
<file path=[Content_Types].xml><?xml version="1.0" encoding="utf-8"?>
<Types xmlns="http://schemas.openxmlformats.org/package/2006/content-types">
  <Default Extension="png" ContentType="image/png"/>
  <Default Extension="svg" ContentType="image/svg+xml"/>
  <Default Extension="jpeg" ContentType="image/jpeg"/>
  <Default Extension="rels" ContentType="application/vnd.openxmlformats-package.relationships+xml"/>
  <Default Extension="xml" ContentType="application/xml"/>
  <Default Extension="fntdata" ContentType="application/x-fontdata"/>
  <Default Extension="xlsx" ContentType="application/vnd.openxmlformats-officedocument.spreadsheetml.sheet"/>
  <Default Extension="mp4" ContentType="video/mp4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slides/slide72.xml" ContentType="application/vnd.openxmlformats-officedocument.presentationml.slide+xml"/>
  <Override PartName="/ppt/slides/slide73.xml" ContentType="application/vnd.openxmlformats-officedocument.presentationml.slide+xml"/>
  <Override PartName="/ppt/slides/slide74.xml" ContentType="application/vnd.openxmlformats-officedocument.presentationml.slide+xml"/>
  <Override PartName="/ppt/slides/slide75.xml" ContentType="application/vnd.openxmlformats-officedocument.presentationml.slide+xml"/>
  <Override PartName="/ppt/slides/slide76.xml" ContentType="application/vnd.openxmlformats-officedocument.presentationml.slide+xml"/>
  <Override PartName="/ppt/slides/slide77.xml" ContentType="application/vnd.openxmlformats-officedocument.presentationml.slide+xml"/>
  <Override PartName="/ppt/slides/slide78.xml" ContentType="application/vnd.openxmlformats-officedocument.presentationml.slide+xml"/>
  <Override PartName="/ppt/slides/slide79.xml" ContentType="application/vnd.openxmlformats-officedocument.presentationml.slide+xml"/>
  <Override PartName="/ppt/slides/slide80.xml" ContentType="application/vnd.openxmlformats-officedocument.presentationml.slide+xml"/>
  <Override PartName="/ppt/slides/slide81.xml" ContentType="application/vnd.openxmlformats-officedocument.presentationml.slide+xml"/>
  <Override PartName="/ppt/slides/slide82.xml" ContentType="application/vnd.openxmlformats-officedocument.presentationml.slide+xml"/>
  <Override PartName="/ppt/slides/slide83.xml" ContentType="application/vnd.openxmlformats-officedocument.presentationml.slide+xml"/>
  <Override PartName="/ppt/slides/slide84.xml" ContentType="application/vnd.openxmlformats-officedocument.presentationml.slide+xml"/>
  <Override PartName="/ppt/slides/slide8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notesSlides/notesSlide2.xml" ContentType="application/vnd.openxmlformats-officedocument.presentationml.notesSlid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tags/tag2.xml" ContentType="application/vnd.openxmlformats-officedocument.presentationml.tags+xml"/>
  <Override PartName="/ppt/notesSlides/notesSlide3.xml" ContentType="application/vnd.openxmlformats-officedocument.presentationml.notesSlide+xml"/>
  <Override PartName="/ppt/tags/tag3.xml" ContentType="application/vnd.openxmlformats-officedocument.presentationml.tags+xml"/>
  <Override PartName="/ppt/notesSlides/notesSlide4.xml" ContentType="application/vnd.openxmlformats-officedocument.presentationml.notesSlide+xml"/>
  <Override PartName="/ppt/tags/tag4.xml" ContentType="application/vnd.openxmlformats-officedocument.presentationml.tags+xml"/>
  <Override PartName="/ppt/notesSlides/notesSlide5.xml" ContentType="application/vnd.openxmlformats-officedocument.presentationml.notesSl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6.xml" ContentType="application/vnd.openxmlformats-officedocument.presentationml.notesSlide+xml"/>
  <Override PartName="/ppt/tags/tag7.xml" ContentType="application/vnd.openxmlformats-officedocument.presentationml.tags+xml"/>
  <Override PartName="/ppt/notesSlides/notesSlide7.xml" ContentType="application/vnd.openxmlformats-officedocument.presentationml.notesSlid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embedTrueTypeFonts="1">
  <p:sldMasterIdLst>
    <p:sldMasterId id="2147483648" r:id="rId1"/>
  </p:sldMasterIdLst>
  <p:notesMasterIdLst>
    <p:notesMasterId r:id="rId87"/>
  </p:notesMasterIdLst>
  <p:handoutMasterIdLst>
    <p:handoutMasterId r:id="rId88"/>
  </p:handoutMasterIdLst>
  <p:sldIdLst>
    <p:sldId id="4528" r:id="rId2"/>
    <p:sldId id="4485" r:id="rId3"/>
    <p:sldId id="2142532963" r:id="rId4"/>
    <p:sldId id="2142532965" r:id="rId5"/>
    <p:sldId id="2142532966" r:id="rId6"/>
    <p:sldId id="2142533009" r:id="rId7"/>
    <p:sldId id="2142532964" r:id="rId8"/>
    <p:sldId id="2142533010" r:id="rId9"/>
    <p:sldId id="2142533011" r:id="rId10"/>
    <p:sldId id="2142532967" r:id="rId11"/>
    <p:sldId id="2142532968" r:id="rId12"/>
    <p:sldId id="4622" r:id="rId13"/>
    <p:sldId id="2142533013" r:id="rId14"/>
    <p:sldId id="256" r:id="rId15"/>
    <p:sldId id="4623" r:id="rId16"/>
    <p:sldId id="4624" r:id="rId17"/>
    <p:sldId id="4625" r:id="rId18"/>
    <p:sldId id="4626" r:id="rId19"/>
    <p:sldId id="4627" r:id="rId20"/>
    <p:sldId id="2142533006" r:id="rId21"/>
    <p:sldId id="4628" r:id="rId22"/>
    <p:sldId id="4629" r:id="rId23"/>
    <p:sldId id="4630" r:id="rId24"/>
    <p:sldId id="4631" r:id="rId25"/>
    <p:sldId id="4632" r:id="rId26"/>
    <p:sldId id="4633" r:id="rId27"/>
    <p:sldId id="2142532969" r:id="rId28"/>
    <p:sldId id="2142532970" r:id="rId29"/>
    <p:sldId id="2142532971" r:id="rId30"/>
    <p:sldId id="2142532972" r:id="rId31"/>
    <p:sldId id="2142532973" r:id="rId32"/>
    <p:sldId id="2142532974" r:id="rId33"/>
    <p:sldId id="2142532975" r:id="rId34"/>
    <p:sldId id="2142532976" r:id="rId35"/>
    <p:sldId id="2142532977" r:id="rId36"/>
    <p:sldId id="2142532978" r:id="rId37"/>
    <p:sldId id="2142532979" r:id="rId38"/>
    <p:sldId id="2142533012" r:id="rId39"/>
    <p:sldId id="2142532981" r:id="rId40"/>
    <p:sldId id="2142532982" r:id="rId41"/>
    <p:sldId id="2142532983" r:id="rId42"/>
    <p:sldId id="2142532985" r:id="rId43"/>
    <p:sldId id="2142532987" r:id="rId44"/>
    <p:sldId id="2142532989" r:id="rId45"/>
    <p:sldId id="2142532990" r:id="rId46"/>
    <p:sldId id="2142532992" r:id="rId47"/>
    <p:sldId id="2142532993" r:id="rId48"/>
    <p:sldId id="2142532994" r:id="rId49"/>
    <p:sldId id="2142532995" r:id="rId50"/>
    <p:sldId id="2142532997" r:id="rId51"/>
    <p:sldId id="2142532999" r:id="rId52"/>
    <p:sldId id="2142533000" r:id="rId53"/>
    <p:sldId id="2142533003" r:id="rId54"/>
    <p:sldId id="2142533001" r:id="rId55"/>
    <p:sldId id="2142533008" r:id="rId56"/>
    <p:sldId id="2142533002" r:id="rId57"/>
    <p:sldId id="2142533004" r:id="rId58"/>
    <p:sldId id="4483" r:id="rId59"/>
    <p:sldId id="4530" r:id="rId60"/>
    <p:sldId id="4481" r:id="rId61"/>
    <p:sldId id="4535" r:id="rId62"/>
    <p:sldId id="4526" r:id="rId63"/>
    <p:sldId id="4532" r:id="rId64"/>
    <p:sldId id="4575" r:id="rId65"/>
    <p:sldId id="4621" r:id="rId66"/>
    <p:sldId id="4634" r:id="rId67"/>
    <p:sldId id="4635" r:id="rId68"/>
    <p:sldId id="4636" r:id="rId69"/>
    <p:sldId id="4639" r:id="rId70"/>
    <p:sldId id="4640" r:id="rId71"/>
    <p:sldId id="4641" r:id="rId72"/>
    <p:sldId id="4644" r:id="rId73"/>
    <p:sldId id="4548" r:id="rId74"/>
    <p:sldId id="4533" r:id="rId75"/>
    <p:sldId id="4537" r:id="rId76"/>
    <p:sldId id="4541" r:id="rId77"/>
    <p:sldId id="4545" r:id="rId78"/>
    <p:sldId id="4549" r:id="rId79"/>
    <p:sldId id="4553" r:id="rId80"/>
    <p:sldId id="4557" r:id="rId81"/>
    <p:sldId id="4561" r:id="rId82"/>
    <p:sldId id="4565" r:id="rId83"/>
    <p:sldId id="4569" r:id="rId84"/>
    <p:sldId id="4573" r:id="rId85"/>
    <p:sldId id="4620" r:id="rId86"/>
  </p:sldIdLst>
  <p:sldSz cx="12192000" cy="6858000"/>
  <p:notesSz cx="6858000" cy="9144000"/>
  <p:embeddedFontLst>
    <p:embeddedFont>
      <p:font typeface="ALTIA Eddi" panose="020B0000000000020000" pitchFamily="34" charset="0"/>
      <p:regular r:id="rId89"/>
      <p:italic r:id="rId90"/>
    </p:embeddedFont>
    <p:embeddedFont>
      <p:font typeface="ALTIA Eddi Light" panose="020B0000000000020000" pitchFamily="34" charset="0"/>
      <p:regular r:id="rId91"/>
      <p:italic r:id="rId92"/>
    </p:embeddedFont>
    <p:embeddedFont>
      <p:font typeface="ALTIA Eddi Medium" panose="020B0000000000020000" pitchFamily="34" charset="0"/>
      <p:regular r:id="rId93"/>
      <p:italic r:id="rId94"/>
    </p:embeddedFont>
    <p:embeddedFont>
      <p:font typeface="Calibri" panose="020F0502020204030204" pitchFamily="34" charset="0"/>
      <p:regular r:id="rId95"/>
      <p:bold r:id="rId96"/>
      <p:italic r:id="rId97"/>
      <p:boldItalic r:id="rId98"/>
    </p:embeddedFont>
    <p:embeddedFont>
      <p:font typeface="Calibri Light" panose="020F0302020204030204" pitchFamily="34" charset="0"/>
      <p:regular r:id="rId99"/>
      <p:italic r:id="rId100"/>
    </p:embeddedFont>
    <p:embeddedFont>
      <p:font typeface="Cambria" panose="02040503050406030204" pitchFamily="18" charset="0"/>
      <p:regular r:id="rId101"/>
      <p:bold r:id="rId102"/>
      <p:italic r:id="rId103"/>
      <p:boldItalic r:id="rId104"/>
    </p:embeddedFont>
    <p:embeddedFont>
      <p:font typeface="Montserrat" panose="00000500000000000000" pitchFamily="50" charset="0"/>
      <p:regular r:id="rId105"/>
      <p:bold r:id="rId106"/>
      <p:italic r:id="rId107"/>
      <p:boldItalic r:id="rId108"/>
    </p:embeddedFont>
    <p:embeddedFont>
      <p:font typeface="Montserrat Light" panose="00000400000000000000" pitchFamily="50" charset="0"/>
      <p:regular r:id="rId109"/>
      <p:italic r:id="rId110"/>
    </p:embeddedFont>
    <p:embeddedFont>
      <p:font typeface="Open Sans" panose="020B0606030504020204" pitchFamily="34" charset="0"/>
      <p:regular r:id="rId111"/>
      <p:bold r:id="rId112"/>
      <p:italic r:id="rId113"/>
      <p:boldItalic r:id="rId114"/>
    </p:embeddedFont>
    <p:embeddedFont>
      <p:font typeface="Open Sans Light" panose="020B0306030504020204" pitchFamily="34" charset="0"/>
      <p:regular r:id="rId115"/>
      <p:italic r:id="rId116"/>
    </p:embeddedFont>
    <p:embeddedFont>
      <p:font typeface="Urbanist Light" panose="020B0604020202020204" charset="0"/>
      <p:regular r:id="rId117"/>
      <p:italic r:id="rId118"/>
    </p:embeddedFont>
    <p:embeddedFont>
      <p:font typeface="Verdana" panose="020B0604030504040204" pitchFamily="34" charset="0"/>
      <p:regular r:id="rId119"/>
      <p:bold r:id="rId120"/>
      <p:italic r:id="rId121"/>
      <p:boldItalic r:id="rId122"/>
    </p:embeddedFont>
  </p:embeddedFontLst>
  <p:defaultTextStyle>
    <a:defPPr>
      <a:defRPr lang="pt-PT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ección Predefinida" id="{53D01575-8F9A-4170-B2F6-B91B7D38DAE1}">
          <p14:sldIdLst>
            <p14:sldId id="4528"/>
            <p14:sldId id="4485"/>
            <p14:sldId id="2142532963"/>
            <p14:sldId id="2142532965"/>
            <p14:sldId id="2142532966"/>
            <p14:sldId id="2142533009"/>
            <p14:sldId id="2142532964"/>
            <p14:sldId id="2142533010"/>
            <p14:sldId id="2142533011"/>
            <p14:sldId id="2142532967"/>
            <p14:sldId id="2142532968"/>
            <p14:sldId id="4622"/>
            <p14:sldId id="2142533013"/>
            <p14:sldId id="256"/>
            <p14:sldId id="4623"/>
            <p14:sldId id="4624"/>
            <p14:sldId id="4625"/>
            <p14:sldId id="4626"/>
            <p14:sldId id="4627"/>
            <p14:sldId id="2142533006"/>
            <p14:sldId id="4628"/>
            <p14:sldId id="4629"/>
            <p14:sldId id="4630"/>
            <p14:sldId id="4631"/>
            <p14:sldId id="4632"/>
            <p14:sldId id="4633"/>
            <p14:sldId id="2142532969"/>
            <p14:sldId id="2142532970"/>
            <p14:sldId id="2142532971"/>
            <p14:sldId id="2142532972"/>
            <p14:sldId id="2142532973"/>
            <p14:sldId id="2142532974"/>
            <p14:sldId id="2142532975"/>
            <p14:sldId id="2142532976"/>
            <p14:sldId id="2142532977"/>
            <p14:sldId id="2142532978"/>
            <p14:sldId id="2142532979"/>
          </p14:sldIdLst>
        </p14:section>
        <p14:section name="Gráficos Generales" id="{B9C1DEAC-5A08-4E6D-9485-C77CEEC02566}">
          <p14:sldIdLst>
            <p14:sldId id="2142533012"/>
            <p14:sldId id="2142532981"/>
            <p14:sldId id="2142532982"/>
            <p14:sldId id="2142532983"/>
            <p14:sldId id="2142532985"/>
          </p14:sldIdLst>
        </p14:section>
        <p14:section name="Data Analytics &amp; AI" id="{AC39EEC9-0EF9-40E6-9F17-AEA7A1ADAB2C}">
          <p14:sldIdLst>
            <p14:sldId id="2142532987"/>
            <p14:sldId id="2142532989"/>
            <p14:sldId id="2142532990"/>
            <p14:sldId id="2142532992"/>
            <p14:sldId id="2142532993"/>
            <p14:sldId id="2142532994"/>
            <p14:sldId id="2142532995"/>
          </p14:sldIdLst>
        </p14:section>
        <p14:section name="Cloud &amp; Security" id="{9E6A95AE-F8C8-4413-ADAB-D7C75D4CE583}">
          <p14:sldIdLst>
            <p14:sldId id="2142532997"/>
          </p14:sldIdLst>
        </p14:section>
        <p14:section name="IT Operations &amp; Infrastructure" id="{87239C90-CF91-400F-8D68-52B9788B9F03}">
          <p14:sldIdLst>
            <p14:sldId id="2142532999"/>
            <p14:sldId id="2142533000"/>
          </p14:sldIdLst>
        </p14:section>
        <p14:section name="Enterprise Solutions" id="{BC5EE6B2-4F6E-40A3-B633-BD759B8A1ECC}">
          <p14:sldIdLst>
            <p14:sldId id="2142533003"/>
          </p14:sldIdLst>
        </p14:section>
        <p14:section name="Low-Code Solutions" id="{3DC9C6C4-E6D9-4CE5-B7BF-3B171F881757}">
          <p14:sldIdLst>
            <p14:sldId id="2142533001"/>
            <p14:sldId id="2142533008"/>
            <p14:sldId id="2142533002"/>
          </p14:sldIdLst>
        </p14:section>
        <p14:section name="Quality Management and Devops Automation" id="{AB3E267D-033B-4A57-890A-346B5E993030}">
          <p14:sldIdLst>
            <p14:sldId id="2142533004"/>
          </p14:sldIdLst>
        </p14:section>
        <p14:section name="Concepto Visual" id="{43233071-52C4-4262-B3CC-EA4977F9ECF4}">
          <p14:sldIdLst>
            <p14:sldId id="4483"/>
            <p14:sldId id="4530"/>
            <p14:sldId id="4481"/>
            <p14:sldId id="4535"/>
            <p14:sldId id="4526"/>
            <p14:sldId id="4532"/>
            <p14:sldId id="4575"/>
            <p14:sldId id="4621"/>
            <p14:sldId id="4634"/>
            <p14:sldId id="4635"/>
            <p14:sldId id="4636"/>
            <p14:sldId id="4639"/>
            <p14:sldId id="4640"/>
            <p14:sldId id="4641"/>
            <p14:sldId id="4644"/>
            <p14:sldId id="4548"/>
            <p14:sldId id="4533"/>
            <p14:sldId id="4537"/>
            <p14:sldId id="4541"/>
            <p14:sldId id="4545"/>
            <p14:sldId id="4549"/>
            <p14:sldId id="4553"/>
            <p14:sldId id="4557"/>
            <p14:sldId id="4561"/>
            <p14:sldId id="4565"/>
            <p14:sldId id="4569"/>
            <p14:sldId id="4573"/>
            <p14:sldId id="4620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205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84BFF"/>
    <a:srgbClr val="00FF94"/>
    <a:srgbClr val="F7F7F7"/>
    <a:srgbClr val="132153"/>
    <a:srgbClr val="81FFC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édio 2 - Destaqu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D27102A9-8310-4765-A935-A1911B00CA55}" styleName="Estilo Claro 1 - Destaque 4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2" autoAdjust="0"/>
    <p:restoredTop sz="94606" autoAdjust="0"/>
  </p:normalViewPr>
  <p:slideViewPr>
    <p:cSldViewPr snapToGrid="0" showGuides="1">
      <p:cViewPr varScale="1">
        <p:scale>
          <a:sx n="61" d="100"/>
          <a:sy n="61" d="100"/>
        </p:scale>
        <p:origin x="62" y="317"/>
      </p:cViewPr>
      <p:guideLst>
        <p:guide orient="horz" pos="2205"/>
        <p:guide pos="3840"/>
      </p:guideLst>
    </p:cSldViewPr>
  </p:slideViewPr>
  <p:outlineViewPr>
    <p:cViewPr>
      <p:scale>
        <a:sx n="33" d="100"/>
        <a:sy n="33" d="100"/>
      </p:scale>
      <p:origin x="0" y="-3101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howGuides="1">
      <p:cViewPr varScale="1">
        <p:scale>
          <a:sx n="57" d="100"/>
          <a:sy n="57" d="100"/>
        </p:scale>
        <p:origin x="3259" y="3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5.xml"/><Relationship Id="rId117" Type="http://schemas.openxmlformats.org/officeDocument/2006/relationships/font" Target="fonts/font29.fntdata"/><Relationship Id="rId21" Type="http://schemas.openxmlformats.org/officeDocument/2006/relationships/slide" Target="slides/slide20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63" Type="http://schemas.openxmlformats.org/officeDocument/2006/relationships/slide" Target="slides/slide62.xml"/><Relationship Id="rId68" Type="http://schemas.openxmlformats.org/officeDocument/2006/relationships/slide" Target="slides/slide67.xml"/><Relationship Id="rId84" Type="http://schemas.openxmlformats.org/officeDocument/2006/relationships/slide" Target="slides/slide83.xml"/><Relationship Id="rId89" Type="http://schemas.openxmlformats.org/officeDocument/2006/relationships/font" Target="fonts/font1.fntdata"/><Relationship Id="rId112" Type="http://schemas.openxmlformats.org/officeDocument/2006/relationships/font" Target="fonts/font24.fntdata"/><Relationship Id="rId16" Type="http://schemas.openxmlformats.org/officeDocument/2006/relationships/slide" Target="slides/slide15.xml"/><Relationship Id="rId107" Type="http://schemas.openxmlformats.org/officeDocument/2006/relationships/font" Target="fonts/font19.fntdata"/><Relationship Id="rId11" Type="http://schemas.openxmlformats.org/officeDocument/2006/relationships/slide" Target="slides/slide10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53" Type="http://schemas.openxmlformats.org/officeDocument/2006/relationships/slide" Target="slides/slide52.xml"/><Relationship Id="rId58" Type="http://schemas.openxmlformats.org/officeDocument/2006/relationships/slide" Target="slides/slide57.xml"/><Relationship Id="rId74" Type="http://schemas.openxmlformats.org/officeDocument/2006/relationships/slide" Target="slides/slide73.xml"/><Relationship Id="rId79" Type="http://schemas.openxmlformats.org/officeDocument/2006/relationships/slide" Target="slides/slide78.xml"/><Relationship Id="rId102" Type="http://schemas.openxmlformats.org/officeDocument/2006/relationships/font" Target="fonts/font14.fntdata"/><Relationship Id="rId123" Type="http://schemas.openxmlformats.org/officeDocument/2006/relationships/presProps" Target="presProps.xml"/><Relationship Id="rId5" Type="http://schemas.openxmlformats.org/officeDocument/2006/relationships/slide" Target="slides/slide4.xml"/><Relationship Id="rId90" Type="http://schemas.openxmlformats.org/officeDocument/2006/relationships/font" Target="fonts/font2.fntdata"/><Relationship Id="rId95" Type="http://schemas.openxmlformats.org/officeDocument/2006/relationships/font" Target="fonts/font7.fntdata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64" Type="http://schemas.openxmlformats.org/officeDocument/2006/relationships/slide" Target="slides/slide63.xml"/><Relationship Id="rId69" Type="http://schemas.openxmlformats.org/officeDocument/2006/relationships/slide" Target="slides/slide68.xml"/><Relationship Id="rId113" Type="http://schemas.openxmlformats.org/officeDocument/2006/relationships/font" Target="fonts/font25.fntdata"/><Relationship Id="rId118" Type="http://schemas.openxmlformats.org/officeDocument/2006/relationships/font" Target="fonts/font30.fntdata"/><Relationship Id="rId80" Type="http://schemas.openxmlformats.org/officeDocument/2006/relationships/slide" Target="slides/slide79.xml"/><Relationship Id="rId85" Type="http://schemas.openxmlformats.org/officeDocument/2006/relationships/slide" Target="slides/slide84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59" Type="http://schemas.openxmlformats.org/officeDocument/2006/relationships/slide" Target="slides/slide58.xml"/><Relationship Id="rId103" Type="http://schemas.openxmlformats.org/officeDocument/2006/relationships/font" Target="fonts/font15.fntdata"/><Relationship Id="rId108" Type="http://schemas.openxmlformats.org/officeDocument/2006/relationships/font" Target="fonts/font20.fntdata"/><Relationship Id="rId124" Type="http://schemas.openxmlformats.org/officeDocument/2006/relationships/viewProps" Target="viewProps.xml"/><Relationship Id="rId54" Type="http://schemas.openxmlformats.org/officeDocument/2006/relationships/slide" Target="slides/slide53.xml"/><Relationship Id="rId70" Type="http://schemas.openxmlformats.org/officeDocument/2006/relationships/slide" Target="slides/slide69.xml"/><Relationship Id="rId75" Type="http://schemas.openxmlformats.org/officeDocument/2006/relationships/slide" Target="slides/slide74.xml"/><Relationship Id="rId91" Type="http://schemas.openxmlformats.org/officeDocument/2006/relationships/font" Target="fonts/font3.fntdata"/><Relationship Id="rId96" Type="http://schemas.openxmlformats.org/officeDocument/2006/relationships/font" Target="fonts/font8.fntdata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49" Type="http://schemas.openxmlformats.org/officeDocument/2006/relationships/slide" Target="slides/slide48.xml"/><Relationship Id="rId114" Type="http://schemas.openxmlformats.org/officeDocument/2006/relationships/font" Target="fonts/font26.fntdata"/><Relationship Id="rId119" Type="http://schemas.openxmlformats.org/officeDocument/2006/relationships/font" Target="fonts/font31.fntdata"/><Relationship Id="rId44" Type="http://schemas.openxmlformats.org/officeDocument/2006/relationships/slide" Target="slides/slide43.xml"/><Relationship Id="rId60" Type="http://schemas.openxmlformats.org/officeDocument/2006/relationships/slide" Target="slides/slide59.xml"/><Relationship Id="rId65" Type="http://schemas.openxmlformats.org/officeDocument/2006/relationships/slide" Target="slides/slide64.xml"/><Relationship Id="rId81" Type="http://schemas.openxmlformats.org/officeDocument/2006/relationships/slide" Target="slides/slide80.xml"/><Relationship Id="rId86" Type="http://schemas.openxmlformats.org/officeDocument/2006/relationships/slide" Target="slides/slide85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9" Type="http://schemas.openxmlformats.org/officeDocument/2006/relationships/slide" Target="slides/slide38.xml"/><Relationship Id="rId109" Type="http://schemas.openxmlformats.org/officeDocument/2006/relationships/font" Target="fonts/font21.fntdata"/><Relationship Id="rId34" Type="http://schemas.openxmlformats.org/officeDocument/2006/relationships/slide" Target="slides/slide33.xml"/><Relationship Id="rId50" Type="http://schemas.openxmlformats.org/officeDocument/2006/relationships/slide" Target="slides/slide49.xml"/><Relationship Id="rId55" Type="http://schemas.openxmlformats.org/officeDocument/2006/relationships/slide" Target="slides/slide54.xml"/><Relationship Id="rId76" Type="http://schemas.openxmlformats.org/officeDocument/2006/relationships/slide" Target="slides/slide75.xml"/><Relationship Id="rId97" Type="http://schemas.openxmlformats.org/officeDocument/2006/relationships/font" Target="fonts/font9.fntdata"/><Relationship Id="rId104" Type="http://schemas.openxmlformats.org/officeDocument/2006/relationships/font" Target="fonts/font16.fntdata"/><Relationship Id="rId120" Type="http://schemas.openxmlformats.org/officeDocument/2006/relationships/font" Target="fonts/font32.fntdata"/><Relationship Id="rId125" Type="http://schemas.openxmlformats.org/officeDocument/2006/relationships/theme" Target="theme/theme1.xml"/><Relationship Id="rId7" Type="http://schemas.openxmlformats.org/officeDocument/2006/relationships/slide" Target="slides/slide6.xml"/><Relationship Id="rId71" Type="http://schemas.openxmlformats.org/officeDocument/2006/relationships/slide" Target="slides/slide70.xml"/><Relationship Id="rId92" Type="http://schemas.openxmlformats.org/officeDocument/2006/relationships/font" Target="fonts/font4.fntdata"/><Relationship Id="rId2" Type="http://schemas.openxmlformats.org/officeDocument/2006/relationships/slide" Target="slides/slide1.xml"/><Relationship Id="rId29" Type="http://schemas.openxmlformats.org/officeDocument/2006/relationships/slide" Target="slides/slide28.xml"/><Relationship Id="rId24" Type="http://schemas.openxmlformats.org/officeDocument/2006/relationships/slide" Target="slides/slide23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66" Type="http://schemas.openxmlformats.org/officeDocument/2006/relationships/slide" Target="slides/slide65.xml"/><Relationship Id="rId87" Type="http://schemas.openxmlformats.org/officeDocument/2006/relationships/notesMaster" Target="notesMasters/notesMaster1.xml"/><Relationship Id="rId110" Type="http://schemas.openxmlformats.org/officeDocument/2006/relationships/font" Target="fonts/font22.fntdata"/><Relationship Id="rId115" Type="http://schemas.openxmlformats.org/officeDocument/2006/relationships/font" Target="fonts/font27.fntdata"/><Relationship Id="rId61" Type="http://schemas.openxmlformats.org/officeDocument/2006/relationships/slide" Target="slides/slide60.xml"/><Relationship Id="rId82" Type="http://schemas.openxmlformats.org/officeDocument/2006/relationships/slide" Target="slides/slide81.xml"/><Relationship Id="rId19" Type="http://schemas.openxmlformats.org/officeDocument/2006/relationships/slide" Target="slides/slide18.xml"/><Relationship Id="rId14" Type="http://schemas.openxmlformats.org/officeDocument/2006/relationships/slide" Target="slides/slide13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56" Type="http://schemas.openxmlformats.org/officeDocument/2006/relationships/slide" Target="slides/slide55.xml"/><Relationship Id="rId77" Type="http://schemas.openxmlformats.org/officeDocument/2006/relationships/slide" Target="slides/slide76.xml"/><Relationship Id="rId100" Type="http://schemas.openxmlformats.org/officeDocument/2006/relationships/font" Target="fonts/font12.fntdata"/><Relationship Id="rId105" Type="http://schemas.openxmlformats.org/officeDocument/2006/relationships/font" Target="fonts/font17.fntdata"/><Relationship Id="rId126" Type="http://schemas.openxmlformats.org/officeDocument/2006/relationships/tableStyles" Target="tableStyles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72" Type="http://schemas.openxmlformats.org/officeDocument/2006/relationships/slide" Target="slides/slide71.xml"/><Relationship Id="rId93" Type="http://schemas.openxmlformats.org/officeDocument/2006/relationships/font" Target="fonts/font5.fntdata"/><Relationship Id="rId98" Type="http://schemas.openxmlformats.org/officeDocument/2006/relationships/font" Target="fonts/font10.fntdata"/><Relationship Id="rId121" Type="http://schemas.openxmlformats.org/officeDocument/2006/relationships/font" Target="fonts/font33.fntdata"/><Relationship Id="rId3" Type="http://schemas.openxmlformats.org/officeDocument/2006/relationships/slide" Target="slides/slide2.xml"/><Relationship Id="rId25" Type="http://schemas.openxmlformats.org/officeDocument/2006/relationships/slide" Target="slides/slide24.xml"/><Relationship Id="rId46" Type="http://schemas.openxmlformats.org/officeDocument/2006/relationships/slide" Target="slides/slide45.xml"/><Relationship Id="rId67" Type="http://schemas.openxmlformats.org/officeDocument/2006/relationships/slide" Target="slides/slide66.xml"/><Relationship Id="rId116" Type="http://schemas.openxmlformats.org/officeDocument/2006/relationships/font" Target="fonts/font28.fntdata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62" Type="http://schemas.openxmlformats.org/officeDocument/2006/relationships/slide" Target="slides/slide61.xml"/><Relationship Id="rId83" Type="http://schemas.openxmlformats.org/officeDocument/2006/relationships/slide" Target="slides/slide82.xml"/><Relationship Id="rId88" Type="http://schemas.openxmlformats.org/officeDocument/2006/relationships/handoutMaster" Target="handoutMasters/handoutMaster1.xml"/><Relationship Id="rId111" Type="http://schemas.openxmlformats.org/officeDocument/2006/relationships/font" Target="fonts/font23.fntdata"/><Relationship Id="rId15" Type="http://schemas.openxmlformats.org/officeDocument/2006/relationships/slide" Target="slides/slide14.xml"/><Relationship Id="rId36" Type="http://schemas.openxmlformats.org/officeDocument/2006/relationships/slide" Target="slides/slide35.xml"/><Relationship Id="rId57" Type="http://schemas.openxmlformats.org/officeDocument/2006/relationships/slide" Target="slides/slide56.xml"/><Relationship Id="rId106" Type="http://schemas.openxmlformats.org/officeDocument/2006/relationships/font" Target="fonts/font18.fntdata"/><Relationship Id="rId10" Type="http://schemas.openxmlformats.org/officeDocument/2006/relationships/slide" Target="slides/slide9.xml"/><Relationship Id="rId31" Type="http://schemas.openxmlformats.org/officeDocument/2006/relationships/slide" Target="slides/slide30.xml"/><Relationship Id="rId52" Type="http://schemas.openxmlformats.org/officeDocument/2006/relationships/slide" Target="slides/slide51.xml"/><Relationship Id="rId73" Type="http://schemas.openxmlformats.org/officeDocument/2006/relationships/slide" Target="slides/slide72.xml"/><Relationship Id="rId78" Type="http://schemas.openxmlformats.org/officeDocument/2006/relationships/slide" Target="slides/slide77.xml"/><Relationship Id="rId94" Type="http://schemas.openxmlformats.org/officeDocument/2006/relationships/font" Target="fonts/font6.fntdata"/><Relationship Id="rId99" Type="http://schemas.openxmlformats.org/officeDocument/2006/relationships/font" Target="fonts/font11.fntdata"/><Relationship Id="rId101" Type="http://schemas.openxmlformats.org/officeDocument/2006/relationships/font" Target="fonts/font13.fntdata"/><Relationship Id="rId122" Type="http://schemas.openxmlformats.org/officeDocument/2006/relationships/font" Target="fonts/font34.fntdata"/><Relationship Id="rId4" Type="http://schemas.openxmlformats.org/officeDocument/2006/relationships/slide" Target="slides/slide3.xml"/><Relationship Id="rId9" Type="http://schemas.openxmlformats.org/officeDocument/2006/relationships/slide" Target="slides/slide8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.xlsx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5.xlsx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Folha1!$B$1</c:f>
              <c:strCache>
                <c:ptCount val="1"/>
                <c:pt idx="0">
                  <c:v>Série 1</c:v>
                </c:pt>
              </c:strCache>
            </c:strRef>
          </c:tx>
          <c:spPr>
            <a:solidFill>
              <a:srgbClr val="132153"/>
            </a:solidFill>
            <a:ln>
              <a:noFill/>
            </a:ln>
            <a:effectLst/>
          </c:spPr>
          <c:invertIfNegative val="0"/>
          <c:cat>
            <c:strRef>
              <c:f>Folha1!$A$2:$A$5</c:f>
              <c:strCache>
                <c:ptCount val="4"/>
                <c:pt idx="0">
                  <c:v>Categoria 1</c:v>
                </c:pt>
                <c:pt idx="1">
                  <c:v>Categoria 2</c:v>
                </c:pt>
                <c:pt idx="2">
                  <c:v>Categoria 3</c:v>
                </c:pt>
                <c:pt idx="3">
                  <c:v>Categoria 4</c:v>
                </c:pt>
              </c:strCache>
            </c:strRef>
          </c:cat>
          <c:val>
            <c:numRef>
              <c:f>Folha1!$B$2:$B$5</c:f>
              <c:numCache>
                <c:formatCode>General</c:formatCode>
                <c:ptCount val="4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1BD-4501-A8AC-2BA8F6617C9E}"/>
            </c:ext>
          </c:extLst>
        </c:ser>
        <c:ser>
          <c:idx val="1"/>
          <c:order val="1"/>
          <c:tx>
            <c:strRef>
              <c:f>Folha1!$C$1</c:f>
              <c:strCache>
                <c:ptCount val="1"/>
                <c:pt idx="0">
                  <c:v>Série 2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Folha1!$A$2:$A$5</c:f>
              <c:strCache>
                <c:ptCount val="4"/>
                <c:pt idx="0">
                  <c:v>Categoria 1</c:v>
                </c:pt>
                <c:pt idx="1">
                  <c:v>Categoria 2</c:v>
                </c:pt>
                <c:pt idx="2">
                  <c:v>Categoria 3</c:v>
                </c:pt>
                <c:pt idx="3">
                  <c:v>Categoria 4</c:v>
                </c:pt>
              </c:strCache>
            </c:strRef>
          </c:cat>
          <c:val>
            <c:numRef>
              <c:f>Folha1!$C$2:$C$5</c:f>
              <c:numCache>
                <c:formatCode>General</c:formatCode>
                <c:ptCount val="4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  <c:pt idx="3">
                  <c:v>2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81BD-4501-A8AC-2BA8F6617C9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215746032"/>
        <c:axId val="215746992"/>
      </c:barChart>
      <c:lineChart>
        <c:grouping val="standard"/>
        <c:varyColors val="0"/>
        <c:ser>
          <c:idx val="2"/>
          <c:order val="2"/>
          <c:tx>
            <c:strRef>
              <c:f>Folha1!$D$1</c:f>
              <c:strCache>
                <c:ptCount val="1"/>
                <c:pt idx="0">
                  <c:v>Série 3</c:v>
                </c:pt>
              </c:strCache>
            </c:strRef>
          </c:tx>
          <c:spPr>
            <a:ln w="28575" cap="rnd">
              <a:solidFill>
                <a:schemeClr val="accent3"/>
              </a:solidFill>
              <a:round/>
            </a:ln>
            <a:effectLst/>
          </c:spPr>
          <c:marker>
            <c:symbol val="none"/>
          </c:marker>
          <c:cat>
            <c:strRef>
              <c:f>Folha1!$A$2:$A$5</c:f>
              <c:strCache>
                <c:ptCount val="4"/>
                <c:pt idx="0">
                  <c:v>Categoria 1</c:v>
                </c:pt>
                <c:pt idx="1">
                  <c:v>Categoria 2</c:v>
                </c:pt>
                <c:pt idx="2">
                  <c:v>Categoria 3</c:v>
                </c:pt>
                <c:pt idx="3">
                  <c:v>Categoria 4</c:v>
                </c:pt>
              </c:strCache>
            </c:strRef>
          </c:cat>
          <c:val>
            <c:numRef>
              <c:f>Folha1!$D$2:$D$5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81BD-4501-A8AC-2BA8F6617C9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15869024"/>
        <c:axId val="521284560"/>
      </c:lineChart>
      <c:catAx>
        <c:axId val="21574603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pPr>
            <a:endParaRPr lang="es-ES"/>
          </a:p>
        </c:txPr>
        <c:crossAx val="215746992"/>
        <c:crosses val="autoZero"/>
        <c:auto val="1"/>
        <c:lblAlgn val="ctr"/>
        <c:lblOffset val="100"/>
        <c:noMultiLvlLbl val="0"/>
      </c:catAx>
      <c:valAx>
        <c:axId val="215746992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pPr>
            <a:endParaRPr lang="es-ES"/>
          </a:p>
        </c:txPr>
        <c:crossAx val="215746032"/>
        <c:crosses val="autoZero"/>
        <c:crossBetween val="between"/>
      </c:valAx>
      <c:valAx>
        <c:axId val="521284560"/>
        <c:scaling>
          <c:orientation val="minMax"/>
        </c:scaling>
        <c:delete val="0"/>
        <c:axPos val="r"/>
        <c:numFmt formatCode="General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pPr>
            <a:endParaRPr lang="es-ES"/>
          </a:p>
        </c:txPr>
        <c:crossAx val="215869024"/>
        <c:crosses val="max"/>
        <c:crossBetween val="between"/>
      </c:valAx>
      <c:catAx>
        <c:axId val="215869024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521284560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2"/>
              </a:solidFill>
              <a:latin typeface="+mn-lt"/>
              <a:ea typeface="+mn-ea"/>
              <a:cs typeface="+mn-cs"/>
            </a:defRPr>
          </a:pPr>
          <a:endParaRPr lang="es-E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s-E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Folha1!$B$1</c:f>
              <c:strCache>
                <c:ptCount val="1"/>
                <c:pt idx="0">
                  <c:v>Serie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Folha1!$A$2:$A$5</c:f>
              <c:strCache>
                <c:ptCount val="4"/>
                <c:pt idx="0">
                  <c:v>Categoria 1</c:v>
                </c:pt>
                <c:pt idx="1">
                  <c:v>Categoria 2</c:v>
                </c:pt>
                <c:pt idx="2">
                  <c:v>Categoria 3</c:v>
                </c:pt>
                <c:pt idx="3">
                  <c:v>Categoria 4</c:v>
                </c:pt>
              </c:strCache>
            </c:strRef>
          </c:cat>
          <c:val>
            <c:numRef>
              <c:f>Folha1!$B$2:$B$5</c:f>
              <c:numCache>
                <c:formatCode>General</c:formatCode>
                <c:ptCount val="4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E26-4E46-8350-FC499BDCEAAC}"/>
            </c:ext>
          </c:extLst>
        </c:ser>
        <c:ser>
          <c:idx val="1"/>
          <c:order val="1"/>
          <c:tx>
            <c:strRef>
              <c:f>Folha1!$C$1</c:f>
              <c:strCache>
                <c:ptCount val="1"/>
                <c:pt idx="0">
                  <c:v>Serie 2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Folha1!$A$2:$A$5</c:f>
              <c:strCache>
                <c:ptCount val="4"/>
                <c:pt idx="0">
                  <c:v>Categoria 1</c:v>
                </c:pt>
                <c:pt idx="1">
                  <c:v>Categoria 2</c:v>
                </c:pt>
                <c:pt idx="2">
                  <c:v>Categoria 3</c:v>
                </c:pt>
                <c:pt idx="3">
                  <c:v>Categoria 4</c:v>
                </c:pt>
              </c:strCache>
            </c:strRef>
          </c:cat>
          <c:val>
            <c:numRef>
              <c:f>Folha1!$C$2:$C$5</c:f>
              <c:numCache>
                <c:formatCode>General</c:formatCode>
                <c:ptCount val="4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  <c:pt idx="3">
                  <c:v>2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AE26-4E46-8350-FC499BDCEAAC}"/>
            </c:ext>
          </c:extLst>
        </c:ser>
        <c:ser>
          <c:idx val="2"/>
          <c:order val="2"/>
          <c:tx>
            <c:strRef>
              <c:f>Folha1!$D$1</c:f>
              <c:strCache>
                <c:ptCount val="1"/>
                <c:pt idx="0">
                  <c:v>Serie 3</c:v>
                </c:pt>
              </c:strCache>
            </c:strRef>
          </c:tx>
          <c:spPr>
            <a:solidFill>
              <a:srgbClr val="132153"/>
            </a:solidFill>
            <a:ln>
              <a:noFill/>
            </a:ln>
            <a:effectLst/>
          </c:spPr>
          <c:invertIfNegative val="0"/>
          <c:cat>
            <c:strRef>
              <c:f>Folha1!$A$2:$A$5</c:f>
              <c:strCache>
                <c:ptCount val="4"/>
                <c:pt idx="0">
                  <c:v>Categoria 1</c:v>
                </c:pt>
                <c:pt idx="1">
                  <c:v>Categoria 2</c:v>
                </c:pt>
                <c:pt idx="2">
                  <c:v>Categoria 3</c:v>
                </c:pt>
                <c:pt idx="3">
                  <c:v>Categoria 4</c:v>
                </c:pt>
              </c:strCache>
            </c:strRef>
          </c:cat>
          <c:val>
            <c:numRef>
              <c:f>Folha1!$D$2:$D$5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AE26-4E46-8350-FC499BDCEAA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1981521568"/>
        <c:axId val="1981524928"/>
      </c:barChart>
      <c:catAx>
        <c:axId val="198152156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pPr>
            <a:endParaRPr lang="es-ES"/>
          </a:p>
        </c:txPr>
        <c:crossAx val="1981524928"/>
        <c:crosses val="autoZero"/>
        <c:auto val="1"/>
        <c:lblAlgn val="ctr"/>
        <c:lblOffset val="100"/>
        <c:noMultiLvlLbl val="0"/>
      </c:catAx>
      <c:valAx>
        <c:axId val="1981524928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pPr>
            <a:endParaRPr lang="es-ES"/>
          </a:p>
        </c:txPr>
        <c:crossAx val="198152156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2"/>
              </a:solidFill>
              <a:latin typeface="+mn-lt"/>
              <a:ea typeface="+mn-ea"/>
              <a:cs typeface="+mn-cs"/>
            </a:defRPr>
          </a:pPr>
          <a:endParaRPr lang="es-E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s-ES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Folha1!$B$1</c:f>
              <c:strCache>
                <c:ptCount val="1"/>
                <c:pt idx="0">
                  <c:v>Serie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Folha1!$A$2:$A$5</c:f>
              <c:strCache>
                <c:ptCount val="4"/>
                <c:pt idx="0">
                  <c:v>Categoria 1</c:v>
                </c:pt>
                <c:pt idx="1">
                  <c:v>Categoria 2</c:v>
                </c:pt>
                <c:pt idx="2">
                  <c:v>Categoria 3</c:v>
                </c:pt>
                <c:pt idx="3">
                  <c:v>Categoria 4</c:v>
                </c:pt>
              </c:strCache>
            </c:strRef>
          </c:cat>
          <c:val>
            <c:numRef>
              <c:f>Folha1!$B$2:$B$5</c:f>
              <c:numCache>
                <c:formatCode>General</c:formatCode>
                <c:ptCount val="4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25F-4ADF-B507-65845EFA7498}"/>
            </c:ext>
          </c:extLst>
        </c:ser>
        <c:ser>
          <c:idx val="1"/>
          <c:order val="1"/>
          <c:tx>
            <c:strRef>
              <c:f>Folha1!$C$1</c:f>
              <c:strCache>
                <c:ptCount val="1"/>
                <c:pt idx="0">
                  <c:v>Serie 2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Folha1!$A$2:$A$5</c:f>
              <c:strCache>
                <c:ptCount val="4"/>
                <c:pt idx="0">
                  <c:v>Categoria 1</c:v>
                </c:pt>
                <c:pt idx="1">
                  <c:v>Categoria 2</c:v>
                </c:pt>
                <c:pt idx="2">
                  <c:v>Categoria 3</c:v>
                </c:pt>
                <c:pt idx="3">
                  <c:v>Categoria 4</c:v>
                </c:pt>
              </c:strCache>
            </c:strRef>
          </c:cat>
          <c:val>
            <c:numRef>
              <c:f>Folha1!$C$2:$C$5</c:f>
              <c:numCache>
                <c:formatCode>General</c:formatCode>
                <c:ptCount val="4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  <c:pt idx="3">
                  <c:v>2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325F-4ADF-B507-65845EFA7498}"/>
            </c:ext>
          </c:extLst>
        </c:ser>
        <c:ser>
          <c:idx val="2"/>
          <c:order val="2"/>
          <c:tx>
            <c:strRef>
              <c:f>Folha1!$D$1</c:f>
              <c:strCache>
                <c:ptCount val="1"/>
                <c:pt idx="0">
                  <c:v>Serie 3</c:v>
                </c:pt>
              </c:strCache>
            </c:strRef>
          </c:tx>
          <c:spPr>
            <a:solidFill>
              <a:srgbClr val="132153"/>
            </a:solidFill>
            <a:ln>
              <a:noFill/>
            </a:ln>
            <a:effectLst/>
          </c:spPr>
          <c:invertIfNegative val="0"/>
          <c:cat>
            <c:strRef>
              <c:f>Folha1!$A$2:$A$5</c:f>
              <c:strCache>
                <c:ptCount val="4"/>
                <c:pt idx="0">
                  <c:v>Categoria 1</c:v>
                </c:pt>
                <c:pt idx="1">
                  <c:v>Categoria 2</c:v>
                </c:pt>
                <c:pt idx="2">
                  <c:v>Categoria 3</c:v>
                </c:pt>
                <c:pt idx="3">
                  <c:v>Categoria 4</c:v>
                </c:pt>
              </c:strCache>
            </c:strRef>
          </c:cat>
          <c:val>
            <c:numRef>
              <c:f>Folha1!$D$2:$D$5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325F-4ADF-B507-65845EFA749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705246512"/>
        <c:axId val="705246992"/>
      </c:barChart>
      <c:catAx>
        <c:axId val="70524651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s-ES"/>
          </a:p>
        </c:txPr>
        <c:crossAx val="705246992"/>
        <c:crosses val="autoZero"/>
        <c:auto val="1"/>
        <c:lblAlgn val="ctr"/>
        <c:lblOffset val="100"/>
        <c:noMultiLvlLbl val="0"/>
      </c:catAx>
      <c:valAx>
        <c:axId val="705246992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s-ES"/>
          </a:p>
        </c:txPr>
        <c:crossAx val="70524651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s-E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s-ES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Folha1!$B$1</c:f>
              <c:strCache>
                <c:ptCount val="1"/>
                <c:pt idx="0">
                  <c:v>Série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Folha1!$A$2:$A$5</c:f>
              <c:strCache>
                <c:ptCount val="4"/>
                <c:pt idx="0">
                  <c:v>Categoria 1</c:v>
                </c:pt>
                <c:pt idx="1">
                  <c:v>Categoria 2</c:v>
                </c:pt>
                <c:pt idx="2">
                  <c:v>Categoria 3</c:v>
                </c:pt>
                <c:pt idx="3">
                  <c:v>Categoria 4</c:v>
                </c:pt>
              </c:strCache>
            </c:strRef>
          </c:cat>
          <c:val>
            <c:numRef>
              <c:f>Folha1!$B$2:$B$5</c:f>
              <c:numCache>
                <c:formatCode>General</c:formatCode>
                <c:ptCount val="4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7EA-4607-BA8F-C47093BA4FD8}"/>
            </c:ext>
          </c:extLst>
        </c:ser>
        <c:ser>
          <c:idx val="1"/>
          <c:order val="1"/>
          <c:tx>
            <c:strRef>
              <c:f>Folha1!$C$1</c:f>
              <c:strCache>
                <c:ptCount val="1"/>
                <c:pt idx="0">
                  <c:v>Série 2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Folha1!$A$2:$A$5</c:f>
              <c:strCache>
                <c:ptCount val="4"/>
                <c:pt idx="0">
                  <c:v>Categoria 1</c:v>
                </c:pt>
                <c:pt idx="1">
                  <c:v>Categoria 2</c:v>
                </c:pt>
                <c:pt idx="2">
                  <c:v>Categoria 3</c:v>
                </c:pt>
                <c:pt idx="3">
                  <c:v>Categoria 4</c:v>
                </c:pt>
              </c:strCache>
            </c:strRef>
          </c:cat>
          <c:val>
            <c:numRef>
              <c:f>Folha1!$C$2:$C$5</c:f>
              <c:numCache>
                <c:formatCode>General</c:formatCode>
                <c:ptCount val="4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  <c:pt idx="3">
                  <c:v>2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07EA-4607-BA8F-C47093BA4FD8}"/>
            </c:ext>
          </c:extLst>
        </c:ser>
        <c:ser>
          <c:idx val="2"/>
          <c:order val="2"/>
          <c:tx>
            <c:strRef>
              <c:f>Folha1!$D$1</c:f>
              <c:strCache>
                <c:ptCount val="1"/>
                <c:pt idx="0">
                  <c:v>Série 3</c:v>
                </c:pt>
              </c:strCache>
            </c:strRef>
          </c:tx>
          <c:spPr>
            <a:solidFill>
              <a:srgbClr val="132153"/>
            </a:solidFill>
            <a:ln>
              <a:noFill/>
            </a:ln>
            <a:effectLst/>
          </c:spPr>
          <c:invertIfNegative val="0"/>
          <c:cat>
            <c:strRef>
              <c:f>Folha1!$A$2:$A$5</c:f>
              <c:strCache>
                <c:ptCount val="4"/>
                <c:pt idx="0">
                  <c:v>Categoria 1</c:v>
                </c:pt>
                <c:pt idx="1">
                  <c:v>Categoria 2</c:v>
                </c:pt>
                <c:pt idx="2">
                  <c:v>Categoria 3</c:v>
                </c:pt>
                <c:pt idx="3">
                  <c:v>Categoria 4</c:v>
                </c:pt>
              </c:strCache>
            </c:strRef>
          </c:cat>
          <c:val>
            <c:numRef>
              <c:f>Folha1!$D$2:$D$5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07EA-4607-BA8F-C47093BA4FD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1301537423"/>
        <c:axId val="1301541743"/>
      </c:barChart>
      <c:catAx>
        <c:axId val="1301537423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pPr>
            <a:endParaRPr lang="es-ES"/>
          </a:p>
        </c:txPr>
        <c:crossAx val="1301541743"/>
        <c:crosses val="autoZero"/>
        <c:auto val="1"/>
        <c:lblAlgn val="ctr"/>
        <c:lblOffset val="100"/>
        <c:noMultiLvlLbl val="0"/>
      </c:catAx>
      <c:valAx>
        <c:axId val="1301541743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pPr>
            <a:endParaRPr lang="es-ES"/>
          </a:p>
        </c:txPr>
        <c:crossAx val="1301537423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2"/>
              </a:solidFill>
              <a:latin typeface="+mn-lt"/>
              <a:ea typeface="+mn-ea"/>
              <a:cs typeface="+mn-cs"/>
            </a:defRPr>
          </a:pPr>
          <a:endParaRPr lang="es-E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s-ES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0"/>
          <c:order val="0"/>
          <c:tx>
            <c:strRef>
              <c:f>Folha1!$B$1</c:f>
              <c:strCache>
                <c:ptCount val="1"/>
                <c:pt idx="0">
                  <c:v>Vendas</c:v>
                </c:pt>
              </c:strCache>
            </c:strRef>
          </c:tx>
          <c:dPt>
            <c:idx val="0"/>
            <c:bubble3D val="0"/>
            <c:spPr>
              <a:solidFill>
                <a:srgbClr val="13215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32C7-40CA-B6ED-4CC4BB659909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2-32C7-40CA-B6ED-4CC4BB659909}"/>
              </c:ext>
            </c:extLst>
          </c:dPt>
          <c:dPt>
            <c:idx val="2"/>
            <c:bubble3D val="0"/>
            <c:spPr>
              <a:solidFill>
                <a:srgbClr val="00FF94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32C7-40CA-B6ED-4CC4BB659909}"/>
              </c:ext>
            </c:extLst>
          </c:dPt>
          <c:dPt>
            <c:idx val="3"/>
            <c:bubble3D val="0"/>
            <c:spPr>
              <a:solidFill>
                <a:srgbClr val="81FFC9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4-32C7-40CA-B6ED-4CC4BB659909}"/>
              </c:ext>
            </c:extLst>
          </c:dPt>
          <c:dLbls>
            <c:dLbl>
              <c:idx val="0"/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1800" b="0" i="0" u="none" strike="noStrike" kern="1200" baseline="0">
                        <a:solidFill>
                          <a:schemeClr val="tx2"/>
                        </a:solidFill>
                        <a:latin typeface="+mj-lt"/>
                        <a:ea typeface="+mn-ea"/>
                        <a:cs typeface="+mn-cs"/>
                      </a:defRPr>
                    </a:pPr>
                    <a:fld id="{409ADAA8-8922-4395-B01C-456F31067AB3}" type="VALUE">
                      <a:rPr lang="en-US">
                        <a:solidFill>
                          <a:srgbClr val="F7F7F7"/>
                        </a:solidFill>
                      </a:rPr>
                      <a:pPr>
                        <a:defRPr sz="1800">
                          <a:solidFill>
                            <a:schemeClr val="tx2"/>
                          </a:solidFill>
                          <a:latin typeface="+mj-lt"/>
                        </a:defRPr>
                      </a:pPr>
                      <a:t>[VALOR]</a:t>
                    </a:fld>
                    <a:endParaRPr lang="es-ES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800" b="0" i="0" u="none" strike="noStrike" kern="1200" baseline="0">
                      <a:solidFill>
                        <a:schemeClr val="tx2"/>
                      </a:solidFill>
                      <a:latin typeface="+mj-lt"/>
                      <a:ea typeface="+mn-ea"/>
                      <a:cs typeface="+mn-cs"/>
                    </a:defRPr>
                  </a:pPr>
                  <a:endParaRPr lang="es-E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1-32C7-40CA-B6ED-4CC4BB659909}"/>
                </c:ext>
              </c:extLst>
            </c:dLbl>
            <c:dLbl>
              <c:idx val="1"/>
              <c:layout>
                <c:manualLayout>
                  <c:x val="0.17432195071612047"/>
                  <c:y val="-7.2252261442710797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800" b="0" i="0" u="none" strike="noStrike" kern="1200" baseline="0">
                      <a:solidFill>
                        <a:schemeClr val="bg1"/>
                      </a:solidFill>
                      <a:latin typeface="+mj-lt"/>
                      <a:ea typeface="+mn-ea"/>
                      <a:cs typeface="+mn-cs"/>
                    </a:defRPr>
                  </a:pPr>
                  <a:endParaRPr lang="es-ES"/>
                </a:p>
              </c:txPr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32C7-40CA-B6ED-4CC4BB659909}"/>
                </c:ext>
              </c:extLst>
            </c:dLbl>
            <c:dLbl>
              <c:idx val="2"/>
              <c:layout>
                <c:manualLayout>
                  <c:x val="0.12747988229046756"/>
                  <c:y val="0.14908389156841031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800" b="0" i="0" u="none" strike="noStrike" kern="1200" baseline="0">
                      <a:solidFill>
                        <a:schemeClr val="accent2"/>
                      </a:solidFill>
                      <a:latin typeface="+mj-lt"/>
                      <a:ea typeface="+mn-ea"/>
                      <a:cs typeface="+mn-cs"/>
                    </a:defRPr>
                  </a:pPr>
                  <a:endParaRPr lang="es-ES"/>
                </a:p>
              </c:txPr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32C7-40CA-B6ED-4CC4BB659909}"/>
                </c:ext>
              </c:extLst>
            </c:dLbl>
            <c:dLbl>
              <c:idx val="3"/>
              <c:layout>
                <c:manualLayout>
                  <c:x val="5.6847951991251276E-2"/>
                  <c:y val="0.10355212434954283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800" b="0" i="0" u="none" strike="noStrike" kern="1200" baseline="0">
                      <a:solidFill>
                        <a:schemeClr val="accent2"/>
                      </a:solidFill>
                      <a:latin typeface="+mj-lt"/>
                      <a:ea typeface="+mn-ea"/>
                      <a:cs typeface="+mn-cs"/>
                    </a:defRPr>
                  </a:pPr>
                  <a:endParaRPr lang="es-ES"/>
                </a:p>
              </c:txPr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32C7-40CA-B6ED-4CC4BB659909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j-lt"/>
                    <a:ea typeface="+mn-ea"/>
                    <a:cs typeface="+mn-cs"/>
                  </a:defRPr>
                </a:pPr>
                <a:endParaRPr lang="es-E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Folha1!$A$2:$A$5</c:f>
              <c:strCache>
                <c:ptCount val="4"/>
                <c:pt idx="0">
                  <c:v>1° Trim.</c:v>
                </c:pt>
                <c:pt idx="1">
                  <c:v>2° Trim.</c:v>
                </c:pt>
                <c:pt idx="2">
                  <c:v>3° Trim.</c:v>
                </c:pt>
                <c:pt idx="3">
                  <c:v>4° Trim.</c:v>
                </c:pt>
              </c:strCache>
            </c:strRef>
          </c:cat>
          <c:val>
            <c:numRef>
              <c:f>Folha1!$B$2:$B$5</c:f>
              <c:numCache>
                <c:formatCode>General</c:formatCode>
                <c:ptCount val="4"/>
                <c:pt idx="0">
                  <c:v>8.1999999999999993</c:v>
                </c:pt>
                <c:pt idx="1">
                  <c:v>3.2</c:v>
                </c:pt>
                <c:pt idx="2">
                  <c:v>1.4</c:v>
                </c:pt>
                <c:pt idx="3">
                  <c:v>1.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2C7-40CA-B6ED-4CC4BB65990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2"/>
              </a:solidFill>
              <a:latin typeface="+mn-lt"/>
              <a:ea typeface="+mn-ea"/>
              <a:cs typeface="+mn-cs"/>
            </a:defRPr>
          </a:pPr>
          <a:endParaRPr lang="es-E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s-ES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8047831501178743"/>
          <c:y val="4.3715853834462422E-2"/>
          <c:w val="0.79006396436704374"/>
          <c:h val="0.72672365478306833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Folha1!$B$1</c:f>
              <c:strCache>
                <c:ptCount val="1"/>
                <c:pt idx="0">
                  <c:v>Série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Folha1!$A$2:$A$5</c:f>
              <c:strCache>
                <c:ptCount val="4"/>
                <c:pt idx="0">
                  <c:v>Categoria 1</c:v>
                </c:pt>
                <c:pt idx="1">
                  <c:v>Categoria 2</c:v>
                </c:pt>
                <c:pt idx="2">
                  <c:v>Categoria 3</c:v>
                </c:pt>
                <c:pt idx="3">
                  <c:v>Categoria 4</c:v>
                </c:pt>
              </c:strCache>
            </c:strRef>
          </c:cat>
          <c:val>
            <c:numRef>
              <c:f>Folha1!$B$2:$B$5</c:f>
              <c:numCache>
                <c:formatCode>General</c:formatCode>
                <c:ptCount val="4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9C6-4566-964A-8B99A341BD83}"/>
            </c:ext>
          </c:extLst>
        </c:ser>
        <c:ser>
          <c:idx val="1"/>
          <c:order val="1"/>
          <c:tx>
            <c:strRef>
              <c:f>Folha1!$C$1</c:f>
              <c:strCache>
                <c:ptCount val="1"/>
                <c:pt idx="0">
                  <c:v>Série 2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Folha1!$A$2:$A$5</c:f>
              <c:strCache>
                <c:ptCount val="4"/>
                <c:pt idx="0">
                  <c:v>Categoria 1</c:v>
                </c:pt>
                <c:pt idx="1">
                  <c:v>Categoria 2</c:v>
                </c:pt>
                <c:pt idx="2">
                  <c:v>Categoria 3</c:v>
                </c:pt>
                <c:pt idx="3">
                  <c:v>Categoria 4</c:v>
                </c:pt>
              </c:strCache>
            </c:strRef>
          </c:cat>
          <c:val>
            <c:numRef>
              <c:f>Folha1!$C$2:$C$5</c:f>
              <c:numCache>
                <c:formatCode>General</c:formatCode>
                <c:ptCount val="4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  <c:pt idx="3">
                  <c:v>2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D9C6-4566-964A-8B99A341BD83}"/>
            </c:ext>
          </c:extLst>
        </c:ser>
        <c:ser>
          <c:idx val="2"/>
          <c:order val="2"/>
          <c:tx>
            <c:strRef>
              <c:f>Folha1!$D$1</c:f>
              <c:strCache>
                <c:ptCount val="1"/>
                <c:pt idx="0">
                  <c:v>Série 3</c:v>
                </c:pt>
              </c:strCache>
            </c:strRef>
          </c:tx>
          <c:spPr>
            <a:solidFill>
              <a:srgbClr val="132153"/>
            </a:solidFill>
            <a:ln>
              <a:noFill/>
            </a:ln>
            <a:effectLst/>
          </c:spPr>
          <c:invertIfNegative val="0"/>
          <c:cat>
            <c:strRef>
              <c:f>Folha1!$A$2:$A$5</c:f>
              <c:strCache>
                <c:ptCount val="4"/>
                <c:pt idx="0">
                  <c:v>Categoria 1</c:v>
                </c:pt>
                <c:pt idx="1">
                  <c:v>Categoria 2</c:v>
                </c:pt>
                <c:pt idx="2">
                  <c:v>Categoria 3</c:v>
                </c:pt>
                <c:pt idx="3">
                  <c:v>Categoria 4</c:v>
                </c:pt>
              </c:strCache>
            </c:strRef>
          </c:cat>
          <c:val>
            <c:numRef>
              <c:f>Folha1!$D$2:$D$5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D9C6-4566-964A-8B99A341BD8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82"/>
        <c:axId val="1301539823"/>
        <c:axId val="1301540303"/>
      </c:barChart>
      <c:catAx>
        <c:axId val="1301539823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endParaRPr lang="es-ES"/>
          </a:p>
        </c:txPr>
        <c:crossAx val="1301540303"/>
        <c:crosses val="autoZero"/>
        <c:auto val="1"/>
        <c:lblAlgn val="ctr"/>
        <c:lblOffset val="100"/>
        <c:noMultiLvlLbl val="0"/>
      </c:catAx>
      <c:valAx>
        <c:axId val="1301540303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endParaRPr lang="es-ES"/>
          </a:p>
        </c:txPr>
        <c:crossAx val="1301539823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baseline="0">
              <a:solidFill>
                <a:schemeClr val="bg1"/>
              </a:solidFill>
              <a:latin typeface="+mn-lt"/>
              <a:ea typeface="+mn-ea"/>
              <a:cs typeface="+mn-cs"/>
            </a:defRPr>
          </a:pPr>
          <a:endParaRPr lang="es-E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s-E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Posição do Cabeçalho 1">
            <a:extLst>
              <a:ext uri="{FF2B5EF4-FFF2-40B4-BE49-F238E27FC236}">
                <a16:creationId xmlns:a16="http://schemas.microsoft.com/office/drawing/2014/main" id="{0A0EEE6C-BB27-26ED-9062-7DFB08CB3021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PT" dirty="0">
              <a:latin typeface="Verdana" panose="020B0604030504040204" pitchFamily="34" charset="0"/>
            </a:endParaRPr>
          </a:p>
        </p:txBody>
      </p:sp>
      <p:sp>
        <p:nvSpPr>
          <p:cNvPr id="3" name="Marcador de Posição da Data 2">
            <a:extLst>
              <a:ext uri="{FF2B5EF4-FFF2-40B4-BE49-F238E27FC236}">
                <a16:creationId xmlns:a16="http://schemas.microsoft.com/office/drawing/2014/main" id="{A9CC335D-0C83-11EB-EFE8-7597E27C0FED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C4FAF73-E939-4029-B0A1-854DDF4BAB9B}" type="datetimeFigureOut">
              <a:rPr lang="pt-PT" smtClean="0">
                <a:latin typeface="Verdana" panose="020B0604030504040204" pitchFamily="34" charset="0"/>
              </a:rPr>
              <a:t>06/10/2025</a:t>
            </a:fld>
            <a:endParaRPr lang="pt-PT" dirty="0">
              <a:latin typeface="Verdana" panose="020B0604030504040204" pitchFamily="34" charset="0"/>
            </a:endParaRPr>
          </a:p>
        </p:txBody>
      </p:sp>
      <p:sp>
        <p:nvSpPr>
          <p:cNvPr id="4" name="Marcador de Posição do Rodapé 3">
            <a:extLst>
              <a:ext uri="{FF2B5EF4-FFF2-40B4-BE49-F238E27FC236}">
                <a16:creationId xmlns:a16="http://schemas.microsoft.com/office/drawing/2014/main" id="{88BC3803-1EE1-A8B9-42F3-1BA464ABB244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PT" dirty="0">
              <a:latin typeface="Verdana" panose="020B0604030504040204" pitchFamily="34" charset="0"/>
            </a:endParaRPr>
          </a:p>
        </p:txBody>
      </p:sp>
      <p:sp>
        <p:nvSpPr>
          <p:cNvPr id="5" name="Marcador de Posição do Número do Diapositivo 4">
            <a:extLst>
              <a:ext uri="{FF2B5EF4-FFF2-40B4-BE49-F238E27FC236}">
                <a16:creationId xmlns:a16="http://schemas.microsoft.com/office/drawing/2014/main" id="{C1D9E718-941D-F49B-F24F-B9BCCDFC9CA0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F1A90DC-0DCF-4F91-8B84-186A920BC10D}" type="slidenum">
              <a:rPr lang="pt-PT" smtClean="0">
                <a:latin typeface="Verdana" panose="020B0604030504040204" pitchFamily="34" charset="0"/>
              </a:rPr>
              <a:t>‹Nº›</a:t>
            </a:fld>
            <a:endParaRPr lang="pt-PT" dirty="0">
              <a:latin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6668714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Posição do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Verdana" panose="020B0604030504040204" pitchFamily="34" charset="0"/>
              </a:defRPr>
            </a:lvl1pPr>
          </a:lstStyle>
          <a:p>
            <a:endParaRPr lang="pt-PT" dirty="0"/>
          </a:p>
        </p:txBody>
      </p:sp>
      <p:sp>
        <p:nvSpPr>
          <p:cNvPr id="3" name="Marcador de Posição da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Verdana" panose="020B0604030504040204" pitchFamily="34" charset="0"/>
              </a:defRPr>
            </a:lvl1pPr>
          </a:lstStyle>
          <a:p>
            <a:fld id="{A6F00D89-47D2-4EC6-9D0A-BCAFAF0B7B5B}" type="datetimeFigureOut">
              <a:rPr lang="pt-PT" smtClean="0"/>
              <a:pPr/>
              <a:t>06/10/2025</a:t>
            </a:fld>
            <a:endParaRPr lang="pt-PT" dirty="0"/>
          </a:p>
        </p:txBody>
      </p:sp>
      <p:sp>
        <p:nvSpPr>
          <p:cNvPr id="4" name="Marcador de Posição da Imagem do Diapositivo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t-PT" dirty="0"/>
          </a:p>
        </p:txBody>
      </p:sp>
      <p:sp>
        <p:nvSpPr>
          <p:cNvPr id="5" name="Marcador de Posição de Nota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pt-PT" dirty="0"/>
              <a:t>Clique para editar os estilos do texto de Modelo Global</a:t>
            </a:r>
          </a:p>
          <a:p>
            <a:pPr lvl="1"/>
            <a:r>
              <a:rPr lang="pt-PT" dirty="0"/>
              <a:t>Segundo nível</a:t>
            </a:r>
          </a:p>
          <a:p>
            <a:pPr lvl="2"/>
            <a:r>
              <a:rPr lang="pt-PT" dirty="0"/>
              <a:t>Terceiro nível</a:t>
            </a:r>
          </a:p>
          <a:p>
            <a:pPr lvl="3"/>
            <a:r>
              <a:rPr lang="pt-PT" dirty="0"/>
              <a:t>Quarto nível</a:t>
            </a:r>
          </a:p>
          <a:p>
            <a:pPr lvl="4"/>
            <a:r>
              <a:rPr lang="pt-PT" dirty="0"/>
              <a:t>Quinto nível</a:t>
            </a:r>
          </a:p>
        </p:txBody>
      </p:sp>
      <p:sp>
        <p:nvSpPr>
          <p:cNvPr id="6" name="Marcador de Posição do Rodapé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Verdana" panose="020B0604030504040204" pitchFamily="34" charset="0"/>
              </a:defRPr>
            </a:lvl1pPr>
          </a:lstStyle>
          <a:p>
            <a:endParaRPr lang="pt-PT" dirty="0"/>
          </a:p>
        </p:txBody>
      </p:sp>
      <p:sp>
        <p:nvSpPr>
          <p:cNvPr id="7" name="Marcador de Posição do Número do Diapositivo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Verdana" panose="020B0604030504040204" pitchFamily="34" charset="0"/>
              </a:defRPr>
            </a:lvl1pPr>
          </a:lstStyle>
          <a:p>
            <a:fld id="{A07BF0EE-01AA-4644-B224-ACB2259F9319}" type="slidenum">
              <a:rPr lang="pt-PT" smtClean="0"/>
              <a:pPr/>
              <a:t>‹Nº›</a:t>
            </a:fld>
            <a:endParaRPr lang="pt-PT" dirty="0"/>
          </a:p>
        </p:txBody>
      </p:sp>
    </p:spTree>
    <p:extLst>
      <p:ext uri="{BB962C8B-B14F-4D97-AF65-F5344CB8AC3E}">
        <p14:creationId xmlns:p14="http://schemas.microsoft.com/office/powerpoint/2010/main" val="147978760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Verdana" panose="020B0604030504040204" pitchFamily="34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Verdana" panose="020B0604030504040204" pitchFamily="34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Verdana" panose="020B0604030504040204" pitchFamily="34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Verdana" panose="020B0604030504040204" pitchFamily="34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Verdana" panose="020B0604030504040204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0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2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4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Posição da Imagem do Diapositivo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Posição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PT" dirty="0"/>
          </a:p>
        </p:txBody>
      </p:sp>
      <p:sp>
        <p:nvSpPr>
          <p:cNvPr id="4" name="Marcador de Posição do Número do Diapositivo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8C8054C-8E68-4A87-9F9A-0410BBD0BB01}" type="slidenum">
              <a:rPr kumimoji="0" lang="pt-PT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 Light" panose="00000400000000000000" pitchFamily="2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pt-PT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ontserrat Light" panose="00000400000000000000" pitchFamily="2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2361938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Posição da Imagem do Diapositivo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Posição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PT" dirty="0"/>
          </a:p>
        </p:txBody>
      </p:sp>
      <p:sp>
        <p:nvSpPr>
          <p:cNvPr id="4" name="Marcador de Posição do Número do Diapositivo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07BF0EE-01AA-4644-B224-ACB2259F9319}" type="slidenum">
              <a:rPr lang="pt-PT" smtClean="0"/>
              <a:t>26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250258674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Posição da Imagem do Diapositivo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Posição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PT" dirty="0"/>
          </a:p>
        </p:txBody>
      </p:sp>
      <p:sp>
        <p:nvSpPr>
          <p:cNvPr id="4" name="Marcador de Posição do Número do Diapositivo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8C8054C-8E68-4A87-9F9A-0410BBD0BB01}" type="slidenum">
              <a:rPr kumimoji="0" lang="pt-PT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8</a:t>
            </a:fld>
            <a:endParaRPr kumimoji="0" lang="pt-PT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2195447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Posição da Imagem do Diapositivo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Posição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PT" dirty="0"/>
          </a:p>
        </p:txBody>
      </p:sp>
      <p:sp>
        <p:nvSpPr>
          <p:cNvPr id="4" name="Marcador de Posição do Número do Diapositivo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8C8054C-8E68-4A87-9F9A-0410BBD0BB01}" type="slidenum">
              <a:rPr kumimoji="0" lang="pt-PT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0</a:t>
            </a:fld>
            <a:endParaRPr kumimoji="0" lang="pt-PT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6644511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Posição da Imagem do Diapositivo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Posição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PT" dirty="0"/>
          </a:p>
        </p:txBody>
      </p:sp>
      <p:sp>
        <p:nvSpPr>
          <p:cNvPr id="4" name="Marcador de Posição do Número do Diapositivo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8C8054C-8E68-4A87-9F9A-0410BBD0BB01}" type="slidenum">
              <a:rPr kumimoji="0" lang="pt-PT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2</a:t>
            </a:fld>
            <a:endParaRPr kumimoji="0" lang="pt-PT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8101414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F499848-2C39-9C94-C306-621538CB8E0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Posição da Imagem do Diapositivo 1">
            <a:extLst>
              <a:ext uri="{FF2B5EF4-FFF2-40B4-BE49-F238E27FC236}">
                <a16:creationId xmlns:a16="http://schemas.microsoft.com/office/drawing/2014/main" id="{BA0E1944-2022-26DE-B174-674B0AD3926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Posição de Notas 2">
            <a:extLst>
              <a:ext uri="{FF2B5EF4-FFF2-40B4-BE49-F238E27FC236}">
                <a16:creationId xmlns:a16="http://schemas.microsoft.com/office/drawing/2014/main" id="{FBF97A99-9784-0985-1F0E-D5F85393AC2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PT" dirty="0"/>
          </a:p>
        </p:txBody>
      </p:sp>
      <p:sp>
        <p:nvSpPr>
          <p:cNvPr id="4" name="Marcador de Posição do Número do Diapositivo 3">
            <a:extLst>
              <a:ext uri="{FF2B5EF4-FFF2-40B4-BE49-F238E27FC236}">
                <a16:creationId xmlns:a16="http://schemas.microsoft.com/office/drawing/2014/main" id="{8F0E4589-A6FE-A3E3-A33B-091A8D3931D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8C8054C-8E68-4A87-9F9A-0410BBD0BB01}" type="slidenum">
              <a:rPr kumimoji="0" lang="pt-PT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4</a:t>
            </a:fld>
            <a:endParaRPr kumimoji="0" lang="pt-PT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7813511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BA5571B-5BCD-CFFD-127E-EB262AF6350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Posição da Imagem do Diapositivo 1">
            <a:extLst>
              <a:ext uri="{FF2B5EF4-FFF2-40B4-BE49-F238E27FC236}">
                <a16:creationId xmlns:a16="http://schemas.microsoft.com/office/drawing/2014/main" id="{F7358624-5360-3D81-75E5-BD0C637A715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Posição de Notas 2">
            <a:extLst>
              <a:ext uri="{FF2B5EF4-FFF2-40B4-BE49-F238E27FC236}">
                <a16:creationId xmlns:a16="http://schemas.microsoft.com/office/drawing/2014/main" id="{DE8D7820-EB0B-377B-9313-7F82871BC55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PT" dirty="0"/>
          </a:p>
        </p:txBody>
      </p:sp>
      <p:sp>
        <p:nvSpPr>
          <p:cNvPr id="4" name="Marcador de Posição do Número do Diapositivo 3">
            <a:extLst>
              <a:ext uri="{FF2B5EF4-FFF2-40B4-BE49-F238E27FC236}">
                <a16:creationId xmlns:a16="http://schemas.microsoft.com/office/drawing/2014/main" id="{8E272B93-E58B-AC2C-EF49-13DCC7AA9C9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8C8054C-8E68-4A87-9F9A-0410BBD0BB01}" type="slidenum">
              <a:rPr kumimoji="0" lang="pt-PT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3</a:t>
            </a:fld>
            <a:endParaRPr kumimoji="0" lang="pt-PT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2160416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4" Type="http://schemas.openxmlformats.org/officeDocument/2006/relationships/image" Target="../media/image1.png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9.png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7.png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video" Target="../media/media2.mp4"/><Relationship Id="rId1" Type="http://schemas.microsoft.com/office/2007/relationships/media" Target="../media/media2.mp4"/><Relationship Id="rId4" Type="http://schemas.openxmlformats.org/officeDocument/2006/relationships/image" Target="../media/image4.png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Esquema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Composição 1">
            <a:hlinkClick r:id="" action="ppaction://media"/>
            <a:extLst>
              <a:ext uri="{FF2B5EF4-FFF2-40B4-BE49-F238E27FC236}">
                <a16:creationId xmlns:a16="http://schemas.microsoft.com/office/drawing/2014/main" id="{2734D6E0-F23A-2FC7-AEAD-FAD2BE64A677}"/>
              </a:ext>
            </a:extLst>
          </p:cNvPr>
          <p:cNvPicPr>
            <a:picLocks noChangeAspect="1"/>
          </p:cNvPicPr>
          <p:nvPr userDrawn="1"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ítulo 1">
            <a:extLst>
              <a:ext uri="{FF2B5EF4-FFF2-40B4-BE49-F238E27FC236}">
                <a16:creationId xmlns:a16="http://schemas.microsoft.com/office/drawing/2014/main" id="{397E706A-2B75-FE09-7065-3173C8E966A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84846" y="3293706"/>
            <a:ext cx="5992780" cy="1325563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es-ES" dirty="0"/>
              <a:t>Haz </a:t>
            </a:r>
            <a:r>
              <a:rPr lang="es-ES" dirty="0" err="1"/>
              <a:t>click</a:t>
            </a:r>
            <a:r>
              <a:rPr lang="es-ES" dirty="0"/>
              <a:t> para editar el estilo de título del modelo global</a:t>
            </a:r>
            <a:endParaRPr lang="pt-PT" dirty="0"/>
          </a:p>
        </p:txBody>
      </p:sp>
      <p:sp>
        <p:nvSpPr>
          <p:cNvPr id="7" name="Marcador de Posição do Texto 8">
            <a:extLst>
              <a:ext uri="{FF2B5EF4-FFF2-40B4-BE49-F238E27FC236}">
                <a16:creationId xmlns:a16="http://schemas.microsoft.com/office/drawing/2014/main" id="{52DF1501-E481-CCCA-561E-BFAC415EC1D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484845" y="4809252"/>
            <a:ext cx="5992781" cy="560515"/>
          </a:xfrm>
        </p:spPr>
        <p:txBody>
          <a:bodyPr>
            <a:normAutofit/>
          </a:bodyPr>
          <a:lstStyle>
            <a:lvl1pPr>
              <a:defRPr sz="2000">
                <a:solidFill>
                  <a:schemeClr val="bg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s-ES" dirty="0"/>
              <a:t>Inserta el subtítulo de la presentación</a:t>
            </a:r>
            <a:endParaRPr lang="pt-PT" dirty="0"/>
          </a:p>
        </p:txBody>
      </p:sp>
      <p:sp>
        <p:nvSpPr>
          <p:cNvPr id="8" name="Marcador de Posição do Texto 8">
            <a:extLst>
              <a:ext uri="{FF2B5EF4-FFF2-40B4-BE49-F238E27FC236}">
                <a16:creationId xmlns:a16="http://schemas.microsoft.com/office/drawing/2014/main" id="{1012589B-B33E-CA38-71F4-B877414F8E0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484845" y="6050902"/>
            <a:ext cx="2866053" cy="261256"/>
          </a:xfrm>
        </p:spPr>
        <p:txBody>
          <a:bodyPr anchor="ctr">
            <a:normAutofit/>
          </a:bodyPr>
          <a:lstStyle>
            <a:lvl1pPr>
              <a:defRPr sz="1200">
                <a:solidFill>
                  <a:schemeClr val="bg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pt-PT" dirty="0"/>
              <a:t>Insertar otra información secundaria</a:t>
            </a:r>
          </a:p>
        </p:txBody>
      </p:sp>
      <p:sp>
        <p:nvSpPr>
          <p:cNvPr id="9" name="Marcador de Posição do Texto 8">
            <a:extLst>
              <a:ext uri="{FF2B5EF4-FFF2-40B4-BE49-F238E27FC236}">
                <a16:creationId xmlns:a16="http://schemas.microsoft.com/office/drawing/2014/main" id="{F70CBA09-E285-F4E3-E84A-BAD6389EC6D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611573" y="6050902"/>
            <a:ext cx="2866053" cy="261256"/>
          </a:xfrm>
        </p:spPr>
        <p:txBody>
          <a:bodyPr anchor="ctr">
            <a:normAutofit/>
          </a:bodyPr>
          <a:lstStyle>
            <a:lvl1pPr algn="r">
              <a:defRPr sz="1200">
                <a:solidFill>
                  <a:schemeClr val="bg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pt-PT" dirty="0"/>
              <a:t>Inserta fecha</a:t>
            </a:r>
          </a:p>
        </p:txBody>
      </p:sp>
      <p:sp>
        <p:nvSpPr>
          <p:cNvPr id="10" name="Retângulo 205">
            <a:extLst>
              <a:ext uri="{FF2B5EF4-FFF2-40B4-BE49-F238E27FC236}">
                <a16:creationId xmlns:a16="http://schemas.microsoft.com/office/drawing/2014/main" id="{527C4B38-6BF1-2F6E-414F-3A8E84664573}"/>
              </a:ext>
            </a:extLst>
          </p:cNvPr>
          <p:cNvSpPr/>
          <p:nvPr userDrawn="1"/>
        </p:nvSpPr>
        <p:spPr>
          <a:xfrm rot="5400000">
            <a:off x="5915013" y="2095370"/>
            <a:ext cx="821097" cy="2396673"/>
          </a:xfrm>
          <a:custGeom>
            <a:avLst/>
            <a:gdLst>
              <a:gd name="connsiteX0" fmla="*/ 0 w 1635417"/>
              <a:gd name="connsiteY0" fmla="*/ 0 h 1179213"/>
              <a:gd name="connsiteX1" fmla="*/ 1635417 w 1635417"/>
              <a:gd name="connsiteY1" fmla="*/ 0 h 1179213"/>
              <a:gd name="connsiteX2" fmla="*/ 1635417 w 1635417"/>
              <a:gd name="connsiteY2" fmla="*/ 1179213 h 1179213"/>
              <a:gd name="connsiteX3" fmla="*/ 0 w 1635417"/>
              <a:gd name="connsiteY3" fmla="*/ 1179213 h 1179213"/>
              <a:gd name="connsiteX4" fmla="*/ 0 w 1635417"/>
              <a:gd name="connsiteY4" fmla="*/ 0 h 1179213"/>
              <a:gd name="connsiteX0" fmla="*/ 1635417 w 1726857"/>
              <a:gd name="connsiteY0" fmla="*/ 0 h 1179213"/>
              <a:gd name="connsiteX1" fmla="*/ 1635417 w 1726857"/>
              <a:gd name="connsiteY1" fmla="*/ 1179213 h 1179213"/>
              <a:gd name="connsiteX2" fmla="*/ 0 w 1726857"/>
              <a:gd name="connsiteY2" fmla="*/ 1179213 h 1179213"/>
              <a:gd name="connsiteX3" fmla="*/ 0 w 1726857"/>
              <a:gd name="connsiteY3" fmla="*/ 0 h 1179213"/>
              <a:gd name="connsiteX4" fmla="*/ 1726857 w 1726857"/>
              <a:gd name="connsiteY4" fmla="*/ 91440 h 1179213"/>
              <a:gd name="connsiteX0" fmla="*/ 1635417 w 1635417"/>
              <a:gd name="connsiteY0" fmla="*/ 0 h 1179213"/>
              <a:gd name="connsiteX1" fmla="*/ 1635417 w 1635417"/>
              <a:gd name="connsiteY1" fmla="*/ 1179213 h 1179213"/>
              <a:gd name="connsiteX2" fmla="*/ 0 w 1635417"/>
              <a:gd name="connsiteY2" fmla="*/ 1179213 h 1179213"/>
              <a:gd name="connsiteX3" fmla="*/ 0 w 1635417"/>
              <a:gd name="connsiteY3" fmla="*/ 0 h 1179213"/>
              <a:gd name="connsiteX0" fmla="*/ 1635417 w 1635417"/>
              <a:gd name="connsiteY0" fmla="*/ 1179213 h 1179213"/>
              <a:gd name="connsiteX1" fmla="*/ 0 w 1635417"/>
              <a:gd name="connsiteY1" fmla="*/ 1179213 h 1179213"/>
              <a:gd name="connsiteX2" fmla="*/ 0 w 1635417"/>
              <a:gd name="connsiteY2" fmla="*/ 0 h 11792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635417" h="1179213">
                <a:moveTo>
                  <a:pt x="1635417" y="1179213"/>
                </a:moveTo>
                <a:lnTo>
                  <a:pt x="0" y="1179213"/>
                </a:lnTo>
                <a:lnTo>
                  <a:pt x="0" y="0"/>
                </a:lnTo>
              </a:path>
            </a:pathLst>
          </a:custGeom>
          <a:noFill/>
          <a:ln w="6350" cap="sq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  <p:grpSp>
        <p:nvGrpSpPr>
          <p:cNvPr id="37" name="Gráfico 2">
            <a:extLst>
              <a:ext uri="{FF2B5EF4-FFF2-40B4-BE49-F238E27FC236}">
                <a16:creationId xmlns:a16="http://schemas.microsoft.com/office/drawing/2014/main" id="{EF890FC8-6D2E-4F88-90E3-9405A50E437B}"/>
              </a:ext>
            </a:extLst>
          </p:cNvPr>
          <p:cNvGrpSpPr/>
          <p:nvPr userDrawn="1"/>
        </p:nvGrpSpPr>
        <p:grpSpPr>
          <a:xfrm>
            <a:off x="856373" y="812654"/>
            <a:ext cx="3002916" cy="318309"/>
            <a:chOff x="0" y="2782824"/>
            <a:chExt cx="12192000" cy="1292352"/>
          </a:xfrm>
        </p:grpSpPr>
        <p:sp>
          <p:nvSpPr>
            <p:cNvPr id="38" name="Forma libre: forma 37">
              <a:extLst>
                <a:ext uri="{FF2B5EF4-FFF2-40B4-BE49-F238E27FC236}">
                  <a16:creationId xmlns:a16="http://schemas.microsoft.com/office/drawing/2014/main" id="{C3B09C02-A606-4B9B-976D-A7E08A1DA9E2}"/>
                </a:ext>
              </a:extLst>
            </p:cNvPr>
            <p:cNvSpPr/>
            <p:nvPr/>
          </p:nvSpPr>
          <p:spPr>
            <a:xfrm>
              <a:off x="3791306" y="2777053"/>
              <a:ext cx="1300480" cy="1300480"/>
            </a:xfrm>
            <a:custGeom>
              <a:avLst/>
              <a:gdLst>
                <a:gd name="connsiteX0" fmla="*/ 6096 w 1300480"/>
                <a:gd name="connsiteY0" fmla="*/ 653979 h 1300480"/>
                <a:gd name="connsiteX1" fmla="*/ 653979 w 1300480"/>
                <a:gd name="connsiteY1" fmla="*/ 6096 h 1300480"/>
                <a:gd name="connsiteX2" fmla="*/ 1301862 w 1300480"/>
                <a:gd name="connsiteY2" fmla="*/ 653979 h 1300480"/>
                <a:gd name="connsiteX3" fmla="*/ 653979 w 1300480"/>
                <a:gd name="connsiteY3" fmla="*/ 1301862 h 1300480"/>
                <a:gd name="connsiteX4" fmla="*/ 653898 w 1300480"/>
                <a:gd name="connsiteY4" fmla="*/ 1301862 h 1300480"/>
                <a:gd name="connsiteX5" fmla="*/ 6096 w 1300480"/>
                <a:gd name="connsiteY5" fmla="*/ 654060 h 1300480"/>
                <a:gd name="connsiteX6" fmla="*/ 6096 w 1300480"/>
                <a:gd name="connsiteY6" fmla="*/ 654060 h 1300480"/>
                <a:gd name="connsiteX7" fmla="*/ 653898 w 1300480"/>
                <a:gd name="connsiteY7" fmla="*/ 1091184 h 1300480"/>
                <a:gd name="connsiteX8" fmla="*/ 1091265 w 1300480"/>
                <a:gd name="connsiteY8" fmla="*/ 653979 h 1300480"/>
                <a:gd name="connsiteX9" fmla="*/ 654060 w 1300480"/>
                <a:gd name="connsiteY9" fmla="*/ 216611 h 1300480"/>
                <a:gd name="connsiteX10" fmla="*/ 216692 w 1300480"/>
                <a:gd name="connsiteY10" fmla="*/ 653816 h 1300480"/>
                <a:gd name="connsiteX11" fmla="*/ 216692 w 1300480"/>
                <a:gd name="connsiteY11" fmla="*/ 653979 h 1300480"/>
                <a:gd name="connsiteX12" fmla="*/ 653898 w 1300480"/>
                <a:gd name="connsiteY12" fmla="*/ 1091184 h 13004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300480" h="1300480">
                  <a:moveTo>
                    <a:pt x="6096" y="653979"/>
                  </a:moveTo>
                  <a:cubicBezTo>
                    <a:pt x="6096" y="296184"/>
                    <a:pt x="296184" y="6096"/>
                    <a:pt x="653979" y="6096"/>
                  </a:cubicBezTo>
                  <a:cubicBezTo>
                    <a:pt x="1011773" y="6096"/>
                    <a:pt x="1301862" y="296184"/>
                    <a:pt x="1301862" y="653979"/>
                  </a:cubicBezTo>
                  <a:cubicBezTo>
                    <a:pt x="1301862" y="1011773"/>
                    <a:pt x="1011773" y="1301862"/>
                    <a:pt x="653979" y="1301862"/>
                  </a:cubicBezTo>
                  <a:lnTo>
                    <a:pt x="653898" y="1301862"/>
                  </a:lnTo>
                  <a:cubicBezTo>
                    <a:pt x="296103" y="1301862"/>
                    <a:pt x="6096" y="1011855"/>
                    <a:pt x="6096" y="654060"/>
                  </a:cubicBezTo>
                  <a:lnTo>
                    <a:pt x="6096" y="654060"/>
                  </a:lnTo>
                  <a:moveTo>
                    <a:pt x="653898" y="1091184"/>
                  </a:moveTo>
                  <a:cubicBezTo>
                    <a:pt x="895380" y="1091184"/>
                    <a:pt x="1091184" y="895462"/>
                    <a:pt x="1091265" y="653979"/>
                  </a:cubicBezTo>
                  <a:cubicBezTo>
                    <a:pt x="1091265" y="412496"/>
                    <a:pt x="895543" y="216692"/>
                    <a:pt x="654060" y="216611"/>
                  </a:cubicBezTo>
                  <a:cubicBezTo>
                    <a:pt x="412577" y="216611"/>
                    <a:pt x="216774" y="412333"/>
                    <a:pt x="216692" y="653816"/>
                  </a:cubicBezTo>
                  <a:lnTo>
                    <a:pt x="216692" y="653979"/>
                  </a:lnTo>
                  <a:cubicBezTo>
                    <a:pt x="216692" y="895462"/>
                    <a:pt x="412415" y="1091184"/>
                    <a:pt x="653898" y="1091184"/>
                  </a:cubicBezTo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39" name="Forma libre: forma 38">
              <a:extLst>
                <a:ext uri="{FF2B5EF4-FFF2-40B4-BE49-F238E27FC236}">
                  <a16:creationId xmlns:a16="http://schemas.microsoft.com/office/drawing/2014/main" id="{3B4A854F-83F8-4FE6-B6E2-F462F9C2306C}"/>
                </a:ext>
              </a:extLst>
            </p:cNvPr>
            <p:cNvSpPr/>
            <p:nvPr/>
          </p:nvSpPr>
          <p:spPr>
            <a:xfrm>
              <a:off x="1151981" y="2793797"/>
              <a:ext cx="219456" cy="1267968"/>
            </a:xfrm>
            <a:custGeom>
              <a:avLst/>
              <a:gdLst>
                <a:gd name="connsiteX0" fmla="*/ 216367 w 219456"/>
                <a:gd name="connsiteY0" fmla="*/ 6096 h 1267968"/>
                <a:gd name="connsiteX1" fmla="*/ 216367 w 219456"/>
                <a:gd name="connsiteY1" fmla="*/ 6096 h 1267968"/>
                <a:gd name="connsiteX2" fmla="*/ 216367 w 219456"/>
                <a:gd name="connsiteY2" fmla="*/ 1268212 h 1267968"/>
                <a:gd name="connsiteX3" fmla="*/ 6096 w 219456"/>
                <a:gd name="connsiteY3" fmla="*/ 1268212 h 1267968"/>
                <a:gd name="connsiteX4" fmla="*/ 6096 w 219456"/>
                <a:gd name="connsiteY4" fmla="*/ 216449 h 1267968"/>
                <a:gd name="connsiteX5" fmla="*/ 216367 w 219456"/>
                <a:gd name="connsiteY5" fmla="*/ 6096 h 126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19456" h="1267968">
                  <a:moveTo>
                    <a:pt x="216367" y="6096"/>
                  </a:moveTo>
                  <a:lnTo>
                    <a:pt x="216367" y="6096"/>
                  </a:lnTo>
                  <a:lnTo>
                    <a:pt x="216367" y="1268212"/>
                  </a:lnTo>
                  <a:lnTo>
                    <a:pt x="6096" y="1268212"/>
                  </a:lnTo>
                  <a:lnTo>
                    <a:pt x="6096" y="216449"/>
                  </a:lnTo>
                  <a:cubicBezTo>
                    <a:pt x="6096" y="100300"/>
                    <a:pt x="100218" y="6177"/>
                    <a:pt x="216367" y="6096"/>
                  </a:cubicBezTo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40" name="Forma libre: forma 39">
              <a:extLst>
                <a:ext uri="{FF2B5EF4-FFF2-40B4-BE49-F238E27FC236}">
                  <a16:creationId xmlns:a16="http://schemas.microsoft.com/office/drawing/2014/main" id="{33BA1DEF-D73A-41DF-8CC7-402B14746325}"/>
                </a:ext>
              </a:extLst>
            </p:cNvPr>
            <p:cNvSpPr/>
            <p:nvPr/>
          </p:nvSpPr>
          <p:spPr>
            <a:xfrm>
              <a:off x="9373128" y="2793797"/>
              <a:ext cx="219456" cy="1267968"/>
            </a:xfrm>
            <a:custGeom>
              <a:avLst/>
              <a:gdLst>
                <a:gd name="connsiteX0" fmla="*/ 216368 w 219456"/>
                <a:gd name="connsiteY0" fmla="*/ 6096 h 1267968"/>
                <a:gd name="connsiteX1" fmla="*/ 216368 w 219456"/>
                <a:gd name="connsiteY1" fmla="*/ 6096 h 1267968"/>
                <a:gd name="connsiteX2" fmla="*/ 216368 w 219456"/>
                <a:gd name="connsiteY2" fmla="*/ 1268212 h 1267968"/>
                <a:gd name="connsiteX3" fmla="*/ 6096 w 219456"/>
                <a:gd name="connsiteY3" fmla="*/ 1268212 h 1267968"/>
                <a:gd name="connsiteX4" fmla="*/ 6096 w 219456"/>
                <a:gd name="connsiteY4" fmla="*/ 216449 h 1267968"/>
                <a:gd name="connsiteX5" fmla="*/ 216287 w 219456"/>
                <a:gd name="connsiteY5" fmla="*/ 6096 h 1267968"/>
                <a:gd name="connsiteX6" fmla="*/ 216368 w 219456"/>
                <a:gd name="connsiteY6" fmla="*/ 6096 h 126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19456" h="1267968">
                  <a:moveTo>
                    <a:pt x="216368" y="6096"/>
                  </a:moveTo>
                  <a:lnTo>
                    <a:pt x="216368" y="6096"/>
                  </a:lnTo>
                  <a:lnTo>
                    <a:pt x="216368" y="1268212"/>
                  </a:lnTo>
                  <a:lnTo>
                    <a:pt x="6096" y="1268212"/>
                  </a:lnTo>
                  <a:lnTo>
                    <a:pt x="6096" y="216449"/>
                  </a:lnTo>
                  <a:cubicBezTo>
                    <a:pt x="6096" y="100300"/>
                    <a:pt x="100138" y="6177"/>
                    <a:pt x="216287" y="6096"/>
                  </a:cubicBezTo>
                  <a:lnTo>
                    <a:pt x="216368" y="6096"/>
                  </a:lnTo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41" name="Forma libre: forma 40">
              <a:extLst>
                <a:ext uri="{FF2B5EF4-FFF2-40B4-BE49-F238E27FC236}">
                  <a16:creationId xmlns:a16="http://schemas.microsoft.com/office/drawing/2014/main" id="{FB483813-5C10-4722-9CD8-6A71426A7F1C}"/>
                </a:ext>
              </a:extLst>
            </p:cNvPr>
            <p:cNvSpPr/>
            <p:nvPr/>
          </p:nvSpPr>
          <p:spPr>
            <a:xfrm>
              <a:off x="8111012" y="2793878"/>
              <a:ext cx="1056640" cy="1267968"/>
            </a:xfrm>
            <a:custGeom>
              <a:avLst/>
              <a:gdLst>
                <a:gd name="connsiteX0" fmla="*/ 74046 w 1056640"/>
                <a:gd name="connsiteY0" fmla="*/ 6096 h 1267968"/>
                <a:gd name="connsiteX1" fmla="*/ 6096 w 1056640"/>
                <a:gd name="connsiteY1" fmla="*/ 216367 h 1267968"/>
                <a:gd name="connsiteX2" fmla="*/ 426802 w 1056640"/>
                <a:gd name="connsiteY2" fmla="*/ 216367 h 1267968"/>
                <a:gd name="connsiteX3" fmla="*/ 426802 w 1056640"/>
                <a:gd name="connsiteY3" fmla="*/ 1268131 h 1267968"/>
                <a:gd name="connsiteX4" fmla="*/ 637155 w 1056640"/>
                <a:gd name="connsiteY4" fmla="*/ 1268131 h 1267968"/>
                <a:gd name="connsiteX5" fmla="*/ 637155 w 1056640"/>
                <a:gd name="connsiteY5" fmla="*/ 216367 h 1267968"/>
                <a:gd name="connsiteX6" fmla="*/ 847507 w 1056640"/>
                <a:gd name="connsiteY6" fmla="*/ 216367 h 1267968"/>
                <a:gd name="connsiteX7" fmla="*/ 1057860 w 1056640"/>
                <a:gd name="connsiteY7" fmla="*/ 6096 h 1267968"/>
                <a:gd name="connsiteX8" fmla="*/ 74046 w 1056640"/>
                <a:gd name="connsiteY8" fmla="*/ 6096 h 126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056640" h="1267968">
                  <a:moveTo>
                    <a:pt x="74046" y="6096"/>
                  </a:moveTo>
                  <a:lnTo>
                    <a:pt x="6096" y="216367"/>
                  </a:lnTo>
                  <a:lnTo>
                    <a:pt x="426802" y="216367"/>
                  </a:lnTo>
                  <a:lnTo>
                    <a:pt x="426802" y="1268131"/>
                  </a:lnTo>
                  <a:lnTo>
                    <a:pt x="637155" y="1268131"/>
                  </a:lnTo>
                  <a:lnTo>
                    <a:pt x="637155" y="216367"/>
                  </a:lnTo>
                  <a:lnTo>
                    <a:pt x="847507" y="216367"/>
                  </a:lnTo>
                  <a:cubicBezTo>
                    <a:pt x="963656" y="216367"/>
                    <a:pt x="1057779" y="122245"/>
                    <a:pt x="1057860" y="6096"/>
                  </a:cubicBezTo>
                  <a:lnTo>
                    <a:pt x="74046" y="6096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42" name="Forma libre: forma 41">
              <a:extLst>
                <a:ext uri="{FF2B5EF4-FFF2-40B4-BE49-F238E27FC236}">
                  <a16:creationId xmlns:a16="http://schemas.microsoft.com/office/drawing/2014/main" id="{BE98922B-DEE1-4F8C-B01C-868E495C2880}"/>
                </a:ext>
              </a:extLst>
            </p:cNvPr>
            <p:cNvSpPr/>
            <p:nvPr/>
          </p:nvSpPr>
          <p:spPr>
            <a:xfrm>
              <a:off x="1602108" y="2793797"/>
              <a:ext cx="845312" cy="1267968"/>
            </a:xfrm>
            <a:custGeom>
              <a:avLst/>
              <a:gdLst>
                <a:gd name="connsiteX0" fmla="*/ 216288 w 845312"/>
                <a:gd name="connsiteY0" fmla="*/ 1057859 h 1267968"/>
                <a:gd name="connsiteX1" fmla="*/ 216288 w 845312"/>
                <a:gd name="connsiteY1" fmla="*/ 6096 h 1267968"/>
                <a:gd name="connsiteX2" fmla="*/ 6098 w 845312"/>
                <a:gd name="connsiteY2" fmla="*/ 6096 h 1267968"/>
                <a:gd name="connsiteX3" fmla="*/ 6098 w 845312"/>
                <a:gd name="connsiteY3" fmla="*/ 1057859 h 1267968"/>
                <a:gd name="connsiteX4" fmla="*/ 6098 w 845312"/>
                <a:gd name="connsiteY4" fmla="*/ 1057859 h 1267968"/>
                <a:gd name="connsiteX5" fmla="*/ 14226 w 845312"/>
                <a:gd name="connsiteY5" fmla="*/ 1116706 h 1267968"/>
                <a:gd name="connsiteX6" fmla="*/ 15201 w 845312"/>
                <a:gd name="connsiteY6" fmla="*/ 1120364 h 1267968"/>
                <a:gd name="connsiteX7" fmla="*/ 17071 w 845312"/>
                <a:gd name="connsiteY7" fmla="*/ 1125566 h 1267968"/>
                <a:gd name="connsiteX8" fmla="*/ 22598 w 845312"/>
                <a:gd name="connsiteY8" fmla="*/ 1140358 h 1267968"/>
                <a:gd name="connsiteX9" fmla="*/ 52021 w 845312"/>
                <a:gd name="connsiteY9" fmla="*/ 1189126 h 1267968"/>
                <a:gd name="connsiteX10" fmla="*/ 124685 w 845312"/>
                <a:gd name="connsiteY10" fmla="*/ 1246916 h 1267968"/>
                <a:gd name="connsiteX11" fmla="*/ 216125 w 845312"/>
                <a:gd name="connsiteY11" fmla="*/ 1268049 h 1267968"/>
                <a:gd name="connsiteX12" fmla="*/ 776957 w 845312"/>
                <a:gd name="connsiteY12" fmla="*/ 1268049 h 1267968"/>
                <a:gd name="connsiteX13" fmla="*/ 847021 w 845312"/>
                <a:gd name="connsiteY13" fmla="*/ 1057697 h 1267968"/>
                <a:gd name="connsiteX14" fmla="*/ 216288 w 845312"/>
                <a:gd name="connsiteY14" fmla="*/ 1057859 h 126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845312" h="1267968">
                  <a:moveTo>
                    <a:pt x="216288" y="1057859"/>
                  </a:moveTo>
                  <a:lnTo>
                    <a:pt x="216288" y="6096"/>
                  </a:lnTo>
                  <a:lnTo>
                    <a:pt x="6098" y="6096"/>
                  </a:lnTo>
                  <a:lnTo>
                    <a:pt x="6098" y="1057859"/>
                  </a:lnTo>
                  <a:lnTo>
                    <a:pt x="6098" y="1057859"/>
                  </a:lnTo>
                  <a:cubicBezTo>
                    <a:pt x="6017" y="1077773"/>
                    <a:pt x="8699" y="1097605"/>
                    <a:pt x="14226" y="1116706"/>
                  </a:cubicBezTo>
                  <a:cubicBezTo>
                    <a:pt x="14632" y="1117925"/>
                    <a:pt x="14795" y="1119226"/>
                    <a:pt x="15201" y="1120364"/>
                  </a:cubicBezTo>
                  <a:cubicBezTo>
                    <a:pt x="15608" y="1121502"/>
                    <a:pt x="16502" y="1123859"/>
                    <a:pt x="17071" y="1125566"/>
                  </a:cubicBezTo>
                  <a:cubicBezTo>
                    <a:pt x="18777" y="1130605"/>
                    <a:pt x="20566" y="1135563"/>
                    <a:pt x="22598" y="1140358"/>
                  </a:cubicBezTo>
                  <a:cubicBezTo>
                    <a:pt x="30157" y="1157915"/>
                    <a:pt x="40073" y="1174252"/>
                    <a:pt x="52021" y="1189126"/>
                  </a:cubicBezTo>
                  <a:cubicBezTo>
                    <a:pt x="71691" y="1213510"/>
                    <a:pt x="96481" y="1233262"/>
                    <a:pt x="124685" y="1246916"/>
                  </a:cubicBezTo>
                  <a:cubicBezTo>
                    <a:pt x="153215" y="1260734"/>
                    <a:pt x="184426" y="1267968"/>
                    <a:pt x="216125" y="1268049"/>
                  </a:cubicBezTo>
                  <a:lnTo>
                    <a:pt x="776957" y="1268049"/>
                  </a:lnTo>
                  <a:lnTo>
                    <a:pt x="847021" y="1057697"/>
                  </a:lnTo>
                  <a:lnTo>
                    <a:pt x="216288" y="1057859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43" name="Forma libre: forma 42">
              <a:extLst>
                <a:ext uri="{FF2B5EF4-FFF2-40B4-BE49-F238E27FC236}">
                  <a16:creationId xmlns:a16="http://schemas.microsoft.com/office/drawing/2014/main" id="{0F3BC8D7-D1F6-4B92-941B-587542123B53}"/>
                </a:ext>
              </a:extLst>
            </p:cNvPr>
            <p:cNvSpPr/>
            <p:nvPr/>
          </p:nvSpPr>
          <p:spPr>
            <a:xfrm>
              <a:off x="-6096" y="2794284"/>
              <a:ext cx="959104" cy="1267968"/>
            </a:xfrm>
            <a:custGeom>
              <a:avLst/>
              <a:gdLst>
                <a:gd name="connsiteX0" fmla="*/ 818815 w 959104"/>
                <a:gd name="connsiteY0" fmla="*/ 411764 h 1267968"/>
                <a:gd name="connsiteX1" fmla="*/ 818815 w 959104"/>
                <a:gd name="connsiteY1" fmla="*/ 285699 h 1267968"/>
                <a:gd name="connsiteX2" fmla="*/ 539130 w 959104"/>
                <a:gd name="connsiteY2" fmla="*/ 6096 h 1267968"/>
                <a:gd name="connsiteX3" fmla="*/ 6096 w 959104"/>
                <a:gd name="connsiteY3" fmla="*/ 6096 h 1267968"/>
                <a:gd name="connsiteX4" fmla="*/ 6096 w 959104"/>
                <a:gd name="connsiteY4" fmla="*/ 1057047 h 1267968"/>
                <a:gd name="connsiteX5" fmla="*/ 216367 w 959104"/>
                <a:gd name="connsiteY5" fmla="*/ 1267399 h 1267968"/>
                <a:gd name="connsiteX6" fmla="*/ 532140 w 959104"/>
                <a:gd name="connsiteY6" fmla="*/ 1267399 h 1267968"/>
                <a:gd name="connsiteX7" fmla="*/ 953821 w 959104"/>
                <a:gd name="connsiteY7" fmla="*/ 892861 h 1267968"/>
                <a:gd name="connsiteX8" fmla="*/ 603260 w 959104"/>
                <a:gd name="connsiteY8" fmla="*/ 530596 h 1267968"/>
                <a:gd name="connsiteX9" fmla="*/ 218562 w 959104"/>
                <a:gd name="connsiteY9" fmla="*/ 531490 h 1267968"/>
                <a:gd name="connsiteX10" fmla="*/ 424282 w 959104"/>
                <a:gd name="connsiteY10" fmla="*/ 737210 h 1267968"/>
                <a:gd name="connsiteX11" fmla="*/ 424932 w 959104"/>
                <a:gd name="connsiteY11" fmla="*/ 737210 h 1267968"/>
                <a:gd name="connsiteX12" fmla="*/ 585785 w 959104"/>
                <a:gd name="connsiteY12" fmla="*/ 737210 h 1267968"/>
                <a:gd name="connsiteX13" fmla="*/ 758261 w 959104"/>
                <a:gd name="connsiteY13" fmla="*/ 889203 h 1267968"/>
                <a:gd name="connsiteX14" fmla="*/ 606268 w 959104"/>
                <a:gd name="connsiteY14" fmla="*/ 1061679 h 1267968"/>
                <a:gd name="connsiteX15" fmla="*/ 585704 w 959104"/>
                <a:gd name="connsiteY15" fmla="*/ 1061679 h 1267968"/>
                <a:gd name="connsiteX16" fmla="*/ 216530 w 959104"/>
                <a:gd name="connsiteY16" fmla="*/ 1061679 h 1267968"/>
                <a:gd name="connsiteX17" fmla="*/ 216530 w 959104"/>
                <a:gd name="connsiteY17" fmla="*/ 211653 h 1267968"/>
                <a:gd name="connsiteX18" fmla="*/ 467685 w 959104"/>
                <a:gd name="connsiteY18" fmla="*/ 211653 h 1267968"/>
                <a:gd name="connsiteX19" fmla="*/ 612689 w 959104"/>
                <a:gd name="connsiteY19" fmla="*/ 356575 h 1267968"/>
                <a:gd name="connsiteX20" fmla="*/ 612689 w 959104"/>
                <a:gd name="connsiteY20" fmla="*/ 530352 h 1267968"/>
                <a:gd name="connsiteX21" fmla="*/ 818815 w 959104"/>
                <a:gd name="connsiteY21" fmla="*/ 411764 h 126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959104" h="1267968">
                  <a:moveTo>
                    <a:pt x="818815" y="411764"/>
                  </a:moveTo>
                  <a:lnTo>
                    <a:pt x="818815" y="285699"/>
                  </a:lnTo>
                  <a:cubicBezTo>
                    <a:pt x="818815" y="131267"/>
                    <a:pt x="693562" y="6096"/>
                    <a:pt x="539130" y="6096"/>
                  </a:cubicBezTo>
                  <a:lnTo>
                    <a:pt x="6096" y="6096"/>
                  </a:lnTo>
                  <a:lnTo>
                    <a:pt x="6096" y="1057047"/>
                  </a:lnTo>
                  <a:cubicBezTo>
                    <a:pt x="6096" y="1173196"/>
                    <a:pt x="100218" y="1267318"/>
                    <a:pt x="216367" y="1267399"/>
                  </a:cubicBezTo>
                  <a:lnTo>
                    <a:pt x="532140" y="1267399"/>
                  </a:lnTo>
                  <a:cubicBezTo>
                    <a:pt x="807436" y="1267399"/>
                    <a:pt x="953821" y="1096711"/>
                    <a:pt x="953821" y="892861"/>
                  </a:cubicBezTo>
                  <a:cubicBezTo>
                    <a:pt x="953821" y="725587"/>
                    <a:pt x="840029" y="530596"/>
                    <a:pt x="603260" y="530596"/>
                  </a:cubicBezTo>
                  <a:lnTo>
                    <a:pt x="218562" y="531490"/>
                  </a:lnTo>
                  <a:cubicBezTo>
                    <a:pt x="218562" y="645119"/>
                    <a:pt x="310652" y="737210"/>
                    <a:pt x="424282" y="737210"/>
                  </a:cubicBezTo>
                  <a:cubicBezTo>
                    <a:pt x="424525" y="737210"/>
                    <a:pt x="424688" y="737210"/>
                    <a:pt x="424932" y="737210"/>
                  </a:cubicBezTo>
                  <a:lnTo>
                    <a:pt x="585785" y="737210"/>
                  </a:lnTo>
                  <a:cubicBezTo>
                    <a:pt x="675356" y="731520"/>
                    <a:pt x="752653" y="799551"/>
                    <a:pt x="758261" y="889203"/>
                  </a:cubicBezTo>
                  <a:cubicBezTo>
                    <a:pt x="763951" y="978774"/>
                    <a:pt x="695919" y="1056071"/>
                    <a:pt x="606268" y="1061679"/>
                  </a:cubicBezTo>
                  <a:cubicBezTo>
                    <a:pt x="599440" y="1062086"/>
                    <a:pt x="592531" y="1062086"/>
                    <a:pt x="585704" y="1061679"/>
                  </a:cubicBezTo>
                  <a:lnTo>
                    <a:pt x="216530" y="1061679"/>
                  </a:lnTo>
                  <a:lnTo>
                    <a:pt x="216530" y="211653"/>
                  </a:lnTo>
                  <a:lnTo>
                    <a:pt x="467685" y="211653"/>
                  </a:lnTo>
                  <a:cubicBezTo>
                    <a:pt x="547014" y="213441"/>
                    <a:pt x="610901" y="277246"/>
                    <a:pt x="612689" y="356575"/>
                  </a:cubicBezTo>
                  <a:lnTo>
                    <a:pt x="612689" y="530352"/>
                  </a:lnTo>
                  <a:lnTo>
                    <a:pt x="818815" y="411764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44" name="Forma libre: forma 43">
              <a:extLst>
                <a:ext uri="{FF2B5EF4-FFF2-40B4-BE49-F238E27FC236}">
                  <a16:creationId xmlns:a16="http://schemas.microsoft.com/office/drawing/2014/main" id="{1895FC8A-72D5-4463-9C24-F7693513FFEA}"/>
                </a:ext>
              </a:extLst>
            </p:cNvPr>
            <p:cNvSpPr/>
            <p:nvPr/>
          </p:nvSpPr>
          <p:spPr>
            <a:xfrm>
              <a:off x="2653792" y="2794284"/>
              <a:ext cx="959104" cy="1267968"/>
            </a:xfrm>
            <a:custGeom>
              <a:avLst/>
              <a:gdLst>
                <a:gd name="connsiteX0" fmla="*/ 818896 w 959104"/>
                <a:gd name="connsiteY0" fmla="*/ 411764 h 1267968"/>
                <a:gd name="connsiteX1" fmla="*/ 818896 w 959104"/>
                <a:gd name="connsiteY1" fmla="*/ 285699 h 1267968"/>
                <a:gd name="connsiteX2" fmla="*/ 539212 w 959104"/>
                <a:gd name="connsiteY2" fmla="*/ 6096 h 1267968"/>
                <a:gd name="connsiteX3" fmla="*/ 6096 w 959104"/>
                <a:gd name="connsiteY3" fmla="*/ 6096 h 1267968"/>
                <a:gd name="connsiteX4" fmla="*/ 6096 w 959104"/>
                <a:gd name="connsiteY4" fmla="*/ 1057047 h 1267968"/>
                <a:gd name="connsiteX5" fmla="*/ 216449 w 959104"/>
                <a:gd name="connsiteY5" fmla="*/ 1267399 h 1267968"/>
                <a:gd name="connsiteX6" fmla="*/ 532222 w 959104"/>
                <a:gd name="connsiteY6" fmla="*/ 1267399 h 1267968"/>
                <a:gd name="connsiteX7" fmla="*/ 953821 w 959104"/>
                <a:gd name="connsiteY7" fmla="*/ 892861 h 1267968"/>
                <a:gd name="connsiteX8" fmla="*/ 603342 w 959104"/>
                <a:gd name="connsiteY8" fmla="*/ 530596 h 1267968"/>
                <a:gd name="connsiteX9" fmla="*/ 218643 w 959104"/>
                <a:gd name="connsiteY9" fmla="*/ 531490 h 1267968"/>
                <a:gd name="connsiteX10" fmla="*/ 424363 w 959104"/>
                <a:gd name="connsiteY10" fmla="*/ 737210 h 1267968"/>
                <a:gd name="connsiteX11" fmla="*/ 424932 w 959104"/>
                <a:gd name="connsiteY11" fmla="*/ 737210 h 1267968"/>
                <a:gd name="connsiteX12" fmla="*/ 585866 w 959104"/>
                <a:gd name="connsiteY12" fmla="*/ 737210 h 1267968"/>
                <a:gd name="connsiteX13" fmla="*/ 737860 w 959104"/>
                <a:gd name="connsiteY13" fmla="*/ 909686 h 1267968"/>
                <a:gd name="connsiteX14" fmla="*/ 585866 w 959104"/>
                <a:gd name="connsiteY14" fmla="*/ 1061679 h 1267968"/>
                <a:gd name="connsiteX15" fmla="*/ 216611 w 959104"/>
                <a:gd name="connsiteY15" fmla="*/ 1061679 h 1267968"/>
                <a:gd name="connsiteX16" fmla="*/ 216611 w 959104"/>
                <a:gd name="connsiteY16" fmla="*/ 211653 h 1267968"/>
                <a:gd name="connsiteX17" fmla="*/ 467766 w 959104"/>
                <a:gd name="connsiteY17" fmla="*/ 211653 h 1267968"/>
                <a:gd name="connsiteX18" fmla="*/ 612770 w 959104"/>
                <a:gd name="connsiteY18" fmla="*/ 356575 h 1267968"/>
                <a:gd name="connsiteX19" fmla="*/ 612770 w 959104"/>
                <a:gd name="connsiteY19" fmla="*/ 530352 h 1267968"/>
                <a:gd name="connsiteX20" fmla="*/ 818896 w 959104"/>
                <a:gd name="connsiteY20" fmla="*/ 411764 h 126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959104" h="1267968">
                  <a:moveTo>
                    <a:pt x="818896" y="411764"/>
                  </a:moveTo>
                  <a:lnTo>
                    <a:pt x="818896" y="285699"/>
                  </a:lnTo>
                  <a:cubicBezTo>
                    <a:pt x="818896" y="131267"/>
                    <a:pt x="693644" y="6096"/>
                    <a:pt x="539212" y="6096"/>
                  </a:cubicBezTo>
                  <a:lnTo>
                    <a:pt x="6096" y="6096"/>
                  </a:lnTo>
                  <a:lnTo>
                    <a:pt x="6096" y="1057047"/>
                  </a:lnTo>
                  <a:cubicBezTo>
                    <a:pt x="6096" y="1173196"/>
                    <a:pt x="100299" y="1267399"/>
                    <a:pt x="216449" y="1267399"/>
                  </a:cubicBezTo>
                  <a:lnTo>
                    <a:pt x="532222" y="1267399"/>
                  </a:lnTo>
                  <a:cubicBezTo>
                    <a:pt x="807517" y="1267399"/>
                    <a:pt x="953821" y="1096711"/>
                    <a:pt x="953821" y="892861"/>
                  </a:cubicBezTo>
                  <a:cubicBezTo>
                    <a:pt x="953821" y="725587"/>
                    <a:pt x="840029" y="530596"/>
                    <a:pt x="603342" y="530596"/>
                  </a:cubicBezTo>
                  <a:lnTo>
                    <a:pt x="218643" y="531490"/>
                  </a:lnTo>
                  <a:cubicBezTo>
                    <a:pt x="218643" y="645119"/>
                    <a:pt x="310734" y="737210"/>
                    <a:pt x="424363" y="737210"/>
                  </a:cubicBezTo>
                  <a:cubicBezTo>
                    <a:pt x="424526" y="737210"/>
                    <a:pt x="424769" y="737210"/>
                    <a:pt x="424932" y="737210"/>
                  </a:cubicBezTo>
                  <a:lnTo>
                    <a:pt x="585866" y="737210"/>
                  </a:lnTo>
                  <a:cubicBezTo>
                    <a:pt x="675437" y="742899"/>
                    <a:pt x="743468" y="820115"/>
                    <a:pt x="737860" y="909686"/>
                  </a:cubicBezTo>
                  <a:cubicBezTo>
                    <a:pt x="732658" y="991372"/>
                    <a:pt x="667553" y="1056477"/>
                    <a:pt x="585866" y="1061679"/>
                  </a:cubicBezTo>
                  <a:lnTo>
                    <a:pt x="216611" y="1061679"/>
                  </a:lnTo>
                  <a:lnTo>
                    <a:pt x="216611" y="211653"/>
                  </a:lnTo>
                  <a:lnTo>
                    <a:pt x="467766" y="211653"/>
                  </a:lnTo>
                  <a:cubicBezTo>
                    <a:pt x="547096" y="213441"/>
                    <a:pt x="610982" y="277246"/>
                    <a:pt x="612770" y="356575"/>
                  </a:cubicBezTo>
                  <a:lnTo>
                    <a:pt x="612770" y="530352"/>
                  </a:lnTo>
                  <a:lnTo>
                    <a:pt x="818896" y="411764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45" name="Forma libre: forma 44">
              <a:extLst>
                <a:ext uri="{FF2B5EF4-FFF2-40B4-BE49-F238E27FC236}">
                  <a16:creationId xmlns:a16="http://schemas.microsoft.com/office/drawing/2014/main" id="{0C10CC6D-C5A8-480E-8020-7A53C27B79FB}"/>
                </a:ext>
              </a:extLst>
            </p:cNvPr>
            <p:cNvSpPr/>
            <p:nvPr/>
          </p:nvSpPr>
          <p:spPr>
            <a:xfrm>
              <a:off x="5297343" y="2793878"/>
              <a:ext cx="219456" cy="1267968"/>
            </a:xfrm>
            <a:custGeom>
              <a:avLst/>
              <a:gdLst>
                <a:gd name="connsiteX0" fmla="*/ 6096 w 219456"/>
                <a:gd name="connsiteY0" fmla="*/ 6096 h 1267968"/>
                <a:gd name="connsiteX1" fmla="*/ 216449 w 219456"/>
                <a:gd name="connsiteY1" fmla="*/ 6096 h 1267968"/>
                <a:gd name="connsiteX2" fmla="*/ 216449 w 219456"/>
                <a:gd name="connsiteY2" fmla="*/ 1268212 h 1267968"/>
                <a:gd name="connsiteX3" fmla="*/ 6096 w 219456"/>
                <a:gd name="connsiteY3" fmla="*/ 1268212 h 126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19456" h="1267968">
                  <a:moveTo>
                    <a:pt x="6096" y="6096"/>
                  </a:moveTo>
                  <a:lnTo>
                    <a:pt x="216449" y="6096"/>
                  </a:lnTo>
                  <a:lnTo>
                    <a:pt x="216449" y="1268212"/>
                  </a:lnTo>
                  <a:lnTo>
                    <a:pt x="6096" y="1268212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46" name="Forma libre: forma 45">
              <a:extLst>
                <a:ext uri="{FF2B5EF4-FFF2-40B4-BE49-F238E27FC236}">
                  <a16:creationId xmlns:a16="http://schemas.microsoft.com/office/drawing/2014/main" id="{99919054-2EED-4836-8DA4-41A4D120F420}"/>
                </a:ext>
              </a:extLst>
            </p:cNvPr>
            <p:cNvSpPr/>
            <p:nvPr/>
          </p:nvSpPr>
          <p:spPr>
            <a:xfrm>
              <a:off x="5507695" y="2793634"/>
              <a:ext cx="487680" cy="1267968"/>
            </a:xfrm>
            <a:custGeom>
              <a:avLst/>
              <a:gdLst>
                <a:gd name="connsiteX0" fmla="*/ 426557 w 487680"/>
                <a:gd name="connsiteY0" fmla="*/ 1268375 h 1267968"/>
                <a:gd name="connsiteX1" fmla="*/ 485323 w 487680"/>
                <a:gd name="connsiteY1" fmla="*/ 1268375 h 1267968"/>
                <a:gd name="connsiteX2" fmla="*/ 248067 w 487680"/>
                <a:gd name="connsiteY2" fmla="*/ 154838 h 1267968"/>
                <a:gd name="connsiteX3" fmla="*/ 64861 w 487680"/>
                <a:gd name="connsiteY3" fmla="*/ 6096 h 1267968"/>
                <a:gd name="connsiteX4" fmla="*/ 6096 w 487680"/>
                <a:gd name="connsiteY4" fmla="*/ 6096 h 1267968"/>
                <a:gd name="connsiteX5" fmla="*/ 243352 w 487680"/>
                <a:gd name="connsiteY5" fmla="*/ 1119632 h 1267968"/>
                <a:gd name="connsiteX6" fmla="*/ 426557 w 487680"/>
                <a:gd name="connsiteY6" fmla="*/ 1267968 h 126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87680" h="1267968">
                  <a:moveTo>
                    <a:pt x="426557" y="1268375"/>
                  </a:moveTo>
                  <a:lnTo>
                    <a:pt x="485323" y="1268375"/>
                  </a:lnTo>
                  <a:lnTo>
                    <a:pt x="248067" y="154838"/>
                  </a:lnTo>
                  <a:cubicBezTo>
                    <a:pt x="229535" y="68356"/>
                    <a:pt x="153294" y="6421"/>
                    <a:pt x="64861" y="6096"/>
                  </a:cubicBezTo>
                  <a:lnTo>
                    <a:pt x="6096" y="6096"/>
                  </a:lnTo>
                  <a:lnTo>
                    <a:pt x="243352" y="1119632"/>
                  </a:lnTo>
                  <a:cubicBezTo>
                    <a:pt x="261803" y="1206114"/>
                    <a:pt x="338125" y="1267887"/>
                    <a:pt x="426557" y="1267968"/>
                  </a:cubicBezTo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47" name="Forma libre: forma 46">
              <a:extLst>
                <a:ext uri="{FF2B5EF4-FFF2-40B4-BE49-F238E27FC236}">
                  <a16:creationId xmlns:a16="http://schemas.microsoft.com/office/drawing/2014/main" id="{256B6BEC-F282-459D-9185-05D5531450E6}"/>
                </a:ext>
              </a:extLst>
            </p:cNvPr>
            <p:cNvSpPr/>
            <p:nvPr/>
          </p:nvSpPr>
          <p:spPr>
            <a:xfrm>
              <a:off x="5986922" y="2794284"/>
              <a:ext cx="487680" cy="1267968"/>
            </a:xfrm>
            <a:custGeom>
              <a:avLst/>
              <a:gdLst>
                <a:gd name="connsiteX0" fmla="*/ 243271 w 487680"/>
                <a:gd name="connsiteY0" fmla="*/ 154595 h 1267968"/>
                <a:gd name="connsiteX1" fmla="*/ 6096 w 487680"/>
                <a:gd name="connsiteY1" fmla="*/ 1268131 h 1267968"/>
                <a:gd name="connsiteX2" fmla="*/ 216367 w 487680"/>
                <a:gd name="connsiteY2" fmla="*/ 1268131 h 1267968"/>
                <a:gd name="connsiteX3" fmla="*/ 485323 w 487680"/>
                <a:gd name="connsiteY3" fmla="*/ 6096 h 1267968"/>
                <a:gd name="connsiteX4" fmla="*/ 426557 w 487680"/>
                <a:gd name="connsiteY4" fmla="*/ 6096 h 1267968"/>
                <a:gd name="connsiteX5" fmla="*/ 243271 w 487680"/>
                <a:gd name="connsiteY5" fmla="*/ 155001 h 126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87680" h="1267968">
                  <a:moveTo>
                    <a:pt x="243271" y="154595"/>
                  </a:moveTo>
                  <a:lnTo>
                    <a:pt x="6096" y="1268131"/>
                  </a:lnTo>
                  <a:lnTo>
                    <a:pt x="216367" y="1268131"/>
                  </a:lnTo>
                  <a:lnTo>
                    <a:pt x="485323" y="6096"/>
                  </a:lnTo>
                  <a:lnTo>
                    <a:pt x="426557" y="6096"/>
                  </a:lnTo>
                  <a:cubicBezTo>
                    <a:pt x="338043" y="6421"/>
                    <a:pt x="261722" y="68438"/>
                    <a:pt x="243271" y="155001"/>
                  </a:cubicBezTo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48" name="Forma libre: forma 47">
              <a:extLst>
                <a:ext uri="{FF2B5EF4-FFF2-40B4-BE49-F238E27FC236}">
                  <a16:creationId xmlns:a16="http://schemas.microsoft.com/office/drawing/2014/main" id="{39532293-334F-4A91-811A-578205DDD52E}"/>
                </a:ext>
              </a:extLst>
            </p:cNvPr>
            <p:cNvSpPr/>
            <p:nvPr/>
          </p:nvSpPr>
          <p:spPr>
            <a:xfrm>
              <a:off x="6466149" y="2793878"/>
              <a:ext cx="219456" cy="1267968"/>
            </a:xfrm>
            <a:custGeom>
              <a:avLst/>
              <a:gdLst>
                <a:gd name="connsiteX0" fmla="*/ 6096 w 219456"/>
                <a:gd name="connsiteY0" fmla="*/ 6096 h 1267968"/>
                <a:gd name="connsiteX1" fmla="*/ 216449 w 219456"/>
                <a:gd name="connsiteY1" fmla="*/ 6096 h 1267968"/>
                <a:gd name="connsiteX2" fmla="*/ 216449 w 219456"/>
                <a:gd name="connsiteY2" fmla="*/ 1268212 h 1267968"/>
                <a:gd name="connsiteX3" fmla="*/ 6096 w 219456"/>
                <a:gd name="connsiteY3" fmla="*/ 1268212 h 126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19456" h="1267968">
                  <a:moveTo>
                    <a:pt x="6096" y="6096"/>
                  </a:moveTo>
                  <a:lnTo>
                    <a:pt x="216449" y="6096"/>
                  </a:lnTo>
                  <a:lnTo>
                    <a:pt x="216449" y="1268212"/>
                  </a:lnTo>
                  <a:lnTo>
                    <a:pt x="6096" y="1268212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49" name="Forma libre: forma 48">
              <a:extLst>
                <a:ext uri="{FF2B5EF4-FFF2-40B4-BE49-F238E27FC236}">
                  <a16:creationId xmlns:a16="http://schemas.microsoft.com/office/drawing/2014/main" id="{A2A04286-8419-49D6-8497-C412361031AF}"/>
                </a:ext>
              </a:extLst>
            </p:cNvPr>
            <p:cNvSpPr/>
            <p:nvPr/>
          </p:nvSpPr>
          <p:spPr>
            <a:xfrm>
              <a:off x="9815617" y="2776728"/>
              <a:ext cx="950976" cy="1300480"/>
            </a:xfrm>
            <a:custGeom>
              <a:avLst/>
              <a:gdLst>
                <a:gd name="connsiteX0" fmla="*/ 889935 w 950976"/>
                <a:gd name="connsiteY0" fmla="*/ 286350 h 1300480"/>
                <a:gd name="connsiteX1" fmla="*/ 285618 w 950976"/>
                <a:gd name="connsiteY1" fmla="*/ 417779 h 1300480"/>
                <a:gd name="connsiteX2" fmla="*/ 417047 w 950976"/>
                <a:gd name="connsiteY2" fmla="*/ 1022096 h 1300480"/>
                <a:gd name="connsiteX3" fmla="*/ 653410 w 950976"/>
                <a:gd name="connsiteY3" fmla="*/ 1091509 h 1300480"/>
                <a:gd name="connsiteX4" fmla="*/ 927242 w 950976"/>
                <a:gd name="connsiteY4" fmla="*/ 997712 h 1300480"/>
                <a:gd name="connsiteX5" fmla="*/ 927242 w 950976"/>
                <a:gd name="connsiteY5" fmla="*/ 1240170 h 1300480"/>
                <a:gd name="connsiteX6" fmla="*/ 653736 w 950976"/>
                <a:gd name="connsiteY6" fmla="*/ 1301862 h 1300480"/>
                <a:gd name="connsiteX7" fmla="*/ 6096 w 950976"/>
                <a:gd name="connsiteY7" fmla="*/ 653735 h 1300480"/>
                <a:gd name="connsiteX8" fmla="*/ 654304 w 950976"/>
                <a:gd name="connsiteY8" fmla="*/ 6096 h 1300480"/>
                <a:gd name="connsiteX9" fmla="*/ 948050 w 950976"/>
                <a:gd name="connsiteY9" fmla="*/ 76647 h 1300480"/>
                <a:gd name="connsiteX10" fmla="*/ 889935 w 950976"/>
                <a:gd name="connsiteY10" fmla="*/ 286350 h 13004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950976" h="1300480">
                  <a:moveTo>
                    <a:pt x="889935" y="286350"/>
                  </a:moveTo>
                  <a:cubicBezTo>
                    <a:pt x="686735" y="155814"/>
                    <a:pt x="416235" y="214661"/>
                    <a:pt x="285618" y="417779"/>
                  </a:cubicBezTo>
                  <a:cubicBezTo>
                    <a:pt x="155082" y="620979"/>
                    <a:pt x="213929" y="891479"/>
                    <a:pt x="417047" y="1022096"/>
                  </a:cubicBezTo>
                  <a:cubicBezTo>
                    <a:pt x="487599" y="1067369"/>
                    <a:pt x="569610" y="1091509"/>
                    <a:pt x="653410" y="1091509"/>
                  </a:cubicBezTo>
                  <a:cubicBezTo>
                    <a:pt x="752571" y="1091753"/>
                    <a:pt x="849051" y="1058753"/>
                    <a:pt x="927242" y="997712"/>
                  </a:cubicBezTo>
                  <a:lnTo>
                    <a:pt x="927242" y="1240170"/>
                  </a:lnTo>
                  <a:cubicBezTo>
                    <a:pt x="841817" y="1280892"/>
                    <a:pt x="748345" y="1302024"/>
                    <a:pt x="653736" y="1301862"/>
                  </a:cubicBezTo>
                  <a:cubicBezTo>
                    <a:pt x="295941" y="1301699"/>
                    <a:pt x="5933" y="1011530"/>
                    <a:pt x="6096" y="653735"/>
                  </a:cubicBezTo>
                  <a:cubicBezTo>
                    <a:pt x="6259" y="295941"/>
                    <a:pt x="296428" y="5934"/>
                    <a:pt x="654304" y="6096"/>
                  </a:cubicBezTo>
                  <a:cubicBezTo>
                    <a:pt x="756391" y="6096"/>
                    <a:pt x="857097" y="30318"/>
                    <a:pt x="948050" y="76647"/>
                  </a:cubicBezTo>
                  <a:lnTo>
                    <a:pt x="889935" y="286350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50" name="Forma libre: forma 49">
              <a:extLst>
                <a:ext uri="{FF2B5EF4-FFF2-40B4-BE49-F238E27FC236}">
                  <a16:creationId xmlns:a16="http://schemas.microsoft.com/office/drawing/2014/main" id="{D01EC410-D36A-4F48-A798-C93BBCB4BE7B}"/>
                </a:ext>
              </a:extLst>
            </p:cNvPr>
            <p:cNvSpPr/>
            <p:nvPr/>
          </p:nvSpPr>
          <p:spPr>
            <a:xfrm>
              <a:off x="6886773" y="2794041"/>
              <a:ext cx="1276096" cy="1267968"/>
            </a:xfrm>
            <a:custGeom>
              <a:avLst/>
              <a:gdLst>
                <a:gd name="connsiteX0" fmla="*/ 1060135 w 1276096"/>
                <a:gd name="connsiteY0" fmla="*/ 1267968 h 1267968"/>
                <a:gd name="connsiteX1" fmla="*/ 1273007 w 1276096"/>
                <a:gd name="connsiteY1" fmla="*/ 1267968 h 1267968"/>
                <a:gd name="connsiteX2" fmla="*/ 900501 w 1276096"/>
                <a:gd name="connsiteY2" fmla="*/ 149962 h 1267968"/>
                <a:gd name="connsiteX3" fmla="*/ 700959 w 1276096"/>
                <a:gd name="connsiteY3" fmla="*/ 6096 h 1267968"/>
                <a:gd name="connsiteX4" fmla="*/ 426801 w 1276096"/>
                <a:gd name="connsiteY4" fmla="*/ 6096 h 1267968"/>
                <a:gd name="connsiteX5" fmla="*/ 6096 w 1276096"/>
                <a:gd name="connsiteY5" fmla="*/ 1268212 h 1267968"/>
                <a:gd name="connsiteX6" fmla="*/ 218968 w 1276096"/>
                <a:gd name="connsiteY6" fmla="*/ 1268212 h 1267968"/>
                <a:gd name="connsiteX7" fmla="*/ 324145 w 1276096"/>
                <a:gd name="connsiteY7" fmla="*/ 952683 h 1267968"/>
                <a:gd name="connsiteX8" fmla="*/ 673649 w 1276096"/>
                <a:gd name="connsiteY8" fmla="*/ 952683 h 1267968"/>
                <a:gd name="connsiteX9" fmla="*/ 884001 w 1276096"/>
                <a:gd name="connsiteY9" fmla="*/ 742330 h 1267968"/>
                <a:gd name="connsiteX10" fmla="*/ 884001 w 1276096"/>
                <a:gd name="connsiteY10" fmla="*/ 742330 h 1267968"/>
                <a:gd name="connsiteX11" fmla="*/ 394127 w 1276096"/>
                <a:gd name="connsiteY11" fmla="*/ 742330 h 1267968"/>
                <a:gd name="connsiteX12" fmla="*/ 639511 w 1276096"/>
                <a:gd name="connsiteY12" fmla="*/ 6096 h 1267968"/>
                <a:gd name="connsiteX13" fmla="*/ 1060135 w 1276096"/>
                <a:gd name="connsiteY13" fmla="*/ 1267968 h 126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276096" h="1267968">
                  <a:moveTo>
                    <a:pt x="1060135" y="1267968"/>
                  </a:moveTo>
                  <a:lnTo>
                    <a:pt x="1273007" y="1267968"/>
                  </a:lnTo>
                  <a:lnTo>
                    <a:pt x="900501" y="149962"/>
                  </a:lnTo>
                  <a:cubicBezTo>
                    <a:pt x="871891" y="64049"/>
                    <a:pt x="791505" y="6096"/>
                    <a:pt x="700959" y="6096"/>
                  </a:cubicBezTo>
                  <a:lnTo>
                    <a:pt x="426801" y="6096"/>
                  </a:lnTo>
                  <a:lnTo>
                    <a:pt x="6096" y="1268212"/>
                  </a:lnTo>
                  <a:lnTo>
                    <a:pt x="218968" y="1268212"/>
                  </a:lnTo>
                  <a:lnTo>
                    <a:pt x="324145" y="952683"/>
                  </a:lnTo>
                  <a:lnTo>
                    <a:pt x="673649" y="952683"/>
                  </a:lnTo>
                  <a:cubicBezTo>
                    <a:pt x="789798" y="952683"/>
                    <a:pt x="884001" y="858479"/>
                    <a:pt x="884001" y="742330"/>
                  </a:cubicBezTo>
                  <a:lnTo>
                    <a:pt x="884001" y="742330"/>
                  </a:lnTo>
                  <a:cubicBezTo>
                    <a:pt x="884001" y="742330"/>
                    <a:pt x="394127" y="742330"/>
                    <a:pt x="394127" y="742330"/>
                  </a:cubicBezTo>
                  <a:lnTo>
                    <a:pt x="639511" y="6096"/>
                  </a:lnTo>
                  <a:lnTo>
                    <a:pt x="1060135" y="1267968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51" name="Forma libre: forma 50">
              <a:extLst>
                <a:ext uri="{FF2B5EF4-FFF2-40B4-BE49-F238E27FC236}">
                  <a16:creationId xmlns:a16="http://schemas.microsoft.com/office/drawing/2014/main" id="{1A2BE21C-BC9E-4EA3-A472-5BCE2B277FCC}"/>
                </a:ext>
              </a:extLst>
            </p:cNvPr>
            <p:cNvSpPr/>
            <p:nvPr/>
          </p:nvSpPr>
          <p:spPr>
            <a:xfrm>
              <a:off x="10918749" y="2794041"/>
              <a:ext cx="1276096" cy="1267968"/>
            </a:xfrm>
            <a:custGeom>
              <a:avLst/>
              <a:gdLst>
                <a:gd name="connsiteX0" fmla="*/ 1060380 w 1276096"/>
                <a:gd name="connsiteY0" fmla="*/ 1267968 h 1267968"/>
                <a:gd name="connsiteX1" fmla="*/ 1273251 w 1276096"/>
                <a:gd name="connsiteY1" fmla="*/ 1267968 h 1267968"/>
                <a:gd name="connsiteX2" fmla="*/ 900420 w 1276096"/>
                <a:gd name="connsiteY2" fmla="*/ 149962 h 1267968"/>
                <a:gd name="connsiteX3" fmla="*/ 700877 w 1276096"/>
                <a:gd name="connsiteY3" fmla="*/ 6096 h 1267968"/>
                <a:gd name="connsiteX4" fmla="*/ 426801 w 1276096"/>
                <a:gd name="connsiteY4" fmla="*/ 6096 h 1267968"/>
                <a:gd name="connsiteX5" fmla="*/ 6096 w 1276096"/>
                <a:gd name="connsiteY5" fmla="*/ 1268212 h 1267968"/>
                <a:gd name="connsiteX6" fmla="*/ 218969 w 1276096"/>
                <a:gd name="connsiteY6" fmla="*/ 1268212 h 1267968"/>
                <a:gd name="connsiteX7" fmla="*/ 324145 w 1276096"/>
                <a:gd name="connsiteY7" fmla="*/ 952683 h 1267968"/>
                <a:gd name="connsiteX8" fmla="*/ 673649 w 1276096"/>
                <a:gd name="connsiteY8" fmla="*/ 952683 h 1267968"/>
                <a:gd name="connsiteX9" fmla="*/ 884001 w 1276096"/>
                <a:gd name="connsiteY9" fmla="*/ 742330 h 1267968"/>
                <a:gd name="connsiteX10" fmla="*/ 884001 w 1276096"/>
                <a:gd name="connsiteY10" fmla="*/ 742330 h 1267968"/>
                <a:gd name="connsiteX11" fmla="*/ 394127 w 1276096"/>
                <a:gd name="connsiteY11" fmla="*/ 742330 h 1267968"/>
                <a:gd name="connsiteX12" fmla="*/ 639512 w 1276096"/>
                <a:gd name="connsiteY12" fmla="*/ 6096 h 1267968"/>
                <a:gd name="connsiteX13" fmla="*/ 1060380 w 1276096"/>
                <a:gd name="connsiteY13" fmla="*/ 1267968 h 126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276096" h="1267968">
                  <a:moveTo>
                    <a:pt x="1060380" y="1267968"/>
                  </a:moveTo>
                  <a:lnTo>
                    <a:pt x="1273251" y="1267968"/>
                  </a:lnTo>
                  <a:lnTo>
                    <a:pt x="900420" y="149962"/>
                  </a:lnTo>
                  <a:cubicBezTo>
                    <a:pt x="871809" y="64049"/>
                    <a:pt x="791423" y="6096"/>
                    <a:pt x="700877" y="6096"/>
                  </a:cubicBezTo>
                  <a:lnTo>
                    <a:pt x="426801" y="6096"/>
                  </a:lnTo>
                  <a:lnTo>
                    <a:pt x="6096" y="1268212"/>
                  </a:lnTo>
                  <a:lnTo>
                    <a:pt x="218969" y="1268212"/>
                  </a:lnTo>
                  <a:lnTo>
                    <a:pt x="324145" y="952683"/>
                  </a:lnTo>
                  <a:lnTo>
                    <a:pt x="673649" y="952683"/>
                  </a:lnTo>
                  <a:cubicBezTo>
                    <a:pt x="789798" y="952683"/>
                    <a:pt x="884001" y="858479"/>
                    <a:pt x="884001" y="742330"/>
                  </a:cubicBezTo>
                  <a:lnTo>
                    <a:pt x="884001" y="742330"/>
                  </a:lnTo>
                  <a:cubicBezTo>
                    <a:pt x="884001" y="742330"/>
                    <a:pt x="394127" y="742330"/>
                    <a:pt x="394127" y="742330"/>
                  </a:cubicBezTo>
                  <a:lnTo>
                    <a:pt x="639512" y="6096"/>
                  </a:lnTo>
                  <a:lnTo>
                    <a:pt x="1060380" y="1267968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</p:grpSp>
    </p:spTree>
    <p:extLst>
      <p:ext uri="{BB962C8B-B14F-4D97-AF65-F5344CB8AC3E}">
        <p14:creationId xmlns:p14="http://schemas.microsoft.com/office/powerpoint/2010/main" val="69905137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4997" fill="hold"/>
                                        <p:tgtEl>
                                          <p:spTgt spid="6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  <p:par>
                                <p:cTn id="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" dur="25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1666 -0.00046 L 3.75E-6 1.85185E-6 " pathEditMode="relative" rAng="0" ptsTypes="AA">
                                      <p:cBhvr>
                                        <p:cTn id="11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833" y="23"/>
                                    </p:animMotion>
                                  </p:childTnLst>
                                </p:cTn>
                              </p:par>
                              <p:par>
                                <p:cTn id="1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25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25E-6 0.03889 L 1.25E-6 1.85185E-6 " pathEditMode="relative" rAng="0" ptsTypes="AA">
                                      <p:cBhvr>
                                        <p:cTn id="16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944"/>
                                    </p:animMotion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25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3.75E-6 -0.03472 L -3.75E-6 1.85185E-6 " pathEditMode="relative" rAng="0" ptsTypes="AA">
                                      <p:cBhvr>
                                        <p:cTn id="27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736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28" repeatCount="indefinite" fill="hold" display="0">
                  <p:stCondLst>
                    <p:cond delay="indefinite"/>
                  </p:stCondLst>
                </p:cTn>
                <p:tgtEl>
                  <p:spTgt spid="6"/>
                </p:tgtEl>
              </p:cMediaNode>
            </p:video>
          </p:childTnLst>
        </p:cTn>
      </p:par>
    </p:tnLst>
    <p:bldLst>
      <p:bldP spid="2" grpId="0"/>
      <p:bldP spid="2" grpId="1"/>
      <p:bldP spid="7" grpId="0">
        <p:tmplLst>
          <p:tmpl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250"/>
                        <p:tgtEl>
                          <p:spTgt spid="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7" grpId="1"/>
      <p:bldP spid="8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9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0" grpId="0" animBg="1"/>
      <p:bldP spid="10" grpId="1" animBg="1"/>
    </p:bld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6_Esquema Personalizado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m 3" descr="Uma imagem com desfocar, Saturação de cores, azul, Azul elétrico&#10;&#10;Os conteúdos gerados por IA podem estar incorretos.">
            <a:extLst>
              <a:ext uri="{FF2B5EF4-FFF2-40B4-BE49-F238E27FC236}">
                <a16:creationId xmlns:a16="http://schemas.microsoft.com/office/drawing/2014/main" id="{07604BDF-8E3C-4BCD-FA7F-474F36FB5F3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6" name="Título 1">
            <a:extLst>
              <a:ext uri="{FF2B5EF4-FFF2-40B4-BE49-F238E27FC236}">
                <a16:creationId xmlns:a16="http://schemas.microsoft.com/office/drawing/2014/main" id="{A839413C-6728-DE80-D512-50A6C4937A4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219200" y="3939777"/>
            <a:ext cx="7315200" cy="853282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pt-PT" dirty="0"/>
              <a:t>Insertar título</a:t>
            </a:r>
            <a:br>
              <a:rPr lang="pt-PT" dirty="0"/>
            </a:br>
            <a:r>
              <a:rPr lang="pt-PT" dirty="0"/>
              <a:t>del separador</a:t>
            </a:r>
          </a:p>
        </p:txBody>
      </p:sp>
      <p:sp>
        <p:nvSpPr>
          <p:cNvPr id="7" name="Forma livre: Forma 6">
            <a:extLst>
              <a:ext uri="{FF2B5EF4-FFF2-40B4-BE49-F238E27FC236}">
                <a16:creationId xmlns:a16="http://schemas.microsoft.com/office/drawing/2014/main" id="{76FE8077-CFEC-68AB-6436-32A3FADACFE0}"/>
              </a:ext>
            </a:extLst>
          </p:cNvPr>
          <p:cNvSpPr/>
          <p:nvPr userDrawn="1"/>
        </p:nvSpPr>
        <p:spPr>
          <a:xfrm>
            <a:off x="1219200" y="-11890"/>
            <a:ext cx="2105314" cy="3593290"/>
          </a:xfrm>
          <a:custGeom>
            <a:avLst/>
            <a:gdLst>
              <a:gd name="connsiteX0" fmla="*/ 2220906 w 2220906"/>
              <a:gd name="connsiteY0" fmla="*/ 0 h 524519"/>
              <a:gd name="connsiteX1" fmla="*/ 2220906 w 2220906"/>
              <a:gd name="connsiteY1" fmla="*/ 524457 h 524519"/>
              <a:gd name="connsiteX2" fmla="*/ 0 w 2220906"/>
              <a:gd name="connsiteY2" fmla="*/ 524519 h 524519"/>
              <a:gd name="connsiteX3" fmla="*/ 0 w 2220906"/>
              <a:gd name="connsiteY3" fmla="*/ 62 h 5245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220906" h="524519">
                <a:moveTo>
                  <a:pt x="2220906" y="0"/>
                </a:moveTo>
                <a:lnTo>
                  <a:pt x="2220906" y="524457"/>
                </a:lnTo>
                <a:lnTo>
                  <a:pt x="0" y="524519"/>
                </a:lnTo>
                <a:lnTo>
                  <a:pt x="0" y="62"/>
                </a:lnTo>
                <a:close/>
              </a:path>
            </a:pathLst>
          </a:custGeom>
          <a:solidFill>
            <a:schemeClr val="bg1"/>
          </a:solidFill>
          <a:ln w="4244" cap="flat">
            <a:noFill/>
            <a:prstDash val="solid"/>
            <a:miter/>
          </a:ln>
          <a:effectLst>
            <a:outerShdw blurRad="254000" algn="ctr" rotWithShape="0">
              <a:srgbClr val="132153">
                <a:alpha val="5000"/>
              </a:srgb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pt-PT">
              <a:solidFill>
                <a:schemeClr val="tx1"/>
              </a:solidFill>
            </a:endParaRPr>
          </a:p>
        </p:txBody>
      </p:sp>
      <p:sp>
        <p:nvSpPr>
          <p:cNvPr id="8" name="Marcador de Posição do Texto 8">
            <a:extLst>
              <a:ext uri="{FF2B5EF4-FFF2-40B4-BE49-F238E27FC236}">
                <a16:creationId xmlns:a16="http://schemas.microsoft.com/office/drawing/2014/main" id="{F9CAEA87-5323-A3A3-042C-E6B4D609133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219200" y="4977216"/>
            <a:ext cx="7315200" cy="560515"/>
          </a:xfrm>
        </p:spPr>
        <p:txBody>
          <a:bodyPr>
            <a:normAutofit/>
          </a:bodyPr>
          <a:lstStyle>
            <a:lvl1pPr>
              <a:defRPr sz="2000">
                <a:solidFill>
                  <a:schemeClr val="tx2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pt-PT" dirty="0"/>
              <a:t>Insertar subtítulo del separador</a:t>
            </a:r>
          </a:p>
        </p:txBody>
      </p:sp>
      <p:sp>
        <p:nvSpPr>
          <p:cNvPr id="9" name="Marcador de Posição do Texto 8">
            <a:extLst>
              <a:ext uri="{FF2B5EF4-FFF2-40B4-BE49-F238E27FC236}">
                <a16:creationId xmlns:a16="http://schemas.microsoft.com/office/drawing/2014/main" id="{F4F36660-DA38-51BD-4DB7-7CED80CF5DC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219200" y="2418184"/>
            <a:ext cx="2105314" cy="1010432"/>
          </a:xfrm>
        </p:spPr>
        <p:txBody>
          <a:bodyPr>
            <a:noAutofit/>
          </a:bodyPr>
          <a:lstStyle>
            <a:lvl1pPr algn="ctr">
              <a:defRPr sz="8000">
                <a:solidFill>
                  <a:schemeClr val="tx1"/>
                </a:solidFill>
                <a:latin typeface="+mj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pt-PT" dirty="0"/>
              <a:t>NR</a:t>
            </a:r>
          </a:p>
        </p:txBody>
      </p:sp>
    </p:spTree>
    <p:extLst>
      <p:ext uri="{BB962C8B-B14F-4D97-AF65-F5344CB8AC3E}">
        <p14:creationId xmlns:p14="http://schemas.microsoft.com/office/powerpoint/2010/main" val="378572182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1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10" presetClass="entr" presetSubtype="0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10" presetClass="entr" presetSubtype="0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25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42" presetClass="path" presetSubtype="0" decel="100000" fill="hold" grpId="1" nodeType="withEffect">
                                  <p:stCondLst>
                                    <p:cond delay="300"/>
                                  </p:stCondLst>
                                  <p:childTnLst>
                                    <p:animMotion origin="layout" path="M 0.01666 -0.00046 L 3.75E-6 1.85185E-6 " pathEditMode="relative" rAng="0" ptsTypes="AA">
                                      <p:cBhvr>
                                        <p:cTn id="16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833" y="23"/>
                                    </p:animMotion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25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42" presetClass="path" presetSubtype="0" decel="100000" fill="hold" grpId="1" nodeType="withEffect">
                                  <p:stCondLst>
                                    <p:cond delay="300"/>
                                  </p:stCondLst>
                                  <p:childTnLst>
                                    <p:animMotion origin="layout" path="M 1.25E-6 0.03889 L 1.25E-6 1.85185E-6 " pathEditMode="relative" rAng="0" ptsTypes="AA">
                                      <p:cBhvr>
                                        <p:cTn id="21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944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6" grpId="1"/>
      <p:bldP spid="7" grpId="0" animBg="1"/>
      <p:bldP spid="8" grpId="0">
        <p:tmplLst>
          <p:tmpl>
            <p:tnLst>
              <p:par>
                <p:cTn presetID="10" presetClass="entr" presetSubtype="0" fill="hold" nodeType="withEffect">
                  <p:stCondLst>
                    <p:cond delay="3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250"/>
                        <p:tgtEl>
                          <p:spTgt spid="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8" grpId="1">
        <p:tmplLst>
          <p:tmpl>
            <p:tnLst>
              <p:par>
                <p:cTn presetID="42" presetClass="path" presetSubtype="0" decel="100000" fill="hold" nodeType="withEffect">
                  <p:stCondLst>
                    <p:cond delay="300"/>
                  </p:stCondLst>
                  <p:childTnLst>
                    <p:animMotion origin="layout" path="M 1.25E-6 0.03889 L 1.25E-6 1.85185E-6 " pathEditMode="relative" rAng="0" ptsTypes="AA">
                      <p:cBhvr>
                        <p:cTn dur="500" fill="hold"/>
                        <p:tgtEl>
                          <p:spTgt spid="8"/>
                        </p:tgtEl>
                        <p:attrNameLst>
                          <p:attrName>ppt_x</p:attrName>
                          <p:attrName>ppt_y</p:attrName>
                        </p:attrNameLst>
                      </p:cBhvr>
                      <p:rCtr x="0" y="-1944"/>
                    </p:animMotion>
                  </p:childTnLst>
                </p:cTn>
              </p:par>
            </p:tnLst>
          </p:tmpl>
        </p:tmplLst>
      </p:bldP>
      <p:bldP spid="9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3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9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apositiva básic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ítulo 6">
            <a:extLst>
              <a:ext uri="{FF2B5EF4-FFF2-40B4-BE49-F238E27FC236}">
                <a16:creationId xmlns:a16="http://schemas.microsoft.com/office/drawing/2014/main" id="{31EC9DD0-687B-D7F1-FAA0-937A87C733C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3184" y="550508"/>
            <a:ext cx="11165632" cy="712204"/>
          </a:xfrm>
        </p:spPr>
        <p:txBody>
          <a:bodyPr>
            <a:normAutofit/>
          </a:bodyPr>
          <a:lstStyle>
            <a:lvl1pPr>
              <a:defRPr sz="3200"/>
            </a:lvl1pPr>
          </a:lstStyle>
          <a:p>
            <a:r>
              <a:rPr lang="pt-PT" dirty="0"/>
              <a:t>Insertar título de la slide</a:t>
            </a:r>
          </a:p>
        </p:txBody>
      </p:sp>
      <p:sp>
        <p:nvSpPr>
          <p:cNvPr id="9" name="Marcador de Posição do Texto 8">
            <a:extLst>
              <a:ext uri="{FF2B5EF4-FFF2-40B4-BE49-F238E27FC236}">
                <a16:creationId xmlns:a16="http://schemas.microsoft.com/office/drawing/2014/main" id="{85DA4BC1-E5F3-C7C5-8486-CFE727EFAD7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12763" y="1156317"/>
            <a:ext cx="11166475" cy="355243"/>
          </a:xfrm>
        </p:spPr>
        <p:txBody>
          <a:bodyPr>
            <a:normAutofit/>
          </a:bodyPr>
          <a:lstStyle>
            <a:lvl1pPr>
              <a:defRPr sz="200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pt-PT" dirty="0"/>
              <a:t>Insertar subtítulo de la slide</a:t>
            </a:r>
          </a:p>
        </p:txBody>
      </p:sp>
      <p:sp>
        <p:nvSpPr>
          <p:cNvPr id="11" name="Marcador de Posição do Texto 10">
            <a:extLst>
              <a:ext uri="{FF2B5EF4-FFF2-40B4-BE49-F238E27FC236}">
                <a16:creationId xmlns:a16="http://schemas.microsoft.com/office/drawing/2014/main" id="{65EABFB1-EAAC-FC68-2784-47F8027F05D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12763" y="1744663"/>
            <a:ext cx="5346700" cy="4478337"/>
          </a:xfrm>
        </p:spPr>
        <p:txBody>
          <a:bodyPr/>
          <a:lstStyle>
            <a:lvl1pPr>
              <a:defRPr/>
            </a:lvl1pPr>
            <a:lvl2pPr>
              <a:defRPr/>
            </a:lvl2pPr>
          </a:lstStyle>
          <a:p>
            <a:pPr lvl="0"/>
            <a:r>
              <a:rPr lang="es-ES" dirty="0"/>
              <a:t>Haz </a:t>
            </a:r>
            <a:r>
              <a:rPr lang="es-ES" dirty="0" err="1"/>
              <a:t>click</a:t>
            </a:r>
            <a:r>
              <a:rPr lang="es-ES" dirty="0"/>
              <a:t> para editar los estilos del texto del modelo global</a:t>
            </a:r>
            <a:endParaRPr lang="pt-PT" dirty="0"/>
          </a:p>
          <a:p>
            <a:pPr lvl="1"/>
            <a:r>
              <a:rPr lang="es-ES" dirty="0"/>
              <a:t>Segundo nivel</a:t>
            </a:r>
          </a:p>
          <a:p>
            <a:pPr lvl="1"/>
            <a:r>
              <a:rPr lang="es-ES" dirty="0"/>
              <a:t>Tercer nivel</a:t>
            </a:r>
          </a:p>
          <a:p>
            <a:pPr lvl="1"/>
            <a:r>
              <a:rPr lang="es-ES" dirty="0"/>
              <a:t>Cuarto nivel</a:t>
            </a:r>
          </a:p>
          <a:p>
            <a:pPr lvl="1"/>
            <a:r>
              <a:rPr lang="es-ES" dirty="0"/>
              <a:t>Quinto nivel</a:t>
            </a:r>
            <a:endParaRPr lang="pt-PT" dirty="0"/>
          </a:p>
        </p:txBody>
      </p:sp>
      <p:sp>
        <p:nvSpPr>
          <p:cNvPr id="12" name="Marcador de Posição do Texto 10">
            <a:extLst>
              <a:ext uri="{FF2B5EF4-FFF2-40B4-BE49-F238E27FC236}">
                <a16:creationId xmlns:a16="http://schemas.microsoft.com/office/drawing/2014/main" id="{867636B6-4C67-E9AD-A356-C73D5E3102F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332539" y="1744663"/>
            <a:ext cx="5346700" cy="4478337"/>
          </a:xfrm>
        </p:spPr>
        <p:txBody>
          <a:bodyPr/>
          <a:lstStyle>
            <a:lvl1pPr>
              <a:defRPr/>
            </a:lvl1pPr>
            <a:lvl2pPr>
              <a:defRPr/>
            </a:lvl2pPr>
          </a:lstStyle>
          <a:p>
            <a:pPr lvl="0"/>
            <a:r>
              <a:rPr lang="es-ES" dirty="0"/>
              <a:t>Haz </a:t>
            </a:r>
            <a:r>
              <a:rPr lang="es-ES" dirty="0" err="1"/>
              <a:t>click</a:t>
            </a:r>
            <a:r>
              <a:rPr lang="es-ES" dirty="0"/>
              <a:t> para editar los estilos del texto del modelo global</a:t>
            </a:r>
            <a:endParaRPr lang="pt-PT" dirty="0"/>
          </a:p>
          <a:p>
            <a:pPr lvl="1"/>
            <a:r>
              <a:rPr lang="es-ES" dirty="0"/>
              <a:t>Segundo nivel</a:t>
            </a:r>
          </a:p>
          <a:p>
            <a:pPr lvl="1"/>
            <a:r>
              <a:rPr lang="es-ES" dirty="0"/>
              <a:t>Tercer nivel</a:t>
            </a:r>
          </a:p>
          <a:p>
            <a:pPr lvl="1"/>
            <a:r>
              <a:rPr lang="es-ES" dirty="0"/>
              <a:t>Cuarto nivel</a:t>
            </a:r>
          </a:p>
          <a:p>
            <a:pPr lvl="1"/>
            <a:r>
              <a:rPr lang="es-ES" dirty="0"/>
              <a:t>Quinto nivel</a:t>
            </a:r>
            <a:endParaRPr lang="pt-PT" dirty="0"/>
          </a:p>
          <a:p>
            <a:pPr lvl="4"/>
            <a:endParaRPr lang="pt-PT" dirty="0"/>
          </a:p>
        </p:txBody>
      </p:sp>
      <p:sp>
        <p:nvSpPr>
          <p:cNvPr id="15" name="Marcador de Posição do Rodapé 4">
            <a:extLst>
              <a:ext uri="{FF2B5EF4-FFF2-40B4-BE49-F238E27FC236}">
                <a16:creationId xmlns:a16="http://schemas.microsoft.com/office/drawing/2014/main" id="{5CFDBDA7-309E-417B-9DCD-1FCEA660994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12762" y="6356350"/>
            <a:ext cx="534669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accent2"/>
                </a:solidFill>
              </a:defRPr>
            </a:lvl1pPr>
          </a:lstStyle>
          <a:p>
            <a:r>
              <a:rPr lang="pt-PT"/>
              <a:t>Título de la presentación</a:t>
            </a:r>
            <a:endParaRPr lang="pt-PT" dirty="0"/>
          </a:p>
        </p:txBody>
      </p:sp>
      <p:sp>
        <p:nvSpPr>
          <p:cNvPr id="16" name="Marcador de Posição do Número do Diapositivo 5">
            <a:extLst>
              <a:ext uri="{FF2B5EF4-FFF2-40B4-BE49-F238E27FC236}">
                <a16:creationId xmlns:a16="http://schemas.microsoft.com/office/drawing/2014/main" id="{CC37D22C-A7C2-4FE2-80F4-88123D029A6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936039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accent2"/>
                </a:solidFill>
              </a:defRPr>
            </a:lvl1pPr>
          </a:lstStyle>
          <a:p>
            <a:fld id="{24A347C2-D68E-473A-8C76-1D063E4EB6E0}" type="slidenum">
              <a:rPr lang="es-ES" smtClean="0"/>
              <a:pPr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37784813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5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1719 -0.00023 L -1.25E-6 1.85185E-6 " pathEditMode="relative" rAng="0" ptsTypes="AA">
                                      <p:cBhvr>
                                        <p:cTn id="9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859" y="0"/>
                                    </p:animMotion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25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25E-6 0.03889 L 1.25E-6 1.85185E-6 " pathEditMode="relative" rAng="0" ptsTypes="AA">
                                      <p:cBhvr>
                                        <p:cTn id="14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944"/>
                                    </p:animMotion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1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  <p:bldP spid="7" grpId="1"/>
      <p:bldP spid="9" grpId="0">
        <p:tmplLst>
          <p:tmpl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250"/>
                        <p:tgtEl>
                          <p:spTgt spid="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9" grpId="1"/>
      <p:bldP spid="11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1"/>
                        </p:tgtEl>
                      </p:cBhvr>
                    </p:animEffect>
                  </p:childTnLst>
                </p:cTn>
              </p:par>
            </p:tnLst>
          </p:tmpl>
          <p:tmpl lvl="2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1"/>
                        </p:tgtEl>
                      </p:cBhvr>
                    </p:animEffect>
                  </p:childTnLst>
                </p:cTn>
              </p:par>
            </p:tnLst>
          </p:tmpl>
          <p:tmpl lvl="3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1"/>
                        </p:tgtEl>
                      </p:cBhvr>
                    </p:animEffect>
                  </p:childTnLst>
                </p:cTn>
              </p:par>
            </p:tnLst>
          </p:tmpl>
          <p:tmpl lvl="4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1"/>
                        </p:tgtEl>
                      </p:cBhvr>
                    </p:animEffect>
                  </p:childTnLst>
                </p:cTn>
              </p:par>
            </p:tnLst>
          </p:tmpl>
          <p:tmpl lvl="5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2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2"/>
                        </p:tgtEl>
                      </p:cBhvr>
                    </p:animEffect>
                  </p:childTnLst>
                </p:cTn>
              </p:par>
            </p:tnLst>
          </p:tmpl>
          <p:tmpl lvl="2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2"/>
                        </p:tgtEl>
                      </p:cBhvr>
                    </p:animEffect>
                  </p:childTnLst>
                </p:cTn>
              </p:par>
            </p:tnLst>
          </p:tmpl>
          <p:tmpl lvl="3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2"/>
                        </p:tgtEl>
                      </p:cBhvr>
                    </p:animEffect>
                  </p:childTnLst>
                </p:cTn>
              </p:par>
            </p:tnLst>
          </p:tmpl>
          <p:tmpl lvl="4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2"/>
                        </p:tgtEl>
                      </p:cBhvr>
                    </p:animEffect>
                  </p:childTnLst>
                </p:cTn>
              </p:par>
            </p:tnLst>
          </p:tmpl>
          <p:tmpl lvl="5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2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o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ítulo 6">
            <a:extLst>
              <a:ext uri="{FF2B5EF4-FFF2-40B4-BE49-F238E27FC236}">
                <a16:creationId xmlns:a16="http://schemas.microsoft.com/office/drawing/2014/main" id="{31EC9DD0-687B-D7F1-FAA0-937A87C733C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3184" y="550508"/>
            <a:ext cx="11165632" cy="712204"/>
          </a:xfrm>
        </p:spPr>
        <p:txBody>
          <a:bodyPr>
            <a:normAutofit/>
          </a:bodyPr>
          <a:lstStyle>
            <a:lvl1pPr>
              <a:defRPr sz="3200"/>
            </a:lvl1pPr>
          </a:lstStyle>
          <a:p>
            <a:r>
              <a:rPr lang="pt-PT" dirty="0"/>
              <a:t>Insertar título de la slide</a:t>
            </a:r>
          </a:p>
        </p:txBody>
      </p:sp>
      <p:sp>
        <p:nvSpPr>
          <p:cNvPr id="9" name="Marcador de Posição do Texto 8">
            <a:extLst>
              <a:ext uri="{FF2B5EF4-FFF2-40B4-BE49-F238E27FC236}">
                <a16:creationId xmlns:a16="http://schemas.microsoft.com/office/drawing/2014/main" id="{85DA4BC1-E5F3-C7C5-8486-CFE727EFAD7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12763" y="1156317"/>
            <a:ext cx="11166475" cy="355243"/>
          </a:xfrm>
        </p:spPr>
        <p:txBody>
          <a:bodyPr>
            <a:normAutofit/>
          </a:bodyPr>
          <a:lstStyle>
            <a:lvl1pPr>
              <a:defRPr sz="200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pt-PT" dirty="0"/>
              <a:t>Insertar subtítulo de la slide</a:t>
            </a:r>
          </a:p>
        </p:txBody>
      </p:sp>
      <p:sp>
        <p:nvSpPr>
          <p:cNvPr id="11" name="Marcador de Posição do Texto 10">
            <a:extLst>
              <a:ext uri="{FF2B5EF4-FFF2-40B4-BE49-F238E27FC236}">
                <a16:creationId xmlns:a16="http://schemas.microsoft.com/office/drawing/2014/main" id="{65EABFB1-EAAC-FC68-2784-47F8027F05D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12763" y="1744663"/>
            <a:ext cx="5346700" cy="4478337"/>
          </a:xfrm>
        </p:spPr>
        <p:txBody>
          <a:bodyPr/>
          <a:lstStyle>
            <a:lvl1pPr>
              <a:defRPr/>
            </a:lvl1pPr>
            <a:lvl2pPr>
              <a:defRPr/>
            </a:lvl2pPr>
          </a:lstStyle>
          <a:p>
            <a:pPr lvl="0"/>
            <a:r>
              <a:rPr lang="es-ES" dirty="0"/>
              <a:t>Haz </a:t>
            </a:r>
            <a:r>
              <a:rPr lang="es-ES" dirty="0" err="1"/>
              <a:t>click</a:t>
            </a:r>
            <a:r>
              <a:rPr lang="es-ES" dirty="0"/>
              <a:t> para editar los estilos del texto del modelo global</a:t>
            </a:r>
            <a:endParaRPr lang="pt-PT" dirty="0"/>
          </a:p>
          <a:p>
            <a:pPr lvl="1"/>
            <a:r>
              <a:rPr lang="es-ES" dirty="0"/>
              <a:t>Segundo nivel</a:t>
            </a:r>
          </a:p>
          <a:p>
            <a:pPr lvl="1"/>
            <a:r>
              <a:rPr lang="es-ES" dirty="0"/>
              <a:t>Tercer nivel</a:t>
            </a:r>
          </a:p>
          <a:p>
            <a:pPr lvl="1"/>
            <a:r>
              <a:rPr lang="es-ES" dirty="0"/>
              <a:t>Cuarto nivel</a:t>
            </a:r>
          </a:p>
          <a:p>
            <a:pPr lvl="1"/>
            <a:r>
              <a:rPr lang="es-ES" dirty="0"/>
              <a:t>Quinto nivel</a:t>
            </a:r>
            <a:endParaRPr lang="pt-PT" dirty="0"/>
          </a:p>
        </p:txBody>
      </p:sp>
      <p:sp>
        <p:nvSpPr>
          <p:cNvPr id="12" name="Marcador de Posição do Texto 10">
            <a:extLst>
              <a:ext uri="{FF2B5EF4-FFF2-40B4-BE49-F238E27FC236}">
                <a16:creationId xmlns:a16="http://schemas.microsoft.com/office/drawing/2014/main" id="{867636B6-4C67-E9AD-A356-C73D5E3102F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332539" y="1744663"/>
            <a:ext cx="5346700" cy="4478337"/>
          </a:xfrm>
        </p:spPr>
        <p:txBody>
          <a:bodyPr/>
          <a:lstStyle>
            <a:lvl1pPr>
              <a:defRPr/>
            </a:lvl1pPr>
            <a:lvl2pPr>
              <a:defRPr/>
            </a:lvl2pPr>
          </a:lstStyle>
          <a:p>
            <a:pPr lvl="0"/>
            <a:r>
              <a:rPr lang="es-ES" dirty="0"/>
              <a:t>Haz </a:t>
            </a:r>
            <a:r>
              <a:rPr lang="es-ES" dirty="0" err="1"/>
              <a:t>click</a:t>
            </a:r>
            <a:r>
              <a:rPr lang="es-ES" dirty="0"/>
              <a:t> para editar los estilos del texto del modelo global</a:t>
            </a:r>
            <a:endParaRPr lang="pt-PT" dirty="0"/>
          </a:p>
          <a:p>
            <a:pPr lvl="1"/>
            <a:r>
              <a:rPr lang="es-ES" dirty="0"/>
              <a:t>Segundo nivel</a:t>
            </a:r>
          </a:p>
          <a:p>
            <a:pPr lvl="1"/>
            <a:r>
              <a:rPr lang="es-ES" dirty="0"/>
              <a:t>Tercer nivel</a:t>
            </a:r>
          </a:p>
          <a:p>
            <a:pPr lvl="1"/>
            <a:r>
              <a:rPr lang="es-ES" dirty="0"/>
              <a:t>Cuarto nivel</a:t>
            </a:r>
          </a:p>
          <a:p>
            <a:pPr lvl="1"/>
            <a:r>
              <a:rPr lang="es-ES" dirty="0"/>
              <a:t>Quinto nivel</a:t>
            </a:r>
            <a:endParaRPr lang="pt-PT" dirty="0"/>
          </a:p>
          <a:p>
            <a:pPr lvl="4"/>
            <a:endParaRPr lang="pt-PT" dirty="0"/>
          </a:p>
        </p:txBody>
      </p:sp>
      <p:pic>
        <p:nvPicPr>
          <p:cNvPr id="3" name="Imagem 2">
            <a:extLst>
              <a:ext uri="{FF2B5EF4-FFF2-40B4-BE49-F238E27FC236}">
                <a16:creationId xmlns:a16="http://schemas.microsoft.com/office/drawing/2014/main" id="{A49662E6-A971-772A-977C-B1555AC98B8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 l="61105" b="39186"/>
          <a:stretch>
            <a:fillRect/>
          </a:stretch>
        </p:blipFill>
        <p:spPr>
          <a:xfrm>
            <a:off x="0" y="906611"/>
            <a:ext cx="3806372" cy="5951390"/>
          </a:xfrm>
          <a:prstGeom prst="rect">
            <a:avLst/>
          </a:prstGeom>
        </p:spPr>
      </p:pic>
      <p:pic>
        <p:nvPicPr>
          <p:cNvPr id="5" name="Imagem 4">
            <a:extLst>
              <a:ext uri="{FF2B5EF4-FFF2-40B4-BE49-F238E27FC236}">
                <a16:creationId xmlns:a16="http://schemas.microsoft.com/office/drawing/2014/main" id="{09C0A5B9-24C7-F0E9-9EE1-F6AE74274BE9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 r="39087" b="69832"/>
          <a:stretch>
            <a:fillRect/>
          </a:stretch>
        </p:blipFill>
        <p:spPr>
          <a:xfrm>
            <a:off x="3186113" y="2400299"/>
            <a:ext cx="9005887" cy="4457701"/>
          </a:xfrm>
          <a:prstGeom prst="rect">
            <a:avLst/>
          </a:prstGeom>
        </p:spPr>
      </p:pic>
      <p:sp>
        <p:nvSpPr>
          <p:cNvPr id="15" name="Marcador de Posição do Rodapé 4">
            <a:extLst>
              <a:ext uri="{FF2B5EF4-FFF2-40B4-BE49-F238E27FC236}">
                <a16:creationId xmlns:a16="http://schemas.microsoft.com/office/drawing/2014/main" id="{2B04B4FE-BACD-4A94-B825-8D2F21A8D8D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12762" y="6356350"/>
            <a:ext cx="534669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accent2"/>
                </a:solidFill>
              </a:defRPr>
            </a:lvl1pPr>
          </a:lstStyle>
          <a:p>
            <a:r>
              <a:rPr lang="pt-PT"/>
              <a:t>Título de la presentación</a:t>
            </a:r>
            <a:endParaRPr lang="pt-PT" dirty="0"/>
          </a:p>
        </p:txBody>
      </p:sp>
      <p:sp>
        <p:nvSpPr>
          <p:cNvPr id="16" name="Marcador de Posição do Número do Diapositivo 5">
            <a:extLst>
              <a:ext uri="{FF2B5EF4-FFF2-40B4-BE49-F238E27FC236}">
                <a16:creationId xmlns:a16="http://schemas.microsoft.com/office/drawing/2014/main" id="{D40EF7A5-5078-470C-A320-B4C23F64B05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936039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accent2"/>
                </a:solidFill>
              </a:defRPr>
            </a:lvl1pPr>
          </a:lstStyle>
          <a:p>
            <a:fld id="{24A347C2-D68E-473A-8C76-1D063E4EB6E0}" type="slidenum">
              <a:rPr lang="es-ES" smtClean="0"/>
              <a:pPr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70319666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5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1719 -0.00023 L -1.25E-6 1.85185E-6 " pathEditMode="relative" rAng="0" ptsTypes="AA">
                                      <p:cBhvr>
                                        <p:cTn id="9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859" y="0"/>
                                    </p:animMotion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25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25E-6 0.03889 L 1.25E-6 1.85185E-6 " pathEditMode="relative" rAng="0" ptsTypes="AA">
                                      <p:cBhvr>
                                        <p:cTn id="14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944"/>
                                    </p:animMotion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1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  <p:bldP spid="7" grpId="1"/>
      <p:bldP spid="9" grpId="0">
        <p:tmplLst>
          <p:tmpl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250"/>
                        <p:tgtEl>
                          <p:spTgt spid="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9" grpId="1"/>
      <p:bldP spid="11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1"/>
                        </p:tgtEl>
                      </p:cBhvr>
                    </p:animEffect>
                  </p:childTnLst>
                </p:cTn>
              </p:par>
            </p:tnLst>
          </p:tmpl>
          <p:tmpl lvl="2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1"/>
                        </p:tgtEl>
                      </p:cBhvr>
                    </p:animEffect>
                  </p:childTnLst>
                </p:cTn>
              </p:par>
            </p:tnLst>
          </p:tmpl>
          <p:tmpl lvl="3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1"/>
                        </p:tgtEl>
                      </p:cBhvr>
                    </p:animEffect>
                  </p:childTnLst>
                </p:cTn>
              </p:par>
            </p:tnLst>
          </p:tmpl>
          <p:tmpl lvl="4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1"/>
                        </p:tgtEl>
                      </p:cBhvr>
                    </p:animEffect>
                  </p:childTnLst>
                </p:cTn>
              </p:par>
            </p:tnLst>
          </p:tmpl>
          <p:tmpl lvl="5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2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2"/>
                        </p:tgtEl>
                      </p:cBhvr>
                    </p:animEffect>
                  </p:childTnLst>
                </p:cTn>
              </p:par>
            </p:tnLst>
          </p:tmpl>
          <p:tmpl lvl="2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2"/>
                        </p:tgtEl>
                      </p:cBhvr>
                    </p:animEffect>
                  </p:childTnLst>
                </p:cTn>
              </p:par>
            </p:tnLst>
          </p:tmpl>
          <p:tmpl lvl="3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2"/>
                        </p:tgtEl>
                      </p:cBhvr>
                    </p:animEffect>
                  </p:childTnLst>
                </p:cTn>
              </p:par>
            </p:tnLst>
          </p:tmpl>
          <p:tmpl lvl="4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2"/>
                        </p:tgtEl>
                      </p:cBhvr>
                    </p:animEffect>
                  </p:childTnLst>
                </p:cTn>
              </p:par>
            </p:tnLst>
          </p:tmpl>
          <p:tmpl lvl="5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2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  <p:extLst mod="1"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squema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tângulo 18">
            <a:extLst>
              <a:ext uri="{FF2B5EF4-FFF2-40B4-BE49-F238E27FC236}">
                <a16:creationId xmlns:a16="http://schemas.microsoft.com/office/drawing/2014/main" id="{4E836DF3-D819-5BB3-69BE-4EEBB233B76D}"/>
              </a:ext>
            </a:extLst>
          </p:cNvPr>
          <p:cNvSpPr/>
          <p:nvPr userDrawn="1"/>
        </p:nvSpPr>
        <p:spPr>
          <a:xfrm>
            <a:off x="9448800" y="0"/>
            <a:ext cx="2743200" cy="6858000"/>
          </a:xfrm>
          <a:prstGeom prst="rect">
            <a:avLst/>
          </a:prstGeom>
          <a:solidFill>
            <a:srgbClr val="184BF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  <p:pic>
        <p:nvPicPr>
          <p:cNvPr id="2" name="Imagem 1">
            <a:extLst>
              <a:ext uri="{FF2B5EF4-FFF2-40B4-BE49-F238E27FC236}">
                <a16:creationId xmlns:a16="http://schemas.microsoft.com/office/drawing/2014/main" id="{F0C5046E-B7B8-9117-E82C-F46F173038F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 l="61105" b="39186"/>
          <a:stretch>
            <a:fillRect/>
          </a:stretch>
        </p:blipFill>
        <p:spPr>
          <a:xfrm flipH="1">
            <a:off x="8385628" y="906611"/>
            <a:ext cx="3806372" cy="5951390"/>
          </a:xfrm>
          <a:prstGeom prst="rect">
            <a:avLst/>
          </a:prstGeom>
        </p:spPr>
      </p:pic>
      <p:sp>
        <p:nvSpPr>
          <p:cNvPr id="6" name="Título 6">
            <a:extLst>
              <a:ext uri="{FF2B5EF4-FFF2-40B4-BE49-F238E27FC236}">
                <a16:creationId xmlns:a16="http://schemas.microsoft.com/office/drawing/2014/main" id="{39ABDCE0-5909-B9F4-4205-97826D9AADB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3184" y="550508"/>
            <a:ext cx="5784979" cy="712204"/>
          </a:xfrm>
        </p:spPr>
        <p:txBody>
          <a:bodyPr>
            <a:normAutofit/>
          </a:bodyPr>
          <a:lstStyle>
            <a:lvl1pPr>
              <a:defRPr sz="3200"/>
            </a:lvl1pPr>
          </a:lstStyle>
          <a:p>
            <a:r>
              <a:rPr lang="pt-PT" dirty="0"/>
              <a:t>Insertar título de la slide</a:t>
            </a:r>
          </a:p>
        </p:txBody>
      </p:sp>
      <p:sp>
        <p:nvSpPr>
          <p:cNvPr id="7" name="Marcador de Posição do Texto 8">
            <a:extLst>
              <a:ext uri="{FF2B5EF4-FFF2-40B4-BE49-F238E27FC236}">
                <a16:creationId xmlns:a16="http://schemas.microsoft.com/office/drawing/2014/main" id="{5C62296D-E9C6-3160-9937-13338E14E3B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12764" y="1156317"/>
            <a:ext cx="5785416" cy="355243"/>
          </a:xfrm>
        </p:spPr>
        <p:txBody>
          <a:bodyPr>
            <a:normAutofit/>
          </a:bodyPr>
          <a:lstStyle>
            <a:lvl1pPr>
              <a:defRPr sz="200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pt-PT" dirty="0"/>
              <a:t>Insertar subtítulo de la slide</a:t>
            </a:r>
          </a:p>
        </p:txBody>
      </p:sp>
      <p:sp>
        <p:nvSpPr>
          <p:cNvPr id="8" name="Marcador de Posição do Texto 10">
            <a:extLst>
              <a:ext uri="{FF2B5EF4-FFF2-40B4-BE49-F238E27FC236}">
                <a16:creationId xmlns:a16="http://schemas.microsoft.com/office/drawing/2014/main" id="{D7DA3C3A-EA7E-B1A1-8A6C-DA94DDA98EC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12763" y="1744663"/>
            <a:ext cx="5346700" cy="4478337"/>
          </a:xfrm>
        </p:spPr>
        <p:txBody>
          <a:bodyPr/>
          <a:lstStyle>
            <a:lvl1pPr>
              <a:defRPr/>
            </a:lvl1pPr>
            <a:lvl2pPr marL="171450" indent="-171450">
              <a:buClr>
                <a:schemeClr val="tx1"/>
              </a:buClr>
              <a:buFont typeface="Arial" panose="020B0604020202020204" pitchFamily="34" charset="0"/>
              <a:buChar char="•"/>
              <a:defRPr/>
            </a:lvl2pPr>
            <a:lvl3pPr marL="171450" indent="-171450">
              <a:buClr>
                <a:schemeClr val="tx1"/>
              </a:buClr>
              <a:buFont typeface="Arial" panose="020B0604020202020204" pitchFamily="34" charset="0"/>
              <a:buChar char="•"/>
              <a:defRPr/>
            </a:lvl3pPr>
            <a:lvl4pPr marL="171450" indent="-171450">
              <a:buClr>
                <a:schemeClr val="tx1"/>
              </a:buClr>
              <a:buFont typeface="Arial" panose="020B0604020202020204" pitchFamily="34" charset="0"/>
              <a:buChar char="•"/>
              <a:defRPr/>
            </a:lvl4pPr>
            <a:lvl5pPr marL="171450" indent="-171450">
              <a:buClr>
                <a:schemeClr val="tx1"/>
              </a:buClr>
              <a:buFont typeface="Arial" panose="020B0604020202020204" pitchFamily="34" charset="0"/>
              <a:buChar char="•"/>
              <a:defRPr/>
            </a:lvl5pPr>
          </a:lstStyle>
          <a:p>
            <a:pPr lvl="0"/>
            <a:r>
              <a:rPr lang="es-ES" dirty="0"/>
              <a:t>Haz </a:t>
            </a:r>
            <a:r>
              <a:rPr lang="es-ES" dirty="0" err="1"/>
              <a:t>click</a:t>
            </a:r>
            <a:r>
              <a:rPr lang="es-ES" dirty="0"/>
              <a:t> para editar los estilos del texto del modelo global</a:t>
            </a:r>
            <a:endParaRPr lang="pt-PT" dirty="0"/>
          </a:p>
          <a:p>
            <a:pPr lvl="1"/>
            <a:r>
              <a:rPr lang="es-ES" dirty="0"/>
              <a:t>Segundo nivel</a:t>
            </a:r>
          </a:p>
          <a:p>
            <a:pPr lvl="1"/>
            <a:r>
              <a:rPr lang="es-ES" dirty="0"/>
              <a:t>Tercer nivel</a:t>
            </a:r>
          </a:p>
          <a:p>
            <a:pPr lvl="1"/>
            <a:r>
              <a:rPr lang="es-ES" dirty="0"/>
              <a:t>Cuarto nivel</a:t>
            </a:r>
          </a:p>
          <a:p>
            <a:pPr lvl="1"/>
            <a:r>
              <a:rPr lang="es-ES" dirty="0"/>
              <a:t>Quinto nivel</a:t>
            </a:r>
            <a:endParaRPr lang="pt-PT" dirty="0"/>
          </a:p>
        </p:txBody>
      </p:sp>
      <p:sp>
        <p:nvSpPr>
          <p:cNvPr id="29" name="Marcador de Posição da Imagem 28">
            <a:extLst>
              <a:ext uri="{FF2B5EF4-FFF2-40B4-BE49-F238E27FC236}">
                <a16:creationId xmlns:a16="http://schemas.microsoft.com/office/drawing/2014/main" id="{F1513D98-6AC6-F32E-AC79-0577E89120CE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618417" y="550505"/>
            <a:ext cx="4923329" cy="5672137"/>
          </a:xfrm>
          <a:custGeom>
            <a:avLst/>
            <a:gdLst>
              <a:gd name="connsiteX0" fmla="*/ 3961694 w 4923329"/>
              <a:gd name="connsiteY0" fmla="*/ 0 h 5672137"/>
              <a:gd name="connsiteX1" fmla="*/ 4398587 w 4923329"/>
              <a:gd name="connsiteY1" fmla="*/ 0 h 5672137"/>
              <a:gd name="connsiteX2" fmla="*/ 4398800 w 4923329"/>
              <a:gd name="connsiteY2" fmla="*/ 0 h 5672137"/>
              <a:gd name="connsiteX3" fmla="*/ 4912669 w 4923329"/>
              <a:gd name="connsiteY3" fmla="*/ 418775 h 5672137"/>
              <a:gd name="connsiteX4" fmla="*/ 4923325 w 4923329"/>
              <a:gd name="connsiteY4" fmla="*/ 524482 h 5672137"/>
              <a:gd name="connsiteX5" fmla="*/ 4923329 w 4923329"/>
              <a:gd name="connsiteY5" fmla="*/ 524482 h 5672137"/>
              <a:gd name="connsiteX6" fmla="*/ 4923329 w 4923329"/>
              <a:gd name="connsiteY6" fmla="*/ 524524 h 5672137"/>
              <a:gd name="connsiteX7" fmla="*/ 4923329 w 4923329"/>
              <a:gd name="connsiteY7" fmla="*/ 5672137 h 5672137"/>
              <a:gd name="connsiteX8" fmla="*/ 1 w 4923329"/>
              <a:gd name="connsiteY8" fmla="*/ 5672137 h 5672137"/>
              <a:gd name="connsiteX9" fmla="*/ 1 w 4923329"/>
              <a:gd name="connsiteY9" fmla="*/ 524482 h 5672137"/>
              <a:gd name="connsiteX10" fmla="*/ 1500663 w 4923329"/>
              <a:gd name="connsiteY10" fmla="*/ 524482 h 5672137"/>
              <a:gd name="connsiteX11" fmla="*/ 0 w 4923329"/>
              <a:gd name="connsiteY11" fmla="*/ 524459 h 5672137"/>
              <a:gd name="connsiteX12" fmla="*/ 0 w 4923329"/>
              <a:gd name="connsiteY12" fmla="*/ 2 h 5672137"/>
              <a:gd name="connsiteX13" fmla="*/ 3961673 w 4923329"/>
              <a:gd name="connsiteY13" fmla="*/ 63 h 56721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4923329" h="5672137">
                <a:moveTo>
                  <a:pt x="3961694" y="0"/>
                </a:moveTo>
                <a:lnTo>
                  <a:pt x="4398587" y="0"/>
                </a:lnTo>
                <a:lnTo>
                  <a:pt x="4398800" y="0"/>
                </a:lnTo>
                <a:cubicBezTo>
                  <a:pt x="4652208" y="0"/>
                  <a:pt x="4863744" y="179692"/>
                  <a:pt x="4912669" y="418775"/>
                </a:cubicBezTo>
                <a:lnTo>
                  <a:pt x="4923325" y="524482"/>
                </a:lnTo>
                <a:lnTo>
                  <a:pt x="4923329" y="524482"/>
                </a:lnTo>
                <a:lnTo>
                  <a:pt x="4923329" y="524524"/>
                </a:lnTo>
                <a:lnTo>
                  <a:pt x="4923329" y="5672137"/>
                </a:lnTo>
                <a:lnTo>
                  <a:pt x="1" y="5672137"/>
                </a:lnTo>
                <a:lnTo>
                  <a:pt x="1" y="524482"/>
                </a:lnTo>
                <a:lnTo>
                  <a:pt x="1500663" y="524482"/>
                </a:lnTo>
                <a:lnTo>
                  <a:pt x="0" y="524459"/>
                </a:lnTo>
                <a:lnTo>
                  <a:pt x="0" y="2"/>
                </a:lnTo>
                <a:lnTo>
                  <a:pt x="3961673" y="63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pt-PT"/>
          </a:p>
        </p:txBody>
      </p:sp>
      <p:grpSp>
        <p:nvGrpSpPr>
          <p:cNvPr id="3" name="Gráfico 2">
            <a:extLst>
              <a:ext uri="{FF2B5EF4-FFF2-40B4-BE49-F238E27FC236}">
                <a16:creationId xmlns:a16="http://schemas.microsoft.com/office/drawing/2014/main" id="{A3051023-6F67-3838-50CA-F04C845D7665}"/>
              </a:ext>
            </a:extLst>
          </p:cNvPr>
          <p:cNvGrpSpPr/>
          <p:nvPr userDrawn="1"/>
        </p:nvGrpSpPr>
        <p:grpSpPr>
          <a:xfrm>
            <a:off x="10557975" y="275736"/>
            <a:ext cx="1308718" cy="138724"/>
            <a:chOff x="0" y="2782824"/>
            <a:chExt cx="12192000" cy="1292352"/>
          </a:xfrm>
        </p:grpSpPr>
        <p:sp>
          <p:nvSpPr>
            <p:cNvPr id="4" name="Forma libre: forma 3">
              <a:extLst>
                <a:ext uri="{FF2B5EF4-FFF2-40B4-BE49-F238E27FC236}">
                  <a16:creationId xmlns:a16="http://schemas.microsoft.com/office/drawing/2014/main" id="{6C2C5208-1180-9214-C170-231CEA94ED98}"/>
                </a:ext>
              </a:extLst>
            </p:cNvPr>
            <p:cNvSpPr/>
            <p:nvPr/>
          </p:nvSpPr>
          <p:spPr>
            <a:xfrm>
              <a:off x="3791306" y="2777053"/>
              <a:ext cx="1300480" cy="1300480"/>
            </a:xfrm>
            <a:custGeom>
              <a:avLst/>
              <a:gdLst>
                <a:gd name="connsiteX0" fmla="*/ 6096 w 1300480"/>
                <a:gd name="connsiteY0" fmla="*/ 653979 h 1300480"/>
                <a:gd name="connsiteX1" fmla="*/ 653979 w 1300480"/>
                <a:gd name="connsiteY1" fmla="*/ 6096 h 1300480"/>
                <a:gd name="connsiteX2" fmla="*/ 1301862 w 1300480"/>
                <a:gd name="connsiteY2" fmla="*/ 653979 h 1300480"/>
                <a:gd name="connsiteX3" fmla="*/ 653979 w 1300480"/>
                <a:gd name="connsiteY3" fmla="*/ 1301862 h 1300480"/>
                <a:gd name="connsiteX4" fmla="*/ 653898 w 1300480"/>
                <a:gd name="connsiteY4" fmla="*/ 1301862 h 1300480"/>
                <a:gd name="connsiteX5" fmla="*/ 6096 w 1300480"/>
                <a:gd name="connsiteY5" fmla="*/ 654060 h 1300480"/>
                <a:gd name="connsiteX6" fmla="*/ 6096 w 1300480"/>
                <a:gd name="connsiteY6" fmla="*/ 654060 h 1300480"/>
                <a:gd name="connsiteX7" fmla="*/ 653898 w 1300480"/>
                <a:gd name="connsiteY7" fmla="*/ 1091184 h 1300480"/>
                <a:gd name="connsiteX8" fmla="*/ 1091265 w 1300480"/>
                <a:gd name="connsiteY8" fmla="*/ 653979 h 1300480"/>
                <a:gd name="connsiteX9" fmla="*/ 654060 w 1300480"/>
                <a:gd name="connsiteY9" fmla="*/ 216611 h 1300480"/>
                <a:gd name="connsiteX10" fmla="*/ 216692 w 1300480"/>
                <a:gd name="connsiteY10" fmla="*/ 653816 h 1300480"/>
                <a:gd name="connsiteX11" fmla="*/ 216692 w 1300480"/>
                <a:gd name="connsiteY11" fmla="*/ 653979 h 1300480"/>
                <a:gd name="connsiteX12" fmla="*/ 653898 w 1300480"/>
                <a:gd name="connsiteY12" fmla="*/ 1091184 h 13004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300480" h="1300480">
                  <a:moveTo>
                    <a:pt x="6096" y="653979"/>
                  </a:moveTo>
                  <a:cubicBezTo>
                    <a:pt x="6096" y="296184"/>
                    <a:pt x="296184" y="6096"/>
                    <a:pt x="653979" y="6096"/>
                  </a:cubicBezTo>
                  <a:cubicBezTo>
                    <a:pt x="1011773" y="6096"/>
                    <a:pt x="1301862" y="296184"/>
                    <a:pt x="1301862" y="653979"/>
                  </a:cubicBezTo>
                  <a:cubicBezTo>
                    <a:pt x="1301862" y="1011773"/>
                    <a:pt x="1011773" y="1301862"/>
                    <a:pt x="653979" y="1301862"/>
                  </a:cubicBezTo>
                  <a:lnTo>
                    <a:pt x="653898" y="1301862"/>
                  </a:lnTo>
                  <a:cubicBezTo>
                    <a:pt x="296103" y="1301862"/>
                    <a:pt x="6096" y="1011855"/>
                    <a:pt x="6096" y="654060"/>
                  </a:cubicBezTo>
                  <a:lnTo>
                    <a:pt x="6096" y="654060"/>
                  </a:lnTo>
                  <a:moveTo>
                    <a:pt x="653898" y="1091184"/>
                  </a:moveTo>
                  <a:cubicBezTo>
                    <a:pt x="895380" y="1091184"/>
                    <a:pt x="1091184" y="895462"/>
                    <a:pt x="1091265" y="653979"/>
                  </a:cubicBezTo>
                  <a:cubicBezTo>
                    <a:pt x="1091265" y="412496"/>
                    <a:pt x="895543" y="216692"/>
                    <a:pt x="654060" y="216611"/>
                  </a:cubicBezTo>
                  <a:cubicBezTo>
                    <a:pt x="412577" y="216611"/>
                    <a:pt x="216774" y="412333"/>
                    <a:pt x="216692" y="653816"/>
                  </a:cubicBezTo>
                  <a:lnTo>
                    <a:pt x="216692" y="653979"/>
                  </a:lnTo>
                  <a:cubicBezTo>
                    <a:pt x="216692" y="895462"/>
                    <a:pt x="412415" y="1091184"/>
                    <a:pt x="653898" y="1091184"/>
                  </a:cubicBezTo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5" name="Forma libre: forma 4">
              <a:extLst>
                <a:ext uri="{FF2B5EF4-FFF2-40B4-BE49-F238E27FC236}">
                  <a16:creationId xmlns:a16="http://schemas.microsoft.com/office/drawing/2014/main" id="{A5D9CD16-CA93-FF0D-AA71-B3609E26FD1A}"/>
                </a:ext>
              </a:extLst>
            </p:cNvPr>
            <p:cNvSpPr/>
            <p:nvPr/>
          </p:nvSpPr>
          <p:spPr>
            <a:xfrm>
              <a:off x="1151981" y="2793797"/>
              <a:ext cx="219456" cy="1267968"/>
            </a:xfrm>
            <a:custGeom>
              <a:avLst/>
              <a:gdLst>
                <a:gd name="connsiteX0" fmla="*/ 216367 w 219456"/>
                <a:gd name="connsiteY0" fmla="*/ 6096 h 1267968"/>
                <a:gd name="connsiteX1" fmla="*/ 216367 w 219456"/>
                <a:gd name="connsiteY1" fmla="*/ 6096 h 1267968"/>
                <a:gd name="connsiteX2" fmla="*/ 216367 w 219456"/>
                <a:gd name="connsiteY2" fmla="*/ 1268212 h 1267968"/>
                <a:gd name="connsiteX3" fmla="*/ 6096 w 219456"/>
                <a:gd name="connsiteY3" fmla="*/ 1268212 h 1267968"/>
                <a:gd name="connsiteX4" fmla="*/ 6096 w 219456"/>
                <a:gd name="connsiteY4" fmla="*/ 216449 h 1267968"/>
                <a:gd name="connsiteX5" fmla="*/ 216367 w 219456"/>
                <a:gd name="connsiteY5" fmla="*/ 6096 h 126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19456" h="1267968">
                  <a:moveTo>
                    <a:pt x="216367" y="6096"/>
                  </a:moveTo>
                  <a:lnTo>
                    <a:pt x="216367" y="6096"/>
                  </a:lnTo>
                  <a:lnTo>
                    <a:pt x="216367" y="1268212"/>
                  </a:lnTo>
                  <a:lnTo>
                    <a:pt x="6096" y="1268212"/>
                  </a:lnTo>
                  <a:lnTo>
                    <a:pt x="6096" y="216449"/>
                  </a:lnTo>
                  <a:cubicBezTo>
                    <a:pt x="6096" y="100300"/>
                    <a:pt x="100218" y="6177"/>
                    <a:pt x="216367" y="6096"/>
                  </a:cubicBezTo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9" name="Forma libre: forma 8">
              <a:extLst>
                <a:ext uri="{FF2B5EF4-FFF2-40B4-BE49-F238E27FC236}">
                  <a16:creationId xmlns:a16="http://schemas.microsoft.com/office/drawing/2014/main" id="{7672672B-B543-4884-F9E5-7673FC061434}"/>
                </a:ext>
              </a:extLst>
            </p:cNvPr>
            <p:cNvSpPr/>
            <p:nvPr/>
          </p:nvSpPr>
          <p:spPr>
            <a:xfrm>
              <a:off x="9373128" y="2793797"/>
              <a:ext cx="219456" cy="1267968"/>
            </a:xfrm>
            <a:custGeom>
              <a:avLst/>
              <a:gdLst>
                <a:gd name="connsiteX0" fmla="*/ 216368 w 219456"/>
                <a:gd name="connsiteY0" fmla="*/ 6096 h 1267968"/>
                <a:gd name="connsiteX1" fmla="*/ 216368 w 219456"/>
                <a:gd name="connsiteY1" fmla="*/ 6096 h 1267968"/>
                <a:gd name="connsiteX2" fmla="*/ 216368 w 219456"/>
                <a:gd name="connsiteY2" fmla="*/ 1268212 h 1267968"/>
                <a:gd name="connsiteX3" fmla="*/ 6096 w 219456"/>
                <a:gd name="connsiteY3" fmla="*/ 1268212 h 1267968"/>
                <a:gd name="connsiteX4" fmla="*/ 6096 w 219456"/>
                <a:gd name="connsiteY4" fmla="*/ 216449 h 1267968"/>
                <a:gd name="connsiteX5" fmla="*/ 216287 w 219456"/>
                <a:gd name="connsiteY5" fmla="*/ 6096 h 1267968"/>
                <a:gd name="connsiteX6" fmla="*/ 216368 w 219456"/>
                <a:gd name="connsiteY6" fmla="*/ 6096 h 126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19456" h="1267968">
                  <a:moveTo>
                    <a:pt x="216368" y="6096"/>
                  </a:moveTo>
                  <a:lnTo>
                    <a:pt x="216368" y="6096"/>
                  </a:lnTo>
                  <a:lnTo>
                    <a:pt x="216368" y="1268212"/>
                  </a:lnTo>
                  <a:lnTo>
                    <a:pt x="6096" y="1268212"/>
                  </a:lnTo>
                  <a:lnTo>
                    <a:pt x="6096" y="216449"/>
                  </a:lnTo>
                  <a:cubicBezTo>
                    <a:pt x="6096" y="100300"/>
                    <a:pt x="100138" y="6177"/>
                    <a:pt x="216287" y="6096"/>
                  </a:cubicBezTo>
                  <a:lnTo>
                    <a:pt x="216368" y="6096"/>
                  </a:lnTo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10" name="Forma libre: forma 9">
              <a:extLst>
                <a:ext uri="{FF2B5EF4-FFF2-40B4-BE49-F238E27FC236}">
                  <a16:creationId xmlns:a16="http://schemas.microsoft.com/office/drawing/2014/main" id="{65AE29A6-DC5F-AFE5-B8EB-5BAD0F3A3F87}"/>
                </a:ext>
              </a:extLst>
            </p:cNvPr>
            <p:cNvSpPr/>
            <p:nvPr/>
          </p:nvSpPr>
          <p:spPr>
            <a:xfrm>
              <a:off x="8111012" y="2793878"/>
              <a:ext cx="1056640" cy="1267968"/>
            </a:xfrm>
            <a:custGeom>
              <a:avLst/>
              <a:gdLst>
                <a:gd name="connsiteX0" fmla="*/ 74046 w 1056640"/>
                <a:gd name="connsiteY0" fmla="*/ 6096 h 1267968"/>
                <a:gd name="connsiteX1" fmla="*/ 6096 w 1056640"/>
                <a:gd name="connsiteY1" fmla="*/ 216367 h 1267968"/>
                <a:gd name="connsiteX2" fmla="*/ 426802 w 1056640"/>
                <a:gd name="connsiteY2" fmla="*/ 216367 h 1267968"/>
                <a:gd name="connsiteX3" fmla="*/ 426802 w 1056640"/>
                <a:gd name="connsiteY3" fmla="*/ 1268131 h 1267968"/>
                <a:gd name="connsiteX4" fmla="*/ 637155 w 1056640"/>
                <a:gd name="connsiteY4" fmla="*/ 1268131 h 1267968"/>
                <a:gd name="connsiteX5" fmla="*/ 637155 w 1056640"/>
                <a:gd name="connsiteY5" fmla="*/ 216367 h 1267968"/>
                <a:gd name="connsiteX6" fmla="*/ 847507 w 1056640"/>
                <a:gd name="connsiteY6" fmla="*/ 216367 h 1267968"/>
                <a:gd name="connsiteX7" fmla="*/ 1057860 w 1056640"/>
                <a:gd name="connsiteY7" fmla="*/ 6096 h 1267968"/>
                <a:gd name="connsiteX8" fmla="*/ 74046 w 1056640"/>
                <a:gd name="connsiteY8" fmla="*/ 6096 h 126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056640" h="1267968">
                  <a:moveTo>
                    <a:pt x="74046" y="6096"/>
                  </a:moveTo>
                  <a:lnTo>
                    <a:pt x="6096" y="216367"/>
                  </a:lnTo>
                  <a:lnTo>
                    <a:pt x="426802" y="216367"/>
                  </a:lnTo>
                  <a:lnTo>
                    <a:pt x="426802" y="1268131"/>
                  </a:lnTo>
                  <a:lnTo>
                    <a:pt x="637155" y="1268131"/>
                  </a:lnTo>
                  <a:lnTo>
                    <a:pt x="637155" y="216367"/>
                  </a:lnTo>
                  <a:lnTo>
                    <a:pt x="847507" y="216367"/>
                  </a:lnTo>
                  <a:cubicBezTo>
                    <a:pt x="963656" y="216367"/>
                    <a:pt x="1057779" y="122245"/>
                    <a:pt x="1057860" y="6096"/>
                  </a:cubicBezTo>
                  <a:lnTo>
                    <a:pt x="74046" y="6096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11" name="Forma libre: forma 10">
              <a:extLst>
                <a:ext uri="{FF2B5EF4-FFF2-40B4-BE49-F238E27FC236}">
                  <a16:creationId xmlns:a16="http://schemas.microsoft.com/office/drawing/2014/main" id="{D2AC67A7-93CE-961E-A1D6-90C2854D353D}"/>
                </a:ext>
              </a:extLst>
            </p:cNvPr>
            <p:cNvSpPr/>
            <p:nvPr/>
          </p:nvSpPr>
          <p:spPr>
            <a:xfrm>
              <a:off x="1602108" y="2793797"/>
              <a:ext cx="845312" cy="1267968"/>
            </a:xfrm>
            <a:custGeom>
              <a:avLst/>
              <a:gdLst>
                <a:gd name="connsiteX0" fmla="*/ 216288 w 845312"/>
                <a:gd name="connsiteY0" fmla="*/ 1057859 h 1267968"/>
                <a:gd name="connsiteX1" fmla="*/ 216288 w 845312"/>
                <a:gd name="connsiteY1" fmla="*/ 6096 h 1267968"/>
                <a:gd name="connsiteX2" fmla="*/ 6098 w 845312"/>
                <a:gd name="connsiteY2" fmla="*/ 6096 h 1267968"/>
                <a:gd name="connsiteX3" fmla="*/ 6098 w 845312"/>
                <a:gd name="connsiteY3" fmla="*/ 1057859 h 1267968"/>
                <a:gd name="connsiteX4" fmla="*/ 6098 w 845312"/>
                <a:gd name="connsiteY4" fmla="*/ 1057859 h 1267968"/>
                <a:gd name="connsiteX5" fmla="*/ 14226 w 845312"/>
                <a:gd name="connsiteY5" fmla="*/ 1116706 h 1267968"/>
                <a:gd name="connsiteX6" fmla="*/ 15201 w 845312"/>
                <a:gd name="connsiteY6" fmla="*/ 1120364 h 1267968"/>
                <a:gd name="connsiteX7" fmla="*/ 17071 w 845312"/>
                <a:gd name="connsiteY7" fmla="*/ 1125566 h 1267968"/>
                <a:gd name="connsiteX8" fmla="*/ 22598 w 845312"/>
                <a:gd name="connsiteY8" fmla="*/ 1140358 h 1267968"/>
                <a:gd name="connsiteX9" fmla="*/ 52021 w 845312"/>
                <a:gd name="connsiteY9" fmla="*/ 1189126 h 1267968"/>
                <a:gd name="connsiteX10" fmla="*/ 124685 w 845312"/>
                <a:gd name="connsiteY10" fmla="*/ 1246916 h 1267968"/>
                <a:gd name="connsiteX11" fmla="*/ 216125 w 845312"/>
                <a:gd name="connsiteY11" fmla="*/ 1268049 h 1267968"/>
                <a:gd name="connsiteX12" fmla="*/ 776957 w 845312"/>
                <a:gd name="connsiteY12" fmla="*/ 1268049 h 1267968"/>
                <a:gd name="connsiteX13" fmla="*/ 847021 w 845312"/>
                <a:gd name="connsiteY13" fmla="*/ 1057697 h 1267968"/>
                <a:gd name="connsiteX14" fmla="*/ 216288 w 845312"/>
                <a:gd name="connsiteY14" fmla="*/ 1057859 h 126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845312" h="1267968">
                  <a:moveTo>
                    <a:pt x="216288" y="1057859"/>
                  </a:moveTo>
                  <a:lnTo>
                    <a:pt x="216288" y="6096"/>
                  </a:lnTo>
                  <a:lnTo>
                    <a:pt x="6098" y="6096"/>
                  </a:lnTo>
                  <a:lnTo>
                    <a:pt x="6098" y="1057859"/>
                  </a:lnTo>
                  <a:lnTo>
                    <a:pt x="6098" y="1057859"/>
                  </a:lnTo>
                  <a:cubicBezTo>
                    <a:pt x="6017" y="1077773"/>
                    <a:pt x="8699" y="1097605"/>
                    <a:pt x="14226" y="1116706"/>
                  </a:cubicBezTo>
                  <a:cubicBezTo>
                    <a:pt x="14632" y="1117925"/>
                    <a:pt x="14795" y="1119226"/>
                    <a:pt x="15201" y="1120364"/>
                  </a:cubicBezTo>
                  <a:cubicBezTo>
                    <a:pt x="15608" y="1121502"/>
                    <a:pt x="16502" y="1123859"/>
                    <a:pt x="17071" y="1125566"/>
                  </a:cubicBezTo>
                  <a:cubicBezTo>
                    <a:pt x="18777" y="1130605"/>
                    <a:pt x="20566" y="1135563"/>
                    <a:pt x="22598" y="1140358"/>
                  </a:cubicBezTo>
                  <a:cubicBezTo>
                    <a:pt x="30157" y="1157915"/>
                    <a:pt x="40073" y="1174252"/>
                    <a:pt x="52021" y="1189126"/>
                  </a:cubicBezTo>
                  <a:cubicBezTo>
                    <a:pt x="71691" y="1213510"/>
                    <a:pt x="96481" y="1233262"/>
                    <a:pt x="124685" y="1246916"/>
                  </a:cubicBezTo>
                  <a:cubicBezTo>
                    <a:pt x="153215" y="1260734"/>
                    <a:pt x="184426" y="1267968"/>
                    <a:pt x="216125" y="1268049"/>
                  </a:cubicBezTo>
                  <a:lnTo>
                    <a:pt x="776957" y="1268049"/>
                  </a:lnTo>
                  <a:lnTo>
                    <a:pt x="847021" y="1057697"/>
                  </a:lnTo>
                  <a:lnTo>
                    <a:pt x="216288" y="1057859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12" name="Forma libre: forma 11">
              <a:extLst>
                <a:ext uri="{FF2B5EF4-FFF2-40B4-BE49-F238E27FC236}">
                  <a16:creationId xmlns:a16="http://schemas.microsoft.com/office/drawing/2014/main" id="{A4F18D8A-11F5-95EB-912C-EFC5F00BA033}"/>
                </a:ext>
              </a:extLst>
            </p:cNvPr>
            <p:cNvSpPr/>
            <p:nvPr/>
          </p:nvSpPr>
          <p:spPr>
            <a:xfrm>
              <a:off x="-6096" y="2794284"/>
              <a:ext cx="959104" cy="1267968"/>
            </a:xfrm>
            <a:custGeom>
              <a:avLst/>
              <a:gdLst>
                <a:gd name="connsiteX0" fmla="*/ 818815 w 959104"/>
                <a:gd name="connsiteY0" fmla="*/ 411764 h 1267968"/>
                <a:gd name="connsiteX1" fmla="*/ 818815 w 959104"/>
                <a:gd name="connsiteY1" fmla="*/ 285699 h 1267968"/>
                <a:gd name="connsiteX2" fmla="*/ 539130 w 959104"/>
                <a:gd name="connsiteY2" fmla="*/ 6096 h 1267968"/>
                <a:gd name="connsiteX3" fmla="*/ 6096 w 959104"/>
                <a:gd name="connsiteY3" fmla="*/ 6096 h 1267968"/>
                <a:gd name="connsiteX4" fmla="*/ 6096 w 959104"/>
                <a:gd name="connsiteY4" fmla="*/ 1057047 h 1267968"/>
                <a:gd name="connsiteX5" fmla="*/ 216367 w 959104"/>
                <a:gd name="connsiteY5" fmla="*/ 1267399 h 1267968"/>
                <a:gd name="connsiteX6" fmla="*/ 532140 w 959104"/>
                <a:gd name="connsiteY6" fmla="*/ 1267399 h 1267968"/>
                <a:gd name="connsiteX7" fmla="*/ 953821 w 959104"/>
                <a:gd name="connsiteY7" fmla="*/ 892861 h 1267968"/>
                <a:gd name="connsiteX8" fmla="*/ 603260 w 959104"/>
                <a:gd name="connsiteY8" fmla="*/ 530596 h 1267968"/>
                <a:gd name="connsiteX9" fmla="*/ 218562 w 959104"/>
                <a:gd name="connsiteY9" fmla="*/ 531490 h 1267968"/>
                <a:gd name="connsiteX10" fmla="*/ 424282 w 959104"/>
                <a:gd name="connsiteY10" fmla="*/ 737210 h 1267968"/>
                <a:gd name="connsiteX11" fmla="*/ 424932 w 959104"/>
                <a:gd name="connsiteY11" fmla="*/ 737210 h 1267968"/>
                <a:gd name="connsiteX12" fmla="*/ 585785 w 959104"/>
                <a:gd name="connsiteY12" fmla="*/ 737210 h 1267968"/>
                <a:gd name="connsiteX13" fmla="*/ 758261 w 959104"/>
                <a:gd name="connsiteY13" fmla="*/ 889203 h 1267968"/>
                <a:gd name="connsiteX14" fmla="*/ 606268 w 959104"/>
                <a:gd name="connsiteY14" fmla="*/ 1061679 h 1267968"/>
                <a:gd name="connsiteX15" fmla="*/ 585704 w 959104"/>
                <a:gd name="connsiteY15" fmla="*/ 1061679 h 1267968"/>
                <a:gd name="connsiteX16" fmla="*/ 216530 w 959104"/>
                <a:gd name="connsiteY16" fmla="*/ 1061679 h 1267968"/>
                <a:gd name="connsiteX17" fmla="*/ 216530 w 959104"/>
                <a:gd name="connsiteY17" fmla="*/ 211653 h 1267968"/>
                <a:gd name="connsiteX18" fmla="*/ 467685 w 959104"/>
                <a:gd name="connsiteY18" fmla="*/ 211653 h 1267968"/>
                <a:gd name="connsiteX19" fmla="*/ 612689 w 959104"/>
                <a:gd name="connsiteY19" fmla="*/ 356575 h 1267968"/>
                <a:gd name="connsiteX20" fmla="*/ 612689 w 959104"/>
                <a:gd name="connsiteY20" fmla="*/ 530352 h 1267968"/>
                <a:gd name="connsiteX21" fmla="*/ 818815 w 959104"/>
                <a:gd name="connsiteY21" fmla="*/ 411764 h 126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959104" h="1267968">
                  <a:moveTo>
                    <a:pt x="818815" y="411764"/>
                  </a:moveTo>
                  <a:lnTo>
                    <a:pt x="818815" y="285699"/>
                  </a:lnTo>
                  <a:cubicBezTo>
                    <a:pt x="818815" y="131267"/>
                    <a:pt x="693562" y="6096"/>
                    <a:pt x="539130" y="6096"/>
                  </a:cubicBezTo>
                  <a:lnTo>
                    <a:pt x="6096" y="6096"/>
                  </a:lnTo>
                  <a:lnTo>
                    <a:pt x="6096" y="1057047"/>
                  </a:lnTo>
                  <a:cubicBezTo>
                    <a:pt x="6096" y="1173196"/>
                    <a:pt x="100218" y="1267318"/>
                    <a:pt x="216367" y="1267399"/>
                  </a:cubicBezTo>
                  <a:lnTo>
                    <a:pt x="532140" y="1267399"/>
                  </a:lnTo>
                  <a:cubicBezTo>
                    <a:pt x="807436" y="1267399"/>
                    <a:pt x="953821" y="1096711"/>
                    <a:pt x="953821" y="892861"/>
                  </a:cubicBezTo>
                  <a:cubicBezTo>
                    <a:pt x="953821" y="725587"/>
                    <a:pt x="840029" y="530596"/>
                    <a:pt x="603260" y="530596"/>
                  </a:cubicBezTo>
                  <a:lnTo>
                    <a:pt x="218562" y="531490"/>
                  </a:lnTo>
                  <a:cubicBezTo>
                    <a:pt x="218562" y="645119"/>
                    <a:pt x="310652" y="737210"/>
                    <a:pt x="424282" y="737210"/>
                  </a:cubicBezTo>
                  <a:cubicBezTo>
                    <a:pt x="424525" y="737210"/>
                    <a:pt x="424688" y="737210"/>
                    <a:pt x="424932" y="737210"/>
                  </a:cubicBezTo>
                  <a:lnTo>
                    <a:pt x="585785" y="737210"/>
                  </a:lnTo>
                  <a:cubicBezTo>
                    <a:pt x="675356" y="731520"/>
                    <a:pt x="752653" y="799551"/>
                    <a:pt x="758261" y="889203"/>
                  </a:cubicBezTo>
                  <a:cubicBezTo>
                    <a:pt x="763951" y="978774"/>
                    <a:pt x="695919" y="1056071"/>
                    <a:pt x="606268" y="1061679"/>
                  </a:cubicBezTo>
                  <a:cubicBezTo>
                    <a:pt x="599440" y="1062086"/>
                    <a:pt x="592531" y="1062086"/>
                    <a:pt x="585704" y="1061679"/>
                  </a:cubicBezTo>
                  <a:lnTo>
                    <a:pt x="216530" y="1061679"/>
                  </a:lnTo>
                  <a:lnTo>
                    <a:pt x="216530" y="211653"/>
                  </a:lnTo>
                  <a:lnTo>
                    <a:pt x="467685" y="211653"/>
                  </a:lnTo>
                  <a:cubicBezTo>
                    <a:pt x="547014" y="213441"/>
                    <a:pt x="610901" y="277246"/>
                    <a:pt x="612689" y="356575"/>
                  </a:cubicBezTo>
                  <a:lnTo>
                    <a:pt x="612689" y="530352"/>
                  </a:lnTo>
                  <a:lnTo>
                    <a:pt x="818815" y="411764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13" name="Forma libre: forma 12">
              <a:extLst>
                <a:ext uri="{FF2B5EF4-FFF2-40B4-BE49-F238E27FC236}">
                  <a16:creationId xmlns:a16="http://schemas.microsoft.com/office/drawing/2014/main" id="{7C2954FE-DD83-7FD5-6BB6-261473590F16}"/>
                </a:ext>
              </a:extLst>
            </p:cNvPr>
            <p:cNvSpPr/>
            <p:nvPr/>
          </p:nvSpPr>
          <p:spPr>
            <a:xfrm>
              <a:off x="2653792" y="2794284"/>
              <a:ext cx="959104" cy="1267968"/>
            </a:xfrm>
            <a:custGeom>
              <a:avLst/>
              <a:gdLst>
                <a:gd name="connsiteX0" fmla="*/ 818896 w 959104"/>
                <a:gd name="connsiteY0" fmla="*/ 411764 h 1267968"/>
                <a:gd name="connsiteX1" fmla="*/ 818896 w 959104"/>
                <a:gd name="connsiteY1" fmla="*/ 285699 h 1267968"/>
                <a:gd name="connsiteX2" fmla="*/ 539212 w 959104"/>
                <a:gd name="connsiteY2" fmla="*/ 6096 h 1267968"/>
                <a:gd name="connsiteX3" fmla="*/ 6096 w 959104"/>
                <a:gd name="connsiteY3" fmla="*/ 6096 h 1267968"/>
                <a:gd name="connsiteX4" fmla="*/ 6096 w 959104"/>
                <a:gd name="connsiteY4" fmla="*/ 1057047 h 1267968"/>
                <a:gd name="connsiteX5" fmla="*/ 216449 w 959104"/>
                <a:gd name="connsiteY5" fmla="*/ 1267399 h 1267968"/>
                <a:gd name="connsiteX6" fmla="*/ 532222 w 959104"/>
                <a:gd name="connsiteY6" fmla="*/ 1267399 h 1267968"/>
                <a:gd name="connsiteX7" fmla="*/ 953821 w 959104"/>
                <a:gd name="connsiteY7" fmla="*/ 892861 h 1267968"/>
                <a:gd name="connsiteX8" fmla="*/ 603342 w 959104"/>
                <a:gd name="connsiteY8" fmla="*/ 530596 h 1267968"/>
                <a:gd name="connsiteX9" fmla="*/ 218643 w 959104"/>
                <a:gd name="connsiteY9" fmla="*/ 531490 h 1267968"/>
                <a:gd name="connsiteX10" fmla="*/ 424363 w 959104"/>
                <a:gd name="connsiteY10" fmla="*/ 737210 h 1267968"/>
                <a:gd name="connsiteX11" fmla="*/ 424932 w 959104"/>
                <a:gd name="connsiteY11" fmla="*/ 737210 h 1267968"/>
                <a:gd name="connsiteX12" fmla="*/ 585866 w 959104"/>
                <a:gd name="connsiteY12" fmla="*/ 737210 h 1267968"/>
                <a:gd name="connsiteX13" fmla="*/ 737860 w 959104"/>
                <a:gd name="connsiteY13" fmla="*/ 909686 h 1267968"/>
                <a:gd name="connsiteX14" fmla="*/ 585866 w 959104"/>
                <a:gd name="connsiteY14" fmla="*/ 1061679 h 1267968"/>
                <a:gd name="connsiteX15" fmla="*/ 216611 w 959104"/>
                <a:gd name="connsiteY15" fmla="*/ 1061679 h 1267968"/>
                <a:gd name="connsiteX16" fmla="*/ 216611 w 959104"/>
                <a:gd name="connsiteY16" fmla="*/ 211653 h 1267968"/>
                <a:gd name="connsiteX17" fmla="*/ 467766 w 959104"/>
                <a:gd name="connsiteY17" fmla="*/ 211653 h 1267968"/>
                <a:gd name="connsiteX18" fmla="*/ 612770 w 959104"/>
                <a:gd name="connsiteY18" fmla="*/ 356575 h 1267968"/>
                <a:gd name="connsiteX19" fmla="*/ 612770 w 959104"/>
                <a:gd name="connsiteY19" fmla="*/ 530352 h 1267968"/>
                <a:gd name="connsiteX20" fmla="*/ 818896 w 959104"/>
                <a:gd name="connsiteY20" fmla="*/ 411764 h 126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959104" h="1267968">
                  <a:moveTo>
                    <a:pt x="818896" y="411764"/>
                  </a:moveTo>
                  <a:lnTo>
                    <a:pt x="818896" y="285699"/>
                  </a:lnTo>
                  <a:cubicBezTo>
                    <a:pt x="818896" y="131267"/>
                    <a:pt x="693644" y="6096"/>
                    <a:pt x="539212" y="6096"/>
                  </a:cubicBezTo>
                  <a:lnTo>
                    <a:pt x="6096" y="6096"/>
                  </a:lnTo>
                  <a:lnTo>
                    <a:pt x="6096" y="1057047"/>
                  </a:lnTo>
                  <a:cubicBezTo>
                    <a:pt x="6096" y="1173196"/>
                    <a:pt x="100299" y="1267399"/>
                    <a:pt x="216449" y="1267399"/>
                  </a:cubicBezTo>
                  <a:lnTo>
                    <a:pt x="532222" y="1267399"/>
                  </a:lnTo>
                  <a:cubicBezTo>
                    <a:pt x="807517" y="1267399"/>
                    <a:pt x="953821" y="1096711"/>
                    <a:pt x="953821" y="892861"/>
                  </a:cubicBezTo>
                  <a:cubicBezTo>
                    <a:pt x="953821" y="725587"/>
                    <a:pt x="840029" y="530596"/>
                    <a:pt x="603342" y="530596"/>
                  </a:cubicBezTo>
                  <a:lnTo>
                    <a:pt x="218643" y="531490"/>
                  </a:lnTo>
                  <a:cubicBezTo>
                    <a:pt x="218643" y="645119"/>
                    <a:pt x="310734" y="737210"/>
                    <a:pt x="424363" y="737210"/>
                  </a:cubicBezTo>
                  <a:cubicBezTo>
                    <a:pt x="424526" y="737210"/>
                    <a:pt x="424769" y="737210"/>
                    <a:pt x="424932" y="737210"/>
                  </a:cubicBezTo>
                  <a:lnTo>
                    <a:pt x="585866" y="737210"/>
                  </a:lnTo>
                  <a:cubicBezTo>
                    <a:pt x="675437" y="742899"/>
                    <a:pt x="743468" y="820115"/>
                    <a:pt x="737860" y="909686"/>
                  </a:cubicBezTo>
                  <a:cubicBezTo>
                    <a:pt x="732658" y="991372"/>
                    <a:pt x="667553" y="1056477"/>
                    <a:pt x="585866" y="1061679"/>
                  </a:cubicBezTo>
                  <a:lnTo>
                    <a:pt x="216611" y="1061679"/>
                  </a:lnTo>
                  <a:lnTo>
                    <a:pt x="216611" y="211653"/>
                  </a:lnTo>
                  <a:lnTo>
                    <a:pt x="467766" y="211653"/>
                  </a:lnTo>
                  <a:cubicBezTo>
                    <a:pt x="547096" y="213441"/>
                    <a:pt x="610982" y="277246"/>
                    <a:pt x="612770" y="356575"/>
                  </a:cubicBezTo>
                  <a:lnTo>
                    <a:pt x="612770" y="530352"/>
                  </a:lnTo>
                  <a:lnTo>
                    <a:pt x="818896" y="411764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14" name="Forma libre: forma 13">
              <a:extLst>
                <a:ext uri="{FF2B5EF4-FFF2-40B4-BE49-F238E27FC236}">
                  <a16:creationId xmlns:a16="http://schemas.microsoft.com/office/drawing/2014/main" id="{4FA36ED5-5E4B-05BD-2695-A0F69BCB55FA}"/>
                </a:ext>
              </a:extLst>
            </p:cNvPr>
            <p:cNvSpPr/>
            <p:nvPr/>
          </p:nvSpPr>
          <p:spPr>
            <a:xfrm>
              <a:off x="5297343" y="2793878"/>
              <a:ext cx="219456" cy="1267968"/>
            </a:xfrm>
            <a:custGeom>
              <a:avLst/>
              <a:gdLst>
                <a:gd name="connsiteX0" fmla="*/ 6096 w 219456"/>
                <a:gd name="connsiteY0" fmla="*/ 6096 h 1267968"/>
                <a:gd name="connsiteX1" fmla="*/ 216449 w 219456"/>
                <a:gd name="connsiteY1" fmla="*/ 6096 h 1267968"/>
                <a:gd name="connsiteX2" fmla="*/ 216449 w 219456"/>
                <a:gd name="connsiteY2" fmla="*/ 1268212 h 1267968"/>
                <a:gd name="connsiteX3" fmla="*/ 6096 w 219456"/>
                <a:gd name="connsiteY3" fmla="*/ 1268212 h 126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19456" h="1267968">
                  <a:moveTo>
                    <a:pt x="6096" y="6096"/>
                  </a:moveTo>
                  <a:lnTo>
                    <a:pt x="216449" y="6096"/>
                  </a:lnTo>
                  <a:lnTo>
                    <a:pt x="216449" y="1268212"/>
                  </a:lnTo>
                  <a:lnTo>
                    <a:pt x="6096" y="1268212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15" name="Forma libre: forma 14">
              <a:extLst>
                <a:ext uri="{FF2B5EF4-FFF2-40B4-BE49-F238E27FC236}">
                  <a16:creationId xmlns:a16="http://schemas.microsoft.com/office/drawing/2014/main" id="{EB7B0736-0FF9-D3B9-2D08-610787EFF6E6}"/>
                </a:ext>
              </a:extLst>
            </p:cNvPr>
            <p:cNvSpPr/>
            <p:nvPr/>
          </p:nvSpPr>
          <p:spPr>
            <a:xfrm>
              <a:off x="5507695" y="2793634"/>
              <a:ext cx="487680" cy="1267968"/>
            </a:xfrm>
            <a:custGeom>
              <a:avLst/>
              <a:gdLst>
                <a:gd name="connsiteX0" fmla="*/ 426557 w 487680"/>
                <a:gd name="connsiteY0" fmla="*/ 1268375 h 1267968"/>
                <a:gd name="connsiteX1" fmla="*/ 485323 w 487680"/>
                <a:gd name="connsiteY1" fmla="*/ 1268375 h 1267968"/>
                <a:gd name="connsiteX2" fmla="*/ 248067 w 487680"/>
                <a:gd name="connsiteY2" fmla="*/ 154838 h 1267968"/>
                <a:gd name="connsiteX3" fmla="*/ 64861 w 487680"/>
                <a:gd name="connsiteY3" fmla="*/ 6096 h 1267968"/>
                <a:gd name="connsiteX4" fmla="*/ 6096 w 487680"/>
                <a:gd name="connsiteY4" fmla="*/ 6096 h 1267968"/>
                <a:gd name="connsiteX5" fmla="*/ 243352 w 487680"/>
                <a:gd name="connsiteY5" fmla="*/ 1119632 h 1267968"/>
                <a:gd name="connsiteX6" fmla="*/ 426557 w 487680"/>
                <a:gd name="connsiteY6" fmla="*/ 1267968 h 126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87680" h="1267968">
                  <a:moveTo>
                    <a:pt x="426557" y="1268375"/>
                  </a:moveTo>
                  <a:lnTo>
                    <a:pt x="485323" y="1268375"/>
                  </a:lnTo>
                  <a:lnTo>
                    <a:pt x="248067" y="154838"/>
                  </a:lnTo>
                  <a:cubicBezTo>
                    <a:pt x="229535" y="68356"/>
                    <a:pt x="153294" y="6421"/>
                    <a:pt x="64861" y="6096"/>
                  </a:cubicBezTo>
                  <a:lnTo>
                    <a:pt x="6096" y="6096"/>
                  </a:lnTo>
                  <a:lnTo>
                    <a:pt x="243352" y="1119632"/>
                  </a:lnTo>
                  <a:cubicBezTo>
                    <a:pt x="261803" y="1206114"/>
                    <a:pt x="338125" y="1267887"/>
                    <a:pt x="426557" y="1267968"/>
                  </a:cubicBezTo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16" name="Forma libre: forma 15">
              <a:extLst>
                <a:ext uri="{FF2B5EF4-FFF2-40B4-BE49-F238E27FC236}">
                  <a16:creationId xmlns:a16="http://schemas.microsoft.com/office/drawing/2014/main" id="{72B7821C-7893-6BD9-5F93-385636BA567A}"/>
                </a:ext>
              </a:extLst>
            </p:cNvPr>
            <p:cNvSpPr/>
            <p:nvPr/>
          </p:nvSpPr>
          <p:spPr>
            <a:xfrm>
              <a:off x="5986922" y="2794284"/>
              <a:ext cx="487680" cy="1267968"/>
            </a:xfrm>
            <a:custGeom>
              <a:avLst/>
              <a:gdLst>
                <a:gd name="connsiteX0" fmla="*/ 243271 w 487680"/>
                <a:gd name="connsiteY0" fmla="*/ 154595 h 1267968"/>
                <a:gd name="connsiteX1" fmla="*/ 6096 w 487680"/>
                <a:gd name="connsiteY1" fmla="*/ 1268131 h 1267968"/>
                <a:gd name="connsiteX2" fmla="*/ 216367 w 487680"/>
                <a:gd name="connsiteY2" fmla="*/ 1268131 h 1267968"/>
                <a:gd name="connsiteX3" fmla="*/ 485323 w 487680"/>
                <a:gd name="connsiteY3" fmla="*/ 6096 h 1267968"/>
                <a:gd name="connsiteX4" fmla="*/ 426557 w 487680"/>
                <a:gd name="connsiteY4" fmla="*/ 6096 h 1267968"/>
                <a:gd name="connsiteX5" fmla="*/ 243271 w 487680"/>
                <a:gd name="connsiteY5" fmla="*/ 155001 h 126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87680" h="1267968">
                  <a:moveTo>
                    <a:pt x="243271" y="154595"/>
                  </a:moveTo>
                  <a:lnTo>
                    <a:pt x="6096" y="1268131"/>
                  </a:lnTo>
                  <a:lnTo>
                    <a:pt x="216367" y="1268131"/>
                  </a:lnTo>
                  <a:lnTo>
                    <a:pt x="485323" y="6096"/>
                  </a:lnTo>
                  <a:lnTo>
                    <a:pt x="426557" y="6096"/>
                  </a:lnTo>
                  <a:cubicBezTo>
                    <a:pt x="338043" y="6421"/>
                    <a:pt x="261722" y="68438"/>
                    <a:pt x="243271" y="155001"/>
                  </a:cubicBezTo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17" name="Forma libre: forma 16">
              <a:extLst>
                <a:ext uri="{FF2B5EF4-FFF2-40B4-BE49-F238E27FC236}">
                  <a16:creationId xmlns:a16="http://schemas.microsoft.com/office/drawing/2014/main" id="{8B28239F-9BF8-8C44-4530-070578F03AF3}"/>
                </a:ext>
              </a:extLst>
            </p:cNvPr>
            <p:cNvSpPr/>
            <p:nvPr/>
          </p:nvSpPr>
          <p:spPr>
            <a:xfrm>
              <a:off x="6466149" y="2793878"/>
              <a:ext cx="219456" cy="1267968"/>
            </a:xfrm>
            <a:custGeom>
              <a:avLst/>
              <a:gdLst>
                <a:gd name="connsiteX0" fmla="*/ 6096 w 219456"/>
                <a:gd name="connsiteY0" fmla="*/ 6096 h 1267968"/>
                <a:gd name="connsiteX1" fmla="*/ 216449 w 219456"/>
                <a:gd name="connsiteY1" fmla="*/ 6096 h 1267968"/>
                <a:gd name="connsiteX2" fmla="*/ 216449 w 219456"/>
                <a:gd name="connsiteY2" fmla="*/ 1268212 h 1267968"/>
                <a:gd name="connsiteX3" fmla="*/ 6096 w 219456"/>
                <a:gd name="connsiteY3" fmla="*/ 1268212 h 126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19456" h="1267968">
                  <a:moveTo>
                    <a:pt x="6096" y="6096"/>
                  </a:moveTo>
                  <a:lnTo>
                    <a:pt x="216449" y="6096"/>
                  </a:lnTo>
                  <a:lnTo>
                    <a:pt x="216449" y="1268212"/>
                  </a:lnTo>
                  <a:lnTo>
                    <a:pt x="6096" y="1268212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18" name="Forma libre: forma 17">
              <a:extLst>
                <a:ext uri="{FF2B5EF4-FFF2-40B4-BE49-F238E27FC236}">
                  <a16:creationId xmlns:a16="http://schemas.microsoft.com/office/drawing/2014/main" id="{42586290-71A6-81A6-8F3C-111CAD7A9B4D}"/>
                </a:ext>
              </a:extLst>
            </p:cNvPr>
            <p:cNvSpPr/>
            <p:nvPr/>
          </p:nvSpPr>
          <p:spPr>
            <a:xfrm>
              <a:off x="9815617" y="2776728"/>
              <a:ext cx="950976" cy="1300480"/>
            </a:xfrm>
            <a:custGeom>
              <a:avLst/>
              <a:gdLst>
                <a:gd name="connsiteX0" fmla="*/ 889935 w 950976"/>
                <a:gd name="connsiteY0" fmla="*/ 286350 h 1300480"/>
                <a:gd name="connsiteX1" fmla="*/ 285618 w 950976"/>
                <a:gd name="connsiteY1" fmla="*/ 417779 h 1300480"/>
                <a:gd name="connsiteX2" fmla="*/ 417047 w 950976"/>
                <a:gd name="connsiteY2" fmla="*/ 1022096 h 1300480"/>
                <a:gd name="connsiteX3" fmla="*/ 653410 w 950976"/>
                <a:gd name="connsiteY3" fmla="*/ 1091509 h 1300480"/>
                <a:gd name="connsiteX4" fmla="*/ 927242 w 950976"/>
                <a:gd name="connsiteY4" fmla="*/ 997712 h 1300480"/>
                <a:gd name="connsiteX5" fmla="*/ 927242 w 950976"/>
                <a:gd name="connsiteY5" fmla="*/ 1240170 h 1300480"/>
                <a:gd name="connsiteX6" fmla="*/ 653736 w 950976"/>
                <a:gd name="connsiteY6" fmla="*/ 1301862 h 1300480"/>
                <a:gd name="connsiteX7" fmla="*/ 6096 w 950976"/>
                <a:gd name="connsiteY7" fmla="*/ 653735 h 1300480"/>
                <a:gd name="connsiteX8" fmla="*/ 654304 w 950976"/>
                <a:gd name="connsiteY8" fmla="*/ 6096 h 1300480"/>
                <a:gd name="connsiteX9" fmla="*/ 948050 w 950976"/>
                <a:gd name="connsiteY9" fmla="*/ 76647 h 1300480"/>
                <a:gd name="connsiteX10" fmla="*/ 889935 w 950976"/>
                <a:gd name="connsiteY10" fmla="*/ 286350 h 13004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950976" h="1300480">
                  <a:moveTo>
                    <a:pt x="889935" y="286350"/>
                  </a:moveTo>
                  <a:cubicBezTo>
                    <a:pt x="686735" y="155814"/>
                    <a:pt x="416235" y="214661"/>
                    <a:pt x="285618" y="417779"/>
                  </a:cubicBezTo>
                  <a:cubicBezTo>
                    <a:pt x="155082" y="620979"/>
                    <a:pt x="213929" y="891479"/>
                    <a:pt x="417047" y="1022096"/>
                  </a:cubicBezTo>
                  <a:cubicBezTo>
                    <a:pt x="487599" y="1067369"/>
                    <a:pt x="569610" y="1091509"/>
                    <a:pt x="653410" y="1091509"/>
                  </a:cubicBezTo>
                  <a:cubicBezTo>
                    <a:pt x="752571" y="1091753"/>
                    <a:pt x="849051" y="1058753"/>
                    <a:pt x="927242" y="997712"/>
                  </a:cubicBezTo>
                  <a:lnTo>
                    <a:pt x="927242" y="1240170"/>
                  </a:lnTo>
                  <a:cubicBezTo>
                    <a:pt x="841817" y="1280892"/>
                    <a:pt x="748345" y="1302024"/>
                    <a:pt x="653736" y="1301862"/>
                  </a:cubicBezTo>
                  <a:cubicBezTo>
                    <a:pt x="295941" y="1301699"/>
                    <a:pt x="5933" y="1011530"/>
                    <a:pt x="6096" y="653735"/>
                  </a:cubicBezTo>
                  <a:cubicBezTo>
                    <a:pt x="6259" y="295941"/>
                    <a:pt x="296428" y="5934"/>
                    <a:pt x="654304" y="6096"/>
                  </a:cubicBezTo>
                  <a:cubicBezTo>
                    <a:pt x="756391" y="6096"/>
                    <a:pt x="857097" y="30318"/>
                    <a:pt x="948050" y="76647"/>
                  </a:cubicBezTo>
                  <a:lnTo>
                    <a:pt x="889935" y="286350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20" name="Forma libre: forma 19">
              <a:extLst>
                <a:ext uri="{FF2B5EF4-FFF2-40B4-BE49-F238E27FC236}">
                  <a16:creationId xmlns:a16="http://schemas.microsoft.com/office/drawing/2014/main" id="{9566CB24-5A8C-40F9-80C9-B8ADA33E684B}"/>
                </a:ext>
              </a:extLst>
            </p:cNvPr>
            <p:cNvSpPr/>
            <p:nvPr/>
          </p:nvSpPr>
          <p:spPr>
            <a:xfrm>
              <a:off x="6886773" y="2794041"/>
              <a:ext cx="1276096" cy="1267968"/>
            </a:xfrm>
            <a:custGeom>
              <a:avLst/>
              <a:gdLst>
                <a:gd name="connsiteX0" fmla="*/ 1060135 w 1276096"/>
                <a:gd name="connsiteY0" fmla="*/ 1267968 h 1267968"/>
                <a:gd name="connsiteX1" fmla="*/ 1273007 w 1276096"/>
                <a:gd name="connsiteY1" fmla="*/ 1267968 h 1267968"/>
                <a:gd name="connsiteX2" fmla="*/ 900501 w 1276096"/>
                <a:gd name="connsiteY2" fmla="*/ 149962 h 1267968"/>
                <a:gd name="connsiteX3" fmla="*/ 700959 w 1276096"/>
                <a:gd name="connsiteY3" fmla="*/ 6096 h 1267968"/>
                <a:gd name="connsiteX4" fmla="*/ 426801 w 1276096"/>
                <a:gd name="connsiteY4" fmla="*/ 6096 h 1267968"/>
                <a:gd name="connsiteX5" fmla="*/ 6096 w 1276096"/>
                <a:gd name="connsiteY5" fmla="*/ 1268212 h 1267968"/>
                <a:gd name="connsiteX6" fmla="*/ 218968 w 1276096"/>
                <a:gd name="connsiteY6" fmla="*/ 1268212 h 1267968"/>
                <a:gd name="connsiteX7" fmla="*/ 324145 w 1276096"/>
                <a:gd name="connsiteY7" fmla="*/ 952683 h 1267968"/>
                <a:gd name="connsiteX8" fmla="*/ 673649 w 1276096"/>
                <a:gd name="connsiteY8" fmla="*/ 952683 h 1267968"/>
                <a:gd name="connsiteX9" fmla="*/ 884001 w 1276096"/>
                <a:gd name="connsiteY9" fmla="*/ 742330 h 1267968"/>
                <a:gd name="connsiteX10" fmla="*/ 884001 w 1276096"/>
                <a:gd name="connsiteY10" fmla="*/ 742330 h 1267968"/>
                <a:gd name="connsiteX11" fmla="*/ 394127 w 1276096"/>
                <a:gd name="connsiteY11" fmla="*/ 742330 h 1267968"/>
                <a:gd name="connsiteX12" fmla="*/ 639511 w 1276096"/>
                <a:gd name="connsiteY12" fmla="*/ 6096 h 1267968"/>
                <a:gd name="connsiteX13" fmla="*/ 1060135 w 1276096"/>
                <a:gd name="connsiteY13" fmla="*/ 1267968 h 126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276096" h="1267968">
                  <a:moveTo>
                    <a:pt x="1060135" y="1267968"/>
                  </a:moveTo>
                  <a:lnTo>
                    <a:pt x="1273007" y="1267968"/>
                  </a:lnTo>
                  <a:lnTo>
                    <a:pt x="900501" y="149962"/>
                  </a:lnTo>
                  <a:cubicBezTo>
                    <a:pt x="871891" y="64049"/>
                    <a:pt x="791505" y="6096"/>
                    <a:pt x="700959" y="6096"/>
                  </a:cubicBezTo>
                  <a:lnTo>
                    <a:pt x="426801" y="6096"/>
                  </a:lnTo>
                  <a:lnTo>
                    <a:pt x="6096" y="1268212"/>
                  </a:lnTo>
                  <a:lnTo>
                    <a:pt x="218968" y="1268212"/>
                  </a:lnTo>
                  <a:lnTo>
                    <a:pt x="324145" y="952683"/>
                  </a:lnTo>
                  <a:lnTo>
                    <a:pt x="673649" y="952683"/>
                  </a:lnTo>
                  <a:cubicBezTo>
                    <a:pt x="789798" y="952683"/>
                    <a:pt x="884001" y="858479"/>
                    <a:pt x="884001" y="742330"/>
                  </a:cubicBezTo>
                  <a:lnTo>
                    <a:pt x="884001" y="742330"/>
                  </a:lnTo>
                  <a:cubicBezTo>
                    <a:pt x="884001" y="742330"/>
                    <a:pt x="394127" y="742330"/>
                    <a:pt x="394127" y="742330"/>
                  </a:cubicBezTo>
                  <a:lnTo>
                    <a:pt x="639511" y="6096"/>
                  </a:lnTo>
                  <a:lnTo>
                    <a:pt x="1060135" y="1267968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28" name="Forma libre: forma 27">
              <a:extLst>
                <a:ext uri="{FF2B5EF4-FFF2-40B4-BE49-F238E27FC236}">
                  <a16:creationId xmlns:a16="http://schemas.microsoft.com/office/drawing/2014/main" id="{3347F8EF-A8F1-096B-A186-75F6A5353804}"/>
                </a:ext>
              </a:extLst>
            </p:cNvPr>
            <p:cNvSpPr/>
            <p:nvPr/>
          </p:nvSpPr>
          <p:spPr>
            <a:xfrm>
              <a:off x="10918749" y="2794041"/>
              <a:ext cx="1276096" cy="1267968"/>
            </a:xfrm>
            <a:custGeom>
              <a:avLst/>
              <a:gdLst>
                <a:gd name="connsiteX0" fmla="*/ 1060380 w 1276096"/>
                <a:gd name="connsiteY0" fmla="*/ 1267968 h 1267968"/>
                <a:gd name="connsiteX1" fmla="*/ 1273251 w 1276096"/>
                <a:gd name="connsiteY1" fmla="*/ 1267968 h 1267968"/>
                <a:gd name="connsiteX2" fmla="*/ 900420 w 1276096"/>
                <a:gd name="connsiteY2" fmla="*/ 149962 h 1267968"/>
                <a:gd name="connsiteX3" fmla="*/ 700877 w 1276096"/>
                <a:gd name="connsiteY3" fmla="*/ 6096 h 1267968"/>
                <a:gd name="connsiteX4" fmla="*/ 426801 w 1276096"/>
                <a:gd name="connsiteY4" fmla="*/ 6096 h 1267968"/>
                <a:gd name="connsiteX5" fmla="*/ 6096 w 1276096"/>
                <a:gd name="connsiteY5" fmla="*/ 1268212 h 1267968"/>
                <a:gd name="connsiteX6" fmla="*/ 218969 w 1276096"/>
                <a:gd name="connsiteY6" fmla="*/ 1268212 h 1267968"/>
                <a:gd name="connsiteX7" fmla="*/ 324145 w 1276096"/>
                <a:gd name="connsiteY7" fmla="*/ 952683 h 1267968"/>
                <a:gd name="connsiteX8" fmla="*/ 673649 w 1276096"/>
                <a:gd name="connsiteY8" fmla="*/ 952683 h 1267968"/>
                <a:gd name="connsiteX9" fmla="*/ 884001 w 1276096"/>
                <a:gd name="connsiteY9" fmla="*/ 742330 h 1267968"/>
                <a:gd name="connsiteX10" fmla="*/ 884001 w 1276096"/>
                <a:gd name="connsiteY10" fmla="*/ 742330 h 1267968"/>
                <a:gd name="connsiteX11" fmla="*/ 394127 w 1276096"/>
                <a:gd name="connsiteY11" fmla="*/ 742330 h 1267968"/>
                <a:gd name="connsiteX12" fmla="*/ 639512 w 1276096"/>
                <a:gd name="connsiteY12" fmla="*/ 6096 h 1267968"/>
                <a:gd name="connsiteX13" fmla="*/ 1060380 w 1276096"/>
                <a:gd name="connsiteY13" fmla="*/ 1267968 h 126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276096" h="1267968">
                  <a:moveTo>
                    <a:pt x="1060380" y="1267968"/>
                  </a:moveTo>
                  <a:lnTo>
                    <a:pt x="1273251" y="1267968"/>
                  </a:lnTo>
                  <a:lnTo>
                    <a:pt x="900420" y="149962"/>
                  </a:lnTo>
                  <a:cubicBezTo>
                    <a:pt x="871809" y="64049"/>
                    <a:pt x="791423" y="6096"/>
                    <a:pt x="700877" y="6096"/>
                  </a:cubicBezTo>
                  <a:lnTo>
                    <a:pt x="426801" y="6096"/>
                  </a:lnTo>
                  <a:lnTo>
                    <a:pt x="6096" y="1268212"/>
                  </a:lnTo>
                  <a:lnTo>
                    <a:pt x="218969" y="1268212"/>
                  </a:lnTo>
                  <a:lnTo>
                    <a:pt x="324145" y="952683"/>
                  </a:lnTo>
                  <a:lnTo>
                    <a:pt x="673649" y="952683"/>
                  </a:lnTo>
                  <a:cubicBezTo>
                    <a:pt x="789798" y="952683"/>
                    <a:pt x="884001" y="858479"/>
                    <a:pt x="884001" y="742330"/>
                  </a:cubicBezTo>
                  <a:lnTo>
                    <a:pt x="884001" y="742330"/>
                  </a:lnTo>
                  <a:cubicBezTo>
                    <a:pt x="884001" y="742330"/>
                    <a:pt x="394127" y="742330"/>
                    <a:pt x="394127" y="742330"/>
                  </a:cubicBezTo>
                  <a:lnTo>
                    <a:pt x="639512" y="6096"/>
                  </a:lnTo>
                  <a:lnTo>
                    <a:pt x="1060380" y="1267968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</p:grpSp>
      <p:sp>
        <p:nvSpPr>
          <p:cNvPr id="23" name="Marcador de Posição do Rodapé 4">
            <a:extLst>
              <a:ext uri="{FF2B5EF4-FFF2-40B4-BE49-F238E27FC236}">
                <a16:creationId xmlns:a16="http://schemas.microsoft.com/office/drawing/2014/main" id="{8737B334-5D7B-461C-B092-40ACD16024C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12762" y="6356350"/>
            <a:ext cx="534669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accent2"/>
                </a:solidFill>
              </a:defRPr>
            </a:lvl1pPr>
          </a:lstStyle>
          <a:p>
            <a:r>
              <a:rPr lang="pt-PT"/>
              <a:t>Título de la presentación</a:t>
            </a:r>
            <a:endParaRPr lang="pt-PT" dirty="0"/>
          </a:p>
        </p:txBody>
      </p:sp>
      <p:sp>
        <p:nvSpPr>
          <p:cNvPr id="24" name="Marcador de Posição do Número do Diapositivo 5">
            <a:extLst>
              <a:ext uri="{FF2B5EF4-FFF2-40B4-BE49-F238E27FC236}">
                <a16:creationId xmlns:a16="http://schemas.microsoft.com/office/drawing/2014/main" id="{92506D35-7BE5-40A9-8945-9DE6D03A175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936039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bg1"/>
                </a:solidFill>
              </a:defRPr>
            </a:lvl1pPr>
          </a:lstStyle>
          <a:p>
            <a:fld id="{24A347C2-D68E-473A-8C76-1D063E4EB6E0}" type="slidenum">
              <a:rPr lang="es-ES" smtClean="0"/>
              <a:pPr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20116397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2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2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4" decel="100000" fill="hold" grpId="0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13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25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25E-6 0.03889 L 1.25E-6 1.85185E-6 " pathEditMode="relative" rAng="0" ptsTypes="AA">
                                      <p:cBhvr>
                                        <p:cTn id="21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944"/>
                                    </p:animMotion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25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1666 -0.00046 L 3.75E-6 1.85185E-6 " pathEditMode="relative" rAng="0" ptsTypes="AA">
                                      <p:cBhvr>
                                        <p:cTn id="26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833" y="23"/>
                                    </p:animMotion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 animBg="1"/>
      <p:bldP spid="6" grpId="0"/>
      <p:bldP spid="6" grpId="1"/>
      <p:bldP spid="7" grpId="0">
        <p:tmplLst>
          <p:tmpl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250"/>
                        <p:tgtEl>
                          <p:spTgt spid="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7" grpId="1"/>
      <p:bldP spid="8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8"/>
                        </p:tgtEl>
                      </p:cBhvr>
                    </p:animEffect>
                  </p:childTnLst>
                </p:cTn>
              </p:par>
            </p:tnLst>
          </p:tmpl>
          <p:tmpl lvl="2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8"/>
                        </p:tgtEl>
                      </p:cBhvr>
                    </p:animEffect>
                  </p:childTnLst>
                </p:cTn>
              </p:par>
            </p:tnLst>
          </p:tmpl>
          <p:tmpl lvl="3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8"/>
                        </p:tgtEl>
                      </p:cBhvr>
                    </p:animEffect>
                  </p:childTnLst>
                </p:cTn>
              </p:par>
            </p:tnLst>
          </p:tmpl>
          <p:tmpl lvl="4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8"/>
                        </p:tgtEl>
                      </p:cBhvr>
                    </p:animEffect>
                  </p:childTnLst>
                </p:cTn>
              </p:par>
            </p:tnLst>
          </p:tmpl>
          <p:tmpl lvl="5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9" grpId="0"/>
    </p:bld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Esquema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m 1">
            <a:extLst>
              <a:ext uri="{FF2B5EF4-FFF2-40B4-BE49-F238E27FC236}">
                <a16:creationId xmlns:a16="http://schemas.microsoft.com/office/drawing/2014/main" id="{579A4209-6A65-1165-4E87-DF24060586D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 l="11785" t="53189" r="15412" b="13881"/>
          <a:stretch>
            <a:fillRect/>
          </a:stretch>
        </p:blipFill>
        <p:spPr>
          <a:xfrm>
            <a:off x="5067301" y="0"/>
            <a:ext cx="7124700" cy="3222648"/>
          </a:xfrm>
          <a:prstGeom prst="rect">
            <a:avLst/>
          </a:prstGeom>
        </p:spPr>
      </p:pic>
      <p:pic>
        <p:nvPicPr>
          <p:cNvPr id="16" name="Imagem 2">
            <a:extLst>
              <a:ext uri="{FF2B5EF4-FFF2-40B4-BE49-F238E27FC236}">
                <a16:creationId xmlns:a16="http://schemas.microsoft.com/office/drawing/2014/main" id="{B55D8C6D-2629-43C0-936B-84B1A155AD86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 l="43994" r="13407" b="69692"/>
          <a:stretch>
            <a:fillRect/>
          </a:stretch>
        </p:blipFill>
        <p:spPr>
          <a:xfrm>
            <a:off x="0" y="5297714"/>
            <a:ext cx="2194327" cy="1560286"/>
          </a:xfrm>
          <a:prstGeom prst="rect">
            <a:avLst/>
          </a:prstGeom>
        </p:spPr>
      </p:pic>
      <p:sp>
        <p:nvSpPr>
          <p:cNvPr id="10" name="Forma livre: Forma 9">
            <a:extLst>
              <a:ext uri="{FF2B5EF4-FFF2-40B4-BE49-F238E27FC236}">
                <a16:creationId xmlns:a16="http://schemas.microsoft.com/office/drawing/2014/main" id="{BDFD51E8-AFA1-AFCE-D939-B2E46197B34B}"/>
              </a:ext>
            </a:extLst>
          </p:cNvPr>
          <p:cNvSpPr/>
          <p:nvPr userDrawn="1"/>
        </p:nvSpPr>
        <p:spPr>
          <a:xfrm>
            <a:off x="6562152" y="3614057"/>
            <a:ext cx="5629848" cy="2608943"/>
          </a:xfrm>
          <a:custGeom>
            <a:avLst/>
            <a:gdLst>
              <a:gd name="connsiteX0" fmla="*/ 2220906 w 2220906"/>
              <a:gd name="connsiteY0" fmla="*/ 0 h 524519"/>
              <a:gd name="connsiteX1" fmla="*/ 2220906 w 2220906"/>
              <a:gd name="connsiteY1" fmla="*/ 524457 h 524519"/>
              <a:gd name="connsiteX2" fmla="*/ 0 w 2220906"/>
              <a:gd name="connsiteY2" fmla="*/ 524519 h 524519"/>
              <a:gd name="connsiteX3" fmla="*/ 0 w 2220906"/>
              <a:gd name="connsiteY3" fmla="*/ 62 h 5245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220906" h="524519">
                <a:moveTo>
                  <a:pt x="2220906" y="0"/>
                </a:moveTo>
                <a:lnTo>
                  <a:pt x="2220906" y="524457"/>
                </a:lnTo>
                <a:lnTo>
                  <a:pt x="0" y="524519"/>
                </a:lnTo>
                <a:lnTo>
                  <a:pt x="0" y="62"/>
                </a:lnTo>
                <a:close/>
              </a:path>
            </a:pathLst>
          </a:custGeom>
          <a:solidFill>
            <a:schemeClr val="bg1"/>
          </a:solidFill>
          <a:ln w="4244" cap="flat">
            <a:noFill/>
            <a:prstDash val="solid"/>
            <a:miter/>
          </a:ln>
          <a:effectLst>
            <a:outerShdw blurRad="254000" algn="ctr" rotWithShape="0">
              <a:srgbClr val="132153">
                <a:alpha val="5000"/>
              </a:srgb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pt-PT"/>
          </a:p>
        </p:txBody>
      </p:sp>
      <p:sp>
        <p:nvSpPr>
          <p:cNvPr id="9" name="Marcador de Posição do Texto 10">
            <a:extLst>
              <a:ext uri="{FF2B5EF4-FFF2-40B4-BE49-F238E27FC236}">
                <a16:creationId xmlns:a16="http://schemas.microsoft.com/office/drawing/2014/main" id="{753BF4D0-2A21-ACB8-076A-6F83C8A2B62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851589" y="3759200"/>
            <a:ext cx="4088268" cy="2231571"/>
          </a:xfrm>
        </p:spPr>
        <p:txBody>
          <a:bodyPr anchor="ctr"/>
          <a:lstStyle>
            <a:lvl1pPr>
              <a:defRPr/>
            </a:lvl1pPr>
            <a:lvl2pPr marL="171450" indent="-171450">
              <a:buClr>
                <a:schemeClr val="tx1"/>
              </a:buClr>
              <a:buFont typeface="Arial" panose="020B0604020202020204" pitchFamily="34" charset="0"/>
              <a:buChar char="•"/>
              <a:defRPr/>
            </a:lvl2pPr>
            <a:lvl3pPr marL="171450" indent="-171450">
              <a:buClr>
                <a:schemeClr val="tx1"/>
              </a:buClr>
              <a:buFont typeface="Arial" panose="020B0604020202020204" pitchFamily="34" charset="0"/>
              <a:buChar char="•"/>
              <a:defRPr/>
            </a:lvl3pPr>
            <a:lvl4pPr marL="171450" indent="-171450">
              <a:buClr>
                <a:schemeClr val="tx1"/>
              </a:buClr>
              <a:buFont typeface="Arial" panose="020B0604020202020204" pitchFamily="34" charset="0"/>
              <a:buChar char="•"/>
              <a:defRPr/>
            </a:lvl4pPr>
            <a:lvl5pPr marL="171450" indent="-171450">
              <a:buClr>
                <a:schemeClr val="tx1"/>
              </a:buClr>
              <a:buFont typeface="Arial" panose="020B0604020202020204" pitchFamily="34" charset="0"/>
              <a:buChar char="•"/>
              <a:defRPr/>
            </a:lvl5pPr>
          </a:lstStyle>
          <a:p>
            <a:pPr lvl="0"/>
            <a:r>
              <a:rPr lang="es-ES" dirty="0"/>
              <a:t>Haz </a:t>
            </a:r>
            <a:r>
              <a:rPr lang="es-ES" dirty="0" err="1"/>
              <a:t>click</a:t>
            </a:r>
            <a:r>
              <a:rPr lang="es-ES" dirty="0"/>
              <a:t> para editar los estilos del texto del modelo global</a:t>
            </a:r>
            <a:endParaRPr lang="pt-PT" dirty="0"/>
          </a:p>
          <a:p>
            <a:pPr lvl="1"/>
            <a:r>
              <a:rPr lang="es-ES" dirty="0"/>
              <a:t>Segundo nivel</a:t>
            </a:r>
          </a:p>
          <a:p>
            <a:pPr lvl="1"/>
            <a:r>
              <a:rPr lang="es-ES" dirty="0"/>
              <a:t>Tercer nivel</a:t>
            </a:r>
          </a:p>
          <a:p>
            <a:pPr lvl="1"/>
            <a:r>
              <a:rPr lang="es-ES" dirty="0"/>
              <a:t>Cuarto nivel</a:t>
            </a:r>
          </a:p>
          <a:p>
            <a:pPr lvl="1"/>
            <a:r>
              <a:rPr lang="es-ES" dirty="0"/>
              <a:t>Quinto nivel</a:t>
            </a:r>
          </a:p>
        </p:txBody>
      </p:sp>
      <p:sp>
        <p:nvSpPr>
          <p:cNvPr id="20" name="Marcador de Posição do Texto 19">
            <a:extLst>
              <a:ext uri="{FF2B5EF4-FFF2-40B4-BE49-F238E27FC236}">
                <a16:creationId xmlns:a16="http://schemas.microsoft.com/office/drawing/2014/main" id="{852C833D-C1F8-B61F-AF51-DD441922E38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562151" y="3110807"/>
            <a:ext cx="4667145" cy="524545"/>
          </a:xfrm>
          <a:custGeom>
            <a:avLst/>
            <a:gdLst>
              <a:gd name="connsiteX0" fmla="*/ 3705510 w 4667145"/>
              <a:gd name="connsiteY0" fmla="*/ 0 h 524545"/>
              <a:gd name="connsiteX1" fmla="*/ 4142403 w 4667145"/>
              <a:gd name="connsiteY1" fmla="*/ 0 h 524545"/>
              <a:gd name="connsiteX2" fmla="*/ 4142616 w 4667145"/>
              <a:gd name="connsiteY2" fmla="*/ 0 h 524545"/>
              <a:gd name="connsiteX3" fmla="*/ 4667145 w 4667145"/>
              <a:gd name="connsiteY3" fmla="*/ 524524 h 524545"/>
              <a:gd name="connsiteX4" fmla="*/ 3830077 w 4667145"/>
              <a:gd name="connsiteY4" fmla="*/ 524524 h 524545"/>
              <a:gd name="connsiteX5" fmla="*/ 3830077 w 4667145"/>
              <a:gd name="connsiteY5" fmla="*/ 524545 h 524545"/>
              <a:gd name="connsiteX6" fmla="*/ 0 w 4667145"/>
              <a:gd name="connsiteY6" fmla="*/ 524483 h 524545"/>
              <a:gd name="connsiteX7" fmla="*/ 0 w 4667145"/>
              <a:gd name="connsiteY7" fmla="*/ 26 h 524545"/>
              <a:gd name="connsiteX8" fmla="*/ 3705481 w 4667145"/>
              <a:gd name="connsiteY8" fmla="*/ 86 h 5245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667145" h="524545">
                <a:moveTo>
                  <a:pt x="3705510" y="0"/>
                </a:moveTo>
                <a:lnTo>
                  <a:pt x="4142403" y="0"/>
                </a:lnTo>
                <a:lnTo>
                  <a:pt x="4142616" y="0"/>
                </a:lnTo>
                <a:cubicBezTo>
                  <a:pt x="4432225" y="0"/>
                  <a:pt x="4667145" y="234700"/>
                  <a:pt x="4667145" y="524524"/>
                </a:cubicBezTo>
                <a:lnTo>
                  <a:pt x="3830077" y="524524"/>
                </a:lnTo>
                <a:lnTo>
                  <a:pt x="3830077" y="524545"/>
                </a:lnTo>
                <a:lnTo>
                  <a:pt x="0" y="524483"/>
                </a:lnTo>
                <a:lnTo>
                  <a:pt x="0" y="26"/>
                </a:lnTo>
                <a:lnTo>
                  <a:pt x="3705481" y="86"/>
                </a:lnTo>
                <a:close/>
              </a:path>
            </a:pathLst>
          </a:custGeom>
          <a:solidFill>
            <a:schemeClr val="accent2"/>
          </a:solidFill>
        </p:spPr>
        <p:txBody>
          <a:bodyPr wrap="square" lIns="864000" tIns="108000" anchor="ctr">
            <a:noAutofit/>
          </a:bodyPr>
          <a:lstStyle>
            <a:lvl1pPr>
              <a:defRPr sz="1800" cap="all" baseline="0">
                <a:solidFill>
                  <a:schemeClr val="bg1"/>
                </a:solidFill>
                <a:latin typeface="+mj-lt"/>
              </a:defRPr>
            </a:lvl1pPr>
            <a:lvl2pPr marL="171450" indent="-171450">
              <a:buClr>
                <a:schemeClr val="tx1"/>
              </a:buClr>
              <a:buFont typeface="Arial" panose="020B0604020202020204" pitchFamily="34" charset="0"/>
              <a:buChar char="•"/>
              <a:defRPr/>
            </a:lvl2pPr>
            <a:lvl3pPr marL="171450" indent="-171450">
              <a:buClr>
                <a:schemeClr val="tx1"/>
              </a:buClr>
              <a:buFont typeface="Arial" panose="020B0604020202020204" pitchFamily="34" charset="0"/>
              <a:buChar char="•"/>
              <a:defRPr/>
            </a:lvl3pPr>
            <a:lvl4pPr marL="171450" indent="-171450">
              <a:buClr>
                <a:schemeClr val="tx1"/>
              </a:buClr>
              <a:buFont typeface="Arial" panose="020B0604020202020204" pitchFamily="34" charset="0"/>
              <a:buChar char="•"/>
              <a:defRPr/>
            </a:lvl4pPr>
            <a:lvl5pPr marL="171450" indent="-171450">
              <a:buClr>
                <a:schemeClr val="tx1"/>
              </a:buClr>
              <a:buFont typeface="Arial" panose="020B0604020202020204" pitchFamily="34" charset="0"/>
              <a:buChar char="•"/>
              <a:defRPr/>
            </a:lvl5pPr>
          </a:lstStyle>
          <a:p>
            <a:pPr lvl="0"/>
            <a:r>
              <a:rPr lang="pt-PT" dirty="0"/>
              <a:t>Texto destacado</a:t>
            </a:r>
          </a:p>
        </p:txBody>
      </p:sp>
      <p:sp>
        <p:nvSpPr>
          <p:cNvPr id="11" name="Título 6">
            <a:extLst>
              <a:ext uri="{FF2B5EF4-FFF2-40B4-BE49-F238E27FC236}">
                <a16:creationId xmlns:a16="http://schemas.microsoft.com/office/drawing/2014/main" id="{BA999C56-4EE9-4B0E-8A67-67655C29D7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3184" y="550508"/>
            <a:ext cx="5784979" cy="712204"/>
          </a:xfrm>
        </p:spPr>
        <p:txBody>
          <a:bodyPr>
            <a:normAutofit/>
          </a:bodyPr>
          <a:lstStyle>
            <a:lvl1pPr>
              <a:defRPr sz="3200"/>
            </a:lvl1pPr>
          </a:lstStyle>
          <a:p>
            <a:r>
              <a:rPr lang="pt-PT" dirty="0"/>
              <a:t>Insertar título de la slide</a:t>
            </a:r>
          </a:p>
        </p:txBody>
      </p:sp>
      <p:sp>
        <p:nvSpPr>
          <p:cNvPr id="12" name="Marcador de Posição do Texto 8">
            <a:extLst>
              <a:ext uri="{FF2B5EF4-FFF2-40B4-BE49-F238E27FC236}">
                <a16:creationId xmlns:a16="http://schemas.microsoft.com/office/drawing/2014/main" id="{C670D31A-AF14-4C2F-8727-FC02306EFE5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12764" y="1156317"/>
            <a:ext cx="5785416" cy="355243"/>
          </a:xfrm>
        </p:spPr>
        <p:txBody>
          <a:bodyPr>
            <a:normAutofit/>
          </a:bodyPr>
          <a:lstStyle>
            <a:lvl1pPr>
              <a:defRPr sz="200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pt-PT" dirty="0"/>
              <a:t>Insertar subtítulo de la slide</a:t>
            </a:r>
          </a:p>
        </p:txBody>
      </p:sp>
      <p:sp>
        <p:nvSpPr>
          <p:cNvPr id="13" name="Marcador de Posição do Texto 10">
            <a:extLst>
              <a:ext uri="{FF2B5EF4-FFF2-40B4-BE49-F238E27FC236}">
                <a16:creationId xmlns:a16="http://schemas.microsoft.com/office/drawing/2014/main" id="{7A5E6AFB-DA99-40A0-88B6-21C1CD7FD20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12763" y="1744663"/>
            <a:ext cx="5346700" cy="4478337"/>
          </a:xfrm>
        </p:spPr>
        <p:txBody>
          <a:bodyPr/>
          <a:lstStyle>
            <a:lvl1pPr>
              <a:defRPr/>
            </a:lvl1pPr>
            <a:lvl2pPr marL="171450" indent="-171450">
              <a:buClr>
                <a:schemeClr val="tx1"/>
              </a:buClr>
              <a:buFont typeface="Arial" panose="020B0604020202020204" pitchFamily="34" charset="0"/>
              <a:buChar char="•"/>
              <a:defRPr/>
            </a:lvl2pPr>
            <a:lvl3pPr marL="171450" indent="-171450">
              <a:buClr>
                <a:schemeClr val="tx1"/>
              </a:buClr>
              <a:buFont typeface="Arial" panose="020B0604020202020204" pitchFamily="34" charset="0"/>
              <a:buChar char="•"/>
              <a:defRPr/>
            </a:lvl3pPr>
            <a:lvl4pPr marL="171450" indent="-171450">
              <a:buClr>
                <a:schemeClr val="tx1"/>
              </a:buClr>
              <a:buFont typeface="Arial" panose="020B0604020202020204" pitchFamily="34" charset="0"/>
              <a:buChar char="•"/>
              <a:defRPr/>
            </a:lvl4pPr>
            <a:lvl5pPr marL="171450" indent="-171450">
              <a:buClr>
                <a:schemeClr val="tx1"/>
              </a:buClr>
              <a:buFont typeface="Arial" panose="020B0604020202020204" pitchFamily="34" charset="0"/>
              <a:buChar char="•"/>
              <a:defRPr/>
            </a:lvl5pPr>
          </a:lstStyle>
          <a:p>
            <a:pPr lvl="0"/>
            <a:r>
              <a:rPr lang="es-ES" dirty="0"/>
              <a:t>Haz </a:t>
            </a:r>
            <a:r>
              <a:rPr lang="es-ES" dirty="0" err="1"/>
              <a:t>click</a:t>
            </a:r>
            <a:r>
              <a:rPr lang="es-ES" dirty="0"/>
              <a:t> para editar los estilos del texto del modelo global</a:t>
            </a:r>
            <a:endParaRPr lang="pt-PT" dirty="0"/>
          </a:p>
          <a:p>
            <a:pPr lvl="1"/>
            <a:r>
              <a:rPr lang="es-ES" dirty="0"/>
              <a:t>Segundo nivel</a:t>
            </a:r>
          </a:p>
          <a:p>
            <a:pPr lvl="1"/>
            <a:r>
              <a:rPr lang="es-ES" dirty="0"/>
              <a:t>Tercer nivel</a:t>
            </a:r>
          </a:p>
          <a:p>
            <a:pPr lvl="1"/>
            <a:r>
              <a:rPr lang="es-ES" dirty="0"/>
              <a:t>Cuarto nivel</a:t>
            </a:r>
          </a:p>
          <a:p>
            <a:pPr lvl="1"/>
            <a:r>
              <a:rPr lang="es-ES" dirty="0"/>
              <a:t>Quinto nivel</a:t>
            </a:r>
            <a:endParaRPr lang="pt-PT" dirty="0"/>
          </a:p>
        </p:txBody>
      </p:sp>
      <p:sp>
        <p:nvSpPr>
          <p:cNvPr id="14" name="Marcador de Posição do Rodapé 4">
            <a:extLst>
              <a:ext uri="{FF2B5EF4-FFF2-40B4-BE49-F238E27FC236}">
                <a16:creationId xmlns:a16="http://schemas.microsoft.com/office/drawing/2014/main" id="{6F37E482-15F2-463C-A8B2-C1DA44B401D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12762" y="6356350"/>
            <a:ext cx="534669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accent2"/>
                </a:solidFill>
              </a:defRPr>
            </a:lvl1pPr>
          </a:lstStyle>
          <a:p>
            <a:r>
              <a:rPr lang="pt-PT"/>
              <a:t>Título de la presentación</a:t>
            </a:r>
            <a:endParaRPr lang="pt-PT" dirty="0"/>
          </a:p>
        </p:txBody>
      </p:sp>
      <p:sp>
        <p:nvSpPr>
          <p:cNvPr id="15" name="Marcador de Posição do Número do Diapositivo 5">
            <a:extLst>
              <a:ext uri="{FF2B5EF4-FFF2-40B4-BE49-F238E27FC236}">
                <a16:creationId xmlns:a16="http://schemas.microsoft.com/office/drawing/2014/main" id="{A6D2AC70-14EC-46FB-AF00-378D6D03744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936039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accent2"/>
                </a:solidFill>
              </a:defRPr>
            </a:lvl1pPr>
          </a:lstStyle>
          <a:p>
            <a:fld id="{24A347C2-D68E-473A-8C76-1D063E4EB6E0}" type="slidenum">
              <a:rPr lang="es-ES" smtClean="0"/>
              <a:pPr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03206139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2" decel="10000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25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42" presetClass="path" presetSubtype="0" decel="100000" fill="hold" grpId="1" nodeType="withEffect">
                                  <p:stCondLst>
                                    <p:cond delay="750"/>
                                  </p:stCondLst>
                                  <p:childTnLst>
                                    <p:animMotion origin="layout" path="M 0.01666 -0.00046 L 3.75E-6 1.85185E-6 " pathEditMode="relative" rAng="0" ptsTypes="AA">
                                      <p:cBhvr>
                                        <p:cTn id="13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833" y="23"/>
                                    </p:animMotion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25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25E-6 0.03889 L 1.25E-6 1.85185E-6 " pathEditMode="relative" rAng="0" ptsTypes="AA">
                                      <p:cBhvr>
                                        <p:cTn id="21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944"/>
                                    </p:animMotion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25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1666 -0.00046 L 3.75E-6 1.85185E-6 " pathEditMode="relative" rAng="0" ptsTypes="AA">
                                      <p:cBhvr>
                                        <p:cTn id="26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833" y="23"/>
                                    </p:animMotion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animBg="1"/>
      <p:bldP spid="9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9"/>
                        </p:tgtEl>
                      </p:cBhvr>
                    </p:animEffect>
                  </p:childTnLst>
                </p:cTn>
              </p:par>
            </p:tnLst>
          </p:tmpl>
          <p:tmpl lvl="2">
            <p:tnLst>
              <p:par>
                <p:cTn presetID="10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9"/>
                        </p:tgtEl>
                      </p:cBhvr>
                    </p:animEffect>
                  </p:childTnLst>
                </p:cTn>
              </p:par>
            </p:tnLst>
          </p:tmpl>
          <p:tmpl lvl="3">
            <p:tnLst>
              <p:par>
                <p:cTn presetID="10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9"/>
                        </p:tgtEl>
                      </p:cBhvr>
                    </p:animEffect>
                  </p:childTnLst>
                </p:cTn>
              </p:par>
            </p:tnLst>
          </p:tmpl>
          <p:tmpl lvl="4">
            <p:tnLst>
              <p:par>
                <p:cTn presetID="10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9"/>
                        </p:tgtEl>
                      </p:cBhvr>
                    </p:animEffect>
                  </p:childTnLst>
                </p:cTn>
              </p:par>
            </p:tnLst>
          </p:tmpl>
          <p:tmpl lvl="5">
            <p:tnLst>
              <p:par>
                <p:cTn presetID="10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0" grpId="0" animBg="1">
        <p:tmplLst>
          <p:tmpl>
            <p:tnLst>
              <p:par>
                <p:cTn presetID="10" presetClass="entr" presetSubtype="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250"/>
                        <p:tgtEl>
                          <p:spTgt spid="2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0" grpId="1" animBg="1">
        <p:tmplLst>
          <p:tmpl>
            <p:tnLst>
              <p:par>
                <p:cTn presetID="42" presetClass="path" presetSubtype="0" decel="100000" fill="hold" nodeType="withEffect">
                  <p:stCondLst>
                    <p:cond delay="750"/>
                  </p:stCondLst>
                  <p:childTnLst>
                    <p:animMotion origin="layout" path="M 0.01666 -0.00046 L 3.75E-6 1.85185E-6 " pathEditMode="relative" rAng="0" ptsTypes="AA">
                      <p:cBhvr>
                        <p:cTn dur="500" fill="hold"/>
                        <p:tgtEl>
                          <p:spTgt spid="20"/>
                        </p:tgtEl>
                        <p:attrNameLst>
                          <p:attrName>ppt_x</p:attrName>
                          <p:attrName>ppt_y</p:attrName>
                        </p:attrNameLst>
                      </p:cBhvr>
                      <p:rCtr x="-833" y="23"/>
                    </p:animMotion>
                  </p:childTnLst>
                </p:cTn>
              </p:par>
            </p:tnLst>
          </p:tmpl>
        </p:tmplLst>
      </p:bldP>
      <p:bldP spid="11" grpId="0"/>
      <p:bldP spid="11" grpId="1"/>
      <p:bldP spid="12" grpId="0">
        <p:tmplLst>
          <p:tmpl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250"/>
                        <p:tgtEl>
                          <p:spTgt spid="1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2" grpId="1"/>
      <p:bldP spid="13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3"/>
                        </p:tgtEl>
                      </p:cBhvr>
                    </p:animEffect>
                  </p:childTnLst>
                </p:cTn>
              </p:par>
            </p:tnLst>
          </p:tmpl>
          <p:tmpl lvl="2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3"/>
                        </p:tgtEl>
                      </p:cBhvr>
                    </p:animEffect>
                  </p:childTnLst>
                </p:cTn>
              </p:par>
            </p:tnLst>
          </p:tmpl>
          <p:tmpl lvl="3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3"/>
                        </p:tgtEl>
                      </p:cBhvr>
                    </p:animEffect>
                  </p:childTnLst>
                </p:cTn>
              </p:par>
            </p:tnLst>
          </p:tmpl>
          <p:tmpl lvl="4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3"/>
                        </p:tgtEl>
                      </p:cBhvr>
                    </p:animEffect>
                  </p:childTnLst>
                </p:cTn>
              </p:par>
            </p:tnLst>
          </p:tmpl>
          <p:tmpl lvl="5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3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Esquema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m 2">
            <a:extLst>
              <a:ext uri="{FF2B5EF4-FFF2-40B4-BE49-F238E27FC236}">
                <a16:creationId xmlns:a16="http://schemas.microsoft.com/office/drawing/2014/main" id="{631F0DA8-72E6-033F-98A9-9D03C703877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 t="55475" r="51732" b="7261"/>
          <a:stretch>
            <a:fillRect/>
          </a:stretch>
        </p:blipFill>
        <p:spPr>
          <a:xfrm>
            <a:off x="7485369" y="0"/>
            <a:ext cx="4706631" cy="3631556"/>
          </a:xfrm>
          <a:prstGeom prst="rect">
            <a:avLst/>
          </a:prstGeom>
        </p:spPr>
      </p:pic>
      <p:pic>
        <p:nvPicPr>
          <p:cNvPr id="2" name="Imagem 1">
            <a:extLst>
              <a:ext uri="{FF2B5EF4-FFF2-40B4-BE49-F238E27FC236}">
                <a16:creationId xmlns:a16="http://schemas.microsoft.com/office/drawing/2014/main" id="{D611A894-B511-145E-C7A8-BFE97964994D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 l="20287" t="16073" r="23354" b="66277"/>
          <a:stretch>
            <a:fillRect/>
          </a:stretch>
        </p:blipFill>
        <p:spPr>
          <a:xfrm>
            <a:off x="-1" y="5130751"/>
            <a:ext cx="5515425" cy="1727250"/>
          </a:xfrm>
          <a:prstGeom prst="rect">
            <a:avLst/>
          </a:prstGeom>
        </p:spPr>
      </p:pic>
      <p:sp>
        <p:nvSpPr>
          <p:cNvPr id="6" name="Título 6">
            <a:extLst>
              <a:ext uri="{FF2B5EF4-FFF2-40B4-BE49-F238E27FC236}">
                <a16:creationId xmlns:a16="http://schemas.microsoft.com/office/drawing/2014/main" id="{FD8B5816-0379-6928-CDCD-10675421EB2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3184" y="550507"/>
            <a:ext cx="8580016" cy="1230667"/>
          </a:xfrm>
        </p:spPr>
        <p:txBody>
          <a:bodyPr>
            <a:noAutofit/>
          </a:bodyPr>
          <a:lstStyle>
            <a:lvl1pPr>
              <a:defRPr sz="5400"/>
            </a:lvl1pPr>
          </a:lstStyle>
          <a:p>
            <a:r>
              <a:rPr lang="pt-PT" dirty="0"/>
              <a:t>Insertar título de la slide</a:t>
            </a:r>
          </a:p>
        </p:txBody>
      </p:sp>
      <p:sp>
        <p:nvSpPr>
          <p:cNvPr id="18" name="Marcador de Posição do Texto 17">
            <a:extLst>
              <a:ext uri="{FF2B5EF4-FFF2-40B4-BE49-F238E27FC236}">
                <a16:creationId xmlns:a16="http://schemas.microsoft.com/office/drawing/2014/main" id="{90A1D62F-9667-0F7D-32CE-B0C0F8A6DE7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80604" y="2355211"/>
            <a:ext cx="1132854" cy="702314"/>
          </a:xfrm>
          <a:custGeom>
            <a:avLst/>
            <a:gdLst>
              <a:gd name="connsiteX0" fmla="*/ 702321 w 1132854"/>
              <a:gd name="connsiteY0" fmla="*/ 0 h 702314"/>
              <a:gd name="connsiteX1" fmla="*/ 702606 w 1132854"/>
              <a:gd name="connsiteY1" fmla="*/ 0 h 702314"/>
              <a:gd name="connsiteX2" fmla="*/ 899545 w 1132854"/>
              <a:gd name="connsiteY2" fmla="*/ 0 h 702314"/>
              <a:gd name="connsiteX3" fmla="*/ 1132854 w 1132854"/>
              <a:gd name="connsiteY3" fmla="*/ 702314 h 702314"/>
              <a:gd name="connsiteX4" fmla="*/ 0 w 1132854"/>
              <a:gd name="connsiteY4" fmla="*/ 702314 h 702314"/>
              <a:gd name="connsiteX5" fmla="*/ 205745 w 1132854"/>
              <a:gd name="connsiteY5" fmla="*/ 205634 h 702314"/>
              <a:gd name="connsiteX6" fmla="*/ 256106 w 1132854"/>
              <a:gd name="connsiteY6" fmla="*/ 164096 h 702314"/>
              <a:gd name="connsiteX7" fmla="*/ 256106 w 1132854"/>
              <a:gd name="connsiteY7" fmla="*/ 147655 h 702314"/>
              <a:gd name="connsiteX8" fmla="*/ 276039 w 1132854"/>
              <a:gd name="connsiteY8" fmla="*/ 147655 h 702314"/>
              <a:gd name="connsiteX9" fmla="*/ 309694 w 1132854"/>
              <a:gd name="connsiteY9" fmla="*/ 119896 h 702314"/>
              <a:gd name="connsiteX10" fmla="*/ 702321 w 1132854"/>
              <a:gd name="connsiteY10" fmla="*/ 0 h 7023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132854" h="702314">
                <a:moveTo>
                  <a:pt x="702321" y="0"/>
                </a:moveTo>
                <a:lnTo>
                  <a:pt x="702606" y="0"/>
                </a:lnTo>
                <a:lnTo>
                  <a:pt x="899545" y="0"/>
                </a:lnTo>
                <a:lnTo>
                  <a:pt x="1132854" y="702314"/>
                </a:lnTo>
                <a:lnTo>
                  <a:pt x="0" y="702314"/>
                </a:lnTo>
                <a:cubicBezTo>
                  <a:pt x="0" y="508284"/>
                  <a:pt x="78637" y="332705"/>
                  <a:pt x="205745" y="205634"/>
                </a:cubicBezTo>
                <a:lnTo>
                  <a:pt x="256106" y="164096"/>
                </a:lnTo>
                <a:lnTo>
                  <a:pt x="256106" y="147655"/>
                </a:lnTo>
                <a:lnTo>
                  <a:pt x="276039" y="147655"/>
                </a:lnTo>
                <a:lnTo>
                  <a:pt x="309694" y="119896"/>
                </a:lnTo>
                <a:cubicBezTo>
                  <a:pt x="421788" y="44192"/>
                  <a:pt x="556906" y="0"/>
                  <a:pt x="702321" y="0"/>
                </a:cubicBezTo>
                <a:close/>
              </a:path>
            </a:pathLst>
          </a:custGeom>
          <a:solidFill>
            <a:schemeClr val="tx2"/>
          </a:solidFill>
        </p:spPr>
        <p:txBody>
          <a:bodyPr wrap="square" lIns="72000" tIns="180000" anchor="ctr">
            <a:noAutofit/>
          </a:bodyPr>
          <a:lstStyle>
            <a:lvl1pPr algn="ctr">
              <a:defRPr sz="2800">
                <a:solidFill>
                  <a:srgbClr val="00FF94"/>
                </a:solidFill>
                <a:latin typeface="+mj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pt-PT" dirty="0"/>
              <a:t>NR</a:t>
            </a:r>
          </a:p>
        </p:txBody>
      </p:sp>
      <p:sp>
        <p:nvSpPr>
          <p:cNvPr id="17" name="Marcador de Posição do Texto 16">
            <a:extLst>
              <a:ext uri="{FF2B5EF4-FFF2-40B4-BE49-F238E27FC236}">
                <a16:creationId xmlns:a16="http://schemas.microsoft.com/office/drawing/2014/main" id="{0557F8B1-80AE-7C7A-BEF6-BCFCEFFAE2B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834465" y="2355217"/>
            <a:ext cx="4061510" cy="702314"/>
          </a:xfrm>
          <a:custGeom>
            <a:avLst/>
            <a:gdLst>
              <a:gd name="connsiteX0" fmla="*/ 2539820 w 4061510"/>
              <a:gd name="connsiteY0" fmla="*/ 0 h 702314"/>
              <a:gd name="connsiteX1" fmla="*/ 3137584 w 4061510"/>
              <a:gd name="connsiteY1" fmla="*/ 0 h 702314"/>
              <a:gd name="connsiteX2" fmla="*/ 4061510 w 4061510"/>
              <a:gd name="connsiteY2" fmla="*/ 0 h 702314"/>
              <a:gd name="connsiteX3" fmla="*/ 3359190 w 4061510"/>
              <a:gd name="connsiteY3" fmla="*/ 702314 h 702314"/>
              <a:gd name="connsiteX4" fmla="*/ 3358905 w 4061510"/>
              <a:gd name="connsiteY4" fmla="*/ 702314 h 702314"/>
              <a:gd name="connsiteX5" fmla="*/ 2773925 w 4061510"/>
              <a:gd name="connsiteY5" fmla="*/ 702314 h 702314"/>
              <a:gd name="connsiteX6" fmla="*/ 2773898 w 4061510"/>
              <a:gd name="connsiteY6" fmla="*/ 702235 h 702314"/>
              <a:gd name="connsiteX7" fmla="*/ 402147 w 4061510"/>
              <a:gd name="connsiteY7" fmla="*/ 702305 h 702314"/>
              <a:gd name="connsiteX8" fmla="*/ 402147 w 4061510"/>
              <a:gd name="connsiteY8" fmla="*/ 702307 h 702314"/>
              <a:gd name="connsiteX9" fmla="*/ 329890 w 4061510"/>
              <a:gd name="connsiteY9" fmla="*/ 702307 h 702314"/>
              <a:gd name="connsiteX10" fmla="*/ 234080 w 4061510"/>
              <a:gd name="connsiteY10" fmla="*/ 702307 h 702314"/>
              <a:gd name="connsiteX11" fmla="*/ 0 w 4061510"/>
              <a:gd name="connsiteY11" fmla="*/ 56 h 702314"/>
              <a:gd name="connsiteX12" fmla="*/ 402147 w 4061510"/>
              <a:gd name="connsiteY12" fmla="*/ 56 h 702314"/>
              <a:gd name="connsiteX13" fmla="*/ 402147 w 4061510"/>
              <a:gd name="connsiteY13" fmla="*/ 81 h 702314"/>
              <a:gd name="connsiteX14" fmla="*/ 2539826 w 4061510"/>
              <a:gd name="connsiteY14" fmla="*/ 18 h 7023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4061510" h="702314">
                <a:moveTo>
                  <a:pt x="2539820" y="0"/>
                </a:moveTo>
                <a:lnTo>
                  <a:pt x="3137584" y="0"/>
                </a:lnTo>
                <a:lnTo>
                  <a:pt x="4061510" y="0"/>
                </a:lnTo>
                <a:cubicBezTo>
                  <a:pt x="4061510" y="388061"/>
                  <a:pt x="3746963" y="702314"/>
                  <a:pt x="3359190" y="702314"/>
                </a:cubicBezTo>
                <a:lnTo>
                  <a:pt x="3358905" y="702314"/>
                </a:lnTo>
                <a:lnTo>
                  <a:pt x="2773925" y="702314"/>
                </a:lnTo>
                <a:lnTo>
                  <a:pt x="2773898" y="702235"/>
                </a:lnTo>
                <a:lnTo>
                  <a:pt x="402147" y="702305"/>
                </a:lnTo>
                <a:lnTo>
                  <a:pt x="402147" y="702307"/>
                </a:lnTo>
                <a:lnTo>
                  <a:pt x="329890" y="702307"/>
                </a:lnTo>
                <a:lnTo>
                  <a:pt x="234080" y="702307"/>
                </a:lnTo>
                <a:lnTo>
                  <a:pt x="0" y="56"/>
                </a:lnTo>
                <a:lnTo>
                  <a:pt x="402147" y="56"/>
                </a:lnTo>
                <a:lnTo>
                  <a:pt x="402147" y="81"/>
                </a:lnTo>
                <a:lnTo>
                  <a:pt x="2539826" y="18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lIns="432000" anchor="ctr">
            <a:noAutofit/>
          </a:bodyPr>
          <a:lstStyle>
            <a:lvl1pPr>
              <a:defRPr sz="1800"/>
            </a:lvl1pPr>
            <a:lvl2pPr marL="0" indent="0">
              <a:buClr>
                <a:schemeClr val="tx1"/>
              </a:buClr>
              <a:buFont typeface="Arial" panose="020B0604020202020204" pitchFamily="34" charset="0"/>
              <a:buNone/>
              <a:defRPr/>
            </a:lvl2pPr>
            <a:lvl3pPr marL="171450" indent="-171450">
              <a:buClr>
                <a:schemeClr val="tx1"/>
              </a:buClr>
              <a:buFont typeface="Arial" panose="020B0604020202020204" pitchFamily="34" charset="0"/>
              <a:buChar char="•"/>
              <a:defRPr/>
            </a:lvl3pPr>
            <a:lvl4pPr marL="171450" indent="-171450">
              <a:buClr>
                <a:schemeClr val="tx1"/>
              </a:buClr>
              <a:buFont typeface="Arial" panose="020B0604020202020204" pitchFamily="34" charset="0"/>
              <a:buChar char="•"/>
              <a:defRPr/>
            </a:lvl4pPr>
            <a:lvl5pPr marL="171450" indent="-171450">
              <a:buClr>
                <a:schemeClr val="tx1"/>
              </a:buClr>
              <a:buFont typeface="Arial" panose="020B0604020202020204" pitchFamily="34" charset="0"/>
              <a:buChar char="•"/>
              <a:defRPr/>
            </a:lvl5pPr>
          </a:lstStyle>
          <a:p>
            <a:pPr lvl="0"/>
            <a:r>
              <a:rPr lang="es-ES" noProof="0" dirty="0"/>
              <a:t>Ejemplo de </a:t>
            </a:r>
            <a:r>
              <a:rPr lang="es-ES" noProof="0" dirty="0" err="1"/>
              <a:t>slide</a:t>
            </a:r>
            <a:endParaRPr lang="es-ES" noProof="0" dirty="0"/>
          </a:p>
        </p:txBody>
      </p:sp>
      <p:sp>
        <p:nvSpPr>
          <p:cNvPr id="19" name="Marcador de Posição do Texto 18">
            <a:extLst>
              <a:ext uri="{FF2B5EF4-FFF2-40B4-BE49-F238E27FC236}">
                <a16:creationId xmlns:a16="http://schemas.microsoft.com/office/drawing/2014/main" id="{8EE92E29-E07C-ECD6-14B3-B60468475F6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80604" y="3280399"/>
            <a:ext cx="1132854" cy="702314"/>
          </a:xfrm>
          <a:custGeom>
            <a:avLst/>
            <a:gdLst>
              <a:gd name="connsiteX0" fmla="*/ 702321 w 1132854"/>
              <a:gd name="connsiteY0" fmla="*/ 0 h 702314"/>
              <a:gd name="connsiteX1" fmla="*/ 702606 w 1132854"/>
              <a:gd name="connsiteY1" fmla="*/ 0 h 702314"/>
              <a:gd name="connsiteX2" fmla="*/ 899545 w 1132854"/>
              <a:gd name="connsiteY2" fmla="*/ 0 h 702314"/>
              <a:gd name="connsiteX3" fmla="*/ 1132854 w 1132854"/>
              <a:gd name="connsiteY3" fmla="*/ 702314 h 702314"/>
              <a:gd name="connsiteX4" fmla="*/ 0 w 1132854"/>
              <a:gd name="connsiteY4" fmla="*/ 702314 h 702314"/>
              <a:gd name="connsiteX5" fmla="*/ 205745 w 1132854"/>
              <a:gd name="connsiteY5" fmla="*/ 205634 h 702314"/>
              <a:gd name="connsiteX6" fmla="*/ 256106 w 1132854"/>
              <a:gd name="connsiteY6" fmla="*/ 164096 h 702314"/>
              <a:gd name="connsiteX7" fmla="*/ 256106 w 1132854"/>
              <a:gd name="connsiteY7" fmla="*/ 147655 h 702314"/>
              <a:gd name="connsiteX8" fmla="*/ 276039 w 1132854"/>
              <a:gd name="connsiteY8" fmla="*/ 147655 h 702314"/>
              <a:gd name="connsiteX9" fmla="*/ 309694 w 1132854"/>
              <a:gd name="connsiteY9" fmla="*/ 119896 h 702314"/>
              <a:gd name="connsiteX10" fmla="*/ 702321 w 1132854"/>
              <a:gd name="connsiteY10" fmla="*/ 0 h 7023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132854" h="702314">
                <a:moveTo>
                  <a:pt x="702321" y="0"/>
                </a:moveTo>
                <a:lnTo>
                  <a:pt x="702606" y="0"/>
                </a:lnTo>
                <a:lnTo>
                  <a:pt x="899545" y="0"/>
                </a:lnTo>
                <a:lnTo>
                  <a:pt x="1132854" y="702314"/>
                </a:lnTo>
                <a:lnTo>
                  <a:pt x="0" y="702314"/>
                </a:lnTo>
                <a:cubicBezTo>
                  <a:pt x="0" y="508284"/>
                  <a:pt x="78637" y="332705"/>
                  <a:pt x="205745" y="205634"/>
                </a:cubicBezTo>
                <a:lnTo>
                  <a:pt x="256106" y="164096"/>
                </a:lnTo>
                <a:lnTo>
                  <a:pt x="256106" y="147655"/>
                </a:lnTo>
                <a:lnTo>
                  <a:pt x="276039" y="147655"/>
                </a:lnTo>
                <a:lnTo>
                  <a:pt x="309694" y="119896"/>
                </a:lnTo>
                <a:cubicBezTo>
                  <a:pt x="421788" y="44192"/>
                  <a:pt x="556906" y="0"/>
                  <a:pt x="702321" y="0"/>
                </a:cubicBezTo>
                <a:close/>
              </a:path>
            </a:pathLst>
          </a:custGeom>
          <a:solidFill>
            <a:schemeClr val="tx2"/>
          </a:solidFill>
        </p:spPr>
        <p:txBody>
          <a:bodyPr wrap="square" lIns="72000" tIns="180000" anchor="ctr">
            <a:noAutofit/>
          </a:bodyPr>
          <a:lstStyle>
            <a:lvl1pPr algn="ctr">
              <a:defRPr sz="2800">
                <a:solidFill>
                  <a:schemeClr val="accent1"/>
                </a:solidFill>
                <a:latin typeface="+mj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pt-PT" dirty="0"/>
              <a:t>NR</a:t>
            </a:r>
          </a:p>
        </p:txBody>
      </p:sp>
      <p:sp>
        <p:nvSpPr>
          <p:cNvPr id="20" name="Marcador de Posição do Texto 19">
            <a:extLst>
              <a:ext uri="{FF2B5EF4-FFF2-40B4-BE49-F238E27FC236}">
                <a16:creationId xmlns:a16="http://schemas.microsoft.com/office/drawing/2014/main" id="{9A0EF392-7773-EF04-34AE-A8665AA2EB2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834465" y="3280405"/>
            <a:ext cx="4061510" cy="702314"/>
          </a:xfrm>
          <a:custGeom>
            <a:avLst/>
            <a:gdLst>
              <a:gd name="connsiteX0" fmla="*/ 2539820 w 4061510"/>
              <a:gd name="connsiteY0" fmla="*/ 0 h 702314"/>
              <a:gd name="connsiteX1" fmla="*/ 3137584 w 4061510"/>
              <a:gd name="connsiteY1" fmla="*/ 0 h 702314"/>
              <a:gd name="connsiteX2" fmla="*/ 4061510 w 4061510"/>
              <a:gd name="connsiteY2" fmla="*/ 0 h 702314"/>
              <a:gd name="connsiteX3" fmla="*/ 3359190 w 4061510"/>
              <a:gd name="connsiteY3" fmla="*/ 702314 h 702314"/>
              <a:gd name="connsiteX4" fmla="*/ 3358905 w 4061510"/>
              <a:gd name="connsiteY4" fmla="*/ 702314 h 702314"/>
              <a:gd name="connsiteX5" fmla="*/ 2773925 w 4061510"/>
              <a:gd name="connsiteY5" fmla="*/ 702314 h 702314"/>
              <a:gd name="connsiteX6" fmla="*/ 2773898 w 4061510"/>
              <a:gd name="connsiteY6" fmla="*/ 702235 h 702314"/>
              <a:gd name="connsiteX7" fmla="*/ 402147 w 4061510"/>
              <a:gd name="connsiteY7" fmla="*/ 702305 h 702314"/>
              <a:gd name="connsiteX8" fmla="*/ 402147 w 4061510"/>
              <a:gd name="connsiteY8" fmla="*/ 702307 h 702314"/>
              <a:gd name="connsiteX9" fmla="*/ 329890 w 4061510"/>
              <a:gd name="connsiteY9" fmla="*/ 702307 h 702314"/>
              <a:gd name="connsiteX10" fmla="*/ 234080 w 4061510"/>
              <a:gd name="connsiteY10" fmla="*/ 702307 h 702314"/>
              <a:gd name="connsiteX11" fmla="*/ 0 w 4061510"/>
              <a:gd name="connsiteY11" fmla="*/ 56 h 702314"/>
              <a:gd name="connsiteX12" fmla="*/ 402147 w 4061510"/>
              <a:gd name="connsiteY12" fmla="*/ 56 h 702314"/>
              <a:gd name="connsiteX13" fmla="*/ 402147 w 4061510"/>
              <a:gd name="connsiteY13" fmla="*/ 81 h 702314"/>
              <a:gd name="connsiteX14" fmla="*/ 2539826 w 4061510"/>
              <a:gd name="connsiteY14" fmla="*/ 18 h 7023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4061510" h="702314">
                <a:moveTo>
                  <a:pt x="2539820" y="0"/>
                </a:moveTo>
                <a:lnTo>
                  <a:pt x="3137584" y="0"/>
                </a:lnTo>
                <a:lnTo>
                  <a:pt x="4061510" y="0"/>
                </a:lnTo>
                <a:cubicBezTo>
                  <a:pt x="4061510" y="388061"/>
                  <a:pt x="3746963" y="702314"/>
                  <a:pt x="3359190" y="702314"/>
                </a:cubicBezTo>
                <a:lnTo>
                  <a:pt x="3358905" y="702314"/>
                </a:lnTo>
                <a:lnTo>
                  <a:pt x="2773925" y="702314"/>
                </a:lnTo>
                <a:lnTo>
                  <a:pt x="2773898" y="702235"/>
                </a:lnTo>
                <a:lnTo>
                  <a:pt x="402147" y="702305"/>
                </a:lnTo>
                <a:lnTo>
                  <a:pt x="402147" y="702307"/>
                </a:lnTo>
                <a:lnTo>
                  <a:pt x="329890" y="702307"/>
                </a:lnTo>
                <a:lnTo>
                  <a:pt x="234080" y="702307"/>
                </a:lnTo>
                <a:lnTo>
                  <a:pt x="0" y="56"/>
                </a:lnTo>
                <a:lnTo>
                  <a:pt x="402147" y="56"/>
                </a:lnTo>
                <a:lnTo>
                  <a:pt x="402147" y="81"/>
                </a:lnTo>
                <a:lnTo>
                  <a:pt x="2539826" y="18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lIns="43200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/>
            </a:lvl1pPr>
            <a:lvl2pPr marL="0" indent="0">
              <a:buClr>
                <a:schemeClr val="tx1"/>
              </a:buClr>
              <a:buFont typeface="Arial" panose="020B0604020202020204" pitchFamily="34" charset="0"/>
              <a:buNone/>
              <a:defRPr/>
            </a:lvl2pPr>
            <a:lvl3pPr marL="171450" indent="-171450">
              <a:buClr>
                <a:schemeClr val="tx1"/>
              </a:buClr>
              <a:buFont typeface="Arial" panose="020B0604020202020204" pitchFamily="34" charset="0"/>
              <a:buChar char="•"/>
              <a:defRPr/>
            </a:lvl3pPr>
            <a:lvl4pPr marL="171450" indent="-171450">
              <a:buClr>
                <a:schemeClr val="tx1"/>
              </a:buClr>
              <a:buFont typeface="Arial" panose="020B0604020202020204" pitchFamily="34" charset="0"/>
              <a:buChar char="•"/>
              <a:defRPr/>
            </a:lvl4pPr>
            <a:lvl5pPr marL="171450" indent="-171450">
              <a:buClr>
                <a:schemeClr val="tx1"/>
              </a:buClr>
              <a:buFont typeface="Arial" panose="020B0604020202020204" pitchFamily="34" charset="0"/>
              <a:buChar char="•"/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s-ES" noProof="0" dirty="0"/>
              <a:t>Ejemplo de </a:t>
            </a:r>
            <a:r>
              <a:rPr lang="es-ES" noProof="0" dirty="0" err="1"/>
              <a:t>slide</a:t>
            </a:r>
            <a:endParaRPr lang="es-ES" noProof="0" dirty="0"/>
          </a:p>
        </p:txBody>
      </p:sp>
      <p:sp>
        <p:nvSpPr>
          <p:cNvPr id="21" name="Marcador de Posição do Texto 20">
            <a:extLst>
              <a:ext uri="{FF2B5EF4-FFF2-40B4-BE49-F238E27FC236}">
                <a16:creationId xmlns:a16="http://schemas.microsoft.com/office/drawing/2014/main" id="{F678F5E3-2B17-9308-CE4A-2F2216980E1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80604" y="4205581"/>
            <a:ext cx="1132854" cy="702314"/>
          </a:xfrm>
          <a:custGeom>
            <a:avLst/>
            <a:gdLst>
              <a:gd name="connsiteX0" fmla="*/ 702321 w 1132854"/>
              <a:gd name="connsiteY0" fmla="*/ 0 h 702314"/>
              <a:gd name="connsiteX1" fmla="*/ 702606 w 1132854"/>
              <a:gd name="connsiteY1" fmla="*/ 0 h 702314"/>
              <a:gd name="connsiteX2" fmla="*/ 899545 w 1132854"/>
              <a:gd name="connsiteY2" fmla="*/ 0 h 702314"/>
              <a:gd name="connsiteX3" fmla="*/ 1132854 w 1132854"/>
              <a:gd name="connsiteY3" fmla="*/ 702314 h 702314"/>
              <a:gd name="connsiteX4" fmla="*/ 0 w 1132854"/>
              <a:gd name="connsiteY4" fmla="*/ 702314 h 702314"/>
              <a:gd name="connsiteX5" fmla="*/ 205745 w 1132854"/>
              <a:gd name="connsiteY5" fmla="*/ 205634 h 702314"/>
              <a:gd name="connsiteX6" fmla="*/ 256106 w 1132854"/>
              <a:gd name="connsiteY6" fmla="*/ 164096 h 702314"/>
              <a:gd name="connsiteX7" fmla="*/ 256106 w 1132854"/>
              <a:gd name="connsiteY7" fmla="*/ 147655 h 702314"/>
              <a:gd name="connsiteX8" fmla="*/ 276039 w 1132854"/>
              <a:gd name="connsiteY8" fmla="*/ 147655 h 702314"/>
              <a:gd name="connsiteX9" fmla="*/ 309694 w 1132854"/>
              <a:gd name="connsiteY9" fmla="*/ 119896 h 702314"/>
              <a:gd name="connsiteX10" fmla="*/ 702321 w 1132854"/>
              <a:gd name="connsiteY10" fmla="*/ 0 h 7023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132854" h="702314">
                <a:moveTo>
                  <a:pt x="702321" y="0"/>
                </a:moveTo>
                <a:lnTo>
                  <a:pt x="702606" y="0"/>
                </a:lnTo>
                <a:lnTo>
                  <a:pt x="899545" y="0"/>
                </a:lnTo>
                <a:lnTo>
                  <a:pt x="1132854" y="702314"/>
                </a:lnTo>
                <a:lnTo>
                  <a:pt x="0" y="702314"/>
                </a:lnTo>
                <a:cubicBezTo>
                  <a:pt x="0" y="508284"/>
                  <a:pt x="78637" y="332705"/>
                  <a:pt x="205745" y="205634"/>
                </a:cubicBezTo>
                <a:lnTo>
                  <a:pt x="256106" y="164096"/>
                </a:lnTo>
                <a:lnTo>
                  <a:pt x="256106" y="147655"/>
                </a:lnTo>
                <a:lnTo>
                  <a:pt x="276039" y="147655"/>
                </a:lnTo>
                <a:lnTo>
                  <a:pt x="309694" y="119896"/>
                </a:lnTo>
                <a:cubicBezTo>
                  <a:pt x="421788" y="44192"/>
                  <a:pt x="556906" y="0"/>
                  <a:pt x="702321" y="0"/>
                </a:cubicBezTo>
                <a:close/>
              </a:path>
            </a:pathLst>
          </a:custGeom>
          <a:solidFill>
            <a:schemeClr val="tx2"/>
          </a:solidFill>
        </p:spPr>
        <p:txBody>
          <a:bodyPr wrap="square" lIns="72000" tIns="180000" anchor="ctr">
            <a:noAutofit/>
          </a:bodyPr>
          <a:lstStyle>
            <a:lvl1pPr algn="ctr">
              <a:defRPr sz="2800">
                <a:solidFill>
                  <a:schemeClr val="accent1"/>
                </a:solidFill>
                <a:latin typeface="+mj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pt-PT" dirty="0"/>
              <a:t>NR</a:t>
            </a:r>
          </a:p>
        </p:txBody>
      </p:sp>
      <p:sp>
        <p:nvSpPr>
          <p:cNvPr id="22" name="Marcador de Posição do Texto 21">
            <a:extLst>
              <a:ext uri="{FF2B5EF4-FFF2-40B4-BE49-F238E27FC236}">
                <a16:creationId xmlns:a16="http://schemas.microsoft.com/office/drawing/2014/main" id="{DF1B33D5-60AE-A178-EDFF-3C7B8103C3F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834465" y="4205587"/>
            <a:ext cx="4061510" cy="702314"/>
          </a:xfrm>
          <a:custGeom>
            <a:avLst/>
            <a:gdLst>
              <a:gd name="connsiteX0" fmla="*/ 2539820 w 4061510"/>
              <a:gd name="connsiteY0" fmla="*/ 0 h 702314"/>
              <a:gd name="connsiteX1" fmla="*/ 3137584 w 4061510"/>
              <a:gd name="connsiteY1" fmla="*/ 0 h 702314"/>
              <a:gd name="connsiteX2" fmla="*/ 4061510 w 4061510"/>
              <a:gd name="connsiteY2" fmla="*/ 0 h 702314"/>
              <a:gd name="connsiteX3" fmla="*/ 3359190 w 4061510"/>
              <a:gd name="connsiteY3" fmla="*/ 702314 h 702314"/>
              <a:gd name="connsiteX4" fmla="*/ 3358905 w 4061510"/>
              <a:gd name="connsiteY4" fmla="*/ 702314 h 702314"/>
              <a:gd name="connsiteX5" fmla="*/ 2773925 w 4061510"/>
              <a:gd name="connsiteY5" fmla="*/ 702314 h 702314"/>
              <a:gd name="connsiteX6" fmla="*/ 2773898 w 4061510"/>
              <a:gd name="connsiteY6" fmla="*/ 702235 h 702314"/>
              <a:gd name="connsiteX7" fmla="*/ 402147 w 4061510"/>
              <a:gd name="connsiteY7" fmla="*/ 702305 h 702314"/>
              <a:gd name="connsiteX8" fmla="*/ 402147 w 4061510"/>
              <a:gd name="connsiteY8" fmla="*/ 702307 h 702314"/>
              <a:gd name="connsiteX9" fmla="*/ 329890 w 4061510"/>
              <a:gd name="connsiteY9" fmla="*/ 702307 h 702314"/>
              <a:gd name="connsiteX10" fmla="*/ 234080 w 4061510"/>
              <a:gd name="connsiteY10" fmla="*/ 702307 h 702314"/>
              <a:gd name="connsiteX11" fmla="*/ 0 w 4061510"/>
              <a:gd name="connsiteY11" fmla="*/ 56 h 702314"/>
              <a:gd name="connsiteX12" fmla="*/ 402147 w 4061510"/>
              <a:gd name="connsiteY12" fmla="*/ 56 h 702314"/>
              <a:gd name="connsiteX13" fmla="*/ 402147 w 4061510"/>
              <a:gd name="connsiteY13" fmla="*/ 81 h 702314"/>
              <a:gd name="connsiteX14" fmla="*/ 2539826 w 4061510"/>
              <a:gd name="connsiteY14" fmla="*/ 18 h 7023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4061510" h="702314">
                <a:moveTo>
                  <a:pt x="2539820" y="0"/>
                </a:moveTo>
                <a:lnTo>
                  <a:pt x="3137584" y="0"/>
                </a:lnTo>
                <a:lnTo>
                  <a:pt x="4061510" y="0"/>
                </a:lnTo>
                <a:cubicBezTo>
                  <a:pt x="4061510" y="388061"/>
                  <a:pt x="3746963" y="702314"/>
                  <a:pt x="3359190" y="702314"/>
                </a:cubicBezTo>
                <a:lnTo>
                  <a:pt x="3358905" y="702314"/>
                </a:lnTo>
                <a:lnTo>
                  <a:pt x="2773925" y="702314"/>
                </a:lnTo>
                <a:lnTo>
                  <a:pt x="2773898" y="702235"/>
                </a:lnTo>
                <a:lnTo>
                  <a:pt x="402147" y="702305"/>
                </a:lnTo>
                <a:lnTo>
                  <a:pt x="402147" y="702307"/>
                </a:lnTo>
                <a:lnTo>
                  <a:pt x="329890" y="702307"/>
                </a:lnTo>
                <a:lnTo>
                  <a:pt x="234080" y="702307"/>
                </a:lnTo>
                <a:lnTo>
                  <a:pt x="0" y="56"/>
                </a:lnTo>
                <a:lnTo>
                  <a:pt x="402147" y="56"/>
                </a:lnTo>
                <a:lnTo>
                  <a:pt x="402147" y="81"/>
                </a:lnTo>
                <a:lnTo>
                  <a:pt x="2539826" y="18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lIns="432000" anchor="ctr">
            <a:noAutofit/>
          </a:bodyPr>
          <a:lstStyle>
            <a:lvl1pPr>
              <a:defRPr sz="1800"/>
            </a:lvl1pPr>
            <a:lvl2pPr marL="0" indent="0">
              <a:buClr>
                <a:schemeClr val="tx1"/>
              </a:buClr>
              <a:buFont typeface="Arial" panose="020B0604020202020204" pitchFamily="34" charset="0"/>
              <a:buNone/>
              <a:defRPr/>
            </a:lvl2pPr>
            <a:lvl3pPr marL="171450" indent="-171450">
              <a:buClr>
                <a:schemeClr val="tx1"/>
              </a:buClr>
              <a:buFont typeface="Arial" panose="020B0604020202020204" pitchFamily="34" charset="0"/>
              <a:buChar char="•"/>
              <a:defRPr/>
            </a:lvl3pPr>
            <a:lvl4pPr marL="171450" indent="-171450">
              <a:buClr>
                <a:schemeClr val="tx1"/>
              </a:buClr>
              <a:buFont typeface="Arial" panose="020B0604020202020204" pitchFamily="34" charset="0"/>
              <a:buChar char="•"/>
              <a:defRPr/>
            </a:lvl4pPr>
            <a:lvl5pPr marL="171450" indent="-171450">
              <a:buClr>
                <a:schemeClr val="tx1"/>
              </a:buClr>
              <a:buFont typeface="Arial" panose="020B0604020202020204" pitchFamily="34" charset="0"/>
              <a:buChar char="•"/>
              <a:defRPr/>
            </a:lvl5pPr>
          </a:lstStyle>
          <a:p>
            <a:pPr lvl="0"/>
            <a:r>
              <a:rPr lang="pt-PT" dirty="0"/>
              <a:t>Ejemplo de slide</a:t>
            </a:r>
          </a:p>
        </p:txBody>
      </p:sp>
      <p:sp>
        <p:nvSpPr>
          <p:cNvPr id="23" name="Marcador de Posição do Texto 22">
            <a:extLst>
              <a:ext uri="{FF2B5EF4-FFF2-40B4-BE49-F238E27FC236}">
                <a16:creationId xmlns:a16="http://schemas.microsoft.com/office/drawing/2014/main" id="{5C625758-142B-25ED-F162-187216FE58D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80604" y="5130751"/>
            <a:ext cx="1132854" cy="702314"/>
          </a:xfrm>
          <a:custGeom>
            <a:avLst/>
            <a:gdLst>
              <a:gd name="connsiteX0" fmla="*/ 702321 w 1132854"/>
              <a:gd name="connsiteY0" fmla="*/ 0 h 702314"/>
              <a:gd name="connsiteX1" fmla="*/ 702606 w 1132854"/>
              <a:gd name="connsiteY1" fmla="*/ 0 h 702314"/>
              <a:gd name="connsiteX2" fmla="*/ 899545 w 1132854"/>
              <a:gd name="connsiteY2" fmla="*/ 0 h 702314"/>
              <a:gd name="connsiteX3" fmla="*/ 1132854 w 1132854"/>
              <a:gd name="connsiteY3" fmla="*/ 702314 h 702314"/>
              <a:gd name="connsiteX4" fmla="*/ 0 w 1132854"/>
              <a:gd name="connsiteY4" fmla="*/ 702314 h 702314"/>
              <a:gd name="connsiteX5" fmla="*/ 205745 w 1132854"/>
              <a:gd name="connsiteY5" fmla="*/ 205634 h 702314"/>
              <a:gd name="connsiteX6" fmla="*/ 256106 w 1132854"/>
              <a:gd name="connsiteY6" fmla="*/ 164096 h 702314"/>
              <a:gd name="connsiteX7" fmla="*/ 256106 w 1132854"/>
              <a:gd name="connsiteY7" fmla="*/ 147655 h 702314"/>
              <a:gd name="connsiteX8" fmla="*/ 276039 w 1132854"/>
              <a:gd name="connsiteY8" fmla="*/ 147655 h 702314"/>
              <a:gd name="connsiteX9" fmla="*/ 309694 w 1132854"/>
              <a:gd name="connsiteY9" fmla="*/ 119896 h 702314"/>
              <a:gd name="connsiteX10" fmla="*/ 702321 w 1132854"/>
              <a:gd name="connsiteY10" fmla="*/ 0 h 7023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132854" h="702314">
                <a:moveTo>
                  <a:pt x="702321" y="0"/>
                </a:moveTo>
                <a:lnTo>
                  <a:pt x="702606" y="0"/>
                </a:lnTo>
                <a:lnTo>
                  <a:pt x="899545" y="0"/>
                </a:lnTo>
                <a:lnTo>
                  <a:pt x="1132854" y="702314"/>
                </a:lnTo>
                <a:lnTo>
                  <a:pt x="0" y="702314"/>
                </a:lnTo>
                <a:cubicBezTo>
                  <a:pt x="0" y="508284"/>
                  <a:pt x="78637" y="332705"/>
                  <a:pt x="205745" y="205634"/>
                </a:cubicBezTo>
                <a:lnTo>
                  <a:pt x="256106" y="164096"/>
                </a:lnTo>
                <a:lnTo>
                  <a:pt x="256106" y="147655"/>
                </a:lnTo>
                <a:lnTo>
                  <a:pt x="276039" y="147655"/>
                </a:lnTo>
                <a:lnTo>
                  <a:pt x="309694" y="119896"/>
                </a:lnTo>
                <a:cubicBezTo>
                  <a:pt x="421788" y="44192"/>
                  <a:pt x="556906" y="0"/>
                  <a:pt x="702321" y="0"/>
                </a:cubicBezTo>
                <a:close/>
              </a:path>
            </a:pathLst>
          </a:custGeom>
          <a:solidFill>
            <a:schemeClr val="tx2"/>
          </a:solidFill>
        </p:spPr>
        <p:txBody>
          <a:bodyPr wrap="square" lIns="72000" tIns="180000" anchor="ctr">
            <a:noAutofit/>
          </a:bodyPr>
          <a:lstStyle>
            <a:lvl1pPr algn="ctr">
              <a:defRPr sz="2800">
                <a:solidFill>
                  <a:schemeClr val="accent1"/>
                </a:solidFill>
                <a:latin typeface="+mj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pt-PT" dirty="0"/>
              <a:t>NR</a:t>
            </a:r>
          </a:p>
        </p:txBody>
      </p:sp>
      <p:sp>
        <p:nvSpPr>
          <p:cNvPr id="24" name="Marcador de Posição do Texto 23">
            <a:extLst>
              <a:ext uri="{FF2B5EF4-FFF2-40B4-BE49-F238E27FC236}">
                <a16:creationId xmlns:a16="http://schemas.microsoft.com/office/drawing/2014/main" id="{C514888D-1219-8DEE-2D6D-D6E126475D5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834465" y="5130757"/>
            <a:ext cx="4061510" cy="702314"/>
          </a:xfrm>
          <a:custGeom>
            <a:avLst/>
            <a:gdLst>
              <a:gd name="connsiteX0" fmla="*/ 2539820 w 4061510"/>
              <a:gd name="connsiteY0" fmla="*/ 0 h 702314"/>
              <a:gd name="connsiteX1" fmla="*/ 3137584 w 4061510"/>
              <a:gd name="connsiteY1" fmla="*/ 0 h 702314"/>
              <a:gd name="connsiteX2" fmla="*/ 4061510 w 4061510"/>
              <a:gd name="connsiteY2" fmla="*/ 0 h 702314"/>
              <a:gd name="connsiteX3" fmla="*/ 3359190 w 4061510"/>
              <a:gd name="connsiteY3" fmla="*/ 702314 h 702314"/>
              <a:gd name="connsiteX4" fmla="*/ 3358905 w 4061510"/>
              <a:gd name="connsiteY4" fmla="*/ 702314 h 702314"/>
              <a:gd name="connsiteX5" fmla="*/ 2773925 w 4061510"/>
              <a:gd name="connsiteY5" fmla="*/ 702314 h 702314"/>
              <a:gd name="connsiteX6" fmla="*/ 2773898 w 4061510"/>
              <a:gd name="connsiteY6" fmla="*/ 702235 h 702314"/>
              <a:gd name="connsiteX7" fmla="*/ 402147 w 4061510"/>
              <a:gd name="connsiteY7" fmla="*/ 702305 h 702314"/>
              <a:gd name="connsiteX8" fmla="*/ 402147 w 4061510"/>
              <a:gd name="connsiteY8" fmla="*/ 702307 h 702314"/>
              <a:gd name="connsiteX9" fmla="*/ 329890 w 4061510"/>
              <a:gd name="connsiteY9" fmla="*/ 702307 h 702314"/>
              <a:gd name="connsiteX10" fmla="*/ 234080 w 4061510"/>
              <a:gd name="connsiteY10" fmla="*/ 702307 h 702314"/>
              <a:gd name="connsiteX11" fmla="*/ 0 w 4061510"/>
              <a:gd name="connsiteY11" fmla="*/ 56 h 702314"/>
              <a:gd name="connsiteX12" fmla="*/ 402147 w 4061510"/>
              <a:gd name="connsiteY12" fmla="*/ 56 h 702314"/>
              <a:gd name="connsiteX13" fmla="*/ 402147 w 4061510"/>
              <a:gd name="connsiteY13" fmla="*/ 81 h 702314"/>
              <a:gd name="connsiteX14" fmla="*/ 2539826 w 4061510"/>
              <a:gd name="connsiteY14" fmla="*/ 18 h 7023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4061510" h="702314">
                <a:moveTo>
                  <a:pt x="2539820" y="0"/>
                </a:moveTo>
                <a:lnTo>
                  <a:pt x="3137584" y="0"/>
                </a:lnTo>
                <a:lnTo>
                  <a:pt x="4061510" y="0"/>
                </a:lnTo>
                <a:cubicBezTo>
                  <a:pt x="4061510" y="388061"/>
                  <a:pt x="3746963" y="702314"/>
                  <a:pt x="3359190" y="702314"/>
                </a:cubicBezTo>
                <a:lnTo>
                  <a:pt x="3358905" y="702314"/>
                </a:lnTo>
                <a:lnTo>
                  <a:pt x="2773925" y="702314"/>
                </a:lnTo>
                <a:lnTo>
                  <a:pt x="2773898" y="702235"/>
                </a:lnTo>
                <a:lnTo>
                  <a:pt x="402147" y="702305"/>
                </a:lnTo>
                <a:lnTo>
                  <a:pt x="402147" y="702307"/>
                </a:lnTo>
                <a:lnTo>
                  <a:pt x="329890" y="702307"/>
                </a:lnTo>
                <a:lnTo>
                  <a:pt x="234080" y="702307"/>
                </a:lnTo>
                <a:lnTo>
                  <a:pt x="0" y="56"/>
                </a:lnTo>
                <a:lnTo>
                  <a:pt x="402147" y="56"/>
                </a:lnTo>
                <a:lnTo>
                  <a:pt x="402147" y="81"/>
                </a:lnTo>
                <a:lnTo>
                  <a:pt x="2539826" y="18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lIns="432000" anchor="ctr">
            <a:noAutofit/>
          </a:bodyPr>
          <a:lstStyle>
            <a:lvl1pPr>
              <a:defRPr sz="1800"/>
            </a:lvl1pPr>
            <a:lvl2pPr marL="0" indent="0">
              <a:buClr>
                <a:schemeClr val="tx1"/>
              </a:buClr>
              <a:buFont typeface="Arial" panose="020B0604020202020204" pitchFamily="34" charset="0"/>
              <a:buNone/>
              <a:defRPr/>
            </a:lvl2pPr>
            <a:lvl3pPr marL="171450" indent="-171450">
              <a:buClr>
                <a:schemeClr val="tx1"/>
              </a:buClr>
              <a:buFont typeface="Arial" panose="020B0604020202020204" pitchFamily="34" charset="0"/>
              <a:buChar char="•"/>
              <a:defRPr/>
            </a:lvl3pPr>
            <a:lvl4pPr marL="171450" indent="-171450">
              <a:buClr>
                <a:schemeClr val="tx1"/>
              </a:buClr>
              <a:buFont typeface="Arial" panose="020B0604020202020204" pitchFamily="34" charset="0"/>
              <a:buChar char="•"/>
              <a:defRPr/>
            </a:lvl4pPr>
            <a:lvl5pPr marL="171450" indent="-171450">
              <a:buClr>
                <a:schemeClr val="tx1"/>
              </a:buClr>
              <a:buFont typeface="Arial" panose="020B0604020202020204" pitchFamily="34" charset="0"/>
              <a:buChar char="•"/>
              <a:defRPr/>
            </a:lvl5pPr>
          </a:lstStyle>
          <a:p>
            <a:pPr lvl="0"/>
            <a:r>
              <a:rPr lang="pt-PT" dirty="0"/>
              <a:t>Ejemplo de slide</a:t>
            </a:r>
          </a:p>
        </p:txBody>
      </p:sp>
      <p:sp>
        <p:nvSpPr>
          <p:cNvPr id="25" name="Marcador de Posição do Texto 24">
            <a:extLst>
              <a:ext uri="{FF2B5EF4-FFF2-40B4-BE49-F238E27FC236}">
                <a16:creationId xmlns:a16="http://schemas.microsoft.com/office/drawing/2014/main" id="{E4D32CC1-500A-E78C-3FF9-C3DD20F687E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96027" y="2355211"/>
            <a:ext cx="1132854" cy="702314"/>
          </a:xfrm>
          <a:custGeom>
            <a:avLst/>
            <a:gdLst>
              <a:gd name="connsiteX0" fmla="*/ 702321 w 1132854"/>
              <a:gd name="connsiteY0" fmla="*/ 0 h 702314"/>
              <a:gd name="connsiteX1" fmla="*/ 702606 w 1132854"/>
              <a:gd name="connsiteY1" fmla="*/ 0 h 702314"/>
              <a:gd name="connsiteX2" fmla="*/ 899545 w 1132854"/>
              <a:gd name="connsiteY2" fmla="*/ 0 h 702314"/>
              <a:gd name="connsiteX3" fmla="*/ 1132854 w 1132854"/>
              <a:gd name="connsiteY3" fmla="*/ 702314 h 702314"/>
              <a:gd name="connsiteX4" fmla="*/ 0 w 1132854"/>
              <a:gd name="connsiteY4" fmla="*/ 702314 h 702314"/>
              <a:gd name="connsiteX5" fmla="*/ 205745 w 1132854"/>
              <a:gd name="connsiteY5" fmla="*/ 205634 h 702314"/>
              <a:gd name="connsiteX6" fmla="*/ 256106 w 1132854"/>
              <a:gd name="connsiteY6" fmla="*/ 164096 h 702314"/>
              <a:gd name="connsiteX7" fmla="*/ 256106 w 1132854"/>
              <a:gd name="connsiteY7" fmla="*/ 147655 h 702314"/>
              <a:gd name="connsiteX8" fmla="*/ 276039 w 1132854"/>
              <a:gd name="connsiteY8" fmla="*/ 147655 h 702314"/>
              <a:gd name="connsiteX9" fmla="*/ 309694 w 1132854"/>
              <a:gd name="connsiteY9" fmla="*/ 119896 h 702314"/>
              <a:gd name="connsiteX10" fmla="*/ 702321 w 1132854"/>
              <a:gd name="connsiteY10" fmla="*/ 0 h 7023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132854" h="702314">
                <a:moveTo>
                  <a:pt x="702321" y="0"/>
                </a:moveTo>
                <a:lnTo>
                  <a:pt x="702606" y="0"/>
                </a:lnTo>
                <a:lnTo>
                  <a:pt x="899545" y="0"/>
                </a:lnTo>
                <a:lnTo>
                  <a:pt x="1132854" y="702314"/>
                </a:lnTo>
                <a:lnTo>
                  <a:pt x="0" y="702314"/>
                </a:lnTo>
                <a:cubicBezTo>
                  <a:pt x="0" y="508284"/>
                  <a:pt x="78637" y="332705"/>
                  <a:pt x="205745" y="205634"/>
                </a:cubicBezTo>
                <a:lnTo>
                  <a:pt x="256106" y="164096"/>
                </a:lnTo>
                <a:lnTo>
                  <a:pt x="256106" y="147655"/>
                </a:lnTo>
                <a:lnTo>
                  <a:pt x="276039" y="147655"/>
                </a:lnTo>
                <a:lnTo>
                  <a:pt x="309694" y="119896"/>
                </a:lnTo>
                <a:cubicBezTo>
                  <a:pt x="421788" y="44192"/>
                  <a:pt x="556906" y="0"/>
                  <a:pt x="702321" y="0"/>
                </a:cubicBezTo>
                <a:close/>
              </a:path>
            </a:pathLst>
          </a:custGeom>
          <a:solidFill>
            <a:schemeClr val="tx2"/>
          </a:solidFill>
        </p:spPr>
        <p:txBody>
          <a:bodyPr wrap="square" lIns="72000" tIns="180000" anchor="ctr">
            <a:noAutofit/>
          </a:bodyPr>
          <a:lstStyle>
            <a:lvl1pPr algn="ctr">
              <a:defRPr sz="2800">
                <a:solidFill>
                  <a:schemeClr val="accent1"/>
                </a:solidFill>
                <a:latin typeface="+mj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pt-PT" dirty="0"/>
              <a:t>NR</a:t>
            </a:r>
          </a:p>
        </p:txBody>
      </p:sp>
      <p:sp>
        <p:nvSpPr>
          <p:cNvPr id="26" name="Marcador de Posição do Texto 25">
            <a:extLst>
              <a:ext uri="{FF2B5EF4-FFF2-40B4-BE49-F238E27FC236}">
                <a16:creationId xmlns:a16="http://schemas.microsoft.com/office/drawing/2014/main" id="{A5A3C276-B055-440E-36C3-9B2C763A15BE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349888" y="2355217"/>
            <a:ext cx="4061510" cy="702314"/>
          </a:xfrm>
          <a:custGeom>
            <a:avLst/>
            <a:gdLst>
              <a:gd name="connsiteX0" fmla="*/ 2539820 w 4061510"/>
              <a:gd name="connsiteY0" fmla="*/ 0 h 702314"/>
              <a:gd name="connsiteX1" fmla="*/ 3137584 w 4061510"/>
              <a:gd name="connsiteY1" fmla="*/ 0 h 702314"/>
              <a:gd name="connsiteX2" fmla="*/ 4061510 w 4061510"/>
              <a:gd name="connsiteY2" fmla="*/ 0 h 702314"/>
              <a:gd name="connsiteX3" fmla="*/ 3359190 w 4061510"/>
              <a:gd name="connsiteY3" fmla="*/ 702314 h 702314"/>
              <a:gd name="connsiteX4" fmla="*/ 3358905 w 4061510"/>
              <a:gd name="connsiteY4" fmla="*/ 702314 h 702314"/>
              <a:gd name="connsiteX5" fmla="*/ 2773925 w 4061510"/>
              <a:gd name="connsiteY5" fmla="*/ 702314 h 702314"/>
              <a:gd name="connsiteX6" fmla="*/ 2773898 w 4061510"/>
              <a:gd name="connsiteY6" fmla="*/ 702235 h 702314"/>
              <a:gd name="connsiteX7" fmla="*/ 402147 w 4061510"/>
              <a:gd name="connsiteY7" fmla="*/ 702305 h 702314"/>
              <a:gd name="connsiteX8" fmla="*/ 402147 w 4061510"/>
              <a:gd name="connsiteY8" fmla="*/ 702307 h 702314"/>
              <a:gd name="connsiteX9" fmla="*/ 329890 w 4061510"/>
              <a:gd name="connsiteY9" fmla="*/ 702307 h 702314"/>
              <a:gd name="connsiteX10" fmla="*/ 234080 w 4061510"/>
              <a:gd name="connsiteY10" fmla="*/ 702307 h 702314"/>
              <a:gd name="connsiteX11" fmla="*/ 0 w 4061510"/>
              <a:gd name="connsiteY11" fmla="*/ 56 h 702314"/>
              <a:gd name="connsiteX12" fmla="*/ 402147 w 4061510"/>
              <a:gd name="connsiteY12" fmla="*/ 56 h 702314"/>
              <a:gd name="connsiteX13" fmla="*/ 402147 w 4061510"/>
              <a:gd name="connsiteY13" fmla="*/ 81 h 702314"/>
              <a:gd name="connsiteX14" fmla="*/ 2539826 w 4061510"/>
              <a:gd name="connsiteY14" fmla="*/ 18 h 7023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4061510" h="702314">
                <a:moveTo>
                  <a:pt x="2539820" y="0"/>
                </a:moveTo>
                <a:lnTo>
                  <a:pt x="3137584" y="0"/>
                </a:lnTo>
                <a:lnTo>
                  <a:pt x="4061510" y="0"/>
                </a:lnTo>
                <a:cubicBezTo>
                  <a:pt x="4061510" y="388061"/>
                  <a:pt x="3746963" y="702314"/>
                  <a:pt x="3359190" y="702314"/>
                </a:cubicBezTo>
                <a:lnTo>
                  <a:pt x="3358905" y="702314"/>
                </a:lnTo>
                <a:lnTo>
                  <a:pt x="2773925" y="702314"/>
                </a:lnTo>
                <a:lnTo>
                  <a:pt x="2773898" y="702235"/>
                </a:lnTo>
                <a:lnTo>
                  <a:pt x="402147" y="702305"/>
                </a:lnTo>
                <a:lnTo>
                  <a:pt x="402147" y="702307"/>
                </a:lnTo>
                <a:lnTo>
                  <a:pt x="329890" y="702307"/>
                </a:lnTo>
                <a:lnTo>
                  <a:pt x="234080" y="702307"/>
                </a:lnTo>
                <a:lnTo>
                  <a:pt x="0" y="56"/>
                </a:lnTo>
                <a:lnTo>
                  <a:pt x="402147" y="56"/>
                </a:lnTo>
                <a:lnTo>
                  <a:pt x="402147" y="81"/>
                </a:lnTo>
                <a:lnTo>
                  <a:pt x="2539826" y="18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lIns="432000" anchor="ctr">
            <a:noAutofit/>
          </a:bodyPr>
          <a:lstStyle>
            <a:lvl1pPr>
              <a:defRPr sz="1800"/>
            </a:lvl1pPr>
            <a:lvl2pPr marL="0" indent="0">
              <a:buClr>
                <a:schemeClr val="tx1"/>
              </a:buClr>
              <a:buFont typeface="Arial" panose="020B0604020202020204" pitchFamily="34" charset="0"/>
              <a:buNone/>
              <a:defRPr/>
            </a:lvl2pPr>
            <a:lvl3pPr marL="171450" indent="-171450">
              <a:buClr>
                <a:schemeClr val="tx1"/>
              </a:buClr>
              <a:buFont typeface="Arial" panose="020B0604020202020204" pitchFamily="34" charset="0"/>
              <a:buChar char="•"/>
              <a:defRPr/>
            </a:lvl3pPr>
            <a:lvl4pPr marL="171450" indent="-171450">
              <a:buClr>
                <a:schemeClr val="tx1"/>
              </a:buClr>
              <a:buFont typeface="Arial" panose="020B0604020202020204" pitchFamily="34" charset="0"/>
              <a:buChar char="•"/>
              <a:defRPr/>
            </a:lvl4pPr>
            <a:lvl5pPr marL="171450" indent="-171450">
              <a:buClr>
                <a:schemeClr val="tx1"/>
              </a:buClr>
              <a:buFont typeface="Arial" panose="020B0604020202020204" pitchFamily="34" charset="0"/>
              <a:buChar char="•"/>
              <a:defRPr/>
            </a:lvl5pPr>
          </a:lstStyle>
          <a:p>
            <a:pPr lvl="0"/>
            <a:r>
              <a:rPr lang="pt-PT" dirty="0"/>
              <a:t>Ejemplo de slide</a:t>
            </a:r>
          </a:p>
        </p:txBody>
      </p:sp>
      <p:sp>
        <p:nvSpPr>
          <p:cNvPr id="27" name="Marcador de Posição do Texto 26">
            <a:extLst>
              <a:ext uri="{FF2B5EF4-FFF2-40B4-BE49-F238E27FC236}">
                <a16:creationId xmlns:a16="http://schemas.microsoft.com/office/drawing/2014/main" id="{B3114393-5113-9B87-80DF-889196AC5180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296027" y="3280399"/>
            <a:ext cx="1132854" cy="702314"/>
          </a:xfrm>
          <a:custGeom>
            <a:avLst/>
            <a:gdLst>
              <a:gd name="connsiteX0" fmla="*/ 702321 w 1132854"/>
              <a:gd name="connsiteY0" fmla="*/ 0 h 702314"/>
              <a:gd name="connsiteX1" fmla="*/ 702606 w 1132854"/>
              <a:gd name="connsiteY1" fmla="*/ 0 h 702314"/>
              <a:gd name="connsiteX2" fmla="*/ 899545 w 1132854"/>
              <a:gd name="connsiteY2" fmla="*/ 0 h 702314"/>
              <a:gd name="connsiteX3" fmla="*/ 1132854 w 1132854"/>
              <a:gd name="connsiteY3" fmla="*/ 702314 h 702314"/>
              <a:gd name="connsiteX4" fmla="*/ 0 w 1132854"/>
              <a:gd name="connsiteY4" fmla="*/ 702314 h 702314"/>
              <a:gd name="connsiteX5" fmla="*/ 205745 w 1132854"/>
              <a:gd name="connsiteY5" fmla="*/ 205634 h 702314"/>
              <a:gd name="connsiteX6" fmla="*/ 256106 w 1132854"/>
              <a:gd name="connsiteY6" fmla="*/ 164096 h 702314"/>
              <a:gd name="connsiteX7" fmla="*/ 256106 w 1132854"/>
              <a:gd name="connsiteY7" fmla="*/ 147655 h 702314"/>
              <a:gd name="connsiteX8" fmla="*/ 276039 w 1132854"/>
              <a:gd name="connsiteY8" fmla="*/ 147655 h 702314"/>
              <a:gd name="connsiteX9" fmla="*/ 309694 w 1132854"/>
              <a:gd name="connsiteY9" fmla="*/ 119896 h 702314"/>
              <a:gd name="connsiteX10" fmla="*/ 702321 w 1132854"/>
              <a:gd name="connsiteY10" fmla="*/ 0 h 7023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132854" h="702314">
                <a:moveTo>
                  <a:pt x="702321" y="0"/>
                </a:moveTo>
                <a:lnTo>
                  <a:pt x="702606" y="0"/>
                </a:lnTo>
                <a:lnTo>
                  <a:pt x="899545" y="0"/>
                </a:lnTo>
                <a:lnTo>
                  <a:pt x="1132854" y="702314"/>
                </a:lnTo>
                <a:lnTo>
                  <a:pt x="0" y="702314"/>
                </a:lnTo>
                <a:cubicBezTo>
                  <a:pt x="0" y="508284"/>
                  <a:pt x="78637" y="332705"/>
                  <a:pt x="205745" y="205634"/>
                </a:cubicBezTo>
                <a:lnTo>
                  <a:pt x="256106" y="164096"/>
                </a:lnTo>
                <a:lnTo>
                  <a:pt x="256106" y="147655"/>
                </a:lnTo>
                <a:lnTo>
                  <a:pt x="276039" y="147655"/>
                </a:lnTo>
                <a:lnTo>
                  <a:pt x="309694" y="119896"/>
                </a:lnTo>
                <a:cubicBezTo>
                  <a:pt x="421788" y="44192"/>
                  <a:pt x="556906" y="0"/>
                  <a:pt x="702321" y="0"/>
                </a:cubicBezTo>
                <a:close/>
              </a:path>
            </a:pathLst>
          </a:custGeom>
          <a:solidFill>
            <a:schemeClr val="tx2"/>
          </a:solidFill>
        </p:spPr>
        <p:txBody>
          <a:bodyPr wrap="square" lIns="72000" tIns="180000" anchor="ctr">
            <a:noAutofit/>
          </a:bodyPr>
          <a:lstStyle>
            <a:lvl1pPr algn="ctr">
              <a:defRPr sz="2800">
                <a:solidFill>
                  <a:schemeClr val="accent1"/>
                </a:solidFill>
                <a:latin typeface="+mj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pt-PT" dirty="0"/>
              <a:t>NR</a:t>
            </a:r>
          </a:p>
        </p:txBody>
      </p:sp>
      <p:sp>
        <p:nvSpPr>
          <p:cNvPr id="28" name="Marcador de Posição do Texto 27">
            <a:extLst>
              <a:ext uri="{FF2B5EF4-FFF2-40B4-BE49-F238E27FC236}">
                <a16:creationId xmlns:a16="http://schemas.microsoft.com/office/drawing/2014/main" id="{E8568B05-4B7B-715A-0583-1A128BC2A4CF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349888" y="3280405"/>
            <a:ext cx="4061510" cy="702314"/>
          </a:xfrm>
          <a:custGeom>
            <a:avLst/>
            <a:gdLst>
              <a:gd name="connsiteX0" fmla="*/ 2539820 w 4061510"/>
              <a:gd name="connsiteY0" fmla="*/ 0 h 702314"/>
              <a:gd name="connsiteX1" fmla="*/ 3137584 w 4061510"/>
              <a:gd name="connsiteY1" fmla="*/ 0 h 702314"/>
              <a:gd name="connsiteX2" fmla="*/ 4061510 w 4061510"/>
              <a:gd name="connsiteY2" fmla="*/ 0 h 702314"/>
              <a:gd name="connsiteX3" fmla="*/ 3359190 w 4061510"/>
              <a:gd name="connsiteY3" fmla="*/ 702314 h 702314"/>
              <a:gd name="connsiteX4" fmla="*/ 3358905 w 4061510"/>
              <a:gd name="connsiteY4" fmla="*/ 702314 h 702314"/>
              <a:gd name="connsiteX5" fmla="*/ 2773925 w 4061510"/>
              <a:gd name="connsiteY5" fmla="*/ 702314 h 702314"/>
              <a:gd name="connsiteX6" fmla="*/ 2773898 w 4061510"/>
              <a:gd name="connsiteY6" fmla="*/ 702235 h 702314"/>
              <a:gd name="connsiteX7" fmla="*/ 402147 w 4061510"/>
              <a:gd name="connsiteY7" fmla="*/ 702305 h 702314"/>
              <a:gd name="connsiteX8" fmla="*/ 402147 w 4061510"/>
              <a:gd name="connsiteY8" fmla="*/ 702307 h 702314"/>
              <a:gd name="connsiteX9" fmla="*/ 329890 w 4061510"/>
              <a:gd name="connsiteY9" fmla="*/ 702307 h 702314"/>
              <a:gd name="connsiteX10" fmla="*/ 234080 w 4061510"/>
              <a:gd name="connsiteY10" fmla="*/ 702307 h 702314"/>
              <a:gd name="connsiteX11" fmla="*/ 0 w 4061510"/>
              <a:gd name="connsiteY11" fmla="*/ 56 h 702314"/>
              <a:gd name="connsiteX12" fmla="*/ 402147 w 4061510"/>
              <a:gd name="connsiteY12" fmla="*/ 56 h 702314"/>
              <a:gd name="connsiteX13" fmla="*/ 402147 w 4061510"/>
              <a:gd name="connsiteY13" fmla="*/ 81 h 702314"/>
              <a:gd name="connsiteX14" fmla="*/ 2539826 w 4061510"/>
              <a:gd name="connsiteY14" fmla="*/ 18 h 7023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4061510" h="702314">
                <a:moveTo>
                  <a:pt x="2539820" y="0"/>
                </a:moveTo>
                <a:lnTo>
                  <a:pt x="3137584" y="0"/>
                </a:lnTo>
                <a:lnTo>
                  <a:pt x="4061510" y="0"/>
                </a:lnTo>
                <a:cubicBezTo>
                  <a:pt x="4061510" y="388061"/>
                  <a:pt x="3746963" y="702314"/>
                  <a:pt x="3359190" y="702314"/>
                </a:cubicBezTo>
                <a:lnTo>
                  <a:pt x="3358905" y="702314"/>
                </a:lnTo>
                <a:lnTo>
                  <a:pt x="2773925" y="702314"/>
                </a:lnTo>
                <a:lnTo>
                  <a:pt x="2773898" y="702235"/>
                </a:lnTo>
                <a:lnTo>
                  <a:pt x="402147" y="702305"/>
                </a:lnTo>
                <a:lnTo>
                  <a:pt x="402147" y="702307"/>
                </a:lnTo>
                <a:lnTo>
                  <a:pt x="329890" y="702307"/>
                </a:lnTo>
                <a:lnTo>
                  <a:pt x="234080" y="702307"/>
                </a:lnTo>
                <a:lnTo>
                  <a:pt x="0" y="56"/>
                </a:lnTo>
                <a:lnTo>
                  <a:pt x="402147" y="56"/>
                </a:lnTo>
                <a:lnTo>
                  <a:pt x="402147" y="81"/>
                </a:lnTo>
                <a:lnTo>
                  <a:pt x="2539826" y="18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lIns="432000" anchor="ctr">
            <a:noAutofit/>
          </a:bodyPr>
          <a:lstStyle>
            <a:lvl1pPr>
              <a:defRPr sz="1800"/>
            </a:lvl1pPr>
            <a:lvl2pPr marL="0" indent="0">
              <a:buClr>
                <a:schemeClr val="tx1"/>
              </a:buClr>
              <a:buFont typeface="Arial" panose="020B0604020202020204" pitchFamily="34" charset="0"/>
              <a:buNone/>
              <a:defRPr/>
            </a:lvl2pPr>
            <a:lvl3pPr marL="171450" indent="-171450">
              <a:buClr>
                <a:schemeClr val="tx1"/>
              </a:buClr>
              <a:buFont typeface="Arial" panose="020B0604020202020204" pitchFamily="34" charset="0"/>
              <a:buChar char="•"/>
              <a:defRPr/>
            </a:lvl3pPr>
            <a:lvl4pPr marL="171450" indent="-171450">
              <a:buClr>
                <a:schemeClr val="tx1"/>
              </a:buClr>
              <a:buFont typeface="Arial" panose="020B0604020202020204" pitchFamily="34" charset="0"/>
              <a:buChar char="•"/>
              <a:defRPr/>
            </a:lvl4pPr>
            <a:lvl5pPr marL="171450" indent="-171450">
              <a:buClr>
                <a:schemeClr val="tx1"/>
              </a:buClr>
              <a:buFont typeface="Arial" panose="020B0604020202020204" pitchFamily="34" charset="0"/>
              <a:buChar char="•"/>
              <a:defRPr/>
            </a:lvl5pPr>
          </a:lstStyle>
          <a:p>
            <a:pPr lvl="0"/>
            <a:r>
              <a:rPr lang="pt-PT" dirty="0"/>
              <a:t>Ejemplo de slide</a:t>
            </a:r>
          </a:p>
        </p:txBody>
      </p:sp>
      <p:sp>
        <p:nvSpPr>
          <p:cNvPr id="29" name="Marcador de Posição do Texto 28">
            <a:extLst>
              <a:ext uri="{FF2B5EF4-FFF2-40B4-BE49-F238E27FC236}">
                <a16:creationId xmlns:a16="http://schemas.microsoft.com/office/drawing/2014/main" id="{9DD9825F-2233-B40C-68EE-C2FBD0DD8C8F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296027" y="4205581"/>
            <a:ext cx="1132854" cy="702314"/>
          </a:xfrm>
          <a:custGeom>
            <a:avLst/>
            <a:gdLst>
              <a:gd name="connsiteX0" fmla="*/ 702321 w 1132854"/>
              <a:gd name="connsiteY0" fmla="*/ 0 h 702314"/>
              <a:gd name="connsiteX1" fmla="*/ 702606 w 1132854"/>
              <a:gd name="connsiteY1" fmla="*/ 0 h 702314"/>
              <a:gd name="connsiteX2" fmla="*/ 899545 w 1132854"/>
              <a:gd name="connsiteY2" fmla="*/ 0 h 702314"/>
              <a:gd name="connsiteX3" fmla="*/ 1132854 w 1132854"/>
              <a:gd name="connsiteY3" fmla="*/ 702314 h 702314"/>
              <a:gd name="connsiteX4" fmla="*/ 0 w 1132854"/>
              <a:gd name="connsiteY4" fmla="*/ 702314 h 702314"/>
              <a:gd name="connsiteX5" fmla="*/ 205745 w 1132854"/>
              <a:gd name="connsiteY5" fmla="*/ 205634 h 702314"/>
              <a:gd name="connsiteX6" fmla="*/ 256106 w 1132854"/>
              <a:gd name="connsiteY6" fmla="*/ 164096 h 702314"/>
              <a:gd name="connsiteX7" fmla="*/ 256106 w 1132854"/>
              <a:gd name="connsiteY7" fmla="*/ 147655 h 702314"/>
              <a:gd name="connsiteX8" fmla="*/ 276039 w 1132854"/>
              <a:gd name="connsiteY8" fmla="*/ 147655 h 702314"/>
              <a:gd name="connsiteX9" fmla="*/ 309694 w 1132854"/>
              <a:gd name="connsiteY9" fmla="*/ 119896 h 702314"/>
              <a:gd name="connsiteX10" fmla="*/ 702321 w 1132854"/>
              <a:gd name="connsiteY10" fmla="*/ 0 h 7023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132854" h="702314">
                <a:moveTo>
                  <a:pt x="702321" y="0"/>
                </a:moveTo>
                <a:lnTo>
                  <a:pt x="702606" y="0"/>
                </a:lnTo>
                <a:lnTo>
                  <a:pt x="899545" y="0"/>
                </a:lnTo>
                <a:lnTo>
                  <a:pt x="1132854" y="702314"/>
                </a:lnTo>
                <a:lnTo>
                  <a:pt x="0" y="702314"/>
                </a:lnTo>
                <a:cubicBezTo>
                  <a:pt x="0" y="508284"/>
                  <a:pt x="78637" y="332705"/>
                  <a:pt x="205745" y="205634"/>
                </a:cubicBezTo>
                <a:lnTo>
                  <a:pt x="256106" y="164096"/>
                </a:lnTo>
                <a:lnTo>
                  <a:pt x="256106" y="147655"/>
                </a:lnTo>
                <a:lnTo>
                  <a:pt x="276039" y="147655"/>
                </a:lnTo>
                <a:lnTo>
                  <a:pt x="309694" y="119896"/>
                </a:lnTo>
                <a:cubicBezTo>
                  <a:pt x="421788" y="44192"/>
                  <a:pt x="556906" y="0"/>
                  <a:pt x="702321" y="0"/>
                </a:cubicBezTo>
                <a:close/>
              </a:path>
            </a:pathLst>
          </a:custGeom>
          <a:solidFill>
            <a:schemeClr val="tx2"/>
          </a:solidFill>
        </p:spPr>
        <p:txBody>
          <a:bodyPr wrap="square" lIns="72000" tIns="180000" anchor="ctr">
            <a:noAutofit/>
          </a:bodyPr>
          <a:lstStyle>
            <a:lvl1pPr algn="ctr">
              <a:defRPr sz="2800">
                <a:solidFill>
                  <a:schemeClr val="accent1"/>
                </a:solidFill>
                <a:latin typeface="+mj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pt-PT" dirty="0"/>
              <a:t>NR</a:t>
            </a:r>
          </a:p>
        </p:txBody>
      </p:sp>
      <p:sp>
        <p:nvSpPr>
          <p:cNvPr id="30" name="Marcador de Posição do Texto 29">
            <a:extLst>
              <a:ext uri="{FF2B5EF4-FFF2-40B4-BE49-F238E27FC236}">
                <a16:creationId xmlns:a16="http://schemas.microsoft.com/office/drawing/2014/main" id="{8C0B9C57-CEE7-4587-EF34-0530EF90307A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7349888" y="4205587"/>
            <a:ext cx="4061510" cy="702314"/>
          </a:xfrm>
          <a:custGeom>
            <a:avLst/>
            <a:gdLst>
              <a:gd name="connsiteX0" fmla="*/ 2539820 w 4061510"/>
              <a:gd name="connsiteY0" fmla="*/ 0 h 702314"/>
              <a:gd name="connsiteX1" fmla="*/ 3137584 w 4061510"/>
              <a:gd name="connsiteY1" fmla="*/ 0 h 702314"/>
              <a:gd name="connsiteX2" fmla="*/ 4061510 w 4061510"/>
              <a:gd name="connsiteY2" fmla="*/ 0 h 702314"/>
              <a:gd name="connsiteX3" fmla="*/ 3359190 w 4061510"/>
              <a:gd name="connsiteY3" fmla="*/ 702314 h 702314"/>
              <a:gd name="connsiteX4" fmla="*/ 3358905 w 4061510"/>
              <a:gd name="connsiteY4" fmla="*/ 702314 h 702314"/>
              <a:gd name="connsiteX5" fmla="*/ 2773925 w 4061510"/>
              <a:gd name="connsiteY5" fmla="*/ 702314 h 702314"/>
              <a:gd name="connsiteX6" fmla="*/ 2773898 w 4061510"/>
              <a:gd name="connsiteY6" fmla="*/ 702235 h 702314"/>
              <a:gd name="connsiteX7" fmla="*/ 402147 w 4061510"/>
              <a:gd name="connsiteY7" fmla="*/ 702305 h 702314"/>
              <a:gd name="connsiteX8" fmla="*/ 402147 w 4061510"/>
              <a:gd name="connsiteY8" fmla="*/ 702307 h 702314"/>
              <a:gd name="connsiteX9" fmla="*/ 329890 w 4061510"/>
              <a:gd name="connsiteY9" fmla="*/ 702307 h 702314"/>
              <a:gd name="connsiteX10" fmla="*/ 234080 w 4061510"/>
              <a:gd name="connsiteY10" fmla="*/ 702307 h 702314"/>
              <a:gd name="connsiteX11" fmla="*/ 0 w 4061510"/>
              <a:gd name="connsiteY11" fmla="*/ 56 h 702314"/>
              <a:gd name="connsiteX12" fmla="*/ 402147 w 4061510"/>
              <a:gd name="connsiteY12" fmla="*/ 56 h 702314"/>
              <a:gd name="connsiteX13" fmla="*/ 402147 w 4061510"/>
              <a:gd name="connsiteY13" fmla="*/ 81 h 702314"/>
              <a:gd name="connsiteX14" fmla="*/ 2539826 w 4061510"/>
              <a:gd name="connsiteY14" fmla="*/ 18 h 7023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4061510" h="702314">
                <a:moveTo>
                  <a:pt x="2539820" y="0"/>
                </a:moveTo>
                <a:lnTo>
                  <a:pt x="3137584" y="0"/>
                </a:lnTo>
                <a:lnTo>
                  <a:pt x="4061510" y="0"/>
                </a:lnTo>
                <a:cubicBezTo>
                  <a:pt x="4061510" y="388061"/>
                  <a:pt x="3746963" y="702314"/>
                  <a:pt x="3359190" y="702314"/>
                </a:cubicBezTo>
                <a:lnTo>
                  <a:pt x="3358905" y="702314"/>
                </a:lnTo>
                <a:lnTo>
                  <a:pt x="2773925" y="702314"/>
                </a:lnTo>
                <a:lnTo>
                  <a:pt x="2773898" y="702235"/>
                </a:lnTo>
                <a:lnTo>
                  <a:pt x="402147" y="702305"/>
                </a:lnTo>
                <a:lnTo>
                  <a:pt x="402147" y="702307"/>
                </a:lnTo>
                <a:lnTo>
                  <a:pt x="329890" y="702307"/>
                </a:lnTo>
                <a:lnTo>
                  <a:pt x="234080" y="702307"/>
                </a:lnTo>
                <a:lnTo>
                  <a:pt x="0" y="56"/>
                </a:lnTo>
                <a:lnTo>
                  <a:pt x="402147" y="56"/>
                </a:lnTo>
                <a:lnTo>
                  <a:pt x="402147" y="81"/>
                </a:lnTo>
                <a:lnTo>
                  <a:pt x="2539826" y="18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lIns="432000" anchor="ctr">
            <a:noAutofit/>
          </a:bodyPr>
          <a:lstStyle>
            <a:lvl1pPr>
              <a:defRPr sz="1800"/>
            </a:lvl1pPr>
            <a:lvl2pPr marL="0" indent="0">
              <a:buClr>
                <a:schemeClr val="tx1"/>
              </a:buClr>
              <a:buFont typeface="Arial" panose="020B0604020202020204" pitchFamily="34" charset="0"/>
              <a:buNone/>
              <a:defRPr/>
            </a:lvl2pPr>
            <a:lvl3pPr marL="171450" indent="-171450">
              <a:buClr>
                <a:schemeClr val="tx1"/>
              </a:buClr>
              <a:buFont typeface="Arial" panose="020B0604020202020204" pitchFamily="34" charset="0"/>
              <a:buChar char="•"/>
              <a:defRPr/>
            </a:lvl3pPr>
            <a:lvl4pPr marL="171450" indent="-171450">
              <a:buClr>
                <a:schemeClr val="tx1"/>
              </a:buClr>
              <a:buFont typeface="Arial" panose="020B0604020202020204" pitchFamily="34" charset="0"/>
              <a:buChar char="•"/>
              <a:defRPr/>
            </a:lvl4pPr>
            <a:lvl5pPr marL="171450" indent="-171450">
              <a:buClr>
                <a:schemeClr val="tx1"/>
              </a:buClr>
              <a:buFont typeface="Arial" panose="020B0604020202020204" pitchFamily="34" charset="0"/>
              <a:buChar char="•"/>
              <a:defRPr/>
            </a:lvl5pPr>
          </a:lstStyle>
          <a:p>
            <a:pPr lvl="0"/>
            <a:r>
              <a:rPr lang="pt-PT" dirty="0"/>
              <a:t>Ejemplo de slide</a:t>
            </a:r>
          </a:p>
        </p:txBody>
      </p:sp>
      <p:sp>
        <p:nvSpPr>
          <p:cNvPr id="31" name="Marcador de Posição do Texto 30">
            <a:extLst>
              <a:ext uri="{FF2B5EF4-FFF2-40B4-BE49-F238E27FC236}">
                <a16:creationId xmlns:a16="http://schemas.microsoft.com/office/drawing/2014/main" id="{04959CEC-EA31-2E2B-1E01-320DF2786FB7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296027" y="5130751"/>
            <a:ext cx="1132854" cy="702314"/>
          </a:xfrm>
          <a:custGeom>
            <a:avLst/>
            <a:gdLst>
              <a:gd name="connsiteX0" fmla="*/ 702321 w 1132854"/>
              <a:gd name="connsiteY0" fmla="*/ 0 h 702314"/>
              <a:gd name="connsiteX1" fmla="*/ 702606 w 1132854"/>
              <a:gd name="connsiteY1" fmla="*/ 0 h 702314"/>
              <a:gd name="connsiteX2" fmla="*/ 899545 w 1132854"/>
              <a:gd name="connsiteY2" fmla="*/ 0 h 702314"/>
              <a:gd name="connsiteX3" fmla="*/ 1132854 w 1132854"/>
              <a:gd name="connsiteY3" fmla="*/ 702314 h 702314"/>
              <a:gd name="connsiteX4" fmla="*/ 0 w 1132854"/>
              <a:gd name="connsiteY4" fmla="*/ 702314 h 702314"/>
              <a:gd name="connsiteX5" fmla="*/ 205745 w 1132854"/>
              <a:gd name="connsiteY5" fmla="*/ 205634 h 702314"/>
              <a:gd name="connsiteX6" fmla="*/ 256106 w 1132854"/>
              <a:gd name="connsiteY6" fmla="*/ 164096 h 702314"/>
              <a:gd name="connsiteX7" fmla="*/ 256106 w 1132854"/>
              <a:gd name="connsiteY7" fmla="*/ 147655 h 702314"/>
              <a:gd name="connsiteX8" fmla="*/ 276039 w 1132854"/>
              <a:gd name="connsiteY8" fmla="*/ 147655 h 702314"/>
              <a:gd name="connsiteX9" fmla="*/ 309694 w 1132854"/>
              <a:gd name="connsiteY9" fmla="*/ 119896 h 702314"/>
              <a:gd name="connsiteX10" fmla="*/ 702321 w 1132854"/>
              <a:gd name="connsiteY10" fmla="*/ 0 h 7023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132854" h="702314">
                <a:moveTo>
                  <a:pt x="702321" y="0"/>
                </a:moveTo>
                <a:lnTo>
                  <a:pt x="702606" y="0"/>
                </a:lnTo>
                <a:lnTo>
                  <a:pt x="899545" y="0"/>
                </a:lnTo>
                <a:lnTo>
                  <a:pt x="1132854" y="702314"/>
                </a:lnTo>
                <a:lnTo>
                  <a:pt x="0" y="702314"/>
                </a:lnTo>
                <a:cubicBezTo>
                  <a:pt x="0" y="508284"/>
                  <a:pt x="78637" y="332705"/>
                  <a:pt x="205745" y="205634"/>
                </a:cubicBezTo>
                <a:lnTo>
                  <a:pt x="256106" y="164096"/>
                </a:lnTo>
                <a:lnTo>
                  <a:pt x="256106" y="147655"/>
                </a:lnTo>
                <a:lnTo>
                  <a:pt x="276039" y="147655"/>
                </a:lnTo>
                <a:lnTo>
                  <a:pt x="309694" y="119896"/>
                </a:lnTo>
                <a:cubicBezTo>
                  <a:pt x="421788" y="44192"/>
                  <a:pt x="556906" y="0"/>
                  <a:pt x="702321" y="0"/>
                </a:cubicBezTo>
                <a:close/>
              </a:path>
            </a:pathLst>
          </a:custGeom>
          <a:solidFill>
            <a:schemeClr val="tx2"/>
          </a:solidFill>
        </p:spPr>
        <p:txBody>
          <a:bodyPr wrap="square" lIns="72000" tIns="180000" anchor="ctr">
            <a:noAutofit/>
          </a:bodyPr>
          <a:lstStyle>
            <a:lvl1pPr algn="ctr">
              <a:defRPr sz="2800">
                <a:solidFill>
                  <a:schemeClr val="accent1"/>
                </a:solidFill>
                <a:latin typeface="+mj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pt-PT" dirty="0"/>
              <a:t>NR</a:t>
            </a:r>
          </a:p>
        </p:txBody>
      </p:sp>
      <p:sp>
        <p:nvSpPr>
          <p:cNvPr id="32" name="Marcador de Posição do Texto 31">
            <a:extLst>
              <a:ext uri="{FF2B5EF4-FFF2-40B4-BE49-F238E27FC236}">
                <a16:creationId xmlns:a16="http://schemas.microsoft.com/office/drawing/2014/main" id="{85979E67-6BE5-C693-B47A-F4A521F96B88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7349888" y="5130757"/>
            <a:ext cx="4061510" cy="702314"/>
          </a:xfrm>
          <a:custGeom>
            <a:avLst/>
            <a:gdLst>
              <a:gd name="connsiteX0" fmla="*/ 2539820 w 4061510"/>
              <a:gd name="connsiteY0" fmla="*/ 0 h 702314"/>
              <a:gd name="connsiteX1" fmla="*/ 3137584 w 4061510"/>
              <a:gd name="connsiteY1" fmla="*/ 0 h 702314"/>
              <a:gd name="connsiteX2" fmla="*/ 4061510 w 4061510"/>
              <a:gd name="connsiteY2" fmla="*/ 0 h 702314"/>
              <a:gd name="connsiteX3" fmla="*/ 3359190 w 4061510"/>
              <a:gd name="connsiteY3" fmla="*/ 702314 h 702314"/>
              <a:gd name="connsiteX4" fmla="*/ 3358905 w 4061510"/>
              <a:gd name="connsiteY4" fmla="*/ 702314 h 702314"/>
              <a:gd name="connsiteX5" fmla="*/ 2773925 w 4061510"/>
              <a:gd name="connsiteY5" fmla="*/ 702314 h 702314"/>
              <a:gd name="connsiteX6" fmla="*/ 2773898 w 4061510"/>
              <a:gd name="connsiteY6" fmla="*/ 702235 h 702314"/>
              <a:gd name="connsiteX7" fmla="*/ 402147 w 4061510"/>
              <a:gd name="connsiteY7" fmla="*/ 702305 h 702314"/>
              <a:gd name="connsiteX8" fmla="*/ 402147 w 4061510"/>
              <a:gd name="connsiteY8" fmla="*/ 702307 h 702314"/>
              <a:gd name="connsiteX9" fmla="*/ 329890 w 4061510"/>
              <a:gd name="connsiteY9" fmla="*/ 702307 h 702314"/>
              <a:gd name="connsiteX10" fmla="*/ 234080 w 4061510"/>
              <a:gd name="connsiteY10" fmla="*/ 702307 h 702314"/>
              <a:gd name="connsiteX11" fmla="*/ 0 w 4061510"/>
              <a:gd name="connsiteY11" fmla="*/ 56 h 702314"/>
              <a:gd name="connsiteX12" fmla="*/ 402147 w 4061510"/>
              <a:gd name="connsiteY12" fmla="*/ 56 h 702314"/>
              <a:gd name="connsiteX13" fmla="*/ 402147 w 4061510"/>
              <a:gd name="connsiteY13" fmla="*/ 81 h 702314"/>
              <a:gd name="connsiteX14" fmla="*/ 2539826 w 4061510"/>
              <a:gd name="connsiteY14" fmla="*/ 18 h 7023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4061510" h="702314">
                <a:moveTo>
                  <a:pt x="2539820" y="0"/>
                </a:moveTo>
                <a:lnTo>
                  <a:pt x="3137584" y="0"/>
                </a:lnTo>
                <a:lnTo>
                  <a:pt x="4061510" y="0"/>
                </a:lnTo>
                <a:cubicBezTo>
                  <a:pt x="4061510" y="388061"/>
                  <a:pt x="3746963" y="702314"/>
                  <a:pt x="3359190" y="702314"/>
                </a:cubicBezTo>
                <a:lnTo>
                  <a:pt x="3358905" y="702314"/>
                </a:lnTo>
                <a:lnTo>
                  <a:pt x="2773925" y="702314"/>
                </a:lnTo>
                <a:lnTo>
                  <a:pt x="2773898" y="702235"/>
                </a:lnTo>
                <a:lnTo>
                  <a:pt x="402147" y="702305"/>
                </a:lnTo>
                <a:lnTo>
                  <a:pt x="402147" y="702307"/>
                </a:lnTo>
                <a:lnTo>
                  <a:pt x="329890" y="702307"/>
                </a:lnTo>
                <a:lnTo>
                  <a:pt x="234080" y="702307"/>
                </a:lnTo>
                <a:lnTo>
                  <a:pt x="0" y="56"/>
                </a:lnTo>
                <a:lnTo>
                  <a:pt x="402147" y="56"/>
                </a:lnTo>
                <a:lnTo>
                  <a:pt x="402147" y="81"/>
                </a:lnTo>
                <a:lnTo>
                  <a:pt x="2539826" y="18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lIns="432000" anchor="ctr">
            <a:noAutofit/>
          </a:bodyPr>
          <a:lstStyle>
            <a:lvl1pPr>
              <a:defRPr sz="1800"/>
            </a:lvl1pPr>
            <a:lvl2pPr marL="0" indent="0">
              <a:buClr>
                <a:schemeClr val="tx1"/>
              </a:buClr>
              <a:buFont typeface="Arial" panose="020B0604020202020204" pitchFamily="34" charset="0"/>
              <a:buNone/>
              <a:defRPr/>
            </a:lvl2pPr>
            <a:lvl3pPr marL="171450" indent="-171450">
              <a:buClr>
                <a:schemeClr val="tx1"/>
              </a:buClr>
              <a:buFont typeface="Arial" panose="020B0604020202020204" pitchFamily="34" charset="0"/>
              <a:buChar char="•"/>
              <a:defRPr/>
            </a:lvl3pPr>
            <a:lvl4pPr marL="171450" indent="-171450">
              <a:buClr>
                <a:schemeClr val="tx1"/>
              </a:buClr>
              <a:buFont typeface="Arial" panose="020B0604020202020204" pitchFamily="34" charset="0"/>
              <a:buChar char="•"/>
              <a:defRPr/>
            </a:lvl4pPr>
            <a:lvl5pPr marL="171450" indent="-171450">
              <a:buClr>
                <a:schemeClr val="tx1"/>
              </a:buClr>
              <a:buFont typeface="Arial" panose="020B0604020202020204" pitchFamily="34" charset="0"/>
              <a:buChar char="•"/>
              <a:defRPr/>
            </a:lvl5pPr>
          </a:lstStyle>
          <a:p>
            <a:pPr lvl="0"/>
            <a:r>
              <a:rPr lang="pt-PT" dirty="0"/>
              <a:t>Ejemplo de slide</a:t>
            </a:r>
          </a:p>
        </p:txBody>
      </p:sp>
      <p:grpSp>
        <p:nvGrpSpPr>
          <p:cNvPr id="4" name="Gráfico 2">
            <a:extLst>
              <a:ext uri="{FF2B5EF4-FFF2-40B4-BE49-F238E27FC236}">
                <a16:creationId xmlns:a16="http://schemas.microsoft.com/office/drawing/2014/main" id="{3A0103ED-83B8-FC40-CB82-922C1A56ACC8}"/>
              </a:ext>
            </a:extLst>
          </p:cNvPr>
          <p:cNvGrpSpPr/>
          <p:nvPr userDrawn="1"/>
        </p:nvGrpSpPr>
        <p:grpSpPr>
          <a:xfrm>
            <a:off x="10557975" y="275736"/>
            <a:ext cx="1308718" cy="138724"/>
            <a:chOff x="0" y="2782824"/>
            <a:chExt cx="12192000" cy="1292352"/>
          </a:xfrm>
        </p:grpSpPr>
        <p:sp>
          <p:nvSpPr>
            <p:cNvPr id="5" name="Forma libre: forma 4">
              <a:extLst>
                <a:ext uri="{FF2B5EF4-FFF2-40B4-BE49-F238E27FC236}">
                  <a16:creationId xmlns:a16="http://schemas.microsoft.com/office/drawing/2014/main" id="{D7C8D486-E306-BBC7-9E35-5459F994466B}"/>
                </a:ext>
              </a:extLst>
            </p:cNvPr>
            <p:cNvSpPr/>
            <p:nvPr/>
          </p:nvSpPr>
          <p:spPr>
            <a:xfrm>
              <a:off x="3791306" y="2777053"/>
              <a:ext cx="1300480" cy="1300480"/>
            </a:xfrm>
            <a:custGeom>
              <a:avLst/>
              <a:gdLst>
                <a:gd name="connsiteX0" fmla="*/ 6096 w 1300480"/>
                <a:gd name="connsiteY0" fmla="*/ 653979 h 1300480"/>
                <a:gd name="connsiteX1" fmla="*/ 653979 w 1300480"/>
                <a:gd name="connsiteY1" fmla="*/ 6096 h 1300480"/>
                <a:gd name="connsiteX2" fmla="*/ 1301862 w 1300480"/>
                <a:gd name="connsiteY2" fmla="*/ 653979 h 1300480"/>
                <a:gd name="connsiteX3" fmla="*/ 653979 w 1300480"/>
                <a:gd name="connsiteY3" fmla="*/ 1301862 h 1300480"/>
                <a:gd name="connsiteX4" fmla="*/ 653898 w 1300480"/>
                <a:gd name="connsiteY4" fmla="*/ 1301862 h 1300480"/>
                <a:gd name="connsiteX5" fmla="*/ 6096 w 1300480"/>
                <a:gd name="connsiteY5" fmla="*/ 654060 h 1300480"/>
                <a:gd name="connsiteX6" fmla="*/ 6096 w 1300480"/>
                <a:gd name="connsiteY6" fmla="*/ 654060 h 1300480"/>
                <a:gd name="connsiteX7" fmla="*/ 653898 w 1300480"/>
                <a:gd name="connsiteY7" fmla="*/ 1091184 h 1300480"/>
                <a:gd name="connsiteX8" fmla="*/ 1091265 w 1300480"/>
                <a:gd name="connsiteY8" fmla="*/ 653979 h 1300480"/>
                <a:gd name="connsiteX9" fmla="*/ 654060 w 1300480"/>
                <a:gd name="connsiteY9" fmla="*/ 216611 h 1300480"/>
                <a:gd name="connsiteX10" fmla="*/ 216692 w 1300480"/>
                <a:gd name="connsiteY10" fmla="*/ 653816 h 1300480"/>
                <a:gd name="connsiteX11" fmla="*/ 216692 w 1300480"/>
                <a:gd name="connsiteY11" fmla="*/ 653979 h 1300480"/>
                <a:gd name="connsiteX12" fmla="*/ 653898 w 1300480"/>
                <a:gd name="connsiteY12" fmla="*/ 1091184 h 13004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300480" h="1300480">
                  <a:moveTo>
                    <a:pt x="6096" y="653979"/>
                  </a:moveTo>
                  <a:cubicBezTo>
                    <a:pt x="6096" y="296184"/>
                    <a:pt x="296184" y="6096"/>
                    <a:pt x="653979" y="6096"/>
                  </a:cubicBezTo>
                  <a:cubicBezTo>
                    <a:pt x="1011773" y="6096"/>
                    <a:pt x="1301862" y="296184"/>
                    <a:pt x="1301862" y="653979"/>
                  </a:cubicBezTo>
                  <a:cubicBezTo>
                    <a:pt x="1301862" y="1011773"/>
                    <a:pt x="1011773" y="1301862"/>
                    <a:pt x="653979" y="1301862"/>
                  </a:cubicBezTo>
                  <a:lnTo>
                    <a:pt x="653898" y="1301862"/>
                  </a:lnTo>
                  <a:cubicBezTo>
                    <a:pt x="296103" y="1301862"/>
                    <a:pt x="6096" y="1011855"/>
                    <a:pt x="6096" y="654060"/>
                  </a:cubicBezTo>
                  <a:lnTo>
                    <a:pt x="6096" y="654060"/>
                  </a:lnTo>
                  <a:moveTo>
                    <a:pt x="653898" y="1091184"/>
                  </a:moveTo>
                  <a:cubicBezTo>
                    <a:pt x="895380" y="1091184"/>
                    <a:pt x="1091184" y="895462"/>
                    <a:pt x="1091265" y="653979"/>
                  </a:cubicBezTo>
                  <a:cubicBezTo>
                    <a:pt x="1091265" y="412496"/>
                    <a:pt x="895543" y="216692"/>
                    <a:pt x="654060" y="216611"/>
                  </a:cubicBezTo>
                  <a:cubicBezTo>
                    <a:pt x="412577" y="216611"/>
                    <a:pt x="216774" y="412333"/>
                    <a:pt x="216692" y="653816"/>
                  </a:cubicBezTo>
                  <a:lnTo>
                    <a:pt x="216692" y="653979"/>
                  </a:lnTo>
                  <a:cubicBezTo>
                    <a:pt x="216692" y="895462"/>
                    <a:pt x="412415" y="1091184"/>
                    <a:pt x="653898" y="1091184"/>
                  </a:cubicBezTo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7" name="Forma libre: forma 6">
              <a:extLst>
                <a:ext uri="{FF2B5EF4-FFF2-40B4-BE49-F238E27FC236}">
                  <a16:creationId xmlns:a16="http://schemas.microsoft.com/office/drawing/2014/main" id="{C65BD92E-20D6-7986-96E0-AECC6DDDF950}"/>
                </a:ext>
              </a:extLst>
            </p:cNvPr>
            <p:cNvSpPr/>
            <p:nvPr/>
          </p:nvSpPr>
          <p:spPr>
            <a:xfrm>
              <a:off x="1151981" y="2793797"/>
              <a:ext cx="219456" cy="1267968"/>
            </a:xfrm>
            <a:custGeom>
              <a:avLst/>
              <a:gdLst>
                <a:gd name="connsiteX0" fmla="*/ 216367 w 219456"/>
                <a:gd name="connsiteY0" fmla="*/ 6096 h 1267968"/>
                <a:gd name="connsiteX1" fmla="*/ 216367 w 219456"/>
                <a:gd name="connsiteY1" fmla="*/ 6096 h 1267968"/>
                <a:gd name="connsiteX2" fmla="*/ 216367 w 219456"/>
                <a:gd name="connsiteY2" fmla="*/ 1268212 h 1267968"/>
                <a:gd name="connsiteX3" fmla="*/ 6096 w 219456"/>
                <a:gd name="connsiteY3" fmla="*/ 1268212 h 1267968"/>
                <a:gd name="connsiteX4" fmla="*/ 6096 w 219456"/>
                <a:gd name="connsiteY4" fmla="*/ 216449 h 1267968"/>
                <a:gd name="connsiteX5" fmla="*/ 216367 w 219456"/>
                <a:gd name="connsiteY5" fmla="*/ 6096 h 126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19456" h="1267968">
                  <a:moveTo>
                    <a:pt x="216367" y="6096"/>
                  </a:moveTo>
                  <a:lnTo>
                    <a:pt x="216367" y="6096"/>
                  </a:lnTo>
                  <a:lnTo>
                    <a:pt x="216367" y="1268212"/>
                  </a:lnTo>
                  <a:lnTo>
                    <a:pt x="6096" y="1268212"/>
                  </a:lnTo>
                  <a:lnTo>
                    <a:pt x="6096" y="216449"/>
                  </a:lnTo>
                  <a:cubicBezTo>
                    <a:pt x="6096" y="100300"/>
                    <a:pt x="100218" y="6177"/>
                    <a:pt x="216367" y="6096"/>
                  </a:cubicBezTo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8" name="Forma libre: forma 7">
              <a:extLst>
                <a:ext uri="{FF2B5EF4-FFF2-40B4-BE49-F238E27FC236}">
                  <a16:creationId xmlns:a16="http://schemas.microsoft.com/office/drawing/2014/main" id="{AC30A666-A16F-9C24-2C74-D4703EF13F2E}"/>
                </a:ext>
              </a:extLst>
            </p:cNvPr>
            <p:cNvSpPr/>
            <p:nvPr/>
          </p:nvSpPr>
          <p:spPr>
            <a:xfrm>
              <a:off x="9373128" y="2793797"/>
              <a:ext cx="219456" cy="1267968"/>
            </a:xfrm>
            <a:custGeom>
              <a:avLst/>
              <a:gdLst>
                <a:gd name="connsiteX0" fmla="*/ 216368 w 219456"/>
                <a:gd name="connsiteY0" fmla="*/ 6096 h 1267968"/>
                <a:gd name="connsiteX1" fmla="*/ 216368 w 219456"/>
                <a:gd name="connsiteY1" fmla="*/ 6096 h 1267968"/>
                <a:gd name="connsiteX2" fmla="*/ 216368 w 219456"/>
                <a:gd name="connsiteY2" fmla="*/ 1268212 h 1267968"/>
                <a:gd name="connsiteX3" fmla="*/ 6096 w 219456"/>
                <a:gd name="connsiteY3" fmla="*/ 1268212 h 1267968"/>
                <a:gd name="connsiteX4" fmla="*/ 6096 w 219456"/>
                <a:gd name="connsiteY4" fmla="*/ 216449 h 1267968"/>
                <a:gd name="connsiteX5" fmla="*/ 216287 w 219456"/>
                <a:gd name="connsiteY5" fmla="*/ 6096 h 1267968"/>
                <a:gd name="connsiteX6" fmla="*/ 216368 w 219456"/>
                <a:gd name="connsiteY6" fmla="*/ 6096 h 126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19456" h="1267968">
                  <a:moveTo>
                    <a:pt x="216368" y="6096"/>
                  </a:moveTo>
                  <a:lnTo>
                    <a:pt x="216368" y="6096"/>
                  </a:lnTo>
                  <a:lnTo>
                    <a:pt x="216368" y="1268212"/>
                  </a:lnTo>
                  <a:lnTo>
                    <a:pt x="6096" y="1268212"/>
                  </a:lnTo>
                  <a:lnTo>
                    <a:pt x="6096" y="216449"/>
                  </a:lnTo>
                  <a:cubicBezTo>
                    <a:pt x="6096" y="100300"/>
                    <a:pt x="100138" y="6177"/>
                    <a:pt x="216287" y="6096"/>
                  </a:cubicBezTo>
                  <a:lnTo>
                    <a:pt x="216368" y="6096"/>
                  </a:lnTo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9" name="Forma libre: forma 8">
              <a:extLst>
                <a:ext uri="{FF2B5EF4-FFF2-40B4-BE49-F238E27FC236}">
                  <a16:creationId xmlns:a16="http://schemas.microsoft.com/office/drawing/2014/main" id="{03C0D1C2-0C71-6F82-2E78-B2C25BC3B3FC}"/>
                </a:ext>
              </a:extLst>
            </p:cNvPr>
            <p:cNvSpPr/>
            <p:nvPr/>
          </p:nvSpPr>
          <p:spPr>
            <a:xfrm>
              <a:off x="8111012" y="2793878"/>
              <a:ext cx="1056640" cy="1267968"/>
            </a:xfrm>
            <a:custGeom>
              <a:avLst/>
              <a:gdLst>
                <a:gd name="connsiteX0" fmla="*/ 74046 w 1056640"/>
                <a:gd name="connsiteY0" fmla="*/ 6096 h 1267968"/>
                <a:gd name="connsiteX1" fmla="*/ 6096 w 1056640"/>
                <a:gd name="connsiteY1" fmla="*/ 216367 h 1267968"/>
                <a:gd name="connsiteX2" fmla="*/ 426802 w 1056640"/>
                <a:gd name="connsiteY2" fmla="*/ 216367 h 1267968"/>
                <a:gd name="connsiteX3" fmla="*/ 426802 w 1056640"/>
                <a:gd name="connsiteY3" fmla="*/ 1268131 h 1267968"/>
                <a:gd name="connsiteX4" fmla="*/ 637155 w 1056640"/>
                <a:gd name="connsiteY4" fmla="*/ 1268131 h 1267968"/>
                <a:gd name="connsiteX5" fmla="*/ 637155 w 1056640"/>
                <a:gd name="connsiteY5" fmla="*/ 216367 h 1267968"/>
                <a:gd name="connsiteX6" fmla="*/ 847507 w 1056640"/>
                <a:gd name="connsiteY6" fmla="*/ 216367 h 1267968"/>
                <a:gd name="connsiteX7" fmla="*/ 1057860 w 1056640"/>
                <a:gd name="connsiteY7" fmla="*/ 6096 h 1267968"/>
                <a:gd name="connsiteX8" fmla="*/ 74046 w 1056640"/>
                <a:gd name="connsiteY8" fmla="*/ 6096 h 126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056640" h="1267968">
                  <a:moveTo>
                    <a:pt x="74046" y="6096"/>
                  </a:moveTo>
                  <a:lnTo>
                    <a:pt x="6096" y="216367"/>
                  </a:lnTo>
                  <a:lnTo>
                    <a:pt x="426802" y="216367"/>
                  </a:lnTo>
                  <a:lnTo>
                    <a:pt x="426802" y="1268131"/>
                  </a:lnTo>
                  <a:lnTo>
                    <a:pt x="637155" y="1268131"/>
                  </a:lnTo>
                  <a:lnTo>
                    <a:pt x="637155" y="216367"/>
                  </a:lnTo>
                  <a:lnTo>
                    <a:pt x="847507" y="216367"/>
                  </a:lnTo>
                  <a:cubicBezTo>
                    <a:pt x="963656" y="216367"/>
                    <a:pt x="1057779" y="122245"/>
                    <a:pt x="1057860" y="6096"/>
                  </a:cubicBezTo>
                  <a:lnTo>
                    <a:pt x="74046" y="6096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10" name="Forma libre: forma 9">
              <a:extLst>
                <a:ext uri="{FF2B5EF4-FFF2-40B4-BE49-F238E27FC236}">
                  <a16:creationId xmlns:a16="http://schemas.microsoft.com/office/drawing/2014/main" id="{DB59BABA-D6A2-25DD-8658-81911F0DD52D}"/>
                </a:ext>
              </a:extLst>
            </p:cNvPr>
            <p:cNvSpPr/>
            <p:nvPr/>
          </p:nvSpPr>
          <p:spPr>
            <a:xfrm>
              <a:off x="1602108" y="2793797"/>
              <a:ext cx="845312" cy="1267968"/>
            </a:xfrm>
            <a:custGeom>
              <a:avLst/>
              <a:gdLst>
                <a:gd name="connsiteX0" fmla="*/ 216288 w 845312"/>
                <a:gd name="connsiteY0" fmla="*/ 1057859 h 1267968"/>
                <a:gd name="connsiteX1" fmla="*/ 216288 w 845312"/>
                <a:gd name="connsiteY1" fmla="*/ 6096 h 1267968"/>
                <a:gd name="connsiteX2" fmla="*/ 6098 w 845312"/>
                <a:gd name="connsiteY2" fmla="*/ 6096 h 1267968"/>
                <a:gd name="connsiteX3" fmla="*/ 6098 w 845312"/>
                <a:gd name="connsiteY3" fmla="*/ 1057859 h 1267968"/>
                <a:gd name="connsiteX4" fmla="*/ 6098 w 845312"/>
                <a:gd name="connsiteY4" fmla="*/ 1057859 h 1267968"/>
                <a:gd name="connsiteX5" fmla="*/ 14226 w 845312"/>
                <a:gd name="connsiteY5" fmla="*/ 1116706 h 1267968"/>
                <a:gd name="connsiteX6" fmla="*/ 15201 w 845312"/>
                <a:gd name="connsiteY6" fmla="*/ 1120364 h 1267968"/>
                <a:gd name="connsiteX7" fmla="*/ 17071 w 845312"/>
                <a:gd name="connsiteY7" fmla="*/ 1125566 h 1267968"/>
                <a:gd name="connsiteX8" fmla="*/ 22598 w 845312"/>
                <a:gd name="connsiteY8" fmla="*/ 1140358 h 1267968"/>
                <a:gd name="connsiteX9" fmla="*/ 52021 w 845312"/>
                <a:gd name="connsiteY9" fmla="*/ 1189126 h 1267968"/>
                <a:gd name="connsiteX10" fmla="*/ 124685 w 845312"/>
                <a:gd name="connsiteY10" fmla="*/ 1246916 h 1267968"/>
                <a:gd name="connsiteX11" fmla="*/ 216125 w 845312"/>
                <a:gd name="connsiteY11" fmla="*/ 1268049 h 1267968"/>
                <a:gd name="connsiteX12" fmla="*/ 776957 w 845312"/>
                <a:gd name="connsiteY12" fmla="*/ 1268049 h 1267968"/>
                <a:gd name="connsiteX13" fmla="*/ 847021 w 845312"/>
                <a:gd name="connsiteY13" fmla="*/ 1057697 h 1267968"/>
                <a:gd name="connsiteX14" fmla="*/ 216288 w 845312"/>
                <a:gd name="connsiteY14" fmla="*/ 1057859 h 126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845312" h="1267968">
                  <a:moveTo>
                    <a:pt x="216288" y="1057859"/>
                  </a:moveTo>
                  <a:lnTo>
                    <a:pt x="216288" y="6096"/>
                  </a:lnTo>
                  <a:lnTo>
                    <a:pt x="6098" y="6096"/>
                  </a:lnTo>
                  <a:lnTo>
                    <a:pt x="6098" y="1057859"/>
                  </a:lnTo>
                  <a:lnTo>
                    <a:pt x="6098" y="1057859"/>
                  </a:lnTo>
                  <a:cubicBezTo>
                    <a:pt x="6017" y="1077773"/>
                    <a:pt x="8699" y="1097605"/>
                    <a:pt x="14226" y="1116706"/>
                  </a:cubicBezTo>
                  <a:cubicBezTo>
                    <a:pt x="14632" y="1117925"/>
                    <a:pt x="14795" y="1119226"/>
                    <a:pt x="15201" y="1120364"/>
                  </a:cubicBezTo>
                  <a:cubicBezTo>
                    <a:pt x="15608" y="1121502"/>
                    <a:pt x="16502" y="1123859"/>
                    <a:pt x="17071" y="1125566"/>
                  </a:cubicBezTo>
                  <a:cubicBezTo>
                    <a:pt x="18777" y="1130605"/>
                    <a:pt x="20566" y="1135563"/>
                    <a:pt x="22598" y="1140358"/>
                  </a:cubicBezTo>
                  <a:cubicBezTo>
                    <a:pt x="30157" y="1157915"/>
                    <a:pt x="40073" y="1174252"/>
                    <a:pt x="52021" y="1189126"/>
                  </a:cubicBezTo>
                  <a:cubicBezTo>
                    <a:pt x="71691" y="1213510"/>
                    <a:pt x="96481" y="1233262"/>
                    <a:pt x="124685" y="1246916"/>
                  </a:cubicBezTo>
                  <a:cubicBezTo>
                    <a:pt x="153215" y="1260734"/>
                    <a:pt x="184426" y="1267968"/>
                    <a:pt x="216125" y="1268049"/>
                  </a:cubicBezTo>
                  <a:lnTo>
                    <a:pt x="776957" y="1268049"/>
                  </a:lnTo>
                  <a:lnTo>
                    <a:pt x="847021" y="1057697"/>
                  </a:lnTo>
                  <a:lnTo>
                    <a:pt x="216288" y="1057859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11" name="Forma libre: forma 10">
              <a:extLst>
                <a:ext uri="{FF2B5EF4-FFF2-40B4-BE49-F238E27FC236}">
                  <a16:creationId xmlns:a16="http://schemas.microsoft.com/office/drawing/2014/main" id="{91A11510-B6B2-61B1-AB18-54FF03FEF005}"/>
                </a:ext>
              </a:extLst>
            </p:cNvPr>
            <p:cNvSpPr/>
            <p:nvPr/>
          </p:nvSpPr>
          <p:spPr>
            <a:xfrm>
              <a:off x="-6096" y="2794284"/>
              <a:ext cx="959104" cy="1267968"/>
            </a:xfrm>
            <a:custGeom>
              <a:avLst/>
              <a:gdLst>
                <a:gd name="connsiteX0" fmla="*/ 818815 w 959104"/>
                <a:gd name="connsiteY0" fmla="*/ 411764 h 1267968"/>
                <a:gd name="connsiteX1" fmla="*/ 818815 w 959104"/>
                <a:gd name="connsiteY1" fmla="*/ 285699 h 1267968"/>
                <a:gd name="connsiteX2" fmla="*/ 539130 w 959104"/>
                <a:gd name="connsiteY2" fmla="*/ 6096 h 1267968"/>
                <a:gd name="connsiteX3" fmla="*/ 6096 w 959104"/>
                <a:gd name="connsiteY3" fmla="*/ 6096 h 1267968"/>
                <a:gd name="connsiteX4" fmla="*/ 6096 w 959104"/>
                <a:gd name="connsiteY4" fmla="*/ 1057047 h 1267968"/>
                <a:gd name="connsiteX5" fmla="*/ 216367 w 959104"/>
                <a:gd name="connsiteY5" fmla="*/ 1267399 h 1267968"/>
                <a:gd name="connsiteX6" fmla="*/ 532140 w 959104"/>
                <a:gd name="connsiteY6" fmla="*/ 1267399 h 1267968"/>
                <a:gd name="connsiteX7" fmla="*/ 953821 w 959104"/>
                <a:gd name="connsiteY7" fmla="*/ 892861 h 1267968"/>
                <a:gd name="connsiteX8" fmla="*/ 603260 w 959104"/>
                <a:gd name="connsiteY8" fmla="*/ 530596 h 1267968"/>
                <a:gd name="connsiteX9" fmla="*/ 218562 w 959104"/>
                <a:gd name="connsiteY9" fmla="*/ 531490 h 1267968"/>
                <a:gd name="connsiteX10" fmla="*/ 424282 w 959104"/>
                <a:gd name="connsiteY10" fmla="*/ 737210 h 1267968"/>
                <a:gd name="connsiteX11" fmla="*/ 424932 w 959104"/>
                <a:gd name="connsiteY11" fmla="*/ 737210 h 1267968"/>
                <a:gd name="connsiteX12" fmla="*/ 585785 w 959104"/>
                <a:gd name="connsiteY12" fmla="*/ 737210 h 1267968"/>
                <a:gd name="connsiteX13" fmla="*/ 758261 w 959104"/>
                <a:gd name="connsiteY13" fmla="*/ 889203 h 1267968"/>
                <a:gd name="connsiteX14" fmla="*/ 606268 w 959104"/>
                <a:gd name="connsiteY14" fmla="*/ 1061679 h 1267968"/>
                <a:gd name="connsiteX15" fmla="*/ 585704 w 959104"/>
                <a:gd name="connsiteY15" fmla="*/ 1061679 h 1267968"/>
                <a:gd name="connsiteX16" fmla="*/ 216530 w 959104"/>
                <a:gd name="connsiteY16" fmla="*/ 1061679 h 1267968"/>
                <a:gd name="connsiteX17" fmla="*/ 216530 w 959104"/>
                <a:gd name="connsiteY17" fmla="*/ 211653 h 1267968"/>
                <a:gd name="connsiteX18" fmla="*/ 467685 w 959104"/>
                <a:gd name="connsiteY18" fmla="*/ 211653 h 1267968"/>
                <a:gd name="connsiteX19" fmla="*/ 612689 w 959104"/>
                <a:gd name="connsiteY19" fmla="*/ 356575 h 1267968"/>
                <a:gd name="connsiteX20" fmla="*/ 612689 w 959104"/>
                <a:gd name="connsiteY20" fmla="*/ 530352 h 1267968"/>
                <a:gd name="connsiteX21" fmla="*/ 818815 w 959104"/>
                <a:gd name="connsiteY21" fmla="*/ 411764 h 126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959104" h="1267968">
                  <a:moveTo>
                    <a:pt x="818815" y="411764"/>
                  </a:moveTo>
                  <a:lnTo>
                    <a:pt x="818815" y="285699"/>
                  </a:lnTo>
                  <a:cubicBezTo>
                    <a:pt x="818815" y="131267"/>
                    <a:pt x="693562" y="6096"/>
                    <a:pt x="539130" y="6096"/>
                  </a:cubicBezTo>
                  <a:lnTo>
                    <a:pt x="6096" y="6096"/>
                  </a:lnTo>
                  <a:lnTo>
                    <a:pt x="6096" y="1057047"/>
                  </a:lnTo>
                  <a:cubicBezTo>
                    <a:pt x="6096" y="1173196"/>
                    <a:pt x="100218" y="1267318"/>
                    <a:pt x="216367" y="1267399"/>
                  </a:cubicBezTo>
                  <a:lnTo>
                    <a:pt x="532140" y="1267399"/>
                  </a:lnTo>
                  <a:cubicBezTo>
                    <a:pt x="807436" y="1267399"/>
                    <a:pt x="953821" y="1096711"/>
                    <a:pt x="953821" y="892861"/>
                  </a:cubicBezTo>
                  <a:cubicBezTo>
                    <a:pt x="953821" y="725587"/>
                    <a:pt x="840029" y="530596"/>
                    <a:pt x="603260" y="530596"/>
                  </a:cubicBezTo>
                  <a:lnTo>
                    <a:pt x="218562" y="531490"/>
                  </a:lnTo>
                  <a:cubicBezTo>
                    <a:pt x="218562" y="645119"/>
                    <a:pt x="310652" y="737210"/>
                    <a:pt x="424282" y="737210"/>
                  </a:cubicBezTo>
                  <a:cubicBezTo>
                    <a:pt x="424525" y="737210"/>
                    <a:pt x="424688" y="737210"/>
                    <a:pt x="424932" y="737210"/>
                  </a:cubicBezTo>
                  <a:lnTo>
                    <a:pt x="585785" y="737210"/>
                  </a:lnTo>
                  <a:cubicBezTo>
                    <a:pt x="675356" y="731520"/>
                    <a:pt x="752653" y="799551"/>
                    <a:pt x="758261" y="889203"/>
                  </a:cubicBezTo>
                  <a:cubicBezTo>
                    <a:pt x="763951" y="978774"/>
                    <a:pt x="695919" y="1056071"/>
                    <a:pt x="606268" y="1061679"/>
                  </a:cubicBezTo>
                  <a:cubicBezTo>
                    <a:pt x="599440" y="1062086"/>
                    <a:pt x="592531" y="1062086"/>
                    <a:pt x="585704" y="1061679"/>
                  </a:cubicBezTo>
                  <a:lnTo>
                    <a:pt x="216530" y="1061679"/>
                  </a:lnTo>
                  <a:lnTo>
                    <a:pt x="216530" y="211653"/>
                  </a:lnTo>
                  <a:lnTo>
                    <a:pt x="467685" y="211653"/>
                  </a:lnTo>
                  <a:cubicBezTo>
                    <a:pt x="547014" y="213441"/>
                    <a:pt x="610901" y="277246"/>
                    <a:pt x="612689" y="356575"/>
                  </a:cubicBezTo>
                  <a:lnTo>
                    <a:pt x="612689" y="530352"/>
                  </a:lnTo>
                  <a:lnTo>
                    <a:pt x="818815" y="411764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12" name="Forma libre: forma 11">
              <a:extLst>
                <a:ext uri="{FF2B5EF4-FFF2-40B4-BE49-F238E27FC236}">
                  <a16:creationId xmlns:a16="http://schemas.microsoft.com/office/drawing/2014/main" id="{67CE3DE5-3A52-CFAE-B7EB-3540C79C1E8E}"/>
                </a:ext>
              </a:extLst>
            </p:cNvPr>
            <p:cNvSpPr/>
            <p:nvPr/>
          </p:nvSpPr>
          <p:spPr>
            <a:xfrm>
              <a:off x="2653792" y="2794284"/>
              <a:ext cx="959104" cy="1267968"/>
            </a:xfrm>
            <a:custGeom>
              <a:avLst/>
              <a:gdLst>
                <a:gd name="connsiteX0" fmla="*/ 818896 w 959104"/>
                <a:gd name="connsiteY0" fmla="*/ 411764 h 1267968"/>
                <a:gd name="connsiteX1" fmla="*/ 818896 w 959104"/>
                <a:gd name="connsiteY1" fmla="*/ 285699 h 1267968"/>
                <a:gd name="connsiteX2" fmla="*/ 539212 w 959104"/>
                <a:gd name="connsiteY2" fmla="*/ 6096 h 1267968"/>
                <a:gd name="connsiteX3" fmla="*/ 6096 w 959104"/>
                <a:gd name="connsiteY3" fmla="*/ 6096 h 1267968"/>
                <a:gd name="connsiteX4" fmla="*/ 6096 w 959104"/>
                <a:gd name="connsiteY4" fmla="*/ 1057047 h 1267968"/>
                <a:gd name="connsiteX5" fmla="*/ 216449 w 959104"/>
                <a:gd name="connsiteY5" fmla="*/ 1267399 h 1267968"/>
                <a:gd name="connsiteX6" fmla="*/ 532222 w 959104"/>
                <a:gd name="connsiteY6" fmla="*/ 1267399 h 1267968"/>
                <a:gd name="connsiteX7" fmla="*/ 953821 w 959104"/>
                <a:gd name="connsiteY7" fmla="*/ 892861 h 1267968"/>
                <a:gd name="connsiteX8" fmla="*/ 603342 w 959104"/>
                <a:gd name="connsiteY8" fmla="*/ 530596 h 1267968"/>
                <a:gd name="connsiteX9" fmla="*/ 218643 w 959104"/>
                <a:gd name="connsiteY9" fmla="*/ 531490 h 1267968"/>
                <a:gd name="connsiteX10" fmla="*/ 424363 w 959104"/>
                <a:gd name="connsiteY10" fmla="*/ 737210 h 1267968"/>
                <a:gd name="connsiteX11" fmla="*/ 424932 w 959104"/>
                <a:gd name="connsiteY11" fmla="*/ 737210 h 1267968"/>
                <a:gd name="connsiteX12" fmla="*/ 585866 w 959104"/>
                <a:gd name="connsiteY12" fmla="*/ 737210 h 1267968"/>
                <a:gd name="connsiteX13" fmla="*/ 737860 w 959104"/>
                <a:gd name="connsiteY13" fmla="*/ 909686 h 1267968"/>
                <a:gd name="connsiteX14" fmla="*/ 585866 w 959104"/>
                <a:gd name="connsiteY14" fmla="*/ 1061679 h 1267968"/>
                <a:gd name="connsiteX15" fmla="*/ 216611 w 959104"/>
                <a:gd name="connsiteY15" fmla="*/ 1061679 h 1267968"/>
                <a:gd name="connsiteX16" fmla="*/ 216611 w 959104"/>
                <a:gd name="connsiteY16" fmla="*/ 211653 h 1267968"/>
                <a:gd name="connsiteX17" fmla="*/ 467766 w 959104"/>
                <a:gd name="connsiteY17" fmla="*/ 211653 h 1267968"/>
                <a:gd name="connsiteX18" fmla="*/ 612770 w 959104"/>
                <a:gd name="connsiteY18" fmla="*/ 356575 h 1267968"/>
                <a:gd name="connsiteX19" fmla="*/ 612770 w 959104"/>
                <a:gd name="connsiteY19" fmla="*/ 530352 h 1267968"/>
                <a:gd name="connsiteX20" fmla="*/ 818896 w 959104"/>
                <a:gd name="connsiteY20" fmla="*/ 411764 h 126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959104" h="1267968">
                  <a:moveTo>
                    <a:pt x="818896" y="411764"/>
                  </a:moveTo>
                  <a:lnTo>
                    <a:pt x="818896" y="285699"/>
                  </a:lnTo>
                  <a:cubicBezTo>
                    <a:pt x="818896" y="131267"/>
                    <a:pt x="693644" y="6096"/>
                    <a:pt x="539212" y="6096"/>
                  </a:cubicBezTo>
                  <a:lnTo>
                    <a:pt x="6096" y="6096"/>
                  </a:lnTo>
                  <a:lnTo>
                    <a:pt x="6096" y="1057047"/>
                  </a:lnTo>
                  <a:cubicBezTo>
                    <a:pt x="6096" y="1173196"/>
                    <a:pt x="100299" y="1267399"/>
                    <a:pt x="216449" y="1267399"/>
                  </a:cubicBezTo>
                  <a:lnTo>
                    <a:pt x="532222" y="1267399"/>
                  </a:lnTo>
                  <a:cubicBezTo>
                    <a:pt x="807517" y="1267399"/>
                    <a:pt x="953821" y="1096711"/>
                    <a:pt x="953821" y="892861"/>
                  </a:cubicBezTo>
                  <a:cubicBezTo>
                    <a:pt x="953821" y="725587"/>
                    <a:pt x="840029" y="530596"/>
                    <a:pt x="603342" y="530596"/>
                  </a:cubicBezTo>
                  <a:lnTo>
                    <a:pt x="218643" y="531490"/>
                  </a:lnTo>
                  <a:cubicBezTo>
                    <a:pt x="218643" y="645119"/>
                    <a:pt x="310734" y="737210"/>
                    <a:pt x="424363" y="737210"/>
                  </a:cubicBezTo>
                  <a:cubicBezTo>
                    <a:pt x="424526" y="737210"/>
                    <a:pt x="424769" y="737210"/>
                    <a:pt x="424932" y="737210"/>
                  </a:cubicBezTo>
                  <a:lnTo>
                    <a:pt x="585866" y="737210"/>
                  </a:lnTo>
                  <a:cubicBezTo>
                    <a:pt x="675437" y="742899"/>
                    <a:pt x="743468" y="820115"/>
                    <a:pt x="737860" y="909686"/>
                  </a:cubicBezTo>
                  <a:cubicBezTo>
                    <a:pt x="732658" y="991372"/>
                    <a:pt x="667553" y="1056477"/>
                    <a:pt x="585866" y="1061679"/>
                  </a:cubicBezTo>
                  <a:lnTo>
                    <a:pt x="216611" y="1061679"/>
                  </a:lnTo>
                  <a:lnTo>
                    <a:pt x="216611" y="211653"/>
                  </a:lnTo>
                  <a:lnTo>
                    <a:pt x="467766" y="211653"/>
                  </a:lnTo>
                  <a:cubicBezTo>
                    <a:pt x="547096" y="213441"/>
                    <a:pt x="610982" y="277246"/>
                    <a:pt x="612770" y="356575"/>
                  </a:cubicBezTo>
                  <a:lnTo>
                    <a:pt x="612770" y="530352"/>
                  </a:lnTo>
                  <a:lnTo>
                    <a:pt x="818896" y="411764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13" name="Forma libre: forma 12">
              <a:extLst>
                <a:ext uri="{FF2B5EF4-FFF2-40B4-BE49-F238E27FC236}">
                  <a16:creationId xmlns:a16="http://schemas.microsoft.com/office/drawing/2014/main" id="{B9F5DFCE-0EE7-7F9B-4B3F-C9AD5540887C}"/>
                </a:ext>
              </a:extLst>
            </p:cNvPr>
            <p:cNvSpPr/>
            <p:nvPr/>
          </p:nvSpPr>
          <p:spPr>
            <a:xfrm>
              <a:off x="5297343" y="2793878"/>
              <a:ext cx="219456" cy="1267968"/>
            </a:xfrm>
            <a:custGeom>
              <a:avLst/>
              <a:gdLst>
                <a:gd name="connsiteX0" fmla="*/ 6096 w 219456"/>
                <a:gd name="connsiteY0" fmla="*/ 6096 h 1267968"/>
                <a:gd name="connsiteX1" fmla="*/ 216449 w 219456"/>
                <a:gd name="connsiteY1" fmla="*/ 6096 h 1267968"/>
                <a:gd name="connsiteX2" fmla="*/ 216449 w 219456"/>
                <a:gd name="connsiteY2" fmla="*/ 1268212 h 1267968"/>
                <a:gd name="connsiteX3" fmla="*/ 6096 w 219456"/>
                <a:gd name="connsiteY3" fmla="*/ 1268212 h 126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19456" h="1267968">
                  <a:moveTo>
                    <a:pt x="6096" y="6096"/>
                  </a:moveTo>
                  <a:lnTo>
                    <a:pt x="216449" y="6096"/>
                  </a:lnTo>
                  <a:lnTo>
                    <a:pt x="216449" y="1268212"/>
                  </a:lnTo>
                  <a:lnTo>
                    <a:pt x="6096" y="1268212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14" name="Forma libre: forma 13">
              <a:extLst>
                <a:ext uri="{FF2B5EF4-FFF2-40B4-BE49-F238E27FC236}">
                  <a16:creationId xmlns:a16="http://schemas.microsoft.com/office/drawing/2014/main" id="{D971D274-3D68-226C-A13E-E8A9AF4FB509}"/>
                </a:ext>
              </a:extLst>
            </p:cNvPr>
            <p:cNvSpPr/>
            <p:nvPr/>
          </p:nvSpPr>
          <p:spPr>
            <a:xfrm>
              <a:off x="5507695" y="2793634"/>
              <a:ext cx="487680" cy="1267968"/>
            </a:xfrm>
            <a:custGeom>
              <a:avLst/>
              <a:gdLst>
                <a:gd name="connsiteX0" fmla="*/ 426557 w 487680"/>
                <a:gd name="connsiteY0" fmla="*/ 1268375 h 1267968"/>
                <a:gd name="connsiteX1" fmla="*/ 485323 w 487680"/>
                <a:gd name="connsiteY1" fmla="*/ 1268375 h 1267968"/>
                <a:gd name="connsiteX2" fmla="*/ 248067 w 487680"/>
                <a:gd name="connsiteY2" fmla="*/ 154838 h 1267968"/>
                <a:gd name="connsiteX3" fmla="*/ 64861 w 487680"/>
                <a:gd name="connsiteY3" fmla="*/ 6096 h 1267968"/>
                <a:gd name="connsiteX4" fmla="*/ 6096 w 487680"/>
                <a:gd name="connsiteY4" fmla="*/ 6096 h 1267968"/>
                <a:gd name="connsiteX5" fmla="*/ 243352 w 487680"/>
                <a:gd name="connsiteY5" fmla="*/ 1119632 h 1267968"/>
                <a:gd name="connsiteX6" fmla="*/ 426557 w 487680"/>
                <a:gd name="connsiteY6" fmla="*/ 1267968 h 126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87680" h="1267968">
                  <a:moveTo>
                    <a:pt x="426557" y="1268375"/>
                  </a:moveTo>
                  <a:lnTo>
                    <a:pt x="485323" y="1268375"/>
                  </a:lnTo>
                  <a:lnTo>
                    <a:pt x="248067" y="154838"/>
                  </a:lnTo>
                  <a:cubicBezTo>
                    <a:pt x="229535" y="68356"/>
                    <a:pt x="153294" y="6421"/>
                    <a:pt x="64861" y="6096"/>
                  </a:cubicBezTo>
                  <a:lnTo>
                    <a:pt x="6096" y="6096"/>
                  </a:lnTo>
                  <a:lnTo>
                    <a:pt x="243352" y="1119632"/>
                  </a:lnTo>
                  <a:cubicBezTo>
                    <a:pt x="261803" y="1206114"/>
                    <a:pt x="338125" y="1267887"/>
                    <a:pt x="426557" y="1267968"/>
                  </a:cubicBezTo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15" name="Forma libre: forma 14">
              <a:extLst>
                <a:ext uri="{FF2B5EF4-FFF2-40B4-BE49-F238E27FC236}">
                  <a16:creationId xmlns:a16="http://schemas.microsoft.com/office/drawing/2014/main" id="{C123AA5D-66E9-87BE-05EA-FA552083DAE8}"/>
                </a:ext>
              </a:extLst>
            </p:cNvPr>
            <p:cNvSpPr/>
            <p:nvPr/>
          </p:nvSpPr>
          <p:spPr>
            <a:xfrm>
              <a:off x="5986922" y="2794284"/>
              <a:ext cx="487680" cy="1267968"/>
            </a:xfrm>
            <a:custGeom>
              <a:avLst/>
              <a:gdLst>
                <a:gd name="connsiteX0" fmla="*/ 243271 w 487680"/>
                <a:gd name="connsiteY0" fmla="*/ 154595 h 1267968"/>
                <a:gd name="connsiteX1" fmla="*/ 6096 w 487680"/>
                <a:gd name="connsiteY1" fmla="*/ 1268131 h 1267968"/>
                <a:gd name="connsiteX2" fmla="*/ 216367 w 487680"/>
                <a:gd name="connsiteY2" fmla="*/ 1268131 h 1267968"/>
                <a:gd name="connsiteX3" fmla="*/ 485323 w 487680"/>
                <a:gd name="connsiteY3" fmla="*/ 6096 h 1267968"/>
                <a:gd name="connsiteX4" fmla="*/ 426557 w 487680"/>
                <a:gd name="connsiteY4" fmla="*/ 6096 h 1267968"/>
                <a:gd name="connsiteX5" fmla="*/ 243271 w 487680"/>
                <a:gd name="connsiteY5" fmla="*/ 155001 h 126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87680" h="1267968">
                  <a:moveTo>
                    <a:pt x="243271" y="154595"/>
                  </a:moveTo>
                  <a:lnTo>
                    <a:pt x="6096" y="1268131"/>
                  </a:lnTo>
                  <a:lnTo>
                    <a:pt x="216367" y="1268131"/>
                  </a:lnTo>
                  <a:lnTo>
                    <a:pt x="485323" y="6096"/>
                  </a:lnTo>
                  <a:lnTo>
                    <a:pt x="426557" y="6096"/>
                  </a:lnTo>
                  <a:cubicBezTo>
                    <a:pt x="338043" y="6421"/>
                    <a:pt x="261722" y="68438"/>
                    <a:pt x="243271" y="155001"/>
                  </a:cubicBezTo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16" name="Forma libre: forma 15">
              <a:extLst>
                <a:ext uri="{FF2B5EF4-FFF2-40B4-BE49-F238E27FC236}">
                  <a16:creationId xmlns:a16="http://schemas.microsoft.com/office/drawing/2014/main" id="{474AF063-7E28-A64D-1050-83A26594F16F}"/>
                </a:ext>
              </a:extLst>
            </p:cNvPr>
            <p:cNvSpPr/>
            <p:nvPr/>
          </p:nvSpPr>
          <p:spPr>
            <a:xfrm>
              <a:off x="6466149" y="2793878"/>
              <a:ext cx="219456" cy="1267968"/>
            </a:xfrm>
            <a:custGeom>
              <a:avLst/>
              <a:gdLst>
                <a:gd name="connsiteX0" fmla="*/ 6096 w 219456"/>
                <a:gd name="connsiteY0" fmla="*/ 6096 h 1267968"/>
                <a:gd name="connsiteX1" fmla="*/ 216449 w 219456"/>
                <a:gd name="connsiteY1" fmla="*/ 6096 h 1267968"/>
                <a:gd name="connsiteX2" fmla="*/ 216449 w 219456"/>
                <a:gd name="connsiteY2" fmla="*/ 1268212 h 1267968"/>
                <a:gd name="connsiteX3" fmla="*/ 6096 w 219456"/>
                <a:gd name="connsiteY3" fmla="*/ 1268212 h 126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19456" h="1267968">
                  <a:moveTo>
                    <a:pt x="6096" y="6096"/>
                  </a:moveTo>
                  <a:lnTo>
                    <a:pt x="216449" y="6096"/>
                  </a:lnTo>
                  <a:lnTo>
                    <a:pt x="216449" y="1268212"/>
                  </a:lnTo>
                  <a:lnTo>
                    <a:pt x="6096" y="1268212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35" name="Forma libre: forma 34">
              <a:extLst>
                <a:ext uri="{FF2B5EF4-FFF2-40B4-BE49-F238E27FC236}">
                  <a16:creationId xmlns:a16="http://schemas.microsoft.com/office/drawing/2014/main" id="{870B33A1-89FD-43D6-181A-E61A727A3D7B}"/>
                </a:ext>
              </a:extLst>
            </p:cNvPr>
            <p:cNvSpPr/>
            <p:nvPr/>
          </p:nvSpPr>
          <p:spPr>
            <a:xfrm>
              <a:off x="9815617" y="2776728"/>
              <a:ext cx="950976" cy="1300480"/>
            </a:xfrm>
            <a:custGeom>
              <a:avLst/>
              <a:gdLst>
                <a:gd name="connsiteX0" fmla="*/ 889935 w 950976"/>
                <a:gd name="connsiteY0" fmla="*/ 286350 h 1300480"/>
                <a:gd name="connsiteX1" fmla="*/ 285618 w 950976"/>
                <a:gd name="connsiteY1" fmla="*/ 417779 h 1300480"/>
                <a:gd name="connsiteX2" fmla="*/ 417047 w 950976"/>
                <a:gd name="connsiteY2" fmla="*/ 1022096 h 1300480"/>
                <a:gd name="connsiteX3" fmla="*/ 653410 w 950976"/>
                <a:gd name="connsiteY3" fmla="*/ 1091509 h 1300480"/>
                <a:gd name="connsiteX4" fmla="*/ 927242 w 950976"/>
                <a:gd name="connsiteY4" fmla="*/ 997712 h 1300480"/>
                <a:gd name="connsiteX5" fmla="*/ 927242 w 950976"/>
                <a:gd name="connsiteY5" fmla="*/ 1240170 h 1300480"/>
                <a:gd name="connsiteX6" fmla="*/ 653736 w 950976"/>
                <a:gd name="connsiteY6" fmla="*/ 1301862 h 1300480"/>
                <a:gd name="connsiteX7" fmla="*/ 6096 w 950976"/>
                <a:gd name="connsiteY7" fmla="*/ 653735 h 1300480"/>
                <a:gd name="connsiteX8" fmla="*/ 654304 w 950976"/>
                <a:gd name="connsiteY8" fmla="*/ 6096 h 1300480"/>
                <a:gd name="connsiteX9" fmla="*/ 948050 w 950976"/>
                <a:gd name="connsiteY9" fmla="*/ 76647 h 1300480"/>
                <a:gd name="connsiteX10" fmla="*/ 889935 w 950976"/>
                <a:gd name="connsiteY10" fmla="*/ 286350 h 13004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950976" h="1300480">
                  <a:moveTo>
                    <a:pt x="889935" y="286350"/>
                  </a:moveTo>
                  <a:cubicBezTo>
                    <a:pt x="686735" y="155814"/>
                    <a:pt x="416235" y="214661"/>
                    <a:pt x="285618" y="417779"/>
                  </a:cubicBezTo>
                  <a:cubicBezTo>
                    <a:pt x="155082" y="620979"/>
                    <a:pt x="213929" y="891479"/>
                    <a:pt x="417047" y="1022096"/>
                  </a:cubicBezTo>
                  <a:cubicBezTo>
                    <a:pt x="487599" y="1067369"/>
                    <a:pt x="569610" y="1091509"/>
                    <a:pt x="653410" y="1091509"/>
                  </a:cubicBezTo>
                  <a:cubicBezTo>
                    <a:pt x="752571" y="1091753"/>
                    <a:pt x="849051" y="1058753"/>
                    <a:pt x="927242" y="997712"/>
                  </a:cubicBezTo>
                  <a:lnTo>
                    <a:pt x="927242" y="1240170"/>
                  </a:lnTo>
                  <a:cubicBezTo>
                    <a:pt x="841817" y="1280892"/>
                    <a:pt x="748345" y="1302024"/>
                    <a:pt x="653736" y="1301862"/>
                  </a:cubicBezTo>
                  <a:cubicBezTo>
                    <a:pt x="295941" y="1301699"/>
                    <a:pt x="5933" y="1011530"/>
                    <a:pt x="6096" y="653735"/>
                  </a:cubicBezTo>
                  <a:cubicBezTo>
                    <a:pt x="6259" y="295941"/>
                    <a:pt x="296428" y="5934"/>
                    <a:pt x="654304" y="6096"/>
                  </a:cubicBezTo>
                  <a:cubicBezTo>
                    <a:pt x="756391" y="6096"/>
                    <a:pt x="857097" y="30318"/>
                    <a:pt x="948050" y="76647"/>
                  </a:cubicBezTo>
                  <a:lnTo>
                    <a:pt x="889935" y="286350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36" name="Forma libre: forma 35">
              <a:extLst>
                <a:ext uri="{FF2B5EF4-FFF2-40B4-BE49-F238E27FC236}">
                  <a16:creationId xmlns:a16="http://schemas.microsoft.com/office/drawing/2014/main" id="{2B2C1B47-EA81-A0CB-D5B2-CE11E7A80143}"/>
                </a:ext>
              </a:extLst>
            </p:cNvPr>
            <p:cNvSpPr/>
            <p:nvPr/>
          </p:nvSpPr>
          <p:spPr>
            <a:xfrm>
              <a:off x="6886773" y="2794041"/>
              <a:ext cx="1276096" cy="1267968"/>
            </a:xfrm>
            <a:custGeom>
              <a:avLst/>
              <a:gdLst>
                <a:gd name="connsiteX0" fmla="*/ 1060135 w 1276096"/>
                <a:gd name="connsiteY0" fmla="*/ 1267968 h 1267968"/>
                <a:gd name="connsiteX1" fmla="*/ 1273007 w 1276096"/>
                <a:gd name="connsiteY1" fmla="*/ 1267968 h 1267968"/>
                <a:gd name="connsiteX2" fmla="*/ 900501 w 1276096"/>
                <a:gd name="connsiteY2" fmla="*/ 149962 h 1267968"/>
                <a:gd name="connsiteX3" fmla="*/ 700959 w 1276096"/>
                <a:gd name="connsiteY3" fmla="*/ 6096 h 1267968"/>
                <a:gd name="connsiteX4" fmla="*/ 426801 w 1276096"/>
                <a:gd name="connsiteY4" fmla="*/ 6096 h 1267968"/>
                <a:gd name="connsiteX5" fmla="*/ 6096 w 1276096"/>
                <a:gd name="connsiteY5" fmla="*/ 1268212 h 1267968"/>
                <a:gd name="connsiteX6" fmla="*/ 218968 w 1276096"/>
                <a:gd name="connsiteY6" fmla="*/ 1268212 h 1267968"/>
                <a:gd name="connsiteX7" fmla="*/ 324145 w 1276096"/>
                <a:gd name="connsiteY7" fmla="*/ 952683 h 1267968"/>
                <a:gd name="connsiteX8" fmla="*/ 673649 w 1276096"/>
                <a:gd name="connsiteY8" fmla="*/ 952683 h 1267968"/>
                <a:gd name="connsiteX9" fmla="*/ 884001 w 1276096"/>
                <a:gd name="connsiteY9" fmla="*/ 742330 h 1267968"/>
                <a:gd name="connsiteX10" fmla="*/ 884001 w 1276096"/>
                <a:gd name="connsiteY10" fmla="*/ 742330 h 1267968"/>
                <a:gd name="connsiteX11" fmla="*/ 394127 w 1276096"/>
                <a:gd name="connsiteY11" fmla="*/ 742330 h 1267968"/>
                <a:gd name="connsiteX12" fmla="*/ 639511 w 1276096"/>
                <a:gd name="connsiteY12" fmla="*/ 6096 h 1267968"/>
                <a:gd name="connsiteX13" fmla="*/ 1060135 w 1276096"/>
                <a:gd name="connsiteY13" fmla="*/ 1267968 h 126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276096" h="1267968">
                  <a:moveTo>
                    <a:pt x="1060135" y="1267968"/>
                  </a:moveTo>
                  <a:lnTo>
                    <a:pt x="1273007" y="1267968"/>
                  </a:lnTo>
                  <a:lnTo>
                    <a:pt x="900501" y="149962"/>
                  </a:lnTo>
                  <a:cubicBezTo>
                    <a:pt x="871891" y="64049"/>
                    <a:pt x="791505" y="6096"/>
                    <a:pt x="700959" y="6096"/>
                  </a:cubicBezTo>
                  <a:lnTo>
                    <a:pt x="426801" y="6096"/>
                  </a:lnTo>
                  <a:lnTo>
                    <a:pt x="6096" y="1268212"/>
                  </a:lnTo>
                  <a:lnTo>
                    <a:pt x="218968" y="1268212"/>
                  </a:lnTo>
                  <a:lnTo>
                    <a:pt x="324145" y="952683"/>
                  </a:lnTo>
                  <a:lnTo>
                    <a:pt x="673649" y="952683"/>
                  </a:lnTo>
                  <a:cubicBezTo>
                    <a:pt x="789798" y="952683"/>
                    <a:pt x="884001" y="858479"/>
                    <a:pt x="884001" y="742330"/>
                  </a:cubicBezTo>
                  <a:lnTo>
                    <a:pt x="884001" y="742330"/>
                  </a:lnTo>
                  <a:cubicBezTo>
                    <a:pt x="884001" y="742330"/>
                    <a:pt x="394127" y="742330"/>
                    <a:pt x="394127" y="742330"/>
                  </a:cubicBezTo>
                  <a:lnTo>
                    <a:pt x="639511" y="6096"/>
                  </a:lnTo>
                  <a:lnTo>
                    <a:pt x="1060135" y="1267968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37" name="Forma libre: forma 36">
              <a:extLst>
                <a:ext uri="{FF2B5EF4-FFF2-40B4-BE49-F238E27FC236}">
                  <a16:creationId xmlns:a16="http://schemas.microsoft.com/office/drawing/2014/main" id="{C928A751-C845-E0DC-AF04-B59BEEEE77EE}"/>
                </a:ext>
              </a:extLst>
            </p:cNvPr>
            <p:cNvSpPr/>
            <p:nvPr/>
          </p:nvSpPr>
          <p:spPr>
            <a:xfrm>
              <a:off x="10918749" y="2794041"/>
              <a:ext cx="1276096" cy="1267968"/>
            </a:xfrm>
            <a:custGeom>
              <a:avLst/>
              <a:gdLst>
                <a:gd name="connsiteX0" fmla="*/ 1060380 w 1276096"/>
                <a:gd name="connsiteY0" fmla="*/ 1267968 h 1267968"/>
                <a:gd name="connsiteX1" fmla="*/ 1273251 w 1276096"/>
                <a:gd name="connsiteY1" fmla="*/ 1267968 h 1267968"/>
                <a:gd name="connsiteX2" fmla="*/ 900420 w 1276096"/>
                <a:gd name="connsiteY2" fmla="*/ 149962 h 1267968"/>
                <a:gd name="connsiteX3" fmla="*/ 700877 w 1276096"/>
                <a:gd name="connsiteY3" fmla="*/ 6096 h 1267968"/>
                <a:gd name="connsiteX4" fmla="*/ 426801 w 1276096"/>
                <a:gd name="connsiteY4" fmla="*/ 6096 h 1267968"/>
                <a:gd name="connsiteX5" fmla="*/ 6096 w 1276096"/>
                <a:gd name="connsiteY5" fmla="*/ 1268212 h 1267968"/>
                <a:gd name="connsiteX6" fmla="*/ 218969 w 1276096"/>
                <a:gd name="connsiteY6" fmla="*/ 1268212 h 1267968"/>
                <a:gd name="connsiteX7" fmla="*/ 324145 w 1276096"/>
                <a:gd name="connsiteY7" fmla="*/ 952683 h 1267968"/>
                <a:gd name="connsiteX8" fmla="*/ 673649 w 1276096"/>
                <a:gd name="connsiteY8" fmla="*/ 952683 h 1267968"/>
                <a:gd name="connsiteX9" fmla="*/ 884001 w 1276096"/>
                <a:gd name="connsiteY9" fmla="*/ 742330 h 1267968"/>
                <a:gd name="connsiteX10" fmla="*/ 884001 w 1276096"/>
                <a:gd name="connsiteY10" fmla="*/ 742330 h 1267968"/>
                <a:gd name="connsiteX11" fmla="*/ 394127 w 1276096"/>
                <a:gd name="connsiteY11" fmla="*/ 742330 h 1267968"/>
                <a:gd name="connsiteX12" fmla="*/ 639512 w 1276096"/>
                <a:gd name="connsiteY12" fmla="*/ 6096 h 1267968"/>
                <a:gd name="connsiteX13" fmla="*/ 1060380 w 1276096"/>
                <a:gd name="connsiteY13" fmla="*/ 1267968 h 126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276096" h="1267968">
                  <a:moveTo>
                    <a:pt x="1060380" y="1267968"/>
                  </a:moveTo>
                  <a:lnTo>
                    <a:pt x="1273251" y="1267968"/>
                  </a:lnTo>
                  <a:lnTo>
                    <a:pt x="900420" y="149962"/>
                  </a:lnTo>
                  <a:cubicBezTo>
                    <a:pt x="871809" y="64049"/>
                    <a:pt x="791423" y="6096"/>
                    <a:pt x="700877" y="6096"/>
                  </a:cubicBezTo>
                  <a:lnTo>
                    <a:pt x="426801" y="6096"/>
                  </a:lnTo>
                  <a:lnTo>
                    <a:pt x="6096" y="1268212"/>
                  </a:lnTo>
                  <a:lnTo>
                    <a:pt x="218969" y="1268212"/>
                  </a:lnTo>
                  <a:lnTo>
                    <a:pt x="324145" y="952683"/>
                  </a:lnTo>
                  <a:lnTo>
                    <a:pt x="673649" y="952683"/>
                  </a:lnTo>
                  <a:cubicBezTo>
                    <a:pt x="789798" y="952683"/>
                    <a:pt x="884001" y="858479"/>
                    <a:pt x="884001" y="742330"/>
                  </a:cubicBezTo>
                  <a:lnTo>
                    <a:pt x="884001" y="742330"/>
                  </a:lnTo>
                  <a:cubicBezTo>
                    <a:pt x="884001" y="742330"/>
                    <a:pt x="394127" y="742330"/>
                    <a:pt x="394127" y="742330"/>
                  </a:cubicBezTo>
                  <a:lnTo>
                    <a:pt x="639512" y="6096"/>
                  </a:lnTo>
                  <a:lnTo>
                    <a:pt x="1060380" y="1267968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</p:grpSp>
      <p:sp>
        <p:nvSpPr>
          <p:cNvPr id="38" name="Marcador de Posição do Rodapé 4">
            <a:extLst>
              <a:ext uri="{FF2B5EF4-FFF2-40B4-BE49-F238E27FC236}">
                <a16:creationId xmlns:a16="http://schemas.microsoft.com/office/drawing/2014/main" id="{DE5C1E43-8860-417C-855C-EDD92504A65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12762" y="6356350"/>
            <a:ext cx="534669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accent2"/>
                </a:solidFill>
              </a:defRPr>
            </a:lvl1pPr>
          </a:lstStyle>
          <a:p>
            <a:r>
              <a:rPr lang="pt-PT"/>
              <a:t>Título de la presentación</a:t>
            </a:r>
            <a:endParaRPr lang="pt-PT" dirty="0"/>
          </a:p>
        </p:txBody>
      </p:sp>
      <p:sp>
        <p:nvSpPr>
          <p:cNvPr id="39" name="Marcador de Posição do Número do Diapositivo 5">
            <a:extLst>
              <a:ext uri="{FF2B5EF4-FFF2-40B4-BE49-F238E27FC236}">
                <a16:creationId xmlns:a16="http://schemas.microsoft.com/office/drawing/2014/main" id="{00ECFAD1-4E36-4ED0-9A35-5C52C6371DA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936039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accent2"/>
                </a:solidFill>
              </a:defRPr>
            </a:lvl1pPr>
          </a:lstStyle>
          <a:p>
            <a:fld id="{24A347C2-D68E-473A-8C76-1D063E4EB6E0}" type="slidenum">
              <a:rPr lang="es-ES" smtClean="0"/>
              <a:pPr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41013447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5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1719 -0.00023 L -2.08333E-7 2.59259E-6 " pathEditMode="relative" rAng="0" ptsTypes="AA">
                                      <p:cBhvr>
                                        <p:cTn id="9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859" y="0"/>
                                    </p:animMotion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25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42" presetClass="path" presetSubtype="0" decel="100000" fill="hold" grpId="1" nodeType="withEffect">
                                  <p:stCondLst>
                                    <p:cond delay="250"/>
                                  </p:stCondLst>
                                  <p:childTnLst>
                                    <p:animMotion origin="layout" path="M -0.01719 -0.00023 L -1.25E-6 1.85185E-6 " pathEditMode="relative" rAng="0" ptsTypes="AA">
                                      <p:cBhvr>
                                        <p:cTn id="14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859" y="0"/>
                                    </p:animMotion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25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42" presetClass="path" presetSubtype="0" decel="100000" fill="hold" grpId="1" nodeType="withEffect">
                                  <p:stCondLst>
                                    <p:cond delay="250"/>
                                  </p:stCondLst>
                                  <p:childTnLst>
                                    <p:animMotion origin="layout" path="M -0.01719 -0.00023 L -1.25E-6 1.85185E-6 " pathEditMode="relative" rAng="0" ptsTypes="AA">
                                      <p:cBhvr>
                                        <p:cTn id="19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859" y="0"/>
                                    </p:animMotion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25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42" presetClass="path" presetSubtype="0" decel="100000" fill="hold" grpId="1" nodeType="withEffect">
                                  <p:stCondLst>
                                    <p:cond delay="250"/>
                                  </p:stCondLst>
                                  <p:childTnLst>
                                    <p:animMotion origin="layout" path="M -0.01719 -0.00023 L -1.25E-6 1.85185E-6 " pathEditMode="relative" rAng="0" ptsTypes="AA">
                                      <p:cBhvr>
                                        <p:cTn id="24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859" y="0"/>
                                    </p:animMotion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25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42" presetClass="path" presetSubtype="0" decel="100000" fill="hold" grpId="1" nodeType="withEffect">
                                  <p:stCondLst>
                                    <p:cond delay="250"/>
                                  </p:stCondLst>
                                  <p:childTnLst>
                                    <p:animMotion origin="layout" path="M -0.01719 -0.00023 L -1.25E-6 1.85185E-6 " pathEditMode="relative" rAng="0" ptsTypes="AA">
                                      <p:cBhvr>
                                        <p:cTn id="29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859" y="0"/>
                                    </p:animMotion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25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42" presetClass="path" presetSubtype="0" decel="100000" fill="hold" grpId="1" nodeType="withEffect">
                                  <p:stCondLst>
                                    <p:cond delay="250"/>
                                  </p:stCondLst>
                                  <p:childTnLst>
                                    <p:animMotion origin="layout" path="M -0.01719 -0.00023 L -1.25E-6 1.85185E-6 " pathEditMode="relative" rAng="0" ptsTypes="AA">
                                      <p:cBhvr>
                                        <p:cTn id="34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859" y="0"/>
                                    </p:animMotion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25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42" presetClass="path" presetSubtype="0" decel="100000" fill="hold" grpId="1" nodeType="withEffect">
                                  <p:stCondLst>
                                    <p:cond delay="250"/>
                                  </p:stCondLst>
                                  <p:childTnLst>
                                    <p:animMotion origin="layout" path="M -0.01719 -0.00023 L -1.25E-6 1.85185E-6 " pathEditMode="relative" rAng="0" ptsTypes="AA">
                                      <p:cBhvr>
                                        <p:cTn id="39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859" y="0"/>
                                    </p:animMotion>
                                  </p:childTnLst>
                                </p:cTn>
                              </p:par>
                              <p:par>
                                <p:cTn id="4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25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" presetID="42" presetClass="path" presetSubtype="0" decel="100000" fill="hold" grpId="1" nodeType="withEffect">
                                  <p:stCondLst>
                                    <p:cond delay="250"/>
                                  </p:stCondLst>
                                  <p:childTnLst>
                                    <p:animMotion origin="layout" path="M -0.01719 -0.00023 L -1.25E-6 1.85185E-6 " pathEditMode="relative" rAng="0" ptsTypes="AA">
                                      <p:cBhvr>
                                        <p:cTn id="44" dur="5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859" y="0"/>
                                    </p:animMotion>
                                  </p:childTnLst>
                                </p:cTn>
                              </p:par>
                              <p:par>
                                <p:cTn id="45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25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" presetID="42" presetClass="path" presetSubtype="0" decel="100000" fill="hold" grpId="1" nodeType="withEffect">
                                  <p:stCondLst>
                                    <p:cond delay="250"/>
                                  </p:stCondLst>
                                  <p:childTnLst>
                                    <p:animMotion origin="layout" path="M -0.01719 -0.00023 L -1.25E-6 1.85185E-6 " pathEditMode="relative" rAng="0" ptsTypes="AA">
                                      <p:cBhvr>
                                        <p:cTn id="49" dur="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859" y="0"/>
                                    </p:animMotion>
                                  </p:childTnLst>
                                </p:cTn>
                              </p:par>
                              <p:par>
                                <p:cTn id="5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25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" presetID="42" presetClass="path" presetSubtype="0" decel="100000" fill="hold" grpId="1" nodeType="withEffect">
                                  <p:stCondLst>
                                    <p:cond delay="250"/>
                                  </p:stCondLst>
                                  <p:childTnLst>
                                    <p:animMotion origin="layout" path="M 0.01666 -0.00046 L 3.75E-6 1.85185E-6 " pathEditMode="relative" rAng="0" ptsTypes="AA">
                                      <p:cBhvr>
                                        <p:cTn id="54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833" y="23"/>
                                    </p:animMotion>
                                  </p:childTnLst>
                                </p:cTn>
                              </p:par>
                              <p:par>
                                <p:cTn id="55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25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8" presetID="42" presetClass="path" presetSubtype="0" decel="100000" fill="hold" grpId="1" nodeType="withEffect">
                                  <p:stCondLst>
                                    <p:cond delay="250"/>
                                  </p:stCondLst>
                                  <p:childTnLst>
                                    <p:animMotion origin="layout" path="M 0.01666 -0.00046 L 3.75E-6 1.85185E-6 " pathEditMode="relative" rAng="0" ptsTypes="AA">
                                      <p:cBhvr>
                                        <p:cTn id="59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833" y="23"/>
                                    </p:animMotion>
                                  </p:childTnLst>
                                </p:cTn>
                              </p:par>
                              <p:par>
                                <p:cTn id="6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2" dur="25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3" presetID="42" presetClass="path" presetSubtype="0" decel="100000" fill="hold" grpId="1" nodeType="withEffect">
                                  <p:stCondLst>
                                    <p:cond delay="250"/>
                                  </p:stCondLst>
                                  <p:childTnLst>
                                    <p:animMotion origin="layout" path="M 0.01666 -0.00046 L 3.75E-6 1.85185E-6 " pathEditMode="relative" rAng="0" ptsTypes="AA">
                                      <p:cBhvr>
                                        <p:cTn id="64" dur="5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833" y="23"/>
                                    </p:animMotion>
                                  </p:childTnLst>
                                </p:cTn>
                              </p:par>
                              <p:par>
                                <p:cTn id="65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7" dur="25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8" presetID="42" presetClass="path" presetSubtype="0" decel="100000" fill="hold" grpId="1" nodeType="withEffect">
                                  <p:stCondLst>
                                    <p:cond delay="250"/>
                                  </p:stCondLst>
                                  <p:childTnLst>
                                    <p:animMotion origin="layout" path="M 0.01666 -0.00046 L 3.75E-6 1.85185E-6 " pathEditMode="relative" rAng="0" ptsTypes="AA">
                                      <p:cBhvr>
                                        <p:cTn id="69" dur="5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833" y="23"/>
                                    </p:animMotion>
                                  </p:childTnLst>
                                </p:cTn>
                              </p:par>
                              <p:par>
                                <p:cTn id="7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2" dur="25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3" presetID="42" presetClass="path" presetSubtype="0" decel="100000" fill="hold" grpId="1" nodeType="withEffect">
                                  <p:stCondLst>
                                    <p:cond delay="250"/>
                                  </p:stCondLst>
                                  <p:childTnLst>
                                    <p:animMotion origin="layout" path="M 0.01666 -0.00046 L 3.75E-6 1.85185E-6 " pathEditMode="relative" rAng="0" ptsTypes="AA">
                                      <p:cBhvr>
                                        <p:cTn id="74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833" y="23"/>
                                    </p:animMotion>
                                  </p:childTnLst>
                                </p:cTn>
                              </p:par>
                              <p:par>
                                <p:cTn id="75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7" dur="25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8" presetID="42" presetClass="path" presetSubtype="0" decel="100000" fill="hold" grpId="1" nodeType="withEffect">
                                  <p:stCondLst>
                                    <p:cond delay="250"/>
                                  </p:stCondLst>
                                  <p:childTnLst>
                                    <p:animMotion origin="layout" path="M 0.01666 -0.00046 L 3.75E-6 1.85185E-6 " pathEditMode="relative" rAng="0" ptsTypes="AA">
                                      <p:cBhvr>
                                        <p:cTn id="79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833" y="23"/>
                                    </p:animMotion>
                                  </p:childTnLst>
                                </p:cTn>
                              </p:par>
                              <p:par>
                                <p:cTn id="8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2" dur="25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3" presetID="42" presetClass="path" presetSubtype="0" decel="100000" fill="hold" grpId="1" nodeType="withEffect">
                                  <p:stCondLst>
                                    <p:cond delay="250"/>
                                  </p:stCondLst>
                                  <p:childTnLst>
                                    <p:animMotion origin="layout" path="M 0.01666 -0.00046 L 3.75E-6 1.85185E-6 " pathEditMode="relative" rAng="0" ptsTypes="AA">
                                      <p:cBhvr>
                                        <p:cTn id="84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833" y="23"/>
                                    </p:animMotion>
                                  </p:childTnLst>
                                </p:cTn>
                              </p:par>
                              <p:par>
                                <p:cTn id="85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7" dur="25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8" presetID="42" presetClass="path" presetSubtype="0" decel="100000" fill="hold" grpId="1" nodeType="withEffect">
                                  <p:stCondLst>
                                    <p:cond delay="250"/>
                                  </p:stCondLst>
                                  <p:childTnLst>
                                    <p:animMotion origin="layout" path="M 0.01666 -0.00046 L 3.75E-6 1.85185E-6 " pathEditMode="relative" rAng="0" ptsTypes="AA">
                                      <p:cBhvr>
                                        <p:cTn id="89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833" y="23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6" grpId="1"/>
      <p:bldP spid="18" grpId="0" animBg="1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250"/>
                        <p:tgtEl>
                          <p:spTgt spid="1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8" grpId="1" animBg="1">
        <p:tmplLst>
          <p:tmpl>
            <p:tnLst>
              <p:par>
                <p:cTn presetID="42" presetClass="path" presetSubtype="0" decel="100000" fill="hold" nodeType="withEffect">
                  <p:stCondLst>
                    <p:cond delay="250"/>
                  </p:stCondLst>
                  <p:childTnLst>
                    <p:animMotion origin="layout" path="M -0.01719 -0.00023 L -1.25E-6 1.85185E-6 " pathEditMode="relative" rAng="0" ptsTypes="AA">
                      <p:cBhvr>
                        <p:cTn dur="500" fill="hold"/>
                        <p:tgtEl>
                          <p:spTgt spid="18"/>
                        </p:tgtEl>
                        <p:attrNameLst>
                          <p:attrName>ppt_x</p:attrName>
                          <p:attrName>ppt_y</p:attrName>
                        </p:attrNameLst>
                      </p:cBhvr>
                      <p:rCtr x="859" y="0"/>
                    </p:animMotion>
                  </p:childTnLst>
                </p:cTn>
              </p:par>
            </p:tnLst>
          </p:tmpl>
        </p:tmplLst>
      </p:bldP>
      <p:bldP spid="17" grpId="0" animBg="1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250"/>
                        <p:tgtEl>
                          <p:spTgt spid="1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7" grpId="1" animBg="1">
        <p:tmplLst>
          <p:tmpl>
            <p:tnLst>
              <p:par>
                <p:cTn presetID="42" presetClass="path" presetSubtype="0" decel="100000" fill="hold" nodeType="withEffect">
                  <p:stCondLst>
                    <p:cond delay="250"/>
                  </p:stCondLst>
                  <p:childTnLst>
                    <p:animMotion origin="layout" path="M 0.01666 -0.00046 L 3.75E-6 1.85185E-6 " pathEditMode="relative" rAng="0" ptsTypes="AA">
                      <p:cBhvr>
                        <p:cTn dur="500" fill="hold"/>
                        <p:tgtEl>
                          <p:spTgt spid="17"/>
                        </p:tgtEl>
                        <p:attrNameLst>
                          <p:attrName>ppt_x</p:attrName>
                          <p:attrName>ppt_y</p:attrName>
                        </p:attrNameLst>
                      </p:cBhvr>
                      <p:rCtr x="-833" y="23"/>
                    </p:animMotion>
                  </p:childTnLst>
                </p:cTn>
              </p:par>
            </p:tnLst>
          </p:tmpl>
        </p:tmplLst>
      </p:bldP>
      <p:bldP spid="19" grpId="0" animBg="1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250"/>
                        <p:tgtEl>
                          <p:spTgt spid="1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9" grpId="1" animBg="1">
        <p:tmplLst>
          <p:tmpl>
            <p:tnLst>
              <p:par>
                <p:cTn presetID="42" presetClass="path" presetSubtype="0" decel="100000" fill="hold" nodeType="withEffect">
                  <p:stCondLst>
                    <p:cond delay="250"/>
                  </p:stCondLst>
                  <p:childTnLst>
                    <p:animMotion origin="layout" path="M -0.01719 -0.00023 L -1.25E-6 1.85185E-6 " pathEditMode="relative" rAng="0" ptsTypes="AA">
                      <p:cBhvr>
                        <p:cTn dur="500" fill="hold"/>
                        <p:tgtEl>
                          <p:spTgt spid="19"/>
                        </p:tgtEl>
                        <p:attrNameLst>
                          <p:attrName>ppt_x</p:attrName>
                          <p:attrName>ppt_y</p:attrName>
                        </p:attrNameLst>
                      </p:cBhvr>
                      <p:rCtr x="859" y="0"/>
                    </p:animMotion>
                  </p:childTnLst>
                </p:cTn>
              </p:par>
            </p:tnLst>
          </p:tmpl>
        </p:tmplLst>
      </p:bldP>
      <p:bldP spid="20" grpId="0" animBg="1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250"/>
                        <p:tgtEl>
                          <p:spTgt spid="2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0" grpId="1" animBg="1">
        <p:tmplLst>
          <p:tmpl>
            <p:tnLst>
              <p:par>
                <p:cTn presetID="42" presetClass="path" presetSubtype="0" decel="100000" fill="hold" nodeType="withEffect">
                  <p:stCondLst>
                    <p:cond delay="250"/>
                  </p:stCondLst>
                  <p:childTnLst>
                    <p:animMotion origin="layout" path="M 0.01666 -0.00046 L 3.75E-6 1.85185E-6 " pathEditMode="relative" rAng="0" ptsTypes="AA">
                      <p:cBhvr>
                        <p:cTn dur="500" fill="hold"/>
                        <p:tgtEl>
                          <p:spTgt spid="20"/>
                        </p:tgtEl>
                        <p:attrNameLst>
                          <p:attrName>ppt_x</p:attrName>
                          <p:attrName>ppt_y</p:attrName>
                        </p:attrNameLst>
                      </p:cBhvr>
                      <p:rCtr x="-833" y="23"/>
                    </p:animMotion>
                  </p:childTnLst>
                </p:cTn>
              </p:par>
            </p:tnLst>
          </p:tmpl>
        </p:tmplLst>
      </p:bldP>
      <p:bldP spid="21" grpId="0" animBg="1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250"/>
                        <p:tgtEl>
                          <p:spTgt spid="2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1" grpId="1" animBg="1">
        <p:tmplLst>
          <p:tmpl>
            <p:tnLst>
              <p:par>
                <p:cTn presetID="42" presetClass="path" presetSubtype="0" decel="100000" fill="hold" nodeType="withEffect">
                  <p:stCondLst>
                    <p:cond delay="250"/>
                  </p:stCondLst>
                  <p:childTnLst>
                    <p:animMotion origin="layout" path="M -0.01719 -0.00023 L -1.25E-6 1.85185E-6 " pathEditMode="relative" rAng="0" ptsTypes="AA">
                      <p:cBhvr>
                        <p:cTn dur="500" fill="hold"/>
                        <p:tgtEl>
                          <p:spTgt spid="21"/>
                        </p:tgtEl>
                        <p:attrNameLst>
                          <p:attrName>ppt_x</p:attrName>
                          <p:attrName>ppt_y</p:attrName>
                        </p:attrNameLst>
                      </p:cBhvr>
                      <p:rCtr x="859" y="0"/>
                    </p:animMotion>
                  </p:childTnLst>
                </p:cTn>
              </p:par>
            </p:tnLst>
          </p:tmpl>
        </p:tmplLst>
      </p:bldP>
      <p:bldP spid="22" grpId="0" animBg="1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250"/>
                        <p:tgtEl>
                          <p:spTgt spid="2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2" grpId="1" animBg="1">
        <p:tmplLst>
          <p:tmpl>
            <p:tnLst>
              <p:par>
                <p:cTn presetID="42" presetClass="path" presetSubtype="0" decel="100000" fill="hold" nodeType="withEffect">
                  <p:stCondLst>
                    <p:cond delay="250"/>
                  </p:stCondLst>
                  <p:childTnLst>
                    <p:animMotion origin="layout" path="M 0.01666 -0.00046 L 3.75E-6 1.85185E-6 " pathEditMode="relative" rAng="0" ptsTypes="AA">
                      <p:cBhvr>
                        <p:cTn dur="500" fill="hold"/>
                        <p:tgtEl>
                          <p:spTgt spid="22"/>
                        </p:tgtEl>
                        <p:attrNameLst>
                          <p:attrName>ppt_x</p:attrName>
                          <p:attrName>ppt_y</p:attrName>
                        </p:attrNameLst>
                      </p:cBhvr>
                      <p:rCtr x="-833" y="23"/>
                    </p:animMotion>
                  </p:childTnLst>
                </p:cTn>
              </p:par>
            </p:tnLst>
          </p:tmpl>
        </p:tmplLst>
      </p:bldP>
      <p:bldP spid="23" grpId="0" animBg="1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250"/>
                        <p:tgtEl>
                          <p:spTgt spid="2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3" grpId="1" animBg="1">
        <p:tmplLst>
          <p:tmpl>
            <p:tnLst>
              <p:par>
                <p:cTn presetID="42" presetClass="path" presetSubtype="0" decel="100000" fill="hold" nodeType="withEffect">
                  <p:stCondLst>
                    <p:cond delay="250"/>
                  </p:stCondLst>
                  <p:childTnLst>
                    <p:animMotion origin="layout" path="M -0.01719 -0.00023 L -1.25E-6 1.85185E-6 " pathEditMode="relative" rAng="0" ptsTypes="AA">
                      <p:cBhvr>
                        <p:cTn dur="500" fill="hold"/>
                        <p:tgtEl>
                          <p:spTgt spid="23"/>
                        </p:tgtEl>
                        <p:attrNameLst>
                          <p:attrName>ppt_x</p:attrName>
                          <p:attrName>ppt_y</p:attrName>
                        </p:attrNameLst>
                      </p:cBhvr>
                      <p:rCtr x="859" y="0"/>
                    </p:animMotion>
                  </p:childTnLst>
                </p:cTn>
              </p:par>
            </p:tnLst>
          </p:tmpl>
        </p:tmplLst>
      </p:bldP>
      <p:bldP spid="24" grpId="0" animBg="1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250"/>
                        <p:tgtEl>
                          <p:spTgt spid="2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4" grpId="1" animBg="1">
        <p:tmplLst>
          <p:tmpl>
            <p:tnLst>
              <p:par>
                <p:cTn presetID="42" presetClass="path" presetSubtype="0" decel="100000" fill="hold" nodeType="withEffect">
                  <p:stCondLst>
                    <p:cond delay="250"/>
                  </p:stCondLst>
                  <p:childTnLst>
                    <p:animMotion origin="layout" path="M 0.01666 -0.00046 L 3.75E-6 1.85185E-6 " pathEditMode="relative" rAng="0" ptsTypes="AA">
                      <p:cBhvr>
                        <p:cTn dur="500" fill="hold"/>
                        <p:tgtEl>
                          <p:spTgt spid="24"/>
                        </p:tgtEl>
                        <p:attrNameLst>
                          <p:attrName>ppt_x</p:attrName>
                          <p:attrName>ppt_y</p:attrName>
                        </p:attrNameLst>
                      </p:cBhvr>
                      <p:rCtr x="-833" y="23"/>
                    </p:animMotion>
                  </p:childTnLst>
                </p:cTn>
              </p:par>
            </p:tnLst>
          </p:tmpl>
        </p:tmplLst>
      </p:bldP>
      <p:bldP spid="25" grpId="0" animBg="1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250"/>
                        <p:tgtEl>
                          <p:spTgt spid="2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5" grpId="1" animBg="1">
        <p:tmplLst>
          <p:tmpl>
            <p:tnLst>
              <p:par>
                <p:cTn presetID="42" presetClass="path" presetSubtype="0" decel="100000" fill="hold" nodeType="withEffect">
                  <p:stCondLst>
                    <p:cond delay="250"/>
                  </p:stCondLst>
                  <p:childTnLst>
                    <p:animMotion origin="layout" path="M -0.01719 -0.00023 L -1.25E-6 1.85185E-6 " pathEditMode="relative" rAng="0" ptsTypes="AA">
                      <p:cBhvr>
                        <p:cTn dur="500" fill="hold"/>
                        <p:tgtEl>
                          <p:spTgt spid="25"/>
                        </p:tgtEl>
                        <p:attrNameLst>
                          <p:attrName>ppt_x</p:attrName>
                          <p:attrName>ppt_y</p:attrName>
                        </p:attrNameLst>
                      </p:cBhvr>
                      <p:rCtr x="859" y="0"/>
                    </p:animMotion>
                  </p:childTnLst>
                </p:cTn>
              </p:par>
            </p:tnLst>
          </p:tmpl>
        </p:tmplLst>
      </p:bldP>
      <p:bldP spid="26" grpId="0" animBg="1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250"/>
                        <p:tgtEl>
                          <p:spTgt spid="2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6" grpId="1" animBg="1">
        <p:tmplLst>
          <p:tmpl>
            <p:tnLst>
              <p:par>
                <p:cTn presetID="42" presetClass="path" presetSubtype="0" decel="100000" fill="hold" nodeType="withEffect">
                  <p:stCondLst>
                    <p:cond delay="250"/>
                  </p:stCondLst>
                  <p:childTnLst>
                    <p:animMotion origin="layout" path="M 0.01666 -0.00046 L 3.75E-6 1.85185E-6 " pathEditMode="relative" rAng="0" ptsTypes="AA">
                      <p:cBhvr>
                        <p:cTn dur="500" fill="hold"/>
                        <p:tgtEl>
                          <p:spTgt spid="26"/>
                        </p:tgtEl>
                        <p:attrNameLst>
                          <p:attrName>ppt_x</p:attrName>
                          <p:attrName>ppt_y</p:attrName>
                        </p:attrNameLst>
                      </p:cBhvr>
                      <p:rCtr x="-833" y="23"/>
                    </p:animMotion>
                  </p:childTnLst>
                </p:cTn>
              </p:par>
            </p:tnLst>
          </p:tmpl>
        </p:tmplLst>
      </p:bldP>
      <p:bldP spid="27" grpId="0" animBg="1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250"/>
                        <p:tgtEl>
                          <p:spTgt spid="2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7" grpId="1" animBg="1">
        <p:tmplLst>
          <p:tmpl>
            <p:tnLst>
              <p:par>
                <p:cTn presetID="42" presetClass="path" presetSubtype="0" decel="100000" fill="hold" nodeType="withEffect">
                  <p:stCondLst>
                    <p:cond delay="250"/>
                  </p:stCondLst>
                  <p:childTnLst>
                    <p:animMotion origin="layout" path="M -0.01719 -0.00023 L -1.25E-6 1.85185E-6 " pathEditMode="relative" rAng="0" ptsTypes="AA">
                      <p:cBhvr>
                        <p:cTn dur="500" fill="hold"/>
                        <p:tgtEl>
                          <p:spTgt spid="27"/>
                        </p:tgtEl>
                        <p:attrNameLst>
                          <p:attrName>ppt_x</p:attrName>
                          <p:attrName>ppt_y</p:attrName>
                        </p:attrNameLst>
                      </p:cBhvr>
                      <p:rCtr x="859" y="0"/>
                    </p:animMotion>
                  </p:childTnLst>
                </p:cTn>
              </p:par>
            </p:tnLst>
          </p:tmpl>
        </p:tmplLst>
      </p:bldP>
      <p:bldP spid="28" grpId="0" animBg="1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250"/>
                        <p:tgtEl>
                          <p:spTgt spid="2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8" grpId="1" animBg="1">
        <p:tmplLst>
          <p:tmpl>
            <p:tnLst>
              <p:par>
                <p:cTn presetID="42" presetClass="path" presetSubtype="0" decel="100000" fill="hold" nodeType="withEffect">
                  <p:stCondLst>
                    <p:cond delay="250"/>
                  </p:stCondLst>
                  <p:childTnLst>
                    <p:animMotion origin="layout" path="M 0.01666 -0.00046 L 3.75E-6 1.85185E-6 " pathEditMode="relative" rAng="0" ptsTypes="AA">
                      <p:cBhvr>
                        <p:cTn dur="500" fill="hold"/>
                        <p:tgtEl>
                          <p:spTgt spid="28"/>
                        </p:tgtEl>
                        <p:attrNameLst>
                          <p:attrName>ppt_x</p:attrName>
                          <p:attrName>ppt_y</p:attrName>
                        </p:attrNameLst>
                      </p:cBhvr>
                      <p:rCtr x="-833" y="23"/>
                    </p:animMotion>
                  </p:childTnLst>
                </p:cTn>
              </p:par>
            </p:tnLst>
          </p:tmpl>
        </p:tmplLst>
      </p:bldP>
      <p:bldP spid="29" grpId="0" animBg="1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250"/>
                        <p:tgtEl>
                          <p:spTgt spid="2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9" grpId="1" animBg="1">
        <p:tmplLst>
          <p:tmpl>
            <p:tnLst>
              <p:par>
                <p:cTn presetID="42" presetClass="path" presetSubtype="0" decel="100000" fill="hold" nodeType="withEffect">
                  <p:stCondLst>
                    <p:cond delay="250"/>
                  </p:stCondLst>
                  <p:childTnLst>
                    <p:animMotion origin="layout" path="M -0.01719 -0.00023 L -1.25E-6 1.85185E-6 " pathEditMode="relative" rAng="0" ptsTypes="AA">
                      <p:cBhvr>
                        <p:cTn dur="500" fill="hold"/>
                        <p:tgtEl>
                          <p:spTgt spid="29"/>
                        </p:tgtEl>
                        <p:attrNameLst>
                          <p:attrName>ppt_x</p:attrName>
                          <p:attrName>ppt_y</p:attrName>
                        </p:attrNameLst>
                      </p:cBhvr>
                      <p:rCtr x="859" y="0"/>
                    </p:animMotion>
                  </p:childTnLst>
                </p:cTn>
              </p:par>
            </p:tnLst>
          </p:tmpl>
        </p:tmplLst>
      </p:bldP>
      <p:bldP spid="30" grpId="0" animBg="1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250"/>
                        <p:tgtEl>
                          <p:spTgt spid="3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0" grpId="1" animBg="1">
        <p:tmplLst>
          <p:tmpl>
            <p:tnLst>
              <p:par>
                <p:cTn presetID="42" presetClass="path" presetSubtype="0" decel="100000" fill="hold" nodeType="withEffect">
                  <p:stCondLst>
                    <p:cond delay="250"/>
                  </p:stCondLst>
                  <p:childTnLst>
                    <p:animMotion origin="layout" path="M 0.01666 -0.00046 L 3.75E-6 1.85185E-6 " pathEditMode="relative" rAng="0" ptsTypes="AA">
                      <p:cBhvr>
                        <p:cTn dur="500" fill="hold"/>
                        <p:tgtEl>
                          <p:spTgt spid="30"/>
                        </p:tgtEl>
                        <p:attrNameLst>
                          <p:attrName>ppt_x</p:attrName>
                          <p:attrName>ppt_y</p:attrName>
                        </p:attrNameLst>
                      </p:cBhvr>
                      <p:rCtr x="-833" y="23"/>
                    </p:animMotion>
                  </p:childTnLst>
                </p:cTn>
              </p:par>
            </p:tnLst>
          </p:tmpl>
        </p:tmplLst>
      </p:bldP>
      <p:bldP spid="31" grpId="0" animBg="1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250"/>
                        <p:tgtEl>
                          <p:spTgt spid="3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1" grpId="1" animBg="1">
        <p:tmplLst>
          <p:tmpl>
            <p:tnLst>
              <p:par>
                <p:cTn presetID="42" presetClass="path" presetSubtype="0" decel="100000" fill="hold" nodeType="withEffect">
                  <p:stCondLst>
                    <p:cond delay="250"/>
                  </p:stCondLst>
                  <p:childTnLst>
                    <p:animMotion origin="layout" path="M -0.01719 -0.00023 L -1.25E-6 1.85185E-6 " pathEditMode="relative" rAng="0" ptsTypes="AA">
                      <p:cBhvr>
                        <p:cTn dur="500" fill="hold"/>
                        <p:tgtEl>
                          <p:spTgt spid="31"/>
                        </p:tgtEl>
                        <p:attrNameLst>
                          <p:attrName>ppt_x</p:attrName>
                          <p:attrName>ppt_y</p:attrName>
                        </p:attrNameLst>
                      </p:cBhvr>
                      <p:rCtr x="859" y="0"/>
                    </p:animMotion>
                  </p:childTnLst>
                </p:cTn>
              </p:par>
            </p:tnLst>
          </p:tmpl>
        </p:tmplLst>
      </p:bldP>
      <p:bldP spid="32" grpId="0" animBg="1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250"/>
                        <p:tgtEl>
                          <p:spTgt spid="3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2" grpId="1" animBg="1">
        <p:tmplLst>
          <p:tmpl>
            <p:tnLst>
              <p:par>
                <p:cTn presetID="42" presetClass="path" presetSubtype="0" decel="100000" fill="hold" nodeType="withEffect">
                  <p:stCondLst>
                    <p:cond delay="250"/>
                  </p:stCondLst>
                  <p:childTnLst>
                    <p:animMotion origin="layout" path="M 0.01666 -0.00046 L 3.75E-6 1.85185E-6 " pathEditMode="relative" rAng="0" ptsTypes="AA">
                      <p:cBhvr>
                        <p:cTn dur="500" fill="hold"/>
                        <p:tgtEl>
                          <p:spTgt spid="32"/>
                        </p:tgtEl>
                        <p:attrNameLst>
                          <p:attrName>ppt_x</p:attrName>
                          <p:attrName>ppt_y</p:attrName>
                        </p:attrNameLst>
                      </p:cBhvr>
                      <p:rCtr x="-833" y="23"/>
                    </p:animMotion>
                  </p:childTnLst>
                </p:cTn>
              </p:par>
            </p:tnLst>
          </p:tmpl>
        </p:tmplLst>
      </p:bldP>
    </p:bld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Esquema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Marcador de Posição do Texto 10">
            <a:extLst>
              <a:ext uri="{FF2B5EF4-FFF2-40B4-BE49-F238E27FC236}">
                <a16:creationId xmlns:a16="http://schemas.microsoft.com/office/drawing/2014/main" id="{56E396E3-AF15-A324-AB79-1505E266418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12763" y="4219574"/>
            <a:ext cx="5346700" cy="2003425"/>
          </a:xfrm>
        </p:spPr>
        <p:txBody>
          <a:bodyPr/>
          <a:lstStyle>
            <a:lvl1pPr>
              <a:defRPr/>
            </a:lvl1pPr>
            <a:lvl2pPr>
              <a:defRPr/>
            </a:lvl2pPr>
          </a:lstStyle>
          <a:p>
            <a:pPr lvl="0"/>
            <a:r>
              <a:rPr lang="es-ES" dirty="0"/>
              <a:t>Haz </a:t>
            </a:r>
            <a:r>
              <a:rPr lang="es-ES" dirty="0" err="1"/>
              <a:t>click</a:t>
            </a:r>
            <a:r>
              <a:rPr lang="es-ES" dirty="0"/>
              <a:t> para editar los estilos del texto del modelo global</a:t>
            </a:r>
            <a:endParaRPr lang="pt-PT" dirty="0"/>
          </a:p>
          <a:p>
            <a:pPr lvl="1"/>
            <a:r>
              <a:rPr lang="es-ES" dirty="0"/>
              <a:t>Segundo nivel</a:t>
            </a:r>
          </a:p>
          <a:p>
            <a:pPr lvl="1"/>
            <a:r>
              <a:rPr lang="es-ES" dirty="0"/>
              <a:t>Tercer nivel</a:t>
            </a:r>
          </a:p>
          <a:p>
            <a:pPr lvl="1"/>
            <a:r>
              <a:rPr lang="es-ES" dirty="0"/>
              <a:t>Cuarto nivel</a:t>
            </a:r>
          </a:p>
          <a:p>
            <a:pPr lvl="1"/>
            <a:r>
              <a:rPr lang="es-ES" dirty="0"/>
              <a:t>Quinto nivel</a:t>
            </a:r>
            <a:endParaRPr lang="pt-PT" dirty="0"/>
          </a:p>
        </p:txBody>
      </p:sp>
      <p:sp>
        <p:nvSpPr>
          <p:cNvPr id="9" name="Marcador de Posição do Texto 10">
            <a:extLst>
              <a:ext uri="{FF2B5EF4-FFF2-40B4-BE49-F238E27FC236}">
                <a16:creationId xmlns:a16="http://schemas.microsoft.com/office/drawing/2014/main" id="{7EC79DDB-D2C5-7292-C968-77FE0340790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332116" y="4219574"/>
            <a:ext cx="5346700" cy="2003425"/>
          </a:xfrm>
        </p:spPr>
        <p:txBody>
          <a:bodyPr/>
          <a:lstStyle>
            <a:lvl1pPr>
              <a:defRPr/>
            </a:lvl1pPr>
            <a:lvl2pPr>
              <a:defRPr/>
            </a:lvl2pPr>
          </a:lstStyle>
          <a:p>
            <a:pPr lvl="0"/>
            <a:r>
              <a:rPr lang="es-ES" dirty="0"/>
              <a:t>Haz </a:t>
            </a:r>
            <a:r>
              <a:rPr lang="es-ES" dirty="0" err="1"/>
              <a:t>click</a:t>
            </a:r>
            <a:r>
              <a:rPr lang="es-ES" dirty="0"/>
              <a:t> para editar los estilos del texto del modelo global</a:t>
            </a:r>
            <a:endParaRPr lang="pt-PT" dirty="0"/>
          </a:p>
          <a:p>
            <a:pPr lvl="1"/>
            <a:r>
              <a:rPr lang="es-ES" dirty="0"/>
              <a:t>Segundo nivel</a:t>
            </a:r>
          </a:p>
          <a:p>
            <a:pPr lvl="1"/>
            <a:r>
              <a:rPr lang="es-ES" dirty="0"/>
              <a:t>Tercer nivel</a:t>
            </a:r>
          </a:p>
          <a:p>
            <a:pPr lvl="1"/>
            <a:r>
              <a:rPr lang="es-ES" dirty="0"/>
              <a:t>Cuarto nivel</a:t>
            </a:r>
          </a:p>
          <a:p>
            <a:pPr lvl="1"/>
            <a:r>
              <a:rPr lang="es-ES" dirty="0"/>
              <a:t>Quinto nivel</a:t>
            </a:r>
            <a:endParaRPr lang="pt-PT" dirty="0"/>
          </a:p>
        </p:txBody>
      </p:sp>
      <p:sp>
        <p:nvSpPr>
          <p:cNvPr id="12" name="Marcador de Posição da Imagem 11">
            <a:extLst>
              <a:ext uri="{FF2B5EF4-FFF2-40B4-BE49-F238E27FC236}">
                <a16:creationId xmlns:a16="http://schemas.microsoft.com/office/drawing/2014/main" id="{9D7C91B3-7C4D-3AF3-ED98-9CC006E97FB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12763" y="1868522"/>
            <a:ext cx="5346700" cy="2170079"/>
          </a:xfrm>
          <a:custGeom>
            <a:avLst/>
            <a:gdLst>
              <a:gd name="connsiteX0" fmla="*/ 4302372 w 5346700"/>
              <a:gd name="connsiteY0" fmla="*/ 0 h 2170079"/>
              <a:gd name="connsiteX1" fmla="*/ 4776834 w 5346700"/>
              <a:gd name="connsiteY1" fmla="*/ 0 h 2170079"/>
              <a:gd name="connsiteX2" fmla="*/ 4777066 w 5346700"/>
              <a:gd name="connsiteY2" fmla="*/ 0 h 2170079"/>
              <a:gd name="connsiteX3" fmla="*/ 5335124 w 5346700"/>
              <a:gd name="connsiteY3" fmla="*/ 454787 h 2170079"/>
              <a:gd name="connsiteX4" fmla="*/ 5346696 w 5346700"/>
              <a:gd name="connsiteY4" fmla="*/ 569584 h 2170079"/>
              <a:gd name="connsiteX5" fmla="*/ 5346700 w 5346700"/>
              <a:gd name="connsiteY5" fmla="*/ 569584 h 2170079"/>
              <a:gd name="connsiteX6" fmla="*/ 5346700 w 5346700"/>
              <a:gd name="connsiteY6" fmla="*/ 569629 h 2170079"/>
              <a:gd name="connsiteX7" fmla="*/ 5346700 w 5346700"/>
              <a:gd name="connsiteY7" fmla="*/ 2170079 h 2170079"/>
              <a:gd name="connsiteX8" fmla="*/ 1 w 5346700"/>
              <a:gd name="connsiteY8" fmla="*/ 2170079 h 2170079"/>
              <a:gd name="connsiteX9" fmla="*/ 1 w 5346700"/>
              <a:gd name="connsiteY9" fmla="*/ 569584 h 2170079"/>
              <a:gd name="connsiteX10" fmla="*/ 1629709 w 5346700"/>
              <a:gd name="connsiteY10" fmla="*/ 569584 h 2170079"/>
              <a:gd name="connsiteX11" fmla="*/ 0 w 5346700"/>
              <a:gd name="connsiteY11" fmla="*/ 569559 h 2170079"/>
              <a:gd name="connsiteX12" fmla="*/ 0 w 5346700"/>
              <a:gd name="connsiteY12" fmla="*/ 2 h 2170079"/>
              <a:gd name="connsiteX13" fmla="*/ 4302349 w 5346700"/>
              <a:gd name="connsiteY13" fmla="*/ 69 h 21700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5346700" h="2170079">
                <a:moveTo>
                  <a:pt x="4302372" y="0"/>
                </a:moveTo>
                <a:lnTo>
                  <a:pt x="4776834" y="0"/>
                </a:lnTo>
                <a:lnTo>
                  <a:pt x="4777066" y="0"/>
                </a:lnTo>
                <a:cubicBezTo>
                  <a:pt x="5052265" y="0"/>
                  <a:pt x="5281991" y="195144"/>
                  <a:pt x="5335124" y="454787"/>
                </a:cubicBezTo>
                <a:lnTo>
                  <a:pt x="5346696" y="569584"/>
                </a:lnTo>
                <a:lnTo>
                  <a:pt x="5346700" y="569584"/>
                </a:lnTo>
                <a:lnTo>
                  <a:pt x="5346700" y="569629"/>
                </a:lnTo>
                <a:lnTo>
                  <a:pt x="5346700" y="2170079"/>
                </a:lnTo>
                <a:lnTo>
                  <a:pt x="1" y="2170079"/>
                </a:lnTo>
                <a:lnTo>
                  <a:pt x="1" y="569584"/>
                </a:lnTo>
                <a:lnTo>
                  <a:pt x="1629709" y="569584"/>
                </a:lnTo>
                <a:lnTo>
                  <a:pt x="0" y="569559"/>
                </a:lnTo>
                <a:lnTo>
                  <a:pt x="0" y="2"/>
                </a:lnTo>
                <a:lnTo>
                  <a:pt x="4302349" y="69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pt-PT"/>
          </a:p>
        </p:txBody>
      </p:sp>
      <p:sp>
        <p:nvSpPr>
          <p:cNvPr id="13" name="Marcador de Posição da Imagem 12">
            <a:extLst>
              <a:ext uri="{FF2B5EF4-FFF2-40B4-BE49-F238E27FC236}">
                <a16:creationId xmlns:a16="http://schemas.microsoft.com/office/drawing/2014/main" id="{DDF14235-6A4A-FE0A-B0ED-40F30ED2C304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332116" y="1868522"/>
            <a:ext cx="5346700" cy="2170079"/>
          </a:xfrm>
          <a:custGeom>
            <a:avLst/>
            <a:gdLst>
              <a:gd name="connsiteX0" fmla="*/ 4302372 w 5346700"/>
              <a:gd name="connsiteY0" fmla="*/ 0 h 2170079"/>
              <a:gd name="connsiteX1" fmla="*/ 4776834 w 5346700"/>
              <a:gd name="connsiteY1" fmla="*/ 0 h 2170079"/>
              <a:gd name="connsiteX2" fmla="*/ 4777066 w 5346700"/>
              <a:gd name="connsiteY2" fmla="*/ 0 h 2170079"/>
              <a:gd name="connsiteX3" fmla="*/ 5335124 w 5346700"/>
              <a:gd name="connsiteY3" fmla="*/ 454787 h 2170079"/>
              <a:gd name="connsiteX4" fmla="*/ 5346696 w 5346700"/>
              <a:gd name="connsiteY4" fmla="*/ 569584 h 2170079"/>
              <a:gd name="connsiteX5" fmla="*/ 5346700 w 5346700"/>
              <a:gd name="connsiteY5" fmla="*/ 569584 h 2170079"/>
              <a:gd name="connsiteX6" fmla="*/ 5346700 w 5346700"/>
              <a:gd name="connsiteY6" fmla="*/ 569629 h 2170079"/>
              <a:gd name="connsiteX7" fmla="*/ 5346700 w 5346700"/>
              <a:gd name="connsiteY7" fmla="*/ 2170079 h 2170079"/>
              <a:gd name="connsiteX8" fmla="*/ 1 w 5346700"/>
              <a:gd name="connsiteY8" fmla="*/ 2170079 h 2170079"/>
              <a:gd name="connsiteX9" fmla="*/ 1 w 5346700"/>
              <a:gd name="connsiteY9" fmla="*/ 569584 h 2170079"/>
              <a:gd name="connsiteX10" fmla="*/ 1629709 w 5346700"/>
              <a:gd name="connsiteY10" fmla="*/ 569584 h 2170079"/>
              <a:gd name="connsiteX11" fmla="*/ 0 w 5346700"/>
              <a:gd name="connsiteY11" fmla="*/ 569559 h 2170079"/>
              <a:gd name="connsiteX12" fmla="*/ 0 w 5346700"/>
              <a:gd name="connsiteY12" fmla="*/ 2 h 2170079"/>
              <a:gd name="connsiteX13" fmla="*/ 4302349 w 5346700"/>
              <a:gd name="connsiteY13" fmla="*/ 69 h 21700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5346700" h="2170079">
                <a:moveTo>
                  <a:pt x="4302372" y="0"/>
                </a:moveTo>
                <a:lnTo>
                  <a:pt x="4776834" y="0"/>
                </a:lnTo>
                <a:lnTo>
                  <a:pt x="4777066" y="0"/>
                </a:lnTo>
                <a:cubicBezTo>
                  <a:pt x="5052265" y="0"/>
                  <a:pt x="5281991" y="195144"/>
                  <a:pt x="5335124" y="454787"/>
                </a:cubicBezTo>
                <a:lnTo>
                  <a:pt x="5346696" y="569584"/>
                </a:lnTo>
                <a:lnTo>
                  <a:pt x="5346700" y="569584"/>
                </a:lnTo>
                <a:lnTo>
                  <a:pt x="5346700" y="569629"/>
                </a:lnTo>
                <a:lnTo>
                  <a:pt x="5346700" y="2170079"/>
                </a:lnTo>
                <a:lnTo>
                  <a:pt x="1" y="2170079"/>
                </a:lnTo>
                <a:lnTo>
                  <a:pt x="1" y="569584"/>
                </a:lnTo>
                <a:lnTo>
                  <a:pt x="1629709" y="569584"/>
                </a:lnTo>
                <a:lnTo>
                  <a:pt x="0" y="569559"/>
                </a:lnTo>
                <a:lnTo>
                  <a:pt x="0" y="2"/>
                </a:lnTo>
                <a:lnTo>
                  <a:pt x="4302349" y="69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pt-PT"/>
          </a:p>
        </p:txBody>
      </p:sp>
      <p:pic>
        <p:nvPicPr>
          <p:cNvPr id="2" name="Imagem 1">
            <a:extLst>
              <a:ext uri="{FF2B5EF4-FFF2-40B4-BE49-F238E27FC236}">
                <a16:creationId xmlns:a16="http://schemas.microsoft.com/office/drawing/2014/main" id="{0BFAB665-ABB2-43A0-D864-80AF83AF5F3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 l="5254" t="16110" r="55851" b="56929"/>
          <a:stretch>
            <a:fillRect/>
          </a:stretch>
        </p:blipFill>
        <p:spPr>
          <a:xfrm>
            <a:off x="8385628" y="4219573"/>
            <a:ext cx="3806372" cy="2638427"/>
          </a:xfrm>
          <a:prstGeom prst="rect">
            <a:avLst/>
          </a:prstGeom>
        </p:spPr>
      </p:pic>
      <p:sp>
        <p:nvSpPr>
          <p:cNvPr id="10" name="Título 6">
            <a:extLst>
              <a:ext uri="{FF2B5EF4-FFF2-40B4-BE49-F238E27FC236}">
                <a16:creationId xmlns:a16="http://schemas.microsoft.com/office/drawing/2014/main" id="{757A84C2-F5C3-4D93-B79F-FE157105ADF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3184" y="550508"/>
            <a:ext cx="11165632" cy="712204"/>
          </a:xfrm>
        </p:spPr>
        <p:txBody>
          <a:bodyPr>
            <a:normAutofit/>
          </a:bodyPr>
          <a:lstStyle>
            <a:lvl1pPr>
              <a:defRPr sz="3200"/>
            </a:lvl1pPr>
          </a:lstStyle>
          <a:p>
            <a:r>
              <a:rPr lang="es-ES" noProof="0" dirty="0"/>
              <a:t>Insertar título de la </a:t>
            </a:r>
            <a:r>
              <a:rPr lang="es-ES" noProof="0" dirty="0" err="1"/>
              <a:t>slide</a:t>
            </a:r>
            <a:endParaRPr lang="es-ES" noProof="0" dirty="0"/>
          </a:p>
        </p:txBody>
      </p:sp>
      <p:sp>
        <p:nvSpPr>
          <p:cNvPr id="11" name="Marcador de Posição do Texto 8">
            <a:extLst>
              <a:ext uri="{FF2B5EF4-FFF2-40B4-BE49-F238E27FC236}">
                <a16:creationId xmlns:a16="http://schemas.microsoft.com/office/drawing/2014/main" id="{1139F294-D0C5-4602-9405-069EEDFC760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12763" y="1156317"/>
            <a:ext cx="11166475" cy="355243"/>
          </a:xfrm>
        </p:spPr>
        <p:txBody>
          <a:bodyPr>
            <a:normAutofit/>
          </a:bodyPr>
          <a:lstStyle>
            <a:lvl1pPr>
              <a:defRPr sz="200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s-ES" noProof="0" dirty="0"/>
              <a:t>Insertar subtítulo de la </a:t>
            </a:r>
            <a:r>
              <a:rPr lang="es-ES" noProof="0" dirty="0" err="1"/>
              <a:t>slide</a:t>
            </a:r>
            <a:endParaRPr lang="es-ES" noProof="0" dirty="0"/>
          </a:p>
        </p:txBody>
      </p:sp>
      <p:sp>
        <p:nvSpPr>
          <p:cNvPr id="14" name="Marcador de Posição do Rodapé 4">
            <a:extLst>
              <a:ext uri="{FF2B5EF4-FFF2-40B4-BE49-F238E27FC236}">
                <a16:creationId xmlns:a16="http://schemas.microsoft.com/office/drawing/2014/main" id="{50F50913-4A16-4971-BEB2-46957FB972E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12762" y="6356350"/>
            <a:ext cx="534669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accent2"/>
                </a:solidFill>
              </a:defRPr>
            </a:lvl1pPr>
          </a:lstStyle>
          <a:p>
            <a:r>
              <a:rPr lang="pt-PT"/>
              <a:t>Título de la presentación</a:t>
            </a:r>
            <a:endParaRPr lang="pt-PT" dirty="0"/>
          </a:p>
        </p:txBody>
      </p:sp>
      <p:sp>
        <p:nvSpPr>
          <p:cNvPr id="15" name="Marcador de Posição do Número do Diapositivo 5">
            <a:extLst>
              <a:ext uri="{FF2B5EF4-FFF2-40B4-BE49-F238E27FC236}">
                <a16:creationId xmlns:a16="http://schemas.microsoft.com/office/drawing/2014/main" id="{D993E26F-5D72-4018-8969-A40DCCBE2E8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936039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accent2"/>
                </a:solidFill>
              </a:defRPr>
            </a:lvl1pPr>
          </a:lstStyle>
          <a:p>
            <a:fld id="{24A347C2-D68E-473A-8C76-1D063E4EB6E0}" type="slidenum">
              <a:rPr lang="es-ES" smtClean="0"/>
              <a:pPr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57539209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 nodePh="1">
                                  <p:stCondLst>
                                    <p:cond delay="250"/>
                                  </p:stCondLst>
                                  <p:endCondLst>
                                    <p:cond evt="begin" delay="0">
                                      <p:tn val="5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5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42" presetClass="path" presetSubtype="0" decel="100000" fill="hold" grpId="1" nodeType="withEffect" nodePh="1">
                                  <p:stCondLst>
                                    <p:cond delay="250"/>
                                  </p:stCondLst>
                                  <p:endCondLst>
                                    <p:cond evt="begin" delay="0">
                                      <p:tn val="8"/>
                                    </p:cond>
                                  </p:endCondLst>
                                  <p:childTnLst>
                                    <p:animMotion origin="layout" path="M 1.25E-6 0.03889 L 1.25E-6 1.85185E-6 " pathEditMode="relative" rAng="0" ptsTypes="AA">
                                      <p:cBhvr>
                                        <p:cTn id="9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944"/>
                                    </p:animMotion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 nodePh="1">
                                  <p:stCondLst>
                                    <p:cond delay="250"/>
                                  </p:stCondLst>
                                  <p:endCondLst>
                                    <p:cond evt="begin" delay="0">
                                      <p:tn val="10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25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42" presetClass="path" presetSubtype="0" decel="100000" fill="hold" grpId="1" nodeType="withEffect" nodePh="1">
                                  <p:stCondLst>
                                    <p:cond delay="250"/>
                                  </p:stCondLst>
                                  <p:endCondLst>
                                    <p:cond evt="begin" delay="0">
                                      <p:tn val="13"/>
                                    </p:cond>
                                  </p:endCondLst>
                                  <p:childTnLst>
                                    <p:animMotion origin="layout" path="M 1.25E-6 0.03889 L 1.25E-6 1.85185E-6 " pathEditMode="relative" rAng="0" ptsTypes="AA">
                                      <p:cBhvr>
                                        <p:cTn id="14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944"/>
                                    </p:animMotion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25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42" presetClass="path" presetSubtype="0" decel="100000" fill="hold" grpId="1" nodeType="withEffect">
                                  <p:stCondLst>
                                    <p:cond delay="250"/>
                                  </p:stCondLst>
                                  <p:childTnLst>
                                    <p:animMotion origin="layout" path="M -3.75E-6 -0.03472 L -3.75E-6 1.85185E-6 " pathEditMode="relative" rAng="0" ptsTypes="AA">
                                      <p:cBhvr>
                                        <p:cTn id="19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736"/>
                                    </p:animMotion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25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42" presetClass="path" presetSubtype="0" decel="100000" fill="hold" grpId="1" nodeType="withEffect">
                                  <p:stCondLst>
                                    <p:cond delay="250"/>
                                  </p:stCondLst>
                                  <p:childTnLst>
                                    <p:animMotion origin="layout" path="M -3.75E-6 -0.03472 L -3.75E-6 1.85185E-6 " pathEditMode="relative" rAng="0" ptsTypes="AA">
                                      <p:cBhvr>
                                        <p:cTn id="24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736"/>
                                    </p:animMotion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25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1719 -0.00023 L -1.25E-6 1.85185E-6 " pathEditMode="relative" rAng="0" ptsTypes="AA">
                                      <p:cBhvr>
                                        <p:cTn id="29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859" y="0"/>
                                    </p:animMotion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25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25E-6 0.03889 L 1.25E-6 1.85185E-6 " pathEditMode="relative" rAng="0" ptsTypes="AA">
                                      <p:cBhvr>
                                        <p:cTn id="34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944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250"/>
                        <p:tgtEl>
                          <p:spTgt spid="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8" grpId="1">
        <p:tmplLst>
          <p:tmpl>
            <p:tnLst>
              <p:par>
                <p:cTn presetID="42" presetClass="path" presetSubtype="0" decel="100000" fill="hold" nodeType="withEffect">
                  <p:stCondLst>
                    <p:cond delay="250"/>
                  </p:stCondLst>
                  <p:childTnLst>
                    <p:animMotion origin="layout" path="M -3.75E-6 -0.03472 L -3.75E-6 1.85185E-6 " pathEditMode="relative" rAng="0" ptsTypes="AA">
                      <p:cBhvr>
                        <p:cTn dur="500" fill="hold"/>
                        <p:tgtEl>
                          <p:spTgt spid="8"/>
                        </p:tgtEl>
                        <p:attrNameLst>
                          <p:attrName>ppt_x</p:attrName>
                          <p:attrName>ppt_y</p:attrName>
                        </p:attrNameLst>
                      </p:cBhvr>
                      <p:rCtr x="0" y="1736"/>
                    </p:animMotion>
                  </p:childTnLst>
                </p:cTn>
              </p:par>
            </p:tnLst>
          </p:tmpl>
        </p:tmplLst>
      </p:bldP>
      <p:bldP spid="9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250"/>
                        <p:tgtEl>
                          <p:spTgt spid="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9" grpId="1">
        <p:tmplLst>
          <p:tmpl>
            <p:tnLst>
              <p:par>
                <p:cTn presetID="42" presetClass="path" presetSubtype="0" decel="100000" fill="hold" nodeType="withEffect">
                  <p:stCondLst>
                    <p:cond delay="250"/>
                  </p:stCondLst>
                  <p:childTnLst>
                    <p:animMotion origin="layout" path="M -3.75E-6 -0.03472 L -3.75E-6 1.85185E-6 " pathEditMode="relative" rAng="0" ptsTypes="AA">
                      <p:cBhvr>
                        <p:cTn dur="500" fill="hold"/>
                        <p:tgtEl>
                          <p:spTgt spid="9"/>
                        </p:tgtEl>
                        <p:attrNameLst>
                          <p:attrName>ppt_x</p:attrName>
                          <p:attrName>ppt_y</p:attrName>
                        </p:attrNameLst>
                      </p:cBhvr>
                      <p:rCtr x="0" y="1736"/>
                    </p:animMotion>
                  </p:childTnLst>
                </p:cTn>
              </p:par>
            </p:tnLst>
          </p:tmpl>
        </p:tmplLst>
      </p:bldP>
      <p:bldP spid="12" grpId="0"/>
      <p:bldP spid="12" grpId="1"/>
      <p:bldP spid="13" grpId="0"/>
      <p:bldP spid="13" grpId="1"/>
      <p:bldP spid="10" grpId="0"/>
      <p:bldP spid="10" grpId="1"/>
      <p:bldP spid="11" grpId="0">
        <p:tmplLst>
          <p:tmpl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250"/>
                        <p:tgtEl>
                          <p:spTgt spid="1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1" grpId="1"/>
    </p:bld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Esquema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Retângulo 26">
            <a:extLst>
              <a:ext uri="{FF2B5EF4-FFF2-40B4-BE49-F238E27FC236}">
                <a16:creationId xmlns:a16="http://schemas.microsoft.com/office/drawing/2014/main" id="{1D444A38-233E-5929-EAC0-84F2682E8293}"/>
              </a:ext>
            </a:extLst>
          </p:cNvPr>
          <p:cNvSpPr/>
          <p:nvPr userDrawn="1"/>
        </p:nvSpPr>
        <p:spPr>
          <a:xfrm>
            <a:off x="0" y="5057774"/>
            <a:ext cx="12192000" cy="1800225"/>
          </a:xfrm>
          <a:prstGeom prst="rect">
            <a:avLst/>
          </a:prstGeom>
          <a:solidFill>
            <a:srgbClr val="184BF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  <p:sp>
        <p:nvSpPr>
          <p:cNvPr id="26" name="Marcador de Posição do Texto 25">
            <a:extLst>
              <a:ext uri="{FF2B5EF4-FFF2-40B4-BE49-F238E27FC236}">
                <a16:creationId xmlns:a16="http://schemas.microsoft.com/office/drawing/2014/main" id="{ECE5432A-559C-0DA7-0E87-D7B99731271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16738" y="1687205"/>
            <a:ext cx="5806153" cy="430719"/>
          </a:xfrm>
          <a:custGeom>
            <a:avLst/>
            <a:gdLst>
              <a:gd name="connsiteX0" fmla="*/ 4854003 w 5806153"/>
              <a:gd name="connsiteY0" fmla="*/ 0 h 430719"/>
              <a:gd name="connsiteX1" fmla="*/ 5290896 w 5806153"/>
              <a:gd name="connsiteY1" fmla="*/ 0 h 430719"/>
              <a:gd name="connsiteX2" fmla="*/ 5291109 w 5806153"/>
              <a:gd name="connsiteY2" fmla="*/ 0 h 430719"/>
              <a:gd name="connsiteX3" fmla="*/ 5804978 w 5806153"/>
              <a:gd name="connsiteY3" fmla="*/ 418775 h 430719"/>
              <a:gd name="connsiteX4" fmla="*/ 5806153 w 5806153"/>
              <a:gd name="connsiteY4" fmla="*/ 430428 h 430719"/>
              <a:gd name="connsiteX5" fmla="*/ 0 w 5806153"/>
              <a:gd name="connsiteY5" fmla="*/ 430719 h 430719"/>
              <a:gd name="connsiteX6" fmla="*/ 0 w 5806153"/>
              <a:gd name="connsiteY6" fmla="*/ 26 h 430719"/>
              <a:gd name="connsiteX7" fmla="*/ 4853974 w 5806153"/>
              <a:gd name="connsiteY7" fmla="*/ 86 h 4307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806153" h="430719">
                <a:moveTo>
                  <a:pt x="4854003" y="0"/>
                </a:moveTo>
                <a:lnTo>
                  <a:pt x="5290896" y="0"/>
                </a:lnTo>
                <a:lnTo>
                  <a:pt x="5291109" y="0"/>
                </a:lnTo>
                <a:cubicBezTo>
                  <a:pt x="5544517" y="0"/>
                  <a:pt x="5756054" y="179692"/>
                  <a:pt x="5804978" y="418775"/>
                </a:cubicBezTo>
                <a:lnTo>
                  <a:pt x="5806153" y="430428"/>
                </a:lnTo>
                <a:lnTo>
                  <a:pt x="0" y="430719"/>
                </a:lnTo>
                <a:lnTo>
                  <a:pt x="0" y="26"/>
                </a:lnTo>
                <a:lnTo>
                  <a:pt x="4853974" y="86"/>
                </a:lnTo>
                <a:close/>
              </a:path>
            </a:pathLst>
          </a:custGeom>
          <a:solidFill>
            <a:srgbClr val="132153"/>
          </a:solidFill>
        </p:spPr>
        <p:txBody>
          <a:bodyPr wrap="square" lIns="288000" tIns="108000" bIns="72000" anchor="ctr">
            <a:noAutofit/>
          </a:bodyPr>
          <a:lstStyle>
            <a:lvl1pPr>
              <a:defRPr cap="all" baseline="0">
                <a:solidFill>
                  <a:srgbClr val="00FF94"/>
                </a:solidFill>
                <a:latin typeface="+mj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pt-PT" dirty="0"/>
              <a:t>Ejemplo de texto destacado</a:t>
            </a:r>
          </a:p>
        </p:txBody>
      </p:sp>
      <p:sp>
        <p:nvSpPr>
          <p:cNvPr id="8" name="Forma livre: Forma 7">
            <a:extLst>
              <a:ext uri="{FF2B5EF4-FFF2-40B4-BE49-F238E27FC236}">
                <a16:creationId xmlns:a16="http://schemas.microsoft.com/office/drawing/2014/main" id="{AC58A5EB-DC21-54AB-BD7F-53F95784DCD9}"/>
              </a:ext>
            </a:extLst>
          </p:cNvPr>
          <p:cNvSpPr/>
          <p:nvPr userDrawn="1"/>
        </p:nvSpPr>
        <p:spPr>
          <a:xfrm>
            <a:off x="417000" y="2117369"/>
            <a:ext cx="11358000" cy="4740630"/>
          </a:xfrm>
          <a:custGeom>
            <a:avLst/>
            <a:gdLst>
              <a:gd name="connsiteX0" fmla="*/ 2220906 w 2220906"/>
              <a:gd name="connsiteY0" fmla="*/ 0 h 524519"/>
              <a:gd name="connsiteX1" fmla="*/ 2220906 w 2220906"/>
              <a:gd name="connsiteY1" fmla="*/ 524457 h 524519"/>
              <a:gd name="connsiteX2" fmla="*/ 0 w 2220906"/>
              <a:gd name="connsiteY2" fmla="*/ 524519 h 524519"/>
              <a:gd name="connsiteX3" fmla="*/ 0 w 2220906"/>
              <a:gd name="connsiteY3" fmla="*/ 62 h 5245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220906" h="524519">
                <a:moveTo>
                  <a:pt x="2220906" y="0"/>
                </a:moveTo>
                <a:lnTo>
                  <a:pt x="2220906" y="524457"/>
                </a:lnTo>
                <a:lnTo>
                  <a:pt x="0" y="524519"/>
                </a:lnTo>
                <a:lnTo>
                  <a:pt x="0" y="62"/>
                </a:lnTo>
                <a:close/>
              </a:path>
            </a:pathLst>
          </a:custGeom>
          <a:solidFill>
            <a:schemeClr val="bg1"/>
          </a:solidFill>
          <a:ln w="4244" cap="flat">
            <a:noFill/>
            <a:prstDash val="solid"/>
            <a:miter/>
          </a:ln>
          <a:effectLst>
            <a:outerShdw blurRad="254000" algn="ctr" rotWithShape="0">
              <a:srgbClr val="132153">
                <a:alpha val="5000"/>
              </a:srgb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pt-PT" dirty="0">
              <a:solidFill>
                <a:schemeClr val="tx1"/>
              </a:solidFill>
            </a:endParaRPr>
          </a:p>
        </p:txBody>
      </p:sp>
      <p:sp>
        <p:nvSpPr>
          <p:cNvPr id="24" name="Marcador de Posição da Tabela 23">
            <a:extLst>
              <a:ext uri="{FF2B5EF4-FFF2-40B4-BE49-F238E27FC236}">
                <a16:creationId xmlns:a16="http://schemas.microsoft.com/office/drawing/2014/main" id="{1E725B66-0E36-6131-0A6B-701D8F8A246B}"/>
              </a:ext>
            </a:extLst>
          </p:cNvPr>
          <p:cNvSpPr>
            <a:spLocks noGrp="1"/>
          </p:cNvSpPr>
          <p:nvPr>
            <p:ph type="tbl" sz="quarter" idx="12"/>
          </p:nvPr>
        </p:nvSpPr>
        <p:spPr>
          <a:xfrm>
            <a:off x="752475" y="2305051"/>
            <a:ext cx="10725150" cy="4051300"/>
          </a:xfrm>
        </p:spPr>
        <p:txBody>
          <a:bodyPr/>
          <a:lstStyle/>
          <a:p>
            <a:endParaRPr lang="pt-PT"/>
          </a:p>
        </p:txBody>
      </p:sp>
      <p:pic>
        <p:nvPicPr>
          <p:cNvPr id="2" name="Imagem 1">
            <a:extLst>
              <a:ext uri="{FF2B5EF4-FFF2-40B4-BE49-F238E27FC236}">
                <a16:creationId xmlns:a16="http://schemas.microsoft.com/office/drawing/2014/main" id="{8F3A35B4-9B6B-D12D-6472-0FEC613D862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 l="17318" t="60814" r="14165" b="11057"/>
          <a:stretch>
            <a:fillRect/>
          </a:stretch>
        </p:blipFill>
        <p:spPr>
          <a:xfrm>
            <a:off x="5486400" y="-42423"/>
            <a:ext cx="6705178" cy="2752722"/>
          </a:xfrm>
          <a:prstGeom prst="rect">
            <a:avLst/>
          </a:prstGeom>
        </p:spPr>
      </p:pic>
      <p:sp>
        <p:nvSpPr>
          <p:cNvPr id="11" name="Título 6">
            <a:extLst>
              <a:ext uri="{FF2B5EF4-FFF2-40B4-BE49-F238E27FC236}">
                <a16:creationId xmlns:a16="http://schemas.microsoft.com/office/drawing/2014/main" id="{0B0EE031-29A2-4C73-9FA7-8FA1F7C769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3184" y="550508"/>
            <a:ext cx="11165632" cy="712204"/>
          </a:xfrm>
        </p:spPr>
        <p:txBody>
          <a:bodyPr>
            <a:normAutofit/>
          </a:bodyPr>
          <a:lstStyle>
            <a:lvl1pPr>
              <a:defRPr sz="3200"/>
            </a:lvl1pPr>
          </a:lstStyle>
          <a:p>
            <a:r>
              <a:rPr lang="pt-PT" dirty="0"/>
              <a:t>Insertar título de la slide</a:t>
            </a:r>
          </a:p>
        </p:txBody>
      </p:sp>
      <p:sp>
        <p:nvSpPr>
          <p:cNvPr id="12" name="Marcador de Posição do Texto 8">
            <a:extLst>
              <a:ext uri="{FF2B5EF4-FFF2-40B4-BE49-F238E27FC236}">
                <a16:creationId xmlns:a16="http://schemas.microsoft.com/office/drawing/2014/main" id="{16D814CC-C5CC-44CD-8974-90C1507B9CB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12763" y="1156317"/>
            <a:ext cx="11166475" cy="355243"/>
          </a:xfrm>
        </p:spPr>
        <p:txBody>
          <a:bodyPr>
            <a:normAutofit/>
          </a:bodyPr>
          <a:lstStyle>
            <a:lvl1pPr>
              <a:defRPr sz="200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pt-PT" dirty="0"/>
              <a:t>Insertar subtítulo de la slide</a:t>
            </a:r>
          </a:p>
        </p:txBody>
      </p:sp>
      <p:sp>
        <p:nvSpPr>
          <p:cNvPr id="9" name="Marcador de Posição do Rodapé 4">
            <a:extLst>
              <a:ext uri="{FF2B5EF4-FFF2-40B4-BE49-F238E27FC236}">
                <a16:creationId xmlns:a16="http://schemas.microsoft.com/office/drawing/2014/main" id="{AB21FCB0-56FA-4BBA-AA7F-0753C9B2DD7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12762" y="6356350"/>
            <a:ext cx="534669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accent2"/>
                </a:solidFill>
              </a:defRPr>
            </a:lvl1pPr>
          </a:lstStyle>
          <a:p>
            <a:r>
              <a:rPr lang="pt-PT"/>
              <a:t>Título de la presentación</a:t>
            </a:r>
            <a:endParaRPr lang="pt-PT" dirty="0"/>
          </a:p>
        </p:txBody>
      </p:sp>
      <p:sp>
        <p:nvSpPr>
          <p:cNvPr id="10" name="Marcador de Posição do Número do Diapositivo 5">
            <a:extLst>
              <a:ext uri="{FF2B5EF4-FFF2-40B4-BE49-F238E27FC236}">
                <a16:creationId xmlns:a16="http://schemas.microsoft.com/office/drawing/2014/main" id="{8E4CDCC5-D4C5-4506-84B8-C62646750EA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936039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accent2"/>
                </a:solidFill>
              </a:defRPr>
            </a:lvl1pPr>
          </a:lstStyle>
          <a:p>
            <a:fld id="{24A347C2-D68E-473A-8C76-1D063E4EB6E0}" type="slidenum">
              <a:rPr lang="es-ES" smtClean="0"/>
              <a:pPr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60925383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decel="10000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8">
                                            <p:bg/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8">
                                            <p:bg/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decel="100000" fill="hold" grpId="0" nodeType="withEffect" nodePh="1">
                                  <p:stCondLst>
                                    <p:cond delay="250"/>
                                  </p:stCondLst>
                                  <p:endCondLst>
                                    <p:cond evt="begin" delay="0">
                                      <p:tn val="9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26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63" presetClass="path" presetSubtype="0" decel="100000" fill="hold" grpId="1" nodeType="withEffect">
                                  <p:stCondLst>
                                    <p:cond delay="500"/>
                                  </p:stCondLst>
                                  <p:childTnLst>
                                    <p:animMotion origin="layout" path="M 0 0 L 0.25 0 E" pathEditMode="relative" ptsTypes="">
                                      <p:cBhvr>
                                        <p:cTn id="20" dur="750" spd="-100000" fill="hold"/>
                                        <p:tgtEl>
                                          <p:spTgt spid="26">
                                            <p:bg/>
                                          </p:spTgt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21" presetID="63" presetClass="path" presetSubtype="0" decel="100000" fill="hold" grpId="1" nodeType="withEffect">
                                  <p:stCondLst>
                                    <p:cond delay="500"/>
                                  </p:stCondLst>
                                  <p:childTnLst>
                                    <p:animMotion origin="layout" path="M 2.08333E-7 -2.59259E-6 L 0.25 -2.59259E-6 " pathEditMode="relative" rAng="0" ptsTypes="AA">
                                      <p:cBhvr>
                                        <p:cTn id="22" dur="750" spd="-100000" fill="hold"/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2500" y="0"/>
                                    </p:animMotion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0" nodeType="withEffect" nodePh="1">
                                  <p:stCondLst>
                                    <p:cond delay="1250"/>
                                  </p:stCondLst>
                                  <p:endCondLst>
                                    <p:cond evt="begin" delay="0">
                                      <p:tn val="23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25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1719 -0.00023 L -1.25E-6 1.85185E-6 " pathEditMode="relative" rAng="0" ptsTypes="AA">
                                      <p:cBhvr>
                                        <p:cTn id="30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859" y="0"/>
                                    </p:animMotion>
                                  </p:childTnLst>
                                </p:cTn>
                              </p:par>
                              <p:par>
                                <p:cTn id="3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25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25E-6 0.03889 L 1.25E-6 1.85185E-6 " pathEditMode="relative" rAng="0" ptsTypes="AA">
                                      <p:cBhvr>
                                        <p:cTn id="35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944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6" grpId="0" build="p" animBg="1">
        <p:tmplLst>
          <p:tmpl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6"/>
                        </p:tgtEl>
                      </p:cBhvr>
                    </p:animEffect>
                  </p:childTnLst>
                </p:cTn>
              </p:par>
            </p:tnLst>
          </p:tmpl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6" grpId="1" build="p" animBg="1">
        <p:tmplLst>
          <p:tmpl>
            <p:tnLst>
              <p:par>
                <p:cTn presetID="63" presetClass="path" presetSubtype="0" decel="100000" fill="hold" nodeType="withEffect">
                  <p:stCondLst>
                    <p:cond delay="500"/>
                  </p:stCondLst>
                  <p:childTnLst>
                    <p:animMotion origin="layout" path="M 0 0 L 0.25 0 E" pathEditMode="relative" ptsTypes="">
                      <p:cBhvr>
                        <p:cTn dur="750" spd="-100000" fill="hold"/>
                        <p:tgtEl>
                          <p:spTgt spid="26"/>
                        </p:tgtEl>
                        <p:attrNameLst>
                          <p:attrName>ppt_x</p:attrName>
                          <p:attrName>ppt_y</p:attrName>
                        </p:attrNameLst>
                      </p:cBhvr>
                    </p:animMotion>
                  </p:childTnLst>
                </p:cTn>
              </p:par>
            </p:tnLst>
          </p:tmpl>
          <p:tmpl lvl="1">
            <p:tnLst>
              <p:par>
                <p:cTn presetID="63" presetClass="path" presetSubtype="0" decel="100000" fill="hold" nodeType="withEffect">
                  <p:stCondLst>
                    <p:cond delay="500"/>
                  </p:stCondLst>
                  <p:childTnLst>
                    <p:animMotion origin="layout" path="M 2.08333E-7 -2.59259E-6 L 0.25 -2.59259E-6 " pathEditMode="relative" rAng="0" ptsTypes="AA">
                      <p:cBhvr>
                        <p:cTn dur="750" spd="-100000" fill="hold"/>
                        <p:tgtEl>
                          <p:spTgt spid="26"/>
                        </p:tgtEl>
                        <p:attrNameLst>
                          <p:attrName>ppt_x</p:attrName>
                          <p:attrName>ppt_y</p:attrName>
                        </p:attrNameLst>
                      </p:cBhvr>
                      <p:rCtr x="12500" y="0"/>
                    </p:animMotion>
                  </p:childTnLst>
                </p:cTn>
              </p:par>
            </p:tnLst>
          </p:tmpl>
        </p:tmplLst>
      </p:bldP>
      <p:bldP spid="8" grpId="0" build="allAtOnce" animBg="1"/>
      <p:bldP spid="24" grpId="0"/>
      <p:bldP spid="11" grpId="0"/>
      <p:bldP spid="11" grpId="1"/>
      <p:bldP spid="12" grpId="0">
        <p:tmplLst>
          <p:tmpl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250"/>
                        <p:tgtEl>
                          <p:spTgt spid="1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2" grpId="1"/>
    </p:bld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Esquema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Retângulo 26">
            <a:extLst>
              <a:ext uri="{FF2B5EF4-FFF2-40B4-BE49-F238E27FC236}">
                <a16:creationId xmlns:a16="http://schemas.microsoft.com/office/drawing/2014/main" id="{1D444A38-233E-5929-EAC0-84F2682E8293}"/>
              </a:ext>
            </a:extLst>
          </p:cNvPr>
          <p:cNvSpPr/>
          <p:nvPr userDrawn="1"/>
        </p:nvSpPr>
        <p:spPr>
          <a:xfrm>
            <a:off x="0" y="5057774"/>
            <a:ext cx="12192000" cy="1800225"/>
          </a:xfrm>
          <a:prstGeom prst="rect">
            <a:avLst/>
          </a:prstGeom>
          <a:solidFill>
            <a:srgbClr val="184BF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  <p:sp>
        <p:nvSpPr>
          <p:cNvPr id="26" name="Marcador de Posição do Texto 25">
            <a:extLst>
              <a:ext uri="{FF2B5EF4-FFF2-40B4-BE49-F238E27FC236}">
                <a16:creationId xmlns:a16="http://schemas.microsoft.com/office/drawing/2014/main" id="{ECE5432A-559C-0DA7-0E87-D7B99731271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16738" y="1687205"/>
            <a:ext cx="5806153" cy="430719"/>
          </a:xfrm>
          <a:custGeom>
            <a:avLst/>
            <a:gdLst>
              <a:gd name="connsiteX0" fmla="*/ 4854003 w 5806153"/>
              <a:gd name="connsiteY0" fmla="*/ 0 h 430719"/>
              <a:gd name="connsiteX1" fmla="*/ 5290896 w 5806153"/>
              <a:gd name="connsiteY1" fmla="*/ 0 h 430719"/>
              <a:gd name="connsiteX2" fmla="*/ 5291109 w 5806153"/>
              <a:gd name="connsiteY2" fmla="*/ 0 h 430719"/>
              <a:gd name="connsiteX3" fmla="*/ 5804978 w 5806153"/>
              <a:gd name="connsiteY3" fmla="*/ 418775 h 430719"/>
              <a:gd name="connsiteX4" fmla="*/ 5806153 w 5806153"/>
              <a:gd name="connsiteY4" fmla="*/ 430428 h 430719"/>
              <a:gd name="connsiteX5" fmla="*/ 0 w 5806153"/>
              <a:gd name="connsiteY5" fmla="*/ 430719 h 430719"/>
              <a:gd name="connsiteX6" fmla="*/ 0 w 5806153"/>
              <a:gd name="connsiteY6" fmla="*/ 26 h 430719"/>
              <a:gd name="connsiteX7" fmla="*/ 4853974 w 5806153"/>
              <a:gd name="connsiteY7" fmla="*/ 86 h 4307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806153" h="430719">
                <a:moveTo>
                  <a:pt x="4854003" y="0"/>
                </a:moveTo>
                <a:lnTo>
                  <a:pt x="5290896" y="0"/>
                </a:lnTo>
                <a:lnTo>
                  <a:pt x="5291109" y="0"/>
                </a:lnTo>
                <a:cubicBezTo>
                  <a:pt x="5544517" y="0"/>
                  <a:pt x="5756054" y="179692"/>
                  <a:pt x="5804978" y="418775"/>
                </a:cubicBezTo>
                <a:lnTo>
                  <a:pt x="5806153" y="430428"/>
                </a:lnTo>
                <a:lnTo>
                  <a:pt x="0" y="430719"/>
                </a:lnTo>
                <a:lnTo>
                  <a:pt x="0" y="26"/>
                </a:lnTo>
                <a:lnTo>
                  <a:pt x="4853974" y="86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lIns="288000" tIns="108000" bIns="72000" anchor="ctr">
            <a:noAutofit/>
          </a:bodyPr>
          <a:lstStyle>
            <a:lvl1pPr>
              <a:defRPr cap="all" baseline="0">
                <a:solidFill>
                  <a:schemeClr val="accent1"/>
                </a:solidFill>
                <a:latin typeface="+mj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pt-PT" dirty="0"/>
              <a:t>EJemplo de texto destacado</a:t>
            </a:r>
          </a:p>
        </p:txBody>
      </p:sp>
      <p:sp>
        <p:nvSpPr>
          <p:cNvPr id="8" name="Forma livre: Forma 7">
            <a:extLst>
              <a:ext uri="{FF2B5EF4-FFF2-40B4-BE49-F238E27FC236}">
                <a16:creationId xmlns:a16="http://schemas.microsoft.com/office/drawing/2014/main" id="{AC58A5EB-DC21-54AB-BD7F-53F95784DCD9}"/>
              </a:ext>
            </a:extLst>
          </p:cNvPr>
          <p:cNvSpPr/>
          <p:nvPr userDrawn="1"/>
        </p:nvSpPr>
        <p:spPr>
          <a:xfrm>
            <a:off x="417000" y="2117369"/>
            <a:ext cx="11358000" cy="4740630"/>
          </a:xfrm>
          <a:custGeom>
            <a:avLst/>
            <a:gdLst>
              <a:gd name="connsiteX0" fmla="*/ 2220906 w 2220906"/>
              <a:gd name="connsiteY0" fmla="*/ 0 h 524519"/>
              <a:gd name="connsiteX1" fmla="*/ 2220906 w 2220906"/>
              <a:gd name="connsiteY1" fmla="*/ 524457 h 524519"/>
              <a:gd name="connsiteX2" fmla="*/ 0 w 2220906"/>
              <a:gd name="connsiteY2" fmla="*/ 524519 h 524519"/>
              <a:gd name="connsiteX3" fmla="*/ 0 w 2220906"/>
              <a:gd name="connsiteY3" fmla="*/ 62 h 5245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220906" h="524519">
                <a:moveTo>
                  <a:pt x="2220906" y="0"/>
                </a:moveTo>
                <a:lnTo>
                  <a:pt x="2220906" y="524457"/>
                </a:lnTo>
                <a:lnTo>
                  <a:pt x="0" y="524519"/>
                </a:lnTo>
                <a:lnTo>
                  <a:pt x="0" y="62"/>
                </a:lnTo>
                <a:close/>
              </a:path>
            </a:pathLst>
          </a:custGeom>
          <a:solidFill>
            <a:schemeClr val="bg1"/>
          </a:solidFill>
          <a:ln w="4244" cap="flat">
            <a:noFill/>
            <a:prstDash val="solid"/>
            <a:miter/>
          </a:ln>
          <a:effectLst>
            <a:outerShdw blurRad="254000" algn="ctr" rotWithShape="0">
              <a:srgbClr val="132153">
                <a:alpha val="5000"/>
              </a:srgb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pt-PT">
              <a:solidFill>
                <a:schemeClr val="tx1"/>
              </a:solidFill>
            </a:endParaRPr>
          </a:p>
        </p:txBody>
      </p:sp>
      <p:sp>
        <p:nvSpPr>
          <p:cNvPr id="3" name="Marcador de Posição do Gráfico 2">
            <a:extLst>
              <a:ext uri="{FF2B5EF4-FFF2-40B4-BE49-F238E27FC236}">
                <a16:creationId xmlns:a16="http://schemas.microsoft.com/office/drawing/2014/main" id="{F8BD5F76-D407-5D6C-629E-225BB57E4352}"/>
              </a:ext>
            </a:extLst>
          </p:cNvPr>
          <p:cNvSpPr>
            <a:spLocks noGrp="1"/>
          </p:cNvSpPr>
          <p:nvPr>
            <p:ph type="chart" sz="quarter" idx="12"/>
          </p:nvPr>
        </p:nvSpPr>
        <p:spPr>
          <a:xfrm>
            <a:off x="696913" y="2322513"/>
            <a:ext cx="10798175" cy="4033837"/>
          </a:xfrm>
        </p:spPr>
        <p:txBody>
          <a:bodyPr/>
          <a:lstStyle/>
          <a:p>
            <a:endParaRPr lang="pt-PT"/>
          </a:p>
        </p:txBody>
      </p:sp>
      <p:pic>
        <p:nvPicPr>
          <p:cNvPr id="5" name="Imagem 4">
            <a:extLst>
              <a:ext uri="{FF2B5EF4-FFF2-40B4-BE49-F238E27FC236}">
                <a16:creationId xmlns:a16="http://schemas.microsoft.com/office/drawing/2014/main" id="{B7EB6479-1B74-F921-30EC-CC10CB81D63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 l="21001" t="10643" r="27316" b="69832"/>
          <a:stretch>
            <a:fillRect/>
          </a:stretch>
        </p:blipFill>
        <p:spPr>
          <a:xfrm flipV="1">
            <a:off x="4550752" y="0"/>
            <a:ext cx="7641248" cy="2885002"/>
          </a:xfrm>
          <a:prstGeom prst="rect">
            <a:avLst/>
          </a:prstGeom>
        </p:spPr>
      </p:pic>
      <p:sp>
        <p:nvSpPr>
          <p:cNvPr id="9" name="Título 6">
            <a:extLst>
              <a:ext uri="{FF2B5EF4-FFF2-40B4-BE49-F238E27FC236}">
                <a16:creationId xmlns:a16="http://schemas.microsoft.com/office/drawing/2014/main" id="{D895835B-A206-4906-9F7C-DFAC5AF5FF7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3184" y="550508"/>
            <a:ext cx="11165632" cy="712204"/>
          </a:xfrm>
        </p:spPr>
        <p:txBody>
          <a:bodyPr>
            <a:normAutofit/>
          </a:bodyPr>
          <a:lstStyle>
            <a:lvl1pPr>
              <a:defRPr sz="3200"/>
            </a:lvl1pPr>
          </a:lstStyle>
          <a:p>
            <a:r>
              <a:rPr lang="pt-PT" dirty="0"/>
              <a:t>Insertar título de la slide</a:t>
            </a:r>
          </a:p>
        </p:txBody>
      </p:sp>
      <p:sp>
        <p:nvSpPr>
          <p:cNvPr id="10" name="Marcador de Posição do Texto 8">
            <a:extLst>
              <a:ext uri="{FF2B5EF4-FFF2-40B4-BE49-F238E27FC236}">
                <a16:creationId xmlns:a16="http://schemas.microsoft.com/office/drawing/2014/main" id="{5D85E8CB-4C8C-44E3-8BFB-AB74B2568D7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12763" y="1156317"/>
            <a:ext cx="11166475" cy="355243"/>
          </a:xfrm>
        </p:spPr>
        <p:txBody>
          <a:bodyPr>
            <a:normAutofit/>
          </a:bodyPr>
          <a:lstStyle>
            <a:lvl1pPr>
              <a:defRPr sz="200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pt-PT" dirty="0"/>
              <a:t>Insertar subtítulo de la slide</a:t>
            </a:r>
          </a:p>
        </p:txBody>
      </p:sp>
      <p:sp>
        <p:nvSpPr>
          <p:cNvPr id="11" name="Marcador de Posição do Rodapé 4">
            <a:extLst>
              <a:ext uri="{FF2B5EF4-FFF2-40B4-BE49-F238E27FC236}">
                <a16:creationId xmlns:a16="http://schemas.microsoft.com/office/drawing/2014/main" id="{0B534E97-88F7-4CBA-B28E-092DBA9AFEB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12762" y="6356350"/>
            <a:ext cx="534669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accent2"/>
                </a:solidFill>
              </a:defRPr>
            </a:lvl1pPr>
          </a:lstStyle>
          <a:p>
            <a:r>
              <a:rPr lang="pt-PT"/>
              <a:t>Título de la presentación</a:t>
            </a:r>
            <a:endParaRPr lang="pt-PT" dirty="0"/>
          </a:p>
        </p:txBody>
      </p:sp>
      <p:sp>
        <p:nvSpPr>
          <p:cNvPr id="12" name="Marcador de Posição do Número do Diapositivo 5">
            <a:extLst>
              <a:ext uri="{FF2B5EF4-FFF2-40B4-BE49-F238E27FC236}">
                <a16:creationId xmlns:a16="http://schemas.microsoft.com/office/drawing/2014/main" id="{72995ACC-7567-48ED-B06E-91A02B9C01B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936039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accent2"/>
                </a:solidFill>
              </a:defRPr>
            </a:lvl1pPr>
          </a:lstStyle>
          <a:p>
            <a:fld id="{24A347C2-D68E-473A-8C76-1D063E4EB6E0}" type="slidenum">
              <a:rPr lang="es-ES" smtClean="0"/>
              <a:pPr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57326927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26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63" presetClass="path" presetSubtype="0" decel="100000" fill="hold" grpId="1" nodeType="withEffect">
                                  <p:stCondLst>
                                    <p:cond delay="250"/>
                                  </p:stCondLst>
                                  <p:childTnLst>
                                    <p:animMotion origin="layout" path="M 0 0 L 0.25 0 E" pathEditMode="relative" ptsTypes="">
                                      <p:cBhvr>
                                        <p:cTn id="16" dur="750" spd="-100000" fill="hold"/>
                                        <p:tgtEl>
                                          <p:spTgt spid="26">
                                            <p:bg/>
                                          </p:spTgt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17" presetID="63" presetClass="path" presetSubtype="0" decel="100000" fill="hold" grpId="1" nodeType="withEffect">
                                  <p:stCondLst>
                                    <p:cond delay="250"/>
                                  </p:stCondLst>
                                  <p:childTnLst>
                                    <p:animMotion origin="layout" path="M 2.08333E-7 -2.59259E-6 L 0.25 -2.59259E-6 " pathEditMode="relative" rAng="0" ptsTypes="AA">
                                      <p:cBhvr>
                                        <p:cTn id="18" dur="750" spd="-100000" fill="hold"/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2500" y="0"/>
                                    </p:animMotion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grpId="0" nodeType="withEffect" nodePh="1">
                                  <p:stCondLst>
                                    <p:cond delay="1000"/>
                                  </p:stCondLst>
                                  <p:endCondLst>
                                    <p:cond evt="begin" delay="0">
                                      <p:tn val="19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25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1719 -0.00023 L -1.25E-6 1.85185E-6 " pathEditMode="relative" rAng="0" ptsTypes="AA">
                                      <p:cBhvr>
                                        <p:cTn id="26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859" y="0"/>
                                    </p:animMotion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25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25E-6 0.03889 L 1.25E-6 1.85185E-6 " pathEditMode="relative" rAng="0" ptsTypes="AA">
                                      <p:cBhvr>
                                        <p:cTn id="31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944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6" grpId="0" build="p" animBg="1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6"/>
                        </p:tgtEl>
                      </p:cBhvr>
                    </p:animEffect>
                  </p:childTnLst>
                </p:cTn>
              </p:par>
            </p:tnLst>
          </p:tmpl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6" grpId="1" build="p" animBg="1">
        <p:tmplLst>
          <p:tmpl>
            <p:tnLst>
              <p:par>
                <p:cTn presetID="63" presetClass="path" presetSubtype="0" decel="100000" fill="hold" nodeType="withEffect">
                  <p:stCondLst>
                    <p:cond delay="250"/>
                  </p:stCondLst>
                  <p:childTnLst>
                    <p:animMotion origin="layout" path="M 0 0 L 0.25 0 E" pathEditMode="relative" ptsTypes="">
                      <p:cBhvr>
                        <p:cTn dur="750" spd="-100000" fill="hold"/>
                        <p:tgtEl>
                          <p:spTgt spid="26"/>
                        </p:tgtEl>
                        <p:attrNameLst>
                          <p:attrName>ppt_x</p:attrName>
                          <p:attrName>ppt_y</p:attrName>
                        </p:attrNameLst>
                      </p:cBhvr>
                    </p:animMotion>
                  </p:childTnLst>
                </p:cTn>
              </p:par>
            </p:tnLst>
          </p:tmpl>
          <p:tmpl lvl="1">
            <p:tnLst>
              <p:par>
                <p:cTn presetID="63" presetClass="path" presetSubtype="0" decel="100000" fill="hold" nodeType="withEffect">
                  <p:stCondLst>
                    <p:cond delay="250"/>
                  </p:stCondLst>
                  <p:childTnLst>
                    <p:animMotion origin="layout" path="M 2.08333E-7 -2.59259E-6 L 0.25 -2.59259E-6 " pathEditMode="relative" rAng="0" ptsTypes="AA">
                      <p:cBhvr>
                        <p:cTn dur="750" spd="-100000" fill="hold"/>
                        <p:tgtEl>
                          <p:spTgt spid="26"/>
                        </p:tgtEl>
                        <p:attrNameLst>
                          <p:attrName>ppt_x</p:attrName>
                          <p:attrName>ppt_y</p:attrName>
                        </p:attrNameLst>
                      </p:cBhvr>
                      <p:rCtr x="12500" y="0"/>
                    </p:animMotion>
                  </p:childTnLst>
                </p:cTn>
              </p:par>
            </p:tnLst>
          </p:tmpl>
        </p:tmplLst>
      </p:bldP>
      <p:bldP spid="8" grpId="0" animBg="1"/>
      <p:bldP spid="3" grpId="0"/>
      <p:bldP spid="9" grpId="0"/>
      <p:bldP spid="9" grpId="1"/>
      <p:bldP spid="10" grpId="0">
        <p:tmplLst>
          <p:tmpl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250"/>
                        <p:tgtEl>
                          <p:spTgt spid="1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0" grpId="1"/>
    </p:bld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Esquema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m 2">
            <a:extLst>
              <a:ext uri="{FF2B5EF4-FFF2-40B4-BE49-F238E27FC236}">
                <a16:creationId xmlns:a16="http://schemas.microsoft.com/office/drawing/2014/main" id="{1DD95233-05E9-40E6-BB74-80F43E20A56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 l="13395" t="20445" r="62199" b="57601"/>
          <a:stretch>
            <a:fillRect/>
          </a:stretch>
        </p:blipFill>
        <p:spPr>
          <a:xfrm flipH="1">
            <a:off x="2743197" y="4907184"/>
            <a:ext cx="6391376" cy="1950816"/>
          </a:xfrm>
          <a:prstGeom prst="rect">
            <a:avLst/>
          </a:prstGeom>
        </p:spPr>
      </p:pic>
      <p:pic>
        <p:nvPicPr>
          <p:cNvPr id="3" name="Imagem 2">
            <a:extLst>
              <a:ext uri="{FF2B5EF4-FFF2-40B4-BE49-F238E27FC236}">
                <a16:creationId xmlns:a16="http://schemas.microsoft.com/office/drawing/2014/main" id="{CF054127-8C14-64DF-9249-490B6F2CFB3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 l="13395" t="20445" r="62199" b="57601"/>
          <a:stretch>
            <a:fillRect/>
          </a:stretch>
        </p:blipFill>
        <p:spPr>
          <a:xfrm>
            <a:off x="8583561" y="3614057"/>
            <a:ext cx="3608439" cy="3243943"/>
          </a:xfrm>
          <a:prstGeom prst="rect">
            <a:avLst/>
          </a:prstGeom>
        </p:spPr>
      </p:pic>
      <p:sp>
        <p:nvSpPr>
          <p:cNvPr id="11" name="Forma livre: Forma 10">
            <a:extLst>
              <a:ext uri="{FF2B5EF4-FFF2-40B4-BE49-F238E27FC236}">
                <a16:creationId xmlns:a16="http://schemas.microsoft.com/office/drawing/2014/main" id="{4E37D963-A34F-8D08-94E5-2F4C013EAB8D}"/>
              </a:ext>
            </a:extLst>
          </p:cNvPr>
          <p:cNvSpPr/>
          <p:nvPr userDrawn="1"/>
        </p:nvSpPr>
        <p:spPr>
          <a:xfrm>
            <a:off x="2743198" y="3614057"/>
            <a:ext cx="9448802" cy="2608943"/>
          </a:xfrm>
          <a:custGeom>
            <a:avLst/>
            <a:gdLst>
              <a:gd name="connsiteX0" fmla="*/ 2220906 w 2220906"/>
              <a:gd name="connsiteY0" fmla="*/ 0 h 524519"/>
              <a:gd name="connsiteX1" fmla="*/ 2220906 w 2220906"/>
              <a:gd name="connsiteY1" fmla="*/ 524457 h 524519"/>
              <a:gd name="connsiteX2" fmla="*/ 0 w 2220906"/>
              <a:gd name="connsiteY2" fmla="*/ 524519 h 524519"/>
              <a:gd name="connsiteX3" fmla="*/ 0 w 2220906"/>
              <a:gd name="connsiteY3" fmla="*/ 62 h 5245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220906" h="524519">
                <a:moveTo>
                  <a:pt x="2220906" y="0"/>
                </a:moveTo>
                <a:lnTo>
                  <a:pt x="2220906" y="524457"/>
                </a:lnTo>
                <a:lnTo>
                  <a:pt x="0" y="524519"/>
                </a:lnTo>
                <a:lnTo>
                  <a:pt x="0" y="62"/>
                </a:lnTo>
                <a:close/>
              </a:path>
            </a:pathLst>
          </a:custGeom>
          <a:solidFill>
            <a:schemeClr val="bg1"/>
          </a:solidFill>
          <a:ln w="4244" cap="flat">
            <a:noFill/>
            <a:prstDash val="solid"/>
            <a:miter/>
          </a:ln>
          <a:effectLst>
            <a:outerShdw blurRad="254000" algn="ctr" rotWithShape="0">
              <a:srgbClr val="132153">
                <a:alpha val="5000"/>
              </a:srgb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pt-PT">
              <a:solidFill>
                <a:schemeClr val="tx1"/>
              </a:solidFill>
            </a:endParaRPr>
          </a:p>
        </p:txBody>
      </p:sp>
      <p:sp>
        <p:nvSpPr>
          <p:cNvPr id="6" name="Retângulo 5">
            <a:extLst>
              <a:ext uri="{FF2B5EF4-FFF2-40B4-BE49-F238E27FC236}">
                <a16:creationId xmlns:a16="http://schemas.microsoft.com/office/drawing/2014/main" id="{DAC8EF44-F1E5-DAC4-3D69-24F0312903A5}"/>
              </a:ext>
            </a:extLst>
          </p:cNvPr>
          <p:cNvSpPr/>
          <p:nvPr userDrawn="1"/>
        </p:nvSpPr>
        <p:spPr>
          <a:xfrm>
            <a:off x="0" y="0"/>
            <a:ext cx="2743200" cy="6858000"/>
          </a:xfrm>
          <a:prstGeom prst="rect">
            <a:avLst/>
          </a:prstGeom>
          <a:solidFill>
            <a:srgbClr val="184BF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  <p:pic>
        <p:nvPicPr>
          <p:cNvPr id="2" name="Imagem 1">
            <a:extLst>
              <a:ext uri="{FF2B5EF4-FFF2-40B4-BE49-F238E27FC236}">
                <a16:creationId xmlns:a16="http://schemas.microsoft.com/office/drawing/2014/main" id="{7F8C8C76-1A4E-005F-3BBF-1A7C1DF9ED98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 l="50000" t="51687" r="11105" b="16526"/>
          <a:stretch>
            <a:fillRect/>
          </a:stretch>
        </p:blipFill>
        <p:spPr>
          <a:xfrm>
            <a:off x="0" y="0"/>
            <a:ext cx="3806372" cy="3110807"/>
          </a:xfrm>
          <a:prstGeom prst="rect">
            <a:avLst/>
          </a:prstGeom>
        </p:spPr>
      </p:pic>
      <p:sp>
        <p:nvSpPr>
          <p:cNvPr id="8" name="Marcador de Posição da Imagem 7">
            <a:extLst>
              <a:ext uri="{FF2B5EF4-FFF2-40B4-BE49-F238E27FC236}">
                <a16:creationId xmlns:a16="http://schemas.microsoft.com/office/drawing/2014/main" id="{D7697865-846D-DF29-BB6D-48FDDFAEFF43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827217" y="592931"/>
            <a:ext cx="4923329" cy="5672137"/>
          </a:xfrm>
          <a:custGeom>
            <a:avLst/>
            <a:gdLst>
              <a:gd name="connsiteX0" fmla="*/ 3961694 w 4923329"/>
              <a:gd name="connsiteY0" fmla="*/ 0 h 5672137"/>
              <a:gd name="connsiteX1" fmla="*/ 4398587 w 4923329"/>
              <a:gd name="connsiteY1" fmla="*/ 0 h 5672137"/>
              <a:gd name="connsiteX2" fmla="*/ 4398800 w 4923329"/>
              <a:gd name="connsiteY2" fmla="*/ 0 h 5672137"/>
              <a:gd name="connsiteX3" fmla="*/ 4912669 w 4923329"/>
              <a:gd name="connsiteY3" fmla="*/ 418775 h 5672137"/>
              <a:gd name="connsiteX4" fmla="*/ 4923325 w 4923329"/>
              <a:gd name="connsiteY4" fmla="*/ 524482 h 5672137"/>
              <a:gd name="connsiteX5" fmla="*/ 4923329 w 4923329"/>
              <a:gd name="connsiteY5" fmla="*/ 524482 h 5672137"/>
              <a:gd name="connsiteX6" fmla="*/ 4923329 w 4923329"/>
              <a:gd name="connsiteY6" fmla="*/ 524524 h 5672137"/>
              <a:gd name="connsiteX7" fmla="*/ 4923329 w 4923329"/>
              <a:gd name="connsiteY7" fmla="*/ 5672137 h 5672137"/>
              <a:gd name="connsiteX8" fmla="*/ 1 w 4923329"/>
              <a:gd name="connsiteY8" fmla="*/ 5672137 h 5672137"/>
              <a:gd name="connsiteX9" fmla="*/ 1 w 4923329"/>
              <a:gd name="connsiteY9" fmla="*/ 524482 h 5672137"/>
              <a:gd name="connsiteX10" fmla="*/ 1500663 w 4923329"/>
              <a:gd name="connsiteY10" fmla="*/ 524482 h 5672137"/>
              <a:gd name="connsiteX11" fmla="*/ 0 w 4923329"/>
              <a:gd name="connsiteY11" fmla="*/ 524459 h 5672137"/>
              <a:gd name="connsiteX12" fmla="*/ 0 w 4923329"/>
              <a:gd name="connsiteY12" fmla="*/ 2 h 5672137"/>
              <a:gd name="connsiteX13" fmla="*/ 3961673 w 4923329"/>
              <a:gd name="connsiteY13" fmla="*/ 63 h 56721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4923329" h="5672137">
                <a:moveTo>
                  <a:pt x="3961694" y="0"/>
                </a:moveTo>
                <a:lnTo>
                  <a:pt x="4398587" y="0"/>
                </a:lnTo>
                <a:lnTo>
                  <a:pt x="4398800" y="0"/>
                </a:lnTo>
                <a:cubicBezTo>
                  <a:pt x="4652208" y="0"/>
                  <a:pt x="4863744" y="179692"/>
                  <a:pt x="4912669" y="418775"/>
                </a:cubicBezTo>
                <a:lnTo>
                  <a:pt x="4923325" y="524482"/>
                </a:lnTo>
                <a:lnTo>
                  <a:pt x="4923329" y="524482"/>
                </a:lnTo>
                <a:lnTo>
                  <a:pt x="4923329" y="524524"/>
                </a:lnTo>
                <a:lnTo>
                  <a:pt x="4923329" y="5672137"/>
                </a:lnTo>
                <a:lnTo>
                  <a:pt x="1" y="5672137"/>
                </a:lnTo>
                <a:lnTo>
                  <a:pt x="1" y="524482"/>
                </a:lnTo>
                <a:lnTo>
                  <a:pt x="1500663" y="524482"/>
                </a:lnTo>
                <a:lnTo>
                  <a:pt x="0" y="524459"/>
                </a:lnTo>
                <a:lnTo>
                  <a:pt x="0" y="2"/>
                </a:lnTo>
                <a:lnTo>
                  <a:pt x="3961673" y="63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pt-PT"/>
          </a:p>
        </p:txBody>
      </p:sp>
      <p:sp>
        <p:nvSpPr>
          <p:cNvPr id="9" name="Título 6">
            <a:extLst>
              <a:ext uri="{FF2B5EF4-FFF2-40B4-BE49-F238E27FC236}">
                <a16:creationId xmlns:a16="http://schemas.microsoft.com/office/drawing/2014/main" id="{D2F38B66-BC07-7243-0314-6904408A0F8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13714" y="1479423"/>
            <a:ext cx="5365102" cy="712204"/>
          </a:xfrm>
        </p:spPr>
        <p:txBody>
          <a:bodyPr>
            <a:noAutofit/>
          </a:bodyPr>
          <a:lstStyle>
            <a:lvl1pPr>
              <a:defRPr sz="3200"/>
            </a:lvl1pPr>
          </a:lstStyle>
          <a:p>
            <a:r>
              <a:rPr lang="pt-PT" dirty="0"/>
              <a:t>Insertar título de la slide</a:t>
            </a:r>
          </a:p>
        </p:txBody>
      </p:sp>
      <p:sp>
        <p:nvSpPr>
          <p:cNvPr id="12" name="Marcador de Posição do Texto 10">
            <a:extLst>
              <a:ext uri="{FF2B5EF4-FFF2-40B4-BE49-F238E27FC236}">
                <a16:creationId xmlns:a16="http://schemas.microsoft.com/office/drawing/2014/main" id="{EEF7D4BC-79C5-9024-79B8-F8DAB7EF2D7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603152" y="3759200"/>
            <a:ext cx="4088268" cy="2231571"/>
          </a:xfrm>
        </p:spPr>
        <p:txBody>
          <a:bodyPr anchor="ctr"/>
          <a:lstStyle>
            <a:lvl1pPr>
              <a:defRPr/>
            </a:lvl1pPr>
            <a:lvl2pPr marL="171450" indent="-171450">
              <a:buClr>
                <a:schemeClr val="tx1"/>
              </a:buClr>
              <a:buFont typeface="Arial" panose="020B0604020202020204" pitchFamily="34" charset="0"/>
              <a:buChar char="•"/>
              <a:defRPr/>
            </a:lvl2pPr>
            <a:lvl3pPr marL="171450" indent="-171450">
              <a:buClr>
                <a:schemeClr val="tx1"/>
              </a:buClr>
              <a:buFont typeface="Arial" panose="020B0604020202020204" pitchFamily="34" charset="0"/>
              <a:buChar char="•"/>
              <a:defRPr/>
            </a:lvl3pPr>
            <a:lvl4pPr marL="171450" indent="-171450">
              <a:buClr>
                <a:schemeClr val="tx1"/>
              </a:buClr>
              <a:buFont typeface="Arial" panose="020B0604020202020204" pitchFamily="34" charset="0"/>
              <a:buChar char="•"/>
              <a:defRPr/>
            </a:lvl4pPr>
            <a:lvl5pPr marL="171450" indent="-171450">
              <a:buClr>
                <a:schemeClr val="tx1"/>
              </a:buClr>
              <a:buFont typeface="Arial" panose="020B0604020202020204" pitchFamily="34" charset="0"/>
              <a:buChar char="•"/>
              <a:defRPr/>
            </a:lvl5pPr>
          </a:lstStyle>
          <a:p>
            <a:pPr lvl="0"/>
            <a:r>
              <a:rPr lang="es-ES" dirty="0"/>
              <a:t>Haz </a:t>
            </a:r>
            <a:r>
              <a:rPr lang="es-ES" dirty="0" err="1"/>
              <a:t>click</a:t>
            </a:r>
            <a:r>
              <a:rPr lang="es-ES" dirty="0"/>
              <a:t> para editar los estilos del texto del modelo global</a:t>
            </a:r>
            <a:endParaRPr lang="pt-PT" dirty="0"/>
          </a:p>
          <a:p>
            <a:pPr lvl="1"/>
            <a:r>
              <a:rPr lang="es-ES" dirty="0"/>
              <a:t>Segundo nivel</a:t>
            </a:r>
          </a:p>
          <a:p>
            <a:pPr lvl="1"/>
            <a:r>
              <a:rPr lang="es-ES" dirty="0"/>
              <a:t>Tercer nivel</a:t>
            </a:r>
          </a:p>
          <a:p>
            <a:pPr lvl="1"/>
            <a:r>
              <a:rPr lang="es-ES" dirty="0"/>
              <a:t>Cuarto nivel</a:t>
            </a:r>
          </a:p>
          <a:p>
            <a:pPr lvl="1"/>
            <a:r>
              <a:rPr lang="es-ES" dirty="0"/>
              <a:t>Quinto nivel</a:t>
            </a:r>
            <a:endParaRPr lang="pt-PT" dirty="0"/>
          </a:p>
        </p:txBody>
      </p:sp>
      <p:sp>
        <p:nvSpPr>
          <p:cNvPr id="13" name="Marcador de Posição do Texto 12">
            <a:extLst>
              <a:ext uri="{FF2B5EF4-FFF2-40B4-BE49-F238E27FC236}">
                <a16:creationId xmlns:a16="http://schemas.microsoft.com/office/drawing/2014/main" id="{348F49FE-9B53-7468-E603-DA34A53CC20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313714" y="3110807"/>
            <a:ext cx="4667145" cy="524545"/>
          </a:xfrm>
          <a:custGeom>
            <a:avLst/>
            <a:gdLst>
              <a:gd name="connsiteX0" fmla="*/ 3705510 w 4667145"/>
              <a:gd name="connsiteY0" fmla="*/ 0 h 524545"/>
              <a:gd name="connsiteX1" fmla="*/ 4142403 w 4667145"/>
              <a:gd name="connsiteY1" fmla="*/ 0 h 524545"/>
              <a:gd name="connsiteX2" fmla="*/ 4142616 w 4667145"/>
              <a:gd name="connsiteY2" fmla="*/ 0 h 524545"/>
              <a:gd name="connsiteX3" fmla="*/ 4667145 w 4667145"/>
              <a:gd name="connsiteY3" fmla="*/ 524524 h 524545"/>
              <a:gd name="connsiteX4" fmla="*/ 3830077 w 4667145"/>
              <a:gd name="connsiteY4" fmla="*/ 524524 h 524545"/>
              <a:gd name="connsiteX5" fmla="*/ 3830077 w 4667145"/>
              <a:gd name="connsiteY5" fmla="*/ 524545 h 524545"/>
              <a:gd name="connsiteX6" fmla="*/ 0 w 4667145"/>
              <a:gd name="connsiteY6" fmla="*/ 524483 h 524545"/>
              <a:gd name="connsiteX7" fmla="*/ 0 w 4667145"/>
              <a:gd name="connsiteY7" fmla="*/ 26 h 524545"/>
              <a:gd name="connsiteX8" fmla="*/ 3705481 w 4667145"/>
              <a:gd name="connsiteY8" fmla="*/ 86 h 5245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667145" h="524545">
                <a:moveTo>
                  <a:pt x="3705510" y="0"/>
                </a:moveTo>
                <a:lnTo>
                  <a:pt x="4142403" y="0"/>
                </a:lnTo>
                <a:lnTo>
                  <a:pt x="4142616" y="0"/>
                </a:lnTo>
                <a:cubicBezTo>
                  <a:pt x="4432225" y="0"/>
                  <a:pt x="4667145" y="234700"/>
                  <a:pt x="4667145" y="524524"/>
                </a:cubicBezTo>
                <a:lnTo>
                  <a:pt x="3830077" y="524524"/>
                </a:lnTo>
                <a:lnTo>
                  <a:pt x="3830077" y="524545"/>
                </a:lnTo>
                <a:lnTo>
                  <a:pt x="0" y="524483"/>
                </a:lnTo>
                <a:lnTo>
                  <a:pt x="0" y="26"/>
                </a:lnTo>
                <a:lnTo>
                  <a:pt x="3705481" y="86"/>
                </a:lnTo>
                <a:close/>
              </a:path>
            </a:pathLst>
          </a:custGeom>
          <a:solidFill>
            <a:schemeClr val="accent2"/>
          </a:solidFill>
        </p:spPr>
        <p:txBody>
          <a:bodyPr wrap="square" lIns="936000" tIns="108000" anchor="ctr">
            <a:noAutofit/>
          </a:bodyPr>
          <a:lstStyle>
            <a:lvl1pPr>
              <a:defRPr sz="1800" cap="all" baseline="0">
                <a:solidFill>
                  <a:schemeClr val="bg1"/>
                </a:solidFill>
                <a:latin typeface="+mj-lt"/>
              </a:defRPr>
            </a:lvl1pPr>
            <a:lvl2pPr marL="171450" indent="-171450">
              <a:buClr>
                <a:schemeClr val="tx1"/>
              </a:buClr>
              <a:buFont typeface="Arial" panose="020B0604020202020204" pitchFamily="34" charset="0"/>
              <a:buChar char="•"/>
              <a:defRPr/>
            </a:lvl2pPr>
            <a:lvl3pPr marL="171450" indent="-171450">
              <a:buClr>
                <a:schemeClr val="tx1"/>
              </a:buClr>
              <a:buFont typeface="Arial" panose="020B0604020202020204" pitchFamily="34" charset="0"/>
              <a:buChar char="•"/>
              <a:defRPr/>
            </a:lvl3pPr>
            <a:lvl4pPr marL="171450" indent="-171450">
              <a:buClr>
                <a:schemeClr val="tx1"/>
              </a:buClr>
              <a:buFont typeface="Arial" panose="020B0604020202020204" pitchFamily="34" charset="0"/>
              <a:buChar char="•"/>
              <a:defRPr/>
            </a:lvl4pPr>
            <a:lvl5pPr marL="171450" indent="-171450">
              <a:buClr>
                <a:schemeClr val="tx1"/>
              </a:buClr>
              <a:buFont typeface="Arial" panose="020B0604020202020204" pitchFamily="34" charset="0"/>
              <a:buChar char="•"/>
              <a:defRPr/>
            </a:lvl5pPr>
          </a:lstStyle>
          <a:p>
            <a:pPr lvl="0"/>
            <a:r>
              <a:rPr lang="pt-PT" dirty="0"/>
              <a:t>Texto destacado</a:t>
            </a:r>
          </a:p>
        </p:txBody>
      </p:sp>
      <p:sp>
        <p:nvSpPr>
          <p:cNvPr id="14" name="Marcador de Posição do Rodapé 4">
            <a:extLst>
              <a:ext uri="{FF2B5EF4-FFF2-40B4-BE49-F238E27FC236}">
                <a16:creationId xmlns:a16="http://schemas.microsoft.com/office/drawing/2014/main" id="{E233F4D7-DB84-46DB-8BE1-5EE878E75BB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12762" y="6356350"/>
            <a:ext cx="534669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bg1"/>
                </a:solidFill>
              </a:defRPr>
            </a:lvl1pPr>
          </a:lstStyle>
          <a:p>
            <a:r>
              <a:rPr lang="pt-PT"/>
              <a:t>Título de la presentación</a:t>
            </a:r>
            <a:endParaRPr lang="pt-PT" dirty="0"/>
          </a:p>
        </p:txBody>
      </p:sp>
      <p:sp>
        <p:nvSpPr>
          <p:cNvPr id="15" name="Marcador de Posição do Número do Diapositivo 5">
            <a:extLst>
              <a:ext uri="{FF2B5EF4-FFF2-40B4-BE49-F238E27FC236}">
                <a16:creationId xmlns:a16="http://schemas.microsoft.com/office/drawing/2014/main" id="{D37F7EC7-BC4B-4CCA-A3F9-E73A7BBDBA6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936039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bg1"/>
                </a:solidFill>
              </a:defRPr>
            </a:lvl1pPr>
          </a:lstStyle>
          <a:p>
            <a:fld id="{24A347C2-D68E-473A-8C76-1D063E4EB6E0}" type="slidenum">
              <a:rPr lang="es-ES" smtClean="0"/>
              <a:pPr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40352545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8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4" decel="100000" fill="hold" grpId="0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13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75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75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25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1666 -0.00046 L 3.75E-6 1.85185E-6 " pathEditMode="relative" rAng="0" ptsTypes="AA">
                                      <p:cBhvr>
                                        <p:cTn id="21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83300" y="2300"/>
                                    </p:animMotion>
                                  </p:childTnLst>
                                </p:cTn>
                              </p:par>
                              <p:par>
                                <p:cTn id="22" presetID="2" presetClass="entr" presetSubtype="2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4" dur="75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5" dur="75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6" presetID="2" presetClass="entr" presetSubtype="2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8" dur="750" fill="hold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9" dur="750" fill="hold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0" presetID="2" presetClass="entr" presetSubtype="2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2" dur="750" fill="hold"/>
                                        <p:tgtEl>
                                          <p:spTgt spid="13">
                                            <p:bg/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3" dur="750" fill="hold"/>
                                        <p:tgtEl>
                                          <p:spTgt spid="13">
                                            <p:bg/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4" presetID="2" presetClass="entr" presetSubtype="2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6" dur="750" fill="hold"/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7" dur="750" fill="hold"/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animBg="1"/>
      <p:bldP spid="6" grpId="0" animBg="1"/>
      <p:bldP spid="8" grpId="0"/>
      <p:bldP spid="9" grpId="0"/>
      <p:bldP spid="9" grpId="1"/>
      <p:bldP spid="12" grpId="0" build="p">
        <p:tmplLst>
          <p:tmpl lvl="1">
            <p:tnLst>
              <p:par>
                <p:cTn presetID="2" presetClass="entr" presetSubtype="2" decel="10000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12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12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  <p:tmpl lvl="2">
            <p:tnLst>
              <p:par>
                <p:cTn presetID="2" presetClass="entr" presetSubtype="2" decel="10000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12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12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  <p:tmpl lvl="3">
            <p:tnLst>
              <p:par>
                <p:cTn presetID="2" presetClass="entr" presetSubtype="2" decel="10000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12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12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  <p:tmpl lvl="4">
            <p:tnLst>
              <p:par>
                <p:cTn presetID="2" presetClass="entr" presetSubtype="2" decel="10000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12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12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  <p:tmpl lvl="5">
            <p:tnLst>
              <p:par>
                <p:cTn presetID="2" presetClass="entr" presetSubtype="2" decel="10000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12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12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3" grpId="0" build="p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13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13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  <p:tmpl lvl="1">
            <p:tnLst>
              <p:par>
                <p:cTn presetID="2" presetClass="entr" presetSubtype="2" decel="10000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13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13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</p:bld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Esquema Personalizado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tângulo 205">
            <a:extLst>
              <a:ext uri="{FF2B5EF4-FFF2-40B4-BE49-F238E27FC236}">
                <a16:creationId xmlns:a16="http://schemas.microsoft.com/office/drawing/2014/main" id="{E6F28DD0-4266-1B08-6045-2FAD029B1981}"/>
              </a:ext>
            </a:extLst>
          </p:cNvPr>
          <p:cNvSpPr/>
          <p:nvPr userDrawn="1"/>
        </p:nvSpPr>
        <p:spPr>
          <a:xfrm rot="5400000">
            <a:off x="5915013" y="2095370"/>
            <a:ext cx="821097" cy="2396673"/>
          </a:xfrm>
          <a:custGeom>
            <a:avLst/>
            <a:gdLst>
              <a:gd name="connsiteX0" fmla="*/ 0 w 1635417"/>
              <a:gd name="connsiteY0" fmla="*/ 0 h 1179213"/>
              <a:gd name="connsiteX1" fmla="*/ 1635417 w 1635417"/>
              <a:gd name="connsiteY1" fmla="*/ 0 h 1179213"/>
              <a:gd name="connsiteX2" fmla="*/ 1635417 w 1635417"/>
              <a:gd name="connsiteY2" fmla="*/ 1179213 h 1179213"/>
              <a:gd name="connsiteX3" fmla="*/ 0 w 1635417"/>
              <a:gd name="connsiteY3" fmla="*/ 1179213 h 1179213"/>
              <a:gd name="connsiteX4" fmla="*/ 0 w 1635417"/>
              <a:gd name="connsiteY4" fmla="*/ 0 h 1179213"/>
              <a:gd name="connsiteX0" fmla="*/ 1635417 w 1726857"/>
              <a:gd name="connsiteY0" fmla="*/ 0 h 1179213"/>
              <a:gd name="connsiteX1" fmla="*/ 1635417 w 1726857"/>
              <a:gd name="connsiteY1" fmla="*/ 1179213 h 1179213"/>
              <a:gd name="connsiteX2" fmla="*/ 0 w 1726857"/>
              <a:gd name="connsiteY2" fmla="*/ 1179213 h 1179213"/>
              <a:gd name="connsiteX3" fmla="*/ 0 w 1726857"/>
              <a:gd name="connsiteY3" fmla="*/ 0 h 1179213"/>
              <a:gd name="connsiteX4" fmla="*/ 1726857 w 1726857"/>
              <a:gd name="connsiteY4" fmla="*/ 91440 h 1179213"/>
              <a:gd name="connsiteX0" fmla="*/ 1635417 w 1635417"/>
              <a:gd name="connsiteY0" fmla="*/ 0 h 1179213"/>
              <a:gd name="connsiteX1" fmla="*/ 1635417 w 1635417"/>
              <a:gd name="connsiteY1" fmla="*/ 1179213 h 1179213"/>
              <a:gd name="connsiteX2" fmla="*/ 0 w 1635417"/>
              <a:gd name="connsiteY2" fmla="*/ 1179213 h 1179213"/>
              <a:gd name="connsiteX3" fmla="*/ 0 w 1635417"/>
              <a:gd name="connsiteY3" fmla="*/ 0 h 1179213"/>
              <a:gd name="connsiteX0" fmla="*/ 1635417 w 1635417"/>
              <a:gd name="connsiteY0" fmla="*/ 1179213 h 1179213"/>
              <a:gd name="connsiteX1" fmla="*/ 0 w 1635417"/>
              <a:gd name="connsiteY1" fmla="*/ 1179213 h 1179213"/>
              <a:gd name="connsiteX2" fmla="*/ 0 w 1635417"/>
              <a:gd name="connsiteY2" fmla="*/ 0 h 11792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635417" h="1179213">
                <a:moveTo>
                  <a:pt x="1635417" y="1179213"/>
                </a:moveTo>
                <a:lnTo>
                  <a:pt x="0" y="1179213"/>
                </a:lnTo>
                <a:lnTo>
                  <a:pt x="0" y="0"/>
                </a:lnTo>
              </a:path>
            </a:pathLst>
          </a:custGeom>
          <a:noFill/>
          <a:ln w="6350" cap="sq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  <p:sp>
        <p:nvSpPr>
          <p:cNvPr id="27" name="Título 1">
            <a:extLst>
              <a:ext uri="{FF2B5EF4-FFF2-40B4-BE49-F238E27FC236}">
                <a16:creationId xmlns:a16="http://schemas.microsoft.com/office/drawing/2014/main" id="{B96EB667-6119-4B9C-9240-78BC5DC332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84846" y="3293706"/>
            <a:ext cx="5992780" cy="1325563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es-ES" dirty="0"/>
              <a:t>Haz </a:t>
            </a:r>
            <a:r>
              <a:rPr lang="es-ES" dirty="0" err="1"/>
              <a:t>click</a:t>
            </a:r>
            <a:r>
              <a:rPr lang="es-ES" dirty="0"/>
              <a:t> para editar el estilo de título del modelo global</a:t>
            </a:r>
            <a:endParaRPr lang="pt-PT" dirty="0"/>
          </a:p>
        </p:txBody>
      </p:sp>
      <p:sp>
        <p:nvSpPr>
          <p:cNvPr id="28" name="Marcador de Posição do Texto 8">
            <a:extLst>
              <a:ext uri="{FF2B5EF4-FFF2-40B4-BE49-F238E27FC236}">
                <a16:creationId xmlns:a16="http://schemas.microsoft.com/office/drawing/2014/main" id="{DAC78AEB-13C0-4599-A812-076880C58FD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484845" y="4809252"/>
            <a:ext cx="5992781" cy="560515"/>
          </a:xfrm>
        </p:spPr>
        <p:txBody>
          <a:bodyPr>
            <a:normAutofit/>
          </a:bodyPr>
          <a:lstStyle>
            <a:lvl1pPr>
              <a:defRPr sz="2000">
                <a:solidFill>
                  <a:schemeClr val="bg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s-ES" dirty="0"/>
              <a:t>Inserta el subtítulo de la presentación</a:t>
            </a:r>
            <a:endParaRPr lang="pt-PT" dirty="0"/>
          </a:p>
        </p:txBody>
      </p:sp>
      <p:sp>
        <p:nvSpPr>
          <p:cNvPr id="29" name="Marcador de Posição do Texto 8">
            <a:extLst>
              <a:ext uri="{FF2B5EF4-FFF2-40B4-BE49-F238E27FC236}">
                <a16:creationId xmlns:a16="http://schemas.microsoft.com/office/drawing/2014/main" id="{D51BE4AA-43DC-4D18-857C-4A5A919D817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484845" y="6050902"/>
            <a:ext cx="2866053" cy="261256"/>
          </a:xfrm>
        </p:spPr>
        <p:txBody>
          <a:bodyPr anchor="ctr">
            <a:normAutofit/>
          </a:bodyPr>
          <a:lstStyle>
            <a:lvl1pPr>
              <a:defRPr sz="1200">
                <a:solidFill>
                  <a:schemeClr val="bg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pt-PT" dirty="0"/>
              <a:t>Insertar otra información secundaria</a:t>
            </a:r>
          </a:p>
        </p:txBody>
      </p:sp>
      <p:sp>
        <p:nvSpPr>
          <p:cNvPr id="30" name="Marcador de Posição do Texto 8">
            <a:extLst>
              <a:ext uri="{FF2B5EF4-FFF2-40B4-BE49-F238E27FC236}">
                <a16:creationId xmlns:a16="http://schemas.microsoft.com/office/drawing/2014/main" id="{C337D94D-2E83-448C-AA6B-2C4A9CCC17D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611573" y="6050902"/>
            <a:ext cx="2866053" cy="261256"/>
          </a:xfrm>
        </p:spPr>
        <p:txBody>
          <a:bodyPr anchor="ctr">
            <a:normAutofit/>
          </a:bodyPr>
          <a:lstStyle>
            <a:lvl1pPr algn="r">
              <a:defRPr sz="1200">
                <a:solidFill>
                  <a:schemeClr val="bg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pt-PT" dirty="0"/>
              <a:t>Inserta fecha</a:t>
            </a:r>
          </a:p>
        </p:txBody>
      </p:sp>
      <p:grpSp>
        <p:nvGrpSpPr>
          <p:cNvPr id="14" name="Gráfico 2">
            <a:extLst>
              <a:ext uri="{FF2B5EF4-FFF2-40B4-BE49-F238E27FC236}">
                <a16:creationId xmlns:a16="http://schemas.microsoft.com/office/drawing/2014/main" id="{3CBC98F5-9DE4-4EFD-AC0E-E196EBDFED2D}"/>
              </a:ext>
            </a:extLst>
          </p:cNvPr>
          <p:cNvGrpSpPr/>
          <p:nvPr userDrawn="1"/>
        </p:nvGrpSpPr>
        <p:grpSpPr>
          <a:xfrm>
            <a:off x="856373" y="812654"/>
            <a:ext cx="3002916" cy="318309"/>
            <a:chOff x="0" y="2782824"/>
            <a:chExt cx="12192000" cy="1292352"/>
          </a:xfrm>
        </p:grpSpPr>
        <p:sp>
          <p:nvSpPr>
            <p:cNvPr id="15" name="Forma libre: forma 14">
              <a:extLst>
                <a:ext uri="{FF2B5EF4-FFF2-40B4-BE49-F238E27FC236}">
                  <a16:creationId xmlns:a16="http://schemas.microsoft.com/office/drawing/2014/main" id="{254D0243-1067-4F41-BBB9-276AEF4B3DAA}"/>
                </a:ext>
              </a:extLst>
            </p:cNvPr>
            <p:cNvSpPr/>
            <p:nvPr/>
          </p:nvSpPr>
          <p:spPr>
            <a:xfrm>
              <a:off x="3791306" y="2777053"/>
              <a:ext cx="1300480" cy="1300480"/>
            </a:xfrm>
            <a:custGeom>
              <a:avLst/>
              <a:gdLst>
                <a:gd name="connsiteX0" fmla="*/ 6096 w 1300480"/>
                <a:gd name="connsiteY0" fmla="*/ 653979 h 1300480"/>
                <a:gd name="connsiteX1" fmla="*/ 653979 w 1300480"/>
                <a:gd name="connsiteY1" fmla="*/ 6096 h 1300480"/>
                <a:gd name="connsiteX2" fmla="*/ 1301862 w 1300480"/>
                <a:gd name="connsiteY2" fmla="*/ 653979 h 1300480"/>
                <a:gd name="connsiteX3" fmla="*/ 653979 w 1300480"/>
                <a:gd name="connsiteY3" fmla="*/ 1301862 h 1300480"/>
                <a:gd name="connsiteX4" fmla="*/ 653898 w 1300480"/>
                <a:gd name="connsiteY4" fmla="*/ 1301862 h 1300480"/>
                <a:gd name="connsiteX5" fmla="*/ 6096 w 1300480"/>
                <a:gd name="connsiteY5" fmla="*/ 654060 h 1300480"/>
                <a:gd name="connsiteX6" fmla="*/ 6096 w 1300480"/>
                <a:gd name="connsiteY6" fmla="*/ 654060 h 1300480"/>
                <a:gd name="connsiteX7" fmla="*/ 653898 w 1300480"/>
                <a:gd name="connsiteY7" fmla="*/ 1091184 h 1300480"/>
                <a:gd name="connsiteX8" fmla="*/ 1091265 w 1300480"/>
                <a:gd name="connsiteY8" fmla="*/ 653979 h 1300480"/>
                <a:gd name="connsiteX9" fmla="*/ 654060 w 1300480"/>
                <a:gd name="connsiteY9" fmla="*/ 216611 h 1300480"/>
                <a:gd name="connsiteX10" fmla="*/ 216692 w 1300480"/>
                <a:gd name="connsiteY10" fmla="*/ 653816 h 1300480"/>
                <a:gd name="connsiteX11" fmla="*/ 216692 w 1300480"/>
                <a:gd name="connsiteY11" fmla="*/ 653979 h 1300480"/>
                <a:gd name="connsiteX12" fmla="*/ 653898 w 1300480"/>
                <a:gd name="connsiteY12" fmla="*/ 1091184 h 13004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300480" h="1300480">
                  <a:moveTo>
                    <a:pt x="6096" y="653979"/>
                  </a:moveTo>
                  <a:cubicBezTo>
                    <a:pt x="6096" y="296184"/>
                    <a:pt x="296184" y="6096"/>
                    <a:pt x="653979" y="6096"/>
                  </a:cubicBezTo>
                  <a:cubicBezTo>
                    <a:pt x="1011773" y="6096"/>
                    <a:pt x="1301862" y="296184"/>
                    <a:pt x="1301862" y="653979"/>
                  </a:cubicBezTo>
                  <a:cubicBezTo>
                    <a:pt x="1301862" y="1011773"/>
                    <a:pt x="1011773" y="1301862"/>
                    <a:pt x="653979" y="1301862"/>
                  </a:cubicBezTo>
                  <a:lnTo>
                    <a:pt x="653898" y="1301862"/>
                  </a:lnTo>
                  <a:cubicBezTo>
                    <a:pt x="296103" y="1301862"/>
                    <a:pt x="6096" y="1011855"/>
                    <a:pt x="6096" y="654060"/>
                  </a:cubicBezTo>
                  <a:lnTo>
                    <a:pt x="6096" y="654060"/>
                  </a:lnTo>
                  <a:moveTo>
                    <a:pt x="653898" y="1091184"/>
                  </a:moveTo>
                  <a:cubicBezTo>
                    <a:pt x="895380" y="1091184"/>
                    <a:pt x="1091184" y="895462"/>
                    <a:pt x="1091265" y="653979"/>
                  </a:cubicBezTo>
                  <a:cubicBezTo>
                    <a:pt x="1091265" y="412496"/>
                    <a:pt x="895543" y="216692"/>
                    <a:pt x="654060" y="216611"/>
                  </a:cubicBezTo>
                  <a:cubicBezTo>
                    <a:pt x="412577" y="216611"/>
                    <a:pt x="216774" y="412333"/>
                    <a:pt x="216692" y="653816"/>
                  </a:cubicBezTo>
                  <a:lnTo>
                    <a:pt x="216692" y="653979"/>
                  </a:lnTo>
                  <a:cubicBezTo>
                    <a:pt x="216692" y="895462"/>
                    <a:pt x="412415" y="1091184"/>
                    <a:pt x="653898" y="1091184"/>
                  </a:cubicBezTo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16" name="Forma libre: forma 15">
              <a:extLst>
                <a:ext uri="{FF2B5EF4-FFF2-40B4-BE49-F238E27FC236}">
                  <a16:creationId xmlns:a16="http://schemas.microsoft.com/office/drawing/2014/main" id="{238B9E76-ADCF-436A-B229-C5C65F06ECA5}"/>
                </a:ext>
              </a:extLst>
            </p:cNvPr>
            <p:cNvSpPr/>
            <p:nvPr/>
          </p:nvSpPr>
          <p:spPr>
            <a:xfrm>
              <a:off x="1151981" y="2793797"/>
              <a:ext cx="219456" cy="1267968"/>
            </a:xfrm>
            <a:custGeom>
              <a:avLst/>
              <a:gdLst>
                <a:gd name="connsiteX0" fmla="*/ 216367 w 219456"/>
                <a:gd name="connsiteY0" fmla="*/ 6096 h 1267968"/>
                <a:gd name="connsiteX1" fmla="*/ 216367 w 219456"/>
                <a:gd name="connsiteY1" fmla="*/ 6096 h 1267968"/>
                <a:gd name="connsiteX2" fmla="*/ 216367 w 219456"/>
                <a:gd name="connsiteY2" fmla="*/ 1268212 h 1267968"/>
                <a:gd name="connsiteX3" fmla="*/ 6096 w 219456"/>
                <a:gd name="connsiteY3" fmla="*/ 1268212 h 1267968"/>
                <a:gd name="connsiteX4" fmla="*/ 6096 w 219456"/>
                <a:gd name="connsiteY4" fmla="*/ 216449 h 1267968"/>
                <a:gd name="connsiteX5" fmla="*/ 216367 w 219456"/>
                <a:gd name="connsiteY5" fmla="*/ 6096 h 126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19456" h="1267968">
                  <a:moveTo>
                    <a:pt x="216367" y="6096"/>
                  </a:moveTo>
                  <a:lnTo>
                    <a:pt x="216367" y="6096"/>
                  </a:lnTo>
                  <a:lnTo>
                    <a:pt x="216367" y="1268212"/>
                  </a:lnTo>
                  <a:lnTo>
                    <a:pt x="6096" y="1268212"/>
                  </a:lnTo>
                  <a:lnTo>
                    <a:pt x="6096" y="216449"/>
                  </a:lnTo>
                  <a:cubicBezTo>
                    <a:pt x="6096" y="100300"/>
                    <a:pt x="100218" y="6177"/>
                    <a:pt x="216367" y="6096"/>
                  </a:cubicBezTo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17" name="Forma libre: forma 16">
              <a:extLst>
                <a:ext uri="{FF2B5EF4-FFF2-40B4-BE49-F238E27FC236}">
                  <a16:creationId xmlns:a16="http://schemas.microsoft.com/office/drawing/2014/main" id="{A5D3DB9F-1B2A-46D0-A868-DDA80D8D5671}"/>
                </a:ext>
              </a:extLst>
            </p:cNvPr>
            <p:cNvSpPr/>
            <p:nvPr/>
          </p:nvSpPr>
          <p:spPr>
            <a:xfrm>
              <a:off x="9373128" y="2793797"/>
              <a:ext cx="219456" cy="1267968"/>
            </a:xfrm>
            <a:custGeom>
              <a:avLst/>
              <a:gdLst>
                <a:gd name="connsiteX0" fmla="*/ 216368 w 219456"/>
                <a:gd name="connsiteY0" fmla="*/ 6096 h 1267968"/>
                <a:gd name="connsiteX1" fmla="*/ 216368 w 219456"/>
                <a:gd name="connsiteY1" fmla="*/ 6096 h 1267968"/>
                <a:gd name="connsiteX2" fmla="*/ 216368 w 219456"/>
                <a:gd name="connsiteY2" fmla="*/ 1268212 h 1267968"/>
                <a:gd name="connsiteX3" fmla="*/ 6096 w 219456"/>
                <a:gd name="connsiteY3" fmla="*/ 1268212 h 1267968"/>
                <a:gd name="connsiteX4" fmla="*/ 6096 w 219456"/>
                <a:gd name="connsiteY4" fmla="*/ 216449 h 1267968"/>
                <a:gd name="connsiteX5" fmla="*/ 216287 w 219456"/>
                <a:gd name="connsiteY5" fmla="*/ 6096 h 1267968"/>
                <a:gd name="connsiteX6" fmla="*/ 216368 w 219456"/>
                <a:gd name="connsiteY6" fmla="*/ 6096 h 126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19456" h="1267968">
                  <a:moveTo>
                    <a:pt x="216368" y="6096"/>
                  </a:moveTo>
                  <a:lnTo>
                    <a:pt x="216368" y="6096"/>
                  </a:lnTo>
                  <a:lnTo>
                    <a:pt x="216368" y="1268212"/>
                  </a:lnTo>
                  <a:lnTo>
                    <a:pt x="6096" y="1268212"/>
                  </a:lnTo>
                  <a:lnTo>
                    <a:pt x="6096" y="216449"/>
                  </a:lnTo>
                  <a:cubicBezTo>
                    <a:pt x="6096" y="100300"/>
                    <a:pt x="100138" y="6177"/>
                    <a:pt x="216287" y="6096"/>
                  </a:cubicBezTo>
                  <a:lnTo>
                    <a:pt x="216368" y="6096"/>
                  </a:lnTo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18" name="Forma libre: forma 17">
              <a:extLst>
                <a:ext uri="{FF2B5EF4-FFF2-40B4-BE49-F238E27FC236}">
                  <a16:creationId xmlns:a16="http://schemas.microsoft.com/office/drawing/2014/main" id="{DF57F60C-2449-4C28-BEDB-ADB6DD411A68}"/>
                </a:ext>
              </a:extLst>
            </p:cNvPr>
            <p:cNvSpPr/>
            <p:nvPr/>
          </p:nvSpPr>
          <p:spPr>
            <a:xfrm>
              <a:off x="8111012" y="2793878"/>
              <a:ext cx="1056640" cy="1267968"/>
            </a:xfrm>
            <a:custGeom>
              <a:avLst/>
              <a:gdLst>
                <a:gd name="connsiteX0" fmla="*/ 74046 w 1056640"/>
                <a:gd name="connsiteY0" fmla="*/ 6096 h 1267968"/>
                <a:gd name="connsiteX1" fmla="*/ 6096 w 1056640"/>
                <a:gd name="connsiteY1" fmla="*/ 216367 h 1267968"/>
                <a:gd name="connsiteX2" fmla="*/ 426802 w 1056640"/>
                <a:gd name="connsiteY2" fmla="*/ 216367 h 1267968"/>
                <a:gd name="connsiteX3" fmla="*/ 426802 w 1056640"/>
                <a:gd name="connsiteY3" fmla="*/ 1268131 h 1267968"/>
                <a:gd name="connsiteX4" fmla="*/ 637155 w 1056640"/>
                <a:gd name="connsiteY4" fmla="*/ 1268131 h 1267968"/>
                <a:gd name="connsiteX5" fmla="*/ 637155 w 1056640"/>
                <a:gd name="connsiteY5" fmla="*/ 216367 h 1267968"/>
                <a:gd name="connsiteX6" fmla="*/ 847507 w 1056640"/>
                <a:gd name="connsiteY6" fmla="*/ 216367 h 1267968"/>
                <a:gd name="connsiteX7" fmla="*/ 1057860 w 1056640"/>
                <a:gd name="connsiteY7" fmla="*/ 6096 h 1267968"/>
                <a:gd name="connsiteX8" fmla="*/ 74046 w 1056640"/>
                <a:gd name="connsiteY8" fmla="*/ 6096 h 126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056640" h="1267968">
                  <a:moveTo>
                    <a:pt x="74046" y="6096"/>
                  </a:moveTo>
                  <a:lnTo>
                    <a:pt x="6096" y="216367"/>
                  </a:lnTo>
                  <a:lnTo>
                    <a:pt x="426802" y="216367"/>
                  </a:lnTo>
                  <a:lnTo>
                    <a:pt x="426802" y="1268131"/>
                  </a:lnTo>
                  <a:lnTo>
                    <a:pt x="637155" y="1268131"/>
                  </a:lnTo>
                  <a:lnTo>
                    <a:pt x="637155" y="216367"/>
                  </a:lnTo>
                  <a:lnTo>
                    <a:pt x="847507" y="216367"/>
                  </a:lnTo>
                  <a:cubicBezTo>
                    <a:pt x="963656" y="216367"/>
                    <a:pt x="1057779" y="122245"/>
                    <a:pt x="1057860" y="6096"/>
                  </a:cubicBezTo>
                  <a:lnTo>
                    <a:pt x="74046" y="6096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19" name="Forma libre: forma 18">
              <a:extLst>
                <a:ext uri="{FF2B5EF4-FFF2-40B4-BE49-F238E27FC236}">
                  <a16:creationId xmlns:a16="http://schemas.microsoft.com/office/drawing/2014/main" id="{580DA73F-D80F-476A-B8BF-C5E068B9903A}"/>
                </a:ext>
              </a:extLst>
            </p:cNvPr>
            <p:cNvSpPr/>
            <p:nvPr/>
          </p:nvSpPr>
          <p:spPr>
            <a:xfrm>
              <a:off x="1602108" y="2793797"/>
              <a:ext cx="845312" cy="1267968"/>
            </a:xfrm>
            <a:custGeom>
              <a:avLst/>
              <a:gdLst>
                <a:gd name="connsiteX0" fmla="*/ 216288 w 845312"/>
                <a:gd name="connsiteY0" fmla="*/ 1057859 h 1267968"/>
                <a:gd name="connsiteX1" fmla="*/ 216288 w 845312"/>
                <a:gd name="connsiteY1" fmla="*/ 6096 h 1267968"/>
                <a:gd name="connsiteX2" fmla="*/ 6098 w 845312"/>
                <a:gd name="connsiteY2" fmla="*/ 6096 h 1267968"/>
                <a:gd name="connsiteX3" fmla="*/ 6098 w 845312"/>
                <a:gd name="connsiteY3" fmla="*/ 1057859 h 1267968"/>
                <a:gd name="connsiteX4" fmla="*/ 6098 w 845312"/>
                <a:gd name="connsiteY4" fmla="*/ 1057859 h 1267968"/>
                <a:gd name="connsiteX5" fmla="*/ 14226 w 845312"/>
                <a:gd name="connsiteY5" fmla="*/ 1116706 h 1267968"/>
                <a:gd name="connsiteX6" fmla="*/ 15201 w 845312"/>
                <a:gd name="connsiteY6" fmla="*/ 1120364 h 1267968"/>
                <a:gd name="connsiteX7" fmla="*/ 17071 w 845312"/>
                <a:gd name="connsiteY7" fmla="*/ 1125566 h 1267968"/>
                <a:gd name="connsiteX8" fmla="*/ 22598 w 845312"/>
                <a:gd name="connsiteY8" fmla="*/ 1140358 h 1267968"/>
                <a:gd name="connsiteX9" fmla="*/ 52021 w 845312"/>
                <a:gd name="connsiteY9" fmla="*/ 1189126 h 1267968"/>
                <a:gd name="connsiteX10" fmla="*/ 124685 w 845312"/>
                <a:gd name="connsiteY10" fmla="*/ 1246916 h 1267968"/>
                <a:gd name="connsiteX11" fmla="*/ 216125 w 845312"/>
                <a:gd name="connsiteY11" fmla="*/ 1268049 h 1267968"/>
                <a:gd name="connsiteX12" fmla="*/ 776957 w 845312"/>
                <a:gd name="connsiteY12" fmla="*/ 1268049 h 1267968"/>
                <a:gd name="connsiteX13" fmla="*/ 847021 w 845312"/>
                <a:gd name="connsiteY13" fmla="*/ 1057697 h 1267968"/>
                <a:gd name="connsiteX14" fmla="*/ 216288 w 845312"/>
                <a:gd name="connsiteY14" fmla="*/ 1057859 h 126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845312" h="1267968">
                  <a:moveTo>
                    <a:pt x="216288" y="1057859"/>
                  </a:moveTo>
                  <a:lnTo>
                    <a:pt x="216288" y="6096"/>
                  </a:lnTo>
                  <a:lnTo>
                    <a:pt x="6098" y="6096"/>
                  </a:lnTo>
                  <a:lnTo>
                    <a:pt x="6098" y="1057859"/>
                  </a:lnTo>
                  <a:lnTo>
                    <a:pt x="6098" y="1057859"/>
                  </a:lnTo>
                  <a:cubicBezTo>
                    <a:pt x="6017" y="1077773"/>
                    <a:pt x="8699" y="1097605"/>
                    <a:pt x="14226" y="1116706"/>
                  </a:cubicBezTo>
                  <a:cubicBezTo>
                    <a:pt x="14632" y="1117925"/>
                    <a:pt x="14795" y="1119226"/>
                    <a:pt x="15201" y="1120364"/>
                  </a:cubicBezTo>
                  <a:cubicBezTo>
                    <a:pt x="15608" y="1121502"/>
                    <a:pt x="16502" y="1123859"/>
                    <a:pt x="17071" y="1125566"/>
                  </a:cubicBezTo>
                  <a:cubicBezTo>
                    <a:pt x="18777" y="1130605"/>
                    <a:pt x="20566" y="1135563"/>
                    <a:pt x="22598" y="1140358"/>
                  </a:cubicBezTo>
                  <a:cubicBezTo>
                    <a:pt x="30157" y="1157915"/>
                    <a:pt x="40073" y="1174252"/>
                    <a:pt x="52021" y="1189126"/>
                  </a:cubicBezTo>
                  <a:cubicBezTo>
                    <a:pt x="71691" y="1213510"/>
                    <a:pt x="96481" y="1233262"/>
                    <a:pt x="124685" y="1246916"/>
                  </a:cubicBezTo>
                  <a:cubicBezTo>
                    <a:pt x="153215" y="1260734"/>
                    <a:pt x="184426" y="1267968"/>
                    <a:pt x="216125" y="1268049"/>
                  </a:cubicBezTo>
                  <a:lnTo>
                    <a:pt x="776957" y="1268049"/>
                  </a:lnTo>
                  <a:lnTo>
                    <a:pt x="847021" y="1057697"/>
                  </a:lnTo>
                  <a:lnTo>
                    <a:pt x="216288" y="1057859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31" name="Forma libre: forma 30">
              <a:extLst>
                <a:ext uri="{FF2B5EF4-FFF2-40B4-BE49-F238E27FC236}">
                  <a16:creationId xmlns:a16="http://schemas.microsoft.com/office/drawing/2014/main" id="{EE09E6AB-72D2-4E12-AC93-416CB33F54AC}"/>
                </a:ext>
              </a:extLst>
            </p:cNvPr>
            <p:cNvSpPr/>
            <p:nvPr/>
          </p:nvSpPr>
          <p:spPr>
            <a:xfrm>
              <a:off x="-6096" y="2794284"/>
              <a:ext cx="959104" cy="1267968"/>
            </a:xfrm>
            <a:custGeom>
              <a:avLst/>
              <a:gdLst>
                <a:gd name="connsiteX0" fmla="*/ 818815 w 959104"/>
                <a:gd name="connsiteY0" fmla="*/ 411764 h 1267968"/>
                <a:gd name="connsiteX1" fmla="*/ 818815 w 959104"/>
                <a:gd name="connsiteY1" fmla="*/ 285699 h 1267968"/>
                <a:gd name="connsiteX2" fmla="*/ 539130 w 959104"/>
                <a:gd name="connsiteY2" fmla="*/ 6096 h 1267968"/>
                <a:gd name="connsiteX3" fmla="*/ 6096 w 959104"/>
                <a:gd name="connsiteY3" fmla="*/ 6096 h 1267968"/>
                <a:gd name="connsiteX4" fmla="*/ 6096 w 959104"/>
                <a:gd name="connsiteY4" fmla="*/ 1057047 h 1267968"/>
                <a:gd name="connsiteX5" fmla="*/ 216367 w 959104"/>
                <a:gd name="connsiteY5" fmla="*/ 1267399 h 1267968"/>
                <a:gd name="connsiteX6" fmla="*/ 532140 w 959104"/>
                <a:gd name="connsiteY6" fmla="*/ 1267399 h 1267968"/>
                <a:gd name="connsiteX7" fmla="*/ 953821 w 959104"/>
                <a:gd name="connsiteY7" fmla="*/ 892861 h 1267968"/>
                <a:gd name="connsiteX8" fmla="*/ 603260 w 959104"/>
                <a:gd name="connsiteY8" fmla="*/ 530596 h 1267968"/>
                <a:gd name="connsiteX9" fmla="*/ 218562 w 959104"/>
                <a:gd name="connsiteY9" fmla="*/ 531490 h 1267968"/>
                <a:gd name="connsiteX10" fmla="*/ 424282 w 959104"/>
                <a:gd name="connsiteY10" fmla="*/ 737210 h 1267968"/>
                <a:gd name="connsiteX11" fmla="*/ 424932 w 959104"/>
                <a:gd name="connsiteY11" fmla="*/ 737210 h 1267968"/>
                <a:gd name="connsiteX12" fmla="*/ 585785 w 959104"/>
                <a:gd name="connsiteY12" fmla="*/ 737210 h 1267968"/>
                <a:gd name="connsiteX13" fmla="*/ 758261 w 959104"/>
                <a:gd name="connsiteY13" fmla="*/ 889203 h 1267968"/>
                <a:gd name="connsiteX14" fmla="*/ 606268 w 959104"/>
                <a:gd name="connsiteY14" fmla="*/ 1061679 h 1267968"/>
                <a:gd name="connsiteX15" fmla="*/ 585704 w 959104"/>
                <a:gd name="connsiteY15" fmla="*/ 1061679 h 1267968"/>
                <a:gd name="connsiteX16" fmla="*/ 216530 w 959104"/>
                <a:gd name="connsiteY16" fmla="*/ 1061679 h 1267968"/>
                <a:gd name="connsiteX17" fmla="*/ 216530 w 959104"/>
                <a:gd name="connsiteY17" fmla="*/ 211653 h 1267968"/>
                <a:gd name="connsiteX18" fmla="*/ 467685 w 959104"/>
                <a:gd name="connsiteY18" fmla="*/ 211653 h 1267968"/>
                <a:gd name="connsiteX19" fmla="*/ 612689 w 959104"/>
                <a:gd name="connsiteY19" fmla="*/ 356575 h 1267968"/>
                <a:gd name="connsiteX20" fmla="*/ 612689 w 959104"/>
                <a:gd name="connsiteY20" fmla="*/ 530352 h 1267968"/>
                <a:gd name="connsiteX21" fmla="*/ 818815 w 959104"/>
                <a:gd name="connsiteY21" fmla="*/ 411764 h 126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959104" h="1267968">
                  <a:moveTo>
                    <a:pt x="818815" y="411764"/>
                  </a:moveTo>
                  <a:lnTo>
                    <a:pt x="818815" y="285699"/>
                  </a:lnTo>
                  <a:cubicBezTo>
                    <a:pt x="818815" y="131267"/>
                    <a:pt x="693562" y="6096"/>
                    <a:pt x="539130" y="6096"/>
                  </a:cubicBezTo>
                  <a:lnTo>
                    <a:pt x="6096" y="6096"/>
                  </a:lnTo>
                  <a:lnTo>
                    <a:pt x="6096" y="1057047"/>
                  </a:lnTo>
                  <a:cubicBezTo>
                    <a:pt x="6096" y="1173196"/>
                    <a:pt x="100218" y="1267318"/>
                    <a:pt x="216367" y="1267399"/>
                  </a:cubicBezTo>
                  <a:lnTo>
                    <a:pt x="532140" y="1267399"/>
                  </a:lnTo>
                  <a:cubicBezTo>
                    <a:pt x="807436" y="1267399"/>
                    <a:pt x="953821" y="1096711"/>
                    <a:pt x="953821" y="892861"/>
                  </a:cubicBezTo>
                  <a:cubicBezTo>
                    <a:pt x="953821" y="725587"/>
                    <a:pt x="840029" y="530596"/>
                    <a:pt x="603260" y="530596"/>
                  </a:cubicBezTo>
                  <a:lnTo>
                    <a:pt x="218562" y="531490"/>
                  </a:lnTo>
                  <a:cubicBezTo>
                    <a:pt x="218562" y="645119"/>
                    <a:pt x="310652" y="737210"/>
                    <a:pt x="424282" y="737210"/>
                  </a:cubicBezTo>
                  <a:cubicBezTo>
                    <a:pt x="424525" y="737210"/>
                    <a:pt x="424688" y="737210"/>
                    <a:pt x="424932" y="737210"/>
                  </a:cubicBezTo>
                  <a:lnTo>
                    <a:pt x="585785" y="737210"/>
                  </a:lnTo>
                  <a:cubicBezTo>
                    <a:pt x="675356" y="731520"/>
                    <a:pt x="752653" y="799551"/>
                    <a:pt x="758261" y="889203"/>
                  </a:cubicBezTo>
                  <a:cubicBezTo>
                    <a:pt x="763951" y="978774"/>
                    <a:pt x="695919" y="1056071"/>
                    <a:pt x="606268" y="1061679"/>
                  </a:cubicBezTo>
                  <a:cubicBezTo>
                    <a:pt x="599440" y="1062086"/>
                    <a:pt x="592531" y="1062086"/>
                    <a:pt x="585704" y="1061679"/>
                  </a:cubicBezTo>
                  <a:lnTo>
                    <a:pt x="216530" y="1061679"/>
                  </a:lnTo>
                  <a:lnTo>
                    <a:pt x="216530" y="211653"/>
                  </a:lnTo>
                  <a:lnTo>
                    <a:pt x="467685" y="211653"/>
                  </a:lnTo>
                  <a:cubicBezTo>
                    <a:pt x="547014" y="213441"/>
                    <a:pt x="610901" y="277246"/>
                    <a:pt x="612689" y="356575"/>
                  </a:cubicBezTo>
                  <a:lnTo>
                    <a:pt x="612689" y="530352"/>
                  </a:lnTo>
                  <a:lnTo>
                    <a:pt x="818815" y="411764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32" name="Forma libre: forma 31">
              <a:extLst>
                <a:ext uri="{FF2B5EF4-FFF2-40B4-BE49-F238E27FC236}">
                  <a16:creationId xmlns:a16="http://schemas.microsoft.com/office/drawing/2014/main" id="{FA8B2DF4-BD28-4B47-B595-1E36AC5C085E}"/>
                </a:ext>
              </a:extLst>
            </p:cNvPr>
            <p:cNvSpPr/>
            <p:nvPr/>
          </p:nvSpPr>
          <p:spPr>
            <a:xfrm>
              <a:off x="2653792" y="2794284"/>
              <a:ext cx="959104" cy="1267968"/>
            </a:xfrm>
            <a:custGeom>
              <a:avLst/>
              <a:gdLst>
                <a:gd name="connsiteX0" fmla="*/ 818896 w 959104"/>
                <a:gd name="connsiteY0" fmla="*/ 411764 h 1267968"/>
                <a:gd name="connsiteX1" fmla="*/ 818896 w 959104"/>
                <a:gd name="connsiteY1" fmla="*/ 285699 h 1267968"/>
                <a:gd name="connsiteX2" fmla="*/ 539212 w 959104"/>
                <a:gd name="connsiteY2" fmla="*/ 6096 h 1267968"/>
                <a:gd name="connsiteX3" fmla="*/ 6096 w 959104"/>
                <a:gd name="connsiteY3" fmla="*/ 6096 h 1267968"/>
                <a:gd name="connsiteX4" fmla="*/ 6096 w 959104"/>
                <a:gd name="connsiteY4" fmla="*/ 1057047 h 1267968"/>
                <a:gd name="connsiteX5" fmla="*/ 216449 w 959104"/>
                <a:gd name="connsiteY5" fmla="*/ 1267399 h 1267968"/>
                <a:gd name="connsiteX6" fmla="*/ 532222 w 959104"/>
                <a:gd name="connsiteY6" fmla="*/ 1267399 h 1267968"/>
                <a:gd name="connsiteX7" fmla="*/ 953821 w 959104"/>
                <a:gd name="connsiteY7" fmla="*/ 892861 h 1267968"/>
                <a:gd name="connsiteX8" fmla="*/ 603342 w 959104"/>
                <a:gd name="connsiteY8" fmla="*/ 530596 h 1267968"/>
                <a:gd name="connsiteX9" fmla="*/ 218643 w 959104"/>
                <a:gd name="connsiteY9" fmla="*/ 531490 h 1267968"/>
                <a:gd name="connsiteX10" fmla="*/ 424363 w 959104"/>
                <a:gd name="connsiteY10" fmla="*/ 737210 h 1267968"/>
                <a:gd name="connsiteX11" fmla="*/ 424932 w 959104"/>
                <a:gd name="connsiteY11" fmla="*/ 737210 h 1267968"/>
                <a:gd name="connsiteX12" fmla="*/ 585866 w 959104"/>
                <a:gd name="connsiteY12" fmla="*/ 737210 h 1267968"/>
                <a:gd name="connsiteX13" fmla="*/ 737860 w 959104"/>
                <a:gd name="connsiteY13" fmla="*/ 909686 h 1267968"/>
                <a:gd name="connsiteX14" fmla="*/ 585866 w 959104"/>
                <a:gd name="connsiteY14" fmla="*/ 1061679 h 1267968"/>
                <a:gd name="connsiteX15" fmla="*/ 216611 w 959104"/>
                <a:gd name="connsiteY15" fmla="*/ 1061679 h 1267968"/>
                <a:gd name="connsiteX16" fmla="*/ 216611 w 959104"/>
                <a:gd name="connsiteY16" fmla="*/ 211653 h 1267968"/>
                <a:gd name="connsiteX17" fmla="*/ 467766 w 959104"/>
                <a:gd name="connsiteY17" fmla="*/ 211653 h 1267968"/>
                <a:gd name="connsiteX18" fmla="*/ 612770 w 959104"/>
                <a:gd name="connsiteY18" fmla="*/ 356575 h 1267968"/>
                <a:gd name="connsiteX19" fmla="*/ 612770 w 959104"/>
                <a:gd name="connsiteY19" fmla="*/ 530352 h 1267968"/>
                <a:gd name="connsiteX20" fmla="*/ 818896 w 959104"/>
                <a:gd name="connsiteY20" fmla="*/ 411764 h 126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959104" h="1267968">
                  <a:moveTo>
                    <a:pt x="818896" y="411764"/>
                  </a:moveTo>
                  <a:lnTo>
                    <a:pt x="818896" y="285699"/>
                  </a:lnTo>
                  <a:cubicBezTo>
                    <a:pt x="818896" y="131267"/>
                    <a:pt x="693644" y="6096"/>
                    <a:pt x="539212" y="6096"/>
                  </a:cubicBezTo>
                  <a:lnTo>
                    <a:pt x="6096" y="6096"/>
                  </a:lnTo>
                  <a:lnTo>
                    <a:pt x="6096" y="1057047"/>
                  </a:lnTo>
                  <a:cubicBezTo>
                    <a:pt x="6096" y="1173196"/>
                    <a:pt x="100299" y="1267399"/>
                    <a:pt x="216449" y="1267399"/>
                  </a:cubicBezTo>
                  <a:lnTo>
                    <a:pt x="532222" y="1267399"/>
                  </a:lnTo>
                  <a:cubicBezTo>
                    <a:pt x="807517" y="1267399"/>
                    <a:pt x="953821" y="1096711"/>
                    <a:pt x="953821" y="892861"/>
                  </a:cubicBezTo>
                  <a:cubicBezTo>
                    <a:pt x="953821" y="725587"/>
                    <a:pt x="840029" y="530596"/>
                    <a:pt x="603342" y="530596"/>
                  </a:cubicBezTo>
                  <a:lnTo>
                    <a:pt x="218643" y="531490"/>
                  </a:lnTo>
                  <a:cubicBezTo>
                    <a:pt x="218643" y="645119"/>
                    <a:pt x="310734" y="737210"/>
                    <a:pt x="424363" y="737210"/>
                  </a:cubicBezTo>
                  <a:cubicBezTo>
                    <a:pt x="424526" y="737210"/>
                    <a:pt x="424769" y="737210"/>
                    <a:pt x="424932" y="737210"/>
                  </a:cubicBezTo>
                  <a:lnTo>
                    <a:pt x="585866" y="737210"/>
                  </a:lnTo>
                  <a:cubicBezTo>
                    <a:pt x="675437" y="742899"/>
                    <a:pt x="743468" y="820115"/>
                    <a:pt x="737860" y="909686"/>
                  </a:cubicBezTo>
                  <a:cubicBezTo>
                    <a:pt x="732658" y="991372"/>
                    <a:pt x="667553" y="1056477"/>
                    <a:pt x="585866" y="1061679"/>
                  </a:cubicBezTo>
                  <a:lnTo>
                    <a:pt x="216611" y="1061679"/>
                  </a:lnTo>
                  <a:lnTo>
                    <a:pt x="216611" y="211653"/>
                  </a:lnTo>
                  <a:lnTo>
                    <a:pt x="467766" y="211653"/>
                  </a:lnTo>
                  <a:cubicBezTo>
                    <a:pt x="547096" y="213441"/>
                    <a:pt x="610982" y="277246"/>
                    <a:pt x="612770" y="356575"/>
                  </a:cubicBezTo>
                  <a:lnTo>
                    <a:pt x="612770" y="530352"/>
                  </a:lnTo>
                  <a:lnTo>
                    <a:pt x="818896" y="411764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33" name="Forma libre: forma 32">
              <a:extLst>
                <a:ext uri="{FF2B5EF4-FFF2-40B4-BE49-F238E27FC236}">
                  <a16:creationId xmlns:a16="http://schemas.microsoft.com/office/drawing/2014/main" id="{8408DD2A-87F3-47B7-8562-0D0FFE38F223}"/>
                </a:ext>
              </a:extLst>
            </p:cNvPr>
            <p:cNvSpPr/>
            <p:nvPr/>
          </p:nvSpPr>
          <p:spPr>
            <a:xfrm>
              <a:off x="5297343" y="2793878"/>
              <a:ext cx="219456" cy="1267968"/>
            </a:xfrm>
            <a:custGeom>
              <a:avLst/>
              <a:gdLst>
                <a:gd name="connsiteX0" fmla="*/ 6096 w 219456"/>
                <a:gd name="connsiteY0" fmla="*/ 6096 h 1267968"/>
                <a:gd name="connsiteX1" fmla="*/ 216449 w 219456"/>
                <a:gd name="connsiteY1" fmla="*/ 6096 h 1267968"/>
                <a:gd name="connsiteX2" fmla="*/ 216449 w 219456"/>
                <a:gd name="connsiteY2" fmla="*/ 1268212 h 1267968"/>
                <a:gd name="connsiteX3" fmla="*/ 6096 w 219456"/>
                <a:gd name="connsiteY3" fmla="*/ 1268212 h 126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19456" h="1267968">
                  <a:moveTo>
                    <a:pt x="6096" y="6096"/>
                  </a:moveTo>
                  <a:lnTo>
                    <a:pt x="216449" y="6096"/>
                  </a:lnTo>
                  <a:lnTo>
                    <a:pt x="216449" y="1268212"/>
                  </a:lnTo>
                  <a:lnTo>
                    <a:pt x="6096" y="1268212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34" name="Forma libre: forma 33">
              <a:extLst>
                <a:ext uri="{FF2B5EF4-FFF2-40B4-BE49-F238E27FC236}">
                  <a16:creationId xmlns:a16="http://schemas.microsoft.com/office/drawing/2014/main" id="{3B5EDFF8-BF92-4D6B-A9D4-E7B4044E50AD}"/>
                </a:ext>
              </a:extLst>
            </p:cNvPr>
            <p:cNvSpPr/>
            <p:nvPr/>
          </p:nvSpPr>
          <p:spPr>
            <a:xfrm>
              <a:off x="5507695" y="2793634"/>
              <a:ext cx="487680" cy="1267968"/>
            </a:xfrm>
            <a:custGeom>
              <a:avLst/>
              <a:gdLst>
                <a:gd name="connsiteX0" fmla="*/ 426557 w 487680"/>
                <a:gd name="connsiteY0" fmla="*/ 1268375 h 1267968"/>
                <a:gd name="connsiteX1" fmla="*/ 485323 w 487680"/>
                <a:gd name="connsiteY1" fmla="*/ 1268375 h 1267968"/>
                <a:gd name="connsiteX2" fmla="*/ 248067 w 487680"/>
                <a:gd name="connsiteY2" fmla="*/ 154838 h 1267968"/>
                <a:gd name="connsiteX3" fmla="*/ 64861 w 487680"/>
                <a:gd name="connsiteY3" fmla="*/ 6096 h 1267968"/>
                <a:gd name="connsiteX4" fmla="*/ 6096 w 487680"/>
                <a:gd name="connsiteY4" fmla="*/ 6096 h 1267968"/>
                <a:gd name="connsiteX5" fmla="*/ 243352 w 487680"/>
                <a:gd name="connsiteY5" fmla="*/ 1119632 h 1267968"/>
                <a:gd name="connsiteX6" fmla="*/ 426557 w 487680"/>
                <a:gd name="connsiteY6" fmla="*/ 1267968 h 126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87680" h="1267968">
                  <a:moveTo>
                    <a:pt x="426557" y="1268375"/>
                  </a:moveTo>
                  <a:lnTo>
                    <a:pt x="485323" y="1268375"/>
                  </a:lnTo>
                  <a:lnTo>
                    <a:pt x="248067" y="154838"/>
                  </a:lnTo>
                  <a:cubicBezTo>
                    <a:pt x="229535" y="68356"/>
                    <a:pt x="153294" y="6421"/>
                    <a:pt x="64861" y="6096"/>
                  </a:cubicBezTo>
                  <a:lnTo>
                    <a:pt x="6096" y="6096"/>
                  </a:lnTo>
                  <a:lnTo>
                    <a:pt x="243352" y="1119632"/>
                  </a:lnTo>
                  <a:cubicBezTo>
                    <a:pt x="261803" y="1206114"/>
                    <a:pt x="338125" y="1267887"/>
                    <a:pt x="426557" y="1267968"/>
                  </a:cubicBezTo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35" name="Forma libre: forma 34">
              <a:extLst>
                <a:ext uri="{FF2B5EF4-FFF2-40B4-BE49-F238E27FC236}">
                  <a16:creationId xmlns:a16="http://schemas.microsoft.com/office/drawing/2014/main" id="{EA2F84DD-E7F1-4691-97FB-AF906AC19C98}"/>
                </a:ext>
              </a:extLst>
            </p:cNvPr>
            <p:cNvSpPr/>
            <p:nvPr/>
          </p:nvSpPr>
          <p:spPr>
            <a:xfrm>
              <a:off x="5986922" y="2794284"/>
              <a:ext cx="487680" cy="1267968"/>
            </a:xfrm>
            <a:custGeom>
              <a:avLst/>
              <a:gdLst>
                <a:gd name="connsiteX0" fmla="*/ 243271 w 487680"/>
                <a:gd name="connsiteY0" fmla="*/ 154595 h 1267968"/>
                <a:gd name="connsiteX1" fmla="*/ 6096 w 487680"/>
                <a:gd name="connsiteY1" fmla="*/ 1268131 h 1267968"/>
                <a:gd name="connsiteX2" fmla="*/ 216367 w 487680"/>
                <a:gd name="connsiteY2" fmla="*/ 1268131 h 1267968"/>
                <a:gd name="connsiteX3" fmla="*/ 485323 w 487680"/>
                <a:gd name="connsiteY3" fmla="*/ 6096 h 1267968"/>
                <a:gd name="connsiteX4" fmla="*/ 426557 w 487680"/>
                <a:gd name="connsiteY4" fmla="*/ 6096 h 1267968"/>
                <a:gd name="connsiteX5" fmla="*/ 243271 w 487680"/>
                <a:gd name="connsiteY5" fmla="*/ 155001 h 126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87680" h="1267968">
                  <a:moveTo>
                    <a:pt x="243271" y="154595"/>
                  </a:moveTo>
                  <a:lnTo>
                    <a:pt x="6096" y="1268131"/>
                  </a:lnTo>
                  <a:lnTo>
                    <a:pt x="216367" y="1268131"/>
                  </a:lnTo>
                  <a:lnTo>
                    <a:pt x="485323" y="6096"/>
                  </a:lnTo>
                  <a:lnTo>
                    <a:pt x="426557" y="6096"/>
                  </a:lnTo>
                  <a:cubicBezTo>
                    <a:pt x="338043" y="6421"/>
                    <a:pt x="261722" y="68438"/>
                    <a:pt x="243271" y="155001"/>
                  </a:cubicBezTo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36" name="Forma libre: forma 35">
              <a:extLst>
                <a:ext uri="{FF2B5EF4-FFF2-40B4-BE49-F238E27FC236}">
                  <a16:creationId xmlns:a16="http://schemas.microsoft.com/office/drawing/2014/main" id="{222A6F55-9EC2-4CDA-B4FC-AF15CC90E3DB}"/>
                </a:ext>
              </a:extLst>
            </p:cNvPr>
            <p:cNvSpPr/>
            <p:nvPr/>
          </p:nvSpPr>
          <p:spPr>
            <a:xfrm>
              <a:off x="6466149" y="2793878"/>
              <a:ext cx="219456" cy="1267968"/>
            </a:xfrm>
            <a:custGeom>
              <a:avLst/>
              <a:gdLst>
                <a:gd name="connsiteX0" fmla="*/ 6096 w 219456"/>
                <a:gd name="connsiteY0" fmla="*/ 6096 h 1267968"/>
                <a:gd name="connsiteX1" fmla="*/ 216449 w 219456"/>
                <a:gd name="connsiteY1" fmla="*/ 6096 h 1267968"/>
                <a:gd name="connsiteX2" fmla="*/ 216449 w 219456"/>
                <a:gd name="connsiteY2" fmla="*/ 1268212 h 1267968"/>
                <a:gd name="connsiteX3" fmla="*/ 6096 w 219456"/>
                <a:gd name="connsiteY3" fmla="*/ 1268212 h 126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19456" h="1267968">
                  <a:moveTo>
                    <a:pt x="6096" y="6096"/>
                  </a:moveTo>
                  <a:lnTo>
                    <a:pt x="216449" y="6096"/>
                  </a:lnTo>
                  <a:lnTo>
                    <a:pt x="216449" y="1268212"/>
                  </a:lnTo>
                  <a:lnTo>
                    <a:pt x="6096" y="1268212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37" name="Forma libre: forma 36">
              <a:extLst>
                <a:ext uri="{FF2B5EF4-FFF2-40B4-BE49-F238E27FC236}">
                  <a16:creationId xmlns:a16="http://schemas.microsoft.com/office/drawing/2014/main" id="{4B987FE6-964A-4784-9F2D-36DB88944348}"/>
                </a:ext>
              </a:extLst>
            </p:cNvPr>
            <p:cNvSpPr/>
            <p:nvPr/>
          </p:nvSpPr>
          <p:spPr>
            <a:xfrm>
              <a:off x="9815617" y="2776728"/>
              <a:ext cx="950976" cy="1300480"/>
            </a:xfrm>
            <a:custGeom>
              <a:avLst/>
              <a:gdLst>
                <a:gd name="connsiteX0" fmla="*/ 889935 w 950976"/>
                <a:gd name="connsiteY0" fmla="*/ 286350 h 1300480"/>
                <a:gd name="connsiteX1" fmla="*/ 285618 w 950976"/>
                <a:gd name="connsiteY1" fmla="*/ 417779 h 1300480"/>
                <a:gd name="connsiteX2" fmla="*/ 417047 w 950976"/>
                <a:gd name="connsiteY2" fmla="*/ 1022096 h 1300480"/>
                <a:gd name="connsiteX3" fmla="*/ 653410 w 950976"/>
                <a:gd name="connsiteY3" fmla="*/ 1091509 h 1300480"/>
                <a:gd name="connsiteX4" fmla="*/ 927242 w 950976"/>
                <a:gd name="connsiteY4" fmla="*/ 997712 h 1300480"/>
                <a:gd name="connsiteX5" fmla="*/ 927242 w 950976"/>
                <a:gd name="connsiteY5" fmla="*/ 1240170 h 1300480"/>
                <a:gd name="connsiteX6" fmla="*/ 653736 w 950976"/>
                <a:gd name="connsiteY6" fmla="*/ 1301862 h 1300480"/>
                <a:gd name="connsiteX7" fmla="*/ 6096 w 950976"/>
                <a:gd name="connsiteY7" fmla="*/ 653735 h 1300480"/>
                <a:gd name="connsiteX8" fmla="*/ 654304 w 950976"/>
                <a:gd name="connsiteY8" fmla="*/ 6096 h 1300480"/>
                <a:gd name="connsiteX9" fmla="*/ 948050 w 950976"/>
                <a:gd name="connsiteY9" fmla="*/ 76647 h 1300480"/>
                <a:gd name="connsiteX10" fmla="*/ 889935 w 950976"/>
                <a:gd name="connsiteY10" fmla="*/ 286350 h 13004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950976" h="1300480">
                  <a:moveTo>
                    <a:pt x="889935" y="286350"/>
                  </a:moveTo>
                  <a:cubicBezTo>
                    <a:pt x="686735" y="155814"/>
                    <a:pt x="416235" y="214661"/>
                    <a:pt x="285618" y="417779"/>
                  </a:cubicBezTo>
                  <a:cubicBezTo>
                    <a:pt x="155082" y="620979"/>
                    <a:pt x="213929" y="891479"/>
                    <a:pt x="417047" y="1022096"/>
                  </a:cubicBezTo>
                  <a:cubicBezTo>
                    <a:pt x="487599" y="1067369"/>
                    <a:pt x="569610" y="1091509"/>
                    <a:pt x="653410" y="1091509"/>
                  </a:cubicBezTo>
                  <a:cubicBezTo>
                    <a:pt x="752571" y="1091753"/>
                    <a:pt x="849051" y="1058753"/>
                    <a:pt x="927242" y="997712"/>
                  </a:cubicBezTo>
                  <a:lnTo>
                    <a:pt x="927242" y="1240170"/>
                  </a:lnTo>
                  <a:cubicBezTo>
                    <a:pt x="841817" y="1280892"/>
                    <a:pt x="748345" y="1302024"/>
                    <a:pt x="653736" y="1301862"/>
                  </a:cubicBezTo>
                  <a:cubicBezTo>
                    <a:pt x="295941" y="1301699"/>
                    <a:pt x="5933" y="1011530"/>
                    <a:pt x="6096" y="653735"/>
                  </a:cubicBezTo>
                  <a:cubicBezTo>
                    <a:pt x="6259" y="295941"/>
                    <a:pt x="296428" y="5934"/>
                    <a:pt x="654304" y="6096"/>
                  </a:cubicBezTo>
                  <a:cubicBezTo>
                    <a:pt x="756391" y="6096"/>
                    <a:pt x="857097" y="30318"/>
                    <a:pt x="948050" y="76647"/>
                  </a:cubicBezTo>
                  <a:lnTo>
                    <a:pt x="889935" y="286350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38" name="Forma libre: forma 37">
              <a:extLst>
                <a:ext uri="{FF2B5EF4-FFF2-40B4-BE49-F238E27FC236}">
                  <a16:creationId xmlns:a16="http://schemas.microsoft.com/office/drawing/2014/main" id="{01CA835E-F51C-4024-AEED-ABE1B5224CD8}"/>
                </a:ext>
              </a:extLst>
            </p:cNvPr>
            <p:cNvSpPr/>
            <p:nvPr/>
          </p:nvSpPr>
          <p:spPr>
            <a:xfrm>
              <a:off x="6886773" y="2794041"/>
              <a:ext cx="1276096" cy="1267968"/>
            </a:xfrm>
            <a:custGeom>
              <a:avLst/>
              <a:gdLst>
                <a:gd name="connsiteX0" fmla="*/ 1060135 w 1276096"/>
                <a:gd name="connsiteY0" fmla="*/ 1267968 h 1267968"/>
                <a:gd name="connsiteX1" fmla="*/ 1273007 w 1276096"/>
                <a:gd name="connsiteY1" fmla="*/ 1267968 h 1267968"/>
                <a:gd name="connsiteX2" fmla="*/ 900501 w 1276096"/>
                <a:gd name="connsiteY2" fmla="*/ 149962 h 1267968"/>
                <a:gd name="connsiteX3" fmla="*/ 700959 w 1276096"/>
                <a:gd name="connsiteY3" fmla="*/ 6096 h 1267968"/>
                <a:gd name="connsiteX4" fmla="*/ 426801 w 1276096"/>
                <a:gd name="connsiteY4" fmla="*/ 6096 h 1267968"/>
                <a:gd name="connsiteX5" fmla="*/ 6096 w 1276096"/>
                <a:gd name="connsiteY5" fmla="*/ 1268212 h 1267968"/>
                <a:gd name="connsiteX6" fmla="*/ 218968 w 1276096"/>
                <a:gd name="connsiteY6" fmla="*/ 1268212 h 1267968"/>
                <a:gd name="connsiteX7" fmla="*/ 324145 w 1276096"/>
                <a:gd name="connsiteY7" fmla="*/ 952683 h 1267968"/>
                <a:gd name="connsiteX8" fmla="*/ 673649 w 1276096"/>
                <a:gd name="connsiteY8" fmla="*/ 952683 h 1267968"/>
                <a:gd name="connsiteX9" fmla="*/ 884001 w 1276096"/>
                <a:gd name="connsiteY9" fmla="*/ 742330 h 1267968"/>
                <a:gd name="connsiteX10" fmla="*/ 884001 w 1276096"/>
                <a:gd name="connsiteY10" fmla="*/ 742330 h 1267968"/>
                <a:gd name="connsiteX11" fmla="*/ 394127 w 1276096"/>
                <a:gd name="connsiteY11" fmla="*/ 742330 h 1267968"/>
                <a:gd name="connsiteX12" fmla="*/ 639511 w 1276096"/>
                <a:gd name="connsiteY12" fmla="*/ 6096 h 1267968"/>
                <a:gd name="connsiteX13" fmla="*/ 1060135 w 1276096"/>
                <a:gd name="connsiteY13" fmla="*/ 1267968 h 126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276096" h="1267968">
                  <a:moveTo>
                    <a:pt x="1060135" y="1267968"/>
                  </a:moveTo>
                  <a:lnTo>
                    <a:pt x="1273007" y="1267968"/>
                  </a:lnTo>
                  <a:lnTo>
                    <a:pt x="900501" y="149962"/>
                  </a:lnTo>
                  <a:cubicBezTo>
                    <a:pt x="871891" y="64049"/>
                    <a:pt x="791505" y="6096"/>
                    <a:pt x="700959" y="6096"/>
                  </a:cubicBezTo>
                  <a:lnTo>
                    <a:pt x="426801" y="6096"/>
                  </a:lnTo>
                  <a:lnTo>
                    <a:pt x="6096" y="1268212"/>
                  </a:lnTo>
                  <a:lnTo>
                    <a:pt x="218968" y="1268212"/>
                  </a:lnTo>
                  <a:lnTo>
                    <a:pt x="324145" y="952683"/>
                  </a:lnTo>
                  <a:lnTo>
                    <a:pt x="673649" y="952683"/>
                  </a:lnTo>
                  <a:cubicBezTo>
                    <a:pt x="789798" y="952683"/>
                    <a:pt x="884001" y="858479"/>
                    <a:pt x="884001" y="742330"/>
                  </a:cubicBezTo>
                  <a:lnTo>
                    <a:pt x="884001" y="742330"/>
                  </a:lnTo>
                  <a:cubicBezTo>
                    <a:pt x="884001" y="742330"/>
                    <a:pt x="394127" y="742330"/>
                    <a:pt x="394127" y="742330"/>
                  </a:cubicBezTo>
                  <a:lnTo>
                    <a:pt x="639511" y="6096"/>
                  </a:lnTo>
                  <a:lnTo>
                    <a:pt x="1060135" y="1267968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39" name="Forma libre: forma 38">
              <a:extLst>
                <a:ext uri="{FF2B5EF4-FFF2-40B4-BE49-F238E27FC236}">
                  <a16:creationId xmlns:a16="http://schemas.microsoft.com/office/drawing/2014/main" id="{1D03664A-A339-4979-8097-643E16B39FFE}"/>
                </a:ext>
              </a:extLst>
            </p:cNvPr>
            <p:cNvSpPr/>
            <p:nvPr/>
          </p:nvSpPr>
          <p:spPr>
            <a:xfrm>
              <a:off x="10918749" y="2794041"/>
              <a:ext cx="1276096" cy="1267968"/>
            </a:xfrm>
            <a:custGeom>
              <a:avLst/>
              <a:gdLst>
                <a:gd name="connsiteX0" fmla="*/ 1060380 w 1276096"/>
                <a:gd name="connsiteY0" fmla="*/ 1267968 h 1267968"/>
                <a:gd name="connsiteX1" fmla="*/ 1273251 w 1276096"/>
                <a:gd name="connsiteY1" fmla="*/ 1267968 h 1267968"/>
                <a:gd name="connsiteX2" fmla="*/ 900420 w 1276096"/>
                <a:gd name="connsiteY2" fmla="*/ 149962 h 1267968"/>
                <a:gd name="connsiteX3" fmla="*/ 700877 w 1276096"/>
                <a:gd name="connsiteY3" fmla="*/ 6096 h 1267968"/>
                <a:gd name="connsiteX4" fmla="*/ 426801 w 1276096"/>
                <a:gd name="connsiteY4" fmla="*/ 6096 h 1267968"/>
                <a:gd name="connsiteX5" fmla="*/ 6096 w 1276096"/>
                <a:gd name="connsiteY5" fmla="*/ 1268212 h 1267968"/>
                <a:gd name="connsiteX6" fmla="*/ 218969 w 1276096"/>
                <a:gd name="connsiteY6" fmla="*/ 1268212 h 1267968"/>
                <a:gd name="connsiteX7" fmla="*/ 324145 w 1276096"/>
                <a:gd name="connsiteY7" fmla="*/ 952683 h 1267968"/>
                <a:gd name="connsiteX8" fmla="*/ 673649 w 1276096"/>
                <a:gd name="connsiteY8" fmla="*/ 952683 h 1267968"/>
                <a:gd name="connsiteX9" fmla="*/ 884001 w 1276096"/>
                <a:gd name="connsiteY9" fmla="*/ 742330 h 1267968"/>
                <a:gd name="connsiteX10" fmla="*/ 884001 w 1276096"/>
                <a:gd name="connsiteY10" fmla="*/ 742330 h 1267968"/>
                <a:gd name="connsiteX11" fmla="*/ 394127 w 1276096"/>
                <a:gd name="connsiteY11" fmla="*/ 742330 h 1267968"/>
                <a:gd name="connsiteX12" fmla="*/ 639512 w 1276096"/>
                <a:gd name="connsiteY12" fmla="*/ 6096 h 1267968"/>
                <a:gd name="connsiteX13" fmla="*/ 1060380 w 1276096"/>
                <a:gd name="connsiteY13" fmla="*/ 1267968 h 126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276096" h="1267968">
                  <a:moveTo>
                    <a:pt x="1060380" y="1267968"/>
                  </a:moveTo>
                  <a:lnTo>
                    <a:pt x="1273251" y="1267968"/>
                  </a:lnTo>
                  <a:lnTo>
                    <a:pt x="900420" y="149962"/>
                  </a:lnTo>
                  <a:cubicBezTo>
                    <a:pt x="871809" y="64049"/>
                    <a:pt x="791423" y="6096"/>
                    <a:pt x="700877" y="6096"/>
                  </a:cubicBezTo>
                  <a:lnTo>
                    <a:pt x="426801" y="6096"/>
                  </a:lnTo>
                  <a:lnTo>
                    <a:pt x="6096" y="1268212"/>
                  </a:lnTo>
                  <a:lnTo>
                    <a:pt x="218969" y="1268212"/>
                  </a:lnTo>
                  <a:lnTo>
                    <a:pt x="324145" y="952683"/>
                  </a:lnTo>
                  <a:lnTo>
                    <a:pt x="673649" y="952683"/>
                  </a:lnTo>
                  <a:cubicBezTo>
                    <a:pt x="789798" y="952683"/>
                    <a:pt x="884001" y="858479"/>
                    <a:pt x="884001" y="742330"/>
                  </a:cubicBezTo>
                  <a:lnTo>
                    <a:pt x="884001" y="742330"/>
                  </a:lnTo>
                  <a:cubicBezTo>
                    <a:pt x="884001" y="742330"/>
                    <a:pt x="394127" y="742330"/>
                    <a:pt x="394127" y="742330"/>
                  </a:cubicBezTo>
                  <a:lnTo>
                    <a:pt x="639512" y="6096"/>
                  </a:lnTo>
                  <a:lnTo>
                    <a:pt x="1060380" y="1267968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</p:grpSp>
    </p:spTree>
    <p:extLst>
      <p:ext uri="{BB962C8B-B14F-4D97-AF65-F5344CB8AC3E}">
        <p14:creationId xmlns:p14="http://schemas.microsoft.com/office/powerpoint/2010/main" val="249907265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5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3.75E-6 -0.03472 L -3.75E-6 1.85185E-6 " pathEditMode="relative" rAng="0" ptsTypes="AA">
                                      <p:cBhvr>
                                        <p:cTn id="9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736"/>
                                    </p:animMotion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25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1666 -0.00046 L 3.75E-6 1.85185E-6 " pathEditMode="relative" rAng="0" ptsTypes="AA">
                                      <p:cBhvr>
                                        <p:cTn id="14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833" y="23"/>
                                    </p:animMotion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25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25E-6 0.03889 L 1.25E-6 1.85185E-6 " pathEditMode="relative" rAng="0" ptsTypes="AA">
                                      <p:cBhvr>
                                        <p:cTn id="19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944"/>
                                    </p:animMotion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2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animBg="1"/>
      <p:bldP spid="10" grpId="1" animBg="1"/>
      <p:bldP spid="27" grpId="0"/>
      <p:bldP spid="27" grpId="1"/>
      <p:bldP spid="28" grpId="0">
        <p:tmplLst>
          <p:tmpl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250"/>
                        <p:tgtEl>
                          <p:spTgt spid="2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8" grpId="1"/>
      <p:bldP spid="29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0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0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Esquema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m 2">
            <a:extLst>
              <a:ext uri="{FF2B5EF4-FFF2-40B4-BE49-F238E27FC236}">
                <a16:creationId xmlns:a16="http://schemas.microsoft.com/office/drawing/2014/main" id="{2B211E10-A8B2-66DE-27CA-1D4BC1A2F49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 l="21001" t="10643" r="27316" b="69832"/>
          <a:stretch>
            <a:fillRect/>
          </a:stretch>
        </p:blipFill>
        <p:spPr>
          <a:xfrm rot="10800000" flipV="1">
            <a:off x="512763" y="4003548"/>
            <a:ext cx="7641248" cy="2885002"/>
          </a:xfrm>
          <a:prstGeom prst="rect">
            <a:avLst/>
          </a:prstGeom>
        </p:spPr>
      </p:pic>
      <p:sp>
        <p:nvSpPr>
          <p:cNvPr id="55" name="Marcador de Posição do Texto 54">
            <a:extLst>
              <a:ext uri="{FF2B5EF4-FFF2-40B4-BE49-F238E27FC236}">
                <a16:creationId xmlns:a16="http://schemas.microsoft.com/office/drawing/2014/main" id="{05589BFD-23C6-9704-7618-2C374F52AF9F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260254" y="2117365"/>
            <a:ext cx="2418985" cy="4755731"/>
          </a:xfrm>
          <a:custGeom>
            <a:avLst/>
            <a:gdLst>
              <a:gd name="connsiteX0" fmla="*/ 1309450 w 2418985"/>
              <a:gd name="connsiteY0" fmla="*/ 0 h 4755731"/>
              <a:gd name="connsiteX1" fmla="*/ 1813537 w 2418985"/>
              <a:gd name="connsiteY1" fmla="*/ 0 h 4755731"/>
              <a:gd name="connsiteX2" fmla="*/ 1813783 w 2418985"/>
              <a:gd name="connsiteY2" fmla="*/ 0 h 4755731"/>
              <a:gd name="connsiteX3" fmla="*/ 2406686 w 2418985"/>
              <a:gd name="connsiteY3" fmla="*/ 483183 h 4755731"/>
              <a:gd name="connsiteX4" fmla="*/ 2418980 w 2418985"/>
              <a:gd name="connsiteY4" fmla="*/ 605148 h 4755731"/>
              <a:gd name="connsiteX5" fmla="*/ 2418985 w 2418985"/>
              <a:gd name="connsiteY5" fmla="*/ 605148 h 4755731"/>
              <a:gd name="connsiteX6" fmla="*/ 2418985 w 2418985"/>
              <a:gd name="connsiteY6" fmla="*/ 605197 h 4755731"/>
              <a:gd name="connsiteX7" fmla="*/ 2418985 w 2418985"/>
              <a:gd name="connsiteY7" fmla="*/ 4755731 h 4755731"/>
              <a:gd name="connsiteX8" fmla="*/ 1 w 2418985"/>
              <a:gd name="connsiteY8" fmla="*/ 4755731 h 4755731"/>
              <a:gd name="connsiteX9" fmla="*/ 1 w 2418985"/>
              <a:gd name="connsiteY9" fmla="*/ 605148 h 4755731"/>
              <a:gd name="connsiteX10" fmla="*/ 510350 w 2418985"/>
              <a:gd name="connsiteY10" fmla="*/ 605148 h 4755731"/>
              <a:gd name="connsiteX11" fmla="*/ 0 w 2418985"/>
              <a:gd name="connsiteY11" fmla="*/ 605123 h 4755731"/>
              <a:gd name="connsiteX12" fmla="*/ 0 w 2418985"/>
              <a:gd name="connsiteY12" fmla="*/ 4 h 4755731"/>
              <a:gd name="connsiteX13" fmla="*/ 1309428 w 2418985"/>
              <a:gd name="connsiteY13" fmla="*/ 67 h 47557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2418985" h="4755731">
                <a:moveTo>
                  <a:pt x="1309450" y="0"/>
                </a:moveTo>
                <a:lnTo>
                  <a:pt x="1813537" y="0"/>
                </a:lnTo>
                <a:lnTo>
                  <a:pt x="1813783" y="0"/>
                </a:lnTo>
                <a:cubicBezTo>
                  <a:pt x="2106165" y="0"/>
                  <a:pt x="2350236" y="207329"/>
                  <a:pt x="2406686" y="483183"/>
                </a:cubicBezTo>
                <a:lnTo>
                  <a:pt x="2418980" y="605148"/>
                </a:lnTo>
                <a:lnTo>
                  <a:pt x="2418985" y="605148"/>
                </a:lnTo>
                <a:lnTo>
                  <a:pt x="2418985" y="605197"/>
                </a:lnTo>
                <a:lnTo>
                  <a:pt x="2418985" y="4755731"/>
                </a:lnTo>
                <a:lnTo>
                  <a:pt x="1" y="4755731"/>
                </a:lnTo>
                <a:lnTo>
                  <a:pt x="1" y="605148"/>
                </a:lnTo>
                <a:lnTo>
                  <a:pt x="510350" y="605148"/>
                </a:lnTo>
                <a:lnTo>
                  <a:pt x="0" y="605123"/>
                </a:lnTo>
                <a:lnTo>
                  <a:pt x="0" y="4"/>
                </a:lnTo>
                <a:lnTo>
                  <a:pt x="1309428" y="67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lIns="612000" tIns="180000" rIns="252000" anchor="t">
            <a:noAutofit/>
          </a:bodyPr>
          <a:lstStyle>
            <a:lvl1pPr>
              <a:defRPr cap="all" baseline="0">
                <a:latin typeface="+mj-lt"/>
              </a:defRPr>
            </a:lvl1pPr>
            <a:lvl2pPr marL="171450" indent="-171450">
              <a:buClr>
                <a:schemeClr val="tx1"/>
              </a:buClr>
              <a:buFont typeface="Arial" panose="020B0604020202020204" pitchFamily="34" charset="0"/>
              <a:buChar char="•"/>
              <a:defRPr/>
            </a:lvl2pPr>
            <a:lvl3pPr marL="171450" indent="-171450">
              <a:buClr>
                <a:schemeClr val="tx1"/>
              </a:buClr>
              <a:buFont typeface="Arial" panose="020B0604020202020204" pitchFamily="34" charset="0"/>
              <a:buChar char="•"/>
              <a:defRPr/>
            </a:lvl3pPr>
            <a:lvl4pPr marL="171450" indent="-171450">
              <a:buClr>
                <a:schemeClr val="tx1"/>
              </a:buClr>
              <a:buFont typeface="Arial" panose="020B0604020202020204" pitchFamily="34" charset="0"/>
              <a:buChar char="•"/>
              <a:defRPr/>
            </a:lvl4pPr>
            <a:lvl5pPr marL="171450" indent="-171450">
              <a:buClr>
                <a:schemeClr val="tx1"/>
              </a:buClr>
              <a:buFont typeface="Arial" panose="020B0604020202020204" pitchFamily="34" charset="0"/>
              <a:buChar char="•"/>
              <a:defRPr/>
            </a:lvl5pPr>
          </a:lstStyle>
          <a:p>
            <a:pPr lvl="0"/>
            <a:r>
              <a:rPr lang="pt-PT" dirty="0"/>
              <a:t>Texto destacado</a:t>
            </a:r>
          </a:p>
        </p:txBody>
      </p:sp>
      <p:sp>
        <p:nvSpPr>
          <p:cNvPr id="54" name="Marcador de Posição do Texto 53">
            <a:extLst>
              <a:ext uri="{FF2B5EF4-FFF2-40B4-BE49-F238E27FC236}">
                <a16:creationId xmlns:a16="http://schemas.microsoft.com/office/drawing/2014/main" id="{C0B3D86C-ED5F-9328-948E-9E260C89D17A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343797" y="2117365"/>
            <a:ext cx="2418985" cy="4755731"/>
          </a:xfrm>
          <a:custGeom>
            <a:avLst/>
            <a:gdLst>
              <a:gd name="connsiteX0" fmla="*/ 1309450 w 2418985"/>
              <a:gd name="connsiteY0" fmla="*/ 0 h 4755731"/>
              <a:gd name="connsiteX1" fmla="*/ 1813537 w 2418985"/>
              <a:gd name="connsiteY1" fmla="*/ 0 h 4755731"/>
              <a:gd name="connsiteX2" fmla="*/ 1813783 w 2418985"/>
              <a:gd name="connsiteY2" fmla="*/ 0 h 4755731"/>
              <a:gd name="connsiteX3" fmla="*/ 2406686 w 2418985"/>
              <a:gd name="connsiteY3" fmla="*/ 483183 h 4755731"/>
              <a:gd name="connsiteX4" fmla="*/ 2418980 w 2418985"/>
              <a:gd name="connsiteY4" fmla="*/ 605148 h 4755731"/>
              <a:gd name="connsiteX5" fmla="*/ 2418985 w 2418985"/>
              <a:gd name="connsiteY5" fmla="*/ 605148 h 4755731"/>
              <a:gd name="connsiteX6" fmla="*/ 2418985 w 2418985"/>
              <a:gd name="connsiteY6" fmla="*/ 605197 h 4755731"/>
              <a:gd name="connsiteX7" fmla="*/ 2418985 w 2418985"/>
              <a:gd name="connsiteY7" fmla="*/ 4755731 h 4755731"/>
              <a:gd name="connsiteX8" fmla="*/ 1 w 2418985"/>
              <a:gd name="connsiteY8" fmla="*/ 4755731 h 4755731"/>
              <a:gd name="connsiteX9" fmla="*/ 1 w 2418985"/>
              <a:gd name="connsiteY9" fmla="*/ 605148 h 4755731"/>
              <a:gd name="connsiteX10" fmla="*/ 510350 w 2418985"/>
              <a:gd name="connsiteY10" fmla="*/ 605148 h 4755731"/>
              <a:gd name="connsiteX11" fmla="*/ 0 w 2418985"/>
              <a:gd name="connsiteY11" fmla="*/ 605123 h 4755731"/>
              <a:gd name="connsiteX12" fmla="*/ 0 w 2418985"/>
              <a:gd name="connsiteY12" fmla="*/ 4 h 4755731"/>
              <a:gd name="connsiteX13" fmla="*/ 1309428 w 2418985"/>
              <a:gd name="connsiteY13" fmla="*/ 67 h 47557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2418985" h="4755731">
                <a:moveTo>
                  <a:pt x="1309450" y="0"/>
                </a:moveTo>
                <a:lnTo>
                  <a:pt x="1813537" y="0"/>
                </a:lnTo>
                <a:lnTo>
                  <a:pt x="1813783" y="0"/>
                </a:lnTo>
                <a:cubicBezTo>
                  <a:pt x="2106165" y="0"/>
                  <a:pt x="2350236" y="207329"/>
                  <a:pt x="2406686" y="483183"/>
                </a:cubicBezTo>
                <a:lnTo>
                  <a:pt x="2418980" y="605148"/>
                </a:lnTo>
                <a:lnTo>
                  <a:pt x="2418985" y="605148"/>
                </a:lnTo>
                <a:lnTo>
                  <a:pt x="2418985" y="605197"/>
                </a:lnTo>
                <a:lnTo>
                  <a:pt x="2418985" y="4755731"/>
                </a:lnTo>
                <a:lnTo>
                  <a:pt x="1" y="4755731"/>
                </a:lnTo>
                <a:lnTo>
                  <a:pt x="1" y="605148"/>
                </a:lnTo>
                <a:lnTo>
                  <a:pt x="510350" y="605148"/>
                </a:lnTo>
                <a:lnTo>
                  <a:pt x="0" y="605123"/>
                </a:lnTo>
                <a:lnTo>
                  <a:pt x="0" y="4"/>
                </a:lnTo>
                <a:lnTo>
                  <a:pt x="1309428" y="67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lIns="612000" tIns="180000" rIns="252000" anchor="t">
            <a:noAutofit/>
          </a:bodyPr>
          <a:lstStyle>
            <a:lvl1pPr>
              <a:defRPr cap="all" baseline="0">
                <a:latin typeface="+mj-lt"/>
              </a:defRPr>
            </a:lvl1pPr>
            <a:lvl2pPr marL="171450" indent="-171450">
              <a:buClr>
                <a:schemeClr val="tx1"/>
              </a:buClr>
              <a:buFont typeface="Arial" panose="020B0604020202020204" pitchFamily="34" charset="0"/>
              <a:buChar char="•"/>
              <a:defRPr/>
            </a:lvl2pPr>
            <a:lvl3pPr marL="171450" indent="-171450">
              <a:buClr>
                <a:schemeClr val="tx1"/>
              </a:buClr>
              <a:buFont typeface="Arial" panose="020B0604020202020204" pitchFamily="34" charset="0"/>
              <a:buChar char="•"/>
              <a:defRPr/>
            </a:lvl3pPr>
            <a:lvl4pPr marL="171450" indent="-171450">
              <a:buClr>
                <a:schemeClr val="tx1"/>
              </a:buClr>
              <a:buFont typeface="Arial" panose="020B0604020202020204" pitchFamily="34" charset="0"/>
              <a:buChar char="•"/>
              <a:defRPr/>
            </a:lvl4pPr>
            <a:lvl5pPr marL="171450" indent="-171450">
              <a:buClr>
                <a:schemeClr val="tx1"/>
              </a:buClr>
              <a:buFont typeface="Arial" panose="020B0604020202020204" pitchFamily="34" charset="0"/>
              <a:buChar char="•"/>
              <a:defRPr/>
            </a:lvl5pPr>
          </a:lstStyle>
          <a:p>
            <a:pPr lvl="0"/>
            <a:r>
              <a:rPr lang="pt-PT" dirty="0"/>
              <a:t>Texto destacado</a:t>
            </a:r>
          </a:p>
        </p:txBody>
      </p:sp>
      <p:sp>
        <p:nvSpPr>
          <p:cNvPr id="53" name="Marcador de Posição do Texto 52">
            <a:extLst>
              <a:ext uri="{FF2B5EF4-FFF2-40B4-BE49-F238E27FC236}">
                <a16:creationId xmlns:a16="http://schemas.microsoft.com/office/drawing/2014/main" id="{6F9A603B-8141-6A42-AD12-AA17159464FC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427339" y="2117365"/>
            <a:ext cx="2418985" cy="4755731"/>
          </a:xfrm>
          <a:custGeom>
            <a:avLst/>
            <a:gdLst>
              <a:gd name="connsiteX0" fmla="*/ 1309450 w 2418985"/>
              <a:gd name="connsiteY0" fmla="*/ 0 h 4755731"/>
              <a:gd name="connsiteX1" fmla="*/ 1813537 w 2418985"/>
              <a:gd name="connsiteY1" fmla="*/ 0 h 4755731"/>
              <a:gd name="connsiteX2" fmla="*/ 1813783 w 2418985"/>
              <a:gd name="connsiteY2" fmla="*/ 0 h 4755731"/>
              <a:gd name="connsiteX3" fmla="*/ 2406686 w 2418985"/>
              <a:gd name="connsiteY3" fmla="*/ 483183 h 4755731"/>
              <a:gd name="connsiteX4" fmla="*/ 2418980 w 2418985"/>
              <a:gd name="connsiteY4" fmla="*/ 605148 h 4755731"/>
              <a:gd name="connsiteX5" fmla="*/ 2418985 w 2418985"/>
              <a:gd name="connsiteY5" fmla="*/ 605148 h 4755731"/>
              <a:gd name="connsiteX6" fmla="*/ 2418985 w 2418985"/>
              <a:gd name="connsiteY6" fmla="*/ 605197 h 4755731"/>
              <a:gd name="connsiteX7" fmla="*/ 2418985 w 2418985"/>
              <a:gd name="connsiteY7" fmla="*/ 4755731 h 4755731"/>
              <a:gd name="connsiteX8" fmla="*/ 1 w 2418985"/>
              <a:gd name="connsiteY8" fmla="*/ 4755731 h 4755731"/>
              <a:gd name="connsiteX9" fmla="*/ 1 w 2418985"/>
              <a:gd name="connsiteY9" fmla="*/ 605148 h 4755731"/>
              <a:gd name="connsiteX10" fmla="*/ 510350 w 2418985"/>
              <a:gd name="connsiteY10" fmla="*/ 605148 h 4755731"/>
              <a:gd name="connsiteX11" fmla="*/ 0 w 2418985"/>
              <a:gd name="connsiteY11" fmla="*/ 605123 h 4755731"/>
              <a:gd name="connsiteX12" fmla="*/ 0 w 2418985"/>
              <a:gd name="connsiteY12" fmla="*/ 4 h 4755731"/>
              <a:gd name="connsiteX13" fmla="*/ 1309428 w 2418985"/>
              <a:gd name="connsiteY13" fmla="*/ 67 h 47557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2418985" h="4755731">
                <a:moveTo>
                  <a:pt x="1309450" y="0"/>
                </a:moveTo>
                <a:lnTo>
                  <a:pt x="1813537" y="0"/>
                </a:lnTo>
                <a:lnTo>
                  <a:pt x="1813783" y="0"/>
                </a:lnTo>
                <a:cubicBezTo>
                  <a:pt x="2106165" y="0"/>
                  <a:pt x="2350236" y="207329"/>
                  <a:pt x="2406686" y="483183"/>
                </a:cubicBezTo>
                <a:lnTo>
                  <a:pt x="2418980" y="605148"/>
                </a:lnTo>
                <a:lnTo>
                  <a:pt x="2418985" y="605148"/>
                </a:lnTo>
                <a:lnTo>
                  <a:pt x="2418985" y="605197"/>
                </a:lnTo>
                <a:lnTo>
                  <a:pt x="2418985" y="4755731"/>
                </a:lnTo>
                <a:lnTo>
                  <a:pt x="1" y="4755731"/>
                </a:lnTo>
                <a:lnTo>
                  <a:pt x="1" y="605148"/>
                </a:lnTo>
                <a:lnTo>
                  <a:pt x="510350" y="605148"/>
                </a:lnTo>
                <a:lnTo>
                  <a:pt x="0" y="605123"/>
                </a:lnTo>
                <a:lnTo>
                  <a:pt x="0" y="4"/>
                </a:lnTo>
                <a:lnTo>
                  <a:pt x="1309428" y="67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lIns="612000" tIns="180000" rIns="252000" anchor="t">
            <a:noAutofit/>
          </a:bodyPr>
          <a:lstStyle>
            <a:lvl1pPr>
              <a:defRPr cap="all" baseline="0">
                <a:latin typeface="+mj-lt"/>
              </a:defRPr>
            </a:lvl1pPr>
            <a:lvl2pPr marL="171450" indent="-171450">
              <a:buClr>
                <a:schemeClr val="tx1"/>
              </a:buClr>
              <a:buFont typeface="Arial" panose="020B0604020202020204" pitchFamily="34" charset="0"/>
              <a:buChar char="•"/>
              <a:defRPr/>
            </a:lvl2pPr>
            <a:lvl3pPr marL="171450" indent="-171450">
              <a:buClr>
                <a:schemeClr val="tx1"/>
              </a:buClr>
              <a:buFont typeface="Arial" panose="020B0604020202020204" pitchFamily="34" charset="0"/>
              <a:buChar char="•"/>
              <a:defRPr/>
            </a:lvl3pPr>
            <a:lvl4pPr marL="171450" indent="-171450">
              <a:buClr>
                <a:schemeClr val="tx1"/>
              </a:buClr>
              <a:buFont typeface="Arial" panose="020B0604020202020204" pitchFamily="34" charset="0"/>
              <a:buChar char="•"/>
              <a:defRPr/>
            </a:lvl4pPr>
            <a:lvl5pPr marL="171450" indent="-171450">
              <a:buClr>
                <a:schemeClr val="tx1"/>
              </a:buClr>
              <a:buFont typeface="Arial" panose="020B0604020202020204" pitchFamily="34" charset="0"/>
              <a:buChar char="•"/>
              <a:defRPr/>
            </a:lvl5pPr>
          </a:lstStyle>
          <a:p>
            <a:pPr lvl="0"/>
            <a:r>
              <a:rPr lang="pt-PT" dirty="0"/>
              <a:t>Texto destacado</a:t>
            </a:r>
          </a:p>
        </p:txBody>
      </p:sp>
      <p:sp>
        <p:nvSpPr>
          <p:cNvPr id="52" name="Marcador de Posição do Texto 51">
            <a:extLst>
              <a:ext uri="{FF2B5EF4-FFF2-40B4-BE49-F238E27FC236}">
                <a16:creationId xmlns:a16="http://schemas.microsoft.com/office/drawing/2014/main" id="{855E05E0-22AE-E165-4162-799E3DA95AC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0881" y="2117365"/>
            <a:ext cx="2418985" cy="4755731"/>
          </a:xfrm>
          <a:custGeom>
            <a:avLst/>
            <a:gdLst>
              <a:gd name="connsiteX0" fmla="*/ 1309450 w 2418985"/>
              <a:gd name="connsiteY0" fmla="*/ 0 h 4755731"/>
              <a:gd name="connsiteX1" fmla="*/ 1813537 w 2418985"/>
              <a:gd name="connsiteY1" fmla="*/ 0 h 4755731"/>
              <a:gd name="connsiteX2" fmla="*/ 1813783 w 2418985"/>
              <a:gd name="connsiteY2" fmla="*/ 0 h 4755731"/>
              <a:gd name="connsiteX3" fmla="*/ 2406686 w 2418985"/>
              <a:gd name="connsiteY3" fmla="*/ 483183 h 4755731"/>
              <a:gd name="connsiteX4" fmla="*/ 2418980 w 2418985"/>
              <a:gd name="connsiteY4" fmla="*/ 605148 h 4755731"/>
              <a:gd name="connsiteX5" fmla="*/ 2418985 w 2418985"/>
              <a:gd name="connsiteY5" fmla="*/ 605148 h 4755731"/>
              <a:gd name="connsiteX6" fmla="*/ 2418985 w 2418985"/>
              <a:gd name="connsiteY6" fmla="*/ 605197 h 4755731"/>
              <a:gd name="connsiteX7" fmla="*/ 2418985 w 2418985"/>
              <a:gd name="connsiteY7" fmla="*/ 4755731 h 4755731"/>
              <a:gd name="connsiteX8" fmla="*/ 1 w 2418985"/>
              <a:gd name="connsiteY8" fmla="*/ 4755731 h 4755731"/>
              <a:gd name="connsiteX9" fmla="*/ 1 w 2418985"/>
              <a:gd name="connsiteY9" fmla="*/ 605148 h 4755731"/>
              <a:gd name="connsiteX10" fmla="*/ 510350 w 2418985"/>
              <a:gd name="connsiteY10" fmla="*/ 605148 h 4755731"/>
              <a:gd name="connsiteX11" fmla="*/ 0 w 2418985"/>
              <a:gd name="connsiteY11" fmla="*/ 605123 h 4755731"/>
              <a:gd name="connsiteX12" fmla="*/ 0 w 2418985"/>
              <a:gd name="connsiteY12" fmla="*/ 4 h 4755731"/>
              <a:gd name="connsiteX13" fmla="*/ 1309428 w 2418985"/>
              <a:gd name="connsiteY13" fmla="*/ 67 h 47557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2418985" h="4755731">
                <a:moveTo>
                  <a:pt x="1309450" y="0"/>
                </a:moveTo>
                <a:lnTo>
                  <a:pt x="1813537" y="0"/>
                </a:lnTo>
                <a:lnTo>
                  <a:pt x="1813783" y="0"/>
                </a:lnTo>
                <a:cubicBezTo>
                  <a:pt x="2106165" y="0"/>
                  <a:pt x="2350236" y="207329"/>
                  <a:pt x="2406686" y="483183"/>
                </a:cubicBezTo>
                <a:lnTo>
                  <a:pt x="2418980" y="605148"/>
                </a:lnTo>
                <a:lnTo>
                  <a:pt x="2418985" y="605148"/>
                </a:lnTo>
                <a:lnTo>
                  <a:pt x="2418985" y="605197"/>
                </a:lnTo>
                <a:lnTo>
                  <a:pt x="2418985" y="4755731"/>
                </a:lnTo>
                <a:lnTo>
                  <a:pt x="1" y="4755731"/>
                </a:lnTo>
                <a:lnTo>
                  <a:pt x="1" y="605148"/>
                </a:lnTo>
                <a:lnTo>
                  <a:pt x="510350" y="605148"/>
                </a:lnTo>
                <a:lnTo>
                  <a:pt x="0" y="605123"/>
                </a:lnTo>
                <a:lnTo>
                  <a:pt x="0" y="4"/>
                </a:lnTo>
                <a:lnTo>
                  <a:pt x="1309428" y="67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lIns="612000" tIns="180000" rIns="252000" anchor="t">
            <a:noAutofit/>
          </a:bodyPr>
          <a:lstStyle>
            <a:lvl1pPr>
              <a:defRPr cap="all" baseline="0">
                <a:latin typeface="+mj-lt"/>
              </a:defRPr>
            </a:lvl1pPr>
            <a:lvl2pPr marL="171450" indent="-171450">
              <a:buClr>
                <a:schemeClr val="tx1"/>
              </a:buClr>
              <a:buFont typeface="Arial" panose="020B0604020202020204" pitchFamily="34" charset="0"/>
              <a:buChar char="•"/>
              <a:defRPr/>
            </a:lvl2pPr>
            <a:lvl3pPr marL="171450" indent="-171450">
              <a:buClr>
                <a:schemeClr val="tx1"/>
              </a:buClr>
              <a:buFont typeface="Arial" panose="020B0604020202020204" pitchFamily="34" charset="0"/>
              <a:buChar char="•"/>
              <a:defRPr/>
            </a:lvl3pPr>
            <a:lvl4pPr marL="171450" indent="-171450">
              <a:buClr>
                <a:schemeClr val="tx1"/>
              </a:buClr>
              <a:buFont typeface="Arial" panose="020B0604020202020204" pitchFamily="34" charset="0"/>
              <a:buChar char="•"/>
              <a:defRPr/>
            </a:lvl4pPr>
            <a:lvl5pPr marL="171450" indent="-171450">
              <a:buClr>
                <a:schemeClr val="tx1"/>
              </a:buClr>
              <a:buFont typeface="Arial" panose="020B0604020202020204" pitchFamily="34" charset="0"/>
              <a:buChar char="•"/>
              <a:defRPr/>
            </a:lvl5pPr>
          </a:lstStyle>
          <a:p>
            <a:pPr lvl="0"/>
            <a:r>
              <a:rPr lang="pt-PT" dirty="0"/>
              <a:t>Texto destacado</a:t>
            </a:r>
          </a:p>
        </p:txBody>
      </p:sp>
      <p:pic>
        <p:nvPicPr>
          <p:cNvPr id="2" name="Imagem 1">
            <a:extLst>
              <a:ext uri="{FF2B5EF4-FFF2-40B4-BE49-F238E27FC236}">
                <a16:creationId xmlns:a16="http://schemas.microsoft.com/office/drawing/2014/main" id="{54C81376-E967-75B3-5C28-D550AE0C05B8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 l="17318" t="60814" r="14165" b="11057"/>
          <a:stretch>
            <a:fillRect/>
          </a:stretch>
        </p:blipFill>
        <p:spPr>
          <a:xfrm>
            <a:off x="6178699" y="-42423"/>
            <a:ext cx="5318830" cy="2183575"/>
          </a:xfrm>
          <a:prstGeom prst="rect">
            <a:avLst/>
          </a:prstGeom>
        </p:spPr>
      </p:pic>
      <p:sp>
        <p:nvSpPr>
          <p:cNvPr id="14" name="Título 6">
            <a:extLst>
              <a:ext uri="{FF2B5EF4-FFF2-40B4-BE49-F238E27FC236}">
                <a16:creationId xmlns:a16="http://schemas.microsoft.com/office/drawing/2014/main" id="{09A84EDA-27EE-4757-A961-8AE7A283777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3184" y="550508"/>
            <a:ext cx="11165632" cy="712204"/>
          </a:xfrm>
        </p:spPr>
        <p:txBody>
          <a:bodyPr>
            <a:normAutofit/>
          </a:bodyPr>
          <a:lstStyle>
            <a:lvl1pPr>
              <a:defRPr sz="3200"/>
            </a:lvl1pPr>
          </a:lstStyle>
          <a:p>
            <a:r>
              <a:rPr lang="pt-PT" dirty="0"/>
              <a:t>Insertar título de la slide</a:t>
            </a:r>
          </a:p>
        </p:txBody>
      </p:sp>
      <p:sp>
        <p:nvSpPr>
          <p:cNvPr id="15" name="Marcador de Posição do Texto 8">
            <a:extLst>
              <a:ext uri="{FF2B5EF4-FFF2-40B4-BE49-F238E27FC236}">
                <a16:creationId xmlns:a16="http://schemas.microsoft.com/office/drawing/2014/main" id="{62092A99-C940-42D9-9FB3-4C4610C89FA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12763" y="1156317"/>
            <a:ext cx="11166475" cy="355243"/>
          </a:xfrm>
        </p:spPr>
        <p:txBody>
          <a:bodyPr>
            <a:normAutofit/>
          </a:bodyPr>
          <a:lstStyle>
            <a:lvl1pPr>
              <a:defRPr sz="200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pt-PT" dirty="0"/>
              <a:t>Insertar subtítulo de la slide</a:t>
            </a:r>
          </a:p>
        </p:txBody>
      </p:sp>
      <p:sp>
        <p:nvSpPr>
          <p:cNvPr id="18" name="Marcador de Posição do Rodapé 4">
            <a:extLst>
              <a:ext uri="{FF2B5EF4-FFF2-40B4-BE49-F238E27FC236}">
                <a16:creationId xmlns:a16="http://schemas.microsoft.com/office/drawing/2014/main" id="{41900D2C-DEBB-4063-8A5A-D69DA81A794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12762" y="6356350"/>
            <a:ext cx="534669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accent2"/>
                </a:solidFill>
              </a:defRPr>
            </a:lvl1pPr>
          </a:lstStyle>
          <a:p>
            <a:r>
              <a:rPr lang="pt-PT"/>
              <a:t>Título de la presentación</a:t>
            </a:r>
            <a:endParaRPr lang="pt-PT" dirty="0"/>
          </a:p>
        </p:txBody>
      </p:sp>
      <p:sp>
        <p:nvSpPr>
          <p:cNvPr id="19" name="Marcador de Posição do Número do Diapositivo 5">
            <a:extLst>
              <a:ext uri="{FF2B5EF4-FFF2-40B4-BE49-F238E27FC236}">
                <a16:creationId xmlns:a16="http://schemas.microsoft.com/office/drawing/2014/main" id="{9D3EDB56-2A4A-455D-B654-FA437B91590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936039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accent2"/>
                </a:solidFill>
              </a:defRPr>
            </a:lvl1pPr>
          </a:lstStyle>
          <a:p>
            <a:fld id="{24A347C2-D68E-473A-8C76-1D063E4EB6E0}" type="slidenum">
              <a:rPr lang="es-ES" smtClean="0"/>
              <a:pPr/>
              <a:t>‹Nº›</a:t>
            </a:fld>
            <a:endParaRPr lang="es-ES"/>
          </a:p>
        </p:txBody>
      </p:sp>
      <p:sp>
        <p:nvSpPr>
          <p:cNvPr id="20" name="Marcador de Posição do Texto 10">
            <a:extLst>
              <a:ext uri="{FF2B5EF4-FFF2-40B4-BE49-F238E27FC236}">
                <a16:creationId xmlns:a16="http://schemas.microsoft.com/office/drawing/2014/main" id="{5D8976A8-85C3-4497-892A-031F4497A97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73564" y="2838451"/>
            <a:ext cx="2126051" cy="3352800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s-ES" dirty="0"/>
              <a:t>Haz </a:t>
            </a:r>
            <a:r>
              <a:rPr lang="es-ES" dirty="0" err="1"/>
              <a:t>click</a:t>
            </a:r>
            <a:r>
              <a:rPr lang="es-ES" dirty="0"/>
              <a:t> para editar los estilos del texto del modelo global</a:t>
            </a:r>
            <a:endParaRPr lang="pt-PT" dirty="0"/>
          </a:p>
          <a:p>
            <a:pPr lvl="1"/>
            <a:r>
              <a:rPr lang="es-ES" dirty="0"/>
              <a:t>Segundo nivel</a:t>
            </a:r>
          </a:p>
          <a:p>
            <a:pPr lvl="1"/>
            <a:r>
              <a:rPr lang="es-ES" dirty="0"/>
              <a:t>Tercer nivel</a:t>
            </a:r>
          </a:p>
          <a:p>
            <a:pPr lvl="1"/>
            <a:r>
              <a:rPr lang="es-ES" dirty="0"/>
              <a:t>Cuarto nivel</a:t>
            </a:r>
          </a:p>
          <a:p>
            <a:pPr lvl="1"/>
            <a:r>
              <a:rPr lang="es-ES" dirty="0"/>
              <a:t>Quinto nivel</a:t>
            </a:r>
            <a:endParaRPr lang="pt-PT" dirty="0"/>
          </a:p>
        </p:txBody>
      </p:sp>
      <p:sp>
        <p:nvSpPr>
          <p:cNvPr id="21" name="Marcador de Posição do Texto 10">
            <a:extLst>
              <a:ext uri="{FF2B5EF4-FFF2-40B4-BE49-F238E27FC236}">
                <a16:creationId xmlns:a16="http://schemas.microsoft.com/office/drawing/2014/main" id="{37186854-A0B0-4A12-9B1C-6ABEACE8AD6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567927" y="2838451"/>
            <a:ext cx="2126051" cy="3352800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s-ES" dirty="0"/>
              <a:t>Haz </a:t>
            </a:r>
            <a:r>
              <a:rPr lang="es-ES" dirty="0" err="1"/>
              <a:t>click</a:t>
            </a:r>
            <a:r>
              <a:rPr lang="es-ES" dirty="0"/>
              <a:t> para editar los estilos del texto del modelo global</a:t>
            </a:r>
            <a:endParaRPr lang="pt-PT" dirty="0"/>
          </a:p>
          <a:p>
            <a:pPr lvl="1"/>
            <a:r>
              <a:rPr lang="es-ES" dirty="0"/>
              <a:t>Segundo nivel</a:t>
            </a:r>
          </a:p>
          <a:p>
            <a:pPr lvl="1"/>
            <a:r>
              <a:rPr lang="es-ES" dirty="0"/>
              <a:t>Tercer nivel</a:t>
            </a:r>
          </a:p>
          <a:p>
            <a:pPr lvl="1"/>
            <a:r>
              <a:rPr lang="es-ES" dirty="0"/>
              <a:t>Cuarto nivel</a:t>
            </a:r>
          </a:p>
          <a:p>
            <a:pPr lvl="1"/>
            <a:r>
              <a:rPr lang="es-ES" dirty="0"/>
              <a:t>Quinto nivel</a:t>
            </a:r>
            <a:endParaRPr lang="pt-PT" dirty="0"/>
          </a:p>
          <a:p>
            <a:pPr lvl="4"/>
            <a:endParaRPr lang="pt-PT" dirty="0"/>
          </a:p>
        </p:txBody>
      </p:sp>
      <p:sp>
        <p:nvSpPr>
          <p:cNvPr id="22" name="Marcador de Posição do Texto 10">
            <a:extLst>
              <a:ext uri="{FF2B5EF4-FFF2-40B4-BE49-F238E27FC236}">
                <a16:creationId xmlns:a16="http://schemas.microsoft.com/office/drawing/2014/main" id="{14B27267-B89E-471E-957F-BCCFBC23A2B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462290" y="2838451"/>
            <a:ext cx="2126051" cy="3352800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s-ES" dirty="0"/>
              <a:t>Haz </a:t>
            </a:r>
            <a:r>
              <a:rPr lang="es-ES" dirty="0" err="1"/>
              <a:t>click</a:t>
            </a:r>
            <a:r>
              <a:rPr lang="es-ES" dirty="0"/>
              <a:t> para editar los estilos del texto del modelo global</a:t>
            </a:r>
            <a:endParaRPr lang="pt-PT" dirty="0"/>
          </a:p>
          <a:p>
            <a:pPr lvl="1"/>
            <a:r>
              <a:rPr lang="es-ES" dirty="0"/>
              <a:t>Segundo nivel</a:t>
            </a:r>
          </a:p>
          <a:p>
            <a:pPr lvl="1"/>
            <a:r>
              <a:rPr lang="es-ES" dirty="0"/>
              <a:t>Tercer nivel</a:t>
            </a:r>
          </a:p>
          <a:p>
            <a:pPr lvl="1"/>
            <a:r>
              <a:rPr lang="es-ES" dirty="0"/>
              <a:t>Cuarto nivel</a:t>
            </a:r>
          </a:p>
          <a:p>
            <a:pPr lvl="1"/>
            <a:r>
              <a:rPr lang="es-ES" dirty="0"/>
              <a:t>Quinto nivel</a:t>
            </a:r>
            <a:endParaRPr lang="pt-PT" dirty="0"/>
          </a:p>
          <a:p>
            <a:pPr lvl="4"/>
            <a:endParaRPr lang="pt-PT" dirty="0"/>
          </a:p>
        </p:txBody>
      </p:sp>
      <p:sp>
        <p:nvSpPr>
          <p:cNvPr id="23" name="Marcador de Posição do Texto 10">
            <a:extLst>
              <a:ext uri="{FF2B5EF4-FFF2-40B4-BE49-F238E27FC236}">
                <a16:creationId xmlns:a16="http://schemas.microsoft.com/office/drawing/2014/main" id="{042547C5-64EC-404F-AA4B-323DC77C3CEF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56652" y="2838451"/>
            <a:ext cx="2126051" cy="3352800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s-ES" dirty="0"/>
              <a:t>Haz </a:t>
            </a:r>
            <a:r>
              <a:rPr lang="es-ES" dirty="0" err="1"/>
              <a:t>click</a:t>
            </a:r>
            <a:r>
              <a:rPr lang="es-ES" dirty="0"/>
              <a:t> para editar los estilos del texto del modelo global</a:t>
            </a:r>
            <a:endParaRPr lang="pt-PT" dirty="0"/>
          </a:p>
          <a:p>
            <a:pPr lvl="1"/>
            <a:r>
              <a:rPr lang="es-ES" dirty="0"/>
              <a:t>Segundo nivel</a:t>
            </a:r>
          </a:p>
          <a:p>
            <a:pPr lvl="1"/>
            <a:r>
              <a:rPr lang="es-ES" dirty="0"/>
              <a:t>Tercer nivel</a:t>
            </a:r>
          </a:p>
          <a:p>
            <a:pPr lvl="1"/>
            <a:r>
              <a:rPr lang="es-ES" dirty="0"/>
              <a:t>Cuarto nivel</a:t>
            </a:r>
          </a:p>
          <a:p>
            <a:pPr lvl="1"/>
            <a:r>
              <a:rPr lang="es-ES" dirty="0"/>
              <a:t>Quinto nivel</a:t>
            </a:r>
            <a:endParaRPr lang="pt-PT" dirty="0"/>
          </a:p>
          <a:p>
            <a:pPr lvl="4"/>
            <a:endParaRPr lang="pt-PT" dirty="0"/>
          </a:p>
        </p:txBody>
      </p:sp>
    </p:spTree>
    <p:extLst>
      <p:ext uri="{BB962C8B-B14F-4D97-AF65-F5344CB8AC3E}">
        <p14:creationId xmlns:p14="http://schemas.microsoft.com/office/powerpoint/2010/main" val="101158434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5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42" presetClass="path" presetSubtype="0" decel="100000" fill="hold" grpId="1" nodeType="withEffect">
                                  <p:stCondLst>
                                    <p:cond delay="250"/>
                                  </p:stCondLst>
                                  <p:childTnLst>
                                    <p:animMotion origin="layout" path="M -3.95833E-6 0.03888 L -3.95833E-6 4.44444E-6 " pathEditMode="relative" rAng="0" ptsTypes="AA">
                                      <p:cBhvr>
                                        <p:cTn id="9" dur="500" fill="hold"/>
                                        <p:tgtEl>
                                          <p:spTgt spid="5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944"/>
                                    </p:animMotion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25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42" presetClass="path" presetSubtype="0" decel="100000" fill="hold" grpId="1" nodeType="withEffect">
                                  <p:stCondLst>
                                    <p:cond delay="250"/>
                                  </p:stCondLst>
                                  <p:childTnLst>
                                    <p:animMotion origin="layout" path="M -1.25E-6 0.03888 L -1.25E-6 4.44444E-6 " pathEditMode="relative" rAng="0" ptsTypes="AA">
                                      <p:cBhvr>
                                        <p:cTn id="14" dur="500" fill="hold"/>
                                        <p:tgtEl>
                                          <p:spTgt spid="5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944"/>
                                    </p:animMotion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25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42" presetClass="path" presetSubtype="0" decel="100000" fill="hold" grpId="1" nodeType="withEffect">
                                  <p:stCondLst>
                                    <p:cond delay="250"/>
                                  </p:stCondLst>
                                  <p:childTnLst>
                                    <p:animMotion origin="layout" path="M 1.45833E-6 0.03888 L 1.45833E-6 4.44444E-6 " pathEditMode="relative" rAng="0" ptsTypes="AA">
                                      <p:cBhvr>
                                        <p:cTn id="19" dur="500" fill="hold"/>
                                        <p:tgtEl>
                                          <p:spTgt spid="5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944"/>
                                    </p:animMotion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25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42" presetClass="path" presetSubtype="0" decel="100000" fill="hold" grpId="1" nodeType="withEffect">
                                  <p:stCondLst>
                                    <p:cond delay="250"/>
                                  </p:stCondLst>
                                  <p:childTnLst>
                                    <p:animMotion origin="layout" path="M 4.16667E-6 0.03888 L 4.16667E-6 4.44444E-6 " pathEditMode="relative" rAng="0" ptsTypes="AA">
                                      <p:cBhvr>
                                        <p:cTn id="24" dur="500" fill="hold"/>
                                        <p:tgtEl>
                                          <p:spTgt spid="5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944"/>
                                    </p:animMotion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25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1719 -0.00023 L -1.25E-6 1.85185E-6 " pathEditMode="relative" rAng="0" ptsTypes="AA">
                                      <p:cBhvr>
                                        <p:cTn id="29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859" y="0"/>
                                    </p:animMotion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25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25E-6 0.03889 L 1.25E-6 1.85185E-6 " pathEditMode="relative" rAng="0" ptsTypes="AA">
                                      <p:cBhvr>
                                        <p:cTn id="34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944"/>
                                    </p:animMotion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25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42" presetClass="path" presetSubtype="0" decel="100000" fill="hold" grpId="1" nodeType="withEffect">
                                  <p:stCondLst>
                                    <p:cond delay="250"/>
                                  </p:stCondLst>
                                  <p:childTnLst>
                                    <p:animMotion origin="layout" path="M 2.08333E-6 0.03889 L 2.08333E-6 -3.33333E-6 " pathEditMode="relative" rAng="0" ptsTypes="AA">
                                      <p:cBhvr>
                                        <p:cTn id="39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944"/>
                                    </p:animMotion>
                                  </p:childTnLst>
                                </p:cTn>
                              </p:par>
                              <p:par>
                                <p:cTn id="4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25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" presetID="42" presetClass="path" presetSubtype="0" decel="100000" fill="hold" grpId="1" nodeType="withEffect">
                                  <p:stCondLst>
                                    <p:cond delay="250"/>
                                  </p:stCondLst>
                                  <p:childTnLst>
                                    <p:animMotion origin="layout" path="M 2.29167E-6 0.03889 L 2.29167E-6 -3.33333E-6 " pathEditMode="relative" rAng="0" ptsTypes="AA">
                                      <p:cBhvr>
                                        <p:cTn id="44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944"/>
                                    </p:animMotion>
                                  </p:childTnLst>
                                </p:cTn>
                              </p:par>
                              <p:par>
                                <p:cTn id="45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25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" presetID="42" presetClass="path" presetSubtype="0" decel="100000" fill="hold" grpId="1" nodeType="withEffect">
                                  <p:stCondLst>
                                    <p:cond delay="250"/>
                                  </p:stCondLst>
                                  <p:childTnLst>
                                    <p:animMotion origin="layout" path="M 2.5E-6 0.03889 L 2.5E-6 -3.33333E-6 " pathEditMode="relative" rAng="0" ptsTypes="AA">
                                      <p:cBhvr>
                                        <p:cTn id="49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944"/>
                                    </p:animMotion>
                                  </p:childTnLst>
                                </p:cTn>
                              </p:par>
                              <p:par>
                                <p:cTn id="5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25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" presetID="42" presetClass="path" presetSubtype="0" decel="100000" fill="hold" grpId="1" nodeType="withEffect">
                                  <p:stCondLst>
                                    <p:cond delay="250"/>
                                  </p:stCondLst>
                                  <p:childTnLst>
                                    <p:animMotion origin="layout" path="M 2.70833E-6 0.03889 L 2.70833E-6 -3.33333E-6 " pathEditMode="relative" rAng="0" ptsTypes="AA">
                                      <p:cBhvr>
                                        <p:cTn id="54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944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5" grpId="0" animBg="1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250"/>
                        <p:tgtEl>
                          <p:spTgt spid="5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5" grpId="1" animBg="1">
        <p:tmplLst>
          <p:tmpl>
            <p:tnLst>
              <p:par>
                <p:cTn presetID="42" presetClass="path" presetSubtype="0" decel="100000" fill="hold" nodeType="withEffect">
                  <p:stCondLst>
                    <p:cond delay="250"/>
                  </p:stCondLst>
                  <p:childTnLst>
                    <p:animMotion origin="layout" path="M -3.95833E-6 0.03888 L -3.95833E-6 4.44444E-6 " pathEditMode="relative" rAng="0" ptsTypes="AA">
                      <p:cBhvr>
                        <p:cTn dur="500" fill="hold"/>
                        <p:tgtEl>
                          <p:spTgt spid="55"/>
                        </p:tgtEl>
                        <p:attrNameLst>
                          <p:attrName>ppt_x</p:attrName>
                          <p:attrName>ppt_y</p:attrName>
                        </p:attrNameLst>
                      </p:cBhvr>
                      <p:rCtr x="0" y="-1944"/>
                    </p:animMotion>
                  </p:childTnLst>
                </p:cTn>
              </p:par>
            </p:tnLst>
          </p:tmpl>
        </p:tmplLst>
      </p:bldP>
      <p:bldP spid="54" grpId="0" animBg="1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250"/>
                        <p:tgtEl>
                          <p:spTgt spid="5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4" grpId="1" animBg="1">
        <p:tmplLst>
          <p:tmpl>
            <p:tnLst>
              <p:par>
                <p:cTn presetID="42" presetClass="path" presetSubtype="0" decel="100000" fill="hold" nodeType="withEffect">
                  <p:stCondLst>
                    <p:cond delay="250"/>
                  </p:stCondLst>
                  <p:childTnLst>
                    <p:animMotion origin="layout" path="M -1.25E-6 0.03888 L -1.25E-6 4.44444E-6 " pathEditMode="relative" rAng="0" ptsTypes="AA">
                      <p:cBhvr>
                        <p:cTn dur="500" fill="hold"/>
                        <p:tgtEl>
                          <p:spTgt spid="54"/>
                        </p:tgtEl>
                        <p:attrNameLst>
                          <p:attrName>ppt_x</p:attrName>
                          <p:attrName>ppt_y</p:attrName>
                        </p:attrNameLst>
                      </p:cBhvr>
                      <p:rCtr x="0" y="-1944"/>
                    </p:animMotion>
                  </p:childTnLst>
                </p:cTn>
              </p:par>
            </p:tnLst>
          </p:tmpl>
        </p:tmplLst>
      </p:bldP>
      <p:bldP spid="53" grpId="0" animBg="1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250"/>
                        <p:tgtEl>
                          <p:spTgt spid="5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3" grpId="1" animBg="1">
        <p:tmplLst>
          <p:tmpl>
            <p:tnLst>
              <p:par>
                <p:cTn presetID="42" presetClass="path" presetSubtype="0" decel="100000" fill="hold" nodeType="withEffect">
                  <p:stCondLst>
                    <p:cond delay="250"/>
                  </p:stCondLst>
                  <p:childTnLst>
                    <p:animMotion origin="layout" path="M 1.45833E-6 0.03888 L 1.45833E-6 4.44444E-6 " pathEditMode="relative" rAng="0" ptsTypes="AA">
                      <p:cBhvr>
                        <p:cTn dur="500" fill="hold"/>
                        <p:tgtEl>
                          <p:spTgt spid="53"/>
                        </p:tgtEl>
                        <p:attrNameLst>
                          <p:attrName>ppt_x</p:attrName>
                          <p:attrName>ppt_y</p:attrName>
                        </p:attrNameLst>
                      </p:cBhvr>
                      <p:rCtr x="0" y="-1944"/>
                    </p:animMotion>
                  </p:childTnLst>
                </p:cTn>
              </p:par>
            </p:tnLst>
          </p:tmpl>
        </p:tmplLst>
      </p:bldP>
      <p:bldP spid="52" grpId="0" animBg="1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250"/>
                        <p:tgtEl>
                          <p:spTgt spid="5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2" grpId="1" animBg="1">
        <p:tmplLst>
          <p:tmpl>
            <p:tnLst>
              <p:par>
                <p:cTn presetID="42" presetClass="path" presetSubtype="0" decel="100000" fill="hold" nodeType="withEffect">
                  <p:stCondLst>
                    <p:cond delay="250"/>
                  </p:stCondLst>
                  <p:childTnLst>
                    <p:animMotion origin="layout" path="M 4.16667E-6 0.03888 L 4.16667E-6 4.44444E-6 " pathEditMode="relative" rAng="0" ptsTypes="AA">
                      <p:cBhvr>
                        <p:cTn dur="500" fill="hold"/>
                        <p:tgtEl>
                          <p:spTgt spid="52"/>
                        </p:tgtEl>
                        <p:attrNameLst>
                          <p:attrName>ppt_x</p:attrName>
                          <p:attrName>ppt_y</p:attrName>
                        </p:attrNameLst>
                      </p:cBhvr>
                      <p:rCtr x="0" y="-1944"/>
                    </p:animMotion>
                  </p:childTnLst>
                </p:cTn>
              </p:par>
            </p:tnLst>
          </p:tmpl>
        </p:tmplLst>
      </p:bldP>
      <p:bldP spid="14" grpId="0"/>
      <p:bldP spid="14" grpId="1"/>
      <p:bldP spid="15" grpId="0">
        <p:tmplLst>
          <p:tmpl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250"/>
                        <p:tgtEl>
                          <p:spTgt spid="1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5" grpId="1"/>
      <p:bldP spid="20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250"/>
                        <p:tgtEl>
                          <p:spTgt spid="2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0" grpId="1">
        <p:tmplLst>
          <p:tmpl>
            <p:tnLst>
              <p:par>
                <p:cTn presetID="42" presetClass="path" presetSubtype="0" decel="100000" fill="hold" nodeType="withEffect">
                  <p:stCondLst>
                    <p:cond delay="250"/>
                  </p:stCondLst>
                  <p:childTnLst>
                    <p:animMotion origin="layout" path="M 2.08333E-6 0.03889 L 2.08333E-6 -3.33333E-6 " pathEditMode="relative" rAng="0" ptsTypes="AA">
                      <p:cBhvr>
                        <p:cTn dur="500" fill="hold"/>
                        <p:tgtEl>
                          <p:spTgt spid="20"/>
                        </p:tgtEl>
                        <p:attrNameLst>
                          <p:attrName>ppt_x</p:attrName>
                          <p:attrName>ppt_y</p:attrName>
                        </p:attrNameLst>
                      </p:cBhvr>
                      <p:rCtr x="0" y="-1944"/>
                    </p:animMotion>
                  </p:childTnLst>
                </p:cTn>
              </p:par>
            </p:tnLst>
          </p:tmpl>
        </p:tmplLst>
      </p:bldP>
      <p:bldP spid="21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250"/>
                        <p:tgtEl>
                          <p:spTgt spid="2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1" grpId="1">
        <p:tmplLst>
          <p:tmpl>
            <p:tnLst>
              <p:par>
                <p:cTn presetID="42" presetClass="path" presetSubtype="0" decel="100000" fill="hold" nodeType="withEffect">
                  <p:stCondLst>
                    <p:cond delay="250"/>
                  </p:stCondLst>
                  <p:childTnLst>
                    <p:animMotion origin="layout" path="M 2.29167E-6 0.03889 L 2.29167E-6 -3.33333E-6 " pathEditMode="relative" rAng="0" ptsTypes="AA">
                      <p:cBhvr>
                        <p:cTn dur="500" fill="hold"/>
                        <p:tgtEl>
                          <p:spTgt spid="21"/>
                        </p:tgtEl>
                        <p:attrNameLst>
                          <p:attrName>ppt_x</p:attrName>
                          <p:attrName>ppt_y</p:attrName>
                        </p:attrNameLst>
                      </p:cBhvr>
                      <p:rCtr x="0" y="-1944"/>
                    </p:animMotion>
                  </p:childTnLst>
                </p:cTn>
              </p:par>
            </p:tnLst>
          </p:tmpl>
        </p:tmplLst>
      </p:bldP>
      <p:bldP spid="22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250"/>
                        <p:tgtEl>
                          <p:spTgt spid="2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2" grpId="1">
        <p:tmplLst>
          <p:tmpl>
            <p:tnLst>
              <p:par>
                <p:cTn presetID="42" presetClass="path" presetSubtype="0" decel="100000" fill="hold" nodeType="withEffect">
                  <p:stCondLst>
                    <p:cond delay="250"/>
                  </p:stCondLst>
                  <p:childTnLst>
                    <p:animMotion origin="layout" path="M 2.5E-6 0.03889 L 2.5E-6 -3.33333E-6 " pathEditMode="relative" rAng="0" ptsTypes="AA">
                      <p:cBhvr>
                        <p:cTn dur="500" fill="hold"/>
                        <p:tgtEl>
                          <p:spTgt spid="22"/>
                        </p:tgtEl>
                        <p:attrNameLst>
                          <p:attrName>ppt_x</p:attrName>
                          <p:attrName>ppt_y</p:attrName>
                        </p:attrNameLst>
                      </p:cBhvr>
                      <p:rCtr x="0" y="-1944"/>
                    </p:animMotion>
                  </p:childTnLst>
                </p:cTn>
              </p:par>
            </p:tnLst>
          </p:tmpl>
        </p:tmplLst>
      </p:bldP>
      <p:bldP spid="23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250"/>
                        <p:tgtEl>
                          <p:spTgt spid="2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3" grpId="1">
        <p:tmplLst>
          <p:tmpl>
            <p:tnLst>
              <p:par>
                <p:cTn presetID="42" presetClass="path" presetSubtype="0" decel="100000" fill="hold" nodeType="withEffect">
                  <p:stCondLst>
                    <p:cond delay="250"/>
                  </p:stCondLst>
                  <p:childTnLst>
                    <p:animMotion origin="layout" path="M 2.70833E-6 0.03889 L 2.70833E-6 -3.33333E-6 " pathEditMode="relative" rAng="0" ptsTypes="AA">
                      <p:cBhvr>
                        <p:cTn dur="500" fill="hold"/>
                        <p:tgtEl>
                          <p:spTgt spid="23"/>
                        </p:tgtEl>
                        <p:attrNameLst>
                          <p:attrName>ppt_x</p:attrName>
                          <p:attrName>ppt_y</p:attrName>
                        </p:attrNameLst>
                      </p:cBhvr>
                      <p:rCtr x="0" y="-1944"/>
                    </p:animMotion>
                  </p:childTnLst>
                </p:cTn>
              </p:par>
            </p:tnLst>
          </p:tmpl>
        </p:tmplLst>
      </p:bldP>
    </p:bld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Esquema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m 1">
            <a:extLst>
              <a:ext uri="{FF2B5EF4-FFF2-40B4-BE49-F238E27FC236}">
                <a16:creationId xmlns:a16="http://schemas.microsoft.com/office/drawing/2014/main" id="{CA5D6DE7-E71D-0784-AE54-88745E47CAD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 l="17318" t="60814" r="14165" b="11057"/>
          <a:stretch>
            <a:fillRect/>
          </a:stretch>
        </p:blipFill>
        <p:spPr>
          <a:xfrm rot="10800000">
            <a:off x="1642701" y="3630456"/>
            <a:ext cx="7861766" cy="3227544"/>
          </a:xfrm>
          <a:prstGeom prst="rect">
            <a:avLst/>
          </a:prstGeom>
        </p:spPr>
      </p:pic>
      <p:sp>
        <p:nvSpPr>
          <p:cNvPr id="9" name="Retângulo 8">
            <a:extLst>
              <a:ext uri="{FF2B5EF4-FFF2-40B4-BE49-F238E27FC236}">
                <a16:creationId xmlns:a16="http://schemas.microsoft.com/office/drawing/2014/main" id="{56C90AC3-E675-FAB7-0419-051D9D770E20}"/>
              </a:ext>
            </a:extLst>
          </p:cNvPr>
          <p:cNvSpPr/>
          <p:nvPr userDrawn="1"/>
        </p:nvSpPr>
        <p:spPr>
          <a:xfrm>
            <a:off x="10182224" y="0"/>
            <a:ext cx="2009775" cy="6858000"/>
          </a:xfrm>
          <a:prstGeom prst="rect">
            <a:avLst/>
          </a:prstGeom>
          <a:solidFill>
            <a:srgbClr val="184BF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  <p:sp>
        <p:nvSpPr>
          <p:cNvPr id="6" name="Título 6">
            <a:extLst>
              <a:ext uri="{FF2B5EF4-FFF2-40B4-BE49-F238E27FC236}">
                <a16:creationId xmlns:a16="http://schemas.microsoft.com/office/drawing/2014/main" id="{16635024-27F3-5DDD-622A-60A8EB85B8A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3184" y="550508"/>
            <a:ext cx="5439941" cy="712204"/>
          </a:xfrm>
        </p:spPr>
        <p:txBody>
          <a:bodyPr>
            <a:normAutofit/>
          </a:bodyPr>
          <a:lstStyle>
            <a:lvl1pPr>
              <a:defRPr sz="3200"/>
            </a:lvl1pPr>
          </a:lstStyle>
          <a:p>
            <a:r>
              <a:rPr lang="pt-PT" dirty="0"/>
              <a:t>Insertar título de la slide</a:t>
            </a:r>
          </a:p>
        </p:txBody>
      </p:sp>
      <p:sp>
        <p:nvSpPr>
          <p:cNvPr id="7" name="Marcador de Posição do Texto 8">
            <a:extLst>
              <a:ext uri="{FF2B5EF4-FFF2-40B4-BE49-F238E27FC236}">
                <a16:creationId xmlns:a16="http://schemas.microsoft.com/office/drawing/2014/main" id="{4561074B-6CAD-F988-BE53-465BD083207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12764" y="1156317"/>
            <a:ext cx="5440352" cy="355243"/>
          </a:xfrm>
        </p:spPr>
        <p:txBody>
          <a:bodyPr>
            <a:normAutofit/>
          </a:bodyPr>
          <a:lstStyle>
            <a:lvl1pPr>
              <a:defRPr sz="200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pt-PT" dirty="0"/>
              <a:t>Insertar subtítulo de la slide</a:t>
            </a:r>
          </a:p>
        </p:txBody>
      </p:sp>
      <p:sp>
        <p:nvSpPr>
          <p:cNvPr id="30" name="Marcador de Posição da Imagem 29">
            <a:extLst>
              <a:ext uri="{FF2B5EF4-FFF2-40B4-BE49-F238E27FC236}">
                <a16:creationId xmlns:a16="http://schemas.microsoft.com/office/drawing/2014/main" id="{E6A079D1-AD87-2804-9B71-D29D02FB2EB1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618417" y="550505"/>
            <a:ext cx="4923329" cy="5672137"/>
          </a:xfrm>
          <a:custGeom>
            <a:avLst/>
            <a:gdLst>
              <a:gd name="connsiteX0" fmla="*/ 3961694 w 4923329"/>
              <a:gd name="connsiteY0" fmla="*/ 0 h 5672137"/>
              <a:gd name="connsiteX1" fmla="*/ 4398587 w 4923329"/>
              <a:gd name="connsiteY1" fmla="*/ 0 h 5672137"/>
              <a:gd name="connsiteX2" fmla="*/ 4398800 w 4923329"/>
              <a:gd name="connsiteY2" fmla="*/ 0 h 5672137"/>
              <a:gd name="connsiteX3" fmla="*/ 4912669 w 4923329"/>
              <a:gd name="connsiteY3" fmla="*/ 418775 h 5672137"/>
              <a:gd name="connsiteX4" fmla="*/ 4923325 w 4923329"/>
              <a:gd name="connsiteY4" fmla="*/ 524482 h 5672137"/>
              <a:gd name="connsiteX5" fmla="*/ 4923329 w 4923329"/>
              <a:gd name="connsiteY5" fmla="*/ 524482 h 5672137"/>
              <a:gd name="connsiteX6" fmla="*/ 4923329 w 4923329"/>
              <a:gd name="connsiteY6" fmla="*/ 524524 h 5672137"/>
              <a:gd name="connsiteX7" fmla="*/ 4923329 w 4923329"/>
              <a:gd name="connsiteY7" fmla="*/ 5672137 h 5672137"/>
              <a:gd name="connsiteX8" fmla="*/ 258632 w 4923329"/>
              <a:gd name="connsiteY8" fmla="*/ 5672137 h 5672137"/>
              <a:gd name="connsiteX9" fmla="*/ 258632 w 4923329"/>
              <a:gd name="connsiteY9" fmla="*/ 4438974 h 5672137"/>
              <a:gd name="connsiteX10" fmla="*/ 1 w 4923329"/>
              <a:gd name="connsiteY10" fmla="*/ 4438981 h 5672137"/>
              <a:gd name="connsiteX11" fmla="*/ 1 w 4923329"/>
              <a:gd name="connsiteY11" fmla="*/ 4257843 h 5672137"/>
              <a:gd name="connsiteX12" fmla="*/ 258632 w 4923329"/>
              <a:gd name="connsiteY12" fmla="*/ 4257836 h 5672137"/>
              <a:gd name="connsiteX13" fmla="*/ 258632 w 4923329"/>
              <a:gd name="connsiteY13" fmla="*/ 2878495 h 5672137"/>
              <a:gd name="connsiteX14" fmla="*/ 1 w 4923329"/>
              <a:gd name="connsiteY14" fmla="*/ 2878502 h 5672137"/>
              <a:gd name="connsiteX15" fmla="*/ 1 w 4923329"/>
              <a:gd name="connsiteY15" fmla="*/ 2697364 h 5672137"/>
              <a:gd name="connsiteX16" fmla="*/ 258632 w 4923329"/>
              <a:gd name="connsiteY16" fmla="*/ 2697357 h 5672137"/>
              <a:gd name="connsiteX17" fmla="*/ 258632 w 4923329"/>
              <a:gd name="connsiteY17" fmla="*/ 1318016 h 5672137"/>
              <a:gd name="connsiteX18" fmla="*/ 1 w 4923329"/>
              <a:gd name="connsiteY18" fmla="*/ 1318023 h 5672137"/>
              <a:gd name="connsiteX19" fmla="*/ 1 w 4923329"/>
              <a:gd name="connsiteY19" fmla="*/ 524482 h 5672137"/>
              <a:gd name="connsiteX20" fmla="*/ 1500663 w 4923329"/>
              <a:gd name="connsiteY20" fmla="*/ 524482 h 5672137"/>
              <a:gd name="connsiteX21" fmla="*/ 0 w 4923329"/>
              <a:gd name="connsiteY21" fmla="*/ 524459 h 5672137"/>
              <a:gd name="connsiteX22" fmla="*/ 0 w 4923329"/>
              <a:gd name="connsiteY22" fmla="*/ 2 h 5672137"/>
              <a:gd name="connsiteX23" fmla="*/ 3961673 w 4923329"/>
              <a:gd name="connsiteY23" fmla="*/ 63 h 56721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</a:cxnLst>
            <a:rect l="l" t="t" r="r" b="b"/>
            <a:pathLst>
              <a:path w="4923329" h="5672137">
                <a:moveTo>
                  <a:pt x="3961694" y="0"/>
                </a:moveTo>
                <a:lnTo>
                  <a:pt x="4398587" y="0"/>
                </a:lnTo>
                <a:lnTo>
                  <a:pt x="4398800" y="0"/>
                </a:lnTo>
                <a:cubicBezTo>
                  <a:pt x="4652208" y="0"/>
                  <a:pt x="4863744" y="179692"/>
                  <a:pt x="4912669" y="418775"/>
                </a:cubicBezTo>
                <a:lnTo>
                  <a:pt x="4923325" y="524482"/>
                </a:lnTo>
                <a:lnTo>
                  <a:pt x="4923329" y="524482"/>
                </a:lnTo>
                <a:lnTo>
                  <a:pt x="4923329" y="524524"/>
                </a:lnTo>
                <a:lnTo>
                  <a:pt x="4923329" y="5672137"/>
                </a:lnTo>
                <a:lnTo>
                  <a:pt x="258632" y="5672137"/>
                </a:lnTo>
                <a:lnTo>
                  <a:pt x="258632" y="4438974"/>
                </a:lnTo>
                <a:lnTo>
                  <a:pt x="1" y="4438981"/>
                </a:lnTo>
                <a:lnTo>
                  <a:pt x="1" y="4257843"/>
                </a:lnTo>
                <a:lnTo>
                  <a:pt x="258632" y="4257836"/>
                </a:lnTo>
                <a:lnTo>
                  <a:pt x="258632" y="2878495"/>
                </a:lnTo>
                <a:lnTo>
                  <a:pt x="1" y="2878502"/>
                </a:lnTo>
                <a:lnTo>
                  <a:pt x="1" y="2697364"/>
                </a:lnTo>
                <a:lnTo>
                  <a:pt x="258632" y="2697357"/>
                </a:lnTo>
                <a:lnTo>
                  <a:pt x="258632" y="1318016"/>
                </a:lnTo>
                <a:lnTo>
                  <a:pt x="1" y="1318023"/>
                </a:lnTo>
                <a:lnTo>
                  <a:pt x="1" y="524482"/>
                </a:lnTo>
                <a:lnTo>
                  <a:pt x="1500663" y="524482"/>
                </a:lnTo>
                <a:lnTo>
                  <a:pt x="0" y="524459"/>
                </a:lnTo>
                <a:lnTo>
                  <a:pt x="0" y="2"/>
                </a:lnTo>
                <a:lnTo>
                  <a:pt x="3961673" y="63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pt-PT"/>
          </a:p>
        </p:txBody>
      </p:sp>
      <p:sp>
        <p:nvSpPr>
          <p:cNvPr id="19" name="Forma livre: Forma 18">
            <a:extLst>
              <a:ext uri="{FF2B5EF4-FFF2-40B4-BE49-F238E27FC236}">
                <a16:creationId xmlns:a16="http://schemas.microsoft.com/office/drawing/2014/main" id="{3F092E5E-B968-3D06-19BD-A5A61973A850}"/>
              </a:ext>
            </a:extLst>
          </p:cNvPr>
          <p:cNvSpPr/>
          <p:nvPr userDrawn="1"/>
        </p:nvSpPr>
        <p:spPr>
          <a:xfrm>
            <a:off x="688458" y="1868521"/>
            <a:ext cx="6188591" cy="1379504"/>
          </a:xfrm>
          <a:custGeom>
            <a:avLst/>
            <a:gdLst>
              <a:gd name="connsiteX0" fmla="*/ 2220906 w 2220906"/>
              <a:gd name="connsiteY0" fmla="*/ 0 h 524519"/>
              <a:gd name="connsiteX1" fmla="*/ 2220906 w 2220906"/>
              <a:gd name="connsiteY1" fmla="*/ 524457 h 524519"/>
              <a:gd name="connsiteX2" fmla="*/ 0 w 2220906"/>
              <a:gd name="connsiteY2" fmla="*/ 524519 h 524519"/>
              <a:gd name="connsiteX3" fmla="*/ 0 w 2220906"/>
              <a:gd name="connsiteY3" fmla="*/ 62 h 5245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220906" h="524519">
                <a:moveTo>
                  <a:pt x="2220906" y="0"/>
                </a:moveTo>
                <a:lnTo>
                  <a:pt x="2220906" y="524457"/>
                </a:lnTo>
                <a:lnTo>
                  <a:pt x="0" y="524519"/>
                </a:lnTo>
                <a:lnTo>
                  <a:pt x="0" y="62"/>
                </a:lnTo>
                <a:close/>
              </a:path>
            </a:pathLst>
          </a:custGeom>
          <a:solidFill>
            <a:schemeClr val="bg1"/>
          </a:solidFill>
          <a:ln w="4244" cap="flat">
            <a:noFill/>
            <a:prstDash val="solid"/>
            <a:miter/>
          </a:ln>
          <a:effectLst>
            <a:outerShdw blurRad="254000" algn="ctr" rotWithShape="0">
              <a:srgbClr val="132153">
                <a:alpha val="5000"/>
              </a:srgb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pt-PT">
              <a:solidFill>
                <a:schemeClr val="tx1"/>
              </a:solidFill>
            </a:endParaRPr>
          </a:p>
        </p:txBody>
      </p:sp>
      <p:sp>
        <p:nvSpPr>
          <p:cNvPr id="20" name="Forma livre: Forma 19">
            <a:extLst>
              <a:ext uri="{FF2B5EF4-FFF2-40B4-BE49-F238E27FC236}">
                <a16:creationId xmlns:a16="http://schemas.microsoft.com/office/drawing/2014/main" id="{8491AAC1-B699-C0D2-AECD-528CC9868AED}"/>
              </a:ext>
            </a:extLst>
          </p:cNvPr>
          <p:cNvSpPr/>
          <p:nvPr userDrawn="1"/>
        </p:nvSpPr>
        <p:spPr>
          <a:xfrm flipH="1">
            <a:off x="512764" y="1868521"/>
            <a:ext cx="846073" cy="524524"/>
          </a:xfrm>
          <a:custGeom>
            <a:avLst/>
            <a:gdLst>
              <a:gd name="connsiteX0" fmla="*/ 671826 w 846073"/>
              <a:gd name="connsiteY0" fmla="*/ 524524 h 524524"/>
              <a:gd name="connsiteX1" fmla="*/ 524742 w 846073"/>
              <a:gd name="connsiteY1" fmla="*/ 524524 h 524524"/>
              <a:gd name="connsiteX2" fmla="*/ 524529 w 846073"/>
              <a:gd name="connsiteY2" fmla="*/ 524524 h 524524"/>
              <a:gd name="connsiteX3" fmla="*/ 0 w 846073"/>
              <a:gd name="connsiteY3" fmla="*/ 0 h 524524"/>
              <a:gd name="connsiteX4" fmla="*/ 846073 w 846073"/>
              <a:gd name="connsiteY4" fmla="*/ 0 h 5245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46073" h="524524">
                <a:moveTo>
                  <a:pt x="671826" y="524524"/>
                </a:moveTo>
                <a:lnTo>
                  <a:pt x="524742" y="524524"/>
                </a:lnTo>
                <a:lnTo>
                  <a:pt x="524529" y="524524"/>
                </a:lnTo>
                <a:cubicBezTo>
                  <a:pt x="234920" y="524524"/>
                  <a:pt x="0" y="289824"/>
                  <a:pt x="0" y="0"/>
                </a:cubicBezTo>
                <a:lnTo>
                  <a:pt x="846073" y="0"/>
                </a:lnTo>
                <a:close/>
              </a:path>
            </a:pathLst>
          </a:custGeom>
          <a:solidFill>
            <a:srgbClr val="132153"/>
          </a:solidFill>
          <a:ln w="4244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pt-PT"/>
          </a:p>
        </p:txBody>
      </p:sp>
      <p:sp>
        <p:nvSpPr>
          <p:cNvPr id="23" name="Forma livre: Forma 22">
            <a:extLst>
              <a:ext uri="{FF2B5EF4-FFF2-40B4-BE49-F238E27FC236}">
                <a16:creationId xmlns:a16="http://schemas.microsoft.com/office/drawing/2014/main" id="{D5770ACA-EB2B-2A2F-E536-AD45F2A72BD9}"/>
              </a:ext>
            </a:extLst>
          </p:cNvPr>
          <p:cNvSpPr/>
          <p:nvPr userDrawn="1"/>
        </p:nvSpPr>
        <p:spPr>
          <a:xfrm>
            <a:off x="688458" y="3429000"/>
            <a:ext cx="6188591" cy="1379504"/>
          </a:xfrm>
          <a:custGeom>
            <a:avLst/>
            <a:gdLst>
              <a:gd name="connsiteX0" fmla="*/ 2220906 w 2220906"/>
              <a:gd name="connsiteY0" fmla="*/ 0 h 524519"/>
              <a:gd name="connsiteX1" fmla="*/ 2220906 w 2220906"/>
              <a:gd name="connsiteY1" fmla="*/ 524457 h 524519"/>
              <a:gd name="connsiteX2" fmla="*/ 0 w 2220906"/>
              <a:gd name="connsiteY2" fmla="*/ 524519 h 524519"/>
              <a:gd name="connsiteX3" fmla="*/ 0 w 2220906"/>
              <a:gd name="connsiteY3" fmla="*/ 62 h 5245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220906" h="524519">
                <a:moveTo>
                  <a:pt x="2220906" y="0"/>
                </a:moveTo>
                <a:lnTo>
                  <a:pt x="2220906" y="524457"/>
                </a:lnTo>
                <a:lnTo>
                  <a:pt x="0" y="524519"/>
                </a:lnTo>
                <a:lnTo>
                  <a:pt x="0" y="62"/>
                </a:lnTo>
                <a:close/>
              </a:path>
            </a:pathLst>
          </a:custGeom>
          <a:solidFill>
            <a:schemeClr val="bg1"/>
          </a:solidFill>
          <a:ln w="4244" cap="flat">
            <a:noFill/>
            <a:prstDash val="solid"/>
            <a:miter/>
          </a:ln>
          <a:effectLst>
            <a:outerShdw blurRad="254000" algn="ctr" rotWithShape="0">
              <a:srgbClr val="132153">
                <a:alpha val="5000"/>
              </a:srgb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pt-PT">
              <a:solidFill>
                <a:schemeClr val="tx1"/>
              </a:solidFill>
            </a:endParaRPr>
          </a:p>
        </p:txBody>
      </p:sp>
      <p:sp>
        <p:nvSpPr>
          <p:cNvPr id="24" name="Forma livre: Forma 23">
            <a:extLst>
              <a:ext uri="{FF2B5EF4-FFF2-40B4-BE49-F238E27FC236}">
                <a16:creationId xmlns:a16="http://schemas.microsoft.com/office/drawing/2014/main" id="{835C9F5B-65A3-99D3-17C8-D456239FDBA3}"/>
              </a:ext>
            </a:extLst>
          </p:cNvPr>
          <p:cNvSpPr/>
          <p:nvPr userDrawn="1"/>
        </p:nvSpPr>
        <p:spPr>
          <a:xfrm flipH="1">
            <a:off x="512764" y="3429000"/>
            <a:ext cx="846073" cy="524524"/>
          </a:xfrm>
          <a:custGeom>
            <a:avLst/>
            <a:gdLst>
              <a:gd name="connsiteX0" fmla="*/ 671826 w 846073"/>
              <a:gd name="connsiteY0" fmla="*/ 524524 h 524524"/>
              <a:gd name="connsiteX1" fmla="*/ 524742 w 846073"/>
              <a:gd name="connsiteY1" fmla="*/ 524524 h 524524"/>
              <a:gd name="connsiteX2" fmla="*/ 524529 w 846073"/>
              <a:gd name="connsiteY2" fmla="*/ 524524 h 524524"/>
              <a:gd name="connsiteX3" fmla="*/ 0 w 846073"/>
              <a:gd name="connsiteY3" fmla="*/ 0 h 524524"/>
              <a:gd name="connsiteX4" fmla="*/ 846073 w 846073"/>
              <a:gd name="connsiteY4" fmla="*/ 0 h 5245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46073" h="524524">
                <a:moveTo>
                  <a:pt x="671826" y="524524"/>
                </a:moveTo>
                <a:lnTo>
                  <a:pt x="524742" y="524524"/>
                </a:lnTo>
                <a:lnTo>
                  <a:pt x="524529" y="524524"/>
                </a:lnTo>
                <a:cubicBezTo>
                  <a:pt x="234920" y="524524"/>
                  <a:pt x="0" y="289824"/>
                  <a:pt x="0" y="0"/>
                </a:cubicBezTo>
                <a:lnTo>
                  <a:pt x="846073" y="0"/>
                </a:lnTo>
                <a:close/>
              </a:path>
            </a:pathLst>
          </a:custGeom>
          <a:solidFill>
            <a:srgbClr val="132153"/>
          </a:solidFill>
          <a:ln w="4244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pt-PT"/>
          </a:p>
        </p:txBody>
      </p:sp>
      <p:sp>
        <p:nvSpPr>
          <p:cNvPr id="25" name="Forma livre: Forma 24">
            <a:extLst>
              <a:ext uri="{FF2B5EF4-FFF2-40B4-BE49-F238E27FC236}">
                <a16:creationId xmlns:a16="http://schemas.microsoft.com/office/drawing/2014/main" id="{77CE53EE-F075-4E46-564E-CA03944616C3}"/>
              </a:ext>
            </a:extLst>
          </p:cNvPr>
          <p:cNvSpPr/>
          <p:nvPr userDrawn="1"/>
        </p:nvSpPr>
        <p:spPr>
          <a:xfrm>
            <a:off x="688458" y="4989479"/>
            <a:ext cx="6188591" cy="1379504"/>
          </a:xfrm>
          <a:custGeom>
            <a:avLst/>
            <a:gdLst>
              <a:gd name="connsiteX0" fmla="*/ 2220906 w 2220906"/>
              <a:gd name="connsiteY0" fmla="*/ 0 h 524519"/>
              <a:gd name="connsiteX1" fmla="*/ 2220906 w 2220906"/>
              <a:gd name="connsiteY1" fmla="*/ 524457 h 524519"/>
              <a:gd name="connsiteX2" fmla="*/ 0 w 2220906"/>
              <a:gd name="connsiteY2" fmla="*/ 524519 h 524519"/>
              <a:gd name="connsiteX3" fmla="*/ 0 w 2220906"/>
              <a:gd name="connsiteY3" fmla="*/ 62 h 5245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220906" h="524519">
                <a:moveTo>
                  <a:pt x="2220906" y="0"/>
                </a:moveTo>
                <a:lnTo>
                  <a:pt x="2220906" y="524457"/>
                </a:lnTo>
                <a:lnTo>
                  <a:pt x="0" y="524519"/>
                </a:lnTo>
                <a:lnTo>
                  <a:pt x="0" y="62"/>
                </a:lnTo>
                <a:close/>
              </a:path>
            </a:pathLst>
          </a:custGeom>
          <a:solidFill>
            <a:schemeClr val="bg1"/>
          </a:solidFill>
          <a:ln w="4244" cap="flat">
            <a:noFill/>
            <a:prstDash val="solid"/>
            <a:miter/>
          </a:ln>
          <a:effectLst>
            <a:outerShdw blurRad="254000" algn="ctr" rotWithShape="0">
              <a:srgbClr val="132153">
                <a:alpha val="5000"/>
              </a:srgb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pt-PT">
              <a:solidFill>
                <a:schemeClr val="tx1"/>
              </a:solidFill>
            </a:endParaRPr>
          </a:p>
        </p:txBody>
      </p:sp>
      <p:sp>
        <p:nvSpPr>
          <p:cNvPr id="26" name="Forma livre: Forma 25">
            <a:extLst>
              <a:ext uri="{FF2B5EF4-FFF2-40B4-BE49-F238E27FC236}">
                <a16:creationId xmlns:a16="http://schemas.microsoft.com/office/drawing/2014/main" id="{9C726D17-4891-FDA4-D0D9-7E6B6F1504EA}"/>
              </a:ext>
            </a:extLst>
          </p:cNvPr>
          <p:cNvSpPr/>
          <p:nvPr userDrawn="1"/>
        </p:nvSpPr>
        <p:spPr>
          <a:xfrm flipH="1">
            <a:off x="512764" y="4989479"/>
            <a:ext cx="846073" cy="524524"/>
          </a:xfrm>
          <a:custGeom>
            <a:avLst/>
            <a:gdLst>
              <a:gd name="connsiteX0" fmla="*/ 671826 w 846073"/>
              <a:gd name="connsiteY0" fmla="*/ 524524 h 524524"/>
              <a:gd name="connsiteX1" fmla="*/ 524742 w 846073"/>
              <a:gd name="connsiteY1" fmla="*/ 524524 h 524524"/>
              <a:gd name="connsiteX2" fmla="*/ 524529 w 846073"/>
              <a:gd name="connsiteY2" fmla="*/ 524524 h 524524"/>
              <a:gd name="connsiteX3" fmla="*/ 0 w 846073"/>
              <a:gd name="connsiteY3" fmla="*/ 0 h 524524"/>
              <a:gd name="connsiteX4" fmla="*/ 846073 w 846073"/>
              <a:gd name="connsiteY4" fmla="*/ 0 h 5245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46073" h="524524">
                <a:moveTo>
                  <a:pt x="671826" y="524524"/>
                </a:moveTo>
                <a:lnTo>
                  <a:pt x="524742" y="524524"/>
                </a:lnTo>
                <a:lnTo>
                  <a:pt x="524529" y="524524"/>
                </a:lnTo>
                <a:cubicBezTo>
                  <a:pt x="234920" y="524524"/>
                  <a:pt x="0" y="289824"/>
                  <a:pt x="0" y="0"/>
                </a:cubicBezTo>
                <a:lnTo>
                  <a:pt x="846073" y="0"/>
                </a:lnTo>
                <a:close/>
              </a:path>
            </a:pathLst>
          </a:custGeom>
          <a:solidFill>
            <a:srgbClr val="132153"/>
          </a:solidFill>
          <a:ln w="4244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pt-PT"/>
          </a:p>
        </p:txBody>
      </p:sp>
      <p:sp>
        <p:nvSpPr>
          <p:cNvPr id="31" name="Marcador de Posição do Texto 10">
            <a:extLst>
              <a:ext uri="{FF2B5EF4-FFF2-40B4-BE49-F238E27FC236}">
                <a16:creationId xmlns:a16="http://schemas.microsoft.com/office/drawing/2014/main" id="{D25A6451-777D-C024-3080-3C28EA6B477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358837" y="2326431"/>
            <a:ext cx="5184838" cy="807294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s-ES" dirty="0"/>
              <a:t>Haz </a:t>
            </a:r>
            <a:r>
              <a:rPr lang="es-ES" dirty="0" err="1"/>
              <a:t>click</a:t>
            </a:r>
            <a:r>
              <a:rPr lang="es-ES" dirty="0"/>
              <a:t> para editar los estilos del texto del modelo global</a:t>
            </a:r>
            <a:endParaRPr lang="pt-PT" dirty="0"/>
          </a:p>
          <a:p>
            <a:pPr lvl="1"/>
            <a:r>
              <a:rPr lang="es-ES" dirty="0"/>
              <a:t>Segundo nivel</a:t>
            </a:r>
          </a:p>
          <a:p>
            <a:pPr lvl="1"/>
            <a:r>
              <a:rPr lang="es-ES" dirty="0"/>
              <a:t>Tercer nivel</a:t>
            </a:r>
          </a:p>
          <a:p>
            <a:pPr lvl="1"/>
            <a:r>
              <a:rPr lang="es-ES" dirty="0"/>
              <a:t>Cuarto nivel</a:t>
            </a:r>
          </a:p>
          <a:p>
            <a:pPr lvl="1"/>
            <a:r>
              <a:rPr lang="es-ES" dirty="0"/>
              <a:t>Quinto nivel</a:t>
            </a:r>
            <a:endParaRPr lang="pt-PT" dirty="0"/>
          </a:p>
        </p:txBody>
      </p:sp>
      <p:sp>
        <p:nvSpPr>
          <p:cNvPr id="32" name="Marcador de Posição do Texto 10">
            <a:extLst>
              <a:ext uri="{FF2B5EF4-FFF2-40B4-BE49-F238E27FC236}">
                <a16:creationId xmlns:a16="http://schemas.microsoft.com/office/drawing/2014/main" id="{443793D2-F930-7054-05CE-FE48231348B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358837" y="3880333"/>
            <a:ext cx="5184838" cy="807294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s-ES" dirty="0"/>
              <a:t>Haz </a:t>
            </a:r>
            <a:r>
              <a:rPr lang="es-ES" dirty="0" err="1"/>
              <a:t>click</a:t>
            </a:r>
            <a:r>
              <a:rPr lang="es-ES" dirty="0"/>
              <a:t> para editar los estilos del texto del modelo global</a:t>
            </a:r>
            <a:endParaRPr lang="pt-PT" dirty="0"/>
          </a:p>
          <a:p>
            <a:pPr lvl="1"/>
            <a:r>
              <a:rPr lang="es-ES" dirty="0"/>
              <a:t>Segundo nivel</a:t>
            </a:r>
          </a:p>
          <a:p>
            <a:pPr lvl="1"/>
            <a:r>
              <a:rPr lang="es-ES" dirty="0"/>
              <a:t>Tercer nivel</a:t>
            </a:r>
          </a:p>
          <a:p>
            <a:pPr lvl="1"/>
            <a:r>
              <a:rPr lang="es-ES" dirty="0"/>
              <a:t>Cuarto nivel</a:t>
            </a:r>
          </a:p>
          <a:p>
            <a:pPr lvl="1"/>
            <a:r>
              <a:rPr lang="es-ES" dirty="0"/>
              <a:t>Quinto nivel</a:t>
            </a:r>
            <a:endParaRPr lang="pt-PT" dirty="0"/>
          </a:p>
        </p:txBody>
      </p:sp>
      <p:sp>
        <p:nvSpPr>
          <p:cNvPr id="33" name="Marcador de Posição do Texto 10">
            <a:extLst>
              <a:ext uri="{FF2B5EF4-FFF2-40B4-BE49-F238E27FC236}">
                <a16:creationId xmlns:a16="http://schemas.microsoft.com/office/drawing/2014/main" id="{54C04CD3-1912-D4D7-32A1-7A4E33F6427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358837" y="5415348"/>
            <a:ext cx="5184838" cy="807294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s-ES" dirty="0"/>
              <a:t>Haz </a:t>
            </a:r>
            <a:r>
              <a:rPr lang="es-ES" dirty="0" err="1"/>
              <a:t>click</a:t>
            </a:r>
            <a:r>
              <a:rPr lang="es-ES" dirty="0"/>
              <a:t> para editar los estilos del texto del modelo global</a:t>
            </a:r>
            <a:endParaRPr lang="pt-PT" dirty="0"/>
          </a:p>
          <a:p>
            <a:pPr lvl="1"/>
            <a:r>
              <a:rPr lang="es-ES" dirty="0"/>
              <a:t>Segundo nivel</a:t>
            </a:r>
          </a:p>
          <a:p>
            <a:pPr lvl="1"/>
            <a:r>
              <a:rPr lang="es-ES" dirty="0"/>
              <a:t>Tercer nivel</a:t>
            </a:r>
          </a:p>
          <a:p>
            <a:pPr lvl="1"/>
            <a:r>
              <a:rPr lang="es-ES" dirty="0"/>
              <a:t>Cuarto nivel</a:t>
            </a:r>
          </a:p>
          <a:p>
            <a:pPr lvl="1"/>
            <a:r>
              <a:rPr lang="es-ES" dirty="0"/>
              <a:t>Quinto nivel</a:t>
            </a:r>
            <a:endParaRPr lang="pt-PT" dirty="0"/>
          </a:p>
          <a:p>
            <a:pPr lvl="4"/>
            <a:endParaRPr lang="pt-PT" dirty="0"/>
          </a:p>
        </p:txBody>
      </p:sp>
      <p:sp>
        <p:nvSpPr>
          <p:cNvPr id="35" name="Marcador de Posição do Texto 34">
            <a:extLst>
              <a:ext uri="{FF2B5EF4-FFF2-40B4-BE49-F238E27FC236}">
                <a16:creationId xmlns:a16="http://schemas.microsoft.com/office/drawing/2014/main" id="{84C868E3-21E7-A8D0-3419-2194CDB6280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358900" y="1962150"/>
            <a:ext cx="5184775" cy="336550"/>
          </a:xfrm>
        </p:spPr>
        <p:txBody>
          <a:bodyPr anchor="ctr"/>
          <a:lstStyle>
            <a:lvl1pPr>
              <a:defRPr cap="all" baseline="0">
                <a:solidFill>
                  <a:schemeClr val="accent2"/>
                </a:solidFill>
                <a:latin typeface="+mj-lt"/>
              </a:defRPr>
            </a:lvl1pPr>
          </a:lstStyle>
          <a:p>
            <a:pPr lvl="0"/>
            <a:r>
              <a:rPr lang="pt-PT" dirty="0"/>
              <a:t>Insertar texto destacado</a:t>
            </a:r>
          </a:p>
        </p:txBody>
      </p:sp>
      <p:sp>
        <p:nvSpPr>
          <p:cNvPr id="36" name="Marcador de Posição do Texto 34">
            <a:extLst>
              <a:ext uri="{FF2B5EF4-FFF2-40B4-BE49-F238E27FC236}">
                <a16:creationId xmlns:a16="http://schemas.microsoft.com/office/drawing/2014/main" id="{6FA9DD58-FB30-A97E-32EE-C06082E0E52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358900" y="3521558"/>
            <a:ext cx="5184775" cy="336550"/>
          </a:xfrm>
        </p:spPr>
        <p:txBody>
          <a:bodyPr anchor="ctr"/>
          <a:lstStyle>
            <a:lvl1pPr>
              <a:defRPr cap="all" baseline="0">
                <a:solidFill>
                  <a:schemeClr val="accent2"/>
                </a:solidFill>
                <a:latin typeface="+mj-lt"/>
              </a:defRPr>
            </a:lvl1pPr>
          </a:lstStyle>
          <a:p>
            <a:pPr lvl="0"/>
            <a:r>
              <a:rPr lang="pt-PT" dirty="0"/>
              <a:t>Insertar texto destacado</a:t>
            </a:r>
          </a:p>
        </p:txBody>
      </p:sp>
      <p:sp>
        <p:nvSpPr>
          <p:cNvPr id="37" name="Marcador de Posição do Texto 34">
            <a:extLst>
              <a:ext uri="{FF2B5EF4-FFF2-40B4-BE49-F238E27FC236}">
                <a16:creationId xmlns:a16="http://schemas.microsoft.com/office/drawing/2014/main" id="{FF4AD1A3-907A-406F-B7BE-B0B08744049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358900" y="5056573"/>
            <a:ext cx="5184775" cy="336550"/>
          </a:xfrm>
        </p:spPr>
        <p:txBody>
          <a:bodyPr anchor="ctr"/>
          <a:lstStyle>
            <a:lvl1pPr>
              <a:defRPr cap="all" baseline="0">
                <a:solidFill>
                  <a:schemeClr val="accent2"/>
                </a:solidFill>
                <a:latin typeface="+mj-lt"/>
              </a:defRPr>
            </a:lvl1pPr>
          </a:lstStyle>
          <a:p>
            <a:pPr lvl="0"/>
            <a:r>
              <a:rPr lang="pt-PT" dirty="0"/>
              <a:t>Insertar texto destacado</a:t>
            </a:r>
          </a:p>
        </p:txBody>
      </p:sp>
      <p:grpSp>
        <p:nvGrpSpPr>
          <p:cNvPr id="3" name="Gráfico 2">
            <a:extLst>
              <a:ext uri="{FF2B5EF4-FFF2-40B4-BE49-F238E27FC236}">
                <a16:creationId xmlns:a16="http://schemas.microsoft.com/office/drawing/2014/main" id="{9A83E10D-8399-013F-2D62-B0193186A14B}"/>
              </a:ext>
            </a:extLst>
          </p:cNvPr>
          <p:cNvGrpSpPr/>
          <p:nvPr userDrawn="1"/>
        </p:nvGrpSpPr>
        <p:grpSpPr>
          <a:xfrm>
            <a:off x="10557975" y="275736"/>
            <a:ext cx="1308718" cy="138724"/>
            <a:chOff x="0" y="2782824"/>
            <a:chExt cx="12192000" cy="1292352"/>
          </a:xfrm>
        </p:grpSpPr>
        <p:sp>
          <p:nvSpPr>
            <p:cNvPr id="4" name="Forma libre: forma 3">
              <a:extLst>
                <a:ext uri="{FF2B5EF4-FFF2-40B4-BE49-F238E27FC236}">
                  <a16:creationId xmlns:a16="http://schemas.microsoft.com/office/drawing/2014/main" id="{A6E37670-0B29-7D03-3988-5006AE3C7E49}"/>
                </a:ext>
              </a:extLst>
            </p:cNvPr>
            <p:cNvSpPr/>
            <p:nvPr/>
          </p:nvSpPr>
          <p:spPr>
            <a:xfrm>
              <a:off x="3791306" y="2777053"/>
              <a:ext cx="1300480" cy="1300480"/>
            </a:xfrm>
            <a:custGeom>
              <a:avLst/>
              <a:gdLst>
                <a:gd name="connsiteX0" fmla="*/ 6096 w 1300480"/>
                <a:gd name="connsiteY0" fmla="*/ 653979 h 1300480"/>
                <a:gd name="connsiteX1" fmla="*/ 653979 w 1300480"/>
                <a:gd name="connsiteY1" fmla="*/ 6096 h 1300480"/>
                <a:gd name="connsiteX2" fmla="*/ 1301862 w 1300480"/>
                <a:gd name="connsiteY2" fmla="*/ 653979 h 1300480"/>
                <a:gd name="connsiteX3" fmla="*/ 653979 w 1300480"/>
                <a:gd name="connsiteY3" fmla="*/ 1301862 h 1300480"/>
                <a:gd name="connsiteX4" fmla="*/ 653898 w 1300480"/>
                <a:gd name="connsiteY4" fmla="*/ 1301862 h 1300480"/>
                <a:gd name="connsiteX5" fmla="*/ 6096 w 1300480"/>
                <a:gd name="connsiteY5" fmla="*/ 654060 h 1300480"/>
                <a:gd name="connsiteX6" fmla="*/ 6096 w 1300480"/>
                <a:gd name="connsiteY6" fmla="*/ 654060 h 1300480"/>
                <a:gd name="connsiteX7" fmla="*/ 653898 w 1300480"/>
                <a:gd name="connsiteY7" fmla="*/ 1091184 h 1300480"/>
                <a:gd name="connsiteX8" fmla="*/ 1091265 w 1300480"/>
                <a:gd name="connsiteY8" fmla="*/ 653979 h 1300480"/>
                <a:gd name="connsiteX9" fmla="*/ 654060 w 1300480"/>
                <a:gd name="connsiteY9" fmla="*/ 216611 h 1300480"/>
                <a:gd name="connsiteX10" fmla="*/ 216692 w 1300480"/>
                <a:gd name="connsiteY10" fmla="*/ 653816 h 1300480"/>
                <a:gd name="connsiteX11" fmla="*/ 216692 w 1300480"/>
                <a:gd name="connsiteY11" fmla="*/ 653979 h 1300480"/>
                <a:gd name="connsiteX12" fmla="*/ 653898 w 1300480"/>
                <a:gd name="connsiteY12" fmla="*/ 1091184 h 13004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300480" h="1300480">
                  <a:moveTo>
                    <a:pt x="6096" y="653979"/>
                  </a:moveTo>
                  <a:cubicBezTo>
                    <a:pt x="6096" y="296184"/>
                    <a:pt x="296184" y="6096"/>
                    <a:pt x="653979" y="6096"/>
                  </a:cubicBezTo>
                  <a:cubicBezTo>
                    <a:pt x="1011773" y="6096"/>
                    <a:pt x="1301862" y="296184"/>
                    <a:pt x="1301862" y="653979"/>
                  </a:cubicBezTo>
                  <a:cubicBezTo>
                    <a:pt x="1301862" y="1011773"/>
                    <a:pt x="1011773" y="1301862"/>
                    <a:pt x="653979" y="1301862"/>
                  </a:cubicBezTo>
                  <a:lnTo>
                    <a:pt x="653898" y="1301862"/>
                  </a:lnTo>
                  <a:cubicBezTo>
                    <a:pt x="296103" y="1301862"/>
                    <a:pt x="6096" y="1011855"/>
                    <a:pt x="6096" y="654060"/>
                  </a:cubicBezTo>
                  <a:lnTo>
                    <a:pt x="6096" y="654060"/>
                  </a:lnTo>
                  <a:moveTo>
                    <a:pt x="653898" y="1091184"/>
                  </a:moveTo>
                  <a:cubicBezTo>
                    <a:pt x="895380" y="1091184"/>
                    <a:pt x="1091184" y="895462"/>
                    <a:pt x="1091265" y="653979"/>
                  </a:cubicBezTo>
                  <a:cubicBezTo>
                    <a:pt x="1091265" y="412496"/>
                    <a:pt x="895543" y="216692"/>
                    <a:pt x="654060" y="216611"/>
                  </a:cubicBezTo>
                  <a:cubicBezTo>
                    <a:pt x="412577" y="216611"/>
                    <a:pt x="216774" y="412333"/>
                    <a:pt x="216692" y="653816"/>
                  </a:cubicBezTo>
                  <a:lnTo>
                    <a:pt x="216692" y="653979"/>
                  </a:lnTo>
                  <a:cubicBezTo>
                    <a:pt x="216692" y="895462"/>
                    <a:pt x="412415" y="1091184"/>
                    <a:pt x="653898" y="1091184"/>
                  </a:cubicBezTo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5" name="Forma libre: forma 4">
              <a:extLst>
                <a:ext uri="{FF2B5EF4-FFF2-40B4-BE49-F238E27FC236}">
                  <a16:creationId xmlns:a16="http://schemas.microsoft.com/office/drawing/2014/main" id="{AA12E827-ED60-8AA8-844D-96A817597920}"/>
                </a:ext>
              </a:extLst>
            </p:cNvPr>
            <p:cNvSpPr/>
            <p:nvPr/>
          </p:nvSpPr>
          <p:spPr>
            <a:xfrm>
              <a:off x="1151981" y="2793797"/>
              <a:ext cx="219456" cy="1267968"/>
            </a:xfrm>
            <a:custGeom>
              <a:avLst/>
              <a:gdLst>
                <a:gd name="connsiteX0" fmla="*/ 216367 w 219456"/>
                <a:gd name="connsiteY0" fmla="*/ 6096 h 1267968"/>
                <a:gd name="connsiteX1" fmla="*/ 216367 w 219456"/>
                <a:gd name="connsiteY1" fmla="*/ 6096 h 1267968"/>
                <a:gd name="connsiteX2" fmla="*/ 216367 w 219456"/>
                <a:gd name="connsiteY2" fmla="*/ 1268212 h 1267968"/>
                <a:gd name="connsiteX3" fmla="*/ 6096 w 219456"/>
                <a:gd name="connsiteY3" fmla="*/ 1268212 h 1267968"/>
                <a:gd name="connsiteX4" fmla="*/ 6096 w 219456"/>
                <a:gd name="connsiteY4" fmla="*/ 216449 h 1267968"/>
                <a:gd name="connsiteX5" fmla="*/ 216367 w 219456"/>
                <a:gd name="connsiteY5" fmla="*/ 6096 h 126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19456" h="1267968">
                  <a:moveTo>
                    <a:pt x="216367" y="6096"/>
                  </a:moveTo>
                  <a:lnTo>
                    <a:pt x="216367" y="6096"/>
                  </a:lnTo>
                  <a:lnTo>
                    <a:pt x="216367" y="1268212"/>
                  </a:lnTo>
                  <a:lnTo>
                    <a:pt x="6096" y="1268212"/>
                  </a:lnTo>
                  <a:lnTo>
                    <a:pt x="6096" y="216449"/>
                  </a:lnTo>
                  <a:cubicBezTo>
                    <a:pt x="6096" y="100300"/>
                    <a:pt x="100218" y="6177"/>
                    <a:pt x="216367" y="6096"/>
                  </a:cubicBezTo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8" name="Forma libre: forma 7">
              <a:extLst>
                <a:ext uri="{FF2B5EF4-FFF2-40B4-BE49-F238E27FC236}">
                  <a16:creationId xmlns:a16="http://schemas.microsoft.com/office/drawing/2014/main" id="{8800085F-B209-375C-4578-047FB9586DF0}"/>
                </a:ext>
              </a:extLst>
            </p:cNvPr>
            <p:cNvSpPr/>
            <p:nvPr/>
          </p:nvSpPr>
          <p:spPr>
            <a:xfrm>
              <a:off x="9373128" y="2793797"/>
              <a:ext cx="219456" cy="1267968"/>
            </a:xfrm>
            <a:custGeom>
              <a:avLst/>
              <a:gdLst>
                <a:gd name="connsiteX0" fmla="*/ 216368 w 219456"/>
                <a:gd name="connsiteY0" fmla="*/ 6096 h 1267968"/>
                <a:gd name="connsiteX1" fmla="*/ 216368 w 219456"/>
                <a:gd name="connsiteY1" fmla="*/ 6096 h 1267968"/>
                <a:gd name="connsiteX2" fmla="*/ 216368 w 219456"/>
                <a:gd name="connsiteY2" fmla="*/ 1268212 h 1267968"/>
                <a:gd name="connsiteX3" fmla="*/ 6096 w 219456"/>
                <a:gd name="connsiteY3" fmla="*/ 1268212 h 1267968"/>
                <a:gd name="connsiteX4" fmla="*/ 6096 w 219456"/>
                <a:gd name="connsiteY4" fmla="*/ 216449 h 1267968"/>
                <a:gd name="connsiteX5" fmla="*/ 216287 w 219456"/>
                <a:gd name="connsiteY5" fmla="*/ 6096 h 1267968"/>
                <a:gd name="connsiteX6" fmla="*/ 216368 w 219456"/>
                <a:gd name="connsiteY6" fmla="*/ 6096 h 126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19456" h="1267968">
                  <a:moveTo>
                    <a:pt x="216368" y="6096"/>
                  </a:moveTo>
                  <a:lnTo>
                    <a:pt x="216368" y="6096"/>
                  </a:lnTo>
                  <a:lnTo>
                    <a:pt x="216368" y="1268212"/>
                  </a:lnTo>
                  <a:lnTo>
                    <a:pt x="6096" y="1268212"/>
                  </a:lnTo>
                  <a:lnTo>
                    <a:pt x="6096" y="216449"/>
                  </a:lnTo>
                  <a:cubicBezTo>
                    <a:pt x="6096" y="100300"/>
                    <a:pt x="100138" y="6177"/>
                    <a:pt x="216287" y="6096"/>
                  </a:cubicBezTo>
                  <a:lnTo>
                    <a:pt x="216368" y="6096"/>
                  </a:lnTo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10" name="Forma libre: forma 9">
              <a:extLst>
                <a:ext uri="{FF2B5EF4-FFF2-40B4-BE49-F238E27FC236}">
                  <a16:creationId xmlns:a16="http://schemas.microsoft.com/office/drawing/2014/main" id="{9C909521-AEAB-E89D-3094-B0E09EC6B5B0}"/>
                </a:ext>
              </a:extLst>
            </p:cNvPr>
            <p:cNvSpPr/>
            <p:nvPr/>
          </p:nvSpPr>
          <p:spPr>
            <a:xfrm>
              <a:off x="8111012" y="2793878"/>
              <a:ext cx="1056640" cy="1267968"/>
            </a:xfrm>
            <a:custGeom>
              <a:avLst/>
              <a:gdLst>
                <a:gd name="connsiteX0" fmla="*/ 74046 w 1056640"/>
                <a:gd name="connsiteY0" fmla="*/ 6096 h 1267968"/>
                <a:gd name="connsiteX1" fmla="*/ 6096 w 1056640"/>
                <a:gd name="connsiteY1" fmla="*/ 216367 h 1267968"/>
                <a:gd name="connsiteX2" fmla="*/ 426802 w 1056640"/>
                <a:gd name="connsiteY2" fmla="*/ 216367 h 1267968"/>
                <a:gd name="connsiteX3" fmla="*/ 426802 w 1056640"/>
                <a:gd name="connsiteY3" fmla="*/ 1268131 h 1267968"/>
                <a:gd name="connsiteX4" fmla="*/ 637155 w 1056640"/>
                <a:gd name="connsiteY4" fmla="*/ 1268131 h 1267968"/>
                <a:gd name="connsiteX5" fmla="*/ 637155 w 1056640"/>
                <a:gd name="connsiteY5" fmla="*/ 216367 h 1267968"/>
                <a:gd name="connsiteX6" fmla="*/ 847507 w 1056640"/>
                <a:gd name="connsiteY6" fmla="*/ 216367 h 1267968"/>
                <a:gd name="connsiteX7" fmla="*/ 1057860 w 1056640"/>
                <a:gd name="connsiteY7" fmla="*/ 6096 h 1267968"/>
                <a:gd name="connsiteX8" fmla="*/ 74046 w 1056640"/>
                <a:gd name="connsiteY8" fmla="*/ 6096 h 126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056640" h="1267968">
                  <a:moveTo>
                    <a:pt x="74046" y="6096"/>
                  </a:moveTo>
                  <a:lnTo>
                    <a:pt x="6096" y="216367"/>
                  </a:lnTo>
                  <a:lnTo>
                    <a:pt x="426802" y="216367"/>
                  </a:lnTo>
                  <a:lnTo>
                    <a:pt x="426802" y="1268131"/>
                  </a:lnTo>
                  <a:lnTo>
                    <a:pt x="637155" y="1268131"/>
                  </a:lnTo>
                  <a:lnTo>
                    <a:pt x="637155" y="216367"/>
                  </a:lnTo>
                  <a:lnTo>
                    <a:pt x="847507" y="216367"/>
                  </a:lnTo>
                  <a:cubicBezTo>
                    <a:pt x="963656" y="216367"/>
                    <a:pt x="1057779" y="122245"/>
                    <a:pt x="1057860" y="6096"/>
                  </a:cubicBezTo>
                  <a:lnTo>
                    <a:pt x="74046" y="6096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11" name="Forma libre: forma 10">
              <a:extLst>
                <a:ext uri="{FF2B5EF4-FFF2-40B4-BE49-F238E27FC236}">
                  <a16:creationId xmlns:a16="http://schemas.microsoft.com/office/drawing/2014/main" id="{2389A01A-F238-99C8-8E5B-35C472B2B0DE}"/>
                </a:ext>
              </a:extLst>
            </p:cNvPr>
            <p:cNvSpPr/>
            <p:nvPr/>
          </p:nvSpPr>
          <p:spPr>
            <a:xfrm>
              <a:off x="1602108" y="2793797"/>
              <a:ext cx="845312" cy="1267968"/>
            </a:xfrm>
            <a:custGeom>
              <a:avLst/>
              <a:gdLst>
                <a:gd name="connsiteX0" fmla="*/ 216288 w 845312"/>
                <a:gd name="connsiteY0" fmla="*/ 1057859 h 1267968"/>
                <a:gd name="connsiteX1" fmla="*/ 216288 w 845312"/>
                <a:gd name="connsiteY1" fmla="*/ 6096 h 1267968"/>
                <a:gd name="connsiteX2" fmla="*/ 6098 w 845312"/>
                <a:gd name="connsiteY2" fmla="*/ 6096 h 1267968"/>
                <a:gd name="connsiteX3" fmla="*/ 6098 w 845312"/>
                <a:gd name="connsiteY3" fmla="*/ 1057859 h 1267968"/>
                <a:gd name="connsiteX4" fmla="*/ 6098 w 845312"/>
                <a:gd name="connsiteY4" fmla="*/ 1057859 h 1267968"/>
                <a:gd name="connsiteX5" fmla="*/ 14226 w 845312"/>
                <a:gd name="connsiteY5" fmla="*/ 1116706 h 1267968"/>
                <a:gd name="connsiteX6" fmla="*/ 15201 w 845312"/>
                <a:gd name="connsiteY6" fmla="*/ 1120364 h 1267968"/>
                <a:gd name="connsiteX7" fmla="*/ 17071 w 845312"/>
                <a:gd name="connsiteY7" fmla="*/ 1125566 h 1267968"/>
                <a:gd name="connsiteX8" fmla="*/ 22598 w 845312"/>
                <a:gd name="connsiteY8" fmla="*/ 1140358 h 1267968"/>
                <a:gd name="connsiteX9" fmla="*/ 52021 w 845312"/>
                <a:gd name="connsiteY9" fmla="*/ 1189126 h 1267968"/>
                <a:gd name="connsiteX10" fmla="*/ 124685 w 845312"/>
                <a:gd name="connsiteY10" fmla="*/ 1246916 h 1267968"/>
                <a:gd name="connsiteX11" fmla="*/ 216125 w 845312"/>
                <a:gd name="connsiteY11" fmla="*/ 1268049 h 1267968"/>
                <a:gd name="connsiteX12" fmla="*/ 776957 w 845312"/>
                <a:gd name="connsiteY12" fmla="*/ 1268049 h 1267968"/>
                <a:gd name="connsiteX13" fmla="*/ 847021 w 845312"/>
                <a:gd name="connsiteY13" fmla="*/ 1057697 h 1267968"/>
                <a:gd name="connsiteX14" fmla="*/ 216288 w 845312"/>
                <a:gd name="connsiteY14" fmla="*/ 1057859 h 126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845312" h="1267968">
                  <a:moveTo>
                    <a:pt x="216288" y="1057859"/>
                  </a:moveTo>
                  <a:lnTo>
                    <a:pt x="216288" y="6096"/>
                  </a:lnTo>
                  <a:lnTo>
                    <a:pt x="6098" y="6096"/>
                  </a:lnTo>
                  <a:lnTo>
                    <a:pt x="6098" y="1057859"/>
                  </a:lnTo>
                  <a:lnTo>
                    <a:pt x="6098" y="1057859"/>
                  </a:lnTo>
                  <a:cubicBezTo>
                    <a:pt x="6017" y="1077773"/>
                    <a:pt x="8699" y="1097605"/>
                    <a:pt x="14226" y="1116706"/>
                  </a:cubicBezTo>
                  <a:cubicBezTo>
                    <a:pt x="14632" y="1117925"/>
                    <a:pt x="14795" y="1119226"/>
                    <a:pt x="15201" y="1120364"/>
                  </a:cubicBezTo>
                  <a:cubicBezTo>
                    <a:pt x="15608" y="1121502"/>
                    <a:pt x="16502" y="1123859"/>
                    <a:pt x="17071" y="1125566"/>
                  </a:cubicBezTo>
                  <a:cubicBezTo>
                    <a:pt x="18777" y="1130605"/>
                    <a:pt x="20566" y="1135563"/>
                    <a:pt x="22598" y="1140358"/>
                  </a:cubicBezTo>
                  <a:cubicBezTo>
                    <a:pt x="30157" y="1157915"/>
                    <a:pt x="40073" y="1174252"/>
                    <a:pt x="52021" y="1189126"/>
                  </a:cubicBezTo>
                  <a:cubicBezTo>
                    <a:pt x="71691" y="1213510"/>
                    <a:pt x="96481" y="1233262"/>
                    <a:pt x="124685" y="1246916"/>
                  </a:cubicBezTo>
                  <a:cubicBezTo>
                    <a:pt x="153215" y="1260734"/>
                    <a:pt x="184426" y="1267968"/>
                    <a:pt x="216125" y="1268049"/>
                  </a:cubicBezTo>
                  <a:lnTo>
                    <a:pt x="776957" y="1268049"/>
                  </a:lnTo>
                  <a:lnTo>
                    <a:pt x="847021" y="1057697"/>
                  </a:lnTo>
                  <a:lnTo>
                    <a:pt x="216288" y="1057859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12" name="Forma libre: forma 11">
              <a:extLst>
                <a:ext uri="{FF2B5EF4-FFF2-40B4-BE49-F238E27FC236}">
                  <a16:creationId xmlns:a16="http://schemas.microsoft.com/office/drawing/2014/main" id="{438BFBC7-B1B4-16E6-E318-13E28F972645}"/>
                </a:ext>
              </a:extLst>
            </p:cNvPr>
            <p:cNvSpPr/>
            <p:nvPr/>
          </p:nvSpPr>
          <p:spPr>
            <a:xfrm>
              <a:off x="-6096" y="2794284"/>
              <a:ext cx="959104" cy="1267968"/>
            </a:xfrm>
            <a:custGeom>
              <a:avLst/>
              <a:gdLst>
                <a:gd name="connsiteX0" fmla="*/ 818815 w 959104"/>
                <a:gd name="connsiteY0" fmla="*/ 411764 h 1267968"/>
                <a:gd name="connsiteX1" fmla="*/ 818815 w 959104"/>
                <a:gd name="connsiteY1" fmla="*/ 285699 h 1267968"/>
                <a:gd name="connsiteX2" fmla="*/ 539130 w 959104"/>
                <a:gd name="connsiteY2" fmla="*/ 6096 h 1267968"/>
                <a:gd name="connsiteX3" fmla="*/ 6096 w 959104"/>
                <a:gd name="connsiteY3" fmla="*/ 6096 h 1267968"/>
                <a:gd name="connsiteX4" fmla="*/ 6096 w 959104"/>
                <a:gd name="connsiteY4" fmla="*/ 1057047 h 1267968"/>
                <a:gd name="connsiteX5" fmla="*/ 216367 w 959104"/>
                <a:gd name="connsiteY5" fmla="*/ 1267399 h 1267968"/>
                <a:gd name="connsiteX6" fmla="*/ 532140 w 959104"/>
                <a:gd name="connsiteY6" fmla="*/ 1267399 h 1267968"/>
                <a:gd name="connsiteX7" fmla="*/ 953821 w 959104"/>
                <a:gd name="connsiteY7" fmla="*/ 892861 h 1267968"/>
                <a:gd name="connsiteX8" fmla="*/ 603260 w 959104"/>
                <a:gd name="connsiteY8" fmla="*/ 530596 h 1267968"/>
                <a:gd name="connsiteX9" fmla="*/ 218562 w 959104"/>
                <a:gd name="connsiteY9" fmla="*/ 531490 h 1267968"/>
                <a:gd name="connsiteX10" fmla="*/ 424282 w 959104"/>
                <a:gd name="connsiteY10" fmla="*/ 737210 h 1267968"/>
                <a:gd name="connsiteX11" fmla="*/ 424932 w 959104"/>
                <a:gd name="connsiteY11" fmla="*/ 737210 h 1267968"/>
                <a:gd name="connsiteX12" fmla="*/ 585785 w 959104"/>
                <a:gd name="connsiteY12" fmla="*/ 737210 h 1267968"/>
                <a:gd name="connsiteX13" fmla="*/ 758261 w 959104"/>
                <a:gd name="connsiteY13" fmla="*/ 889203 h 1267968"/>
                <a:gd name="connsiteX14" fmla="*/ 606268 w 959104"/>
                <a:gd name="connsiteY14" fmla="*/ 1061679 h 1267968"/>
                <a:gd name="connsiteX15" fmla="*/ 585704 w 959104"/>
                <a:gd name="connsiteY15" fmla="*/ 1061679 h 1267968"/>
                <a:gd name="connsiteX16" fmla="*/ 216530 w 959104"/>
                <a:gd name="connsiteY16" fmla="*/ 1061679 h 1267968"/>
                <a:gd name="connsiteX17" fmla="*/ 216530 w 959104"/>
                <a:gd name="connsiteY17" fmla="*/ 211653 h 1267968"/>
                <a:gd name="connsiteX18" fmla="*/ 467685 w 959104"/>
                <a:gd name="connsiteY18" fmla="*/ 211653 h 1267968"/>
                <a:gd name="connsiteX19" fmla="*/ 612689 w 959104"/>
                <a:gd name="connsiteY19" fmla="*/ 356575 h 1267968"/>
                <a:gd name="connsiteX20" fmla="*/ 612689 w 959104"/>
                <a:gd name="connsiteY20" fmla="*/ 530352 h 1267968"/>
                <a:gd name="connsiteX21" fmla="*/ 818815 w 959104"/>
                <a:gd name="connsiteY21" fmla="*/ 411764 h 126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959104" h="1267968">
                  <a:moveTo>
                    <a:pt x="818815" y="411764"/>
                  </a:moveTo>
                  <a:lnTo>
                    <a:pt x="818815" y="285699"/>
                  </a:lnTo>
                  <a:cubicBezTo>
                    <a:pt x="818815" y="131267"/>
                    <a:pt x="693562" y="6096"/>
                    <a:pt x="539130" y="6096"/>
                  </a:cubicBezTo>
                  <a:lnTo>
                    <a:pt x="6096" y="6096"/>
                  </a:lnTo>
                  <a:lnTo>
                    <a:pt x="6096" y="1057047"/>
                  </a:lnTo>
                  <a:cubicBezTo>
                    <a:pt x="6096" y="1173196"/>
                    <a:pt x="100218" y="1267318"/>
                    <a:pt x="216367" y="1267399"/>
                  </a:cubicBezTo>
                  <a:lnTo>
                    <a:pt x="532140" y="1267399"/>
                  </a:lnTo>
                  <a:cubicBezTo>
                    <a:pt x="807436" y="1267399"/>
                    <a:pt x="953821" y="1096711"/>
                    <a:pt x="953821" y="892861"/>
                  </a:cubicBezTo>
                  <a:cubicBezTo>
                    <a:pt x="953821" y="725587"/>
                    <a:pt x="840029" y="530596"/>
                    <a:pt x="603260" y="530596"/>
                  </a:cubicBezTo>
                  <a:lnTo>
                    <a:pt x="218562" y="531490"/>
                  </a:lnTo>
                  <a:cubicBezTo>
                    <a:pt x="218562" y="645119"/>
                    <a:pt x="310652" y="737210"/>
                    <a:pt x="424282" y="737210"/>
                  </a:cubicBezTo>
                  <a:cubicBezTo>
                    <a:pt x="424525" y="737210"/>
                    <a:pt x="424688" y="737210"/>
                    <a:pt x="424932" y="737210"/>
                  </a:cubicBezTo>
                  <a:lnTo>
                    <a:pt x="585785" y="737210"/>
                  </a:lnTo>
                  <a:cubicBezTo>
                    <a:pt x="675356" y="731520"/>
                    <a:pt x="752653" y="799551"/>
                    <a:pt x="758261" y="889203"/>
                  </a:cubicBezTo>
                  <a:cubicBezTo>
                    <a:pt x="763951" y="978774"/>
                    <a:pt x="695919" y="1056071"/>
                    <a:pt x="606268" y="1061679"/>
                  </a:cubicBezTo>
                  <a:cubicBezTo>
                    <a:pt x="599440" y="1062086"/>
                    <a:pt x="592531" y="1062086"/>
                    <a:pt x="585704" y="1061679"/>
                  </a:cubicBezTo>
                  <a:lnTo>
                    <a:pt x="216530" y="1061679"/>
                  </a:lnTo>
                  <a:lnTo>
                    <a:pt x="216530" y="211653"/>
                  </a:lnTo>
                  <a:lnTo>
                    <a:pt x="467685" y="211653"/>
                  </a:lnTo>
                  <a:cubicBezTo>
                    <a:pt x="547014" y="213441"/>
                    <a:pt x="610901" y="277246"/>
                    <a:pt x="612689" y="356575"/>
                  </a:cubicBezTo>
                  <a:lnTo>
                    <a:pt x="612689" y="530352"/>
                  </a:lnTo>
                  <a:lnTo>
                    <a:pt x="818815" y="411764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13" name="Forma libre: forma 12">
              <a:extLst>
                <a:ext uri="{FF2B5EF4-FFF2-40B4-BE49-F238E27FC236}">
                  <a16:creationId xmlns:a16="http://schemas.microsoft.com/office/drawing/2014/main" id="{7B36BD43-7D99-FC17-243A-79C363D8A675}"/>
                </a:ext>
              </a:extLst>
            </p:cNvPr>
            <p:cNvSpPr/>
            <p:nvPr/>
          </p:nvSpPr>
          <p:spPr>
            <a:xfrm>
              <a:off x="2653792" y="2794284"/>
              <a:ext cx="959104" cy="1267968"/>
            </a:xfrm>
            <a:custGeom>
              <a:avLst/>
              <a:gdLst>
                <a:gd name="connsiteX0" fmla="*/ 818896 w 959104"/>
                <a:gd name="connsiteY0" fmla="*/ 411764 h 1267968"/>
                <a:gd name="connsiteX1" fmla="*/ 818896 w 959104"/>
                <a:gd name="connsiteY1" fmla="*/ 285699 h 1267968"/>
                <a:gd name="connsiteX2" fmla="*/ 539212 w 959104"/>
                <a:gd name="connsiteY2" fmla="*/ 6096 h 1267968"/>
                <a:gd name="connsiteX3" fmla="*/ 6096 w 959104"/>
                <a:gd name="connsiteY3" fmla="*/ 6096 h 1267968"/>
                <a:gd name="connsiteX4" fmla="*/ 6096 w 959104"/>
                <a:gd name="connsiteY4" fmla="*/ 1057047 h 1267968"/>
                <a:gd name="connsiteX5" fmla="*/ 216449 w 959104"/>
                <a:gd name="connsiteY5" fmla="*/ 1267399 h 1267968"/>
                <a:gd name="connsiteX6" fmla="*/ 532222 w 959104"/>
                <a:gd name="connsiteY6" fmla="*/ 1267399 h 1267968"/>
                <a:gd name="connsiteX7" fmla="*/ 953821 w 959104"/>
                <a:gd name="connsiteY7" fmla="*/ 892861 h 1267968"/>
                <a:gd name="connsiteX8" fmla="*/ 603342 w 959104"/>
                <a:gd name="connsiteY8" fmla="*/ 530596 h 1267968"/>
                <a:gd name="connsiteX9" fmla="*/ 218643 w 959104"/>
                <a:gd name="connsiteY9" fmla="*/ 531490 h 1267968"/>
                <a:gd name="connsiteX10" fmla="*/ 424363 w 959104"/>
                <a:gd name="connsiteY10" fmla="*/ 737210 h 1267968"/>
                <a:gd name="connsiteX11" fmla="*/ 424932 w 959104"/>
                <a:gd name="connsiteY11" fmla="*/ 737210 h 1267968"/>
                <a:gd name="connsiteX12" fmla="*/ 585866 w 959104"/>
                <a:gd name="connsiteY12" fmla="*/ 737210 h 1267968"/>
                <a:gd name="connsiteX13" fmla="*/ 737860 w 959104"/>
                <a:gd name="connsiteY13" fmla="*/ 909686 h 1267968"/>
                <a:gd name="connsiteX14" fmla="*/ 585866 w 959104"/>
                <a:gd name="connsiteY14" fmla="*/ 1061679 h 1267968"/>
                <a:gd name="connsiteX15" fmla="*/ 216611 w 959104"/>
                <a:gd name="connsiteY15" fmla="*/ 1061679 h 1267968"/>
                <a:gd name="connsiteX16" fmla="*/ 216611 w 959104"/>
                <a:gd name="connsiteY16" fmla="*/ 211653 h 1267968"/>
                <a:gd name="connsiteX17" fmla="*/ 467766 w 959104"/>
                <a:gd name="connsiteY17" fmla="*/ 211653 h 1267968"/>
                <a:gd name="connsiteX18" fmla="*/ 612770 w 959104"/>
                <a:gd name="connsiteY18" fmla="*/ 356575 h 1267968"/>
                <a:gd name="connsiteX19" fmla="*/ 612770 w 959104"/>
                <a:gd name="connsiteY19" fmla="*/ 530352 h 1267968"/>
                <a:gd name="connsiteX20" fmla="*/ 818896 w 959104"/>
                <a:gd name="connsiteY20" fmla="*/ 411764 h 126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959104" h="1267968">
                  <a:moveTo>
                    <a:pt x="818896" y="411764"/>
                  </a:moveTo>
                  <a:lnTo>
                    <a:pt x="818896" y="285699"/>
                  </a:lnTo>
                  <a:cubicBezTo>
                    <a:pt x="818896" y="131267"/>
                    <a:pt x="693644" y="6096"/>
                    <a:pt x="539212" y="6096"/>
                  </a:cubicBezTo>
                  <a:lnTo>
                    <a:pt x="6096" y="6096"/>
                  </a:lnTo>
                  <a:lnTo>
                    <a:pt x="6096" y="1057047"/>
                  </a:lnTo>
                  <a:cubicBezTo>
                    <a:pt x="6096" y="1173196"/>
                    <a:pt x="100299" y="1267399"/>
                    <a:pt x="216449" y="1267399"/>
                  </a:cubicBezTo>
                  <a:lnTo>
                    <a:pt x="532222" y="1267399"/>
                  </a:lnTo>
                  <a:cubicBezTo>
                    <a:pt x="807517" y="1267399"/>
                    <a:pt x="953821" y="1096711"/>
                    <a:pt x="953821" y="892861"/>
                  </a:cubicBezTo>
                  <a:cubicBezTo>
                    <a:pt x="953821" y="725587"/>
                    <a:pt x="840029" y="530596"/>
                    <a:pt x="603342" y="530596"/>
                  </a:cubicBezTo>
                  <a:lnTo>
                    <a:pt x="218643" y="531490"/>
                  </a:lnTo>
                  <a:cubicBezTo>
                    <a:pt x="218643" y="645119"/>
                    <a:pt x="310734" y="737210"/>
                    <a:pt x="424363" y="737210"/>
                  </a:cubicBezTo>
                  <a:cubicBezTo>
                    <a:pt x="424526" y="737210"/>
                    <a:pt x="424769" y="737210"/>
                    <a:pt x="424932" y="737210"/>
                  </a:cubicBezTo>
                  <a:lnTo>
                    <a:pt x="585866" y="737210"/>
                  </a:lnTo>
                  <a:cubicBezTo>
                    <a:pt x="675437" y="742899"/>
                    <a:pt x="743468" y="820115"/>
                    <a:pt x="737860" y="909686"/>
                  </a:cubicBezTo>
                  <a:cubicBezTo>
                    <a:pt x="732658" y="991372"/>
                    <a:pt x="667553" y="1056477"/>
                    <a:pt x="585866" y="1061679"/>
                  </a:cubicBezTo>
                  <a:lnTo>
                    <a:pt x="216611" y="1061679"/>
                  </a:lnTo>
                  <a:lnTo>
                    <a:pt x="216611" y="211653"/>
                  </a:lnTo>
                  <a:lnTo>
                    <a:pt x="467766" y="211653"/>
                  </a:lnTo>
                  <a:cubicBezTo>
                    <a:pt x="547096" y="213441"/>
                    <a:pt x="610982" y="277246"/>
                    <a:pt x="612770" y="356575"/>
                  </a:cubicBezTo>
                  <a:lnTo>
                    <a:pt x="612770" y="530352"/>
                  </a:lnTo>
                  <a:lnTo>
                    <a:pt x="818896" y="411764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14" name="Forma libre: forma 13">
              <a:extLst>
                <a:ext uri="{FF2B5EF4-FFF2-40B4-BE49-F238E27FC236}">
                  <a16:creationId xmlns:a16="http://schemas.microsoft.com/office/drawing/2014/main" id="{FC5AC479-7CB1-2CFC-69D5-78F415527014}"/>
                </a:ext>
              </a:extLst>
            </p:cNvPr>
            <p:cNvSpPr/>
            <p:nvPr/>
          </p:nvSpPr>
          <p:spPr>
            <a:xfrm>
              <a:off x="5297343" y="2793878"/>
              <a:ext cx="219456" cy="1267968"/>
            </a:xfrm>
            <a:custGeom>
              <a:avLst/>
              <a:gdLst>
                <a:gd name="connsiteX0" fmla="*/ 6096 w 219456"/>
                <a:gd name="connsiteY0" fmla="*/ 6096 h 1267968"/>
                <a:gd name="connsiteX1" fmla="*/ 216449 w 219456"/>
                <a:gd name="connsiteY1" fmla="*/ 6096 h 1267968"/>
                <a:gd name="connsiteX2" fmla="*/ 216449 w 219456"/>
                <a:gd name="connsiteY2" fmla="*/ 1268212 h 1267968"/>
                <a:gd name="connsiteX3" fmla="*/ 6096 w 219456"/>
                <a:gd name="connsiteY3" fmla="*/ 1268212 h 126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19456" h="1267968">
                  <a:moveTo>
                    <a:pt x="6096" y="6096"/>
                  </a:moveTo>
                  <a:lnTo>
                    <a:pt x="216449" y="6096"/>
                  </a:lnTo>
                  <a:lnTo>
                    <a:pt x="216449" y="1268212"/>
                  </a:lnTo>
                  <a:lnTo>
                    <a:pt x="6096" y="1268212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15" name="Forma libre: forma 14">
              <a:extLst>
                <a:ext uri="{FF2B5EF4-FFF2-40B4-BE49-F238E27FC236}">
                  <a16:creationId xmlns:a16="http://schemas.microsoft.com/office/drawing/2014/main" id="{08853069-61A6-4989-B033-0E4C00B5A155}"/>
                </a:ext>
              </a:extLst>
            </p:cNvPr>
            <p:cNvSpPr/>
            <p:nvPr/>
          </p:nvSpPr>
          <p:spPr>
            <a:xfrm>
              <a:off x="5507695" y="2793634"/>
              <a:ext cx="487680" cy="1267968"/>
            </a:xfrm>
            <a:custGeom>
              <a:avLst/>
              <a:gdLst>
                <a:gd name="connsiteX0" fmla="*/ 426557 w 487680"/>
                <a:gd name="connsiteY0" fmla="*/ 1268375 h 1267968"/>
                <a:gd name="connsiteX1" fmla="*/ 485323 w 487680"/>
                <a:gd name="connsiteY1" fmla="*/ 1268375 h 1267968"/>
                <a:gd name="connsiteX2" fmla="*/ 248067 w 487680"/>
                <a:gd name="connsiteY2" fmla="*/ 154838 h 1267968"/>
                <a:gd name="connsiteX3" fmla="*/ 64861 w 487680"/>
                <a:gd name="connsiteY3" fmla="*/ 6096 h 1267968"/>
                <a:gd name="connsiteX4" fmla="*/ 6096 w 487680"/>
                <a:gd name="connsiteY4" fmla="*/ 6096 h 1267968"/>
                <a:gd name="connsiteX5" fmla="*/ 243352 w 487680"/>
                <a:gd name="connsiteY5" fmla="*/ 1119632 h 1267968"/>
                <a:gd name="connsiteX6" fmla="*/ 426557 w 487680"/>
                <a:gd name="connsiteY6" fmla="*/ 1267968 h 126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87680" h="1267968">
                  <a:moveTo>
                    <a:pt x="426557" y="1268375"/>
                  </a:moveTo>
                  <a:lnTo>
                    <a:pt x="485323" y="1268375"/>
                  </a:lnTo>
                  <a:lnTo>
                    <a:pt x="248067" y="154838"/>
                  </a:lnTo>
                  <a:cubicBezTo>
                    <a:pt x="229535" y="68356"/>
                    <a:pt x="153294" y="6421"/>
                    <a:pt x="64861" y="6096"/>
                  </a:cubicBezTo>
                  <a:lnTo>
                    <a:pt x="6096" y="6096"/>
                  </a:lnTo>
                  <a:lnTo>
                    <a:pt x="243352" y="1119632"/>
                  </a:lnTo>
                  <a:cubicBezTo>
                    <a:pt x="261803" y="1206114"/>
                    <a:pt x="338125" y="1267887"/>
                    <a:pt x="426557" y="1267968"/>
                  </a:cubicBezTo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16" name="Forma libre: forma 15">
              <a:extLst>
                <a:ext uri="{FF2B5EF4-FFF2-40B4-BE49-F238E27FC236}">
                  <a16:creationId xmlns:a16="http://schemas.microsoft.com/office/drawing/2014/main" id="{D9233BED-0723-8BDE-B085-34636D89169C}"/>
                </a:ext>
              </a:extLst>
            </p:cNvPr>
            <p:cNvSpPr/>
            <p:nvPr/>
          </p:nvSpPr>
          <p:spPr>
            <a:xfrm>
              <a:off x="5986922" y="2794284"/>
              <a:ext cx="487680" cy="1267968"/>
            </a:xfrm>
            <a:custGeom>
              <a:avLst/>
              <a:gdLst>
                <a:gd name="connsiteX0" fmla="*/ 243271 w 487680"/>
                <a:gd name="connsiteY0" fmla="*/ 154595 h 1267968"/>
                <a:gd name="connsiteX1" fmla="*/ 6096 w 487680"/>
                <a:gd name="connsiteY1" fmla="*/ 1268131 h 1267968"/>
                <a:gd name="connsiteX2" fmla="*/ 216367 w 487680"/>
                <a:gd name="connsiteY2" fmla="*/ 1268131 h 1267968"/>
                <a:gd name="connsiteX3" fmla="*/ 485323 w 487680"/>
                <a:gd name="connsiteY3" fmla="*/ 6096 h 1267968"/>
                <a:gd name="connsiteX4" fmla="*/ 426557 w 487680"/>
                <a:gd name="connsiteY4" fmla="*/ 6096 h 1267968"/>
                <a:gd name="connsiteX5" fmla="*/ 243271 w 487680"/>
                <a:gd name="connsiteY5" fmla="*/ 155001 h 126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87680" h="1267968">
                  <a:moveTo>
                    <a:pt x="243271" y="154595"/>
                  </a:moveTo>
                  <a:lnTo>
                    <a:pt x="6096" y="1268131"/>
                  </a:lnTo>
                  <a:lnTo>
                    <a:pt x="216367" y="1268131"/>
                  </a:lnTo>
                  <a:lnTo>
                    <a:pt x="485323" y="6096"/>
                  </a:lnTo>
                  <a:lnTo>
                    <a:pt x="426557" y="6096"/>
                  </a:lnTo>
                  <a:cubicBezTo>
                    <a:pt x="338043" y="6421"/>
                    <a:pt x="261722" y="68438"/>
                    <a:pt x="243271" y="155001"/>
                  </a:cubicBezTo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17" name="Forma libre: forma 16">
              <a:extLst>
                <a:ext uri="{FF2B5EF4-FFF2-40B4-BE49-F238E27FC236}">
                  <a16:creationId xmlns:a16="http://schemas.microsoft.com/office/drawing/2014/main" id="{795C44E1-9277-5EAF-10D0-00D6F799F15C}"/>
                </a:ext>
              </a:extLst>
            </p:cNvPr>
            <p:cNvSpPr/>
            <p:nvPr/>
          </p:nvSpPr>
          <p:spPr>
            <a:xfrm>
              <a:off x="6466149" y="2793878"/>
              <a:ext cx="219456" cy="1267968"/>
            </a:xfrm>
            <a:custGeom>
              <a:avLst/>
              <a:gdLst>
                <a:gd name="connsiteX0" fmla="*/ 6096 w 219456"/>
                <a:gd name="connsiteY0" fmla="*/ 6096 h 1267968"/>
                <a:gd name="connsiteX1" fmla="*/ 216449 w 219456"/>
                <a:gd name="connsiteY1" fmla="*/ 6096 h 1267968"/>
                <a:gd name="connsiteX2" fmla="*/ 216449 w 219456"/>
                <a:gd name="connsiteY2" fmla="*/ 1268212 h 1267968"/>
                <a:gd name="connsiteX3" fmla="*/ 6096 w 219456"/>
                <a:gd name="connsiteY3" fmla="*/ 1268212 h 126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19456" h="1267968">
                  <a:moveTo>
                    <a:pt x="6096" y="6096"/>
                  </a:moveTo>
                  <a:lnTo>
                    <a:pt x="216449" y="6096"/>
                  </a:lnTo>
                  <a:lnTo>
                    <a:pt x="216449" y="1268212"/>
                  </a:lnTo>
                  <a:lnTo>
                    <a:pt x="6096" y="1268212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18" name="Forma libre: forma 17">
              <a:extLst>
                <a:ext uri="{FF2B5EF4-FFF2-40B4-BE49-F238E27FC236}">
                  <a16:creationId xmlns:a16="http://schemas.microsoft.com/office/drawing/2014/main" id="{574AFA1D-792A-2F07-3C2B-6BB694E0935D}"/>
                </a:ext>
              </a:extLst>
            </p:cNvPr>
            <p:cNvSpPr/>
            <p:nvPr/>
          </p:nvSpPr>
          <p:spPr>
            <a:xfrm>
              <a:off x="9815617" y="2776728"/>
              <a:ext cx="950976" cy="1300480"/>
            </a:xfrm>
            <a:custGeom>
              <a:avLst/>
              <a:gdLst>
                <a:gd name="connsiteX0" fmla="*/ 889935 w 950976"/>
                <a:gd name="connsiteY0" fmla="*/ 286350 h 1300480"/>
                <a:gd name="connsiteX1" fmla="*/ 285618 w 950976"/>
                <a:gd name="connsiteY1" fmla="*/ 417779 h 1300480"/>
                <a:gd name="connsiteX2" fmla="*/ 417047 w 950976"/>
                <a:gd name="connsiteY2" fmla="*/ 1022096 h 1300480"/>
                <a:gd name="connsiteX3" fmla="*/ 653410 w 950976"/>
                <a:gd name="connsiteY3" fmla="*/ 1091509 h 1300480"/>
                <a:gd name="connsiteX4" fmla="*/ 927242 w 950976"/>
                <a:gd name="connsiteY4" fmla="*/ 997712 h 1300480"/>
                <a:gd name="connsiteX5" fmla="*/ 927242 w 950976"/>
                <a:gd name="connsiteY5" fmla="*/ 1240170 h 1300480"/>
                <a:gd name="connsiteX6" fmla="*/ 653736 w 950976"/>
                <a:gd name="connsiteY6" fmla="*/ 1301862 h 1300480"/>
                <a:gd name="connsiteX7" fmla="*/ 6096 w 950976"/>
                <a:gd name="connsiteY7" fmla="*/ 653735 h 1300480"/>
                <a:gd name="connsiteX8" fmla="*/ 654304 w 950976"/>
                <a:gd name="connsiteY8" fmla="*/ 6096 h 1300480"/>
                <a:gd name="connsiteX9" fmla="*/ 948050 w 950976"/>
                <a:gd name="connsiteY9" fmla="*/ 76647 h 1300480"/>
                <a:gd name="connsiteX10" fmla="*/ 889935 w 950976"/>
                <a:gd name="connsiteY10" fmla="*/ 286350 h 13004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950976" h="1300480">
                  <a:moveTo>
                    <a:pt x="889935" y="286350"/>
                  </a:moveTo>
                  <a:cubicBezTo>
                    <a:pt x="686735" y="155814"/>
                    <a:pt x="416235" y="214661"/>
                    <a:pt x="285618" y="417779"/>
                  </a:cubicBezTo>
                  <a:cubicBezTo>
                    <a:pt x="155082" y="620979"/>
                    <a:pt x="213929" y="891479"/>
                    <a:pt x="417047" y="1022096"/>
                  </a:cubicBezTo>
                  <a:cubicBezTo>
                    <a:pt x="487599" y="1067369"/>
                    <a:pt x="569610" y="1091509"/>
                    <a:pt x="653410" y="1091509"/>
                  </a:cubicBezTo>
                  <a:cubicBezTo>
                    <a:pt x="752571" y="1091753"/>
                    <a:pt x="849051" y="1058753"/>
                    <a:pt x="927242" y="997712"/>
                  </a:cubicBezTo>
                  <a:lnTo>
                    <a:pt x="927242" y="1240170"/>
                  </a:lnTo>
                  <a:cubicBezTo>
                    <a:pt x="841817" y="1280892"/>
                    <a:pt x="748345" y="1302024"/>
                    <a:pt x="653736" y="1301862"/>
                  </a:cubicBezTo>
                  <a:cubicBezTo>
                    <a:pt x="295941" y="1301699"/>
                    <a:pt x="5933" y="1011530"/>
                    <a:pt x="6096" y="653735"/>
                  </a:cubicBezTo>
                  <a:cubicBezTo>
                    <a:pt x="6259" y="295941"/>
                    <a:pt x="296428" y="5934"/>
                    <a:pt x="654304" y="6096"/>
                  </a:cubicBezTo>
                  <a:cubicBezTo>
                    <a:pt x="756391" y="6096"/>
                    <a:pt x="857097" y="30318"/>
                    <a:pt x="948050" y="76647"/>
                  </a:cubicBezTo>
                  <a:lnTo>
                    <a:pt x="889935" y="286350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21" name="Forma libre: forma 20">
              <a:extLst>
                <a:ext uri="{FF2B5EF4-FFF2-40B4-BE49-F238E27FC236}">
                  <a16:creationId xmlns:a16="http://schemas.microsoft.com/office/drawing/2014/main" id="{48AF72E0-7A74-4FDE-6B32-83D2DB38A4EF}"/>
                </a:ext>
              </a:extLst>
            </p:cNvPr>
            <p:cNvSpPr/>
            <p:nvPr/>
          </p:nvSpPr>
          <p:spPr>
            <a:xfrm>
              <a:off x="6886773" y="2794041"/>
              <a:ext cx="1276096" cy="1267968"/>
            </a:xfrm>
            <a:custGeom>
              <a:avLst/>
              <a:gdLst>
                <a:gd name="connsiteX0" fmla="*/ 1060135 w 1276096"/>
                <a:gd name="connsiteY0" fmla="*/ 1267968 h 1267968"/>
                <a:gd name="connsiteX1" fmla="*/ 1273007 w 1276096"/>
                <a:gd name="connsiteY1" fmla="*/ 1267968 h 1267968"/>
                <a:gd name="connsiteX2" fmla="*/ 900501 w 1276096"/>
                <a:gd name="connsiteY2" fmla="*/ 149962 h 1267968"/>
                <a:gd name="connsiteX3" fmla="*/ 700959 w 1276096"/>
                <a:gd name="connsiteY3" fmla="*/ 6096 h 1267968"/>
                <a:gd name="connsiteX4" fmla="*/ 426801 w 1276096"/>
                <a:gd name="connsiteY4" fmla="*/ 6096 h 1267968"/>
                <a:gd name="connsiteX5" fmla="*/ 6096 w 1276096"/>
                <a:gd name="connsiteY5" fmla="*/ 1268212 h 1267968"/>
                <a:gd name="connsiteX6" fmla="*/ 218968 w 1276096"/>
                <a:gd name="connsiteY6" fmla="*/ 1268212 h 1267968"/>
                <a:gd name="connsiteX7" fmla="*/ 324145 w 1276096"/>
                <a:gd name="connsiteY7" fmla="*/ 952683 h 1267968"/>
                <a:gd name="connsiteX8" fmla="*/ 673649 w 1276096"/>
                <a:gd name="connsiteY8" fmla="*/ 952683 h 1267968"/>
                <a:gd name="connsiteX9" fmla="*/ 884001 w 1276096"/>
                <a:gd name="connsiteY9" fmla="*/ 742330 h 1267968"/>
                <a:gd name="connsiteX10" fmla="*/ 884001 w 1276096"/>
                <a:gd name="connsiteY10" fmla="*/ 742330 h 1267968"/>
                <a:gd name="connsiteX11" fmla="*/ 394127 w 1276096"/>
                <a:gd name="connsiteY11" fmla="*/ 742330 h 1267968"/>
                <a:gd name="connsiteX12" fmla="*/ 639511 w 1276096"/>
                <a:gd name="connsiteY12" fmla="*/ 6096 h 1267968"/>
                <a:gd name="connsiteX13" fmla="*/ 1060135 w 1276096"/>
                <a:gd name="connsiteY13" fmla="*/ 1267968 h 126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276096" h="1267968">
                  <a:moveTo>
                    <a:pt x="1060135" y="1267968"/>
                  </a:moveTo>
                  <a:lnTo>
                    <a:pt x="1273007" y="1267968"/>
                  </a:lnTo>
                  <a:lnTo>
                    <a:pt x="900501" y="149962"/>
                  </a:lnTo>
                  <a:cubicBezTo>
                    <a:pt x="871891" y="64049"/>
                    <a:pt x="791505" y="6096"/>
                    <a:pt x="700959" y="6096"/>
                  </a:cubicBezTo>
                  <a:lnTo>
                    <a:pt x="426801" y="6096"/>
                  </a:lnTo>
                  <a:lnTo>
                    <a:pt x="6096" y="1268212"/>
                  </a:lnTo>
                  <a:lnTo>
                    <a:pt x="218968" y="1268212"/>
                  </a:lnTo>
                  <a:lnTo>
                    <a:pt x="324145" y="952683"/>
                  </a:lnTo>
                  <a:lnTo>
                    <a:pt x="673649" y="952683"/>
                  </a:lnTo>
                  <a:cubicBezTo>
                    <a:pt x="789798" y="952683"/>
                    <a:pt x="884001" y="858479"/>
                    <a:pt x="884001" y="742330"/>
                  </a:cubicBezTo>
                  <a:lnTo>
                    <a:pt x="884001" y="742330"/>
                  </a:lnTo>
                  <a:cubicBezTo>
                    <a:pt x="884001" y="742330"/>
                    <a:pt x="394127" y="742330"/>
                    <a:pt x="394127" y="742330"/>
                  </a:cubicBezTo>
                  <a:lnTo>
                    <a:pt x="639511" y="6096"/>
                  </a:lnTo>
                  <a:lnTo>
                    <a:pt x="1060135" y="1267968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22" name="Forma libre: forma 21">
              <a:extLst>
                <a:ext uri="{FF2B5EF4-FFF2-40B4-BE49-F238E27FC236}">
                  <a16:creationId xmlns:a16="http://schemas.microsoft.com/office/drawing/2014/main" id="{5D1FB1FA-0D01-FBA1-18A3-61FB138CB927}"/>
                </a:ext>
              </a:extLst>
            </p:cNvPr>
            <p:cNvSpPr/>
            <p:nvPr/>
          </p:nvSpPr>
          <p:spPr>
            <a:xfrm>
              <a:off x="10918749" y="2794041"/>
              <a:ext cx="1276096" cy="1267968"/>
            </a:xfrm>
            <a:custGeom>
              <a:avLst/>
              <a:gdLst>
                <a:gd name="connsiteX0" fmla="*/ 1060380 w 1276096"/>
                <a:gd name="connsiteY0" fmla="*/ 1267968 h 1267968"/>
                <a:gd name="connsiteX1" fmla="*/ 1273251 w 1276096"/>
                <a:gd name="connsiteY1" fmla="*/ 1267968 h 1267968"/>
                <a:gd name="connsiteX2" fmla="*/ 900420 w 1276096"/>
                <a:gd name="connsiteY2" fmla="*/ 149962 h 1267968"/>
                <a:gd name="connsiteX3" fmla="*/ 700877 w 1276096"/>
                <a:gd name="connsiteY3" fmla="*/ 6096 h 1267968"/>
                <a:gd name="connsiteX4" fmla="*/ 426801 w 1276096"/>
                <a:gd name="connsiteY4" fmla="*/ 6096 h 1267968"/>
                <a:gd name="connsiteX5" fmla="*/ 6096 w 1276096"/>
                <a:gd name="connsiteY5" fmla="*/ 1268212 h 1267968"/>
                <a:gd name="connsiteX6" fmla="*/ 218969 w 1276096"/>
                <a:gd name="connsiteY6" fmla="*/ 1268212 h 1267968"/>
                <a:gd name="connsiteX7" fmla="*/ 324145 w 1276096"/>
                <a:gd name="connsiteY7" fmla="*/ 952683 h 1267968"/>
                <a:gd name="connsiteX8" fmla="*/ 673649 w 1276096"/>
                <a:gd name="connsiteY8" fmla="*/ 952683 h 1267968"/>
                <a:gd name="connsiteX9" fmla="*/ 884001 w 1276096"/>
                <a:gd name="connsiteY9" fmla="*/ 742330 h 1267968"/>
                <a:gd name="connsiteX10" fmla="*/ 884001 w 1276096"/>
                <a:gd name="connsiteY10" fmla="*/ 742330 h 1267968"/>
                <a:gd name="connsiteX11" fmla="*/ 394127 w 1276096"/>
                <a:gd name="connsiteY11" fmla="*/ 742330 h 1267968"/>
                <a:gd name="connsiteX12" fmla="*/ 639512 w 1276096"/>
                <a:gd name="connsiteY12" fmla="*/ 6096 h 1267968"/>
                <a:gd name="connsiteX13" fmla="*/ 1060380 w 1276096"/>
                <a:gd name="connsiteY13" fmla="*/ 1267968 h 126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276096" h="1267968">
                  <a:moveTo>
                    <a:pt x="1060380" y="1267968"/>
                  </a:moveTo>
                  <a:lnTo>
                    <a:pt x="1273251" y="1267968"/>
                  </a:lnTo>
                  <a:lnTo>
                    <a:pt x="900420" y="149962"/>
                  </a:lnTo>
                  <a:cubicBezTo>
                    <a:pt x="871809" y="64049"/>
                    <a:pt x="791423" y="6096"/>
                    <a:pt x="700877" y="6096"/>
                  </a:cubicBezTo>
                  <a:lnTo>
                    <a:pt x="426801" y="6096"/>
                  </a:lnTo>
                  <a:lnTo>
                    <a:pt x="6096" y="1268212"/>
                  </a:lnTo>
                  <a:lnTo>
                    <a:pt x="218969" y="1268212"/>
                  </a:lnTo>
                  <a:lnTo>
                    <a:pt x="324145" y="952683"/>
                  </a:lnTo>
                  <a:lnTo>
                    <a:pt x="673649" y="952683"/>
                  </a:lnTo>
                  <a:cubicBezTo>
                    <a:pt x="789798" y="952683"/>
                    <a:pt x="884001" y="858479"/>
                    <a:pt x="884001" y="742330"/>
                  </a:cubicBezTo>
                  <a:lnTo>
                    <a:pt x="884001" y="742330"/>
                  </a:lnTo>
                  <a:cubicBezTo>
                    <a:pt x="884001" y="742330"/>
                    <a:pt x="394127" y="742330"/>
                    <a:pt x="394127" y="742330"/>
                  </a:cubicBezTo>
                  <a:lnTo>
                    <a:pt x="639512" y="6096"/>
                  </a:lnTo>
                  <a:lnTo>
                    <a:pt x="1060380" y="1267968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</p:grpSp>
      <p:sp>
        <p:nvSpPr>
          <p:cNvPr id="34" name="Marcador de Posição do Rodapé 4">
            <a:extLst>
              <a:ext uri="{FF2B5EF4-FFF2-40B4-BE49-F238E27FC236}">
                <a16:creationId xmlns:a16="http://schemas.microsoft.com/office/drawing/2014/main" id="{106482C6-A3DB-439D-BC3C-43F58BBC72D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12762" y="6356350"/>
            <a:ext cx="534669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accent2"/>
                </a:solidFill>
              </a:defRPr>
            </a:lvl1pPr>
          </a:lstStyle>
          <a:p>
            <a:r>
              <a:rPr lang="pt-PT"/>
              <a:t>Título de la presentación</a:t>
            </a:r>
            <a:endParaRPr lang="pt-PT" dirty="0"/>
          </a:p>
        </p:txBody>
      </p:sp>
      <p:sp>
        <p:nvSpPr>
          <p:cNvPr id="38" name="Marcador de Posição do Número do Diapositivo 5">
            <a:extLst>
              <a:ext uri="{FF2B5EF4-FFF2-40B4-BE49-F238E27FC236}">
                <a16:creationId xmlns:a16="http://schemas.microsoft.com/office/drawing/2014/main" id="{E96F519E-3F48-4D2D-9C53-E2BD895D7B8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936039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bg1"/>
                </a:solidFill>
              </a:defRPr>
            </a:lvl1pPr>
          </a:lstStyle>
          <a:p>
            <a:fld id="{24A347C2-D68E-473A-8C76-1D063E4EB6E0}" type="slidenum">
              <a:rPr lang="es-ES" smtClean="0"/>
              <a:pPr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79077358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5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25E-6 0.03889 L 1.25E-6 1.85185E-6 " pathEditMode="relative" rAng="0" ptsTypes="AA">
                                      <p:cBhvr>
                                        <p:cTn id="9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944"/>
                                    </p:animMotion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25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1666 -0.00046 L 3.75E-6 1.85185E-6 " pathEditMode="relative" rAng="0" ptsTypes="AA">
                                      <p:cBhvr>
                                        <p:cTn id="14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833" y="23"/>
                                    </p:animMotion>
                                  </p:childTnLst>
                                </p:cTn>
                              </p:par>
                              <p:par>
                                <p:cTn id="15" presetID="2" presetClass="entr" presetSubtype="4" fill="hold" grpId="0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15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25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42" presetClass="path" presetSubtype="0" decel="100000" fill="hold" grpId="1" nodeType="withEffect">
                                  <p:stCondLst>
                                    <p:cond delay="250"/>
                                  </p:stCondLst>
                                  <p:childTnLst>
                                    <p:animMotion origin="layout" path="M -0.01719 -0.00023 L -1.25E-6 1.85185E-6 " pathEditMode="relative" rAng="0" ptsTypes="AA">
                                      <p:cBhvr>
                                        <p:cTn id="23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859" y="0"/>
                                    </p:animMotion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25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42" presetClass="path" presetSubtype="0" decel="100000" fill="hold" grpId="1" nodeType="withEffect">
                                  <p:stCondLst>
                                    <p:cond delay="250"/>
                                  </p:stCondLst>
                                  <p:childTnLst>
                                    <p:animMotion origin="layout" path="M -0.01719 -0.00023 L -1.25E-6 1.85185E-6 " pathEditMode="relative" rAng="0" ptsTypes="AA">
                                      <p:cBhvr>
                                        <p:cTn id="28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859" y="0"/>
                                    </p:animMotion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25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42" presetClass="path" presetSubtype="0" decel="100000" fill="hold" grpId="1" nodeType="withEffect">
                                  <p:stCondLst>
                                    <p:cond delay="250"/>
                                  </p:stCondLst>
                                  <p:childTnLst>
                                    <p:animMotion origin="layout" path="M -0.01719 -0.00023 L -1.25E-6 1.85185E-6 " pathEditMode="relative" rAng="0" ptsTypes="AA">
                                      <p:cBhvr>
                                        <p:cTn id="33" dur="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859" y="0"/>
                                    </p:animMotion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25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42" presetClass="path" presetSubtype="0" decel="100000" fill="hold" grpId="1" nodeType="withEffect">
                                  <p:stCondLst>
                                    <p:cond delay="250"/>
                                  </p:stCondLst>
                                  <p:childTnLst>
                                    <p:animMotion origin="layout" path="M -0.01719 -0.00023 L -1.25E-6 1.85185E-6 " pathEditMode="relative" rAng="0" ptsTypes="AA">
                                      <p:cBhvr>
                                        <p:cTn id="38" dur="5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859" y="0"/>
                                    </p:animMotion>
                                  </p:childTnLst>
                                </p:cTn>
                              </p:par>
                              <p:par>
                                <p:cTn id="39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25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42" presetClass="path" presetSubtype="0" decel="100000" fill="hold" grpId="1" nodeType="withEffect">
                                  <p:stCondLst>
                                    <p:cond delay="250"/>
                                  </p:stCondLst>
                                  <p:childTnLst>
                                    <p:animMotion origin="layout" path="M -0.01719 -0.00023 L -1.25E-6 1.85185E-6 " pathEditMode="relative" rAng="0" ptsTypes="AA">
                                      <p:cBhvr>
                                        <p:cTn id="43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859" y="0"/>
                                    </p:animMotion>
                                  </p:childTnLst>
                                </p:cTn>
                              </p:par>
                              <p:par>
                                <p:cTn id="44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25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7" presetID="42" presetClass="path" presetSubtype="0" decel="100000" fill="hold" grpId="1" nodeType="withEffect">
                                  <p:stCondLst>
                                    <p:cond delay="250"/>
                                  </p:stCondLst>
                                  <p:childTnLst>
                                    <p:animMotion origin="layout" path="M -0.01719 -0.00023 L -1.25E-6 1.85185E-6 " pathEditMode="relative" rAng="0" ptsTypes="AA">
                                      <p:cBhvr>
                                        <p:cTn id="48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859" y="0"/>
                                    </p:animMotion>
                                  </p:childTnLst>
                                </p:cTn>
                              </p:par>
                              <p:par>
                                <p:cTn id="49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1" dur="25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2" presetID="42" presetClass="path" presetSubtype="0" decel="100000" fill="hold" grpId="1" nodeType="withEffect">
                                  <p:stCondLst>
                                    <p:cond delay="250"/>
                                  </p:stCondLst>
                                  <p:childTnLst>
                                    <p:animMotion origin="layout" path="M -0.01719 -0.00023 L -1.25E-6 1.85185E-6 " pathEditMode="relative" rAng="0" ptsTypes="AA">
                                      <p:cBhvr>
                                        <p:cTn id="53" dur="5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859" y="0"/>
                                    </p:animMotion>
                                  </p:childTnLst>
                                </p:cTn>
                              </p:par>
                              <p:par>
                                <p:cTn id="54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25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7" presetID="42" presetClass="path" presetSubtype="0" decel="100000" fill="hold" grpId="1" nodeType="withEffect">
                                  <p:stCondLst>
                                    <p:cond delay="250"/>
                                  </p:stCondLst>
                                  <p:childTnLst>
                                    <p:animMotion origin="layout" path="M -0.01719 -0.00023 L -1.25E-6 1.85185E-6 " pathEditMode="relative" rAng="0" ptsTypes="AA">
                                      <p:cBhvr>
                                        <p:cTn id="58" dur="5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859" y="0"/>
                                    </p:animMotion>
                                  </p:childTnLst>
                                </p:cTn>
                              </p:par>
                              <p:par>
                                <p:cTn id="59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1" dur="25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2" presetID="42" presetClass="path" presetSubtype="0" decel="100000" fill="hold" grpId="1" nodeType="withEffect">
                                  <p:stCondLst>
                                    <p:cond delay="250"/>
                                  </p:stCondLst>
                                  <p:childTnLst>
                                    <p:animMotion origin="layout" path="M -0.01719 -0.00023 L -1.25E-6 1.85185E-6 " pathEditMode="relative" rAng="0" ptsTypes="AA">
                                      <p:cBhvr>
                                        <p:cTn id="63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859" y="0"/>
                                    </p:animMotion>
                                  </p:childTnLst>
                                </p:cTn>
                              </p:par>
                              <p:par>
                                <p:cTn id="64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6" dur="25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7" presetID="42" presetClass="path" presetSubtype="0" decel="100000" fill="hold" grpId="1" nodeType="withEffect">
                                  <p:stCondLst>
                                    <p:cond delay="250"/>
                                  </p:stCondLst>
                                  <p:childTnLst>
                                    <p:animMotion origin="layout" path="M -0.01719 -0.00023 L -1.25E-6 1.85185E-6 " pathEditMode="relative" rAng="0" ptsTypes="AA">
                                      <p:cBhvr>
                                        <p:cTn id="68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859" y="0"/>
                                    </p:animMotion>
                                  </p:childTnLst>
                                </p:cTn>
                              </p:par>
                              <p:par>
                                <p:cTn id="69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1" dur="25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2" presetID="42" presetClass="path" presetSubtype="0" decel="100000" fill="hold" grpId="1" nodeType="withEffect">
                                  <p:stCondLst>
                                    <p:cond delay="250"/>
                                  </p:stCondLst>
                                  <p:childTnLst>
                                    <p:animMotion origin="layout" path="M -0.01719 -0.00023 L -1.25E-6 1.85185E-6 " pathEditMode="relative" rAng="0" ptsTypes="AA">
                                      <p:cBhvr>
                                        <p:cTn id="73" dur="5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859" y="0"/>
                                    </p:animMotion>
                                  </p:childTnLst>
                                </p:cTn>
                              </p:par>
                              <p:par>
                                <p:cTn id="74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6" dur="25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7" presetID="42" presetClass="path" presetSubtype="0" decel="100000" fill="hold" grpId="1" nodeType="withEffect">
                                  <p:stCondLst>
                                    <p:cond delay="250"/>
                                  </p:stCondLst>
                                  <p:childTnLst>
                                    <p:animMotion origin="layout" path="M -0.01719 -0.00023 L -1.25E-6 1.85185E-6 " pathEditMode="relative" rAng="0" ptsTypes="AA">
                                      <p:cBhvr>
                                        <p:cTn id="78" dur="5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859" y="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6" grpId="1"/>
      <p:bldP spid="7" grpId="0">
        <p:tmplLst>
          <p:tmpl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250"/>
                        <p:tgtEl>
                          <p:spTgt spid="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7" grpId="1"/>
      <p:bldP spid="30" grpId="0"/>
      <p:bldP spid="19" grpId="0" animBg="1"/>
      <p:bldP spid="19" grpId="1" animBg="1"/>
      <p:bldP spid="20" grpId="0" animBg="1"/>
      <p:bldP spid="20" grpId="1" animBg="1"/>
      <p:bldP spid="23" grpId="0" animBg="1"/>
      <p:bldP spid="23" grpId="1" animBg="1"/>
      <p:bldP spid="24" grpId="0" animBg="1"/>
      <p:bldP spid="24" grpId="1" animBg="1"/>
      <p:bldP spid="25" grpId="0" animBg="1"/>
      <p:bldP spid="25" grpId="1" animBg="1"/>
      <p:bldP spid="26" grpId="0" animBg="1"/>
      <p:bldP spid="26" grpId="1" animBg="1"/>
      <p:bldP spid="31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250"/>
                        <p:tgtEl>
                          <p:spTgt spid="3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1" grpId="1">
        <p:tmplLst>
          <p:tmpl>
            <p:tnLst>
              <p:par>
                <p:cTn presetID="42" presetClass="path" presetSubtype="0" decel="100000" fill="hold" nodeType="withEffect">
                  <p:stCondLst>
                    <p:cond delay="250"/>
                  </p:stCondLst>
                  <p:childTnLst>
                    <p:animMotion origin="layout" path="M -0.01719 -0.00023 L -1.25E-6 1.85185E-6 " pathEditMode="relative" rAng="0" ptsTypes="AA">
                      <p:cBhvr>
                        <p:cTn dur="500" fill="hold"/>
                        <p:tgtEl>
                          <p:spTgt spid="31"/>
                        </p:tgtEl>
                        <p:attrNameLst>
                          <p:attrName>ppt_x</p:attrName>
                          <p:attrName>ppt_y</p:attrName>
                        </p:attrNameLst>
                      </p:cBhvr>
                      <p:rCtr x="859" y="0"/>
                    </p:animMotion>
                  </p:childTnLst>
                </p:cTn>
              </p:par>
            </p:tnLst>
          </p:tmpl>
        </p:tmplLst>
      </p:bldP>
      <p:bldP spid="32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250"/>
                        <p:tgtEl>
                          <p:spTgt spid="3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2" grpId="1">
        <p:tmplLst>
          <p:tmpl>
            <p:tnLst>
              <p:par>
                <p:cTn presetID="42" presetClass="path" presetSubtype="0" decel="100000" fill="hold" nodeType="withEffect">
                  <p:stCondLst>
                    <p:cond delay="250"/>
                  </p:stCondLst>
                  <p:childTnLst>
                    <p:animMotion origin="layout" path="M -0.01719 -0.00023 L -1.25E-6 1.85185E-6 " pathEditMode="relative" rAng="0" ptsTypes="AA">
                      <p:cBhvr>
                        <p:cTn dur="500" fill="hold"/>
                        <p:tgtEl>
                          <p:spTgt spid="32"/>
                        </p:tgtEl>
                        <p:attrNameLst>
                          <p:attrName>ppt_x</p:attrName>
                          <p:attrName>ppt_y</p:attrName>
                        </p:attrNameLst>
                      </p:cBhvr>
                      <p:rCtr x="859" y="0"/>
                    </p:animMotion>
                  </p:childTnLst>
                </p:cTn>
              </p:par>
            </p:tnLst>
          </p:tmpl>
        </p:tmplLst>
      </p:bldP>
      <p:bldP spid="33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250"/>
                        <p:tgtEl>
                          <p:spTgt spid="3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3" grpId="1">
        <p:tmplLst>
          <p:tmpl>
            <p:tnLst>
              <p:par>
                <p:cTn presetID="42" presetClass="path" presetSubtype="0" decel="100000" fill="hold" nodeType="withEffect">
                  <p:stCondLst>
                    <p:cond delay="250"/>
                  </p:stCondLst>
                  <p:childTnLst>
                    <p:animMotion origin="layout" path="M -0.01719 -0.00023 L -1.25E-6 1.85185E-6 " pathEditMode="relative" rAng="0" ptsTypes="AA">
                      <p:cBhvr>
                        <p:cTn dur="500" fill="hold"/>
                        <p:tgtEl>
                          <p:spTgt spid="33"/>
                        </p:tgtEl>
                        <p:attrNameLst>
                          <p:attrName>ppt_x</p:attrName>
                          <p:attrName>ppt_y</p:attrName>
                        </p:attrNameLst>
                      </p:cBhvr>
                      <p:rCtr x="859" y="0"/>
                    </p:animMotion>
                  </p:childTnLst>
                </p:cTn>
              </p:par>
            </p:tnLst>
          </p:tmpl>
        </p:tmplLst>
      </p:bldP>
      <p:bldP spid="35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250"/>
                        <p:tgtEl>
                          <p:spTgt spid="3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5" grpId="1">
        <p:tmplLst>
          <p:tmpl>
            <p:tnLst>
              <p:par>
                <p:cTn presetID="42" presetClass="path" presetSubtype="0" decel="100000" fill="hold" nodeType="withEffect">
                  <p:stCondLst>
                    <p:cond delay="250"/>
                  </p:stCondLst>
                  <p:childTnLst>
                    <p:animMotion origin="layout" path="M -0.01719 -0.00023 L -1.25E-6 1.85185E-6 " pathEditMode="relative" rAng="0" ptsTypes="AA">
                      <p:cBhvr>
                        <p:cTn dur="500" fill="hold"/>
                        <p:tgtEl>
                          <p:spTgt spid="35"/>
                        </p:tgtEl>
                        <p:attrNameLst>
                          <p:attrName>ppt_x</p:attrName>
                          <p:attrName>ppt_y</p:attrName>
                        </p:attrNameLst>
                      </p:cBhvr>
                      <p:rCtr x="859" y="0"/>
                    </p:animMotion>
                  </p:childTnLst>
                </p:cTn>
              </p:par>
            </p:tnLst>
          </p:tmpl>
        </p:tmplLst>
      </p:bldP>
      <p:bldP spid="36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250"/>
                        <p:tgtEl>
                          <p:spTgt spid="3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6" grpId="1">
        <p:tmplLst>
          <p:tmpl>
            <p:tnLst>
              <p:par>
                <p:cTn presetID="42" presetClass="path" presetSubtype="0" decel="100000" fill="hold" nodeType="withEffect">
                  <p:stCondLst>
                    <p:cond delay="250"/>
                  </p:stCondLst>
                  <p:childTnLst>
                    <p:animMotion origin="layout" path="M -0.01719 -0.00023 L -1.25E-6 1.85185E-6 " pathEditMode="relative" rAng="0" ptsTypes="AA">
                      <p:cBhvr>
                        <p:cTn dur="500" fill="hold"/>
                        <p:tgtEl>
                          <p:spTgt spid="36"/>
                        </p:tgtEl>
                        <p:attrNameLst>
                          <p:attrName>ppt_x</p:attrName>
                          <p:attrName>ppt_y</p:attrName>
                        </p:attrNameLst>
                      </p:cBhvr>
                      <p:rCtr x="859" y="0"/>
                    </p:animMotion>
                  </p:childTnLst>
                </p:cTn>
              </p:par>
            </p:tnLst>
          </p:tmpl>
        </p:tmplLst>
      </p:bldP>
      <p:bldP spid="37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250"/>
                        <p:tgtEl>
                          <p:spTgt spid="3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7" grpId="1">
        <p:tmplLst>
          <p:tmpl>
            <p:tnLst>
              <p:par>
                <p:cTn presetID="42" presetClass="path" presetSubtype="0" decel="100000" fill="hold" nodeType="withEffect">
                  <p:stCondLst>
                    <p:cond delay="250"/>
                  </p:stCondLst>
                  <p:childTnLst>
                    <p:animMotion origin="layout" path="M -0.01719 -0.00023 L -1.25E-6 1.85185E-6 " pathEditMode="relative" rAng="0" ptsTypes="AA">
                      <p:cBhvr>
                        <p:cTn dur="500" fill="hold"/>
                        <p:tgtEl>
                          <p:spTgt spid="37"/>
                        </p:tgtEl>
                        <p:attrNameLst>
                          <p:attrName>ppt_x</p:attrName>
                          <p:attrName>ppt_y</p:attrName>
                        </p:attrNameLst>
                      </p:cBhvr>
                      <p:rCtr x="859" y="0"/>
                    </p:animMotion>
                  </p:childTnLst>
                </p:cTn>
              </p:par>
            </p:tnLst>
          </p:tmpl>
        </p:tmplLst>
      </p:bldP>
    </p:bld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Esquema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m 2">
            <a:extLst>
              <a:ext uri="{FF2B5EF4-FFF2-40B4-BE49-F238E27FC236}">
                <a16:creationId xmlns:a16="http://schemas.microsoft.com/office/drawing/2014/main" id="{91834A5F-3B18-67EE-886E-57E349C9AE3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 l="17318" t="60814" r="14165" b="11057"/>
          <a:stretch>
            <a:fillRect/>
          </a:stretch>
        </p:blipFill>
        <p:spPr>
          <a:xfrm rot="5400000">
            <a:off x="8440799" y="1343698"/>
            <a:ext cx="5318830" cy="2183575"/>
          </a:xfrm>
          <a:prstGeom prst="rect">
            <a:avLst/>
          </a:prstGeom>
        </p:spPr>
      </p:pic>
      <p:sp>
        <p:nvSpPr>
          <p:cNvPr id="9" name="Forma livre: Forma 8">
            <a:extLst>
              <a:ext uri="{FF2B5EF4-FFF2-40B4-BE49-F238E27FC236}">
                <a16:creationId xmlns:a16="http://schemas.microsoft.com/office/drawing/2014/main" id="{C123AC60-7467-CB59-0AA5-238D0A9264BA}"/>
              </a:ext>
            </a:extLst>
          </p:cNvPr>
          <p:cNvSpPr/>
          <p:nvPr userDrawn="1"/>
        </p:nvSpPr>
        <p:spPr>
          <a:xfrm>
            <a:off x="933450" y="1771651"/>
            <a:ext cx="4848224" cy="4451350"/>
          </a:xfrm>
          <a:custGeom>
            <a:avLst/>
            <a:gdLst>
              <a:gd name="connsiteX0" fmla="*/ 2220906 w 2220906"/>
              <a:gd name="connsiteY0" fmla="*/ 0 h 524519"/>
              <a:gd name="connsiteX1" fmla="*/ 2220906 w 2220906"/>
              <a:gd name="connsiteY1" fmla="*/ 524457 h 524519"/>
              <a:gd name="connsiteX2" fmla="*/ 0 w 2220906"/>
              <a:gd name="connsiteY2" fmla="*/ 524519 h 524519"/>
              <a:gd name="connsiteX3" fmla="*/ 0 w 2220906"/>
              <a:gd name="connsiteY3" fmla="*/ 62 h 5245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220906" h="524519">
                <a:moveTo>
                  <a:pt x="2220906" y="0"/>
                </a:moveTo>
                <a:lnTo>
                  <a:pt x="2220906" y="524457"/>
                </a:lnTo>
                <a:lnTo>
                  <a:pt x="0" y="524519"/>
                </a:lnTo>
                <a:lnTo>
                  <a:pt x="0" y="62"/>
                </a:lnTo>
                <a:close/>
              </a:path>
            </a:pathLst>
          </a:custGeom>
          <a:solidFill>
            <a:schemeClr val="bg1"/>
          </a:solidFill>
          <a:ln w="4244" cap="flat">
            <a:noFill/>
            <a:prstDash val="solid"/>
            <a:miter/>
          </a:ln>
          <a:effectLst>
            <a:outerShdw blurRad="254000" algn="ctr" rotWithShape="0">
              <a:srgbClr val="132153">
                <a:alpha val="5000"/>
              </a:srgb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pt-PT">
              <a:solidFill>
                <a:schemeClr val="tx1"/>
              </a:solidFill>
            </a:endParaRPr>
          </a:p>
        </p:txBody>
      </p:sp>
      <p:sp>
        <p:nvSpPr>
          <p:cNvPr id="10" name="Forma livre: Forma 9">
            <a:extLst>
              <a:ext uri="{FF2B5EF4-FFF2-40B4-BE49-F238E27FC236}">
                <a16:creationId xmlns:a16="http://schemas.microsoft.com/office/drawing/2014/main" id="{31D9176C-0685-924E-D4A6-08D74B1CD4A7}"/>
              </a:ext>
            </a:extLst>
          </p:cNvPr>
          <p:cNvSpPr/>
          <p:nvPr userDrawn="1"/>
        </p:nvSpPr>
        <p:spPr>
          <a:xfrm>
            <a:off x="6743701" y="1771651"/>
            <a:ext cx="4848224" cy="4451350"/>
          </a:xfrm>
          <a:custGeom>
            <a:avLst/>
            <a:gdLst>
              <a:gd name="connsiteX0" fmla="*/ 2220906 w 2220906"/>
              <a:gd name="connsiteY0" fmla="*/ 0 h 524519"/>
              <a:gd name="connsiteX1" fmla="*/ 2220906 w 2220906"/>
              <a:gd name="connsiteY1" fmla="*/ 524457 h 524519"/>
              <a:gd name="connsiteX2" fmla="*/ 0 w 2220906"/>
              <a:gd name="connsiteY2" fmla="*/ 524519 h 524519"/>
              <a:gd name="connsiteX3" fmla="*/ 0 w 2220906"/>
              <a:gd name="connsiteY3" fmla="*/ 62 h 5245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220906" h="524519">
                <a:moveTo>
                  <a:pt x="2220906" y="0"/>
                </a:moveTo>
                <a:lnTo>
                  <a:pt x="2220906" y="524457"/>
                </a:lnTo>
                <a:lnTo>
                  <a:pt x="0" y="524519"/>
                </a:lnTo>
                <a:lnTo>
                  <a:pt x="0" y="62"/>
                </a:lnTo>
                <a:close/>
              </a:path>
            </a:pathLst>
          </a:custGeom>
          <a:solidFill>
            <a:schemeClr val="bg1"/>
          </a:solidFill>
          <a:ln w="4244" cap="flat">
            <a:noFill/>
            <a:prstDash val="solid"/>
            <a:miter/>
          </a:ln>
          <a:effectLst>
            <a:outerShdw blurRad="254000" algn="ctr" rotWithShape="0">
              <a:srgbClr val="132153">
                <a:alpha val="5000"/>
              </a:srgb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pt-PT">
              <a:solidFill>
                <a:schemeClr val="tx1"/>
              </a:solidFill>
            </a:endParaRPr>
          </a:p>
        </p:txBody>
      </p:sp>
      <p:sp>
        <p:nvSpPr>
          <p:cNvPr id="11" name="Marcador de Posição do Texto 10">
            <a:extLst>
              <a:ext uri="{FF2B5EF4-FFF2-40B4-BE49-F238E27FC236}">
                <a16:creationId xmlns:a16="http://schemas.microsoft.com/office/drawing/2014/main" id="{78DCC0C1-BFE8-E008-990B-D187FFB5E81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473137" y="2326431"/>
            <a:ext cx="4194226" cy="807294"/>
          </a:xfrm>
        </p:spPr>
        <p:txBody>
          <a:bodyPr>
            <a:noAutofit/>
          </a:bodyPr>
          <a:lstStyle>
            <a:lvl1pPr>
              <a:defRPr sz="12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s-ES" dirty="0"/>
              <a:t>Haz </a:t>
            </a:r>
            <a:r>
              <a:rPr lang="es-ES" dirty="0" err="1"/>
              <a:t>click</a:t>
            </a:r>
            <a:r>
              <a:rPr lang="es-ES" dirty="0"/>
              <a:t> para editar los estilos del texto del modelo</a:t>
            </a:r>
            <a:endParaRPr lang="pt-PT" dirty="0"/>
          </a:p>
          <a:p>
            <a:pPr lvl="1"/>
            <a:r>
              <a:rPr lang="es-ES" dirty="0"/>
              <a:t>Segundo nivel</a:t>
            </a:r>
          </a:p>
          <a:p>
            <a:pPr lvl="1"/>
            <a:r>
              <a:rPr lang="es-ES" dirty="0"/>
              <a:t>Tercer nivel</a:t>
            </a:r>
          </a:p>
          <a:p>
            <a:pPr lvl="1"/>
            <a:r>
              <a:rPr lang="es-ES" dirty="0"/>
              <a:t>Cuarto nivel</a:t>
            </a:r>
          </a:p>
          <a:p>
            <a:pPr lvl="1"/>
            <a:r>
              <a:rPr lang="es-ES" dirty="0"/>
              <a:t>Quinto nivel</a:t>
            </a:r>
            <a:endParaRPr lang="pt-PT" dirty="0"/>
          </a:p>
        </p:txBody>
      </p:sp>
      <p:sp>
        <p:nvSpPr>
          <p:cNvPr id="12" name="Marcador de Posição do Texto 34">
            <a:extLst>
              <a:ext uri="{FF2B5EF4-FFF2-40B4-BE49-F238E27FC236}">
                <a16:creationId xmlns:a16="http://schemas.microsoft.com/office/drawing/2014/main" id="{C0607ACE-2F13-8D5A-3FD5-D9AE4E5C719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473200" y="1962150"/>
            <a:ext cx="4194175" cy="336550"/>
          </a:xfrm>
        </p:spPr>
        <p:txBody>
          <a:bodyPr anchor="ctr"/>
          <a:lstStyle>
            <a:lvl1pPr>
              <a:defRPr cap="all" baseline="0">
                <a:solidFill>
                  <a:schemeClr val="accent2"/>
                </a:solidFill>
                <a:latin typeface="+mj-lt"/>
              </a:defRPr>
            </a:lvl1pPr>
          </a:lstStyle>
          <a:p>
            <a:pPr lvl="0"/>
            <a:r>
              <a:rPr lang="pt-PT" dirty="0"/>
              <a:t>Insertar texto destacado</a:t>
            </a:r>
          </a:p>
        </p:txBody>
      </p:sp>
      <p:sp>
        <p:nvSpPr>
          <p:cNvPr id="13" name="Marcador de Posição do Texto 10">
            <a:extLst>
              <a:ext uri="{FF2B5EF4-FFF2-40B4-BE49-F238E27FC236}">
                <a16:creationId xmlns:a16="http://schemas.microsoft.com/office/drawing/2014/main" id="{10E67E0A-998A-BA25-CDDC-D2113E98299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473137" y="3793281"/>
            <a:ext cx="4194226" cy="807294"/>
          </a:xfrm>
        </p:spPr>
        <p:txBody>
          <a:bodyPr>
            <a:noAutofit/>
          </a:bodyPr>
          <a:lstStyle>
            <a:lvl1pPr>
              <a:defRPr sz="12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s-ES" dirty="0"/>
              <a:t>Haz </a:t>
            </a:r>
            <a:r>
              <a:rPr lang="es-ES" dirty="0" err="1"/>
              <a:t>click</a:t>
            </a:r>
            <a:r>
              <a:rPr lang="es-ES" dirty="0"/>
              <a:t> para editar los estilos del texto del modelo</a:t>
            </a:r>
            <a:endParaRPr lang="pt-PT" dirty="0"/>
          </a:p>
          <a:p>
            <a:pPr lvl="1"/>
            <a:r>
              <a:rPr lang="es-ES" dirty="0"/>
              <a:t>Segundo nivel</a:t>
            </a:r>
          </a:p>
          <a:p>
            <a:pPr lvl="1"/>
            <a:r>
              <a:rPr lang="es-ES" dirty="0"/>
              <a:t>Tercer nivel</a:t>
            </a:r>
          </a:p>
          <a:p>
            <a:pPr lvl="1"/>
            <a:r>
              <a:rPr lang="es-ES" dirty="0"/>
              <a:t>Cuarto nivel</a:t>
            </a:r>
          </a:p>
          <a:p>
            <a:pPr lvl="1"/>
            <a:r>
              <a:rPr lang="es-ES" dirty="0"/>
              <a:t>Quinto nivel</a:t>
            </a:r>
            <a:endParaRPr lang="pt-PT" dirty="0"/>
          </a:p>
          <a:p>
            <a:pPr lvl="4"/>
            <a:endParaRPr lang="pt-PT" dirty="0"/>
          </a:p>
        </p:txBody>
      </p:sp>
      <p:sp>
        <p:nvSpPr>
          <p:cNvPr id="14" name="Marcador de Posição do Texto 34">
            <a:extLst>
              <a:ext uri="{FF2B5EF4-FFF2-40B4-BE49-F238E27FC236}">
                <a16:creationId xmlns:a16="http://schemas.microsoft.com/office/drawing/2014/main" id="{F53EA7E9-06CB-DEE9-A7E9-21CAA481DB7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473200" y="3429000"/>
            <a:ext cx="4194175" cy="336550"/>
          </a:xfrm>
        </p:spPr>
        <p:txBody>
          <a:bodyPr anchor="ctr"/>
          <a:lstStyle>
            <a:lvl1pPr>
              <a:defRPr cap="all" baseline="0">
                <a:solidFill>
                  <a:schemeClr val="accent2"/>
                </a:solidFill>
                <a:latin typeface="+mj-lt"/>
              </a:defRPr>
            </a:lvl1pPr>
          </a:lstStyle>
          <a:p>
            <a:pPr lvl="0"/>
            <a:r>
              <a:rPr lang="pt-PT" dirty="0"/>
              <a:t>Insertar texto destacado</a:t>
            </a:r>
          </a:p>
        </p:txBody>
      </p:sp>
      <p:sp>
        <p:nvSpPr>
          <p:cNvPr id="15" name="Marcador de Posição do Texto 10">
            <a:extLst>
              <a:ext uri="{FF2B5EF4-FFF2-40B4-BE49-F238E27FC236}">
                <a16:creationId xmlns:a16="http://schemas.microsoft.com/office/drawing/2014/main" id="{AFCFCE60-9C6D-FF85-CA85-A458911AEC9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473137" y="5224947"/>
            <a:ext cx="4194226" cy="807294"/>
          </a:xfrm>
        </p:spPr>
        <p:txBody>
          <a:bodyPr>
            <a:noAutofit/>
          </a:bodyPr>
          <a:lstStyle>
            <a:lvl1pPr>
              <a:defRPr sz="12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s-ES" dirty="0"/>
              <a:t>Haz </a:t>
            </a:r>
            <a:r>
              <a:rPr lang="es-ES" dirty="0" err="1"/>
              <a:t>click</a:t>
            </a:r>
            <a:r>
              <a:rPr lang="es-ES" dirty="0"/>
              <a:t> para editar los estilos del texto del modelo</a:t>
            </a:r>
            <a:endParaRPr lang="pt-PT" dirty="0"/>
          </a:p>
          <a:p>
            <a:pPr lvl="1"/>
            <a:r>
              <a:rPr lang="es-ES" dirty="0"/>
              <a:t>Segundo nivel</a:t>
            </a:r>
          </a:p>
          <a:p>
            <a:pPr lvl="1"/>
            <a:r>
              <a:rPr lang="es-ES" dirty="0"/>
              <a:t>Tercer nivel</a:t>
            </a:r>
          </a:p>
          <a:p>
            <a:pPr lvl="1"/>
            <a:r>
              <a:rPr lang="es-ES" dirty="0"/>
              <a:t>Cuarto nivel</a:t>
            </a:r>
          </a:p>
          <a:p>
            <a:pPr lvl="1"/>
            <a:r>
              <a:rPr lang="es-ES" dirty="0"/>
              <a:t>Quinto nivel</a:t>
            </a:r>
            <a:endParaRPr lang="pt-PT" dirty="0"/>
          </a:p>
          <a:p>
            <a:pPr lvl="4"/>
            <a:endParaRPr lang="pt-PT" dirty="0"/>
          </a:p>
        </p:txBody>
      </p:sp>
      <p:sp>
        <p:nvSpPr>
          <p:cNvPr id="16" name="Marcador de Posição do Texto 34">
            <a:extLst>
              <a:ext uri="{FF2B5EF4-FFF2-40B4-BE49-F238E27FC236}">
                <a16:creationId xmlns:a16="http://schemas.microsoft.com/office/drawing/2014/main" id="{2C65214E-E3C9-61E2-5DB1-FF7421591DF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473200" y="4860666"/>
            <a:ext cx="4194175" cy="336550"/>
          </a:xfrm>
        </p:spPr>
        <p:txBody>
          <a:bodyPr anchor="ctr"/>
          <a:lstStyle>
            <a:lvl1pPr>
              <a:defRPr cap="all" baseline="0">
                <a:solidFill>
                  <a:schemeClr val="accent2"/>
                </a:solidFill>
                <a:latin typeface="+mj-lt"/>
              </a:defRPr>
            </a:lvl1pPr>
          </a:lstStyle>
          <a:p>
            <a:pPr lvl="0"/>
            <a:r>
              <a:rPr lang="pt-PT" dirty="0"/>
              <a:t>Insertar texto destacado</a:t>
            </a:r>
          </a:p>
        </p:txBody>
      </p:sp>
      <p:sp>
        <p:nvSpPr>
          <p:cNvPr id="17" name="Marcador de Posição do Texto 10">
            <a:extLst>
              <a:ext uri="{FF2B5EF4-FFF2-40B4-BE49-F238E27FC236}">
                <a16:creationId xmlns:a16="http://schemas.microsoft.com/office/drawing/2014/main" id="{4F129E43-BB8D-E48D-4E61-6F39A7D5CAA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7292912" y="2326431"/>
            <a:ext cx="4194226" cy="807294"/>
          </a:xfrm>
        </p:spPr>
        <p:txBody>
          <a:bodyPr>
            <a:noAutofit/>
          </a:bodyPr>
          <a:lstStyle>
            <a:lvl1pPr>
              <a:defRPr sz="12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s-ES" dirty="0"/>
              <a:t>Haz </a:t>
            </a:r>
            <a:r>
              <a:rPr lang="es-ES" dirty="0" err="1"/>
              <a:t>click</a:t>
            </a:r>
            <a:r>
              <a:rPr lang="es-ES" dirty="0"/>
              <a:t> para editar los estilos del texto del modelo</a:t>
            </a:r>
            <a:endParaRPr lang="pt-PT" dirty="0"/>
          </a:p>
          <a:p>
            <a:pPr lvl="1"/>
            <a:r>
              <a:rPr lang="es-ES" dirty="0"/>
              <a:t>Segundo nivel</a:t>
            </a:r>
          </a:p>
          <a:p>
            <a:pPr lvl="1"/>
            <a:r>
              <a:rPr lang="es-ES" dirty="0"/>
              <a:t>Tercer nivel</a:t>
            </a:r>
          </a:p>
          <a:p>
            <a:pPr lvl="1"/>
            <a:r>
              <a:rPr lang="es-ES" dirty="0"/>
              <a:t>Cuarto nivel</a:t>
            </a:r>
          </a:p>
          <a:p>
            <a:pPr lvl="1"/>
            <a:r>
              <a:rPr lang="es-ES" dirty="0"/>
              <a:t>Quinto nivel</a:t>
            </a:r>
            <a:endParaRPr lang="pt-PT" dirty="0"/>
          </a:p>
          <a:p>
            <a:pPr lvl="4"/>
            <a:endParaRPr lang="pt-PT" dirty="0"/>
          </a:p>
        </p:txBody>
      </p:sp>
      <p:sp>
        <p:nvSpPr>
          <p:cNvPr id="18" name="Marcador de Posição do Texto 34">
            <a:extLst>
              <a:ext uri="{FF2B5EF4-FFF2-40B4-BE49-F238E27FC236}">
                <a16:creationId xmlns:a16="http://schemas.microsoft.com/office/drawing/2014/main" id="{967228D9-6A95-7953-F46A-F417373F4D1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292975" y="1962150"/>
            <a:ext cx="4194175" cy="336550"/>
          </a:xfrm>
        </p:spPr>
        <p:txBody>
          <a:bodyPr anchor="ctr"/>
          <a:lstStyle>
            <a:lvl1pPr>
              <a:defRPr cap="all" baseline="0">
                <a:solidFill>
                  <a:schemeClr val="accent2"/>
                </a:solidFill>
                <a:latin typeface="+mj-lt"/>
              </a:defRPr>
            </a:lvl1pPr>
          </a:lstStyle>
          <a:p>
            <a:pPr lvl="0"/>
            <a:r>
              <a:rPr lang="pt-PT" dirty="0"/>
              <a:t>Insertar texto destacado</a:t>
            </a:r>
          </a:p>
        </p:txBody>
      </p:sp>
      <p:sp>
        <p:nvSpPr>
          <p:cNvPr id="19" name="Marcador de Posição do Texto 10">
            <a:extLst>
              <a:ext uri="{FF2B5EF4-FFF2-40B4-BE49-F238E27FC236}">
                <a16:creationId xmlns:a16="http://schemas.microsoft.com/office/drawing/2014/main" id="{D2E054A4-E0CD-E473-45AE-572B967407F4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292912" y="3793281"/>
            <a:ext cx="4194226" cy="807294"/>
          </a:xfrm>
        </p:spPr>
        <p:txBody>
          <a:bodyPr>
            <a:noAutofit/>
          </a:bodyPr>
          <a:lstStyle>
            <a:lvl1pPr>
              <a:defRPr sz="12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s-ES" dirty="0"/>
              <a:t>Haz </a:t>
            </a:r>
            <a:r>
              <a:rPr lang="es-ES" dirty="0" err="1"/>
              <a:t>click</a:t>
            </a:r>
            <a:r>
              <a:rPr lang="es-ES" dirty="0"/>
              <a:t> para editar los estilos del texto del modelo</a:t>
            </a:r>
            <a:endParaRPr lang="pt-PT" dirty="0"/>
          </a:p>
          <a:p>
            <a:pPr lvl="1"/>
            <a:r>
              <a:rPr lang="es-ES" dirty="0"/>
              <a:t>Segundo nivel</a:t>
            </a:r>
          </a:p>
          <a:p>
            <a:pPr lvl="1"/>
            <a:r>
              <a:rPr lang="es-ES" dirty="0"/>
              <a:t>Tercer nivel</a:t>
            </a:r>
          </a:p>
          <a:p>
            <a:pPr lvl="1"/>
            <a:r>
              <a:rPr lang="es-ES" dirty="0"/>
              <a:t>Cuarto nivel</a:t>
            </a:r>
          </a:p>
          <a:p>
            <a:pPr lvl="1"/>
            <a:r>
              <a:rPr lang="es-ES" dirty="0"/>
              <a:t>Quinto nivel</a:t>
            </a:r>
            <a:endParaRPr lang="pt-PT" dirty="0"/>
          </a:p>
          <a:p>
            <a:pPr lvl="4"/>
            <a:endParaRPr lang="pt-PT" dirty="0"/>
          </a:p>
        </p:txBody>
      </p:sp>
      <p:sp>
        <p:nvSpPr>
          <p:cNvPr id="20" name="Marcador de Posição do Texto 34">
            <a:extLst>
              <a:ext uri="{FF2B5EF4-FFF2-40B4-BE49-F238E27FC236}">
                <a16:creationId xmlns:a16="http://schemas.microsoft.com/office/drawing/2014/main" id="{83F80404-4E43-5B19-76D7-110AF5D3D62A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7292975" y="3429000"/>
            <a:ext cx="4194175" cy="336550"/>
          </a:xfrm>
        </p:spPr>
        <p:txBody>
          <a:bodyPr anchor="ctr"/>
          <a:lstStyle>
            <a:lvl1pPr>
              <a:defRPr cap="all" baseline="0">
                <a:solidFill>
                  <a:schemeClr val="accent2"/>
                </a:solidFill>
                <a:latin typeface="+mj-lt"/>
              </a:defRPr>
            </a:lvl1pPr>
          </a:lstStyle>
          <a:p>
            <a:pPr lvl="0"/>
            <a:r>
              <a:rPr lang="pt-PT" dirty="0"/>
              <a:t>Insertar texto destacado</a:t>
            </a:r>
          </a:p>
        </p:txBody>
      </p:sp>
      <p:sp>
        <p:nvSpPr>
          <p:cNvPr id="21" name="Marcador de Posição do Texto 10">
            <a:extLst>
              <a:ext uri="{FF2B5EF4-FFF2-40B4-BE49-F238E27FC236}">
                <a16:creationId xmlns:a16="http://schemas.microsoft.com/office/drawing/2014/main" id="{988278E1-324F-6A6C-D165-3CED81E84DD3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292912" y="5224947"/>
            <a:ext cx="4194226" cy="807294"/>
          </a:xfrm>
        </p:spPr>
        <p:txBody>
          <a:bodyPr>
            <a:noAutofit/>
          </a:bodyPr>
          <a:lstStyle>
            <a:lvl1pPr>
              <a:defRPr sz="12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s-ES" dirty="0"/>
              <a:t>Haz </a:t>
            </a:r>
            <a:r>
              <a:rPr lang="es-ES" dirty="0" err="1"/>
              <a:t>click</a:t>
            </a:r>
            <a:r>
              <a:rPr lang="es-ES" dirty="0"/>
              <a:t> para editar los estilos del texto del modelo</a:t>
            </a:r>
            <a:endParaRPr lang="pt-PT" dirty="0"/>
          </a:p>
          <a:p>
            <a:pPr lvl="1"/>
            <a:r>
              <a:rPr lang="es-ES" dirty="0"/>
              <a:t>Segundo nivel</a:t>
            </a:r>
          </a:p>
          <a:p>
            <a:pPr lvl="1"/>
            <a:r>
              <a:rPr lang="es-ES" dirty="0"/>
              <a:t>Tercer nivel</a:t>
            </a:r>
          </a:p>
          <a:p>
            <a:pPr lvl="1"/>
            <a:r>
              <a:rPr lang="es-ES" dirty="0"/>
              <a:t>Cuarto nivel</a:t>
            </a:r>
          </a:p>
          <a:p>
            <a:pPr lvl="1"/>
            <a:r>
              <a:rPr lang="es-ES" dirty="0"/>
              <a:t>Quinto nivel</a:t>
            </a:r>
            <a:endParaRPr lang="pt-PT" dirty="0"/>
          </a:p>
          <a:p>
            <a:pPr lvl="4"/>
            <a:endParaRPr lang="pt-PT" dirty="0"/>
          </a:p>
        </p:txBody>
      </p:sp>
      <p:sp>
        <p:nvSpPr>
          <p:cNvPr id="22" name="Marcador de Posição do Texto 34">
            <a:extLst>
              <a:ext uri="{FF2B5EF4-FFF2-40B4-BE49-F238E27FC236}">
                <a16:creationId xmlns:a16="http://schemas.microsoft.com/office/drawing/2014/main" id="{90078BBD-5BB2-BF87-8317-7B1672094863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7292975" y="4860666"/>
            <a:ext cx="4194175" cy="336550"/>
          </a:xfrm>
        </p:spPr>
        <p:txBody>
          <a:bodyPr anchor="ctr"/>
          <a:lstStyle>
            <a:lvl1pPr>
              <a:defRPr cap="all" baseline="0">
                <a:solidFill>
                  <a:schemeClr val="accent2"/>
                </a:solidFill>
                <a:latin typeface="+mj-lt"/>
              </a:defRPr>
            </a:lvl1pPr>
          </a:lstStyle>
          <a:p>
            <a:pPr lvl="0"/>
            <a:r>
              <a:rPr lang="pt-PT" dirty="0"/>
              <a:t>Insertar texto destacado</a:t>
            </a:r>
          </a:p>
        </p:txBody>
      </p:sp>
      <p:pic>
        <p:nvPicPr>
          <p:cNvPr id="3" name="Imagem 2">
            <a:extLst>
              <a:ext uri="{FF2B5EF4-FFF2-40B4-BE49-F238E27FC236}">
                <a16:creationId xmlns:a16="http://schemas.microsoft.com/office/drawing/2014/main" id="{F7B89235-E766-56E6-B96D-15AC3CA8EEFB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 l="17054" t="63816" r="64665" b="6058"/>
          <a:stretch>
            <a:fillRect/>
          </a:stretch>
        </p:blipFill>
        <p:spPr>
          <a:xfrm flipH="1" flipV="1">
            <a:off x="0" y="2406650"/>
            <a:ext cx="2702860" cy="4451350"/>
          </a:xfrm>
          <a:prstGeom prst="rect">
            <a:avLst/>
          </a:prstGeom>
        </p:spPr>
      </p:pic>
      <p:sp>
        <p:nvSpPr>
          <p:cNvPr id="23" name="Título 6">
            <a:extLst>
              <a:ext uri="{FF2B5EF4-FFF2-40B4-BE49-F238E27FC236}">
                <a16:creationId xmlns:a16="http://schemas.microsoft.com/office/drawing/2014/main" id="{067D3455-22C2-456A-86EB-5E3F0D7FA80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3184" y="550508"/>
            <a:ext cx="11165632" cy="712204"/>
          </a:xfrm>
        </p:spPr>
        <p:txBody>
          <a:bodyPr>
            <a:normAutofit/>
          </a:bodyPr>
          <a:lstStyle>
            <a:lvl1pPr>
              <a:defRPr sz="3200"/>
            </a:lvl1pPr>
          </a:lstStyle>
          <a:p>
            <a:r>
              <a:rPr lang="pt-PT" dirty="0"/>
              <a:t>Insertar título de la slide</a:t>
            </a:r>
          </a:p>
        </p:txBody>
      </p:sp>
      <p:sp>
        <p:nvSpPr>
          <p:cNvPr id="24" name="Marcador de Posição do Texto 8">
            <a:extLst>
              <a:ext uri="{FF2B5EF4-FFF2-40B4-BE49-F238E27FC236}">
                <a16:creationId xmlns:a16="http://schemas.microsoft.com/office/drawing/2014/main" id="{2BFE2741-3FD8-4480-BC8D-C48541744B4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12763" y="1156317"/>
            <a:ext cx="11166475" cy="355243"/>
          </a:xfrm>
        </p:spPr>
        <p:txBody>
          <a:bodyPr>
            <a:normAutofit/>
          </a:bodyPr>
          <a:lstStyle>
            <a:lvl1pPr>
              <a:defRPr sz="200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pt-PT" dirty="0"/>
              <a:t>Insertar subtítulo de la slide</a:t>
            </a:r>
          </a:p>
        </p:txBody>
      </p:sp>
      <p:sp>
        <p:nvSpPr>
          <p:cNvPr id="25" name="Marcador de Posição do Rodapé 4">
            <a:extLst>
              <a:ext uri="{FF2B5EF4-FFF2-40B4-BE49-F238E27FC236}">
                <a16:creationId xmlns:a16="http://schemas.microsoft.com/office/drawing/2014/main" id="{FEE75290-5313-417C-8925-E3534053936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12762" y="6356350"/>
            <a:ext cx="534669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accent2"/>
                </a:solidFill>
              </a:defRPr>
            </a:lvl1pPr>
          </a:lstStyle>
          <a:p>
            <a:r>
              <a:rPr lang="pt-PT"/>
              <a:t>Título de la presentación</a:t>
            </a:r>
            <a:endParaRPr lang="pt-PT" dirty="0"/>
          </a:p>
        </p:txBody>
      </p:sp>
      <p:sp>
        <p:nvSpPr>
          <p:cNvPr id="26" name="Marcador de Posição do Número do Diapositivo 5">
            <a:extLst>
              <a:ext uri="{FF2B5EF4-FFF2-40B4-BE49-F238E27FC236}">
                <a16:creationId xmlns:a16="http://schemas.microsoft.com/office/drawing/2014/main" id="{45BA9505-D652-4E91-9AE9-24B6960FD84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936039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accent2"/>
                </a:solidFill>
              </a:defRPr>
            </a:lvl1pPr>
          </a:lstStyle>
          <a:p>
            <a:fld id="{24A347C2-D68E-473A-8C76-1D063E4EB6E0}" type="slidenum">
              <a:rPr lang="es-ES" smtClean="0"/>
              <a:pPr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50727026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5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25E-6 0.03889 L 1.25E-6 1.85185E-6 " pathEditMode="relative" rAng="0" ptsTypes="AA">
                                      <p:cBhvr>
                                        <p:cTn id="9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944"/>
                                    </p:animMotion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25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25E-6 0.03889 L 1.25E-6 1.85185E-6 " pathEditMode="relative" rAng="0" ptsTypes="AA">
                                      <p:cBhvr>
                                        <p:cTn id="14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944"/>
                                    </p:animMotion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25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25E-6 0.03889 L 1.25E-6 1.85185E-6 " pathEditMode="relative" rAng="0" ptsTypes="AA">
                                      <p:cBhvr>
                                        <p:cTn id="19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944"/>
                                    </p:animMotion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25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25E-6 0.03889 L 1.25E-6 1.85185E-6 " pathEditMode="relative" rAng="0" ptsTypes="AA">
                                      <p:cBhvr>
                                        <p:cTn id="24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944"/>
                                    </p:animMotion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25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25E-6 0.03889 L 1.25E-6 1.85185E-6 " pathEditMode="relative" rAng="0" ptsTypes="AA">
                                      <p:cBhvr>
                                        <p:cTn id="29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944"/>
                                    </p:animMotion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25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25E-6 0.03889 L 1.25E-6 1.85185E-6 " pathEditMode="relative" rAng="0" ptsTypes="AA">
                                      <p:cBhvr>
                                        <p:cTn id="34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944"/>
                                    </p:animMotion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25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25E-6 0.03889 L 1.25E-6 1.85185E-6 " pathEditMode="relative" rAng="0" ptsTypes="AA">
                                      <p:cBhvr>
                                        <p:cTn id="39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944"/>
                                    </p:animMotion>
                                  </p:childTnLst>
                                </p:cTn>
                              </p:par>
                              <p:par>
                                <p:cTn id="4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25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25E-6 0.03889 L 1.25E-6 1.85185E-6 " pathEditMode="relative" rAng="0" ptsTypes="AA">
                                      <p:cBhvr>
                                        <p:cTn id="44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944"/>
                                    </p:animMotion>
                                  </p:childTnLst>
                                </p:cTn>
                              </p:par>
                              <p:par>
                                <p:cTn id="4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25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25E-6 0.03889 L 1.25E-6 1.85185E-6 " pathEditMode="relative" rAng="0" ptsTypes="AA">
                                      <p:cBhvr>
                                        <p:cTn id="49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944"/>
                                    </p:animMotion>
                                  </p:childTnLst>
                                </p:cTn>
                              </p:par>
                              <p:par>
                                <p:cTn id="5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25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25E-6 0.03889 L 1.25E-6 1.85185E-6 " pathEditMode="relative" rAng="0" ptsTypes="AA">
                                      <p:cBhvr>
                                        <p:cTn id="54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944"/>
                                    </p:animMotion>
                                  </p:childTnLst>
                                </p:cTn>
                              </p:par>
                              <p:par>
                                <p:cTn id="5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25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8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25E-6 0.03889 L 1.25E-6 1.85185E-6 " pathEditMode="relative" rAng="0" ptsTypes="AA">
                                      <p:cBhvr>
                                        <p:cTn id="59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944"/>
                                    </p:animMotion>
                                  </p:childTnLst>
                                </p:cTn>
                              </p:par>
                              <p:par>
                                <p:cTn id="6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2" dur="25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3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25E-6 0.03889 L 1.25E-6 1.85185E-6 " pathEditMode="relative" rAng="0" ptsTypes="AA">
                                      <p:cBhvr>
                                        <p:cTn id="64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944"/>
                                    </p:animMotion>
                                  </p:childTnLst>
                                </p:cTn>
                              </p:par>
                              <p:par>
                                <p:cTn id="6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7" dur="25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8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25E-6 0.03889 L 1.25E-6 1.85185E-6 " pathEditMode="relative" rAng="0" ptsTypes="AA">
                                      <p:cBhvr>
                                        <p:cTn id="69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944"/>
                                    </p:animMotion>
                                  </p:childTnLst>
                                </p:cTn>
                              </p:par>
                              <p:par>
                                <p:cTn id="7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2" dur="25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3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25E-6 0.03889 L 1.25E-6 1.85185E-6 " pathEditMode="relative" rAng="0" ptsTypes="AA">
                                      <p:cBhvr>
                                        <p:cTn id="74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944"/>
                                    </p:animMotion>
                                  </p:childTnLst>
                                </p:cTn>
                              </p:par>
                              <p:par>
                                <p:cTn id="75" presetID="10" presetClass="entr" presetSubtype="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0" dur="25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1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1719 -0.00023 L -1.25E-6 1.85185E-6 " pathEditMode="relative" rAng="0" ptsTypes="AA">
                                      <p:cBhvr>
                                        <p:cTn id="82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859" y="0"/>
                                    </p:animMotion>
                                  </p:childTnLst>
                                </p:cTn>
                              </p:par>
                              <p:par>
                                <p:cTn id="8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5" dur="25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6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25E-6 0.03889 L 1.25E-6 1.85185E-6 " pathEditMode="relative" rAng="0" ptsTypes="AA">
                                      <p:cBhvr>
                                        <p:cTn id="87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944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  <p:bldP spid="9" grpId="1" animBg="1"/>
      <p:bldP spid="10" grpId="0" animBg="1"/>
      <p:bldP spid="10" grpId="1" animBg="1"/>
      <p:bldP spid="11" grpId="0">
        <p:tmplLst>
          <p:tmpl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250"/>
                        <p:tgtEl>
                          <p:spTgt spid="1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1" grpId="1"/>
      <p:bldP spid="12" grpId="0">
        <p:tmplLst>
          <p:tmpl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250"/>
                        <p:tgtEl>
                          <p:spTgt spid="1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2" grpId="1"/>
      <p:bldP spid="13" grpId="0">
        <p:tmplLst>
          <p:tmpl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250"/>
                        <p:tgtEl>
                          <p:spTgt spid="1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3" grpId="1"/>
      <p:bldP spid="14" grpId="0">
        <p:tmplLst>
          <p:tmpl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250"/>
                        <p:tgtEl>
                          <p:spTgt spid="1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4" grpId="1"/>
      <p:bldP spid="15" grpId="0">
        <p:tmplLst>
          <p:tmpl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250"/>
                        <p:tgtEl>
                          <p:spTgt spid="1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5" grpId="1"/>
      <p:bldP spid="16" grpId="0">
        <p:tmplLst>
          <p:tmpl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250"/>
                        <p:tgtEl>
                          <p:spTgt spid="1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6" grpId="1"/>
      <p:bldP spid="17" grpId="0">
        <p:tmplLst>
          <p:tmpl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250"/>
                        <p:tgtEl>
                          <p:spTgt spid="1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7" grpId="1"/>
      <p:bldP spid="18" grpId="0">
        <p:tmplLst>
          <p:tmpl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250"/>
                        <p:tgtEl>
                          <p:spTgt spid="1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8" grpId="1"/>
      <p:bldP spid="19" grpId="0">
        <p:tmplLst>
          <p:tmpl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250"/>
                        <p:tgtEl>
                          <p:spTgt spid="1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9" grpId="1"/>
      <p:bldP spid="20" grpId="0">
        <p:tmplLst>
          <p:tmpl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250"/>
                        <p:tgtEl>
                          <p:spTgt spid="2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0" grpId="1"/>
      <p:bldP spid="21" grpId="0">
        <p:tmplLst>
          <p:tmpl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250"/>
                        <p:tgtEl>
                          <p:spTgt spid="2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1" grpId="1"/>
      <p:bldP spid="22" grpId="0">
        <p:tmplLst>
          <p:tmpl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250"/>
                        <p:tgtEl>
                          <p:spTgt spid="2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2" grpId="1"/>
      <p:bldP spid="23" grpId="0"/>
      <p:bldP spid="23" grpId="1"/>
      <p:bldP spid="24" grpId="0">
        <p:tmplLst>
          <p:tmpl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250"/>
                        <p:tgtEl>
                          <p:spTgt spid="2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4" grpId="1"/>
    </p:bld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Esquema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tângulo 5">
            <a:extLst>
              <a:ext uri="{FF2B5EF4-FFF2-40B4-BE49-F238E27FC236}">
                <a16:creationId xmlns:a16="http://schemas.microsoft.com/office/drawing/2014/main" id="{A7199376-6DED-40E4-9606-098A98226FBC}"/>
              </a:ext>
            </a:extLst>
          </p:cNvPr>
          <p:cNvSpPr/>
          <p:nvPr userDrawn="1"/>
        </p:nvSpPr>
        <p:spPr>
          <a:xfrm>
            <a:off x="0" y="4533900"/>
            <a:ext cx="12192000" cy="2324100"/>
          </a:xfrm>
          <a:prstGeom prst="rect">
            <a:avLst/>
          </a:prstGeom>
          <a:solidFill>
            <a:srgbClr val="184BF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dirty="0"/>
          </a:p>
        </p:txBody>
      </p:sp>
      <p:sp>
        <p:nvSpPr>
          <p:cNvPr id="9" name="Marcador de Posição do Texto 10">
            <a:extLst>
              <a:ext uri="{FF2B5EF4-FFF2-40B4-BE49-F238E27FC236}">
                <a16:creationId xmlns:a16="http://schemas.microsoft.com/office/drawing/2014/main" id="{79283155-F2FD-2853-9235-FD37140198B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349312" y="5147028"/>
            <a:ext cx="4194226" cy="1160463"/>
          </a:xfrm>
        </p:spPr>
        <p:txBody>
          <a:bodyPr>
            <a:noAutofit/>
          </a:bodyPr>
          <a:lstStyle>
            <a:lvl1pPr>
              <a:defRPr sz="1200">
                <a:solidFill>
                  <a:schemeClr val="bg1"/>
                </a:solidFill>
              </a:defRPr>
            </a:lvl1pPr>
            <a:lvl2pPr>
              <a:defRPr sz="1100">
                <a:solidFill>
                  <a:schemeClr val="bg1"/>
                </a:solidFill>
              </a:defRPr>
            </a:lvl2pPr>
            <a:lvl3pPr>
              <a:defRPr sz="1100">
                <a:solidFill>
                  <a:schemeClr val="bg1"/>
                </a:solidFill>
              </a:defRPr>
            </a:lvl3pPr>
            <a:lvl4pPr>
              <a:defRPr sz="1100">
                <a:solidFill>
                  <a:schemeClr val="bg1"/>
                </a:solidFill>
              </a:defRPr>
            </a:lvl4pPr>
            <a:lvl5pPr>
              <a:defRPr sz="1100">
                <a:solidFill>
                  <a:schemeClr val="bg1"/>
                </a:solidFill>
              </a:defRPr>
            </a:lvl5pPr>
          </a:lstStyle>
          <a:p>
            <a:pPr lvl="0"/>
            <a:r>
              <a:rPr lang="es-ES" dirty="0"/>
              <a:t>Haz </a:t>
            </a:r>
            <a:r>
              <a:rPr lang="es-ES" dirty="0" err="1"/>
              <a:t>click</a:t>
            </a:r>
            <a:r>
              <a:rPr lang="es-ES" dirty="0"/>
              <a:t> para editar los estilos del texto del modelo</a:t>
            </a:r>
            <a:endParaRPr lang="pt-PT" dirty="0"/>
          </a:p>
          <a:p>
            <a:pPr lvl="1"/>
            <a:r>
              <a:rPr lang="es-ES" dirty="0"/>
              <a:t>Segundo nivel</a:t>
            </a:r>
          </a:p>
          <a:p>
            <a:pPr lvl="1"/>
            <a:r>
              <a:rPr lang="es-ES" dirty="0"/>
              <a:t>Tercer nivel</a:t>
            </a:r>
          </a:p>
          <a:p>
            <a:pPr lvl="1"/>
            <a:r>
              <a:rPr lang="es-ES" dirty="0"/>
              <a:t>Cuarto nivel</a:t>
            </a:r>
          </a:p>
          <a:p>
            <a:pPr lvl="1"/>
            <a:r>
              <a:rPr lang="es-ES" dirty="0"/>
              <a:t>Quinto nivel</a:t>
            </a:r>
            <a:endParaRPr lang="pt-PT" dirty="0"/>
          </a:p>
        </p:txBody>
      </p:sp>
      <p:sp>
        <p:nvSpPr>
          <p:cNvPr id="10" name="Marcador de Posição do Texto 34">
            <a:extLst>
              <a:ext uri="{FF2B5EF4-FFF2-40B4-BE49-F238E27FC236}">
                <a16:creationId xmlns:a16="http://schemas.microsoft.com/office/drawing/2014/main" id="{63B90692-A8E0-9B5E-B755-753A201C374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349375" y="4782748"/>
            <a:ext cx="4194175" cy="336550"/>
          </a:xfrm>
        </p:spPr>
        <p:txBody>
          <a:bodyPr anchor="ctr"/>
          <a:lstStyle>
            <a:lvl1pPr>
              <a:defRPr cap="all" baseline="0">
                <a:solidFill>
                  <a:srgbClr val="F7F7F7"/>
                </a:solidFill>
                <a:latin typeface="+mj-lt"/>
              </a:defRPr>
            </a:lvl1pPr>
          </a:lstStyle>
          <a:p>
            <a:pPr lvl="0"/>
            <a:r>
              <a:rPr lang="pt-PT" dirty="0"/>
              <a:t>InserTAR texto destacado</a:t>
            </a:r>
          </a:p>
        </p:txBody>
      </p:sp>
      <p:sp>
        <p:nvSpPr>
          <p:cNvPr id="11" name="Marcador de Posição do Texto 10">
            <a:extLst>
              <a:ext uri="{FF2B5EF4-FFF2-40B4-BE49-F238E27FC236}">
                <a16:creationId xmlns:a16="http://schemas.microsoft.com/office/drawing/2014/main" id="{33B705EE-B0D7-0848-6987-6DC03EA09F3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105587" y="5147028"/>
            <a:ext cx="4194226" cy="1160463"/>
          </a:xfrm>
        </p:spPr>
        <p:txBody>
          <a:bodyPr>
            <a:noAutofit/>
          </a:bodyPr>
          <a:lstStyle>
            <a:lvl1pPr>
              <a:defRPr sz="1200">
                <a:solidFill>
                  <a:schemeClr val="bg1"/>
                </a:solidFill>
              </a:defRPr>
            </a:lvl1pPr>
            <a:lvl2pPr>
              <a:defRPr sz="1100">
                <a:solidFill>
                  <a:schemeClr val="bg1"/>
                </a:solidFill>
              </a:defRPr>
            </a:lvl2pPr>
            <a:lvl3pPr>
              <a:defRPr sz="1100">
                <a:solidFill>
                  <a:schemeClr val="bg1"/>
                </a:solidFill>
              </a:defRPr>
            </a:lvl3pPr>
            <a:lvl4pPr>
              <a:defRPr sz="1100">
                <a:solidFill>
                  <a:schemeClr val="bg1"/>
                </a:solidFill>
              </a:defRPr>
            </a:lvl4pPr>
            <a:lvl5pPr>
              <a:defRPr sz="1100">
                <a:solidFill>
                  <a:schemeClr val="bg1"/>
                </a:solidFill>
              </a:defRPr>
            </a:lvl5pPr>
          </a:lstStyle>
          <a:p>
            <a:pPr lvl="0"/>
            <a:r>
              <a:rPr lang="es-ES" dirty="0"/>
              <a:t>Haz </a:t>
            </a:r>
            <a:r>
              <a:rPr lang="es-ES" dirty="0" err="1"/>
              <a:t>click</a:t>
            </a:r>
            <a:r>
              <a:rPr lang="es-ES" dirty="0"/>
              <a:t> para editar los estilos del texto del modelo </a:t>
            </a:r>
            <a:endParaRPr lang="pt-PT" dirty="0"/>
          </a:p>
          <a:p>
            <a:pPr lvl="1"/>
            <a:r>
              <a:rPr lang="es-ES" dirty="0"/>
              <a:t>Segundo nivel</a:t>
            </a:r>
          </a:p>
          <a:p>
            <a:pPr lvl="1"/>
            <a:r>
              <a:rPr lang="es-ES" dirty="0"/>
              <a:t>Tercer nivel</a:t>
            </a:r>
          </a:p>
          <a:p>
            <a:pPr lvl="1"/>
            <a:r>
              <a:rPr lang="es-ES" dirty="0"/>
              <a:t>Cuarto nivel</a:t>
            </a:r>
          </a:p>
          <a:p>
            <a:pPr lvl="1"/>
            <a:r>
              <a:rPr lang="es-ES" dirty="0"/>
              <a:t>Quinto nivel</a:t>
            </a:r>
            <a:endParaRPr lang="pt-PT" dirty="0"/>
          </a:p>
        </p:txBody>
      </p:sp>
      <p:sp>
        <p:nvSpPr>
          <p:cNvPr id="12" name="Marcador de Posição do Texto 34">
            <a:extLst>
              <a:ext uri="{FF2B5EF4-FFF2-40B4-BE49-F238E27FC236}">
                <a16:creationId xmlns:a16="http://schemas.microsoft.com/office/drawing/2014/main" id="{A783A7C1-519F-3C69-2184-995F231F363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105650" y="4782748"/>
            <a:ext cx="4194175" cy="336550"/>
          </a:xfrm>
        </p:spPr>
        <p:txBody>
          <a:bodyPr anchor="ctr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cap="all" baseline="0">
                <a:solidFill>
                  <a:srgbClr val="F7F7F7"/>
                </a:solidFill>
                <a:latin typeface="+mj-lt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dirty="0"/>
              <a:t>InserTAR texto destacado</a:t>
            </a:r>
          </a:p>
        </p:txBody>
      </p:sp>
      <p:sp>
        <p:nvSpPr>
          <p:cNvPr id="13" name="Marcador de Posição do Gráfico 2">
            <a:extLst>
              <a:ext uri="{FF2B5EF4-FFF2-40B4-BE49-F238E27FC236}">
                <a16:creationId xmlns:a16="http://schemas.microsoft.com/office/drawing/2014/main" id="{212F1933-3DFE-D992-1A31-63F55FDF442F}"/>
              </a:ext>
            </a:extLst>
          </p:cNvPr>
          <p:cNvSpPr>
            <a:spLocks noGrp="1"/>
          </p:cNvSpPr>
          <p:nvPr>
            <p:ph type="chart" sz="quarter" idx="12"/>
          </p:nvPr>
        </p:nvSpPr>
        <p:spPr>
          <a:xfrm>
            <a:off x="696914" y="1741488"/>
            <a:ext cx="5149774" cy="2678112"/>
          </a:xfrm>
        </p:spPr>
        <p:txBody>
          <a:bodyPr/>
          <a:lstStyle/>
          <a:p>
            <a:endParaRPr lang="pt-PT"/>
          </a:p>
        </p:txBody>
      </p:sp>
      <p:sp>
        <p:nvSpPr>
          <p:cNvPr id="14" name="Marcador de Posição do Gráfico 2">
            <a:extLst>
              <a:ext uri="{FF2B5EF4-FFF2-40B4-BE49-F238E27FC236}">
                <a16:creationId xmlns:a16="http://schemas.microsoft.com/office/drawing/2014/main" id="{FEA7A669-EAAD-EE02-7C00-19B7599CCE99}"/>
              </a:ext>
            </a:extLst>
          </p:cNvPr>
          <p:cNvSpPr>
            <a:spLocks noGrp="1"/>
          </p:cNvSpPr>
          <p:nvPr>
            <p:ph type="chart" sz="quarter" idx="18"/>
          </p:nvPr>
        </p:nvSpPr>
        <p:spPr>
          <a:xfrm>
            <a:off x="6345314" y="1741488"/>
            <a:ext cx="5149774" cy="2678112"/>
          </a:xfrm>
        </p:spPr>
        <p:txBody>
          <a:bodyPr/>
          <a:lstStyle/>
          <a:p>
            <a:endParaRPr lang="pt-PT"/>
          </a:p>
        </p:txBody>
      </p:sp>
      <p:pic>
        <p:nvPicPr>
          <p:cNvPr id="2" name="Imagem 1">
            <a:extLst>
              <a:ext uri="{FF2B5EF4-FFF2-40B4-BE49-F238E27FC236}">
                <a16:creationId xmlns:a16="http://schemas.microsoft.com/office/drawing/2014/main" id="{CC793DD6-1F56-CB20-CBAA-1585D1D11BD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 l="17318" t="60814" r="14165" b="11057"/>
          <a:stretch>
            <a:fillRect/>
          </a:stretch>
        </p:blipFill>
        <p:spPr>
          <a:xfrm>
            <a:off x="6178699" y="-42423"/>
            <a:ext cx="5318830" cy="2183575"/>
          </a:xfrm>
          <a:prstGeom prst="rect">
            <a:avLst/>
          </a:prstGeom>
        </p:spPr>
      </p:pic>
      <p:sp>
        <p:nvSpPr>
          <p:cNvPr id="15" name="Título 6">
            <a:extLst>
              <a:ext uri="{FF2B5EF4-FFF2-40B4-BE49-F238E27FC236}">
                <a16:creationId xmlns:a16="http://schemas.microsoft.com/office/drawing/2014/main" id="{DEE5E72B-87FA-43E5-A6BA-718A0FA2B5A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3184" y="550508"/>
            <a:ext cx="11165632" cy="712204"/>
          </a:xfrm>
        </p:spPr>
        <p:txBody>
          <a:bodyPr>
            <a:normAutofit/>
          </a:bodyPr>
          <a:lstStyle>
            <a:lvl1pPr>
              <a:defRPr sz="3200"/>
            </a:lvl1pPr>
          </a:lstStyle>
          <a:p>
            <a:r>
              <a:rPr lang="pt-PT" dirty="0"/>
              <a:t>Insertar título de la slide</a:t>
            </a:r>
          </a:p>
        </p:txBody>
      </p:sp>
      <p:sp>
        <p:nvSpPr>
          <p:cNvPr id="16" name="Marcador de Posição do Texto 8">
            <a:extLst>
              <a:ext uri="{FF2B5EF4-FFF2-40B4-BE49-F238E27FC236}">
                <a16:creationId xmlns:a16="http://schemas.microsoft.com/office/drawing/2014/main" id="{72EBAF4C-690A-4653-8FAB-3AF4B532357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12763" y="1156317"/>
            <a:ext cx="11166475" cy="355243"/>
          </a:xfrm>
        </p:spPr>
        <p:txBody>
          <a:bodyPr>
            <a:normAutofit/>
          </a:bodyPr>
          <a:lstStyle>
            <a:lvl1pPr>
              <a:defRPr sz="200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pt-PT" dirty="0"/>
              <a:t>Insertar subtítulo de la slide</a:t>
            </a:r>
          </a:p>
        </p:txBody>
      </p:sp>
      <p:sp>
        <p:nvSpPr>
          <p:cNvPr id="17" name="Marcador de Posição do Rodapé 4">
            <a:extLst>
              <a:ext uri="{FF2B5EF4-FFF2-40B4-BE49-F238E27FC236}">
                <a16:creationId xmlns:a16="http://schemas.microsoft.com/office/drawing/2014/main" id="{31745783-4997-40B9-8E49-D8D5244E732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12762" y="6356350"/>
            <a:ext cx="534669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bg1"/>
                </a:solidFill>
              </a:defRPr>
            </a:lvl1pPr>
          </a:lstStyle>
          <a:p>
            <a:r>
              <a:rPr lang="pt-PT"/>
              <a:t>Título de la presentación</a:t>
            </a:r>
            <a:endParaRPr lang="pt-PT" dirty="0"/>
          </a:p>
        </p:txBody>
      </p:sp>
      <p:sp>
        <p:nvSpPr>
          <p:cNvPr id="18" name="Marcador de Posição do Número do Diapositivo 5">
            <a:extLst>
              <a:ext uri="{FF2B5EF4-FFF2-40B4-BE49-F238E27FC236}">
                <a16:creationId xmlns:a16="http://schemas.microsoft.com/office/drawing/2014/main" id="{9900FC65-B677-4A45-B506-A0C4A72C9D2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936039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bg1"/>
                </a:solidFill>
              </a:defRPr>
            </a:lvl1pPr>
          </a:lstStyle>
          <a:p>
            <a:fld id="{24A347C2-D68E-473A-8C76-1D063E4EB6E0}" type="slidenum">
              <a:rPr lang="es-ES" smtClean="0"/>
              <a:pPr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406110495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5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8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25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42" presetClass="path" presetSubtype="0" decel="100000" fill="hold" grpId="1" nodeType="withEffect">
                                  <p:stCondLst>
                                    <p:cond delay="500"/>
                                  </p:stCondLst>
                                  <p:childTnLst>
                                    <p:animMotion origin="layout" path="M 1.25E-6 0.03889 L 1.25E-6 1.85185E-6 " pathEditMode="relative" rAng="0" ptsTypes="AA">
                                      <p:cBhvr>
                                        <p:cTn id="15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944"/>
                                    </p:animMotion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25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42" presetClass="path" presetSubtype="0" decel="100000" fill="hold" grpId="1" nodeType="withEffect">
                                  <p:stCondLst>
                                    <p:cond delay="500"/>
                                  </p:stCondLst>
                                  <p:childTnLst>
                                    <p:animMotion origin="layout" path="M 1.25E-6 0.03889 L 1.25E-6 1.85185E-6 " pathEditMode="relative" rAng="0" ptsTypes="AA">
                                      <p:cBhvr>
                                        <p:cTn id="20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944"/>
                                    </p:animMotion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25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42" presetClass="path" presetSubtype="0" decel="100000" fill="hold" grpId="1" nodeType="withEffect">
                                  <p:stCondLst>
                                    <p:cond delay="500"/>
                                  </p:stCondLst>
                                  <p:childTnLst>
                                    <p:animMotion origin="layout" path="M 1.25E-6 0.03889 L 1.25E-6 1.85185E-6 " pathEditMode="relative" rAng="0" ptsTypes="AA">
                                      <p:cBhvr>
                                        <p:cTn id="25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944"/>
                                    </p:animMotion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25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42" presetClass="path" presetSubtype="0" decel="100000" fill="hold" grpId="1" nodeType="withEffect">
                                  <p:stCondLst>
                                    <p:cond delay="500"/>
                                  </p:stCondLst>
                                  <p:childTnLst>
                                    <p:animMotion origin="layout" path="M 1.25E-6 0.03889 L 1.25E-6 1.85185E-6 " pathEditMode="relative" rAng="0" ptsTypes="AA">
                                      <p:cBhvr>
                                        <p:cTn id="30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944"/>
                                    </p:animMotion>
                                  </p:childTnLst>
                                </p:cTn>
                              </p:par>
                              <p:par>
                                <p:cTn id="3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25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1719 -0.00023 L -1.25E-6 1.85185E-6 " pathEditMode="relative" rAng="0" ptsTypes="AA">
                                      <p:cBhvr>
                                        <p:cTn id="35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859" y="0"/>
                                    </p:animMotion>
                                  </p:childTnLst>
                                </p:cTn>
                              </p:par>
                              <p:par>
                                <p:cTn id="3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25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25E-6 0.03889 L 1.25E-6 1.85185E-6 " pathEditMode="relative" rAng="0" ptsTypes="AA">
                                      <p:cBhvr>
                                        <p:cTn id="40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944"/>
                                    </p:animMotion>
                                  </p:childTnLst>
                                </p:cTn>
                              </p:par>
                              <p:par>
                                <p:cTn id="41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3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4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 animBg="1"/>
      <p:bldP spid="9" grpId="0">
        <p:tmplLst>
          <p:tmpl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250"/>
                        <p:tgtEl>
                          <p:spTgt spid="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9" grpId="1">
        <p:tmplLst>
          <p:tmpl>
            <p:tnLst>
              <p:par>
                <p:cTn presetID="42" presetClass="path" presetSubtype="0" decel="100000" fill="hold" nodeType="withEffect">
                  <p:stCondLst>
                    <p:cond delay="500"/>
                  </p:stCondLst>
                  <p:childTnLst>
                    <p:animMotion origin="layout" path="M 1.25E-6 0.03889 L 1.25E-6 1.85185E-6 " pathEditMode="relative" rAng="0" ptsTypes="AA">
                      <p:cBhvr>
                        <p:cTn dur="500" fill="hold"/>
                        <p:tgtEl>
                          <p:spTgt spid="9"/>
                        </p:tgtEl>
                        <p:attrNameLst>
                          <p:attrName>ppt_x</p:attrName>
                          <p:attrName>ppt_y</p:attrName>
                        </p:attrNameLst>
                      </p:cBhvr>
                      <p:rCtr x="0" y="-1944"/>
                    </p:animMotion>
                  </p:childTnLst>
                </p:cTn>
              </p:par>
            </p:tnLst>
          </p:tmpl>
        </p:tmplLst>
      </p:bldP>
      <p:bldP spid="10" grpId="0">
        <p:tmplLst>
          <p:tmpl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250"/>
                        <p:tgtEl>
                          <p:spTgt spid="1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0" grpId="1">
        <p:tmplLst>
          <p:tmpl>
            <p:tnLst>
              <p:par>
                <p:cTn presetID="42" presetClass="path" presetSubtype="0" decel="100000" fill="hold" nodeType="withEffect">
                  <p:stCondLst>
                    <p:cond delay="500"/>
                  </p:stCondLst>
                  <p:childTnLst>
                    <p:animMotion origin="layout" path="M 1.25E-6 0.03889 L 1.25E-6 1.85185E-6 " pathEditMode="relative" rAng="0" ptsTypes="AA">
                      <p:cBhvr>
                        <p:cTn dur="500" fill="hold"/>
                        <p:tgtEl>
                          <p:spTgt spid="10"/>
                        </p:tgtEl>
                        <p:attrNameLst>
                          <p:attrName>ppt_x</p:attrName>
                          <p:attrName>ppt_y</p:attrName>
                        </p:attrNameLst>
                      </p:cBhvr>
                      <p:rCtr x="0" y="-1944"/>
                    </p:animMotion>
                  </p:childTnLst>
                </p:cTn>
              </p:par>
            </p:tnLst>
          </p:tmpl>
        </p:tmplLst>
      </p:bldP>
      <p:bldP spid="11" grpId="0">
        <p:tmplLst>
          <p:tmpl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250"/>
                        <p:tgtEl>
                          <p:spTgt spid="1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1" grpId="1">
        <p:tmplLst>
          <p:tmpl>
            <p:tnLst>
              <p:par>
                <p:cTn presetID="42" presetClass="path" presetSubtype="0" decel="100000" fill="hold" nodeType="withEffect">
                  <p:stCondLst>
                    <p:cond delay="500"/>
                  </p:stCondLst>
                  <p:childTnLst>
                    <p:animMotion origin="layout" path="M 1.25E-6 0.03889 L 1.25E-6 1.85185E-6 " pathEditMode="relative" rAng="0" ptsTypes="AA">
                      <p:cBhvr>
                        <p:cTn dur="500" fill="hold"/>
                        <p:tgtEl>
                          <p:spTgt spid="11"/>
                        </p:tgtEl>
                        <p:attrNameLst>
                          <p:attrName>ppt_x</p:attrName>
                          <p:attrName>ppt_y</p:attrName>
                        </p:attrNameLst>
                      </p:cBhvr>
                      <p:rCtr x="0" y="-1944"/>
                    </p:animMotion>
                  </p:childTnLst>
                </p:cTn>
              </p:par>
            </p:tnLst>
          </p:tmpl>
        </p:tmplLst>
      </p:bldP>
      <p:bldP spid="12" grpId="0">
        <p:tmplLst>
          <p:tmpl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250"/>
                        <p:tgtEl>
                          <p:spTgt spid="1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2" grpId="1">
        <p:tmplLst>
          <p:tmpl>
            <p:tnLst>
              <p:par>
                <p:cTn presetID="42" presetClass="path" presetSubtype="0" decel="100000" fill="hold" nodeType="withEffect">
                  <p:stCondLst>
                    <p:cond delay="500"/>
                  </p:stCondLst>
                  <p:childTnLst>
                    <p:animMotion origin="layout" path="M 1.25E-6 0.03889 L 1.25E-6 1.85185E-6 " pathEditMode="relative" rAng="0" ptsTypes="AA">
                      <p:cBhvr>
                        <p:cTn dur="500" fill="hold"/>
                        <p:tgtEl>
                          <p:spTgt spid="12"/>
                        </p:tgtEl>
                        <p:attrNameLst>
                          <p:attrName>ppt_x</p:attrName>
                          <p:attrName>ppt_y</p:attrName>
                        </p:attrNameLst>
                      </p:cBhvr>
                      <p:rCtr x="0" y="-1944"/>
                    </p:animMotion>
                  </p:childTnLst>
                </p:cTn>
              </p:par>
            </p:tnLst>
          </p:tmpl>
        </p:tmplLst>
      </p:bldP>
      <p:bldP spid="13" grpId="0"/>
      <p:bldP spid="14" grpId="0"/>
      <p:bldP spid="15" grpId="0"/>
      <p:bldP spid="15" grpId="1"/>
      <p:bldP spid="16" grpId="0">
        <p:tmplLst>
          <p:tmpl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250"/>
                        <p:tgtEl>
                          <p:spTgt spid="1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6" grpId="1"/>
    </p:bld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Esquema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m 1">
            <a:extLst>
              <a:ext uri="{FF2B5EF4-FFF2-40B4-BE49-F238E27FC236}">
                <a16:creationId xmlns:a16="http://schemas.microsoft.com/office/drawing/2014/main" id="{28A8CF42-70D9-835F-2AEB-DADC3297205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 l="17054" t="63816" r="7887" b="6058"/>
          <a:stretch>
            <a:fillRect/>
          </a:stretch>
        </p:blipFill>
        <p:spPr>
          <a:xfrm flipH="1" flipV="1">
            <a:off x="-18237" y="2406650"/>
            <a:ext cx="11097463" cy="4451350"/>
          </a:xfrm>
          <a:prstGeom prst="rect">
            <a:avLst/>
          </a:prstGeom>
        </p:spPr>
      </p:pic>
      <p:sp>
        <p:nvSpPr>
          <p:cNvPr id="8" name="Forma livre: Forma 7">
            <a:extLst>
              <a:ext uri="{FF2B5EF4-FFF2-40B4-BE49-F238E27FC236}">
                <a16:creationId xmlns:a16="http://schemas.microsoft.com/office/drawing/2014/main" id="{35AF34EF-9965-8FA9-1A41-97D8740B94D1}"/>
              </a:ext>
            </a:extLst>
          </p:cNvPr>
          <p:cNvSpPr/>
          <p:nvPr userDrawn="1"/>
        </p:nvSpPr>
        <p:spPr>
          <a:xfrm>
            <a:off x="512763" y="1800226"/>
            <a:ext cx="5326062" cy="5057774"/>
          </a:xfrm>
          <a:custGeom>
            <a:avLst/>
            <a:gdLst>
              <a:gd name="connsiteX0" fmla="*/ 2220906 w 2220906"/>
              <a:gd name="connsiteY0" fmla="*/ 0 h 524519"/>
              <a:gd name="connsiteX1" fmla="*/ 2220906 w 2220906"/>
              <a:gd name="connsiteY1" fmla="*/ 524457 h 524519"/>
              <a:gd name="connsiteX2" fmla="*/ 0 w 2220906"/>
              <a:gd name="connsiteY2" fmla="*/ 524519 h 524519"/>
              <a:gd name="connsiteX3" fmla="*/ 0 w 2220906"/>
              <a:gd name="connsiteY3" fmla="*/ 62 h 5245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220906" h="524519">
                <a:moveTo>
                  <a:pt x="2220906" y="0"/>
                </a:moveTo>
                <a:lnTo>
                  <a:pt x="2220906" y="524457"/>
                </a:lnTo>
                <a:lnTo>
                  <a:pt x="0" y="524519"/>
                </a:lnTo>
                <a:lnTo>
                  <a:pt x="0" y="62"/>
                </a:lnTo>
                <a:close/>
              </a:path>
            </a:pathLst>
          </a:custGeom>
          <a:solidFill>
            <a:schemeClr val="bg1"/>
          </a:solidFill>
          <a:ln w="4244" cap="flat">
            <a:noFill/>
            <a:prstDash val="solid"/>
            <a:miter/>
          </a:ln>
          <a:effectLst>
            <a:outerShdw blurRad="254000" algn="ctr" rotWithShape="0">
              <a:srgbClr val="132153">
                <a:alpha val="5000"/>
              </a:srgb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pt-PT">
              <a:solidFill>
                <a:schemeClr val="tx1"/>
              </a:solidFill>
            </a:endParaRPr>
          </a:p>
        </p:txBody>
      </p:sp>
      <p:sp>
        <p:nvSpPr>
          <p:cNvPr id="12" name="Forma livre: Forma 11">
            <a:extLst>
              <a:ext uri="{FF2B5EF4-FFF2-40B4-BE49-F238E27FC236}">
                <a16:creationId xmlns:a16="http://schemas.microsoft.com/office/drawing/2014/main" id="{E2BB59B8-13B5-A6FA-C15E-AA1FC2F31448}"/>
              </a:ext>
            </a:extLst>
          </p:cNvPr>
          <p:cNvSpPr/>
          <p:nvPr userDrawn="1"/>
        </p:nvSpPr>
        <p:spPr>
          <a:xfrm>
            <a:off x="6353178" y="1800226"/>
            <a:ext cx="5326062" cy="5057774"/>
          </a:xfrm>
          <a:custGeom>
            <a:avLst/>
            <a:gdLst>
              <a:gd name="connsiteX0" fmla="*/ 2220906 w 2220906"/>
              <a:gd name="connsiteY0" fmla="*/ 0 h 524519"/>
              <a:gd name="connsiteX1" fmla="*/ 2220906 w 2220906"/>
              <a:gd name="connsiteY1" fmla="*/ 524457 h 524519"/>
              <a:gd name="connsiteX2" fmla="*/ 0 w 2220906"/>
              <a:gd name="connsiteY2" fmla="*/ 524519 h 524519"/>
              <a:gd name="connsiteX3" fmla="*/ 0 w 2220906"/>
              <a:gd name="connsiteY3" fmla="*/ 62 h 5245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220906" h="524519">
                <a:moveTo>
                  <a:pt x="2220906" y="0"/>
                </a:moveTo>
                <a:lnTo>
                  <a:pt x="2220906" y="524457"/>
                </a:lnTo>
                <a:lnTo>
                  <a:pt x="0" y="524519"/>
                </a:lnTo>
                <a:lnTo>
                  <a:pt x="0" y="62"/>
                </a:lnTo>
                <a:close/>
              </a:path>
            </a:pathLst>
          </a:custGeom>
          <a:solidFill>
            <a:schemeClr val="bg1"/>
          </a:solidFill>
          <a:ln w="4244" cap="flat">
            <a:noFill/>
            <a:prstDash val="solid"/>
            <a:miter/>
          </a:ln>
          <a:effectLst>
            <a:outerShdw blurRad="254000" algn="ctr" rotWithShape="0">
              <a:srgbClr val="132153">
                <a:alpha val="5000"/>
              </a:srgb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pt-PT">
              <a:solidFill>
                <a:schemeClr val="tx1"/>
              </a:solidFill>
            </a:endParaRPr>
          </a:p>
        </p:txBody>
      </p:sp>
      <p:sp>
        <p:nvSpPr>
          <p:cNvPr id="16" name="Marcador de Posição do Texto 10">
            <a:extLst>
              <a:ext uri="{FF2B5EF4-FFF2-40B4-BE49-F238E27FC236}">
                <a16:creationId xmlns:a16="http://schemas.microsoft.com/office/drawing/2014/main" id="{E84EB520-8771-7FF1-9711-FEA5733DAC8C}"/>
              </a:ext>
            </a:extLst>
          </p:cNvPr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781050" y="5147028"/>
            <a:ext cx="4762488" cy="1160463"/>
          </a:xfrm>
        </p:spPr>
        <p:txBody>
          <a:bodyPr>
            <a:noAutofit/>
          </a:bodyPr>
          <a:lstStyle>
            <a:lvl1pPr>
              <a:defRPr sz="1200">
                <a:solidFill>
                  <a:schemeClr val="tx2"/>
                </a:solidFill>
              </a:defRPr>
            </a:lvl1pPr>
            <a:lvl2pPr>
              <a:defRPr sz="1100">
                <a:solidFill>
                  <a:schemeClr val="tx2"/>
                </a:solidFill>
              </a:defRPr>
            </a:lvl2pPr>
            <a:lvl3pPr>
              <a:defRPr sz="1100">
                <a:solidFill>
                  <a:schemeClr val="tx2"/>
                </a:solidFill>
              </a:defRPr>
            </a:lvl3pPr>
            <a:lvl4pPr>
              <a:defRPr sz="1100">
                <a:solidFill>
                  <a:schemeClr val="tx2"/>
                </a:solidFill>
              </a:defRPr>
            </a:lvl4pPr>
            <a:lvl5pPr>
              <a:defRPr sz="1100">
                <a:solidFill>
                  <a:schemeClr val="tx2"/>
                </a:solidFill>
              </a:defRPr>
            </a:lvl5pPr>
          </a:lstStyle>
          <a:p>
            <a:pPr lvl="0"/>
            <a:r>
              <a:rPr lang="es-ES" dirty="0"/>
              <a:t>Haz </a:t>
            </a:r>
            <a:r>
              <a:rPr lang="es-ES" dirty="0" err="1"/>
              <a:t>click</a:t>
            </a:r>
            <a:r>
              <a:rPr lang="es-ES" dirty="0"/>
              <a:t> para editar los estilos del texto del modelo</a:t>
            </a:r>
            <a:endParaRPr lang="pt-PT" dirty="0"/>
          </a:p>
          <a:p>
            <a:pPr lvl="1"/>
            <a:r>
              <a:rPr lang="es-ES" dirty="0"/>
              <a:t>Segundo nivel</a:t>
            </a:r>
          </a:p>
          <a:p>
            <a:pPr lvl="1"/>
            <a:r>
              <a:rPr lang="es-ES" dirty="0"/>
              <a:t>Tercer nivel</a:t>
            </a:r>
          </a:p>
          <a:p>
            <a:pPr lvl="1"/>
            <a:r>
              <a:rPr lang="es-ES" dirty="0"/>
              <a:t>Cuarto nivel</a:t>
            </a:r>
          </a:p>
          <a:p>
            <a:pPr lvl="1"/>
            <a:r>
              <a:rPr lang="es-ES" dirty="0"/>
              <a:t>Quinto nivel</a:t>
            </a:r>
            <a:endParaRPr lang="pt-PT" dirty="0"/>
          </a:p>
        </p:txBody>
      </p:sp>
      <p:sp>
        <p:nvSpPr>
          <p:cNvPr id="17" name="Marcador de Posição do Texto 10">
            <a:extLst>
              <a:ext uri="{FF2B5EF4-FFF2-40B4-BE49-F238E27FC236}">
                <a16:creationId xmlns:a16="http://schemas.microsoft.com/office/drawing/2014/main" id="{7E276408-1F9A-6CDF-C9B2-205B177A8853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6648462" y="5147028"/>
            <a:ext cx="4762488" cy="1160463"/>
          </a:xfrm>
        </p:spPr>
        <p:txBody>
          <a:bodyPr>
            <a:noAutofit/>
          </a:bodyPr>
          <a:lstStyle>
            <a:lvl1pPr>
              <a:defRPr sz="1200">
                <a:solidFill>
                  <a:schemeClr val="tx2"/>
                </a:solidFill>
              </a:defRPr>
            </a:lvl1pPr>
            <a:lvl2pPr>
              <a:defRPr sz="1100">
                <a:solidFill>
                  <a:schemeClr val="tx2"/>
                </a:solidFill>
              </a:defRPr>
            </a:lvl2pPr>
            <a:lvl3pPr>
              <a:defRPr sz="1100">
                <a:solidFill>
                  <a:schemeClr val="tx2"/>
                </a:solidFill>
              </a:defRPr>
            </a:lvl3pPr>
            <a:lvl4pPr>
              <a:defRPr sz="1100">
                <a:solidFill>
                  <a:schemeClr val="tx2"/>
                </a:solidFill>
              </a:defRPr>
            </a:lvl4pPr>
            <a:lvl5pPr>
              <a:defRPr sz="1100">
                <a:solidFill>
                  <a:schemeClr val="tx2"/>
                </a:solidFill>
              </a:defRPr>
            </a:lvl5pPr>
          </a:lstStyle>
          <a:p>
            <a:pPr lvl="0"/>
            <a:r>
              <a:rPr lang="es-ES" dirty="0"/>
              <a:t>Haz </a:t>
            </a:r>
            <a:r>
              <a:rPr lang="es-ES" dirty="0" err="1"/>
              <a:t>click</a:t>
            </a:r>
            <a:r>
              <a:rPr lang="es-ES" dirty="0"/>
              <a:t> para editar los estilos del texto del modelo</a:t>
            </a:r>
            <a:endParaRPr lang="pt-PT" dirty="0"/>
          </a:p>
          <a:p>
            <a:pPr lvl="1"/>
            <a:r>
              <a:rPr lang="es-ES" dirty="0"/>
              <a:t>Segundo nivel</a:t>
            </a:r>
          </a:p>
          <a:p>
            <a:pPr lvl="1"/>
            <a:r>
              <a:rPr lang="es-ES" dirty="0"/>
              <a:t>Tercer nivel</a:t>
            </a:r>
          </a:p>
          <a:p>
            <a:pPr lvl="1"/>
            <a:r>
              <a:rPr lang="es-ES" dirty="0"/>
              <a:t>Cuarto nivel</a:t>
            </a:r>
          </a:p>
          <a:p>
            <a:pPr lvl="1"/>
            <a:r>
              <a:rPr lang="es-ES" dirty="0"/>
              <a:t>Quinto nivel</a:t>
            </a:r>
            <a:endParaRPr lang="pt-PT" dirty="0"/>
          </a:p>
        </p:txBody>
      </p:sp>
      <p:sp>
        <p:nvSpPr>
          <p:cNvPr id="21" name="Marcador de Posição do Texto 20">
            <a:extLst>
              <a:ext uri="{FF2B5EF4-FFF2-40B4-BE49-F238E27FC236}">
                <a16:creationId xmlns:a16="http://schemas.microsoft.com/office/drawing/2014/main" id="{57502D6E-FA2D-F849-D0E6-8D5CEC4D65A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12761" y="1945917"/>
            <a:ext cx="5017734" cy="524546"/>
          </a:xfrm>
          <a:custGeom>
            <a:avLst/>
            <a:gdLst>
              <a:gd name="connsiteX0" fmla="*/ 4278312 w 5017734"/>
              <a:gd name="connsiteY0" fmla="*/ 0 h 524546"/>
              <a:gd name="connsiteX1" fmla="*/ 4278312 w 5017734"/>
              <a:gd name="connsiteY1" fmla="*/ 22 h 524546"/>
              <a:gd name="connsiteX2" fmla="*/ 5017734 w 5017734"/>
              <a:gd name="connsiteY2" fmla="*/ 22 h 524546"/>
              <a:gd name="connsiteX3" fmla="*/ 4493205 w 5017734"/>
              <a:gd name="connsiteY3" fmla="*/ 524546 h 524546"/>
              <a:gd name="connsiteX4" fmla="*/ 4492992 w 5017734"/>
              <a:gd name="connsiteY4" fmla="*/ 524546 h 524546"/>
              <a:gd name="connsiteX5" fmla="*/ 4056099 w 5017734"/>
              <a:gd name="connsiteY5" fmla="*/ 524546 h 524546"/>
              <a:gd name="connsiteX6" fmla="*/ 4056071 w 5017734"/>
              <a:gd name="connsiteY6" fmla="*/ 524460 h 524546"/>
              <a:gd name="connsiteX7" fmla="*/ 0 w 5017734"/>
              <a:gd name="connsiteY7" fmla="*/ 524519 h 524546"/>
              <a:gd name="connsiteX8" fmla="*/ 0 w 5017734"/>
              <a:gd name="connsiteY8" fmla="*/ 62 h 5245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5017734" h="524546">
                <a:moveTo>
                  <a:pt x="4278312" y="0"/>
                </a:moveTo>
                <a:lnTo>
                  <a:pt x="4278312" y="22"/>
                </a:lnTo>
                <a:lnTo>
                  <a:pt x="5017734" y="22"/>
                </a:lnTo>
                <a:cubicBezTo>
                  <a:pt x="5017734" y="289846"/>
                  <a:pt x="4782814" y="524546"/>
                  <a:pt x="4493205" y="524546"/>
                </a:cubicBezTo>
                <a:lnTo>
                  <a:pt x="4492992" y="524546"/>
                </a:lnTo>
                <a:lnTo>
                  <a:pt x="4056099" y="524546"/>
                </a:lnTo>
                <a:lnTo>
                  <a:pt x="4056071" y="524460"/>
                </a:lnTo>
                <a:lnTo>
                  <a:pt x="0" y="524519"/>
                </a:lnTo>
                <a:lnTo>
                  <a:pt x="0" y="62"/>
                </a:lnTo>
                <a:close/>
              </a:path>
            </a:pathLst>
          </a:custGeom>
          <a:solidFill>
            <a:schemeClr val="accent2"/>
          </a:solidFill>
        </p:spPr>
        <p:txBody>
          <a:bodyPr wrap="square" lIns="288000" anchor="ctr">
            <a:noAutofit/>
          </a:bodyPr>
          <a:lstStyle>
            <a:lvl1pPr>
              <a:defRPr cap="all" baseline="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pt-PT" dirty="0"/>
              <a:t>Insertar texto destacado</a:t>
            </a:r>
          </a:p>
        </p:txBody>
      </p:sp>
      <p:sp>
        <p:nvSpPr>
          <p:cNvPr id="22" name="Marcador de Posição do Texto 21">
            <a:extLst>
              <a:ext uri="{FF2B5EF4-FFF2-40B4-BE49-F238E27FC236}">
                <a16:creationId xmlns:a16="http://schemas.microsoft.com/office/drawing/2014/main" id="{DB7B19B0-C96D-8722-C087-4ABADFDD01E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353177" y="1945917"/>
            <a:ext cx="5017734" cy="524546"/>
          </a:xfrm>
          <a:custGeom>
            <a:avLst/>
            <a:gdLst>
              <a:gd name="connsiteX0" fmla="*/ 4278312 w 5017734"/>
              <a:gd name="connsiteY0" fmla="*/ 0 h 524546"/>
              <a:gd name="connsiteX1" fmla="*/ 4278312 w 5017734"/>
              <a:gd name="connsiteY1" fmla="*/ 22 h 524546"/>
              <a:gd name="connsiteX2" fmla="*/ 5017734 w 5017734"/>
              <a:gd name="connsiteY2" fmla="*/ 22 h 524546"/>
              <a:gd name="connsiteX3" fmla="*/ 4493205 w 5017734"/>
              <a:gd name="connsiteY3" fmla="*/ 524546 h 524546"/>
              <a:gd name="connsiteX4" fmla="*/ 4492992 w 5017734"/>
              <a:gd name="connsiteY4" fmla="*/ 524546 h 524546"/>
              <a:gd name="connsiteX5" fmla="*/ 4056099 w 5017734"/>
              <a:gd name="connsiteY5" fmla="*/ 524546 h 524546"/>
              <a:gd name="connsiteX6" fmla="*/ 4056071 w 5017734"/>
              <a:gd name="connsiteY6" fmla="*/ 524460 h 524546"/>
              <a:gd name="connsiteX7" fmla="*/ 0 w 5017734"/>
              <a:gd name="connsiteY7" fmla="*/ 524519 h 524546"/>
              <a:gd name="connsiteX8" fmla="*/ 0 w 5017734"/>
              <a:gd name="connsiteY8" fmla="*/ 62 h 5245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5017734" h="524546">
                <a:moveTo>
                  <a:pt x="4278312" y="0"/>
                </a:moveTo>
                <a:lnTo>
                  <a:pt x="4278312" y="22"/>
                </a:lnTo>
                <a:lnTo>
                  <a:pt x="5017734" y="22"/>
                </a:lnTo>
                <a:cubicBezTo>
                  <a:pt x="5017734" y="289846"/>
                  <a:pt x="4782814" y="524546"/>
                  <a:pt x="4493205" y="524546"/>
                </a:cubicBezTo>
                <a:lnTo>
                  <a:pt x="4492992" y="524546"/>
                </a:lnTo>
                <a:lnTo>
                  <a:pt x="4056099" y="524546"/>
                </a:lnTo>
                <a:lnTo>
                  <a:pt x="4056071" y="524460"/>
                </a:lnTo>
                <a:lnTo>
                  <a:pt x="0" y="524519"/>
                </a:lnTo>
                <a:lnTo>
                  <a:pt x="0" y="62"/>
                </a:lnTo>
                <a:close/>
              </a:path>
            </a:pathLst>
          </a:custGeom>
          <a:solidFill>
            <a:schemeClr val="accent2"/>
          </a:solidFill>
        </p:spPr>
        <p:txBody>
          <a:bodyPr wrap="square" lIns="28800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cap="all" baseline="0">
                <a:solidFill>
                  <a:schemeClr val="accent1"/>
                </a:solidFill>
                <a:latin typeface="+mj-lt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dirty="0"/>
              <a:t>Insertar texto destacado</a:t>
            </a:r>
          </a:p>
        </p:txBody>
      </p:sp>
      <p:sp>
        <p:nvSpPr>
          <p:cNvPr id="23" name="Marcador de Posição do Gráfico 2">
            <a:extLst>
              <a:ext uri="{FF2B5EF4-FFF2-40B4-BE49-F238E27FC236}">
                <a16:creationId xmlns:a16="http://schemas.microsoft.com/office/drawing/2014/main" id="{75391497-CA35-DE30-3766-F3E2B94EBD56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781049" y="2614796"/>
            <a:ext cx="4762488" cy="2387899"/>
          </a:xfrm>
        </p:spPr>
        <p:txBody>
          <a:bodyPr/>
          <a:lstStyle/>
          <a:p>
            <a:endParaRPr lang="pt-PT"/>
          </a:p>
        </p:txBody>
      </p:sp>
      <p:sp>
        <p:nvSpPr>
          <p:cNvPr id="26" name="Marcador de Posição da Tabela 25">
            <a:extLst>
              <a:ext uri="{FF2B5EF4-FFF2-40B4-BE49-F238E27FC236}">
                <a16:creationId xmlns:a16="http://schemas.microsoft.com/office/drawing/2014/main" id="{675059B5-D821-DD3F-682E-00FC243BB88C}"/>
              </a:ext>
            </a:extLst>
          </p:cNvPr>
          <p:cNvSpPr>
            <a:spLocks noGrp="1"/>
          </p:cNvSpPr>
          <p:nvPr>
            <p:ph type="tbl" sz="quarter" idx="19"/>
          </p:nvPr>
        </p:nvSpPr>
        <p:spPr>
          <a:xfrm>
            <a:off x="6648462" y="2614613"/>
            <a:ext cx="4775200" cy="2387600"/>
          </a:xfrm>
        </p:spPr>
        <p:txBody>
          <a:bodyPr/>
          <a:lstStyle/>
          <a:p>
            <a:endParaRPr lang="pt-PT"/>
          </a:p>
        </p:txBody>
      </p:sp>
      <p:sp>
        <p:nvSpPr>
          <p:cNvPr id="13" name="Título 6">
            <a:extLst>
              <a:ext uri="{FF2B5EF4-FFF2-40B4-BE49-F238E27FC236}">
                <a16:creationId xmlns:a16="http://schemas.microsoft.com/office/drawing/2014/main" id="{953BBB0D-90EC-49CC-8C88-A3EE3DB5415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3184" y="550508"/>
            <a:ext cx="11165632" cy="712204"/>
          </a:xfrm>
        </p:spPr>
        <p:txBody>
          <a:bodyPr>
            <a:normAutofit/>
          </a:bodyPr>
          <a:lstStyle>
            <a:lvl1pPr>
              <a:defRPr sz="3200"/>
            </a:lvl1pPr>
          </a:lstStyle>
          <a:p>
            <a:r>
              <a:rPr lang="pt-PT" dirty="0"/>
              <a:t>Insertar título de la slide</a:t>
            </a:r>
          </a:p>
        </p:txBody>
      </p:sp>
      <p:sp>
        <p:nvSpPr>
          <p:cNvPr id="14" name="Marcador de Posição do Texto 8">
            <a:extLst>
              <a:ext uri="{FF2B5EF4-FFF2-40B4-BE49-F238E27FC236}">
                <a16:creationId xmlns:a16="http://schemas.microsoft.com/office/drawing/2014/main" id="{F5DD65B3-85D7-4A97-9441-D9DA1B4A26E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12763" y="1156317"/>
            <a:ext cx="11166475" cy="355243"/>
          </a:xfrm>
        </p:spPr>
        <p:txBody>
          <a:bodyPr>
            <a:normAutofit/>
          </a:bodyPr>
          <a:lstStyle>
            <a:lvl1pPr>
              <a:defRPr sz="200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pt-PT" dirty="0"/>
              <a:t>Insertar subtítulo de la slide</a:t>
            </a:r>
          </a:p>
        </p:txBody>
      </p:sp>
      <p:sp>
        <p:nvSpPr>
          <p:cNvPr id="15" name="Marcador de Posição do Rodapé 4">
            <a:extLst>
              <a:ext uri="{FF2B5EF4-FFF2-40B4-BE49-F238E27FC236}">
                <a16:creationId xmlns:a16="http://schemas.microsoft.com/office/drawing/2014/main" id="{F3FDDF66-F1E3-4788-9A17-77B3EEAFFD5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12762" y="6356350"/>
            <a:ext cx="534669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accent2"/>
                </a:solidFill>
              </a:defRPr>
            </a:lvl1pPr>
          </a:lstStyle>
          <a:p>
            <a:r>
              <a:rPr lang="pt-PT"/>
              <a:t>Título de la presentación</a:t>
            </a:r>
            <a:endParaRPr lang="pt-PT" dirty="0"/>
          </a:p>
        </p:txBody>
      </p:sp>
      <p:sp>
        <p:nvSpPr>
          <p:cNvPr id="18" name="Marcador de Posição do Número do Diapositivo 5">
            <a:extLst>
              <a:ext uri="{FF2B5EF4-FFF2-40B4-BE49-F238E27FC236}">
                <a16:creationId xmlns:a16="http://schemas.microsoft.com/office/drawing/2014/main" id="{01812AB4-B73C-4432-88E3-B35E9E6FF95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936039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accent2"/>
                </a:solidFill>
              </a:defRPr>
            </a:lvl1pPr>
          </a:lstStyle>
          <a:p>
            <a:fld id="{24A347C2-D68E-473A-8C76-1D063E4EB6E0}" type="slidenum">
              <a:rPr lang="es-ES" smtClean="0"/>
              <a:pPr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800594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21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 nodePh="1">
                                  <p:stCondLst>
                                    <p:cond delay="250"/>
                                  </p:stCondLst>
                                  <p:endCondLst>
                                    <p:cond evt="begin" delay="0">
                                      <p:tn val="17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22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2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grpId="0" nodeType="withEffect" nodePh="1">
                                  <p:stCondLst>
                                    <p:cond delay="750"/>
                                  </p:stCondLst>
                                  <p:endCondLst>
                                    <p:cond evt="begin" delay="0">
                                      <p:tn val="32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25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1719 -0.00023 L -1.25E-6 1.85185E-6 " pathEditMode="relative" rAng="0" ptsTypes="AA">
                                      <p:cBhvr>
                                        <p:cTn id="39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859" y="0"/>
                                    </p:animMotion>
                                  </p:childTnLst>
                                </p:cTn>
                              </p:par>
                              <p:par>
                                <p:cTn id="4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25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25E-6 0.03889 L 1.25E-6 1.85185E-6 " pathEditMode="relative" rAng="0" ptsTypes="AA">
                                      <p:cBhvr>
                                        <p:cTn id="44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944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12" grpId="0" animBg="1"/>
      <p:bldP spid="16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6"/>
                        </p:tgtEl>
                      </p:cBhvr>
                    </p:animEffect>
                  </p:childTnLst>
                </p:cTn>
              </p:par>
            </p:tnLst>
          </p:tmpl>
          <p:tmpl lvl="2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6"/>
                        </p:tgtEl>
                      </p:cBhvr>
                    </p:animEffect>
                  </p:childTnLst>
                </p:cTn>
              </p:par>
            </p:tnLst>
          </p:tmpl>
          <p:tmpl lvl="3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6"/>
                        </p:tgtEl>
                      </p:cBhvr>
                    </p:animEffect>
                  </p:childTnLst>
                </p:cTn>
              </p:par>
            </p:tnLst>
          </p:tmpl>
          <p:tmpl lvl="4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6"/>
                        </p:tgtEl>
                      </p:cBhvr>
                    </p:animEffect>
                  </p:childTnLst>
                </p:cTn>
              </p:par>
            </p:tnLst>
          </p:tmpl>
          <p:tmpl lvl="5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7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7"/>
                        </p:tgtEl>
                      </p:cBhvr>
                    </p:animEffect>
                  </p:childTnLst>
                </p:cTn>
              </p:par>
            </p:tnLst>
          </p:tmpl>
          <p:tmpl lvl="2">
            <p:tnLst>
              <p:par>
                <p:cTn presetID="10" presetClass="entr" presetSubtype="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7"/>
                        </p:tgtEl>
                      </p:cBhvr>
                    </p:animEffect>
                  </p:childTnLst>
                </p:cTn>
              </p:par>
            </p:tnLst>
          </p:tmpl>
          <p:tmpl lvl="3">
            <p:tnLst>
              <p:par>
                <p:cTn presetID="10" presetClass="entr" presetSubtype="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7"/>
                        </p:tgtEl>
                      </p:cBhvr>
                    </p:animEffect>
                  </p:childTnLst>
                </p:cTn>
              </p:par>
            </p:tnLst>
          </p:tmpl>
          <p:tmpl lvl="4">
            <p:tnLst>
              <p:par>
                <p:cTn presetID="10" presetClass="entr" presetSubtype="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7"/>
                        </p:tgtEl>
                      </p:cBhvr>
                    </p:animEffect>
                  </p:childTnLst>
                </p:cTn>
              </p:par>
            </p:tnLst>
          </p:tmpl>
          <p:tmpl lvl="5">
            <p:tnLst>
              <p:par>
                <p:cTn presetID="10" presetClass="entr" presetSubtype="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1" grpId="0" build="p" animBg="1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1"/>
                        </p:tgtEl>
                      </p:cBhvr>
                    </p:animEffect>
                  </p:childTnLst>
                </p:cTn>
              </p:par>
            </p:tnLst>
          </p:tmpl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2" grpId="0" build="p" animBg="1">
        <p:tmplLst>
          <p:tmpl>
            <p:tnLst>
              <p:par>
                <p:cTn presetID="10" presetClass="entr" presetSubtype="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2"/>
                        </p:tgtEl>
                      </p:cBhvr>
                    </p:animEffect>
                  </p:childTnLst>
                </p:cTn>
              </p:par>
            </p:tnLst>
          </p:tmpl>
          <p:tmpl lvl="1">
            <p:tnLst>
              <p:par>
                <p:cTn presetID="10" presetClass="entr" presetSubtype="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3" grpId="0"/>
      <p:bldP spid="26" grpId="0"/>
      <p:bldP spid="13" grpId="0"/>
      <p:bldP spid="13" grpId="1"/>
      <p:bldP spid="14" grpId="0">
        <p:tmplLst>
          <p:tmpl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250"/>
                        <p:tgtEl>
                          <p:spTgt spid="1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4" grpId="1"/>
    </p:bld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Esquema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tângulo 7">
            <a:extLst>
              <a:ext uri="{FF2B5EF4-FFF2-40B4-BE49-F238E27FC236}">
                <a16:creationId xmlns:a16="http://schemas.microsoft.com/office/drawing/2014/main" id="{C0AF47F5-205E-76B9-2D2B-32EB841A097A}"/>
              </a:ext>
            </a:extLst>
          </p:cNvPr>
          <p:cNvSpPr>
            <a:spLocks/>
          </p:cNvSpPr>
          <p:nvPr userDrawn="1"/>
        </p:nvSpPr>
        <p:spPr>
          <a:xfrm>
            <a:off x="8105776" y="0"/>
            <a:ext cx="4086224" cy="6858000"/>
          </a:xfrm>
          <a:prstGeom prst="rect">
            <a:avLst/>
          </a:prstGeom>
          <a:solidFill>
            <a:srgbClr val="184BF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  <p:pic>
        <p:nvPicPr>
          <p:cNvPr id="3" name="Imagem 2">
            <a:extLst>
              <a:ext uri="{FF2B5EF4-FFF2-40B4-BE49-F238E27FC236}">
                <a16:creationId xmlns:a16="http://schemas.microsoft.com/office/drawing/2014/main" id="{917AA89F-0D9A-DD62-E8EC-92747B6C282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 l="17318" t="60814" r="14165" b="11057"/>
          <a:stretch>
            <a:fillRect/>
          </a:stretch>
        </p:blipFill>
        <p:spPr>
          <a:xfrm rot="5400000">
            <a:off x="8440799" y="3644312"/>
            <a:ext cx="5318830" cy="2183575"/>
          </a:xfrm>
          <a:prstGeom prst="rect">
            <a:avLst/>
          </a:prstGeom>
        </p:spPr>
      </p:pic>
      <p:pic>
        <p:nvPicPr>
          <p:cNvPr id="2" name="Imagem 1">
            <a:extLst>
              <a:ext uri="{FF2B5EF4-FFF2-40B4-BE49-F238E27FC236}">
                <a16:creationId xmlns:a16="http://schemas.microsoft.com/office/drawing/2014/main" id="{71FEC656-80A5-4A5D-4393-C1C8AFE415F7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 l="10490" t="20159" r="69486" b="35499"/>
          <a:stretch>
            <a:fillRect/>
          </a:stretch>
        </p:blipFill>
        <p:spPr>
          <a:xfrm flipH="1" flipV="1">
            <a:off x="0" y="-58454"/>
            <a:ext cx="2702860" cy="5981593"/>
          </a:xfrm>
          <a:prstGeom prst="rect">
            <a:avLst/>
          </a:prstGeom>
        </p:spPr>
      </p:pic>
      <p:sp>
        <p:nvSpPr>
          <p:cNvPr id="34" name="Forma livre: Forma 19">
            <a:extLst>
              <a:ext uri="{FF2B5EF4-FFF2-40B4-BE49-F238E27FC236}">
                <a16:creationId xmlns:a16="http://schemas.microsoft.com/office/drawing/2014/main" id="{ACF492A9-5DD9-4835-90E9-E1B5634B6D3E}"/>
              </a:ext>
            </a:extLst>
          </p:cNvPr>
          <p:cNvSpPr/>
          <p:nvPr userDrawn="1"/>
        </p:nvSpPr>
        <p:spPr>
          <a:xfrm>
            <a:off x="326136" y="1800226"/>
            <a:ext cx="5515200" cy="5057774"/>
          </a:xfrm>
          <a:custGeom>
            <a:avLst/>
            <a:gdLst>
              <a:gd name="connsiteX0" fmla="*/ 2220906 w 2220906"/>
              <a:gd name="connsiteY0" fmla="*/ 0 h 524519"/>
              <a:gd name="connsiteX1" fmla="*/ 2220906 w 2220906"/>
              <a:gd name="connsiteY1" fmla="*/ 524457 h 524519"/>
              <a:gd name="connsiteX2" fmla="*/ 0 w 2220906"/>
              <a:gd name="connsiteY2" fmla="*/ 524519 h 524519"/>
              <a:gd name="connsiteX3" fmla="*/ 0 w 2220906"/>
              <a:gd name="connsiteY3" fmla="*/ 62 h 5245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220906" h="524519">
                <a:moveTo>
                  <a:pt x="2220906" y="0"/>
                </a:moveTo>
                <a:lnTo>
                  <a:pt x="2220906" y="524457"/>
                </a:lnTo>
                <a:lnTo>
                  <a:pt x="0" y="524519"/>
                </a:lnTo>
                <a:lnTo>
                  <a:pt x="0" y="62"/>
                </a:lnTo>
                <a:close/>
              </a:path>
            </a:pathLst>
          </a:custGeom>
          <a:solidFill>
            <a:schemeClr val="bg1"/>
          </a:solidFill>
          <a:ln w="4244" cap="flat">
            <a:noFill/>
            <a:prstDash val="solid"/>
            <a:miter/>
          </a:ln>
          <a:effectLst>
            <a:outerShdw blurRad="254000" algn="ctr" rotWithShape="0">
              <a:srgbClr val="132153">
                <a:alpha val="5000"/>
              </a:srgb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pt-PT">
              <a:solidFill>
                <a:schemeClr val="tx1"/>
              </a:solidFill>
            </a:endParaRPr>
          </a:p>
        </p:txBody>
      </p:sp>
      <p:sp>
        <p:nvSpPr>
          <p:cNvPr id="35" name="Forma livre: Forma 20">
            <a:extLst>
              <a:ext uri="{FF2B5EF4-FFF2-40B4-BE49-F238E27FC236}">
                <a16:creationId xmlns:a16="http://schemas.microsoft.com/office/drawing/2014/main" id="{B7330D3C-D039-4A37-B019-A35E4D39B64F}"/>
              </a:ext>
            </a:extLst>
          </p:cNvPr>
          <p:cNvSpPr/>
          <p:nvPr userDrawn="1"/>
        </p:nvSpPr>
        <p:spPr>
          <a:xfrm>
            <a:off x="6353177" y="1800226"/>
            <a:ext cx="5516338" cy="5057774"/>
          </a:xfrm>
          <a:custGeom>
            <a:avLst/>
            <a:gdLst>
              <a:gd name="connsiteX0" fmla="*/ 2220906 w 2220906"/>
              <a:gd name="connsiteY0" fmla="*/ 0 h 524519"/>
              <a:gd name="connsiteX1" fmla="*/ 2220906 w 2220906"/>
              <a:gd name="connsiteY1" fmla="*/ 524457 h 524519"/>
              <a:gd name="connsiteX2" fmla="*/ 0 w 2220906"/>
              <a:gd name="connsiteY2" fmla="*/ 524519 h 524519"/>
              <a:gd name="connsiteX3" fmla="*/ 0 w 2220906"/>
              <a:gd name="connsiteY3" fmla="*/ 62 h 5245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220906" h="524519">
                <a:moveTo>
                  <a:pt x="2220906" y="0"/>
                </a:moveTo>
                <a:lnTo>
                  <a:pt x="2220906" y="524457"/>
                </a:lnTo>
                <a:lnTo>
                  <a:pt x="0" y="524519"/>
                </a:lnTo>
                <a:lnTo>
                  <a:pt x="0" y="62"/>
                </a:lnTo>
                <a:close/>
              </a:path>
            </a:pathLst>
          </a:custGeom>
          <a:solidFill>
            <a:schemeClr val="bg1"/>
          </a:solidFill>
          <a:ln w="4244" cap="flat">
            <a:noFill/>
            <a:prstDash val="solid"/>
            <a:miter/>
          </a:ln>
          <a:effectLst>
            <a:outerShdw blurRad="254000" algn="ctr" rotWithShape="0">
              <a:srgbClr val="132153">
                <a:alpha val="5000"/>
              </a:srgb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pt-PT">
              <a:solidFill>
                <a:schemeClr val="tx1"/>
              </a:solidFill>
            </a:endParaRPr>
          </a:p>
        </p:txBody>
      </p:sp>
      <p:sp>
        <p:nvSpPr>
          <p:cNvPr id="6" name="Título 6">
            <a:extLst>
              <a:ext uri="{FF2B5EF4-FFF2-40B4-BE49-F238E27FC236}">
                <a16:creationId xmlns:a16="http://schemas.microsoft.com/office/drawing/2014/main" id="{1399112B-0144-0D28-EB78-B9340B23226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3184" y="550508"/>
            <a:ext cx="7211591" cy="712204"/>
          </a:xfrm>
        </p:spPr>
        <p:txBody>
          <a:bodyPr>
            <a:normAutofit/>
          </a:bodyPr>
          <a:lstStyle>
            <a:lvl1pPr>
              <a:defRPr sz="3200"/>
            </a:lvl1pPr>
          </a:lstStyle>
          <a:p>
            <a:r>
              <a:rPr lang="pt-PT" dirty="0"/>
              <a:t>Insertar título de la slide</a:t>
            </a:r>
          </a:p>
        </p:txBody>
      </p:sp>
      <p:sp>
        <p:nvSpPr>
          <p:cNvPr id="7" name="Marcador de Posição do Texto 8">
            <a:extLst>
              <a:ext uri="{FF2B5EF4-FFF2-40B4-BE49-F238E27FC236}">
                <a16:creationId xmlns:a16="http://schemas.microsoft.com/office/drawing/2014/main" id="{DC2A14E0-5543-6615-7248-0DAF53FBF93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12764" y="1156317"/>
            <a:ext cx="7212136" cy="355243"/>
          </a:xfrm>
        </p:spPr>
        <p:txBody>
          <a:bodyPr>
            <a:normAutofit/>
          </a:bodyPr>
          <a:lstStyle>
            <a:lvl1pPr>
              <a:defRPr sz="200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pt-PT" dirty="0"/>
              <a:t>Insertar subtítulo de la slide</a:t>
            </a:r>
          </a:p>
        </p:txBody>
      </p:sp>
      <p:sp>
        <p:nvSpPr>
          <p:cNvPr id="22" name="Marcador de Posição do Texto 10">
            <a:extLst>
              <a:ext uri="{FF2B5EF4-FFF2-40B4-BE49-F238E27FC236}">
                <a16:creationId xmlns:a16="http://schemas.microsoft.com/office/drawing/2014/main" id="{B8D69BFE-DA6A-E0AC-BCBD-FDFB39F79D7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356039" y="2365900"/>
            <a:ext cx="4194226" cy="1239450"/>
          </a:xfrm>
        </p:spPr>
        <p:txBody>
          <a:bodyPr>
            <a:noAutofit/>
          </a:bodyPr>
          <a:lstStyle>
            <a:lvl1pPr>
              <a:defRPr sz="12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s-ES" dirty="0"/>
              <a:t>Haz </a:t>
            </a:r>
            <a:r>
              <a:rPr lang="es-ES" dirty="0" err="1"/>
              <a:t>click</a:t>
            </a:r>
            <a:r>
              <a:rPr lang="es-ES" dirty="0"/>
              <a:t> para editar los estilos del texto del modelo</a:t>
            </a:r>
            <a:endParaRPr lang="pt-PT" dirty="0"/>
          </a:p>
          <a:p>
            <a:pPr lvl="1"/>
            <a:r>
              <a:rPr lang="es-ES" dirty="0"/>
              <a:t>Segundo nivel</a:t>
            </a:r>
          </a:p>
          <a:p>
            <a:pPr lvl="1"/>
            <a:r>
              <a:rPr lang="es-ES" dirty="0"/>
              <a:t>Tercer nivel</a:t>
            </a:r>
          </a:p>
          <a:p>
            <a:pPr lvl="1"/>
            <a:r>
              <a:rPr lang="es-ES" dirty="0"/>
              <a:t>Cuarto nivel</a:t>
            </a:r>
          </a:p>
          <a:p>
            <a:pPr lvl="1"/>
            <a:r>
              <a:rPr lang="es-ES" dirty="0"/>
              <a:t>Quinto nivel</a:t>
            </a:r>
            <a:endParaRPr lang="pt-PT" dirty="0"/>
          </a:p>
        </p:txBody>
      </p:sp>
      <p:sp>
        <p:nvSpPr>
          <p:cNvPr id="23" name="Marcador de Posição do Texto 34">
            <a:extLst>
              <a:ext uri="{FF2B5EF4-FFF2-40B4-BE49-F238E27FC236}">
                <a16:creationId xmlns:a16="http://schemas.microsoft.com/office/drawing/2014/main" id="{212F3A17-00BC-B7C9-8885-7C6FF068778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356102" y="2001619"/>
            <a:ext cx="4194175" cy="336550"/>
          </a:xfrm>
        </p:spPr>
        <p:txBody>
          <a:bodyPr anchor="ctr"/>
          <a:lstStyle>
            <a:lvl1pPr>
              <a:defRPr cap="all" baseline="0">
                <a:solidFill>
                  <a:schemeClr val="accent2"/>
                </a:solidFill>
                <a:latin typeface="+mj-lt"/>
              </a:defRPr>
            </a:lvl1pPr>
          </a:lstStyle>
          <a:p>
            <a:pPr lvl="0"/>
            <a:r>
              <a:rPr lang="pt-PT" dirty="0"/>
              <a:t>InserTAR texto destacado</a:t>
            </a:r>
          </a:p>
        </p:txBody>
      </p:sp>
      <p:sp>
        <p:nvSpPr>
          <p:cNvPr id="24" name="Marcador de Posição do Texto 10">
            <a:extLst>
              <a:ext uri="{FF2B5EF4-FFF2-40B4-BE49-F238E27FC236}">
                <a16:creationId xmlns:a16="http://schemas.microsoft.com/office/drawing/2014/main" id="{49AE2CC0-9BAF-0238-5625-EBBB1456903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356039" y="4567940"/>
            <a:ext cx="4194226" cy="1239450"/>
          </a:xfrm>
        </p:spPr>
        <p:txBody>
          <a:bodyPr>
            <a:noAutofit/>
          </a:bodyPr>
          <a:lstStyle>
            <a:lvl1pPr>
              <a:defRPr sz="12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s-ES" dirty="0"/>
              <a:t>Haz </a:t>
            </a:r>
            <a:r>
              <a:rPr lang="es-ES" dirty="0" err="1"/>
              <a:t>click</a:t>
            </a:r>
            <a:r>
              <a:rPr lang="es-ES" dirty="0"/>
              <a:t> para editar los estilos del texto del modelo</a:t>
            </a:r>
            <a:endParaRPr lang="pt-PT" dirty="0"/>
          </a:p>
          <a:p>
            <a:pPr lvl="1"/>
            <a:r>
              <a:rPr lang="es-ES" dirty="0"/>
              <a:t>Segundo nivel</a:t>
            </a:r>
          </a:p>
          <a:p>
            <a:pPr lvl="1"/>
            <a:r>
              <a:rPr lang="es-ES" dirty="0"/>
              <a:t>Tercer nivel</a:t>
            </a:r>
          </a:p>
          <a:p>
            <a:pPr lvl="1"/>
            <a:r>
              <a:rPr lang="es-ES" dirty="0"/>
              <a:t>Cuarto nivel</a:t>
            </a:r>
          </a:p>
          <a:p>
            <a:pPr lvl="1"/>
            <a:r>
              <a:rPr lang="es-ES" dirty="0"/>
              <a:t>Quinto nivel</a:t>
            </a:r>
            <a:endParaRPr lang="pt-PT" dirty="0"/>
          </a:p>
          <a:p>
            <a:pPr lvl="4"/>
            <a:endParaRPr lang="pt-PT" dirty="0"/>
          </a:p>
        </p:txBody>
      </p:sp>
      <p:sp>
        <p:nvSpPr>
          <p:cNvPr id="25" name="Marcador de Posição do Texto 34">
            <a:extLst>
              <a:ext uri="{FF2B5EF4-FFF2-40B4-BE49-F238E27FC236}">
                <a16:creationId xmlns:a16="http://schemas.microsoft.com/office/drawing/2014/main" id="{8DDDC050-CB0A-E78F-CD6F-FB8ADDA07EC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356102" y="4203659"/>
            <a:ext cx="4194175" cy="336550"/>
          </a:xfrm>
        </p:spPr>
        <p:txBody>
          <a:bodyPr anchor="ctr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cap="all" baseline="0">
                <a:solidFill>
                  <a:schemeClr val="accent2"/>
                </a:solidFill>
                <a:latin typeface="+mj-lt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dirty="0"/>
              <a:t>InserTAR texto destacado</a:t>
            </a:r>
          </a:p>
        </p:txBody>
      </p:sp>
      <p:sp>
        <p:nvSpPr>
          <p:cNvPr id="26" name="Marcador de Posição do Texto 10">
            <a:extLst>
              <a:ext uri="{FF2B5EF4-FFF2-40B4-BE49-F238E27FC236}">
                <a16:creationId xmlns:a16="http://schemas.microsoft.com/office/drawing/2014/main" id="{7AF682B5-CB94-A3ED-2E71-2589203FEC0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186184" y="2365900"/>
            <a:ext cx="4194226" cy="1239450"/>
          </a:xfrm>
        </p:spPr>
        <p:txBody>
          <a:bodyPr>
            <a:noAutofit/>
          </a:bodyPr>
          <a:lstStyle>
            <a:lvl1pPr>
              <a:defRPr sz="12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s-ES" dirty="0"/>
              <a:t>Haz </a:t>
            </a:r>
            <a:r>
              <a:rPr lang="es-ES" dirty="0" err="1"/>
              <a:t>click</a:t>
            </a:r>
            <a:r>
              <a:rPr lang="es-ES" dirty="0"/>
              <a:t> para editar los estilos del texto del modelo</a:t>
            </a:r>
            <a:endParaRPr lang="pt-PT" dirty="0"/>
          </a:p>
          <a:p>
            <a:pPr lvl="1"/>
            <a:r>
              <a:rPr lang="es-ES" dirty="0"/>
              <a:t>Segundo nivel</a:t>
            </a:r>
          </a:p>
          <a:p>
            <a:pPr lvl="1"/>
            <a:r>
              <a:rPr lang="es-ES" dirty="0"/>
              <a:t>Tercer nivel</a:t>
            </a:r>
          </a:p>
          <a:p>
            <a:pPr lvl="1"/>
            <a:r>
              <a:rPr lang="es-ES" dirty="0"/>
              <a:t>Cuarto nivel</a:t>
            </a:r>
          </a:p>
          <a:p>
            <a:pPr lvl="1"/>
            <a:r>
              <a:rPr lang="es-ES" dirty="0"/>
              <a:t>Quinto nivel</a:t>
            </a:r>
            <a:endParaRPr lang="pt-PT" dirty="0"/>
          </a:p>
          <a:p>
            <a:pPr lvl="4"/>
            <a:endParaRPr lang="pt-PT" dirty="0"/>
          </a:p>
        </p:txBody>
      </p:sp>
      <p:sp>
        <p:nvSpPr>
          <p:cNvPr id="27" name="Marcador de Posição do Texto 34">
            <a:extLst>
              <a:ext uri="{FF2B5EF4-FFF2-40B4-BE49-F238E27FC236}">
                <a16:creationId xmlns:a16="http://schemas.microsoft.com/office/drawing/2014/main" id="{5ABFCC84-92F2-2E81-A69F-1B345AF23ED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186247" y="2001619"/>
            <a:ext cx="4194175" cy="336550"/>
          </a:xfrm>
        </p:spPr>
        <p:txBody>
          <a:bodyPr anchor="ctr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cap="all" baseline="0">
                <a:solidFill>
                  <a:schemeClr val="accent2"/>
                </a:solidFill>
                <a:latin typeface="+mj-lt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dirty="0"/>
              <a:t>InserTAR texto destacado</a:t>
            </a:r>
          </a:p>
        </p:txBody>
      </p:sp>
      <p:sp>
        <p:nvSpPr>
          <p:cNvPr id="28" name="Marcador de Posição do Texto 10">
            <a:extLst>
              <a:ext uri="{FF2B5EF4-FFF2-40B4-BE49-F238E27FC236}">
                <a16:creationId xmlns:a16="http://schemas.microsoft.com/office/drawing/2014/main" id="{D26EA993-F4F5-38DA-AA33-DBC87048CBC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7186184" y="4567940"/>
            <a:ext cx="4194226" cy="1239450"/>
          </a:xfrm>
        </p:spPr>
        <p:txBody>
          <a:bodyPr>
            <a:noAutofit/>
          </a:bodyPr>
          <a:lstStyle>
            <a:lvl1pPr>
              <a:defRPr sz="12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s-ES" dirty="0"/>
              <a:t>Haz </a:t>
            </a:r>
            <a:r>
              <a:rPr lang="es-ES" dirty="0" err="1"/>
              <a:t>click</a:t>
            </a:r>
            <a:r>
              <a:rPr lang="es-ES" dirty="0"/>
              <a:t> para editar los estilos del texto del modelo</a:t>
            </a:r>
            <a:endParaRPr lang="pt-PT" dirty="0"/>
          </a:p>
          <a:p>
            <a:pPr lvl="1"/>
            <a:r>
              <a:rPr lang="es-ES" dirty="0"/>
              <a:t>Segundo nivel</a:t>
            </a:r>
          </a:p>
          <a:p>
            <a:pPr lvl="1"/>
            <a:r>
              <a:rPr lang="es-ES" dirty="0"/>
              <a:t>Tercer nivel</a:t>
            </a:r>
          </a:p>
          <a:p>
            <a:pPr lvl="1"/>
            <a:r>
              <a:rPr lang="es-ES" dirty="0"/>
              <a:t>Cuarto nivel</a:t>
            </a:r>
          </a:p>
          <a:p>
            <a:pPr lvl="1"/>
            <a:r>
              <a:rPr lang="es-ES" dirty="0"/>
              <a:t>Quinto nivel</a:t>
            </a:r>
            <a:endParaRPr lang="pt-PT" dirty="0"/>
          </a:p>
          <a:p>
            <a:pPr lvl="4"/>
            <a:endParaRPr lang="pt-PT" dirty="0"/>
          </a:p>
        </p:txBody>
      </p:sp>
      <p:sp>
        <p:nvSpPr>
          <p:cNvPr id="29" name="Marcador de Posição do Texto 34">
            <a:extLst>
              <a:ext uri="{FF2B5EF4-FFF2-40B4-BE49-F238E27FC236}">
                <a16:creationId xmlns:a16="http://schemas.microsoft.com/office/drawing/2014/main" id="{97A93D70-9093-02D7-BE16-1A23A1E00C2C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186247" y="4203659"/>
            <a:ext cx="4194175" cy="336550"/>
          </a:xfrm>
        </p:spPr>
        <p:txBody>
          <a:bodyPr anchor="ctr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cap="all" baseline="0">
                <a:solidFill>
                  <a:schemeClr val="accent2"/>
                </a:solidFill>
                <a:latin typeface="+mj-lt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dirty="0"/>
              <a:t>InserTAR texto destacado</a:t>
            </a:r>
          </a:p>
        </p:txBody>
      </p:sp>
      <p:grpSp>
        <p:nvGrpSpPr>
          <p:cNvPr id="4" name="Gráfico 2">
            <a:extLst>
              <a:ext uri="{FF2B5EF4-FFF2-40B4-BE49-F238E27FC236}">
                <a16:creationId xmlns:a16="http://schemas.microsoft.com/office/drawing/2014/main" id="{623DF252-144F-27F5-CCCD-75B35B01D0D3}"/>
              </a:ext>
            </a:extLst>
          </p:cNvPr>
          <p:cNvGrpSpPr/>
          <p:nvPr userDrawn="1"/>
        </p:nvGrpSpPr>
        <p:grpSpPr>
          <a:xfrm>
            <a:off x="10557975" y="275736"/>
            <a:ext cx="1308718" cy="138724"/>
            <a:chOff x="0" y="2782824"/>
            <a:chExt cx="12192000" cy="1292352"/>
          </a:xfrm>
        </p:grpSpPr>
        <p:sp>
          <p:nvSpPr>
            <p:cNvPr id="5" name="Forma libre: forma 4">
              <a:extLst>
                <a:ext uri="{FF2B5EF4-FFF2-40B4-BE49-F238E27FC236}">
                  <a16:creationId xmlns:a16="http://schemas.microsoft.com/office/drawing/2014/main" id="{4F3196A6-9EA3-F4D9-615D-72DA45D919BC}"/>
                </a:ext>
              </a:extLst>
            </p:cNvPr>
            <p:cNvSpPr/>
            <p:nvPr/>
          </p:nvSpPr>
          <p:spPr>
            <a:xfrm>
              <a:off x="3791306" y="2777053"/>
              <a:ext cx="1300480" cy="1300480"/>
            </a:xfrm>
            <a:custGeom>
              <a:avLst/>
              <a:gdLst>
                <a:gd name="connsiteX0" fmla="*/ 6096 w 1300480"/>
                <a:gd name="connsiteY0" fmla="*/ 653979 h 1300480"/>
                <a:gd name="connsiteX1" fmla="*/ 653979 w 1300480"/>
                <a:gd name="connsiteY1" fmla="*/ 6096 h 1300480"/>
                <a:gd name="connsiteX2" fmla="*/ 1301862 w 1300480"/>
                <a:gd name="connsiteY2" fmla="*/ 653979 h 1300480"/>
                <a:gd name="connsiteX3" fmla="*/ 653979 w 1300480"/>
                <a:gd name="connsiteY3" fmla="*/ 1301862 h 1300480"/>
                <a:gd name="connsiteX4" fmla="*/ 653898 w 1300480"/>
                <a:gd name="connsiteY4" fmla="*/ 1301862 h 1300480"/>
                <a:gd name="connsiteX5" fmla="*/ 6096 w 1300480"/>
                <a:gd name="connsiteY5" fmla="*/ 654060 h 1300480"/>
                <a:gd name="connsiteX6" fmla="*/ 6096 w 1300480"/>
                <a:gd name="connsiteY6" fmla="*/ 654060 h 1300480"/>
                <a:gd name="connsiteX7" fmla="*/ 653898 w 1300480"/>
                <a:gd name="connsiteY7" fmla="*/ 1091184 h 1300480"/>
                <a:gd name="connsiteX8" fmla="*/ 1091265 w 1300480"/>
                <a:gd name="connsiteY8" fmla="*/ 653979 h 1300480"/>
                <a:gd name="connsiteX9" fmla="*/ 654060 w 1300480"/>
                <a:gd name="connsiteY9" fmla="*/ 216611 h 1300480"/>
                <a:gd name="connsiteX10" fmla="*/ 216692 w 1300480"/>
                <a:gd name="connsiteY10" fmla="*/ 653816 h 1300480"/>
                <a:gd name="connsiteX11" fmla="*/ 216692 w 1300480"/>
                <a:gd name="connsiteY11" fmla="*/ 653979 h 1300480"/>
                <a:gd name="connsiteX12" fmla="*/ 653898 w 1300480"/>
                <a:gd name="connsiteY12" fmla="*/ 1091184 h 13004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300480" h="1300480">
                  <a:moveTo>
                    <a:pt x="6096" y="653979"/>
                  </a:moveTo>
                  <a:cubicBezTo>
                    <a:pt x="6096" y="296184"/>
                    <a:pt x="296184" y="6096"/>
                    <a:pt x="653979" y="6096"/>
                  </a:cubicBezTo>
                  <a:cubicBezTo>
                    <a:pt x="1011773" y="6096"/>
                    <a:pt x="1301862" y="296184"/>
                    <a:pt x="1301862" y="653979"/>
                  </a:cubicBezTo>
                  <a:cubicBezTo>
                    <a:pt x="1301862" y="1011773"/>
                    <a:pt x="1011773" y="1301862"/>
                    <a:pt x="653979" y="1301862"/>
                  </a:cubicBezTo>
                  <a:lnTo>
                    <a:pt x="653898" y="1301862"/>
                  </a:lnTo>
                  <a:cubicBezTo>
                    <a:pt x="296103" y="1301862"/>
                    <a:pt x="6096" y="1011855"/>
                    <a:pt x="6096" y="654060"/>
                  </a:cubicBezTo>
                  <a:lnTo>
                    <a:pt x="6096" y="654060"/>
                  </a:lnTo>
                  <a:moveTo>
                    <a:pt x="653898" y="1091184"/>
                  </a:moveTo>
                  <a:cubicBezTo>
                    <a:pt x="895380" y="1091184"/>
                    <a:pt x="1091184" y="895462"/>
                    <a:pt x="1091265" y="653979"/>
                  </a:cubicBezTo>
                  <a:cubicBezTo>
                    <a:pt x="1091265" y="412496"/>
                    <a:pt x="895543" y="216692"/>
                    <a:pt x="654060" y="216611"/>
                  </a:cubicBezTo>
                  <a:cubicBezTo>
                    <a:pt x="412577" y="216611"/>
                    <a:pt x="216774" y="412333"/>
                    <a:pt x="216692" y="653816"/>
                  </a:cubicBezTo>
                  <a:lnTo>
                    <a:pt x="216692" y="653979"/>
                  </a:lnTo>
                  <a:cubicBezTo>
                    <a:pt x="216692" y="895462"/>
                    <a:pt x="412415" y="1091184"/>
                    <a:pt x="653898" y="1091184"/>
                  </a:cubicBezTo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9" name="Forma libre: forma 8">
              <a:extLst>
                <a:ext uri="{FF2B5EF4-FFF2-40B4-BE49-F238E27FC236}">
                  <a16:creationId xmlns:a16="http://schemas.microsoft.com/office/drawing/2014/main" id="{E91D1789-4E5C-2BFB-E986-3C87688709F6}"/>
                </a:ext>
              </a:extLst>
            </p:cNvPr>
            <p:cNvSpPr/>
            <p:nvPr/>
          </p:nvSpPr>
          <p:spPr>
            <a:xfrm>
              <a:off x="1151981" y="2793797"/>
              <a:ext cx="219456" cy="1267968"/>
            </a:xfrm>
            <a:custGeom>
              <a:avLst/>
              <a:gdLst>
                <a:gd name="connsiteX0" fmla="*/ 216367 w 219456"/>
                <a:gd name="connsiteY0" fmla="*/ 6096 h 1267968"/>
                <a:gd name="connsiteX1" fmla="*/ 216367 w 219456"/>
                <a:gd name="connsiteY1" fmla="*/ 6096 h 1267968"/>
                <a:gd name="connsiteX2" fmla="*/ 216367 w 219456"/>
                <a:gd name="connsiteY2" fmla="*/ 1268212 h 1267968"/>
                <a:gd name="connsiteX3" fmla="*/ 6096 w 219456"/>
                <a:gd name="connsiteY3" fmla="*/ 1268212 h 1267968"/>
                <a:gd name="connsiteX4" fmla="*/ 6096 w 219456"/>
                <a:gd name="connsiteY4" fmla="*/ 216449 h 1267968"/>
                <a:gd name="connsiteX5" fmla="*/ 216367 w 219456"/>
                <a:gd name="connsiteY5" fmla="*/ 6096 h 126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19456" h="1267968">
                  <a:moveTo>
                    <a:pt x="216367" y="6096"/>
                  </a:moveTo>
                  <a:lnTo>
                    <a:pt x="216367" y="6096"/>
                  </a:lnTo>
                  <a:lnTo>
                    <a:pt x="216367" y="1268212"/>
                  </a:lnTo>
                  <a:lnTo>
                    <a:pt x="6096" y="1268212"/>
                  </a:lnTo>
                  <a:lnTo>
                    <a:pt x="6096" y="216449"/>
                  </a:lnTo>
                  <a:cubicBezTo>
                    <a:pt x="6096" y="100300"/>
                    <a:pt x="100218" y="6177"/>
                    <a:pt x="216367" y="6096"/>
                  </a:cubicBezTo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10" name="Forma libre: forma 9">
              <a:extLst>
                <a:ext uri="{FF2B5EF4-FFF2-40B4-BE49-F238E27FC236}">
                  <a16:creationId xmlns:a16="http://schemas.microsoft.com/office/drawing/2014/main" id="{AD75F6D7-3230-4C3E-95FD-42D0C437B404}"/>
                </a:ext>
              </a:extLst>
            </p:cNvPr>
            <p:cNvSpPr/>
            <p:nvPr/>
          </p:nvSpPr>
          <p:spPr>
            <a:xfrm>
              <a:off x="9373128" y="2793797"/>
              <a:ext cx="219456" cy="1267968"/>
            </a:xfrm>
            <a:custGeom>
              <a:avLst/>
              <a:gdLst>
                <a:gd name="connsiteX0" fmla="*/ 216368 w 219456"/>
                <a:gd name="connsiteY0" fmla="*/ 6096 h 1267968"/>
                <a:gd name="connsiteX1" fmla="*/ 216368 w 219456"/>
                <a:gd name="connsiteY1" fmla="*/ 6096 h 1267968"/>
                <a:gd name="connsiteX2" fmla="*/ 216368 w 219456"/>
                <a:gd name="connsiteY2" fmla="*/ 1268212 h 1267968"/>
                <a:gd name="connsiteX3" fmla="*/ 6096 w 219456"/>
                <a:gd name="connsiteY3" fmla="*/ 1268212 h 1267968"/>
                <a:gd name="connsiteX4" fmla="*/ 6096 w 219456"/>
                <a:gd name="connsiteY4" fmla="*/ 216449 h 1267968"/>
                <a:gd name="connsiteX5" fmla="*/ 216287 w 219456"/>
                <a:gd name="connsiteY5" fmla="*/ 6096 h 1267968"/>
                <a:gd name="connsiteX6" fmla="*/ 216368 w 219456"/>
                <a:gd name="connsiteY6" fmla="*/ 6096 h 126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19456" h="1267968">
                  <a:moveTo>
                    <a:pt x="216368" y="6096"/>
                  </a:moveTo>
                  <a:lnTo>
                    <a:pt x="216368" y="6096"/>
                  </a:lnTo>
                  <a:lnTo>
                    <a:pt x="216368" y="1268212"/>
                  </a:lnTo>
                  <a:lnTo>
                    <a:pt x="6096" y="1268212"/>
                  </a:lnTo>
                  <a:lnTo>
                    <a:pt x="6096" y="216449"/>
                  </a:lnTo>
                  <a:cubicBezTo>
                    <a:pt x="6096" y="100300"/>
                    <a:pt x="100138" y="6177"/>
                    <a:pt x="216287" y="6096"/>
                  </a:cubicBezTo>
                  <a:lnTo>
                    <a:pt x="216368" y="6096"/>
                  </a:lnTo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11" name="Forma libre: forma 10">
              <a:extLst>
                <a:ext uri="{FF2B5EF4-FFF2-40B4-BE49-F238E27FC236}">
                  <a16:creationId xmlns:a16="http://schemas.microsoft.com/office/drawing/2014/main" id="{48010BDA-4C2D-CDB3-A5A5-91EC58C6F088}"/>
                </a:ext>
              </a:extLst>
            </p:cNvPr>
            <p:cNvSpPr/>
            <p:nvPr/>
          </p:nvSpPr>
          <p:spPr>
            <a:xfrm>
              <a:off x="8111012" y="2793878"/>
              <a:ext cx="1056640" cy="1267968"/>
            </a:xfrm>
            <a:custGeom>
              <a:avLst/>
              <a:gdLst>
                <a:gd name="connsiteX0" fmla="*/ 74046 w 1056640"/>
                <a:gd name="connsiteY0" fmla="*/ 6096 h 1267968"/>
                <a:gd name="connsiteX1" fmla="*/ 6096 w 1056640"/>
                <a:gd name="connsiteY1" fmla="*/ 216367 h 1267968"/>
                <a:gd name="connsiteX2" fmla="*/ 426802 w 1056640"/>
                <a:gd name="connsiteY2" fmla="*/ 216367 h 1267968"/>
                <a:gd name="connsiteX3" fmla="*/ 426802 w 1056640"/>
                <a:gd name="connsiteY3" fmla="*/ 1268131 h 1267968"/>
                <a:gd name="connsiteX4" fmla="*/ 637155 w 1056640"/>
                <a:gd name="connsiteY4" fmla="*/ 1268131 h 1267968"/>
                <a:gd name="connsiteX5" fmla="*/ 637155 w 1056640"/>
                <a:gd name="connsiteY5" fmla="*/ 216367 h 1267968"/>
                <a:gd name="connsiteX6" fmla="*/ 847507 w 1056640"/>
                <a:gd name="connsiteY6" fmla="*/ 216367 h 1267968"/>
                <a:gd name="connsiteX7" fmla="*/ 1057860 w 1056640"/>
                <a:gd name="connsiteY7" fmla="*/ 6096 h 1267968"/>
                <a:gd name="connsiteX8" fmla="*/ 74046 w 1056640"/>
                <a:gd name="connsiteY8" fmla="*/ 6096 h 126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056640" h="1267968">
                  <a:moveTo>
                    <a:pt x="74046" y="6096"/>
                  </a:moveTo>
                  <a:lnTo>
                    <a:pt x="6096" y="216367"/>
                  </a:lnTo>
                  <a:lnTo>
                    <a:pt x="426802" y="216367"/>
                  </a:lnTo>
                  <a:lnTo>
                    <a:pt x="426802" y="1268131"/>
                  </a:lnTo>
                  <a:lnTo>
                    <a:pt x="637155" y="1268131"/>
                  </a:lnTo>
                  <a:lnTo>
                    <a:pt x="637155" y="216367"/>
                  </a:lnTo>
                  <a:lnTo>
                    <a:pt x="847507" y="216367"/>
                  </a:lnTo>
                  <a:cubicBezTo>
                    <a:pt x="963656" y="216367"/>
                    <a:pt x="1057779" y="122245"/>
                    <a:pt x="1057860" y="6096"/>
                  </a:cubicBezTo>
                  <a:lnTo>
                    <a:pt x="74046" y="6096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12" name="Forma libre: forma 11">
              <a:extLst>
                <a:ext uri="{FF2B5EF4-FFF2-40B4-BE49-F238E27FC236}">
                  <a16:creationId xmlns:a16="http://schemas.microsoft.com/office/drawing/2014/main" id="{468E116A-53ED-7837-3CF0-27265CDED591}"/>
                </a:ext>
              </a:extLst>
            </p:cNvPr>
            <p:cNvSpPr/>
            <p:nvPr/>
          </p:nvSpPr>
          <p:spPr>
            <a:xfrm>
              <a:off x="1602108" y="2793797"/>
              <a:ext cx="845312" cy="1267968"/>
            </a:xfrm>
            <a:custGeom>
              <a:avLst/>
              <a:gdLst>
                <a:gd name="connsiteX0" fmla="*/ 216288 w 845312"/>
                <a:gd name="connsiteY0" fmla="*/ 1057859 h 1267968"/>
                <a:gd name="connsiteX1" fmla="*/ 216288 w 845312"/>
                <a:gd name="connsiteY1" fmla="*/ 6096 h 1267968"/>
                <a:gd name="connsiteX2" fmla="*/ 6098 w 845312"/>
                <a:gd name="connsiteY2" fmla="*/ 6096 h 1267968"/>
                <a:gd name="connsiteX3" fmla="*/ 6098 w 845312"/>
                <a:gd name="connsiteY3" fmla="*/ 1057859 h 1267968"/>
                <a:gd name="connsiteX4" fmla="*/ 6098 w 845312"/>
                <a:gd name="connsiteY4" fmla="*/ 1057859 h 1267968"/>
                <a:gd name="connsiteX5" fmla="*/ 14226 w 845312"/>
                <a:gd name="connsiteY5" fmla="*/ 1116706 h 1267968"/>
                <a:gd name="connsiteX6" fmla="*/ 15201 w 845312"/>
                <a:gd name="connsiteY6" fmla="*/ 1120364 h 1267968"/>
                <a:gd name="connsiteX7" fmla="*/ 17071 w 845312"/>
                <a:gd name="connsiteY7" fmla="*/ 1125566 h 1267968"/>
                <a:gd name="connsiteX8" fmla="*/ 22598 w 845312"/>
                <a:gd name="connsiteY8" fmla="*/ 1140358 h 1267968"/>
                <a:gd name="connsiteX9" fmla="*/ 52021 w 845312"/>
                <a:gd name="connsiteY9" fmla="*/ 1189126 h 1267968"/>
                <a:gd name="connsiteX10" fmla="*/ 124685 w 845312"/>
                <a:gd name="connsiteY10" fmla="*/ 1246916 h 1267968"/>
                <a:gd name="connsiteX11" fmla="*/ 216125 w 845312"/>
                <a:gd name="connsiteY11" fmla="*/ 1268049 h 1267968"/>
                <a:gd name="connsiteX12" fmla="*/ 776957 w 845312"/>
                <a:gd name="connsiteY12" fmla="*/ 1268049 h 1267968"/>
                <a:gd name="connsiteX13" fmla="*/ 847021 w 845312"/>
                <a:gd name="connsiteY13" fmla="*/ 1057697 h 1267968"/>
                <a:gd name="connsiteX14" fmla="*/ 216288 w 845312"/>
                <a:gd name="connsiteY14" fmla="*/ 1057859 h 126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845312" h="1267968">
                  <a:moveTo>
                    <a:pt x="216288" y="1057859"/>
                  </a:moveTo>
                  <a:lnTo>
                    <a:pt x="216288" y="6096"/>
                  </a:lnTo>
                  <a:lnTo>
                    <a:pt x="6098" y="6096"/>
                  </a:lnTo>
                  <a:lnTo>
                    <a:pt x="6098" y="1057859"/>
                  </a:lnTo>
                  <a:lnTo>
                    <a:pt x="6098" y="1057859"/>
                  </a:lnTo>
                  <a:cubicBezTo>
                    <a:pt x="6017" y="1077773"/>
                    <a:pt x="8699" y="1097605"/>
                    <a:pt x="14226" y="1116706"/>
                  </a:cubicBezTo>
                  <a:cubicBezTo>
                    <a:pt x="14632" y="1117925"/>
                    <a:pt x="14795" y="1119226"/>
                    <a:pt x="15201" y="1120364"/>
                  </a:cubicBezTo>
                  <a:cubicBezTo>
                    <a:pt x="15608" y="1121502"/>
                    <a:pt x="16502" y="1123859"/>
                    <a:pt x="17071" y="1125566"/>
                  </a:cubicBezTo>
                  <a:cubicBezTo>
                    <a:pt x="18777" y="1130605"/>
                    <a:pt x="20566" y="1135563"/>
                    <a:pt x="22598" y="1140358"/>
                  </a:cubicBezTo>
                  <a:cubicBezTo>
                    <a:pt x="30157" y="1157915"/>
                    <a:pt x="40073" y="1174252"/>
                    <a:pt x="52021" y="1189126"/>
                  </a:cubicBezTo>
                  <a:cubicBezTo>
                    <a:pt x="71691" y="1213510"/>
                    <a:pt x="96481" y="1233262"/>
                    <a:pt x="124685" y="1246916"/>
                  </a:cubicBezTo>
                  <a:cubicBezTo>
                    <a:pt x="153215" y="1260734"/>
                    <a:pt x="184426" y="1267968"/>
                    <a:pt x="216125" y="1268049"/>
                  </a:cubicBezTo>
                  <a:lnTo>
                    <a:pt x="776957" y="1268049"/>
                  </a:lnTo>
                  <a:lnTo>
                    <a:pt x="847021" y="1057697"/>
                  </a:lnTo>
                  <a:lnTo>
                    <a:pt x="216288" y="1057859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13" name="Forma libre: forma 12">
              <a:extLst>
                <a:ext uri="{FF2B5EF4-FFF2-40B4-BE49-F238E27FC236}">
                  <a16:creationId xmlns:a16="http://schemas.microsoft.com/office/drawing/2014/main" id="{D04B7D03-8F74-D51C-0266-B28AED0815EB}"/>
                </a:ext>
              </a:extLst>
            </p:cNvPr>
            <p:cNvSpPr/>
            <p:nvPr/>
          </p:nvSpPr>
          <p:spPr>
            <a:xfrm>
              <a:off x="-6096" y="2794284"/>
              <a:ext cx="959104" cy="1267968"/>
            </a:xfrm>
            <a:custGeom>
              <a:avLst/>
              <a:gdLst>
                <a:gd name="connsiteX0" fmla="*/ 818815 w 959104"/>
                <a:gd name="connsiteY0" fmla="*/ 411764 h 1267968"/>
                <a:gd name="connsiteX1" fmla="*/ 818815 w 959104"/>
                <a:gd name="connsiteY1" fmla="*/ 285699 h 1267968"/>
                <a:gd name="connsiteX2" fmla="*/ 539130 w 959104"/>
                <a:gd name="connsiteY2" fmla="*/ 6096 h 1267968"/>
                <a:gd name="connsiteX3" fmla="*/ 6096 w 959104"/>
                <a:gd name="connsiteY3" fmla="*/ 6096 h 1267968"/>
                <a:gd name="connsiteX4" fmla="*/ 6096 w 959104"/>
                <a:gd name="connsiteY4" fmla="*/ 1057047 h 1267968"/>
                <a:gd name="connsiteX5" fmla="*/ 216367 w 959104"/>
                <a:gd name="connsiteY5" fmla="*/ 1267399 h 1267968"/>
                <a:gd name="connsiteX6" fmla="*/ 532140 w 959104"/>
                <a:gd name="connsiteY6" fmla="*/ 1267399 h 1267968"/>
                <a:gd name="connsiteX7" fmla="*/ 953821 w 959104"/>
                <a:gd name="connsiteY7" fmla="*/ 892861 h 1267968"/>
                <a:gd name="connsiteX8" fmla="*/ 603260 w 959104"/>
                <a:gd name="connsiteY8" fmla="*/ 530596 h 1267968"/>
                <a:gd name="connsiteX9" fmla="*/ 218562 w 959104"/>
                <a:gd name="connsiteY9" fmla="*/ 531490 h 1267968"/>
                <a:gd name="connsiteX10" fmla="*/ 424282 w 959104"/>
                <a:gd name="connsiteY10" fmla="*/ 737210 h 1267968"/>
                <a:gd name="connsiteX11" fmla="*/ 424932 w 959104"/>
                <a:gd name="connsiteY11" fmla="*/ 737210 h 1267968"/>
                <a:gd name="connsiteX12" fmla="*/ 585785 w 959104"/>
                <a:gd name="connsiteY12" fmla="*/ 737210 h 1267968"/>
                <a:gd name="connsiteX13" fmla="*/ 758261 w 959104"/>
                <a:gd name="connsiteY13" fmla="*/ 889203 h 1267968"/>
                <a:gd name="connsiteX14" fmla="*/ 606268 w 959104"/>
                <a:gd name="connsiteY14" fmla="*/ 1061679 h 1267968"/>
                <a:gd name="connsiteX15" fmla="*/ 585704 w 959104"/>
                <a:gd name="connsiteY15" fmla="*/ 1061679 h 1267968"/>
                <a:gd name="connsiteX16" fmla="*/ 216530 w 959104"/>
                <a:gd name="connsiteY16" fmla="*/ 1061679 h 1267968"/>
                <a:gd name="connsiteX17" fmla="*/ 216530 w 959104"/>
                <a:gd name="connsiteY17" fmla="*/ 211653 h 1267968"/>
                <a:gd name="connsiteX18" fmla="*/ 467685 w 959104"/>
                <a:gd name="connsiteY18" fmla="*/ 211653 h 1267968"/>
                <a:gd name="connsiteX19" fmla="*/ 612689 w 959104"/>
                <a:gd name="connsiteY19" fmla="*/ 356575 h 1267968"/>
                <a:gd name="connsiteX20" fmla="*/ 612689 w 959104"/>
                <a:gd name="connsiteY20" fmla="*/ 530352 h 1267968"/>
                <a:gd name="connsiteX21" fmla="*/ 818815 w 959104"/>
                <a:gd name="connsiteY21" fmla="*/ 411764 h 126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959104" h="1267968">
                  <a:moveTo>
                    <a:pt x="818815" y="411764"/>
                  </a:moveTo>
                  <a:lnTo>
                    <a:pt x="818815" y="285699"/>
                  </a:lnTo>
                  <a:cubicBezTo>
                    <a:pt x="818815" y="131267"/>
                    <a:pt x="693562" y="6096"/>
                    <a:pt x="539130" y="6096"/>
                  </a:cubicBezTo>
                  <a:lnTo>
                    <a:pt x="6096" y="6096"/>
                  </a:lnTo>
                  <a:lnTo>
                    <a:pt x="6096" y="1057047"/>
                  </a:lnTo>
                  <a:cubicBezTo>
                    <a:pt x="6096" y="1173196"/>
                    <a:pt x="100218" y="1267318"/>
                    <a:pt x="216367" y="1267399"/>
                  </a:cubicBezTo>
                  <a:lnTo>
                    <a:pt x="532140" y="1267399"/>
                  </a:lnTo>
                  <a:cubicBezTo>
                    <a:pt x="807436" y="1267399"/>
                    <a:pt x="953821" y="1096711"/>
                    <a:pt x="953821" y="892861"/>
                  </a:cubicBezTo>
                  <a:cubicBezTo>
                    <a:pt x="953821" y="725587"/>
                    <a:pt x="840029" y="530596"/>
                    <a:pt x="603260" y="530596"/>
                  </a:cubicBezTo>
                  <a:lnTo>
                    <a:pt x="218562" y="531490"/>
                  </a:lnTo>
                  <a:cubicBezTo>
                    <a:pt x="218562" y="645119"/>
                    <a:pt x="310652" y="737210"/>
                    <a:pt x="424282" y="737210"/>
                  </a:cubicBezTo>
                  <a:cubicBezTo>
                    <a:pt x="424525" y="737210"/>
                    <a:pt x="424688" y="737210"/>
                    <a:pt x="424932" y="737210"/>
                  </a:cubicBezTo>
                  <a:lnTo>
                    <a:pt x="585785" y="737210"/>
                  </a:lnTo>
                  <a:cubicBezTo>
                    <a:pt x="675356" y="731520"/>
                    <a:pt x="752653" y="799551"/>
                    <a:pt x="758261" y="889203"/>
                  </a:cubicBezTo>
                  <a:cubicBezTo>
                    <a:pt x="763951" y="978774"/>
                    <a:pt x="695919" y="1056071"/>
                    <a:pt x="606268" y="1061679"/>
                  </a:cubicBezTo>
                  <a:cubicBezTo>
                    <a:pt x="599440" y="1062086"/>
                    <a:pt x="592531" y="1062086"/>
                    <a:pt x="585704" y="1061679"/>
                  </a:cubicBezTo>
                  <a:lnTo>
                    <a:pt x="216530" y="1061679"/>
                  </a:lnTo>
                  <a:lnTo>
                    <a:pt x="216530" y="211653"/>
                  </a:lnTo>
                  <a:lnTo>
                    <a:pt x="467685" y="211653"/>
                  </a:lnTo>
                  <a:cubicBezTo>
                    <a:pt x="547014" y="213441"/>
                    <a:pt x="610901" y="277246"/>
                    <a:pt x="612689" y="356575"/>
                  </a:cubicBezTo>
                  <a:lnTo>
                    <a:pt x="612689" y="530352"/>
                  </a:lnTo>
                  <a:lnTo>
                    <a:pt x="818815" y="411764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14" name="Forma libre: forma 13">
              <a:extLst>
                <a:ext uri="{FF2B5EF4-FFF2-40B4-BE49-F238E27FC236}">
                  <a16:creationId xmlns:a16="http://schemas.microsoft.com/office/drawing/2014/main" id="{ADD6AB92-43A9-02B8-DAB6-A40142D35B7A}"/>
                </a:ext>
              </a:extLst>
            </p:cNvPr>
            <p:cNvSpPr/>
            <p:nvPr/>
          </p:nvSpPr>
          <p:spPr>
            <a:xfrm>
              <a:off x="2653792" y="2794284"/>
              <a:ext cx="959104" cy="1267968"/>
            </a:xfrm>
            <a:custGeom>
              <a:avLst/>
              <a:gdLst>
                <a:gd name="connsiteX0" fmla="*/ 818896 w 959104"/>
                <a:gd name="connsiteY0" fmla="*/ 411764 h 1267968"/>
                <a:gd name="connsiteX1" fmla="*/ 818896 w 959104"/>
                <a:gd name="connsiteY1" fmla="*/ 285699 h 1267968"/>
                <a:gd name="connsiteX2" fmla="*/ 539212 w 959104"/>
                <a:gd name="connsiteY2" fmla="*/ 6096 h 1267968"/>
                <a:gd name="connsiteX3" fmla="*/ 6096 w 959104"/>
                <a:gd name="connsiteY3" fmla="*/ 6096 h 1267968"/>
                <a:gd name="connsiteX4" fmla="*/ 6096 w 959104"/>
                <a:gd name="connsiteY4" fmla="*/ 1057047 h 1267968"/>
                <a:gd name="connsiteX5" fmla="*/ 216449 w 959104"/>
                <a:gd name="connsiteY5" fmla="*/ 1267399 h 1267968"/>
                <a:gd name="connsiteX6" fmla="*/ 532222 w 959104"/>
                <a:gd name="connsiteY6" fmla="*/ 1267399 h 1267968"/>
                <a:gd name="connsiteX7" fmla="*/ 953821 w 959104"/>
                <a:gd name="connsiteY7" fmla="*/ 892861 h 1267968"/>
                <a:gd name="connsiteX8" fmla="*/ 603342 w 959104"/>
                <a:gd name="connsiteY8" fmla="*/ 530596 h 1267968"/>
                <a:gd name="connsiteX9" fmla="*/ 218643 w 959104"/>
                <a:gd name="connsiteY9" fmla="*/ 531490 h 1267968"/>
                <a:gd name="connsiteX10" fmla="*/ 424363 w 959104"/>
                <a:gd name="connsiteY10" fmla="*/ 737210 h 1267968"/>
                <a:gd name="connsiteX11" fmla="*/ 424932 w 959104"/>
                <a:gd name="connsiteY11" fmla="*/ 737210 h 1267968"/>
                <a:gd name="connsiteX12" fmla="*/ 585866 w 959104"/>
                <a:gd name="connsiteY12" fmla="*/ 737210 h 1267968"/>
                <a:gd name="connsiteX13" fmla="*/ 737860 w 959104"/>
                <a:gd name="connsiteY13" fmla="*/ 909686 h 1267968"/>
                <a:gd name="connsiteX14" fmla="*/ 585866 w 959104"/>
                <a:gd name="connsiteY14" fmla="*/ 1061679 h 1267968"/>
                <a:gd name="connsiteX15" fmla="*/ 216611 w 959104"/>
                <a:gd name="connsiteY15" fmla="*/ 1061679 h 1267968"/>
                <a:gd name="connsiteX16" fmla="*/ 216611 w 959104"/>
                <a:gd name="connsiteY16" fmla="*/ 211653 h 1267968"/>
                <a:gd name="connsiteX17" fmla="*/ 467766 w 959104"/>
                <a:gd name="connsiteY17" fmla="*/ 211653 h 1267968"/>
                <a:gd name="connsiteX18" fmla="*/ 612770 w 959104"/>
                <a:gd name="connsiteY18" fmla="*/ 356575 h 1267968"/>
                <a:gd name="connsiteX19" fmla="*/ 612770 w 959104"/>
                <a:gd name="connsiteY19" fmla="*/ 530352 h 1267968"/>
                <a:gd name="connsiteX20" fmla="*/ 818896 w 959104"/>
                <a:gd name="connsiteY20" fmla="*/ 411764 h 126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959104" h="1267968">
                  <a:moveTo>
                    <a:pt x="818896" y="411764"/>
                  </a:moveTo>
                  <a:lnTo>
                    <a:pt x="818896" y="285699"/>
                  </a:lnTo>
                  <a:cubicBezTo>
                    <a:pt x="818896" y="131267"/>
                    <a:pt x="693644" y="6096"/>
                    <a:pt x="539212" y="6096"/>
                  </a:cubicBezTo>
                  <a:lnTo>
                    <a:pt x="6096" y="6096"/>
                  </a:lnTo>
                  <a:lnTo>
                    <a:pt x="6096" y="1057047"/>
                  </a:lnTo>
                  <a:cubicBezTo>
                    <a:pt x="6096" y="1173196"/>
                    <a:pt x="100299" y="1267399"/>
                    <a:pt x="216449" y="1267399"/>
                  </a:cubicBezTo>
                  <a:lnTo>
                    <a:pt x="532222" y="1267399"/>
                  </a:lnTo>
                  <a:cubicBezTo>
                    <a:pt x="807517" y="1267399"/>
                    <a:pt x="953821" y="1096711"/>
                    <a:pt x="953821" y="892861"/>
                  </a:cubicBezTo>
                  <a:cubicBezTo>
                    <a:pt x="953821" y="725587"/>
                    <a:pt x="840029" y="530596"/>
                    <a:pt x="603342" y="530596"/>
                  </a:cubicBezTo>
                  <a:lnTo>
                    <a:pt x="218643" y="531490"/>
                  </a:lnTo>
                  <a:cubicBezTo>
                    <a:pt x="218643" y="645119"/>
                    <a:pt x="310734" y="737210"/>
                    <a:pt x="424363" y="737210"/>
                  </a:cubicBezTo>
                  <a:cubicBezTo>
                    <a:pt x="424526" y="737210"/>
                    <a:pt x="424769" y="737210"/>
                    <a:pt x="424932" y="737210"/>
                  </a:cubicBezTo>
                  <a:lnTo>
                    <a:pt x="585866" y="737210"/>
                  </a:lnTo>
                  <a:cubicBezTo>
                    <a:pt x="675437" y="742899"/>
                    <a:pt x="743468" y="820115"/>
                    <a:pt x="737860" y="909686"/>
                  </a:cubicBezTo>
                  <a:cubicBezTo>
                    <a:pt x="732658" y="991372"/>
                    <a:pt x="667553" y="1056477"/>
                    <a:pt x="585866" y="1061679"/>
                  </a:cubicBezTo>
                  <a:lnTo>
                    <a:pt x="216611" y="1061679"/>
                  </a:lnTo>
                  <a:lnTo>
                    <a:pt x="216611" y="211653"/>
                  </a:lnTo>
                  <a:lnTo>
                    <a:pt x="467766" y="211653"/>
                  </a:lnTo>
                  <a:cubicBezTo>
                    <a:pt x="547096" y="213441"/>
                    <a:pt x="610982" y="277246"/>
                    <a:pt x="612770" y="356575"/>
                  </a:cubicBezTo>
                  <a:lnTo>
                    <a:pt x="612770" y="530352"/>
                  </a:lnTo>
                  <a:lnTo>
                    <a:pt x="818896" y="411764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15" name="Forma libre: forma 14">
              <a:extLst>
                <a:ext uri="{FF2B5EF4-FFF2-40B4-BE49-F238E27FC236}">
                  <a16:creationId xmlns:a16="http://schemas.microsoft.com/office/drawing/2014/main" id="{EBA18C1D-5352-409E-9BAC-C802B8ED718A}"/>
                </a:ext>
              </a:extLst>
            </p:cNvPr>
            <p:cNvSpPr/>
            <p:nvPr/>
          </p:nvSpPr>
          <p:spPr>
            <a:xfrm>
              <a:off x="5297343" y="2793878"/>
              <a:ext cx="219456" cy="1267968"/>
            </a:xfrm>
            <a:custGeom>
              <a:avLst/>
              <a:gdLst>
                <a:gd name="connsiteX0" fmla="*/ 6096 w 219456"/>
                <a:gd name="connsiteY0" fmla="*/ 6096 h 1267968"/>
                <a:gd name="connsiteX1" fmla="*/ 216449 w 219456"/>
                <a:gd name="connsiteY1" fmla="*/ 6096 h 1267968"/>
                <a:gd name="connsiteX2" fmla="*/ 216449 w 219456"/>
                <a:gd name="connsiteY2" fmla="*/ 1268212 h 1267968"/>
                <a:gd name="connsiteX3" fmla="*/ 6096 w 219456"/>
                <a:gd name="connsiteY3" fmla="*/ 1268212 h 126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19456" h="1267968">
                  <a:moveTo>
                    <a:pt x="6096" y="6096"/>
                  </a:moveTo>
                  <a:lnTo>
                    <a:pt x="216449" y="6096"/>
                  </a:lnTo>
                  <a:lnTo>
                    <a:pt x="216449" y="1268212"/>
                  </a:lnTo>
                  <a:lnTo>
                    <a:pt x="6096" y="1268212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16" name="Forma libre: forma 15">
              <a:extLst>
                <a:ext uri="{FF2B5EF4-FFF2-40B4-BE49-F238E27FC236}">
                  <a16:creationId xmlns:a16="http://schemas.microsoft.com/office/drawing/2014/main" id="{7300E0B8-8B2A-B1FB-822D-97B8672020D3}"/>
                </a:ext>
              </a:extLst>
            </p:cNvPr>
            <p:cNvSpPr/>
            <p:nvPr/>
          </p:nvSpPr>
          <p:spPr>
            <a:xfrm>
              <a:off x="5507695" y="2793634"/>
              <a:ext cx="487680" cy="1267968"/>
            </a:xfrm>
            <a:custGeom>
              <a:avLst/>
              <a:gdLst>
                <a:gd name="connsiteX0" fmla="*/ 426557 w 487680"/>
                <a:gd name="connsiteY0" fmla="*/ 1268375 h 1267968"/>
                <a:gd name="connsiteX1" fmla="*/ 485323 w 487680"/>
                <a:gd name="connsiteY1" fmla="*/ 1268375 h 1267968"/>
                <a:gd name="connsiteX2" fmla="*/ 248067 w 487680"/>
                <a:gd name="connsiteY2" fmla="*/ 154838 h 1267968"/>
                <a:gd name="connsiteX3" fmla="*/ 64861 w 487680"/>
                <a:gd name="connsiteY3" fmla="*/ 6096 h 1267968"/>
                <a:gd name="connsiteX4" fmla="*/ 6096 w 487680"/>
                <a:gd name="connsiteY4" fmla="*/ 6096 h 1267968"/>
                <a:gd name="connsiteX5" fmla="*/ 243352 w 487680"/>
                <a:gd name="connsiteY5" fmla="*/ 1119632 h 1267968"/>
                <a:gd name="connsiteX6" fmla="*/ 426557 w 487680"/>
                <a:gd name="connsiteY6" fmla="*/ 1267968 h 126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87680" h="1267968">
                  <a:moveTo>
                    <a:pt x="426557" y="1268375"/>
                  </a:moveTo>
                  <a:lnTo>
                    <a:pt x="485323" y="1268375"/>
                  </a:lnTo>
                  <a:lnTo>
                    <a:pt x="248067" y="154838"/>
                  </a:lnTo>
                  <a:cubicBezTo>
                    <a:pt x="229535" y="68356"/>
                    <a:pt x="153294" y="6421"/>
                    <a:pt x="64861" y="6096"/>
                  </a:cubicBezTo>
                  <a:lnTo>
                    <a:pt x="6096" y="6096"/>
                  </a:lnTo>
                  <a:lnTo>
                    <a:pt x="243352" y="1119632"/>
                  </a:lnTo>
                  <a:cubicBezTo>
                    <a:pt x="261803" y="1206114"/>
                    <a:pt x="338125" y="1267887"/>
                    <a:pt x="426557" y="1267968"/>
                  </a:cubicBezTo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17" name="Forma libre: forma 16">
              <a:extLst>
                <a:ext uri="{FF2B5EF4-FFF2-40B4-BE49-F238E27FC236}">
                  <a16:creationId xmlns:a16="http://schemas.microsoft.com/office/drawing/2014/main" id="{1FD079B2-AD8F-EF7E-C7A6-5EA12C57FB69}"/>
                </a:ext>
              </a:extLst>
            </p:cNvPr>
            <p:cNvSpPr/>
            <p:nvPr/>
          </p:nvSpPr>
          <p:spPr>
            <a:xfrm>
              <a:off x="5986922" y="2794284"/>
              <a:ext cx="487680" cy="1267968"/>
            </a:xfrm>
            <a:custGeom>
              <a:avLst/>
              <a:gdLst>
                <a:gd name="connsiteX0" fmla="*/ 243271 w 487680"/>
                <a:gd name="connsiteY0" fmla="*/ 154595 h 1267968"/>
                <a:gd name="connsiteX1" fmla="*/ 6096 w 487680"/>
                <a:gd name="connsiteY1" fmla="*/ 1268131 h 1267968"/>
                <a:gd name="connsiteX2" fmla="*/ 216367 w 487680"/>
                <a:gd name="connsiteY2" fmla="*/ 1268131 h 1267968"/>
                <a:gd name="connsiteX3" fmla="*/ 485323 w 487680"/>
                <a:gd name="connsiteY3" fmla="*/ 6096 h 1267968"/>
                <a:gd name="connsiteX4" fmla="*/ 426557 w 487680"/>
                <a:gd name="connsiteY4" fmla="*/ 6096 h 1267968"/>
                <a:gd name="connsiteX5" fmla="*/ 243271 w 487680"/>
                <a:gd name="connsiteY5" fmla="*/ 155001 h 126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87680" h="1267968">
                  <a:moveTo>
                    <a:pt x="243271" y="154595"/>
                  </a:moveTo>
                  <a:lnTo>
                    <a:pt x="6096" y="1268131"/>
                  </a:lnTo>
                  <a:lnTo>
                    <a:pt x="216367" y="1268131"/>
                  </a:lnTo>
                  <a:lnTo>
                    <a:pt x="485323" y="6096"/>
                  </a:lnTo>
                  <a:lnTo>
                    <a:pt x="426557" y="6096"/>
                  </a:lnTo>
                  <a:cubicBezTo>
                    <a:pt x="338043" y="6421"/>
                    <a:pt x="261722" y="68438"/>
                    <a:pt x="243271" y="155001"/>
                  </a:cubicBezTo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18" name="Forma libre: forma 17">
              <a:extLst>
                <a:ext uri="{FF2B5EF4-FFF2-40B4-BE49-F238E27FC236}">
                  <a16:creationId xmlns:a16="http://schemas.microsoft.com/office/drawing/2014/main" id="{481C3EFD-D0BA-E95E-43A7-59E1F61C0EAE}"/>
                </a:ext>
              </a:extLst>
            </p:cNvPr>
            <p:cNvSpPr/>
            <p:nvPr/>
          </p:nvSpPr>
          <p:spPr>
            <a:xfrm>
              <a:off x="6466149" y="2793878"/>
              <a:ext cx="219456" cy="1267968"/>
            </a:xfrm>
            <a:custGeom>
              <a:avLst/>
              <a:gdLst>
                <a:gd name="connsiteX0" fmla="*/ 6096 w 219456"/>
                <a:gd name="connsiteY0" fmla="*/ 6096 h 1267968"/>
                <a:gd name="connsiteX1" fmla="*/ 216449 w 219456"/>
                <a:gd name="connsiteY1" fmla="*/ 6096 h 1267968"/>
                <a:gd name="connsiteX2" fmla="*/ 216449 w 219456"/>
                <a:gd name="connsiteY2" fmla="*/ 1268212 h 1267968"/>
                <a:gd name="connsiteX3" fmla="*/ 6096 w 219456"/>
                <a:gd name="connsiteY3" fmla="*/ 1268212 h 126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19456" h="1267968">
                  <a:moveTo>
                    <a:pt x="6096" y="6096"/>
                  </a:moveTo>
                  <a:lnTo>
                    <a:pt x="216449" y="6096"/>
                  </a:lnTo>
                  <a:lnTo>
                    <a:pt x="216449" y="1268212"/>
                  </a:lnTo>
                  <a:lnTo>
                    <a:pt x="6096" y="1268212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19" name="Forma libre: forma 18">
              <a:extLst>
                <a:ext uri="{FF2B5EF4-FFF2-40B4-BE49-F238E27FC236}">
                  <a16:creationId xmlns:a16="http://schemas.microsoft.com/office/drawing/2014/main" id="{902C5F5C-2D00-52D4-3739-C3B6189302F6}"/>
                </a:ext>
              </a:extLst>
            </p:cNvPr>
            <p:cNvSpPr/>
            <p:nvPr/>
          </p:nvSpPr>
          <p:spPr>
            <a:xfrm>
              <a:off x="9815617" y="2776728"/>
              <a:ext cx="950976" cy="1300480"/>
            </a:xfrm>
            <a:custGeom>
              <a:avLst/>
              <a:gdLst>
                <a:gd name="connsiteX0" fmla="*/ 889935 w 950976"/>
                <a:gd name="connsiteY0" fmla="*/ 286350 h 1300480"/>
                <a:gd name="connsiteX1" fmla="*/ 285618 w 950976"/>
                <a:gd name="connsiteY1" fmla="*/ 417779 h 1300480"/>
                <a:gd name="connsiteX2" fmla="*/ 417047 w 950976"/>
                <a:gd name="connsiteY2" fmla="*/ 1022096 h 1300480"/>
                <a:gd name="connsiteX3" fmla="*/ 653410 w 950976"/>
                <a:gd name="connsiteY3" fmla="*/ 1091509 h 1300480"/>
                <a:gd name="connsiteX4" fmla="*/ 927242 w 950976"/>
                <a:gd name="connsiteY4" fmla="*/ 997712 h 1300480"/>
                <a:gd name="connsiteX5" fmla="*/ 927242 w 950976"/>
                <a:gd name="connsiteY5" fmla="*/ 1240170 h 1300480"/>
                <a:gd name="connsiteX6" fmla="*/ 653736 w 950976"/>
                <a:gd name="connsiteY6" fmla="*/ 1301862 h 1300480"/>
                <a:gd name="connsiteX7" fmla="*/ 6096 w 950976"/>
                <a:gd name="connsiteY7" fmla="*/ 653735 h 1300480"/>
                <a:gd name="connsiteX8" fmla="*/ 654304 w 950976"/>
                <a:gd name="connsiteY8" fmla="*/ 6096 h 1300480"/>
                <a:gd name="connsiteX9" fmla="*/ 948050 w 950976"/>
                <a:gd name="connsiteY9" fmla="*/ 76647 h 1300480"/>
                <a:gd name="connsiteX10" fmla="*/ 889935 w 950976"/>
                <a:gd name="connsiteY10" fmla="*/ 286350 h 13004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950976" h="1300480">
                  <a:moveTo>
                    <a:pt x="889935" y="286350"/>
                  </a:moveTo>
                  <a:cubicBezTo>
                    <a:pt x="686735" y="155814"/>
                    <a:pt x="416235" y="214661"/>
                    <a:pt x="285618" y="417779"/>
                  </a:cubicBezTo>
                  <a:cubicBezTo>
                    <a:pt x="155082" y="620979"/>
                    <a:pt x="213929" y="891479"/>
                    <a:pt x="417047" y="1022096"/>
                  </a:cubicBezTo>
                  <a:cubicBezTo>
                    <a:pt x="487599" y="1067369"/>
                    <a:pt x="569610" y="1091509"/>
                    <a:pt x="653410" y="1091509"/>
                  </a:cubicBezTo>
                  <a:cubicBezTo>
                    <a:pt x="752571" y="1091753"/>
                    <a:pt x="849051" y="1058753"/>
                    <a:pt x="927242" y="997712"/>
                  </a:cubicBezTo>
                  <a:lnTo>
                    <a:pt x="927242" y="1240170"/>
                  </a:lnTo>
                  <a:cubicBezTo>
                    <a:pt x="841817" y="1280892"/>
                    <a:pt x="748345" y="1302024"/>
                    <a:pt x="653736" y="1301862"/>
                  </a:cubicBezTo>
                  <a:cubicBezTo>
                    <a:pt x="295941" y="1301699"/>
                    <a:pt x="5933" y="1011530"/>
                    <a:pt x="6096" y="653735"/>
                  </a:cubicBezTo>
                  <a:cubicBezTo>
                    <a:pt x="6259" y="295941"/>
                    <a:pt x="296428" y="5934"/>
                    <a:pt x="654304" y="6096"/>
                  </a:cubicBezTo>
                  <a:cubicBezTo>
                    <a:pt x="756391" y="6096"/>
                    <a:pt x="857097" y="30318"/>
                    <a:pt x="948050" y="76647"/>
                  </a:cubicBezTo>
                  <a:lnTo>
                    <a:pt x="889935" y="286350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37" name="Forma libre: forma 36">
              <a:extLst>
                <a:ext uri="{FF2B5EF4-FFF2-40B4-BE49-F238E27FC236}">
                  <a16:creationId xmlns:a16="http://schemas.microsoft.com/office/drawing/2014/main" id="{42F93CE2-96B3-1971-C897-7300012FF8BF}"/>
                </a:ext>
              </a:extLst>
            </p:cNvPr>
            <p:cNvSpPr/>
            <p:nvPr/>
          </p:nvSpPr>
          <p:spPr>
            <a:xfrm>
              <a:off x="6886773" y="2794041"/>
              <a:ext cx="1276096" cy="1267968"/>
            </a:xfrm>
            <a:custGeom>
              <a:avLst/>
              <a:gdLst>
                <a:gd name="connsiteX0" fmla="*/ 1060135 w 1276096"/>
                <a:gd name="connsiteY0" fmla="*/ 1267968 h 1267968"/>
                <a:gd name="connsiteX1" fmla="*/ 1273007 w 1276096"/>
                <a:gd name="connsiteY1" fmla="*/ 1267968 h 1267968"/>
                <a:gd name="connsiteX2" fmla="*/ 900501 w 1276096"/>
                <a:gd name="connsiteY2" fmla="*/ 149962 h 1267968"/>
                <a:gd name="connsiteX3" fmla="*/ 700959 w 1276096"/>
                <a:gd name="connsiteY3" fmla="*/ 6096 h 1267968"/>
                <a:gd name="connsiteX4" fmla="*/ 426801 w 1276096"/>
                <a:gd name="connsiteY4" fmla="*/ 6096 h 1267968"/>
                <a:gd name="connsiteX5" fmla="*/ 6096 w 1276096"/>
                <a:gd name="connsiteY5" fmla="*/ 1268212 h 1267968"/>
                <a:gd name="connsiteX6" fmla="*/ 218968 w 1276096"/>
                <a:gd name="connsiteY6" fmla="*/ 1268212 h 1267968"/>
                <a:gd name="connsiteX7" fmla="*/ 324145 w 1276096"/>
                <a:gd name="connsiteY7" fmla="*/ 952683 h 1267968"/>
                <a:gd name="connsiteX8" fmla="*/ 673649 w 1276096"/>
                <a:gd name="connsiteY8" fmla="*/ 952683 h 1267968"/>
                <a:gd name="connsiteX9" fmla="*/ 884001 w 1276096"/>
                <a:gd name="connsiteY9" fmla="*/ 742330 h 1267968"/>
                <a:gd name="connsiteX10" fmla="*/ 884001 w 1276096"/>
                <a:gd name="connsiteY10" fmla="*/ 742330 h 1267968"/>
                <a:gd name="connsiteX11" fmla="*/ 394127 w 1276096"/>
                <a:gd name="connsiteY11" fmla="*/ 742330 h 1267968"/>
                <a:gd name="connsiteX12" fmla="*/ 639511 w 1276096"/>
                <a:gd name="connsiteY12" fmla="*/ 6096 h 1267968"/>
                <a:gd name="connsiteX13" fmla="*/ 1060135 w 1276096"/>
                <a:gd name="connsiteY13" fmla="*/ 1267968 h 126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276096" h="1267968">
                  <a:moveTo>
                    <a:pt x="1060135" y="1267968"/>
                  </a:moveTo>
                  <a:lnTo>
                    <a:pt x="1273007" y="1267968"/>
                  </a:lnTo>
                  <a:lnTo>
                    <a:pt x="900501" y="149962"/>
                  </a:lnTo>
                  <a:cubicBezTo>
                    <a:pt x="871891" y="64049"/>
                    <a:pt x="791505" y="6096"/>
                    <a:pt x="700959" y="6096"/>
                  </a:cubicBezTo>
                  <a:lnTo>
                    <a:pt x="426801" y="6096"/>
                  </a:lnTo>
                  <a:lnTo>
                    <a:pt x="6096" y="1268212"/>
                  </a:lnTo>
                  <a:lnTo>
                    <a:pt x="218968" y="1268212"/>
                  </a:lnTo>
                  <a:lnTo>
                    <a:pt x="324145" y="952683"/>
                  </a:lnTo>
                  <a:lnTo>
                    <a:pt x="673649" y="952683"/>
                  </a:lnTo>
                  <a:cubicBezTo>
                    <a:pt x="789798" y="952683"/>
                    <a:pt x="884001" y="858479"/>
                    <a:pt x="884001" y="742330"/>
                  </a:cubicBezTo>
                  <a:lnTo>
                    <a:pt x="884001" y="742330"/>
                  </a:lnTo>
                  <a:cubicBezTo>
                    <a:pt x="884001" y="742330"/>
                    <a:pt x="394127" y="742330"/>
                    <a:pt x="394127" y="742330"/>
                  </a:cubicBezTo>
                  <a:lnTo>
                    <a:pt x="639511" y="6096"/>
                  </a:lnTo>
                  <a:lnTo>
                    <a:pt x="1060135" y="1267968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38" name="Forma libre: forma 37">
              <a:extLst>
                <a:ext uri="{FF2B5EF4-FFF2-40B4-BE49-F238E27FC236}">
                  <a16:creationId xmlns:a16="http://schemas.microsoft.com/office/drawing/2014/main" id="{799026CB-6C0F-D7DA-B8A9-319D8A3D9181}"/>
                </a:ext>
              </a:extLst>
            </p:cNvPr>
            <p:cNvSpPr/>
            <p:nvPr/>
          </p:nvSpPr>
          <p:spPr>
            <a:xfrm>
              <a:off x="10918749" y="2794041"/>
              <a:ext cx="1276096" cy="1267968"/>
            </a:xfrm>
            <a:custGeom>
              <a:avLst/>
              <a:gdLst>
                <a:gd name="connsiteX0" fmla="*/ 1060380 w 1276096"/>
                <a:gd name="connsiteY0" fmla="*/ 1267968 h 1267968"/>
                <a:gd name="connsiteX1" fmla="*/ 1273251 w 1276096"/>
                <a:gd name="connsiteY1" fmla="*/ 1267968 h 1267968"/>
                <a:gd name="connsiteX2" fmla="*/ 900420 w 1276096"/>
                <a:gd name="connsiteY2" fmla="*/ 149962 h 1267968"/>
                <a:gd name="connsiteX3" fmla="*/ 700877 w 1276096"/>
                <a:gd name="connsiteY3" fmla="*/ 6096 h 1267968"/>
                <a:gd name="connsiteX4" fmla="*/ 426801 w 1276096"/>
                <a:gd name="connsiteY4" fmla="*/ 6096 h 1267968"/>
                <a:gd name="connsiteX5" fmla="*/ 6096 w 1276096"/>
                <a:gd name="connsiteY5" fmla="*/ 1268212 h 1267968"/>
                <a:gd name="connsiteX6" fmla="*/ 218969 w 1276096"/>
                <a:gd name="connsiteY6" fmla="*/ 1268212 h 1267968"/>
                <a:gd name="connsiteX7" fmla="*/ 324145 w 1276096"/>
                <a:gd name="connsiteY7" fmla="*/ 952683 h 1267968"/>
                <a:gd name="connsiteX8" fmla="*/ 673649 w 1276096"/>
                <a:gd name="connsiteY8" fmla="*/ 952683 h 1267968"/>
                <a:gd name="connsiteX9" fmla="*/ 884001 w 1276096"/>
                <a:gd name="connsiteY9" fmla="*/ 742330 h 1267968"/>
                <a:gd name="connsiteX10" fmla="*/ 884001 w 1276096"/>
                <a:gd name="connsiteY10" fmla="*/ 742330 h 1267968"/>
                <a:gd name="connsiteX11" fmla="*/ 394127 w 1276096"/>
                <a:gd name="connsiteY11" fmla="*/ 742330 h 1267968"/>
                <a:gd name="connsiteX12" fmla="*/ 639512 w 1276096"/>
                <a:gd name="connsiteY12" fmla="*/ 6096 h 1267968"/>
                <a:gd name="connsiteX13" fmla="*/ 1060380 w 1276096"/>
                <a:gd name="connsiteY13" fmla="*/ 1267968 h 126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276096" h="1267968">
                  <a:moveTo>
                    <a:pt x="1060380" y="1267968"/>
                  </a:moveTo>
                  <a:lnTo>
                    <a:pt x="1273251" y="1267968"/>
                  </a:lnTo>
                  <a:lnTo>
                    <a:pt x="900420" y="149962"/>
                  </a:lnTo>
                  <a:cubicBezTo>
                    <a:pt x="871809" y="64049"/>
                    <a:pt x="791423" y="6096"/>
                    <a:pt x="700877" y="6096"/>
                  </a:cubicBezTo>
                  <a:lnTo>
                    <a:pt x="426801" y="6096"/>
                  </a:lnTo>
                  <a:lnTo>
                    <a:pt x="6096" y="1268212"/>
                  </a:lnTo>
                  <a:lnTo>
                    <a:pt x="218969" y="1268212"/>
                  </a:lnTo>
                  <a:lnTo>
                    <a:pt x="324145" y="952683"/>
                  </a:lnTo>
                  <a:lnTo>
                    <a:pt x="673649" y="952683"/>
                  </a:lnTo>
                  <a:cubicBezTo>
                    <a:pt x="789798" y="952683"/>
                    <a:pt x="884001" y="858479"/>
                    <a:pt x="884001" y="742330"/>
                  </a:cubicBezTo>
                  <a:lnTo>
                    <a:pt x="884001" y="742330"/>
                  </a:lnTo>
                  <a:cubicBezTo>
                    <a:pt x="884001" y="742330"/>
                    <a:pt x="394127" y="742330"/>
                    <a:pt x="394127" y="742330"/>
                  </a:cubicBezTo>
                  <a:lnTo>
                    <a:pt x="639512" y="6096"/>
                  </a:lnTo>
                  <a:lnTo>
                    <a:pt x="1060380" y="1267968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</p:grpSp>
      <p:sp>
        <p:nvSpPr>
          <p:cNvPr id="32" name="Marcador de Posição do Rodapé 4">
            <a:extLst>
              <a:ext uri="{FF2B5EF4-FFF2-40B4-BE49-F238E27FC236}">
                <a16:creationId xmlns:a16="http://schemas.microsoft.com/office/drawing/2014/main" id="{A0CA374E-F431-46C5-8D1F-2B89F796AB2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12762" y="6356350"/>
            <a:ext cx="534669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accent2"/>
                </a:solidFill>
              </a:defRPr>
            </a:lvl1pPr>
          </a:lstStyle>
          <a:p>
            <a:r>
              <a:rPr lang="pt-PT"/>
              <a:t>Título de la presentación</a:t>
            </a:r>
            <a:endParaRPr lang="pt-PT" dirty="0"/>
          </a:p>
        </p:txBody>
      </p:sp>
      <p:sp>
        <p:nvSpPr>
          <p:cNvPr id="33" name="Marcador de Posição do Número do Diapositivo 5">
            <a:extLst>
              <a:ext uri="{FF2B5EF4-FFF2-40B4-BE49-F238E27FC236}">
                <a16:creationId xmlns:a16="http://schemas.microsoft.com/office/drawing/2014/main" id="{84D76498-175A-4C4B-A639-7E1D645AD79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936039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accent2"/>
                </a:solidFill>
              </a:defRPr>
            </a:lvl1pPr>
          </a:lstStyle>
          <a:p>
            <a:fld id="{24A347C2-D68E-473A-8C76-1D063E4EB6E0}" type="slidenum">
              <a:rPr lang="es-ES" smtClean="0"/>
              <a:pPr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5097740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5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25E-6 0.03889 L 1.25E-6 1.85185E-6 " pathEditMode="relative" rAng="0" ptsTypes="AA">
                                      <p:cBhvr>
                                        <p:cTn id="9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944"/>
                                    </p:animMotion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25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25E-6 0.03889 L 1.25E-6 1.85185E-6 " pathEditMode="relative" rAng="0" ptsTypes="AA">
                                      <p:cBhvr>
                                        <p:cTn id="14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944"/>
                                    </p:animMotion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2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2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2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2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2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2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" dur="500"/>
                                        <p:tgtEl>
                                          <p:spTgt spid="2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1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3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4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4" grpId="0" animBg="1"/>
      <p:bldP spid="35" grpId="0" animBg="1"/>
      <p:bldP spid="6" grpId="0"/>
      <p:bldP spid="6" grpId="1"/>
      <p:bldP spid="7" grpId="0">
        <p:tmplLst>
          <p:tmpl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250"/>
                        <p:tgtEl>
                          <p:spTgt spid="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7" grpId="1"/>
      <p:bldP spid="22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2"/>
                        </p:tgtEl>
                      </p:cBhvr>
                    </p:animEffect>
                  </p:childTnLst>
                </p:cTn>
              </p:par>
            </p:tnLst>
          </p:tmpl>
          <p:tmpl lvl="2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2"/>
                        </p:tgtEl>
                      </p:cBhvr>
                    </p:animEffect>
                  </p:childTnLst>
                </p:cTn>
              </p:par>
            </p:tnLst>
          </p:tmpl>
          <p:tmpl lvl="3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2"/>
                        </p:tgtEl>
                      </p:cBhvr>
                    </p:animEffect>
                  </p:childTnLst>
                </p:cTn>
              </p:par>
            </p:tnLst>
          </p:tmpl>
          <p:tmpl lvl="4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2"/>
                        </p:tgtEl>
                      </p:cBhvr>
                    </p:animEffect>
                  </p:childTnLst>
                </p:cTn>
              </p:par>
            </p:tnLst>
          </p:tmpl>
          <p:tmpl lvl="5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3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4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4"/>
                        </p:tgtEl>
                      </p:cBhvr>
                    </p:animEffect>
                  </p:childTnLst>
                </p:cTn>
              </p:par>
            </p:tnLst>
          </p:tmpl>
          <p:tmpl lvl="2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4"/>
                        </p:tgtEl>
                      </p:cBhvr>
                    </p:animEffect>
                  </p:childTnLst>
                </p:cTn>
              </p:par>
            </p:tnLst>
          </p:tmpl>
          <p:tmpl lvl="3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4"/>
                        </p:tgtEl>
                      </p:cBhvr>
                    </p:animEffect>
                  </p:childTnLst>
                </p:cTn>
              </p:par>
            </p:tnLst>
          </p:tmpl>
          <p:tmpl lvl="4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4"/>
                        </p:tgtEl>
                      </p:cBhvr>
                    </p:animEffect>
                  </p:childTnLst>
                </p:cTn>
              </p:par>
            </p:tnLst>
          </p:tmpl>
          <p:tmpl lvl="5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5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6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6"/>
                        </p:tgtEl>
                      </p:cBhvr>
                    </p:animEffect>
                  </p:childTnLst>
                </p:cTn>
              </p:par>
            </p:tnLst>
          </p:tmpl>
          <p:tmpl lvl="2">
            <p:tnLst>
              <p:par>
                <p:cTn presetID="10" presetClass="entr" presetSubtype="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6"/>
                        </p:tgtEl>
                      </p:cBhvr>
                    </p:animEffect>
                  </p:childTnLst>
                </p:cTn>
              </p:par>
            </p:tnLst>
          </p:tmpl>
          <p:tmpl lvl="3">
            <p:tnLst>
              <p:par>
                <p:cTn presetID="10" presetClass="entr" presetSubtype="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6"/>
                        </p:tgtEl>
                      </p:cBhvr>
                    </p:animEffect>
                  </p:childTnLst>
                </p:cTn>
              </p:par>
            </p:tnLst>
          </p:tmpl>
          <p:tmpl lvl="4">
            <p:tnLst>
              <p:par>
                <p:cTn presetID="10" presetClass="entr" presetSubtype="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6"/>
                        </p:tgtEl>
                      </p:cBhvr>
                    </p:animEffect>
                  </p:childTnLst>
                </p:cTn>
              </p:par>
            </p:tnLst>
          </p:tmpl>
          <p:tmpl lvl="5">
            <p:tnLst>
              <p:par>
                <p:cTn presetID="10" presetClass="entr" presetSubtype="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7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8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8"/>
                        </p:tgtEl>
                      </p:cBhvr>
                    </p:animEffect>
                  </p:childTnLst>
                </p:cTn>
              </p:par>
            </p:tnLst>
          </p:tmpl>
          <p:tmpl lvl="2">
            <p:tnLst>
              <p:par>
                <p:cTn presetID="10" presetClass="entr" presetSubtype="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8"/>
                        </p:tgtEl>
                      </p:cBhvr>
                    </p:animEffect>
                  </p:childTnLst>
                </p:cTn>
              </p:par>
            </p:tnLst>
          </p:tmpl>
          <p:tmpl lvl="3">
            <p:tnLst>
              <p:par>
                <p:cTn presetID="10" presetClass="entr" presetSubtype="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8"/>
                        </p:tgtEl>
                      </p:cBhvr>
                    </p:animEffect>
                  </p:childTnLst>
                </p:cTn>
              </p:par>
            </p:tnLst>
          </p:tmpl>
          <p:tmpl lvl="4">
            <p:tnLst>
              <p:par>
                <p:cTn presetID="10" presetClass="entr" presetSubtype="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8"/>
                        </p:tgtEl>
                      </p:cBhvr>
                    </p:animEffect>
                  </p:childTnLst>
                </p:cTn>
              </p:par>
            </p:tnLst>
          </p:tmpl>
          <p:tmpl lvl="5">
            <p:tnLst>
              <p:par>
                <p:cTn presetID="10" presetClass="entr" presetSubtype="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9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9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0_Esquema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Imagem 1">
            <a:extLst>
              <a:ext uri="{FF2B5EF4-FFF2-40B4-BE49-F238E27FC236}">
                <a16:creationId xmlns:a16="http://schemas.microsoft.com/office/drawing/2014/main" id="{829BA8E4-0079-4218-B1C1-7BE1215476C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 l="17054" t="63816" r="7887" b="6058"/>
          <a:stretch>
            <a:fillRect/>
          </a:stretch>
        </p:blipFill>
        <p:spPr>
          <a:xfrm flipH="1" flipV="1">
            <a:off x="-18237" y="2406650"/>
            <a:ext cx="8653190" cy="4451350"/>
          </a:xfrm>
          <a:prstGeom prst="rect">
            <a:avLst/>
          </a:prstGeom>
        </p:spPr>
      </p:pic>
      <p:sp>
        <p:nvSpPr>
          <p:cNvPr id="6" name="Retângulo 5">
            <a:extLst>
              <a:ext uri="{FF2B5EF4-FFF2-40B4-BE49-F238E27FC236}">
                <a16:creationId xmlns:a16="http://schemas.microsoft.com/office/drawing/2014/main" id="{0DBA9C64-637C-E8AA-7625-C347823F5C6F}"/>
              </a:ext>
            </a:extLst>
          </p:cNvPr>
          <p:cNvSpPr/>
          <p:nvPr userDrawn="1"/>
        </p:nvSpPr>
        <p:spPr>
          <a:xfrm>
            <a:off x="-43340" y="0"/>
            <a:ext cx="4076700" cy="6858000"/>
          </a:xfrm>
          <a:prstGeom prst="rect">
            <a:avLst/>
          </a:prstGeom>
          <a:solidFill>
            <a:srgbClr val="184BF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  <p:pic>
        <p:nvPicPr>
          <p:cNvPr id="30" name="Imagem 29">
            <a:extLst>
              <a:ext uri="{FF2B5EF4-FFF2-40B4-BE49-F238E27FC236}">
                <a16:creationId xmlns:a16="http://schemas.microsoft.com/office/drawing/2014/main" id="{9BBF854F-F9A1-9B47-6C3C-57DC330711D9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 l="53416" t="42362" r="17906" b="14003"/>
          <a:stretch>
            <a:fillRect/>
          </a:stretch>
        </p:blipFill>
        <p:spPr>
          <a:xfrm>
            <a:off x="-43465" y="-42423"/>
            <a:ext cx="2226226" cy="3387299"/>
          </a:xfrm>
          <a:prstGeom prst="rect">
            <a:avLst/>
          </a:prstGeom>
        </p:spPr>
      </p:pic>
      <p:sp>
        <p:nvSpPr>
          <p:cNvPr id="29" name="Marcador de Posição do Texto 28">
            <a:extLst>
              <a:ext uri="{FF2B5EF4-FFF2-40B4-BE49-F238E27FC236}">
                <a16:creationId xmlns:a16="http://schemas.microsoft.com/office/drawing/2014/main" id="{F3938C01-72D5-2EFC-781E-BC19071F3FE3}"/>
              </a:ext>
            </a:extLst>
          </p:cNvPr>
          <p:cNvSpPr>
            <a:spLocks noGrp="1"/>
          </p:cNvSpPr>
          <p:nvPr userDrawn="1">
            <p:ph type="body" sz="quarter" idx="15" hasCustomPrompt="1"/>
          </p:nvPr>
        </p:nvSpPr>
        <p:spPr>
          <a:xfrm>
            <a:off x="8115301" y="3700119"/>
            <a:ext cx="3796615" cy="357068"/>
          </a:xfrm>
          <a:custGeom>
            <a:avLst/>
            <a:gdLst>
              <a:gd name="connsiteX0" fmla="*/ 3086099 w 3796615"/>
              <a:gd name="connsiteY0" fmla="*/ 0 h 357068"/>
              <a:gd name="connsiteX1" fmla="*/ 3086099 w 3796615"/>
              <a:gd name="connsiteY1" fmla="*/ 14 h 357068"/>
              <a:gd name="connsiteX2" fmla="*/ 3796615 w 3796615"/>
              <a:gd name="connsiteY2" fmla="*/ 14 h 357068"/>
              <a:gd name="connsiteX3" fmla="*/ 3331995 w 3796615"/>
              <a:gd name="connsiteY3" fmla="*/ 357068 h 357068"/>
              <a:gd name="connsiteX4" fmla="*/ 3331806 w 3796615"/>
              <a:gd name="connsiteY4" fmla="*/ 357068 h 357068"/>
              <a:gd name="connsiteX5" fmla="*/ 2944813 w 3796615"/>
              <a:gd name="connsiteY5" fmla="*/ 357068 h 357068"/>
              <a:gd name="connsiteX6" fmla="*/ 2944788 w 3796615"/>
              <a:gd name="connsiteY6" fmla="*/ 357009 h 357068"/>
              <a:gd name="connsiteX7" fmla="*/ 0 w 3796615"/>
              <a:gd name="connsiteY7" fmla="*/ 357047 h 357068"/>
              <a:gd name="connsiteX8" fmla="*/ 0 w 3796615"/>
              <a:gd name="connsiteY8" fmla="*/ 39 h 3570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796615" h="357068">
                <a:moveTo>
                  <a:pt x="3086099" y="0"/>
                </a:moveTo>
                <a:lnTo>
                  <a:pt x="3086099" y="14"/>
                </a:lnTo>
                <a:lnTo>
                  <a:pt x="3796615" y="14"/>
                </a:lnTo>
                <a:cubicBezTo>
                  <a:pt x="3796615" y="197302"/>
                  <a:pt x="3588526" y="357068"/>
                  <a:pt x="3331995" y="357068"/>
                </a:cubicBezTo>
                <a:lnTo>
                  <a:pt x="3331806" y="357068"/>
                </a:lnTo>
                <a:lnTo>
                  <a:pt x="2944813" y="357068"/>
                </a:lnTo>
                <a:lnTo>
                  <a:pt x="2944788" y="357009"/>
                </a:lnTo>
                <a:lnTo>
                  <a:pt x="0" y="357047"/>
                </a:lnTo>
                <a:lnTo>
                  <a:pt x="0" y="39"/>
                </a:lnTo>
                <a:close/>
              </a:path>
            </a:pathLst>
          </a:custGeom>
          <a:solidFill>
            <a:srgbClr val="132153"/>
          </a:solidFill>
        </p:spPr>
        <p:txBody>
          <a:bodyPr wrap="square" lIns="324000" anchor="ctr">
            <a:noAutofit/>
          </a:bodyPr>
          <a:lstStyle>
            <a:lvl1pPr>
              <a:defRPr cap="all" baseline="0">
                <a:solidFill>
                  <a:srgbClr val="00FF94"/>
                </a:solidFill>
                <a:latin typeface="+mj-lt"/>
              </a:defRPr>
            </a:lvl1pPr>
          </a:lstStyle>
          <a:p>
            <a:pPr lvl="0"/>
            <a:r>
              <a:rPr lang="pt-PT" dirty="0"/>
              <a:t>Insertar texto destacado</a:t>
            </a:r>
          </a:p>
        </p:txBody>
      </p:sp>
      <p:sp>
        <p:nvSpPr>
          <p:cNvPr id="7" name="Título 6">
            <a:extLst>
              <a:ext uri="{FF2B5EF4-FFF2-40B4-BE49-F238E27FC236}">
                <a16:creationId xmlns:a16="http://schemas.microsoft.com/office/drawing/2014/main" id="{409213DF-5CF8-CF27-40B0-80C8F48D39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09504" y="550508"/>
            <a:ext cx="7211591" cy="712204"/>
          </a:xfrm>
        </p:spPr>
        <p:txBody>
          <a:bodyPr>
            <a:normAutofit/>
          </a:bodyPr>
          <a:lstStyle>
            <a:lvl1pPr>
              <a:defRPr sz="3200"/>
            </a:lvl1pPr>
          </a:lstStyle>
          <a:p>
            <a:r>
              <a:rPr lang="pt-PT" dirty="0"/>
              <a:t>Insertar título de la slide</a:t>
            </a:r>
          </a:p>
        </p:txBody>
      </p:sp>
      <p:sp>
        <p:nvSpPr>
          <p:cNvPr id="8" name="Marcador de Posição do Texto 8">
            <a:extLst>
              <a:ext uri="{FF2B5EF4-FFF2-40B4-BE49-F238E27FC236}">
                <a16:creationId xmlns:a16="http://schemas.microsoft.com/office/drawing/2014/main" id="{09F418DC-E753-8771-22FE-4F33C88D274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509084" y="1156317"/>
            <a:ext cx="7212136" cy="355243"/>
          </a:xfrm>
        </p:spPr>
        <p:txBody>
          <a:bodyPr>
            <a:normAutofit/>
          </a:bodyPr>
          <a:lstStyle>
            <a:lvl1pPr>
              <a:defRPr sz="200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pt-PT" dirty="0"/>
              <a:t>Insertar subtítulo de la slide</a:t>
            </a:r>
          </a:p>
        </p:txBody>
      </p:sp>
      <p:sp>
        <p:nvSpPr>
          <p:cNvPr id="9" name="Forma livre: Forma 8">
            <a:extLst>
              <a:ext uri="{FF2B5EF4-FFF2-40B4-BE49-F238E27FC236}">
                <a16:creationId xmlns:a16="http://schemas.microsoft.com/office/drawing/2014/main" id="{CC0434EA-59DD-23B6-E848-F22CD1BB1487}"/>
              </a:ext>
            </a:extLst>
          </p:cNvPr>
          <p:cNvSpPr/>
          <p:nvPr userDrawn="1"/>
        </p:nvSpPr>
        <p:spPr>
          <a:xfrm>
            <a:off x="512761" y="1800226"/>
            <a:ext cx="7602539" cy="4500000"/>
          </a:xfrm>
          <a:custGeom>
            <a:avLst/>
            <a:gdLst>
              <a:gd name="connsiteX0" fmla="*/ 2220906 w 2220906"/>
              <a:gd name="connsiteY0" fmla="*/ 0 h 524519"/>
              <a:gd name="connsiteX1" fmla="*/ 2220906 w 2220906"/>
              <a:gd name="connsiteY1" fmla="*/ 524457 h 524519"/>
              <a:gd name="connsiteX2" fmla="*/ 0 w 2220906"/>
              <a:gd name="connsiteY2" fmla="*/ 524519 h 524519"/>
              <a:gd name="connsiteX3" fmla="*/ 0 w 2220906"/>
              <a:gd name="connsiteY3" fmla="*/ 62 h 5245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220906" h="524519">
                <a:moveTo>
                  <a:pt x="2220906" y="0"/>
                </a:moveTo>
                <a:lnTo>
                  <a:pt x="2220906" y="524457"/>
                </a:lnTo>
                <a:lnTo>
                  <a:pt x="0" y="524519"/>
                </a:lnTo>
                <a:lnTo>
                  <a:pt x="0" y="62"/>
                </a:lnTo>
                <a:close/>
              </a:path>
            </a:pathLst>
          </a:custGeom>
          <a:solidFill>
            <a:schemeClr val="bg1"/>
          </a:solidFill>
          <a:ln w="4244" cap="flat">
            <a:noFill/>
            <a:prstDash val="solid"/>
            <a:miter/>
          </a:ln>
          <a:effectLst>
            <a:outerShdw blurRad="254000" algn="ctr" rotWithShape="0">
              <a:srgbClr val="132153">
                <a:alpha val="5000"/>
              </a:srgb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pt-PT">
              <a:solidFill>
                <a:schemeClr val="tx1"/>
              </a:solidFill>
            </a:endParaRPr>
          </a:p>
        </p:txBody>
      </p:sp>
      <p:sp>
        <p:nvSpPr>
          <p:cNvPr id="19" name="Marcador de Posição do Texto 10">
            <a:extLst>
              <a:ext uri="{FF2B5EF4-FFF2-40B4-BE49-F238E27FC236}">
                <a16:creationId xmlns:a16="http://schemas.microsoft.com/office/drawing/2014/main" id="{10963BB5-5DEE-64F2-83F4-81BB5F1E2A5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352029" y="4127500"/>
            <a:ext cx="3563941" cy="1901225"/>
          </a:xfrm>
        </p:spPr>
        <p:txBody>
          <a:bodyPr>
            <a:noAutofit/>
          </a:bodyPr>
          <a:lstStyle>
            <a:lvl1pPr>
              <a:defRPr sz="12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s-ES" dirty="0"/>
              <a:t>Haz </a:t>
            </a:r>
            <a:r>
              <a:rPr lang="es-ES" dirty="0" err="1"/>
              <a:t>click</a:t>
            </a:r>
            <a:r>
              <a:rPr lang="es-ES" dirty="0"/>
              <a:t> para editar los estilos del texto del modelo global</a:t>
            </a:r>
            <a:endParaRPr lang="pt-PT" dirty="0"/>
          </a:p>
          <a:p>
            <a:pPr lvl="1"/>
            <a:r>
              <a:rPr lang="es-ES" dirty="0"/>
              <a:t>Segundo nivel</a:t>
            </a:r>
          </a:p>
          <a:p>
            <a:pPr lvl="1"/>
            <a:r>
              <a:rPr lang="es-ES" dirty="0"/>
              <a:t>Tercer nivel</a:t>
            </a:r>
          </a:p>
          <a:p>
            <a:pPr lvl="1"/>
            <a:r>
              <a:rPr lang="es-ES" dirty="0"/>
              <a:t>Cuarto nivel</a:t>
            </a:r>
          </a:p>
          <a:p>
            <a:pPr lvl="1"/>
            <a:r>
              <a:rPr lang="es-ES" dirty="0"/>
              <a:t>Quinto nivel</a:t>
            </a:r>
            <a:endParaRPr lang="pt-PT" dirty="0"/>
          </a:p>
        </p:txBody>
      </p:sp>
      <p:sp>
        <p:nvSpPr>
          <p:cNvPr id="27" name="Marcador de Posição da Tabela 23">
            <a:extLst>
              <a:ext uri="{FF2B5EF4-FFF2-40B4-BE49-F238E27FC236}">
                <a16:creationId xmlns:a16="http://schemas.microsoft.com/office/drawing/2014/main" id="{7C8079CC-709A-35F2-A5D6-73AE3758574A}"/>
              </a:ext>
            </a:extLst>
          </p:cNvPr>
          <p:cNvSpPr>
            <a:spLocks noGrp="1"/>
          </p:cNvSpPr>
          <p:nvPr>
            <p:ph type="tbl" sz="quarter" idx="12"/>
          </p:nvPr>
        </p:nvSpPr>
        <p:spPr>
          <a:xfrm>
            <a:off x="512761" y="1800227"/>
            <a:ext cx="7602539" cy="4320000"/>
          </a:xfrm>
        </p:spPr>
        <p:txBody>
          <a:bodyPr/>
          <a:lstStyle/>
          <a:p>
            <a:endParaRPr lang="pt-PT"/>
          </a:p>
        </p:txBody>
      </p:sp>
      <p:sp>
        <p:nvSpPr>
          <p:cNvPr id="10" name="Marcador de Posição do Rodapé 4">
            <a:extLst>
              <a:ext uri="{FF2B5EF4-FFF2-40B4-BE49-F238E27FC236}">
                <a16:creationId xmlns:a16="http://schemas.microsoft.com/office/drawing/2014/main" id="{9AB2FCAF-EA38-4C86-B5F0-342D2836CD1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12762" y="6356350"/>
            <a:ext cx="534669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bg1"/>
                </a:solidFill>
              </a:defRPr>
            </a:lvl1pPr>
          </a:lstStyle>
          <a:p>
            <a:r>
              <a:rPr lang="pt-PT"/>
              <a:t>Título de la presentación</a:t>
            </a:r>
            <a:endParaRPr lang="pt-PT" dirty="0"/>
          </a:p>
        </p:txBody>
      </p:sp>
      <p:sp>
        <p:nvSpPr>
          <p:cNvPr id="11" name="Marcador de Posição do Número do Diapositivo 5">
            <a:extLst>
              <a:ext uri="{FF2B5EF4-FFF2-40B4-BE49-F238E27FC236}">
                <a16:creationId xmlns:a16="http://schemas.microsoft.com/office/drawing/2014/main" id="{21F9B6D6-066D-48BD-8EB2-899880C8918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936039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accent2"/>
                </a:solidFill>
              </a:defRPr>
            </a:lvl1pPr>
          </a:lstStyle>
          <a:p>
            <a:fld id="{24A347C2-D68E-473A-8C76-1D063E4EB6E0}" type="slidenum">
              <a:rPr lang="es-ES" smtClean="0"/>
              <a:pPr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23997959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5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1719 -0.00023 L -1.25E-6 1.85185E-6 " pathEditMode="relative" rAng="0" ptsTypes="AA">
                                      <p:cBhvr>
                                        <p:cTn id="9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859" y="0"/>
                                    </p:animMotion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25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1719 -0.00023 L -1.25E-6 1.85185E-6 " pathEditMode="relative" rAng="0" ptsTypes="AA">
                                      <p:cBhvr>
                                        <p:cTn id="14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859" y="0"/>
                                    </p:animMotion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25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42" presetClass="path" presetSubtype="0" decel="100000" fill="hold" grpId="1" nodeType="withEffect">
                                  <p:stCondLst>
                                    <p:cond delay="250"/>
                                  </p:stCondLst>
                                  <p:childTnLst>
                                    <p:animMotion origin="layout" path="M 3.95833E-6 0.03889 L 3.95833E-6 7.40741E-7 " pathEditMode="relative" rAng="0" ptsTypes="AA">
                                      <p:cBhvr>
                                        <p:cTn id="19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944"/>
                                    </p:animMotion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 nodePh="1">
                                  <p:stCondLst>
                                    <p:cond delay="250"/>
                                  </p:stCondLst>
                                  <p:endCondLst>
                                    <p:cond evt="begin" delay="0">
                                      <p:tn val="20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25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42" presetClass="path" presetSubtype="0" decel="100000" fill="hold" grpId="1" nodeType="withEffect" nodePh="1">
                                  <p:stCondLst>
                                    <p:cond delay="250"/>
                                  </p:stCondLst>
                                  <p:endCondLst>
                                    <p:cond evt="begin" delay="0">
                                      <p:tn val="23"/>
                                    </p:cond>
                                  </p:endCondLst>
                                  <p:childTnLst>
                                    <p:animMotion origin="layout" path="M 3.95833E-6 0.03889 L 3.95833E-6 -4.81481E-6 " pathEditMode="relative" rAng="0" ptsTypes="AA">
                                      <p:cBhvr>
                                        <p:cTn id="24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944"/>
                                    </p:animMotion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25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42" presetClass="path" presetSubtype="0" decel="100000" fill="hold" grpId="1" nodeType="withEffect">
                                  <p:stCondLst>
                                    <p:cond delay="500"/>
                                  </p:stCondLst>
                                  <p:childTnLst>
                                    <p:animMotion origin="layout" path="M -0.01719 -0.00023 L -1.25E-6 1.85185E-6 " pathEditMode="relative" rAng="0" ptsTypes="AA">
                                      <p:cBhvr>
                                        <p:cTn id="29" dur="5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859" y="0"/>
                                    </p:animMotion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9" grpId="0" animBg="1">
        <p:tmplLst>
          <p:tmpl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250"/>
                        <p:tgtEl>
                          <p:spTgt spid="2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9" grpId="1" animBg="1">
        <p:tmplLst>
          <p:tmpl>
            <p:tnLst>
              <p:par>
                <p:cTn presetID="42" presetClass="path" presetSubtype="0" decel="100000" fill="hold" nodeType="withEffect">
                  <p:stCondLst>
                    <p:cond delay="500"/>
                  </p:stCondLst>
                  <p:childTnLst>
                    <p:animMotion origin="layout" path="M -0.01719 -0.00023 L -1.25E-6 1.85185E-6 " pathEditMode="relative" rAng="0" ptsTypes="AA">
                      <p:cBhvr>
                        <p:cTn dur="500" fill="hold"/>
                        <p:tgtEl>
                          <p:spTgt spid="29"/>
                        </p:tgtEl>
                        <p:attrNameLst>
                          <p:attrName>ppt_x</p:attrName>
                          <p:attrName>ppt_y</p:attrName>
                        </p:attrNameLst>
                      </p:cBhvr>
                      <p:rCtr x="859" y="0"/>
                    </p:animMotion>
                  </p:childTnLst>
                </p:cTn>
              </p:par>
            </p:tnLst>
          </p:tmpl>
        </p:tmplLst>
      </p:bldP>
      <p:bldP spid="7" grpId="0"/>
      <p:bldP spid="7" grpId="1"/>
      <p:bldP spid="8" grpId="0">
        <p:tmplLst>
          <p:tmpl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250"/>
                        <p:tgtEl>
                          <p:spTgt spid="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8" grpId="1"/>
      <p:bldP spid="9" grpId="0" animBg="1"/>
      <p:bldP spid="9" grpId="1" animBg="1"/>
      <p:bldP spid="19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9"/>
                        </p:tgtEl>
                      </p:cBhvr>
                    </p:animEffect>
                  </p:childTnLst>
                </p:cTn>
              </p:par>
            </p:tnLst>
          </p:tmpl>
          <p:tmpl lvl="2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9"/>
                        </p:tgtEl>
                      </p:cBhvr>
                    </p:animEffect>
                  </p:childTnLst>
                </p:cTn>
              </p:par>
            </p:tnLst>
          </p:tmpl>
          <p:tmpl lvl="3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9"/>
                        </p:tgtEl>
                      </p:cBhvr>
                    </p:animEffect>
                  </p:childTnLst>
                </p:cTn>
              </p:par>
            </p:tnLst>
          </p:tmpl>
          <p:tmpl lvl="4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9"/>
                        </p:tgtEl>
                      </p:cBhvr>
                    </p:animEffect>
                  </p:childTnLst>
                </p:cTn>
              </p:par>
            </p:tnLst>
          </p:tmpl>
          <p:tmpl lvl="5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7" grpId="0"/>
      <p:bldP spid="27" grpId="1"/>
    </p:bld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1_Esquema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Marcador de Posição da Imagem 18">
            <a:extLst>
              <a:ext uri="{FF2B5EF4-FFF2-40B4-BE49-F238E27FC236}">
                <a16:creationId xmlns:a16="http://schemas.microsoft.com/office/drawing/2014/main" id="{477CEA91-A077-0540-0007-43044A8310F7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23863" y="590550"/>
            <a:ext cx="11503025" cy="3413125"/>
          </a:xfrm>
          <a:custGeom>
            <a:avLst/>
            <a:gdLst>
              <a:gd name="connsiteX0" fmla="*/ 0 w 11503025"/>
              <a:gd name="connsiteY0" fmla="*/ 0 h 3413125"/>
              <a:gd name="connsiteX1" fmla="*/ 10987930 w 11503025"/>
              <a:gd name="connsiteY1" fmla="*/ 0 h 3413125"/>
              <a:gd name="connsiteX2" fmla="*/ 11071939 w 11503025"/>
              <a:gd name="connsiteY2" fmla="*/ 7410 h 3413125"/>
              <a:gd name="connsiteX3" fmla="*/ 11492979 w 11503025"/>
              <a:gd name="connsiteY3" fmla="*/ 417997 h 3413125"/>
              <a:gd name="connsiteX4" fmla="*/ 11503025 w 11503025"/>
              <a:gd name="connsiteY4" fmla="*/ 517654 h 3413125"/>
              <a:gd name="connsiteX5" fmla="*/ 11503025 w 11503025"/>
              <a:gd name="connsiteY5" fmla="*/ 3413125 h 3413125"/>
              <a:gd name="connsiteX6" fmla="*/ 0 w 11503025"/>
              <a:gd name="connsiteY6" fmla="*/ 3413125 h 3413125"/>
              <a:gd name="connsiteX7" fmla="*/ 0 w 11503025"/>
              <a:gd name="connsiteY7" fmla="*/ 1441450 h 3413125"/>
              <a:gd name="connsiteX8" fmla="*/ 0 w 11503025"/>
              <a:gd name="connsiteY8" fmla="*/ 523704 h 3413125"/>
              <a:gd name="connsiteX9" fmla="*/ 0 w 11503025"/>
              <a:gd name="connsiteY9" fmla="*/ 523681 h 3413125"/>
              <a:gd name="connsiteX10" fmla="*/ 0 w 11503025"/>
              <a:gd name="connsiteY10" fmla="*/ 171450 h 34131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1503025" h="3413125">
                <a:moveTo>
                  <a:pt x="0" y="0"/>
                </a:moveTo>
                <a:lnTo>
                  <a:pt x="10987930" y="0"/>
                </a:lnTo>
                <a:lnTo>
                  <a:pt x="11071939" y="7410"/>
                </a:lnTo>
                <a:cubicBezTo>
                  <a:pt x="11282861" y="45073"/>
                  <a:pt x="11450170" y="208799"/>
                  <a:pt x="11492979" y="417997"/>
                </a:cubicBezTo>
                <a:lnTo>
                  <a:pt x="11503025" y="517654"/>
                </a:lnTo>
                <a:lnTo>
                  <a:pt x="11503025" y="3413125"/>
                </a:lnTo>
                <a:lnTo>
                  <a:pt x="0" y="3413125"/>
                </a:lnTo>
                <a:lnTo>
                  <a:pt x="0" y="1441450"/>
                </a:lnTo>
                <a:lnTo>
                  <a:pt x="0" y="523704"/>
                </a:lnTo>
                <a:lnTo>
                  <a:pt x="0" y="523681"/>
                </a:lnTo>
                <a:lnTo>
                  <a:pt x="0" y="171450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pt-PT"/>
          </a:p>
        </p:txBody>
      </p:sp>
      <p:sp>
        <p:nvSpPr>
          <p:cNvPr id="10" name="Título 6">
            <a:extLst>
              <a:ext uri="{FF2B5EF4-FFF2-40B4-BE49-F238E27FC236}">
                <a16:creationId xmlns:a16="http://schemas.microsoft.com/office/drawing/2014/main" id="{838E5536-F2D6-6DA7-E278-BCD80384733A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513184" y="4528586"/>
            <a:ext cx="5784979" cy="712204"/>
          </a:xfrm>
        </p:spPr>
        <p:txBody>
          <a:bodyPr>
            <a:normAutofit/>
          </a:bodyPr>
          <a:lstStyle>
            <a:lvl1pPr>
              <a:defRPr sz="3200"/>
            </a:lvl1pPr>
          </a:lstStyle>
          <a:p>
            <a:r>
              <a:rPr lang="pt-PT" dirty="0"/>
              <a:t>Insertar título de la slide</a:t>
            </a:r>
          </a:p>
        </p:txBody>
      </p:sp>
      <p:sp>
        <p:nvSpPr>
          <p:cNvPr id="11" name="Marcador de Posição do Texto 8">
            <a:extLst>
              <a:ext uri="{FF2B5EF4-FFF2-40B4-BE49-F238E27FC236}">
                <a16:creationId xmlns:a16="http://schemas.microsoft.com/office/drawing/2014/main" id="{776B2614-5A54-18C2-9862-7529215284B0}"/>
              </a:ext>
            </a:extLst>
          </p:cNvPr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512764" y="5134395"/>
            <a:ext cx="5785416" cy="355243"/>
          </a:xfrm>
        </p:spPr>
        <p:txBody>
          <a:bodyPr>
            <a:normAutofit/>
          </a:bodyPr>
          <a:lstStyle>
            <a:lvl1pPr>
              <a:defRPr sz="200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pt-PT" dirty="0"/>
              <a:t>Insertar subtítulo de la slide</a:t>
            </a:r>
          </a:p>
        </p:txBody>
      </p:sp>
      <p:sp>
        <p:nvSpPr>
          <p:cNvPr id="12" name="Marcador de Posição do Texto 10">
            <a:extLst>
              <a:ext uri="{FF2B5EF4-FFF2-40B4-BE49-F238E27FC236}">
                <a16:creationId xmlns:a16="http://schemas.microsoft.com/office/drawing/2014/main" id="{036EC091-AB3E-F4F1-F7F9-FCE569E46AA8}"/>
              </a:ext>
            </a:extLst>
          </p:cNvPr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6959600" y="5044923"/>
            <a:ext cx="4572000" cy="1579402"/>
          </a:xfrm>
        </p:spPr>
        <p:txBody>
          <a:bodyPr/>
          <a:lstStyle>
            <a:lvl1pPr>
              <a:defRPr/>
            </a:lvl1pPr>
            <a:lvl2pPr marL="171450" indent="-171450">
              <a:buClr>
                <a:schemeClr val="tx1"/>
              </a:buClr>
              <a:buFont typeface="Arial" panose="020B0604020202020204" pitchFamily="34" charset="0"/>
              <a:buChar char="•"/>
              <a:defRPr/>
            </a:lvl2pPr>
            <a:lvl3pPr marL="171450" indent="-171450">
              <a:buClr>
                <a:schemeClr val="tx1"/>
              </a:buClr>
              <a:buFont typeface="Arial" panose="020B0604020202020204" pitchFamily="34" charset="0"/>
              <a:buChar char="•"/>
              <a:defRPr/>
            </a:lvl3pPr>
            <a:lvl4pPr marL="171450" indent="-171450">
              <a:buClr>
                <a:schemeClr val="tx1"/>
              </a:buClr>
              <a:buFont typeface="Arial" panose="020B0604020202020204" pitchFamily="34" charset="0"/>
              <a:buChar char="•"/>
              <a:defRPr/>
            </a:lvl4pPr>
            <a:lvl5pPr marL="171450" indent="-171450">
              <a:buClr>
                <a:schemeClr val="tx1"/>
              </a:buClr>
              <a:buFont typeface="Arial" panose="020B0604020202020204" pitchFamily="34" charset="0"/>
              <a:buChar char="•"/>
              <a:defRPr/>
            </a:lvl5pPr>
          </a:lstStyle>
          <a:p>
            <a:pPr lvl="0"/>
            <a:r>
              <a:rPr lang="es-ES" dirty="0"/>
              <a:t>Haz </a:t>
            </a:r>
            <a:r>
              <a:rPr lang="es-ES" dirty="0" err="1"/>
              <a:t>click</a:t>
            </a:r>
            <a:r>
              <a:rPr lang="es-ES" dirty="0"/>
              <a:t> para editar los estilos del texto del modelo global</a:t>
            </a:r>
            <a:endParaRPr lang="pt-PT" dirty="0"/>
          </a:p>
          <a:p>
            <a:pPr lvl="1"/>
            <a:r>
              <a:rPr lang="es-ES" dirty="0"/>
              <a:t>Segundo nivel</a:t>
            </a:r>
          </a:p>
          <a:p>
            <a:pPr lvl="1"/>
            <a:r>
              <a:rPr lang="es-ES" dirty="0"/>
              <a:t>Tercer nivel</a:t>
            </a:r>
          </a:p>
          <a:p>
            <a:pPr lvl="1"/>
            <a:r>
              <a:rPr lang="es-ES" dirty="0"/>
              <a:t>Cuarto nivel</a:t>
            </a:r>
          </a:p>
          <a:p>
            <a:pPr lvl="1"/>
            <a:r>
              <a:rPr lang="es-ES" dirty="0"/>
              <a:t>Quinto nivel</a:t>
            </a:r>
            <a:endParaRPr lang="pt-PT" dirty="0"/>
          </a:p>
        </p:txBody>
      </p:sp>
      <p:pic>
        <p:nvPicPr>
          <p:cNvPr id="21" name="Imagem 20">
            <a:extLst>
              <a:ext uri="{FF2B5EF4-FFF2-40B4-BE49-F238E27FC236}">
                <a16:creationId xmlns:a16="http://schemas.microsoft.com/office/drawing/2014/main" id="{2945CC8F-DCA4-2037-1AB6-C447D27B458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 l="13888" t="61466" r="16313" b="12636"/>
          <a:stretch>
            <a:fillRect/>
          </a:stretch>
        </p:blipFill>
        <p:spPr>
          <a:xfrm rot="10800000">
            <a:off x="660400" y="4673913"/>
            <a:ext cx="5885263" cy="2183575"/>
          </a:xfrm>
          <a:prstGeom prst="rect">
            <a:avLst/>
          </a:prstGeom>
        </p:spPr>
      </p:pic>
      <p:sp>
        <p:nvSpPr>
          <p:cNvPr id="7" name="Marcador de Posição do Rodapé 4">
            <a:extLst>
              <a:ext uri="{FF2B5EF4-FFF2-40B4-BE49-F238E27FC236}">
                <a16:creationId xmlns:a16="http://schemas.microsoft.com/office/drawing/2014/main" id="{DA4D0088-FA63-457B-B055-A36FE9EA868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12762" y="6356350"/>
            <a:ext cx="534669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accent2"/>
                </a:solidFill>
              </a:defRPr>
            </a:lvl1pPr>
          </a:lstStyle>
          <a:p>
            <a:r>
              <a:rPr lang="pt-PT"/>
              <a:t>Título de la presentación</a:t>
            </a:r>
            <a:endParaRPr lang="pt-PT" dirty="0"/>
          </a:p>
        </p:txBody>
      </p:sp>
      <p:sp>
        <p:nvSpPr>
          <p:cNvPr id="8" name="Marcador de Posição do Número do Diapositivo 5">
            <a:extLst>
              <a:ext uri="{FF2B5EF4-FFF2-40B4-BE49-F238E27FC236}">
                <a16:creationId xmlns:a16="http://schemas.microsoft.com/office/drawing/2014/main" id="{E124E93A-A892-41B9-BB30-6A2E2361332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936039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accent2"/>
                </a:solidFill>
              </a:defRPr>
            </a:lvl1pPr>
          </a:lstStyle>
          <a:p>
            <a:fld id="{24A347C2-D68E-473A-8C76-1D063E4EB6E0}" type="slidenum">
              <a:rPr lang="es-ES" smtClean="0"/>
              <a:pPr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30777774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5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5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42" presetClass="path" presetSubtype="0" decel="100000" fill="hold" grpId="1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8"/>
                                    </p:cond>
                                  </p:endCondLst>
                                  <p:childTnLst>
                                    <p:animMotion origin="layout" path="M 1.25E-6 0.03889 L 1.25E-6 1.85185E-6 " pathEditMode="relative" rAng="0" ptsTypes="AA">
                                      <p:cBhvr>
                                        <p:cTn id="9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944"/>
                                    </p:animMotion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25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3.75E-6 -0.03472 L -3.75E-6 1.85185E-6 " pathEditMode="relative" rAng="0" ptsTypes="AA">
                                      <p:cBhvr>
                                        <p:cTn id="14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736"/>
                                    </p:animMotion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25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3.75E-6 -0.03472 L -3.75E-6 1.85185E-6 " pathEditMode="relative" rAng="0" ptsTypes="AA">
                                      <p:cBhvr>
                                        <p:cTn id="19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736"/>
                                    </p:animMotion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25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1719 -0.00023 L -1.25E-6 1.85185E-6 " pathEditMode="relative" rAng="0" ptsTypes="AA">
                                      <p:cBhvr>
                                        <p:cTn id="24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859" y="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/>
      <p:bldP spid="19" grpId="1"/>
      <p:bldP spid="10" grpId="0"/>
      <p:bldP spid="10" grpId="1"/>
      <p:bldP spid="11" grpId="0">
        <p:tmplLst>
          <p:tmpl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250"/>
                        <p:tgtEl>
                          <p:spTgt spid="1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1" grpId="1"/>
      <p:bldP spid="12" grpId="0">
        <p:tmplLst>
          <p:tmpl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250"/>
                        <p:tgtEl>
                          <p:spTgt spid="1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2" grpId="1"/>
    </p:bld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2_Esquema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tângulo 13">
            <a:extLst>
              <a:ext uri="{FF2B5EF4-FFF2-40B4-BE49-F238E27FC236}">
                <a16:creationId xmlns:a16="http://schemas.microsoft.com/office/drawing/2014/main" id="{8C1D97C5-4762-13DE-3C88-B5364FD1AE60}"/>
              </a:ext>
            </a:extLst>
          </p:cNvPr>
          <p:cNvSpPr/>
          <p:nvPr userDrawn="1"/>
        </p:nvSpPr>
        <p:spPr>
          <a:xfrm>
            <a:off x="7209322" y="0"/>
            <a:ext cx="4982678" cy="6858000"/>
          </a:xfrm>
          <a:prstGeom prst="rect">
            <a:avLst/>
          </a:prstGeom>
          <a:solidFill>
            <a:srgbClr val="184BF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  <p:sp>
        <p:nvSpPr>
          <p:cNvPr id="6" name="Título 6">
            <a:extLst>
              <a:ext uri="{FF2B5EF4-FFF2-40B4-BE49-F238E27FC236}">
                <a16:creationId xmlns:a16="http://schemas.microsoft.com/office/drawing/2014/main" id="{DD0117F0-15E4-C292-C42A-7E2253EA6C1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3185" y="550508"/>
            <a:ext cx="6224500" cy="712204"/>
          </a:xfrm>
        </p:spPr>
        <p:txBody>
          <a:bodyPr>
            <a:normAutofit/>
          </a:bodyPr>
          <a:lstStyle>
            <a:lvl1pPr>
              <a:defRPr sz="3200"/>
            </a:lvl1pPr>
          </a:lstStyle>
          <a:p>
            <a:r>
              <a:rPr lang="pt-PT" dirty="0"/>
              <a:t>Insertar título de la slide</a:t>
            </a:r>
          </a:p>
        </p:txBody>
      </p:sp>
      <p:sp>
        <p:nvSpPr>
          <p:cNvPr id="7" name="Marcador de Posição do Texto 8">
            <a:extLst>
              <a:ext uri="{FF2B5EF4-FFF2-40B4-BE49-F238E27FC236}">
                <a16:creationId xmlns:a16="http://schemas.microsoft.com/office/drawing/2014/main" id="{F62CE247-B3B3-A134-E438-68228E0C5A5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12764" y="1156317"/>
            <a:ext cx="6224970" cy="355243"/>
          </a:xfrm>
        </p:spPr>
        <p:txBody>
          <a:bodyPr>
            <a:normAutofit/>
          </a:bodyPr>
          <a:lstStyle>
            <a:lvl1pPr>
              <a:defRPr sz="200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pt-PT" dirty="0"/>
              <a:t>Insertar subtítulo de la slide</a:t>
            </a:r>
          </a:p>
        </p:txBody>
      </p:sp>
      <p:sp>
        <p:nvSpPr>
          <p:cNvPr id="8" name="Marcador de Posição do Gráfico 2">
            <a:extLst>
              <a:ext uri="{FF2B5EF4-FFF2-40B4-BE49-F238E27FC236}">
                <a16:creationId xmlns:a16="http://schemas.microsoft.com/office/drawing/2014/main" id="{D9F14D51-3FCB-3D32-7364-F6E56E75F28F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512764" y="1868521"/>
            <a:ext cx="6224920" cy="4166519"/>
          </a:xfrm>
        </p:spPr>
        <p:txBody>
          <a:bodyPr/>
          <a:lstStyle/>
          <a:p>
            <a:endParaRPr lang="pt-PT"/>
          </a:p>
        </p:txBody>
      </p:sp>
      <p:sp>
        <p:nvSpPr>
          <p:cNvPr id="9" name="Forma livre: Forma 8">
            <a:extLst>
              <a:ext uri="{FF2B5EF4-FFF2-40B4-BE49-F238E27FC236}">
                <a16:creationId xmlns:a16="http://schemas.microsoft.com/office/drawing/2014/main" id="{AF320CB6-E543-053C-E377-9DD6BB00B6C4}"/>
              </a:ext>
            </a:extLst>
          </p:cNvPr>
          <p:cNvSpPr/>
          <p:nvPr userDrawn="1"/>
        </p:nvSpPr>
        <p:spPr>
          <a:xfrm>
            <a:off x="6737684" y="3638348"/>
            <a:ext cx="5454316" cy="2396691"/>
          </a:xfrm>
          <a:custGeom>
            <a:avLst/>
            <a:gdLst>
              <a:gd name="connsiteX0" fmla="*/ 2220906 w 2220906"/>
              <a:gd name="connsiteY0" fmla="*/ 0 h 524519"/>
              <a:gd name="connsiteX1" fmla="*/ 2220906 w 2220906"/>
              <a:gd name="connsiteY1" fmla="*/ 524457 h 524519"/>
              <a:gd name="connsiteX2" fmla="*/ 0 w 2220906"/>
              <a:gd name="connsiteY2" fmla="*/ 524519 h 524519"/>
              <a:gd name="connsiteX3" fmla="*/ 0 w 2220906"/>
              <a:gd name="connsiteY3" fmla="*/ 62 h 5245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220906" h="524519">
                <a:moveTo>
                  <a:pt x="2220906" y="0"/>
                </a:moveTo>
                <a:lnTo>
                  <a:pt x="2220906" y="524457"/>
                </a:lnTo>
                <a:lnTo>
                  <a:pt x="0" y="524519"/>
                </a:lnTo>
                <a:lnTo>
                  <a:pt x="0" y="62"/>
                </a:lnTo>
                <a:close/>
              </a:path>
            </a:pathLst>
          </a:custGeom>
          <a:solidFill>
            <a:schemeClr val="bg1"/>
          </a:solidFill>
          <a:ln w="4244" cap="flat">
            <a:noFill/>
            <a:prstDash val="solid"/>
            <a:miter/>
          </a:ln>
          <a:effectLst>
            <a:outerShdw blurRad="254000" algn="ctr" rotWithShape="0">
              <a:srgbClr val="132153">
                <a:alpha val="5000"/>
              </a:srgb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pt-PT">
              <a:solidFill>
                <a:schemeClr val="tx1"/>
              </a:solidFill>
            </a:endParaRPr>
          </a:p>
        </p:txBody>
      </p:sp>
      <p:sp>
        <p:nvSpPr>
          <p:cNvPr id="13" name="Marcador de Posição da Imagem 12">
            <a:extLst>
              <a:ext uri="{FF2B5EF4-FFF2-40B4-BE49-F238E27FC236}">
                <a16:creationId xmlns:a16="http://schemas.microsoft.com/office/drawing/2014/main" id="{3A3CDF61-51E2-05A4-BE82-B1A71FD018A8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09600" y="0"/>
            <a:ext cx="4982400" cy="6858000"/>
          </a:xfrm>
          <a:custGeom>
            <a:avLst/>
            <a:gdLst>
              <a:gd name="connsiteX0" fmla="*/ 0 w 5087937"/>
              <a:gd name="connsiteY0" fmla="*/ 6035039 h 6858000"/>
              <a:gd name="connsiteX1" fmla="*/ 5087937 w 5087937"/>
              <a:gd name="connsiteY1" fmla="*/ 6035039 h 6858000"/>
              <a:gd name="connsiteX2" fmla="*/ 5087937 w 5087937"/>
              <a:gd name="connsiteY2" fmla="*/ 6858000 h 6858000"/>
              <a:gd name="connsiteX3" fmla="*/ 0 w 5087937"/>
              <a:gd name="connsiteY3" fmla="*/ 6858000 h 6858000"/>
              <a:gd name="connsiteX4" fmla="*/ 0 w 5087937"/>
              <a:gd name="connsiteY4" fmla="*/ 0 h 6858000"/>
              <a:gd name="connsiteX5" fmla="*/ 5087937 w 5087937"/>
              <a:gd name="connsiteY5" fmla="*/ 0 h 6858000"/>
              <a:gd name="connsiteX6" fmla="*/ 5087937 w 5087937"/>
              <a:gd name="connsiteY6" fmla="*/ 3638348 h 6858000"/>
              <a:gd name="connsiteX7" fmla="*/ 0 w 5087937"/>
              <a:gd name="connsiteY7" fmla="*/ 3638348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87937" h="6858000">
                <a:moveTo>
                  <a:pt x="0" y="6035039"/>
                </a:moveTo>
                <a:lnTo>
                  <a:pt x="5087937" y="6035039"/>
                </a:lnTo>
                <a:lnTo>
                  <a:pt x="5087937" y="6858000"/>
                </a:lnTo>
                <a:lnTo>
                  <a:pt x="0" y="6858000"/>
                </a:lnTo>
                <a:close/>
                <a:moveTo>
                  <a:pt x="0" y="0"/>
                </a:moveTo>
                <a:lnTo>
                  <a:pt x="5087937" y="0"/>
                </a:lnTo>
                <a:lnTo>
                  <a:pt x="5087937" y="3638348"/>
                </a:lnTo>
                <a:lnTo>
                  <a:pt x="0" y="3638348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pt-PT"/>
          </a:p>
        </p:txBody>
      </p:sp>
      <p:sp>
        <p:nvSpPr>
          <p:cNvPr id="15" name="Marcador de Posição do Texto 10">
            <a:extLst>
              <a:ext uri="{FF2B5EF4-FFF2-40B4-BE49-F238E27FC236}">
                <a16:creationId xmlns:a16="http://schemas.microsoft.com/office/drawing/2014/main" id="{8BF15281-49AD-4A83-BFBF-8AD77BA1B24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209273" y="4068148"/>
            <a:ext cx="4322328" cy="1960578"/>
          </a:xfrm>
        </p:spPr>
        <p:txBody>
          <a:bodyPr>
            <a:noAutofit/>
          </a:bodyPr>
          <a:lstStyle>
            <a:lvl1pPr>
              <a:defRPr sz="12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s-ES" dirty="0"/>
              <a:t>Haz </a:t>
            </a:r>
            <a:r>
              <a:rPr lang="es-ES" dirty="0" err="1"/>
              <a:t>click</a:t>
            </a:r>
            <a:r>
              <a:rPr lang="es-ES" dirty="0"/>
              <a:t> para editar los estilos del texto del modelo global</a:t>
            </a:r>
            <a:endParaRPr lang="pt-PT" dirty="0"/>
          </a:p>
          <a:p>
            <a:pPr lvl="1"/>
            <a:r>
              <a:rPr lang="es-ES" dirty="0"/>
              <a:t>Segundo nivel</a:t>
            </a:r>
          </a:p>
          <a:p>
            <a:pPr lvl="1"/>
            <a:r>
              <a:rPr lang="es-ES" dirty="0"/>
              <a:t>Tercer nivel</a:t>
            </a:r>
          </a:p>
          <a:p>
            <a:pPr lvl="1"/>
            <a:r>
              <a:rPr lang="es-ES" dirty="0"/>
              <a:t>Cuarto nivel</a:t>
            </a:r>
          </a:p>
          <a:p>
            <a:pPr lvl="1"/>
            <a:r>
              <a:rPr lang="es-ES" dirty="0"/>
              <a:t>Quinto nivel</a:t>
            </a:r>
            <a:endParaRPr lang="pt-PT" dirty="0"/>
          </a:p>
        </p:txBody>
      </p:sp>
      <p:sp>
        <p:nvSpPr>
          <p:cNvPr id="18" name="Marcador de Posição do Texto 17">
            <a:extLst>
              <a:ext uri="{FF2B5EF4-FFF2-40B4-BE49-F238E27FC236}">
                <a16:creationId xmlns:a16="http://schemas.microsoft.com/office/drawing/2014/main" id="{A9CF32C5-C6A4-2BE6-14DC-993100E8457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737684" y="3636619"/>
            <a:ext cx="4793917" cy="357068"/>
          </a:xfrm>
          <a:custGeom>
            <a:avLst/>
            <a:gdLst>
              <a:gd name="connsiteX0" fmla="*/ 0 w 4793917"/>
              <a:gd name="connsiteY0" fmla="*/ 0 h 357068"/>
              <a:gd name="connsiteX1" fmla="*/ 1239989 w 4793917"/>
              <a:gd name="connsiteY1" fmla="*/ 0 h 357068"/>
              <a:gd name="connsiteX2" fmla="*/ 1239989 w 4793917"/>
              <a:gd name="connsiteY2" fmla="*/ 36 h 357068"/>
              <a:gd name="connsiteX3" fmla="*/ 4083401 w 4793917"/>
              <a:gd name="connsiteY3" fmla="*/ 0 h 357068"/>
              <a:gd name="connsiteX4" fmla="*/ 4083401 w 4793917"/>
              <a:gd name="connsiteY4" fmla="*/ 14 h 357068"/>
              <a:gd name="connsiteX5" fmla="*/ 4793917 w 4793917"/>
              <a:gd name="connsiteY5" fmla="*/ 14 h 357068"/>
              <a:gd name="connsiteX6" fmla="*/ 4329297 w 4793917"/>
              <a:gd name="connsiteY6" fmla="*/ 357068 h 357068"/>
              <a:gd name="connsiteX7" fmla="*/ 4329108 w 4793917"/>
              <a:gd name="connsiteY7" fmla="*/ 357068 h 357068"/>
              <a:gd name="connsiteX8" fmla="*/ 3942115 w 4793917"/>
              <a:gd name="connsiteY8" fmla="*/ 357068 h 357068"/>
              <a:gd name="connsiteX9" fmla="*/ 3942090 w 4793917"/>
              <a:gd name="connsiteY9" fmla="*/ 357009 h 357068"/>
              <a:gd name="connsiteX10" fmla="*/ 997302 w 4793917"/>
              <a:gd name="connsiteY10" fmla="*/ 357047 h 357068"/>
              <a:gd name="connsiteX11" fmla="*/ 997302 w 4793917"/>
              <a:gd name="connsiteY11" fmla="*/ 355243 h 357068"/>
              <a:gd name="connsiteX12" fmla="*/ 0 w 4793917"/>
              <a:gd name="connsiteY12" fmla="*/ 355243 h 3570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4793917" h="357068">
                <a:moveTo>
                  <a:pt x="0" y="0"/>
                </a:moveTo>
                <a:lnTo>
                  <a:pt x="1239989" y="0"/>
                </a:lnTo>
                <a:lnTo>
                  <a:pt x="1239989" y="36"/>
                </a:lnTo>
                <a:lnTo>
                  <a:pt x="4083401" y="0"/>
                </a:lnTo>
                <a:lnTo>
                  <a:pt x="4083401" y="14"/>
                </a:lnTo>
                <a:lnTo>
                  <a:pt x="4793917" y="14"/>
                </a:lnTo>
                <a:cubicBezTo>
                  <a:pt x="4793917" y="197302"/>
                  <a:pt x="4585828" y="357068"/>
                  <a:pt x="4329297" y="357068"/>
                </a:cubicBezTo>
                <a:lnTo>
                  <a:pt x="4329108" y="357068"/>
                </a:lnTo>
                <a:lnTo>
                  <a:pt x="3942115" y="357068"/>
                </a:lnTo>
                <a:lnTo>
                  <a:pt x="3942090" y="357009"/>
                </a:lnTo>
                <a:lnTo>
                  <a:pt x="997302" y="357047"/>
                </a:lnTo>
                <a:lnTo>
                  <a:pt x="997302" y="355243"/>
                </a:lnTo>
                <a:lnTo>
                  <a:pt x="0" y="355243"/>
                </a:lnTo>
                <a:close/>
              </a:path>
            </a:pathLst>
          </a:custGeom>
          <a:solidFill>
            <a:srgbClr val="132153"/>
          </a:solidFill>
        </p:spPr>
        <p:txBody>
          <a:bodyPr wrap="square" lIns="576000" rIns="144000" anchor="ctr">
            <a:noAutofit/>
          </a:bodyPr>
          <a:lstStyle>
            <a:lvl1pPr>
              <a:defRPr cap="all" baseline="0">
                <a:solidFill>
                  <a:srgbClr val="00FF94"/>
                </a:solidFill>
                <a:latin typeface="+mj-lt"/>
              </a:defRPr>
            </a:lvl1pPr>
          </a:lstStyle>
          <a:p>
            <a:pPr lvl="0"/>
            <a:r>
              <a:rPr lang="pt-PT" dirty="0"/>
              <a:t>Insertar texto destacado</a:t>
            </a:r>
          </a:p>
        </p:txBody>
      </p:sp>
      <p:pic>
        <p:nvPicPr>
          <p:cNvPr id="20" name="Imagem 19">
            <a:extLst>
              <a:ext uri="{FF2B5EF4-FFF2-40B4-BE49-F238E27FC236}">
                <a16:creationId xmlns:a16="http://schemas.microsoft.com/office/drawing/2014/main" id="{EDFFC2C0-F56C-3ACB-4565-168F455197A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 l="10363" t="45919" r="69613" b="9739"/>
          <a:stretch>
            <a:fillRect/>
          </a:stretch>
        </p:blipFill>
        <p:spPr>
          <a:xfrm flipH="1" flipV="1">
            <a:off x="0" y="876407"/>
            <a:ext cx="2702860" cy="5981593"/>
          </a:xfrm>
          <a:prstGeom prst="rect">
            <a:avLst/>
          </a:prstGeom>
        </p:spPr>
      </p:pic>
      <p:sp>
        <p:nvSpPr>
          <p:cNvPr id="11" name="Marcador de Posição do Rodapé 4">
            <a:extLst>
              <a:ext uri="{FF2B5EF4-FFF2-40B4-BE49-F238E27FC236}">
                <a16:creationId xmlns:a16="http://schemas.microsoft.com/office/drawing/2014/main" id="{1CF39EBF-B464-4EA8-9ED8-F9CEDFFDEB3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12762" y="6356350"/>
            <a:ext cx="534669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accent2"/>
                </a:solidFill>
              </a:defRPr>
            </a:lvl1pPr>
          </a:lstStyle>
          <a:p>
            <a:r>
              <a:rPr lang="pt-PT"/>
              <a:t>Título de la presentación</a:t>
            </a:r>
            <a:endParaRPr lang="pt-PT" dirty="0"/>
          </a:p>
        </p:txBody>
      </p:sp>
      <p:sp>
        <p:nvSpPr>
          <p:cNvPr id="12" name="Marcador de Posição do Número do Diapositivo 5">
            <a:extLst>
              <a:ext uri="{FF2B5EF4-FFF2-40B4-BE49-F238E27FC236}">
                <a16:creationId xmlns:a16="http://schemas.microsoft.com/office/drawing/2014/main" id="{7C0E7745-AEA2-4AEF-BBD1-301C9EDC8A7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936039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bg1"/>
                </a:solidFill>
              </a:defRPr>
            </a:lvl1pPr>
          </a:lstStyle>
          <a:p>
            <a:fld id="{24A347C2-D68E-473A-8C76-1D063E4EB6E0}" type="slidenum">
              <a:rPr lang="es-ES" smtClean="0"/>
              <a:pPr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86254072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5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1666 -0.00046 L 3.75E-6 1.85185E-6 " pathEditMode="relative" rAng="0" ptsTypes="AA">
                                      <p:cBhvr>
                                        <p:cTn id="9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833" y="23"/>
                                    </p:animMotion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25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1666 -0.00046 L 3.75E-6 1.85185E-6 " pathEditMode="relative" rAng="0" ptsTypes="AA">
                                      <p:cBhvr>
                                        <p:cTn id="14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833" y="23"/>
                                    </p:animMotion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grpId="0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15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25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42" presetClass="path" presetSubtype="0" decel="100000" fill="hold" grpId="1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18"/>
                                    </p:cond>
                                  </p:endCondLst>
                                  <p:childTnLst>
                                    <p:animMotion origin="layout" path="M -3.75E-6 -0.03472 L -3.75E-6 1.85185E-6 " pathEditMode="relative" rAng="0" ptsTypes="AA">
                                      <p:cBhvr>
                                        <p:cTn id="19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736"/>
                                    </p:animMotion>
                                  </p:childTnLst>
                                </p:cTn>
                              </p:par>
                              <p:par>
                                <p:cTn id="20" presetID="2" presetClass="entr" presetSubtype="2" decel="100000" fill="hold" grpId="0" nodeType="withEffect" nodePh="1">
                                  <p:stCondLst>
                                    <p:cond delay="250"/>
                                  </p:stCondLst>
                                  <p:endCondLst>
                                    <p:cond evt="begin" delay="0">
                                      <p:tn val="20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2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4" presetID="2" presetClass="entr" presetSubtype="2" decel="10000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25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42" presetClass="path" presetSubtype="0" decel="100000" fill="hold" grpId="1" nodeType="withEffect">
                                  <p:stCondLst>
                                    <p:cond delay="500"/>
                                  </p:stCondLst>
                                  <p:childTnLst>
                                    <p:animMotion origin="layout" path="M 0.01666 -0.00046 L 3.75E-6 1.85185E-6 " pathEditMode="relative" rAng="0" ptsTypes="AA">
                                      <p:cBhvr>
                                        <p:cTn id="32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833" y="23"/>
                                    </p:animMotion>
                                  </p:childTnLst>
                                </p:cTn>
                              </p:par>
                              <p:par>
                                <p:cTn id="33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25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42" presetClass="path" presetSubtype="0" decel="100000" fill="hold" grpId="1" nodeType="withEffect">
                                  <p:stCondLst>
                                    <p:cond delay="500"/>
                                  </p:stCondLst>
                                  <p:childTnLst>
                                    <p:animMotion origin="layout" path="M 0.01666 -0.00046 L 3.75E-6 1.85185E-6 " pathEditMode="relative" rAng="0" ptsTypes="AA">
                                      <p:cBhvr>
                                        <p:cTn id="37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833" y="23"/>
                                    </p:animMotion>
                                  </p:childTnLst>
                                </p:cTn>
                              </p:par>
                              <p:par>
                                <p:cTn id="38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25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42" presetClass="path" presetSubtype="0" decel="100000" fill="hold" grpId="1" nodeType="withEffect">
                                  <p:stCondLst>
                                    <p:cond delay="500"/>
                                  </p:stCondLst>
                                  <p:childTnLst>
                                    <p:animMotion origin="layout" path="M 0.01666 -0.00046 L 3.75E-6 1.85185E-6 " pathEditMode="relative" rAng="0" ptsTypes="AA">
                                      <p:cBhvr>
                                        <p:cTn id="42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833" y="23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 animBg="1"/>
      <p:bldP spid="6" grpId="0"/>
      <p:bldP spid="6" grpId="1"/>
      <p:bldP spid="7" grpId="0">
        <p:tmplLst>
          <p:tmpl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250"/>
                        <p:tgtEl>
                          <p:spTgt spid="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7" grpId="1"/>
      <p:bldP spid="8" grpId="0"/>
      <p:bldP spid="8" grpId="1"/>
      <p:bldP spid="9" grpId="0" animBg="1"/>
      <p:bldP spid="9" grpId="1" animBg="1"/>
      <p:bldP spid="13" grpId="0"/>
      <p:bldP spid="15" grpId="0">
        <p:tmplLst>
          <p:tmpl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250"/>
                        <p:tgtEl>
                          <p:spTgt spid="1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5" grpId="1">
        <p:tmplLst>
          <p:tmpl>
            <p:tnLst>
              <p:par>
                <p:cTn presetID="42" presetClass="path" presetSubtype="0" decel="100000" fill="hold" nodeType="withEffect">
                  <p:stCondLst>
                    <p:cond delay="500"/>
                  </p:stCondLst>
                  <p:childTnLst>
                    <p:animMotion origin="layout" path="M 0.01666 -0.00046 L 3.75E-6 1.85185E-6 " pathEditMode="relative" rAng="0" ptsTypes="AA">
                      <p:cBhvr>
                        <p:cTn dur="500" fill="hold"/>
                        <p:tgtEl>
                          <p:spTgt spid="15"/>
                        </p:tgtEl>
                        <p:attrNameLst>
                          <p:attrName>ppt_x</p:attrName>
                          <p:attrName>ppt_y</p:attrName>
                        </p:attrNameLst>
                      </p:cBhvr>
                      <p:rCtr x="-833" y="23"/>
                    </p:animMotion>
                  </p:childTnLst>
                </p:cTn>
              </p:par>
            </p:tnLst>
          </p:tmpl>
        </p:tmplLst>
      </p:bldP>
      <p:bldP spid="18" grpId="0" animBg="1">
        <p:tmplLst>
          <p:tmpl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250"/>
                        <p:tgtEl>
                          <p:spTgt spid="1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8" grpId="1" animBg="1">
        <p:tmplLst>
          <p:tmpl>
            <p:tnLst>
              <p:par>
                <p:cTn presetID="42" presetClass="path" presetSubtype="0" decel="100000" fill="hold" nodeType="withEffect">
                  <p:stCondLst>
                    <p:cond delay="500"/>
                  </p:stCondLst>
                  <p:childTnLst>
                    <p:animMotion origin="layout" path="M 0.01666 -0.00046 L 3.75E-6 1.85185E-6 " pathEditMode="relative" rAng="0" ptsTypes="AA">
                      <p:cBhvr>
                        <p:cTn dur="500" fill="hold"/>
                        <p:tgtEl>
                          <p:spTgt spid="18"/>
                        </p:tgtEl>
                        <p:attrNameLst>
                          <p:attrName>ppt_x</p:attrName>
                          <p:attrName>ppt_y</p:attrName>
                        </p:attrNameLst>
                      </p:cBhvr>
                      <p:rCtr x="-833" y="23"/>
                    </p:animMotion>
                  </p:childTnLst>
                </p:cTn>
              </p:par>
            </p:tnLst>
          </p:tmpl>
        </p:tmplLst>
      </p:bldP>
    </p:bld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3_Esquema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tângulo 5">
            <a:extLst>
              <a:ext uri="{FF2B5EF4-FFF2-40B4-BE49-F238E27FC236}">
                <a16:creationId xmlns:a16="http://schemas.microsoft.com/office/drawing/2014/main" id="{1CFD549E-FCF9-BFA4-431E-3F65278EF286}"/>
              </a:ext>
            </a:extLst>
          </p:cNvPr>
          <p:cNvSpPr/>
          <p:nvPr userDrawn="1"/>
        </p:nvSpPr>
        <p:spPr>
          <a:xfrm flipH="1">
            <a:off x="4408370" y="1953928"/>
            <a:ext cx="7783629" cy="4904072"/>
          </a:xfrm>
          <a:prstGeom prst="rect">
            <a:avLst/>
          </a:prstGeom>
          <a:solidFill>
            <a:srgbClr val="184BF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  <p:sp>
        <p:nvSpPr>
          <p:cNvPr id="7" name="Título 6">
            <a:extLst>
              <a:ext uri="{FF2B5EF4-FFF2-40B4-BE49-F238E27FC236}">
                <a16:creationId xmlns:a16="http://schemas.microsoft.com/office/drawing/2014/main" id="{9D79AAC0-E9B0-2F72-BDF7-435F7175E54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3184" y="550508"/>
            <a:ext cx="11248887" cy="712204"/>
          </a:xfrm>
        </p:spPr>
        <p:txBody>
          <a:bodyPr>
            <a:normAutofit/>
          </a:bodyPr>
          <a:lstStyle>
            <a:lvl1pPr>
              <a:defRPr sz="3200"/>
            </a:lvl1pPr>
          </a:lstStyle>
          <a:p>
            <a:r>
              <a:rPr lang="pt-PT" dirty="0"/>
              <a:t>Insertar título de la slide</a:t>
            </a:r>
          </a:p>
        </p:txBody>
      </p:sp>
      <p:sp>
        <p:nvSpPr>
          <p:cNvPr id="8" name="Marcador de Posição do Texto 8">
            <a:extLst>
              <a:ext uri="{FF2B5EF4-FFF2-40B4-BE49-F238E27FC236}">
                <a16:creationId xmlns:a16="http://schemas.microsoft.com/office/drawing/2014/main" id="{292BE14D-5723-21AB-604C-480A85FD921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12764" y="1156317"/>
            <a:ext cx="11249736" cy="355243"/>
          </a:xfrm>
        </p:spPr>
        <p:txBody>
          <a:bodyPr>
            <a:normAutofit/>
          </a:bodyPr>
          <a:lstStyle>
            <a:lvl1pPr>
              <a:defRPr sz="200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pt-PT" dirty="0"/>
              <a:t>Insertar subtítulo de la slide</a:t>
            </a:r>
          </a:p>
        </p:txBody>
      </p:sp>
      <p:sp>
        <p:nvSpPr>
          <p:cNvPr id="9" name="Forma livre: Forma 8">
            <a:extLst>
              <a:ext uri="{FF2B5EF4-FFF2-40B4-BE49-F238E27FC236}">
                <a16:creationId xmlns:a16="http://schemas.microsoft.com/office/drawing/2014/main" id="{AD8BA3DE-C44C-8764-4BC9-879BF1760CA8}"/>
              </a:ext>
            </a:extLst>
          </p:cNvPr>
          <p:cNvSpPr/>
          <p:nvPr userDrawn="1"/>
        </p:nvSpPr>
        <p:spPr>
          <a:xfrm>
            <a:off x="0" y="2396690"/>
            <a:ext cx="4793917" cy="3910801"/>
          </a:xfrm>
          <a:custGeom>
            <a:avLst/>
            <a:gdLst>
              <a:gd name="connsiteX0" fmla="*/ 2220906 w 2220906"/>
              <a:gd name="connsiteY0" fmla="*/ 0 h 524519"/>
              <a:gd name="connsiteX1" fmla="*/ 2220906 w 2220906"/>
              <a:gd name="connsiteY1" fmla="*/ 524457 h 524519"/>
              <a:gd name="connsiteX2" fmla="*/ 0 w 2220906"/>
              <a:gd name="connsiteY2" fmla="*/ 524519 h 524519"/>
              <a:gd name="connsiteX3" fmla="*/ 0 w 2220906"/>
              <a:gd name="connsiteY3" fmla="*/ 62 h 5245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220906" h="524519">
                <a:moveTo>
                  <a:pt x="2220906" y="0"/>
                </a:moveTo>
                <a:lnTo>
                  <a:pt x="2220906" y="524457"/>
                </a:lnTo>
                <a:lnTo>
                  <a:pt x="0" y="524519"/>
                </a:lnTo>
                <a:lnTo>
                  <a:pt x="0" y="62"/>
                </a:lnTo>
                <a:close/>
              </a:path>
            </a:pathLst>
          </a:custGeom>
          <a:solidFill>
            <a:schemeClr val="bg1"/>
          </a:solidFill>
          <a:ln w="4244" cap="flat">
            <a:noFill/>
            <a:prstDash val="solid"/>
            <a:miter/>
          </a:ln>
          <a:effectLst>
            <a:outerShdw blurRad="254000" algn="ctr" rotWithShape="0">
              <a:srgbClr val="132153">
                <a:alpha val="5000"/>
              </a:srgb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pt-PT">
              <a:solidFill>
                <a:schemeClr val="tx1"/>
              </a:solidFill>
            </a:endParaRPr>
          </a:p>
        </p:txBody>
      </p:sp>
      <p:sp>
        <p:nvSpPr>
          <p:cNvPr id="10" name="Marcador de Posição do Texto 9">
            <a:extLst>
              <a:ext uri="{FF2B5EF4-FFF2-40B4-BE49-F238E27FC236}">
                <a16:creationId xmlns:a16="http://schemas.microsoft.com/office/drawing/2014/main" id="{18D39327-CB7D-C90E-562C-0D251B71EB7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0" y="2396690"/>
            <a:ext cx="4793917" cy="357068"/>
          </a:xfrm>
          <a:custGeom>
            <a:avLst/>
            <a:gdLst>
              <a:gd name="connsiteX0" fmla="*/ 0 w 4793917"/>
              <a:gd name="connsiteY0" fmla="*/ 0 h 357068"/>
              <a:gd name="connsiteX1" fmla="*/ 1239989 w 4793917"/>
              <a:gd name="connsiteY1" fmla="*/ 0 h 357068"/>
              <a:gd name="connsiteX2" fmla="*/ 1239989 w 4793917"/>
              <a:gd name="connsiteY2" fmla="*/ 36 h 357068"/>
              <a:gd name="connsiteX3" fmla="*/ 4083401 w 4793917"/>
              <a:gd name="connsiteY3" fmla="*/ 0 h 357068"/>
              <a:gd name="connsiteX4" fmla="*/ 4083401 w 4793917"/>
              <a:gd name="connsiteY4" fmla="*/ 14 h 357068"/>
              <a:gd name="connsiteX5" fmla="*/ 4793917 w 4793917"/>
              <a:gd name="connsiteY5" fmla="*/ 14 h 357068"/>
              <a:gd name="connsiteX6" fmla="*/ 4329297 w 4793917"/>
              <a:gd name="connsiteY6" fmla="*/ 357068 h 357068"/>
              <a:gd name="connsiteX7" fmla="*/ 4329108 w 4793917"/>
              <a:gd name="connsiteY7" fmla="*/ 357068 h 357068"/>
              <a:gd name="connsiteX8" fmla="*/ 3942115 w 4793917"/>
              <a:gd name="connsiteY8" fmla="*/ 357068 h 357068"/>
              <a:gd name="connsiteX9" fmla="*/ 3942090 w 4793917"/>
              <a:gd name="connsiteY9" fmla="*/ 357009 h 357068"/>
              <a:gd name="connsiteX10" fmla="*/ 997302 w 4793917"/>
              <a:gd name="connsiteY10" fmla="*/ 357047 h 357068"/>
              <a:gd name="connsiteX11" fmla="*/ 997302 w 4793917"/>
              <a:gd name="connsiteY11" fmla="*/ 355243 h 357068"/>
              <a:gd name="connsiteX12" fmla="*/ 0 w 4793917"/>
              <a:gd name="connsiteY12" fmla="*/ 355243 h 3570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4793917" h="357068">
                <a:moveTo>
                  <a:pt x="0" y="0"/>
                </a:moveTo>
                <a:lnTo>
                  <a:pt x="1239989" y="0"/>
                </a:lnTo>
                <a:lnTo>
                  <a:pt x="1239989" y="36"/>
                </a:lnTo>
                <a:lnTo>
                  <a:pt x="4083401" y="0"/>
                </a:lnTo>
                <a:lnTo>
                  <a:pt x="4083401" y="14"/>
                </a:lnTo>
                <a:lnTo>
                  <a:pt x="4793917" y="14"/>
                </a:lnTo>
                <a:cubicBezTo>
                  <a:pt x="4793917" y="197302"/>
                  <a:pt x="4585828" y="357068"/>
                  <a:pt x="4329297" y="357068"/>
                </a:cubicBezTo>
                <a:lnTo>
                  <a:pt x="4329108" y="357068"/>
                </a:lnTo>
                <a:lnTo>
                  <a:pt x="3942115" y="357068"/>
                </a:lnTo>
                <a:lnTo>
                  <a:pt x="3942090" y="357009"/>
                </a:lnTo>
                <a:lnTo>
                  <a:pt x="997302" y="357047"/>
                </a:lnTo>
                <a:lnTo>
                  <a:pt x="997302" y="355243"/>
                </a:lnTo>
                <a:lnTo>
                  <a:pt x="0" y="355243"/>
                </a:lnTo>
                <a:close/>
              </a:path>
            </a:pathLst>
          </a:custGeom>
          <a:solidFill>
            <a:srgbClr val="132153"/>
          </a:solidFill>
        </p:spPr>
        <p:txBody>
          <a:bodyPr wrap="square" lIns="576000" rIns="144000" anchor="ctr">
            <a:noAutofit/>
          </a:bodyPr>
          <a:lstStyle>
            <a:lvl1pPr>
              <a:defRPr cap="all" baseline="0">
                <a:solidFill>
                  <a:srgbClr val="00FF94"/>
                </a:solidFill>
                <a:latin typeface="+mj-lt"/>
              </a:defRPr>
            </a:lvl1pPr>
          </a:lstStyle>
          <a:p>
            <a:pPr lvl="0"/>
            <a:r>
              <a:rPr lang="pt-PT" dirty="0"/>
              <a:t>Insertar texto destacado</a:t>
            </a:r>
          </a:p>
        </p:txBody>
      </p:sp>
      <p:sp>
        <p:nvSpPr>
          <p:cNvPr id="12" name="Marcador de Posição do Gráfico 11">
            <a:extLst>
              <a:ext uri="{FF2B5EF4-FFF2-40B4-BE49-F238E27FC236}">
                <a16:creationId xmlns:a16="http://schemas.microsoft.com/office/drawing/2014/main" id="{0160449D-558B-354A-4FBA-2C6BAC114CF2}"/>
              </a:ext>
            </a:extLst>
          </p:cNvPr>
          <p:cNvSpPr>
            <a:spLocks noGrp="1"/>
          </p:cNvSpPr>
          <p:nvPr>
            <p:ph type="chart" sz="quarter" idx="16"/>
          </p:nvPr>
        </p:nvSpPr>
        <p:spPr>
          <a:xfrm>
            <a:off x="404813" y="2935288"/>
            <a:ext cx="4186237" cy="3195637"/>
          </a:xfrm>
        </p:spPr>
        <p:txBody>
          <a:bodyPr/>
          <a:lstStyle/>
          <a:p>
            <a:endParaRPr lang="pt-PT"/>
          </a:p>
        </p:txBody>
      </p:sp>
      <p:sp>
        <p:nvSpPr>
          <p:cNvPr id="13" name="Marcador de Posição do Texto 34">
            <a:extLst>
              <a:ext uri="{FF2B5EF4-FFF2-40B4-BE49-F238E27FC236}">
                <a16:creationId xmlns:a16="http://schemas.microsoft.com/office/drawing/2014/main" id="{790DA2AD-FD75-DE8D-FC3D-A2E195AECCE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158081" y="2238674"/>
            <a:ext cx="4194175" cy="336550"/>
          </a:xfrm>
        </p:spPr>
        <p:txBody>
          <a:bodyPr anchor="ctr"/>
          <a:lstStyle>
            <a:lvl1pPr>
              <a:defRPr cap="all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pt-PT" dirty="0"/>
              <a:t>Insertar texto destacado</a:t>
            </a:r>
          </a:p>
        </p:txBody>
      </p:sp>
      <p:sp>
        <p:nvSpPr>
          <p:cNvPr id="14" name="Marcador de Posição do Gráfico 11">
            <a:extLst>
              <a:ext uri="{FF2B5EF4-FFF2-40B4-BE49-F238E27FC236}">
                <a16:creationId xmlns:a16="http://schemas.microsoft.com/office/drawing/2014/main" id="{6338E807-34E8-0016-7080-8B39A617B858}"/>
              </a:ext>
            </a:extLst>
          </p:cNvPr>
          <p:cNvSpPr>
            <a:spLocks noGrp="1"/>
          </p:cNvSpPr>
          <p:nvPr>
            <p:ph type="chart" sz="quarter" idx="18"/>
          </p:nvPr>
        </p:nvSpPr>
        <p:spPr>
          <a:xfrm>
            <a:off x="5158081" y="2935288"/>
            <a:ext cx="4186237" cy="3195637"/>
          </a:xfrm>
        </p:spPr>
        <p:txBody>
          <a:bodyPr/>
          <a:lstStyle/>
          <a:p>
            <a:endParaRPr lang="pt-PT"/>
          </a:p>
        </p:txBody>
      </p:sp>
      <p:sp>
        <p:nvSpPr>
          <p:cNvPr id="15" name="Retângulo 205">
            <a:extLst>
              <a:ext uri="{FF2B5EF4-FFF2-40B4-BE49-F238E27FC236}">
                <a16:creationId xmlns:a16="http://schemas.microsoft.com/office/drawing/2014/main" id="{8E68CB10-145C-3B07-0227-18B608ECF2B2}"/>
              </a:ext>
            </a:extLst>
          </p:cNvPr>
          <p:cNvSpPr/>
          <p:nvPr userDrawn="1"/>
        </p:nvSpPr>
        <p:spPr>
          <a:xfrm>
            <a:off x="9497396" y="3734252"/>
            <a:ext cx="422172" cy="2396673"/>
          </a:xfrm>
          <a:custGeom>
            <a:avLst/>
            <a:gdLst>
              <a:gd name="connsiteX0" fmla="*/ 0 w 1635417"/>
              <a:gd name="connsiteY0" fmla="*/ 0 h 1179213"/>
              <a:gd name="connsiteX1" fmla="*/ 1635417 w 1635417"/>
              <a:gd name="connsiteY1" fmla="*/ 0 h 1179213"/>
              <a:gd name="connsiteX2" fmla="*/ 1635417 w 1635417"/>
              <a:gd name="connsiteY2" fmla="*/ 1179213 h 1179213"/>
              <a:gd name="connsiteX3" fmla="*/ 0 w 1635417"/>
              <a:gd name="connsiteY3" fmla="*/ 1179213 h 1179213"/>
              <a:gd name="connsiteX4" fmla="*/ 0 w 1635417"/>
              <a:gd name="connsiteY4" fmla="*/ 0 h 1179213"/>
              <a:gd name="connsiteX0" fmla="*/ 1635417 w 1726857"/>
              <a:gd name="connsiteY0" fmla="*/ 0 h 1179213"/>
              <a:gd name="connsiteX1" fmla="*/ 1635417 w 1726857"/>
              <a:gd name="connsiteY1" fmla="*/ 1179213 h 1179213"/>
              <a:gd name="connsiteX2" fmla="*/ 0 w 1726857"/>
              <a:gd name="connsiteY2" fmla="*/ 1179213 h 1179213"/>
              <a:gd name="connsiteX3" fmla="*/ 0 w 1726857"/>
              <a:gd name="connsiteY3" fmla="*/ 0 h 1179213"/>
              <a:gd name="connsiteX4" fmla="*/ 1726857 w 1726857"/>
              <a:gd name="connsiteY4" fmla="*/ 91440 h 1179213"/>
              <a:gd name="connsiteX0" fmla="*/ 1635417 w 1635417"/>
              <a:gd name="connsiteY0" fmla="*/ 0 h 1179213"/>
              <a:gd name="connsiteX1" fmla="*/ 1635417 w 1635417"/>
              <a:gd name="connsiteY1" fmla="*/ 1179213 h 1179213"/>
              <a:gd name="connsiteX2" fmla="*/ 0 w 1635417"/>
              <a:gd name="connsiteY2" fmla="*/ 1179213 h 1179213"/>
              <a:gd name="connsiteX3" fmla="*/ 0 w 1635417"/>
              <a:gd name="connsiteY3" fmla="*/ 0 h 1179213"/>
              <a:gd name="connsiteX0" fmla="*/ 1635417 w 1635417"/>
              <a:gd name="connsiteY0" fmla="*/ 1179213 h 1179213"/>
              <a:gd name="connsiteX1" fmla="*/ 0 w 1635417"/>
              <a:gd name="connsiteY1" fmla="*/ 1179213 h 1179213"/>
              <a:gd name="connsiteX2" fmla="*/ 0 w 1635417"/>
              <a:gd name="connsiteY2" fmla="*/ 0 h 11792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635417" h="1179213">
                <a:moveTo>
                  <a:pt x="1635417" y="1179213"/>
                </a:moveTo>
                <a:lnTo>
                  <a:pt x="0" y="1179213"/>
                </a:lnTo>
                <a:lnTo>
                  <a:pt x="0" y="0"/>
                </a:lnTo>
              </a:path>
            </a:pathLst>
          </a:custGeom>
          <a:noFill/>
          <a:ln w="6350" cap="sq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  <p:sp>
        <p:nvSpPr>
          <p:cNvPr id="16" name="Marcador de Posição do Texto 10">
            <a:extLst>
              <a:ext uri="{FF2B5EF4-FFF2-40B4-BE49-F238E27FC236}">
                <a16:creationId xmlns:a16="http://schemas.microsoft.com/office/drawing/2014/main" id="{40B473D2-D3A2-8EDF-2DC5-87D8F001303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675691" y="4235116"/>
            <a:ext cx="2184934" cy="1793610"/>
          </a:xfrm>
        </p:spPr>
        <p:txBody>
          <a:bodyPr anchor="b">
            <a:noAutofit/>
          </a:bodyPr>
          <a:lstStyle>
            <a:lvl1pPr>
              <a:defRPr sz="1200">
                <a:solidFill>
                  <a:schemeClr val="bg1"/>
                </a:solidFill>
              </a:defRPr>
            </a:lvl1pPr>
            <a:lvl2pPr>
              <a:defRPr sz="1100">
                <a:solidFill>
                  <a:schemeClr val="bg1"/>
                </a:solidFill>
              </a:defRPr>
            </a:lvl2pPr>
            <a:lvl3pPr>
              <a:defRPr sz="1100">
                <a:solidFill>
                  <a:schemeClr val="bg1"/>
                </a:solidFill>
              </a:defRPr>
            </a:lvl3pPr>
            <a:lvl4pPr>
              <a:defRPr sz="1100">
                <a:solidFill>
                  <a:schemeClr val="bg1"/>
                </a:solidFill>
              </a:defRPr>
            </a:lvl4pPr>
            <a:lvl5pPr>
              <a:defRPr sz="1100">
                <a:solidFill>
                  <a:schemeClr val="bg1"/>
                </a:solidFill>
              </a:defRPr>
            </a:lvl5pPr>
          </a:lstStyle>
          <a:p>
            <a:pPr lvl="0"/>
            <a:r>
              <a:rPr lang="es-ES" dirty="0"/>
              <a:t>Haz </a:t>
            </a:r>
            <a:r>
              <a:rPr lang="es-ES" dirty="0" err="1"/>
              <a:t>click</a:t>
            </a:r>
            <a:r>
              <a:rPr lang="es-ES" dirty="0"/>
              <a:t> para editar los estilos del texto del modelo global</a:t>
            </a:r>
            <a:endParaRPr lang="pt-PT" dirty="0"/>
          </a:p>
          <a:p>
            <a:pPr lvl="1"/>
            <a:r>
              <a:rPr lang="es-ES" dirty="0"/>
              <a:t>Segundo nivel</a:t>
            </a:r>
          </a:p>
          <a:p>
            <a:pPr lvl="1"/>
            <a:r>
              <a:rPr lang="es-ES" dirty="0"/>
              <a:t>Tercer nivel</a:t>
            </a:r>
          </a:p>
          <a:p>
            <a:pPr lvl="1"/>
            <a:r>
              <a:rPr lang="es-ES" dirty="0"/>
              <a:t>Cuarto nivel</a:t>
            </a:r>
          </a:p>
          <a:p>
            <a:pPr lvl="1"/>
            <a:r>
              <a:rPr lang="es-ES" dirty="0"/>
              <a:t>Quinto nivel</a:t>
            </a:r>
            <a:endParaRPr lang="pt-PT" dirty="0"/>
          </a:p>
        </p:txBody>
      </p:sp>
      <p:pic>
        <p:nvPicPr>
          <p:cNvPr id="18" name="Imagem 17">
            <a:extLst>
              <a:ext uri="{FF2B5EF4-FFF2-40B4-BE49-F238E27FC236}">
                <a16:creationId xmlns:a16="http://schemas.microsoft.com/office/drawing/2014/main" id="{23373759-6AA9-71B6-03DB-6F9C896DDE7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 l="17318" t="59213" r="14165" b="12658"/>
          <a:stretch>
            <a:fillRect/>
          </a:stretch>
        </p:blipFill>
        <p:spPr>
          <a:xfrm>
            <a:off x="6178699" y="-42423"/>
            <a:ext cx="5318830" cy="2183575"/>
          </a:xfrm>
          <a:prstGeom prst="rect">
            <a:avLst/>
          </a:prstGeom>
        </p:spPr>
      </p:pic>
      <p:sp>
        <p:nvSpPr>
          <p:cNvPr id="17" name="Marcador de Posição do Rodapé 4">
            <a:extLst>
              <a:ext uri="{FF2B5EF4-FFF2-40B4-BE49-F238E27FC236}">
                <a16:creationId xmlns:a16="http://schemas.microsoft.com/office/drawing/2014/main" id="{56A0932D-E824-4D10-AC65-78F0DF1F99A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12762" y="6356350"/>
            <a:ext cx="534669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accent2"/>
                </a:solidFill>
              </a:defRPr>
            </a:lvl1pPr>
          </a:lstStyle>
          <a:p>
            <a:r>
              <a:rPr lang="pt-PT"/>
              <a:t>Título de la presentación</a:t>
            </a:r>
            <a:endParaRPr lang="pt-PT" dirty="0"/>
          </a:p>
        </p:txBody>
      </p:sp>
      <p:sp>
        <p:nvSpPr>
          <p:cNvPr id="19" name="Marcador de Posição do Número do Diapositivo 5">
            <a:extLst>
              <a:ext uri="{FF2B5EF4-FFF2-40B4-BE49-F238E27FC236}">
                <a16:creationId xmlns:a16="http://schemas.microsoft.com/office/drawing/2014/main" id="{BD6B745D-82BB-4530-85D5-1882FFF0EDE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936039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bg1"/>
                </a:solidFill>
              </a:defRPr>
            </a:lvl1pPr>
          </a:lstStyle>
          <a:p>
            <a:fld id="{24A347C2-D68E-473A-8C76-1D063E4EB6E0}" type="slidenum">
              <a:rPr lang="es-ES" smtClean="0"/>
              <a:pPr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74690430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5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1666 -0.00046 L 3.75E-6 1.85185E-6 " pathEditMode="relative" rAng="0" ptsTypes="AA">
                                      <p:cBhvr>
                                        <p:cTn id="9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833" y="23"/>
                                    </p:animMotion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25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1666 -0.00046 L 3.75E-6 1.85185E-6 " pathEditMode="relative" rAng="0" ptsTypes="AA">
                                      <p:cBhvr>
                                        <p:cTn id="14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833" y="23"/>
                                    </p:animMotion>
                                  </p:childTnLst>
                                </p:cTn>
                              </p:par>
                              <p:par>
                                <p:cTn id="15" presetID="2" presetClass="entr" presetSubtype="6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25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42" presetClass="path" presetSubtype="0" decel="100000" fill="hold" grpId="1" nodeType="withEffect">
                                  <p:stCondLst>
                                    <p:cond delay="250"/>
                                  </p:stCondLst>
                                  <p:childTnLst>
                                    <p:animMotion origin="layout" path="M -0.01719 -0.00023 L -1.25E-6 1.85185E-6 " pathEditMode="relative" rAng="0" ptsTypes="AA">
                                      <p:cBhvr>
                                        <p:cTn id="23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859" y="0"/>
                                    </p:animMotion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25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42" presetClass="path" presetSubtype="0" decel="100000" fill="hold" grpId="1" nodeType="withEffect">
                                  <p:stCondLst>
                                    <p:cond delay="250"/>
                                  </p:stCondLst>
                                  <p:childTnLst>
                                    <p:animMotion origin="layout" path="M -0.01719 -0.00023 L -1.25E-6 1.85185E-6 " pathEditMode="relative" rAng="0" ptsTypes="AA">
                                      <p:cBhvr>
                                        <p:cTn id="28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859" y="0"/>
                                    </p:animMotion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grpId="0" nodeType="withEffect" nodePh="1">
                                  <p:stCondLst>
                                    <p:cond delay="250"/>
                                  </p:stCondLst>
                                  <p:endCondLst>
                                    <p:cond evt="begin" delay="0">
                                      <p:tn val="29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25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42" presetClass="path" presetSubtype="0" decel="100000" fill="hold" grpId="1" nodeType="withEffect" nodePh="1">
                                  <p:stCondLst>
                                    <p:cond delay="250"/>
                                  </p:stCondLst>
                                  <p:endCondLst>
                                    <p:cond evt="begin" delay="0">
                                      <p:tn val="32"/>
                                    </p:cond>
                                  </p:endCondLst>
                                  <p:childTnLst>
                                    <p:animMotion origin="layout" path="M -0.01719 -0.00023 L -1.25E-6 1.85185E-6 " pathEditMode="relative" rAng="0" ptsTypes="AA">
                                      <p:cBhvr>
                                        <p:cTn id="33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859" y="0"/>
                                    </p:animMotion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25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42" presetClass="path" presetSubtype="0" decel="100000" fill="hold" grpId="1" nodeType="withEffect">
                                  <p:stCondLst>
                                    <p:cond delay="500"/>
                                  </p:stCondLst>
                                  <p:childTnLst>
                                    <p:animMotion origin="layout" path="M 0.01666 -0.00046 L 3.75E-6 1.85185E-6 " pathEditMode="relative" rAng="0" ptsTypes="AA">
                                      <p:cBhvr>
                                        <p:cTn id="38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833" y="23"/>
                                    </p:animMotion>
                                  </p:childTnLst>
                                </p:cTn>
                              </p:par>
                              <p:par>
                                <p:cTn id="39" presetID="10" presetClass="entr" presetSubtype="0" fill="hold" grpId="0" nodeType="withEffect" nodePh="1">
                                  <p:stCondLst>
                                    <p:cond delay="500"/>
                                  </p:stCondLst>
                                  <p:endCondLst>
                                    <p:cond evt="begin" delay="0">
                                      <p:tn val="39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25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42" presetClass="path" presetSubtype="0" decel="100000" fill="hold" grpId="1" nodeType="withEffect" nodePh="1">
                                  <p:stCondLst>
                                    <p:cond delay="500"/>
                                  </p:stCondLst>
                                  <p:endCondLst>
                                    <p:cond evt="begin" delay="0">
                                      <p:tn val="42"/>
                                    </p:cond>
                                  </p:endCondLst>
                                  <p:childTnLst>
                                    <p:animMotion origin="layout" path="M 1.25E-6 0.03889 L 1.25E-6 1.85185E-6 " pathEditMode="relative" rAng="0" ptsTypes="AA">
                                      <p:cBhvr>
                                        <p:cTn id="43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944"/>
                                    </p:animMotion>
                                  </p:childTnLst>
                                </p:cTn>
                              </p:par>
                              <p:par>
                                <p:cTn id="44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25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7" presetID="42" presetClass="path" presetSubtype="0" decel="100000" fill="hold" grpId="1" nodeType="withEffect">
                                  <p:stCondLst>
                                    <p:cond delay="500"/>
                                  </p:stCondLst>
                                  <p:childTnLst>
                                    <p:animMotion origin="layout" path="M -0.01719 -0.00023 L -1.25E-6 1.85185E-6 " pathEditMode="relative" rAng="0" ptsTypes="AA">
                                      <p:cBhvr>
                                        <p:cTn id="48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859" y="0"/>
                                    </p:animMotion>
                                  </p:childTnLst>
                                </p:cTn>
                              </p:par>
                              <p:par>
                                <p:cTn id="49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1" dur="25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2" presetID="42" presetClass="path" presetSubtype="0" decel="100000" fill="hold" grpId="1" nodeType="withEffect">
                                  <p:stCondLst>
                                    <p:cond delay="500"/>
                                  </p:stCondLst>
                                  <p:childTnLst>
                                    <p:animMotion origin="layout" path="M -0.01719 -0.00023 L -1.25E-6 1.85185E-6 " pathEditMode="relative" rAng="0" ptsTypes="AA">
                                      <p:cBhvr>
                                        <p:cTn id="53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859" y="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7" grpId="0"/>
      <p:bldP spid="7" grpId="1"/>
      <p:bldP spid="8" grpId="0">
        <p:tmplLst>
          <p:tmpl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250"/>
                        <p:tgtEl>
                          <p:spTgt spid="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8" grpId="1"/>
      <p:bldP spid="9" grpId="0" animBg="1"/>
      <p:bldP spid="9" grpId="1" animBg="1"/>
      <p:bldP spid="10" grpId="0" animBg="1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250"/>
                        <p:tgtEl>
                          <p:spTgt spid="1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0" grpId="1" animBg="1">
        <p:tmplLst>
          <p:tmpl>
            <p:tnLst>
              <p:par>
                <p:cTn presetID="42" presetClass="path" presetSubtype="0" decel="100000" fill="hold" nodeType="withEffect">
                  <p:stCondLst>
                    <p:cond delay="250"/>
                  </p:stCondLst>
                  <p:childTnLst>
                    <p:animMotion origin="layout" path="M -0.01719 -0.00023 L -1.25E-6 1.85185E-6 " pathEditMode="relative" rAng="0" ptsTypes="AA">
                      <p:cBhvr>
                        <p:cTn dur="500" fill="hold"/>
                        <p:tgtEl>
                          <p:spTgt spid="10"/>
                        </p:tgtEl>
                        <p:attrNameLst>
                          <p:attrName>ppt_x</p:attrName>
                          <p:attrName>ppt_y</p:attrName>
                        </p:attrNameLst>
                      </p:cBhvr>
                      <p:rCtr x="859" y="0"/>
                    </p:animMotion>
                  </p:childTnLst>
                </p:cTn>
              </p:par>
            </p:tnLst>
          </p:tmpl>
        </p:tmplLst>
      </p:bldP>
      <p:bldP spid="12" grpId="0"/>
      <p:bldP spid="12" grpId="1"/>
      <p:bldP spid="13" grpId="0">
        <p:tmplLst>
          <p:tmpl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250"/>
                        <p:tgtEl>
                          <p:spTgt spid="1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3" grpId="1">
        <p:tmplLst>
          <p:tmpl>
            <p:tnLst>
              <p:par>
                <p:cTn presetID="42" presetClass="path" presetSubtype="0" decel="100000" fill="hold" nodeType="withEffect">
                  <p:stCondLst>
                    <p:cond delay="500"/>
                  </p:stCondLst>
                  <p:childTnLst>
                    <p:animMotion origin="layout" path="M 0.01666 -0.00046 L 3.75E-6 1.85185E-6 " pathEditMode="relative" rAng="0" ptsTypes="AA">
                      <p:cBhvr>
                        <p:cTn dur="500" fill="hold"/>
                        <p:tgtEl>
                          <p:spTgt spid="13"/>
                        </p:tgtEl>
                        <p:attrNameLst>
                          <p:attrName>ppt_x</p:attrName>
                          <p:attrName>ppt_y</p:attrName>
                        </p:attrNameLst>
                      </p:cBhvr>
                      <p:rCtr x="-833" y="23"/>
                    </p:animMotion>
                  </p:childTnLst>
                </p:cTn>
              </p:par>
            </p:tnLst>
          </p:tmpl>
        </p:tmplLst>
      </p:bldP>
      <p:bldP spid="14" grpId="0"/>
      <p:bldP spid="14" grpId="1"/>
      <p:bldP spid="15" grpId="0" animBg="1"/>
      <p:bldP spid="15" grpId="1" animBg="1"/>
      <p:bldP spid="16" grpId="0">
        <p:tmplLst>
          <p:tmpl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250"/>
                        <p:tgtEl>
                          <p:spTgt spid="1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6" grpId="1">
        <p:tmplLst>
          <p:tmpl>
            <p:tnLst>
              <p:par>
                <p:cTn presetID="42" presetClass="path" presetSubtype="0" decel="100000" fill="hold" nodeType="withEffect">
                  <p:stCondLst>
                    <p:cond delay="500"/>
                  </p:stCondLst>
                  <p:childTnLst>
                    <p:animMotion origin="layout" path="M -0.01719 -0.00023 L -1.25E-6 1.85185E-6 " pathEditMode="relative" rAng="0" ptsTypes="AA">
                      <p:cBhvr>
                        <p:cTn dur="500" fill="hold"/>
                        <p:tgtEl>
                          <p:spTgt spid="16"/>
                        </p:tgtEl>
                        <p:attrNameLst>
                          <p:attrName>ppt_x</p:attrName>
                          <p:attrName>ppt_y</p:attrName>
                        </p:attrNameLst>
                      </p:cBhvr>
                      <p:rCtr x="859" y="0"/>
                    </p:animMotion>
                  </p:childTnLst>
                </p:cTn>
              </p:par>
            </p:tnLst>
          </p:tmpl>
        </p:tmplLst>
      </p:bldP>
    </p:bld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Esquema Personalizado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ítulo 1">
            <a:extLst>
              <a:ext uri="{FF2B5EF4-FFF2-40B4-BE49-F238E27FC236}">
                <a16:creationId xmlns:a16="http://schemas.microsoft.com/office/drawing/2014/main" id="{71D26BB5-4367-F151-78AC-D3DDE710C4F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84846" y="3293706"/>
            <a:ext cx="5992780" cy="1325563"/>
          </a:xfrm>
        </p:spPr>
        <p:txBody>
          <a:bodyPr>
            <a:noAutofit/>
          </a:bodyPr>
          <a:lstStyle>
            <a:lvl1pPr>
              <a:defRPr sz="3600">
                <a:solidFill>
                  <a:schemeClr val="accent2"/>
                </a:solidFill>
              </a:defRPr>
            </a:lvl1pPr>
          </a:lstStyle>
          <a:p>
            <a:r>
              <a:rPr lang="es-ES" dirty="0"/>
              <a:t>Haz </a:t>
            </a:r>
            <a:r>
              <a:rPr lang="es-ES" dirty="0" err="1"/>
              <a:t>click</a:t>
            </a:r>
            <a:r>
              <a:rPr lang="es-ES" dirty="0"/>
              <a:t> para editar el estilo de título del modelo global</a:t>
            </a:r>
            <a:endParaRPr lang="pt-PT" dirty="0"/>
          </a:p>
        </p:txBody>
      </p:sp>
      <p:sp>
        <p:nvSpPr>
          <p:cNvPr id="7" name="Marcador de Posição do Texto 8">
            <a:extLst>
              <a:ext uri="{FF2B5EF4-FFF2-40B4-BE49-F238E27FC236}">
                <a16:creationId xmlns:a16="http://schemas.microsoft.com/office/drawing/2014/main" id="{B06BFFF6-C579-582C-512F-2C8C99E2F19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484845" y="4809252"/>
            <a:ext cx="5992781" cy="560515"/>
          </a:xfrm>
        </p:spPr>
        <p:txBody>
          <a:bodyPr>
            <a:normAutofit/>
          </a:bodyPr>
          <a:lstStyle>
            <a:lvl1pPr>
              <a:defRPr sz="2000">
                <a:solidFill>
                  <a:schemeClr val="accent2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s-ES" dirty="0"/>
              <a:t>Inserta el subtítulo de la presentación</a:t>
            </a:r>
            <a:endParaRPr lang="pt-PT" dirty="0"/>
          </a:p>
        </p:txBody>
      </p:sp>
      <p:sp>
        <p:nvSpPr>
          <p:cNvPr id="8" name="Marcador de Posição do Texto 8">
            <a:extLst>
              <a:ext uri="{FF2B5EF4-FFF2-40B4-BE49-F238E27FC236}">
                <a16:creationId xmlns:a16="http://schemas.microsoft.com/office/drawing/2014/main" id="{E94D8517-E8C6-7524-CE45-59DD71C9D9B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484845" y="6050902"/>
            <a:ext cx="2866053" cy="261256"/>
          </a:xfrm>
        </p:spPr>
        <p:txBody>
          <a:bodyPr anchor="ctr">
            <a:normAutofit/>
          </a:bodyPr>
          <a:lstStyle>
            <a:lvl1pPr>
              <a:defRPr sz="1200">
                <a:solidFill>
                  <a:schemeClr val="accent2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pt-PT" dirty="0"/>
              <a:t>Insertar otra información secundaria</a:t>
            </a:r>
          </a:p>
        </p:txBody>
      </p:sp>
      <p:sp>
        <p:nvSpPr>
          <p:cNvPr id="9" name="Marcador de Posição do Texto 8">
            <a:extLst>
              <a:ext uri="{FF2B5EF4-FFF2-40B4-BE49-F238E27FC236}">
                <a16:creationId xmlns:a16="http://schemas.microsoft.com/office/drawing/2014/main" id="{A4118DBB-D737-37BA-7FD4-847A56CBA3D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611573" y="6050902"/>
            <a:ext cx="2866053" cy="261256"/>
          </a:xfrm>
        </p:spPr>
        <p:txBody>
          <a:bodyPr anchor="ctr">
            <a:normAutofit/>
          </a:bodyPr>
          <a:lstStyle>
            <a:lvl1pPr algn="r">
              <a:defRPr sz="1200">
                <a:solidFill>
                  <a:schemeClr val="accent2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pt-PT" dirty="0"/>
              <a:t>Inserta fecha</a:t>
            </a:r>
          </a:p>
        </p:txBody>
      </p:sp>
      <p:sp>
        <p:nvSpPr>
          <p:cNvPr id="10" name="Retângulo 205">
            <a:extLst>
              <a:ext uri="{FF2B5EF4-FFF2-40B4-BE49-F238E27FC236}">
                <a16:creationId xmlns:a16="http://schemas.microsoft.com/office/drawing/2014/main" id="{4C3AB0B7-415E-D357-ACDC-E0FB19BA3BC7}"/>
              </a:ext>
            </a:extLst>
          </p:cNvPr>
          <p:cNvSpPr/>
          <p:nvPr userDrawn="1"/>
        </p:nvSpPr>
        <p:spPr>
          <a:xfrm rot="5400000">
            <a:off x="5915013" y="2095370"/>
            <a:ext cx="821097" cy="2396673"/>
          </a:xfrm>
          <a:custGeom>
            <a:avLst/>
            <a:gdLst>
              <a:gd name="connsiteX0" fmla="*/ 0 w 1635417"/>
              <a:gd name="connsiteY0" fmla="*/ 0 h 1179213"/>
              <a:gd name="connsiteX1" fmla="*/ 1635417 w 1635417"/>
              <a:gd name="connsiteY1" fmla="*/ 0 h 1179213"/>
              <a:gd name="connsiteX2" fmla="*/ 1635417 w 1635417"/>
              <a:gd name="connsiteY2" fmla="*/ 1179213 h 1179213"/>
              <a:gd name="connsiteX3" fmla="*/ 0 w 1635417"/>
              <a:gd name="connsiteY3" fmla="*/ 1179213 h 1179213"/>
              <a:gd name="connsiteX4" fmla="*/ 0 w 1635417"/>
              <a:gd name="connsiteY4" fmla="*/ 0 h 1179213"/>
              <a:gd name="connsiteX0" fmla="*/ 1635417 w 1726857"/>
              <a:gd name="connsiteY0" fmla="*/ 0 h 1179213"/>
              <a:gd name="connsiteX1" fmla="*/ 1635417 w 1726857"/>
              <a:gd name="connsiteY1" fmla="*/ 1179213 h 1179213"/>
              <a:gd name="connsiteX2" fmla="*/ 0 w 1726857"/>
              <a:gd name="connsiteY2" fmla="*/ 1179213 h 1179213"/>
              <a:gd name="connsiteX3" fmla="*/ 0 w 1726857"/>
              <a:gd name="connsiteY3" fmla="*/ 0 h 1179213"/>
              <a:gd name="connsiteX4" fmla="*/ 1726857 w 1726857"/>
              <a:gd name="connsiteY4" fmla="*/ 91440 h 1179213"/>
              <a:gd name="connsiteX0" fmla="*/ 1635417 w 1635417"/>
              <a:gd name="connsiteY0" fmla="*/ 0 h 1179213"/>
              <a:gd name="connsiteX1" fmla="*/ 1635417 w 1635417"/>
              <a:gd name="connsiteY1" fmla="*/ 1179213 h 1179213"/>
              <a:gd name="connsiteX2" fmla="*/ 0 w 1635417"/>
              <a:gd name="connsiteY2" fmla="*/ 1179213 h 1179213"/>
              <a:gd name="connsiteX3" fmla="*/ 0 w 1635417"/>
              <a:gd name="connsiteY3" fmla="*/ 0 h 1179213"/>
              <a:gd name="connsiteX0" fmla="*/ 1635417 w 1635417"/>
              <a:gd name="connsiteY0" fmla="*/ 1179213 h 1179213"/>
              <a:gd name="connsiteX1" fmla="*/ 0 w 1635417"/>
              <a:gd name="connsiteY1" fmla="*/ 1179213 h 1179213"/>
              <a:gd name="connsiteX2" fmla="*/ 0 w 1635417"/>
              <a:gd name="connsiteY2" fmla="*/ 0 h 11792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635417" h="1179213">
                <a:moveTo>
                  <a:pt x="1635417" y="1179213"/>
                </a:moveTo>
                <a:lnTo>
                  <a:pt x="0" y="1179213"/>
                </a:lnTo>
                <a:lnTo>
                  <a:pt x="0" y="0"/>
                </a:lnTo>
              </a:path>
            </a:pathLst>
          </a:custGeom>
          <a:noFill/>
          <a:ln w="6350" cap="sq"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  <p:sp>
        <p:nvSpPr>
          <p:cNvPr id="20" name="Retângulo 19">
            <a:extLst>
              <a:ext uri="{FF2B5EF4-FFF2-40B4-BE49-F238E27FC236}">
                <a16:creationId xmlns:a16="http://schemas.microsoft.com/office/drawing/2014/main" id="{52344296-CBCE-DC49-8C14-B16D0FD3BACB}"/>
              </a:ext>
            </a:extLst>
          </p:cNvPr>
          <p:cNvSpPr/>
          <p:nvPr userDrawn="1"/>
        </p:nvSpPr>
        <p:spPr>
          <a:xfrm>
            <a:off x="10360241" y="0"/>
            <a:ext cx="1831759" cy="809659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  <p:grpSp>
        <p:nvGrpSpPr>
          <p:cNvPr id="38" name="Gráfico 2">
            <a:extLst>
              <a:ext uri="{FF2B5EF4-FFF2-40B4-BE49-F238E27FC236}">
                <a16:creationId xmlns:a16="http://schemas.microsoft.com/office/drawing/2014/main" id="{3F6E3485-B184-4179-9953-28E06F278FDB}"/>
              </a:ext>
            </a:extLst>
          </p:cNvPr>
          <p:cNvGrpSpPr/>
          <p:nvPr userDrawn="1"/>
        </p:nvGrpSpPr>
        <p:grpSpPr>
          <a:xfrm>
            <a:off x="856373" y="812654"/>
            <a:ext cx="3002916" cy="318309"/>
            <a:chOff x="0" y="2782824"/>
            <a:chExt cx="12192000" cy="1292352"/>
          </a:xfrm>
          <a:solidFill>
            <a:schemeClr val="tx1"/>
          </a:solidFill>
        </p:grpSpPr>
        <p:sp>
          <p:nvSpPr>
            <p:cNvPr id="39" name="Forma libre: forma 38">
              <a:extLst>
                <a:ext uri="{FF2B5EF4-FFF2-40B4-BE49-F238E27FC236}">
                  <a16:creationId xmlns:a16="http://schemas.microsoft.com/office/drawing/2014/main" id="{19EA7B8D-63BF-45DA-AB30-8E294601ABB9}"/>
                </a:ext>
              </a:extLst>
            </p:cNvPr>
            <p:cNvSpPr/>
            <p:nvPr/>
          </p:nvSpPr>
          <p:spPr>
            <a:xfrm>
              <a:off x="3791306" y="2777053"/>
              <a:ext cx="1300480" cy="1300480"/>
            </a:xfrm>
            <a:custGeom>
              <a:avLst/>
              <a:gdLst>
                <a:gd name="connsiteX0" fmla="*/ 6096 w 1300480"/>
                <a:gd name="connsiteY0" fmla="*/ 653979 h 1300480"/>
                <a:gd name="connsiteX1" fmla="*/ 653979 w 1300480"/>
                <a:gd name="connsiteY1" fmla="*/ 6096 h 1300480"/>
                <a:gd name="connsiteX2" fmla="*/ 1301862 w 1300480"/>
                <a:gd name="connsiteY2" fmla="*/ 653979 h 1300480"/>
                <a:gd name="connsiteX3" fmla="*/ 653979 w 1300480"/>
                <a:gd name="connsiteY3" fmla="*/ 1301862 h 1300480"/>
                <a:gd name="connsiteX4" fmla="*/ 653898 w 1300480"/>
                <a:gd name="connsiteY4" fmla="*/ 1301862 h 1300480"/>
                <a:gd name="connsiteX5" fmla="*/ 6096 w 1300480"/>
                <a:gd name="connsiteY5" fmla="*/ 654060 h 1300480"/>
                <a:gd name="connsiteX6" fmla="*/ 6096 w 1300480"/>
                <a:gd name="connsiteY6" fmla="*/ 654060 h 1300480"/>
                <a:gd name="connsiteX7" fmla="*/ 653898 w 1300480"/>
                <a:gd name="connsiteY7" fmla="*/ 1091184 h 1300480"/>
                <a:gd name="connsiteX8" fmla="*/ 1091265 w 1300480"/>
                <a:gd name="connsiteY8" fmla="*/ 653979 h 1300480"/>
                <a:gd name="connsiteX9" fmla="*/ 654060 w 1300480"/>
                <a:gd name="connsiteY9" fmla="*/ 216611 h 1300480"/>
                <a:gd name="connsiteX10" fmla="*/ 216692 w 1300480"/>
                <a:gd name="connsiteY10" fmla="*/ 653816 h 1300480"/>
                <a:gd name="connsiteX11" fmla="*/ 216692 w 1300480"/>
                <a:gd name="connsiteY11" fmla="*/ 653979 h 1300480"/>
                <a:gd name="connsiteX12" fmla="*/ 653898 w 1300480"/>
                <a:gd name="connsiteY12" fmla="*/ 1091184 h 13004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300480" h="1300480">
                  <a:moveTo>
                    <a:pt x="6096" y="653979"/>
                  </a:moveTo>
                  <a:cubicBezTo>
                    <a:pt x="6096" y="296184"/>
                    <a:pt x="296184" y="6096"/>
                    <a:pt x="653979" y="6096"/>
                  </a:cubicBezTo>
                  <a:cubicBezTo>
                    <a:pt x="1011773" y="6096"/>
                    <a:pt x="1301862" y="296184"/>
                    <a:pt x="1301862" y="653979"/>
                  </a:cubicBezTo>
                  <a:cubicBezTo>
                    <a:pt x="1301862" y="1011773"/>
                    <a:pt x="1011773" y="1301862"/>
                    <a:pt x="653979" y="1301862"/>
                  </a:cubicBezTo>
                  <a:lnTo>
                    <a:pt x="653898" y="1301862"/>
                  </a:lnTo>
                  <a:cubicBezTo>
                    <a:pt x="296103" y="1301862"/>
                    <a:pt x="6096" y="1011855"/>
                    <a:pt x="6096" y="654060"/>
                  </a:cubicBezTo>
                  <a:lnTo>
                    <a:pt x="6096" y="654060"/>
                  </a:lnTo>
                  <a:moveTo>
                    <a:pt x="653898" y="1091184"/>
                  </a:moveTo>
                  <a:cubicBezTo>
                    <a:pt x="895380" y="1091184"/>
                    <a:pt x="1091184" y="895462"/>
                    <a:pt x="1091265" y="653979"/>
                  </a:cubicBezTo>
                  <a:cubicBezTo>
                    <a:pt x="1091265" y="412496"/>
                    <a:pt x="895543" y="216692"/>
                    <a:pt x="654060" y="216611"/>
                  </a:cubicBezTo>
                  <a:cubicBezTo>
                    <a:pt x="412577" y="216611"/>
                    <a:pt x="216774" y="412333"/>
                    <a:pt x="216692" y="653816"/>
                  </a:cubicBezTo>
                  <a:lnTo>
                    <a:pt x="216692" y="653979"/>
                  </a:lnTo>
                  <a:cubicBezTo>
                    <a:pt x="216692" y="895462"/>
                    <a:pt x="412415" y="1091184"/>
                    <a:pt x="653898" y="1091184"/>
                  </a:cubicBezTo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40" name="Forma libre: forma 39">
              <a:extLst>
                <a:ext uri="{FF2B5EF4-FFF2-40B4-BE49-F238E27FC236}">
                  <a16:creationId xmlns:a16="http://schemas.microsoft.com/office/drawing/2014/main" id="{AD03BA94-21F5-48A1-B571-6406AE657A9F}"/>
                </a:ext>
              </a:extLst>
            </p:cNvPr>
            <p:cNvSpPr/>
            <p:nvPr/>
          </p:nvSpPr>
          <p:spPr>
            <a:xfrm>
              <a:off x="1151981" y="2793797"/>
              <a:ext cx="219456" cy="1267968"/>
            </a:xfrm>
            <a:custGeom>
              <a:avLst/>
              <a:gdLst>
                <a:gd name="connsiteX0" fmla="*/ 216367 w 219456"/>
                <a:gd name="connsiteY0" fmla="*/ 6096 h 1267968"/>
                <a:gd name="connsiteX1" fmla="*/ 216367 w 219456"/>
                <a:gd name="connsiteY1" fmla="*/ 6096 h 1267968"/>
                <a:gd name="connsiteX2" fmla="*/ 216367 w 219456"/>
                <a:gd name="connsiteY2" fmla="*/ 1268212 h 1267968"/>
                <a:gd name="connsiteX3" fmla="*/ 6096 w 219456"/>
                <a:gd name="connsiteY3" fmla="*/ 1268212 h 1267968"/>
                <a:gd name="connsiteX4" fmla="*/ 6096 w 219456"/>
                <a:gd name="connsiteY4" fmla="*/ 216449 h 1267968"/>
                <a:gd name="connsiteX5" fmla="*/ 216367 w 219456"/>
                <a:gd name="connsiteY5" fmla="*/ 6096 h 126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19456" h="1267968">
                  <a:moveTo>
                    <a:pt x="216367" y="6096"/>
                  </a:moveTo>
                  <a:lnTo>
                    <a:pt x="216367" y="6096"/>
                  </a:lnTo>
                  <a:lnTo>
                    <a:pt x="216367" y="1268212"/>
                  </a:lnTo>
                  <a:lnTo>
                    <a:pt x="6096" y="1268212"/>
                  </a:lnTo>
                  <a:lnTo>
                    <a:pt x="6096" y="216449"/>
                  </a:lnTo>
                  <a:cubicBezTo>
                    <a:pt x="6096" y="100300"/>
                    <a:pt x="100218" y="6177"/>
                    <a:pt x="216367" y="6096"/>
                  </a:cubicBezTo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41" name="Forma libre: forma 40">
              <a:extLst>
                <a:ext uri="{FF2B5EF4-FFF2-40B4-BE49-F238E27FC236}">
                  <a16:creationId xmlns:a16="http://schemas.microsoft.com/office/drawing/2014/main" id="{E3221740-9099-4704-B2EB-462A0F655850}"/>
                </a:ext>
              </a:extLst>
            </p:cNvPr>
            <p:cNvSpPr/>
            <p:nvPr/>
          </p:nvSpPr>
          <p:spPr>
            <a:xfrm>
              <a:off x="9373128" y="2793797"/>
              <a:ext cx="219456" cy="1267968"/>
            </a:xfrm>
            <a:custGeom>
              <a:avLst/>
              <a:gdLst>
                <a:gd name="connsiteX0" fmla="*/ 216368 w 219456"/>
                <a:gd name="connsiteY0" fmla="*/ 6096 h 1267968"/>
                <a:gd name="connsiteX1" fmla="*/ 216368 w 219456"/>
                <a:gd name="connsiteY1" fmla="*/ 6096 h 1267968"/>
                <a:gd name="connsiteX2" fmla="*/ 216368 w 219456"/>
                <a:gd name="connsiteY2" fmla="*/ 1268212 h 1267968"/>
                <a:gd name="connsiteX3" fmla="*/ 6096 w 219456"/>
                <a:gd name="connsiteY3" fmla="*/ 1268212 h 1267968"/>
                <a:gd name="connsiteX4" fmla="*/ 6096 w 219456"/>
                <a:gd name="connsiteY4" fmla="*/ 216449 h 1267968"/>
                <a:gd name="connsiteX5" fmla="*/ 216287 w 219456"/>
                <a:gd name="connsiteY5" fmla="*/ 6096 h 1267968"/>
                <a:gd name="connsiteX6" fmla="*/ 216368 w 219456"/>
                <a:gd name="connsiteY6" fmla="*/ 6096 h 126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19456" h="1267968">
                  <a:moveTo>
                    <a:pt x="216368" y="6096"/>
                  </a:moveTo>
                  <a:lnTo>
                    <a:pt x="216368" y="6096"/>
                  </a:lnTo>
                  <a:lnTo>
                    <a:pt x="216368" y="1268212"/>
                  </a:lnTo>
                  <a:lnTo>
                    <a:pt x="6096" y="1268212"/>
                  </a:lnTo>
                  <a:lnTo>
                    <a:pt x="6096" y="216449"/>
                  </a:lnTo>
                  <a:cubicBezTo>
                    <a:pt x="6096" y="100300"/>
                    <a:pt x="100138" y="6177"/>
                    <a:pt x="216287" y="6096"/>
                  </a:cubicBezTo>
                  <a:lnTo>
                    <a:pt x="216368" y="6096"/>
                  </a:lnTo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42" name="Forma libre: forma 41">
              <a:extLst>
                <a:ext uri="{FF2B5EF4-FFF2-40B4-BE49-F238E27FC236}">
                  <a16:creationId xmlns:a16="http://schemas.microsoft.com/office/drawing/2014/main" id="{B566E64B-BB73-426B-90AA-CCFA663F8168}"/>
                </a:ext>
              </a:extLst>
            </p:cNvPr>
            <p:cNvSpPr/>
            <p:nvPr/>
          </p:nvSpPr>
          <p:spPr>
            <a:xfrm>
              <a:off x="8111012" y="2793878"/>
              <a:ext cx="1056640" cy="1267968"/>
            </a:xfrm>
            <a:custGeom>
              <a:avLst/>
              <a:gdLst>
                <a:gd name="connsiteX0" fmla="*/ 74046 w 1056640"/>
                <a:gd name="connsiteY0" fmla="*/ 6096 h 1267968"/>
                <a:gd name="connsiteX1" fmla="*/ 6096 w 1056640"/>
                <a:gd name="connsiteY1" fmla="*/ 216367 h 1267968"/>
                <a:gd name="connsiteX2" fmla="*/ 426802 w 1056640"/>
                <a:gd name="connsiteY2" fmla="*/ 216367 h 1267968"/>
                <a:gd name="connsiteX3" fmla="*/ 426802 w 1056640"/>
                <a:gd name="connsiteY3" fmla="*/ 1268131 h 1267968"/>
                <a:gd name="connsiteX4" fmla="*/ 637155 w 1056640"/>
                <a:gd name="connsiteY4" fmla="*/ 1268131 h 1267968"/>
                <a:gd name="connsiteX5" fmla="*/ 637155 w 1056640"/>
                <a:gd name="connsiteY5" fmla="*/ 216367 h 1267968"/>
                <a:gd name="connsiteX6" fmla="*/ 847507 w 1056640"/>
                <a:gd name="connsiteY6" fmla="*/ 216367 h 1267968"/>
                <a:gd name="connsiteX7" fmla="*/ 1057860 w 1056640"/>
                <a:gd name="connsiteY7" fmla="*/ 6096 h 1267968"/>
                <a:gd name="connsiteX8" fmla="*/ 74046 w 1056640"/>
                <a:gd name="connsiteY8" fmla="*/ 6096 h 126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056640" h="1267968">
                  <a:moveTo>
                    <a:pt x="74046" y="6096"/>
                  </a:moveTo>
                  <a:lnTo>
                    <a:pt x="6096" y="216367"/>
                  </a:lnTo>
                  <a:lnTo>
                    <a:pt x="426802" y="216367"/>
                  </a:lnTo>
                  <a:lnTo>
                    <a:pt x="426802" y="1268131"/>
                  </a:lnTo>
                  <a:lnTo>
                    <a:pt x="637155" y="1268131"/>
                  </a:lnTo>
                  <a:lnTo>
                    <a:pt x="637155" y="216367"/>
                  </a:lnTo>
                  <a:lnTo>
                    <a:pt x="847507" y="216367"/>
                  </a:lnTo>
                  <a:cubicBezTo>
                    <a:pt x="963656" y="216367"/>
                    <a:pt x="1057779" y="122245"/>
                    <a:pt x="1057860" y="6096"/>
                  </a:cubicBezTo>
                  <a:lnTo>
                    <a:pt x="74046" y="609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43" name="Forma libre: forma 42">
              <a:extLst>
                <a:ext uri="{FF2B5EF4-FFF2-40B4-BE49-F238E27FC236}">
                  <a16:creationId xmlns:a16="http://schemas.microsoft.com/office/drawing/2014/main" id="{18D12D4C-B14B-4B50-9B47-17EDE63F002E}"/>
                </a:ext>
              </a:extLst>
            </p:cNvPr>
            <p:cNvSpPr/>
            <p:nvPr/>
          </p:nvSpPr>
          <p:spPr>
            <a:xfrm>
              <a:off x="1602108" y="2793797"/>
              <a:ext cx="845312" cy="1267968"/>
            </a:xfrm>
            <a:custGeom>
              <a:avLst/>
              <a:gdLst>
                <a:gd name="connsiteX0" fmla="*/ 216288 w 845312"/>
                <a:gd name="connsiteY0" fmla="*/ 1057859 h 1267968"/>
                <a:gd name="connsiteX1" fmla="*/ 216288 w 845312"/>
                <a:gd name="connsiteY1" fmla="*/ 6096 h 1267968"/>
                <a:gd name="connsiteX2" fmla="*/ 6098 w 845312"/>
                <a:gd name="connsiteY2" fmla="*/ 6096 h 1267968"/>
                <a:gd name="connsiteX3" fmla="*/ 6098 w 845312"/>
                <a:gd name="connsiteY3" fmla="*/ 1057859 h 1267968"/>
                <a:gd name="connsiteX4" fmla="*/ 6098 w 845312"/>
                <a:gd name="connsiteY4" fmla="*/ 1057859 h 1267968"/>
                <a:gd name="connsiteX5" fmla="*/ 14226 w 845312"/>
                <a:gd name="connsiteY5" fmla="*/ 1116706 h 1267968"/>
                <a:gd name="connsiteX6" fmla="*/ 15201 w 845312"/>
                <a:gd name="connsiteY6" fmla="*/ 1120364 h 1267968"/>
                <a:gd name="connsiteX7" fmla="*/ 17071 w 845312"/>
                <a:gd name="connsiteY7" fmla="*/ 1125566 h 1267968"/>
                <a:gd name="connsiteX8" fmla="*/ 22598 w 845312"/>
                <a:gd name="connsiteY8" fmla="*/ 1140358 h 1267968"/>
                <a:gd name="connsiteX9" fmla="*/ 52021 w 845312"/>
                <a:gd name="connsiteY9" fmla="*/ 1189126 h 1267968"/>
                <a:gd name="connsiteX10" fmla="*/ 124685 w 845312"/>
                <a:gd name="connsiteY10" fmla="*/ 1246916 h 1267968"/>
                <a:gd name="connsiteX11" fmla="*/ 216125 w 845312"/>
                <a:gd name="connsiteY11" fmla="*/ 1268049 h 1267968"/>
                <a:gd name="connsiteX12" fmla="*/ 776957 w 845312"/>
                <a:gd name="connsiteY12" fmla="*/ 1268049 h 1267968"/>
                <a:gd name="connsiteX13" fmla="*/ 847021 w 845312"/>
                <a:gd name="connsiteY13" fmla="*/ 1057697 h 1267968"/>
                <a:gd name="connsiteX14" fmla="*/ 216288 w 845312"/>
                <a:gd name="connsiteY14" fmla="*/ 1057859 h 126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845312" h="1267968">
                  <a:moveTo>
                    <a:pt x="216288" y="1057859"/>
                  </a:moveTo>
                  <a:lnTo>
                    <a:pt x="216288" y="6096"/>
                  </a:lnTo>
                  <a:lnTo>
                    <a:pt x="6098" y="6096"/>
                  </a:lnTo>
                  <a:lnTo>
                    <a:pt x="6098" y="1057859"/>
                  </a:lnTo>
                  <a:lnTo>
                    <a:pt x="6098" y="1057859"/>
                  </a:lnTo>
                  <a:cubicBezTo>
                    <a:pt x="6017" y="1077773"/>
                    <a:pt x="8699" y="1097605"/>
                    <a:pt x="14226" y="1116706"/>
                  </a:cubicBezTo>
                  <a:cubicBezTo>
                    <a:pt x="14632" y="1117925"/>
                    <a:pt x="14795" y="1119226"/>
                    <a:pt x="15201" y="1120364"/>
                  </a:cubicBezTo>
                  <a:cubicBezTo>
                    <a:pt x="15608" y="1121502"/>
                    <a:pt x="16502" y="1123859"/>
                    <a:pt x="17071" y="1125566"/>
                  </a:cubicBezTo>
                  <a:cubicBezTo>
                    <a:pt x="18777" y="1130605"/>
                    <a:pt x="20566" y="1135563"/>
                    <a:pt x="22598" y="1140358"/>
                  </a:cubicBezTo>
                  <a:cubicBezTo>
                    <a:pt x="30157" y="1157915"/>
                    <a:pt x="40073" y="1174252"/>
                    <a:pt x="52021" y="1189126"/>
                  </a:cubicBezTo>
                  <a:cubicBezTo>
                    <a:pt x="71691" y="1213510"/>
                    <a:pt x="96481" y="1233262"/>
                    <a:pt x="124685" y="1246916"/>
                  </a:cubicBezTo>
                  <a:cubicBezTo>
                    <a:pt x="153215" y="1260734"/>
                    <a:pt x="184426" y="1267968"/>
                    <a:pt x="216125" y="1268049"/>
                  </a:cubicBezTo>
                  <a:lnTo>
                    <a:pt x="776957" y="1268049"/>
                  </a:lnTo>
                  <a:lnTo>
                    <a:pt x="847021" y="1057697"/>
                  </a:lnTo>
                  <a:lnTo>
                    <a:pt x="216288" y="105785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44" name="Forma libre: forma 43">
              <a:extLst>
                <a:ext uri="{FF2B5EF4-FFF2-40B4-BE49-F238E27FC236}">
                  <a16:creationId xmlns:a16="http://schemas.microsoft.com/office/drawing/2014/main" id="{5A9FCE29-5537-426D-BECC-862480629366}"/>
                </a:ext>
              </a:extLst>
            </p:cNvPr>
            <p:cNvSpPr/>
            <p:nvPr/>
          </p:nvSpPr>
          <p:spPr>
            <a:xfrm>
              <a:off x="-6096" y="2794284"/>
              <a:ext cx="959104" cy="1267968"/>
            </a:xfrm>
            <a:custGeom>
              <a:avLst/>
              <a:gdLst>
                <a:gd name="connsiteX0" fmla="*/ 818815 w 959104"/>
                <a:gd name="connsiteY0" fmla="*/ 411764 h 1267968"/>
                <a:gd name="connsiteX1" fmla="*/ 818815 w 959104"/>
                <a:gd name="connsiteY1" fmla="*/ 285699 h 1267968"/>
                <a:gd name="connsiteX2" fmla="*/ 539130 w 959104"/>
                <a:gd name="connsiteY2" fmla="*/ 6096 h 1267968"/>
                <a:gd name="connsiteX3" fmla="*/ 6096 w 959104"/>
                <a:gd name="connsiteY3" fmla="*/ 6096 h 1267968"/>
                <a:gd name="connsiteX4" fmla="*/ 6096 w 959104"/>
                <a:gd name="connsiteY4" fmla="*/ 1057047 h 1267968"/>
                <a:gd name="connsiteX5" fmla="*/ 216367 w 959104"/>
                <a:gd name="connsiteY5" fmla="*/ 1267399 h 1267968"/>
                <a:gd name="connsiteX6" fmla="*/ 532140 w 959104"/>
                <a:gd name="connsiteY6" fmla="*/ 1267399 h 1267968"/>
                <a:gd name="connsiteX7" fmla="*/ 953821 w 959104"/>
                <a:gd name="connsiteY7" fmla="*/ 892861 h 1267968"/>
                <a:gd name="connsiteX8" fmla="*/ 603260 w 959104"/>
                <a:gd name="connsiteY8" fmla="*/ 530596 h 1267968"/>
                <a:gd name="connsiteX9" fmla="*/ 218562 w 959104"/>
                <a:gd name="connsiteY9" fmla="*/ 531490 h 1267968"/>
                <a:gd name="connsiteX10" fmla="*/ 424282 w 959104"/>
                <a:gd name="connsiteY10" fmla="*/ 737210 h 1267968"/>
                <a:gd name="connsiteX11" fmla="*/ 424932 w 959104"/>
                <a:gd name="connsiteY11" fmla="*/ 737210 h 1267968"/>
                <a:gd name="connsiteX12" fmla="*/ 585785 w 959104"/>
                <a:gd name="connsiteY12" fmla="*/ 737210 h 1267968"/>
                <a:gd name="connsiteX13" fmla="*/ 758261 w 959104"/>
                <a:gd name="connsiteY13" fmla="*/ 889203 h 1267968"/>
                <a:gd name="connsiteX14" fmla="*/ 606268 w 959104"/>
                <a:gd name="connsiteY14" fmla="*/ 1061679 h 1267968"/>
                <a:gd name="connsiteX15" fmla="*/ 585704 w 959104"/>
                <a:gd name="connsiteY15" fmla="*/ 1061679 h 1267968"/>
                <a:gd name="connsiteX16" fmla="*/ 216530 w 959104"/>
                <a:gd name="connsiteY16" fmla="*/ 1061679 h 1267968"/>
                <a:gd name="connsiteX17" fmla="*/ 216530 w 959104"/>
                <a:gd name="connsiteY17" fmla="*/ 211653 h 1267968"/>
                <a:gd name="connsiteX18" fmla="*/ 467685 w 959104"/>
                <a:gd name="connsiteY18" fmla="*/ 211653 h 1267968"/>
                <a:gd name="connsiteX19" fmla="*/ 612689 w 959104"/>
                <a:gd name="connsiteY19" fmla="*/ 356575 h 1267968"/>
                <a:gd name="connsiteX20" fmla="*/ 612689 w 959104"/>
                <a:gd name="connsiteY20" fmla="*/ 530352 h 1267968"/>
                <a:gd name="connsiteX21" fmla="*/ 818815 w 959104"/>
                <a:gd name="connsiteY21" fmla="*/ 411764 h 126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959104" h="1267968">
                  <a:moveTo>
                    <a:pt x="818815" y="411764"/>
                  </a:moveTo>
                  <a:lnTo>
                    <a:pt x="818815" y="285699"/>
                  </a:lnTo>
                  <a:cubicBezTo>
                    <a:pt x="818815" y="131267"/>
                    <a:pt x="693562" y="6096"/>
                    <a:pt x="539130" y="6096"/>
                  </a:cubicBezTo>
                  <a:lnTo>
                    <a:pt x="6096" y="6096"/>
                  </a:lnTo>
                  <a:lnTo>
                    <a:pt x="6096" y="1057047"/>
                  </a:lnTo>
                  <a:cubicBezTo>
                    <a:pt x="6096" y="1173196"/>
                    <a:pt x="100218" y="1267318"/>
                    <a:pt x="216367" y="1267399"/>
                  </a:cubicBezTo>
                  <a:lnTo>
                    <a:pt x="532140" y="1267399"/>
                  </a:lnTo>
                  <a:cubicBezTo>
                    <a:pt x="807436" y="1267399"/>
                    <a:pt x="953821" y="1096711"/>
                    <a:pt x="953821" y="892861"/>
                  </a:cubicBezTo>
                  <a:cubicBezTo>
                    <a:pt x="953821" y="725587"/>
                    <a:pt x="840029" y="530596"/>
                    <a:pt x="603260" y="530596"/>
                  </a:cubicBezTo>
                  <a:lnTo>
                    <a:pt x="218562" y="531490"/>
                  </a:lnTo>
                  <a:cubicBezTo>
                    <a:pt x="218562" y="645119"/>
                    <a:pt x="310652" y="737210"/>
                    <a:pt x="424282" y="737210"/>
                  </a:cubicBezTo>
                  <a:cubicBezTo>
                    <a:pt x="424525" y="737210"/>
                    <a:pt x="424688" y="737210"/>
                    <a:pt x="424932" y="737210"/>
                  </a:cubicBezTo>
                  <a:lnTo>
                    <a:pt x="585785" y="737210"/>
                  </a:lnTo>
                  <a:cubicBezTo>
                    <a:pt x="675356" y="731520"/>
                    <a:pt x="752653" y="799551"/>
                    <a:pt x="758261" y="889203"/>
                  </a:cubicBezTo>
                  <a:cubicBezTo>
                    <a:pt x="763951" y="978774"/>
                    <a:pt x="695919" y="1056071"/>
                    <a:pt x="606268" y="1061679"/>
                  </a:cubicBezTo>
                  <a:cubicBezTo>
                    <a:pt x="599440" y="1062086"/>
                    <a:pt x="592531" y="1062086"/>
                    <a:pt x="585704" y="1061679"/>
                  </a:cubicBezTo>
                  <a:lnTo>
                    <a:pt x="216530" y="1061679"/>
                  </a:lnTo>
                  <a:lnTo>
                    <a:pt x="216530" y="211653"/>
                  </a:lnTo>
                  <a:lnTo>
                    <a:pt x="467685" y="211653"/>
                  </a:lnTo>
                  <a:cubicBezTo>
                    <a:pt x="547014" y="213441"/>
                    <a:pt x="610901" y="277246"/>
                    <a:pt x="612689" y="356575"/>
                  </a:cubicBezTo>
                  <a:lnTo>
                    <a:pt x="612689" y="530352"/>
                  </a:lnTo>
                  <a:lnTo>
                    <a:pt x="818815" y="41176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45" name="Forma libre: forma 44">
              <a:extLst>
                <a:ext uri="{FF2B5EF4-FFF2-40B4-BE49-F238E27FC236}">
                  <a16:creationId xmlns:a16="http://schemas.microsoft.com/office/drawing/2014/main" id="{B80D723E-75F9-49EA-AC2D-D1F6C1447F68}"/>
                </a:ext>
              </a:extLst>
            </p:cNvPr>
            <p:cNvSpPr/>
            <p:nvPr/>
          </p:nvSpPr>
          <p:spPr>
            <a:xfrm>
              <a:off x="2653792" y="2794284"/>
              <a:ext cx="959104" cy="1267968"/>
            </a:xfrm>
            <a:custGeom>
              <a:avLst/>
              <a:gdLst>
                <a:gd name="connsiteX0" fmla="*/ 818896 w 959104"/>
                <a:gd name="connsiteY0" fmla="*/ 411764 h 1267968"/>
                <a:gd name="connsiteX1" fmla="*/ 818896 w 959104"/>
                <a:gd name="connsiteY1" fmla="*/ 285699 h 1267968"/>
                <a:gd name="connsiteX2" fmla="*/ 539212 w 959104"/>
                <a:gd name="connsiteY2" fmla="*/ 6096 h 1267968"/>
                <a:gd name="connsiteX3" fmla="*/ 6096 w 959104"/>
                <a:gd name="connsiteY3" fmla="*/ 6096 h 1267968"/>
                <a:gd name="connsiteX4" fmla="*/ 6096 w 959104"/>
                <a:gd name="connsiteY4" fmla="*/ 1057047 h 1267968"/>
                <a:gd name="connsiteX5" fmla="*/ 216449 w 959104"/>
                <a:gd name="connsiteY5" fmla="*/ 1267399 h 1267968"/>
                <a:gd name="connsiteX6" fmla="*/ 532222 w 959104"/>
                <a:gd name="connsiteY6" fmla="*/ 1267399 h 1267968"/>
                <a:gd name="connsiteX7" fmla="*/ 953821 w 959104"/>
                <a:gd name="connsiteY7" fmla="*/ 892861 h 1267968"/>
                <a:gd name="connsiteX8" fmla="*/ 603342 w 959104"/>
                <a:gd name="connsiteY8" fmla="*/ 530596 h 1267968"/>
                <a:gd name="connsiteX9" fmla="*/ 218643 w 959104"/>
                <a:gd name="connsiteY9" fmla="*/ 531490 h 1267968"/>
                <a:gd name="connsiteX10" fmla="*/ 424363 w 959104"/>
                <a:gd name="connsiteY10" fmla="*/ 737210 h 1267968"/>
                <a:gd name="connsiteX11" fmla="*/ 424932 w 959104"/>
                <a:gd name="connsiteY11" fmla="*/ 737210 h 1267968"/>
                <a:gd name="connsiteX12" fmla="*/ 585866 w 959104"/>
                <a:gd name="connsiteY12" fmla="*/ 737210 h 1267968"/>
                <a:gd name="connsiteX13" fmla="*/ 737860 w 959104"/>
                <a:gd name="connsiteY13" fmla="*/ 909686 h 1267968"/>
                <a:gd name="connsiteX14" fmla="*/ 585866 w 959104"/>
                <a:gd name="connsiteY14" fmla="*/ 1061679 h 1267968"/>
                <a:gd name="connsiteX15" fmla="*/ 216611 w 959104"/>
                <a:gd name="connsiteY15" fmla="*/ 1061679 h 1267968"/>
                <a:gd name="connsiteX16" fmla="*/ 216611 w 959104"/>
                <a:gd name="connsiteY16" fmla="*/ 211653 h 1267968"/>
                <a:gd name="connsiteX17" fmla="*/ 467766 w 959104"/>
                <a:gd name="connsiteY17" fmla="*/ 211653 h 1267968"/>
                <a:gd name="connsiteX18" fmla="*/ 612770 w 959104"/>
                <a:gd name="connsiteY18" fmla="*/ 356575 h 1267968"/>
                <a:gd name="connsiteX19" fmla="*/ 612770 w 959104"/>
                <a:gd name="connsiteY19" fmla="*/ 530352 h 1267968"/>
                <a:gd name="connsiteX20" fmla="*/ 818896 w 959104"/>
                <a:gd name="connsiteY20" fmla="*/ 411764 h 126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959104" h="1267968">
                  <a:moveTo>
                    <a:pt x="818896" y="411764"/>
                  </a:moveTo>
                  <a:lnTo>
                    <a:pt x="818896" y="285699"/>
                  </a:lnTo>
                  <a:cubicBezTo>
                    <a:pt x="818896" y="131267"/>
                    <a:pt x="693644" y="6096"/>
                    <a:pt x="539212" y="6096"/>
                  </a:cubicBezTo>
                  <a:lnTo>
                    <a:pt x="6096" y="6096"/>
                  </a:lnTo>
                  <a:lnTo>
                    <a:pt x="6096" y="1057047"/>
                  </a:lnTo>
                  <a:cubicBezTo>
                    <a:pt x="6096" y="1173196"/>
                    <a:pt x="100299" y="1267399"/>
                    <a:pt x="216449" y="1267399"/>
                  </a:cubicBezTo>
                  <a:lnTo>
                    <a:pt x="532222" y="1267399"/>
                  </a:lnTo>
                  <a:cubicBezTo>
                    <a:pt x="807517" y="1267399"/>
                    <a:pt x="953821" y="1096711"/>
                    <a:pt x="953821" y="892861"/>
                  </a:cubicBezTo>
                  <a:cubicBezTo>
                    <a:pt x="953821" y="725587"/>
                    <a:pt x="840029" y="530596"/>
                    <a:pt x="603342" y="530596"/>
                  </a:cubicBezTo>
                  <a:lnTo>
                    <a:pt x="218643" y="531490"/>
                  </a:lnTo>
                  <a:cubicBezTo>
                    <a:pt x="218643" y="645119"/>
                    <a:pt x="310734" y="737210"/>
                    <a:pt x="424363" y="737210"/>
                  </a:cubicBezTo>
                  <a:cubicBezTo>
                    <a:pt x="424526" y="737210"/>
                    <a:pt x="424769" y="737210"/>
                    <a:pt x="424932" y="737210"/>
                  </a:cubicBezTo>
                  <a:lnTo>
                    <a:pt x="585866" y="737210"/>
                  </a:lnTo>
                  <a:cubicBezTo>
                    <a:pt x="675437" y="742899"/>
                    <a:pt x="743468" y="820115"/>
                    <a:pt x="737860" y="909686"/>
                  </a:cubicBezTo>
                  <a:cubicBezTo>
                    <a:pt x="732658" y="991372"/>
                    <a:pt x="667553" y="1056477"/>
                    <a:pt x="585866" y="1061679"/>
                  </a:cubicBezTo>
                  <a:lnTo>
                    <a:pt x="216611" y="1061679"/>
                  </a:lnTo>
                  <a:lnTo>
                    <a:pt x="216611" y="211653"/>
                  </a:lnTo>
                  <a:lnTo>
                    <a:pt x="467766" y="211653"/>
                  </a:lnTo>
                  <a:cubicBezTo>
                    <a:pt x="547096" y="213441"/>
                    <a:pt x="610982" y="277246"/>
                    <a:pt x="612770" y="356575"/>
                  </a:cubicBezTo>
                  <a:lnTo>
                    <a:pt x="612770" y="530352"/>
                  </a:lnTo>
                  <a:lnTo>
                    <a:pt x="818896" y="41176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46" name="Forma libre: forma 45">
              <a:extLst>
                <a:ext uri="{FF2B5EF4-FFF2-40B4-BE49-F238E27FC236}">
                  <a16:creationId xmlns:a16="http://schemas.microsoft.com/office/drawing/2014/main" id="{88968AAF-CA72-4035-8528-A6C8E6DC47DD}"/>
                </a:ext>
              </a:extLst>
            </p:cNvPr>
            <p:cNvSpPr/>
            <p:nvPr/>
          </p:nvSpPr>
          <p:spPr>
            <a:xfrm>
              <a:off x="5297343" y="2793878"/>
              <a:ext cx="219456" cy="1267968"/>
            </a:xfrm>
            <a:custGeom>
              <a:avLst/>
              <a:gdLst>
                <a:gd name="connsiteX0" fmla="*/ 6096 w 219456"/>
                <a:gd name="connsiteY0" fmla="*/ 6096 h 1267968"/>
                <a:gd name="connsiteX1" fmla="*/ 216449 w 219456"/>
                <a:gd name="connsiteY1" fmla="*/ 6096 h 1267968"/>
                <a:gd name="connsiteX2" fmla="*/ 216449 w 219456"/>
                <a:gd name="connsiteY2" fmla="*/ 1268212 h 1267968"/>
                <a:gd name="connsiteX3" fmla="*/ 6096 w 219456"/>
                <a:gd name="connsiteY3" fmla="*/ 1268212 h 126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19456" h="1267968">
                  <a:moveTo>
                    <a:pt x="6096" y="6096"/>
                  </a:moveTo>
                  <a:lnTo>
                    <a:pt x="216449" y="6096"/>
                  </a:lnTo>
                  <a:lnTo>
                    <a:pt x="216449" y="1268212"/>
                  </a:lnTo>
                  <a:lnTo>
                    <a:pt x="6096" y="126821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47" name="Forma libre: forma 46">
              <a:extLst>
                <a:ext uri="{FF2B5EF4-FFF2-40B4-BE49-F238E27FC236}">
                  <a16:creationId xmlns:a16="http://schemas.microsoft.com/office/drawing/2014/main" id="{0320B84E-0A29-454B-99C2-71D4793DB362}"/>
                </a:ext>
              </a:extLst>
            </p:cNvPr>
            <p:cNvSpPr/>
            <p:nvPr/>
          </p:nvSpPr>
          <p:spPr>
            <a:xfrm>
              <a:off x="5507695" y="2793634"/>
              <a:ext cx="487680" cy="1267968"/>
            </a:xfrm>
            <a:custGeom>
              <a:avLst/>
              <a:gdLst>
                <a:gd name="connsiteX0" fmla="*/ 426557 w 487680"/>
                <a:gd name="connsiteY0" fmla="*/ 1268375 h 1267968"/>
                <a:gd name="connsiteX1" fmla="*/ 485323 w 487680"/>
                <a:gd name="connsiteY1" fmla="*/ 1268375 h 1267968"/>
                <a:gd name="connsiteX2" fmla="*/ 248067 w 487680"/>
                <a:gd name="connsiteY2" fmla="*/ 154838 h 1267968"/>
                <a:gd name="connsiteX3" fmla="*/ 64861 w 487680"/>
                <a:gd name="connsiteY3" fmla="*/ 6096 h 1267968"/>
                <a:gd name="connsiteX4" fmla="*/ 6096 w 487680"/>
                <a:gd name="connsiteY4" fmla="*/ 6096 h 1267968"/>
                <a:gd name="connsiteX5" fmla="*/ 243352 w 487680"/>
                <a:gd name="connsiteY5" fmla="*/ 1119632 h 1267968"/>
                <a:gd name="connsiteX6" fmla="*/ 426557 w 487680"/>
                <a:gd name="connsiteY6" fmla="*/ 1267968 h 126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87680" h="1267968">
                  <a:moveTo>
                    <a:pt x="426557" y="1268375"/>
                  </a:moveTo>
                  <a:lnTo>
                    <a:pt x="485323" y="1268375"/>
                  </a:lnTo>
                  <a:lnTo>
                    <a:pt x="248067" y="154838"/>
                  </a:lnTo>
                  <a:cubicBezTo>
                    <a:pt x="229535" y="68356"/>
                    <a:pt x="153294" y="6421"/>
                    <a:pt x="64861" y="6096"/>
                  </a:cubicBezTo>
                  <a:lnTo>
                    <a:pt x="6096" y="6096"/>
                  </a:lnTo>
                  <a:lnTo>
                    <a:pt x="243352" y="1119632"/>
                  </a:lnTo>
                  <a:cubicBezTo>
                    <a:pt x="261803" y="1206114"/>
                    <a:pt x="338125" y="1267887"/>
                    <a:pt x="426557" y="1267968"/>
                  </a:cubicBezTo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48" name="Forma libre: forma 47">
              <a:extLst>
                <a:ext uri="{FF2B5EF4-FFF2-40B4-BE49-F238E27FC236}">
                  <a16:creationId xmlns:a16="http://schemas.microsoft.com/office/drawing/2014/main" id="{0A007912-68F6-4B17-83E7-5309C145CB7A}"/>
                </a:ext>
              </a:extLst>
            </p:cNvPr>
            <p:cNvSpPr/>
            <p:nvPr/>
          </p:nvSpPr>
          <p:spPr>
            <a:xfrm>
              <a:off x="5986922" y="2794284"/>
              <a:ext cx="487680" cy="1267968"/>
            </a:xfrm>
            <a:custGeom>
              <a:avLst/>
              <a:gdLst>
                <a:gd name="connsiteX0" fmla="*/ 243271 w 487680"/>
                <a:gd name="connsiteY0" fmla="*/ 154595 h 1267968"/>
                <a:gd name="connsiteX1" fmla="*/ 6096 w 487680"/>
                <a:gd name="connsiteY1" fmla="*/ 1268131 h 1267968"/>
                <a:gd name="connsiteX2" fmla="*/ 216367 w 487680"/>
                <a:gd name="connsiteY2" fmla="*/ 1268131 h 1267968"/>
                <a:gd name="connsiteX3" fmla="*/ 485323 w 487680"/>
                <a:gd name="connsiteY3" fmla="*/ 6096 h 1267968"/>
                <a:gd name="connsiteX4" fmla="*/ 426557 w 487680"/>
                <a:gd name="connsiteY4" fmla="*/ 6096 h 1267968"/>
                <a:gd name="connsiteX5" fmla="*/ 243271 w 487680"/>
                <a:gd name="connsiteY5" fmla="*/ 155001 h 126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87680" h="1267968">
                  <a:moveTo>
                    <a:pt x="243271" y="154595"/>
                  </a:moveTo>
                  <a:lnTo>
                    <a:pt x="6096" y="1268131"/>
                  </a:lnTo>
                  <a:lnTo>
                    <a:pt x="216367" y="1268131"/>
                  </a:lnTo>
                  <a:lnTo>
                    <a:pt x="485323" y="6096"/>
                  </a:lnTo>
                  <a:lnTo>
                    <a:pt x="426557" y="6096"/>
                  </a:lnTo>
                  <a:cubicBezTo>
                    <a:pt x="338043" y="6421"/>
                    <a:pt x="261722" y="68438"/>
                    <a:pt x="243271" y="155001"/>
                  </a:cubicBezTo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49" name="Forma libre: forma 48">
              <a:extLst>
                <a:ext uri="{FF2B5EF4-FFF2-40B4-BE49-F238E27FC236}">
                  <a16:creationId xmlns:a16="http://schemas.microsoft.com/office/drawing/2014/main" id="{1110CF3B-A4ED-40A6-B9B5-3139BEC818B8}"/>
                </a:ext>
              </a:extLst>
            </p:cNvPr>
            <p:cNvSpPr/>
            <p:nvPr/>
          </p:nvSpPr>
          <p:spPr>
            <a:xfrm>
              <a:off x="6466149" y="2793878"/>
              <a:ext cx="219456" cy="1267968"/>
            </a:xfrm>
            <a:custGeom>
              <a:avLst/>
              <a:gdLst>
                <a:gd name="connsiteX0" fmla="*/ 6096 w 219456"/>
                <a:gd name="connsiteY0" fmla="*/ 6096 h 1267968"/>
                <a:gd name="connsiteX1" fmla="*/ 216449 w 219456"/>
                <a:gd name="connsiteY1" fmla="*/ 6096 h 1267968"/>
                <a:gd name="connsiteX2" fmla="*/ 216449 w 219456"/>
                <a:gd name="connsiteY2" fmla="*/ 1268212 h 1267968"/>
                <a:gd name="connsiteX3" fmla="*/ 6096 w 219456"/>
                <a:gd name="connsiteY3" fmla="*/ 1268212 h 126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19456" h="1267968">
                  <a:moveTo>
                    <a:pt x="6096" y="6096"/>
                  </a:moveTo>
                  <a:lnTo>
                    <a:pt x="216449" y="6096"/>
                  </a:lnTo>
                  <a:lnTo>
                    <a:pt x="216449" y="1268212"/>
                  </a:lnTo>
                  <a:lnTo>
                    <a:pt x="6096" y="126821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50" name="Forma libre: forma 49">
              <a:extLst>
                <a:ext uri="{FF2B5EF4-FFF2-40B4-BE49-F238E27FC236}">
                  <a16:creationId xmlns:a16="http://schemas.microsoft.com/office/drawing/2014/main" id="{B4AA73A7-E459-41B7-B048-03FE18CE40D6}"/>
                </a:ext>
              </a:extLst>
            </p:cNvPr>
            <p:cNvSpPr/>
            <p:nvPr/>
          </p:nvSpPr>
          <p:spPr>
            <a:xfrm>
              <a:off x="9815617" y="2776728"/>
              <a:ext cx="950976" cy="1300480"/>
            </a:xfrm>
            <a:custGeom>
              <a:avLst/>
              <a:gdLst>
                <a:gd name="connsiteX0" fmla="*/ 889935 w 950976"/>
                <a:gd name="connsiteY0" fmla="*/ 286350 h 1300480"/>
                <a:gd name="connsiteX1" fmla="*/ 285618 w 950976"/>
                <a:gd name="connsiteY1" fmla="*/ 417779 h 1300480"/>
                <a:gd name="connsiteX2" fmla="*/ 417047 w 950976"/>
                <a:gd name="connsiteY2" fmla="*/ 1022096 h 1300480"/>
                <a:gd name="connsiteX3" fmla="*/ 653410 w 950976"/>
                <a:gd name="connsiteY3" fmla="*/ 1091509 h 1300480"/>
                <a:gd name="connsiteX4" fmla="*/ 927242 w 950976"/>
                <a:gd name="connsiteY4" fmla="*/ 997712 h 1300480"/>
                <a:gd name="connsiteX5" fmla="*/ 927242 w 950976"/>
                <a:gd name="connsiteY5" fmla="*/ 1240170 h 1300480"/>
                <a:gd name="connsiteX6" fmla="*/ 653736 w 950976"/>
                <a:gd name="connsiteY6" fmla="*/ 1301862 h 1300480"/>
                <a:gd name="connsiteX7" fmla="*/ 6096 w 950976"/>
                <a:gd name="connsiteY7" fmla="*/ 653735 h 1300480"/>
                <a:gd name="connsiteX8" fmla="*/ 654304 w 950976"/>
                <a:gd name="connsiteY8" fmla="*/ 6096 h 1300480"/>
                <a:gd name="connsiteX9" fmla="*/ 948050 w 950976"/>
                <a:gd name="connsiteY9" fmla="*/ 76647 h 1300480"/>
                <a:gd name="connsiteX10" fmla="*/ 889935 w 950976"/>
                <a:gd name="connsiteY10" fmla="*/ 286350 h 13004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950976" h="1300480">
                  <a:moveTo>
                    <a:pt x="889935" y="286350"/>
                  </a:moveTo>
                  <a:cubicBezTo>
                    <a:pt x="686735" y="155814"/>
                    <a:pt x="416235" y="214661"/>
                    <a:pt x="285618" y="417779"/>
                  </a:cubicBezTo>
                  <a:cubicBezTo>
                    <a:pt x="155082" y="620979"/>
                    <a:pt x="213929" y="891479"/>
                    <a:pt x="417047" y="1022096"/>
                  </a:cubicBezTo>
                  <a:cubicBezTo>
                    <a:pt x="487599" y="1067369"/>
                    <a:pt x="569610" y="1091509"/>
                    <a:pt x="653410" y="1091509"/>
                  </a:cubicBezTo>
                  <a:cubicBezTo>
                    <a:pt x="752571" y="1091753"/>
                    <a:pt x="849051" y="1058753"/>
                    <a:pt x="927242" y="997712"/>
                  </a:cubicBezTo>
                  <a:lnTo>
                    <a:pt x="927242" y="1240170"/>
                  </a:lnTo>
                  <a:cubicBezTo>
                    <a:pt x="841817" y="1280892"/>
                    <a:pt x="748345" y="1302024"/>
                    <a:pt x="653736" y="1301862"/>
                  </a:cubicBezTo>
                  <a:cubicBezTo>
                    <a:pt x="295941" y="1301699"/>
                    <a:pt x="5933" y="1011530"/>
                    <a:pt x="6096" y="653735"/>
                  </a:cubicBezTo>
                  <a:cubicBezTo>
                    <a:pt x="6259" y="295941"/>
                    <a:pt x="296428" y="5934"/>
                    <a:pt x="654304" y="6096"/>
                  </a:cubicBezTo>
                  <a:cubicBezTo>
                    <a:pt x="756391" y="6096"/>
                    <a:pt x="857097" y="30318"/>
                    <a:pt x="948050" y="76647"/>
                  </a:cubicBezTo>
                  <a:lnTo>
                    <a:pt x="889935" y="28635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51" name="Forma libre: forma 50">
              <a:extLst>
                <a:ext uri="{FF2B5EF4-FFF2-40B4-BE49-F238E27FC236}">
                  <a16:creationId xmlns:a16="http://schemas.microsoft.com/office/drawing/2014/main" id="{246A38EB-D328-4C15-8911-1EAFC76E3D8D}"/>
                </a:ext>
              </a:extLst>
            </p:cNvPr>
            <p:cNvSpPr/>
            <p:nvPr/>
          </p:nvSpPr>
          <p:spPr>
            <a:xfrm>
              <a:off x="6886773" y="2794041"/>
              <a:ext cx="1276096" cy="1267968"/>
            </a:xfrm>
            <a:custGeom>
              <a:avLst/>
              <a:gdLst>
                <a:gd name="connsiteX0" fmla="*/ 1060135 w 1276096"/>
                <a:gd name="connsiteY0" fmla="*/ 1267968 h 1267968"/>
                <a:gd name="connsiteX1" fmla="*/ 1273007 w 1276096"/>
                <a:gd name="connsiteY1" fmla="*/ 1267968 h 1267968"/>
                <a:gd name="connsiteX2" fmla="*/ 900501 w 1276096"/>
                <a:gd name="connsiteY2" fmla="*/ 149962 h 1267968"/>
                <a:gd name="connsiteX3" fmla="*/ 700959 w 1276096"/>
                <a:gd name="connsiteY3" fmla="*/ 6096 h 1267968"/>
                <a:gd name="connsiteX4" fmla="*/ 426801 w 1276096"/>
                <a:gd name="connsiteY4" fmla="*/ 6096 h 1267968"/>
                <a:gd name="connsiteX5" fmla="*/ 6096 w 1276096"/>
                <a:gd name="connsiteY5" fmla="*/ 1268212 h 1267968"/>
                <a:gd name="connsiteX6" fmla="*/ 218968 w 1276096"/>
                <a:gd name="connsiteY6" fmla="*/ 1268212 h 1267968"/>
                <a:gd name="connsiteX7" fmla="*/ 324145 w 1276096"/>
                <a:gd name="connsiteY7" fmla="*/ 952683 h 1267968"/>
                <a:gd name="connsiteX8" fmla="*/ 673649 w 1276096"/>
                <a:gd name="connsiteY8" fmla="*/ 952683 h 1267968"/>
                <a:gd name="connsiteX9" fmla="*/ 884001 w 1276096"/>
                <a:gd name="connsiteY9" fmla="*/ 742330 h 1267968"/>
                <a:gd name="connsiteX10" fmla="*/ 884001 w 1276096"/>
                <a:gd name="connsiteY10" fmla="*/ 742330 h 1267968"/>
                <a:gd name="connsiteX11" fmla="*/ 394127 w 1276096"/>
                <a:gd name="connsiteY11" fmla="*/ 742330 h 1267968"/>
                <a:gd name="connsiteX12" fmla="*/ 639511 w 1276096"/>
                <a:gd name="connsiteY12" fmla="*/ 6096 h 1267968"/>
                <a:gd name="connsiteX13" fmla="*/ 1060135 w 1276096"/>
                <a:gd name="connsiteY13" fmla="*/ 1267968 h 126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276096" h="1267968">
                  <a:moveTo>
                    <a:pt x="1060135" y="1267968"/>
                  </a:moveTo>
                  <a:lnTo>
                    <a:pt x="1273007" y="1267968"/>
                  </a:lnTo>
                  <a:lnTo>
                    <a:pt x="900501" y="149962"/>
                  </a:lnTo>
                  <a:cubicBezTo>
                    <a:pt x="871891" y="64049"/>
                    <a:pt x="791505" y="6096"/>
                    <a:pt x="700959" y="6096"/>
                  </a:cubicBezTo>
                  <a:lnTo>
                    <a:pt x="426801" y="6096"/>
                  </a:lnTo>
                  <a:lnTo>
                    <a:pt x="6096" y="1268212"/>
                  </a:lnTo>
                  <a:lnTo>
                    <a:pt x="218968" y="1268212"/>
                  </a:lnTo>
                  <a:lnTo>
                    <a:pt x="324145" y="952683"/>
                  </a:lnTo>
                  <a:lnTo>
                    <a:pt x="673649" y="952683"/>
                  </a:lnTo>
                  <a:cubicBezTo>
                    <a:pt x="789798" y="952683"/>
                    <a:pt x="884001" y="858479"/>
                    <a:pt x="884001" y="742330"/>
                  </a:cubicBezTo>
                  <a:lnTo>
                    <a:pt x="884001" y="742330"/>
                  </a:lnTo>
                  <a:cubicBezTo>
                    <a:pt x="884001" y="742330"/>
                    <a:pt x="394127" y="742330"/>
                    <a:pt x="394127" y="742330"/>
                  </a:cubicBezTo>
                  <a:lnTo>
                    <a:pt x="639511" y="6096"/>
                  </a:lnTo>
                  <a:lnTo>
                    <a:pt x="1060135" y="126796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52" name="Forma libre: forma 51">
              <a:extLst>
                <a:ext uri="{FF2B5EF4-FFF2-40B4-BE49-F238E27FC236}">
                  <a16:creationId xmlns:a16="http://schemas.microsoft.com/office/drawing/2014/main" id="{B22BA9F1-1DFB-4D38-B6DD-DCFF651955C0}"/>
                </a:ext>
              </a:extLst>
            </p:cNvPr>
            <p:cNvSpPr/>
            <p:nvPr/>
          </p:nvSpPr>
          <p:spPr>
            <a:xfrm>
              <a:off x="10918749" y="2794041"/>
              <a:ext cx="1276096" cy="1267968"/>
            </a:xfrm>
            <a:custGeom>
              <a:avLst/>
              <a:gdLst>
                <a:gd name="connsiteX0" fmla="*/ 1060380 w 1276096"/>
                <a:gd name="connsiteY0" fmla="*/ 1267968 h 1267968"/>
                <a:gd name="connsiteX1" fmla="*/ 1273251 w 1276096"/>
                <a:gd name="connsiteY1" fmla="*/ 1267968 h 1267968"/>
                <a:gd name="connsiteX2" fmla="*/ 900420 w 1276096"/>
                <a:gd name="connsiteY2" fmla="*/ 149962 h 1267968"/>
                <a:gd name="connsiteX3" fmla="*/ 700877 w 1276096"/>
                <a:gd name="connsiteY3" fmla="*/ 6096 h 1267968"/>
                <a:gd name="connsiteX4" fmla="*/ 426801 w 1276096"/>
                <a:gd name="connsiteY4" fmla="*/ 6096 h 1267968"/>
                <a:gd name="connsiteX5" fmla="*/ 6096 w 1276096"/>
                <a:gd name="connsiteY5" fmla="*/ 1268212 h 1267968"/>
                <a:gd name="connsiteX6" fmla="*/ 218969 w 1276096"/>
                <a:gd name="connsiteY6" fmla="*/ 1268212 h 1267968"/>
                <a:gd name="connsiteX7" fmla="*/ 324145 w 1276096"/>
                <a:gd name="connsiteY7" fmla="*/ 952683 h 1267968"/>
                <a:gd name="connsiteX8" fmla="*/ 673649 w 1276096"/>
                <a:gd name="connsiteY8" fmla="*/ 952683 h 1267968"/>
                <a:gd name="connsiteX9" fmla="*/ 884001 w 1276096"/>
                <a:gd name="connsiteY9" fmla="*/ 742330 h 1267968"/>
                <a:gd name="connsiteX10" fmla="*/ 884001 w 1276096"/>
                <a:gd name="connsiteY10" fmla="*/ 742330 h 1267968"/>
                <a:gd name="connsiteX11" fmla="*/ 394127 w 1276096"/>
                <a:gd name="connsiteY11" fmla="*/ 742330 h 1267968"/>
                <a:gd name="connsiteX12" fmla="*/ 639512 w 1276096"/>
                <a:gd name="connsiteY12" fmla="*/ 6096 h 1267968"/>
                <a:gd name="connsiteX13" fmla="*/ 1060380 w 1276096"/>
                <a:gd name="connsiteY13" fmla="*/ 1267968 h 126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276096" h="1267968">
                  <a:moveTo>
                    <a:pt x="1060380" y="1267968"/>
                  </a:moveTo>
                  <a:lnTo>
                    <a:pt x="1273251" y="1267968"/>
                  </a:lnTo>
                  <a:lnTo>
                    <a:pt x="900420" y="149962"/>
                  </a:lnTo>
                  <a:cubicBezTo>
                    <a:pt x="871809" y="64049"/>
                    <a:pt x="791423" y="6096"/>
                    <a:pt x="700877" y="6096"/>
                  </a:cubicBezTo>
                  <a:lnTo>
                    <a:pt x="426801" y="6096"/>
                  </a:lnTo>
                  <a:lnTo>
                    <a:pt x="6096" y="1268212"/>
                  </a:lnTo>
                  <a:lnTo>
                    <a:pt x="218969" y="1268212"/>
                  </a:lnTo>
                  <a:lnTo>
                    <a:pt x="324145" y="952683"/>
                  </a:lnTo>
                  <a:lnTo>
                    <a:pt x="673649" y="952683"/>
                  </a:lnTo>
                  <a:cubicBezTo>
                    <a:pt x="789798" y="952683"/>
                    <a:pt x="884001" y="858479"/>
                    <a:pt x="884001" y="742330"/>
                  </a:cubicBezTo>
                  <a:lnTo>
                    <a:pt x="884001" y="742330"/>
                  </a:lnTo>
                  <a:cubicBezTo>
                    <a:pt x="884001" y="742330"/>
                    <a:pt x="394127" y="742330"/>
                    <a:pt x="394127" y="742330"/>
                  </a:cubicBezTo>
                  <a:lnTo>
                    <a:pt x="639512" y="6096"/>
                  </a:lnTo>
                  <a:lnTo>
                    <a:pt x="1060380" y="126796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</p:grpSp>
    </p:spTree>
    <p:extLst>
      <p:ext uri="{BB962C8B-B14F-4D97-AF65-F5344CB8AC3E}">
        <p14:creationId xmlns:p14="http://schemas.microsoft.com/office/powerpoint/2010/main" val="342017070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5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25E-6 0.03889 L 1.25E-6 1.85185E-6 " pathEditMode="relative" rAng="0" ptsTypes="AA">
                                      <p:cBhvr>
                                        <p:cTn id="9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944"/>
                                    </p:animMotion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25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1666 -0.00046 L 3.75E-6 1.85185E-6 " pathEditMode="relative" rAng="0" ptsTypes="AA">
                                      <p:cBhvr>
                                        <p:cTn id="14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833" y="23"/>
                                    </p:animMotion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25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3.75E-6 -0.03472 L -3.75E-6 1.85185E-6 " pathEditMode="relative" rAng="0" ptsTypes="AA">
                                      <p:cBhvr>
                                        <p:cTn id="19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736"/>
                                    </p:animMotion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6" grpId="1"/>
      <p:bldP spid="7" grpId="0">
        <p:tmplLst>
          <p:tmpl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250"/>
                        <p:tgtEl>
                          <p:spTgt spid="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7" grpId="1">
        <p:tmplLst>
          <p:tmpl>
            <p:tnLst>
              <p:par>
                <p:cTn presetID="42" presetClass="path" presetSubtype="0" decel="100000" fill="hold" nodeType="withEffect">
                  <p:stCondLst>
                    <p:cond delay="0"/>
                  </p:stCondLst>
                  <p:childTnLst>
                    <p:animMotion origin="layout" path="M -3.75E-6 -0.03472 L -3.75E-6 1.85185E-6 " pathEditMode="relative" rAng="0" ptsTypes="AA">
                      <p:cBhvr>
                        <p:cTn dur="500" fill="hold"/>
                        <p:tgtEl>
                          <p:spTgt spid="7"/>
                        </p:tgtEl>
                        <p:attrNameLst>
                          <p:attrName>ppt_x</p:attrName>
                          <p:attrName>ppt_y</p:attrName>
                        </p:attrNameLst>
                      </p:cBhvr>
                      <p:rCtr x="0" y="1736"/>
                    </p:animMotion>
                  </p:childTnLst>
                </p:cTn>
              </p:par>
            </p:tnLst>
          </p:tmpl>
        </p:tmplLst>
      </p:bldP>
      <p:bldP spid="8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9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0" grpId="0" animBg="1"/>
      <p:bldP spid="10" grpId="1" animBg="1"/>
    </p:bld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4_Esquema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Imagem 23">
            <a:extLst>
              <a:ext uri="{FF2B5EF4-FFF2-40B4-BE49-F238E27FC236}">
                <a16:creationId xmlns:a16="http://schemas.microsoft.com/office/drawing/2014/main" id="{2EFF3961-CEA7-02BE-95A5-68BD54424CA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 l="6756" t="62783" r="25589" b="3447"/>
          <a:stretch>
            <a:fillRect/>
          </a:stretch>
        </p:blipFill>
        <p:spPr>
          <a:xfrm rot="16200000">
            <a:off x="-1100506" y="1095521"/>
            <a:ext cx="4374620" cy="2183575"/>
          </a:xfrm>
          <a:prstGeom prst="rect">
            <a:avLst/>
          </a:prstGeom>
        </p:spPr>
      </p:pic>
      <p:sp>
        <p:nvSpPr>
          <p:cNvPr id="6" name="Título 6">
            <a:extLst>
              <a:ext uri="{FF2B5EF4-FFF2-40B4-BE49-F238E27FC236}">
                <a16:creationId xmlns:a16="http://schemas.microsoft.com/office/drawing/2014/main" id="{71F9E020-2053-8EB3-542A-43846A9A434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3184" y="550508"/>
            <a:ext cx="5713445" cy="712204"/>
          </a:xfrm>
        </p:spPr>
        <p:txBody>
          <a:bodyPr>
            <a:normAutofit/>
          </a:bodyPr>
          <a:lstStyle>
            <a:lvl1pPr>
              <a:defRPr sz="3200"/>
            </a:lvl1pPr>
          </a:lstStyle>
          <a:p>
            <a:r>
              <a:rPr lang="pt-PT" dirty="0"/>
              <a:t>Insertar título de la slide</a:t>
            </a:r>
          </a:p>
        </p:txBody>
      </p:sp>
      <p:sp>
        <p:nvSpPr>
          <p:cNvPr id="7" name="Marcador de Posição do Texto 8">
            <a:extLst>
              <a:ext uri="{FF2B5EF4-FFF2-40B4-BE49-F238E27FC236}">
                <a16:creationId xmlns:a16="http://schemas.microsoft.com/office/drawing/2014/main" id="{2C925C04-EC67-61EB-038C-AF08F5DA3C4F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12764" y="1156317"/>
            <a:ext cx="5713876" cy="355243"/>
          </a:xfrm>
        </p:spPr>
        <p:txBody>
          <a:bodyPr>
            <a:normAutofit/>
          </a:bodyPr>
          <a:lstStyle>
            <a:lvl1pPr>
              <a:defRPr sz="200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pt-PT" dirty="0"/>
              <a:t>Insertar subtítulo de la slide</a:t>
            </a:r>
          </a:p>
        </p:txBody>
      </p:sp>
      <p:sp>
        <p:nvSpPr>
          <p:cNvPr id="8" name="Retângulo 7">
            <a:extLst>
              <a:ext uri="{FF2B5EF4-FFF2-40B4-BE49-F238E27FC236}">
                <a16:creationId xmlns:a16="http://schemas.microsoft.com/office/drawing/2014/main" id="{664115B7-2770-6356-6F00-E8021541DB3F}"/>
              </a:ext>
            </a:extLst>
          </p:cNvPr>
          <p:cNvSpPr/>
          <p:nvPr userDrawn="1"/>
        </p:nvSpPr>
        <p:spPr>
          <a:xfrm flipH="1">
            <a:off x="7141028" y="0"/>
            <a:ext cx="5050969" cy="6858000"/>
          </a:xfrm>
          <a:prstGeom prst="rect">
            <a:avLst/>
          </a:prstGeom>
          <a:solidFill>
            <a:srgbClr val="184BF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dirty="0"/>
          </a:p>
        </p:txBody>
      </p:sp>
      <p:sp>
        <p:nvSpPr>
          <p:cNvPr id="11" name="Marcador de Posição do Texto 10">
            <a:extLst>
              <a:ext uri="{FF2B5EF4-FFF2-40B4-BE49-F238E27FC236}">
                <a16:creationId xmlns:a16="http://schemas.microsoft.com/office/drawing/2014/main" id="{E61D8CA2-F23B-7289-1DA9-7608B6DDBF4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141017" y="799248"/>
            <a:ext cx="4490831" cy="434465"/>
          </a:xfrm>
          <a:custGeom>
            <a:avLst/>
            <a:gdLst>
              <a:gd name="connsiteX0" fmla="*/ 0 w 3690820"/>
              <a:gd name="connsiteY0" fmla="*/ 0 h 357068"/>
              <a:gd name="connsiteX1" fmla="*/ 136892 w 3690820"/>
              <a:gd name="connsiteY1" fmla="*/ 0 h 357068"/>
              <a:gd name="connsiteX2" fmla="*/ 136892 w 3690820"/>
              <a:gd name="connsiteY2" fmla="*/ 36 h 357068"/>
              <a:gd name="connsiteX3" fmla="*/ 2980304 w 3690820"/>
              <a:gd name="connsiteY3" fmla="*/ 0 h 357068"/>
              <a:gd name="connsiteX4" fmla="*/ 2980304 w 3690820"/>
              <a:gd name="connsiteY4" fmla="*/ 14 h 357068"/>
              <a:gd name="connsiteX5" fmla="*/ 3690820 w 3690820"/>
              <a:gd name="connsiteY5" fmla="*/ 14 h 357068"/>
              <a:gd name="connsiteX6" fmla="*/ 3226200 w 3690820"/>
              <a:gd name="connsiteY6" fmla="*/ 357068 h 357068"/>
              <a:gd name="connsiteX7" fmla="*/ 3226011 w 3690820"/>
              <a:gd name="connsiteY7" fmla="*/ 357068 h 357068"/>
              <a:gd name="connsiteX8" fmla="*/ 2839018 w 3690820"/>
              <a:gd name="connsiteY8" fmla="*/ 357068 h 357068"/>
              <a:gd name="connsiteX9" fmla="*/ 2838993 w 3690820"/>
              <a:gd name="connsiteY9" fmla="*/ 357009 h 357068"/>
              <a:gd name="connsiteX10" fmla="*/ 0 w 3690820"/>
              <a:gd name="connsiteY10" fmla="*/ 357046 h 3570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3690820" h="357068">
                <a:moveTo>
                  <a:pt x="0" y="0"/>
                </a:moveTo>
                <a:lnTo>
                  <a:pt x="136892" y="0"/>
                </a:lnTo>
                <a:lnTo>
                  <a:pt x="136892" y="36"/>
                </a:lnTo>
                <a:lnTo>
                  <a:pt x="2980304" y="0"/>
                </a:lnTo>
                <a:lnTo>
                  <a:pt x="2980304" y="14"/>
                </a:lnTo>
                <a:lnTo>
                  <a:pt x="3690820" y="14"/>
                </a:lnTo>
                <a:cubicBezTo>
                  <a:pt x="3690820" y="197302"/>
                  <a:pt x="3482731" y="357068"/>
                  <a:pt x="3226200" y="357068"/>
                </a:cubicBezTo>
                <a:lnTo>
                  <a:pt x="3226011" y="357068"/>
                </a:lnTo>
                <a:lnTo>
                  <a:pt x="2839018" y="357068"/>
                </a:lnTo>
                <a:lnTo>
                  <a:pt x="2838993" y="357009"/>
                </a:lnTo>
                <a:lnTo>
                  <a:pt x="0" y="357046"/>
                </a:lnTo>
                <a:close/>
              </a:path>
            </a:pathLst>
          </a:custGeom>
          <a:solidFill>
            <a:srgbClr val="132153"/>
          </a:solidFill>
        </p:spPr>
        <p:txBody>
          <a:bodyPr wrap="square" lIns="252000" tIns="36000" rIns="0" bIns="0" anchor="ctr">
            <a:noAutofit/>
          </a:bodyPr>
          <a:lstStyle>
            <a:lvl1pPr>
              <a:defRPr sz="1600" cap="all" baseline="0">
                <a:solidFill>
                  <a:srgbClr val="00FF94"/>
                </a:solidFill>
                <a:latin typeface="+mj-lt"/>
              </a:defRPr>
            </a:lvl1pPr>
          </a:lstStyle>
          <a:p>
            <a:pPr lvl="0"/>
            <a:r>
              <a:rPr lang="pt-PT" dirty="0"/>
              <a:t>Insertar texto destacado</a:t>
            </a:r>
          </a:p>
        </p:txBody>
      </p:sp>
      <p:sp>
        <p:nvSpPr>
          <p:cNvPr id="12" name="Marcador de Posição do Texto 8">
            <a:extLst>
              <a:ext uri="{FF2B5EF4-FFF2-40B4-BE49-F238E27FC236}">
                <a16:creationId xmlns:a16="http://schemas.microsoft.com/office/drawing/2014/main" id="{7A9E01F7-D56D-9464-DC13-BF599A3F67C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12764" y="2028179"/>
            <a:ext cx="2105314" cy="1010432"/>
          </a:xfrm>
        </p:spPr>
        <p:txBody>
          <a:bodyPr anchor="ctr">
            <a:noAutofit/>
          </a:bodyPr>
          <a:lstStyle>
            <a:lvl1pPr algn="l">
              <a:defRPr sz="6000">
                <a:solidFill>
                  <a:srgbClr val="132153"/>
                </a:solidFill>
                <a:latin typeface="+mj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pt-PT" dirty="0"/>
              <a:t>NR</a:t>
            </a:r>
          </a:p>
        </p:txBody>
      </p:sp>
      <p:sp>
        <p:nvSpPr>
          <p:cNvPr id="13" name="Marcador de Posição do Texto 10">
            <a:extLst>
              <a:ext uri="{FF2B5EF4-FFF2-40B4-BE49-F238E27FC236}">
                <a16:creationId xmlns:a16="http://schemas.microsoft.com/office/drawing/2014/main" id="{55A89FEA-5224-F1EA-DF3E-B7D7C50A78B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12764" y="2901791"/>
            <a:ext cx="2970665" cy="1373733"/>
          </a:xfrm>
        </p:spPr>
        <p:txBody>
          <a:bodyPr>
            <a:noAutofit/>
          </a:bodyPr>
          <a:lstStyle>
            <a:lvl1pPr>
              <a:defRPr sz="1200"/>
            </a:lvl1pPr>
            <a:lvl2pPr>
              <a:defRPr sz="10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s-ES" dirty="0"/>
              <a:t>Haz </a:t>
            </a:r>
            <a:r>
              <a:rPr lang="es-ES" dirty="0" err="1"/>
              <a:t>click</a:t>
            </a:r>
            <a:r>
              <a:rPr lang="es-ES" dirty="0"/>
              <a:t> para editar los estilos del texto del modelo global</a:t>
            </a:r>
            <a:endParaRPr lang="pt-PT" dirty="0"/>
          </a:p>
          <a:p>
            <a:pPr lvl="1"/>
            <a:r>
              <a:rPr lang="es-ES" dirty="0"/>
              <a:t>Segundo nivel</a:t>
            </a:r>
          </a:p>
          <a:p>
            <a:pPr lvl="1"/>
            <a:r>
              <a:rPr lang="es-ES" dirty="0"/>
              <a:t>Tercer nivel</a:t>
            </a:r>
          </a:p>
          <a:p>
            <a:pPr lvl="1"/>
            <a:r>
              <a:rPr lang="es-ES" dirty="0"/>
              <a:t>Cuarto nivel</a:t>
            </a:r>
          </a:p>
          <a:p>
            <a:pPr lvl="1"/>
            <a:r>
              <a:rPr lang="es-ES" dirty="0"/>
              <a:t>Quinto nivel</a:t>
            </a:r>
            <a:endParaRPr lang="pt-PT" dirty="0"/>
          </a:p>
        </p:txBody>
      </p:sp>
      <p:sp>
        <p:nvSpPr>
          <p:cNvPr id="14" name="Marcador de Posição do Texto 8">
            <a:extLst>
              <a:ext uri="{FF2B5EF4-FFF2-40B4-BE49-F238E27FC236}">
                <a16:creationId xmlns:a16="http://schemas.microsoft.com/office/drawing/2014/main" id="{35D09A99-F6A4-7C63-73AA-487052D928D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12764" y="4269184"/>
            <a:ext cx="2105314" cy="1010432"/>
          </a:xfrm>
        </p:spPr>
        <p:txBody>
          <a:bodyPr anchor="ctr">
            <a:noAutofit/>
          </a:bodyPr>
          <a:lstStyle>
            <a:lvl1pPr algn="l">
              <a:defRPr sz="6000">
                <a:solidFill>
                  <a:srgbClr val="132153"/>
                </a:solidFill>
                <a:latin typeface="+mj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pt-PT" dirty="0"/>
              <a:t>NR</a:t>
            </a:r>
          </a:p>
        </p:txBody>
      </p:sp>
      <p:sp>
        <p:nvSpPr>
          <p:cNvPr id="15" name="Marcador de Posição do Texto 10">
            <a:extLst>
              <a:ext uri="{FF2B5EF4-FFF2-40B4-BE49-F238E27FC236}">
                <a16:creationId xmlns:a16="http://schemas.microsoft.com/office/drawing/2014/main" id="{6D24D3F5-C1F5-C438-C41F-DCF43F806079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12764" y="5142797"/>
            <a:ext cx="2970665" cy="1212536"/>
          </a:xfrm>
        </p:spPr>
        <p:txBody>
          <a:bodyPr>
            <a:noAutofit/>
          </a:bodyPr>
          <a:lstStyle>
            <a:lvl1pPr>
              <a:defRPr sz="1200"/>
            </a:lvl1pPr>
            <a:lvl2pPr>
              <a:defRPr sz="1000"/>
            </a:lvl2pPr>
            <a:lvl3pPr>
              <a:defRPr sz="14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s-ES" dirty="0"/>
              <a:t>Haz </a:t>
            </a:r>
            <a:r>
              <a:rPr lang="es-ES" dirty="0" err="1"/>
              <a:t>click</a:t>
            </a:r>
            <a:r>
              <a:rPr lang="es-ES" dirty="0"/>
              <a:t> para editar los estilos del texto del modelo global</a:t>
            </a:r>
            <a:endParaRPr lang="pt-PT" dirty="0"/>
          </a:p>
          <a:p>
            <a:pPr lvl="1"/>
            <a:r>
              <a:rPr lang="es-ES" dirty="0"/>
              <a:t>Segundo nivel</a:t>
            </a:r>
          </a:p>
          <a:p>
            <a:pPr lvl="1"/>
            <a:r>
              <a:rPr lang="es-ES" dirty="0"/>
              <a:t>Tercer nivel</a:t>
            </a:r>
          </a:p>
          <a:p>
            <a:pPr lvl="1"/>
            <a:r>
              <a:rPr lang="es-ES" dirty="0"/>
              <a:t>Cuarto nivel</a:t>
            </a:r>
          </a:p>
          <a:p>
            <a:pPr lvl="1"/>
            <a:r>
              <a:rPr lang="es-ES" dirty="0"/>
              <a:t>Quinto nivel</a:t>
            </a:r>
            <a:endParaRPr lang="pt-PT" dirty="0"/>
          </a:p>
          <a:p>
            <a:pPr lvl="4"/>
            <a:endParaRPr lang="pt-PT" dirty="0"/>
          </a:p>
        </p:txBody>
      </p:sp>
      <p:sp>
        <p:nvSpPr>
          <p:cNvPr id="16" name="Marcador de Posição do Texto 8">
            <a:extLst>
              <a:ext uri="{FF2B5EF4-FFF2-40B4-BE49-F238E27FC236}">
                <a16:creationId xmlns:a16="http://schemas.microsoft.com/office/drawing/2014/main" id="{E61FD986-CEBC-379F-D9E2-C3ABC15100E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691392" y="2028179"/>
            <a:ext cx="2105314" cy="1010432"/>
          </a:xfrm>
        </p:spPr>
        <p:txBody>
          <a:bodyPr anchor="ctr">
            <a:noAutofit/>
          </a:bodyPr>
          <a:lstStyle>
            <a:lvl1pPr algn="l">
              <a:defRPr sz="6000">
                <a:solidFill>
                  <a:srgbClr val="132153"/>
                </a:solidFill>
                <a:latin typeface="+mj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pt-PT" dirty="0"/>
              <a:t>NR</a:t>
            </a:r>
          </a:p>
        </p:txBody>
      </p:sp>
      <p:sp>
        <p:nvSpPr>
          <p:cNvPr id="17" name="Marcador de Posição do Texto 10">
            <a:extLst>
              <a:ext uri="{FF2B5EF4-FFF2-40B4-BE49-F238E27FC236}">
                <a16:creationId xmlns:a16="http://schemas.microsoft.com/office/drawing/2014/main" id="{801212E1-B9E4-D44B-EB09-DF5633A41C01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691392" y="2901791"/>
            <a:ext cx="2970665" cy="1373733"/>
          </a:xfrm>
        </p:spPr>
        <p:txBody>
          <a:bodyPr>
            <a:noAutofit/>
          </a:bodyPr>
          <a:lstStyle>
            <a:lvl1pPr>
              <a:defRPr sz="1200"/>
            </a:lvl1pPr>
            <a:lvl2pPr>
              <a:defRPr sz="1000"/>
            </a:lvl2pPr>
            <a:lvl3pPr>
              <a:defRPr sz="14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s-ES" dirty="0"/>
              <a:t>Haz </a:t>
            </a:r>
            <a:r>
              <a:rPr lang="es-ES" dirty="0" err="1"/>
              <a:t>click</a:t>
            </a:r>
            <a:r>
              <a:rPr lang="es-ES" dirty="0"/>
              <a:t> para editar los estilos del texto del modelo global</a:t>
            </a:r>
            <a:endParaRPr lang="pt-PT" dirty="0"/>
          </a:p>
          <a:p>
            <a:pPr lvl="1"/>
            <a:r>
              <a:rPr lang="es-ES" dirty="0"/>
              <a:t>Segundo nivel</a:t>
            </a:r>
          </a:p>
          <a:p>
            <a:pPr lvl="1"/>
            <a:r>
              <a:rPr lang="es-ES" dirty="0"/>
              <a:t>Tercer nivel</a:t>
            </a:r>
          </a:p>
          <a:p>
            <a:pPr lvl="1"/>
            <a:r>
              <a:rPr lang="es-ES" dirty="0"/>
              <a:t>Cuarto nivel</a:t>
            </a:r>
          </a:p>
          <a:p>
            <a:pPr lvl="1"/>
            <a:r>
              <a:rPr lang="es-ES" dirty="0"/>
              <a:t>Quinto nivel</a:t>
            </a:r>
            <a:endParaRPr lang="pt-PT" dirty="0"/>
          </a:p>
          <a:p>
            <a:pPr lvl="4"/>
            <a:endParaRPr lang="pt-PT" dirty="0"/>
          </a:p>
        </p:txBody>
      </p:sp>
      <p:sp>
        <p:nvSpPr>
          <p:cNvPr id="18" name="Marcador de Posição do Texto 8">
            <a:extLst>
              <a:ext uri="{FF2B5EF4-FFF2-40B4-BE49-F238E27FC236}">
                <a16:creationId xmlns:a16="http://schemas.microsoft.com/office/drawing/2014/main" id="{564E693D-926C-BCC8-2C87-532C21D3FEFE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691392" y="4269184"/>
            <a:ext cx="2105314" cy="1010432"/>
          </a:xfrm>
        </p:spPr>
        <p:txBody>
          <a:bodyPr anchor="ctr">
            <a:noAutofit/>
          </a:bodyPr>
          <a:lstStyle>
            <a:lvl1pPr algn="l">
              <a:defRPr sz="6000">
                <a:solidFill>
                  <a:srgbClr val="132153"/>
                </a:solidFill>
                <a:latin typeface="+mj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pt-PT" dirty="0"/>
              <a:t>NR</a:t>
            </a:r>
          </a:p>
        </p:txBody>
      </p:sp>
      <p:sp>
        <p:nvSpPr>
          <p:cNvPr id="19" name="Marcador de Posição do Texto 10">
            <a:extLst>
              <a:ext uri="{FF2B5EF4-FFF2-40B4-BE49-F238E27FC236}">
                <a16:creationId xmlns:a16="http://schemas.microsoft.com/office/drawing/2014/main" id="{D6F17072-7166-F3ED-98BE-F295E696548E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691392" y="5142797"/>
            <a:ext cx="2970665" cy="1212536"/>
          </a:xfrm>
        </p:spPr>
        <p:txBody>
          <a:bodyPr>
            <a:noAutofit/>
          </a:bodyPr>
          <a:lstStyle>
            <a:lvl1pPr>
              <a:defRPr sz="1200"/>
            </a:lvl1pPr>
            <a:lvl2pPr>
              <a:defRPr sz="1000"/>
            </a:lvl2pPr>
            <a:lvl3pPr>
              <a:defRPr sz="14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s-ES" dirty="0"/>
              <a:t>Haz </a:t>
            </a:r>
            <a:r>
              <a:rPr lang="es-ES" dirty="0" err="1"/>
              <a:t>click</a:t>
            </a:r>
            <a:r>
              <a:rPr lang="es-ES" dirty="0"/>
              <a:t> para editar los estilos del texto del modelo global</a:t>
            </a:r>
            <a:endParaRPr lang="pt-PT" dirty="0"/>
          </a:p>
          <a:p>
            <a:pPr lvl="1"/>
            <a:r>
              <a:rPr lang="es-ES" dirty="0"/>
              <a:t>Segundo nivel</a:t>
            </a:r>
          </a:p>
          <a:p>
            <a:pPr lvl="1"/>
            <a:r>
              <a:rPr lang="es-ES" dirty="0"/>
              <a:t>Tercer nivel</a:t>
            </a:r>
          </a:p>
          <a:p>
            <a:pPr lvl="1"/>
            <a:r>
              <a:rPr lang="es-ES" dirty="0"/>
              <a:t>Cuarto nivel</a:t>
            </a:r>
          </a:p>
          <a:p>
            <a:pPr lvl="1"/>
            <a:r>
              <a:rPr lang="es-ES" dirty="0"/>
              <a:t>Quinto nivel</a:t>
            </a:r>
            <a:endParaRPr lang="pt-PT" dirty="0"/>
          </a:p>
          <a:p>
            <a:pPr lvl="4"/>
            <a:endParaRPr lang="pt-PT" dirty="0"/>
          </a:p>
        </p:txBody>
      </p:sp>
      <p:sp>
        <p:nvSpPr>
          <p:cNvPr id="20" name="Marcador de Posição do Texto 10">
            <a:extLst>
              <a:ext uri="{FF2B5EF4-FFF2-40B4-BE49-F238E27FC236}">
                <a16:creationId xmlns:a16="http://schemas.microsoft.com/office/drawing/2014/main" id="{09B556F4-7E95-719D-DA07-42D19398F94D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181179" y="1686870"/>
            <a:ext cx="3450669" cy="1373733"/>
          </a:xfrm>
        </p:spPr>
        <p:txBody>
          <a:bodyPr>
            <a:noAutofit/>
          </a:bodyPr>
          <a:lstStyle>
            <a:lvl1pPr>
              <a:defRPr sz="1400">
                <a:solidFill>
                  <a:schemeClr val="bg1"/>
                </a:solidFill>
              </a:defRPr>
            </a:lvl1pPr>
            <a:lvl2pPr>
              <a:defRPr sz="1200">
                <a:solidFill>
                  <a:schemeClr val="bg1"/>
                </a:solidFill>
              </a:defRPr>
            </a:lvl2pPr>
            <a:lvl3pPr>
              <a:defRPr sz="1200">
                <a:solidFill>
                  <a:schemeClr val="bg1"/>
                </a:solidFill>
              </a:defRPr>
            </a:lvl3pPr>
            <a:lvl4pPr>
              <a:defRPr sz="1200">
                <a:solidFill>
                  <a:schemeClr val="bg1"/>
                </a:solidFill>
              </a:defRPr>
            </a:lvl4pPr>
            <a:lvl5pPr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s-ES" dirty="0"/>
              <a:t>Haz </a:t>
            </a:r>
            <a:r>
              <a:rPr lang="es-ES" dirty="0" err="1"/>
              <a:t>click</a:t>
            </a:r>
            <a:r>
              <a:rPr lang="es-ES" dirty="0"/>
              <a:t> para editar los estilos del texto del modelo global</a:t>
            </a:r>
            <a:endParaRPr lang="pt-PT" dirty="0"/>
          </a:p>
          <a:p>
            <a:pPr lvl="1"/>
            <a:r>
              <a:rPr lang="es-ES" dirty="0"/>
              <a:t>Segundo nivel</a:t>
            </a:r>
          </a:p>
          <a:p>
            <a:pPr lvl="1"/>
            <a:r>
              <a:rPr lang="es-ES" dirty="0"/>
              <a:t>Tercer nivel</a:t>
            </a:r>
          </a:p>
          <a:p>
            <a:pPr lvl="1"/>
            <a:r>
              <a:rPr lang="es-ES" dirty="0"/>
              <a:t>Cuarto nivel</a:t>
            </a:r>
          </a:p>
          <a:p>
            <a:pPr lvl="1"/>
            <a:r>
              <a:rPr lang="es-ES" dirty="0"/>
              <a:t>Quinto nivel</a:t>
            </a:r>
            <a:endParaRPr lang="pt-PT" dirty="0"/>
          </a:p>
        </p:txBody>
      </p:sp>
      <p:sp>
        <p:nvSpPr>
          <p:cNvPr id="21" name="Marcador de Posição do Texto 10">
            <a:extLst>
              <a:ext uri="{FF2B5EF4-FFF2-40B4-BE49-F238E27FC236}">
                <a16:creationId xmlns:a16="http://schemas.microsoft.com/office/drawing/2014/main" id="{BB977512-750F-F30E-7E68-9FEAEACFF4A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181179" y="3334234"/>
            <a:ext cx="3450669" cy="1373733"/>
          </a:xfrm>
        </p:spPr>
        <p:txBody>
          <a:bodyPr>
            <a:noAutofit/>
          </a:bodyPr>
          <a:lstStyle>
            <a:lvl1pPr>
              <a:defRPr sz="1400">
                <a:solidFill>
                  <a:schemeClr val="bg1"/>
                </a:solidFill>
              </a:defRPr>
            </a:lvl1pPr>
            <a:lvl2pPr>
              <a:defRPr sz="1200">
                <a:solidFill>
                  <a:schemeClr val="bg1"/>
                </a:solidFill>
              </a:defRPr>
            </a:lvl2pPr>
            <a:lvl3pPr>
              <a:defRPr sz="1200">
                <a:solidFill>
                  <a:schemeClr val="bg1"/>
                </a:solidFill>
              </a:defRPr>
            </a:lvl3pPr>
            <a:lvl4pPr>
              <a:defRPr sz="1200">
                <a:solidFill>
                  <a:schemeClr val="bg1"/>
                </a:solidFill>
              </a:defRPr>
            </a:lvl4pPr>
            <a:lvl5pPr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s-ES" dirty="0"/>
              <a:t>Haz </a:t>
            </a:r>
            <a:r>
              <a:rPr lang="es-ES" dirty="0" err="1"/>
              <a:t>click</a:t>
            </a:r>
            <a:r>
              <a:rPr lang="es-ES" dirty="0"/>
              <a:t> para editar los estilos del texto del modelo global</a:t>
            </a:r>
            <a:endParaRPr lang="pt-PT" dirty="0"/>
          </a:p>
          <a:p>
            <a:pPr lvl="1"/>
            <a:r>
              <a:rPr lang="es-ES" dirty="0"/>
              <a:t>Segundo nivel</a:t>
            </a:r>
          </a:p>
          <a:p>
            <a:pPr lvl="1"/>
            <a:r>
              <a:rPr lang="es-ES" dirty="0"/>
              <a:t>Tercer nivel</a:t>
            </a:r>
          </a:p>
          <a:p>
            <a:pPr lvl="1"/>
            <a:r>
              <a:rPr lang="es-ES" dirty="0"/>
              <a:t>Cuarto nivel</a:t>
            </a:r>
          </a:p>
          <a:p>
            <a:pPr lvl="1"/>
            <a:r>
              <a:rPr lang="es-ES" dirty="0"/>
              <a:t>Quinto nivel</a:t>
            </a:r>
            <a:endParaRPr lang="pt-PT" dirty="0"/>
          </a:p>
          <a:p>
            <a:pPr lvl="4"/>
            <a:endParaRPr lang="pt-PT" dirty="0"/>
          </a:p>
        </p:txBody>
      </p:sp>
      <p:sp>
        <p:nvSpPr>
          <p:cNvPr id="22" name="Marcador de Posição do Texto 10">
            <a:extLst>
              <a:ext uri="{FF2B5EF4-FFF2-40B4-BE49-F238E27FC236}">
                <a16:creationId xmlns:a16="http://schemas.microsoft.com/office/drawing/2014/main" id="{C0842B13-606F-529A-4E91-66210A63D882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181179" y="4981599"/>
            <a:ext cx="3450669" cy="1373733"/>
          </a:xfrm>
        </p:spPr>
        <p:txBody>
          <a:bodyPr>
            <a:noAutofit/>
          </a:bodyPr>
          <a:lstStyle>
            <a:lvl1pPr>
              <a:defRPr sz="1400">
                <a:solidFill>
                  <a:schemeClr val="bg1"/>
                </a:solidFill>
              </a:defRPr>
            </a:lvl1pPr>
            <a:lvl2pPr>
              <a:defRPr sz="1200">
                <a:solidFill>
                  <a:schemeClr val="bg1"/>
                </a:solidFill>
              </a:defRPr>
            </a:lvl2pPr>
            <a:lvl3pPr>
              <a:defRPr sz="1200">
                <a:solidFill>
                  <a:schemeClr val="bg1"/>
                </a:solidFill>
              </a:defRPr>
            </a:lvl3pPr>
            <a:lvl4pPr>
              <a:defRPr sz="1200">
                <a:solidFill>
                  <a:schemeClr val="bg1"/>
                </a:solidFill>
              </a:defRPr>
            </a:lvl4pPr>
            <a:lvl5pPr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s-ES" dirty="0"/>
              <a:t>Haz </a:t>
            </a:r>
            <a:r>
              <a:rPr lang="es-ES" dirty="0" err="1"/>
              <a:t>click</a:t>
            </a:r>
            <a:r>
              <a:rPr lang="es-ES" dirty="0"/>
              <a:t> para editar los estilos del texto del modelo global</a:t>
            </a:r>
            <a:endParaRPr lang="pt-PT" dirty="0"/>
          </a:p>
          <a:p>
            <a:pPr lvl="1"/>
            <a:r>
              <a:rPr lang="es-ES" dirty="0"/>
              <a:t>Segundo nivel</a:t>
            </a:r>
          </a:p>
          <a:p>
            <a:pPr lvl="1"/>
            <a:r>
              <a:rPr lang="es-ES" dirty="0"/>
              <a:t>Tercer nivel</a:t>
            </a:r>
          </a:p>
          <a:p>
            <a:pPr lvl="1"/>
            <a:r>
              <a:rPr lang="es-ES" dirty="0"/>
              <a:t>Cuarto nivel</a:t>
            </a:r>
          </a:p>
          <a:p>
            <a:pPr lvl="1"/>
            <a:r>
              <a:rPr lang="es-ES" dirty="0"/>
              <a:t>Quinto nivel</a:t>
            </a:r>
            <a:endParaRPr lang="pt-PT" dirty="0"/>
          </a:p>
          <a:p>
            <a:pPr lvl="4"/>
            <a:endParaRPr lang="pt-PT" dirty="0"/>
          </a:p>
        </p:txBody>
      </p:sp>
      <p:grpSp>
        <p:nvGrpSpPr>
          <p:cNvPr id="2" name="Gráfico 2">
            <a:extLst>
              <a:ext uri="{FF2B5EF4-FFF2-40B4-BE49-F238E27FC236}">
                <a16:creationId xmlns:a16="http://schemas.microsoft.com/office/drawing/2014/main" id="{01E9A2C6-5901-6093-CAFB-BD127DAA4A02}"/>
              </a:ext>
            </a:extLst>
          </p:cNvPr>
          <p:cNvGrpSpPr/>
          <p:nvPr userDrawn="1"/>
        </p:nvGrpSpPr>
        <p:grpSpPr>
          <a:xfrm>
            <a:off x="10557975" y="275736"/>
            <a:ext cx="1308718" cy="138724"/>
            <a:chOff x="0" y="2782824"/>
            <a:chExt cx="12192000" cy="1292352"/>
          </a:xfrm>
        </p:grpSpPr>
        <p:sp>
          <p:nvSpPr>
            <p:cNvPr id="3" name="Forma libre: forma 2">
              <a:extLst>
                <a:ext uri="{FF2B5EF4-FFF2-40B4-BE49-F238E27FC236}">
                  <a16:creationId xmlns:a16="http://schemas.microsoft.com/office/drawing/2014/main" id="{C3B703F0-10BE-0587-B3FC-D50B357779CB}"/>
                </a:ext>
              </a:extLst>
            </p:cNvPr>
            <p:cNvSpPr/>
            <p:nvPr/>
          </p:nvSpPr>
          <p:spPr>
            <a:xfrm>
              <a:off x="3791306" y="2777053"/>
              <a:ext cx="1300480" cy="1300480"/>
            </a:xfrm>
            <a:custGeom>
              <a:avLst/>
              <a:gdLst>
                <a:gd name="connsiteX0" fmla="*/ 6096 w 1300480"/>
                <a:gd name="connsiteY0" fmla="*/ 653979 h 1300480"/>
                <a:gd name="connsiteX1" fmla="*/ 653979 w 1300480"/>
                <a:gd name="connsiteY1" fmla="*/ 6096 h 1300480"/>
                <a:gd name="connsiteX2" fmla="*/ 1301862 w 1300480"/>
                <a:gd name="connsiteY2" fmla="*/ 653979 h 1300480"/>
                <a:gd name="connsiteX3" fmla="*/ 653979 w 1300480"/>
                <a:gd name="connsiteY3" fmla="*/ 1301862 h 1300480"/>
                <a:gd name="connsiteX4" fmla="*/ 653898 w 1300480"/>
                <a:gd name="connsiteY4" fmla="*/ 1301862 h 1300480"/>
                <a:gd name="connsiteX5" fmla="*/ 6096 w 1300480"/>
                <a:gd name="connsiteY5" fmla="*/ 654060 h 1300480"/>
                <a:gd name="connsiteX6" fmla="*/ 6096 w 1300480"/>
                <a:gd name="connsiteY6" fmla="*/ 654060 h 1300480"/>
                <a:gd name="connsiteX7" fmla="*/ 653898 w 1300480"/>
                <a:gd name="connsiteY7" fmla="*/ 1091184 h 1300480"/>
                <a:gd name="connsiteX8" fmla="*/ 1091265 w 1300480"/>
                <a:gd name="connsiteY8" fmla="*/ 653979 h 1300480"/>
                <a:gd name="connsiteX9" fmla="*/ 654060 w 1300480"/>
                <a:gd name="connsiteY9" fmla="*/ 216611 h 1300480"/>
                <a:gd name="connsiteX10" fmla="*/ 216692 w 1300480"/>
                <a:gd name="connsiteY10" fmla="*/ 653816 h 1300480"/>
                <a:gd name="connsiteX11" fmla="*/ 216692 w 1300480"/>
                <a:gd name="connsiteY11" fmla="*/ 653979 h 1300480"/>
                <a:gd name="connsiteX12" fmla="*/ 653898 w 1300480"/>
                <a:gd name="connsiteY12" fmla="*/ 1091184 h 13004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300480" h="1300480">
                  <a:moveTo>
                    <a:pt x="6096" y="653979"/>
                  </a:moveTo>
                  <a:cubicBezTo>
                    <a:pt x="6096" y="296184"/>
                    <a:pt x="296184" y="6096"/>
                    <a:pt x="653979" y="6096"/>
                  </a:cubicBezTo>
                  <a:cubicBezTo>
                    <a:pt x="1011773" y="6096"/>
                    <a:pt x="1301862" y="296184"/>
                    <a:pt x="1301862" y="653979"/>
                  </a:cubicBezTo>
                  <a:cubicBezTo>
                    <a:pt x="1301862" y="1011773"/>
                    <a:pt x="1011773" y="1301862"/>
                    <a:pt x="653979" y="1301862"/>
                  </a:cubicBezTo>
                  <a:lnTo>
                    <a:pt x="653898" y="1301862"/>
                  </a:lnTo>
                  <a:cubicBezTo>
                    <a:pt x="296103" y="1301862"/>
                    <a:pt x="6096" y="1011855"/>
                    <a:pt x="6096" y="654060"/>
                  </a:cubicBezTo>
                  <a:lnTo>
                    <a:pt x="6096" y="654060"/>
                  </a:lnTo>
                  <a:moveTo>
                    <a:pt x="653898" y="1091184"/>
                  </a:moveTo>
                  <a:cubicBezTo>
                    <a:pt x="895380" y="1091184"/>
                    <a:pt x="1091184" y="895462"/>
                    <a:pt x="1091265" y="653979"/>
                  </a:cubicBezTo>
                  <a:cubicBezTo>
                    <a:pt x="1091265" y="412496"/>
                    <a:pt x="895543" y="216692"/>
                    <a:pt x="654060" y="216611"/>
                  </a:cubicBezTo>
                  <a:cubicBezTo>
                    <a:pt x="412577" y="216611"/>
                    <a:pt x="216774" y="412333"/>
                    <a:pt x="216692" y="653816"/>
                  </a:cubicBezTo>
                  <a:lnTo>
                    <a:pt x="216692" y="653979"/>
                  </a:lnTo>
                  <a:cubicBezTo>
                    <a:pt x="216692" y="895462"/>
                    <a:pt x="412415" y="1091184"/>
                    <a:pt x="653898" y="1091184"/>
                  </a:cubicBezTo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4" name="Forma libre: forma 3">
              <a:extLst>
                <a:ext uri="{FF2B5EF4-FFF2-40B4-BE49-F238E27FC236}">
                  <a16:creationId xmlns:a16="http://schemas.microsoft.com/office/drawing/2014/main" id="{8E6F47B5-0CE8-D64C-1E73-D7CF77F3F364}"/>
                </a:ext>
              </a:extLst>
            </p:cNvPr>
            <p:cNvSpPr/>
            <p:nvPr/>
          </p:nvSpPr>
          <p:spPr>
            <a:xfrm>
              <a:off x="1151981" y="2793797"/>
              <a:ext cx="219456" cy="1267968"/>
            </a:xfrm>
            <a:custGeom>
              <a:avLst/>
              <a:gdLst>
                <a:gd name="connsiteX0" fmla="*/ 216367 w 219456"/>
                <a:gd name="connsiteY0" fmla="*/ 6096 h 1267968"/>
                <a:gd name="connsiteX1" fmla="*/ 216367 w 219456"/>
                <a:gd name="connsiteY1" fmla="*/ 6096 h 1267968"/>
                <a:gd name="connsiteX2" fmla="*/ 216367 w 219456"/>
                <a:gd name="connsiteY2" fmla="*/ 1268212 h 1267968"/>
                <a:gd name="connsiteX3" fmla="*/ 6096 w 219456"/>
                <a:gd name="connsiteY3" fmla="*/ 1268212 h 1267968"/>
                <a:gd name="connsiteX4" fmla="*/ 6096 w 219456"/>
                <a:gd name="connsiteY4" fmla="*/ 216449 h 1267968"/>
                <a:gd name="connsiteX5" fmla="*/ 216367 w 219456"/>
                <a:gd name="connsiteY5" fmla="*/ 6096 h 126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19456" h="1267968">
                  <a:moveTo>
                    <a:pt x="216367" y="6096"/>
                  </a:moveTo>
                  <a:lnTo>
                    <a:pt x="216367" y="6096"/>
                  </a:lnTo>
                  <a:lnTo>
                    <a:pt x="216367" y="1268212"/>
                  </a:lnTo>
                  <a:lnTo>
                    <a:pt x="6096" y="1268212"/>
                  </a:lnTo>
                  <a:lnTo>
                    <a:pt x="6096" y="216449"/>
                  </a:lnTo>
                  <a:cubicBezTo>
                    <a:pt x="6096" y="100300"/>
                    <a:pt x="100218" y="6177"/>
                    <a:pt x="216367" y="6096"/>
                  </a:cubicBezTo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5" name="Forma libre: forma 4">
              <a:extLst>
                <a:ext uri="{FF2B5EF4-FFF2-40B4-BE49-F238E27FC236}">
                  <a16:creationId xmlns:a16="http://schemas.microsoft.com/office/drawing/2014/main" id="{9C9D6E33-C9D9-06AC-83A3-76C50ABBFDB3}"/>
                </a:ext>
              </a:extLst>
            </p:cNvPr>
            <p:cNvSpPr/>
            <p:nvPr/>
          </p:nvSpPr>
          <p:spPr>
            <a:xfrm>
              <a:off x="9373128" y="2793797"/>
              <a:ext cx="219456" cy="1267968"/>
            </a:xfrm>
            <a:custGeom>
              <a:avLst/>
              <a:gdLst>
                <a:gd name="connsiteX0" fmla="*/ 216368 w 219456"/>
                <a:gd name="connsiteY0" fmla="*/ 6096 h 1267968"/>
                <a:gd name="connsiteX1" fmla="*/ 216368 w 219456"/>
                <a:gd name="connsiteY1" fmla="*/ 6096 h 1267968"/>
                <a:gd name="connsiteX2" fmla="*/ 216368 w 219456"/>
                <a:gd name="connsiteY2" fmla="*/ 1268212 h 1267968"/>
                <a:gd name="connsiteX3" fmla="*/ 6096 w 219456"/>
                <a:gd name="connsiteY3" fmla="*/ 1268212 h 1267968"/>
                <a:gd name="connsiteX4" fmla="*/ 6096 w 219456"/>
                <a:gd name="connsiteY4" fmla="*/ 216449 h 1267968"/>
                <a:gd name="connsiteX5" fmla="*/ 216287 w 219456"/>
                <a:gd name="connsiteY5" fmla="*/ 6096 h 1267968"/>
                <a:gd name="connsiteX6" fmla="*/ 216368 w 219456"/>
                <a:gd name="connsiteY6" fmla="*/ 6096 h 126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19456" h="1267968">
                  <a:moveTo>
                    <a:pt x="216368" y="6096"/>
                  </a:moveTo>
                  <a:lnTo>
                    <a:pt x="216368" y="6096"/>
                  </a:lnTo>
                  <a:lnTo>
                    <a:pt x="216368" y="1268212"/>
                  </a:lnTo>
                  <a:lnTo>
                    <a:pt x="6096" y="1268212"/>
                  </a:lnTo>
                  <a:lnTo>
                    <a:pt x="6096" y="216449"/>
                  </a:lnTo>
                  <a:cubicBezTo>
                    <a:pt x="6096" y="100300"/>
                    <a:pt x="100138" y="6177"/>
                    <a:pt x="216287" y="6096"/>
                  </a:cubicBezTo>
                  <a:lnTo>
                    <a:pt x="216368" y="6096"/>
                  </a:lnTo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9" name="Forma libre: forma 8">
              <a:extLst>
                <a:ext uri="{FF2B5EF4-FFF2-40B4-BE49-F238E27FC236}">
                  <a16:creationId xmlns:a16="http://schemas.microsoft.com/office/drawing/2014/main" id="{E788883E-3194-D7F6-F260-ED7381ED7947}"/>
                </a:ext>
              </a:extLst>
            </p:cNvPr>
            <p:cNvSpPr/>
            <p:nvPr/>
          </p:nvSpPr>
          <p:spPr>
            <a:xfrm>
              <a:off x="8111012" y="2793878"/>
              <a:ext cx="1056640" cy="1267968"/>
            </a:xfrm>
            <a:custGeom>
              <a:avLst/>
              <a:gdLst>
                <a:gd name="connsiteX0" fmla="*/ 74046 w 1056640"/>
                <a:gd name="connsiteY0" fmla="*/ 6096 h 1267968"/>
                <a:gd name="connsiteX1" fmla="*/ 6096 w 1056640"/>
                <a:gd name="connsiteY1" fmla="*/ 216367 h 1267968"/>
                <a:gd name="connsiteX2" fmla="*/ 426802 w 1056640"/>
                <a:gd name="connsiteY2" fmla="*/ 216367 h 1267968"/>
                <a:gd name="connsiteX3" fmla="*/ 426802 w 1056640"/>
                <a:gd name="connsiteY3" fmla="*/ 1268131 h 1267968"/>
                <a:gd name="connsiteX4" fmla="*/ 637155 w 1056640"/>
                <a:gd name="connsiteY4" fmla="*/ 1268131 h 1267968"/>
                <a:gd name="connsiteX5" fmla="*/ 637155 w 1056640"/>
                <a:gd name="connsiteY5" fmla="*/ 216367 h 1267968"/>
                <a:gd name="connsiteX6" fmla="*/ 847507 w 1056640"/>
                <a:gd name="connsiteY6" fmla="*/ 216367 h 1267968"/>
                <a:gd name="connsiteX7" fmla="*/ 1057860 w 1056640"/>
                <a:gd name="connsiteY7" fmla="*/ 6096 h 1267968"/>
                <a:gd name="connsiteX8" fmla="*/ 74046 w 1056640"/>
                <a:gd name="connsiteY8" fmla="*/ 6096 h 126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056640" h="1267968">
                  <a:moveTo>
                    <a:pt x="74046" y="6096"/>
                  </a:moveTo>
                  <a:lnTo>
                    <a:pt x="6096" y="216367"/>
                  </a:lnTo>
                  <a:lnTo>
                    <a:pt x="426802" y="216367"/>
                  </a:lnTo>
                  <a:lnTo>
                    <a:pt x="426802" y="1268131"/>
                  </a:lnTo>
                  <a:lnTo>
                    <a:pt x="637155" y="1268131"/>
                  </a:lnTo>
                  <a:lnTo>
                    <a:pt x="637155" y="216367"/>
                  </a:lnTo>
                  <a:lnTo>
                    <a:pt x="847507" y="216367"/>
                  </a:lnTo>
                  <a:cubicBezTo>
                    <a:pt x="963656" y="216367"/>
                    <a:pt x="1057779" y="122245"/>
                    <a:pt x="1057860" y="6096"/>
                  </a:cubicBezTo>
                  <a:lnTo>
                    <a:pt x="74046" y="6096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10" name="Forma libre: forma 9">
              <a:extLst>
                <a:ext uri="{FF2B5EF4-FFF2-40B4-BE49-F238E27FC236}">
                  <a16:creationId xmlns:a16="http://schemas.microsoft.com/office/drawing/2014/main" id="{8E726477-B224-4EF1-8FC5-643026A32039}"/>
                </a:ext>
              </a:extLst>
            </p:cNvPr>
            <p:cNvSpPr/>
            <p:nvPr/>
          </p:nvSpPr>
          <p:spPr>
            <a:xfrm>
              <a:off x="1602108" y="2793797"/>
              <a:ext cx="845312" cy="1267968"/>
            </a:xfrm>
            <a:custGeom>
              <a:avLst/>
              <a:gdLst>
                <a:gd name="connsiteX0" fmla="*/ 216288 w 845312"/>
                <a:gd name="connsiteY0" fmla="*/ 1057859 h 1267968"/>
                <a:gd name="connsiteX1" fmla="*/ 216288 w 845312"/>
                <a:gd name="connsiteY1" fmla="*/ 6096 h 1267968"/>
                <a:gd name="connsiteX2" fmla="*/ 6098 w 845312"/>
                <a:gd name="connsiteY2" fmla="*/ 6096 h 1267968"/>
                <a:gd name="connsiteX3" fmla="*/ 6098 w 845312"/>
                <a:gd name="connsiteY3" fmla="*/ 1057859 h 1267968"/>
                <a:gd name="connsiteX4" fmla="*/ 6098 w 845312"/>
                <a:gd name="connsiteY4" fmla="*/ 1057859 h 1267968"/>
                <a:gd name="connsiteX5" fmla="*/ 14226 w 845312"/>
                <a:gd name="connsiteY5" fmla="*/ 1116706 h 1267968"/>
                <a:gd name="connsiteX6" fmla="*/ 15201 w 845312"/>
                <a:gd name="connsiteY6" fmla="*/ 1120364 h 1267968"/>
                <a:gd name="connsiteX7" fmla="*/ 17071 w 845312"/>
                <a:gd name="connsiteY7" fmla="*/ 1125566 h 1267968"/>
                <a:gd name="connsiteX8" fmla="*/ 22598 w 845312"/>
                <a:gd name="connsiteY8" fmla="*/ 1140358 h 1267968"/>
                <a:gd name="connsiteX9" fmla="*/ 52021 w 845312"/>
                <a:gd name="connsiteY9" fmla="*/ 1189126 h 1267968"/>
                <a:gd name="connsiteX10" fmla="*/ 124685 w 845312"/>
                <a:gd name="connsiteY10" fmla="*/ 1246916 h 1267968"/>
                <a:gd name="connsiteX11" fmla="*/ 216125 w 845312"/>
                <a:gd name="connsiteY11" fmla="*/ 1268049 h 1267968"/>
                <a:gd name="connsiteX12" fmla="*/ 776957 w 845312"/>
                <a:gd name="connsiteY12" fmla="*/ 1268049 h 1267968"/>
                <a:gd name="connsiteX13" fmla="*/ 847021 w 845312"/>
                <a:gd name="connsiteY13" fmla="*/ 1057697 h 1267968"/>
                <a:gd name="connsiteX14" fmla="*/ 216288 w 845312"/>
                <a:gd name="connsiteY14" fmla="*/ 1057859 h 126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845312" h="1267968">
                  <a:moveTo>
                    <a:pt x="216288" y="1057859"/>
                  </a:moveTo>
                  <a:lnTo>
                    <a:pt x="216288" y="6096"/>
                  </a:lnTo>
                  <a:lnTo>
                    <a:pt x="6098" y="6096"/>
                  </a:lnTo>
                  <a:lnTo>
                    <a:pt x="6098" y="1057859"/>
                  </a:lnTo>
                  <a:lnTo>
                    <a:pt x="6098" y="1057859"/>
                  </a:lnTo>
                  <a:cubicBezTo>
                    <a:pt x="6017" y="1077773"/>
                    <a:pt x="8699" y="1097605"/>
                    <a:pt x="14226" y="1116706"/>
                  </a:cubicBezTo>
                  <a:cubicBezTo>
                    <a:pt x="14632" y="1117925"/>
                    <a:pt x="14795" y="1119226"/>
                    <a:pt x="15201" y="1120364"/>
                  </a:cubicBezTo>
                  <a:cubicBezTo>
                    <a:pt x="15608" y="1121502"/>
                    <a:pt x="16502" y="1123859"/>
                    <a:pt x="17071" y="1125566"/>
                  </a:cubicBezTo>
                  <a:cubicBezTo>
                    <a:pt x="18777" y="1130605"/>
                    <a:pt x="20566" y="1135563"/>
                    <a:pt x="22598" y="1140358"/>
                  </a:cubicBezTo>
                  <a:cubicBezTo>
                    <a:pt x="30157" y="1157915"/>
                    <a:pt x="40073" y="1174252"/>
                    <a:pt x="52021" y="1189126"/>
                  </a:cubicBezTo>
                  <a:cubicBezTo>
                    <a:pt x="71691" y="1213510"/>
                    <a:pt x="96481" y="1233262"/>
                    <a:pt x="124685" y="1246916"/>
                  </a:cubicBezTo>
                  <a:cubicBezTo>
                    <a:pt x="153215" y="1260734"/>
                    <a:pt x="184426" y="1267968"/>
                    <a:pt x="216125" y="1268049"/>
                  </a:cubicBezTo>
                  <a:lnTo>
                    <a:pt x="776957" y="1268049"/>
                  </a:lnTo>
                  <a:lnTo>
                    <a:pt x="847021" y="1057697"/>
                  </a:lnTo>
                  <a:lnTo>
                    <a:pt x="216288" y="1057859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23" name="Forma libre: forma 22">
              <a:extLst>
                <a:ext uri="{FF2B5EF4-FFF2-40B4-BE49-F238E27FC236}">
                  <a16:creationId xmlns:a16="http://schemas.microsoft.com/office/drawing/2014/main" id="{3A71E2E2-9BDB-161C-6585-09028C25A7B5}"/>
                </a:ext>
              </a:extLst>
            </p:cNvPr>
            <p:cNvSpPr/>
            <p:nvPr/>
          </p:nvSpPr>
          <p:spPr>
            <a:xfrm>
              <a:off x="-6096" y="2794284"/>
              <a:ext cx="959104" cy="1267968"/>
            </a:xfrm>
            <a:custGeom>
              <a:avLst/>
              <a:gdLst>
                <a:gd name="connsiteX0" fmla="*/ 818815 w 959104"/>
                <a:gd name="connsiteY0" fmla="*/ 411764 h 1267968"/>
                <a:gd name="connsiteX1" fmla="*/ 818815 w 959104"/>
                <a:gd name="connsiteY1" fmla="*/ 285699 h 1267968"/>
                <a:gd name="connsiteX2" fmla="*/ 539130 w 959104"/>
                <a:gd name="connsiteY2" fmla="*/ 6096 h 1267968"/>
                <a:gd name="connsiteX3" fmla="*/ 6096 w 959104"/>
                <a:gd name="connsiteY3" fmla="*/ 6096 h 1267968"/>
                <a:gd name="connsiteX4" fmla="*/ 6096 w 959104"/>
                <a:gd name="connsiteY4" fmla="*/ 1057047 h 1267968"/>
                <a:gd name="connsiteX5" fmla="*/ 216367 w 959104"/>
                <a:gd name="connsiteY5" fmla="*/ 1267399 h 1267968"/>
                <a:gd name="connsiteX6" fmla="*/ 532140 w 959104"/>
                <a:gd name="connsiteY6" fmla="*/ 1267399 h 1267968"/>
                <a:gd name="connsiteX7" fmla="*/ 953821 w 959104"/>
                <a:gd name="connsiteY7" fmla="*/ 892861 h 1267968"/>
                <a:gd name="connsiteX8" fmla="*/ 603260 w 959104"/>
                <a:gd name="connsiteY8" fmla="*/ 530596 h 1267968"/>
                <a:gd name="connsiteX9" fmla="*/ 218562 w 959104"/>
                <a:gd name="connsiteY9" fmla="*/ 531490 h 1267968"/>
                <a:gd name="connsiteX10" fmla="*/ 424282 w 959104"/>
                <a:gd name="connsiteY10" fmla="*/ 737210 h 1267968"/>
                <a:gd name="connsiteX11" fmla="*/ 424932 w 959104"/>
                <a:gd name="connsiteY11" fmla="*/ 737210 h 1267968"/>
                <a:gd name="connsiteX12" fmla="*/ 585785 w 959104"/>
                <a:gd name="connsiteY12" fmla="*/ 737210 h 1267968"/>
                <a:gd name="connsiteX13" fmla="*/ 758261 w 959104"/>
                <a:gd name="connsiteY13" fmla="*/ 889203 h 1267968"/>
                <a:gd name="connsiteX14" fmla="*/ 606268 w 959104"/>
                <a:gd name="connsiteY14" fmla="*/ 1061679 h 1267968"/>
                <a:gd name="connsiteX15" fmla="*/ 585704 w 959104"/>
                <a:gd name="connsiteY15" fmla="*/ 1061679 h 1267968"/>
                <a:gd name="connsiteX16" fmla="*/ 216530 w 959104"/>
                <a:gd name="connsiteY16" fmla="*/ 1061679 h 1267968"/>
                <a:gd name="connsiteX17" fmla="*/ 216530 w 959104"/>
                <a:gd name="connsiteY17" fmla="*/ 211653 h 1267968"/>
                <a:gd name="connsiteX18" fmla="*/ 467685 w 959104"/>
                <a:gd name="connsiteY18" fmla="*/ 211653 h 1267968"/>
                <a:gd name="connsiteX19" fmla="*/ 612689 w 959104"/>
                <a:gd name="connsiteY19" fmla="*/ 356575 h 1267968"/>
                <a:gd name="connsiteX20" fmla="*/ 612689 w 959104"/>
                <a:gd name="connsiteY20" fmla="*/ 530352 h 1267968"/>
                <a:gd name="connsiteX21" fmla="*/ 818815 w 959104"/>
                <a:gd name="connsiteY21" fmla="*/ 411764 h 126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959104" h="1267968">
                  <a:moveTo>
                    <a:pt x="818815" y="411764"/>
                  </a:moveTo>
                  <a:lnTo>
                    <a:pt x="818815" y="285699"/>
                  </a:lnTo>
                  <a:cubicBezTo>
                    <a:pt x="818815" y="131267"/>
                    <a:pt x="693562" y="6096"/>
                    <a:pt x="539130" y="6096"/>
                  </a:cubicBezTo>
                  <a:lnTo>
                    <a:pt x="6096" y="6096"/>
                  </a:lnTo>
                  <a:lnTo>
                    <a:pt x="6096" y="1057047"/>
                  </a:lnTo>
                  <a:cubicBezTo>
                    <a:pt x="6096" y="1173196"/>
                    <a:pt x="100218" y="1267318"/>
                    <a:pt x="216367" y="1267399"/>
                  </a:cubicBezTo>
                  <a:lnTo>
                    <a:pt x="532140" y="1267399"/>
                  </a:lnTo>
                  <a:cubicBezTo>
                    <a:pt x="807436" y="1267399"/>
                    <a:pt x="953821" y="1096711"/>
                    <a:pt x="953821" y="892861"/>
                  </a:cubicBezTo>
                  <a:cubicBezTo>
                    <a:pt x="953821" y="725587"/>
                    <a:pt x="840029" y="530596"/>
                    <a:pt x="603260" y="530596"/>
                  </a:cubicBezTo>
                  <a:lnTo>
                    <a:pt x="218562" y="531490"/>
                  </a:lnTo>
                  <a:cubicBezTo>
                    <a:pt x="218562" y="645119"/>
                    <a:pt x="310652" y="737210"/>
                    <a:pt x="424282" y="737210"/>
                  </a:cubicBezTo>
                  <a:cubicBezTo>
                    <a:pt x="424525" y="737210"/>
                    <a:pt x="424688" y="737210"/>
                    <a:pt x="424932" y="737210"/>
                  </a:cubicBezTo>
                  <a:lnTo>
                    <a:pt x="585785" y="737210"/>
                  </a:lnTo>
                  <a:cubicBezTo>
                    <a:pt x="675356" y="731520"/>
                    <a:pt x="752653" y="799551"/>
                    <a:pt x="758261" y="889203"/>
                  </a:cubicBezTo>
                  <a:cubicBezTo>
                    <a:pt x="763951" y="978774"/>
                    <a:pt x="695919" y="1056071"/>
                    <a:pt x="606268" y="1061679"/>
                  </a:cubicBezTo>
                  <a:cubicBezTo>
                    <a:pt x="599440" y="1062086"/>
                    <a:pt x="592531" y="1062086"/>
                    <a:pt x="585704" y="1061679"/>
                  </a:cubicBezTo>
                  <a:lnTo>
                    <a:pt x="216530" y="1061679"/>
                  </a:lnTo>
                  <a:lnTo>
                    <a:pt x="216530" y="211653"/>
                  </a:lnTo>
                  <a:lnTo>
                    <a:pt x="467685" y="211653"/>
                  </a:lnTo>
                  <a:cubicBezTo>
                    <a:pt x="547014" y="213441"/>
                    <a:pt x="610901" y="277246"/>
                    <a:pt x="612689" y="356575"/>
                  </a:cubicBezTo>
                  <a:lnTo>
                    <a:pt x="612689" y="530352"/>
                  </a:lnTo>
                  <a:lnTo>
                    <a:pt x="818815" y="411764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25" name="Forma libre: forma 24">
              <a:extLst>
                <a:ext uri="{FF2B5EF4-FFF2-40B4-BE49-F238E27FC236}">
                  <a16:creationId xmlns:a16="http://schemas.microsoft.com/office/drawing/2014/main" id="{7E23FAB4-99A1-1D1B-247A-1715445DF5CA}"/>
                </a:ext>
              </a:extLst>
            </p:cNvPr>
            <p:cNvSpPr/>
            <p:nvPr/>
          </p:nvSpPr>
          <p:spPr>
            <a:xfrm>
              <a:off x="2653792" y="2794284"/>
              <a:ext cx="959104" cy="1267968"/>
            </a:xfrm>
            <a:custGeom>
              <a:avLst/>
              <a:gdLst>
                <a:gd name="connsiteX0" fmla="*/ 818896 w 959104"/>
                <a:gd name="connsiteY0" fmla="*/ 411764 h 1267968"/>
                <a:gd name="connsiteX1" fmla="*/ 818896 w 959104"/>
                <a:gd name="connsiteY1" fmla="*/ 285699 h 1267968"/>
                <a:gd name="connsiteX2" fmla="*/ 539212 w 959104"/>
                <a:gd name="connsiteY2" fmla="*/ 6096 h 1267968"/>
                <a:gd name="connsiteX3" fmla="*/ 6096 w 959104"/>
                <a:gd name="connsiteY3" fmla="*/ 6096 h 1267968"/>
                <a:gd name="connsiteX4" fmla="*/ 6096 w 959104"/>
                <a:gd name="connsiteY4" fmla="*/ 1057047 h 1267968"/>
                <a:gd name="connsiteX5" fmla="*/ 216449 w 959104"/>
                <a:gd name="connsiteY5" fmla="*/ 1267399 h 1267968"/>
                <a:gd name="connsiteX6" fmla="*/ 532222 w 959104"/>
                <a:gd name="connsiteY6" fmla="*/ 1267399 h 1267968"/>
                <a:gd name="connsiteX7" fmla="*/ 953821 w 959104"/>
                <a:gd name="connsiteY7" fmla="*/ 892861 h 1267968"/>
                <a:gd name="connsiteX8" fmla="*/ 603342 w 959104"/>
                <a:gd name="connsiteY8" fmla="*/ 530596 h 1267968"/>
                <a:gd name="connsiteX9" fmla="*/ 218643 w 959104"/>
                <a:gd name="connsiteY9" fmla="*/ 531490 h 1267968"/>
                <a:gd name="connsiteX10" fmla="*/ 424363 w 959104"/>
                <a:gd name="connsiteY10" fmla="*/ 737210 h 1267968"/>
                <a:gd name="connsiteX11" fmla="*/ 424932 w 959104"/>
                <a:gd name="connsiteY11" fmla="*/ 737210 h 1267968"/>
                <a:gd name="connsiteX12" fmla="*/ 585866 w 959104"/>
                <a:gd name="connsiteY12" fmla="*/ 737210 h 1267968"/>
                <a:gd name="connsiteX13" fmla="*/ 737860 w 959104"/>
                <a:gd name="connsiteY13" fmla="*/ 909686 h 1267968"/>
                <a:gd name="connsiteX14" fmla="*/ 585866 w 959104"/>
                <a:gd name="connsiteY14" fmla="*/ 1061679 h 1267968"/>
                <a:gd name="connsiteX15" fmla="*/ 216611 w 959104"/>
                <a:gd name="connsiteY15" fmla="*/ 1061679 h 1267968"/>
                <a:gd name="connsiteX16" fmla="*/ 216611 w 959104"/>
                <a:gd name="connsiteY16" fmla="*/ 211653 h 1267968"/>
                <a:gd name="connsiteX17" fmla="*/ 467766 w 959104"/>
                <a:gd name="connsiteY17" fmla="*/ 211653 h 1267968"/>
                <a:gd name="connsiteX18" fmla="*/ 612770 w 959104"/>
                <a:gd name="connsiteY18" fmla="*/ 356575 h 1267968"/>
                <a:gd name="connsiteX19" fmla="*/ 612770 w 959104"/>
                <a:gd name="connsiteY19" fmla="*/ 530352 h 1267968"/>
                <a:gd name="connsiteX20" fmla="*/ 818896 w 959104"/>
                <a:gd name="connsiteY20" fmla="*/ 411764 h 126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959104" h="1267968">
                  <a:moveTo>
                    <a:pt x="818896" y="411764"/>
                  </a:moveTo>
                  <a:lnTo>
                    <a:pt x="818896" y="285699"/>
                  </a:lnTo>
                  <a:cubicBezTo>
                    <a:pt x="818896" y="131267"/>
                    <a:pt x="693644" y="6096"/>
                    <a:pt x="539212" y="6096"/>
                  </a:cubicBezTo>
                  <a:lnTo>
                    <a:pt x="6096" y="6096"/>
                  </a:lnTo>
                  <a:lnTo>
                    <a:pt x="6096" y="1057047"/>
                  </a:lnTo>
                  <a:cubicBezTo>
                    <a:pt x="6096" y="1173196"/>
                    <a:pt x="100299" y="1267399"/>
                    <a:pt x="216449" y="1267399"/>
                  </a:cubicBezTo>
                  <a:lnTo>
                    <a:pt x="532222" y="1267399"/>
                  </a:lnTo>
                  <a:cubicBezTo>
                    <a:pt x="807517" y="1267399"/>
                    <a:pt x="953821" y="1096711"/>
                    <a:pt x="953821" y="892861"/>
                  </a:cubicBezTo>
                  <a:cubicBezTo>
                    <a:pt x="953821" y="725587"/>
                    <a:pt x="840029" y="530596"/>
                    <a:pt x="603342" y="530596"/>
                  </a:cubicBezTo>
                  <a:lnTo>
                    <a:pt x="218643" y="531490"/>
                  </a:lnTo>
                  <a:cubicBezTo>
                    <a:pt x="218643" y="645119"/>
                    <a:pt x="310734" y="737210"/>
                    <a:pt x="424363" y="737210"/>
                  </a:cubicBezTo>
                  <a:cubicBezTo>
                    <a:pt x="424526" y="737210"/>
                    <a:pt x="424769" y="737210"/>
                    <a:pt x="424932" y="737210"/>
                  </a:cubicBezTo>
                  <a:lnTo>
                    <a:pt x="585866" y="737210"/>
                  </a:lnTo>
                  <a:cubicBezTo>
                    <a:pt x="675437" y="742899"/>
                    <a:pt x="743468" y="820115"/>
                    <a:pt x="737860" y="909686"/>
                  </a:cubicBezTo>
                  <a:cubicBezTo>
                    <a:pt x="732658" y="991372"/>
                    <a:pt x="667553" y="1056477"/>
                    <a:pt x="585866" y="1061679"/>
                  </a:cubicBezTo>
                  <a:lnTo>
                    <a:pt x="216611" y="1061679"/>
                  </a:lnTo>
                  <a:lnTo>
                    <a:pt x="216611" y="211653"/>
                  </a:lnTo>
                  <a:lnTo>
                    <a:pt x="467766" y="211653"/>
                  </a:lnTo>
                  <a:cubicBezTo>
                    <a:pt x="547096" y="213441"/>
                    <a:pt x="610982" y="277246"/>
                    <a:pt x="612770" y="356575"/>
                  </a:cubicBezTo>
                  <a:lnTo>
                    <a:pt x="612770" y="530352"/>
                  </a:lnTo>
                  <a:lnTo>
                    <a:pt x="818896" y="411764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26" name="Forma libre: forma 25">
              <a:extLst>
                <a:ext uri="{FF2B5EF4-FFF2-40B4-BE49-F238E27FC236}">
                  <a16:creationId xmlns:a16="http://schemas.microsoft.com/office/drawing/2014/main" id="{D8CC1926-C095-8985-35E4-497811EF5412}"/>
                </a:ext>
              </a:extLst>
            </p:cNvPr>
            <p:cNvSpPr/>
            <p:nvPr/>
          </p:nvSpPr>
          <p:spPr>
            <a:xfrm>
              <a:off x="5297343" y="2793878"/>
              <a:ext cx="219456" cy="1267968"/>
            </a:xfrm>
            <a:custGeom>
              <a:avLst/>
              <a:gdLst>
                <a:gd name="connsiteX0" fmla="*/ 6096 w 219456"/>
                <a:gd name="connsiteY0" fmla="*/ 6096 h 1267968"/>
                <a:gd name="connsiteX1" fmla="*/ 216449 w 219456"/>
                <a:gd name="connsiteY1" fmla="*/ 6096 h 1267968"/>
                <a:gd name="connsiteX2" fmla="*/ 216449 w 219456"/>
                <a:gd name="connsiteY2" fmla="*/ 1268212 h 1267968"/>
                <a:gd name="connsiteX3" fmla="*/ 6096 w 219456"/>
                <a:gd name="connsiteY3" fmla="*/ 1268212 h 126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19456" h="1267968">
                  <a:moveTo>
                    <a:pt x="6096" y="6096"/>
                  </a:moveTo>
                  <a:lnTo>
                    <a:pt x="216449" y="6096"/>
                  </a:lnTo>
                  <a:lnTo>
                    <a:pt x="216449" y="1268212"/>
                  </a:lnTo>
                  <a:lnTo>
                    <a:pt x="6096" y="1268212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34" name="Forma libre: forma 33">
              <a:extLst>
                <a:ext uri="{FF2B5EF4-FFF2-40B4-BE49-F238E27FC236}">
                  <a16:creationId xmlns:a16="http://schemas.microsoft.com/office/drawing/2014/main" id="{7B1C5065-BF74-5485-D8BF-6F4AB1221F20}"/>
                </a:ext>
              </a:extLst>
            </p:cNvPr>
            <p:cNvSpPr/>
            <p:nvPr/>
          </p:nvSpPr>
          <p:spPr>
            <a:xfrm>
              <a:off x="5507695" y="2793634"/>
              <a:ext cx="487680" cy="1267968"/>
            </a:xfrm>
            <a:custGeom>
              <a:avLst/>
              <a:gdLst>
                <a:gd name="connsiteX0" fmla="*/ 426557 w 487680"/>
                <a:gd name="connsiteY0" fmla="*/ 1268375 h 1267968"/>
                <a:gd name="connsiteX1" fmla="*/ 485323 w 487680"/>
                <a:gd name="connsiteY1" fmla="*/ 1268375 h 1267968"/>
                <a:gd name="connsiteX2" fmla="*/ 248067 w 487680"/>
                <a:gd name="connsiteY2" fmla="*/ 154838 h 1267968"/>
                <a:gd name="connsiteX3" fmla="*/ 64861 w 487680"/>
                <a:gd name="connsiteY3" fmla="*/ 6096 h 1267968"/>
                <a:gd name="connsiteX4" fmla="*/ 6096 w 487680"/>
                <a:gd name="connsiteY4" fmla="*/ 6096 h 1267968"/>
                <a:gd name="connsiteX5" fmla="*/ 243352 w 487680"/>
                <a:gd name="connsiteY5" fmla="*/ 1119632 h 1267968"/>
                <a:gd name="connsiteX6" fmla="*/ 426557 w 487680"/>
                <a:gd name="connsiteY6" fmla="*/ 1267968 h 126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87680" h="1267968">
                  <a:moveTo>
                    <a:pt x="426557" y="1268375"/>
                  </a:moveTo>
                  <a:lnTo>
                    <a:pt x="485323" y="1268375"/>
                  </a:lnTo>
                  <a:lnTo>
                    <a:pt x="248067" y="154838"/>
                  </a:lnTo>
                  <a:cubicBezTo>
                    <a:pt x="229535" y="68356"/>
                    <a:pt x="153294" y="6421"/>
                    <a:pt x="64861" y="6096"/>
                  </a:cubicBezTo>
                  <a:lnTo>
                    <a:pt x="6096" y="6096"/>
                  </a:lnTo>
                  <a:lnTo>
                    <a:pt x="243352" y="1119632"/>
                  </a:lnTo>
                  <a:cubicBezTo>
                    <a:pt x="261803" y="1206114"/>
                    <a:pt x="338125" y="1267887"/>
                    <a:pt x="426557" y="1267968"/>
                  </a:cubicBezTo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35" name="Forma libre: forma 34">
              <a:extLst>
                <a:ext uri="{FF2B5EF4-FFF2-40B4-BE49-F238E27FC236}">
                  <a16:creationId xmlns:a16="http://schemas.microsoft.com/office/drawing/2014/main" id="{92F1C77A-2F33-6FEB-0DAA-CA88284B52F7}"/>
                </a:ext>
              </a:extLst>
            </p:cNvPr>
            <p:cNvSpPr/>
            <p:nvPr/>
          </p:nvSpPr>
          <p:spPr>
            <a:xfrm>
              <a:off x="5986922" y="2794284"/>
              <a:ext cx="487680" cy="1267968"/>
            </a:xfrm>
            <a:custGeom>
              <a:avLst/>
              <a:gdLst>
                <a:gd name="connsiteX0" fmla="*/ 243271 w 487680"/>
                <a:gd name="connsiteY0" fmla="*/ 154595 h 1267968"/>
                <a:gd name="connsiteX1" fmla="*/ 6096 w 487680"/>
                <a:gd name="connsiteY1" fmla="*/ 1268131 h 1267968"/>
                <a:gd name="connsiteX2" fmla="*/ 216367 w 487680"/>
                <a:gd name="connsiteY2" fmla="*/ 1268131 h 1267968"/>
                <a:gd name="connsiteX3" fmla="*/ 485323 w 487680"/>
                <a:gd name="connsiteY3" fmla="*/ 6096 h 1267968"/>
                <a:gd name="connsiteX4" fmla="*/ 426557 w 487680"/>
                <a:gd name="connsiteY4" fmla="*/ 6096 h 1267968"/>
                <a:gd name="connsiteX5" fmla="*/ 243271 w 487680"/>
                <a:gd name="connsiteY5" fmla="*/ 155001 h 126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87680" h="1267968">
                  <a:moveTo>
                    <a:pt x="243271" y="154595"/>
                  </a:moveTo>
                  <a:lnTo>
                    <a:pt x="6096" y="1268131"/>
                  </a:lnTo>
                  <a:lnTo>
                    <a:pt x="216367" y="1268131"/>
                  </a:lnTo>
                  <a:lnTo>
                    <a:pt x="485323" y="6096"/>
                  </a:lnTo>
                  <a:lnTo>
                    <a:pt x="426557" y="6096"/>
                  </a:lnTo>
                  <a:cubicBezTo>
                    <a:pt x="338043" y="6421"/>
                    <a:pt x="261722" y="68438"/>
                    <a:pt x="243271" y="155001"/>
                  </a:cubicBezTo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36" name="Forma libre: forma 35">
              <a:extLst>
                <a:ext uri="{FF2B5EF4-FFF2-40B4-BE49-F238E27FC236}">
                  <a16:creationId xmlns:a16="http://schemas.microsoft.com/office/drawing/2014/main" id="{1A06128E-FF93-6393-225A-9DFDEC3EB5EB}"/>
                </a:ext>
              </a:extLst>
            </p:cNvPr>
            <p:cNvSpPr/>
            <p:nvPr/>
          </p:nvSpPr>
          <p:spPr>
            <a:xfrm>
              <a:off x="6466149" y="2793878"/>
              <a:ext cx="219456" cy="1267968"/>
            </a:xfrm>
            <a:custGeom>
              <a:avLst/>
              <a:gdLst>
                <a:gd name="connsiteX0" fmla="*/ 6096 w 219456"/>
                <a:gd name="connsiteY0" fmla="*/ 6096 h 1267968"/>
                <a:gd name="connsiteX1" fmla="*/ 216449 w 219456"/>
                <a:gd name="connsiteY1" fmla="*/ 6096 h 1267968"/>
                <a:gd name="connsiteX2" fmla="*/ 216449 w 219456"/>
                <a:gd name="connsiteY2" fmla="*/ 1268212 h 1267968"/>
                <a:gd name="connsiteX3" fmla="*/ 6096 w 219456"/>
                <a:gd name="connsiteY3" fmla="*/ 1268212 h 126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19456" h="1267968">
                  <a:moveTo>
                    <a:pt x="6096" y="6096"/>
                  </a:moveTo>
                  <a:lnTo>
                    <a:pt x="216449" y="6096"/>
                  </a:lnTo>
                  <a:lnTo>
                    <a:pt x="216449" y="1268212"/>
                  </a:lnTo>
                  <a:lnTo>
                    <a:pt x="6096" y="1268212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37" name="Forma libre: forma 36">
              <a:extLst>
                <a:ext uri="{FF2B5EF4-FFF2-40B4-BE49-F238E27FC236}">
                  <a16:creationId xmlns:a16="http://schemas.microsoft.com/office/drawing/2014/main" id="{4E5C46CC-C014-4C00-468B-6B19527B6E8A}"/>
                </a:ext>
              </a:extLst>
            </p:cNvPr>
            <p:cNvSpPr/>
            <p:nvPr/>
          </p:nvSpPr>
          <p:spPr>
            <a:xfrm>
              <a:off x="9815617" y="2776728"/>
              <a:ext cx="950976" cy="1300480"/>
            </a:xfrm>
            <a:custGeom>
              <a:avLst/>
              <a:gdLst>
                <a:gd name="connsiteX0" fmla="*/ 889935 w 950976"/>
                <a:gd name="connsiteY0" fmla="*/ 286350 h 1300480"/>
                <a:gd name="connsiteX1" fmla="*/ 285618 w 950976"/>
                <a:gd name="connsiteY1" fmla="*/ 417779 h 1300480"/>
                <a:gd name="connsiteX2" fmla="*/ 417047 w 950976"/>
                <a:gd name="connsiteY2" fmla="*/ 1022096 h 1300480"/>
                <a:gd name="connsiteX3" fmla="*/ 653410 w 950976"/>
                <a:gd name="connsiteY3" fmla="*/ 1091509 h 1300480"/>
                <a:gd name="connsiteX4" fmla="*/ 927242 w 950976"/>
                <a:gd name="connsiteY4" fmla="*/ 997712 h 1300480"/>
                <a:gd name="connsiteX5" fmla="*/ 927242 w 950976"/>
                <a:gd name="connsiteY5" fmla="*/ 1240170 h 1300480"/>
                <a:gd name="connsiteX6" fmla="*/ 653736 w 950976"/>
                <a:gd name="connsiteY6" fmla="*/ 1301862 h 1300480"/>
                <a:gd name="connsiteX7" fmla="*/ 6096 w 950976"/>
                <a:gd name="connsiteY7" fmla="*/ 653735 h 1300480"/>
                <a:gd name="connsiteX8" fmla="*/ 654304 w 950976"/>
                <a:gd name="connsiteY8" fmla="*/ 6096 h 1300480"/>
                <a:gd name="connsiteX9" fmla="*/ 948050 w 950976"/>
                <a:gd name="connsiteY9" fmla="*/ 76647 h 1300480"/>
                <a:gd name="connsiteX10" fmla="*/ 889935 w 950976"/>
                <a:gd name="connsiteY10" fmla="*/ 286350 h 13004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950976" h="1300480">
                  <a:moveTo>
                    <a:pt x="889935" y="286350"/>
                  </a:moveTo>
                  <a:cubicBezTo>
                    <a:pt x="686735" y="155814"/>
                    <a:pt x="416235" y="214661"/>
                    <a:pt x="285618" y="417779"/>
                  </a:cubicBezTo>
                  <a:cubicBezTo>
                    <a:pt x="155082" y="620979"/>
                    <a:pt x="213929" y="891479"/>
                    <a:pt x="417047" y="1022096"/>
                  </a:cubicBezTo>
                  <a:cubicBezTo>
                    <a:pt x="487599" y="1067369"/>
                    <a:pt x="569610" y="1091509"/>
                    <a:pt x="653410" y="1091509"/>
                  </a:cubicBezTo>
                  <a:cubicBezTo>
                    <a:pt x="752571" y="1091753"/>
                    <a:pt x="849051" y="1058753"/>
                    <a:pt x="927242" y="997712"/>
                  </a:cubicBezTo>
                  <a:lnTo>
                    <a:pt x="927242" y="1240170"/>
                  </a:lnTo>
                  <a:cubicBezTo>
                    <a:pt x="841817" y="1280892"/>
                    <a:pt x="748345" y="1302024"/>
                    <a:pt x="653736" y="1301862"/>
                  </a:cubicBezTo>
                  <a:cubicBezTo>
                    <a:pt x="295941" y="1301699"/>
                    <a:pt x="5933" y="1011530"/>
                    <a:pt x="6096" y="653735"/>
                  </a:cubicBezTo>
                  <a:cubicBezTo>
                    <a:pt x="6259" y="295941"/>
                    <a:pt x="296428" y="5934"/>
                    <a:pt x="654304" y="6096"/>
                  </a:cubicBezTo>
                  <a:cubicBezTo>
                    <a:pt x="756391" y="6096"/>
                    <a:pt x="857097" y="30318"/>
                    <a:pt x="948050" y="76647"/>
                  </a:cubicBezTo>
                  <a:lnTo>
                    <a:pt x="889935" y="286350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38" name="Forma libre: forma 37">
              <a:extLst>
                <a:ext uri="{FF2B5EF4-FFF2-40B4-BE49-F238E27FC236}">
                  <a16:creationId xmlns:a16="http://schemas.microsoft.com/office/drawing/2014/main" id="{70A54F02-B913-73E9-BB4C-F44AD3543333}"/>
                </a:ext>
              </a:extLst>
            </p:cNvPr>
            <p:cNvSpPr/>
            <p:nvPr/>
          </p:nvSpPr>
          <p:spPr>
            <a:xfrm>
              <a:off x="6886773" y="2794041"/>
              <a:ext cx="1276096" cy="1267968"/>
            </a:xfrm>
            <a:custGeom>
              <a:avLst/>
              <a:gdLst>
                <a:gd name="connsiteX0" fmla="*/ 1060135 w 1276096"/>
                <a:gd name="connsiteY0" fmla="*/ 1267968 h 1267968"/>
                <a:gd name="connsiteX1" fmla="*/ 1273007 w 1276096"/>
                <a:gd name="connsiteY1" fmla="*/ 1267968 h 1267968"/>
                <a:gd name="connsiteX2" fmla="*/ 900501 w 1276096"/>
                <a:gd name="connsiteY2" fmla="*/ 149962 h 1267968"/>
                <a:gd name="connsiteX3" fmla="*/ 700959 w 1276096"/>
                <a:gd name="connsiteY3" fmla="*/ 6096 h 1267968"/>
                <a:gd name="connsiteX4" fmla="*/ 426801 w 1276096"/>
                <a:gd name="connsiteY4" fmla="*/ 6096 h 1267968"/>
                <a:gd name="connsiteX5" fmla="*/ 6096 w 1276096"/>
                <a:gd name="connsiteY5" fmla="*/ 1268212 h 1267968"/>
                <a:gd name="connsiteX6" fmla="*/ 218968 w 1276096"/>
                <a:gd name="connsiteY6" fmla="*/ 1268212 h 1267968"/>
                <a:gd name="connsiteX7" fmla="*/ 324145 w 1276096"/>
                <a:gd name="connsiteY7" fmla="*/ 952683 h 1267968"/>
                <a:gd name="connsiteX8" fmla="*/ 673649 w 1276096"/>
                <a:gd name="connsiteY8" fmla="*/ 952683 h 1267968"/>
                <a:gd name="connsiteX9" fmla="*/ 884001 w 1276096"/>
                <a:gd name="connsiteY9" fmla="*/ 742330 h 1267968"/>
                <a:gd name="connsiteX10" fmla="*/ 884001 w 1276096"/>
                <a:gd name="connsiteY10" fmla="*/ 742330 h 1267968"/>
                <a:gd name="connsiteX11" fmla="*/ 394127 w 1276096"/>
                <a:gd name="connsiteY11" fmla="*/ 742330 h 1267968"/>
                <a:gd name="connsiteX12" fmla="*/ 639511 w 1276096"/>
                <a:gd name="connsiteY12" fmla="*/ 6096 h 1267968"/>
                <a:gd name="connsiteX13" fmla="*/ 1060135 w 1276096"/>
                <a:gd name="connsiteY13" fmla="*/ 1267968 h 126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276096" h="1267968">
                  <a:moveTo>
                    <a:pt x="1060135" y="1267968"/>
                  </a:moveTo>
                  <a:lnTo>
                    <a:pt x="1273007" y="1267968"/>
                  </a:lnTo>
                  <a:lnTo>
                    <a:pt x="900501" y="149962"/>
                  </a:lnTo>
                  <a:cubicBezTo>
                    <a:pt x="871891" y="64049"/>
                    <a:pt x="791505" y="6096"/>
                    <a:pt x="700959" y="6096"/>
                  </a:cubicBezTo>
                  <a:lnTo>
                    <a:pt x="426801" y="6096"/>
                  </a:lnTo>
                  <a:lnTo>
                    <a:pt x="6096" y="1268212"/>
                  </a:lnTo>
                  <a:lnTo>
                    <a:pt x="218968" y="1268212"/>
                  </a:lnTo>
                  <a:lnTo>
                    <a:pt x="324145" y="952683"/>
                  </a:lnTo>
                  <a:lnTo>
                    <a:pt x="673649" y="952683"/>
                  </a:lnTo>
                  <a:cubicBezTo>
                    <a:pt x="789798" y="952683"/>
                    <a:pt x="884001" y="858479"/>
                    <a:pt x="884001" y="742330"/>
                  </a:cubicBezTo>
                  <a:lnTo>
                    <a:pt x="884001" y="742330"/>
                  </a:lnTo>
                  <a:cubicBezTo>
                    <a:pt x="884001" y="742330"/>
                    <a:pt x="394127" y="742330"/>
                    <a:pt x="394127" y="742330"/>
                  </a:cubicBezTo>
                  <a:lnTo>
                    <a:pt x="639511" y="6096"/>
                  </a:lnTo>
                  <a:lnTo>
                    <a:pt x="1060135" y="1267968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39" name="Forma libre: forma 38">
              <a:extLst>
                <a:ext uri="{FF2B5EF4-FFF2-40B4-BE49-F238E27FC236}">
                  <a16:creationId xmlns:a16="http://schemas.microsoft.com/office/drawing/2014/main" id="{DECAB302-DACE-005F-C36E-93D48C1AA287}"/>
                </a:ext>
              </a:extLst>
            </p:cNvPr>
            <p:cNvSpPr/>
            <p:nvPr/>
          </p:nvSpPr>
          <p:spPr>
            <a:xfrm>
              <a:off x="10918749" y="2794041"/>
              <a:ext cx="1276096" cy="1267968"/>
            </a:xfrm>
            <a:custGeom>
              <a:avLst/>
              <a:gdLst>
                <a:gd name="connsiteX0" fmla="*/ 1060380 w 1276096"/>
                <a:gd name="connsiteY0" fmla="*/ 1267968 h 1267968"/>
                <a:gd name="connsiteX1" fmla="*/ 1273251 w 1276096"/>
                <a:gd name="connsiteY1" fmla="*/ 1267968 h 1267968"/>
                <a:gd name="connsiteX2" fmla="*/ 900420 w 1276096"/>
                <a:gd name="connsiteY2" fmla="*/ 149962 h 1267968"/>
                <a:gd name="connsiteX3" fmla="*/ 700877 w 1276096"/>
                <a:gd name="connsiteY3" fmla="*/ 6096 h 1267968"/>
                <a:gd name="connsiteX4" fmla="*/ 426801 w 1276096"/>
                <a:gd name="connsiteY4" fmla="*/ 6096 h 1267968"/>
                <a:gd name="connsiteX5" fmla="*/ 6096 w 1276096"/>
                <a:gd name="connsiteY5" fmla="*/ 1268212 h 1267968"/>
                <a:gd name="connsiteX6" fmla="*/ 218969 w 1276096"/>
                <a:gd name="connsiteY6" fmla="*/ 1268212 h 1267968"/>
                <a:gd name="connsiteX7" fmla="*/ 324145 w 1276096"/>
                <a:gd name="connsiteY7" fmla="*/ 952683 h 1267968"/>
                <a:gd name="connsiteX8" fmla="*/ 673649 w 1276096"/>
                <a:gd name="connsiteY8" fmla="*/ 952683 h 1267968"/>
                <a:gd name="connsiteX9" fmla="*/ 884001 w 1276096"/>
                <a:gd name="connsiteY9" fmla="*/ 742330 h 1267968"/>
                <a:gd name="connsiteX10" fmla="*/ 884001 w 1276096"/>
                <a:gd name="connsiteY10" fmla="*/ 742330 h 1267968"/>
                <a:gd name="connsiteX11" fmla="*/ 394127 w 1276096"/>
                <a:gd name="connsiteY11" fmla="*/ 742330 h 1267968"/>
                <a:gd name="connsiteX12" fmla="*/ 639512 w 1276096"/>
                <a:gd name="connsiteY12" fmla="*/ 6096 h 1267968"/>
                <a:gd name="connsiteX13" fmla="*/ 1060380 w 1276096"/>
                <a:gd name="connsiteY13" fmla="*/ 1267968 h 126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276096" h="1267968">
                  <a:moveTo>
                    <a:pt x="1060380" y="1267968"/>
                  </a:moveTo>
                  <a:lnTo>
                    <a:pt x="1273251" y="1267968"/>
                  </a:lnTo>
                  <a:lnTo>
                    <a:pt x="900420" y="149962"/>
                  </a:lnTo>
                  <a:cubicBezTo>
                    <a:pt x="871809" y="64049"/>
                    <a:pt x="791423" y="6096"/>
                    <a:pt x="700877" y="6096"/>
                  </a:cubicBezTo>
                  <a:lnTo>
                    <a:pt x="426801" y="6096"/>
                  </a:lnTo>
                  <a:lnTo>
                    <a:pt x="6096" y="1268212"/>
                  </a:lnTo>
                  <a:lnTo>
                    <a:pt x="218969" y="1268212"/>
                  </a:lnTo>
                  <a:lnTo>
                    <a:pt x="324145" y="952683"/>
                  </a:lnTo>
                  <a:lnTo>
                    <a:pt x="673649" y="952683"/>
                  </a:lnTo>
                  <a:cubicBezTo>
                    <a:pt x="789798" y="952683"/>
                    <a:pt x="884001" y="858479"/>
                    <a:pt x="884001" y="742330"/>
                  </a:cubicBezTo>
                  <a:lnTo>
                    <a:pt x="884001" y="742330"/>
                  </a:lnTo>
                  <a:cubicBezTo>
                    <a:pt x="884001" y="742330"/>
                    <a:pt x="394127" y="742330"/>
                    <a:pt x="394127" y="742330"/>
                  </a:cubicBezTo>
                  <a:lnTo>
                    <a:pt x="639512" y="6096"/>
                  </a:lnTo>
                  <a:lnTo>
                    <a:pt x="1060380" y="1267968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</p:grpSp>
      <p:sp>
        <p:nvSpPr>
          <p:cNvPr id="33" name="Marcador de Posição do Rodapé 4">
            <a:extLst>
              <a:ext uri="{FF2B5EF4-FFF2-40B4-BE49-F238E27FC236}">
                <a16:creationId xmlns:a16="http://schemas.microsoft.com/office/drawing/2014/main" id="{753E1ACA-ECEE-43E6-8A4C-E0C892B5D54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12762" y="6356350"/>
            <a:ext cx="534669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accent2"/>
                </a:solidFill>
              </a:defRPr>
            </a:lvl1pPr>
          </a:lstStyle>
          <a:p>
            <a:r>
              <a:rPr lang="pt-PT"/>
              <a:t>Título de la presentación</a:t>
            </a:r>
            <a:endParaRPr lang="pt-PT" dirty="0"/>
          </a:p>
        </p:txBody>
      </p:sp>
      <p:sp>
        <p:nvSpPr>
          <p:cNvPr id="40" name="Marcador de Posição do Número do Diapositivo 5">
            <a:extLst>
              <a:ext uri="{FF2B5EF4-FFF2-40B4-BE49-F238E27FC236}">
                <a16:creationId xmlns:a16="http://schemas.microsoft.com/office/drawing/2014/main" id="{440AC760-B781-43A3-8521-FB342C5F555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936039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bg1"/>
                </a:solidFill>
              </a:defRPr>
            </a:lvl1pPr>
          </a:lstStyle>
          <a:p>
            <a:fld id="{24A347C2-D68E-473A-8C76-1D063E4EB6E0}" type="slidenum">
              <a:rPr lang="es-ES" smtClean="0"/>
              <a:pPr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50213665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5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1666 -0.00046 L 3.75E-6 1.85185E-6 " pathEditMode="relative" rAng="0" ptsTypes="AA">
                                      <p:cBhvr>
                                        <p:cTn id="9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833" y="23"/>
                                    </p:animMotion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25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1666 -0.00046 L 3.75E-6 1.85185E-6 " pathEditMode="relative" rAng="0" ptsTypes="AA">
                                      <p:cBhvr>
                                        <p:cTn id="14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833" y="23"/>
                                    </p:animMotion>
                                  </p:childTnLst>
                                </p:cTn>
                              </p:par>
                              <p:par>
                                <p:cTn id="15" presetID="2" presetClass="entr" presetSubtype="4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25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1719 -0.00023 L -1.25E-6 1.85185E-6 " pathEditMode="relative" rAng="0" ptsTypes="AA">
                                      <p:cBhvr>
                                        <p:cTn id="23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859" y="0"/>
                                    </p:animMotion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1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1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1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" dur="500"/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1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3" dur="500"/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4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500"/>
                                        <p:tgtEl>
                                          <p:spTgt spid="1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7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9" dur="500"/>
                                        <p:tgtEl>
                                          <p:spTgt spid="2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0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2" dur="500"/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3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5" dur="500"/>
                                        <p:tgtEl>
                                          <p:spTgt spid="21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6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8" dur="500"/>
                                        <p:tgtEl>
                                          <p:spTgt spid="2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9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1" dur="500"/>
                                        <p:tgtEl>
                                          <p:spTgt spid="2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6" grpId="1"/>
      <p:bldP spid="7" grpId="0">
        <p:tmplLst>
          <p:tmpl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250"/>
                        <p:tgtEl>
                          <p:spTgt spid="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7" grpId="1"/>
      <p:bldP spid="8" grpId="0" animBg="1"/>
      <p:bldP spid="11" grpId="0" animBg="1">
        <p:tmplLst>
          <p:tmpl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250"/>
                        <p:tgtEl>
                          <p:spTgt spid="1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1" grpId="1" animBg="1">
        <p:tmplLst>
          <p:tmpl>
            <p:tnLst>
              <p:par>
                <p:cTn presetID="42" presetClass="path" presetSubtype="0" decel="100000" fill="hold" nodeType="withEffect">
                  <p:stCondLst>
                    <p:cond delay="0"/>
                  </p:stCondLst>
                  <p:childTnLst>
                    <p:animMotion origin="layout" path="M -0.01719 -0.00023 L -1.25E-6 1.85185E-6 " pathEditMode="relative" rAng="0" ptsTypes="AA">
                      <p:cBhvr>
                        <p:cTn dur="500" fill="hold"/>
                        <p:tgtEl>
                          <p:spTgt spid="11"/>
                        </p:tgtEl>
                        <p:attrNameLst>
                          <p:attrName>ppt_x</p:attrName>
                          <p:attrName>ppt_y</p:attrName>
                        </p:attrNameLst>
                      </p:cBhvr>
                      <p:rCtr x="859" y="0"/>
                    </p:animMotion>
                  </p:childTnLst>
                </p:cTn>
              </p:par>
            </p:tnLst>
          </p:tmpl>
        </p:tmplLst>
      </p:bldP>
      <p:bldP spid="12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3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3"/>
                        </p:tgtEl>
                      </p:cBhvr>
                    </p:animEffect>
                  </p:childTnLst>
                </p:cTn>
              </p:par>
            </p:tnLst>
          </p:tmpl>
          <p:tmpl lvl="2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3"/>
                        </p:tgtEl>
                      </p:cBhvr>
                    </p:animEffect>
                  </p:childTnLst>
                </p:cTn>
              </p:par>
            </p:tnLst>
          </p:tmpl>
          <p:tmpl lvl="3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3"/>
                        </p:tgtEl>
                      </p:cBhvr>
                    </p:animEffect>
                  </p:childTnLst>
                </p:cTn>
              </p:par>
            </p:tnLst>
          </p:tmpl>
          <p:tmpl lvl="4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3"/>
                        </p:tgtEl>
                      </p:cBhvr>
                    </p:animEffect>
                  </p:childTnLst>
                </p:cTn>
              </p:par>
            </p:tnLst>
          </p:tmpl>
          <p:tmpl lvl="5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4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5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5"/>
                        </p:tgtEl>
                      </p:cBhvr>
                    </p:animEffect>
                  </p:childTnLst>
                </p:cTn>
              </p:par>
            </p:tnLst>
          </p:tmpl>
          <p:tmpl lvl="2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5"/>
                        </p:tgtEl>
                      </p:cBhvr>
                    </p:animEffect>
                  </p:childTnLst>
                </p:cTn>
              </p:par>
            </p:tnLst>
          </p:tmpl>
          <p:tmpl lvl="3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5"/>
                        </p:tgtEl>
                      </p:cBhvr>
                    </p:animEffect>
                  </p:childTnLst>
                </p:cTn>
              </p:par>
            </p:tnLst>
          </p:tmpl>
          <p:tmpl lvl="4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5"/>
                        </p:tgtEl>
                      </p:cBhvr>
                    </p:animEffect>
                  </p:childTnLst>
                </p:cTn>
              </p:par>
            </p:tnLst>
          </p:tmpl>
          <p:tmpl lvl="5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6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7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7"/>
                        </p:tgtEl>
                      </p:cBhvr>
                    </p:animEffect>
                  </p:childTnLst>
                </p:cTn>
              </p:par>
            </p:tnLst>
          </p:tmpl>
          <p:tmpl lvl="2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7"/>
                        </p:tgtEl>
                      </p:cBhvr>
                    </p:animEffect>
                  </p:childTnLst>
                </p:cTn>
              </p:par>
            </p:tnLst>
          </p:tmpl>
          <p:tmpl lvl="3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7"/>
                        </p:tgtEl>
                      </p:cBhvr>
                    </p:animEffect>
                  </p:childTnLst>
                </p:cTn>
              </p:par>
            </p:tnLst>
          </p:tmpl>
          <p:tmpl lvl="4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7"/>
                        </p:tgtEl>
                      </p:cBhvr>
                    </p:animEffect>
                  </p:childTnLst>
                </p:cTn>
              </p:par>
            </p:tnLst>
          </p:tmpl>
          <p:tmpl lvl="5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8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9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9"/>
                        </p:tgtEl>
                      </p:cBhvr>
                    </p:animEffect>
                  </p:childTnLst>
                </p:cTn>
              </p:par>
            </p:tnLst>
          </p:tmpl>
          <p:tmpl lvl="2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9"/>
                        </p:tgtEl>
                      </p:cBhvr>
                    </p:animEffect>
                  </p:childTnLst>
                </p:cTn>
              </p:par>
            </p:tnLst>
          </p:tmpl>
          <p:tmpl lvl="3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9"/>
                        </p:tgtEl>
                      </p:cBhvr>
                    </p:animEffect>
                  </p:childTnLst>
                </p:cTn>
              </p:par>
            </p:tnLst>
          </p:tmpl>
          <p:tmpl lvl="4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9"/>
                        </p:tgtEl>
                      </p:cBhvr>
                    </p:animEffect>
                  </p:childTnLst>
                </p:cTn>
              </p:par>
            </p:tnLst>
          </p:tmpl>
          <p:tmpl lvl="5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0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0"/>
                        </p:tgtEl>
                      </p:cBhvr>
                    </p:animEffect>
                  </p:childTnLst>
                </p:cTn>
              </p:par>
            </p:tnLst>
          </p:tmpl>
          <p:tmpl lvl="2">
            <p:tnLst>
              <p:par>
                <p:cTn presetID="10" presetClass="entr" presetSubtype="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0"/>
                        </p:tgtEl>
                      </p:cBhvr>
                    </p:animEffect>
                  </p:childTnLst>
                </p:cTn>
              </p:par>
            </p:tnLst>
          </p:tmpl>
          <p:tmpl lvl="3">
            <p:tnLst>
              <p:par>
                <p:cTn presetID="10" presetClass="entr" presetSubtype="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0"/>
                        </p:tgtEl>
                      </p:cBhvr>
                    </p:animEffect>
                  </p:childTnLst>
                </p:cTn>
              </p:par>
            </p:tnLst>
          </p:tmpl>
          <p:tmpl lvl="4">
            <p:tnLst>
              <p:par>
                <p:cTn presetID="10" presetClass="entr" presetSubtype="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0"/>
                        </p:tgtEl>
                      </p:cBhvr>
                    </p:animEffect>
                  </p:childTnLst>
                </p:cTn>
              </p:par>
            </p:tnLst>
          </p:tmpl>
          <p:tmpl lvl="5">
            <p:tnLst>
              <p:par>
                <p:cTn presetID="10" presetClass="entr" presetSubtype="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1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1"/>
                        </p:tgtEl>
                      </p:cBhvr>
                    </p:animEffect>
                  </p:childTnLst>
                </p:cTn>
              </p:par>
            </p:tnLst>
          </p:tmpl>
          <p:tmpl lvl="2">
            <p:tnLst>
              <p:par>
                <p:cTn presetID="10" presetClass="entr" presetSubtype="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1"/>
                        </p:tgtEl>
                      </p:cBhvr>
                    </p:animEffect>
                  </p:childTnLst>
                </p:cTn>
              </p:par>
            </p:tnLst>
          </p:tmpl>
          <p:tmpl lvl="3">
            <p:tnLst>
              <p:par>
                <p:cTn presetID="10" presetClass="entr" presetSubtype="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1"/>
                        </p:tgtEl>
                      </p:cBhvr>
                    </p:animEffect>
                  </p:childTnLst>
                </p:cTn>
              </p:par>
            </p:tnLst>
          </p:tmpl>
          <p:tmpl lvl="4">
            <p:tnLst>
              <p:par>
                <p:cTn presetID="10" presetClass="entr" presetSubtype="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1"/>
                        </p:tgtEl>
                      </p:cBhvr>
                    </p:animEffect>
                  </p:childTnLst>
                </p:cTn>
              </p:par>
            </p:tnLst>
          </p:tmpl>
          <p:tmpl lvl="5">
            <p:tnLst>
              <p:par>
                <p:cTn presetID="10" presetClass="entr" presetSubtype="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2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2"/>
                        </p:tgtEl>
                      </p:cBhvr>
                    </p:animEffect>
                  </p:childTnLst>
                </p:cTn>
              </p:par>
            </p:tnLst>
          </p:tmpl>
          <p:tmpl lvl="2">
            <p:tnLst>
              <p:par>
                <p:cTn presetID="10" presetClass="entr" presetSubtype="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2"/>
                        </p:tgtEl>
                      </p:cBhvr>
                    </p:animEffect>
                  </p:childTnLst>
                </p:cTn>
              </p:par>
            </p:tnLst>
          </p:tmpl>
          <p:tmpl lvl="3">
            <p:tnLst>
              <p:par>
                <p:cTn presetID="10" presetClass="entr" presetSubtype="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2"/>
                        </p:tgtEl>
                      </p:cBhvr>
                    </p:animEffect>
                  </p:childTnLst>
                </p:cTn>
              </p:par>
            </p:tnLst>
          </p:tmpl>
          <p:tmpl lvl="4">
            <p:tnLst>
              <p:par>
                <p:cTn presetID="10" presetClass="entr" presetSubtype="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2"/>
                        </p:tgtEl>
                      </p:cBhvr>
                    </p:animEffect>
                  </p:childTnLst>
                </p:cTn>
              </p:par>
            </p:tnLst>
          </p:tmpl>
          <p:tmpl lvl="5">
            <p:tnLst>
              <p:par>
                <p:cTn presetID="10" presetClass="entr" presetSubtype="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2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5_Esquema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Imagem 1">
            <a:extLst>
              <a:ext uri="{FF2B5EF4-FFF2-40B4-BE49-F238E27FC236}">
                <a16:creationId xmlns:a16="http://schemas.microsoft.com/office/drawing/2014/main" id="{A527FAAE-1A73-4259-A805-D61D8E05FF8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 l="17054" t="63816" r="7887" b="6058"/>
          <a:stretch>
            <a:fillRect/>
          </a:stretch>
        </p:blipFill>
        <p:spPr>
          <a:xfrm flipH="1" flipV="1">
            <a:off x="-1611367" y="2406650"/>
            <a:ext cx="8653190" cy="4451350"/>
          </a:xfrm>
          <a:prstGeom prst="rect">
            <a:avLst/>
          </a:prstGeom>
        </p:spPr>
      </p:pic>
      <p:sp>
        <p:nvSpPr>
          <p:cNvPr id="6" name="Retângulo 5">
            <a:extLst>
              <a:ext uri="{FF2B5EF4-FFF2-40B4-BE49-F238E27FC236}">
                <a16:creationId xmlns:a16="http://schemas.microsoft.com/office/drawing/2014/main" id="{1C659AD2-F5FF-E8D2-533A-F11BED6A0858}"/>
              </a:ext>
            </a:extLst>
          </p:cNvPr>
          <p:cNvSpPr/>
          <p:nvPr userDrawn="1"/>
        </p:nvSpPr>
        <p:spPr>
          <a:xfrm>
            <a:off x="0" y="0"/>
            <a:ext cx="2009775" cy="6858000"/>
          </a:xfrm>
          <a:prstGeom prst="rect">
            <a:avLst/>
          </a:prstGeom>
          <a:solidFill>
            <a:srgbClr val="184BF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  <p:sp>
        <p:nvSpPr>
          <p:cNvPr id="8" name="Marcador de Posição da Imagem 7">
            <a:extLst>
              <a:ext uri="{FF2B5EF4-FFF2-40B4-BE49-F238E27FC236}">
                <a16:creationId xmlns:a16="http://schemas.microsoft.com/office/drawing/2014/main" id="{37B9EEA5-C3D1-D159-595F-A2A5B989C98D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827217" y="592931"/>
            <a:ext cx="4923329" cy="5672137"/>
          </a:xfrm>
          <a:custGeom>
            <a:avLst/>
            <a:gdLst>
              <a:gd name="connsiteX0" fmla="*/ 3961694 w 4923329"/>
              <a:gd name="connsiteY0" fmla="*/ 0 h 5672137"/>
              <a:gd name="connsiteX1" fmla="*/ 4398587 w 4923329"/>
              <a:gd name="connsiteY1" fmla="*/ 0 h 5672137"/>
              <a:gd name="connsiteX2" fmla="*/ 4398800 w 4923329"/>
              <a:gd name="connsiteY2" fmla="*/ 0 h 5672137"/>
              <a:gd name="connsiteX3" fmla="*/ 4912669 w 4923329"/>
              <a:gd name="connsiteY3" fmla="*/ 418775 h 5672137"/>
              <a:gd name="connsiteX4" fmla="*/ 4923325 w 4923329"/>
              <a:gd name="connsiteY4" fmla="*/ 524482 h 5672137"/>
              <a:gd name="connsiteX5" fmla="*/ 4923329 w 4923329"/>
              <a:gd name="connsiteY5" fmla="*/ 524482 h 5672137"/>
              <a:gd name="connsiteX6" fmla="*/ 4923329 w 4923329"/>
              <a:gd name="connsiteY6" fmla="*/ 524524 h 5672137"/>
              <a:gd name="connsiteX7" fmla="*/ 4923329 w 4923329"/>
              <a:gd name="connsiteY7" fmla="*/ 5672137 h 5672137"/>
              <a:gd name="connsiteX8" fmla="*/ 1 w 4923329"/>
              <a:gd name="connsiteY8" fmla="*/ 5672137 h 5672137"/>
              <a:gd name="connsiteX9" fmla="*/ 1 w 4923329"/>
              <a:gd name="connsiteY9" fmla="*/ 524482 h 5672137"/>
              <a:gd name="connsiteX10" fmla="*/ 1500663 w 4923329"/>
              <a:gd name="connsiteY10" fmla="*/ 524482 h 5672137"/>
              <a:gd name="connsiteX11" fmla="*/ 0 w 4923329"/>
              <a:gd name="connsiteY11" fmla="*/ 524459 h 5672137"/>
              <a:gd name="connsiteX12" fmla="*/ 0 w 4923329"/>
              <a:gd name="connsiteY12" fmla="*/ 2 h 5672137"/>
              <a:gd name="connsiteX13" fmla="*/ 3961673 w 4923329"/>
              <a:gd name="connsiteY13" fmla="*/ 63 h 56721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4923329" h="5672137">
                <a:moveTo>
                  <a:pt x="3961694" y="0"/>
                </a:moveTo>
                <a:lnTo>
                  <a:pt x="4398587" y="0"/>
                </a:lnTo>
                <a:lnTo>
                  <a:pt x="4398800" y="0"/>
                </a:lnTo>
                <a:cubicBezTo>
                  <a:pt x="4652208" y="0"/>
                  <a:pt x="4863744" y="179692"/>
                  <a:pt x="4912669" y="418775"/>
                </a:cubicBezTo>
                <a:lnTo>
                  <a:pt x="4923325" y="524482"/>
                </a:lnTo>
                <a:lnTo>
                  <a:pt x="4923329" y="524482"/>
                </a:lnTo>
                <a:lnTo>
                  <a:pt x="4923329" y="524524"/>
                </a:lnTo>
                <a:lnTo>
                  <a:pt x="4923329" y="5672137"/>
                </a:lnTo>
                <a:lnTo>
                  <a:pt x="1" y="5672137"/>
                </a:lnTo>
                <a:lnTo>
                  <a:pt x="1" y="524482"/>
                </a:lnTo>
                <a:lnTo>
                  <a:pt x="1500663" y="524482"/>
                </a:lnTo>
                <a:lnTo>
                  <a:pt x="0" y="524459"/>
                </a:lnTo>
                <a:lnTo>
                  <a:pt x="0" y="2"/>
                </a:lnTo>
                <a:lnTo>
                  <a:pt x="3961673" y="63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pt-PT"/>
          </a:p>
        </p:txBody>
      </p:sp>
      <p:sp>
        <p:nvSpPr>
          <p:cNvPr id="9" name="Título 6">
            <a:extLst>
              <a:ext uri="{FF2B5EF4-FFF2-40B4-BE49-F238E27FC236}">
                <a16:creationId xmlns:a16="http://schemas.microsoft.com/office/drawing/2014/main" id="{3501FF04-E4E4-15CE-DB82-201BE5C39B4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420" y="550508"/>
            <a:ext cx="5713445" cy="712204"/>
          </a:xfrm>
        </p:spPr>
        <p:txBody>
          <a:bodyPr>
            <a:normAutofit/>
          </a:bodyPr>
          <a:lstStyle>
            <a:lvl1pPr>
              <a:defRPr sz="3200"/>
            </a:lvl1pPr>
          </a:lstStyle>
          <a:p>
            <a:r>
              <a:rPr lang="pt-PT" dirty="0"/>
              <a:t>Insertar título de la slide</a:t>
            </a:r>
          </a:p>
        </p:txBody>
      </p:sp>
      <p:sp>
        <p:nvSpPr>
          <p:cNvPr id="10" name="Marcador de Posição do Texto 8">
            <a:extLst>
              <a:ext uri="{FF2B5EF4-FFF2-40B4-BE49-F238E27FC236}">
                <a16:creationId xmlns:a16="http://schemas.microsoft.com/office/drawing/2014/main" id="{872EABE2-EAA3-F073-2A31-C87CC8A7AC9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096000" y="1156317"/>
            <a:ext cx="5713876" cy="355243"/>
          </a:xfrm>
        </p:spPr>
        <p:txBody>
          <a:bodyPr>
            <a:normAutofit/>
          </a:bodyPr>
          <a:lstStyle>
            <a:lvl1pPr>
              <a:defRPr sz="200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pt-PT" dirty="0"/>
              <a:t>Insertar subtítulo de la slide</a:t>
            </a:r>
          </a:p>
        </p:txBody>
      </p:sp>
      <p:sp>
        <p:nvSpPr>
          <p:cNvPr id="11" name="Marcador de Posição do Texto 8">
            <a:extLst>
              <a:ext uri="{FF2B5EF4-FFF2-40B4-BE49-F238E27FC236}">
                <a16:creationId xmlns:a16="http://schemas.microsoft.com/office/drawing/2014/main" id="{33955769-A8F7-D3E3-9EB2-7C48F860BDE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096000" y="2028179"/>
            <a:ext cx="2105314" cy="1010432"/>
          </a:xfrm>
        </p:spPr>
        <p:txBody>
          <a:bodyPr anchor="ctr">
            <a:noAutofit/>
          </a:bodyPr>
          <a:lstStyle>
            <a:lvl1pPr algn="l">
              <a:defRPr sz="6000">
                <a:solidFill>
                  <a:srgbClr val="132153"/>
                </a:solidFill>
                <a:latin typeface="+mj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pt-PT" dirty="0"/>
              <a:t>NR</a:t>
            </a:r>
          </a:p>
        </p:txBody>
      </p:sp>
      <p:sp>
        <p:nvSpPr>
          <p:cNvPr id="12" name="Marcador de Posição do Texto 10">
            <a:extLst>
              <a:ext uri="{FF2B5EF4-FFF2-40B4-BE49-F238E27FC236}">
                <a16:creationId xmlns:a16="http://schemas.microsoft.com/office/drawing/2014/main" id="{9C91E966-8E4C-A328-675D-21312C99B5D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96000" y="2901791"/>
            <a:ext cx="2535237" cy="1373733"/>
          </a:xfrm>
        </p:spPr>
        <p:txBody>
          <a:bodyPr>
            <a:noAutofit/>
          </a:bodyPr>
          <a:lstStyle>
            <a:lvl1pPr>
              <a:defRPr sz="1200"/>
            </a:lvl1pPr>
            <a:lvl2pPr>
              <a:defRPr sz="10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s-ES" dirty="0"/>
              <a:t>Haz </a:t>
            </a:r>
            <a:r>
              <a:rPr lang="es-ES" dirty="0" err="1"/>
              <a:t>click</a:t>
            </a:r>
            <a:r>
              <a:rPr lang="es-ES" dirty="0"/>
              <a:t> para editar los estilos del texto del modelo</a:t>
            </a:r>
            <a:endParaRPr lang="pt-PT" dirty="0"/>
          </a:p>
          <a:p>
            <a:pPr lvl="1"/>
            <a:r>
              <a:rPr lang="es-ES" dirty="0"/>
              <a:t>Segundo nivel</a:t>
            </a:r>
          </a:p>
          <a:p>
            <a:pPr lvl="1"/>
            <a:r>
              <a:rPr lang="es-ES" dirty="0"/>
              <a:t>Tercer nivel</a:t>
            </a:r>
          </a:p>
          <a:p>
            <a:pPr lvl="1"/>
            <a:r>
              <a:rPr lang="es-ES" dirty="0"/>
              <a:t>Cuarto nivel</a:t>
            </a:r>
          </a:p>
          <a:p>
            <a:pPr lvl="1"/>
            <a:r>
              <a:rPr lang="es-ES" dirty="0"/>
              <a:t>Quinto nivel</a:t>
            </a:r>
          </a:p>
        </p:txBody>
      </p:sp>
      <p:sp>
        <p:nvSpPr>
          <p:cNvPr id="13" name="Marcador de Posição do Texto 8">
            <a:extLst>
              <a:ext uri="{FF2B5EF4-FFF2-40B4-BE49-F238E27FC236}">
                <a16:creationId xmlns:a16="http://schemas.microsoft.com/office/drawing/2014/main" id="{C7E2F75B-EEA8-4D68-F298-759B6C52FD0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096000" y="4269184"/>
            <a:ext cx="2105314" cy="1010432"/>
          </a:xfrm>
        </p:spPr>
        <p:txBody>
          <a:bodyPr anchor="ctr">
            <a:noAutofit/>
          </a:bodyPr>
          <a:lstStyle>
            <a:lvl1pPr algn="l">
              <a:defRPr sz="6000">
                <a:solidFill>
                  <a:srgbClr val="132153"/>
                </a:solidFill>
                <a:latin typeface="+mj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pt-PT" dirty="0"/>
              <a:t>NR</a:t>
            </a:r>
          </a:p>
        </p:txBody>
      </p:sp>
      <p:sp>
        <p:nvSpPr>
          <p:cNvPr id="14" name="Marcador de Posição do Texto 10">
            <a:extLst>
              <a:ext uri="{FF2B5EF4-FFF2-40B4-BE49-F238E27FC236}">
                <a16:creationId xmlns:a16="http://schemas.microsoft.com/office/drawing/2014/main" id="{B1E5AE8B-93D7-E65C-8E33-C06C90DFE119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096000" y="5142796"/>
            <a:ext cx="2535237" cy="1373733"/>
          </a:xfrm>
        </p:spPr>
        <p:txBody>
          <a:bodyPr>
            <a:noAutofit/>
          </a:bodyPr>
          <a:lstStyle>
            <a:lvl1pPr>
              <a:defRPr sz="1200"/>
            </a:lvl1pPr>
            <a:lvl2pPr>
              <a:defRPr sz="1000"/>
            </a:lvl2pPr>
            <a:lvl3pPr>
              <a:defRPr sz="14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s-ES" dirty="0"/>
              <a:t>Haz </a:t>
            </a:r>
            <a:r>
              <a:rPr lang="es-ES" dirty="0" err="1"/>
              <a:t>click</a:t>
            </a:r>
            <a:r>
              <a:rPr lang="es-ES" dirty="0"/>
              <a:t> para editar los estilos del texto del modelo</a:t>
            </a:r>
            <a:endParaRPr lang="pt-PT" dirty="0"/>
          </a:p>
          <a:p>
            <a:pPr lvl="1"/>
            <a:r>
              <a:rPr lang="es-ES" dirty="0"/>
              <a:t>Segundo nivel</a:t>
            </a:r>
          </a:p>
          <a:p>
            <a:pPr lvl="1"/>
            <a:r>
              <a:rPr lang="es-ES" dirty="0"/>
              <a:t>Tercer nivel</a:t>
            </a:r>
          </a:p>
          <a:p>
            <a:pPr lvl="1"/>
            <a:r>
              <a:rPr lang="es-ES" dirty="0"/>
              <a:t>Cuarto nivel</a:t>
            </a:r>
          </a:p>
          <a:p>
            <a:pPr lvl="1"/>
            <a:r>
              <a:rPr lang="es-ES" dirty="0"/>
              <a:t>Quinto nivel</a:t>
            </a:r>
          </a:p>
          <a:p>
            <a:pPr lvl="4"/>
            <a:endParaRPr lang="pt-PT" dirty="0"/>
          </a:p>
        </p:txBody>
      </p:sp>
      <p:sp>
        <p:nvSpPr>
          <p:cNvPr id="15" name="Marcador de Posição do Texto 8">
            <a:extLst>
              <a:ext uri="{FF2B5EF4-FFF2-40B4-BE49-F238E27FC236}">
                <a16:creationId xmlns:a16="http://schemas.microsoft.com/office/drawing/2014/main" id="{97579C32-1427-4B13-901D-231CF2EAB11E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274628" y="2028179"/>
            <a:ext cx="2105314" cy="1010432"/>
          </a:xfrm>
        </p:spPr>
        <p:txBody>
          <a:bodyPr anchor="ctr">
            <a:noAutofit/>
          </a:bodyPr>
          <a:lstStyle>
            <a:lvl1pPr algn="l">
              <a:defRPr sz="6000">
                <a:solidFill>
                  <a:srgbClr val="132153"/>
                </a:solidFill>
                <a:latin typeface="+mj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pt-PT" dirty="0"/>
              <a:t>NR</a:t>
            </a:r>
          </a:p>
        </p:txBody>
      </p:sp>
      <p:sp>
        <p:nvSpPr>
          <p:cNvPr id="16" name="Marcador de Posição do Texto 10">
            <a:extLst>
              <a:ext uri="{FF2B5EF4-FFF2-40B4-BE49-F238E27FC236}">
                <a16:creationId xmlns:a16="http://schemas.microsoft.com/office/drawing/2014/main" id="{9542D2AF-C6F0-06E1-A89B-F8692F3087A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9274628" y="2901791"/>
            <a:ext cx="2535237" cy="1373733"/>
          </a:xfrm>
        </p:spPr>
        <p:txBody>
          <a:bodyPr>
            <a:noAutofit/>
          </a:bodyPr>
          <a:lstStyle>
            <a:lvl1pPr>
              <a:defRPr sz="1200"/>
            </a:lvl1pPr>
            <a:lvl2pPr>
              <a:defRPr sz="1000"/>
            </a:lvl2pPr>
            <a:lvl3pPr>
              <a:defRPr sz="14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s-ES" dirty="0"/>
              <a:t>Haz </a:t>
            </a:r>
            <a:r>
              <a:rPr lang="es-ES" dirty="0" err="1"/>
              <a:t>click</a:t>
            </a:r>
            <a:r>
              <a:rPr lang="es-ES" dirty="0"/>
              <a:t> para editar los estilos del texto del modelo</a:t>
            </a:r>
            <a:endParaRPr lang="pt-PT" dirty="0"/>
          </a:p>
          <a:p>
            <a:pPr lvl="1"/>
            <a:r>
              <a:rPr lang="es-ES" dirty="0"/>
              <a:t>Segundo nivel</a:t>
            </a:r>
          </a:p>
          <a:p>
            <a:pPr lvl="1"/>
            <a:r>
              <a:rPr lang="es-ES" dirty="0"/>
              <a:t>Tercer nivel</a:t>
            </a:r>
          </a:p>
          <a:p>
            <a:pPr lvl="1"/>
            <a:r>
              <a:rPr lang="es-ES" dirty="0"/>
              <a:t>Cuarto nivel</a:t>
            </a:r>
          </a:p>
          <a:p>
            <a:pPr lvl="1"/>
            <a:r>
              <a:rPr lang="es-ES" dirty="0"/>
              <a:t>Quinto nivel</a:t>
            </a:r>
          </a:p>
          <a:p>
            <a:pPr lvl="4"/>
            <a:endParaRPr lang="pt-PT" dirty="0"/>
          </a:p>
        </p:txBody>
      </p:sp>
      <p:sp>
        <p:nvSpPr>
          <p:cNvPr id="17" name="Marcador de Posição do Texto 8">
            <a:extLst>
              <a:ext uri="{FF2B5EF4-FFF2-40B4-BE49-F238E27FC236}">
                <a16:creationId xmlns:a16="http://schemas.microsoft.com/office/drawing/2014/main" id="{A5E2936D-6975-84F4-3A2F-CCCFFC35A3E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274628" y="4269184"/>
            <a:ext cx="2105314" cy="1010432"/>
          </a:xfrm>
        </p:spPr>
        <p:txBody>
          <a:bodyPr anchor="ctr">
            <a:noAutofit/>
          </a:bodyPr>
          <a:lstStyle>
            <a:lvl1pPr algn="l">
              <a:defRPr sz="6000">
                <a:solidFill>
                  <a:srgbClr val="132153"/>
                </a:solidFill>
                <a:latin typeface="+mj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pt-PT" dirty="0"/>
              <a:t>NR</a:t>
            </a:r>
          </a:p>
        </p:txBody>
      </p:sp>
      <p:sp>
        <p:nvSpPr>
          <p:cNvPr id="18" name="Marcador de Posição do Texto 10">
            <a:extLst>
              <a:ext uri="{FF2B5EF4-FFF2-40B4-BE49-F238E27FC236}">
                <a16:creationId xmlns:a16="http://schemas.microsoft.com/office/drawing/2014/main" id="{7001C9D8-9212-9F37-1CE3-5A7E1F8F4910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274628" y="5142796"/>
            <a:ext cx="2535237" cy="1373733"/>
          </a:xfrm>
        </p:spPr>
        <p:txBody>
          <a:bodyPr>
            <a:noAutofit/>
          </a:bodyPr>
          <a:lstStyle>
            <a:lvl1pPr>
              <a:defRPr sz="1200"/>
            </a:lvl1pPr>
            <a:lvl2pPr>
              <a:defRPr sz="1000"/>
            </a:lvl2pPr>
            <a:lvl3pPr>
              <a:defRPr sz="14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s-ES" dirty="0"/>
              <a:t>Haz </a:t>
            </a:r>
            <a:r>
              <a:rPr lang="es-ES" dirty="0" err="1"/>
              <a:t>click</a:t>
            </a:r>
            <a:r>
              <a:rPr lang="es-ES" dirty="0"/>
              <a:t> para editar los estilos del texto del modelo</a:t>
            </a:r>
            <a:endParaRPr lang="pt-PT" dirty="0"/>
          </a:p>
          <a:p>
            <a:pPr lvl="1"/>
            <a:r>
              <a:rPr lang="es-ES" dirty="0"/>
              <a:t>Segundo nivel</a:t>
            </a:r>
          </a:p>
          <a:p>
            <a:pPr lvl="1"/>
            <a:r>
              <a:rPr lang="es-ES" dirty="0"/>
              <a:t>Tercer nivel</a:t>
            </a:r>
          </a:p>
          <a:p>
            <a:pPr lvl="1"/>
            <a:r>
              <a:rPr lang="es-ES" dirty="0"/>
              <a:t>Cuarto nivel</a:t>
            </a:r>
          </a:p>
          <a:p>
            <a:pPr lvl="1"/>
            <a:r>
              <a:rPr lang="es-ES" dirty="0"/>
              <a:t>Quinto nivel</a:t>
            </a:r>
          </a:p>
          <a:p>
            <a:pPr lvl="4"/>
            <a:endParaRPr lang="pt-PT" dirty="0"/>
          </a:p>
        </p:txBody>
      </p:sp>
      <p:sp>
        <p:nvSpPr>
          <p:cNvPr id="19" name="Marcador de Posição do Rodapé 4">
            <a:extLst>
              <a:ext uri="{FF2B5EF4-FFF2-40B4-BE49-F238E27FC236}">
                <a16:creationId xmlns:a16="http://schemas.microsoft.com/office/drawing/2014/main" id="{613B9714-0731-4970-AB1D-A2496173414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12762" y="6356350"/>
            <a:ext cx="534669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bg1"/>
                </a:solidFill>
              </a:defRPr>
            </a:lvl1pPr>
          </a:lstStyle>
          <a:p>
            <a:r>
              <a:rPr lang="pt-PT"/>
              <a:t>Título de la presentación</a:t>
            </a:r>
            <a:endParaRPr lang="pt-PT" dirty="0"/>
          </a:p>
        </p:txBody>
      </p:sp>
      <p:sp>
        <p:nvSpPr>
          <p:cNvPr id="21" name="Marcador de Posição do Número do Diapositivo 5">
            <a:extLst>
              <a:ext uri="{FF2B5EF4-FFF2-40B4-BE49-F238E27FC236}">
                <a16:creationId xmlns:a16="http://schemas.microsoft.com/office/drawing/2014/main" id="{5E015D51-EF26-40D9-9B9E-AE08EE72EC1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936039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accent2"/>
                </a:solidFill>
              </a:defRPr>
            </a:lvl1pPr>
          </a:lstStyle>
          <a:p>
            <a:fld id="{24A347C2-D68E-473A-8C76-1D063E4EB6E0}" type="slidenum">
              <a:rPr lang="es-ES" smtClean="0"/>
              <a:pPr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78918848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decel="100000" fill="hold" grpId="0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5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25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1666 -0.00046 L 3.75E-6 1.85185E-6 " pathEditMode="relative" rAng="0" ptsTypes="AA">
                                      <p:cBhvr>
                                        <p:cTn id="13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83300" y="2300"/>
                                    </p:animMotion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25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1666 -0.00046 L 3.75E-6 1.85185E-6 " pathEditMode="relative" rAng="0" ptsTypes="AA">
                                      <p:cBhvr>
                                        <p:cTn id="18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83300" y="2300"/>
                                    </p:animMotion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1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1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1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500"/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6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8" dur="500"/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9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1" dur="500"/>
                                        <p:tgtEl>
                                          <p:spTgt spid="1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  <p:bldP spid="9" grpId="0"/>
      <p:bldP spid="9" grpId="1"/>
      <p:bldP spid="10" grpId="0">
        <p:tmplLst>
          <p:tmpl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250"/>
                        <p:tgtEl>
                          <p:spTgt spid="1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0" grpId="1"/>
      <p:bldP spid="11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2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2"/>
                        </p:tgtEl>
                      </p:cBhvr>
                    </p:animEffect>
                  </p:childTnLst>
                </p:cTn>
              </p:par>
            </p:tnLst>
          </p:tmpl>
          <p:tmpl lvl="2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2"/>
                        </p:tgtEl>
                      </p:cBhvr>
                    </p:animEffect>
                  </p:childTnLst>
                </p:cTn>
              </p:par>
            </p:tnLst>
          </p:tmpl>
          <p:tmpl lvl="3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2"/>
                        </p:tgtEl>
                      </p:cBhvr>
                    </p:animEffect>
                  </p:childTnLst>
                </p:cTn>
              </p:par>
            </p:tnLst>
          </p:tmpl>
          <p:tmpl lvl="4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2"/>
                        </p:tgtEl>
                      </p:cBhvr>
                    </p:animEffect>
                  </p:childTnLst>
                </p:cTn>
              </p:par>
            </p:tnLst>
          </p:tmpl>
          <p:tmpl lvl="5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3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4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4"/>
                        </p:tgtEl>
                      </p:cBhvr>
                    </p:animEffect>
                  </p:childTnLst>
                </p:cTn>
              </p:par>
            </p:tnLst>
          </p:tmpl>
          <p:tmpl lvl="2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4"/>
                        </p:tgtEl>
                      </p:cBhvr>
                    </p:animEffect>
                  </p:childTnLst>
                </p:cTn>
              </p:par>
            </p:tnLst>
          </p:tmpl>
          <p:tmpl lvl="3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4"/>
                        </p:tgtEl>
                      </p:cBhvr>
                    </p:animEffect>
                  </p:childTnLst>
                </p:cTn>
              </p:par>
            </p:tnLst>
          </p:tmpl>
          <p:tmpl lvl="4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4"/>
                        </p:tgtEl>
                      </p:cBhvr>
                    </p:animEffect>
                  </p:childTnLst>
                </p:cTn>
              </p:par>
            </p:tnLst>
          </p:tmpl>
          <p:tmpl lvl="5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5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6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6"/>
                        </p:tgtEl>
                      </p:cBhvr>
                    </p:animEffect>
                  </p:childTnLst>
                </p:cTn>
              </p:par>
            </p:tnLst>
          </p:tmpl>
          <p:tmpl lvl="2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6"/>
                        </p:tgtEl>
                      </p:cBhvr>
                    </p:animEffect>
                  </p:childTnLst>
                </p:cTn>
              </p:par>
            </p:tnLst>
          </p:tmpl>
          <p:tmpl lvl="3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6"/>
                        </p:tgtEl>
                      </p:cBhvr>
                    </p:animEffect>
                  </p:childTnLst>
                </p:cTn>
              </p:par>
            </p:tnLst>
          </p:tmpl>
          <p:tmpl lvl="4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6"/>
                        </p:tgtEl>
                      </p:cBhvr>
                    </p:animEffect>
                  </p:childTnLst>
                </p:cTn>
              </p:par>
            </p:tnLst>
          </p:tmpl>
          <p:tmpl lvl="5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7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8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8"/>
                        </p:tgtEl>
                      </p:cBhvr>
                    </p:animEffect>
                  </p:childTnLst>
                </p:cTn>
              </p:par>
            </p:tnLst>
          </p:tmpl>
          <p:tmpl lvl="2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8"/>
                        </p:tgtEl>
                      </p:cBhvr>
                    </p:animEffect>
                  </p:childTnLst>
                </p:cTn>
              </p:par>
            </p:tnLst>
          </p:tmpl>
          <p:tmpl lvl="3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8"/>
                        </p:tgtEl>
                      </p:cBhvr>
                    </p:animEffect>
                  </p:childTnLst>
                </p:cTn>
              </p:par>
            </p:tnLst>
          </p:tmpl>
          <p:tmpl lvl="4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8"/>
                        </p:tgtEl>
                      </p:cBhvr>
                    </p:animEffect>
                  </p:childTnLst>
                </p:cTn>
              </p:par>
            </p:tnLst>
          </p:tmpl>
          <p:tmpl lvl="5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8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6_Esquema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Imagem 15">
            <a:extLst>
              <a:ext uri="{FF2B5EF4-FFF2-40B4-BE49-F238E27FC236}">
                <a16:creationId xmlns:a16="http://schemas.microsoft.com/office/drawing/2014/main" id="{3E78B229-0B69-5213-8414-5C6D34A84A2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 l="13888" t="61466" r="16313" b="12636"/>
          <a:stretch>
            <a:fillRect/>
          </a:stretch>
        </p:blipFill>
        <p:spPr>
          <a:xfrm>
            <a:off x="5612266" y="0"/>
            <a:ext cx="5885263" cy="2183575"/>
          </a:xfrm>
          <a:prstGeom prst="rect">
            <a:avLst/>
          </a:prstGeom>
        </p:spPr>
      </p:pic>
      <p:sp>
        <p:nvSpPr>
          <p:cNvPr id="6" name="Retângulo 5">
            <a:extLst>
              <a:ext uri="{FF2B5EF4-FFF2-40B4-BE49-F238E27FC236}">
                <a16:creationId xmlns:a16="http://schemas.microsoft.com/office/drawing/2014/main" id="{D9553A02-9E78-E6A4-EE17-9E617085106D}"/>
              </a:ext>
            </a:extLst>
          </p:cNvPr>
          <p:cNvSpPr/>
          <p:nvPr userDrawn="1"/>
        </p:nvSpPr>
        <p:spPr>
          <a:xfrm>
            <a:off x="0" y="0"/>
            <a:ext cx="5239657" cy="6858000"/>
          </a:xfrm>
          <a:prstGeom prst="rect">
            <a:avLst/>
          </a:prstGeom>
          <a:solidFill>
            <a:srgbClr val="184BF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dirty="0"/>
          </a:p>
        </p:txBody>
      </p:sp>
      <p:sp>
        <p:nvSpPr>
          <p:cNvPr id="7" name="Título 6">
            <a:extLst>
              <a:ext uri="{FF2B5EF4-FFF2-40B4-BE49-F238E27FC236}">
                <a16:creationId xmlns:a16="http://schemas.microsoft.com/office/drawing/2014/main" id="{BA5820D8-9388-7715-19F7-0C091E33815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03470" y="1247194"/>
            <a:ext cx="3754015" cy="712204"/>
          </a:xfrm>
        </p:spPr>
        <p:txBody>
          <a:bodyPr anchor="b">
            <a:norm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pt-PT" dirty="0"/>
              <a:t>Insertar título de la slide</a:t>
            </a:r>
          </a:p>
        </p:txBody>
      </p:sp>
      <p:sp>
        <p:nvSpPr>
          <p:cNvPr id="8" name="Marcador de Posição do Texto 8">
            <a:extLst>
              <a:ext uri="{FF2B5EF4-FFF2-40B4-BE49-F238E27FC236}">
                <a16:creationId xmlns:a16="http://schemas.microsoft.com/office/drawing/2014/main" id="{A74180E6-F88D-9DF6-0AF4-29F01580BB4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03050" y="2046482"/>
            <a:ext cx="3754298" cy="355243"/>
          </a:xfrm>
        </p:spPr>
        <p:txBody>
          <a:bodyPr>
            <a:noAutofit/>
          </a:bodyPr>
          <a:lstStyle>
            <a:lvl1pPr>
              <a:defRPr sz="2400">
                <a:solidFill>
                  <a:schemeClr val="bg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pt-PT" dirty="0"/>
              <a:t>Insertar subtítulo de la slide</a:t>
            </a:r>
          </a:p>
        </p:txBody>
      </p:sp>
      <p:sp>
        <p:nvSpPr>
          <p:cNvPr id="9" name="Marcador de Posição do Texto 10">
            <a:extLst>
              <a:ext uri="{FF2B5EF4-FFF2-40B4-BE49-F238E27FC236}">
                <a16:creationId xmlns:a16="http://schemas.microsoft.com/office/drawing/2014/main" id="{B91185C7-910F-57C5-7A98-1CD7314FE0A8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03050" y="3206592"/>
            <a:ext cx="3754436" cy="3078094"/>
          </a:xfrm>
        </p:spPr>
        <p:txBody>
          <a:bodyPr>
            <a:noAutofit/>
          </a:bodyPr>
          <a:lstStyle>
            <a:lvl1pPr>
              <a:defRPr sz="1800">
                <a:solidFill>
                  <a:schemeClr val="bg1"/>
                </a:solidFill>
              </a:defRPr>
            </a:lvl1pPr>
            <a:lvl2pPr>
              <a:defRPr sz="1800">
                <a:solidFill>
                  <a:schemeClr val="bg1"/>
                </a:solidFill>
              </a:defRPr>
            </a:lvl2pPr>
            <a:lvl3pPr>
              <a:defRPr sz="1800">
                <a:solidFill>
                  <a:schemeClr val="bg1"/>
                </a:solidFill>
              </a:defRPr>
            </a:lvl3pPr>
            <a:lvl4pPr>
              <a:defRPr sz="1800">
                <a:solidFill>
                  <a:schemeClr val="bg1"/>
                </a:solidFill>
              </a:defRPr>
            </a:lvl4pPr>
            <a:lvl5pPr>
              <a:defRPr sz="1800">
                <a:solidFill>
                  <a:schemeClr val="bg1"/>
                </a:solidFill>
              </a:defRPr>
            </a:lvl5pPr>
          </a:lstStyle>
          <a:p>
            <a:pPr lvl="0"/>
            <a:r>
              <a:rPr lang="es-ES" dirty="0"/>
              <a:t>Haz </a:t>
            </a:r>
            <a:r>
              <a:rPr lang="es-ES" dirty="0" err="1"/>
              <a:t>click</a:t>
            </a:r>
            <a:r>
              <a:rPr lang="es-ES" dirty="0"/>
              <a:t> para editar los estilos del texto del modelo</a:t>
            </a:r>
            <a:endParaRPr lang="pt-PT" dirty="0"/>
          </a:p>
          <a:p>
            <a:pPr lvl="1"/>
            <a:r>
              <a:rPr lang="es-ES" dirty="0"/>
              <a:t>Segundo nivel</a:t>
            </a:r>
          </a:p>
          <a:p>
            <a:pPr lvl="1"/>
            <a:r>
              <a:rPr lang="es-ES" dirty="0"/>
              <a:t>Tercer nivel</a:t>
            </a:r>
          </a:p>
          <a:p>
            <a:pPr lvl="1"/>
            <a:r>
              <a:rPr lang="es-ES" dirty="0"/>
              <a:t>Cuarto nivel</a:t>
            </a:r>
          </a:p>
          <a:p>
            <a:pPr lvl="1"/>
            <a:r>
              <a:rPr lang="es-ES" dirty="0"/>
              <a:t>Quinto nivel</a:t>
            </a:r>
          </a:p>
        </p:txBody>
      </p:sp>
      <p:sp>
        <p:nvSpPr>
          <p:cNvPr id="10" name="Marcador de Posição do Texto 10">
            <a:extLst>
              <a:ext uri="{FF2B5EF4-FFF2-40B4-BE49-F238E27FC236}">
                <a16:creationId xmlns:a16="http://schemas.microsoft.com/office/drawing/2014/main" id="{E225FF4B-6D81-8FA8-F1F1-45B7D468C35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579735" y="1027993"/>
            <a:ext cx="4808795" cy="867017"/>
          </a:xfrm>
        </p:spPr>
        <p:txBody>
          <a:bodyPr>
            <a:no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s-ES" dirty="0"/>
              <a:t>Haz </a:t>
            </a:r>
            <a:r>
              <a:rPr lang="es-ES" dirty="0" err="1"/>
              <a:t>click</a:t>
            </a:r>
            <a:r>
              <a:rPr lang="es-ES" dirty="0"/>
              <a:t> para editar los estilos del texto del modelo</a:t>
            </a:r>
            <a:endParaRPr lang="pt-PT" dirty="0"/>
          </a:p>
          <a:p>
            <a:pPr lvl="1"/>
            <a:r>
              <a:rPr lang="es-ES" dirty="0"/>
              <a:t>Segundo nivel</a:t>
            </a:r>
          </a:p>
          <a:p>
            <a:pPr lvl="1"/>
            <a:r>
              <a:rPr lang="es-ES" dirty="0"/>
              <a:t>Tercer nivel</a:t>
            </a:r>
          </a:p>
          <a:p>
            <a:pPr lvl="1"/>
            <a:r>
              <a:rPr lang="es-ES" dirty="0"/>
              <a:t>Cuarto nivel</a:t>
            </a:r>
          </a:p>
          <a:p>
            <a:pPr lvl="1"/>
            <a:r>
              <a:rPr lang="es-ES" dirty="0"/>
              <a:t>Quinto nivel</a:t>
            </a:r>
            <a:endParaRPr lang="pt-PT" dirty="0"/>
          </a:p>
        </p:txBody>
      </p:sp>
      <p:sp>
        <p:nvSpPr>
          <p:cNvPr id="11" name="Marcador de Posição do Texto 10">
            <a:extLst>
              <a:ext uri="{FF2B5EF4-FFF2-40B4-BE49-F238E27FC236}">
                <a16:creationId xmlns:a16="http://schemas.microsoft.com/office/drawing/2014/main" id="{36BF58BF-4120-4013-0264-5947C52946F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579735" y="2049899"/>
            <a:ext cx="4808795" cy="867017"/>
          </a:xfrm>
        </p:spPr>
        <p:txBody>
          <a:bodyPr>
            <a:no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s-ES" dirty="0"/>
              <a:t>Haz </a:t>
            </a:r>
            <a:r>
              <a:rPr lang="es-ES" dirty="0" err="1"/>
              <a:t>click</a:t>
            </a:r>
            <a:r>
              <a:rPr lang="es-ES" dirty="0"/>
              <a:t> para editar los estilos del texto del modelo</a:t>
            </a:r>
            <a:endParaRPr lang="pt-PT" dirty="0"/>
          </a:p>
          <a:p>
            <a:pPr lvl="1"/>
            <a:r>
              <a:rPr lang="es-ES" dirty="0"/>
              <a:t>Segundo nivel</a:t>
            </a:r>
          </a:p>
          <a:p>
            <a:pPr lvl="1"/>
            <a:r>
              <a:rPr lang="es-ES" dirty="0"/>
              <a:t>Tercer nivel</a:t>
            </a:r>
          </a:p>
          <a:p>
            <a:pPr lvl="1"/>
            <a:r>
              <a:rPr lang="es-ES" dirty="0"/>
              <a:t>Cuarto nivel</a:t>
            </a:r>
          </a:p>
          <a:p>
            <a:pPr lvl="1"/>
            <a:r>
              <a:rPr lang="es-ES" dirty="0"/>
              <a:t>Quinto nivel</a:t>
            </a:r>
            <a:endParaRPr lang="pt-PT" dirty="0"/>
          </a:p>
          <a:p>
            <a:pPr lvl="4"/>
            <a:endParaRPr lang="pt-PT" dirty="0"/>
          </a:p>
        </p:txBody>
      </p:sp>
      <p:sp>
        <p:nvSpPr>
          <p:cNvPr id="12" name="Marcador de Posição do Texto 10">
            <a:extLst>
              <a:ext uri="{FF2B5EF4-FFF2-40B4-BE49-F238E27FC236}">
                <a16:creationId xmlns:a16="http://schemas.microsoft.com/office/drawing/2014/main" id="{362087A2-557D-29E1-68DA-63818382DBD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579735" y="3092211"/>
            <a:ext cx="4808795" cy="867017"/>
          </a:xfrm>
        </p:spPr>
        <p:txBody>
          <a:bodyPr>
            <a:no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s-ES" dirty="0"/>
              <a:t>Haz </a:t>
            </a:r>
            <a:r>
              <a:rPr lang="es-ES" dirty="0" err="1"/>
              <a:t>click</a:t>
            </a:r>
            <a:r>
              <a:rPr lang="es-ES" dirty="0"/>
              <a:t> para editar los estilos del texto del modelo</a:t>
            </a:r>
            <a:endParaRPr lang="pt-PT" dirty="0"/>
          </a:p>
          <a:p>
            <a:pPr lvl="1"/>
            <a:r>
              <a:rPr lang="es-ES" dirty="0"/>
              <a:t>Segundo nivel</a:t>
            </a:r>
          </a:p>
          <a:p>
            <a:pPr lvl="1"/>
            <a:r>
              <a:rPr lang="es-ES" dirty="0"/>
              <a:t>Tercer nivel</a:t>
            </a:r>
          </a:p>
          <a:p>
            <a:pPr lvl="1"/>
            <a:r>
              <a:rPr lang="es-ES" dirty="0"/>
              <a:t>Cuarto nivel</a:t>
            </a:r>
          </a:p>
          <a:p>
            <a:pPr lvl="1"/>
            <a:r>
              <a:rPr lang="es-ES" dirty="0"/>
              <a:t>Quinto nivel</a:t>
            </a:r>
            <a:endParaRPr lang="pt-PT" dirty="0"/>
          </a:p>
          <a:p>
            <a:pPr lvl="4"/>
            <a:endParaRPr lang="pt-PT" dirty="0"/>
          </a:p>
        </p:txBody>
      </p:sp>
      <p:sp>
        <p:nvSpPr>
          <p:cNvPr id="13" name="Marcador de Posição do Texto 10">
            <a:extLst>
              <a:ext uri="{FF2B5EF4-FFF2-40B4-BE49-F238E27FC236}">
                <a16:creationId xmlns:a16="http://schemas.microsoft.com/office/drawing/2014/main" id="{C209FD79-AC73-640E-2C54-8AB6691F5E8B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579735" y="4134523"/>
            <a:ext cx="4808795" cy="867017"/>
          </a:xfrm>
        </p:spPr>
        <p:txBody>
          <a:bodyPr>
            <a:no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s-ES" dirty="0"/>
              <a:t>Haz </a:t>
            </a:r>
            <a:r>
              <a:rPr lang="es-ES" dirty="0" err="1"/>
              <a:t>click</a:t>
            </a:r>
            <a:r>
              <a:rPr lang="es-ES" dirty="0"/>
              <a:t> para editar los estilos del texto del modelo</a:t>
            </a:r>
            <a:endParaRPr lang="pt-PT" dirty="0"/>
          </a:p>
          <a:p>
            <a:pPr lvl="1"/>
            <a:r>
              <a:rPr lang="es-ES" dirty="0"/>
              <a:t>Segundo nivel</a:t>
            </a:r>
          </a:p>
          <a:p>
            <a:pPr lvl="1"/>
            <a:r>
              <a:rPr lang="es-ES" dirty="0"/>
              <a:t>Tercer nivel</a:t>
            </a:r>
          </a:p>
          <a:p>
            <a:pPr lvl="1"/>
            <a:r>
              <a:rPr lang="es-ES" dirty="0"/>
              <a:t>Cuarto nivel</a:t>
            </a:r>
          </a:p>
          <a:p>
            <a:pPr lvl="1"/>
            <a:r>
              <a:rPr lang="es-ES" dirty="0"/>
              <a:t>Quinto nivel</a:t>
            </a:r>
            <a:endParaRPr lang="pt-PT" dirty="0"/>
          </a:p>
          <a:p>
            <a:pPr lvl="4"/>
            <a:endParaRPr lang="pt-PT" dirty="0"/>
          </a:p>
        </p:txBody>
      </p:sp>
      <p:sp>
        <p:nvSpPr>
          <p:cNvPr id="14" name="Marcador de Posição do Texto 10">
            <a:extLst>
              <a:ext uri="{FF2B5EF4-FFF2-40B4-BE49-F238E27FC236}">
                <a16:creationId xmlns:a16="http://schemas.microsoft.com/office/drawing/2014/main" id="{78767EE8-B510-0E80-A57A-E02B312E9E29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579735" y="5176835"/>
            <a:ext cx="4808795" cy="867017"/>
          </a:xfrm>
        </p:spPr>
        <p:txBody>
          <a:bodyPr>
            <a:no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s-ES" dirty="0"/>
              <a:t>Haz </a:t>
            </a:r>
            <a:r>
              <a:rPr lang="es-ES" dirty="0" err="1"/>
              <a:t>click</a:t>
            </a:r>
            <a:r>
              <a:rPr lang="es-ES" dirty="0"/>
              <a:t> para editar los estilos del texto del modelo</a:t>
            </a:r>
            <a:endParaRPr lang="pt-PT" dirty="0"/>
          </a:p>
          <a:p>
            <a:pPr lvl="1"/>
            <a:r>
              <a:rPr lang="es-ES" dirty="0"/>
              <a:t>Segundo nivel</a:t>
            </a:r>
          </a:p>
          <a:p>
            <a:pPr lvl="1"/>
            <a:r>
              <a:rPr lang="es-ES" dirty="0"/>
              <a:t>Tercer nivel</a:t>
            </a:r>
          </a:p>
          <a:p>
            <a:pPr lvl="1"/>
            <a:r>
              <a:rPr lang="es-ES" dirty="0"/>
              <a:t>Cuarto nivel</a:t>
            </a:r>
          </a:p>
          <a:p>
            <a:pPr lvl="1"/>
            <a:r>
              <a:rPr lang="es-ES" dirty="0"/>
              <a:t>Quinto nivel</a:t>
            </a:r>
            <a:endParaRPr lang="pt-PT" dirty="0"/>
          </a:p>
          <a:p>
            <a:pPr lvl="4"/>
            <a:endParaRPr lang="pt-PT" dirty="0"/>
          </a:p>
        </p:txBody>
      </p:sp>
      <p:sp>
        <p:nvSpPr>
          <p:cNvPr id="15" name="Marcador de Posição do Rodapé 4">
            <a:extLst>
              <a:ext uri="{FF2B5EF4-FFF2-40B4-BE49-F238E27FC236}">
                <a16:creationId xmlns:a16="http://schemas.microsoft.com/office/drawing/2014/main" id="{23673C47-5D22-4670-95D1-B002ED3C260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12762" y="6356350"/>
            <a:ext cx="534669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bg1"/>
                </a:solidFill>
              </a:defRPr>
            </a:lvl1pPr>
          </a:lstStyle>
          <a:p>
            <a:r>
              <a:rPr lang="pt-PT"/>
              <a:t>Título de la presentación</a:t>
            </a:r>
            <a:endParaRPr lang="pt-PT" dirty="0"/>
          </a:p>
        </p:txBody>
      </p:sp>
      <p:sp>
        <p:nvSpPr>
          <p:cNvPr id="17" name="Marcador de Posição do Número do Diapositivo 5">
            <a:extLst>
              <a:ext uri="{FF2B5EF4-FFF2-40B4-BE49-F238E27FC236}">
                <a16:creationId xmlns:a16="http://schemas.microsoft.com/office/drawing/2014/main" id="{71DD3E60-1CF0-41BF-B249-A53ED0409BD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936039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accent2"/>
                </a:solidFill>
              </a:defRPr>
            </a:lvl1pPr>
          </a:lstStyle>
          <a:p>
            <a:fld id="{24A347C2-D68E-473A-8C76-1D063E4EB6E0}" type="slidenum">
              <a:rPr lang="es-ES" smtClean="0"/>
              <a:pPr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43644956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5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1666 -0.00046 L 3.75E-6 1.85185E-6 " pathEditMode="relative" rAng="0" ptsTypes="AA">
                                      <p:cBhvr>
                                        <p:cTn id="9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833" y="23"/>
                                    </p:animMotion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25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1666 -0.00046 L 3.75E-6 1.85185E-6 " pathEditMode="relative" rAng="0" ptsTypes="AA">
                                      <p:cBhvr>
                                        <p:cTn id="14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833" y="23"/>
                                    </p:animMotion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25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25E-6 0.03889 L 1.25E-6 1.85185E-6 " pathEditMode="relative" rAng="0" ptsTypes="AA">
                                      <p:cBhvr>
                                        <p:cTn id="19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944"/>
                                    </p:animMotion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25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42" presetClass="path" presetSubtype="0" decel="100000" fill="hold" grpId="1" nodeType="withEffect">
                                  <p:stCondLst>
                                    <p:cond delay="250"/>
                                  </p:stCondLst>
                                  <p:childTnLst>
                                    <p:animMotion origin="layout" path="M -0.01719 -0.00023 L -1.25E-6 1.85185E-6 " pathEditMode="relative" rAng="0" ptsTypes="AA">
                                      <p:cBhvr>
                                        <p:cTn id="24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859" y="0"/>
                                    </p:animMotion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25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42" presetClass="path" presetSubtype="0" decel="100000" fill="hold" grpId="1" nodeType="withEffect">
                                  <p:stCondLst>
                                    <p:cond delay="250"/>
                                  </p:stCondLst>
                                  <p:childTnLst>
                                    <p:animMotion origin="layout" path="M -0.01719 -0.00023 L -1.25E-6 1.85185E-6 " pathEditMode="relative" rAng="0" ptsTypes="AA">
                                      <p:cBhvr>
                                        <p:cTn id="29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859" y="0"/>
                                    </p:animMotion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25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42" presetClass="path" presetSubtype="0" decel="100000" fill="hold" grpId="1" nodeType="withEffect">
                                  <p:stCondLst>
                                    <p:cond delay="250"/>
                                  </p:stCondLst>
                                  <p:childTnLst>
                                    <p:animMotion origin="layout" path="M -0.01719 -0.00023 L -1.25E-6 1.85185E-6 " pathEditMode="relative" rAng="0" ptsTypes="AA">
                                      <p:cBhvr>
                                        <p:cTn id="34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859" y="0"/>
                                    </p:animMotion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25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42" presetClass="path" presetSubtype="0" decel="100000" fill="hold" grpId="1" nodeType="withEffect">
                                  <p:stCondLst>
                                    <p:cond delay="250"/>
                                  </p:stCondLst>
                                  <p:childTnLst>
                                    <p:animMotion origin="layout" path="M -0.01719 -0.00023 L -1.25E-6 1.85185E-6 " pathEditMode="relative" rAng="0" ptsTypes="AA">
                                      <p:cBhvr>
                                        <p:cTn id="39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859" y="0"/>
                                    </p:animMotion>
                                  </p:childTnLst>
                                </p:cTn>
                              </p:par>
                              <p:par>
                                <p:cTn id="4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25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" presetID="42" presetClass="path" presetSubtype="0" decel="100000" fill="hold" grpId="1" nodeType="withEffect">
                                  <p:stCondLst>
                                    <p:cond delay="250"/>
                                  </p:stCondLst>
                                  <p:childTnLst>
                                    <p:animMotion origin="layout" path="M -0.01719 -0.00023 L -1.25E-6 1.85185E-6 " pathEditMode="relative" rAng="0" ptsTypes="AA">
                                      <p:cBhvr>
                                        <p:cTn id="44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859" y="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  <p:bldP spid="7" grpId="1"/>
      <p:bldP spid="8" grpId="0">
        <p:tmplLst>
          <p:tmpl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250"/>
                        <p:tgtEl>
                          <p:spTgt spid="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8" grpId="1"/>
      <p:bldP spid="9" grpId="0">
        <p:tmplLst>
          <p:tmpl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250"/>
                        <p:tgtEl>
                          <p:spTgt spid="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9" grpId="1"/>
      <p:bldP spid="10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250"/>
                        <p:tgtEl>
                          <p:spTgt spid="1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0" grpId="1">
        <p:tmplLst>
          <p:tmpl>
            <p:tnLst>
              <p:par>
                <p:cTn presetID="42" presetClass="path" presetSubtype="0" decel="100000" fill="hold" nodeType="withEffect">
                  <p:stCondLst>
                    <p:cond delay="250"/>
                  </p:stCondLst>
                  <p:childTnLst>
                    <p:animMotion origin="layout" path="M -0.01719 -0.00023 L -1.25E-6 1.85185E-6 " pathEditMode="relative" rAng="0" ptsTypes="AA">
                      <p:cBhvr>
                        <p:cTn dur="500" fill="hold"/>
                        <p:tgtEl>
                          <p:spTgt spid="10"/>
                        </p:tgtEl>
                        <p:attrNameLst>
                          <p:attrName>ppt_x</p:attrName>
                          <p:attrName>ppt_y</p:attrName>
                        </p:attrNameLst>
                      </p:cBhvr>
                      <p:rCtr x="859" y="0"/>
                    </p:animMotion>
                  </p:childTnLst>
                </p:cTn>
              </p:par>
            </p:tnLst>
          </p:tmpl>
        </p:tmplLst>
      </p:bldP>
      <p:bldP spid="11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250"/>
                        <p:tgtEl>
                          <p:spTgt spid="1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1" grpId="1">
        <p:tmplLst>
          <p:tmpl>
            <p:tnLst>
              <p:par>
                <p:cTn presetID="42" presetClass="path" presetSubtype="0" decel="100000" fill="hold" nodeType="withEffect">
                  <p:stCondLst>
                    <p:cond delay="250"/>
                  </p:stCondLst>
                  <p:childTnLst>
                    <p:animMotion origin="layout" path="M -0.01719 -0.00023 L -1.25E-6 1.85185E-6 " pathEditMode="relative" rAng="0" ptsTypes="AA">
                      <p:cBhvr>
                        <p:cTn dur="500" fill="hold"/>
                        <p:tgtEl>
                          <p:spTgt spid="11"/>
                        </p:tgtEl>
                        <p:attrNameLst>
                          <p:attrName>ppt_x</p:attrName>
                          <p:attrName>ppt_y</p:attrName>
                        </p:attrNameLst>
                      </p:cBhvr>
                      <p:rCtr x="859" y="0"/>
                    </p:animMotion>
                  </p:childTnLst>
                </p:cTn>
              </p:par>
            </p:tnLst>
          </p:tmpl>
        </p:tmplLst>
      </p:bldP>
      <p:bldP spid="12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250"/>
                        <p:tgtEl>
                          <p:spTgt spid="1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2" grpId="1">
        <p:tmplLst>
          <p:tmpl>
            <p:tnLst>
              <p:par>
                <p:cTn presetID="42" presetClass="path" presetSubtype="0" decel="100000" fill="hold" nodeType="withEffect">
                  <p:stCondLst>
                    <p:cond delay="250"/>
                  </p:stCondLst>
                  <p:childTnLst>
                    <p:animMotion origin="layout" path="M -0.01719 -0.00023 L -1.25E-6 1.85185E-6 " pathEditMode="relative" rAng="0" ptsTypes="AA">
                      <p:cBhvr>
                        <p:cTn dur="500" fill="hold"/>
                        <p:tgtEl>
                          <p:spTgt spid="12"/>
                        </p:tgtEl>
                        <p:attrNameLst>
                          <p:attrName>ppt_x</p:attrName>
                          <p:attrName>ppt_y</p:attrName>
                        </p:attrNameLst>
                      </p:cBhvr>
                      <p:rCtr x="859" y="0"/>
                    </p:animMotion>
                  </p:childTnLst>
                </p:cTn>
              </p:par>
            </p:tnLst>
          </p:tmpl>
        </p:tmplLst>
      </p:bldP>
      <p:bldP spid="13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250"/>
                        <p:tgtEl>
                          <p:spTgt spid="1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3" grpId="1">
        <p:tmplLst>
          <p:tmpl>
            <p:tnLst>
              <p:par>
                <p:cTn presetID="42" presetClass="path" presetSubtype="0" decel="100000" fill="hold" nodeType="withEffect">
                  <p:stCondLst>
                    <p:cond delay="250"/>
                  </p:stCondLst>
                  <p:childTnLst>
                    <p:animMotion origin="layout" path="M -0.01719 -0.00023 L -1.25E-6 1.85185E-6 " pathEditMode="relative" rAng="0" ptsTypes="AA">
                      <p:cBhvr>
                        <p:cTn dur="500" fill="hold"/>
                        <p:tgtEl>
                          <p:spTgt spid="13"/>
                        </p:tgtEl>
                        <p:attrNameLst>
                          <p:attrName>ppt_x</p:attrName>
                          <p:attrName>ppt_y</p:attrName>
                        </p:attrNameLst>
                      </p:cBhvr>
                      <p:rCtr x="859" y="0"/>
                    </p:animMotion>
                  </p:childTnLst>
                </p:cTn>
              </p:par>
            </p:tnLst>
          </p:tmpl>
        </p:tmplLst>
      </p:bldP>
      <p:bldP spid="14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250"/>
                        <p:tgtEl>
                          <p:spTgt spid="1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4" grpId="1">
        <p:tmplLst>
          <p:tmpl>
            <p:tnLst>
              <p:par>
                <p:cTn presetID="42" presetClass="path" presetSubtype="0" decel="100000" fill="hold" nodeType="withEffect">
                  <p:stCondLst>
                    <p:cond delay="250"/>
                  </p:stCondLst>
                  <p:childTnLst>
                    <p:animMotion origin="layout" path="M -0.01719 -0.00023 L -1.25E-6 1.85185E-6 " pathEditMode="relative" rAng="0" ptsTypes="AA">
                      <p:cBhvr>
                        <p:cTn dur="500" fill="hold"/>
                        <p:tgtEl>
                          <p:spTgt spid="14"/>
                        </p:tgtEl>
                        <p:attrNameLst>
                          <p:attrName>ppt_x</p:attrName>
                          <p:attrName>ppt_y</p:attrName>
                        </p:attrNameLst>
                      </p:cBhvr>
                      <p:rCtr x="859" y="0"/>
                    </p:animMotion>
                  </p:childTnLst>
                </p:cTn>
              </p:par>
            </p:tnLst>
          </p:tmpl>
        </p:tmplLst>
      </p:bldP>
    </p:bldLst>
  </p:timing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7_Esquema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" name="Imagem 24">
            <a:extLst>
              <a:ext uri="{FF2B5EF4-FFF2-40B4-BE49-F238E27FC236}">
                <a16:creationId xmlns:a16="http://schemas.microsoft.com/office/drawing/2014/main" id="{108A287E-7D61-6EB9-6A75-B1184010113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 l="13888" t="61466" r="16313" b="12636"/>
          <a:stretch>
            <a:fillRect/>
          </a:stretch>
        </p:blipFill>
        <p:spPr>
          <a:xfrm rot="5400000">
            <a:off x="8157581" y="1223242"/>
            <a:ext cx="5885263" cy="2183575"/>
          </a:xfrm>
          <a:prstGeom prst="rect">
            <a:avLst/>
          </a:prstGeom>
        </p:spPr>
      </p:pic>
      <p:sp>
        <p:nvSpPr>
          <p:cNvPr id="6" name="Retângulo 5">
            <a:extLst>
              <a:ext uri="{FF2B5EF4-FFF2-40B4-BE49-F238E27FC236}">
                <a16:creationId xmlns:a16="http://schemas.microsoft.com/office/drawing/2014/main" id="{AD13C49F-0397-1386-61E1-D8138CA13CAE}"/>
              </a:ext>
            </a:extLst>
          </p:cNvPr>
          <p:cNvSpPr/>
          <p:nvPr userDrawn="1"/>
        </p:nvSpPr>
        <p:spPr>
          <a:xfrm>
            <a:off x="0" y="4542970"/>
            <a:ext cx="12192000" cy="2315029"/>
          </a:xfrm>
          <a:prstGeom prst="rect">
            <a:avLst/>
          </a:prstGeom>
          <a:solidFill>
            <a:srgbClr val="184BF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  <p:sp>
        <p:nvSpPr>
          <p:cNvPr id="7" name="Título 6">
            <a:extLst>
              <a:ext uri="{FF2B5EF4-FFF2-40B4-BE49-F238E27FC236}">
                <a16:creationId xmlns:a16="http://schemas.microsoft.com/office/drawing/2014/main" id="{A60CB41E-881A-610C-ED9D-C67722EE168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3184" y="550508"/>
            <a:ext cx="11248887" cy="712204"/>
          </a:xfrm>
        </p:spPr>
        <p:txBody>
          <a:bodyPr>
            <a:normAutofit/>
          </a:bodyPr>
          <a:lstStyle>
            <a:lvl1pPr>
              <a:defRPr sz="3200"/>
            </a:lvl1pPr>
          </a:lstStyle>
          <a:p>
            <a:r>
              <a:rPr lang="pt-PT" dirty="0"/>
              <a:t>Insertar título de la slide</a:t>
            </a:r>
          </a:p>
        </p:txBody>
      </p:sp>
      <p:sp>
        <p:nvSpPr>
          <p:cNvPr id="8" name="Marcador de Posição do Texto 8">
            <a:extLst>
              <a:ext uri="{FF2B5EF4-FFF2-40B4-BE49-F238E27FC236}">
                <a16:creationId xmlns:a16="http://schemas.microsoft.com/office/drawing/2014/main" id="{E0E005A8-2DE0-C3E3-266B-D49A1822124F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12764" y="1156317"/>
            <a:ext cx="11249736" cy="355243"/>
          </a:xfrm>
        </p:spPr>
        <p:txBody>
          <a:bodyPr>
            <a:normAutofit/>
          </a:bodyPr>
          <a:lstStyle>
            <a:lvl1pPr>
              <a:defRPr sz="200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pt-PT" dirty="0"/>
              <a:t>Insertar subtítulo de la slide</a:t>
            </a:r>
          </a:p>
        </p:txBody>
      </p:sp>
      <p:sp>
        <p:nvSpPr>
          <p:cNvPr id="11" name="Marcador de Posição do Texto 10">
            <a:extLst>
              <a:ext uri="{FF2B5EF4-FFF2-40B4-BE49-F238E27FC236}">
                <a16:creationId xmlns:a16="http://schemas.microsoft.com/office/drawing/2014/main" id="{24A0FDE3-0099-C91F-C618-210E2814BEC7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512764" y="2579753"/>
            <a:ext cx="3161059" cy="3727739"/>
          </a:xfrm>
          <a:solidFill>
            <a:schemeClr val="bg1"/>
          </a:solidFill>
          <a:ln w="4244" cap="flat">
            <a:noFill/>
            <a:prstDash val="solid"/>
            <a:miter/>
          </a:ln>
          <a:effectLst>
            <a:outerShdw blurRad="254000" algn="ctr" rotWithShape="0">
              <a:srgbClr val="132153">
                <a:alpha val="5000"/>
              </a:srgbClr>
            </a:outerShdw>
          </a:effectLst>
        </p:spPr>
        <p:txBody>
          <a:bodyPr rot="0" spcFirstLastPara="0" vertOverflow="overflow" horzOverflow="overflow" vert="horz" wrap="square" lIns="324000" tIns="79200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>
              <a:defRPr lang="pt-PT" sz="1400" dirty="0">
                <a:solidFill>
                  <a:schemeClr val="tx2"/>
                </a:solidFill>
              </a:defRPr>
            </a:lvl1pPr>
            <a:lvl2pPr marL="174625" indent="-174625">
              <a:defRPr lang="pt-PT" sz="1800" dirty="0">
                <a:solidFill>
                  <a:schemeClr val="tx1"/>
                </a:solidFill>
              </a:defRPr>
            </a:lvl2pPr>
            <a:lvl3pPr marL="174625" indent="-174625">
              <a:defRPr lang="pt-PT" sz="1800" dirty="0">
                <a:solidFill>
                  <a:schemeClr val="tx1"/>
                </a:solidFill>
              </a:defRPr>
            </a:lvl3pPr>
            <a:lvl4pPr marL="174625" indent="-174625">
              <a:defRPr lang="pt-PT" sz="1800" dirty="0">
                <a:solidFill>
                  <a:schemeClr val="tx1"/>
                </a:solidFill>
              </a:defRPr>
            </a:lvl4pPr>
            <a:lvl5pPr marL="174625" indent="-174625">
              <a:defRPr lang="pt-PT" sz="1800" dirty="0">
                <a:solidFill>
                  <a:schemeClr val="tx1"/>
                </a:solidFill>
              </a:defRPr>
            </a:lvl5pPr>
          </a:lstStyle>
          <a:p>
            <a:pPr lvl="0"/>
            <a:r>
              <a:rPr lang="es-ES" dirty="0"/>
              <a:t>Haz </a:t>
            </a:r>
            <a:r>
              <a:rPr lang="es-ES" dirty="0" err="1"/>
              <a:t>click</a:t>
            </a:r>
            <a:r>
              <a:rPr lang="es-ES" dirty="0"/>
              <a:t> para editar los estilos del texto del modelo</a:t>
            </a:r>
            <a:endParaRPr lang="pt-PT" dirty="0"/>
          </a:p>
        </p:txBody>
      </p:sp>
      <p:sp>
        <p:nvSpPr>
          <p:cNvPr id="12" name="Marcador de Posição do Texto 10">
            <a:extLst>
              <a:ext uri="{FF2B5EF4-FFF2-40B4-BE49-F238E27FC236}">
                <a16:creationId xmlns:a16="http://schemas.microsoft.com/office/drawing/2014/main" id="{64B3393C-BAF8-4041-C9A2-D0F401142ADE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515470" y="2579753"/>
            <a:ext cx="3161059" cy="3727739"/>
          </a:xfrm>
          <a:solidFill>
            <a:schemeClr val="bg1"/>
          </a:solidFill>
          <a:ln w="4244" cap="flat">
            <a:noFill/>
            <a:prstDash val="solid"/>
            <a:miter/>
          </a:ln>
          <a:effectLst>
            <a:outerShdw blurRad="254000" algn="ctr" rotWithShape="0">
              <a:srgbClr val="132153">
                <a:alpha val="5000"/>
              </a:srgbClr>
            </a:outerShdw>
          </a:effectLst>
        </p:spPr>
        <p:txBody>
          <a:bodyPr rot="0" spcFirstLastPara="0" vertOverflow="overflow" horzOverflow="overflow" vert="horz" wrap="square" lIns="324000" tIns="79200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>
              <a:defRPr lang="pt-PT" sz="1400" dirty="0">
                <a:solidFill>
                  <a:schemeClr val="tx2"/>
                </a:solidFill>
              </a:defRPr>
            </a:lvl1pPr>
            <a:lvl2pPr marL="174625" indent="-174625">
              <a:defRPr lang="pt-PT" sz="1800" dirty="0">
                <a:solidFill>
                  <a:schemeClr val="tx1"/>
                </a:solidFill>
              </a:defRPr>
            </a:lvl2pPr>
            <a:lvl3pPr marL="174625" indent="-174625">
              <a:defRPr lang="pt-PT" sz="1800" dirty="0">
                <a:solidFill>
                  <a:schemeClr val="tx1"/>
                </a:solidFill>
              </a:defRPr>
            </a:lvl3pPr>
            <a:lvl4pPr marL="174625" indent="-174625">
              <a:defRPr lang="pt-PT" sz="1800" dirty="0">
                <a:solidFill>
                  <a:schemeClr val="tx1"/>
                </a:solidFill>
              </a:defRPr>
            </a:lvl4pPr>
            <a:lvl5pPr marL="174625" indent="-174625">
              <a:defRPr lang="pt-PT" sz="1800" dirty="0">
                <a:solidFill>
                  <a:schemeClr val="tx1"/>
                </a:solidFill>
              </a:defRPr>
            </a:lvl5pPr>
          </a:lstStyle>
          <a:p>
            <a:pPr lvl="0"/>
            <a:r>
              <a:rPr lang="es-ES" dirty="0"/>
              <a:t>Haz </a:t>
            </a:r>
            <a:r>
              <a:rPr lang="es-ES" dirty="0" err="1"/>
              <a:t>click</a:t>
            </a:r>
            <a:r>
              <a:rPr lang="es-ES" dirty="0"/>
              <a:t> para editar los estilos del texto del modelo</a:t>
            </a:r>
            <a:endParaRPr lang="pt-PT" dirty="0"/>
          </a:p>
        </p:txBody>
      </p:sp>
      <p:sp>
        <p:nvSpPr>
          <p:cNvPr id="13" name="Marcador de Posição do Texto 10">
            <a:extLst>
              <a:ext uri="{FF2B5EF4-FFF2-40B4-BE49-F238E27FC236}">
                <a16:creationId xmlns:a16="http://schemas.microsoft.com/office/drawing/2014/main" id="{3AA6A58F-0C6D-517F-45CF-D9D8F7BBD9F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353735" y="2579753"/>
            <a:ext cx="3161059" cy="3727739"/>
          </a:xfrm>
          <a:solidFill>
            <a:schemeClr val="bg1"/>
          </a:solidFill>
          <a:ln w="4244" cap="flat">
            <a:noFill/>
            <a:prstDash val="solid"/>
            <a:miter/>
          </a:ln>
          <a:effectLst>
            <a:outerShdw blurRad="254000" algn="ctr" rotWithShape="0">
              <a:srgbClr val="132153">
                <a:alpha val="5000"/>
              </a:srgbClr>
            </a:outerShdw>
          </a:effectLst>
        </p:spPr>
        <p:txBody>
          <a:bodyPr rot="0" spcFirstLastPara="0" vertOverflow="overflow" horzOverflow="overflow" vert="horz" wrap="square" lIns="324000" tIns="79200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>
              <a:defRPr lang="pt-PT" sz="1400" dirty="0">
                <a:solidFill>
                  <a:schemeClr val="tx2"/>
                </a:solidFill>
              </a:defRPr>
            </a:lvl1pPr>
            <a:lvl2pPr marL="174625" indent="-174625">
              <a:defRPr lang="pt-PT" sz="1800" dirty="0">
                <a:solidFill>
                  <a:schemeClr val="tx1"/>
                </a:solidFill>
              </a:defRPr>
            </a:lvl2pPr>
            <a:lvl3pPr marL="174625" indent="-174625">
              <a:defRPr lang="pt-PT" sz="1800" dirty="0">
                <a:solidFill>
                  <a:schemeClr val="tx1"/>
                </a:solidFill>
              </a:defRPr>
            </a:lvl3pPr>
            <a:lvl4pPr marL="174625" indent="-174625">
              <a:defRPr lang="pt-PT" sz="1800" dirty="0">
                <a:solidFill>
                  <a:schemeClr val="tx1"/>
                </a:solidFill>
              </a:defRPr>
            </a:lvl4pPr>
            <a:lvl5pPr marL="174625" indent="-174625">
              <a:defRPr lang="pt-PT" sz="1800" dirty="0">
                <a:solidFill>
                  <a:schemeClr val="tx1"/>
                </a:solidFill>
              </a:defRPr>
            </a:lvl5pPr>
          </a:lstStyle>
          <a:p>
            <a:pPr lvl="0"/>
            <a:r>
              <a:rPr lang="es-ES" dirty="0"/>
              <a:t>Haz </a:t>
            </a:r>
            <a:r>
              <a:rPr lang="es-ES" dirty="0" err="1"/>
              <a:t>click</a:t>
            </a:r>
            <a:r>
              <a:rPr lang="es-ES" dirty="0"/>
              <a:t> para editar los estilos del texto del modelo</a:t>
            </a:r>
            <a:endParaRPr lang="pt-PT" dirty="0"/>
          </a:p>
        </p:txBody>
      </p:sp>
      <p:sp>
        <p:nvSpPr>
          <p:cNvPr id="20" name="Marcador de Posição do Texto 19">
            <a:extLst>
              <a:ext uri="{FF2B5EF4-FFF2-40B4-BE49-F238E27FC236}">
                <a16:creationId xmlns:a16="http://schemas.microsoft.com/office/drawing/2014/main" id="{AF6673F5-DFB7-378D-AB86-4152BDC46598}"/>
              </a:ext>
            </a:extLst>
          </p:cNvPr>
          <p:cNvSpPr>
            <a:spLocks noGrp="1"/>
          </p:cNvSpPr>
          <p:nvPr userDrawn="1">
            <p:ph type="body" sz="quarter" idx="15" hasCustomPrompt="1"/>
          </p:nvPr>
        </p:nvSpPr>
        <p:spPr>
          <a:xfrm>
            <a:off x="492333" y="2742307"/>
            <a:ext cx="2985220" cy="357068"/>
          </a:xfrm>
          <a:custGeom>
            <a:avLst/>
            <a:gdLst>
              <a:gd name="connsiteX0" fmla="*/ 2337491 w 2985220"/>
              <a:gd name="connsiteY0" fmla="*/ 0 h 357068"/>
              <a:gd name="connsiteX1" fmla="*/ 2337491 w 2985220"/>
              <a:gd name="connsiteY1" fmla="*/ 14 h 357068"/>
              <a:gd name="connsiteX2" fmla="*/ 2985220 w 2985220"/>
              <a:gd name="connsiteY2" fmla="*/ 14 h 357068"/>
              <a:gd name="connsiteX3" fmla="*/ 2614217 w 2985220"/>
              <a:gd name="connsiteY3" fmla="*/ 349818 h 357068"/>
              <a:gd name="connsiteX4" fmla="*/ 2598325 w 2985220"/>
              <a:gd name="connsiteY4" fmla="*/ 351049 h 357068"/>
              <a:gd name="connsiteX5" fmla="*/ 2598325 w 2985220"/>
              <a:gd name="connsiteY5" fmla="*/ 357057 h 357068"/>
              <a:gd name="connsiteX6" fmla="*/ 2520742 w 2985220"/>
              <a:gd name="connsiteY6" fmla="*/ 357057 h 357068"/>
              <a:gd name="connsiteX7" fmla="*/ 2520600 w 2985220"/>
              <a:gd name="connsiteY7" fmla="*/ 357068 h 357068"/>
              <a:gd name="connsiteX8" fmla="*/ 2520411 w 2985220"/>
              <a:gd name="connsiteY8" fmla="*/ 357068 h 357068"/>
              <a:gd name="connsiteX9" fmla="*/ 2133418 w 2985220"/>
              <a:gd name="connsiteY9" fmla="*/ 357068 h 357068"/>
              <a:gd name="connsiteX10" fmla="*/ 2133414 w 2985220"/>
              <a:gd name="connsiteY10" fmla="*/ 357057 h 357068"/>
              <a:gd name="connsiteX11" fmla="*/ 260834 w 2985220"/>
              <a:gd name="connsiteY11" fmla="*/ 357057 h 357068"/>
              <a:gd name="connsiteX12" fmla="*/ 260834 w 2985220"/>
              <a:gd name="connsiteY12" fmla="*/ 357045 h 357068"/>
              <a:gd name="connsiteX13" fmla="*/ 0 w 2985220"/>
              <a:gd name="connsiteY13" fmla="*/ 357050 h 357068"/>
              <a:gd name="connsiteX14" fmla="*/ 0 w 2985220"/>
              <a:gd name="connsiteY14" fmla="*/ 42 h 3570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2985220" h="357068">
                <a:moveTo>
                  <a:pt x="2337491" y="0"/>
                </a:moveTo>
                <a:lnTo>
                  <a:pt x="2337491" y="14"/>
                </a:lnTo>
                <a:lnTo>
                  <a:pt x="2985220" y="14"/>
                </a:lnTo>
                <a:cubicBezTo>
                  <a:pt x="2985220" y="172641"/>
                  <a:pt x="2825902" y="316540"/>
                  <a:pt x="2614217" y="349818"/>
                </a:cubicBezTo>
                <a:lnTo>
                  <a:pt x="2598325" y="351049"/>
                </a:lnTo>
                <a:lnTo>
                  <a:pt x="2598325" y="357057"/>
                </a:lnTo>
                <a:lnTo>
                  <a:pt x="2520742" y="357057"/>
                </a:lnTo>
                <a:lnTo>
                  <a:pt x="2520600" y="357068"/>
                </a:lnTo>
                <a:lnTo>
                  <a:pt x="2520411" y="357068"/>
                </a:lnTo>
                <a:lnTo>
                  <a:pt x="2133418" y="357068"/>
                </a:lnTo>
                <a:lnTo>
                  <a:pt x="2133414" y="357057"/>
                </a:lnTo>
                <a:lnTo>
                  <a:pt x="260834" y="357057"/>
                </a:lnTo>
                <a:lnTo>
                  <a:pt x="260834" y="357045"/>
                </a:lnTo>
                <a:lnTo>
                  <a:pt x="0" y="357050"/>
                </a:lnTo>
                <a:lnTo>
                  <a:pt x="0" y="42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lIns="360000" bIns="36000" anchor="ctr">
            <a:noAutofit/>
          </a:bodyPr>
          <a:lstStyle>
            <a:lvl1pPr>
              <a:defRPr cap="all" baseline="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pt-PT" dirty="0"/>
              <a:t>Insertar texto</a:t>
            </a:r>
          </a:p>
        </p:txBody>
      </p:sp>
      <p:sp>
        <p:nvSpPr>
          <p:cNvPr id="22" name="Marcador de Posição do Texto 21">
            <a:extLst>
              <a:ext uri="{FF2B5EF4-FFF2-40B4-BE49-F238E27FC236}">
                <a16:creationId xmlns:a16="http://schemas.microsoft.com/office/drawing/2014/main" id="{E0E4BF93-23A7-AAEF-95FB-4DF83C8ADE35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4515470" y="2742307"/>
            <a:ext cx="2985220" cy="357068"/>
          </a:xfrm>
          <a:custGeom>
            <a:avLst/>
            <a:gdLst>
              <a:gd name="connsiteX0" fmla="*/ 2337491 w 2985220"/>
              <a:gd name="connsiteY0" fmla="*/ 0 h 357068"/>
              <a:gd name="connsiteX1" fmla="*/ 2337491 w 2985220"/>
              <a:gd name="connsiteY1" fmla="*/ 14 h 357068"/>
              <a:gd name="connsiteX2" fmla="*/ 2985220 w 2985220"/>
              <a:gd name="connsiteY2" fmla="*/ 14 h 357068"/>
              <a:gd name="connsiteX3" fmla="*/ 2614217 w 2985220"/>
              <a:gd name="connsiteY3" fmla="*/ 349818 h 357068"/>
              <a:gd name="connsiteX4" fmla="*/ 2598325 w 2985220"/>
              <a:gd name="connsiteY4" fmla="*/ 351049 h 357068"/>
              <a:gd name="connsiteX5" fmla="*/ 2598325 w 2985220"/>
              <a:gd name="connsiteY5" fmla="*/ 357057 h 357068"/>
              <a:gd name="connsiteX6" fmla="*/ 2520742 w 2985220"/>
              <a:gd name="connsiteY6" fmla="*/ 357057 h 357068"/>
              <a:gd name="connsiteX7" fmla="*/ 2520600 w 2985220"/>
              <a:gd name="connsiteY7" fmla="*/ 357068 h 357068"/>
              <a:gd name="connsiteX8" fmla="*/ 2520411 w 2985220"/>
              <a:gd name="connsiteY8" fmla="*/ 357068 h 357068"/>
              <a:gd name="connsiteX9" fmla="*/ 2133418 w 2985220"/>
              <a:gd name="connsiteY9" fmla="*/ 357068 h 357068"/>
              <a:gd name="connsiteX10" fmla="*/ 2133414 w 2985220"/>
              <a:gd name="connsiteY10" fmla="*/ 357057 h 357068"/>
              <a:gd name="connsiteX11" fmla="*/ 260834 w 2985220"/>
              <a:gd name="connsiteY11" fmla="*/ 357057 h 357068"/>
              <a:gd name="connsiteX12" fmla="*/ 260834 w 2985220"/>
              <a:gd name="connsiteY12" fmla="*/ 357045 h 357068"/>
              <a:gd name="connsiteX13" fmla="*/ 0 w 2985220"/>
              <a:gd name="connsiteY13" fmla="*/ 357050 h 357068"/>
              <a:gd name="connsiteX14" fmla="*/ 0 w 2985220"/>
              <a:gd name="connsiteY14" fmla="*/ 42 h 3570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2985220" h="357068">
                <a:moveTo>
                  <a:pt x="2337491" y="0"/>
                </a:moveTo>
                <a:lnTo>
                  <a:pt x="2337491" y="14"/>
                </a:lnTo>
                <a:lnTo>
                  <a:pt x="2985220" y="14"/>
                </a:lnTo>
                <a:cubicBezTo>
                  <a:pt x="2985220" y="172641"/>
                  <a:pt x="2825902" y="316540"/>
                  <a:pt x="2614217" y="349818"/>
                </a:cubicBezTo>
                <a:lnTo>
                  <a:pt x="2598325" y="351049"/>
                </a:lnTo>
                <a:lnTo>
                  <a:pt x="2598325" y="357057"/>
                </a:lnTo>
                <a:lnTo>
                  <a:pt x="2520742" y="357057"/>
                </a:lnTo>
                <a:lnTo>
                  <a:pt x="2520600" y="357068"/>
                </a:lnTo>
                <a:lnTo>
                  <a:pt x="2520411" y="357068"/>
                </a:lnTo>
                <a:lnTo>
                  <a:pt x="2133418" y="357068"/>
                </a:lnTo>
                <a:lnTo>
                  <a:pt x="2133414" y="357057"/>
                </a:lnTo>
                <a:lnTo>
                  <a:pt x="260834" y="357057"/>
                </a:lnTo>
                <a:lnTo>
                  <a:pt x="260834" y="357045"/>
                </a:lnTo>
                <a:lnTo>
                  <a:pt x="0" y="357050"/>
                </a:lnTo>
                <a:lnTo>
                  <a:pt x="0" y="42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lIns="360000" bIns="3600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cap="all" baseline="0">
                <a:solidFill>
                  <a:schemeClr val="accent1"/>
                </a:solidFill>
                <a:latin typeface="+mj-lt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dirty="0"/>
              <a:t>Insertar texto</a:t>
            </a:r>
          </a:p>
        </p:txBody>
      </p:sp>
      <p:sp>
        <p:nvSpPr>
          <p:cNvPr id="23" name="Marcador de Posição do Texto 22">
            <a:extLst>
              <a:ext uri="{FF2B5EF4-FFF2-40B4-BE49-F238E27FC236}">
                <a16:creationId xmlns:a16="http://schemas.microsoft.com/office/drawing/2014/main" id="{7C8BE14E-577D-6616-11CC-9F90A5E4C1F1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342337" y="2742307"/>
            <a:ext cx="2985220" cy="357068"/>
          </a:xfrm>
          <a:custGeom>
            <a:avLst/>
            <a:gdLst>
              <a:gd name="connsiteX0" fmla="*/ 2337491 w 2985220"/>
              <a:gd name="connsiteY0" fmla="*/ 0 h 357068"/>
              <a:gd name="connsiteX1" fmla="*/ 2337491 w 2985220"/>
              <a:gd name="connsiteY1" fmla="*/ 14 h 357068"/>
              <a:gd name="connsiteX2" fmla="*/ 2985220 w 2985220"/>
              <a:gd name="connsiteY2" fmla="*/ 14 h 357068"/>
              <a:gd name="connsiteX3" fmla="*/ 2614217 w 2985220"/>
              <a:gd name="connsiteY3" fmla="*/ 349818 h 357068"/>
              <a:gd name="connsiteX4" fmla="*/ 2598325 w 2985220"/>
              <a:gd name="connsiteY4" fmla="*/ 351049 h 357068"/>
              <a:gd name="connsiteX5" fmla="*/ 2598325 w 2985220"/>
              <a:gd name="connsiteY5" fmla="*/ 357057 h 357068"/>
              <a:gd name="connsiteX6" fmla="*/ 2520742 w 2985220"/>
              <a:gd name="connsiteY6" fmla="*/ 357057 h 357068"/>
              <a:gd name="connsiteX7" fmla="*/ 2520600 w 2985220"/>
              <a:gd name="connsiteY7" fmla="*/ 357068 h 357068"/>
              <a:gd name="connsiteX8" fmla="*/ 2520411 w 2985220"/>
              <a:gd name="connsiteY8" fmla="*/ 357068 h 357068"/>
              <a:gd name="connsiteX9" fmla="*/ 2133418 w 2985220"/>
              <a:gd name="connsiteY9" fmla="*/ 357068 h 357068"/>
              <a:gd name="connsiteX10" fmla="*/ 2133414 w 2985220"/>
              <a:gd name="connsiteY10" fmla="*/ 357057 h 357068"/>
              <a:gd name="connsiteX11" fmla="*/ 260834 w 2985220"/>
              <a:gd name="connsiteY11" fmla="*/ 357057 h 357068"/>
              <a:gd name="connsiteX12" fmla="*/ 260834 w 2985220"/>
              <a:gd name="connsiteY12" fmla="*/ 357045 h 357068"/>
              <a:gd name="connsiteX13" fmla="*/ 0 w 2985220"/>
              <a:gd name="connsiteY13" fmla="*/ 357050 h 357068"/>
              <a:gd name="connsiteX14" fmla="*/ 0 w 2985220"/>
              <a:gd name="connsiteY14" fmla="*/ 42 h 3570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2985220" h="357068">
                <a:moveTo>
                  <a:pt x="2337491" y="0"/>
                </a:moveTo>
                <a:lnTo>
                  <a:pt x="2337491" y="14"/>
                </a:lnTo>
                <a:lnTo>
                  <a:pt x="2985220" y="14"/>
                </a:lnTo>
                <a:cubicBezTo>
                  <a:pt x="2985220" y="172641"/>
                  <a:pt x="2825902" y="316540"/>
                  <a:pt x="2614217" y="349818"/>
                </a:cubicBezTo>
                <a:lnTo>
                  <a:pt x="2598325" y="351049"/>
                </a:lnTo>
                <a:lnTo>
                  <a:pt x="2598325" y="357057"/>
                </a:lnTo>
                <a:lnTo>
                  <a:pt x="2520742" y="357057"/>
                </a:lnTo>
                <a:lnTo>
                  <a:pt x="2520600" y="357068"/>
                </a:lnTo>
                <a:lnTo>
                  <a:pt x="2520411" y="357068"/>
                </a:lnTo>
                <a:lnTo>
                  <a:pt x="2133418" y="357068"/>
                </a:lnTo>
                <a:lnTo>
                  <a:pt x="2133414" y="357057"/>
                </a:lnTo>
                <a:lnTo>
                  <a:pt x="260834" y="357057"/>
                </a:lnTo>
                <a:lnTo>
                  <a:pt x="260834" y="357045"/>
                </a:lnTo>
                <a:lnTo>
                  <a:pt x="0" y="357050"/>
                </a:lnTo>
                <a:lnTo>
                  <a:pt x="0" y="42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lIns="360000" bIns="3600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cap="all" baseline="0">
                <a:solidFill>
                  <a:schemeClr val="accent1"/>
                </a:solidFill>
                <a:latin typeface="+mj-lt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dirty="0"/>
              <a:t>Insertar texto</a:t>
            </a:r>
          </a:p>
        </p:txBody>
      </p:sp>
      <p:sp>
        <p:nvSpPr>
          <p:cNvPr id="14" name="Marcador de Posição do Rodapé 4">
            <a:extLst>
              <a:ext uri="{FF2B5EF4-FFF2-40B4-BE49-F238E27FC236}">
                <a16:creationId xmlns:a16="http://schemas.microsoft.com/office/drawing/2014/main" id="{A23F4AF2-C562-49FC-A3C0-70EE4002F20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12762" y="6356350"/>
            <a:ext cx="534669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bg1"/>
                </a:solidFill>
              </a:defRPr>
            </a:lvl1pPr>
          </a:lstStyle>
          <a:p>
            <a:r>
              <a:rPr lang="pt-PT"/>
              <a:t>Título de la presentación</a:t>
            </a:r>
            <a:endParaRPr lang="pt-PT" dirty="0"/>
          </a:p>
        </p:txBody>
      </p:sp>
      <p:sp>
        <p:nvSpPr>
          <p:cNvPr id="15" name="Marcador de Posição do Número do Diapositivo 5">
            <a:extLst>
              <a:ext uri="{FF2B5EF4-FFF2-40B4-BE49-F238E27FC236}">
                <a16:creationId xmlns:a16="http://schemas.microsoft.com/office/drawing/2014/main" id="{15FB618A-2682-4FF8-BC45-1B9DC551F88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936039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bg1"/>
                </a:solidFill>
              </a:defRPr>
            </a:lvl1pPr>
          </a:lstStyle>
          <a:p>
            <a:fld id="{24A347C2-D68E-473A-8C76-1D063E4EB6E0}" type="slidenum">
              <a:rPr lang="es-ES" smtClean="0"/>
              <a:pPr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82102132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5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1666 -0.00046 L 3.75E-6 1.85185E-6 " pathEditMode="relative" rAng="0" ptsTypes="AA">
                                      <p:cBhvr>
                                        <p:cTn id="9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833" y="23"/>
                                    </p:animMotion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25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1666 -0.00046 L 3.75E-6 1.85185E-6 " pathEditMode="relative" rAng="0" ptsTypes="AA">
                                      <p:cBhvr>
                                        <p:cTn id="14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833" y="23"/>
                                    </p:animMotion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25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42" presetClass="path" presetSubtype="0" decel="100000" fill="hold" grpId="1" nodeType="withEffect">
                                  <p:stCondLst>
                                    <p:cond delay="250"/>
                                  </p:stCondLst>
                                  <p:childTnLst>
                                    <p:animMotion origin="layout" path="M 1.25E-6 0.03889 L 1.25E-6 1.85185E-6 " pathEditMode="relative" rAng="0" ptsTypes="AA">
                                      <p:cBhvr>
                                        <p:cTn id="19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944"/>
                                    </p:animMotion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25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42" presetClass="path" presetSubtype="0" decel="100000" fill="hold" grpId="1" nodeType="withEffect">
                                  <p:stCondLst>
                                    <p:cond delay="250"/>
                                  </p:stCondLst>
                                  <p:childTnLst>
                                    <p:animMotion origin="layout" path="M 1.25E-6 0.03889 L 1.25E-6 1.85185E-6 " pathEditMode="relative" rAng="0" ptsTypes="AA">
                                      <p:cBhvr>
                                        <p:cTn id="24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944"/>
                                    </p:animMotion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25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42" presetClass="path" presetSubtype="0" decel="100000" fill="hold" grpId="1" nodeType="withEffect">
                                  <p:stCondLst>
                                    <p:cond delay="500"/>
                                  </p:stCondLst>
                                  <p:childTnLst>
                                    <p:animMotion origin="layout" path="M 1.25E-6 0.03889 L 1.25E-6 1.85185E-6 " pathEditMode="relative" rAng="0" ptsTypes="AA">
                                      <p:cBhvr>
                                        <p:cTn id="29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944"/>
                                    </p:animMotion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25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42" presetClass="path" presetSubtype="0" decel="100000" fill="hold" grpId="1" nodeType="withEffect">
                                  <p:stCondLst>
                                    <p:cond delay="500"/>
                                  </p:stCondLst>
                                  <p:childTnLst>
                                    <p:animMotion origin="layout" path="M 1.25E-6 0.03889 L 1.25E-6 1.85185E-6 " pathEditMode="relative" rAng="0" ptsTypes="AA">
                                      <p:cBhvr>
                                        <p:cTn id="34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944"/>
                                    </p:animMotion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25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42" presetClass="path" presetSubtype="0" decel="100000" fill="hold" grpId="1" nodeType="withEffect">
                                  <p:stCondLst>
                                    <p:cond delay="750"/>
                                  </p:stCondLst>
                                  <p:childTnLst>
                                    <p:animMotion origin="layout" path="M 1.25E-6 0.03889 L 1.25E-6 1.85185E-6 " pathEditMode="relative" rAng="0" ptsTypes="AA">
                                      <p:cBhvr>
                                        <p:cTn id="39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944"/>
                                    </p:animMotion>
                                  </p:childTnLst>
                                </p:cTn>
                              </p:par>
                              <p:par>
                                <p:cTn id="40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25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" presetID="42" presetClass="path" presetSubtype="0" decel="100000" fill="hold" grpId="1" nodeType="withEffect">
                                  <p:stCondLst>
                                    <p:cond delay="750"/>
                                  </p:stCondLst>
                                  <p:childTnLst>
                                    <p:animMotion origin="layout" path="M 1.25E-6 0.03889 L 1.25E-6 1.85185E-6 " pathEditMode="relative" rAng="0" ptsTypes="AA">
                                      <p:cBhvr>
                                        <p:cTn id="44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944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  <p:bldP spid="7" grpId="1"/>
      <p:bldP spid="8" grpId="0">
        <p:tmplLst>
          <p:tmpl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250"/>
                        <p:tgtEl>
                          <p:spTgt spid="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8" grpId="1"/>
      <p:bldP spid="11" grpId="0" animBg="1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250"/>
                        <p:tgtEl>
                          <p:spTgt spid="1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1" grpId="1" animBg="1">
        <p:tmplLst>
          <p:tmpl>
            <p:tnLst>
              <p:par>
                <p:cTn presetID="42" presetClass="path" presetSubtype="0" decel="100000" fill="hold" nodeType="withEffect">
                  <p:stCondLst>
                    <p:cond delay="250"/>
                  </p:stCondLst>
                  <p:childTnLst>
                    <p:animMotion origin="layout" path="M 1.25E-6 0.03889 L 1.25E-6 1.85185E-6 " pathEditMode="relative" rAng="0" ptsTypes="AA">
                      <p:cBhvr>
                        <p:cTn dur="500" fill="hold"/>
                        <p:tgtEl>
                          <p:spTgt spid="11"/>
                        </p:tgtEl>
                        <p:attrNameLst>
                          <p:attrName>ppt_x</p:attrName>
                          <p:attrName>ppt_y</p:attrName>
                        </p:attrNameLst>
                      </p:cBhvr>
                      <p:rCtr x="0" y="-1944"/>
                    </p:animMotion>
                  </p:childTnLst>
                </p:cTn>
              </p:par>
            </p:tnLst>
          </p:tmpl>
        </p:tmplLst>
      </p:bldP>
      <p:bldP spid="12" grpId="0" animBg="1">
        <p:tmplLst>
          <p:tmpl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250"/>
                        <p:tgtEl>
                          <p:spTgt spid="1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2" grpId="1" animBg="1">
        <p:tmplLst>
          <p:tmpl>
            <p:tnLst>
              <p:par>
                <p:cTn presetID="42" presetClass="path" presetSubtype="0" decel="100000" fill="hold" nodeType="withEffect">
                  <p:stCondLst>
                    <p:cond delay="500"/>
                  </p:stCondLst>
                  <p:childTnLst>
                    <p:animMotion origin="layout" path="M 1.25E-6 0.03889 L 1.25E-6 1.85185E-6 " pathEditMode="relative" rAng="0" ptsTypes="AA">
                      <p:cBhvr>
                        <p:cTn dur="500" fill="hold"/>
                        <p:tgtEl>
                          <p:spTgt spid="12"/>
                        </p:tgtEl>
                        <p:attrNameLst>
                          <p:attrName>ppt_x</p:attrName>
                          <p:attrName>ppt_y</p:attrName>
                        </p:attrNameLst>
                      </p:cBhvr>
                      <p:rCtr x="0" y="-1944"/>
                    </p:animMotion>
                  </p:childTnLst>
                </p:cTn>
              </p:par>
            </p:tnLst>
          </p:tmpl>
        </p:tmplLst>
      </p:bldP>
      <p:bldP spid="13" grpId="0" animBg="1">
        <p:tmplLst>
          <p:tmpl>
            <p:tnLst>
              <p:par>
                <p:cTn presetID="10" presetClass="entr" presetSubtype="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250"/>
                        <p:tgtEl>
                          <p:spTgt spid="1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3" grpId="1" animBg="1">
        <p:tmplLst>
          <p:tmpl>
            <p:tnLst>
              <p:par>
                <p:cTn presetID="42" presetClass="path" presetSubtype="0" decel="100000" fill="hold" nodeType="withEffect">
                  <p:stCondLst>
                    <p:cond delay="750"/>
                  </p:stCondLst>
                  <p:childTnLst>
                    <p:animMotion origin="layout" path="M 1.25E-6 0.03889 L 1.25E-6 1.85185E-6 " pathEditMode="relative" rAng="0" ptsTypes="AA">
                      <p:cBhvr>
                        <p:cTn dur="500" fill="hold"/>
                        <p:tgtEl>
                          <p:spTgt spid="13"/>
                        </p:tgtEl>
                        <p:attrNameLst>
                          <p:attrName>ppt_x</p:attrName>
                          <p:attrName>ppt_y</p:attrName>
                        </p:attrNameLst>
                      </p:cBhvr>
                      <p:rCtr x="0" y="-1944"/>
                    </p:animMotion>
                  </p:childTnLst>
                </p:cTn>
              </p:par>
            </p:tnLst>
          </p:tmpl>
        </p:tmplLst>
      </p:bldP>
      <p:bldP spid="20" grpId="0" animBg="1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250"/>
                        <p:tgtEl>
                          <p:spTgt spid="2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0" grpId="1" animBg="1">
        <p:tmplLst>
          <p:tmpl>
            <p:tnLst>
              <p:par>
                <p:cTn presetID="42" presetClass="path" presetSubtype="0" decel="100000" fill="hold" nodeType="withEffect">
                  <p:stCondLst>
                    <p:cond delay="250"/>
                  </p:stCondLst>
                  <p:childTnLst>
                    <p:animMotion origin="layout" path="M 1.25E-6 0.03889 L 1.25E-6 1.85185E-6 " pathEditMode="relative" rAng="0" ptsTypes="AA">
                      <p:cBhvr>
                        <p:cTn dur="500" fill="hold"/>
                        <p:tgtEl>
                          <p:spTgt spid="20"/>
                        </p:tgtEl>
                        <p:attrNameLst>
                          <p:attrName>ppt_x</p:attrName>
                          <p:attrName>ppt_y</p:attrName>
                        </p:attrNameLst>
                      </p:cBhvr>
                      <p:rCtr x="0" y="-1944"/>
                    </p:animMotion>
                  </p:childTnLst>
                </p:cTn>
              </p:par>
            </p:tnLst>
          </p:tmpl>
        </p:tmplLst>
      </p:bldP>
      <p:bldP spid="22" grpId="0" animBg="1">
        <p:tmplLst>
          <p:tmpl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250"/>
                        <p:tgtEl>
                          <p:spTgt spid="2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2" grpId="1" animBg="1">
        <p:tmplLst>
          <p:tmpl>
            <p:tnLst>
              <p:par>
                <p:cTn presetID="42" presetClass="path" presetSubtype="0" decel="100000" fill="hold" nodeType="withEffect">
                  <p:stCondLst>
                    <p:cond delay="500"/>
                  </p:stCondLst>
                  <p:childTnLst>
                    <p:animMotion origin="layout" path="M 1.25E-6 0.03889 L 1.25E-6 1.85185E-6 " pathEditMode="relative" rAng="0" ptsTypes="AA">
                      <p:cBhvr>
                        <p:cTn dur="500" fill="hold"/>
                        <p:tgtEl>
                          <p:spTgt spid="22"/>
                        </p:tgtEl>
                        <p:attrNameLst>
                          <p:attrName>ppt_x</p:attrName>
                          <p:attrName>ppt_y</p:attrName>
                        </p:attrNameLst>
                      </p:cBhvr>
                      <p:rCtr x="0" y="-1944"/>
                    </p:animMotion>
                  </p:childTnLst>
                </p:cTn>
              </p:par>
            </p:tnLst>
          </p:tmpl>
        </p:tmplLst>
      </p:bldP>
      <p:bldP spid="23" grpId="0" animBg="1">
        <p:tmplLst>
          <p:tmpl>
            <p:tnLst>
              <p:par>
                <p:cTn presetID="10" presetClass="entr" presetSubtype="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250"/>
                        <p:tgtEl>
                          <p:spTgt spid="2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3" grpId="1" animBg="1">
        <p:tmplLst>
          <p:tmpl>
            <p:tnLst>
              <p:par>
                <p:cTn presetID="42" presetClass="path" presetSubtype="0" decel="100000" fill="hold" nodeType="withEffect">
                  <p:stCondLst>
                    <p:cond delay="750"/>
                  </p:stCondLst>
                  <p:childTnLst>
                    <p:animMotion origin="layout" path="M 1.25E-6 0.03889 L 1.25E-6 1.85185E-6 " pathEditMode="relative" rAng="0" ptsTypes="AA">
                      <p:cBhvr>
                        <p:cTn dur="500" fill="hold"/>
                        <p:tgtEl>
                          <p:spTgt spid="23"/>
                        </p:tgtEl>
                        <p:attrNameLst>
                          <p:attrName>ppt_x</p:attrName>
                          <p:attrName>ppt_y</p:attrName>
                        </p:attrNameLst>
                      </p:cBhvr>
                      <p:rCtr x="0" y="-1944"/>
                    </p:animMotion>
                  </p:childTnLst>
                </p:cTn>
              </p:par>
            </p:tnLst>
          </p:tmpl>
        </p:tmplLst>
      </p:bldP>
    </p:bldLst>
  </p:timing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8_Esquema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m 9">
            <a:extLst>
              <a:ext uri="{FF2B5EF4-FFF2-40B4-BE49-F238E27FC236}">
                <a16:creationId xmlns:a16="http://schemas.microsoft.com/office/drawing/2014/main" id="{3304E16A-7B00-74A5-145E-B18BC116913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 l="13888" t="61466" r="16313" b="12636"/>
          <a:stretch>
            <a:fillRect/>
          </a:stretch>
        </p:blipFill>
        <p:spPr>
          <a:xfrm rot="5400000" flipH="1">
            <a:off x="8157581" y="1569391"/>
            <a:ext cx="5885263" cy="2183575"/>
          </a:xfrm>
          <a:prstGeom prst="rect">
            <a:avLst/>
          </a:prstGeom>
        </p:spPr>
      </p:pic>
      <p:sp>
        <p:nvSpPr>
          <p:cNvPr id="6" name="Título 6">
            <a:extLst>
              <a:ext uri="{FF2B5EF4-FFF2-40B4-BE49-F238E27FC236}">
                <a16:creationId xmlns:a16="http://schemas.microsoft.com/office/drawing/2014/main" id="{7A663EAC-54F8-F3F0-4D23-7D3C1C92272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3184" y="550508"/>
            <a:ext cx="11248887" cy="712204"/>
          </a:xfrm>
        </p:spPr>
        <p:txBody>
          <a:bodyPr>
            <a:normAutofit/>
          </a:bodyPr>
          <a:lstStyle>
            <a:lvl1pPr>
              <a:defRPr sz="3200"/>
            </a:lvl1pPr>
          </a:lstStyle>
          <a:p>
            <a:r>
              <a:rPr lang="pt-PT" dirty="0"/>
              <a:t>Insertar título de la slide</a:t>
            </a:r>
          </a:p>
        </p:txBody>
      </p:sp>
      <p:sp>
        <p:nvSpPr>
          <p:cNvPr id="7" name="Marcador de Posição do Texto 8">
            <a:extLst>
              <a:ext uri="{FF2B5EF4-FFF2-40B4-BE49-F238E27FC236}">
                <a16:creationId xmlns:a16="http://schemas.microsoft.com/office/drawing/2014/main" id="{B3DCA57D-31C5-6C42-3B70-A56101CC365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12764" y="1156317"/>
            <a:ext cx="11249736" cy="355243"/>
          </a:xfrm>
        </p:spPr>
        <p:txBody>
          <a:bodyPr>
            <a:normAutofit/>
          </a:bodyPr>
          <a:lstStyle>
            <a:lvl1pPr>
              <a:defRPr sz="200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pt-PT" dirty="0"/>
              <a:t>Insertar subtítulo de la slide</a:t>
            </a:r>
          </a:p>
        </p:txBody>
      </p:sp>
      <p:grpSp>
        <p:nvGrpSpPr>
          <p:cNvPr id="21" name="Agrupar 20">
            <a:extLst>
              <a:ext uri="{FF2B5EF4-FFF2-40B4-BE49-F238E27FC236}">
                <a16:creationId xmlns:a16="http://schemas.microsoft.com/office/drawing/2014/main" id="{12A40C25-3125-E330-DDE3-3F7131B0C691}"/>
              </a:ext>
            </a:extLst>
          </p:cNvPr>
          <p:cNvGrpSpPr/>
          <p:nvPr userDrawn="1"/>
        </p:nvGrpSpPr>
        <p:grpSpPr>
          <a:xfrm>
            <a:off x="0" y="2274197"/>
            <a:ext cx="11913605" cy="4583803"/>
            <a:chOff x="-761927" y="1557976"/>
            <a:chExt cx="11913605" cy="4121791"/>
          </a:xfrm>
          <a:solidFill>
            <a:srgbClr val="E5E5E5"/>
          </a:solidFill>
        </p:grpSpPr>
        <p:sp>
          <p:nvSpPr>
            <p:cNvPr id="22" name="Forma livre: Forma 21">
              <a:extLst>
                <a:ext uri="{FF2B5EF4-FFF2-40B4-BE49-F238E27FC236}">
                  <a16:creationId xmlns:a16="http://schemas.microsoft.com/office/drawing/2014/main" id="{5A08C026-BBF0-ABA6-2997-ABBAADBFDAD3}"/>
                </a:ext>
              </a:extLst>
            </p:cNvPr>
            <p:cNvSpPr/>
            <p:nvPr/>
          </p:nvSpPr>
          <p:spPr>
            <a:xfrm flipV="1">
              <a:off x="-761927" y="1557976"/>
              <a:ext cx="11206867" cy="524519"/>
            </a:xfrm>
            <a:custGeom>
              <a:avLst/>
              <a:gdLst>
                <a:gd name="connsiteX0" fmla="*/ 2220906 w 2220906"/>
                <a:gd name="connsiteY0" fmla="*/ 0 h 524519"/>
                <a:gd name="connsiteX1" fmla="*/ 2220906 w 2220906"/>
                <a:gd name="connsiteY1" fmla="*/ 524457 h 524519"/>
                <a:gd name="connsiteX2" fmla="*/ 0 w 2220906"/>
                <a:gd name="connsiteY2" fmla="*/ 524519 h 524519"/>
                <a:gd name="connsiteX3" fmla="*/ 0 w 2220906"/>
                <a:gd name="connsiteY3" fmla="*/ 62 h 5245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220906" h="524519">
                  <a:moveTo>
                    <a:pt x="2220906" y="0"/>
                  </a:moveTo>
                  <a:lnTo>
                    <a:pt x="2220906" y="524457"/>
                  </a:lnTo>
                  <a:lnTo>
                    <a:pt x="0" y="524519"/>
                  </a:lnTo>
                  <a:lnTo>
                    <a:pt x="0" y="62"/>
                  </a:lnTo>
                  <a:close/>
                </a:path>
              </a:pathLst>
            </a:custGeom>
            <a:grpFill/>
            <a:ln w="4244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pt-PT">
                <a:solidFill>
                  <a:schemeClr val="tx1"/>
                </a:solidFill>
              </a:endParaRPr>
            </a:p>
          </p:txBody>
        </p:sp>
        <p:sp>
          <p:nvSpPr>
            <p:cNvPr id="23" name="Retângulo 22">
              <a:extLst>
                <a:ext uri="{FF2B5EF4-FFF2-40B4-BE49-F238E27FC236}">
                  <a16:creationId xmlns:a16="http://schemas.microsoft.com/office/drawing/2014/main" id="{077DED08-7792-BA0B-8260-E8E7ADFCF4DC}"/>
                </a:ext>
              </a:extLst>
            </p:cNvPr>
            <p:cNvSpPr/>
            <p:nvPr/>
          </p:nvSpPr>
          <p:spPr>
            <a:xfrm>
              <a:off x="-761926" y="2082455"/>
              <a:ext cx="11913604" cy="3597312"/>
            </a:xfrm>
            <a:prstGeom prst="rect">
              <a:avLst/>
            </a:prstGeom>
            <a:grpFill/>
            <a:ln w="4244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pt-PT">
                <a:solidFill>
                  <a:schemeClr val="tx1"/>
                </a:solidFill>
              </a:endParaRPr>
            </a:p>
          </p:txBody>
        </p:sp>
        <p:sp>
          <p:nvSpPr>
            <p:cNvPr id="24" name="Forma livre: Forma 23">
              <a:extLst>
                <a:ext uri="{FF2B5EF4-FFF2-40B4-BE49-F238E27FC236}">
                  <a16:creationId xmlns:a16="http://schemas.microsoft.com/office/drawing/2014/main" id="{BB272BC2-17DE-E899-C4FE-373206C6DC11}"/>
                </a:ext>
              </a:extLst>
            </p:cNvPr>
            <p:cNvSpPr/>
            <p:nvPr/>
          </p:nvSpPr>
          <p:spPr>
            <a:xfrm flipH="1" flipV="1">
              <a:off x="10015201" y="1557978"/>
              <a:ext cx="1136476" cy="524519"/>
            </a:xfrm>
            <a:custGeom>
              <a:avLst/>
              <a:gdLst>
                <a:gd name="connsiteX0" fmla="*/ 103570 w 224310"/>
                <a:gd name="connsiteY0" fmla="*/ 103528 h 103527"/>
                <a:gd name="connsiteX1" fmla="*/ 189801 w 224310"/>
                <a:gd name="connsiteY1" fmla="*/ 103528 h 103527"/>
                <a:gd name="connsiteX2" fmla="*/ 224310 w 224310"/>
                <a:gd name="connsiteY2" fmla="*/ 0 h 103527"/>
                <a:gd name="connsiteX3" fmla="*/ 0 w 224310"/>
                <a:gd name="connsiteY3" fmla="*/ 0 h 103527"/>
                <a:gd name="connsiteX4" fmla="*/ 103528 w 224310"/>
                <a:gd name="connsiteY4" fmla="*/ 103528 h 1035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24310" h="103527">
                  <a:moveTo>
                    <a:pt x="103570" y="103528"/>
                  </a:moveTo>
                  <a:lnTo>
                    <a:pt x="189801" y="103528"/>
                  </a:lnTo>
                  <a:lnTo>
                    <a:pt x="224310" y="0"/>
                  </a:lnTo>
                  <a:lnTo>
                    <a:pt x="0" y="0"/>
                  </a:lnTo>
                  <a:cubicBezTo>
                    <a:pt x="0" y="57204"/>
                    <a:pt x="46367" y="103528"/>
                    <a:pt x="103528" y="103528"/>
                  </a:cubicBezTo>
                  <a:close/>
                </a:path>
              </a:pathLst>
            </a:custGeom>
            <a:grpFill/>
            <a:ln w="42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sp>
        <p:nvSpPr>
          <p:cNvPr id="28" name="Marcador de Posição do Texto 27">
            <a:extLst>
              <a:ext uri="{FF2B5EF4-FFF2-40B4-BE49-F238E27FC236}">
                <a16:creationId xmlns:a16="http://schemas.microsoft.com/office/drawing/2014/main" id="{22834669-F0D3-2515-5123-505DD37071FB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767320" y="2464892"/>
            <a:ext cx="3971925" cy="392574"/>
          </a:xfrm>
          <a:prstGeom prst="roundRect">
            <a:avLst>
              <a:gd name="adj" fmla="val 50000"/>
            </a:avLst>
          </a:prstGeom>
          <a:solidFill>
            <a:srgbClr val="132153"/>
          </a:solidFill>
        </p:spPr>
        <p:txBody>
          <a:bodyPr anchor="ctr"/>
          <a:lstStyle>
            <a:lvl1pPr algn="ctr">
              <a:defRPr>
                <a:solidFill>
                  <a:srgbClr val="F7F7F7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pt-PT" dirty="0"/>
              <a:t>Insertar texto</a:t>
            </a:r>
          </a:p>
        </p:txBody>
      </p:sp>
      <p:sp>
        <p:nvSpPr>
          <p:cNvPr id="29" name="Marcador de Posição do Texto 27">
            <a:extLst>
              <a:ext uri="{FF2B5EF4-FFF2-40B4-BE49-F238E27FC236}">
                <a16:creationId xmlns:a16="http://schemas.microsoft.com/office/drawing/2014/main" id="{F525F4A7-7B69-7B70-B477-044D34ECCEBE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211853" y="3029773"/>
            <a:ext cx="2342513" cy="392574"/>
          </a:xfrm>
          <a:prstGeom prst="roundRect">
            <a:avLst>
              <a:gd name="adj" fmla="val 50000"/>
            </a:avLst>
          </a:prstGeom>
          <a:solidFill>
            <a:srgbClr val="132153"/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>
                <a:solidFill>
                  <a:srgbClr val="F7F7F7"/>
                </a:solidFill>
              </a:defRPr>
            </a:lvl1pPr>
            <a:lvl2pPr marL="0" indent="0">
              <a:buNone/>
              <a:defRPr/>
            </a:lvl2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dirty="0"/>
              <a:t>Insertar texto</a:t>
            </a:r>
          </a:p>
        </p:txBody>
      </p:sp>
      <p:sp>
        <p:nvSpPr>
          <p:cNvPr id="30" name="Marcador de Posição do Texto 27">
            <a:extLst>
              <a:ext uri="{FF2B5EF4-FFF2-40B4-BE49-F238E27FC236}">
                <a16:creationId xmlns:a16="http://schemas.microsoft.com/office/drawing/2014/main" id="{731341C0-47D7-8FBA-2F28-E87C84A68F9C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472342" y="3594654"/>
            <a:ext cx="2342513" cy="392574"/>
          </a:xfrm>
          <a:prstGeom prst="roundRect">
            <a:avLst>
              <a:gd name="adj" fmla="val 50000"/>
            </a:avLst>
          </a:prstGeom>
          <a:solidFill>
            <a:srgbClr val="132153"/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>
                <a:solidFill>
                  <a:srgbClr val="F7F7F7"/>
                </a:solidFill>
              </a:defRPr>
            </a:lvl1pPr>
            <a:lvl2pPr marL="0" indent="0">
              <a:buNone/>
              <a:defRPr/>
            </a:lvl2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dirty="0"/>
              <a:t>Insertar texto</a:t>
            </a:r>
          </a:p>
        </p:txBody>
      </p:sp>
      <p:sp>
        <p:nvSpPr>
          <p:cNvPr id="31" name="Marcador de Posição do Texto 27">
            <a:extLst>
              <a:ext uri="{FF2B5EF4-FFF2-40B4-BE49-F238E27FC236}">
                <a16:creationId xmlns:a16="http://schemas.microsoft.com/office/drawing/2014/main" id="{DAB99F4B-0C90-81E7-669F-781405BEC78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767320" y="4159535"/>
            <a:ext cx="3971925" cy="392574"/>
          </a:xfrm>
          <a:prstGeom prst="roundRect">
            <a:avLst>
              <a:gd name="adj" fmla="val 50000"/>
            </a:avLst>
          </a:prstGeom>
          <a:solidFill>
            <a:srgbClr val="132153"/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>
                <a:solidFill>
                  <a:srgbClr val="F7F7F7"/>
                </a:solidFill>
              </a:defRPr>
            </a:lvl1pPr>
            <a:lvl2pPr marL="0" indent="0">
              <a:buNone/>
              <a:defRPr/>
            </a:lvl2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dirty="0"/>
              <a:t>Insertar texto</a:t>
            </a:r>
          </a:p>
        </p:txBody>
      </p:sp>
      <p:sp>
        <p:nvSpPr>
          <p:cNvPr id="32" name="Marcador de Posição do Texto 27">
            <a:extLst>
              <a:ext uri="{FF2B5EF4-FFF2-40B4-BE49-F238E27FC236}">
                <a16:creationId xmlns:a16="http://schemas.microsoft.com/office/drawing/2014/main" id="{6EF388A6-1BBB-40D9-B2C9-90793A0AEDC0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211853" y="4724416"/>
            <a:ext cx="4787880" cy="392574"/>
          </a:xfrm>
          <a:prstGeom prst="roundRect">
            <a:avLst>
              <a:gd name="adj" fmla="val 50000"/>
            </a:avLst>
          </a:prstGeom>
          <a:solidFill>
            <a:srgbClr val="132153"/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>
                <a:solidFill>
                  <a:srgbClr val="F7F7F7"/>
                </a:solidFill>
              </a:defRPr>
            </a:lvl1pPr>
            <a:lvl2pPr marL="0" indent="0">
              <a:buNone/>
              <a:defRPr/>
            </a:lvl2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dirty="0"/>
              <a:t>Insertar texto</a:t>
            </a:r>
          </a:p>
        </p:txBody>
      </p:sp>
      <p:sp>
        <p:nvSpPr>
          <p:cNvPr id="33" name="Marcador de Posição do Texto 27">
            <a:extLst>
              <a:ext uri="{FF2B5EF4-FFF2-40B4-BE49-F238E27FC236}">
                <a16:creationId xmlns:a16="http://schemas.microsoft.com/office/drawing/2014/main" id="{71EE3CF2-FAE8-7D8C-846B-481A40EBA35A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5842097" y="5289297"/>
            <a:ext cx="5603006" cy="392574"/>
          </a:xfrm>
          <a:prstGeom prst="roundRect">
            <a:avLst>
              <a:gd name="adj" fmla="val 50000"/>
            </a:avLst>
          </a:prstGeom>
          <a:solidFill>
            <a:srgbClr val="132153"/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>
                <a:solidFill>
                  <a:srgbClr val="F7F7F7"/>
                </a:solidFill>
              </a:defRPr>
            </a:lvl1pPr>
            <a:lvl2pPr marL="0" indent="0">
              <a:buNone/>
              <a:defRPr/>
            </a:lvl2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dirty="0"/>
              <a:t>Insertar texto</a:t>
            </a:r>
          </a:p>
        </p:txBody>
      </p:sp>
      <p:sp>
        <p:nvSpPr>
          <p:cNvPr id="34" name="Marcador de Posição do Texto 27">
            <a:extLst>
              <a:ext uri="{FF2B5EF4-FFF2-40B4-BE49-F238E27FC236}">
                <a16:creationId xmlns:a16="http://schemas.microsoft.com/office/drawing/2014/main" id="{792DEF37-E019-FD73-346B-AB8E526D5CC7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4211853" y="5854178"/>
            <a:ext cx="4787880" cy="392574"/>
          </a:xfrm>
          <a:prstGeom prst="roundRect">
            <a:avLst>
              <a:gd name="adj" fmla="val 50000"/>
            </a:avLst>
          </a:prstGeom>
          <a:solidFill>
            <a:srgbClr val="132153"/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>
                <a:solidFill>
                  <a:srgbClr val="F7F7F7"/>
                </a:solidFill>
              </a:defRPr>
            </a:lvl1pPr>
            <a:lvl2pPr marL="0" indent="0">
              <a:buNone/>
              <a:defRPr/>
            </a:lvl2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dirty="0"/>
              <a:t>Insertar texto</a:t>
            </a:r>
          </a:p>
        </p:txBody>
      </p:sp>
      <p:sp>
        <p:nvSpPr>
          <p:cNvPr id="35" name="CaixaDeTexto 34">
            <a:extLst>
              <a:ext uri="{FF2B5EF4-FFF2-40B4-BE49-F238E27FC236}">
                <a16:creationId xmlns:a16="http://schemas.microsoft.com/office/drawing/2014/main" id="{0854CBE6-A966-6417-601D-3396B9822E7A}"/>
              </a:ext>
            </a:extLst>
          </p:cNvPr>
          <p:cNvSpPr txBox="1"/>
          <p:nvPr userDrawn="1"/>
        </p:nvSpPr>
        <p:spPr>
          <a:xfrm>
            <a:off x="1901247" y="1880266"/>
            <a:ext cx="49725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PT" sz="1400" dirty="0">
                <a:solidFill>
                  <a:schemeClr val="tx2"/>
                </a:solidFill>
                <a:latin typeface="+mn-lt"/>
              </a:rPr>
              <a:t>ene</a:t>
            </a:r>
          </a:p>
        </p:txBody>
      </p:sp>
      <p:sp>
        <p:nvSpPr>
          <p:cNvPr id="36" name="CaixaDeTexto 35">
            <a:extLst>
              <a:ext uri="{FF2B5EF4-FFF2-40B4-BE49-F238E27FC236}">
                <a16:creationId xmlns:a16="http://schemas.microsoft.com/office/drawing/2014/main" id="{2034296B-1CE6-E14D-12D3-0C1D1DA9C1BE}"/>
              </a:ext>
            </a:extLst>
          </p:cNvPr>
          <p:cNvSpPr txBox="1"/>
          <p:nvPr userDrawn="1"/>
        </p:nvSpPr>
        <p:spPr>
          <a:xfrm>
            <a:off x="2692762" y="1880266"/>
            <a:ext cx="46679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PT" sz="1400" dirty="0">
                <a:solidFill>
                  <a:schemeClr val="tx2"/>
                </a:solidFill>
                <a:latin typeface="+mn-lt"/>
              </a:rPr>
              <a:t>feb</a:t>
            </a:r>
          </a:p>
        </p:txBody>
      </p:sp>
      <p:sp>
        <p:nvSpPr>
          <p:cNvPr id="37" name="CaixaDeTexto 36">
            <a:extLst>
              <a:ext uri="{FF2B5EF4-FFF2-40B4-BE49-F238E27FC236}">
                <a16:creationId xmlns:a16="http://schemas.microsoft.com/office/drawing/2014/main" id="{344E5350-416A-0931-4799-269ADA86F159}"/>
              </a:ext>
            </a:extLst>
          </p:cNvPr>
          <p:cNvSpPr txBox="1"/>
          <p:nvPr userDrawn="1"/>
        </p:nvSpPr>
        <p:spPr>
          <a:xfrm>
            <a:off x="3482673" y="1880266"/>
            <a:ext cx="52931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PT" sz="1400" dirty="0">
                <a:solidFill>
                  <a:schemeClr val="tx2"/>
                </a:solidFill>
                <a:latin typeface="+mn-lt"/>
              </a:rPr>
              <a:t>mar</a:t>
            </a:r>
          </a:p>
        </p:txBody>
      </p:sp>
      <p:sp>
        <p:nvSpPr>
          <p:cNvPr id="38" name="CaixaDeTexto 37">
            <a:extLst>
              <a:ext uri="{FF2B5EF4-FFF2-40B4-BE49-F238E27FC236}">
                <a16:creationId xmlns:a16="http://schemas.microsoft.com/office/drawing/2014/main" id="{4C8293B1-160A-D931-336A-76AEFBC1FEA6}"/>
              </a:ext>
            </a:extLst>
          </p:cNvPr>
          <p:cNvSpPr txBox="1"/>
          <p:nvPr userDrawn="1"/>
        </p:nvSpPr>
        <p:spPr>
          <a:xfrm>
            <a:off x="4360750" y="1880266"/>
            <a:ext cx="47320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PT" sz="1400" dirty="0" err="1">
                <a:solidFill>
                  <a:schemeClr val="tx2"/>
                </a:solidFill>
                <a:latin typeface="+mn-lt"/>
              </a:rPr>
              <a:t>abr</a:t>
            </a:r>
            <a:endParaRPr lang="pt-PT" sz="1400" dirty="0">
              <a:solidFill>
                <a:schemeClr val="tx2"/>
              </a:solidFill>
              <a:latin typeface="+mn-lt"/>
            </a:endParaRPr>
          </a:p>
        </p:txBody>
      </p:sp>
      <p:sp>
        <p:nvSpPr>
          <p:cNvPr id="39" name="CaixaDeTexto 38">
            <a:extLst>
              <a:ext uri="{FF2B5EF4-FFF2-40B4-BE49-F238E27FC236}">
                <a16:creationId xmlns:a16="http://schemas.microsoft.com/office/drawing/2014/main" id="{8FA0CAC7-6487-6193-FFEA-2654D80BA8AB}"/>
              </a:ext>
            </a:extLst>
          </p:cNvPr>
          <p:cNvSpPr txBox="1"/>
          <p:nvPr userDrawn="1"/>
        </p:nvSpPr>
        <p:spPr>
          <a:xfrm>
            <a:off x="5182721" y="1880266"/>
            <a:ext cx="54854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PT" sz="1400" dirty="0">
                <a:solidFill>
                  <a:schemeClr val="tx2"/>
                </a:solidFill>
                <a:latin typeface="+mn-lt"/>
              </a:rPr>
              <a:t>may</a:t>
            </a:r>
          </a:p>
        </p:txBody>
      </p:sp>
      <p:sp>
        <p:nvSpPr>
          <p:cNvPr id="40" name="CaixaDeTexto 39">
            <a:extLst>
              <a:ext uri="{FF2B5EF4-FFF2-40B4-BE49-F238E27FC236}">
                <a16:creationId xmlns:a16="http://schemas.microsoft.com/office/drawing/2014/main" id="{1CA76A44-CBB4-3CB2-44E3-3BB13D3851E6}"/>
              </a:ext>
            </a:extLst>
          </p:cNvPr>
          <p:cNvSpPr txBox="1"/>
          <p:nvPr userDrawn="1"/>
        </p:nvSpPr>
        <p:spPr>
          <a:xfrm>
            <a:off x="6035150" y="1880266"/>
            <a:ext cx="43633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PT" sz="1400" dirty="0" err="1">
                <a:solidFill>
                  <a:schemeClr val="tx2"/>
                </a:solidFill>
                <a:latin typeface="+mn-lt"/>
              </a:rPr>
              <a:t>jun</a:t>
            </a:r>
            <a:endParaRPr lang="pt-PT" sz="1400" dirty="0">
              <a:solidFill>
                <a:schemeClr val="tx2"/>
              </a:solidFill>
              <a:latin typeface="+mn-lt"/>
            </a:endParaRPr>
          </a:p>
        </p:txBody>
      </p:sp>
      <p:sp>
        <p:nvSpPr>
          <p:cNvPr id="41" name="CaixaDeTexto 40">
            <a:extLst>
              <a:ext uri="{FF2B5EF4-FFF2-40B4-BE49-F238E27FC236}">
                <a16:creationId xmlns:a16="http://schemas.microsoft.com/office/drawing/2014/main" id="{18896B11-5FEA-783E-4B9F-5B937A5DD549}"/>
              </a:ext>
            </a:extLst>
          </p:cNvPr>
          <p:cNvSpPr txBox="1"/>
          <p:nvPr userDrawn="1"/>
        </p:nvSpPr>
        <p:spPr>
          <a:xfrm>
            <a:off x="6820253" y="1880266"/>
            <a:ext cx="36580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PT" sz="1400" dirty="0" err="1">
                <a:solidFill>
                  <a:schemeClr val="tx2"/>
                </a:solidFill>
                <a:latin typeface="+mn-lt"/>
              </a:rPr>
              <a:t>jul</a:t>
            </a:r>
            <a:endParaRPr lang="pt-PT" sz="1400" dirty="0">
              <a:solidFill>
                <a:schemeClr val="tx2"/>
              </a:solidFill>
              <a:latin typeface="+mn-lt"/>
            </a:endParaRPr>
          </a:p>
        </p:txBody>
      </p:sp>
      <p:sp>
        <p:nvSpPr>
          <p:cNvPr id="42" name="CaixaDeTexto 41">
            <a:extLst>
              <a:ext uri="{FF2B5EF4-FFF2-40B4-BE49-F238E27FC236}">
                <a16:creationId xmlns:a16="http://schemas.microsoft.com/office/drawing/2014/main" id="{92B6F8D9-5407-51E8-F28D-EEF89C39E9BE}"/>
              </a:ext>
            </a:extLst>
          </p:cNvPr>
          <p:cNvSpPr txBox="1"/>
          <p:nvPr userDrawn="1"/>
        </p:nvSpPr>
        <p:spPr>
          <a:xfrm>
            <a:off x="7534824" y="1880266"/>
            <a:ext cx="51328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PT" sz="1400" dirty="0">
                <a:solidFill>
                  <a:schemeClr val="tx2"/>
                </a:solidFill>
                <a:latin typeface="+mn-lt"/>
              </a:rPr>
              <a:t>ago</a:t>
            </a:r>
          </a:p>
        </p:txBody>
      </p:sp>
      <p:sp>
        <p:nvSpPr>
          <p:cNvPr id="43" name="CaixaDeTexto 42">
            <a:extLst>
              <a:ext uri="{FF2B5EF4-FFF2-40B4-BE49-F238E27FC236}">
                <a16:creationId xmlns:a16="http://schemas.microsoft.com/office/drawing/2014/main" id="{61E171CB-520B-0020-7B72-9DE82C62AEF7}"/>
              </a:ext>
            </a:extLst>
          </p:cNvPr>
          <p:cNvSpPr txBox="1"/>
          <p:nvPr userDrawn="1"/>
        </p:nvSpPr>
        <p:spPr>
          <a:xfrm>
            <a:off x="8396871" y="1880266"/>
            <a:ext cx="44595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PT" sz="1400" dirty="0">
                <a:solidFill>
                  <a:schemeClr val="tx2"/>
                </a:solidFill>
                <a:latin typeface="+mn-lt"/>
              </a:rPr>
              <a:t>set</a:t>
            </a:r>
          </a:p>
        </p:txBody>
      </p:sp>
      <p:sp>
        <p:nvSpPr>
          <p:cNvPr id="44" name="CaixaDeTexto 43">
            <a:extLst>
              <a:ext uri="{FF2B5EF4-FFF2-40B4-BE49-F238E27FC236}">
                <a16:creationId xmlns:a16="http://schemas.microsoft.com/office/drawing/2014/main" id="{C971D1E6-9BAC-2F71-AAEB-1366DF71A3BA}"/>
              </a:ext>
            </a:extLst>
          </p:cNvPr>
          <p:cNvSpPr txBox="1"/>
          <p:nvPr userDrawn="1"/>
        </p:nvSpPr>
        <p:spPr>
          <a:xfrm>
            <a:off x="9191592" y="1880266"/>
            <a:ext cx="46839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PT" sz="1400" dirty="0">
                <a:solidFill>
                  <a:schemeClr val="tx2"/>
                </a:solidFill>
                <a:latin typeface="+mn-lt"/>
              </a:rPr>
              <a:t>oct</a:t>
            </a:r>
          </a:p>
        </p:txBody>
      </p:sp>
      <p:sp>
        <p:nvSpPr>
          <p:cNvPr id="45" name="CaixaDeTexto 44">
            <a:extLst>
              <a:ext uri="{FF2B5EF4-FFF2-40B4-BE49-F238E27FC236}">
                <a16:creationId xmlns:a16="http://schemas.microsoft.com/office/drawing/2014/main" id="{B2FF5101-050B-EA61-0539-C3E3DF93C281}"/>
              </a:ext>
            </a:extLst>
          </p:cNvPr>
          <p:cNvSpPr txBox="1"/>
          <p:nvPr userDrawn="1"/>
        </p:nvSpPr>
        <p:spPr>
          <a:xfrm>
            <a:off x="10008755" y="1880266"/>
            <a:ext cx="48763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PT" sz="1400" dirty="0" err="1">
                <a:solidFill>
                  <a:schemeClr val="tx2"/>
                </a:solidFill>
                <a:latin typeface="+mn-lt"/>
              </a:rPr>
              <a:t>nov</a:t>
            </a:r>
            <a:endParaRPr lang="pt-PT" sz="1400" dirty="0">
              <a:solidFill>
                <a:schemeClr val="tx2"/>
              </a:solidFill>
              <a:latin typeface="+mn-lt"/>
            </a:endParaRPr>
          </a:p>
        </p:txBody>
      </p:sp>
      <p:sp>
        <p:nvSpPr>
          <p:cNvPr id="46" name="CaixaDeTexto 45">
            <a:extLst>
              <a:ext uri="{FF2B5EF4-FFF2-40B4-BE49-F238E27FC236}">
                <a16:creationId xmlns:a16="http://schemas.microsoft.com/office/drawing/2014/main" id="{982DA2AD-5232-3A3D-8FBB-C24FE48EEC50}"/>
              </a:ext>
            </a:extLst>
          </p:cNvPr>
          <p:cNvSpPr txBox="1"/>
          <p:nvPr userDrawn="1"/>
        </p:nvSpPr>
        <p:spPr>
          <a:xfrm>
            <a:off x="10845151" y="1880266"/>
            <a:ext cx="42511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PT" sz="1400" dirty="0">
                <a:solidFill>
                  <a:schemeClr val="tx2"/>
                </a:solidFill>
                <a:latin typeface="+mn-lt"/>
              </a:rPr>
              <a:t>dic</a:t>
            </a:r>
          </a:p>
        </p:txBody>
      </p:sp>
      <p:sp>
        <p:nvSpPr>
          <p:cNvPr id="47" name="Marcador de Posição do Rodapé 4">
            <a:extLst>
              <a:ext uri="{FF2B5EF4-FFF2-40B4-BE49-F238E27FC236}">
                <a16:creationId xmlns:a16="http://schemas.microsoft.com/office/drawing/2014/main" id="{687456B8-25B7-4299-97FD-225075C30CE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12762" y="6356350"/>
            <a:ext cx="534669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accent2"/>
                </a:solidFill>
              </a:defRPr>
            </a:lvl1pPr>
          </a:lstStyle>
          <a:p>
            <a:r>
              <a:rPr lang="pt-PT"/>
              <a:t>Título de la presentación</a:t>
            </a:r>
            <a:endParaRPr lang="pt-PT" dirty="0"/>
          </a:p>
        </p:txBody>
      </p:sp>
      <p:sp>
        <p:nvSpPr>
          <p:cNvPr id="48" name="Marcador de Posição do Número do Diapositivo 5">
            <a:extLst>
              <a:ext uri="{FF2B5EF4-FFF2-40B4-BE49-F238E27FC236}">
                <a16:creationId xmlns:a16="http://schemas.microsoft.com/office/drawing/2014/main" id="{D4FD2630-A44F-432C-8767-3B74B3BB511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936039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accent2"/>
                </a:solidFill>
              </a:defRPr>
            </a:lvl1pPr>
          </a:lstStyle>
          <a:p>
            <a:fld id="{24A347C2-D68E-473A-8C76-1D063E4EB6E0}" type="slidenum">
              <a:rPr lang="es-ES" smtClean="0"/>
              <a:pPr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79113065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5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1666 -0.00046 L 3.75E-6 1.85185E-6 " pathEditMode="relative" rAng="0" ptsTypes="AA">
                                      <p:cBhvr>
                                        <p:cTn id="9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833" y="23"/>
                                    </p:animMotion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25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1666 -0.00046 L 3.75E-6 1.85185E-6 " pathEditMode="relative" rAng="0" ptsTypes="AA">
                                      <p:cBhvr>
                                        <p:cTn id="14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833" y="23"/>
                                    </p:animMotion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25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42" presetClass="path" presetSubtype="0" decel="100000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animMotion origin="layout" path="M 1.25E-6 0.03889 L 1.25E-6 1.85185E-6 " pathEditMode="relative" rAng="0" ptsTypes="AA">
                                      <p:cBhvr>
                                        <p:cTn id="19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944"/>
                                    </p:animMotion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25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42" presetClass="path" presetSubtype="0" decel="100000" fill="hold" grpId="1" nodeType="withEffect">
                                  <p:stCondLst>
                                    <p:cond delay="250"/>
                                  </p:stCondLst>
                                  <p:childTnLst>
                                    <p:animMotion origin="layout" path="M 1.25E-6 0.03889 L 1.25E-6 1.85185E-6 " pathEditMode="relative" rAng="0" ptsTypes="AA">
                                      <p:cBhvr>
                                        <p:cTn id="24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944"/>
                                    </p:animMotion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25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42" presetClass="path" presetSubtype="0" decel="100000" fill="hold" grpId="1" nodeType="withEffect">
                                  <p:stCondLst>
                                    <p:cond delay="250"/>
                                  </p:stCondLst>
                                  <p:childTnLst>
                                    <p:animMotion origin="layout" path="M 1.25E-6 0.03889 L 1.25E-6 1.85185E-6 " pathEditMode="relative" rAng="0" ptsTypes="AA">
                                      <p:cBhvr>
                                        <p:cTn id="29" dur="5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944"/>
                                    </p:animMotion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25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42" presetClass="path" presetSubtype="0" decel="100000" fill="hold" grpId="1" nodeType="withEffect">
                                  <p:stCondLst>
                                    <p:cond delay="250"/>
                                  </p:stCondLst>
                                  <p:childTnLst>
                                    <p:animMotion origin="layout" path="M 1.25E-6 0.03889 L 1.25E-6 1.85185E-6 " pathEditMode="relative" rAng="0" ptsTypes="AA">
                                      <p:cBhvr>
                                        <p:cTn id="34" dur="5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944"/>
                                    </p:animMotion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25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42" presetClass="path" presetSubtype="0" decel="100000" fill="hold" grpId="1" nodeType="withEffect">
                                  <p:stCondLst>
                                    <p:cond delay="250"/>
                                  </p:stCondLst>
                                  <p:childTnLst>
                                    <p:animMotion origin="layout" path="M 1.25E-6 0.03889 L 1.25E-6 1.85185E-6 " pathEditMode="relative" rAng="0" ptsTypes="AA">
                                      <p:cBhvr>
                                        <p:cTn id="39" dur="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944"/>
                                    </p:animMotion>
                                  </p:childTnLst>
                                </p:cTn>
                              </p:par>
                              <p:par>
                                <p:cTn id="4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25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" presetID="42" presetClass="path" presetSubtype="0" decel="100000" fill="hold" grpId="1" nodeType="withEffect">
                                  <p:stCondLst>
                                    <p:cond delay="250"/>
                                  </p:stCondLst>
                                  <p:childTnLst>
                                    <p:animMotion origin="layout" path="M 1.25E-6 0.03889 L 1.25E-6 1.85185E-6 " pathEditMode="relative" rAng="0" ptsTypes="AA">
                                      <p:cBhvr>
                                        <p:cTn id="44" dur="5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944"/>
                                    </p:animMotion>
                                  </p:childTnLst>
                                </p:cTn>
                              </p:par>
                              <p:par>
                                <p:cTn id="45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25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" presetID="42" presetClass="path" presetSubtype="0" decel="100000" fill="hold" grpId="1" nodeType="withEffect">
                                  <p:stCondLst>
                                    <p:cond delay="250"/>
                                  </p:stCondLst>
                                  <p:childTnLst>
                                    <p:animMotion origin="layout" path="M 1.25E-6 0.03889 L 1.25E-6 1.85185E-6 " pathEditMode="relative" rAng="0" ptsTypes="AA">
                                      <p:cBhvr>
                                        <p:cTn id="49" dur="5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944"/>
                                    </p:animMotion>
                                  </p:childTnLst>
                                </p:cTn>
                              </p:par>
                              <p:par>
                                <p:cTn id="5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25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" presetID="42" presetClass="path" presetSubtype="0" decel="100000" fill="hold" grpId="1" nodeType="withEffect">
                                  <p:stCondLst>
                                    <p:cond delay="250"/>
                                  </p:stCondLst>
                                  <p:childTnLst>
                                    <p:animMotion origin="layout" path="M 1.25E-6 0.03889 L 1.25E-6 1.85185E-6 " pathEditMode="relative" rAng="0" ptsTypes="AA">
                                      <p:cBhvr>
                                        <p:cTn id="54" dur="5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944"/>
                                    </p:animMotion>
                                  </p:childTnLst>
                                </p:cTn>
                              </p:par>
                              <p:par>
                                <p:cTn id="55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8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0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1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3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4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6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7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9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0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2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3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5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6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7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8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9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1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2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8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4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5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7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8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8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0" dur="5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6" grpId="1"/>
      <p:bldP spid="7" grpId="0">
        <p:tmplLst>
          <p:tmpl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250"/>
                        <p:tgtEl>
                          <p:spTgt spid="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7" grpId="1"/>
      <p:bldP spid="28" grpId="0" animBg="1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250"/>
                        <p:tgtEl>
                          <p:spTgt spid="2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8" grpId="1" animBg="1">
        <p:tmplLst>
          <p:tmpl>
            <p:tnLst>
              <p:par>
                <p:cTn presetID="42" presetClass="path" presetSubtype="0" decel="100000" fill="hold" nodeType="withEffect">
                  <p:stCondLst>
                    <p:cond delay="250"/>
                  </p:stCondLst>
                  <p:childTnLst>
                    <p:animMotion origin="layout" path="M 1.25E-6 0.03889 L 1.25E-6 1.85185E-6 " pathEditMode="relative" rAng="0" ptsTypes="AA">
                      <p:cBhvr>
                        <p:cTn dur="500" fill="hold"/>
                        <p:tgtEl>
                          <p:spTgt spid="28"/>
                        </p:tgtEl>
                        <p:attrNameLst>
                          <p:attrName>ppt_x</p:attrName>
                          <p:attrName>ppt_y</p:attrName>
                        </p:attrNameLst>
                      </p:cBhvr>
                      <p:rCtr x="0" y="-1944"/>
                    </p:animMotion>
                  </p:childTnLst>
                </p:cTn>
              </p:par>
            </p:tnLst>
          </p:tmpl>
        </p:tmplLst>
      </p:bldP>
      <p:bldP spid="29" grpId="0" animBg="1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250"/>
                        <p:tgtEl>
                          <p:spTgt spid="2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9" grpId="1" animBg="1">
        <p:tmplLst>
          <p:tmpl>
            <p:tnLst>
              <p:par>
                <p:cTn presetID="42" presetClass="path" presetSubtype="0" decel="100000" fill="hold" nodeType="withEffect">
                  <p:stCondLst>
                    <p:cond delay="250"/>
                  </p:stCondLst>
                  <p:childTnLst>
                    <p:animMotion origin="layout" path="M 1.25E-6 0.03889 L 1.25E-6 1.85185E-6 " pathEditMode="relative" rAng="0" ptsTypes="AA">
                      <p:cBhvr>
                        <p:cTn dur="500" fill="hold"/>
                        <p:tgtEl>
                          <p:spTgt spid="29"/>
                        </p:tgtEl>
                        <p:attrNameLst>
                          <p:attrName>ppt_x</p:attrName>
                          <p:attrName>ppt_y</p:attrName>
                        </p:attrNameLst>
                      </p:cBhvr>
                      <p:rCtr x="0" y="-1944"/>
                    </p:animMotion>
                  </p:childTnLst>
                </p:cTn>
              </p:par>
            </p:tnLst>
          </p:tmpl>
        </p:tmplLst>
      </p:bldP>
      <p:bldP spid="30" grpId="0" animBg="1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250"/>
                        <p:tgtEl>
                          <p:spTgt spid="3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0" grpId="1" animBg="1">
        <p:tmplLst>
          <p:tmpl>
            <p:tnLst>
              <p:par>
                <p:cTn presetID="42" presetClass="path" presetSubtype="0" decel="100000" fill="hold" nodeType="withEffect">
                  <p:stCondLst>
                    <p:cond delay="250"/>
                  </p:stCondLst>
                  <p:childTnLst>
                    <p:animMotion origin="layout" path="M 1.25E-6 0.03889 L 1.25E-6 1.85185E-6 " pathEditMode="relative" rAng="0" ptsTypes="AA">
                      <p:cBhvr>
                        <p:cTn dur="500" fill="hold"/>
                        <p:tgtEl>
                          <p:spTgt spid="30"/>
                        </p:tgtEl>
                        <p:attrNameLst>
                          <p:attrName>ppt_x</p:attrName>
                          <p:attrName>ppt_y</p:attrName>
                        </p:attrNameLst>
                      </p:cBhvr>
                      <p:rCtr x="0" y="-1944"/>
                    </p:animMotion>
                  </p:childTnLst>
                </p:cTn>
              </p:par>
            </p:tnLst>
          </p:tmpl>
        </p:tmplLst>
      </p:bldP>
      <p:bldP spid="31" grpId="0" animBg="1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250"/>
                        <p:tgtEl>
                          <p:spTgt spid="3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1" grpId="1" animBg="1">
        <p:tmplLst>
          <p:tmpl>
            <p:tnLst>
              <p:par>
                <p:cTn presetID="42" presetClass="path" presetSubtype="0" decel="100000" fill="hold" nodeType="withEffect">
                  <p:stCondLst>
                    <p:cond delay="250"/>
                  </p:stCondLst>
                  <p:childTnLst>
                    <p:animMotion origin="layout" path="M 1.25E-6 0.03889 L 1.25E-6 1.85185E-6 " pathEditMode="relative" rAng="0" ptsTypes="AA">
                      <p:cBhvr>
                        <p:cTn dur="500" fill="hold"/>
                        <p:tgtEl>
                          <p:spTgt spid="31"/>
                        </p:tgtEl>
                        <p:attrNameLst>
                          <p:attrName>ppt_x</p:attrName>
                          <p:attrName>ppt_y</p:attrName>
                        </p:attrNameLst>
                      </p:cBhvr>
                      <p:rCtr x="0" y="-1944"/>
                    </p:animMotion>
                  </p:childTnLst>
                </p:cTn>
              </p:par>
            </p:tnLst>
          </p:tmpl>
        </p:tmplLst>
      </p:bldP>
      <p:bldP spid="32" grpId="0" animBg="1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250"/>
                        <p:tgtEl>
                          <p:spTgt spid="3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2" grpId="1" animBg="1">
        <p:tmplLst>
          <p:tmpl>
            <p:tnLst>
              <p:par>
                <p:cTn presetID="42" presetClass="path" presetSubtype="0" decel="100000" fill="hold" nodeType="withEffect">
                  <p:stCondLst>
                    <p:cond delay="250"/>
                  </p:stCondLst>
                  <p:childTnLst>
                    <p:animMotion origin="layout" path="M 1.25E-6 0.03889 L 1.25E-6 1.85185E-6 " pathEditMode="relative" rAng="0" ptsTypes="AA">
                      <p:cBhvr>
                        <p:cTn dur="500" fill="hold"/>
                        <p:tgtEl>
                          <p:spTgt spid="32"/>
                        </p:tgtEl>
                        <p:attrNameLst>
                          <p:attrName>ppt_x</p:attrName>
                          <p:attrName>ppt_y</p:attrName>
                        </p:attrNameLst>
                      </p:cBhvr>
                      <p:rCtr x="0" y="-1944"/>
                    </p:animMotion>
                  </p:childTnLst>
                </p:cTn>
              </p:par>
            </p:tnLst>
          </p:tmpl>
        </p:tmplLst>
      </p:bldP>
      <p:bldP spid="33" grpId="0" animBg="1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250"/>
                        <p:tgtEl>
                          <p:spTgt spid="3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3" grpId="1" animBg="1">
        <p:tmplLst>
          <p:tmpl>
            <p:tnLst>
              <p:par>
                <p:cTn presetID="42" presetClass="path" presetSubtype="0" decel="100000" fill="hold" nodeType="withEffect">
                  <p:stCondLst>
                    <p:cond delay="250"/>
                  </p:stCondLst>
                  <p:childTnLst>
                    <p:animMotion origin="layout" path="M 1.25E-6 0.03889 L 1.25E-6 1.85185E-6 " pathEditMode="relative" rAng="0" ptsTypes="AA">
                      <p:cBhvr>
                        <p:cTn dur="500" fill="hold"/>
                        <p:tgtEl>
                          <p:spTgt spid="33"/>
                        </p:tgtEl>
                        <p:attrNameLst>
                          <p:attrName>ppt_x</p:attrName>
                          <p:attrName>ppt_y</p:attrName>
                        </p:attrNameLst>
                      </p:cBhvr>
                      <p:rCtr x="0" y="-1944"/>
                    </p:animMotion>
                  </p:childTnLst>
                </p:cTn>
              </p:par>
            </p:tnLst>
          </p:tmpl>
        </p:tmplLst>
      </p:bldP>
      <p:bldP spid="34" grpId="0" animBg="1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250"/>
                        <p:tgtEl>
                          <p:spTgt spid="3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4" grpId="1" animBg="1">
        <p:tmplLst>
          <p:tmpl>
            <p:tnLst>
              <p:par>
                <p:cTn presetID="42" presetClass="path" presetSubtype="0" decel="100000" fill="hold" nodeType="withEffect">
                  <p:stCondLst>
                    <p:cond delay="250"/>
                  </p:stCondLst>
                  <p:childTnLst>
                    <p:animMotion origin="layout" path="M 1.25E-6 0.03889 L 1.25E-6 1.85185E-6 " pathEditMode="relative" rAng="0" ptsTypes="AA">
                      <p:cBhvr>
                        <p:cTn dur="500" fill="hold"/>
                        <p:tgtEl>
                          <p:spTgt spid="34"/>
                        </p:tgtEl>
                        <p:attrNameLst>
                          <p:attrName>ppt_x</p:attrName>
                          <p:attrName>ppt_y</p:attrName>
                        </p:attrNameLst>
                      </p:cBhvr>
                      <p:rCtr x="0" y="-1944"/>
                    </p:animMotion>
                  </p:childTnLst>
                </p:cTn>
              </p:par>
            </p:tnLst>
          </p:tmpl>
        </p:tmplLst>
      </p:bldP>
      <p:bldP spid="35" grpId="0"/>
      <p:bldP spid="36" grpId="0"/>
      <p:bldP spid="37" grpId="0"/>
      <p:bldP spid="38" grpId="0"/>
      <p:bldP spid="39" grpId="0"/>
      <p:bldP spid="40" grpId="0"/>
      <p:bldP spid="41" grpId="0"/>
      <p:bldP spid="42" grpId="0"/>
      <p:bldP spid="43" grpId="0"/>
      <p:bldP spid="44" grpId="0"/>
      <p:bldP spid="45" grpId="0"/>
      <p:bldP spid="46" grpId="0"/>
    </p:bldLst>
  </p:timing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9_Esquema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Imagem 22">
            <a:extLst>
              <a:ext uri="{FF2B5EF4-FFF2-40B4-BE49-F238E27FC236}">
                <a16:creationId xmlns:a16="http://schemas.microsoft.com/office/drawing/2014/main" id="{BA55F537-F126-B828-FEEA-D4C1D5C8DEF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 l="10363" t="45919" r="69613" b="21155"/>
          <a:stretch>
            <a:fillRect/>
          </a:stretch>
        </p:blipFill>
        <p:spPr>
          <a:xfrm flipV="1">
            <a:off x="9489140" y="2416331"/>
            <a:ext cx="2702860" cy="4441669"/>
          </a:xfrm>
          <a:prstGeom prst="rect">
            <a:avLst/>
          </a:prstGeom>
        </p:spPr>
      </p:pic>
      <p:sp>
        <p:nvSpPr>
          <p:cNvPr id="6" name="Título 6">
            <a:extLst>
              <a:ext uri="{FF2B5EF4-FFF2-40B4-BE49-F238E27FC236}">
                <a16:creationId xmlns:a16="http://schemas.microsoft.com/office/drawing/2014/main" id="{0E5AC582-0585-1C92-F1DE-485E09CA2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03470" y="1083564"/>
            <a:ext cx="3754015" cy="712204"/>
          </a:xfrm>
        </p:spPr>
        <p:txBody>
          <a:bodyPr anchor="b">
            <a:norm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pt-PT" dirty="0"/>
              <a:t>Insertar título de la slide</a:t>
            </a:r>
          </a:p>
        </p:txBody>
      </p:sp>
      <p:sp>
        <p:nvSpPr>
          <p:cNvPr id="7" name="Marcador de Posição do Texto 8">
            <a:extLst>
              <a:ext uri="{FF2B5EF4-FFF2-40B4-BE49-F238E27FC236}">
                <a16:creationId xmlns:a16="http://schemas.microsoft.com/office/drawing/2014/main" id="{576AAAF9-BB31-97B4-0CE3-EB0EF023994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03050" y="1882852"/>
            <a:ext cx="3754298" cy="355243"/>
          </a:xfrm>
        </p:spPr>
        <p:txBody>
          <a:bodyPr>
            <a:noAutofit/>
          </a:bodyPr>
          <a:lstStyle>
            <a:lvl1pPr>
              <a:defRPr sz="2400">
                <a:solidFill>
                  <a:schemeClr val="bg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pt-PT" dirty="0"/>
              <a:t>Insertar subtítulo de la slide</a:t>
            </a:r>
          </a:p>
        </p:txBody>
      </p:sp>
      <p:sp>
        <p:nvSpPr>
          <p:cNvPr id="12" name="Marcador de Posição da Imagem 11">
            <a:extLst>
              <a:ext uri="{FF2B5EF4-FFF2-40B4-BE49-F238E27FC236}">
                <a16:creationId xmlns:a16="http://schemas.microsoft.com/office/drawing/2014/main" id="{0E197661-8EFE-1BD3-E051-0C8827415F06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12192000" cy="3320716"/>
          </a:xfrm>
          <a:custGeom>
            <a:avLst/>
            <a:gdLst>
              <a:gd name="connsiteX0" fmla="*/ 0 w 12192000"/>
              <a:gd name="connsiteY0" fmla="*/ 0 h 3320716"/>
              <a:gd name="connsiteX1" fmla="*/ 12192000 w 12192000"/>
              <a:gd name="connsiteY1" fmla="*/ 0 h 3320716"/>
              <a:gd name="connsiteX2" fmla="*/ 12192000 w 12192000"/>
              <a:gd name="connsiteY2" fmla="*/ 3320716 h 3320716"/>
              <a:gd name="connsiteX3" fmla="*/ 7623208 w 12192000"/>
              <a:gd name="connsiteY3" fmla="*/ 3320716 h 3320716"/>
              <a:gd name="connsiteX4" fmla="*/ 7623208 w 12192000"/>
              <a:gd name="connsiteY4" fmla="*/ 2646947 h 3320716"/>
              <a:gd name="connsiteX5" fmla="*/ 0 w 12192000"/>
              <a:gd name="connsiteY5" fmla="*/ 2646947 h 33207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3320716">
                <a:moveTo>
                  <a:pt x="0" y="0"/>
                </a:moveTo>
                <a:lnTo>
                  <a:pt x="12192000" y="0"/>
                </a:lnTo>
                <a:lnTo>
                  <a:pt x="12192000" y="3320716"/>
                </a:lnTo>
                <a:lnTo>
                  <a:pt x="7623208" y="3320716"/>
                </a:lnTo>
                <a:lnTo>
                  <a:pt x="7623208" y="2646947"/>
                </a:lnTo>
                <a:lnTo>
                  <a:pt x="0" y="2646947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pt-PT" dirty="0"/>
          </a:p>
        </p:txBody>
      </p:sp>
      <p:sp>
        <p:nvSpPr>
          <p:cNvPr id="10" name="Retângulo 9">
            <a:extLst>
              <a:ext uri="{FF2B5EF4-FFF2-40B4-BE49-F238E27FC236}">
                <a16:creationId xmlns:a16="http://schemas.microsoft.com/office/drawing/2014/main" id="{52AA8963-8A16-99E0-145B-168A487B6664}"/>
              </a:ext>
            </a:extLst>
          </p:cNvPr>
          <p:cNvSpPr/>
          <p:nvPr userDrawn="1"/>
        </p:nvSpPr>
        <p:spPr>
          <a:xfrm>
            <a:off x="0" y="2646947"/>
            <a:ext cx="7623208" cy="4211053"/>
          </a:xfrm>
          <a:prstGeom prst="rect">
            <a:avLst/>
          </a:prstGeom>
          <a:solidFill>
            <a:srgbClr val="184BF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  <p:sp>
        <p:nvSpPr>
          <p:cNvPr id="13" name="Marcador de Posição do Texto 10">
            <a:extLst>
              <a:ext uri="{FF2B5EF4-FFF2-40B4-BE49-F238E27FC236}">
                <a16:creationId xmlns:a16="http://schemas.microsoft.com/office/drawing/2014/main" id="{8E2F8673-4C5B-A7B3-3C25-7E9BB5D1B37E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7844589" y="4489205"/>
            <a:ext cx="3686476" cy="867017"/>
          </a:xfrm>
        </p:spPr>
        <p:txBody>
          <a:bodyPr>
            <a:no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s-ES" dirty="0"/>
              <a:t>Haz </a:t>
            </a:r>
            <a:r>
              <a:rPr lang="es-ES" dirty="0" err="1"/>
              <a:t>click</a:t>
            </a:r>
            <a:r>
              <a:rPr lang="es-ES" dirty="0"/>
              <a:t> para editar los estilos del texto del modelo global</a:t>
            </a:r>
            <a:endParaRPr lang="pt-PT" dirty="0"/>
          </a:p>
          <a:p>
            <a:pPr lvl="1"/>
            <a:r>
              <a:rPr lang="es-ES" dirty="0"/>
              <a:t>Segundo nivel</a:t>
            </a:r>
          </a:p>
          <a:p>
            <a:pPr lvl="1"/>
            <a:r>
              <a:rPr lang="es-ES" dirty="0"/>
              <a:t>Tercer nivel</a:t>
            </a:r>
          </a:p>
          <a:p>
            <a:pPr lvl="1"/>
            <a:r>
              <a:rPr lang="es-ES" dirty="0"/>
              <a:t>Cuarto nivel</a:t>
            </a:r>
          </a:p>
          <a:p>
            <a:pPr lvl="1"/>
            <a:r>
              <a:rPr lang="es-ES" dirty="0"/>
              <a:t>Quinto nivel</a:t>
            </a:r>
            <a:endParaRPr lang="pt-PT" dirty="0"/>
          </a:p>
        </p:txBody>
      </p:sp>
      <p:sp>
        <p:nvSpPr>
          <p:cNvPr id="15" name="Marcador de Posição do Texto 14">
            <a:extLst>
              <a:ext uri="{FF2B5EF4-FFF2-40B4-BE49-F238E27FC236}">
                <a16:creationId xmlns:a16="http://schemas.microsoft.com/office/drawing/2014/main" id="{C6A26D74-974B-8E2F-F59B-5824EAE5AEE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623208" y="3993361"/>
            <a:ext cx="3796615" cy="357068"/>
          </a:xfrm>
          <a:custGeom>
            <a:avLst/>
            <a:gdLst>
              <a:gd name="connsiteX0" fmla="*/ 3086099 w 3796615"/>
              <a:gd name="connsiteY0" fmla="*/ 0 h 357068"/>
              <a:gd name="connsiteX1" fmla="*/ 3086099 w 3796615"/>
              <a:gd name="connsiteY1" fmla="*/ 14 h 357068"/>
              <a:gd name="connsiteX2" fmla="*/ 3796615 w 3796615"/>
              <a:gd name="connsiteY2" fmla="*/ 14 h 357068"/>
              <a:gd name="connsiteX3" fmla="*/ 3331995 w 3796615"/>
              <a:gd name="connsiteY3" fmla="*/ 357068 h 357068"/>
              <a:gd name="connsiteX4" fmla="*/ 3331806 w 3796615"/>
              <a:gd name="connsiteY4" fmla="*/ 357068 h 357068"/>
              <a:gd name="connsiteX5" fmla="*/ 2944813 w 3796615"/>
              <a:gd name="connsiteY5" fmla="*/ 357068 h 357068"/>
              <a:gd name="connsiteX6" fmla="*/ 2944788 w 3796615"/>
              <a:gd name="connsiteY6" fmla="*/ 357009 h 357068"/>
              <a:gd name="connsiteX7" fmla="*/ 0 w 3796615"/>
              <a:gd name="connsiteY7" fmla="*/ 357047 h 357068"/>
              <a:gd name="connsiteX8" fmla="*/ 0 w 3796615"/>
              <a:gd name="connsiteY8" fmla="*/ 39 h 3570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796615" h="357068">
                <a:moveTo>
                  <a:pt x="3086099" y="0"/>
                </a:moveTo>
                <a:lnTo>
                  <a:pt x="3086099" y="14"/>
                </a:lnTo>
                <a:lnTo>
                  <a:pt x="3796615" y="14"/>
                </a:lnTo>
                <a:cubicBezTo>
                  <a:pt x="3796615" y="197302"/>
                  <a:pt x="3588526" y="357068"/>
                  <a:pt x="3331995" y="357068"/>
                </a:cubicBezTo>
                <a:lnTo>
                  <a:pt x="3331806" y="357068"/>
                </a:lnTo>
                <a:lnTo>
                  <a:pt x="2944813" y="357068"/>
                </a:lnTo>
                <a:lnTo>
                  <a:pt x="2944788" y="357009"/>
                </a:lnTo>
                <a:lnTo>
                  <a:pt x="0" y="357047"/>
                </a:lnTo>
                <a:lnTo>
                  <a:pt x="0" y="39"/>
                </a:lnTo>
                <a:close/>
              </a:path>
            </a:pathLst>
          </a:custGeom>
          <a:solidFill>
            <a:srgbClr val="132153"/>
          </a:solidFill>
        </p:spPr>
        <p:txBody>
          <a:bodyPr wrap="square" lIns="324000" anchor="ctr">
            <a:noAutofit/>
          </a:bodyPr>
          <a:lstStyle>
            <a:lvl1pPr>
              <a:defRPr cap="all" baseline="0">
                <a:solidFill>
                  <a:srgbClr val="00FF94"/>
                </a:solidFill>
                <a:latin typeface="+mj-lt"/>
              </a:defRPr>
            </a:lvl1pPr>
          </a:lstStyle>
          <a:p>
            <a:pPr lvl="0"/>
            <a:r>
              <a:rPr lang="pt-PT" dirty="0"/>
              <a:t>Insertar texto destacado</a:t>
            </a:r>
          </a:p>
        </p:txBody>
      </p:sp>
      <p:sp>
        <p:nvSpPr>
          <p:cNvPr id="22" name="Marcador de Posição do Rodapé 4">
            <a:extLst>
              <a:ext uri="{FF2B5EF4-FFF2-40B4-BE49-F238E27FC236}">
                <a16:creationId xmlns:a16="http://schemas.microsoft.com/office/drawing/2014/main" id="{1B714953-D0FC-4553-AD9D-77C349C5F21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12762" y="6356350"/>
            <a:ext cx="534669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bg1"/>
                </a:solidFill>
              </a:defRPr>
            </a:lvl1pPr>
          </a:lstStyle>
          <a:p>
            <a:r>
              <a:rPr lang="pt-PT"/>
              <a:t>Título de la presentación</a:t>
            </a:r>
            <a:endParaRPr lang="pt-PT" dirty="0"/>
          </a:p>
        </p:txBody>
      </p:sp>
      <p:sp>
        <p:nvSpPr>
          <p:cNvPr id="24" name="Marcador de Posição do Número do Diapositivo 5">
            <a:extLst>
              <a:ext uri="{FF2B5EF4-FFF2-40B4-BE49-F238E27FC236}">
                <a16:creationId xmlns:a16="http://schemas.microsoft.com/office/drawing/2014/main" id="{5A97379D-ECB3-47B9-AC96-0463B6E58CF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936039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accent2"/>
                </a:solidFill>
              </a:defRPr>
            </a:lvl1pPr>
          </a:lstStyle>
          <a:p>
            <a:fld id="{24A347C2-D68E-473A-8C76-1D063E4EB6E0}" type="slidenum">
              <a:rPr lang="es-ES" smtClean="0"/>
              <a:pPr/>
              <a:t>‹Nº›</a:t>
            </a:fld>
            <a:endParaRPr lang="es-ES"/>
          </a:p>
        </p:txBody>
      </p:sp>
      <p:sp>
        <p:nvSpPr>
          <p:cNvPr id="25" name="Marcador de Posição do Texto 10">
            <a:extLst>
              <a:ext uri="{FF2B5EF4-FFF2-40B4-BE49-F238E27FC236}">
                <a16:creationId xmlns:a16="http://schemas.microsoft.com/office/drawing/2014/main" id="{A1247773-8245-4757-A663-98764093AC5B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925728" y="2995491"/>
            <a:ext cx="2340543" cy="867017"/>
          </a:xfrm>
        </p:spPr>
        <p:txBody>
          <a:bodyPr>
            <a:noAutofit/>
          </a:bodyPr>
          <a:lstStyle>
            <a:lvl1pPr>
              <a:defRPr sz="1000">
                <a:solidFill>
                  <a:schemeClr val="bg1"/>
                </a:solidFill>
              </a:defRPr>
            </a:lvl1pPr>
            <a:lvl2pPr>
              <a:defRPr sz="10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s-ES" dirty="0"/>
              <a:t>Haz </a:t>
            </a:r>
            <a:r>
              <a:rPr lang="es-ES" dirty="0" err="1"/>
              <a:t>click</a:t>
            </a:r>
            <a:r>
              <a:rPr lang="es-ES" dirty="0"/>
              <a:t> para editar los estilos del texto del modelo</a:t>
            </a:r>
            <a:endParaRPr lang="pt-PT" dirty="0"/>
          </a:p>
          <a:p>
            <a:pPr lvl="1"/>
            <a:r>
              <a:rPr lang="es-ES" dirty="0"/>
              <a:t>Segundo nivel</a:t>
            </a:r>
          </a:p>
          <a:p>
            <a:pPr lvl="1"/>
            <a:r>
              <a:rPr lang="es-ES" dirty="0"/>
              <a:t>Tercer nivel</a:t>
            </a:r>
          </a:p>
          <a:p>
            <a:pPr lvl="1"/>
            <a:r>
              <a:rPr lang="es-ES" dirty="0"/>
              <a:t>Cuarto nivel</a:t>
            </a:r>
          </a:p>
          <a:p>
            <a:pPr lvl="1"/>
            <a:r>
              <a:rPr lang="es-ES" dirty="0"/>
              <a:t>Quinto nivel</a:t>
            </a:r>
            <a:endParaRPr lang="pt-PT" dirty="0"/>
          </a:p>
        </p:txBody>
      </p:sp>
      <p:sp>
        <p:nvSpPr>
          <p:cNvPr id="26" name="Marcador de Posição do Texto 10">
            <a:extLst>
              <a:ext uri="{FF2B5EF4-FFF2-40B4-BE49-F238E27FC236}">
                <a16:creationId xmlns:a16="http://schemas.microsoft.com/office/drawing/2014/main" id="{5763EE7A-C413-4EC7-84EB-6EEC08E20764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925728" y="4005582"/>
            <a:ext cx="2340543" cy="867017"/>
          </a:xfrm>
        </p:spPr>
        <p:txBody>
          <a:bodyPr>
            <a:noAutofit/>
          </a:bodyPr>
          <a:lstStyle>
            <a:lvl1pPr>
              <a:defRPr sz="1000">
                <a:solidFill>
                  <a:schemeClr val="bg1"/>
                </a:solidFill>
              </a:defRPr>
            </a:lvl1pPr>
            <a:lvl2pPr>
              <a:defRPr sz="10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s-ES" dirty="0"/>
              <a:t>Haz </a:t>
            </a:r>
            <a:r>
              <a:rPr lang="es-ES" dirty="0" err="1"/>
              <a:t>click</a:t>
            </a:r>
            <a:r>
              <a:rPr lang="es-ES" dirty="0"/>
              <a:t> para editar los estilos del texto del modelo</a:t>
            </a:r>
            <a:endParaRPr lang="pt-PT" dirty="0"/>
          </a:p>
          <a:p>
            <a:pPr lvl="1"/>
            <a:r>
              <a:rPr lang="es-ES" dirty="0"/>
              <a:t>Segundo nivel</a:t>
            </a:r>
          </a:p>
          <a:p>
            <a:pPr lvl="1"/>
            <a:r>
              <a:rPr lang="es-ES" dirty="0"/>
              <a:t>Tercer nivel</a:t>
            </a:r>
          </a:p>
          <a:p>
            <a:pPr lvl="1"/>
            <a:r>
              <a:rPr lang="es-ES" dirty="0"/>
              <a:t>Cuarto nivel</a:t>
            </a:r>
          </a:p>
          <a:p>
            <a:pPr lvl="1"/>
            <a:r>
              <a:rPr lang="es-ES" dirty="0"/>
              <a:t>Quinto nivel</a:t>
            </a:r>
            <a:endParaRPr lang="pt-PT" dirty="0"/>
          </a:p>
        </p:txBody>
      </p:sp>
      <p:sp>
        <p:nvSpPr>
          <p:cNvPr id="27" name="Marcador de Posição do Texto 10">
            <a:extLst>
              <a:ext uri="{FF2B5EF4-FFF2-40B4-BE49-F238E27FC236}">
                <a16:creationId xmlns:a16="http://schemas.microsoft.com/office/drawing/2014/main" id="{4837E326-EF9E-43D7-A663-7C2D346F3339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4925728" y="5015673"/>
            <a:ext cx="2340543" cy="867017"/>
          </a:xfrm>
        </p:spPr>
        <p:txBody>
          <a:bodyPr>
            <a:noAutofit/>
          </a:bodyPr>
          <a:lstStyle>
            <a:lvl1pPr>
              <a:defRPr sz="1000">
                <a:solidFill>
                  <a:schemeClr val="bg1"/>
                </a:solidFill>
              </a:defRPr>
            </a:lvl1pPr>
            <a:lvl2pPr>
              <a:defRPr sz="1000">
                <a:solidFill>
                  <a:schemeClr val="bg1"/>
                </a:solidFill>
              </a:defRPr>
            </a:lvl2pPr>
            <a:lvl3pPr>
              <a:defRPr sz="1000">
                <a:solidFill>
                  <a:schemeClr val="bg1"/>
                </a:solidFill>
              </a:defRPr>
            </a:lvl3pPr>
            <a:lvl4pPr>
              <a:defRPr sz="1000">
                <a:solidFill>
                  <a:schemeClr val="bg1"/>
                </a:solidFill>
              </a:defRPr>
            </a:lvl4pPr>
            <a:lvl5pPr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pt-PT" dirty="0"/>
              <a:t>Clique para editar os estilos do texto de Modelo Global</a:t>
            </a:r>
          </a:p>
          <a:p>
            <a:pPr lvl="1"/>
            <a:r>
              <a:rPr lang="pt-PT" dirty="0"/>
              <a:t>Segundo nível</a:t>
            </a:r>
          </a:p>
          <a:p>
            <a:pPr lvl="2"/>
            <a:r>
              <a:rPr lang="pt-PT" dirty="0"/>
              <a:t>Terceiro nível</a:t>
            </a:r>
          </a:p>
          <a:p>
            <a:pPr lvl="3"/>
            <a:r>
              <a:rPr lang="pt-PT" dirty="0"/>
              <a:t>Quarto nível</a:t>
            </a:r>
          </a:p>
          <a:p>
            <a:pPr lvl="4"/>
            <a:r>
              <a:rPr lang="pt-PT" dirty="0"/>
              <a:t>Quinto nível</a:t>
            </a:r>
          </a:p>
        </p:txBody>
      </p:sp>
      <p:sp>
        <p:nvSpPr>
          <p:cNvPr id="28" name="Marcador de Posição do Texto 10">
            <a:extLst>
              <a:ext uri="{FF2B5EF4-FFF2-40B4-BE49-F238E27FC236}">
                <a16:creationId xmlns:a16="http://schemas.microsoft.com/office/drawing/2014/main" id="{2582EA14-C47F-48CA-AE24-D0A055A18CF3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1399014" y="2995491"/>
            <a:ext cx="2340543" cy="867017"/>
          </a:xfrm>
        </p:spPr>
        <p:txBody>
          <a:bodyPr>
            <a:noAutofit/>
          </a:bodyPr>
          <a:lstStyle>
            <a:lvl1pPr>
              <a:defRPr sz="1000">
                <a:solidFill>
                  <a:schemeClr val="bg1"/>
                </a:solidFill>
              </a:defRPr>
            </a:lvl1pPr>
            <a:lvl2pPr>
              <a:defRPr sz="10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s-ES" dirty="0"/>
              <a:t>Haz </a:t>
            </a:r>
            <a:r>
              <a:rPr lang="es-ES" dirty="0" err="1"/>
              <a:t>click</a:t>
            </a:r>
            <a:r>
              <a:rPr lang="es-ES" dirty="0"/>
              <a:t> para editar los estilos del texto del modelo</a:t>
            </a:r>
            <a:endParaRPr lang="pt-PT" dirty="0"/>
          </a:p>
          <a:p>
            <a:pPr lvl="1"/>
            <a:r>
              <a:rPr lang="es-ES" dirty="0"/>
              <a:t>Segundo nivel</a:t>
            </a:r>
          </a:p>
          <a:p>
            <a:pPr lvl="1"/>
            <a:r>
              <a:rPr lang="es-ES" dirty="0"/>
              <a:t>Tercer nivel</a:t>
            </a:r>
          </a:p>
          <a:p>
            <a:pPr lvl="1"/>
            <a:r>
              <a:rPr lang="es-ES" dirty="0"/>
              <a:t>Cuarto nivel</a:t>
            </a:r>
          </a:p>
          <a:p>
            <a:pPr lvl="1"/>
            <a:r>
              <a:rPr lang="es-ES" dirty="0"/>
              <a:t>Quinto nivel</a:t>
            </a:r>
            <a:endParaRPr lang="pt-PT" dirty="0"/>
          </a:p>
        </p:txBody>
      </p:sp>
      <p:sp>
        <p:nvSpPr>
          <p:cNvPr id="29" name="Marcador de Posição do Texto 10">
            <a:extLst>
              <a:ext uri="{FF2B5EF4-FFF2-40B4-BE49-F238E27FC236}">
                <a16:creationId xmlns:a16="http://schemas.microsoft.com/office/drawing/2014/main" id="{6E2D791D-BEE9-4A54-BBBE-209F5A75E68E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399014" y="4005582"/>
            <a:ext cx="2340543" cy="867017"/>
          </a:xfrm>
        </p:spPr>
        <p:txBody>
          <a:bodyPr>
            <a:noAutofit/>
          </a:bodyPr>
          <a:lstStyle>
            <a:lvl1pPr>
              <a:defRPr sz="1000">
                <a:solidFill>
                  <a:schemeClr val="bg1"/>
                </a:solidFill>
              </a:defRPr>
            </a:lvl1pPr>
            <a:lvl2pPr>
              <a:defRPr sz="10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s-ES" dirty="0"/>
              <a:t>Haz </a:t>
            </a:r>
            <a:r>
              <a:rPr lang="es-ES" dirty="0" err="1"/>
              <a:t>click</a:t>
            </a:r>
            <a:r>
              <a:rPr lang="es-ES" dirty="0"/>
              <a:t> para editar los estilos del texto del modelo</a:t>
            </a:r>
            <a:endParaRPr lang="pt-PT" dirty="0"/>
          </a:p>
          <a:p>
            <a:pPr lvl="1"/>
            <a:r>
              <a:rPr lang="es-ES" dirty="0"/>
              <a:t>Segundo nivel</a:t>
            </a:r>
          </a:p>
          <a:p>
            <a:pPr lvl="1"/>
            <a:r>
              <a:rPr lang="es-ES" dirty="0"/>
              <a:t>Tercer nivel</a:t>
            </a:r>
          </a:p>
          <a:p>
            <a:pPr lvl="1"/>
            <a:r>
              <a:rPr lang="es-ES" dirty="0"/>
              <a:t>Cuarto nivel</a:t>
            </a:r>
          </a:p>
          <a:p>
            <a:pPr lvl="1"/>
            <a:r>
              <a:rPr lang="es-ES" dirty="0"/>
              <a:t>Quinto nivel</a:t>
            </a:r>
            <a:endParaRPr lang="pt-PT" dirty="0"/>
          </a:p>
        </p:txBody>
      </p:sp>
      <p:sp>
        <p:nvSpPr>
          <p:cNvPr id="30" name="Marcador de Posição do Texto 10">
            <a:extLst>
              <a:ext uri="{FF2B5EF4-FFF2-40B4-BE49-F238E27FC236}">
                <a16:creationId xmlns:a16="http://schemas.microsoft.com/office/drawing/2014/main" id="{AC117BAE-435B-4EA4-9251-C4DBFB36DCFE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1399014" y="5015673"/>
            <a:ext cx="2340543" cy="867017"/>
          </a:xfrm>
        </p:spPr>
        <p:txBody>
          <a:bodyPr>
            <a:noAutofit/>
          </a:bodyPr>
          <a:lstStyle>
            <a:lvl1pPr>
              <a:defRPr sz="1000">
                <a:solidFill>
                  <a:schemeClr val="bg1"/>
                </a:solidFill>
              </a:defRPr>
            </a:lvl1pPr>
            <a:lvl2pPr>
              <a:defRPr sz="10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s-ES" dirty="0"/>
              <a:t>Haz </a:t>
            </a:r>
            <a:r>
              <a:rPr lang="es-ES" dirty="0" err="1"/>
              <a:t>click</a:t>
            </a:r>
            <a:r>
              <a:rPr lang="es-ES" dirty="0"/>
              <a:t> para editar los estilos del texto del modelo</a:t>
            </a:r>
            <a:endParaRPr lang="pt-PT" dirty="0"/>
          </a:p>
          <a:p>
            <a:pPr lvl="1"/>
            <a:r>
              <a:rPr lang="es-ES" dirty="0"/>
              <a:t>Segundo nivel</a:t>
            </a:r>
          </a:p>
          <a:p>
            <a:pPr lvl="1"/>
            <a:r>
              <a:rPr lang="es-ES" dirty="0"/>
              <a:t>Tercer nivel</a:t>
            </a:r>
          </a:p>
          <a:p>
            <a:pPr lvl="1"/>
            <a:r>
              <a:rPr lang="es-ES" dirty="0"/>
              <a:t>Cuarto nivel</a:t>
            </a:r>
          </a:p>
          <a:p>
            <a:pPr lvl="1"/>
            <a:r>
              <a:rPr lang="es-ES" dirty="0"/>
              <a:t>Quinto nivel</a:t>
            </a:r>
            <a:endParaRPr lang="pt-PT" dirty="0"/>
          </a:p>
        </p:txBody>
      </p:sp>
    </p:spTree>
    <p:extLst>
      <p:ext uri="{BB962C8B-B14F-4D97-AF65-F5344CB8AC3E}">
        <p14:creationId xmlns:p14="http://schemas.microsoft.com/office/powerpoint/2010/main" val="340931575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5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1666 -0.00046 L 3.75E-6 1.85185E-6 " pathEditMode="relative" rAng="0" ptsTypes="AA">
                                      <p:cBhvr>
                                        <p:cTn id="9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833" y="23"/>
                                    </p:animMotion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25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1666 -0.00046 L 3.75E-6 1.85185E-6 " pathEditMode="relative" rAng="0" ptsTypes="AA">
                                      <p:cBhvr>
                                        <p:cTn id="14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833" y="23"/>
                                    </p:animMotion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25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42" presetClass="path" presetSubtype="0" decel="100000" fill="hold" grpId="1" nodeType="withEffect">
                                  <p:stCondLst>
                                    <p:cond delay="250"/>
                                  </p:stCondLst>
                                  <p:childTnLst>
                                    <p:animMotion origin="layout" path="M -0.01719 -0.00023 L -2.08333E-7 -4.07407E-6 " pathEditMode="relative" rAng="0" ptsTypes="AA">
                                      <p:cBhvr>
                                        <p:cTn id="19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859" y="0"/>
                                    </p:animMotion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15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25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42" presetClass="path" presetSubtype="0" decel="100000" fill="hold" grpId="1" nodeType="withEffect">
                                  <p:stCondLst>
                                    <p:cond delay="250"/>
                                  </p:stCondLst>
                                  <p:childTnLst>
                                    <p:animMotion origin="layout" path="M -0.01719 -0.00023 L 0 0 " pathEditMode="relative" rAng="0" ptsTypes="AA">
                                      <p:cBhvr>
                                        <p:cTn id="33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859" y="0"/>
                                    </p:animMotion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25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42" presetClass="path" presetSubtype="0" decel="100000" fill="hold" grpId="1" nodeType="withEffect">
                                  <p:stCondLst>
                                    <p:cond delay="250"/>
                                  </p:stCondLst>
                                  <p:childTnLst>
                                    <p:animMotion origin="layout" path="M -0.01719 -0.00023 L 0 -2.22222E-6 " pathEditMode="relative" rAng="0" ptsTypes="AA">
                                      <p:cBhvr>
                                        <p:cTn id="38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859" y="0"/>
                                    </p:animMotion>
                                  </p:childTnLst>
                                </p:cTn>
                              </p:par>
                              <p:par>
                                <p:cTn id="39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25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42" presetClass="path" presetSubtype="0" decel="100000" fill="hold" grpId="1" nodeType="withEffect">
                                  <p:stCondLst>
                                    <p:cond delay="250"/>
                                  </p:stCondLst>
                                  <p:childTnLst>
                                    <p:animMotion origin="layout" path="M -0.01719 -0.00023 L 0 -4.44444E-6 " pathEditMode="relative" rAng="0" ptsTypes="AA">
                                      <p:cBhvr>
                                        <p:cTn id="43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859" y="0"/>
                                    </p:animMotion>
                                  </p:childTnLst>
                                </p:cTn>
                              </p:par>
                              <p:par>
                                <p:cTn id="44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25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7" presetID="42" presetClass="path" presetSubtype="0" decel="100000" fill="hold" grpId="1" nodeType="withEffect">
                                  <p:stCondLst>
                                    <p:cond delay="250"/>
                                  </p:stCondLst>
                                  <p:childTnLst>
                                    <p:animMotion origin="layout" path="M -0.01719 -0.00023 L 2.91667E-6 0 " pathEditMode="relative" rAng="0" ptsTypes="AA">
                                      <p:cBhvr>
                                        <p:cTn id="48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859" y="0"/>
                                    </p:animMotion>
                                  </p:childTnLst>
                                </p:cTn>
                              </p:par>
                              <p:par>
                                <p:cTn id="49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1" dur="25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2" presetID="42" presetClass="path" presetSubtype="0" decel="100000" fill="hold" grpId="1" nodeType="withEffect">
                                  <p:stCondLst>
                                    <p:cond delay="250"/>
                                  </p:stCondLst>
                                  <p:childTnLst>
                                    <p:animMotion origin="layout" path="M -0.01719 -0.00023 L 2.91667E-6 -2.22222E-6 " pathEditMode="relative" rAng="0" ptsTypes="AA">
                                      <p:cBhvr>
                                        <p:cTn id="53" dur="5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859" y="0"/>
                                    </p:animMotion>
                                  </p:childTnLst>
                                </p:cTn>
                              </p:par>
                              <p:par>
                                <p:cTn id="54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25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7" presetID="42" presetClass="path" presetSubtype="0" decel="100000" fill="hold" grpId="1" nodeType="withEffect">
                                  <p:stCondLst>
                                    <p:cond delay="250"/>
                                  </p:stCondLst>
                                  <p:childTnLst>
                                    <p:animMotion origin="layout" path="M -0.01719 -0.00023 L 2.91667E-6 -4.44444E-6 " pathEditMode="relative" rAng="0" ptsTypes="AA">
                                      <p:cBhvr>
                                        <p:cTn id="58" dur="5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859" y="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6" grpId="1"/>
      <p:bldP spid="7" grpId="0">
        <p:tmplLst>
          <p:tmpl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250"/>
                        <p:tgtEl>
                          <p:spTgt spid="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7" grpId="1"/>
      <p:bldP spid="10" grpId="0" animBg="1"/>
      <p:bldP spid="10" grpId="1" animBg="1"/>
      <p:bldP spid="13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3"/>
                        </p:tgtEl>
                      </p:cBhvr>
                    </p:animEffect>
                  </p:childTnLst>
                </p:cTn>
              </p:par>
            </p:tnLst>
          </p:tmpl>
          <p:tmpl lvl="2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3"/>
                        </p:tgtEl>
                      </p:cBhvr>
                    </p:animEffect>
                  </p:childTnLst>
                </p:cTn>
              </p:par>
            </p:tnLst>
          </p:tmpl>
          <p:tmpl lvl="3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3"/>
                        </p:tgtEl>
                      </p:cBhvr>
                    </p:animEffect>
                  </p:childTnLst>
                </p:cTn>
              </p:par>
            </p:tnLst>
          </p:tmpl>
          <p:tmpl lvl="4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3"/>
                        </p:tgtEl>
                      </p:cBhvr>
                    </p:animEffect>
                  </p:childTnLst>
                </p:cTn>
              </p:par>
            </p:tnLst>
          </p:tmpl>
          <p:tmpl lvl="5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5" grpId="0" build="p" animBg="1">
        <p:tmplLst>
          <p:tmpl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5"/>
                        </p:tgtEl>
                      </p:cBhvr>
                    </p:animEffect>
                  </p:childTnLst>
                </p:cTn>
              </p:par>
            </p:tnLst>
          </p:tmpl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5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250"/>
                        <p:tgtEl>
                          <p:spTgt spid="2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5" grpId="1">
        <p:tmplLst>
          <p:tmpl>
            <p:tnLst>
              <p:par>
                <p:cTn presetID="42" presetClass="path" presetSubtype="0" decel="100000" fill="hold" nodeType="withEffect">
                  <p:stCondLst>
                    <p:cond delay="250"/>
                  </p:stCondLst>
                  <p:childTnLst>
                    <p:animMotion origin="layout" path="M -0.01719 -0.00023 L 0 0 " pathEditMode="relative" rAng="0" ptsTypes="AA">
                      <p:cBhvr>
                        <p:cTn dur="500" fill="hold"/>
                        <p:tgtEl>
                          <p:spTgt spid="25"/>
                        </p:tgtEl>
                        <p:attrNameLst>
                          <p:attrName>ppt_x</p:attrName>
                          <p:attrName>ppt_y</p:attrName>
                        </p:attrNameLst>
                      </p:cBhvr>
                      <p:rCtr x="859" y="0"/>
                    </p:animMotion>
                  </p:childTnLst>
                </p:cTn>
              </p:par>
            </p:tnLst>
          </p:tmpl>
        </p:tmplLst>
      </p:bldP>
      <p:bldP spid="26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250"/>
                        <p:tgtEl>
                          <p:spTgt spid="2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6" grpId="1">
        <p:tmplLst>
          <p:tmpl>
            <p:tnLst>
              <p:par>
                <p:cTn presetID="42" presetClass="path" presetSubtype="0" decel="100000" fill="hold" nodeType="withEffect">
                  <p:stCondLst>
                    <p:cond delay="250"/>
                  </p:stCondLst>
                  <p:childTnLst>
                    <p:animMotion origin="layout" path="M -0.01719 -0.00023 L 0 -2.22222E-6 " pathEditMode="relative" rAng="0" ptsTypes="AA">
                      <p:cBhvr>
                        <p:cTn dur="500" fill="hold"/>
                        <p:tgtEl>
                          <p:spTgt spid="26"/>
                        </p:tgtEl>
                        <p:attrNameLst>
                          <p:attrName>ppt_x</p:attrName>
                          <p:attrName>ppt_y</p:attrName>
                        </p:attrNameLst>
                      </p:cBhvr>
                      <p:rCtr x="859" y="0"/>
                    </p:animMotion>
                  </p:childTnLst>
                </p:cTn>
              </p:par>
            </p:tnLst>
          </p:tmpl>
        </p:tmplLst>
      </p:bldP>
      <p:bldP spid="27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250"/>
                        <p:tgtEl>
                          <p:spTgt spid="2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7" grpId="1">
        <p:tmplLst>
          <p:tmpl>
            <p:tnLst>
              <p:par>
                <p:cTn presetID="42" presetClass="path" presetSubtype="0" decel="100000" fill="hold" nodeType="withEffect">
                  <p:stCondLst>
                    <p:cond delay="250"/>
                  </p:stCondLst>
                  <p:childTnLst>
                    <p:animMotion origin="layout" path="M -0.01719 -0.00023 L 0 -4.44444E-6 " pathEditMode="relative" rAng="0" ptsTypes="AA">
                      <p:cBhvr>
                        <p:cTn dur="500" fill="hold"/>
                        <p:tgtEl>
                          <p:spTgt spid="27"/>
                        </p:tgtEl>
                        <p:attrNameLst>
                          <p:attrName>ppt_x</p:attrName>
                          <p:attrName>ppt_y</p:attrName>
                        </p:attrNameLst>
                      </p:cBhvr>
                      <p:rCtr x="859" y="0"/>
                    </p:animMotion>
                  </p:childTnLst>
                </p:cTn>
              </p:par>
            </p:tnLst>
          </p:tmpl>
        </p:tmplLst>
      </p:bldP>
      <p:bldP spid="28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250"/>
                        <p:tgtEl>
                          <p:spTgt spid="2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8" grpId="1">
        <p:tmplLst>
          <p:tmpl>
            <p:tnLst>
              <p:par>
                <p:cTn presetID="42" presetClass="path" presetSubtype="0" decel="100000" fill="hold" nodeType="withEffect">
                  <p:stCondLst>
                    <p:cond delay="250"/>
                  </p:stCondLst>
                  <p:childTnLst>
                    <p:animMotion origin="layout" path="M -0.01719 -0.00023 L 2.91667E-6 0 " pathEditMode="relative" rAng="0" ptsTypes="AA">
                      <p:cBhvr>
                        <p:cTn dur="500" fill="hold"/>
                        <p:tgtEl>
                          <p:spTgt spid="28"/>
                        </p:tgtEl>
                        <p:attrNameLst>
                          <p:attrName>ppt_x</p:attrName>
                          <p:attrName>ppt_y</p:attrName>
                        </p:attrNameLst>
                      </p:cBhvr>
                      <p:rCtr x="859" y="0"/>
                    </p:animMotion>
                  </p:childTnLst>
                </p:cTn>
              </p:par>
            </p:tnLst>
          </p:tmpl>
        </p:tmplLst>
      </p:bldP>
      <p:bldP spid="29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250"/>
                        <p:tgtEl>
                          <p:spTgt spid="2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9" grpId="1">
        <p:tmplLst>
          <p:tmpl>
            <p:tnLst>
              <p:par>
                <p:cTn presetID="42" presetClass="path" presetSubtype="0" decel="100000" fill="hold" nodeType="withEffect">
                  <p:stCondLst>
                    <p:cond delay="250"/>
                  </p:stCondLst>
                  <p:childTnLst>
                    <p:animMotion origin="layout" path="M -0.01719 -0.00023 L 2.91667E-6 -2.22222E-6 " pathEditMode="relative" rAng="0" ptsTypes="AA">
                      <p:cBhvr>
                        <p:cTn dur="500" fill="hold"/>
                        <p:tgtEl>
                          <p:spTgt spid="29"/>
                        </p:tgtEl>
                        <p:attrNameLst>
                          <p:attrName>ppt_x</p:attrName>
                          <p:attrName>ppt_y</p:attrName>
                        </p:attrNameLst>
                      </p:cBhvr>
                      <p:rCtr x="859" y="0"/>
                    </p:animMotion>
                  </p:childTnLst>
                </p:cTn>
              </p:par>
            </p:tnLst>
          </p:tmpl>
        </p:tmplLst>
      </p:bldP>
      <p:bldP spid="30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250"/>
                        <p:tgtEl>
                          <p:spTgt spid="3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0" grpId="1">
        <p:tmplLst>
          <p:tmpl>
            <p:tnLst>
              <p:par>
                <p:cTn presetID="42" presetClass="path" presetSubtype="0" decel="100000" fill="hold" nodeType="withEffect">
                  <p:stCondLst>
                    <p:cond delay="250"/>
                  </p:stCondLst>
                  <p:childTnLst>
                    <p:animMotion origin="layout" path="M -0.01719 -0.00023 L 2.91667E-6 -4.44444E-6 " pathEditMode="relative" rAng="0" ptsTypes="AA">
                      <p:cBhvr>
                        <p:cTn dur="500" fill="hold"/>
                        <p:tgtEl>
                          <p:spTgt spid="30"/>
                        </p:tgtEl>
                        <p:attrNameLst>
                          <p:attrName>ppt_x</p:attrName>
                          <p:attrName>ppt_y</p:attrName>
                        </p:attrNameLst>
                      </p:cBhvr>
                      <p:rCtr x="859" y="0"/>
                    </p:animMotion>
                  </p:childTnLst>
                </p:cTn>
              </p:par>
            </p:tnLst>
          </p:tmpl>
        </p:tmplLst>
      </p:bldP>
    </p:bldLst>
  </p:timing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1_Esquema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m 9">
            <a:extLst>
              <a:ext uri="{FF2B5EF4-FFF2-40B4-BE49-F238E27FC236}">
                <a16:creationId xmlns:a16="http://schemas.microsoft.com/office/drawing/2014/main" id="{F960FEF8-BB23-AD82-FF2E-EFBE69033A9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 l="13888" t="61466" r="16313" b="12636"/>
          <a:stretch>
            <a:fillRect/>
          </a:stretch>
        </p:blipFill>
        <p:spPr>
          <a:xfrm rot="16200000">
            <a:off x="-1850844" y="3037526"/>
            <a:ext cx="5885263" cy="2183575"/>
          </a:xfrm>
          <a:prstGeom prst="rect">
            <a:avLst/>
          </a:prstGeom>
        </p:spPr>
      </p:pic>
      <p:sp>
        <p:nvSpPr>
          <p:cNvPr id="6" name="Retângulo 5">
            <a:extLst>
              <a:ext uri="{FF2B5EF4-FFF2-40B4-BE49-F238E27FC236}">
                <a16:creationId xmlns:a16="http://schemas.microsoft.com/office/drawing/2014/main" id="{739050AD-3420-E456-586E-5D3450D97349}"/>
              </a:ext>
            </a:extLst>
          </p:cNvPr>
          <p:cNvSpPr/>
          <p:nvPr userDrawn="1"/>
        </p:nvSpPr>
        <p:spPr>
          <a:xfrm>
            <a:off x="512761" y="1400628"/>
            <a:ext cx="11679239" cy="5457372"/>
          </a:xfrm>
          <a:prstGeom prst="rect">
            <a:avLst/>
          </a:prstGeom>
          <a:solidFill>
            <a:srgbClr val="184BF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  <p:sp>
        <p:nvSpPr>
          <p:cNvPr id="7" name="Título 6">
            <a:extLst>
              <a:ext uri="{FF2B5EF4-FFF2-40B4-BE49-F238E27FC236}">
                <a16:creationId xmlns:a16="http://schemas.microsoft.com/office/drawing/2014/main" id="{9D24ED0D-0B60-C338-C2E7-7D3D9727D2F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20955" y="2433392"/>
            <a:ext cx="8413103" cy="3023980"/>
          </a:xfrm>
        </p:spPr>
        <p:txBody>
          <a:bodyPr anchor="ctr">
            <a:noAutofit/>
          </a:bodyPr>
          <a:lstStyle>
            <a:lvl1pPr>
              <a:defRPr sz="4400">
                <a:solidFill>
                  <a:schemeClr val="bg1"/>
                </a:solidFill>
              </a:defRPr>
            </a:lvl1pPr>
          </a:lstStyle>
          <a:p>
            <a:r>
              <a:rPr lang="pt-PT" dirty="0"/>
              <a:t>Insertar título de la slide</a:t>
            </a: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469B614F-D008-EA22-485A-7FF9C2528310}"/>
              </a:ext>
            </a:extLst>
          </p:cNvPr>
          <p:cNvSpPr/>
          <p:nvPr userDrawn="1"/>
        </p:nvSpPr>
        <p:spPr>
          <a:xfrm>
            <a:off x="1324421" y="980286"/>
            <a:ext cx="1259121" cy="1259121"/>
          </a:xfrm>
          <a:prstGeom prst="ellipse">
            <a:avLst/>
          </a:prstGeom>
          <a:solidFill>
            <a:srgbClr val="132153"/>
          </a:solidFill>
          <a:ln w="4244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pt-PT"/>
          </a:p>
        </p:txBody>
      </p:sp>
      <p:pic>
        <p:nvPicPr>
          <p:cNvPr id="9" name="Imagem 8">
            <a:extLst>
              <a:ext uri="{FF2B5EF4-FFF2-40B4-BE49-F238E27FC236}">
                <a16:creationId xmlns:a16="http://schemas.microsoft.com/office/drawing/2014/main" id="{A8B51170-A016-5C1D-79C3-28842AEFC0A4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 l="10363" t="8251" r="69613" b="21154"/>
          <a:stretch>
            <a:fillRect/>
          </a:stretch>
        </p:blipFill>
        <p:spPr>
          <a:xfrm rot="16200000" flipV="1">
            <a:off x="6231087" y="-3410131"/>
            <a:ext cx="2702860" cy="9523123"/>
          </a:xfrm>
          <a:prstGeom prst="rect">
            <a:avLst/>
          </a:prstGeom>
        </p:spPr>
      </p:pic>
      <p:sp>
        <p:nvSpPr>
          <p:cNvPr id="11" name="Marcador de Posição do Rodapé 4">
            <a:extLst>
              <a:ext uri="{FF2B5EF4-FFF2-40B4-BE49-F238E27FC236}">
                <a16:creationId xmlns:a16="http://schemas.microsoft.com/office/drawing/2014/main" id="{5582AB42-A148-4116-AA6E-D529ADF1C9F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12762" y="6356350"/>
            <a:ext cx="534669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bg1"/>
                </a:solidFill>
              </a:defRPr>
            </a:lvl1pPr>
          </a:lstStyle>
          <a:p>
            <a:r>
              <a:rPr lang="pt-PT"/>
              <a:t>Título de la presentación</a:t>
            </a:r>
            <a:endParaRPr lang="pt-PT" dirty="0"/>
          </a:p>
        </p:txBody>
      </p:sp>
      <p:sp>
        <p:nvSpPr>
          <p:cNvPr id="12" name="Marcador de Posição do Número do Diapositivo 5">
            <a:extLst>
              <a:ext uri="{FF2B5EF4-FFF2-40B4-BE49-F238E27FC236}">
                <a16:creationId xmlns:a16="http://schemas.microsoft.com/office/drawing/2014/main" id="{71F7657E-105D-4E6E-B252-140A5B8CA86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936039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bg1"/>
                </a:solidFill>
              </a:defRPr>
            </a:lvl1pPr>
          </a:lstStyle>
          <a:p>
            <a:fld id="{24A347C2-D68E-473A-8C76-1D063E4EB6E0}" type="slidenum">
              <a:rPr lang="es-ES" smtClean="0"/>
              <a:pPr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21795927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5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1666 -0.00046 L 3.75E-6 1.85185E-6 " pathEditMode="relative" rAng="0" ptsTypes="AA">
                                      <p:cBhvr>
                                        <p:cTn id="9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833" y="23"/>
                                    </p:animMotion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25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25E-6 0.03889 L 1.25E-6 1.85185E-6 " pathEditMode="relative" rAng="0" ptsTypes="AA">
                                      <p:cBhvr>
                                        <p:cTn id="14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944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  <p:bldP spid="7" grpId="1"/>
      <p:bldP spid="8" grpId="0" animBg="1"/>
      <p:bldP spid="8" grpId="1" animBg="1"/>
    </p:bldLst>
  </p:timing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2_Esquema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ítulo 6">
            <a:extLst>
              <a:ext uri="{FF2B5EF4-FFF2-40B4-BE49-F238E27FC236}">
                <a16:creationId xmlns:a16="http://schemas.microsoft.com/office/drawing/2014/main" id="{EAB66662-0181-D9A7-ECB1-99DC15F563C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20955" y="2433392"/>
            <a:ext cx="8413103" cy="3023980"/>
          </a:xfrm>
        </p:spPr>
        <p:txBody>
          <a:bodyPr anchor="ctr">
            <a:noAutofit/>
          </a:bodyPr>
          <a:lstStyle>
            <a:lvl1pPr>
              <a:defRPr sz="4400">
                <a:solidFill>
                  <a:schemeClr val="tx1"/>
                </a:solidFill>
              </a:defRPr>
            </a:lvl1pPr>
          </a:lstStyle>
          <a:p>
            <a:r>
              <a:rPr lang="pt-PT" dirty="0"/>
              <a:t>Insertar título de la slide</a:t>
            </a:r>
          </a:p>
        </p:txBody>
      </p:sp>
      <p:pic>
        <p:nvPicPr>
          <p:cNvPr id="7" name="Imagem 6">
            <a:extLst>
              <a:ext uri="{FF2B5EF4-FFF2-40B4-BE49-F238E27FC236}">
                <a16:creationId xmlns:a16="http://schemas.microsoft.com/office/drawing/2014/main" id="{A9FAB10E-F230-7DAF-DEB5-4B6E65FC38B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 l="-1404" t="53126" r="36808" b="17343"/>
          <a:stretch>
            <a:fillRect/>
          </a:stretch>
        </p:blipFill>
        <p:spPr>
          <a:xfrm rot="16200000">
            <a:off x="-1861458" y="1861455"/>
            <a:ext cx="6858001" cy="3135086"/>
          </a:xfrm>
          <a:prstGeom prst="rect">
            <a:avLst/>
          </a:prstGeom>
        </p:spPr>
      </p:pic>
      <p:pic>
        <p:nvPicPr>
          <p:cNvPr id="8" name="Imagem 7">
            <a:extLst>
              <a:ext uri="{FF2B5EF4-FFF2-40B4-BE49-F238E27FC236}">
                <a16:creationId xmlns:a16="http://schemas.microsoft.com/office/drawing/2014/main" id="{1AA613FD-3CCB-B744-2EBB-02F7604842CA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 l="15847" t="39023" r="64129" b="-9618"/>
          <a:stretch>
            <a:fillRect/>
          </a:stretch>
        </p:blipFill>
        <p:spPr>
          <a:xfrm rot="5400000">
            <a:off x="6079008" y="745008"/>
            <a:ext cx="2702860" cy="9523123"/>
          </a:xfrm>
          <a:prstGeom prst="rect">
            <a:avLst/>
          </a:prstGeom>
        </p:spPr>
      </p:pic>
      <p:sp>
        <p:nvSpPr>
          <p:cNvPr id="9" name="Retângulo 205">
            <a:extLst>
              <a:ext uri="{FF2B5EF4-FFF2-40B4-BE49-F238E27FC236}">
                <a16:creationId xmlns:a16="http://schemas.microsoft.com/office/drawing/2014/main" id="{3335112A-4518-065C-2F7B-DAE45AF26ECF}"/>
              </a:ext>
            </a:extLst>
          </p:cNvPr>
          <p:cNvSpPr/>
          <p:nvPr userDrawn="1"/>
        </p:nvSpPr>
        <p:spPr>
          <a:xfrm rot="16200000" flipH="1">
            <a:off x="10044167" y="1235056"/>
            <a:ext cx="422172" cy="2396673"/>
          </a:xfrm>
          <a:custGeom>
            <a:avLst/>
            <a:gdLst>
              <a:gd name="connsiteX0" fmla="*/ 0 w 1635417"/>
              <a:gd name="connsiteY0" fmla="*/ 0 h 1179213"/>
              <a:gd name="connsiteX1" fmla="*/ 1635417 w 1635417"/>
              <a:gd name="connsiteY1" fmla="*/ 0 h 1179213"/>
              <a:gd name="connsiteX2" fmla="*/ 1635417 w 1635417"/>
              <a:gd name="connsiteY2" fmla="*/ 1179213 h 1179213"/>
              <a:gd name="connsiteX3" fmla="*/ 0 w 1635417"/>
              <a:gd name="connsiteY3" fmla="*/ 1179213 h 1179213"/>
              <a:gd name="connsiteX4" fmla="*/ 0 w 1635417"/>
              <a:gd name="connsiteY4" fmla="*/ 0 h 1179213"/>
              <a:gd name="connsiteX0" fmla="*/ 1635417 w 1726857"/>
              <a:gd name="connsiteY0" fmla="*/ 0 h 1179213"/>
              <a:gd name="connsiteX1" fmla="*/ 1635417 w 1726857"/>
              <a:gd name="connsiteY1" fmla="*/ 1179213 h 1179213"/>
              <a:gd name="connsiteX2" fmla="*/ 0 w 1726857"/>
              <a:gd name="connsiteY2" fmla="*/ 1179213 h 1179213"/>
              <a:gd name="connsiteX3" fmla="*/ 0 w 1726857"/>
              <a:gd name="connsiteY3" fmla="*/ 0 h 1179213"/>
              <a:gd name="connsiteX4" fmla="*/ 1726857 w 1726857"/>
              <a:gd name="connsiteY4" fmla="*/ 91440 h 1179213"/>
              <a:gd name="connsiteX0" fmla="*/ 1635417 w 1635417"/>
              <a:gd name="connsiteY0" fmla="*/ 0 h 1179213"/>
              <a:gd name="connsiteX1" fmla="*/ 1635417 w 1635417"/>
              <a:gd name="connsiteY1" fmla="*/ 1179213 h 1179213"/>
              <a:gd name="connsiteX2" fmla="*/ 0 w 1635417"/>
              <a:gd name="connsiteY2" fmla="*/ 1179213 h 1179213"/>
              <a:gd name="connsiteX3" fmla="*/ 0 w 1635417"/>
              <a:gd name="connsiteY3" fmla="*/ 0 h 1179213"/>
              <a:gd name="connsiteX0" fmla="*/ 1635417 w 1635417"/>
              <a:gd name="connsiteY0" fmla="*/ 1179213 h 1179213"/>
              <a:gd name="connsiteX1" fmla="*/ 0 w 1635417"/>
              <a:gd name="connsiteY1" fmla="*/ 1179213 h 1179213"/>
              <a:gd name="connsiteX2" fmla="*/ 0 w 1635417"/>
              <a:gd name="connsiteY2" fmla="*/ 0 h 11792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635417" h="1179213">
                <a:moveTo>
                  <a:pt x="1635417" y="1179213"/>
                </a:moveTo>
                <a:lnTo>
                  <a:pt x="0" y="1179213"/>
                </a:lnTo>
                <a:lnTo>
                  <a:pt x="0" y="0"/>
                </a:lnTo>
              </a:path>
            </a:pathLst>
          </a:custGeom>
          <a:noFill/>
          <a:ln w="6350" cap="sq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  <p:sp>
        <p:nvSpPr>
          <p:cNvPr id="10" name="Marcador de Posição do Rodapé 4">
            <a:extLst>
              <a:ext uri="{FF2B5EF4-FFF2-40B4-BE49-F238E27FC236}">
                <a16:creationId xmlns:a16="http://schemas.microsoft.com/office/drawing/2014/main" id="{D1FAA4F7-EE8A-416A-A673-95E2FE83447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12762" y="6356350"/>
            <a:ext cx="534669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accent2"/>
                </a:solidFill>
              </a:defRPr>
            </a:lvl1pPr>
          </a:lstStyle>
          <a:p>
            <a:r>
              <a:rPr lang="pt-PT"/>
              <a:t>Título de la presentación</a:t>
            </a:r>
            <a:endParaRPr lang="pt-PT" dirty="0"/>
          </a:p>
        </p:txBody>
      </p:sp>
      <p:sp>
        <p:nvSpPr>
          <p:cNvPr id="11" name="Marcador de Posição do Número do Diapositivo 5">
            <a:extLst>
              <a:ext uri="{FF2B5EF4-FFF2-40B4-BE49-F238E27FC236}">
                <a16:creationId xmlns:a16="http://schemas.microsoft.com/office/drawing/2014/main" id="{0C72E334-7582-4B16-8D38-76C6159B2BF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936039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bg1"/>
                </a:solidFill>
              </a:defRPr>
            </a:lvl1pPr>
          </a:lstStyle>
          <a:p>
            <a:fld id="{24A347C2-D68E-473A-8C76-1D063E4EB6E0}" type="slidenum">
              <a:rPr lang="es-ES" smtClean="0"/>
              <a:pPr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94101926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5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1666 -0.00046 L 3.75E-6 1.85185E-6 " pathEditMode="relative" rAng="0" ptsTypes="AA">
                                      <p:cBhvr>
                                        <p:cTn id="9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833" y="23"/>
                                    </p:animMotion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25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3.75E-6 -0.03472 L -3.75E-6 1.85185E-6 " pathEditMode="relative" rAng="0" ptsTypes="AA">
                                      <p:cBhvr>
                                        <p:cTn id="14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736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6" grpId="1"/>
      <p:bldP spid="9" grpId="0" animBg="1"/>
      <p:bldP spid="9" grpId="1" animBg="1"/>
    </p:bldLst>
  </p:timing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0_Esquema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4" name="Imagem 43">
            <a:extLst>
              <a:ext uri="{FF2B5EF4-FFF2-40B4-BE49-F238E27FC236}">
                <a16:creationId xmlns:a16="http://schemas.microsoft.com/office/drawing/2014/main" id="{E1BD5763-37A4-41A6-0327-3F185660ADA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 l="15847" t="19441" r="64129" b="20831"/>
          <a:stretch>
            <a:fillRect/>
          </a:stretch>
        </p:blipFill>
        <p:spPr>
          <a:xfrm rot="5400000">
            <a:off x="4911997" y="2350226"/>
            <a:ext cx="2264654" cy="6750894"/>
          </a:xfrm>
          <a:prstGeom prst="rect">
            <a:avLst/>
          </a:prstGeom>
        </p:spPr>
      </p:pic>
      <p:pic>
        <p:nvPicPr>
          <p:cNvPr id="43" name="Imagem 42">
            <a:extLst>
              <a:ext uri="{FF2B5EF4-FFF2-40B4-BE49-F238E27FC236}">
                <a16:creationId xmlns:a16="http://schemas.microsoft.com/office/drawing/2014/main" id="{640B5858-ABF1-C67F-91AF-1A51075F2484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 l="10821" t="60527" r="36628" b="14633"/>
          <a:stretch>
            <a:fillRect/>
          </a:stretch>
        </p:blipFill>
        <p:spPr>
          <a:xfrm flipH="1">
            <a:off x="-38588" y="1"/>
            <a:ext cx="4232761" cy="2000646"/>
          </a:xfrm>
          <a:prstGeom prst="rect">
            <a:avLst/>
          </a:prstGeom>
        </p:spPr>
      </p:pic>
      <p:pic>
        <p:nvPicPr>
          <p:cNvPr id="9" name="Imagem 8" descr="Uma imagem com Saturação de cores, círculo, Gráficos&#10;&#10;Os conteúdos gerados por IA podem estar incorretos.">
            <a:extLst>
              <a:ext uri="{FF2B5EF4-FFF2-40B4-BE49-F238E27FC236}">
                <a16:creationId xmlns:a16="http://schemas.microsoft.com/office/drawing/2014/main" id="{DD4A9C38-4850-A463-93D1-8DE6711884D7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49170" y="682171"/>
            <a:ext cx="5493660" cy="5493658"/>
          </a:xfrm>
          <a:prstGeom prst="rect">
            <a:avLst/>
          </a:prstGeom>
        </p:spPr>
      </p:pic>
      <p:sp>
        <p:nvSpPr>
          <p:cNvPr id="10" name="Título 6">
            <a:extLst>
              <a:ext uri="{FF2B5EF4-FFF2-40B4-BE49-F238E27FC236}">
                <a16:creationId xmlns:a16="http://schemas.microsoft.com/office/drawing/2014/main" id="{7B6BF268-F411-0735-435D-5668684D3E1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05828" y="3072898"/>
            <a:ext cx="2380344" cy="712204"/>
          </a:xfrm>
        </p:spPr>
        <p:txBody>
          <a:bodyPr anchor="ctr">
            <a:noAutofit/>
          </a:bodyPr>
          <a:lstStyle>
            <a:lvl1pPr algn="ctr">
              <a:defRPr sz="3200">
                <a:solidFill>
                  <a:schemeClr val="tx1"/>
                </a:solidFill>
              </a:defRPr>
            </a:lvl1pPr>
          </a:lstStyle>
          <a:p>
            <a:r>
              <a:rPr lang="pt-PT" dirty="0"/>
              <a:t>Insertar título de la slide</a:t>
            </a:r>
          </a:p>
        </p:txBody>
      </p:sp>
      <p:sp>
        <p:nvSpPr>
          <p:cNvPr id="16" name="Retângulo 205">
            <a:extLst>
              <a:ext uri="{FF2B5EF4-FFF2-40B4-BE49-F238E27FC236}">
                <a16:creationId xmlns:a16="http://schemas.microsoft.com/office/drawing/2014/main" id="{1BF0F063-845E-78C1-3831-E9E500AD4B7F}"/>
              </a:ext>
            </a:extLst>
          </p:cNvPr>
          <p:cNvSpPr/>
          <p:nvPr userDrawn="1"/>
        </p:nvSpPr>
        <p:spPr>
          <a:xfrm rot="16200000" flipH="1">
            <a:off x="9021842" y="-1151137"/>
            <a:ext cx="422172" cy="4437692"/>
          </a:xfrm>
          <a:custGeom>
            <a:avLst/>
            <a:gdLst>
              <a:gd name="connsiteX0" fmla="*/ 0 w 1635417"/>
              <a:gd name="connsiteY0" fmla="*/ 0 h 1179213"/>
              <a:gd name="connsiteX1" fmla="*/ 1635417 w 1635417"/>
              <a:gd name="connsiteY1" fmla="*/ 0 h 1179213"/>
              <a:gd name="connsiteX2" fmla="*/ 1635417 w 1635417"/>
              <a:gd name="connsiteY2" fmla="*/ 1179213 h 1179213"/>
              <a:gd name="connsiteX3" fmla="*/ 0 w 1635417"/>
              <a:gd name="connsiteY3" fmla="*/ 1179213 h 1179213"/>
              <a:gd name="connsiteX4" fmla="*/ 0 w 1635417"/>
              <a:gd name="connsiteY4" fmla="*/ 0 h 1179213"/>
              <a:gd name="connsiteX0" fmla="*/ 1635417 w 1726857"/>
              <a:gd name="connsiteY0" fmla="*/ 0 h 1179213"/>
              <a:gd name="connsiteX1" fmla="*/ 1635417 w 1726857"/>
              <a:gd name="connsiteY1" fmla="*/ 1179213 h 1179213"/>
              <a:gd name="connsiteX2" fmla="*/ 0 w 1726857"/>
              <a:gd name="connsiteY2" fmla="*/ 1179213 h 1179213"/>
              <a:gd name="connsiteX3" fmla="*/ 0 w 1726857"/>
              <a:gd name="connsiteY3" fmla="*/ 0 h 1179213"/>
              <a:gd name="connsiteX4" fmla="*/ 1726857 w 1726857"/>
              <a:gd name="connsiteY4" fmla="*/ 91440 h 1179213"/>
              <a:gd name="connsiteX0" fmla="*/ 1635417 w 1635417"/>
              <a:gd name="connsiteY0" fmla="*/ 0 h 1179213"/>
              <a:gd name="connsiteX1" fmla="*/ 1635417 w 1635417"/>
              <a:gd name="connsiteY1" fmla="*/ 1179213 h 1179213"/>
              <a:gd name="connsiteX2" fmla="*/ 0 w 1635417"/>
              <a:gd name="connsiteY2" fmla="*/ 1179213 h 1179213"/>
              <a:gd name="connsiteX3" fmla="*/ 0 w 1635417"/>
              <a:gd name="connsiteY3" fmla="*/ 0 h 1179213"/>
              <a:gd name="connsiteX0" fmla="*/ 1635417 w 1635417"/>
              <a:gd name="connsiteY0" fmla="*/ 1179213 h 1179213"/>
              <a:gd name="connsiteX1" fmla="*/ 0 w 1635417"/>
              <a:gd name="connsiteY1" fmla="*/ 1179213 h 1179213"/>
              <a:gd name="connsiteX2" fmla="*/ 0 w 1635417"/>
              <a:gd name="connsiteY2" fmla="*/ 0 h 11792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635417" h="1179213">
                <a:moveTo>
                  <a:pt x="1635417" y="1179213"/>
                </a:moveTo>
                <a:lnTo>
                  <a:pt x="0" y="1179213"/>
                </a:lnTo>
                <a:lnTo>
                  <a:pt x="0" y="0"/>
                </a:lnTo>
              </a:path>
            </a:pathLst>
          </a:custGeom>
          <a:noFill/>
          <a:ln w="6350" cap="sq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  <p:sp>
        <p:nvSpPr>
          <p:cNvPr id="17" name="Marcador de Posição do Texto 34">
            <a:extLst>
              <a:ext uri="{FF2B5EF4-FFF2-40B4-BE49-F238E27FC236}">
                <a16:creationId xmlns:a16="http://schemas.microsoft.com/office/drawing/2014/main" id="{15FEB267-ED31-451B-F1A3-135727CF6815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997826" y="942245"/>
            <a:ext cx="3337832" cy="336550"/>
          </a:xfrm>
        </p:spPr>
        <p:txBody>
          <a:bodyPr anchor="ctr"/>
          <a:lstStyle>
            <a:lvl1pPr algn="r">
              <a:defRPr cap="all" baseline="0">
                <a:solidFill>
                  <a:schemeClr val="accent2"/>
                </a:solidFill>
                <a:latin typeface="+mj-lt"/>
              </a:defRPr>
            </a:lvl1pPr>
          </a:lstStyle>
          <a:p>
            <a:pPr lvl="0"/>
            <a:r>
              <a:rPr lang="pt-PT" dirty="0"/>
              <a:t>Insertar texto destacado</a:t>
            </a:r>
          </a:p>
        </p:txBody>
      </p:sp>
      <p:sp>
        <p:nvSpPr>
          <p:cNvPr id="21" name="Marcador de Posição do Texto 10">
            <a:extLst>
              <a:ext uri="{FF2B5EF4-FFF2-40B4-BE49-F238E27FC236}">
                <a16:creationId xmlns:a16="http://schemas.microsoft.com/office/drawing/2014/main" id="{9B12C9FC-1B2C-6A24-74A6-01EF41182ED9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842830" y="1364417"/>
            <a:ext cx="2488665" cy="422173"/>
          </a:xfrm>
        </p:spPr>
        <p:txBody>
          <a:bodyPr>
            <a:noAutofit/>
          </a:bodyPr>
          <a:lstStyle>
            <a:lvl1pPr algn="r">
              <a:defRPr sz="1400"/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es-ES" dirty="0"/>
              <a:t>Haz </a:t>
            </a:r>
            <a:r>
              <a:rPr lang="es-ES" dirty="0" err="1"/>
              <a:t>click</a:t>
            </a:r>
            <a:r>
              <a:rPr lang="es-ES" dirty="0"/>
              <a:t> para editar los estilos del texto del modelo</a:t>
            </a:r>
            <a:endParaRPr lang="pt-PT" dirty="0"/>
          </a:p>
        </p:txBody>
      </p:sp>
      <p:sp>
        <p:nvSpPr>
          <p:cNvPr id="22" name="Retângulo 205">
            <a:extLst>
              <a:ext uri="{FF2B5EF4-FFF2-40B4-BE49-F238E27FC236}">
                <a16:creationId xmlns:a16="http://schemas.microsoft.com/office/drawing/2014/main" id="{6C20D45D-EC31-4DE6-8826-0D639238AADC}"/>
              </a:ext>
            </a:extLst>
          </p:cNvPr>
          <p:cNvSpPr/>
          <p:nvPr userDrawn="1"/>
        </p:nvSpPr>
        <p:spPr>
          <a:xfrm rot="16200000" flipH="1">
            <a:off x="9745715" y="1048474"/>
            <a:ext cx="422172" cy="2989945"/>
          </a:xfrm>
          <a:custGeom>
            <a:avLst/>
            <a:gdLst>
              <a:gd name="connsiteX0" fmla="*/ 0 w 1635417"/>
              <a:gd name="connsiteY0" fmla="*/ 0 h 1179213"/>
              <a:gd name="connsiteX1" fmla="*/ 1635417 w 1635417"/>
              <a:gd name="connsiteY1" fmla="*/ 0 h 1179213"/>
              <a:gd name="connsiteX2" fmla="*/ 1635417 w 1635417"/>
              <a:gd name="connsiteY2" fmla="*/ 1179213 h 1179213"/>
              <a:gd name="connsiteX3" fmla="*/ 0 w 1635417"/>
              <a:gd name="connsiteY3" fmla="*/ 1179213 h 1179213"/>
              <a:gd name="connsiteX4" fmla="*/ 0 w 1635417"/>
              <a:gd name="connsiteY4" fmla="*/ 0 h 1179213"/>
              <a:gd name="connsiteX0" fmla="*/ 1635417 w 1726857"/>
              <a:gd name="connsiteY0" fmla="*/ 0 h 1179213"/>
              <a:gd name="connsiteX1" fmla="*/ 1635417 w 1726857"/>
              <a:gd name="connsiteY1" fmla="*/ 1179213 h 1179213"/>
              <a:gd name="connsiteX2" fmla="*/ 0 w 1726857"/>
              <a:gd name="connsiteY2" fmla="*/ 1179213 h 1179213"/>
              <a:gd name="connsiteX3" fmla="*/ 0 w 1726857"/>
              <a:gd name="connsiteY3" fmla="*/ 0 h 1179213"/>
              <a:gd name="connsiteX4" fmla="*/ 1726857 w 1726857"/>
              <a:gd name="connsiteY4" fmla="*/ 91440 h 1179213"/>
              <a:gd name="connsiteX0" fmla="*/ 1635417 w 1635417"/>
              <a:gd name="connsiteY0" fmla="*/ 0 h 1179213"/>
              <a:gd name="connsiteX1" fmla="*/ 1635417 w 1635417"/>
              <a:gd name="connsiteY1" fmla="*/ 1179213 h 1179213"/>
              <a:gd name="connsiteX2" fmla="*/ 0 w 1635417"/>
              <a:gd name="connsiteY2" fmla="*/ 1179213 h 1179213"/>
              <a:gd name="connsiteX3" fmla="*/ 0 w 1635417"/>
              <a:gd name="connsiteY3" fmla="*/ 0 h 1179213"/>
              <a:gd name="connsiteX0" fmla="*/ 1635417 w 1635417"/>
              <a:gd name="connsiteY0" fmla="*/ 1179213 h 1179213"/>
              <a:gd name="connsiteX1" fmla="*/ 0 w 1635417"/>
              <a:gd name="connsiteY1" fmla="*/ 1179213 h 1179213"/>
              <a:gd name="connsiteX2" fmla="*/ 0 w 1635417"/>
              <a:gd name="connsiteY2" fmla="*/ 0 h 11792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635417" h="1179213">
                <a:moveTo>
                  <a:pt x="1635417" y="1179213"/>
                </a:moveTo>
                <a:lnTo>
                  <a:pt x="0" y="1179213"/>
                </a:lnTo>
                <a:lnTo>
                  <a:pt x="0" y="0"/>
                </a:lnTo>
              </a:path>
            </a:pathLst>
          </a:custGeom>
          <a:noFill/>
          <a:ln w="6350" cap="sq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  <p:sp>
        <p:nvSpPr>
          <p:cNvPr id="23" name="Marcador de Posição do Texto 34">
            <a:extLst>
              <a:ext uri="{FF2B5EF4-FFF2-40B4-BE49-F238E27FC236}">
                <a16:creationId xmlns:a16="http://schemas.microsoft.com/office/drawing/2014/main" id="{355C5475-802C-B8CB-4BFC-24B83F0EFF2B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997826" y="2417983"/>
            <a:ext cx="3337832" cy="336550"/>
          </a:xfrm>
        </p:spPr>
        <p:txBody>
          <a:bodyPr anchor="ctr"/>
          <a:lstStyle>
            <a:lvl1pPr algn="r">
              <a:defRPr cap="all" baseline="0">
                <a:solidFill>
                  <a:schemeClr val="accent2"/>
                </a:solidFill>
                <a:latin typeface="+mj-lt"/>
              </a:defRPr>
            </a:lvl1pPr>
          </a:lstStyle>
          <a:p>
            <a:pPr lvl="0"/>
            <a:r>
              <a:rPr lang="pt-PT" dirty="0"/>
              <a:t>Insertar texto destacado</a:t>
            </a:r>
          </a:p>
        </p:txBody>
      </p:sp>
      <p:sp>
        <p:nvSpPr>
          <p:cNvPr id="24" name="Marcador de Posição do Texto 10">
            <a:extLst>
              <a:ext uri="{FF2B5EF4-FFF2-40B4-BE49-F238E27FC236}">
                <a16:creationId xmlns:a16="http://schemas.microsoft.com/office/drawing/2014/main" id="{52A82C14-5C3E-CB64-3A0D-BC2C0C19CB49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842830" y="2840155"/>
            <a:ext cx="2488665" cy="422173"/>
          </a:xfrm>
        </p:spPr>
        <p:txBody>
          <a:bodyPr>
            <a:noAutofit/>
          </a:bodyPr>
          <a:lstStyle>
            <a:lvl1pPr algn="r">
              <a:defRPr sz="1400"/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es-ES" dirty="0"/>
              <a:t>Haz </a:t>
            </a:r>
            <a:r>
              <a:rPr lang="es-ES" dirty="0" err="1"/>
              <a:t>click</a:t>
            </a:r>
            <a:r>
              <a:rPr lang="es-ES" dirty="0"/>
              <a:t> para editar los estilos del texto del modelo</a:t>
            </a:r>
            <a:endParaRPr lang="pt-PT" dirty="0"/>
          </a:p>
        </p:txBody>
      </p:sp>
      <p:sp>
        <p:nvSpPr>
          <p:cNvPr id="25" name="Retângulo 205">
            <a:extLst>
              <a:ext uri="{FF2B5EF4-FFF2-40B4-BE49-F238E27FC236}">
                <a16:creationId xmlns:a16="http://schemas.microsoft.com/office/drawing/2014/main" id="{0FDF2431-358D-B18A-73C3-9242F53F2568}"/>
              </a:ext>
            </a:extLst>
          </p:cNvPr>
          <p:cNvSpPr/>
          <p:nvPr userDrawn="1"/>
        </p:nvSpPr>
        <p:spPr>
          <a:xfrm rot="16200000" flipH="1">
            <a:off x="9996359" y="2774854"/>
            <a:ext cx="422172" cy="2488662"/>
          </a:xfrm>
          <a:custGeom>
            <a:avLst/>
            <a:gdLst>
              <a:gd name="connsiteX0" fmla="*/ 0 w 1635417"/>
              <a:gd name="connsiteY0" fmla="*/ 0 h 1179213"/>
              <a:gd name="connsiteX1" fmla="*/ 1635417 w 1635417"/>
              <a:gd name="connsiteY1" fmla="*/ 0 h 1179213"/>
              <a:gd name="connsiteX2" fmla="*/ 1635417 w 1635417"/>
              <a:gd name="connsiteY2" fmla="*/ 1179213 h 1179213"/>
              <a:gd name="connsiteX3" fmla="*/ 0 w 1635417"/>
              <a:gd name="connsiteY3" fmla="*/ 1179213 h 1179213"/>
              <a:gd name="connsiteX4" fmla="*/ 0 w 1635417"/>
              <a:gd name="connsiteY4" fmla="*/ 0 h 1179213"/>
              <a:gd name="connsiteX0" fmla="*/ 1635417 w 1726857"/>
              <a:gd name="connsiteY0" fmla="*/ 0 h 1179213"/>
              <a:gd name="connsiteX1" fmla="*/ 1635417 w 1726857"/>
              <a:gd name="connsiteY1" fmla="*/ 1179213 h 1179213"/>
              <a:gd name="connsiteX2" fmla="*/ 0 w 1726857"/>
              <a:gd name="connsiteY2" fmla="*/ 1179213 h 1179213"/>
              <a:gd name="connsiteX3" fmla="*/ 0 w 1726857"/>
              <a:gd name="connsiteY3" fmla="*/ 0 h 1179213"/>
              <a:gd name="connsiteX4" fmla="*/ 1726857 w 1726857"/>
              <a:gd name="connsiteY4" fmla="*/ 91440 h 1179213"/>
              <a:gd name="connsiteX0" fmla="*/ 1635417 w 1635417"/>
              <a:gd name="connsiteY0" fmla="*/ 0 h 1179213"/>
              <a:gd name="connsiteX1" fmla="*/ 1635417 w 1635417"/>
              <a:gd name="connsiteY1" fmla="*/ 1179213 h 1179213"/>
              <a:gd name="connsiteX2" fmla="*/ 0 w 1635417"/>
              <a:gd name="connsiteY2" fmla="*/ 1179213 h 1179213"/>
              <a:gd name="connsiteX3" fmla="*/ 0 w 1635417"/>
              <a:gd name="connsiteY3" fmla="*/ 0 h 1179213"/>
              <a:gd name="connsiteX0" fmla="*/ 1635417 w 1635417"/>
              <a:gd name="connsiteY0" fmla="*/ 1179213 h 1179213"/>
              <a:gd name="connsiteX1" fmla="*/ 0 w 1635417"/>
              <a:gd name="connsiteY1" fmla="*/ 1179213 h 1179213"/>
              <a:gd name="connsiteX2" fmla="*/ 0 w 1635417"/>
              <a:gd name="connsiteY2" fmla="*/ 0 h 11792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635417" h="1179213">
                <a:moveTo>
                  <a:pt x="1635417" y="1179213"/>
                </a:moveTo>
                <a:lnTo>
                  <a:pt x="0" y="1179213"/>
                </a:lnTo>
                <a:lnTo>
                  <a:pt x="0" y="0"/>
                </a:lnTo>
              </a:path>
            </a:pathLst>
          </a:custGeom>
          <a:noFill/>
          <a:ln w="6350" cap="sq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  <p:sp>
        <p:nvSpPr>
          <p:cNvPr id="26" name="Marcador de Posição do Texto 34">
            <a:extLst>
              <a:ext uri="{FF2B5EF4-FFF2-40B4-BE49-F238E27FC236}">
                <a16:creationId xmlns:a16="http://schemas.microsoft.com/office/drawing/2014/main" id="{E4102517-A8CC-6CC9-4F7D-7565FEF1CB73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461828" y="3893721"/>
            <a:ext cx="2873832" cy="296709"/>
          </a:xfrm>
        </p:spPr>
        <p:txBody>
          <a:bodyPr anchor="ctr"/>
          <a:lstStyle>
            <a:lvl1pPr algn="r">
              <a:defRPr cap="all" baseline="0">
                <a:solidFill>
                  <a:schemeClr val="accent2"/>
                </a:solidFill>
                <a:latin typeface="+mj-lt"/>
              </a:defRPr>
            </a:lvl1pPr>
          </a:lstStyle>
          <a:p>
            <a:pPr lvl="0"/>
            <a:r>
              <a:rPr lang="pt-PT" dirty="0"/>
              <a:t>Insertar texto destacado</a:t>
            </a:r>
          </a:p>
        </p:txBody>
      </p:sp>
      <p:sp>
        <p:nvSpPr>
          <p:cNvPr id="27" name="Marcador de Posição do Texto 10">
            <a:extLst>
              <a:ext uri="{FF2B5EF4-FFF2-40B4-BE49-F238E27FC236}">
                <a16:creationId xmlns:a16="http://schemas.microsoft.com/office/drawing/2014/main" id="{19BFC845-285C-9103-ED9D-7F65A0836CED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8842832" y="4315893"/>
            <a:ext cx="2488665" cy="422173"/>
          </a:xfrm>
        </p:spPr>
        <p:txBody>
          <a:bodyPr>
            <a:noAutofit/>
          </a:bodyPr>
          <a:lstStyle>
            <a:lvl1pPr algn="r">
              <a:defRPr sz="1400"/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es-ES" dirty="0"/>
              <a:t>Haz </a:t>
            </a:r>
            <a:r>
              <a:rPr lang="es-ES" dirty="0" err="1"/>
              <a:t>click</a:t>
            </a:r>
            <a:r>
              <a:rPr lang="es-ES" dirty="0"/>
              <a:t> para editar los estilos del texto del modelo</a:t>
            </a:r>
            <a:endParaRPr lang="pt-PT" dirty="0"/>
          </a:p>
        </p:txBody>
      </p:sp>
      <p:sp>
        <p:nvSpPr>
          <p:cNvPr id="28" name="Retângulo 205">
            <a:extLst>
              <a:ext uri="{FF2B5EF4-FFF2-40B4-BE49-F238E27FC236}">
                <a16:creationId xmlns:a16="http://schemas.microsoft.com/office/drawing/2014/main" id="{61AAF8D5-5B7C-D8F7-12BA-D94A7B6ADE5E}"/>
              </a:ext>
            </a:extLst>
          </p:cNvPr>
          <p:cNvSpPr/>
          <p:nvPr userDrawn="1"/>
        </p:nvSpPr>
        <p:spPr>
          <a:xfrm rot="16200000" flipH="1">
            <a:off x="9745716" y="3874487"/>
            <a:ext cx="422172" cy="2989945"/>
          </a:xfrm>
          <a:custGeom>
            <a:avLst/>
            <a:gdLst>
              <a:gd name="connsiteX0" fmla="*/ 0 w 1635417"/>
              <a:gd name="connsiteY0" fmla="*/ 0 h 1179213"/>
              <a:gd name="connsiteX1" fmla="*/ 1635417 w 1635417"/>
              <a:gd name="connsiteY1" fmla="*/ 0 h 1179213"/>
              <a:gd name="connsiteX2" fmla="*/ 1635417 w 1635417"/>
              <a:gd name="connsiteY2" fmla="*/ 1179213 h 1179213"/>
              <a:gd name="connsiteX3" fmla="*/ 0 w 1635417"/>
              <a:gd name="connsiteY3" fmla="*/ 1179213 h 1179213"/>
              <a:gd name="connsiteX4" fmla="*/ 0 w 1635417"/>
              <a:gd name="connsiteY4" fmla="*/ 0 h 1179213"/>
              <a:gd name="connsiteX0" fmla="*/ 1635417 w 1726857"/>
              <a:gd name="connsiteY0" fmla="*/ 0 h 1179213"/>
              <a:gd name="connsiteX1" fmla="*/ 1635417 w 1726857"/>
              <a:gd name="connsiteY1" fmla="*/ 1179213 h 1179213"/>
              <a:gd name="connsiteX2" fmla="*/ 0 w 1726857"/>
              <a:gd name="connsiteY2" fmla="*/ 1179213 h 1179213"/>
              <a:gd name="connsiteX3" fmla="*/ 0 w 1726857"/>
              <a:gd name="connsiteY3" fmla="*/ 0 h 1179213"/>
              <a:gd name="connsiteX4" fmla="*/ 1726857 w 1726857"/>
              <a:gd name="connsiteY4" fmla="*/ 91440 h 1179213"/>
              <a:gd name="connsiteX0" fmla="*/ 1635417 w 1635417"/>
              <a:gd name="connsiteY0" fmla="*/ 0 h 1179213"/>
              <a:gd name="connsiteX1" fmla="*/ 1635417 w 1635417"/>
              <a:gd name="connsiteY1" fmla="*/ 1179213 h 1179213"/>
              <a:gd name="connsiteX2" fmla="*/ 0 w 1635417"/>
              <a:gd name="connsiteY2" fmla="*/ 1179213 h 1179213"/>
              <a:gd name="connsiteX3" fmla="*/ 0 w 1635417"/>
              <a:gd name="connsiteY3" fmla="*/ 0 h 1179213"/>
              <a:gd name="connsiteX0" fmla="*/ 1635417 w 1635417"/>
              <a:gd name="connsiteY0" fmla="*/ 1179213 h 1179213"/>
              <a:gd name="connsiteX1" fmla="*/ 0 w 1635417"/>
              <a:gd name="connsiteY1" fmla="*/ 1179213 h 1179213"/>
              <a:gd name="connsiteX2" fmla="*/ 0 w 1635417"/>
              <a:gd name="connsiteY2" fmla="*/ 0 h 11792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635417" h="1179213">
                <a:moveTo>
                  <a:pt x="1635417" y="1179213"/>
                </a:moveTo>
                <a:lnTo>
                  <a:pt x="0" y="1179213"/>
                </a:lnTo>
                <a:lnTo>
                  <a:pt x="0" y="0"/>
                </a:lnTo>
              </a:path>
            </a:pathLst>
          </a:custGeom>
          <a:noFill/>
          <a:ln w="6350" cap="sq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  <p:sp>
        <p:nvSpPr>
          <p:cNvPr id="29" name="Marcador de Posição do Texto 34">
            <a:extLst>
              <a:ext uri="{FF2B5EF4-FFF2-40B4-BE49-F238E27FC236}">
                <a16:creationId xmlns:a16="http://schemas.microsoft.com/office/drawing/2014/main" id="{8DF283B8-3AC6-5A3B-DAB4-F5B57C29E12E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7997827" y="5243996"/>
            <a:ext cx="3337832" cy="336550"/>
          </a:xfrm>
        </p:spPr>
        <p:txBody>
          <a:bodyPr anchor="ctr"/>
          <a:lstStyle>
            <a:lvl1pPr algn="r">
              <a:defRPr cap="all" baseline="0">
                <a:solidFill>
                  <a:schemeClr val="accent2"/>
                </a:solidFill>
                <a:latin typeface="+mj-lt"/>
              </a:defRPr>
            </a:lvl1pPr>
          </a:lstStyle>
          <a:p>
            <a:pPr lvl="0"/>
            <a:r>
              <a:rPr lang="pt-PT" dirty="0"/>
              <a:t>Insertar texto destacado</a:t>
            </a:r>
          </a:p>
        </p:txBody>
      </p:sp>
      <p:sp>
        <p:nvSpPr>
          <p:cNvPr id="30" name="Marcador de Posição do Texto 10">
            <a:extLst>
              <a:ext uri="{FF2B5EF4-FFF2-40B4-BE49-F238E27FC236}">
                <a16:creationId xmlns:a16="http://schemas.microsoft.com/office/drawing/2014/main" id="{9F56B6C0-886F-24DE-D13F-85CE068804C1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8842831" y="5666168"/>
            <a:ext cx="2488665" cy="422173"/>
          </a:xfrm>
        </p:spPr>
        <p:txBody>
          <a:bodyPr>
            <a:noAutofit/>
          </a:bodyPr>
          <a:lstStyle>
            <a:lvl1pPr algn="r">
              <a:defRPr sz="1400"/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es-ES" dirty="0"/>
              <a:t>Haz </a:t>
            </a:r>
            <a:r>
              <a:rPr lang="es-ES" dirty="0" err="1"/>
              <a:t>click</a:t>
            </a:r>
            <a:r>
              <a:rPr lang="es-ES" dirty="0"/>
              <a:t> para editar los estilos del texto del modelo</a:t>
            </a:r>
            <a:endParaRPr lang="pt-PT" dirty="0"/>
          </a:p>
        </p:txBody>
      </p:sp>
      <p:sp>
        <p:nvSpPr>
          <p:cNvPr id="31" name="Retângulo 205">
            <a:extLst>
              <a:ext uri="{FF2B5EF4-FFF2-40B4-BE49-F238E27FC236}">
                <a16:creationId xmlns:a16="http://schemas.microsoft.com/office/drawing/2014/main" id="{8B007C19-11C0-B87D-CF81-7DF0E92858CB}"/>
              </a:ext>
            </a:extLst>
          </p:cNvPr>
          <p:cNvSpPr/>
          <p:nvPr userDrawn="1"/>
        </p:nvSpPr>
        <p:spPr>
          <a:xfrm rot="16200000" flipV="1">
            <a:off x="2922050" y="3436373"/>
            <a:ext cx="422172" cy="5054874"/>
          </a:xfrm>
          <a:custGeom>
            <a:avLst/>
            <a:gdLst>
              <a:gd name="connsiteX0" fmla="*/ 0 w 1635417"/>
              <a:gd name="connsiteY0" fmla="*/ 0 h 1179213"/>
              <a:gd name="connsiteX1" fmla="*/ 1635417 w 1635417"/>
              <a:gd name="connsiteY1" fmla="*/ 0 h 1179213"/>
              <a:gd name="connsiteX2" fmla="*/ 1635417 w 1635417"/>
              <a:gd name="connsiteY2" fmla="*/ 1179213 h 1179213"/>
              <a:gd name="connsiteX3" fmla="*/ 0 w 1635417"/>
              <a:gd name="connsiteY3" fmla="*/ 1179213 h 1179213"/>
              <a:gd name="connsiteX4" fmla="*/ 0 w 1635417"/>
              <a:gd name="connsiteY4" fmla="*/ 0 h 1179213"/>
              <a:gd name="connsiteX0" fmla="*/ 1635417 w 1726857"/>
              <a:gd name="connsiteY0" fmla="*/ 0 h 1179213"/>
              <a:gd name="connsiteX1" fmla="*/ 1635417 w 1726857"/>
              <a:gd name="connsiteY1" fmla="*/ 1179213 h 1179213"/>
              <a:gd name="connsiteX2" fmla="*/ 0 w 1726857"/>
              <a:gd name="connsiteY2" fmla="*/ 1179213 h 1179213"/>
              <a:gd name="connsiteX3" fmla="*/ 0 w 1726857"/>
              <a:gd name="connsiteY3" fmla="*/ 0 h 1179213"/>
              <a:gd name="connsiteX4" fmla="*/ 1726857 w 1726857"/>
              <a:gd name="connsiteY4" fmla="*/ 91440 h 1179213"/>
              <a:gd name="connsiteX0" fmla="*/ 1635417 w 1635417"/>
              <a:gd name="connsiteY0" fmla="*/ 0 h 1179213"/>
              <a:gd name="connsiteX1" fmla="*/ 1635417 w 1635417"/>
              <a:gd name="connsiteY1" fmla="*/ 1179213 h 1179213"/>
              <a:gd name="connsiteX2" fmla="*/ 0 w 1635417"/>
              <a:gd name="connsiteY2" fmla="*/ 1179213 h 1179213"/>
              <a:gd name="connsiteX3" fmla="*/ 0 w 1635417"/>
              <a:gd name="connsiteY3" fmla="*/ 0 h 1179213"/>
              <a:gd name="connsiteX0" fmla="*/ 1635417 w 1635417"/>
              <a:gd name="connsiteY0" fmla="*/ 1179213 h 1179213"/>
              <a:gd name="connsiteX1" fmla="*/ 0 w 1635417"/>
              <a:gd name="connsiteY1" fmla="*/ 1179213 h 1179213"/>
              <a:gd name="connsiteX2" fmla="*/ 0 w 1635417"/>
              <a:gd name="connsiteY2" fmla="*/ 0 h 11792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635417" h="1179213">
                <a:moveTo>
                  <a:pt x="1635417" y="1179213"/>
                </a:moveTo>
                <a:lnTo>
                  <a:pt x="0" y="1179213"/>
                </a:lnTo>
                <a:lnTo>
                  <a:pt x="0" y="0"/>
                </a:lnTo>
              </a:path>
            </a:pathLst>
          </a:custGeom>
          <a:noFill/>
          <a:ln w="6350" cap="sq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  <p:sp>
        <p:nvSpPr>
          <p:cNvPr id="32" name="Marcador de Posição do Texto 34">
            <a:extLst>
              <a:ext uri="{FF2B5EF4-FFF2-40B4-BE49-F238E27FC236}">
                <a16:creationId xmlns:a16="http://schemas.microsoft.com/office/drawing/2014/main" id="{9456D964-29A3-77BE-CB25-B4982E9DD716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740225" y="5243996"/>
            <a:ext cx="2989946" cy="336550"/>
          </a:xfrm>
        </p:spPr>
        <p:txBody>
          <a:bodyPr anchor="ctr"/>
          <a:lstStyle>
            <a:lvl1pPr algn="l">
              <a:defRPr cap="all" baseline="0">
                <a:solidFill>
                  <a:schemeClr val="accent2"/>
                </a:solidFill>
                <a:latin typeface="+mj-lt"/>
              </a:defRPr>
            </a:lvl1pPr>
          </a:lstStyle>
          <a:p>
            <a:pPr lvl="0"/>
            <a:r>
              <a:rPr lang="pt-PT" dirty="0"/>
              <a:t>Insertar texto destacado</a:t>
            </a:r>
          </a:p>
        </p:txBody>
      </p:sp>
      <p:sp>
        <p:nvSpPr>
          <p:cNvPr id="33" name="Marcador de Posição do Texto 10">
            <a:extLst>
              <a:ext uri="{FF2B5EF4-FFF2-40B4-BE49-F238E27FC236}">
                <a16:creationId xmlns:a16="http://schemas.microsoft.com/office/drawing/2014/main" id="{BFD84B86-E0A2-AF56-43B5-17EC840D94FC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740225" y="5666168"/>
            <a:ext cx="2488665" cy="422173"/>
          </a:xfrm>
        </p:spPr>
        <p:txBody>
          <a:bodyPr>
            <a:noAutofit/>
          </a:bodyPr>
          <a:lstStyle>
            <a:lvl1pPr algn="l">
              <a:defRPr sz="1400"/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es-ES" dirty="0"/>
              <a:t>Haz </a:t>
            </a:r>
            <a:r>
              <a:rPr lang="es-ES" dirty="0" err="1"/>
              <a:t>click</a:t>
            </a:r>
            <a:r>
              <a:rPr lang="es-ES" dirty="0"/>
              <a:t> para editar los estilos del texto del modelo</a:t>
            </a:r>
            <a:endParaRPr lang="pt-PT" dirty="0"/>
          </a:p>
        </p:txBody>
      </p:sp>
      <p:sp>
        <p:nvSpPr>
          <p:cNvPr id="34" name="Retângulo 205">
            <a:extLst>
              <a:ext uri="{FF2B5EF4-FFF2-40B4-BE49-F238E27FC236}">
                <a16:creationId xmlns:a16="http://schemas.microsoft.com/office/drawing/2014/main" id="{9F6A3138-08DA-39A2-BF07-593D5699AC7B}"/>
              </a:ext>
            </a:extLst>
          </p:cNvPr>
          <p:cNvSpPr/>
          <p:nvPr userDrawn="1"/>
        </p:nvSpPr>
        <p:spPr>
          <a:xfrm rot="16200000" flipV="1">
            <a:off x="1956849" y="3179733"/>
            <a:ext cx="422172" cy="3124472"/>
          </a:xfrm>
          <a:custGeom>
            <a:avLst/>
            <a:gdLst>
              <a:gd name="connsiteX0" fmla="*/ 0 w 1635417"/>
              <a:gd name="connsiteY0" fmla="*/ 0 h 1179213"/>
              <a:gd name="connsiteX1" fmla="*/ 1635417 w 1635417"/>
              <a:gd name="connsiteY1" fmla="*/ 0 h 1179213"/>
              <a:gd name="connsiteX2" fmla="*/ 1635417 w 1635417"/>
              <a:gd name="connsiteY2" fmla="*/ 1179213 h 1179213"/>
              <a:gd name="connsiteX3" fmla="*/ 0 w 1635417"/>
              <a:gd name="connsiteY3" fmla="*/ 1179213 h 1179213"/>
              <a:gd name="connsiteX4" fmla="*/ 0 w 1635417"/>
              <a:gd name="connsiteY4" fmla="*/ 0 h 1179213"/>
              <a:gd name="connsiteX0" fmla="*/ 1635417 w 1726857"/>
              <a:gd name="connsiteY0" fmla="*/ 0 h 1179213"/>
              <a:gd name="connsiteX1" fmla="*/ 1635417 w 1726857"/>
              <a:gd name="connsiteY1" fmla="*/ 1179213 h 1179213"/>
              <a:gd name="connsiteX2" fmla="*/ 0 w 1726857"/>
              <a:gd name="connsiteY2" fmla="*/ 1179213 h 1179213"/>
              <a:gd name="connsiteX3" fmla="*/ 0 w 1726857"/>
              <a:gd name="connsiteY3" fmla="*/ 0 h 1179213"/>
              <a:gd name="connsiteX4" fmla="*/ 1726857 w 1726857"/>
              <a:gd name="connsiteY4" fmla="*/ 91440 h 1179213"/>
              <a:gd name="connsiteX0" fmla="*/ 1635417 w 1635417"/>
              <a:gd name="connsiteY0" fmla="*/ 0 h 1179213"/>
              <a:gd name="connsiteX1" fmla="*/ 1635417 w 1635417"/>
              <a:gd name="connsiteY1" fmla="*/ 1179213 h 1179213"/>
              <a:gd name="connsiteX2" fmla="*/ 0 w 1635417"/>
              <a:gd name="connsiteY2" fmla="*/ 1179213 h 1179213"/>
              <a:gd name="connsiteX3" fmla="*/ 0 w 1635417"/>
              <a:gd name="connsiteY3" fmla="*/ 0 h 1179213"/>
              <a:gd name="connsiteX0" fmla="*/ 1635417 w 1635417"/>
              <a:gd name="connsiteY0" fmla="*/ 1179213 h 1179213"/>
              <a:gd name="connsiteX1" fmla="*/ 0 w 1635417"/>
              <a:gd name="connsiteY1" fmla="*/ 1179213 h 1179213"/>
              <a:gd name="connsiteX2" fmla="*/ 0 w 1635417"/>
              <a:gd name="connsiteY2" fmla="*/ 0 h 11792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635417" h="1179213">
                <a:moveTo>
                  <a:pt x="1635417" y="1179213"/>
                </a:moveTo>
                <a:lnTo>
                  <a:pt x="0" y="1179213"/>
                </a:lnTo>
                <a:lnTo>
                  <a:pt x="0" y="0"/>
                </a:lnTo>
              </a:path>
            </a:pathLst>
          </a:custGeom>
          <a:noFill/>
          <a:ln w="6350" cap="sq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  <p:sp>
        <p:nvSpPr>
          <p:cNvPr id="35" name="Marcador de Posição do Texto 34">
            <a:extLst>
              <a:ext uri="{FF2B5EF4-FFF2-40B4-BE49-F238E27FC236}">
                <a16:creationId xmlns:a16="http://schemas.microsoft.com/office/drawing/2014/main" id="{A5C1BC28-646C-7387-78A6-696FB81F86A7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740225" y="4022155"/>
            <a:ext cx="2989946" cy="335617"/>
          </a:xfrm>
        </p:spPr>
        <p:txBody>
          <a:bodyPr anchor="ctr"/>
          <a:lstStyle>
            <a:lvl1pPr algn="l">
              <a:defRPr cap="all" baseline="0">
                <a:solidFill>
                  <a:schemeClr val="accent2"/>
                </a:solidFill>
                <a:latin typeface="+mj-lt"/>
              </a:defRPr>
            </a:lvl1pPr>
          </a:lstStyle>
          <a:p>
            <a:pPr lvl="0"/>
            <a:r>
              <a:rPr lang="pt-PT" dirty="0"/>
              <a:t>Insertar texto destacado</a:t>
            </a:r>
          </a:p>
        </p:txBody>
      </p:sp>
      <p:sp>
        <p:nvSpPr>
          <p:cNvPr id="36" name="Marcador de Posição do Texto 10">
            <a:extLst>
              <a:ext uri="{FF2B5EF4-FFF2-40B4-BE49-F238E27FC236}">
                <a16:creationId xmlns:a16="http://schemas.microsoft.com/office/drawing/2014/main" id="{8A447984-1F95-A52A-56DA-A37A49677038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740225" y="4444327"/>
            <a:ext cx="2488665" cy="422173"/>
          </a:xfrm>
        </p:spPr>
        <p:txBody>
          <a:bodyPr>
            <a:noAutofit/>
          </a:bodyPr>
          <a:lstStyle>
            <a:lvl1pPr algn="l">
              <a:defRPr sz="1400"/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es-ES" dirty="0"/>
              <a:t>Haz </a:t>
            </a:r>
            <a:r>
              <a:rPr lang="es-ES" dirty="0" err="1"/>
              <a:t>click</a:t>
            </a:r>
            <a:r>
              <a:rPr lang="es-ES" dirty="0"/>
              <a:t> para editar los estilos del texto del modelo</a:t>
            </a:r>
            <a:endParaRPr lang="pt-PT" dirty="0"/>
          </a:p>
        </p:txBody>
      </p:sp>
      <p:sp>
        <p:nvSpPr>
          <p:cNvPr id="37" name="Retângulo 205">
            <a:extLst>
              <a:ext uri="{FF2B5EF4-FFF2-40B4-BE49-F238E27FC236}">
                <a16:creationId xmlns:a16="http://schemas.microsoft.com/office/drawing/2014/main" id="{554F6574-EE52-1213-E5A9-0C4491A3D6A5}"/>
              </a:ext>
            </a:extLst>
          </p:cNvPr>
          <p:cNvSpPr/>
          <p:nvPr userDrawn="1"/>
        </p:nvSpPr>
        <p:spPr>
          <a:xfrm rot="16200000" flipV="1">
            <a:off x="1706209" y="2121977"/>
            <a:ext cx="422172" cy="2623191"/>
          </a:xfrm>
          <a:custGeom>
            <a:avLst/>
            <a:gdLst>
              <a:gd name="connsiteX0" fmla="*/ 0 w 1635417"/>
              <a:gd name="connsiteY0" fmla="*/ 0 h 1179213"/>
              <a:gd name="connsiteX1" fmla="*/ 1635417 w 1635417"/>
              <a:gd name="connsiteY1" fmla="*/ 0 h 1179213"/>
              <a:gd name="connsiteX2" fmla="*/ 1635417 w 1635417"/>
              <a:gd name="connsiteY2" fmla="*/ 1179213 h 1179213"/>
              <a:gd name="connsiteX3" fmla="*/ 0 w 1635417"/>
              <a:gd name="connsiteY3" fmla="*/ 1179213 h 1179213"/>
              <a:gd name="connsiteX4" fmla="*/ 0 w 1635417"/>
              <a:gd name="connsiteY4" fmla="*/ 0 h 1179213"/>
              <a:gd name="connsiteX0" fmla="*/ 1635417 w 1726857"/>
              <a:gd name="connsiteY0" fmla="*/ 0 h 1179213"/>
              <a:gd name="connsiteX1" fmla="*/ 1635417 w 1726857"/>
              <a:gd name="connsiteY1" fmla="*/ 1179213 h 1179213"/>
              <a:gd name="connsiteX2" fmla="*/ 0 w 1726857"/>
              <a:gd name="connsiteY2" fmla="*/ 1179213 h 1179213"/>
              <a:gd name="connsiteX3" fmla="*/ 0 w 1726857"/>
              <a:gd name="connsiteY3" fmla="*/ 0 h 1179213"/>
              <a:gd name="connsiteX4" fmla="*/ 1726857 w 1726857"/>
              <a:gd name="connsiteY4" fmla="*/ 91440 h 1179213"/>
              <a:gd name="connsiteX0" fmla="*/ 1635417 w 1635417"/>
              <a:gd name="connsiteY0" fmla="*/ 0 h 1179213"/>
              <a:gd name="connsiteX1" fmla="*/ 1635417 w 1635417"/>
              <a:gd name="connsiteY1" fmla="*/ 1179213 h 1179213"/>
              <a:gd name="connsiteX2" fmla="*/ 0 w 1635417"/>
              <a:gd name="connsiteY2" fmla="*/ 1179213 h 1179213"/>
              <a:gd name="connsiteX3" fmla="*/ 0 w 1635417"/>
              <a:gd name="connsiteY3" fmla="*/ 0 h 1179213"/>
              <a:gd name="connsiteX0" fmla="*/ 1635417 w 1635417"/>
              <a:gd name="connsiteY0" fmla="*/ 1179213 h 1179213"/>
              <a:gd name="connsiteX1" fmla="*/ 0 w 1635417"/>
              <a:gd name="connsiteY1" fmla="*/ 1179213 h 1179213"/>
              <a:gd name="connsiteX2" fmla="*/ 0 w 1635417"/>
              <a:gd name="connsiteY2" fmla="*/ 0 h 11792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635417" h="1179213">
                <a:moveTo>
                  <a:pt x="1635417" y="1179213"/>
                </a:moveTo>
                <a:lnTo>
                  <a:pt x="0" y="1179213"/>
                </a:lnTo>
                <a:lnTo>
                  <a:pt x="0" y="0"/>
                </a:lnTo>
              </a:path>
            </a:pathLst>
          </a:custGeom>
          <a:noFill/>
          <a:ln w="6350" cap="sq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  <p:sp>
        <p:nvSpPr>
          <p:cNvPr id="38" name="Marcador de Posição do Texto 34">
            <a:extLst>
              <a:ext uri="{FF2B5EF4-FFF2-40B4-BE49-F238E27FC236}">
                <a16:creationId xmlns:a16="http://schemas.microsoft.com/office/drawing/2014/main" id="{A977379D-E30B-0DD7-815E-70EFF764FE58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740225" y="2713759"/>
            <a:ext cx="2899268" cy="335617"/>
          </a:xfrm>
        </p:spPr>
        <p:txBody>
          <a:bodyPr anchor="ctr"/>
          <a:lstStyle>
            <a:lvl1pPr algn="l">
              <a:defRPr cap="all" baseline="0">
                <a:solidFill>
                  <a:schemeClr val="accent2"/>
                </a:solidFill>
                <a:latin typeface="+mj-lt"/>
              </a:defRPr>
            </a:lvl1pPr>
          </a:lstStyle>
          <a:p>
            <a:pPr lvl="0"/>
            <a:r>
              <a:rPr lang="pt-PT" dirty="0"/>
              <a:t>Insertar texto destacado</a:t>
            </a:r>
          </a:p>
        </p:txBody>
      </p:sp>
      <p:sp>
        <p:nvSpPr>
          <p:cNvPr id="39" name="Marcador de Posição do Texto 10">
            <a:extLst>
              <a:ext uri="{FF2B5EF4-FFF2-40B4-BE49-F238E27FC236}">
                <a16:creationId xmlns:a16="http://schemas.microsoft.com/office/drawing/2014/main" id="{34E659A2-D9F6-1B0E-483B-8D15A3CDA740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740225" y="3135931"/>
            <a:ext cx="2488665" cy="422173"/>
          </a:xfrm>
        </p:spPr>
        <p:txBody>
          <a:bodyPr>
            <a:noAutofit/>
          </a:bodyPr>
          <a:lstStyle>
            <a:lvl1pPr algn="l">
              <a:defRPr sz="1400"/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es-ES" dirty="0"/>
              <a:t>Haz </a:t>
            </a:r>
            <a:r>
              <a:rPr lang="es-ES" dirty="0" err="1"/>
              <a:t>click</a:t>
            </a:r>
            <a:r>
              <a:rPr lang="es-ES" dirty="0"/>
              <a:t> para editar los estilos del texto del modelo</a:t>
            </a:r>
            <a:endParaRPr lang="pt-PT" dirty="0"/>
          </a:p>
        </p:txBody>
      </p:sp>
      <p:sp>
        <p:nvSpPr>
          <p:cNvPr id="40" name="Retângulo 205">
            <a:extLst>
              <a:ext uri="{FF2B5EF4-FFF2-40B4-BE49-F238E27FC236}">
                <a16:creationId xmlns:a16="http://schemas.microsoft.com/office/drawing/2014/main" id="{1ED25CAF-4C56-8E14-26B0-E3D94FFAC948}"/>
              </a:ext>
            </a:extLst>
          </p:cNvPr>
          <p:cNvSpPr/>
          <p:nvPr userDrawn="1"/>
        </p:nvSpPr>
        <p:spPr>
          <a:xfrm rot="16200000" flipV="1">
            <a:off x="1956849" y="479895"/>
            <a:ext cx="422172" cy="3124471"/>
          </a:xfrm>
          <a:custGeom>
            <a:avLst/>
            <a:gdLst>
              <a:gd name="connsiteX0" fmla="*/ 0 w 1635417"/>
              <a:gd name="connsiteY0" fmla="*/ 0 h 1179213"/>
              <a:gd name="connsiteX1" fmla="*/ 1635417 w 1635417"/>
              <a:gd name="connsiteY1" fmla="*/ 0 h 1179213"/>
              <a:gd name="connsiteX2" fmla="*/ 1635417 w 1635417"/>
              <a:gd name="connsiteY2" fmla="*/ 1179213 h 1179213"/>
              <a:gd name="connsiteX3" fmla="*/ 0 w 1635417"/>
              <a:gd name="connsiteY3" fmla="*/ 1179213 h 1179213"/>
              <a:gd name="connsiteX4" fmla="*/ 0 w 1635417"/>
              <a:gd name="connsiteY4" fmla="*/ 0 h 1179213"/>
              <a:gd name="connsiteX0" fmla="*/ 1635417 w 1726857"/>
              <a:gd name="connsiteY0" fmla="*/ 0 h 1179213"/>
              <a:gd name="connsiteX1" fmla="*/ 1635417 w 1726857"/>
              <a:gd name="connsiteY1" fmla="*/ 1179213 h 1179213"/>
              <a:gd name="connsiteX2" fmla="*/ 0 w 1726857"/>
              <a:gd name="connsiteY2" fmla="*/ 1179213 h 1179213"/>
              <a:gd name="connsiteX3" fmla="*/ 0 w 1726857"/>
              <a:gd name="connsiteY3" fmla="*/ 0 h 1179213"/>
              <a:gd name="connsiteX4" fmla="*/ 1726857 w 1726857"/>
              <a:gd name="connsiteY4" fmla="*/ 91440 h 1179213"/>
              <a:gd name="connsiteX0" fmla="*/ 1635417 w 1635417"/>
              <a:gd name="connsiteY0" fmla="*/ 0 h 1179213"/>
              <a:gd name="connsiteX1" fmla="*/ 1635417 w 1635417"/>
              <a:gd name="connsiteY1" fmla="*/ 1179213 h 1179213"/>
              <a:gd name="connsiteX2" fmla="*/ 0 w 1635417"/>
              <a:gd name="connsiteY2" fmla="*/ 1179213 h 1179213"/>
              <a:gd name="connsiteX3" fmla="*/ 0 w 1635417"/>
              <a:gd name="connsiteY3" fmla="*/ 0 h 1179213"/>
              <a:gd name="connsiteX0" fmla="*/ 1635417 w 1635417"/>
              <a:gd name="connsiteY0" fmla="*/ 1179213 h 1179213"/>
              <a:gd name="connsiteX1" fmla="*/ 0 w 1635417"/>
              <a:gd name="connsiteY1" fmla="*/ 1179213 h 1179213"/>
              <a:gd name="connsiteX2" fmla="*/ 0 w 1635417"/>
              <a:gd name="connsiteY2" fmla="*/ 0 h 11792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635417" h="1179213">
                <a:moveTo>
                  <a:pt x="1635417" y="1179213"/>
                </a:moveTo>
                <a:lnTo>
                  <a:pt x="0" y="1179213"/>
                </a:lnTo>
                <a:lnTo>
                  <a:pt x="0" y="0"/>
                </a:lnTo>
              </a:path>
            </a:pathLst>
          </a:custGeom>
          <a:noFill/>
          <a:ln w="6350" cap="sq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  <p:sp>
        <p:nvSpPr>
          <p:cNvPr id="41" name="Marcador de Posição do Texto 34">
            <a:extLst>
              <a:ext uri="{FF2B5EF4-FFF2-40B4-BE49-F238E27FC236}">
                <a16:creationId xmlns:a16="http://schemas.microsoft.com/office/drawing/2014/main" id="{AF8074B8-C2D7-D73B-1C9E-490FA77656C1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740225" y="1322317"/>
            <a:ext cx="2899268" cy="335617"/>
          </a:xfrm>
        </p:spPr>
        <p:txBody>
          <a:bodyPr anchor="ctr"/>
          <a:lstStyle>
            <a:lvl1pPr algn="l">
              <a:defRPr cap="all" baseline="0">
                <a:solidFill>
                  <a:schemeClr val="accent2"/>
                </a:solidFill>
                <a:latin typeface="+mj-lt"/>
              </a:defRPr>
            </a:lvl1pPr>
          </a:lstStyle>
          <a:p>
            <a:pPr lvl="0"/>
            <a:r>
              <a:rPr lang="pt-PT" dirty="0"/>
              <a:t>Insertar texto destacado</a:t>
            </a:r>
          </a:p>
        </p:txBody>
      </p:sp>
      <p:sp>
        <p:nvSpPr>
          <p:cNvPr id="42" name="Marcador de Posição do Texto 10">
            <a:extLst>
              <a:ext uri="{FF2B5EF4-FFF2-40B4-BE49-F238E27FC236}">
                <a16:creationId xmlns:a16="http://schemas.microsoft.com/office/drawing/2014/main" id="{D01B78B7-0301-F0DB-96BD-87B8051274FA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740225" y="1744489"/>
            <a:ext cx="2488665" cy="422173"/>
          </a:xfrm>
        </p:spPr>
        <p:txBody>
          <a:bodyPr>
            <a:noAutofit/>
          </a:bodyPr>
          <a:lstStyle>
            <a:lvl1pPr algn="l">
              <a:defRPr sz="1400"/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es-ES" dirty="0"/>
              <a:t>Haz </a:t>
            </a:r>
            <a:r>
              <a:rPr lang="es-ES" dirty="0" err="1"/>
              <a:t>click</a:t>
            </a:r>
            <a:r>
              <a:rPr lang="es-ES" dirty="0"/>
              <a:t> para editar los estilos del texto del modelo</a:t>
            </a:r>
            <a:endParaRPr lang="pt-PT" dirty="0"/>
          </a:p>
        </p:txBody>
      </p:sp>
      <p:sp>
        <p:nvSpPr>
          <p:cNvPr id="45" name="Marcador de Posição do Rodapé 4">
            <a:extLst>
              <a:ext uri="{FF2B5EF4-FFF2-40B4-BE49-F238E27FC236}">
                <a16:creationId xmlns:a16="http://schemas.microsoft.com/office/drawing/2014/main" id="{060DC15F-A294-4AF8-8D27-6ABEA18033B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12762" y="6356350"/>
            <a:ext cx="534669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accent2"/>
                </a:solidFill>
              </a:defRPr>
            </a:lvl1pPr>
          </a:lstStyle>
          <a:p>
            <a:r>
              <a:rPr lang="pt-PT"/>
              <a:t>Título de la presentación</a:t>
            </a:r>
            <a:endParaRPr lang="pt-PT" dirty="0"/>
          </a:p>
        </p:txBody>
      </p:sp>
      <p:sp>
        <p:nvSpPr>
          <p:cNvPr id="46" name="Marcador de Posição do Número do Diapositivo 5">
            <a:extLst>
              <a:ext uri="{FF2B5EF4-FFF2-40B4-BE49-F238E27FC236}">
                <a16:creationId xmlns:a16="http://schemas.microsoft.com/office/drawing/2014/main" id="{86C09D33-0F07-401E-ACD8-42E17942FB1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936039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accent2"/>
                </a:solidFill>
              </a:defRPr>
            </a:lvl1pPr>
          </a:lstStyle>
          <a:p>
            <a:fld id="{24A347C2-D68E-473A-8C76-1D063E4EB6E0}" type="slidenum">
              <a:rPr lang="es-ES" smtClean="0"/>
              <a:pPr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15000405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9" dur="10" fill="hold"/>
                                        <p:tgtEl>
                                          <p:spTgt spid="9"/>
                                        </p:tgtEl>
                                      </p:cBhvr>
                                      <p:by x="125000" y="125000"/>
                                    </p:animScale>
                                  </p:childTnLst>
                                </p:cTn>
                              </p:par>
                              <p:par>
                                <p:cTn id="10" presetID="6" presetClass="emph" presetSubtype="0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11" dur="750" fill="hold"/>
                                        <p:tgtEl>
                                          <p:spTgt spid="9"/>
                                        </p:tgtEl>
                                      </p:cBhvr>
                                      <p:by x="80000" y="80000"/>
                                    </p:animScale>
                                  </p:childTnLst>
                                </p:cTn>
                              </p:par>
                              <p:par>
                                <p:cTn id="12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25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42" presetClass="path" presetSubtype="0" decel="100000" fill="hold" grpId="1" nodeType="withEffect">
                                  <p:stCondLst>
                                    <p:cond delay="500"/>
                                  </p:stCondLst>
                                  <p:childTnLst>
                                    <p:animMotion origin="layout" path="M 0.01666 -0.00046 L 3.75E-6 1.85185E-6 " pathEditMode="relative" rAng="0" ptsTypes="AA">
                                      <p:cBhvr>
                                        <p:cTn id="19" dur="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833" y="23"/>
                                    </p:animMotion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25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42" presetClass="path" presetSubtype="0" decel="100000" fill="hold" grpId="1" nodeType="withEffect">
                                  <p:stCondLst>
                                    <p:cond delay="500"/>
                                  </p:stCondLst>
                                  <p:childTnLst>
                                    <p:animMotion origin="layout" path="M 0.01666 -0.00046 L 3.75E-6 1.85185E-6 " pathEditMode="relative" rAng="0" ptsTypes="AA">
                                      <p:cBhvr>
                                        <p:cTn id="24" dur="5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833" y="23"/>
                                    </p:animMotion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25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42" presetClass="path" presetSubtype="0" decel="100000" fill="hold" grpId="1" nodeType="withEffect">
                                  <p:stCondLst>
                                    <p:cond delay="500"/>
                                  </p:stCondLst>
                                  <p:childTnLst>
                                    <p:animMotion origin="layout" path="M 0.01666 -0.00046 L 3.75E-6 1.85185E-6 " pathEditMode="relative" rAng="0" ptsTypes="AA">
                                      <p:cBhvr>
                                        <p:cTn id="29" dur="5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833" y="23"/>
                                    </p:animMotion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25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42" presetClass="path" presetSubtype="0" decel="100000" fill="hold" grpId="1" nodeType="withEffect">
                                  <p:stCondLst>
                                    <p:cond delay="500"/>
                                  </p:stCondLst>
                                  <p:childTnLst>
                                    <p:animMotion origin="layout" path="M 0.01666 -0.00046 L 3.75E-6 1.85185E-6 " pathEditMode="relative" rAng="0" ptsTypes="AA">
                                      <p:cBhvr>
                                        <p:cTn id="34" dur="5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833" y="23"/>
                                    </p:animMotion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25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42" presetClass="path" presetSubtype="0" decel="100000" fill="hold" grpId="1" nodeType="withEffect">
                                  <p:stCondLst>
                                    <p:cond delay="500"/>
                                  </p:stCondLst>
                                  <p:childTnLst>
                                    <p:animMotion origin="layout" path="M 0.01667 -0.00046 L -3.33333E-6 3.7037E-7 " pathEditMode="relative" rAng="0" ptsTypes="AA">
                                      <p:cBhvr>
                                        <p:cTn id="39" dur="5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833" y="23"/>
                                    </p:animMotion>
                                  </p:childTnLst>
                                </p:cTn>
                              </p:par>
                              <p:par>
                                <p:cTn id="40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25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" presetID="42" presetClass="path" presetSubtype="0" decel="100000" fill="hold" grpId="1" nodeType="withEffect">
                                  <p:stCondLst>
                                    <p:cond delay="500"/>
                                  </p:stCondLst>
                                  <p:childTnLst>
                                    <p:animMotion origin="layout" path="M 0.01666 -0.00046 L 3.75E-6 1.85185E-6 " pathEditMode="relative" rAng="0" ptsTypes="AA">
                                      <p:cBhvr>
                                        <p:cTn id="44" dur="5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833" y="23"/>
                                    </p:animMotion>
                                  </p:childTnLst>
                                </p:cTn>
                              </p:par>
                              <p:par>
                                <p:cTn id="45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25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" presetID="42" presetClass="path" presetSubtype="0" decel="100000" fill="hold" grpId="1" nodeType="withEffect">
                                  <p:stCondLst>
                                    <p:cond delay="500"/>
                                  </p:stCondLst>
                                  <p:childTnLst>
                                    <p:animMotion origin="layout" path="M 0.01666 -0.00046 L 3.75E-6 1.85185E-6 " pathEditMode="relative" rAng="0" ptsTypes="AA">
                                      <p:cBhvr>
                                        <p:cTn id="49" dur="5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833" y="23"/>
                                    </p:animMotion>
                                  </p:childTnLst>
                                </p:cTn>
                              </p:par>
                              <p:par>
                                <p:cTn id="50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25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" presetID="42" presetClass="path" presetSubtype="0" decel="100000" fill="hold" grpId="1" nodeType="withEffect">
                                  <p:stCondLst>
                                    <p:cond delay="500"/>
                                  </p:stCondLst>
                                  <p:childTnLst>
                                    <p:animMotion origin="layout" path="M 0.01666 -0.00046 L 2.70833E-6 1.11111E-6 " pathEditMode="relative" rAng="0" ptsTypes="AA">
                                      <p:cBhvr>
                                        <p:cTn id="54" dur="5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833" y="23"/>
                                    </p:animMotion>
                                  </p:childTnLst>
                                </p:cTn>
                              </p:par>
                              <p:par>
                                <p:cTn id="55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25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8" presetID="42" presetClass="path" presetSubtype="0" decel="100000" fill="hold" grpId="1" nodeType="withEffect">
                                  <p:stCondLst>
                                    <p:cond delay="500"/>
                                  </p:stCondLst>
                                  <p:childTnLst>
                                    <p:animMotion origin="layout" path="M 0.01666 -0.00046 L 3.75E-6 1.85185E-6 " pathEditMode="relative" rAng="0" ptsTypes="AA">
                                      <p:cBhvr>
                                        <p:cTn id="59" dur="5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833" y="23"/>
                                    </p:animMotion>
                                  </p:childTnLst>
                                </p:cTn>
                              </p:par>
                              <p:par>
                                <p:cTn id="60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2" dur="25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3" presetID="42" presetClass="path" presetSubtype="0" decel="100000" fill="hold" grpId="1" nodeType="withEffect">
                                  <p:stCondLst>
                                    <p:cond delay="500"/>
                                  </p:stCondLst>
                                  <p:childTnLst>
                                    <p:animMotion origin="layout" path="M 0.01666 -0.00046 L 3.75E-6 1.85185E-6 " pathEditMode="relative" rAng="0" ptsTypes="AA">
                                      <p:cBhvr>
                                        <p:cTn id="64" dur="5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833" y="23"/>
                                    </p:animMotion>
                                  </p:childTnLst>
                                </p:cTn>
                              </p:par>
                              <p:par>
                                <p:cTn id="65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7" dur="25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8" presetID="42" presetClass="path" presetSubtype="0" decel="100000" fill="hold" grpId="1" nodeType="withEffect">
                                  <p:stCondLst>
                                    <p:cond delay="500"/>
                                  </p:stCondLst>
                                  <p:childTnLst>
                                    <p:animMotion origin="layout" path="M 0.01666 -0.00046 L 2.70833E-6 3.7037E-7 " pathEditMode="relative" rAng="0" ptsTypes="AA">
                                      <p:cBhvr>
                                        <p:cTn id="69" dur="5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833" y="23"/>
                                    </p:animMotion>
                                  </p:childTnLst>
                                </p:cTn>
                              </p:par>
                              <p:par>
                                <p:cTn id="70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2" dur="25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3" presetID="42" presetClass="path" presetSubtype="0" decel="100000" fill="hold" grpId="1" nodeType="withEffect">
                                  <p:stCondLst>
                                    <p:cond delay="500"/>
                                  </p:stCondLst>
                                  <p:childTnLst>
                                    <p:animMotion origin="layout" path="M 0.01666 -0.00046 L 3.75E-6 1.85185E-6 " pathEditMode="relative" rAng="0" ptsTypes="AA">
                                      <p:cBhvr>
                                        <p:cTn id="74" dur="5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833" y="23"/>
                                    </p:animMotion>
                                  </p:childTnLst>
                                </p:cTn>
                              </p:par>
                              <p:par>
                                <p:cTn id="75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7" dur="25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8" presetID="42" presetClass="path" presetSubtype="0" decel="100000" fill="hold" grpId="1" nodeType="withEffect">
                                  <p:stCondLst>
                                    <p:cond delay="750"/>
                                  </p:stCondLst>
                                  <p:childTnLst>
                                    <p:animMotion origin="layout" path="M -0.01719 -0.00023 L -1.25E-6 1.85185E-6 " pathEditMode="relative" rAng="0" ptsTypes="AA">
                                      <p:cBhvr>
                                        <p:cTn id="79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859" y="0"/>
                                    </p:animMotion>
                                  </p:childTnLst>
                                </p:cTn>
                              </p:par>
                              <p:par>
                                <p:cTn id="80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2" dur="25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3" presetID="42" presetClass="path" presetSubtype="0" decel="100000" fill="hold" grpId="1" nodeType="withEffect">
                                  <p:stCondLst>
                                    <p:cond delay="750"/>
                                  </p:stCondLst>
                                  <p:childTnLst>
                                    <p:animMotion origin="layout" path="M -0.01719 -0.00023 L -1.25E-6 1.85185E-6 " pathEditMode="relative" rAng="0" ptsTypes="AA">
                                      <p:cBhvr>
                                        <p:cTn id="84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859" y="0"/>
                                    </p:animMotion>
                                  </p:childTnLst>
                                </p:cTn>
                              </p:par>
                              <p:par>
                                <p:cTn id="85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7" dur="25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8" presetID="42" presetClass="path" presetSubtype="0" decel="100000" fill="hold" grpId="1" nodeType="withEffect">
                                  <p:stCondLst>
                                    <p:cond delay="750"/>
                                  </p:stCondLst>
                                  <p:childTnLst>
                                    <p:animMotion origin="layout" path="M -0.01719 -0.00023 L -1.25E-6 1.85185E-6 " pathEditMode="relative" rAng="0" ptsTypes="AA">
                                      <p:cBhvr>
                                        <p:cTn id="89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859" y="0"/>
                                    </p:animMotion>
                                  </p:childTnLst>
                                </p:cTn>
                              </p:par>
                              <p:par>
                                <p:cTn id="90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9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2" dur="25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3" presetID="42" presetClass="path" presetSubtype="0" decel="100000" fill="hold" grpId="1" nodeType="withEffect">
                                  <p:stCondLst>
                                    <p:cond delay="750"/>
                                  </p:stCondLst>
                                  <p:childTnLst>
                                    <p:animMotion origin="layout" path="M -0.01719 -0.00023 L -1.25E-6 1.85185E-6 " pathEditMode="relative" rAng="0" ptsTypes="AA">
                                      <p:cBhvr>
                                        <p:cTn id="94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859" y="0"/>
                                    </p:animMotion>
                                  </p:childTnLst>
                                </p:cTn>
                              </p:par>
                              <p:par>
                                <p:cTn id="95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7" dur="25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8" presetID="42" presetClass="path" presetSubtype="0" decel="100000" fill="hold" grpId="1" nodeType="withEffect">
                                  <p:stCondLst>
                                    <p:cond delay="750"/>
                                  </p:stCondLst>
                                  <p:childTnLst>
                                    <p:animMotion origin="layout" path="M -0.01719 -0.00023 L -1.25E-6 1.85185E-6 " pathEditMode="relative" rAng="0" ptsTypes="AA">
                                      <p:cBhvr>
                                        <p:cTn id="99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859" y="0"/>
                                    </p:animMotion>
                                  </p:childTnLst>
                                </p:cTn>
                              </p:par>
                              <p:par>
                                <p:cTn id="100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10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2" dur="25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3" presetID="42" presetClass="path" presetSubtype="0" decel="100000" fill="hold" grpId="1" nodeType="withEffect">
                                  <p:stCondLst>
                                    <p:cond delay="750"/>
                                  </p:stCondLst>
                                  <p:childTnLst>
                                    <p:animMotion origin="layout" path="M -0.01719 -0.00023 L -1.25E-6 1.85185E-6 " pathEditMode="relative" rAng="0" ptsTypes="AA">
                                      <p:cBhvr>
                                        <p:cTn id="104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859" y="0"/>
                                    </p:animMotion>
                                  </p:childTnLst>
                                </p:cTn>
                              </p:par>
                              <p:par>
                                <p:cTn id="105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10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7" dur="25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8" presetID="42" presetClass="path" presetSubtype="0" decel="100000" fill="hold" grpId="1" nodeType="withEffect">
                                  <p:stCondLst>
                                    <p:cond delay="750"/>
                                  </p:stCondLst>
                                  <p:childTnLst>
                                    <p:animMotion origin="layout" path="M -0.01719 -0.00023 L -1.25E-6 1.85185E-6 " pathEditMode="relative" rAng="0" ptsTypes="AA">
                                      <p:cBhvr>
                                        <p:cTn id="109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859" y="0"/>
                                    </p:animMotion>
                                  </p:childTnLst>
                                </p:cTn>
                              </p:par>
                              <p:par>
                                <p:cTn id="110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1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2" dur="25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3" presetID="42" presetClass="path" presetSubtype="0" decel="100000" fill="hold" grpId="1" nodeType="withEffect">
                                  <p:stCondLst>
                                    <p:cond delay="750"/>
                                  </p:stCondLst>
                                  <p:childTnLst>
                                    <p:animMotion origin="layout" path="M -0.01719 -0.00023 L -1.25E-6 1.85185E-6 " pathEditMode="relative" rAng="0" ptsTypes="AA">
                                      <p:cBhvr>
                                        <p:cTn id="114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859" y="0"/>
                                    </p:animMotion>
                                  </p:childTnLst>
                                </p:cTn>
                              </p:par>
                              <p:par>
                                <p:cTn id="115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1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7" dur="25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8" presetID="42" presetClass="path" presetSubtype="0" decel="100000" fill="hold" grpId="1" nodeType="withEffect">
                                  <p:stCondLst>
                                    <p:cond delay="750"/>
                                  </p:stCondLst>
                                  <p:childTnLst>
                                    <p:animMotion origin="layout" path="M -0.01719 -0.00023 L -1.25E-6 1.85185E-6 " pathEditMode="relative" rAng="0" ptsTypes="AA">
                                      <p:cBhvr>
                                        <p:cTn id="119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859" y="0"/>
                                    </p:animMotion>
                                  </p:childTnLst>
                                </p:cTn>
                              </p:par>
                              <p:par>
                                <p:cTn id="120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1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2" dur="25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3" presetID="42" presetClass="path" presetSubtype="0" decel="100000" fill="hold" grpId="1" nodeType="withEffect">
                                  <p:stCondLst>
                                    <p:cond delay="750"/>
                                  </p:stCondLst>
                                  <p:childTnLst>
                                    <p:animMotion origin="layout" path="M -0.01719 -0.00023 L -1.25E-6 1.85185E-6 " pathEditMode="relative" rAng="0" ptsTypes="AA">
                                      <p:cBhvr>
                                        <p:cTn id="124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859" y="0"/>
                                    </p:animMotion>
                                  </p:childTnLst>
                                </p:cTn>
                              </p:par>
                              <p:par>
                                <p:cTn id="125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1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7" dur="25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8" presetID="42" presetClass="path" presetSubtype="0" decel="100000" fill="hold" grpId="1" nodeType="withEffect">
                                  <p:stCondLst>
                                    <p:cond delay="750"/>
                                  </p:stCondLst>
                                  <p:childTnLst>
                                    <p:animMotion origin="layout" path="M -0.01719 -0.00023 L -1.25E-6 1.85185E-6 " pathEditMode="relative" rAng="0" ptsTypes="AA">
                                      <p:cBhvr>
                                        <p:cTn id="129" dur="5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859" y="0"/>
                                    </p:animMotion>
                                  </p:childTnLst>
                                </p:cTn>
                              </p:par>
                              <p:par>
                                <p:cTn id="130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1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2" dur="25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3" presetID="42" presetClass="path" presetSubtype="0" decel="100000" fill="hold" grpId="1" nodeType="withEffect">
                                  <p:stCondLst>
                                    <p:cond delay="750"/>
                                  </p:stCondLst>
                                  <p:childTnLst>
                                    <p:animMotion origin="layout" path="M -0.01719 -0.00023 L -1.25E-6 1.85185E-6 " pathEditMode="relative" rAng="0" ptsTypes="AA">
                                      <p:cBhvr>
                                        <p:cTn id="134" dur="5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859" y="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/>
      <p:bldP spid="16" grpId="0" animBg="1"/>
      <p:bldP spid="16" grpId="1" animBg="1"/>
      <p:bldP spid="17" grpId="0">
        <p:tmplLst>
          <p:tmpl>
            <p:tnLst>
              <p:par>
                <p:cTn presetID="10" presetClass="entr" presetSubtype="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250"/>
                        <p:tgtEl>
                          <p:spTgt spid="1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7" grpId="1">
        <p:tmplLst>
          <p:tmpl>
            <p:tnLst>
              <p:par>
                <p:cTn presetID="42" presetClass="path" presetSubtype="0" decel="100000" fill="hold" nodeType="withEffect">
                  <p:stCondLst>
                    <p:cond delay="750"/>
                  </p:stCondLst>
                  <p:childTnLst>
                    <p:animMotion origin="layout" path="M -0.01719 -0.00023 L -1.25E-6 1.85185E-6 " pathEditMode="relative" rAng="0" ptsTypes="AA">
                      <p:cBhvr>
                        <p:cTn dur="500" fill="hold"/>
                        <p:tgtEl>
                          <p:spTgt spid="17"/>
                        </p:tgtEl>
                        <p:attrNameLst>
                          <p:attrName>ppt_x</p:attrName>
                          <p:attrName>ppt_y</p:attrName>
                        </p:attrNameLst>
                      </p:cBhvr>
                      <p:rCtr x="859" y="0"/>
                    </p:animMotion>
                  </p:childTnLst>
                </p:cTn>
              </p:par>
            </p:tnLst>
          </p:tmpl>
        </p:tmplLst>
      </p:bldP>
      <p:bldP spid="21" grpId="0">
        <p:tmplLst>
          <p:tmpl>
            <p:tnLst>
              <p:par>
                <p:cTn presetID="10" presetClass="entr" presetSubtype="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250"/>
                        <p:tgtEl>
                          <p:spTgt spid="2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1" grpId="1">
        <p:tmplLst>
          <p:tmpl>
            <p:tnLst>
              <p:par>
                <p:cTn presetID="42" presetClass="path" presetSubtype="0" decel="100000" fill="hold" nodeType="withEffect">
                  <p:stCondLst>
                    <p:cond delay="750"/>
                  </p:stCondLst>
                  <p:childTnLst>
                    <p:animMotion origin="layout" path="M -0.01719 -0.00023 L -1.25E-6 1.85185E-6 " pathEditMode="relative" rAng="0" ptsTypes="AA">
                      <p:cBhvr>
                        <p:cTn dur="500" fill="hold"/>
                        <p:tgtEl>
                          <p:spTgt spid="21"/>
                        </p:tgtEl>
                        <p:attrNameLst>
                          <p:attrName>ppt_x</p:attrName>
                          <p:attrName>ppt_y</p:attrName>
                        </p:attrNameLst>
                      </p:cBhvr>
                      <p:rCtr x="859" y="0"/>
                    </p:animMotion>
                  </p:childTnLst>
                </p:cTn>
              </p:par>
            </p:tnLst>
          </p:tmpl>
        </p:tmplLst>
      </p:bldP>
      <p:bldP spid="22" grpId="0" animBg="1"/>
      <p:bldP spid="22" grpId="1" animBg="1"/>
      <p:bldP spid="23" grpId="0">
        <p:tmplLst>
          <p:tmpl>
            <p:tnLst>
              <p:par>
                <p:cTn presetID="10" presetClass="entr" presetSubtype="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250"/>
                        <p:tgtEl>
                          <p:spTgt spid="2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3" grpId="1">
        <p:tmplLst>
          <p:tmpl>
            <p:tnLst>
              <p:par>
                <p:cTn presetID="42" presetClass="path" presetSubtype="0" decel="100000" fill="hold" nodeType="withEffect">
                  <p:stCondLst>
                    <p:cond delay="750"/>
                  </p:stCondLst>
                  <p:childTnLst>
                    <p:animMotion origin="layout" path="M -0.01719 -0.00023 L -1.25E-6 1.85185E-6 " pathEditMode="relative" rAng="0" ptsTypes="AA">
                      <p:cBhvr>
                        <p:cTn dur="500" fill="hold"/>
                        <p:tgtEl>
                          <p:spTgt spid="23"/>
                        </p:tgtEl>
                        <p:attrNameLst>
                          <p:attrName>ppt_x</p:attrName>
                          <p:attrName>ppt_y</p:attrName>
                        </p:attrNameLst>
                      </p:cBhvr>
                      <p:rCtr x="859" y="0"/>
                    </p:animMotion>
                  </p:childTnLst>
                </p:cTn>
              </p:par>
            </p:tnLst>
          </p:tmpl>
        </p:tmplLst>
      </p:bldP>
      <p:bldP spid="24" grpId="0">
        <p:tmplLst>
          <p:tmpl>
            <p:tnLst>
              <p:par>
                <p:cTn presetID="10" presetClass="entr" presetSubtype="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250"/>
                        <p:tgtEl>
                          <p:spTgt spid="2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4" grpId="1">
        <p:tmplLst>
          <p:tmpl>
            <p:tnLst>
              <p:par>
                <p:cTn presetID="42" presetClass="path" presetSubtype="0" decel="100000" fill="hold" nodeType="withEffect">
                  <p:stCondLst>
                    <p:cond delay="750"/>
                  </p:stCondLst>
                  <p:childTnLst>
                    <p:animMotion origin="layout" path="M -0.01719 -0.00023 L -1.25E-6 1.85185E-6 " pathEditMode="relative" rAng="0" ptsTypes="AA">
                      <p:cBhvr>
                        <p:cTn dur="500" fill="hold"/>
                        <p:tgtEl>
                          <p:spTgt spid="24"/>
                        </p:tgtEl>
                        <p:attrNameLst>
                          <p:attrName>ppt_x</p:attrName>
                          <p:attrName>ppt_y</p:attrName>
                        </p:attrNameLst>
                      </p:cBhvr>
                      <p:rCtr x="859" y="0"/>
                    </p:animMotion>
                  </p:childTnLst>
                </p:cTn>
              </p:par>
            </p:tnLst>
          </p:tmpl>
        </p:tmplLst>
      </p:bldP>
      <p:bldP spid="25" grpId="0" animBg="1"/>
      <p:bldP spid="25" grpId="1" animBg="1"/>
      <p:bldP spid="26" grpId="0">
        <p:tmplLst>
          <p:tmpl>
            <p:tnLst>
              <p:par>
                <p:cTn presetID="10" presetClass="entr" presetSubtype="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250"/>
                        <p:tgtEl>
                          <p:spTgt spid="2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6" grpId="1">
        <p:tmplLst>
          <p:tmpl>
            <p:tnLst>
              <p:par>
                <p:cTn presetID="42" presetClass="path" presetSubtype="0" decel="100000" fill="hold" nodeType="withEffect">
                  <p:stCondLst>
                    <p:cond delay="750"/>
                  </p:stCondLst>
                  <p:childTnLst>
                    <p:animMotion origin="layout" path="M -0.01719 -0.00023 L -1.25E-6 1.85185E-6 " pathEditMode="relative" rAng="0" ptsTypes="AA">
                      <p:cBhvr>
                        <p:cTn dur="500" fill="hold"/>
                        <p:tgtEl>
                          <p:spTgt spid="26"/>
                        </p:tgtEl>
                        <p:attrNameLst>
                          <p:attrName>ppt_x</p:attrName>
                          <p:attrName>ppt_y</p:attrName>
                        </p:attrNameLst>
                      </p:cBhvr>
                      <p:rCtr x="859" y="0"/>
                    </p:animMotion>
                  </p:childTnLst>
                </p:cTn>
              </p:par>
            </p:tnLst>
          </p:tmpl>
        </p:tmplLst>
      </p:bldP>
      <p:bldP spid="27" grpId="0">
        <p:tmplLst>
          <p:tmpl>
            <p:tnLst>
              <p:par>
                <p:cTn presetID="10" presetClass="entr" presetSubtype="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250"/>
                        <p:tgtEl>
                          <p:spTgt spid="2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7" grpId="1">
        <p:tmplLst>
          <p:tmpl>
            <p:tnLst>
              <p:par>
                <p:cTn presetID="42" presetClass="path" presetSubtype="0" decel="100000" fill="hold" nodeType="withEffect">
                  <p:stCondLst>
                    <p:cond delay="750"/>
                  </p:stCondLst>
                  <p:childTnLst>
                    <p:animMotion origin="layout" path="M -0.01719 -0.00023 L -1.25E-6 1.85185E-6 " pathEditMode="relative" rAng="0" ptsTypes="AA">
                      <p:cBhvr>
                        <p:cTn dur="500" fill="hold"/>
                        <p:tgtEl>
                          <p:spTgt spid="27"/>
                        </p:tgtEl>
                        <p:attrNameLst>
                          <p:attrName>ppt_x</p:attrName>
                          <p:attrName>ppt_y</p:attrName>
                        </p:attrNameLst>
                      </p:cBhvr>
                      <p:rCtr x="859" y="0"/>
                    </p:animMotion>
                  </p:childTnLst>
                </p:cTn>
              </p:par>
            </p:tnLst>
          </p:tmpl>
        </p:tmplLst>
      </p:bldP>
      <p:bldP spid="28" grpId="0" animBg="1"/>
      <p:bldP spid="28" grpId="1" animBg="1"/>
      <p:bldP spid="29" grpId="0">
        <p:tmplLst>
          <p:tmpl>
            <p:tnLst>
              <p:par>
                <p:cTn presetID="10" presetClass="entr" presetSubtype="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250"/>
                        <p:tgtEl>
                          <p:spTgt spid="2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9" grpId="1">
        <p:tmplLst>
          <p:tmpl>
            <p:tnLst>
              <p:par>
                <p:cTn presetID="42" presetClass="path" presetSubtype="0" decel="100000" fill="hold" nodeType="withEffect">
                  <p:stCondLst>
                    <p:cond delay="750"/>
                  </p:stCondLst>
                  <p:childTnLst>
                    <p:animMotion origin="layout" path="M -0.01719 -0.00023 L -1.25E-6 1.85185E-6 " pathEditMode="relative" rAng="0" ptsTypes="AA">
                      <p:cBhvr>
                        <p:cTn dur="500" fill="hold"/>
                        <p:tgtEl>
                          <p:spTgt spid="29"/>
                        </p:tgtEl>
                        <p:attrNameLst>
                          <p:attrName>ppt_x</p:attrName>
                          <p:attrName>ppt_y</p:attrName>
                        </p:attrNameLst>
                      </p:cBhvr>
                      <p:rCtr x="859" y="0"/>
                    </p:animMotion>
                  </p:childTnLst>
                </p:cTn>
              </p:par>
            </p:tnLst>
          </p:tmpl>
        </p:tmplLst>
      </p:bldP>
      <p:bldP spid="30" grpId="0">
        <p:tmplLst>
          <p:tmpl>
            <p:tnLst>
              <p:par>
                <p:cTn presetID="10" presetClass="entr" presetSubtype="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250"/>
                        <p:tgtEl>
                          <p:spTgt spid="3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0" grpId="1">
        <p:tmplLst>
          <p:tmpl>
            <p:tnLst>
              <p:par>
                <p:cTn presetID="42" presetClass="path" presetSubtype="0" decel="100000" fill="hold" nodeType="withEffect">
                  <p:stCondLst>
                    <p:cond delay="750"/>
                  </p:stCondLst>
                  <p:childTnLst>
                    <p:animMotion origin="layout" path="M -0.01719 -0.00023 L -1.25E-6 1.85185E-6 " pathEditMode="relative" rAng="0" ptsTypes="AA">
                      <p:cBhvr>
                        <p:cTn dur="500" fill="hold"/>
                        <p:tgtEl>
                          <p:spTgt spid="30"/>
                        </p:tgtEl>
                        <p:attrNameLst>
                          <p:attrName>ppt_x</p:attrName>
                          <p:attrName>ppt_y</p:attrName>
                        </p:attrNameLst>
                      </p:cBhvr>
                      <p:rCtr x="859" y="0"/>
                    </p:animMotion>
                  </p:childTnLst>
                </p:cTn>
              </p:par>
            </p:tnLst>
          </p:tmpl>
        </p:tmplLst>
      </p:bldP>
      <p:bldP spid="31" grpId="0" animBg="1"/>
      <p:bldP spid="31" grpId="1" animBg="1"/>
      <p:bldP spid="32" grpId="0">
        <p:tmplLst>
          <p:tmpl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250"/>
                        <p:tgtEl>
                          <p:spTgt spid="3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2" grpId="1">
        <p:tmplLst>
          <p:tmpl>
            <p:tnLst>
              <p:par>
                <p:cTn presetID="42" presetClass="path" presetSubtype="0" decel="100000" fill="hold" nodeType="withEffect">
                  <p:stCondLst>
                    <p:cond delay="500"/>
                  </p:stCondLst>
                  <p:childTnLst>
                    <p:animMotion origin="layout" path="M 0.01666 -0.00046 L 3.75E-6 1.85185E-6 " pathEditMode="relative" rAng="0" ptsTypes="AA">
                      <p:cBhvr>
                        <p:cTn dur="500" fill="hold"/>
                        <p:tgtEl>
                          <p:spTgt spid="32"/>
                        </p:tgtEl>
                        <p:attrNameLst>
                          <p:attrName>ppt_x</p:attrName>
                          <p:attrName>ppt_y</p:attrName>
                        </p:attrNameLst>
                      </p:cBhvr>
                      <p:rCtr x="-833" y="23"/>
                    </p:animMotion>
                  </p:childTnLst>
                </p:cTn>
              </p:par>
            </p:tnLst>
          </p:tmpl>
        </p:tmplLst>
      </p:bldP>
      <p:bldP spid="33" grpId="0">
        <p:tmplLst>
          <p:tmpl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250"/>
                        <p:tgtEl>
                          <p:spTgt spid="3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3" grpId="1">
        <p:tmplLst>
          <p:tmpl>
            <p:tnLst>
              <p:par>
                <p:cTn presetID="42" presetClass="path" presetSubtype="0" decel="100000" fill="hold" nodeType="withEffect">
                  <p:stCondLst>
                    <p:cond delay="500"/>
                  </p:stCondLst>
                  <p:childTnLst>
                    <p:animMotion origin="layout" path="M 0.01666 -0.00046 L 3.75E-6 1.85185E-6 " pathEditMode="relative" rAng="0" ptsTypes="AA">
                      <p:cBhvr>
                        <p:cTn dur="500" fill="hold"/>
                        <p:tgtEl>
                          <p:spTgt spid="33"/>
                        </p:tgtEl>
                        <p:attrNameLst>
                          <p:attrName>ppt_x</p:attrName>
                          <p:attrName>ppt_y</p:attrName>
                        </p:attrNameLst>
                      </p:cBhvr>
                      <p:rCtr x="-833" y="23"/>
                    </p:animMotion>
                  </p:childTnLst>
                </p:cTn>
              </p:par>
            </p:tnLst>
          </p:tmpl>
        </p:tmplLst>
      </p:bldP>
      <p:bldP spid="34" grpId="0" animBg="1"/>
      <p:bldP spid="34" grpId="1" animBg="1"/>
      <p:bldP spid="35" grpId="0">
        <p:tmplLst>
          <p:tmpl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250"/>
                        <p:tgtEl>
                          <p:spTgt spid="3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5" grpId="1">
        <p:tmplLst>
          <p:tmpl>
            <p:tnLst>
              <p:par>
                <p:cTn presetID="42" presetClass="path" presetSubtype="0" decel="100000" fill="hold" nodeType="withEffect">
                  <p:stCondLst>
                    <p:cond delay="500"/>
                  </p:stCondLst>
                  <p:childTnLst>
                    <p:animMotion origin="layout" path="M 0.01667 -0.00046 L -3.33333E-6 3.7037E-7 " pathEditMode="relative" rAng="0" ptsTypes="AA">
                      <p:cBhvr>
                        <p:cTn dur="500" fill="hold"/>
                        <p:tgtEl>
                          <p:spTgt spid="35"/>
                        </p:tgtEl>
                        <p:attrNameLst>
                          <p:attrName>ppt_x</p:attrName>
                          <p:attrName>ppt_y</p:attrName>
                        </p:attrNameLst>
                      </p:cBhvr>
                      <p:rCtr x="-833" y="23"/>
                    </p:animMotion>
                  </p:childTnLst>
                </p:cTn>
              </p:par>
            </p:tnLst>
          </p:tmpl>
        </p:tmplLst>
      </p:bldP>
      <p:bldP spid="36" grpId="0">
        <p:tmplLst>
          <p:tmpl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250"/>
                        <p:tgtEl>
                          <p:spTgt spid="3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6" grpId="1">
        <p:tmplLst>
          <p:tmpl>
            <p:tnLst>
              <p:par>
                <p:cTn presetID="42" presetClass="path" presetSubtype="0" decel="100000" fill="hold" nodeType="withEffect">
                  <p:stCondLst>
                    <p:cond delay="500"/>
                  </p:stCondLst>
                  <p:childTnLst>
                    <p:animMotion origin="layout" path="M 0.01666 -0.00046 L 3.75E-6 1.85185E-6 " pathEditMode="relative" rAng="0" ptsTypes="AA">
                      <p:cBhvr>
                        <p:cTn dur="500" fill="hold"/>
                        <p:tgtEl>
                          <p:spTgt spid="36"/>
                        </p:tgtEl>
                        <p:attrNameLst>
                          <p:attrName>ppt_x</p:attrName>
                          <p:attrName>ppt_y</p:attrName>
                        </p:attrNameLst>
                      </p:cBhvr>
                      <p:rCtr x="-833" y="23"/>
                    </p:animMotion>
                  </p:childTnLst>
                </p:cTn>
              </p:par>
            </p:tnLst>
          </p:tmpl>
        </p:tmplLst>
      </p:bldP>
      <p:bldP spid="37" grpId="0" animBg="1"/>
      <p:bldP spid="37" grpId="1" animBg="1"/>
      <p:bldP spid="38" grpId="0">
        <p:tmplLst>
          <p:tmpl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250"/>
                        <p:tgtEl>
                          <p:spTgt spid="3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8" grpId="1">
        <p:tmplLst>
          <p:tmpl>
            <p:tnLst>
              <p:par>
                <p:cTn presetID="42" presetClass="path" presetSubtype="0" decel="100000" fill="hold" nodeType="withEffect">
                  <p:stCondLst>
                    <p:cond delay="500"/>
                  </p:stCondLst>
                  <p:childTnLst>
                    <p:animMotion origin="layout" path="M 0.01666 -0.00046 L 2.70833E-6 1.11111E-6 " pathEditMode="relative" rAng="0" ptsTypes="AA">
                      <p:cBhvr>
                        <p:cTn dur="500" fill="hold"/>
                        <p:tgtEl>
                          <p:spTgt spid="38"/>
                        </p:tgtEl>
                        <p:attrNameLst>
                          <p:attrName>ppt_x</p:attrName>
                          <p:attrName>ppt_y</p:attrName>
                        </p:attrNameLst>
                      </p:cBhvr>
                      <p:rCtr x="-833" y="23"/>
                    </p:animMotion>
                  </p:childTnLst>
                </p:cTn>
              </p:par>
            </p:tnLst>
          </p:tmpl>
        </p:tmplLst>
      </p:bldP>
      <p:bldP spid="39" grpId="0">
        <p:tmplLst>
          <p:tmpl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250"/>
                        <p:tgtEl>
                          <p:spTgt spid="3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9" grpId="1">
        <p:tmplLst>
          <p:tmpl>
            <p:tnLst>
              <p:par>
                <p:cTn presetID="42" presetClass="path" presetSubtype="0" decel="100000" fill="hold" nodeType="withEffect">
                  <p:stCondLst>
                    <p:cond delay="500"/>
                  </p:stCondLst>
                  <p:childTnLst>
                    <p:animMotion origin="layout" path="M 0.01666 -0.00046 L 3.75E-6 1.85185E-6 " pathEditMode="relative" rAng="0" ptsTypes="AA">
                      <p:cBhvr>
                        <p:cTn dur="500" fill="hold"/>
                        <p:tgtEl>
                          <p:spTgt spid="39"/>
                        </p:tgtEl>
                        <p:attrNameLst>
                          <p:attrName>ppt_x</p:attrName>
                          <p:attrName>ppt_y</p:attrName>
                        </p:attrNameLst>
                      </p:cBhvr>
                      <p:rCtr x="-833" y="23"/>
                    </p:animMotion>
                  </p:childTnLst>
                </p:cTn>
              </p:par>
            </p:tnLst>
          </p:tmpl>
        </p:tmplLst>
      </p:bldP>
      <p:bldP spid="40" grpId="0" animBg="1"/>
      <p:bldP spid="40" grpId="1" animBg="1"/>
      <p:bldP spid="41" grpId="0">
        <p:tmplLst>
          <p:tmpl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250"/>
                        <p:tgtEl>
                          <p:spTgt spid="4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1" grpId="1">
        <p:tmplLst>
          <p:tmpl>
            <p:tnLst>
              <p:par>
                <p:cTn presetID="42" presetClass="path" presetSubtype="0" decel="100000" fill="hold" nodeType="withEffect">
                  <p:stCondLst>
                    <p:cond delay="500"/>
                  </p:stCondLst>
                  <p:childTnLst>
                    <p:animMotion origin="layout" path="M 0.01666 -0.00046 L 2.70833E-6 3.7037E-7 " pathEditMode="relative" rAng="0" ptsTypes="AA">
                      <p:cBhvr>
                        <p:cTn dur="500" fill="hold"/>
                        <p:tgtEl>
                          <p:spTgt spid="41"/>
                        </p:tgtEl>
                        <p:attrNameLst>
                          <p:attrName>ppt_x</p:attrName>
                          <p:attrName>ppt_y</p:attrName>
                        </p:attrNameLst>
                      </p:cBhvr>
                      <p:rCtr x="-833" y="23"/>
                    </p:animMotion>
                  </p:childTnLst>
                </p:cTn>
              </p:par>
            </p:tnLst>
          </p:tmpl>
        </p:tmplLst>
      </p:bldP>
      <p:bldP spid="42" grpId="0">
        <p:tmplLst>
          <p:tmpl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250"/>
                        <p:tgtEl>
                          <p:spTgt spid="4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2" grpId="1">
        <p:tmplLst>
          <p:tmpl>
            <p:tnLst>
              <p:par>
                <p:cTn presetID="42" presetClass="path" presetSubtype="0" decel="100000" fill="hold" nodeType="withEffect">
                  <p:stCondLst>
                    <p:cond delay="500"/>
                  </p:stCondLst>
                  <p:childTnLst>
                    <p:animMotion origin="layout" path="M 0.01666 -0.00046 L 3.75E-6 1.85185E-6 " pathEditMode="relative" rAng="0" ptsTypes="AA">
                      <p:cBhvr>
                        <p:cTn dur="500" fill="hold"/>
                        <p:tgtEl>
                          <p:spTgt spid="42"/>
                        </p:tgtEl>
                        <p:attrNameLst>
                          <p:attrName>ppt_x</p:attrName>
                          <p:attrName>ppt_y</p:attrName>
                        </p:attrNameLst>
                      </p:cBhvr>
                      <p:rCtr x="-833" y="23"/>
                    </p:animMotion>
                  </p:childTnLst>
                </p:cTn>
              </p:par>
            </p:tnLst>
          </p:tmpl>
        </p:tmplLst>
      </p:bldP>
    </p:bldLst>
  </p:timing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3_Esquema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Imagem 22">
            <a:extLst>
              <a:ext uri="{FF2B5EF4-FFF2-40B4-BE49-F238E27FC236}">
                <a16:creationId xmlns:a16="http://schemas.microsoft.com/office/drawing/2014/main" id="{03D92B7F-B066-5260-5BF1-85650823F7B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 l="15847" t="19441" r="64129" b="20831"/>
          <a:stretch>
            <a:fillRect/>
          </a:stretch>
        </p:blipFill>
        <p:spPr>
          <a:xfrm rot="10800000">
            <a:off x="0" y="107106"/>
            <a:ext cx="2264654" cy="6750894"/>
          </a:xfrm>
          <a:prstGeom prst="rect">
            <a:avLst/>
          </a:prstGeom>
        </p:spPr>
      </p:pic>
      <p:pic>
        <p:nvPicPr>
          <p:cNvPr id="9" name="Imagem 8" descr="Uma imagem com círculo, Gráficos, clipart, design gráfico&#10;&#10;Os conteúdos gerados por IA podem estar incorretos.">
            <a:extLst>
              <a:ext uri="{FF2B5EF4-FFF2-40B4-BE49-F238E27FC236}">
                <a16:creationId xmlns:a16="http://schemas.microsoft.com/office/drawing/2014/main" id="{C4DF4668-1CF5-1106-7ABA-A900AAB357C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15656" y="731820"/>
            <a:ext cx="4760688" cy="4755732"/>
          </a:xfrm>
          <a:prstGeom prst="rect">
            <a:avLst/>
          </a:prstGeom>
        </p:spPr>
      </p:pic>
      <p:sp>
        <p:nvSpPr>
          <p:cNvPr id="10" name="Título 6">
            <a:extLst>
              <a:ext uri="{FF2B5EF4-FFF2-40B4-BE49-F238E27FC236}">
                <a16:creationId xmlns:a16="http://schemas.microsoft.com/office/drawing/2014/main" id="{10769F85-F39A-AC03-A160-C908D900A35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01029" y="2571832"/>
            <a:ext cx="2989942" cy="712204"/>
          </a:xfrm>
        </p:spPr>
        <p:txBody>
          <a:bodyPr anchor="b">
            <a:noAutofit/>
          </a:bodyPr>
          <a:lstStyle>
            <a:lvl1pPr algn="ctr">
              <a:defRPr sz="3200">
                <a:solidFill>
                  <a:schemeClr val="tx1"/>
                </a:solidFill>
              </a:defRPr>
            </a:lvl1pPr>
          </a:lstStyle>
          <a:p>
            <a:r>
              <a:rPr lang="pt-PT" dirty="0"/>
              <a:t>Insertar título de la slide</a:t>
            </a:r>
          </a:p>
        </p:txBody>
      </p:sp>
      <p:sp>
        <p:nvSpPr>
          <p:cNvPr id="11" name="Marcador de Posição do Texto 8">
            <a:extLst>
              <a:ext uri="{FF2B5EF4-FFF2-40B4-BE49-F238E27FC236}">
                <a16:creationId xmlns:a16="http://schemas.microsoft.com/office/drawing/2014/main" id="{CBC250D6-F5DF-2294-B9F1-CA2420549BB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775200" y="3301677"/>
            <a:ext cx="2641600" cy="355243"/>
          </a:xfrm>
        </p:spPr>
        <p:txBody>
          <a:bodyPr>
            <a:noAutofit/>
          </a:bodyPr>
          <a:lstStyle>
            <a:lvl1pPr algn="ctr">
              <a:defRPr sz="240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pt-PT" dirty="0"/>
              <a:t>Insertar subtítulo de la slide</a:t>
            </a:r>
          </a:p>
        </p:txBody>
      </p:sp>
      <p:sp>
        <p:nvSpPr>
          <p:cNvPr id="12" name="Marcador de Posição do Texto 34">
            <a:extLst>
              <a:ext uri="{FF2B5EF4-FFF2-40B4-BE49-F238E27FC236}">
                <a16:creationId xmlns:a16="http://schemas.microsoft.com/office/drawing/2014/main" id="{2EF87A30-E1D6-70DA-ECBF-F365A13B2CD3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5950457" y="5704008"/>
            <a:ext cx="2615935" cy="422172"/>
          </a:xfrm>
        </p:spPr>
        <p:txBody>
          <a:bodyPr anchor="ctr">
            <a:noAutofit/>
          </a:bodyPr>
          <a:lstStyle>
            <a:lvl1pPr algn="l">
              <a:defRPr cap="all" baseline="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pt-PT" dirty="0"/>
              <a:t>Inserir texto destacado</a:t>
            </a:r>
          </a:p>
        </p:txBody>
      </p:sp>
      <p:sp>
        <p:nvSpPr>
          <p:cNvPr id="13" name="Marcador de Posição do Texto 10">
            <a:extLst>
              <a:ext uri="{FF2B5EF4-FFF2-40B4-BE49-F238E27FC236}">
                <a16:creationId xmlns:a16="http://schemas.microsoft.com/office/drawing/2014/main" id="{113E7065-DF75-63DA-E319-46F08ECE8693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950457" y="6126180"/>
            <a:ext cx="2615935" cy="422173"/>
          </a:xfrm>
        </p:spPr>
        <p:txBody>
          <a:bodyPr>
            <a:noAutofit/>
          </a:bodyPr>
          <a:lstStyle>
            <a:lvl1pPr algn="l">
              <a:defRPr sz="1400"/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es-ES" dirty="0"/>
              <a:t>Haz </a:t>
            </a:r>
            <a:r>
              <a:rPr lang="es-ES" dirty="0" err="1"/>
              <a:t>click</a:t>
            </a:r>
            <a:r>
              <a:rPr lang="es-ES" dirty="0"/>
              <a:t> para editar los estilos del texto del modelo</a:t>
            </a:r>
            <a:endParaRPr lang="pt-PT" dirty="0"/>
          </a:p>
        </p:txBody>
      </p:sp>
      <p:sp>
        <p:nvSpPr>
          <p:cNvPr id="14" name="Marcador de Posição do Texto 34">
            <a:extLst>
              <a:ext uri="{FF2B5EF4-FFF2-40B4-BE49-F238E27FC236}">
                <a16:creationId xmlns:a16="http://schemas.microsoft.com/office/drawing/2014/main" id="{5FAAB526-412F-E19B-293D-8BB30601DEA5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8227920" y="3656920"/>
            <a:ext cx="2615935" cy="422172"/>
          </a:xfrm>
        </p:spPr>
        <p:txBody>
          <a:bodyPr anchor="ctr">
            <a:noAutofit/>
          </a:bodyPr>
          <a:lstStyle>
            <a:lvl1pPr algn="r">
              <a:defRPr cap="all" baseline="0">
                <a:solidFill>
                  <a:schemeClr val="accent2"/>
                </a:solidFill>
                <a:latin typeface="+mj-lt"/>
              </a:defRPr>
            </a:lvl1pPr>
          </a:lstStyle>
          <a:p>
            <a:pPr lvl="0"/>
            <a:r>
              <a:rPr lang="pt-PT" dirty="0"/>
              <a:t>Insertar texto destacado</a:t>
            </a:r>
          </a:p>
        </p:txBody>
      </p:sp>
      <p:sp>
        <p:nvSpPr>
          <p:cNvPr id="15" name="Marcador de Posição do Texto 10">
            <a:extLst>
              <a:ext uri="{FF2B5EF4-FFF2-40B4-BE49-F238E27FC236}">
                <a16:creationId xmlns:a16="http://schemas.microsoft.com/office/drawing/2014/main" id="{26153F93-771A-30DF-2A9C-67420C8988EE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8227920" y="4079092"/>
            <a:ext cx="2615935" cy="422173"/>
          </a:xfrm>
        </p:spPr>
        <p:txBody>
          <a:bodyPr>
            <a:noAutofit/>
          </a:bodyPr>
          <a:lstStyle>
            <a:lvl1pPr algn="r">
              <a:defRPr sz="1400"/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es-ES" dirty="0"/>
              <a:t>Haz </a:t>
            </a:r>
            <a:r>
              <a:rPr lang="es-ES" dirty="0" err="1"/>
              <a:t>click</a:t>
            </a:r>
            <a:r>
              <a:rPr lang="es-ES" dirty="0"/>
              <a:t> para editar los estilos del texto del modelo</a:t>
            </a:r>
            <a:endParaRPr lang="pt-PT" dirty="0"/>
          </a:p>
        </p:txBody>
      </p:sp>
      <p:sp>
        <p:nvSpPr>
          <p:cNvPr id="16" name="Marcador de Posição do Texto 34">
            <a:extLst>
              <a:ext uri="{FF2B5EF4-FFF2-40B4-BE49-F238E27FC236}">
                <a16:creationId xmlns:a16="http://schemas.microsoft.com/office/drawing/2014/main" id="{912A243E-BD17-AE46-9B0C-B56A838FCB99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7814401" y="731820"/>
            <a:ext cx="2615935" cy="422172"/>
          </a:xfrm>
        </p:spPr>
        <p:txBody>
          <a:bodyPr anchor="ctr">
            <a:noAutofit/>
          </a:bodyPr>
          <a:lstStyle>
            <a:lvl1pPr algn="r">
              <a:defRPr cap="all" baseline="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pt-PT" dirty="0"/>
              <a:t>Insertar texto destacado</a:t>
            </a:r>
          </a:p>
        </p:txBody>
      </p:sp>
      <p:sp>
        <p:nvSpPr>
          <p:cNvPr id="17" name="Marcador de Posição do Texto 10">
            <a:extLst>
              <a:ext uri="{FF2B5EF4-FFF2-40B4-BE49-F238E27FC236}">
                <a16:creationId xmlns:a16="http://schemas.microsoft.com/office/drawing/2014/main" id="{D3428F00-DFCD-EFDE-FD92-16BCFB7FA363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7814401" y="1153992"/>
            <a:ext cx="2615935" cy="422173"/>
          </a:xfrm>
        </p:spPr>
        <p:txBody>
          <a:bodyPr>
            <a:noAutofit/>
          </a:bodyPr>
          <a:lstStyle>
            <a:lvl1pPr algn="r">
              <a:defRPr sz="1400"/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es-ES" dirty="0"/>
              <a:t>Haz </a:t>
            </a:r>
            <a:r>
              <a:rPr lang="es-ES" dirty="0" err="1"/>
              <a:t>click</a:t>
            </a:r>
            <a:r>
              <a:rPr lang="es-ES" dirty="0"/>
              <a:t> para editar los estilos del texto del modelo</a:t>
            </a:r>
            <a:endParaRPr lang="pt-PT" dirty="0"/>
          </a:p>
        </p:txBody>
      </p:sp>
      <p:sp>
        <p:nvSpPr>
          <p:cNvPr id="18" name="Marcador de Posição do Texto 34">
            <a:extLst>
              <a:ext uri="{FF2B5EF4-FFF2-40B4-BE49-F238E27FC236}">
                <a16:creationId xmlns:a16="http://schemas.microsoft.com/office/drawing/2014/main" id="{9F720385-41DF-38C0-FFC2-A5B631E5B89B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1372933" y="3656920"/>
            <a:ext cx="2615935" cy="422172"/>
          </a:xfrm>
        </p:spPr>
        <p:txBody>
          <a:bodyPr anchor="ctr">
            <a:noAutofit/>
          </a:bodyPr>
          <a:lstStyle>
            <a:lvl1pPr algn="l">
              <a:defRPr cap="all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pt-PT" dirty="0"/>
              <a:t>Insertar texto destacado</a:t>
            </a:r>
          </a:p>
        </p:txBody>
      </p:sp>
      <p:sp>
        <p:nvSpPr>
          <p:cNvPr id="19" name="Marcador de Posição do Texto 10">
            <a:extLst>
              <a:ext uri="{FF2B5EF4-FFF2-40B4-BE49-F238E27FC236}">
                <a16:creationId xmlns:a16="http://schemas.microsoft.com/office/drawing/2014/main" id="{D976C027-0D51-7494-B22B-05152EFBAA70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1372933" y="4079092"/>
            <a:ext cx="2615935" cy="422173"/>
          </a:xfrm>
        </p:spPr>
        <p:txBody>
          <a:bodyPr>
            <a:noAutofit/>
          </a:bodyPr>
          <a:lstStyle>
            <a:lvl1pPr algn="l">
              <a:defRPr sz="1400"/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es-ES" dirty="0"/>
              <a:t>Haz </a:t>
            </a:r>
            <a:r>
              <a:rPr lang="es-ES" dirty="0" err="1"/>
              <a:t>click</a:t>
            </a:r>
            <a:r>
              <a:rPr lang="es-ES" dirty="0"/>
              <a:t> para editar los estilos del texto del modelo</a:t>
            </a:r>
            <a:endParaRPr lang="pt-PT" dirty="0"/>
          </a:p>
        </p:txBody>
      </p:sp>
      <p:sp>
        <p:nvSpPr>
          <p:cNvPr id="20" name="Marcador de Posição do Texto 34">
            <a:extLst>
              <a:ext uri="{FF2B5EF4-FFF2-40B4-BE49-F238E27FC236}">
                <a16:creationId xmlns:a16="http://schemas.microsoft.com/office/drawing/2014/main" id="{67171159-86FF-959F-2EE5-85B58640FDFD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1779229" y="731820"/>
            <a:ext cx="2615935" cy="422172"/>
          </a:xfrm>
        </p:spPr>
        <p:txBody>
          <a:bodyPr anchor="ctr">
            <a:noAutofit/>
          </a:bodyPr>
          <a:lstStyle>
            <a:lvl1pPr algn="l">
              <a:defRPr cap="all" baseline="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pt-PT" dirty="0"/>
              <a:t>Insertar texto destacado</a:t>
            </a:r>
          </a:p>
        </p:txBody>
      </p:sp>
      <p:sp>
        <p:nvSpPr>
          <p:cNvPr id="21" name="Marcador de Posição do Texto 10">
            <a:extLst>
              <a:ext uri="{FF2B5EF4-FFF2-40B4-BE49-F238E27FC236}">
                <a16:creationId xmlns:a16="http://schemas.microsoft.com/office/drawing/2014/main" id="{47DA6154-B8C0-77F8-FCC5-63229C11DA65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1779229" y="1153992"/>
            <a:ext cx="2615935" cy="422173"/>
          </a:xfrm>
        </p:spPr>
        <p:txBody>
          <a:bodyPr>
            <a:noAutofit/>
          </a:bodyPr>
          <a:lstStyle>
            <a:lvl1pPr algn="l">
              <a:defRPr sz="1400"/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es-ES" dirty="0"/>
              <a:t>Haz </a:t>
            </a:r>
            <a:r>
              <a:rPr lang="es-ES" dirty="0" err="1"/>
              <a:t>click</a:t>
            </a:r>
            <a:r>
              <a:rPr lang="es-ES" dirty="0"/>
              <a:t> para editar los estilos del texto del modelo</a:t>
            </a:r>
            <a:endParaRPr lang="pt-PT" dirty="0"/>
          </a:p>
        </p:txBody>
      </p:sp>
      <p:pic>
        <p:nvPicPr>
          <p:cNvPr id="22" name="Imagem 21">
            <a:extLst>
              <a:ext uri="{FF2B5EF4-FFF2-40B4-BE49-F238E27FC236}">
                <a16:creationId xmlns:a16="http://schemas.microsoft.com/office/drawing/2014/main" id="{81075623-5ACB-E89E-6EF4-9112AF07DE10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rcRect l="10821" t="60527" r="36628" b="14633"/>
          <a:stretch>
            <a:fillRect/>
          </a:stretch>
        </p:blipFill>
        <p:spPr>
          <a:xfrm flipV="1">
            <a:off x="7959239" y="4857354"/>
            <a:ext cx="4232761" cy="2000646"/>
          </a:xfrm>
          <a:prstGeom prst="rect">
            <a:avLst/>
          </a:prstGeom>
        </p:spPr>
      </p:pic>
      <p:sp>
        <p:nvSpPr>
          <p:cNvPr id="2" name="Marcador de Posição do Texto 8">
            <a:extLst>
              <a:ext uri="{FF2B5EF4-FFF2-40B4-BE49-F238E27FC236}">
                <a16:creationId xmlns:a16="http://schemas.microsoft.com/office/drawing/2014/main" id="{31962BD3-6876-1C3E-1B29-2D0C5B522C9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483337" y="1251230"/>
            <a:ext cx="905810" cy="513516"/>
          </a:xfrm>
        </p:spPr>
        <p:txBody>
          <a:bodyPr>
            <a:noAutofit/>
          </a:bodyPr>
          <a:lstStyle>
            <a:lvl1pPr algn="ctr">
              <a:defRPr sz="4000">
                <a:solidFill>
                  <a:srgbClr val="132153"/>
                </a:solidFill>
                <a:latin typeface="+mj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pt-PT" dirty="0"/>
              <a:t>NR</a:t>
            </a:r>
          </a:p>
        </p:txBody>
      </p:sp>
      <p:sp>
        <p:nvSpPr>
          <p:cNvPr id="3" name="Marcador de Posição do Texto 8">
            <a:extLst>
              <a:ext uri="{FF2B5EF4-FFF2-40B4-BE49-F238E27FC236}">
                <a16:creationId xmlns:a16="http://schemas.microsoft.com/office/drawing/2014/main" id="{DDC5C3E8-D294-0A0C-F706-78BABB974E82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6802853" y="1251230"/>
            <a:ext cx="905810" cy="513516"/>
          </a:xfrm>
        </p:spPr>
        <p:txBody>
          <a:bodyPr>
            <a:noAutofit/>
          </a:bodyPr>
          <a:lstStyle>
            <a:lvl1pPr algn="ctr">
              <a:defRPr sz="4000">
                <a:solidFill>
                  <a:schemeClr val="accent2"/>
                </a:solidFill>
                <a:latin typeface="+mj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pt-PT" dirty="0"/>
              <a:t>NR</a:t>
            </a:r>
          </a:p>
        </p:txBody>
      </p:sp>
      <p:sp>
        <p:nvSpPr>
          <p:cNvPr id="4" name="Marcador de Posição do Texto 8">
            <a:extLst>
              <a:ext uri="{FF2B5EF4-FFF2-40B4-BE49-F238E27FC236}">
                <a16:creationId xmlns:a16="http://schemas.microsoft.com/office/drawing/2014/main" id="{57A7ACE2-3D0A-BAC1-F175-E5FD600ECF59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3740444" y="3429000"/>
            <a:ext cx="905810" cy="513516"/>
          </a:xfrm>
        </p:spPr>
        <p:txBody>
          <a:bodyPr>
            <a:noAutofit/>
          </a:bodyPr>
          <a:lstStyle>
            <a:lvl1pPr algn="ctr">
              <a:defRPr sz="4000">
                <a:solidFill>
                  <a:schemeClr val="accent1"/>
                </a:solidFill>
                <a:latin typeface="+mj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pt-PT" dirty="0"/>
              <a:t>NR</a:t>
            </a:r>
          </a:p>
        </p:txBody>
      </p:sp>
      <p:sp>
        <p:nvSpPr>
          <p:cNvPr id="5" name="Marcador de Posição do Texto 8">
            <a:extLst>
              <a:ext uri="{FF2B5EF4-FFF2-40B4-BE49-F238E27FC236}">
                <a16:creationId xmlns:a16="http://schemas.microsoft.com/office/drawing/2014/main" id="{1E65345A-3677-DC0C-1360-B30334A8F010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7512477" y="3479298"/>
            <a:ext cx="905810" cy="513516"/>
          </a:xfrm>
        </p:spPr>
        <p:txBody>
          <a:bodyPr>
            <a:noAutofit/>
          </a:bodyPr>
          <a:lstStyle>
            <a:lvl1pPr algn="ctr">
              <a:defRPr sz="4000">
                <a:solidFill>
                  <a:schemeClr val="accent1"/>
                </a:solidFill>
                <a:latin typeface="+mj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pt-PT" dirty="0"/>
              <a:t>NR</a:t>
            </a:r>
          </a:p>
        </p:txBody>
      </p:sp>
      <p:sp>
        <p:nvSpPr>
          <p:cNvPr id="6" name="Marcador de Posição do Texto 8">
            <a:extLst>
              <a:ext uri="{FF2B5EF4-FFF2-40B4-BE49-F238E27FC236}">
                <a16:creationId xmlns:a16="http://schemas.microsoft.com/office/drawing/2014/main" id="{C20C943B-E2C7-0675-698A-EC52D939DC44}"/>
              </a:ext>
            </a:extLst>
          </p:cNvPr>
          <p:cNvSpPr>
            <a:spLocks noGrp="1"/>
          </p:cNvSpPr>
          <p:nvPr>
            <p:ph type="body" sz="quarter" idx="63" hasCustomPrompt="1"/>
          </p:nvPr>
        </p:nvSpPr>
        <p:spPr>
          <a:xfrm>
            <a:off x="5643095" y="4804023"/>
            <a:ext cx="905810" cy="513516"/>
          </a:xfrm>
        </p:spPr>
        <p:txBody>
          <a:bodyPr>
            <a:noAutofit/>
          </a:bodyPr>
          <a:lstStyle>
            <a:lvl1pPr algn="ctr">
              <a:defRPr sz="4000">
                <a:solidFill>
                  <a:schemeClr val="accent1"/>
                </a:solidFill>
                <a:latin typeface="+mj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pt-PT" dirty="0"/>
              <a:t>NR</a:t>
            </a:r>
          </a:p>
        </p:txBody>
      </p:sp>
      <p:sp>
        <p:nvSpPr>
          <p:cNvPr id="24" name="Marcador de Posição do Rodapé 4">
            <a:extLst>
              <a:ext uri="{FF2B5EF4-FFF2-40B4-BE49-F238E27FC236}">
                <a16:creationId xmlns:a16="http://schemas.microsoft.com/office/drawing/2014/main" id="{784FB4DE-1A07-4CDF-B158-C3BA13D9FC8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12762" y="6356350"/>
            <a:ext cx="534669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accent2"/>
                </a:solidFill>
              </a:defRPr>
            </a:lvl1pPr>
          </a:lstStyle>
          <a:p>
            <a:r>
              <a:rPr lang="pt-PT"/>
              <a:t>Título de la presentación</a:t>
            </a:r>
            <a:endParaRPr lang="pt-PT" dirty="0"/>
          </a:p>
        </p:txBody>
      </p:sp>
      <p:sp>
        <p:nvSpPr>
          <p:cNvPr id="25" name="Marcador de Posição do Número do Diapositivo 5">
            <a:extLst>
              <a:ext uri="{FF2B5EF4-FFF2-40B4-BE49-F238E27FC236}">
                <a16:creationId xmlns:a16="http://schemas.microsoft.com/office/drawing/2014/main" id="{A9405276-C9DD-40DC-BC14-842B94AAD81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936039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accent2"/>
                </a:solidFill>
              </a:defRPr>
            </a:lvl1pPr>
          </a:lstStyle>
          <a:p>
            <a:fld id="{24A347C2-D68E-473A-8C76-1D063E4EB6E0}" type="slidenum">
              <a:rPr lang="es-ES" smtClean="0"/>
              <a:pPr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47326140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9" dur="10" fill="hold"/>
                                        <p:tgtEl>
                                          <p:spTgt spid="9"/>
                                        </p:tgtEl>
                                      </p:cBhvr>
                                      <p:by x="125000" y="125000"/>
                                    </p:animScale>
                                  </p:childTnLst>
                                </p:cTn>
                              </p:par>
                              <p:par>
                                <p:cTn id="10" presetID="6" presetClass="emph" presetSubtype="0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11" dur="750" fill="hold"/>
                                        <p:tgtEl>
                                          <p:spTgt spid="9"/>
                                        </p:tgtEl>
                                      </p:cBhvr>
                                      <p:by x="80000" y="80000"/>
                                    </p:animScale>
                                  </p:childTnLst>
                                </p:cTn>
                              </p:par>
                              <p:par>
                                <p:cTn id="12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25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42" presetClass="path" presetSubtype="0" decel="100000" fill="hold" grpId="1" nodeType="withEffect">
                                  <p:stCondLst>
                                    <p:cond delay="250"/>
                                  </p:stCondLst>
                                  <p:childTnLst>
                                    <p:animMotion origin="layout" path="M 1.25E-6 0.03889 L 1.25E-6 1.85185E-6 " pathEditMode="relative" rAng="0" ptsTypes="AA">
                                      <p:cBhvr>
                                        <p:cTn id="16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944"/>
                                    </p:animMotion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25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42" presetClass="path" presetSubtype="0" decel="100000" fill="hold" grpId="1" nodeType="withEffect">
                                  <p:stCondLst>
                                    <p:cond delay="250"/>
                                  </p:stCondLst>
                                  <p:childTnLst>
                                    <p:animMotion origin="layout" path="M -3.75E-6 -0.03472 L -3.75E-6 1.85185E-6 " pathEditMode="relative" rAng="0" ptsTypes="AA">
                                      <p:cBhvr>
                                        <p:cTn id="21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736"/>
                                    </p:animMotion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10" presetClass="entr" presetSubtype="0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2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10" presetClass="entr" presetSubtype="0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" presetID="10" presetClass="entr" presetSubtype="0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500"/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6" presetID="10" presetClass="entr" presetSubtype="0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8" dur="500"/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9" presetID="10" presetClass="entr" presetSubtype="0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1" dur="500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2" presetID="10" presetClass="entr" presetSubtype="0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4" dur="500"/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5" presetID="10" presetClass="entr" presetSubtype="0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500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8" presetID="10" presetClass="entr" presetSubtype="0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0" dur="500"/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1" presetID="10" presetClass="entr" presetSubtype="0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3" dur="500"/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4" presetID="10" presetClass="entr" presetSubtype="0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6" dur="500"/>
                                        <p:tgtEl>
                                          <p:spTgt spid="1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/>
      <p:bldP spid="10" grpId="1"/>
      <p:bldP spid="11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250"/>
                        <p:tgtEl>
                          <p:spTgt spid="1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1" grpId="1">
        <p:tmplLst>
          <p:tmpl>
            <p:tnLst>
              <p:par>
                <p:cTn presetID="42" presetClass="path" presetSubtype="0" decel="100000" fill="hold" nodeType="withEffect">
                  <p:stCondLst>
                    <p:cond delay="250"/>
                  </p:stCondLst>
                  <p:childTnLst>
                    <p:animMotion origin="layout" path="M -3.75E-6 -0.03472 L -3.75E-6 1.85185E-6 " pathEditMode="relative" rAng="0" ptsTypes="AA">
                      <p:cBhvr>
                        <p:cTn dur="500" fill="hold"/>
                        <p:tgtEl>
                          <p:spTgt spid="11"/>
                        </p:tgtEl>
                        <p:attrNameLst>
                          <p:attrName>ppt_x</p:attrName>
                          <p:attrName>ppt_y</p:attrName>
                        </p:attrNameLst>
                      </p:cBhvr>
                      <p:rCtr x="0" y="1736"/>
                    </p:animMotion>
                  </p:childTnLst>
                </p:cTn>
              </p:par>
            </p:tnLst>
          </p:tmpl>
        </p:tmplLst>
      </p:bldP>
      <p:bldP spid="12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3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4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5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6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7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8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9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0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1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6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6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3_Esquema Personalizado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m 4" descr="Uma imagem com azul, Saturação de cores, Azul elétrico, água&#10;&#10;Os conteúdos gerados por IA podem estar incorretos.">
            <a:extLst>
              <a:ext uri="{FF2B5EF4-FFF2-40B4-BE49-F238E27FC236}">
                <a16:creationId xmlns:a16="http://schemas.microsoft.com/office/drawing/2014/main" id="{BE397CF9-AF8C-98A9-3872-1A97AA2810E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  <a:ln>
            <a:solidFill>
              <a:schemeClr val="bg1"/>
            </a:solidFill>
          </a:ln>
        </p:spPr>
      </p:pic>
      <p:sp>
        <p:nvSpPr>
          <p:cNvPr id="10" name="Retângulo 205">
            <a:extLst>
              <a:ext uri="{FF2B5EF4-FFF2-40B4-BE49-F238E27FC236}">
                <a16:creationId xmlns:a16="http://schemas.microsoft.com/office/drawing/2014/main" id="{4C3AB0B7-415E-D357-ACDC-E0FB19BA3BC7}"/>
              </a:ext>
            </a:extLst>
          </p:cNvPr>
          <p:cNvSpPr/>
          <p:nvPr userDrawn="1"/>
        </p:nvSpPr>
        <p:spPr>
          <a:xfrm rot="5400000">
            <a:off x="5915013" y="2095370"/>
            <a:ext cx="821097" cy="2396673"/>
          </a:xfrm>
          <a:custGeom>
            <a:avLst/>
            <a:gdLst>
              <a:gd name="connsiteX0" fmla="*/ 0 w 1635417"/>
              <a:gd name="connsiteY0" fmla="*/ 0 h 1179213"/>
              <a:gd name="connsiteX1" fmla="*/ 1635417 w 1635417"/>
              <a:gd name="connsiteY1" fmla="*/ 0 h 1179213"/>
              <a:gd name="connsiteX2" fmla="*/ 1635417 w 1635417"/>
              <a:gd name="connsiteY2" fmla="*/ 1179213 h 1179213"/>
              <a:gd name="connsiteX3" fmla="*/ 0 w 1635417"/>
              <a:gd name="connsiteY3" fmla="*/ 1179213 h 1179213"/>
              <a:gd name="connsiteX4" fmla="*/ 0 w 1635417"/>
              <a:gd name="connsiteY4" fmla="*/ 0 h 1179213"/>
              <a:gd name="connsiteX0" fmla="*/ 1635417 w 1726857"/>
              <a:gd name="connsiteY0" fmla="*/ 0 h 1179213"/>
              <a:gd name="connsiteX1" fmla="*/ 1635417 w 1726857"/>
              <a:gd name="connsiteY1" fmla="*/ 1179213 h 1179213"/>
              <a:gd name="connsiteX2" fmla="*/ 0 w 1726857"/>
              <a:gd name="connsiteY2" fmla="*/ 1179213 h 1179213"/>
              <a:gd name="connsiteX3" fmla="*/ 0 w 1726857"/>
              <a:gd name="connsiteY3" fmla="*/ 0 h 1179213"/>
              <a:gd name="connsiteX4" fmla="*/ 1726857 w 1726857"/>
              <a:gd name="connsiteY4" fmla="*/ 91440 h 1179213"/>
              <a:gd name="connsiteX0" fmla="*/ 1635417 w 1635417"/>
              <a:gd name="connsiteY0" fmla="*/ 0 h 1179213"/>
              <a:gd name="connsiteX1" fmla="*/ 1635417 w 1635417"/>
              <a:gd name="connsiteY1" fmla="*/ 1179213 h 1179213"/>
              <a:gd name="connsiteX2" fmla="*/ 0 w 1635417"/>
              <a:gd name="connsiteY2" fmla="*/ 1179213 h 1179213"/>
              <a:gd name="connsiteX3" fmla="*/ 0 w 1635417"/>
              <a:gd name="connsiteY3" fmla="*/ 0 h 1179213"/>
              <a:gd name="connsiteX0" fmla="*/ 1635417 w 1635417"/>
              <a:gd name="connsiteY0" fmla="*/ 1179213 h 1179213"/>
              <a:gd name="connsiteX1" fmla="*/ 0 w 1635417"/>
              <a:gd name="connsiteY1" fmla="*/ 1179213 h 1179213"/>
              <a:gd name="connsiteX2" fmla="*/ 0 w 1635417"/>
              <a:gd name="connsiteY2" fmla="*/ 0 h 11792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635417" h="1179213">
                <a:moveTo>
                  <a:pt x="1635417" y="1179213"/>
                </a:moveTo>
                <a:lnTo>
                  <a:pt x="0" y="1179213"/>
                </a:lnTo>
                <a:lnTo>
                  <a:pt x="0" y="0"/>
                </a:lnTo>
              </a:path>
            </a:pathLst>
          </a:custGeom>
          <a:noFill/>
          <a:ln w="6350" cap="sq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  <p:sp>
        <p:nvSpPr>
          <p:cNvPr id="27" name="Título 1">
            <a:extLst>
              <a:ext uri="{FF2B5EF4-FFF2-40B4-BE49-F238E27FC236}">
                <a16:creationId xmlns:a16="http://schemas.microsoft.com/office/drawing/2014/main" id="{0C91931B-9C9D-496F-AE1C-64E846B4708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84846" y="3293706"/>
            <a:ext cx="5992780" cy="1325563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es-ES" dirty="0"/>
              <a:t>Haz </a:t>
            </a:r>
            <a:r>
              <a:rPr lang="es-ES" dirty="0" err="1"/>
              <a:t>click</a:t>
            </a:r>
            <a:r>
              <a:rPr lang="es-ES" dirty="0"/>
              <a:t> para editar el estilo de título del modelo global</a:t>
            </a:r>
            <a:endParaRPr lang="pt-PT" dirty="0"/>
          </a:p>
        </p:txBody>
      </p:sp>
      <p:sp>
        <p:nvSpPr>
          <p:cNvPr id="28" name="Marcador de Posição do Texto 8">
            <a:extLst>
              <a:ext uri="{FF2B5EF4-FFF2-40B4-BE49-F238E27FC236}">
                <a16:creationId xmlns:a16="http://schemas.microsoft.com/office/drawing/2014/main" id="{8DC0C3D7-D0EB-4222-A934-F86AAD4EF11F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484845" y="4809252"/>
            <a:ext cx="5992781" cy="560515"/>
          </a:xfrm>
        </p:spPr>
        <p:txBody>
          <a:bodyPr>
            <a:normAutofit/>
          </a:bodyPr>
          <a:lstStyle>
            <a:lvl1pPr>
              <a:defRPr sz="2000">
                <a:solidFill>
                  <a:schemeClr val="bg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s-ES" dirty="0"/>
              <a:t>Inserta el subtítulo de la presentación</a:t>
            </a:r>
            <a:endParaRPr lang="pt-PT" dirty="0"/>
          </a:p>
        </p:txBody>
      </p:sp>
      <p:sp>
        <p:nvSpPr>
          <p:cNvPr id="29" name="Marcador de Posição do Texto 8">
            <a:extLst>
              <a:ext uri="{FF2B5EF4-FFF2-40B4-BE49-F238E27FC236}">
                <a16:creationId xmlns:a16="http://schemas.microsoft.com/office/drawing/2014/main" id="{C3CC8978-B95D-4224-983D-E5C55A453DE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484845" y="6050902"/>
            <a:ext cx="2866053" cy="261256"/>
          </a:xfrm>
        </p:spPr>
        <p:txBody>
          <a:bodyPr anchor="ctr">
            <a:normAutofit/>
          </a:bodyPr>
          <a:lstStyle>
            <a:lvl1pPr>
              <a:defRPr sz="1200">
                <a:solidFill>
                  <a:schemeClr val="bg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pt-PT" dirty="0"/>
              <a:t>Insertar otra información secundaria</a:t>
            </a:r>
          </a:p>
        </p:txBody>
      </p:sp>
      <p:sp>
        <p:nvSpPr>
          <p:cNvPr id="30" name="Marcador de Posição do Texto 8">
            <a:extLst>
              <a:ext uri="{FF2B5EF4-FFF2-40B4-BE49-F238E27FC236}">
                <a16:creationId xmlns:a16="http://schemas.microsoft.com/office/drawing/2014/main" id="{52DD30C5-8B8F-4CDA-917B-CB2CA9B3D2C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611573" y="6050902"/>
            <a:ext cx="2866053" cy="261256"/>
          </a:xfrm>
        </p:spPr>
        <p:txBody>
          <a:bodyPr anchor="ctr">
            <a:normAutofit/>
          </a:bodyPr>
          <a:lstStyle>
            <a:lvl1pPr algn="r">
              <a:defRPr sz="1200">
                <a:solidFill>
                  <a:schemeClr val="bg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pt-PT" dirty="0"/>
              <a:t>Inserta fecha</a:t>
            </a:r>
          </a:p>
        </p:txBody>
      </p:sp>
      <p:grpSp>
        <p:nvGrpSpPr>
          <p:cNvPr id="15" name="Gráfico 2">
            <a:extLst>
              <a:ext uri="{FF2B5EF4-FFF2-40B4-BE49-F238E27FC236}">
                <a16:creationId xmlns:a16="http://schemas.microsoft.com/office/drawing/2014/main" id="{73D0F0BA-8507-4432-9E1F-6532E1FB7BC4}"/>
              </a:ext>
            </a:extLst>
          </p:cNvPr>
          <p:cNvGrpSpPr/>
          <p:nvPr userDrawn="1"/>
        </p:nvGrpSpPr>
        <p:grpSpPr>
          <a:xfrm>
            <a:off x="856373" y="812654"/>
            <a:ext cx="3002916" cy="318309"/>
            <a:chOff x="0" y="2782824"/>
            <a:chExt cx="12192000" cy="1292352"/>
          </a:xfrm>
        </p:grpSpPr>
        <p:sp>
          <p:nvSpPr>
            <p:cNvPr id="16" name="Forma libre: forma 15">
              <a:extLst>
                <a:ext uri="{FF2B5EF4-FFF2-40B4-BE49-F238E27FC236}">
                  <a16:creationId xmlns:a16="http://schemas.microsoft.com/office/drawing/2014/main" id="{5F79C6F2-27D5-4521-804F-AEBAB4CF35A1}"/>
                </a:ext>
              </a:extLst>
            </p:cNvPr>
            <p:cNvSpPr/>
            <p:nvPr/>
          </p:nvSpPr>
          <p:spPr>
            <a:xfrm>
              <a:off x="3791306" y="2777053"/>
              <a:ext cx="1300480" cy="1300480"/>
            </a:xfrm>
            <a:custGeom>
              <a:avLst/>
              <a:gdLst>
                <a:gd name="connsiteX0" fmla="*/ 6096 w 1300480"/>
                <a:gd name="connsiteY0" fmla="*/ 653979 h 1300480"/>
                <a:gd name="connsiteX1" fmla="*/ 653979 w 1300480"/>
                <a:gd name="connsiteY1" fmla="*/ 6096 h 1300480"/>
                <a:gd name="connsiteX2" fmla="*/ 1301862 w 1300480"/>
                <a:gd name="connsiteY2" fmla="*/ 653979 h 1300480"/>
                <a:gd name="connsiteX3" fmla="*/ 653979 w 1300480"/>
                <a:gd name="connsiteY3" fmla="*/ 1301862 h 1300480"/>
                <a:gd name="connsiteX4" fmla="*/ 653898 w 1300480"/>
                <a:gd name="connsiteY4" fmla="*/ 1301862 h 1300480"/>
                <a:gd name="connsiteX5" fmla="*/ 6096 w 1300480"/>
                <a:gd name="connsiteY5" fmla="*/ 654060 h 1300480"/>
                <a:gd name="connsiteX6" fmla="*/ 6096 w 1300480"/>
                <a:gd name="connsiteY6" fmla="*/ 654060 h 1300480"/>
                <a:gd name="connsiteX7" fmla="*/ 653898 w 1300480"/>
                <a:gd name="connsiteY7" fmla="*/ 1091184 h 1300480"/>
                <a:gd name="connsiteX8" fmla="*/ 1091265 w 1300480"/>
                <a:gd name="connsiteY8" fmla="*/ 653979 h 1300480"/>
                <a:gd name="connsiteX9" fmla="*/ 654060 w 1300480"/>
                <a:gd name="connsiteY9" fmla="*/ 216611 h 1300480"/>
                <a:gd name="connsiteX10" fmla="*/ 216692 w 1300480"/>
                <a:gd name="connsiteY10" fmla="*/ 653816 h 1300480"/>
                <a:gd name="connsiteX11" fmla="*/ 216692 w 1300480"/>
                <a:gd name="connsiteY11" fmla="*/ 653979 h 1300480"/>
                <a:gd name="connsiteX12" fmla="*/ 653898 w 1300480"/>
                <a:gd name="connsiteY12" fmla="*/ 1091184 h 13004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300480" h="1300480">
                  <a:moveTo>
                    <a:pt x="6096" y="653979"/>
                  </a:moveTo>
                  <a:cubicBezTo>
                    <a:pt x="6096" y="296184"/>
                    <a:pt x="296184" y="6096"/>
                    <a:pt x="653979" y="6096"/>
                  </a:cubicBezTo>
                  <a:cubicBezTo>
                    <a:pt x="1011773" y="6096"/>
                    <a:pt x="1301862" y="296184"/>
                    <a:pt x="1301862" y="653979"/>
                  </a:cubicBezTo>
                  <a:cubicBezTo>
                    <a:pt x="1301862" y="1011773"/>
                    <a:pt x="1011773" y="1301862"/>
                    <a:pt x="653979" y="1301862"/>
                  </a:cubicBezTo>
                  <a:lnTo>
                    <a:pt x="653898" y="1301862"/>
                  </a:lnTo>
                  <a:cubicBezTo>
                    <a:pt x="296103" y="1301862"/>
                    <a:pt x="6096" y="1011855"/>
                    <a:pt x="6096" y="654060"/>
                  </a:cubicBezTo>
                  <a:lnTo>
                    <a:pt x="6096" y="654060"/>
                  </a:lnTo>
                  <a:moveTo>
                    <a:pt x="653898" y="1091184"/>
                  </a:moveTo>
                  <a:cubicBezTo>
                    <a:pt x="895380" y="1091184"/>
                    <a:pt x="1091184" y="895462"/>
                    <a:pt x="1091265" y="653979"/>
                  </a:cubicBezTo>
                  <a:cubicBezTo>
                    <a:pt x="1091265" y="412496"/>
                    <a:pt x="895543" y="216692"/>
                    <a:pt x="654060" y="216611"/>
                  </a:cubicBezTo>
                  <a:cubicBezTo>
                    <a:pt x="412577" y="216611"/>
                    <a:pt x="216774" y="412333"/>
                    <a:pt x="216692" y="653816"/>
                  </a:cubicBezTo>
                  <a:lnTo>
                    <a:pt x="216692" y="653979"/>
                  </a:lnTo>
                  <a:cubicBezTo>
                    <a:pt x="216692" y="895462"/>
                    <a:pt x="412415" y="1091184"/>
                    <a:pt x="653898" y="1091184"/>
                  </a:cubicBezTo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17" name="Forma libre: forma 16">
              <a:extLst>
                <a:ext uri="{FF2B5EF4-FFF2-40B4-BE49-F238E27FC236}">
                  <a16:creationId xmlns:a16="http://schemas.microsoft.com/office/drawing/2014/main" id="{DF708C1C-D6E9-426E-9A66-B1F866E9EC86}"/>
                </a:ext>
              </a:extLst>
            </p:cNvPr>
            <p:cNvSpPr/>
            <p:nvPr/>
          </p:nvSpPr>
          <p:spPr>
            <a:xfrm>
              <a:off x="1151981" y="2793797"/>
              <a:ext cx="219456" cy="1267968"/>
            </a:xfrm>
            <a:custGeom>
              <a:avLst/>
              <a:gdLst>
                <a:gd name="connsiteX0" fmla="*/ 216367 w 219456"/>
                <a:gd name="connsiteY0" fmla="*/ 6096 h 1267968"/>
                <a:gd name="connsiteX1" fmla="*/ 216367 w 219456"/>
                <a:gd name="connsiteY1" fmla="*/ 6096 h 1267968"/>
                <a:gd name="connsiteX2" fmla="*/ 216367 w 219456"/>
                <a:gd name="connsiteY2" fmla="*/ 1268212 h 1267968"/>
                <a:gd name="connsiteX3" fmla="*/ 6096 w 219456"/>
                <a:gd name="connsiteY3" fmla="*/ 1268212 h 1267968"/>
                <a:gd name="connsiteX4" fmla="*/ 6096 w 219456"/>
                <a:gd name="connsiteY4" fmla="*/ 216449 h 1267968"/>
                <a:gd name="connsiteX5" fmla="*/ 216367 w 219456"/>
                <a:gd name="connsiteY5" fmla="*/ 6096 h 126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19456" h="1267968">
                  <a:moveTo>
                    <a:pt x="216367" y="6096"/>
                  </a:moveTo>
                  <a:lnTo>
                    <a:pt x="216367" y="6096"/>
                  </a:lnTo>
                  <a:lnTo>
                    <a:pt x="216367" y="1268212"/>
                  </a:lnTo>
                  <a:lnTo>
                    <a:pt x="6096" y="1268212"/>
                  </a:lnTo>
                  <a:lnTo>
                    <a:pt x="6096" y="216449"/>
                  </a:lnTo>
                  <a:cubicBezTo>
                    <a:pt x="6096" y="100300"/>
                    <a:pt x="100218" y="6177"/>
                    <a:pt x="216367" y="6096"/>
                  </a:cubicBezTo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18" name="Forma libre: forma 17">
              <a:extLst>
                <a:ext uri="{FF2B5EF4-FFF2-40B4-BE49-F238E27FC236}">
                  <a16:creationId xmlns:a16="http://schemas.microsoft.com/office/drawing/2014/main" id="{FB77A0A0-A7E5-4403-8339-34F404A73A59}"/>
                </a:ext>
              </a:extLst>
            </p:cNvPr>
            <p:cNvSpPr/>
            <p:nvPr/>
          </p:nvSpPr>
          <p:spPr>
            <a:xfrm>
              <a:off x="9373128" y="2793797"/>
              <a:ext cx="219456" cy="1267968"/>
            </a:xfrm>
            <a:custGeom>
              <a:avLst/>
              <a:gdLst>
                <a:gd name="connsiteX0" fmla="*/ 216368 w 219456"/>
                <a:gd name="connsiteY0" fmla="*/ 6096 h 1267968"/>
                <a:gd name="connsiteX1" fmla="*/ 216368 w 219456"/>
                <a:gd name="connsiteY1" fmla="*/ 6096 h 1267968"/>
                <a:gd name="connsiteX2" fmla="*/ 216368 w 219456"/>
                <a:gd name="connsiteY2" fmla="*/ 1268212 h 1267968"/>
                <a:gd name="connsiteX3" fmla="*/ 6096 w 219456"/>
                <a:gd name="connsiteY3" fmla="*/ 1268212 h 1267968"/>
                <a:gd name="connsiteX4" fmla="*/ 6096 w 219456"/>
                <a:gd name="connsiteY4" fmla="*/ 216449 h 1267968"/>
                <a:gd name="connsiteX5" fmla="*/ 216287 w 219456"/>
                <a:gd name="connsiteY5" fmla="*/ 6096 h 1267968"/>
                <a:gd name="connsiteX6" fmla="*/ 216368 w 219456"/>
                <a:gd name="connsiteY6" fmla="*/ 6096 h 126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19456" h="1267968">
                  <a:moveTo>
                    <a:pt x="216368" y="6096"/>
                  </a:moveTo>
                  <a:lnTo>
                    <a:pt x="216368" y="6096"/>
                  </a:lnTo>
                  <a:lnTo>
                    <a:pt x="216368" y="1268212"/>
                  </a:lnTo>
                  <a:lnTo>
                    <a:pt x="6096" y="1268212"/>
                  </a:lnTo>
                  <a:lnTo>
                    <a:pt x="6096" y="216449"/>
                  </a:lnTo>
                  <a:cubicBezTo>
                    <a:pt x="6096" y="100300"/>
                    <a:pt x="100138" y="6177"/>
                    <a:pt x="216287" y="6096"/>
                  </a:cubicBezTo>
                  <a:lnTo>
                    <a:pt x="216368" y="6096"/>
                  </a:lnTo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19" name="Forma libre: forma 18">
              <a:extLst>
                <a:ext uri="{FF2B5EF4-FFF2-40B4-BE49-F238E27FC236}">
                  <a16:creationId xmlns:a16="http://schemas.microsoft.com/office/drawing/2014/main" id="{46F33121-599C-4736-8123-49CB2C2767F3}"/>
                </a:ext>
              </a:extLst>
            </p:cNvPr>
            <p:cNvSpPr/>
            <p:nvPr/>
          </p:nvSpPr>
          <p:spPr>
            <a:xfrm>
              <a:off x="8111012" y="2793878"/>
              <a:ext cx="1056640" cy="1267968"/>
            </a:xfrm>
            <a:custGeom>
              <a:avLst/>
              <a:gdLst>
                <a:gd name="connsiteX0" fmla="*/ 74046 w 1056640"/>
                <a:gd name="connsiteY0" fmla="*/ 6096 h 1267968"/>
                <a:gd name="connsiteX1" fmla="*/ 6096 w 1056640"/>
                <a:gd name="connsiteY1" fmla="*/ 216367 h 1267968"/>
                <a:gd name="connsiteX2" fmla="*/ 426802 w 1056640"/>
                <a:gd name="connsiteY2" fmla="*/ 216367 h 1267968"/>
                <a:gd name="connsiteX3" fmla="*/ 426802 w 1056640"/>
                <a:gd name="connsiteY3" fmla="*/ 1268131 h 1267968"/>
                <a:gd name="connsiteX4" fmla="*/ 637155 w 1056640"/>
                <a:gd name="connsiteY4" fmla="*/ 1268131 h 1267968"/>
                <a:gd name="connsiteX5" fmla="*/ 637155 w 1056640"/>
                <a:gd name="connsiteY5" fmla="*/ 216367 h 1267968"/>
                <a:gd name="connsiteX6" fmla="*/ 847507 w 1056640"/>
                <a:gd name="connsiteY6" fmla="*/ 216367 h 1267968"/>
                <a:gd name="connsiteX7" fmla="*/ 1057860 w 1056640"/>
                <a:gd name="connsiteY7" fmla="*/ 6096 h 1267968"/>
                <a:gd name="connsiteX8" fmla="*/ 74046 w 1056640"/>
                <a:gd name="connsiteY8" fmla="*/ 6096 h 126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056640" h="1267968">
                  <a:moveTo>
                    <a:pt x="74046" y="6096"/>
                  </a:moveTo>
                  <a:lnTo>
                    <a:pt x="6096" y="216367"/>
                  </a:lnTo>
                  <a:lnTo>
                    <a:pt x="426802" y="216367"/>
                  </a:lnTo>
                  <a:lnTo>
                    <a:pt x="426802" y="1268131"/>
                  </a:lnTo>
                  <a:lnTo>
                    <a:pt x="637155" y="1268131"/>
                  </a:lnTo>
                  <a:lnTo>
                    <a:pt x="637155" y="216367"/>
                  </a:lnTo>
                  <a:lnTo>
                    <a:pt x="847507" y="216367"/>
                  </a:lnTo>
                  <a:cubicBezTo>
                    <a:pt x="963656" y="216367"/>
                    <a:pt x="1057779" y="122245"/>
                    <a:pt x="1057860" y="6096"/>
                  </a:cubicBezTo>
                  <a:lnTo>
                    <a:pt x="74046" y="6096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31" name="Forma libre: forma 30">
              <a:extLst>
                <a:ext uri="{FF2B5EF4-FFF2-40B4-BE49-F238E27FC236}">
                  <a16:creationId xmlns:a16="http://schemas.microsoft.com/office/drawing/2014/main" id="{D38B550A-E5AB-46BA-88A2-84BD2027FCA5}"/>
                </a:ext>
              </a:extLst>
            </p:cNvPr>
            <p:cNvSpPr/>
            <p:nvPr/>
          </p:nvSpPr>
          <p:spPr>
            <a:xfrm>
              <a:off x="1602108" y="2793797"/>
              <a:ext cx="845312" cy="1267968"/>
            </a:xfrm>
            <a:custGeom>
              <a:avLst/>
              <a:gdLst>
                <a:gd name="connsiteX0" fmla="*/ 216288 w 845312"/>
                <a:gd name="connsiteY0" fmla="*/ 1057859 h 1267968"/>
                <a:gd name="connsiteX1" fmla="*/ 216288 w 845312"/>
                <a:gd name="connsiteY1" fmla="*/ 6096 h 1267968"/>
                <a:gd name="connsiteX2" fmla="*/ 6098 w 845312"/>
                <a:gd name="connsiteY2" fmla="*/ 6096 h 1267968"/>
                <a:gd name="connsiteX3" fmla="*/ 6098 w 845312"/>
                <a:gd name="connsiteY3" fmla="*/ 1057859 h 1267968"/>
                <a:gd name="connsiteX4" fmla="*/ 6098 w 845312"/>
                <a:gd name="connsiteY4" fmla="*/ 1057859 h 1267968"/>
                <a:gd name="connsiteX5" fmla="*/ 14226 w 845312"/>
                <a:gd name="connsiteY5" fmla="*/ 1116706 h 1267968"/>
                <a:gd name="connsiteX6" fmla="*/ 15201 w 845312"/>
                <a:gd name="connsiteY6" fmla="*/ 1120364 h 1267968"/>
                <a:gd name="connsiteX7" fmla="*/ 17071 w 845312"/>
                <a:gd name="connsiteY7" fmla="*/ 1125566 h 1267968"/>
                <a:gd name="connsiteX8" fmla="*/ 22598 w 845312"/>
                <a:gd name="connsiteY8" fmla="*/ 1140358 h 1267968"/>
                <a:gd name="connsiteX9" fmla="*/ 52021 w 845312"/>
                <a:gd name="connsiteY9" fmla="*/ 1189126 h 1267968"/>
                <a:gd name="connsiteX10" fmla="*/ 124685 w 845312"/>
                <a:gd name="connsiteY10" fmla="*/ 1246916 h 1267968"/>
                <a:gd name="connsiteX11" fmla="*/ 216125 w 845312"/>
                <a:gd name="connsiteY11" fmla="*/ 1268049 h 1267968"/>
                <a:gd name="connsiteX12" fmla="*/ 776957 w 845312"/>
                <a:gd name="connsiteY12" fmla="*/ 1268049 h 1267968"/>
                <a:gd name="connsiteX13" fmla="*/ 847021 w 845312"/>
                <a:gd name="connsiteY13" fmla="*/ 1057697 h 1267968"/>
                <a:gd name="connsiteX14" fmla="*/ 216288 w 845312"/>
                <a:gd name="connsiteY14" fmla="*/ 1057859 h 126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845312" h="1267968">
                  <a:moveTo>
                    <a:pt x="216288" y="1057859"/>
                  </a:moveTo>
                  <a:lnTo>
                    <a:pt x="216288" y="6096"/>
                  </a:lnTo>
                  <a:lnTo>
                    <a:pt x="6098" y="6096"/>
                  </a:lnTo>
                  <a:lnTo>
                    <a:pt x="6098" y="1057859"/>
                  </a:lnTo>
                  <a:lnTo>
                    <a:pt x="6098" y="1057859"/>
                  </a:lnTo>
                  <a:cubicBezTo>
                    <a:pt x="6017" y="1077773"/>
                    <a:pt x="8699" y="1097605"/>
                    <a:pt x="14226" y="1116706"/>
                  </a:cubicBezTo>
                  <a:cubicBezTo>
                    <a:pt x="14632" y="1117925"/>
                    <a:pt x="14795" y="1119226"/>
                    <a:pt x="15201" y="1120364"/>
                  </a:cubicBezTo>
                  <a:cubicBezTo>
                    <a:pt x="15608" y="1121502"/>
                    <a:pt x="16502" y="1123859"/>
                    <a:pt x="17071" y="1125566"/>
                  </a:cubicBezTo>
                  <a:cubicBezTo>
                    <a:pt x="18777" y="1130605"/>
                    <a:pt x="20566" y="1135563"/>
                    <a:pt x="22598" y="1140358"/>
                  </a:cubicBezTo>
                  <a:cubicBezTo>
                    <a:pt x="30157" y="1157915"/>
                    <a:pt x="40073" y="1174252"/>
                    <a:pt x="52021" y="1189126"/>
                  </a:cubicBezTo>
                  <a:cubicBezTo>
                    <a:pt x="71691" y="1213510"/>
                    <a:pt x="96481" y="1233262"/>
                    <a:pt x="124685" y="1246916"/>
                  </a:cubicBezTo>
                  <a:cubicBezTo>
                    <a:pt x="153215" y="1260734"/>
                    <a:pt x="184426" y="1267968"/>
                    <a:pt x="216125" y="1268049"/>
                  </a:cubicBezTo>
                  <a:lnTo>
                    <a:pt x="776957" y="1268049"/>
                  </a:lnTo>
                  <a:lnTo>
                    <a:pt x="847021" y="1057697"/>
                  </a:lnTo>
                  <a:lnTo>
                    <a:pt x="216288" y="1057859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32" name="Forma libre: forma 31">
              <a:extLst>
                <a:ext uri="{FF2B5EF4-FFF2-40B4-BE49-F238E27FC236}">
                  <a16:creationId xmlns:a16="http://schemas.microsoft.com/office/drawing/2014/main" id="{C9E819D1-EFDC-46F5-BB64-284340F9B5BF}"/>
                </a:ext>
              </a:extLst>
            </p:cNvPr>
            <p:cNvSpPr/>
            <p:nvPr/>
          </p:nvSpPr>
          <p:spPr>
            <a:xfrm>
              <a:off x="-6096" y="2794284"/>
              <a:ext cx="959104" cy="1267968"/>
            </a:xfrm>
            <a:custGeom>
              <a:avLst/>
              <a:gdLst>
                <a:gd name="connsiteX0" fmla="*/ 818815 w 959104"/>
                <a:gd name="connsiteY0" fmla="*/ 411764 h 1267968"/>
                <a:gd name="connsiteX1" fmla="*/ 818815 w 959104"/>
                <a:gd name="connsiteY1" fmla="*/ 285699 h 1267968"/>
                <a:gd name="connsiteX2" fmla="*/ 539130 w 959104"/>
                <a:gd name="connsiteY2" fmla="*/ 6096 h 1267968"/>
                <a:gd name="connsiteX3" fmla="*/ 6096 w 959104"/>
                <a:gd name="connsiteY3" fmla="*/ 6096 h 1267968"/>
                <a:gd name="connsiteX4" fmla="*/ 6096 w 959104"/>
                <a:gd name="connsiteY4" fmla="*/ 1057047 h 1267968"/>
                <a:gd name="connsiteX5" fmla="*/ 216367 w 959104"/>
                <a:gd name="connsiteY5" fmla="*/ 1267399 h 1267968"/>
                <a:gd name="connsiteX6" fmla="*/ 532140 w 959104"/>
                <a:gd name="connsiteY6" fmla="*/ 1267399 h 1267968"/>
                <a:gd name="connsiteX7" fmla="*/ 953821 w 959104"/>
                <a:gd name="connsiteY7" fmla="*/ 892861 h 1267968"/>
                <a:gd name="connsiteX8" fmla="*/ 603260 w 959104"/>
                <a:gd name="connsiteY8" fmla="*/ 530596 h 1267968"/>
                <a:gd name="connsiteX9" fmla="*/ 218562 w 959104"/>
                <a:gd name="connsiteY9" fmla="*/ 531490 h 1267968"/>
                <a:gd name="connsiteX10" fmla="*/ 424282 w 959104"/>
                <a:gd name="connsiteY10" fmla="*/ 737210 h 1267968"/>
                <a:gd name="connsiteX11" fmla="*/ 424932 w 959104"/>
                <a:gd name="connsiteY11" fmla="*/ 737210 h 1267968"/>
                <a:gd name="connsiteX12" fmla="*/ 585785 w 959104"/>
                <a:gd name="connsiteY12" fmla="*/ 737210 h 1267968"/>
                <a:gd name="connsiteX13" fmla="*/ 758261 w 959104"/>
                <a:gd name="connsiteY13" fmla="*/ 889203 h 1267968"/>
                <a:gd name="connsiteX14" fmla="*/ 606268 w 959104"/>
                <a:gd name="connsiteY14" fmla="*/ 1061679 h 1267968"/>
                <a:gd name="connsiteX15" fmla="*/ 585704 w 959104"/>
                <a:gd name="connsiteY15" fmla="*/ 1061679 h 1267968"/>
                <a:gd name="connsiteX16" fmla="*/ 216530 w 959104"/>
                <a:gd name="connsiteY16" fmla="*/ 1061679 h 1267968"/>
                <a:gd name="connsiteX17" fmla="*/ 216530 w 959104"/>
                <a:gd name="connsiteY17" fmla="*/ 211653 h 1267968"/>
                <a:gd name="connsiteX18" fmla="*/ 467685 w 959104"/>
                <a:gd name="connsiteY18" fmla="*/ 211653 h 1267968"/>
                <a:gd name="connsiteX19" fmla="*/ 612689 w 959104"/>
                <a:gd name="connsiteY19" fmla="*/ 356575 h 1267968"/>
                <a:gd name="connsiteX20" fmla="*/ 612689 w 959104"/>
                <a:gd name="connsiteY20" fmla="*/ 530352 h 1267968"/>
                <a:gd name="connsiteX21" fmla="*/ 818815 w 959104"/>
                <a:gd name="connsiteY21" fmla="*/ 411764 h 126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959104" h="1267968">
                  <a:moveTo>
                    <a:pt x="818815" y="411764"/>
                  </a:moveTo>
                  <a:lnTo>
                    <a:pt x="818815" y="285699"/>
                  </a:lnTo>
                  <a:cubicBezTo>
                    <a:pt x="818815" y="131267"/>
                    <a:pt x="693562" y="6096"/>
                    <a:pt x="539130" y="6096"/>
                  </a:cubicBezTo>
                  <a:lnTo>
                    <a:pt x="6096" y="6096"/>
                  </a:lnTo>
                  <a:lnTo>
                    <a:pt x="6096" y="1057047"/>
                  </a:lnTo>
                  <a:cubicBezTo>
                    <a:pt x="6096" y="1173196"/>
                    <a:pt x="100218" y="1267318"/>
                    <a:pt x="216367" y="1267399"/>
                  </a:cubicBezTo>
                  <a:lnTo>
                    <a:pt x="532140" y="1267399"/>
                  </a:lnTo>
                  <a:cubicBezTo>
                    <a:pt x="807436" y="1267399"/>
                    <a:pt x="953821" y="1096711"/>
                    <a:pt x="953821" y="892861"/>
                  </a:cubicBezTo>
                  <a:cubicBezTo>
                    <a:pt x="953821" y="725587"/>
                    <a:pt x="840029" y="530596"/>
                    <a:pt x="603260" y="530596"/>
                  </a:cubicBezTo>
                  <a:lnTo>
                    <a:pt x="218562" y="531490"/>
                  </a:lnTo>
                  <a:cubicBezTo>
                    <a:pt x="218562" y="645119"/>
                    <a:pt x="310652" y="737210"/>
                    <a:pt x="424282" y="737210"/>
                  </a:cubicBezTo>
                  <a:cubicBezTo>
                    <a:pt x="424525" y="737210"/>
                    <a:pt x="424688" y="737210"/>
                    <a:pt x="424932" y="737210"/>
                  </a:cubicBezTo>
                  <a:lnTo>
                    <a:pt x="585785" y="737210"/>
                  </a:lnTo>
                  <a:cubicBezTo>
                    <a:pt x="675356" y="731520"/>
                    <a:pt x="752653" y="799551"/>
                    <a:pt x="758261" y="889203"/>
                  </a:cubicBezTo>
                  <a:cubicBezTo>
                    <a:pt x="763951" y="978774"/>
                    <a:pt x="695919" y="1056071"/>
                    <a:pt x="606268" y="1061679"/>
                  </a:cubicBezTo>
                  <a:cubicBezTo>
                    <a:pt x="599440" y="1062086"/>
                    <a:pt x="592531" y="1062086"/>
                    <a:pt x="585704" y="1061679"/>
                  </a:cubicBezTo>
                  <a:lnTo>
                    <a:pt x="216530" y="1061679"/>
                  </a:lnTo>
                  <a:lnTo>
                    <a:pt x="216530" y="211653"/>
                  </a:lnTo>
                  <a:lnTo>
                    <a:pt x="467685" y="211653"/>
                  </a:lnTo>
                  <a:cubicBezTo>
                    <a:pt x="547014" y="213441"/>
                    <a:pt x="610901" y="277246"/>
                    <a:pt x="612689" y="356575"/>
                  </a:cubicBezTo>
                  <a:lnTo>
                    <a:pt x="612689" y="530352"/>
                  </a:lnTo>
                  <a:lnTo>
                    <a:pt x="818815" y="411764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33" name="Forma libre: forma 32">
              <a:extLst>
                <a:ext uri="{FF2B5EF4-FFF2-40B4-BE49-F238E27FC236}">
                  <a16:creationId xmlns:a16="http://schemas.microsoft.com/office/drawing/2014/main" id="{70149797-42D2-4DD2-95CA-ED3E5509B74F}"/>
                </a:ext>
              </a:extLst>
            </p:cNvPr>
            <p:cNvSpPr/>
            <p:nvPr/>
          </p:nvSpPr>
          <p:spPr>
            <a:xfrm>
              <a:off x="2653792" y="2794284"/>
              <a:ext cx="959104" cy="1267968"/>
            </a:xfrm>
            <a:custGeom>
              <a:avLst/>
              <a:gdLst>
                <a:gd name="connsiteX0" fmla="*/ 818896 w 959104"/>
                <a:gd name="connsiteY0" fmla="*/ 411764 h 1267968"/>
                <a:gd name="connsiteX1" fmla="*/ 818896 w 959104"/>
                <a:gd name="connsiteY1" fmla="*/ 285699 h 1267968"/>
                <a:gd name="connsiteX2" fmla="*/ 539212 w 959104"/>
                <a:gd name="connsiteY2" fmla="*/ 6096 h 1267968"/>
                <a:gd name="connsiteX3" fmla="*/ 6096 w 959104"/>
                <a:gd name="connsiteY3" fmla="*/ 6096 h 1267968"/>
                <a:gd name="connsiteX4" fmla="*/ 6096 w 959104"/>
                <a:gd name="connsiteY4" fmla="*/ 1057047 h 1267968"/>
                <a:gd name="connsiteX5" fmla="*/ 216449 w 959104"/>
                <a:gd name="connsiteY5" fmla="*/ 1267399 h 1267968"/>
                <a:gd name="connsiteX6" fmla="*/ 532222 w 959104"/>
                <a:gd name="connsiteY6" fmla="*/ 1267399 h 1267968"/>
                <a:gd name="connsiteX7" fmla="*/ 953821 w 959104"/>
                <a:gd name="connsiteY7" fmla="*/ 892861 h 1267968"/>
                <a:gd name="connsiteX8" fmla="*/ 603342 w 959104"/>
                <a:gd name="connsiteY8" fmla="*/ 530596 h 1267968"/>
                <a:gd name="connsiteX9" fmla="*/ 218643 w 959104"/>
                <a:gd name="connsiteY9" fmla="*/ 531490 h 1267968"/>
                <a:gd name="connsiteX10" fmla="*/ 424363 w 959104"/>
                <a:gd name="connsiteY10" fmla="*/ 737210 h 1267968"/>
                <a:gd name="connsiteX11" fmla="*/ 424932 w 959104"/>
                <a:gd name="connsiteY11" fmla="*/ 737210 h 1267968"/>
                <a:gd name="connsiteX12" fmla="*/ 585866 w 959104"/>
                <a:gd name="connsiteY12" fmla="*/ 737210 h 1267968"/>
                <a:gd name="connsiteX13" fmla="*/ 737860 w 959104"/>
                <a:gd name="connsiteY13" fmla="*/ 909686 h 1267968"/>
                <a:gd name="connsiteX14" fmla="*/ 585866 w 959104"/>
                <a:gd name="connsiteY14" fmla="*/ 1061679 h 1267968"/>
                <a:gd name="connsiteX15" fmla="*/ 216611 w 959104"/>
                <a:gd name="connsiteY15" fmla="*/ 1061679 h 1267968"/>
                <a:gd name="connsiteX16" fmla="*/ 216611 w 959104"/>
                <a:gd name="connsiteY16" fmla="*/ 211653 h 1267968"/>
                <a:gd name="connsiteX17" fmla="*/ 467766 w 959104"/>
                <a:gd name="connsiteY17" fmla="*/ 211653 h 1267968"/>
                <a:gd name="connsiteX18" fmla="*/ 612770 w 959104"/>
                <a:gd name="connsiteY18" fmla="*/ 356575 h 1267968"/>
                <a:gd name="connsiteX19" fmla="*/ 612770 w 959104"/>
                <a:gd name="connsiteY19" fmla="*/ 530352 h 1267968"/>
                <a:gd name="connsiteX20" fmla="*/ 818896 w 959104"/>
                <a:gd name="connsiteY20" fmla="*/ 411764 h 126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959104" h="1267968">
                  <a:moveTo>
                    <a:pt x="818896" y="411764"/>
                  </a:moveTo>
                  <a:lnTo>
                    <a:pt x="818896" y="285699"/>
                  </a:lnTo>
                  <a:cubicBezTo>
                    <a:pt x="818896" y="131267"/>
                    <a:pt x="693644" y="6096"/>
                    <a:pt x="539212" y="6096"/>
                  </a:cubicBezTo>
                  <a:lnTo>
                    <a:pt x="6096" y="6096"/>
                  </a:lnTo>
                  <a:lnTo>
                    <a:pt x="6096" y="1057047"/>
                  </a:lnTo>
                  <a:cubicBezTo>
                    <a:pt x="6096" y="1173196"/>
                    <a:pt x="100299" y="1267399"/>
                    <a:pt x="216449" y="1267399"/>
                  </a:cubicBezTo>
                  <a:lnTo>
                    <a:pt x="532222" y="1267399"/>
                  </a:lnTo>
                  <a:cubicBezTo>
                    <a:pt x="807517" y="1267399"/>
                    <a:pt x="953821" y="1096711"/>
                    <a:pt x="953821" y="892861"/>
                  </a:cubicBezTo>
                  <a:cubicBezTo>
                    <a:pt x="953821" y="725587"/>
                    <a:pt x="840029" y="530596"/>
                    <a:pt x="603342" y="530596"/>
                  </a:cubicBezTo>
                  <a:lnTo>
                    <a:pt x="218643" y="531490"/>
                  </a:lnTo>
                  <a:cubicBezTo>
                    <a:pt x="218643" y="645119"/>
                    <a:pt x="310734" y="737210"/>
                    <a:pt x="424363" y="737210"/>
                  </a:cubicBezTo>
                  <a:cubicBezTo>
                    <a:pt x="424526" y="737210"/>
                    <a:pt x="424769" y="737210"/>
                    <a:pt x="424932" y="737210"/>
                  </a:cubicBezTo>
                  <a:lnTo>
                    <a:pt x="585866" y="737210"/>
                  </a:lnTo>
                  <a:cubicBezTo>
                    <a:pt x="675437" y="742899"/>
                    <a:pt x="743468" y="820115"/>
                    <a:pt x="737860" y="909686"/>
                  </a:cubicBezTo>
                  <a:cubicBezTo>
                    <a:pt x="732658" y="991372"/>
                    <a:pt x="667553" y="1056477"/>
                    <a:pt x="585866" y="1061679"/>
                  </a:cubicBezTo>
                  <a:lnTo>
                    <a:pt x="216611" y="1061679"/>
                  </a:lnTo>
                  <a:lnTo>
                    <a:pt x="216611" y="211653"/>
                  </a:lnTo>
                  <a:lnTo>
                    <a:pt x="467766" y="211653"/>
                  </a:lnTo>
                  <a:cubicBezTo>
                    <a:pt x="547096" y="213441"/>
                    <a:pt x="610982" y="277246"/>
                    <a:pt x="612770" y="356575"/>
                  </a:cubicBezTo>
                  <a:lnTo>
                    <a:pt x="612770" y="530352"/>
                  </a:lnTo>
                  <a:lnTo>
                    <a:pt x="818896" y="411764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34" name="Forma libre: forma 33">
              <a:extLst>
                <a:ext uri="{FF2B5EF4-FFF2-40B4-BE49-F238E27FC236}">
                  <a16:creationId xmlns:a16="http://schemas.microsoft.com/office/drawing/2014/main" id="{8DF37A24-CC71-4097-8BA6-77D08EB83D1C}"/>
                </a:ext>
              </a:extLst>
            </p:cNvPr>
            <p:cNvSpPr/>
            <p:nvPr/>
          </p:nvSpPr>
          <p:spPr>
            <a:xfrm>
              <a:off x="5297343" y="2793878"/>
              <a:ext cx="219456" cy="1267968"/>
            </a:xfrm>
            <a:custGeom>
              <a:avLst/>
              <a:gdLst>
                <a:gd name="connsiteX0" fmla="*/ 6096 w 219456"/>
                <a:gd name="connsiteY0" fmla="*/ 6096 h 1267968"/>
                <a:gd name="connsiteX1" fmla="*/ 216449 w 219456"/>
                <a:gd name="connsiteY1" fmla="*/ 6096 h 1267968"/>
                <a:gd name="connsiteX2" fmla="*/ 216449 w 219456"/>
                <a:gd name="connsiteY2" fmla="*/ 1268212 h 1267968"/>
                <a:gd name="connsiteX3" fmla="*/ 6096 w 219456"/>
                <a:gd name="connsiteY3" fmla="*/ 1268212 h 126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19456" h="1267968">
                  <a:moveTo>
                    <a:pt x="6096" y="6096"/>
                  </a:moveTo>
                  <a:lnTo>
                    <a:pt x="216449" y="6096"/>
                  </a:lnTo>
                  <a:lnTo>
                    <a:pt x="216449" y="1268212"/>
                  </a:lnTo>
                  <a:lnTo>
                    <a:pt x="6096" y="1268212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35" name="Forma libre: forma 34">
              <a:extLst>
                <a:ext uri="{FF2B5EF4-FFF2-40B4-BE49-F238E27FC236}">
                  <a16:creationId xmlns:a16="http://schemas.microsoft.com/office/drawing/2014/main" id="{39FDEB6F-3E1A-45DB-8175-3F01F9D4A48C}"/>
                </a:ext>
              </a:extLst>
            </p:cNvPr>
            <p:cNvSpPr/>
            <p:nvPr/>
          </p:nvSpPr>
          <p:spPr>
            <a:xfrm>
              <a:off x="5507695" y="2793634"/>
              <a:ext cx="487680" cy="1267968"/>
            </a:xfrm>
            <a:custGeom>
              <a:avLst/>
              <a:gdLst>
                <a:gd name="connsiteX0" fmla="*/ 426557 w 487680"/>
                <a:gd name="connsiteY0" fmla="*/ 1268375 h 1267968"/>
                <a:gd name="connsiteX1" fmla="*/ 485323 w 487680"/>
                <a:gd name="connsiteY1" fmla="*/ 1268375 h 1267968"/>
                <a:gd name="connsiteX2" fmla="*/ 248067 w 487680"/>
                <a:gd name="connsiteY2" fmla="*/ 154838 h 1267968"/>
                <a:gd name="connsiteX3" fmla="*/ 64861 w 487680"/>
                <a:gd name="connsiteY3" fmla="*/ 6096 h 1267968"/>
                <a:gd name="connsiteX4" fmla="*/ 6096 w 487680"/>
                <a:gd name="connsiteY4" fmla="*/ 6096 h 1267968"/>
                <a:gd name="connsiteX5" fmla="*/ 243352 w 487680"/>
                <a:gd name="connsiteY5" fmla="*/ 1119632 h 1267968"/>
                <a:gd name="connsiteX6" fmla="*/ 426557 w 487680"/>
                <a:gd name="connsiteY6" fmla="*/ 1267968 h 126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87680" h="1267968">
                  <a:moveTo>
                    <a:pt x="426557" y="1268375"/>
                  </a:moveTo>
                  <a:lnTo>
                    <a:pt x="485323" y="1268375"/>
                  </a:lnTo>
                  <a:lnTo>
                    <a:pt x="248067" y="154838"/>
                  </a:lnTo>
                  <a:cubicBezTo>
                    <a:pt x="229535" y="68356"/>
                    <a:pt x="153294" y="6421"/>
                    <a:pt x="64861" y="6096"/>
                  </a:cubicBezTo>
                  <a:lnTo>
                    <a:pt x="6096" y="6096"/>
                  </a:lnTo>
                  <a:lnTo>
                    <a:pt x="243352" y="1119632"/>
                  </a:lnTo>
                  <a:cubicBezTo>
                    <a:pt x="261803" y="1206114"/>
                    <a:pt x="338125" y="1267887"/>
                    <a:pt x="426557" y="1267968"/>
                  </a:cubicBezTo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36" name="Forma libre: forma 35">
              <a:extLst>
                <a:ext uri="{FF2B5EF4-FFF2-40B4-BE49-F238E27FC236}">
                  <a16:creationId xmlns:a16="http://schemas.microsoft.com/office/drawing/2014/main" id="{8A05D280-CC50-41D2-A6B3-E8E86E0E8B7B}"/>
                </a:ext>
              </a:extLst>
            </p:cNvPr>
            <p:cNvSpPr/>
            <p:nvPr/>
          </p:nvSpPr>
          <p:spPr>
            <a:xfrm>
              <a:off x="5986922" y="2794284"/>
              <a:ext cx="487680" cy="1267968"/>
            </a:xfrm>
            <a:custGeom>
              <a:avLst/>
              <a:gdLst>
                <a:gd name="connsiteX0" fmla="*/ 243271 w 487680"/>
                <a:gd name="connsiteY0" fmla="*/ 154595 h 1267968"/>
                <a:gd name="connsiteX1" fmla="*/ 6096 w 487680"/>
                <a:gd name="connsiteY1" fmla="*/ 1268131 h 1267968"/>
                <a:gd name="connsiteX2" fmla="*/ 216367 w 487680"/>
                <a:gd name="connsiteY2" fmla="*/ 1268131 h 1267968"/>
                <a:gd name="connsiteX3" fmla="*/ 485323 w 487680"/>
                <a:gd name="connsiteY3" fmla="*/ 6096 h 1267968"/>
                <a:gd name="connsiteX4" fmla="*/ 426557 w 487680"/>
                <a:gd name="connsiteY4" fmla="*/ 6096 h 1267968"/>
                <a:gd name="connsiteX5" fmla="*/ 243271 w 487680"/>
                <a:gd name="connsiteY5" fmla="*/ 155001 h 126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87680" h="1267968">
                  <a:moveTo>
                    <a:pt x="243271" y="154595"/>
                  </a:moveTo>
                  <a:lnTo>
                    <a:pt x="6096" y="1268131"/>
                  </a:lnTo>
                  <a:lnTo>
                    <a:pt x="216367" y="1268131"/>
                  </a:lnTo>
                  <a:lnTo>
                    <a:pt x="485323" y="6096"/>
                  </a:lnTo>
                  <a:lnTo>
                    <a:pt x="426557" y="6096"/>
                  </a:lnTo>
                  <a:cubicBezTo>
                    <a:pt x="338043" y="6421"/>
                    <a:pt x="261722" y="68438"/>
                    <a:pt x="243271" y="155001"/>
                  </a:cubicBezTo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37" name="Forma libre: forma 36">
              <a:extLst>
                <a:ext uri="{FF2B5EF4-FFF2-40B4-BE49-F238E27FC236}">
                  <a16:creationId xmlns:a16="http://schemas.microsoft.com/office/drawing/2014/main" id="{1AA24C91-F3A7-405F-8983-52ACEC3DB0CC}"/>
                </a:ext>
              </a:extLst>
            </p:cNvPr>
            <p:cNvSpPr/>
            <p:nvPr/>
          </p:nvSpPr>
          <p:spPr>
            <a:xfrm>
              <a:off x="6466149" y="2793878"/>
              <a:ext cx="219456" cy="1267968"/>
            </a:xfrm>
            <a:custGeom>
              <a:avLst/>
              <a:gdLst>
                <a:gd name="connsiteX0" fmla="*/ 6096 w 219456"/>
                <a:gd name="connsiteY0" fmla="*/ 6096 h 1267968"/>
                <a:gd name="connsiteX1" fmla="*/ 216449 w 219456"/>
                <a:gd name="connsiteY1" fmla="*/ 6096 h 1267968"/>
                <a:gd name="connsiteX2" fmla="*/ 216449 w 219456"/>
                <a:gd name="connsiteY2" fmla="*/ 1268212 h 1267968"/>
                <a:gd name="connsiteX3" fmla="*/ 6096 w 219456"/>
                <a:gd name="connsiteY3" fmla="*/ 1268212 h 126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19456" h="1267968">
                  <a:moveTo>
                    <a:pt x="6096" y="6096"/>
                  </a:moveTo>
                  <a:lnTo>
                    <a:pt x="216449" y="6096"/>
                  </a:lnTo>
                  <a:lnTo>
                    <a:pt x="216449" y="1268212"/>
                  </a:lnTo>
                  <a:lnTo>
                    <a:pt x="6096" y="1268212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38" name="Forma libre: forma 37">
              <a:extLst>
                <a:ext uri="{FF2B5EF4-FFF2-40B4-BE49-F238E27FC236}">
                  <a16:creationId xmlns:a16="http://schemas.microsoft.com/office/drawing/2014/main" id="{1C334B8D-B87D-4E29-B11B-112D98CE60E9}"/>
                </a:ext>
              </a:extLst>
            </p:cNvPr>
            <p:cNvSpPr/>
            <p:nvPr/>
          </p:nvSpPr>
          <p:spPr>
            <a:xfrm>
              <a:off x="9815617" y="2776728"/>
              <a:ext cx="950976" cy="1300480"/>
            </a:xfrm>
            <a:custGeom>
              <a:avLst/>
              <a:gdLst>
                <a:gd name="connsiteX0" fmla="*/ 889935 w 950976"/>
                <a:gd name="connsiteY0" fmla="*/ 286350 h 1300480"/>
                <a:gd name="connsiteX1" fmla="*/ 285618 w 950976"/>
                <a:gd name="connsiteY1" fmla="*/ 417779 h 1300480"/>
                <a:gd name="connsiteX2" fmla="*/ 417047 w 950976"/>
                <a:gd name="connsiteY2" fmla="*/ 1022096 h 1300480"/>
                <a:gd name="connsiteX3" fmla="*/ 653410 w 950976"/>
                <a:gd name="connsiteY3" fmla="*/ 1091509 h 1300480"/>
                <a:gd name="connsiteX4" fmla="*/ 927242 w 950976"/>
                <a:gd name="connsiteY4" fmla="*/ 997712 h 1300480"/>
                <a:gd name="connsiteX5" fmla="*/ 927242 w 950976"/>
                <a:gd name="connsiteY5" fmla="*/ 1240170 h 1300480"/>
                <a:gd name="connsiteX6" fmla="*/ 653736 w 950976"/>
                <a:gd name="connsiteY6" fmla="*/ 1301862 h 1300480"/>
                <a:gd name="connsiteX7" fmla="*/ 6096 w 950976"/>
                <a:gd name="connsiteY7" fmla="*/ 653735 h 1300480"/>
                <a:gd name="connsiteX8" fmla="*/ 654304 w 950976"/>
                <a:gd name="connsiteY8" fmla="*/ 6096 h 1300480"/>
                <a:gd name="connsiteX9" fmla="*/ 948050 w 950976"/>
                <a:gd name="connsiteY9" fmla="*/ 76647 h 1300480"/>
                <a:gd name="connsiteX10" fmla="*/ 889935 w 950976"/>
                <a:gd name="connsiteY10" fmla="*/ 286350 h 13004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950976" h="1300480">
                  <a:moveTo>
                    <a:pt x="889935" y="286350"/>
                  </a:moveTo>
                  <a:cubicBezTo>
                    <a:pt x="686735" y="155814"/>
                    <a:pt x="416235" y="214661"/>
                    <a:pt x="285618" y="417779"/>
                  </a:cubicBezTo>
                  <a:cubicBezTo>
                    <a:pt x="155082" y="620979"/>
                    <a:pt x="213929" y="891479"/>
                    <a:pt x="417047" y="1022096"/>
                  </a:cubicBezTo>
                  <a:cubicBezTo>
                    <a:pt x="487599" y="1067369"/>
                    <a:pt x="569610" y="1091509"/>
                    <a:pt x="653410" y="1091509"/>
                  </a:cubicBezTo>
                  <a:cubicBezTo>
                    <a:pt x="752571" y="1091753"/>
                    <a:pt x="849051" y="1058753"/>
                    <a:pt x="927242" y="997712"/>
                  </a:cubicBezTo>
                  <a:lnTo>
                    <a:pt x="927242" y="1240170"/>
                  </a:lnTo>
                  <a:cubicBezTo>
                    <a:pt x="841817" y="1280892"/>
                    <a:pt x="748345" y="1302024"/>
                    <a:pt x="653736" y="1301862"/>
                  </a:cubicBezTo>
                  <a:cubicBezTo>
                    <a:pt x="295941" y="1301699"/>
                    <a:pt x="5933" y="1011530"/>
                    <a:pt x="6096" y="653735"/>
                  </a:cubicBezTo>
                  <a:cubicBezTo>
                    <a:pt x="6259" y="295941"/>
                    <a:pt x="296428" y="5934"/>
                    <a:pt x="654304" y="6096"/>
                  </a:cubicBezTo>
                  <a:cubicBezTo>
                    <a:pt x="756391" y="6096"/>
                    <a:pt x="857097" y="30318"/>
                    <a:pt x="948050" y="76647"/>
                  </a:cubicBezTo>
                  <a:lnTo>
                    <a:pt x="889935" y="286350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39" name="Forma libre: forma 38">
              <a:extLst>
                <a:ext uri="{FF2B5EF4-FFF2-40B4-BE49-F238E27FC236}">
                  <a16:creationId xmlns:a16="http://schemas.microsoft.com/office/drawing/2014/main" id="{4C28D3CC-ADD1-4281-B040-5B48061D5316}"/>
                </a:ext>
              </a:extLst>
            </p:cNvPr>
            <p:cNvSpPr/>
            <p:nvPr/>
          </p:nvSpPr>
          <p:spPr>
            <a:xfrm>
              <a:off x="6886773" y="2794041"/>
              <a:ext cx="1276096" cy="1267968"/>
            </a:xfrm>
            <a:custGeom>
              <a:avLst/>
              <a:gdLst>
                <a:gd name="connsiteX0" fmla="*/ 1060135 w 1276096"/>
                <a:gd name="connsiteY0" fmla="*/ 1267968 h 1267968"/>
                <a:gd name="connsiteX1" fmla="*/ 1273007 w 1276096"/>
                <a:gd name="connsiteY1" fmla="*/ 1267968 h 1267968"/>
                <a:gd name="connsiteX2" fmla="*/ 900501 w 1276096"/>
                <a:gd name="connsiteY2" fmla="*/ 149962 h 1267968"/>
                <a:gd name="connsiteX3" fmla="*/ 700959 w 1276096"/>
                <a:gd name="connsiteY3" fmla="*/ 6096 h 1267968"/>
                <a:gd name="connsiteX4" fmla="*/ 426801 w 1276096"/>
                <a:gd name="connsiteY4" fmla="*/ 6096 h 1267968"/>
                <a:gd name="connsiteX5" fmla="*/ 6096 w 1276096"/>
                <a:gd name="connsiteY5" fmla="*/ 1268212 h 1267968"/>
                <a:gd name="connsiteX6" fmla="*/ 218968 w 1276096"/>
                <a:gd name="connsiteY6" fmla="*/ 1268212 h 1267968"/>
                <a:gd name="connsiteX7" fmla="*/ 324145 w 1276096"/>
                <a:gd name="connsiteY7" fmla="*/ 952683 h 1267968"/>
                <a:gd name="connsiteX8" fmla="*/ 673649 w 1276096"/>
                <a:gd name="connsiteY8" fmla="*/ 952683 h 1267968"/>
                <a:gd name="connsiteX9" fmla="*/ 884001 w 1276096"/>
                <a:gd name="connsiteY9" fmla="*/ 742330 h 1267968"/>
                <a:gd name="connsiteX10" fmla="*/ 884001 w 1276096"/>
                <a:gd name="connsiteY10" fmla="*/ 742330 h 1267968"/>
                <a:gd name="connsiteX11" fmla="*/ 394127 w 1276096"/>
                <a:gd name="connsiteY11" fmla="*/ 742330 h 1267968"/>
                <a:gd name="connsiteX12" fmla="*/ 639511 w 1276096"/>
                <a:gd name="connsiteY12" fmla="*/ 6096 h 1267968"/>
                <a:gd name="connsiteX13" fmla="*/ 1060135 w 1276096"/>
                <a:gd name="connsiteY13" fmla="*/ 1267968 h 126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276096" h="1267968">
                  <a:moveTo>
                    <a:pt x="1060135" y="1267968"/>
                  </a:moveTo>
                  <a:lnTo>
                    <a:pt x="1273007" y="1267968"/>
                  </a:lnTo>
                  <a:lnTo>
                    <a:pt x="900501" y="149962"/>
                  </a:lnTo>
                  <a:cubicBezTo>
                    <a:pt x="871891" y="64049"/>
                    <a:pt x="791505" y="6096"/>
                    <a:pt x="700959" y="6096"/>
                  </a:cubicBezTo>
                  <a:lnTo>
                    <a:pt x="426801" y="6096"/>
                  </a:lnTo>
                  <a:lnTo>
                    <a:pt x="6096" y="1268212"/>
                  </a:lnTo>
                  <a:lnTo>
                    <a:pt x="218968" y="1268212"/>
                  </a:lnTo>
                  <a:lnTo>
                    <a:pt x="324145" y="952683"/>
                  </a:lnTo>
                  <a:lnTo>
                    <a:pt x="673649" y="952683"/>
                  </a:lnTo>
                  <a:cubicBezTo>
                    <a:pt x="789798" y="952683"/>
                    <a:pt x="884001" y="858479"/>
                    <a:pt x="884001" y="742330"/>
                  </a:cubicBezTo>
                  <a:lnTo>
                    <a:pt x="884001" y="742330"/>
                  </a:lnTo>
                  <a:cubicBezTo>
                    <a:pt x="884001" y="742330"/>
                    <a:pt x="394127" y="742330"/>
                    <a:pt x="394127" y="742330"/>
                  </a:cubicBezTo>
                  <a:lnTo>
                    <a:pt x="639511" y="6096"/>
                  </a:lnTo>
                  <a:lnTo>
                    <a:pt x="1060135" y="1267968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40" name="Forma libre: forma 39">
              <a:extLst>
                <a:ext uri="{FF2B5EF4-FFF2-40B4-BE49-F238E27FC236}">
                  <a16:creationId xmlns:a16="http://schemas.microsoft.com/office/drawing/2014/main" id="{6081BC6A-D310-4826-AE09-61EC5E3E9BB0}"/>
                </a:ext>
              </a:extLst>
            </p:cNvPr>
            <p:cNvSpPr/>
            <p:nvPr/>
          </p:nvSpPr>
          <p:spPr>
            <a:xfrm>
              <a:off x="10918749" y="2794041"/>
              <a:ext cx="1276096" cy="1267968"/>
            </a:xfrm>
            <a:custGeom>
              <a:avLst/>
              <a:gdLst>
                <a:gd name="connsiteX0" fmla="*/ 1060380 w 1276096"/>
                <a:gd name="connsiteY0" fmla="*/ 1267968 h 1267968"/>
                <a:gd name="connsiteX1" fmla="*/ 1273251 w 1276096"/>
                <a:gd name="connsiteY1" fmla="*/ 1267968 h 1267968"/>
                <a:gd name="connsiteX2" fmla="*/ 900420 w 1276096"/>
                <a:gd name="connsiteY2" fmla="*/ 149962 h 1267968"/>
                <a:gd name="connsiteX3" fmla="*/ 700877 w 1276096"/>
                <a:gd name="connsiteY3" fmla="*/ 6096 h 1267968"/>
                <a:gd name="connsiteX4" fmla="*/ 426801 w 1276096"/>
                <a:gd name="connsiteY4" fmla="*/ 6096 h 1267968"/>
                <a:gd name="connsiteX5" fmla="*/ 6096 w 1276096"/>
                <a:gd name="connsiteY5" fmla="*/ 1268212 h 1267968"/>
                <a:gd name="connsiteX6" fmla="*/ 218969 w 1276096"/>
                <a:gd name="connsiteY6" fmla="*/ 1268212 h 1267968"/>
                <a:gd name="connsiteX7" fmla="*/ 324145 w 1276096"/>
                <a:gd name="connsiteY7" fmla="*/ 952683 h 1267968"/>
                <a:gd name="connsiteX8" fmla="*/ 673649 w 1276096"/>
                <a:gd name="connsiteY8" fmla="*/ 952683 h 1267968"/>
                <a:gd name="connsiteX9" fmla="*/ 884001 w 1276096"/>
                <a:gd name="connsiteY9" fmla="*/ 742330 h 1267968"/>
                <a:gd name="connsiteX10" fmla="*/ 884001 w 1276096"/>
                <a:gd name="connsiteY10" fmla="*/ 742330 h 1267968"/>
                <a:gd name="connsiteX11" fmla="*/ 394127 w 1276096"/>
                <a:gd name="connsiteY11" fmla="*/ 742330 h 1267968"/>
                <a:gd name="connsiteX12" fmla="*/ 639512 w 1276096"/>
                <a:gd name="connsiteY12" fmla="*/ 6096 h 1267968"/>
                <a:gd name="connsiteX13" fmla="*/ 1060380 w 1276096"/>
                <a:gd name="connsiteY13" fmla="*/ 1267968 h 126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276096" h="1267968">
                  <a:moveTo>
                    <a:pt x="1060380" y="1267968"/>
                  </a:moveTo>
                  <a:lnTo>
                    <a:pt x="1273251" y="1267968"/>
                  </a:lnTo>
                  <a:lnTo>
                    <a:pt x="900420" y="149962"/>
                  </a:lnTo>
                  <a:cubicBezTo>
                    <a:pt x="871809" y="64049"/>
                    <a:pt x="791423" y="6096"/>
                    <a:pt x="700877" y="6096"/>
                  </a:cubicBezTo>
                  <a:lnTo>
                    <a:pt x="426801" y="6096"/>
                  </a:lnTo>
                  <a:lnTo>
                    <a:pt x="6096" y="1268212"/>
                  </a:lnTo>
                  <a:lnTo>
                    <a:pt x="218969" y="1268212"/>
                  </a:lnTo>
                  <a:lnTo>
                    <a:pt x="324145" y="952683"/>
                  </a:lnTo>
                  <a:lnTo>
                    <a:pt x="673649" y="952683"/>
                  </a:lnTo>
                  <a:cubicBezTo>
                    <a:pt x="789798" y="952683"/>
                    <a:pt x="884001" y="858479"/>
                    <a:pt x="884001" y="742330"/>
                  </a:cubicBezTo>
                  <a:lnTo>
                    <a:pt x="884001" y="742330"/>
                  </a:lnTo>
                  <a:cubicBezTo>
                    <a:pt x="884001" y="742330"/>
                    <a:pt x="394127" y="742330"/>
                    <a:pt x="394127" y="742330"/>
                  </a:cubicBezTo>
                  <a:lnTo>
                    <a:pt x="639512" y="6096"/>
                  </a:lnTo>
                  <a:lnTo>
                    <a:pt x="1060380" y="1267968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</p:grpSp>
    </p:spTree>
    <p:extLst>
      <p:ext uri="{BB962C8B-B14F-4D97-AF65-F5344CB8AC3E}">
        <p14:creationId xmlns:p14="http://schemas.microsoft.com/office/powerpoint/2010/main" val="89700490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5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25E-6 0.03889 L 1.25E-6 1.85185E-6 " pathEditMode="relative" rAng="0" ptsTypes="AA">
                                      <p:cBhvr>
                                        <p:cTn id="9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944"/>
                                    </p:animMotion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25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1666 -0.00046 L 3.75E-6 1.85185E-6 " pathEditMode="relative" rAng="0" ptsTypes="AA">
                                      <p:cBhvr>
                                        <p:cTn id="14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833" y="23"/>
                                    </p:animMotion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25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25E-6 0.03889 L 1.25E-6 1.85185E-6 " pathEditMode="relative" rAng="0" ptsTypes="AA">
                                      <p:cBhvr>
                                        <p:cTn id="19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944"/>
                                    </p:animMotion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2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animBg="1"/>
      <p:bldP spid="10" grpId="1" animBg="1"/>
      <p:bldP spid="27" grpId="0"/>
      <p:bldP spid="27" grpId="1"/>
      <p:bldP spid="28" grpId="0">
        <p:tmplLst>
          <p:tmpl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250"/>
                        <p:tgtEl>
                          <p:spTgt spid="2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8" grpId="1"/>
      <p:bldP spid="29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0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0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4_Esquema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6" name="Imagem 41">
            <a:extLst>
              <a:ext uri="{FF2B5EF4-FFF2-40B4-BE49-F238E27FC236}">
                <a16:creationId xmlns:a16="http://schemas.microsoft.com/office/drawing/2014/main" id="{70419173-E6DF-4E64-8D85-947FFED6769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 l="14054" t="7412" r="59459" b="56516"/>
          <a:stretch>
            <a:fillRect/>
          </a:stretch>
        </p:blipFill>
        <p:spPr>
          <a:xfrm rot="5400000">
            <a:off x="260343" y="5155576"/>
            <a:ext cx="1442082" cy="1962770"/>
          </a:xfrm>
          <a:prstGeom prst="rect">
            <a:avLst/>
          </a:prstGeom>
        </p:spPr>
      </p:pic>
      <p:grpSp>
        <p:nvGrpSpPr>
          <p:cNvPr id="2" name="Agrupar 1">
            <a:extLst>
              <a:ext uri="{FF2B5EF4-FFF2-40B4-BE49-F238E27FC236}">
                <a16:creationId xmlns:a16="http://schemas.microsoft.com/office/drawing/2014/main" id="{43C38769-9205-2A47-8926-C44F3FD99E63}"/>
              </a:ext>
            </a:extLst>
          </p:cNvPr>
          <p:cNvGrpSpPr/>
          <p:nvPr userDrawn="1"/>
        </p:nvGrpSpPr>
        <p:grpSpPr>
          <a:xfrm>
            <a:off x="3645515" y="1012410"/>
            <a:ext cx="4900969" cy="4843659"/>
            <a:chOff x="3645515" y="1012410"/>
            <a:chExt cx="4900969" cy="4843659"/>
          </a:xfrm>
        </p:grpSpPr>
        <p:sp>
          <p:nvSpPr>
            <p:cNvPr id="15" name="Forma livre: Forma 14">
              <a:extLst>
                <a:ext uri="{FF2B5EF4-FFF2-40B4-BE49-F238E27FC236}">
                  <a16:creationId xmlns:a16="http://schemas.microsoft.com/office/drawing/2014/main" id="{0283E952-724A-7C05-41B2-AEFF7242ACF6}"/>
                </a:ext>
              </a:extLst>
            </p:cNvPr>
            <p:cNvSpPr/>
            <p:nvPr/>
          </p:nvSpPr>
          <p:spPr>
            <a:xfrm>
              <a:off x="4159730" y="1013082"/>
              <a:ext cx="1722994" cy="1420745"/>
            </a:xfrm>
            <a:custGeom>
              <a:avLst/>
              <a:gdLst>
                <a:gd name="connsiteX0" fmla="*/ 1545505 w 1722994"/>
                <a:gd name="connsiteY0" fmla="*/ 2008 h 1420745"/>
                <a:gd name="connsiteX1" fmla="*/ 83009 w 1722994"/>
                <a:gd name="connsiteY1" fmla="*/ 818589 h 1420745"/>
                <a:gd name="connsiteX2" fmla="*/ 82563 w 1722994"/>
                <a:gd name="connsiteY2" fmla="*/ 818232 h 1420745"/>
                <a:gd name="connsiteX3" fmla="*/ 34266 w 1722994"/>
                <a:gd name="connsiteY3" fmla="*/ 875804 h 1420745"/>
                <a:gd name="connsiteX4" fmla="*/ 77568 w 1722994"/>
                <a:gd name="connsiteY4" fmla="*/ 1106584 h 1420745"/>
                <a:gd name="connsiteX5" fmla="*/ 581225 w 1722994"/>
                <a:gd name="connsiteY5" fmla="*/ 1397389 h 1420745"/>
                <a:gd name="connsiteX6" fmla="*/ 794078 w 1722994"/>
                <a:gd name="connsiteY6" fmla="*/ 1366083 h 1420745"/>
                <a:gd name="connsiteX7" fmla="*/ 812852 w 1722994"/>
                <a:gd name="connsiteY7" fmla="*/ 1346104 h 1420745"/>
                <a:gd name="connsiteX8" fmla="*/ 812942 w 1722994"/>
                <a:gd name="connsiteY8" fmla="*/ 1346194 h 1420745"/>
                <a:gd name="connsiteX9" fmla="*/ 1590993 w 1722994"/>
                <a:gd name="connsiteY9" fmla="*/ 904791 h 1420745"/>
                <a:gd name="connsiteX10" fmla="*/ 1722994 w 1722994"/>
                <a:gd name="connsiteY10" fmla="*/ 739655 h 1420745"/>
                <a:gd name="connsiteX11" fmla="*/ 1722994 w 1722994"/>
                <a:gd name="connsiteY11" fmla="*/ 153096 h 1420745"/>
                <a:gd name="connsiteX12" fmla="*/ 1545461 w 1722994"/>
                <a:gd name="connsiteY12" fmla="*/ 1963 h 14207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722994" h="1420745">
                  <a:moveTo>
                    <a:pt x="1545505" y="2008"/>
                  </a:moveTo>
                  <a:cubicBezTo>
                    <a:pt x="964342" y="95167"/>
                    <a:pt x="451587" y="392750"/>
                    <a:pt x="83009" y="818589"/>
                  </a:cubicBezTo>
                  <a:lnTo>
                    <a:pt x="82563" y="818232"/>
                  </a:lnTo>
                  <a:cubicBezTo>
                    <a:pt x="66196" y="837140"/>
                    <a:pt x="50098" y="856316"/>
                    <a:pt x="34266" y="875804"/>
                  </a:cubicBezTo>
                  <a:cubicBezTo>
                    <a:pt x="-25536" y="949342"/>
                    <a:pt x="-4532" y="1059179"/>
                    <a:pt x="77568" y="1106584"/>
                  </a:cubicBezTo>
                  <a:lnTo>
                    <a:pt x="581225" y="1397389"/>
                  </a:lnTo>
                  <a:cubicBezTo>
                    <a:pt x="650838" y="1437569"/>
                    <a:pt x="739538" y="1425127"/>
                    <a:pt x="794078" y="1366083"/>
                  </a:cubicBezTo>
                  <a:cubicBezTo>
                    <a:pt x="800277" y="1359394"/>
                    <a:pt x="806520" y="1352749"/>
                    <a:pt x="812852" y="1346104"/>
                  </a:cubicBezTo>
                  <a:lnTo>
                    <a:pt x="812942" y="1346194"/>
                  </a:lnTo>
                  <a:cubicBezTo>
                    <a:pt x="1019952" y="1129952"/>
                    <a:pt x="1288727" y="973334"/>
                    <a:pt x="1590993" y="904791"/>
                  </a:cubicBezTo>
                  <a:cubicBezTo>
                    <a:pt x="1668187" y="887310"/>
                    <a:pt x="1722994" y="818767"/>
                    <a:pt x="1722994" y="739655"/>
                  </a:cubicBezTo>
                  <a:lnTo>
                    <a:pt x="1722994" y="153096"/>
                  </a:lnTo>
                  <a:cubicBezTo>
                    <a:pt x="1722994" y="58822"/>
                    <a:pt x="1638575" y="-12932"/>
                    <a:pt x="1545461" y="1963"/>
                  </a:cubicBezTo>
                  <a:close/>
                </a:path>
              </a:pathLst>
            </a:custGeom>
            <a:solidFill>
              <a:srgbClr val="00FF94"/>
            </a:solidFill>
            <a:ln w="4455" cap="flat">
              <a:noFill/>
              <a:prstDash val="solid"/>
              <a:miter/>
            </a:ln>
            <a:effectLst>
              <a:glow rad="228600">
                <a:schemeClr val="accent1">
                  <a:alpha val="17000"/>
                </a:schemeClr>
              </a:glow>
            </a:effectLst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" name="Forma livre: Forma 15">
              <a:extLst>
                <a:ext uri="{FF2B5EF4-FFF2-40B4-BE49-F238E27FC236}">
                  <a16:creationId xmlns:a16="http://schemas.microsoft.com/office/drawing/2014/main" id="{963C56C1-C9E8-3622-B205-42C695F3C179}"/>
                </a:ext>
              </a:extLst>
            </p:cNvPr>
            <p:cNvSpPr/>
            <p:nvPr/>
          </p:nvSpPr>
          <p:spPr>
            <a:xfrm>
              <a:off x="3645515" y="2464260"/>
              <a:ext cx="973286" cy="1943169"/>
            </a:xfrm>
            <a:custGeom>
              <a:avLst/>
              <a:gdLst>
                <a:gd name="connsiteX0" fmla="*/ 160057 w 973286"/>
                <a:gd name="connsiteY0" fmla="*/ 98814 h 1943169"/>
                <a:gd name="connsiteX1" fmla="*/ 136021 w 973286"/>
                <a:gd name="connsiteY1" fmla="*/ 1773629 h 1943169"/>
                <a:gd name="connsiteX2" fmla="*/ 135485 w 973286"/>
                <a:gd name="connsiteY2" fmla="*/ 1773852 h 1943169"/>
                <a:gd name="connsiteX3" fmla="*/ 161172 w 973286"/>
                <a:gd name="connsiteY3" fmla="*/ 1844445 h 1943169"/>
                <a:gd name="connsiteX4" fmla="*/ 382676 w 973286"/>
                <a:gd name="connsiteY4" fmla="*/ 1922353 h 1943169"/>
                <a:gd name="connsiteX5" fmla="*/ 886333 w 973286"/>
                <a:gd name="connsiteY5" fmla="*/ 1631548 h 1943169"/>
                <a:gd name="connsiteX6" fmla="*/ 965668 w 973286"/>
                <a:gd name="connsiteY6" fmla="*/ 1431539 h 1943169"/>
                <a:gd name="connsiteX7" fmla="*/ 957775 w 973286"/>
                <a:gd name="connsiteY7" fmla="*/ 1405273 h 1943169"/>
                <a:gd name="connsiteX8" fmla="*/ 957909 w 973286"/>
                <a:gd name="connsiteY8" fmla="*/ 1405273 h 1943169"/>
                <a:gd name="connsiteX9" fmla="*/ 964687 w 973286"/>
                <a:gd name="connsiteY9" fmla="*/ 510739 h 1943169"/>
                <a:gd name="connsiteX10" fmla="*/ 887671 w 973286"/>
                <a:gd name="connsiteY10" fmla="*/ 313852 h 1943169"/>
                <a:gd name="connsiteX11" fmla="*/ 379644 w 973286"/>
                <a:gd name="connsiteY11" fmla="*/ 20550 h 1943169"/>
                <a:gd name="connsiteX12" fmla="*/ 160013 w 973286"/>
                <a:gd name="connsiteY12" fmla="*/ 98725 h 19431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973286" h="1943169">
                  <a:moveTo>
                    <a:pt x="160057" y="98814"/>
                  </a:moveTo>
                  <a:cubicBezTo>
                    <a:pt x="-49852" y="648717"/>
                    <a:pt x="-48514" y="1241564"/>
                    <a:pt x="136021" y="1773629"/>
                  </a:cubicBezTo>
                  <a:lnTo>
                    <a:pt x="135485" y="1773852"/>
                  </a:lnTo>
                  <a:cubicBezTo>
                    <a:pt x="143691" y="1797487"/>
                    <a:pt x="152253" y="1821033"/>
                    <a:pt x="161172" y="1844445"/>
                  </a:cubicBezTo>
                  <a:cubicBezTo>
                    <a:pt x="194975" y="1933011"/>
                    <a:pt x="300577" y="1969758"/>
                    <a:pt x="382676" y="1922353"/>
                  </a:cubicBezTo>
                  <a:lnTo>
                    <a:pt x="886333" y="1631548"/>
                  </a:lnTo>
                  <a:cubicBezTo>
                    <a:pt x="955946" y="1591368"/>
                    <a:pt x="989482" y="1508332"/>
                    <a:pt x="965668" y="1431539"/>
                  </a:cubicBezTo>
                  <a:cubicBezTo>
                    <a:pt x="962948" y="1422843"/>
                    <a:pt x="960317" y="1414058"/>
                    <a:pt x="957775" y="1405273"/>
                  </a:cubicBezTo>
                  <a:lnTo>
                    <a:pt x="957909" y="1405273"/>
                  </a:lnTo>
                  <a:cubicBezTo>
                    <a:pt x="874114" y="1117857"/>
                    <a:pt x="872910" y="806806"/>
                    <a:pt x="964687" y="510739"/>
                  </a:cubicBezTo>
                  <a:cubicBezTo>
                    <a:pt x="988144" y="435151"/>
                    <a:pt x="956214" y="353408"/>
                    <a:pt x="887671" y="313852"/>
                  </a:cubicBezTo>
                  <a:lnTo>
                    <a:pt x="379644" y="20550"/>
                  </a:lnTo>
                  <a:cubicBezTo>
                    <a:pt x="297990" y="-26587"/>
                    <a:pt x="193637" y="10650"/>
                    <a:pt x="160013" y="98725"/>
                  </a:cubicBezTo>
                  <a:close/>
                </a:path>
              </a:pathLst>
            </a:custGeom>
            <a:solidFill>
              <a:srgbClr val="184BFF"/>
            </a:solidFill>
            <a:ln w="4455" cap="flat">
              <a:noFill/>
              <a:prstDash val="solid"/>
              <a:miter/>
            </a:ln>
            <a:effectLst>
              <a:glow rad="228600">
                <a:schemeClr val="tx1">
                  <a:alpha val="17000"/>
                </a:schemeClr>
              </a:glow>
            </a:effectLst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" name="Forma livre: Forma 16">
              <a:extLst>
                <a:ext uri="{FF2B5EF4-FFF2-40B4-BE49-F238E27FC236}">
                  <a16:creationId xmlns:a16="http://schemas.microsoft.com/office/drawing/2014/main" id="{11D20C5F-3D30-3396-4F23-B3A18D8F1517}"/>
                </a:ext>
              </a:extLst>
            </p:cNvPr>
            <p:cNvSpPr/>
            <p:nvPr/>
          </p:nvSpPr>
          <p:spPr>
            <a:xfrm>
              <a:off x="4161947" y="4436984"/>
              <a:ext cx="1725013" cy="1419085"/>
            </a:xfrm>
            <a:custGeom>
              <a:avLst/>
              <a:gdLst>
                <a:gd name="connsiteX0" fmla="*/ 34413 w 1725013"/>
                <a:gd name="connsiteY0" fmla="*/ 545241 h 1419085"/>
                <a:gd name="connsiteX1" fmla="*/ 1472828 w 1725013"/>
                <a:gd name="connsiteY1" fmla="*/ 1403474 h 1419085"/>
                <a:gd name="connsiteX2" fmla="*/ 1472828 w 1725013"/>
                <a:gd name="connsiteY2" fmla="*/ 1404054 h 1419085"/>
                <a:gd name="connsiteX3" fmla="*/ 1546767 w 1725013"/>
                <a:gd name="connsiteY3" fmla="*/ 1417120 h 1419085"/>
                <a:gd name="connsiteX4" fmla="*/ 1725014 w 1725013"/>
                <a:gd name="connsiteY4" fmla="*/ 1264249 h 1419085"/>
                <a:gd name="connsiteX5" fmla="*/ 1725014 w 1725013"/>
                <a:gd name="connsiteY5" fmla="*/ 682683 h 1419085"/>
                <a:gd name="connsiteX6" fmla="*/ 1591451 w 1725013"/>
                <a:gd name="connsiteY6" fmla="*/ 513980 h 1419085"/>
                <a:gd name="connsiteX7" fmla="*/ 1564783 w 1725013"/>
                <a:gd name="connsiteY7" fmla="*/ 507692 h 1419085"/>
                <a:gd name="connsiteX8" fmla="*/ 1564783 w 1725013"/>
                <a:gd name="connsiteY8" fmla="*/ 507558 h 1419085"/>
                <a:gd name="connsiteX9" fmla="*/ 793555 w 1725013"/>
                <a:gd name="connsiteY9" fmla="*/ 54428 h 1419085"/>
                <a:gd name="connsiteX10" fmla="*/ 584538 w 1725013"/>
                <a:gd name="connsiteY10" fmla="*/ 22676 h 1419085"/>
                <a:gd name="connsiteX11" fmla="*/ 76511 w 1725013"/>
                <a:gd name="connsiteY11" fmla="*/ 315978 h 1419085"/>
                <a:gd name="connsiteX12" fmla="*/ 34413 w 1725013"/>
                <a:gd name="connsiteY12" fmla="*/ 545286 h 14190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725013" h="1419085">
                  <a:moveTo>
                    <a:pt x="34413" y="545241"/>
                  </a:moveTo>
                  <a:cubicBezTo>
                    <a:pt x="405667" y="1001984"/>
                    <a:pt x="919760" y="1297248"/>
                    <a:pt x="1472828" y="1403474"/>
                  </a:cubicBezTo>
                  <a:lnTo>
                    <a:pt x="1472828" y="1404054"/>
                  </a:lnTo>
                  <a:cubicBezTo>
                    <a:pt x="1497356" y="1408781"/>
                    <a:pt x="1522017" y="1413107"/>
                    <a:pt x="1546767" y="1417120"/>
                  </a:cubicBezTo>
                  <a:cubicBezTo>
                    <a:pt x="1640372" y="1432149"/>
                    <a:pt x="1725014" y="1359058"/>
                    <a:pt x="1725014" y="1264249"/>
                  </a:cubicBezTo>
                  <a:lnTo>
                    <a:pt x="1725014" y="682683"/>
                  </a:lnTo>
                  <a:cubicBezTo>
                    <a:pt x="1725014" y="602278"/>
                    <a:pt x="1669894" y="531729"/>
                    <a:pt x="1591451" y="513980"/>
                  </a:cubicBezTo>
                  <a:cubicBezTo>
                    <a:pt x="1582577" y="511973"/>
                    <a:pt x="1573658" y="509877"/>
                    <a:pt x="1564783" y="507692"/>
                  </a:cubicBezTo>
                  <a:lnTo>
                    <a:pt x="1564783" y="507558"/>
                  </a:lnTo>
                  <a:cubicBezTo>
                    <a:pt x="1274068" y="436429"/>
                    <a:pt x="1004044" y="281952"/>
                    <a:pt x="793555" y="54428"/>
                  </a:cubicBezTo>
                  <a:cubicBezTo>
                    <a:pt x="739818" y="-3680"/>
                    <a:pt x="653081" y="-16880"/>
                    <a:pt x="584538" y="22676"/>
                  </a:cubicBezTo>
                  <a:lnTo>
                    <a:pt x="76511" y="315978"/>
                  </a:lnTo>
                  <a:cubicBezTo>
                    <a:pt x="-5143" y="363115"/>
                    <a:pt x="-25077" y="472105"/>
                    <a:pt x="34413" y="545286"/>
                  </a:cubicBezTo>
                  <a:close/>
                </a:path>
              </a:pathLst>
            </a:custGeom>
            <a:solidFill>
              <a:srgbClr val="1D3EB6"/>
            </a:solidFill>
            <a:ln w="4455" cap="flat">
              <a:noFill/>
              <a:prstDash val="solid"/>
              <a:miter/>
            </a:ln>
            <a:effectLst>
              <a:glow rad="228600">
                <a:schemeClr val="accent2">
                  <a:alpha val="17000"/>
                </a:schemeClr>
              </a:glow>
            </a:effectLst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" name="Forma livre: Forma 17">
              <a:extLst>
                <a:ext uri="{FF2B5EF4-FFF2-40B4-BE49-F238E27FC236}">
                  <a16:creationId xmlns:a16="http://schemas.microsoft.com/office/drawing/2014/main" id="{B499EA2C-9D6B-7A8C-21CA-AF5F481C10C6}"/>
                </a:ext>
              </a:extLst>
            </p:cNvPr>
            <p:cNvSpPr/>
            <p:nvPr/>
          </p:nvSpPr>
          <p:spPr>
            <a:xfrm>
              <a:off x="6309276" y="4434654"/>
              <a:ext cx="1722993" cy="1420789"/>
            </a:xfrm>
            <a:custGeom>
              <a:avLst/>
              <a:gdLst>
                <a:gd name="connsiteX0" fmla="*/ 177489 w 1722993"/>
                <a:gd name="connsiteY0" fmla="*/ 1418738 h 1420789"/>
                <a:gd name="connsiteX1" fmla="*/ 1639985 w 1722993"/>
                <a:gd name="connsiteY1" fmla="*/ 602156 h 1420789"/>
                <a:gd name="connsiteX2" fmla="*/ 1640431 w 1722993"/>
                <a:gd name="connsiteY2" fmla="*/ 602513 h 1420789"/>
                <a:gd name="connsiteX3" fmla="*/ 1688728 w 1722993"/>
                <a:gd name="connsiteY3" fmla="*/ 544941 h 1420789"/>
                <a:gd name="connsiteX4" fmla="*/ 1645426 w 1722993"/>
                <a:gd name="connsiteY4" fmla="*/ 314161 h 1420789"/>
                <a:gd name="connsiteX5" fmla="*/ 1141769 w 1722993"/>
                <a:gd name="connsiteY5" fmla="*/ 23357 h 1420789"/>
                <a:gd name="connsiteX6" fmla="*/ 928916 w 1722993"/>
                <a:gd name="connsiteY6" fmla="*/ 54662 h 1420789"/>
                <a:gd name="connsiteX7" fmla="*/ 910142 w 1722993"/>
                <a:gd name="connsiteY7" fmla="*/ 74641 h 1420789"/>
                <a:gd name="connsiteX8" fmla="*/ 910053 w 1722993"/>
                <a:gd name="connsiteY8" fmla="*/ 74552 h 1420789"/>
                <a:gd name="connsiteX9" fmla="*/ 132001 w 1722993"/>
                <a:gd name="connsiteY9" fmla="*/ 515954 h 1420789"/>
                <a:gd name="connsiteX10" fmla="*/ 0 w 1722993"/>
                <a:gd name="connsiteY10" fmla="*/ 681090 h 1420789"/>
                <a:gd name="connsiteX11" fmla="*/ 0 w 1722993"/>
                <a:gd name="connsiteY11" fmla="*/ 1267694 h 1420789"/>
                <a:gd name="connsiteX12" fmla="*/ 177533 w 1722993"/>
                <a:gd name="connsiteY12" fmla="*/ 1418827 h 14207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722993" h="1420789">
                  <a:moveTo>
                    <a:pt x="177489" y="1418738"/>
                  </a:moveTo>
                  <a:cubicBezTo>
                    <a:pt x="758652" y="1325578"/>
                    <a:pt x="1271407" y="1027995"/>
                    <a:pt x="1639985" y="602156"/>
                  </a:cubicBezTo>
                  <a:lnTo>
                    <a:pt x="1640431" y="602513"/>
                  </a:lnTo>
                  <a:cubicBezTo>
                    <a:pt x="1656798" y="583605"/>
                    <a:pt x="1672897" y="564429"/>
                    <a:pt x="1688728" y="544941"/>
                  </a:cubicBezTo>
                  <a:cubicBezTo>
                    <a:pt x="1748530" y="471403"/>
                    <a:pt x="1727526" y="361566"/>
                    <a:pt x="1645426" y="314161"/>
                  </a:cubicBezTo>
                  <a:lnTo>
                    <a:pt x="1141769" y="23357"/>
                  </a:lnTo>
                  <a:cubicBezTo>
                    <a:pt x="1072156" y="-16824"/>
                    <a:pt x="983456" y="-4382"/>
                    <a:pt x="928916" y="54662"/>
                  </a:cubicBezTo>
                  <a:cubicBezTo>
                    <a:pt x="922717" y="61351"/>
                    <a:pt x="916474" y="67996"/>
                    <a:pt x="910142" y="74641"/>
                  </a:cubicBezTo>
                  <a:lnTo>
                    <a:pt x="910053" y="74552"/>
                  </a:lnTo>
                  <a:cubicBezTo>
                    <a:pt x="703042" y="290793"/>
                    <a:pt x="434267" y="447411"/>
                    <a:pt x="132001" y="515954"/>
                  </a:cubicBezTo>
                  <a:cubicBezTo>
                    <a:pt x="54807" y="533435"/>
                    <a:pt x="0" y="601978"/>
                    <a:pt x="0" y="681090"/>
                  </a:cubicBezTo>
                  <a:lnTo>
                    <a:pt x="0" y="1267694"/>
                  </a:lnTo>
                  <a:cubicBezTo>
                    <a:pt x="0" y="1361968"/>
                    <a:pt x="84419" y="1433722"/>
                    <a:pt x="177533" y="1418827"/>
                  </a:cubicBezTo>
                  <a:close/>
                </a:path>
              </a:pathLst>
            </a:custGeom>
            <a:solidFill>
              <a:srgbClr val="132153"/>
            </a:solidFill>
            <a:ln w="4455" cap="flat">
              <a:noFill/>
              <a:prstDash val="solid"/>
              <a:miter/>
            </a:ln>
            <a:effectLst>
              <a:glow rad="228600">
                <a:schemeClr val="tx2">
                  <a:alpha val="17000"/>
                </a:schemeClr>
              </a:glow>
            </a:effectLst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" name="Forma livre: Forma 18">
              <a:extLst>
                <a:ext uri="{FF2B5EF4-FFF2-40B4-BE49-F238E27FC236}">
                  <a16:creationId xmlns:a16="http://schemas.microsoft.com/office/drawing/2014/main" id="{17F88F4E-879E-9674-9A7B-A48F66FC9EFC}"/>
                </a:ext>
              </a:extLst>
            </p:cNvPr>
            <p:cNvSpPr/>
            <p:nvPr/>
          </p:nvSpPr>
          <p:spPr>
            <a:xfrm>
              <a:off x="7573198" y="2461050"/>
              <a:ext cx="973286" cy="1943169"/>
            </a:xfrm>
            <a:custGeom>
              <a:avLst/>
              <a:gdLst>
                <a:gd name="connsiteX0" fmla="*/ 813229 w 973286"/>
                <a:gd name="connsiteY0" fmla="*/ 1844355 h 1943169"/>
                <a:gd name="connsiteX1" fmla="*/ 837266 w 973286"/>
                <a:gd name="connsiteY1" fmla="*/ 169541 h 1943169"/>
                <a:gd name="connsiteX2" fmla="*/ 837801 w 973286"/>
                <a:gd name="connsiteY2" fmla="*/ 169318 h 1943169"/>
                <a:gd name="connsiteX3" fmla="*/ 812114 w 973286"/>
                <a:gd name="connsiteY3" fmla="*/ 98724 h 1943169"/>
                <a:gd name="connsiteX4" fmla="*/ 590611 w 973286"/>
                <a:gd name="connsiteY4" fmla="*/ 20817 h 1943169"/>
                <a:gd name="connsiteX5" fmla="*/ 86953 w 973286"/>
                <a:gd name="connsiteY5" fmla="*/ 311621 h 1943169"/>
                <a:gd name="connsiteX6" fmla="*/ 7619 w 973286"/>
                <a:gd name="connsiteY6" fmla="*/ 511630 h 1943169"/>
                <a:gd name="connsiteX7" fmla="*/ 15512 w 973286"/>
                <a:gd name="connsiteY7" fmla="*/ 537897 h 1943169"/>
                <a:gd name="connsiteX8" fmla="*/ 15378 w 973286"/>
                <a:gd name="connsiteY8" fmla="*/ 537897 h 1943169"/>
                <a:gd name="connsiteX9" fmla="*/ 8600 w 973286"/>
                <a:gd name="connsiteY9" fmla="*/ 1432430 h 1943169"/>
                <a:gd name="connsiteX10" fmla="*/ 85616 w 973286"/>
                <a:gd name="connsiteY10" fmla="*/ 1629318 h 1943169"/>
                <a:gd name="connsiteX11" fmla="*/ 593643 w 973286"/>
                <a:gd name="connsiteY11" fmla="*/ 1922620 h 1943169"/>
                <a:gd name="connsiteX12" fmla="*/ 813274 w 973286"/>
                <a:gd name="connsiteY12" fmla="*/ 1844445 h 19431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973286" h="1943169">
                  <a:moveTo>
                    <a:pt x="813229" y="1844355"/>
                  </a:moveTo>
                  <a:cubicBezTo>
                    <a:pt x="1023139" y="1294453"/>
                    <a:pt x="1021801" y="701606"/>
                    <a:pt x="837266" y="169541"/>
                  </a:cubicBezTo>
                  <a:lnTo>
                    <a:pt x="837801" y="169318"/>
                  </a:lnTo>
                  <a:cubicBezTo>
                    <a:pt x="829596" y="145683"/>
                    <a:pt x="821033" y="122137"/>
                    <a:pt x="812114" y="98724"/>
                  </a:cubicBezTo>
                  <a:cubicBezTo>
                    <a:pt x="778312" y="10158"/>
                    <a:pt x="672710" y="-26588"/>
                    <a:pt x="590611" y="20817"/>
                  </a:cubicBezTo>
                  <a:lnTo>
                    <a:pt x="86953" y="311621"/>
                  </a:lnTo>
                  <a:cubicBezTo>
                    <a:pt x="17340" y="351802"/>
                    <a:pt x="-16195" y="434838"/>
                    <a:pt x="7619" y="511630"/>
                  </a:cubicBezTo>
                  <a:cubicBezTo>
                    <a:pt x="10339" y="520326"/>
                    <a:pt x="12970" y="529112"/>
                    <a:pt x="15512" y="537897"/>
                  </a:cubicBezTo>
                  <a:lnTo>
                    <a:pt x="15378" y="537897"/>
                  </a:lnTo>
                  <a:cubicBezTo>
                    <a:pt x="99172" y="825312"/>
                    <a:pt x="100376" y="1136363"/>
                    <a:pt x="8600" y="1432430"/>
                  </a:cubicBezTo>
                  <a:cubicBezTo>
                    <a:pt x="-14857" y="1508019"/>
                    <a:pt x="17073" y="1589762"/>
                    <a:pt x="85616" y="1629318"/>
                  </a:cubicBezTo>
                  <a:lnTo>
                    <a:pt x="593643" y="1922620"/>
                  </a:lnTo>
                  <a:cubicBezTo>
                    <a:pt x="675297" y="1969757"/>
                    <a:pt x="779649" y="1932520"/>
                    <a:pt x="813274" y="1844445"/>
                  </a:cubicBezTo>
                  <a:close/>
                </a:path>
              </a:pathLst>
            </a:custGeom>
            <a:solidFill>
              <a:srgbClr val="C0FFE4"/>
            </a:solidFill>
            <a:ln w="4455" cap="flat">
              <a:noFill/>
              <a:prstDash val="solid"/>
              <a:miter/>
            </a:ln>
            <a:effectLst>
              <a:glow rad="228600">
                <a:schemeClr val="accent4">
                  <a:alpha val="37000"/>
                </a:schemeClr>
              </a:glow>
            </a:effectLst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" name="Forma livre: Forma 19">
              <a:extLst>
                <a:ext uri="{FF2B5EF4-FFF2-40B4-BE49-F238E27FC236}">
                  <a16:creationId xmlns:a16="http://schemas.microsoft.com/office/drawing/2014/main" id="{2E134593-B15B-ABAD-85FA-ACF39450B299}"/>
                </a:ext>
              </a:extLst>
            </p:cNvPr>
            <p:cNvSpPr/>
            <p:nvPr/>
          </p:nvSpPr>
          <p:spPr>
            <a:xfrm>
              <a:off x="6305084" y="1012410"/>
              <a:ext cx="1725013" cy="1419085"/>
            </a:xfrm>
            <a:custGeom>
              <a:avLst/>
              <a:gdLst>
                <a:gd name="connsiteX0" fmla="*/ 1690601 w 1725013"/>
                <a:gd name="connsiteY0" fmla="*/ 873845 h 1419085"/>
                <a:gd name="connsiteX1" fmla="*/ 252185 w 1725013"/>
                <a:gd name="connsiteY1" fmla="*/ 15612 h 1419085"/>
                <a:gd name="connsiteX2" fmla="*/ 252185 w 1725013"/>
                <a:gd name="connsiteY2" fmla="*/ 15032 h 1419085"/>
                <a:gd name="connsiteX3" fmla="*/ 178247 w 1725013"/>
                <a:gd name="connsiteY3" fmla="*/ 1966 h 1419085"/>
                <a:gd name="connsiteX4" fmla="*/ 0 w 1725013"/>
                <a:gd name="connsiteY4" fmla="*/ 154838 h 1419085"/>
                <a:gd name="connsiteX5" fmla="*/ 0 w 1725013"/>
                <a:gd name="connsiteY5" fmla="*/ 736403 h 1419085"/>
                <a:gd name="connsiteX6" fmla="*/ 133562 w 1725013"/>
                <a:gd name="connsiteY6" fmla="*/ 905106 h 1419085"/>
                <a:gd name="connsiteX7" fmla="*/ 160230 w 1725013"/>
                <a:gd name="connsiteY7" fmla="*/ 911394 h 1419085"/>
                <a:gd name="connsiteX8" fmla="*/ 160230 w 1725013"/>
                <a:gd name="connsiteY8" fmla="*/ 911527 h 1419085"/>
                <a:gd name="connsiteX9" fmla="*/ 931458 w 1725013"/>
                <a:gd name="connsiteY9" fmla="*/ 1364658 h 1419085"/>
                <a:gd name="connsiteX10" fmla="*/ 1140475 w 1725013"/>
                <a:gd name="connsiteY10" fmla="*/ 1396410 h 1419085"/>
                <a:gd name="connsiteX11" fmla="*/ 1648503 w 1725013"/>
                <a:gd name="connsiteY11" fmla="*/ 1103108 h 1419085"/>
                <a:gd name="connsiteX12" fmla="*/ 1690601 w 1725013"/>
                <a:gd name="connsiteY12" fmla="*/ 873800 h 14190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725013" h="1419085">
                  <a:moveTo>
                    <a:pt x="1690601" y="873845"/>
                  </a:moveTo>
                  <a:cubicBezTo>
                    <a:pt x="1319346" y="417101"/>
                    <a:pt x="805254" y="121837"/>
                    <a:pt x="252185" y="15612"/>
                  </a:cubicBezTo>
                  <a:lnTo>
                    <a:pt x="252185" y="15032"/>
                  </a:lnTo>
                  <a:cubicBezTo>
                    <a:pt x="227658" y="10305"/>
                    <a:pt x="202997" y="5979"/>
                    <a:pt x="178247" y="1966"/>
                  </a:cubicBezTo>
                  <a:cubicBezTo>
                    <a:pt x="84641" y="-13063"/>
                    <a:pt x="0" y="60028"/>
                    <a:pt x="0" y="154838"/>
                  </a:cubicBezTo>
                  <a:lnTo>
                    <a:pt x="0" y="736403"/>
                  </a:lnTo>
                  <a:cubicBezTo>
                    <a:pt x="0" y="816808"/>
                    <a:pt x="55119" y="887357"/>
                    <a:pt x="133562" y="905106"/>
                  </a:cubicBezTo>
                  <a:cubicBezTo>
                    <a:pt x="142437" y="907113"/>
                    <a:pt x="151356" y="909209"/>
                    <a:pt x="160230" y="911394"/>
                  </a:cubicBezTo>
                  <a:lnTo>
                    <a:pt x="160230" y="911527"/>
                  </a:lnTo>
                  <a:cubicBezTo>
                    <a:pt x="450946" y="982657"/>
                    <a:pt x="720969" y="1137134"/>
                    <a:pt x="931458" y="1364658"/>
                  </a:cubicBezTo>
                  <a:cubicBezTo>
                    <a:pt x="985195" y="1422766"/>
                    <a:pt x="1071933" y="1435966"/>
                    <a:pt x="1140475" y="1396410"/>
                  </a:cubicBezTo>
                  <a:lnTo>
                    <a:pt x="1648503" y="1103108"/>
                  </a:lnTo>
                  <a:cubicBezTo>
                    <a:pt x="1730157" y="1055971"/>
                    <a:pt x="1750091" y="946981"/>
                    <a:pt x="1690601" y="873800"/>
                  </a:cubicBezTo>
                  <a:close/>
                </a:path>
              </a:pathLst>
            </a:custGeom>
            <a:solidFill>
              <a:srgbClr val="81FFC9"/>
            </a:solidFill>
            <a:ln w="4455" cap="flat">
              <a:noFill/>
              <a:prstDash val="solid"/>
              <a:miter/>
            </a:ln>
            <a:effectLst>
              <a:glow rad="228600">
                <a:schemeClr val="accent1">
                  <a:satMod val="175000"/>
                  <a:alpha val="17000"/>
                </a:schemeClr>
              </a:glow>
            </a:effectLst>
          </p:spPr>
          <p:txBody>
            <a:bodyPr rtlCol="0" anchor="ctr"/>
            <a:lstStyle/>
            <a:p>
              <a:endParaRPr lang="pt-PT"/>
            </a:p>
          </p:txBody>
        </p:sp>
      </p:grpSp>
      <p:sp>
        <p:nvSpPr>
          <p:cNvPr id="22" name="Título 6">
            <a:extLst>
              <a:ext uri="{FF2B5EF4-FFF2-40B4-BE49-F238E27FC236}">
                <a16:creationId xmlns:a16="http://schemas.microsoft.com/office/drawing/2014/main" id="{96330455-2777-C34E-30A7-5437704623A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01029" y="2974565"/>
            <a:ext cx="2989942" cy="712204"/>
          </a:xfrm>
        </p:spPr>
        <p:txBody>
          <a:bodyPr anchor="b">
            <a:noAutofit/>
          </a:bodyPr>
          <a:lstStyle>
            <a:lvl1pPr algn="ctr">
              <a:defRPr sz="3200">
                <a:solidFill>
                  <a:schemeClr val="tx1"/>
                </a:solidFill>
              </a:defRPr>
            </a:lvl1pPr>
          </a:lstStyle>
          <a:p>
            <a:r>
              <a:rPr lang="pt-PT" dirty="0"/>
              <a:t>Insertar título de la slide</a:t>
            </a:r>
          </a:p>
        </p:txBody>
      </p:sp>
      <p:sp>
        <p:nvSpPr>
          <p:cNvPr id="23" name="Marcador de Posição do Texto 8">
            <a:extLst>
              <a:ext uri="{FF2B5EF4-FFF2-40B4-BE49-F238E27FC236}">
                <a16:creationId xmlns:a16="http://schemas.microsoft.com/office/drawing/2014/main" id="{E98A746A-6DF8-B3EA-9081-EC856735265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775200" y="3704410"/>
            <a:ext cx="2641600" cy="355243"/>
          </a:xfrm>
        </p:spPr>
        <p:txBody>
          <a:bodyPr>
            <a:noAutofit/>
          </a:bodyPr>
          <a:lstStyle>
            <a:lvl1pPr algn="ctr">
              <a:defRPr sz="240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pt-PT" dirty="0"/>
              <a:t>Insertar subtítulo de la slide</a:t>
            </a:r>
          </a:p>
        </p:txBody>
      </p:sp>
      <p:sp>
        <p:nvSpPr>
          <p:cNvPr id="24" name="Marcador de Posição do Texto 34">
            <a:extLst>
              <a:ext uri="{FF2B5EF4-FFF2-40B4-BE49-F238E27FC236}">
                <a16:creationId xmlns:a16="http://schemas.microsoft.com/office/drawing/2014/main" id="{31AB2E15-28D1-7E69-7F3E-983ADC9BE639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1901056" y="731820"/>
            <a:ext cx="2615935" cy="422172"/>
          </a:xfrm>
        </p:spPr>
        <p:txBody>
          <a:bodyPr anchor="ctr">
            <a:noAutofit/>
          </a:bodyPr>
          <a:lstStyle>
            <a:lvl1pPr algn="l">
              <a:defRPr cap="all" baseline="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pt-PT" dirty="0"/>
              <a:t>Insertar texto destacado</a:t>
            </a:r>
          </a:p>
        </p:txBody>
      </p:sp>
      <p:sp>
        <p:nvSpPr>
          <p:cNvPr id="25" name="Marcador de Posição do Texto 10">
            <a:extLst>
              <a:ext uri="{FF2B5EF4-FFF2-40B4-BE49-F238E27FC236}">
                <a16:creationId xmlns:a16="http://schemas.microsoft.com/office/drawing/2014/main" id="{9D402F89-1745-4BA0-1A43-5D82D7E8B37C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1901056" y="1153992"/>
            <a:ext cx="2615935" cy="422173"/>
          </a:xfrm>
        </p:spPr>
        <p:txBody>
          <a:bodyPr>
            <a:noAutofit/>
          </a:bodyPr>
          <a:lstStyle>
            <a:lvl1pPr algn="l">
              <a:defRPr sz="1400"/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es-ES" dirty="0"/>
              <a:t>Haz </a:t>
            </a:r>
            <a:r>
              <a:rPr lang="es-ES" dirty="0" err="1"/>
              <a:t>click</a:t>
            </a:r>
            <a:r>
              <a:rPr lang="es-ES" dirty="0"/>
              <a:t> para editar los estilos del texto del modelo</a:t>
            </a:r>
            <a:endParaRPr lang="pt-PT" dirty="0"/>
          </a:p>
        </p:txBody>
      </p:sp>
      <p:sp>
        <p:nvSpPr>
          <p:cNvPr id="26" name="Marcador de Posição do Texto 34">
            <a:extLst>
              <a:ext uri="{FF2B5EF4-FFF2-40B4-BE49-F238E27FC236}">
                <a16:creationId xmlns:a16="http://schemas.microsoft.com/office/drawing/2014/main" id="{5520E89B-7F34-F072-0F21-BE58BA5A6781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1097203" y="3006828"/>
            <a:ext cx="2615935" cy="422172"/>
          </a:xfrm>
        </p:spPr>
        <p:txBody>
          <a:bodyPr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cap="all" baseline="0">
                <a:solidFill>
                  <a:schemeClr val="tx2"/>
                </a:solidFill>
                <a:latin typeface="+mj-lt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dirty="0"/>
              <a:t>Insertar texto destacado</a:t>
            </a:r>
          </a:p>
        </p:txBody>
      </p:sp>
      <p:sp>
        <p:nvSpPr>
          <p:cNvPr id="27" name="Marcador de Posição do Texto 10">
            <a:extLst>
              <a:ext uri="{FF2B5EF4-FFF2-40B4-BE49-F238E27FC236}">
                <a16:creationId xmlns:a16="http://schemas.microsoft.com/office/drawing/2014/main" id="{3B7B8381-A6AB-0860-D191-77D08CE9FE9B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1097203" y="3429000"/>
            <a:ext cx="2615935" cy="422173"/>
          </a:xfrm>
        </p:spPr>
        <p:txBody>
          <a:bodyPr>
            <a:noAutofit/>
          </a:bodyPr>
          <a:lstStyle>
            <a:lvl1pPr algn="l">
              <a:defRPr sz="1400"/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es-ES" dirty="0"/>
              <a:t>Haz </a:t>
            </a:r>
            <a:r>
              <a:rPr lang="es-ES" dirty="0" err="1"/>
              <a:t>click</a:t>
            </a:r>
            <a:r>
              <a:rPr lang="es-ES" dirty="0"/>
              <a:t> para editar los estilos del texto del modelo</a:t>
            </a:r>
            <a:endParaRPr lang="pt-PT" dirty="0"/>
          </a:p>
        </p:txBody>
      </p:sp>
      <p:sp>
        <p:nvSpPr>
          <p:cNvPr id="28" name="Marcador de Posição do Texto 34">
            <a:extLst>
              <a:ext uri="{FF2B5EF4-FFF2-40B4-BE49-F238E27FC236}">
                <a16:creationId xmlns:a16="http://schemas.microsoft.com/office/drawing/2014/main" id="{7FD6DBE8-155F-D2EA-9E86-8D0841C1C5F4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1901056" y="5415920"/>
            <a:ext cx="2615935" cy="422172"/>
          </a:xfrm>
        </p:spPr>
        <p:txBody>
          <a:bodyPr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cap="all" baseline="0">
                <a:solidFill>
                  <a:schemeClr val="tx2"/>
                </a:solidFill>
                <a:latin typeface="+mj-lt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dirty="0"/>
              <a:t>Insertar texto destacado</a:t>
            </a:r>
          </a:p>
        </p:txBody>
      </p:sp>
      <p:sp>
        <p:nvSpPr>
          <p:cNvPr id="29" name="Marcador de Posição do Texto 10">
            <a:extLst>
              <a:ext uri="{FF2B5EF4-FFF2-40B4-BE49-F238E27FC236}">
                <a16:creationId xmlns:a16="http://schemas.microsoft.com/office/drawing/2014/main" id="{741C3E2D-51CB-BE94-2047-D18754D9374B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1901056" y="5838092"/>
            <a:ext cx="2615935" cy="422173"/>
          </a:xfrm>
        </p:spPr>
        <p:txBody>
          <a:bodyPr>
            <a:noAutofit/>
          </a:bodyPr>
          <a:lstStyle>
            <a:lvl1pPr algn="l">
              <a:defRPr sz="1400"/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es-ES" dirty="0"/>
              <a:t>Haz </a:t>
            </a:r>
            <a:r>
              <a:rPr lang="es-ES" dirty="0" err="1"/>
              <a:t>click</a:t>
            </a:r>
            <a:r>
              <a:rPr lang="es-ES" dirty="0"/>
              <a:t> para editar los estilos del texto del modelo</a:t>
            </a:r>
            <a:endParaRPr lang="pt-PT" dirty="0"/>
          </a:p>
        </p:txBody>
      </p:sp>
      <p:sp>
        <p:nvSpPr>
          <p:cNvPr id="30" name="Marcador de Posição do Texto 34">
            <a:extLst>
              <a:ext uri="{FF2B5EF4-FFF2-40B4-BE49-F238E27FC236}">
                <a16:creationId xmlns:a16="http://schemas.microsoft.com/office/drawing/2014/main" id="{9373CF8C-05E3-8B40-7EDE-7852FBFA3D7C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7670817" y="731820"/>
            <a:ext cx="2615935" cy="422172"/>
          </a:xfrm>
        </p:spPr>
        <p:txBody>
          <a:bodyPr anchor="ctr">
            <a:no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cap="all" baseline="0">
                <a:solidFill>
                  <a:schemeClr val="tx2"/>
                </a:solidFill>
                <a:latin typeface="+mj-lt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dirty="0"/>
              <a:t>Insertar texto destacado</a:t>
            </a:r>
          </a:p>
        </p:txBody>
      </p:sp>
      <p:sp>
        <p:nvSpPr>
          <p:cNvPr id="31" name="Marcador de Posição do Texto 10">
            <a:extLst>
              <a:ext uri="{FF2B5EF4-FFF2-40B4-BE49-F238E27FC236}">
                <a16:creationId xmlns:a16="http://schemas.microsoft.com/office/drawing/2014/main" id="{4C9DAC07-9513-BDE7-3518-1CAA0926E240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7670817" y="1153992"/>
            <a:ext cx="2615935" cy="422173"/>
          </a:xfrm>
        </p:spPr>
        <p:txBody>
          <a:bodyPr>
            <a:noAutofit/>
          </a:bodyPr>
          <a:lstStyle>
            <a:lvl1pPr algn="r">
              <a:defRPr sz="1400"/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es-ES" dirty="0"/>
              <a:t>Haz </a:t>
            </a:r>
            <a:r>
              <a:rPr lang="es-ES" dirty="0" err="1"/>
              <a:t>click</a:t>
            </a:r>
            <a:r>
              <a:rPr lang="es-ES" dirty="0"/>
              <a:t> para editar los estilos del texto del modelo</a:t>
            </a:r>
            <a:endParaRPr lang="pt-PT" dirty="0"/>
          </a:p>
        </p:txBody>
      </p:sp>
      <p:sp>
        <p:nvSpPr>
          <p:cNvPr id="32" name="Marcador de Posição do Texto 34">
            <a:extLst>
              <a:ext uri="{FF2B5EF4-FFF2-40B4-BE49-F238E27FC236}">
                <a16:creationId xmlns:a16="http://schemas.microsoft.com/office/drawing/2014/main" id="{CAD3A809-5992-671A-C2C1-85D68670B0E0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7670817" y="5415920"/>
            <a:ext cx="2615935" cy="422172"/>
          </a:xfrm>
        </p:spPr>
        <p:txBody>
          <a:bodyPr anchor="ctr">
            <a:no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cap="all" baseline="0">
                <a:solidFill>
                  <a:schemeClr val="tx2"/>
                </a:solidFill>
                <a:latin typeface="+mj-lt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dirty="0"/>
              <a:t>Insertar texto destacado</a:t>
            </a:r>
          </a:p>
        </p:txBody>
      </p:sp>
      <p:sp>
        <p:nvSpPr>
          <p:cNvPr id="33" name="Marcador de Posição do Texto 10">
            <a:extLst>
              <a:ext uri="{FF2B5EF4-FFF2-40B4-BE49-F238E27FC236}">
                <a16:creationId xmlns:a16="http://schemas.microsoft.com/office/drawing/2014/main" id="{36393CB2-A760-854F-B3CF-006CB057276E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7670817" y="5838092"/>
            <a:ext cx="2615935" cy="422173"/>
          </a:xfrm>
        </p:spPr>
        <p:txBody>
          <a:bodyPr>
            <a:noAutofit/>
          </a:bodyPr>
          <a:lstStyle>
            <a:lvl1pPr algn="r">
              <a:defRPr sz="1400"/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es-ES" dirty="0"/>
              <a:t>Haz </a:t>
            </a:r>
            <a:r>
              <a:rPr lang="es-ES" dirty="0" err="1"/>
              <a:t>click</a:t>
            </a:r>
            <a:r>
              <a:rPr lang="es-ES" dirty="0"/>
              <a:t> para editar los estilos del texto del modelo</a:t>
            </a:r>
            <a:endParaRPr lang="pt-PT" dirty="0"/>
          </a:p>
        </p:txBody>
      </p:sp>
      <p:sp>
        <p:nvSpPr>
          <p:cNvPr id="34" name="Marcador de Posição do Texto 34">
            <a:extLst>
              <a:ext uri="{FF2B5EF4-FFF2-40B4-BE49-F238E27FC236}">
                <a16:creationId xmlns:a16="http://schemas.microsoft.com/office/drawing/2014/main" id="{90972B5F-4EEE-BEBD-916C-46C175FCC6C3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8478862" y="3006828"/>
            <a:ext cx="2615935" cy="422172"/>
          </a:xfrm>
        </p:spPr>
        <p:txBody>
          <a:bodyPr anchor="ctr">
            <a:no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cap="all" baseline="0">
                <a:solidFill>
                  <a:schemeClr val="tx2"/>
                </a:solidFill>
                <a:latin typeface="+mj-lt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dirty="0"/>
              <a:t>Insertar texto destacado</a:t>
            </a:r>
          </a:p>
        </p:txBody>
      </p:sp>
      <p:sp>
        <p:nvSpPr>
          <p:cNvPr id="35" name="Marcador de Posição do Texto 10">
            <a:extLst>
              <a:ext uri="{FF2B5EF4-FFF2-40B4-BE49-F238E27FC236}">
                <a16:creationId xmlns:a16="http://schemas.microsoft.com/office/drawing/2014/main" id="{FF4D48BE-99E9-9993-7598-C79A749BE6F9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8478862" y="3429000"/>
            <a:ext cx="2615935" cy="422173"/>
          </a:xfrm>
        </p:spPr>
        <p:txBody>
          <a:bodyPr>
            <a:noAutofit/>
          </a:bodyPr>
          <a:lstStyle>
            <a:lvl1pPr algn="r">
              <a:defRPr sz="1400"/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es-ES" dirty="0"/>
              <a:t>Haz </a:t>
            </a:r>
            <a:r>
              <a:rPr lang="es-ES" dirty="0" err="1"/>
              <a:t>click</a:t>
            </a:r>
            <a:r>
              <a:rPr lang="es-ES" dirty="0"/>
              <a:t> para editar los estilos del texto del modelo</a:t>
            </a:r>
            <a:endParaRPr lang="pt-PT" dirty="0"/>
          </a:p>
        </p:txBody>
      </p:sp>
      <p:sp>
        <p:nvSpPr>
          <p:cNvPr id="36" name="Marcador de Posição do Texto 8">
            <a:extLst>
              <a:ext uri="{FF2B5EF4-FFF2-40B4-BE49-F238E27FC236}">
                <a16:creationId xmlns:a16="http://schemas.microsoft.com/office/drawing/2014/main" id="{FBEC7061-05A5-0979-88AB-25CFAFBCC7D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609619" y="1465194"/>
            <a:ext cx="905810" cy="513516"/>
          </a:xfrm>
        </p:spPr>
        <p:txBody>
          <a:bodyPr>
            <a:noAutofit/>
          </a:bodyPr>
          <a:lstStyle>
            <a:lvl1pPr algn="ctr">
              <a:defRPr sz="4000">
                <a:solidFill>
                  <a:srgbClr val="132153"/>
                </a:solidFill>
                <a:latin typeface="+mj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pt-PT" dirty="0"/>
              <a:t>NR</a:t>
            </a:r>
          </a:p>
        </p:txBody>
      </p:sp>
      <p:sp>
        <p:nvSpPr>
          <p:cNvPr id="37" name="Marcador de Posição do Texto 8">
            <a:extLst>
              <a:ext uri="{FF2B5EF4-FFF2-40B4-BE49-F238E27FC236}">
                <a16:creationId xmlns:a16="http://schemas.microsoft.com/office/drawing/2014/main" id="{8D4E9898-016C-A601-5C46-0CD15F78805A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3651451" y="3217914"/>
            <a:ext cx="918910" cy="513516"/>
          </a:xfrm>
        </p:spPr>
        <p:txBody>
          <a:bodyPr>
            <a:noAutofit/>
          </a:bodyPr>
          <a:lstStyle>
            <a:lvl1pPr algn="ctr">
              <a:defRPr sz="4000">
                <a:solidFill>
                  <a:schemeClr val="bg1"/>
                </a:solidFill>
                <a:latin typeface="+mj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pt-PT" dirty="0"/>
              <a:t>NR</a:t>
            </a:r>
          </a:p>
        </p:txBody>
      </p:sp>
      <p:sp>
        <p:nvSpPr>
          <p:cNvPr id="38" name="Marcador de Posição do Texto 8">
            <a:extLst>
              <a:ext uri="{FF2B5EF4-FFF2-40B4-BE49-F238E27FC236}">
                <a16:creationId xmlns:a16="http://schemas.microsoft.com/office/drawing/2014/main" id="{E03FD37E-3E94-5AB3-2514-B360198ED7AF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4609619" y="4888290"/>
            <a:ext cx="905810" cy="513516"/>
          </a:xfrm>
        </p:spPr>
        <p:txBody>
          <a:bodyPr>
            <a:noAutofit/>
          </a:bodyPr>
          <a:lstStyle>
            <a:lvl1pPr algn="ctr">
              <a:defRPr sz="4000">
                <a:solidFill>
                  <a:schemeClr val="bg1"/>
                </a:solidFill>
                <a:latin typeface="+mj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pt-PT" dirty="0"/>
              <a:t>NR</a:t>
            </a:r>
          </a:p>
        </p:txBody>
      </p:sp>
      <p:sp>
        <p:nvSpPr>
          <p:cNvPr id="39" name="Marcador de Posição do Texto 8">
            <a:extLst>
              <a:ext uri="{FF2B5EF4-FFF2-40B4-BE49-F238E27FC236}">
                <a16:creationId xmlns:a16="http://schemas.microsoft.com/office/drawing/2014/main" id="{AB643F24-7A30-A0A1-388B-E88BB919A2D1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6667388" y="1465194"/>
            <a:ext cx="905810" cy="513516"/>
          </a:xfrm>
        </p:spPr>
        <p:txBody>
          <a:bodyPr>
            <a:noAutofit/>
          </a:bodyPr>
          <a:lstStyle>
            <a:lvl1pPr algn="ctr">
              <a:defRPr sz="4000">
                <a:solidFill>
                  <a:schemeClr val="accent2"/>
                </a:solidFill>
                <a:latin typeface="+mj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pt-PT" dirty="0"/>
              <a:t>NR</a:t>
            </a:r>
          </a:p>
        </p:txBody>
      </p:sp>
      <p:sp>
        <p:nvSpPr>
          <p:cNvPr id="40" name="Marcador de Posição do Texto 8">
            <a:extLst>
              <a:ext uri="{FF2B5EF4-FFF2-40B4-BE49-F238E27FC236}">
                <a16:creationId xmlns:a16="http://schemas.microsoft.com/office/drawing/2014/main" id="{9AB578D2-81B8-0EED-27B3-6362EA6611EF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6667388" y="4888290"/>
            <a:ext cx="905810" cy="513516"/>
          </a:xfrm>
        </p:spPr>
        <p:txBody>
          <a:bodyPr>
            <a:noAutofit/>
          </a:bodyPr>
          <a:lstStyle>
            <a:lvl1pPr algn="ctr">
              <a:defRPr sz="4000">
                <a:solidFill>
                  <a:schemeClr val="bg1"/>
                </a:solidFill>
                <a:latin typeface="+mj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pt-PT" dirty="0"/>
              <a:t>NR</a:t>
            </a:r>
          </a:p>
        </p:txBody>
      </p:sp>
      <p:sp>
        <p:nvSpPr>
          <p:cNvPr id="41" name="Marcador de Posição do Texto 8">
            <a:extLst>
              <a:ext uri="{FF2B5EF4-FFF2-40B4-BE49-F238E27FC236}">
                <a16:creationId xmlns:a16="http://schemas.microsoft.com/office/drawing/2014/main" id="{FC2ED43D-4B58-2D9D-1D0F-F28F1A876020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7627574" y="3217914"/>
            <a:ext cx="918910" cy="513516"/>
          </a:xfrm>
        </p:spPr>
        <p:txBody>
          <a:bodyPr>
            <a:noAutofit/>
          </a:bodyPr>
          <a:lstStyle>
            <a:lvl1pPr algn="ctr">
              <a:defRPr sz="4000">
                <a:solidFill>
                  <a:schemeClr val="tx1"/>
                </a:solidFill>
                <a:latin typeface="+mj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pt-PT" dirty="0"/>
              <a:t>NR</a:t>
            </a:r>
          </a:p>
        </p:txBody>
      </p:sp>
      <p:pic>
        <p:nvPicPr>
          <p:cNvPr id="43" name="Imagem 42">
            <a:extLst>
              <a:ext uri="{FF2B5EF4-FFF2-40B4-BE49-F238E27FC236}">
                <a16:creationId xmlns:a16="http://schemas.microsoft.com/office/drawing/2014/main" id="{8B19675F-19AA-092C-1ED2-D8943C31DEFC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 l="10821" t="60527" r="14745" b="14633"/>
          <a:stretch>
            <a:fillRect/>
          </a:stretch>
        </p:blipFill>
        <p:spPr>
          <a:xfrm rot="16200000" flipV="1">
            <a:off x="8194003" y="2942749"/>
            <a:ext cx="5995348" cy="2000646"/>
          </a:xfrm>
          <a:prstGeom prst="rect">
            <a:avLst/>
          </a:prstGeom>
        </p:spPr>
      </p:pic>
      <p:sp>
        <p:nvSpPr>
          <p:cNvPr id="44" name="Marcador de Posição do Rodapé 4">
            <a:extLst>
              <a:ext uri="{FF2B5EF4-FFF2-40B4-BE49-F238E27FC236}">
                <a16:creationId xmlns:a16="http://schemas.microsoft.com/office/drawing/2014/main" id="{D21A90DE-5CB2-497A-BD8E-83E0176F688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12762" y="6356350"/>
            <a:ext cx="534669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accent2"/>
                </a:solidFill>
              </a:defRPr>
            </a:lvl1pPr>
          </a:lstStyle>
          <a:p>
            <a:r>
              <a:rPr lang="pt-PT"/>
              <a:t>Título de la presentación</a:t>
            </a:r>
            <a:endParaRPr lang="pt-PT" dirty="0"/>
          </a:p>
        </p:txBody>
      </p:sp>
      <p:sp>
        <p:nvSpPr>
          <p:cNvPr id="45" name="Marcador de Posição do Número do Diapositivo 5">
            <a:extLst>
              <a:ext uri="{FF2B5EF4-FFF2-40B4-BE49-F238E27FC236}">
                <a16:creationId xmlns:a16="http://schemas.microsoft.com/office/drawing/2014/main" id="{EA522688-F521-4A2F-AD61-E04AA3D79D8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936039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accent2"/>
                </a:solidFill>
              </a:defRPr>
            </a:lvl1pPr>
          </a:lstStyle>
          <a:p>
            <a:fld id="{24A347C2-D68E-473A-8C76-1D063E4EB6E0}" type="slidenum">
              <a:rPr lang="es-ES" smtClean="0"/>
              <a:pPr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84590319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9" dur="10" fill="hold"/>
                                        <p:tgtEl>
                                          <p:spTgt spid="2"/>
                                        </p:tgtEl>
                                      </p:cBhvr>
                                      <p:by x="125000" y="125000"/>
                                    </p:animScale>
                                  </p:childTnLst>
                                </p:cTn>
                              </p:par>
                              <p:par>
                                <p:cTn id="10" presetID="6" presetClass="emph" presetSubtype="0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11" dur="750" fill="hold"/>
                                        <p:tgtEl>
                                          <p:spTgt spid="2"/>
                                        </p:tgtEl>
                                      </p:cBhvr>
                                      <p:by x="80000" y="80000"/>
                                    </p:animScale>
                                  </p:childTnLst>
                                </p:cTn>
                              </p:par>
                              <p:par>
                                <p:cTn id="12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25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42" presetClass="path" presetSubtype="0" decel="100000" fill="hold" grpId="1" nodeType="withEffect">
                                  <p:stCondLst>
                                    <p:cond delay="500"/>
                                  </p:stCondLst>
                                  <p:childTnLst>
                                    <p:animMotion origin="layout" path="M 1.25E-6 0.03889 L 1.25E-6 1.85185E-6 " pathEditMode="relative" rAng="0" ptsTypes="AA">
                                      <p:cBhvr>
                                        <p:cTn id="16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944"/>
                                    </p:animMotion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25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42" presetClass="path" presetSubtype="0" decel="100000" fill="hold" grpId="1" nodeType="withEffect">
                                  <p:stCondLst>
                                    <p:cond delay="500"/>
                                  </p:stCondLst>
                                  <p:childTnLst>
                                    <p:animMotion origin="layout" path="M -3.75E-6 -0.03472 L -3.75E-6 1.85185E-6 " pathEditMode="relative" rAng="0" ptsTypes="AA">
                                      <p:cBhvr>
                                        <p:cTn id="21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736"/>
                                    </p:animMotion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3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3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3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4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4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3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500"/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6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8" dur="500"/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9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1" dur="500"/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2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4" dur="500"/>
                                        <p:tgtEl>
                                          <p:spTgt spid="2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5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500"/>
                                        <p:tgtEl>
                                          <p:spTgt spid="2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8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0" dur="500"/>
                                        <p:tgtEl>
                                          <p:spTgt spid="3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1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3" dur="500"/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4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6" dur="500"/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7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9" dur="500"/>
                                        <p:tgtEl>
                                          <p:spTgt spid="3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0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2" dur="500"/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3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5" dur="500"/>
                                        <p:tgtEl>
                                          <p:spTgt spid="3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2" grpId="0"/>
      <p:bldP spid="22" grpId="1"/>
      <p:bldP spid="23" grpId="0">
        <p:tmplLst>
          <p:tmpl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250"/>
                        <p:tgtEl>
                          <p:spTgt spid="2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3" grpId="1">
        <p:tmplLst>
          <p:tmpl>
            <p:tnLst>
              <p:par>
                <p:cTn presetID="42" presetClass="path" presetSubtype="0" decel="100000" fill="hold" nodeType="withEffect">
                  <p:stCondLst>
                    <p:cond delay="500"/>
                  </p:stCondLst>
                  <p:childTnLst>
                    <p:animMotion origin="layout" path="M -3.75E-6 -0.03472 L -3.75E-6 1.85185E-6 " pathEditMode="relative" rAng="0" ptsTypes="AA">
                      <p:cBhvr>
                        <p:cTn dur="500" fill="hold"/>
                        <p:tgtEl>
                          <p:spTgt spid="23"/>
                        </p:tgtEl>
                        <p:attrNameLst>
                          <p:attrName>ppt_x</p:attrName>
                          <p:attrName>ppt_y</p:attrName>
                        </p:attrNameLst>
                      </p:cBhvr>
                      <p:rCtr x="0" y="1736"/>
                    </p:animMotion>
                  </p:childTnLst>
                </p:cTn>
              </p:par>
            </p:tnLst>
          </p:tmpl>
        </p:tmplLst>
      </p:bldP>
      <p:bldP spid="24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5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6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7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8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9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0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1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2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3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4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5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6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7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8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9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0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1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1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7_Esquema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1" name="Imagem 79">
            <a:extLst>
              <a:ext uri="{FF2B5EF4-FFF2-40B4-BE49-F238E27FC236}">
                <a16:creationId xmlns:a16="http://schemas.microsoft.com/office/drawing/2014/main" id="{F6D87FBA-72FE-4F5D-A252-73CC97EFC61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 l="14054" t="7412" r="59459" b="56516"/>
          <a:stretch>
            <a:fillRect/>
          </a:stretch>
        </p:blipFill>
        <p:spPr>
          <a:xfrm rot="5400000">
            <a:off x="208753" y="5492929"/>
            <a:ext cx="1156319" cy="1573828"/>
          </a:xfrm>
          <a:prstGeom prst="rect">
            <a:avLst/>
          </a:prstGeom>
        </p:spPr>
      </p:pic>
      <p:sp>
        <p:nvSpPr>
          <p:cNvPr id="57" name="Forma livre: Forma 56">
            <a:extLst>
              <a:ext uri="{FF2B5EF4-FFF2-40B4-BE49-F238E27FC236}">
                <a16:creationId xmlns:a16="http://schemas.microsoft.com/office/drawing/2014/main" id="{C91074E8-AA6B-D908-717A-2BA756EB02DF}"/>
              </a:ext>
            </a:extLst>
          </p:cNvPr>
          <p:cNvSpPr/>
          <p:nvPr userDrawn="1"/>
        </p:nvSpPr>
        <p:spPr>
          <a:xfrm>
            <a:off x="9909842" y="1413067"/>
            <a:ext cx="2282158" cy="4564314"/>
          </a:xfrm>
          <a:custGeom>
            <a:avLst/>
            <a:gdLst>
              <a:gd name="connsiteX0" fmla="*/ 2282158 w 2282158"/>
              <a:gd name="connsiteY0" fmla="*/ 0 h 4564314"/>
              <a:gd name="connsiteX1" fmla="*/ 2282158 w 2282158"/>
              <a:gd name="connsiteY1" fmla="*/ 4564314 h 4564314"/>
              <a:gd name="connsiteX2" fmla="*/ 0 w 2282158"/>
              <a:gd name="connsiteY2" fmla="*/ 2282157 h 4564314"/>
              <a:gd name="connsiteX3" fmla="*/ 2282158 w 2282158"/>
              <a:gd name="connsiteY3" fmla="*/ 0 h 45643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282158" h="4564314">
                <a:moveTo>
                  <a:pt x="2282158" y="0"/>
                </a:moveTo>
                <a:lnTo>
                  <a:pt x="2282158" y="4564314"/>
                </a:lnTo>
                <a:cubicBezTo>
                  <a:pt x="1021757" y="4564314"/>
                  <a:pt x="0" y="3542558"/>
                  <a:pt x="0" y="2282157"/>
                </a:cubicBezTo>
                <a:cubicBezTo>
                  <a:pt x="0" y="1021756"/>
                  <a:pt x="1021757" y="0"/>
                  <a:pt x="2282158" y="0"/>
                </a:cubicBez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pt-PT"/>
          </a:p>
        </p:txBody>
      </p:sp>
      <p:grpSp>
        <p:nvGrpSpPr>
          <p:cNvPr id="9" name="Agrupar 8">
            <a:extLst>
              <a:ext uri="{FF2B5EF4-FFF2-40B4-BE49-F238E27FC236}">
                <a16:creationId xmlns:a16="http://schemas.microsoft.com/office/drawing/2014/main" id="{44667EAD-2259-1A09-B72F-ACCA829BF307}"/>
              </a:ext>
            </a:extLst>
          </p:cNvPr>
          <p:cNvGrpSpPr/>
          <p:nvPr userDrawn="1"/>
        </p:nvGrpSpPr>
        <p:grpSpPr>
          <a:xfrm>
            <a:off x="10543049" y="1913818"/>
            <a:ext cx="1648951" cy="3562812"/>
            <a:chOff x="3645515" y="1013082"/>
            <a:chExt cx="2241445" cy="4842987"/>
          </a:xfrm>
        </p:grpSpPr>
        <p:sp>
          <p:nvSpPr>
            <p:cNvPr id="6" name="Forma livre: Forma 5">
              <a:extLst>
                <a:ext uri="{FF2B5EF4-FFF2-40B4-BE49-F238E27FC236}">
                  <a16:creationId xmlns:a16="http://schemas.microsoft.com/office/drawing/2014/main" id="{536C9D72-4F95-18F9-D04D-DFCD80ECC9E4}"/>
                </a:ext>
              </a:extLst>
            </p:cNvPr>
            <p:cNvSpPr/>
            <p:nvPr userDrawn="1"/>
          </p:nvSpPr>
          <p:spPr>
            <a:xfrm>
              <a:off x="4159730" y="1013082"/>
              <a:ext cx="1722994" cy="1420745"/>
            </a:xfrm>
            <a:custGeom>
              <a:avLst/>
              <a:gdLst>
                <a:gd name="connsiteX0" fmla="*/ 1545505 w 1722994"/>
                <a:gd name="connsiteY0" fmla="*/ 2008 h 1420745"/>
                <a:gd name="connsiteX1" fmla="*/ 83009 w 1722994"/>
                <a:gd name="connsiteY1" fmla="*/ 818589 h 1420745"/>
                <a:gd name="connsiteX2" fmla="*/ 82563 w 1722994"/>
                <a:gd name="connsiteY2" fmla="*/ 818232 h 1420745"/>
                <a:gd name="connsiteX3" fmla="*/ 34266 w 1722994"/>
                <a:gd name="connsiteY3" fmla="*/ 875804 h 1420745"/>
                <a:gd name="connsiteX4" fmla="*/ 77568 w 1722994"/>
                <a:gd name="connsiteY4" fmla="*/ 1106584 h 1420745"/>
                <a:gd name="connsiteX5" fmla="*/ 581225 w 1722994"/>
                <a:gd name="connsiteY5" fmla="*/ 1397389 h 1420745"/>
                <a:gd name="connsiteX6" fmla="*/ 794078 w 1722994"/>
                <a:gd name="connsiteY6" fmla="*/ 1366083 h 1420745"/>
                <a:gd name="connsiteX7" fmla="*/ 812852 w 1722994"/>
                <a:gd name="connsiteY7" fmla="*/ 1346104 h 1420745"/>
                <a:gd name="connsiteX8" fmla="*/ 812942 w 1722994"/>
                <a:gd name="connsiteY8" fmla="*/ 1346194 h 1420745"/>
                <a:gd name="connsiteX9" fmla="*/ 1590993 w 1722994"/>
                <a:gd name="connsiteY9" fmla="*/ 904791 h 1420745"/>
                <a:gd name="connsiteX10" fmla="*/ 1722994 w 1722994"/>
                <a:gd name="connsiteY10" fmla="*/ 739655 h 1420745"/>
                <a:gd name="connsiteX11" fmla="*/ 1722994 w 1722994"/>
                <a:gd name="connsiteY11" fmla="*/ 153096 h 1420745"/>
                <a:gd name="connsiteX12" fmla="*/ 1545461 w 1722994"/>
                <a:gd name="connsiteY12" fmla="*/ 1963 h 14207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722994" h="1420745">
                  <a:moveTo>
                    <a:pt x="1545505" y="2008"/>
                  </a:moveTo>
                  <a:cubicBezTo>
                    <a:pt x="964342" y="95167"/>
                    <a:pt x="451587" y="392750"/>
                    <a:pt x="83009" y="818589"/>
                  </a:cubicBezTo>
                  <a:lnTo>
                    <a:pt x="82563" y="818232"/>
                  </a:lnTo>
                  <a:cubicBezTo>
                    <a:pt x="66196" y="837140"/>
                    <a:pt x="50098" y="856316"/>
                    <a:pt x="34266" y="875804"/>
                  </a:cubicBezTo>
                  <a:cubicBezTo>
                    <a:pt x="-25536" y="949342"/>
                    <a:pt x="-4532" y="1059179"/>
                    <a:pt x="77568" y="1106584"/>
                  </a:cubicBezTo>
                  <a:lnTo>
                    <a:pt x="581225" y="1397389"/>
                  </a:lnTo>
                  <a:cubicBezTo>
                    <a:pt x="650838" y="1437569"/>
                    <a:pt x="739538" y="1425127"/>
                    <a:pt x="794078" y="1366083"/>
                  </a:cubicBezTo>
                  <a:cubicBezTo>
                    <a:pt x="800277" y="1359394"/>
                    <a:pt x="806520" y="1352749"/>
                    <a:pt x="812852" y="1346104"/>
                  </a:cubicBezTo>
                  <a:lnTo>
                    <a:pt x="812942" y="1346194"/>
                  </a:lnTo>
                  <a:cubicBezTo>
                    <a:pt x="1019952" y="1129952"/>
                    <a:pt x="1288727" y="973334"/>
                    <a:pt x="1590993" y="904791"/>
                  </a:cubicBezTo>
                  <a:cubicBezTo>
                    <a:pt x="1668187" y="887310"/>
                    <a:pt x="1722994" y="818767"/>
                    <a:pt x="1722994" y="739655"/>
                  </a:cubicBezTo>
                  <a:lnTo>
                    <a:pt x="1722994" y="153096"/>
                  </a:lnTo>
                  <a:cubicBezTo>
                    <a:pt x="1722994" y="58822"/>
                    <a:pt x="1638575" y="-12932"/>
                    <a:pt x="1545461" y="1963"/>
                  </a:cubicBezTo>
                  <a:close/>
                </a:path>
              </a:pathLst>
            </a:custGeom>
            <a:solidFill>
              <a:srgbClr val="00FF94"/>
            </a:solidFill>
            <a:ln w="4455" cap="flat">
              <a:noFill/>
              <a:prstDash val="solid"/>
              <a:miter/>
            </a:ln>
            <a:effectLst>
              <a:glow rad="228600">
                <a:schemeClr val="accent1">
                  <a:alpha val="17000"/>
                </a:schemeClr>
              </a:glow>
            </a:effectLst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7" name="Forma livre: Forma 6">
              <a:extLst>
                <a:ext uri="{FF2B5EF4-FFF2-40B4-BE49-F238E27FC236}">
                  <a16:creationId xmlns:a16="http://schemas.microsoft.com/office/drawing/2014/main" id="{32446BFB-768B-69CB-45A5-0AB4C47DB92A}"/>
                </a:ext>
              </a:extLst>
            </p:cNvPr>
            <p:cNvSpPr/>
            <p:nvPr userDrawn="1"/>
          </p:nvSpPr>
          <p:spPr>
            <a:xfrm>
              <a:off x="3645515" y="2464260"/>
              <a:ext cx="973286" cy="1943169"/>
            </a:xfrm>
            <a:custGeom>
              <a:avLst/>
              <a:gdLst>
                <a:gd name="connsiteX0" fmla="*/ 160057 w 973286"/>
                <a:gd name="connsiteY0" fmla="*/ 98814 h 1943169"/>
                <a:gd name="connsiteX1" fmla="*/ 136021 w 973286"/>
                <a:gd name="connsiteY1" fmla="*/ 1773629 h 1943169"/>
                <a:gd name="connsiteX2" fmla="*/ 135485 w 973286"/>
                <a:gd name="connsiteY2" fmla="*/ 1773852 h 1943169"/>
                <a:gd name="connsiteX3" fmla="*/ 161172 w 973286"/>
                <a:gd name="connsiteY3" fmla="*/ 1844445 h 1943169"/>
                <a:gd name="connsiteX4" fmla="*/ 382676 w 973286"/>
                <a:gd name="connsiteY4" fmla="*/ 1922353 h 1943169"/>
                <a:gd name="connsiteX5" fmla="*/ 886333 w 973286"/>
                <a:gd name="connsiteY5" fmla="*/ 1631548 h 1943169"/>
                <a:gd name="connsiteX6" fmla="*/ 965668 w 973286"/>
                <a:gd name="connsiteY6" fmla="*/ 1431539 h 1943169"/>
                <a:gd name="connsiteX7" fmla="*/ 957775 w 973286"/>
                <a:gd name="connsiteY7" fmla="*/ 1405273 h 1943169"/>
                <a:gd name="connsiteX8" fmla="*/ 957909 w 973286"/>
                <a:gd name="connsiteY8" fmla="*/ 1405273 h 1943169"/>
                <a:gd name="connsiteX9" fmla="*/ 964687 w 973286"/>
                <a:gd name="connsiteY9" fmla="*/ 510739 h 1943169"/>
                <a:gd name="connsiteX10" fmla="*/ 887671 w 973286"/>
                <a:gd name="connsiteY10" fmla="*/ 313852 h 1943169"/>
                <a:gd name="connsiteX11" fmla="*/ 379644 w 973286"/>
                <a:gd name="connsiteY11" fmla="*/ 20550 h 1943169"/>
                <a:gd name="connsiteX12" fmla="*/ 160013 w 973286"/>
                <a:gd name="connsiteY12" fmla="*/ 98725 h 19431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973286" h="1943169">
                  <a:moveTo>
                    <a:pt x="160057" y="98814"/>
                  </a:moveTo>
                  <a:cubicBezTo>
                    <a:pt x="-49852" y="648717"/>
                    <a:pt x="-48514" y="1241564"/>
                    <a:pt x="136021" y="1773629"/>
                  </a:cubicBezTo>
                  <a:lnTo>
                    <a:pt x="135485" y="1773852"/>
                  </a:lnTo>
                  <a:cubicBezTo>
                    <a:pt x="143691" y="1797487"/>
                    <a:pt x="152253" y="1821033"/>
                    <a:pt x="161172" y="1844445"/>
                  </a:cubicBezTo>
                  <a:cubicBezTo>
                    <a:pt x="194975" y="1933011"/>
                    <a:pt x="300577" y="1969758"/>
                    <a:pt x="382676" y="1922353"/>
                  </a:cubicBezTo>
                  <a:lnTo>
                    <a:pt x="886333" y="1631548"/>
                  </a:lnTo>
                  <a:cubicBezTo>
                    <a:pt x="955946" y="1591368"/>
                    <a:pt x="989482" y="1508332"/>
                    <a:pt x="965668" y="1431539"/>
                  </a:cubicBezTo>
                  <a:cubicBezTo>
                    <a:pt x="962948" y="1422843"/>
                    <a:pt x="960317" y="1414058"/>
                    <a:pt x="957775" y="1405273"/>
                  </a:cubicBezTo>
                  <a:lnTo>
                    <a:pt x="957909" y="1405273"/>
                  </a:lnTo>
                  <a:cubicBezTo>
                    <a:pt x="874114" y="1117857"/>
                    <a:pt x="872910" y="806806"/>
                    <a:pt x="964687" y="510739"/>
                  </a:cubicBezTo>
                  <a:cubicBezTo>
                    <a:pt x="988144" y="435151"/>
                    <a:pt x="956214" y="353408"/>
                    <a:pt x="887671" y="313852"/>
                  </a:cubicBezTo>
                  <a:lnTo>
                    <a:pt x="379644" y="20550"/>
                  </a:lnTo>
                  <a:cubicBezTo>
                    <a:pt x="297990" y="-26587"/>
                    <a:pt x="193637" y="10650"/>
                    <a:pt x="160013" y="98725"/>
                  </a:cubicBezTo>
                  <a:close/>
                </a:path>
              </a:pathLst>
            </a:custGeom>
            <a:solidFill>
              <a:srgbClr val="184BFF"/>
            </a:solidFill>
            <a:ln w="4455" cap="flat">
              <a:noFill/>
              <a:prstDash val="solid"/>
              <a:miter/>
            </a:ln>
            <a:effectLst>
              <a:glow rad="228600">
                <a:schemeClr val="tx1">
                  <a:alpha val="17000"/>
                </a:schemeClr>
              </a:glow>
            </a:effectLst>
          </p:spPr>
          <p:txBody>
            <a:bodyPr rtlCol="0" anchor="ctr"/>
            <a:lstStyle/>
            <a:p>
              <a:endParaRPr lang="pt-PT" dirty="0"/>
            </a:p>
          </p:txBody>
        </p:sp>
        <p:sp>
          <p:nvSpPr>
            <p:cNvPr id="8" name="Forma livre: Forma 7">
              <a:extLst>
                <a:ext uri="{FF2B5EF4-FFF2-40B4-BE49-F238E27FC236}">
                  <a16:creationId xmlns:a16="http://schemas.microsoft.com/office/drawing/2014/main" id="{0D4FE1E2-AD32-C3F5-552E-89304D65FFAB}"/>
                </a:ext>
              </a:extLst>
            </p:cNvPr>
            <p:cNvSpPr/>
            <p:nvPr userDrawn="1"/>
          </p:nvSpPr>
          <p:spPr>
            <a:xfrm>
              <a:off x="4161947" y="4436984"/>
              <a:ext cx="1725013" cy="1419085"/>
            </a:xfrm>
            <a:custGeom>
              <a:avLst/>
              <a:gdLst>
                <a:gd name="connsiteX0" fmla="*/ 34413 w 1725013"/>
                <a:gd name="connsiteY0" fmla="*/ 545241 h 1419085"/>
                <a:gd name="connsiteX1" fmla="*/ 1472828 w 1725013"/>
                <a:gd name="connsiteY1" fmla="*/ 1403474 h 1419085"/>
                <a:gd name="connsiteX2" fmla="*/ 1472828 w 1725013"/>
                <a:gd name="connsiteY2" fmla="*/ 1404054 h 1419085"/>
                <a:gd name="connsiteX3" fmla="*/ 1546767 w 1725013"/>
                <a:gd name="connsiteY3" fmla="*/ 1417120 h 1419085"/>
                <a:gd name="connsiteX4" fmla="*/ 1725014 w 1725013"/>
                <a:gd name="connsiteY4" fmla="*/ 1264249 h 1419085"/>
                <a:gd name="connsiteX5" fmla="*/ 1725014 w 1725013"/>
                <a:gd name="connsiteY5" fmla="*/ 682683 h 1419085"/>
                <a:gd name="connsiteX6" fmla="*/ 1591451 w 1725013"/>
                <a:gd name="connsiteY6" fmla="*/ 513980 h 1419085"/>
                <a:gd name="connsiteX7" fmla="*/ 1564783 w 1725013"/>
                <a:gd name="connsiteY7" fmla="*/ 507692 h 1419085"/>
                <a:gd name="connsiteX8" fmla="*/ 1564783 w 1725013"/>
                <a:gd name="connsiteY8" fmla="*/ 507558 h 1419085"/>
                <a:gd name="connsiteX9" fmla="*/ 793555 w 1725013"/>
                <a:gd name="connsiteY9" fmla="*/ 54428 h 1419085"/>
                <a:gd name="connsiteX10" fmla="*/ 584538 w 1725013"/>
                <a:gd name="connsiteY10" fmla="*/ 22676 h 1419085"/>
                <a:gd name="connsiteX11" fmla="*/ 76511 w 1725013"/>
                <a:gd name="connsiteY11" fmla="*/ 315978 h 1419085"/>
                <a:gd name="connsiteX12" fmla="*/ 34413 w 1725013"/>
                <a:gd name="connsiteY12" fmla="*/ 545286 h 14190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725013" h="1419085">
                  <a:moveTo>
                    <a:pt x="34413" y="545241"/>
                  </a:moveTo>
                  <a:cubicBezTo>
                    <a:pt x="405667" y="1001984"/>
                    <a:pt x="919760" y="1297248"/>
                    <a:pt x="1472828" y="1403474"/>
                  </a:cubicBezTo>
                  <a:lnTo>
                    <a:pt x="1472828" y="1404054"/>
                  </a:lnTo>
                  <a:cubicBezTo>
                    <a:pt x="1497356" y="1408781"/>
                    <a:pt x="1522017" y="1413107"/>
                    <a:pt x="1546767" y="1417120"/>
                  </a:cubicBezTo>
                  <a:cubicBezTo>
                    <a:pt x="1640372" y="1432149"/>
                    <a:pt x="1725014" y="1359058"/>
                    <a:pt x="1725014" y="1264249"/>
                  </a:cubicBezTo>
                  <a:lnTo>
                    <a:pt x="1725014" y="682683"/>
                  </a:lnTo>
                  <a:cubicBezTo>
                    <a:pt x="1725014" y="602278"/>
                    <a:pt x="1669894" y="531729"/>
                    <a:pt x="1591451" y="513980"/>
                  </a:cubicBezTo>
                  <a:cubicBezTo>
                    <a:pt x="1582577" y="511973"/>
                    <a:pt x="1573658" y="509877"/>
                    <a:pt x="1564783" y="507692"/>
                  </a:cubicBezTo>
                  <a:lnTo>
                    <a:pt x="1564783" y="507558"/>
                  </a:lnTo>
                  <a:cubicBezTo>
                    <a:pt x="1274068" y="436429"/>
                    <a:pt x="1004044" y="281952"/>
                    <a:pt x="793555" y="54428"/>
                  </a:cubicBezTo>
                  <a:cubicBezTo>
                    <a:pt x="739818" y="-3680"/>
                    <a:pt x="653081" y="-16880"/>
                    <a:pt x="584538" y="22676"/>
                  </a:cubicBezTo>
                  <a:lnTo>
                    <a:pt x="76511" y="315978"/>
                  </a:lnTo>
                  <a:cubicBezTo>
                    <a:pt x="-5143" y="363115"/>
                    <a:pt x="-25077" y="472105"/>
                    <a:pt x="34413" y="545286"/>
                  </a:cubicBezTo>
                  <a:close/>
                </a:path>
              </a:pathLst>
            </a:custGeom>
            <a:solidFill>
              <a:srgbClr val="1D3EB6"/>
            </a:solidFill>
            <a:ln w="4455" cap="flat">
              <a:noFill/>
              <a:prstDash val="solid"/>
              <a:miter/>
            </a:ln>
            <a:effectLst>
              <a:glow rad="228600">
                <a:schemeClr val="accent2">
                  <a:alpha val="17000"/>
                </a:schemeClr>
              </a:glow>
            </a:effectLst>
          </p:spPr>
          <p:txBody>
            <a:bodyPr rtlCol="0" anchor="ctr"/>
            <a:lstStyle/>
            <a:p>
              <a:endParaRPr lang="pt-PT"/>
            </a:p>
          </p:txBody>
        </p:sp>
      </p:grpSp>
      <p:sp>
        <p:nvSpPr>
          <p:cNvPr id="50" name="Marcador de Posição do Texto 34">
            <a:extLst>
              <a:ext uri="{FF2B5EF4-FFF2-40B4-BE49-F238E27FC236}">
                <a16:creationId xmlns:a16="http://schemas.microsoft.com/office/drawing/2014/main" id="{7B398960-DE2C-C99C-301B-542835EA4290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 rot="16200000">
            <a:off x="10881003" y="3464566"/>
            <a:ext cx="1770390" cy="422172"/>
          </a:xfrm>
        </p:spPr>
        <p:txBody>
          <a:bodyPr anchor="ctr">
            <a:noAutofit/>
          </a:bodyPr>
          <a:lstStyle>
            <a:lvl1pPr algn="ctr">
              <a:defRPr sz="1200" cap="all" baseline="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pt-PT" dirty="0"/>
              <a:t>Insertar texto destacado</a:t>
            </a:r>
          </a:p>
        </p:txBody>
      </p:sp>
      <p:sp>
        <p:nvSpPr>
          <p:cNvPr id="53" name="Marcador de Posição do Texto 34">
            <a:extLst>
              <a:ext uri="{FF2B5EF4-FFF2-40B4-BE49-F238E27FC236}">
                <a16:creationId xmlns:a16="http://schemas.microsoft.com/office/drawing/2014/main" id="{82C09A16-DD3D-8FEE-1B85-6B40B90830D0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 rot="19800000">
            <a:off x="10373865" y="1746031"/>
            <a:ext cx="1770390" cy="422172"/>
          </a:xfrm>
        </p:spPr>
        <p:txBody>
          <a:bodyPr anchor="ctr">
            <a:noAutofit/>
          </a:bodyPr>
          <a:lstStyle>
            <a:lvl1pPr algn="ctr">
              <a:defRPr sz="1200" cap="all" baseline="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pt-PT" dirty="0"/>
              <a:t>Insertar texto destacado</a:t>
            </a:r>
          </a:p>
        </p:txBody>
      </p:sp>
      <p:sp>
        <p:nvSpPr>
          <p:cNvPr id="54" name="Marcador de Posição do Texto 34">
            <a:extLst>
              <a:ext uri="{FF2B5EF4-FFF2-40B4-BE49-F238E27FC236}">
                <a16:creationId xmlns:a16="http://schemas.microsoft.com/office/drawing/2014/main" id="{08E02249-83B3-C7E8-BDA9-E38D8F594280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 rot="16200000">
            <a:off x="9361803" y="3464566"/>
            <a:ext cx="1770390" cy="422172"/>
          </a:xfrm>
        </p:spPr>
        <p:txBody>
          <a:bodyPr anchor="ctr">
            <a:noAutofit/>
          </a:bodyPr>
          <a:lstStyle>
            <a:lvl1pPr algn="ctr">
              <a:defRPr sz="1200" cap="all" baseline="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pt-PT" dirty="0"/>
              <a:t>insertar texto destacado</a:t>
            </a:r>
          </a:p>
        </p:txBody>
      </p:sp>
      <p:sp>
        <p:nvSpPr>
          <p:cNvPr id="55" name="Marcador de Posição do Texto 34">
            <a:extLst>
              <a:ext uri="{FF2B5EF4-FFF2-40B4-BE49-F238E27FC236}">
                <a16:creationId xmlns:a16="http://schemas.microsoft.com/office/drawing/2014/main" id="{E8314443-519D-42B2-53F6-0E733DF73200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 rot="1800000" flipV="1">
            <a:off x="10373866" y="5151763"/>
            <a:ext cx="1770390" cy="422172"/>
          </a:xfrm>
        </p:spPr>
        <p:txBody>
          <a:bodyPr anchor="ctr">
            <a:noAutofit/>
          </a:bodyPr>
          <a:lstStyle>
            <a:lvl1pPr algn="ctr">
              <a:defRPr sz="1200" cap="all" baseline="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pt-PT" dirty="0"/>
              <a:t>Inserir texto destacado</a:t>
            </a:r>
          </a:p>
        </p:txBody>
      </p:sp>
      <p:sp>
        <p:nvSpPr>
          <p:cNvPr id="58" name="Oval 57">
            <a:extLst>
              <a:ext uri="{FF2B5EF4-FFF2-40B4-BE49-F238E27FC236}">
                <a16:creationId xmlns:a16="http://schemas.microsoft.com/office/drawing/2014/main" id="{AA7A5CBC-900F-393B-10B5-160818504D06}"/>
              </a:ext>
            </a:extLst>
          </p:cNvPr>
          <p:cNvSpPr/>
          <p:nvPr userDrawn="1"/>
        </p:nvSpPr>
        <p:spPr>
          <a:xfrm>
            <a:off x="9554011" y="1041309"/>
            <a:ext cx="2634343" cy="5268686"/>
          </a:xfrm>
          <a:custGeom>
            <a:avLst/>
            <a:gdLst>
              <a:gd name="connsiteX0" fmla="*/ 0 w 5268686"/>
              <a:gd name="connsiteY0" fmla="*/ 2634343 h 5268686"/>
              <a:gd name="connsiteX1" fmla="*/ 2634343 w 5268686"/>
              <a:gd name="connsiteY1" fmla="*/ 0 h 5268686"/>
              <a:gd name="connsiteX2" fmla="*/ 5268686 w 5268686"/>
              <a:gd name="connsiteY2" fmla="*/ 2634343 h 5268686"/>
              <a:gd name="connsiteX3" fmla="*/ 2634343 w 5268686"/>
              <a:gd name="connsiteY3" fmla="*/ 5268686 h 5268686"/>
              <a:gd name="connsiteX4" fmla="*/ 0 w 5268686"/>
              <a:gd name="connsiteY4" fmla="*/ 2634343 h 5268686"/>
              <a:gd name="connsiteX0" fmla="*/ 5268686 w 5360126"/>
              <a:gd name="connsiteY0" fmla="*/ 2634343 h 5268686"/>
              <a:gd name="connsiteX1" fmla="*/ 2634343 w 5360126"/>
              <a:gd name="connsiteY1" fmla="*/ 5268686 h 5268686"/>
              <a:gd name="connsiteX2" fmla="*/ 0 w 5360126"/>
              <a:gd name="connsiteY2" fmla="*/ 2634343 h 5268686"/>
              <a:gd name="connsiteX3" fmla="*/ 2634343 w 5360126"/>
              <a:gd name="connsiteY3" fmla="*/ 0 h 5268686"/>
              <a:gd name="connsiteX4" fmla="*/ 5360126 w 5360126"/>
              <a:gd name="connsiteY4" fmla="*/ 2725783 h 5268686"/>
              <a:gd name="connsiteX0" fmla="*/ 5268686 w 5268686"/>
              <a:gd name="connsiteY0" fmla="*/ 2634343 h 5268686"/>
              <a:gd name="connsiteX1" fmla="*/ 2634343 w 5268686"/>
              <a:gd name="connsiteY1" fmla="*/ 5268686 h 5268686"/>
              <a:gd name="connsiteX2" fmla="*/ 0 w 5268686"/>
              <a:gd name="connsiteY2" fmla="*/ 2634343 h 5268686"/>
              <a:gd name="connsiteX3" fmla="*/ 2634343 w 5268686"/>
              <a:gd name="connsiteY3" fmla="*/ 0 h 5268686"/>
              <a:gd name="connsiteX0" fmla="*/ 2634343 w 2634343"/>
              <a:gd name="connsiteY0" fmla="*/ 5268686 h 5268686"/>
              <a:gd name="connsiteX1" fmla="*/ 0 w 2634343"/>
              <a:gd name="connsiteY1" fmla="*/ 2634343 h 5268686"/>
              <a:gd name="connsiteX2" fmla="*/ 2634343 w 2634343"/>
              <a:gd name="connsiteY2" fmla="*/ 0 h 52686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634343" h="5268686">
                <a:moveTo>
                  <a:pt x="2634343" y="5268686"/>
                </a:moveTo>
                <a:cubicBezTo>
                  <a:pt x="1179436" y="5268686"/>
                  <a:pt x="0" y="4089250"/>
                  <a:pt x="0" y="2634343"/>
                </a:cubicBezTo>
                <a:cubicBezTo>
                  <a:pt x="0" y="1179436"/>
                  <a:pt x="1179436" y="0"/>
                  <a:pt x="2634343" y="0"/>
                </a:cubicBezTo>
              </a:path>
            </a:pathLst>
          </a:cu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  <p:sp>
        <p:nvSpPr>
          <p:cNvPr id="59" name="Marcador de Posição do Texto 34">
            <a:extLst>
              <a:ext uri="{FF2B5EF4-FFF2-40B4-BE49-F238E27FC236}">
                <a16:creationId xmlns:a16="http://schemas.microsoft.com/office/drawing/2014/main" id="{EEC47705-08F3-BE75-2450-5F06A41A7C01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 rot="19800000">
            <a:off x="11133833" y="2224614"/>
            <a:ext cx="1017680" cy="422172"/>
          </a:xfrm>
        </p:spPr>
        <p:txBody>
          <a:bodyPr anchor="ctr">
            <a:noAutofit/>
          </a:bodyPr>
          <a:lstStyle>
            <a:lvl1pPr algn="ctr">
              <a:defRPr sz="1100" cap="none" baseline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pt-PT" dirty="0"/>
              <a:t>Inserir texto destacado</a:t>
            </a:r>
          </a:p>
        </p:txBody>
      </p:sp>
      <p:sp>
        <p:nvSpPr>
          <p:cNvPr id="65" name="Marcador de Posição do Texto 34">
            <a:extLst>
              <a:ext uri="{FF2B5EF4-FFF2-40B4-BE49-F238E27FC236}">
                <a16:creationId xmlns:a16="http://schemas.microsoft.com/office/drawing/2014/main" id="{51DDD1CD-0EA2-28E4-EC6E-3AF8D995FD6D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 rot="16200000">
            <a:off x="10362224" y="3484748"/>
            <a:ext cx="1017680" cy="422172"/>
          </a:xfrm>
        </p:spPr>
        <p:txBody>
          <a:bodyPr anchor="ctr">
            <a:noAutofit/>
          </a:bodyPr>
          <a:lstStyle>
            <a:lvl1pPr algn="ctr">
              <a:defRPr sz="1100" cap="none" baseline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pt-PT" dirty="0"/>
              <a:t>Inserir texto destacado</a:t>
            </a:r>
          </a:p>
        </p:txBody>
      </p:sp>
      <p:sp>
        <p:nvSpPr>
          <p:cNvPr id="66" name="Marcador de Posição do Texto 34">
            <a:extLst>
              <a:ext uri="{FF2B5EF4-FFF2-40B4-BE49-F238E27FC236}">
                <a16:creationId xmlns:a16="http://schemas.microsoft.com/office/drawing/2014/main" id="{BA84AACE-6919-0C2E-743F-0F21012D40D0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 rot="12600000">
            <a:off x="11136948" y="4745418"/>
            <a:ext cx="1017680" cy="422172"/>
          </a:xfrm>
        </p:spPr>
        <p:txBody>
          <a:bodyPr anchor="ctr">
            <a:noAutofit/>
          </a:bodyPr>
          <a:lstStyle>
            <a:lvl1pPr algn="ctr">
              <a:defRPr sz="1100" cap="none" baseline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pt-PT" dirty="0"/>
              <a:t>Inserir texto destacado</a:t>
            </a:r>
          </a:p>
        </p:txBody>
      </p:sp>
      <p:sp>
        <p:nvSpPr>
          <p:cNvPr id="68" name="Marcador de Posição do Texto 34">
            <a:extLst>
              <a:ext uri="{FF2B5EF4-FFF2-40B4-BE49-F238E27FC236}">
                <a16:creationId xmlns:a16="http://schemas.microsoft.com/office/drawing/2014/main" id="{1C0902CC-8B72-65CB-1826-37704CCFDFB5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 rot="16200000">
            <a:off x="8899135" y="3446511"/>
            <a:ext cx="2186262" cy="497426"/>
          </a:xfrm>
        </p:spPr>
        <p:txBody>
          <a:bodyPr anchor="ctr">
            <a:prstTxWarp prst="textArchUp">
              <a:avLst/>
            </a:prstTxWarp>
            <a:noAutofit/>
          </a:bodyPr>
          <a:lstStyle>
            <a:lvl1pPr algn="ctr">
              <a:defRPr sz="1200" cap="none" baseline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pt-PT" dirty="0"/>
              <a:t>Inserir texto destacado</a:t>
            </a:r>
          </a:p>
        </p:txBody>
      </p:sp>
      <p:sp>
        <p:nvSpPr>
          <p:cNvPr id="69" name="Marcador de Posição do Texto 34">
            <a:extLst>
              <a:ext uri="{FF2B5EF4-FFF2-40B4-BE49-F238E27FC236}">
                <a16:creationId xmlns:a16="http://schemas.microsoft.com/office/drawing/2014/main" id="{51A44F4E-E966-DA74-9366-428927147C5C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11564292" y="773813"/>
            <a:ext cx="627708" cy="256624"/>
          </a:xfrm>
        </p:spPr>
        <p:txBody>
          <a:bodyPr anchor="ctr">
            <a:noAutofit/>
          </a:bodyPr>
          <a:lstStyle>
            <a:lvl1pPr algn="ctr">
              <a:defRPr sz="800" cap="none" baseline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pt-PT" dirty="0"/>
              <a:t>Texto</a:t>
            </a:r>
          </a:p>
        </p:txBody>
      </p:sp>
      <p:sp>
        <p:nvSpPr>
          <p:cNvPr id="70" name="Marcador de Posição do Texto 34">
            <a:extLst>
              <a:ext uri="{FF2B5EF4-FFF2-40B4-BE49-F238E27FC236}">
                <a16:creationId xmlns:a16="http://schemas.microsoft.com/office/drawing/2014/main" id="{A799D5A4-79F6-986B-C20C-3632C3A98DFA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 rot="19800000">
            <a:off x="10314794" y="1131090"/>
            <a:ext cx="627708" cy="256624"/>
          </a:xfrm>
        </p:spPr>
        <p:txBody>
          <a:bodyPr anchor="ctr">
            <a:noAutofit/>
          </a:bodyPr>
          <a:lstStyle>
            <a:lvl1pPr algn="ctr">
              <a:defRPr sz="800" cap="none" baseline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pt-PT" dirty="0"/>
              <a:t>Texto</a:t>
            </a:r>
          </a:p>
        </p:txBody>
      </p:sp>
      <p:sp>
        <p:nvSpPr>
          <p:cNvPr id="71" name="Marcador de Posição do Texto 34">
            <a:extLst>
              <a:ext uri="{FF2B5EF4-FFF2-40B4-BE49-F238E27FC236}">
                <a16:creationId xmlns:a16="http://schemas.microsoft.com/office/drawing/2014/main" id="{79DB49B8-1F33-F03C-C95F-73E2B1DDBD88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 rot="18203560">
            <a:off x="9447941" y="1949546"/>
            <a:ext cx="627708" cy="256624"/>
          </a:xfrm>
        </p:spPr>
        <p:txBody>
          <a:bodyPr anchor="ctr">
            <a:noAutofit/>
          </a:bodyPr>
          <a:lstStyle>
            <a:lvl1pPr algn="ctr">
              <a:defRPr sz="800" cap="none" baseline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pt-PT" dirty="0"/>
              <a:t>Texto</a:t>
            </a:r>
          </a:p>
        </p:txBody>
      </p:sp>
      <p:sp>
        <p:nvSpPr>
          <p:cNvPr id="72" name="Marcador de Posição do Texto 34">
            <a:extLst>
              <a:ext uri="{FF2B5EF4-FFF2-40B4-BE49-F238E27FC236}">
                <a16:creationId xmlns:a16="http://schemas.microsoft.com/office/drawing/2014/main" id="{D88C395A-AABC-3A17-CEAD-446680A9ED4A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 rot="16200000">
            <a:off x="8955926" y="3563465"/>
            <a:ext cx="627708" cy="256624"/>
          </a:xfrm>
        </p:spPr>
        <p:txBody>
          <a:bodyPr anchor="ctr">
            <a:noAutofit/>
          </a:bodyPr>
          <a:lstStyle>
            <a:lvl1pPr algn="ctr">
              <a:defRPr sz="800" cap="none" baseline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pt-PT" dirty="0"/>
              <a:t>Texto</a:t>
            </a:r>
          </a:p>
        </p:txBody>
      </p:sp>
      <p:sp>
        <p:nvSpPr>
          <p:cNvPr id="73" name="Marcador de Posição do Texto 34">
            <a:extLst>
              <a:ext uri="{FF2B5EF4-FFF2-40B4-BE49-F238E27FC236}">
                <a16:creationId xmlns:a16="http://schemas.microsoft.com/office/drawing/2014/main" id="{EA4CAF39-89B5-34E3-C805-1620D9EE37D3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 rot="3600000">
            <a:off x="9459762" y="5148419"/>
            <a:ext cx="627708" cy="256624"/>
          </a:xfrm>
        </p:spPr>
        <p:txBody>
          <a:bodyPr anchor="ctr">
            <a:noAutofit/>
          </a:bodyPr>
          <a:lstStyle>
            <a:lvl1pPr algn="ctr">
              <a:defRPr sz="800" cap="none" baseline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pt-PT" dirty="0"/>
              <a:t>Texto</a:t>
            </a:r>
          </a:p>
        </p:txBody>
      </p:sp>
      <p:sp>
        <p:nvSpPr>
          <p:cNvPr id="74" name="Marcador de Posição do Texto 34">
            <a:extLst>
              <a:ext uri="{FF2B5EF4-FFF2-40B4-BE49-F238E27FC236}">
                <a16:creationId xmlns:a16="http://schemas.microsoft.com/office/drawing/2014/main" id="{E56ED813-6DAE-F804-5C20-A4A9B1F8E864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 rot="12600000" flipV="1">
            <a:off x="10314792" y="5963238"/>
            <a:ext cx="627708" cy="256624"/>
          </a:xfrm>
        </p:spPr>
        <p:txBody>
          <a:bodyPr anchor="ctr">
            <a:noAutofit/>
          </a:bodyPr>
          <a:lstStyle>
            <a:lvl1pPr algn="ctr">
              <a:defRPr sz="800" cap="none" baseline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pt-PT" dirty="0"/>
              <a:t>Texto</a:t>
            </a:r>
          </a:p>
        </p:txBody>
      </p:sp>
      <p:sp>
        <p:nvSpPr>
          <p:cNvPr id="75" name="Marcador de Posição do Texto 34">
            <a:extLst>
              <a:ext uri="{FF2B5EF4-FFF2-40B4-BE49-F238E27FC236}">
                <a16:creationId xmlns:a16="http://schemas.microsoft.com/office/drawing/2014/main" id="{E6FE43E1-BB27-DB1B-A9F0-14C5742E4097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 rot="10800000" flipV="1">
            <a:off x="11564292" y="6329270"/>
            <a:ext cx="627708" cy="256624"/>
          </a:xfrm>
        </p:spPr>
        <p:txBody>
          <a:bodyPr anchor="ctr">
            <a:noAutofit/>
          </a:bodyPr>
          <a:lstStyle>
            <a:lvl1pPr algn="ctr">
              <a:defRPr sz="800" cap="none" baseline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pt-PT" dirty="0"/>
              <a:t>Texto</a:t>
            </a:r>
          </a:p>
        </p:txBody>
      </p:sp>
      <p:sp>
        <p:nvSpPr>
          <p:cNvPr id="76" name="Título 6">
            <a:extLst>
              <a:ext uri="{FF2B5EF4-FFF2-40B4-BE49-F238E27FC236}">
                <a16:creationId xmlns:a16="http://schemas.microsoft.com/office/drawing/2014/main" id="{3628BA7D-28D0-99C3-825F-2B0D6D38BA4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3185" y="550508"/>
            <a:ext cx="8628284" cy="712204"/>
          </a:xfrm>
        </p:spPr>
        <p:txBody>
          <a:bodyPr>
            <a:normAutofit/>
          </a:bodyPr>
          <a:lstStyle>
            <a:lvl1pPr>
              <a:defRPr sz="3200"/>
            </a:lvl1pPr>
          </a:lstStyle>
          <a:p>
            <a:r>
              <a:rPr lang="pt-PT" dirty="0"/>
              <a:t>Insertar título de la slide</a:t>
            </a:r>
          </a:p>
        </p:txBody>
      </p:sp>
      <p:sp>
        <p:nvSpPr>
          <p:cNvPr id="77" name="Marcador de Posição do Texto 8">
            <a:extLst>
              <a:ext uri="{FF2B5EF4-FFF2-40B4-BE49-F238E27FC236}">
                <a16:creationId xmlns:a16="http://schemas.microsoft.com/office/drawing/2014/main" id="{E4F1DF44-3FB2-B16A-E69E-0F1580CB104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12764" y="1156317"/>
            <a:ext cx="8628935" cy="355243"/>
          </a:xfrm>
        </p:spPr>
        <p:txBody>
          <a:bodyPr>
            <a:normAutofit/>
          </a:bodyPr>
          <a:lstStyle>
            <a:lvl1pPr>
              <a:defRPr sz="200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pt-PT" dirty="0"/>
              <a:t>Insertar subtítulo de la slide</a:t>
            </a:r>
          </a:p>
        </p:txBody>
      </p:sp>
      <p:sp>
        <p:nvSpPr>
          <p:cNvPr id="78" name="Marcador de Posição do Texto 10">
            <a:extLst>
              <a:ext uri="{FF2B5EF4-FFF2-40B4-BE49-F238E27FC236}">
                <a16:creationId xmlns:a16="http://schemas.microsoft.com/office/drawing/2014/main" id="{D0620E8E-DAAD-B7B8-7BD0-60569381574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12762" y="1744663"/>
            <a:ext cx="4059237" cy="4478337"/>
          </a:xfrm>
        </p:spPr>
        <p:txBody>
          <a:bodyPr/>
          <a:lstStyle>
            <a:lvl1pPr>
              <a:defRPr/>
            </a:lvl1pPr>
            <a:lvl2pPr>
              <a:defRPr/>
            </a:lvl2pPr>
          </a:lstStyle>
          <a:p>
            <a:pPr lvl="0"/>
            <a:r>
              <a:rPr lang="es-ES" dirty="0"/>
              <a:t>Haz </a:t>
            </a:r>
            <a:r>
              <a:rPr lang="es-ES" dirty="0" err="1"/>
              <a:t>click</a:t>
            </a:r>
            <a:r>
              <a:rPr lang="es-ES" dirty="0"/>
              <a:t> para editar los estilos del texto del modelo global</a:t>
            </a:r>
            <a:endParaRPr lang="pt-PT" dirty="0"/>
          </a:p>
          <a:p>
            <a:pPr lvl="1"/>
            <a:r>
              <a:rPr lang="es-ES" dirty="0"/>
              <a:t>Segundo nivel</a:t>
            </a:r>
          </a:p>
          <a:p>
            <a:pPr lvl="1"/>
            <a:r>
              <a:rPr lang="es-ES" dirty="0"/>
              <a:t>Tercer nivel</a:t>
            </a:r>
          </a:p>
          <a:p>
            <a:pPr lvl="1"/>
            <a:r>
              <a:rPr lang="es-ES" dirty="0"/>
              <a:t>Cuarto nivel</a:t>
            </a:r>
          </a:p>
          <a:p>
            <a:pPr lvl="1"/>
            <a:r>
              <a:rPr lang="es-ES" dirty="0"/>
              <a:t>Quinto nivel</a:t>
            </a:r>
            <a:endParaRPr lang="pt-PT" dirty="0"/>
          </a:p>
        </p:txBody>
      </p:sp>
      <p:sp>
        <p:nvSpPr>
          <p:cNvPr id="79" name="Marcador de Posição do Texto 10">
            <a:extLst>
              <a:ext uri="{FF2B5EF4-FFF2-40B4-BE49-F238E27FC236}">
                <a16:creationId xmlns:a16="http://schemas.microsoft.com/office/drawing/2014/main" id="{FE40F2B9-0AB1-92DB-3BE4-296AB1F4B2D7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806154" y="1744663"/>
            <a:ext cx="4059237" cy="4478337"/>
          </a:xfrm>
        </p:spPr>
        <p:txBody>
          <a:bodyPr/>
          <a:lstStyle>
            <a:lvl1pPr>
              <a:defRPr/>
            </a:lvl1pPr>
            <a:lvl2pPr>
              <a:defRPr/>
            </a:lvl2pPr>
          </a:lstStyle>
          <a:p>
            <a:pPr lvl="0"/>
            <a:r>
              <a:rPr lang="es-ES" dirty="0"/>
              <a:t>Haz </a:t>
            </a:r>
            <a:r>
              <a:rPr lang="es-ES" dirty="0" err="1"/>
              <a:t>click</a:t>
            </a:r>
            <a:r>
              <a:rPr lang="es-ES" dirty="0"/>
              <a:t> para editar los estilos del texto del modelo global</a:t>
            </a:r>
            <a:endParaRPr lang="pt-PT" dirty="0"/>
          </a:p>
          <a:p>
            <a:pPr lvl="1"/>
            <a:r>
              <a:rPr lang="es-ES" dirty="0"/>
              <a:t>Segundo nivel</a:t>
            </a:r>
          </a:p>
          <a:p>
            <a:pPr lvl="1"/>
            <a:r>
              <a:rPr lang="es-ES" dirty="0"/>
              <a:t>Tercer nivel</a:t>
            </a:r>
          </a:p>
          <a:p>
            <a:pPr lvl="1"/>
            <a:r>
              <a:rPr lang="es-ES" dirty="0"/>
              <a:t>Cuarto nivel</a:t>
            </a:r>
          </a:p>
          <a:p>
            <a:pPr lvl="1"/>
            <a:r>
              <a:rPr lang="es-ES" dirty="0"/>
              <a:t>Quinto nivel</a:t>
            </a:r>
            <a:endParaRPr lang="pt-PT" dirty="0"/>
          </a:p>
          <a:p>
            <a:pPr lvl="4"/>
            <a:endParaRPr lang="pt-PT" dirty="0"/>
          </a:p>
        </p:txBody>
      </p:sp>
      <p:pic>
        <p:nvPicPr>
          <p:cNvPr id="81" name="Imagem 80">
            <a:extLst>
              <a:ext uri="{FF2B5EF4-FFF2-40B4-BE49-F238E27FC236}">
                <a16:creationId xmlns:a16="http://schemas.microsoft.com/office/drawing/2014/main" id="{B08202B7-CE6E-C74A-58C9-901C78B686EF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 l="10821" t="60527" r="14745" b="14633"/>
          <a:stretch>
            <a:fillRect/>
          </a:stretch>
        </p:blipFill>
        <p:spPr>
          <a:xfrm rot="10800000" flipV="1">
            <a:off x="5499610" y="0"/>
            <a:ext cx="4883659" cy="1629676"/>
          </a:xfrm>
          <a:prstGeom prst="rect">
            <a:avLst/>
          </a:prstGeom>
        </p:spPr>
      </p:pic>
      <p:sp>
        <p:nvSpPr>
          <p:cNvPr id="29" name="Marcador de Posição do Rodapé 4">
            <a:extLst>
              <a:ext uri="{FF2B5EF4-FFF2-40B4-BE49-F238E27FC236}">
                <a16:creationId xmlns:a16="http://schemas.microsoft.com/office/drawing/2014/main" id="{5AF80740-6C6D-460A-9D6E-E47C36C1C44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12762" y="6356350"/>
            <a:ext cx="534669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accent2"/>
                </a:solidFill>
              </a:defRPr>
            </a:lvl1pPr>
          </a:lstStyle>
          <a:p>
            <a:r>
              <a:rPr lang="pt-PT"/>
              <a:t>Título de la presentación</a:t>
            </a:r>
            <a:endParaRPr lang="pt-PT" dirty="0"/>
          </a:p>
        </p:txBody>
      </p:sp>
      <p:sp>
        <p:nvSpPr>
          <p:cNvPr id="30" name="Marcador de Posição do Número do Diapositivo 5">
            <a:extLst>
              <a:ext uri="{FF2B5EF4-FFF2-40B4-BE49-F238E27FC236}">
                <a16:creationId xmlns:a16="http://schemas.microsoft.com/office/drawing/2014/main" id="{0A7BBB73-75C5-4A77-9C92-A86A30651D6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936039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accent2"/>
                </a:solidFill>
              </a:defRPr>
            </a:lvl1pPr>
          </a:lstStyle>
          <a:p>
            <a:fld id="{24A347C2-D68E-473A-8C76-1D063E4EB6E0}" type="slidenum">
              <a:rPr lang="es-ES" smtClean="0"/>
              <a:pPr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25414492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50"/>
                                        <p:tgtEl>
                                          <p:spTgt spid="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1666 -0.00046 L 3.75E-6 1.85185E-6 " pathEditMode="relative" rAng="0" ptsTypes="AA">
                                      <p:cBhvr>
                                        <p:cTn id="9" dur="500" fill="hold"/>
                                        <p:tgtEl>
                                          <p:spTgt spid="7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833" y="23"/>
                                    </p:animMotion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250"/>
                                        <p:tgtEl>
                                          <p:spTgt spid="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1666 -0.00046 L 3.75E-6 1.85185E-6 " pathEditMode="relative" rAng="0" ptsTypes="AA">
                                      <p:cBhvr>
                                        <p:cTn id="14" dur="500" fill="hold"/>
                                        <p:tgtEl>
                                          <p:spTgt spid="7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833" y="23"/>
                                    </p:animMotion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250"/>
                                        <p:tgtEl>
                                          <p:spTgt spid="7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42" presetClass="path" presetSubtype="0" decel="100000" fill="hold" grpId="1" nodeType="withEffect">
                                  <p:stCondLst>
                                    <p:cond delay="250"/>
                                  </p:stCondLst>
                                  <p:childTnLst>
                                    <p:animMotion origin="layout" path="M 1.25E-6 0.03889 L 1.25E-6 1.85185E-6 " pathEditMode="relative" rAng="0" ptsTypes="AA">
                                      <p:cBhvr>
                                        <p:cTn id="19" dur="500" fill="hold"/>
                                        <p:tgtEl>
                                          <p:spTgt spid="7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944"/>
                                    </p:animMotion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250"/>
                                        <p:tgtEl>
                                          <p:spTgt spid="7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42" presetClass="path" presetSubtype="0" decel="100000" fill="hold" grpId="1" nodeType="withEffect">
                                  <p:stCondLst>
                                    <p:cond delay="250"/>
                                  </p:stCondLst>
                                  <p:childTnLst>
                                    <p:animMotion origin="layout" path="M 1.25E-6 0.03889 L 1.25E-6 1.85185E-6 " pathEditMode="relative" rAng="0" ptsTypes="AA">
                                      <p:cBhvr>
                                        <p:cTn id="24" dur="500" fill="hold"/>
                                        <p:tgtEl>
                                          <p:spTgt spid="7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944"/>
                                    </p:animMotion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5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5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5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5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500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6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8" dur="500"/>
                                        <p:tgtEl>
                                          <p:spTgt spid="5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9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1" dur="500"/>
                                        <p:tgtEl>
                                          <p:spTgt spid="6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2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4" dur="500"/>
                                        <p:tgtEl>
                                          <p:spTgt spid="6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5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500"/>
                                        <p:tgtEl>
                                          <p:spTgt spid="6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8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0" dur="500"/>
                                        <p:tgtEl>
                                          <p:spTgt spid="6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1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3" dur="500"/>
                                        <p:tgtEl>
                                          <p:spTgt spid="7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4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6" dur="500"/>
                                        <p:tgtEl>
                                          <p:spTgt spid="7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7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9" dur="500"/>
                                        <p:tgtEl>
                                          <p:spTgt spid="7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0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2" dur="500"/>
                                        <p:tgtEl>
                                          <p:spTgt spid="7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3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5" dur="500"/>
                                        <p:tgtEl>
                                          <p:spTgt spid="7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6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7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8" dur="500"/>
                                        <p:tgtEl>
                                          <p:spTgt spid="7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7" grpId="0" animBg="1"/>
      <p:bldP spid="50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5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3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5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4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5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5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5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8" grpId="0" animBg="1"/>
      <p:bldP spid="59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5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65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6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6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66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6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6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68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6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6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69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6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6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70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7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71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7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72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7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73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7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74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7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75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7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76" grpId="0"/>
      <p:bldP spid="76" grpId="1"/>
      <p:bldP spid="77" grpId="0">
        <p:tmplLst>
          <p:tmpl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250"/>
                        <p:tgtEl>
                          <p:spTgt spid="7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77" grpId="1"/>
      <p:bldP spid="78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250"/>
                        <p:tgtEl>
                          <p:spTgt spid="7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78" grpId="1">
        <p:tmplLst>
          <p:tmpl>
            <p:tnLst>
              <p:par>
                <p:cTn presetID="42" presetClass="path" presetSubtype="0" decel="100000" fill="hold" nodeType="withEffect">
                  <p:stCondLst>
                    <p:cond delay="250"/>
                  </p:stCondLst>
                  <p:childTnLst>
                    <p:animMotion origin="layout" path="M 1.25E-6 0.03889 L 1.25E-6 1.85185E-6 " pathEditMode="relative" rAng="0" ptsTypes="AA">
                      <p:cBhvr>
                        <p:cTn dur="500" fill="hold"/>
                        <p:tgtEl>
                          <p:spTgt spid="78"/>
                        </p:tgtEl>
                        <p:attrNameLst>
                          <p:attrName>ppt_x</p:attrName>
                          <p:attrName>ppt_y</p:attrName>
                        </p:attrNameLst>
                      </p:cBhvr>
                      <p:rCtr x="0" y="-1944"/>
                    </p:animMotion>
                  </p:childTnLst>
                </p:cTn>
              </p:par>
            </p:tnLst>
          </p:tmpl>
        </p:tmplLst>
      </p:bldP>
      <p:bldP spid="79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250"/>
                        <p:tgtEl>
                          <p:spTgt spid="7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79" grpId="1">
        <p:tmplLst>
          <p:tmpl>
            <p:tnLst>
              <p:par>
                <p:cTn presetID="42" presetClass="path" presetSubtype="0" decel="100000" fill="hold" nodeType="withEffect">
                  <p:stCondLst>
                    <p:cond delay="250"/>
                  </p:stCondLst>
                  <p:childTnLst>
                    <p:animMotion origin="layout" path="M 1.25E-6 0.03889 L 1.25E-6 1.85185E-6 " pathEditMode="relative" rAng="0" ptsTypes="AA">
                      <p:cBhvr>
                        <p:cTn dur="500" fill="hold"/>
                        <p:tgtEl>
                          <p:spTgt spid="79"/>
                        </p:tgtEl>
                        <p:attrNameLst>
                          <p:attrName>ppt_x</p:attrName>
                          <p:attrName>ppt_y</p:attrName>
                        </p:attrNameLst>
                      </p:cBhvr>
                      <p:rCtr x="0" y="-1944"/>
                    </p:animMotion>
                  </p:childTnLst>
                </p:cTn>
              </p:par>
            </p:tnLst>
          </p:tmpl>
        </p:tmplLst>
      </p:bldP>
    </p:bldLst>
  </p:timing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6_Esquema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m 7">
            <a:extLst>
              <a:ext uri="{FF2B5EF4-FFF2-40B4-BE49-F238E27FC236}">
                <a16:creationId xmlns:a16="http://schemas.microsoft.com/office/drawing/2014/main" id="{16276A54-98CA-1A9A-354B-C4C3E103243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 l="14054" t="7412" r="59459" b="56516"/>
          <a:stretch>
            <a:fillRect/>
          </a:stretch>
        </p:blipFill>
        <p:spPr>
          <a:xfrm rot="16200000" flipV="1">
            <a:off x="505194" y="-505196"/>
            <a:ext cx="2798347" cy="3808738"/>
          </a:xfrm>
          <a:prstGeom prst="rect">
            <a:avLst/>
          </a:prstGeom>
        </p:spPr>
      </p:pic>
      <p:pic>
        <p:nvPicPr>
          <p:cNvPr id="9" name="Imagem 8">
            <a:extLst>
              <a:ext uri="{FF2B5EF4-FFF2-40B4-BE49-F238E27FC236}">
                <a16:creationId xmlns:a16="http://schemas.microsoft.com/office/drawing/2014/main" id="{75BE2CE4-FF75-63BF-7C04-042A7C0F916D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 l="10821" t="60527" r="14745" b="14633"/>
          <a:stretch>
            <a:fillRect/>
          </a:stretch>
        </p:blipFill>
        <p:spPr>
          <a:xfrm rot="16200000" flipV="1">
            <a:off x="8935332" y="3495512"/>
            <a:ext cx="4883659" cy="1629676"/>
          </a:xfrm>
          <a:prstGeom prst="rect">
            <a:avLst/>
          </a:prstGeom>
        </p:spPr>
      </p:pic>
      <p:sp>
        <p:nvSpPr>
          <p:cNvPr id="6" name="Título 6">
            <a:extLst>
              <a:ext uri="{FF2B5EF4-FFF2-40B4-BE49-F238E27FC236}">
                <a16:creationId xmlns:a16="http://schemas.microsoft.com/office/drawing/2014/main" id="{B32B5ECE-7645-7C55-FF53-FCE4BC942E3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3184" y="550508"/>
            <a:ext cx="11107315" cy="712204"/>
          </a:xfrm>
        </p:spPr>
        <p:txBody>
          <a:bodyPr>
            <a:normAutofit/>
          </a:bodyPr>
          <a:lstStyle>
            <a:lvl1pPr>
              <a:defRPr sz="3200"/>
            </a:lvl1pPr>
          </a:lstStyle>
          <a:p>
            <a:r>
              <a:rPr lang="pt-PT" dirty="0"/>
              <a:t>Insertar título de la slide</a:t>
            </a:r>
          </a:p>
        </p:txBody>
      </p:sp>
      <p:sp>
        <p:nvSpPr>
          <p:cNvPr id="7" name="Marcador de Posição do Texto 8">
            <a:extLst>
              <a:ext uri="{FF2B5EF4-FFF2-40B4-BE49-F238E27FC236}">
                <a16:creationId xmlns:a16="http://schemas.microsoft.com/office/drawing/2014/main" id="{94F540D6-DEBE-589A-B50E-6A5FA1D7A85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12764" y="1156317"/>
            <a:ext cx="11108153" cy="355243"/>
          </a:xfrm>
        </p:spPr>
        <p:txBody>
          <a:bodyPr>
            <a:normAutofit/>
          </a:bodyPr>
          <a:lstStyle>
            <a:lvl1pPr>
              <a:defRPr sz="200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pt-PT" dirty="0"/>
              <a:t>Insertar subtítulo de la slide</a:t>
            </a:r>
          </a:p>
        </p:txBody>
      </p:sp>
      <p:sp>
        <p:nvSpPr>
          <p:cNvPr id="10" name="Marcador de Posição do Texto 34">
            <a:extLst>
              <a:ext uri="{FF2B5EF4-FFF2-40B4-BE49-F238E27FC236}">
                <a16:creationId xmlns:a16="http://schemas.microsoft.com/office/drawing/2014/main" id="{37FE86BC-EA81-B41E-C454-44021C6B4282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702645" y="2667878"/>
            <a:ext cx="1960900" cy="422172"/>
          </a:xfrm>
        </p:spPr>
        <p:txBody>
          <a:bodyPr anchor="ctr">
            <a:noAutofit/>
          </a:bodyPr>
          <a:lstStyle>
            <a:lvl1pPr algn="l">
              <a:defRPr cap="all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pt-PT" dirty="0"/>
              <a:t>Insertar texto destacado</a:t>
            </a:r>
          </a:p>
        </p:txBody>
      </p:sp>
      <p:sp>
        <p:nvSpPr>
          <p:cNvPr id="11" name="Marcador de Posição do Texto 10">
            <a:extLst>
              <a:ext uri="{FF2B5EF4-FFF2-40B4-BE49-F238E27FC236}">
                <a16:creationId xmlns:a16="http://schemas.microsoft.com/office/drawing/2014/main" id="{4644A290-DB7B-135A-2ADA-5C19A8FE272B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702645" y="3090050"/>
            <a:ext cx="1960900" cy="422173"/>
          </a:xfrm>
        </p:spPr>
        <p:txBody>
          <a:bodyPr>
            <a:noAutofit/>
          </a:bodyPr>
          <a:lstStyle>
            <a:lvl1pPr algn="l">
              <a:defRPr sz="1400"/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es-ES" dirty="0"/>
              <a:t>Haz </a:t>
            </a:r>
            <a:r>
              <a:rPr lang="es-ES" dirty="0" err="1"/>
              <a:t>click</a:t>
            </a:r>
            <a:r>
              <a:rPr lang="es-ES" dirty="0"/>
              <a:t> para editar los estilos del texto del modelo</a:t>
            </a:r>
            <a:endParaRPr lang="pt-PT" dirty="0"/>
          </a:p>
        </p:txBody>
      </p:sp>
      <p:sp>
        <p:nvSpPr>
          <p:cNvPr id="14" name="Marcador de Posição do Texto 10">
            <a:extLst>
              <a:ext uri="{FF2B5EF4-FFF2-40B4-BE49-F238E27FC236}">
                <a16:creationId xmlns:a16="http://schemas.microsoft.com/office/drawing/2014/main" id="{2F5FD627-3BC0-4FA6-2A27-4EFB59964E8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02645" y="3767951"/>
            <a:ext cx="2512193" cy="2455049"/>
          </a:xfrm>
        </p:spPr>
        <p:txBody>
          <a:bodyPr/>
          <a:lstStyle>
            <a:lvl1pPr>
              <a:defRPr/>
            </a:lvl1pPr>
            <a:lvl2pPr>
              <a:defRPr/>
            </a:lvl2pPr>
          </a:lstStyle>
          <a:p>
            <a:pPr lvl="0"/>
            <a:r>
              <a:rPr lang="es-ES" dirty="0"/>
              <a:t>Haz </a:t>
            </a:r>
            <a:r>
              <a:rPr lang="es-ES" dirty="0" err="1"/>
              <a:t>click</a:t>
            </a:r>
            <a:r>
              <a:rPr lang="es-ES" dirty="0"/>
              <a:t> para editar los estilos del texto del modelo</a:t>
            </a:r>
            <a:endParaRPr lang="pt-PT" dirty="0"/>
          </a:p>
          <a:p>
            <a:pPr lvl="1"/>
            <a:r>
              <a:rPr lang="es-ES" dirty="0"/>
              <a:t>Segundo nivel</a:t>
            </a:r>
          </a:p>
          <a:p>
            <a:pPr lvl="1"/>
            <a:r>
              <a:rPr lang="es-ES" dirty="0"/>
              <a:t>Tercer nivel</a:t>
            </a:r>
          </a:p>
          <a:p>
            <a:pPr lvl="1"/>
            <a:r>
              <a:rPr lang="es-ES" dirty="0"/>
              <a:t>Cuarto nivel</a:t>
            </a:r>
          </a:p>
          <a:p>
            <a:pPr lvl="1"/>
            <a:r>
              <a:rPr lang="es-ES" dirty="0"/>
              <a:t>Quinto nivel</a:t>
            </a:r>
            <a:endParaRPr lang="pt-PT" dirty="0"/>
          </a:p>
        </p:txBody>
      </p:sp>
      <p:sp>
        <p:nvSpPr>
          <p:cNvPr id="12" name="Marcador de Posição do Rodapé 4">
            <a:extLst>
              <a:ext uri="{FF2B5EF4-FFF2-40B4-BE49-F238E27FC236}">
                <a16:creationId xmlns:a16="http://schemas.microsoft.com/office/drawing/2014/main" id="{4809946A-5195-42D8-B76E-8B3E9161FCA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12762" y="6356350"/>
            <a:ext cx="534669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accent2"/>
                </a:solidFill>
              </a:defRPr>
            </a:lvl1pPr>
          </a:lstStyle>
          <a:p>
            <a:r>
              <a:rPr lang="pt-PT"/>
              <a:t>Título de la presentación</a:t>
            </a:r>
            <a:endParaRPr lang="pt-PT" dirty="0"/>
          </a:p>
        </p:txBody>
      </p:sp>
      <p:sp>
        <p:nvSpPr>
          <p:cNvPr id="13" name="Marcador de Posição do Número do Diapositivo 5">
            <a:extLst>
              <a:ext uri="{FF2B5EF4-FFF2-40B4-BE49-F238E27FC236}">
                <a16:creationId xmlns:a16="http://schemas.microsoft.com/office/drawing/2014/main" id="{49FC6438-14B6-4313-8F8A-C283951755E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936039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accent2"/>
                </a:solidFill>
              </a:defRPr>
            </a:lvl1pPr>
          </a:lstStyle>
          <a:p>
            <a:fld id="{24A347C2-D68E-473A-8C76-1D063E4EB6E0}" type="slidenum">
              <a:rPr lang="es-ES" smtClean="0"/>
              <a:pPr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57839864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5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25E-6 0.03889 L 1.25E-6 1.85185E-6 " pathEditMode="relative" rAng="0" ptsTypes="AA">
                                      <p:cBhvr>
                                        <p:cTn id="9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944"/>
                                    </p:animMotion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25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25E-6 0.03889 L 1.25E-6 1.85185E-6 " pathEditMode="relative" rAng="0" ptsTypes="AA">
                                      <p:cBhvr>
                                        <p:cTn id="14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944"/>
                                    </p:animMotion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25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1666 -0.00046 L 3.75E-6 1.85185E-6 " pathEditMode="relative" rAng="0" ptsTypes="AA">
                                      <p:cBhvr>
                                        <p:cTn id="19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833" y="23"/>
                                    </p:animMotion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25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1666 -0.00046 L 3.75E-6 1.85185E-6 " pathEditMode="relative" rAng="0" ptsTypes="AA">
                                      <p:cBhvr>
                                        <p:cTn id="24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833" y="23"/>
                                    </p:animMotion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25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1666 -0.00046 L 3.75E-6 1.85185E-6 " pathEditMode="relative" rAng="0" ptsTypes="AA">
                                      <p:cBhvr>
                                        <p:cTn id="29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833" y="23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6" grpId="1"/>
      <p:bldP spid="7" grpId="0">
        <p:tmplLst>
          <p:tmpl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250"/>
                        <p:tgtEl>
                          <p:spTgt spid="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7" grpId="1"/>
      <p:bldP spid="10" grpId="0">
        <p:tmplLst>
          <p:tmpl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250"/>
                        <p:tgtEl>
                          <p:spTgt spid="1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0" grpId="1"/>
      <p:bldP spid="11" grpId="0">
        <p:tmplLst>
          <p:tmpl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250"/>
                        <p:tgtEl>
                          <p:spTgt spid="1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1" grpId="1"/>
      <p:bldP spid="14" grpId="0">
        <p:tmplLst>
          <p:tmpl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250"/>
                        <p:tgtEl>
                          <p:spTgt spid="1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4" grpId="1"/>
    </p:bldLst>
  </p:timing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7_Esquema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2" name="Retângulo 131">
            <a:extLst>
              <a:ext uri="{FF2B5EF4-FFF2-40B4-BE49-F238E27FC236}">
                <a16:creationId xmlns:a16="http://schemas.microsoft.com/office/drawing/2014/main" id="{48F28470-F93D-EFB2-2767-CB3F1DE51A77}"/>
              </a:ext>
            </a:extLst>
          </p:cNvPr>
          <p:cNvSpPr/>
          <p:nvPr userDrawn="1"/>
        </p:nvSpPr>
        <p:spPr>
          <a:xfrm flipV="1">
            <a:off x="0" y="0"/>
            <a:ext cx="12191999" cy="2329314"/>
          </a:xfrm>
          <a:prstGeom prst="rect">
            <a:avLst/>
          </a:prstGeom>
          <a:solidFill>
            <a:srgbClr val="184BF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  <p:grpSp>
        <p:nvGrpSpPr>
          <p:cNvPr id="6" name="Agrupar 5">
            <a:extLst>
              <a:ext uri="{FF2B5EF4-FFF2-40B4-BE49-F238E27FC236}">
                <a16:creationId xmlns:a16="http://schemas.microsoft.com/office/drawing/2014/main" id="{AFB2F558-E08A-3CEA-0C34-A03DA2657935}"/>
              </a:ext>
            </a:extLst>
          </p:cNvPr>
          <p:cNvGrpSpPr/>
          <p:nvPr userDrawn="1"/>
        </p:nvGrpSpPr>
        <p:grpSpPr>
          <a:xfrm flipH="1">
            <a:off x="6510764" y="1384536"/>
            <a:ext cx="1995899" cy="1862842"/>
            <a:chOff x="9155781" y="2146863"/>
            <a:chExt cx="1995899" cy="1862842"/>
          </a:xfrm>
          <a:solidFill>
            <a:srgbClr val="E5E5E5"/>
          </a:solidFill>
        </p:grpSpPr>
        <p:sp>
          <p:nvSpPr>
            <p:cNvPr id="7" name="Forma livre: Forma 6">
              <a:extLst>
                <a:ext uri="{FF2B5EF4-FFF2-40B4-BE49-F238E27FC236}">
                  <a16:creationId xmlns:a16="http://schemas.microsoft.com/office/drawing/2014/main" id="{366B10FC-7186-810D-7A9D-3358BD7AC49C}"/>
                </a:ext>
              </a:extLst>
            </p:cNvPr>
            <p:cNvSpPr/>
            <p:nvPr/>
          </p:nvSpPr>
          <p:spPr>
            <a:xfrm flipV="1">
              <a:off x="9155781" y="2146863"/>
              <a:ext cx="1289159" cy="524519"/>
            </a:xfrm>
            <a:custGeom>
              <a:avLst/>
              <a:gdLst>
                <a:gd name="connsiteX0" fmla="*/ 2220906 w 2220906"/>
                <a:gd name="connsiteY0" fmla="*/ 0 h 524519"/>
                <a:gd name="connsiteX1" fmla="*/ 2220906 w 2220906"/>
                <a:gd name="connsiteY1" fmla="*/ 524457 h 524519"/>
                <a:gd name="connsiteX2" fmla="*/ 0 w 2220906"/>
                <a:gd name="connsiteY2" fmla="*/ 524519 h 524519"/>
                <a:gd name="connsiteX3" fmla="*/ 0 w 2220906"/>
                <a:gd name="connsiteY3" fmla="*/ 62 h 5245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220906" h="524519">
                  <a:moveTo>
                    <a:pt x="2220906" y="0"/>
                  </a:moveTo>
                  <a:lnTo>
                    <a:pt x="2220906" y="524457"/>
                  </a:lnTo>
                  <a:lnTo>
                    <a:pt x="0" y="524519"/>
                  </a:lnTo>
                  <a:lnTo>
                    <a:pt x="0" y="62"/>
                  </a:lnTo>
                  <a:close/>
                </a:path>
              </a:pathLst>
            </a:custGeom>
            <a:grpFill/>
            <a:ln w="4244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pt-PT">
                <a:solidFill>
                  <a:schemeClr val="tx1"/>
                </a:solidFill>
              </a:endParaRPr>
            </a:p>
          </p:txBody>
        </p:sp>
        <p:sp>
          <p:nvSpPr>
            <p:cNvPr id="8" name="Retângulo 7">
              <a:extLst>
                <a:ext uri="{FF2B5EF4-FFF2-40B4-BE49-F238E27FC236}">
                  <a16:creationId xmlns:a16="http://schemas.microsoft.com/office/drawing/2014/main" id="{ACC3B708-0365-498A-5002-18840CCA147F}"/>
                </a:ext>
              </a:extLst>
            </p:cNvPr>
            <p:cNvSpPr/>
            <p:nvPr/>
          </p:nvSpPr>
          <p:spPr>
            <a:xfrm>
              <a:off x="9155784" y="2671363"/>
              <a:ext cx="1995895" cy="813844"/>
            </a:xfrm>
            <a:prstGeom prst="rect">
              <a:avLst/>
            </a:prstGeom>
            <a:grpFill/>
            <a:ln w="4244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pt-PT">
                <a:solidFill>
                  <a:schemeClr val="tx1"/>
                </a:solidFill>
              </a:endParaRPr>
            </a:p>
          </p:txBody>
        </p:sp>
        <p:sp>
          <p:nvSpPr>
            <p:cNvPr id="9" name="Forma livre: Forma 8">
              <a:extLst>
                <a:ext uri="{FF2B5EF4-FFF2-40B4-BE49-F238E27FC236}">
                  <a16:creationId xmlns:a16="http://schemas.microsoft.com/office/drawing/2014/main" id="{17756018-9D74-C777-0534-9B56922D4BA7}"/>
                </a:ext>
              </a:extLst>
            </p:cNvPr>
            <p:cNvSpPr/>
            <p:nvPr/>
          </p:nvSpPr>
          <p:spPr>
            <a:xfrm flipH="1" flipV="1">
              <a:off x="10015201" y="2146865"/>
              <a:ext cx="1136476" cy="524519"/>
            </a:xfrm>
            <a:custGeom>
              <a:avLst/>
              <a:gdLst>
                <a:gd name="connsiteX0" fmla="*/ 103570 w 224310"/>
                <a:gd name="connsiteY0" fmla="*/ 103528 h 103527"/>
                <a:gd name="connsiteX1" fmla="*/ 189801 w 224310"/>
                <a:gd name="connsiteY1" fmla="*/ 103528 h 103527"/>
                <a:gd name="connsiteX2" fmla="*/ 224310 w 224310"/>
                <a:gd name="connsiteY2" fmla="*/ 0 h 103527"/>
                <a:gd name="connsiteX3" fmla="*/ 0 w 224310"/>
                <a:gd name="connsiteY3" fmla="*/ 0 h 103527"/>
                <a:gd name="connsiteX4" fmla="*/ 103528 w 224310"/>
                <a:gd name="connsiteY4" fmla="*/ 103528 h 1035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24310" h="103527">
                  <a:moveTo>
                    <a:pt x="103570" y="103528"/>
                  </a:moveTo>
                  <a:lnTo>
                    <a:pt x="189801" y="103528"/>
                  </a:lnTo>
                  <a:lnTo>
                    <a:pt x="224310" y="0"/>
                  </a:lnTo>
                  <a:lnTo>
                    <a:pt x="0" y="0"/>
                  </a:lnTo>
                  <a:cubicBezTo>
                    <a:pt x="0" y="57204"/>
                    <a:pt x="46367" y="103528"/>
                    <a:pt x="103528" y="103528"/>
                  </a:cubicBezTo>
                  <a:close/>
                </a:path>
              </a:pathLst>
            </a:custGeom>
            <a:grpFill/>
            <a:ln w="42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" name="Forma livre: Forma 9">
              <a:extLst>
                <a:ext uri="{FF2B5EF4-FFF2-40B4-BE49-F238E27FC236}">
                  <a16:creationId xmlns:a16="http://schemas.microsoft.com/office/drawing/2014/main" id="{6FEE1923-FDA2-C0F8-50E1-0A4AAF00D2BB}"/>
                </a:ext>
              </a:extLst>
            </p:cNvPr>
            <p:cNvSpPr/>
            <p:nvPr/>
          </p:nvSpPr>
          <p:spPr>
            <a:xfrm rot="10800000" flipH="1" flipV="1">
              <a:off x="9155782" y="3485186"/>
              <a:ext cx="1136476" cy="524519"/>
            </a:xfrm>
            <a:custGeom>
              <a:avLst/>
              <a:gdLst>
                <a:gd name="connsiteX0" fmla="*/ 103570 w 224310"/>
                <a:gd name="connsiteY0" fmla="*/ 103528 h 103527"/>
                <a:gd name="connsiteX1" fmla="*/ 189801 w 224310"/>
                <a:gd name="connsiteY1" fmla="*/ 103528 h 103527"/>
                <a:gd name="connsiteX2" fmla="*/ 224310 w 224310"/>
                <a:gd name="connsiteY2" fmla="*/ 0 h 103527"/>
                <a:gd name="connsiteX3" fmla="*/ 0 w 224310"/>
                <a:gd name="connsiteY3" fmla="*/ 0 h 103527"/>
                <a:gd name="connsiteX4" fmla="*/ 103528 w 224310"/>
                <a:gd name="connsiteY4" fmla="*/ 103528 h 1035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24310" h="103527">
                  <a:moveTo>
                    <a:pt x="103570" y="103528"/>
                  </a:moveTo>
                  <a:lnTo>
                    <a:pt x="189801" y="103528"/>
                  </a:lnTo>
                  <a:lnTo>
                    <a:pt x="224310" y="0"/>
                  </a:lnTo>
                  <a:lnTo>
                    <a:pt x="0" y="0"/>
                  </a:lnTo>
                  <a:cubicBezTo>
                    <a:pt x="0" y="57204"/>
                    <a:pt x="46367" y="103528"/>
                    <a:pt x="103528" y="103528"/>
                  </a:cubicBezTo>
                  <a:close/>
                </a:path>
              </a:pathLst>
            </a:custGeom>
            <a:grpFill/>
            <a:ln w="42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" name="Forma livre: Forma 10">
              <a:extLst>
                <a:ext uri="{FF2B5EF4-FFF2-40B4-BE49-F238E27FC236}">
                  <a16:creationId xmlns:a16="http://schemas.microsoft.com/office/drawing/2014/main" id="{08CA5F01-453B-F1B0-8E76-FC225EDA5285}"/>
                </a:ext>
              </a:extLst>
            </p:cNvPr>
            <p:cNvSpPr/>
            <p:nvPr/>
          </p:nvSpPr>
          <p:spPr>
            <a:xfrm flipV="1">
              <a:off x="9862521" y="3485184"/>
              <a:ext cx="1289159" cy="524519"/>
            </a:xfrm>
            <a:custGeom>
              <a:avLst/>
              <a:gdLst>
                <a:gd name="connsiteX0" fmla="*/ 2220906 w 2220906"/>
                <a:gd name="connsiteY0" fmla="*/ 0 h 524519"/>
                <a:gd name="connsiteX1" fmla="*/ 2220906 w 2220906"/>
                <a:gd name="connsiteY1" fmla="*/ 524457 h 524519"/>
                <a:gd name="connsiteX2" fmla="*/ 0 w 2220906"/>
                <a:gd name="connsiteY2" fmla="*/ 524519 h 524519"/>
                <a:gd name="connsiteX3" fmla="*/ 0 w 2220906"/>
                <a:gd name="connsiteY3" fmla="*/ 62 h 5245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220906" h="524519">
                  <a:moveTo>
                    <a:pt x="2220906" y="0"/>
                  </a:moveTo>
                  <a:lnTo>
                    <a:pt x="2220906" y="524457"/>
                  </a:lnTo>
                  <a:lnTo>
                    <a:pt x="0" y="524519"/>
                  </a:lnTo>
                  <a:lnTo>
                    <a:pt x="0" y="62"/>
                  </a:lnTo>
                  <a:close/>
                </a:path>
              </a:pathLst>
            </a:custGeom>
            <a:grpFill/>
            <a:ln w="4244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pt-PT">
                <a:solidFill>
                  <a:schemeClr val="tx1"/>
                </a:solidFill>
              </a:endParaRPr>
            </a:p>
          </p:txBody>
        </p:sp>
      </p:grpSp>
      <p:grpSp>
        <p:nvGrpSpPr>
          <p:cNvPr id="12" name="Agrupar 11">
            <a:extLst>
              <a:ext uri="{FF2B5EF4-FFF2-40B4-BE49-F238E27FC236}">
                <a16:creationId xmlns:a16="http://schemas.microsoft.com/office/drawing/2014/main" id="{CE5A52ED-E59F-9A6B-B1F3-48A7909E844D}"/>
              </a:ext>
            </a:extLst>
          </p:cNvPr>
          <p:cNvGrpSpPr/>
          <p:nvPr userDrawn="1"/>
        </p:nvGrpSpPr>
        <p:grpSpPr>
          <a:xfrm>
            <a:off x="8644364" y="795649"/>
            <a:ext cx="1995899" cy="2451729"/>
            <a:chOff x="9155781" y="1557976"/>
            <a:chExt cx="1995899" cy="2451729"/>
          </a:xfrm>
          <a:solidFill>
            <a:srgbClr val="E5E5E5"/>
          </a:solidFill>
        </p:grpSpPr>
        <p:sp>
          <p:nvSpPr>
            <p:cNvPr id="13" name="Forma livre: Forma 12">
              <a:extLst>
                <a:ext uri="{FF2B5EF4-FFF2-40B4-BE49-F238E27FC236}">
                  <a16:creationId xmlns:a16="http://schemas.microsoft.com/office/drawing/2014/main" id="{14384EF4-BB25-2B8D-98C7-9FF1036636CB}"/>
                </a:ext>
              </a:extLst>
            </p:cNvPr>
            <p:cNvSpPr/>
            <p:nvPr/>
          </p:nvSpPr>
          <p:spPr>
            <a:xfrm flipV="1">
              <a:off x="9155781" y="1557976"/>
              <a:ext cx="1289159" cy="524519"/>
            </a:xfrm>
            <a:custGeom>
              <a:avLst/>
              <a:gdLst>
                <a:gd name="connsiteX0" fmla="*/ 2220906 w 2220906"/>
                <a:gd name="connsiteY0" fmla="*/ 0 h 524519"/>
                <a:gd name="connsiteX1" fmla="*/ 2220906 w 2220906"/>
                <a:gd name="connsiteY1" fmla="*/ 524457 h 524519"/>
                <a:gd name="connsiteX2" fmla="*/ 0 w 2220906"/>
                <a:gd name="connsiteY2" fmla="*/ 524519 h 524519"/>
                <a:gd name="connsiteX3" fmla="*/ 0 w 2220906"/>
                <a:gd name="connsiteY3" fmla="*/ 62 h 5245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220906" h="524519">
                  <a:moveTo>
                    <a:pt x="2220906" y="0"/>
                  </a:moveTo>
                  <a:lnTo>
                    <a:pt x="2220906" y="524457"/>
                  </a:lnTo>
                  <a:lnTo>
                    <a:pt x="0" y="524519"/>
                  </a:lnTo>
                  <a:lnTo>
                    <a:pt x="0" y="62"/>
                  </a:lnTo>
                  <a:close/>
                </a:path>
              </a:pathLst>
            </a:custGeom>
            <a:grpFill/>
            <a:ln w="4244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pt-PT">
                <a:solidFill>
                  <a:schemeClr val="tx1"/>
                </a:solidFill>
              </a:endParaRPr>
            </a:p>
          </p:txBody>
        </p:sp>
        <p:sp>
          <p:nvSpPr>
            <p:cNvPr id="14" name="Retângulo 13">
              <a:extLst>
                <a:ext uri="{FF2B5EF4-FFF2-40B4-BE49-F238E27FC236}">
                  <a16:creationId xmlns:a16="http://schemas.microsoft.com/office/drawing/2014/main" id="{CDC70092-368D-2AA2-F24F-B132CD641E6C}"/>
                </a:ext>
              </a:extLst>
            </p:cNvPr>
            <p:cNvSpPr/>
            <p:nvPr/>
          </p:nvSpPr>
          <p:spPr>
            <a:xfrm>
              <a:off x="9155783" y="2082455"/>
              <a:ext cx="1995895" cy="1402752"/>
            </a:xfrm>
            <a:prstGeom prst="rect">
              <a:avLst/>
            </a:prstGeom>
            <a:grpFill/>
            <a:ln w="4244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pt-PT">
                <a:solidFill>
                  <a:schemeClr val="tx1"/>
                </a:solidFill>
              </a:endParaRPr>
            </a:p>
          </p:txBody>
        </p:sp>
        <p:sp>
          <p:nvSpPr>
            <p:cNvPr id="15" name="Forma livre: Forma 14">
              <a:extLst>
                <a:ext uri="{FF2B5EF4-FFF2-40B4-BE49-F238E27FC236}">
                  <a16:creationId xmlns:a16="http://schemas.microsoft.com/office/drawing/2014/main" id="{13BED896-F28D-D792-6934-38725FA377E0}"/>
                </a:ext>
              </a:extLst>
            </p:cNvPr>
            <p:cNvSpPr/>
            <p:nvPr/>
          </p:nvSpPr>
          <p:spPr>
            <a:xfrm flipH="1" flipV="1">
              <a:off x="10015201" y="1557978"/>
              <a:ext cx="1136476" cy="524519"/>
            </a:xfrm>
            <a:custGeom>
              <a:avLst/>
              <a:gdLst>
                <a:gd name="connsiteX0" fmla="*/ 103570 w 224310"/>
                <a:gd name="connsiteY0" fmla="*/ 103528 h 103527"/>
                <a:gd name="connsiteX1" fmla="*/ 189801 w 224310"/>
                <a:gd name="connsiteY1" fmla="*/ 103528 h 103527"/>
                <a:gd name="connsiteX2" fmla="*/ 224310 w 224310"/>
                <a:gd name="connsiteY2" fmla="*/ 0 h 103527"/>
                <a:gd name="connsiteX3" fmla="*/ 0 w 224310"/>
                <a:gd name="connsiteY3" fmla="*/ 0 h 103527"/>
                <a:gd name="connsiteX4" fmla="*/ 103528 w 224310"/>
                <a:gd name="connsiteY4" fmla="*/ 103528 h 1035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24310" h="103527">
                  <a:moveTo>
                    <a:pt x="103570" y="103528"/>
                  </a:moveTo>
                  <a:lnTo>
                    <a:pt x="189801" y="103528"/>
                  </a:lnTo>
                  <a:lnTo>
                    <a:pt x="224310" y="0"/>
                  </a:lnTo>
                  <a:lnTo>
                    <a:pt x="0" y="0"/>
                  </a:lnTo>
                  <a:cubicBezTo>
                    <a:pt x="0" y="57204"/>
                    <a:pt x="46367" y="103528"/>
                    <a:pt x="103528" y="103528"/>
                  </a:cubicBezTo>
                  <a:close/>
                </a:path>
              </a:pathLst>
            </a:custGeom>
            <a:grpFill/>
            <a:ln w="42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" name="Forma livre: Forma 15">
              <a:extLst>
                <a:ext uri="{FF2B5EF4-FFF2-40B4-BE49-F238E27FC236}">
                  <a16:creationId xmlns:a16="http://schemas.microsoft.com/office/drawing/2014/main" id="{5EAB1843-69EC-8A6C-FD91-9F909D5980FF}"/>
                </a:ext>
              </a:extLst>
            </p:cNvPr>
            <p:cNvSpPr/>
            <p:nvPr/>
          </p:nvSpPr>
          <p:spPr>
            <a:xfrm rot="10800000" flipH="1" flipV="1">
              <a:off x="9155782" y="3485186"/>
              <a:ext cx="1136476" cy="524519"/>
            </a:xfrm>
            <a:custGeom>
              <a:avLst/>
              <a:gdLst>
                <a:gd name="connsiteX0" fmla="*/ 103570 w 224310"/>
                <a:gd name="connsiteY0" fmla="*/ 103528 h 103527"/>
                <a:gd name="connsiteX1" fmla="*/ 189801 w 224310"/>
                <a:gd name="connsiteY1" fmla="*/ 103528 h 103527"/>
                <a:gd name="connsiteX2" fmla="*/ 224310 w 224310"/>
                <a:gd name="connsiteY2" fmla="*/ 0 h 103527"/>
                <a:gd name="connsiteX3" fmla="*/ 0 w 224310"/>
                <a:gd name="connsiteY3" fmla="*/ 0 h 103527"/>
                <a:gd name="connsiteX4" fmla="*/ 103528 w 224310"/>
                <a:gd name="connsiteY4" fmla="*/ 103528 h 1035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24310" h="103527">
                  <a:moveTo>
                    <a:pt x="103570" y="103528"/>
                  </a:moveTo>
                  <a:lnTo>
                    <a:pt x="189801" y="103528"/>
                  </a:lnTo>
                  <a:lnTo>
                    <a:pt x="224310" y="0"/>
                  </a:lnTo>
                  <a:lnTo>
                    <a:pt x="0" y="0"/>
                  </a:lnTo>
                  <a:cubicBezTo>
                    <a:pt x="0" y="57204"/>
                    <a:pt x="46367" y="103528"/>
                    <a:pt x="103528" y="103528"/>
                  </a:cubicBezTo>
                  <a:close/>
                </a:path>
              </a:pathLst>
            </a:custGeom>
            <a:grpFill/>
            <a:ln w="42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" name="Forma livre: Forma 16">
              <a:extLst>
                <a:ext uri="{FF2B5EF4-FFF2-40B4-BE49-F238E27FC236}">
                  <a16:creationId xmlns:a16="http://schemas.microsoft.com/office/drawing/2014/main" id="{03A183BF-E21F-D94C-2A15-BA990F02B53C}"/>
                </a:ext>
              </a:extLst>
            </p:cNvPr>
            <p:cNvSpPr/>
            <p:nvPr/>
          </p:nvSpPr>
          <p:spPr>
            <a:xfrm flipV="1">
              <a:off x="9862521" y="3485184"/>
              <a:ext cx="1289159" cy="524519"/>
            </a:xfrm>
            <a:custGeom>
              <a:avLst/>
              <a:gdLst>
                <a:gd name="connsiteX0" fmla="*/ 2220906 w 2220906"/>
                <a:gd name="connsiteY0" fmla="*/ 0 h 524519"/>
                <a:gd name="connsiteX1" fmla="*/ 2220906 w 2220906"/>
                <a:gd name="connsiteY1" fmla="*/ 524457 h 524519"/>
                <a:gd name="connsiteX2" fmla="*/ 0 w 2220906"/>
                <a:gd name="connsiteY2" fmla="*/ 524519 h 524519"/>
                <a:gd name="connsiteX3" fmla="*/ 0 w 2220906"/>
                <a:gd name="connsiteY3" fmla="*/ 62 h 5245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220906" h="524519">
                  <a:moveTo>
                    <a:pt x="2220906" y="0"/>
                  </a:moveTo>
                  <a:lnTo>
                    <a:pt x="2220906" y="524457"/>
                  </a:lnTo>
                  <a:lnTo>
                    <a:pt x="0" y="524519"/>
                  </a:lnTo>
                  <a:lnTo>
                    <a:pt x="0" y="62"/>
                  </a:lnTo>
                  <a:close/>
                </a:path>
              </a:pathLst>
            </a:custGeom>
            <a:grpFill/>
            <a:ln w="4244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pt-PT">
                <a:solidFill>
                  <a:schemeClr val="tx1"/>
                </a:solidFill>
              </a:endParaRPr>
            </a:p>
          </p:txBody>
        </p:sp>
      </p:grpSp>
      <p:grpSp>
        <p:nvGrpSpPr>
          <p:cNvPr id="18" name="Agrupar 17">
            <a:extLst>
              <a:ext uri="{FF2B5EF4-FFF2-40B4-BE49-F238E27FC236}">
                <a16:creationId xmlns:a16="http://schemas.microsoft.com/office/drawing/2014/main" id="{9C0F7E70-30B2-1240-6DA4-C31746B9A064}"/>
              </a:ext>
            </a:extLst>
          </p:cNvPr>
          <p:cNvGrpSpPr/>
          <p:nvPr userDrawn="1"/>
        </p:nvGrpSpPr>
        <p:grpSpPr>
          <a:xfrm>
            <a:off x="6096000" y="3424197"/>
            <a:ext cx="2410664" cy="2890789"/>
            <a:chOff x="8741017" y="1557975"/>
            <a:chExt cx="2410664" cy="2890789"/>
          </a:xfrm>
          <a:solidFill>
            <a:srgbClr val="E5E5E5"/>
          </a:solidFill>
        </p:grpSpPr>
        <p:sp>
          <p:nvSpPr>
            <p:cNvPr id="19" name="Forma livre: Forma 18">
              <a:extLst>
                <a:ext uri="{FF2B5EF4-FFF2-40B4-BE49-F238E27FC236}">
                  <a16:creationId xmlns:a16="http://schemas.microsoft.com/office/drawing/2014/main" id="{40CB8AA2-5438-0499-C30C-8D5355679ADC}"/>
                </a:ext>
              </a:extLst>
            </p:cNvPr>
            <p:cNvSpPr/>
            <p:nvPr/>
          </p:nvSpPr>
          <p:spPr>
            <a:xfrm flipV="1">
              <a:off x="8741019" y="1557975"/>
              <a:ext cx="1703922" cy="524519"/>
            </a:xfrm>
            <a:custGeom>
              <a:avLst/>
              <a:gdLst>
                <a:gd name="connsiteX0" fmla="*/ 2220906 w 2220906"/>
                <a:gd name="connsiteY0" fmla="*/ 0 h 524519"/>
                <a:gd name="connsiteX1" fmla="*/ 2220906 w 2220906"/>
                <a:gd name="connsiteY1" fmla="*/ 524457 h 524519"/>
                <a:gd name="connsiteX2" fmla="*/ 0 w 2220906"/>
                <a:gd name="connsiteY2" fmla="*/ 524519 h 524519"/>
                <a:gd name="connsiteX3" fmla="*/ 0 w 2220906"/>
                <a:gd name="connsiteY3" fmla="*/ 62 h 5245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220906" h="524519">
                  <a:moveTo>
                    <a:pt x="2220906" y="0"/>
                  </a:moveTo>
                  <a:lnTo>
                    <a:pt x="2220906" y="524457"/>
                  </a:lnTo>
                  <a:lnTo>
                    <a:pt x="0" y="524519"/>
                  </a:lnTo>
                  <a:lnTo>
                    <a:pt x="0" y="62"/>
                  </a:lnTo>
                  <a:close/>
                </a:path>
              </a:pathLst>
            </a:custGeom>
            <a:grpFill/>
            <a:ln w="4244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pt-PT">
                <a:solidFill>
                  <a:schemeClr val="tx1"/>
                </a:solidFill>
              </a:endParaRPr>
            </a:p>
          </p:txBody>
        </p:sp>
        <p:sp>
          <p:nvSpPr>
            <p:cNvPr id="20" name="Retângulo 19">
              <a:extLst>
                <a:ext uri="{FF2B5EF4-FFF2-40B4-BE49-F238E27FC236}">
                  <a16:creationId xmlns:a16="http://schemas.microsoft.com/office/drawing/2014/main" id="{C0E891B2-BD75-3A39-D80D-873F24A6E1D2}"/>
                </a:ext>
              </a:extLst>
            </p:cNvPr>
            <p:cNvSpPr/>
            <p:nvPr/>
          </p:nvSpPr>
          <p:spPr>
            <a:xfrm>
              <a:off x="8741019" y="2082454"/>
              <a:ext cx="2410659" cy="1841785"/>
            </a:xfrm>
            <a:prstGeom prst="rect">
              <a:avLst/>
            </a:prstGeom>
            <a:grpFill/>
            <a:ln w="4244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pt-PT">
                <a:solidFill>
                  <a:schemeClr val="tx1"/>
                </a:solidFill>
              </a:endParaRPr>
            </a:p>
          </p:txBody>
        </p:sp>
        <p:sp>
          <p:nvSpPr>
            <p:cNvPr id="21" name="Forma livre: Forma 20">
              <a:extLst>
                <a:ext uri="{FF2B5EF4-FFF2-40B4-BE49-F238E27FC236}">
                  <a16:creationId xmlns:a16="http://schemas.microsoft.com/office/drawing/2014/main" id="{DCBDC5B5-E747-B689-31AD-5CE163B57300}"/>
                </a:ext>
              </a:extLst>
            </p:cNvPr>
            <p:cNvSpPr/>
            <p:nvPr/>
          </p:nvSpPr>
          <p:spPr>
            <a:xfrm flipH="1" flipV="1">
              <a:off x="10015201" y="1557978"/>
              <a:ext cx="1136476" cy="524519"/>
            </a:xfrm>
            <a:custGeom>
              <a:avLst/>
              <a:gdLst>
                <a:gd name="connsiteX0" fmla="*/ 103570 w 224310"/>
                <a:gd name="connsiteY0" fmla="*/ 103528 h 103527"/>
                <a:gd name="connsiteX1" fmla="*/ 189801 w 224310"/>
                <a:gd name="connsiteY1" fmla="*/ 103528 h 103527"/>
                <a:gd name="connsiteX2" fmla="*/ 224310 w 224310"/>
                <a:gd name="connsiteY2" fmla="*/ 0 h 103527"/>
                <a:gd name="connsiteX3" fmla="*/ 0 w 224310"/>
                <a:gd name="connsiteY3" fmla="*/ 0 h 103527"/>
                <a:gd name="connsiteX4" fmla="*/ 103528 w 224310"/>
                <a:gd name="connsiteY4" fmla="*/ 103528 h 1035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24310" h="103527">
                  <a:moveTo>
                    <a:pt x="103570" y="103528"/>
                  </a:moveTo>
                  <a:lnTo>
                    <a:pt x="189801" y="103528"/>
                  </a:lnTo>
                  <a:lnTo>
                    <a:pt x="224310" y="0"/>
                  </a:lnTo>
                  <a:lnTo>
                    <a:pt x="0" y="0"/>
                  </a:lnTo>
                  <a:cubicBezTo>
                    <a:pt x="0" y="57204"/>
                    <a:pt x="46367" y="103528"/>
                    <a:pt x="103528" y="103528"/>
                  </a:cubicBezTo>
                  <a:close/>
                </a:path>
              </a:pathLst>
            </a:custGeom>
            <a:grpFill/>
            <a:ln w="42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2" name="Forma livre: Forma 21">
              <a:extLst>
                <a:ext uri="{FF2B5EF4-FFF2-40B4-BE49-F238E27FC236}">
                  <a16:creationId xmlns:a16="http://schemas.microsoft.com/office/drawing/2014/main" id="{C7D476C2-E80B-6BBF-5BFE-D0D4D8EFBBA9}"/>
                </a:ext>
              </a:extLst>
            </p:cNvPr>
            <p:cNvSpPr/>
            <p:nvPr/>
          </p:nvSpPr>
          <p:spPr>
            <a:xfrm rot="10800000" flipH="1" flipV="1">
              <a:off x="8741017" y="3924245"/>
              <a:ext cx="1136476" cy="524519"/>
            </a:xfrm>
            <a:custGeom>
              <a:avLst/>
              <a:gdLst>
                <a:gd name="connsiteX0" fmla="*/ 103570 w 224310"/>
                <a:gd name="connsiteY0" fmla="*/ 103528 h 103527"/>
                <a:gd name="connsiteX1" fmla="*/ 189801 w 224310"/>
                <a:gd name="connsiteY1" fmla="*/ 103528 h 103527"/>
                <a:gd name="connsiteX2" fmla="*/ 224310 w 224310"/>
                <a:gd name="connsiteY2" fmla="*/ 0 h 103527"/>
                <a:gd name="connsiteX3" fmla="*/ 0 w 224310"/>
                <a:gd name="connsiteY3" fmla="*/ 0 h 103527"/>
                <a:gd name="connsiteX4" fmla="*/ 103528 w 224310"/>
                <a:gd name="connsiteY4" fmla="*/ 103528 h 1035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24310" h="103527">
                  <a:moveTo>
                    <a:pt x="103570" y="103528"/>
                  </a:moveTo>
                  <a:lnTo>
                    <a:pt x="189801" y="103528"/>
                  </a:lnTo>
                  <a:lnTo>
                    <a:pt x="224310" y="0"/>
                  </a:lnTo>
                  <a:lnTo>
                    <a:pt x="0" y="0"/>
                  </a:lnTo>
                  <a:cubicBezTo>
                    <a:pt x="0" y="57204"/>
                    <a:pt x="46367" y="103528"/>
                    <a:pt x="103528" y="103528"/>
                  </a:cubicBezTo>
                  <a:close/>
                </a:path>
              </a:pathLst>
            </a:custGeom>
            <a:grpFill/>
            <a:ln w="42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3" name="Forma livre: Forma 22">
              <a:extLst>
                <a:ext uri="{FF2B5EF4-FFF2-40B4-BE49-F238E27FC236}">
                  <a16:creationId xmlns:a16="http://schemas.microsoft.com/office/drawing/2014/main" id="{BE8DBCE8-1A57-072F-DC6F-FAE7DEB2B462}"/>
                </a:ext>
              </a:extLst>
            </p:cNvPr>
            <p:cNvSpPr/>
            <p:nvPr/>
          </p:nvSpPr>
          <p:spPr>
            <a:xfrm flipV="1">
              <a:off x="9465121" y="3924242"/>
              <a:ext cx="1686560" cy="524519"/>
            </a:xfrm>
            <a:custGeom>
              <a:avLst/>
              <a:gdLst>
                <a:gd name="connsiteX0" fmla="*/ 2220906 w 2220906"/>
                <a:gd name="connsiteY0" fmla="*/ 0 h 524519"/>
                <a:gd name="connsiteX1" fmla="*/ 2220906 w 2220906"/>
                <a:gd name="connsiteY1" fmla="*/ 524457 h 524519"/>
                <a:gd name="connsiteX2" fmla="*/ 0 w 2220906"/>
                <a:gd name="connsiteY2" fmla="*/ 524519 h 524519"/>
                <a:gd name="connsiteX3" fmla="*/ 0 w 2220906"/>
                <a:gd name="connsiteY3" fmla="*/ 62 h 5245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220906" h="524519">
                  <a:moveTo>
                    <a:pt x="2220906" y="0"/>
                  </a:moveTo>
                  <a:lnTo>
                    <a:pt x="2220906" y="524457"/>
                  </a:lnTo>
                  <a:lnTo>
                    <a:pt x="0" y="524519"/>
                  </a:lnTo>
                  <a:lnTo>
                    <a:pt x="0" y="62"/>
                  </a:lnTo>
                  <a:close/>
                </a:path>
              </a:pathLst>
            </a:custGeom>
            <a:grpFill/>
            <a:ln w="4244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pt-PT">
                <a:solidFill>
                  <a:schemeClr val="tx1"/>
                </a:solidFill>
              </a:endParaRPr>
            </a:p>
          </p:txBody>
        </p:sp>
      </p:grpSp>
      <p:grpSp>
        <p:nvGrpSpPr>
          <p:cNvPr id="24" name="Agrupar 23">
            <a:extLst>
              <a:ext uri="{FF2B5EF4-FFF2-40B4-BE49-F238E27FC236}">
                <a16:creationId xmlns:a16="http://schemas.microsoft.com/office/drawing/2014/main" id="{90977329-94F1-9ED6-E6EE-49F8F57A4AA5}"/>
              </a:ext>
            </a:extLst>
          </p:cNvPr>
          <p:cNvGrpSpPr/>
          <p:nvPr userDrawn="1"/>
        </p:nvGrpSpPr>
        <p:grpSpPr>
          <a:xfrm flipH="1">
            <a:off x="8644364" y="3424197"/>
            <a:ext cx="1701258" cy="2451730"/>
            <a:chOff x="9450422" y="1557975"/>
            <a:chExt cx="1701258" cy="2451730"/>
          </a:xfrm>
          <a:solidFill>
            <a:srgbClr val="E5E5E5"/>
          </a:solidFill>
        </p:grpSpPr>
        <p:sp>
          <p:nvSpPr>
            <p:cNvPr id="25" name="Forma livre: Forma 24">
              <a:extLst>
                <a:ext uri="{FF2B5EF4-FFF2-40B4-BE49-F238E27FC236}">
                  <a16:creationId xmlns:a16="http://schemas.microsoft.com/office/drawing/2014/main" id="{81900649-141B-5947-E8E1-0EE4EBAA94F3}"/>
                </a:ext>
              </a:extLst>
            </p:cNvPr>
            <p:cNvSpPr/>
            <p:nvPr/>
          </p:nvSpPr>
          <p:spPr>
            <a:xfrm flipV="1">
              <a:off x="9450422" y="1557975"/>
              <a:ext cx="994519" cy="524519"/>
            </a:xfrm>
            <a:custGeom>
              <a:avLst/>
              <a:gdLst>
                <a:gd name="connsiteX0" fmla="*/ 2220906 w 2220906"/>
                <a:gd name="connsiteY0" fmla="*/ 0 h 524519"/>
                <a:gd name="connsiteX1" fmla="*/ 2220906 w 2220906"/>
                <a:gd name="connsiteY1" fmla="*/ 524457 h 524519"/>
                <a:gd name="connsiteX2" fmla="*/ 0 w 2220906"/>
                <a:gd name="connsiteY2" fmla="*/ 524519 h 524519"/>
                <a:gd name="connsiteX3" fmla="*/ 0 w 2220906"/>
                <a:gd name="connsiteY3" fmla="*/ 62 h 5245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220906" h="524519">
                  <a:moveTo>
                    <a:pt x="2220906" y="0"/>
                  </a:moveTo>
                  <a:lnTo>
                    <a:pt x="2220906" y="524457"/>
                  </a:lnTo>
                  <a:lnTo>
                    <a:pt x="0" y="524519"/>
                  </a:lnTo>
                  <a:lnTo>
                    <a:pt x="0" y="62"/>
                  </a:lnTo>
                  <a:close/>
                </a:path>
              </a:pathLst>
            </a:custGeom>
            <a:grpFill/>
            <a:ln w="4244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pt-PT">
                <a:solidFill>
                  <a:schemeClr val="tx1"/>
                </a:solidFill>
              </a:endParaRPr>
            </a:p>
          </p:txBody>
        </p:sp>
        <p:sp>
          <p:nvSpPr>
            <p:cNvPr id="26" name="Retângulo 25">
              <a:extLst>
                <a:ext uri="{FF2B5EF4-FFF2-40B4-BE49-F238E27FC236}">
                  <a16:creationId xmlns:a16="http://schemas.microsoft.com/office/drawing/2014/main" id="{8055B768-06B4-BD5D-C0F7-0AB46C7D0F6F}"/>
                </a:ext>
              </a:extLst>
            </p:cNvPr>
            <p:cNvSpPr/>
            <p:nvPr/>
          </p:nvSpPr>
          <p:spPr>
            <a:xfrm>
              <a:off x="9450422" y="2082455"/>
              <a:ext cx="1701256" cy="1402752"/>
            </a:xfrm>
            <a:prstGeom prst="rect">
              <a:avLst/>
            </a:prstGeom>
            <a:grpFill/>
            <a:ln w="4244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pt-PT">
                <a:solidFill>
                  <a:schemeClr val="tx1"/>
                </a:solidFill>
              </a:endParaRPr>
            </a:p>
          </p:txBody>
        </p:sp>
        <p:sp>
          <p:nvSpPr>
            <p:cNvPr id="27" name="Forma livre: Forma 26">
              <a:extLst>
                <a:ext uri="{FF2B5EF4-FFF2-40B4-BE49-F238E27FC236}">
                  <a16:creationId xmlns:a16="http://schemas.microsoft.com/office/drawing/2014/main" id="{CCFECF9C-0968-2D84-331F-52A2CC7C20CC}"/>
                </a:ext>
              </a:extLst>
            </p:cNvPr>
            <p:cNvSpPr/>
            <p:nvPr/>
          </p:nvSpPr>
          <p:spPr>
            <a:xfrm flipH="1" flipV="1">
              <a:off x="10015201" y="1557978"/>
              <a:ext cx="1136476" cy="524519"/>
            </a:xfrm>
            <a:custGeom>
              <a:avLst/>
              <a:gdLst>
                <a:gd name="connsiteX0" fmla="*/ 103570 w 224310"/>
                <a:gd name="connsiteY0" fmla="*/ 103528 h 103527"/>
                <a:gd name="connsiteX1" fmla="*/ 189801 w 224310"/>
                <a:gd name="connsiteY1" fmla="*/ 103528 h 103527"/>
                <a:gd name="connsiteX2" fmla="*/ 224310 w 224310"/>
                <a:gd name="connsiteY2" fmla="*/ 0 h 103527"/>
                <a:gd name="connsiteX3" fmla="*/ 0 w 224310"/>
                <a:gd name="connsiteY3" fmla="*/ 0 h 103527"/>
                <a:gd name="connsiteX4" fmla="*/ 103528 w 224310"/>
                <a:gd name="connsiteY4" fmla="*/ 103528 h 1035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24310" h="103527">
                  <a:moveTo>
                    <a:pt x="103570" y="103528"/>
                  </a:moveTo>
                  <a:lnTo>
                    <a:pt x="189801" y="103528"/>
                  </a:lnTo>
                  <a:lnTo>
                    <a:pt x="224310" y="0"/>
                  </a:lnTo>
                  <a:lnTo>
                    <a:pt x="0" y="0"/>
                  </a:lnTo>
                  <a:cubicBezTo>
                    <a:pt x="0" y="57204"/>
                    <a:pt x="46367" y="103528"/>
                    <a:pt x="103528" y="103528"/>
                  </a:cubicBezTo>
                  <a:close/>
                </a:path>
              </a:pathLst>
            </a:custGeom>
            <a:grpFill/>
            <a:ln w="42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8" name="Forma livre: Forma 27">
              <a:extLst>
                <a:ext uri="{FF2B5EF4-FFF2-40B4-BE49-F238E27FC236}">
                  <a16:creationId xmlns:a16="http://schemas.microsoft.com/office/drawing/2014/main" id="{3994382F-561C-BFAC-29BE-7019209AC56B}"/>
                </a:ext>
              </a:extLst>
            </p:cNvPr>
            <p:cNvSpPr/>
            <p:nvPr/>
          </p:nvSpPr>
          <p:spPr>
            <a:xfrm rot="10800000" flipH="1" flipV="1">
              <a:off x="9450422" y="3485186"/>
              <a:ext cx="1136476" cy="524519"/>
            </a:xfrm>
            <a:custGeom>
              <a:avLst/>
              <a:gdLst>
                <a:gd name="connsiteX0" fmla="*/ 103570 w 224310"/>
                <a:gd name="connsiteY0" fmla="*/ 103528 h 103527"/>
                <a:gd name="connsiteX1" fmla="*/ 189801 w 224310"/>
                <a:gd name="connsiteY1" fmla="*/ 103528 h 103527"/>
                <a:gd name="connsiteX2" fmla="*/ 224310 w 224310"/>
                <a:gd name="connsiteY2" fmla="*/ 0 h 103527"/>
                <a:gd name="connsiteX3" fmla="*/ 0 w 224310"/>
                <a:gd name="connsiteY3" fmla="*/ 0 h 103527"/>
                <a:gd name="connsiteX4" fmla="*/ 103528 w 224310"/>
                <a:gd name="connsiteY4" fmla="*/ 103528 h 1035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24310" h="103527">
                  <a:moveTo>
                    <a:pt x="103570" y="103528"/>
                  </a:moveTo>
                  <a:lnTo>
                    <a:pt x="189801" y="103528"/>
                  </a:lnTo>
                  <a:lnTo>
                    <a:pt x="224310" y="0"/>
                  </a:lnTo>
                  <a:lnTo>
                    <a:pt x="0" y="0"/>
                  </a:lnTo>
                  <a:cubicBezTo>
                    <a:pt x="0" y="57204"/>
                    <a:pt x="46367" y="103528"/>
                    <a:pt x="103528" y="103528"/>
                  </a:cubicBezTo>
                  <a:close/>
                </a:path>
              </a:pathLst>
            </a:custGeom>
            <a:grpFill/>
            <a:ln w="42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9" name="Forma livre: Forma 28">
              <a:extLst>
                <a:ext uri="{FF2B5EF4-FFF2-40B4-BE49-F238E27FC236}">
                  <a16:creationId xmlns:a16="http://schemas.microsoft.com/office/drawing/2014/main" id="{917703C3-0637-6B1E-9502-7C9CC812665E}"/>
                </a:ext>
              </a:extLst>
            </p:cNvPr>
            <p:cNvSpPr/>
            <p:nvPr/>
          </p:nvSpPr>
          <p:spPr>
            <a:xfrm flipV="1">
              <a:off x="9862521" y="3485184"/>
              <a:ext cx="1289159" cy="524519"/>
            </a:xfrm>
            <a:custGeom>
              <a:avLst/>
              <a:gdLst>
                <a:gd name="connsiteX0" fmla="*/ 2220906 w 2220906"/>
                <a:gd name="connsiteY0" fmla="*/ 0 h 524519"/>
                <a:gd name="connsiteX1" fmla="*/ 2220906 w 2220906"/>
                <a:gd name="connsiteY1" fmla="*/ 524457 h 524519"/>
                <a:gd name="connsiteX2" fmla="*/ 0 w 2220906"/>
                <a:gd name="connsiteY2" fmla="*/ 524519 h 524519"/>
                <a:gd name="connsiteX3" fmla="*/ 0 w 2220906"/>
                <a:gd name="connsiteY3" fmla="*/ 62 h 5245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220906" h="524519">
                  <a:moveTo>
                    <a:pt x="2220906" y="0"/>
                  </a:moveTo>
                  <a:lnTo>
                    <a:pt x="2220906" y="524457"/>
                  </a:lnTo>
                  <a:lnTo>
                    <a:pt x="0" y="524519"/>
                  </a:lnTo>
                  <a:lnTo>
                    <a:pt x="0" y="62"/>
                  </a:lnTo>
                  <a:close/>
                </a:path>
              </a:pathLst>
            </a:custGeom>
            <a:grpFill/>
            <a:ln w="4244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pt-PT">
                <a:solidFill>
                  <a:schemeClr val="tx1"/>
                </a:solidFill>
              </a:endParaRPr>
            </a:p>
          </p:txBody>
        </p:sp>
      </p:grpSp>
      <p:sp>
        <p:nvSpPr>
          <p:cNvPr id="130" name="Título 6">
            <a:extLst>
              <a:ext uri="{FF2B5EF4-FFF2-40B4-BE49-F238E27FC236}">
                <a16:creationId xmlns:a16="http://schemas.microsoft.com/office/drawing/2014/main" id="{CC61FC9D-1908-0504-90EA-FF4437CB185E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513185" y="550508"/>
            <a:ext cx="5649865" cy="712204"/>
          </a:xfrm>
        </p:spPr>
        <p:txBody>
          <a:bodyPr>
            <a:normAutofit/>
          </a:bodyPr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pt-PT" dirty="0"/>
              <a:t>Insertar título de la slide</a:t>
            </a:r>
          </a:p>
        </p:txBody>
      </p:sp>
      <p:sp>
        <p:nvSpPr>
          <p:cNvPr id="131" name="Marcador de Posição do Texto 8">
            <a:extLst>
              <a:ext uri="{FF2B5EF4-FFF2-40B4-BE49-F238E27FC236}">
                <a16:creationId xmlns:a16="http://schemas.microsoft.com/office/drawing/2014/main" id="{3D7FEFDF-F0FD-5D2D-FA29-00711083F844}"/>
              </a:ext>
            </a:extLst>
          </p:cNvPr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512765" y="1156317"/>
            <a:ext cx="5650292" cy="355243"/>
          </a:xfrm>
        </p:spPr>
        <p:txBody>
          <a:bodyPr>
            <a:normAutofit/>
          </a:bodyPr>
          <a:lstStyle>
            <a:lvl1pPr>
              <a:defRPr sz="2000">
                <a:solidFill>
                  <a:schemeClr val="bg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pt-PT" dirty="0"/>
              <a:t>Insertar subtítulo de la slide</a:t>
            </a:r>
          </a:p>
        </p:txBody>
      </p:sp>
      <p:sp>
        <p:nvSpPr>
          <p:cNvPr id="142" name="Marcador de Posição do Texto 10">
            <a:extLst>
              <a:ext uri="{FF2B5EF4-FFF2-40B4-BE49-F238E27FC236}">
                <a16:creationId xmlns:a16="http://schemas.microsoft.com/office/drawing/2014/main" id="{140E169F-660D-7C4F-5EB6-E24E3B0FD68C}"/>
              </a:ext>
            </a:extLst>
          </p:cNvPr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512762" y="2722857"/>
            <a:ext cx="4647009" cy="3500143"/>
          </a:xfrm>
        </p:spPr>
        <p:txBody>
          <a:bodyPr/>
          <a:lstStyle>
            <a:lvl1pPr>
              <a:defRPr/>
            </a:lvl1pPr>
            <a:lvl2pPr>
              <a:defRPr/>
            </a:lvl2pPr>
          </a:lstStyle>
          <a:p>
            <a:pPr lvl="0"/>
            <a:r>
              <a:rPr lang="es-ES" dirty="0"/>
              <a:t>Haz </a:t>
            </a:r>
            <a:r>
              <a:rPr lang="es-ES" dirty="0" err="1"/>
              <a:t>click</a:t>
            </a:r>
            <a:r>
              <a:rPr lang="es-ES" dirty="0"/>
              <a:t> para editar los estilos del texto del modelo global</a:t>
            </a:r>
            <a:endParaRPr lang="pt-PT" dirty="0"/>
          </a:p>
          <a:p>
            <a:pPr lvl="1"/>
            <a:r>
              <a:rPr lang="es-ES" dirty="0"/>
              <a:t>Segundo nivel</a:t>
            </a:r>
          </a:p>
          <a:p>
            <a:pPr lvl="1"/>
            <a:r>
              <a:rPr lang="es-ES" dirty="0"/>
              <a:t>Tercer nivel</a:t>
            </a:r>
          </a:p>
          <a:p>
            <a:pPr lvl="1"/>
            <a:r>
              <a:rPr lang="es-ES" dirty="0"/>
              <a:t>Cuarto nivel</a:t>
            </a:r>
          </a:p>
          <a:p>
            <a:pPr lvl="1"/>
            <a:r>
              <a:rPr lang="es-ES" dirty="0"/>
              <a:t>Quinto nivel</a:t>
            </a:r>
          </a:p>
        </p:txBody>
      </p:sp>
      <p:sp>
        <p:nvSpPr>
          <p:cNvPr id="143" name="Marcador de Posição do Texto 10">
            <a:extLst>
              <a:ext uri="{FF2B5EF4-FFF2-40B4-BE49-F238E27FC236}">
                <a16:creationId xmlns:a16="http://schemas.microsoft.com/office/drawing/2014/main" id="{A9F8BAEA-2F7E-6647-B211-8A0B422A07CE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6654089" y="1589024"/>
            <a:ext cx="578388" cy="320006"/>
          </a:xfrm>
        </p:spPr>
        <p:txBody>
          <a:bodyPr anchor="ctr"/>
          <a:lstStyle>
            <a:lvl1pPr algn="ctr">
              <a:defRPr sz="1800">
                <a:solidFill>
                  <a:schemeClr val="tx1"/>
                </a:solidFill>
                <a:latin typeface="+mj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pt-PT" dirty="0"/>
              <a:t>NR</a:t>
            </a:r>
          </a:p>
        </p:txBody>
      </p:sp>
      <p:sp>
        <p:nvSpPr>
          <p:cNvPr id="144" name="Marcador de Posição do Texto 10">
            <a:extLst>
              <a:ext uri="{FF2B5EF4-FFF2-40B4-BE49-F238E27FC236}">
                <a16:creationId xmlns:a16="http://schemas.microsoft.com/office/drawing/2014/main" id="{4B3004A4-58AD-A83D-2B0C-411D4D7B4849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9933523" y="945039"/>
            <a:ext cx="578388" cy="320006"/>
          </a:xfrm>
        </p:spPr>
        <p:txBody>
          <a:bodyPr anchor="ctr"/>
          <a:lstStyle>
            <a:lvl1pPr algn="ctr">
              <a:defRPr sz="1800">
                <a:solidFill>
                  <a:schemeClr val="tx1"/>
                </a:solidFill>
                <a:latin typeface="+mj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pt-PT" dirty="0"/>
              <a:t>NR</a:t>
            </a:r>
          </a:p>
        </p:txBody>
      </p:sp>
      <p:sp>
        <p:nvSpPr>
          <p:cNvPr id="145" name="Marcador de Posição do Texto 10">
            <a:extLst>
              <a:ext uri="{FF2B5EF4-FFF2-40B4-BE49-F238E27FC236}">
                <a16:creationId xmlns:a16="http://schemas.microsoft.com/office/drawing/2014/main" id="{C26A724F-3B2C-CAB3-E025-DE720AF1916F}"/>
              </a:ext>
            </a:extLst>
          </p:cNvPr>
          <p:cNvSpPr>
            <a:spLocks noGrp="1"/>
          </p:cNvSpPr>
          <p:nvPr userDrawn="1">
            <p:ph type="body" sz="quarter" idx="14" hasCustomPrompt="1"/>
          </p:nvPr>
        </p:nvSpPr>
        <p:spPr>
          <a:xfrm>
            <a:off x="6192054" y="5836986"/>
            <a:ext cx="578388" cy="320006"/>
          </a:xfrm>
        </p:spPr>
        <p:txBody>
          <a:bodyPr anchor="ctr"/>
          <a:lstStyle>
            <a:lvl1pPr algn="ctr">
              <a:defRPr sz="1800">
                <a:solidFill>
                  <a:schemeClr val="tx1"/>
                </a:solidFill>
                <a:latin typeface="+mj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pt-PT" dirty="0"/>
              <a:t>NR</a:t>
            </a:r>
          </a:p>
        </p:txBody>
      </p:sp>
      <p:sp>
        <p:nvSpPr>
          <p:cNvPr id="146" name="Marcador de Posição do Texto 10">
            <a:extLst>
              <a:ext uri="{FF2B5EF4-FFF2-40B4-BE49-F238E27FC236}">
                <a16:creationId xmlns:a16="http://schemas.microsoft.com/office/drawing/2014/main" id="{5D4F9B5F-D56C-7CDC-AEF3-78E2B83F288E}"/>
              </a:ext>
            </a:extLst>
          </p:cNvPr>
          <p:cNvSpPr>
            <a:spLocks noGrp="1"/>
          </p:cNvSpPr>
          <p:nvPr userDrawn="1">
            <p:ph type="body" sz="quarter" idx="15" hasCustomPrompt="1"/>
          </p:nvPr>
        </p:nvSpPr>
        <p:spPr>
          <a:xfrm>
            <a:off x="9644329" y="5425822"/>
            <a:ext cx="578388" cy="320006"/>
          </a:xfrm>
        </p:spPr>
        <p:txBody>
          <a:bodyPr anchor="ctr"/>
          <a:lstStyle>
            <a:lvl1pPr algn="ctr">
              <a:defRPr sz="1800">
                <a:solidFill>
                  <a:schemeClr val="tx1"/>
                </a:solidFill>
                <a:latin typeface="+mj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pt-PT" dirty="0"/>
              <a:t>NR</a:t>
            </a:r>
          </a:p>
        </p:txBody>
      </p:sp>
      <p:sp>
        <p:nvSpPr>
          <p:cNvPr id="147" name="Marcador de Posição do Texto 10">
            <a:extLst>
              <a:ext uri="{FF2B5EF4-FFF2-40B4-BE49-F238E27FC236}">
                <a16:creationId xmlns:a16="http://schemas.microsoft.com/office/drawing/2014/main" id="{8DFEA09B-B059-802E-BEA6-8EDBFA11E6D9}"/>
              </a:ext>
            </a:extLst>
          </p:cNvPr>
          <p:cNvSpPr>
            <a:spLocks noGrp="1"/>
          </p:cNvSpPr>
          <p:nvPr userDrawn="1">
            <p:ph type="body" sz="quarter" idx="16" hasCustomPrompt="1"/>
          </p:nvPr>
        </p:nvSpPr>
        <p:spPr>
          <a:xfrm>
            <a:off x="6646438" y="1973320"/>
            <a:ext cx="1755099" cy="703656"/>
          </a:xfrm>
        </p:spPr>
        <p:txBody>
          <a:bodyPr>
            <a:normAutofit/>
          </a:bodyPr>
          <a:lstStyle>
            <a:lvl1pPr>
              <a:defRPr sz="1200"/>
            </a:lvl1pPr>
          </a:lstStyle>
          <a:p>
            <a:pPr lvl="0"/>
            <a:r>
              <a:rPr lang="es-ES" dirty="0"/>
              <a:t>Haz </a:t>
            </a:r>
            <a:r>
              <a:rPr lang="es-ES" dirty="0" err="1"/>
              <a:t>click</a:t>
            </a:r>
            <a:r>
              <a:rPr lang="es-ES" dirty="0"/>
              <a:t> para editar los estilos del texto del modelo global</a:t>
            </a:r>
            <a:endParaRPr lang="pt-PT" dirty="0"/>
          </a:p>
        </p:txBody>
      </p:sp>
      <p:sp>
        <p:nvSpPr>
          <p:cNvPr id="148" name="Marcador de Posição do Texto 10">
            <a:extLst>
              <a:ext uri="{FF2B5EF4-FFF2-40B4-BE49-F238E27FC236}">
                <a16:creationId xmlns:a16="http://schemas.microsoft.com/office/drawing/2014/main" id="{4A5A43BC-8005-1E62-EC72-1F1163AD66BC}"/>
              </a:ext>
            </a:extLst>
          </p:cNvPr>
          <p:cNvSpPr>
            <a:spLocks noGrp="1"/>
          </p:cNvSpPr>
          <p:nvPr userDrawn="1">
            <p:ph type="body" sz="quarter" idx="17" hasCustomPrompt="1"/>
          </p:nvPr>
        </p:nvSpPr>
        <p:spPr>
          <a:xfrm>
            <a:off x="6163050" y="5086804"/>
            <a:ext cx="1755099" cy="703656"/>
          </a:xfrm>
        </p:spPr>
        <p:txBody>
          <a:bodyPr anchor="b">
            <a:normAutofit/>
          </a:bodyPr>
          <a:lstStyle>
            <a:lvl1pPr>
              <a:defRPr sz="1200"/>
            </a:lvl1pPr>
          </a:lstStyle>
          <a:p>
            <a:pPr lvl="0"/>
            <a:r>
              <a:rPr lang="es-ES" dirty="0"/>
              <a:t>Haz </a:t>
            </a:r>
            <a:r>
              <a:rPr lang="es-ES" dirty="0" err="1"/>
              <a:t>click</a:t>
            </a:r>
            <a:r>
              <a:rPr lang="es-ES" dirty="0"/>
              <a:t> para editar los estilos del texto del modelo global</a:t>
            </a:r>
            <a:endParaRPr lang="pt-PT" dirty="0"/>
          </a:p>
        </p:txBody>
      </p:sp>
      <p:sp>
        <p:nvSpPr>
          <p:cNvPr id="149" name="Marcador de Posição do Texto 10">
            <a:extLst>
              <a:ext uri="{FF2B5EF4-FFF2-40B4-BE49-F238E27FC236}">
                <a16:creationId xmlns:a16="http://schemas.microsoft.com/office/drawing/2014/main" id="{89D5CD83-29E5-E95D-4B05-F764D89FC54A}"/>
              </a:ext>
            </a:extLst>
          </p:cNvPr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8644361" y="4650012"/>
            <a:ext cx="1578356" cy="703656"/>
          </a:xfrm>
        </p:spPr>
        <p:txBody>
          <a:bodyPr anchor="b">
            <a:normAutofit/>
          </a:bodyPr>
          <a:lstStyle>
            <a:lvl1pPr algn="r">
              <a:defRPr sz="1200"/>
            </a:lvl1pPr>
          </a:lstStyle>
          <a:p>
            <a:pPr lvl="0"/>
            <a:r>
              <a:rPr lang="es-ES" dirty="0"/>
              <a:t>Haz </a:t>
            </a:r>
            <a:r>
              <a:rPr lang="es-ES" dirty="0" err="1"/>
              <a:t>click</a:t>
            </a:r>
            <a:r>
              <a:rPr lang="es-ES" dirty="0"/>
              <a:t> para editar los estilos del texto del modelo global</a:t>
            </a:r>
            <a:endParaRPr lang="pt-PT" dirty="0"/>
          </a:p>
        </p:txBody>
      </p:sp>
      <p:sp>
        <p:nvSpPr>
          <p:cNvPr id="150" name="Marcador de Posição do Texto 10">
            <a:extLst>
              <a:ext uri="{FF2B5EF4-FFF2-40B4-BE49-F238E27FC236}">
                <a16:creationId xmlns:a16="http://schemas.microsoft.com/office/drawing/2014/main" id="{2E2C3BBD-875A-E180-1428-6ED6A6C1BC98}"/>
              </a:ext>
            </a:extLst>
          </p:cNvPr>
          <p:cNvSpPr>
            <a:spLocks noGrp="1"/>
          </p:cNvSpPr>
          <p:nvPr userDrawn="1">
            <p:ph type="body" sz="quarter" idx="19" hasCustomPrompt="1"/>
          </p:nvPr>
        </p:nvSpPr>
        <p:spPr>
          <a:xfrm>
            <a:off x="8933555" y="1328248"/>
            <a:ext cx="1578356" cy="703656"/>
          </a:xfrm>
        </p:spPr>
        <p:txBody>
          <a:bodyPr>
            <a:normAutofit/>
          </a:bodyPr>
          <a:lstStyle>
            <a:lvl1pPr algn="r">
              <a:defRPr sz="1200"/>
            </a:lvl1pPr>
          </a:lstStyle>
          <a:p>
            <a:pPr lvl="0"/>
            <a:r>
              <a:rPr lang="es-ES" dirty="0"/>
              <a:t>Haz </a:t>
            </a:r>
            <a:r>
              <a:rPr lang="es-ES" dirty="0" err="1"/>
              <a:t>click</a:t>
            </a:r>
            <a:r>
              <a:rPr lang="es-ES" dirty="0"/>
              <a:t> para editar los estilos del texto del modelo global</a:t>
            </a:r>
            <a:endParaRPr lang="pt-PT" dirty="0"/>
          </a:p>
        </p:txBody>
      </p:sp>
      <p:grpSp>
        <p:nvGrpSpPr>
          <p:cNvPr id="2" name="Gráfico 2">
            <a:extLst>
              <a:ext uri="{FF2B5EF4-FFF2-40B4-BE49-F238E27FC236}">
                <a16:creationId xmlns:a16="http://schemas.microsoft.com/office/drawing/2014/main" id="{4EA1A46F-A430-DAED-FF6E-04FDDC2A12D3}"/>
              </a:ext>
            </a:extLst>
          </p:cNvPr>
          <p:cNvGrpSpPr/>
          <p:nvPr userDrawn="1"/>
        </p:nvGrpSpPr>
        <p:grpSpPr>
          <a:xfrm>
            <a:off x="10557975" y="275736"/>
            <a:ext cx="1308718" cy="138724"/>
            <a:chOff x="0" y="2782824"/>
            <a:chExt cx="12192000" cy="1292352"/>
          </a:xfrm>
        </p:grpSpPr>
        <p:sp>
          <p:nvSpPr>
            <p:cNvPr id="3" name="Forma libre: forma 2">
              <a:extLst>
                <a:ext uri="{FF2B5EF4-FFF2-40B4-BE49-F238E27FC236}">
                  <a16:creationId xmlns:a16="http://schemas.microsoft.com/office/drawing/2014/main" id="{6783C00E-0BEB-D802-4E1F-A014F126397C}"/>
                </a:ext>
              </a:extLst>
            </p:cNvPr>
            <p:cNvSpPr/>
            <p:nvPr/>
          </p:nvSpPr>
          <p:spPr>
            <a:xfrm>
              <a:off x="3791306" y="2777053"/>
              <a:ext cx="1300480" cy="1300480"/>
            </a:xfrm>
            <a:custGeom>
              <a:avLst/>
              <a:gdLst>
                <a:gd name="connsiteX0" fmla="*/ 6096 w 1300480"/>
                <a:gd name="connsiteY0" fmla="*/ 653979 h 1300480"/>
                <a:gd name="connsiteX1" fmla="*/ 653979 w 1300480"/>
                <a:gd name="connsiteY1" fmla="*/ 6096 h 1300480"/>
                <a:gd name="connsiteX2" fmla="*/ 1301862 w 1300480"/>
                <a:gd name="connsiteY2" fmla="*/ 653979 h 1300480"/>
                <a:gd name="connsiteX3" fmla="*/ 653979 w 1300480"/>
                <a:gd name="connsiteY3" fmla="*/ 1301862 h 1300480"/>
                <a:gd name="connsiteX4" fmla="*/ 653898 w 1300480"/>
                <a:gd name="connsiteY4" fmla="*/ 1301862 h 1300480"/>
                <a:gd name="connsiteX5" fmla="*/ 6096 w 1300480"/>
                <a:gd name="connsiteY5" fmla="*/ 654060 h 1300480"/>
                <a:gd name="connsiteX6" fmla="*/ 6096 w 1300480"/>
                <a:gd name="connsiteY6" fmla="*/ 654060 h 1300480"/>
                <a:gd name="connsiteX7" fmla="*/ 653898 w 1300480"/>
                <a:gd name="connsiteY7" fmla="*/ 1091184 h 1300480"/>
                <a:gd name="connsiteX8" fmla="*/ 1091265 w 1300480"/>
                <a:gd name="connsiteY8" fmla="*/ 653979 h 1300480"/>
                <a:gd name="connsiteX9" fmla="*/ 654060 w 1300480"/>
                <a:gd name="connsiteY9" fmla="*/ 216611 h 1300480"/>
                <a:gd name="connsiteX10" fmla="*/ 216692 w 1300480"/>
                <a:gd name="connsiteY10" fmla="*/ 653816 h 1300480"/>
                <a:gd name="connsiteX11" fmla="*/ 216692 w 1300480"/>
                <a:gd name="connsiteY11" fmla="*/ 653979 h 1300480"/>
                <a:gd name="connsiteX12" fmla="*/ 653898 w 1300480"/>
                <a:gd name="connsiteY12" fmla="*/ 1091184 h 13004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300480" h="1300480">
                  <a:moveTo>
                    <a:pt x="6096" y="653979"/>
                  </a:moveTo>
                  <a:cubicBezTo>
                    <a:pt x="6096" y="296184"/>
                    <a:pt x="296184" y="6096"/>
                    <a:pt x="653979" y="6096"/>
                  </a:cubicBezTo>
                  <a:cubicBezTo>
                    <a:pt x="1011773" y="6096"/>
                    <a:pt x="1301862" y="296184"/>
                    <a:pt x="1301862" y="653979"/>
                  </a:cubicBezTo>
                  <a:cubicBezTo>
                    <a:pt x="1301862" y="1011773"/>
                    <a:pt x="1011773" y="1301862"/>
                    <a:pt x="653979" y="1301862"/>
                  </a:cubicBezTo>
                  <a:lnTo>
                    <a:pt x="653898" y="1301862"/>
                  </a:lnTo>
                  <a:cubicBezTo>
                    <a:pt x="296103" y="1301862"/>
                    <a:pt x="6096" y="1011855"/>
                    <a:pt x="6096" y="654060"/>
                  </a:cubicBezTo>
                  <a:lnTo>
                    <a:pt x="6096" y="654060"/>
                  </a:lnTo>
                  <a:moveTo>
                    <a:pt x="653898" y="1091184"/>
                  </a:moveTo>
                  <a:cubicBezTo>
                    <a:pt x="895380" y="1091184"/>
                    <a:pt x="1091184" y="895462"/>
                    <a:pt x="1091265" y="653979"/>
                  </a:cubicBezTo>
                  <a:cubicBezTo>
                    <a:pt x="1091265" y="412496"/>
                    <a:pt x="895543" y="216692"/>
                    <a:pt x="654060" y="216611"/>
                  </a:cubicBezTo>
                  <a:cubicBezTo>
                    <a:pt x="412577" y="216611"/>
                    <a:pt x="216774" y="412333"/>
                    <a:pt x="216692" y="653816"/>
                  </a:cubicBezTo>
                  <a:lnTo>
                    <a:pt x="216692" y="653979"/>
                  </a:lnTo>
                  <a:cubicBezTo>
                    <a:pt x="216692" y="895462"/>
                    <a:pt x="412415" y="1091184"/>
                    <a:pt x="653898" y="1091184"/>
                  </a:cubicBezTo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4" name="Forma libre: forma 3">
              <a:extLst>
                <a:ext uri="{FF2B5EF4-FFF2-40B4-BE49-F238E27FC236}">
                  <a16:creationId xmlns:a16="http://schemas.microsoft.com/office/drawing/2014/main" id="{A7AF3580-0376-2418-26AD-0C49335026D1}"/>
                </a:ext>
              </a:extLst>
            </p:cNvPr>
            <p:cNvSpPr/>
            <p:nvPr/>
          </p:nvSpPr>
          <p:spPr>
            <a:xfrm>
              <a:off x="1151981" y="2793797"/>
              <a:ext cx="219456" cy="1267968"/>
            </a:xfrm>
            <a:custGeom>
              <a:avLst/>
              <a:gdLst>
                <a:gd name="connsiteX0" fmla="*/ 216367 w 219456"/>
                <a:gd name="connsiteY0" fmla="*/ 6096 h 1267968"/>
                <a:gd name="connsiteX1" fmla="*/ 216367 w 219456"/>
                <a:gd name="connsiteY1" fmla="*/ 6096 h 1267968"/>
                <a:gd name="connsiteX2" fmla="*/ 216367 w 219456"/>
                <a:gd name="connsiteY2" fmla="*/ 1268212 h 1267968"/>
                <a:gd name="connsiteX3" fmla="*/ 6096 w 219456"/>
                <a:gd name="connsiteY3" fmla="*/ 1268212 h 1267968"/>
                <a:gd name="connsiteX4" fmla="*/ 6096 w 219456"/>
                <a:gd name="connsiteY4" fmla="*/ 216449 h 1267968"/>
                <a:gd name="connsiteX5" fmla="*/ 216367 w 219456"/>
                <a:gd name="connsiteY5" fmla="*/ 6096 h 126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19456" h="1267968">
                  <a:moveTo>
                    <a:pt x="216367" y="6096"/>
                  </a:moveTo>
                  <a:lnTo>
                    <a:pt x="216367" y="6096"/>
                  </a:lnTo>
                  <a:lnTo>
                    <a:pt x="216367" y="1268212"/>
                  </a:lnTo>
                  <a:lnTo>
                    <a:pt x="6096" y="1268212"/>
                  </a:lnTo>
                  <a:lnTo>
                    <a:pt x="6096" y="216449"/>
                  </a:lnTo>
                  <a:cubicBezTo>
                    <a:pt x="6096" y="100300"/>
                    <a:pt x="100218" y="6177"/>
                    <a:pt x="216367" y="6096"/>
                  </a:cubicBezTo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5" name="Forma libre: forma 4">
              <a:extLst>
                <a:ext uri="{FF2B5EF4-FFF2-40B4-BE49-F238E27FC236}">
                  <a16:creationId xmlns:a16="http://schemas.microsoft.com/office/drawing/2014/main" id="{9D7E685D-4BC8-3019-040B-7ADA6366CE16}"/>
                </a:ext>
              </a:extLst>
            </p:cNvPr>
            <p:cNvSpPr/>
            <p:nvPr/>
          </p:nvSpPr>
          <p:spPr>
            <a:xfrm>
              <a:off x="9373128" y="2793797"/>
              <a:ext cx="219456" cy="1267968"/>
            </a:xfrm>
            <a:custGeom>
              <a:avLst/>
              <a:gdLst>
                <a:gd name="connsiteX0" fmla="*/ 216368 w 219456"/>
                <a:gd name="connsiteY0" fmla="*/ 6096 h 1267968"/>
                <a:gd name="connsiteX1" fmla="*/ 216368 w 219456"/>
                <a:gd name="connsiteY1" fmla="*/ 6096 h 1267968"/>
                <a:gd name="connsiteX2" fmla="*/ 216368 w 219456"/>
                <a:gd name="connsiteY2" fmla="*/ 1268212 h 1267968"/>
                <a:gd name="connsiteX3" fmla="*/ 6096 w 219456"/>
                <a:gd name="connsiteY3" fmla="*/ 1268212 h 1267968"/>
                <a:gd name="connsiteX4" fmla="*/ 6096 w 219456"/>
                <a:gd name="connsiteY4" fmla="*/ 216449 h 1267968"/>
                <a:gd name="connsiteX5" fmla="*/ 216287 w 219456"/>
                <a:gd name="connsiteY5" fmla="*/ 6096 h 1267968"/>
                <a:gd name="connsiteX6" fmla="*/ 216368 w 219456"/>
                <a:gd name="connsiteY6" fmla="*/ 6096 h 126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19456" h="1267968">
                  <a:moveTo>
                    <a:pt x="216368" y="6096"/>
                  </a:moveTo>
                  <a:lnTo>
                    <a:pt x="216368" y="6096"/>
                  </a:lnTo>
                  <a:lnTo>
                    <a:pt x="216368" y="1268212"/>
                  </a:lnTo>
                  <a:lnTo>
                    <a:pt x="6096" y="1268212"/>
                  </a:lnTo>
                  <a:lnTo>
                    <a:pt x="6096" y="216449"/>
                  </a:lnTo>
                  <a:cubicBezTo>
                    <a:pt x="6096" y="100300"/>
                    <a:pt x="100138" y="6177"/>
                    <a:pt x="216287" y="6096"/>
                  </a:cubicBezTo>
                  <a:lnTo>
                    <a:pt x="216368" y="6096"/>
                  </a:lnTo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30" name="Forma libre: forma 29">
              <a:extLst>
                <a:ext uri="{FF2B5EF4-FFF2-40B4-BE49-F238E27FC236}">
                  <a16:creationId xmlns:a16="http://schemas.microsoft.com/office/drawing/2014/main" id="{CFC92508-F7E9-0D21-DED9-DC372D11C333}"/>
                </a:ext>
              </a:extLst>
            </p:cNvPr>
            <p:cNvSpPr/>
            <p:nvPr/>
          </p:nvSpPr>
          <p:spPr>
            <a:xfrm>
              <a:off x="8111012" y="2793878"/>
              <a:ext cx="1056640" cy="1267968"/>
            </a:xfrm>
            <a:custGeom>
              <a:avLst/>
              <a:gdLst>
                <a:gd name="connsiteX0" fmla="*/ 74046 w 1056640"/>
                <a:gd name="connsiteY0" fmla="*/ 6096 h 1267968"/>
                <a:gd name="connsiteX1" fmla="*/ 6096 w 1056640"/>
                <a:gd name="connsiteY1" fmla="*/ 216367 h 1267968"/>
                <a:gd name="connsiteX2" fmla="*/ 426802 w 1056640"/>
                <a:gd name="connsiteY2" fmla="*/ 216367 h 1267968"/>
                <a:gd name="connsiteX3" fmla="*/ 426802 w 1056640"/>
                <a:gd name="connsiteY3" fmla="*/ 1268131 h 1267968"/>
                <a:gd name="connsiteX4" fmla="*/ 637155 w 1056640"/>
                <a:gd name="connsiteY4" fmla="*/ 1268131 h 1267968"/>
                <a:gd name="connsiteX5" fmla="*/ 637155 w 1056640"/>
                <a:gd name="connsiteY5" fmla="*/ 216367 h 1267968"/>
                <a:gd name="connsiteX6" fmla="*/ 847507 w 1056640"/>
                <a:gd name="connsiteY6" fmla="*/ 216367 h 1267968"/>
                <a:gd name="connsiteX7" fmla="*/ 1057860 w 1056640"/>
                <a:gd name="connsiteY7" fmla="*/ 6096 h 1267968"/>
                <a:gd name="connsiteX8" fmla="*/ 74046 w 1056640"/>
                <a:gd name="connsiteY8" fmla="*/ 6096 h 126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056640" h="1267968">
                  <a:moveTo>
                    <a:pt x="74046" y="6096"/>
                  </a:moveTo>
                  <a:lnTo>
                    <a:pt x="6096" y="216367"/>
                  </a:lnTo>
                  <a:lnTo>
                    <a:pt x="426802" y="216367"/>
                  </a:lnTo>
                  <a:lnTo>
                    <a:pt x="426802" y="1268131"/>
                  </a:lnTo>
                  <a:lnTo>
                    <a:pt x="637155" y="1268131"/>
                  </a:lnTo>
                  <a:lnTo>
                    <a:pt x="637155" y="216367"/>
                  </a:lnTo>
                  <a:lnTo>
                    <a:pt x="847507" y="216367"/>
                  </a:lnTo>
                  <a:cubicBezTo>
                    <a:pt x="963656" y="216367"/>
                    <a:pt x="1057779" y="122245"/>
                    <a:pt x="1057860" y="6096"/>
                  </a:cubicBezTo>
                  <a:lnTo>
                    <a:pt x="74046" y="6096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31" name="Forma libre: forma 30">
              <a:extLst>
                <a:ext uri="{FF2B5EF4-FFF2-40B4-BE49-F238E27FC236}">
                  <a16:creationId xmlns:a16="http://schemas.microsoft.com/office/drawing/2014/main" id="{765128CF-5FB3-062A-1F93-1536F2DED191}"/>
                </a:ext>
              </a:extLst>
            </p:cNvPr>
            <p:cNvSpPr/>
            <p:nvPr/>
          </p:nvSpPr>
          <p:spPr>
            <a:xfrm>
              <a:off x="1602108" y="2793797"/>
              <a:ext cx="845312" cy="1267968"/>
            </a:xfrm>
            <a:custGeom>
              <a:avLst/>
              <a:gdLst>
                <a:gd name="connsiteX0" fmla="*/ 216288 w 845312"/>
                <a:gd name="connsiteY0" fmla="*/ 1057859 h 1267968"/>
                <a:gd name="connsiteX1" fmla="*/ 216288 w 845312"/>
                <a:gd name="connsiteY1" fmla="*/ 6096 h 1267968"/>
                <a:gd name="connsiteX2" fmla="*/ 6098 w 845312"/>
                <a:gd name="connsiteY2" fmla="*/ 6096 h 1267968"/>
                <a:gd name="connsiteX3" fmla="*/ 6098 w 845312"/>
                <a:gd name="connsiteY3" fmla="*/ 1057859 h 1267968"/>
                <a:gd name="connsiteX4" fmla="*/ 6098 w 845312"/>
                <a:gd name="connsiteY4" fmla="*/ 1057859 h 1267968"/>
                <a:gd name="connsiteX5" fmla="*/ 14226 w 845312"/>
                <a:gd name="connsiteY5" fmla="*/ 1116706 h 1267968"/>
                <a:gd name="connsiteX6" fmla="*/ 15201 w 845312"/>
                <a:gd name="connsiteY6" fmla="*/ 1120364 h 1267968"/>
                <a:gd name="connsiteX7" fmla="*/ 17071 w 845312"/>
                <a:gd name="connsiteY7" fmla="*/ 1125566 h 1267968"/>
                <a:gd name="connsiteX8" fmla="*/ 22598 w 845312"/>
                <a:gd name="connsiteY8" fmla="*/ 1140358 h 1267968"/>
                <a:gd name="connsiteX9" fmla="*/ 52021 w 845312"/>
                <a:gd name="connsiteY9" fmla="*/ 1189126 h 1267968"/>
                <a:gd name="connsiteX10" fmla="*/ 124685 w 845312"/>
                <a:gd name="connsiteY10" fmla="*/ 1246916 h 1267968"/>
                <a:gd name="connsiteX11" fmla="*/ 216125 w 845312"/>
                <a:gd name="connsiteY11" fmla="*/ 1268049 h 1267968"/>
                <a:gd name="connsiteX12" fmla="*/ 776957 w 845312"/>
                <a:gd name="connsiteY12" fmla="*/ 1268049 h 1267968"/>
                <a:gd name="connsiteX13" fmla="*/ 847021 w 845312"/>
                <a:gd name="connsiteY13" fmla="*/ 1057697 h 1267968"/>
                <a:gd name="connsiteX14" fmla="*/ 216288 w 845312"/>
                <a:gd name="connsiteY14" fmla="*/ 1057859 h 126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845312" h="1267968">
                  <a:moveTo>
                    <a:pt x="216288" y="1057859"/>
                  </a:moveTo>
                  <a:lnTo>
                    <a:pt x="216288" y="6096"/>
                  </a:lnTo>
                  <a:lnTo>
                    <a:pt x="6098" y="6096"/>
                  </a:lnTo>
                  <a:lnTo>
                    <a:pt x="6098" y="1057859"/>
                  </a:lnTo>
                  <a:lnTo>
                    <a:pt x="6098" y="1057859"/>
                  </a:lnTo>
                  <a:cubicBezTo>
                    <a:pt x="6017" y="1077773"/>
                    <a:pt x="8699" y="1097605"/>
                    <a:pt x="14226" y="1116706"/>
                  </a:cubicBezTo>
                  <a:cubicBezTo>
                    <a:pt x="14632" y="1117925"/>
                    <a:pt x="14795" y="1119226"/>
                    <a:pt x="15201" y="1120364"/>
                  </a:cubicBezTo>
                  <a:cubicBezTo>
                    <a:pt x="15608" y="1121502"/>
                    <a:pt x="16502" y="1123859"/>
                    <a:pt x="17071" y="1125566"/>
                  </a:cubicBezTo>
                  <a:cubicBezTo>
                    <a:pt x="18777" y="1130605"/>
                    <a:pt x="20566" y="1135563"/>
                    <a:pt x="22598" y="1140358"/>
                  </a:cubicBezTo>
                  <a:cubicBezTo>
                    <a:pt x="30157" y="1157915"/>
                    <a:pt x="40073" y="1174252"/>
                    <a:pt x="52021" y="1189126"/>
                  </a:cubicBezTo>
                  <a:cubicBezTo>
                    <a:pt x="71691" y="1213510"/>
                    <a:pt x="96481" y="1233262"/>
                    <a:pt x="124685" y="1246916"/>
                  </a:cubicBezTo>
                  <a:cubicBezTo>
                    <a:pt x="153215" y="1260734"/>
                    <a:pt x="184426" y="1267968"/>
                    <a:pt x="216125" y="1268049"/>
                  </a:cubicBezTo>
                  <a:lnTo>
                    <a:pt x="776957" y="1268049"/>
                  </a:lnTo>
                  <a:lnTo>
                    <a:pt x="847021" y="1057697"/>
                  </a:lnTo>
                  <a:lnTo>
                    <a:pt x="216288" y="1057859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32" name="Forma libre: forma 31">
              <a:extLst>
                <a:ext uri="{FF2B5EF4-FFF2-40B4-BE49-F238E27FC236}">
                  <a16:creationId xmlns:a16="http://schemas.microsoft.com/office/drawing/2014/main" id="{CA57A413-540F-E873-0CD2-AF8BF938071B}"/>
                </a:ext>
              </a:extLst>
            </p:cNvPr>
            <p:cNvSpPr/>
            <p:nvPr/>
          </p:nvSpPr>
          <p:spPr>
            <a:xfrm>
              <a:off x="-6096" y="2794284"/>
              <a:ext cx="959104" cy="1267968"/>
            </a:xfrm>
            <a:custGeom>
              <a:avLst/>
              <a:gdLst>
                <a:gd name="connsiteX0" fmla="*/ 818815 w 959104"/>
                <a:gd name="connsiteY0" fmla="*/ 411764 h 1267968"/>
                <a:gd name="connsiteX1" fmla="*/ 818815 w 959104"/>
                <a:gd name="connsiteY1" fmla="*/ 285699 h 1267968"/>
                <a:gd name="connsiteX2" fmla="*/ 539130 w 959104"/>
                <a:gd name="connsiteY2" fmla="*/ 6096 h 1267968"/>
                <a:gd name="connsiteX3" fmla="*/ 6096 w 959104"/>
                <a:gd name="connsiteY3" fmla="*/ 6096 h 1267968"/>
                <a:gd name="connsiteX4" fmla="*/ 6096 w 959104"/>
                <a:gd name="connsiteY4" fmla="*/ 1057047 h 1267968"/>
                <a:gd name="connsiteX5" fmla="*/ 216367 w 959104"/>
                <a:gd name="connsiteY5" fmla="*/ 1267399 h 1267968"/>
                <a:gd name="connsiteX6" fmla="*/ 532140 w 959104"/>
                <a:gd name="connsiteY6" fmla="*/ 1267399 h 1267968"/>
                <a:gd name="connsiteX7" fmla="*/ 953821 w 959104"/>
                <a:gd name="connsiteY7" fmla="*/ 892861 h 1267968"/>
                <a:gd name="connsiteX8" fmla="*/ 603260 w 959104"/>
                <a:gd name="connsiteY8" fmla="*/ 530596 h 1267968"/>
                <a:gd name="connsiteX9" fmla="*/ 218562 w 959104"/>
                <a:gd name="connsiteY9" fmla="*/ 531490 h 1267968"/>
                <a:gd name="connsiteX10" fmla="*/ 424282 w 959104"/>
                <a:gd name="connsiteY10" fmla="*/ 737210 h 1267968"/>
                <a:gd name="connsiteX11" fmla="*/ 424932 w 959104"/>
                <a:gd name="connsiteY11" fmla="*/ 737210 h 1267968"/>
                <a:gd name="connsiteX12" fmla="*/ 585785 w 959104"/>
                <a:gd name="connsiteY12" fmla="*/ 737210 h 1267968"/>
                <a:gd name="connsiteX13" fmla="*/ 758261 w 959104"/>
                <a:gd name="connsiteY13" fmla="*/ 889203 h 1267968"/>
                <a:gd name="connsiteX14" fmla="*/ 606268 w 959104"/>
                <a:gd name="connsiteY14" fmla="*/ 1061679 h 1267968"/>
                <a:gd name="connsiteX15" fmla="*/ 585704 w 959104"/>
                <a:gd name="connsiteY15" fmla="*/ 1061679 h 1267968"/>
                <a:gd name="connsiteX16" fmla="*/ 216530 w 959104"/>
                <a:gd name="connsiteY16" fmla="*/ 1061679 h 1267968"/>
                <a:gd name="connsiteX17" fmla="*/ 216530 w 959104"/>
                <a:gd name="connsiteY17" fmla="*/ 211653 h 1267968"/>
                <a:gd name="connsiteX18" fmla="*/ 467685 w 959104"/>
                <a:gd name="connsiteY18" fmla="*/ 211653 h 1267968"/>
                <a:gd name="connsiteX19" fmla="*/ 612689 w 959104"/>
                <a:gd name="connsiteY19" fmla="*/ 356575 h 1267968"/>
                <a:gd name="connsiteX20" fmla="*/ 612689 w 959104"/>
                <a:gd name="connsiteY20" fmla="*/ 530352 h 1267968"/>
                <a:gd name="connsiteX21" fmla="*/ 818815 w 959104"/>
                <a:gd name="connsiteY21" fmla="*/ 411764 h 126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959104" h="1267968">
                  <a:moveTo>
                    <a:pt x="818815" y="411764"/>
                  </a:moveTo>
                  <a:lnTo>
                    <a:pt x="818815" y="285699"/>
                  </a:lnTo>
                  <a:cubicBezTo>
                    <a:pt x="818815" y="131267"/>
                    <a:pt x="693562" y="6096"/>
                    <a:pt x="539130" y="6096"/>
                  </a:cubicBezTo>
                  <a:lnTo>
                    <a:pt x="6096" y="6096"/>
                  </a:lnTo>
                  <a:lnTo>
                    <a:pt x="6096" y="1057047"/>
                  </a:lnTo>
                  <a:cubicBezTo>
                    <a:pt x="6096" y="1173196"/>
                    <a:pt x="100218" y="1267318"/>
                    <a:pt x="216367" y="1267399"/>
                  </a:cubicBezTo>
                  <a:lnTo>
                    <a:pt x="532140" y="1267399"/>
                  </a:lnTo>
                  <a:cubicBezTo>
                    <a:pt x="807436" y="1267399"/>
                    <a:pt x="953821" y="1096711"/>
                    <a:pt x="953821" y="892861"/>
                  </a:cubicBezTo>
                  <a:cubicBezTo>
                    <a:pt x="953821" y="725587"/>
                    <a:pt x="840029" y="530596"/>
                    <a:pt x="603260" y="530596"/>
                  </a:cubicBezTo>
                  <a:lnTo>
                    <a:pt x="218562" y="531490"/>
                  </a:lnTo>
                  <a:cubicBezTo>
                    <a:pt x="218562" y="645119"/>
                    <a:pt x="310652" y="737210"/>
                    <a:pt x="424282" y="737210"/>
                  </a:cubicBezTo>
                  <a:cubicBezTo>
                    <a:pt x="424525" y="737210"/>
                    <a:pt x="424688" y="737210"/>
                    <a:pt x="424932" y="737210"/>
                  </a:cubicBezTo>
                  <a:lnTo>
                    <a:pt x="585785" y="737210"/>
                  </a:lnTo>
                  <a:cubicBezTo>
                    <a:pt x="675356" y="731520"/>
                    <a:pt x="752653" y="799551"/>
                    <a:pt x="758261" y="889203"/>
                  </a:cubicBezTo>
                  <a:cubicBezTo>
                    <a:pt x="763951" y="978774"/>
                    <a:pt x="695919" y="1056071"/>
                    <a:pt x="606268" y="1061679"/>
                  </a:cubicBezTo>
                  <a:cubicBezTo>
                    <a:pt x="599440" y="1062086"/>
                    <a:pt x="592531" y="1062086"/>
                    <a:pt x="585704" y="1061679"/>
                  </a:cubicBezTo>
                  <a:lnTo>
                    <a:pt x="216530" y="1061679"/>
                  </a:lnTo>
                  <a:lnTo>
                    <a:pt x="216530" y="211653"/>
                  </a:lnTo>
                  <a:lnTo>
                    <a:pt x="467685" y="211653"/>
                  </a:lnTo>
                  <a:cubicBezTo>
                    <a:pt x="547014" y="213441"/>
                    <a:pt x="610901" y="277246"/>
                    <a:pt x="612689" y="356575"/>
                  </a:cubicBezTo>
                  <a:lnTo>
                    <a:pt x="612689" y="530352"/>
                  </a:lnTo>
                  <a:lnTo>
                    <a:pt x="818815" y="411764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33" name="Forma libre: forma 32">
              <a:extLst>
                <a:ext uri="{FF2B5EF4-FFF2-40B4-BE49-F238E27FC236}">
                  <a16:creationId xmlns:a16="http://schemas.microsoft.com/office/drawing/2014/main" id="{1424B789-95C3-DDD5-CA9A-78F8B44CD97B}"/>
                </a:ext>
              </a:extLst>
            </p:cNvPr>
            <p:cNvSpPr/>
            <p:nvPr/>
          </p:nvSpPr>
          <p:spPr>
            <a:xfrm>
              <a:off x="2653792" y="2794284"/>
              <a:ext cx="959104" cy="1267968"/>
            </a:xfrm>
            <a:custGeom>
              <a:avLst/>
              <a:gdLst>
                <a:gd name="connsiteX0" fmla="*/ 818896 w 959104"/>
                <a:gd name="connsiteY0" fmla="*/ 411764 h 1267968"/>
                <a:gd name="connsiteX1" fmla="*/ 818896 w 959104"/>
                <a:gd name="connsiteY1" fmla="*/ 285699 h 1267968"/>
                <a:gd name="connsiteX2" fmla="*/ 539212 w 959104"/>
                <a:gd name="connsiteY2" fmla="*/ 6096 h 1267968"/>
                <a:gd name="connsiteX3" fmla="*/ 6096 w 959104"/>
                <a:gd name="connsiteY3" fmla="*/ 6096 h 1267968"/>
                <a:gd name="connsiteX4" fmla="*/ 6096 w 959104"/>
                <a:gd name="connsiteY4" fmla="*/ 1057047 h 1267968"/>
                <a:gd name="connsiteX5" fmla="*/ 216449 w 959104"/>
                <a:gd name="connsiteY5" fmla="*/ 1267399 h 1267968"/>
                <a:gd name="connsiteX6" fmla="*/ 532222 w 959104"/>
                <a:gd name="connsiteY6" fmla="*/ 1267399 h 1267968"/>
                <a:gd name="connsiteX7" fmla="*/ 953821 w 959104"/>
                <a:gd name="connsiteY7" fmla="*/ 892861 h 1267968"/>
                <a:gd name="connsiteX8" fmla="*/ 603342 w 959104"/>
                <a:gd name="connsiteY8" fmla="*/ 530596 h 1267968"/>
                <a:gd name="connsiteX9" fmla="*/ 218643 w 959104"/>
                <a:gd name="connsiteY9" fmla="*/ 531490 h 1267968"/>
                <a:gd name="connsiteX10" fmla="*/ 424363 w 959104"/>
                <a:gd name="connsiteY10" fmla="*/ 737210 h 1267968"/>
                <a:gd name="connsiteX11" fmla="*/ 424932 w 959104"/>
                <a:gd name="connsiteY11" fmla="*/ 737210 h 1267968"/>
                <a:gd name="connsiteX12" fmla="*/ 585866 w 959104"/>
                <a:gd name="connsiteY12" fmla="*/ 737210 h 1267968"/>
                <a:gd name="connsiteX13" fmla="*/ 737860 w 959104"/>
                <a:gd name="connsiteY13" fmla="*/ 909686 h 1267968"/>
                <a:gd name="connsiteX14" fmla="*/ 585866 w 959104"/>
                <a:gd name="connsiteY14" fmla="*/ 1061679 h 1267968"/>
                <a:gd name="connsiteX15" fmla="*/ 216611 w 959104"/>
                <a:gd name="connsiteY15" fmla="*/ 1061679 h 1267968"/>
                <a:gd name="connsiteX16" fmla="*/ 216611 w 959104"/>
                <a:gd name="connsiteY16" fmla="*/ 211653 h 1267968"/>
                <a:gd name="connsiteX17" fmla="*/ 467766 w 959104"/>
                <a:gd name="connsiteY17" fmla="*/ 211653 h 1267968"/>
                <a:gd name="connsiteX18" fmla="*/ 612770 w 959104"/>
                <a:gd name="connsiteY18" fmla="*/ 356575 h 1267968"/>
                <a:gd name="connsiteX19" fmla="*/ 612770 w 959104"/>
                <a:gd name="connsiteY19" fmla="*/ 530352 h 1267968"/>
                <a:gd name="connsiteX20" fmla="*/ 818896 w 959104"/>
                <a:gd name="connsiteY20" fmla="*/ 411764 h 126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959104" h="1267968">
                  <a:moveTo>
                    <a:pt x="818896" y="411764"/>
                  </a:moveTo>
                  <a:lnTo>
                    <a:pt x="818896" y="285699"/>
                  </a:lnTo>
                  <a:cubicBezTo>
                    <a:pt x="818896" y="131267"/>
                    <a:pt x="693644" y="6096"/>
                    <a:pt x="539212" y="6096"/>
                  </a:cubicBezTo>
                  <a:lnTo>
                    <a:pt x="6096" y="6096"/>
                  </a:lnTo>
                  <a:lnTo>
                    <a:pt x="6096" y="1057047"/>
                  </a:lnTo>
                  <a:cubicBezTo>
                    <a:pt x="6096" y="1173196"/>
                    <a:pt x="100299" y="1267399"/>
                    <a:pt x="216449" y="1267399"/>
                  </a:cubicBezTo>
                  <a:lnTo>
                    <a:pt x="532222" y="1267399"/>
                  </a:lnTo>
                  <a:cubicBezTo>
                    <a:pt x="807517" y="1267399"/>
                    <a:pt x="953821" y="1096711"/>
                    <a:pt x="953821" y="892861"/>
                  </a:cubicBezTo>
                  <a:cubicBezTo>
                    <a:pt x="953821" y="725587"/>
                    <a:pt x="840029" y="530596"/>
                    <a:pt x="603342" y="530596"/>
                  </a:cubicBezTo>
                  <a:lnTo>
                    <a:pt x="218643" y="531490"/>
                  </a:lnTo>
                  <a:cubicBezTo>
                    <a:pt x="218643" y="645119"/>
                    <a:pt x="310734" y="737210"/>
                    <a:pt x="424363" y="737210"/>
                  </a:cubicBezTo>
                  <a:cubicBezTo>
                    <a:pt x="424526" y="737210"/>
                    <a:pt x="424769" y="737210"/>
                    <a:pt x="424932" y="737210"/>
                  </a:cubicBezTo>
                  <a:lnTo>
                    <a:pt x="585866" y="737210"/>
                  </a:lnTo>
                  <a:cubicBezTo>
                    <a:pt x="675437" y="742899"/>
                    <a:pt x="743468" y="820115"/>
                    <a:pt x="737860" y="909686"/>
                  </a:cubicBezTo>
                  <a:cubicBezTo>
                    <a:pt x="732658" y="991372"/>
                    <a:pt x="667553" y="1056477"/>
                    <a:pt x="585866" y="1061679"/>
                  </a:cubicBezTo>
                  <a:lnTo>
                    <a:pt x="216611" y="1061679"/>
                  </a:lnTo>
                  <a:lnTo>
                    <a:pt x="216611" y="211653"/>
                  </a:lnTo>
                  <a:lnTo>
                    <a:pt x="467766" y="211653"/>
                  </a:lnTo>
                  <a:cubicBezTo>
                    <a:pt x="547096" y="213441"/>
                    <a:pt x="610982" y="277246"/>
                    <a:pt x="612770" y="356575"/>
                  </a:cubicBezTo>
                  <a:lnTo>
                    <a:pt x="612770" y="530352"/>
                  </a:lnTo>
                  <a:lnTo>
                    <a:pt x="818896" y="411764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34" name="Forma libre: forma 33">
              <a:extLst>
                <a:ext uri="{FF2B5EF4-FFF2-40B4-BE49-F238E27FC236}">
                  <a16:creationId xmlns:a16="http://schemas.microsoft.com/office/drawing/2014/main" id="{33FE316B-D036-E2CB-6331-4389D9873163}"/>
                </a:ext>
              </a:extLst>
            </p:cNvPr>
            <p:cNvSpPr/>
            <p:nvPr/>
          </p:nvSpPr>
          <p:spPr>
            <a:xfrm>
              <a:off x="5297343" y="2793878"/>
              <a:ext cx="219456" cy="1267968"/>
            </a:xfrm>
            <a:custGeom>
              <a:avLst/>
              <a:gdLst>
                <a:gd name="connsiteX0" fmla="*/ 6096 w 219456"/>
                <a:gd name="connsiteY0" fmla="*/ 6096 h 1267968"/>
                <a:gd name="connsiteX1" fmla="*/ 216449 w 219456"/>
                <a:gd name="connsiteY1" fmla="*/ 6096 h 1267968"/>
                <a:gd name="connsiteX2" fmla="*/ 216449 w 219456"/>
                <a:gd name="connsiteY2" fmla="*/ 1268212 h 1267968"/>
                <a:gd name="connsiteX3" fmla="*/ 6096 w 219456"/>
                <a:gd name="connsiteY3" fmla="*/ 1268212 h 126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19456" h="1267968">
                  <a:moveTo>
                    <a:pt x="6096" y="6096"/>
                  </a:moveTo>
                  <a:lnTo>
                    <a:pt x="216449" y="6096"/>
                  </a:lnTo>
                  <a:lnTo>
                    <a:pt x="216449" y="1268212"/>
                  </a:lnTo>
                  <a:lnTo>
                    <a:pt x="6096" y="1268212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35" name="Forma libre: forma 34">
              <a:extLst>
                <a:ext uri="{FF2B5EF4-FFF2-40B4-BE49-F238E27FC236}">
                  <a16:creationId xmlns:a16="http://schemas.microsoft.com/office/drawing/2014/main" id="{E2832EBF-BC41-CDC0-57FA-AE37D26D2D50}"/>
                </a:ext>
              </a:extLst>
            </p:cNvPr>
            <p:cNvSpPr/>
            <p:nvPr/>
          </p:nvSpPr>
          <p:spPr>
            <a:xfrm>
              <a:off x="5507695" y="2793634"/>
              <a:ext cx="487680" cy="1267968"/>
            </a:xfrm>
            <a:custGeom>
              <a:avLst/>
              <a:gdLst>
                <a:gd name="connsiteX0" fmla="*/ 426557 w 487680"/>
                <a:gd name="connsiteY0" fmla="*/ 1268375 h 1267968"/>
                <a:gd name="connsiteX1" fmla="*/ 485323 w 487680"/>
                <a:gd name="connsiteY1" fmla="*/ 1268375 h 1267968"/>
                <a:gd name="connsiteX2" fmla="*/ 248067 w 487680"/>
                <a:gd name="connsiteY2" fmla="*/ 154838 h 1267968"/>
                <a:gd name="connsiteX3" fmla="*/ 64861 w 487680"/>
                <a:gd name="connsiteY3" fmla="*/ 6096 h 1267968"/>
                <a:gd name="connsiteX4" fmla="*/ 6096 w 487680"/>
                <a:gd name="connsiteY4" fmla="*/ 6096 h 1267968"/>
                <a:gd name="connsiteX5" fmla="*/ 243352 w 487680"/>
                <a:gd name="connsiteY5" fmla="*/ 1119632 h 1267968"/>
                <a:gd name="connsiteX6" fmla="*/ 426557 w 487680"/>
                <a:gd name="connsiteY6" fmla="*/ 1267968 h 126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87680" h="1267968">
                  <a:moveTo>
                    <a:pt x="426557" y="1268375"/>
                  </a:moveTo>
                  <a:lnTo>
                    <a:pt x="485323" y="1268375"/>
                  </a:lnTo>
                  <a:lnTo>
                    <a:pt x="248067" y="154838"/>
                  </a:lnTo>
                  <a:cubicBezTo>
                    <a:pt x="229535" y="68356"/>
                    <a:pt x="153294" y="6421"/>
                    <a:pt x="64861" y="6096"/>
                  </a:cubicBezTo>
                  <a:lnTo>
                    <a:pt x="6096" y="6096"/>
                  </a:lnTo>
                  <a:lnTo>
                    <a:pt x="243352" y="1119632"/>
                  </a:lnTo>
                  <a:cubicBezTo>
                    <a:pt x="261803" y="1206114"/>
                    <a:pt x="338125" y="1267887"/>
                    <a:pt x="426557" y="1267968"/>
                  </a:cubicBezTo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36" name="Forma libre: forma 35">
              <a:extLst>
                <a:ext uri="{FF2B5EF4-FFF2-40B4-BE49-F238E27FC236}">
                  <a16:creationId xmlns:a16="http://schemas.microsoft.com/office/drawing/2014/main" id="{8B1593F6-D6CE-79D8-1C68-AD4257905748}"/>
                </a:ext>
              </a:extLst>
            </p:cNvPr>
            <p:cNvSpPr/>
            <p:nvPr/>
          </p:nvSpPr>
          <p:spPr>
            <a:xfrm>
              <a:off x="5986922" y="2794284"/>
              <a:ext cx="487680" cy="1267968"/>
            </a:xfrm>
            <a:custGeom>
              <a:avLst/>
              <a:gdLst>
                <a:gd name="connsiteX0" fmla="*/ 243271 w 487680"/>
                <a:gd name="connsiteY0" fmla="*/ 154595 h 1267968"/>
                <a:gd name="connsiteX1" fmla="*/ 6096 w 487680"/>
                <a:gd name="connsiteY1" fmla="*/ 1268131 h 1267968"/>
                <a:gd name="connsiteX2" fmla="*/ 216367 w 487680"/>
                <a:gd name="connsiteY2" fmla="*/ 1268131 h 1267968"/>
                <a:gd name="connsiteX3" fmla="*/ 485323 w 487680"/>
                <a:gd name="connsiteY3" fmla="*/ 6096 h 1267968"/>
                <a:gd name="connsiteX4" fmla="*/ 426557 w 487680"/>
                <a:gd name="connsiteY4" fmla="*/ 6096 h 1267968"/>
                <a:gd name="connsiteX5" fmla="*/ 243271 w 487680"/>
                <a:gd name="connsiteY5" fmla="*/ 155001 h 126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87680" h="1267968">
                  <a:moveTo>
                    <a:pt x="243271" y="154595"/>
                  </a:moveTo>
                  <a:lnTo>
                    <a:pt x="6096" y="1268131"/>
                  </a:lnTo>
                  <a:lnTo>
                    <a:pt x="216367" y="1268131"/>
                  </a:lnTo>
                  <a:lnTo>
                    <a:pt x="485323" y="6096"/>
                  </a:lnTo>
                  <a:lnTo>
                    <a:pt x="426557" y="6096"/>
                  </a:lnTo>
                  <a:cubicBezTo>
                    <a:pt x="338043" y="6421"/>
                    <a:pt x="261722" y="68438"/>
                    <a:pt x="243271" y="155001"/>
                  </a:cubicBezTo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37" name="Forma libre: forma 36">
              <a:extLst>
                <a:ext uri="{FF2B5EF4-FFF2-40B4-BE49-F238E27FC236}">
                  <a16:creationId xmlns:a16="http://schemas.microsoft.com/office/drawing/2014/main" id="{332C2B74-E38C-A74C-662F-3B3190862CC4}"/>
                </a:ext>
              </a:extLst>
            </p:cNvPr>
            <p:cNvSpPr/>
            <p:nvPr/>
          </p:nvSpPr>
          <p:spPr>
            <a:xfrm>
              <a:off x="6466149" y="2793878"/>
              <a:ext cx="219456" cy="1267968"/>
            </a:xfrm>
            <a:custGeom>
              <a:avLst/>
              <a:gdLst>
                <a:gd name="connsiteX0" fmla="*/ 6096 w 219456"/>
                <a:gd name="connsiteY0" fmla="*/ 6096 h 1267968"/>
                <a:gd name="connsiteX1" fmla="*/ 216449 w 219456"/>
                <a:gd name="connsiteY1" fmla="*/ 6096 h 1267968"/>
                <a:gd name="connsiteX2" fmla="*/ 216449 w 219456"/>
                <a:gd name="connsiteY2" fmla="*/ 1268212 h 1267968"/>
                <a:gd name="connsiteX3" fmla="*/ 6096 w 219456"/>
                <a:gd name="connsiteY3" fmla="*/ 1268212 h 126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19456" h="1267968">
                  <a:moveTo>
                    <a:pt x="6096" y="6096"/>
                  </a:moveTo>
                  <a:lnTo>
                    <a:pt x="216449" y="6096"/>
                  </a:lnTo>
                  <a:lnTo>
                    <a:pt x="216449" y="1268212"/>
                  </a:lnTo>
                  <a:lnTo>
                    <a:pt x="6096" y="1268212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38" name="Forma libre: forma 37">
              <a:extLst>
                <a:ext uri="{FF2B5EF4-FFF2-40B4-BE49-F238E27FC236}">
                  <a16:creationId xmlns:a16="http://schemas.microsoft.com/office/drawing/2014/main" id="{3D43F4C8-1308-6505-57E6-057136E9DC48}"/>
                </a:ext>
              </a:extLst>
            </p:cNvPr>
            <p:cNvSpPr/>
            <p:nvPr/>
          </p:nvSpPr>
          <p:spPr>
            <a:xfrm>
              <a:off x="9815617" y="2776728"/>
              <a:ext cx="950976" cy="1300480"/>
            </a:xfrm>
            <a:custGeom>
              <a:avLst/>
              <a:gdLst>
                <a:gd name="connsiteX0" fmla="*/ 889935 w 950976"/>
                <a:gd name="connsiteY0" fmla="*/ 286350 h 1300480"/>
                <a:gd name="connsiteX1" fmla="*/ 285618 w 950976"/>
                <a:gd name="connsiteY1" fmla="*/ 417779 h 1300480"/>
                <a:gd name="connsiteX2" fmla="*/ 417047 w 950976"/>
                <a:gd name="connsiteY2" fmla="*/ 1022096 h 1300480"/>
                <a:gd name="connsiteX3" fmla="*/ 653410 w 950976"/>
                <a:gd name="connsiteY3" fmla="*/ 1091509 h 1300480"/>
                <a:gd name="connsiteX4" fmla="*/ 927242 w 950976"/>
                <a:gd name="connsiteY4" fmla="*/ 997712 h 1300480"/>
                <a:gd name="connsiteX5" fmla="*/ 927242 w 950976"/>
                <a:gd name="connsiteY5" fmla="*/ 1240170 h 1300480"/>
                <a:gd name="connsiteX6" fmla="*/ 653736 w 950976"/>
                <a:gd name="connsiteY6" fmla="*/ 1301862 h 1300480"/>
                <a:gd name="connsiteX7" fmla="*/ 6096 w 950976"/>
                <a:gd name="connsiteY7" fmla="*/ 653735 h 1300480"/>
                <a:gd name="connsiteX8" fmla="*/ 654304 w 950976"/>
                <a:gd name="connsiteY8" fmla="*/ 6096 h 1300480"/>
                <a:gd name="connsiteX9" fmla="*/ 948050 w 950976"/>
                <a:gd name="connsiteY9" fmla="*/ 76647 h 1300480"/>
                <a:gd name="connsiteX10" fmla="*/ 889935 w 950976"/>
                <a:gd name="connsiteY10" fmla="*/ 286350 h 13004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950976" h="1300480">
                  <a:moveTo>
                    <a:pt x="889935" y="286350"/>
                  </a:moveTo>
                  <a:cubicBezTo>
                    <a:pt x="686735" y="155814"/>
                    <a:pt x="416235" y="214661"/>
                    <a:pt x="285618" y="417779"/>
                  </a:cubicBezTo>
                  <a:cubicBezTo>
                    <a:pt x="155082" y="620979"/>
                    <a:pt x="213929" y="891479"/>
                    <a:pt x="417047" y="1022096"/>
                  </a:cubicBezTo>
                  <a:cubicBezTo>
                    <a:pt x="487599" y="1067369"/>
                    <a:pt x="569610" y="1091509"/>
                    <a:pt x="653410" y="1091509"/>
                  </a:cubicBezTo>
                  <a:cubicBezTo>
                    <a:pt x="752571" y="1091753"/>
                    <a:pt x="849051" y="1058753"/>
                    <a:pt x="927242" y="997712"/>
                  </a:cubicBezTo>
                  <a:lnTo>
                    <a:pt x="927242" y="1240170"/>
                  </a:lnTo>
                  <a:cubicBezTo>
                    <a:pt x="841817" y="1280892"/>
                    <a:pt x="748345" y="1302024"/>
                    <a:pt x="653736" y="1301862"/>
                  </a:cubicBezTo>
                  <a:cubicBezTo>
                    <a:pt x="295941" y="1301699"/>
                    <a:pt x="5933" y="1011530"/>
                    <a:pt x="6096" y="653735"/>
                  </a:cubicBezTo>
                  <a:cubicBezTo>
                    <a:pt x="6259" y="295941"/>
                    <a:pt x="296428" y="5934"/>
                    <a:pt x="654304" y="6096"/>
                  </a:cubicBezTo>
                  <a:cubicBezTo>
                    <a:pt x="756391" y="6096"/>
                    <a:pt x="857097" y="30318"/>
                    <a:pt x="948050" y="76647"/>
                  </a:cubicBezTo>
                  <a:lnTo>
                    <a:pt x="889935" y="286350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39" name="Forma libre: forma 38">
              <a:extLst>
                <a:ext uri="{FF2B5EF4-FFF2-40B4-BE49-F238E27FC236}">
                  <a16:creationId xmlns:a16="http://schemas.microsoft.com/office/drawing/2014/main" id="{5DA991CB-7C65-4FB2-FC3C-6B13588DA289}"/>
                </a:ext>
              </a:extLst>
            </p:cNvPr>
            <p:cNvSpPr/>
            <p:nvPr/>
          </p:nvSpPr>
          <p:spPr>
            <a:xfrm>
              <a:off x="6886773" y="2794041"/>
              <a:ext cx="1276096" cy="1267968"/>
            </a:xfrm>
            <a:custGeom>
              <a:avLst/>
              <a:gdLst>
                <a:gd name="connsiteX0" fmla="*/ 1060135 w 1276096"/>
                <a:gd name="connsiteY0" fmla="*/ 1267968 h 1267968"/>
                <a:gd name="connsiteX1" fmla="*/ 1273007 w 1276096"/>
                <a:gd name="connsiteY1" fmla="*/ 1267968 h 1267968"/>
                <a:gd name="connsiteX2" fmla="*/ 900501 w 1276096"/>
                <a:gd name="connsiteY2" fmla="*/ 149962 h 1267968"/>
                <a:gd name="connsiteX3" fmla="*/ 700959 w 1276096"/>
                <a:gd name="connsiteY3" fmla="*/ 6096 h 1267968"/>
                <a:gd name="connsiteX4" fmla="*/ 426801 w 1276096"/>
                <a:gd name="connsiteY4" fmla="*/ 6096 h 1267968"/>
                <a:gd name="connsiteX5" fmla="*/ 6096 w 1276096"/>
                <a:gd name="connsiteY5" fmla="*/ 1268212 h 1267968"/>
                <a:gd name="connsiteX6" fmla="*/ 218968 w 1276096"/>
                <a:gd name="connsiteY6" fmla="*/ 1268212 h 1267968"/>
                <a:gd name="connsiteX7" fmla="*/ 324145 w 1276096"/>
                <a:gd name="connsiteY7" fmla="*/ 952683 h 1267968"/>
                <a:gd name="connsiteX8" fmla="*/ 673649 w 1276096"/>
                <a:gd name="connsiteY8" fmla="*/ 952683 h 1267968"/>
                <a:gd name="connsiteX9" fmla="*/ 884001 w 1276096"/>
                <a:gd name="connsiteY9" fmla="*/ 742330 h 1267968"/>
                <a:gd name="connsiteX10" fmla="*/ 884001 w 1276096"/>
                <a:gd name="connsiteY10" fmla="*/ 742330 h 1267968"/>
                <a:gd name="connsiteX11" fmla="*/ 394127 w 1276096"/>
                <a:gd name="connsiteY11" fmla="*/ 742330 h 1267968"/>
                <a:gd name="connsiteX12" fmla="*/ 639511 w 1276096"/>
                <a:gd name="connsiteY12" fmla="*/ 6096 h 1267968"/>
                <a:gd name="connsiteX13" fmla="*/ 1060135 w 1276096"/>
                <a:gd name="connsiteY13" fmla="*/ 1267968 h 126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276096" h="1267968">
                  <a:moveTo>
                    <a:pt x="1060135" y="1267968"/>
                  </a:moveTo>
                  <a:lnTo>
                    <a:pt x="1273007" y="1267968"/>
                  </a:lnTo>
                  <a:lnTo>
                    <a:pt x="900501" y="149962"/>
                  </a:lnTo>
                  <a:cubicBezTo>
                    <a:pt x="871891" y="64049"/>
                    <a:pt x="791505" y="6096"/>
                    <a:pt x="700959" y="6096"/>
                  </a:cubicBezTo>
                  <a:lnTo>
                    <a:pt x="426801" y="6096"/>
                  </a:lnTo>
                  <a:lnTo>
                    <a:pt x="6096" y="1268212"/>
                  </a:lnTo>
                  <a:lnTo>
                    <a:pt x="218968" y="1268212"/>
                  </a:lnTo>
                  <a:lnTo>
                    <a:pt x="324145" y="952683"/>
                  </a:lnTo>
                  <a:lnTo>
                    <a:pt x="673649" y="952683"/>
                  </a:lnTo>
                  <a:cubicBezTo>
                    <a:pt x="789798" y="952683"/>
                    <a:pt x="884001" y="858479"/>
                    <a:pt x="884001" y="742330"/>
                  </a:cubicBezTo>
                  <a:lnTo>
                    <a:pt x="884001" y="742330"/>
                  </a:lnTo>
                  <a:cubicBezTo>
                    <a:pt x="884001" y="742330"/>
                    <a:pt x="394127" y="742330"/>
                    <a:pt x="394127" y="742330"/>
                  </a:cubicBezTo>
                  <a:lnTo>
                    <a:pt x="639511" y="6096"/>
                  </a:lnTo>
                  <a:lnTo>
                    <a:pt x="1060135" y="1267968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40" name="Forma libre: forma 39">
              <a:extLst>
                <a:ext uri="{FF2B5EF4-FFF2-40B4-BE49-F238E27FC236}">
                  <a16:creationId xmlns:a16="http://schemas.microsoft.com/office/drawing/2014/main" id="{034D6045-3741-2EC3-2BB6-4E0E2C2BA813}"/>
                </a:ext>
              </a:extLst>
            </p:cNvPr>
            <p:cNvSpPr/>
            <p:nvPr/>
          </p:nvSpPr>
          <p:spPr>
            <a:xfrm>
              <a:off x="10918749" y="2794041"/>
              <a:ext cx="1276096" cy="1267968"/>
            </a:xfrm>
            <a:custGeom>
              <a:avLst/>
              <a:gdLst>
                <a:gd name="connsiteX0" fmla="*/ 1060380 w 1276096"/>
                <a:gd name="connsiteY0" fmla="*/ 1267968 h 1267968"/>
                <a:gd name="connsiteX1" fmla="*/ 1273251 w 1276096"/>
                <a:gd name="connsiteY1" fmla="*/ 1267968 h 1267968"/>
                <a:gd name="connsiteX2" fmla="*/ 900420 w 1276096"/>
                <a:gd name="connsiteY2" fmla="*/ 149962 h 1267968"/>
                <a:gd name="connsiteX3" fmla="*/ 700877 w 1276096"/>
                <a:gd name="connsiteY3" fmla="*/ 6096 h 1267968"/>
                <a:gd name="connsiteX4" fmla="*/ 426801 w 1276096"/>
                <a:gd name="connsiteY4" fmla="*/ 6096 h 1267968"/>
                <a:gd name="connsiteX5" fmla="*/ 6096 w 1276096"/>
                <a:gd name="connsiteY5" fmla="*/ 1268212 h 1267968"/>
                <a:gd name="connsiteX6" fmla="*/ 218969 w 1276096"/>
                <a:gd name="connsiteY6" fmla="*/ 1268212 h 1267968"/>
                <a:gd name="connsiteX7" fmla="*/ 324145 w 1276096"/>
                <a:gd name="connsiteY7" fmla="*/ 952683 h 1267968"/>
                <a:gd name="connsiteX8" fmla="*/ 673649 w 1276096"/>
                <a:gd name="connsiteY8" fmla="*/ 952683 h 1267968"/>
                <a:gd name="connsiteX9" fmla="*/ 884001 w 1276096"/>
                <a:gd name="connsiteY9" fmla="*/ 742330 h 1267968"/>
                <a:gd name="connsiteX10" fmla="*/ 884001 w 1276096"/>
                <a:gd name="connsiteY10" fmla="*/ 742330 h 1267968"/>
                <a:gd name="connsiteX11" fmla="*/ 394127 w 1276096"/>
                <a:gd name="connsiteY11" fmla="*/ 742330 h 1267968"/>
                <a:gd name="connsiteX12" fmla="*/ 639512 w 1276096"/>
                <a:gd name="connsiteY12" fmla="*/ 6096 h 1267968"/>
                <a:gd name="connsiteX13" fmla="*/ 1060380 w 1276096"/>
                <a:gd name="connsiteY13" fmla="*/ 1267968 h 126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276096" h="1267968">
                  <a:moveTo>
                    <a:pt x="1060380" y="1267968"/>
                  </a:moveTo>
                  <a:lnTo>
                    <a:pt x="1273251" y="1267968"/>
                  </a:lnTo>
                  <a:lnTo>
                    <a:pt x="900420" y="149962"/>
                  </a:lnTo>
                  <a:cubicBezTo>
                    <a:pt x="871809" y="64049"/>
                    <a:pt x="791423" y="6096"/>
                    <a:pt x="700877" y="6096"/>
                  </a:cubicBezTo>
                  <a:lnTo>
                    <a:pt x="426801" y="6096"/>
                  </a:lnTo>
                  <a:lnTo>
                    <a:pt x="6096" y="1268212"/>
                  </a:lnTo>
                  <a:lnTo>
                    <a:pt x="218969" y="1268212"/>
                  </a:lnTo>
                  <a:lnTo>
                    <a:pt x="324145" y="952683"/>
                  </a:lnTo>
                  <a:lnTo>
                    <a:pt x="673649" y="952683"/>
                  </a:lnTo>
                  <a:cubicBezTo>
                    <a:pt x="789798" y="952683"/>
                    <a:pt x="884001" y="858479"/>
                    <a:pt x="884001" y="742330"/>
                  </a:cubicBezTo>
                  <a:lnTo>
                    <a:pt x="884001" y="742330"/>
                  </a:lnTo>
                  <a:cubicBezTo>
                    <a:pt x="884001" y="742330"/>
                    <a:pt x="394127" y="742330"/>
                    <a:pt x="394127" y="742330"/>
                  </a:cubicBezTo>
                  <a:lnTo>
                    <a:pt x="639512" y="6096"/>
                  </a:lnTo>
                  <a:lnTo>
                    <a:pt x="1060380" y="1267968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</p:grpSp>
      <p:sp>
        <p:nvSpPr>
          <p:cNvPr id="53" name="Marcador de Posição do Rodapé 4">
            <a:extLst>
              <a:ext uri="{FF2B5EF4-FFF2-40B4-BE49-F238E27FC236}">
                <a16:creationId xmlns:a16="http://schemas.microsoft.com/office/drawing/2014/main" id="{EC5B2132-FE00-460C-BE13-223C564675B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12762" y="6356350"/>
            <a:ext cx="534669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accent2"/>
                </a:solidFill>
              </a:defRPr>
            </a:lvl1pPr>
          </a:lstStyle>
          <a:p>
            <a:r>
              <a:rPr lang="pt-PT"/>
              <a:t>Título de la presentación</a:t>
            </a:r>
            <a:endParaRPr lang="pt-PT" dirty="0"/>
          </a:p>
        </p:txBody>
      </p:sp>
      <p:sp>
        <p:nvSpPr>
          <p:cNvPr id="54" name="Marcador de Posição do Número do Diapositivo 5">
            <a:extLst>
              <a:ext uri="{FF2B5EF4-FFF2-40B4-BE49-F238E27FC236}">
                <a16:creationId xmlns:a16="http://schemas.microsoft.com/office/drawing/2014/main" id="{AE3BA9DD-18EF-49A1-BFEB-A073A17C8BA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936039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accent2"/>
                </a:solidFill>
              </a:defRPr>
            </a:lvl1pPr>
          </a:lstStyle>
          <a:p>
            <a:fld id="{24A347C2-D68E-473A-8C76-1D063E4EB6E0}" type="slidenum">
              <a:rPr lang="es-ES" smtClean="0"/>
              <a:pPr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78618312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50"/>
                                        <p:tgtEl>
                                          <p:spTgt spid="1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1666 -0.00046 L 3.75E-6 1.85185E-6 " pathEditMode="relative" rAng="0" ptsTypes="AA">
                                      <p:cBhvr>
                                        <p:cTn id="9" dur="500" fill="hold"/>
                                        <p:tgtEl>
                                          <p:spTgt spid="13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833" y="23"/>
                                    </p:animMotion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250"/>
                                        <p:tgtEl>
                                          <p:spTgt spid="1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1666 -0.00046 L 3.75E-6 1.85185E-6 " pathEditMode="relative" rAng="0" ptsTypes="AA">
                                      <p:cBhvr>
                                        <p:cTn id="14" dur="500" fill="hold"/>
                                        <p:tgtEl>
                                          <p:spTgt spid="13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833" y="23"/>
                                    </p:animMotion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250"/>
                                        <p:tgtEl>
                                          <p:spTgt spid="1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25E-6 0.03889 L 1.25E-6 1.85185E-6 " pathEditMode="relative" rAng="0" ptsTypes="AA">
                                      <p:cBhvr>
                                        <p:cTn id="19" dur="500" fill="hold"/>
                                        <p:tgtEl>
                                          <p:spTgt spid="14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944"/>
                                    </p:animMotion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25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42" presetClass="path" presetSubtype="0" decel="10000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animMotion origin="layout" path="M 1.25E-6 0.03889 L 1.25E-6 1.85185E-6 " pathEditMode="relative" rAng="0" ptsTypes="AA">
                                      <p:cBhvr>
                                        <p:cTn id="24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944"/>
                                    </p:animMotion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250"/>
                                        <p:tgtEl>
                                          <p:spTgt spid="1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42" presetClass="path" presetSubtype="0" decel="100000" fill="hold" grpId="1" nodeType="withEffect">
                                  <p:stCondLst>
                                    <p:cond delay="500"/>
                                  </p:stCondLst>
                                  <p:childTnLst>
                                    <p:animMotion origin="layout" path="M 1.25E-6 0.03889 L 1.25E-6 1.85185E-6 " pathEditMode="relative" rAng="0" ptsTypes="AA">
                                      <p:cBhvr>
                                        <p:cTn id="29" dur="500" fill="hold"/>
                                        <p:tgtEl>
                                          <p:spTgt spid="14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944"/>
                                    </p:animMotion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250"/>
                                        <p:tgtEl>
                                          <p:spTgt spid="1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42" presetClass="path" presetSubtype="0" decel="100000" fill="hold" grpId="1" nodeType="withEffect">
                                  <p:stCondLst>
                                    <p:cond delay="500"/>
                                  </p:stCondLst>
                                  <p:childTnLst>
                                    <p:animMotion origin="layout" path="M 1.25E-6 0.03889 L 1.25E-6 1.85185E-6 " pathEditMode="relative" rAng="0" ptsTypes="AA">
                                      <p:cBhvr>
                                        <p:cTn id="34" dur="500" fill="hold"/>
                                        <p:tgtEl>
                                          <p:spTgt spid="15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944"/>
                                    </p:animMotion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25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42" presetClass="path" presetSubtype="0" decel="10000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animMotion origin="layout" path="M 0.01666 -0.00046 L 3.75E-6 1.85185E-6 " pathEditMode="relative" rAng="0" ptsTypes="AA">
                                      <p:cBhvr>
                                        <p:cTn id="39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833" y="23"/>
                                    </p:animMotion>
                                  </p:childTnLst>
                                </p:cTn>
                              </p:par>
                              <p:par>
                                <p:cTn id="40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250"/>
                                        <p:tgtEl>
                                          <p:spTgt spid="1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" presetID="42" presetClass="path" presetSubtype="0" decel="100000" fill="hold" grpId="1" nodeType="withEffect">
                                  <p:stCondLst>
                                    <p:cond delay="500"/>
                                  </p:stCondLst>
                                  <p:childTnLst>
                                    <p:animMotion origin="layout" path="M 0.01666 -0.00046 L 3.75E-6 1.85185E-6 " pathEditMode="relative" rAng="0" ptsTypes="AA">
                                      <p:cBhvr>
                                        <p:cTn id="44" dur="500" fill="hold"/>
                                        <p:tgtEl>
                                          <p:spTgt spid="14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833" y="23"/>
                                    </p:animMotion>
                                  </p:childTnLst>
                                </p:cTn>
                              </p:par>
                              <p:par>
                                <p:cTn id="45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250"/>
                                        <p:tgtEl>
                                          <p:spTgt spid="1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" presetID="42" presetClass="path" presetSubtype="0" decel="100000" fill="hold" grpId="1" nodeType="withEffect">
                                  <p:stCondLst>
                                    <p:cond delay="500"/>
                                  </p:stCondLst>
                                  <p:childTnLst>
                                    <p:animMotion origin="layout" path="M 0.01666 -0.00046 L 3.75E-6 1.85185E-6 " pathEditMode="relative" rAng="0" ptsTypes="AA">
                                      <p:cBhvr>
                                        <p:cTn id="49" dur="500" fill="hold"/>
                                        <p:tgtEl>
                                          <p:spTgt spid="14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833" y="23"/>
                                    </p:animMotion>
                                  </p:childTnLst>
                                </p:cTn>
                              </p:par>
                              <p:par>
                                <p:cTn id="50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25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" presetID="42" presetClass="path" presetSubtype="0" decel="10000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animMotion origin="layout" path="M -3.75E-6 -0.03472 L -3.75E-6 1.85185E-6 " pathEditMode="relative" rAng="0" ptsTypes="AA">
                                      <p:cBhvr>
                                        <p:cTn id="54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736"/>
                                    </p:animMotion>
                                  </p:childTnLst>
                                </p:cTn>
                              </p:par>
                              <p:par>
                                <p:cTn id="55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250"/>
                                        <p:tgtEl>
                                          <p:spTgt spid="1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8" presetID="42" presetClass="path" presetSubtype="0" decel="100000" fill="hold" grpId="1" nodeType="withEffect">
                                  <p:stCondLst>
                                    <p:cond delay="500"/>
                                  </p:stCondLst>
                                  <p:childTnLst>
                                    <p:animMotion origin="layout" path="M -3.75E-6 -0.03472 L -3.75E-6 1.85185E-6 " pathEditMode="relative" rAng="0" ptsTypes="AA">
                                      <p:cBhvr>
                                        <p:cTn id="59" dur="500" fill="hold"/>
                                        <p:tgtEl>
                                          <p:spTgt spid="14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736"/>
                                    </p:animMotion>
                                  </p:childTnLst>
                                </p:cTn>
                              </p:par>
                              <p:par>
                                <p:cTn id="60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2" dur="250"/>
                                        <p:tgtEl>
                                          <p:spTgt spid="1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3" presetID="42" presetClass="path" presetSubtype="0" decel="100000" fill="hold" grpId="1" nodeType="withEffect">
                                  <p:stCondLst>
                                    <p:cond delay="500"/>
                                  </p:stCondLst>
                                  <p:childTnLst>
                                    <p:animMotion origin="layout" path="M -3.75E-6 -0.03472 L -3.75E-6 1.85185E-6 " pathEditMode="relative" rAng="0" ptsTypes="AA">
                                      <p:cBhvr>
                                        <p:cTn id="64" dur="500" fill="hold"/>
                                        <p:tgtEl>
                                          <p:spTgt spid="14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736"/>
                                    </p:animMotion>
                                  </p:childTnLst>
                                </p:cTn>
                              </p:par>
                              <p:par>
                                <p:cTn id="65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7" dur="25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8" presetID="42" presetClass="path" presetSubtype="0" decel="10000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animMotion origin="layout" path="M -0.01719 -0.00023 L -1.25E-6 1.85185E-6 " pathEditMode="relative" rAng="0" ptsTypes="AA">
                                      <p:cBhvr>
                                        <p:cTn id="69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859" y="0"/>
                                    </p:animMotion>
                                  </p:childTnLst>
                                </p:cTn>
                              </p:par>
                              <p:par>
                                <p:cTn id="70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2" dur="250"/>
                                        <p:tgtEl>
                                          <p:spTgt spid="1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3" presetID="42" presetClass="path" presetSubtype="0" decel="100000" fill="hold" grpId="1" nodeType="withEffect">
                                  <p:stCondLst>
                                    <p:cond delay="500"/>
                                  </p:stCondLst>
                                  <p:childTnLst>
                                    <p:animMotion origin="layout" path="M -0.01719 -0.00023 L -1.25E-6 1.85185E-6 " pathEditMode="relative" rAng="0" ptsTypes="AA">
                                      <p:cBhvr>
                                        <p:cTn id="74" dur="500" fill="hold"/>
                                        <p:tgtEl>
                                          <p:spTgt spid="14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859" y="0"/>
                                    </p:animMotion>
                                  </p:childTnLst>
                                </p:cTn>
                              </p:par>
                              <p:par>
                                <p:cTn id="75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7" dur="250"/>
                                        <p:tgtEl>
                                          <p:spTgt spid="1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8" presetID="42" presetClass="path" presetSubtype="0" decel="100000" fill="hold" grpId="1" nodeType="withEffect">
                                  <p:stCondLst>
                                    <p:cond delay="500"/>
                                  </p:stCondLst>
                                  <p:childTnLst>
                                    <p:animMotion origin="layout" path="M -0.01719 -0.00023 L -1.25E-6 1.85185E-6 " pathEditMode="relative" rAng="0" ptsTypes="AA">
                                      <p:cBhvr>
                                        <p:cTn id="79" dur="500" fill="hold"/>
                                        <p:tgtEl>
                                          <p:spTgt spid="14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859" y="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0" grpId="0"/>
      <p:bldP spid="130" grpId="1"/>
      <p:bldP spid="131" grpId="0">
        <p:tmplLst>
          <p:tmpl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3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250"/>
                        <p:tgtEl>
                          <p:spTgt spid="13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31" grpId="1"/>
      <p:bldP spid="142" grpId="0">
        <p:tmplLst>
          <p:tmpl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4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250"/>
                        <p:tgtEl>
                          <p:spTgt spid="14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42" grpId="1"/>
      <p:bldP spid="143" grpId="0">
        <p:tmplLst>
          <p:tmpl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4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250"/>
                        <p:tgtEl>
                          <p:spTgt spid="14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43" grpId="1">
        <p:tmplLst>
          <p:tmpl>
            <p:tnLst>
              <p:par>
                <p:cTn presetID="42" presetClass="path" presetSubtype="0" decel="100000" fill="hold" nodeType="withEffect">
                  <p:stCondLst>
                    <p:cond delay="500"/>
                  </p:stCondLst>
                  <p:childTnLst>
                    <p:animMotion origin="layout" path="M 0.01666 -0.00046 L 3.75E-6 1.85185E-6 " pathEditMode="relative" rAng="0" ptsTypes="AA">
                      <p:cBhvr>
                        <p:cTn dur="500" fill="hold"/>
                        <p:tgtEl>
                          <p:spTgt spid="143"/>
                        </p:tgtEl>
                        <p:attrNameLst>
                          <p:attrName>ppt_x</p:attrName>
                          <p:attrName>ppt_y</p:attrName>
                        </p:attrNameLst>
                      </p:cBhvr>
                      <p:rCtr x="-833" y="23"/>
                    </p:animMotion>
                  </p:childTnLst>
                </p:cTn>
              </p:par>
            </p:tnLst>
          </p:tmpl>
        </p:tmplLst>
      </p:bldP>
      <p:bldP spid="144" grpId="0">
        <p:tmplLst>
          <p:tmpl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4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250"/>
                        <p:tgtEl>
                          <p:spTgt spid="14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44" grpId="1">
        <p:tmplLst>
          <p:tmpl>
            <p:tnLst>
              <p:par>
                <p:cTn presetID="42" presetClass="path" presetSubtype="0" decel="100000" fill="hold" nodeType="withEffect">
                  <p:stCondLst>
                    <p:cond delay="500"/>
                  </p:stCondLst>
                  <p:childTnLst>
                    <p:animMotion origin="layout" path="M 1.25E-6 0.03889 L 1.25E-6 1.85185E-6 " pathEditMode="relative" rAng="0" ptsTypes="AA">
                      <p:cBhvr>
                        <p:cTn dur="500" fill="hold"/>
                        <p:tgtEl>
                          <p:spTgt spid="144"/>
                        </p:tgtEl>
                        <p:attrNameLst>
                          <p:attrName>ppt_x</p:attrName>
                          <p:attrName>ppt_y</p:attrName>
                        </p:attrNameLst>
                      </p:cBhvr>
                      <p:rCtr x="0" y="-1944"/>
                    </p:animMotion>
                  </p:childTnLst>
                </p:cTn>
              </p:par>
            </p:tnLst>
          </p:tmpl>
        </p:tmplLst>
      </p:bldP>
      <p:bldP spid="145" grpId="0">
        <p:tmplLst>
          <p:tmpl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4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250"/>
                        <p:tgtEl>
                          <p:spTgt spid="14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45" grpId="1">
        <p:tmplLst>
          <p:tmpl>
            <p:tnLst>
              <p:par>
                <p:cTn presetID="42" presetClass="path" presetSubtype="0" decel="100000" fill="hold" nodeType="withEffect">
                  <p:stCondLst>
                    <p:cond delay="500"/>
                  </p:stCondLst>
                  <p:childTnLst>
                    <p:animMotion origin="layout" path="M -3.75E-6 -0.03472 L -3.75E-6 1.85185E-6 " pathEditMode="relative" rAng="0" ptsTypes="AA">
                      <p:cBhvr>
                        <p:cTn dur="500" fill="hold"/>
                        <p:tgtEl>
                          <p:spTgt spid="145"/>
                        </p:tgtEl>
                        <p:attrNameLst>
                          <p:attrName>ppt_x</p:attrName>
                          <p:attrName>ppt_y</p:attrName>
                        </p:attrNameLst>
                      </p:cBhvr>
                      <p:rCtr x="0" y="1736"/>
                    </p:animMotion>
                  </p:childTnLst>
                </p:cTn>
              </p:par>
            </p:tnLst>
          </p:tmpl>
        </p:tmplLst>
      </p:bldP>
      <p:bldP spid="146" grpId="0">
        <p:tmplLst>
          <p:tmpl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4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250"/>
                        <p:tgtEl>
                          <p:spTgt spid="14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46" grpId="1">
        <p:tmplLst>
          <p:tmpl>
            <p:tnLst>
              <p:par>
                <p:cTn presetID="42" presetClass="path" presetSubtype="0" decel="100000" fill="hold" nodeType="withEffect">
                  <p:stCondLst>
                    <p:cond delay="500"/>
                  </p:stCondLst>
                  <p:childTnLst>
                    <p:animMotion origin="layout" path="M -0.01719 -0.00023 L -1.25E-6 1.85185E-6 " pathEditMode="relative" rAng="0" ptsTypes="AA">
                      <p:cBhvr>
                        <p:cTn dur="500" fill="hold"/>
                        <p:tgtEl>
                          <p:spTgt spid="146"/>
                        </p:tgtEl>
                        <p:attrNameLst>
                          <p:attrName>ppt_x</p:attrName>
                          <p:attrName>ppt_y</p:attrName>
                        </p:attrNameLst>
                      </p:cBhvr>
                      <p:rCtr x="859" y="0"/>
                    </p:animMotion>
                  </p:childTnLst>
                </p:cTn>
              </p:par>
            </p:tnLst>
          </p:tmpl>
        </p:tmplLst>
      </p:bldP>
      <p:bldP spid="147" grpId="0">
        <p:tmplLst>
          <p:tmpl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4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250"/>
                        <p:tgtEl>
                          <p:spTgt spid="14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47" grpId="1">
        <p:tmplLst>
          <p:tmpl>
            <p:tnLst>
              <p:par>
                <p:cTn presetID="42" presetClass="path" presetSubtype="0" decel="100000" fill="hold" nodeType="withEffect">
                  <p:stCondLst>
                    <p:cond delay="500"/>
                  </p:stCondLst>
                  <p:childTnLst>
                    <p:animMotion origin="layout" path="M 0.01666 -0.00046 L 3.75E-6 1.85185E-6 " pathEditMode="relative" rAng="0" ptsTypes="AA">
                      <p:cBhvr>
                        <p:cTn dur="500" fill="hold"/>
                        <p:tgtEl>
                          <p:spTgt spid="147"/>
                        </p:tgtEl>
                        <p:attrNameLst>
                          <p:attrName>ppt_x</p:attrName>
                          <p:attrName>ppt_y</p:attrName>
                        </p:attrNameLst>
                      </p:cBhvr>
                      <p:rCtr x="-833" y="23"/>
                    </p:animMotion>
                  </p:childTnLst>
                </p:cTn>
              </p:par>
            </p:tnLst>
          </p:tmpl>
        </p:tmplLst>
      </p:bldP>
      <p:bldP spid="148" grpId="0">
        <p:tmplLst>
          <p:tmpl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4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250"/>
                        <p:tgtEl>
                          <p:spTgt spid="14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48" grpId="1">
        <p:tmplLst>
          <p:tmpl>
            <p:tnLst>
              <p:par>
                <p:cTn presetID="42" presetClass="path" presetSubtype="0" decel="100000" fill="hold" nodeType="withEffect">
                  <p:stCondLst>
                    <p:cond delay="500"/>
                  </p:stCondLst>
                  <p:childTnLst>
                    <p:animMotion origin="layout" path="M -3.75E-6 -0.03472 L -3.75E-6 1.85185E-6 " pathEditMode="relative" rAng="0" ptsTypes="AA">
                      <p:cBhvr>
                        <p:cTn dur="500" fill="hold"/>
                        <p:tgtEl>
                          <p:spTgt spid="148"/>
                        </p:tgtEl>
                        <p:attrNameLst>
                          <p:attrName>ppt_x</p:attrName>
                          <p:attrName>ppt_y</p:attrName>
                        </p:attrNameLst>
                      </p:cBhvr>
                      <p:rCtr x="0" y="1736"/>
                    </p:animMotion>
                  </p:childTnLst>
                </p:cTn>
              </p:par>
            </p:tnLst>
          </p:tmpl>
        </p:tmplLst>
      </p:bldP>
      <p:bldP spid="149" grpId="0">
        <p:tmplLst>
          <p:tmpl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4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250"/>
                        <p:tgtEl>
                          <p:spTgt spid="14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49" grpId="1">
        <p:tmplLst>
          <p:tmpl>
            <p:tnLst>
              <p:par>
                <p:cTn presetID="42" presetClass="path" presetSubtype="0" decel="100000" fill="hold" nodeType="withEffect">
                  <p:stCondLst>
                    <p:cond delay="500"/>
                  </p:stCondLst>
                  <p:childTnLst>
                    <p:animMotion origin="layout" path="M -0.01719 -0.00023 L -1.25E-6 1.85185E-6 " pathEditMode="relative" rAng="0" ptsTypes="AA">
                      <p:cBhvr>
                        <p:cTn dur="500" fill="hold"/>
                        <p:tgtEl>
                          <p:spTgt spid="149"/>
                        </p:tgtEl>
                        <p:attrNameLst>
                          <p:attrName>ppt_x</p:attrName>
                          <p:attrName>ppt_y</p:attrName>
                        </p:attrNameLst>
                      </p:cBhvr>
                      <p:rCtr x="859" y="0"/>
                    </p:animMotion>
                  </p:childTnLst>
                </p:cTn>
              </p:par>
            </p:tnLst>
          </p:tmpl>
        </p:tmplLst>
      </p:bldP>
      <p:bldP spid="150" grpId="0">
        <p:tmplLst>
          <p:tmpl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5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250"/>
                        <p:tgtEl>
                          <p:spTgt spid="15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50" grpId="1">
        <p:tmplLst>
          <p:tmpl>
            <p:tnLst>
              <p:par>
                <p:cTn presetID="42" presetClass="path" presetSubtype="0" decel="100000" fill="hold" nodeType="withEffect">
                  <p:stCondLst>
                    <p:cond delay="500"/>
                  </p:stCondLst>
                  <p:childTnLst>
                    <p:animMotion origin="layout" path="M 1.25E-6 0.03889 L 1.25E-6 1.85185E-6 " pathEditMode="relative" rAng="0" ptsTypes="AA">
                      <p:cBhvr>
                        <p:cTn dur="500" fill="hold"/>
                        <p:tgtEl>
                          <p:spTgt spid="150"/>
                        </p:tgtEl>
                        <p:attrNameLst>
                          <p:attrName>ppt_x</p:attrName>
                          <p:attrName>ppt_y</p:attrName>
                        </p:attrNameLst>
                      </p:cBhvr>
                      <p:rCtr x="0" y="-1944"/>
                    </p:animMotion>
                  </p:childTnLst>
                </p:cTn>
              </p:par>
            </p:tnLst>
          </p:tmpl>
        </p:tmplLst>
      </p:bldP>
    </p:bldLst>
  </p:timing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8_Esquema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Imagem 8">
            <a:extLst>
              <a:ext uri="{FF2B5EF4-FFF2-40B4-BE49-F238E27FC236}">
                <a16:creationId xmlns:a16="http://schemas.microsoft.com/office/drawing/2014/main" id="{67849DDA-AD58-9896-06CD-87426F2AA15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 l="10821" t="60527" r="14745" b="14633"/>
          <a:stretch>
            <a:fillRect/>
          </a:stretch>
        </p:blipFill>
        <p:spPr>
          <a:xfrm rot="16200000" flipV="1">
            <a:off x="8935333" y="1140689"/>
            <a:ext cx="4883659" cy="1629676"/>
          </a:xfrm>
          <a:prstGeom prst="rect">
            <a:avLst/>
          </a:prstGeom>
        </p:spPr>
      </p:pic>
      <p:cxnSp>
        <p:nvCxnSpPr>
          <p:cNvPr id="13" name="Conexão reta 12">
            <a:extLst>
              <a:ext uri="{FF2B5EF4-FFF2-40B4-BE49-F238E27FC236}">
                <a16:creationId xmlns:a16="http://schemas.microsoft.com/office/drawing/2014/main" id="{F92AA3B1-AAF9-827F-85C9-7E1364B99B5F}"/>
              </a:ext>
            </a:extLst>
          </p:cNvPr>
          <p:cNvCxnSpPr/>
          <p:nvPr userDrawn="1"/>
        </p:nvCxnSpPr>
        <p:spPr>
          <a:xfrm>
            <a:off x="1045563" y="3566416"/>
            <a:ext cx="442451" cy="0"/>
          </a:xfrm>
          <a:prstGeom prst="line">
            <a:avLst/>
          </a:prstGeom>
          <a:noFill/>
          <a:ln w="12700">
            <a:solidFill>
              <a:schemeClr val="tx1"/>
            </a:solidFill>
            <a:headEnd type="none"/>
            <a:tailEnd type="none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4" name="Conexão reta 13">
            <a:extLst>
              <a:ext uri="{FF2B5EF4-FFF2-40B4-BE49-F238E27FC236}">
                <a16:creationId xmlns:a16="http://schemas.microsoft.com/office/drawing/2014/main" id="{1C85ED25-AB5D-8C87-1C3E-ADF300E3E374}"/>
              </a:ext>
            </a:extLst>
          </p:cNvPr>
          <p:cNvCxnSpPr/>
          <p:nvPr userDrawn="1"/>
        </p:nvCxnSpPr>
        <p:spPr>
          <a:xfrm>
            <a:off x="2281084" y="3566416"/>
            <a:ext cx="442451" cy="0"/>
          </a:xfrm>
          <a:prstGeom prst="line">
            <a:avLst/>
          </a:prstGeom>
          <a:noFill/>
          <a:ln w="12700">
            <a:solidFill>
              <a:schemeClr val="tx1"/>
            </a:solidFill>
            <a:headEnd type="none"/>
            <a:tailEnd type="arrow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5" name="Conexão reta 14">
            <a:extLst>
              <a:ext uri="{FF2B5EF4-FFF2-40B4-BE49-F238E27FC236}">
                <a16:creationId xmlns:a16="http://schemas.microsoft.com/office/drawing/2014/main" id="{F3FC419F-1B47-83A0-FFE9-F79A0F19C38F}"/>
              </a:ext>
            </a:extLst>
          </p:cNvPr>
          <p:cNvCxnSpPr/>
          <p:nvPr userDrawn="1"/>
        </p:nvCxnSpPr>
        <p:spPr>
          <a:xfrm>
            <a:off x="7836309" y="3566416"/>
            <a:ext cx="442451" cy="0"/>
          </a:xfrm>
          <a:prstGeom prst="line">
            <a:avLst/>
          </a:prstGeom>
          <a:noFill/>
          <a:ln w="12700">
            <a:solidFill>
              <a:schemeClr val="tx1"/>
            </a:solidFill>
            <a:headEnd type="none"/>
            <a:tailEnd type="none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6" name="Conexão reta 15">
            <a:extLst>
              <a:ext uri="{FF2B5EF4-FFF2-40B4-BE49-F238E27FC236}">
                <a16:creationId xmlns:a16="http://schemas.microsoft.com/office/drawing/2014/main" id="{EB0A1D31-8B59-3619-1168-5EA02E7239D6}"/>
              </a:ext>
            </a:extLst>
          </p:cNvPr>
          <p:cNvCxnSpPr/>
          <p:nvPr userDrawn="1"/>
        </p:nvCxnSpPr>
        <p:spPr>
          <a:xfrm>
            <a:off x="9134167" y="3566416"/>
            <a:ext cx="442451" cy="0"/>
          </a:xfrm>
          <a:prstGeom prst="line">
            <a:avLst/>
          </a:prstGeom>
          <a:noFill/>
          <a:ln w="12700">
            <a:solidFill>
              <a:schemeClr val="tx1"/>
            </a:solidFill>
            <a:headEnd type="none"/>
            <a:tailEnd type="arrow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7" name="Conexão reta 16">
            <a:extLst>
              <a:ext uri="{FF2B5EF4-FFF2-40B4-BE49-F238E27FC236}">
                <a16:creationId xmlns:a16="http://schemas.microsoft.com/office/drawing/2014/main" id="{A21EE2B4-D250-8182-7A00-59BD0BEE4238}"/>
              </a:ext>
            </a:extLst>
          </p:cNvPr>
          <p:cNvCxnSpPr/>
          <p:nvPr userDrawn="1"/>
        </p:nvCxnSpPr>
        <p:spPr>
          <a:xfrm>
            <a:off x="9812593" y="3566416"/>
            <a:ext cx="442451" cy="0"/>
          </a:xfrm>
          <a:prstGeom prst="line">
            <a:avLst/>
          </a:prstGeom>
          <a:noFill/>
          <a:ln w="12700">
            <a:solidFill>
              <a:schemeClr val="tx1"/>
            </a:solidFill>
            <a:headEnd type="none"/>
            <a:tailEnd type="none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8" name="Conexão reta 17">
            <a:extLst>
              <a:ext uri="{FF2B5EF4-FFF2-40B4-BE49-F238E27FC236}">
                <a16:creationId xmlns:a16="http://schemas.microsoft.com/office/drawing/2014/main" id="{80F76D17-1E7E-760C-7971-52F045AC083E}"/>
              </a:ext>
            </a:extLst>
          </p:cNvPr>
          <p:cNvCxnSpPr/>
          <p:nvPr userDrawn="1"/>
        </p:nvCxnSpPr>
        <p:spPr>
          <a:xfrm>
            <a:off x="11110451" y="3566416"/>
            <a:ext cx="442451" cy="0"/>
          </a:xfrm>
          <a:prstGeom prst="line">
            <a:avLst/>
          </a:prstGeom>
          <a:noFill/>
          <a:ln w="12700">
            <a:solidFill>
              <a:schemeClr val="tx1"/>
            </a:solidFill>
            <a:headEnd type="none"/>
            <a:tailEnd type="arrow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19" name="Marcador de Posição do Texto 10">
            <a:extLst>
              <a:ext uri="{FF2B5EF4-FFF2-40B4-BE49-F238E27FC236}">
                <a16:creationId xmlns:a16="http://schemas.microsoft.com/office/drawing/2014/main" id="{B61BBDF4-4A17-491B-0AB4-C748CD46613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495139" y="2728734"/>
            <a:ext cx="1651821" cy="1651819"/>
          </a:xfrm>
          <a:prstGeom prst="ellipse">
            <a:avLst/>
          </a:prstGeom>
          <a:solidFill>
            <a:srgbClr val="132153"/>
          </a:solidFill>
        </p:spPr>
        <p:txBody>
          <a:bodyPr lIns="0" tIns="0" rIns="0" bIns="0" anchor="ctr">
            <a:normAutofit/>
          </a:bodyPr>
          <a:lstStyle>
            <a:lvl1pPr algn="ctr">
              <a:defRPr sz="1200">
                <a:solidFill>
                  <a:srgbClr val="00FF94"/>
                </a:solidFill>
              </a:defRPr>
            </a:lvl1pPr>
          </a:lstStyle>
          <a:p>
            <a:pPr lvl="0"/>
            <a:r>
              <a:rPr lang="pt-PT" dirty="0"/>
              <a:t>Insertar texto</a:t>
            </a:r>
          </a:p>
        </p:txBody>
      </p:sp>
      <p:sp>
        <p:nvSpPr>
          <p:cNvPr id="20" name="Marcador de Posição do Texto 10">
            <a:extLst>
              <a:ext uri="{FF2B5EF4-FFF2-40B4-BE49-F238E27FC236}">
                <a16:creationId xmlns:a16="http://schemas.microsoft.com/office/drawing/2014/main" id="{9561AC9E-8861-AB9F-3A6F-E08FCC81353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746324" y="1262712"/>
            <a:ext cx="1149452" cy="1149450"/>
          </a:xfrm>
          <a:prstGeom prst="ellipse">
            <a:avLst/>
          </a:prstGeom>
          <a:solidFill>
            <a:schemeClr val="bg2"/>
          </a:solidFill>
        </p:spPr>
        <p:txBody>
          <a:bodyPr lIns="0" tIns="0" rIns="0" bIns="0" anchor="ctr">
            <a:normAutofit/>
          </a:bodyPr>
          <a:lstStyle>
            <a:lvl1pPr algn="ctr">
              <a:defRPr sz="1200"/>
            </a:lvl1pPr>
          </a:lstStyle>
          <a:p>
            <a:pPr lvl="0"/>
            <a:r>
              <a:rPr lang="pt-PT" dirty="0"/>
              <a:t>Insertar texto</a:t>
            </a:r>
          </a:p>
        </p:txBody>
      </p:sp>
      <p:sp>
        <p:nvSpPr>
          <p:cNvPr id="21" name="Marcador de Posição do Texto 10">
            <a:extLst>
              <a:ext uri="{FF2B5EF4-FFF2-40B4-BE49-F238E27FC236}">
                <a16:creationId xmlns:a16="http://schemas.microsoft.com/office/drawing/2014/main" id="{8650875C-85A2-590D-42B7-8E15C31B0AA9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746324" y="4829010"/>
            <a:ext cx="1149452" cy="1149450"/>
          </a:xfrm>
          <a:prstGeom prst="ellipse">
            <a:avLst/>
          </a:prstGeom>
          <a:solidFill>
            <a:schemeClr val="bg2"/>
          </a:solidFill>
        </p:spPr>
        <p:txBody>
          <a:bodyPr lIns="0" tIns="0" rIns="0" bIns="0" anchor="ctr">
            <a:normAutofit/>
          </a:bodyPr>
          <a:lstStyle>
            <a:lvl1pPr algn="ctr">
              <a:defRPr sz="1200"/>
            </a:lvl1pPr>
          </a:lstStyle>
          <a:p>
            <a:pPr lvl="0"/>
            <a:r>
              <a:rPr lang="pt-PT" dirty="0"/>
              <a:t>Insertar texto</a:t>
            </a:r>
          </a:p>
        </p:txBody>
      </p:sp>
      <p:sp>
        <p:nvSpPr>
          <p:cNvPr id="22" name="Marcador de Posição do Texto 10">
            <a:extLst>
              <a:ext uri="{FF2B5EF4-FFF2-40B4-BE49-F238E27FC236}">
                <a16:creationId xmlns:a16="http://schemas.microsoft.com/office/drawing/2014/main" id="{410BC8DF-7D86-C9FA-B2AA-D0B3EC1E1574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510174" y="2991594"/>
            <a:ext cx="1149452" cy="1149450"/>
          </a:xfrm>
          <a:prstGeom prst="ellipse">
            <a:avLst/>
          </a:prstGeom>
          <a:solidFill>
            <a:schemeClr val="bg2"/>
          </a:solidFill>
        </p:spPr>
        <p:txBody>
          <a:bodyPr lIns="0" tIns="0" rIns="0" bIns="0" anchor="ctr">
            <a:normAutofit/>
          </a:bodyPr>
          <a:lstStyle>
            <a:lvl1pPr algn="ctr">
              <a:defRPr sz="1200"/>
            </a:lvl1pPr>
          </a:lstStyle>
          <a:p>
            <a:pPr lvl="0"/>
            <a:r>
              <a:rPr lang="pt-PT" dirty="0"/>
              <a:t>Insertar texto</a:t>
            </a:r>
          </a:p>
        </p:txBody>
      </p:sp>
      <p:sp>
        <p:nvSpPr>
          <p:cNvPr id="23" name="Marcador de Posição do Texto 10">
            <a:extLst>
              <a:ext uri="{FF2B5EF4-FFF2-40B4-BE49-F238E27FC236}">
                <a16:creationId xmlns:a16="http://schemas.microsoft.com/office/drawing/2014/main" id="{5D11CFC1-B1B6-8A04-0C31-C9E84A4EC02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959510" y="2991594"/>
            <a:ext cx="1149452" cy="1149450"/>
          </a:xfrm>
          <a:prstGeom prst="ellipse">
            <a:avLst/>
          </a:prstGeom>
          <a:solidFill>
            <a:schemeClr val="bg2"/>
          </a:solidFill>
        </p:spPr>
        <p:txBody>
          <a:bodyPr lIns="0" tIns="0" rIns="0" bIns="0" anchor="ctr">
            <a:normAutofit/>
          </a:bodyPr>
          <a:lstStyle>
            <a:lvl1pPr algn="ctr">
              <a:defRPr sz="1200"/>
            </a:lvl1pPr>
          </a:lstStyle>
          <a:p>
            <a:pPr lvl="0"/>
            <a:r>
              <a:rPr lang="pt-PT" dirty="0"/>
              <a:t>Insertar texto</a:t>
            </a:r>
          </a:p>
        </p:txBody>
      </p:sp>
      <p:sp>
        <p:nvSpPr>
          <p:cNvPr id="24" name="Marcador de Posição do Texto 10">
            <a:extLst>
              <a:ext uri="{FF2B5EF4-FFF2-40B4-BE49-F238E27FC236}">
                <a16:creationId xmlns:a16="http://schemas.microsoft.com/office/drawing/2014/main" id="{F8E7F60C-8D53-12AE-6F96-7EB1BEA65D23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454884" y="3214588"/>
            <a:ext cx="907604" cy="703656"/>
          </a:xfrm>
        </p:spPr>
        <p:txBody>
          <a:bodyPr anchor="ctr">
            <a:normAutofit/>
          </a:bodyPr>
          <a:lstStyle>
            <a:lvl1pPr algn="ctr">
              <a:defRPr sz="1200"/>
            </a:lvl1pPr>
          </a:lstStyle>
          <a:p>
            <a:pPr lvl="0"/>
            <a:r>
              <a:rPr lang="pt-PT" dirty="0"/>
              <a:t>Insertar texto</a:t>
            </a:r>
          </a:p>
        </p:txBody>
      </p:sp>
      <p:sp>
        <p:nvSpPr>
          <p:cNvPr id="25" name="Marcador de Posição do Texto 10">
            <a:extLst>
              <a:ext uri="{FF2B5EF4-FFF2-40B4-BE49-F238E27FC236}">
                <a16:creationId xmlns:a16="http://schemas.microsoft.com/office/drawing/2014/main" id="{2B4BD4D4-0D6B-6186-9DA3-B82AD7F7605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252662" y="3214588"/>
            <a:ext cx="907604" cy="703656"/>
          </a:xfrm>
        </p:spPr>
        <p:txBody>
          <a:bodyPr anchor="ctr">
            <a:normAutofit/>
          </a:bodyPr>
          <a:lstStyle>
            <a:lvl1pPr algn="ctr">
              <a:defRPr sz="1200"/>
            </a:lvl1pPr>
          </a:lstStyle>
          <a:p>
            <a:pPr lvl="0"/>
            <a:r>
              <a:rPr lang="pt-PT" dirty="0"/>
              <a:t>Insertar texto</a:t>
            </a:r>
          </a:p>
        </p:txBody>
      </p:sp>
      <p:sp>
        <p:nvSpPr>
          <p:cNvPr id="26" name="Marcador de Posição do Texto 10">
            <a:extLst>
              <a:ext uri="{FF2B5EF4-FFF2-40B4-BE49-F238E27FC236}">
                <a16:creationId xmlns:a16="http://schemas.microsoft.com/office/drawing/2014/main" id="{BBB7A614-A467-8D32-6C34-2F7F009D2CBD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0228946" y="3214588"/>
            <a:ext cx="907604" cy="703656"/>
          </a:xfrm>
        </p:spPr>
        <p:txBody>
          <a:bodyPr anchor="ctr">
            <a:normAutofit/>
          </a:bodyPr>
          <a:lstStyle>
            <a:lvl1pPr algn="ctr">
              <a:defRPr sz="1200"/>
            </a:lvl1pPr>
          </a:lstStyle>
          <a:p>
            <a:pPr lvl="0"/>
            <a:r>
              <a:rPr lang="pt-PT" dirty="0"/>
              <a:t>Insertar texto</a:t>
            </a:r>
          </a:p>
        </p:txBody>
      </p:sp>
      <p:sp>
        <p:nvSpPr>
          <p:cNvPr id="27" name="Título 6">
            <a:extLst>
              <a:ext uri="{FF2B5EF4-FFF2-40B4-BE49-F238E27FC236}">
                <a16:creationId xmlns:a16="http://schemas.microsoft.com/office/drawing/2014/main" id="{2E8A3F0F-80C2-3716-56C5-7A24B7D3F58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3185" y="393484"/>
            <a:ext cx="5582816" cy="712204"/>
          </a:xfrm>
        </p:spPr>
        <p:txBody>
          <a:bodyPr>
            <a:normAutofit/>
          </a:bodyPr>
          <a:lstStyle>
            <a:lvl1pPr>
              <a:defRPr sz="3200"/>
            </a:lvl1pPr>
          </a:lstStyle>
          <a:p>
            <a:r>
              <a:rPr lang="pt-PT" dirty="0"/>
              <a:t>Insertar título de la slide</a:t>
            </a:r>
          </a:p>
        </p:txBody>
      </p:sp>
      <p:sp>
        <p:nvSpPr>
          <p:cNvPr id="28" name="Marcador de Posição do Texto 8">
            <a:extLst>
              <a:ext uri="{FF2B5EF4-FFF2-40B4-BE49-F238E27FC236}">
                <a16:creationId xmlns:a16="http://schemas.microsoft.com/office/drawing/2014/main" id="{BFAF7639-5B4D-7488-BF26-6EFEB6D687B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12765" y="999293"/>
            <a:ext cx="3924202" cy="355243"/>
          </a:xfrm>
        </p:spPr>
        <p:txBody>
          <a:bodyPr>
            <a:normAutofit/>
          </a:bodyPr>
          <a:lstStyle>
            <a:lvl1pPr>
              <a:defRPr sz="200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pt-PT" dirty="0"/>
              <a:t>Insertar subtítulo de la slide</a:t>
            </a:r>
          </a:p>
        </p:txBody>
      </p:sp>
      <p:sp>
        <p:nvSpPr>
          <p:cNvPr id="2" name="Marcador de Posição do Texto 34">
            <a:extLst>
              <a:ext uri="{FF2B5EF4-FFF2-40B4-BE49-F238E27FC236}">
                <a16:creationId xmlns:a16="http://schemas.microsoft.com/office/drawing/2014/main" id="{F6CC953B-A862-8AE1-23A4-82476F61CC1A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6774585" y="1022860"/>
            <a:ext cx="1960900" cy="422172"/>
          </a:xfrm>
        </p:spPr>
        <p:txBody>
          <a:bodyPr anchor="ctr">
            <a:noAutofit/>
          </a:bodyPr>
          <a:lstStyle>
            <a:lvl1pPr algn="l">
              <a:defRPr cap="all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pt-PT" dirty="0"/>
              <a:t>Insertar texto destacado</a:t>
            </a:r>
          </a:p>
        </p:txBody>
      </p:sp>
      <p:sp>
        <p:nvSpPr>
          <p:cNvPr id="3" name="Marcador de Posição do Texto 10">
            <a:extLst>
              <a:ext uri="{FF2B5EF4-FFF2-40B4-BE49-F238E27FC236}">
                <a16:creationId xmlns:a16="http://schemas.microsoft.com/office/drawing/2014/main" id="{88745D47-363F-2115-82B9-6CBAF1ECB9E2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6774585" y="1445032"/>
            <a:ext cx="2270258" cy="422173"/>
          </a:xfrm>
        </p:spPr>
        <p:txBody>
          <a:bodyPr>
            <a:noAutofit/>
          </a:bodyPr>
          <a:lstStyle>
            <a:lvl1pPr algn="l">
              <a:spcBef>
                <a:spcPts val="600"/>
              </a:spcBef>
              <a:defRPr sz="1000"/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es-ES" dirty="0"/>
              <a:t>Haz </a:t>
            </a:r>
            <a:r>
              <a:rPr lang="es-ES" dirty="0" err="1"/>
              <a:t>click</a:t>
            </a:r>
            <a:r>
              <a:rPr lang="es-ES" dirty="0"/>
              <a:t> para editar los estilos del texto del modelo</a:t>
            </a:r>
            <a:endParaRPr lang="pt-PT" dirty="0"/>
          </a:p>
        </p:txBody>
      </p:sp>
      <p:sp>
        <p:nvSpPr>
          <p:cNvPr id="4" name="Marcador de Posição do Texto 34">
            <a:extLst>
              <a:ext uri="{FF2B5EF4-FFF2-40B4-BE49-F238E27FC236}">
                <a16:creationId xmlns:a16="http://schemas.microsoft.com/office/drawing/2014/main" id="{507D8A6D-0F29-0AC7-A963-3198234DAE04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7476147" y="4058986"/>
            <a:ext cx="1960900" cy="422172"/>
          </a:xfrm>
        </p:spPr>
        <p:txBody>
          <a:bodyPr anchor="ctr">
            <a:noAutofit/>
          </a:bodyPr>
          <a:lstStyle>
            <a:lvl1pPr algn="l">
              <a:defRPr cap="all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pt-PT" dirty="0"/>
              <a:t>Insertar texto destacado</a:t>
            </a:r>
          </a:p>
        </p:txBody>
      </p:sp>
      <p:sp>
        <p:nvSpPr>
          <p:cNvPr id="5" name="Marcador de Posição do Texto 10">
            <a:extLst>
              <a:ext uri="{FF2B5EF4-FFF2-40B4-BE49-F238E27FC236}">
                <a16:creationId xmlns:a16="http://schemas.microsoft.com/office/drawing/2014/main" id="{DC03E376-1522-A7B9-2863-17A00F355056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7476147" y="4481158"/>
            <a:ext cx="2270258" cy="422173"/>
          </a:xfrm>
        </p:spPr>
        <p:txBody>
          <a:bodyPr>
            <a:noAutofit/>
          </a:bodyPr>
          <a:lstStyle>
            <a:lvl1pPr algn="l">
              <a:spcBef>
                <a:spcPts val="600"/>
              </a:spcBef>
              <a:defRPr sz="1000"/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es-ES" dirty="0"/>
              <a:t>Haz </a:t>
            </a:r>
            <a:r>
              <a:rPr lang="es-ES" dirty="0" err="1"/>
              <a:t>click</a:t>
            </a:r>
            <a:r>
              <a:rPr lang="es-ES" dirty="0"/>
              <a:t> para editar los estilos del texto del modelo</a:t>
            </a:r>
            <a:endParaRPr lang="pt-PT" dirty="0"/>
          </a:p>
        </p:txBody>
      </p:sp>
      <p:sp>
        <p:nvSpPr>
          <p:cNvPr id="6" name="Marcador de Posição do Texto 34">
            <a:extLst>
              <a:ext uri="{FF2B5EF4-FFF2-40B4-BE49-F238E27FC236}">
                <a16:creationId xmlns:a16="http://schemas.microsoft.com/office/drawing/2014/main" id="{447A5758-32F4-38A0-3FAF-B61F6D40C800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5982404" y="5368066"/>
            <a:ext cx="1960900" cy="422172"/>
          </a:xfrm>
        </p:spPr>
        <p:txBody>
          <a:bodyPr anchor="ctr">
            <a:noAutofit/>
          </a:bodyPr>
          <a:lstStyle>
            <a:lvl1pPr algn="l">
              <a:defRPr cap="all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pt-PT" dirty="0"/>
              <a:t>Insertar texto destacado</a:t>
            </a:r>
          </a:p>
        </p:txBody>
      </p:sp>
      <p:sp>
        <p:nvSpPr>
          <p:cNvPr id="7" name="Marcador de Posição do Texto 10">
            <a:extLst>
              <a:ext uri="{FF2B5EF4-FFF2-40B4-BE49-F238E27FC236}">
                <a16:creationId xmlns:a16="http://schemas.microsoft.com/office/drawing/2014/main" id="{25456643-1B25-546A-DEB5-9C46975362BB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5982404" y="5790238"/>
            <a:ext cx="2270258" cy="422173"/>
          </a:xfrm>
        </p:spPr>
        <p:txBody>
          <a:bodyPr>
            <a:noAutofit/>
          </a:bodyPr>
          <a:lstStyle>
            <a:lvl1pPr algn="l">
              <a:spcBef>
                <a:spcPts val="600"/>
              </a:spcBef>
              <a:defRPr sz="1000"/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es-ES" dirty="0"/>
              <a:t>Haz </a:t>
            </a:r>
            <a:r>
              <a:rPr lang="es-ES" dirty="0" err="1"/>
              <a:t>click</a:t>
            </a:r>
            <a:r>
              <a:rPr lang="es-ES" dirty="0"/>
              <a:t> para editar los estilos del texto del modelo</a:t>
            </a:r>
            <a:endParaRPr lang="pt-PT" dirty="0"/>
          </a:p>
        </p:txBody>
      </p:sp>
      <p:sp>
        <p:nvSpPr>
          <p:cNvPr id="8" name="Marcador de Posição do Texto 34">
            <a:extLst>
              <a:ext uri="{FF2B5EF4-FFF2-40B4-BE49-F238E27FC236}">
                <a16:creationId xmlns:a16="http://schemas.microsoft.com/office/drawing/2014/main" id="{5EAD6B55-C5B2-FDCA-FD01-743BDB652544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1632705" y="4496277"/>
            <a:ext cx="1960900" cy="422172"/>
          </a:xfrm>
        </p:spPr>
        <p:txBody>
          <a:bodyPr anchor="ctr">
            <a:noAutofit/>
          </a:bodyPr>
          <a:lstStyle>
            <a:lvl1pPr algn="l">
              <a:defRPr cap="all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pt-PT" dirty="0"/>
              <a:t>Insertar texto destacado</a:t>
            </a:r>
          </a:p>
        </p:txBody>
      </p:sp>
      <p:sp>
        <p:nvSpPr>
          <p:cNvPr id="9" name="Marcador de Posição do Texto 10">
            <a:extLst>
              <a:ext uri="{FF2B5EF4-FFF2-40B4-BE49-F238E27FC236}">
                <a16:creationId xmlns:a16="http://schemas.microsoft.com/office/drawing/2014/main" id="{642B2F4F-4A27-6EE8-7884-2E9B7F5850DC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1632705" y="4918449"/>
            <a:ext cx="2270258" cy="422173"/>
          </a:xfrm>
        </p:spPr>
        <p:txBody>
          <a:bodyPr>
            <a:noAutofit/>
          </a:bodyPr>
          <a:lstStyle>
            <a:lvl1pPr algn="l">
              <a:spcBef>
                <a:spcPts val="600"/>
              </a:spcBef>
              <a:defRPr sz="1000"/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es-ES" dirty="0"/>
              <a:t>Haz </a:t>
            </a:r>
            <a:r>
              <a:rPr lang="es-ES" dirty="0" err="1"/>
              <a:t>click</a:t>
            </a:r>
            <a:r>
              <a:rPr lang="es-ES" dirty="0"/>
              <a:t> para editar los estilos del texto del modelo</a:t>
            </a:r>
            <a:endParaRPr lang="pt-PT" dirty="0"/>
          </a:p>
        </p:txBody>
      </p:sp>
      <p:pic>
        <p:nvPicPr>
          <p:cNvPr id="29" name="Imagem 79">
            <a:extLst>
              <a:ext uri="{FF2B5EF4-FFF2-40B4-BE49-F238E27FC236}">
                <a16:creationId xmlns:a16="http://schemas.microsoft.com/office/drawing/2014/main" id="{25D8A677-FC82-4D10-89C3-51D4A24B1463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 l="14054" t="7412" r="59459" b="56516"/>
          <a:stretch>
            <a:fillRect/>
          </a:stretch>
        </p:blipFill>
        <p:spPr>
          <a:xfrm rot="5400000">
            <a:off x="245799" y="5250682"/>
            <a:ext cx="1361520" cy="1853120"/>
          </a:xfrm>
          <a:prstGeom prst="rect">
            <a:avLst/>
          </a:prstGeom>
        </p:spPr>
      </p:pic>
      <p:sp>
        <p:nvSpPr>
          <p:cNvPr id="31" name="Marcador de Posição do Rodapé 4">
            <a:extLst>
              <a:ext uri="{FF2B5EF4-FFF2-40B4-BE49-F238E27FC236}">
                <a16:creationId xmlns:a16="http://schemas.microsoft.com/office/drawing/2014/main" id="{5A09F593-653D-47CB-BA48-0F13A5A2D6E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12762" y="6356350"/>
            <a:ext cx="534669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accent2"/>
                </a:solidFill>
              </a:defRPr>
            </a:lvl1pPr>
          </a:lstStyle>
          <a:p>
            <a:r>
              <a:rPr lang="pt-PT"/>
              <a:t>Título de la presentación</a:t>
            </a:r>
            <a:endParaRPr lang="pt-PT" dirty="0"/>
          </a:p>
        </p:txBody>
      </p:sp>
      <p:sp>
        <p:nvSpPr>
          <p:cNvPr id="32" name="Marcador de Posição do Número do Diapositivo 5">
            <a:extLst>
              <a:ext uri="{FF2B5EF4-FFF2-40B4-BE49-F238E27FC236}">
                <a16:creationId xmlns:a16="http://schemas.microsoft.com/office/drawing/2014/main" id="{1B7C7274-9262-43B3-A909-3DB4F631F66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936039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accent2"/>
                </a:solidFill>
              </a:defRPr>
            </a:lvl1pPr>
          </a:lstStyle>
          <a:p>
            <a:fld id="{24A347C2-D68E-473A-8C76-1D063E4EB6E0}" type="slidenum">
              <a:rPr lang="es-ES" smtClean="0"/>
              <a:pPr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47347222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5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1719 -0.00023 L -1.25E-6 1.85185E-6 " pathEditMode="relative" rAng="0" ptsTypes="AA">
                                      <p:cBhvr>
                                        <p:cTn id="9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859" y="0"/>
                                    </p:animMotion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25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1719 -0.00023 L -1.25E-6 1.85185E-6 " pathEditMode="relative" rAng="0" ptsTypes="AA">
                                      <p:cBhvr>
                                        <p:cTn id="14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859" y="0"/>
                                    </p:animMotion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6" presetClass="emph" presetSubtype="0" fill="hold" grpId="1" nodeType="withEffect">
                                  <p:stCondLst>
                                    <p:cond delay="250"/>
                                  </p:stCondLst>
                                  <p:childTnLst>
                                    <p:animScale>
                                      <p:cBhvr>
                                        <p:cTn id="19" dur="10" fill="hold"/>
                                        <p:tgtEl>
                                          <p:spTgt spid="20"/>
                                        </p:tgtEl>
                                      </p:cBhvr>
                                      <p:by x="125000" y="125000"/>
                                    </p:animScale>
                                  </p:childTnLst>
                                </p:cTn>
                              </p:par>
                              <p:par>
                                <p:cTn id="20" presetID="6" presetClass="emph" presetSubtype="0" decel="100000" fill="hold" grpId="2" nodeType="withEffect">
                                  <p:stCondLst>
                                    <p:cond delay="250"/>
                                  </p:stCondLst>
                                  <p:childTnLst>
                                    <p:animScale>
                                      <p:cBhvr>
                                        <p:cTn id="21" dur="750" fill="hold"/>
                                        <p:tgtEl>
                                          <p:spTgt spid="20"/>
                                        </p:tgtEl>
                                      </p:cBhvr>
                                      <p:by x="80000" y="80000"/>
                                    </p:animScale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6" presetClass="emph" presetSubtype="0" fill="hold" grpId="1" nodeType="withEffect">
                                  <p:stCondLst>
                                    <p:cond delay="250"/>
                                  </p:stCondLst>
                                  <p:childTnLst>
                                    <p:animScale>
                                      <p:cBhvr>
                                        <p:cTn id="26" dur="10" fill="hold"/>
                                        <p:tgtEl>
                                          <p:spTgt spid="23"/>
                                        </p:tgtEl>
                                      </p:cBhvr>
                                      <p:by x="125000" y="125000"/>
                                    </p:animScale>
                                  </p:childTnLst>
                                </p:cTn>
                              </p:par>
                              <p:par>
                                <p:cTn id="27" presetID="6" presetClass="emph" presetSubtype="0" decel="100000" fill="hold" grpId="2" nodeType="withEffect">
                                  <p:stCondLst>
                                    <p:cond delay="250"/>
                                  </p:stCondLst>
                                  <p:childTnLst>
                                    <p:animScale>
                                      <p:cBhvr>
                                        <p:cTn id="28" dur="750" fill="hold"/>
                                        <p:tgtEl>
                                          <p:spTgt spid="23"/>
                                        </p:tgtEl>
                                      </p:cBhvr>
                                      <p:by x="80000" y="80000"/>
                                    </p:animScale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6" presetClass="emph" presetSubtype="0" fill="hold" grpId="1" nodeType="withEffect">
                                  <p:stCondLst>
                                    <p:cond delay="250"/>
                                  </p:stCondLst>
                                  <p:childTnLst>
                                    <p:animScale>
                                      <p:cBhvr>
                                        <p:cTn id="33" dur="10" fill="hold"/>
                                        <p:tgtEl>
                                          <p:spTgt spid="19"/>
                                        </p:tgtEl>
                                      </p:cBhvr>
                                      <p:by x="125000" y="125000"/>
                                    </p:animScale>
                                  </p:childTnLst>
                                </p:cTn>
                              </p:par>
                              <p:par>
                                <p:cTn id="34" presetID="6" presetClass="emph" presetSubtype="0" decel="100000" fill="hold" grpId="2" nodeType="withEffect">
                                  <p:stCondLst>
                                    <p:cond delay="250"/>
                                  </p:stCondLst>
                                  <p:childTnLst>
                                    <p:animScale>
                                      <p:cBhvr>
                                        <p:cTn id="35" dur="750" fill="hold"/>
                                        <p:tgtEl>
                                          <p:spTgt spid="19"/>
                                        </p:tgtEl>
                                      </p:cBhvr>
                                      <p:by x="80000" y="80000"/>
                                    </p:animScale>
                                  </p:childTnLst>
                                </p:cTn>
                              </p:par>
                              <p:par>
                                <p:cTn id="36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" presetID="6" presetClass="emph" presetSubtype="0" fill="hold" grpId="1" nodeType="withEffect">
                                  <p:stCondLst>
                                    <p:cond delay="250"/>
                                  </p:stCondLst>
                                  <p:childTnLst>
                                    <p:animScale>
                                      <p:cBhvr>
                                        <p:cTn id="40" dur="10" fill="hold"/>
                                        <p:tgtEl>
                                          <p:spTgt spid="22"/>
                                        </p:tgtEl>
                                      </p:cBhvr>
                                      <p:by x="125000" y="125000"/>
                                    </p:animScale>
                                  </p:childTnLst>
                                </p:cTn>
                              </p:par>
                              <p:par>
                                <p:cTn id="41" presetID="6" presetClass="emph" presetSubtype="0" decel="100000" fill="hold" grpId="2" nodeType="withEffect">
                                  <p:stCondLst>
                                    <p:cond delay="250"/>
                                  </p:stCondLst>
                                  <p:childTnLst>
                                    <p:animScale>
                                      <p:cBhvr>
                                        <p:cTn id="42" dur="750" fill="hold"/>
                                        <p:tgtEl>
                                          <p:spTgt spid="22"/>
                                        </p:tgtEl>
                                      </p:cBhvr>
                                      <p:by x="80000" y="80000"/>
                                    </p:animScale>
                                  </p:childTnLst>
                                </p:cTn>
                              </p:par>
                              <p:par>
                                <p:cTn id="43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6" presetID="6" presetClass="emph" presetSubtype="0" fill="hold" grpId="1" nodeType="withEffect">
                                  <p:stCondLst>
                                    <p:cond delay="250"/>
                                  </p:stCondLst>
                                  <p:childTnLst>
                                    <p:animScale>
                                      <p:cBhvr>
                                        <p:cTn id="47" dur="10" fill="hold"/>
                                        <p:tgtEl>
                                          <p:spTgt spid="21"/>
                                        </p:tgtEl>
                                      </p:cBhvr>
                                      <p:by x="125000" y="125000"/>
                                    </p:animScale>
                                  </p:childTnLst>
                                </p:cTn>
                              </p:par>
                              <p:par>
                                <p:cTn id="48" presetID="6" presetClass="emph" presetSubtype="0" decel="100000" fill="hold" grpId="2" nodeType="withEffect">
                                  <p:stCondLst>
                                    <p:cond delay="250"/>
                                  </p:stCondLst>
                                  <p:childTnLst>
                                    <p:animScale>
                                      <p:cBhvr>
                                        <p:cTn id="49" dur="750" fill="hold"/>
                                        <p:tgtEl>
                                          <p:spTgt spid="21"/>
                                        </p:tgtEl>
                                      </p:cBhvr>
                                      <p:by x="80000" y="80000"/>
                                    </p:animScale>
                                  </p:childTnLst>
                                </p:cTn>
                              </p:par>
                              <p:par>
                                <p:cTn id="50" presetID="10" presetClass="entr" presetSubtype="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" presetID="10" presetClass="entr" presetSubtype="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6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8" dur="500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9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1" dur="500"/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2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4" dur="500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5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7" dur="500"/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8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0" dur="500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1" presetID="10" presetClass="entr" presetSubtype="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3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4" presetID="10" presetClass="entr" presetSubtype="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6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7" presetID="10" presetClass="entr" presetSubtype="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9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0" presetID="10" presetClass="entr" presetSubtype="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2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3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5" dur="500"/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6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8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8" dur="500"/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9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1" dur="500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2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9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4" dur="500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5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7" dur="500"/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8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9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0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 animBg="1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9" grpId="1" animBg="1">
        <p:tmplLst>
          <p:tmpl>
            <p:tnLst>
              <p:par>
                <p:cTn presetID="6" presetClass="emph" presetSubtype="0" fill="hold" nodeType="withEffect">
                  <p:stCondLst>
                    <p:cond delay="250"/>
                  </p:stCondLst>
                  <p:childTnLst>
                    <p:animScale>
                      <p:cBhvr>
                        <p:cTn dur="10" fill="hold"/>
                        <p:tgtEl>
                          <p:spTgt spid="19"/>
                        </p:tgtEl>
                      </p:cBhvr>
                      <p:by x="125000" y="125000"/>
                    </p:animScale>
                  </p:childTnLst>
                </p:cTn>
              </p:par>
            </p:tnLst>
          </p:tmpl>
        </p:tmplLst>
      </p:bldP>
      <p:bldP spid="19" grpId="2" animBg="1">
        <p:tmplLst>
          <p:tmpl>
            <p:tnLst>
              <p:par>
                <p:cTn presetID="6" presetClass="emph" presetSubtype="0" decel="100000" fill="hold" nodeType="withEffect">
                  <p:stCondLst>
                    <p:cond delay="250"/>
                  </p:stCondLst>
                  <p:childTnLst>
                    <p:animScale>
                      <p:cBhvr>
                        <p:cTn dur="750" fill="hold"/>
                        <p:tgtEl>
                          <p:spTgt spid="19"/>
                        </p:tgtEl>
                      </p:cBhvr>
                      <p:by x="80000" y="80000"/>
                    </p:animScale>
                  </p:childTnLst>
                </p:cTn>
              </p:par>
            </p:tnLst>
          </p:tmpl>
        </p:tmplLst>
      </p:bldP>
      <p:bldP spid="20" grpId="0" animBg="1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0" grpId="1" animBg="1">
        <p:tmplLst>
          <p:tmpl>
            <p:tnLst>
              <p:par>
                <p:cTn presetID="6" presetClass="emph" presetSubtype="0" fill="hold" nodeType="withEffect">
                  <p:stCondLst>
                    <p:cond delay="250"/>
                  </p:stCondLst>
                  <p:childTnLst>
                    <p:animScale>
                      <p:cBhvr>
                        <p:cTn dur="10" fill="hold"/>
                        <p:tgtEl>
                          <p:spTgt spid="20"/>
                        </p:tgtEl>
                      </p:cBhvr>
                      <p:by x="125000" y="125000"/>
                    </p:animScale>
                  </p:childTnLst>
                </p:cTn>
              </p:par>
            </p:tnLst>
          </p:tmpl>
        </p:tmplLst>
      </p:bldP>
      <p:bldP spid="20" grpId="2" animBg="1">
        <p:tmplLst>
          <p:tmpl>
            <p:tnLst>
              <p:par>
                <p:cTn presetID="6" presetClass="emph" presetSubtype="0" decel="100000" fill="hold" nodeType="withEffect">
                  <p:stCondLst>
                    <p:cond delay="250"/>
                  </p:stCondLst>
                  <p:childTnLst>
                    <p:animScale>
                      <p:cBhvr>
                        <p:cTn dur="750" fill="hold"/>
                        <p:tgtEl>
                          <p:spTgt spid="20"/>
                        </p:tgtEl>
                      </p:cBhvr>
                      <p:by x="80000" y="80000"/>
                    </p:animScale>
                  </p:childTnLst>
                </p:cTn>
              </p:par>
            </p:tnLst>
          </p:tmpl>
        </p:tmplLst>
      </p:bldP>
      <p:bldP spid="21" grpId="0" animBg="1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1" grpId="1" animBg="1">
        <p:tmplLst>
          <p:tmpl>
            <p:tnLst>
              <p:par>
                <p:cTn presetID="6" presetClass="emph" presetSubtype="0" fill="hold" nodeType="withEffect">
                  <p:stCondLst>
                    <p:cond delay="250"/>
                  </p:stCondLst>
                  <p:childTnLst>
                    <p:animScale>
                      <p:cBhvr>
                        <p:cTn dur="10" fill="hold"/>
                        <p:tgtEl>
                          <p:spTgt spid="21"/>
                        </p:tgtEl>
                      </p:cBhvr>
                      <p:by x="125000" y="125000"/>
                    </p:animScale>
                  </p:childTnLst>
                </p:cTn>
              </p:par>
            </p:tnLst>
          </p:tmpl>
        </p:tmplLst>
      </p:bldP>
      <p:bldP spid="21" grpId="2" animBg="1">
        <p:tmplLst>
          <p:tmpl>
            <p:tnLst>
              <p:par>
                <p:cTn presetID="6" presetClass="emph" presetSubtype="0" decel="100000" fill="hold" nodeType="withEffect">
                  <p:stCondLst>
                    <p:cond delay="250"/>
                  </p:stCondLst>
                  <p:childTnLst>
                    <p:animScale>
                      <p:cBhvr>
                        <p:cTn dur="750" fill="hold"/>
                        <p:tgtEl>
                          <p:spTgt spid="21"/>
                        </p:tgtEl>
                      </p:cBhvr>
                      <p:by x="80000" y="80000"/>
                    </p:animScale>
                  </p:childTnLst>
                </p:cTn>
              </p:par>
            </p:tnLst>
          </p:tmpl>
        </p:tmplLst>
      </p:bldP>
      <p:bldP spid="22" grpId="0" animBg="1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2" grpId="1" animBg="1">
        <p:tmplLst>
          <p:tmpl>
            <p:tnLst>
              <p:par>
                <p:cTn presetID="6" presetClass="emph" presetSubtype="0" fill="hold" nodeType="withEffect">
                  <p:stCondLst>
                    <p:cond delay="250"/>
                  </p:stCondLst>
                  <p:childTnLst>
                    <p:animScale>
                      <p:cBhvr>
                        <p:cTn dur="10" fill="hold"/>
                        <p:tgtEl>
                          <p:spTgt spid="22"/>
                        </p:tgtEl>
                      </p:cBhvr>
                      <p:by x="125000" y="125000"/>
                    </p:animScale>
                  </p:childTnLst>
                </p:cTn>
              </p:par>
            </p:tnLst>
          </p:tmpl>
        </p:tmplLst>
      </p:bldP>
      <p:bldP spid="22" grpId="2" animBg="1">
        <p:tmplLst>
          <p:tmpl>
            <p:tnLst>
              <p:par>
                <p:cTn presetID="6" presetClass="emph" presetSubtype="0" decel="100000" fill="hold" nodeType="withEffect">
                  <p:stCondLst>
                    <p:cond delay="250"/>
                  </p:stCondLst>
                  <p:childTnLst>
                    <p:animScale>
                      <p:cBhvr>
                        <p:cTn dur="750" fill="hold"/>
                        <p:tgtEl>
                          <p:spTgt spid="22"/>
                        </p:tgtEl>
                      </p:cBhvr>
                      <p:by x="80000" y="80000"/>
                    </p:animScale>
                  </p:childTnLst>
                </p:cTn>
              </p:par>
            </p:tnLst>
          </p:tmpl>
        </p:tmplLst>
      </p:bldP>
      <p:bldP spid="23" grpId="0" animBg="1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3" grpId="1" animBg="1">
        <p:tmplLst>
          <p:tmpl>
            <p:tnLst>
              <p:par>
                <p:cTn presetID="6" presetClass="emph" presetSubtype="0" fill="hold" nodeType="withEffect">
                  <p:stCondLst>
                    <p:cond delay="250"/>
                  </p:stCondLst>
                  <p:childTnLst>
                    <p:animScale>
                      <p:cBhvr>
                        <p:cTn dur="10" fill="hold"/>
                        <p:tgtEl>
                          <p:spTgt spid="23"/>
                        </p:tgtEl>
                      </p:cBhvr>
                      <p:by x="125000" y="125000"/>
                    </p:animScale>
                  </p:childTnLst>
                </p:cTn>
              </p:par>
            </p:tnLst>
          </p:tmpl>
        </p:tmplLst>
      </p:bldP>
      <p:bldP spid="23" grpId="2" animBg="1">
        <p:tmplLst>
          <p:tmpl>
            <p:tnLst>
              <p:par>
                <p:cTn presetID="6" presetClass="emph" presetSubtype="0" decel="100000" fill="hold" nodeType="withEffect">
                  <p:stCondLst>
                    <p:cond delay="250"/>
                  </p:stCondLst>
                  <p:childTnLst>
                    <p:animScale>
                      <p:cBhvr>
                        <p:cTn dur="750" fill="hold"/>
                        <p:tgtEl>
                          <p:spTgt spid="23"/>
                        </p:tgtEl>
                      </p:cBhvr>
                      <p:by x="80000" y="80000"/>
                    </p:animScale>
                  </p:childTnLst>
                </p:cTn>
              </p:par>
            </p:tnLst>
          </p:tmpl>
        </p:tmplLst>
      </p:bldP>
      <p:bldP spid="24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5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6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7" grpId="0"/>
      <p:bldP spid="27" grpId="1"/>
      <p:bldP spid="28" grpId="0">
        <p:tmplLst>
          <p:tmpl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250"/>
                        <p:tgtEl>
                          <p:spTgt spid="2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8" grpId="1"/>
      <p:bldP spid="2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6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7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8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9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9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9_Esquema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4" name="Imagem 133">
            <a:extLst>
              <a:ext uri="{FF2B5EF4-FFF2-40B4-BE49-F238E27FC236}">
                <a16:creationId xmlns:a16="http://schemas.microsoft.com/office/drawing/2014/main" id="{40C769F9-01EE-23EE-3C82-7D6C0CEA5A4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 l="14054" t="17922" r="69887" b="31440"/>
          <a:stretch>
            <a:fillRect/>
          </a:stretch>
        </p:blipFill>
        <p:spPr>
          <a:xfrm rot="16200000" flipH="1">
            <a:off x="8670308" y="3336310"/>
            <a:ext cx="1696689" cy="5346697"/>
          </a:xfrm>
          <a:prstGeom prst="rect">
            <a:avLst/>
          </a:prstGeom>
        </p:spPr>
      </p:pic>
      <p:pic>
        <p:nvPicPr>
          <p:cNvPr id="135" name="Imagem 134">
            <a:extLst>
              <a:ext uri="{FF2B5EF4-FFF2-40B4-BE49-F238E27FC236}">
                <a16:creationId xmlns:a16="http://schemas.microsoft.com/office/drawing/2014/main" id="{2976AC11-8E2C-4F3C-D7E1-EE85E00EB15D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 l="10821" t="60527" r="14745" b="14633"/>
          <a:stretch>
            <a:fillRect/>
          </a:stretch>
        </p:blipFill>
        <p:spPr>
          <a:xfrm rot="5400000" flipV="1">
            <a:off x="-1633167" y="1339224"/>
            <a:ext cx="4883659" cy="1629676"/>
          </a:xfrm>
          <a:prstGeom prst="rect">
            <a:avLst/>
          </a:prstGeom>
        </p:spPr>
      </p:pic>
      <p:sp>
        <p:nvSpPr>
          <p:cNvPr id="6" name="Título 6">
            <a:extLst>
              <a:ext uri="{FF2B5EF4-FFF2-40B4-BE49-F238E27FC236}">
                <a16:creationId xmlns:a16="http://schemas.microsoft.com/office/drawing/2014/main" id="{A9D71F11-D027-1E12-7804-EC9ECA0DACB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3185" y="393484"/>
            <a:ext cx="5582816" cy="712204"/>
          </a:xfrm>
        </p:spPr>
        <p:txBody>
          <a:bodyPr>
            <a:normAutofit/>
          </a:bodyPr>
          <a:lstStyle>
            <a:lvl1pPr>
              <a:defRPr sz="3200"/>
            </a:lvl1pPr>
          </a:lstStyle>
          <a:p>
            <a:r>
              <a:rPr lang="pt-PT" dirty="0"/>
              <a:t>Insertar título de la slide</a:t>
            </a:r>
          </a:p>
        </p:txBody>
      </p:sp>
      <p:sp>
        <p:nvSpPr>
          <p:cNvPr id="7" name="Marcador de Posição do Texto 8">
            <a:extLst>
              <a:ext uri="{FF2B5EF4-FFF2-40B4-BE49-F238E27FC236}">
                <a16:creationId xmlns:a16="http://schemas.microsoft.com/office/drawing/2014/main" id="{9B08C480-1936-9A74-6AC1-277FBA5E041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12765" y="999293"/>
            <a:ext cx="3924202" cy="355243"/>
          </a:xfrm>
        </p:spPr>
        <p:txBody>
          <a:bodyPr>
            <a:normAutofit/>
          </a:bodyPr>
          <a:lstStyle>
            <a:lvl1pPr>
              <a:defRPr sz="200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pt-PT" dirty="0"/>
              <a:t>Insertar subtítulo de la slide</a:t>
            </a:r>
          </a:p>
        </p:txBody>
      </p:sp>
      <p:sp>
        <p:nvSpPr>
          <p:cNvPr id="2" name="Forma livre: Forma 1">
            <a:extLst>
              <a:ext uri="{FF2B5EF4-FFF2-40B4-BE49-F238E27FC236}">
                <a16:creationId xmlns:a16="http://schemas.microsoft.com/office/drawing/2014/main" id="{6BC3598F-A979-16DA-646C-0DA0987AED68}"/>
              </a:ext>
            </a:extLst>
          </p:cNvPr>
          <p:cNvSpPr/>
          <p:nvPr/>
        </p:nvSpPr>
        <p:spPr>
          <a:xfrm flipH="1">
            <a:off x="1165684" y="1696659"/>
            <a:ext cx="9702441" cy="667400"/>
          </a:xfrm>
          <a:custGeom>
            <a:avLst/>
            <a:gdLst>
              <a:gd name="connsiteX0" fmla="*/ 1223524 w 9702441"/>
              <a:gd name="connsiteY0" fmla="*/ 0 h 667400"/>
              <a:gd name="connsiteX1" fmla="*/ 667649 w 9702441"/>
              <a:gd name="connsiteY1" fmla="*/ 0 h 667400"/>
              <a:gd name="connsiteX2" fmla="*/ 667378 w 9702441"/>
              <a:gd name="connsiteY2" fmla="*/ 0 h 667400"/>
              <a:gd name="connsiteX3" fmla="*/ 0 w 9702441"/>
              <a:gd name="connsiteY3" fmla="*/ 667372 h 667400"/>
              <a:gd name="connsiteX4" fmla="*/ 753889 w 9702441"/>
              <a:gd name="connsiteY4" fmla="*/ 667372 h 667400"/>
              <a:gd name="connsiteX5" fmla="*/ 753889 w 9702441"/>
              <a:gd name="connsiteY5" fmla="*/ 667393 h 667400"/>
              <a:gd name="connsiteX6" fmla="*/ 8478855 w 9702441"/>
              <a:gd name="connsiteY6" fmla="*/ 667319 h 667400"/>
              <a:gd name="connsiteX7" fmla="*/ 8478882 w 9702441"/>
              <a:gd name="connsiteY7" fmla="*/ 667400 h 667400"/>
              <a:gd name="connsiteX8" fmla="*/ 9034773 w 9702441"/>
              <a:gd name="connsiteY8" fmla="*/ 667400 h 667400"/>
              <a:gd name="connsiteX9" fmla="*/ 9035044 w 9702441"/>
              <a:gd name="connsiteY9" fmla="*/ 667400 h 667400"/>
              <a:gd name="connsiteX10" fmla="*/ 9702441 w 9702441"/>
              <a:gd name="connsiteY10" fmla="*/ 8 h 667400"/>
              <a:gd name="connsiteX11" fmla="*/ 8256418 w 9702441"/>
              <a:gd name="connsiteY11" fmla="*/ 8 h 667400"/>
              <a:gd name="connsiteX12" fmla="*/ 8256427 w 9702441"/>
              <a:gd name="connsiteY12" fmla="*/ 35 h 667400"/>
              <a:gd name="connsiteX13" fmla="*/ 1223558 w 9702441"/>
              <a:gd name="connsiteY13" fmla="*/ 102 h 667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9702441" h="667400">
                <a:moveTo>
                  <a:pt x="1223524" y="0"/>
                </a:moveTo>
                <a:lnTo>
                  <a:pt x="667649" y="0"/>
                </a:lnTo>
                <a:lnTo>
                  <a:pt x="667378" y="0"/>
                </a:lnTo>
                <a:cubicBezTo>
                  <a:pt x="298898" y="0"/>
                  <a:pt x="0" y="298619"/>
                  <a:pt x="0" y="667372"/>
                </a:cubicBezTo>
                <a:lnTo>
                  <a:pt x="753889" y="667372"/>
                </a:lnTo>
                <a:lnTo>
                  <a:pt x="753889" y="667393"/>
                </a:lnTo>
                <a:lnTo>
                  <a:pt x="8478855" y="667319"/>
                </a:lnTo>
                <a:lnTo>
                  <a:pt x="8478882" y="667400"/>
                </a:lnTo>
                <a:lnTo>
                  <a:pt x="9034773" y="667400"/>
                </a:lnTo>
                <a:lnTo>
                  <a:pt x="9035044" y="667400"/>
                </a:lnTo>
                <a:cubicBezTo>
                  <a:pt x="9403534" y="667400"/>
                  <a:pt x="9702441" y="368773"/>
                  <a:pt x="9702441" y="8"/>
                </a:cubicBezTo>
                <a:lnTo>
                  <a:pt x="8256418" y="8"/>
                </a:lnTo>
                <a:lnTo>
                  <a:pt x="8256427" y="35"/>
                </a:lnTo>
                <a:lnTo>
                  <a:pt x="1223558" y="102"/>
                </a:lnTo>
                <a:close/>
              </a:path>
            </a:pathLst>
          </a:custGeom>
          <a:solidFill>
            <a:srgbClr val="184BFF"/>
          </a:solidFill>
          <a:ln w="4244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pt-PT">
              <a:solidFill>
                <a:schemeClr val="tx1"/>
              </a:solidFill>
            </a:endParaRPr>
          </a:p>
        </p:txBody>
      </p:sp>
      <p:sp>
        <p:nvSpPr>
          <p:cNvPr id="3" name="Forma livre: Forma 2">
            <a:extLst>
              <a:ext uri="{FF2B5EF4-FFF2-40B4-BE49-F238E27FC236}">
                <a16:creationId xmlns:a16="http://schemas.microsoft.com/office/drawing/2014/main" id="{DE48F2FB-B01E-7515-75A8-2D0D7B6BA3D8}"/>
              </a:ext>
            </a:extLst>
          </p:cNvPr>
          <p:cNvSpPr/>
          <p:nvPr/>
        </p:nvSpPr>
        <p:spPr>
          <a:xfrm flipH="1">
            <a:off x="1165684" y="2459133"/>
            <a:ext cx="9702441" cy="667400"/>
          </a:xfrm>
          <a:custGeom>
            <a:avLst/>
            <a:gdLst>
              <a:gd name="connsiteX0" fmla="*/ 1223524 w 9702441"/>
              <a:gd name="connsiteY0" fmla="*/ 0 h 667400"/>
              <a:gd name="connsiteX1" fmla="*/ 667649 w 9702441"/>
              <a:gd name="connsiteY1" fmla="*/ 0 h 667400"/>
              <a:gd name="connsiteX2" fmla="*/ 667378 w 9702441"/>
              <a:gd name="connsiteY2" fmla="*/ 0 h 667400"/>
              <a:gd name="connsiteX3" fmla="*/ 0 w 9702441"/>
              <a:gd name="connsiteY3" fmla="*/ 667372 h 667400"/>
              <a:gd name="connsiteX4" fmla="*/ 753889 w 9702441"/>
              <a:gd name="connsiteY4" fmla="*/ 667372 h 667400"/>
              <a:gd name="connsiteX5" fmla="*/ 753889 w 9702441"/>
              <a:gd name="connsiteY5" fmla="*/ 667393 h 667400"/>
              <a:gd name="connsiteX6" fmla="*/ 8478855 w 9702441"/>
              <a:gd name="connsiteY6" fmla="*/ 667319 h 667400"/>
              <a:gd name="connsiteX7" fmla="*/ 8478882 w 9702441"/>
              <a:gd name="connsiteY7" fmla="*/ 667400 h 667400"/>
              <a:gd name="connsiteX8" fmla="*/ 9034773 w 9702441"/>
              <a:gd name="connsiteY8" fmla="*/ 667400 h 667400"/>
              <a:gd name="connsiteX9" fmla="*/ 9035044 w 9702441"/>
              <a:gd name="connsiteY9" fmla="*/ 667400 h 667400"/>
              <a:gd name="connsiteX10" fmla="*/ 9702441 w 9702441"/>
              <a:gd name="connsiteY10" fmla="*/ 8 h 667400"/>
              <a:gd name="connsiteX11" fmla="*/ 8256418 w 9702441"/>
              <a:gd name="connsiteY11" fmla="*/ 8 h 667400"/>
              <a:gd name="connsiteX12" fmla="*/ 8256427 w 9702441"/>
              <a:gd name="connsiteY12" fmla="*/ 35 h 667400"/>
              <a:gd name="connsiteX13" fmla="*/ 1223558 w 9702441"/>
              <a:gd name="connsiteY13" fmla="*/ 103 h 667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9702441" h="667400">
                <a:moveTo>
                  <a:pt x="1223524" y="0"/>
                </a:moveTo>
                <a:lnTo>
                  <a:pt x="667649" y="0"/>
                </a:lnTo>
                <a:lnTo>
                  <a:pt x="667378" y="0"/>
                </a:lnTo>
                <a:cubicBezTo>
                  <a:pt x="298898" y="0"/>
                  <a:pt x="0" y="298619"/>
                  <a:pt x="0" y="667372"/>
                </a:cubicBezTo>
                <a:lnTo>
                  <a:pt x="753889" y="667372"/>
                </a:lnTo>
                <a:lnTo>
                  <a:pt x="753889" y="667393"/>
                </a:lnTo>
                <a:lnTo>
                  <a:pt x="8478855" y="667319"/>
                </a:lnTo>
                <a:lnTo>
                  <a:pt x="8478882" y="667400"/>
                </a:lnTo>
                <a:lnTo>
                  <a:pt x="9034773" y="667400"/>
                </a:lnTo>
                <a:lnTo>
                  <a:pt x="9035044" y="667400"/>
                </a:lnTo>
                <a:cubicBezTo>
                  <a:pt x="9403534" y="667400"/>
                  <a:pt x="9702441" y="368773"/>
                  <a:pt x="9702441" y="8"/>
                </a:cubicBezTo>
                <a:lnTo>
                  <a:pt x="8256418" y="8"/>
                </a:lnTo>
                <a:lnTo>
                  <a:pt x="8256427" y="35"/>
                </a:lnTo>
                <a:lnTo>
                  <a:pt x="1223558" y="103"/>
                </a:lnTo>
                <a:close/>
              </a:path>
            </a:pathLst>
          </a:custGeom>
          <a:solidFill>
            <a:srgbClr val="132153"/>
          </a:solidFill>
          <a:ln w="4244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pt-PT">
              <a:solidFill>
                <a:schemeClr val="tx1"/>
              </a:solidFill>
            </a:endParaRPr>
          </a:p>
        </p:txBody>
      </p:sp>
      <p:sp>
        <p:nvSpPr>
          <p:cNvPr id="4" name="Forma livre: Forma 3">
            <a:extLst>
              <a:ext uri="{FF2B5EF4-FFF2-40B4-BE49-F238E27FC236}">
                <a16:creationId xmlns:a16="http://schemas.microsoft.com/office/drawing/2014/main" id="{0A006076-4FD8-49E7-CDAE-F30FDA986B74}"/>
              </a:ext>
            </a:extLst>
          </p:cNvPr>
          <p:cNvSpPr/>
          <p:nvPr/>
        </p:nvSpPr>
        <p:spPr>
          <a:xfrm flipH="1">
            <a:off x="1165684" y="3239076"/>
            <a:ext cx="9702441" cy="667400"/>
          </a:xfrm>
          <a:custGeom>
            <a:avLst/>
            <a:gdLst>
              <a:gd name="connsiteX0" fmla="*/ 1223524 w 9702441"/>
              <a:gd name="connsiteY0" fmla="*/ 0 h 667400"/>
              <a:gd name="connsiteX1" fmla="*/ 667649 w 9702441"/>
              <a:gd name="connsiteY1" fmla="*/ 0 h 667400"/>
              <a:gd name="connsiteX2" fmla="*/ 667378 w 9702441"/>
              <a:gd name="connsiteY2" fmla="*/ 0 h 667400"/>
              <a:gd name="connsiteX3" fmla="*/ 0 w 9702441"/>
              <a:gd name="connsiteY3" fmla="*/ 667372 h 667400"/>
              <a:gd name="connsiteX4" fmla="*/ 753889 w 9702441"/>
              <a:gd name="connsiteY4" fmla="*/ 667372 h 667400"/>
              <a:gd name="connsiteX5" fmla="*/ 753889 w 9702441"/>
              <a:gd name="connsiteY5" fmla="*/ 667393 h 667400"/>
              <a:gd name="connsiteX6" fmla="*/ 8478855 w 9702441"/>
              <a:gd name="connsiteY6" fmla="*/ 667319 h 667400"/>
              <a:gd name="connsiteX7" fmla="*/ 8478882 w 9702441"/>
              <a:gd name="connsiteY7" fmla="*/ 667400 h 667400"/>
              <a:gd name="connsiteX8" fmla="*/ 9034773 w 9702441"/>
              <a:gd name="connsiteY8" fmla="*/ 667400 h 667400"/>
              <a:gd name="connsiteX9" fmla="*/ 9035044 w 9702441"/>
              <a:gd name="connsiteY9" fmla="*/ 667400 h 667400"/>
              <a:gd name="connsiteX10" fmla="*/ 9702441 w 9702441"/>
              <a:gd name="connsiteY10" fmla="*/ 8 h 667400"/>
              <a:gd name="connsiteX11" fmla="*/ 8256418 w 9702441"/>
              <a:gd name="connsiteY11" fmla="*/ 8 h 667400"/>
              <a:gd name="connsiteX12" fmla="*/ 8256427 w 9702441"/>
              <a:gd name="connsiteY12" fmla="*/ 35 h 667400"/>
              <a:gd name="connsiteX13" fmla="*/ 1223558 w 9702441"/>
              <a:gd name="connsiteY13" fmla="*/ 103 h 667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9702441" h="667400">
                <a:moveTo>
                  <a:pt x="1223524" y="0"/>
                </a:moveTo>
                <a:lnTo>
                  <a:pt x="667649" y="0"/>
                </a:lnTo>
                <a:lnTo>
                  <a:pt x="667378" y="0"/>
                </a:lnTo>
                <a:cubicBezTo>
                  <a:pt x="298898" y="0"/>
                  <a:pt x="0" y="298619"/>
                  <a:pt x="0" y="667372"/>
                </a:cubicBezTo>
                <a:lnTo>
                  <a:pt x="753889" y="667372"/>
                </a:lnTo>
                <a:lnTo>
                  <a:pt x="753889" y="667393"/>
                </a:lnTo>
                <a:lnTo>
                  <a:pt x="8478855" y="667319"/>
                </a:lnTo>
                <a:lnTo>
                  <a:pt x="8478882" y="667400"/>
                </a:lnTo>
                <a:lnTo>
                  <a:pt x="9034773" y="667400"/>
                </a:lnTo>
                <a:lnTo>
                  <a:pt x="9035044" y="667400"/>
                </a:lnTo>
                <a:cubicBezTo>
                  <a:pt x="9403534" y="667400"/>
                  <a:pt x="9702441" y="368773"/>
                  <a:pt x="9702441" y="8"/>
                </a:cubicBezTo>
                <a:lnTo>
                  <a:pt x="8256418" y="8"/>
                </a:lnTo>
                <a:lnTo>
                  <a:pt x="8256427" y="35"/>
                </a:lnTo>
                <a:lnTo>
                  <a:pt x="1223558" y="103"/>
                </a:lnTo>
                <a:close/>
              </a:path>
            </a:pathLst>
          </a:custGeom>
          <a:solidFill>
            <a:schemeClr val="accent2"/>
          </a:solidFill>
          <a:ln w="4244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pt-PT">
              <a:solidFill>
                <a:schemeClr val="tx1"/>
              </a:solidFill>
            </a:endParaRPr>
          </a:p>
        </p:txBody>
      </p:sp>
      <p:sp>
        <p:nvSpPr>
          <p:cNvPr id="5" name="Forma livre: Forma 4">
            <a:extLst>
              <a:ext uri="{FF2B5EF4-FFF2-40B4-BE49-F238E27FC236}">
                <a16:creationId xmlns:a16="http://schemas.microsoft.com/office/drawing/2014/main" id="{4804E6F4-00FC-F076-9780-9687AD7831BF}"/>
              </a:ext>
            </a:extLst>
          </p:cNvPr>
          <p:cNvSpPr/>
          <p:nvPr/>
        </p:nvSpPr>
        <p:spPr>
          <a:xfrm flipH="1">
            <a:off x="1165684" y="4500859"/>
            <a:ext cx="9702441" cy="667400"/>
          </a:xfrm>
          <a:custGeom>
            <a:avLst/>
            <a:gdLst>
              <a:gd name="connsiteX0" fmla="*/ 1223524 w 9702441"/>
              <a:gd name="connsiteY0" fmla="*/ 0 h 667400"/>
              <a:gd name="connsiteX1" fmla="*/ 667649 w 9702441"/>
              <a:gd name="connsiteY1" fmla="*/ 0 h 667400"/>
              <a:gd name="connsiteX2" fmla="*/ 667378 w 9702441"/>
              <a:gd name="connsiteY2" fmla="*/ 0 h 667400"/>
              <a:gd name="connsiteX3" fmla="*/ 0 w 9702441"/>
              <a:gd name="connsiteY3" fmla="*/ 667372 h 667400"/>
              <a:gd name="connsiteX4" fmla="*/ 753889 w 9702441"/>
              <a:gd name="connsiteY4" fmla="*/ 667372 h 667400"/>
              <a:gd name="connsiteX5" fmla="*/ 753889 w 9702441"/>
              <a:gd name="connsiteY5" fmla="*/ 667393 h 667400"/>
              <a:gd name="connsiteX6" fmla="*/ 8478855 w 9702441"/>
              <a:gd name="connsiteY6" fmla="*/ 667319 h 667400"/>
              <a:gd name="connsiteX7" fmla="*/ 8478882 w 9702441"/>
              <a:gd name="connsiteY7" fmla="*/ 667400 h 667400"/>
              <a:gd name="connsiteX8" fmla="*/ 9034773 w 9702441"/>
              <a:gd name="connsiteY8" fmla="*/ 667400 h 667400"/>
              <a:gd name="connsiteX9" fmla="*/ 9035044 w 9702441"/>
              <a:gd name="connsiteY9" fmla="*/ 667400 h 667400"/>
              <a:gd name="connsiteX10" fmla="*/ 9702441 w 9702441"/>
              <a:gd name="connsiteY10" fmla="*/ 8 h 667400"/>
              <a:gd name="connsiteX11" fmla="*/ 8256418 w 9702441"/>
              <a:gd name="connsiteY11" fmla="*/ 8 h 667400"/>
              <a:gd name="connsiteX12" fmla="*/ 8256427 w 9702441"/>
              <a:gd name="connsiteY12" fmla="*/ 35 h 667400"/>
              <a:gd name="connsiteX13" fmla="*/ 1223558 w 9702441"/>
              <a:gd name="connsiteY13" fmla="*/ 103 h 667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9702441" h="667400">
                <a:moveTo>
                  <a:pt x="1223524" y="0"/>
                </a:moveTo>
                <a:lnTo>
                  <a:pt x="667649" y="0"/>
                </a:lnTo>
                <a:lnTo>
                  <a:pt x="667378" y="0"/>
                </a:lnTo>
                <a:cubicBezTo>
                  <a:pt x="298898" y="0"/>
                  <a:pt x="0" y="298619"/>
                  <a:pt x="0" y="667372"/>
                </a:cubicBezTo>
                <a:lnTo>
                  <a:pt x="753889" y="667372"/>
                </a:lnTo>
                <a:lnTo>
                  <a:pt x="753889" y="667393"/>
                </a:lnTo>
                <a:lnTo>
                  <a:pt x="8478855" y="667319"/>
                </a:lnTo>
                <a:lnTo>
                  <a:pt x="8478882" y="667400"/>
                </a:lnTo>
                <a:lnTo>
                  <a:pt x="9034773" y="667400"/>
                </a:lnTo>
                <a:lnTo>
                  <a:pt x="9035044" y="667400"/>
                </a:lnTo>
                <a:cubicBezTo>
                  <a:pt x="9403534" y="667400"/>
                  <a:pt x="9702441" y="368773"/>
                  <a:pt x="9702441" y="8"/>
                </a:cubicBezTo>
                <a:lnTo>
                  <a:pt x="8256418" y="8"/>
                </a:lnTo>
                <a:lnTo>
                  <a:pt x="8256427" y="35"/>
                </a:lnTo>
                <a:lnTo>
                  <a:pt x="1223558" y="103"/>
                </a:lnTo>
                <a:close/>
              </a:path>
            </a:pathLst>
          </a:custGeom>
          <a:solidFill>
            <a:schemeClr val="accent2"/>
          </a:solidFill>
          <a:ln w="4244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pt-PT">
              <a:solidFill>
                <a:schemeClr val="tx1"/>
              </a:solidFill>
            </a:endParaRPr>
          </a:p>
        </p:txBody>
      </p:sp>
      <p:sp>
        <p:nvSpPr>
          <p:cNvPr id="8" name="Forma livre: Forma 7">
            <a:extLst>
              <a:ext uri="{FF2B5EF4-FFF2-40B4-BE49-F238E27FC236}">
                <a16:creationId xmlns:a16="http://schemas.microsoft.com/office/drawing/2014/main" id="{C645C1F9-7973-34DE-91C5-020C44C9AE6F}"/>
              </a:ext>
            </a:extLst>
          </p:cNvPr>
          <p:cNvSpPr/>
          <p:nvPr/>
        </p:nvSpPr>
        <p:spPr>
          <a:xfrm flipH="1">
            <a:off x="1165684" y="5677958"/>
            <a:ext cx="9702441" cy="667400"/>
          </a:xfrm>
          <a:custGeom>
            <a:avLst/>
            <a:gdLst>
              <a:gd name="connsiteX0" fmla="*/ 1223524 w 9702441"/>
              <a:gd name="connsiteY0" fmla="*/ 0 h 667400"/>
              <a:gd name="connsiteX1" fmla="*/ 667649 w 9702441"/>
              <a:gd name="connsiteY1" fmla="*/ 0 h 667400"/>
              <a:gd name="connsiteX2" fmla="*/ 667378 w 9702441"/>
              <a:gd name="connsiteY2" fmla="*/ 0 h 667400"/>
              <a:gd name="connsiteX3" fmla="*/ 0 w 9702441"/>
              <a:gd name="connsiteY3" fmla="*/ 667372 h 667400"/>
              <a:gd name="connsiteX4" fmla="*/ 753889 w 9702441"/>
              <a:gd name="connsiteY4" fmla="*/ 667372 h 667400"/>
              <a:gd name="connsiteX5" fmla="*/ 753889 w 9702441"/>
              <a:gd name="connsiteY5" fmla="*/ 667393 h 667400"/>
              <a:gd name="connsiteX6" fmla="*/ 8478855 w 9702441"/>
              <a:gd name="connsiteY6" fmla="*/ 667319 h 667400"/>
              <a:gd name="connsiteX7" fmla="*/ 8478882 w 9702441"/>
              <a:gd name="connsiteY7" fmla="*/ 667400 h 667400"/>
              <a:gd name="connsiteX8" fmla="*/ 9034773 w 9702441"/>
              <a:gd name="connsiteY8" fmla="*/ 667400 h 667400"/>
              <a:gd name="connsiteX9" fmla="*/ 9035044 w 9702441"/>
              <a:gd name="connsiteY9" fmla="*/ 667400 h 667400"/>
              <a:gd name="connsiteX10" fmla="*/ 9702441 w 9702441"/>
              <a:gd name="connsiteY10" fmla="*/ 8 h 667400"/>
              <a:gd name="connsiteX11" fmla="*/ 8256418 w 9702441"/>
              <a:gd name="connsiteY11" fmla="*/ 8 h 667400"/>
              <a:gd name="connsiteX12" fmla="*/ 8256427 w 9702441"/>
              <a:gd name="connsiteY12" fmla="*/ 35 h 667400"/>
              <a:gd name="connsiteX13" fmla="*/ 1223558 w 9702441"/>
              <a:gd name="connsiteY13" fmla="*/ 103 h 667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9702441" h="667400">
                <a:moveTo>
                  <a:pt x="1223524" y="0"/>
                </a:moveTo>
                <a:lnTo>
                  <a:pt x="667649" y="0"/>
                </a:lnTo>
                <a:lnTo>
                  <a:pt x="667378" y="0"/>
                </a:lnTo>
                <a:cubicBezTo>
                  <a:pt x="298898" y="0"/>
                  <a:pt x="0" y="298619"/>
                  <a:pt x="0" y="667372"/>
                </a:cubicBezTo>
                <a:lnTo>
                  <a:pt x="753889" y="667372"/>
                </a:lnTo>
                <a:lnTo>
                  <a:pt x="753889" y="667393"/>
                </a:lnTo>
                <a:lnTo>
                  <a:pt x="8478855" y="667319"/>
                </a:lnTo>
                <a:lnTo>
                  <a:pt x="8478882" y="667400"/>
                </a:lnTo>
                <a:lnTo>
                  <a:pt x="9034773" y="667400"/>
                </a:lnTo>
                <a:lnTo>
                  <a:pt x="9035044" y="667400"/>
                </a:lnTo>
                <a:cubicBezTo>
                  <a:pt x="9403534" y="667400"/>
                  <a:pt x="9702441" y="368773"/>
                  <a:pt x="9702441" y="8"/>
                </a:cubicBezTo>
                <a:lnTo>
                  <a:pt x="8256418" y="8"/>
                </a:lnTo>
                <a:lnTo>
                  <a:pt x="8256427" y="35"/>
                </a:lnTo>
                <a:lnTo>
                  <a:pt x="1223558" y="103"/>
                </a:lnTo>
                <a:close/>
              </a:path>
            </a:pathLst>
          </a:custGeom>
          <a:solidFill>
            <a:schemeClr val="accent2"/>
          </a:solidFill>
          <a:ln w="4244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pt-PT">
              <a:solidFill>
                <a:schemeClr val="tx1"/>
              </a:solidFill>
            </a:endParaRPr>
          </a:p>
        </p:txBody>
      </p:sp>
      <p:sp>
        <p:nvSpPr>
          <p:cNvPr id="97" name="Marcador de Posição do Texto 34">
            <a:extLst>
              <a:ext uri="{FF2B5EF4-FFF2-40B4-BE49-F238E27FC236}">
                <a16:creationId xmlns:a16="http://schemas.microsoft.com/office/drawing/2014/main" id="{A167D27C-D2E9-D0A0-4FBC-E3DBEA4FCED5}"/>
              </a:ext>
            </a:extLst>
          </p:cNvPr>
          <p:cNvSpPr>
            <a:spLocks noGrp="1"/>
          </p:cNvSpPr>
          <p:nvPr userDrawn="1">
            <p:ph type="body" sz="quarter" idx="52" hasCustomPrompt="1"/>
          </p:nvPr>
        </p:nvSpPr>
        <p:spPr>
          <a:xfrm>
            <a:off x="1580089" y="1814923"/>
            <a:ext cx="1960900" cy="422172"/>
          </a:xfrm>
        </p:spPr>
        <p:txBody>
          <a:bodyPr anchor="ctr">
            <a:noAutofit/>
          </a:bodyPr>
          <a:lstStyle>
            <a:lvl1pPr algn="l">
              <a:defRPr cap="all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pt-PT" dirty="0"/>
              <a:t>Insertar texto destacado</a:t>
            </a:r>
          </a:p>
        </p:txBody>
      </p:sp>
      <p:sp>
        <p:nvSpPr>
          <p:cNvPr id="98" name="Marcador de Posição do Texto 34">
            <a:extLst>
              <a:ext uri="{FF2B5EF4-FFF2-40B4-BE49-F238E27FC236}">
                <a16:creationId xmlns:a16="http://schemas.microsoft.com/office/drawing/2014/main" id="{8CA1DF90-85C7-38E5-DCDD-FC63C7645673}"/>
              </a:ext>
            </a:extLst>
          </p:cNvPr>
          <p:cNvSpPr>
            <a:spLocks noGrp="1"/>
          </p:cNvSpPr>
          <p:nvPr userDrawn="1">
            <p:ph type="body" sz="quarter" idx="53" hasCustomPrompt="1"/>
          </p:nvPr>
        </p:nvSpPr>
        <p:spPr>
          <a:xfrm>
            <a:off x="1580089" y="2574329"/>
            <a:ext cx="1960900" cy="422172"/>
          </a:xfrm>
        </p:spPr>
        <p:txBody>
          <a:bodyPr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cap="all" baseline="0">
                <a:solidFill>
                  <a:srgbClr val="F7F7F7"/>
                </a:solidFill>
                <a:latin typeface="+mj-lt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dirty="0"/>
              <a:t>Insertar texto destacado</a:t>
            </a:r>
          </a:p>
        </p:txBody>
      </p:sp>
      <p:sp>
        <p:nvSpPr>
          <p:cNvPr id="99" name="Marcador de Posição do Texto 34">
            <a:extLst>
              <a:ext uri="{FF2B5EF4-FFF2-40B4-BE49-F238E27FC236}">
                <a16:creationId xmlns:a16="http://schemas.microsoft.com/office/drawing/2014/main" id="{FD7FCB4D-246F-088C-1372-A4B24923EB03}"/>
              </a:ext>
            </a:extLst>
          </p:cNvPr>
          <p:cNvSpPr>
            <a:spLocks noGrp="1"/>
          </p:cNvSpPr>
          <p:nvPr userDrawn="1">
            <p:ph type="body" sz="quarter" idx="54" hasCustomPrompt="1"/>
          </p:nvPr>
        </p:nvSpPr>
        <p:spPr>
          <a:xfrm>
            <a:off x="1580089" y="3361680"/>
            <a:ext cx="1960900" cy="422172"/>
          </a:xfrm>
        </p:spPr>
        <p:txBody>
          <a:bodyPr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cap="all" baseline="0">
                <a:solidFill>
                  <a:schemeClr val="bg1"/>
                </a:solidFill>
                <a:latin typeface="+mj-lt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dirty="0"/>
              <a:t>Insertar texto destacado</a:t>
            </a:r>
          </a:p>
        </p:txBody>
      </p:sp>
      <p:sp>
        <p:nvSpPr>
          <p:cNvPr id="100" name="Marcador de Posição do Texto 34">
            <a:extLst>
              <a:ext uri="{FF2B5EF4-FFF2-40B4-BE49-F238E27FC236}">
                <a16:creationId xmlns:a16="http://schemas.microsoft.com/office/drawing/2014/main" id="{C7ED0069-D170-AC2A-0213-376084139EFC}"/>
              </a:ext>
            </a:extLst>
          </p:cNvPr>
          <p:cNvSpPr>
            <a:spLocks noGrp="1"/>
          </p:cNvSpPr>
          <p:nvPr userDrawn="1">
            <p:ph type="body" sz="quarter" idx="55" hasCustomPrompt="1"/>
          </p:nvPr>
        </p:nvSpPr>
        <p:spPr>
          <a:xfrm>
            <a:off x="1580089" y="3994012"/>
            <a:ext cx="1960900" cy="422172"/>
          </a:xfrm>
        </p:spPr>
        <p:txBody>
          <a:bodyPr anchor="ctr">
            <a:noAutofit/>
          </a:bodyPr>
          <a:lstStyle>
            <a:lvl1pPr algn="l">
              <a:defRPr cap="all" baseline="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pt-PT" dirty="0"/>
              <a:t>Insertar texto destacado</a:t>
            </a:r>
          </a:p>
        </p:txBody>
      </p:sp>
      <p:sp>
        <p:nvSpPr>
          <p:cNvPr id="101" name="Marcador de Posição do Texto 34">
            <a:extLst>
              <a:ext uri="{FF2B5EF4-FFF2-40B4-BE49-F238E27FC236}">
                <a16:creationId xmlns:a16="http://schemas.microsoft.com/office/drawing/2014/main" id="{2A05587F-A5C9-F3C9-6EF4-3958FE8F40AE}"/>
              </a:ext>
            </a:extLst>
          </p:cNvPr>
          <p:cNvSpPr>
            <a:spLocks noGrp="1"/>
          </p:cNvSpPr>
          <p:nvPr userDrawn="1">
            <p:ph type="body" sz="quarter" idx="56" hasCustomPrompt="1"/>
          </p:nvPr>
        </p:nvSpPr>
        <p:spPr>
          <a:xfrm>
            <a:off x="1580089" y="4595893"/>
            <a:ext cx="1960900" cy="422172"/>
          </a:xfrm>
        </p:spPr>
        <p:txBody>
          <a:bodyPr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cap="all" baseline="0">
                <a:solidFill>
                  <a:schemeClr val="bg1"/>
                </a:solidFill>
                <a:latin typeface="+mj-lt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dirty="0"/>
              <a:t>Insertar texto destacado</a:t>
            </a:r>
          </a:p>
        </p:txBody>
      </p:sp>
      <p:sp>
        <p:nvSpPr>
          <p:cNvPr id="102" name="Marcador de Posição do Texto 34">
            <a:extLst>
              <a:ext uri="{FF2B5EF4-FFF2-40B4-BE49-F238E27FC236}">
                <a16:creationId xmlns:a16="http://schemas.microsoft.com/office/drawing/2014/main" id="{96CAA318-6B03-5025-26DF-4EC81A357962}"/>
              </a:ext>
            </a:extLst>
          </p:cNvPr>
          <p:cNvSpPr>
            <a:spLocks noGrp="1"/>
          </p:cNvSpPr>
          <p:nvPr userDrawn="1">
            <p:ph type="body" sz="quarter" idx="57" hasCustomPrompt="1"/>
          </p:nvPr>
        </p:nvSpPr>
        <p:spPr>
          <a:xfrm>
            <a:off x="1580089" y="5218960"/>
            <a:ext cx="1960900" cy="422172"/>
          </a:xfrm>
        </p:spPr>
        <p:txBody>
          <a:bodyPr anchor="ctr">
            <a:noAutofit/>
          </a:bodyPr>
          <a:lstStyle>
            <a:lvl1pPr algn="l">
              <a:defRPr cap="all" baseline="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pt-PT" dirty="0"/>
              <a:t>Insertar texto destacado</a:t>
            </a:r>
          </a:p>
        </p:txBody>
      </p:sp>
      <p:sp>
        <p:nvSpPr>
          <p:cNvPr id="103" name="Marcador de Posição do Texto 34">
            <a:extLst>
              <a:ext uri="{FF2B5EF4-FFF2-40B4-BE49-F238E27FC236}">
                <a16:creationId xmlns:a16="http://schemas.microsoft.com/office/drawing/2014/main" id="{4C6146F1-F56D-C558-4066-9BDD11A61B10}"/>
              </a:ext>
            </a:extLst>
          </p:cNvPr>
          <p:cNvSpPr>
            <a:spLocks noGrp="1"/>
          </p:cNvSpPr>
          <p:nvPr userDrawn="1">
            <p:ph type="body" sz="quarter" idx="58" hasCustomPrompt="1"/>
          </p:nvPr>
        </p:nvSpPr>
        <p:spPr>
          <a:xfrm>
            <a:off x="1580089" y="5842027"/>
            <a:ext cx="1960900" cy="422172"/>
          </a:xfrm>
        </p:spPr>
        <p:txBody>
          <a:bodyPr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cap="all" baseline="0">
                <a:solidFill>
                  <a:schemeClr val="bg1"/>
                </a:solidFill>
                <a:latin typeface="+mj-lt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dirty="0"/>
              <a:t>Insertar texto destacado</a:t>
            </a:r>
          </a:p>
        </p:txBody>
      </p:sp>
      <p:sp>
        <p:nvSpPr>
          <p:cNvPr id="104" name="Marcador de Posição do Texto 10">
            <a:extLst>
              <a:ext uri="{FF2B5EF4-FFF2-40B4-BE49-F238E27FC236}">
                <a16:creationId xmlns:a16="http://schemas.microsoft.com/office/drawing/2014/main" id="{86EBFF5D-50DC-BB8A-BFF4-8E4C453CDE72}"/>
              </a:ext>
            </a:extLst>
          </p:cNvPr>
          <p:cNvSpPr>
            <a:spLocks noGrp="1"/>
          </p:cNvSpPr>
          <p:nvPr userDrawn="1">
            <p:ph type="body" sz="quarter" idx="59" hasCustomPrompt="1"/>
          </p:nvPr>
        </p:nvSpPr>
        <p:spPr>
          <a:xfrm>
            <a:off x="3777385" y="1814923"/>
            <a:ext cx="1569315" cy="422173"/>
          </a:xfrm>
        </p:spPr>
        <p:txBody>
          <a:bodyPr anchor="ctr">
            <a:noAutofit/>
          </a:bodyPr>
          <a:lstStyle>
            <a:lvl1pPr algn="ctr">
              <a:spcBef>
                <a:spcPts val="600"/>
              </a:spcBef>
              <a:defRPr sz="1000">
                <a:solidFill>
                  <a:schemeClr val="bg1"/>
                </a:solidFill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es-ES" dirty="0"/>
              <a:t>Haz </a:t>
            </a:r>
            <a:r>
              <a:rPr lang="es-ES" dirty="0" err="1"/>
              <a:t>click</a:t>
            </a:r>
            <a:r>
              <a:rPr lang="es-ES" dirty="0"/>
              <a:t> para editar los estilos del texto del modelo global</a:t>
            </a:r>
            <a:endParaRPr lang="pt-PT" dirty="0"/>
          </a:p>
        </p:txBody>
      </p:sp>
      <p:sp>
        <p:nvSpPr>
          <p:cNvPr id="105" name="Marcador de Posição do Texto 10">
            <a:extLst>
              <a:ext uri="{FF2B5EF4-FFF2-40B4-BE49-F238E27FC236}">
                <a16:creationId xmlns:a16="http://schemas.microsoft.com/office/drawing/2014/main" id="{DD32235F-F008-000A-9870-3DF843A49328}"/>
              </a:ext>
            </a:extLst>
          </p:cNvPr>
          <p:cNvSpPr>
            <a:spLocks noGrp="1"/>
          </p:cNvSpPr>
          <p:nvPr userDrawn="1">
            <p:ph type="body" sz="quarter" idx="60" hasCustomPrompt="1"/>
          </p:nvPr>
        </p:nvSpPr>
        <p:spPr>
          <a:xfrm>
            <a:off x="5583096" y="1814923"/>
            <a:ext cx="1569315" cy="422173"/>
          </a:xfrm>
        </p:spPr>
        <p:txBody>
          <a:bodyPr anchor="ctr">
            <a:noAutofit/>
          </a:bodyPr>
          <a:lstStyle>
            <a:lvl1pPr algn="ctr">
              <a:spcBef>
                <a:spcPts val="600"/>
              </a:spcBef>
              <a:defRPr sz="1000">
                <a:solidFill>
                  <a:schemeClr val="bg1"/>
                </a:solidFill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es-ES" dirty="0"/>
              <a:t>Haz </a:t>
            </a:r>
            <a:r>
              <a:rPr lang="es-ES" dirty="0" err="1"/>
              <a:t>click</a:t>
            </a:r>
            <a:r>
              <a:rPr lang="es-ES" dirty="0"/>
              <a:t> para editar los estilos del texto del modelo global</a:t>
            </a:r>
            <a:endParaRPr lang="pt-PT" dirty="0"/>
          </a:p>
        </p:txBody>
      </p:sp>
      <p:sp>
        <p:nvSpPr>
          <p:cNvPr id="106" name="Marcador de Posição do Texto 10">
            <a:extLst>
              <a:ext uri="{FF2B5EF4-FFF2-40B4-BE49-F238E27FC236}">
                <a16:creationId xmlns:a16="http://schemas.microsoft.com/office/drawing/2014/main" id="{58725E12-4294-3641-DB7D-A1170FC9721A}"/>
              </a:ext>
            </a:extLst>
          </p:cNvPr>
          <p:cNvSpPr>
            <a:spLocks noGrp="1"/>
          </p:cNvSpPr>
          <p:nvPr userDrawn="1">
            <p:ph type="body" sz="quarter" idx="61" hasCustomPrompt="1"/>
          </p:nvPr>
        </p:nvSpPr>
        <p:spPr>
          <a:xfrm>
            <a:off x="7388807" y="1814923"/>
            <a:ext cx="1569315" cy="422173"/>
          </a:xfrm>
        </p:spPr>
        <p:txBody>
          <a:bodyPr anchor="ctr">
            <a:noAutofit/>
          </a:bodyPr>
          <a:lstStyle>
            <a:lvl1pPr algn="ctr">
              <a:spcBef>
                <a:spcPts val="600"/>
              </a:spcBef>
              <a:defRPr sz="1000">
                <a:solidFill>
                  <a:schemeClr val="bg1"/>
                </a:solidFill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es-ES" dirty="0"/>
              <a:t>Haz </a:t>
            </a:r>
            <a:r>
              <a:rPr lang="es-ES" dirty="0" err="1"/>
              <a:t>click</a:t>
            </a:r>
            <a:r>
              <a:rPr lang="es-ES" dirty="0"/>
              <a:t> para editar los estilos del texto del modelo global</a:t>
            </a:r>
            <a:endParaRPr lang="pt-PT" dirty="0"/>
          </a:p>
        </p:txBody>
      </p:sp>
      <p:sp>
        <p:nvSpPr>
          <p:cNvPr id="107" name="Marcador de Posição do Texto 10">
            <a:extLst>
              <a:ext uri="{FF2B5EF4-FFF2-40B4-BE49-F238E27FC236}">
                <a16:creationId xmlns:a16="http://schemas.microsoft.com/office/drawing/2014/main" id="{3067DEEA-029F-CDDF-2BBA-8025B828EC59}"/>
              </a:ext>
            </a:extLst>
          </p:cNvPr>
          <p:cNvSpPr>
            <a:spLocks noGrp="1"/>
          </p:cNvSpPr>
          <p:nvPr userDrawn="1">
            <p:ph type="body" sz="quarter" idx="62" hasCustomPrompt="1"/>
          </p:nvPr>
        </p:nvSpPr>
        <p:spPr>
          <a:xfrm>
            <a:off x="9194518" y="1814923"/>
            <a:ext cx="1569315" cy="422173"/>
          </a:xfrm>
        </p:spPr>
        <p:txBody>
          <a:bodyPr anchor="ctr">
            <a:noAutofit/>
          </a:bodyPr>
          <a:lstStyle>
            <a:lvl1pPr algn="ctr">
              <a:spcBef>
                <a:spcPts val="600"/>
              </a:spcBef>
              <a:defRPr sz="1000">
                <a:solidFill>
                  <a:schemeClr val="bg1"/>
                </a:solidFill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es-ES" dirty="0"/>
              <a:t>Haz </a:t>
            </a:r>
            <a:r>
              <a:rPr lang="es-ES" dirty="0" err="1"/>
              <a:t>click</a:t>
            </a:r>
            <a:r>
              <a:rPr lang="es-ES" dirty="0"/>
              <a:t> para editar los estilos del texto del modelo global</a:t>
            </a:r>
            <a:endParaRPr lang="pt-PT" dirty="0"/>
          </a:p>
        </p:txBody>
      </p:sp>
      <p:sp>
        <p:nvSpPr>
          <p:cNvPr id="108" name="Marcador de Posição do Texto 10">
            <a:extLst>
              <a:ext uri="{FF2B5EF4-FFF2-40B4-BE49-F238E27FC236}">
                <a16:creationId xmlns:a16="http://schemas.microsoft.com/office/drawing/2014/main" id="{3E3F8CB3-CD36-E779-F24D-D043D73E74BD}"/>
              </a:ext>
            </a:extLst>
          </p:cNvPr>
          <p:cNvSpPr>
            <a:spLocks noGrp="1"/>
          </p:cNvSpPr>
          <p:nvPr userDrawn="1">
            <p:ph type="body" sz="quarter" idx="63" hasCustomPrompt="1"/>
          </p:nvPr>
        </p:nvSpPr>
        <p:spPr>
          <a:xfrm>
            <a:off x="3777385" y="2574329"/>
            <a:ext cx="1569315" cy="422173"/>
          </a:xfrm>
        </p:spPr>
        <p:txBody>
          <a:bodyPr anchor="ctr">
            <a:noAutofit/>
          </a:bodyPr>
          <a:lstStyle>
            <a:lvl1pPr algn="ctr">
              <a:spcBef>
                <a:spcPts val="600"/>
              </a:spcBef>
              <a:defRPr sz="1000">
                <a:solidFill>
                  <a:srgbClr val="F7F7F7"/>
                </a:solidFill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es-ES" dirty="0"/>
              <a:t>Haz </a:t>
            </a:r>
            <a:r>
              <a:rPr lang="es-ES" dirty="0" err="1"/>
              <a:t>click</a:t>
            </a:r>
            <a:r>
              <a:rPr lang="es-ES" dirty="0"/>
              <a:t> para editar los estilos del texto del modelo global</a:t>
            </a:r>
            <a:endParaRPr lang="pt-PT" dirty="0"/>
          </a:p>
        </p:txBody>
      </p:sp>
      <p:sp>
        <p:nvSpPr>
          <p:cNvPr id="109" name="Marcador de Posição do Texto 10">
            <a:extLst>
              <a:ext uri="{FF2B5EF4-FFF2-40B4-BE49-F238E27FC236}">
                <a16:creationId xmlns:a16="http://schemas.microsoft.com/office/drawing/2014/main" id="{782D7A9D-0E3F-C049-B9F3-AFB22C0DA7C0}"/>
              </a:ext>
            </a:extLst>
          </p:cNvPr>
          <p:cNvSpPr>
            <a:spLocks noGrp="1"/>
          </p:cNvSpPr>
          <p:nvPr userDrawn="1">
            <p:ph type="body" sz="quarter" idx="64" hasCustomPrompt="1"/>
          </p:nvPr>
        </p:nvSpPr>
        <p:spPr>
          <a:xfrm>
            <a:off x="5583096" y="2574329"/>
            <a:ext cx="1569315" cy="422173"/>
          </a:xfrm>
        </p:spPr>
        <p:txBody>
          <a:bodyPr anchor="ctr">
            <a:noAutofit/>
          </a:bodyPr>
          <a:lstStyle>
            <a:lvl1pPr algn="ctr">
              <a:spcBef>
                <a:spcPts val="600"/>
              </a:spcBef>
              <a:defRPr sz="1000">
                <a:solidFill>
                  <a:srgbClr val="F7F7F7"/>
                </a:solidFill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es-ES" dirty="0"/>
              <a:t>Haz </a:t>
            </a:r>
            <a:r>
              <a:rPr lang="es-ES" dirty="0" err="1"/>
              <a:t>click</a:t>
            </a:r>
            <a:r>
              <a:rPr lang="es-ES" dirty="0"/>
              <a:t> para editar los estilos del texto del modelo global</a:t>
            </a:r>
            <a:endParaRPr lang="pt-PT" dirty="0"/>
          </a:p>
        </p:txBody>
      </p:sp>
      <p:sp>
        <p:nvSpPr>
          <p:cNvPr id="110" name="Marcador de Posição do Texto 10">
            <a:extLst>
              <a:ext uri="{FF2B5EF4-FFF2-40B4-BE49-F238E27FC236}">
                <a16:creationId xmlns:a16="http://schemas.microsoft.com/office/drawing/2014/main" id="{BDB3CE74-8789-67B0-1BC8-3EE3EE21C43E}"/>
              </a:ext>
            </a:extLst>
          </p:cNvPr>
          <p:cNvSpPr>
            <a:spLocks noGrp="1"/>
          </p:cNvSpPr>
          <p:nvPr userDrawn="1">
            <p:ph type="body" sz="quarter" idx="65" hasCustomPrompt="1"/>
          </p:nvPr>
        </p:nvSpPr>
        <p:spPr>
          <a:xfrm>
            <a:off x="7388807" y="2574329"/>
            <a:ext cx="1569315" cy="422173"/>
          </a:xfrm>
        </p:spPr>
        <p:txBody>
          <a:bodyPr anchor="ctr">
            <a:noAutofit/>
          </a:bodyPr>
          <a:lstStyle>
            <a:lvl1pPr algn="ctr">
              <a:spcBef>
                <a:spcPts val="600"/>
              </a:spcBef>
              <a:defRPr sz="1000">
                <a:solidFill>
                  <a:srgbClr val="F7F7F7"/>
                </a:solidFill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es-ES" dirty="0"/>
              <a:t>Haz </a:t>
            </a:r>
            <a:r>
              <a:rPr lang="es-ES" dirty="0" err="1"/>
              <a:t>click</a:t>
            </a:r>
            <a:r>
              <a:rPr lang="es-ES" dirty="0"/>
              <a:t> para editar los estilos del texto del modelo global</a:t>
            </a:r>
            <a:endParaRPr lang="pt-PT" dirty="0"/>
          </a:p>
        </p:txBody>
      </p:sp>
      <p:sp>
        <p:nvSpPr>
          <p:cNvPr id="111" name="Marcador de Posição do Texto 10">
            <a:extLst>
              <a:ext uri="{FF2B5EF4-FFF2-40B4-BE49-F238E27FC236}">
                <a16:creationId xmlns:a16="http://schemas.microsoft.com/office/drawing/2014/main" id="{05E70830-D78F-BD81-7889-EE95B30919FA}"/>
              </a:ext>
            </a:extLst>
          </p:cNvPr>
          <p:cNvSpPr>
            <a:spLocks noGrp="1"/>
          </p:cNvSpPr>
          <p:nvPr userDrawn="1">
            <p:ph type="body" sz="quarter" idx="66" hasCustomPrompt="1"/>
          </p:nvPr>
        </p:nvSpPr>
        <p:spPr>
          <a:xfrm>
            <a:off x="9194518" y="2574329"/>
            <a:ext cx="1569315" cy="422173"/>
          </a:xfrm>
        </p:spPr>
        <p:txBody>
          <a:bodyPr anchor="ctr">
            <a:noAutofit/>
          </a:bodyPr>
          <a:lstStyle>
            <a:lvl1pPr algn="ctr">
              <a:spcBef>
                <a:spcPts val="600"/>
              </a:spcBef>
              <a:defRPr sz="1000">
                <a:solidFill>
                  <a:srgbClr val="F7F7F7"/>
                </a:solidFill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es-ES" dirty="0"/>
              <a:t>Haz </a:t>
            </a:r>
            <a:r>
              <a:rPr lang="es-ES" dirty="0" err="1"/>
              <a:t>click</a:t>
            </a:r>
            <a:r>
              <a:rPr lang="es-ES" dirty="0"/>
              <a:t> para editar los estilos del texto del modelo global</a:t>
            </a:r>
            <a:endParaRPr lang="pt-PT" dirty="0"/>
          </a:p>
        </p:txBody>
      </p:sp>
      <p:sp>
        <p:nvSpPr>
          <p:cNvPr id="112" name="Marcador de Posição do Texto 10">
            <a:extLst>
              <a:ext uri="{FF2B5EF4-FFF2-40B4-BE49-F238E27FC236}">
                <a16:creationId xmlns:a16="http://schemas.microsoft.com/office/drawing/2014/main" id="{F56276CA-4410-B35E-EC24-BEEF33C5FC77}"/>
              </a:ext>
            </a:extLst>
          </p:cNvPr>
          <p:cNvSpPr>
            <a:spLocks noGrp="1"/>
          </p:cNvSpPr>
          <p:nvPr userDrawn="1">
            <p:ph type="body" sz="quarter" idx="67" hasCustomPrompt="1"/>
          </p:nvPr>
        </p:nvSpPr>
        <p:spPr>
          <a:xfrm>
            <a:off x="3777385" y="3329964"/>
            <a:ext cx="1569315" cy="422173"/>
          </a:xfrm>
        </p:spPr>
        <p:txBody>
          <a:bodyPr anchor="ctr">
            <a:noAutofit/>
          </a:bodyPr>
          <a:lstStyle>
            <a:lvl1pPr algn="ctr">
              <a:spcBef>
                <a:spcPts val="600"/>
              </a:spcBef>
              <a:defRPr sz="1000">
                <a:solidFill>
                  <a:schemeClr val="bg1"/>
                </a:solidFill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es-ES" dirty="0"/>
              <a:t>Haz </a:t>
            </a:r>
            <a:r>
              <a:rPr lang="es-ES" dirty="0" err="1"/>
              <a:t>click</a:t>
            </a:r>
            <a:r>
              <a:rPr lang="es-ES" dirty="0"/>
              <a:t> para editar los estilos del texto del modelo global</a:t>
            </a:r>
            <a:endParaRPr lang="pt-PT" dirty="0"/>
          </a:p>
        </p:txBody>
      </p:sp>
      <p:sp>
        <p:nvSpPr>
          <p:cNvPr id="113" name="Marcador de Posição do Texto 10">
            <a:extLst>
              <a:ext uri="{FF2B5EF4-FFF2-40B4-BE49-F238E27FC236}">
                <a16:creationId xmlns:a16="http://schemas.microsoft.com/office/drawing/2014/main" id="{079A8F22-7F04-3E76-2CCA-3D7C56987464}"/>
              </a:ext>
            </a:extLst>
          </p:cNvPr>
          <p:cNvSpPr>
            <a:spLocks noGrp="1"/>
          </p:cNvSpPr>
          <p:nvPr userDrawn="1">
            <p:ph type="body" sz="quarter" idx="68" hasCustomPrompt="1"/>
          </p:nvPr>
        </p:nvSpPr>
        <p:spPr>
          <a:xfrm>
            <a:off x="5583096" y="3329964"/>
            <a:ext cx="1569315" cy="422173"/>
          </a:xfrm>
        </p:spPr>
        <p:txBody>
          <a:bodyPr anchor="ctr">
            <a:noAutofit/>
          </a:bodyPr>
          <a:lstStyle>
            <a:lvl1pPr algn="ctr">
              <a:spcBef>
                <a:spcPts val="600"/>
              </a:spcBef>
              <a:defRPr sz="1000">
                <a:solidFill>
                  <a:schemeClr val="bg1"/>
                </a:solidFill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es-ES" dirty="0"/>
              <a:t>Haz </a:t>
            </a:r>
            <a:r>
              <a:rPr lang="es-ES" dirty="0" err="1"/>
              <a:t>click</a:t>
            </a:r>
            <a:r>
              <a:rPr lang="es-ES" dirty="0"/>
              <a:t> para editar los estilos del texto del modelo global</a:t>
            </a:r>
            <a:endParaRPr lang="pt-PT" dirty="0"/>
          </a:p>
        </p:txBody>
      </p:sp>
      <p:sp>
        <p:nvSpPr>
          <p:cNvPr id="114" name="Marcador de Posição do Texto 10">
            <a:extLst>
              <a:ext uri="{FF2B5EF4-FFF2-40B4-BE49-F238E27FC236}">
                <a16:creationId xmlns:a16="http://schemas.microsoft.com/office/drawing/2014/main" id="{2E3DEA50-0F74-47B7-7ECA-7A8B6ACC64DA}"/>
              </a:ext>
            </a:extLst>
          </p:cNvPr>
          <p:cNvSpPr>
            <a:spLocks noGrp="1"/>
          </p:cNvSpPr>
          <p:nvPr userDrawn="1">
            <p:ph type="body" sz="quarter" idx="69" hasCustomPrompt="1"/>
          </p:nvPr>
        </p:nvSpPr>
        <p:spPr>
          <a:xfrm>
            <a:off x="7388807" y="3329964"/>
            <a:ext cx="1569315" cy="422173"/>
          </a:xfrm>
        </p:spPr>
        <p:txBody>
          <a:bodyPr anchor="ctr">
            <a:noAutofit/>
          </a:bodyPr>
          <a:lstStyle>
            <a:lvl1pPr algn="ctr">
              <a:spcBef>
                <a:spcPts val="600"/>
              </a:spcBef>
              <a:defRPr sz="1000">
                <a:solidFill>
                  <a:schemeClr val="bg1"/>
                </a:solidFill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es-ES" dirty="0"/>
              <a:t>Haz </a:t>
            </a:r>
            <a:r>
              <a:rPr lang="es-ES" dirty="0" err="1"/>
              <a:t>click</a:t>
            </a:r>
            <a:r>
              <a:rPr lang="es-ES" dirty="0"/>
              <a:t> para editar los estilos del texto del modelo global</a:t>
            </a:r>
            <a:endParaRPr lang="pt-PT" dirty="0"/>
          </a:p>
        </p:txBody>
      </p:sp>
      <p:sp>
        <p:nvSpPr>
          <p:cNvPr id="115" name="Marcador de Posição do Texto 10">
            <a:extLst>
              <a:ext uri="{FF2B5EF4-FFF2-40B4-BE49-F238E27FC236}">
                <a16:creationId xmlns:a16="http://schemas.microsoft.com/office/drawing/2014/main" id="{0DBE3145-930C-5069-213B-B532D30F437C}"/>
              </a:ext>
            </a:extLst>
          </p:cNvPr>
          <p:cNvSpPr>
            <a:spLocks noGrp="1"/>
          </p:cNvSpPr>
          <p:nvPr userDrawn="1">
            <p:ph type="body" sz="quarter" idx="70" hasCustomPrompt="1"/>
          </p:nvPr>
        </p:nvSpPr>
        <p:spPr>
          <a:xfrm>
            <a:off x="9194518" y="3329964"/>
            <a:ext cx="1569315" cy="422173"/>
          </a:xfrm>
        </p:spPr>
        <p:txBody>
          <a:bodyPr anchor="ctr">
            <a:noAutofit/>
          </a:bodyPr>
          <a:lstStyle>
            <a:lvl1pPr algn="ctr">
              <a:spcBef>
                <a:spcPts val="600"/>
              </a:spcBef>
              <a:defRPr sz="1000">
                <a:solidFill>
                  <a:schemeClr val="bg1"/>
                </a:solidFill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es-ES" dirty="0"/>
              <a:t>Haz </a:t>
            </a:r>
            <a:r>
              <a:rPr lang="es-ES" dirty="0" err="1"/>
              <a:t>click</a:t>
            </a:r>
            <a:r>
              <a:rPr lang="es-ES" dirty="0"/>
              <a:t> para editar los estilos del texto del modelo global</a:t>
            </a:r>
            <a:endParaRPr lang="pt-PT" dirty="0"/>
          </a:p>
        </p:txBody>
      </p:sp>
      <p:sp>
        <p:nvSpPr>
          <p:cNvPr id="116" name="Marcador de Posição do Texto 10">
            <a:extLst>
              <a:ext uri="{FF2B5EF4-FFF2-40B4-BE49-F238E27FC236}">
                <a16:creationId xmlns:a16="http://schemas.microsoft.com/office/drawing/2014/main" id="{637DEF61-5D3A-696B-9A45-F15580CF9F56}"/>
              </a:ext>
            </a:extLst>
          </p:cNvPr>
          <p:cNvSpPr>
            <a:spLocks noGrp="1"/>
          </p:cNvSpPr>
          <p:nvPr userDrawn="1">
            <p:ph type="body" sz="quarter" idx="71" hasCustomPrompt="1"/>
          </p:nvPr>
        </p:nvSpPr>
        <p:spPr>
          <a:xfrm>
            <a:off x="3777385" y="3994011"/>
            <a:ext cx="1569315" cy="422173"/>
          </a:xfrm>
        </p:spPr>
        <p:txBody>
          <a:bodyPr anchor="ctr">
            <a:noAutofit/>
          </a:bodyPr>
          <a:lstStyle>
            <a:lvl1pPr algn="ctr">
              <a:spcBef>
                <a:spcPts val="600"/>
              </a:spcBef>
              <a:defRPr sz="1000">
                <a:solidFill>
                  <a:schemeClr val="tx2"/>
                </a:solidFill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es-ES" dirty="0"/>
              <a:t>Haz </a:t>
            </a:r>
            <a:r>
              <a:rPr lang="es-ES" dirty="0" err="1"/>
              <a:t>click</a:t>
            </a:r>
            <a:r>
              <a:rPr lang="es-ES" dirty="0"/>
              <a:t> para editar los estilos del texto del modelo global</a:t>
            </a:r>
            <a:endParaRPr lang="pt-PT" dirty="0"/>
          </a:p>
        </p:txBody>
      </p:sp>
      <p:sp>
        <p:nvSpPr>
          <p:cNvPr id="117" name="Marcador de Posição do Texto 10">
            <a:extLst>
              <a:ext uri="{FF2B5EF4-FFF2-40B4-BE49-F238E27FC236}">
                <a16:creationId xmlns:a16="http://schemas.microsoft.com/office/drawing/2014/main" id="{21C3B2F4-1FDC-FC3F-78F2-B22DD92EA95B}"/>
              </a:ext>
            </a:extLst>
          </p:cNvPr>
          <p:cNvSpPr>
            <a:spLocks noGrp="1"/>
          </p:cNvSpPr>
          <p:nvPr userDrawn="1">
            <p:ph type="body" sz="quarter" idx="72" hasCustomPrompt="1"/>
          </p:nvPr>
        </p:nvSpPr>
        <p:spPr>
          <a:xfrm>
            <a:off x="5583096" y="3994011"/>
            <a:ext cx="1569315" cy="422173"/>
          </a:xfrm>
        </p:spPr>
        <p:txBody>
          <a:bodyPr anchor="ctr">
            <a:noAutofit/>
          </a:bodyPr>
          <a:lstStyle>
            <a:lvl1pPr algn="ctr">
              <a:spcBef>
                <a:spcPts val="600"/>
              </a:spcBef>
              <a:defRPr sz="1000">
                <a:solidFill>
                  <a:schemeClr val="tx2"/>
                </a:solidFill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es-ES" dirty="0"/>
              <a:t>Haz </a:t>
            </a:r>
            <a:r>
              <a:rPr lang="es-ES" dirty="0" err="1"/>
              <a:t>click</a:t>
            </a:r>
            <a:r>
              <a:rPr lang="es-ES" dirty="0"/>
              <a:t> para editar los estilos del texto del modelo global</a:t>
            </a:r>
            <a:endParaRPr lang="pt-PT" dirty="0"/>
          </a:p>
        </p:txBody>
      </p:sp>
      <p:sp>
        <p:nvSpPr>
          <p:cNvPr id="118" name="Marcador de Posição do Texto 10">
            <a:extLst>
              <a:ext uri="{FF2B5EF4-FFF2-40B4-BE49-F238E27FC236}">
                <a16:creationId xmlns:a16="http://schemas.microsoft.com/office/drawing/2014/main" id="{1E85CE94-5015-B770-49EC-64010519C73E}"/>
              </a:ext>
            </a:extLst>
          </p:cNvPr>
          <p:cNvSpPr>
            <a:spLocks noGrp="1"/>
          </p:cNvSpPr>
          <p:nvPr userDrawn="1">
            <p:ph type="body" sz="quarter" idx="73" hasCustomPrompt="1"/>
          </p:nvPr>
        </p:nvSpPr>
        <p:spPr>
          <a:xfrm>
            <a:off x="7388807" y="3994011"/>
            <a:ext cx="1569315" cy="422173"/>
          </a:xfrm>
        </p:spPr>
        <p:txBody>
          <a:bodyPr anchor="ctr">
            <a:noAutofit/>
          </a:bodyPr>
          <a:lstStyle>
            <a:lvl1pPr algn="ctr">
              <a:spcBef>
                <a:spcPts val="600"/>
              </a:spcBef>
              <a:defRPr sz="1000">
                <a:solidFill>
                  <a:schemeClr val="tx2"/>
                </a:solidFill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es-ES" dirty="0"/>
              <a:t>Haz </a:t>
            </a:r>
            <a:r>
              <a:rPr lang="es-ES" dirty="0" err="1"/>
              <a:t>click</a:t>
            </a:r>
            <a:r>
              <a:rPr lang="es-ES" dirty="0"/>
              <a:t> para editar los estilos del texto del modelo global</a:t>
            </a:r>
            <a:endParaRPr lang="pt-PT" dirty="0"/>
          </a:p>
        </p:txBody>
      </p:sp>
      <p:sp>
        <p:nvSpPr>
          <p:cNvPr id="119" name="Marcador de Posição do Texto 10">
            <a:extLst>
              <a:ext uri="{FF2B5EF4-FFF2-40B4-BE49-F238E27FC236}">
                <a16:creationId xmlns:a16="http://schemas.microsoft.com/office/drawing/2014/main" id="{40A11415-0AC9-1FEE-00FB-D10907EFD80D}"/>
              </a:ext>
            </a:extLst>
          </p:cNvPr>
          <p:cNvSpPr>
            <a:spLocks noGrp="1"/>
          </p:cNvSpPr>
          <p:nvPr userDrawn="1">
            <p:ph type="body" sz="quarter" idx="74" hasCustomPrompt="1"/>
          </p:nvPr>
        </p:nvSpPr>
        <p:spPr>
          <a:xfrm>
            <a:off x="9194518" y="3994011"/>
            <a:ext cx="1569315" cy="422173"/>
          </a:xfrm>
        </p:spPr>
        <p:txBody>
          <a:bodyPr anchor="ctr">
            <a:noAutofit/>
          </a:bodyPr>
          <a:lstStyle>
            <a:lvl1pPr algn="ctr">
              <a:spcBef>
                <a:spcPts val="600"/>
              </a:spcBef>
              <a:defRPr sz="1000">
                <a:solidFill>
                  <a:schemeClr val="tx2"/>
                </a:solidFill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es-ES" dirty="0"/>
              <a:t>Haz </a:t>
            </a:r>
            <a:r>
              <a:rPr lang="es-ES" dirty="0" err="1"/>
              <a:t>click</a:t>
            </a:r>
            <a:r>
              <a:rPr lang="es-ES" dirty="0"/>
              <a:t> para editar los estilos del texto del modelo global</a:t>
            </a:r>
            <a:endParaRPr lang="pt-PT" dirty="0"/>
          </a:p>
        </p:txBody>
      </p:sp>
      <p:sp>
        <p:nvSpPr>
          <p:cNvPr id="120" name="Marcador de Posição do Texto 10">
            <a:extLst>
              <a:ext uri="{FF2B5EF4-FFF2-40B4-BE49-F238E27FC236}">
                <a16:creationId xmlns:a16="http://schemas.microsoft.com/office/drawing/2014/main" id="{80E0A391-A1F5-7A76-ACA9-30B053B0758E}"/>
              </a:ext>
            </a:extLst>
          </p:cNvPr>
          <p:cNvSpPr>
            <a:spLocks noGrp="1"/>
          </p:cNvSpPr>
          <p:nvPr userDrawn="1">
            <p:ph type="body" sz="quarter" idx="75" hasCustomPrompt="1"/>
          </p:nvPr>
        </p:nvSpPr>
        <p:spPr>
          <a:xfrm>
            <a:off x="3777385" y="4598457"/>
            <a:ext cx="1569315" cy="422173"/>
          </a:xfrm>
        </p:spPr>
        <p:txBody>
          <a:bodyPr anchor="ctr">
            <a:noAutofit/>
          </a:bodyPr>
          <a:lstStyle>
            <a:lvl1pPr algn="ctr">
              <a:spcBef>
                <a:spcPts val="600"/>
              </a:spcBef>
              <a:defRPr sz="1000">
                <a:solidFill>
                  <a:schemeClr val="bg1"/>
                </a:solidFill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es-ES" dirty="0"/>
              <a:t>Haz </a:t>
            </a:r>
            <a:r>
              <a:rPr lang="es-ES" dirty="0" err="1"/>
              <a:t>click</a:t>
            </a:r>
            <a:r>
              <a:rPr lang="es-ES" dirty="0"/>
              <a:t> para editar los estilos del texto del modelo global</a:t>
            </a:r>
            <a:endParaRPr lang="pt-PT" dirty="0"/>
          </a:p>
        </p:txBody>
      </p:sp>
      <p:sp>
        <p:nvSpPr>
          <p:cNvPr id="121" name="Marcador de Posição do Texto 10">
            <a:extLst>
              <a:ext uri="{FF2B5EF4-FFF2-40B4-BE49-F238E27FC236}">
                <a16:creationId xmlns:a16="http://schemas.microsoft.com/office/drawing/2014/main" id="{F438E6FC-3A29-6321-AB75-CF70530C4F65}"/>
              </a:ext>
            </a:extLst>
          </p:cNvPr>
          <p:cNvSpPr>
            <a:spLocks noGrp="1"/>
          </p:cNvSpPr>
          <p:nvPr userDrawn="1">
            <p:ph type="body" sz="quarter" idx="76" hasCustomPrompt="1"/>
          </p:nvPr>
        </p:nvSpPr>
        <p:spPr>
          <a:xfrm>
            <a:off x="5583096" y="4598457"/>
            <a:ext cx="1569315" cy="422173"/>
          </a:xfrm>
        </p:spPr>
        <p:txBody>
          <a:bodyPr anchor="ctr">
            <a:noAutofit/>
          </a:bodyPr>
          <a:lstStyle>
            <a:lvl1pPr algn="ctr">
              <a:spcBef>
                <a:spcPts val="600"/>
              </a:spcBef>
              <a:defRPr sz="1000">
                <a:solidFill>
                  <a:schemeClr val="bg1"/>
                </a:solidFill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es-ES" dirty="0"/>
              <a:t>Haz </a:t>
            </a:r>
            <a:r>
              <a:rPr lang="es-ES" dirty="0" err="1"/>
              <a:t>click</a:t>
            </a:r>
            <a:r>
              <a:rPr lang="es-ES" dirty="0"/>
              <a:t> para editar los estilos del texto del modelo global</a:t>
            </a:r>
            <a:endParaRPr lang="pt-PT" dirty="0"/>
          </a:p>
        </p:txBody>
      </p:sp>
      <p:sp>
        <p:nvSpPr>
          <p:cNvPr id="122" name="Marcador de Posição do Texto 10">
            <a:extLst>
              <a:ext uri="{FF2B5EF4-FFF2-40B4-BE49-F238E27FC236}">
                <a16:creationId xmlns:a16="http://schemas.microsoft.com/office/drawing/2014/main" id="{19F363FA-63FA-0D56-03FA-C9CF30715B71}"/>
              </a:ext>
            </a:extLst>
          </p:cNvPr>
          <p:cNvSpPr>
            <a:spLocks noGrp="1"/>
          </p:cNvSpPr>
          <p:nvPr userDrawn="1">
            <p:ph type="body" sz="quarter" idx="77" hasCustomPrompt="1"/>
          </p:nvPr>
        </p:nvSpPr>
        <p:spPr>
          <a:xfrm>
            <a:off x="7388807" y="4598457"/>
            <a:ext cx="1569315" cy="422173"/>
          </a:xfrm>
        </p:spPr>
        <p:txBody>
          <a:bodyPr anchor="ctr">
            <a:noAutofit/>
          </a:bodyPr>
          <a:lstStyle>
            <a:lvl1pPr algn="ctr">
              <a:spcBef>
                <a:spcPts val="600"/>
              </a:spcBef>
              <a:defRPr sz="1000">
                <a:solidFill>
                  <a:schemeClr val="bg1"/>
                </a:solidFill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es-ES" dirty="0"/>
              <a:t>Haz </a:t>
            </a:r>
            <a:r>
              <a:rPr lang="es-ES" dirty="0" err="1"/>
              <a:t>click</a:t>
            </a:r>
            <a:r>
              <a:rPr lang="es-ES" dirty="0"/>
              <a:t> para editar los estilos del texto del modelo global</a:t>
            </a:r>
            <a:endParaRPr lang="pt-PT" dirty="0"/>
          </a:p>
        </p:txBody>
      </p:sp>
      <p:sp>
        <p:nvSpPr>
          <p:cNvPr id="123" name="Marcador de Posição do Texto 10">
            <a:extLst>
              <a:ext uri="{FF2B5EF4-FFF2-40B4-BE49-F238E27FC236}">
                <a16:creationId xmlns:a16="http://schemas.microsoft.com/office/drawing/2014/main" id="{ADA507E9-451E-C823-7523-D8DB5EDBC3C6}"/>
              </a:ext>
            </a:extLst>
          </p:cNvPr>
          <p:cNvSpPr>
            <a:spLocks noGrp="1"/>
          </p:cNvSpPr>
          <p:nvPr userDrawn="1">
            <p:ph type="body" sz="quarter" idx="78" hasCustomPrompt="1"/>
          </p:nvPr>
        </p:nvSpPr>
        <p:spPr>
          <a:xfrm>
            <a:off x="9194518" y="4598457"/>
            <a:ext cx="1569315" cy="422173"/>
          </a:xfrm>
        </p:spPr>
        <p:txBody>
          <a:bodyPr anchor="ctr">
            <a:noAutofit/>
          </a:bodyPr>
          <a:lstStyle>
            <a:lvl1pPr algn="ctr">
              <a:spcBef>
                <a:spcPts val="600"/>
              </a:spcBef>
              <a:defRPr sz="1000">
                <a:solidFill>
                  <a:schemeClr val="bg1"/>
                </a:solidFill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es-ES" dirty="0"/>
              <a:t>Haz </a:t>
            </a:r>
            <a:r>
              <a:rPr lang="es-ES" dirty="0" err="1"/>
              <a:t>click</a:t>
            </a:r>
            <a:r>
              <a:rPr lang="es-ES" dirty="0"/>
              <a:t> para editar los estilos del texto del modelo global</a:t>
            </a:r>
            <a:endParaRPr lang="pt-PT" dirty="0"/>
          </a:p>
        </p:txBody>
      </p:sp>
      <p:sp>
        <p:nvSpPr>
          <p:cNvPr id="124" name="Marcador de Posição do Texto 10">
            <a:extLst>
              <a:ext uri="{FF2B5EF4-FFF2-40B4-BE49-F238E27FC236}">
                <a16:creationId xmlns:a16="http://schemas.microsoft.com/office/drawing/2014/main" id="{F9205741-C163-FCA8-F790-5CE12836B9B4}"/>
              </a:ext>
            </a:extLst>
          </p:cNvPr>
          <p:cNvSpPr>
            <a:spLocks noGrp="1"/>
          </p:cNvSpPr>
          <p:nvPr userDrawn="1">
            <p:ph type="body" sz="quarter" idx="79" hasCustomPrompt="1"/>
          </p:nvPr>
        </p:nvSpPr>
        <p:spPr>
          <a:xfrm>
            <a:off x="3777385" y="5202903"/>
            <a:ext cx="1569315" cy="422173"/>
          </a:xfrm>
        </p:spPr>
        <p:txBody>
          <a:bodyPr anchor="ctr">
            <a:noAutofit/>
          </a:bodyPr>
          <a:lstStyle>
            <a:lvl1pPr algn="ctr">
              <a:spcBef>
                <a:spcPts val="600"/>
              </a:spcBef>
              <a:defRPr sz="1000">
                <a:solidFill>
                  <a:schemeClr val="tx2"/>
                </a:solidFill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es-ES" dirty="0"/>
              <a:t>Haz </a:t>
            </a:r>
            <a:r>
              <a:rPr lang="es-ES" dirty="0" err="1"/>
              <a:t>click</a:t>
            </a:r>
            <a:r>
              <a:rPr lang="es-ES" dirty="0"/>
              <a:t> para editar los estilos del texto del modelo global</a:t>
            </a:r>
            <a:endParaRPr lang="pt-PT" dirty="0"/>
          </a:p>
        </p:txBody>
      </p:sp>
      <p:sp>
        <p:nvSpPr>
          <p:cNvPr id="125" name="Marcador de Posição do Texto 10">
            <a:extLst>
              <a:ext uri="{FF2B5EF4-FFF2-40B4-BE49-F238E27FC236}">
                <a16:creationId xmlns:a16="http://schemas.microsoft.com/office/drawing/2014/main" id="{94C1F4E6-3EBC-4685-46CC-70917906B608}"/>
              </a:ext>
            </a:extLst>
          </p:cNvPr>
          <p:cNvSpPr>
            <a:spLocks noGrp="1"/>
          </p:cNvSpPr>
          <p:nvPr userDrawn="1">
            <p:ph type="body" sz="quarter" idx="80" hasCustomPrompt="1"/>
          </p:nvPr>
        </p:nvSpPr>
        <p:spPr>
          <a:xfrm>
            <a:off x="5583096" y="5202903"/>
            <a:ext cx="1569315" cy="422173"/>
          </a:xfrm>
        </p:spPr>
        <p:txBody>
          <a:bodyPr anchor="ctr">
            <a:noAutofit/>
          </a:bodyPr>
          <a:lstStyle>
            <a:lvl1pPr algn="ctr">
              <a:spcBef>
                <a:spcPts val="600"/>
              </a:spcBef>
              <a:defRPr sz="1000">
                <a:solidFill>
                  <a:schemeClr val="tx2"/>
                </a:solidFill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es-ES" dirty="0"/>
              <a:t>Haz </a:t>
            </a:r>
            <a:r>
              <a:rPr lang="es-ES" dirty="0" err="1"/>
              <a:t>click</a:t>
            </a:r>
            <a:r>
              <a:rPr lang="es-ES" dirty="0"/>
              <a:t> para editar los estilos del texto del modelo global</a:t>
            </a:r>
            <a:endParaRPr lang="pt-PT" dirty="0"/>
          </a:p>
        </p:txBody>
      </p:sp>
      <p:sp>
        <p:nvSpPr>
          <p:cNvPr id="126" name="Marcador de Posição do Texto 10">
            <a:extLst>
              <a:ext uri="{FF2B5EF4-FFF2-40B4-BE49-F238E27FC236}">
                <a16:creationId xmlns:a16="http://schemas.microsoft.com/office/drawing/2014/main" id="{6705BE38-11CA-BEC7-AC45-56119F2C8FD2}"/>
              </a:ext>
            </a:extLst>
          </p:cNvPr>
          <p:cNvSpPr>
            <a:spLocks noGrp="1"/>
          </p:cNvSpPr>
          <p:nvPr userDrawn="1">
            <p:ph type="body" sz="quarter" idx="81" hasCustomPrompt="1"/>
          </p:nvPr>
        </p:nvSpPr>
        <p:spPr>
          <a:xfrm>
            <a:off x="7388807" y="5202903"/>
            <a:ext cx="1569315" cy="422173"/>
          </a:xfrm>
        </p:spPr>
        <p:txBody>
          <a:bodyPr anchor="ctr">
            <a:noAutofit/>
          </a:bodyPr>
          <a:lstStyle>
            <a:lvl1pPr algn="ctr">
              <a:spcBef>
                <a:spcPts val="600"/>
              </a:spcBef>
              <a:defRPr sz="1000">
                <a:solidFill>
                  <a:schemeClr val="tx2"/>
                </a:solidFill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es-ES" dirty="0"/>
              <a:t>Haz </a:t>
            </a:r>
            <a:r>
              <a:rPr lang="es-ES" dirty="0" err="1"/>
              <a:t>click</a:t>
            </a:r>
            <a:r>
              <a:rPr lang="es-ES" dirty="0"/>
              <a:t> para editar los estilos del texto del modelo global</a:t>
            </a:r>
            <a:endParaRPr lang="pt-PT" dirty="0"/>
          </a:p>
        </p:txBody>
      </p:sp>
      <p:sp>
        <p:nvSpPr>
          <p:cNvPr id="127" name="Marcador de Posição do Texto 10">
            <a:extLst>
              <a:ext uri="{FF2B5EF4-FFF2-40B4-BE49-F238E27FC236}">
                <a16:creationId xmlns:a16="http://schemas.microsoft.com/office/drawing/2014/main" id="{FF6311DA-395E-0CE8-556B-1299EFC4BE14}"/>
              </a:ext>
            </a:extLst>
          </p:cNvPr>
          <p:cNvSpPr>
            <a:spLocks noGrp="1"/>
          </p:cNvSpPr>
          <p:nvPr userDrawn="1">
            <p:ph type="body" sz="quarter" idx="82" hasCustomPrompt="1"/>
          </p:nvPr>
        </p:nvSpPr>
        <p:spPr>
          <a:xfrm>
            <a:off x="9194518" y="5202903"/>
            <a:ext cx="1569315" cy="422173"/>
          </a:xfrm>
        </p:spPr>
        <p:txBody>
          <a:bodyPr anchor="ctr">
            <a:noAutofit/>
          </a:bodyPr>
          <a:lstStyle>
            <a:lvl1pPr algn="ctr">
              <a:spcBef>
                <a:spcPts val="600"/>
              </a:spcBef>
              <a:defRPr sz="1000">
                <a:solidFill>
                  <a:schemeClr val="tx2"/>
                </a:solidFill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es-ES" dirty="0"/>
              <a:t>Haz </a:t>
            </a:r>
            <a:r>
              <a:rPr lang="es-ES" dirty="0" err="1"/>
              <a:t>click</a:t>
            </a:r>
            <a:r>
              <a:rPr lang="es-ES" dirty="0"/>
              <a:t> para editar los estilos del texto del modelo global</a:t>
            </a:r>
            <a:endParaRPr lang="pt-PT" dirty="0"/>
          </a:p>
        </p:txBody>
      </p:sp>
      <p:sp>
        <p:nvSpPr>
          <p:cNvPr id="128" name="Marcador de Posição do Texto 10">
            <a:extLst>
              <a:ext uri="{FF2B5EF4-FFF2-40B4-BE49-F238E27FC236}">
                <a16:creationId xmlns:a16="http://schemas.microsoft.com/office/drawing/2014/main" id="{4E6EFBF5-2E6D-FBEF-8592-419C9626377E}"/>
              </a:ext>
            </a:extLst>
          </p:cNvPr>
          <p:cNvSpPr>
            <a:spLocks noGrp="1"/>
          </p:cNvSpPr>
          <p:nvPr userDrawn="1">
            <p:ph type="body" sz="quarter" idx="83" hasCustomPrompt="1"/>
          </p:nvPr>
        </p:nvSpPr>
        <p:spPr>
          <a:xfrm>
            <a:off x="3777385" y="5793142"/>
            <a:ext cx="1569315" cy="422173"/>
          </a:xfrm>
        </p:spPr>
        <p:txBody>
          <a:bodyPr anchor="ctr">
            <a:noAutofit/>
          </a:bodyPr>
          <a:lstStyle>
            <a:lvl1pPr algn="ctr">
              <a:spcBef>
                <a:spcPts val="600"/>
              </a:spcBef>
              <a:defRPr sz="1000">
                <a:solidFill>
                  <a:schemeClr val="bg1"/>
                </a:solidFill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es-ES" dirty="0"/>
              <a:t>Haz </a:t>
            </a:r>
            <a:r>
              <a:rPr lang="es-ES" dirty="0" err="1"/>
              <a:t>click</a:t>
            </a:r>
            <a:r>
              <a:rPr lang="es-ES" dirty="0"/>
              <a:t> para editar los estilos del texto del modelo global</a:t>
            </a:r>
            <a:endParaRPr lang="pt-PT" dirty="0"/>
          </a:p>
        </p:txBody>
      </p:sp>
      <p:sp>
        <p:nvSpPr>
          <p:cNvPr id="129" name="Marcador de Posição do Texto 10">
            <a:extLst>
              <a:ext uri="{FF2B5EF4-FFF2-40B4-BE49-F238E27FC236}">
                <a16:creationId xmlns:a16="http://schemas.microsoft.com/office/drawing/2014/main" id="{40523819-5A23-E349-5A01-0A7CA44F9221}"/>
              </a:ext>
            </a:extLst>
          </p:cNvPr>
          <p:cNvSpPr>
            <a:spLocks noGrp="1"/>
          </p:cNvSpPr>
          <p:nvPr userDrawn="1">
            <p:ph type="body" sz="quarter" idx="84" hasCustomPrompt="1"/>
          </p:nvPr>
        </p:nvSpPr>
        <p:spPr>
          <a:xfrm>
            <a:off x="5583096" y="5793142"/>
            <a:ext cx="1569315" cy="422173"/>
          </a:xfrm>
        </p:spPr>
        <p:txBody>
          <a:bodyPr anchor="ctr">
            <a:noAutofit/>
          </a:bodyPr>
          <a:lstStyle>
            <a:lvl1pPr algn="ctr">
              <a:spcBef>
                <a:spcPts val="600"/>
              </a:spcBef>
              <a:defRPr sz="1000">
                <a:solidFill>
                  <a:schemeClr val="bg1"/>
                </a:solidFill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es-ES" dirty="0"/>
              <a:t>Haz </a:t>
            </a:r>
            <a:r>
              <a:rPr lang="es-ES" dirty="0" err="1"/>
              <a:t>click</a:t>
            </a:r>
            <a:r>
              <a:rPr lang="es-ES" dirty="0"/>
              <a:t> para editar los estilos del texto del modelo global</a:t>
            </a:r>
            <a:endParaRPr lang="pt-PT" dirty="0"/>
          </a:p>
        </p:txBody>
      </p:sp>
      <p:sp>
        <p:nvSpPr>
          <p:cNvPr id="130" name="Marcador de Posição do Texto 10">
            <a:extLst>
              <a:ext uri="{FF2B5EF4-FFF2-40B4-BE49-F238E27FC236}">
                <a16:creationId xmlns:a16="http://schemas.microsoft.com/office/drawing/2014/main" id="{F729589A-5896-F433-0476-A27034509937}"/>
              </a:ext>
            </a:extLst>
          </p:cNvPr>
          <p:cNvSpPr>
            <a:spLocks noGrp="1"/>
          </p:cNvSpPr>
          <p:nvPr userDrawn="1">
            <p:ph type="body" sz="quarter" idx="85" hasCustomPrompt="1"/>
          </p:nvPr>
        </p:nvSpPr>
        <p:spPr>
          <a:xfrm>
            <a:off x="7388807" y="5793142"/>
            <a:ext cx="1569315" cy="422173"/>
          </a:xfrm>
        </p:spPr>
        <p:txBody>
          <a:bodyPr anchor="ctr">
            <a:noAutofit/>
          </a:bodyPr>
          <a:lstStyle>
            <a:lvl1pPr algn="ctr">
              <a:spcBef>
                <a:spcPts val="600"/>
              </a:spcBef>
              <a:defRPr sz="1000">
                <a:solidFill>
                  <a:schemeClr val="bg1"/>
                </a:solidFill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es-ES" dirty="0"/>
              <a:t>Haz </a:t>
            </a:r>
            <a:r>
              <a:rPr lang="es-ES" dirty="0" err="1"/>
              <a:t>click</a:t>
            </a:r>
            <a:r>
              <a:rPr lang="es-ES" dirty="0"/>
              <a:t> para editar los estilos del texto del modelo global</a:t>
            </a:r>
            <a:endParaRPr lang="pt-PT" dirty="0"/>
          </a:p>
        </p:txBody>
      </p:sp>
      <p:sp>
        <p:nvSpPr>
          <p:cNvPr id="131" name="Marcador de Posição do Texto 10">
            <a:extLst>
              <a:ext uri="{FF2B5EF4-FFF2-40B4-BE49-F238E27FC236}">
                <a16:creationId xmlns:a16="http://schemas.microsoft.com/office/drawing/2014/main" id="{4C9FD893-80FC-F0BD-6346-4960F123B91A}"/>
              </a:ext>
            </a:extLst>
          </p:cNvPr>
          <p:cNvSpPr>
            <a:spLocks noGrp="1"/>
          </p:cNvSpPr>
          <p:nvPr userDrawn="1">
            <p:ph type="body" sz="quarter" idx="86" hasCustomPrompt="1"/>
          </p:nvPr>
        </p:nvSpPr>
        <p:spPr>
          <a:xfrm>
            <a:off x="9194518" y="5793142"/>
            <a:ext cx="1569315" cy="422173"/>
          </a:xfrm>
        </p:spPr>
        <p:txBody>
          <a:bodyPr anchor="ctr">
            <a:noAutofit/>
          </a:bodyPr>
          <a:lstStyle>
            <a:lvl1pPr algn="ctr">
              <a:spcBef>
                <a:spcPts val="600"/>
              </a:spcBef>
              <a:defRPr sz="1000">
                <a:solidFill>
                  <a:schemeClr val="bg1"/>
                </a:solidFill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es-ES" dirty="0"/>
              <a:t>Haz </a:t>
            </a:r>
            <a:r>
              <a:rPr lang="es-ES" dirty="0" err="1"/>
              <a:t>click</a:t>
            </a:r>
            <a:r>
              <a:rPr lang="es-ES" dirty="0"/>
              <a:t> para editar los estilos del texto del modelo global</a:t>
            </a:r>
            <a:endParaRPr lang="pt-PT" dirty="0"/>
          </a:p>
        </p:txBody>
      </p:sp>
      <p:sp>
        <p:nvSpPr>
          <p:cNvPr id="132" name="Marcador de Posição do Texto 34">
            <a:extLst>
              <a:ext uri="{FF2B5EF4-FFF2-40B4-BE49-F238E27FC236}">
                <a16:creationId xmlns:a16="http://schemas.microsoft.com/office/drawing/2014/main" id="{58C762A2-D0EF-BC92-2177-DA2CD6F76253}"/>
              </a:ext>
            </a:extLst>
          </p:cNvPr>
          <p:cNvSpPr>
            <a:spLocks noGrp="1"/>
          </p:cNvSpPr>
          <p:nvPr userDrawn="1">
            <p:ph type="body" sz="quarter" idx="87" hasCustomPrompt="1"/>
          </p:nvPr>
        </p:nvSpPr>
        <p:spPr>
          <a:xfrm rot="16200000">
            <a:off x="-256599" y="3782925"/>
            <a:ext cx="1960900" cy="422172"/>
          </a:xfrm>
        </p:spPr>
        <p:txBody>
          <a:bodyPr anchor="ctr">
            <a:noAutofit/>
          </a:bodyPr>
          <a:lstStyle>
            <a:lvl1pPr algn="ctr">
              <a:defRPr sz="1200" cap="all" baseline="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pt-PT" dirty="0"/>
              <a:t>Insertar texto destacado</a:t>
            </a:r>
          </a:p>
        </p:txBody>
      </p:sp>
      <p:sp>
        <p:nvSpPr>
          <p:cNvPr id="133" name="Marcador de Posição do Texto 34">
            <a:extLst>
              <a:ext uri="{FF2B5EF4-FFF2-40B4-BE49-F238E27FC236}">
                <a16:creationId xmlns:a16="http://schemas.microsoft.com/office/drawing/2014/main" id="{82BB9B92-E518-F858-C4E1-9706CAF41A82}"/>
              </a:ext>
            </a:extLst>
          </p:cNvPr>
          <p:cNvSpPr>
            <a:spLocks noGrp="1"/>
          </p:cNvSpPr>
          <p:nvPr userDrawn="1">
            <p:ph type="body" sz="quarter" idx="88" hasCustomPrompt="1"/>
          </p:nvPr>
        </p:nvSpPr>
        <p:spPr>
          <a:xfrm rot="5400000">
            <a:off x="10335300" y="3782925"/>
            <a:ext cx="1960900" cy="422172"/>
          </a:xfrm>
        </p:spPr>
        <p:txBody>
          <a:bodyPr anchor="ctr">
            <a:noAutofit/>
          </a:bodyPr>
          <a:lstStyle>
            <a:lvl1pPr algn="ctr">
              <a:defRPr sz="1200" cap="all" baseline="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pt-PT" dirty="0"/>
              <a:t>Insertar texto destacado</a:t>
            </a:r>
          </a:p>
        </p:txBody>
      </p:sp>
      <p:sp>
        <p:nvSpPr>
          <p:cNvPr id="48" name="Marcador de Posição do Rodapé 4">
            <a:extLst>
              <a:ext uri="{FF2B5EF4-FFF2-40B4-BE49-F238E27FC236}">
                <a16:creationId xmlns:a16="http://schemas.microsoft.com/office/drawing/2014/main" id="{03214B05-68F6-4E1C-8660-AA967CE3AF3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12762" y="6356350"/>
            <a:ext cx="534669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accent2"/>
                </a:solidFill>
              </a:defRPr>
            </a:lvl1pPr>
          </a:lstStyle>
          <a:p>
            <a:r>
              <a:rPr lang="pt-PT"/>
              <a:t>Título de la presentación</a:t>
            </a:r>
            <a:endParaRPr lang="pt-PT" dirty="0"/>
          </a:p>
        </p:txBody>
      </p:sp>
      <p:sp>
        <p:nvSpPr>
          <p:cNvPr id="49" name="Marcador de Posição do Número do Diapositivo 5">
            <a:extLst>
              <a:ext uri="{FF2B5EF4-FFF2-40B4-BE49-F238E27FC236}">
                <a16:creationId xmlns:a16="http://schemas.microsoft.com/office/drawing/2014/main" id="{C6E52A95-55E5-42DF-AA04-E00ABAE4687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936039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accent2"/>
                </a:solidFill>
              </a:defRPr>
            </a:lvl1pPr>
          </a:lstStyle>
          <a:p>
            <a:fld id="{24A347C2-D68E-473A-8C76-1D063E4EB6E0}" type="slidenum">
              <a:rPr lang="es-ES" smtClean="0"/>
              <a:pPr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88860448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5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1719 -0.00023 L -1.25E-6 1.85185E-6 " pathEditMode="relative" rAng="0" ptsTypes="AA">
                                      <p:cBhvr>
                                        <p:cTn id="9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859" y="0"/>
                                    </p:animMotion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25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1719 -0.00023 L -1.25E-6 1.85185E-6 " pathEditMode="relative" rAng="0" ptsTypes="AA">
                                      <p:cBhvr>
                                        <p:cTn id="14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859" y="0"/>
                                    </p:animMotion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9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9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9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10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10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10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10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10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10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10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" dur="500"/>
                                        <p:tgtEl>
                                          <p:spTgt spid="10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1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3" dur="500"/>
                                        <p:tgtEl>
                                          <p:spTgt spid="10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4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500"/>
                                        <p:tgtEl>
                                          <p:spTgt spid="10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7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9" dur="500"/>
                                        <p:tgtEl>
                                          <p:spTgt spid="1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0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2" dur="500"/>
                                        <p:tgtEl>
                                          <p:spTgt spid="1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3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5" dur="500"/>
                                        <p:tgtEl>
                                          <p:spTgt spid="1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6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8" dur="500"/>
                                        <p:tgtEl>
                                          <p:spTgt spid="1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9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1" dur="500"/>
                                        <p:tgtEl>
                                          <p:spTgt spid="11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2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4" dur="500"/>
                                        <p:tgtEl>
                                          <p:spTgt spid="1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5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7" dur="500"/>
                                        <p:tgtEl>
                                          <p:spTgt spid="1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8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7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0" dur="500"/>
                                        <p:tgtEl>
                                          <p:spTgt spid="1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1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3" dur="500"/>
                                        <p:tgtEl>
                                          <p:spTgt spid="1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4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8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6" dur="500"/>
                                        <p:tgtEl>
                                          <p:spTgt spid="1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7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9" dur="500"/>
                                        <p:tgtEl>
                                          <p:spTgt spid="12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0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9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2" dur="500"/>
                                        <p:tgtEl>
                                          <p:spTgt spid="1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3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5" dur="500"/>
                                        <p:tgtEl>
                                          <p:spTgt spid="12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6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9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8" dur="500"/>
                                        <p:tgtEl>
                                          <p:spTgt spid="12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9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0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1" dur="500"/>
                                        <p:tgtEl>
                                          <p:spTgt spid="1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2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0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4" dur="500"/>
                                        <p:tgtEl>
                                          <p:spTgt spid="1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5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0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7" dur="500"/>
                                        <p:tgtEl>
                                          <p:spTgt spid="1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8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0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0" dur="500"/>
                                        <p:tgtEl>
                                          <p:spTgt spid="1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1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3" dur="500"/>
                                        <p:tgtEl>
                                          <p:spTgt spid="12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4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6" dur="500"/>
                                        <p:tgtEl>
                                          <p:spTgt spid="12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7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9" dur="500"/>
                                        <p:tgtEl>
                                          <p:spTgt spid="1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0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2" dur="500"/>
                                        <p:tgtEl>
                                          <p:spTgt spid="13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3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5" dur="500"/>
                                        <p:tgtEl>
                                          <p:spTgt spid="13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6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8" dur="500"/>
                                        <p:tgtEl>
                                          <p:spTgt spid="1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9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1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2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4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5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8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0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1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3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6" grpId="1"/>
      <p:bldP spid="7" grpId="0">
        <p:tmplLst>
          <p:tmpl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250"/>
                        <p:tgtEl>
                          <p:spTgt spid="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7" grpId="1">
        <p:tmplLst>
          <p:tmpl>
            <p:tnLst>
              <p:par>
                <p:cTn presetID="42" presetClass="path" presetSubtype="0" decel="100000" fill="hold" nodeType="withEffect">
                  <p:stCondLst>
                    <p:cond delay="0"/>
                  </p:stCondLst>
                  <p:childTnLst>
                    <p:animMotion origin="layout" path="M -0.01719 -0.00023 L -1.25E-6 1.85185E-6 " pathEditMode="relative" rAng="0" ptsTypes="AA">
                      <p:cBhvr>
                        <p:cTn dur="500" fill="hold"/>
                        <p:tgtEl>
                          <p:spTgt spid="7"/>
                        </p:tgtEl>
                        <p:attrNameLst>
                          <p:attrName>ppt_x</p:attrName>
                          <p:attrName>ppt_y</p:attrName>
                        </p:attrNameLst>
                      </p:cBhvr>
                      <p:rCtr x="859" y="0"/>
                    </p:animMotion>
                  </p:childTnLst>
                </p:cTn>
              </p:par>
            </p:tnLst>
          </p:tmpl>
        </p:tmplLst>
      </p:bldP>
      <p:bldP spid="2" grpId="0" animBg="1"/>
      <p:bldP spid="3" grpId="0" animBg="1"/>
      <p:bldP spid="4" grpId="0" animBg="1"/>
      <p:bldP spid="5" grpId="0" animBg="1"/>
      <p:bldP spid="8" grpId="0" animBg="1"/>
      <p:bldP spid="97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9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98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9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99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9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00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0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0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01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0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0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02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0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0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03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0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0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04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0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0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05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0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0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06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0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0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07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0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0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08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0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0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09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0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0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10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1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11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1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12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1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13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1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14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1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15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1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16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1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17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1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18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1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19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1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20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2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21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2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22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2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23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2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24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2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25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2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26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2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27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2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28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2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29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2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30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3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3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31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3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3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32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3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3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33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3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33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0_Esquema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ítulo 6">
            <a:extLst>
              <a:ext uri="{FF2B5EF4-FFF2-40B4-BE49-F238E27FC236}">
                <a16:creationId xmlns:a16="http://schemas.microsoft.com/office/drawing/2014/main" id="{E7002D42-2C45-ED8F-0EE0-3130CB63DC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3184" y="393484"/>
            <a:ext cx="11081915" cy="712204"/>
          </a:xfrm>
        </p:spPr>
        <p:txBody>
          <a:bodyPr>
            <a:normAutofit/>
          </a:bodyPr>
          <a:lstStyle>
            <a:lvl1pPr>
              <a:defRPr sz="3200"/>
            </a:lvl1pPr>
          </a:lstStyle>
          <a:p>
            <a:r>
              <a:rPr lang="pt-PT" dirty="0"/>
              <a:t>Insertar título de la slide</a:t>
            </a:r>
          </a:p>
        </p:txBody>
      </p:sp>
      <p:sp>
        <p:nvSpPr>
          <p:cNvPr id="7" name="Marcador de Posição do Texto 8">
            <a:extLst>
              <a:ext uri="{FF2B5EF4-FFF2-40B4-BE49-F238E27FC236}">
                <a16:creationId xmlns:a16="http://schemas.microsoft.com/office/drawing/2014/main" id="{CD651F1A-4C76-C5E8-56DE-E8B468BC431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11932" y="976901"/>
            <a:ext cx="11082747" cy="355243"/>
          </a:xfrm>
        </p:spPr>
        <p:txBody>
          <a:bodyPr>
            <a:normAutofit/>
          </a:bodyPr>
          <a:lstStyle>
            <a:lvl1pPr>
              <a:defRPr sz="200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pt-PT" dirty="0"/>
              <a:t>Insertar subtítulo de la slide</a:t>
            </a:r>
          </a:p>
        </p:txBody>
      </p:sp>
      <p:sp>
        <p:nvSpPr>
          <p:cNvPr id="70" name="Marcador de Posição do Texto 69">
            <a:extLst>
              <a:ext uri="{FF2B5EF4-FFF2-40B4-BE49-F238E27FC236}">
                <a16:creationId xmlns:a16="http://schemas.microsoft.com/office/drawing/2014/main" id="{7BE68721-2A64-4FEE-7C82-8981C2ADD535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2745017" y="2214194"/>
            <a:ext cx="6701966" cy="461007"/>
          </a:xfrm>
          <a:custGeom>
            <a:avLst/>
            <a:gdLst>
              <a:gd name="connsiteX0" fmla="*/ 5856816 w 6701966"/>
              <a:gd name="connsiteY0" fmla="*/ 0 h 461007"/>
              <a:gd name="connsiteX1" fmla="*/ 6240787 w 6701966"/>
              <a:gd name="connsiteY1" fmla="*/ 0 h 461007"/>
              <a:gd name="connsiteX2" fmla="*/ 6240974 w 6701966"/>
              <a:gd name="connsiteY2" fmla="*/ 0 h 461007"/>
              <a:gd name="connsiteX3" fmla="*/ 6701966 w 6701966"/>
              <a:gd name="connsiteY3" fmla="*/ 460988 h 461007"/>
              <a:gd name="connsiteX4" fmla="*/ 6181217 w 6701966"/>
              <a:gd name="connsiteY4" fmla="*/ 460988 h 461007"/>
              <a:gd name="connsiteX5" fmla="*/ 6181217 w 6701966"/>
              <a:gd name="connsiteY5" fmla="*/ 461002 h 461007"/>
              <a:gd name="connsiteX6" fmla="*/ 845193 w 6701966"/>
              <a:gd name="connsiteY6" fmla="*/ 460951 h 461007"/>
              <a:gd name="connsiteX7" fmla="*/ 845174 w 6701966"/>
              <a:gd name="connsiteY7" fmla="*/ 461007 h 461007"/>
              <a:gd name="connsiteX8" fmla="*/ 461192 w 6701966"/>
              <a:gd name="connsiteY8" fmla="*/ 461007 h 461007"/>
              <a:gd name="connsiteX9" fmla="*/ 461005 w 6701966"/>
              <a:gd name="connsiteY9" fmla="*/ 461007 h 461007"/>
              <a:gd name="connsiteX10" fmla="*/ 0 w 6701966"/>
              <a:gd name="connsiteY10" fmla="*/ 5 h 461007"/>
              <a:gd name="connsiteX11" fmla="*/ 998841 w 6701966"/>
              <a:gd name="connsiteY11" fmla="*/ 5 h 461007"/>
              <a:gd name="connsiteX12" fmla="*/ 998835 w 6701966"/>
              <a:gd name="connsiteY12" fmla="*/ 24 h 461007"/>
              <a:gd name="connsiteX13" fmla="*/ 5856793 w 6701966"/>
              <a:gd name="connsiteY13" fmla="*/ 71 h 4610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6701966" h="461007">
                <a:moveTo>
                  <a:pt x="5856816" y="0"/>
                </a:moveTo>
                <a:lnTo>
                  <a:pt x="6240787" y="0"/>
                </a:lnTo>
                <a:lnTo>
                  <a:pt x="6240974" y="0"/>
                </a:lnTo>
                <a:cubicBezTo>
                  <a:pt x="6495502" y="0"/>
                  <a:pt x="6701966" y="206271"/>
                  <a:pt x="6701966" y="460988"/>
                </a:cubicBezTo>
                <a:lnTo>
                  <a:pt x="6181217" y="460988"/>
                </a:lnTo>
                <a:lnTo>
                  <a:pt x="6181217" y="461002"/>
                </a:lnTo>
                <a:lnTo>
                  <a:pt x="845193" y="460951"/>
                </a:lnTo>
                <a:lnTo>
                  <a:pt x="845174" y="461007"/>
                </a:lnTo>
                <a:lnTo>
                  <a:pt x="461192" y="461007"/>
                </a:lnTo>
                <a:lnTo>
                  <a:pt x="461005" y="461007"/>
                </a:lnTo>
                <a:cubicBezTo>
                  <a:pt x="206470" y="461007"/>
                  <a:pt x="0" y="254730"/>
                  <a:pt x="0" y="5"/>
                </a:cubicBezTo>
                <a:lnTo>
                  <a:pt x="998841" y="5"/>
                </a:lnTo>
                <a:lnTo>
                  <a:pt x="998835" y="24"/>
                </a:lnTo>
                <a:lnTo>
                  <a:pt x="5856793" y="71"/>
                </a:lnTo>
                <a:close/>
              </a:path>
            </a:pathLst>
          </a:custGeom>
          <a:solidFill>
            <a:srgbClr val="132153"/>
          </a:solidFill>
        </p:spPr>
        <p:txBody>
          <a:bodyPr wrap="square" anchor="ctr">
            <a:noAutofit/>
          </a:bodyPr>
          <a:lstStyle>
            <a:lvl1pPr algn="ctr">
              <a:spcBef>
                <a:spcPts val="600"/>
              </a:spcBef>
              <a:defRPr sz="1200">
                <a:solidFill>
                  <a:schemeClr val="bg1"/>
                </a:solidFill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es-ES" dirty="0"/>
              <a:t>Haz </a:t>
            </a:r>
            <a:r>
              <a:rPr lang="es-ES" dirty="0" err="1"/>
              <a:t>click</a:t>
            </a:r>
            <a:r>
              <a:rPr lang="es-ES" dirty="0"/>
              <a:t> para editar los estilos del texto del modelo global</a:t>
            </a:r>
            <a:endParaRPr lang="pt-PT" dirty="0"/>
          </a:p>
        </p:txBody>
      </p:sp>
      <p:sp>
        <p:nvSpPr>
          <p:cNvPr id="71" name="Marcador de Posição do Texto 70">
            <a:extLst>
              <a:ext uri="{FF2B5EF4-FFF2-40B4-BE49-F238E27FC236}">
                <a16:creationId xmlns:a16="http://schemas.microsoft.com/office/drawing/2014/main" id="{4BAB28E0-8CF3-3D70-F86F-FA9A0E33CCB4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2745017" y="2781028"/>
            <a:ext cx="6701966" cy="461007"/>
          </a:xfrm>
          <a:custGeom>
            <a:avLst/>
            <a:gdLst>
              <a:gd name="connsiteX0" fmla="*/ 5856816 w 6701966"/>
              <a:gd name="connsiteY0" fmla="*/ 0 h 461007"/>
              <a:gd name="connsiteX1" fmla="*/ 6240787 w 6701966"/>
              <a:gd name="connsiteY1" fmla="*/ 0 h 461007"/>
              <a:gd name="connsiteX2" fmla="*/ 6240974 w 6701966"/>
              <a:gd name="connsiteY2" fmla="*/ 0 h 461007"/>
              <a:gd name="connsiteX3" fmla="*/ 6701966 w 6701966"/>
              <a:gd name="connsiteY3" fmla="*/ 460988 h 461007"/>
              <a:gd name="connsiteX4" fmla="*/ 6181217 w 6701966"/>
              <a:gd name="connsiteY4" fmla="*/ 460988 h 461007"/>
              <a:gd name="connsiteX5" fmla="*/ 6181217 w 6701966"/>
              <a:gd name="connsiteY5" fmla="*/ 461002 h 461007"/>
              <a:gd name="connsiteX6" fmla="*/ 845193 w 6701966"/>
              <a:gd name="connsiteY6" fmla="*/ 460951 h 461007"/>
              <a:gd name="connsiteX7" fmla="*/ 845174 w 6701966"/>
              <a:gd name="connsiteY7" fmla="*/ 461007 h 461007"/>
              <a:gd name="connsiteX8" fmla="*/ 461192 w 6701966"/>
              <a:gd name="connsiteY8" fmla="*/ 461007 h 461007"/>
              <a:gd name="connsiteX9" fmla="*/ 461005 w 6701966"/>
              <a:gd name="connsiteY9" fmla="*/ 461007 h 461007"/>
              <a:gd name="connsiteX10" fmla="*/ 0 w 6701966"/>
              <a:gd name="connsiteY10" fmla="*/ 5 h 461007"/>
              <a:gd name="connsiteX11" fmla="*/ 998841 w 6701966"/>
              <a:gd name="connsiteY11" fmla="*/ 5 h 461007"/>
              <a:gd name="connsiteX12" fmla="*/ 998835 w 6701966"/>
              <a:gd name="connsiteY12" fmla="*/ 24 h 461007"/>
              <a:gd name="connsiteX13" fmla="*/ 5856793 w 6701966"/>
              <a:gd name="connsiteY13" fmla="*/ 71 h 4610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6701966" h="461007">
                <a:moveTo>
                  <a:pt x="5856816" y="0"/>
                </a:moveTo>
                <a:lnTo>
                  <a:pt x="6240787" y="0"/>
                </a:lnTo>
                <a:lnTo>
                  <a:pt x="6240974" y="0"/>
                </a:lnTo>
                <a:cubicBezTo>
                  <a:pt x="6495502" y="0"/>
                  <a:pt x="6701966" y="206271"/>
                  <a:pt x="6701966" y="460988"/>
                </a:cubicBezTo>
                <a:lnTo>
                  <a:pt x="6181217" y="460988"/>
                </a:lnTo>
                <a:lnTo>
                  <a:pt x="6181217" y="461002"/>
                </a:lnTo>
                <a:lnTo>
                  <a:pt x="845193" y="460951"/>
                </a:lnTo>
                <a:lnTo>
                  <a:pt x="845174" y="461007"/>
                </a:lnTo>
                <a:lnTo>
                  <a:pt x="461192" y="461007"/>
                </a:lnTo>
                <a:lnTo>
                  <a:pt x="461005" y="461007"/>
                </a:lnTo>
                <a:cubicBezTo>
                  <a:pt x="206470" y="461007"/>
                  <a:pt x="0" y="254730"/>
                  <a:pt x="0" y="5"/>
                </a:cubicBezTo>
                <a:lnTo>
                  <a:pt x="998841" y="5"/>
                </a:lnTo>
                <a:lnTo>
                  <a:pt x="998835" y="24"/>
                </a:lnTo>
                <a:lnTo>
                  <a:pt x="5856793" y="71"/>
                </a:lnTo>
                <a:close/>
              </a:path>
            </a:pathLst>
          </a:custGeom>
          <a:solidFill>
            <a:srgbClr val="184BFF"/>
          </a:solidFill>
        </p:spPr>
        <p:txBody>
          <a:bodyPr wrap="square" anchor="ctr">
            <a:noAutofit/>
          </a:bodyPr>
          <a:lstStyle>
            <a:lvl1pPr algn="ctr">
              <a:spcBef>
                <a:spcPts val="600"/>
              </a:spcBef>
              <a:defRPr sz="1200">
                <a:solidFill>
                  <a:srgbClr val="F7F7F7"/>
                </a:solidFill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es-ES" dirty="0"/>
              <a:t>Haz </a:t>
            </a:r>
            <a:r>
              <a:rPr lang="es-ES" dirty="0" err="1"/>
              <a:t>click</a:t>
            </a:r>
            <a:r>
              <a:rPr lang="es-ES" dirty="0"/>
              <a:t> para editar los estilos del texto del modelo global</a:t>
            </a:r>
            <a:endParaRPr lang="pt-PT" dirty="0"/>
          </a:p>
        </p:txBody>
      </p:sp>
      <p:sp>
        <p:nvSpPr>
          <p:cNvPr id="72" name="Marcador de Posição do Texto 71">
            <a:extLst>
              <a:ext uri="{FF2B5EF4-FFF2-40B4-BE49-F238E27FC236}">
                <a16:creationId xmlns:a16="http://schemas.microsoft.com/office/drawing/2014/main" id="{5164E9DC-9B11-FAE2-DCA0-E7FCE8BAB7C3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2745017" y="3332040"/>
            <a:ext cx="6701966" cy="461007"/>
          </a:xfrm>
          <a:custGeom>
            <a:avLst/>
            <a:gdLst>
              <a:gd name="connsiteX0" fmla="*/ 5856816 w 6701966"/>
              <a:gd name="connsiteY0" fmla="*/ 0 h 461007"/>
              <a:gd name="connsiteX1" fmla="*/ 6240787 w 6701966"/>
              <a:gd name="connsiteY1" fmla="*/ 0 h 461007"/>
              <a:gd name="connsiteX2" fmla="*/ 6240974 w 6701966"/>
              <a:gd name="connsiteY2" fmla="*/ 0 h 461007"/>
              <a:gd name="connsiteX3" fmla="*/ 6701966 w 6701966"/>
              <a:gd name="connsiteY3" fmla="*/ 460988 h 461007"/>
              <a:gd name="connsiteX4" fmla="*/ 6181217 w 6701966"/>
              <a:gd name="connsiteY4" fmla="*/ 460988 h 461007"/>
              <a:gd name="connsiteX5" fmla="*/ 6181217 w 6701966"/>
              <a:gd name="connsiteY5" fmla="*/ 461002 h 461007"/>
              <a:gd name="connsiteX6" fmla="*/ 845193 w 6701966"/>
              <a:gd name="connsiteY6" fmla="*/ 460951 h 461007"/>
              <a:gd name="connsiteX7" fmla="*/ 845174 w 6701966"/>
              <a:gd name="connsiteY7" fmla="*/ 461007 h 461007"/>
              <a:gd name="connsiteX8" fmla="*/ 461192 w 6701966"/>
              <a:gd name="connsiteY8" fmla="*/ 461007 h 461007"/>
              <a:gd name="connsiteX9" fmla="*/ 461005 w 6701966"/>
              <a:gd name="connsiteY9" fmla="*/ 461007 h 461007"/>
              <a:gd name="connsiteX10" fmla="*/ 0 w 6701966"/>
              <a:gd name="connsiteY10" fmla="*/ 5 h 461007"/>
              <a:gd name="connsiteX11" fmla="*/ 998841 w 6701966"/>
              <a:gd name="connsiteY11" fmla="*/ 5 h 461007"/>
              <a:gd name="connsiteX12" fmla="*/ 998835 w 6701966"/>
              <a:gd name="connsiteY12" fmla="*/ 24 h 461007"/>
              <a:gd name="connsiteX13" fmla="*/ 5856793 w 6701966"/>
              <a:gd name="connsiteY13" fmla="*/ 71 h 4610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6701966" h="461007">
                <a:moveTo>
                  <a:pt x="5856816" y="0"/>
                </a:moveTo>
                <a:lnTo>
                  <a:pt x="6240787" y="0"/>
                </a:lnTo>
                <a:lnTo>
                  <a:pt x="6240974" y="0"/>
                </a:lnTo>
                <a:cubicBezTo>
                  <a:pt x="6495502" y="0"/>
                  <a:pt x="6701966" y="206271"/>
                  <a:pt x="6701966" y="460988"/>
                </a:cubicBezTo>
                <a:lnTo>
                  <a:pt x="6181217" y="460988"/>
                </a:lnTo>
                <a:lnTo>
                  <a:pt x="6181217" y="461002"/>
                </a:lnTo>
                <a:lnTo>
                  <a:pt x="845193" y="460951"/>
                </a:lnTo>
                <a:lnTo>
                  <a:pt x="845174" y="461007"/>
                </a:lnTo>
                <a:lnTo>
                  <a:pt x="461192" y="461007"/>
                </a:lnTo>
                <a:lnTo>
                  <a:pt x="461005" y="461007"/>
                </a:lnTo>
                <a:cubicBezTo>
                  <a:pt x="206470" y="461007"/>
                  <a:pt x="0" y="254730"/>
                  <a:pt x="0" y="5"/>
                </a:cubicBezTo>
                <a:lnTo>
                  <a:pt x="998841" y="5"/>
                </a:lnTo>
                <a:lnTo>
                  <a:pt x="998835" y="24"/>
                </a:lnTo>
                <a:lnTo>
                  <a:pt x="5856793" y="71"/>
                </a:lnTo>
                <a:close/>
              </a:path>
            </a:pathLst>
          </a:custGeom>
          <a:solidFill>
            <a:srgbClr val="184BFF"/>
          </a:solidFill>
        </p:spPr>
        <p:txBody>
          <a:bodyPr wrap="square" anchor="ctr">
            <a:noAutofit/>
          </a:bodyPr>
          <a:lstStyle>
            <a:lvl1pPr algn="ctr">
              <a:spcBef>
                <a:spcPts val="600"/>
              </a:spcBef>
              <a:defRPr sz="1200">
                <a:solidFill>
                  <a:srgbClr val="F7F7F7"/>
                </a:solidFill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es-ES" dirty="0"/>
              <a:t>Haz </a:t>
            </a:r>
            <a:r>
              <a:rPr lang="es-ES" dirty="0" err="1"/>
              <a:t>click</a:t>
            </a:r>
            <a:r>
              <a:rPr lang="es-ES" dirty="0"/>
              <a:t> para editar los estilos del texto del modelo global</a:t>
            </a:r>
            <a:endParaRPr lang="pt-PT" dirty="0"/>
          </a:p>
        </p:txBody>
      </p:sp>
      <p:sp>
        <p:nvSpPr>
          <p:cNvPr id="74" name="Marcador de Posição do Texto 73">
            <a:extLst>
              <a:ext uri="{FF2B5EF4-FFF2-40B4-BE49-F238E27FC236}">
                <a16:creationId xmlns:a16="http://schemas.microsoft.com/office/drawing/2014/main" id="{44F5EA67-2D81-A1E8-2226-9CE68928A4F9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2745015" y="3903831"/>
            <a:ext cx="3197540" cy="456704"/>
          </a:xfrm>
          <a:custGeom>
            <a:avLst/>
            <a:gdLst>
              <a:gd name="connsiteX0" fmla="*/ 2360275 w 3197540"/>
              <a:gd name="connsiteY0" fmla="*/ 0 h 456704"/>
              <a:gd name="connsiteX1" fmla="*/ 2740665 w 3197540"/>
              <a:gd name="connsiteY1" fmla="*/ 0 h 456704"/>
              <a:gd name="connsiteX2" fmla="*/ 2740850 w 3197540"/>
              <a:gd name="connsiteY2" fmla="*/ 0 h 456704"/>
              <a:gd name="connsiteX3" fmla="*/ 3197540 w 3197540"/>
              <a:gd name="connsiteY3" fmla="*/ 456687 h 456704"/>
              <a:gd name="connsiteX4" fmla="*/ 2549003 w 3197540"/>
              <a:gd name="connsiteY4" fmla="*/ 456687 h 456704"/>
              <a:gd name="connsiteX5" fmla="*/ 2549003 w 3197540"/>
              <a:gd name="connsiteY5" fmla="*/ 456704 h 456704"/>
              <a:gd name="connsiteX6" fmla="*/ 837276 w 3197540"/>
              <a:gd name="connsiteY6" fmla="*/ 456656 h 456704"/>
              <a:gd name="connsiteX7" fmla="*/ 837264 w 3197540"/>
              <a:gd name="connsiteY7" fmla="*/ 456692 h 456704"/>
              <a:gd name="connsiteX8" fmla="*/ 456876 w 3197540"/>
              <a:gd name="connsiteY8" fmla="*/ 456692 h 456704"/>
              <a:gd name="connsiteX9" fmla="*/ 456690 w 3197540"/>
              <a:gd name="connsiteY9" fmla="*/ 456692 h 456704"/>
              <a:gd name="connsiteX10" fmla="*/ 0 w 3197540"/>
              <a:gd name="connsiteY10" fmla="*/ 5 h 456704"/>
              <a:gd name="connsiteX11" fmla="*/ 989493 w 3197540"/>
              <a:gd name="connsiteY11" fmla="*/ 5 h 456704"/>
              <a:gd name="connsiteX12" fmla="*/ 989484 w 3197540"/>
              <a:gd name="connsiteY12" fmla="*/ 33 h 456704"/>
              <a:gd name="connsiteX13" fmla="*/ 2360252 w 3197540"/>
              <a:gd name="connsiteY13" fmla="*/ 71 h 4567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3197540" h="456704">
                <a:moveTo>
                  <a:pt x="2360275" y="0"/>
                </a:moveTo>
                <a:lnTo>
                  <a:pt x="2740665" y="0"/>
                </a:lnTo>
                <a:lnTo>
                  <a:pt x="2740850" y="0"/>
                </a:lnTo>
                <a:cubicBezTo>
                  <a:pt x="2993003" y="0"/>
                  <a:pt x="3197540" y="204347"/>
                  <a:pt x="3197540" y="456687"/>
                </a:cubicBezTo>
                <a:lnTo>
                  <a:pt x="2549003" y="456687"/>
                </a:lnTo>
                <a:lnTo>
                  <a:pt x="2549003" y="456704"/>
                </a:lnTo>
                <a:lnTo>
                  <a:pt x="837276" y="456656"/>
                </a:lnTo>
                <a:lnTo>
                  <a:pt x="837264" y="456692"/>
                </a:lnTo>
                <a:lnTo>
                  <a:pt x="456876" y="456692"/>
                </a:lnTo>
                <a:lnTo>
                  <a:pt x="456690" y="456692"/>
                </a:lnTo>
                <a:cubicBezTo>
                  <a:pt x="204537" y="456692"/>
                  <a:pt x="0" y="252346"/>
                  <a:pt x="0" y="5"/>
                </a:cubicBezTo>
                <a:lnTo>
                  <a:pt x="989493" y="5"/>
                </a:lnTo>
                <a:lnTo>
                  <a:pt x="989484" y="33"/>
                </a:lnTo>
                <a:lnTo>
                  <a:pt x="2360252" y="71"/>
                </a:lnTo>
                <a:close/>
              </a:path>
            </a:pathLst>
          </a:custGeom>
          <a:solidFill>
            <a:srgbClr val="00FF94"/>
          </a:solidFill>
        </p:spPr>
        <p:txBody>
          <a:bodyPr wrap="square" anchor="ctr">
            <a:noAutofit/>
          </a:bodyPr>
          <a:lstStyle>
            <a:lvl1pPr algn="ctr">
              <a:spcBef>
                <a:spcPts val="600"/>
              </a:spcBef>
              <a:defRPr sz="1200">
                <a:solidFill>
                  <a:schemeClr val="tx2"/>
                </a:solidFill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es-ES" dirty="0"/>
              <a:t>Haz </a:t>
            </a:r>
            <a:r>
              <a:rPr lang="es-ES" dirty="0" err="1"/>
              <a:t>click</a:t>
            </a:r>
            <a:r>
              <a:rPr lang="es-ES" dirty="0"/>
              <a:t> para editar los estilos del texto del modelo global</a:t>
            </a:r>
            <a:endParaRPr lang="pt-PT" dirty="0"/>
          </a:p>
        </p:txBody>
      </p:sp>
      <p:sp>
        <p:nvSpPr>
          <p:cNvPr id="75" name="Marcador de Posição do Texto 74">
            <a:extLst>
              <a:ext uri="{FF2B5EF4-FFF2-40B4-BE49-F238E27FC236}">
                <a16:creationId xmlns:a16="http://schemas.microsoft.com/office/drawing/2014/main" id="{34D32ECE-1813-162F-EA5A-6A8FA28E424F}"/>
              </a:ext>
            </a:extLst>
          </p:cNvPr>
          <p:cNvSpPr>
            <a:spLocks noGrp="1"/>
          </p:cNvSpPr>
          <p:nvPr>
            <p:ph type="body" sz="quarter" idx="63" hasCustomPrompt="1"/>
          </p:nvPr>
        </p:nvSpPr>
        <p:spPr>
          <a:xfrm>
            <a:off x="2745015" y="4470665"/>
            <a:ext cx="3197540" cy="456704"/>
          </a:xfrm>
          <a:custGeom>
            <a:avLst/>
            <a:gdLst>
              <a:gd name="connsiteX0" fmla="*/ 2360275 w 3197540"/>
              <a:gd name="connsiteY0" fmla="*/ 0 h 456704"/>
              <a:gd name="connsiteX1" fmla="*/ 2740665 w 3197540"/>
              <a:gd name="connsiteY1" fmla="*/ 0 h 456704"/>
              <a:gd name="connsiteX2" fmla="*/ 2740850 w 3197540"/>
              <a:gd name="connsiteY2" fmla="*/ 0 h 456704"/>
              <a:gd name="connsiteX3" fmla="*/ 3197540 w 3197540"/>
              <a:gd name="connsiteY3" fmla="*/ 456687 h 456704"/>
              <a:gd name="connsiteX4" fmla="*/ 2549003 w 3197540"/>
              <a:gd name="connsiteY4" fmla="*/ 456687 h 456704"/>
              <a:gd name="connsiteX5" fmla="*/ 2549003 w 3197540"/>
              <a:gd name="connsiteY5" fmla="*/ 456704 h 456704"/>
              <a:gd name="connsiteX6" fmla="*/ 837276 w 3197540"/>
              <a:gd name="connsiteY6" fmla="*/ 456656 h 456704"/>
              <a:gd name="connsiteX7" fmla="*/ 837264 w 3197540"/>
              <a:gd name="connsiteY7" fmla="*/ 456692 h 456704"/>
              <a:gd name="connsiteX8" fmla="*/ 456876 w 3197540"/>
              <a:gd name="connsiteY8" fmla="*/ 456692 h 456704"/>
              <a:gd name="connsiteX9" fmla="*/ 456690 w 3197540"/>
              <a:gd name="connsiteY9" fmla="*/ 456692 h 456704"/>
              <a:gd name="connsiteX10" fmla="*/ 0 w 3197540"/>
              <a:gd name="connsiteY10" fmla="*/ 5 h 456704"/>
              <a:gd name="connsiteX11" fmla="*/ 989493 w 3197540"/>
              <a:gd name="connsiteY11" fmla="*/ 5 h 456704"/>
              <a:gd name="connsiteX12" fmla="*/ 989484 w 3197540"/>
              <a:gd name="connsiteY12" fmla="*/ 33 h 456704"/>
              <a:gd name="connsiteX13" fmla="*/ 2360252 w 3197540"/>
              <a:gd name="connsiteY13" fmla="*/ 71 h 4567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3197540" h="456704">
                <a:moveTo>
                  <a:pt x="2360275" y="0"/>
                </a:moveTo>
                <a:lnTo>
                  <a:pt x="2740665" y="0"/>
                </a:lnTo>
                <a:lnTo>
                  <a:pt x="2740850" y="0"/>
                </a:lnTo>
                <a:cubicBezTo>
                  <a:pt x="2993003" y="0"/>
                  <a:pt x="3197540" y="204347"/>
                  <a:pt x="3197540" y="456687"/>
                </a:cubicBezTo>
                <a:lnTo>
                  <a:pt x="2549003" y="456687"/>
                </a:lnTo>
                <a:lnTo>
                  <a:pt x="2549003" y="456704"/>
                </a:lnTo>
                <a:lnTo>
                  <a:pt x="837276" y="456656"/>
                </a:lnTo>
                <a:lnTo>
                  <a:pt x="837264" y="456692"/>
                </a:lnTo>
                <a:lnTo>
                  <a:pt x="456876" y="456692"/>
                </a:lnTo>
                <a:lnTo>
                  <a:pt x="456690" y="456692"/>
                </a:lnTo>
                <a:cubicBezTo>
                  <a:pt x="204537" y="456692"/>
                  <a:pt x="0" y="252346"/>
                  <a:pt x="0" y="5"/>
                </a:cubicBezTo>
                <a:lnTo>
                  <a:pt x="989493" y="5"/>
                </a:lnTo>
                <a:lnTo>
                  <a:pt x="989484" y="33"/>
                </a:lnTo>
                <a:lnTo>
                  <a:pt x="2360252" y="71"/>
                </a:lnTo>
                <a:close/>
              </a:path>
            </a:pathLst>
          </a:custGeom>
          <a:solidFill>
            <a:srgbClr val="00FF94"/>
          </a:solidFill>
        </p:spPr>
        <p:txBody>
          <a:bodyPr wrap="square" anchor="ctr">
            <a:noAutofit/>
          </a:bodyPr>
          <a:lstStyle>
            <a:lvl1pPr algn="ctr">
              <a:spcBef>
                <a:spcPts val="600"/>
              </a:spcBef>
              <a:defRPr sz="1200">
                <a:solidFill>
                  <a:schemeClr val="tx2"/>
                </a:solidFill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es-ES" dirty="0"/>
              <a:t>Haz </a:t>
            </a:r>
            <a:r>
              <a:rPr lang="es-ES" dirty="0" err="1"/>
              <a:t>click</a:t>
            </a:r>
            <a:r>
              <a:rPr lang="es-ES" dirty="0"/>
              <a:t> para editar los estilos del texto del modelo global</a:t>
            </a:r>
            <a:endParaRPr lang="pt-PT" dirty="0"/>
          </a:p>
        </p:txBody>
      </p:sp>
      <p:sp>
        <p:nvSpPr>
          <p:cNvPr id="76" name="Marcador de Posição do Texto 75">
            <a:extLst>
              <a:ext uri="{FF2B5EF4-FFF2-40B4-BE49-F238E27FC236}">
                <a16:creationId xmlns:a16="http://schemas.microsoft.com/office/drawing/2014/main" id="{E7345C49-CB3E-B55F-10ED-E86133F3E752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2745015" y="5037499"/>
            <a:ext cx="3197540" cy="456704"/>
          </a:xfrm>
          <a:custGeom>
            <a:avLst/>
            <a:gdLst>
              <a:gd name="connsiteX0" fmla="*/ 2360275 w 3197540"/>
              <a:gd name="connsiteY0" fmla="*/ 0 h 456704"/>
              <a:gd name="connsiteX1" fmla="*/ 2740665 w 3197540"/>
              <a:gd name="connsiteY1" fmla="*/ 0 h 456704"/>
              <a:gd name="connsiteX2" fmla="*/ 2740850 w 3197540"/>
              <a:gd name="connsiteY2" fmla="*/ 0 h 456704"/>
              <a:gd name="connsiteX3" fmla="*/ 3197540 w 3197540"/>
              <a:gd name="connsiteY3" fmla="*/ 456687 h 456704"/>
              <a:gd name="connsiteX4" fmla="*/ 2549003 w 3197540"/>
              <a:gd name="connsiteY4" fmla="*/ 456687 h 456704"/>
              <a:gd name="connsiteX5" fmla="*/ 2549003 w 3197540"/>
              <a:gd name="connsiteY5" fmla="*/ 456704 h 456704"/>
              <a:gd name="connsiteX6" fmla="*/ 837276 w 3197540"/>
              <a:gd name="connsiteY6" fmla="*/ 456656 h 456704"/>
              <a:gd name="connsiteX7" fmla="*/ 837264 w 3197540"/>
              <a:gd name="connsiteY7" fmla="*/ 456692 h 456704"/>
              <a:gd name="connsiteX8" fmla="*/ 456876 w 3197540"/>
              <a:gd name="connsiteY8" fmla="*/ 456692 h 456704"/>
              <a:gd name="connsiteX9" fmla="*/ 456690 w 3197540"/>
              <a:gd name="connsiteY9" fmla="*/ 456692 h 456704"/>
              <a:gd name="connsiteX10" fmla="*/ 0 w 3197540"/>
              <a:gd name="connsiteY10" fmla="*/ 5 h 456704"/>
              <a:gd name="connsiteX11" fmla="*/ 989493 w 3197540"/>
              <a:gd name="connsiteY11" fmla="*/ 5 h 456704"/>
              <a:gd name="connsiteX12" fmla="*/ 989484 w 3197540"/>
              <a:gd name="connsiteY12" fmla="*/ 33 h 456704"/>
              <a:gd name="connsiteX13" fmla="*/ 2360252 w 3197540"/>
              <a:gd name="connsiteY13" fmla="*/ 71 h 4567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3197540" h="456704">
                <a:moveTo>
                  <a:pt x="2360275" y="0"/>
                </a:moveTo>
                <a:lnTo>
                  <a:pt x="2740665" y="0"/>
                </a:lnTo>
                <a:lnTo>
                  <a:pt x="2740850" y="0"/>
                </a:lnTo>
                <a:cubicBezTo>
                  <a:pt x="2993003" y="0"/>
                  <a:pt x="3197540" y="204347"/>
                  <a:pt x="3197540" y="456687"/>
                </a:cubicBezTo>
                <a:lnTo>
                  <a:pt x="2549003" y="456687"/>
                </a:lnTo>
                <a:lnTo>
                  <a:pt x="2549003" y="456704"/>
                </a:lnTo>
                <a:lnTo>
                  <a:pt x="837276" y="456656"/>
                </a:lnTo>
                <a:lnTo>
                  <a:pt x="837264" y="456692"/>
                </a:lnTo>
                <a:lnTo>
                  <a:pt x="456876" y="456692"/>
                </a:lnTo>
                <a:lnTo>
                  <a:pt x="456690" y="456692"/>
                </a:lnTo>
                <a:cubicBezTo>
                  <a:pt x="204537" y="456692"/>
                  <a:pt x="0" y="252346"/>
                  <a:pt x="0" y="5"/>
                </a:cubicBezTo>
                <a:lnTo>
                  <a:pt x="989493" y="5"/>
                </a:lnTo>
                <a:lnTo>
                  <a:pt x="989484" y="33"/>
                </a:lnTo>
                <a:lnTo>
                  <a:pt x="2360252" y="71"/>
                </a:lnTo>
                <a:close/>
              </a:path>
            </a:pathLst>
          </a:custGeom>
          <a:solidFill>
            <a:srgbClr val="00FF94"/>
          </a:solidFill>
        </p:spPr>
        <p:txBody>
          <a:bodyPr wrap="square" anchor="ctr">
            <a:noAutofit/>
          </a:bodyPr>
          <a:lstStyle>
            <a:lvl1pPr algn="ctr">
              <a:spcBef>
                <a:spcPts val="600"/>
              </a:spcBef>
              <a:defRPr sz="1200">
                <a:solidFill>
                  <a:schemeClr val="tx2"/>
                </a:solidFill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es-ES" dirty="0"/>
              <a:t>Haz </a:t>
            </a:r>
            <a:r>
              <a:rPr lang="es-ES" dirty="0" err="1"/>
              <a:t>click</a:t>
            </a:r>
            <a:r>
              <a:rPr lang="es-ES" dirty="0"/>
              <a:t> para editar los estilos del texto del modelo global</a:t>
            </a:r>
            <a:endParaRPr lang="pt-PT" dirty="0"/>
          </a:p>
        </p:txBody>
      </p:sp>
      <p:sp>
        <p:nvSpPr>
          <p:cNvPr id="77" name="Marcador de Posição do Texto 76">
            <a:extLst>
              <a:ext uri="{FF2B5EF4-FFF2-40B4-BE49-F238E27FC236}">
                <a16:creationId xmlns:a16="http://schemas.microsoft.com/office/drawing/2014/main" id="{D90992B8-E8CA-61BF-B8E9-0AB59E2F81D1}"/>
              </a:ext>
            </a:extLst>
          </p:cNvPr>
          <p:cNvSpPr>
            <a:spLocks noGrp="1"/>
          </p:cNvSpPr>
          <p:nvPr>
            <p:ph type="body" sz="quarter" idx="65" hasCustomPrompt="1"/>
          </p:nvPr>
        </p:nvSpPr>
        <p:spPr>
          <a:xfrm>
            <a:off x="6246006" y="3903831"/>
            <a:ext cx="3197540" cy="456704"/>
          </a:xfrm>
          <a:custGeom>
            <a:avLst/>
            <a:gdLst>
              <a:gd name="connsiteX0" fmla="*/ 2360275 w 3197540"/>
              <a:gd name="connsiteY0" fmla="*/ 0 h 456704"/>
              <a:gd name="connsiteX1" fmla="*/ 2740665 w 3197540"/>
              <a:gd name="connsiteY1" fmla="*/ 0 h 456704"/>
              <a:gd name="connsiteX2" fmla="*/ 2740850 w 3197540"/>
              <a:gd name="connsiteY2" fmla="*/ 0 h 456704"/>
              <a:gd name="connsiteX3" fmla="*/ 3197540 w 3197540"/>
              <a:gd name="connsiteY3" fmla="*/ 456687 h 456704"/>
              <a:gd name="connsiteX4" fmla="*/ 2549003 w 3197540"/>
              <a:gd name="connsiteY4" fmla="*/ 456687 h 456704"/>
              <a:gd name="connsiteX5" fmla="*/ 2549003 w 3197540"/>
              <a:gd name="connsiteY5" fmla="*/ 456704 h 456704"/>
              <a:gd name="connsiteX6" fmla="*/ 837276 w 3197540"/>
              <a:gd name="connsiteY6" fmla="*/ 456656 h 456704"/>
              <a:gd name="connsiteX7" fmla="*/ 837264 w 3197540"/>
              <a:gd name="connsiteY7" fmla="*/ 456692 h 456704"/>
              <a:gd name="connsiteX8" fmla="*/ 456876 w 3197540"/>
              <a:gd name="connsiteY8" fmla="*/ 456692 h 456704"/>
              <a:gd name="connsiteX9" fmla="*/ 456690 w 3197540"/>
              <a:gd name="connsiteY9" fmla="*/ 456692 h 456704"/>
              <a:gd name="connsiteX10" fmla="*/ 0 w 3197540"/>
              <a:gd name="connsiteY10" fmla="*/ 5 h 456704"/>
              <a:gd name="connsiteX11" fmla="*/ 989493 w 3197540"/>
              <a:gd name="connsiteY11" fmla="*/ 5 h 456704"/>
              <a:gd name="connsiteX12" fmla="*/ 989484 w 3197540"/>
              <a:gd name="connsiteY12" fmla="*/ 33 h 456704"/>
              <a:gd name="connsiteX13" fmla="*/ 2360252 w 3197540"/>
              <a:gd name="connsiteY13" fmla="*/ 71 h 4567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3197540" h="456704">
                <a:moveTo>
                  <a:pt x="2360275" y="0"/>
                </a:moveTo>
                <a:lnTo>
                  <a:pt x="2740665" y="0"/>
                </a:lnTo>
                <a:lnTo>
                  <a:pt x="2740850" y="0"/>
                </a:lnTo>
                <a:cubicBezTo>
                  <a:pt x="2993003" y="0"/>
                  <a:pt x="3197540" y="204347"/>
                  <a:pt x="3197540" y="456687"/>
                </a:cubicBezTo>
                <a:lnTo>
                  <a:pt x="2549003" y="456687"/>
                </a:lnTo>
                <a:lnTo>
                  <a:pt x="2549003" y="456704"/>
                </a:lnTo>
                <a:lnTo>
                  <a:pt x="837276" y="456656"/>
                </a:lnTo>
                <a:lnTo>
                  <a:pt x="837264" y="456692"/>
                </a:lnTo>
                <a:lnTo>
                  <a:pt x="456876" y="456692"/>
                </a:lnTo>
                <a:lnTo>
                  <a:pt x="456690" y="456692"/>
                </a:lnTo>
                <a:cubicBezTo>
                  <a:pt x="204537" y="456692"/>
                  <a:pt x="0" y="252346"/>
                  <a:pt x="0" y="5"/>
                </a:cubicBezTo>
                <a:lnTo>
                  <a:pt x="989493" y="5"/>
                </a:lnTo>
                <a:lnTo>
                  <a:pt x="989484" y="33"/>
                </a:lnTo>
                <a:lnTo>
                  <a:pt x="2360252" y="71"/>
                </a:lnTo>
                <a:close/>
              </a:path>
            </a:pathLst>
          </a:custGeom>
          <a:solidFill>
            <a:srgbClr val="00FF94"/>
          </a:solidFill>
        </p:spPr>
        <p:txBody>
          <a:bodyPr wrap="square" anchor="ctr">
            <a:noAutofit/>
          </a:bodyPr>
          <a:lstStyle>
            <a:lvl1pPr algn="ctr">
              <a:spcBef>
                <a:spcPts val="600"/>
              </a:spcBef>
              <a:defRPr sz="1200">
                <a:solidFill>
                  <a:schemeClr val="tx2"/>
                </a:solidFill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es-ES" dirty="0"/>
              <a:t>Haz </a:t>
            </a:r>
            <a:r>
              <a:rPr lang="es-ES" dirty="0" err="1"/>
              <a:t>click</a:t>
            </a:r>
            <a:r>
              <a:rPr lang="es-ES" dirty="0"/>
              <a:t> para editar los estilos del texto del modelo global</a:t>
            </a:r>
            <a:endParaRPr lang="pt-PT" dirty="0"/>
          </a:p>
        </p:txBody>
      </p:sp>
      <p:sp>
        <p:nvSpPr>
          <p:cNvPr id="78" name="Marcador de Posição do Texto 77">
            <a:extLst>
              <a:ext uri="{FF2B5EF4-FFF2-40B4-BE49-F238E27FC236}">
                <a16:creationId xmlns:a16="http://schemas.microsoft.com/office/drawing/2014/main" id="{77F4D2E4-0740-5BB8-8C0F-D02093DF1C52}"/>
              </a:ext>
            </a:extLst>
          </p:cNvPr>
          <p:cNvSpPr>
            <a:spLocks noGrp="1"/>
          </p:cNvSpPr>
          <p:nvPr>
            <p:ph type="body" sz="quarter" idx="66" hasCustomPrompt="1"/>
          </p:nvPr>
        </p:nvSpPr>
        <p:spPr>
          <a:xfrm>
            <a:off x="6246006" y="4470665"/>
            <a:ext cx="3197540" cy="456704"/>
          </a:xfrm>
          <a:custGeom>
            <a:avLst/>
            <a:gdLst>
              <a:gd name="connsiteX0" fmla="*/ 2360275 w 3197540"/>
              <a:gd name="connsiteY0" fmla="*/ 0 h 456704"/>
              <a:gd name="connsiteX1" fmla="*/ 2740665 w 3197540"/>
              <a:gd name="connsiteY1" fmla="*/ 0 h 456704"/>
              <a:gd name="connsiteX2" fmla="*/ 2740850 w 3197540"/>
              <a:gd name="connsiteY2" fmla="*/ 0 h 456704"/>
              <a:gd name="connsiteX3" fmla="*/ 3197540 w 3197540"/>
              <a:gd name="connsiteY3" fmla="*/ 456687 h 456704"/>
              <a:gd name="connsiteX4" fmla="*/ 2549003 w 3197540"/>
              <a:gd name="connsiteY4" fmla="*/ 456687 h 456704"/>
              <a:gd name="connsiteX5" fmla="*/ 2549003 w 3197540"/>
              <a:gd name="connsiteY5" fmla="*/ 456704 h 456704"/>
              <a:gd name="connsiteX6" fmla="*/ 837276 w 3197540"/>
              <a:gd name="connsiteY6" fmla="*/ 456656 h 456704"/>
              <a:gd name="connsiteX7" fmla="*/ 837264 w 3197540"/>
              <a:gd name="connsiteY7" fmla="*/ 456692 h 456704"/>
              <a:gd name="connsiteX8" fmla="*/ 456876 w 3197540"/>
              <a:gd name="connsiteY8" fmla="*/ 456692 h 456704"/>
              <a:gd name="connsiteX9" fmla="*/ 456690 w 3197540"/>
              <a:gd name="connsiteY9" fmla="*/ 456692 h 456704"/>
              <a:gd name="connsiteX10" fmla="*/ 0 w 3197540"/>
              <a:gd name="connsiteY10" fmla="*/ 5 h 456704"/>
              <a:gd name="connsiteX11" fmla="*/ 989493 w 3197540"/>
              <a:gd name="connsiteY11" fmla="*/ 5 h 456704"/>
              <a:gd name="connsiteX12" fmla="*/ 989484 w 3197540"/>
              <a:gd name="connsiteY12" fmla="*/ 33 h 456704"/>
              <a:gd name="connsiteX13" fmla="*/ 2360252 w 3197540"/>
              <a:gd name="connsiteY13" fmla="*/ 71 h 4567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3197540" h="456704">
                <a:moveTo>
                  <a:pt x="2360275" y="0"/>
                </a:moveTo>
                <a:lnTo>
                  <a:pt x="2740665" y="0"/>
                </a:lnTo>
                <a:lnTo>
                  <a:pt x="2740850" y="0"/>
                </a:lnTo>
                <a:cubicBezTo>
                  <a:pt x="2993003" y="0"/>
                  <a:pt x="3197540" y="204347"/>
                  <a:pt x="3197540" y="456687"/>
                </a:cubicBezTo>
                <a:lnTo>
                  <a:pt x="2549003" y="456687"/>
                </a:lnTo>
                <a:lnTo>
                  <a:pt x="2549003" y="456704"/>
                </a:lnTo>
                <a:lnTo>
                  <a:pt x="837276" y="456656"/>
                </a:lnTo>
                <a:lnTo>
                  <a:pt x="837264" y="456692"/>
                </a:lnTo>
                <a:lnTo>
                  <a:pt x="456876" y="456692"/>
                </a:lnTo>
                <a:lnTo>
                  <a:pt x="456690" y="456692"/>
                </a:lnTo>
                <a:cubicBezTo>
                  <a:pt x="204537" y="456692"/>
                  <a:pt x="0" y="252346"/>
                  <a:pt x="0" y="5"/>
                </a:cubicBezTo>
                <a:lnTo>
                  <a:pt x="989493" y="5"/>
                </a:lnTo>
                <a:lnTo>
                  <a:pt x="989484" y="33"/>
                </a:lnTo>
                <a:lnTo>
                  <a:pt x="2360252" y="71"/>
                </a:lnTo>
                <a:close/>
              </a:path>
            </a:pathLst>
          </a:custGeom>
          <a:solidFill>
            <a:srgbClr val="00FF94"/>
          </a:solidFill>
        </p:spPr>
        <p:txBody>
          <a:bodyPr wrap="square" anchor="ctr">
            <a:noAutofit/>
          </a:bodyPr>
          <a:lstStyle>
            <a:lvl1pPr algn="ctr">
              <a:spcBef>
                <a:spcPts val="600"/>
              </a:spcBef>
              <a:defRPr sz="1200">
                <a:solidFill>
                  <a:schemeClr val="tx2"/>
                </a:solidFill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es-ES" dirty="0"/>
              <a:t>Haz </a:t>
            </a:r>
            <a:r>
              <a:rPr lang="es-ES" dirty="0" err="1"/>
              <a:t>click</a:t>
            </a:r>
            <a:r>
              <a:rPr lang="es-ES" dirty="0"/>
              <a:t> para editar los estilos del texto del modelo global</a:t>
            </a:r>
            <a:endParaRPr lang="pt-PT" dirty="0"/>
          </a:p>
        </p:txBody>
      </p:sp>
      <p:sp>
        <p:nvSpPr>
          <p:cNvPr id="79" name="Marcador de Posição do Texto 78">
            <a:extLst>
              <a:ext uri="{FF2B5EF4-FFF2-40B4-BE49-F238E27FC236}">
                <a16:creationId xmlns:a16="http://schemas.microsoft.com/office/drawing/2014/main" id="{018065DB-4761-56BE-3663-44EA3C8088F8}"/>
              </a:ext>
            </a:extLst>
          </p:cNvPr>
          <p:cNvSpPr>
            <a:spLocks noGrp="1"/>
          </p:cNvSpPr>
          <p:nvPr>
            <p:ph type="body" sz="quarter" idx="67" hasCustomPrompt="1"/>
          </p:nvPr>
        </p:nvSpPr>
        <p:spPr>
          <a:xfrm>
            <a:off x="6246006" y="5037499"/>
            <a:ext cx="3197540" cy="456704"/>
          </a:xfrm>
          <a:custGeom>
            <a:avLst/>
            <a:gdLst>
              <a:gd name="connsiteX0" fmla="*/ 2360275 w 3197540"/>
              <a:gd name="connsiteY0" fmla="*/ 0 h 456704"/>
              <a:gd name="connsiteX1" fmla="*/ 2740665 w 3197540"/>
              <a:gd name="connsiteY1" fmla="*/ 0 h 456704"/>
              <a:gd name="connsiteX2" fmla="*/ 2740850 w 3197540"/>
              <a:gd name="connsiteY2" fmla="*/ 0 h 456704"/>
              <a:gd name="connsiteX3" fmla="*/ 3197540 w 3197540"/>
              <a:gd name="connsiteY3" fmla="*/ 456687 h 456704"/>
              <a:gd name="connsiteX4" fmla="*/ 2549003 w 3197540"/>
              <a:gd name="connsiteY4" fmla="*/ 456687 h 456704"/>
              <a:gd name="connsiteX5" fmla="*/ 2549003 w 3197540"/>
              <a:gd name="connsiteY5" fmla="*/ 456704 h 456704"/>
              <a:gd name="connsiteX6" fmla="*/ 837276 w 3197540"/>
              <a:gd name="connsiteY6" fmla="*/ 456656 h 456704"/>
              <a:gd name="connsiteX7" fmla="*/ 837264 w 3197540"/>
              <a:gd name="connsiteY7" fmla="*/ 456692 h 456704"/>
              <a:gd name="connsiteX8" fmla="*/ 456876 w 3197540"/>
              <a:gd name="connsiteY8" fmla="*/ 456692 h 456704"/>
              <a:gd name="connsiteX9" fmla="*/ 456690 w 3197540"/>
              <a:gd name="connsiteY9" fmla="*/ 456692 h 456704"/>
              <a:gd name="connsiteX10" fmla="*/ 0 w 3197540"/>
              <a:gd name="connsiteY10" fmla="*/ 5 h 456704"/>
              <a:gd name="connsiteX11" fmla="*/ 989493 w 3197540"/>
              <a:gd name="connsiteY11" fmla="*/ 5 h 456704"/>
              <a:gd name="connsiteX12" fmla="*/ 989484 w 3197540"/>
              <a:gd name="connsiteY12" fmla="*/ 33 h 456704"/>
              <a:gd name="connsiteX13" fmla="*/ 2360252 w 3197540"/>
              <a:gd name="connsiteY13" fmla="*/ 71 h 4567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3197540" h="456704">
                <a:moveTo>
                  <a:pt x="2360275" y="0"/>
                </a:moveTo>
                <a:lnTo>
                  <a:pt x="2740665" y="0"/>
                </a:lnTo>
                <a:lnTo>
                  <a:pt x="2740850" y="0"/>
                </a:lnTo>
                <a:cubicBezTo>
                  <a:pt x="2993003" y="0"/>
                  <a:pt x="3197540" y="204347"/>
                  <a:pt x="3197540" y="456687"/>
                </a:cubicBezTo>
                <a:lnTo>
                  <a:pt x="2549003" y="456687"/>
                </a:lnTo>
                <a:lnTo>
                  <a:pt x="2549003" y="456704"/>
                </a:lnTo>
                <a:lnTo>
                  <a:pt x="837276" y="456656"/>
                </a:lnTo>
                <a:lnTo>
                  <a:pt x="837264" y="456692"/>
                </a:lnTo>
                <a:lnTo>
                  <a:pt x="456876" y="456692"/>
                </a:lnTo>
                <a:lnTo>
                  <a:pt x="456690" y="456692"/>
                </a:lnTo>
                <a:cubicBezTo>
                  <a:pt x="204537" y="456692"/>
                  <a:pt x="0" y="252346"/>
                  <a:pt x="0" y="5"/>
                </a:cubicBezTo>
                <a:lnTo>
                  <a:pt x="989493" y="5"/>
                </a:lnTo>
                <a:lnTo>
                  <a:pt x="989484" y="33"/>
                </a:lnTo>
                <a:lnTo>
                  <a:pt x="2360252" y="71"/>
                </a:lnTo>
                <a:close/>
              </a:path>
            </a:pathLst>
          </a:custGeom>
          <a:solidFill>
            <a:srgbClr val="00FF94"/>
          </a:solidFill>
        </p:spPr>
        <p:txBody>
          <a:bodyPr wrap="square" anchor="ctr">
            <a:noAutofit/>
          </a:bodyPr>
          <a:lstStyle>
            <a:lvl1pPr algn="ctr">
              <a:spcBef>
                <a:spcPts val="600"/>
              </a:spcBef>
              <a:defRPr sz="1200">
                <a:solidFill>
                  <a:schemeClr val="tx2"/>
                </a:solidFill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es-ES" dirty="0"/>
              <a:t>Haz </a:t>
            </a:r>
            <a:r>
              <a:rPr lang="es-ES" dirty="0" err="1"/>
              <a:t>click</a:t>
            </a:r>
            <a:r>
              <a:rPr lang="es-ES" dirty="0"/>
              <a:t> para editar los estilos del texto del modelo global</a:t>
            </a:r>
            <a:endParaRPr lang="pt-PT" dirty="0"/>
          </a:p>
        </p:txBody>
      </p:sp>
      <p:sp>
        <p:nvSpPr>
          <p:cNvPr id="80" name="Marcador de Posição do Texto 10">
            <a:extLst>
              <a:ext uri="{FF2B5EF4-FFF2-40B4-BE49-F238E27FC236}">
                <a16:creationId xmlns:a16="http://schemas.microsoft.com/office/drawing/2014/main" id="{B81B6FE7-3EE8-F3F9-C80C-531E15C257FD}"/>
              </a:ext>
            </a:extLst>
          </p:cNvPr>
          <p:cNvSpPr>
            <a:spLocks noGrp="1"/>
          </p:cNvSpPr>
          <p:nvPr>
            <p:ph type="body" sz="quarter" idx="68" hasCustomPrompt="1"/>
          </p:nvPr>
        </p:nvSpPr>
        <p:spPr>
          <a:xfrm>
            <a:off x="511932" y="3287355"/>
            <a:ext cx="1569315" cy="422173"/>
          </a:xfrm>
        </p:spPr>
        <p:txBody>
          <a:bodyPr anchor="ctr">
            <a:noAutofit/>
          </a:bodyPr>
          <a:lstStyle>
            <a:lvl1pPr algn="ctr">
              <a:spcBef>
                <a:spcPts val="600"/>
              </a:spcBef>
              <a:defRPr sz="1000">
                <a:solidFill>
                  <a:schemeClr val="tx2"/>
                </a:solidFill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es-ES" dirty="0"/>
              <a:t>Haz </a:t>
            </a:r>
            <a:r>
              <a:rPr lang="es-ES" dirty="0" err="1"/>
              <a:t>click</a:t>
            </a:r>
            <a:r>
              <a:rPr lang="es-ES" dirty="0"/>
              <a:t> para editar los estilos del texto del modelo global</a:t>
            </a:r>
            <a:endParaRPr lang="pt-PT" dirty="0"/>
          </a:p>
        </p:txBody>
      </p:sp>
      <p:sp>
        <p:nvSpPr>
          <p:cNvPr id="81" name="Marcador de Posição do Texto 10">
            <a:extLst>
              <a:ext uri="{FF2B5EF4-FFF2-40B4-BE49-F238E27FC236}">
                <a16:creationId xmlns:a16="http://schemas.microsoft.com/office/drawing/2014/main" id="{BA5B13FE-C41C-EB58-F0B9-73E8200CC2A9}"/>
              </a:ext>
            </a:extLst>
          </p:cNvPr>
          <p:cNvSpPr>
            <a:spLocks noGrp="1"/>
          </p:cNvSpPr>
          <p:nvPr>
            <p:ph type="body" sz="quarter" idx="69" hasCustomPrompt="1"/>
          </p:nvPr>
        </p:nvSpPr>
        <p:spPr>
          <a:xfrm>
            <a:off x="511932" y="5115525"/>
            <a:ext cx="1569315" cy="422173"/>
          </a:xfrm>
        </p:spPr>
        <p:txBody>
          <a:bodyPr anchor="ctr">
            <a:noAutofit/>
          </a:bodyPr>
          <a:lstStyle>
            <a:lvl1pPr algn="ctr">
              <a:spcBef>
                <a:spcPts val="600"/>
              </a:spcBef>
              <a:defRPr sz="1000">
                <a:solidFill>
                  <a:schemeClr val="tx2"/>
                </a:solidFill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es-ES" dirty="0"/>
              <a:t>Haz </a:t>
            </a:r>
            <a:r>
              <a:rPr lang="es-ES" dirty="0" err="1"/>
              <a:t>click</a:t>
            </a:r>
            <a:r>
              <a:rPr lang="es-ES" dirty="0"/>
              <a:t> para editar los estilos del texto del modelo global</a:t>
            </a:r>
            <a:endParaRPr lang="pt-PT" dirty="0"/>
          </a:p>
        </p:txBody>
      </p:sp>
      <p:sp>
        <p:nvSpPr>
          <p:cNvPr id="82" name="Marcador de Posição do Texto 10">
            <a:extLst>
              <a:ext uri="{FF2B5EF4-FFF2-40B4-BE49-F238E27FC236}">
                <a16:creationId xmlns:a16="http://schemas.microsoft.com/office/drawing/2014/main" id="{15B3BFB4-FAA4-4D4B-05D6-10CA56B15C6D}"/>
              </a:ext>
            </a:extLst>
          </p:cNvPr>
          <p:cNvSpPr>
            <a:spLocks noGrp="1"/>
          </p:cNvSpPr>
          <p:nvPr>
            <p:ph type="body" sz="quarter" idx="70" hasCustomPrompt="1"/>
          </p:nvPr>
        </p:nvSpPr>
        <p:spPr>
          <a:xfrm>
            <a:off x="3559127" y="1906977"/>
            <a:ext cx="1569315" cy="187406"/>
          </a:xfrm>
        </p:spPr>
        <p:txBody>
          <a:bodyPr anchor="ctr">
            <a:noAutofit/>
          </a:bodyPr>
          <a:lstStyle>
            <a:lvl1pPr algn="ctr">
              <a:spcBef>
                <a:spcPts val="600"/>
              </a:spcBef>
              <a:defRPr sz="1000">
                <a:solidFill>
                  <a:schemeClr val="tx2"/>
                </a:solidFill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es-ES" dirty="0"/>
              <a:t>Haz </a:t>
            </a:r>
            <a:r>
              <a:rPr lang="es-ES" dirty="0" err="1"/>
              <a:t>click</a:t>
            </a:r>
            <a:r>
              <a:rPr lang="es-ES" dirty="0"/>
              <a:t> para editar los estilos del texto del modelo global</a:t>
            </a:r>
            <a:endParaRPr lang="pt-PT" dirty="0"/>
          </a:p>
        </p:txBody>
      </p:sp>
      <p:sp>
        <p:nvSpPr>
          <p:cNvPr id="90" name="Marcador de Posição do Texto 89">
            <a:extLst>
              <a:ext uri="{FF2B5EF4-FFF2-40B4-BE49-F238E27FC236}">
                <a16:creationId xmlns:a16="http://schemas.microsoft.com/office/drawing/2014/main" id="{C6A1DDBC-2BC7-DD03-CEF7-DB499D1EB3D5}"/>
              </a:ext>
            </a:extLst>
          </p:cNvPr>
          <p:cNvSpPr>
            <a:spLocks noGrp="1"/>
          </p:cNvSpPr>
          <p:nvPr>
            <p:ph type="body" sz="quarter" idx="71" hasCustomPrompt="1"/>
          </p:nvPr>
        </p:nvSpPr>
        <p:spPr>
          <a:xfrm>
            <a:off x="511930" y="6094076"/>
            <a:ext cx="11168136" cy="262273"/>
          </a:xfrm>
          <a:custGeom>
            <a:avLst/>
            <a:gdLst>
              <a:gd name="connsiteX0" fmla="*/ 10687318 w 11168136"/>
              <a:gd name="connsiteY0" fmla="*/ 0 h 262273"/>
              <a:gd name="connsiteX1" fmla="*/ 10905765 w 11168136"/>
              <a:gd name="connsiteY1" fmla="*/ 0 h 262273"/>
              <a:gd name="connsiteX2" fmla="*/ 10905871 w 11168136"/>
              <a:gd name="connsiteY2" fmla="*/ 0 h 262273"/>
              <a:gd name="connsiteX3" fmla="*/ 11168136 w 11168136"/>
              <a:gd name="connsiteY3" fmla="*/ 262263 h 262273"/>
              <a:gd name="connsiteX4" fmla="*/ 10698992 w 11168136"/>
              <a:gd name="connsiteY4" fmla="*/ 262263 h 262273"/>
              <a:gd name="connsiteX5" fmla="*/ 10698992 w 11168136"/>
              <a:gd name="connsiteY5" fmla="*/ 262273 h 262273"/>
              <a:gd name="connsiteX6" fmla="*/ 7073939 w 11168136"/>
              <a:gd name="connsiteY6" fmla="*/ 262262 h 262273"/>
              <a:gd name="connsiteX7" fmla="*/ 2986542 w 11168136"/>
              <a:gd name="connsiteY7" fmla="*/ 262262 h 262273"/>
              <a:gd name="connsiteX8" fmla="*/ 2986542 w 11168136"/>
              <a:gd name="connsiteY8" fmla="*/ 262250 h 262273"/>
              <a:gd name="connsiteX9" fmla="*/ 480826 w 11168136"/>
              <a:gd name="connsiteY9" fmla="*/ 262242 h 262273"/>
              <a:gd name="connsiteX10" fmla="*/ 480818 w 11168136"/>
              <a:gd name="connsiteY10" fmla="*/ 262266 h 262273"/>
              <a:gd name="connsiteX11" fmla="*/ 262372 w 11168136"/>
              <a:gd name="connsiteY11" fmla="*/ 262266 h 262273"/>
              <a:gd name="connsiteX12" fmla="*/ 262265 w 11168136"/>
              <a:gd name="connsiteY12" fmla="*/ 262266 h 262273"/>
              <a:gd name="connsiteX13" fmla="*/ 0 w 11168136"/>
              <a:gd name="connsiteY13" fmla="*/ 3 h 262273"/>
              <a:gd name="connsiteX14" fmla="*/ 568239 w 11168136"/>
              <a:gd name="connsiteY14" fmla="*/ 3 h 262273"/>
              <a:gd name="connsiteX15" fmla="*/ 568236 w 11168136"/>
              <a:gd name="connsiteY15" fmla="*/ 14 h 262273"/>
              <a:gd name="connsiteX16" fmla="*/ 2986542 w 11168136"/>
              <a:gd name="connsiteY16" fmla="*/ 21 h 262273"/>
              <a:gd name="connsiteX17" fmla="*/ 2986542 w 11168136"/>
              <a:gd name="connsiteY17" fmla="*/ 4 h 262273"/>
              <a:gd name="connsiteX18" fmla="*/ 8096205 w 11168136"/>
              <a:gd name="connsiteY18" fmla="*/ 4 h 262273"/>
              <a:gd name="connsiteX19" fmla="*/ 8096205 w 11168136"/>
              <a:gd name="connsiteY19" fmla="*/ 37 h 262273"/>
              <a:gd name="connsiteX20" fmla="*/ 10687304 w 11168136"/>
              <a:gd name="connsiteY20" fmla="*/ 44 h 2622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11168136" h="262273">
                <a:moveTo>
                  <a:pt x="10687318" y="0"/>
                </a:moveTo>
                <a:lnTo>
                  <a:pt x="10905765" y="0"/>
                </a:lnTo>
                <a:lnTo>
                  <a:pt x="10905871" y="0"/>
                </a:lnTo>
                <a:cubicBezTo>
                  <a:pt x="11050676" y="0"/>
                  <a:pt x="11168136" y="117351"/>
                  <a:pt x="11168136" y="262263"/>
                </a:cubicBezTo>
                <a:lnTo>
                  <a:pt x="10698992" y="262263"/>
                </a:lnTo>
                <a:lnTo>
                  <a:pt x="10698992" y="262273"/>
                </a:lnTo>
                <a:lnTo>
                  <a:pt x="7073939" y="262262"/>
                </a:lnTo>
                <a:lnTo>
                  <a:pt x="2986542" y="262262"/>
                </a:lnTo>
                <a:lnTo>
                  <a:pt x="2986542" y="262250"/>
                </a:lnTo>
                <a:lnTo>
                  <a:pt x="480826" y="262242"/>
                </a:lnTo>
                <a:lnTo>
                  <a:pt x="480818" y="262266"/>
                </a:lnTo>
                <a:lnTo>
                  <a:pt x="262372" y="262266"/>
                </a:lnTo>
                <a:lnTo>
                  <a:pt x="262265" y="262266"/>
                </a:lnTo>
                <a:cubicBezTo>
                  <a:pt x="117461" y="262266"/>
                  <a:pt x="0" y="144915"/>
                  <a:pt x="0" y="3"/>
                </a:cubicBezTo>
                <a:lnTo>
                  <a:pt x="568239" y="3"/>
                </a:lnTo>
                <a:lnTo>
                  <a:pt x="568236" y="14"/>
                </a:lnTo>
                <a:lnTo>
                  <a:pt x="2986542" y="21"/>
                </a:lnTo>
                <a:lnTo>
                  <a:pt x="2986542" y="4"/>
                </a:lnTo>
                <a:lnTo>
                  <a:pt x="8096205" y="4"/>
                </a:lnTo>
                <a:lnTo>
                  <a:pt x="8096205" y="37"/>
                </a:lnTo>
                <a:lnTo>
                  <a:pt x="10687304" y="44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anchor="ctr">
            <a:noAutofit/>
          </a:bodyPr>
          <a:lstStyle>
            <a:lvl1pPr algn="ctr">
              <a:spcBef>
                <a:spcPts val="600"/>
              </a:spcBef>
              <a:defRPr sz="1000">
                <a:solidFill>
                  <a:schemeClr val="bg1"/>
                </a:solidFill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es-ES" dirty="0"/>
              <a:t>Haz </a:t>
            </a:r>
            <a:r>
              <a:rPr lang="es-ES" dirty="0" err="1"/>
              <a:t>click</a:t>
            </a:r>
            <a:r>
              <a:rPr lang="es-ES" dirty="0"/>
              <a:t> para editar los estilos del texto del modelo global</a:t>
            </a:r>
            <a:endParaRPr lang="pt-PT" dirty="0"/>
          </a:p>
        </p:txBody>
      </p:sp>
      <p:sp>
        <p:nvSpPr>
          <p:cNvPr id="91" name="Marcador de Posição do Texto 10">
            <a:extLst>
              <a:ext uri="{FF2B5EF4-FFF2-40B4-BE49-F238E27FC236}">
                <a16:creationId xmlns:a16="http://schemas.microsoft.com/office/drawing/2014/main" id="{9D5B9B72-A79F-81DA-D715-06B3BEAD465A}"/>
              </a:ext>
            </a:extLst>
          </p:cNvPr>
          <p:cNvSpPr>
            <a:spLocks noGrp="1"/>
          </p:cNvSpPr>
          <p:nvPr>
            <p:ph type="body" sz="quarter" idx="72" hasCustomPrompt="1"/>
          </p:nvPr>
        </p:nvSpPr>
        <p:spPr>
          <a:xfrm>
            <a:off x="10113316" y="3287355"/>
            <a:ext cx="1569315" cy="422173"/>
          </a:xfrm>
        </p:spPr>
        <p:txBody>
          <a:bodyPr anchor="ctr">
            <a:noAutofit/>
          </a:bodyPr>
          <a:lstStyle>
            <a:lvl1pPr algn="ctr">
              <a:spcBef>
                <a:spcPts val="600"/>
              </a:spcBef>
              <a:defRPr sz="1000">
                <a:solidFill>
                  <a:schemeClr val="tx2"/>
                </a:solidFill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es-ES" dirty="0"/>
              <a:t>Haz </a:t>
            </a:r>
            <a:r>
              <a:rPr lang="es-ES" dirty="0" err="1"/>
              <a:t>click</a:t>
            </a:r>
            <a:r>
              <a:rPr lang="es-ES" dirty="0"/>
              <a:t> para editar los estilos del texto del modelo global</a:t>
            </a:r>
            <a:endParaRPr lang="pt-PT" dirty="0"/>
          </a:p>
        </p:txBody>
      </p:sp>
      <p:sp>
        <p:nvSpPr>
          <p:cNvPr id="92" name="Marcador de Posição do Texto 10">
            <a:extLst>
              <a:ext uri="{FF2B5EF4-FFF2-40B4-BE49-F238E27FC236}">
                <a16:creationId xmlns:a16="http://schemas.microsoft.com/office/drawing/2014/main" id="{6579F95B-B1A5-067C-92CF-126686F2E0AB}"/>
              </a:ext>
            </a:extLst>
          </p:cNvPr>
          <p:cNvSpPr>
            <a:spLocks noGrp="1"/>
          </p:cNvSpPr>
          <p:nvPr>
            <p:ph type="body" sz="quarter" idx="73" hasCustomPrompt="1"/>
          </p:nvPr>
        </p:nvSpPr>
        <p:spPr>
          <a:xfrm>
            <a:off x="10113316" y="5115525"/>
            <a:ext cx="1569315" cy="422173"/>
          </a:xfrm>
        </p:spPr>
        <p:txBody>
          <a:bodyPr anchor="ctr">
            <a:noAutofit/>
          </a:bodyPr>
          <a:lstStyle>
            <a:lvl1pPr algn="ctr">
              <a:spcBef>
                <a:spcPts val="600"/>
              </a:spcBef>
              <a:defRPr sz="1000">
                <a:solidFill>
                  <a:schemeClr val="tx2"/>
                </a:solidFill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es-ES" dirty="0"/>
              <a:t>Haz </a:t>
            </a:r>
            <a:r>
              <a:rPr lang="es-ES" dirty="0" err="1"/>
              <a:t>click</a:t>
            </a:r>
            <a:r>
              <a:rPr lang="es-ES" dirty="0"/>
              <a:t> para editar los estilos del texto del modelo global</a:t>
            </a:r>
            <a:endParaRPr lang="pt-PT" dirty="0"/>
          </a:p>
        </p:txBody>
      </p:sp>
      <p:sp>
        <p:nvSpPr>
          <p:cNvPr id="93" name="Marcador de Posição do Texto 10">
            <a:extLst>
              <a:ext uri="{FF2B5EF4-FFF2-40B4-BE49-F238E27FC236}">
                <a16:creationId xmlns:a16="http://schemas.microsoft.com/office/drawing/2014/main" id="{39A1203E-31FC-CF25-0DA0-ABE920ACB38D}"/>
              </a:ext>
            </a:extLst>
          </p:cNvPr>
          <p:cNvSpPr>
            <a:spLocks noGrp="1"/>
          </p:cNvSpPr>
          <p:nvPr>
            <p:ph type="body" sz="quarter" idx="74" hasCustomPrompt="1"/>
          </p:nvPr>
        </p:nvSpPr>
        <p:spPr>
          <a:xfrm>
            <a:off x="7063560" y="1906977"/>
            <a:ext cx="1569315" cy="187406"/>
          </a:xfrm>
        </p:spPr>
        <p:txBody>
          <a:bodyPr anchor="ctr">
            <a:noAutofit/>
          </a:bodyPr>
          <a:lstStyle>
            <a:lvl1pPr algn="ctr">
              <a:spcBef>
                <a:spcPts val="600"/>
              </a:spcBef>
              <a:defRPr sz="1000">
                <a:solidFill>
                  <a:schemeClr val="tx2"/>
                </a:solidFill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es-ES" dirty="0"/>
              <a:t>Haz </a:t>
            </a:r>
            <a:r>
              <a:rPr lang="es-ES" dirty="0" err="1"/>
              <a:t>click</a:t>
            </a:r>
            <a:r>
              <a:rPr lang="es-ES" dirty="0"/>
              <a:t> para editar los estilos del texto del modelo global</a:t>
            </a:r>
            <a:endParaRPr lang="pt-PT" dirty="0"/>
          </a:p>
        </p:txBody>
      </p:sp>
      <p:sp>
        <p:nvSpPr>
          <p:cNvPr id="94" name="Marcador de Posição do Texto 10">
            <a:extLst>
              <a:ext uri="{FF2B5EF4-FFF2-40B4-BE49-F238E27FC236}">
                <a16:creationId xmlns:a16="http://schemas.microsoft.com/office/drawing/2014/main" id="{751EED70-7559-CFAE-6B5A-321FFF1F7C94}"/>
              </a:ext>
            </a:extLst>
          </p:cNvPr>
          <p:cNvSpPr>
            <a:spLocks noGrp="1"/>
          </p:cNvSpPr>
          <p:nvPr>
            <p:ph type="body" sz="quarter" idx="75" hasCustomPrompt="1"/>
          </p:nvPr>
        </p:nvSpPr>
        <p:spPr>
          <a:xfrm>
            <a:off x="3559127" y="5867620"/>
            <a:ext cx="1569315" cy="187406"/>
          </a:xfrm>
        </p:spPr>
        <p:txBody>
          <a:bodyPr anchor="ctr">
            <a:noAutofit/>
          </a:bodyPr>
          <a:lstStyle>
            <a:lvl1pPr algn="ctr">
              <a:spcBef>
                <a:spcPts val="600"/>
              </a:spcBef>
              <a:defRPr sz="1000">
                <a:solidFill>
                  <a:schemeClr val="tx2"/>
                </a:solidFill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es-ES" dirty="0"/>
              <a:t>Haz </a:t>
            </a:r>
            <a:r>
              <a:rPr lang="es-ES" dirty="0" err="1"/>
              <a:t>click</a:t>
            </a:r>
            <a:r>
              <a:rPr lang="es-ES" dirty="0"/>
              <a:t> para editar los estilos del texto del modelo global</a:t>
            </a:r>
            <a:endParaRPr lang="pt-PT" dirty="0"/>
          </a:p>
        </p:txBody>
      </p:sp>
      <p:sp>
        <p:nvSpPr>
          <p:cNvPr id="95" name="Marcador de Posição do Texto 10">
            <a:extLst>
              <a:ext uri="{FF2B5EF4-FFF2-40B4-BE49-F238E27FC236}">
                <a16:creationId xmlns:a16="http://schemas.microsoft.com/office/drawing/2014/main" id="{B702CD76-48CD-2869-3109-40FDC1E274C6}"/>
              </a:ext>
            </a:extLst>
          </p:cNvPr>
          <p:cNvSpPr>
            <a:spLocks noGrp="1"/>
          </p:cNvSpPr>
          <p:nvPr>
            <p:ph type="body" sz="quarter" idx="76" hasCustomPrompt="1"/>
          </p:nvPr>
        </p:nvSpPr>
        <p:spPr>
          <a:xfrm>
            <a:off x="7063560" y="5867620"/>
            <a:ext cx="1569315" cy="187406"/>
          </a:xfrm>
        </p:spPr>
        <p:txBody>
          <a:bodyPr anchor="ctr">
            <a:noAutofit/>
          </a:bodyPr>
          <a:lstStyle>
            <a:lvl1pPr algn="ctr">
              <a:spcBef>
                <a:spcPts val="600"/>
              </a:spcBef>
              <a:defRPr sz="1000">
                <a:solidFill>
                  <a:schemeClr val="tx2"/>
                </a:solidFill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es-ES" dirty="0"/>
              <a:t>Haz </a:t>
            </a:r>
            <a:r>
              <a:rPr lang="es-ES" dirty="0" err="1"/>
              <a:t>click</a:t>
            </a:r>
            <a:r>
              <a:rPr lang="es-ES" dirty="0"/>
              <a:t> para editar los estilos del texto del modelo global</a:t>
            </a:r>
            <a:endParaRPr lang="pt-PT" dirty="0"/>
          </a:p>
        </p:txBody>
      </p:sp>
      <p:cxnSp>
        <p:nvCxnSpPr>
          <p:cNvPr id="96" name="Conexão reta 95">
            <a:extLst>
              <a:ext uri="{FF2B5EF4-FFF2-40B4-BE49-F238E27FC236}">
                <a16:creationId xmlns:a16="http://schemas.microsoft.com/office/drawing/2014/main" id="{CF84A803-3D53-632F-E6C2-0430FBA0AC2D}"/>
              </a:ext>
            </a:extLst>
          </p:cNvPr>
          <p:cNvCxnSpPr/>
          <p:nvPr userDrawn="1"/>
        </p:nvCxnSpPr>
        <p:spPr>
          <a:xfrm>
            <a:off x="1986444" y="3200567"/>
            <a:ext cx="442451" cy="0"/>
          </a:xfrm>
          <a:prstGeom prst="line">
            <a:avLst/>
          </a:prstGeom>
          <a:noFill/>
          <a:ln w="12700">
            <a:solidFill>
              <a:schemeClr val="tx1"/>
            </a:solidFill>
            <a:headEnd type="none"/>
            <a:tailEnd type="arrow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7" name="Conexão reta 96">
            <a:extLst>
              <a:ext uri="{FF2B5EF4-FFF2-40B4-BE49-F238E27FC236}">
                <a16:creationId xmlns:a16="http://schemas.microsoft.com/office/drawing/2014/main" id="{B6107B17-2A05-92BC-9F50-B08B122EA9C7}"/>
              </a:ext>
            </a:extLst>
          </p:cNvPr>
          <p:cNvCxnSpPr/>
          <p:nvPr userDrawn="1"/>
        </p:nvCxnSpPr>
        <p:spPr>
          <a:xfrm>
            <a:off x="1986444" y="4927369"/>
            <a:ext cx="442451" cy="0"/>
          </a:xfrm>
          <a:prstGeom prst="line">
            <a:avLst/>
          </a:prstGeom>
          <a:noFill/>
          <a:ln w="12700">
            <a:solidFill>
              <a:schemeClr val="tx1"/>
            </a:solidFill>
            <a:headEnd type="none"/>
            <a:tailEnd type="arrow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8" name="Conexão reta 97">
            <a:extLst>
              <a:ext uri="{FF2B5EF4-FFF2-40B4-BE49-F238E27FC236}">
                <a16:creationId xmlns:a16="http://schemas.microsoft.com/office/drawing/2014/main" id="{D1FDD2B7-AB26-7DB3-8756-E354ABACCD91}"/>
              </a:ext>
            </a:extLst>
          </p:cNvPr>
          <p:cNvCxnSpPr>
            <a:cxnSpLocks/>
          </p:cNvCxnSpPr>
          <p:nvPr userDrawn="1"/>
        </p:nvCxnSpPr>
        <p:spPr>
          <a:xfrm flipH="1">
            <a:off x="9799484" y="3200567"/>
            <a:ext cx="442451" cy="0"/>
          </a:xfrm>
          <a:prstGeom prst="line">
            <a:avLst/>
          </a:prstGeom>
          <a:noFill/>
          <a:ln w="12700">
            <a:solidFill>
              <a:schemeClr val="tx1"/>
            </a:solidFill>
            <a:headEnd type="none"/>
            <a:tailEnd type="arrow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9" name="Conexão reta 98">
            <a:extLst>
              <a:ext uri="{FF2B5EF4-FFF2-40B4-BE49-F238E27FC236}">
                <a16:creationId xmlns:a16="http://schemas.microsoft.com/office/drawing/2014/main" id="{662B0058-FF22-0B36-9519-977C22281BD9}"/>
              </a:ext>
            </a:extLst>
          </p:cNvPr>
          <p:cNvCxnSpPr>
            <a:cxnSpLocks/>
          </p:cNvCxnSpPr>
          <p:nvPr userDrawn="1"/>
        </p:nvCxnSpPr>
        <p:spPr>
          <a:xfrm flipH="1">
            <a:off x="9799484" y="4927369"/>
            <a:ext cx="442451" cy="0"/>
          </a:xfrm>
          <a:prstGeom prst="line">
            <a:avLst/>
          </a:prstGeom>
          <a:noFill/>
          <a:ln w="12700">
            <a:solidFill>
              <a:schemeClr val="tx1"/>
            </a:solidFill>
            <a:headEnd type="none"/>
            <a:tailEnd type="arrow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pic>
        <p:nvPicPr>
          <p:cNvPr id="100" name="Imagem 99">
            <a:extLst>
              <a:ext uri="{FF2B5EF4-FFF2-40B4-BE49-F238E27FC236}">
                <a16:creationId xmlns:a16="http://schemas.microsoft.com/office/drawing/2014/main" id="{C5C96310-4EB0-E452-AC71-B7BE6FD1E11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 l="12584" t="17349" r="69501" b="19713"/>
          <a:stretch>
            <a:fillRect/>
          </a:stretch>
        </p:blipFill>
        <p:spPr>
          <a:xfrm rot="5400000" flipH="1" flipV="1">
            <a:off x="8539722" y="-2033048"/>
            <a:ext cx="1619233" cy="5685322"/>
          </a:xfrm>
          <a:prstGeom prst="rect">
            <a:avLst/>
          </a:prstGeom>
        </p:spPr>
      </p:pic>
      <p:pic>
        <p:nvPicPr>
          <p:cNvPr id="101" name="Imagem 100">
            <a:extLst>
              <a:ext uri="{FF2B5EF4-FFF2-40B4-BE49-F238E27FC236}">
                <a16:creationId xmlns:a16="http://schemas.microsoft.com/office/drawing/2014/main" id="{77BA6D47-C4D3-2DE0-CF67-4AF663B933F9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 l="23581" t="60527" r="14745" b="14633"/>
          <a:stretch>
            <a:fillRect/>
          </a:stretch>
        </p:blipFill>
        <p:spPr>
          <a:xfrm rot="5400000" flipV="1">
            <a:off x="-1214582" y="1208402"/>
            <a:ext cx="4046489" cy="1629676"/>
          </a:xfrm>
          <a:prstGeom prst="rect">
            <a:avLst/>
          </a:prstGeom>
        </p:spPr>
      </p:pic>
      <p:sp>
        <p:nvSpPr>
          <p:cNvPr id="28" name="Marcador de Posição do Rodapé 4">
            <a:extLst>
              <a:ext uri="{FF2B5EF4-FFF2-40B4-BE49-F238E27FC236}">
                <a16:creationId xmlns:a16="http://schemas.microsoft.com/office/drawing/2014/main" id="{B708B44A-0770-4D2F-A6B3-9394964C33A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12762" y="6356350"/>
            <a:ext cx="534669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accent2"/>
                </a:solidFill>
              </a:defRPr>
            </a:lvl1pPr>
          </a:lstStyle>
          <a:p>
            <a:r>
              <a:rPr lang="pt-PT"/>
              <a:t>Título de la presentación</a:t>
            </a:r>
            <a:endParaRPr lang="pt-PT" dirty="0"/>
          </a:p>
        </p:txBody>
      </p:sp>
      <p:sp>
        <p:nvSpPr>
          <p:cNvPr id="29" name="Marcador de Posição do Número do Diapositivo 5">
            <a:extLst>
              <a:ext uri="{FF2B5EF4-FFF2-40B4-BE49-F238E27FC236}">
                <a16:creationId xmlns:a16="http://schemas.microsoft.com/office/drawing/2014/main" id="{8C97932F-A6DE-4A8F-ABBC-4388FD80C0B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936039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accent2"/>
                </a:solidFill>
              </a:defRPr>
            </a:lvl1pPr>
          </a:lstStyle>
          <a:p>
            <a:fld id="{24A347C2-D68E-473A-8C76-1D063E4EB6E0}" type="slidenum">
              <a:rPr lang="es-ES" smtClean="0"/>
              <a:pPr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91895769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0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7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71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7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72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7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74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7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75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7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76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7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77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500"/>
                                        <p:tgtEl>
                                          <p:spTgt spid="7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78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7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500"/>
                                        <p:tgtEl>
                                          <p:spTgt spid="79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8" dur="500"/>
                                        <p:tgtEl>
                                          <p:spTgt spid="7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1" dur="500"/>
                                        <p:tgtEl>
                                          <p:spTgt spid="8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4" dur="500"/>
                                        <p:tgtEl>
                                          <p:spTgt spid="8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7" dur="500"/>
                                        <p:tgtEl>
                                          <p:spTgt spid="8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0" dur="500"/>
                                        <p:tgtEl>
                                          <p:spTgt spid="90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3" dur="500"/>
                                        <p:tgtEl>
                                          <p:spTgt spid="9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6" dur="500"/>
                                        <p:tgtEl>
                                          <p:spTgt spid="9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9" dur="500"/>
                                        <p:tgtEl>
                                          <p:spTgt spid="9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2" dur="500"/>
                                        <p:tgtEl>
                                          <p:spTgt spid="9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5" dur="500"/>
                                        <p:tgtEl>
                                          <p:spTgt spid="9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8" dur="500"/>
                                        <p:tgtEl>
                                          <p:spTgt spid="9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1" dur="500"/>
                                        <p:tgtEl>
                                          <p:spTgt spid="9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4" dur="500"/>
                                        <p:tgtEl>
                                          <p:spTgt spid="9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7" dur="500"/>
                                        <p:tgtEl>
                                          <p:spTgt spid="9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0" dur="500"/>
                                        <p:tgtEl>
                                          <p:spTgt spid="9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3" dur="25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4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25E-6 0.03889 L 1.25E-6 1.85185E-6 " pathEditMode="relative" rAng="0" ptsTypes="AA">
                                      <p:cBhvr>
                                        <p:cTn id="105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944"/>
                                    </p:animMotion>
                                  </p:childTnLst>
                                </p:cTn>
                              </p:par>
                              <p:par>
                                <p:cTn id="10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8" dur="25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9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25E-6 0.03889 L 1.25E-6 1.85185E-6 " pathEditMode="relative" rAng="0" ptsTypes="AA">
                                      <p:cBhvr>
                                        <p:cTn id="110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944"/>
                                    </p:animMotion>
                                  </p:childTnLst>
                                </p:cTn>
                              </p:par>
                              <p:par>
                                <p:cTn id="1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3" dur="250"/>
                                        <p:tgtEl>
                                          <p:spTgt spid="10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4" presetID="42" presetClass="path" presetSubtype="0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25E-6 0.03889 L 1.25E-6 1.85185E-6 " pathEditMode="relative" rAng="0" ptsTypes="AA">
                                      <p:cBhvr>
                                        <p:cTn id="115" dur="500" fill="hold"/>
                                        <p:tgtEl>
                                          <p:spTgt spid="10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944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6" grpId="1"/>
      <p:bldP spid="7" grpId="0">
        <p:tmplLst>
          <p:tmpl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250"/>
                        <p:tgtEl>
                          <p:spTgt spid="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7" grpId="1"/>
      <p:bldP spid="70" grpId="0" build="p" animBg="1">
        <p:tmplLst>
          <p:tmpl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70"/>
                        </p:tgtEl>
                      </p:cBhvr>
                    </p:animEffect>
                  </p:childTnLst>
                </p:cTn>
              </p:par>
            </p:tnLst>
          </p:tmpl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7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71" grpId="0" build="p" animBg="1">
        <p:tmplLst>
          <p:tmpl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71"/>
                        </p:tgtEl>
                      </p:cBhvr>
                    </p:animEffect>
                  </p:childTnLst>
                </p:cTn>
              </p:par>
            </p:tnLst>
          </p:tmpl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7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72" grpId="0" build="p" animBg="1">
        <p:tmplLst>
          <p:tmpl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72"/>
                        </p:tgtEl>
                      </p:cBhvr>
                    </p:animEffect>
                  </p:childTnLst>
                </p:cTn>
              </p:par>
            </p:tnLst>
          </p:tmpl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7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74" grpId="0" build="p" animBg="1">
        <p:tmplLst>
          <p:tmpl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74"/>
                        </p:tgtEl>
                      </p:cBhvr>
                    </p:animEffect>
                  </p:childTnLst>
                </p:cTn>
              </p:par>
            </p:tnLst>
          </p:tmpl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7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75" grpId="0" build="p" animBg="1">
        <p:tmplLst>
          <p:tmpl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75"/>
                        </p:tgtEl>
                      </p:cBhvr>
                    </p:animEffect>
                  </p:childTnLst>
                </p:cTn>
              </p:par>
            </p:tnLst>
          </p:tmpl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7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76" grpId="0" build="p" animBg="1">
        <p:tmplLst>
          <p:tmpl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76"/>
                        </p:tgtEl>
                      </p:cBhvr>
                    </p:animEffect>
                  </p:childTnLst>
                </p:cTn>
              </p:par>
            </p:tnLst>
          </p:tmpl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7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77" grpId="0" build="p" animBg="1">
        <p:tmplLst>
          <p:tmpl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77"/>
                        </p:tgtEl>
                      </p:cBhvr>
                    </p:animEffect>
                  </p:childTnLst>
                </p:cTn>
              </p:par>
            </p:tnLst>
          </p:tmpl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7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78" grpId="0" build="p" animBg="1">
        <p:tmplLst>
          <p:tmpl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78"/>
                        </p:tgtEl>
                      </p:cBhvr>
                    </p:animEffect>
                  </p:childTnLst>
                </p:cTn>
              </p:par>
            </p:tnLst>
          </p:tmpl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7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79" grpId="0" build="p" animBg="1">
        <p:tmplLst>
          <p:tmpl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79"/>
                        </p:tgtEl>
                      </p:cBhvr>
                    </p:animEffect>
                  </p:childTnLst>
                </p:cTn>
              </p:par>
            </p:tnLst>
          </p:tmpl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7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80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8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8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81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8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8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82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8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8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90" grpId="0" build="p" animBg="1">
        <p:tmplLst>
          <p:tmpl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90"/>
                        </p:tgtEl>
                      </p:cBhvr>
                    </p:animEffect>
                  </p:childTnLst>
                </p:cTn>
              </p:par>
            </p:tnLst>
          </p:tmpl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9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91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9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92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9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93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9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94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9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95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95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1_Esquema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7" name="Imagem 86">
            <a:extLst>
              <a:ext uri="{FF2B5EF4-FFF2-40B4-BE49-F238E27FC236}">
                <a16:creationId xmlns:a16="http://schemas.microsoft.com/office/drawing/2014/main" id="{4E9BBC6B-DF5B-EAFA-CC22-8FBBC808FC5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 l="23581" t="60527" r="14745" b="14633"/>
          <a:stretch>
            <a:fillRect/>
          </a:stretch>
        </p:blipFill>
        <p:spPr>
          <a:xfrm rot="16200000" flipV="1">
            <a:off x="9353918" y="664722"/>
            <a:ext cx="4046489" cy="1629676"/>
          </a:xfrm>
          <a:prstGeom prst="rect">
            <a:avLst/>
          </a:prstGeom>
        </p:spPr>
      </p:pic>
      <p:pic>
        <p:nvPicPr>
          <p:cNvPr id="86" name="Imagem 85">
            <a:extLst>
              <a:ext uri="{FF2B5EF4-FFF2-40B4-BE49-F238E27FC236}">
                <a16:creationId xmlns:a16="http://schemas.microsoft.com/office/drawing/2014/main" id="{C657D1CE-D15B-F9D1-FABF-FB83D1224546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 l="12584" t="17349" r="69501" b="19713"/>
          <a:stretch>
            <a:fillRect/>
          </a:stretch>
        </p:blipFill>
        <p:spPr>
          <a:xfrm rot="16200000" flipH="1">
            <a:off x="8539722" y="3205723"/>
            <a:ext cx="1619233" cy="5685322"/>
          </a:xfrm>
          <a:prstGeom prst="rect">
            <a:avLst/>
          </a:prstGeom>
        </p:spPr>
      </p:pic>
      <p:sp>
        <p:nvSpPr>
          <p:cNvPr id="85" name="Forma livre: Forma 84">
            <a:extLst>
              <a:ext uri="{FF2B5EF4-FFF2-40B4-BE49-F238E27FC236}">
                <a16:creationId xmlns:a16="http://schemas.microsoft.com/office/drawing/2014/main" id="{85E8AF9D-338B-BB7E-ABC2-85089ED1EFE1}"/>
              </a:ext>
            </a:extLst>
          </p:cNvPr>
          <p:cNvSpPr/>
          <p:nvPr userDrawn="1"/>
        </p:nvSpPr>
        <p:spPr>
          <a:xfrm>
            <a:off x="511932" y="2355179"/>
            <a:ext cx="5891173" cy="2845471"/>
          </a:xfrm>
          <a:custGeom>
            <a:avLst/>
            <a:gdLst>
              <a:gd name="connsiteX0" fmla="*/ 0 w 5891173"/>
              <a:gd name="connsiteY0" fmla="*/ 0 h 2845471"/>
              <a:gd name="connsiteX1" fmla="*/ 4367447 w 5891173"/>
              <a:gd name="connsiteY1" fmla="*/ 0 h 2845471"/>
              <a:gd name="connsiteX2" fmla="*/ 4367447 w 5891173"/>
              <a:gd name="connsiteY2" fmla="*/ 24 h 2845471"/>
              <a:gd name="connsiteX3" fmla="*/ 4929521 w 5891173"/>
              <a:gd name="connsiteY3" fmla="*/ 48 h 2845471"/>
              <a:gd name="connsiteX4" fmla="*/ 4929538 w 5891173"/>
              <a:gd name="connsiteY4" fmla="*/ 0 h 2845471"/>
              <a:gd name="connsiteX5" fmla="*/ 5366431 w 5891173"/>
              <a:gd name="connsiteY5" fmla="*/ 0 h 2845471"/>
              <a:gd name="connsiteX6" fmla="*/ 5366644 w 5891173"/>
              <a:gd name="connsiteY6" fmla="*/ 0 h 2845471"/>
              <a:gd name="connsiteX7" fmla="*/ 5880513 w 5891173"/>
              <a:gd name="connsiteY7" fmla="*/ 378904 h 2845471"/>
              <a:gd name="connsiteX8" fmla="*/ 5891169 w 5891173"/>
              <a:gd name="connsiteY8" fmla="*/ 474547 h 2845471"/>
              <a:gd name="connsiteX9" fmla="*/ 5891173 w 5891173"/>
              <a:gd name="connsiteY9" fmla="*/ 474547 h 2845471"/>
              <a:gd name="connsiteX10" fmla="*/ 5891173 w 5891173"/>
              <a:gd name="connsiteY10" fmla="*/ 474585 h 2845471"/>
              <a:gd name="connsiteX11" fmla="*/ 5891173 w 5891173"/>
              <a:gd name="connsiteY11" fmla="*/ 2845471 h 2845471"/>
              <a:gd name="connsiteX12" fmla="*/ 4367447 w 5891173"/>
              <a:gd name="connsiteY12" fmla="*/ 2845471 h 2845471"/>
              <a:gd name="connsiteX13" fmla="*/ 3895278 w 5891173"/>
              <a:gd name="connsiteY13" fmla="*/ 2845471 h 2845471"/>
              <a:gd name="connsiteX14" fmla="*/ 0 w 5891173"/>
              <a:gd name="connsiteY14" fmla="*/ 2845471 h 28454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5891173" h="2845471">
                <a:moveTo>
                  <a:pt x="0" y="0"/>
                </a:moveTo>
                <a:lnTo>
                  <a:pt x="4367447" y="0"/>
                </a:lnTo>
                <a:lnTo>
                  <a:pt x="4367447" y="24"/>
                </a:lnTo>
                <a:lnTo>
                  <a:pt x="4929521" y="48"/>
                </a:lnTo>
                <a:lnTo>
                  <a:pt x="4929538" y="0"/>
                </a:lnTo>
                <a:lnTo>
                  <a:pt x="5366431" y="0"/>
                </a:lnTo>
                <a:lnTo>
                  <a:pt x="5366644" y="0"/>
                </a:lnTo>
                <a:cubicBezTo>
                  <a:pt x="5620052" y="0"/>
                  <a:pt x="5831588" y="162584"/>
                  <a:pt x="5880513" y="378904"/>
                </a:cubicBezTo>
                <a:lnTo>
                  <a:pt x="5891169" y="474547"/>
                </a:lnTo>
                <a:lnTo>
                  <a:pt x="5891173" y="474547"/>
                </a:lnTo>
                <a:lnTo>
                  <a:pt x="5891173" y="474585"/>
                </a:lnTo>
                <a:lnTo>
                  <a:pt x="5891173" y="2845471"/>
                </a:lnTo>
                <a:lnTo>
                  <a:pt x="4367447" y="2845471"/>
                </a:lnTo>
                <a:lnTo>
                  <a:pt x="3895278" y="2845471"/>
                </a:lnTo>
                <a:lnTo>
                  <a:pt x="0" y="2845471"/>
                </a:lnTo>
                <a:close/>
              </a:path>
            </a:pathLst>
          </a:custGeom>
          <a:solidFill>
            <a:srgbClr val="E5E5E5"/>
          </a:solidFill>
          <a:ln w="4244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pt-PT">
              <a:solidFill>
                <a:schemeClr val="tx1"/>
              </a:solidFill>
            </a:endParaRPr>
          </a:p>
        </p:txBody>
      </p:sp>
      <p:sp>
        <p:nvSpPr>
          <p:cNvPr id="38" name="Título 6">
            <a:extLst>
              <a:ext uri="{FF2B5EF4-FFF2-40B4-BE49-F238E27FC236}">
                <a16:creationId xmlns:a16="http://schemas.microsoft.com/office/drawing/2014/main" id="{5835A11C-7789-2B8F-85BA-30F5E1F1605D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513184" y="393484"/>
            <a:ext cx="11081915" cy="712204"/>
          </a:xfrm>
        </p:spPr>
        <p:txBody>
          <a:bodyPr>
            <a:normAutofit/>
          </a:bodyPr>
          <a:lstStyle>
            <a:lvl1pPr>
              <a:defRPr sz="3200"/>
            </a:lvl1pPr>
          </a:lstStyle>
          <a:p>
            <a:r>
              <a:rPr lang="pt-PT" dirty="0"/>
              <a:t>Insertar título de la slide</a:t>
            </a:r>
          </a:p>
        </p:txBody>
      </p:sp>
      <p:sp>
        <p:nvSpPr>
          <p:cNvPr id="39" name="Marcador de Posição do Texto 8">
            <a:extLst>
              <a:ext uri="{FF2B5EF4-FFF2-40B4-BE49-F238E27FC236}">
                <a16:creationId xmlns:a16="http://schemas.microsoft.com/office/drawing/2014/main" id="{E8373031-18B6-B367-5761-D348859B4C52}"/>
              </a:ext>
            </a:extLst>
          </p:cNvPr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511932" y="976901"/>
            <a:ext cx="11082747" cy="355243"/>
          </a:xfrm>
        </p:spPr>
        <p:txBody>
          <a:bodyPr>
            <a:normAutofit/>
          </a:bodyPr>
          <a:lstStyle>
            <a:lvl1pPr>
              <a:defRPr sz="200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pt-PT" dirty="0"/>
              <a:t>Insertar subtítulo de la slide</a:t>
            </a:r>
          </a:p>
        </p:txBody>
      </p:sp>
      <p:sp>
        <p:nvSpPr>
          <p:cNvPr id="56" name="Marcador de Posição do Texto 55">
            <a:extLst>
              <a:ext uri="{FF2B5EF4-FFF2-40B4-BE49-F238E27FC236}">
                <a16:creationId xmlns:a16="http://schemas.microsoft.com/office/drawing/2014/main" id="{818C1E5F-40BE-095F-6524-782841EBFD60}"/>
              </a:ext>
            </a:extLst>
          </p:cNvPr>
          <p:cNvSpPr>
            <a:spLocks noGrp="1"/>
          </p:cNvSpPr>
          <p:nvPr userDrawn="1">
            <p:ph type="body" sz="quarter" idx="74" hasCustomPrompt="1"/>
          </p:nvPr>
        </p:nvSpPr>
        <p:spPr>
          <a:xfrm>
            <a:off x="511932" y="1837643"/>
            <a:ext cx="11082747" cy="355248"/>
          </a:xfrm>
          <a:custGeom>
            <a:avLst/>
            <a:gdLst>
              <a:gd name="connsiteX0" fmla="*/ 1955497 w 11082747"/>
              <a:gd name="connsiteY0" fmla="*/ 0 h 355248"/>
              <a:gd name="connsiteX1" fmla="*/ 9212639 w 11082747"/>
              <a:gd name="connsiteY1" fmla="*/ 0 h 355248"/>
              <a:gd name="connsiteX2" fmla="*/ 9212639 w 11082747"/>
              <a:gd name="connsiteY2" fmla="*/ 54 h 355248"/>
              <a:gd name="connsiteX3" fmla="*/ 10431462 w 11082747"/>
              <a:gd name="connsiteY3" fmla="*/ 59 h 355248"/>
              <a:gd name="connsiteX4" fmla="*/ 10431482 w 11082747"/>
              <a:gd name="connsiteY4" fmla="*/ 0 h 355248"/>
              <a:gd name="connsiteX5" fmla="*/ 10727367 w 11082747"/>
              <a:gd name="connsiteY5" fmla="*/ 0 h 355248"/>
              <a:gd name="connsiteX6" fmla="*/ 10727511 w 11082747"/>
              <a:gd name="connsiteY6" fmla="*/ 0 h 355248"/>
              <a:gd name="connsiteX7" fmla="*/ 11082747 w 11082747"/>
              <a:gd name="connsiteY7" fmla="*/ 355233 h 355248"/>
              <a:gd name="connsiteX8" fmla="*/ 10587867 w 11082747"/>
              <a:gd name="connsiteY8" fmla="*/ 355233 h 355248"/>
              <a:gd name="connsiteX9" fmla="*/ 10587867 w 11082747"/>
              <a:gd name="connsiteY9" fmla="*/ 355247 h 355248"/>
              <a:gd name="connsiteX10" fmla="*/ 9212639 w 11082747"/>
              <a:gd name="connsiteY10" fmla="*/ 355241 h 355248"/>
              <a:gd name="connsiteX11" fmla="*/ 9212639 w 11082747"/>
              <a:gd name="connsiteY11" fmla="*/ 355248 h 355248"/>
              <a:gd name="connsiteX12" fmla="*/ 1955497 w 11082747"/>
              <a:gd name="connsiteY12" fmla="*/ 355248 h 355248"/>
              <a:gd name="connsiteX13" fmla="*/ 1955497 w 11082747"/>
              <a:gd name="connsiteY13" fmla="*/ 355212 h 355248"/>
              <a:gd name="connsiteX14" fmla="*/ 651276 w 11082747"/>
              <a:gd name="connsiteY14" fmla="*/ 355206 h 355248"/>
              <a:gd name="connsiteX15" fmla="*/ 651266 w 11082747"/>
              <a:gd name="connsiteY15" fmla="*/ 355237 h 355248"/>
              <a:gd name="connsiteX16" fmla="*/ 355381 w 11082747"/>
              <a:gd name="connsiteY16" fmla="*/ 355237 h 355248"/>
              <a:gd name="connsiteX17" fmla="*/ 355236 w 11082747"/>
              <a:gd name="connsiteY17" fmla="*/ 355237 h 355248"/>
              <a:gd name="connsiteX18" fmla="*/ 0 w 11082747"/>
              <a:gd name="connsiteY18" fmla="*/ 4 h 355248"/>
              <a:gd name="connsiteX19" fmla="*/ 769676 w 11082747"/>
              <a:gd name="connsiteY19" fmla="*/ 4 h 355248"/>
              <a:gd name="connsiteX20" fmla="*/ 769671 w 11082747"/>
              <a:gd name="connsiteY20" fmla="*/ 19 h 355248"/>
              <a:gd name="connsiteX21" fmla="*/ 1955497 w 11082747"/>
              <a:gd name="connsiteY21" fmla="*/ 24 h 3552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11082747" h="355248">
                <a:moveTo>
                  <a:pt x="1955497" y="0"/>
                </a:moveTo>
                <a:lnTo>
                  <a:pt x="9212639" y="0"/>
                </a:lnTo>
                <a:lnTo>
                  <a:pt x="9212639" y="54"/>
                </a:lnTo>
                <a:lnTo>
                  <a:pt x="10431462" y="59"/>
                </a:lnTo>
                <a:lnTo>
                  <a:pt x="10431482" y="0"/>
                </a:lnTo>
                <a:lnTo>
                  <a:pt x="10727367" y="0"/>
                </a:lnTo>
                <a:lnTo>
                  <a:pt x="10727511" y="0"/>
                </a:lnTo>
                <a:cubicBezTo>
                  <a:pt x="10923648" y="0"/>
                  <a:pt x="11082747" y="158951"/>
                  <a:pt x="11082747" y="355233"/>
                </a:cubicBezTo>
                <a:lnTo>
                  <a:pt x="10587867" y="355233"/>
                </a:lnTo>
                <a:lnTo>
                  <a:pt x="10587867" y="355247"/>
                </a:lnTo>
                <a:lnTo>
                  <a:pt x="9212639" y="355241"/>
                </a:lnTo>
                <a:lnTo>
                  <a:pt x="9212639" y="355248"/>
                </a:lnTo>
                <a:lnTo>
                  <a:pt x="1955497" y="355248"/>
                </a:lnTo>
                <a:lnTo>
                  <a:pt x="1955497" y="355212"/>
                </a:lnTo>
                <a:lnTo>
                  <a:pt x="651276" y="355206"/>
                </a:lnTo>
                <a:lnTo>
                  <a:pt x="651266" y="355237"/>
                </a:lnTo>
                <a:lnTo>
                  <a:pt x="355381" y="355237"/>
                </a:lnTo>
                <a:lnTo>
                  <a:pt x="355236" y="355237"/>
                </a:lnTo>
                <a:cubicBezTo>
                  <a:pt x="159100" y="355237"/>
                  <a:pt x="0" y="196286"/>
                  <a:pt x="0" y="4"/>
                </a:cubicBezTo>
                <a:lnTo>
                  <a:pt x="769676" y="4"/>
                </a:lnTo>
                <a:lnTo>
                  <a:pt x="769671" y="19"/>
                </a:lnTo>
                <a:lnTo>
                  <a:pt x="1955497" y="24"/>
                </a:lnTo>
                <a:close/>
              </a:path>
            </a:pathLst>
          </a:custGeom>
          <a:solidFill>
            <a:schemeClr val="tx1"/>
          </a:solidFill>
        </p:spPr>
        <p:txBody>
          <a:bodyPr wrap="square" anchor="ctr">
            <a:noAutofit/>
          </a:bodyPr>
          <a:lstStyle>
            <a:lvl1pPr algn="ctr">
              <a:spcBef>
                <a:spcPts val="600"/>
              </a:spcBef>
              <a:defRPr sz="1200">
                <a:solidFill>
                  <a:schemeClr val="bg1"/>
                </a:solidFill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es-ES" dirty="0"/>
              <a:t>Haz </a:t>
            </a:r>
            <a:r>
              <a:rPr lang="es-ES" dirty="0" err="1"/>
              <a:t>click</a:t>
            </a:r>
            <a:r>
              <a:rPr lang="es-ES" dirty="0"/>
              <a:t> para editar los estilos del texto del modelo global</a:t>
            </a:r>
            <a:endParaRPr lang="pt-PT" dirty="0"/>
          </a:p>
        </p:txBody>
      </p:sp>
      <p:sp>
        <p:nvSpPr>
          <p:cNvPr id="57" name="Marcador de Posição do Texto 56">
            <a:extLst>
              <a:ext uri="{FF2B5EF4-FFF2-40B4-BE49-F238E27FC236}">
                <a16:creationId xmlns:a16="http://schemas.microsoft.com/office/drawing/2014/main" id="{D6BDA0E2-E462-335B-5F45-B51F10C252A5}"/>
              </a:ext>
            </a:extLst>
          </p:cNvPr>
          <p:cNvSpPr>
            <a:spLocks noGrp="1"/>
          </p:cNvSpPr>
          <p:nvPr userDrawn="1">
            <p:ph type="body" sz="quarter" idx="75" hasCustomPrompt="1"/>
          </p:nvPr>
        </p:nvSpPr>
        <p:spPr>
          <a:xfrm>
            <a:off x="511932" y="5397792"/>
            <a:ext cx="11082747" cy="355248"/>
          </a:xfrm>
          <a:custGeom>
            <a:avLst/>
            <a:gdLst>
              <a:gd name="connsiteX0" fmla="*/ 1955497 w 11082747"/>
              <a:gd name="connsiteY0" fmla="*/ 0 h 355248"/>
              <a:gd name="connsiteX1" fmla="*/ 9212639 w 11082747"/>
              <a:gd name="connsiteY1" fmla="*/ 0 h 355248"/>
              <a:gd name="connsiteX2" fmla="*/ 9212639 w 11082747"/>
              <a:gd name="connsiteY2" fmla="*/ 54 h 355248"/>
              <a:gd name="connsiteX3" fmla="*/ 10431462 w 11082747"/>
              <a:gd name="connsiteY3" fmla="*/ 59 h 355248"/>
              <a:gd name="connsiteX4" fmla="*/ 10431482 w 11082747"/>
              <a:gd name="connsiteY4" fmla="*/ 0 h 355248"/>
              <a:gd name="connsiteX5" fmla="*/ 10727367 w 11082747"/>
              <a:gd name="connsiteY5" fmla="*/ 0 h 355248"/>
              <a:gd name="connsiteX6" fmla="*/ 10727511 w 11082747"/>
              <a:gd name="connsiteY6" fmla="*/ 0 h 355248"/>
              <a:gd name="connsiteX7" fmla="*/ 11082747 w 11082747"/>
              <a:gd name="connsiteY7" fmla="*/ 355233 h 355248"/>
              <a:gd name="connsiteX8" fmla="*/ 10587867 w 11082747"/>
              <a:gd name="connsiteY8" fmla="*/ 355233 h 355248"/>
              <a:gd name="connsiteX9" fmla="*/ 10587867 w 11082747"/>
              <a:gd name="connsiteY9" fmla="*/ 355247 h 355248"/>
              <a:gd name="connsiteX10" fmla="*/ 9212639 w 11082747"/>
              <a:gd name="connsiteY10" fmla="*/ 355241 h 355248"/>
              <a:gd name="connsiteX11" fmla="*/ 9212639 w 11082747"/>
              <a:gd name="connsiteY11" fmla="*/ 355248 h 355248"/>
              <a:gd name="connsiteX12" fmla="*/ 1955497 w 11082747"/>
              <a:gd name="connsiteY12" fmla="*/ 355248 h 355248"/>
              <a:gd name="connsiteX13" fmla="*/ 1955497 w 11082747"/>
              <a:gd name="connsiteY13" fmla="*/ 355212 h 355248"/>
              <a:gd name="connsiteX14" fmla="*/ 651276 w 11082747"/>
              <a:gd name="connsiteY14" fmla="*/ 355206 h 355248"/>
              <a:gd name="connsiteX15" fmla="*/ 651266 w 11082747"/>
              <a:gd name="connsiteY15" fmla="*/ 355237 h 355248"/>
              <a:gd name="connsiteX16" fmla="*/ 355381 w 11082747"/>
              <a:gd name="connsiteY16" fmla="*/ 355237 h 355248"/>
              <a:gd name="connsiteX17" fmla="*/ 355236 w 11082747"/>
              <a:gd name="connsiteY17" fmla="*/ 355237 h 355248"/>
              <a:gd name="connsiteX18" fmla="*/ 0 w 11082747"/>
              <a:gd name="connsiteY18" fmla="*/ 4 h 355248"/>
              <a:gd name="connsiteX19" fmla="*/ 769676 w 11082747"/>
              <a:gd name="connsiteY19" fmla="*/ 4 h 355248"/>
              <a:gd name="connsiteX20" fmla="*/ 769671 w 11082747"/>
              <a:gd name="connsiteY20" fmla="*/ 19 h 355248"/>
              <a:gd name="connsiteX21" fmla="*/ 1955497 w 11082747"/>
              <a:gd name="connsiteY21" fmla="*/ 24 h 3552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11082747" h="355248">
                <a:moveTo>
                  <a:pt x="1955497" y="0"/>
                </a:moveTo>
                <a:lnTo>
                  <a:pt x="9212639" y="0"/>
                </a:lnTo>
                <a:lnTo>
                  <a:pt x="9212639" y="54"/>
                </a:lnTo>
                <a:lnTo>
                  <a:pt x="10431462" y="59"/>
                </a:lnTo>
                <a:lnTo>
                  <a:pt x="10431482" y="0"/>
                </a:lnTo>
                <a:lnTo>
                  <a:pt x="10727367" y="0"/>
                </a:lnTo>
                <a:lnTo>
                  <a:pt x="10727511" y="0"/>
                </a:lnTo>
                <a:cubicBezTo>
                  <a:pt x="10923648" y="0"/>
                  <a:pt x="11082747" y="158951"/>
                  <a:pt x="11082747" y="355233"/>
                </a:cubicBezTo>
                <a:lnTo>
                  <a:pt x="10587867" y="355233"/>
                </a:lnTo>
                <a:lnTo>
                  <a:pt x="10587867" y="355247"/>
                </a:lnTo>
                <a:lnTo>
                  <a:pt x="9212639" y="355241"/>
                </a:lnTo>
                <a:lnTo>
                  <a:pt x="9212639" y="355248"/>
                </a:lnTo>
                <a:lnTo>
                  <a:pt x="1955497" y="355248"/>
                </a:lnTo>
                <a:lnTo>
                  <a:pt x="1955497" y="355212"/>
                </a:lnTo>
                <a:lnTo>
                  <a:pt x="651276" y="355206"/>
                </a:lnTo>
                <a:lnTo>
                  <a:pt x="651266" y="355237"/>
                </a:lnTo>
                <a:lnTo>
                  <a:pt x="355381" y="355237"/>
                </a:lnTo>
                <a:lnTo>
                  <a:pt x="355236" y="355237"/>
                </a:lnTo>
                <a:cubicBezTo>
                  <a:pt x="159100" y="355237"/>
                  <a:pt x="0" y="196286"/>
                  <a:pt x="0" y="4"/>
                </a:cubicBezTo>
                <a:lnTo>
                  <a:pt x="769676" y="4"/>
                </a:lnTo>
                <a:lnTo>
                  <a:pt x="769671" y="19"/>
                </a:lnTo>
                <a:lnTo>
                  <a:pt x="1955497" y="24"/>
                </a:lnTo>
                <a:close/>
              </a:path>
            </a:pathLst>
          </a:custGeom>
          <a:solidFill>
            <a:schemeClr val="accent2"/>
          </a:solidFill>
        </p:spPr>
        <p:txBody>
          <a:bodyPr wrap="square" anchor="ctr">
            <a:noAutofit/>
          </a:bodyPr>
          <a:lstStyle>
            <a:lvl1pPr algn="ctr">
              <a:spcBef>
                <a:spcPts val="600"/>
              </a:spcBef>
              <a:defRPr sz="1200">
                <a:solidFill>
                  <a:schemeClr val="bg1"/>
                </a:solidFill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es-ES" dirty="0"/>
              <a:t>Haz </a:t>
            </a:r>
            <a:r>
              <a:rPr lang="es-ES" dirty="0" err="1"/>
              <a:t>click</a:t>
            </a:r>
            <a:r>
              <a:rPr lang="es-ES" dirty="0"/>
              <a:t> para editar los estilos del texto del modelo global</a:t>
            </a:r>
            <a:endParaRPr lang="pt-PT" dirty="0"/>
          </a:p>
        </p:txBody>
      </p:sp>
      <p:sp>
        <p:nvSpPr>
          <p:cNvPr id="58" name="Marcador de Posição do Texto 57">
            <a:extLst>
              <a:ext uri="{FF2B5EF4-FFF2-40B4-BE49-F238E27FC236}">
                <a16:creationId xmlns:a16="http://schemas.microsoft.com/office/drawing/2014/main" id="{7AE16A4B-57BE-C9F5-BC8B-1387E75767BE}"/>
              </a:ext>
            </a:extLst>
          </p:cNvPr>
          <p:cNvSpPr>
            <a:spLocks noGrp="1"/>
          </p:cNvSpPr>
          <p:nvPr userDrawn="1">
            <p:ph type="body" sz="quarter" idx="76" hasCustomPrompt="1"/>
          </p:nvPr>
        </p:nvSpPr>
        <p:spPr>
          <a:xfrm>
            <a:off x="511932" y="5783999"/>
            <a:ext cx="11082747" cy="355248"/>
          </a:xfrm>
          <a:custGeom>
            <a:avLst/>
            <a:gdLst>
              <a:gd name="connsiteX0" fmla="*/ 1955497 w 11082747"/>
              <a:gd name="connsiteY0" fmla="*/ 0 h 355248"/>
              <a:gd name="connsiteX1" fmla="*/ 9212639 w 11082747"/>
              <a:gd name="connsiteY1" fmla="*/ 0 h 355248"/>
              <a:gd name="connsiteX2" fmla="*/ 9212639 w 11082747"/>
              <a:gd name="connsiteY2" fmla="*/ 54 h 355248"/>
              <a:gd name="connsiteX3" fmla="*/ 10431462 w 11082747"/>
              <a:gd name="connsiteY3" fmla="*/ 59 h 355248"/>
              <a:gd name="connsiteX4" fmla="*/ 10431482 w 11082747"/>
              <a:gd name="connsiteY4" fmla="*/ 0 h 355248"/>
              <a:gd name="connsiteX5" fmla="*/ 10727367 w 11082747"/>
              <a:gd name="connsiteY5" fmla="*/ 0 h 355248"/>
              <a:gd name="connsiteX6" fmla="*/ 10727511 w 11082747"/>
              <a:gd name="connsiteY6" fmla="*/ 0 h 355248"/>
              <a:gd name="connsiteX7" fmla="*/ 11082747 w 11082747"/>
              <a:gd name="connsiteY7" fmla="*/ 355233 h 355248"/>
              <a:gd name="connsiteX8" fmla="*/ 10587867 w 11082747"/>
              <a:gd name="connsiteY8" fmla="*/ 355233 h 355248"/>
              <a:gd name="connsiteX9" fmla="*/ 10587867 w 11082747"/>
              <a:gd name="connsiteY9" fmla="*/ 355247 h 355248"/>
              <a:gd name="connsiteX10" fmla="*/ 9212639 w 11082747"/>
              <a:gd name="connsiteY10" fmla="*/ 355241 h 355248"/>
              <a:gd name="connsiteX11" fmla="*/ 9212639 w 11082747"/>
              <a:gd name="connsiteY11" fmla="*/ 355248 h 355248"/>
              <a:gd name="connsiteX12" fmla="*/ 1955497 w 11082747"/>
              <a:gd name="connsiteY12" fmla="*/ 355248 h 355248"/>
              <a:gd name="connsiteX13" fmla="*/ 1955497 w 11082747"/>
              <a:gd name="connsiteY13" fmla="*/ 355212 h 355248"/>
              <a:gd name="connsiteX14" fmla="*/ 651276 w 11082747"/>
              <a:gd name="connsiteY14" fmla="*/ 355206 h 355248"/>
              <a:gd name="connsiteX15" fmla="*/ 651266 w 11082747"/>
              <a:gd name="connsiteY15" fmla="*/ 355237 h 355248"/>
              <a:gd name="connsiteX16" fmla="*/ 355381 w 11082747"/>
              <a:gd name="connsiteY16" fmla="*/ 355237 h 355248"/>
              <a:gd name="connsiteX17" fmla="*/ 355236 w 11082747"/>
              <a:gd name="connsiteY17" fmla="*/ 355237 h 355248"/>
              <a:gd name="connsiteX18" fmla="*/ 0 w 11082747"/>
              <a:gd name="connsiteY18" fmla="*/ 4 h 355248"/>
              <a:gd name="connsiteX19" fmla="*/ 769676 w 11082747"/>
              <a:gd name="connsiteY19" fmla="*/ 4 h 355248"/>
              <a:gd name="connsiteX20" fmla="*/ 769671 w 11082747"/>
              <a:gd name="connsiteY20" fmla="*/ 19 h 355248"/>
              <a:gd name="connsiteX21" fmla="*/ 1955497 w 11082747"/>
              <a:gd name="connsiteY21" fmla="*/ 24 h 3552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11082747" h="355248">
                <a:moveTo>
                  <a:pt x="1955497" y="0"/>
                </a:moveTo>
                <a:lnTo>
                  <a:pt x="9212639" y="0"/>
                </a:lnTo>
                <a:lnTo>
                  <a:pt x="9212639" y="54"/>
                </a:lnTo>
                <a:lnTo>
                  <a:pt x="10431462" y="59"/>
                </a:lnTo>
                <a:lnTo>
                  <a:pt x="10431482" y="0"/>
                </a:lnTo>
                <a:lnTo>
                  <a:pt x="10727367" y="0"/>
                </a:lnTo>
                <a:lnTo>
                  <a:pt x="10727511" y="0"/>
                </a:lnTo>
                <a:cubicBezTo>
                  <a:pt x="10923648" y="0"/>
                  <a:pt x="11082747" y="158951"/>
                  <a:pt x="11082747" y="355233"/>
                </a:cubicBezTo>
                <a:lnTo>
                  <a:pt x="10587867" y="355233"/>
                </a:lnTo>
                <a:lnTo>
                  <a:pt x="10587867" y="355247"/>
                </a:lnTo>
                <a:lnTo>
                  <a:pt x="9212639" y="355241"/>
                </a:lnTo>
                <a:lnTo>
                  <a:pt x="9212639" y="355248"/>
                </a:lnTo>
                <a:lnTo>
                  <a:pt x="1955497" y="355248"/>
                </a:lnTo>
                <a:lnTo>
                  <a:pt x="1955497" y="355212"/>
                </a:lnTo>
                <a:lnTo>
                  <a:pt x="651276" y="355206"/>
                </a:lnTo>
                <a:lnTo>
                  <a:pt x="651266" y="355237"/>
                </a:lnTo>
                <a:lnTo>
                  <a:pt x="355381" y="355237"/>
                </a:lnTo>
                <a:lnTo>
                  <a:pt x="355236" y="355237"/>
                </a:lnTo>
                <a:cubicBezTo>
                  <a:pt x="159100" y="355237"/>
                  <a:pt x="0" y="196286"/>
                  <a:pt x="0" y="4"/>
                </a:cubicBezTo>
                <a:lnTo>
                  <a:pt x="769676" y="4"/>
                </a:lnTo>
                <a:lnTo>
                  <a:pt x="769671" y="19"/>
                </a:lnTo>
                <a:lnTo>
                  <a:pt x="1955497" y="24"/>
                </a:lnTo>
                <a:close/>
              </a:path>
            </a:pathLst>
          </a:custGeom>
          <a:solidFill>
            <a:srgbClr val="132153"/>
          </a:solidFill>
        </p:spPr>
        <p:txBody>
          <a:bodyPr wrap="square" anchor="ctr">
            <a:noAutofit/>
          </a:bodyPr>
          <a:lstStyle>
            <a:lvl1pPr algn="ctr">
              <a:spcBef>
                <a:spcPts val="600"/>
              </a:spcBef>
              <a:defRPr sz="1200">
                <a:solidFill>
                  <a:srgbClr val="00FF94"/>
                </a:solidFill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es-ES" dirty="0"/>
              <a:t>Haz </a:t>
            </a:r>
            <a:r>
              <a:rPr lang="es-ES" dirty="0" err="1"/>
              <a:t>click</a:t>
            </a:r>
            <a:r>
              <a:rPr lang="es-ES" dirty="0"/>
              <a:t> para editar los estilos del texto del modelo global</a:t>
            </a:r>
            <a:endParaRPr lang="pt-PT" dirty="0"/>
          </a:p>
        </p:txBody>
      </p:sp>
      <p:sp>
        <p:nvSpPr>
          <p:cNvPr id="59" name="Marcador de Posição do Texto 10">
            <a:extLst>
              <a:ext uri="{FF2B5EF4-FFF2-40B4-BE49-F238E27FC236}">
                <a16:creationId xmlns:a16="http://schemas.microsoft.com/office/drawing/2014/main" id="{A825830A-F9F6-110A-8ADF-5798D3506A4D}"/>
              </a:ext>
            </a:extLst>
          </p:cNvPr>
          <p:cNvSpPr>
            <a:spLocks noGrp="1"/>
          </p:cNvSpPr>
          <p:nvPr userDrawn="1">
            <p:ph type="body" sz="quarter" idx="68" hasCustomPrompt="1"/>
          </p:nvPr>
        </p:nvSpPr>
        <p:spPr>
          <a:xfrm>
            <a:off x="214618" y="4038802"/>
            <a:ext cx="2028068" cy="218992"/>
          </a:xfrm>
        </p:spPr>
        <p:txBody>
          <a:bodyPr anchor="ctr">
            <a:noAutofit/>
          </a:bodyPr>
          <a:lstStyle>
            <a:lvl1pPr algn="ctr">
              <a:spcBef>
                <a:spcPts val="600"/>
              </a:spcBef>
              <a:defRPr sz="1200">
                <a:solidFill>
                  <a:schemeClr val="tx2"/>
                </a:solidFill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es-ES" dirty="0"/>
              <a:t>Haz </a:t>
            </a:r>
            <a:r>
              <a:rPr lang="es-ES" dirty="0" err="1"/>
              <a:t>click</a:t>
            </a:r>
            <a:r>
              <a:rPr lang="es-ES" dirty="0"/>
              <a:t> para editar los estilos del texto del modelo global</a:t>
            </a:r>
            <a:endParaRPr lang="pt-PT" dirty="0"/>
          </a:p>
        </p:txBody>
      </p:sp>
      <p:sp>
        <p:nvSpPr>
          <p:cNvPr id="60" name="Marcador de Posição do Texto 10">
            <a:extLst>
              <a:ext uri="{FF2B5EF4-FFF2-40B4-BE49-F238E27FC236}">
                <a16:creationId xmlns:a16="http://schemas.microsoft.com/office/drawing/2014/main" id="{AF383F0B-BC7A-076B-E404-D04E3BAFF9CA}"/>
              </a:ext>
            </a:extLst>
          </p:cNvPr>
          <p:cNvSpPr>
            <a:spLocks noGrp="1"/>
          </p:cNvSpPr>
          <p:nvPr userDrawn="1">
            <p:ph type="body" sz="quarter" idx="77" hasCustomPrompt="1"/>
          </p:nvPr>
        </p:nvSpPr>
        <p:spPr>
          <a:xfrm>
            <a:off x="2039756" y="3414560"/>
            <a:ext cx="2028068" cy="218992"/>
          </a:xfrm>
        </p:spPr>
        <p:txBody>
          <a:bodyPr anchor="ctr">
            <a:noAutofit/>
          </a:bodyPr>
          <a:lstStyle>
            <a:lvl1pPr algn="ctr">
              <a:spcBef>
                <a:spcPts val="600"/>
              </a:spcBef>
              <a:defRPr sz="1200">
                <a:solidFill>
                  <a:schemeClr val="tx2"/>
                </a:solidFill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es-ES" dirty="0"/>
              <a:t>Haz </a:t>
            </a:r>
            <a:r>
              <a:rPr lang="es-ES" dirty="0" err="1"/>
              <a:t>click</a:t>
            </a:r>
            <a:r>
              <a:rPr lang="es-ES" dirty="0"/>
              <a:t> para editar los estilos del texto del modelo global</a:t>
            </a:r>
            <a:endParaRPr lang="pt-PT" dirty="0"/>
          </a:p>
        </p:txBody>
      </p:sp>
      <p:sp>
        <p:nvSpPr>
          <p:cNvPr id="61" name="Marcador de Posição do Texto 10">
            <a:extLst>
              <a:ext uri="{FF2B5EF4-FFF2-40B4-BE49-F238E27FC236}">
                <a16:creationId xmlns:a16="http://schemas.microsoft.com/office/drawing/2014/main" id="{419D7596-2983-D9C9-8E82-6FEEE9DADEBF}"/>
              </a:ext>
            </a:extLst>
          </p:cNvPr>
          <p:cNvSpPr>
            <a:spLocks noGrp="1"/>
          </p:cNvSpPr>
          <p:nvPr userDrawn="1">
            <p:ph type="body" sz="quarter" idx="78" hasCustomPrompt="1"/>
          </p:nvPr>
        </p:nvSpPr>
        <p:spPr>
          <a:xfrm>
            <a:off x="2039756" y="4836550"/>
            <a:ext cx="2028068" cy="218992"/>
          </a:xfrm>
        </p:spPr>
        <p:txBody>
          <a:bodyPr anchor="ctr">
            <a:noAutofit/>
          </a:bodyPr>
          <a:lstStyle>
            <a:lvl1pPr algn="ctr">
              <a:spcBef>
                <a:spcPts val="600"/>
              </a:spcBef>
              <a:defRPr sz="1200">
                <a:solidFill>
                  <a:schemeClr val="tx2"/>
                </a:solidFill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es-ES" dirty="0"/>
              <a:t>Haz </a:t>
            </a:r>
            <a:r>
              <a:rPr lang="es-ES" dirty="0" err="1"/>
              <a:t>click</a:t>
            </a:r>
            <a:r>
              <a:rPr lang="es-ES" dirty="0"/>
              <a:t> para editar los estilos del texto del modelo global</a:t>
            </a:r>
            <a:endParaRPr lang="pt-PT" dirty="0"/>
          </a:p>
        </p:txBody>
      </p:sp>
      <p:sp>
        <p:nvSpPr>
          <p:cNvPr id="62" name="Marcador de Posição do Texto 10">
            <a:extLst>
              <a:ext uri="{FF2B5EF4-FFF2-40B4-BE49-F238E27FC236}">
                <a16:creationId xmlns:a16="http://schemas.microsoft.com/office/drawing/2014/main" id="{6AEE6EDF-93B5-A17E-49BD-315CE27CF968}"/>
              </a:ext>
            </a:extLst>
          </p:cNvPr>
          <p:cNvSpPr>
            <a:spLocks noGrp="1"/>
          </p:cNvSpPr>
          <p:nvPr userDrawn="1">
            <p:ph type="body" sz="quarter" idx="79" hasCustomPrompt="1"/>
          </p:nvPr>
        </p:nvSpPr>
        <p:spPr>
          <a:xfrm>
            <a:off x="2851311" y="2463495"/>
            <a:ext cx="2028068" cy="218992"/>
          </a:xfrm>
        </p:spPr>
        <p:txBody>
          <a:bodyPr anchor="ctr">
            <a:noAutofit/>
          </a:bodyPr>
          <a:lstStyle>
            <a:lvl1pPr algn="ctr">
              <a:spcBef>
                <a:spcPts val="600"/>
              </a:spcBef>
              <a:defRPr lang="pt-PT" sz="1400" kern="1200" cap="all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pt-PT" dirty="0"/>
              <a:t>Texto destacado</a:t>
            </a:r>
          </a:p>
        </p:txBody>
      </p:sp>
      <p:sp>
        <p:nvSpPr>
          <p:cNvPr id="63" name="Marcador de Posição do Texto 10">
            <a:extLst>
              <a:ext uri="{FF2B5EF4-FFF2-40B4-BE49-F238E27FC236}">
                <a16:creationId xmlns:a16="http://schemas.microsoft.com/office/drawing/2014/main" id="{EA2C8447-6C54-2368-1A03-F29D9E9EB626}"/>
              </a:ext>
            </a:extLst>
          </p:cNvPr>
          <p:cNvSpPr>
            <a:spLocks noGrp="1"/>
          </p:cNvSpPr>
          <p:nvPr userDrawn="1">
            <p:ph type="body" sz="quarter" idx="80" hasCustomPrompt="1"/>
          </p:nvPr>
        </p:nvSpPr>
        <p:spPr>
          <a:xfrm>
            <a:off x="4408243" y="3038189"/>
            <a:ext cx="2028068" cy="218992"/>
          </a:xfrm>
        </p:spPr>
        <p:txBody>
          <a:bodyPr anchor="ctr">
            <a:noAutofit/>
          </a:bodyPr>
          <a:lstStyle>
            <a:lvl1pPr algn="ctr">
              <a:spcBef>
                <a:spcPts val="600"/>
              </a:spcBef>
              <a:defRPr sz="1200">
                <a:solidFill>
                  <a:schemeClr val="tx2"/>
                </a:solidFill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es-ES" dirty="0"/>
              <a:t>Haz </a:t>
            </a:r>
            <a:r>
              <a:rPr lang="es-ES" dirty="0" err="1"/>
              <a:t>click</a:t>
            </a:r>
            <a:r>
              <a:rPr lang="es-ES" dirty="0"/>
              <a:t> para editar los estilos del texto del modelo global</a:t>
            </a:r>
            <a:endParaRPr lang="pt-PT" dirty="0"/>
          </a:p>
        </p:txBody>
      </p:sp>
      <p:sp>
        <p:nvSpPr>
          <p:cNvPr id="79" name="Marcador de Posição do Texto 78">
            <a:extLst>
              <a:ext uri="{FF2B5EF4-FFF2-40B4-BE49-F238E27FC236}">
                <a16:creationId xmlns:a16="http://schemas.microsoft.com/office/drawing/2014/main" id="{800F90EB-5CEB-ACCE-9D07-6EB9C8939A0B}"/>
              </a:ext>
            </a:extLst>
          </p:cNvPr>
          <p:cNvSpPr>
            <a:spLocks noGrp="1"/>
          </p:cNvSpPr>
          <p:nvPr userDrawn="1">
            <p:ph type="body" sz="quarter" idx="81" hasCustomPrompt="1"/>
          </p:nvPr>
        </p:nvSpPr>
        <p:spPr>
          <a:xfrm>
            <a:off x="6811502" y="3010961"/>
            <a:ext cx="2446861" cy="348350"/>
          </a:xfrm>
          <a:custGeom>
            <a:avLst/>
            <a:gdLst>
              <a:gd name="connsiteX0" fmla="*/ 2106442 w 2446861"/>
              <a:gd name="connsiteY0" fmla="*/ 0 h 348350"/>
              <a:gd name="connsiteX1" fmla="*/ 2106442 w 2446861"/>
              <a:gd name="connsiteY1" fmla="*/ 15 h 348350"/>
              <a:gd name="connsiteX2" fmla="*/ 2446861 w 2446861"/>
              <a:gd name="connsiteY2" fmla="*/ 15 h 348350"/>
              <a:gd name="connsiteX3" fmla="*/ 2168710 w 2446861"/>
              <a:gd name="connsiteY3" fmla="*/ 341276 h 348350"/>
              <a:gd name="connsiteX4" fmla="*/ 2106442 w 2446861"/>
              <a:gd name="connsiteY4" fmla="*/ 347551 h 348350"/>
              <a:gd name="connsiteX5" fmla="*/ 2106442 w 2446861"/>
              <a:gd name="connsiteY5" fmla="*/ 348290 h 348350"/>
              <a:gd name="connsiteX6" fmla="*/ 2099115 w 2446861"/>
              <a:gd name="connsiteY6" fmla="*/ 348290 h 348350"/>
              <a:gd name="connsiteX7" fmla="*/ 2098524 w 2446861"/>
              <a:gd name="connsiteY7" fmla="*/ 348350 h 348350"/>
              <a:gd name="connsiteX8" fmla="*/ 2098382 w 2446861"/>
              <a:gd name="connsiteY8" fmla="*/ 348350 h 348350"/>
              <a:gd name="connsiteX9" fmla="*/ 1808243 w 2446861"/>
              <a:gd name="connsiteY9" fmla="*/ 348350 h 348350"/>
              <a:gd name="connsiteX10" fmla="*/ 1808225 w 2446861"/>
              <a:gd name="connsiteY10" fmla="*/ 348295 h 348350"/>
              <a:gd name="connsiteX11" fmla="*/ 0 w 2446861"/>
              <a:gd name="connsiteY11" fmla="*/ 348331 h 348350"/>
              <a:gd name="connsiteX12" fmla="*/ 0 w 2446861"/>
              <a:gd name="connsiteY12" fmla="*/ 41 h 3483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446861" h="348350">
                <a:moveTo>
                  <a:pt x="2106442" y="0"/>
                </a:moveTo>
                <a:lnTo>
                  <a:pt x="2106442" y="15"/>
                </a:lnTo>
                <a:lnTo>
                  <a:pt x="2446861" y="15"/>
                </a:lnTo>
                <a:cubicBezTo>
                  <a:pt x="2446861" y="168427"/>
                  <a:pt x="2327416" y="308811"/>
                  <a:pt x="2168710" y="341276"/>
                </a:cubicBezTo>
                <a:lnTo>
                  <a:pt x="2106442" y="347551"/>
                </a:lnTo>
                <a:lnTo>
                  <a:pt x="2106442" y="348290"/>
                </a:lnTo>
                <a:lnTo>
                  <a:pt x="2099115" y="348290"/>
                </a:lnTo>
                <a:lnTo>
                  <a:pt x="2098524" y="348350"/>
                </a:lnTo>
                <a:lnTo>
                  <a:pt x="2098382" y="348350"/>
                </a:lnTo>
                <a:lnTo>
                  <a:pt x="1808243" y="348350"/>
                </a:lnTo>
                <a:lnTo>
                  <a:pt x="1808225" y="348295"/>
                </a:lnTo>
                <a:lnTo>
                  <a:pt x="0" y="348331"/>
                </a:lnTo>
                <a:lnTo>
                  <a:pt x="0" y="41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anchor="ctr">
            <a:noAutofit/>
          </a:bodyPr>
          <a:lstStyle>
            <a:lvl1pPr algn="ctr">
              <a:spcBef>
                <a:spcPts val="600"/>
              </a:spcBef>
              <a:defRPr sz="1200">
                <a:solidFill>
                  <a:schemeClr val="bg1"/>
                </a:solidFill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es-ES" dirty="0"/>
              <a:t>Haz </a:t>
            </a:r>
            <a:r>
              <a:rPr lang="es-ES" dirty="0" err="1"/>
              <a:t>click</a:t>
            </a:r>
            <a:r>
              <a:rPr lang="es-ES" dirty="0"/>
              <a:t> para editar los estilos del texto del modelo global</a:t>
            </a:r>
            <a:endParaRPr lang="pt-PT" dirty="0"/>
          </a:p>
        </p:txBody>
      </p:sp>
      <p:sp>
        <p:nvSpPr>
          <p:cNvPr id="71" name="Forma livre: Forma 70">
            <a:extLst>
              <a:ext uri="{FF2B5EF4-FFF2-40B4-BE49-F238E27FC236}">
                <a16:creationId xmlns:a16="http://schemas.microsoft.com/office/drawing/2014/main" id="{41E20888-C638-EBC0-6D41-83E8AD884B0F}"/>
              </a:ext>
            </a:extLst>
          </p:cNvPr>
          <p:cNvSpPr/>
          <p:nvPr userDrawn="1"/>
        </p:nvSpPr>
        <p:spPr>
          <a:xfrm flipV="1">
            <a:off x="9598782" y="2355179"/>
            <a:ext cx="1995896" cy="2845471"/>
          </a:xfrm>
          <a:custGeom>
            <a:avLst/>
            <a:gdLst>
              <a:gd name="connsiteX0" fmla="*/ 1034261 w 1995896"/>
              <a:gd name="connsiteY0" fmla="*/ 2845471 h 2845471"/>
              <a:gd name="connsiteX1" fmla="*/ 1471154 w 1995896"/>
              <a:gd name="connsiteY1" fmla="*/ 2845471 h 2845471"/>
              <a:gd name="connsiteX2" fmla="*/ 1471367 w 1995896"/>
              <a:gd name="connsiteY2" fmla="*/ 2845471 h 2845471"/>
              <a:gd name="connsiteX3" fmla="*/ 1985236 w 1995896"/>
              <a:gd name="connsiteY3" fmla="*/ 2466567 h 2845471"/>
              <a:gd name="connsiteX4" fmla="*/ 1995892 w 1995896"/>
              <a:gd name="connsiteY4" fmla="*/ 2370924 h 2845471"/>
              <a:gd name="connsiteX5" fmla="*/ 1995896 w 1995896"/>
              <a:gd name="connsiteY5" fmla="*/ 2370924 h 2845471"/>
              <a:gd name="connsiteX6" fmla="*/ 1995896 w 1995896"/>
              <a:gd name="connsiteY6" fmla="*/ 2370886 h 2845471"/>
              <a:gd name="connsiteX7" fmla="*/ 1995896 w 1995896"/>
              <a:gd name="connsiteY7" fmla="*/ 0 h 2845471"/>
              <a:gd name="connsiteX8" fmla="*/ 1 w 1995896"/>
              <a:gd name="connsiteY8" fmla="*/ 0 h 2845471"/>
              <a:gd name="connsiteX9" fmla="*/ 1 w 1995896"/>
              <a:gd name="connsiteY9" fmla="*/ 2370924 h 2845471"/>
              <a:gd name="connsiteX10" fmla="*/ 459995 w 1995896"/>
              <a:gd name="connsiteY10" fmla="*/ 2370924 h 2845471"/>
              <a:gd name="connsiteX11" fmla="*/ 0 w 1995896"/>
              <a:gd name="connsiteY11" fmla="*/ 2370944 h 2845471"/>
              <a:gd name="connsiteX12" fmla="*/ 0 w 1995896"/>
              <a:gd name="connsiteY12" fmla="*/ 2845468 h 2845471"/>
              <a:gd name="connsiteX13" fmla="*/ 1034244 w 1995896"/>
              <a:gd name="connsiteY13" fmla="*/ 2845423 h 28454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995896" h="2845471">
                <a:moveTo>
                  <a:pt x="1034261" y="2845471"/>
                </a:moveTo>
                <a:lnTo>
                  <a:pt x="1471154" y="2845471"/>
                </a:lnTo>
                <a:lnTo>
                  <a:pt x="1471367" y="2845471"/>
                </a:lnTo>
                <a:cubicBezTo>
                  <a:pt x="1724775" y="2845471"/>
                  <a:pt x="1936311" y="2682887"/>
                  <a:pt x="1985236" y="2466567"/>
                </a:cubicBezTo>
                <a:lnTo>
                  <a:pt x="1995892" y="2370924"/>
                </a:lnTo>
                <a:lnTo>
                  <a:pt x="1995896" y="2370924"/>
                </a:lnTo>
                <a:lnTo>
                  <a:pt x="1995896" y="2370886"/>
                </a:lnTo>
                <a:lnTo>
                  <a:pt x="1995896" y="0"/>
                </a:lnTo>
                <a:lnTo>
                  <a:pt x="1" y="0"/>
                </a:lnTo>
                <a:lnTo>
                  <a:pt x="1" y="2370924"/>
                </a:lnTo>
                <a:lnTo>
                  <a:pt x="459995" y="2370924"/>
                </a:lnTo>
                <a:lnTo>
                  <a:pt x="0" y="2370944"/>
                </a:lnTo>
                <a:lnTo>
                  <a:pt x="0" y="2845468"/>
                </a:lnTo>
                <a:lnTo>
                  <a:pt x="1034244" y="2845423"/>
                </a:lnTo>
                <a:close/>
              </a:path>
            </a:pathLst>
          </a:custGeom>
          <a:solidFill>
            <a:srgbClr val="E5E5E5"/>
          </a:solidFill>
          <a:ln w="4244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pt-PT">
              <a:solidFill>
                <a:schemeClr val="tx1"/>
              </a:solidFill>
            </a:endParaRPr>
          </a:p>
        </p:txBody>
      </p:sp>
      <p:sp>
        <p:nvSpPr>
          <p:cNvPr id="72" name="Marcador de Posição do Texto 10">
            <a:extLst>
              <a:ext uri="{FF2B5EF4-FFF2-40B4-BE49-F238E27FC236}">
                <a16:creationId xmlns:a16="http://schemas.microsoft.com/office/drawing/2014/main" id="{9F52398E-ED6F-3758-1C2E-DFBB842C7739}"/>
              </a:ext>
            </a:extLst>
          </p:cNvPr>
          <p:cNvSpPr>
            <a:spLocks noGrp="1"/>
          </p:cNvSpPr>
          <p:nvPr userDrawn="1">
            <p:ph type="body" sz="quarter" idx="84" hasCustomPrompt="1"/>
          </p:nvPr>
        </p:nvSpPr>
        <p:spPr>
          <a:xfrm>
            <a:off x="9707590" y="3566473"/>
            <a:ext cx="1778279" cy="591700"/>
          </a:xfrm>
        </p:spPr>
        <p:txBody>
          <a:bodyPr anchor="ctr">
            <a:spAutoFit/>
          </a:bodyPr>
          <a:lstStyle>
            <a:lvl1pPr algn="l">
              <a:spcBef>
                <a:spcPts val="600"/>
              </a:spcBef>
              <a:defRPr sz="1200">
                <a:solidFill>
                  <a:schemeClr val="tx2"/>
                </a:solidFill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es-ES" dirty="0"/>
              <a:t>Haz </a:t>
            </a:r>
            <a:r>
              <a:rPr lang="es-ES" dirty="0" err="1"/>
              <a:t>click</a:t>
            </a:r>
            <a:r>
              <a:rPr lang="es-ES" dirty="0"/>
              <a:t> para editar los estilos del texto del modelo global</a:t>
            </a:r>
            <a:endParaRPr lang="pt-PT" dirty="0"/>
          </a:p>
        </p:txBody>
      </p:sp>
      <p:sp>
        <p:nvSpPr>
          <p:cNvPr id="73" name="Marcador de Posição do Texto 10">
            <a:extLst>
              <a:ext uri="{FF2B5EF4-FFF2-40B4-BE49-F238E27FC236}">
                <a16:creationId xmlns:a16="http://schemas.microsoft.com/office/drawing/2014/main" id="{F620315B-AEFB-0035-C01E-8189F7794622}"/>
              </a:ext>
            </a:extLst>
          </p:cNvPr>
          <p:cNvSpPr>
            <a:spLocks noGrp="1"/>
          </p:cNvSpPr>
          <p:nvPr userDrawn="1">
            <p:ph type="body" sz="quarter" idx="85" hasCustomPrompt="1"/>
          </p:nvPr>
        </p:nvSpPr>
        <p:spPr>
          <a:xfrm>
            <a:off x="4408243" y="4287680"/>
            <a:ext cx="2028068" cy="218992"/>
          </a:xfrm>
        </p:spPr>
        <p:txBody>
          <a:bodyPr anchor="ctr">
            <a:noAutofit/>
          </a:bodyPr>
          <a:lstStyle>
            <a:lvl1pPr algn="ctr">
              <a:spcBef>
                <a:spcPts val="600"/>
              </a:spcBef>
              <a:defRPr sz="1200">
                <a:solidFill>
                  <a:schemeClr val="tx2"/>
                </a:solidFill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es-ES" dirty="0"/>
              <a:t>Haz </a:t>
            </a:r>
            <a:r>
              <a:rPr lang="es-ES" dirty="0" err="1"/>
              <a:t>click</a:t>
            </a:r>
            <a:r>
              <a:rPr lang="es-ES" dirty="0"/>
              <a:t> para editar los estilos del texto del modelo global</a:t>
            </a:r>
            <a:endParaRPr lang="pt-PT" dirty="0"/>
          </a:p>
        </p:txBody>
      </p:sp>
      <p:sp>
        <p:nvSpPr>
          <p:cNvPr id="80" name="Marcador de Posição do Texto 79">
            <a:extLst>
              <a:ext uri="{FF2B5EF4-FFF2-40B4-BE49-F238E27FC236}">
                <a16:creationId xmlns:a16="http://schemas.microsoft.com/office/drawing/2014/main" id="{199BD790-0B2D-FF1C-DCBF-24A3467B76E9}"/>
              </a:ext>
            </a:extLst>
          </p:cNvPr>
          <p:cNvSpPr>
            <a:spLocks noGrp="1"/>
          </p:cNvSpPr>
          <p:nvPr>
            <p:ph type="body" sz="quarter" idx="86" hasCustomPrompt="1"/>
          </p:nvPr>
        </p:nvSpPr>
        <p:spPr>
          <a:xfrm>
            <a:off x="6811502" y="3578031"/>
            <a:ext cx="2446861" cy="348350"/>
          </a:xfrm>
          <a:custGeom>
            <a:avLst/>
            <a:gdLst>
              <a:gd name="connsiteX0" fmla="*/ 2106442 w 2446861"/>
              <a:gd name="connsiteY0" fmla="*/ 0 h 348350"/>
              <a:gd name="connsiteX1" fmla="*/ 2106442 w 2446861"/>
              <a:gd name="connsiteY1" fmla="*/ 15 h 348350"/>
              <a:gd name="connsiteX2" fmla="*/ 2446861 w 2446861"/>
              <a:gd name="connsiteY2" fmla="*/ 15 h 348350"/>
              <a:gd name="connsiteX3" fmla="*/ 2168710 w 2446861"/>
              <a:gd name="connsiteY3" fmla="*/ 341276 h 348350"/>
              <a:gd name="connsiteX4" fmla="*/ 2106442 w 2446861"/>
              <a:gd name="connsiteY4" fmla="*/ 347551 h 348350"/>
              <a:gd name="connsiteX5" fmla="*/ 2106442 w 2446861"/>
              <a:gd name="connsiteY5" fmla="*/ 348290 h 348350"/>
              <a:gd name="connsiteX6" fmla="*/ 2099115 w 2446861"/>
              <a:gd name="connsiteY6" fmla="*/ 348290 h 348350"/>
              <a:gd name="connsiteX7" fmla="*/ 2098524 w 2446861"/>
              <a:gd name="connsiteY7" fmla="*/ 348350 h 348350"/>
              <a:gd name="connsiteX8" fmla="*/ 2098382 w 2446861"/>
              <a:gd name="connsiteY8" fmla="*/ 348350 h 348350"/>
              <a:gd name="connsiteX9" fmla="*/ 1808243 w 2446861"/>
              <a:gd name="connsiteY9" fmla="*/ 348350 h 348350"/>
              <a:gd name="connsiteX10" fmla="*/ 1808225 w 2446861"/>
              <a:gd name="connsiteY10" fmla="*/ 348295 h 348350"/>
              <a:gd name="connsiteX11" fmla="*/ 0 w 2446861"/>
              <a:gd name="connsiteY11" fmla="*/ 348331 h 348350"/>
              <a:gd name="connsiteX12" fmla="*/ 0 w 2446861"/>
              <a:gd name="connsiteY12" fmla="*/ 41 h 3483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446861" h="348350">
                <a:moveTo>
                  <a:pt x="2106442" y="0"/>
                </a:moveTo>
                <a:lnTo>
                  <a:pt x="2106442" y="15"/>
                </a:lnTo>
                <a:lnTo>
                  <a:pt x="2446861" y="15"/>
                </a:lnTo>
                <a:cubicBezTo>
                  <a:pt x="2446861" y="168427"/>
                  <a:pt x="2327416" y="308811"/>
                  <a:pt x="2168710" y="341276"/>
                </a:cubicBezTo>
                <a:lnTo>
                  <a:pt x="2106442" y="347551"/>
                </a:lnTo>
                <a:lnTo>
                  <a:pt x="2106442" y="348290"/>
                </a:lnTo>
                <a:lnTo>
                  <a:pt x="2099115" y="348290"/>
                </a:lnTo>
                <a:lnTo>
                  <a:pt x="2098524" y="348350"/>
                </a:lnTo>
                <a:lnTo>
                  <a:pt x="2098382" y="348350"/>
                </a:lnTo>
                <a:lnTo>
                  <a:pt x="1808243" y="348350"/>
                </a:lnTo>
                <a:lnTo>
                  <a:pt x="1808225" y="348295"/>
                </a:lnTo>
                <a:lnTo>
                  <a:pt x="0" y="348331"/>
                </a:lnTo>
                <a:lnTo>
                  <a:pt x="0" y="41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anchor="ctr">
            <a:noAutofit/>
          </a:bodyPr>
          <a:lstStyle>
            <a:lvl1pPr algn="ctr">
              <a:spcBef>
                <a:spcPts val="600"/>
              </a:spcBef>
              <a:defRPr sz="1200">
                <a:solidFill>
                  <a:schemeClr val="bg1"/>
                </a:solidFill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es-ES" dirty="0"/>
              <a:t>Haz </a:t>
            </a:r>
            <a:r>
              <a:rPr lang="es-ES" dirty="0" err="1"/>
              <a:t>click</a:t>
            </a:r>
            <a:r>
              <a:rPr lang="es-ES" dirty="0"/>
              <a:t> para editar los estilos del texto del modelo global</a:t>
            </a:r>
            <a:endParaRPr lang="pt-PT" dirty="0"/>
          </a:p>
        </p:txBody>
      </p:sp>
      <p:sp>
        <p:nvSpPr>
          <p:cNvPr id="81" name="Marcador de Posição do Texto 80">
            <a:extLst>
              <a:ext uri="{FF2B5EF4-FFF2-40B4-BE49-F238E27FC236}">
                <a16:creationId xmlns:a16="http://schemas.microsoft.com/office/drawing/2014/main" id="{1FCA4D82-2F62-1CC9-4E59-2F7D8CC4DAEB}"/>
              </a:ext>
            </a:extLst>
          </p:cNvPr>
          <p:cNvSpPr>
            <a:spLocks noGrp="1"/>
          </p:cNvSpPr>
          <p:nvPr>
            <p:ph type="body" sz="quarter" idx="87" hasCustomPrompt="1"/>
          </p:nvPr>
        </p:nvSpPr>
        <p:spPr>
          <a:xfrm>
            <a:off x="6811502" y="4145101"/>
            <a:ext cx="2446861" cy="348350"/>
          </a:xfrm>
          <a:custGeom>
            <a:avLst/>
            <a:gdLst>
              <a:gd name="connsiteX0" fmla="*/ 2106442 w 2446861"/>
              <a:gd name="connsiteY0" fmla="*/ 0 h 348350"/>
              <a:gd name="connsiteX1" fmla="*/ 2106442 w 2446861"/>
              <a:gd name="connsiteY1" fmla="*/ 15 h 348350"/>
              <a:gd name="connsiteX2" fmla="*/ 2446861 w 2446861"/>
              <a:gd name="connsiteY2" fmla="*/ 15 h 348350"/>
              <a:gd name="connsiteX3" fmla="*/ 2168710 w 2446861"/>
              <a:gd name="connsiteY3" fmla="*/ 341276 h 348350"/>
              <a:gd name="connsiteX4" fmla="*/ 2106442 w 2446861"/>
              <a:gd name="connsiteY4" fmla="*/ 347551 h 348350"/>
              <a:gd name="connsiteX5" fmla="*/ 2106442 w 2446861"/>
              <a:gd name="connsiteY5" fmla="*/ 348290 h 348350"/>
              <a:gd name="connsiteX6" fmla="*/ 2099115 w 2446861"/>
              <a:gd name="connsiteY6" fmla="*/ 348290 h 348350"/>
              <a:gd name="connsiteX7" fmla="*/ 2098524 w 2446861"/>
              <a:gd name="connsiteY7" fmla="*/ 348350 h 348350"/>
              <a:gd name="connsiteX8" fmla="*/ 2098382 w 2446861"/>
              <a:gd name="connsiteY8" fmla="*/ 348350 h 348350"/>
              <a:gd name="connsiteX9" fmla="*/ 1808243 w 2446861"/>
              <a:gd name="connsiteY9" fmla="*/ 348350 h 348350"/>
              <a:gd name="connsiteX10" fmla="*/ 1808225 w 2446861"/>
              <a:gd name="connsiteY10" fmla="*/ 348295 h 348350"/>
              <a:gd name="connsiteX11" fmla="*/ 0 w 2446861"/>
              <a:gd name="connsiteY11" fmla="*/ 348331 h 348350"/>
              <a:gd name="connsiteX12" fmla="*/ 0 w 2446861"/>
              <a:gd name="connsiteY12" fmla="*/ 41 h 3483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446861" h="348350">
                <a:moveTo>
                  <a:pt x="2106442" y="0"/>
                </a:moveTo>
                <a:lnTo>
                  <a:pt x="2106442" y="15"/>
                </a:lnTo>
                <a:lnTo>
                  <a:pt x="2446861" y="15"/>
                </a:lnTo>
                <a:cubicBezTo>
                  <a:pt x="2446861" y="168427"/>
                  <a:pt x="2327416" y="308811"/>
                  <a:pt x="2168710" y="341276"/>
                </a:cubicBezTo>
                <a:lnTo>
                  <a:pt x="2106442" y="347551"/>
                </a:lnTo>
                <a:lnTo>
                  <a:pt x="2106442" y="348290"/>
                </a:lnTo>
                <a:lnTo>
                  <a:pt x="2099115" y="348290"/>
                </a:lnTo>
                <a:lnTo>
                  <a:pt x="2098524" y="348350"/>
                </a:lnTo>
                <a:lnTo>
                  <a:pt x="2098382" y="348350"/>
                </a:lnTo>
                <a:lnTo>
                  <a:pt x="1808243" y="348350"/>
                </a:lnTo>
                <a:lnTo>
                  <a:pt x="1808225" y="348295"/>
                </a:lnTo>
                <a:lnTo>
                  <a:pt x="0" y="348331"/>
                </a:lnTo>
                <a:lnTo>
                  <a:pt x="0" y="41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anchor="ctr">
            <a:noAutofit/>
          </a:bodyPr>
          <a:lstStyle>
            <a:lvl1pPr algn="ctr">
              <a:spcBef>
                <a:spcPts val="600"/>
              </a:spcBef>
              <a:defRPr sz="1200">
                <a:solidFill>
                  <a:schemeClr val="bg1"/>
                </a:solidFill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es-ES" dirty="0"/>
              <a:t>Haz </a:t>
            </a:r>
            <a:r>
              <a:rPr lang="es-ES" dirty="0" err="1"/>
              <a:t>click</a:t>
            </a:r>
            <a:r>
              <a:rPr lang="es-ES" dirty="0"/>
              <a:t> para editar los estilos del texto del modelo global</a:t>
            </a:r>
            <a:endParaRPr lang="pt-PT" dirty="0"/>
          </a:p>
        </p:txBody>
      </p:sp>
      <p:sp>
        <p:nvSpPr>
          <p:cNvPr id="82" name="Marcador de Posição do Texto 10">
            <a:extLst>
              <a:ext uri="{FF2B5EF4-FFF2-40B4-BE49-F238E27FC236}">
                <a16:creationId xmlns:a16="http://schemas.microsoft.com/office/drawing/2014/main" id="{51ED2F41-E427-056F-5974-DC79D20D893F}"/>
              </a:ext>
            </a:extLst>
          </p:cNvPr>
          <p:cNvSpPr>
            <a:spLocks noGrp="1"/>
          </p:cNvSpPr>
          <p:nvPr>
            <p:ph type="body" sz="quarter" idx="88" hasCustomPrompt="1"/>
          </p:nvPr>
        </p:nvSpPr>
        <p:spPr>
          <a:xfrm>
            <a:off x="9707590" y="2563664"/>
            <a:ext cx="1778279" cy="352957"/>
          </a:xfrm>
        </p:spPr>
        <p:txBody>
          <a:bodyPr anchor="ctr">
            <a:noAutofit/>
          </a:bodyPr>
          <a:lstStyle>
            <a:lvl1pPr algn="l">
              <a:spcBef>
                <a:spcPts val="600"/>
              </a:spcBef>
              <a:defRPr lang="pt-PT" sz="1400" kern="1200" cap="all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pt-PT" dirty="0"/>
              <a:t>Texto de destaque</a:t>
            </a:r>
          </a:p>
        </p:txBody>
      </p:sp>
      <p:sp>
        <p:nvSpPr>
          <p:cNvPr id="22" name="Marcador de Posição do Rodapé 4">
            <a:extLst>
              <a:ext uri="{FF2B5EF4-FFF2-40B4-BE49-F238E27FC236}">
                <a16:creationId xmlns:a16="http://schemas.microsoft.com/office/drawing/2014/main" id="{700C7A7F-1F8E-4C43-8DD7-E05EC87497C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12762" y="6356350"/>
            <a:ext cx="534669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accent2"/>
                </a:solidFill>
              </a:defRPr>
            </a:lvl1pPr>
          </a:lstStyle>
          <a:p>
            <a:r>
              <a:rPr lang="pt-PT"/>
              <a:t>Título de la presentación</a:t>
            </a:r>
            <a:endParaRPr lang="pt-PT" dirty="0"/>
          </a:p>
        </p:txBody>
      </p:sp>
      <p:sp>
        <p:nvSpPr>
          <p:cNvPr id="23" name="Marcador de Posição do Número do Diapositivo 5">
            <a:extLst>
              <a:ext uri="{FF2B5EF4-FFF2-40B4-BE49-F238E27FC236}">
                <a16:creationId xmlns:a16="http://schemas.microsoft.com/office/drawing/2014/main" id="{5BA38959-9D58-4F6A-8A12-19D3A7272C1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936039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accent2"/>
                </a:solidFill>
              </a:defRPr>
            </a:lvl1pPr>
          </a:lstStyle>
          <a:p>
            <a:fld id="{24A347C2-D68E-473A-8C76-1D063E4EB6E0}" type="slidenum">
              <a:rPr lang="es-ES" smtClean="0"/>
              <a:pPr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40515504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5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1666 -0.00046 L 3.75E-6 1.85185E-6 " pathEditMode="relative" rAng="0" ptsTypes="AA">
                                      <p:cBhvr>
                                        <p:cTn id="9" dur="5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83300" y="2300"/>
                                    </p:animMotion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25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1666 -0.00046 L 3.75E-6 1.85185E-6 " pathEditMode="relative" rAng="0" ptsTypes="AA">
                                      <p:cBhvr>
                                        <p:cTn id="14" dur="5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83300" y="2300"/>
                                    </p:animMotion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8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56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5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57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5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58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5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5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6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6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6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" dur="500"/>
                                        <p:tgtEl>
                                          <p:spTgt spid="6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1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3" dur="500"/>
                                        <p:tgtEl>
                                          <p:spTgt spid="79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4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500"/>
                                        <p:tgtEl>
                                          <p:spTgt spid="7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7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9" dur="500"/>
                                        <p:tgtEl>
                                          <p:spTgt spid="7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2" dur="500"/>
                                        <p:tgtEl>
                                          <p:spTgt spid="7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3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5" dur="500"/>
                                        <p:tgtEl>
                                          <p:spTgt spid="7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6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8" dur="500"/>
                                        <p:tgtEl>
                                          <p:spTgt spid="80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9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1" dur="500"/>
                                        <p:tgtEl>
                                          <p:spTgt spid="8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2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4" dur="500"/>
                                        <p:tgtEl>
                                          <p:spTgt spid="81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5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7" dur="500"/>
                                        <p:tgtEl>
                                          <p:spTgt spid="8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8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7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0" dur="500"/>
                                        <p:tgtEl>
                                          <p:spTgt spid="8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5" grpId="0" animBg="1"/>
      <p:bldP spid="38" grpId="0"/>
      <p:bldP spid="38" grpId="1"/>
      <p:bldP spid="39" grpId="0">
        <p:tmplLst>
          <p:tmpl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250"/>
                        <p:tgtEl>
                          <p:spTgt spid="3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9" grpId="1"/>
      <p:bldP spid="56" grpId="0" build="p" animBg="1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56"/>
                        </p:tgtEl>
                      </p:cBhvr>
                    </p:animEffect>
                  </p:childTnLst>
                </p:cTn>
              </p:par>
            </p:tnLst>
          </p:tmpl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5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7" grpId="0" build="p" animBg="1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57"/>
                        </p:tgtEl>
                      </p:cBhvr>
                    </p:animEffect>
                  </p:childTnLst>
                </p:cTn>
              </p:par>
            </p:tnLst>
          </p:tmpl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5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8" grpId="0" build="p" animBg="1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58"/>
                        </p:tgtEl>
                      </p:cBhvr>
                    </p:animEffect>
                  </p:childTnLst>
                </p:cTn>
              </p:par>
            </p:tnLst>
          </p:tmpl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5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9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5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60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6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6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61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6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6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62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6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6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63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6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6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79" grpId="0" build="p" animBg="1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79"/>
                        </p:tgtEl>
                      </p:cBhvr>
                    </p:animEffect>
                  </p:childTnLst>
                </p:cTn>
              </p:par>
            </p:tnLst>
          </p:tmpl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7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71" grpId="0" animBg="1"/>
      <p:bldP spid="72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7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73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7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80" grpId="0" build="p" animBg="1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8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80"/>
                        </p:tgtEl>
                      </p:cBhvr>
                    </p:animEffect>
                  </p:childTnLst>
                </p:cTn>
              </p:par>
            </p:tnLst>
          </p:tmpl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8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8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81" grpId="0" build="p" animBg="1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8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81"/>
                        </p:tgtEl>
                      </p:cBhvr>
                    </p:animEffect>
                  </p:childTnLst>
                </p:cTn>
              </p:par>
            </p:tnLst>
          </p:tmpl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8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8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82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8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82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2_Esquema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" name="Título 6">
            <a:extLst>
              <a:ext uri="{FF2B5EF4-FFF2-40B4-BE49-F238E27FC236}">
                <a16:creationId xmlns:a16="http://schemas.microsoft.com/office/drawing/2014/main" id="{9D0A8B4B-D95F-E77B-DC32-A1CDD37C998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3184" y="393484"/>
            <a:ext cx="11081915" cy="712204"/>
          </a:xfrm>
        </p:spPr>
        <p:txBody>
          <a:bodyPr>
            <a:normAutofit/>
          </a:bodyPr>
          <a:lstStyle>
            <a:lvl1pPr>
              <a:defRPr sz="3200"/>
            </a:lvl1pPr>
          </a:lstStyle>
          <a:p>
            <a:r>
              <a:rPr lang="pt-PT" dirty="0"/>
              <a:t>Insertar título de la slide</a:t>
            </a:r>
          </a:p>
        </p:txBody>
      </p:sp>
      <p:sp>
        <p:nvSpPr>
          <p:cNvPr id="51" name="Marcador de Posição do Texto 8">
            <a:extLst>
              <a:ext uri="{FF2B5EF4-FFF2-40B4-BE49-F238E27FC236}">
                <a16:creationId xmlns:a16="http://schemas.microsoft.com/office/drawing/2014/main" id="{CF95111D-A7C2-A87D-0E56-D814F1E5E55F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11932" y="976901"/>
            <a:ext cx="11082747" cy="355243"/>
          </a:xfrm>
        </p:spPr>
        <p:txBody>
          <a:bodyPr>
            <a:normAutofit/>
          </a:bodyPr>
          <a:lstStyle>
            <a:lvl1pPr>
              <a:defRPr sz="200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pt-PT" dirty="0"/>
              <a:t>Insertar subtítulo de la slide</a:t>
            </a:r>
          </a:p>
        </p:txBody>
      </p:sp>
      <p:grpSp>
        <p:nvGrpSpPr>
          <p:cNvPr id="56" name="Agrupar 55">
            <a:extLst>
              <a:ext uri="{FF2B5EF4-FFF2-40B4-BE49-F238E27FC236}">
                <a16:creationId xmlns:a16="http://schemas.microsoft.com/office/drawing/2014/main" id="{15F5CF94-AE91-C242-9A85-42E9EDF8DB84}"/>
              </a:ext>
            </a:extLst>
          </p:cNvPr>
          <p:cNvGrpSpPr/>
          <p:nvPr userDrawn="1"/>
        </p:nvGrpSpPr>
        <p:grpSpPr>
          <a:xfrm>
            <a:off x="1101272" y="1906841"/>
            <a:ext cx="10493407" cy="4165600"/>
            <a:chOff x="1001486" y="1906841"/>
            <a:chExt cx="10581074" cy="4165600"/>
          </a:xfrm>
        </p:grpSpPr>
        <p:cxnSp>
          <p:nvCxnSpPr>
            <p:cNvPr id="53" name="Conexão reta 52">
              <a:extLst>
                <a:ext uri="{FF2B5EF4-FFF2-40B4-BE49-F238E27FC236}">
                  <a16:creationId xmlns:a16="http://schemas.microsoft.com/office/drawing/2014/main" id="{A587C7EB-AFCD-C112-F3D0-25F90DDC833E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001486" y="1906841"/>
              <a:ext cx="0" cy="4165600"/>
            </a:xfrm>
            <a:prstGeom prst="line">
              <a:avLst/>
            </a:prstGeom>
            <a:ln w="9525"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Conexão reta 54">
              <a:extLst>
                <a:ext uri="{FF2B5EF4-FFF2-40B4-BE49-F238E27FC236}">
                  <a16:creationId xmlns:a16="http://schemas.microsoft.com/office/drawing/2014/main" id="{0415CAD5-1B12-28C3-E249-E72376C0977F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016000" y="6072441"/>
              <a:ext cx="10566560" cy="0"/>
            </a:xfrm>
            <a:prstGeom prst="line">
              <a:avLst/>
            </a:prstGeom>
            <a:ln w="9525"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7" name="Marcador de Posição do Texto 10">
            <a:extLst>
              <a:ext uri="{FF2B5EF4-FFF2-40B4-BE49-F238E27FC236}">
                <a16:creationId xmlns:a16="http://schemas.microsoft.com/office/drawing/2014/main" id="{152BD009-3057-0A01-9F42-30227C567FC3}"/>
              </a:ext>
            </a:extLst>
          </p:cNvPr>
          <p:cNvSpPr>
            <a:spLocks noGrp="1"/>
          </p:cNvSpPr>
          <p:nvPr>
            <p:ph type="body" sz="quarter" idx="77" hasCustomPrompt="1"/>
          </p:nvPr>
        </p:nvSpPr>
        <p:spPr>
          <a:xfrm>
            <a:off x="1369065" y="3588373"/>
            <a:ext cx="2028068" cy="218992"/>
          </a:xfrm>
        </p:spPr>
        <p:txBody>
          <a:bodyPr anchor="t">
            <a:noAutofit/>
          </a:bodyPr>
          <a:lstStyle>
            <a:lvl1pPr algn="ctr">
              <a:spcBef>
                <a:spcPts val="600"/>
              </a:spcBef>
              <a:defRPr sz="1000">
                <a:solidFill>
                  <a:schemeClr val="tx2"/>
                </a:solidFill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es-ES" dirty="0"/>
              <a:t>Haz </a:t>
            </a:r>
            <a:r>
              <a:rPr lang="es-ES" dirty="0" err="1"/>
              <a:t>click</a:t>
            </a:r>
            <a:r>
              <a:rPr lang="es-ES" dirty="0"/>
              <a:t> para editar los estilos del texto del modelo global</a:t>
            </a:r>
            <a:endParaRPr lang="pt-PT" dirty="0"/>
          </a:p>
        </p:txBody>
      </p:sp>
      <p:sp>
        <p:nvSpPr>
          <p:cNvPr id="58" name="Marcador de Posição do Texto 10">
            <a:extLst>
              <a:ext uri="{FF2B5EF4-FFF2-40B4-BE49-F238E27FC236}">
                <a16:creationId xmlns:a16="http://schemas.microsoft.com/office/drawing/2014/main" id="{DA93CEBC-E31E-CD0D-48AA-3E131EBF625E}"/>
              </a:ext>
            </a:extLst>
          </p:cNvPr>
          <p:cNvSpPr>
            <a:spLocks noGrp="1"/>
          </p:cNvSpPr>
          <p:nvPr>
            <p:ph type="body" sz="quarter" idx="79" hasCustomPrompt="1"/>
          </p:nvPr>
        </p:nvSpPr>
        <p:spPr>
          <a:xfrm>
            <a:off x="1369065" y="3342864"/>
            <a:ext cx="2028068" cy="218992"/>
          </a:xfrm>
        </p:spPr>
        <p:txBody>
          <a:bodyPr anchor="b">
            <a:noAutofit/>
          </a:bodyPr>
          <a:lstStyle>
            <a:lvl1pPr algn="ctr">
              <a:spcBef>
                <a:spcPts val="600"/>
              </a:spcBef>
              <a:defRPr lang="pt-PT" sz="1200" kern="1200" cap="all" baseline="0" dirty="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pt-PT" dirty="0"/>
              <a:t>Texto destacado</a:t>
            </a:r>
          </a:p>
        </p:txBody>
      </p:sp>
      <p:sp>
        <p:nvSpPr>
          <p:cNvPr id="59" name="Marcador de Posição do Texto 10">
            <a:extLst>
              <a:ext uri="{FF2B5EF4-FFF2-40B4-BE49-F238E27FC236}">
                <a16:creationId xmlns:a16="http://schemas.microsoft.com/office/drawing/2014/main" id="{6A3309B7-5567-A2AC-1354-CAD651618131}"/>
              </a:ext>
            </a:extLst>
          </p:cNvPr>
          <p:cNvSpPr>
            <a:spLocks noGrp="1"/>
          </p:cNvSpPr>
          <p:nvPr>
            <p:ph type="body" sz="quarter" idx="80" hasCustomPrompt="1"/>
          </p:nvPr>
        </p:nvSpPr>
        <p:spPr>
          <a:xfrm>
            <a:off x="3433833" y="3271862"/>
            <a:ext cx="2028068" cy="218992"/>
          </a:xfrm>
        </p:spPr>
        <p:txBody>
          <a:bodyPr anchor="t">
            <a:noAutofit/>
          </a:bodyPr>
          <a:lstStyle>
            <a:lvl1pPr algn="ctr">
              <a:spcBef>
                <a:spcPts val="600"/>
              </a:spcBef>
              <a:defRPr sz="1000">
                <a:solidFill>
                  <a:schemeClr val="tx2"/>
                </a:solidFill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es-ES" dirty="0"/>
              <a:t>Haz </a:t>
            </a:r>
            <a:r>
              <a:rPr lang="es-ES" dirty="0" err="1"/>
              <a:t>click</a:t>
            </a:r>
            <a:r>
              <a:rPr lang="es-ES" dirty="0"/>
              <a:t> para editar los estilos del texto del modelo global</a:t>
            </a:r>
            <a:endParaRPr lang="pt-PT" dirty="0"/>
          </a:p>
        </p:txBody>
      </p:sp>
      <p:sp>
        <p:nvSpPr>
          <p:cNvPr id="60" name="Marcador de Posição do Texto 10">
            <a:extLst>
              <a:ext uri="{FF2B5EF4-FFF2-40B4-BE49-F238E27FC236}">
                <a16:creationId xmlns:a16="http://schemas.microsoft.com/office/drawing/2014/main" id="{0D2BC197-E447-1B89-32F6-B35644D3E42C}"/>
              </a:ext>
            </a:extLst>
          </p:cNvPr>
          <p:cNvSpPr>
            <a:spLocks noGrp="1"/>
          </p:cNvSpPr>
          <p:nvPr>
            <p:ph type="body" sz="quarter" idx="81" hasCustomPrompt="1"/>
          </p:nvPr>
        </p:nvSpPr>
        <p:spPr>
          <a:xfrm>
            <a:off x="3433833" y="3026353"/>
            <a:ext cx="2028068" cy="218992"/>
          </a:xfrm>
        </p:spPr>
        <p:txBody>
          <a:bodyPr anchor="b">
            <a:noAutofit/>
          </a:bodyPr>
          <a:lstStyle>
            <a:lvl1pPr algn="ctr">
              <a:spcBef>
                <a:spcPts val="600"/>
              </a:spcBef>
              <a:defRPr lang="pt-PT" sz="1200" kern="1200" cap="all" baseline="0" dirty="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pt-PT" dirty="0"/>
              <a:t>Texto destacado</a:t>
            </a:r>
          </a:p>
        </p:txBody>
      </p:sp>
      <p:sp>
        <p:nvSpPr>
          <p:cNvPr id="61" name="Marcador de Posição do Texto 10">
            <a:extLst>
              <a:ext uri="{FF2B5EF4-FFF2-40B4-BE49-F238E27FC236}">
                <a16:creationId xmlns:a16="http://schemas.microsoft.com/office/drawing/2014/main" id="{9D07B3FB-614B-6E2E-427B-9192D230D37F}"/>
              </a:ext>
            </a:extLst>
          </p:cNvPr>
          <p:cNvSpPr>
            <a:spLocks noGrp="1"/>
          </p:cNvSpPr>
          <p:nvPr>
            <p:ph type="body" sz="quarter" idx="82" hasCustomPrompt="1"/>
          </p:nvPr>
        </p:nvSpPr>
        <p:spPr>
          <a:xfrm>
            <a:off x="5461901" y="2761416"/>
            <a:ext cx="2028068" cy="218992"/>
          </a:xfrm>
        </p:spPr>
        <p:txBody>
          <a:bodyPr anchor="t">
            <a:noAutofit/>
          </a:bodyPr>
          <a:lstStyle>
            <a:lvl1pPr algn="ctr">
              <a:spcBef>
                <a:spcPts val="600"/>
              </a:spcBef>
              <a:defRPr sz="1000">
                <a:solidFill>
                  <a:schemeClr val="tx2"/>
                </a:solidFill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es-ES" dirty="0"/>
              <a:t>Haz </a:t>
            </a:r>
            <a:r>
              <a:rPr lang="es-ES" dirty="0" err="1"/>
              <a:t>click</a:t>
            </a:r>
            <a:r>
              <a:rPr lang="es-ES" dirty="0"/>
              <a:t> para editar los estilos del texto del modelo global</a:t>
            </a:r>
            <a:endParaRPr lang="pt-PT" dirty="0"/>
          </a:p>
        </p:txBody>
      </p:sp>
      <p:sp>
        <p:nvSpPr>
          <p:cNvPr id="62" name="Marcador de Posição do Texto 10">
            <a:extLst>
              <a:ext uri="{FF2B5EF4-FFF2-40B4-BE49-F238E27FC236}">
                <a16:creationId xmlns:a16="http://schemas.microsoft.com/office/drawing/2014/main" id="{11E67698-18C1-10D8-E35D-22393CBF178C}"/>
              </a:ext>
            </a:extLst>
          </p:cNvPr>
          <p:cNvSpPr>
            <a:spLocks noGrp="1"/>
          </p:cNvSpPr>
          <p:nvPr>
            <p:ph type="body" sz="quarter" idx="83" hasCustomPrompt="1"/>
          </p:nvPr>
        </p:nvSpPr>
        <p:spPr>
          <a:xfrm>
            <a:off x="5461901" y="2515907"/>
            <a:ext cx="2028068" cy="218992"/>
          </a:xfrm>
        </p:spPr>
        <p:txBody>
          <a:bodyPr anchor="b">
            <a:noAutofit/>
          </a:bodyPr>
          <a:lstStyle>
            <a:lvl1pPr algn="ctr">
              <a:spcBef>
                <a:spcPts val="600"/>
              </a:spcBef>
              <a:defRPr lang="pt-PT" sz="1200" kern="1200" cap="all" baseline="0" dirty="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pt-PT" dirty="0"/>
              <a:t>Texto destacado</a:t>
            </a:r>
          </a:p>
        </p:txBody>
      </p:sp>
      <p:sp>
        <p:nvSpPr>
          <p:cNvPr id="63" name="Marcador de Posição do Texto 10">
            <a:extLst>
              <a:ext uri="{FF2B5EF4-FFF2-40B4-BE49-F238E27FC236}">
                <a16:creationId xmlns:a16="http://schemas.microsoft.com/office/drawing/2014/main" id="{42794AA7-897D-FDB0-A007-370F3BF70527}"/>
              </a:ext>
            </a:extLst>
          </p:cNvPr>
          <p:cNvSpPr>
            <a:spLocks noGrp="1"/>
          </p:cNvSpPr>
          <p:nvPr>
            <p:ph type="body" sz="quarter" idx="84" hasCustomPrompt="1"/>
          </p:nvPr>
        </p:nvSpPr>
        <p:spPr>
          <a:xfrm>
            <a:off x="7467272" y="2289515"/>
            <a:ext cx="2028068" cy="218992"/>
          </a:xfrm>
        </p:spPr>
        <p:txBody>
          <a:bodyPr anchor="t">
            <a:noAutofit/>
          </a:bodyPr>
          <a:lstStyle>
            <a:lvl1pPr algn="ctr">
              <a:spcBef>
                <a:spcPts val="600"/>
              </a:spcBef>
              <a:defRPr sz="1000">
                <a:solidFill>
                  <a:schemeClr val="tx2"/>
                </a:solidFill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es-ES" dirty="0"/>
              <a:t>Haz </a:t>
            </a:r>
            <a:r>
              <a:rPr lang="es-ES" dirty="0" err="1"/>
              <a:t>click</a:t>
            </a:r>
            <a:r>
              <a:rPr lang="es-ES" dirty="0"/>
              <a:t> para editar los estilos del texto del modelo global</a:t>
            </a:r>
            <a:endParaRPr lang="pt-PT" dirty="0"/>
          </a:p>
        </p:txBody>
      </p:sp>
      <p:sp>
        <p:nvSpPr>
          <p:cNvPr id="64" name="Marcador de Posição do Texto 10">
            <a:extLst>
              <a:ext uri="{FF2B5EF4-FFF2-40B4-BE49-F238E27FC236}">
                <a16:creationId xmlns:a16="http://schemas.microsoft.com/office/drawing/2014/main" id="{4B986FBD-EDC9-5873-6900-BD046EF9FC85}"/>
              </a:ext>
            </a:extLst>
          </p:cNvPr>
          <p:cNvSpPr>
            <a:spLocks noGrp="1"/>
          </p:cNvSpPr>
          <p:nvPr>
            <p:ph type="body" sz="quarter" idx="85" hasCustomPrompt="1"/>
          </p:nvPr>
        </p:nvSpPr>
        <p:spPr>
          <a:xfrm>
            <a:off x="7467272" y="2044006"/>
            <a:ext cx="2028068" cy="218992"/>
          </a:xfrm>
        </p:spPr>
        <p:txBody>
          <a:bodyPr anchor="b">
            <a:noAutofit/>
          </a:bodyPr>
          <a:lstStyle>
            <a:lvl1pPr algn="ctr">
              <a:spcBef>
                <a:spcPts val="600"/>
              </a:spcBef>
              <a:defRPr lang="pt-PT" sz="1200" kern="1200" cap="all" baseline="0" dirty="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pt-PT" dirty="0"/>
              <a:t>Texto destacado</a:t>
            </a:r>
          </a:p>
        </p:txBody>
      </p:sp>
      <p:sp>
        <p:nvSpPr>
          <p:cNvPr id="65" name="Marcador de Posição do Texto 10">
            <a:extLst>
              <a:ext uri="{FF2B5EF4-FFF2-40B4-BE49-F238E27FC236}">
                <a16:creationId xmlns:a16="http://schemas.microsoft.com/office/drawing/2014/main" id="{40EFD7E4-F440-76C0-B4F2-80E88FA13C82}"/>
              </a:ext>
            </a:extLst>
          </p:cNvPr>
          <p:cNvSpPr>
            <a:spLocks noGrp="1"/>
          </p:cNvSpPr>
          <p:nvPr>
            <p:ph type="body" sz="quarter" idx="86" hasCustomPrompt="1"/>
          </p:nvPr>
        </p:nvSpPr>
        <p:spPr>
          <a:xfrm>
            <a:off x="9469642" y="1812213"/>
            <a:ext cx="2028068" cy="218992"/>
          </a:xfrm>
        </p:spPr>
        <p:txBody>
          <a:bodyPr anchor="t">
            <a:noAutofit/>
          </a:bodyPr>
          <a:lstStyle>
            <a:lvl1pPr algn="ctr">
              <a:spcBef>
                <a:spcPts val="600"/>
              </a:spcBef>
              <a:defRPr sz="1000">
                <a:solidFill>
                  <a:schemeClr val="tx2"/>
                </a:solidFill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es-ES" dirty="0"/>
              <a:t>Haz </a:t>
            </a:r>
            <a:r>
              <a:rPr lang="es-ES" dirty="0" err="1"/>
              <a:t>click</a:t>
            </a:r>
            <a:r>
              <a:rPr lang="es-ES" dirty="0"/>
              <a:t> para editar los estilos del texto del modelo global</a:t>
            </a:r>
            <a:endParaRPr lang="pt-PT" dirty="0"/>
          </a:p>
        </p:txBody>
      </p:sp>
      <p:sp>
        <p:nvSpPr>
          <p:cNvPr id="66" name="Marcador de Posição do Texto 10">
            <a:extLst>
              <a:ext uri="{FF2B5EF4-FFF2-40B4-BE49-F238E27FC236}">
                <a16:creationId xmlns:a16="http://schemas.microsoft.com/office/drawing/2014/main" id="{427FC806-2CAB-E138-FAEE-169043C2CDAD}"/>
              </a:ext>
            </a:extLst>
          </p:cNvPr>
          <p:cNvSpPr>
            <a:spLocks noGrp="1"/>
          </p:cNvSpPr>
          <p:nvPr>
            <p:ph type="body" sz="quarter" idx="87" hasCustomPrompt="1"/>
          </p:nvPr>
        </p:nvSpPr>
        <p:spPr>
          <a:xfrm>
            <a:off x="9469642" y="1566704"/>
            <a:ext cx="2028068" cy="218992"/>
          </a:xfrm>
        </p:spPr>
        <p:txBody>
          <a:bodyPr anchor="b">
            <a:noAutofit/>
          </a:bodyPr>
          <a:lstStyle>
            <a:lvl1pPr algn="ctr">
              <a:spcBef>
                <a:spcPts val="600"/>
              </a:spcBef>
              <a:defRPr lang="pt-PT" sz="1200" kern="1200" cap="all" baseline="0" dirty="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pt-PT" dirty="0"/>
              <a:t>Texto destacado</a:t>
            </a:r>
          </a:p>
        </p:txBody>
      </p:sp>
      <p:sp>
        <p:nvSpPr>
          <p:cNvPr id="67" name="Marcador de Posição do Texto 10">
            <a:extLst>
              <a:ext uri="{FF2B5EF4-FFF2-40B4-BE49-F238E27FC236}">
                <a16:creationId xmlns:a16="http://schemas.microsoft.com/office/drawing/2014/main" id="{8544DCDD-CAFF-824E-0318-976074BD50ED}"/>
              </a:ext>
            </a:extLst>
          </p:cNvPr>
          <p:cNvSpPr>
            <a:spLocks noGrp="1"/>
          </p:cNvSpPr>
          <p:nvPr>
            <p:ph type="body" sz="quarter" idx="88" hasCustomPrompt="1"/>
          </p:nvPr>
        </p:nvSpPr>
        <p:spPr>
          <a:xfrm>
            <a:off x="3958358" y="5705906"/>
            <a:ext cx="2028068" cy="218992"/>
          </a:xfrm>
        </p:spPr>
        <p:txBody>
          <a:bodyPr anchor="ctr">
            <a:noAutofit/>
          </a:bodyPr>
          <a:lstStyle>
            <a:lvl1pPr algn="ctr">
              <a:spcBef>
                <a:spcPts val="600"/>
              </a:spcBef>
              <a:defRPr lang="pt-PT" sz="1400" b="1" kern="1200" cap="none" baseline="0" dirty="0">
                <a:solidFill>
                  <a:schemeClr val="tx2"/>
                </a:solidFill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pt-PT" dirty="0"/>
              <a:t>Texto destacado</a:t>
            </a:r>
          </a:p>
        </p:txBody>
      </p:sp>
      <p:sp>
        <p:nvSpPr>
          <p:cNvPr id="68" name="Marcador de Posição do Texto 10">
            <a:extLst>
              <a:ext uri="{FF2B5EF4-FFF2-40B4-BE49-F238E27FC236}">
                <a16:creationId xmlns:a16="http://schemas.microsoft.com/office/drawing/2014/main" id="{EF1696C5-47BC-12E6-80BA-777C0D55512C}"/>
              </a:ext>
            </a:extLst>
          </p:cNvPr>
          <p:cNvSpPr>
            <a:spLocks noGrp="1"/>
          </p:cNvSpPr>
          <p:nvPr>
            <p:ph type="body" sz="quarter" idx="89" hasCustomPrompt="1"/>
          </p:nvPr>
        </p:nvSpPr>
        <p:spPr>
          <a:xfrm>
            <a:off x="9099937" y="5705906"/>
            <a:ext cx="2028068" cy="218992"/>
          </a:xfrm>
        </p:spPr>
        <p:txBody>
          <a:bodyPr anchor="ctr">
            <a:noAutofit/>
          </a:bodyPr>
          <a:lstStyle>
            <a:lvl1pPr algn="ctr">
              <a:spcBef>
                <a:spcPts val="600"/>
              </a:spcBef>
              <a:defRPr lang="pt-PT" sz="1400" b="1" kern="1200" cap="none" baseline="0" dirty="0">
                <a:solidFill>
                  <a:schemeClr val="tx2"/>
                </a:solidFill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pt-PT" dirty="0"/>
              <a:t>Texto destacado</a:t>
            </a:r>
          </a:p>
        </p:txBody>
      </p:sp>
      <p:sp>
        <p:nvSpPr>
          <p:cNvPr id="69" name="Marcador de Posição do Texto 10">
            <a:extLst>
              <a:ext uri="{FF2B5EF4-FFF2-40B4-BE49-F238E27FC236}">
                <a16:creationId xmlns:a16="http://schemas.microsoft.com/office/drawing/2014/main" id="{3860350E-2FD3-7811-E484-5FF974267914}"/>
              </a:ext>
            </a:extLst>
          </p:cNvPr>
          <p:cNvSpPr>
            <a:spLocks noGrp="1"/>
          </p:cNvSpPr>
          <p:nvPr>
            <p:ph type="body" sz="quarter" idx="90" hasCustomPrompt="1"/>
          </p:nvPr>
        </p:nvSpPr>
        <p:spPr>
          <a:xfrm>
            <a:off x="127025" y="5795008"/>
            <a:ext cx="947470" cy="364009"/>
          </a:xfrm>
        </p:spPr>
        <p:txBody>
          <a:bodyPr anchor="ctr">
            <a:noAutofit/>
          </a:bodyPr>
          <a:lstStyle>
            <a:lvl1pPr algn="r">
              <a:spcBef>
                <a:spcPts val="600"/>
              </a:spcBef>
              <a:defRPr lang="pt-PT" sz="1000" b="1" kern="1200" cap="none" baseline="0" dirty="0">
                <a:solidFill>
                  <a:schemeClr val="tx2"/>
                </a:solidFill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pt-PT" dirty="0"/>
              <a:t>Texto destacado</a:t>
            </a:r>
          </a:p>
        </p:txBody>
      </p:sp>
      <p:sp>
        <p:nvSpPr>
          <p:cNvPr id="70" name="Marcador de Posição do Texto 10">
            <a:extLst>
              <a:ext uri="{FF2B5EF4-FFF2-40B4-BE49-F238E27FC236}">
                <a16:creationId xmlns:a16="http://schemas.microsoft.com/office/drawing/2014/main" id="{436C7459-0EFF-D752-2927-4E148159C457}"/>
              </a:ext>
            </a:extLst>
          </p:cNvPr>
          <p:cNvSpPr>
            <a:spLocks noGrp="1"/>
          </p:cNvSpPr>
          <p:nvPr>
            <p:ph type="body" sz="quarter" idx="91" hasCustomPrompt="1"/>
          </p:nvPr>
        </p:nvSpPr>
        <p:spPr>
          <a:xfrm>
            <a:off x="127025" y="5327724"/>
            <a:ext cx="947470" cy="364009"/>
          </a:xfrm>
        </p:spPr>
        <p:txBody>
          <a:bodyPr anchor="ctr">
            <a:noAutofit/>
          </a:bodyPr>
          <a:lstStyle>
            <a:lvl1pPr algn="r">
              <a:spcBef>
                <a:spcPts val="600"/>
              </a:spcBef>
              <a:defRPr lang="pt-PT" sz="1000" b="1" kern="1200" cap="none" baseline="0" dirty="0">
                <a:solidFill>
                  <a:schemeClr val="tx2"/>
                </a:solidFill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pt-PT" dirty="0"/>
              <a:t>Texto destacado </a:t>
            </a:r>
          </a:p>
        </p:txBody>
      </p:sp>
      <p:sp>
        <p:nvSpPr>
          <p:cNvPr id="72" name="Marcador de Posição do Texto 10">
            <a:extLst>
              <a:ext uri="{FF2B5EF4-FFF2-40B4-BE49-F238E27FC236}">
                <a16:creationId xmlns:a16="http://schemas.microsoft.com/office/drawing/2014/main" id="{255954F8-BAA0-D6C0-33C6-C46B653EF610}"/>
              </a:ext>
            </a:extLst>
          </p:cNvPr>
          <p:cNvSpPr>
            <a:spLocks noGrp="1"/>
          </p:cNvSpPr>
          <p:nvPr>
            <p:ph type="body" sz="quarter" idx="92" hasCustomPrompt="1"/>
          </p:nvPr>
        </p:nvSpPr>
        <p:spPr>
          <a:xfrm>
            <a:off x="9583989" y="6153797"/>
            <a:ext cx="2028068" cy="218992"/>
          </a:xfrm>
        </p:spPr>
        <p:txBody>
          <a:bodyPr anchor="ctr">
            <a:noAutofit/>
          </a:bodyPr>
          <a:lstStyle>
            <a:lvl1pPr algn="r">
              <a:spcBef>
                <a:spcPts val="600"/>
              </a:spcBef>
              <a:defRPr lang="pt-PT" sz="1400" b="1" kern="1200" cap="none" baseline="0" dirty="0">
                <a:solidFill>
                  <a:schemeClr val="tx2"/>
                </a:solidFill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pt-PT" dirty="0"/>
              <a:t>Texto destacado</a:t>
            </a:r>
          </a:p>
        </p:txBody>
      </p:sp>
      <p:sp>
        <p:nvSpPr>
          <p:cNvPr id="73" name="Marcador de Posição do Texto 10">
            <a:extLst>
              <a:ext uri="{FF2B5EF4-FFF2-40B4-BE49-F238E27FC236}">
                <a16:creationId xmlns:a16="http://schemas.microsoft.com/office/drawing/2014/main" id="{7985E4D0-352D-5440-E4A4-D9347C2D5A21}"/>
              </a:ext>
            </a:extLst>
          </p:cNvPr>
          <p:cNvSpPr>
            <a:spLocks noGrp="1"/>
          </p:cNvSpPr>
          <p:nvPr>
            <p:ph type="body" sz="quarter" idx="93" hasCustomPrompt="1"/>
          </p:nvPr>
        </p:nvSpPr>
        <p:spPr>
          <a:xfrm rot="16200000">
            <a:off x="-109611" y="2812794"/>
            <a:ext cx="2028068" cy="218992"/>
          </a:xfrm>
        </p:spPr>
        <p:txBody>
          <a:bodyPr anchor="ctr">
            <a:noAutofit/>
          </a:bodyPr>
          <a:lstStyle>
            <a:lvl1pPr algn="r">
              <a:spcBef>
                <a:spcPts val="600"/>
              </a:spcBef>
              <a:defRPr lang="pt-PT" sz="1400" b="1" kern="1200" cap="none" baseline="0" dirty="0">
                <a:solidFill>
                  <a:schemeClr val="tx2"/>
                </a:solidFill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pt-PT" dirty="0"/>
              <a:t>Texto destacado</a:t>
            </a:r>
          </a:p>
        </p:txBody>
      </p:sp>
      <p:pic>
        <p:nvPicPr>
          <p:cNvPr id="74" name="Imagem 73">
            <a:extLst>
              <a:ext uri="{FF2B5EF4-FFF2-40B4-BE49-F238E27FC236}">
                <a16:creationId xmlns:a16="http://schemas.microsoft.com/office/drawing/2014/main" id="{598D9058-C25C-60E9-B5C0-4CC06750950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 l="12584" t="17349" r="69501" b="19713"/>
          <a:stretch>
            <a:fillRect/>
          </a:stretch>
        </p:blipFill>
        <p:spPr>
          <a:xfrm rot="16200000" flipH="1" flipV="1">
            <a:off x="6733565" y="3205724"/>
            <a:ext cx="1619233" cy="5685322"/>
          </a:xfrm>
          <a:prstGeom prst="rect">
            <a:avLst/>
          </a:prstGeom>
        </p:spPr>
      </p:pic>
      <p:pic>
        <p:nvPicPr>
          <p:cNvPr id="75" name="Imagem 74">
            <a:extLst>
              <a:ext uri="{FF2B5EF4-FFF2-40B4-BE49-F238E27FC236}">
                <a16:creationId xmlns:a16="http://schemas.microsoft.com/office/drawing/2014/main" id="{FD430C85-991E-7DA2-A4FB-C9CE51AE5FE7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 l="23581" t="60527" r="14745" b="14633"/>
          <a:stretch>
            <a:fillRect/>
          </a:stretch>
        </p:blipFill>
        <p:spPr>
          <a:xfrm rot="5400000" flipV="1">
            <a:off x="-884388" y="3862314"/>
            <a:ext cx="2940797" cy="1184372"/>
          </a:xfrm>
          <a:prstGeom prst="rect">
            <a:avLst/>
          </a:prstGeom>
        </p:spPr>
      </p:pic>
      <p:sp>
        <p:nvSpPr>
          <p:cNvPr id="25" name="Marcador de Posição do Rodapé 4">
            <a:extLst>
              <a:ext uri="{FF2B5EF4-FFF2-40B4-BE49-F238E27FC236}">
                <a16:creationId xmlns:a16="http://schemas.microsoft.com/office/drawing/2014/main" id="{7F96A517-FCCA-477A-9CC4-A9A0AAA3E1F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12762" y="6356350"/>
            <a:ext cx="534669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accent2"/>
                </a:solidFill>
              </a:defRPr>
            </a:lvl1pPr>
          </a:lstStyle>
          <a:p>
            <a:r>
              <a:rPr lang="pt-PT"/>
              <a:t>Título de la presentación</a:t>
            </a:r>
            <a:endParaRPr lang="pt-PT" dirty="0"/>
          </a:p>
        </p:txBody>
      </p:sp>
      <p:sp>
        <p:nvSpPr>
          <p:cNvPr id="26" name="Marcador de Posição do Número do Diapositivo 5">
            <a:extLst>
              <a:ext uri="{FF2B5EF4-FFF2-40B4-BE49-F238E27FC236}">
                <a16:creationId xmlns:a16="http://schemas.microsoft.com/office/drawing/2014/main" id="{3000F091-0260-4A98-817D-9780544B2C6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936039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accent2"/>
                </a:solidFill>
              </a:defRPr>
            </a:lvl1pPr>
          </a:lstStyle>
          <a:p>
            <a:fld id="{24A347C2-D68E-473A-8C76-1D063E4EB6E0}" type="slidenum">
              <a:rPr lang="es-ES" smtClean="0"/>
              <a:pPr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71001245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5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25E-6 0.03889 L 1.25E-6 1.85185E-6 " pathEditMode="relative" rAng="0" ptsTypes="AA">
                                      <p:cBhvr>
                                        <p:cTn id="9" dur="500" fill="hold"/>
                                        <p:tgtEl>
                                          <p:spTgt spid="5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944"/>
                                    </p:animMotion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25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25E-6 0.03889 L 1.25E-6 1.85185E-6 " pathEditMode="relative" rAng="0" ptsTypes="AA">
                                      <p:cBhvr>
                                        <p:cTn id="14" dur="50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944"/>
                                    </p:animMotion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5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5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5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6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6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6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6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6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6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6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" dur="500"/>
                                        <p:tgtEl>
                                          <p:spTgt spid="6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1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3" dur="500"/>
                                        <p:tgtEl>
                                          <p:spTgt spid="6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4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500"/>
                                        <p:tgtEl>
                                          <p:spTgt spid="6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7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9" dur="500"/>
                                        <p:tgtEl>
                                          <p:spTgt spid="7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2" dur="500"/>
                                        <p:tgtEl>
                                          <p:spTgt spid="7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3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5" dur="500"/>
                                        <p:tgtEl>
                                          <p:spTgt spid="7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6" presetID="10" presetClass="entr" presetSubtype="0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8" dur="500"/>
                                        <p:tgtEl>
                                          <p:spTgt spid="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9" presetID="10" presetClass="entr" presetSubtype="0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1" dur="500"/>
                                        <p:tgtEl>
                                          <p:spTgt spid="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0" grpId="0"/>
      <p:bldP spid="50" grpId="1"/>
      <p:bldP spid="51" grpId="0">
        <p:tmplLst>
          <p:tmpl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250"/>
                        <p:tgtEl>
                          <p:spTgt spid="5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1" grpId="1"/>
      <p:bldP spid="57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5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8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5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9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5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60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6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6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61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6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6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62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6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6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63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6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6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64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6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6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65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6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6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66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6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6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67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6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6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68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6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6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69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6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6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70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7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72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7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73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73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3_Esquema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" name="Conexão reta 5">
            <a:extLst>
              <a:ext uri="{FF2B5EF4-FFF2-40B4-BE49-F238E27FC236}">
                <a16:creationId xmlns:a16="http://schemas.microsoft.com/office/drawing/2014/main" id="{786674C0-3337-3449-E6EE-4D00D1A67158}"/>
              </a:ext>
            </a:extLst>
          </p:cNvPr>
          <p:cNvCxnSpPr/>
          <p:nvPr userDrawn="1"/>
        </p:nvCxnSpPr>
        <p:spPr>
          <a:xfrm>
            <a:off x="1320800" y="3378200"/>
            <a:ext cx="0" cy="2374900"/>
          </a:xfrm>
          <a:prstGeom prst="line">
            <a:avLst/>
          </a:prstGeom>
          <a:ln w="6350">
            <a:solidFill>
              <a:schemeClr val="tx1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" name="Conexão reta 6">
            <a:extLst>
              <a:ext uri="{FF2B5EF4-FFF2-40B4-BE49-F238E27FC236}">
                <a16:creationId xmlns:a16="http://schemas.microsoft.com/office/drawing/2014/main" id="{B2C09643-514A-268F-FFAC-92CA253B3870}"/>
              </a:ext>
            </a:extLst>
          </p:cNvPr>
          <p:cNvCxnSpPr>
            <a:cxnSpLocks/>
          </p:cNvCxnSpPr>
          <p:nvPr userDrawn="1"/>
        </p:nvCxnSpPr>
        <p:spPr>
          <a:xfrm flipH="1">
            <a:off x="1320800" y="5753100"/>
            <a:ext cx="2019300" cy="0"/>
          </a:xfrm>
          <a:prstGeom prst="line">
            <a:avLst/>
          </a:prstGeom>
          <a:ln w="6350">
            <a:solidFill>
              <a:schemeClr val="tx1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8" name="Conexão reta 7">
            <a:extLst>
              <a:ext uri="{FF2B5EF4-FFF2-40B4-BE49-F238E27FC236}">
                <a16:creationId xmlns:a16="http://schemas.microsoft.com/office/drawing/2014/main" id="{96482500-73C5-C849-2E60-04016E7DCE54}"/>
              </a:ext>
            </a:extLst>
          </p:cNvPr>
          <p:cNvCxnSpPr>
            <a:cxnSpLocks/>
          </p:cNvCxnSpPr>
          <p:nvPr userDrawn="1"/>
        </p:nvCxnSpPr>
        <p:spPr>
          <a:xfrm>
            <a:off x="3352800" y="2235200"/>
            <a:ext cx="0" cy="3517900"/>
          </a:xfrm>
          <a:prstGeom prst="line">
            <a:avLst/>
          </a:prstGeom>
          <a:ln w="6350">
            <a:solidFill>
              <a:schemeClr val="tx1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3" name="Conexão reta 62">
            <a:extLst>
              <a:ext uri="{FF2B5EF4-FFF2-40B4-BE49-F238E27FC236}">
                <a16:creationId xmlns:a16="http://schemas.microsoft.com/office/drawing/2014/main" id="{FABCD9AB-D27B-5F89-E901-34086FF765BD}"/>
              </a:ext>
            </a:extLst>
          </p:cNvPr>
          <p:cNvCxnSpPr>
            <a:cxnSpLocks/>
          </p:cNvCxnSpPr>
          <p:nvPr userDrawn="1"/>
        </p:nvCxnSpPr>
        <p:spPr>
          <a:xfrm flipH="1">
            <a:off x="3352800" y="2235200"/>
            <a:ext cx="2019300" cy="0"/>
          </a:xfrm>
          <a:prstGeom prst="line">
            <a:avLst/>
          </a:prstGeom>
          <a:ln w="6350">
            <a:solidFill>
              <a:schemeClr val="tx1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4" name="Conexão reta 63">
            <a:extLst>
              <a:ext uri="{FF2B5EF4-FFF2-40B4-BE49-F238E27FC236}">
                <a16:creationId xmlns:a16="http://schemas.microsoft.com/office/drawing/2014/main" id="{A69F2021-35EF-2BE4-5ABA-4AA5D8D731F2}"/>
              </a:ext>
            </a:extLst>
          </p:cNvPr>
          <p:cNvCxnSpPr>
            <a:cxnSpLocks/>
          </p:cNvCxnSpPr>
          <p:nvPr userDrawn="1"/>
        </p:nvCxnSpPr>
        <p:spPr>
          <a:xfrm>
            <a:off x="5372100" y="2235200"/>
            <a:ext cx="0" cy="3517900"/>
          </a:xfrm>
          <a:prstGeom prst="line">
            <a:avLst/>
          </a:prstGeom>
          <a:ln w="6350">
            <a:solidFill>
              <a:schemeClr val="tx1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2" name="Conexão reta 91">
            <a:extLst>
              <a:ext uri="{FF2B5EF4-FFF2-40B4-BE49-F238E27FC236}">
                <a16:creationId xmlns:a16="http://schemas.microsoft.com/office/drawing/2014/main" id="{5273CE87-9734-452D-A4E8-68FD714442E3}"/>
              </a:ext>
            </a:extLst>
          </p:cNvPr>
          <p:cNvCxnSpPr>
            <a:cxnSpLocks/>
          </p:cNvCxnSpPr>
          <p:nvPr userDrawn="1"/>
        </p:nvCxnSpPr>
        <p:spPr>
          <a:xfrm flipH="1">
            <a:off x="5372100" y="5753100"/>
            <a:ext cx="2019300" cy="0"/>
          </a:xfrm>
          <a:prstGeom prst="line">
            <a:avLst/>
          </a:prstGeom>
          <a:ln w="6350">
            <a:solidFill>
              <a:schemeClr val="tx1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3" name="Conexão reta 92">
            <a:extLst>
              <a:ext uri="{FF2B5EF4-FFF2-40B4-BE49-F238E27FC236}">
                <a16:creationId xmlns:a16="http://schemas.microsoft.com/office/drawing/2014/main" id="{0BCC60AB-E526-35FD-E169-F3A94C4F09CD}"/>
              </a:ext>
            </a:extLst>
          </p:cNvPr>
          <p:cNvCxnSpPr>
            <a:cxnSpLocks/>
          </p:cNvCxnSpPr>
          <p:nvPr userDrawn="1"/>
        </p:nvCxnSpPr>
        <p:spPr>
          <a:xfrm>
            <a:off x="7404100" y="2235200"/>
            <a:ext cx="0" cy="3517900"/>
          </a:xfrm>
          <a:prstGeom prst="line">
            <a:avLst/>
          </a:prstGeom>
          <a:ln w="6350">
            <a:solidFill>
              <a:schemeClr val="tx1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4" name="Conexão reta 93">
            <a:extLst>
              <a:ext uri="{FF2B5EF4-FFF2-40B4-BE49-F238E27FC236}">
                <a16:creationId xmlns:a16="http://schemas.microsoft.com/office/drawing/2014/main" id="{AF69790D-73FC-FF6E-0B10-5955A6E6B345}"/>
              </a:ext>
            </a:extLst>
          </p:cNvPr>
          <p:cNvCxnSpPr>
            <a:cxnSpLocks/>
          </p:cNvCxnSpPr>
          <p:nvPr userDrawn="1"/>
        </p:nvCxnSpPr>
        <p:spPr>
          <a:xfrm flipH="1">
            <a:off x="7404100" y="2235200"/>
            <a:ext cx="2019300" cy="0"/>
          </a:xfrm>
          <a:prstGeom prst="line">
            <a:avLst/>
          </a:prstGeom>
          <a:ln w="6350">
            <a:solidFill>
              <a:schemeClr val="tx1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9" name="Conexão reta 148">
            <a:extLst>
              <a:ext uri="{FF2B5EF4-FFF2-40B4-BE49-F238E27FC236}">
                <a16:creationId xmlns:a16="http://schemas.microsoft.com/office/drawing/2014/main" id="{A4316EC7-ADDB-BB7E-3D19-E01C0B2B70CA}"/>
              </a:ext>
            </a:extLst>
          </p:cNvPr>
          <p:cNvCxnSpPr>
            <a:cxnSpLocks/>
          </p:cNvCxnSpPr>
          <p:nvPr userDrawn="1"/>
        </p:nvCxnSpPr>
        <p:spPr>
          <a:xfrm>
            <a:off x="9436100" y="2235200"/>
            <a:ext cx="0" cy="3517900"/>
          </a:xfrm>
          <a:prstGeom prst="line">
            <a:avLst/>
          </a:prstGeom>
          <a:ln w="6350">
            <a:solidFill>
              <a:schemeClr val="tx1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50" name="Conexão reta 149">
            <a:extLst>
              <a:ext uri="{FF2B5EF4-FFF2-40B4-BE49-F238E27FC236}">
                <a16:creationId xmlns:a16="http://schemas.microsoft.com/office/drawing/2014/main" id="{4BF2303B-5936-B7F1-C61E-50E23DDC2C97}"/>
              </a:ext>
            </a:extLst>
          </p:cNvPr>
          <p:cNvCxnSpPr>
            <a:cxnSpLocks/>
          </p:cNvCxnSpPr>
          <p:nvPr userDrawn="1"/>
        </p:nvCxnSpPr>
        <p:spPr>
          <a:xfrm flipH="1">
            <a:off x="9436100" y="5753100"/>
            <a:ext cx="2019300" cy="0"/>
          </a:xfrm>
          <a:prstGeom prst="line">
            <a:avLst/>
          </a:prstGeom>
          <a:ln w="6350">
            <a:solidFill>
              <a:schemeClr val="tx1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51" name="Conexão reta 150">
            <a:extLst>
              <a:ext uri="{FF2B5EF4-FFF2-40B4-BE49-F238E27FC236}">
                <a16:creationId xmlns:a16="http://schemas.microsoft.com/office/drawing/2014/main" id="{BCA18C34-A999-6FE9-329D-BE6385CA1BC0}"/>
              </a:ext>
            </a:extLst>
          </p:cNvPr>
          <p:cNvCxnSpPr>
            <a:cxnSpLocks/>
          </p:cNvCxnSpPr>
          <p:nvPr userDrawn="1"/>
        </p:nvCxnSpPr>
        <p:spPr>
          <a:xfrm flipV="1">
            <a:off x="11468100" y="3378200"/>
            <a:ext cx="0" cy="2374900"/>
          </a:xfrm>
          <a:prstGeom prst="line">
            <a:avLst/>
          </a:prstGeom>
          <a:ln w="6350">
            <a:solidFill>
              <a:schemeClr val="tx1"/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79" name="Título 6">
            <a:extLst>
              <a:ext uri="{FF2B5EF4-FFF2-40B4-BE49-F238E27FC236}">
                <a16:creationId xmlns:a16="http://schemas.microsoft.com/office/drawing/2014/main" id="{8AA87485-9730-CFD3-4B7C-FF89DE0D8AD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3184" y="393484"/>
            <a:ext cx="11081915" cy="712204"/>
          </a:xfrm>
        </p:spPr>
        <p:txBody>
          <a:bodyPr>
            <a:normAutofit/>
          </a:bodyPr>
          <a:lstStyle>
            <a:lvl1pPr>
              <a:defRPr sz="3200"/>
            </a:lvl1pPr>
          </a:lstStyle>
          <a:p>
            <a:r>
              <a:rPr lang="pt-PT" dirty="0"/>
              <a:t>Insertar título de la slide</a:t>
            </a:r>
          </a:p>
        </p:txBody>
      </p:sp>
      <p:sp>
        <p:nvSpPr>
          <p:cNvPr id="180" name="Marcador de Posição do Texto 8">
            <a:extLst>
              <a:ext uri="{FF2B5EF4-FFF2-40B4-BE49-F238E27FC236}">
                <a16:creationId xmlns:a16="http://schemas.microsoft.com/office/drawing/2014/main" id="{7C756E37-C381-CA94-4296-1406FFA85B5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11932" y="976901"/>
            <a:ext cx="11082747" cy="355243"/>
          </a:xfrm>
        </p:spPr>
        <p:txBody>
          <a:bodyPr>
            <a:normAutofit/>
          </a:bodyPr>
          <a:lstStyle>
            <a:lvl1pPr>
              <a:defRPr sz="200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pt-PT" dirty="0"/>
              <a:t>Insertar subtítulo de la slide</a:t>
            </a:r>
          </a:p>
        </p:txBody>
      </p:sp>
      <p:sp>
        <p:nvSpPr>
          <p:cNvPr id="181" name="Marcador de Posição do Texto 10">
            <a:extLst>
              <a:ext uri="{FF2B5EF4-FFF2-40B4-BE49-F238E27FC236}">
                <a16:creationId xmlns:a16="http://schemas.microsoft.com/office/drawing/2014/main" id="{07EA2041-2CC2-D84A-D12B-FCCFBE04BAC4}"/>
              </a:ext>
            </a:extLst>
          </p:cNvPr>
          <p:cNvSpPr>
            <a:spLocks noGrp="1"/>
          </p:cNvSpPr>
          <p:nvPr>
            <p:ph type="body" sz="quarter" idx="77" hasCustomPrompt="1"/>
          </p:nvPr>
        </p:nvSpPr>
        <p:spPr>
          <a:xfrm>
            <a:off x="486672" y="2416864"/>
            <a:ext cx="1745988" cy="218992"/>
          </a:xfrm>
        </p:spPr>
        <p:txBody>
          <a:bodyPr anchor="t">
            <a:noAutofit/>
          </a:bodyPr>
          <a:lstStyle>
            <a:lvl1pPr algn="ctr">
              <a:spcBef>
                <a:spcPts val="600"/>
              </a:spcBef>
              <a:defRPr sz="1000">
                <a:solidFill>
                  <a:schemeClr val="tx2"/>
                </a:solidFill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es-ES" dirty="0"/>
              <a:t>Haz </a:t>
            </a:r>
            <a:r>
              <a:rPr lang="es-ES" dirty="0" err="1"/>
              <a:t>click</a:t>
            </a:r>
            <a:r>
              <a:rPr lang="es-ES" dirty="0"/>
              <a:t> para editar los estilos del texto del modelo global</a:t>
            </a:r>
            <a:endParaRPr lang="pt-PT" dirty="0"/>
          </a:p>
        </p:txBody>
      </p:sp>
      <p:sp>
        <p:nvSpPr>
          <p:cNvPr id="182" name="Marcador de Posição do Texto 10">
            <a:extLst>
              <a:ext uri="{FF2B5EF4-FFF2-40B4-BE49-F238E27FC236}">
                <a16:creationId xmlns:a16="http://schemas.microsoft.com/office/drawing/2014/main" id="{D09D8345-3F2B-49BC-2151-6FEF0B45FDFA}"/>
              </a:ext>
            </a:extLst>
          </p:cNvPr>
          <p:cNvSpPr>
            <a:spLocks noGrp="1"/>
          </p:cNvSpPr>
          <p:nvPr>
            <p:ph type="body" sz="quarter" idx="79" hasCustomPrompt="1"/>
          </p:nvPr>
        </p:nvSpPr>
        <p:spPr>
          <a:xfrm>
            <a:off x="486672" y="2171355"/>
            <a:ext cx="1745988" cy="218992"/>
          </a:xfrm>
        </p:spPr>
        <p:txBody>
          <a:bodyPr anchor="b">
            <a:noAutofit/>
          </a:bodyPr>
          <a:lstStyle>
            <a:lvl1pPr algn="ctr">
              <a:spcBef>
                <a:spcPts val="600"/>
              </a:spcBef>
              <a:defRPr lang="pt-PT" sz="1200" kern="1200" cap="all" baseline="0" dirty="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pt-PT" dirty="0"/>
              <a:t>Texto destacado</a:t>
            </a:r>
          </a:p>
        </p:txBody>
      </p:sp>
      <p:sp>
        <p:nvSpPr>
          <p:cNvPr id="183" name="Marcador de Posição do Texto 10">
            <a:extLst>
              <a:ext uri="{FF2B5EF4-FFF2-40B4-BE49-F238E27FC236}">
                <a16:creationId xmlns:a16="http://schemas.microsoft.com/office/drawing/2014/main" id="{A581EB11-2EA1-63F3-E7C6-D93E3C41C0CA}"/>
              </a:ext>
            </a:extLst>
          </p:cNvPr>
          <p:cNvSpPr>
            <a:spLocks noGrp="1"/>
          </p:cNvSpPr>
          <p:nvPr>
            <p:ph type="body" sz="quarter" idx="80" hasCustomPrompt="1"/>
          </p:nvPr>
        </p:nvSpPr>
        <p:spPr>
          <a:xfrm>
            <a:off x="1498773" y="4630658"/>
            <a:ext cx="1745988" cy="218992"/>
          </a:xfrm>
        </p:spPr>
        <p:txBody>
          <a:bodyPr anchor="t">
            <a:noAutofit/>
          </a:bodyPr>
          <a:lstStyle>
            <a:lvl1pPr algn="ctr">
              <a:spcBef>
                <a:spcPts val="600"/>
              </a:spcBef>
              <a:defRPr sz="1000">
                <a:solidFill>
                  <a:schemeClr val="tx2"/>
                </a:solidFill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es-ES" dirty="0"/>
              <a:t>Haz </a:t>
            </a:r>
            <a:r>
              <a:rPr lang="es-ES" dirty="0" err="1"/>
              <a:t>click</a:t>
            </a:r>
            <a:r>
              <a:rPr lang="es-ES" dirty="0"/>
              <a:t> para editar los estilos del texto del modelo global</a:t>
            </a:r>
            <a:endParaRPr lang="pt-PT" dirty="0"/>
          </a:p>
        </p:txBody>
      </p:sp>
      <p:sp>
        <p:nvSpPr>
          <p:cNvPr id="184" name="Marcador de Posição do Texto 10">
            <a:extLst>
              <a:ext uri="{FF2B5EF4-FFF2-40B4-BE49-F238E27FC236}">
                <a16:creationId xmlns:a16="http://schemas.microsoft.com/office/drawing/2014/main" id="{F5CD885F-7389-B197-8486-256CBC278BD2}"/>
              </a:ext>
            </a:extLst>
          </p:cNvPr>
          <p:cNvSpPr>
            <a:spLocks noGrp="1"/>
          </p:cNvSpPr>
          <p:nvPr>
            <p:ph type="body" sz="quarter" idx="81" hasCustomPrompt="1"/>
          </p:nvPr>
        </p:nvSpPr>
        <p:spPr>
          <a:xfrm>
            <a:off x="1498773" y="4385149"/>
            <a:ext cx="1745988" cy="218992"/>
          </a:xfrm>
        </p:spPr>
        <p:txBody>
          <a:bodyPr anchor="b">
            <a:noAutofit/>
          </a:bodyPr>
          <a:lstStyle>
            <a:lvl1pPr algn="ctr">
              <a:spcBef>
                <a:spcPts val="600"/>
              </a:spcBef>
              <a:defRPr lang="pt-PT" sz="1200" kern="1200" cap="all" baseline="0" dirty="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pt-PT" dirty="0"/>
              <a:t>Texto destacado</a:t>
            </a:r>
          </a:p>
        </p:txBody>
      </p:sp>
      <p:sp>
        <p:nvSpPr>
          <p:cNvPr id="185" name="Marcador de Posição do Texto 10">
            <a:extLst>
              <a:ext uri="{FF2B5EF4-FFF2-40B4-BE49-F238E27FC236}">
                <a16:creationId xmlns:a16="http://schemas.microsoft.com/office/drawing/2014/main" id="{89C8BC69-D3CF-A4C0-2920-AB221AEEF8AE}"/>
              </a:ext>
            </a:extLst>
          </p:cNvPr>
          <p:cNvSpPr>
            <a:spLocks noGrp="1"/>
          </p:cNvSpPr>
          <p:nvPr>
            <p:ph type="body" sz="quarter" idx="82" hasCustomPrompt="1"/>
          </p:nvPr>
        </p:nvSpPr>
        <p:spPr>
          <a:xfrm>
            <a:off x="3489457" y="3530147"/>
            <a:ext cx="1745988" cy="218992"/>
          </a:xfrm>
        </p:spPr>
        <p:txBody>
          <a:bodyPr anchor="t">
            <a:noAutofit/>
          </a:bodyPr>
          <a:lstStyle>
            <a:lvl1pPr algn="ctr">
              <a:spcBef>
                <a:spcPts val="600"/>
              </a:spcBef>
              <a:defRPr sz="1000">
                <a:solidFill>
                  <a:schemeClr val="tx2"/>
                </a:solidFill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es-ES" dirty="0"/>
              <a:t>Haz </a:t>
            </a:r>
            <a:r>
              <a:rPr lang="es-ES" dirty="0" err="1"/>
              <a:t>click</a:t>
            </a:r>
            <a:r>
              <a:rPr lang="es-ES" dirty="0"/>
              <a:t> para editar los estilos del texto del modelo global</a:t>
            </a:r>
            <a:endParaRPr lang="pt-PT" dirty="0"/>
          </a:p>
        </p:txBody>
      </p:sp>
      <p:sp>
        <p:nvSpPr>
          <p:cNvPr id="186" name="Marcador de Posição do Texto 10">
            <a:extLst>
              <a:ext uri="{FF2B5EF4-FFF2-40B4-BE49-F238E27FC236}">
                <a16:creationId xmlns:a16="http://schemas.microsoft.com/office/drawing/2014/main" id="{D2819FE8-C671-FF80-F14B-8C7B5A5A3DAD}"/>
              </a:ext>
            </a:extLst>
          </p:cNvPr>
          <p:cNvSpPr>
            <a:spLocks noGrp="1"/>
          </p:cNvSpPr>
          <p:nvPr>
            <p:ph type="body" sz="quarter" idx="83" hasCustomPrompt="1"/>
          </p:nvPr>
        </p:nvSpPr>
        <p:spPr>
          <a:xfrm>
            <a:off x="3489457" y="3284638"/>
            <a:ext cx="1745988" cy="218992"/>
          </a:xfrm>
        </p:spPr>
        <p:txBody>
          <a:bodyPr anchor="b">
            <a:noAutofit/>
          </a:bodyPr>
          <a:lstStyle>
            <a:lvl1pPr algn="ctr">
              <a:spcBef>
                <a:spcPts val="600"/>
              </a:spcBef>
              <a:defRPr lang="pt-PT" sz="1200" kern="1200" cap="all" baseline="0" dirty="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pt-PT" dirty="0"/>
              <a:t>Texto destacado</a:t>
            </a:r>
          </a:p>
        </p:txBody>
      </p:sp>
      <p:sp>
        <p:nvSpPr>
          <p:cNvPr id="187" name="Marcador de Posição do Texto 10">
            <a:extLst>
              <a:ext uri="{FF2B5EF4-FFF2-40B4-BE49-F238E27FC236}">
                <a16:creationId xmlns:a16="http://schemas.microsoft.com/office/drawing/2014/main" id="{5059DD02-DC86-6B0F-89FD-E95DC83B001B}"/>
              </a:ext>
            </a:extLst>
          </p:cNvPr>
          <p:cNvSpPr>
            <a:spLocks noGrp="1"/>
          </p:cNvSpPr>
          <p:nvPr>
            <p:ph type="body" sz="quarter" idx="84" hasCustomPrompt="1"/>
          </p:nvPr>
        </p:nvSpPr>
        <p:spPr>
          <a:xfrm>
            <a:off x="5512528" y="4650104"/>
            <a:ext cx="1745988" cy="218992"/>
          </a:xfrm>
        </p:spPr>
        <p:txBody>
          <a:bodyPr anchor="t">
            <a:noAutofit/>
          </a:bodyPr>
          <a:lstStyle>
            <a:lvl1pPr algn="ctr">
              <a:spcBef>
                <a:spcPts val="600"/>
              </a:spcBef>
              <a:defRPr sz="1000">
                <a:solidFill>
                  <a:schemeClr val="tx2"/>
                </a:solidFill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es-ES" dirty="0"/>
              <a:t>Haz </a:t>
            </a:r>
            <a:r>
              <a:rPr lang="es-ES" dirty="0" err="1"/>
              <a:t>click</a:t>
            </a:r>
            <a:r>
              <a:rPr lang="es-ES" dirty="0"/>
              <a:t> para editar los estilos del texto del modelo global</a:t>
            </a:r>
            <a:endParaRPr lang="pt-PT" dirty="0"/>
          </a:p>
        </p:txBody>
      </p:sp>
      <p:sp>
        <p:nvSpPr>
          <p:cNvPr id="188" name="Marcador de Posição do Texto 10">
            <a:extLst>
              <a:ext uri="{FF2B5EF4-FFF2-40B4-BE49-F238E27FC236}">
                <a16:creationId xmlns:a16="http://schemas.microsoft.com/office/drawing/2014/main" id="{136E2B2D-BC12-0A98-998C-C07E3E73F73F}"/>
              </a:ext>
            </a:extLst>
          </p:cNvPr>
          <p:cNvSpPr>
            <a:spLocks noGrp="1"/>
          </p:cNvSpPr>
          <p:nvPr>
            <p:ph type="body" sz="quarter" idx="85" hasCustomPrompt="1"/>
          </p:nvPr>
        </p:nvSpPr>
        <p:spPr>
          <a:xfrm>
            <a:off x="5512528" y="4404595"/>
            <a:ext cx="1745988" cy="218992"/>
          </a:xfrm>
        </p:spPr>
        <p:txBody>
          <a:bodyPr anchor="b">
            <a:noAutofit/>
          </a:bodyPr>
          <a:lstStyle>
            <a:lvl1pPr algn="ctr">
              <a:spcBef>
                <a:spcPts val="600"/>
              </a:spcBef>
              <a:defRPr lang="pt-PT" sz="1200" kern="1200" cap="all" baseline="0" dirty="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pt-PT" dirty="0"/>
              <a:t>Texto destacado</a:t>
            </a:r>
          </a:p>
        </p:txBody>
      </p:sp>
      <p:sp>
        <p:nvSpPr>
          <p:cNvPr id="189" name="Marcador de Posição do Texto 10">
            <a:extLst>
              <a:ext uri="{FF2B5EF4-FFF2-40B4-BE49-F238E27FC236}">
                <a16:creationId xmlns:a16="http://schemas.microsoft.com/office/drawing/2014/main" id="{7E0613A5-7049-6EEF-8987-F8C183727876}"/>
              </a:ext>
            </a:extLst>
          </p:cNvPr>
          <p:cNvSpPr>
            <a:spLocks noGrp="1"/>
          </p:cNvSpPr>
          <p:nvPr>
            <p:ph type="body" sz="quarter" idx="86" hasCustomPrompt="1"/>
          </p:nvPr>
        </p:nvSpPr>
        <p:spPr>
          <a:xfrm>
            <a:off x="7547106" y="3514213"/>
            <a:ext cx="1745988" cy="218992"/>
          </a:xfrm>
        </p:spPr>
        <p:txBody>
          <a:bodyPr anchor="t">
            <a:noAutofit/>
          </a:bodyPr>
          <a:lstStyle>
            <a:lvl1pPr algn="ctr">
              <a:spcBef>
                <a:spcPts val="600"/>
              </a:spcBef>
              <a:defRPr sz="1000">
                <a:solidFill>
                  <a:schemeClr val="tx2"/>
                </a:solidFill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es-ES" dirty="0"/>
              <a:t>Haz </a:t>
            </a:r>
            <a:r>
              <a:rPr lang="es-ES" dirty="0" err="1"/>
              <a:t>click</a:t>
            </a:r>
            <a:r>
              <a:rPr lang="es-ES" dirty="0"/>
              <a:t> para editar los estilos del texto del modelo global</a:t>
            </a:r>
            <a:endParaRPr lang="pt-PT" dirty="0"/>
          </a:p>
        </p:txBody>
      </p:sp>
      <p:sp>
        <p:nvSpPr>
          <p:cNvPr id="190" name="Marcador de Posição do Texto 10">
            <a:extLst>
              <a:ext uri="{FF2B5EF4-FFF2-40B4-BE49-F238E27FC236}">
                <a16:creationId xmlns:a16="http://schemas.microsoft.com/office/drawing/2014/main" id="{CAB4516E-C76D-2B85-66C0-5F3334BB701E}"/>
              </a:ext>
            </a:extLst>
          </p:cNvPr>
          <p:cNvSpPr>
            <a:spLocks noGrp="1"/>
          </p:cNvSpPr>
          <p:nvPr>
            <p:ph type="body" sz="quarter" idx="87" hasCustomPrompt="1"/>
          </p:nvPr>
        </p:nvSpPr>
        <p:spPr>
          <a:xfrm>
            <a:off x="7547106" y="3268704"/>
            <a:ext cx="1745988" cy="218992"/>
          </a:xfrm>
        </p:spPr>
        <p:txBody>
          <a:bodyPr anchor="b">
            <a:noAutofit/>
          </a:bodyPr>
          <a:lstStyle>
            <a:lvl1pPr algn="ctr">
              <a:spcBef>
                <a:spcPts val="600"/>
              </a:spcBef>
              <a:defRPr lang="pt-PT" sz="1200" kern="1200" cap="all" baseline="0" dirty="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pt-PT" dirty="0"/>
              <a:t>Texto destacado</a:t>
            </a:r>
          </a:p>
        </p:txBody>
      </p:sp>
      <p:sp>
        <p:nvSpPr>
          <p:cNvPr id="191" name="Marcador de Posição do Texto 10">
            <a:extLst>
              <a:ext uri="{FF2B5EF4-FFF2-40B4-BE49-F238E27FC236}">
                <a16:creationId xmlns:a16="http://schemas.microsoft.com/office/drawing/2014/main" id="{8F277954-9AE1-C204-1A37-117B5E024785}"/>
              </a:ext>
            </a:extLst>
          </p:cNvPr>
          <p:cNvSpPr>
            <a:spLocks noGrp="1"/>
          </p:cNvSpPr>
          <p:nvPr>
            <p:ph type="body" sz="quarter" idx="88" hasCustomPrompt="1"/>
          </p:nvPr>
        </p:nvSpPr>
        <p:spPr>
          <a:xfrm>
            <a:off x="9555724" y="4650104"/>
            <a:ext cx="1745988" cy="218992"/>
          </a:xfrm>
        </p:spPr>
        <p:txBody>
          <a:bodyPr anchor="t">
            <a:noAutofit/>
          </a:bodyPr>
          <a:lstStyle>
            <a:lvl1pPr algn="ctr">
              <a:spcBef>
                <a:spcPts val="600"/>
              </a:spcBef>
              <a:defRPr sz="1000">
                <a:solidFill>
                  <a:schemeClr val="tx2"/>
                </a:solidFill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es-ES" dirty="0"/>
              <a:t>Haz </a:t>
            </a:r>
            <a:r>
              <a:rPr lang="es-ES" dirty="0" err="1"/>
              <a:t>click</a:t>
            </a:r>
            <a:r>
              <a:rPr lang="es-ES" dirty="0"/>
              <a:t> para editar los estilos del texto del modelo global</a:t>
            </a:r>
            <a:endParaRPr lang="pt-PT" dirty="0"/>
          </a:p>
        </p:txBody>
      </p:sp>
      <p:sp>
        <p:nvSpPr>
          <p:cNvPr id="192" name="Marcador de Posição do Texto 10">
            <a:extLst>
              <a:ext uri="{FF2B5EF4-FFF2-40B4-BE49-F238E27FC236}">
                <a16:creationId xmlns:a16="http://schemas.microsoft.com/office/drawing/2014/main" id="{AB774B7B-A259-7A41-CD62-BB63F878D083}"/>
              </a:ext>
            </a:extLst>
          </p:cNvPr>
          <p:cNvSpPr>
            <a:spLocks noGrp="1"/>
          </p:cNvSpPr>
          <p:nvPr>
            <p:ph type="body" sz="quarter" idx="89" hasCustomPrompt="1"/>
          </p:nvPr>
        </p:nvSpPr>
        <p:spPr>
          <a:xfrm>
            <a:off x="9555724" y="4404595"/>
            <a:ext cx="1745988" cy="218992"/>
          </a:xfrm>
        </p:spPr>
        <p:txBody>
          <a:bodyPr anchor="b">
            <a:noAutofit/>
          </a:bodyPr>
          <a:lstStyle>
            <a:lvl1pPr algn="ctr">
              <a:spcBef>
                <a:spcPts val="600"/>
              </a:spcBef>
              <a:defRPr lang="pt-PT" sz="1200" kern="1200" cap="all" baseline="0" dirty="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pt-PT" dirty="0"/>
              <a:t>Texto destacado</a:t>
            </a:r>
          </a:p>
        </p:txBody>
      </p:sp>
      <p:sp>
        <p:nvSpPr>
          <p:cNvPr id="193" name="Marcador de Posição do Texto 10">
            <a:extLst>
              <a:ext uri="{FF2B5EF4-FFF2-40B4-BE49-F238E27FC236}">
                <a16:creationId xmlns:a16="http://schemas.microsoft.com/office/drawing/2014/main" id="{F834911A-09B1-0E06-D31C-57992ACFD2C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71557" y="3028957"/>
            <a:ext cx="698486" cy="698251"/>
          </a:xfrm>
          <a:prstGeom prst="ellipse">
            <a:avLst/>
          </a:prstGeom>
          <a:solidFill>
            <a:srgbClr val="132153"/>
          </a:solidFill>
        </p:spPr>
        <p:txBody>
          <a:bodyPr lIns="0" tIns="0" rIns="0" bIns="0" anchor="ctr"/>
          <a:lstStyle>
            <a:lvl1pPr algn="ctr">
              <a:defRPr sz="1800">
                <a:solidFill>
                  <a:srgbClr val="00FF94"/>
                </a:solidFill>
                <a:latin typeface="+mj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pt-PT" dirty="0"/>
              <a:t>NR</a:t>
            </a:r>
          </a:p>
        </p:txBody>
      </p:sp>
      <p:sp>
        <p:nvSpPr>
          <p:cNvPr id="194" name="Marcador de Posição do Texto 10">
            <a:extLst>
              <a:ext uri="{FF2B5EF4-FFF2-40B4-BE49-F238E27FC236}">
                <a16:creationId xmlns:a16="http://schemas.microsoft.com/office/drawing/2014/main" id="{8793FB78-AF1E-0A60-E682-5D6FD2254343}"/>
              </a:ext>
            </a:extLst>
          </p:cNvPr>
          <p:cNvSpPr>
            <a:spLocks noGrp="1"/>
          </p:cNvSpPr>
          <p:nvPr>
            <p:ph type="body" sz="quarter" idx="90" hasCustomPrompt="1"/>
          </p:nvPr>
        </p:nvSpPr>
        <p:spPr>
          <a:xfrm>
            <a:off x="1981207" y="5403974"/>
            <a:ext cx="698486" cy="698251"/>
          </a:xfrm>
          <a:prstGeom prst="ellipse">
            <a:avLst/>
          </a:prstGeom>
          <a:solidFill>
            <a:srgbClr val="132153"/>
          </a:solidFill>
        </p:spPr>
        <p:txBody>
          <a:bodyPr lIns="0" tIns="0" rIns="0" bIns="0" anchor="ctr"/>
          <a:lstStyle>
            <a:lvl1pPr algn="ctr">
              <a:defRPr sz="1800">
                <a:solidFill>
                  <a:srgbClr val="00FF94"/>
                </a:solidFill>
                <a:latin typeface="+mj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pt-PT" dirty="0"/>
              <a:t>NR</a:t>
            </a:r>
          </a:p>
        </p:txBody>
      </p:sp>
      <p:sp>
        <p:nvSpPr>
          <p:cNvPr id="195" name="Marcador de Posição do Texto 10">
            <a:extLst>
              <a:ext uri="{FF2B5EF4-FFF2-40B4-BE49-F238E27FC236}">
                <a16:creationId xmlns:a16="http://schemas.microsoft.com/office/drawing/2014/main" id="{40AE42C8-AB6E-262C-A82E-36C707F0F6C4}"/>
              </a:ext>
            </a:extLst>
          </p:cNvPr>
          <p:cNvSpPr>
            <a:spLocks noGrp="1"/>
          </p:cNvSpPr>
          <p:nvPr>
            <p:ph type="body" sz="quarter" idx="91" hasCustomPrompt="1"/>
          </p:nvPr>
        </p:nvSpPr>
        <p:spPr>
          <a:xfrm>
            <a:off x="6045208" y="5403974"/>
            <a:ext cx="698486" cy="698251"/>
          </a:xfrm>
          <a:prstGeom prst="ellipse">
            <a:avLst/>
          </a:prstGeom>
          <a:solidFill>
            <a:srgbClr val="132153"/>
          </a:solidFill>
        </p:spPr>
        <p:txBody>
          <a:bodyPr lIns="0" tIns="0" rIns="0" bIns="0" anchor="ctr"/>
          <a:lstStyle>
            <a:lvl1pPr algn="ctr">
              <a:defRPr sz="1800">
                <a:solidFill>
                  <a:srgbClr val="00FF94"/>
                </a:solidFill>
                <a:latin typeface="+mj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pt-PT" dirty="0"/>
              <a:t>NR</a:t>
            </a:r>
          </a:p>
        </p:txBody>
      </p:sp>
      <p:sp>
        <p:nvSpPr>
          <p:cNvPr id="196" name="Marcador de Posição do Texto 10">
            <a:extLst>
              <a:ext uri="{FF2B5EF4-FFF2-40B4-BE49-F238E27FC236}">
                <a16:creationId xmlns:a16="http://schemas.microsoft.com/office/drawing/2014/main" id="{0C36BD05-B902-2901-2282-DC4D862AD78E}"/>
              </a:ext>
            </a:extLst>
          </p:cNvPr>
          <p:cNvSpPr>
            <a:spLocks noGrp="1"/>
          </p:cNvSpPr>
          <p:nvPr>
            <p:ph type="body" sz="quarter" idx="92" hasCustomPrompt="1"/>
          </p:nvPr>
        </p:nvSpPr>
        <p:spPr>
          <a:xfrm>
            <a:off x="10096507" y="5403974"/>
            <a:ext cx="698486" cy="698251"/>
          </a:xfrm>
          <a:prstGeom prst="ellipse">
            <a:avLst/>
          </a:prstGeom>
          <a:solidFill>
            <a:srgbClr val="132153"/>
          </a:solidFill>
        </p:spPr>
        <p:txBody>
          <a:bodyPr lIns="0" tIns="0" rIns="0" bIns="0" anchor="ctr"/>
          <a:lstStyle>
            <a:lvl1pPr algn="ctr">
              <a:defRPr sz="1800">
                <a:solidFill>
                  <a:srgbClr val="00FF94"/>
                </a:solidFill>
                <a:latin typeface="+mj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pt-PT" dirty="0"/>
              <a:t>NR</a:t>
            </a:r>
          </a:p>
        </p:txBody>
      </p:sp>
      <p:sp>
        <p:nvSpPr>
          <p:cNvPr id="197" name="Marcador de Posição do Texto 10">
            <a:extLst>
              <a:ext uri="{FF2B5EF4-FFF2-40B4-BE49-F238E27FC236}">
                <a16:creationId xmlns:a16="http://schemas.microsoft.com/office/drawing/2014/main" id="{5DDC990B-3C30-9A5E-FB2D-4D359868ECFB}"/>
              </a:ext>
            </a:extLst>
          </p:cNvPr>
          <p:cNvSpPr>
            <a:spLocks noGrp="1"/>
          </p:cNvSpPr>
          <p:nvPr>
            <p:ph type="body" sz="quarter" idx="93" hasCustomPrompt="1"/>
          </p:nvPr>
        </p:nvSpPr>
        <p:spPr>
          <a:xfrm>
            <a:off x="4006858" y="1886074"/>
            <a:ext cx="698486" cy="698251"/>
          </a:xfrm>
          <a:prstGeom prst="ellipse">
            <a:avLst/>
          </a:prstGeom>
          <a:solidFill>
            <a:srgbClr val="132153"/>
          </a:solidFill>
        </p:spPr>
        <p:txBody>
          <a:bodyPr lIns="0" tIns="0" rIns="0" bIns="0" anchor="ctr"/>
          <a:lstStyle>
            <a:lvl1pPr algn="ctr">
              <a:defRPr sz="1800">
                <a:solidFill>
                  <a:srgbClr val="00FF94"/>
                </a:solidFill>
                <a:latin typeface="+mj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pt-PT" dirty="0"/>
              <a:t>NR</a:t>
            </a:r>
          </a:p>
        </p:txBody>
      </p:sp>
      <p:sp>
        <p:nvSpPr>
          <p:cNvPr id="198" name="Marcador de Posição do Texto 10">
            <a:extLst>
              <a:ext uri="{FF2B5EF4-FFF2-40B4-BE49-F238E27FC236}">
                <a16:creationId xmlns:a16="http://schemas.microsoft.com/office/drawing/2014/main" id="{B57D059D-6366-8073-BBC6-5343D6D75261}"/>
              </a:ext>
            </a:extLst>
          </p:cNvPr>
          <p:cNvSpPr>
            <a:spLocks noGrp="1"/>
          </p:cNvSpPr>
          <p:nvPr>
            <p:ph type="body" sz="quarter" idx="94" hasCustomPrompt="1"/>
          </p:nvPr>
        </p:nvSpPr>
        <p:spPr>
          <a:xfrm>
            <a:off x="8070857" y="1886074"/>
            <a:ext cx="698486" cy="698251"/>
          </a:xfrm>
          <a:prstGeom prst="ellipse">
            <a:avLst/>
          </a:prstGeom>
          <a:solidFill>
            <a:srgbClr val="132153"/>
          </a:solidFill>
        </p:spPr>
        <p:txBody>
          <a:bodyPr lIns="0" tIns="0" rIns="0" bIns="0" anchor="ctr"/>
          <a:lstStyle>
            <a:lvl1pPr algn="ctr">
              <a:defRPr sz="1800">
                <a:solidFill>
                  <a:srgbClr val="00FF94"/>
                </a:solidFill>
                <a:latin typeface="+mj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pt-PT" dirty="0"/>
              <a:t>NR</a:t>
            </a:r>
          </a:p>
        </p:txBody>
      </p:sp>
      <p:pic>
        <p:nvPicPr>
          <p:cNvPr id="199" name="Imagem 198">
            <a:extLst>
              <a:ext uri="{FF2B5EF4-FFF2-40B4-BE49-F238E27FC236}">
                <a16:creationId xmlns:a16="http://schemas.microsoft.com/office/drawing/2014/main" id="{19067953-EDD9-D439-D808-F72243C0E73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 l="12584" t="17349" r="69501" b="19713"/>
          <a:stretch>
            <a:fillRect/>
          </a:stretch>
        </p:blipFill>
        <p:spPr>
          <a:xfrm rot="5400000" flipH="1">
            <a:off x="7649434" y="-2033045"/>
            <a:ext cx="1619233" cy="5685322"/>
          </a:xfrm>
          <a:prstGeom prst="rect">
            <a:avLst/>
          </a:prstGeom>
        </p:spPr>
      </p:pic>
      <p:sp>
        <p:nvSpPr>
          <p:cNvPr id="34" name="Marcador de Posição do Rodapé 4">
            <a:extLst>
              <a:ext uri="{FF2B5EF4-FFF2-40B4-BE49-F238E27FC236}">
                <a16:creationId xmlns:a16="http://schemas.microsoft.com/office/drawing/2014/main" id="{A453C102-F8A2-4BCB-8EB1-253A2ECE59D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12762" y="6356350"/>
            <a:ext cx="534669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accent2"/>
                </a:solidFill>
              </a:defRPr>
            </a:lvl1pPr>
          </a:lstStyle>
          <a:p>
            <a:r>
              <a:rPr lang="pt-PT"/>
              <a:t>Título de la presentación</a:t>
            </a:r>
            <a:endParaRPr lang="pt-PT" dirty="0"/>
          </a:p>
        </p:txBody>
      </p:sp>
      <p:sp>
        <p:nvSpPr>
          <p:cNvPr id="35" name="Marcador de Posição do Número do Diapositivo 5">
            <a:extLst>
              <a:ext uri="{FF2B5EF4-FFF2-40B4-BE49-F238E27FC236}">
                <a16:creationId xmlns:a16="http://schemas.microsoft.com/office/drawing/2014/main" id="{318FAC70-0F15-4B92-AE43-D90E17E5710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936039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accent2"/>
                </a:solidFill>
              </a:defRPr>
            </a:lvl1pPr>
          </a:lstStyle>
          <a:p>
            <a:fld id="{24A347C2-D68E-473A-8C76-1D063E4EB6E0}" type="slidenum">
              <a:rPr lang="es-ES" smtClean="0"/>
              <a:pPr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48540278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50"/>
                                        <p:tgtEl>
                                          <p:spTgt spid="17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25E-6 0.03889 L 1.25E-6 1.85185E-6 " pathEditMode="relative" rAng="0" ptsTypes="AA">
                                      <p:cBhvr>
                                        <p:cTn id="9" dur="500" fill="hold"/>
                                        <p:tgtEl>
                                          <p:spTgt spid="17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944"/>
                                    </p:animMotion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250"/>
                                        <p:tgtEl>
                                          <p:spTgt spid="18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25E-6 0.03889 L 1.25E-6 1.85185E-6 " pathEditMode="relative" rAng="0" ptsTypes="AA">
                                      <p:cBhvr>
                                        <p:cTn id="14" dur="500" fill="hold"/>
                                        <p:tgtEl>
                                          <p:spTgt spid="18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944"/>
                                    </p:animMotion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6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6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9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10" presetClass="entr" presetSubtype="0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9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10" presetClass="entr" presetSubtype="0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9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" presetID="10" presetClass="entr" presetSubtype="0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1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1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10" presetClass="entr" presetSubtype="0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1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" dur="500"/>
                                        <p:tgtEl>
                                          <p:spTgt spid="18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1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3" dur="500"/>
                                        <p:tgtEl>
                                          <p:spTgt spid="18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4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500"/>
                                        <p:tgtEl>
                                          <p:spTgt spid="18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7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9" dur="500"/>
                                        <p:tgtEl>
                                          <p:spTgt spid="18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2" dur="500"/>
                                        <p:tgtEl>
                                          <p:spTgt spid="18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3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5" dur="500"/>
                                        <p:tgtEl>
                                          <p:spTgt spid="18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6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8" dur="500"/>
                                        <p:tgtEl>
                                          <p:spTgt spid="18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9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1" dur="500"/>
                                        <p:tgtEl>
                                          <p:spTgt spid="18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2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4" dur="500"/>
                                        <p:tgtEl>
                                          <p:spTgt spid="18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5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7" dur="500"/>
                                        <p:tgtEl>
                                          <p:spTgt spid="19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8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7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0" dur="500"/>
                                        <p:tgtEl>
                                          <p:spTgt spid="19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1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3" dur="500"/>
                                        <p:tgtEl>
                                          <p:spTgt spid="19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4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8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3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6" dur="500"/>
                                        <p:tgtEl>
                                          <p:spTgt spid="193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7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9" dur="500"/>
                                        <p:tgtEl>
                                          <p:spTgt spid="19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9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4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2" dur="500"/>
                                        <p:tgtEl>
                                          <p:spTgt spid="194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3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5" dur="500"/>
                                        <p:tgtEl>
                                          <p:spTgt spid="19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6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9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5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8" dur="500"/>
                                        <p:tgtEl>
                                          <p:spTgt spid="195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9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0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1" dur="500"/>
                                        <p:tgtEl>
                                          <p:spTgt spid="19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2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0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6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4" dur="500"/>
                                        <p:tgtEl>
                                          <p:spTgt spid="196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5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0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7" dur="500"/>
                                        <p:tgtEl>
                                          <p:spTgt spid="19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8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0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7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0" dur="500"/>
                                        <p:tgtEl>
                                          <p:spTgt spid="197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1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3" dur="500"/>
                                        <p:tgtEl>
                                          <p:spTgt spid="19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4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8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6" dur="500"/>
                                        <p:tgtEl>
                                          <p:spTgt spid="198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7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9" dur="500"/>
                                        <p:tgtEl>
                                          <p:spTgt spid="19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9" grpId="0"/>
      <p:bldP spid="179" grpId="1"/>
      <p:bldP spid="180" grpId="0">
        <p:tmplLst>
          <p:tmpl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8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250"/>
                        <p:tgtEl>
                          <p:spTgt spid="18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80" grpId="1"/>
      <p:bldP spid="181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8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8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82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8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8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83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8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8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84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8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8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85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8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8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86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8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8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87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8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8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88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8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8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89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8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8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90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9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9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91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9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9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92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9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9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93" grpId="0" build="p" animBg="1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9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93"/>
                        </p:tgtEl>
                      </p:cBhvr>
                    </p:animEffect>
                  </p:childTnLst>
                </p:cTn>
              </p:par>
            </p:tnLst>
          </p:tmpl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9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9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94" grpId="0" build="p" animBg="1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9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94"/>
                        </p:tgtEl>
                      </p:cBhvr>
                    </p:animEffect>
                  </p:childTnLst>
                </p:cTn>
              </p:par>
            </p:tnLst>
          </p:tmpl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9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9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95" grpId="0" build="p" animBg="1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9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95"/>
                        </p:tgtEl>
                      </p:cBhvr>
                    </p:animEffect>
                  </p:childTnLst>
                </p:cTn>
              </p:par>
            </p:tnLst>
          </p:tmpl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9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9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96" grpId="0" build="p" animBg="1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9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96"/>
                        </p:tgtEl>
                      </p:cBhvr>
                    </p:animEffect>
                  </p:childTnLst>
                </p:cTn>
              </p:par>
            </p:tnLst>
          </p:tmpl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9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9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97" grpId="0" build="p" animBg="1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9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97"/>
                        </p:tgtEl>
                      </p:cBhvr>
                    </p:animEffect>
                  </p:childTnLst>
                </p:cTn>
              </p:par>
            </p:tnLst>
          </p:tmpl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9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9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98" grpId="0" build="p" animBg="1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9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98"/>
                        </p:tgtEl>
                      </p:cBhvr>
                    </p:animEffect>
                  </p:childTnLst>
                </p:cTn>
              </p:par>
            </p:tnLst>
          </p:tmpl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9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98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4_Esquema Personalizado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m 2" descr="Uma imagem com desfocar, Saturação de cores, azul, água&#10;&#10;Os conteúdos gerados por IA podem estar incorretos.">
            <a:extLst>
              <a:ext uri="{FF2B5EF4-FFF2-40B4-BE49-F238E27FC236}">
                <a16:creationId xmlns:a16="http://schemas.microsoft.com/office/drawing/2014/main" id="{8165F050-8DA0-0AD9-93C6-81F8ED94FDB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6" name="Título 1">
            <a:extLst>
              <a:ext uri="{FF2B5EF4-FFF2-40B4-BE49-F238E27FC236}">
                <a16:creationId xmlns:a16="http://schemas.microsoft.com/office/drawing/2014/main" id="{71D26BB5-4367-F151-78AC-D3DDE710C4F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84846" y="3293706"/>
            <a:ext cx="5992780" cy="1325563"/>
          </a:xfrm>
        </p:spPr>
        <p:txBody>
          <a:bodyPr>
            <a:noAutofit/>
          </a:bodyPr>
          <a:lstStyle>
            <a:lvl1pPr>
              <a:defRPr sz="3600">
                <a:solidFill>
                  <a:schemeClr val="tx2"/>
                </a:solidFill>
              </a:defRPr>
            </a:lvl1pPr>
          </a:lstStyle>
          <a:p>
            <a:r>
              <a:rPr lang="es-ES" dirty="0"/>
              <a:t>Haz </a:t>
            </a:r>
            <a:r>
              <a:rPr lang="es-ES" dirty="0" err="1"/>
              <a:t>click</a:t>
            </a:r>
            <a:r>
              <a:rPr lang="es-ES" dirty="0"/>
              <a:t> para editar el estilo de título del modelo global</a:t>
            </a:r>
            <a:endParaRPr lang="pt-PT" dirty="0"/>
          </a:p>
        </p:txBody>
      </p:sp>
      <p:sp>
        <p:nvSpPr>
          <p:cNvPr id="7" name="Marcador de Posição do Texto 8">
            <a:extLst>
              <a:ext uri="{FF2B5EF4-FFF2-40B4-BE49-F238E27FC236}">
                <a16:creationId xmlns:a16="http://schemas.microsoft.com/office/drawing/2014/main" id="{B06BFFF6-C579-582C-512F-2C8C99E2F19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484845" y="4809252"/>
            <a:ext cx="5992781" cy="560515"/>
          </a:xfrm>
        </p:spPr>
        <p:txBody>
          <a:bodyPr>
            <a:normAutofit/>
          </a:bodyPr>
          <a:lstStyle>
            <a:lvl1pPr>
              <a:defRPr sz="2000">
                <a:solidFill>
                  <a:schemeClr val="tx2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s-ES" dirty="0"/>
              <a:t>Inserta el subtítulo de la presentación</a:t>
            </a:r>
            <a:endParaRPr lang="pt-PT" dirty="0"/>
          </a:p>
        </p:txBody>
      </p:sp>
      <p:sp>
        <p:nvSpPr>
          <p:cNvPr id="8" name="Marcador de Posição do Texto 8">
            <a:extLst>
              <a:ext uri="{FF2B5EF4-FFF2-40B4-BE49-F238E27FC236}">
                <a16:creationId xmlns:a16="http://schemas.microsoft.com/office/drawing/2014/main" id="{E94D8517-E8C6-7524-CE45-59DD71C9D9B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484845" y="6050902"/>
            <a:ext cx="2866053" cy="261256"/>
          </a:xfrm>
        </p:spPr>
        <p:txBody>
          <a:bodyPr anchor="ctr">
            <a:normAutofit/>
          </a:bodyPr>
          <a:lstStyle>
            <a:lvl1pPr>
              <a:defRPr sz="1200">
                <a:solidFill>
                  <a:schemeClr val="tx2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pt-PT" dirty="0"/>
              <a:t>Insertar otra información secundaria</a:t>
            </a:r>
          </a:p>
        </p:txBody>
      </p:sp>
      <p:sp>
        <p:nvSpPr>
          <p:cNvPr id="9" name="Marcador de Posição do Texto 8">
            <a:extLst>
              <a:ext uri="{FF2B5EF4-FFF2-40B4-BE49-F238E27FC236}">
                <a16:creationId xmlns:a16="http://schemas.microsoft.com/office/drawing/2014/main" id="{A4118DBB-D737-37BA-7FD4-847A56CBA3D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611573" y="6050902"/>
            <a:ext cx="2866053" cy="261256"/>
          </a:xfrm>
        </p:spPr>
        <p:txBody>
          <a:bodyPr anchor="ctr">
            <a:normAutofit/>
          </a:bodyPr>
          <a:lstStyle>
            <a:lvl1pPr algn="r">
              <a:defRPr sz="1200">
                <a:solidFill>
                  <a:schemeClr val="tx2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pt-PT" dirty="0"/>
              <a:t>Inserta fecha</a:t>
            </a:r>
          </a:p>
        </p:txBody>
      </p:sp>
      <p:sp>
        <p:nvSpPr>
          <p:cNvPr id="10" name="Retângulo 205">
            <a:extLst>
              <a:ext uri="{FF2B5EF4-FFF2-40B4-BE49-F238E27FC236}">
                <a16:creationId xmlns:a16="http://schemas.microsoft.com/office/drawing/2014/main" id="{4C3AB0B7-415E-D357-ACDC-E0FB19BA3BC7}"/>
              </a:ext>
            </a:extLst>
          </p:cNvPr>
          <p:cNvSpPr/>
          <p:nvPr userDrawn="1"/>
        </p:nvSpPr>
        <p:spPr>
          <a:xfrm rot="5400000">
            <a:off x="5915013" y="2095370"/>
            <a:ext cx="821097" cy="2396673"/>
          </a:xfrm>
          <a:custGeom>
            <a:avLst/>
            <a:gdLst>
              <a:gd name="connsiteX0" fmla="*/ 0 w 1635417"/>
              <a:gd name="connsiteY0" fmla="*/ 0 h 1179213"/>
              <a:gd name="connsiteX1" fmla="*/ 1635417 w 1635417"/>
              <a:gd name="connsiteY1" fmla="*/ 0 h 1179213"/>
              <a:gd name="connsiteX2" fmla="*/ 1635417 w 1635417"/>
              <a:gd name="connsiteY2" fmla="*/ 1179213 h 1179213"/>
              <a:gd name="connsiteX3" fmla="*/ 0 w 1635417"/>
              <a:gd name="connsiteY3" fmla="*/ 1179213 h 1179213"/>
              <a:gd name="connsiteX4" fmla="*/ 0 w 1635417"/>
              <a:gd name="connsiteY4" fmla="*/ 0 h 1179213"/>
              <a:gd name="connsiteX0" fmla="*/ 1635417 w 1726857"/>
              <a:gd name="connsiteY0" fmla="*/ 0 h 1179213"/>
              <a:gd name="connsiteX1" fmla="*/ 1635417 w 1726857"/>
              <a:gd name="connsiteY1" fmla="*/ 1179213 h 1179213"/>
              <a:gd name="connsiteX2" fmla="*/ 0 w 1726857"/>
              <a:gd name="connsiteY2" fmla="*/ 1179213 h 1179213"/>
              <a:gd name="connsiteX3" fmla="*/ 0 w 1726857"/>
              <a:gd name="connsiteY3" fmla="*/ 0 h 1179213"/>
              <a:gd name="connsiteX4" fmla="*/ 1726857 w 1726857"/>
              <a:gd name="connsiteY4" fmla="*/ 91440 h 1179213"/>
              <a:gd name="connsiteX0" fmla="*/ 1635417 w 1635417"/>
              <a:gd name="connsiteY0" fmla="*/ 0 h 1179213"/>
              <a:gd name="connsiteX1" fmla="*/ 1635417 w 1635417"/>
              <a:gd name="connsiteY1" fmla="*/ 1179213 h 1179213"/>
              <a:gd name="connsiteX2" fmla="*/ 0 w 1635417"/>
              <a:gd name="connsiteY2" fmla="*/ 1179213 h 1179213"/>
              <a:gd name="connsiteX3" fmla="*/ 0 w 1635417"/>
              <a:gd name="connsiteY3" fmla="*/ 0 h 1179213"/>
              <a:gd name="connsiteX0" fmla="*/ 1635417 w 1635417"/>
              <a:gd name="connsiteY0" fmla="*/ 1179213 h 1179213"/>
              <a:gd name="connsiteX1" fmla="*/ 0 w 1635417"/>
              <a:gd name="connsiteY1" fmla="*/ 1179213 h 1179213"/>
              <a:gd name="connsiteX2" fmla="*/ 0 w 1635417"/>
              <a:gd name="connsiteY2" fmla="*/ 0 h 11792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635417" h="1179213">
                <a:moveTo>
                  <a:pt x="1635417" y="1179213"/>
                </a:moveTo>
                <a:lnTo>
                  <a:pt x="0" y="1179213"/>
                </a:lnTo>
                <a:lnTo>
                  <a:pt x="0" y="0"/>
                </a:lnTo>
              </a:path>
            </a:pathLst>
          </a:custGeom>
          <a:noFill/>
          <a:ln w="6350" cap="sq"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  <p:grpSp>
        <p:nvGrpSpPr>
          <p:cNvPr id="15" name="Gráfico 2">
            <a:extLst>
              <a:ext uri="{FF2B5EF4-FFF2-40B4-BE49-F238E27FC236}">
                <a16:creationId xmlns:a16="http://schemas.microsoft.com/office/drawing/2014/main" id="{B9BDA75D-4D34-4031-9A85-F59CDA7BFCD6}"/>
              </a:ext>
            </a:extLst>
          </p:cNvPr>
          <p:cNvGrpSpPr/>
          <p:nvPr userDrawn="1"/>
        </p:nvGrpSpPr>
        <p:grpSpPr>
          <a:xfrm>
            <a:off x="856373" y="812654"/>
            <a:ext cx="3002916" cy="318309"/>
            <a:chOff x="0" y="2782824"/>
            <a:chExt cx="12192000" cy="1292352"/>
          </a:xfrm>
          <a:solidFill>
            <a:schemeClr val="tx1"/>
          </a:solidFill>
        </p:grpSpPr>
        <p:sp>
          <p:nvSpPr>
            <p:cNvPr id="16" name="Forma libre: forma 15">
              <a:extLst>
                <a:ext uri="{FF2B5EF4-FFF2-40B4-BE49-F238E27FC236}">
                  <a16:creationId xmlns:a16="http://schemas.microsoft.com/office/drawing/2014/main" id="{5DE4FA54-9C15-4E7D-8FDC-4753EE79D41E}"/>
                </a:ext>
              </a:extLst>
            </p:cNvPr>
            <p:cNvSpPr/>
            <p:nvPr/>
          </p:nvSpPr>
          <p:spPr>
            <a:xfrm>
              <a:off x="3791306" y="2777053"/>
              <a:ext cx="1300480" cy="1300480"/>
            </a:xfrm>
            <a:custGeom>
              <a:avLst/>
              <a:gdLst>
                <a:gd name="connsiteX0" fmla="*/ 6096 w 1300480"/>
                <a:gd name="connsiteY0" fmla="*/ 653979 h 1300480"/>
                <a:gd name="connsiteX1" fmla="*/ 653979 w 1300480"/>
                <a:gd name="connsiteY1" fmla="*/ 6096 h 1300480"/>
                <a:gd name="connsiteX2" fmla="*/ 1301862 w 1300480"/>
                <a:gd name="connsiteY2" fmla="*/ 653979 h 1300480"/>
                <a:gd name="connsiteX3" fmla="*/ 653979 w 1300480"/>
                <a:gd name="connsiteY3" fmla="*/ 1301862 h 1300480"/>
                <a:gd name="connsiteX4" fmla="*/ 653898 w 1300480"/>
                <a:gd name="connsiteY4" fmla="*/ 1301862 h 1300480"/>
                <a:gd name="connsiteX5" fmla="*/ 6096 w 1300480"/>
                <a:gd name="connsiteY5" fmla="*/ 654060 h 1300480"/>
                <a:gd name="connsiteX6" fmla="*/ 6096 w 1300480"/>
                <a:gd name="connsiteY6" fmla="*/ 654060 h 1300480"/>
                <a:gd name="connsiteX7" fmla="*/ 653898 w 1300480"/>
                <a:gd name="connsiteY7" fmla="*/ 1091184 h 1300480"/>
                <a:gd name="connsiteX8" fmla="*/ 1091265 w 1300480"/>
                <a:gd name="connsiteY8" fmla="*/ 653979 h 1300480"/>
                <a:gd name="connsiteX9" fmla="*/ 654060 w 1300480"/>
                <a:gd name="connsiteY9" fmla="*/ 216611 h 1300480"/>
                <a:gd name="connsiteX10" fmla="*/ 216692 w 1300480"/>
                <a:gd name="connsiteY10" fmla="*/ 653816 h 1300480"/>
                <a:gd name="connsiteX11" fmla="*/ 216692 w 1300480"/>
                <a:gd name="connsiteY11" fmla="*/ 653979 h 1300480"/>
                <a:gd name="connsiteX12" fmla="*/ 653898 w 1300480"/>
                <a:gd name="connsiteY12" fmla="*/ 1091184 h 13004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300480" h="1300480">
                  <a:moveTo>
                    <a:pt x="6096" y="653979"/>
                  </a:moveTo>
                  <a:cubicBezTo>
                    <a:pt x="6096" y="296184"/>
                    <a:pt x="296184" y="6096"/>
                    <a:pt x="653979" y="6096"/>
                  </a:cubicBezTo>
                  <a:cubicBezTo>
                    <a:pt x="1011773" y="6096"/>
                    <a:pt x="1301862" y="296184"/>
                    <a:pt x="1301862" y="653979"/>
                  </a:cubicBezTo>
                  <a:cubicBezTo>
                    <a:pt x="1301862" y="1011773"/>
                    <a:pt x="1011773" y="1301862"/>
                    <a:pt x="653979" y="1301862"/>
                  </a:cubicBezTo>
                  <a:lnTo>
                    <a:pt x="653898" y="1301862"/>
                  </a:lnTo>
                  <a:cubicBezTo>
                    <a:pt x="296103" y="1301862"/>
                    <a:pt x="6096" y="1011855"/>
                    <a:pt x="6096" y="654060"/>
                  </a:cubicBezTo>
                  <a:lnTo>
                    <a:pt x="6096" y="654060"/>
                  </a:lnTo>
                  <a:moveTo>
                    <a:pt x="653898" y="1091184"/>
                  </a:moveTo>
                  <a:cubicBezTo>
                    <a:pt x="895380" y="1091184"/>
                    <a:pt x="1091184" y="895462"/>
                    <a:pt x="1091265" y="653979"/>
                  </a:cubicBezTo>
                  <a:cubicBezTo>
                    <a:pt x="1091265" y="412496"/>
                    <a:pt x="895543" y="216692"/>
                    <a:pt x="654060" y="216611"/>
                  </a:cubicBezTo>
                  <a:cubicBezTo>
                    <a:pt x="412577" y="216611"/>
                    <a:pt x="216774" y="412333"/>
                    <a:pt x="216692" y="653816"/>
                  </a:cubicBezTo>
                  <a:lnTo>
                    <a:pt x="216692" y="653979"/>
                  </a:lnTo>
                  <a:cubicBezTo>
                    <a:pt x="216692" y="895462"/>
                    <a:pt x="412415" y="1091184"/>
                    <a:pt x="653898" y="1091184"/>
                  </a:cubicBezTo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17" name="Forma libre: forma 16">
              <a:extLst>
                <a:ext uri="{FF2B5EF4-FFF2-40B4-BE49-F238E27FC236}">
                  <a16:creationId xmlns:a16="http://schemas.microsoft.com/office/drawing/2014/main" id="{D9D36326-00C9-4547-852D-C1D939A78BA2}"/>
                </a:ext>
              </a:extLst>
            </p:cNvPr>
            <p:cNvSpPr/>
            <p:nvPr/>
          </p:nvSpPr>
          <p:spPr>
            <a:xfrm>
              <a:off x="1151981" y="2793797"/>
              <a:ext cx="219456" cy="1267968"/>
            </a:xfrm>
            <a:custGeom>
              <a:avLst/>
              <a:gdLst>
                <a:gd name="connsiteX0" fmla="*/ 216367 w 219456"/>
                <a:gd name="connsiteY0" fmla="*/ 6096 h 1267968"/>
                <a:gd name="connsiteX1" fmla="*/ 216367 w 219456"/>
                <a:gd name="connsiteY1" fmla="*/ 6096 h 1267968"/>
                <a:gd name="connsiteX2" fmla="*/ 216367 w 219456"/>
                <a:gd name="connsiteY2" fmla="*/ 1268212 h 1267968"/>
                <a:gd name="connsiteX3" fmla="*/ 6096 w 219456"/>
                <a:gd name="connsiteY3" fmla="*/ 1268212 h 1267968"/>
                <a:gd name="connsiteX4" fmla="*/ 6096 w 219456"/>
                <a:gd name="connsiteY4" fmla="*/ 216449 h 1267968"/>
                <a:gd name="connsiteX5" fmla="*/ 216367 w 219456"/>
                <a:gd name="connsiteY5" fmla="*/ 6096 h 126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19456" h="1267968">
                  <a:moveTo>
                    <a:pt x="216367" y="6096"/>
                  </a:moveTo>
                  <a:lnTo>
                    <a:pt x="216367" y="6096"/>
                  </a:lnTo>
                  <a:lnTo>
                    <a:pt x="216367" y="1268212"/>
                  </a:lnTo>
                  <a:lnTo>
                    <a:pt x="6096" y="1268212"/>
                  </a:lnTo>
                  <a:lnTo>
                    <a:pt x="6096" y="216449"/>
                  </a:lnTo>
                  <a:cubicBezTo>
                    <a:pt x="6096" y="100300"/>
                    <a:pt x="100218" y="6177"/>
                    <a:pt x="216367" y="6096"/>
                  </a:cubicBezTo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18" name="Forma libre: forma 17">
              <a:extLst>
                <a:ext uri="{FF2B5EF4-FFF2-40B4-BE49-F238E27FC236}">
                  <a16:creationId xmlns:a16="http://schemas.microsoft.com/office/drawing/2014/main" id="{2DF25E6C-21CC-4758-897D-634880EE099D}"/>
                </a:ext>
              </a:extLst>
            </p:cNvPr>
            <p:cNvSpPr/>
            <p:nvPr/>
          </p:nvSpPr>
          <p:spPr>
            <a:xfrm>
              <a:off x="9373128" y="2793797"/>
              <a:ext cx="219456" cy="1267968"/>
            </a:xfrm>
            <a:custGeom>
              <a:avLst/>
              <a:gdLst>
                <a:gd name="connsiteX0" fmla="*/ 216368 w 219456"/>
                <a:gd name="connsiteY0" fmla="*/ 6096 h 1267968"/>
                <a:gd name="connsiteX1" fmla="*/ 216368 w 219456"/>
                <a:gd name="connsiteY1" fmla="*/ 6096 h 1267968"/>
                <a:gd name="connsiteX2" fmla="*/ 216368 w 219456"/>
                <a:gd name="connsiteY2" fmla="*/ 1268212 h 1267968"/>
                <a:gd name="connsiteX3" fmla="*/ 6096 w 219456"/>
                <a:gd name="connsiteY3" fmla="*/ 1268212 h 1267968"/>
                <a:gd name="connsiteX4" fmla="*/ 6096 w 219456"/>
                <a:gd name="connsiteY4" fmla="*/ 216449 h 1267968"/>
                <a:gd name="connsiteX5" fmla="*/ 216287 w 219456"/>
                <a:gd name="connsiteY5" fmla="*/ 6096 h 1267968"/>
                <a:gd name="connsiteX6" fmla="*/ 216368 w 219456"/>
                <a:gd name="connsiteY6" fmla="*/ 6096 h 126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19456" h="1267968">
                  <a:moveTo>
                    <a:pt x="216368" y="6096"/>
                  </a:moveTo>
                  <a:lnTo>
                    <a:pt x="216368" y="6096"/>
                  </a:lnTo>
                  <a:lnTo>
                    <a:pt x="216368" y="1268212"/>
                  </a:lnTo>
                  <a:lnTo>
                    <a:pt x="6096" y="1268212"/>
                  </a:lnTo>
                  <a:lnTo>
                    <a:pt x="6096" y="216449"/>
                  </a:lnTo>
                  <a:cubicBezTo>
                    <a:pt x="6096" y="100300"/>
                    <a:pt x="100138" y="6177"/>
                    <a:pt x="216287" y="6096"/>
                  </a:cubicBezTo>
                  <a:lnTo>
                    <a:pt x="216368" y="6096"/>
                  </a:lnTo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19" name="Forma libre: forma 18">
              <a:extLst>
                <a:ext uri="{FF2B5EF4-FFF2-40B4-BE49-F238E27FC236}">
                  <a16:creationId xmlns:a16="http://schemas.microsoft.com/office/drawing/2014/main" id="{88534F05-82BB-49B6-9119-CFD7E45EF2D9}"/>
                </a:ext>
              </a:extLst>
            </p:cNvPr>
            <p:cNvSpPr/>
            <p:nvPr/>
          </p:nvSpPr>
          <p:spPr>
            <a:xfrm>
              <a:off x="8111012" y="2793878"/>
              <a:ext cx="1056640" cy="1267968"/>
            </a:xfrm>
            <a:custGeom>
              <a:avLst/>
              <a:gdLst>
                <a:gd name="connsiteX0" fmla="*/ 74046 w 1056640"/>
                <a:gd name="connsiteY0" fmla="*/ 6096 h 1267968"/>
                <a:gd name="connsiteX1" fmla="*/ 6096 w 1056640"/>
                <a:gd name="connsiteY1" fmla="*/ 216367 h 1267968"/>
                <a:gd name="connsiteX2" fmla="*/ 426802 w 1056640"/>
                <a:gd name="connsiteY2" fmla="*/ 216367 h 1267968"/>
                <a:gd name="connsiteX3" fmla="*/ 426802 w 1056640"/>
                <a:gd name="connsiteY3" fmla="*/ 1268131 h 1267968"/>
                <a:gd name="connsiteX4" fmla="*/ 637155 w 1056640"/>
                <a:gd name="connsiteY4" fmla="*/ 1268131 h 1267968"/>
                <a:gd name="connsiteX5" fmla="*/ 637155 w 1056640"/>
                <a:gd name="connsiteY5" fmla="*/ 216367 h 1267968"/>
                <a:gd name="connsiteX6" fmla="*/ 847507 w 1056640"/>
                <a:gd name="connsiteY6" fmla="*/ 216367 h 1267968"/>
                <a:gd name="connsiteX7" fmla="*/ 1057860 w 1056640"/>
                <a:gd name="connsiteY7" fmla="*/ 6096 h 1267968"/>
                <a:gd name="connsiteX8" fmla="*/ 74046 w 1056640"/>
                <a:gd name="connsiteY8" fmla="*/ 6096 h 126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056640" h="1267968">
                  <a:moveTo>
                    <a:pt x="74046" y="6096"/>
                  </a:moveTo>
                  <a:lnTo>
                    <a:pt x="6096" y="216367"/>
                  </a:lnTo>
                  <a:lnTo>
                    <a:pt x="426802" y="216367"/>
                  </a:lnTo>
                  <a:lnTo>
                    <a:pt x="426802" y="1268131"/>
                  </a:lnTo>
                  <a:lnTo>
                    <a:pt x="637155" y="1268131"/>
                  </a:lnTo>
                  <a:lnTo>
                    <a:pt x="637155" y="216367"/>
                  </a:lnTo>
                  <a:lnTo>
                    <a:pt x="847507" y="216367"/>
                  </a:lnTo>
                  <a:cubicBezTo>
                    <a:pt x="963656" y="216367"/>
                    <a:pt x="1057779" y="122245"/>
                    <a:pt x="1057860" y="6096"/>
                  </a:cubicBezTo>
                  <a:lnTo>
                    <a:pt x="74046" y="609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20" name="Forma libre: forma 19">
              <a:extLst>
                <a:ext uri="{FF2B5EF4-FFF2-40B4-BE49-F238E27FC236}">
                  <a16:creationId xmlns:a16="http://schemas.microsoft.com/office/drawing/2014/main" id="{8E9C6964-3A08-44CD-BBD8-0052A8CC4250}"/>
                </a:ext>
              </a:extLst>
            </p:cNvPr>
            <p:cNvSpPr/>
            <p:nvPr/>
          </p:nvSpPr>
          <p:spPr>
            <a:xfrm>
              <a:off x="1602108" y="2793797"/>
              <a:ext cx="845312" cy="1267968"/>
            </a:xfrm>
            <a:custGeom>
              <a:avLst/>
              <a:gdLst>
                <a:gd name="connsiteX0" fmla="*/ 216288 w 845312"/>
                <a:gd name="connsiteY0" fmla="*/ 1057859 h 1267968"/>
                <a:gd name="connsiteX1" fmla="*/ 216288 w 845312"/>
                <a:gd name="connsiteY1" fmla="*/ 6096 h 1267968"/>
                <a:gd name="connsiteX2" fmla="*/ 6098 w 845312"/>
                <a:gd name="connsiteY2" fmla="*/ 6096 h 1267968"/>
                <a:gd name="connsiteX3" fmla="*/ 6098 w 845312"/>
                <a:gd name="connsiteY3" fmla="*/ 1057859 h 1267968"/>
                <a:gd name="connsiteX4" fmla="*/ 6098 w 845312"/>
                <a:gd name="connsiteY4" fmla="*/ 1057859 h 1267968"/>
                <a:gd name="connsiteX5" fmla="*/ 14226 w 845312"/>
                <a:gd name="connsiteY5" fmla="*/ 1116706 h 1267968"/>
                <a:gd name="connsiteX6" fmla="*/ 15201 w 845312"/>
                <a:gd name="connsiteY6" fmla="*/ 1120364 h 1267968"/>
                <a:gd name="connsiteX7" fmla="*/ 17071 w 845312"/>
                <a:gd name="connsiteY7" fmla="*/ 1125566 h 1267968"/>
                <a:gd name="connsiteX8" fmla="*/ 22598 w 845312"/>
                <a:gd name="connsiteY8" fmla="*/ 1140358 h 1267968"/>
                <a:gd name="connsiteX9" fmla="*/ 52021 w 845312"/>
                <a:gd name="connsiteY9" fmla="*/ 1189126 h 1267968"/>
                <a:gd name="connsiteX10" fmla="*/ 124685 w 845312"/>
                <a:gd name="connsiteY10" fmla="*/ 1246916 h 1267968"/>
                <a:gd name="connsiteX11" fmla="*/ 216125 w 845312"/>
                <a:gd name="connsiteY11" fmla="*/ 1268049 h 1267968"/>
                <a:gd name="connsiteX12" fmla="*/ 776957 w 845312"/>
                <a:gd name="connsiteY12" fmla="*/ 1268049 h 1267968"/>
                <a:gd name="connsiteX13" fmla="*/ 847021 w 845312"/>
                <a:gd name="connsiteY13" fmla="*/ 1057697 h 1267968"/>
                <a:gd name="connsiteX14" fmla="*/ 216288 w 845312"/>
                <a:gd name="connsiteY14" fmla="*/ 1057859 h 126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845312" h="1267968">
                  <a:moveTo>
                    <a:pt x="216288" y="1057859"/>
                  </a:moveTo>
                  <a:lnTo>
                    <a:pt x="216288" y="6096"/>
                  </a:lnTo>
                  <a:lnTo>
                    <a:pt x="6098" y="6096"/>
                  </a:lnTo>
                  <a:lnTo>
                    <a:pt x="6098" y="1057859"/>
                  </a:lnTo>
                  <a:lnTo>
                    <a:pt x="6098" y="1057859"/>
                  </a:lnTo>
                  <a:cubicBezTo>
                    <a:pt x="6017" y="1077773"/>
                    <a:pt x="8699" y="1097605"/>
                    <a:pt x="14226" y="1116706"/>
                  </a:cubicBezTo>
                  <a:cubicBezTo>
                    <a:pt x="14632" y="1117925"/>
                    <a:pt x="14795" y="1119226"/>
                    <a:pt x="15201" y="1120364"/>
                  </a:cubicBezTo>
                  <a:cubicBezTo>
                    <a:pt x="15608" y="1121502"/>
                    <a:pt x="16502" y="1123859"/>
                    <a:pt x="17071" y="1125566"/>
                  </a:cubicBezTo>
                  <a:cubicBezTo>
                    <a:pt x="18777" y="1130605"/>
                    <a:pt x="20566" y="1135563"/>
                    <a:pt x="22598" y="1140358"/>
                  </a:cubicBezTo>
                  <a:cubicBezTo>
                    <a:pt x="30157" y="1157915"/>
                    <a:pt x="40073" y="1174252"/>
                    <a:pt x="52021" y="1189126"/>
                  </a:cubicBezTo>
                  <a:cubicBezTo>
                    <a:pt x="71691" y="1213510"/>
                    <a:pt x="96481" y="1233262"/>
                    <a:pt x="124685" y="1246916"/>
                  </a:cubicBezTo>
                  <a:cubicBezTo>
                    <a:pt x="153215" y="1260734"/>
                    <a:pt x="184426" y="1267968"/>
                    <a:pt x="216125" y="1268049"/>
                  </a:cubicBezTo>
                  <a:lnTo>
                    <a:pt x="776957" y="1268049"/>
                  </a:lnTo>
                  <a:lnTo>
                    <a:pt x="847021" y="1057697"/>
                  </a:lnTo>
                  <a:lnTo>
                    <a:pt x="216288" y="105785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21" name="Forma libre: forma 20">
              <a:extLst>
                <a:ext uri="{FF2B5EF4-FFF2-40B4-BE49-F238E27FC236}">
                  <a16:creationId xmlns:a16="http://schemas.microsoft.com/office/drawing/2014/main" id="{84B05148-E6A5-4978-AA20-777D7A2DB10D}"/>
                </a:ext>
              </a:extLst>
            </p:cNvPr>
            <p:cNvSpPr/>
            <p:nvPr/>
          </p:nvSpPr>
          <p:spPr>
            <a:xfrm>
              <a:off x="-6096" y="2794284"/>
              <a:ext cx="959104" cy="1267968"/>
            </a:xfrm>
            <a:custGeom>
              <a:avLst/>
              <a:gdLst>
                <a:gd name="connsiteX0" fmla="*/ 818815 w 959104"/>
                <a:gd name="connsiteY0" fmla="*/ 411764 h 1267968"/>
                <a:gd name="connsiteX1" fmla="*/ 818815 w 959104"/>
                <a:gd name="connsiteY1" fmla="*/ 285699 h 1267968"/>
                <a:gd name="connsiteX2" fmla="*/ 539130 w 959104"/>
                <a:gd name="connsiteY2" fmla="*/ 6096 h 1267968"/>
                <a:gd name="connsiteX3" fmla="*/ 6096 w 959104"/>
                <a:gd name="connsiteY3" fmla="*/ 6096 h 1267968"/>
                <a:gd name="connsiteX4" fmla="*/ 6096 w 959104"/>
                <a:gd name="connsiteY4" fmla="*/ 1057047 h 1267968"/>
                <a:gd name="connsiteX5" fmla="*/ 216367 w 959104"/>
                <a:gd name="connsiteY5" fmla="*/ 1267399 h 1267968"/>
                <a:gd name="connsiteX6" fmla="*/ 532140 w 959104"/>
                <a:gd name="connsiteY6" fmla="*/ 1267399 h 1267968"/>
                <a:gd name="connsiteX7" fmla="*/ 953821 w 959104"/>
                <a:gd name="connsiteY7" fmla="*/ 892861 h 1267968"/>
                <a:gd name="connsiteX8" fmla="*/ 603260 w 959104"/>
                <a:gd name="connsiteY8" fmla="*/ 530596 h 1267968"/>
                <a:gd name="connsiteX9" fmla="*/ 218562 w 959104"/>
                <a:gd name="connsiteY9" fmla="*/ 531490 h 1267968"/>
                <a:gd name="connsiteX10" fmla="*/ 424282 w 959104"/>
                <a:gd name="connsiteY10" fmla="*/ 737210 h 1267968"/>
                <a:gd name="connsiteX11" fmla="*/ 424932 w 959104"/>
                <a:gd name="connsiteY11" fmla="*/ 737210 h 1267968"/>
                <a:gd name="connsiteX12" fmla="*/ 585785 w 959104"/>
                <a:gd name="connsiteY12" fmla="*/ 737210 h 1267968"/>
                <a:gd name="connsiteX13" fmla="*/ 758261 w 959104"/>
                <a:gd name="connsiteY13" fmla="*/ 889203 h 1267968"/>
                <a:gd name="connsiteX14" fmla="*/ 606268 w 959104"/>
                <a:gd name="connsiteY14" fmla="*/ 1061679 h 1267968"/>
                <a:gd name="connsiteX15" fmla="*/ 585704 w 959104"/>
                <a:gd name="connsiteY15" fmla="*/ 1061679 h 1267968"/>
                <a:gd name="connsiteX16" fmla="*/ 216530 w 959104"/>
                <a:gd name="connsiteY16" fmla="*/ 1061679 h 1267968"/>
                <a:gd name="connsiteX17" fmla="*/ 216530 w 959104"/>
                <a:gd name="connsiteY17" fmla="*/ 211653 h 1267968"/>
                <a:gd name="connsiteX18" fmla="*/ 467685 w 959104"/>
                <a:gd name="connsiteY18" fmla="*/ 211653 h 1267968"/>
                <a:gd name="connsiteX19" fmla="*/ 612689 w 959104"/>
                <a:gd name="connsiteY19" fmla="*/ 356575 h 1267968"/>
                <a:gd name="connsiteX20" fmla="*/ 612689 w 959104"/>
                <a:gd name="connsiteY20" fmla="*/ 530352 h 1267968"/>
                <a:gd name="connsiteX21" fmla="*/ 818815 w 959104"/>
                <a:gd name="connsiteY21" fmla="*/ 411764 h 126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959104" h="1267968">
                  <a:moveTo>
                    <a:pt x="818815" y="411764"/>
                  </a:moveTo>
                  <a:lnTo>
                    <a:pt x="818815" y="285699"/>
                  </a:lnTo>
                  <a:cubicBezTo>
                    <a:pt x="818815" y="131267"/>
                    <a:pt x="693562" y="6096"/>
                    <a:pt x="539130" y="6096"/>
                  </a:cubicBezTo>
                  <a:lnTo>
                    <a:pt x="6096" y="6096"/>
                  </a:lnTo>
                  <a:lnTo>
                    <a:pt x="6096" y="1057047"/>
                  </a:lnTo>
                  <a:cubicBezTo>
                    <a:pt x="6096" y="1173196"/>
                    <a:pt x="100218" y="1267318"/>
                    <a:pt x="216367" y="1267399"/>
                  </a:cubicBezTo>
                  <a:lnTo>
                    <a:pt x="532140" y="1267399"/>
                  </a:lnTo>
                  <a:cubicBezTo>
                    <a:pt x="807436" y="1267399"/>
                    <a:pt x="953821" y="1096711"/>
                    <a:pt x="953821" y="892861"/>
                  </a:cubicBezTo>
                  <a:cubicBezTo>
                    <a:pt x="953821" y="725587"/>
                    <a:pt x="840029" y="530596"/>
                    <a:pt x="603260" y="530596"/>
                  </a:cubicBezTo>
                  <a:lnTo>
                    <a:pt x="218562" y="531490"/>
                  </a:lnTo>
                  <a:cubicBezTo>
                    <a:pt x="218562" y="645119"/>
                    <a:pt x="310652" y="737210"/>
                    <a:pt x="424282" y="737210"/>
                  </a:cubicBezTo>
                  <a:cubicBezTo>
                    <a:pt x="424525" y="737210"/>
                    <a:pt x="424688" y="737210"/>
                    <a:pt x="424932" y="737210"/>
                  </a:cubicBezTo>
                  <a:lnTo>
                    <a:pt x="585785" y="737210"/>
                  </a:lnTo>
                  <a:cubicBezTo>
                    <a:pt x="675356" y="731520"/>
                    <a:pt x="752653" y="799551"/>
                    <a:pt x="758261" y="889203"/>
                  </a:cubicBezTo>
                  <a:cubicBezTo>
                    <a:pt x="763951" y="978774"/>
                    <a:pt x="695919" y="1056071"/>
                    <a:pt x="606268" y="1061679"/>
                  </a:cubicBezTo>
                  <a:cubicBezTo>
                    <a:pt x="599440" y="1062086"/>
                    <a:pt x="592531" y="1062086"/>
                    <a:pt x="585704" y="1061679"/>
                  </a:cubicBezTo>
                  <a:lnTo>
                    <a:pt x="216530" y="1061679"/>
                  </a:lnTo>
                  <a:lnTo>
                    <a:pt x="216530" y="211653"/>
                  </a:lnTo>
                  <a:lnTo>
                    <a:pt x="467685" y="211653"/>
                  </a:lnTo>
                  <a:cubicBezTo>
                    <a:pt x="547014" y="213441"/>
                    <a:pt x="610901" y="277246"/>
                    <a:pt x="612689" y="356575"/>
                  </a:cubicBezTo>
                  <a:lnTo>
                    <a:pt x="612689" y="530352"/>
                  </a:lnTo>
                  <a:lnTo>
                    <a:pt x="818815" y="41176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22" name="Forma libre: forma 21">
              <a:extLst>
                <a:ext uri="{FF2B5EF4-FFF2-40B4-BE49-F238E27FC236}">
                  <a16:creationId xmlns:a16="http://schemas.microsoft.com/office/drawing/2014/main" id="{238CBA86-750A-4109-8F97-CFACDD2A43D0}"/>
                </a:ext>
              </a:extLst>
            </p:cNvPr>
            <p:cNvSpPr/>
            <p:nvPr/>
          </p:nvSpPr>
          <p:spPr>
            <a:xfrm>
              <a:off x="2653792" y="2794284"/>
              <a:ext cx="959104" cy="1267968"/>
            </a:xfrm>
            <a:custGeom>
              <a:avLst/>
              <a:gdLst>
                <a:gd name="connsiteX0" fmla="*/ 818896 w 959104"/>
                <a:gd name="connsiteY0" fmla="*/ 411764 h 1267968"/>
                <a:gd name="connsiteX1" fmla="*/ 818896 w 959104"/>
                <a:gd name="connsiteY1" fmla="*/ 285699 h 1267968"/>
                <a:gd name="connsiteX2" fmla="*/ 539212 w 959104"/>
                <a:gd name="connsiteY2" fmla="*/ 6096 h 1267968"/>
                <a:gd name="connsiteX3" fmla="*/ 6096 w 959104"/>
                <a:gd name="connsiteY3" fmla="*/ 6096 h 1267968"/>
                <a:gd name="connsiteX4" fmla="*/ 6096 w 959104"/>
                <a:gd name="connsiteY4" fmla="*/ 1057047 h 1267968"/>
                <a:gd name="connsiteX5" fmla="*/ 216449 w 959104"/>
                <a:gd name="connsiteY5" fmla="*/ 1267399 h 1267968"/>
                <a:gd name="connsiteX6" fmla="*/ 532222 w 959104"/>
                <a:gd name="connsiteY6" fmla="*/ 1267399 h 1267968"/>
                <a:gd name="connsiteX7" fmla="*/ 953821 w 959104"/>
                <a:gd name="connsiteY7" fmla="*/ 892861 h 1267968"/>
                <a:gd name="connsiteX8" fmla="*/ 603342 w 959104"/>
                <a:gd name="connsiteY8" fmla="*/ 530596 h 1267968"/>
                <a:gd name="connsiteX9" fmla="*/ 218643 w 959104"/>
                <a:gd name="connsiteY9" fmla="*/ 531490 h 1267968"/>
                <a:gd name="connsiteX10" fmla="*/ 424363 w 959104"/>
                <a:gd name="connsiteY10" fmla="*/ 737210 h 1267968"/>
                <a:gd name="connsiteX11" fmla="*/ 424932 w 959104"/>
                <a:gd name="connsiteY11" fmla="*/ 737210 h 1267968"/>
                <a:gd name="connsiteX12" fmla="*/ 585866 w 959104"/>
                <a:gd name="connsiteY12" fmla="*/ 737210 h 1267968"/>
                <a:gd name="connsiteX13" fmla="*/ 737860 w 959104"/>
                <a:gd name="connsiteY13" fmla="*/ 909686 h 1267968"/>
                <a:gd name="connsiteX14" fmla="*/ 585866 w 959104"/>
                <a:gd name="connsiteY14" fmla="*/ 1061679 h 1267968"/>
                <a:gd name="connsiteX15" fmla="*/ 216611 w 959104"/>
                <a:gd name="connsiteY15" fmla="*/ 1061679 h 1267968"/>
                <a:gd name="connsiteX16" fmla="*/ 216611 w 959104"/>
                <a:gd name="connsiteY16" fmla="*/ 211653 h 1267968"/>
                <a:gd name="connsiteX17" fmla="*/ 467766 w 959104"/>
                <a:gd name="connsiteY17" fmla="*/ 211653 h 1267968"/>
                <a:gd name="connsiteX18" fmla="*/ 612770 w 959104"/>
                <a:gd name="connsiteY18" fmla="*/ 356575 h 1267968"/>
                <a:gd name="connsiteX19" fmla="*/ 612770 w 959104"/>
                <a:gd name="connsiteY19" fmla="*/ 530352 h 1267968"/>
                <a:gd name="connsiteX20" fmla="*/ 818896 w 959104"/>
                <a:gd name="connsiteY20" fmla="*/ 411764 h 126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959104" h="1267968">
                  <a:moveTo>
                    <a:pt x="818896" y="411764"/>
                  </a:moveTo>
                  <a:lnTo>
                    <a:pt x="818896" y="285699"/>
                  </a:lnTo>
                  <a:cubicBezTo>
                    <a:pt x="818896" y="131267"/>
                    <a:pt x="693644" y="6096"/>
                    <a:pt x="539212" y="6096"/>
                  </a:cubicBezTo>
                  <a:lnTo>
                    <a:pt x="6096" y="6096"/>
                  </a:lnTo>
                  <a:lnTo>
                    <a:pt x="6096" y="1057047"/>
                  </a:lnTo>
                  <a:cubicBezTo>
                    <a:pt x="6096" y="1173196"/>
                    <a:pt x="100299" y="1267399"/>
                    <a:pt x="216449" y="1267399"/>
                  </a:cubicBezTo>
                  <a:lnTo>
                    <a:pt x="532222" y="1267399"/>
                  </a:lnTo>
                  <a:cubicBezTo>
                    <a:pt x="807517" y="1267399"/>
                    <a:pt x="953821" y="1096711"/>
                    <a:pt x="953821" y="892861"/>
                  </a:cubicBezTo>
                  <a:cubicBezTo>
                    <a:pt x="953821" y="725587"/>
                    <a:pt x="840029" y="530596"/>
                    <a:pt x="603342" y="530596"/>
                  </a:cubicBezTo>
                  <a:lnTo>
                    <a:pt x="218643" y="531490"/>
                  </a:lnTo>
                  <a:cubicBezTo>
                    <a:pt x="218643" y="645119"/>
                    <a:pt x="310734" y="737210"/>
                    <a:pt x="424363" y="737210"/>
                  </a:cubicBezTo>
                  <a:cubicBezTo>
                    <a:pt x="424526" y="737210"/>
                    <a:pt x="424769" y="737210"/>
                    <a:pt x="424932" y="737210"/>
                  </a:cubicBezTo>
                  <a:lnTo>
                    <a:pt x="585866" y="737210"/>
                  </a:lnTo>
                  <a:cubicBezTo>
                    <a:pt x="675437" y="742899"/>
                    <a:pt x="743468" y="820115"/>
                    <a:pt x="737860" y="909686"/>
                  </a:cubicBezTo>
                  <a:cubicBezTo>
                    <a:pt x="732658" y="991372"/>
                    <a:pt x="667553" y="1056477"/>
                    <a:pt x="585866" y="1061679"/>
                  </a:cubicBezTo>
                  <a:lnTo>
                    <a:pt x="216611" y="1061679"/>
                  </a:lnTo>
                  <a:lnTo>
                    <a:pt x="216611" y="211653"/>
                  </a:lnTo>
                  <a:lnTo>
                    <a:pt x="467766" y="211653"/>
                  </a:lnTo>
                  <a:cubicBezTo>
                    <a:pt x="547096" y="213441"/>
                    <a:pt x="610982" y="277246"/>
                    <a:pt x="612770" y="356575"/>
                  </a:cubicBezTo>
                  <a:lnTo>
                    <a:pt x="612770" y="530352"/>
                  </a:lnTo>
                  <a:lnTo>
                    <a:pt x="818896" y="41176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23" name="Forma libre: forma 22">
              <a:extLst>
                <a:ext uri="{FF2B5EF4-FFF2-40B4-BE49-F238E27FC236}">
                  <a16:creationId xmlns:a16="http://schemas.microsoft.com/office/drawing/2014/main" id="{903EC160-7EC8-475D-BFB2-049E8C35622E}"/>
                </a:ext>
              </a:extLst>
            </p:cNvPr>
            <p:cNvSpPr/>
            <p:nvPr/>
          </p:nvSpPr>
          <p:spPr>
            <a:xfrm>
              <a:off x="5297343" y="2793878"/>
              <a:ext cx="219456" cy="1267968"/>
            </a:xfrm>
            <a:custGeom>
              <a:avLst/>
              <a:gdLst>
                <a:gd name="connsiteX0" fmla="*/ 6096 w 219456"/>
                <a:gd name="connsiteY0" fmla="*/ 6096 h 1267968"/>
                <a:gd name="connsiteX1" fmla="*/ 216449 w 219456"/>
                <a:gd name="connsiteY1" fmla="*/ 6096 h 1267968"/>
                <a:gd name="connsiteX2" fmla="*/ 216449 w 219456"/>
                <a:gd name="connsiteY2" fmla="*/ 1268212 h 1267968"/>
                <a:gd name="connsiteX3" fmla="*/ 6096 w 219456"/>
                <a:gd name="connsiteY3" fmla="*/ 1268212 h 126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19456" h="1267968">
                  <a:moveTo>
                    <a:pt x="6096" y="6096"/>
                  </a:moveTo>
                  <a:lnTo>
                    <a:pt x="216449" y="6096"/>
                  </a:lnTo>
                  <a:lnTo>
                    <a:pt x="216449" y="1268212"/>
                  </a:lnTo>
                  <a:lnTo>
                    <a:pt x="6096" y="126821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24" name="Forma libre: forma 23">
              <a:extLst>
                <a:ext uri="{FF2B5EF4-FFF2-40B4-BE49-F238E27FC236}">
                  <a16:creationId xmlns:a16="http://schemas.microsoft.com/office/drawing/2014/main" id="{91FA0C6B-9BE0-4565-B6F2-1D495CB5C491}"/>
                </a:ext>
              </a:extLst>
            </p:cNvPr>
            <p:cNvSpPr/>
            <p:nvPr/>
          </p:nvSpPr>
          <p:spPr>
            <a:xfrm>
              <a:off x="5507695" y="2793634"/>
              <a:ext cx="487680" cy="1267968"/>
            </a:xfrm>
            <a:custGeom>
              <a:avLst/>
              <a:gdLst>
                <a:gd name="connsiteX0" fmla="*/ 426557 w 487680"/>
                <a:gd name="connsiteY0" fmla="*/ 1268375 h 1267968"/>
                <a:gd name="connsiteX1" fmla="*/ 485323 w 487680"/>
                <a:gd name="connsiteY1" fmla="*/ 1268375 h 1267968"/>
                <a:gd name="connsiteX2" fmla="*/ 248067 w 487680"/>
                <a:gd name="connsiteY2" fmla="*/ 154838 h 1267968"/>
                <a:gd name="connsiteX3" fmla="*/ 64861 w 487680"/>
                <a:gd name="connsiteY3" fmla="*/ 6096 h 1267968"/>
                <a:gd name="connsiteX4" fmla="*/ 6096 w 487680"/>
                <a:gd name="connsiteY4" fmla="*/ 6096 h 1267968"/>
                <a:gd name="connsiteX5" fmla="*/ 243352 w 487680"/>
                <a:gd name="connsiteY5" fmla="*/ 1119632 h 1267968"/>
                <a:gd name="connsiteX6" fmla="*/ 426557 w 487680"/>
                <a:gd name="connsiteY6" fmla="*/ 1267968 h 126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87680" h="1267968">
                  <a:moveTo>
                    <a:pt x="426557" y="1268375"/>
                  </a:moveTo>
                  <a:lnTo>
                    <a:pt x="485323" y="1268375"/>
                  </a:lnTo>
                  <a:lnTo>
                    <a:pt x="248067" y="154838"/>
                  </a:lnTo>
                  <a:cubicBezTo>
                    <a:pt x="229535" y="68356"/>
                    <a:pt x="153294" y="6421"/>
                    <a:pt x="64861" y="6096"/>
                  </a:cubicBezTo>
                  <a:lnTo>
                    <a:pt x="6096" y="6096"/>
                  </a:lnTo>
                  <a:lnTo>
                    <a:pt x="243352" y="1119632"/>
                  </a:lnTo>
                  <a:cubicBezTo>
                    <a:pt x="261803" y="1206114"/>
                    <a:pt x="338125" y="1267887"/>
                    <a:pt x="426557" y="1267968"/>
                  </a:cubicBezTo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25" name="Forma libre: forma 24">
              <a:extLst>
                <a:ext uri="{FF2B5EF4-FFF2-40B4-BE49-F238E27FC236}">
                  <a16:creationId xmlns:a16="http://schemas.microsoft.com/office/drawing/2014/main" id="{7C85F184-0E82-44D8-A208-A9D92E7417BE}"/>
                </a:ext>
              </a:extLst>
            </p:cNvPr>
            <p:cNvSpPr/>
            <p:nvPr/>
          </p:nvSpPr>
          <p:spPr>
            <a:xfrm>
              <a:off x="5986922" y="2794284"/>
              <a:ext cx="487680" cy="1267968"/>
            </a:xfrm>
            <a:custGeom>
              <a:avLst/>
              <a:gdLst>
                <a:gd name="connsiteX0" fmla="*/ 243271 w 487680"/>
                <a:gd name="connsiteY0" fmla="*/ 154595 h 1267968"/>
                <a:gd name="connsiteX1" fmla="*/ 6096 w 487680"/>
                <a:gd name="connsiteY1" fmla="*/ 1268131 h 1267968"/>
                <a:gd name="connsiteX2" fmla="*/ 216367 w 487680"/>
                <a:gd name="connsiteY2" fmla="*/ 1268131 h 1267968"/>
                <a:gd name="connsiteX3" fmla="*/ 485323 w 487680"/>
                <a:gd name="connsiteY3" fmla="*/ 6096 h 1267968"/>
                <a:gd name="connsiteX4" fmla="*/ 426557 w 487680"/>
                <a:gd name="connsiteY4" fmla="*/ 6096 h 1267968"/>
                <a:gd name="connsiteX5" fmla="*/ 243271 w 487680"/>
                <a:gd name="connsiteY5" fmla="*/ 155001 h 126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87680" h="1267968">
                  <a:moveTo>
                    <a:pt x="243271" y="154595"/>
                  </a:moveTo>
                  <a:lnTo>
                    <a:pt x="6096" y="1268131"/>
                  </a:lnTo>
                  <a:lnTo>
                    <a:pt x="216367" y="1268131"/>
                  </a:lnTo>
                  <a:lnTo>
                    <a:pt x="485323" y="6096"/>
                  </a:lnTo>
                  <a:lnTo>
                    <a:pt x="426557" y="6096"/>
                  </a:lnTo>
                  <a:cubicBezTo>
                    <a:pt x="338043" y="6421"/>
                    <a:pt x="261722" y="68438"/>
                    <a:pt x="243271" y="155001"/>
                  </a:cubicBezTo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26" name="Forma libre: forma 25">
              <a:extLst>
                <a:ext uri="{FF2B5EF4-FFF2-40B4-BE49-F238E27FC236}">
                  <a16:creationId xmlns:a16="http://schemas.microsoft.com/office/drawing/2014/main" id="{2FFB2E96-75E2-42E7-B277-C14C2652B021}"/>
                </a:ext>
              </a:extLst>
            </p:cNvPr>
            <p:cNvSpPr/>
            <p:nvPr/>
          </p:nvSpPr>
          <p:spPr>
            <a:xfrm>
              <a:off x="6466149" y="2793878"/>
              <a:ext cx="219456" cy="1267968"/>
            </a:xfrm>
            <a:custGeom>
              <a:avLst/>
              <a:gdLst>
                <a:gd name="connsiteX0" fmla="*/ 6096 w 219456"/>
                <a:gd name="connsiteY0" fmla="*/ 6096 h 1267968"/>
                <a:gd name="connsiteX1" fmla="*/ 216449 w 219456"/>
                <a:gd name="connsiteY1" fmla="*/ 6096 h 1267968"/>
                <a:gd name="connsiteX2" fmla="*/ 216449 w 219456"/>
                <a:gd name="connsiteY2" fmla="*/ 1268212 h 1267968"/>
                <a:gd name="connsiteX3" fmla="*/ 6096 w 219456"/>
                <a:gd name="connsiteY3" fmla="*/ 1268212 h 126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19456" h="1267968">
                  <a:moveTo>
                    <a:pt x="6096" y="6096"/>
                  </a:moveTo>
                  <a:lnTo>
                    <a:pt x="216449" y="6096"/>
                  </a:lnTo>
                  <a:lnTo>
                    <a:pt x="216449" y="1268212"/>
                  </a:lnTo>
                  <a:lnTo>
                    <a:pt x="6096" y="126821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34" name="Forma libre: forma 33">
              <a:extLst>
                <a:ext uri="{FF2B5EF4-FFF2-40B4-BE49-F238E27FC236}">
                  <a16:creationId xmlns:a16="http://schemas.microsoft.com/office/drawing/2014/main" id="{87145095-3990-4669-87D7-5FB07CE73E5C}"/>
                </a:ext>
              </a:extLst>
            </p:cNvPr>
            <p:cNvSpPr/>
            <p:nvPr/>
          </p:nvSpPr>
          <p:spPr>
            <a:xfrm>
              <a:off x="9815617" y="2776728"/>
              <a:ext cx="950976" cy="1300480"/>
            </a:xfrm>
            <a:custGeom>
              <a:avLst/>
              <a:gdLst>
                <a:gd name="connsiteX0" fmla="*/ 889935 w 950976"/>
                <a:gd name="connsiteY0" fmla="*/ 286350 h 1300480"/>
                <a:gd name="connsiteX1" fmla="*/ 285618 w 950976"/>
                <a:gd name="connsiteY1" fmla="*/ 417779 h 1300480"/>
                <a:gd name="connsiteX2" fmla="*/ 417047 w 950976"/>
                <a:gd name="connsiteY2" fmla="*/ 1022096 h 1300480"/>
                <a:gd name="connsiteX3" fmla="*/ 653410 w 950976"/>
                <a:gd name="connsiteY3" fmla="*/ 1091509 h 1300480"/>
                <a:gd name="connsiteX4" fmla="*/ 927242 w 950976"/>
                <a:gd name="connsiteY4" fmla="*/ 997712 h 1300480"/>
                <a:gd name="connsiteX5" fmla="*/ 927242 w 950976"/>
                <a:gd name="connsiteY5" fmla="*/ 1240170 h 1300480"/>
                <a:gd name="connsiteX6" fmla="*/ 653736 w 950976"/>
                <a:gd name="connsiteY6" fmla="*/ 1301862 h 1300480"/>
                <a:gd name="connsiteX7" fmla="*/ 6096 w 950976"/>
                <a:gd name="connsiteY7" fmla="*/ 653735 h 1300480"/>
                <a:gd name="connsiteX8" fmla="*/ 654304 w 950976"/>
                <a:gd name="connsiteY8" fmla="*/ 6096 h 1300480"/>
                <a:gd name="connsiteX9" fmla="*/ 948050 w 950976"/>
                <a:gd name="connsiteY9" fmla="*/ 76647 h 1300480"/>
                <a:gd name="connsiteX10" fmla="*/ 889935 w 950976"/>
                <a:gd name="connsiteY10" fmla="*/ 286350 h 13004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950976" h="1300480">
                  <a:moveTo>
                    <a:pt x="889935" y="286350"/>
                  </a:moveTo>
                  <a:cubicBezTo>
                    <a:pt x="686735" y="155814"/>
                    <a:pt x="416235" y="214661"/>
                    <a:pt x="285618" y="417779"/>
                  </a:cubicBezTo>
                  <a:cubicBezTo>
                    <a:pt x="155082" y="620979"/>
                    <a:pt x="213929" y="891479"/>
                    <a:pt x="417047" y="1022096"/>
                  </a:cubicBezTo>
                  <a:cubicBezTo>
                    <a:pt x="487599" y="1067369"/>
                    <a:pt x="569610" y="1091509"/>
                    <a:pt x="653410" y="1091509"/>
                  </a:cubicBezTo>
                  <a:cubicBezTo>
                    <a:pt x="752571" y="1091753"/>
                    <a:pt x="849051" y="1058753"/>
                    <a:pt x="927242" y="997712"/>
                  </a:cubicBezTo>
                  <a:lnTo>
                    <a:pt x="927242" y="1240170"/>
                  </a:lnTo>
                  <a:cubicBezTo>
                    <a:pt x="841817" y="1280892"/>
                    <a:pt x="748345" y="1302024"/>
                    <a:pt x="653736" y="1301862"/>
                  </a:cubicBezTo>
                  <a:cubicBezTo>
                    <a:pt x="295941" y="1301699"/>
                    <a:pt x="5933" y="1011530"/>
                    <a:pt x="6096" y="653735"/>
                  </a:cubicBezTo>
                  <a:cubicBezTo>
                    <a:pt x="6259" y="295941"/>
                    <a:pt x="296428" y="5934"/>
                    <a:pt x="654304" y="6096"/>
                  </a:cubicBezTo>
                  <a:cubicBezTo>
                    <a:pt x="756391" y="6096"/>
                    <a:pt x="857097" y="30318"/>
                    <a:pt x="948050" y="76647"/>
                  </a:cubicBezTo>
                  <a:lnTo>
                    <a:pt x="889935" y="28635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35" name="Forma libre: forma 34">
              <a:extLst>
                <a:ext uri="{FF2B5EF4-FFF2-40B4-BE49-F238E27FC236}">
                  <a16:creationId xmlns:a16="http://schemas.microsoft.com/office/drawing/2014/main" id="{A476CD57-A992-4528-BF6B-D66E6633611D}"/>
                </a:ext>
              </a:extLst>
            </p:cNvPr>
            <p:cNvSpPr/>
            <p:nvPr/>
          </p:nvSpPr>
          <p:spPr>
            <a:xfrm>
              <a:off x="6886773" y="2794041"/>
              <a:ext cx="1276096" cy="1267968"/>
            </a:xfrm>
            <a:custGeom>
              <a:avLst/>
              <a:gdLst>
                <a:gd name="connsiteX0" fmla="*/ 1060135 w 1276096"/>
                <a:gd name="connsiteY0" fmla="*/ 1267968 h 1267968"/>
                <a:gd name="connsiteX1" fmla="*/ 1273007 w 1276096"/>
                <a:gd name="connsiteY1" fmla="*/ 1267968 h 1267968"/>
                <a:gd name="connsiteX2" fmla="*/ 900501 w 1276096"/>
                <a:gd name="connsiteY2" fmla="*/ 149962 h 1267968"/>
                <a:gd name="connsiteX3" fmla="*/ 700959 w 1276096"/>
                <a:gd name="connsiteY3" fmla="*/ 6096 h 1267968"/>
                <a:gd name="connsiteX4" fmla="*/ 426801 w 1276096"/>
                <a:gd name="connsiteY4" fmla="*/ 6096 h 1267968"/>
                <a:gd name="connsiteX5" fmla="*/ 6096 w 1276096"/>
                <a:gd name="connsiteY5" fmla="*/ 1268212 h 1267968"/>
                <a:gd name="connsiteX6" fmla="*/ 218968 w 1276096"/>
                <a:gd name="connsiteY6" fmla="*/ 1268212 h 1267968"/>
                <a:gd name="connsiteX7" fmla="*/ 324145 w 1276096"/>
                <a:gd name="connsiteY7" fmla="*/ 952683 h 1267968"/>
                <a:gd name="connsiteX8" fmla="*/ 673649 w 1276096"/>
                <a:gd name="connsiteY8" fmla="*/ 952683 h 1267968"/>
                <a:gd name="connsiteX9" fmla="*/ 884001 w 1276096"/>
                <a:gd name="connsiteY9" fmla="*/ 742330 h 1267968"/>
                <a:gd name="connsiteX10" fmla="*/ 884001 w 1276096"/>
                <a:gd name="connsiteY10" fmla="*/ 742330 h 1267968"/>
                <a:gd name="connsiteX11" fmla="*/ 394127 w 1276096"/>
                <a:gd name="connsiteY11" fmla="*/ 742330 h 1267968"/>
                <a:gd name="connsiteX12" fmla="*/ 639511 w 1276096"/>
                <a:gd name="connsiteY12" fmla="*/ 6096 h 1267968"/>
                <a:gd name="connsiteX13" fmla="*/ 1060135 w 1276096"/>
                <a:gd name="connsiteY13" fmla="*/ 1267968 h 126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276096" h="1267968">
                  <a:moveTo>
                    <a:pt x="1060135" y="1267968"/>
                  </a:moveTo>
                  <a:lnTo>
                    <a:pt x="1273007" y="1267968"/>
                  </a:lnTo>
                  <a:lnTo>
                    <a:pt x="900501" y="149962"/>
                  </a:lnTo>
                  <a:cubicBezTo>
                    <a:pt x="871891" y="64049"/>
                    <a:pt x="791505" y="6096"/>
                    <a:pt x="700959" y="6096"/>
                  </a:cubicBezTo>
                  <a:lnTo>
                    <a:pt x="426801" y="6096"/>
                  </a:lnTo>
                  <a:lnTo>
                    <a:pt x="6096" y="1268212"/>
                  </a:lnTo>
                  <a:lnTo>
                    <a:pt x="218968" y="1268212"/>
                  </a:lnTo>
                  <a:lnTo>
                    <a:pt x="324145" y="952683"/>
                  </a:lnTo>
                  <a:lnTo>
                    <a:pt x="673649" y="952683"/>
                  </a:lnTo>
                  <a:cubicBezTo>
                    <a:pt x="789798" y="952683"/>
                    <a:pt x="884001" y="858479"/>
                    <a:pt x="884001" y="742330"/>
                  </a:cubicBezTo>
                  <a:lnTo>
                    <a:pt x="884001" y="742330"/>
                  </a:lnTo>
                  <a:cubicBezTo>
                    <a:pt x="884001" y="742330"/>
                    <a:pt x="394127" y="742330"/>
                    <a:pt x="394127" y="742330"/>
                  </a:cubicBezTo>
                  <a:lnTo>
                    <a:pt x="639511" y="6096"/>
                  </a:lnTo>
                  <a:lnTo>
                    <a:pt x="1060135" y="126796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36" name="Forma libre: forma 35">
              <a:extLst>
                <a:ext uri="{FF2B5EF4-FFF2-40B4-BE49-F238E27FC236}">
                  <a16:creationId xmlns:a16="http://schemas.microsoft.com/office/drawing/2014/main" id="{52985E42-08F1-4B4D-858B-110C2757BFE0}"/>
                </a:ext>
              </a:extLst>
            </p:cNvPr>
            <p:cNvSpPr/>
            <p:nvPr/>
          </p:nvSpPr>
          <p:spPr>
            <a:xfrm>
              <a:off x="10918749" y="2794041"/>
              <a:ext cx="1276096" cy="1267968"/>
            </a:xfrm>
            <a:custGeom>
              <a:avLst/>
              <a:gdLst>
                <a:gd name="connsiteX0" fmla="*/ 1060380 w 1276096"/>
                <a:gd name="connsiteY0" fmla="*/ 1267968 h 1267968"/>
                <a:gd name="connsiteX1" fmla="*/ 1273251 w 1276096"/>
                <a:gd name="connsiteY1" fmla="*/ 1267968 h 1267968"/>
                <a:gd name="connsiteX2" fmla="*/ 900420 w 1276096"/>
                <a:gd name="connsiteY2" fmla="*/ 149962 h 1267968"/>
                <a:gd name="connsiteX3" fmla="*/ 700877 w 1276096"/>
                <a:gd name="connsiteY3" fmla="*/ 6096 h 1267968"/>
                <a:gd name="connsiteX4" fmla="*/ 426801 w 1276096"/>
                <a:gd name="connsiteY4" fmla="*/ 6096 h 1267968"/>
                <a:gd name="connsiteX5" fmla="*/ 6096 w 1276096"/>
                <a:gd name="connsiteY5" fmla="*/ 1268212 h 1267968"/>
                <a:gd name="connsiteX6" fmla="*/ 218969 w 1276096"/>
                <a:gd name="connsiteY6" fmla="*/ 1268212 h 1267968"/>
                <a:gd name="connsiteX7" fmla="*/ 324145 w 1276096"/>
                <a:gd name="connsiteY7" fmla="*/ 952683 h 1267968"/>
                <a:gd name="connsiteX8" fmla="*/ 673649 w 1276096"/>
                <a:gd name="connsiteY8" fmla="*/ 952683 h 1267968"/>
                <a:gd name="connsiteX9" fmla="*/ 884001 w 1276096"/>
                <a:gd name="connsiteY9" fmla="*/ 742330 h 1267968"/>
                <a:gd name="connsiteX10" fmla="*/ 884001 w 1276096"/>
                <a:gd name="connsiteY10" fmla="*/ 742330 h 1267968"/>
                <a:gd name="connsiteX11" fmla="*/ 394127 w 1276096"/>
                <a:gd name="connsiteY11" fmla="*/ 742330 h 1267968"/>
                <a:gd name="connsiteX12" fmla="*/ 639512 w 1276096"/>
                <a:gd name="connsiteY12" fmla="*/ 6096 h 1267968"/>
                <a:gd name="connsiteX13" fmla="*/ 1060380 w 1276096"/>
                <a:gd name="connsiteY13" fmla="*/ 1267968 h 126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276096" h="1267968">
                  <a:moveTo>
                    <a:pt x="1060380" y="1267968"/>
                  </a:moveTo>
                  <a:lnTo>
                    <a:pt x="1273251" y="1267968"/>
                  </a:lnTo>
                  <a:lnTo>
                    <a:pt x="900420" y="149962"/>
                  </a:lnTo>
                  <a:cubicBezTo>
                    <a:pt x="871809" y="64049"/>
                    <a:pt x="791423" y="6096"/>
                    <a:pt x="700877" y="6096"/>
                  </a:cubicBezTo>
                  <a:lnTo>
                    <a:pt x="426801" y="6096"/>
                  </a:lnTo>
                  <a:lnTo>
                    <a:pt x="6096" y="1268212"/>
                  </a:lnTo>
                  <a:lnTo>
                    <a:pt x="218969" y="1268212"/>
                  </a:lnTo>
                  <a:lnTo>
                    <a:pt x="324145" y="952683"/>
                  </a:lnTo>
                  <a:lnTo>
                    <a:pt x="673649" y="952683"/>
                  </a:lnTo>
                  <a:cubicBezTo>
                    <a:pt x="789798" y="952683"/>
                    <a:pt x="884001" y="858479"/>
                    <a:pt x="884001" y="742330"/>
                  </a:cubicBezTo>
                  <a:lnTo>
                    <a:pt x="884001" y="742330"/>
                  </a:lnTo>
                  <a:cubicBezTo>
                    <a:pt x="884001" y="742330"/>
                    <a:pt x="394127" y="742330"/>
                    <a:pt x="394127" y="742330"/>
                  </a:cubicBezTo>
                  <a:lnTo>
                    <a:pt x="639512" y="6096"/>
                  </a:lnTo>
                  <a:lnTo>
                    <a:pt x="1060380" y="126796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</p:grpSp>
    </p:spTree>
    <p:extLst>
      <p:ext uri="{BB962C8B-B14F-4D97-AF65-F5344CB8AC3E}">
        <p14:creationId xmlns:p14="http://schemas.microsoft.com/office/powerpoint/2010/main" val="350774850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5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25E-6 0.03889 L 1.25E-6 1.85185E-6 " pathEditMode="relative" rAng="0" ptsTypes="AA">
                                      <p:cBhvr>
                                        <p:cTn id="9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944"/>
                                    </p:animMotion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25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1666 -0.00046 L 3.75E-6 1.85185E-6 " pathEditMode="relative" rAng="0" ptsTypes="AA">
                                      <p:cBhvr>
                                        <p:cTn id="14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833" y="23"/>
                                    </p:animMotion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25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3.75E-6 -0.03472 L -3.75E-6 1.85185E-6 " pathEditMode="relative" rAng="0" ptsTypes="AA">
                                      <p:cBhvr>
                                        <p:cTn id="19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736"/>
                                    </p:animMotion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6" grpId="1"/>
      <p:bldP spid="7" grpId="0">
        <p:tmplLst>
          <p:tmpl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250"/>
                        <p:tgtEl>
                          <p:spTgt spid="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7" grpId="1">
        <p:tmplLst>
          <p:tmpl>
            <p:tnLst>
              <p:par>
                <p:cTn presetID="42" presetClass="path" presetSubtype="0" decel="100000" fill="hold" nodeType="withEffect">
                  <p:stCondLst>
                    <p:cond delay="0"/>
                  </p:stCondLst>
                  <p:childTnLst>
                    <p:animMotion origin="layout" path="M -3.75E-6 -0.03472 L -3.75E-6 1.85185E-6 " pathEditMode="relative" rAng="0" ptsTypes="AA">
                      <p:cBhvr>
                        <p:cTn dur="500" fill="hold"/>
                        <p:tgtEl>
                          <p:spTgt spid="7"/>
                        </p:tgtEl>
                        <p:attrNameLst>
                          <p:attrName>ppt_x</p:attrName>
                          <p:attrName>ppt_y</p:attrName>
                        </p:attrNameLst>
                      </p:cBhvr>
                      <p:rCtr x="0" y="1736"/>
                    </p:animMotion>
                  </p:childTnLst>
                </p:cTn>
              </p:par>
            </p:tnLst>
          </p:tmpl>
        </p:tmplLst>
      </p:bldP>
      <p:bldP spid="8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9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0" grpId="0" animBg="1"/>
      <p:bldP spid="10" grpId="1" animBg="1"/>
    </p:bldLst>
  </p:timing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4_Esquema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9" name="Imagem 98">
            <a:extLst>
              <a:ext uri="{FF2B5EF4-FFF2-40B4-BE49-F238E27FC236}">
                <a16:creationId xmlns:a16="http://schemas.microsoft.com/office/drawing/2014/main" id="{BAC70196-6D2F-5441-C377-E88EFCB238E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 l="23581" t="60527" r="14745" b="14633"/>
          <a:stretch>
            <a:fillRect/>
          </a:stretch>
        </p:blipFill>
        <p:spPr>
          <a:xfrm rot="5400000" flipV="1">
            <a:off x="-1479959" y="2658555"/>
            <a:ext cx="4955814" cy="1995897"/>
          </a:xfrm>
          <a:prstGeom prst="rect">
            <a:avLst/>
          </a:prstGeom>
        </p:spPr>
      </p:pic>
      <p:sp>
        <p:nvSpPr>
          <p:cNvPr id="10" name="TextBox 52">
            <a:extLst>
              <a:ext uri="{FF2B5EF4-FFF2-40B4-BE49-F238E27FC236}">
                <a16:creationId xmlns:a16="http://schemas.microsoft.com/office/drawing/2014/main" id="{9C10797F-3204-54E3-DD6C-3105FB3BDF52}"/>
              </a:ext>
            </a:extLst>
          </p:cNvPr>
          <p:cNvSpPr txBox="1"/>
          <p:nvPr userDrawn="1"/>
        </p:nvSpPr>
        <p:spPr>
          <a:xfrm>
            <a:off x="1135659" y="3087115"/>
            <a:ext cx="1492549" cy="569389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t"/>
          <a:lstStyle>
            <a:defPPr>
              <a:defRPr lang="en-US"/>
            </a:defPPr>
            <a:lvl1pPr algn="ctr">
              <a:defRPr sz="1300">
                <a:solidFill>
                  <a:schemeClr val="lt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Verdana" panose="020B0604030504040204" pitchFamily="34" charset="0"/>
                <a:ea typeface="+mn-ea"/>
                <a:cs typeface="+mn-cs"/>
              </a:rPr>
              <a:t>Service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Verdana" panose="020B0604030504040204" pitchFamily="34" charset="0"/>
                <a:ea typeface="+mn-ea"/>
                <a:cs typeface="+mn-cs"/>
              </a:rPr>
              <a:t>Management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Verdana" panose="020B0604030504040204" pitchFamily="34" charset="0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Verdana" panose="020B0604030504040204" pitchFamily="34" charset="0"/>
              <a:ea typeface="+mn-ea"/>
              <a:cs typeface="+mn-cs"/>
            </a:endParaRPr>
          </a:p>
          <a:p>
            <a:pPr marL="85725" marR="0" lvl="0" indent="-8572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pt-PT" sz="12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Verdana" panose="020B0604030504040204" pitchFamily="34" charset="0"/>
              <a:ea typeface="+mn-ea"/>
              <a:cs typeface="+mn-cs"/>
            </a:endParaRPr>
          </a:p>
        </p:txBody>
      </p:sp>
      <p:sp>
        <p:nvSpPr>
          <p:cNvPr id="11" name="TextBox 32">
            <a:extLst>
              <a:ext uri="{FF2B5EF4-FFF2-40B4-BE49-F238E27FC236}">
                <a16:creationId xmlns:a16="http://schemas.microsoft.com/office/drawing/2014/main" id="{93A90110-2496-437F-1B3B-3162F80153FA}"/>
              </a:ext>
            </a:extLst>
          </p:cNvPr>
          <p:cNvSpPr txBox="1"/>
          <p:nvPr userDrawn="1"/>
        </p:nvSpPr>
        <p:spPr>
          <a:xfrm>
            <a:off x="1197498" y="4180647"/>
            <a:ext cx="1368870" cy="1206648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t"/>
          <a:lstStyle>
            <a:defPPr>
              <a:defRPr lang="en-US"/>
            </a:defPPr>
            <a:lvl1pPr algn="ctr">
              <a:defRPr sz="1300">
                <a:solidFill>
                  <a:schemeClr val="lt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prstClr val="white"/>
              </a:buClr>
              <a:buSzTx/>
              <a:buFont typeface="Calibri" panose="020F0502020204030204" pitchFamily="34" charset="0"/>
              <a:buChar char="&gt;"/>
              <a:tabLst/>
              <a:defRPr/>
            </a:pPr>
            <a:r>
              <a:rPr kumimoji="0" lang="pt-PT" sz="9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Verdana" panose="020B0604030504040204" pitchFamily="34" charset="0"/>
                <a:ea typeface="+mn-ea"/>
                <a:cs typeface="+mn-cs"/>
              </a:rPr>
              <a:t>Contract Management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prstClr val="white"/>
              </a:buClr>
              <a:buSzTx/>
              <a:buFont typeface="Calibri" panose="020F0502020204030204" pitchFamily="34" charset="0"/>
              <a:buChar char="&gt;"/>
              <a:tabLst/>
              <a:defRPr/>
            </a:pPr>
            <a:r>
              <a:rPr kumimoji="0" lang="pt-PT" sz="9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Verdana" panose="020B0604030504040204" pitchFamily="34" charset="0"/>
                <a:ea typeface="+mn-ea"/>
                <a:cs typeface="+mn-cs"/>
              </a:rPr>
              <a:t>KPIs/SLAs &amp; Monitoring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prstClr val="white"/>
              </a:buClr>
              <a:buSzTx/>
              <a:buFont typeface="Calibri" panose="020F0502020204030204" pitchFamily="34" charset="0"/>
              <a:buChar char="&gt;"/>
              <a:tabLst/>
              <a:defRPr/>
            </a:pPr>
            <a:r>
              <a:rPr kumimoji="0" lang="pt-PT" sz="9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Verdana" panose="020B0604030504040204" pitchFamily="34" charset="0"/>
                <a:ea typeface="+mn-ea"/>
                <a:cs typeface="+mn-cs"/>
              </a:rPr>
              <a:t>Governance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prstClr val="white"/>
              </a:buClr>
              <a:buSzTx/>
              <a:buFont typeface="Calibri" panose="020F0502020204030204" pitchFamily="34" charset="0"/>
              <a:buChar char="&gt;"/>
              <a:tabLst/>
              <a:defRPr/>
            </a:pPr>
            <a:r>
              <a:rPr kumimoji="0" lang="pt-PT" sz="9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Verdana" panose="020B0604030504040204" pitchFamily="34" charset="0"/>
                <a:ea typeface="+mn-ea"/>
                <a:cs typeface="+mn-cs"/>
              </a:rPr>
              <a:t>Communication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prstClr val="white"/>
              </a:buClr>
              <a:buSzTx/>
              <a:buFont typeface="Calibri" panose="020F0502020204030204" pitchFamily="34" charset="0"/>
              <a:buChar char="&gt;"/>
              <a:tabLst/>
              <a:defRPr/>
            </a:pPr>
            <a:r>
              <a:rPr kumimoji="0" lang="pt-PT" sz="9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Verdana" panose="020B0604030504040204" pitchFamily="34" charset="0"/>
                <a:ea typeface="+mn-ea"/>
                <a:cs typeface="+mn-cs"/>
              </a:rPr>
              <a:t>Processes &amp; Procedures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prstClr val="white"/>
              </a:buClr>
              <a:buSzTx/>
              <a:buFont typeface="Calibri" panose="020F0502020204030204" pitchFamily="34" charset="0"/>
              <a:buChar char="&gt;"/>
              <a:tabLst/>
              <a:defRPr/>
            </a:pPr>
            <a:r>
              <a:rPr kumimoji="0" lang="pt-PT" sz="9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Verdana" panose="020B0604030504040204" pitchFamily="34" charset="0"/>
                <a:ea typeface="+mn-ea"/>
                <a:cs typeface="+mn-cs"/>
              </a:rPr>
              <a:t>Continuous Improvement</a:t>
            </a:r>
          </a:p>
        </p:txBody>
      </p:sp>
      <p:sp>
        <p:nvSpPr>
          <p:cNvPr id="12" name="Retângulo 205">
            <a:extLst>
              <a:ext uri="{FF2B5EF4-FFF2-40B4-BE49-F238E27FC236}">
                <a16:creationId xmlns:a16="http://schemas.microsoft.com/office/drawing/2014/main" id="{B1893447-3C43-7F99-CE09-693793F85FFD}"/>
              </a:ext>
            </a:extLst>
          </p:cNvPr>
          <p:cNvSpPr/>
          <p:nvPr userDrawn="1"/>
        </p:nvSpPr>
        <p:spPr>
          <a:xfrm rot="16200000" flipH="1">
            <a:off x="10939604" y="2104492"/>
            <a:ext cx="422172" cy="745445"/>
          </a:xfrm>
          <a:custGeom>
            <a:avLst/>
            <a:gdLst>
              <a:gd name="connsiteX0" fmla="*/ 0 w 1635417"/>
              <a:gd name="connsiteY0" fmla="*/ 0 h 1179213"/>
              <a:gd name="connsiteX1" fmla="*/ 1635417 w 1635417"/>
              <a:gd name="connsiteY1" fmla="*/ 0 h 1179213"/>
              <a:gd name="connsiteX2" fmla="*/ 1635417 w 1635417"/>
              <a:gd name="connsiteY2" fmla="*/ 1179213 h 1179213"/>
              <a:gd name="connsiteX3" fmla="*/ 0 w 1635417"/>
              <a:gd name="connsiteY3" fmla="*/ 1179213 h 1179213"/>
              <a:gd name="connsiteX4" fmla="*/ 0 w 1635417"/>
              <a:gd name="connsiteY4" fmla="*/ 0 h 1179213"/>
              <a:gd name="connsiteX0" fmla="*/ 1635417 w 1726857"/>
              <a:gd name="connsiteY0" fmla="*/ 0 h 1179213"/>
              <a:gd name="connsiteX1" fmla="*/ 1635417 w 1726857"/>
              <a:gd name="connsiteY1" fmla="*/ 1179213 h 1179213"/>
              <a:gd name="connsiteX2" fmla="*/ 0 w 1726857"/>
              <a:gd name="connsiteY2" fmla="*/ 1179213 h 1179213"/>
              <a:gd name="connsiteX3" fmla="*/ 0 w 1726857"/>
              <a:gd name="connsiteY3" fmla="*/ 0 h 1179213"/>
              <a:gd name="connsiteX4" fmla="*/ 1726857 w 1726857"/>
              <a:gd name="connsiteY4" fmla="*/ 91440 h 1179213"/>
              <a:gd name="connsiteX0" fmla="*/ 1635417 w 1635417"/>
              <a:gd name="connsiteY0" fmla="*/ 0 h 1179213"/>
              <a:gd name="connsiteX1" fmla="*/ 1635417 w 1635417"/>
              <a:gd name="connsiteY1" fmla="*/ 1179213 h 1179213"/>
              <a:gd name="connsiteX2" fmla="*/ 0 w 1635417"/>
              <a:gd name="connsiteY2" fmla="*/ 1179213 h 1179213"/>
              <a:gd name="connsiteX3" fmla="*/ 0 w 1635417"/>
              <a:gd name="connsiteY3" fmla="*/ 0 h 1179213"/>
              <a:gd name="connsiteX0" fmla="*/ 1635417 w 1635417"/>
              <a:gd name="connsiteY0" fmla="*/ 1179213 h 1179213"/>
              <a:gd name="connsiteX1" fmla="*/ 0 w 1635417"/>
              <a:gd name="connsiteY1" fmla="*/ 1179213 h 1179213"/>
              <a:gd name="connsiteX2" fmla="*/ 0 w 1635417"/>
              <a:gd name="connsiteY2" fmla="*/ 0 h 11792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635417" h="1179213">
                <a:moveTo>
                  <a:pt x="1635417" y="1179213"/>
                </a:moveTo>
                <a:lnTo>
                  <a:pt x="0" y="1179213"/>
                </a:lnTo>
                <a:lnTo>
                  <a:pt x="0" y="0"/>
                </a:lnTo>
              </a:path>
            </a:pathLst>
          </a:custGeom>
          <a:noFill/>
          <a:ln w="6350" cap="sq"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  <p:sp>
        <p:nvSpPr>
          <p:cNvPr id="13" name="Retângulo 205">
            <a:extLst>
              <a:ext uri="{FF2B5EF4-FFF2-40B4-BE49-F238E27FC236}">
                <a16:creationId xmlns:a16="http://schemas.microsoft.com/office/drawing/2014/main" id="{3D45F651-8562-A06D-BE27-A876D97EBF62}"/>
              </a:ext>
            </a:extLst>
          </p:cNvPr>
          <p:cNvSpPr/>
          <p:nvPr userDrawn="1"/>
        </p:nvSpPr>
        <p:spPr>
          <a:xfrm rot="5400000">
            <a:off x="3291848" y="2104494"/>
            <a:ext cx="422172" cy="745445"/>
          </a:xfrm>
          <a:custGeom>
            <a:avLst/>
            <a:gdLst>
              <a:gd name="connsiteX0" fmla="*/ 0 w 1635417"/>
              <a:gd name="connsiteY0" fmla="*/ 0 h 1179213"/>
              <a:gd name="connsiteX1" fmla="*/ 1635417 w 1635417"/>
              <a:gd name="connsiteY1" fmla="*/ 0 h 1179213"/>
              <a:gd name="connsiteX2" fmla="*/ 1635417 w 1635417"/>
              <a:gd name="connsiteY2" fmla="*/ 1179213 h 1179213"/>
              <a:gd name="connsiteX3" fmla="*/ 0 w 1635417"/>
              <a:gd name="connsiteY3" fmla="*/ 1179213 h 1179213"/>
              <a:gd name="connsiteX4" fmla="*/ 0 w 1635417"/>
              <a:gd name="connsiteY4" fmla="*/ 0 h 1179213"/>
              <a:gd name="connsiteX0" fmla="*/ 1635417 w 1726857"/>
              <a:gd name="connsiteY0" fmla="*/ 0 h 1179213"/>
              <a:gd name="connsiteX1" fmla="*/ 1635417 w 1726857"/>
              <a:gd name="connsiteY1" fmla="*/ 1179213 h 1179213"/>
              <a:gd name="connsiteX2" fmla="*/ 0 w 1726857"/>
              <a:gd name="connsiteY2" fmla="*/ 1179213 h 1179213"/>
              <a:gd name="connsiteX3" fmla="*/ 0 w 1726857"/>
              <a:gd name="connsiteY3" fmla="*/ 0 h 1179213"/>
              <a:gd name="connsiteX4" fmla="*/ 1726857 w 1726857"/>
              <a:gd name="connsiteY4" fmla="*/ 91440 h 1179213"/>
              <a:gd name="connsiteX0" fmla="*/ 1635417 w 1635417"/>
              <a:gd name="connsiteY0" fmla="*/ 0 h 1179213"/>
              <a:gd name="connsiteX1" fmla="*/ 1635417 w 1635417"/>
              <a:gd name="connsiteY1" fmla="*/ 1179213 h 1179213"/>
              <a:gd name="connsiteX2" fmla="*/ 0 w 1635417"/>
              <a:gd name="connsiteY2" fmla="*/ 1179213 h 1179213"/>
              <a:gd name="connsiteX3" fmla="*/ 0 w 1635417"/>
              <a:gd name="connsiteY3" fmla="*/ 0 h 1179213"/>
              <a:gd name="connsiteX0" fmla="*/ 1635417 w 1635417"/>
              <a:gd name="connsiteY0" fmla="*/ 1179213 h 1179213"/>
              <a:gd name="connsiteX1" fmla="*/ 0 w 1635417"/>
              <a:gd name="connsiteY1" fmla="*/ 1179213 h 1179213"/>
              <a:gd name="connsiteX2" fmla="*/ 0 w 1635417"/>
              <a:gd name="connsiteY2" fmla="*/ 0 h 11792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635417" h="1179213">
                <a:moveTo>
                  <a:pt x="1635417" y="1179213"/>
                </a:moveTo>
                <a:lnTo>
                  <a:pt x="0" y="1179213"/>
                </a:lnTo>
                <a:lnTo>
                  <a:pt x="0" y="0"/>
                </a:lnTo>
              </a:path>
            </a:pathLst>
          </a:custGeom>
          <a:noFill/>
          <a:ln w="6350" cap="sq"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  <p:sp>
        <p:nvSpPr>
          <p:cNvPr id="18" name="Retângulo 205">
            <a:extLst>
              <a:ext uri="{FF2B5EF4-FFF2-40B4-BE49-F238E27FC236}">
                <a16:creationId xmlns:a16="http://schemas.microsoft.com/office/drawing/2014/main" id="{8B6D7F9E-E3C5-661A-FC55-2B8E1E991C0C}"/>
              </a:ext>
            </a:extLst>
          </p:cNvPr>
          <p:cNvSpPr/>
          <p:nvPr userDrawn="1"/>
        </p:nvSpPr>
        <p:spPr>
          <a:xfrm rot="16200000" flipV="1">
            <a:off x="5021452" y="1007502"/>
            <a:ext cx="422172" cy="4204654"/>
          </a:xfrm>
          <a:custGeom>
            <a:avLst/>
            <a:gdLst>
              <a:gd name="connsiteX0" fmla="*/ 0 w 1635417"/>
              <a:gd name="connsiteY0" fmla="*/ 0 h 1179213"/>
              <a:gd name="connsiteX1" fmla="*/ 1635417 w 1635417"/>
              <a:gd name="connsiteY1" fmla="*/ 0 h 1179213"/>
              <a:gd name="connsiteX2" fmla="*/ 1635417 w 1635417"/>
              <a:gd name="connsiteY2" fmla="*/ 1179213 h 1179213"/>
              <a:gd name="connsiteX3" fmla="*/ 0 w 1635417"/>
              <a:gd name="connsiteY3" fmla="*/ 1179213 h 1179213"/>
              <a:gd name="connsiteX4" fmla="*/ 0 w 1635417"/>
              <a:gd name="connsiteY4" fmla="*/ 0 h 1179213"/>
              <a:gd name="connsiteX0" fmla="*/ 1635417 w 1726857"/>
              <a:gd name="connsiteY0" fmla="*/ 0 h 1179213"/>
              <a:gd name="connsiteX1" fmla="*/ 1635417 w 1726857"/>
              <a:gd name="connsiteY1" fmla="*/ 1179213 h 1179213"/>
              <a:gd name="connsiteX2" fmla="*/ 0 w 1726857"/>
              <a:gd name="connsiteY2" fmla="*/ 1179213 h 1179213"/>
              <a:gd name="connsiteX3" fmla="*/ 0 w 1726857"/>
              <a:gd name="connsiteY3" fmla="*/ 0 h 1179213"/>
              <a:gd name="connsiteX4" fmla="*/ 1726857 w 1726857"/>
              <a:gd name="connsiteY4" fmla="*/ 91440 h 1179213"/>
              <a:gd name="connsiteX0" fmla="*/ 1635417 w 1635417"/>
              <a:gd name="connsiteY0" fmla="*/ 0 h 1179213"/>
              <a:gd name="connsiteX1" fmla="*/ 1635417 w 1635417"/>
              <a:gd name="connsiteY1" fmla="*/ 1179213 h 1179213"/>
              <a:gd name="connsiteX2" fmla="*/ 0 w 1635417"/>
              <a:gd name="connsiteY2" fmla="*/ 1179213 h 1179213"/>
              <a:gd name="connsiteX3" fmla="*/ 0 w 1635417"/>
              <a:gd name="connsiteY3" fmla="*/ 0 h 1179213"/>
              <a:gd name="connsiteX0" fmla="*/ 1635417 w 1635417"/>
              <a:gd name="connsiteY0" fmla="*/ 1179213 h 1179213"/>
              <a:gd name="connsiteX1" fmla="*/ 0 w 1635417"/>
              <a:gd name="connsiteY1" fmla="*/ 1179213 h 1179213"/>
              <a:gd name="connsiteX2" fmla="*/ 0 w 1635417"/>
              <a:gd name="connsiteY2" fmla="*/ 0 h 11792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635417" h="1179213">
                <a:moveTo>
                  <a:pt x="1635417" y="1179213"/>
                </a:moveTo>
                <a:lnTo>
                  <a:pt x="0" y="1179213"/>
                </a:lnTo>
                <a:lnTo>
                  <a:pt x="0" y="0"/>
                </a:lnTo>
              </a:path>
            </a:pathLst>
          </a:custGeom>
          <a:noFill/>
          <a:ln w="6350" cap="sq"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  <p:sp>
        <p:nvSpPr>
          <p:cNvPr id="19" name="Retângulo 205">
            <a:extLst>
              <a:ext uri="{FF2B5EF4-FFF2-40B4-BE49-F238E27FC236}">
                <a16:creationId xmlns:a16="http://schemas.microsoft.com/office/drawing/2014/main" id="{00FBB3B6-DFB6-E34C-BAC8-5A267C211A4C}"/>
              </a:ext>
            </a:extLst>
          </p:cNvPr>
          <p:cNvSpPr/>
          <p:nvPr userDrawn="1"/>
        </p:nvSpPr>
        <p:spPr>
          <a:xfrm rot="5400000" flipH="1" flipV="1">
            <a:off x="9210000" y="1007502"/>
            <a:ext cx="422172" cy="4204654"/>
          </a:xfrm>
          <a:custGeom>
            <a:avLst/>
            <a:gdLst>
              <a:gd name="connsiteX0" fmla="*/ 0 w 1635417"/>
              <a:gd name="connsiteY0" fmla="*/ 0 h 1179213"/>
              <a:gd name="connsiteX1" fmla="*/ 1635417 w 1635417"/>
              <a:gd name="connsiteY1" fmla="*/ 0 h 1179213"/>
              <a:gd name="connsiteX2" fmla="*/ 1635417 w 1635417"/>
              <a:gd name="connsiteY2" fmla="*/ 1179213 h 1179213"/>
              <a:gd name="connsiteX3" fmla="*/ 0 w 1635417"/>
              <a:gd name="connsiteY3" fmla="*/ 1179213 h 1179213"/>
              <a:gd name="connsiteX4" fmla="*/ 0 w 1635417"/>
              <a:gd name="connsiteY4" fmla="*/ 0 h 1179213"/>
              <a:gd name="connsiteX0" fmla="*/ 1635417 w 1726857"/>
              <a:gd name="connsiteY0" fmla="*/ 0 h 1179213"/>
              <a:gd name="connsiteX1" fmla="*/ 1635417 w 1726857"/>
              <a:gd name="connsiteY1" fmla="*/ 1179213 h 1179213"/>
              <a:gd name="connsiteX2" fmla="*/ 0 w 1726857"/>
              <a:gd name="connsiteY2" fmla="*/ 1179213 h 1179213"/>
              <a:gd name="connsiteX3" fmla="*/ 0 w 1726857"/>
              <a:gd name="connsiteY3" fmla="*/ 0 h 1179213"/>
              <a:gd name="connsiteX4" fmla="*/ 1726857 w 1726857"/>
              <a:gd name="connsiteY4" fmla="*/ 91440 h 1179213"/>
              <a:gd name="connsiteX0" fmla="*/ 1635417 w 1635417"/>
              <a:gd name="connsiteY0" fmla="*/ 0 h 1179213"/>
              <a:gd name="connsiteX1" fmla="*/ 1635417 w 1635417"/>
              <a:gd name="connsiteY1" fmla="*/ 1179213 h 1179213"/>
              <a:gd name="connsiteX2" fmla="*/ 0 w 1635417"/>
              <a:gd name="connsiteY2" fmla="*/ 1179213 h 1179213"/>
              <a:gd name="connsiteX3" fmla="*/ 0 w 1635417"/>
              <a:gd name="connsiteY3" fmla="*/ 0 h 1179213"/>
              <a:gd name="connsiteX0" fmla="*/ 1635417 w 1635417"/>
              <a:gd name="connsiteY0" fmla="*/ 1179213 h 1179213"/>
              <a:gd name="connsiteX1" fmla="*/ 0 w 1635417"/>
              <a:gd name="connsiteY1" fmla="*/ 1179213 h 1179213"/>
              <a:gd name="connsiteX2" fmla="*/ 0 w 1635417"/>
              <a:gd name="connsiteY2" fmla="*/ 0 h 11792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635417" h="1179213">
                <a:moveTo>
                  <a:pt x="1635417" y="1179213"/>
                </a:moveTo>
                <a:lnTo>
                  <a:pt x="0" y="1179213"/>
                </a:lnTo>
                <a:lnTo>
                  <a:pt x="0" y="0"/>
                </a:lnTo>
              </a:path>
            </a:pathLst>
          </a:custGeom>
          <a:noFill/>
          <a:ln w="6350" cap="sq"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  <p:sp>
        <p:nvSpPr>
          <p:cNvPr id="36" name="Retângulo 205">
            <a:extLst>
              <a:ext uri="{FF2B5EF4-FFF2-40B4-BE49-F238E27FC236}">
                <a16:creationId xmlns:a16="http://schemas.microsoft.com/office/drawing/2014/main" id="{9BE77BAE-02A1-C390-9E44-CF539B23FCB9}"/>
              </a:ext>
            </a:extLst>
          </p:cNvPr>
          <p:cNvSpPr/>
          <p:nvPr userDrawn="1"/>
        </p:nvSpPr>
        <p:spPr>
          <a:xfrm rot="5400000">
            <a:off x="5060456" y="3369248"/>
            <a:ext cx="344164" cy="4204654"/>
          </a:xfrm>
          <a:custGeom>
            <a:avLst/>
            <a:gdLst>
              <a:gd name="connsiteX0" fmla="*/ 0 w 1635417"/>
              <a:gd name="connsiteY0" fmla="*/ 0 h 1179213"/>
              <a:gd name="connsiteX1" fmla="*/ 1635417 w 1635417"/>
              <a:gd name="connsiteY1" fmla="*/ 0 h 1179213"/>
              <a:gd name="connsiteX2" fmla="*/ 1635417 w 1635417"/>
              <a:gd name="connsiteY2" fmla="*/ 1179213 h 1179213"/>
              <a:gd name="connsiteX3" fmla="*/ 0 w 1635417"/>
              <a:gd name="connsiteY3" fmla="*/ 1179213 h 1179213"/>
              <a:gd name="connsiteX4" fmla="*/ 0 w 1635417"/>
              <a:gd name="connsiteY4" fmla="*/ 0 h 1179213"/>
              <a:gd name="connsiteX0" fmla="*/ 1635417 w 1726857"/>
              <a:gd name="connsiteY0" fmla="*/ 0 h 1179213"/>
              <a:gd name="connsiteX1" fmla="*/ 1635417 w 1726857"/>
              <a:gd name="connsiteY1" fmla="*/ 1179213 h 1179213"/>
              <a:gd name="connsiteX2" fmla="*/ 0 w 1726857"/>
              <a:gd name="connsiteY2" fmla="*/ 1179213 h 1179213"/>
              <a:gd name="connsiteX3" fmla="*/ 0 w 1726857"/>
              <a:gd name="connsiteY3" fmla="*/ 0 h 1179213"/>
              <a:gd name="connsiteX4" fmla="*/ 1726857 w 1726857"/>
              <a:gd name="connsiteY4" fmla="*/ 91440 h 1179213"/>
              <a:gd name="connsiteX0" fmla="*/ 1635417 w 1635417"/>
              <a:gd name="connsiteY0" fmla="*/ 0 h 1179213"/>
              <a:gd name="connsiteX1" fmla="*/ 1635417 w 1635417"/>
              <a:gd name="connsiteY1" fmla="*/ 1179213 h 1179213"/>
              <a:gd name="connsiteX2" fmla="*/ 0 w 1635417"/>
              <a:gd name="connsiteY2" fmla="*/ 1179213 h 1179213"/>
              <a:gd name="connsiteX3" fmla="*/ 0 w 1635417"/>
              <a:gd name="connsiteY3" fmla="*/ 0 h 1179213"/>
              <a:gd name="connsiteX0" fmla="*/ 1635417 w 1635417"/>
              <a:gd name="connsiteY0" fmla="*/ 1179213 h 1179213"/>
              <a:gd name="connsiteX1" fmla="*/ 0 w 1635417"/>
              <a:gd name="connsiteY1" fmla="*/ 1179213 h 1179213"/>
              <a:gd name="connsiteX2" fmla="*/ 0 w 1635417"/>
              <a:gd name="connsiteY2" fmla="*/ 0 h 11792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635417" h="1179213">
                <a:moveTo>
                  <a:pt x="1635417" y="1179213"/>
                </a:moveTo>
                <a:lnTo>
                  <a:pt x="0" y="1179213"/>
                </a:lnTo>
                <a:lnTo>
                  <a:pt x="0" y="0"/>
                </a:lnTo>
              </a:path>
            </a:pathLst>
          </a:custGeom>
          <a:noFill/>
          <a:ln w="6350" cap="sq"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  <p:sp>
        <p:nvSpPr>
          <p:cNvPr id="37" name="Retângulo 205">
            <a:extLst>
              <a:ext uri="{FF2B5EF4-FFF2-40B4-BE49-F238E27FC236}">
                <a16:creationId xmlns:a16="http://schemas.microsoft.com/office/drawing/2014/main" id="{A3720CAA-E0D7-64C4-4DBF-134A1B90F2F2}"/>
              </a:ext>
            </a:extLst>
          </p:cNvPr>
          <p:cNvSpPr/>
          <p:nvPr userDrawn="1"/>
        </p:nvSpPr>
        <p:spPr>
          <a:xfrm rot="16200000" flipH="1">
            <a:off x="9249004" y="3369248"/>
            <a:ext cx="344164" cy="4204654"/>
          </a:xfrm>
          <a:custGeom>
            <a:avLst/>
            <a:gdLst>
              <a:gd name="connsiteX0" fmla="*/ 0 w 1635417"/>
              <a:gd name="connsiteY0" fmla="*/ 0 h 1179213"/>
              <a:gd name="connsiteX1" fmla="*/ 1635417 w 1635417"/>
              <a:gd name="connsiteY1" fmla="*/ 0 h 1179213"/>
              <a:gd name="connsiteX2" fmla="*/ 1635417 w 1635417"/>
              <a:gd name="connsiteY2" fmla="*/ 1179213 h 1179213"/>
              <a:gd name="connsiteX3" fmla="*/ 0 w 1635417"/>
              <a:gd name="connsiteY3" fmla="*/ 1179213 h 1179213"/>
              <a:gd name="connsiteX4" fmla="*/ 0 w 1635417"/>
              <a:gd name="connsiteY4" fmla="*/ 0 h 1179213"/>
              <a:gd name="connsiteX0" fmla="*/ 1635417 w 1726857"/>
              <a:gd name="connsiteY0" fmla="*/ 0 h 1179213"/>
              <a:gd name="connsiteX1" fmla="*/ 1635417 w 1726857"/>
              <a:gd name="connsiteY1" fmla="*/ 1179213 h 1179213"/>
              <a:gd name="connsiteX2" fmla="*/ 0 w 1726857"/>
              <a:gd name="connsiteY2" fmla="*/ 1179213 h 1179213"/>
              <a:gd name="connsiteX3" fmla="*/ 0 w 1726857"/>
              <a:gd name="connsiteY3" fmla="*/ 0 h 1179213"/>
              <a:gd name="connsiteX4" fmla="*/ 1726857 w 1726857"/>
              <a:gd name="connsiteY4" fmla="*/ 91440 h 1179213"/>
              <a:gd name="connsiteX0" fmla="*/ 1635417 w 1635417"/>
              <a:gd name="connsiteY0" fmla="*/ 0 h 1179213"/>
              <a:gd name="connsiteX1" fmla="*/ 1635417 w 1635417"/>
              <a:gd name="connsiteY1" fmla="*/ 1179213 h 1179213"/>
              <a:gd name="connsiteX2" fmla="*/ 0 w 1635417"/>
              <a:gd name="connsiteY2" fmla="*/ 1179213 h 1179213"/>
              <a:gd name="connsiteX3" fmla="*/ 0 w 1635417"/>
              <a:gd name="connsiteY3" fmla="*/ 0 h 1179213"/>
              <a:gd name="connsiteX0" fmla="*/ 1635417 w 1635417"/>
              <a:gd name="connsiteY0" fmla="*/ 1179213 h 1179213"/>
              <a:gd name="connsiteX1" fmla="*/ 0 w 1635417"/>
              <a:gd name="connsiteY1" fmla="*/ 1179213 h 1179213"/>
              <a:gd name="connsiteX2" fmla="*/ 0 w 1635417"/>
              <a:gd name="connsiteY2" fmla="*/ 0 h 11792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635417" h="1179213">
                <a:moveTo>
                  <a:pt x="1635417" y="1179213"/>
                </a:moveTo>
                <a:lnTo>
                  <a:pt x="0" y="1179213"/>
                </a:lnTo>
                <a:lnTo>
                  <a:pt x="0" y="0"/>
                </a:lnTo>
              </a:path>
            </a:pathLst>
          </a:custGeom>
          <a:noFill/>
          <a:ln w="6350" cap="sq"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  <p:sp>
        <p:nvSpPr>
          <p:cNvPr id="38" name="Retângulo 205">
            <a:extLst>
              <a:ext uri="{FF2B5EF4-FFF2-40B4-BE49-F238E27FC236}">
                <a16:creationId xmlns:a16="http://schemas.microsoft.com/office/drawing/2014/main" id="{6C7129E0-766F-86A1-C1E3-E5BAF71679CA}"/>
              </a:ext>
            </a:extLst>
          </p:cNvPr>
          <p:cNvSpPr/>
          <p:nvPr userDrawn="1"/>
        </p:nvSpPr>
        <p:spPr>
          <a:xfrm rot="16200000" flipV="1">
            <a:off x="5060456" y="3885501"/>
            <a:ext cx="344164" cy="4204654"/>
          </a:xfrm>
          <a:custGeom>
            <a:avLst/>
            <a:gdLst>
              <a:gd name="connsiteX0" fmla="*/ 0 w 1635417"/>
              <a:gd name="connsiteY0" fmla="*/ 0 h 1179213"/>
              <a:gd name="connsiteX1" fmla="*/ 1635417 w 1635417"/>
              <a:gd name="connsiteY1" fmla="*/ 0 h 1179213"/>
              <a:gd name="connsiteX2" fmla="*/ 1635417 w 1635417"/>
              <a:gd name="connsiteY2" fmla="*/ 1179213 h 1179213"/>
              <a:gd name="connsiteX3" fmla="*/ 0 w 1635417"/>
              <a:gd name="connsiteY3" fmla="*/ 1179213 h 1179213"/>
              <a:gd name="connsiteX4" fmla="*/ 0 w 1635417"/>
              <a:gd name="connsiteY4" fmla="*/ 0 h 1179213"/>
              <a:gd name="connsiteX0" fmla="*/ 1635417 w 1726857"/>
              <a:gd name="connsiteY0" fmla="*/ 0 h 1179213"/>
              <a:gd name="connsiteX1" fmla="*/ 1635417 w 1726857"/>
              <a:gd name="connsiteY1" fmla="*/ 1179213 h 1179213"/>
              <a:gd name="connsiteX2" fmla="*/ 0 w 1726857"/>
              <a:gd name="connsiteY2" fmla="*/ 1179213 h 1179213"/>
              <a:gd name="connsiteX3" fmla="*/ 0 w 1726857"/>
              <a:gd name="connsiteY3" fmla="*/ 0 h 1179213"/>
              <a:gd name="connsiteX4" fmla="*/ 1726857 w 1726857"/>
              <a:gd name="connsiteY4" fmla="*/ 91440 h 1179213"/>
              <a:gd name="connsiteX0" fmla="*/ 1635417 w 1635417"/>
              <a:gd name="connsiteY0" fmla="*/ 0 h 1179213"/>
              <a:gd name="connsiteX1" fmla="*/ 1635417 w 1635417"/>
              <a:gd name="connsiteY1" fmla="*/ 1179213 h 1179213"/>
              <a:gd name="connsiteX2" fmla="*/ 0 w 1635417"/>
              <a:gd name="connsiteY2" fmla="*/ 1179213 h 1179213"/>
              <a:gd name="connsiteX3" fmla="*/ 0 w 1635417"/>
              <a:gd name="connsiteY3" fmla="*/ 0 h 1179213"/>
              <a:gd name="connsiteX0" fmla="*/ 1635417 w 1635417"/>
              <a:gd name="connsiteY0" fmla="*/ 1179213 h 1179213"/>
              <a:gd name="connsiteX1" fmla="*/ 0 w 1635417"/>
              <a:gd name="connsiteY1" fmla="*/ 1179213 h 1179213"/>
              <a:gd name="connsiteX2" fmla="*/ 0 w 1635417"/>
              <a:gd name="connsiteY2" fmla="*/ 0 h 11792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635417" h="1179213">
                <a:moveTo>
                  <a:pt x="1635417" y="1179213"/>
                </a:moveTo>
                <a:lnTo>
                  <a:pt x="0" y="1179213"/>
                </a:lnTo>
                <a:lnTo>
                  <a:pt x="0" y="0"/>
                </a:lnTo>
              </a:path>
            </a:pathLst>
          </a:custGeom>
          <a:noFill/>
          <a:ln w="6350" cap="sq"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  <p:sp>
        <p:nvSpPr>
          <p:cNvPr id="39" name="Retângulo 205">
            <a:extLst>
              <a:ext uri="{FF2B5EF4-FFF2-40B4-BE49-F238E27FC236}">
                <a16:creationId xmlns:a16="http://schemas.microsoft.com/office/drawing/2014/main" id="{83981B55-0AEA-ABE3-5996-D09051224CF5}"/>
              </a:ext>
            </a:extLst>
          </p:cNvPr>
          <p:cNvSpPr/>
          <p:nvPr userDrawn="1"/>
        </p:nvSpPr>
        <p:spPr>
          <a:xfrm rot="5400000" flipH="1" flipV="1">
            <a:off x="9249004" y="3885501"/>
            <a:ext cx="344164" cy="4204654"/>
          </a:xfrm>
          <a:custGeom>
            <a:avLst/>
            <a:gdLst>
              <a:gd name="connsiteX0" fmla="*/ 0 w 1635417"/>
              <a:gd name="connsiteY0" fmla="*/ 0 h 1179213"/>
              <a:gd name="connsiteX1" fmla="*/ 1635417 w 1635417"/>
              <a:gd name="connsiteY1" fmla="*/ 0 h 1179213"/>
              <a:gd name="connsiteX2" fmla="*/ 1635417 w 1635417"/>
              <a:gd name="connsiteY2" fmla="*/ 1179213 h 1179213"/>
              <a:gd name="connsiteX3" fmla="*/ 0 w 1635417"/>
              <a:gd name="connsiteY3" fmla="*/ 1179213 h 1179213"/>
              <a:gd name="connsiteX4" fmla="*/ 0 w 1635417"/>
              <a:gd name="connsiteY4" fmla="*/ 0 h 1179213"/>
              <a:gd name="connsiteX0" fmla="*/ 1635417 w 1726857"/>
              <a:gd name="connsiteY0" fmla="*/ 0 h 1179213"/>
              <a:gd name="connsiteX1" fmla="*/ 1635417 w 1726857"/>
              <a:gd name="connsiteY1" fmla="*/ 1179213 h 1179213"/>
              <a:gd name="connsiteX2" fmla="*/ 0 w 1726857"/>
              <a:gd name="connsiteY2" fmla="*/ 1179213 h 1179213"/>
              <a:gd name="connsiteX3" fmla="*/ 0 w 1726857"/>
              <a:gd name="connsiteY3" fmla="*/ 0 h 1179213"/>
              <a:gd name="connsiteX4" fmla="*/ 1726857 w 1726857"/>
              <a:gd name="connsiteY4" fmla="*/ 91440 h 1179213"/>
              <a:gd name="connsiteX0" fmla="*/ 1635417 w 1635417"/>
              <a:gd name="connsiteY0" fmla="*/ 0 h 1179213"/>
              <a:gd name="connsiteX1" fmla="*/ 1635417 w 1635417"/>
              <a:gd name="connsiteY1" fmla="*/ 1179213 h 1179213"/>
              <a:gd name="connsiteX2" fmla="*/ 0 w 1635417"/>
              <a:gd name="connsiteY2" fmla="*/ 1179213 h 1179213"/>
              <a:gd name="connsiteX3" fmla="*/ 0 w 1635417"/>
              <a:gd name="connsiteY3" fmla="*/ 0 h 1179213"/>
              <a:gd name="connsiteX0" fmla="*/ 1635417 w 1635417"/>
              <a:gd name="connsiteY0" fmla="*/ 1179213 h 1179213"/>
              <a:gd name="connsiteX1" fmla="*/ 0 w 1635417"/>
              <a:gd name="connsiteY1" fmla="*/ 1179213 h 1179213"/>
              <a:gd name="connsiteX2" fmla="*/ 0 w 1635417"/>
              <a:gd name="connsiteY2" fmla="*/ 0 h 11792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635417" h="1179213">
                <a:moveTo>
                  <a:pt x="1635417" y="1179213"/>
                </a:moveTo>
                <a:lnTo>
                  <a:pt x="0" y="1179213"/>
                </a:lnTo>
                <a:lnTo>
                  <a:pt x="0" y="0"/>
                </a:lnTo>
              </a:path>
            </a:pathLst>
          </a:custGeom>
          <a:noFill/>
          <a:ln w="6350" cap="sq"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  <p:sp>
        <p:nvSpPr>
          <p:cNvPr id="71" name="Título 6">
            <a:extLst>
              <a:ext uri="{FF2B5EF4-FFF2-40B4-BE49-F238E27FC236}">
                <a16:creationId xmlns:a16="http://schemas.microsoft.com/office/drawing/2014/main" id="{8CF26AC9-1BFA-A46F-57F4-4455F41FBBDD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513184" y="393484"/>
            <a:ext cx="11081915" cy="712204"/>
          </a:xfrm>
        </p:spPr>
        <p:txBody>
          <a:bodyPr>
            <a:normAutofit/>
          </a:bodyPr>
          <a:lstStyle>
            <a:lvl1pPr>
              <a:defRPr sz="3200"/>
            </a:lvl1pPr>
          </a:lstStyle>
          <a:p>
            <a:r>
              <a:rPr lang="pt-PT" dirty="0"/>
              <a:t>Insertar título de la slide</a:t>
            </a:r>
          </a:p>
        </p:txBody>
      </p:sp>
      <p:sp>
        <p:nvSpPr>
          <p:cNvPr id="72" name="Marcador de Posição do Texto 8">
            <a:extLst>
              <a:ext uri="{FF2B5EF4-FFF2-40B4-BE49-F238E27FC236}">
                <a16:creationId xmlns:a16="http://schemas.microsoft.com/office/drawing/2014/main" id="{D5CCD2E9-18B3-5DF1-0E3B-64EFC5950B91}"/>
              </a:ext>
            </a:extLst>
          </p:cNvPr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511932" y="976901"/>
            <a:ext cx="11082747" cy="355243"/>
          </a:xfrm>
        </p:spPr>
        <p:txBody>
          <a:bodyPr>
            <a:normAutofit/>
          </a:bodyPr>
          <a:lstStyle>
            <a:lvl1pPr>
              <a:defRPr sz="200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pt-PT" dirty="0"/>
              <a:t>Insertar subtítulo de la slide</a:t>
            </a:r>
          </a:p>
        </p:txBody>
      </p:sp>
      <p:sp>
        <p:nvSpPr>
          <p:cNvPr id="79" name="Marcador de Posição do Texto 78">
            <a:extLst>
              <a:ext uri="{FF2B5EF4-FFF2-40B4-BE49-F238E27FC236}">
                <a16:creationId xmlns:a16="http://schemas.microsoft.com/office/drawing/2014/main" id="{2344A9D7-C2F5-BCD4-B818-7E667703CEBE}"/>
              </a:ext>
            </a:extLst>
          </p:cNvPr>
          <p:cNvSpPr>
            <a:spLocks noGrp="1"/>
          </p:cNvSpPr>
          <p:nvPr userDrawn="1">
            <p:ph type="body" sz="quarter" idx="82" hasCustomPrompt="1"/>
          </p:nvPr>
        </p:nvSpPr>
        <p:spPr>
          <a:xfrm>
            <a:off x="3130209" y="3462751"/>
            <a:ext cx="1995896" cy="1689505"/>
          </a:xfrm>
          <a:custGeom>
            <a:avLst/>
            <a:gdLst>
              <a:gd name="connsiteX0" fmla="*/ 1034261 w 1995896"/>
              <a:gd name="connsiteY0" fmla="*/ 0 h 1689505"/>
              <a:gd name="connsiteX1" fmla="*/ 1471154 w 1995896"/>
              <a:gd name="connsiteY1" fmla="*/ 0 h 1689505"/>
              <a:gd name="connsiteX2" fmla="*/ 1471367 w 1995896"/>
              <a:gd name="connsiteY2" fmla="*/ 0 h 1689505"/>
              <a:gd name="connsiteX3" fmla="*/ 1985236 w 1995896"/>
              <a:gd name="connsiteY3" fmla="*/ 418775 h 1689505"/>
              <a:gd name="connsiteX4" fmla="*/ 1995892 w 1995896"/>
              <a:gd name="connsiteY4" fmla="*/ 524482 h 1689505"/>
              <a:gd name="connsiteX5" fmla="*/ 1995896 w 1995896"/>
              <a:gd name="connsiteY5" fmla="*/ 524482 h 1689505"/>
              <a:gd name="connsiteX6" fmla="*/ 1995896 w 1995896"/>
              <a:gd name="connsiteY6" fmla="*/ 524524 h 1689505"/>
              <a:gd name="connsiteX7" fmla="*/ 1995896 w 1995896"/>
              <a:gd name="connsiteY7" fmla="*/ 1689505 h 1689505"/>
              <a:gd name="connsiteX8" fmla="*/ 1 w 1995896"/>
              <a:gd name="connsiteY8" fmla="*/ 1689505 h 1689505"/>
              <a:gd name="connsiteX9" fmla="*/ 1 w 1995896"/>
              <a:gd name="connsiteY9" fmla="*/ 524482 h 1689505"/>
              <a:gd name="connsiteX10" fmla="*/ 205767 w 1995896"/>
              <a:gd name="connsiteY10" fmla="*/ 524482 h 1689505"/>
              <a:gd name="connsiteX11" fmla="*/ 205767 w 1995896"/>
              <a:gd name="connsiteY11" fmla="*/ 524470 h 1689505"/>
              <a:gd name="connsiteX12" fmla="*/ 0 w 1995896"/>
              <a:gd name="connsiteY12" fmla="*/ 524460 h 1689505"/>
              <a:gd name="connsiteX13" fmla="*/ 0 w 1995896"/>
              <a:gd name="connsiteY13" fmla="*/ 3 h 1689505"/>
              <a:gd name="connsiteX14" fmla="*/ 1034244 w 1995896"/>
              <a:gd name="connsiteY14" fmla="*/ 53 h 16895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1995896" h="1689505">
                <a:moveTo>
                  <a:pt x="1034261" y="0"/>
                </a:moveTo>
                <a:lnTo>
                  <a:pt x="1471154" y="0"/>
                </a:lnTo>
                <a:lnTo>
                  <a:pt x="1471367" y="0"/>
                </a:lnTo>
                <a:cubicBezTo>
                  <a:pt x="1724775" y="0"/>
                  <a:pt x="1936312" y="179692"/>
                  <a:pt x="1985236" y="418775"/>
                </a:cubicBezTo>
                <a:lnTo>
                  <a:pt x="1995892" y="524482"/>
                </a:lnTo>
                <a:lnTo>
                  <a:pt x="1995896" y="524482"/>
                </a:lnTo>
                <a:lnTo>
                  <a:pt x="1995896" y="524524"/>
                </a:lnTo>
                <a:lnTo>
                  <a:pt x="1995896" y="1689505"/>
                </a:lnTo>
                <a:lnTo>
                  <a:pt x="1" y="1689505"/>
                </a:lnTo>
                <a:lnTo>
                  <a:pt x="1" y="524482"/>
                </a:lnTo>
                <a:lnTo>
                  <a:pt x="205767" y="524482"/>
                </a:lnTo>
                <a:lnTo>
                  <a:pt x="205767" y="524470"/>
                </a:lnTo>
                <a:lnTo>
                  <a:pt x="0" y="524460"/>
                </a:lnTo>
                <a:lnTo>
                  <a:pt x="0" y="3"/>
                </a:lnTo>
                <a:lnTo>
                  <a:pt x="1034244" y="53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lIns="216000" anchor="ctr">
            <a:noAutofit/>
          </a:bodyPr>
          <a:lstStyle>
            <a:lvl1pPr algn="l">
              <a:spcBef>
                <a:spcPts val="600"/>
              </a:spcBef>
              <a:defRPr sz="1200">
                <a:solidFill>
                  <a:schemeClr val="tx2"/>
                </a:solidFill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es-ES" dirty="0"/>
              <a:t>Haz </a:t>
            </a:r>
            <a:r>
              <a:rPr lang="es-ES" dirty="0" err="1"/>
              <a:t>click</a:t>
            </a:r>
            <a:r>
              <a:rPr lang="es-ES" dirty="0"/>
              <a:t> para editar los estilos del texto del modelo global</a:t>
            </a:r>
            <a:endParaRPr lang="pt-PT" dirty="0"/>
          </a:p>
        </p:txBody>
      </p:sp>
      <p:sp>
        <p:nvSpPr>
          <p:cNvPr id="76" name="Marcador de Posição do Texto 10">
            <a:extLst>
              <a:ext uri="{FF2B5EF4-FFF2-40B4-BE49-F238E27FC236}">
                <a16:creationId xmlns:a16="http://schemas.microsoft.com/office/drawing/2014/main" id="{433BDD42-C06F-3C58-39DE-828828BDED16}"/>
              </a:ext>
            </a:extLst>
          </p:cNvPr>
          <p:cNvSpPr>
            <a:spLocks noGrp="1"/>
          </p:cNvSpPr>
          <p:nvPr userDrawn="1">
            <p:ph type="body" sz="quarter" idx="83" hasCustomPrompt="1"/>
          </p:nvPr>
        </p:nvSpPr>
        <p:spPr>
          <a:xfrm>
            <a:off x="3406487" y="2667189"/>
            <a:ext cx="1383785" cy="422173"/>
          </a:xfrm>
        </p:spPr>
        <p:txBody>
          <a:bodyPr anchor="b">
            <a:noAutofit/>
          </a:bodyPr>
          <a:lstStyle>
            <a:lvl1pPr algn="l">
              <a:spcBef>
                <a:spcPts val="600"/>
              </a:spcBef>
              <a:defRPr lang="pt-PT" sz="1200" kern="1200" cap="all" baseline="0" dirty="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pt-PT" dirty="0"/>
              <a:t>Texto destacado</a:t>
            </a:r>
          </a:p>
        </p:txBody>
      </p:sp>
      <p:sp>
        <p:nvSpPr>
          <p:cNvPr id="77" name="Marcador de Posição do Texto 10">
            <a:extLst>
              <a:ext uri="{FF2B5EF4-FFF2-40B4-BE49-F238E27FC236}">
                <a16:creationId xmlns:a16="http://schemas.microsoft.com/office/drawing/2014/main" id="{86D5A73F-691F-5F27-327B-8C75752DCBE3}"/>
              </a:ext>
            </a:extLst>
          </p:cNvPr>
          <p:cNvSpPr>
            <a:spLocks noGrp="1"/>
          </p:cNvSpPr>
          <p:nvPr userDrawn="1">
            <p:ph type="body" sz="quarter" idx="80" hasCustomPrompt="1"/>
          </p:nvPr>
        </p:nvSpPr>
        <p:spPr>
          <a:xfrm>
            <a:off x="5081965" y="2656042"/>
            <a:ext cx="5974375" cy="492655"/>
          </a:xfrm>
        </p:spPr>
        <p:txBody>
          <a:bodyPr anchor="ctr">
            <a:noAutofit/>
          </a:bodyPr>
          <a:lstStyle>
            <a:lvl1pPr algn="l">
              <a:spcBef>
                <a:spcPts val="600"/>
              </a:spcBef>
              <a:defRPr sz="1000">
                <a:solidFill>
                  <a:schemeClr val="tx2"/>
                </a:solidFill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es-ES" dirty="0"/>
              <a:t>Haz </a:t>
            </a:r>
            <a:r>
              <a:rPr lang="es-ES" dirty="0" err="1"/>
              <a:t>click</a:t>
            </a:r>
            <a:r>
              <a:rPr lang="es-ES" dirty="0"/>
              <a:t> para editar los estilos del texto del modelo global</a:t>
            </a:r>
            <a:endParaRPr lang="pt-PT" dirty="0"/>
          </a:p>
        </p:txBody>
      </p:sp>
      <p:sp>
        <p:nvSpPr>
          <p:cNvPr id="80" name="Marcador de Posição do Texto 79">
            <a:extLst>
              <a:ext uri="{FF2B5EF4-FFF2-40B4-BE49-F238E27FC236}">
                <a16:creationId xmlns:a16="http://schemas.microsoft.com/office/drawing/2014/main" id="{F2C28CE5-E4A9-BCC8-3996-0BA1669E8D48}"/>
              </a:ext>
            </a:extLst>
          </p:cNvPr>
          <p:cNvSpPr>
            <a:spLocks noGrp="1"/>
          </p:cNvSpPr>
          <p:nvPr userDrawn="1">
            <p:ph type="body" sz="quarter" idx="84" hasCustomPrompt="1"/>
          </p:nvPr>
        </p:nvSpPr>
        <p:spPr>
          <a:xfrm>
            <a:off x="5262645" y="3462751"/>
            <a:ext cx="1995896" cy="1689505"/>
          </a:xfrm>
          <a:custGeom>
            <a:avLst/>
            <a:gdLst>
              <a:gd name="connsiteX0" fmla="*/ 1034261 w 1995896"/>
              <a:gd name="connsiteY0" fmla="*/ 0 h 1689505"/>
              <a:gd name="connsiteX1" fmla="*/ 1471154 w 1995896"/>
              <a:gd name="connsiteY1" fmla="*/ 0 h 1689505"/>
              <a:gd name="connsiteX2" fmla="*/ 1471367 w 1995896"/>
              <a:gd name="connsiteY2" fmla="*/ 0 h 1689505"/>
              <a:gd name="connsiteX3" fmla="*/ 1985236 w 1995896"/>
              <a:gd name="connsiteY3" fmla="*/ 418775 h 1689505"/>
              <a:gd name="connsiteX4" fmla="*/ 1995892 w 1995896"/>
              <a:gd name="connsiteY4" fmla="*/ 524482 h 1689505"/>
              <a:gd name="connsiteX5" fmla="*/ 1995896 w 1995896"/>
              <a:gd name="connsiteY5" fmla="*/ 524482 h 1689505"/>
              <a:gd name="connsiteX6" fmla="*/ 1995896 w 1995896"/>
              <a:gd name="connsiteY6" fmla="*/ 524524 h 1689505"/>
              <a:gd name="connsiteX7" fmla="*/ 1995896 w 1995896"/>
              <a:gd name="connsiteY7" fmla="*/ 1689505 h 1689505"/>
              <a:gd name="connsiteX8" fmla="*/ 1 w 1995896"/>
              <a:gd name="connsiteY8" fmla="*/ 1689505 h 1689505"/>
              <a:gd name="connsiteX9" fmla="*/ 1 w 1995896"/>
              <a:gd name="connsiteY9" fmla="*/ 524482 h 1689505"/>
              <a:gd name="connsiteX10" fmla="*/ 205767 w 1995896"/>
              <a:gd name="connsiteY10" fmla="*/ 524482 h 1689505"/>
              <a:gd name="connsiteX11" fmla="*/ 205767 w 1995896"/>
              <a:gd name="connsiteY11" fmla="*/ 524470 h 1689505"/>
              <a:gd name="connsiteX12" fmla="*/ 0 w 1995896"/>
              <a:gd name="connsiteY12" fmla="*/ 524460 h 1689505"/>
              <a:gd name="connsiteX13" fmla="*/ 0 w 1995896"/>
              <a:gd name="connsiteY13" fmla="*/ 3 h 1689505"/>
              <a:gd name="connsiteX14" fmla="*/ 1034244 w 1995896"/>
              <a:gd name="connsiteY14" fmla="*/ 53 h 16895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1995896" h="1689505">
                <a:moveTo>
                  <a:pt x="1034261" y="0"/>
                </a:moveTo>
                <a:lnTo>
                  <a:pt x="1471154" y="0"/>
                </a:lnTo>
                <a:lnTo>
                  <a:pt x="1471367" y="0"/>
                </a:lnTo>
                <a:cubicBezTo>
                  <a:pt x="1724775" y="0"/>
                  <a:pt x="1936312" y="179692"/>
                  <a:pt x="1985236" y="418775"/>
                </a:cubicBezTo>
                <a:lnTo>
                  <a:pt x="1995892" y="524482"/>
                </a:lnTo>
                <a:lnTo>
                  <a:pt x="1995896" y="524482"/>
                </a:lnTo>
                <a:lnTo>
                  <a:pt x="1995896" y="524524"/>
                </a:lnTo>
                <a:lnTo>
                  <a:pt x="1995896" y="1689505"/>
                </a:lnTo>
                <a:lnTo>
                  <a:pt x="1" y="1689505"/>
                </a:lnTo>
                <a:lnTo>
                  <a:pt x="1" y="524482"/>
                </a:lnTo>
                <a:lnTo>
                  <a:pt x="205767" y="524482"/>
                </a:lnTo>
                <a:lnTo>
                  <a:pt x="205767" y="524470"/>
                </a:lnTo>
                <a:lnTo>
                  <a:pt x="0" y="524460"/>
                </a:lnTo>
                <a:lnTo>
                  <a:pt x="0" y="3"/>
                </a:lnTo>
                <a:lnTo>
                  <a:pt x="1034244" y="53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lIns="216000" anchor="ctr">
            <a:noAutofit/>
          </a:bodyPr>
          <a:lstStyle>
            <a:lvl1pPr algn="l">
              <a:spcBef>
                <a:spcPts val="600"/>
              </a:spcBef>
              <a:defRPr sz="1200">
                <a:solidFill>
                  <a:schemeClr val="tx2"/>
                </a:solidFill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es-ES" dirty="0"/>
              <a:t>Haz </a:t>
            </a:r>
            <a:r>
              <a:rPr lang="es-ES" dirty="0" err="1"/>
              <a:t>click</a:t>
            </a:r>
            <a:r>
              <a:rPr lang="es-ES" dirty="0"/>
              <a:t> para editar los estilos del texto del modelo global</a:t>
            </a:r>
            <a:endParaRPr lang="pt-PT" dirty="0"/>
          </a:p>
        </p:txBody>
      </p:sp>
      <p:sp>
        <p:nvSpPr>
          <p:cNvPr id="81" name="Marcador de Posição do Texto 80">
            <a:extLst>
              <a:ext uri="{FF2B5EF4-FFF2-40B4-BE49-F238E27FC236}">
                <a16:creationId xmlns:a16="http://schemas.microsoft.com/office/drawing/2014/main" id="{7227168A-8FCD-74B7-6BDE-69605CBE22AF}"/>
              </a:ext>
            </a:extLst>
          </p:cNvPr>
          <p:cNvSpPr>
            <a:spLocks noGrp="1"/>
          </p:cNvSpPr>
          <p:nvPr userDrawn="1">
            <p:ph type="body" sz="quarter" idx="85" hasCustomPrompt="1"/>
          </p:nvPr>
        </p:nvSpPr>
        <p:spPr>
          <a:xfrm>
            <a:off x="7395081" y="3462751"/>
            <a:ext cx="1995896" cy="1689505"/>
          </a:xfrm>
          <a:custGeom>
            <a:avLst/>
            <a:gdLst>
              <a:gd name="connsiteX0" fmla="*/ 1034261 w 1995896"/>
              <a:gd name="connsiteY0" fmla="*/ 0 h 1689505"/>
              <a:gd name="connsiteX1" fmla="*/ 1471154 w 1995896"/>
              <a:gd name="connsiteY1" fmla="*/ 0 h 1689505"/>
              <a:gd name="connsiteX2" fmla="*/ 1471367 w 1995896"/>
              <a:gd name="connsiteY2" fmla="*/ 0 h 1689505"/>
              <a:gd name="connsiteX3" fmla="*/ 1985236 w 1995896"/>
              <a:gd name="connsiteY3" fmla="*/ 418775 h 1689505"/>
              <a:gd name="connsiteX4" fmla="*/ 1995892 w 1995896"/>
              <a:gd name="connsiteY4" fmla="*/ 524482 h 1689505"/>
              <a:gd name="connsiteX5" fmla="*/ 1995896 w 1995896"/>
              <a:gd name="connsiteY5" fmla="*/ 524482 h 1689505"/>
              <a:gd name="connsiteX6" fmla="*/ 1995896 w 1995896"/>
              <a:gd name="connsiteY6" fmla="*/ 524524 h 1689505"/>
              <a:gd name="connsiteX7" fmla="*/ 1995896 w 1995896"/>
              <a:gd name="connsiteY7" fmla="*/ 1689505 h 1689505"/>
              <a:gd name="connsiteX8" fmla="*/ 1 w 1995896"/>
              <a:gd name="connsiteY8" fmla="*/ 1689505 h 1689505"/>
              <a:gd name="connsiteX9" fmla="*/ 1 w 1995896"/>
              <a:gd name="connsiteY9" fmla="*/ 524482 h 1689505"/>
              <a:gd name="connsiteX10" fmla="*/ 205767 w 1995896"/>
              <a:gd name="connsiteY10" fmla="*/ 524482 h 1689505"/>
              <a:gd name="connsiteX11" fmla="*/ 205767 w 1995896"/>
              <a:gd name="connsiteY11" fmla="*/ 524470 h 1689505"/>
              <a:gd name="connsiteX12" fmla="*/ 0 w 1995896"/>
              <a:gd name="connsiteY12" fmla="*/ 524460 h 1689505"/>
              <a:gd name="connsiteX13" fmla="*/ 0 w 1995896"/>
              <a:gd name="connsiteY13" fmla="*/ 3 h 1689505"/>
              <a:gd name="connsiteX14" fmla="*/ 1034244 w 1995896"/>
              <a:gd name="connsiteY14" fmla="*/ 53 h 16895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1995896" h="1689505">
                <a:moveTo>
                  <a:pt x="1034261" y="0"/>
                </a:moveTo>
                <a:lnTo>
                  <a:pt x="1471154" y="0"/>
                </a:lnTo>
                <a:lnTo>
                  <a:pt x="1471367" y="0"/>
                </a:lnTo>
                <a:cubicBezTo>
                  <a:pt x="1724775" y="0"/>
                  <a:pt x="1936312" y="179692"/>
                  <a:pt x="1985236" y="418775"/>
                </a:cubicBezTo>
                <a:lnTo>
                  <a:pt x="1995892" y="524482"/>
                </a:lnTo>
                <a:lnTo>
                  <a:pt x="1995896" y="524482"/>
                </a:lnTo>
                <a:lnTo>
                  <a:pt x="1995896" y="524524"/>
                </a:lnTo>
                <a:lnTo>
                  <a:pt x="1995896" y="1689505"/>
                </a:lnTo>
                <a:lnTo>
                  <a:pt x="1" y="1689505"/>
                </a:lnTo>
                <a:lnTo>
                  <a:pt x="1" y="524482"/>
                </a:lnTo>
                <a:lnTo>
                  <a:pt x="205767" y="524482"/>
                </a:lnTo>
                <a:lnTo>
                  <a:pt x="205767" y="524470"/>
                </a:lnTo>
                <a:lnTo>
                  <a:pt x="0" y="524460"/>
                </a:lnTo>
                <a:lnTo>
                  <a:pt x="0" y="3"/>
                </a:lnTo>
                <a:lnTo>
                  <a:pt x="1034244" y="53"/>
                </a:lnTo>
                <a:close/>
              </a:path>
            </a:pathLst>
          </a:custGeom>
          <a:solidFill>
            <a:srgbClr val="132153"/>
          </a:solidFill>
        </p:spPr>
        <p:txBody>
          <a:bodyPr wrap="square" lIns="216000" anchor="ctr">
            <a:noAutofit/>
          </a:bodyPr>
          <a:lstStyle>
            <a:lvl1pPr algn="l">
              <a:spcBef>
                <a:spcPts val="600"/>
              </a:spcBef>
              <a:defRPr sz="1200">
                <a:solidFill>
                  <a:srgbClr val="00FF94"/>
                </a:solidFill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es-ES" dirty="0"/>
              <a:t>Haz </a:t>
            </a:r>
            <a:r>
              <a:rPr lang="es-ES" dirty="0" err="1"/>
              <a:t>click</a:t>
            </a:r>
            <a:r>
              <a:rPr lang="es-ES" dirty="0"/>
              <a:t> para editar los estilos del texto del modelo global</a:t>
            </a:r>
            <a:endParaRPr lang="pt-PT" dirty="0"/>
          </a:p>
        </p:txBody>
      </p:sp>
      <p:sp>
        <p:nvSpPr>
          <p:cNvPr id="82" name="Marcador de Posição do Texto 81">
            <a:extLst>
              <a:ext uri="{FF2B5EF4-FFF2-40B4-BE49-F238E27FC236}">
                <a16:creationId xmlns:a16="http://schemas.microsoft.com/office/drawing/2014/main" id="{C5C42428-BEBE-F867-C76F-4ECDA7C657DB}"/>
              </a:ext>
            </a:extLst>
          </p:cNvPr>
          <p:cNvSpPr>
            <a:spLocks noGrp="1"/>
          </p:cNvSpPr>
          <p:nvPr userDrawn="1">
            <p:ph type="body" sz="quarter" idx="86" hasCustomPrompt="1"/>
          </p:nvPr>
        </p:nvSpPr>
        <p:spPr>
          <a:xfrm>
            <a:off x="9527517" y="3462751"/>
            <a:ext cx="1995896" cy="1689505"/>
          </a:xfrm>
          <a:custGeom>
            <a:avLst/>
            <a:gdLst>
              <a:gd name="connsiteX0" fmla="*/ 1034261 w 1995896"/>
              <a:gd name="connsiteY0" fmla="*/ 0 h 1689505"/>
              <a:gd name="connsiteX1" fmla="*/ 1471154 w 1995896"/>
              <a:gd name="connsiteY1" fmla="*/ 0 h 1689505"/>
              <a:gd name="connsiteX2" fmla="*/ 1471367 w 1995896"/>
              <a:gd name="connsiteY2" fmla="*/ 0 h 1689505"/>
              <a:gd name="connsiteX3" fmla="*/ 1985236 w 1995896"/>
              <a:gd name="connsiteY3" fmla="*/ 418775 h 1689505"/>
              <a:gd name="connsiteX4" fmla="*/ 1995892 w 1995896"/>
              <a:gd name="connsiteY4" fmla="*/ 524482 h 1689505"/>
              <a:gd name="connsiteX5" fmla="*/ 1995896 w 1995896"/>
              <a:gd name="connsiteY5" fmla="*/ 524482 h 1689505"/>
              <a:gd name="connsiteX6" fmla="*/ 1995896 w 1995896"/>
              <a:gd name="connsiteY6" fmla="*/ 524524 h 1689505"/>
              <a:gd name="connsiteX7" fmla="*/ 1995896 w 1995896"/>
              <a:gd name="connsiteY7" fmla="*/ 1689505 h 1689505"/>
              <a:gd name="connsiteX8" fmla="*/ 1 w 1995896"/>
              <a:gd name="connsiteY8" fmla="*/ 1689505 h 1689505"/>
              <a:gd name="connsiteX9" fmla="*/ 1 w 1995896"/>
              <a:gd name="connsiteY9" fmla="*/ 524482 h 1689505"/>
              <a:gd name="connsiteX10" fmla="*/ 205767 w 1995896"/>
              <a:gd name="connsiteY10" fmla="*/ 524482 h 1689505"/>
              <a:gd name="connsiteX11" fmla="*/ 205767 w 1995896"/>
              <a:gd name="connsiteY11" fmla="*/ 524470 h 1689505"/>
              <a:gd name="connsiteX12" fmla="*/ 0 w 1995896"/>
              <a:gd name="connsiteY12" fmla="*/ 524460 h 1689505"/>
              <a:gd name="connsiteX13" fmla="*/ 0 w 1995896"/>
              <a:gd name="connsiteY13" fmla="*/ 3 h 1689505"/>
              <a:gd name="connsiteX14" fmla="*/ 1034244 w 1995896"/>
              <a:gd name="connsiteY14" fmla="*/ 53 h 16895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1995896" h="1689505">
                <a:moveTo>
                  <a:pt x="1034261" y="0"/>
                </a:moveTo>
                <a:lnTo>
                  <a:pt x="1471154" y="0"/>
                </a:lnTo>
                <a:lnTo>
                  <a:pt x="1471367" y="0"/>
                </a:lnTo>
                <a:cubicBezTo>
                  <a:pt x="1724775" y="0"/>
                  <a:pt x="1936312" y="179692"/>
                  <a:pt x="1985236" y="418775"/>
                </a:cubicBezTo>
                <a:lnTo>
                  <a:pt x="1995892" y="524482"/>
                </a:lnTo>
                <a:lnTo>
                  <a:pt x="1995896" y="524482"/>
                </a:lnTo>
                <a:lnTo>
                  <a:pt x="1995896" y="524524"/>
                </a:lnTo>
                <a:lnTo>
                  <a:pt x="1995896" y="1689505"/>
                </a:lnTo>
                <a:lnTo>
                  <a:pt x="1" y="1689505"/>
                </a:lnTo>
                <a:lnTo>
                  <a:pt x="1" y="524482"/>
                </a:lnTo>
                <a:lnTo>
                  <a:pt x="205767" y="524482"/>
                </a:lnTo>
                <a:lnTo>
                  <a:pt x="205767" y="524470"/>
                </a:lnTo>
                <a:lnTo>
                  <a:pt x="0" y="524460"/>
                </a:lnTo>
                <a:lnTo>
                  <a:pt x="0" y="3"/>
                </a:lnTo>
                <a:lnTo>
                  <a:pt x="1034244" y="53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lIns="216000" anchor="ctr">
            <a:noAutofit/>
          </a:bodyPr>
          <a:lstStyle>
            <a:lvl1pPr algn="l">
              <a:spcBef>
                <a:spcPts val="600"/>
              </a:spcBef>
              <a:defRPr sz="1200">
                <a:solidFill>
                  <a:schemeClr val="tx2"/>
                </a:solidFill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es-ES" dirty="0"/>
              <a:t>Haz </a:t>
            </a:r>
            <a:r>
              <a:rPr lang="es-ES" dirty="0" err="1"/>
              <a:t>click</a:t>
            </a:r>
            <a:r>
              <a:rPr lang="es-ES" dirty="0"/>
              <a:t> para editar los estilos del texto del modelo global</a:t>
            </a:r>
            <a:endParaRPr lang="pt-PT" dirty="0"/>
          </a:p>
        </p:txBody>
      </p:sp>
      <p:sp>
        <p:nvSpPr>
          <p:cNvPr id="94" name="Marcador de Posição do Texto 93">
            <a:extLst>
              <a:ext uri="{FF2B5EF4-FFF2-40B4-BE49-F238E27FC236}">
                <a16:creationId xmlns:a16="http://schemas.microsoft.com/office/drawing/2014/main" id="{D23486FD-46E3-FBFB-E7AD-981ED4B5B1BF}"/>
              </a:ext>
            </a:extLst>
          </p:cNvPr>
          <p:cNvSpPr>
            <a:spLocks noGrp="1"/>
          </p:cNvSpPr>
          <p:nvPr userDrawn="1">
            <p:ph type="body" sz="quarter" idx="87" hasCustomPrompt="1"/>
          </p:nvPr>
        </p:nvSpPr>
        <p:spPr>
          <a:xfrm>
            <a:off x="3585130" y="2056361"/>
            <a:ext cx="7482781" cy="420869"/>
          </a:xfrm>
          <a:custGeom>
            <a:avLst/>
            <a:gdLst>
              <a:gd name="connsiteX0" fmla="*/ 6711212 w 7482781"/>
              <a:gd name="connsiteY0" fmla="*/ 0 h 420869"/>
              <a:gd name="connsiteX1" fmla="*/ 7061754 w 7482781"/>
              <a:gd name="connsiteY1" fmla="*/ 0 h 420869"/>
              <a:gd name="connsiteX2" fmla="*/ 7061925 w 7482781"/>
              <a:gd name="connsiteY2" fmla="*/ 0 h 420869"/>
              <a:gd name="connsiteX3" fmla="*/ 7482781 w 7482781"/>
              <a:gd name="connsiteY3" fmla="*/ 420853 h 420869"/>
              <a:gd name="connsiteX4" fmla="*/ 6807566 w 7482781"/>
              <a:gd name="connsiteY4" fmla="*/ 420853 h 420869"/>
              <a:gd name="connsiteX5" fmla="*/ 6807566 w 7482781"/>
              <a:gd name="connsiteY5" fmla="*/ 420869 h 420869"/>
              <a:gd name="connsiteX6" fmla="*/ 771581 w 7482781"/>
              <a:gd name="connsiteY6" fmla="*/ 420822 h 420869"/>
              <a:gd name="connsiteX7" fmla="*/ 771569 w 7482781"/>
              <a:gd name="connsiteY7" fmla="*/ 420857 h 420869"/>
              <a:gd name="connsiteX8" fmla="*/ 421027 w 7482781"/>
              <a:gd name="connsiteY8" fmla="*/ 420857 h 420869"/>
              <a:gd name="connsiteX9" fmla="*/ 420856 w 7482781"/>
              <a:gd name="connsiteY9" fmla="*/ 420857 h 420869"/>
              <a:gd name="connsiteX10" fmla="*/ 0 w 7482781"/>
              <a:gd name="connsiteY10" fmla="*/ 4 h 420869"/>
              <a:gd name="connsiteX11" fmla="*/ 911853 w 7482781"/>
              <a:gd name="connsiteY11" fmla="*/ 4 h 420869"/>
              <a:gd name="connsiteX12" fmla="*/ 911846 w 7482781"/>
              <a:gd name="connsiteY12" fmla="*/ 24 h 420869"/>
              <a:gd name="connsiteX13" fmla="*/ 6711189 w 7482781"/>
              <a:gd name="connsiteY13" fmla="*/ 69 h 4208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7482781" h="420869">
                <a:moveTo>
                  <a:pt x="6711212" y="0"/>
                </a:moveTo>
                <a:lnTo>
                  <a:pt x="7061754" y="0"/>
                </a:lnTo>
                <a:lnTo>
                  <a:pt x="7061925" y="0"/>
                </a:lnTo>
                <a:cubicBezTo>
                  <a:pt x="7294292" y="0"/>
                  <a:pt x="7482781" y="188312"/>
                  <a:pt x="7482781" y="420853"/>
                </a:cubicBezTo>
                <a:lnTo>
                  <a:pt x="6807566" y="420853"/>
                </a:lnTo>
                <a:lnTo>
                  <a:pt x="6807566" y="420869"/>
                </a:lnTo>
                <a:lnTo>
                  <a:pt x="771581" y="420822"/>
                </a:lnTo>
                <a:lnTo>
                  <a:pt x="771569" y="420857"/>
                </a:lnTo>
                <a:lnTo>
                  <a:pt x="421027" y="420857"/>
                </a:lnTo>
                <a:lnTo>
                  <a:pt x="420856" y="420857"/>
                </a:lnTo>
                <a:cubicBezTo>
                  <a:pt x="188489" y="420857"/>
                  <a:pt x="0" y="232545"/>
                  <a:pt x="0" y="4"/>
                </a:cubicBezTo>
                <a:lnTo>
                  <a:pt x="911853" y="4"/>
                </a:lnTo>
                <a:lnTo>
                  <a:pt x="911846" y="24"/>
                </a:lnTo>
                <a:lnTo>
                  <a:pt x="6711189" y="69"/>
                </a:lnTo>
                <a:close/>
              </a:path>
            </a:pathLst>
          </a:custGeom>
          <a:solidFill>
            <a:schemeClr val="tx1"/>
          </a:solidFill>
        </p:spPr>
        <p:txBody>
          <a:bodyPr wrap="square" anchor="ctr">
            <a:noAutofit/>
          </a:bodyPr>
          <a:lstStyle>
            <a:lvl1pPr algn="ctr">
              <a:spcBef>
                <a:spcPts val="600"/>
              </a:spcBef>
              <a:defRPr lang="pt-PT" sz="1200" kern="1200" cap="all" baseline="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pt-PT" dirty="0"/>
              <a:t>Texto destacado</a:t>
            </a:r>
          </a:p>
        </p:txBody>
      </p:sp>
      <p:sp>
        <p:nvSpPr>
          <p:cNvPr id="86" name="Marcador de Posição do Texto 85">
            <a:extLst>
              <a:ext uri="{FF2B5EF4-FFF2-40B4-BE49-F238E27FC236}">
                <a16:creationId xmlns:a16="http://schemas.microsoft.com/office/drawing/2014/main" id="{2D9BA07D-36B7-B4DF-FF6B-FF39DDA8EB3D}"/>
              </a:ext>
            </a:extLst>
          </p:cNvPr>
          <p:cNvSpPr>
            <a:spLocks noGrp="1"/>
          </p:cNvSpPr>
          <p:nvPr>
            <p:ph type="body" sz="quarter" idx="88" hasCustomPrompt="1"/>
          </p:nvPr>
        </p:nvSpPr>
        <p:spPr>
          <a:xfrm>
            <a:off x="3212278" y="5997009"/>
            <a:ext cx="1913828" cy="344181"/>
          </a:xfrm>
          <a:custGeom>
            <a:avLst/>
            <a:gdLst>
              <a:gd name="connsiteX0" fmla="*/ 1282850 w 1913828"/>
              <a:gd name="connsiteY0" fmla="*/ 0 h 344181"/>
              <a:gd name="connsiteX1" fmla="*/ 1569518 w 1913828"/>
              <a:gd name="connsiteY1" fmla="*/ 0 h 344181"/>
              <a:gd name="connsiteX2" fmla="*/ 1569658 w 1913828"/>
              <a:gd name="connsiteY2" fmla="*/ 0 h 344181"/>
              <a:gd name="connsiteX3" fmla="*/ 1913828 w 1913828"/>
              <a:gd name="connsiteY3" fmla="*/ 344168 h 344181"/>
              <a:gd name="connsiteX4" fmla="*/ 1454488 w 1913828"/>
              <a:gd name="connsiteY4" fmla="*/ 344168 h 344181"/>
              <a:gd name="connsiteX5" fmla="*/ 1454488 w 1913828"/>
              <a:gd name="connsiteY5" fmla="*/ 344181 h 344181"/>
              <a:gd name="connsiteX6" fmla="*/ 630985 w 1913828"/>
              <a:gd name="connsiteY6" fmla="*/ 344150 h 344181"/>
              <a:gd name="connsiteX7" fmla="*/ 630978 w 1913828"/>
              <a:gd name="connsiteY7" fmla="*/ 344172 h 344181"/>
              <a:gd name="connsiteX8" fmla="*/ 344310 w 1913828"/>
              <a:gd name="connsiteY8" fmla="*/ 344172 h 344181"/>
              <a:gd name="connsiteX9" fmla="*/ 344170 w 1913828"/>
              <a:gd name="connsiteY9" fmla="*/ 344172 h 344181"/>
              <a:gd name="connsiteX10" fmla="*/ 0 w 1913828"/>
              <a:gd name="connsiteY10" fmla="*/ 4 h 344181"/>
              <a:gd name="connsiteX11" fmla="*/ 745700 w 1913828"/>
              <a:gd name="connsiteY11" fmla="*/ 4 h 344181"/>
              <a:gd name="connsiteX12" fmla="*/ 745691 w 1913828"/>
              <a:gd name="connsiteY12" fmla="*/ 31 h 344181"/>
              <a:gd name="connsiteX13" fmla="*/ 1282833 w 1913828"/>
              <a:gd name="connsiteY13" fmla="*/ 51 h 3441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913828" h="344181">
                <a:moveTo>
                  <a:pt x="1282850" y="0"/>
                </a:moveTo>
                <a:lnTo>
                  <a:pt x="1569518" y="0"/>
                </a:lnTo>
                <a:lnTo>
                  <a:pt x="1569658" y="0"/>
                </a:lnTo>
                <a:cubicBezTo>
                  <a:pt x="1759685" y="0"/>
                  <a:pt x="1913828" y="154000"/>
                  <a:pt x="1913828" y="344168"/>
                </a:cubicBezTo>
                <a:lnTo>
                  <a:pt x="1454488" y="344168"/>
                </a:lnTo>
                <a:lnTo>
                  <a:pt x="1454488" y="344181"/>
                </a:lnTo>
                <a:lnTo>
                  <a:pt x="630985" y="344150"/>
                </a:lnTo>
                <a:lnTo>
                  <a:pt x="630978" y="344172"/>
                </a:lnTo>
                <a:lnTo>
                  <a:pt x="344310" y="344172"/>
                </a:lnTo>
                <a:lnTo>
                  <a:pt x="344170" y="344172"/>
                </a:lnTo>
                <a:cubicBezTo>
                  <a:pt x="154143" y="344172"/>
                  <a:pt x="0" y="190173"/>
                  <a:pt x="0" y="4"/>
                </a:cubicBezTo>
                <a:lnTo>
                  <a:pt x="745700" y="4"/>
                </a:lnTo>
                <a:lnTo>
                  <a:pt x="745691" y="31"/>
                </a:lnTo>
                <a:lnTo>
                  <a:pt x="1282833" y="51"/>
                </a:lnTo>
                <a:close/>
              </a:path>
            </a:pathLst>
          </a:custGeom>
          <a:solidFill>
            <a:schemeClr val="tx1"/>
          </a:solidFill>
        </p:spPr>
        <p:txBody>
          <a:bodyPr wrap="square" anchor="ctr">
            <a:noAutofit/>
          </a:bodyPr>
          <a:lstStyle>
            <a:lvl1pPr algn="ctr">
              <a:spcBef>
                <a:spcPts val="600"/>
              </a:spcBef>
              <a:defRPr lang="pt-PT" sz="1200" kern="1200" cap="all" baseline="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pt-PT" dirty="0"/>
              <a:t>TEXTO</a:t>
            </a:r>
          </a:p>
        </p:txBody>
      </p:sp>
      <p:sp>
        <p:nvSpPr>
          <p:cNvPr id="87" name="Marcador de Posição do Texto 86">
            <a:extLst>
              <a:ext uri="{FF2B5EF4-FFF2-40B4-BE49-F238E27FC236}">
                <a16:creationId xmlns:a16="http://schemas.microsoft.com/office/drawing/2014/main" id="{FF8531B7-D5C3-B702-4A39-6F00F19EB7B4}"/>
              </a:ext>
            </a:extLst>
          </p:cNvPr>
          <p:cNvSpPr>
            <a:spLocks noGrp="1"/>
          </p:cNvSpPr>
          <p:nvPr>
            <p:ph type="body" sz="quarter" idx="89" hasCustomPrompt="1"/>
          </p:nvPr>
        </p:nvSpPr>
        <p:spPr>
          <a:xfrm>
            <a:off x="5331036" y="5997009"/>
            <a:ext cx="1913828" cy="344181"/>
          </a:xfrm>
          <a:custGeom>
            <a:avLst/>
            <a:gdLst>
              <a:gd name="connsiteX0" fmla="*/ 1282850 w 1913828"/>
              <a:gd name="connsiteY0" fmla="*/ 0 h 344181"/>
              <a:gd name="connsiteX1" fmla="*/ 1569518 w 1913828"/>
              <a:gd name="connsiteY1" fmla="*/ 0 h 344181"/>
              <a:gd name="connsiteX2" fmla="*/ 1569658 w 1913828"/>
              <a:gd name="connsiteY2" fmla="*/ 0 h 344181"/>
              <a:gd name="connsiteX3" fmla="*/ 1913828 w 1913828"/>
              <a:gd name="connsiteY3" fmla="*/ 344168 h 344181"/>
              <a:gd name="connsiteX4" fmla="*/ 1454488 w 1913828"/>
              <a:gd name="connsiteY4" fmla="*/ 344168 h 344181"/>
              <a:gd name="connsiteX5" fmla="*/ 1454488 w 1913828"/>
              <a:gd name="connsiteY5" fmla="*/ 344181 h 344181"/>
              <a:gd name="connsiteX6" fmla="*/ 630985 w 1913828"/>
              <a:gd name="connsiteY6" fmla="*/ 344150 h 344181"/>
              <a:gd name="connsiteX7" fmla="*/ 630978 w 1913828"/>
              <a:gd name="connsiteY7" fmla="*/ 344172 h 344181"/>
              <a:gd name="connsiteX8" fmla="*/ 344310 w 1913828"/>
              <a:gd name="connsiteY8" fmla="*/ 344172 h 344181"/>
              <a:gd name="connsiteX9" fmla="*/ 344170 w 1913828"/>
              <a:gd name="connsiteY9" fmla="*/ 344172 h 344181"/>
              <a:gd name="connsiteX10" fmla="*/ 0 w 1913828"/>
              <a:gd name="connsiteY10" fmla="*/ 4 h 344181"/>
              <a:gd name="connsiteX11" fmla="*/ 745700 w 1913828"/>
              <a:gd name="connsiteY11" fmla="*/ 4 h 344181"/>
              <a:gd name="connsiteX12" fmla="*/ 745691 w 1913828"/>
              <a:gd name="connsiteY12" fmla="*/ 31 h 344181"/>
              <a:gd name="connsiteX13" fmla="*/ 1282833 w 1913828"/>
              <a:gd name="connsiteY13" fmla="*/ 51 h 3441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913828" h="344181">
                <a:moveTo>
                  <a:pt x="1282850" y="0"/>
                </a:moveTo>
                <a:lnTo>
                  <a:pt x="1569518" y="0"/>
                </a:lnTo>
                <a:lnTo>
                  <a:pt x="1569658" y="0"/>
                </a:lnTo>
                <a:cubicBezTo>
                  <a:pt x="1759685" y="0"/>
                  <a:pt x="1913828" y="154000"/>
                  <a:pt x="1913828" y="344168"/>
                </a:cubicBezTo>
                <a:lnTo>
                  <a:pt x="1454488" y="344168"/>
                </a:lnTo>
                <a:lnTo>
                  <a:pt x="1454488" y="344181"/>
                </a:lnTo>
                <a:lnTo>
                  <a:pt x="630985" y="344150"/>
                </a:lnTo>
                <a:lnTo>
                  <a:pt x="630978" y="344172"/>
                </a:lnTo>
                <a:lnTo>
                  <a:pt x="344310" y="344172"/>
                </a:lnTo>
                <a:lnTo>
                  <a:pt x="344170" y="344172"/>
                </a:lnTo>
                <a:cubicBezTo>
                  <a:pt x="154143" y="344172"/>
                  <a:pt x="0" y="190173"/>
                  <a:pt x="0" y="4"/>
                </a:cubicBezTo>
                <a:lnTo>
                  <a:pt x="745700" y="4"/>
                </a:lnTo>
                <a:lnTo>
                  <a:pt x="745691" y="31"/>
                </a:lnTo>
                <a:lnTo>
                  <a:pt x="1282833" y="51"/>
                </a:lnTo>
                <a:close/>
              </a:path>
            </a:pathLst>
          </a:custGeom>
          <a:solidFill>
            <a:schemeClr val="tx1"/>
          </a:solidFill>
        </p:spPr>
        <p:txBody>
          <a:bodyPr wrap="square" anchor="ctr">
            <a:noAutofit/>
          </a:bodyPr>
          <a:lstStyle>
            <a:lvl1pPr algn="ctr">
              <a:spcBef>
                <a:spcPts val="600"/>
              </a:spcBef>
              <a:defRPr lang="pt-PT" sz="1200" kern="1200" cap="all" baseline="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pt-PT" dirty="0"/>
              <a:t>TEXTO</a:t>
            </a:r>
          </a:p>
        </p:txBody>
      </p:sp>
      <p:sp>
        <p:nvSpPr>
          <p:cNvPr id="88" name="Marcador de Posição do Texto 87">
            <a:extLst>
              <a:ext uri="{FF2B5EF4-FFF2-40B4-BE49-F238E27FC236}">
                <a16:creationId xmlns:a16="http://schemas.microsoft.com/office/drawing/2014/main" id="{F92A9E26-2F04-4D15-6622-22B3983EFBCC}"/>
              </a:ext>
            </a:extLst>
          </p:cNvPr>
          <p:cNvSpPr>
            <a:spLocks noGrp="1"/>
          </p:cNvSpPr>
          <p:nvPr>
            <p:ph type="body" sz="quarter" idx="90" hasCustomPrompt="1"/>
          </p:nvPr>
        </p:nvSpPr>
        <p:spPr>
          <a:xfrm>
            <a:off x="9568551" y="5997009"/>
            <a:ext cx="1913828" cy="344181"/>
          </a:xfrm>
          <a:custGeom>
            <a:avLst/>
            <a:gdLst>
              <a:gd name="connsiteX0" fmla="*/ 1282850 w 1913828"/>
              <a:gd name="connsiteY0" fmla="*/ 0 h 344181"/>
              <a:gd name="connsiteX1" fmla="*/ 1569518 w 1913828"/>
              <a:gd name="connsiteY1" fmla="*/ 0 h 344181"/>
              <a:gd name="connsiteX2" fmla="*/ 1569658 w 1913828"/>
              <a:gd name="connsiteY2" fmla="*/ 0 h 344181"/>
              <a:gd name="connsiteX3" fmla="*/ 1913828 w 1913828"/>
              <a:gd name="connsiteY3" fmla="*/ 344168 h 344181"/>
              <a:gd name="connsiteX4" fmla="*/ 1454488 w 1913828"/>
              <a:gd name="connsiteY4" fmla="*/ 344168 h 344181"/>
              <a:gd name="connsiteX5" fmla="*/ 1454488 w 1913828"/>
              <a:gd name="connsiteY5" fmla="*/ 344181 h 344181"/>
              <a:gd name="connsiteX6" fmla="*/ 630985 w 1913828"/>
              <a:gd name="connsiteY6" fmla="*/ 344150 h 344181"/>
              <a:gd name="connsiteX7" fmla="*/ 630978 w 1913828"/>
              <a:gd name="connsiteY7" fmla="*/ 344172 h 344181"/>
              <a:gd name="connsiteX8" fmla="*/ 344310 w 1913828"/>
              <a:gd name="connsiteY8" fmla="*/ 344172 h 344181"/>
              <a:gd name="connsiteX9" fmla="*/ 344170 w 1913828"/>
              <a:gd name="connsiteY9" fmla="*/ 344172 h 344181"/>
              <a:gd name="connsiteX10" fmla="*/ 0 w 1913828"/>
              <a:gd name="connsiteY10" fmla="*/ 4 h 344181"/>
              <a:gd name="connsiteX11" fmla="*/ 745700 w 1913828"/>
              <a:gd name="connsiteY11" fmla="*/ 4 h 344181"/>
              <a:gd name="connsiteX12" fmla="*/ 745691 w 1913828"/>
              <a:gd name="connsiteY12" fmla="*/ 31 h 344181"/>
              <a:gd name="connsiteX13" fmla="*/ 1282833 w 1913828"/>
              <a:gd name="connsiteY13" fmla="*/ 51 h 3441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913828" h="344181">
                <a:moveTo>
                  <a:pt x="1282850" y="0"/>
                </a:moveTo>
                <a:lnTo>
                  <a:pt x="1569518" y="0"/>
                </a:lnTo>
                <a:lnTo>
                  <a:pt x="1569658" y="0"/>
                </a:lnTo>
                <a:cubicBezTo>
                  <a:pt x="1759685" y="0"/>
                  <a:pt x="1913828" y="154000"/>
                  <a:pt x="1913828" y="344168"/>
                </a:cubicBezTo>
                <a:lnTo>
                  <a:pt x="1454488" y="344168"/>
                </a:lnTo>
                <a:lnTo>
                  <a:pt x="1454488" y="344181"/>
                </a:lnTo>
                <a:lnTo>
                  <a:pt x="630985" y="344150"/>
                </a:lnTo>
                <a:lnTo>
                  <a:pt x="630978" y="344172"/>
                </a:lnTo>
                <a:lnTo>
                  <a:pt x="344310" y="344172"/>
                </a:lnTo>
                <a:lnTo>
                  <a:pt x="344170" y="344172"/>
                </a:lnTo>
                <a:cubicBezTo>
                  <a:pt x="154143" y="344172"/>
                  <a:pt x="0" y="190173"/>
                  <a:pt x="0" y="4"/>
                </a:cubicBezTo>
                <a:lnTo>
                  <a:pt x="745700" y="4"/>
                </a:lnTo>
                <a:lnTo>
                  <a:pt x="745691" y="31"/>
                </a:lnTo>
                <a:lnTo>
                  <a:pt x="1282833" y="51"/>
                </a:lnTo>
                <a:close/>
              </a:path>
            </a:pathLst>
          </a:custGeom>
          <a:solidFill>
            <a:schemeClr val="tx1"/>
          </a:solidFill>
        </p:spPr>
        <p:txBody>
          <a:bodyPr wrap="square" anchor="ctr">
            <a:noAutofit/>
          </a:bodyPr>
          <a:lstStyle>
            <a:lvl1pPr algn="ctr">
              <a:spcBef>
                <a:spcPts val="600"/>
              </a:spcBef>
              <a:defRPr lang="pt-PT" sz="1200" kern="1200" cap="all" baseline="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pt-PT" dirty="0"/>
              <a:t>TEXTO</a:t>
            </a:r>
          </a:p>
        </p:txBody>
      </p:sp>
      <p:sp>
        <p:nvSpPr>
          <p:cNvPr id="89" name="Marcador de Posição do Texto 88">
            <a:extLst>
              <a:ext uri="{FF2B5EF4-FFF2-40B4-BE49-F238E27FC236}">
                <a16:creationId xmlns:a16="http://schemas.microsoft.com/office/drawing/2014/main" id="{54AEF705-79A5-E482-24A9-AB063F70C411}"/>
              </a:ext>
            </a:extLst>
          </p:cNvPr>
          <p:cNvSpPr>
            <a:spLocks noGrp="1"/>
          </p:cNvSpPr>
          <p:nvPr>
            <p:ph type="body" sz="quarter" idx="91" hasCustomPrompt="1"/>
          </p:nvPr>
        </p:nvSpPr>
        <p:spPr>
          <a:xfrm>
            <a:off x="7449794" y="5997009"/>
            <a:ext cx="1913828" cy="344181"/>
          </a:xfrm>
          <a:custGeom>
            <a:avLst/>
            <a:gdLst>
              <a:gd name="connsiteX0" fmla="*/ 1282850 w 1913828"/>
              <a:gd name="connsiteY0" fmla="*/ 0 h 344181"/>
              <a:gd name="connsiteX1" fmla="*/ 1569518 w 1913828"/>
              <a:gd name="connsiteY1" fmla="*/ 0 h 344181"/>
              <a:gd name="connsiteX2" fmla="*/ 1569658 w 1913828"/>
              <a:gd name="connsiteY2" fmla="*/ 0 h 344181"/>
              <a:gd name="connsiteX3" fmla="*/ 1913828 w 1913828"/>
              <a:gd name="connsiteY3" fmla="*/ 344168 h 344181"/>
              <a:gd name="connsiteX4" fmla="*/ 1454488 w 1913828"/>
              <a:gd name="connsiteY4" fmla="*/ 344168 h 344181"/>
              <a:gd name="connsiteX5" fmla="*/ 1454488 w 1913828"/>
              <a:gd name="connsiteY5" fmla="*/ 344181 h 344181"/>
              <a:gd name="connsiteX6" fmla="*/ 630985 w 1913828"/>
              <a:gd name="connsiteY6" fmla="*/ 344150 h 344181"/>
              <a:gd name="connsiteX7" fmla="*/ 630978 w 1913828"/>
              <a:gd name="connsiteY7" fmla="*/ 344172 h 344181"/>
              <a:gd name="connsiteX8" fmla="*/ 344310 w 1913828"/>
              <a:gd name="connsiteY8" fmla="*/ 344172 h 344181"/>
              <a:gd name="connsiteX9" fmla="*/ 344170 w 1913828"/>
              <a:gd name="connsiteY9" fmla="*/ 344172 h 344181"/>
              <a:gd name="connsiteX10" fmla="*/ 0 w 1913828"/>
              <a:gd name="connsiteY10" fmla="*/ 4 h 344181"/>
              <a:gd name="connsiteX11" fmla="*/ 745700 w 1913828"/>
              <a:gd name="connsiteY11" fmla="*/ 4 h 344181"/>
              <a:gd name="connsiteX12" fmla="*/ 745691 w 1913828"/>
              <a:gd name="connsiteY12" fmla="*/ 31 h 344181"/>
              <a:gd name="connsiteX13" fmla="*/ 1282833 w 1913828"/>
              <a:gd name="connsiteY13" fmla="*/ 51 h 3441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913828" h="344181">
                <a:moveTo>
                  <a:pt x="1282850" y="0"/>
                </a:moveTo>
                <a:lnTo>
                  <a:pt x="1569518" y="0"/>
                </a:lnTo>
                <a:lnTo>
                  <a:pt x="1569658" y="0"/>
                </a:lnTo>
                <a:cubicBezTo>
                  <a:pt x="1759685" y="0"/>
                  <a:pt x="1913828" y="154000"/>
                  <a:pt x="1913828" y="344168"/>
                </a:cubicBezTo>
                <a:lnTo>
                  <a:pt x="1454488" y="344168"/>
                </a:lnTo>
                <a:lnTo>
                  <a:pt x="1454488" y="344181"/>
                </a:lnTo>
                <a:lnTo>
                  <a:pt x="630985" y="344150"/>
                </a:lnTo>
                <a:lnTo>
                  <a:pt x="630978" y="344172"/>
                </a:lnTo>
                <a:lnTo>
                  <a:pt x="344310" y="344172"/>
                </a:lnTo>
                <a:lnTo>
                  <a:pt x="344170" y="344172"/>
                </a:lnTo>
                <a:cubicBezTo>
                  <a:pt x="154143" y="344172"/>
                  <a:pt x="0" y="190173"/>
                  <a:pt x="0" y="4"/>
                </a:cubicBezTo>
                <a:lnTo>
                  <a:pt x="745700" y="4"/>
                </a:lnTo>
                <a:lnTo>
                  <a:pt x="745691" y="31"/>
                </a:lnTo>
                <a:lnTo>
                  <a:pt x="1282833" y="51"/>
                </a:lnTo>
                <a:close/>
              </a:path>
            </a:pathLst>
          </a:custGeom>
          <a:solidFill>
            <a:schemeClr val="tx1"/>
          </a:solidFill>
        </p:spPr>
        <p:txBody>
          <a:bodyPr wrap="square" anchor="ctr">
            <a:noAutofit/>
          </a:bodyPr>
          <a:lstStyle>
            <a:lvl1pPr algn="ctr">
              <a:spcBef>
                <a:spcPts val="600"/>
              </a:spcBef>
              <a:defRPr lang="pt-PT" sz="1200" kern="1200" cap="all" baseline="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pt-PT" dirty="0"/>
              <a:t>TEXTO</a:t>
            </a:r>
          </a:p>
        </p:txBody>
      </p:sp>
      <p:sp>
        <p:nvSpPr>
          <p:cNvPr id="90" name="Marcador de Posição do Texto 10">
            <a:extLst>
              <a:ext uri="{FF2B5EF4-FFF2-40B4-BE49-F238E27FC236}">
                <a16:creationId xmlns:a16="http://schemas.microsoft.com/office/drawing/2014/main" id="{185150D0-8AD1-E028-F63E-759836550D7C}"/>
              </a:ext>
            </a:extLst>
          </p:cNvPr>
          <p:cNvSpPr>
            <a:spLocks noGrp="1"/>
          </p:cNvSpPr>
          <p:nvPr>
            <p:ph type="body" sz="quarter" idx="92" hasCustomPrompt="1"/>
          </p:nvPr>
        </p:nvSpPr>
        <p:spPr>
          <a:xfrm>
            <a:off x="5864858" y="5432571"/>
            <a:ext cx="2907801" cy="422173"/>
          </a:xfrm>
        </p:spPr>
        <p:txBody>
          <a:bodyPr anchor="ctr">
            <a:noAutofit/>
          </a:bodyPr>
          <a:lstStyle>
            <a:lvl1pPr algn="ctr">
              <a:spcBef>
                <a:spcPts val="600"/>
              </a:spcBef>
              <a:defRPr lang="pt-PT" sz="1200" kern="1200" cap="all" baseline="0" dirty="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pt-PT" dirty="0"/>
              <a:t>Texto destacado</a:t>
            </a:r>
          </a:p>
        </p:txBody>
      </p:sp>
      <p:sp>
        <p:nvSpPr>
          <p:cNvPr id="92" name="Marcador de Posição do Texto 91">
            <a:extLst>
              <a:ext uri="{FF2B5EF4-FFF2-40B4-BE49-F238E27FC236}">
                <a16:creationId xmlns:a16="http://schemas.microsoft.com/office/drawing/2014/main" id="{A231EF1D-82E4-2900-131D-C1E55B505BB1}"/>
              </a:ext>
            </a:extLst>
          </p:cNvPr>
          <p:cNvSpPr>
            <a:spLocks noGrp="1"/>
          </p:cNvSpPr>
          <p:nvPr>
            <p:ph type="body" sz="quarter" idx="93" hasCustomPrompt="1"/>
          </p:nvPr>
        </p:nvSpPr>
        <p:spPr>
          <a:xfrm>
            <a:off x="880442" y="2038114"/>
            <a:ext cx="1995896" cy="4121794"/>
          </a:xfrm>
          <a:custGeom>
            <a:avLst/>
            <a:gdLst>
              <a:gd name="connsiteX0" fmla="*/ 524529 w 1995896"/>
              <a:gd name="connsiteY0" fmla="*/ 0 h 4121794"/>
              <a:gd name="connsiteX1" fmla="*/ 524742 w 1995896"/>
              <a:gd name="connsiteY1" fmla="*/ 0 h 4121794"/>
              <a:gd name="connsiteX2" fmla="*/ 961635 w 1995896"/>
              <a:gd name="connsiteY2" fmla="*/ 0 h 4121794"/>
              <a:gd name="connsiteX3" fmla="*/ 961652 w 1995896"/>
              <a:gd name="connsiteY3" fmla="*/ 53 h 4121794"/>
              <a:gd name="connsiteX4" fmla="*/ 1995896 w 1995896"/>
              <a:gd name="connsiteY4" fmla="*/ 3 h 4121794"/>
              <a:gd name="connsiteX5" fmla="*/ 1995896 w 1995896"/>
              <a:gd name="connsiteY5" fmla="*/ 524460 h 4121794"/>
              <a:gd name="connsiteX6" fmla="*/ 1538494 w 1995896"/>
              <a:gd name="connsiteY6" fmla="*/ 524482 h 4121794"/>
              <a:gd name="connsiteX7" fmla="*/ 1995895 w 1995896"/>
              <a:gd name="connsiteY7" fmla="*/ 524482 h 4121794"/>
              <a:gd name="connsiteX8" fmla="*/ 1995895 w 1995896"/>
              <a:gd name="connsiteY8" fmla="*/ 4121794 h 4121794"/>
              <a:gd name="connsiteX9" fmla="*/ 0 w 1995896"/>
              <a:gd name="connsiteY9" fmla="*/ 4121794 h 4121794"/>
              <a:gd name="connsiteX10" fmla="*/ 0 w 1995896"/>
              <a:gd name="connsiteY10" fmla="*/ 524524 h 4121794"/>
              <a:gd name="connsiteX11" fmla="*/ 0 w 1995896"/>
              <a:gd name="connsiteY11" fmla="*/ 524482 h 4121794"/>
              <a:gd name="connsiteX12" fmla="*/ 4 w 1995896"/>
              <a:gd name="connsiteY12" fmla="*/ 524482 h 4121794"/>
              <a:gd name="connsiteX13" fmla="*/ 10660 w 1995896"/>
              <a:gd name="connsiteY13" fmla="*/ 418775 h 4121794"/>
              <a:gd name="connsiteX14" fmla="*/ 524529 w 1995896"/>
              <a:gd name="connsiteY14" fmla="*/ 0 h 41217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1995896" h="4121794">
                <a:moveTo>
                  <a:pt x="524529" y="0"/>
                </a:moveTo>
                <a:lnTo>
                  <a:pt x="524742" y="0"/>
                </a:lnTo>
                <a:lnTo>
                  <a:pt x="961635" y="0"/>
                </a:lnTo>
                <a:lnTo>
                  <a:pt x="961652" y="53"/>
                </a:lnTo>
                <a:lnTo>
                  <a:pt x="1995896" y="3"/>
                </a:lnTo>
                <a:lnTo>
                  <a:pt x="1995896" y="524460"/>
                </a:lnTo>
                <a:lnTo>
                  <a:pt x="1538494" y="524482"/>
                </a:lnTo>
                <a:lnTo>
                  <a:pt x="1995895" y="524482"/>
                </a:lnTo>
                <a:lnTo>
                  <a:pt x="1995895" y="4121794"/>
                </a:lnTo>
                <a:lnTo>
                  <a:pt x="0" y="4121794"/>
                </a:lnTo>
                <a:lnTo>
                  <a:pt x="0" y="524524"/>
                </a:lnTo>
                <a:lnTo>
                  <a:pt x="0" y="524482"/>
                </a:lnTo>
                <a:lnTo>
                  <a:pt x="4" y="524482"/>
                </a:lnTo>
                <a:lnTo>
                  <a:pt x="10660" y="418775"/>
                </a:lnTo>
                <a:cubicBezTo>
                  <a:pt x="59585" y="179692"/>
                  <a:pt x="271121" y="0"/>
                  <a:pt x="524529" y="0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lIns="288000" tIns="324000" anchor="t">
            <a:noAutofit/>
          </a:bodyPr>
          <a:lstStyle>
            <a:lvl1pPr algn="l">
              <a:spcBef>
                <a:spcPts val="600"/>
              </a:spcBef>
              <a:defRPr lang="pt-PT" sz="1200" kern="1200" cap="all" baseline="0" dirty="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pt-PT" dirty="0"/>
              <a:t>Texto destacado</a:t>
            </a:r>
          </a:p>
        </p:txBody>
      </p:sp>
      <p:sp>
        <p:nvSpPr>
          <p:cNvPr id="93" name="Marcador de Posição do Texto 10">
            <a:extLst>
              <a:ext uri="{FF2B5EF4-FFF2-40B4-BE49-F238E27FC236}">
                <a16:creationId xmlns:a16="http://schemas.microsoft.com/office/drawing/2014/main" id="{78C869F9-6F2B-8074-519F-016FB887E6EF}"/>
              </a:ext>
            </a:extLst>
          </p:cNvPr>
          <p:cNvSpPr>
            <a:spLocks noGrp="1"/>
          </p:cNvSpPr>
          <p:nvPr>
            <p:ph type="body" sz="quarter" idx="94" hasCustomPrompt="1"/>
          </p:nvPr>
        </p:nvSpPr>
        <p:spPr>
          <a:xfrm>
            <a:off x="1095459" y="2898743"/>
            <a:ext cx="1567678" cy="2982356"/>
          </a:xfrm>
        </p:spPr>
        <p:txBody>
          <a:bodyPr anchor="ctr">
            <a:noAutofit/>
          </a:bodyPr>
          <a:lstStyle>
            <a:lvl1pPr algn="l">
              <a:spcBef>
                <a:spcPts val="600"/>
              </a:spcBef>
              <a:defRPr sz="1000">
                <a:solidFill>
                  <a:schemeClr val="tx2"/>
                </a:solidFill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es-ES" dirty="0"/>
              <a:t>Haz </a:t>
            </a:r>
            <a:r>
              <a:rPr lang="es-ES" dirty="0" err="1"/>
              <a:t>click</a:t>
            </a:r>
            <a:r>
              <a:rPr lang="es-ES" dirty="0"/>
              <a:t> para editar los estilos del texto del modelo global</a:t>
            </a:r>
            <a:endParaRPr lang="pt-PT" dirty="0"/>
          </a:p>
        </p:txBody>
      </p:sp>
      <p:sp>
        <p:nvSpPr>
          <p:cNvPr id="95" name="Marcador de Posição do Texto 10">
            <a:extLst>
              <a:ext uri="{FF2B5EF4-FFF2-40B4-BE49-F238E27FC236}">
                <a16:creationId xmlns:a16="http://schemas.microsoft.com/office/drawing/2014/main" id="{E6D13D6B-C729-133F-E0EC-78239B84FCCF}"/>
              </a:ext>
            </a:extLst>
          </p:cNvPr>
          <p:cNvSpPr>
            <a:spLocks noGrp="1"/>
          </p:cNvSpPr>
          <p:nvPr>
            <p:ph type="body" sz="quarter" idx="95" hasCustomPrompt="1"/>
          </p:nvPr>
        </p:nvSpPr>
        <p:spPr>
          <a:xfrm>
            <a:off x="3875657" y="1492354"/>
            <a:ext cx="1383785" cy="240850"/>
          </a:xfrm>
        </p:spPr>
        <p:txBody>
          <a:bodyPr anchor="ctr">
            <a:noAutofit/>
          </a:bodyPr>
          <a:lstStyle>
            <a:lvl1pPr algn="ctr">
              <a:spcBef>
                <a:spcPts val="600"/>
              </a:spcBef>
              <a:defRPr lang="pt-PT" sz="1000" kern="1200" cap="all" baseline="0" dirty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pt-PT" dirty="0"/>
              <a:t>Texto</a:t>
            </a:r>
          </a:p>
        </p:txBody>
      </p:sp>
      <p:sp>
        <p:nvSpPr>
          <p:cNvPr id="96" name="Marcador de Posição do Texto 10">
            <a:extLst>
              <a:ext uri="{FF2B5EF4-FFF2-40B4-BE49-F238E27FC236}">
                <a16:creationId xmlns:a16="http://schemas.microsoft.com/office/drawing/2014/main" id="{4119D96B-41C7-BB97-DBD8-09F668130559}"/>
              </a:ext>
            </a:extLst>
          </p:cNvPr>
          <p:cNvSpPr>
            <a:spLocks noGrp="1"/>
          </p:cNvSpPr>
          <p:nvPr>
            <p:ph type="body" sz="quarter" idx="96" hasCustomPrompt="1"/>
          </p:nvPr>
        </p:nvSpPr>
        <p:spPr>
          <a:xfrm>
            <a:off x="5630998" y="1492354"/>
            <a:ext cx="1383785" cy="240850"/>
          </a:xfrm>
        </p:spPr>
        <p:txBody>
          <a:bodyPr anchor="ctr">
            <a:noAutofit/>
          </a:bodyPr>
          <a:lstStyle>
            <a:lvl1pPr algn="ctr">
              <a:spcBef>
                <a:spcPts val="600"/>
              </a:spcBef>
              <a:defRPr lang="pt-PT" sz="1000" kern="1200" cap="all" baseline="0" dirty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pt-PT" dirty="0"/>
              <a:t>Texto</a:t>
            </a:r>
          </a:p>
        </p:txBody>
      </p:sp>
      <p:sp>
        <p:nvSpPr>
          <p:cNvPr id="97" name="Marcador de Posição do Texto 10">
            <a:extLst>
              <a:ext uri="{FF2B5EF4-FFF2-40B4-BE49-F238E27FC236}">
                <a16:creationId xmlns:a16="http://schemas.microsoft.com/office/drawing/2014/main" id="{2063C472-A523-CFCC-E4AA-F7F03F8E0FEF}"/>
              </a:ext>
            </a:extLst>
          </p:cNvPr>
          <p:cNvSpPr>
            <a:spLocks noGrp="1"/>
          </p:cNvSpPr>
          <p:nvPr>
            <p:ph type="body" sz="quarter" idx="97" hasCustomPrompt="1"/>
          </p:nvPr>
        </p:nvSpPr>
        <p:spPr>
          <a:xfrm>
            <a:off x="9141680" y="1492354"/>
            <a:ext cx="1383785" cy="240850"/>
          </a:xfrm>
        </p:spPr>
        <p:txBody>
          <a:bodyPr anchor="ctr">
            <a:noAutofit/>
          </a:bodyPr>
          <a:lstStyle>
            <a:lvl1pPr algn="ctr">
              <a:spcBef>
                <a:spcPts val="600"/>
              </a:spcBef>
              <a:defRPr lang="pt-PT" sz="1000" kern="1200" cap="all" baseline="0" dirty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pt-PT" dirty="0"/>
              <a:t>Texto</a:t>
            </a:r>
          </a:p>
        </p:txBody>
      </p:sp>
      <p:sp>
        <p:nvSpPr>
          <p:cNvPr id="98" name="Marcador de Posição do Texto 10">
            <a:extLst>
              <a:ext uri="{FF2B5EF4-FFF2-40B4-BE49-F238E27FC236}">
                <a16:creationId xmlns:a16="http://schemas.microsoft.com/office/drawing/2014/main" id="{99FBF62D-75BD-EBF9-757B-B9D18BF1B510}"/>
              </a:ext>
            </a:extLst>
          </p:cNvPr>
          <p:cNvSpPr>
            <a:spLocks noGrp="1"/>
          </p:cNvSpPr>
          <p:nvPr>
            <p:ph type="body" sz="quarter" idx="98" hasCustomPrompt="1"/>
          </p:nvPr>
        </p:nvSpPr>
        <p:spPr>
          <a:xfrm>
            <a:off x="7386339" y="1492354"/>
            <a:ext cx="1383785" cy="240850"/>
          </a:xfrm>
        </p:spPr>
        <p:txBody>
          <a:bodyPr anchor="ctr">
            <a:noAutofit/>
          </a:bodyPr>
          <a:lstStyle>
            <a:lvl1pPr algn="ctr">
              <a:spcBef>
                <a:spcPts val="600"/>
              </a:spcBef>
              <a:defRPr lang="pt-PT" sz="1000" kern="1200" cap="all" baseline="0" dirty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pt-PT" dirty="0"/>
              <a:t>Texto</a:t>
            </a:r>
          </a:p>
        </p:txBody>
      </p:sp>
      <p:sp>
        <p:nvSpPr>
          <p:cNvPr id="33" name="Marcador de Posição do Rodapé 4">
            <a:extLst>
              <a:ext uri="{FF2B5EF4-FFF2-40B4-BE49-F238E27FC236}">
                <a16:creationId xmlns:a16="http://schemas.microsoft.com/office/drawing/2014/main" id="{36093EC9-F764-4BCA-A0B6-F083640727D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12762" y="6356350"/>
            <a:ext cx="534669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accent2"/>
                </a:solidFill>
              </a:defRPr>
            </a:lvl1pPr>
          </a:lstStyle>
          <a:p>
            <a:r>
              <a:rPr lang="pt-PT"/>
              <a:t>Título de la presentación</a:t>
            </a:r>
            <a:endParaRPr lang="pt-PT" dirty="0"/>
          </a:p>
        </p:txBody>
      </p:sp>
      <p:sp>
        <p:nvSpPr>
          <p:cNvPr id="34" name="Marcador de Posição do Número do Diapositivo 5">
            <a:extLst>
              <a:ext uri="{FF2B5EF4-FFF2-40B4-BE49-F238E27FC236}">
                <a16:creationId xmlns:a16="http://schemas.microsoft.com/office/drawing/2014/main" id="{A1E7F09B-ED0A-4D46-A2AE-9597E9FF66F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936039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accent2"/>
                </a:solidFill>
              </a:defRPr>
            </a:lvl1pPr>
          </a:lstStyle>
          <a:p>
            <a:fld id="{24A347C2-D68E-473A-8C76-1D063E4EB6E0}" type="slidenum">
              <a:rPr lang="es-ES" smtClean="0"/>
              <a:pPr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43743958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50"/>
                                        <p:tgtEl>
                                          <p:spTgt spid="7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25E-6 0.03889 L 1.25E-6 1.85185E-6 " pathEditMode="relative" rAng="0" ptsTypes="AA">
                                      <p:cBhvr>
                                        <p:cTn id="9" dur="500" fill="hold"/>
                                        <p:tgtEl>
                                          <p:spTgt spid="7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944"/>
                                    </p:animMotion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250"/>
                                        <p:tgtEl>
                                          <p:spTgt spid="7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25E-6 0.03889 L 1.25E-6 1.85185E-6 " pathEditMode="relative" rAng="0" ptsTypes="AA">
                                      <p:cBhvr>
                                        <p:cTn id="14" dur="500" fill="hold"/>
                                        <p:tgtEl>
                                          <p:spTgt spid="7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944"/>
                                    </p:animMotion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79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" dur="500"/>
                                        <p:tgtEl>
                                          <p:spTgt spid="7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1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3" dur="500"/>
                                        <p:tgtEl>
                                          <p:spTgt spid="7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4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500"/>
                                        <p:tgtEl>
                                          <p:spTgt spid="7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7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9" dur="500"/>
                                        <p:tgtEl>
                                          <p:spTgt spid="80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2" dur="500"/>
                                        <p:tgtEl>
                                          <p:spTgt spid="8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3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5" dur="500"/>
                                        <p:tgtEl>
                                          <p:spTgt spid="81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6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8" dur="500"/>
                                        <p:tgtEl>
                                          <p:spTgt spid="8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9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1" dur="500"/>
                                        <p:tgtEl>
                                          <p:spTgt spid="82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2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4" dur="500"/>
                                        <p:tgtEl>
                                          <p:spTgt spid="8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5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4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7" dur="500"/>
                                        <p:tgtEl>
                                          <p:spTgt spid="94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8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7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0" dur="500"/>
                                        <p:tgtEl>
                                          <p:spTgt spid="9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1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3" dur="500"/>
                                        <p:tgtEl>
                                          <p:spTgt spid="86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4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8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6" dur="500"/>
                                        <p:tgtEl>
                                          <p:spTgt spid="8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7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9" dur="500"/>
                                        <p:tgtEl>
                                          <p:spTgt spid="87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9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2" dur="500"/>
                                        <p:tgtEl>
                                          <p:spTgt spid="8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3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8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5" dur="500"/>
                                        <p:tgtEl>
                                          <p:spTgt spid="88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6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9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8" dur="500"/>
                                        <p:tgtEl>
                                          <p:spTgt spid="8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9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0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9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1" dur="500"/>
                                        <p:tgtEl>
                                          <p:spTgt spid="89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2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0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4" dur="500"/>
                                        <p:tgtEl>
                                          <p:spTgt spid="8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5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0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7" dur="500"/>
                                        <p:tgtEl>
                                          <p:spTgt spid="9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8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0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0" dur="500"/>
                                        <p:tgtEl>
                                          <p:spTgt spid="92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1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3" dur="500"/>
                                        <p:tgtEl>
                                          <p:spTgt spid="9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4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6" dur="500"/>
                                        <p:tgtEl>
                                          <p:spTgt spid="9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7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9" dur="500"/>
                                        <p:tgtEl>
                                          <p:spTgt spid="9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2" dur="500"/>
                                        <p:tgtEl>
                                          <p:spTgt spid="9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3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5" dur="500"/>
                                        <p:tgtEl>
                                          <p:spTgt spid="9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6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8" dur="500"/>
                                        <p:tgtEl>
                                          <p:spTgt spid="9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/>
      <p:bldP spid="11" grpId="0"/>
      <p:bldP spid="12" grpId="0" animBg="1"/>
      <p:bldP spid="13" grpId="0" animBg="1"/>
      <p:bldP spid="18" grpId="0" animBg="1"/>
      <p:bldP spid="19" grpId="0" animBg="1"/>
      <p:bldP spid="36" grpId="0" animBg="1"/>
      <p:bldP spid="37" grpId="0" animBg="1"/>
      <p:bldP spid="38" grpId="0" animBg="1"/>
      <p:bldP spid="39" grpId="0" animBg="1"/>
      <p:bldP spid="71" grpId="0"/>
      <p:bldP spid="71" grpId="1"/>
      <p:bldP spid="72" grpId="0">
        <p:tmplLst>
          <p:tmpl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250"/>
                        <p:tgtEl>
                          <p:spTgt spid="7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72" grpId="1"/>
      <p:bldP spid="79" grpId="0" build="p" animBg="1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79"/>
                        </p:tgtEl>
                      </p:cBhvr>
                    </p:animEffect>
                  </p:childTnLst>
                </p:cTn>
              </p:par>
            </p:tnLst>
          </p:tmpl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7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76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7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77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7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80" grpId="0" build="p" animBg="1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8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80"/>
                        </p:tgtEl>
                      </p:cBhvr>
                    </p:animEffect>
                  </p:childTnLst>
                </p:cTn>
              </p:par>
            </p:tnLst>
          </p:tmpl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8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8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81" grpId="0" build="p" animBg="1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8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81"/>
                        </p:tgtEl>
                      </p:cBhvr>
                    </p:animEffect>
                  </p:childTnLst>
                </p:cTn>
              </p:par>
            </p:tnLst>
          </p:tmpl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8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8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82" grpId="0" build="p" animBg="1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8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82"/>
                        </p:tgtEl>
                      </p:cBhvr>
                    </p:animEffect>
                  </p:childTnLst>
                </p:cTn>
              </p:par>
            </p:tnLst>
          </p:tmpl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8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8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94" grpId="0" build="p" animBg="1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94"/>
                        </p:tgtEl>
                      </p:cBhvr>
                    </p:animEffect>
                  </p:childTnLst>
                </p:cTn>
              </p:par>
            </p:tnLst>
          </p:tmpl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9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86" grpId="0" build="p" animBg="1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8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86"/>
                        </p:tgtEl>
                      </p:cBhvr>
                    </p:animEffect>
                  </p:childTnLst>
                </p:cTn>
              </p:par>
            </p:tnLst>
          </p:tmpl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8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8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87" grpId="0" build="p" animBg="1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8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87"/>
                        </p:tgtEl>
                      </p:cBhvr>
                    </p:animEffect>
                  </p:childTnLst>
                </p:cTn>
              </p:par>
            </p:tnLst>
          </p:tmpl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8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8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88" grpId="0" build="p" animBg="1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8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88"/>
                        </p:tgtEl>
                      </p:cBhvr>
                    </p:animEffect>
                  </p:childTnLst>
                </p:cTn>
              </p:par>
            </p:tnLst>
          </p:tmpl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8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8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89" grpId="0" build="p" animBg="1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8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89"/>
                        </p:tgtEl>
                      </p:cBhvr>
                    </p:animEffect>
                  </p:childTnLst>
                </p:cTn>
              </p:par>
            </p:tnLst>
          </p:tmpl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8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8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90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9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92" grpId="0" build="p" animBg="1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92"/>
                        </p:tgtEl>
                      </p:cBhvr>
                    </p:animEffect>
                  </p:childTnLst>
                </p:cTn>
              </p:par>
            </p:tnLst>
          </p:tmpl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9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93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9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95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9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96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9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97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9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98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98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5_Esquema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Oval 2">
            <a:extLst>
              <a:ext uri="{FF2B5EF4-FFF2-40B4-BE49-F238E27FC236}">
                <a16:creationId xmlns:a16="http://schemas.microsoft.com/office/drawing/2014/main" id="{62801A14-9FEB-1C74-6E64-C6877060A198}"/>
              </a:ext>
            </a:extLst>
          </p:cNvPr>
          <p:cNvSpPr/>
          <p:nvPr userDrawn="1"/>
        </p:nvSpPr>
        <p:spPr>
          <a:xfrm rot="10800000">
            <a:off x="3712113" y="4474112"/>
            <a:ext cx="4767776" cy="2383888"/>
          </a:xfrm>
          <a:custGeom>
            <a:avLst/>
            <a:gdLst>
              <a:gd name="connsiteX0" fmla="*/ 0 w 4767775"/>
              <a:gd name="connsiteY0" fmla="*/ 2383888 h 4767775"/>
              <a:gd name="connsiteX1" fmla="*/ 2383888 w 4767775"/>
              <a:gd name="connsiteY1" fmla="*/ 0 h 4767775"/>
              <a:gd name="connsiteX2" fmla="*/ 4767776 w 4767775"/>
              <a:gd name="connsiteY2" fmla="*/ 2383888 h 4767775"/>
              <a:gd name="connsiteX3" fmla="*/ 2383888 w 4767775"/>
              <a:gd name="connsiteY3" fmla="*/ 4767776 h 4767775"/>
              <a:gd name="connsiteX4" fmla="*/ 0 w 4767775"/>
              <a:gd name="connsiteY4" fmla="*/ 2383888 h 4767775"/>
              <a:gd name="connsiteX0" fmla="*/ 2383888 w 4767776"/>
              <a:gd name="connsiteY0" fmla="*/ 0 h 4767776"/>
              <a:gd name="connsiteX1" fmla="*/ 4767776 w 4767776"/>
              <a:gd name="connsiteY1" fmla="*/ 2383888 h 4767776"/>
              <a:gd name="connsiteX2" fmla="*/ 2383888 w 4767776"/>
              <a:gd name="connsiteY2" fmla="*/ 4767776 h 4767776"/>
              <a:gd name="connsiteX3" fmla="*/ 0 w 4767776"/>
              <a:gd name="connsiteY3" fmla="*/ 2383888 h 4767776"/>
              <a:gd name="connsiteX4" fmla="*/ 2475328 w 4767776"/>
              <a:gd name="connsiteY4" fmla="*/ 91440 h 4767776"/>
              <a:gd name="connsiteX0" fmla="*/ 2383888 w 4767776"/>
              <a:gd name="connsiteY0" fmla="*/ 0 h 4767776"/>
              <a:gd name="connsiteX1" fmla="*/ 4767776 w 4767776"/>
              <a:gd name="connsiteY1" fmla="*/ 2383888 h 4767776"/>
              <a:gd name="connsiteX2" fmla="*/ 2383888 w 4767776"/>
              <a:gd name="connsiteY2" fmla="*/ 4767776 h 4767776"/>
              <a:gd name="connsiteX3" fmla="*/ 0 w 4767776"/>
              <a:gd name="connsiteY3" fmla="*/ 2383888 h 4767776"/>
              <a:gd name="connsiteX0" fmla="*/ 4767776 w 4767776"/>
              <a:gd name="connsiteY0" fmla="*/ 0 h 2383888"/>
              <a:gd name="connsiteX1" fmla="*/ 2383888 w 4767776"/>
              <a:gd name="connsiteY1" fmla="*/ 2383888 h 2383888"/>
              <a:gd name="connsiteX2" fmla="*/ 0 w 4767776"/>
              <a:gd name="connsiteY2" fmla="*/ 0 h 23838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4767776" h="2383888">
                <a:moveTo>
                  <a:pt x="4767776" y="0"/>
                </a:moveTo>
                <a:cubicBezTo>
                  <a:pt x="4767776" y="1316585"/>
                  <a:pt x="3700473" y="2383888"/>
                  <a:pt x="2383888" y="2383888"/>
                </a:cubicBezTo>
                <a:cubicBezTo>
                  <a:pt x="1067303" y="2383888"/>
                  <a:pt x="0" y="1316585"/>
                  <a:pt x="0" y="0"/>
                </a:cubicBezTo>
              </a:path>
            </a:pathLst>
          </a:custGeom>
          <a:noFill/>
          <a:ln w="4244" cap="flat">
            <a:solidFill>
              <a:schemeClr val="tx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PT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0" name="Rectángulo 19">
            <a:extLst>
              <a:ext uri="{FF2B5EF4-FFF2-40B4-BE49-F238E27FC236}">
                <a16:creationId xmlns:a16="http://schemas.microsoft.com/office/drawing/2014/main" id="{E5713939-90DC-4AF2-A431-45B71BD6F25F}"/>
              </a:ext>
            </a:extLst>
          </p:cNvPr>
          <p:cNvSpPr/>
          <p:nvPr userDrawn="1"/>
        </p:nvSpPr>
        <p:spPr>
          <a:xfrm>
            <a:off x="0" y="6245250"/>
            <a:ext cx="12192000" cy="612750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pic>
        <p:nvPicPr>
          <p:cNvPr id="34" name="Imagem 33">
            <a:extLst>
              <a:ext uri="{FF2B5EF4-FFF2-40B4-BE49-F238E27FC236}">
                <a16:creationId xmlns:a16="http://schemas.microsoft.com/office/drawing/2014/main" id="{2CBF96A9-2599-72E5-4512-6774CC381C9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 l="12584" t="19730" r="69501" b="19713"/>
          <a:stretch>
            <a:fillRect/>
          </a:stretch>
        </p:blipFill>
        <p:spPr>
          <a:xfrm rot="10800000" flipH="1" flipV="1">
            <a:off x="10572767" y="1191945"/>
            <a:ext cx="1619233" cy="5470278"/>
          </a:xfrm>
          <a:prstGeom prst="rect">
            <a:avLst/>
          </a:prstGeom>
        </p:spPr>
      </p:pic>
      <p:pic>
        <p:nvPicPr>
          <p:cNvPr id="33" name="Imagem 32">
            <a:extLst>
              <a:ext uri="{FF2B5EF4-FFF2-40B4-BE49-F238E27FC236}">
                <a16:creationId xmlns:a16="http://schemas.microsoft.com/office/drawing/2014/main" id="{D20E7F12-DDCC-91C3-C5C3-5FEB13D49716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 l="36636" t="62986" r="21875" b="12174"/>
          <a:stretch>
            <a:fillRect/>
          </a:stretch>
        </p:blipFill>
        <p:spPr>
          <a:xfrm rot="5400000" flipV="1">
            <a:off x="-668977" y="668978"/>
            <a:ext cx="3333852" cy="1995897"/>
          </a:xfrm>
          <a:prstGeom prst="rect">
            <a:avLst/>
          </a:prstGeom>
        </p:spPr>
      </p:pic>
      <p:sp>
        <p:nvSpPr>
          <p:cNvPr id="6" name="Título 6">
            <a:extLst>
              <a:ext uri="{FF2B5EF4-FFF2-40B4-BE49-F238E27FC236}">
                <a16:creationId xmlns:a16="http://schemas.microsoft.com/office/drawing/2014/main" id="{58BAA8A8-404E-9F50-0F03-82A7992B903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3184" y="393484"/>
            <a:ext cx="11081915" cy="712204"/>
          </a:xfrm>
        </p:spPr>
        <p:txBody>
          <a:bodyPr>
            <a:normAutofit/>
          </a:bodyPr>
          <a:lstStyle>
            <a:lvl1pPr>
              <a:defRPr sz="3200"/>
            </a:lvl1pPr>
          </a:lstStyle>
          <a:p>
            <a:r>
              <a:rPr lang="pt-PT" dirty="0"/>
              <a:t>Insertar título de la slide</a:t>
            </a:r>
          </a:p>
        </p:txBody>
      </p:sp>
      <p:sp>
        <p:nvSpPr>
          <p:cNvPr id="7" name="Marcador de Posição do Texto 8">
            <a:extLst>
              <a:ext uri="{FF2B5EF4-FFF2-40B4-BE49-F238E27FC236}">
                <a16:creationId xmlns:a16="http://schemas.microsoft.com/office/drawing/2014/main" id="{9EE665FB-093D-EBDF-F56D-D4CCEF68453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11932" y="976901"/>
            <a:ext cx="11082747" cy="355243"/>
          </a:xfrm>
        </p:spPr>
        <p:txBody>
          <a:bodyPr>
            <a:normAutofit/>
          </a:bodyPr>
          <a:lstStyle>
            <a:lvl1pPr>
              <a:defRPr sz="200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pt-PT" dirty="0"/>
              <a:t>Insertar subtítulo de la slide</a:t>
            </a:r>
          </a:p>
        </p:txBody>
      </p:sp>
      <p:sp>
        <p:nvSpPr>
          <p:cNvPr id="22" name="Marcador de Posição do Texto 34">
            <a:extLst>
              <a:ext uri="{FF2B5EF4-FFF2-40B4-BE49-F238E27FC236}">
                <a16:creationId xmlns:a16="http://schemas.microsoft.com/office/drawing/2014/main" id="{A77780B3-5CD0-1336-E43C-7019A389A0DE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4499240" y="5476848"/>
            <a:ext cx="3209730" cy="684051"/>
          </a:xfrm>
        </p:spPr>
        <p:txBody>
          <a:bodyPr anchor="ctr">
            <a:noAutofit/>
          </a:bodyPr>
          <a:lstStyle>
            <a:lvl1pPr algn="ctr">
              <a:defRPr sz="2400" cap="all" baseline="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pt-PT" dirty="0"/>
              <a:t>Insertar texto destacado</a:t>
            </a:r>
          </a:p>
        </p:txBody>
      </p:sp>
      <p:sp>
        <p:nvSpPr>
          <p:cNvPr id="23" name="Marcador de Posição do Texto 10">
            <a:extLst>
              <a:ext uri="{FF2B5EF4-FFF2-40B4-BE49-F238E27FC236}">
                <a16:creationId xmlns:a16="http://schemas.microsoft.com/office/drawing/2014/main" id="{49638A18-B2E0-7588-2062-01B83375ADA5}"/>
              </a:ext>
            </a:extLst>
          </p:cNvPr>
          <p:cNvSpPr>
            <a:spLocks noGrp="1"/>
          </p:cNvSpPr>
          <p:nvPr>
            <p:ph type="body" sz="quarter" idx="80" hasCustomPrompt="1"/>
          </p:nvPr>
        </p:nvSpPr>
        <p:spPr>
          <a:xfrm>
            <a:off x="441215" y="4705475"/>
            <a:ext cx="1745988" cy="576342"/>
          </a:xfrm>
        </p:spPr>
        <p:txBody>
          <a:bodyPr anchor="t">
            <a:noAutofit/>
          </a:bodyPr>
          <a:lstStyle>
            <a:lvl1pPr algn="ctr">
              <a:spcBef>
                <a:spcPts val="600"/>
              </a:spcBef>
              <a:defRPr sz="1000">
                <a:solidFill>
                  <a:schemeClr val="tx2"/>
                </a:solidFill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es-ES" dirty="0"/>
              <a:t>Haz </a:t>
            </a:r>
            <a:r>
              <a:rPr lang="es-ES" dirty="0" err="1"/>
              <a:t>click</a:t>
            </a:r>
            <a:r>
              <a:rPr lang="es-ES" dirty="0"/>
              <a:t> para editar los estilos del texto del modelo global</a:t>
            </a:r>
            <a:endParaRPr lang="pt-PT" dirty="0"/>
          </a:p>
        </p:txBody>
      </p:sp>
      <p:sp>
        <p:nvSpPr>
          <p:cNvPr id="24" name="Marcador de Posição do Texto 10">
            <a:extLst>
              <a:ext uri="{FF2B5EF4-FFF2-40B4-BE49-F238E27FC236}">
                <a16:creationId xmlns:a16="http://schemas.microsoft.com/office/drawing/2014/main" id="{777E70E5-D40D-BAFF-AADE-578A13470442}"/>
              </a:ext>
            </a:extLst>
          </p:cNvPr>
          <p:cNvSpPr>
            <a:spLocks noGrp="1"/>
          </p:cNvSpPr>
          <p:nvPr>
            <p:ph type="body" sz="quarter" idx="81" hasCustomPrompt="1"/>
          </p:nvPr>
        </p:nvSpPr>
        <p:spPr>
          <a:xfrm>
            <a:off x="441215" y="4450075"/>
            <a:ext cx="1745988" cy="218992"/>
          </a:xfrm>
        </p:spPr>
        <p:txBody>
          <a:bodyPr anchor="b">
            <a:noAutofit/>
          </a:bodyPr>
          <a:lstStyle>
            <a:lvl1pPr algn="ctr">
              <a:spcBef>
                <a:spcPts val="600"/>
              </a:spcBef>
              <a:defRPr lang="pt-PT" sz="1200" kern="1200" cap="all" baseline="0" dirty="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pt-PT" dirty="0"/>
              <a:t>Texto destacado</a:t>
            </a:r>
          </a:p>
        </p:txBody>
      </p:sp>
      <p:sp>
        <p:nvSpPr>
          <p:cNvPr id="25" name="Marcador de Posição do Texto 10">
            <a:extLst>
              <a:ext uri="{FF2B5EF4-FFF2-40B4-BE49-F238E27FC236}">
                <a16:creationId xmlns:a16="http://schemas.microsoft.com/office/drawing/2014/main" id="{D25259F2-A91A-45C1-3269-6F52D0F7ABA7}"/>
              </a:ext>
            </a:extLst>
          </p:cNvPr>
          <p:cNvSpPr>
            <a:spLocks noGrp="1"/>
          </p:cNvSpPr>
          <p:nvPr>
            <p:ph type="body" sz="quarter" idx="82" hasCustomPrompt="1"/>
          </p:nvPr>
        </p:nvSpPr>
        <p:spPr>
          <a:xfrm>
            <a:off x="1690874" y="2562765"/>
            <a:ext cx="1745988" cy="576342"/>
          </a:xfrm>
        </p:spPr>
        <p:txBody>
          <a:bodyPr anchor="t">
            <a:noAutofit/>
          </a:bodyPr>
          <a:lstStyle>
            <a:lvl1pPr algn="ctr">
              <a:spcBef>
                <a:spcPts val="600"/>
              </a:spcBef>
              <a:defRPr sz="1000">
                <a:solidFill>
                  <a:schemeClr val="tx2"/>
                </a:solidFill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es-ES" dirty="0"/>
              <a:t>Haz </a:t>
            </a:r>
            <a:r>
              <a:rPr lang="es-ES" dirty="0" err="1"/>
              <a:t>click</a:t>
            </a:r>
            <a:r>
              <a:rPr lang="es-ES" dirty="0"/>
              <a:t> para editar los estilos del texto del modelo global</a:t>
            </a:r>
            <a:endParaRPr lang="pt-PT" dirty="0"/>
          </a:p>
        </p:txBody>
      </p:sp>
      <p:sp>
        <p:nvSpPr>
          <p:cNvPr id="26" name="Marcador de Posição do Texto 10">
            <a:extLst>
              <a:ext uri="{FF2B5EF4-FFF2-40B4-BE49-F238E27FC236}">
                <a16:creationId xmlns:a16="http://schemas.microsoft.com/office/drawing/2014/main" id="{76138F67-7C0E-9A22-BEAC-67052626FBA0}"/>
              </a:ext>
            </a:extLst>
          </p:cNvPr>
          <p:cNvSpPr>
            <a:spLocks noGrp="1"/>
          </p:cNvSpPr>
          <p:nvPr>
            <p:ph type="body" sz="quarter" idx="83" hasCustomPrompt="1"/>
          </p:nvPr>
        </p:nvSpPr>
        <p:spPr>
          <a:xfrm>
            <a:off x="1690874" y="2307365"/>
            <a:ext cx="1745988" cy="218992"/>
          </a:xfrm>
        </p:spPr>
        <p:txBody>
          <a:bodyPr anchor="b">
            <a:noAutofit/>
          </a:bodyPr>
          <a:lstStyle>
            <a:lvl1pPr algn="ctr">
              <a:spcBef>
                <a:spcPts val="600"/>
              </a:spcBef>
              <a:defRPr lang="pt-PT" sz="1200" kern="1200" cap="all" baseline="0" dirty="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pt-PT" dirty="0"/>
              <a:t>Texto destacado</a:t>
            </a:r>
          </a:p>
        </p:txBody>
      </p:sp>
      <p:sp>
        <p:nvSpPr>
          <p:cNvPr id="27" name="Marcador de Posição do Texto 10">
            <a:extLst>
              <a:ext uri="{FF2B5EF4-FFF2-40B4-BE49-F238E27FC236}">
                <a16:creationId xmlns:a16="http://schemas.microsoft.com/office/drawing/2014/main" id="{3437F270-B081-E662-B35F-8F735BD5766D}"/>
              </a:ext>
            </a:extLst>
          </p:cNvPr>
          <p:cNvSpPr>
            <a:spLocks noGrp="1"/>
          </p:cNvSpPr>
          <p:nvPr>
            <p:ph type="body" sz="quarter" idx="84" hasCustomPrompt="1"/>
          </p:nvPr>
        </p:nvSpPr>
        <p:spPr>
          <a:xfrm>
            <a:off x="5245364" y="1645076"/>
            <a:ext cx="1745988" cy="576342"/>
          </a:xfrm>
        </p:spPr>
        <p:txBody>
          <a:bodyPr anchor="t">
            <a:noAutofit/>
          </a:bodyPr>
          <a:lstStyle>
            <a:lvl1pPr algn="ctr">
              <a:spcBef>
                <a:spcPts val="600"/>
              </a:spcBef>
              <a:defRPr sz="1000">
                <a:solidFill>
                  <a:schemeClr val="tx2"/>
                </a:solidFill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es-ES" dirty="0"/>
              <a:t>Haz </a:t>
            </a:r>
            <a:r>
              <a:rPr lang="es-ES" dirty="0" err="1"/>
              <a:t>click</a:t>
            </a:r>
            <a:r>
              <a:rPr lang="es-ES" dirty="0"/>
              <a:t> para editar los estilos del texto del modelo global</a:t>
            </a:r>
            <a:endParaRPr lang="pt-PT" dirty="0"/>
          </a:p>
        </p:txBody>
      </p:sp>
      <p:sp>
        <p:nvSpPr>
          <p:cNvPr id="28" name="Marcador de Posição do Texto 10">
            <a:extLst>
              <a:ext uri="{FF2B5EF4-FFF2-40B4-BE49-F238E27FC236}">
                <a16:creationId xmlns:a16="http://schemas.microsoft.com/office/drawing/2014/main" id="{39CB23CE-F322-EF13-2974-6A50ADA70CE7}"/>
              </a:ext>
            </a:extLst>
          </p:cNvPr>
          <p:cNvSpPr>
            <a:spLocks noGrp="1"/>
          </p:cNvSpPr>
          <p:nvPr>
            <p:ph type="body" sz="quarter" idx="85" hasCustomPrompt="1"/>
          </p:nvPr>
        </p:nvSpPr>
        <p:spPr>
          <a:xfrm>
            <a:off x="5245364" y="1389676"/>
            <a:ext cx="1745988" cy="218992"/>
          </a:xfrm>
        </p:spPr>
        <p:txBody>
          <a:bodyPr anchor="b">
            <a:noAutofit/>
          </a:bodyPr>
          <a:lstStyle>
            <a:lvl1pPr algn="ctr">
              <a:spcBef>
                <a:spcPts val="600"/>
              </a:spcBef>
              <a:defRPr lang="pt-PT" sz="1200" kern="1200" cap="all" baseline="0" dirty="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pt-PT" dirty="0"/>
              <a:t>Texto destacado</a:t>
            </a:r>
          </a:p>
        </p:txBody>
      </p:sp>
      <p:sp>
        <p:nvSpPr>
          <p:cNvPr id="29" name="Marcador de Posição do Texto 10">
            <a:extLst>
              <a:ext uri="{FF2B5EF4-FFF2-40B4-BE49-F238E27FC236}">
                <a16:creationId xmlns:a16="http://schemas.microsoft.com/office/drawing/2014/main" id="{6B09E5E8-DB96-A59A-76A0-4A499DC659F4}"/>
              </a:ext>
            </a:extLst>
          </p:cNvPr>
          <p:cNvSpPr>
            <a:spLocks noGrp="1"/>
          </p:cNvSpPr>
          <p:nvPr>
            <p:ph type="body" sz="quarter" idx="86" hasCustomPrompt="1"/>
          </p:nvPr>
        </p:nvSpPr>
        <p:spPr>
          <a:xfrm>
            <a:off x="8755140" y="2566058"/>
            <a:ext cx="1745988" cy="576342"/>
          </a:xfrm>
        </p:spPr>
        <p:txBody>
          <a:bodyPr anchor="t">
            <a:noAutofit/>
          </a:bodyPr>
          <a:lstStyle>
            <a:lvl1pPr algn="ctr">
              <a:spcBef>
                <a:spcPts val="600"/>
              </a:spcBef>
              <a:defRPr sz="1000">
                <a:solidFill>
                  <a:schemeClr val="tx2"/>
                </a:solidFill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es-ES" dirty="0"/>
              <a:t>Haz </a:t>
            </a:r>
            <a:r>
              <a:rPr lang="es-ES" dirty="0" err="1"/>
              <a:t>click</a:t>
            </a:r>
            <a:r>
              <a:rPr lang="es-ES" dirty="0"/>
              <a:t> para editar los estilos del texto del modelo global</a:t>
            </a:r>
            <a:endParaRPr lang="pt-PT" dirty="0"/>
          </a:p>
        </p:txBody>
      </p:sp>
      <p:sp>
        <p:nvSpPr>
          <p:cNvPr id="30" name="Marcador de Posição do Texto 10">
            <a:extLst>
              <a:ext uri="{FF2B5EF4-FFF2-40B4-BE49-F238E27FC236}">
                <a16:creationId xmlns:a16="http://schemas.microsoft.com/office/drawing/2014/main" id="{737283CD-0B15-C601-BC3B-F3B63938EBE1}"/>
              </a:ext>
            </a:extLst>
          </p:cNvPr>
          <p:cNvSpPr>
            <a:spLocks noGrp="1"/>
          </p:cNvSpPr>
          <p:nvPr>
            <p:ph type="body" sz="quarter" idx="87" hasCustomPrompt="1"/>
          </p:nvPr>
        </p:nvSpPr>
        <p:spPr>
          <a:xfrm>
            <a:off x="8755140" y="2310658"/>
            <a:ext cx="1745988" cy="218992"/>
          </a:xfrm>
        </p:spPr>
        <p:txBody>
          <a:bodyPr anchor="b">
            <a:noAutofit/>
          </a:bodyPr>
          <a:lstStyle>
            <a:lvl1pPr algn="ctr">
              <a:spcBef>
                <a:spcPts val="600"/>
              </a:spcBef>
              <a:defRPr lang="pt-PT" sz="1200" kern="1200" cap="all" baseline="0" dirty="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pt-PT" dirty="0"/>
              <a:t>Texto destacado</a:t>
            </a:r>
          </a:p>
        </p:txBody>
      </p:sp>
      <p:sp>
        <p:nvSpPr>
          <p:cNvPr id="31" name="Marcador de Posição do Texto 10">
            <a:extLst>
              <a:ext uri="{FF2B5EF4-FFF2-40B4-BE49-F238E27FC236}">
                <a16:creationId xmlns:a16="http://schemas.microsoft.com/office/drawing/2014/main" id="{68F7F82B-0299-D915-FEB3-CF2C06EF0C50}"/>
              </a:ext>
            </a:extLst>
          </p:cNvPr>
          <p:cNvSpPr>
            <a:spLocks noGrp="1"/>
          </p:cNvSpPr>
          <p:nvPr>
            <p:ph type="body" sz="quarter" idx="88" hasCustomPrompt="1"/>
          </p:nvPr>
        </p:nvSpPr>
        <p:spPr>
          <a:xfrm>
            <a:off x="10004797" y="4705475"/>
            <a:ext cx="1745988" cy="576342"/>
          </a:xfrm>
        </p:spPr>
        <p:txBody>
          <a:bodyPr anchor="t">
            <a:noAutofit/>
          </a:bodyPr>
          <a:lstStyle>
            <a:lvl1pPr algn="ctr">
              <a:spcBef>
                <a:spcPts val="600"/>
              </a:spcBef>
              <a:defRPr sz="1000">
                <a:solidFill>
                  <a:schemeClr val="tx2"/>
                </a:solidFill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es-ES" dirty="0"/>
              <a:t>Haz </a:t>
            </a:r>
            <a:r>
              <a:rPr lang="es-ES" dirty="0" err="1"/>
              <a:t>click</a:t>
            </a:r>
            <a:r>
              <a:rPr lang="es-ES" dirty="0"/>
              <a:t> para editar los estilos del texto del modelo global</a:t>
            </a:r>
            <a:endParaRPr lang="pt-PT" dirty="0"/>
          </a:p>
        </p:txBody>
      </p:sp>
      <p:sp>
        <p:nvSpPr>
          <p:cNvPr id="32" name="Marcador de Posição do Texto 10">
            <a:extLst>
              <a:ext uri="{FF2B5EF4-FFF2-40B4-BE49-F238E27FC236}">
                <a16:creationId xmlns:a16="http://schemas.microsoft.com/office/drawing/2014/main" id="{9522093F-51BB-1825-08DB-912E056D5517}"/>
              </a:ext>
            </a:extLst>
          </p:cNvPr>
          <p:cNvSpPr>
            <a:spLocks noGrp="1"/>
          </p:cNvSpPr>
          <p:nvPr>
            <p:ph type="body" sz="quarter" idx="89" hasCustomPrompt="1"/>
          </p:nvPr>
        </p:nvSpPr>
        <p:spPr>
          <a:xfrm>
            <a:off x="10004797" y="4450075"/>
            <a:ext cx="1745988" cy="218992"/>
          </a:xfrm>
        </p:spPr>
        <p:txBody>
          <a:bodyPr anchor="b">
            <a:noAutofit/>
          </a:bodyPr>
          <a:lstStyle>
            <a:lvl1pPr algn="ctr">
              <a:spcBef>
                <a:spcPts val="600"/>
              </a:spcBef>
              <a:defRPr lang="pt-PT" sz="1200" kern="1200" cap="all" baseline="0" dirty="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pt-PT" dirty="0"/>
              <a:t>Texto destacado</a:t>
            </a:r>
          </a:p>
        </p:txBody>
      </p:sp>
      <p:sp>
        <p:nvSpPr>
          <p:cNvPr id="18" name="Marcador de Posição do Rodapé 4">
            <a:extLst>
              <a:ext uri="{FF2B5EF4-FFF2-40B4-BE49-F238E27FC236}">
                <a16:creationId xmlns:a16="http://schemas.microsoft.com/office/drawing/2014/main" id="{6E80EE7E-2073-4C6C-9F7D-431BE03A016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12762" y="6356350"/>
            <a:ext cx="534669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accent2"/>
                </a:solidFill>
              </a:defRPr>
            </a:lvl1pPr>
          </a:lstStyle>
          <a:p>
            <a:r>
              <a:rPr lang="pt-PT"/>
              <a:t>Título de la presentación</a:t>
            </a:r>
            <a:endParaRPr lang="pt-PT" dirty="0"/>
          </a:p>
        </p:txBody>
      </p:sp>
      <p:sp>
        <p:nvSpPr>
          <p:cNvPr id="19" name="Marcador de Posição do Número do Diapositivo 5">
            <a:extLst>
              <a:ext uri="{FF2B5EF4-FFF2-40B4-BE49-F238E27FC236}">
                <a16:creationId xmlns:a16="http://schemas.microsoft.com/office/drawing/2014/main" id="{F396AEFB-D71C-4EA3-A4F1-627D77F45B3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936039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accent2"/>
                </a:solidFill>
              </a:defRPr>
            </a:lvl1pPr>
          </a:lstStyle>
          <a:p>
            <a:fld id="{24A347C2-D68E-473A-8C76-1D063E4EB6E0}" type="slidenum">
              <a:rPr lang="es-ES" smtClean="0"/>
              <a:pPr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68880020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5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1719 -0.00023 L -1.25E-6 1.85185E-6 " pathEditMode="relative" rAng="0" ptsTypes="AA">
                                      <p:cBhvr>
                                        <p:cTn id="9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859" y="0"/>
                                    </p:animMotion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25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1719 -0.00023 L -1.25E-6 1.85185E-6 " pathEditMode="relative" rAng="0" ptsTypes="AA">
                                      <p:cBhvr>
                                        <p:cTn id="14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859" y="0"/>
                                    </p:animMotion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2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2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2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2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" dur="500"/>
                                        <p:tgtEl>
                                          <p:spTgt spid="3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1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3" dur="500"/>
                                        <p:tgtEl>
                                          <p:spTgt spid="3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6" grpId="0"/>
      <p:bldP spid="6" grpId="1"/>
      <p:bldP spid="7" grpId="0">
        <p:tmplLst>
          <p:tmpl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250"/>
                        <p:tgtEl>
                          <p:spTgt spid="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7" grpId="1"/>
      <p:bldP spid="22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3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4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5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6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7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8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9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0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1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2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2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6_Esquema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6" name="Imagem 175">
            <a:extLst>
              <a:ext uri="{FF2B5EF4-FFF2-40B4-BE49-F238E27FC236}">
                <a16:creationId xmlns:a16="http://schemas.microsoft.com/office/drawing/2014/main" id="{C2CB7D37-0F74-EB98-822D-B9404CB8EFE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 l="18961" t="62986" r="17195" b="12174"/>
          <a:stretch>
            <a:fillRect/>
          </a:stretch>
        </p:blipFill>
        <p:spPr>
          <a:xfrm rot="10800000" flipV="1">
            <a:off x="5713015" y="0"/>
            <a:ext cx="5130260" cy="1995897"/>
          </a:xfrm>
          <a:prstGeom prst="rect">
            <a:avLst/>
          </a:prstGeom>
        </p:spPr>
      </p:pic>
      <p:sp>
        <p:nvSpPr>
          <p:cNvPr id="110" name="Retângulo 109">
            <a:extLst>
              <a:ext uri="{FF2B5EF4-FFF2-40B4-BE49-F238E27FC236}">
                <a16:creationId xmlns:a16="http://schemas.microsoft.com/office/drawing/2014/main" id="{5F14B9D4-2118-9D4C-D472-E85B5B07AB3E}"/>
              </a:ext>
            </a:extLst>
          </p:cNvPr>
          <p:cNvSpPr/>
          <p:nvPr userDrawn="1"/>
        </p:nvSpPr>
        <p:spPr>
          <a:xfrm flipV="1">
            <a:off x="0" y="5264877"/>
            <a:ext cx="12191999" cy="1593123"/>
          </a:xfrm>
          <a:prstGeom prst="rect">
            <a:avLst/>
          </a:prstGeom>
          <a:solidFill>
            <a:srgbClr val="184BF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  <p:sp>
        <p:nvSpPr>
          <p:cNvPr id="119" name="Forma livre: Forma 118">
            <a:extLst>
              <a:ext uri="{FF2B5EF4-FFF2-40B4-BE49-F238E27FC236}">
                <a16:creationId xmlns:a16="http://schemas.microsoft.com/office/drawing/2014/main" id="{A4538E79-C44D-8732-891C-6C3BCC227CD6}"/>
              </a:ext>
            </a:extLst>
          </p:cNvPr>
          <p:cNvSpPr/>
          <p:nvPr/>
        </p:nvSpPr>
        <p:spPr>
          <a:xfrm flipV="1">
            <a:off x="3033486" y="2031265"/>
            <a:ext cx="8643261" cy="1593124"/>
          </a:xfrm>
          <a:custGeom>
            <a:avLst/>
            <a:gdLst>
              <a:gd name="connsiteX0" fmla="*/ 7681626 w 8643261"/>
              <a:gd name="connsiteY0" fmla="*/ 1593124 h 1593124"/>
              <a:gd name="connsiteX1" fmla="*/ 8118519 w 8643261"/>
              <a:gd name="connsiteY1" fmla="*/ 1593124 h 1593124"/>
              <a:gd name="connsiteX2" fmla="*/ 8118732 w 8643261"/>
              <a:gd name="connsiteY2" fmla="*/ 1593124 h 1593124"/>
              <a:gd name="connsiteX3" fmla="*/ 8632601 w 8643261"/>
              <a:gd name="connsiteY3" fmla="*/ 1174349 h 1593124"/>
              <a:gd name="connsiteX4" fmla="*/ 8643257 w 8643261"/>
              <a:gd name="connsiteY4" fmla="*/ 1068641 h 1593124"/>
              <a:gd name="connsiteX5" fmla="*/ 8643261 w 8643261"/>
              <a:gd name="connsiteY5" fmla="*/ 1068641 h 1593124"/>
              <a:gd name="connsiteX6" fmla="*/ 8643261 w 8643261"/>
              <a:gd name="connsiteY6" fmla="*/ 1068600 h 1593124"/>
              <a:gd name="connsiteX7" fmla="*/ 8643261 w 8643261"/>
              <a:gd name="connsiteY7" fmla="*/ 0 h 1593124"/>
              <a:gd name="connsiteX8" fmla="*/ 0 w 8643261"/>
              <a:gd name="connsiteY8" fmla="*/ 0 h 1593124"/>
              <a:gd name="connsiteX9" fmla="*/ 0 w 8643261"/>
              <a:gd name="connsiteY9" fmla="*/ 1068641 h 1593124"/>
              <a:gd name="connsiteX10" fmla="*/ 3199526 w 8643261"/>
              <a:gd name="connsiteY10" fmla="*/ 1068641 h 1593124"/>
              <a:gd name="connsiteX11" fmla="*/ 0 w 8643261"/>
              <a:gd name="connsiteY11" fmla="*/ 1068666 h 1593124"/>
              <a:gd name="connsiteX12" fmla="*/ 0 w 8643261"/>
              <a:gd name="connsiteY12" fmla="*/ 1593123 h 1593124"/>
              <a:gd name="connsiteX13" fmla="*/ 7681606 w 8643261"/>
              <a:gd name="connsiteY13" fmla="*/ 1593063 h 15931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8643261" h="1593124">
                <a:moveTo>
                  <a:pt x="7681626" y="1593124"/>
                </a:moveTo>
                <a:lnTo>
                  <a:pt x="8118519" y="1593124"/>
                </a:lnTo>
                <a:lnTo>
                  <a:pt x="8118732" y="1593124"/>
                </a:lnTo>
                <a:cubicBezTo>
                  <a:pt x="8372140" y="1593124"/>
                  <a:pt x="8583676" y="1413432"/>
                  <a:pt x="8632601" y="1174349"/>
                </a:cubicBezTo>
                <a:lnTo>
                  <a:pt x="8643257" y="1068641"/>
                </a:lnTo>
                <a:lnTo>
                  <a:pt x="8643261" y="1068641"/>
                </a:lnTo>
                <a:lnTo>
                  <a:pt x="8643261" y="1068600"/>
                </a:lnTo>
                <a:lnTo>
                  <a:pt x="8643261" y="0"/>
                </a:lnTo>
                <a:lnTo>
                  <a:pt x="0" y="0"/>
                </a:lnTo>
                <a:lnTo>
                  <a:pt x="0" y="1068641"/>
                </a:lnTo>
                <a:lnTo>
                  <a:pt x="3199526" y="1068641"/>
                </a:lnTo>
                <a:lnTo>
                  <a:pt x="0" y="1068666"/>
                </a:lnTo>
                <a:lnTo>
                  <a:pt x="0" y="1593123"/>
                </a:lnTo>
                <a:lnTo>
                  <a:pt x="7681606" y="1593063"/>
                </a:lnTo>
                <a:close/>
              </a:path>
            </a:pathLst>
          </a:custGeom>
          <a:solidFill>
            <a:srgbClr val="E5E5E5"/>
          </a:solidFill>
          <a:ln w="4244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pt-PT">
              <a:solidFill>
                <a:schemeClr val="tx1"/>
              </a:solidFill>
            </a:endParaRPr>
          </a:p>
        </p:txBody>
      </p:sp>
      <p:sp>
        <p:nvSpPr>
          <p:cNvPr id="67" name="Título 6">
            <a:extLst>
              <a:ext uri="{FF2B5EF4-FFF2-40B4-BE49-F238E27FC236}">
                <a16:creationId xmlns:a16="http://schemas.microsoft.com/office/drawing/2014/main" id="{BB556261-BBB5-0EEC-0533-27519431C63C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513184" y="393484"/>
            <a:ext cx="11081915" cy="712204"/>
          </a:xfrm>
        </p:spPr>
        <p:txBody>
          <a:bodyPr>
            <a:normAutofit/>
          </a:bodyPr>
          <a:lstStyle>
            <a:lvl1pPr>
              <a:defRPr sz="3200"/>
            </a:lvl1pPr>
          </a:lstStyle>
          <a:p>
            <a:r>
              <a:rPr lang="pt-PT" dirty="0"/>
              <a:t>Insertar título de la slide</a:t>
            </a:r>
          </a:p>
        </p:txBody>
      </p:sp>
      <p:sp>
        <p:nvSpPr>
          <p:cNvPr id="68" name="Marcador de Posição do Texto 8">
            <a:extLst>
              <a:ext uri="{FF2B5EF4-FFF2-40B4-BE49-F238E27FC236}">
                <a16:creationId xmlns:a16="http://schemas.microsoft.com/office/drawing/2014/main" id="{C75EE82D-2A4D-761F-21DF-37F30DA602AD}"/>
              </a:ext>
            </a:extLst>
          </p:cNvPr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511932" y="976901"/>
            <a:ext cx="11082747" cy="355243"/>
          </a:xfrm>
        </p:spPr>
        <p:txBody>
          <a:bodyPr>
            <a:normAutofit/>
          </a:bodyPr>
          <a:lstStyle>
            <a:lvl1pPr>
              <a:defRPr sz="200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pt-PT" dirty="0"/>
              <a:t>Insertar subtítulo de la slide</a:t>
            </a:r>
          </a:p>
        </p:txBody>
      </p:sp>
      <p:sp>
        <p:nvSpPr>
          <p:cNvPr id="69" name="Marcador de Posição do Texto 85">
            <a:extLst>
              <a:ext uri="{FF2B5EF4-FFF2-40B4-BE49-F238E27FC236}">
                <a16:creationId xmlns:a16="http://schemas.microsoft.com/office/drawing/2014/main" id="{80287E38-12F4-3ADB-1455-4C8F82553B24}"/>
              </a:ext>
            </a:extLst>
          </p:cNvPr>
          <p:cNvSpPr>
            <a:spLocks noGrp="1"/>
          </p:cNvSpPr>
          <p:nvPr userDrawn="1">
            <p:ph type="body" sz="quarter" idx="88" hasCustomPrompt="1"/>
          </p:nvPr>
        </p:nvSpPr>
        <p:spPr>
          <a:xfrm>
            <a:off x="3239842" y="1499173"/>
            <a:ext cx="1913828" cy="344181"/>
          </a:xfrm>
          <a:custGeom>
            <a:avLst/>
            <a:gdLst>
              <a:gd name="connsiteX0" fmla="*/ 1282850 w 1913828"/>
              <a:gd name="connsiteY0" fmla="*/ 0 h 344181"/>
              <a:gd name="connsiteX1" fmla="*/ 1569518 w 1913828"/>
              <a:gd name="connsiteY1" fmla="*/ 0 h 344181"/>
              <a:gd name="connsiteX2" fmla="*/ 1569658 w 1913828"/>
              <a:gd name="connsiteY2" fmla="*/ 0 h 344181"/>
              <a:gd name="connsiteX3" fmla="*/ 1913828 w 1913828"/>
              <a:gd name="connsiteY3" fmla="*/ 344168 h 344181"/>
              <a:gd name="connsiteX4" fmla="*/ 1454488 w 1913828"/>
              <a:gd name="connsiteY4" fmla="*/ 344168 h 344181"/>
              <a:gd name="connsiteX5" fmla="*/ 1454488 w 1913828"/>
              <a:gd name="connsiteY5" fmla="*/ 344181 h 344181"/>
              <a:gd name="connsiteX6" fmla="*/ 630985 w 1913828"/>
              <a:gd name="connsiteY6" fmla="*/ 344150 h 344181"/>
              <a:gd name="connsiteX7" fmla="*/ 630978 w 1913828"/>
              <a:gd name="connsiteY7" fmla="*/ 344172 h 344181"/>
              <a:gd name="connsiteX8" fmla="*/ 344310 w 1913828"/>
              <a:gd name="connsiteY8" fmla="*/ 344172 h 344181"/>
              <a:gd name="connsiteX9" fmla="*/ 344170 w 1913828"/>
              <a:gd name="connsiteY9" fmla="*/ 344172 h 344181"/>
              <a:gd name="connsiteX10" fmla="*/ 0 w 1913828"/>
              <a:gd name="connsiteY10" fmla="*/ 4 h 344181"/>
              <a:gd name="connsiteX11" fmla="*/ 745700 w 1913828"/>
              <a:gd name="connsiteY11" fmla="*/ 4 h 344181"/>
              <a:gd name="connsiteX12" fmla="*/ 745691 w 1913828"/>
              <a:gd name="connsiteY12" fmla="*/ 31 h 344181"/>
              <a:gd name="connsiteX13" fmla="*/ 1282833 w 1913828"/>
              <a:gd name="connsiteY13" fmla="*/ 51 h 3441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913828" h="344181">
                <a:moveTo>
                  <a:pt x="1282850" y="0"/>
                </a:moveTo>
                <a:lnTo>
                  <a:pt x="1569518" y="0"/>
                </a:lnTo>
                <a:lnTo>
                  <a:pt x="1569658" y="0"/>
                </a:lnTo>
                <a:cubicBezTo>
                  <a:pt x="1759685" y="0"/>
                  <a:pt x="1913828" y="154000"/>
                  <a:pt x="1913828" y="344168"/>
                </a:cubicBezTo>
                <a:lnTo>
                  <a:pt x="1454488" y="344168"/>
                </a:lnTo>
                <a:lnTo>
                  <a:pt x="1454488" y="344181"/>
                </a:lnTo>
                <a:lnTo>
                  <a:pt x="630985" y="344150"/>
                </a:lnTo>
                <a:lnTo>
                  <a:pt x="630978" y="344172"/>
                </a:lnTo>
                <a:lnTo>
                  <a:pt x="344310" y="344172"/>
                </a:lnTo>
                <a:lnTo>
                  <a:pt x="344170" y="344172"/>
                </a:lnTo>
                <a:cubicBezTo>
                  <a:pt x="154143" y="344172"/>
                  <a:pt x="0" y="190173"/>
                  <a:pt x="0" y="4"/>
                </a:cubicBezTo>
                <a:lnTo>
                  <a:pt x="745700" y="4"/>
                </a:lnTo>
                <a:lnTo>
                  <a:pt x="745691" y="31"/>
                </a:lnTo>
                <a:lnTo>
                  <a:pt x="1282833" y="51"/>
                </a:lnTo>
                <a:close/>
              </a:path>
            </a:pathLst>
          </a:custGeom>
          <a:solidFill>
            <a:srgbClr val="132153"/>
          </a:solidFill>
        </p:spPr>
        <p:txBody>
          <a:bodyPr wrap="square" anchor="ctr">
            <a:noAutofit/>
          </a:bodyPr>
          <a:lstStyle>
            <a:lvl1pPr algn="ctr">
              <a:spcBef>
                <a:spcPts val="600"/>
              </a:spcBef>
              <a:defRPr lang="pt-PT" sz="1200" kern="1200" cap="all" baseline="0" dirty="0">
                <a:solidFill>
                  <a:srgbClr val="00FF94"/>
                </a:solidFill>
                <a:latin typeface="+mj-lt"/>
                <a:ea typeface="+mn-ea"/>
                <a:cs typeface="+mn-cs"/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pt-PT" dirty="0"/>
              <a:t>TEXTO</a:t>
            </a:r>
          </a:p>
        </p:txBody>
      </p:sp>
      <p:sp>
        <p:nvSpPr>
          <p:cNvPr id="70" name="Marcador de Posição do Texto 85">
            <a:extLst>
              <a:ext uri="{FF2B5EF4-FFF2-40B4-BE49-F238E27FC236}">
                <a16:creationId xmlns:a16="http://schemas.microsoft.com/office/drawing/2014/main" id="{A3314745-4DF3-70CC-E872-AFE9B68DBBEB}"/>
              </a:ext>
            </a:extLst>
          </p:cNvPr>
          <p:cNvSpPr>
            <a:spLocks noGrp="1"/>
          </p:cNvSpPr>
          <p:nvPr userDrawn="1">
            <p:ph type="body" sz="quarter" idx="89" hasCustomPrompt="1"/>
          </p:nvPr>
        </p:nvSpPr>
        <p:spPr>
          <a:xfrm>
            <a:off x="5387956" y="1499173"/>
            <a:ext cx="1913828" cy="344181"/>
          </a:xfrm>
          <a:custGeom>
            <a:avLst/>
            <a:gdLst>
              <a:gd name="connsiteX0" fmla="*/ 1282850 w 1913828"/>
              <a:gd name="connsiteY0" fmla="*/ 0 h 344181"/>
              <a:gd name="connsiteX1" fmla="*/ 1569518 w 1913828"/>
              <a:gd name="connsiteY1" fmla="*/ 0 h 344181"/>
              <a:gd name="connsiteX2" fmla="*/ 1569658 w 1913828"/>
              <a:gd name="connsiteY2" fmla="*/ 0 h 344181"/>
              <a:gd name="connsiteX3" fmla="*/ 1913828 w 1913828"/>
              <a:gd name="connsiteY3" fmla="*/ 344168 h 344181"/>
              <a:gd name="connsiteX4" fmla="*/ 1454488 w 1913828"/>
              <a:gd name="connsiteY4" fmla="*/ 344168 h 344181"/>
              <a:gd name="connsiteX5" fmla="*/ 1454488 w 1913828"/>
              <a:gd name="connsiteY5" fmla="*/ 344181 h 344181"/>
              <a:gd name="connsiteX6" fmla="*/ 630985 w 1913828"/>
              <a:gd name="connsiteY6" fmla="*/ 344150 h 344181"/>
              <a:gd name="connsiteX7" fmla="*/ 630978 w 1913828"/>
              <a:gd name="connsiteY7" fmla="*/ 344172 h 344181"/>
              <a:gd name="connsiteX8" fmla="*/ 344310 w 1913828"/>
              <a:gd name="connsiteY8" fmla="*/ 344172 h 344181"/>
              <a:gd name="connsiteX9" fmla="*/ 344170 w 1913828"/>
              <a:gd name="connsiteY9" fmla="*/ 344172 h 344181"/>
              <a:gd name="connsiteX10" fmla="*/ 0 w 1913828"/>
              <a:gd name="connsiteY10" fmla="*/ 4 h 344181"/>
              <a:gd name="connsiteX11" fmla="*/ 745700 w 1913828"/>
              <a:gd name="connsiteY11" fmla="*/ 4 h 344181"/>
              <a:gd name="connsiteX12" fmla="*/ 745691 w 1913828"/>
              <a:gd name="connsiteY12" fmla="*/ 31 h 344181"/>
              <a:gd name="connsiteX13" fmla="*/ 1282833 w 1913828"/>
              <a:gd name="connsiteY13" fmla="*/ 51 h 3441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913828" h="344181">
                <a:moveTo>
                  <a:pt x="1282850" y="0"/>
                </a:moveTo>
                <a:lnTo>
                  <a:pt x="1569518" y="0"/>
                </a:lnTo>
                <a:lnTo>
                  <a:pt x="1569658" y="0"/>
                </a:lnTo>
                <a:cubicBezTo>
                  <a:pt x="1759685" y="0"/>
                  <a:pt x="1913828" y="154000"/>
                  <a:pt x="1913828" y="344168"/>
                </a:cubicBezTo>
                <a:lnTo>
                  <a:pt x="1454488" y="344168"/>
                </a:lnTo>
                <a:lnTo>
                  <a:pt x="1454488" y="344181"/>
                </a:lnTo>
                <a:lnTo>
                  <a:pt x="630985" y="344150"/>
                </a:lnTo>
                <a:lnTo>
                  <a:pt x="630978" y="344172"/>
                </a:lnTo>
                <a:lnTo>
                  <a:pt x="344310" y="344172"/>
                </a:lnTo>
                <a:lnTo>
                  <a:pt x="344170" y="344172"/>
                </a:lnTo>
                <a:cubicBezTo>
                  <a:pt x="154143" y="344172"/>
                  <a:pt x="0" y="190173"/>
                  <a:pt x="0" y="4"/>
                </a:cubicBezTo>
                <a:lnTo>
                  <a:pt x="745700" y="4"/>
                </a:lnTo>
                <a:lnTo>
                  <a:pt x="745691" y="31"/>
                </a:lnTo>
                <a:lnTo>
                  <a:pt x="1282833" y="51"/>
                </a:lnTo>
                <a:close/>
              </a:path>
            </a:pathLst>
          </a:custGeom>
          <a:solidFill>
            <a:srgbClr val="132153"/>
          </a:solidFill>
        </p:spPr>
        <p:txBody>
          <a:bodyPr wrap="square" anchor="ctr">
            <a:noAutofit/>
          </a:bodyPr>
          <a:lstStyle>
            <a:lvl1pPr algn="ctr">
              <a:spcBef>
                <a:spcPts val="600"/>
              </a:spcBef>
              <a:defRPr lang="pt-PT" sz="1200" kern="1200" cap="all" baseline="0" dirty="0">
                <a:solidFill>
                  <a:srgbClr val="00FF94"/>
                </a:solidFill>
                <a:latin typeface="+mj-lt"/>
                <a:ea typeface="+mn-ea"/>
                <a:cs typeface="+mn-cs"/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pt-PT" dirty="0"/>
              <a:t>TEXTO</a:t>
            </a:r>
          </a:p>
        </p:txBody>
      </p:sp>
      <p:sp>
        <p:nvSpPr>
          <p:cNvPr id="71" name="Marcador de Posição do Texto 85">
            <a:extLst>
              <a:ext uri="{FF2B5EF4-FFF2-40B4-BE49-F238E27FC236}">
                <a16:creationId xmlns:a16="http://schemas.microsoft.com/office/drawing/2014/main" id="{EE59D496-0F80-6DAE-1CDF-1B816424C1AE}"/>
              </a:ext>
            </a:extLst>
          </p:cNvPr>
          <p:cNvSpPr>
            <a:spLocks noGrp="1"/>
          </p:cNvSpPr>
          <p:nvPr userDrawn="1">
            <p:ph type="body" sz="quarter" idx="90" hasCustomPrompt="1"/>
          </p:nvPr>
        </p:nvSpPr>
        <p:spPr>
          <a:xfrm>
            <a:off x="7536070" y="1499173"/>
            <a:ext cx="1913828" cy="344181"/>
          </a:xfrm>
          <a:custGeom>
            <a:avLst/>
            <a:gdLst>
              <a:gd name="connsiteX0" fmla="*/ 1282850 w 1913828"/>
              <a:gd name="connsiteY0" fmla="*/ 0 h 344181"/>
              <a:gd name="connsiteX1" fmla="*/ 1569518 w 1913828"/>
              <a:gd name="connsiteY1" fmla="*/ 0 h 344181"/>
              <a:gd name="connsiteX2" fmla="*/ 1569658 w 1913828"/>
              <a:gd name="connsiteY2" fmla="*/ 0 h 344181"/>
              <a:gd name="connsiteX3" fmla="*/ 1913828 w 1913828"/>
              <a:gd name="connsiteY3" fmla="*/ 344168 h 344181"/>
              <a:gd name="connsiteX4" fmla="*/ 1454488 w 1913828"/>
              <a:gd name="connsiteY4" fmla="*/ 344168 h 344181"/>
              <a:gd name="connsiteX5" fmla="*/ 1454488 w 1913828"/>
              <a:gd name="connsiteY5" fmla="*/ 344181 h 344181"/>
              <a:gd name="connsiteX6" fmla="*/ 630985 w 1913828"/>
              <a:gd name="connsiteY6" fmla="*/ 344150 h 344181"/>
              <a:gd name="connsiteX7" fmla="*/ 630978 w 1913828"/>
              <a:gd name="connsiteY7" fmla="*/ 344172 h 344181"/>
              <a:gd name="connsiteX8" fmla="*/ 344310 w 1913828"/>
              <a:gd name="connsiteY8" fmla="*/ 344172 h 344181"/>
              <a:gd name="connsiteX9" fmla="*/ 344170 w 1913828"/>
              <a:gd name="connsiteY9" fmla="*/ 344172 h 344181"/>
              <a:gd name="connsiteX10" fmla="*/ 0 w 1913828"/>
              <a:gd name="connsiteY10" fmla="*/ 4 h 344181"/>
              <a:gd name="connsiteX11" fmla="*/ 745700 w 1913828"/>
              <a:gd name="connsiteY11" fmla="*/ 4 h 344181"/>
              <a:gd name="connsiteX12" fmla="*/ 745691 w 1913828"/>
              <a:gd name="connsiteY12" fmla="*/ 31 h 344181"/>
              <a:gd name="connsiteX13" fmla="*/ 1282833 w 1913828"/>
              <a:gd name="connsiteY13" fmla="*/ 51 h 3441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913828" h="344181">
                <a:moveTo>
                  <a:pt x="1282850" y="0"/>
                </a:moveTo>
                <a:lnTo>
                  <a:pt x="1569518" y="0"/>
                </a:lnTo>
                <a:lnTo>
                  <a:pt x="1569658" y="0"/>
                </a:lnTo>
                <a:cubicBezTo>
                  <a:pt x="1759685" y="0"/>
                  <a:pt x="1913828" y="154000"/>
                  <a:pt x="1913828" y="344168"/>
                </a:cubicBezTo>
                <a:lnTo>
                  <a:pt x="1454488" y="344168"/>
                </a:lnTo>
                <a:lnTo>
                  <a:pt x="1454488" y="344181"/>
                </a:lnTo>
                <a:lnTo>
                  <a:pt x="630985" y="344150"/>
                </a:lnTo>
                <a:lnTo>
                  <a:pt x="630978" y="344172"/>
                </a:lnTo>
                <a:lnTo>
                  <a:pt x="344310" y="344172"/>
                </a:lnTo>
                <a:lnTo>
                  <a:pt x="344170" y="344172"/>
                </a:lnTo>
                <a:cubicBezTo>
                  <a:pt x="154143" y="344172"/>
                  <a:pt x="0" y="190173"/>
                  <a:pt x="0" y="4"/>
                </a:cubicBezTo>
                <a:lnTo>
                  <a:pt x="745700" y="4"/>
                </a:lnTo>
                <a:lnTo>
                  <a:pt x="745691" y="31"/>
                </a:lnTo>
                <a:lnTo>
                  <a:pt x="1282833" y="51"/>
                </a:lnTo>
                <a:close/>
              </a:path>
            </a:pathLst>
          </a:custGeom>
          <a:solidFill>
            <a:srgbClr val="132153"/>
          </a:solidFill>
        </p:spPr>
        <p:txBody>
          <a:bodyPr wrap="square" anchor="ctr">
            <a:noAutofit/>
          </a:bodyPr>
          <a:lstStyle>
            <a:lvl1pPr algn="ctr">
              <a:spcBef>
                <a:spcPts val="600"/>
              </a:spcBef>
              <a:defRPr lang="pt-PT" sz="1200" kern="1200" cap="all" baseline="0" dirty="0">
                <a:solidFill>
                  <a:srgbClr val="00FF94"/>
                </a:solidFill>
                <a:latin typeface="+mj-lt"/>
                <a:ea typeface="+mn-ea"/>
                <a:cs typeface="+mn-cs"/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pt-PT" dirty="0"/>
              <a:t>TEXTO</a:t>
            </a:r>
          </a:p>
        </p:txBody>
      </p:sp>
      <p:sp>
        <p:nvSpPr>
          <p:cNvPr id="72" name="Marcador de Posição do Texto 85">
            <a:extLst>
              <a:ext uri="{FF2B5EF4-FFF2-40B4-BE49-F238E27FC236}">
                <a16:creationId xmlns:a16="http://schemas.microsoft.com/office/drawing/2014/main" id="{99ACD9BA-1EE3-605D-A68D-3FF827E6FF43}"/>
              </a:ext>
            </a:extLst>
          </p:cNvPr>
          <p:cNvSpPr>
            <a:spLocks noGrp="1"/>
          </p:cNvSpPr>
          <p:nvPr userDrawn="1">
            <p:ph type="body" sz="quarter" idx="91" hasCustomPrompt="1"/>
          </p:nvPr>
        </p:nvSpPr>
        <p:spPr>
          <a:xfrm>
            <a:off x="9680851" y="1499173"/>
            <a:ext cx="1913828" cy="344181"/>
          </a:xfrm>
          <a:custGeom>
            <a:avLst/>
            <a:gdLst>
              <a:gd name="connsiteX0" fmla="*/ 1282850 w 1913828"/>
              <a:gd name="connsiteY0" fmla="*/ 0 h 344181"/>
              <a:gd name="connsiteX1" fmla="*/ 1569518 w 1913828"/>
              <a:gd name="connsiteY1" fmla="*/ 0 h 344181"/>
              <a:gd name="connsiteX2" fmla="*/ 1569658 w 1913828"/>
              <a:gd name="connsiteY2" fmla="*/ 0 h 344181"/>
              <a:gd name="connsiteX3" fmla="*/ 1913828 w 1913828"/>
              <a:gd name="connsiteY3" fmla="*/ 344168 h 344181"/>
              <a:gd name="connsiteX4" fmla="*/ 1454488 w 1913828"/>
              <a:gd name="connsiteY4" fmla="*/ 344168 h 344181"/>
              <a:gd name="connsiteX5" fmla="*/ 1454488 w 1913828"/>
              <a:gd name="connsiteY5" fmla="*/ 344181 h 344181"/>
              <a:gd name="connsiteX6" fmla="*/ 630985 w 1913828"/>
              <a:gd name="connsiteY6" fmla="*/ 344150 h 344181"/>
              <a:gd name="connsiteX7" fmla="*/ 630978 w 1913828"/>
              <a:gd name="connsiteY7" fmla="*/ 344172 h 344181"/>
              <a:gd name="connsiteX8" fmla="*/ 344310 w 1913828"/>
              <a:gd name="connsiteY8" fmla="*/ 344172 h 344181"/>
              <a:gd name="connsiteX9" fmla="*/ 344170 w 1913828"/>
              <a:gd name="connsiteY9" fmla="*/ 344172 h 344181"/>
              <a:gd name="connsiteX10" fmla="*/ 0 w 1913828"/>
              <a:gd name="connsiteY10" fmla="*/ 4 h 344181"/>
              <a:gd name="connsiteX11" fmla="*/ 745700 w 1913828"/>
              <a:gd name="connsiteY11" fmla="*/ 4 h 344181"/>
              <a:gd name="connsiteX12" fmla="*/ 745691 w 1913828"/>
              <a:gd name="connsiteY12" fmla="*/ 31 h 344181"/>
              <a:gd name="connsiteX13" fmla="*/ 1282833 w 1913828"/>
              <a:gd name="connsiteY13" fmla="*/ 51 h 3441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913828" h="344181">
                <a:moveTo>
                  <a:pt x="1282850" y="0"/>
                </a:moveTo>
                <a:lnTo>
                  <a:pt x="1569518" y="0"/>
                </a:lnTo>
                <a:lnTo>
                  <a:pt x="1569658" y="0"/>
                </a:lnTo>
                <a:cubicBezTo>
                  <a:pt x="1759685" y="0"/>
                  <a:pt x="1913828" y="154000"/>
                  <a:pt x="1913828" y="344168"/>
                </a:cubicBezTo>
                <a:lnTo>
                  <a:pt x="1454488" y="344168"/>
                </a:lnTo>
                <a:lnTo>
                  <a:pt x="1454488" y="344181"/>
                </a:lnTo>
                <a:lnTo>
                  <a:pt x="630985" y="344150"/>
                </a:lnTo>
                <a:lnTo>
                  <a:pt x="630978" y="344172"/>
                </a:lnTo>
                <a:lnTo>
                  <a:pt x="344310" y="344172"/>
                </a:lnTo>
                <a:lnTo>
                  <a:pt x="344170" y="344172"/>
                </a:lnTo>
                <a:cubicBezTo>
                  <a:pt x="154143" y="344172"/>
                  <a:pt x="0" y="190173"/>
                  <a:pt x="0" y="4"/>
                </a:cubicBezTo>
                <a:lnTo>
                  <a:pt x="745700" y="4"/>
                </a:lnTo>
                <a:lnTo>
                  <a:pt x="745691" y="31"/>
                </a:lnTo>
                <a:lnTo>
                  <a:pt x="1282833" y="51"/>
                </a:lnTo>
                <a:close/>
              </a:path>
            </a:pathLst>
          </a:custGeom>
          <a:solidFill>
            <a:srgbClr val="132153"/>
          </a:solidFill>
        </p:spPr>
        <p:txBody>
          <a:bodyPr wrap="square" anchor="ctr">
            <a:noAutofit/>
          </a:bodyPr>
          <a:lstStyle>
            <a:lvl1pPr algn="ctr">
              <a:spcBef>
                <a:spcPts val="600"/>
              </a:spcBef>
              <a:defRPr lang="pt-PT" sz="1200" kern="1200" cap="all" baseline="0" dirty="0">
                <a:solidFill>
                  <a:srgbClr val="00FF94"/>
                </a:solidFill>
                <a:latin typeface="+mj-lt"/>
                <a:ea typeface="+mn-ea"/>
                <a:cs typeface="+mn-cs"/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pt-PT" dirty="0"/>
              <a:t>TEXTO</a:t>
            </a:r>
          </a:p>
        </p:txBody>
      </p:sp>
      <p:sp>
        <p:nvSpPr>
          <p:cNvPr id="108" name="Marcador de Posição do Texto 10">
            <a:extLst>
              <a:ext uri="{FF2B5EF4-FFF2-40B4-BE49-F238E27FC236}">
                <a16:creationId xmlns:a16="http://schemas.microsoft.com/office/drawing/2014/main" id="{EE82C835-3F57-2FE3-D6FF-D45531D8BC6C}"/>
              </a:ext>
            </a:extLst>
          </p:cNvPr>
          <p:cNvSpPr>
            <a:spLocks noGrp="1"/>
          </p:cNvSpPr>
          <p:nvPr userDrawn="1">
            <p:ph type="body" sz="quarter" idx="83" hasCustomPrompt="1"/>
          </p:nvPr>
        </p:nvSpPr>
        <p:spPr>
          <a:xfrm>
            <a:off x="511932" y="2565551"/>
            <a:ext cx="1723268" cy="524518"/>
          </a:xfrm>
        </p:spPr>
        <p:txBody>
          <a:bodyPr anchor="ctr">
            <a:noAutofit/>
          </a:bodyPr>
          <a:lstStyle>
            <a:lvl1pPr algn="l">
              <a:spcBef>
                <a:spcPts val="600"/>
              </a:spcBef>
              <a:defRPr lang="pt-PT" sz="1600" kern="1200" cap="all" baseline="0" dirty="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pt-PT" dirty="0"/>
              <a:t>Texto destacado</a:t>
            </a:r>
          </a:p>
        </p:txBody>
      </p:sp>
      <p:sp>
        <p:nvSpPr>
          <p:cNvPr id="109" name="Marcador de Posição do Texto 10">
            <a:extLst>
              <a:ext uri="{FF2B5EF4-FFF2-40B4-BE49-F238E27FC236}">
                <a16:creationId xmlns:a16="http://schemas.microsoft.com/office/drawing/2014/main" id="{BD09BA01-2433-6E53-D8F7-61B21FE07E75}"/>
              </a:ext>
            </a:extLst>
          </p:cNvPr>
          <p:cNvSpPr>
            <a:spLocks noGrp="1"/>
          </p:cNvSpPr>
          <p:nvPr userDrawn="1">
            <p:ph type="body" sz="quarter" idx="92" hasCustomPrompt="1"/>
          </p:nvPr>
        </p:nvSpPr>
        <p:spPr>
          <a:xfrm>
            <a:off x="511932" y="4206902"/>
            <a:ext cx="1723268" cy="524518"/>
          </a:xfrm>
        </p:spPr>
        <p:txBody>
          <a:bodyPr anchor="ctr">
            <a:noAutofit/>
          </a:bodyPr>
          <a:lstStyle>
            <a:lvl1pPr algn="l">
              <a:spcBef>
                <a:spcPts val="600"/>
              </a:spcBef>
              <a:defRPr lang="pt-PT" sz="1600" kern="1200" cap="all" baseline="0" dirty="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pt-PT" dirty="0"/>
              <a:t>Texto destacado</a:t>
            </a:r>
          </a:p>
        </p:txBody>
      </p:sp>
      <p:sp>
        <p:nvSpPr>
          <p:cNvPr id="114" name="Marcador de Posição do Texto 113">
            <a:extLst>
              <a:ext uri="{FF2B5EF4-FFF2-40B4-BE49-F238E27FC236}">
                <a16:creationId xmlns:a16="http://schemas.microsoft.com/office/drawing/2014/main" id="{BC73BCE9-E444-7A49-D195-BA495E077072}"/>
              </a:ext>
            </a:extLst>
          </p:cNvPr>
          <p:cNvSpPr>
            <a:spLocks noGrp="1"/>
          </p:cNvSpPr>
          <p:nvPr userDrawn="1">
            <p:ph type="body" sz="quarter" idx="87" hasCustomPrompt="1"/>
          </p:nvPr>
        </p:nvSpPr>
        <p:spPr>
          <a:xfrm>
            <a:off x="3033486" y="2054416"/>
            <a:ext cx="8643261" cy="420869"/>
          </a:xfrm>
          <a:custGeom>
            <a:avLst/>
            <a:gdLst>
              <a:gd name="connsiteX0" fmla="*/ 7871692 w 8643261"/>
              <a:gd name="connsiteY0" fmla="*/ 0 h 420869"/>
              <a:gd name="connsiteX1" fmla="*/ 8222234 w 8643261"/>
              <a:gd name="connsiteY1" fmla="*/ 0 h 420869"/>
              <a:gd name="connsiteX2" fmla="*/ 8222405 w 8643261"/>
              <a:gd name="connsiteY2" fmla="*/ 0 h 420869"/>
              <a:gd name="connsiteX3" fmla="*/ 8643261 w 8643261"/>
              <a:gd name="connsiteY3" fmla="*/ 420853 h 420869"/>
              <a:gd name="connsiteX4" fmla="*/ 7968046 w 8643261"/>
              <a:gd name="connsiteY4" fmla="*/ 420853 h 420869"/>
              <a:gd name="connsiteX5" fmla="*/ 7968046 w 8643261"/>
              <a:gd name="connsiteY5" fmla="*/ 420869 h 420869"/>
              <a:gd name="connsiteX6" fmla="*/ 1932061 w 8643261"/>
              <a:gd name="connsiteY6" fmla="*/ 420822 h 420869"/>
              <a:gd name="connsiteX7" fmla="*/ 1932049 w 8643261"/>
              <a:gd name="connsiteY7" fmla="*/ 420857 h 420869"/>
              <a:gd name="connsiteX8" fmla="*/ 1581507 w 8643261"/>
              <a:gd name="connsiteY8" fmla="*/ 420857 h 420869"/>
              <a:gd name="connsiteX9" fmla="*/ 1581336 w 8643261"/>
              <a:gd name="connsiteY9" fmla="*/ 420857 h 420869"/>
              <a:gd name="connsiteX10" fmla="*/ 1545733 w 8643261"/>
              <a:gd name="connsiteY10" fmla="*/ 417269 h 420869"/>
              <a:gd name="connsiteX11" fmla="*/ 0 w 8643261"/>
              <a:gd name="connsiteY11" fmla="*/ 417269 h 420869"/>
              <a:gd name="connsiteX12" fmla="*/ 0 w 8643261"/>
              <a:gd name="connsiteY12" fmla="*/ 1 h 420869"/>
              <a:gd name="connsiteX13" fmla="*/ 2286610 w 8643261"/>
              <a:gd name="connsiteY13" fmla="*/ 1 h 420869"/>
              <a:gd name="connsiteX14" fmla="*/ 2286610 w 8643261"/>
              <a:gd name="connsiteY14" fmla="*/ 26 h 420869"/>
              <a:gd name="connsiteX15" fmla="*/ 7871669 w 8643261"/>
              <a:gd name="connsiteY15" fmla="*/ 69 h 4208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8643261" h="420869">
                <a:moveTo>
                  <a:pt x="7871692" y="0"/>
                </a:moveTo>
                <a:lnTo>
                  <a:pt x="8222234" y="0"/>
                </a:lnTo>
                <a:lnTo>
                  <a:pt x="8222405" y="0"/>
                </a:lnTo>
                <a:cubicBezTo>
                  <a:pt x="8454772" y="0"/>
                  <a:pt x="8643261" y="188312"/>
                  <a:pt x="8643261" y="420853"/>
                </a:cubicBezTo>
                <a:lnTo>
                  <a:pt x="7968046" y="420853"/>
                </a:lnTo>
                <a:lnTo>
                  <a:pt x="7968046" y="420869"/>
                </a:lnTo>
                <a:lnTo>
                  <a:pt x="1932061" y="420822"/>
                </a:lnTo>
                <a:lnTo>
                  <a:pt x="1932049" y="420857"/>
                </a:lnTo>
                <a:lnTo>
                  <a:pt x="1581507" y="420857"/>
                </a:lnTo>
                <a:lnTo>
                  <a:pt x="1581336" y="420857"/>
                </a:lnTo>
                <a:lnTo>
                  <a:pt x="1545733" y="417269"/>
                </a:lnTo>
                <a:lnTo>
                  <a:pt x="0" y="417269"/>
                </a:lnTo>
                <a:lnTo>
                  <a:pt x="0" y="1"/>
                </a:lnTo>
                <a:lnTo>
                  <a:pt x="2286610" y="1"/>
                </a:lnTo>
                <a:lnTo>
                  <a:pt x="2286610" y="26"/>
                </a:lnTo>
                <a:lnTo>
                  <a:pt x="7871669" y="69"/>
                </a:lnTo>
                <a:close/>
              </a:path>
            </a:pathLst>
          </a:custGeom>
          <a:solidFill>
            <a:schemeClr val="tx1"/>
          </a:solidFill>
        </p:spPr>
        <p:txBody>
          <a:bodyPr wrap="square" anchor="ctr">
            <a:noAutofit/>
          </a:bodyPr>
          <a:lstStyle>
            <a:lvl1pPr algn="ctr">
              <a:spcBef>
                <a:spcPts val="600"/>
              </a:spcBef>
              <a:defRPr lang="pt-PT" sz="1200" kern="1200" cap="all" baseline="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pt-PT" dirty="0"/>
              <a:t>Texto destacado</a:t>
            </a:r>
          </a:p>
        </p:txBody>
      </p:sp>
      <p:sp>
        <p:nvSpPr>
          <p:cNvPr id="115" name="Marcador de Posição do Texto 85">
            <a:extLst>
              <a:ext uri="{FF2B5EF4-FFF2-40B4-BE49-F238E27FC236}">
                <a16:creationId xmlns:a16="http://schemas.microsoft.com/office/drawing/2014/main" id="{51D3CE4F-7829-A286-9F9D-5B0D0CA27C96}"/>
              </a:ext>
            </a:extLst>
          </p:cNvPr>
          <p:cNvSpPr>
            <a:spLocks noGrp="1"/>
          </p:cNvSpPr>
          <p:nvPr userDrawn="1">
            <p:ph type="body" sz="quarter" idx="93" hasCustomPrompt="1"/>
          </p:nvPr>
        </p:nvSpPr>
        <p:spPr>
          <a:xfrm>
            <a:off x="3128317" y="3140477"/>
            <a:ext cx="1913828" cy="344181"/>
          </a:xfrm>
          <a:custGeom>
            <a:avLst/>
            <a:gdLst>
              <a:gd name="connsiteX0" fmla="*/ 1282850 w 1913828"/>
              <a:gd name="connsiteY0" fmla="*/ 0 h 344181"/>
              <a:gd name="connsiteX1" fmla="*/ 1569518 w 1913828"/>
              <a:gd name="connsiteY1" fmla="*/ 0 h 344181"/>
              <a:gd name="connsiteX2" fmla="*/ 1569658 w 1913828"/>
              <a:gd name="connsiteY2" fmla="*/ 0 h 344181"/>
              <a:gd name="connsiteX3" fmla="*/ 1913828 w 1913828"/>
              <a:gd name="connsiteY3" fmla="*/ 344168 h 344181"/>
              <a:gd name="connsiteX4" fmla="*/ 1454488 w 1913828"/>
              <a:gd name="connsiteY4" fmla="*/ 344168 h 344181"/>
              <a:gd name="connsiteX5" fmla="*/ 1454488 w 1913828"/>
              <a:gd name="connsiteY5" fmla="*/ 344181 h 344181"/>
              <a:gd name="connsiteX6" fmla="*/ 630985 w 1913828"/>
              <a:gd name="connsiteY6" fmla="*/ 344150 h 344181"/>
              <a:gd name="connsiteX7" fmla="*/ 630978 w 1913828"/>
              <a:gd name="connsiteY7" fmla="*/ 344172 h 344181"/>
              <a:gd name="connsiteX8" fmla="*/ 344310 w 1913828"/>
              <a:gd name="connsiteY8" fmla="*/ 344172 h 344181"/>
              <a:gd name="connsiteX9" fmla="*/ 344170 w 1913828"/>
              <a:gd name="connsiteY9" fmla="*/ 344172 h 344181"/>
              <a:gd name="connsiteX10" fmla="*/ 0 w 1913828"/>
              <a:gd name="connsiteY10" fmla="*/ 4 h 344181"/>
              <a:gd name="connsiteX11" fmla="*/ 745700 w 1913828"/>
              <a:gd name="connsiteY11" fmla="*/ 4 h 344181"/>
              <a:gd name="connsiteX12" fmla="*/ 745691 w 1913828"/>
              <a:gd name="connsiteY12" fmla="*/ 31 h 344181"/>
              <a:gd name="connsiteX13" fmla="*/ 1282833 w 1913828"/>
              <a:gd name="connsiteY13" fmla="*/ 51 h 3441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913828" h="344181">
                <a:moveTo>
                  <a:pt x="1282850" y="0"/>
                </a:moveTo>
                <a:lnTo>
                  <a:pt x="1569518" y="0"/>
                </a:lnTo>
                <a:lnTo>
                  <a:pt x="1569658" y="0"/>
                </a:lnTo>
                <a:cubicBezTo>
                  <a:pt x="1759685" y="0"/>
                  <a:pt x="1913828" y="154000"/>
                  <a:pt x="1913828" y="344168"/>
                </a:cubicBezTo>
                <a:lnTo>
                  <a:pt x="1454488" y="344168"/>
                </a:lnTo>
                <a:lnTo>
                  <a:pt x="1454488" y="344181"/>
                </a:lnTo>
                <a:lnTo>
                  <a:pt x="630985" y="344150"/>
                </a:lnTo>
                <a:lnTo>
                  <a:pt x="630978" y="344172"/>
                </a:lnTo>
                <a:lnTo>
                  <a:pt x="344310" y="344172"/>
                </a:lnTo>
                <a:lnTo>
                  <a:pt x="344170" y="344172"/>
                </a:lnTo>
                <a:cubicBezTo>
                  <a:pt x="154143" y="344172"/>
                  <a:pt x="0" y="190173"/>
                  <a:pt x="0" y="4"/>
                </a:cubicBezTo>
                <a:lnTo>
                  <a:pt x="745700" y="4"/>
                </a:lnTo>
                <a:lnTo>
                  <a:pt x="745691" y="31"/>
                </a:lnTo>
                <a:lnTo>
                  <a:pt x="1282833" y="51"/>
                </a:lnTo>
                <a:close/>
              </a:path>
            </a:pathLst>
          </a:custGeom>
          <a:solidFill>
            <a:schemeClr val="accent2"/>
          </a:solidFill>
        </p:spPr>
        <p:txBody>
          <a:bodyPr wrap="square" anchor="ctr">
            <a:noAutofit/>
          </a:bodyPr>
          <a:lstStyle>
            <a:lvl1pPr algn="ctr">
              <a:spcBef>
                <a:spcPts val="600"/>
              </a:spcBef>
              <a:defRPr lang="pt-PT" sz="1200" kern="1200" cap="all" baseline="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pt-PT" dirty="0"/>
              <a:t>TEXTO</a:t>
            </a:r>
          </a:p>
        </p:txBody>
      </p:sp>
      <p:sp>
        <p:nvSpPr>
          <p:cNvPr id="116" name="Marcador de Posição do Texto 85">
            <a:extLst>
              <a:ext uri="{FF2B5EF4-FFF2-40B4-BE49-F238E27FC236}">
                <a16:creationId xmlns:a16="http://schemas.microsoft.com/office/drawing/2014/main" id="{D1C30F0A-6FB8-5878-0B54-CAAE702B4BDA}"/>
              </a:ext>
            </a:extLst>
          </p:cNvPr>
          <p:cNvSpPr>
            <a:spLocks noGrp="1"/>
          </p:cNvSpPr>
          <p:nvPr userDrawn="1">
            <p:ph type="body" sz="quarter" idx="94" hasCustomPrompt="1"/>
          </p:nvPr>
        </p:nvSpPr>
        <p:spPr>
          <a:xfrm>
            <a:off x="5312170" y="3140477"/>
            <a:ext cx="1913828" cy="344181"/>
          </a:xfrm>
          <a:custGeom>
            <a:avLst/>
            <a:gdLst>
              <a:gd name="connsiteX0" fmla="*/ 1282850 w 1913828"/>
              <a:gd name="connsiteY0" fmla="*/ 0 h 344181"/>
              <a:gd name="connsiteX1" fmla="*/ 1569518 w 1913828"/>
              <a:gd name="connsiteY1" fmla="*/ 0 h 344181"/>
              <a:gd name="connsiteX2" fmla="*/ 1569658 w 1913828"/>
              <a:gd name="connsiteY2" fmla="*/ 0 h 344181"/>
              <a:gd name="connsiteX3" fmla="*/ 1913828 w 1913828"/>
              <a:gd name="connsiteY3" fmla="*/ 344168 h 344181"/>
              <a:gd name="connsiteX4" fmla="*/ 1454488 w 1913828"/>
              <a:gd name="connsiteY4" fmla="*/ 344168 h 344181"/>
              <a:gd name="connsiteX5" fmla="*/ 1454488 w 1913828"/>
              <a:gd name="connsiteY5" fmla="*/ 344181 h 344181"/>
              <a:gd name="connsiteX6" fmla="*/ 630985 w 1913828"/>
              <a:gd name="connsiteY6" fmla="*/ 344150 h 344181"/>
              <a:gd name="connsiteX7" fmla="*/ 630978 w 1913828"/>
              <a:gd name="connsiteY7" fmla="*/ 344172 h 344181"/>
              <a:gd name="connsiteX8" fmla="*/ 344310 w 1913828"/>
              <a:gd name="connsiteY8" fmla="*/ 344172 h 344181"/>
              <a:gd name="connsiteX9" fmla="*/ 344170 w 1913828"/>
              <a:gd name="connsiteY9" fmla="*/ 344172 h 344181"/>
              <a:gd name="connsiteX10" fmla="*/ 0 w 1913828"/>
              <a:gd name="connsiteY10" fmla="*/ 4 h 344181"/>
              <a:gd name="connsiteX11" fmla="*/ 745700 w 1913828"/>
              <a:gd name="connsiteY11" fmla="*/ 4 h 344181"/>
              <a:gd name="connsiteX12" fmla="*/ 745691 w 1913828"/>
              <a:gd name="connsiteY12" fmla="*/ 31 h 344181"/>
              <a:gd name="connsiteX13" fmla="*/ 1282833 w 1913828"/>
              <a:gd name="connsiteY13" fmla="*/ 51 h 3441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913828" h="344181">
                <a:moveTo>
                  <a:pt x="1282850" y="0"/>
                </a:moveTo>
                <a:lnTo>
                  <a:pt x="1569518" y="0"/>
                </a:lnTo>
                <a:lnTo>
                  <a:pt x="1569658" y="0"/>
                </a:lnTo>
                <a:cubicBezTo>
                  <a:pt x="1759685" y="0"/>
                  <a:pt x="1913828" y="154000"/>
                  <a:pt x="1913828" y="344168"/>
                </a:cubicBezTo>
                <a:lnTo>
                  <a:pt x="1454488" y="344168"/>
                </a:lnTo>
                <a:lnTo>
                  <a:pt x="1454488" y="344181"/>
                </a:lnTo>
                <a:lnTo>
                  <a:pt x="630985" y="344150"/>
                </a:lnTo>
                <a:lnTo>
                  <a:pt x="630978" y="344172"/>
                </a:lnTo>
                <a:lnTo>
                  <a:pt x="344310" y="344172"/>
                </a:lnTo>
                <a:lnTo>
                  <a:pt x="344170" y="344172"/>
                </a:lnTo>
                <a:cubicBezTo>
                  <a:pt x="154143" y="344172"/>
                  <a:pt x="0" y="190173"/>
                  <a:pt x="0" y="4"/>
                </a:cubicBezTo>
                <a:lnTo>
                  <a:pt x="745700" y="4"/>
                </a:lnTo>
                <a:lnTo>
                  <a:pt x="745691" y="31"/>
                </a:lnTo>
                <a:lnTo>
                  <a:pt x="1282833" y="51"/>
                </a:lnTo>
                <a:close/>
              </a:path>
            </a:pathLst>
          </a:custGeom>
          <a:solidFill>
            <a:schemeClr val="accent2"/>
          </a:solidFill>
        </p:spPr>
        <p:txBody>
          <a:bodyPr wrap="square" anchor="ctr">
            <a:noAutofit/>
          </a:bodyPr>
          <a:lstStyle>
            <a:lvl1pPr algn="ctr">
              <a:spcBef>
                <a:spcPts val="600"/>
              </a:spcBef>
              <a:defRPr lang="pt-PT" sz="1200" kern="1200" cap="all" baseline="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pt-PT" dirty="0"/>
              <a:t>TEXTO</a:t>
            </a:r>
          </a:p>
        </p:txBody>
      </p:sp>
      <p:sp>
        <p:nvSpPr>
          <p:cNvPr id="117" name="Marcador de Posição do Texto 85">
            <a:extLst>
              <a:ext uri="{FF2B5EF4-FFF2-40B4-BE49-F238E27FC236}">
                <a16:creationId xmlns:a16="http://schemas.microsoft.com/office/drawing/2014/main" id="{3EE3E35D-26D7-C428-0711-684E16325EBD}"/>
              </a:ext>
            </a:extLst>
          </p:cNvPr>
          <p:cNvSpPr>
            <a:spLocks noGrp="1"/>
          </p:cNvSpPr>
          <p:nvPr userDrawn="1">
            <p:ph type="body" sz="quarter" idx="95" hasCustomPrompt="1"/>
          </p:nvPr>
        </p:nvSpPr>
        <p:spPr>
          <a:xfrm>
            <a:off x="7496023" y="3140477"/>
            <a:ext cx="1913828" cy="344181"/>
          </a:xfrm>
          <a:custGeom>
            <a:avLst/>
            <a:gdLst>
              <a:gd name="connsiteX0" fmla="*/ 1282850 w 1913828"/>
              <a:gd name="connsiteY0" fmla="*/ 0 h 344181"/>
              <a:gd name="connsiteX1" fmla="*/ 1569518 w 1913828"/>
              <a:gd name="connsiteY1" fmla="*/ 0 h 344181"/>
              <a:gd name="connsiteX2" fmla="*/ 1569658 w 1913828"/>
              <a:gd name="connsiteY2" fmla="*/ 0 h 344181"/>
              <a:gd name="connsiteX3" fmla="*/ 1913828 w 1913828"/>
              <a:gd name="connsiteY3" fmla="*/ 344168 h 344181"/>
              <a:gd name="connsiteX4" fmla="*/ 1454488 w 1913828"/>
              <a:gd name="connsiteY4" fmla="*/ 344168 h 344181"/>
              <a:gd name="connsiteX5" fmla="*/ 1454488 w 1913828"/>
              <a:gd name="connsiteY5" fmla="*/ 344181 h 344181"/>
              <a:gd name="connsiteX6" fmla="*/ 630985 w 1913828"/>
              <a:gd name="connsiteY6" fmla="*/ 344150 h 344181"/>
              <a:gd name="connsiteX7" fmla="*/ 630978 w 1913828"/>
              <a:gd name="connsiteY7" fmla="*/ 344172 h 344181"/>
              <a:gd name="connsiteX8" fmla="*/ 344310 w 1913828"/>
              <a:gd name="connsiteY8" fmla="*/ 344172 h 344181"/>
              <a:gd name="connsiteX9" fmla="*/ 344170 w 1913828"/>
              <a:gd name="connsiteY9" fmla="*/ 344172 h 344181"/>
              <a:gd name="connsiteX10" fmla="*/ 0 w 1913828"/>
              <a:gd name="connsiteY10" fmla="*/ 4 h 344181"/>
              <a:gd name="connsiteX11" fmla="*/ 745700 w 1913828"/>
              <a:gd name="connsiteY11" fmla="*/ 4 h 344181"/>
              <a:gd name="connsiteX12" fmla="*/ 745691 w 1913828"/>
              <a:gd name="connsiteY12" fmla="*/ 31 h 344181"/>
              <a:gd name="connsiteX13" fmla="*/ 1282833 w 1913828"/>
              <a:gd name="connsiteY13" fmla="*/ 51 h 3441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913828" h="344181">
                <a:moveTo>
                  <a:pt x="1282850" y="0"/>
                </a:moveTo>
                <a:lnTo>
                  <a:pt x="1569518" y="0"/>
                </a:lnTo>
                <a:lnTo>
                  <a:pt x="1569658" y="0"/>
                </a:lnTo>
                <a:cubicBezTo>
                  <a:pt x="1759685" y="0"/>
                  <a:pt x="1913828" y="154000"/>
                  <a:pt x="1913828" y="344168"/>
                </a:cubicBezTo>
                <a:lnTo>
                  <a:pt x="1454488" y="344168"/>
                </a:lnTo>
                <a:lnTo>
                  <a:pt x="1454488" y="344181"/>
                </a:lnTo>
                <a:lnTo>
                  <a:pt x="630985" y="344150"/>
                </a:lnTo>
                <a:lnTo>
                  <a:pt x="630978" y="344172"/>
                </a:lnTo>
                <a:lnTo>
                  <a:pt x="344310" y="344172"/>
                </a:lnTo>
                <a:lnTo>
                  <a:pt x="344170" y="344172"/>
                </a:lnTo>
                <a:cubicBezTo>
                  <a:pt x="154143" y="344172"/>
                  <a:pt x="0" y="190173"/>
                  <a:pt x="0" y="4"/>
                </a:cubicBezTo>
                <a:lnTo>
                  <a:pt x="745700" y="4"/>
                </a:lnTo>
                <a:lnTo>
                  <a:pt x="745691" y="31"/>
                </a:lnTo>
                <a:lnTo>
                  <a:pt x="1282833" y="51"/>
                </a:lnTo>
                <a:close/>
              </a:path>
            </a:pathLst>
          </a:custGeom>
          <a:solidFill>
            <a:schemeClr val="accent2"/>
          </a:solidFill>
        </p:spPr>
        <p:txBody>
          <a:bodyPr wrap="square" anchor="ctr">
            <a:noAutofit/>
          </a:bodyPr>
          <a:lstStyle>
            <a:lvl1pPr algn="ctr">
              <a:spcBef>
                <a:spcPts val="600"/>
              </a:spcBef>
              <a:defRPr lang="pt-PT" sz="1200" kern="1200" cap="all" baseline="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pt-PT" dirty="0"/>
              <a:t>TEXTO</a:t>
            </a:r>
          </a:p>
        </p:txBody>
      </p:sp>
      <p:sp>
        <p:nvSpPr>
          <p:cNvPr id="118" name="Marcador de Posição do Texto 85">
            <a:extLst>
              <a:ext uri="{FF2B5EF4-FFF2-40B4-BE49-F238E27FC236}">
                <a16:creationId xmlns:a16="http://schemas.microsoft.com/office/drawing/2014/main" id="{88B828C3-2A4C-BF8A-F11D-3AC72F6E9983}"/>
              </a:ext>
            </a:extLst>
          </p:cNvPr>
          <p:cNvSpPr>
            <a:spLocks noGrp="1"/>
          </p:cNvSpPr>
          <p:nvPr userDrawn="1">
            <p:ph type="body" sz="quarter" idx="96" hasCustomPrompt="1"/>
          </p:nvPr>
        </p:nvSpPr>
        <p:spPr>
          <a:xfrm>
            <a:off x="9679877" y="3140477"/>
            <a:ext cx="1913828" cy="344181"/>
          </a:xfrm>
          <a:custGeom>
            <a:avLst/>
            <a:gdLst>
              <a:gd name="connsiteX0" fmla="*/ 1282850 w 1913828"/>
              <a:gd name="connsiteY0" fmla="*/ 0 h 344181"/>
              <a:gd name="connsiteX1" fmla="*/ 1569518 w 1913828"/>
              <a:gd name="connsiteY1" fmla="*/ 0 h 344181"/>
              <a:gd name="connsiteX2" fmla="*/ 1569658 w 1913828"/>
              <a:gd name="connsiteY2" fmla="*/ 0 h 344181"/>
              <a:gd name="connsiteX3" fmla="*/ 1913828 w 1913828"/>
              <a:gd name="connsiteY3" fmla="*/ 344168 h 344181"/>
              <a:gd name="connsiteX4" fmla="*/ 1454488 w 1913828"/>
              <a:gd name="connsiteY4" fmla="*/ 344168 h 344181"/>
              <a:gd name="connsiteX5" fmla="*/ 1454488 w 1913828"/>
              <a:gd name="connsiteY5" fmla="*/ 344181 h 344181"/>
              <a:gd name="connsiteX6" fmla="*/ 630985 w 1913828"/>
              <a:gd name="connsiteY6" fmla="*/ 344150 h 344181"/>
              <a:gd name="connsiteX7" fmla="*/ 630978 w 1913828"/>
              <a:gd name="connsiteY7" fmla="*/ 344172 h 344181"/>
              <a:gd name="connsiteX8" fmla="*/ 344310 w 1913828"/>
              <a:gd name="connsiteY8" fmla="*/ 344172 h 344181"/>
              <a:gd name="connsiteX9" fmla="*/ 344170 w 1913828"/>
              <a:gd name="connsiteY9" fmla="*/ 344172 h 344181"/>
              <a:gd name="connsiteX10" fmla="*/ 0 w 1913828"/>
              <a:gd name="connsiteY10" fmla="*/ 4 h 344181"/>
              <a:gd name="connsiteX11" fmla="*/ 745700 w 1913828"/>
              <a:gd name="connsiteY11" fmla="*/ 4 h 344181"/>
              <a:gd name="connsiteX12" fmla="*/ 745691 w 1913828"/>
              <a:gd name="connsiteY12" fmla="*/ 31 h 344181"/>
              <a:gd name="connsiteX13" fmla="*/ 1282833 w 1913828"/>
              <a:gd name="connsiteY13" fmla="*/ 51 h 3441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913828" h="344181">
                <a:moveTo>
                  <a:pt x="1282850" y="0"/>
                </a:moveTo>
                <a:lnTo>
                  <a:pt x="1569518" y="0"/>
                </a:lnTo>
                <a:lnTo>
                  <a:pt x="1569658" y="0"/>
                </a:lnTo>
                <a:cubicBezTo>
                  <a:pt x="1759685" y="0"/>
                  <a:pt x="1913828" y="154000"/>
                  <a:pt x="1913828" y="344168"/>
                </a:cubicBezTo>
                <a:lnTo>
                  <a:pt x="1454488" y="344168"/>
                </a:lnTo>
                <a:lnTo>
                  <a:pt x="1454488" y="344181"/>
                </a:lnTo>
                <a:lnTo>
                  <a:pt x="630985" y="344150"/>
                </a:lnTo>
                <a:lnTo>
                  <a:pt x="630978" y="344172"/>
                </a:lnTo>
                <a:lnTo>
                  <a:pt x="344310" y="344172"/>
                </a:lnTo>
                <a:lnTo>
                  <a:pt x="344170" y="344172"/>
                </a:lnTo>
                <a:cubicBezTo>
                  <a:pt x="154143" y="344172"/>
                  <a:pt x="0" y="190173"/>
                  <a:pt x="0" y="4"/>
                </a:cubicBezTo>
                <a:lnTo>
                  <a:pt x="745700" y="4"/>
                </a:lnTo>
                <a:lnTo>
                  <a:pt x="745691" y="31"/>
                </a:lnTo>
                <a:lnTo>
                  <a:pt x="1282833" y="51"/>
                </a:lnTo>
                <a:close/>
              </a:path>
            </a:pathLst>
          </a:custGeom>
          <a:solidFill>
            <a:schemeClr val="accent2"/>
          </a:solidFill>
        </p:spPr>
        <p:txBody>
          <a:bodyPr wrap="square" anchor="ctr">
            <a:noAutofit/>
          </a:bodyPr>
          <a:lstStyle>
            <a:lvl1pPr algn="ctr">
              <a:spcBef>
                <a:spcPts val="600"/>
              </a:spcBef>
              <a:defRPr lang="pt-PT" sz="1200" kern="1200" cap="all" baseline="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pt-PT" dirty="0"/>
              <a:t>TEXTO</a:t>
            </a:r>
          </a:p>
        </p:txBody>
      </p:sp>
      <p:sp>
        <p:nvSpPr>
          <p:cNvPr id="125" name="Marcador de Posição do Texto 10">
            <a:extLst>
              <a:ext uri="{FF2B5EF4-FFF2-40B4-BE49-F238E27FC236}">
                <a16:creationId xmlns:a16="http://schemas.microsoft.com/office/drawing/2014/main" id="{42963DEF-FAC0-E946-A037-0F2D3BA91F0B}"/>
              </a:ext>
            </a:extLst>
          </p:cNvPr>
          <p:cNvSpPr>
            <a:spLocks noGrp="1"/>
          </p:cNvSpPr>
          <p:nvPr>
            <p:ph type="body" sz="quarter" idx="84" hasCustomPrompt="1"/>
          </p:nvPr>
        </p:nvSpPr>
        <p:spPr>
          <a:xfrm>
            <a:off x="3167039" y="2539639"/>
            <a:ext cx="1745988" cy="576342"/>
          </a:xfrm>
        </p:spPr>
        <p:txBody>
          <a:bodyPr anchor="ctr">
            <a:noAutofit/>
          </a:bodyPr>
          <a:lstStyle>
            <a:lvl1pPr algn="ctr">
              <a:spcBef>
                <a:spcPts val="600"/>
              </a:spcBef>
              <a:defRPr sz="1200">
                <a:solidFill>
                  <a:schemeClr val="tx2"/>
                </a:solidFill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es-ES" dirty="0"/>
              <a:t>Haz </a:t>
            </a:r>
            <a:r>
              <a:rPr lang="es-ES" dirty="0" err="1"/>
              <a:t>click</a:t>
            </a:r>
            <a:r>
              <a:rPr lang="es-ES" dirty="0"/>
              <a:t> para editar los estilos del texto del modelo global</a:t>
            </a:r>
            <a:endParaRPr lang="pt-PT" dirty="0"/>
          </a:p>
        </p:txBody>
      </p:sp>
      <p:sp>
        <p:nvSpPr>
          <p:cNvPr id="126" name="Marcador de Posição do Texto 10">
            <a:extLst>
              <a:ext uri="{FF2B5EF4-FFF2-40B4-BE49-F238E27FC236}">
                <a16:creationId xmlns:a16="http://schemas.microsoft.com/office/drawing/2014/main" id="{576E1FE8-08B4-195F-7CC1-FD42BC4CE3E7}"/>
              </a:ext>
            </a:extLst>
          </p:cNvPr>
          <p:cNvSpPr>
            <a:spLocks noGrp="1"/>
          </p:cNvSpPr>
          <p:nvPr>
            <p:ph type="body" sz="quarter" idx="97" hasCustomPrompt="1"/>
          </p:nvPr>
        </p:nvSpPr>
        <p:spPr>
          <a:xfrm>
            <a:off x="5334346" y="2539639"/>
            <a:ext cx="1745988" cy="576342"/>
          </a:xfrm>
        </p:spPr>
        <p:txBody>
          <a:bodyPr anchor="ctr">
            <a:noAutofit/>
          </a:bodyPr>
          <a:lstStyle>
            <a:lvl1pPr algn="ctr">
              <a:spcBef>
                <a:spcPts val="600"/>
              </a:spcBef>
              <a:defRPr sz="1200">
                <a:solidFill>
                  <a:schemeClr val="tx2"/>
                </a:solidFill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es-ES" dirty="0"/>
              <a:t>Haz </a:t>
            </a:r>
            <a:r>
              <a:rPr lang="es-ES" dirty="0" err="1"/>
              <a:t>click</a:t>
            </a:r>
            <a:r>
              <a:rPr lang="es-ES" dirty="0"/>
              <a:t> para editar los estilos del texto del modelo global</a:t>
            </a:r>
            <a:endParaRPr lang="pt-PT" dirty="0"/>
          </a:p>
        </p:txBody>
      </p:sp>
      <p:sp>
        <p:nvSpPr>
          <p:cNvPr id="127" name="Marcador de Posição do Texto 10">
            <a:extLst>
              <a:ext uri="{FF2B5EF4-FFF2-40B4-BE49-F238E27FC236}">
                <a16:creationId xmlns:a16="http://schemas.microsoft.com/office/drawing/2014/main" id="{3F38EF71-6EA2-083B-9EFC-D7D4E6BECDFC}"/>
              </a:ext>
            </a:extLst>
          </p:cNvPr>
          <p:cNvSpPr>
            <a:spLocks noGrp="1"/>
          </p:cNvSpPr>
          <p:nvPr>
            <p:ph type="body" sz="quarter" idx="98" hasCustomPrompt="1"/>
          </p:nvPr>
        </p:nvSpPr>
        <p:spPr>
          <a:xfrm>
            <a:off x="7530254" y="2539639"/>
            <a:ext cx="1745988" cy="576342"/>
          </a:xfrm>
        </p:spPr>
        <p:txBody>
          <a:bodyPr anchor="ctr">
            <a:noAutofit/>
          </a:bodyPr>
          <a:lstStyle>
            <a:lvl1pPr algn="ctr">
              <a:spcBef>
                <a:spcPts val="600"/>
              </a:spcBef>
              <a:defRPr sz="1200">
                <a:solidFill>
                  <a:schemeClr val="tx2"/>
                </a:solidFill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es-ES" dirty="0"/>
              <a:t>Haz </a:t>
            </a:r>
            <a:r>
              <a:rPr lang="es-ES" dirty="0" err="1"/>
              <a:t>click</a:t>
            </a:r>
            <a:r>
              <a:rPr lang="es-ES" dirty="0"/>
              <a:t> para editar los estilos del texto del modelo global</a:t>
            </a:r>
            <a:endParaRPr lang="pt-PT" dirty="0"/>
          </a:p>
        </p:txBody>
      </p:sp>
      <p:sp>
        <p:nvSpPr>
          <p:cNvPr id="128" name="Marcador de Posição do Texto 10">
            <a:extLst>
              <a:ext uri="{FF2B5EF4-FFF2-40B4-BE49-F238E27FC236}">
                <a16:creationId xmlns:a16="http://schemas.microsoft.com/office/drawing/2014/main" id="{5B7BE2F8-C0C7-2454-0C4A-B80B72468CCB}"/>
              </a:ext>
            </a:extLst>
          </p:cNvPr>
          <p:cNvSpPr>
            <a:spLocks noGrp="1"/>
          </p:cNvSpPr>
          <p:nvPr>
            <p:ph type="body" sz="quarter" idx="99" hasCustomPrompt="1"/>
          </p:nvPr>
        </p:nvSpPr>
        <p:spPr>
          <a:xfrm>
            <a:off x="9746682" y="2539639"/>
            <a:ext cx="1745988" cy="576342"/>
          </a:xfrm>
        </p:spPr>
        <p:txBody>
          <a:bodyPr anchor="ctr">
            <a:noAutofit/>
          </a:bodyPr>
          <a:lstStyle>
            <a:lvl1pPr algn="ctr">
              <a:spcBef>
                <a:spcPts val="600"/>
              </a:spcBef>
              <a:defRPr sz="1200">
                <a:solidFill>
                  <a:schemeClr val="tx2"/>
                </a:solidFill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es-ES" dirty="0"/>
              <a:t>Haz </a:t>
            </a:r>
            <a:r>
              <a:rPr lang="es-ES" dirty="0" err="1"/>
              <a:t>click</a:t>
            </a:r>
            <a:r>
              <a:rPr lang="es-ES" dirty="0"/>
              <a:t> para editar los estilos del texto del modelo global</a:t>
            </a:r>
            <a:endParaRPr lang="pt-PT" dirty="0"/>
          </a:p>
        </p:txBody>
      </p:sp>
      <p:sp>
        <p:nvSpPr>
          <p:cNvPr id="130" name="Marcador de Posição do Texto 129">
            <a:extLst>
              <a:ext uri="{FF2B5EF4-FFF2-40B4-BE49-F238E27FC236}">
                <a16:creationId xmlns:a16="http://schemas.microsoft.com/office/drawing/2014/main" id="{31E79573-C0B6-6558-809C-D591FCB85F8B}"/>
              </a:ext>
            </a:extLst>
          </p:cNvPr>
          <p:cNvSpPr>
            <a:spLocks noGrp="1"/>
          </p:cNvSpPr>
          <p:nvPr>
            <p:ph type="body" sz="quarter" idx="100" hasCustomPrompt="1"/>
          </p:nvPr>
        </p:nvSpPr>
        <p:spPr>
          <a:xfrm>
            <a:off x="3033486" y="3772258"/>
            <a:ext cx="2048776" cy="1393840"/>
          </a:xfrm>
          <a:custGeom>
            <a:avLst/>
            <a:gdLst>
              <a:gd name="connsiteX0" fmla="*/ 1087141 w 2048776"/>
              <a:gd name="connsiteY0" fmla="*/ 0 h 1393840"/>
              <a:gd name="connsiteX1" fmla="*/ 1524034 w 2048776"/>
              <a:gd name="connsiteY1" fmla="*/ 0 h 1393840"/>
              <a:gd name="connsiteX2" fmla="*/ 1524247 w 2048776"/>
              <a:gd name="connsiteY2" fmla="*/ 0 h 1393840"/>
              <a:gd name="connsiteX3" fmla="*/ 2038116 w 2048776"/>
              <a:gd name="connsiteY3" fmla="*/ 418775 h 1393840"/>
              <a:gd name="connsiteX4" fmla="*/ 2048772 w 2048776"/>
              <a:gd name="connsiteY4" fmla="*/ 524483 h 1393840"/>
              <a:gd name="connsiteX5" fmla="*/ 2048776 w 2048776"/>
              <a:gd name="connsiteY5" fmla="*/ 524483 h 1393840"/>
              <a:gd name="connsiteX6" fmla="*/ 2048776 w 2048776"/>
              <a:gd name="connsiteY6" fmla="*/ 524524 h 1393840"/>
              <a:gd name="connsiteX7" fmla="*/ 2048776 w 2048776"/>
              <a:gd name="connsiteY7" fmla="*/ 1393840 h 1393840"/>
              <a:gd name="connsiteX8" fmla="*/ 0 w 2048776"/>
              <a:gd name="connsiteY8" fmla="*/ 1393840 h 1393840"/>
              <a:gd name="connsiteX9" fmla="*/ 0 w 2048776"/>
              <a:gd name="connsiteY9" fmla="*/ 524483 h 1393840"/>
              <a:gd name="connsiteX10" fmla="*/ 456342 w 2048776"/>
              <a:gd name="connsiteY10" fmla="*/ 524483 h 1393840"/>
              <a:gd name="connsiteX11" fmla="*/ 0 w 2048776"/>
              <a:gd name="connsiteY11" fmla="*/ 524458 h 1393840"/>
              <a:gd name="connsiteX12" fmla="*/ 0 w 2048776"/>
              <a:gd name="connsiteY12" fmla="*/ 1 h 1393840"/>
              <a:gd name="connsiteX13" fmla="*/ 1087121 w 2048776"/>
              <a:gd name="connsiteY13" fmla="*/ 61 h 13938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2048776" h="1393840">
                <a:moveTo>
                  <a:pt x="1087141" y="0"/>
                </a:moveTo>
                <a:lnTo>
                  <a:pt x="1524034" y="0"/>
                </a:lnTo>
                <a:lnTo>
                  <a:pt x="1524247" y="0"/>
                </a:lnTo>
                <a:cubicBezTo>
                  <a:pt x="1777654" y="0"/>
                  <a:pt x="1989191" y="179692"/>
                  <a:pt x="2038116" y="418775"/>
                </a:cubicBezTo>
                <a:lnTo>
                  <a:pt x="2048772" y="524483"/>
                </a:lnTo>
                <a:lnTo>
                  <a:pt x="2048776" y="524483"/>
                </a:lnTo>
                <a:lnTo>
                  <a:pt x="2048776" y="524524"/>
                </a:lnTo>
                <a:lnTo>
                  <a:pt x="2048776" y="1393840"/>
                </a:lnTo>
                <a:lnTo>
                  <a:pt x="0" y="1393840"/>
                </a:lnTo>
                <a:lnTo>
                  <a:pt x="0" y="524483"/>
                </a:lnTo>
                <a:lnTo>
                  <a:pt x="456342" y="524483"/>
                </a:lnTo>
                <a:lnTo>
                  <a:pt x="0" y="524458"/>
                </a:lnTo>
                <a:lnTo>
                  <a:pt x="0" y="1"/>
                </a:lnTo>
                <a:lnTo>
                  <a:pt x="1087121" y="61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tIns="144000" anchor="t">
            <a:noAutofit/>
          </a:bodyPr>
          <a:lstStyle>
            <a:lvl1pPr algn="l">
              <a:spcBef>
                <a:spcPts val="600"/>
              </a:spcBef>
              <a:defRPr lang="pt-PT" sz="1200" kern="1200" cap="all" baseline="0" dirty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pt-PT" dirty="0"/>
              <a:t>Texto destacado</a:t>
            </a:r>
          </a:p>
        </p:txBody>
      </p:sp>
      <p:sp>
        <p:nvSpPr>
          <p:cNvPr id="131" name="Marcador de Posição do Texto 130">
            <a:extLst>
              <a:ext uri="{FF2B5EF4-FFF2-40B4-BE49-F238E27FC236}">
                <a16:creationId xmlns:a16="http://schemas.microsoft.com/office/drawing/2014/main" id="{8FFEE74A-943E-A2B1-457F-8B385ED70F56}"/>
              </a:ext>
            </a:extLst>
          </p:cNvPr>
          <p:cNvSpPr>
            <a:spLocks noGrp="1"/>
          </p:cNvSpPr>
          <p:nvPr>
            <p:ph type="body" sz="quarter" idx="101" hasCustomPrompt="1"/>
          </p:nvPr>
        </p:nvSpPr>
        <p:spPr>
          <a:xfrm>
            <a:off x="5234813" y="3772258"/>
            <a:ext cx="2048776" cy="1393840"/>
          </a:xfrm>
          <a:custGeom>
            <a:avLst/>
            <a:gdLst>
              <a:gd name="connsiteX0" fmla="*/ 1087141 w 2048776"/>
              <a:gd name="connsiteY0" fmla="*/ 0 h 1393840"/>
              <a:gd name="connsiteX1" fmla="*/ 1524034 w 2048776"/>
              <a:gd name="connsiteY1" fmla="*/ 0 h 1393840"/>
              <a:gd name="connsiteX2" fmla="*/ 1524247 w 2048776"/>
              <a:gd name="connsiteY2" fmla="*/ 0 h 1393840"/>
              <a:gd name="connsiteX3" fmla="*/ 2038116 w 2048776"/>
              <a:gd name="connsiteY3" fmla="*/ 418775 h 1393840"/>
              <a:gd name="connsiteX4" fmla="*/ 2048772 w 2048776"/>
              <a:gd name="connsiteY4" fmla="*/ 524483 h 1393840"/>
              <a:gd name="connsiteX5" fmla="*/ 2048776 w 2048776"/>
              <a:gd name="connsiteY5" fmla="*/ 524483 h 1393840"/>
              <a:gd name="connsiteX6" fmla="*/ 2048776 w 2048776"/>
              <a:gd name="connsiteY6" fmla="*/ 524524 h 1393840"/>
              <a:gd name="connsiteX7" fmla="*/ 2048776 w 2048776"/>
              <a:gd name="connsiteY7" fmla="*/ 1393840 h 1393840"/>
              <a:gd name="connsiteX8" fmla="*/ 0 w 2048776"/>
              <a:gd name="connsiteY8" fmla="*/ 1393840 h 1393840"/>
              <a:gd name="connsiteX9" fmla="*/ 0 w 2048776"/>
              <a:gd name="connsiteY9" fmla="*/ 524483 h 1393840"/>
              <a:gd name="connsiteX10" fmla="*/ 456342 w 2048776"/>
              <a:gd name="connsiteY10" fmla="*/ 524483 h 1393840"/>
              <a:gd name="connsiteX11" fmla="*/ 0 w 2048776"/>
              <a:gd name="connsiteY11" fmla="*/ 524458 h 1393840"/>
              <a:gd name="connsiteX12" fmla="*/ 0 w 2048776"/>
              <a:gd name="connsiteY12" fmla="*/ 1 h 1393840"/>
              <a:gd name="connsiteX13" fmla="*/ 1087121 w 2048776"/>
              <a:gd name="connsiteY13" fmla="*/ 61 h 13938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2048776" h="1393840">
                <a:moveTo>
                  <a:pt x="1087141" y="0"/>
                </a:moveTo>
                <a:lnTo>
                  <a:pt x="1524034" y="0"/>
                </a:lnTo>
                <a:lnTo>
                  <a:pt x="1524247" y="0"/>
                </a:lnTo>
                <a:cubicBezTo>
                  <a:pt x="1777654" y="0"/>
                  <a:pt x="1989191" y="179692"/>
                  <a:pt x="2038116" y="418775"/>
                </a:cubicBezTo>
                <a:lnTo>
                  <a:pt x="2048772" y="524483"/>
                </a:lnTo>
                <a:lnTo>
                  <a:pt x="2048776" y="524483"/>
                </a:lnTo>
                <a:lnTo>
                  <a:pt x="2048776" y="524524"/>
                </a:lnTo>
                <a:lnTo>
                  <a:pt x="2048776" y="1393840"/>
                </a:lnTo>
                <a:lnTo>
                  <a:pt x="0" y="1393840"/>
                </a:lnTo>
                <a:lnTo>
                  <a:pt x="0" y="524483"/>
                </a:lnTo>
                <a:lnTo>
                  <a:pt x="456342" y="524483"/>
                </a:lnTo>
                <a:lnTo>
                  <a:pt x="0" y="524458"/>
                </a:lnTo>
                <a:lnTo>
                  <a:pt x="0" y="1"/>
                </a:lnTo>
                <a:lnTo>
                  <a:pt x="1087121" y="61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tIns="144000" anchor="t">
            <a:noAutofit/>
          </a:bodyPr>
          <a:lstStyle>
            <a:lvl1pPr algn="l">
              <a:spcBef>
                <a:spcPts val="600"/>
              </a:spcBef>
              <a:defRPr lang="pt-PT" sz="1200" kern="1200" cap="all" baseline="0" dirty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pt-PT" dirty="0"/>
              <a:t>Texto destacado</a:t>
            </a:r>
          </a:p>
        </p:txBody>
      </p:sp>
      <p:sp>
        <p:nvSpPr>
          <p:cNvPr id="132" name="Marcador de Posição do Texto 131">
            <a:extLst>
              <a:ext uri="{FF2B5EF4-FFF2-40B4-BE49-F238E27FC236}">
                <a16:creationId xmlns:a16="http://schemas.microsoft.com/office/drawing/2014/main" id="{C9CB3723-D0B6-E789-C58F-4FBFF04179F6}"/>
              </a:ext>
            </a:extLst>
          </p:cNvPr>
          <p:cNvSpPr>
            <a:spLocks noGrp="1"/>
          </p:cNvSpPr>
          <p:nvPr>
            <p:ph type="body" sz="quarter" idx="102" hasCustomPrompt="1"/>
          </p:nvPr>
        </p:nvSpPr>
        <p:spPr>
          <a:xfrm>
            <a:off x="9637467" y="3772258"/>
            <a:ext cx="2048776" cy="1393840"/>
          </a:xfrm>
          <a:custGeom>
            <a:avLst/>
            <a:gdLst>
              <a:gd name="connsiteX0" fmla="*/ 1087141 w 2048776"/>
              <a:gd name="connsiteY0" fmla="*/ 0 h 1393840"/>
              <a:gd name="connsiteX1" fmla="*/ 1524034 w 2048776"/>
              <a:gd name="connsiteY1" fmla="*/ 0 h 1393840"/>
              <a:gd name="connsiteX2" fmla="*/ 1524247 w 2048776"/>
              <a:gd name="connsiteY2" fmla="*/ 0 h 1393840"/>
              <a:gd name="connsiteX3" fmla="*/ 2038116 w 2048776"/>
              <a:gd name="connsiteY3" fmla="*/ 418775 h 1393840"/>
              <a:gd name="connsiteX4" fmla="*/ 2048772 w 2048776"/>
              <a:gd name="connsiteY4" fmla="*/ 524483 h 1393840"/>
              <a:gd name="connsiteX5" fmla="*/ 2048776 w 2048776"/>
              <a:gd name="connsiteY5" fmla="*/ 524483 h 1393840"/>
              <a:gd name="connsiteX6" fmla="*/ 2048776 w 2048776"/>
              <a:gd name="connsiteY6" fmla="*/ 524524 h 1393840"/>
              <a:gd name="connsiteX7" fmla="*/ 2048776 w 2048776"/>
              <a:gd name="connsiteY7" fmla="*/ 1393840 h 1393840"/>
              <a:gd name="connsiteX8" fmla="*/ 0 w 2048776"/>
              <a:gd name="connsiteY8" fmla="*/ 1393840 h 1393840"/>
              <a:gd name="connsiteX9" fmla="*/ 0 w 2048776"/>
              <a:gd name="connsiteY9" fmla="*/ 524483 h 1393840"/>
              <a:gd name="connsiteX10" fmla="*/ 456342 w 2048776"/>
              <a:gd name="connsiteY10" fmla="*/ 524483 h 1393840"/>
              <a:gd name="connsiteX11" fmla="*/ 0 w 2048776"/>
              <a:gd name="connsiteY11" fmla="*/ 524458 h 1393840"/>
              <a:gd name="connsiteX12" fmla="*/ 0 w 2048776"/>
              <a:gd name="connsiteY12" fmla="*/ 1 h 1393840"/>
              <a:gd name="connsiteX13" fmla="*/ 1087121 w 2048776"/>
              <a:gd name="connsiteY13" fmla="*/ 61 h 13938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2048776" h="1393840">
                <a:moveTo>
                  <a:pt x="1087141" y="0"/>
                </a:moveTo>
                <a:lnTo>
                  <a:pt x="1524034" y="0"/>
                </a:lnTo>
                <a:lnTo>
                  <a:pt x="1524247" y="0"/>
                </a:lnTo>
                <a:cubicBezTo>
                  <a:pt x="1777654" y="0"/>
                  <a:pt x="1989191" y="179692"/>
                  <a:pt x="2038116" y="418775"/>
                </a:cubicBezTo>
                <a:lnTo>
                  <a:pt x="2048772" y="524483"/>
                </a:lnTo>
                <a:lnTo>
                  <a:pt x="2048776" y="524483"/>
                </a:lnTo>
                <a:lnTo>
                  <a:pt x="2048776" y="524524"/>
                </a:lnTo>
                <a:lnTo>
                  <a:pt x="2048776" y="1393840"/>
                </a:lnTo>
                <a:lnTo>
                  <a:pt x="0" y="1393840"/>
                </a:lnTo>
                <a:lnTo>
                  <a:pt x="0" y="524483"/>
                </a:lnTo>
                <a:lnTo>
                  <a:pt x="456342" y="524483"/>
                </a:lnTo>
                <a:lnTo>
                  <a:pt x="0" y="524458"/>
                </a:lnTo>
                <a:lnTo>
                  <a:pt x="0" y="1"/>
                </a:lnTo>
                <a:lnTo>
                  <a:pt x="1087121" y="61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tIns="144000" anchor="t">
            <a:noAutofit/>
          </a:bodyPr>
          <a:lstStyle>
            <a:lvl1pPr algn="l">
              <a:spcBef>
                <a:spcPts val="600"/>
              </a:spcBef>
              <a:defRPr lang="pt-PT" sz="1200" kern="1200" cap="all" baseline="0" dirty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pt-PT" dirty="0"/>
              <a:t>Texto destacado</a:t>
            </a:r>
          </a:p>
        </p:txBody>
      </p:sp>
      <p:sp>
        <p:nvSpPr>
          <p:cNvPr id="133" name="Marcador de Posição do Texto 132">
            <a:extLst>
              <a:ext uri="{FF2B5EF4-FFF2-40B4-BE49-F238E27FC236}">
                <a16:creationId xmlns:a16="http://schemas.microsoft.com/office/drawing/2014/main" id="{49482585-6099-AC67-BF31-6DA29BA9871F}"/>
              </a:ext>
            </a:extLst>
          </p:cNvPr>
          <p:cNvSpPr>
            <a:spLocks noGrp="1"/>
          </p:cNvSpPr>
          <p:nvPr>
            <p:ph type="body" sz="quarter" idx="103" hasCustomPrompt="1"/>
          </p:nvPr>
        </p:nvSpPr>
        <p:spPr>
          <a:xfrm>
            <a:off x="7436140" y="3772258"/>
            <a:ext cx="2048776" cy="1393840"/>
          </a:xfrm>
          <a:custGeom>
            <a:avLst/>
            <a:gdLst>
              <a:gd name="connsiteX0" fmla="*/ 1087141 w 2048776"/>
              <a:gd name="connsiteY0" fmla="*/ 0 h 1393840"/>
              <a:gd name="connsiteX1" fmla="*/ 1524034 w 2048776"/>
              <a:gd name="connsiteY1" fmla="*/ 0 h 1393840"/>
              <a:gd name="connsiteX2" fmla="*/ 1524247 w 2048776"/>
              <a:gd name="connsiteY2" fmla="*/ 0 h 1393840"/>
              <a:gd name="connsiteX3" fmla="*/ 2038116 w 2048776"/>
              <a:gd name="connsiteY3" fmla="*/ 418775 h 1393840"/>
              <a:gd name="connsiteX4" fmla="*/ 2048772 w 2048776"/>
              <a:gd name="connsiteY4" fmla="*/ 524483 h 1393840"/>
              <a:gd name="connsiteX5" fmla="*/ 2048776 w 2048776"/>
              <a:gd name="connsiteY5" fmla="*/ 524483 h 1393840"/>
              <a:gd name="connsiteX6" fmla="*/ 2048776 w 2048776"/>
              <a:gd name="connsiteY6" fmla="*/ 524524 h 1393840"/>
              <a:gd name="connsiteX7" fmla="*/ 2048776 w 2048776"/>
              <a:gd name="connsiteY7" fmla="*/ 1393840 h 1393840"/>
              <a:gd name="connsiteX8" fmla="*/ 0 w 2048776"/>
              <a:gd name="connsiteY8" fmla="*/ 1393840 h 1393840"/>
              <a:gd name="connsiteX9" fmla="*/ 0 w 2048776"/>
              <a:gd name="connsiteY9" fmla="*/ 524483 h 1393840"/>
              <a:gd name="connsiteX10" fmla="*/ 456342 w 2048776"/>
              <a:gd name="connsiteY10" fmla="*/ 524483 h 1393840"/>
              <a:gd name="connsiteX11" fmla="*/ 0 w 2048776"/>
              <a:gd name="connsiteY11" fmla="*/ 524458 h 1393840"/>
              <a:gd name="connsiteX12" fmla="*/ 0 w 2048776"/>
              <a:gd name="connsiteY12" fmla="*/ 1 h 1393840"/>
              <a:gd name="connsiteX13" fmla="*/ 1087121 w 2048776"/>
              <a:gd name="connsiteY13" fmla="*/ 61 h 13938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2048776" h="1393840">
                <a:moveTo>
                  <a:pt x="1087141" y="0"/>
                </a:moveTo>
                <a:lnTo>
                  <a:pt x="1524034" y="0"/>
                </a:lnTo>
                <a:lnTo>
                  <a:pt x="1524247" y="0"/>
                </a:lnTo>
                <a:cubicBezTo>
                  <a:pt x="1777654" y="0"/>
                  <a:pt x="1989191" y="179692"/>
                  <a:pt x="2038116" y="418775"/>
                </a:cubicBezTo>
                <a:lnTo>
                  <a:pt x="2048772" y="524483"/>
                </a:lnTo>
                <a:lnTo>
                  <a:pt x="2048776" y="524483"/>
                </a:lnTo>
                <a:lnTo>
                  <a:pt x="2048776" y="524524"/>
                </a:lnTo>
                <a:lnTo>
                  <a:pt x="2048776" y="1393840"/>
                </a:lnTo>
                <a:lnTo>
                  <a:pt x="0" y="1393840"/>
                </a:lnTo>
                <a:lnTo>
                  <a:pt x="0" y="524483"/>
                </a:lnTo>
                <a:lnTo>
                  <a:pt x="456342" y="524483"/>
                </a:lnTo>
                <a:lnTo>
                  <a:pt x="0" y="524458"/>
                </a:lnTo>
                <a:lnTo>
                  <a:pt x="0" y="1"/>
                </a:lnTo>
                <a:lnTo>
                  <a:pt x="1087121" y="61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tIns="144000" anchor="t">
            <a:noAutofit/>
          </a:bodyPr>
          <a:lstStyle>
            <a:lvl1pPr algn="l">
              <a:spcBef>
                <a:spcPts val="600"/>
              </a:spcBef>
              <a:defRPr lang="pt-PT" sz="1200" kern="1200" cap="all" baseline="0" dirty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pt-PT" dirty="0"/>
              <a:t>Texto destacado</a:t>
            </a:r>
          </a:p>
        </p:txBody>
      </p:sp>
      <p:sp>
        <p:nvSpPr>
          <p:cNvPr id="171" name="Marcador de Posição do Texto 10">
            <a:extLst>
              <a:ext uri="{FF2B5EF4-FFF2-40B4-BE49-F238E27FC236}">
                <a16:creationId xmlns:a16="http://schemas.microsoft.com/office/drawing/2014/main" id="{E8B671B1-E393-3FFF-2381-0D48D1C1380C}"/>
              </a:ext>
            </a:extLst>
          </p:cNvPr>
          <p:cNvSpPr>
            <a:spLocks noGrp="1"/>
          </p:cNvSpPr>
          <p:nvPr userDrawn="1">
            <p:ph type="body" sz="quarter" idx="104" hasCustomPrompt="1"/>
          </p:nvPr>
        </p:nvSpPr>
        <p:spPr>
          <a:xfrm>
            <a:off x="3167039" y="5630924"/>
            <a:ext cx="1745988" cy="300245"/>
          </a:xfrm>
        </p:spPr>
        <p:txBody>
          <a:bodyPr anchor="t">
            <a:noAutofit/>
          </a:bodyPr>
          <a:lstStyle>
            <a:lvl1pPr algn="ctr">
              <a:spcBef>
                <a:spcPts val="600"/>
              </a:spcBef>
              <a:defRPr sz="1200">
                <a:solidFill>
                  <a:schemeClr val="bg1"/>
                </a:solidFill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es-ES" dirty="0"/>
              <a:t>Haz </a:t>
            </a:r>
            <a:r>
              <a:rPr lang="es-ES" dirty="0" err="1"/>
              <a:t>click</a:t>
            </a:r>
            <a:r>
              <a:rPr lang="es-ES" dirty="0"/>
              <a:t> para editar los estilos del texto del modelo global</a:t>
            </a:r>
            <a:endParaRPr lang="pt-PT" dirty="0"/>
          </a:p>
        </p:txBody>
      </p:sp>
      <p:sp>
        <p:nvSpPr>
          <p:cNvPr id="172" name="Marcador de Posição do Texto 10">
            <a:extLst>
              <a:ext uri="{FF2B5EF4-FFF2-40B4-BE49-F238E27FC236}">
                <a16:creationId xmlns:a16="http://schemas.microsoft.com/office/drawing/2014/main" id="{37464756-5D88-E518-7237-DC102F41D7B2}"/>
              </a:ext>
            </a:extLst>
          </p:cNvPr>
          <p:cNvSpPr>
            <a:spLocks noGrp="1"/>
          </p:cNvSpPr>
          <p:nvPr userDrawn="1">
            <p:ph type="body" sz="quarter" idx="105" hasCustomPrompt="1"/>
          </p:nvPr>
        </p:nvSpPr>
        <p:spPr>
          <a:xfrm>
            <a:off x="5340666" y="5630924"/>
            <a:ext cx="1745988" cy="300245"/>
          </a:xfrm>
        </p:spPr>
        <p:txBody>
          <a:bodyPr anchor="t">
            <a:noAutofit/>
          </a:bodyPr>
          <a:lstStyle>
            <a:lvl1pPr algn="ctr">
              <a:spcBef>
                <a:spcPts val="600"/>
              </a:spcBef>
              <a:defRPr sz="1200">
                <a:solidFill>
                  <a:schemeClr val="bg1"/>
                </a:solidFill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es-ES" dirty="0"/>
              <a:t>Haz </a:t>
            </a:r>
            <a:r>
              <a:rPr lang="es-ES" dirty="0" err="1"/>
              <a:t>click</a:t>
            </a:r>
            <a:r>
              <a:rPr lang="es-ES" dirty="0"/>
              <a:t> para editar los estilos del texto del modelo global</a:t>
            </a:r>
            <a:endParaRPr lang="pt-PT" dirty="0"/>
          </a:p>
        </p:txBody>
      </p:sp>
      <p:sp>
        <p:nvSpPr>
          <p:cNvPr id="173" name="Marcador de Posição do Texto 10">
            <a:extLst>
              <a:ext uri="{FF2B5EF4-FFF2-40B4-BE49-F238E27FC236}">
                <a16:creationId xmlns:a16="http://schemas.microsoft.com/office/drawing/2014/main" id="{F3441BA6-5991-2DAA-B6E3-8A06FC597F2A}"/>
              </a:ext>
            </a:extLst>
          </p:cNvPr>
          <p:cNvSpPr>
            <a:spLocks noGrp="1"/>
          </p:cNvSpPr>
          <p:nvPr userDrawn="1">
            <p:ph type="body" sz="quarter" idx="106" hasCustomPrompt="1"/>
          </p:nvPr>
        </p:nvSpPr>
        <p:spPr>
          <a:xfrm>
            <a:off x="7575530" y="5630924"/>
            <a:ext cx="1745988" cy="300245"/>
          </a:xfrm>
        </p:spPr>
        <p:txBody>
          <a:bodyPr anchor="t">
            <a:noAutofit/>
          </a:bodyPr>
          <a:lstStyle>
            <a:lvl1pPr algn="ctr">
              <a:spcBef>
                <a:spcPts val="600"/>
              </a:spcBef>
              <a:defRPr sz="1200">
                <a:solidFill>
                  <a:schemeClr val="bg1"/>
                </a:solidFill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es-ES" dirty="0"/>
              <a:t>Haz </a:t>
            </a:r>
            <a:r>
              <a:rPr lang="es-ES" dirty="0" err="1"/>
              <a:t>click</a:t>
            </a:r>
            <a:r>
              <a:rPr lang="es-ES" dirty="0"/>
              <a:t> para editar los estilos del texto del modelo global</a:t>
            </a:r>
            <a:endParaRPr lang="pt-PT" dirty="0"/>
          </a:p>
        </p:txBody>
      </p:sp>
      <p:sp>
        <p:nvSpPr>
          <p:cNvPr id="175" name="Marcador de Posição do Texto 10">
            <a:extLst>
              <a:ext uri="{FF2B5EF4-FFF2-40B4-BE49-F238E27FC236}">
                <a16:creationId xmlns:a16="http://schemas.microsoft.com/office/drawing/2014/main" id="{98955E5E-5A8E-4D00-50FB-0A2C95CDBCA1}"/>
              </a:ext>
            </a:extLst>
          </p:cNvPr>
          <p:cNvSpPr>
            <a:spLocks noGrp="1"/>
          </p:cNvSpPr>
          <p:nvPr userDrawn="1">
            <p:ph type="body" sz="quarter" idx="107" hasCustomPrompt="1"/>
          </p:nvPr>
        </p:nvSpPr>
        <p:spPr>
          <a:xfrm>
            <a:off x="9786837" y="5630924"/>
            <a:ext cx="1745988" cy="300245"/>
          </a:xfrm>
        </p:spPr>
        <p:txBody>
          <a:bodyPr anchor="t">
            <a:noAutofit/>
          </a:bodyPr>
          <a:lstStyle>
            <a:lvl1pPr algn="ctr">
              <a:spcBef>
                <a:spcPts val="600"/>
              </a:spcBef>
              <a:defRPr sz="1200">
                <a:solidFill>
                  <a:schemeClr val="bg1"/>
                </a:solidFill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es-ES" dirty="0"/>
              <a:t>Haz </a:t>
            </a:r>
            <a:r>
              <a:rPr lang="es-ES" dirty="0" err="1"/>
              <a:t>click</a:t>
            </a:r>
            <a:r>
              <a:rPr lang="es-ES" dirty="0"/>
              <a:t> para editar los estilos del texto del modelo global</a:t>
            </a:r>
            <a:endParaRPr lang="pt-PT" dirty="0"/>
          </a:p>
        </p:txBody>
      </p:sp>
      <p:sp>
        <p:nvSpPr>
          <p:cNvPr id="190" name="Marcador de Posição do Texto 189">
            <a:extLst>
              <a:ext uri="{FF2B5EF4-FFF2-40B4-BE49-F238E27FC236}">
                <a16:creationId xmlns:a16="http://schemas.microsoft.com/office/drawing/2014/main" id="{CDCA1CDD-1F55-9BDF-4D28-CB125A9DC9B0}"/>
              </a:ext>
            </a:extLst>
          </p:cNvPr>
          <p:cNvSpPr>
            <a:spLocks noGrp="1"/>
          </p:cNvSpPr>
          <p:nvPr>
            <p:ph type="body" sz="quarter" idx="108" hasCustomPrompt="1"/>
          </p:nvPr>
        </p:nvSpPr>
        <p:spPr>
          <a:xfrm>
            <a:off x="3143695" y="4188816"/>
            <a:ext cx="850357" cy="330324"/>
          </a:xfrm>
          <a:custGeom>
            <a:avLst/>
            <a:gdLst>
              <a:gd name="connsiteX0" fmla="*/ 577083 w 850357"/>
              <a:gd name="connsiteY0" fmla="*/ 0 h 330324"/>
              <a:gd name="connsiteX1" fmla="*/ 577083 w 850357"/>
              <a:gd name="connsiteY1" fmla="*/ 13 h 330324"/>
              <a:gd name="connsiteX2" fmla="*/ 850357 w 850357"/>
              <a:gd name="connsiteY2" fmla="*/ 13 h 330324"/>
              <a:gd name="connsiteX3" fmla="*/ 586598 w 850357"/>
              <a:gd name="connsiteY3" fmla="*/ 323617 h 330324"/>
              <a:gd name="connsiteX4" fmla="*/ 577083 w 850357"/>
              <a:gd name="connsiteY4" fmla="*/ 324576 h 330324"/>
              <a:gd name="connsiteX5" fmla="*/ 577083 w 850357"/>
              <a:gd name="connsiteY5" fmla="*/ 330269 h 330324"/>
              <a:gd name="connsiteX6" fmla="*/ 520551 w 850357"/>
              <a:gd name="connsiteY6" fmla="*/ 330273 h 330324"/>
              <a:gd name="connsiteX7" fmla="*/ 520043 w 850357"/>
              <a:gd name="connsiteY7" fmla="*/ 330324 h 330324"/>
              <a:gd name="connsiteX8" fmla="*/ 519909 w 850357"/>
              <a:gd name="connsiteY8" fmla="*/ 330324 h 330324"/>
              <a:gd name="connsiteX9" fmla="*/ 244782 w 850357"/>
              <a:gd name="connsiteY9" fmla="*/ 330324 h 330324"/>
              <a:gd name="connsiteX10" fmla="*/ 244772 w 850357"/>
              <a:gd name="connsiteY10" fmla="*/ 330292 h 330324"/>
              <a:gd name="connsiteX11" fmla="*/ 0 w 850357"/>
              <a:gd name="connsiteY11" fmla="*/ 330308 h 330324"/>
              <a:gd name="connsiteX12" fmla="*/ 0 w 850357"/>
              <a:gd name="connsiteY12" fmla="*/ 39 h 330324"/>
              <a:gd name="connsiteX13" fmla="*/ 134685 w 850357"/>
              <a:gd name="connsiteY13" fmla="*/ 30 h 330324"/>
              <a:gd name="connsiteX14" fmla="*/ 134679 w 850357"/>
              <a:gd name="connsiteY14" fmla="*/ 13 h 330324"/>
              <a:gd name="connsiteX15" fmla="*/ 384722 w 850357"/>
              <a:gd name="connsiteY15" fmla="*/ 13 h 3303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850357" h="330324">
                <a:moveTo>
                  <a:pt x="577083" y="0"/>
                </a:moveTo>
                <a:lnTo>
                  <a:pt x="577083" y="13"/>
                </a:lnTo>
                <a:lnTo>
                  <a:pt x="850357" y="13"/>
                </a:lnTo>
                <a:cubicBezTo>
                  <a:pt x="850357" y="159711"/>
                  <a:pt x="737092" y="292832"/>
                  <a:pt x="586598" y="323617"/>
                </a:cubicBezTo>
                <a:lnTo>
                  <a:pt x="577083" y="324576"/>
                </a:lnTo>
                <a:lnTo>
                  <a:pt x="577083" y="330269"/>
                </a:lnTo>
                <a:lnTo>
                  <a:pt x="520551" y="330273"/>
                </a:lnTo>
                <a:lnTo>
                  <a:pt x="520043" y="330324"/>
                </a:lnTo>
                <a:lnTo>
                  <a:pt x="519909" y="330324"/>
                </a:lnTo>
                <a:lnTo>
                  <a:pt x="244782" y="330324"/>
                </a:lnTo>
                <a:lnTo>
                  <a:pt x="244772" y="330292"/>
                </a:lnTo>
                <a:lnTo>
                  <a:pt x="0" y="330308"/>
                </a:lnTo>
                <a:lnTo>
                  <a:pt x="0" y="39"/>
                </a:lnTo>
                <a:lnTo>
                  <a:pt x="134685" y="30"/>
                </a:lnTo>
                <a:lnTo>
                  <a:pt x="134679" y="13"/>
                </a:lnTo>
                <a:lnTo>
                  <a:pt x="384722" y="13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anchor="ctr">
            <a:noAutofit/>
          </a:bodyPr>
          <a:lstStyle>
            <a:lvl1pPr algn="ctr">
              <a:spcBef>
                <a:spcPts val="600"/>
              </a:spcBef>
              <a:defRPr sz="900">
                <a:solidFill>
                  <a:schemeClr val="bg1"/>
                </a:solidFill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pt-PT" dirty="0"/>
              <a:t>Texto</a:t>
            </a:r>
          </a:p>
        </p:txBody>
      </p:sp>
      <p:sp>
        <p:nvSpPr>
          <p:cNvPr id="192" name="Marcador de Posição do Texto 191">
            <a:extLst>
              <a:ext uri="{FF2B5EF4-FFF2-40B4-BE49-F238E27FC236}">
                <a16:creationId xmlns:a16="http://schemas.microsoft.com/office/drawing/2014/main" id="{28363E9D-763B-154B-DB36-BE50E274DBAE}"/>
              </a:ext>
            </a:extLst>
          </p:cNvPr>
          <p:cNvSpPr>
            <a:spLocks noGrp="1"/>
          </p:cNvSpPr>
          <p:nvPr>
            <p:ph type="body" sz="quarter" idx="109" hasCustomPrompt="1"/>
          </p:nvPr>
        </p:nvSpPr>
        <p:spPr>
          <a:xfrm>
            <a:off x="3143693" y="4649727"/>
            <a:ext cx="1791894" cy="330324"/>
          </a:xfrm>
          <a:custGeom>
            <a:avLst/>
            <a:gdLst>
              <a:gd name="connsiteX0" fmla="*/ 1297484 w 1791894"/>
              <a:gd name="connsiteY0" fmla="*/ 0 h 330324"/>
              <a:gd name="connsiteX1" fmla="*/ 1297484 w 1791894"/>
              <a:gd name="connsiteY1" fmla="*/ 13 h 330324"/>
              <a:gd name="connsiteX2" fmla="*/ 1791894 w 1791894"/>
              <a:gd name="connsiteY2" fmla="*/ 13 h 330324"/>
              <a:gd name="connsiteX3" fmla="*/ 1461580 w 1791894"/>
              <a:gd name="connsiteY3" fmla="*/ 330324 h 330324"/>
              <a:gd name="connsiteX4" fmla="*/ 1461446 w 1791894"/>
              <a:gd name="connsiteY4" fmla="*/ 330324 h 330324"/>
              <a:gd name="connsiteX5" fmla="*/ 1186319 w 1791894"/>
              <a:gd name="connsiteY5" fmla="*/ 330324 h 330324"/>
              <a:gd name="connsiteX6" fmla="*/ 1186302 w 1791894"/>
              <a:gd name="connsiteY6" fmla="*/ 330273 h 330324"/>
              <a:gd name="connsiteX7" fmla="*/ 0 w 1791894"/>
              <a:gd name="connsiteY7" fmla="*/ 330308 h 330324"/>
              <a:gd name="connsiteX8" fmla="*/ 0 w 1791894"/>
              <a:gd name="connsiteY8" fmla="*/ 39 h 3303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791894" h="330324">
                <a:moveTo>
                  <a:pt x="1297484" y="0"/>
                </a:moveTo>
                <a:lnTo>
                  <a:pt x="1297484" y="13"/>
                </a:lnTo>
                <a:lnTo>
                  <a:pt x="1791894" y="13"/>
                </a:lnTo>
                <a:cubicBezTo>
                  <a:pt x="1791894" y="182525"/>
                  <a:pt x="1643956" y="330324"/>
                  <a:pt x="1461580" y="330324"/>
                </a:cubicBezTo>
                <a:lnTo>
                  <a:pt x="1461446" y="330324"/>
                </a:lnTo>
                <a:lnTo>
                  <a:pt x="1186319" y="330324"/>
                </a:lnTo>
                <a:lnTo>
                  <a:pt x="1186302" y="330273"/>
                </a:lnTo>
                <a:lnTo>
                  <a:pt x="0" y="330308"/>
                </a:lnTo>
                <a:lnTo>
                  <a:pt x="0" y="39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anchor="ctr">
            <a:noAutofit/>
          </a:bodyPr>
          <a:lstStyle>
            <a:lvl1pPr algn="ctr">
              <a:spcBef>
                <a:spcPts val="600"/>
              </a:spcBef>
              <a:defRPr sz="900">
                <a:solidFill>
                  <a:schemeClr val="bg1"/>
                </a:solidFill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pt-PT" dirty="0"/>
              <a:t>Texto</a:t>
            </a:r>
          </a:p>
        </p:txBody>
      </p:sp>
      <p:sp>
        <p:nvSpPr>
          <p:cNvPr id="193" name="Marcador de Posição do Texto 192">
            <a:extLst>
              <a:ext uri="{FF2B5EF4-FFF2-40B4-BE49-F238E27FC236}">
                <a16:creationId xmlns:a16="http://schemas.microsoft.com/office/drawing/2014/main" id="{3F8C9206-B2E0-AA32-81BE-B86FBEBF2DD1}"/>
              </a:ext>
            </a:extLst>
          </p:cNvPr>
          <p:cNvSpPr>
            <a:spLocks noGrp="1"/>
          </p:cNvSpPr>
          <p:nvPr>
            <p:ph type="body" sz="quarter" idx="110" hasCustomPrompt="1"/>
          </p:nvPr>
        </p:nvSpPr>
        <p:spPr>
          <a:xfrm>
            <a:off x="4085230" y="4188816"/>
            <a:ext cx="850357" cy="330324"/>
          </a:xfrm>
          <a:custGeom>
            <a:avLst/>
            <a:gdLst>
              <a:gd name="connsiteX0" fmla="*/ 577083 w 850357"/>
              <a:gd name="connsiteY0" fmla="*/ 0 h 330324"/>
              <a:gd name="connsiteX1" fmla="*/ 577083 w 850357"/>
              <a:gd name="connsiteY1" fmla="*/ 13 h 330324"/>
              <a:gd name="connsiteX2" fmla="*/ 850357 w 850357"/>
              <a:gd name="connsiteY2" fmla="*/ 13 h 330324"/>
              <a:gd name="connsiteX3" fmla="*/ 586598 w 850357"/>
              <a:gd name="connsiteY3" fmla="*/ 323617 h 330324"/>
              <a:gd name="connsiteX4" fmla="*/ 577083 w 850357"/>
              <a:gd name="connsiteY4" fmla="*/ 324576 h 330324"/>
              <a:gd name="connsiteX5" fmla="*/ 577083 w 850357"/>
              <a:gd name="connsiteY5" fmla="*/ 330269 h 330324"/>
              <a:gd name="connsiteX6" fmla="*/ 520551 w 850357"/>
              <a:gd name="connsiteY6" fmla="*/ 330273 h 330324"/>
              <a:gd name="connsiteX7" fmla="*/ 520043 w 850357"/>
              <a:gd name="connsiteY7" fmla="*/ 330324 h 330324"/>
              <a:gd name="connsiteX8" fmla="*/ 519909 w 850357"/>
              <a:gd name="connsiteY8" fmla="*/ 330324 h 330324"/>
              <a:gd name="connsiteX9" fmla="*/ 244782 w 850357"/>
              <a:gd name="connsiteY9" fmla="*/ 330324 h 330324"/>
              <a:gd name="connsiteX10" fmla="*/ 244772 w 850357"/>
              <a:gd name="connsiteY10" fmla="*/ 330292 h 330324"/>
              <a:gd name="connsiteX11" fmla="*/ 0 w 850357"/>
              <a:gd name="connsiteY11" fmla="*/ 330308 h 330324"/>
              <a:gd name="connsiteX12" fmla="*/ 0 w 850357"/>
              <a:gd name="connsiteY12" fmla="*/ 39 h 330324"/>
              <a:gd name="connsiteX13" fmla="*/ 134685 w 850357"/>
              <a:gd name="connsiteY13" fmla="*/ 30 h 330324"/>
              <a:gd name="connsiteX14" fmla="*/ 134679 w 850357"/>
              <a:gd name="connsiteY14" fmla="*/ 13 h 330324"/>
              <a:gd name="connsiteX15" fmla="*/ 384722 w 850357"/>
              <a:gd name="connsiteY15" fmla="*/ 13 h 3303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850357" h="330324">
                <a:moveTo>
                  <a:pt x="577083" y="0"/>
                </a:moveTo>
                <a:lnTo>
                  <a:pt x="577083" y="13"/>
                </a:lnTo>
                <a:lnTo>
                  <a:pt x="850357" y="13"/>
                </a:lnTo>
                <a:cubicBezTo>
                  <a:pt x="850357" y="159711"/>
                  <a:pt x="737092" y="292832"/>
                  <a:pt x="586598" y="323617"/>
                </a:cubicBezTo>
                <a:lnTo>
                  <a:pt x="577083" y="324576"/>
                </a:lnTo>
                <a:lnTo>
                  <a:pt x="577083" y="330269"/>
                </a:lnTo>
                <a:lnTo>
                  <a:pt x="520551" y="330273"/>
                </a:lnTo>
                <a:lnTo>
                  <a:pt x="520043" y="330324"/>
                </a:lnTo>
                <a:lnTo>
                  <a:pt x="519909" y="330324"/>
                </a:lnTo>
                <a:lnTo>
                  <a:pt x="244782" y="330324"/>
                </a:lnTo>
                <a:lnTo>
                  <a:pt x="244772" y="330292"/>
                </a:lnTo>
                <a:lnTo>
                  <a:pt x="0" y="330308"/>
                </a:lnTo>
                <a:lnTo>
                  <a:pt x="0" y="39"/>
                </a:lnTo>
                <a:lnTo>
                  <a:pt x="134685" y="30"/>
                </a:lnTo>
                <a:lnTo>
                  <a:pt x="134679" y="13"/>
                </a:lnTo>
                <a:lnTo>
                  <a:pt x="384722" y="13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anchor="ctr">
            <a:noAutofit/>
          </a:bodyPr>
          <a:lstStyle>
            <a:lvl1pPr algn="ctr">
              <a:spcBef>
                <a:spcPts val="600"/>
              </a:spcBef>
              <a:defRPr sz="900">
                <a:solidFill>
                  <a:schemeClr val="bg1"/>
                </a:solidFill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pt-PT" dirty="0"/>
              <a:t>Texto</a:t>
            </a:r>
          </a:p>
        </p:txBody>
      </p:sp>
      <p:sp>
        <p:nvSpPr>
          <p:cNvPr id="194" name="Marcador de Posição do Texto 193">
            <a:extLst>
              <a:ext uri="{FF2B5EF4-FFF2-40B4-BE49-F238E27FC236}">
                <a16:creationId xmlns:a16="http://schemas.microsoft.com/office/drawing/2014/main" id="{81C8C0DB-46C0-01A9-00D9-6C042814FC57}"/>
              </a:ext>
            </a:extLst>
          </p:cNvPr>
          <p:cNvSpPr>
            <a:spLocks noGrp="1"/>
          </p:cNvSpPr>
          <p:nvPr>
            <p:ph type="body" sz="quarter" idx="111" hasCustomPrompt="1"/>
          </p:nvPr>
        </p:nvSpPr>
        <p:spPr>
          <a:xfrm>
            <a:off x="5339973" y="4188816"/>
            <a:ext cx="850357" cy="330324"/>
          </a:xfrm>
          <a:custGeom>
            <a:avLst/>
            <a:gdLst>
              <a:gd name="connsiteX0" fmla="*/ 577083 w 850357"/>
              <a:gd name="connsiteY0" fmla="*/ 0 h 330324"/>
              <a:gd name="connsiteX1" fmla="*/ 577083 w 850357"/>
              <a:gd name="connsiteY1" fmla="*/ 13 h 330324"/>
              <a:gd name="connsiteX2" fmla="*/ 850357 w 850357"/>
              <a:gd name="connsiteY2" fmla="*/ 13 h 330324"/>
              <a:gd name="connsiteX3" fmla="*/ 586598 w 850357"/>
              <a:gd name="connsiteY3" fmla="*/ 323617 h 330324"/>
              <a:gd name="connsiteX4" fmla="*/ 577083 w 850357"/>
              <a:gd name="connsiteY4" fmla="*/ 324576 h 330324"/>
              <a:gd name="connsiteX5" fmla="*/ 577083 w 850357"/>
              <a:gd name="connsiteY5" fmla="*/ 330269 h 330324"/>
              <a:gd name="connsiteX6" fmla="*/ 520551 w 850357"/>
              <a:gd name="connsiteY6" fmla="*/ 330273 h 330324"/>
              <a:gd name="connsiteX7" fmla="*/ 520043 w 850357"/>
              <a:gd name="connsiteY7" fmla="*/ 330324 h 330324"/>
              <a:gd name="connsiteX8" fmla="*/ 519909 w 850357"/>
              <a:gd name="connsiteY8" fmla="*/ 330324 h 330324"/>
              <a:gd name="connsiteX9" fmla="*/ 244782 w 850357"/>
              <a:gd name="connsiteY9" fmla="*/ 330324 h 330324"/>
              <a:gd name="connsiteX10" fmla="*/ 244772 w 850357"/>
              <a:gd name="connsiteY10" fmla="*/ 330292 h 330324"/>
              <a:gd name="connsiteX11" fmla="*/ 0 w 850357"/>
              <a:gd name="connsiteY11" fmla="*/ 330308 h 330324"/>
              <a:gd name="connsiteX12" fmla="*/ 0 w 850357"/>
              <a:gd name="connsiteY12" fmla="*/ 39 h 330324"/>
              <a:gd name="connsiteX13" fmla="*/ 134685 w 850357"/>
              <a:gd name="connsiteY13" fmla="*/ 30 h 330324"/>
              <a:gd name="connsiteX14" fmla="*/ 134679 w 850357"/>
              <a:gd name="connsiteY14" fmla="*/ 13 h 330324"/>
              <a:gd name="connsiteX15" fmla="*/ 384722 w 850357"/>
              <a:gd name="connsiteY15" fmla="*/ 13 h 3303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850357" h="330324">
                <a:moveTo>
                  <a:pt x="577083" y="0"/>
                </a:moveTo>
                <a:lnTo>
                  <a:pt x="577083" y="13"/>
                </a:lnTo>
                <a:lnTo>
                  <a:pt x="850357" y="13"/>
                </a:lnTo>
                <a:cubicBezTo>
                  <a:pt x="850357" y="159711"/>
                  <a:pt x="737092" y="292832"/>
                  <a:pt x="586598" y="323617"/>
                </a:cubicBezTo>
                <a:lnTo>
                  <a:pt x="577083" y="324576"/>
                </a:lnTo>
                <a:lnTo>
                  <a:pt x="577083" y="330269"/>
                </a:lnTo>
                <a:lnTo>
                  <a:pt x="520551" y="330273"/>
                </a:lnTo>
                <a:lnTo>
                  <a:pt x="520043" y="330324"/>
                </a:lnTo>
                <a:lnTo>
                  <a:pt x="519909" y="330324"/>
                </a:lnTo>
                <a:lnTo>
                  <a:pt x="244782" y="330324"/>
                </a:lnTo>
                <a:lnTo>
                  <a:pt x="244772" y="330292"/>
                </a:lnTo>
                <a:lnTo>
                  <a:pt x="0" y="330308"/>
                </a:lnTo>
                <a:lnTo>
                  <a:pt x="0" y="39"/>
                </a:lnTo>
                <a:lnTo>
                  <a:pt x="134685" y="30"/>
                </a:lnTo>
                <a:lnTo>
                  <a:pt x="134679" y="13"/>
                </a:lnTo>
                <a:lnTo>
                  <a:pt x="384722" y="13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anchor="ctr">
            <a:noAutofit/>
          </a:bodyPr>
          <a:lstStyle>
            <a:lvl1pPr algn="ctr">
              <a:spcBef>
                <a:spcPts val="600"/>
              </a:spcBef>
              <a:defRPr sz="900">
                <a:solidFill>
                  <a:schemeClr val="bg1"/>
                </a:solidFill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pt-PT" dirty="0"/>
              <a:t>Texto</a:t>
            </a:r>
          </a:p>
        </p:txBody>
      </p:sp>
      <p:sp>
        <p:nvSpPr>
          <p:cNvPr id="195" name="Marcador de Posição do Texto 194">
            <a:extLst>
              <a:ext uri="{FF2B5EF4-FFF2-40B4-BE49-F238E27FC236}">
                <a16:creationId xmlns:a16="http://schemas.microsoft.com/office/drawing/2014/main" id="{5BA97959-DACC-E61F-BBA5-DE74ACFB180C}"/>
              </a:ext>
            </a:extLst>
          </p:cNvPr>
          <p:cNvSpPr>
            <a:spLocks noGrp="1"/>
          </p:cNvSpPr>
          <p:nvPr>
            <p:ph type="body" sz="quarter" idx="112" hasCustomPrompt="1"/>
          </p:nvPr>
        </p:nvSpPr>
        <p:spPr>
          <a:xfrm>
            <a:off x="5339971" y="4649727"/>
            <a:ext cx="1791894" cy="330324"/>
          </a:xfrm>
          <a:custGeom>
            <a:avLst/>
            <a:gdLst>
              <a:gd name="connsiteX0" fmla="*/ 1297484 w 1791894"/>
              <a:gd name="connsiteY0" fmla="*/ 0 h 330324"/>
              <a:gd name="connsiteX1" fmla="*/ 1297484 w 1791894"/>
              <a:gd name="connsiteY1" fmla="*/ 13 h 330324"/>
              <a:gd name="connsiteX2" fmla="*/ 1791894 w 1791894"/>
              <a:gd name="connsiteY2" fmla="*/ 13 h 330324"/>
              <a:gd name="connsiteX3" fmla="*/ 1461580 w 1791894"/>
              <a:gd name="connsiteY3" fmla="*/ 330324 h 330324"/>
              <a:gd name="connsiteX4" fmla="*/ 1461446 w 1791894"/>
              <a:gd name="connsiteY4" fmla="*/ 330324 h 330324"/>
              <a:gd name="connsiteX5" fmla="*/ 1186319 w 1791894"/>
              <a:gd name="connsiteY5" fmla="*/ 330324 h 330324"/>
              <a:gd name="connsiteX6" fmla="*/ 1186302 w 1791894"/>
              <a:gd name="connsiteY6" fmla="*/ 330273 h 330324"/>
              <a:gd name="connsiteX7" fmla="*/ 0 w 1791894"/>
              <a:gd name="connsiteY7" fmla="*/ 330308 h 330324"/>
              <a:gd name="connsiteX8" fmla="*/ 0 w 1791894"/>
              <a:gd name="connsiteY8" fmla="*/ 39 h 3303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791894" h="330324">
                <a:moveTo>
                  <a:pt x="1297484" y="0"/>
                </a:moveTo>
                <a:lnTo>
                  <a:pt x="1297484" y="13"/>
                </a:lnTo>
                <a:lnTo>
                  <a:pt x="1791894" y="13"/>
                </a:lnTo>
                <a:cubicBezTo>
                  <a:pt x="1791894" y="182525"/>
                  <a:pt x="1643956" y="330324"/>
                  <a:pt x="1461580" y="330324"/>
                </a:cubicBezTo>
                <a:lnTo>
                  <a:pt x="1461446" y="330324"/>
                </a:lnTo>
                <a:lnTo>
                  <a:pt x="1186319" y="330324"/>
                </a:lnTo>
                <a:lnTo>
                  <a:pt x="1186302" y="330273"/>
                </a:lnTo>
                <a:lnTo>
                  <a:pt x="0" y="330308"/>
                </a:lnTo>
                <a:lnTo>
                  <a:pt x="0" y="39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anchor="ctr">
            <a:noAutofit/>
          </a:bodyPr>
          <a:lstStyle>
            <a:lvl1pPr algn="ctr">
              <a:spcBef>
                <a:spcPts val="600"/>
              </a:spcBef>
              <a:defRPr sz="900">
                <a:solidFill>
                  <a:schemeClr val="bg1"/>
                </a:solidFill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pt-PT" dirty="0"/>
              <a:t>Texto</a:t>
            </a:r>
          </a:p>
        </p:txBody>
      </p:sp>
      <p:sp>
        <p:nvSpPr>
          <p:cNvPr id="196" name="Marcador de Posição do Texto 195">
            <a:extLst>
              <a:ext uri="{FF2B5EF4-FFF2-40B4-BE49-F238E27FC236}">
                <a16:creationId xmlns:a16="http://schemas.microsoft.com/office/drawing/2014/main" id="{E59964CD-E557-54B8-C8CD-00DB981E2071}"/>
              </a:ext>
            </a:extLst>
          </p:cNvPr>
          <p:cNvSpPr>
            <a:spLocks noGrp="1"/>
          </p:cNvSpPr>
          <p:nvPr>
            <p:ph type="body" sz="quarter" idx="113" hasCustomPrompt="1"/>
          </p:nvPr>
        </p:nvSpPr>
        <p:spPr>
          <a:xfrm>
            <a:off x="6281508" y="4188816"/>
            <a:ext cx="850357" cy="330324"/>
          </a:xfrm>
          <a:custGeom>
            <a:avLst/>
            <a:gdLst>
              <a:gd name="connsiteX0" fmla="*/ 577083 w 850357"/>
              <a:gd name="connsiteY0" fmla="*/ 0 h 330324"/>
              <a:gd name="connsiteX1" fmla="*/ 577083 w 850357"/>
              <a:gd name="connsiteY1" fmla="*/ 13 h 330324"/>
              <a:gd name="connsiteX2" fmla="*/ 850357 w 850357"/>
              <a:gd name="connsiteY2" fmla="*/ 13 h 330324"/>
              <a:gd name="connsiteX3" fmla="*/ 586598 w 850357"/>
              <a:gd name="connsiteY3" fmla="*/ 323617 h 330324"/>
              <a:gd name="connsiteX4" fmla="*/ 577083 w 850357"/>
              <a:gd name="connsiteY4" fmla="*/ 324576 h 330324"/>
              <a:gd name="connsiteX5" fmla="*/ 577083 w 850357"/>
              <a:gd name="connsiteY5" fmla="*/ 330269 h 330324"/>
              <a:gd name="connsiteX6" fmla="*/ 520551 w 850357"/>
              <a:gd name="connsiteY6" fmla="*/ 330273 h 330324"/>
              <a:gd name="connsiteX7" fmla="*/ 520043 w 850357"/>
              <a:gd name="connsiteY7" fmla="*/ 330324 h 330324"/>
              <a:gd name="connsiteX8" fmla="*/ 519909 w 850357"/>
              <a:gd name="connsiteY8" fmla="*/ 330324 h 330324"/>
              <a:gd name="connsiteX9" fmla="*/ 244782 w 850357"/>
              <a:gd name="connsiteY9" fmla="*/ 330324 h 330324"/>
              <a:gd name="connsiteX10" fmla="*/ 244772 w 850357"/>
              <a:gd name="connsiteY10" fmla="*/ 330292 h 330324"/>
              <a:gd name="connsiteX11" fmla="*/ 0 w 850357"/>
              <a:gd name="connsiteY11" fmla="*/ 330308 h 330324"/>
              <a:gd name="connsiteX12" fmla="*/ 0 w 850357"/>
              <a:gd name="connsiteY12" fmla="*/ 39 h 330324"/>
              <a:gd name="connsiteX13" fmla="*/ 134685 w 850357"/>
              <a:gd name="connsiteY13" fmla="*/ 30 h 330324"/>
              <a:gd name="connsiteX14" fmla="*/ 134679 w 850357"/>
              <a:gd name="connsiteY14" fmla="*/ 13 h 330324"/>
              <a:gd name="connsiteX15" fmla="*/ 384722 w 850357"/>
              <a:gd name="connsiteY15" fmla="*/ 13 h 3303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850357" h="330324">
                <a:moveTo>
                  <a:pt x="577083" y="0"/>
                </a:moveTo>
                <a:lnTo>
                  <a:pt x="577083" y="13"/>
                </a:lnTo>
                <a:lnTo>
                  <a:pt x="850357" y="13"/>
                </a:lnTo>
                <a:cubicBezTo>
                  <a:pt x="850357" y="159711"/>
                  <a:pt x="737092" y="292832"/>
                  <a:pt x="586598" y="323617"/>
                </a:cubicBezTo>
                <a:lnTo>
                  <a:pt x="577083" y="324576"/>
                </a:lnTo>
                <a:lnTo>
                  <a:pt x="577083" y="330269"/>
                </a:lnTo>
                <a:lnTo>
                  <a:pt x="520551" y="330273"/>
                </a:lnTo>
                <a:lnTo>
                  <a:pt x="520043" y="330324"/>
                </a:lnTo>
                <a:lnTo>
                  <a:pt x="519909" y="330324"/>
                </a:lnTo>
                <a:lnTo>
                  <a:pt x="244782" y="330324"/>
                </a:lnTo>
                <a:lnTo>
                  <a:pt x="244772" y="330292"/>
                </a:lnTo>
                <a:lnTo>
                  <a:pt x="0" y="330308"/>
                </a:lnTo>
                <a:lnTo>
                  <a:pt x="0" y="39"/>
                </a:lnTo>
                <a:lnTo>
                  <a:pt x="134685" y="30"/>
                </a:lnTo>
                <a:lnTo>
                  <a:pt x="134679" y="13"/>
                </a:lnTo>
                <a:lnTo>
                  <a:pt x="384722" y="13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anchor="ctr">
            <a:noAutofit/>
          </a:bodyPr>
          <a:lstStyle>
            <a:lvl1pPr algn="ctr">
              <a:spcBef>
                <a:spcPts val="600"/>
              </a:spcBef>
              <a:defRPr sz="900">
                <a:solidFill>
                  <a:schemeClr val="bg1"/>
                </a:solidFill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pt-PT" dirty="0"/>
              <a:t>Texto</a:t>
            </a:r>
          </a:p>
        </p:txBody>
      </p:sp>
      <p:sp>
        <p:nvSpPr>
          <p:cNvPr id="197" name="Marcador de Posição do Texto 196">
            <a:extLst>
              <a:ext uri="{FF2B5EF4-FFF2-40B4-BE49-F238E27FC236}">
                <a16:creationId xmlns:a16="http://schemas.microsoft.com/office/drawing/2014/main" id="{F296F8A9-885F-27A6-35A2-F13000E0C1F3}"/>
              </a:ext>
            </a:extLst>
          </p:cNvPr>
          <p:cNvSpPr>
            <a:spLocks noGrp="1"/>
          </p:cNvSpPr>
          <p:nvPr>
            <p:ph type="body" sz="quarter" idx="114" hasCustomPrompt="1"/>
          </p:nvPr>
        </p:nvSpPr>
        <p:spPr>
          <a:xfrm>
            <a:off x="7530256" y="4188816"/>
            <a:ext cx="850357" cy="330324"/>
          </a:xfrm>
          <a:custGeom>
            <a:avLst/>
            <a:gdLst>
              <a:gd name="connsiteX0" fmla="*/ 577083 w 850357"/>
              <a:gd name="connsiteY0" fmla="*/ 0 h 330324"/>
              <a:gd name="connsiteX1" fmla="*/ 577083 w 850357"/>
              <a:gd name="connsiteY1" fmla="*/ 13 h 330324"/>
              <a:gd name="connsiteX2" fmla="*/ 850357 w 850357"/>
              <a:gd name="connsiteY2" fmla="*/ 13 h 330324"/>
              <a:gd name="connsiteX3" fmla="*/ 586598 w 850357"/>
              <a:gd name="connsiteY3" fmla="*/ 323617 h 330324"/>
              <a:gd name="connsiteX4" fmla="*/ 577083 w 850357"/>
              <a:gd name="connsiteY4" fmla="*/ 324576 h 330324"/>
              <a:gd name="connsiteX5" fmla="*/ 577083 w 850357"/>
              <a:gd name="connsiteY5" fmla="*/ 330269 h 330324"/>
              <a:gd name="connsiteX6" fmla="*/ 520551 w 850357"/>
              <a:gd name="connsiteY6" fmla="*/ 330273 h 330324"/>
              <a:gd name="connsiteX7" fmla="*/ 520043 w 850357"/>
              <a:gd name="connsiteY7" fmla="*/ 330324 h 330324"/>
              <a:gd name="connsiteX8" fmla="*/ 519909 w 850357"/>
              <a:gd name="connsiteY8" fmla="*/ 330324 h 330324"/>
              <a:gd name="connsiteX9" fmla="*/ 244782 w 850357"/>
              <a:gd name="connsiteY9" fmla="*/ 330324 h 330324"/>
              <a:gd name="connsiteX10" fmla="*/ 244772 w 850357"/>
              <a:gd name="connsiteY10" fmla="*/ 330292 h 330324"/>
              <a:gd name="connsiteX11" fmla="*/ 0 w 850357"/>
              <a:gd name="connsiteY11" fmla="*/ 330308 h 330324"/>
              <a:gd name="connsiteX12" fmla="*/ 0 w 850357"/>
              <a:gd name="connsiteY12" fmla="*/ 39 h 330324"/>
              <a:gd name="connsiteX13" fmla="*/ 134685 w 850357"/>
              <a:gd name="connsiteY13" fmla="*/ 30 h 330324"/>
              <a:gd name="connsiteX14" fmla="*/ 134679 w 850357"/>
              <a:gd name="connsiteY14" fmla="*/ 13 h 330324"/>
              <a:gd name="connsiteX15" fmla="*/ 384722 w 850357"/>
              <a:gd name="connsiteY15" fmla="*/ 13 h 3303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850357" h="330324">
                <a:moveTo>
                  <a:pt x="577083" y="0"/>
                </a:moveTo>
                <a:lnTo>
                  <a:pt x="577083" y="13"/>
                </a:lnTo>
                <a:lnTo>
                  <a:pt x="850357" y="13"/>
                </a:lnTo>
                <a:cubicBezTo>
                  <a:pt x="850357" y="159711"/>
                  <a:pt x="737092" y="292832"/>
                  <a:pt x="586598" y="323617"/>
                </a:cubicBezTo>
                <a:lnTo>
                  <a:pt x="577083" y="324576"/>
                </a:lnTo>
                <a:lnTo>
                  <a:pt x="577083" y="330269"/>
                </a:lnTo>
                <a:lnTo>
                  <a:pt x="520551" y="330273"/>
                </a:lnTo>
                <a:lnTo>
                  <a:pt x="520043" y="330324"/>
                </a:lnTo>
                <a:lnTo>
                  <a:pt x="519909" y="330324"/>
                </a:lnTo>
                <a:lnTo>
                  <a:pt x="244782" y="330324"/>
                </a:lnTo>
                <a:lnTo>
                  <a:pt x="244772" y="330292"/>
                </a:lnTo>
                <a:lnTo>
                  <a:pt x="0" y="330308"/>
                </a:lnTo>
                <a:lnTo>
                  <a:pt x="0" y="39"/>
                </a:lnTo>
                <a:lnTo>
                  <a:pt x="134685" y="30"/>
                </a:lnTo>
                <a:lnTo>
                  <a:pt x="134679" y="13"/>
                </a:lnTo>
                <a:lnTo>
                  <a:pt x="384722" y="13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anchor="ctr">
            <a:noAutofit/>
          </a:bodyPr>
          <a:lstStyle>
            <a:lvl1pPr algn="ctr">
              <a:spcBef>
                <a:spcPts val="600"/>
              </a:spcBef>
              <a:defRPr sz="900">
                <a:solidFill>
                  <a:schemeClr val="bg1"/>
                </a:solidFill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pt-PT" dirty="0"/>
              <a:t>Texto</a:t>
            </a:r>
          </a:p>
        </p:txBody>
      </p:sp>
      <p:sp>
        <p:nvSpPr>
          <p:cNvPr id="198" name="Marcador de Posição do Texto 197">
            <a:extLst>
              <a:ext uri="{FF2B5EF4-FFF2-40B4-BE49-F238E27FC236}">
                <a16:creationId xmlns:a16="http://schemas.microsoft.com/office/drawing/2014/main" id="{EE1348A0-19BB-BDBF-E7C7-F204A169CDA2}"/>
              </a:ext>
            </a:extLst>
          </p:cNvPr>
          <p:cNvSpPr>
            <a:spLocks noGrp="1"/>
          </p:cNvSpPr>
          <p:nvPr>
            <p:ph type="body" sz="quarter" idx="115" hasCustomPrompt="1"/>
          </p:nvPr>
        </p:nvSpPr>
        <p:spPr>
          <a:xfrm>
            <a:off x="7530254" y="4649727"/>
            <a:ext cx="1791894" cy="330324"/>
          </a:xfrm>
          <a:custGeom>
            <a:avLst/>
            <a:gdLst>
              <a:gd name="connsiteX0" fmla="*/ 1297484 w 1791894"/>
              <a:gd name="connsiteY0" fmla="*/ 0 h 330324"/>
              <a:gd name="connsiteX1" fmla="*/ 1297484 w 1791894"/>
              <a:gd name="connsiteY1" fmla="*/ 13 h 330324"/>
              <a:gd name="connsiteX2" fmla="*/ 1791894 w 1791894"/>
              <a:gd name="connsiteY2" fmla="*/ 13 h 330324"/>
              <a:gd name="connsiteX3" fmla="*/ 1461580 w 1791894"/>
              <a:gd name="connsiteY3" fmla="*/ 330324 h 330324"/>
              <a:gd name="connsiteX4" fmla="*/ 1461446 w 1791894"/>
              <a:gd name="connsiteY4" fmla="*/ 330324 h 330324"/>
              <a:gd name="connsiteX5" fmla="*/ 1186319 w 1791894"/>
              <a:gd name="connsiteY5" fmla="*/ 330324 h 330324"/>
              <a:gd name="connsiteX6" fmla="*/ 1186302 w 1791894"/>
              <a:gd name="connsiteY6" fmla="*/ 330273 h 330324"/>
              <a:gd name="connsiteX7" fmla="*/ 0 w 1791894"/>
              <a:gd name="connsiteY7" fmla="*/ 330308 h 330324"/>
              <a:gd name="connsiteX8" fmla="*/ 0 w 1791894"/>
              <a:gd name="connsiteY8" fmla="*/ 39 h 3303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791894" h="330324">
                <a:moveTo>
                  <a:pt x="1297484" y="0"/>
                </a:moveTo>
                <a:lnTo>
                  <a:pt x="1297484" y="13"/>
                </a:lnTo>
                <a:lnTo>
                  <a:pt x="1791894" y="13"/>
                </a:lnTo>
                <a:cubicBezTo>
                  <a:pt x="1791894" y="182525"/>
                  <a:pt x="1643956" y="330324"/>
                  <a:pt x="1461580" y="330324"/>
                </a:cubicBezTo>
                <a:lnTo>
                  <a:pt x="1461446" y="330324"/>
                </a:lnTo>
                <a:lnTo>
                  <a:pt x="1186319" y="330324"/>
                </a:lnTo>
                <a:lnTo>
                  <a:pt x="1186302" y="330273"/>
                </a:lnTo>
                <a:lnTo>
                  <a:pt x="0" y="330308"/>
                </a:lnTo>
                <a:lnTo>
                  <a:pt x="0" y="39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anchor="ctr">
            <a:noAutofit/>
          </a:bodyPr>
          <a:lstStyle>
            <a:lvl1pPr algn="ctr">
              <a:spcBef>
                <a:spcPts val="600"/>
              </a:spcBef>
              <a:defRPr sz="900">
                <a:solidFill>
                  <a:schemeClr val="bg1"/>
                </a:solidFill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pt-PT" dirty="0"/>
              <a:t>Texto</a:t>
            </a:r>
          </a:p>
        </p:txBody>
      </p:sp>
      <p:sp>
        <p:nvSpPr>
          <p:cNvPr id="199" name="Marcador de Posição do Texto 198">
            <a:extLst>
              <a:ext uri="{FF2B5EF4-FFF2-40B4-BE49-F238E27FC236}">
                <a16:creationId xmlns:a16="http://schemas.microsoft.com/office/drawing/2014/main" id="{093F3C48-1B9A-54F5-2D30-1A92D7C6E831}"/>
              </a:ext>
            </a:extLst>
          </p:cNvPr>
          <p:cNvSpPr>
            <a:spLocks noGrp="1"/>
          </p:cNvSpPr>
          <p:nvPr>
            <p:ph type="body" sz="quarter" idx="116" hasCustomPrompt="1"/>
          </p:nvPr>
        </p:nvSpPr>
        <p:spPr>
          <a:xfrm>
            <a:off x="8471791" y="4188816"/>
            <a:ext cx="850357" cy="330324"/>
          </a:xfrm>
          <a:custGeom>
            <a:avLst/>
            <a:gdLst>
              <a:gd name="connsiteX0" fmla="*/ 577083 w 850357"/>
              <a:gd name="connsiteY0" fmla="*/ 0 h 330324"/>
              <a:gd name="connsiteX1" fmla="*/ 577083 w 850357"/>
              <a:gd name="connsiteY1" fmla="*/ 13 h 330324"/>
              <a:gd name="connsiteX2" fmla="*/ 850357 w 850357"/>
              <a:gd name="connsiteY2" fmla="*/ 13 h 330324"/>
              <a:gd name="connsiteX3" fmla="*/ 586598 w 850357"/>
              <a:gd name="connsiteY3" fmla="*/ 323617 h 330324"/>
              <a:gd name="connsiteX4" fmla="*/ 577083 w 850357"/>
              <a:gd name="connsiteY4" fmla="*/ 324576 h 330324"/>
              <a:gd name="connsiteX5" fmla="*/ 577083 w 850357"/>
              <a:gd name="connsiteY5" fmla="*/ 330269 h 330324"/>
              <a:gd name="connsiteX6" fmla="*/ 520551 w 850357"/>
              <a:gd name="connsiteY6" fmla="*/ 330273 h 330324"/>
              <a:gd name="connsiteX7" fmla="*/ 520043 w 850357"/>
              <a:gd name="connsiteY7" fmla="*/ 330324 h 330324"/>
              <a:gd name="connsiteX8" fmla="*/ 519909 w 850357"/>
              <a:gd name="connsiteY8" fmla="*/ 330324 h 330324"/>
              <a:gd name="connsiteX9" fmla="*/ 244782 w 850357"/>
              <a:gd name="connsiteY9" fmla="*/ 330324 h 330324"/>
              <a:gd name="connsiteX10" fmla="*/ 244772 w 850357"/>
              <a:gd name="connsiteY10" fmla="*/ 330292 h 330324"/>
              <a:gd name="connsiteX11" fmla="*/ 0 w 850357"/>
              <a:gd name="connsiteY11" fmla="*/ 330308 h 330324"/>
              <a:gd name="connsiteX12" fmla="*/ 0 w 850357"/>
              <a:gd name="connsiteY12" fmla="*/ 39 h 330324"/>
              <a:gd name="connsiteX13" fmla="*/ 134685 w 850357"/>
              <a:gd name="connsiteY13" fmla="*/ 30 h 330324"/>
              <a:gd name="connsiteX14" fmla="*/ 134679 w 850357"/>
              <a:gd name="connsiteY14" fmla="*/ 13 h 330324"/>
              <a:gd name="connsiteX15" fmla="*/ 384722 w 850357"/>
              <a:gd name="connsiteY15" fmla="*/ 13 h 3303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850357" h="330324">
                <a:moveTo>
                  <a:pt x="577083" y="0"/>
                </a:moveTo>
                <a:lnTo>
                  <a:pt x="577083" y="13"/>
                </a:lnTo>
                <a:lnTo>
                  <a:pt x="850357" y="13"/>
                </a:lnTo>
                <a:cubicBezTo>
                  <a:pt x="850357" y="159711"/>
                  <a:pt x="737092" y="292832"/>
                  <a:pt x="586598" y="323617"/>
                </a:cubicBezTo>
                <a:lnTo>
                  <a:pt x="577083" y="324576"/>
                </a:lnTo>
                <a:lnTo>
                  <a:pt x="577083" y="330269"/>
                </a:lnTo>
                <a:lnTo>
                  <a:pt x="520551" y="330273"/>
                </a:lnTo>
                <a:lnTo>
                  <a:pt x="520043" y="330324"/>
                </a:lnTo>
                <a:lnTo>
                  <a:pt x="519909" y="330324"/>
                </a:lnTo>
                <a:lnTo>
                  <a:pt x="244782" y="330324"/>
                </a:lnTo>
                <a:lnTo>
                  <a:pt x="244772" y="330292"/>
                </a:lnTo>
                <a:lnTo>
                  <a:pt x="0" y="330308"/>
                </a:lnTo>
                <a:lnTo>
                  <a:pt x="0" y="39"/>
                </a:lnTo>
                <a:lnTo>
                  <a:pt x="134685" y="30"/>
                </a:lnTo>
                <a:lnTo>
                  <a:pt x="134679" y="13"/>
                </a:lnTo>
                <a:lnTo>
                  <a:pt x="384722" y="13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anchor="ctr">
            <a:noAutofit/>
          </a:bodyPr>
          <a:lstStyle>
            <a:lvl1pPr algn="ctr">
              <a:spcBef>
                <a:spcPts val="600"/>
              </a:spcBef>
              <a:defRPr sz="900">
                <a:solidFill>
                  <a:schemeClr val="bg1"/>
                </a:solidFill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pt-PT" dirty="0"/>
              <a:t>Texto</a:t>
            </a:r>
          </a:p>
        </p:txBody>
      </p:sp>
      <p:sp>
        <p:nvSpPr>
          <p:cNvPr id="200" name="Marcador de Posição do Texto 199">
            <a:extLst>
              <a:ext uri="{FF2B5EF4-FFF2-40B4-BE49-F238E27FC236}">
                <a16:creationId xmlns:a16="http://schemas.microsoft.com/office/drawing/2014/main" id="{A6860C82-7606-E3FB-00B0-F29A946A91D9}"/>
              </a:ext>
            </a:extLst>
          </p:cNvPr>
          <p:cNvSpPr>
            <a:spLocks noGrp="1"/>
          </p:cNvSpPr>
          <p:nvPr>
            <p:ph type="body" sz="quarter" idx="117" hasCustomPrompt="1"/>
          </p:nvPr>
        </p:nvSpPr>
        <p:spPr>
          <a:xfrm>
            <a:off x="9740933" y="4188816"/>
            <a:ext cx="850357" cy="330324"/>
          </a:xfrm>
          <a:custGeom>
            <a:avLst/>
            <a:gdLst>
              <a:gd name="connsiteX0" fmla="*/ 577083 w 850357"/>
              <a:gd name="connsiteY0" fmla="*/ 0 h 330324"/>
              <a:gd name="connsiteX1" fmla="*/ 577083 w 850357"/>
              <a:gd name="connsiteY1" fmla="*/ 13 h 330324"/>
              <a:gd name="connsiteX2" fmla="*/ 850357 w 850357"/>
              <a:gd name="connsiteY2" fmla="*/ 13 h 330324"/>
              <a:gd name="connsiteX3" fmla="*/ 586598 w 850357"/>
              <a:gd name="connsiteY3" fmla="*/ 323617 h 330324"/>
              <a:gd name="connsiteX4" fmla="*/ 577083 w 850357"/>
              <a:gd name="connsiteY4" fmla="*/ 324576 h 330324"/>
              <a:gd name="connsiteX5" fmla="*/ 577083 w 850357"/>
              <a:gd name="connsiteY5" fmla="*/ 330269 h 330324"/>
              <a:gd name="connsiteX6" fmla="*/ 520551 w 850357"/>
              <a:gd name="connsiteY6" fmla="*/ 330273 h 330324"/>
              <a:gd name="connsiteX7" fmla="*/ 520043 w 850357"/>
              <a:gd name="connsiteY7" fmla="*/ 330324 h 330324"/>
              <a:gd name="connsiteX8" fmla="*/ 519909 w 850357"/>
              <a:gd name="connsiteY8" fmla="*/ 330324 h 330324"/>
              <a:gd name="connsiteX9" fmla="*/ 244782 w 850357"/>
              <a:gd name="connsiteY9" fmla="*/ 330324 h 330324"/>
              <a:gd name="connsiteX10" fmla="*/ 244772 w 850357"/>
              <a:gd name="connsiteY10" fmla="*/ 330292 h 330324"/>
              <a:gd name="connsiteX11" fmla="*/ 0 w 850357"/>
              <a:gd name="connsiteY11" fmla="*/ 330308 h 330324"/>
              <a:gd name="connsiteX12" fmla="*/ 0 w 850357"/>
              <a:gd name="connsiteY12" fmla="*/ 39 h 330324"/>
              <a:gd name="connsiteX13" fmla="*/ 134685 w 850357"/>
              <a:gd name="connsiteY13" fmla="*/ 30 h 330324"/>
              <a:gd name="connsiteX14" fmla="*/ 134679 w 850357"/>
              <a:gd name="connsiteY14" fmla="*/ 13 h 330324"/>
              <a:gd name="connsiteX15" fmla="*/ 384722 w 850357"/>
              <a:gd name="connsiteY15" fmla="*/ 13 h 3303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850357" h="330324">
                <a:moveTo>
                  <a:pt x="577083" y="0"/>
                </a:moveTo>
                <a:lnTo>
                  <a:pt x="577083" y="13"/>
                </a:lnTo>
                <a:lnTo>
                  <a:pt x="850357" y="13"/>
                </a:lnTo>
                <a:cubicBezTo>
                  <a:pt x="850357" y="159711"/>
                  <a:pt x="737092" y="292832"/>
                  <a:pt x="586598" y="323617"/>
                </a:cubicBezTo>
                <a:lnTo>
                  <a:pt x="577083" y="324576"/>
                </a:lnTo>
                <a:lnTo>
                  <a:pt x="577083" y="330269"/>
                </a:lnTo>
                <a:lnTo>
                  <a:pt x="520551" y="330273"/>
                </a:lnTo>
                <a:lnTo>
                  <a:pt x="520043" y="330324"/>
                </a:lnTo>
                <a:lnTo>
                  <a:pt x="519909" y="330324"/>
                </a:lnTo>
                <a:lnTo>
                  <a:pt x="244782" y="330324"/>
                </a:lnTo>
                <a:lnTo>
                  <a:pt x="244772" y="330292"/>
                </a:lnTo>
                <a:lnTo>
                  <a:pt x="0" y="330308"/>
                </a:lnTo>
                <a:lnTo>
                  <a:pt x="0" y="39"/>
                </a:lnTo>
                <a:lnTo>
                  <a:pt x="134685" y="30"/>
                </a:lnTo>
                <a:lnTo>
                  <a:pt x="134679" y="13"/>
                </a:lnTo>
                <a:lnTo>
                  <a:pt x="384722" y="13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anchor="ctr">
            <a:noAutofit/>
          </a:bodyPr>
          <a:lstStyle>
            <a:lvl1pPr algn="ctr">
              <a:spcBef>
                <a:spcPts val="600"/>
              </a:spcBef>
              <a:defRPr sz="900">
                <a:solidFill>
                  <a:schemeClr val="bg1"/>
                </a:solidFill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pt-PT" dirty="0"/>
              <a:t>Texto</a:t>
            </a:r>
          </a:p>
        </p:txBody>
      </p:sp>
      <p:sp>
        <p:nvSpPr>
          <p:cNvPr id="201" name="Marcador de Posição do Texto 200">
            <a:extLst>
              <a:ext uri="{FF2B5EF4-FFF2-40B4-BE49-F238E27FC236}">
                <a16:creationId xmlns:a16="http://schemas.microsoft.com/office/drawing/2014/main" id="{6C7D3738-1B4A-0D97-C79D-B1D94863C986}"/>
              </a:ext>
            </a:extLst>
          </p:cNvPr>
          <p:cNvSpPr>
            <a:spLocks noGrp="1"/>
          </p:cNvSpPr>
          <p:nvPr>
            <p:ph type="body" sz="quarter" idx="118" hasCustomPrompt="1"/>
          </p:nvPr>
        </p:nvSpPr>
        <p:spPr>
          <a:xfrm>
            <a:off x="9740931" y="4649727"/>
            <a:ext cx="1791894" cy="330324"/>
          </a:xfrm>
          <a:custGeom>
            <a:avLst/>
            <a:gdLst>
              <a:gd name="connsiteX0" fmla="*/ 1297484 w 1791894"/>
              <a:gd name="connsiteY0" fmla="*/ 0 h 330324"/>
              <a:gd name="connsiteX1" fmla="*/ 1297484 w 1791894"/>
              <a:gd name="connsiteY1" fmla="*/ 13 h 330324"/>
              <a:gd name="connsiteX2" fmla="*/ 1791894 w 1791894"/>
              <a:gd name="connsiteY2" fmla="*/ 13 h 330324"/>
              <a:gd name="connsiteX3" fmla="*/ 1461580 w 1791894"/>
              <a:gd name="connsiteY3" fmla="*/ 330324 h 330324"/>
              <a:gd name="connsiteX4" fmla="*/ 1461446 w 1791894"/>
              <a:gd name="connsiteY4" fmla="*/ 330324 h 330324"/>
              <a:gd name="connsiteX5" fmla="*/ 1186319 w 1791894"/>
              <a:gd name="connsiteY5" fmla="*/ 330324 h 330324"/>
              <a:gd name="connsiteX6" fmla="*/ 1186302 w 1791894"/>
              <a:gd name="connsiteY6" fmla="*/ 330273 h 330324"/>
              <a:gd name="connsiteX7" fmla="*/ 0 w 1791894"/>
              <a:gd name="connsiteY7" fmla="*/ 330308 h 330324"/>
              <a:gd name="connsiteX8" fmla="*/ 0 w 1791894"/>
              <a:gd name="connsiteY8" fmla="*/ 39 h 3303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791894" h="330324">
                <a:moveTo>
                  <a:pt x="1297484" y="0"/>
                </a:moveTo>
                <a:lnTo>
                  <a:pt x="1297484" y="13"/>
                </a:lnTo>
                <a:lnTo>
                  <a:pt x="1791894" y="13"/>
                </a:lnTo>
                <a:cubicBezTo>
                  <a:pt x="1791894" y="182525"/>
                  <a:pt x="1643956" y="330324"/>
                  <a:pt x="1461580" y="330324"/>
                </a:cubicBezTo>
                <a:lnTo>
                  <a:pt x="1461446" y="330324"/>
                </a:lnTo>
                <a:lnTo>
                  <a:pt x="1186319" y="330324"/>
                </a:lnTo>
                <a:lnTo>
                  <a:pt x="1186302" y="330273"/>
                </a:lnTo>
                <a:lnTo>
                  <a:pt x="0" y="330308"/>
                </a:lnTo>
                <a:lnTo>
                  <a:pt x="0" y="39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anchor="ctr">
            <a:noAutofit/>
          </a:bodyPr>
          <a:lstStyle>
            <a:lvl1pPr algn="ctr">
              <a:spcBef>
                <a:spcPts val="600"/>
              </a:spcBef>
              <a:defRPr sz="900">
                <a:solidFill>
                  <a:schemeClr val="bg1"/>
                </a:solidFill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pt-PT" dirty="0"/>
              <a:t>Texto</a:t>
            </a:r>
          </a:p>
        </p:txBody>
      </p:sp>
      <p:sp>
        <p:nvSpPr>
          <p:cNvPr id="202" name="Marcador de Posição do Texto 201">
            <a:extLst>
              <a:ext uri="{FF2B5EF4-FFF2-40B4-BE49-F238E27FC236}">
                <a16:creationId xmlns:a16="http://schemas.microsoft.com/office/drawing/2014/main" id="{1B226786-912E-2C51-4344-5911434691F5}"/>
              </a:ext>
            </a:extLst>
          </p:cNvPr>
          <p:cNvSpPr>
            <a:spLocks noGrp="1"/>
          </p:cNvSpPr>
          <p:nvPr>
            <p:ph type="body" sz="quarter" idx="119" hasCustomPrompt="1"/>
          </p:nvPr>
        </p:nvSpPr>
        <p:spPr>
          <a:xfrm>
            <a:off x="10682468" y="4188816"/>
            <a:ext cx="850357" cy="330324"/>
          </a:xfrm>
          <a:custGeom>
            <a:avLst/>
            <a:gdLst>
              <a:gd name="connsiteX0" fmla="*/ 577083 w 850357"/>
              <a:gd name="connsiteY0" fmla="*/ 0 h 330324"/>
              <a:gd name="connsiteX1" fmla="*/ 577083 w 850357"/>
              <a:gd name="connsiteY1" fmla="*/ 13 h 330324"/>
              <a:gd name="connsiteX2" fmla="*/ 850357 w 850357"/>
              <a:gd name="connsiteY2" fmla="*/ 13 h 330324"/>
              <a:gd name="connsiteX3" fmla="*/ 586598 w 850357"/>
              <a:gd name="connsiteY3" fmla="*/ 323617 h 330324"/>
              <a:gd name="connsiteX4" fmla="*/ 577083 w 850357"/>
              <a:gd name="connsiteY4" fmla="*/ 324576 h 330324"/>
              <a:gd name="connsiteX5" fmla="*/ 577083 w 850357"/>
              <a:gd name="connsiteY5" fmla="*/ 330269 h 330324"/>
              <a:gd name="connsiteX6" fmla="*/ 520551 w 850357"/>
              <a:gd name="connsiteY6" fmla="*/ 330273 h 330324"/>
              <a:gd name="connsiteX7" fmla="*/ 520043 w 850357"/>
              <a:gd name="connsiteY7" fmla="*/ 330324 h 330324"/>
              <a:gd name="connsiteX8" fmla="*/ 519909 w 850357"/>
              <a:gd name="connsiteY8" fmla="*/ 330324 h 330324"/>
              <a:gd name="connsiteX9" fmla="*/ 244782 w 850357"/>
              <a:gd name="connsiteY9" fmla="*/ 330324 h 330324"/>
              <a:gd name="connsiteX10" fmla="*/ 244772 w 850357"/>
              <a:gd name="connsiteY10" fmla="*/ 330292 h 330324"/>
              <a:gd name="connsiteX11" fmla="*/ 0 w 850357"/>
              <a:gd name="connsiteY11" fmla="*/ 330308 h 330324"/>
              <a:gd name="connsiteX12" fmla="*/ 0 w 850357"/>
              <a:gd name="connsiteY12" fmla="*/ 39 h 330324"/>
              <a:gd name="connsiteX13" fmla="*/ 134685 w 850357"/>
              <a:gd name="connsiteY13" fmla="*/ 30 h 330324"/>
              <a:gd name="connsiteX14" fmla="*/ 134679 w 850357"/>
              <a:gd name="connsiteY14" fmla="*/ 13 h 330324"/>
              <a:gd name="connsiteX15" fmla="*/ 384722 w 850357"/>
              <a:gd name="connsiteY15" fmla="*/ 13 h 3303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850357" h="330324">
                <a:moveTo>
                  <a:pt x="577083" y="0"/>
                </a:moveTo>
                <a:lnTo>
                  <a:pt x="577083" y="13"/>
                </a:lnTo>
                <a:lnTo>
                  <a:pt x="850357" y="13"/>
                </a:lnTo>
                <a:cubicBezTo>
                  <a:pt x="850357" y="159711"/>
                  <a:pt x="737092" y="292832"/>
                  <a:pt x="586598" y="323617"/>
                </a:cubicBezTo>
                <a:lnTo>
                  <a:pt x="577083" y="324576"/>
                </a:lnTo>
                <a:lnTo>
                  <a:pt x="577083" y="330269"/>
                </a:lnTo>
                <a:lnTo>
                  <a:pt x="520551" y="330273"/>
                </a:lnTo>
                <a:lnTo>
                  <a:pt x="520043" y="330324"/>
                </a:lnTo>
                <a:lnTo>
                  <a:pt x="519909" y="330324"/>
                </a:lnTo>
                <a:lnTo>
                  <a:pt x="244782" y="330324"/>
                </a:lnTo>
                <a:lnTo>
                  <a:pt x="244772" y="330292"/>
                </a:lnTo>
                <a:lnTo>
                  <a:pt x="0" y="330308"/>
                </a:lnTo>
                <a:lnTo>
                  <a:pt x="0" y="39"/>
                </a:lnTo>
                <a:lnTo>
                  <a:pt x="134685" y="30"/>
                </a:lnTo>
                <a:lnTo>
                  <a:pt x="134679" y="13"/>
                </a:lnTo>
                <a:lnTo>
                  <a:pt x="384722" y="13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anchor="ctr">
            <a:noAutofit/>
          </a:bodyPr>
          <a:lstStyle>
            <a:lvl1pPr algn="ctr">
              <a:spcBef>
                <a:spcPts val="600"/>
              </a:spcBef>
              <a:defRPr sz="900">
                <a:solidFill>
                  <a:schemeClr val="bg1"/>
                </a:solidFill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pt-PT" dirty="0"/>
              <a:t>Texto</a:t>
            </a:r>
          </a:p>
        </p:txBody>
      </p:sp>
      <p:sp>
        <p:nvSpPr>
          <p:cNvPr id="203" name="Marcador de Posição do Texto 10">
            <a:extLst>
              <a:ext uri="{FF2B5EF4-FFF2-40B4-BE49-F238E27FC236}">
                <a16:creationId xmlns:a16="http://schemas.microsoft.com/office/drawing/2014/main" id="{EE88457E-E1A9-2AED-D623-05980D7F2938}"/>
              </a:ext>
            </a:extLst>
          </p:cNvPr>
          <p:cNvSpPr>
            <a:spLocks noGrp="1"/>
          </p:cNvSpPr>
          <p:nvPr>
            <p:ph type="body" sz="quarter" idx="120" hasCustomPrompt="1"/>
          </p:nvPr>
        </p:nvSpPr>
        <p:spPr>
          <a:xfrm>
            <a:off x="5193717" y="6002543"/>
            <a:ext cx="4216134" cy="357282"/>
          </a:xfrm>
        </p:spPr>
        <p:txBody>
          <a:bodyPr anchor="ctr">
            <a:noAutofit/>
          </a:bodyPr>
          <a:lstStyle>
            <a:lvl1pPr algn="ctr">
              <a:spcBef>
                <a:spcPts val="600"/>
              </a:spcBef>
              <a:defRPr lang="pt-PT" sz="1600" kern="1200" cap="all" baseline="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pt-PT" dirty="0"/>
              <a:t>Texto destacado</a:t>
            </a:r>
          </a:p>
        </p:txBody>
      </p:sp>
      <p:sp>
        <p:nvSpPr>
          <p:cNvPr id="43" name="Marcador de Posição do Rodapé 4">
            <a:extLst>
              <a:ext uri="{FF2B5EF4-FFF2-40B4-BE49-F238E27FC236}">
                <a16:creationId xmlns:a16="http://schemas.microsoft.com/office/drawing/2014/main" id="{8519D260-06B9-4330-A48D-A59F425CB7E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12762" y="6356350"/>
            <a:ext cx="534669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bg1"/>
                </a:solidFill>
              </a:defRPr>
            </a:lvl1pPr>
          </a:lstStyle>
          <a:p>
            <a:r>
              <a:rPr lang="pt-PT"/>
              <a:t>Título de la presentación</a:t>
            </a:r>
            <a:endParaRPr lang="pt-PT" dirty="0"/>
          </a:p>
        </p:txBody>
      </p:sp>
      <p:sp>
        <p:nvSpPr>
          <p:cNvPr id="44" name="Marcador de Posição do Número do Diapositivo 5">
            <a:extLst>
              <a:ext uri="{FF2B5EF4-FFF2-40B4-BE49-F238E27FC236}">
                <a16:creationId xmlns:a16="http://schemas.microsoft.com/office/drawing/2014/main" id="{BFE51875-53FD-437C-88B5-AF0F294E66D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936039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bg1"/>
                </a:solidFill>
              </a:defRPr>
            </a:lvl1pPr>
          </a:lstStyle>
          <a:p>
            <a:fld id="{24A347C2-D68E-473A-8C76-1D063E4EB6E0}" type="slidenum">
              <a:rPr lang="es-ES" smtClean="0"/>
              <a:pPr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4372729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50"/>
                                        <p:tgtEl>
                                          <p:spTgt spid="6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25E-6 0.03889 L 1.25E-6 1.85185E-6 " pathEditMode="relative" rAng="0" ptsTypes="AA">
                                      <p:cBhvr>
                                        <p:cTn id="9" dur="500" fill="hold"/>
                                        <p:tgtEl>
                                          <p:spTgt spid="6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944"/>
                                    </p:animMotion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250"/>
                                        <p:tgtEl>
                                          <p:spTgt spid="6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25E-6 0.03889 L 1.25E-6 1.85185E-6 " pathEditMode="relative" rAng="0" ptsTypes="AA">
                                      <p:cBhvr>
                                        <p:cTn id="14" dur="500" fill="hold"/>
                                        <p:tgtEl>
                                          <p:spTgt spid="6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944"/>
                                    </p:animMotion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69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6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70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7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71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7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72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7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10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10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4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" dur="500"/>
                                        <p:tgtEl>
                                          <p:spTgt spid="114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1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3" dur="500"/>
                                        <p:tgtEl>
                                          <p:spTgt spid="11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4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5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500"/>
                                        <p:tgtEl>
                                          <p:spTgt spid="115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7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9" dur="500"/>
                                        <p:tgtEl>
                                          <p:spTgt spid="1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6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2" dur="500"/>
                                        <p:tgtEl>
                                          <p:spTgt spid="116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3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5" dur="500"/>
                                        <p:tgtEl>
                                          <p:spTgt spid="1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6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7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8" dur="500"/>
                                        <p:tgtEl>
                                          <p:spTgt spid="117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9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1" dur="500"/>
                                        <p:tgtEl>
                                          <p:spTgt spid="1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2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8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4" dur="500"/>
                                        <p:tgtEl>
                                          <p:spTgt spid="118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5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7" dur="500"/>
                                        <p:tgtEl>
                                          <p:spTgt spid="1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8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7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0" dur="500"/>
                                        <p:tgtEl>
                                          <p:spTgt spid="1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1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3" dur="500"/>
                                        <p:tgtEl>
                                          <p:spTgt spid="1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4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8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6" dur="500"/>
                                        <p:tgtEl>
                                          <p:spTgt spid="1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7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9" dur="500"/>
                                        <p:tgtEl>
                                          <p:spTgt spid="12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9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0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2" dur="500"/>
                                        <p:tgtEl>
                                          <p:spTgt spid="130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3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5" dur="500"/>
                                        <p:tgtEl>
                                          <p:spTgt spid="1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6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9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1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8" dur="500"/>
                                        <p:tgtEl>
                                          <p:spTgt spid="131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9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0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1" dur="500"/>
                                        <p:tgtEl>
                                          <p:spTgt spid="13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2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0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2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4" dur="500"/>
                                        <p:tgtEl>
                                          <p:spTgt spid="132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5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0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7" dur="500"/>
                                        <p:tgtEl>
                                          <p:spTgt spid="13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8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0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3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0" dur="500"/>
                                        <p:tgtEl>
                                          <p:spTgt spid="133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1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3" dur="500"/>
                                        <p:tgtEl>
                                          <p:spTgt spid="1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4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6" dur="500"/>
                                        <p:tgtEl>
                                          <p:spTgt spid="17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7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9" dur="500"/>
                                        <p:tgtEl>
                                          <p:spTgt spid="17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2" dur="500"/>
                                        <p:tgtEl>
                                          <p:spTgt spid="17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3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5" dur="500"/>
                                        <p:tgtEl>
                                          <p:spTgt spid="17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6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0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8" dur="500"/>
                                        <p:tgtEl>
                                          <p:spTgt spid="190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9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1" dur="500"/>
                                        <p:tgtEl>
                                          <p:spTgt spid="19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2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2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4" dur="500"/>
                                        <p:tgtEl>
                                          <p:spTgt spid="192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5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7" dur="500"/>
                                        <p:tgtEl>
                                          <p:spTgt spid="19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8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3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0" dur="500"/>
                                        <p:tgtEl>
                                          <p:spTgt spid="193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1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3" dur="500"/>
                                        <p:tgtEl>
                                          <p:spTgt spid="19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4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4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6" dur="500"/>
                                        <p:tgtEl>
                                          <p:spTgt spid="194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7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9" dur="500"/>
                                        <p:tgtEl>
                                          <p:spTgt spid="19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5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2" dur="500"/>
                                        <p:tgtEl>
                                          <p:spTgt spid="195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3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5" dur="500"/>
                                        <p:tgtEl>
                                          <p:spTgt spid="19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6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6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8" dur="500"/>
                                        <p:tgtEl>
                                          <p:spTgt spid="196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9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1" dur="500"/>
                                        <p:tgtEl>
                                          <p:spTgt spid="19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2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7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4" dur="500"/>
                                        <p:tgtEl>
                                          <p:spTgt spid="197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5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7" dur="500"/>
                                        <p:tgtEl>
                                          <p:spTgt spid="19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8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8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0" dur="500"/>
                                        <p:tgtEl>
                                          <p:spTgt spid="198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1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3" dur="500"/>
                                        <p:tgtEl>
                                          <p:spTgt spid="19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4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9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6" dur="500"/>
                                        <p:tgtEl>
                                          <p:spTgt spid="199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7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9" dur="500"/>
                                        <p:tgtEl>
                                          <p:spTgt spid="19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0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2" dur="500"/>
                                        <p:tgtEl>
                                          <p:spTgt spid="200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3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5" dur="500"/>
                                        <p:tgtEl>
                                          <p:spTgt spid="20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6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8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1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8" dur="500"/>
                                        <p:tgtEl>
                                          <p:spTgt spid="201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9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1" dur="500"/>
                                        <p:tgtEl>
                                          <p:spTgt spid="20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2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9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2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4" dur="500"/>
                                        <p:tgtEl>
                                          <p:spTgt spid="202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5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7" dur="500"/>
                                        <p:tgtEl>
                                          <p:spTgt spid="20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8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9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0" dur="500"/>
                                        <p:tgtEl>
                                          <p:spTgt spid="20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9" grpId="0" animBg="1"/>
      <p:bldP spid="67" grpId="0"/>
      <p:bldP spid="67" grpId="1"/>
      <p:bldP spid="68" grpId="0">
        <p:tmplLst>
          <p:tmpl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6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250"/>
                        <p:tgtEl>
                          <p:spTgt spid="6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68" grpId="1">
        <p:tmplLst>
          <p:tmpl>
            <p:tnLst>
              <p:par>
                <p:cTn presetID="42" presetClass="path" presetSubtype="0" decel="100000" fill="hold" nodeType="withEffect">
                  <p:stCondLst>
                    <p:cond delay="0"/>
                  </p:stCondLst>
                  <p:childTnLst>
                    <p:animMotion origin="layout" path="M 1.25E-6 0.03889 L 1.25E-6 1.85185E-6 " pathEditMode="relative" rAng="0" ptsTypes="AA">
                      <p:cBhvr>
                        <p:cTn dur="500" fill="hold"/>
                        <p:tgtEl>
                          <p:spTgt spid="68"/>
                        </p:tgtEl>
                        <p:attrNameLst>
                          <p:attrName>ppt_x</p:attrName>
                          <p:attrName>ppt_y</p:attrName>
                        </p:attrNameLst>
                      </p:cBhvr>
                      <p:rCtr x="0" y="-1944"/>
                    </p:animMotion>
                  </p:childTnLst>
                </p:cTn>
              </p:par>
            </p:tnLst>
          </p:tmpl>
        </p:tmplLst>
      </p:bldP>
      <p:bldP spid="69" grpId="0" build="p" animBg="1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6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69"/>
                        </p:tgtEl>
                      </p:cBhvr>
                    </p:animEffect>
                  </p:childTnLst>
                </p:cTn>
              </p:par>
            </p:tnLst>
          </p:tmpl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6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6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70" grpId="0" build="p" animBg="1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70"/>
                        </p:tgtEl>
                      </p:cBhvr>
                    </p:animEffect>
                  </p:childTnLst>
                </p:cTn>
              </p:par>
            </p:tnLst>
          </p:tmpl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7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71" grpId="0" build="p" animBg="1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71"/>
                        </p:tgtEl>
                      </p:cBhvr>
                    </p:animEffect>
                  </p:childTnLst>
                </p:cTn>
              </p:par>
            </p:tnLst>
          </p:tmpl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7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72" grpId="0" build="p" animBg="1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72"/>
                        </p:tgtEl>
                      </p:cBhvr>
                    </p:animEffect>
                  </p:childTnLst>
                </p:cTn>
              </p:par>
            </p:tnLst>
          </p:tmpl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7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08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0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0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09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0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0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14" grpId="0" build="p" animBg="1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14"/>
                        </p:tgtEl>
                      </p:cBhvr>
                    </p:animEffect>
                  </p:childTnLst>
                </p:cTn>
              </p:par>
            </p:tnLst>
          </p:tmpl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1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15" grpId="0" build="p" animBg="1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15"/>
                        </p:tgtEl>
                      </p:cBhvr>
                    </p:animEffect>
                  </p:childTnLst>
                </p:cTn>
              </p:par>
            </p:tnLst>
          </p:tmpl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1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16" grpId="0" build="p" animBg="1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16"/>
                        </p:tgtEl>
                      </p:cBhvr>
                    </p:animEffect>
                  </p:childTnLst>
                </p:cTn>
              </p:par>
            </p:tnLst>
          </p:tmpl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1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17" grpId="0" build="p" animBg="1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17"/>
                        </p:tgtEl>
                      </p:cBhvr>
                    </p:animEffect>
                  </p:childTnLst>
                </p:cTn>
              </p:par>
            </p:tnLst>
          </p:tmpl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1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18" grpId="0" build="p" animBg="1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18"/>
                        </p:tgtEl>
                      </p:cBhvr>
                    </p:animEffect>
                  </p:childTnLst>
                </p:cTn>
              </p:par>
            </p:tnLst>
          </p:tmpl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1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25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2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26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2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27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2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28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2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30" grpId="0" build="p" animBg="1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3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30"/>
                        </p:tgtEl>
                      </p:cBhvr>
                    </p:animEffect>
                  </p:childTnLst>
                </p:cTn>
              </p:par>
            </p:tnLst>
          </p:tmpl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3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3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31" grpId="0" build="p" animBg="1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3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31"/>
                        </p:tgtEl>
                      </p:cBhvr>
                    </p:animEffect>
                  </p:childTnLst>
                </p:cTn>
              </p:par>
            </p:tnLst>
          </p:tmpl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3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3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32" grpId="0" build="p" animBg="1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3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32"/>
                        </p:tgtEl>
                      </p:cBhvr>
                    </p:animEffect>
                  </p:childTnLst>
                </p:cTn>
              </p:par>
            </p:tnLst>
          </p:tmpl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3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3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33" grpId="0" build="p" animBg="1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3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33"/>
                        </p:tgtEl>
                      </p:cBhvr>
                    </p:animEffect>
                  </p:childTnLst>
                </p:cTn>
              </p:par>
            </p:tnLst>
          </p:tmpl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3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3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71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7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7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72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7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7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73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7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7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75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7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7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90" grpId="0" build="p" animBg="1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9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90"/>
                        </p:tgtEl>
                      </p:cBhvr>
                    </p:animEffect>
                  </p:childTnLst>
                </p:cTn>
              </p:par>
            </p:tnLst>
          </p:tmpl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9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9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92" grpId="0" build="p" animBg="1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9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92"/>
                        </p:tgtEl>
                      </p:cBhvr>
                    </p:animEffect>
                  </p:childTnLst>
                </p:cTn>
              </p:par>
            </p:tnLst>
          </p:tmpl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9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9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93" grpId="0" build="p" animBg="1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9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93"/>
                        </p:tgtEl>
                      </p:cBhvr>
                    </p:animEffect>
                  </p:childTnLst>
                </p:cTn>
              </p:par>
            </p:tnLst>
          </p:tmpl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9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9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94" grpId="0" build="p" animBg="1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9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94"/>
                        </p:tgtEl>
                      </p:cBhvr>
                    </p:animEffect>
                  </p:childTnLst>
                </p:cTn>
              </p:par>
            </p:tnLst>
          </p:tmpl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9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9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95" grpId="0" build="p" animBg="1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9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95"/>
                        </p:tgtEl>
                      </p:cBhvr>
                    </p:animEffect>
                  </p:childTnLst>
                </p:cTn>
              </p:par>
            </p:tnLst>
          </p:tmpl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9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9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96" grpId="0" build="p" animBg="1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9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96"/>
                        </p:tgtEl>
                      </p:cBhvr>
                    </p:animEffect>
                  </p:childTnLst>
                </p:cTn>
              </p:par>
            </p:tnLst>
          </p:tmpl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9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9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97" grpId="0" build="p" animBg="1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9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97"/>
                        </p:tgtEl>
                      </p:cBhvr>
                    </p:animEffect>
                  </p:childTnLst>
                </p:cTn>
              </p:par>
            </p:tnLst>
          </p:tmpl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9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9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98" grpId="0" build="p" animBg="1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9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98"/>
                        </p:tgtEl>
                      </p:cBhvr>
                    </p:animEffect>
                  </p:childTnLst>
                </p:cTn>
              </p:par>
            </p:tnLst>
          </p:tmpl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9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9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99" grpId="0" build="p" animBg="1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9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99"/>
                        </p:tgtEl>
                      </p:cBhvr>
                    </p:animEffect>
                  </p:childTnLst>
                </p:cTn>
              </p:par>
            </p:tnLst>
          </p:tmpl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9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9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00" grpId="0" build="p" animBg="1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0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00"/>
                        </p:tgtEl>
                      </p:cBhvr>
                    </p:animEffect>
                  </p:childTnLst>
                </p:cTn>
              </p:par>
            </p:tnLst>
          </p:tmpl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0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0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01" grpId="0" build="p" animBg="1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0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01"/>
                        </p:tgtEl>
                      </p:cBhvr>
                    </p:animEffect>
                  </p:childTnLst>
                </p:cTn>
              </p:par>
            </p:tnLst>
          </p:tmpl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0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0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02" grpId="0" build="p" animBg="1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0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02"/>
                        </p:tgtEl>
                      </p:cBhvr>
                    </p:animEffect>
                  </p:childTnLst>
                </p:cTn>
              </p:par>
            </p:tnLst>
          </p:tmpl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0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0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03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0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03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7_Esquema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9" name="Imagem 116">
            <a:extLst>
              <a:ext uri="{FF2B5EF4-FFF2-40B4-BE49-F238E27FC236}">
                <a16:creationId xmlns:a16="http://schemas.microsoft.com/office/drawing/2014/main" id="{8447826E-7747-40F2-9053-C4325AC7ABF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 l="12584" t="41046" r="69501" b="19713"/>
          <a:stretch>
            <a:fillRect/>
          </a:stretch>
        </p:blipFill>
        <p:spPr>
          <a:xfrm rot="5400000" flipV="1">
            <a:off x="4546218" y="4276006"/>
            <a:ext cx="1619233" cy="3544755"/>
          </a:xfrm>
          <a:prstGeom prst="rect">
            <a:avLst/>
          </a:prstGeom>
        </p:spPr>
      </p:pic>
      <p:sp>
        <p:nvSpPr>
          <p:cNvPr id="111" name="Retângulo 110">
            <a:extLst>
              <a:ext uri="{FF2B5EF4-FFF2-40B4-BE49-F238E27FC236}">
                <a16:creationId xmlns:a16="http://schemas.microsoft.com/office/drawing/2014/main" id="{BC86DCF8-4A57-977D-AB92-D35E7A6E94AF}"/>
              </a:ext>
            </a:extLst>
          </p:cNvPr>
          <p:cNvSpPr/>
          <p:nvPr userDrawn="1"/>
        </p:nvSpPr>
        <p:spPr>
          <a:xfrm flipV="1">
            <a:off x="0" y="0"/>
            <a:ext cx="4024549" cy="6858000"/>
          </a:xfrm>
          <a:prstGeom prst="rect">
            <a:avLst/>
          </a:prstGeom>
          <a:solidFill>
            <a:srgbClr val="184BF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  <p:sp>
        <p:nvSpPr>
          <p:cNvPr id="33" name="Título 6">
            <a:extLst>
              <a:ext uri="{FF2B5EF4-FFF2-40B4-BE49-F238E27FC236}">
                <a16:creationId xmlns:a16="http://schemas.microsoft.com/office/drawing/2014/main" id="{9E26EF5E-94C3-3809-7332-2C97F80F24E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2987" y="1206223"/>
            <a:ext cx="2971835" cy="712204"/>
          </a:xfrm>
        </p:spPr>
        <p:txBody>
          <a:bodyPr anchor="b">
            <a:normAutofit/>
          </a:bodyPr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pt-PT" dirty="0"/>
              <a:t>Insertar título de la slide</a:t>
            </a:r>
          </a:p>
        </p:txBody>
      </p:sp>
      <p:sp>
        <p:nvSpPr>
          <p:cNvPr id="34" name="Marcador de Posição do Texto 8">
            <a:extLst>
              <a:ext uri="{FF2B5EF4-FFF2-40B4-BE49-F238E27FC236}">
                <a16:creationId xmlns:a16="http://schemas.microsoft.com/office/drawing/2014/main" id="{0F034827-00DF-59F3-7768-3457C71D5D4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11736" y="1789640"/>
            <a:ext cx="2996228" cy="355243"/>
          </a:xfrm>
        </p:spPr>
        <p:txBody>
          <a:bodyPr>
            <a:noAutofit/>
          </a:bodyPr>
          <a:lstStyle>
            <a:lvl1pPr>
              <a:defRPr sz="2000">
                <a:solidFill>
                  <a:schemeClr val="bg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pt-PT" dirty="0"/>
              <a:t>Insertar subtítulo de la slide</a:t>
            </a:r>
          </a:p>
        </p:txBody>
      </p:sp>
      <p:sp>
        <p:nvSpPr>
          <p:cNvPr id="35" name="Marcador de Posição do Texto 10">
            <a:extLst>
              <a:ext uri="{FF2B5EF4-FFF2-40B4-BE49-F238E27FC236}">
                <a16:creationId xmlns:a16="http://schemas.microsoft.com/office/drawing/2014/main" id="{0598C544-698D-3663-F9E6-4AA7BEAA1DE9}"/>
              </a:ext>
            </a:extLst>
          </p:cNvPr>
          <p:cNvSpPr>
            <a:spLocks noGrp="1"/>
          </p:cNvSpPr>
          <p:nvPr>
            <p:ph type="body" sz="quarter" idx="80" hasCustomPrompt="1"/>
          </p:nvPr>
        </p:nvSpPr>
        <p:spPr>
          <a:xfrm>
            <a:off x="612987" y="3851678"/>
            <a:ext cx="3061043" cy="2316239"/>
          </a:xfrm>
        </p:spPr>
        <p:txBody>
          <a:bodyPr anchor="t">
            <a:noAutofit/>
          </a:bodyPr>
          <a:lstStyle>
            <a:lvl1pPr algn="l">
              <a:spcBef>
                <a:spcPts val="600"/>
              </a:spcBef>
              <a:defRPr sz="1400">
                <a:solidFill>
                  <a:schemeClr val="bg1"/>
                </a:solidFill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es-ES" dirty="0"/>
              <a:t>Haz </a:t>
            </a:r>
            <a:r>
              <a:rPr lang="es-ES" dirty="0" err="1"/>
              <a:t>click</a:t>
            </a:r>
            <a:r>
              <a:rPr lang="es-ES" dirty="0"/>
              <a:t> para editar los estilos del texto del modelo global</a:t>
            </a:r>
            <a:endParaRPr lang="pt-PT" dirty="0"/>
          </a:p>
        </p:txBody>
      </p:sp>
      <p:sp>
        <p:nvSpPr>
          <p:cNvPr id="36" name="Marcador de Posição do Texto 10">
            <a:extLst>
              <a:ext uri="{FF2B5EF4-FFF2-40B4-BE49-F238E27FC236}">
                <a16:creationId xmlns:a16="http://schemas.microsoft.com/office/drawing/2014/main" id="{2C41CF7C-1D73-D50D-6731-0B4AB5CF5B72}"/>
              </a:ext>
            </a:extLst>
          </p:cNvPr>
          <p:cNvSpPr>
            <a:spLocks noGrp="1"/>
          </p:cNvSpPr>
          <p:nvPr>
            <p:ph type="body" sz="quarter" idx="81" hasCustomPrompt="1"/>
          </p:nvPr>
        </p:nvSpPr>
        <p:spPr>
          <a:xfrm>
            <a:off x="612987" y="3135005"/>
            <a:ext cx="2076085" cy="680266"/>
          </a:xfrm>
        </p:spPr>
        <p:txBody>
          <a:bodyPr anchor="b">
            <a:noAutofit/>
          </a:bodyPr>
          <a:lstStyle>
            <a:lvl1pPr algn="l">
              <a:spcBef>
                <a:spcPts val="600"/>
              </a:spcBef>
              <a:defRPr lang="pt-PT" sz="2000" kern="1200" cap="all" baseline="0" dirty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pt-PT" dirty="0"/>
              <a:t>Texto destacado</a:t>
            </a:r>
          </a:p>
        </p:txBody>
      </p:sp>
      <p:sp>
        <p:nvSpPr>
          <p:cNvPr id="84" name="Oval 83">
            <a:extLst>
              <a:ext uri="{FF2B5EF4-FFF2-40B4-BE49-F238E27FC236}">
                <a16:creationId xmlns:a16="http://schemas.microsoft.com/office/drawing/2014/main" id="{716C47F5-01E5-F806-DA3B-DF15E865A786}"/>
              </a:ext>
            </a:extLst>
          </p:cNvPr>
          <p:cNvSpPr/>
          <p:nvPr userDrawn="1"/>
        </p:nvSpPr>
        <p:spPr>
          <a:xfrm>
            <a:off x="4414172" y="747099"/>
            <a:ext cx="5632422" cy="5632422"/>
          </a:xfrm>
          <a:prstGeom prst="ellipse">
            <a:avLst/>
          </a:prstGeom>
          <a:noFill/>
          <a:ln w="6350">
            <a:solidFill>
              <a:schemeClr val="tx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  <p:sp>
        <p:nvSpPr>
          <p:cNvPr id="85" name="Oval 84">
            <a:extLst>
              <a:ext uri="{FF2B5EF4-FFF2-40B4-BE49-F238E27FC236}">
                <a16:creationId xmlns:a16="http://schemas.microsoft.com/office/drawing/2014/main" id="{3369DB31-13A1-1F96-AE42-983871B489EA}"/>
              </a:ext>
            </a:extLst>
          </p:cNvPr>
          <p:cNvSpPr/>
          <p:nvPr userDrawn="1"/>
        </p:nvSpPr>
        <p:spPr>
          <a:xfrm>
            <a:off x="4792783" y="1125710"/>
            <a:ext cx="4875200" cy="4875200"/>
          </a:xfrm>
          <a:prstGeom prst="ellipse">
            <a:avLst/>
          </a:prstGeom>
          <a:noFill/>
          <a:ln w="6350"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  <p:sp>
        <p:nvSpPr>
          <p:cNvPr id="86" name="Oval 85">
            <a:extLst>
              <a:ext uri="{FF2B5EF4-FFF2-40B4-BE49-F238E27FC236}">
                <a16:creationId xmlns:a16="http://schemas.microsoft.com/office/drawing/2014/main" id="{C0D49796-C103-7F53-F1DF-84E542FC2FAB}"/>
              </a:ext>
            </a:extLst>
          </p:cNvPr>
          <p:cNvSpPr/>
          <p:nvPr userDrawn="1"/>
        </p:nvSpPr>
        <p:spPr>
          <a:xfrm>
            <a:off x="5229398" y="1562325"/>
            <a:ext cx="4001970" cy="4001970"/>
          </a:xfrm>
          <a:prstGeom prst="ellipse">
            <a:avLst/>
          </a:prstGeom>
          <a:noFill/>
          <a:ln w="6350"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  <p:sp>
        <p:nvSpPr>
          <p:cNvPr id="87" name="Oval 86">
            <a:extLst>
              <a:ext uri="{FF2B5EF4-FFF2-40B4-BE49-F238E27FC236}">
                <a16:creationId xmlns:a16="http://schemas.microsoft.com/office/drawing/2014/main" id="{87A0E0B6-A8E6-7302-748B-E5B15E4179D6}"/>
              </a:ext>
            </a:extLst>
          </p:cNvPr>
          <p:cNvSpPr/>
          <p:nvPr userDrawn="1"/>
        </p:nvSpPr>
        <p:spPr>
          <a:xfrm>
            <a:off x="6418906" y="2751833"/>
            <a:ext cx="1622954" cy="1622954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  <p:cxnSp>
        <p:nvCxnSpPr>
          <p:cNvPr id="89" name="Conexão reta 88">
            <a:extLst>
              <a:ext uri="{FF2B5EF4-FFF2-40B4-BE49-F238E27FC236}">
                <a16:creationId xmlns:a16="http://schemas.microsoft.com/office/drawing/2014/main" id="{D5F0CB2E-1E64-8DAA-B059-F357B7A39F65}"/>
              </a:ext>
            </a:extLst>
          </p:cNvPr>
          <p:cNvCxnSpPr>
            <a:cxnSpLocks/>
          </p:cNvCxnSpPr>
          <p:nvPr userDrawn="1"/>
        </p:nvCxnSpPr>
        <p:spPr>
          <a:xfrm>
            <a:off x="9420717" y="1809068"/>
            <a:ext cx="2173962" cy="0"/>
          </a:xfrm>
          <a:prstGeom prst="line">
            <a:avLst/>
          </a:prstGeom>
          <a:ln w="6350">
            <a:solidFill>
              <a:schemeClr val="tx2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1" name="Conexão reta 90">
            <a:extLst>
              <a:ext uri="{FF2B5EF4-FFF2-40B4-BE49-F238E27FC236}">
                <a16:creationId xmlns:a16="http://schemas.microsoft.com/office/drawing/2014/main" id="{D56A1C9B-7C48-8020-0FF9-5CF01A38FF3D}"/>
              </a:ext>
            </a:extLst>
          </p:cNvPr>
          <p:cNvCxnSpPr>
            <a:cxnSpLocks/>
          </p:cNvCxnSpPr>
          <p:nvPr userDrawn="1"/>
        </p:nvCxnSpPr>
        <p:spPr>
          <a:xfrm>
            <a:off x="9596387" y="3037525"/>
            <a:ext cx="1998292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3" name="Conexão reta 92">
            <a:extLst>
              <a:ext uri="{FF2B5EF4-FFF2-40B4-BE49-F238E27FC236}">
                <a16:creationId xmlns:a16="http://schemas.microsoft.com/office/drawing/2014/main" id="{F30504BB-135C-10B2-A11A-69B37D32008D}"/>
              </a:ext>
            </a:extLst>
          </p:cNvPr>
          <p:cNvCxnSpPr>
            <a:cxnSpLocks/>
          </p:cNvCxnSpPr>
          <p:nvPr userDrawn="1"/>
        </p:nvCxnSpPr>
        <p:spPr>
          <a:xfrm>
            <a:off x="8585200" y="5038569"/>
            <a:ext cx="3009479" cy="0"/>
          </a:xfrm>
          <a:prstGeom prst="line">
            <a:avLst/>
          </a:prstGeom>
          <a:ln w="6350">
            <a:solidFill>
              <a:schemeClr val="accent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9" name="Marcador de Posição do Texto 34">
            <a:extLst>
              <a:ext uri="{FF2B5EF4-FFF2-40B4-BE49-F238E27FC236}">
                <a16:creationId xmlns:a16="http://schemas.microsoft.com/office/drawing/2014/main" id="{9BC7D357-E217-E18E-C31C-FABA17789070}"/>
              </a:ext>
            </a:extLst>
          </p:cNvPr>
          <p:cNvSpPr>
            <a:spLocks noGrp="1"/>
          </p:cNvSpPr>
          <p:nvPr>
            <p:ph type="body" sz="quarter" idx="82" hasCustomPrompt="1"/>
          </p:nvPr>
        </p:nvSpPr>
        <p:spPr>
          <a:xfrm>
            <a:off x="5641183" y="1336088"/>
            <a:ext cx="3200562" cy="2074268"/>
          </a:xfrm>
        </p:spPr>
        <p:txBody>
          <a:bodyPr anchor="ctr">
            <a:prstTxWarp prst="textArchUp">
              <a:avLst>
                <a:gd name="adj" fmla="val 10791651"/>
              </a:avLst>
            </a:prstTxWarp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pt-PT" sz="1200" kern="1200" cap="all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pt-PT" dirty="0"/>
              <a:t>TEXTO</a:t>
            </a:r>
          </a:p>
        </p:txBody>
      </p:sp>
      <p:sp>
        <p:nvSpPr>
          <p:cNvPr id="101" name="Marcador de Posição do Texto 34">
            <a:extLst>
              <a:ext uri="{FF2B5EF4-FFF2-40B4-BE49-F238E27FC236}">
                <a16:creationId xmlns:a16="http://schemas.microsoft.com/office/drawing/2014/main" id="{46BD3442-964D-00C9-6468-FE86573AE2D7}"/>
              </a:ext>
            </a:extLst>
          </p:cNvPr>
          <p:cNvSpPr>
            <a:spLocks noGrp="1"/>
          </p:cNvSpPr>
          <p:nvPr>
            <p:ph type="body" sz="quarter" idx="83" hasCustomPrompt="1"/>
          </p:nvPr>
        </p:nvSpPr>
        <p:spPr>
          <a:xfrm>
            <a:off x="5641183" y="926141"/>
            <a:ext cx="3200562" cy="2074268"/>
          </a:xfrm>
        </p:spPr>
        <p:txBody>
          <a:bodyPr anchor="ctr">
            <a:prstTxWarp prst="textArchUp">
              <a:avLst>
                <a:gd name="adj" fmla="val 10791651"/>
              </a:avLst>
            </a:prstTxWarp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pt-PT" sz="1200" kern="1200" cap="all" baseline="0" dirty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pt-PT" dirty="0"/>
              <a:t>TEXTO</a:t>
            </a:r>
          </a:p>
        </p:txBody>
      </p:sp>
      <p:sp>
        <p:nvSpPr>
          <p:cNvPr id="102" name="Marcador de Posição do Texto 10">
            <a:extLst>
              <a:ext uri="{FF2B5EF4-FFF2-40B4-BE49-F238E27FC236}">
                <a16:creationId xmlns:a16="http://schemas.microsoft.com/office/drawing/2014/main" id="{0878B02D-0C66-C5CE-39D9-E5087F14D250}"/>
              </a:ext>
            </a:extLst>
          </p:cNvPr>
          <p:cNvSpPr>
            <a:spLocks noGrp="1"/>
          </p:cNvSpPr>
          <p:nvPr>
            <p:ph type="body" sz="quarter" idx="84" hasCustomPrompt="1"/>
          </p:nvPr>
        </p:nvSpPr>
        <p:spPr>
          <a:xfrm>
            <a:off x="9568325" y="1330018"/>
            <a:ext cx="1660536" cy="433523"/>
          </a:xfrm>
        </p:spPr>
        <p:txBody>
          <a:bodyPr anchor="b">
            <a:noAutofit/>
          </a:bodyPr>
          <a:lstStyle>
            <a:lvl1pPr algn="l">
              <a:spcBef>
                <a:spcPts val="600"/>
              </a:spcBef>
              <a:defRPr lang="pt-PT" sz="1200" kern="1200" cap="all" baseline="0" dirty="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pt-PT" dirty="0"/>
              <a:t>Texto destacado</a:t>
            </a:r>
          </a:p>
        </p:txBody>
      </p:sp>
      <p:sp>
        <p:nvSpPr>
          <p:cNvPr id="103" name="Marcador de Posição do Texto 10">
            <a:extLst>
              <a:ext uri="{FF2B5EF4-FFF2-40B4-BE49-F238E27FC236}">
                <a16:creationId xmlns:a16="http://schemas.microsoft.com/office/drawing/2014/main" id="{301A3CB4-FC21-4D20-4932-9B82A2AAA9F0}"/>
              </a:ext>
            </a:extLst>
          </p:cNvPr>
          <p:cNvSpPr>
            <a:spLocks noGrp="1"/>
          </p:cNvSpPr>
          <p:nvPr>
            <p:ph type="body" sz="quarter" idx="85" hasCustomPrompt="1"/>
          </p:nvPr>
        </p:nvSpPr>
        <p:spPr>
          <a:xfrm>
            <a:off x="10059839" y="2579084"/>
            <a:ext cx="1660536" cy="433523"/>
          </a:xfrm>
        </p:spPr>
        <p:txBody>
          <a:bodyPr anchor="b">
            <a:noAutofit/>
          </a:bodyPr>
          <a:lstStyle>
            <a:lvl1pPr algn="l">
              <a:spcBef>
                <a:spcPts val="600"/>
              </a:spcBef>
              <a:defRPr lang="pt-PT" sz="1200" kern="1200" cap="all" baseline="0" dirty="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pt-PT" dirty="0"/>
              <a:t>Texto destacado</a:t>
            </a:r>
          </a:p>
        </p:txBody>
      </p:sp>
      <p:sp>
        <p:nvSpPr>
          <p:cNvPr id="104" name="Marcador de Posição do Texto 10">
            <a:extLst>
              <a:ext uri="{FF2B5EF4-FFF2-40B4-BE49-F238E27FC236}">
                <a16:creationId xmlns:a16="http://schemas.microsoft.com/office/drawing/2014/main" id="{9759CA2E-57AD-4E4C-2CE1-AC304A239822}"/>
              </a:ext>
            </a:extLst>
          </p:cNvPr>
          <p:cNvSpPr>
            <a:spLocks noGrp="1"/>
          </p:cNvSpPr>
          <p:nvPr>
            <p:ph type="body" sz="quarter" idx="86" hasCustomPrompt="1"/>
          </p:nvPr>
        </p:nvSpPr>
        <p:spPr>
          <a:xfrm>
            <a:off x="10116634" y="4566372"/>
            <a:ext cx="1660536" cy="433523"/>
          </a:xfrm>
        </p:spPr>
        <p:txBody>
          <a:bodyPr anchor="b">
            <a:noAutofit/>
          </a:bodyPr>
          <a:lstStyle>
            <a:lvl1pPr algn="l">
              <a:spcBef>
                <a:spcPts val="600"/>
              </a:spcBef>
              <a:defRPr lang="pt-PT" sz="1200" kern="1200" cap="all" baseline="0" dirty="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pt-PT" dirty="0"/>
              <a:t>Texto destacado</a:t>
            </a:r>
          </a:p>
        </p:txBody>
      </p:sp>
      <p:cxnSp>
        <p:nvCxnSpPr>
          <p:cNvPr id="107" name="Conexão reta 106">
            <a:extLst>
              <a:ext uri="{FF2B5EF4-FFF2-40B4-BE49-F238E27FC236}">
                <a16:creationId xmlns:a16="http://schemas.microsoft.com/office/drawing/2014/main" id="{52929EC9-AE24-23C7-357A-29633EB67555}"/>
              </a:ext>
            </a:extLst>
          </p:cNvPr>
          <p:cNvCxnSpPr>
            <a:cxnSpLocks/>
          </p:cNvCxnSpPr>
          <p:nvPr userDrawn="1"/>
        </p:nvCxnSpPr>
        <p:spPr>
          <a:xfrm>
            <a:off x="7937500" y="3916599"/>
            <a:ext cx="3657179" cy="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8" name="Marcador de Posição do Texto 10">
            <a:extLst>
              <a:ext uri="{FF2B5EF4-FFF2-40B4-BE49-F238E27FC236}">
                <a16:creationId xmlns:a16="http://schemas.microsoft.com/office/drawing/2014/main" id="{2304198A-0CB4-D78A-2E22-3F545CCBE1E1}"/>
              </a:ext>
            </a:extLst>
          </p:cNvPr>
          <p:cNvSpPr>
            <a:spLocks noGrp="1"/>
          </p:cNvSpPr>
          <p:nvPr>
            <p:ph type="body" sz="quarter" idx="87" hasCustomPrompt="1"/>
          </p:nvPr>
        </p:nvSpPr>
        <p:spPr>
          <a:xfrm>
            <a:off x="10059839" y="3458158"/>
            <a:ext cx="1660536" cy="433523"/>
          </a:xfrm>
        </p:spPr>
        <p:txBody>
          <a:bodyPr anchor="b">
            <a:noAutofit/>
          </a:bodyPr>
          <a:lstStyle>
            <a:lvl1pPr algn="l">
              <a:spcBef>
                <a:spcPts val="600"/>
              </a:spcBef>
              <a:defRPr lang="pt-PT" sz="1200" kern="1200" cap="all" baseline="0" dirty="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pt-PT" dirty="0"/>
              <a:t>Texto destacado</a:t>
            </a:r>
          </a:p>
        </p:txBody>
      </p:sp>
      <p:sp>
        <p:nvSpPr>
          <p:cNvPr id="110" name="Marcador de Posição do Texto 34">
            <a:extLst>
              <a:ext uri="{FF2B5EF4-FFF2-40B4-BE49-F238E27FC236}">
                <a16:creationId xmlns:a16="http://schemas.microsoft.com/office/drawing/2014/main" id="{381AEF18-C761-48E5-6394-04EA7253D41E}"/>
              </a:ext>
            </a:extLst>
          </p:cNvPr>
          <p:cNvSpPr>
            <a:spLocks noGrp="1"/>
          </p:cNvSpPr>
          <p:nvPr>
            <p:ph type="body" sz="quarter" idx="88" hasCustomPrompt="1"/>
          </p:nvPr>
        </p:nvSpPr>
        <p:spPr>
          <a:xfrm>
            <a:off x="6622528" y="3057786"/>
            <a:ext cx="1215710" cy="1011049"/>
          </a:xfrm>
        </p:spPr>
        <p:txBody>
          <a:bodyPr anchor="ctr">
            <a:prstTxWarp prst="textArchUp">
              <a:avLst>
                <a:gd name="adj" fmla="val 10791651"/>
              </a:avLst>
            </a:prstTxWarp>
            <a:noAutofit/>
          </a:bodyPr>
          <a:lstStyle>
            <a:lvl1pPr algn="ctr">
              <a:defRPr lang="pt-PT" sz="1200" kern="1200" cap="all" baseline="0" dirty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pt-PT" dirty="0"/>
              <a:t>TEXTO</a:t>
            </a:r>
          </a:p>
        </p:txBody>
      </p:sp>
      <p:sp>
        <p:nvSpPr>
          <p:cNvPr id="112" name="Marcador de Posição do Texto 34">
            <a:extLst>
              <a:ext uri="{FF2B5EF4-FFF2-40B4-BE49-F238E27FC236}">
                <a16:creationId xmlns:a16="http://schemas.microsoft.com/office/drawing/2014/main" id="{51A2F4E7-FFF3-8127-496E-9782977389FA}"/>
              </a:ext>
            </a:extLst>
          </p:cNvPr>
          <p:cNvSpPr>
            <a:spLocks noGrp="1"/>
          </p:cNvSpPr>
          <p:nvPr>
            <p:ph type="body" sz="quarter" idx="89" hasCustomPrompt="1"/>
          </p:nvPr>
        </p:nvSpPr>
        <p:spPr>
          <a:xfrm rot="2641635">
            <a:off x="7152856" y="2433174"/>
            <a:ext cx="1712480" cy="1011049"/>
          </a:xfrm>
        </p:spPr>
        <p:txBody>
          <a:bodyPr anchor="b">
            <a:prstTxWarp prst="textArchUp">
              <a:avLst>
                <a:gd name="adj" fmla="val 10791651"/>
              </a:avLst>
            </a:prstTxWarp>
            <a:noAutofit/>
          </a:bodyPr>
          <a:lstStyle>
            <a:lvl1pPr algn="ctr">
              <a:defRPr lang="pt-PT" sz="1200" kern="1200" cap="all" baseline="0" dirty="0">
                <a:solidFill>
                  <a:srgbClr val="132153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pt-PT" dirty="0"/>
              <a:t>TEXTO</a:t>
            </a:r>
          </a:p>
        </p:txBody>
      </p:sp>
      <p:sp>
        <p:nvSpPr>
          <p:cNvPr id="114" name="Marcador de Posição do Texto 34">
            <a:extLst>
              <a:ext uri="{FF2B5EF4-FFF2-40B4-BE49-F238E27FC236}">
                <a16:creationId xmlns:a16="http://schemas.microsoft.com/office/drawing/2014/main" id="{92D6E04C-8B11-E2AF-D4CB-758DA0B3F4B5}"/>
              </a:ext>
            </a:extLst>
          </p:cNvPr>
          <p:cNvSpPr>
            <a:spLocks noGrp="1"/>
          </p:cNvSpPr>
          <p:nvPr>
            <p:ph type="body" sz="quarter" idx="90" hasCustomPrompt="1"/>
          </p:nvPr>
        </p:nvSpPr>
        <p:spPr>
          <a:xfrm rot="18900000">
            <a:off x="5683727" y="2437671"/>
            <a:ext cx="1712480" cy="1011049"/>
          </a:xfrm>
        </p:spPr>
        <p:txBody>
          <a:bodyPr anchor="b">
            <a:prstTxWarp prst="textArchUp">
              <a:avLst>
                <a:gd name="adj" fmla="val 10791651"/>
              </a:avLst>
            </a:prstTxWarp>
            <a:noAutofit/>
          </a:bodyPr>
          <a:lstStyle>
            <a:lvl1pPr algn="ctr">
              <a:defRPr lang="pt-PT" sz="1200" kern="1200" cap="all" baseline="0" dirty="0">
                <a:solidFill>
                  <a:srgbClr val="132153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pt-PT" dirty="0"/>
              <a:t>TEXTO</a:t>
            </a:r>
          </a:p>
        </p:txBody>
      </p:sp>
      <p:sp>
        <p:nvSpPr>
          <p:cNvPr id="115" name="Marcador de Posição do Texto 34">
            <a:extLst>
              <a:ext uri="{FF2B5EF4-FFF2-40B4-BE49-F238E27FC236}">
                <a16:creationId xmlns:a16="http://schemas.microsoft.com/office/drawing/2014/main" id="{4A2E1ED6-7C73-6942-EDDE-84E9F7AB622D}"/>
              </a:ext>
            </a:extLst>
          </p:cNvPr>
          <p:cNvSpPr>
            <a:spLocks noGrp="1"/>
          </p:cNvSpPr>
          <p:nvPr>
            <p:ph type="body" sz="quarter" idx="91" hasCustomPrompt="1"/>
          </p:nvPr>
        </p:nvSpPr>
        <p:spPr>
          <a:xfrm rot="18900000">
            <a:off x="7080770" y="3790378"/>
            <a:ext cx="1712480" cy="1011049"/>
          </a:xfrm>
        </p:spPr>
        <p:txBody>
          <a:bodyPr anchor="t">
            <a:prstTxWarp prst="textArchDown">
              <a:avLst/>
            </a:prstTxWarp>
            <a:noAutofit/>
          </a:bodyPr>
          <a:lstStyle>
            <a:lvl1pPr algn="ctr">
              <a:defRPr lang="pt-PT" sz="1200" kern="1200" cap="all" baseline="0" dirty="0">
                <a:solidFill>
                  <a:srgbClr val="132153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pt-PT" dirty="0"/>
              <a:t>TEXTO</a:t>
            </a:r>
          </a:p>
        </p:txBody>
      </p:sp>
      <p:sp>
        <p:nvSpPr>
          <p:cNvPr id="116" name="Marcador de Posição do Texto 34">
            <a:extLst>
              <a:ext uri="{FF2B5EF4-FFF2-40B4-BE49-F238E27FC236}">
                <a16:creationId xmlns:a16="http://schemas.microsoft.com/office/drawing/2014/main" id="{48A9B206-5A3E-4D83-8EBB-B1CBE12673CE}"/>
              </a:ext>
            </a:extLst>
          </p:cNvPr>
          <p:cNvSpPr>
            <a:spLocks noGrp="1"/>
          </p:cNvSpPr>
          <p:nvPr>
            <p:ph type="body" sz="quarter" idx="92" hasCustomPrompt="1"/>
          </p:nvPr>
        </p:nvSpPr>
        <p:spPr>
          <a:xfrm rot="2641635">
            <a:off x="5661391" y="3857513"/>
            <a:ext cx="1712480" cy="1011049"/>
          </a:xfrm>
        </p:spPr>
        <p:txBody>
          <a:bodyPr anchor="t">
            <a:prstTxWarp prst="textArchDown">
              <a:avLst/>
            </a:prstTxWarp>
            <a:noAutofit/>
          </a:bodyPr>
          <a:lstStyle>
            <a:lvl1pPr algn="ctr">
              <a:defRPr lang="pt-PT" sz="1200" kern="1200" cap="all" baseline="0" dirty="0">
                <a:solidFill>
                  <a:srgbClr val="132153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pt-PT" dirty="0"/>
              <a:t>TEXTO</a:t>
            </a:r>
          </a:p>
        </p:txBody>
      </p:sp>
      <p:pic>
        <p:nvPicPr>
          <p:cNvPr id="117" name="Imagem 116">
            <a:extLst>
              <a:ext uri="{FF2B5EF4-FFF2-40B4-BE49-F238E27FC236}">
                <a16:creationId xmlns:a16="http://schemas.microsoft.com/office/drawing/2014/main" id="{403E998A-5B12-E500-66B7-7E47AE7C9D9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 l="12584" t="41046" r="69501" b="19713"/>
          <a:stretch>
            <a:fillRect/>
          </a:stretch>
        </p:blipFill>
        <p:spPr>
          <a:xfrm rot="16200000" flipH="1" flipV="1">
            <a:off x="9610006" y="4276006"/>
            <a:ext cx="1619233" cy="3544755"/>
          </a:xfrm>
          <a:prstGeom prst="rect">
            <a:avLst/>
          </a:prstGeom>
        </p:spPr>
      </p:pic>
      <p:sp>
        <p:nvSpPr>
          <p:cNvPr id="27" name="Marcador de Posição do Rodapé 4">
            <a:extLst>
              <a:ext uri="{FF2B5EF4-FFF2-40B4-BE49-F238E27FC236}">
                <a16:creationId xmlns:a16="http://schemas.microsoft.com/office/drawing/2014/main" id="{12BDF3BE-385B-4D86-A0C6-2237CE1E285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12762" y="6356350"/>
            <a:ext cx="534669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bg1"/>
                </a:solidFill>
              </a:defRPr>
            </a:lvl1pPr>
          </a:lstStyle>
          <a:p>
            <a:r>
              <a:rPr lang="pt-PT"/>
              <a:t>Título de la presentación</a:t>
            </a:r>
            <a:endParaRPr lang="pt-PT" dirty="0"/>
          </a:p>
        </p:txBody>
      </p:sp>
      <p:sp>
        <p:nvSpPr>
          <p:cNvPr id="28" name="Marcador de Posição do Número do Diapositivo 5">
            <a:extLst>
              <a:ext uri="{FF2B5EF4-FFF2-40B4-BE49-F238E27FC236}">
                <a16:creationId xmlns:a16="http://schemas.microsoft.com/office/drawing/2014/main" id="{031CDC41-E12D-415E-BA25-7FEEA5E84B9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936039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bg1"/>
                </a:solidFill>
              </a:defRPr>
            </a:lvl1pPr>
          </a:lstStyle>
          <a:p>
            <a:fld id="{24A347C2-D68E-473A-8C76-1D063E4EB6E0}" type="slidenum">
              <a:rPr lang="es-ES" smtClean="0"/>
              <a:pPr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94205888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5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1719 -0.00023 L -1.25E-6 1.85185E-6 " pathEditMode="relative" rAng="0" ptsTypes="AA">
                                      <p:cBhvr>
                                        <p:cTn id="9" dur="5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859" y="0"/>
                                    </p:animMotion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25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1719 -0.00023 L -1.25E-6 1.85185E-6 " pathEditMode="relative" rAng="0" ptsTypes="AA">
                                      <p:cBhvr>
                                        <p:cTn id="14" dur="5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859" y="0"/>
                                    </p:animMotion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25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25E-6 0.03889 L 1.25E-6 1.85185E-6 " pathEditMode="relative" rAng="0" ptsTypes="AA">
                                      <p:cBhvr>
                                        <p:cTn id="19" dur="5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944"/>
                                    </p:animMotion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25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25E-6 0.03889 L 1.25E-6 1.85185E-6 " pathEditMode="relative" rAng="0" ptsTypes="AA">
                                      <p:cBhvr>
                                        <p:cTn id="24" dur="5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944"/>
                                    </p:animMotion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8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8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8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8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10" presetClass="entr" presetSubtype="0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8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10" presetClass="entr" presetSubtype="0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9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" presetID="10" presetClass="entr" presetSubtype="0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500"/>
                                        <p:tgtEl>
                                          <p:spTgt spid="9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6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8" dur="500"/>
                                        <p:tgtEl>
                                          <p:spTgt spid="9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9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1" dur="500"/>
                                        <p:tgtEl>
                                          <p:spTgt spid="10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2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4" dur="500"/>
                                        <p:tgtEl>
                                          <p:spTgt spid="10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5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500"/>
                                        <p:tgtEl>
                                          <p:spTgt spid="10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8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0" dur="500"/>
                                        <p:tgtEl>
                                          <p:spTgt spid="10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1" presetID="10" presetClass="entr" presetSubtype="0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3" dur="500"/>
                                        <p:tgtEl>
                                          <p:spTgt spid="10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4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6" dur="500"/>
                                        <p:tgtEl>
                                          <p:spTgt spid="10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7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9" dur="500"/>
                                        <p:tgtEl>
                                          <p:spTgt spid="1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2" dur="500"/>
                                        <p:tgtEl>
                                          <p:spTgt spid="1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3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5" dur="500"/>
                                        <p:tgtEl>
                                          <p:spTgt spid="11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6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7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8" dur="500"/>
                                        <p:tgtEl>
                                          <p:spTgt spid="1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9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1" dur="500"/>
                                        <p:tgtEl>
                                          <p:spTgt spid="1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3" grpId="0"/>
      <p:bldP spid="33" grpId="1"/>
      <p:bldP spid="34" grpId="0">
        <p:tmplLst>
          <p:tmpl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250"/>
                        <p:tgtEl>
                          <p:spTgt spid="3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4" grpId="1"/>
      <p:bldP spid="35" grpId="0">
        <p:tmplLst>
          <p:tmpl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250"/>
                        <p:tgtEl>
                          <p:spTgt spid="3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5" grpId="1"/>
      <p:bldP spid="36" grpId="0">
        <p:tmplLst>
          <p:tmpl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250"/>
                        <p:tgtEl>
                          <p:spTgt spid="3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6" grpId="1"/>
      <p:bldP spid="84" grpId="0" animBg="1"/>
      <p:bldP spid="85" grpId="0" animBg="1"/>
      <p:bldP spid="86" grpId="0" animBg="1"/>
      <p:bldP spid="87" grpId="0" animBg="1"/>
      <p:bldP spid="99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9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01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0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0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02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0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0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03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0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0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04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0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0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08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0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0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10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1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12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1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14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1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15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1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16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16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8_Esquema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0" name="Retângulo 109">
            <a:extLst>
              <a:ext uri="{FF2B5EF4-FFF2-40B4-BE49-F238E27FC236}">
                <a16:creationId xmlns:a16="http://schemas.microsoft.com/office/drawing/2014/main" id="{306498E7-0B15-D2E0-7FBF-BCD66A70B7F2}"/>
              </a:ext>
            </a:extLst>
          </p:cNvPr>
          <p:cNvSpPr/>
          <p:nvPr userDrawn="1"/>
        </p:nvSpPr>
        <p:spPr>
          <a:xfrm flipV="1">
            <a:off x="7800969" y="0"/>
            <a:ext cx="4391030" cy="6858000"/>
          </a:xfrm>
          <a:prstGeom prst="rect">
            <a:avLst/>
          </a:prstGeom>
          <a:solidFill>
            <a:srgbClr val="184BF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  <p:sp>
        <p:nvSpPr>
          <p:cNvPr id="104" name="Marcador de Posição da Imagem 103">
            <a:extLst>
              <a:ext uri="{FF2B5EF4-FFF2-40B4-BE49-F238E27FC236}">
                <a16:creationId xmlns:a16="http://schemas.microsoft.com/office/drawing/2014/main" id="{7D1EE1AD-7975-E3AD-72E2-0E660AD82194}"/>
              </a:ext>
            </a:extLst>
          </p:cNvPr>
          <p:cNvSpPr>
            <a:spLocks noGrp="1"/>
          </p:cNvSpPr>
          <p:nvPr>
            <p:ph type="pic" sz="quarter" idx="91"/>
          </p:nvPr>
        </p:nvSpPr>
        <p:spPr>
          <a:xfrm>
            <a:off x="3398028" y="1462444"/>
            <a:ext cx="768527" cy="710845"/>
          </a:xfrm>
          <a:custGeom>
            <a:avLst/>
            <a:gdLst>
              <a:gd name="connsiteX0" fmla="*/ 0 w 768527"/>
              <a:gd name="connsiteY0" fmla="*/ 0 h 710845"/>
              <a:gd name="connsiteX1" fmla="*/ 367552 w 768527"/>
              <a:gd name="connsiteY1" fmla="*/ 65 h 710845"/>
              <a:gd name="connsiteX2" fmla="*/ 367574 w 768527"/>
              <a:gd name="connsiteY2" fmla="*/ 0 h 710845"/>
              <a:gd name="connsiteX3" fmla="*/ 549736 w 768527"/>
              <a:gd name="connsiteY3" fmla="*/ 0 h 710845"/>
              <a:gd name="connsiteX4" fmla="*/ 549825 w 768527"/>
              <a:gd name="connsiteY4" fmla="*/ 0 h 710845"/>
              <a:gd name="connsiteX5" fmla="*/ 764082 w 768527"/>
              <a:gd name="connsiteY5" fmla="*/ 174608 h 710845"/>
              <a:gd name="connsiteX6" fmla="*/ 768525 w 768527"/>
              <a:gd name="connsiteY6" fmla="*/ 218682 h 710845"/>
              <a:gd name="connsiteX7" fmla="*/ 768527 w 768527"/>
              <a:gd name="connsiteY7" fmla="*/ 218682 h 710845"/>
              <a:gd name="connsiteX8" fmla="*/ 768527 w 768527"/>
              <a:gd name="connsiteY8" fmla="*/ 218700 h 710845"/>
              <a:gd name="connsiteX9" fmla="*/ 768527 w 768527"/>
              <a:gd name="connsiteY9" fmla="*/ 710845 h 710845"/>
              <a:gd name="connsiteX10" fmla="*/ 180179 w 768527"/>
              <a:gd name="connsiteY10" fmla="*/ 710845 h 710845"/>
              <a:gd name="connsiteX11" fmla="*/ 0 w 768527"/>
              <a:gd name="connsiteY11" fmla="*/ 710813 h 7108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768527" h="710845">
                <a:moveTo>
                  <a:pt x="0" y="0"/>
                </a:moveTo>
                <a:lnTo>
                  <a:pt x="367552" y="65"/>
                </a:lnTo>
                <a:lnTo>
                  <a:pt x="367574" y="0"/>
                </a:lnTo>
                <a:lnTo>
                  <a:pt x="549736" y="0"/>
                </a:lnTo>
                <a:lnTo>
                  <a:pt x="549825" y="0"/>
                </a:lnTo>
                <a:cubicBezTo>
                  <a:pt x="655483" y="0"/>
                  <a:pt x="743683" y="74923"/>
                  <a:pt x="764082" y="174608"/>
                </a:cubicBezTo>
                <a:lnTo>
                  <a:pt x="768525" y="218682"/>
                </a:lnTo>
                <a:lnTo>
                  <a:pt x="768527" y="218682"/>
                </a:lnTo>
                <a:lnTo>
                  <a:pt x="768527" y="218700"/>
                </a:lnTo>
                <a:lnTo>
                  <a:pt x="768527" y="710845"/>
                </a:lnTo>
                <a:lnTo>
                  <a:pt x="180179" y="710845"/>
                </a:lnTo>
                <a:lnTo>
                  <a:pt x="0" y="710813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pt-PT"/>
          </a:p>
        </p:txBody>
      </p:sp>
      <p:sp>
        <p:nvSpPr>
          <p:cNvPr id="59" name="Título 6">
            <a:extLst>
              <a:ext uri="{FF2B5EF4-FFF2-40B4-BE49-F238E27FC236}">
                <a16:creationId xmlns:a16="http://schemas.microsoft.com/office/drawing/2014/main" id="{3E352A55-1CCD-AFD4-2762-5A8CBD55C66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3184" y="393484"/>
            <a:ext cx="6727067" cy="712204"/>
          </a:xfrm>
        </p:spPr>
        <p:txBody>
          <a:bodyPr>
            <a:normAutofit/>
          </a:bodyPr>
          <a:lstStyle>
            <a:lvl1pPr>
              <a:defRPr sz="3200"/>
            </a:lvl1pPr>
          </a:lstStyle>
          <a:p>
            <a:r>
              <a:rPr lang="pt-PT" dirty="0"/>
              <a:t>Insertar título de la slide</a:t>
            </a:r>
          </a:p>
        </p:txBody>
      </p:sp>
      <p:sp>
        <p:nvSpPr>
          <p:cNvPr id="60" name="Marcador de Posição do Texto 8">
            <a:extLst>
              <a:ext uri="{FF2B5EF4-FFF2-40B4-BE49-F238E27FC236}">
                <a16:creationId xmlns:a16="http://schemas.microsoft.com/office/drawing/2014/main" id="{943FDC4B-41CE-B108-CEC0-CF70D6A5B05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11933" y="976901"/>
            <a:ext cx="6727572" cy="355243"/>
          </a:xfrm>
        </p:spPr>
        <p:txBody>
          <a:bodyPr>
            <a:normAutofit/>
          </a:bodyPr>
          <a:lstStyle>
            <a:lvl1pPr>
              <a:defRPr sz="200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pt-PT" dirty="0"/>
              <a:t>Insertar subtítulo de la slide</a:t>
            </a:r>
          </a:p>
        </p:txBody>
      </p:sp>
      <p:sp>
        <p:nvSpPr>
          <p:cNvPr id="61" name="Marcador de Posição do Texto 10">
            <a:extLst>
              <a:ext uri="{FF2B5EF4-FFF2-40B4-BE49-F238E27FC236}">
                <a16:creationId xmlns:a16="http://schemas.microsoft.com/office/drawing/2014/main" id="{B557477D-EC05-00B0-063C-F63A58963392}"/>
              </a:ext>
            </a:extLst>
          </p:cNvPr>
          <p:cNvSpPr>
            <a:spLocks noGrp="1"/>
          </p:cNvSpPr>
          <p:nvPr>
            <p:ph type="body" sz="quarter" idx="80" hasCustomPrompt="1"/>
          </p:nvPr>
        </p:nvSpPr>
        <p:spPr>
          <a:xfrm>
            <a:off x="8160553" y="3851678"/>
            <a:ext cx="3434126" cy="2316239"/>
          </a:xfrm>
        </p:spPr>
        <p:txBody>
          <a:bodyPr anchor="t">
            <a:noAutofit/>
          </a:bodyPr>
          <a:lstStyle>
            <a:lvl1pPr algn="l">
              <a:spcBef>
                <a:spcPts val="600"/>
              </a:spcBef>
              <a:defRPr sz="1400">
                <a:solidFill>
                  <a:schemeClr val="bg1"/>
                </a:solidFill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es-ES" dirty="0"/>
              <a:t>Haz </a:t>
            </a:r>
            <a:r>
              <a:rPr lang="es-ES" dirty="0" err="1"/>
              <a:t>click</a:t>
            </a:r>
            <a:r>
              <a:rPr lang="es-ES" dirty="0"/>
              <a:t> para editar los estilos del texto del modelo global</a:t>
            </a:r>
            <a:endParaRPr lang="pt-PT" dirty="0"/>
          </a:p>
        </p:txBody>
      </p:sp>
      <p:sp>
        <p:nvSpPr>
          <p:cNvPr id="62" name="Marcador de Posição do Texto 10">
            <a:extLst>
              <a:ext uri="{FF2B5EF4-FFF2-40B4-BE49-F238E27FC236}">
                <a16:creationId xmlns:a16="http://schemas.microsoft.com/office/drawing/2014/main" id="{8F1A2F25-9D9F-0FDC-B3B8-D6A6E352135B}"/>
              </a:ext>
            </a:extLst>
          </p:cNvPr>
          <p:cNvSpPr>
            <a:spLocks noGrp="1"/>
          </p:cNvSpPr>
          <p:nvPr>
            <p:ph type="body" sz="quarter" idx="81" hasCustomPrompt="1"/>
          </p:nvPr>
        </p:nvSpPr>
        <p:spPr>
          <a:xfrm>
            <a:off x="8160553" y="3135005"/>
            <a:ext cx="2076085" cy="680266"/>
          </a:xfrm>
        </p:spPr>
        <p:txBody>
          <a:bodyPr anchor="b">
            <a:noAutofit/>
          </a:bodyPr>
          <a:lstStyle>
            <a:lvl1pPr algn="l">
              <a:spcBef>
                <a:spcPts val="600"/>
              </a:spcBef>
              <a:defRPr lang="pt-PT" sz="2000" kern="1200" cap="all" baseline="0" dirty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pt-PT" dirty="0"/>
              <a:t>Texto destacado</a:t>
            </a:r>
          </a:p>
        </p:txBody>
      </p:sp>
      <p:sp>
        <p:nvSpPr>
          <p:cNvPr id="71" name="Marcador de Posição do Texto 10">
            <a:extLst>
              <a:ext uri="{FF2B5EF4-FFF2-40B4-BE49-F238E27FC236}">
                <a16:creationId xmlns:a16="http://schemas.microsoft.com/office/drawing/2014/main" id="{C8A7E50A-E312-FAE5-2759-60B13DFADD2A}"/>
              </a:ext>
            </a:extLst>
          </p:cNvPr>
          <p:cNvSpPr>
            <a:spLocks noGrp="1"/>
          </p:cNvSpPr>
          <p:nvPr userDrawn="1">
            <p:ph type="body" sz="quarter" idx="82" hasCustomPrompt="1"/>
          </p:nvPr>
        </p:nvSpPr>
        <p:spPr>
          <a:xfrm>
            <a:off x="2399702" y="2240967"/>
            <a:ext cx="2852322" cy="277008"/>
          </a:xfrm>
        </p:spPr>
        <p:txBody>
          <a:bodyPr anchor="t">
            <a:noAutofit/>
          </a:bodyPr>
          <a:lstStyle>
            <a:lvl1pPr algn="ctr">
              <a:spcBef>
                <a:spcPts val="600"/>
              </a:spcBef>
              <a:defRPr sz="1200">
                <a:solidFill>
                  <a:schemeClr val="tx2"/>
                </a:solidFill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pt-PT" dirty="0"/>
              <a:t>Clique para editar os estilos</a:t>
            </a:r>
            <a:br>
              <a:rPr lang="pt-PT" dirty="0"/>
            </a:br>
            <a:r>
              <a:rPr lang="pt-PT" dirty="0"/>
              <a:t>do texto de Modelo Global</a:t>
            </a:r>
          </a:p>
        </p:txBody>
      </p:sp>
      <p:sp>
        <p:nvSpPr>
          <p:cNvPr id="76" name="Marcador de Posição do Texto 10">
            <a:extLst>
              <a:ext uri="{FF2B5EF4-FFF2-40B4-BE49-F238E27FC236}">
                <a16:creationId xmlns:a16="http://schemas.microsoft.com/office/drawing/2014/main" id="{5E11782B-2576-DD1B-B9AD-B609E89DEC07}"/>
              </a:ext>
            </a:extLst>
          </p:cNvPr>
          <p:cNvSpPr>
            <a:spLocks noGrp="1"/>
          </p:cNvSpPr>
          <p:nvPr userDrawn="1">
            <p:ph type="body" sz="quarter" idx="83" hasCustomPrompt="1"/>
          </p:nvPr>
        </p:nvSpPr>
        <p:spPr>
          <a:xfrm>
            <a:off x="4552497" y="3587363"/>
            <a:ext cx="1374542" cy="277008"/>
          </a:xfrm>
        </p:spPr>
        <p:txBody>
          <a:bodyPr anchor="t">
            <a:noAutofit/>
          </a:bodyPr>
          <a:lstStyle>
            <a:lvl1pPr algn="ctr">
              <a:spcBef>
                <a:spcPts val="600"/>
              </a:spcBef>
              <a:defRPr sz="1200">
                <a:solidFill>
                  <a:schemeClr val="tx2"/>
                </a:solidFill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es-ES" dirty="0"/>
              <a:t>Haz </a:t>
            </a:r>
            <a:r>
              <a:rPr lang="es-ES" dirty="0" err="1"/>
              <a:t>click</a:t>
            </a:r>
            <a:r>
              <a:rPr lang="es-ES" dirty="0"/>
              <a:t> para editar los estilos del texto del modelo global</a:t>
            </a:r>
            <a:endParaRPr lang="pt-PT" dirty="0"/>
          </a:p>
        </p:txBody>
      </p:sp>
      <p:sp>
        <p:nvSpPr>
          <p:cNvPr id="81" name="Marcador de Posição do Texto 10">
            <a:extLst>
              <a:ext uri="{FF2B5EF4-FFF2-40B4-BE49-F238E27FC236}">
                <a16:creationId xmlns:a16="http://schemas.microsoft.com/office/drawing/2014/main" id="{46BAD076-3A34-B70C-259E-45EB08AA19BE}"/>
              </a:ext>
            </a:extLst>
          </p:cNvPr>
          <p:cNvSpPr>
            <a:spLocks noGrp="1"/>
          </p:cNvSpPr>
          <p:nvPr userDrawn="1">
            <p:ph type="body" sz="quarter" idx="84" hasCustomPrompt="1"/>
          </p:nvPr>
        </p:nvSpPr>
        <p:spPr>
          <a:xfrm>
            <a:off x="1521453" y="3587363"/>
            <a:ext cx="1374542" cy="277008"/>
          </a:xfrm>
        </p:spPr>
        <p:txBody>
          <a:bodyPr anchor="t">
            <a:noAutofit/>
          </a:bodyPr>
          <a:lstStyle>
            <a:lvl1pPr algn="ctr">
              <a:spcBef>
                <a:spcPts val="600"/>
              </a:spcBef>
              <a:defRPr sz="1200">
                <a:solidFill>
                  <a:schemeClr val="tx2"/>
                </a:solidFill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es-ES" dirty="0"/>
              <a:t>Haz </a:t>
            </a:r>
            <a:r>
              <a:rPr lang="es-ES" dirty="0" err="1"/>
              <a:t>click</a:t>
            </a:r>
            <a:r>
              <a:rPr lang="es-ES" dirty="0"/>
              <a:t> para editar los estilos del texto del modelo global</a:t>
            </a:r>
            <a:endParaRPr lang="pt-PT" dirty="0"/>
          </a:p>
        </p:txBody>
      </p:sp>
      <p:sp>
        <p:nvSpPr>
          <p:cNvPr id="86" name="Marcador de Posição do Texto 10">
            <a:extLst>
              <a:ext uri="{FF2B5EF4-FFF2-40B4-BE49-F238E27FC236}">
                <a16:creationId xmlns:a16="http://schemas.microsoft.com/office/drawing/2014/main" id="{124B1873-F799-B81D-EB79-21FDBBAA8FF6}"/>
              </a:ext>
            </a:extLst>
          </p:cNvPr>
          <p:cNvSpPr>
            <a:spLocks noGrp="1"/>
          </p:cNvSpPr>
          <p:nvPr userDrawn="1">
            <p:ph type="body" sz="quarter" idx="85" hasCustomPrompt="1"/>
          </p:nvPr>
        </p:nvSpPr>
        <p:spPr>
          <a:xfrm>
            <a:off x="6169636" y="3587363"/>
            <a:ext cx="1374542" cy="277008"/>
          </a:xfrm>
        </p:spPr>
        <p:txBody>
          <a:bodyPr anchor="t">
            <a:noAutofit/>
          </a:bodyPr>
          <a:lstStyle>
            <a:lvl1pPr algn="ctr">
              <a:spcBef>
                <a:spcPts val="600"/>
              </a:spcBef>
              <a:defRPr sz="1200">
                <a:solidFill>
                  <a:schemeClr val="tx2"/>
                </a:solidFill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es-ES" dirty="0"/>
              <a:t>Haz </a:t>
            </a:r>
            <a:r>
              <a:rPr lang="es-ES" dirty="0" err="1"/>
              <a:t>click</a:t>
            </a:r>
            <a:r>
              <a:rPr lang="es-ES" dirty="0"/>
              <a:t> para editar los estilos del texto del modelo global</a:t>
            </a:r>
            <a:endParaRPr lang="pt-PT" dirty="0"/>
          </a:p>
        </p:txBody>
      </p:sp>
      <p:sp>
        <p:nvSpPr>
          <p:cNvPr id="91" name="Marcador de Posição do Texto 10">
            <a:extLst>
              <a:ext uri="{FF2B5EF4-FFF2-40B4-BE49-F238E27FC236}">
                <a16:creationId xmlns:a16="http://schemas.microsoft.com/office/drawing/2014/main" id="{9098C68B-4577-7346-1BCC-174834F3E4C8}"/>
              </a:ext>
            </a:extLst>
          </p:cNvPr>
          <p:cNvSpPr>
            <a:spLocks noGrp="1"/>
          </p:cNvSpPr>
          <p:nvPr userDrawn="1">
            <p:ph type="body" sz="quarter" idx="86" hasCustomPrompt="1"/>
          </p:nvPr>
        </p:nvSpPr>
        <p:spPr>
          <a:xfrm>
            <a:off x="2347299" y="4983848"/>
            <a:ext cx="1374542" cy="277008"/>
          </a:xfrm>
        </p:spPr>
        <p:txBody>
          <a:bodyPr anchor="t">
            <a:noAutofit/>
          </a:bodyPr>
          <a:lstStyle>
            <a:lvl1pPr algn="ctr">
              <a:spcBef>
                <a:spcPts val="600"/>
              </a:spcBef>
              <a:defRPr sz="1200">
                <a:solidFill>
                  <a:schemeClr val="tx2"/>
                </a:solidFill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pt-PT" dirty="0"/>
              <a:t>Clique para editar os estilos</a:t>
            </a:r>
            <a:br>
              <a:rPr lang="pt-PT" dirty="0"/>
            </a:br>
            <a:r>
              <a:rPr lang="pt-PT" dirty="0"/>
              <a:t>do texto de Modelo Global</a:t>
            </a:r>
          </a:p>
        </p:txBody>
      </p:sp>
      <p:sp>
        <p:nvSpPr>
          <p:cNvPr id="96" name="Marcador de Posição do Texto 10">
            <a:extLst>
              <a:ext uri="{FF2B5EF4-FFF2-40B4-BE49-F238E27FC236}">
                <a16:creationId xmlns:a16="http://schemas.microsoft.com/office/drawing/2014/main" id="{A9F334C3-EC5F-51A7-EA3D-D8F3BB145F4F}"/>
              </a:ext>
            </a:extLst>
          </p:cNvPr>
          <p:cNvSpPr>
            <a:spLocks noGrp="1"/>
          </p:cNvSpPr>
          <p:nvPr userDrawn="1">
            <p:ph type="body" sz="quarter" idx="87" hasCustomPrompt="1"/>
          </p:nvPr>
        </p:nvSpPr>
        <p:spPr>
          <a:xfrm>
            <a:off x="645883" y="4983848"/>
            <a:ext cx="1374542" cy="277008"/>
          </a:xfrm>
        </p:spPr>
        <p:txBody>
          <a:bodyPr anchor="t">
            <a:noAutofit/>
          </a:bodyPr>
          <a:lstStyle>
            <a:lvl1pPr algn="ctr">
              <a:spcBef>
                <a:spcPts val="600"/>
              </a:spcBef>
              <a:defRPr sz="1200">
                <a:solidFill>
                  <a:schemeClr val="tx2"/>
                </a:solidFill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es-ES" dirty="0"/>
              <a:t>Haz </a:t>
            </a:r>
            <a:r>
              <a:rPr lang="es-ES" dirty="0" err="1"/>
              <a:t>click</a:t>
            </a:r>
            <a:r>
              <a:rPr lang="es-ES" dirty="0"/>
              <a:t> para editar los estilos del texto del modelo global</a:t>
            </a:r>
            <a:endParaRPr lang="pt-PT" dirty="0"/>
          </a:p>
        </p:txBody>
      </p:sp>
      <p:sp>
        <p:nvSpPr>
          <p:cNvPr id="97" name="Marcador de Posição do Texto 10">
            <a:extLst>
              <a:ext uri="{FF2B5EF4-FFF2-40B4-BE49-F238E27FC236}">
                <a16:creationId xmlns:a16="http://schemas.microsoft.com/office/drawing/2014/main" id="{71549049-6474-3ACB-CEAE-A482B90E3365}"/>
              </a:ext>
            </a:extLst>
          </p:cNvPr>
          <p:cNvSpPr>
            <a:spLocks noGrp="1"/>
          </p:cNvSpPr>
          <p:nvPr userDrawn="1">
            <p:ph type="body" sz="quarter" idx="88" hasCustomPrompt="1"/>
          </p:nvPr>
        </p:nvSpPr>
        <p:spPr>
          <a:xfrm>
            <a:off x="597321" y="5810763"/>
            <a:ext cx="3124520" cy="480897"/>
          </a:xfrm>
        </p:spPr>
        <p:txBody>
          <a:bodyPr anchor="t">
            <a:noAutofit/>
          </a:bodyPr>
          <a:lstStyle>
            <a:lvl1pPr algn="ctr">
              <a:spcBef>
                <a:spcPts val="600"/>
              </a:spcBef>
              <a:defRPr lang="pt-PT" sz="1200" b="1" kern="1200" dirty="0">
                <a:solidFill>
                  <a:schemeClr val="tx2"/>
                </a:solidFill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es-ES" dirty="0"/>
              <a:t>Haz </a:t>
            </a:r>
            <a:r>
              <a:rPr lang="es-ES" dirty="0" err="1"/>
              <a:t>click</a:t>
            </a:r>
            <a:r>
              <a:rPr lang="es-ES" dirty="0"/>
              <a:t> para editar los estilos del texto del modelo global</a:t>
            </a:r>
            <a:endParaRPr lang="pt-PT" dirty="0"/>
          </a:p>
        </p:txBody>
      </p:sp>
      <p:sp>
        <p:nvSpPr>
          <p:cNvPr id="98" name="Marcador de Posição do Texto 10">
            <a:extLst>
              <a:ext uri="{FF2B5EF4-FFF2-40B4-BE49-F238E27FC236}">
                <a16:creationId xmlns:a16="http://schemas.microsoft.com/office/drawing/2014/main" id="{184B7F03-DF23-312B-F991-654019401E50}"/>
              </a:ext>
            </a:extLst>
          </p:cNvPr>
          <p:cNvSpPr>
            <a:spLocks noGrp="1"/>
          </p:cNvSpPr>
          <p:nvPr userDrawn="1">
            <p:ph type="body" sz="quarter" idx="89" hasCustomPrompt="1"/>
          </p:nvPr>
        </p:nvSpPr>
        <p:spPr>
          <a:xfrm>
            <a:off x="4456507" y="4292297"/>
            <a:ext cx="3124520" cy="480897"/>
          </a:xfrm>
        </p:spPr>
        <p:txBody>
          <a:bodyPr anchor="t">
            <a:noAutofit/>
          </a:bodyPr>
          <a:lstStyle>
            <a:lvl1pPr algn="ctr">
              <a:spcBef>
                <a:spcPts val="600"/>
              </a:spcBef>
              <a:defRPr sz="1200" b="1">
                <a:solidFill>
                  <a:schemeClr val="tx2"/>
                </a:solidFill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es-ES" dirty="0"/>
              <a:t>Haz </a:t>
            </a:r>
            <a:r>
              <a:rPr lang="es-ES" dirty="0" err="1"/>
              <a:t>click</a:t>
            </a:r>
            <a:r>
              <a:rPr lang="es-ES" dirty="0"/>
              <a:t> para editar los estilos del texto del modelo global</a:t>
            </a:r>
            <a:endParaRPr lang="pt-PT" dirty="0"/>
          </a:p>
        </p:txBody>
      </p:sp>
      <p:sp>
        <p:nvSpPr>
          <p:cNvPr id="99" name="Marcador de Posição do Texto 10">
            <a:extLst>
              <a:ext uri="{FF2B5EF4-FFF2-40B4-BE49-F238E27FC236}">
                <a16:creationId xmlns:a16="http://schemas.microsoft.com/office/drawing/2014/main" id="{1A2839EA-C012-2D61-967F-26A30B3908A2}"/>
              </a:ext>
            </a:extLst>
          </p:cNvPr>
          <p:cNvSpPr>
            <a:spLocks noGrp="1"/>
          </p:cNvSpPr>
          <p:nvPr userDrawn="1">
            <p:ph type="body" sz="quarter" idx="90" hasCustomPrompt="1"/>
          </p:nvPr>
        </p:nvSpPr>
        <p:spPr>
          <a:xfrm>
            <a:off x="4456507" y="5181633"/>
            <a:ext cx="3124520" cy="1272865"/>
          </a:xfrm>
        </p:spPr>
        <p:txBody>
          <a:bodyPr anchor="t">
            <a:noAutofit/>
          </a:bodyPr>
          <a:lstStyle>
            <a:lvl1pPr algn="ctr">
              <a:spcBef>
                <a:spcPts val="600"/>
              </a:spcBef>
              <a:defRPr sz="1200">
                <a:solidFill>
                  <a:schemeClr val="tx2"/>
                </a:solidFill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es-ES" dirty="0"/>
              <a:t>Haz </a:t>
            </a:r>
            <a:r>
              <a:rPr lang="es-ES" dirty="0" err="1"/>
              <a:t>click</a:t>
            </a:r>
            <a:r>
              <a:rPr lang="es-ES" dirty="0"/>
              <a:t> para editar los estilos del texto del modelo global</a:t>
            </a:r>
            <a:endParaRPr lang="pt-PT" dirty="0"/>
          </a:p>
        </p:txBody>
      </p:sp>
      <p:sp>
        <p:nvSpPr>
          <p:cNvPr id="105" name="Marcador de Posição da Imagem 104">
            <a:extLst>
              <a:ext uri="{FF2B5EF4-FFF2-40B4-BE49-F238E27FC236}">
                <a16:creationId xmlns:a16="http://schemas.microsoft.com/office/drawing/2014/main" id="{8C5BADD2-8691-4F62-76F1-82A069B9A080}"/>
              </a:ext>
            </a:extLst>
          </p:cNvPr>
          <p:cNvSpPr>
            <a:spLocks noGrp="1"/>
          </p:cNvSpPr>
          <p:nvPr>
            <p:ph type="pic" sz="quarter" idx="92"/>
          </p:nvPr>
        </p:nvSpPr>
        <p:spPr>
          <a:xfrm>
            <a:off x="1770613" y="2805928"/>
            <a:ext cx="768527" cy="710845"/>
          </a:xfrm>
          <a:custGeom>
            <a:avLst/>
            <a:gdLst>
              <a:gd name="connsiteX0" fmla="*/ 0 w 768527"/>
              <a:gd name="connsiteY0" fmla="*/ 0 h 710845"/>
              <a:gd name="connsiteX1" fmla="*/ 367552 w 768527"/>
              <a:gd name="connsiteY1" fmla="*/ 65 h 710845"/>
              <a:gd name="connsiteX2" fmla="*/ 367574 w 768527"/>
              <a:gd name="connsiteY2" fmla="*/ 0 h 710845"/>
              <a:gd name="connsiteX3" fmla="*/ 549736 w 768527"/>
              <a:gd name="connsiteY3" fmla="*/ 0 h 710845"/>
              <a:gd name="connsiteX4" fmla="*/ 549825 w 768527"/>
              <a:gd name="connsiteY4" fmla="*/ 0 h 710845"/>
              <a:gd name="connsiteX5" fmla="*/ 764082 w 768527"/>
              <a:gd name="connsiteY5" fmla="*/ 174608 h 710845"/>
              <a:gd name="connsiteX6" fmla="*/ 768525 w 768527"/>
              <a:gd name="connsiteY6" fmla="*/ 218682 h 710845"/>
              <a:gd name="connsiteX7" fmla="*/ 768527 w 768527"/>
              <a:gd name="connsiteY7" fmla="*/ 218682 h 710845"/>
              <a:gd name="connsiteX8" fmla="*/ 768527 w 768527"/>
              <a:gd name="connsiteY8" fmla="*/ 218700 h 710845"/>
              <a:gd name="connsiteX9" fmla="*/ 768527 w 768527"/>
              <a:gd name="connsiteY9" fmla="*/ 710845 h 710845"/>
              <a:gd name="connsiteX10" fmla="*/ 180179 w 768527"/>
              <a:gd name="connsiteY10" fmla="*/ 710845 h 710845"/>
              <a:gd name="connsiteX11" fmla="*/ 0 w 768527"/>
              <a:gd name="connsiteY11" fmla="*/ 710813 h 7108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768527" h="710845">
                <a:moveTo>
                  <a:pt x="0" y="0"/>
                </a:moveTo>
                <a:lnTo>
                  <a:pt x="367552" y="65"/>
                </a:lnTo>
                <a:lnTo>
                  <a:pt x="367574" y="0"/>
                </a:lnTo>
                <a:lnTo>
                  <a:pt x="549736" y="0"/>
                </a:lnTo>
                <a:lnTo>
                  <a:pt x="549825" y="0"/>
                </a:lnTo>
                <a:cubicBezTo>
                  <a:pt x="655483" y="0"/>
                  <a:pt x="743683" y="74923"/>
                  <a:pt x="764082" y="174608"/>
                </a:cubicBezTo>
                <a:lnTo>
                  <a:pt x="768525" y="218682"/>
                </a:lnTo>
                <a:lnTo>
                  <a:pt x="768527" y="218682"/>
                </a:lnTo>
                <a:lnTo>
                  <a:pt x="768527" y="218700"/>
                </a:lnTo>
                <a:lnTo>
                  <a:pt x="768527" y="710845"/>
                </a:lnTo>
                <a:lnTo>
                  <a:pt x="180179" y="710845"/>
                </a:lnTo>
                <a:lnTo>
                  <a:pt x="0" y="710813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pt-PT"/>
          </a:p>
        </p:txBody>
      </p:sp>
      <p:sp>
        <p:nvSpPr>
          <p:cNvPr id="106" name="Marcador de Posição da Imagem 105">
            <a:extLst>
              <a:ext uri="{FF2B5EF4-FFF2-40B4-BE49-F238E27FC236}">
                <a16:creationId xmlns:a16="http://schemas.microsoft.com/office/drawing/2014/main" id="{6BD83140-BB1E-6ED3-2A7C-41EC7B20EB5A}"/>
              </a:ext>
            </a:extLst>
          </p:cNvPr>
          <p:cNvSpPr>
            <a:spLocks noGrp="1"/>
          </p:cNvSpPr>
          <p:nvPr>
            <p:ph type="pic" sz="quarter" idx="93"/>
          </p:nvPr>
        </p:nvSpPr>
        <p:spPr>
          <a:xfrm>
            <a:off x="4867760" y="2805928"/>
            <a:ext cx="768527" cy="710845"/>
          </a:xfrm>
          <a:custGeom>
            <a:avLst/>
            <a:gdLst>
              <a:gd name="connsiteX0" fmla="*/ 0 w 768527"/>
              <a:gd name="connsiteY0" fmla="*/ 0 h 710845"/>
              <a:gd name="connsiteX1" fmla="*/ 367552 w 768527"/>
              <a:gd name="connsiteY1" fmla="*/ 65 h 710845"/>
              <a:gd name="connsiteX2" fmla="*/ 367574 w 768527"/>
              <a:gd name="connsiteY2" fmla="*/ 0 h 710845"/>
              <a:gd name="connsiteX3" fmla="*/ 549736 w 768527"/>
              <a:gd name="connsiteY3" fmla="*/ 0 h 710845"/>
              <a:gd name="connsiteX4" fmla="*/ 549825 w 768527"/>
              <a:gd name="connsiteY4" fmla="*/ 0 h 710845"/>
              <a:gd name="connsiteX5" fmla="*/ 764082 w 768527"/>
              <a:gd name="connsiteY5" fmla="*/ 174608 h 710845"/>
              <a:gd name="connsiteX6" fmla="*/ 768525 w 768527"/>
              <a:gd name="connsiteY6" fmla="*/ 218682 h 710845"/>
              <a:gd name="connsiteX7" fmla="*/ 768527 w 768527"/>
              <a:gd name="connsiteY7" fmla="*/ 218682 h 710845"/>
              <a:gd name="connsiteX8" fmla="*/ 768527 w 768527"/>
              <a:gd name="connsiteY8" fmla="*/ 218700 h 710845"/>
              <a:gd name="connsiteX9" fmla="*/ 768527 w 768527"/>
              <a:gd name="connsiteY9" fmla="*/ 710845 h 710845"/>
              <a:gd name="connsiteX10" fmla="*/ 180179 w 768527"/>
              <a:gd name="connsiteY10" fmla="*/ 710845 h 710845"/>
              <a:gd name="connsiteX11" fmla="*/ 0 w 768527"/>
              <a:gd name="connsiteY11" fmla="*/ 710813 h 7108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768527" h="710845">
                <a:moveTo>
                  <a:pt x="0" y="0"/>
                </a:moveTo>
                <a:lnTo>
                  <a:pt x="367552" y="65"/>
                </a:lnTo>
                <a:lnTo>
                  <a:pt x="367574" y="0"/>
                </a:lnTo>
                <a:lnTo>
                  <a:pt x="549736" y="0"/>
                </a:lnTo>
                <a:lnTo>
                  <a:pt x="549825" y="0"/>
                </a:lnTo>
                <a:cubicBezTo>
                  <a:pt x="655483" y="0"/>
                  <a:pt x="743683" y="74923"/>
                  <a:pt x="764082" y="174608"/>
                </a:cubicBezTo>
                <a:lnTo>
                  <a:pt x="768525" y="218682"/>
                </a:lnTo>
                <a:lnTo>
                  <a:pt x="768527" y="218682"/>
                </a:lnTo>
                <a:lnTo>
                  <a:pt x="768527" y="218700"/>
                </a:lnTo>
                <a:lnTo>
                  <a:pt x="768527" y="710845"/>
                </a:lnTo>
                <a:lnTo>
                  <a:pt x="180179" y="710845"/>
                </a:lnTo>
                <a:lnTo>
                  <a:pt x="0" y="710813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pt-PT"/>
          </a:p>
        </p:txBody>
      </p:sp>
      <p:sp>
        <p:nvSpPr>
          <p:cNvPr id="107" name="Marcador de Posição da Imagem 106">
            <a:extLst>
              <a:ext uri="{FF2B5EF4-FFF2-40B4-BE49-F238E27FC236}">
                <a16:creationId xmlns:a16="http://schemas.microsoft.com/office/drawing/2014/main" id="{07860250-5F30-7FD7-340C-91F0A93D264E}"/>
              </a:ext>
            </a:extLst>
          </p:cNvPr>
          <p:cNvSpPr>
            <a:spLocks noGrp="1"/>
          </p:cNvSpPr>
          <p:nvPr>
            <p:ph type="pic" sz="quarter" idx="94"/>
          </p:nvPr>
        </p:nvSpPr>
        <p:spPr>
          <a:xfrm>
            <a:off x="6472643" y="2805928"/>
            <a:ext cx="768527" cy="710845"/>
          </a:xfrm>
          <a:custGeom>
            <a:avLst/>
            <a:gdLst>
              <a:gd name="connsiteX0" fmla="*/ 0 w 768527"/>
              <a:gd name="connsiteY0" fmla="*/ 0 h 710845"/>
              <a:gd name="connsiteX1" fmla="*/ 367552 w 768527"/>
              <a:gd name="connsiteY1" fmla="*/ 65 h 710845"/>
              <a:gd name="connsiteX2" fmla="*/ 367574 w 768527"/>
              <a:gd name="connsiteY2" fmla="*/ 0 h 710845"/>
              <a:gd name="connsiteX3" fmla="*/ 549736 w 768527"/>
              <a:gd name="connsiteY3" fmla="*/ 0 h 710845"/>
              <a:gd name="connsiteX4" fmla="*/ 549825 w 768527"/>
              <a:gd name="connsiteY4" fmla="*/ 0 h 710845"/>
              <a:gd name="connsiteX5" fmla="*/ 764082 w 768527"/>
              <a:gd name="connsiteY5" fmla="*/ 174608 h 710845"/>
              <a:gd name="connsiteX6" fmla="*/ 768525 w 768527"/>
              <a:gd name="connsiteY6" fmla="*/ 218682 h 710845"/>
              <a:gd name="connsiteX7" fmla="*/ 768527 w 768527"/>
              <a:gd name="connsiteY7" fmla="*/ 218682 h 710845"/>
              <a:gd name="connsiteX8" fmla="*/ 768527 w 768527"/>
              <a:gd name="connsiteY8" fmla="*/ 218700 h 710845"/>
              <a:gd name="connsiteX9" fmla="*/ 768527 w 768527"/>
              <a:gd name="connsiteY9" fmla="*/ 710845 h 710845"/>
              <a:gd name="connsiteX10" fmla="*/ 180179 w 768527"/>
              <a:gd name="connsiteY10" fmla="*/ 710845 h 710845"/>
              <a:gd name="connsiteX11" fmla="*/ 0 w 768527"/>
              <a:gd name="connsiteY11" fmla="*/ 710813 h 7108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768527" h="710845">
                <a:moveTo>
                  <a:pt x="0" y="0"/>
                </a:moveTo>
                <a:lnTo>
                  <a:pt x="367552" y="65"/>
                </a:lnTo>
                <a:lnTo>
                  <a:pt x="367574" y="0"/>
                </a:lnTo>
                <a:lnTo>
                  <a:pt x="549736" y="0"/>
                </a:lnTo>
                <a:lnTo>
                  <a:pt x="549825" y="0"/>
                </a:lnTo>
                <a:cubicBezTo>
                  <a:pt x="655483" y="0"/>
                  <a:pt x="743683" y="74923"/>
                  <a:pt x="764082" y="174608"/>
                </a:cubicBezTo>
                <a:lnTo>
                  <a:pt x="768525" y="218682"/>
                </a:lnTo>
                <a:lnTo>
                  <a:pt x="768527" y="218682"/>
                </a:lnTo>
                <a:lnTo>
                  <a:pt x="768527" y="218700"/>
                </a:lnTo>
                <a:lnTo>
                  <a:pt x="768527" y="710845"/>
                </a:lnTo>
                <a:lnTo>
                  <a:pt x="180179" y="710845"/>
                </a:lnTo>
                <a:lnTo>
                  <a:pt x="0" y="710813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pt-PT"/>
          </a:p>
        </p:txBody>
      </p:sp>
      <p:sp>
        <p:nvSpPr>
          <p:cNvPr id="108" name="Marcador de Posição da Imagem 107">
            <a:extLst>
              <a:ext uri="{FF2B5EF4-FFF2-40B4-BE49-F238E27FC236}">
                <a16:creationId xmlns:a16="http://schemas.microsoft.com/office/drawing/2014/main" id="{EF95515C-8D7A-9EB3-5898-C75F3668CD8C}"/>
              </a:ext>
            </a:extLst>
          </p:cNvPr>
          <p:cNvSpPr>
            <a:spLocks noGrp="1"/>
          </p:cNvSpPr>
          <p:nvPr>
            <p:ph type="pic" sz="quarter" idx="95"/>
          </p:nvPr>
        </p:nvSpPr>
        <p:spPr>
          <a:xfrm>
            <a:off x="948289" y="4196637"/>
            <a:ext cx="768527" cy="710845"/>
          </a:xfrm>
          <a:custGeom>
            <a:avLst/>
            <a:gdLst>
              <a:gd name="connsiteX0" fmla="*/ 0 w 768527"/>
              <a:gd name="connsiteY0" fmla="*/ 0 h 710845"/>
              <a:gd name="connsiteX1" fmla="*/ 367552 w 768527"/>
              <a:gd name="connsiteY1" fmla="*/ 65 h 710845"/>
              <a:gd name="connsiteX2" fmla="*/ 367574 w 768527"/>
              <a:gd name="connsiteY2" fmla="*/ 0 h 710845"/>
              <a:gd name="connsiteX3" fmla="*/ 549736 w 768527"/>
              <a:gd name="connsiteY3" fmla="*/ 0 h 710845"/>
              <a:gd name="connsiteX4" fmla="*/ 549825 w 768527"/>
              <a:gd name="connsiteY4" fmla="*/ 0 h 710845"/>
              <a:gd name="connsiteX5" fmla="*/ 764082 w 768527"/>
              <a:gd name="connsiteY5" fmla="*/ 174608 h 710845"/>
              <a:gd name="connsiteX6" fmla="*/ 768525 w 768527"/>
              <a:gd name="connsiteY6" fmla="*/ 218682 h 710845"/>
              <a:gd name="connsiteX7" fmla="*/ 768527 w 768527"/>
              <a:gd name="connsiteY7" fmla="*/ 218682 h 710845"/>
              <a:gd name="connsiteX8" fmla="*/ 768527 w 768527"/>
              <a:gd name="connsiteY8" fmla="*/ 218700 h 710845"/>
              <a:gd name="connsiteX9" fmla="*/ 768527 w 768527"/>
              <a:gd name="connsiteY9" fmla="*/ 710845 h 710845"/>
              <a:gd name="connsiteX10" fmla="*/ 180179 w 768527"/>
              <a:gd name="connsiteY10" fmla="*/ 710845 h 710845"/>
              <a:gd name="connsiteX11" fmla="*/ 0 w 768527"/>
              <a:gd name="connsiteY11" fmla="*/ 710813 h 7108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768527" h="710845">
                <a:moveTo>
                  <a:pt x="0" y="0"/>
                </a:moveTo>
                <a:lnTo>
                  <a:pt x="367552" y="65"/>
                </a:lnTo>
                <a:lnTo>
                  <a:pt x="367574" y="0"/>
                </a:lnTo>
                <a:lnTo>
                  <a:pt x="549736" y="0"/>
                </a:lnTo>
                <a:lnTo>
                  <a:pt x="549825" y="0"/>
                </a:lnTo>
                <a:cubicBezTo>
                  <a:pt x="655483" y="0"/>
                  <a:pt x="743683" y="74923"/>
                  <a:pt x="764082" y="174608"/>
                </a:cubicBezTo>
                <a:lnTo>
                  <a:pt x="768525" y="218682"/>
                </a:lnTo>
                <a:lnTo>
                  <a:pt x="768527" y="218682"/>
                </a:lnTo>
                <a:lnTo>
                  <a:pt x="768527" y="218700"/>
                </a:lnTo>
                <a:lnTo>
                  <a:pt x="768527" y="710845"/>
                </a:lnTo>
                <a:lnTo>
                  <a:pt x="180179" y="710845"/>
                </a:lnTo>
                <a:lnTo>
                  <a:pt x="0" y="710813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pt-PT"/>
          </a:p>
        </p:txBody>
      </p:sp>
      <p:sp>
        <p:nvSpPr>
          <p:cNvPr id="109" name="Marcador de Posição da Imagem 108">
            <a:extLst>
              <a:ext uri="{FF2B5EF4-FFF2-40B4-BE49-F238E27FC236}">
                <a16:creationId xmlns:a16="http://schemas.microsoft.com/office/drawing/2014/main" id="{74FECAB4-436E-643B-33E0-7635C2763000}"/>
              </a:ext>
            </a:extLst>
          </p:cNvPr>
          <p:cNvSpPr>
            <a:spLocks noGrp="1"/>
          </p:cNvSpPr>
          <p:nvPr>
            <p:ph type="pic" sz="quarter" idx="96"/>
          </p:nvPr>
        </p:nvSpPr>
        <p:spPr>
          <a:xfrm>
            <a:off x="2650306" y="4196637"/>
            <a:ext cx="768527" cy="710845"/>
          </a:xfrm>
          <a:custGeom>
            <a:avLst/>
            <a:gdLst>
              <a:gd name="connsiteX0" fmla="*/ 0 w 768527"/>
              <a:gd name="connsiteY0" fmla="*/ 0 h 710845"/>
              <a:gd name="connsiteX1" fmla="*/ 367552 w 768527"/>
              <a:gd name="connsiteY1" fmla="*/ 65 h 710845"/>
              <a:gd name="connsiteX2" fmla="*/ 367574 w 768527"/>
              <a:gd name="connsiteY2" fmla="*/ 0 h 710845"/>
              <a:gd name="connsiteX3" fmla="*/ 549736 w 768527"/>
              <a:gd name="connsiteY3" fmla="*/ 0 h 710845"/>
              <a:gd name="connsiteX4" fmla="*/ 549825 w 768527"/>
              <a:gd name="connsiteY4" fmla="*/ 0 h 710845"/>
              <a:gd name="connsiteX5" fmla="*/ 764082 w 768527"/>
              <a:gd name="connsiteY5" fmla="*/ 174608 h 710845"/>
              <a:gd name="connsiteX6" fmla="*/ 768525 w 768527"/>
              <a:gd name="connsiteY6" fmla="*/ 218682 h 710845"/>
              <a:gd name="connsiteX7" fmla="*/ 768527 w 768527"/>
              <a:gd name="connsiteY7" fmla="*/ 218682 h 710845"/>
              <a:gd name="connsiteX8" fmla="*/ 768527 w 768527"/>
              <a:gd name="connsiteY8" fmla="*/ 218700 h 710845"/>
              <a:gd name="connsiteX9" fmla="*/ 768527 w 768527"/>
              <a:gd name="connsiteY9" fmla="*/ 710845 h 710845"/>
              <a:gd name="connsiteX10" fmla="*/ 180179 w 768527"/>
              <a:gd name="connsiteY10" fmla="*/ 710845 h 710845"/>
              <a:gd name="connsiteX11" fmla="*/ 0 w 768527"/>
              <a:gd name="connsiteY11" fmla="*/ 710813 h 7108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768527" h="710845">
                <a:moveTo>
                  <a:pt x="0" y="0"/>
                </a:moveTo>
                <a:lnTo>
                  <a:pt x="367552" y="65"/>
                </a:lnTo>
                <a:lnTo>
                  <a:pt x="367574" y="0"/>
                </a:lnTo>
                <a:lnTo>
                  <a:pt x="549736" y="0"/>
                </a:lnTo>
                <a:lnTo>
                  <a:pt x="549825" y="0"/>
                </a:lnTo>
                <a:cubicBezTo>
                  <a:pt x="655483" y="0"/>
                  <a:pt x="743683" y="74923"/>
                  <a:pt x="764082" y="174608"/>
                </a:cubicBezTo>
                <a:lnTo>
                  <a:pt x="768525" y="218682"/>
                </a:lnTo>
                <a:lnTo>
                  <a:pt x="768527" y="218682"/>
                </a:lnTo>
                <a:lnTo>
                  <a:pt x="768527" y="218700"/>
                </a:lnTo>
                <a:lnTo>
                  <a:pt x="768527" y="710845"/>
                </a:lnTo>
                <a:lnTo>
                  <a:pt x="180179" y="710845"/>
                </a:lnTo>
                <a:lnTo>
                  <a:pt x="0" y="710813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pt-PT"/>
          </a:p>
        </p:txBody>
      </p:sp>
      <p:pic>
        <p:nvPicPr>
          <p:cNvPr id="120" name="Imagem 119">
            <a:extLst>
              <a:ext uri="{FF2B5EF4-FFF2-40B4-BE49-F238E27FC236}">
                <a16:creationId xmlns:a16="http://schemas.microsoft.com/office/drawing/2014/main" id="{F96B6528-2CA3-FE9D-E4A6-694EDA043FD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 l="37922" t="50000" r="7413" b="16066"/>
          <a:stretch>
            <a:fillRect/>
          </a:stretch>
        </p:blipFill>
        <p:spPr>
          <a:xfrm rot="10800000" flipV="1">
            <a:off x="7799304" y="0"/>
            <a:ext cx="4392696" cy="2726566"/>
          </a:xfrm>
          <a:prstGeom prst="rect">
            <a:avLst/>
          </a:prstGeom>
        </p:spPr>
      </p:pic>
      <p:grpSp>
        <p:nvGrpSpPr>
          <p:cNvPr id="2" name="Gráfico 2">
            <a:extLst>
              <a:ext uri="{FF2B5EF4-FFF2-40B4-BE49-F238E27FC236}">
                <a16:creationId xmlns:a16="http://schemas.microsoft.com/office/drawing/2014/main" id="{6A1CCD2B-47AC-7836-375B-CF3D36999CAF}"/>
              </a:ext>
            </a:extLst>
          </p:cNvPr>
          <p:cNvGrpSpPr/>
          <p:nvPr userDrawn="1"/>
        </p:nvGrpSpPr>
        <p:grpSpPr>
          <a:xfrm>
            <a:off x="10557975" y="275736"/>
            <a:ext cx="1308718" cy="138724"/>
            <a:chOff x="0" y="2782824"/>
            <a:chExt cx="12192000" cy="1292352"/>
          </a:xfrm>
          <a:solidFill>
            <a:srgbClr val="184BFF"/>
          </a:solidFill>
        </p:grpSpPr>
        <p:sp>
          <p:nvSpPr>
            <p:cNvPr id="3" name="Forma libre: forma 2">
              <a:extLst>
                <a:ext uri="{FF2B5EF4-FFF2-40B4-BE49-F238E27FC236}">
                  <a16:creationId xmlns:a16="http://schemas.microsoft.com/office/drawing/2014/main" id="{19BB062F-DB87-1652-28DE-7BC8D194E111}"/>
                </a:ext>
              </a:extLst>
            </p:cNvPr>
            <p:cNvSpPr/>
            <p:nvPr/>
          </p:nvSpPr>
          <p:spPr>
            <a:xfrm>
              <a:off x="3791306" y="2777053"/>
              <a:ext cx="1300480" cy="1300480"/>
            </a:xfrm>
            <a:custGeom>
              <a:avLst/>
              <a:gdLst>
                <a:gd name="connsiteX0" fmla="*/ 6096 w 1300480"/>
                <a:gd name="connsiteY0" fmla="*/ 653979 h 1300480"/>
                <a:gd name="connsiteX1" fmla="*/ 653979 w 1300480"/>
                <a:gd name="connsiteY1" fmla="*/ 6096 h 1300480"/>
                <a:gd name="connsiteX2" fmla="*/ 1301862 w 1300480"/>
                <a:gd name="connsiteY2" fmla="*/ 653979 h 1300480"/>
                <a:gd name="connsiteX3" fmla="*/ 653979 w 1300480"/>
                <a:gd name="connsiteY3" fmla="*/ 1301862 h 1300480"/>
                <a:gd name="connsiteX4" fmla="*/ 653898 w 1300480"/>
                <a:gd name="connsiteY4" fmla="*/ 1301862 h 1300480"/>
                <a:gd name="connsiteX5" fmla="*/ 6096 w 1300480"/>
                <a:gd name="connsiteY5" fmla="*/ 654060 h 1300480"/>
                <a:gd name="connsiteX6" fmla="*/ 6096 w 1300480"/>
                <a:gd name="connsiteY6" fmla="*/ 654060 h 1300480"/>
                <a:gd name="connsiteX7" fmla="*/ 653898 w 1300480"/>
                <a:gd name="connsiteY7" fmla="*/ 1091184 h 1300480"/>
                <a:gd name="connsiteX8" fmla="*/ 1091265 w 1300480"/>
                <a:gd name="connsiteY8" fmla="*/ 653979 h 1300480"/>
                <a:gd name="connsiteX9" fmla="*/ 654060 w 1300480"/>
                <a:gd name="connsiteY9" fmla="*/ 216611 h 1300480"/>
                <a:gd name="connsiteX10" fmla="*/ 216692 w 1300480"/>
                <a:gd name="connsiteY10" fmla="*/ 653816 h 1300480"/>
                <a:gd name="connsiteX11" fmla="*/ 216692 w 1300480"/>
                <a:gd name="connsiteY11" fmla="*/ 653979 h 1300480"/>
                <a:gd name="connsiteX12" fmla="*/ 653898 w 1300480"/>
                <a:gd name="connsiteY12" fmla="*/ 1091184 h 13004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300480" h="1300480">
                  <a:moveTo>
                    <a:pt x="6096" y="653979"/>
                  </a:moveTo>
                  <a:cubicBezTo>
                    <a:pt x="6096" y="296184"/>
                    <a:pt x="296184" y="6096"/>
                    <a:pt x="653979" y="6096"/>
                  </a:cubicBezTo>
                  <a:cubicBezTo>
                    <a:pt x="1011773" y="6096"/>
                    <a:pt x="1301862" y="296184"/>
                    <a:pt x="1301862" y="653979"/>
                  </a:cubicBezTo>
                  <a:cubicBezTo>
                    <a:pt x="1301862" y="1011773"/>
                    <a:pt x="1011773" y="1301862"/>
                    <a:pt x="653979" y="1301862"/>
                  </a:cubicBezTo>
                  <a:lnTo>
                    <a:pt x="653898" y="1301862"/>
                  </a:lnTo>
                  <a:cubicBezTo>
                    <a:pt x="296103" y="1301862"/>
                    <a:pt x="6096" y="1011855"/>
                    <a:pt x="6096" y="654060"/>
                  </a:cubicBezTo>
                  <a:lnTo>
                    <a:pt x="6096" y="654060"/>
                  </a:lnTo>
                  <a:moveTo>
                    <a:pt x="653898" y="1091184"/>
                  </a:moveTo>
                  <a:cubicBezTo>
                    <a:pt x="895380" y="1091184"/>
                    <a:pt x="1091184" y="895462"/>
                    <a:pt x="1091265" y="653979"/>
                  </a:cubicBezTo>
                  <a:cubicBezTo>
                    <a:pt x="1091265" y="412496"/>
                    <a:pt x="895543" y="216692"/>
                    <a:pt x="654060" y="216611"/>
                  </a:cubicBezTo>
                  <a:cubicBezTo>
                    <a:pt x="412577" y="216611"/>
                    <a:pt x="216774" y="412333"/>
                    <a:pt x="216692" y="653816"/>
                  </a:cubicBezTo>
                  <a:lnTo>
                    <a:pt x="216692" y="653979"/>
                  </a:lnTo>
                  <a:cubicBezTo>
                    <a:pt x="216692" y="895462"/>
                    <a:pt x="412415" y="1091184"/>
                    <a:pt x="653898" y="1091184"/>
                  </a:cubicBezTo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4" name="Forma libre: forma 3">
              <a:extLst>
                <a:ext uri="{FF2B5EF4-FFF2-40B4-BE49-F238E27FC236}">
                  <a16:creationId xmlns:a16="http://schemas.microsoft.com/office/drawing/2014/main" id="{C8B92615-F879-90AC-8D5F-D3173D2C3592}"/>
                </a:ext>
              </a:extLst>
            </p:cNvPr>
            <p:cNvSpPr/>
            <p:nvPr/>
          </p:nvSpPr>
          <p:spPr>
            <a:xfrm>
              <a:off x="1151981" y="2793797"/>
              <a:ext cx="219456" cy="1267968"/>
            </a:xfrm>
            <a:custGeom>
              <a:avLst/>
              <a:gdLst>
                <a:gd name="connsiteX0" fmla="*/ 216367 w 219456"/>
                <a:gd name="connsiteY0" fmla="*/ 6096 h 1267968"/>
                <a:gd name="connsiteX1" fmla="*/ 216367 w 219456"/>
                <a:gd name="connsiteY1" fmla="*/ 6096 h 1267968"/>
                <a:gd name="connsiteX2" fmla="*/ 216367 w 219456"/>
                <a:gd name="connsiteY2" fmla="*/ 1268212 h 1267968"/>
                <a:gd name="connsiteX3" fmla="*/ 6096 w 219456"/>
                <a:gd name="connsiteY3" fmla="*/ 1268212 h 1267968"/>
                <a:gd name="connsiteX4" fmla="*/ 6096 w 219456"/>
                <a:gd name="connsiteY4" fmla="*/ 216449 h 1267968"/>
                <a:gd name="connsiteX5" fmla="*/ 216367 w 219456"/>
                <a:gd name="connsiteY5" fmla="*/ 6096 h 126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19456" h="1267968">
                  <a:moveTo>
                    <a:pt x="216367" y="6096"/>
                  </a:moveTo>
                  <a:lnTo>
                    <a:pt x="216367" y="6096"/>
                  </a:lnTo>
                  <a:lnTo>
                    <a:pt x="216367" y="1268212"/>
                  </a:lnTo>
                  <a:lnTo>
                    <a:pt x="6096" y="1268212"/>
                  </a:lnTo>
                  <a:lnTo>
                    <a:pt x="6096" y="216449"/>
                  </a:lnTo>
                  <a:cubicBezTo>
                    <a:pt x="6096" y="100300"/>
                    <a:pt x="100218" y="6177"/>
                    <a:pt x="216367" y="6096"/>
                  </a:cubicBezTo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5" name="Forma libre: forma 4">
              <a:extLst>
                <a:ext uri="{FF2B5EF4-FFF2-40B4-BE49-F238E27FC236}">
                  <a16:creationId xmlns:a16="http://schemas.microsoft.com/office/drawing/2014/main" id="{09B31F6E-01EB-70B7-DB6A-A717777501EB}"/>
                </a:ext>
              </a:extLst>
            </p:cNvPr>
            <p:cNvSpPr/>
            <p:nvPr/>
          </p:nvSpPr>
          <p:spPr>
            <a:xfrm>
              <a:off x="9373128" y="2793797"/>
              <a:ext cx="219456" cy="1267968"/>
            </a:xfrm>
            <a:custGeom>
              <a:avLst/>
              <a:gdLst>
                <a:gd name="connsiteX0" fmla="*/ 216368 w 219456"/>
                <a:gd name="connsiteY0" fmla="*/ 6096 h 1267968"/>
                <a:gd name="connsiteX1" fmla="*/ 216368 w 219456"/>
                <a:gd name="connsiteY1" fmla="*/ 6096 h 1267968"/>
                <a:gd name="connsiteX2" fmla="*/ 216368 w 219456"/>
                <a:gd name="connsiteY2" fmla="*/ 1268212 h 1267968"/>
                <a:gd name="connsiteX3" fmla="*/ 6096 w 219456"/>
                <a:gd name="connsiteY3" fmla="*/ 1268212 h 1267968"/>
                <a:gd name="connsiteX4" fmla="*/ 6096 w 219456"/>
                <a:gd name="connsiteY4" fmla="*/ 216449 h 1267968"/>
                <a:gd name="connsiteX5" fmla="*/ 216287 w 219456"/>
                <a:gd name="connsiteY5" fmla="*/ 6096 h 1267968"/>
                <a:gd name="connsiteX6" fmla="*/ 216368 w 219456"/>
                <a:gd name="connsiteY6" fmla="*/ 6096 h 126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19456" h="1267968">
                  <a:moveTo>
                    <a:pt x="216368" y="6096"/>
                  </a:moveTo>
                  <a:lnTo>
                    <a:pt x="216368" y="6096"/>
                  </a:lnTo>
                  <a:lnTo>
                    <a:pt x="216368" y="1268212"/>
                  </a:lnTo>
                  <a:lnTo>
                    <a:pt x="6096" y="1268212"/>
                  </a:lnTo>
                  <a:lnTo>
                    <a:pt x="6096" y="216449"/>
                  </a:lnTo>
                  <a:cubicBezTo>
                    <a:pt x="6096" y="100300"/>
                    <a:pt x="100138" y="6177"/>
                    <a:pt x="216287" y="6096"/>
                  </a:cubicBezTo>
                  <a:lnTo>
                    <a:pt x="216368" y="6096"/>
                  </a:lnTo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6" name="Forma libre: forma 5">
              <a:extLst>
                <a:ext uri="{FF2B5EF4-FFF2-40B4-BE49-F238E27FC236}">
                  <a16:creationId xmlns:a16="http://schemas.microsoft.com/office/drawing/2014/main" id="{1AD36B69-B39C-3FD0-ABE6-00B410348F1F}"/>
                </a:ext>
              </a:extLst>
            </p:cNvPr>
            <p:cNvSpPr/>
            <p:nvPr/>
          </p:nvSpPr>
          <p:spPr>
            <a:xfrm>
              <a:off x="8111012" y="2793878"/>
              <a:ext cx="1056640" cy="1267968"/>
            </a:xfrm>
            <a:custGeom>
              <a:avLst/>
              <a:gdLst>
                <a:gd name="connsiteX0" fmla="*/ 74046 w 1056640"/>
                <a:gd name="connsiteY0" fmla="*/ 6096 h 1267968"/>
                <a:gd name="connsiteX1" fmla="*/ 6096 w 1056640"/>
                <a:gd name="connsiteY1" fmla="*/ 216367 h 1267968"/>
                <a:gd name="connsiteX2" fmla="*/ 426802 w 1056640"/>
                <a:gd name="connsiteY2" fmla="*/ 216367 h 1267968"/>
                <a:gd name="connsiteX3" fmla="*/ 426802 w 1056640"/>
                <a:gd name="connsiteY3" fmla="*/ 1268131 h 1267968"/>
                <a:gd name="connsiteX4" fmla="*/ 637155 w 1056640"/>
                <a:gd name="connsiteY4" fmla="*/ 1268131 h 1267968"/>
                <a:gd name="connsiteX5" fmla="*/ 637155 w 1056640"/>
                <a:gd name="connsiteY5" fmla="*/ 216367 h 1267968"/>
                <a:gd name="connsiteX6" fmla="*/ 847507 w 1056640"/>
                <a:gd name="connsiteY6" fmla="*/ 216367 h 1267968"/>
                <a:gd name="connsiteX7" fmla="*/ 1057860 w 1056640"/>
                <a:gd name="connsiteY7" fmla="*/ 6096 h 1267968"/>
                <a:gd name="connsiteX8" fmla="*/ 74046 w 1056640"/>
                <a:gd name="connsiteY8" fmla="*/ 6096 h 126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056640" h="1267968">
                  <a:moveTo>
                    <a:pt x="74046" y="6096"/>
                  </a:moveTo>
                  <a:lnTo>
                    <a:pt x="6096" y="216367"/>
                  </a:lnTo>
                  <a:lnTo>
                    <a:pt x="426802" y="216367"/>
                  </a:lnTo>
                  <a:lnTo>
                    <a:pt x="426802" y="1268131"/>
                  </a:lnTo>
                  <a:lnTo>
                    <a:pt x="637155" y="1268131"/>
                  </a:lnTo>
                  <a:lnTo>
                    <a:pt x="637155" y="216367"/>
                  </a:lnTo>
                  <a:lnTo>
                    <a:pt x="847507" y="216367"/>
                  </a:lnTo>
                  <a:cubicBezTo>
                    <a:pt x="963656" y="216367"/>
                    <a:pt x="1057779" y="122245"/>
                    <a:pt x="1057860" y="6096"/>
                  </a:cubicBezTo>
                  <a:lnTo>
                    <a:pt x="74046" y="609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7" name="Forma libre: forma 6">
              <a:extLst>
                <a:ext uri="{FF2B5EF4-FFF2-40B4-BE49-F238E27FC236}">
                  <a16:creationId xmlns:a16="http://schemas.microsoft.com/office/drawing/2014/main" id="{F3D21749-EAAF-4ACC-0273-111DBEC83C6D}"/>
                </a:ext>
              </a:extLst>
            </p:cNvPr>
            <p:cNvSpPr/>
            <p:nvPr/>
          </p:nvSpPr>
          <p:spPr>
            <a:xfrm>
              <a:off x="1602108" y="2793797"/>
              <a:ext cx="845312" cy="1267968"/>
            </a:xfrm>
            <a:custGeom>
              <a:avLst/>
              <a:gdLst>
                <a:gd name="connsiteX0" fmla="*/ 216288 w 845312"/>
                <a:gd name="connsiteY0" fmla="*/ 1057859 h 1267968"/>
                <a:gd name="connsiteX1" fmla="*/ 216288 w 845312"/>
                <a:gd name="connsiteY1" fmla="*/ 6096 h 1267968"/>
                <a:gd name="connsiteX2" fmla="*/ 6098 w 845312"/>
                <a:gd name="connsiteY2" fmla="*/ 6096 h 1267968"/>
                <a:gd name="connsiteX3" fmla="*/ 6098 w 845312"/>
                <a:gd name="connsiteY3" fmla="*/ 1057859 h 1267968"/>
                <a:gd name="connsiteX4" fmla="*/ 6098 w 845312"/>
                <a:gd name="connsiteY4" fmla="*/ 1057859 h 1267968"/>
                <a:gd name="connsiteX5" fmla="*/ 14226 w 845312"/>
                <a:gd name="connsiteY5" fmla="*/ 1116706 h 1267968"/>
                <a:gd name="connsiteX6" fmla="*/ 15201 w 845312"/>
                <a:gd name="connsiteY6" fmla="*/ 1120364 h 1267968"/>
                <a:gd name="connsiteX7" fmla="*/ 17071 w 845312"/>
                <a:gd name="connsiteY7" fmla="*/ 1125566 h 1267968"/>
                <a:gd name="connsiteX8" fmla="*/ 22598 w 845312"/>
                <a:gd name="connsiteY8" fmla="*/ 1140358 h 1267968"/>
                <a:gd name="connsiteX9" fmla="*/ 52021 w 845312"/>
                <a:gd name="connsiteY9" fmla="*/ 1189126 h 1267968"/>
                <a:gd name="connsiteX10" fmla="*/ 124685 w 845312"/>
                <a:gd name="connsiteY10" fmla="*/ 1246916 h 1267968"/>
                <a:gd name="connsiteX11" fmla="*/ 216125 w 845312"/>
                <a:gd name="connsiteY11" fmla="*/ 1268049 h 1267968"/>
                <a:gd name="connsiteX12" fmla="*/ 776957 w 845312"/>
                <a:gd name="connsiteY12" fmla="*/ 1268049 h 1267968"/>
                <a:gd name="connsiteX13" fmla="*/ 847021 w 845312"/>
                <a:gd name="connsiteY13" fmla="*/ 1057697 h 1267968"/>
                <a:gd name="connsiteX14" fmla="*/ 216288 w 845312"/>
                <a:gd name="connsiteY14" fmla="*/ 1057859 h 126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845312" h="1267968">
                  <a:moveTo>
                    <a:pt x="216288" y="1057859"/>
                  </a:moveTo>
                  <a:lnTo>
                    <a:pt x="216288" y="6096"/>
                  </a:lnTo>
                  <a:lnTo>
                    <a:pt x="6098" y="6096"/>
                  </a:lnTo>
                  <a:lnTo>
                    <a:pt x="6098" y="1057859"/>
                  </a:lnTo>
                  <a:lnTo>
                    <a:pt x="6098" y="1057859"/>
                  </a:lnTo>
                  <a:cubicBezTo>
                    <a:pt x="6017" y="1077773"/>
                    <a:pt x="8699" y="1097605"/>
                    <a:pt x="14226" y="1116706"/>
                  </a:cubicBezTo>
                  <a:cubicBezTo>
                    <a:pt x="14632" y="1117925"/>
                    <a:pt x="14795" y="1119226"/>
                    <a:pt x="15201" y="1120364"/>
                  </a:cubicBezTo>
                  <a:cubicBezTo>
                    <a:pt x="15608" y="1121502"/>
                    <a:pt x="16502" y="1123859"/>
                    <a:pt x="17071" y="1125566"/>
                  </a:cubicBezTo>
                  <a:cubicBezTo>
                    <a:pt x="18777" y="1130605"/>
                    <a:pt x="20566" y="1135563"/>
                    <a:pt x="22598" y="1140358"/>
                  </a:cubicBezTo>
                  <a:cubicBezTo>
                    <a:pt x="30157" y="1157915"/>
                    <a:pt x="40073" y="1174252"/>
                    <a:pt x="52021" y="1189126"/>
                  </a:cubicBezTo>
                  <a:cubicBezTo>
                    <a:pt x="71691" y="1213510"/>
                    <a:pt x="96481" y="1233262"/>
                    <a:pt x="124685" y="1246916"/>
                  </a:cubicBezTo>
                  <a:cubicBezTo>
                    <a:pt x="153215" y="1260734"/>
                    <a:pt x="184426" y="1267968"/>
                    <a:pt x="216125" y="1268049"/>
                  </a:cubicBezTo>
                  <a:lnTo>
                    <a:pt x="776957" y="1268049"/>
                  </a:lnTo>
                  <a:lnTo>
                    <a:pt x="847021" y="1057697"/>
                  </a:lnTo>
                  <a:lnTo>
                    <a:pt x="216288" y="105785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8" name="Forma libre: forma 7">
              <a:extLst>
                <a:ext uri="{FF2B5EF4-FFF2-40B4-BE49-F238E27FC236}">
                  <a16:creationId xmlns:a16="http://schemas.microsoft.com/office/drawing/2014/main" id="{4FA2C240-1AFA-1831-5F09-41A4EAC9A5B1}"/>
                </a:ext>
              </a:extLst>
            </p:cNvPr>
            <p:cNvSpPr/>
            <p:nvPr/>
          </p:nvSpPr>
          <p:spPr>
            <a:xfrm>
              <a:off x="-6096" y="2794284"/>
              <a:ext cx="959104" cy="1267968"/>
            </a:xfrm>
            <a:custGeom>
              <a:avLst/>
              <a:gdLst>
                <a:gd name="connsiteX0" fmla="*/ 818815 w 959104"/>
                <a:gd name="connsiteY0" fmla="*/ 411764 h 1267968"/>
                <a:gd name="connsiteX1" fmla="*/ 818815 w 959104"/>
                <a:gd name="connsiteY1" fmla="*/ 285699 h 1267968"/>
                <a:gd name="connsiteX2" fmla="*/ 539130 w 959104"/>
                <a:gd name="connsiteY2" fmla="*/ 6096 h 1267968"/>
                <a:gd name="connsiteX3" fmla="*/ 6096 w 959104"/>
                <a:gd name="connsiteY3" fmla="*/ 6096 h 1267968"/>
                <a:gd name="connsiteX4" fmla="*/ 6096 w 959104"/>
                <a:gd name="connsiteY4" fmla="*/ 1057047 h 1267968"/>
                <a:gd name="connsiteX5" fmla="*/ 216367 w 959104"/>
                <a:gd name="connsiteY5" fmla="*/ 1267399 h 1267968"/>
                <a:gd name="connsiteX6" fmla="*/ 532140 w 959104"/>
                <a:gd name="connsiteY6" fmla="*/ 1267399 h 1267968"/>
                <a:gd name="connsiteX7" fmla="*/ 953821 w 959104"/>
                <a:gd name="connsiteY7" fmla="*/ 892861 h 1267968"/>
                <a:gd name="connsiteX8" fmla="*/ 603260 w 959104"/>
                <a:gd name="connsiteY8" fmla="*/ 530596 h 1267968"/>
                <a:gd name="connsiteX9" fmla="*/ 218562 w 959104"/>
                <a:gd name="connsiteY9" fmla="*/ 531490 h 1267968"/>
                <a:gd name="connsiteX10" fmla="*/ 424282 w 959104"/>
                <a:gd name="connsiteY10" fmla="*/ 737210 h 1267968"/>
                <a:gd name="connsiteX11" fmla="*/ 424932 w 959104"/>
                <a:gd name="connsiteY11" fmla="*/ 737210 h 1267968"/>
                <a:gd name="connsiteX12" fmla="*/ 585785 w 959104"/>
                <a:gd name="connsiteY12" fmla="*/ 737210 h 1267968"/>
                <a:gd name="connsiteX13" fmla="*/ 758261 w 959104"/>
                <a:gd name="connsiteY13" fmla="*/ 889203 h 1267968"/>
                <a:gd name="connsiteX14" fmla="*/ 606268 w 959104"/>
                <a:gd name="connsiteY14" fmla="*/ 1061679 h 1267968"/>
                <a:gd name="connsiteX15" fmla="*/ 585704 w 959104"/>
                <a:gd name="connsiteY15" fmla="*/ 1061679 h 1267968"/>
                <a:gd name="connsiteX16" fmla="*/ 216530 w 959104"/>
                <a:gd name="connsiteY16" fmla="*/ 1061679 h 1267968"/>
                <a:gd name="connsiteX17" fmla="*/ 216530 w 959104"/>
                <a:gd name="connsiteY17" fmla="*/ 211653 h 1267968"/>
                <a:gd name="connsiteX18" fmla="*/ 467685 w 959104"/>
                <a:gd name="connsiteY18" fmla="*/ 211653 h 1267968"/>
                <a:gd name="connsiteX19" fmla="*/ 612689 w 959104"/>
                <a:gd name="connsiteY19" fmla="*/ 356575 h 1267968"/>
                <a:gd name="connsiteX20" fmla="*/ 612689 w 959104"/>
                <a:gd name="connsiteY20" fmla="*/ 530352 h 1267968"/>
                <a:gd name="connsiteX21" fmla="*/ 818815 w 959104"/>
                <a:gd name="connsiteY21" fmla="*/ 411764 h 126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959104" h="1267968">
                  <a:moveTo>
                    <a:pt x="818815" y="411764"/>
                  </a:moveTo>
                  <a:lnTo>
                    <a:pt x="818815" y="285699"/>
                  </a:lnTo>
                  <a:cubicBezTo>
                    <a:pt x="818815" y="131267"/>
                    <a:pt x="693562" y="6096"/>
                    <a:pt x="539130" y="6096"/>
                  </a:cubicBezTo>
                  <a:lnTo>
                    <a:pt x="6096" y="6096"/>
                  </a:lnTo>
                  <a:lnTo>
                    <a:pt x="6096" y="1057047"/>
                  </a:lnTo>
                  <a:cubicBezTo>
                    <a:pt x="6096" y="1173196"/>
                    <a:pt x="100218" y="1267318"/>
                    <a:pt x="216367" y="1267399"/>
                  </a:cubicBezTo>
                  <a:lnTo>
                    <a:pt x="532140" y="1267399"/>
                  </a:lnTo>
                  <a:cubicBezTo>
                    <a:pt x="807436" y="1267399"/>
                    <a:pt x="953821" y="1096711"/>
                    <a:pt x="953821" y="892861"/>
                  </a:cubicBezTo>
                  <a:cubicBezTo>
                    <a:pt x="953821" y="725587"/>
                    <a:pt x="840029" y="530596"/>
                    <a:pt x="603260" y="530596"/>
                  </a:cubicBezTo>
                  <a:lnTo>
                    <a:pt x="218562" y="531490"/>
                  </a:lnTo>
                  <a:cubicBezTo>
                    <a:pt x="218562" y="645119"/>
                    <a:pt x="310652" y="737210"/>
                    <a:pt x="424282" y="737210"/>
                  </a:cubicBezTo>
                  <a:cubicBezTo>
                    <a:pt x="424525" y="737210"/>
                    <a:pt x="424688" y="737210"/>
                    <a:pt x="424932" y="737210"/>
                  </a:cubicBezTo>
                  <a:lnTo>
                    <a:pt x="585785" y="737210"/>
                  </a:lnTo>
                  <a:cubicBezTo>
                    <a:pt x="675356" y="731520"/>
                    <a:pt x="752653" y="799551"/>
                    <a:pt x="758261" y="889203"/>
                  </a:cubicBezTo>
                  <a:cubicBezTo>
                    <a:pt x="763951" y="978774"/>
                    <a:pt x="695919" y="1056071"/>
                    <a:pt x="606268" y="1061679"/>
                  </a:cubicBezTo>
                  <a:cubicBezTo>
                    <a:pt x="599440" y="1062086"/>
                    <a:pt x="592531" y="1062086"/>
                    <a:pt x="585704" y="1061679"/>
                  </a:cubicBezTo>
                  <a:lnTo>
                    <a:pt x="216530" y="1061679"/>
                  </a:lnTo>
                  <a:lnTo>
                    <a:pt x="216530" y="211653"/>
                  </a:lnTo>
                  <a:lnTo>
                    <a:pt x="467685" y="211653"/>
                  </a:lnTo>
                  <a:cubicBezTo>
                    <a:pt x="547014" y="213441"/>
                    <a:pt x="610901" y="277246"/>
                    <a:pt x="612689" y="356575"/>
                  </a:cubicBezTo>
                  <a:lnTo>
                    <a:pt x="612689" y="530352"/>
                  </a:lnTo>
                  <a:lnTo>
                    <a:pt x="818815" y="41176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9" name="Forma libre: forma 8">
              <a:extLst>
                <a:ext uri="{FF2B5EF4-FFF2-40B4-BE49-F238E27FC236}">
                  <a16:creationId xmlns:a16="http://schemas.microsoft.com/office/drawing/2014/main" id="{276CA89E-6825-61FD-C15C-D805D156973A}"/>
                </a:ext>
              </a:extLst>
            </p:cNvPr>
            <p:cNvSpPr/>
            <p:nvPr/>
          </p:nvSpPr>
          <p:spPr>
            <a:xfrm>
              <a:off x="2653792" y="2794284"/>
              <a:ext cx="959104" cy="1267968"/>
            </a:xfrm>
            <a:custGeom>
              <a:avLst/>
              <a:gdLst>
                <a:gd name="connsiteX0" fmla="*/ 818896 w 959104"/>
                <a:gd name="connsiteY0" fmla="*/ 411764 h 1267968"/>
                <a:gd name="connsiteX1" fmla="*/ 818896 w 959104"/>
                <a:gd name="connsiteY1" fmla="*/ 285699 h 1267968"/>
                <a:gd name="connsiteX2" fmla="*/ 539212 w 959104"/>
                <a:gd name="connsiteY2" fmla="*/ 6096 h 1267968"/>
                <a:gd name="connsiteX3" fmla="*/ 6096 w 959104"/>
                <a:gd name="connsiteY3" fmla="*/ 6096 h 1267968"/>
                <a:gd name="connsiteX4" fmla="*/ 6096 w 959104"/>
                <a:gd name="connsiteY4" fmla="*/ 1057047 h 1267968"/>
                <a:gd name="connsiteX5" fmla="*/ 216449 w 959104"/>
                <a:gd name="connsiteY5" fmla="*/ 1267399 h 1267968"/>
                <a:gd name="connsiteX6" fmla="*/ 532222 w 959104"/>
                <a:gd name="connsiteY6" fmla="*/ 1267399 h 1267968"/>
                <a:gd name="connsiteX7" fmla="*/ 953821 w 959104"/>
                <a:gd name="connsiteY7" fmla="*/ 892861 h 1267968"/>
                <a:gd name="connsiteX8" fmla="*/ 603342 w 959104"/>
                <a:gd name="connsiteY8" fmla="*/ 530596 h 1267968"/>
                <a:gd name="connsiteX9" fmla="*/ 218643 w 959104"/>
                <a:gd name="connsiteY9" fmla="*/ 531490 h 1267968"/>
                <a:gd name="connsiteX10" fmla="*/ 424363 w 959104"/>
                <a:gd name="connsiteY10" fmla="*/ 737210 h 1267968"/>
                <a:gd name="connsiteX11" fmla="*/ 424932 w 959104"/>
                <a:gd name="connsiteY11" fmla="*/ 737210 h 1267968"/>
                <a:gd name="connsiteX12" fmla="*/ 585866 w 959104"/>
                <a:gd name="connsiteY12" fmla="*/ 737210 h 1267968"/>
                <a:gd name="connsiteX13" fmla="*/ 737860 w 959104"/>
                <a:gd name="connsiteY13" fmla="*/ 909686 h 1267968"/>
                <a:gd name="connsiteX14" fmla="*/ 585866 w 959104"/>
                <a:gd name="connsiteY14" fmla="*/ 1061679 h 1267968"/>
                <a:gd name="connsiteX15" fmla="*/ 216611 w 959104"/>
                <a:gd name="connsiteY15" fmla="*/ 1061679 h 1267968"/>
                <a:gd name="connsiteX16" fmla="*/ 216611 w 959104"/>
                <a:gd name="connsiteY16" fmla="*/ 211653 h 1267968"/>
                <a:gd name="connsiteX17" fmla="*/ 467766 w 959104"/>
                <a:gd name="connsiteY17" fmla="*/ 211653 h 1267968"/>
                <a:gd name="connsiteX18" fmla="*/ 612770 w 959104"/>
                <a:gd name="connsiteY18" fmla="*/ 356575 h 1267968"/>
                <a:gd name="connsiteX19" fmla="*/ 612770 w 959104"/>
                <a:gd name="connsiteY19" fmla="*/ 530352 h 1267968"/>
                <a:gd name="connsiteX20" fmla="*/ 818896 w 959104"/>
                <a:gd name="connsiteY20" fmla="*/ 411764 h 126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959104" h="1267968">
                  <a:moveTo>
                    <a:pt x="818896" y="411764"/>
                  </a:moveTo>
                  <a:lnTo>
                    <a:pt x="818896" y="285699"/>
                  </a:lnTo>
                  <a:cubicBezTo>
                    <a:pt x="818896" y="131267"/>
                    <a:pt x="693644" y="6096"/>
                    <a:pt x="539212" y="6096"/>
                  </a:cubicBezTo>
                  <a:lnTo>
                    <a:pt x="6096" y="6096"/>
                  </a:lnTo>
                  <a:lnTo>
                    <a:pt x="6096" y="1057047"/>
                  </a:lnTo>
                  <a:cubicBezTo>
                    <a:pt x="6096" y="1173196"/>
                    <a:pt x="100299" y="1267399"/>
                    <a:pt x="216449" y="1267399"/>
                  </a:cubicBezTo>
                  <a:lnTo>
                    <a:pt x="532222" y="1267399"/>
                  </a:lnTo>
                  <a:cubicBezTo>
                    <a:pt x="807517" y="1267399"/>
                    <a:pt x="953821" y="1096711"/>
                    <a:pt x="953821" y="892861"/>
                  </a:cubicBezTo>
                  <a:cubicBezTo>
                    <a:pt x="953821" y="725587"/>
                    <a:pt x="840029" y="530596"/>
                    <a:pt x="603342" y="530596"/>
                  </a:cubicBezTo>
                  <a:lnTo>
                    <a:pt x="218643" y="531490"/>
                  </a:lnTo>
                  <a:cubicBezTo>
                    <a:pt x="218643" y="645119"/>
                    <a:pt x="310734" y="737210"/>
                    <a:pt x="424363" y="737210"/>
                  </a:cubicBezTo>
                  <a:cubicBezTo>
                    <a:pt x="424526" y="737210"/>
                    <a:pt x="424769" y="737210"/>
                    <a:pt x="424932" y="737210"/>
                  </a:cubicBezTo>
                  <a:lnTo>
                    <a:pt x="585866" y="737210"/>
                  </a:lnTo>
                  <a:cubicBezTo>
                    <a:pt x="675437" y="742899"/>
                    <a:pt x="743468" y="820115"/>
                    <a:pt x="737860" y="909686"/>
                  </a:cubicBezTo>
                  <a:cubicBezTo>
                    <a:pt x="732658" y="991372"/>
                    <a:pt x="667553" y="1056477"/>
                    <a:pt x="585866" y="1061679"/>
                  </a:cubicBezTo>
                  <a:lnTo>
                    <a:pt x="216611" y="1061679"/>
                  </a:lnTo>
                  <a:lnTo>
                    <a:pt x="216611" y="211653"/>
                  </a:lnTo>
                  <a:lnTo>
                    <a:pt x="467766" y="211653"/>
                  </a:lnTo>
                  <a:cubicBezTo>
                    <a:pt x="547096" y="213441"/>
                    <a:pt x="610982" y="277246"/>
                    <a:pt x="612770" y="356575"/>
                  </a:cubicBezTo>
                  <a:lnTo>
                    <a:pt x="612770" y="530352"/>
                  </a:lnTo>
                  <a:lnTo>
                    <a:pt x="818896" y="41176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10" name="Forma libre: forma 9">
              <a:extLst>
                <a:ext uri="{FF2B5EF4-FFF2-40B4-BE49-F238E27FC236}">
                  <a16:creationId xmlns:a16="http://schemas.microsoft.com/office/drawing/2014/main" id="{4C7D16D6-2766-7B37-461F-3668A3F657E6}"/>
                </a:ext>
              </a:extLst>
            </p:cNvPr>
            <p:cNvSpPr/>
            <p:nvPr/>
          </p:nvSpPr>
          <p:spPr>
            <a:xfrm>
              <a:off x="5297343" y="2793878"/>
              <a:ext cx="219456" cy="1267968"/>
            </a:xfrm>
            <a:custGeom>
              <a:avLst/>
              <a:gdLst>
                <a:gd name="connsiteX0" fmla="*/ 6096 w 219456"/>
                <a:gd name="connsiteY0" fmla="*/ 6096 h 1267968"/>
                <a:gd name="connsiteX1" fmla="*/ 216449 w 219456"/>
                <a:gd name="connsiteY1" fmla="*/ 6096 h 1267968"/>
                <a:gd name="connsiteX2" fmla="*/ 216449 w 219456"/>
                <a:gd name="connsiteY2" fmla="*/ 1268212 h 1267968"/>
                <a:gd name="connsiteX3" fmla="*/ 6096 w 219456"/>
                <a:gd name="connsiteY3" fmla="*/ 1268212 h 126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19456" h="1267968">
                  <a:moveTo>
                    <a:pt x="6096" y="6096"/>
                  </a:moveTo>
                  <a:lnTo>
                    <a:pt x="216449" y="6096"/>
                  </a:lnTo>
                  <a:lnTo>
                    <a:pt x="216449" y="1268212"/>
                  </a:lnTo>
                  <a:lnTo>
                    <a:pt x="6096" y="126821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11" name="Forma libre: forma 10">
              <a:extLst>
                <a:ext uri="{FF2B5EF4-FFF2-40B4-BE49-F238E27FC236}">
                  <a16:creationId xmlns:a16="http://schemas.microsoft.com/office/drawing/2014/main" id="{8FD84E5F-8F83-BEBA-ED6B-7ED8C4E4EE83}"/>
                </a:ext>
              </a:extLst>
            </p:cNvPr>
            <p:cNvSpPr/>
            <p:nvPr/>
          </p:nvSpPr>
          <p:spPr>
            <a:xfrm>
              <a:off x="5507695" y="2793634"/>
              <a:ext cx="487680" cy="1267968"/>
            </a:xfrm>
            <a:custGeom>
              <a:avLst/>
              <a:gdLst>
                <a:gd name="connsiteX0" fmla="*/ 426557 w 487680"/>
                <a:gd name="connsiteY0" fmla="*/ 1268375 h 1267968"/>
                <a:gd name="connsiteX1" fmla="*/ 485323 w 487680"/>
                <a:gd name="connsiteY1" fmla="*/ 1268375 h 1267968"/>
                <a:gd name="connsiteX2" fmla="*/ 248067 w 487680"/>
                <a:gd name="connsiteY2" fmla="*/ 154838 h 1267968"/>
                <a:gd name="connsiteX3" fmla="*/ 64861 w 487680"/>
                <a:gd name="connsiteY3" fmla="*/ 6096 h 1267968"/>
                <a:gd name="connsiteX4" fmla="*/ 6096 w 487680"/>
                <a:gd name="connsiteY4" fmla="*/ 6096 h 1267968"/>
                <a:gd name="connsiteX5" fmla="*/ 243352 w 487680"/>
                <a:gd name="connsiteY5" fmla="*/ 1119632 h 1267968"/>
                <a:gd name="connsiteX6" fmla="*/ 426557 w 487680"/>
                <a:gd name="connsiteY6" fmla="*/ 1267968 h 126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87680" h="1267968">
                  <a:moveTo>
                    <a:pt x="426557" y="1268375"/>
                  </a:moveTo>
                  <a:lnTo>
                    <a:pt x="485323" y="1268375"/>
                  </a:lnTo>
                  <a:lnTo>
                    <a:pt x="248067" y="154838"/>
                  </a:lnTo>
                  <a:cubicBezTo>
                    <a:pt x="229535" y="68356"/>
                    <a:pt x="153294" y="6421"/>
                    <a:pt x="64861" y="6096"/>
                  </a:cubicBezTo>
                  <a:lnTo>
                    <a:pt x="6096" y="6096"/>
                  </a:lnTo>
                  <a:lnTo>
                    <a:pt x="243352" y="1119632"/>
                  </a:lnTo>
                  <a:cubicBezTo>
                    <a:pt x="261803" y="1206114"/>
                    <a:pt x="338125" y="1267887"/>
                    <a:pt x="426557" y="1267968"/>
                  </a:cubicBezTo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12" name="Forma libre: forma 11">
              <a:extLst>
                <a:ext uri="{FF2B5EF4-FFF2-40B4-BE49-F238E27FC236}">
                  <a16:creationId xmlns:a16="http://schemas.microsoft.com/office/drawing/2014/main" id="{2012B33B-DECC-243D-ECC4-596ED5E1EF12}"/>
                </a:ext>
              </a:extLst>
            </p:cNvPr>
            <p:cNvSpPr/>
            <p:nvPr/>
          </p:nvSpPr>
          <p:spPr>
            <a:xfrm>
              <a:off x="5986922" y="2794284"/>
              <a:ext cx="487680" cy="1267968"/>
            </a:xfrm>
            <a:custGeom>
              <a:avLst/>
              <a:gdLst>
                <a:gd name="connsiteX0" fmla="*/ 243271 w 487680"/>
                <a:gd name="connsiteY0" fmla="*/ 154595 h 1267968"/>
                <a:gd name="connsiteX1" fmla="*/ 6096 w 487680"/>
                <a:gd name="connsiteY1" fmla="*/ 1268131 h 1267968"/>
                <a:gd name="connsiteX2" fmla="*/ 216367 w 487680"/>
                <a:gd name="connsiteY2" fmla="*/ 1268131 h 1267968"/>
                <a:gd name="connsiteX3" fmla="*/ 485323 w 487680"/>
                <a:gd name="connsiteY3" fmla="*/ 6096 h 1267968"/>
                <a:gd name="connsiteX4" fmla="*/ 426557 w 487680"/>
                <a:gd name="connsiteY4" fmla="*/ 6096 h 1267968"/>
                <a:gd name="connsiteX5" fmla="*/ 243271 w 487680"/>
                <a:gd name="connsiteY5" fmla="*/ 155001 h 126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87680" h="1267968">
                  <a:moveTo>
                    <a:pt x="243271" y="154595"/>
                  </a:moveTo>
                  <a:lnTo>
                    <a:pt x="6096" y="1268131"/>
                  </a:lnTo>
                  <a:lnTo>
                    <a:pt x="216367" y="1268131"/>
                  </a:lnTo>
                  <a:lnTo>
                    <a:pt x="485323" y="6096"/>
                  </a:lnTo>
                  <a:lnTo>
                    <a:pt x="426557" y="6096"/>
                  </a:lnTo>
                  <a:cubicBezTo>
                    <a:pt x="338043" y="6421"/>
                    <a:pt x="261722" y="68438"/>
                    <a:pt x="243271" y="155001"/>
                  </a:cubicBezTo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13" name="Forma libre: forma 12">
              <a:extLst>
                <a:ext uri="{FF2B5EF4-FFF2-40B4-BE49-F238E27FC236}">
                  <a16:creationId xmlns:a16="http://schemas.microsoft.com/office/drawing/2014/main" id="{7D0190FC-7346-BB45-41DF-FEFC96A3B24B}"/>
                </a:ext>
              </a:extLst>
            </p:cNvPr>
            <p:cNvSpPr/>
            <p:nvPr/>
          </p:nvSpPr>
          <p:spPr>
            <a:xfrm>
              <a:off x="6466149" y="2793878"/>
              <a:ext cx="219456" cy="1267968"/>
            </a:xfrm>
            <a:custGeom>
              <a:avLst/>
              <a:gdLst>
                <a:gd name="connsiteX0" fmla="*/ 6096 w 219456"/>
                <a:gd name="connsiteY0" fmla="*/ 6096 h 1267968"/>
                <a:gd name="connsiteX1" fmla="*/ 216449 w 219456"/>
                <a:gd name="connsiteY1" fmla="*/ 6096 h 1267968"/>
                <a:gd name="connsiteX2" fmla="*/ 216449 w 219456"/>
                <a:gd name="connsiteY2" fmla="*/ 1268212 h 1267968"/>
                <a:gd name="connsiteX3" fmla="*/ 6096 w 219456"/>
                <a:gd name="connsiteY3" fmla="*/ 1268212 h 126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19456" h="1267968">
                  <a:moveTo>
                    <a:pt x="6096" y="6096"/>
                  </a:moveTo>
                  <a:lnTo>
                    <a:pt x="216449" y="6096"/>
                  </a:lnTo>
                  <a:lnTo>
                    <a:pt x="216449" y="1268212"/>
                  </a:lnTo>
                  <a:lnTo>
                    <a:pt x="6096" y="126821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14" name="Forma libre: forma 13">
              <a:extLst>
                <a:ext uri="{FF2B5EF4-FFF2-40B4-BE49-F238E27FC236}">
                  <a16:creationId xmlns:a16="http://schemas.microsoft.com/office/drawing/2014/main" id="{7F371FC8-A33C-D9B2-140B-07B6BBB50FEE}"/>
                </a:ext>
              </a:extLst>
            </p:cNvPr>
            <p:cNvSpPr/>
            <p:nvPr/>
          </p:nvSpPr>
          <p:spPr>
            <a:xfrm>
              <a:off x="9815617" y="2776728"/>
              <a:ext cx="950976" cy="1300480"/>
            </a:xfrm>
            <a:custGeom>
              <a:avLst/>
              <a:gdLst>
                <a:gd name="connsiteX0" fmla="*/ 889935 w 950976"/>
                <a:gd name="connsiteY0" fmla="*/ 286350 h 1300480"/>
                <a:gd name="connsiteX1" fmla="*/ 285618 w 950976"/>
                <a:gd name="connsiteY1" fmla="*/ 417779 h 1300480"/>
                <a:gd name="connsiteX2" fmla="*/ 417047 w 950976"/>
                <a:gd name="connsiteY2" fmla="*/ 1022096 h 1300480"/>
                <a:gd name="connsiteX3" fmla="*/ 653410 w 950976"/>
                <a:gd name="connsiteY3" fmla="*/ 1091509 h 1300480"/>
                <a:gd name="connsiteX4" fmla="*/ 927242 w 950976"/>
                <a:gd name="connsiteY4" fmla="*/ 997712 h 1300480"/>
                <a:gd name="connsiteX5" fmla="*/ 927242 w 950976"/>
                <a:gd name="connsiteY5" fmla="*/ 1240170 h 1300480"/>
                <a:gd name="connsiteX6" fmla="*/ 653736 w 950976"/>
                <a:gd name="connsiteY6" fmla="*/ 1301862 h 1300480"/>
                <a:gd name="connsiteX7" fmla="*/ 6096 w 950976"/>
                <a:gd name="connsiteY7" fmla="*/ 653735 h 1300480"/>
                <a:gd name="connsiteX8" fmla="*/ 654304 w 950976"/>
                <a:gd name="connsiteY8" fmla="*/ 6096 h 1300480"/>
                <a:gd name="connsiteX9" fmla="*/ 948050 w 950976"/>
                <a:gd name="connsiteY9" fmla="*/ 76647 h 1300480"/>
                <a:gd name="connsiteX10" fmla="*/ 889935 w 950976"/>
                <a:gd name="connsiteY10" fmla="*/ 286350 h 13004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950976" h="1300480">
                  <a:moveTo>
                    <a:pt x="889935" y="286350"/>
                  </a:moveTo>
                  <a:cubicBezTo>
                    <a:pt x="686735" y="155814"/>
                    <a:pt x="416235" y="214661"/>
                    <a:pt x="285618" y="417779"/>
                  </a:cubicBezTo>
                  <a:cubicBezTo>
                    <a:pt x="155082" y="620979"/>
                    <a:pt x="213929" y="891479"/>
                    <a:pt x="417047" y="1022096"/>
                  </a:cubicBezTo>
                  <a:cubicBezTo>
                    <a:pt x="487599" y="1067369"/>
                    <a:pt x="569610" y="1091509"/>
                    <a:pt x="653410" y="1091509"/>
                  </a:cubicBezTo>
                  <a:cubicBezTo>
                    <a:pt x="752571" y="1091753"/>
                    <a:pt x="849051" y="1058753"/>
                    <a:pt x="927242" y="997712"/>
                  </a:cubicBezTo>
                  <a:lnTo>
                    <a:pt x="927242" y="1240170"/>
                  </a:lnTo>
                  <a:cubicBezTo>
                    <a:pt x="841817" y="1280892"/>
                    <a:pt x="748345" y="1302024"/>
                    <a:pt x="653736" y="1301862"/>
                  </a:cubicBezTo>
                  <a:cubicBezTo>
                    <a:pt x="295941" y="1301699"/>
                    <a:pt x="5933" y="1011530"/>
                    <a:pt x="6096" y="653735"/>
                  </a:cubicBezTo>
                  <a:cubicBezTo>
                    <a:pt x="6259" y="295941"/>
                    <a:pt x="296428" y="5934"/>
                    <a:pt x="654304" y="6096"/>
                  </a:cubicBezTo>
                  <a:cubicBezTo>
                    <a:pt x="756391" y="6096"/>
                    <a:pt x="857097" y="30318"/>
                    <a:pt x="948050" y="76647"/>
                  </a:cubicBezTo>
                  <a:lnTo>
                    <a:pt x="889935" y="28635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15" name="Forma libre: forma 14">
              <a:extLst>
                <a:ext uri="{FF2B5EF4-FFF2-40B4-BE49-F238E27FC236}">
                  <a16:creationId xmlns:a16="http://schemas.microsoft.com/office/drawing/2014/main" id="{7B990616-F6C1-619D-9CC9-C7D636E40159}"/>
                </a:ext>
              </a:extLst>
            </p:cNvPr>
            <p:cNvSpPr/>
            <p:nvPr/>
          </p:nvSpPr>
          <p:spPr>
            <a:xfrm>
              <a:off x="6886773" y="2794041"/>
              <a:ext cx="1276096" cy="1267968"/>
            </a:xfrm>
            <a:custGeom>
              <a:avLst/>
              <a:gdLst>
                <a:gd name="connsiteX0" fmla="*/ 1060135 w 1276096"/>
                <a:gd name="connsiteY0" fmla="*/ 1267968 h 1267968"/>
                <a:gd name="connsiteX1" fmla="*/ 1273007 w 1276096"/>
                <a:gd name="connsiteY1" fmla="*/ 1267968 h 1267968"/>
                <a:gd name="connsiteX2" fmla="*/ 900501 w 1276096"/>
                <a:gd name="connsiteY2" fmla="*/ 149962 h 1267968"/>
                <a:gd name="connsiteX3" fmla="*/ 700959 w 1276096"/>
                <a:gd name="connsiteY3" fmla="*/ 6096 h 1267968"/>
                <a:gd name="connsiteX4" fmla="*/ 426801 w 1276096"/>
                <a:gd name="connsiteY4" fmla="*/ 6096 h 1267968"/>
                <a:gd name="connsiteX5" fmla="*/ 6096 w 1276096"/>
                <a:gd name="connsiteY5" fmla="*/ 1268212 h 1267968"/>
                <a:gd name="connsiteX6" fmla="*/ 218968 w 1276096"/>
                <a:gd name="connsiteY6" fmla="*/ 1268212 h 1267968"/>
                <a:gd name="connsiteX7" fmla="*/ 324145 w 1276096"/>
                <a:gd name="connsiteY7" fmla="*/ 952683 h 1267968"/>
                <a:gd name="connsiteX8" fmla="*/ 673649 w 1276096"/>
                <a:gd name="connsiteY8" fmla="*/ 952683 h 1267968"/>
                <a:gd name="connsiteX9" fmla="*/ 884001 w 1276096"/>
                <a:gd name="connsiteY9" fmla="*/ 742330 h 1267968"/>
                <a:gd name="connsiteX10" fmla="*/ 884001 w 1276096"/>
                <a:gd name="connsiteY10" fmla="*/ 742330 h 1267968"/>
                <a:gd name="connsiteX11" fmla="*/ 394127 w 1276096"/>
                <a:gd name="connsiteY11" fmla="*/ 742330 h 1267968"/>
                <a:gd name="connsiteX12" fmla="*/ 639511 w 1276096"/>
                <a:gd name="connsiteY12" fmla="*/ 6096 h 1267968"/>
                <a:gd name="connsiteX13" fmla="*/ 1060135 w 1276096"/>
                <a:gd name="connsiteY13" fmla="*/ 1267968 h 126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276096" h="1267968">
                  <a:moveTo>
                    <a:pt x="1060135" y="1267968"/>
                  </a:moveTo>
                  <a:lnTo>
                    <a:pt x="1273007" y="1267968"/>
                  </a:lnTo>
                  <a:lnTo>
                    <a:pt x="900501" y="149962"/>
                  </a:lnTo>
                  <a:cubicBezTo>
                    <a:pt x="871891" y="64049"/>
                    <a:pt x="791505" y="6096"/>
                    <a:pt x="700959" y="6096"/>
                  </a:cubicBezTo>
                  <a:lnTo>
                    <a:pt x="426801" y="6096"/>
                  </a:lnTo>
                  <a:lnTo>
                    <a:pt x="6096" y="1268212"/>
                  </a:lnTo>
                  <a:lnTo>
                    <a:pt x="218968" y="1268212"/>
                  </a:lnTo>
                  <a:lnTo>
                    <a:pt x="324145" y="952683"/>
                  </a:lnTo>
                  <a:lnTo>
                    <a:pt x="673649" y="952683"/>
                  </a:lnTo>
                  <a:cubicBezTo>
                    <a:pt x="789798" y="952683"/>
                    <a:pt x="884001" y="858479"/>
                    <a:pt x="884001" y="742330"/>
                  </a:cubicBezTo>
                  <a:lnTo>
                    <a:pt x="884001" y="742330"/>
                  </a:lnTo>
                  <a:cubicBezTo>
                    <a:pt x="884001" y="742330"/>
                    <a:pt x="394127" y="742330"/>
                    <a:pt x="394127" y="742330"/>
                  </a:cubicBezTo>
                  <a:lnTo>
                    <a:pt x="639511" y="6096"/>
                  </a:lnTo>
                  <a:lnTo>
                    <a:pt x="1060135" y="126796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16" name="Forma libre: forma 15">
              <a:extLst>
                <a:ext uri="{FF2B5EF4-FFF2-40B4-BE49-F238E27FC236}">
                  <a16:creationId xmlns:a16="http://schemas.microsoft.com/office/drawing/2014/main" id="{5F4F2F43-F865-459D-08D5-3D17F50B156D}"/>
                </a:ext>
              </a:extLst>
            </p:cNvPr>
            <p:cNvSpPr/>
            <p:nvPr/>
          </p:nvSpPr>
          <p:spPr>
            <a:xfrm>
              <a:off x="10918749" y="2794041"/>
              <a:ext cx="1276096" cy="1267968"/>
            </a:xfrm>
            <a:custGeom>
              <a:avLst/>
              <a:gdLst>
                <a:gd name="connsiteX0" fmla="*/ 1060380 w 1276096"/>
                <a:gd name="connsiteY0" fmla="*/ 1267968 h 1267968"/>
                <a:gd name="connsiteX1" fmla="*/ 1273251 w 1276096"/>
                <a:gd name="connsiteY1" fmla="*/ 1267968 h 1267968"/>
                <a:gd name="connsiteX2" fmla="*/ 900420 w 1276096"/>
                <a:gd name="connsiteY2" fmla="*/ 149962 h 1267968"/>
                <a:gd name="connsiteX3" fmla="*/ 700877 w 1276096"/>
                <a:gd name="connsiteY3" fmla="*/ 6096 h 1267968"/>
                <a:gd name="connsiteX4" fmla="*/ 426801 w 1276096"/>
                <a:gd name="connsiteY4" fmla="*/ 6096 h 1267968"/>
                <a:gd name="connsiteX5" fmla="*/ 6096 w 1276096"/>
                <a:gd name="connsiteY5" fmla="*/ 1268212 h 1267968"/>
                <a:gd name="connsiteX6" fmla="*/ 218969 w 1276096"/>
                <a:gd name="connsiteY6" fmla="*/ 1268212 h 1267968"/>
                <a:gd name="connsiteX7" fmla="*/ 324145 w 1276096"/>
                <a:gd name="connsiteY7" fmla="*/ 952683 h 1267968"/>
                <a:gd name="connsiteX8" fmla="*/ 673649 w 1276096"/>
                <a:gd name="connsiteY8" fmla="*/ 952683 h 1267968"/>
                <a:gd name="connsiteX9" fmla="*/ 884001 w 1276096"/>
                <a:gd name="connsiteY9" fmla="*/ 742330 h 1267968"/>
                <a:gd name="connsiteX10" fmla="*/ 884001 w 1276096"/>
                <a:gd name="connsiteY10" fmla="*/ 742330 h 1267968"/>
                <a:gd name="connsiteX11" fmla="*/ 394127 w 1276096"/>
                <a:gd name="connsiteY11" fmla="*/ 742330 h 1267968"/>
                <a:gd name="connsiteX12" fmla="*/ 639512 w 1276096"/>
                <a:gd name="connsiteY12" fmla="*/ 6096 h 1267968"/>
                <a:gd name="connsiteX13" fmla="*/ 1060380 w 1276096"/>
                <a:gd name="connsiteY13" fmla="*/ 1267968 h 126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276096" h="1267968">
                  <a:moveTo>
                    <a:pt x="1060380" y="1267968"/>
                  </a:moveTo>
                  <a:lnTo>
                    <a:pt x="1273251" y="1267968"/>
                  </a:lnTo>
                  <a:lnTo>
                    <a:pt x="900420" y="149962"/>
                  </a:lnTo>
                  <a:cubicBezTo>
                    <a:pt x="871809" y="64049"/>
                    <a:pt x="791423" y="6096"/>
                    <a:pt x="700877" y="6096"/>
                  </a:cubicBezTo>
                  <a:lnTo>
                    <a:pt x="426801" y="6096"/>
                  </a:lnTo>
                  <a:lnTo>
                    <a:pt x="6096" y="1268212"/>
                  </a:lnTo>
                  <a:lnTo>
                    <a:pt x="218969" y="1268212"/>
                  </a:lnTo>
                  <a:lnTo>
                    <a:pt x="324145" y="952683"/>
                  </a:lnTo>
                  <a:lnTo>
                    <a:pt x="673649" y="952683"/>
                  </a:lnTo>
                  <a:cubicBezTo>
                    <a:pt x="789798" y="952683"/>
                    <a:pt x="884001" y="858479"/>
                    <a:pt x="884001" y="742330"/>
                  </a:cubicBezTo>
                  <a:lnTo>
                    <a:pt x="884001" y="742330"/>
                  </a:lnTo>
                  <a:cubicBezTo>
                    <a:pt x="884001" y="742330"/>
                    <a:pt x="394127" y="742330"/>
                    <a:pt x="394127" y="742330"/>
                  </a:cubicBezTo>
                  <a:lnTo>
                    <a:pt x="639512" y="6096"/>
                  </a:lnTo>
                  <a:lnTo>
                    <a:pt x="1060380" y="126796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</p:grpSp>
      <p:sp>
        <p:nvSpPr>
          <p:cNvPr id="40" name="Marcador de Posição do Rodapé 4">
            <a:extLst>
              <a:ext uri="{FF2B5EF4-FFF2-40B4-BE49-F238E27FC236}">
                <a16:creationId xmlns:a16="http://schemas.microsoft.com/office/drawing/2014/main" id="{33A3CA73-29EC-4E02-AC60-3587C3221C1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12762" y="6356350"/>
            <a:ext cx="534669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accent2"/>
                </a:solidFill>
              </a:defRPr>
            </a:lvl1pPr>
          </a:lstStyle>
          <a:p>
            <a:r>
              <a:rPr lang="pt-PT"/>
              <a:t>Título de la presentación</a:t>
            </a:r>
            <a:endParaRPr lang="pt-PT" dirty="0"/>
          </a:p>
        </p:txBody>
      </p:sp>
      <p:sp>
        <p:nvSpPr>
          <p:cNvPr id="41" name="Marcador de Posição do Número do Diapositivo 5">
            <a:extLst>
              <a:ext uri="{FF2B5EF4-FFF2-40B4-BE49-F238E27FC236}">
                <a16:creationId xmlns:a16="http://schemas.microsoft.com/office/drawing/2014/main" id="{CE91C993-BE43-4CD8-A6A7-4C89F18D98E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936039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bg1"/>
                </a:solidFill>
              </a:defRPr>
            </a:lvl1pPr>
          </a:lstStyle>
          <a:p>
            <a:fld id="{24A347C2-D68E-473A-8C76-1D063E4EB6E0}" type="slidenum">
              <a:rPr lang="es-ES" smtClean="0"/>
              <a:pPr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35767320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50"/>
                                        <p:tgtEl>
                                          <p:spTgt spid="5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1666 -0.00046 L 3.75E-6 1.85185E-6 " pathEditMode="relative" rAng="0" ptsTypes="AA">
                                      <p:cBhvr>
                                        <p:cTn id="9" dur="500" fill="hold"/>
                                        <p:tgtEl>
                                          <p:spTgt spid="5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83300" y="2300"/>
                                    </p:animMotion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250"/>
                                        <p:tgtEl>
                                          <p:spTgt spid="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1666 -0.00046 L 3.75E-6 1.85185E-6 " pathEditMode="relative" rAng="0" ptsTypes="AA">
                                      <p:cBhvr>
                                        <p:cTn id="14" dur="500" fill="hold"/>
                                        <p:tgtEl>
                                          <p:spTgt spid="6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83300" y="2300"/>
                                    </p:animMotion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grpId="0" nodeType="withEffect" nodePh="1">
                                  <p:stCondLst>
                                    <p:cond delay="250"/>
                                  </p:stCondLst>
                                  <p:endCondLst>
                                    <p:cond evt="begin" delay="0">
                                      <p:tn val="15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0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7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7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8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8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9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9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9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9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9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10" presetClass="entr" presetSubtype="0" fill="hold" grpId="0" nodeType="withEffect" nodePh="1">
                                  <p:stCondLst>
                                    <p:cond delay="250"/>
                                  </p:stCondLst>
                                  <p:endCondLst>
                                    <p:cond evt="begin" delay="0">
                                      <p:tn val="45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10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" presetID="10" presetClass="entr" presetSubtype="0" fill="hold" grpId="0" nodeType="withEffect" nodePh="1">
                                  <p:stCondLst>
                                    <p:cond delay="250"/>
                                  </p:stCondLst>
                                  <p:endCondLst>
                                    <p:cond evt="begin" delay="0">
                                      <p:tn val="48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" dur="500"/>
                                        <p:tgtEl>
                                          <p:spTgt spid="10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1" presetID="10" presetClass="entr" presetSubtype="0" fill="hold" grpId="0" nodeType="withEffect" nodePh="1">
                                  <p:stCondLst>
                                    <p:cond delay="250"/>
                                  </p:stCondLst>
                                  <p:endCondLst>
                                    <p:cond evt="begin" delay="0">
                                      <p:tn val="51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3" dur="500"/>
                                        <p:tgtEl>
                                          <p:spTgt spid="10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4" presetID="10" presetClass="entr" presetSubtype="0" fill="hold" grpId="0" nodeType="withEffect" nodePh="1">
                                  <p:stCondLst>
                                    <p:cond delay="250"/>
                                  </p:stCondLst>
                                  <p:endCondLst>
                                    <p:cond evt="begin" delay="0">
                                      <p:tn val="54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500"/>
                                        <p:tgtEl>
                                          <p:spTgt spid="10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7" presetID="10" presetClass="entr" presetSubtype="0" fill="hold" grpId="0" nodeType="withEffect" nodePh="1">
                                  <p:stCondLst>
                                    <p:cond delay="250"/>
                                  </p:stCondLst>
                                  <p:endCondLst>
                                    <p:cond evt="begin" delay="0">
                                      <p:tn val="57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9" dur="500"/>
                                        <p:tgtEl>
                                          <p:spTgt spid="10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0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2" dur="500"/>
                                        <p:tgtEl>
                                          <p:spTgt spid="6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3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5" dur="500"/>
                                        <p:tgtEl>
                                          <p:spTgt spid="6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4" grpId="0"/>
      <p:bldP spid="59" grpId="0"/>
      <p:bldP spid="59" grpId="1"/>
      <p:bldP spid="60" grpId="0">
        <p:tmplLst>
          <p:tmpl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6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250"/>
                        <p:tgtEl>
                          <p:spTgt spid="6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60" grpId="1"/>
      <p:bldP spid="61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6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6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62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6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6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71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7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76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7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81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8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8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86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8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8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91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9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96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9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97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9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98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9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99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9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05" grpId="0"/>
      <p:bldP spid="106" grpId="0"/>
      <p:bldP spid="107" grpId="0"/>
      <p:bldP spid="108" grpId="0"/>
      <p:bldP spid="109" grpId="0"/>
    </p:bldLst>
  </p:timing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2_Esquema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" name="Agrupar 14">
            <a:extLst>
              <a:ext uri="{FF2B5EF4-FFF2-40B4-BE49-F238E27FC236}">
                <a16:creationId xmlns:a16="http://schemas.microsoft.com/office/drawing/2014/main" id="{EF3387B7-D157-1C8D-2005-949416262A9B}"/>
              </a:ext>
            </a:extLst>
          </p:cNvPr>
          <p:cNvGrpSpPr/>
          <p:nvPr userDrawn="1"/>
        </p:nvGrpSpPr>
        <p:grpSpPr>
          <a:xfrm flipH="1">
            <a:off x="6467641" y="2677651"/>
            <a:ext cx="4681145" cy="524539"/>
            <a:chOff x="-1067458" y="1557978"/>
            <a:chExt cx="4681145" cy="524539"/>
          </a:xfrm>
          <a:solidFill>
            <a:schemeClr val="tx2"/>
          </a:solidFill>
        </p:grpSpPr>
        <p:sp>
          <p:nvSpPr>
            <p:cNvPr id="16" name="Forma livre: Forma 15">
              <a:extLst>
                <a:ext uri="{FF2B5EF4-FFF2-40B4-BE49-F238E27FC236}">
                  <a16:creationId xmlns:a16="http://schemas.microsoft.com/office/drawing/2014/main" id="{E0BF1FF6-C7D6-7040-DC9C-634587529B70}"/>
                </a:ext>
              </a:extLst>
            </p:cNvPr>
            <p:cNvSpPr/>
            <p:nvPr/>
          </p:nvSpPr>
          <p:spPr>
            <a:xfrm>
              <a:off x="-269172" y="1557998"/>
              <a:ext cx="3338412" cy="524519"/>
            </a:xfrm>
            <a:custGeom>
              <a:avLst/>
              <a:gdLst>
                <a:gd name="connsiteX0" fmla="*/ 2220906 w 2220906"/>
                <a:gd name="connsiteY0" fmla="*/ 0 h 524519"/>
                <a:gd name="connsiteX1" fmla="*/ 2220906 w 2220906"/>
                <a:gd name="connsiteY1" fmla="*/ 524457 h 524519"/>
                <a:gd name="connsiteX2" fmla="*/ 0 w 2220906"/>
                <a:gd name="connsiteY2" fmla="*/ 524519 h 524519"/>
                <a:gd name="connsiteX3" fmla="*/ 0 w 2220906"/>
                <a:gd name="connsiteY3" fmla="*/ 62 h 5245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220906" h="524519">
                  <a:moveTo>
                    <a:pt x="2220906" y="0"/>
                  </a:moveTo>
                  <a:lnTo>
                    <a:pt x="2220906" y="524457"/>
                  </a:lnTo>
                  <a:lnTo>
                    <a:pt x="0" y="524519"/>
                  </a:lnTo>
                  <a:lnTo>
                    <a:pt x="0" y="62"/>
                  </a:lnTo>
                  <a:close/>
                </a:path>
              </a:pathLst>
            </a:custGeom>
            <a:grpFill/>
            <a:ln w="4244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s-ES" noProof="0" dirty="0">
                <a:solidFill>
                  <a:schemeClr val="tx1"/>
                </a:solidFill>
              </a:endParaRPr>
            </a:p>
          </p:txBody>
        </p:sp>
        <p:sp>
          <p:nvSpPr>
            <p:cNvPr id="17" name="Forma livre: Forma 16">
              <a:extLst>
                <a:ext uri="{FF2B5EF4-FFF2-40B4-BE49-F238E27FC236}">
                  <a16:creationId xmlns:a16="http://schemas.microsoft.com/office/drawing/2014/main" id="{4297BC05-FC41-142D-EDE5-459A8D5E77E8}"/>
                </a:ext>
              </a:extLst>
            </p:cNvPr>
            <p:cNvSpPr/>
            <p:nvPr/>
          </p:nvSpPr>
          <p:spPr>
            <a:xfrm flipV="1">
              <a:off x="-1067458" y="1557978"/>
              <a:ext cx="1136476" cy="524519"/>
            </a:xfrm>
            <a:custGeom>
              <a:avLst/>
              <a:gdLst>
                <a:gd name="connsiteX0" fmla="*/ 103570 w 224310"/>
                <a:gd name="connsiteY0" fmla="*/ 103528 h 103527"/>
                <a:gd name="connsiteX1" fmla="*/ 189801 w 224310"/>
                <a:gd name="connsiteY1" fmla="*/ 103528 h 103527"/>
                <a:gd name="connsiteX2" fmla="*/ 224310 w 224310"/>
                <a:gd name="connsiteY2" fmla="*/ 0 h 103527"/>
                <a:gd name="connsiteX3" fmla="*/ 0 w 224310"/>
                <a:gd name="connsiteY3" fmla="*/ 0 h 103527"/>
                <a:gd name="connsiteX4" fmla="*/ 103528 w 224310"/>
                <a:gd name="connsiteY4" fmla="*/ 103528 h 1035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24310" h="103527">
                  <a:moveTo>
                    <a:pt x="103570" y="103528"/>
                  </a:moveTo>
                  <a:lnTo>
                    <a:pt x="189801" y="103528"/>
                  </a:lnTo>
                  <a:lnTo>
                    <a:pt x="224310" y="0"/>
                  </a:lnTo>
                  <a:lnTo>
                    <a:pt x="0" y="0"/>
                  </a:lnTo>
                  <a:cubicBezTo>
                    <a:pt x="0" y="57204"/>
                    <a:pt x="46367" y="103528"/>
                    <a:pt x="103528" y="103528"/>
                  </a:cubicBezTo>
                  <a:close/>
                </a:path>
              </a:pathLst>
            </a:custGeom>
            <a:grpFill/>
            <a:ln w="42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 noProof="0" dirty="0"/>
            </a:p>
          </p:txBody>
        </p:sp>
        <p:sp>
          <p:nvSpPr>
            <p:cNvPr id="18" name="Forma livre: Forma 17">
              <a:extLst>
                <a:ext uri="{FF2B5EF4-FFF2-40B4-BE49-F238E27FC236}">
                  <a16:creationId xmlns:a16="http://schemas.microsoft.com/office/drawing/2014/main" id="{B68E49B2-B957-0BA1-D239-8CD0C21A560D}"/>
                </a:ext>
              </a:extLst>
            </p:cNvPr>
            <p:cNvSpPr/>
            <p:nvPr/>
          </p:nvSpPr>
          <p:spPr>
            <a:xfrm flipH="1">
              <a:off x="2477211" y="1557978"/>
              <a:ext cx="1136476" cy="524519"/>
            </a:xfrm>
            <a:custGeom>
              <a:avLst/>
              <a:gdLst>
                <a:gd name="connsiteX0" fmla="*/ 103570 w 224310"/>
                <a:gd name="connsiteY0" fmla="*/ 103528 h 103527"/>
                <a:gd name="connsiteX1" fmla="*/ 189801 w 224310"/>
                <a:gd name="connsiteY1" fmla="*/ 103528 h 103527"/>
                <a:gd name="connsiteX2" fmla="*/ 224310 w 224310"/>
                <a:gd name="connsiteY2" fmla="*/ 0 h 103527"/>
                <a:gd name="connsiteX3" fmla="*/ 0 w 224310"/>
                <a:gd name="connsiteY3" fmla="*/ 0 h 103527"/>
                <a:gd name="connsiteX4" fmla="*/ 103528 w 224310"/>
                <a:gd name="connsiteY4" fmla="*/ 103528 h 1035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24310" h="103527">
                  <a:moveTo>
                    <a:pt x="103570" y="103528"/>
                  </a:moveTo>
                  <a:lnTo>
                    <a:pt x="189801" y="103528"/>
                  </a:lnTo>
                  <a:lnTo>
                    <a:pt x="224310" y="0"/>
                  </a:lnTo>
                  <a:lnTo>
                    <a:pt x="0" y="0"/>
                  </a:lnTo>
                  <a:cubicBezTo>
                    <a:pt x="0" y="57204"/>
                    <a:pt x="46367" y="103528"/>
                    <a:pt x="103528" y="103528"/>
                  </a:cubicBezTo>
                  <a:close/>
                </a:path>
              </a:pathLst>
            </a:custGeom>
            <a:grpFill/>
            <a:ln w="42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 noProof="0" dirty="0"/>
            </a:p>
          </p:txBody>
        </p:sp>
      </p:grpSp>
      <p:grpSp>
        <p:nvGrpSpPr>
          <p:cNvPr id="11" name="Agrupar 10">
            <a:extLst>
              <a:ext uri="{FF2B5EF4-FFF2-40B4-BE49-F238E27FC236}">
                <a16:creationId xmlns:a16="http://schemas.microsoft.com/office/drawing/2014/main" id="{F27982F3-A1A5-9A5E-CCCE-DC49F7DF3BF2}"/>
              </a:ext>
            </a:extLst>
          </p:cNvPr>
          <p:cNvGrpSpPr/>
          <p:nvPr userDrawn="1"/>
        </p:nvGrpSpPr>
        <p:grpSpPr>
          <a:xfrm flipH="1">
            <a:off x="2425255" y="2677651"/>
            <a:ext cx="5207845" cy="524539"/>
            <a:chOff x="-537568" y="1557978"/>
            <a:chExt cx="5207845" cy="524539"/>
          </a:xfrm>
          <a:solidFill>
            <a:schemeClr val="accent2"/>
          </a:solidFill>
        </p:grpSpPr>
        <p:sp>
          <p:nvSpPr>
            <p:cNvPr id="12" name="Forma livre: Forma 11">
              <a:extLst>
                <a:ext uri="{FF2B5EF4-FFF2-40B4-BE49-F238E27FC236}">
                  <a16:creationId xmlns:a16="http://schemas.microsoft.com/office/drawing/2014/main" id="{E63CBBB9-4015-29CB-D672-2A41F1135462}"/>
                </a:ext>
              </a:extLst>
            </p:cNvPr>
            <p:cNvSpPr/>
            <p:nvPr/>
          </p:nvSpPr>
          <p:spPr>
            <a:xfrm>
              <a:off x="316908" y="1557998"/>
              <a:ext cx="3646635" cy="524519"/>
            </a:xfrm>
            <a:custGeom>
              <a:avLst/>
              <a:gdLst>
                <a:gd name="connsiteX0" fmla="*/ 2220906 w 2220906"/>
                <a:gd name="connsiteY0" fmla="*/ 0 h 524519"/>
                <a:gd name="connsiteX1" fmla="*/ 2220906 w 2220906"/>
                <a:gd name="connsiteY1" fmla="*/ 524457 h 524519"/>
                <a:gd name="connsiteX2" fmla="*/ 0 w 2220906"/>
                <a:gd name="connsiteY2" fmla="*/ 524519 h 524519"/>
                <a:gd name="connsiteX3" fmla="*/ 0 w 2220906"/>
                <a:gd name="connsiteY3" fmla="*/ 62 h 5245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220906" h="524519">
                  <a:moveTo>
                    <a:pt x="2220906" y="0"/>
                  </a:moveTo>
                  <a:lnTo>
                    <a:pt x="2220906" y="524457"/>
                  </a:lnTo>
                  <a:lnTo>
                    <a:pt x="0" y="524519"/>
                  </a:lnTo>
                  <a:lnTo>
                    <a:pt x="0" y="62"/>
                  </a:lnTo>
                  <a:close/>
                </a:path>
              </a:pathLst>
            </a:custGeom>
            <a:grpFill/>
            <a:ln w="4244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s-ES" noProof="0" dirty="0">
                <a:solidFill>
                  <a:schemeClr val="tx1"/>
                </a:solidFill>
              </a:endParaRPr>
            </a:p>
          </p:txBody>
        </p:sp>
        <p:sp>
          <p:nvSpPr>
            <p:cNvPr id="13" name="Forma livre: Forma 12">
              <a:extLst>
                <a:ext uri="{FF2B5EF4-FFF2-40B4-BE49-F238E27FC236}">
                  <a16:creationId xmlns:a16="http://schemas.microsoft.com/office/drawing/2014/main" id="{9C99307B-C1E8-6676-ADF8-30AA7E4ACEE2}"/>
                </a:ext>
              </a:extLst>
            </p:cNvPr>
            <p:cNvSpPr/>
            <p:nvPr/>
          </p:nvSpPr>
          <p:spPr>
            <a:xfrm flipV="1">
              <a:off x="-537568" y="1557978"/>
              <a:ext cx="1136476" cy="524519"/>
            </a:xfrm>
            <a:custGeom>
              <a:avLst/>
              <a:gdLst>
                <a:gd name="connsiteX0" fmla="*/ 103570 w 224310"/>
                <a:gd name="connsiteY0" fmla="*/ 103528 h 103527"/>
                <a:gd name="connsiteX1" fmla="*/ 189801 w 224310"/>
                <a:gd name="connsiteY1" fmla="*/ 103528 h 103527"/>
                <a:gd name="connsiteX2" fmla="*/ 224310 w 224310"/>
                <a:gd name="connsiteY2" fmla="*/ 0 h 103527"/>
                <a:gd name="connsiteX3" fmla="*/ 0 w 224310"/>
                <a:gd name="connsiteY3" fmla="*/ 0 h 103527"/>
                <a:gd name="connsiteX4" fmla="*/ 103528 w 224310"/>
                <a:gd name="connsiteY4" fmla="*/ 103528 h 1035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24310" h="103527">
                  <a:moveTo>
                    <a:pt x="103570" y="103528"/>
                  </a:moveTo>
                  <a:lnTo>
                    <a:pt x="189801" y="103528"/>
                  </a:lnTo>
                  <a:lnTo>
                    <a:pt x="224310" y="0"/>
                  </a:lnTo>
                  <a:lnTo>
                    <a:pt x="0" y="0"/>
                  </a:lnTo>
                  <a:cubicBezTo>
                    <a:pt x="0" y="57204"/>
                    <a:pt x="46367" y="103528"/>
                    <a:pt x="103528" y="103528"/>
                  </a:cubicBezTo>
                  <a:close/>
                </a:path>
              </a:pathLst>
            </a:custGeom>
            <a:grpFill/>
            <a:ln w="42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 noProof="0" dirty="0"/>
            </a:p>
          </p:txBody>
        </p:sp>
        <p:sp>
          <p:nvSpPr>
            <p:cNvPr id="14" name="Forma livre: Forma 13">
              <a:extLst>
                <a:ext uri="{FF2B5EF4-FFF2-40B4-BE49-F238E27FC236}">
                  <a16:creationId xmlns:a16="http://schemas.microsoft.com/office/drawing/2014/main" id="{C1F12D4E-D6E4-C12C-385A-58E4E7EC6D68}"/>
                </a:ext>
              </a:extLst>
            </p:cNvPr>
            <p:cNvSpPr/>
            <p:nvPr/>
          </p:nvSpPr>
          <p:spPr>
            <a:xfrm flipH="1">
              <a:off x="3533801" y="1557978"/>
              <a:ext cx="1136476" cy="524519"/>
            </a:xfrm>
            <a:custGeom>
              <a:avLst/>
              <a:gdLst>
                <a:gd name="connsiteX0" fmla="*/ 103570 w 224310"/>
                <a:gd name="connsiteY0" fmla="*/ 103528 h 103527"/>
                <a:gd name="connsiteX1" fmla="*/ 189801 w 224310"/>
                <a:gd name="connsiteY1" fmla="*/ 103528 h 103527"/>
                <a:gd name="connsiteX2" fmla="*/ 224310 w 224310"/>
                <a:gd name="connsiteY2" fmla="*/ 0 h 103527"/>
                <a:gd name="connsiteX3" fmla="*/ 0 w 224310"/>
                <a:gd name="connsiteY3" fmla="*/ 0 h 103527"/>
                <a:gd name="connsiteX4" fmla="*/ 103528 w 224310"/>
                <a:gd name="connsiteY4" fmla="*/ 103528 h 1035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24310" h="103527">
                  <a:moveTo>
                    <a:pt x="103570" y="103528"/>
                  </a:moveTo>
                  <a:lnTo>
                    <a:pt x="189801" y="103528"/>
                  </a:lnTo>
                  <a:lnTo>
                    <a:pt x="224310" y="0"/>
                  </a:lnTo>
                  <a:lnTo>
                    <a:pt x="0" y="0"/>
                  </a:lnTo>
                  <a:cubicBezTo>
                    <a:pt x="0" y="57204"/>
                    <a:pt x="46367" y="103528"/>
                    <a:pt x="103528" y="103528"/>
                  </a:cubicBezTo>
                  <a:close/>
                </a:path>
              </a:pathLst>
            </a:custGeom>
            <a:grpFill/>
            <a:ln w="42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 noProof="0" dirty="0"/>
            </a:p>
          </p:txBody>
        </p:sp>
      </p:grpSp>
      <p:grpSp>
        <p:nvGrpSpPr>
          <p:cNvPr id="7" name="Agrupar 6">
            <a:extLst>
              <a:ext uri="{FF2B5EF4-FFF2-40B4-BE49-F238E27FC236}">
                <a16:creationId xmlns:a16="http://schemas.microsoft.com/office/drawing/2014/main" id="{5055A70D-CAB3-96A8-A65F-E9E20D8AAAEA}"/>
              </a:ext>
            </a:extLst>
          </p:cNvPr>
          <p:cNvGrpSpPr/>
          <p:nvPr userDrawn="1"/>
        </p:nvGrpSpPr>
        <p:grpSpPr>
          <a:xfrm flipH="1">
            <a:off x="1025663" y="2677651"/>
            <a:ext cx="1943393" cy="524539"/>
            <a:chOff x="2726884" y="1557978"/>
            <a:chExt cx="1943393" cy="524539"/>
          </a:xfrm>
        </p:grpSpPr>
        <p:sp>
          <p:nvSpPr>
            <p:cNvPr id="8" name="Forma livre: Forma 7">
              <a:extLst>
                <a:ext uri="{FF2B5EF4-FFF2-40B4-BE49-F238E27FC236}">
                  <a16:creationId xmlns:a16="http://schemas.microsoft.com/office/drawing/2014/main" id="{425A81F5-9330-2431-A29D-2EF040EFB916}"/>
                </a:ext>
              </a:extLst>
            </p:cNvPr>
            <p:cNvSpPr/>
            <p:nvPr/>
          </p:nvSpPr>
          <p:spPr>
            <a:xfrm>
              <a:off x="3295122" y="1557998"/>
              <a:ext cx="668419" cy="524519"/>
            </a:xfrm>
            <a:custGeom>
              <a:avLst/>
              <a:gdLst>
                <a:gd name="connsiteX0" fmla="*/ 2220906 w 2220906"/>
                <a:gd name="connsiteY0" fmla="*/ 0 h 524519"/>
                <a:gd name="connsiteX1" fmla="*/ 2220906 w 2220906"/>
                <a:gd name="connsiteY1" fmla="*/ 524457 h 524519"/>
                <a:gd name="connsiteX2" fmla="*/ 0 w 2220906"/>
                <a:gd name="connsiteY2" fmla="*/ 524519 h 524519"/>
                <a:gd name="connsiteX3" fmla="*/ 0 w 2220906"/>
                <a:gd name="connsiteY3" fmla="*/ 62 h 5245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220906" h="524519">
                  <a:moveTo>
                    <a:pt x="2220906" y="0"/>
                  </a:moveTo>
                  <a:lnTo>
                    <a:pt x="2220906" y="524457"/>
                  </a:lnTo>
                  <a:lnTo>
                    <a:pt x="0" y="524519"/>
                  </a:lnTo>
                  <a:lnTo>
                    <a:pt x="0" y="62"/>
                  </a:lnTo>
                  <a:close/>
                </a:path>
              </a:pathLst>
            </a:custGeom>
            <a:solidFill>
              <a:srgbClr val="184BFF"/>
            </a:solidFill>
            <a:ln w="4244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s-ES" noProof="0" dirty="0">
                <a:solidFill>
                  <a:schemeClr val="tx1"/>
                </a:solidFill>
              </a:endParaRPr>
            </a:p>
          </p:txBody>
        </p:sp>
        <p:sp>
          <p:nvSpPr>
            <p:cNvPr id="9" name="Forma livre: Forma 8">
              <a:extLst>
                <a:ext uri="{FF2B5EF4-FFF2-40B4-BE49-F238E27FC236}">
                  <a16:creationId xmlns:a16="http://schemas.microsoft.com/office/drawing/2014/main" id="{FCCBF630-B24F-32E7-11AD-44377020F323}"/>
                </a:ext>
              </a:extLst>
            </p:cNvPr>
            <p:cNvSpPr/>
            <p:nvPr/>
          </p:nvSpPr>
          <p:spPr>
            <a:xfrm flipV="1">
              <a:off x="2726884" y="1557978"/>
              <a:ext cx="1136476" cy="524519"/>
            </a:xfrm>
            <a:custGeom>
              <a:avLst/>
              <a:gdLst>
                <a:gd name="connsiteX0" fmla="*/ 103570 w 224310"/>
                <a:gd name="connsiteY0" fmla="*/ 103528 h 103527"/>
                <a:gd name="connsiteX1" fmla="*/ 189801 w 224310"/>
                <a:gd name="connsiteY1" fmla="*/ 103528 h 103527"/>
                <a:gd name="connsiteX2" fmla="*/ 224310 w 224310"/>
                <a:gd name="connsiteY2" fmla="*/ 0 h 103527"/>
                <a:gd name="connsiteX3" fmla="*/ 0 w 224310"/>
                <a:gd name="connsiteY3" fmla="*/ 0 h 103527"/>
                <a:gd name="connsiteX4" fmla="*/ 103528 w 224310"/>
                <a:gd name="connsiteY4" fmla="*/ 103528 h 1035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24310" h="103527">
                  <a:moveTo>
                    <a:pt x="103570" y="103528"/>
                  </a:moveTo>
                  <a:lnTo>
                    <a:pt x="189801" y="103528"/>
                  </a:lnTo>
                  <a:lnTo>
                    <a:pt x="224310" y="0"/>
                  </a:lnTo>
                  <a:lnTo>
                    <a:pt x="0" y="0"/>
                  </a:lnTo>
                  <a:cubicBezTo>
                    <a:pt x="0" y="57204"/>
                    <a:pt x="46367" y="103528"/>
                    <a:pt x="103528" y="103528"/>
                  </a:cubicBezTo>
                  <a:close/>
                </a:path>
              </a:pathLst>
            </a:custGeom>
            <a:solidFill>
              <a:srgbClr val="184BFF"/>
            </a:solidFill>
            <a:ln w="42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 noProof="0" dirty="0"/>
            </a:p>
          </p:txBody>
        </p:sp>
        <p:sp>
          <p:nvSpPr>
            <p:cNvPr id="10" name="Forma livre: Forma 9">
              <a:extLst>
                <a:ext uri="{FF2B5EF4-FFF2-40B4-BE49-F238E27FC236}">
                  <a16:creationId xmlns:a16="http://schemas.microsoft.com/office/drawing/2014/main" id="{08A208A4-262D-7C8B-0410-5F58E910A7B1}"/>
                </a:ext>
              </a:extLst>
            </p:cNvPr>
            <p:cNvSpPr/>
            <p:nvPr/>
          </p:nvSpPr>
          <p:spPr>
            <a:xfrm flipH="1">
              <a:off x="3533801" y="1557978"/>
              <a:ext cx="1136476" cy="524519"/>
            </a:xfrm>
            <a:custGeom>
              <a:avLst/>
              <a:gdLst>
                <a:gd name="connsiteX0" fmla="*/ 103570 w 224310"/>
                <a:gd name="connsiteY0" fmla="*/ 103528 h 103527"/>
                <a:gd name="connsiteX1" fmla="*/ 189801 w 224310"/>
                <a:gd name="connsiteY1" fmla="*/ 103528 h 103527"/>
                <a:gd name="connsiteX2" fmla="*/ 224310 w 224310"/>
                <a:gd name="connsiteY2" fmla="*/ 0 h 103527"/>
                <a:gd name="connsiteX3" fmla="*/ 0 w 224310"/>
                <a:gd name="connsiteY3" fmla="*/ 0 h 103527"/>
                <a:gd name="connsiteX4" fmla="*/ 103528 w 224310"/>
                <a:gd name="connsiteY4" fmla="*/ 103528 h 1035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24310" h="103527">
                  <a:moveTo>
                    <a:pt x="103570" y="103528"/>
                  </a:moveTo>
                  <a:lnTo>
                    <a:pt x="189801" y="103528"/>
                  </a:lnTo>
                  <a:lnTo>
                    <a:pt x="224310" y="0"/>
                  </a:lnTo>
                  <a:lnTo>
                    <a:pt x="0" y="0"/>
                  </a:lnTo>
                  <a:cubicBezTo>
                    <a:pt x="0" y="57204"/>
                    <a:pt x="46367" y="103528"/>
                    <a:pt x="103528" y="103528"/>
                  </a:cubicBezTo>
                  <a:close/>
                </a:path>
              </a:pathLst>
            </a:custGeom>
            <a:solidFill>
              <a:srgbClr val="184BFF"/>
            </a:solidFill>
            <a:ln w="42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 noProof="0" dirty="0"/>
            </a:p>
          </p:txBody>
        </p:sp>
      </p:grpSp>
      <p:grpSp>
        <p:nvGrpSpPr>
          <p:cNvPr id="19" name="Agrupar 18">
            <a:extLst>
              <a:ext uri="{FF2B5EF4-FFF2-40B4-BE49-F238E27FC236}">
                <a16:creationId xmlns:a16="http://schemas.microsoft.com/office/drawing/2014/main" id="{375F09DC-AC4A-D0A2-B2A3-F68972116620}"/>
              </a:ext>
            </a:extLst>
          </p:cNvPr>
          <p:cNvGrpSpPr/>
          <p:nvPr userDrawn="1"/>
        </p:nvGrpSpPr>
        <p:grpSpPr>
          <a:xfrm flipH="1">
            <a:off x="1025663" y="5424161"/>
            <a:ext cx="10123123" cy="524539"/>
            <a:chOff x="-5452846" y="1557978"/>
            <a:chExt cx="10123123" cy="524539"/>
          </a:xfrm>
          <a:solidFill>
            <a:srgbClr val="132153"/>
          </a:solidFill>
        </p:grpSpPr>
        <p:sp>
          <p:nvSpPr>
            <p:cNvPr id="20" name="Forma livre: Forma 19">
              <a:extLst>
                <a:ext uri="{FF2B5EF4-FFF2-40B4-BE49-F238E27FC236}">
                  <a16:creationId xmlns:a16="http://schemas.microsoft.com/office/drawing/2014/main" id="{34E9E78A-6A1F-6E43-82CB-A15C178D28D8}"/>
                </a:ext>
              </a:extLst>
            </p:cNvPr>
            <p:cNvSpPr/>
            <p:nvPr/>
          </p:nvSpPr>
          <p:spPr>
            <a:xfrm>
              <a:off x="-4654559" y="1557998"/>
              <a:ext cx="8618101" cy="524519"/>
            </a:xfrm>
            <a:custGeom>
              <a:avLst/>
              <a:gdLst>
                <a:gd name="connsiteX0" fmla="*/ 2220906 w 2220906"/>
                <a:gd name="connsiteY0" fmla="*/ 0 h 524519"/>
                <a:gd name="connsiteX1" fmla="*/ 2220906 w 2220906"/>
                <a:gd name="connsiteY1" fmla="*/ 524457 h 524519"/>
                <a:gd name="connsiteX2" fmla="*/ 0 w 2220906"/>
                <a:gd name="connsiteY2" fmla="*/ 524519 h 524519"/>
                <a:gd name="connsiteX3" fmla="*/ 0 w 2220906"/>
                <a:gd name="connsiteY3" fmla="*/ 62 h 5245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220906" h="524519">
                  <a:moveTo>
                    <a:pt x="2220906" y="0"/>
                  </a:moveTo>
                  <a:lnTo>
                    <a:pt x="2220906" y="524457"/>
                  </a:lnTo>
                  <a:lnTo>
                    <a:pt x="0" y="524519"/>
                  </a:lnTo>
                  <a:lnTo>
                    <a:pt x="0" y="62"/>
                  </a:lnTo>
                  <a:close/>
                </a:path>
              </a:pathLst>
            </a:custGeom>
            <a:grpFill/>
            <a:ln w="4244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s-ES" noProof="0" dirty="0">
                <a:solidFill>
                  <a:schemeClr val="tx1"/>
                </a:solidFill>
              </a:endParaRPr>
            </a:p>
          </p:txBody>
        </p:sp>
        <p:sp>
          <p:nvSpPr>
            <p:cNvPr id="21" name="Forma livre: Forma 20">
              <a:extLst>
                <a:ext uri="{FF2B5EF4-FFF2-40B4-BE49-F238E27FC236}">
                  <a16:creationId xmlns:a16="http://schemas.microsoft.com/office/drawing/2014/main" id="{00D787A1-950F-187C-E0F2-CCD9D0115FC1}"/>
                </a:ext>
              </a:extLst>
            </p:cNvPr>
            <p:cNvSpPr/>
            <p:nvPr/>
          </p:nvSpPr>
          <p:spPr>
            <a:xfrm flipV="1">
              <a:off x="-5452846" y="1557978"/>
              <a:ext cx="1136476" cy="524519"/>
            </a:xfrm>
            <a:custGeom>
              <a:avLst/>
              <a:gdLst>
                <a:gd name="connsiteX0" fmla="*/ 103570 w 224310"/>
                <a:gd name="connsiteY0" fmla="*/ 103528 h 103527"/>
                <a:gd name="connsiteX1" fmla="*/ 189801 w 224310"/>
                <a:gd name="connsiteY1" fmla="*/ 103528 h 103527"/>
                <a:gd name="connsiteX2" fmla="*/ 224310 w 224310"/>
                <a:gd name="connsiteY2" fmla="*/ 0 h 103527"/>
                <a:gd name="connsiteX3" fmla="*/ 0 w 224310"/>
                <a:gd name="connsiteY3" fmla="*/ 0 h 103527"/>
                <a:gd name="connsiteX4" fmla="*/ 103528 w 224310"/>
                <a:gd name="connsiteY4" fmla="*/ 103528 h 1035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24310" h="103527">
                  <a:moveTo>
                    <a:pt x="103570" y="103528"/>
                  </a:moveTo>
                  <a:lnTo>
                    <a:pt x="189801" y="103528"/>
                  </a:lnTo>
                  <a:lnTo>
                    <a:pt x="224310" y="0"/>
                  </a:lnTo>
                  <a:lnTo>
                    <a:pt x="0" y="0"/>
                  </a:lnTo>
                  <a:cubicBezTo>
                    <a:pt x="0" y="57204"/>
                    <a:pt x="46367" y="103528"/>
                    <a:pt x="103528" y="103528"/>
                  </a:cubicBezTo>
                  <a:close/>
                </a:path>
              </a:pathLst>
            </a:custGeom>
            <a:grpFill/>
            <a:ln w="42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 noProof="0" dirty="0"/>
            </a:p>
          </p:txBody>
        </p:sp>
        <p:sp>
          <p:nvSpPr>
            <p:cNvPr id="22" name="Forma livre: Forma 21">
              <a:extLst>
                <a:ext uri="{FF2B5EF4-FFF2-40B4-BE49-F238E27FC236}">
                  <a16:creationId xmlns:a16="http://schemas.microsoft.com/office/drawing/2014/main" id="{9299FB21-22E2-5606-71C2-2E4E1ABA6614}"/>
                </a:ext>
              </a:extLst>
            </p:cNvPr>
            <p:cNvSpPr/>
            <p:nvPr/>
          </p:nvSpPr>
          <p:spPr>
            <a:xfrm flipH="1">
              <a:off x="3533801" y="1557978"/>
              <a:ext cx="1136476" cy="524519"/>
            </a:xfrm>
            <a:custGeom>
              <a:avLst/>
              <a:gdLst>
                <a:gd name="connsiteX0" fmla="*/ 103570 w 224310"/>
                <a:gd name="connsiteY0" fmla="*/ 103528 h 103527"/>
                <a:gd name="connsiteX1" fmla="*/ 189801 w 224310"/>
                <a:gd name="connsiteY1" fmla="*/ 103528 h 103527"/>
                <a:gd name="connsiteX2" fmla="*/ 224310 w 224310"/>
                <a:gd name="connsiteY2" fmla="*/ 0 h 103527"/>
                <a:gd name="connsiteX3" fmla="*/ 0 w 224310"/>
                <a:gd name="connsiteY3" fmla="*/ 0 h 103527"/>
                <a:gd name="connsiteX4" fmla="*/ 103528 w 224310"/>
                <a:gd name="connsiteY4" fmla="*/ 103528 h 1035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24310" h="103527">
                  <a:moveTo>
                    <a:pt x="103570" y="103528"/>
                  </a:moveTo>
                  <a:lnTo>
                    <a:pt x="189801" y="103528"/>
                  </a:lnTo>
                  <a:lnTo>
                    <a:pt x="224310" y="0"/>
                  </a:lnTo>
                  <a:lnTo>
                    <a:pt x="0" y="0"/>
                  </a:lnTo>
                  <a:cubicBezTo>
                    <a:pt x="0" y="57204"/>
                    <a:pt x="46367" y="103528"/>
                    <a:pt x="103528" y="103528"/>
                  </a:cubicBezTo>
                  <a:close/>
                </a:path>
              </a:pathLst>
            </a:custGeom>
            <a:grpFill/>
            <a:ln w="42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 noProof="0" dirty="0"/>
            </a:p>
          </p:txBody>
        </p:sp>
      </p:grpSp>
      <p:sp>
        <p:nvSpPr>
          <p:cNvPr id="23" name="Título 6">
            <a:extLst>
              <a:ext uri="{FF2B5EF4-FFF2-40B4-BE49-F238E27FC236}">
                <a16:creationId xmlns:a16="http://schemas.microsoft.com/office/drawing/2014/main" id="{9577E2A8-605D-F892-9547-540674305A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3185" y="393484"/>
            <a:ext cx="10403632" cy="712204"/>
          </a:xfrm>
        </p:spPr>
        <p:txBody>
          <a:bodyPr>
            <a:normAutofit/>
          </a:bodyPr>
          <a:lstStyle>
            <a:lvl1pPr>
              <a:defRPr sz="3200"/>
            </a:lvl1pPr>
          </a:lstStyle>
          <a:p>
            <a:r>
              <a:rPr lang="es-ES" noProof="0" dirty="0"/>
              <a:t>Insertar título de la </a:t>
            </a:r>
            <a:r>
              <a:rPr lang="es-ES" noProof="0" dirty="0" err="1"/>
              <a:t>slide</a:t>
            </a:r>
            <a:endParaRPr lang="es-ES" noProof="0" dirty="0"/>
          </a:p>
        </p:txBody>
      </p:sp>
      <p:sp>
        <p:nvSpPr>
          <p:cNvPr id="24" name="Marcador de Posição do Texto 8">
            <a:extLst>
              <a:ext uri="{FF2B5EF4-FFF2-40B4-BE49-F238E27FC236}">
                <a16:creationId xmlns:a16="http://schemas.microsoft.com/office/drawing/2014/main" id="{1F2F8605-D146-5242-835B-82FD16F277C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11932" y="976901"/>
            <a:ext cx="10404413" cy="355243"/>
          </a:xfrm>
        </p:spPr>
        <p:txBody>
          <a:bodyPr>
            <a:normAutofit/>
          </a:bodyPr>
          <a:lstStyle>
            <a:lvl1pPr>
              <a:defRPr sz="200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s-ES" noProof="0" dirty="0"/>
              <a:t>Insertar subtítulo de la </a:t>
            </a:r>
            <a:r>
              <a:rPr lang="es-ES" noProof="0" dirty="0" err="1"/>
              <a:t>slide</a:t>
            </a:r>
            <a:endParaRPr lang="es-ES" noProof="0" dirty="0"/>
          </a:p>
        </p:txBody>
      </p:sp>
      <p:sp>
        <p:nvSpPr>
          <p:cNvPr id="25" name="Marcador de Posição do Texto 10">
            <a:extLst>
              <a:ext uri="{FF2B5EF4-FFF2-40B4-BE49-F238E27FC236}">
                <a16:creationId xmlns:a16="http://schemas.microsoft.com/office/drawing/2014/main" id="{0068DF58-C167-2F9B-0001-410BEF959D22}"/>
              </a:ext>
            </a:extLst>
          </p:cNvPr>
          <p:cNvSpPr>
            <a:spLocks noGrp="1"/>
          </p:cNvSpPr>
          <p:nvPr>
            <p:ph type="body" sz="quarter" idx="83" hasCustomPrompt="1"/>
          </p:nvPr>
        </p:nvSpPr>
        <p:spPr>
          <a:xfrm>
            <a:off x="1312943" y="5033450"/>
            <a:ext cx="1374542" cy="277008"/>
          </a:xfrm>
        </p:spPr>
        <p:txBody>
          <a:bodyPr anchor="t">
            <a:noAutofit/>
          </a:bodyPr>
          <a:lstStyle>
            <a:lvl1pPr algn="ctr">
              <a:spcBef>
                <a:spcPts val="600"/>
              </a:spcBef>
              <a:defRPr sz="1200">
                <a:solidFill>
                  <a:schemeClr val="tx2"/>
                </a:solidFill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es-ES" noProof="0" dirty="0"/>
              <a:t>Cargo</a:t>
            </a:r>
          </a:p>
        </p:txBody>
      </p:sp>
      <p:sp>
        <p:nvSpPr>
          <p:cNvPr id="26" name="Marcador de Posição do Texto 10">
            <a:extLst>
              <a:ext uri="{FF2B5EF4-FFF2-40B4-BE49-F238E27FC236}">
                <a16:creationId xmlns:a16="http://schemas.microsoft.com/office/drawing/2014/main" id="{175D01AE-310A-BF44-474C-E5D8E216522F}"/>
              </a:ext>
            </a:extLst>
          </p:cNvPr>
          <p:cNvSpPr>
            <a:spLocks noGrp="1"/>
          </p:cNvSpPr>
          <p:nvPr>
            <p:ph type="body" sz="quarter" idx="89" hasCustomPrompt="1"/>
          </p:nvPr>
        </p:nvSpPr>
        <p:spPr>
          <a:xfrm>
            <a:off x="1264948" y="4774133"/>
            <a:ext cx="1470532" cy="225517"/>
          </a:xfrm>
        </p:spPr>
        <p:txBody>
          <a:bodyPr anchor="t">
            <a:noAutofit/>
          </a:bodyPr>
          <a:lstStyle>
            <a:lvl1pPr algn="ctr">
              <a:spcBef>
                <a:spcPts val="600"/>
              </a:spcBef>
              <a:defRPr sz="1200" b="1">
                <a:solidFill>
                  <a:schemeClr val="tx2"/>
                </a:solidFill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es-ES" noProof="0" dirty="0"/>
              <a:t>Nombre</a:t>
            </a:r>
          </a:p>
        </p:txBody>
      </p:sp>
      <p:sp>
        <p:nvSpPr>
          <p:cNvPr id="27" name="Marcador de Posição do Texto 10">
            <a:extLst>
              <a:ext uri="{FF2B5EF4-FFF2-40B4-BE49-F238E27FC236}">
                <a16:creationId xmlns:a16="http://schemas.microsoft.com/office/drawing/2014/main" id="{EB37E2CA-43D8-A4A5-B75D-7EAEDC19B923}"/>
              </a:ext>
            </a:extLst>
          </p:cNvPr>
          <p:cNvSpPr>
            <a:spLocks noGrp="1"/>
          </p:cNvSpPr>
          <p:nvPr>
            <p:ph type="body" sz="quarter" idx="90" hasCustomPrompt="1"/>
          </p:nvPr>
        </p:nvSpPr>
        <p:spPr>
          <a:xfrm>
            <a:off x="2924676" y="5033450"/>
            <a:ext cx="1374542" cy="277008"/>
          </a:xfrm>
        </p:spPr>
        <p:txBody>
          <a:bodyPr anchor="t">
            <a:noAutofit/>
          </a:bodyPr>
          <a:lstStyle>
            <a:lvl1pPr algn="ctr">
              <a:spcBef>
                <a:spcPts val="600"/>
              </a:spcBef>
              <a:defRPr sz="1200">
                <a:solidFill>
                  <a:schemeClr val="tx2"/>
                </a:solidFill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es-ES" noProof="0" dirty="0"/>
              <a:t>Cargo</a:t>
            </a:r>
          </a:p>
        </p:txBody>
      </p:sp>
      <p:sp>
        <p:nvSpPr>
          <p:cNvPr id="28" name="Marcador de Posição do Texto 10">
            <a:extLst>
              <a:ext uri="{FF2B5EF4-FFF2-40B4-BE49-F238E27FC236}">
                <a16:creationId xmlns:a16="http://schemas.microsoft.com/office/drawing/2014/main" id="{E108517C-F896-EB0C-A943-1020875708BD}"/>
              </a:ext>
            </a:extLst>
          </p:cNvPr>
          <p:cNvSpPr>
            <a:spLocks noGrp="1"/>
          </p:cNvSpPr>
          <p:nvPr>
            <p:ph type="body" sz="quarter" idx="91" hasCustomPrompt="1"/>
          </p:nvPr>
        </p:nvSpPr>
        <p:spPr>
          <a:xfrm>
            <a:off x="2876681" y="4774133"/>
            <a:ext cx="1470532" cy="225517"/>
          </a:xfrm>
        </p:spPr>
        <p:txBody>
          <a:bodyPr anchor="t">
            <a:noAutofit/>
          </a:bodyPr>
          <a:lstStyle>
            <a:lvl1pPr algn="ctr">
              <a:spcBef>
                <a:spcPts val="600"/>
              </a:spcBef>
              <a:defRPr sz="1200" b="1">
                <a:solidFill>
                  <a:schemeClr val="tx2"/>
                </a:solidFill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es-ES" noProof="0" dirty="0"/>
              <a:t>Nombre</a:t>
            </a:r>
          </a:p>
        </p:txBody>
      </p:sp>
      <p:sp>
        <p:nvSpPr>
          <p:cNvPr id="29" name="Marcador de Posição do Texto 10">
            <a:extLst>
              <a:ext uri="{FF2B5EF4-FFF2-40B4-BE49-F238E27FC236}">
                <a16:creationId xmlns:a16="http://schemas.microsoft.com/office/drawing/2014/main" id="{3F5C3B58-22D3-A70F-20FD-A76A88DB2D47}"/>
              </a:ext>
            </a:extLst>
          </p:cNvPr>
          <p:cNvSpPr>
            <a:spLocks noGrp="1"/>
          </p:cNvSpPr>
          <p:nvPr>
            <p:ph type="body" sz="quarter" idx="92" hasCustomPrompt="1"/>
          </p:nvPr>
        </p:nvSpPr>
        <p:spPr>
          <a:xfrm>
            <a:off x="4536409" y="5033450"/>
            <a:ext cx="1374542" cy="277008"/>
          </a:xfrm>
        </p:spPr>
        <p:txBody>
          <a:bodyPr anchor="t">
            <a:noAutofit/>
          </a:bodyPr>
          <a:lstStyle>
            <a:lvl1pPr algn="ctr">
              <a:spcBef>
                <a:spcPts val="600"/>
              </a:spcBef>
              <a:defRPr sz="1200">
                <a:solidFill>
                  <a:schemeClr val="tx2"/>
                </a:solidFill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es-ES" noProof="0" dirty="0"/>
              <a:t>Cargo</a:t>
            </a:r>
          </a:p>
        </p:txBody>
      </p:sp>
      <p:sp>
        <p:nvSpPr>
          <p:cNvPr id="30" name="Marcador de Posição do Texto 10">
            <a:extLst>
              <a:ext uri="{FF2B5EF4-FFF2-40B4-BE49-F238E27FC236}">
                <a16:creationId xmlns:a16="http://schemas.microsoft.com/office/drawing/2014/main" id="{F54C50EB-31B3-EC44-D5DC-BCB5F48A8477}"/>
              </a:ext>
            </a:extLst>
          </p:cNvPr>
          <p:cNvSpPr>
            <a:spLocks noGrp="1"/>
          </p:cNvSpPr>
          <p:nvPr>
            <p:ph type="body" sz="quarter" idx="93" hasCustomPrompt="1"/>
          </p:nvPr>
        </p:nvSpPr>
        <p:spPr>
          <a:xfrm>
            <a:off x="4488414" y="4774133"/>
            <a:ext cx="1470532" cy="225517"/>
          </a:xfrm>
        </p:spPr>
        <p:txBody>
          <a:bodyPr anchor="t">
            <a:noAutofit/>
          </a:bodyPr>
          <a:lstStyle>
            <a:lvl1pPr algn="ctr">
              <a:spcBef>
                <a:spcPts val="600"/>
              </a:spcBef>
              <a:defRPr sz="1200" b="1">
                <a:solidFill>
                  <a:schemeClr val="tx2"/>
                </a:solidFill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es-ES" noProof="0" dirty="0"/>
              <a:t>Nombre</a:t>
            </a:r>
          </a:p>
        </p:txBody>
      </p:sp>
      <p:sp>
        <p:nvSpPr>
          <p:cNvPr id="31" name="Marcador de Posição do Texto 10">
            <a:extLst>
              <a:ext uri="{FF2B5EF4-FFF2-40B4-BE49-F238E27FC236}">
                <a16:creationId xmlns:a16="http://schemas.microsoft.com/office/drawing/2014/main" id="{05949441-F478-8559-CBAF-4A7760A22ECA}"/>
              </a:ext>
            </a:extLst>
          </p:cNvPr>
          <p:cNvSpPr>
            <a:spLocks noGrp="1"/>
          </p:cNvSpPr>
          <p:nvPr>
            <p:ph type="body" sz="quarter" idx="94" hasCustomPrompt="1"/>
          </p:nvPr>
        </p:nvSpPr>
        <p:spPr>
          <a:xfrm>
            <a:off x="6196137" y="5033450"/>
            <a:ext cx="1374542" cy="277008"/>
          </a:xfrm>
        </p:spPr>
        <p:txBody>
          <a:bodyPr anchor="t">
            <a:noAutofit/>
          </a:bodyPr>
          <a:lstStyle>
            <a:lvl1pPr algn="ctr">
              <a:spcBef>
                <a:spcPts val="600"/>
              </a:spcBef>
              <a:defRPr sz="1200">
                <a:solidFill>
                  <a:schemeClr val="tx2"/>
                </a:solidFill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es-ES" noProof="0" dirty="0"/>
              <a:t>Cargo</a:t>
            </a:r>
          </a:p>
        </p:txBody>
      </p:sp>
      <p:sp>
        <p:nvSpPr>
          <p:cNvPr id="32" name="Marcador de Posição do Texto 10">
            <a:extLst>
              <a:ext uri="{FF2B5EF4-FFF2-40B4-BE49-F238E27FC236}">
                <a16:creationId xmlns:a16="http://schemas.microsoft.com/office/drawing/2014/main" id="{1CAE0AF6-4CF5-D386-1033-03E49698E710}"/>
              </a:ext>
            </a:extLst>
          </p:cNvPr>
          <p:cNvSpPr>
            <a:spLocks noGrp="1"/>
          </p:cNvSpPr>
          <p:nvPr>
            <p:ph type="body" sz="quarter" idx="95" hasCustomPrompt="1"/>
          </p:nvPr>
        </p:nvSpPr>
        <p:spPr>
          <a:xfrm>
            <a:off x="6148142" y="4774133"/>
            <a:ext cx="1470532" cy="225517"/>
          </a:xfrm>
        </p:spPr>
        <p:txBody>
          <a:bodyPr anchor="t">
            <a:noAutofit/>
          </a:bodyPr>
          <a:lstStyle>
            <a:lvl1pPr algn="ctr">
              <a:spcBef>
                <a:spcPts val="600"/>
              </a:spcBef>
              <a:defRPr sz="1200" b="1">
                <a:solidFill>
                  <a:schemeClr val="tx2"/>
                </a:solidFill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es-ES" noProof="0" dirty="0"/>
              <a:t>Nombre</a:t>
            </a:r>
          </a:p>
        </p:txBody>
      </p:sp>
      <p:sp>
        <p:nvSpPr>
          <p:cNvPr id="39" name="Marcador de Posição do Texto 10">
            <a:extLst>
              <a:ext uri="{FF2B5EF4-FFF2-40B4-BE49-F238E27FC236}">
                <a16:creationId xmlns:a16="http://schemas.microsoft.com/office/drawing/2014/main" id="{DB3AAEFA-41A6-3D2B-80D0-C769CD8E40D8}"/>
              </a:ext>
            </a:extLst>
          </p:cNvPr>
          <p:cNvSpPr>
            <a:spLocks noGrp="1"/>
          </p:cNvSpPr>
          <p:nvPr>
            <p:ph type="body" sz="quarter" idx="81" hasCustomPrompt="1"/>
          </p:nvPr>
        </p:nvSpPr>
        <p:spPr>
          <a:xfrm>
            <a:off x="7554059" y="5540909"/>
            <a:ext cx="3286788" cy="291021"/>
          </a:xfrm>
        </p:spPr>
        <p:txBody>
          <a:bodyPr anchor="ctr">
            <a:noAutofit/>
          </a:bodyPr>
          <a:lstStyle>
            <a:lvl1pPr algn="ctr">
              <a:spcBef>
                <a:spcPts val="600"/>
              </a:spcBef>
              <a:defRPr lang="pt-PT" sz="1200" kern="1200" cap="all" baseline="0" dirty="0">
                <a:solidFill>
                  <a:srgbClr val="00FF94"/>
                </a:solidFill>
                <a:latin typeface="+mj-lt"/>
                <a:ea typeface="+mn-ea"/>
                <a:cs typeface="+mn-cs"/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es-ES" noProof="0" dirty="0"/>
              <a:t>AREA</a:t>
            </a:r>
          </a:p>
        </p:txBody>
      </p:sp>
      <p:sp>
        <p:nvSpPr>
          <p:cNvPr id="40" name="Marcador de Posição do Texto 10">
            <a:extLst>
              <a:ext uri="{FF2B5EF4-FFF2-40B4-BE49-F238E27FC236}">
                <a16:creationId xmlns:a16="http://schemas.microsoft.com/office/drawing/2014/main" id="{F6745C66-1214-4D87-691C-66D64C70CC8F}"/>
              </a:ext>
            </a:extLst>
          </p:cNvPr>
          <p:cNvSpPr>
            <a:spLocks noGrp="1"/>
          </p:cNvSpPr>
          <p:nvPr>
            <p:ph type="body" sz="quarter" idx="96" hasCustomPrompt="1"/>
          </p:nvPr>
        </p:nvSpPr>
        <p:spPr>
          <a:xfrm>
            <a:off x="1013495" y="4250194"/>
            <a:ext cx="1374542" cy="277008"/>
          </a:xfrm>
        </p:spPr>
        <p:txBody>
          <a:bodyPr anchor="t">
            <a:noAutofit/>
          </a:bodyPr>
          <a:lstStyle>
            <a:lvl1pPr algn="ctr">
              <a:spcBef>
                <a:spcPts val="600"/>
              </a:spcBef>
              <a:defRPr sz="1200">
                <a:solidFill>
                  <a:schemeClr val="tx2"/>
                </a:solidFill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es-ES" noProof="0" dirty="0"/>
              <a:t>Cargo</a:t>
            </a:r>
          </a:p>
        </p:txBody>
      </p:sp>
      <p:sp>
        <p:nvSpPr>
          <p:cNvPr id="41" name="Marcador de Posição do Texto 10">
            <a:extLst>
              <a:ext uri="{FF2B5EF4-FFF2-40B4-BE49-F238E27FC236}">
                <a16:creationId xmlns:a16="http://schemas.microsoft.com/office/drawing/2014/main" id="{33D54A7C-F8DF-2917-59EE-E750169BB1D0}"/>
              </a:ext>
            </a:extLst>
          </p:cNvPr>
          <p:cNvSpPr>
            <a:spLocks noGrp="1"/>
          </p:cNvSpPr>
          <p:nvPr>
            <p:ph type="body" sz="quarter" idx="97" hasCustomPrompt="1"/>
          </p:nvPr>
        </p:nvSpPr>
        <p:spPr>
          <a:xfrm>
            <a:off x="965500" y="3990877"/>
            <a:ext cx="1470532" cy="225517"/>
          </a:xfrm>
        </p:spPr>
        <p:txBody>
          <a:bodyPr anchor="t">
            <a:noAutofit/>
          </a:bodyPr>
          <a:lstStyle>
            <a:lvl1pPr algn="ctr">
              <a:spcBef>
                <a:spcPts val="600"/>
              </a:spcBef>
              <a:defRPr sz="1200" b="1">
                <a:solidFill>
                  <a:schemeClr val="tx2"/>
                </a:solidFill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es-ES" noProof="0" dirty="0"/>
              <a:t>Nombre</a:t>
            </a:r>
          </a:p>
        </p:txBody>
      </p:sp>
      <p:sp>
        <p:nvSpPr>
          <p:cNvPr id="42" name="Marcador de Posição do Texto 10">
            <a:extLst>
              <a:ext uri="{FF2B5EF4-FFF2-40B4-BE49-F238E27FC236}">
                <a16:creationId xmlns:a16="http://schemas.microsoft.com/office/drawing/2014/main" id="{29F11819-C414-BBA0-FD53-988EFA39F194}"/>
              </a:ext>
            </a:extLst>
          </p:cNvPr>
          <p:cNvSpPr>
            <a:spLocks noGrp="1"/>
          </p:cNvSpPr>
          <p:nvPr>
            <p:ph type="body" sz="quarter" idx="98" hasCustomPrompt="1"/>
          </p:nvPr>
        </p:nvSpPr>
        <p:spPr>
          <a:xfrm>
            <a:off x="2836434" y="4250194"/>
            <a:ext cx="1374542" cy="277008"/>
          </a:xfrm>
        </p:spPr>
        <p:txBody>
          <a:bodyPr anchor="t">
            <a:noAutofit/>
          </a:bodyPr>
          <a:lstStyle>
            <a:lvl1pPr algn="ctr">
              <a:spcBef>
                <a:spcPts val="600"/>
              </a:spcBef>
              <a:defRPr sz="1200">
                <a:solidFill>
                  <a:schemeClr val="tx2"/>
                </a:solidFill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es-ES" noProof="0" dirty="0"/>
              <a:t>Cargo</a:t>
            </a:r>
          </a:p>
        </p:txBody>
      </p:sp>
      <p:sp>
        <p:nvSpPr>
          <p:cNvPr id="43" name="Marcador de Posição do Texto 10">
            <a:extLst>
              <a:ext uri="{FF2B5EF4-FFF2-40B4-BE49-F238E27FC236}">
                <a16:creationId xmlns:a16="http://schemas.microsoft.com/office/drawing/2014/main" id="{599CD6AF-567F-70B5-A0C8-7D57F5DFC284}"/>
              </a:ext>
            </a:extLst>
          </p:cNvPr>
          <p:cNvSpPr>
            <a:spLocks noGrp="1"/>
          </p:cNvSpPr>
          <p:nvPr>
            <p:ph type="body" sz="quarter" idx="99" hasCustomPrompt="1"/>
          </p:nvPr>
        </p:nvSpPr>
        <p:spPr>
          <a:xfrm>
            <a:off x="2788439" y="3990877"/>
            <a:ext cx="1470532" cy="225517"/>
          </a:xfrm>
        </p:spPr>
        <p:txBody>
          <a:bodyPr anchor="t">
            <a:noAutofit/>
          </a:bodyPr>
          <a:lstStyle>
            <a:lvl1pPr algn="ctr">
              <a:spcBef>
                <a:spcPts val="600"/>
              </a:spcBef>
              <a:defRPr sz="1200" b="1">
                <a:solidFill>
                  <a:schemeClr val="tx2"/>
                </a:solidFill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es-ES" noProof="0" dirty="0"/>
              <a:t>Nombre</a:t>
            </a:r>
          </a:p>
        </p:txBody>
      </p:sp>
      <p:sp>
        <p:nvSpPr>
          <p:cNvPr id="44" name="Marcador de Posição do Texto 10">
            <a:extLst>
              <a:ext uri="{FF2B5EF4-FFF2-40B4-BE49-F238E27FC236}">
                <a16:creationId xmlns:a16="http://schemas.microsoft.com/office/drawing/2014/main" id="{CAA98261-4A36-F818-BEF9-6F91E010C4BE}"/>
              </a:ext>
            </a:extLst>
          </p:cNvPr>
          <p:cNvSpPr>
            <a:spLocks noGrp="1"/>
          </p:cNvSpPr>
          <p:nvPr>
            <p:ph type="body" sz="quarter" idx="100" hasCustomPrompt="1"/>
          </p:nvPr>
        </p:nvSpPr>
        <p:spPr>
          <a:xfrm>
            <a:off x="4354961" y="4250194"/>
            <a:ext cx="1374542" cy="277008"/>
          </a:xfrm>
        </p:spPr>
        <p:txBody>
          <a:bodyPr anchor="t">
            <a:noAutofit/>
          </a:bodyPr>
          <a:lstStyle>
            <a:lvl1pPr algn="ctr">
              <a:spcBef>
                <a:spcPts val="600"/>
              </a:spcBef>
              <a:defRPr sz="1200">
                <a:solidFill>
                  <a:schemeClr val="tx2"/>
                </a:solidFill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es-ES" noProof="0" dirty="0"/>
              <a:t>Cargo</a:t>
            </a:r>
          </a:p>
        </p:txBody>
      </p:sp>
      <p:sp>
        <p:nvSpPr>
          <p:cNvPr id="45" name="Marcador de Posição do Texto 10">
            <a:extLst>
              <a:ext uri="{FF2B5EF4-FFF2-40B4-BE49-F238E27FC236}">
                <a16:creationId xmlns:a16="http://schemas.microsoft.com/office/drawing/2014/main" id="{68E82E6E-D0D1-FE5E-A24D-E5D0BF259C27}"/>
              </a:ext>
            </a:extLst>
          </p:cNvPr>
          <p:cNvSpPr>
            <a:spLocks noGrp="1"/>
          </p:cNvSpPr>
          <p:nvPr>
            <p:ph type="body" sz="quarter" idx="101" hasCustomPrompt="1"/>
          </p:nvPr>
        </p:nvSpPr>
        <p:spPr>
          <a:xfrm>
            <a:off x="4306966" y="3990877"/>
            <a:ext cx="1470532" cy="225517"/>
          </a:xfrm>
        </p:spPr>
        <p:txBody>
          <a:bodyPr anchor="t">
            <a:noAutofit/>
          </a:bodyPr>
          <a:lstStyle>
            <a:lvl1pPr algn="ctr">
              <a:spcBef>
                <a:spcPts val="600"/>
              </a:spcBef>
              <a:defRPr sz="1200" b="1">
                <a:solidFill>
                  <a:schemeClr val="tx2"/>
                </a:solidFill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es-ES" noProof="0" dirty="0"/>
              <a:t>Nombre</a:t>
            </a:r>
          </a:p>
        </p:txBody>
      </p:sp>
      <p:sp>
        <p:nvSpPr>
          <p:cNvPr id="46" name="Marcador de Posição do Texto 10">
            <a:extLst>
              <a:ext uri="{FF2B5EF4-FFF2-40B4-BE49-F238E27FC236}">
                <a16:creationId xmlns:a16="http://schemas.microsoft.com/office/drawing/2014/main" id="{1D334D6E-438C-3D8E-5CB5-5412EF346B07}"/>
              </a:ext>
            </a:extLst>
          </p:cNvPr>
          <p:cNvSpPr>
            <a:spLocks noGrp="1"/>
          </p:cNvSpPr>
          <p:nvPr>
            <p:ph type="body" sz="quarter" idx="102" hasCustomPrompt="1"/>
          </p:nvPr>
        </p:nvSpPr>
        <p:spPr>
          <a:xfrm>
            <a:off x="5873488" y="4250194"/>
            <a:ext cx="1374542" cy="277008"/>
          </a:xfrm>
        </p:spPr>
        <p:txBody>
          <a:bodyPr anchor="t">
            <a:noAutofit/>
          </a:bodyPr>
          <a:lstStyle>
            <a:lvl1pPr algn="ctr">
              <a:spcBef>
                <a:spcPts val="600"/>
              </a:spcBef>
              <a:defRPr sz="1200">
                <a:solidFill>
                  <a:schemeClr val="tx2"/>
                </a:solidFill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es-ES" noProof="0" dirty="0"/>
              <a:t>Cargo</a:t>
            </a:r>
          </a:p>
        </p:txBody>
      </p:sp>
      <p:sp>
        <p:nvSpPr>
          <p:cNvPr id="47" name="Marcador de Posição do Texto 10">
            <a:extLst>
              <a:ext uri="{FF2B5EF4-FFF2-40B4-BE49-F238E27FC236}">
                <a16:creationId xmlns:a16="http://schemas.microsoft.com/office/drawing/2014/main" id="{2FC82C34-189A-D900-F8E7-BCD6FBD35C6F}"/>
              </a:ext>
            </a:extLst>
          </p:cNvPr>
          <p:cNvSpPr>
            <a:spLocks noGrp="1"/>
          </p:cNvSpPr>
          <p:nvPr>
            <p:ph type="body" sz="quarter" idx="103" hasCustomPrompt="1"/>
          </p:nvPr>
        </p:nvSpPr>
        <p:spPr>
          <a:xfrm>
            <a:off x="5825493" y="3990877"/>
            <a:ext cx="1470532" cy="225517"/>
          </a:xfrm>
        </p:spPr>
        <p:txBody>
          <a:bodyPr anchor="t">
            <a:noAutofit/>
          </a:bodyPr>
          <a:lstStyle>
            <a:lvl1pPr algn="ctr">
              <a:spcBef>
                <a:spcPts val="600"/>
              </a:spcBef>
              <a:defRPr sz="1200" b="1">
                <a:solidFill>
                  <a:schemeClr val="tx2"/>
                </a:solidFill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es-ES" noProof="0" dirty="0"/>
              <a:t>Nombre</a:t>
            </a:r>
          </a:p>
        </p:txBody>
      </p:sp>
      <p:sp>
        <p:nvSpPr>
          <p:cNvPr id="48" name="Marcador de Posição do Texto 10">
            <a:extLst>
              <a:ext uri="{FF2B5EF4-FFF2-40B4-BE49-F238E27FC236}">
                <a16:creationId xmlns:a16="http://schemas.microsoft.com/office/drawing/2014/main" id="{8DC44F17-4110-9E61-3986-68DC108B0706}"/>
              </a:ext>
            </a:extLst>
          </p:cNvPr>
          <p:cNvSpPr>
            <a:spLocks noGrp="1"/>
          </p:cNvSpPr>
          <p:nvPr>
            <p:ph type="body" sz="quarter" idx="104" hasCustomPrompt="1"/>
          </p:nvPr>
        </p:nvSpPr>
        <p:spPr>
          <a:xfrm>
            <a:off x="9042279" y="3575558"/>
            <a:ext cx="1374542" cy="277008"/>
          </a:xfrm>
        </p:spPr>
        <p:txBody>
          <a:bodyPr anchor="t">
            <a:noAutofit/>
          </a:bodyPr>
          <a:lstStyle>
            <a:lvl1pPr algn="ctr">
              <a:spcBef>
                <a:spcPts val="600"/>
              </a:spcBef>
              <a:defRPr sz="1200">
                <a:solidFill>
                  <a:schemeClr val="tx2"/>
                </a:solidFill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es-ES" noProof="0" dirty="0"/>
              <a:t>Cargo</a:t>
            </a:r>
          </a:p>
        </p:txBody>
      </p:sp>
      <p:sp>
        <p:nvSpPr>
          <p:cNvPr id="49" name="Marcador de Posição do Texto 10">
            <a:extLst>
              <a:ext uri="{FF2B5EF4-FFF2-40B4-BE49-F238E27FC236}">
                <a16:creationId xmlns:a16="http://schemas.microsoft.com/office/drawing/2014/main" id="{2F3EA32E-D001-FE82-4941-48AB01D22805}"/>
              </a:ext>
            </a:extLst>
          </p:cNvPr>
          <p:cNvSpPr>
            <a:spLocks noGrp="1"/>
          </p:cNvSpPr>
          <p:nvPr>
            <p:ph type="body" sz="quarter" idx="105" hasCustomPrompt="1"/>
          </p:nvPr>
        </p:nvSpPr>
        <p:spPr>
          <a:xfrm>
            <a:off x="8994284" y="3316241"/>
            <a:ext cx="1470532" cy="225517"/>
          </a:xfrm>
        </p:spPr>
        <p:txBody>
          <a:bodyPr anchor="t">
            <a:noAutofit/>
          </a:bodyPr>
          <a:lstStyle>
            <a:lvl1pPr algn="ctr">
              <a:spcBef>
                <a:spcPts val="600"/>
              </a:spcBef>
              <a:defRPr sz="1200" b="1">
                <a:solidFill>
                  <a:schemeClr val="tx2"/>
                </a:solidFill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es-ES" noProof="0" dirty="0"/>
              <a:t>Nome</a:t>
            </a:r>
          </a:p>
        </p:txBody>
      </p:sp>
      <p:sp>
        <p:nvSpPr>
          <p:cNvPr id="50" name="Marcador de Posição do Texto 10">
            <a:extLst>
              <a:ext uri="{FF2B5EF4-FFF2-40B4-BE49-F238E27FC236}">
                <a16:creationId xmlns:a16="http://schemas.microsoft.com/office/drawing/2014/main" id="{74B5AC08-7F02-7A96-BC8E-DBFC82F01866}"/>
              </a:ext>
            </a:extLst>
          </p:cNvPr>
          <p:cNvSpPr>
            <a:spLocks noGrp="1"/>
          </p:cNvSpPr>
          <p:nvPr>
            <p:ph type="body" sz="quarter" idx="106" hasCustomPrompt="1"/>
          </p:nvPr>
        </p:nvSpPr>
        <p:spPr>
          <a:xfrm>
            <a:off x="7661069" y="2794399"/>
            <a:ext cx="3183709" cy="291021"/>
          </a:xfrm>
        </p:spPr>
        <p:txBody>
          <a:bodyPr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pt-PT" sz="1200" kern="1200" cap="all" baseline="0" dirty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es-ES" noProof="0" dirty="0"/>
              <a:t>AREA</a:t>
            </a:r>
          </a:p>
        </p:txBody>
      </p:sp>
      <p:sp>
        <p:nvSpPr>
          <p:cNvPr id="51" name="Marcador de Posição do Texto 10">
            <a:extLst>
              <a:ext uri="{FF2B5EF4-FFF2-40B4-BE49-F238E27FC236}">
                <a16:creationId xmlns:a16="http://schemas.microsoft.com/office/drawing/2014/main" id="{82C2B9F0-0D13-D418-5EB8-CB6405774040}"/>
              </a:ext>
            </a:extLst>
          </p:cNvPr>
          <p:cNvSpPr>
            <a:spLocks noGrp="1"/>
          </p:cNvSpPr>
          <p:nvPr>
            <p:ph type="body" sz="quarter" idx="107" hasCustomPrompt="1"/>
          </p:nvPr>
        </p:nvSpPr>
        <p:spPr>
          <a:xfrm>
            <a:off x="3045253" y="2794399"/>
            <a:ext cx="3183709" cy="291021"/>
          </a:xfrm>
        </p:spPr>
        <p:txBody>
          <a:bodyPr anchor="ctr">
            <a:noAutofit/>
          </a:bodyPr>
          <a:lstStyle>
            <a:lvl1pPr algn="l">
              <a:spcBef>
                <a:spcPts val="600"/>
              </a:spcBef>
              <a:defRPr lang="pt-PT" sz="1200" kern="1200" cap="all" baseline="0" dirty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es-ES" noProof="0" dirty="0"/>
              <a:t>AREA</a:t>
            </a:r>
          </a:p>
        </p:txBody>
      </p:sp>
      <p:sp>
        <p:nvSpPr>
          <p:cNvPr id="52" name="Marcador de Posição do Texto 10">
            <a:extLst>
              <a:ext uri="{FF2B5EF4-FFF2-40B4-BE49-F238E27FC236}">
                <a16:creationId xmlns:a16="http://schemas.microsoft.com/office/drawing/2014/main" id="{FA249206-858B-1971-6767-CE4FD8EC4A55}"/>
              </a:ext>
            </a:extLst>
          </p:cNvPr>
          <p:cNvSpPr>
            <a:spLocks noGrp="1"/>
          </p:cNvSpPr>
          <p:nvPr>
            <p:ph type="body" sz="quarter" idx="108" hasCustomPrompt="1"/>
          </p:nvPr>
        </p:nvSpPr>
        <p:spPr>
          <a:xfrm>
            <a:off x="1149718" y="2794399"/>
            <a:ext cx="1713764" cy="291021"/>
          </a:xfrm>
        </p:spPr>
        <p:txBody>
          <a:bodyPr anchor="ctr">
            <a:noAutofit/>
          </a:bodyPr>
          <a:lstStyle>
            <a:lvl1pPr algn="ctr">
              <a:spcBef>
                <a:spcPts val="600"/>
              </a:spcBef>
              <a:defRPr lang="pt-PT" sz="1200" kern="1200" cap="all" baseline="0" dirty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es-ES" noProof="0" dirty="0"/>
              <a:t>AREA</a:t>
            </a:r>
          </a:p>
        </p:txBody>
      </p:sp>
      <p:sp>
        <p:nvSpPr>
          <p:cNvPr id="53" name="Marcador de Posição do Texto 10">
            <a:extLst>
              <a:ext uri="{FF2B5EF4-FFF2-40B4-BE49-F238E27FC236}">
                <a16:creationId xmlns:a16="http://schemas.microsoft.com/office/drawing/2014/main" id="{F78CD2E5-7FAD-9742-0DCA-7CFD8FDA31CB}"/>
              </a:ext>
            </a:extLst>
          </p:cNvPr>
          <p:cNvSpPr>
            <a:spLocks noGrp="1"/>
          </p:cNvSpPr>
          <p:nvPr>
            <p:ph type="body" sz="quarter" idx="109" hasCustomPrompt="1"/>
          </p:nvPr>
        </p:nvSpPr>
        <p:spPr>
          <a:xfrm>
            <a:off x="6102931" y="2347771"/>
            <a:ext cx="1374542" cy="277008"/>
          </a:xfrm>
        </p:spPr>
        <p:txBody>
          <a:bodyPr anchor="t">
            <a:noAutofit/>
          </a:bodyPr>
          <a:lstStyle>
            <a:lvl1pPr algn="ctr">
              <a:spcBef>
                <a:spcPts val="600"/>
              </a:spcBef>
              <a:defRPr sz="1200">
                <a:solidFill>
                  <a:schemeClr val="tx2"/>
                </a:solidFill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es-ES" noProof="0" dirty="0"/>
              <a:t>Cargo</a:t>
            </a:r>
          </a:p>
        </p:txBody>
      </p:sp>
      <p:sp>
        <p:nvSpPr>
          <p:cNvPr id="54" name="Marcador de Posição do Texto 10">
            <a:extLst>
              <a:ext uri="{FF2B5EF4-FFF2-40B4-BE49-F238E27FC236}">
                <a16:creationId xmlns:a16="http://schemas.microsoft.com/office/drawing/2014/main" id="{8A70DCE9-FE64-2BE8-7D51-0DAD26733BAF}"/>
              </a:ext>
            </a:extLst>
          </p:cNvPr>
          <p:cNvSpPr>
            <a:spLocks noGrp="1"/>
          </p:cNvSpPr>
          <p:nvPr>
            <p:ph type="body" sz="quarter" idx="110" hasCustomPrompt="1"/>
          </p:nvPr>
        </p:nvSpPr>
        <p:spPr>
          <a:xfrm>
            <a:off x="6054936" y="2088454"/>
            <a:ext cx="1470532" cy="225517"/>
          </a:xfrm>
        </p:spPr>
        <p:txBody>
          <a:bodyPr anchor="t">
            <a:noAutofit/>
          </a:bodyPr>
          <a:lstStyle>
            <a:lvl1pPr algn="ctr">
              <a:spcBef>
                <a:spcPts val="600"/>
              </a:spcBef>
              <a:defRPr sz="1200" b="1">
                <a:solidFill>
                  <a:schemeClr val="tx2"/>
                </a:solidFill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es-ES" noProof="0" dirty="0"/>
              <a:t>Nombre</a:t>
            </a:r>
          </a:p>
        </p:txBody>
      </p:sp>
      <p:sp>
        <p:nvSpPr>
          <p:cNvPr id="2" name="Marcador de Posição do Texto 10">
            <a:extLst>
              <a:ext uri="{FF2B5EF4-FFF2-40B4-BE49-F238E27FC236}">
                <a16:creationId xmlns:a16="http://schemas.microsoft.com/office/drawing/2014/main" id="{5B5DFDBC-379B-6B55-08C5-98A155AF6788}"/>
              </a:ext>
            </a:extLst>
          </p:cNvPr>
          <p:cNvSpPr>
            <a:spLocks noGrp="1"/>
          </p:cNvSpPr>
          <p:nvPr>
            <p:ph type="body" sz="quarter" idx="111" hasCustomPrompt="1"/>
          </p:nvPr>
        </p:nvSpPr>
        <p:spPr>
          <a:xfrm>
            <a:off x="3065877" y="3525064"/>
            <a:ext cx="1374542" cy="277008"/>
          </a:xfrm>
        </p:spPr>
        <p:txBody>
          <a:bodyPr anchor="t">
            <a:noAutofit/>
          </a:bodyPr>
          <a:lstStyle>
            <a:lvl1pPr algn="ctr">
              <a:spcBef>
                <a:spcPts val="600"/>
              </a:spcBef>
              <a:defRPr sz="1200">
                <a:solidFill>
                  <a:schemeClr val="tx2"/>
                </a:solidFill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es-ES" noProof="0" dirty="0"/>
              <a:t>Cargo</a:t>
            </a:r>
          </a:p>
        </p:txBody>
      </p:sp>
      <p:sp>
        <p:nvSpPr>
          <p:cNvPr id="3" name="Marcador de Posição do Texto 10">
            <a:extLst>
              <a:ext uri="{FF2B5EF4-FFF2-40B4-BE49-F238E27FC236}">
                <a16:creationId xmlns:a16="http://schemas.microsoft.com/office/drawing/2014/main" id="{F83FBE96-0A5B-089D-EA77-5A81008C1E92}"/>
              </a:ext>
            </a:extLst>
          </p:cNvPr>
          <p:cNvSpPr>
            <a:spLocks noGrp="1"/>
          </p:cNvSpPr>
          <p:nvPr>
            <p:ph type="body" sz="quarter" idx="112" hasCustomPrompt="1"/>
          </p:nvPr>
        </p:nvSpPr>
        <p:spPr>
          <a:xfrm>
            <a:off x="3017882" y="3265747"/>
            <a:ext cx="1470532" cy="225517"/>
          </a:xfrm>
        </p:spPr>
        <p:txBody>
          <a:bodyPr anchor="t">
            <a:noAutofit/>
          </a:bodyPr>
          <a:lstStyle>
            <a:lvl1pPr algn="ctr">
              <a:spcBef>
                <a:spcPts val="600"/>
              </a:spcBef>
              <a:defRPr sz="1200" b="1">
                <a:solidFill>
                  <a:schemeClr val="tx2"/>
                </a:solidFill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es-ES" noProof="0" dirty="0"/>
              <a:t>Nombre</a:t>
            </a:r>
          </a:p>
        </p:txBody>
      </p:sp>
      <p:sp>
        <p:nvSpPr>
          <p:cNvPr id="4" name="Marcador de Posição do Texto 10">
            <a:extLst>
              <a:ext uri="{FF2B5EF4-FFF2-40B4-BE49-F238E27FC236}">
                <a16:creationId xmlns:a16="http://schemas.microsoft.com/office/drawing/2014/main" id="{BBBD1936-C6EA-D02D-094D-0EF3906A09B4}"/>
              </a:ext>
            </a:extLst>
          </p:cNvPr>
          <p:cNvSpPr>
            <a:spLocks noGrp="1"/>
          </p:cNvSpPr>
          <p:nvPr>
            <p:ph type="body" sz="quarter" idx="113" hasCustomPrompt="1"/>
          </p:nvPr>
        </p:nvSpPr>
        <p:spPr>
          <a:xfrm>
            <a:off x="7644605" y="4250194"/>
            <a:ext cx="1159520" cy="277008"/>
          </a:xfrm>
        </p:spPr>
        <p:txBody>
          <a:bodyPr anchor="t">
            <a:noAutofit/>
          </a:bodyPr>
          <a:lstStyle>
            <a:lvl1pPr algn="ctr">
              <a:spcBef>
                <a:spcPts val="600"/>
              </a:spcBef>
              <a:defRPr sz="1200">
                <a:solidFill>
                  <a:schemeClr val="tx2"/>
                </a:solidFill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es-ES" noProof="0" dirty="0"/>
              <a:t>Cargo</a:t>
            </a:r>
          </a:p>
        </p:txBody>
      </p:sp>
      <p:sp>
        <p:nvSpPr>
          <p:cNvPr id="5" name="Marcador de Posição do Texto 10">
            <a:extLst>
              <a:ext uri="{FF2B5EF4-FFF2-40B4-BE49-F238E27FC236}">
                <a16:creationId xmlns:a16="http://schemas.microsoft.com/office/drawing/2014/main" id="{A2FBFDF7-6254-A719-A11F-45B752D51C7A}"/>
              </a:ext>
            </a:extLst>
          </p:cNvPr>
          <p:cNvSpPr>
            <a:spLocks noGrp="1"/>
          </p:cNvSpPr>
          <p:nvPr>
            <p:ph type="body" sz="quarter" idx="114" hasCustomPrompt="1"/>
          </p:nvPr>
        </p:nvSpPr>
        <p:spPr>
          <a:xfrm>
            <a:off x="7604117" y="3990877"/>
            <a:ext cx="1240496" cy="225517"/>
          </a:xfrm>
        </p:spPr>
        <p:txBody>
          <a:bodyPr anchor="t">
            <a:noAutofit/>
          </a:bodyPr>
          <a:lstStyle>
            <a:lvl1pPr algn="ctr">
              <a:spcBef>
                <a:spcPts val="600"/>
              </a:spcBef>
              <a:defRPr sz="1200" b="1">
                <a:solidFill>
                  <a:schemeClr val="tx2"/>
                </a:solidFill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es-ES" noProof="0" dirty="0"/>
              <a:t>Nombre</a:t>
            </a:r>
          </a:p>
        </p:txBody>
      </p:sp>
      <p:sp>
        <p:nvSpPr>
          <p:cNvPr id="6" name="Marcador de Posição do Texto 10">
            <a:extLst>
              <a:ext uri="{FF2B5EF4-FFF2-40B4-BE49-F238E27FC236}">
                <a16:creationId xmlns:a16="http://schemas.microsoft.com/office/drawing/2014/main" id="{2EF59862-7987-381E-F241-71410B946996}"/>
              </a:ext>
            </a:extLst>
          </p:cNvPr>
          <p:cNvSpPr>
            <a:spLocks noGrp="1"/>
          </p:cNvSpPr>
          <p:nvPr>
            <p:ph type="body" sz="quarter" idx="115" hasCustomPrompt="1"/>
          </p:nvPr>
        </p:nvSpPr>
        <p:spPr>
          <a:xfrm>
            <a:off x="8969645" y="4250194"/>
            <a:ext cx="1159520" cy="277008"/>
          </a:xfrm>
        </p:spPr>
        <p:txBody>
          <a:bodyPr anchor="t">
            <a:noAutofit/>
          </a:bodyPr>
          <a:lstStyle>
            <a:lvl1pPr algn="ctr">
              <a:spcBef>
                <a:spcPts val="600"/>
              </a:spcBef>
              <a:defRPr sz="1200">
                <a:solidFill>
                  <a:schemeClr val="tx2"/>
                </a:solidFill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es-ES" noProof="0" dirty="0"/>
              <a:t>Cargo</a:t>
            </a:r>
          </a:p>
        </p:txBody>
      </p:sp>
      <p:sp>
        <p:nvSpPr>
          <p:cNvPr id="33" name="Marcador de Posição do Texto 10">
            <a:extLst>
              <a:ext uri="{FF2B5EF4-FFF2-40B4-BE49-F238E27FC236}">
                <a16:creationId xmlns:a16="http://schemas.microsoft.com/office/drawing/2014/main" id="{DB850267-F535-11E7-3487-07AD732C7BF8}"/>
              </a:ext>
            </a:extLst>
          </p:cNvPr>
          <p:cNvSpPr>
            <a:spLocks noGrp="1"/>
          </p:cNvSpPr>
          <p:nvPr>
            <p:ph type="body" sz="quarter" idx="116" hasCustomPrompt="1"/>
          </p:nvPr>
        </p:nvSpPr>
        <p:spPr>
          <a:xfrm>
            <a:off x="8929157" y="3990877"/>
            <a:ext cx="1240496" cy="225517"/>
          </a:xfrm>
        </p:spPr>
        <p:txBody>
          <a:bodyPr anchor="t">
            <a:noAutofit/>
          </a:bodyPr>
          <a:lstStyle>
            <a:lvl1pPr algn="ctr">
              <a:spcBef>
                <a:spcPts val="600"/>
              </a:spcBef>
              <a:defRPr sz="1200" b="1">
                <a:solidFill>
                  <a:schemeClr val="tx2"/>
                </a:solidFill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es-ES" noProof="0" dirty="0"/>
              <a:t>Nombre</a:t>
            </a:r>
          </a:p>
        </p:txBody>
      </p:sp>
      <p:sp>
        <p:nvSpPr>
          <p:cNvPr id="34" name="Marcador de Posição do Texto 10">
            <a:extLst>
              <a:ext uri="{FF2B5EF4-FFF2-40B4-BE49-F238E27FC236}">
                <a16:creationId xmlns:a16="http://schemas.microsoft.com/office/drawing/2014/main" id="{34DBA5B6-1A71-319C-0872-19C9274F374C}"/>
              </a:ext>
            </a:extLst>
          </p:cNvPr>
          <p:cNvSpPr>
            <a:spLocks noGrp="1"/>
          </p:cNvSpPr>
          <p:nvPr>
            <p:ph type="body" sz="quarter" idx="117" hasCustomPrompt="1"/>
          </p:nvPr>
        </p:nvSpPr>
        <p:spPr>
          <a:xfrm>
            <a:off x="10294685" y="4250194"/>
            <a:ext cx="1159520" cy="277008"/>
          </a:xfrm>
        </p:spPr>
        <p:txBody>
          <a:bodyPr anchor="t">
            <a:noAutofit/>
          </a:bodyPr>
          <a:lstStyle>
            <a:lvl1pPr algn="ctr">
              <a:spcBef>
                <a:spcPts val="600"/>
              </a:spcBef>
              <a:defRPr sz="1200">
                <a:solidFill>
                  <a:schemeClr val="tx2"/>
                </a:solidFill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es-ES" noProof="0" dirty="0"/>
              <a:t>Cargo</a:t>
            </a:r>
          </a:p>
        </p:txBody>
      </p:sp>
      <p:sp>
        <p:nvSpPr>
          <p:cNvPr id="35" name="Marcador de Posição do Texto 10">
            <a:extLst>
              <a:ext uri="{FF2B5EF4-FFF2-40B4-BE49-F238E27FC236}">
                <a16:creationId xmlns:a16="http://schemas.microsoft.com/office/drawing/2014/main" id="{F7725B78-E26B-8895-23BE-B9540E57FBE7}"/>
              </a:ext>
            </a:extLst>
          </p:cNvPr>
          <p:cNvSpPr>
            <a:spLocks noGrp="1"/>
          </p:cNvSpPr>
          <p:nvPr>
            <p:ph type="body" sz="quarter" idx="118" hasCustomPrompt="1"/>
          </p:nvPr>
        </p:nvSpPr>
        <p:spPr>
          <a:xfrm>
            <a:off x="10254197" y="3990877"/>
            <a:ext cx="1240496" cy="225517"/>
          </a:xfrm>
        </p:spPr>
        <p:txBody>
          <a:bodyPr anchor="t">
            <a:noAutofit/>
          </a:bodyPr>
          <a:lstStyle>
            <a:lvl1pPr algn="ctr">
              <a:spcBef>
                <a:spcPts val="600"/>
              </a:spcBef>
              <a:defRPr sz="1200" b="1">
                <a:solidFill>
                  <a:schemeClr val="tx2"/>
                </a:solidFill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es-ES" noProof="0" dirty="0"/>
              <a:t>Nombre</a:t>
            </a:r>
          </a:p>
        </p:txBody>
      </p:sp>
      <p:sp>
        <p:nvSpPr>
          <p:cNvPr id="55" name="Marcador de Posição do Rodapé 4">
            <a:extLst>
              <a:ext uri="{FF2B5EF4-FFF2-40B4-BE49-F238E27FC236}">
                <a16:creationId xmlns:a16="http://schemas.microsoft.com/office/drawing/2014/main" id="{4CE5F2DB-2AA3-4B8A-B2FA-0FEF8E87605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12762" y="6356350"/>
            <a:ext cx="534669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accent2"/>
                </a:solidFill>
              </a:defRPr>
            </a:lvl1pPr>
          </a:lstStyle>
          <a:p>
            <a:r>
              <a:rPr lang="pt-PT"/>
              <a:t>Título de la presentación</a:t>
            </a:r>
            <a:endParaRPr lang="pt-PT" dirty="0"/>
          </a:p>
        </p:txBody>
      </p:sp>
      <p:sp>
        <p:nvSpPr>
          <p:cNvPr id="56" name="Marcador de Posição do Número do Diapositivo 5">
            <a:extLst>
              <a:ext uri="{FF2B5EF4-FFF2-40B4-BE49-F238E27FC236}">
                <a16:creationId xmlns:a16="http://schemas.microsoft.com/office/drawing/2014/main" id="{379EFD8A-AAED-47A5-A3A2-9BE84A5B825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936039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accent2"/>
                </a:solidFill>
              </a:defRPr>
            </a:lvl1pPr>
          </a:lstStyle>
          <a:p>
            <a:fld id="{24A347C2-D68E-473A-8C76-1D063E4EB6E0}" type="slidenum">
              <a:rPr lang="es-ES" smtClean="0"/>
              <a:pPr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93488488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5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25E-6 0.03889 L 1.25E-6 1.85185E-6 " pathEditMode="relative" rAng="0" ptsTypes="AA">
                                      <p:cBhvr>
                                        <p:cTn id="9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944"/>
                                    </p:animMotion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25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25E-6 0.03889 L 1.25E-6 1.85185E-6 " pathEditMode="relative" rAng="0" ptsTypes="AA">
                                      <p:cBhvr>
                                        <p:cTn id="14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944"/>
                                    </p:animMotion>
                                  </p:childTnLst>
                                </p:cTn>
                              </p:par>
                              <p:par>
                                <p:cTn id="15" presetID="16" presetClass="entr" presetSubtype="37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Vertical)">
                                      <p:cBhvr>
                                        <p:cTn id="1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22" presetClass="entr" presetSubtype="8" fill="hold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0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22" presetClass="entr" presetSubtype="2" fill="hold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23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6" presetClass="entr" presetSubtype="37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Vertical)">
                                      <p:cBhvr>
                                        <p:cTn id="26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2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2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3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" dur="500"/>
                                        <p:tgtEl>
                                          <p:spTgt spid="3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1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3" dur="500"/>
                                        <p:tgtEl>
                                          <p:spTgt spid="3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4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500"/>
                                        <p:tgtEl>
                                          <p:spTgt spid="4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7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9" dur="500"/>
                                        <p:tgtEl>
                                          <p:spTgt spid="4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2" dur="500"/>
                                        <p:tgtEl>
                                          <p:spTgt spid="4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3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5" dur="500"/>
                                        <p:tgtEl>
                                          <p:spTgt spid="4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6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8" dur="500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9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1" dur="500"/>
                                        <p:tgtEl>
                                          <p:spTgt spid="4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2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4" dur="500"/>
                                        <p:tgtEl>
                                          <p:spTgt spid="4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5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7" dur="500"/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8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7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0" dur="500"/>
                                        <p:tgtEl>
                                          <p:spTgt spid="4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1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3" dur="500"/>
                                        <p:tgtEl>
                                          <p:spTgt spid="4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4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8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6" dur="500"/>
                                        <p:tgtEl>
                                          <p:spTgt spid="5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7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9" dur="500"/>
                                        <p:tgtEl>
                                          <p:spTgt spid="5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0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9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2" dur="500"/>
                                        <p:tgtEl>
                                          <p:spTgt spid="5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3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5" dur="500"/>
                                        <p:tgtEl>
                                          <p:spTgt spid="5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6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9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8" dur="500"/>
                                        <p:tgtEl>
                                          <p:spTgt spid="5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9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0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1" dur="500"/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2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0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4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5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0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7" dur="500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8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0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0" dur="500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1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3" dur="500"/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4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6" dur="500"/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7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9" dur="500"/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2" dur="500"/>
                                        <p:tgtEl>
                                          <p:spTgt spid="3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/>
      <p:bldP spid="23" grpId="1"/>
      <p:bldP spid="24" grpId="0">
        <p:tmplLst>
          <p:tmpl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250"/>
                        <p:tgtEl>
                          <p:spTgt spid="2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4" grpId="1"/>
      <p:bldP spid="25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6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7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8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9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0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1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2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9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0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1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2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3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4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5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6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7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8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9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0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5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1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5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2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5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3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5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4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5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6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3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4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5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5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9_Esquema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Imagem 116">
            <a:extLst>
              <a:ext uri="{FF2B5EF4-FFF2-40B4-BE49-F238E27FC236}">
                <a16:creationId xmlns:a16="http://schemas.microsoft.com/office/drawing/2014/main" id="{B809120A-B212-49BE-8903-A71FCD445C0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 l="12584" t="41046" r="69501" b="19713"/>
          <a:stretch>
            <a:fillRect/>
          </a:stretch>
        </p:blipFill>
        <p:spPr>
          <a:xfrm rot="5400000" flipV="1">
            <a:off x="3856502" y="3316753"/>
            <a:ext cx="1854020" cy="5228477"/>
          </a:xfrm>
          <a:prstGeom prst="rect">
            <a:avLst/>
          </a:prstGeom>
        </p:spPr>
      </p:pic>
      <p:sp>
        <p:nvSpPr>
          <p:cNvPr id="23" name="Retângulo 48">
            <a:extLst>
              <a:ext uri="{FF2B5EF4-FFF2-40B4-BE49-F238E27FC236}">
                <a16:creationId xmlns:a16="http://schemas.microsoft.com/office/drawing/2014/main" id="{6993AEA6-6902-49A0-8FA3-88D9A1A4940F}"/>
              </a:ext>
            </a:extLst>
          </p:cNvPr>
          <p:cNvSpPr/>
          <p:nvPr userDrawn="1"/>
        </p:nvSpPr>
        <p:spPr>
          <a:xfrm>
            <a:off x="0" y="1689107"/>
            <a:ext cx="2698381" cy="5168895"/>
          </a:xfrm>
          <a:prstGeom prst="rect">
            <a:avLst/>
          </a:prstGeom>
          <a:solidFill>
            <a:srgbClr val="184BF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  <p:sp>
        <p:nvSpPr>
          <p:cNvPr id="35" name="Título 6">
            <a:extLst>
              <a:ext uri="{FF2B5EF4-FFF2-40B4-BE49-F238E27FC236}">
                <a16:creationId xmlns:a16="http://schemas.microsoft.com/office/drawing/2014/main" id="{0D4D53B1-2C7A-FC33-0F7F-078FFEACB4AB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513184" y="393484"/>
            <a:ext cx="11081915" cy="712204"/>
          </a:xfrm>
        </p:spPr>
        <p:txBody>
          <a:bodyPr>
            <a:normAutofit/>
          </a:bodyPr>
          <a:lstStyle>
            <a:lvl1pPr>
              <a:defRPr sz="3200"/>
            </a:lvl1pPr>
          </a:lstStyle>
          <a:p>
            <a:r>
              <a:rPr lang="pt-PT" dirty="0"/>
              <a:t>Insertar título de la slide</a:t>
            </a:r>
          </a:p>
        </p:txBody>
      </p:sp>
      <p:sp>
        <p:nvSpPr>
          <p:cNvPr id="36" name="Marcador de Posição do Texto 8">
            <a:extLst>
              <a:ext uri="{FF2B5EF4-FFF2-40B4-BE49-F238E27FC236}">
                <a16:creationId xmlns:a16="http://schemas.microsoft.com/office/drawing/2014/main" id="{FDB75607-1161-8432-2904-007E0CE525F2}"/>
              </a:ext>
            </a:extLst>
          </p:cNvPr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511932" y="976901"/>
            <a:ext cx="11082747" cy="355243"/>
          </a:xfrm>
        </p:spPr>
        <p:txBody>
          <a:bodyPr>
            <a:normAutofit/>
          </a:bodyPr>
          <a:lstStyle>
            <a:lvl1pPr>
              <a:defRPr sz="200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pt-PT" dirty="0"/>
              <a:t>Insertar subtítulo de la slide</a:t>
            </a:r>
          </a:p>
        </p:txBody>
      </p:sp>
      <p:sp>
        <p:nvSpPr>
          <p:cNvPr id="37" name="Marcador de Posição do Texto 10">
            <a:extLst>
              <a:ext uri="{FF2B5EF4-FFF2-40B4-BE49-F238E27FC236}">
                <a16:creationId xmlns:a16="http://schemas.microsoft.com/office/drawing/2014/main" id="{AE05625A-AA6D-9121-B7DA-82F1FF2CC83E}"/>
              </a:ext>
            </a:extLst>
          </p:cNvPr>
          <p:cNvSpPr>
            <a:spLocks noGrp="1"/>
          </p:cNvSpPr>
          <p:nvPr>
            <p:ph type="body" sz="quarter" idx="87" hasCustomPrompt="1"/>
          </p:nvPr>
        </p:nvSpPr>
        <p:spPr>
          <a:xfrm>
            <a:off x="3010003" y="2077696"/>
            <a:ext cx="2767527" cy="630242"/>
          </a:xfrm>
        </p:spPr>
        <p:txBody>
          <a:bodyPr anchor="b">
            <a:noAutofit/>
          </a:bodyPr>
          <a:lstStyle>
            <a:lvl1pPr algn="l">
              <a:spcBef>
                <a:spcPts val="600"/>
              </a:spcBef>
              <a:defRPr sz="1400">
                <a:solidFill>
                  <a:schemeClr val="tx2"/>
                </a:solidFill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es-ES" dirty="0"/>
              <a:t>Haz </a:t>
            </a:r>
            <a:r>
              <a:rPr lang="es-ES" dirty="0" err="1"/>
              <a:t>click</a:t>
            </a:r>
            <a:r>
              <a:rPr lang="es-ES" dirty="0"/>
              <a:t> para editar los estilos del texto del modelo global</a:t>
            </a:r>
            <a:endParaRPr lang="pt-PT" dirty="0"/>
          </a:p>
        </p:txBody>
      </p:sp>
      <p:sp>
        <p:nvSpPr>
          <p:cNvPr id="38" name="Marcador de Posição do Texto 10">
            <a:extLst>
              <a:ext uri="{FF2B5EF4-FFF2-40B4-BE49-F238E27FC236}">
                <a16:creationId xmlns:a16="http://schemas.microsoft.com/office/drawing/2014/main" id="{C429C6A0-081C-F780-6D6F-C786E9A19776}"/>
              </a:ext>
            </a:extLst>
          </p:cNvPr>
          <p:cNvSpPr>
            <a:spLocks noGrp="1"/>
          </p:cNvSpPr>
          <p:nvPr>
            <p:ph type="body" sz="quarter" idx="88" hasCustomPrompt="1"/>
          </p:nvPr>
        </p:nvSpPr>
        <p:spPr>
          <a:xfrm>
            <a:off x="3010003" y="3369511"/>
            <a:ext cx="2767527" cy="630242"/>
          </a:xfrm>
        </p:spPr>
        <p:txBody>
          <a:bodyPr anchor="ctr">
            <a:noAutofit/>
          </a:bodyPr>
          <a:lstStyle>
            <a:lvl1pPr algn="l">
              <a:spcBef>
                <a:spcPts val="600"/>
              </a:spcBef>
              <a:defRPr sz="1400">
                <a:solidFill>
                  <a:schemeClr val="tx2"/>
                </a:solidFill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es-ES" dirty="0"/>
              <a:t>Haz </a:t>
            </a:r>
            <a:r>
              <a:rPr lang="es-ES" dirty="0" err="1"/>
              <a:t>click</a:t>
            </a:r>
            <a:r>
              <a:rPr lang="es-ES" dirty="0"/>
              <a:t> para editar los estilos del texto del modelo global</a:t>
            </a:r>
            <a:endParaRPr lang="pt-PT" dirty="0"/>
          </a:p>
        </p:txBody>
      </p:sp>
      <p:sp>
        <p:nvSpPr>
          <p:cNvPr id="39" name="Marcador de Posição do Texto 10">
            <a:extLst>
              <a:ext uri="{FF2B5EF4-FFF2-40B4-BE49-F238E27FC236}">
                <a16:creationId xmlns:a16="http://schemas.microsoft.com/office/drawing/2014/main" id="{E0F1A661-FAF8-D0B4-3942-F5C46BFE5910}"/>
              </a:ext>
            </a:extLst>
          </p:cNvPr>
          <p:cNvSpPr>
            <a:spLocks noGrp="1"/>
          </p:cNvSpPr>
          <p:nvPr>
            <p:ph type="body" sz="quarter" idx="89" hasCustomPrompt="1"/>
          </p:nvPr>
        </p:nvSpPr>
        <p:spPr>
          <a:xfrm>
            <a:off x="3010003" y="5003980"/>
            <a:ext cx="2767527" cy="630242"/>
          </a:xfrm>
        </p:spPr>
        <p:txBody>
          <a:bodyPr anchor="t">
            <a:noAutofit/>
          </a:bodyPr>
          <a:lstStyle>
            <a:lvl1pPr algn="l">
              <a:spcBef>
                <a:spcPts val="600"/>
              </a:spcBef>
              <a:defRPr sz="1400">
                <a:solidFill>
                  <a:schemeClr val="tx2"/>
                </a:solidFill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es-ES" dirty="0"/>
              <a:t>Haz </a:t>
            </a:r>
            <a:r>
              <a:rPr lang="es-ES" dirty="0" err="1"/>
              <a:t>click</a:t>
            </a:r>
            <a:r>
              <a:rPr lang="es-ES" dirty="0"/>
              <a:t> para editar los estilos del texto del modelo global</a:t>
            </a:r>
            <a:endParaRPr lang="pt-PT" dirty="0"/>
          </a:p>
        </p:txBody>
      </p:sp>
      <p:sp>
        <p:nvSpPr>
          <p:cNvPr id="40" name="Marcador de Posição do Texto 10">
            <a:extLst>
              <a:ext uri="{FF2B5EF4-FFF2-40B4-BE49-F238E27FC236}">
                <a16:creationId xmlns:a16="http://schemas.microsoft.com/office/drawing/2014/main" id="{D5E1C88C-87B6-6A01-1F55-329E42F4A79C}"/>
              </a:ext>
            </a:extLst>
          </p:cNvPr>
          <p:cNvSpPr>
            <a:spLocks noGrp="1"/>
          </p:cNvSpPr>
          <p:nvPr>
            <p:ph type="body" sz="quarter" idx="90" hasCustomPrompt="1"/>
          </p:nvPr>
        </p:nvSpPr>
        <p:spPr>
          <a:xfrm>
            <a:off x="7867809" y="2077696"/>
            <a:ext cx="1740648" cy="1237682"/>
          </a:xfrm>
        </p:spPr>
        <p:txBody>
          <a:bodyPr anchor="t">
            <a:noAutofit/>
          </a:bodyPr>
          <a:lstStyle>
            <a:lvl1pPr algn="l">
              <a:spcBef>
                <a:spcPts val="300"/>
              </a:spcBef>
              <a:defRPr sz="1200">
                <a:solidFill>
                  <a:schemeClr val="tx2"/>
                </a:solidFill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es-ES" dirty="0"/>
              <a:t>Haz </a:t>
            </a:r>
            <a:r>
              <a:rPr lang="es-ES" dirty="0" err="1"/>
              <a:t>click</a:t>
            </a:r>
            <a:r>
              <a:rPr lang="es-ES" dirty="0"/>
              <a:t> para editar los estilos del texto del modelo global</a:t>
            </a:r>
            <a:endParaRPr lang="pt-PT" dirty="0"/>
          </a:p>
        </p:txBody>
      </p:sp>
      <p:sp>
        <p:nvSpPr>
          <p:cNvPr id="43" name="Marcador de Posição do Texto 10">
            <a:extLst>
              <a:ext uri="{FF2B5EF4-FFF2-40B4-BE49-F238E27FC236}">
                <a16:creationId xmlns:a16="http://schemas.microsoft.com/office/drawing/2014/main" id="{C14C8ABF-33B0-AC41-1085-CDD6F7DA9995}"/>
              </a:ext>
            </a:extLst>
          </p:cNvPr>
          <p:cNvSpPr>
            <a:spLocks noGrp="1"/>
          </p:cNvSpPr>
          <p:nvPr>
            <p:ph type="body" sz="quarter" idx="93" hasCustomPrompt="1"/>
          </p:nvPr>
        </p:nvSpPr>
        <p:spPr>
          <a:xfrm>
            <a:off x="2950077" y="4493289"/>
            <a:ext cx="753288" cy="233235"/>
          </a:xfrm>
        </p:spPr>
        <p:txBody>
          <a:bodyPr lIns="0" tIns="0" rIns="0" bIns="0" anchor="ctr">
            <a:noAutofit/>
          </a:bodyPr>
          <a:lstStyle>
            <a:lvl1pPr algn="ctr">
              <a:spcBef>
                <a:spcPts val="600"/>
              </a:spcBef>
              <a:defRPr sz="1000">
                <a:solidFill>
                  <a:schemeClr val="tx2"/>
                </a:solidFill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pt-PT" dirty="0"/>
              <a:t>Texto</a:t>
            </a:r>
          </a:p>
        </p:txBody>
      </p:sp>
      <p:sp>
        <p:nvSpPr>
          <p:cNvPr id="44" name="Marcador de Posição do Texto 10">
            <a:extLst>
              <a:ext uri="{FF2B5EF4-FFF2-40B4-BE49-F238E27FC236}">
                <a16:creationId xmlns:a16="http://schemas.microsoft.com/office/drawing/2014/main" id="{85FDCAC9-BB51-BA91-F987-6CD51D7910DC}"/>
              </a:ext>
            </a:extLst>
          </p:cNvPr>
          <p:cNvSpPr>
            <a:spLocks noGrp="1"/>
          </p:cNvSpPr>
          <p:nvPr>
            <p:ph type="body" sz="quarter" idx="94" hasCustomPrompt="1"/>
          </p:nvPr>
        </p:nvSpPr>
        <p:spPr>
          <a:xfrm>
            <a:off x="3732913" y="4493289"/>
            <a:ext cx="753288" cy="233235"/>
          </a:xfrm>
        </p:spPr>
        <p:txBody>
          <a:bodyPr lIns="0" tIns="0" rIns="0" bIns="0" anchor="ctr">
            <a:noAutofit/>
          </a:bodyPr>
          <a:lstStyle>
            <a:lvl1pPr algn="ctr">
              <a:spcBef>
                <a:spcPts val="600"/>
              </a:spcBef>
              <a:defRPr sz="1000">
                <a:solidFill>
                  <a:schemeClr val="tx2"/>
                </a:solidFill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pt-PT" dirty="0"/>
              <a:t>Texto</a:t>
            </a:r>
          </a:p>
        </p:txBody>
      </p:sp>
      <p:sp>
        <p:nvSpPr>
          <p:cNvPr id="45" name="Marcador de Posição do Texto 10">
            <a:extLst>
              <a:ext uri="{FF2B5EF4-FFF2-40B4-BE49-F238E27FC236}">
                <a16:creationId xmlns:a16="http://schemas.microsoft.com/office/drawing/2014/main" id="{DAEE7756-9420-E845-258E-D213DB7DA256}"/>
              </a:ext>
            </a:extLst>
          </p:cNvPr>
          <p:cNvSpPr>
            <a:spLocks noGrp="1"/>
          </p:cNvSpPr>
          <p:nvPr>
            <p:ph type="body" sz="quarter" idx="95" hasCustomPrompt="1"/>
          </p:nvPr>
        </p:nvSpPr>
        <p:spPr>
          <a:xfrm>
            <a:off x="4515749" y="4493289"/>
            <a:ext cx="753288" cy="233235"/>
          </a:xfrm>
        </p:spPr>
        <p:txBody>
          <a:bodyPr lIns="0" tIns="0" rIns="0" bIns="0" anchor="ctr">
            <a:noAutofit/>
          </a:bodyPr>
          <a:lstStyle>
            <a:lvl1pPr algn="ctr">
              <a:spcBef>
                <a:spcPts val="600"/>
              </a:spcBef>
              <a:defRPr sz="1000">
                <a:solidFill>
                  <a:schemeClr val="tx2"/>
                </a:solidFill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pt-PT" dirty="0"/>
              <a:t>Texto</a:t>
            </a:r>
          </a:p>
        </p:txBody>
      </p:sp>
      <p:sp>
        <p:nvSpPr>
          <p:cNvPr id="46" name="Marcador de Posição do Texto 10">
            <a:extLst>
              <a:ext uri="{FF2B5EF4-FFF2-40B4-BE49-F238E27FC236}">
                <a16:creationId xmlns:a16="http://schemas.microsoft.com/office/drawing/2014/main" id="{1EB916B1-0380-78CC-A0EB-E56AA931DCD3}"/>
              </a:ext>
            </a:extLst>
          </p:cNvPr>
          <p:cNvSpPr>
            <a:spLocks noGrp="1"/>
          </p:cNvSpPr>
          <p:nvPr>
            <p:ph type="body" sz="quarter" idx="96" hasCustomPrompt="1"/>
          </p:nvPr>
        </p:nvSpPr>
        <p:spPr>
          <a:xfrm>
            <a:off x="5298585" y="4493289"/>
            <a:ext cx="753288" cy="233235"/>
          </a:xfrm>
        </p:spPr>
        <p:txBody>
          <a:bodyPr lIns="0" tIns="0" rIns="0" bIns="0" anchor="ctr">
            <a:noAutofit/>
          </a:bodyPr>
          <a:lstStyle>
            <a:lvl1pPr algn="ctr">
              <a:spcBef>
                <a:spcPts val="600"/>
              </a:spcBef>
              <a:defRPr sz="1000">
                <a:solidFill>
                  <a:schemeClr val="tx2"/>
                </a:solidFill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pt-PT" dirty="0"/>
              <a:t>Texto</a:t>
            </a:r>
          </a:p>
        </p:txBody>
      </p:sp>
      <p:sp>
        <p:nvSpPr>
          <p:cNvPr id="47" name="Marcador de Posição do Texto 10">
            <a:extLst>
              <a:ext uri="{FF2B5EF4-FFF2-40B4-BE49-F238E27FC236}">
                <a16:creationId xmlns:a16="http://schemas.microsoft.com/office/drawing/2014/main" id="{EAE67CA9-E5C0-C0B5-34AA-508C56C7D4F6}"/>
              </a:ext>
            </a:extLst>
          </p:cNvPr>
          <p:cNvSpPr>
            <a:spLocks noGrp="1"/>
          </p:cNvSpPr>
          <p:nvPr>
            <p:ph type="body" sz="quarter" idx="97" hasCustomPrompt="1"/>
          </p:nvPr>
        </p:nvSpPr>
        <p:spPr>
          <a:xfrm>
            <a:off x="6081421" y="4493289"/>
            <a:ext cx="753288" cy="233235"/>
          </a:xfrm>
        </p:spPr>
        <p:txBody>
          <a:bodyPr lIns="0" tIns="0" rIns="0" bIns="0" anchor="ctr">
            <a:noAutofit/>
          </a:bodyPr>
          <a:lstStyle>
            <a:lvl1pPr algn="ctr">
              <a:spcBef>
                <a:spcPts val="600"/>
              </a:spcBef>
              <a:defRPr sz="1000">
                <a:solidFill>
                  <a:schemeClr val="tx2"/>
                </a:solidFill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pt-PT" dirty="0"/>
              <a:t>Texto</a:t>
            </a:r>
          </a:p>
        </p:txBody>
      </p:sp>
      <p:sp>
        <p:nvSpPr>
          <p:cNvPr id="48" name="Marcador de Posição do Texto 10">
            <a:extLst>
              <a:ext uri="{FF2B5EF4-FFF2-40B4-BE49-F238E27FC236}">
                <a16:creationId xmlns:a16="http://schemas.microsoft.com/office/drawing/2014/main" id="{590BE16D-8D8C-C6E9-0136-510A803C5161}"/>
              </a:ext>
            </a:extLst>
          </p:cNvPr>
          <p:cNvSpPr>
            <a:spLocks noGrp="1"/>
          </p:cNvSpPr>
          <p:nvPr>
            <p:ph type="body" sz="quarter" idx="98" hasCustomPrompt="1"/>
          </p:nvPr>
        </p:nvSpPr>
        <p:spPr>
          <a:xfrm>
            <a:off x="6864259" y="4493289"/>
            <a:ext cx="753288" cy="233235"/>
          </a:xfrm>
        </p:spPr>
        <p:txBody>
          <a:bodyPr lIns="0" tIns="0" rIns="0" bIns="0" anchor="ctr">
            <a:noAutofit/>
          </a:bodyPr>
          <a:lstStyle>
            <a:lvl1pPr algn="ctr">
              <a:spcBef>
                <a:spcPts val="600"/>
              </a:spcBef>
              <a:defRPr sz="1000">
                <a:solidFill>
                  <a:schemeClr val="tx2"/>
                </a:solidFill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pt-PT" dirty="0"/>
              <a:t>Texto</a:t>
            </a:r>
          </a:p>
        </p:txBody>
      </p:sp>
      <p:sp>
        <p:nvSpPr>
          <p:cNvPr id="50" name="Marcador de Posição do Texto 10">
            <a:extLst>
              <a:ext uri="{FF2B5EF4-FFF2-40B4-BE49-F238E27FC236}">
                <a16:creationId xmlns:a16="http://schemas.microsoft.com/office/drawing/2014/main" id="{8C4FCF3B-07BF-D7A3-3BED-0E728626EECF}"/>
              </a:ext>
            </a:extLst>
          </p:cNvPr>
          <p:cNvSpPr>
            <a:spLocks noGrp="1"/>
          </p:cNvSpPr>
          <p:nvPr>
            <p:ph type="body" sz="quarter" idx="99" hasCustomPrompt="1"/>
          </p:nvPr>
        </p:nvSpPr>
        <p:spPr>
          <a:xfrm>
            <a:off x="9869723" y="2077696"/>
            <a:ext cx="1740648" cy="1237682"/>
          </a:xfrm>
        </p:spPr>
        <p:txBody>
          <a:bodyPr anchor="t">
            <a:noAutofit/>
          </a:bodyPr>
          <a:lstStyle>
            <a:lvl1pPr algn="l">
              <a:spcBef>
                <a:spcPts val="300"/>
              </a:spcBef>
              <a:defRPr sz="1200">
                <a:solidFill>
                  <a:schemeClr val="tx2"/>
                </a:solidFill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es-ES" dirty="0"/>
              <a:t>Haz </a:t>
            </a:r>
            <a:r>
              <a:rPr lang="es-ES" dirty="0" err="1"/>
              <a:t>click</a:t>
            </a:r>
            <a:r>
              <a:rPr lang="es-ES" dirty="0"/>
              <a:t> para editar los estilos del texto del modelo global</a:t>
            </a:r>
            <a:endParaRPr lang="pt-PT" dirty="0"/>
          </a:p>
        </p:txBody>
      </p:sp>
      <p:sp>
        <p:nvSpPr>
          <p:cNvPr id="51" name="Marcador de Posição do Texto 10">
            <a:extLst>
              <a:ext uri="{FF2B5EF4-FFF2-40B4-BE49-F238E27FC236}">
                <a16:creationId xmlns:a16="http://schemas.microsoft.com/office/drawing/2014/main" id="{42AAEB65-CAE0-0F71-D689-9F2C227882EF}"/>
              </a:ext>
            </a:extLst>
          </p:cNvPr>
          <p:cNvSpPr>
            <a:spLocks noGrp="1"/>
          </p:cNvSpPr>
          <p:nvPr>
            <p:ph type="body" sz="quarter" idx="100" hasCustomPrompt="1"/>
          </p:nvPr>
        </p:nvSpPr>
        <p:spPr>
          <a:xfrm>
            <a:off x="7867809" y="3466592"/>
            <a:ext cx="1740648" cy="1237682"/>
          </a:xfrm>
        </p:spPr>
        <p:txBody>
          <a:bodyPr anchor="t">
            <a:noAutofit/>
          </a:bodyPr>
          <a:lstStyle>
            <a:lvl1pPr algn="l">
              <a:spcBef>
                <a:spcPts val="300"/>
              </a:spcBef>
              <a:defRPr sz="1200">
                <a:solidFill>
                  <a:schemeClr val="tx2"/>
                </a:solidFill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es-ES" dirty="0"/>
              <a:t>Haz </a:t>
            </a:r>
            <a:r>
              <a:rPr lang="es-ES" dirty="0" err="1"/>
              <a:t>click</a:t>
            </a:r>
            <a:r>
              <a:rPr lang="es-ES" dirty="0"/>
              <a:t> para editar los estilos del texto del modelo global</a:t>
            </a:r>
            <a:endParaRPr lang="pt-PT" dirty="0"/>
          </a:p>
        </p:txBody>
      </p:sp>
      <p:sp>
        <p:nvSpPr>
          <p:cNvPr id="52" name="Marcador de Posição do Texto 10">
            <a:extLst>
              <a:ext uri="{FF2B5EF4-FFF2-40B4-BE49-F238E27FC236}">
                <a16:creationId xmlns:a16="http://schemas.microsoft.com/office/drawing/2014/main" id="{423075C5-32E4-7732-BF54-B270C287A677}"/>
              </a:ext>
            </a:extLst>
          </p:cNvPr>
          <p:cNvSpPr>
            <a:spLocks noGrp="1"/>
          </p:cNvSpPr>
          <p:nvPr>
            <p:ph type="body" sz="quarter" idx="101" hasCustomPrompt="1"/>
          </p:nvPr>
        </p:nvSpPr>
        <p:spPr>
          <a:xfrm>
            <a:off x="9869723" y="3466592"/>
            <a:ext cx="1740648" cy="1237682"/>
          </a:xfrm>
        </p:spPr>
        <p:txBody>
          <a:bodyPr anchor="t">
            <a:noAutofit/>
          </a:bodyPr>
          <a:lstStyle>
            <a:lvl1pPr algn="l">
              <a:spcBef>
                <a:spcPts val="300"/>
              </a:spcBef>
              <a:defRPr sz="1200">
                <a:solidFill>
                  <a:schemeClr val="tx2"/>
                </a:solidFill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es-ES" dirty="0"/>
              <a:t>Haz </a:t>
            </a:r>
            <a:r>
              <a:rPr lang="es-ES" dirty="0" err="1"/>
              <a:t>click</a:t>
            </a:r>
            <a:r>
              <a:rPr lang="es-ES" dirty="0"/>
              <a:t> para editar los estilos del texto del modelo global</a:t>
            </a:r>
            <a:endParaRPr lang="pt-PT" dirty="0"/>
          </a:p>
        </p:txBody>
      </p:sp>
      <p:sp>
        <p:nvSpPr>
          <p:cNvPr id="53" name="Marcador de Posição do Texto 10">
            <a:extLst>
              <a:ext uri="{FF2B5EF4-FFF2-40B4-BE49-F238E27FC236}">
                <a16:creationId xmlns:a16="http://schemas.microsoft.com/office/drawing/2014/main" id="{F5F26756-817A-AD0F-A7E9-0EF8B2C4D3DE}"/>
              </a:ext>
            </a:extLst>
          </p:cNvPr>
          <p:cNvSpPr>
            <a:spLocks noGrp="1"/>
          </p:cNvSpPr>
          <p:nvPr>
            <p:ph type="body" sz="quarter" idx="102" hasCustomPrompt="1"/>
          </p:nvPr>
        </p:nvSpPr>
        <p:spPr>
          <a:xfrm>
            <a:off x="7867809" y="5003980"/>
            <a:ext cx="1740648" cy="1237682"/>
          </a:xfrm>
        </p:spPr>
        <p:txBody>
          <a:bodyPr anchor="t">
            <a:noAutofit/>
          </a:bodyPr>
          <a:lstStyle>
            <a:lvl1pPr algn="l">
              <a:spcBef>
                <a:spcPts val="300"/>
              </a:spcBef>
              <a:defRPr sz="1200">
                <a:solidFill>
                  <a:schemeClr val="tx2"/>
                </a:solidFill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es-ES" dirty="0"/>
              <a:t>Haz </a:t>
            </a:r>
            <a:r>
              <a:rPr lang="es-ES" dirty="0" err="1"/>
              <a:t>click</a:t>
            </a:r>
            <a:r>
              <a:rPr lang="es-ES" dirty="0"/>
              <a:t> para editar los estilos del texto del modelo global</a:t>
            </a:r>
            <a:endParaRPr lang="pt-PT" dirty="0"/>
          </a:p>
        </p:txBody>
      </p:sp>
      <p:sp>
        <p:nvSpPr>
          <p:cNvPr id="54" name="Marcador de Posição do Texto 10">
            <a:extLst>
              <a:ext uri="{FF2B5EF4-FFF2-40B4-BE49-F238E27FC236}">
                <a16:creationId xmlns:a16="http://schemas.microsoft.com/office/drawing/2014/main" id="{27818CF7-E230-CA9D-74DA-F7C761D73296}"/>
              </a:ext>
            </a:extLst>
          </p:cNvPr>
          <p:cNvSpPr>
            <a:spLocks noGrp="1"/>
          </p:cNvSpPr>
          <p:nvPr>
            <p:ph type="body" sz="quarter" idx="103" hasCustomPrompt="1"/>
          </p:nvPr>
        </p:nvSpPr>
        <p:spPr>
          <a:xfrm>
            <a:off x="9869723" y="5003980"/>
            <a:ext cx="1740648" cy="1237682"/>
          </a:xfrm>
        </p:spPr>
        <p:txBody>
          <a:bodyPr anchor="t">
            <a:noAutofit/>
          </a:bodyPr>
          <a:lstStyle>
            <a:lvl1pPr algn="l">
              <a:spcBef>
                <a:spcPts val="300"/>
              </a:spcBef>
              <a:defRPr sz="1200">
                <a:solidFill>
                  <a:schemeClr val="tx2"/>
                </a:solidFill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es-ES" dirty="0"/>
              <a:t>Haz </a:t>
            </a:r>
            <a:r>
              <a:rPr lang="es-ES" dirty="0" err="1"/>
              <a:t>click</a:t>
            </a:r>
            <a:r>
              <a:rPr lang="es-ES" dirty="0"/>
              <a:t> para editar los estilos del texto del modelo global</a:t>
            </a:r>
            <a:endParaRPr lang="pt-PT" dirty="0"/>
          </a:p>
        </p:txBody>
      </p:sp>
      <p:sp>
        <p:nvSpPr>
          <p:cNvPr id="55" name="Marcador de Posição do Texto 10">
            <a:extLst>
              <a:ext uri="{FF2B5EF4-FFF2-40B4-BE49-F238E27FC236}">
                <a16:creationId xmlns:a16="http://schemas.microsoft.com/office/drawing/2014/main" id="{C02E596C-5A5F-1A81-25CA-3395AED17AAE}"/>
              </a:ext>
            </a:extLst>
          </p:cNvPr>
          <p:cNvSpPr>
            <a:spLocks noGrp="1"/>
          </p:cNvSpPr>
          <p:nvPr>
            <p:ph type="body" sz="quarter" idx="81" hasCustomPrompt="1"/>
          </p:nvPr>
        </p:nvSpPr>
        <p:spPr>
          <a:xfrm>
            <a:off x="7867809" y="1796002"/>
            <a:ext cx="3766093" cy="214962"/>
          </a:xfrm>
        </p:spPr>
        <p:txBody>
          <a:bodyPr anchor="ctr">
            <a:noAutofit/>
          </a:bodyPr>
          <a:lstStyle>
            <a:lvl1pPr algn="l">
              <a:spcBef>
                <a:spcPts val="600"/>
              </a:spcBef>
              <a:defRPr lang="pt-PT" sz="1400" kern="1200" cap="all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pt-PT" dirty="0"/>
              <a:t>Texto destacado</a:t>
            </a:r>
          </a:p>
        </p:txBody>
      </p:sp>
      <p:sp>
        <p:nvSpPr>
          <p:cNvPr id="24" name="Marcador de Posição do Rodapé 4">
            <a:extLst>
              <a:ext uri="{FF2B5EF4-FFF2-40B4-BE49-F238E27FC236}">
                <a16:creationId xmlns:a16="http://schemas.microsoft.com/office/drawing/2014/main" id="{E890C6B6-7D70-4F79-9639-C300C12C6AB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12762" y="6356350"/>
            <a:ext cx="534669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bg1"/>
                </a:solidFill>
              </a:defRPr>
            </a:lvl1pPr>
          </a:lstStyle>
          <a:p>
            <a:r>
              <a:rPr lang="pt-PT"/>
              <a:t>Título de la presentación</a:t>
            </a:r>
            <a:endParaRPr lang="pt-PT" dirty="0"/>
          </a:p>
        </p:txBody>
      </p:sp>
      <p:sp>
        <p:nvSpPr>
          <p:cNvPr id="25" name="Marcador de Posição do Número do Diapositivo 5">
            <a:extLst>
              <a:ext uri="{FF2B5EF4-FFF2-40B4-BE49-F238E27FC236}">
                <a16:creationId xmlns:a16="http://schemas.microsoft.com/office/drawing/2014/main" id="{8D776672-C8CC-4881-8B86-81CB4E1B57B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936039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accent2"/>
                </a:solidFill>
              </a:defRPr>
            </a:lvl1pPr>
          </a:lstStyle>
          <a:p>
            <a:fld id="{24A347C2-D68E-473A-8C76-1D063E4EB6E0}" type="slidenum">
              <a:rPr lang="es-ES" smtClean="0"/>
              <a:pPr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70796241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5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25E-6 0.03889 L 1.25E-6 1.85185E-6 " pathEditMode="relative" rAng="0" ptsTypes="AA">
                                      <p:cBhvr>
                                        <p:cTn id="9" dur="5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944"/>
                                    </p:animMotion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25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25E-6 0.03889 L 1.25E-6 1.85185E-6 " pathEditMode="relative" rAng="0" ptsTypes="AA">
                                      <p:cBhvr>
                                        <p:cTn id="14" dur="5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944"/>
                                    </p:animMotion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5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3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3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3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4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4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4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4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4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" dur="500"/>
                                        <p:tgtEl>
                                          <p:spTgt spid="5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1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3" dur="500"/>
                                        <p:tgtEl>
                                          <p:spTgt spid="5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4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500"/>
                                        <p:tgtEl>
                                          <p:spTgt spid="5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7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9" dur="500"/>
                                        <p:tgtEl>
                                          <p:spTgt spid="5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0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2" dur="500"/>
                                        <p:tgtEl>
                                          <p:spTgt spid="5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3" presetID="2" presetClass="entr" presetSubtype="4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5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6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 animBg="1"/>
      <p:bldP spid="35" grpId="0"/>
      <p:bldP spid="35" grpId="1"/>
      <p:bldP spid="36" grpId="0">
        <p:tmplLst>
          <p:tmpl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250"/>
                        <p:tgtEl>
                          <p:spTgt spid="3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6" grpId="1"/>
      <p:bldP spid="37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8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9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0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3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4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5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6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7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8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0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5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1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5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2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5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3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5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4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5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5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55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0_Esquema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4" name="Imagem 147">
            <a:extLst>
              <a:ext uri="{FF2B5EF4-FFF2-40B4-BE49-F238E27FC236}">
                <a16:creationId xmlns:a16="http://schemas.microsoft.com/office/drawing/2014/main" id="{8E860249-1989-4448-BAC8-E9B931C371C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 l="12584" t="41046" r="69501" b="19713"/>
          <a:stretch>
            <a:fillRect/>
          </a:stretch>
        </p:blipFill>
        <p:spPr>
          <a:xfrm rot="5400000" flipV="1">
            <a:off x="574557" y="5317116"/>
            <a:ext cx="966327" cy="2115441"/>
          </a:xfrm>
          <a:prstGeom prst="rect">
            <a:avLst/>
          </a:prstGeom>
        </p:spPr>
      </p:pic>
      <p:pic>
        <p:nvPicPr>
          <p:cNvPr id="149" name="Imagem 148">
            <a:extLst>
              <a:ext uri="{FF2B5EF4-FFF2-40B4-BE49-F238E27FC236}">
                <a16:creationId xmlns:a16="http://schemas.microsoft.com/office/drawing/2014/main" id="{FB8F9F74-9424-B8DC-CE8D-2A8FF67A095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 l="12584" t="19423" r="69501" b="19713"/>
          <a:stretch>
            <a:fillRect/>
          </a:stretch>
        </p:blipFill>
        <p:spPr>
          <a:xfrm rot="5400000" flipH="1">
            <a:off x="5286384" y="-1942239"/>
            <a:ext cx="1619233" cy="5498074"/>
          </a:xfrm>
          <a:prstGeom prst="rect">
            <a:avLst/>
          </a:prstGeom>
        </p:spPr>
      </p:pic>
      <p:sp>
        <p:nvSpPr>
          <p:cNvPr id="31" name="Marcador de Posição do Texto 30">
            <a:extLst>
              <a:ext uri="{FF2B5EF4-FFF2-40B4-BE49-F238E27FC236}">
                <a16:creationId xmlns:a16="http://schemas.microsoft.com/office/drawing/2014/main" id="{469718FB-F864-0E18-4C50-3AABC46C7D54}"/>
              </a:ext>
            </a:extLst>
          </p:cNvPr>
          <p:cNvSpPr>
            <a:spLocks noGrp="1"/>
          </p:cNvSpPr>
          <p:nvPr>
            <p:ph type="body" sz="quarter" idx="94" hasCustomPrompt="1"/>
          </p:nvPr>
        </p:nvSpPr>
        <p:spPr>
          <a:xfrm>
            <a:off x="578644" y="2583180"/>
            <a:ext cx="9619457" cy="1233916"/>
          </a:xfrm>
          <a:custGeom>
            <a:avLst/>
            <a:gdLst>
              <a:gd name="connsiteX0" fmla="*/ 8690366 w 9652001"/>
              <a:gd name="connsiteY0" fmla="*/ 0 h 1300643"/>
              <a:gd name="connsiteX1" fmla="*/ 9127259 w 9652001"/>
              <a:gd name="connsiteY1" fmla="*/ 0 h 1300643"/>
              <a:gd name="connsiteX2" fmla="*/ 9127472 w 9652001"/>
              <a:gd name="connsiteY2" fmla="*/ 0 h 1300643"/>
              <a:gd name="connsiteX3" fmla="*/ 9641341 w 9652001"/>
              <a:gd name="connsiteY3" fmla="*/ 418775 h 1300643"/>
              <a:gd name="connsiteX4" fmla="*/ 9651997 w 9652001"/>
              <a:gd name="connsiteY4" fmla="*/ 524482 h 1300643"/>
              <a:gd name="connsiteX5" fmla="*/ 9652001 w 9652001"/>
              <a:gd name="connsiteY5" fmla="*/ 524482 h 1300643"/>
              <a:gd name="connsiteX6" fmla="*/ 9652001 w 9652001"/>
              <a:gd name="connsiteY6" fmla="*/ 524524 h 1300643"/>
              <a:gd name="connsiteX7" fmla="*/ 9652001 w 9652001"/>
              <a:gd name="connsiteY7" fmla="*/ 1300643 h 1300643"/>
              <a:gd name="connsiteX8" fmla="*/ 0 w 9652001"/>
              <a:gd name="connsiteY8" fmla="*/ 1300643 h 1300643"/>
              <a:gd name="connsiteX9" fmla="*/ 0 w 9652001"/>
              <a:gd name="connsiteY9" fmla="*/ 971204 h 1300643"/>
              <a:gd name="connsiteX10" fmla="*/ 0 w 9652001"/>
              <a:gd name="connsiteY10" fmla="*/ 524482 h 1300643"/>
              <a:gd name="connsiteX11" fmla="*/ 0 w 9652001"/>
              <a:gd name="connsiteY11" fmla="*/ 524458 h 1300643"/>
              <a:gd name="connsiteX12" fmla="*/ 0 w 9652001"/>
              <a:gd name="connsiteY12" fmla="*/ 35190 h 1300643"/>
              <a:gd name="connsiteX13" fmla="*/ 0 w 9652001"/>
              <a:gd name="connsiteY13" fmla="*/ 1 h 1300643"/>
              <a:gd name="connsiteX14" fmla="*/ 8690346 w 9652001"/>
              <a:gd name="connsiteY14" fmla="*/ 61 h 13006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9652001" h="1300643">
                <a:moveTo>
                  <a:pt x="8690366" y="0"/>
                </a:moveTo>
                <a:lnTo>
                  <a:pt x="9127259" y="0"/>
                </a:lnTo>
                <a:lnTo>
                  <a:pt x="9127472" y="0"/>
                </a:lnTo>
                <a:cubicBezTo>
                  <a:pt x="9380880" y="0"/>
                  <a:pt x="9592416" y="179692"/>
                  <a:pt x="9641341" y="418775"/>
                </a:cubicBezTo>
                <a:lnTo>
                  <a:pt x="9651997" y="524482"/>
                </a:lnTo>
                <a:lnTo>
                  <a:pt x="9652001" y="524482"/>
                </a:lnTo>
                <a:lnTo>
                  <a:pt x="9652001" y="524524"/>
                </a:lnTo>
                <a:lnTo>
                  <a:pt x="9652001" y="1300643"/>
                </a:lnTo>
                <a:lnTo>
                  <a:pt x="0" y="1300643"/>
                </a:lnTo>
                <a:lnTo>
                  <a:pt x="0" y="971204"/>
                </a:lnTo>
                <a:lnTo>
                  <a:pt x="0" y="524482"/>
                </a:lnTo>
                <a:lnTo>
                  <a:pt x="0" y="524458"/>
                </a:lnTo>
                <a:lnTo>
                  <a:pt x="0" y="35190"/>
                </a:lnTo>
                <a:lnTo>
                  <a:pt x="0" y="1"/>
                </a:lnTo>
                <a:lnTo>
                  <a:pt x="8690346" y="61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lIns="2448000" tIns="216000" rIns="0" bIns="144000" anchor="ctr">
            <a:noAutofit/>
          </a:bodyPr>
          <a:lstStyle>
            <a:lvl1pPr algn="ctr">
              <a:spcBef>
                <a:spcPts val="600"/>
              </a:spcBef>
              <a:defRPr lang="pt-PT" sz="1200" kern="1200" cap="all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pt-PT" dirty="0"/>
              <a:t>Texto destacado</a:t>
            </a:r>
          </a:p>
        </p:txBody>
      </p:sp>
      <p:sp>
        <p:nvSpPr>
          <p:cNvPr id="6" name="Título 6">
            <a:extLst>
              <a:ext uri="{FF2B5EF4-FFF2-40B4-BE49-F238E27FC236}">
                <a16:creationId xmlns:a16="http://schemas.microsoft.com/office/drawing/2014/main" id="{F22485A7-E4A5-ADDF-4DAD-81F421DEC8B6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513184" y="393484"/>
            <a:ext cx="11081915" cy="712204"/>
          </a:xfrm>
        </p:spPr>
        <p:txBody>
          <a:bodyPr>
            <a:normAutofit/>
          </a:bodyPr>
          <a:lstStyle>
            <a:lvl1pPr algn="ctr">
              <a:defRPr sz="3200"/>
            </a:lvl1pPr>
          </a:lstStyle>
          <a:p>
            <a:r>
              <a:rPr lang="pt-PT" dirty="0"/>
              <a:t>Insertar título de la slide</a:t>
            </a:r>
          </a:p>
        </p:txBody>
      </p:sp>
      <p:sp>
        <p:nvSpPr>
          <p:cNvPr id="8" name="Marcador de Posição da Imagem 7">
            <a:extLst>
              <a:ext uri="{FF2B5EF4-FFF2-40B4-BE49-F238E27FC236}">
                <a16:creationId xmlns:a16="http://schemas.microsoft.com/office/drawing/2014/main" id="{6A6E04FA-36FE-A150-E63D-A29D2CE29971}"/>
              </a:ext>
            </a:extLst>
          </p:cNvPr>
          <p:cNvSpPr>
            <a:spLocks noGrp="1"/>
          </p:cNvSpPr>
          <p:nvPr userDrawn="1">
            <p:ph type="pic" sz="quarter" idx="93"/>
          </p:nvPr>
        </p:nvSpPr>
        <p:spPr>
          <a:xfrm>
            <a:off x="583188" y="1231128"/>
            <a:ext cx="1330095" cy="1230264"/>
          </a:xfrm>
          <a:custGeom>
            <a:avLst/>
            <a:gdLst>
              <a:gd name="connsiteX0" fmla="*/ 0 w 768527"/>
              <a:gd name="connsiteY0" fmla="*/ 0 h 710845"/>
              <a:gd name="connsiteX1" fmla="*/ 367552 w 768527"/>
              <a:gd name="connsiteY1" fmla="*/ 65 h 710845"/>
              <a:gd name="connsiteX2" fmla="*/ 367574 w 768527"/>
              <a:gd name="connsiteY2" fmla="*/ 0 h 710845"/>
              <a:gd name="connsiteX3" fmla="*/ 549736 w 768527"/>
              <a:gd name="connsiteY3" fmla="*/ 0 h 710845"/>
              <a:gd name="connsiteX4" fmla="*/ 549825 w 768527"/>
              <a:gd name="connsiteY4" fmla="*/ 0 h 710845"/>
              <a:gd name="connsiteX5" fmla="*/ 764082 w 768527"/>
              <a:gd name="connsiteY5" fmla="*/ 174608 h 710845"/>
              <a:gd name="connsiteX6" fmla="*/ 768525 w 768527"/>
              <a:gd name="connsiteY6" fmla="*/ 218682 h 710845"/>
              <a:gd name="connsiteX7" fmla="*/ 768527 w 768527"/>
              <a:gd name="connsiteY7" fmla="*/ 218682 h 710845"/>
              <a:gd name="connsiteX8" fmla="*/ 768527 w 768527"/>
              <a:gd name="connsiteY8" fmla="*/ 218700 h 710845"/>
              <a:gd name="connsiteX9" fmla="*/ 768527 w 768527"/>
              <a:gd name="connsiteY9" fmla="*/ 710845 h 710845"/>
              <a:gd name="connsiteX10" fmla="*/ 180179 w 768527"/>
              <a:gd name="connsiteY10" fmla="*/ 710845 h 710845"/>
              <a:gd name="connsiteX11" fmla="*/ 0 w 768527"/>
              <a:gd name="connsiteY11" fmla="*/ 710813 h 7108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768527" h="710845">
                <a:moveTo>
                  <a:pt x="0" y="0"/>
                </a:moveTo>
                <a:lnTo>
                  <a:pt x="367552" y="65"/>
                </a:lnTo>
                <a:lnTo>
                  <a:pt x="367574" y="0"/>
                </a:lnTo>
                <a:lnTo>
                  <a:pt x="549736" y="0"/>
                </a:lnTo>
                <a:lnTo>
                  <a:pt x="549825" y="0"/>
                </a:lnTo>
                <a:cubicBezTo>
                  <a:pt x="655483" y="0"/>
                  <a:pt x="743683" y="74923"/>
                  <a:pt x="764082" y="174608"/>
                </a:cubicBezTo>
                <a:lnTo>
                  <a:pt x="768525" y="218682"/>
                </a:lnTo>
                <a:lnTo>
                  <a:pt x="768527" y="218682"/>
                </a:lnTo>
                <a:lnTo>
                  <a:pt x="768527" y="218700"/>
                </a:lnTo>
                <a:lnTo>
                  <a:pt x="768527" y="710845"/>
                </a:lnTo>
                <a:lnTo>
                  <a:pt x="180179" y="710845"/>
                </a:lnTo>
                <a:lnTo>
                  <a:pt x="0" y="710813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pt-PT"/>
          </a:p>
        </p:txBody>
      </p:sp>
      <p:sp>
        <p:nvSpPr>
          <p:cNvPr id="12" name="Marcador de Posição do Texto 11">
            <a:extLst>
              <a:ext uri="{FF2B5EF4-FFF2-40B4-BE49-F238E27FC236}">
                <a16:creationId xmlns:a16="http://schemas.microsoft.com/office/drawing/2014/main" id="{D1011A34-A506-1156-B71B-855BC5163697}"/>
              </a:ext>
            </a:extLst>
          </p:cNvPr>
          <p:cNvSpPr>
            <a:spLocks noGrp="1"/>
          </p:cNvSpPr>
          <p:nvPr userDrawn="1">
            <p:ph type="body" sz="quarter" idx="87" hasCustomPrompt="1"/>
          </p:nvPr>
        </p:nvSpPr>
        <p:spPr>
          <a:xfrm>
            <a:off x="2235200" y="1231128"/>
            <a:ext cx="9359479" cy="420869"/>
          </a:xfrm>
          <a:custGeom>
            <a:avLst/>
            <a:gdLst>
              <a:gd name="connsiteX0" fmla="*/ 0 w 9359479"/>
              <a:gd name="connsiteY0" fmla="*/ 0 h 420869"/>
              <a:gd name="connsiteX1" fmla="*/ 1143000 w 9359479"/>
              <a:gd name="connsiteY1" fmla="*/ 0 h 420869"/>
              <a:gd name="connsiteX2" fmla="*/ 1143000 w 9359479"/>
              <a:gd name="connsiteY2" fmla="*/ 1 h 420869"/>
              <a:gd name="connsiteX3" fmla="*/ 3002828 w 9359479"/>
              <a:gd name="connsiteY3" fmla="*/ 1 h 420869"/>
              <a:gd name="connsiteX4" fmla="*/ 3002828 w 9359479"/>
              <a:gd name="connsiteY4" fmla="*/ 26 h 420869"/>
              <a:gd name="connsiteX5" fmla="*/ 8587887 w 9359479"/>
              <a:gd name="connsiteY5" fmla="*/ 69 h 420869"/>
              <a:gd name="connsiteX6" fmla="*/ 8587910 w 9359479"/>
              <a:gd name="connsiteY6" fmla="*/ 0 h 420869"/>
              <a:gd name="connsiteX7" fmla="*/ 8938452 w 9359479"/>
              <a:gd name="connsiteY7" fmla="*/ 0 h 420869"/>
              <a:gd name="connsiteX8" fmla="*/ 8938623 w 9359479"/>
              <a:gd name="connsiteY8" fmla="*/ 0 h 420869"/>
              <a:gd name="connsiteX9" fmla="*/ 9359479 w 9359479"/>
              <a:gd name="connsiteY9" fmla="*/ 420853 h 420869"/>
              <a:gd name="connsiteX10" fmla="*/ 8684264 w 9359479"/>
              <a:gd name="connsiteY10" fmla="*/ 420853 h 420869"/>
              <a:gd name="connsiteX11" fmla="*/ 8684264 w 9359479"/>
              <a:gd name="connsiteY11" fmla="*/ 420869 h 420869"/>
              <a:gd name="connsiteX12" fmla="*/ 2648279 w 9359479"/>
              <a:gd name="connsiteY12" fmla="*/ 420822 h 420869"/>
              <a:gd name="connsiteX13" fmla="*/ 2648267 w 9359479"/>
              <a:gd name="connsiteY13" fmla="*/ 420857 h 420869"/>
              <a:gd name="connsiteX14" fmla="*/ 2297725 w 9359479"/>
              <a:gd name="connsiteY14" fmla="*/ 420857 h 420869"/>
              <a:gd name="connsiteX15" fmla="*/ 2297554 w 9359479"/>
              <a:gd name="connsiteY15" fmla="*/ 420857 h 420869"/>
              <a:gd name="connsiteX16" fmla="*/ 2261951 w 9359479"/>
              <a:gd name="connsiteY16" fmla="*/ 417269 h 420869"/>
              <a:gd name="connsiteX17" fmla="*/ 1143000 w 9359479"/>
              <a:gd name="connsiteY17" fmla="*/ 417269 h 420869"/>
              <a:gd name="connsiteX18" fmla="*/ 1143000 w 9359479"/>
              <a:gd name="connsiteY18" fmla="*/ 420869 h 420869"/>
              <a:gd name="connsiteX19" fmla="*/ 0 w 9359479"/>
              <a:gd name="connsiteY19" fmla="*/ 420869 h 4208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9359479" h="420869">
                <a:moveTo>
                  <a:pt x="0" y="0"/>
                </a:moveTo>
                <a:lnTo>
                  <a:pt x="1143000" y="0"/>
                </a:lnTo>
                <a:lnTo>
                  <a:pt x="1143000" y="1"/>
                </a:lnTo>
                <a:lnTo>
                  <a:pt x="3002828" y="1"/>
                </a:lnTo>
                <a:lnTo>
                  <a:pt x="3002828" y="26"/>
                </a:lnTo>
                <a:lnTo>
                  <a:pt x="8587887" y="69"/>
                </a:lnTo>
                <a:lnTo>
                  <a:pt x="8587910" y="0"/>
                </a:lnTo>
                <a:lnTo>
                  <a:pt x="8938452" y="0"/>
                </a:lnTo>
                <a:lnTo>
                  <a:pt x="8938623" y="0"/>
                </a:lnTo>
                <a:cubicBezTo>
                  <a:pt x="9170990" y="0"/>
                  <a:pt x="9359479" y="188312"/>
                  <a:pt x="9359479" y="420853"/>
                </a:cubicBezTo>
                <a:lnTo>
                  <a:pt x="8684264" y="420853"/>
                </a:lnTo>
                <a:lnTo>
                  <a:pt x="8684264" y="420869"/>
                </a:lnTo>
                <a:lnTo>
                  <a:pt x="2648279" y="420822"/>
                </a:lnTo>
                <a:lnTo>
                  <a:pt x="2648267" y="420857"/>
                </a:lnTo>
                <a:lnTo>
                  <a:pt x="2297725" y="420857"/>
                </a:lnTo>
                <a:lnTo>
                  <a:pt x="2297554" y="420857"/>
                </a:lnTo>
                <a:lnTo>
                  <a:pt x="2261951" y="417269"/>
                </a:lnTo>
                <a:lnTo>
                  <a:pt x="1143000" y="417269"/>
                </a:lnTo>
                <a:lnTo>
                  <a:pt x="1143000" y="420869"/>
                </a:lnTo>
                <a:lnTo>
                  <a:pt x="0" y="420869"/>
                </a:lnTo>
                <a:close/>
              </a:path>
            </a:pathLst>
          </a:custGeom>
          <a:solidFill>
            <a:schemeClr val="accent2"/>
          </a:solidFill>
        </p:spPr>
        <p:txBody>
          <a:bodyPr wrap="square" anchor="ctr">
            <a:noAutofit/>
          </a:bodyPr>
          <a:lstStyle>
            <a:lvl1pPr algn="ctr">
              <a:spcBef>
                <a:spcPts val="600"/>
              </a:spcBef>
              <a:defRPr lang="pt-PT" sz="1200" kern="1200" cap="all" baseline="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pt-PT" dirty="0"/>
              <a:t>Texto destacado</a:t>
            </a:r>
          </a:p>
        </p:txBody>
      </p:sp>
      <p:sp>
        <p:nvSpPr>
          <p:cNvPr id="13" name="Marcador de Posição do Texto 10">
            <a:extLst>
              <a:ext uri="{FF2B5EF4-FFF2-40B4-BE49-F238E27FC236}">
                <a16:creationId xmlns:a16="http://schemas.microsoft.com/office/drawing/2014/main" id="{E202EF16-EBAA-144B-716C-AFD4C20009B6}"/>
              </a:ext>
            </a:extLst>
          </p:cNvPr>
          <p:cNvSpPr>
            <a:spLocks noGrp="1"/>
          </p:cNvSpPr>
          <p:nvPr userDrawn="1">
            <p:ph type="body" sz="quarter" idx="81" hasCustomPrompt="1"/>
          </p:nvPr>
        </p:nvSpPr>
        <p:spPr>
          <a:xfrm>
            <a:off x="8249511" y="1334081"/>
            <a:ext cx="3002690" cy="214962"/>
          </a:xfrm>
        </p:spPr>
        <p:txBody>
          <a:bodyPr anchor="ctr">
            <a:noAutofit/>
          </a:bodyPr>
          <a:lstStyle>
            <a:lvl1pPr algn="ctr">
              <a:spcBef>
                <a:spcPts val="600"/>
              </a:spcBef>
              <a:defRPr lang="pt-PT" sz="1200" kern="1200" cap="all" baseline="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pt-PT" dirty="0"/>
              <a:t>Texto destacado</a:t>
            </a:r>
          </a:p>
        </p:txBody>
      </p:sp>
      <p:sp>
        <p:nvSpPr>
          <p:cNvPr id="15" name="Marcador de Posição do Texto 10">
            <a:extLst>
              <a:ext uri="{FF2B5EF4-FFF2-40B4-BE49-F238E27FC236}">
                <a16:creationId xmlns:a16="http://schemas.microsoft.com/office/drawing/2014/main" id="{7E199DA4-2766-82AF-06EF-8B5D91997716}"/>
              </a:ext>
            </a:extLst>
          </p:cNvPr>
          <p:cNvSpPr>
            <a:spLocks noGrp="1"/>
          </p:cNvSpPr>
          <p:nvPr userDrawn="1">
            <p:ph type="body" sz="quarter" idx="88" hasCustomPrompt="1"/>
          </p:nvPr>
        </p:nvSpPr>
        <p:spPr>
          <a:xfrm>
            <a:off x="2235200" y="1831150"/>
            <a:ext cx="2767527" cy="630242"/>
          </a:xfrm>
        </p:spPr>
        <p:txBody>
          <a:bodyPr anchor="ctr">
            <a:noAutofit/>
          </a:bodyPr>
          <a:lstStyle>
            <a:lvl1pPr algn="l">
              <a:spcBef>
                <a:spcPts val="600"/>
              </a:spcBef>
              <a:defRPr sz="1400">
                <a:solidFill>
                  <a:schemeClr val="tx2"/>
                </a:solidFill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es-ES" dirty="0"/>
              <a:t>Haz </a:t>
            </a:r>
            <a:r>
              <a:rPr lang="es-ES" dirty="0" err="1"/>
              <a:t>click</a:t>
            </a:r>
            <a:r>
              <a:rPr lang="es-ES" dirty="0"/>
              <a:t> para editar los estilos del texto del modelo global</a:t>
            </a:r>
            <a:endParaRPr lang="pt-PT" dirty="0"/>
          </a:p>
        </p:txBody>
      </p:sp>
      <p:sp>
        <p:nvSpPr>
          <p:cNvPr id="16" name="Marcador de Posição do Texto 10">
            <a:extLst>
              <a:ext uri="{FF2B5EF4-FFF2-40B4-BE49-F238E27FC236}">
                <a16:creationId xmlns:a16="http://schemas.microsoft.com/office/drawing/2014/main" id="{7E3D8AA8-B02F-6E13-C940-314B84ABE152}"/>
              </a:ext>
            </a:extLst>
          </p:cNvPr>
          <p:cNvSpPr>
            <a:spLocks noGrp="1"/>
          </p:cNvSpPr>
          <p:nvPr userDrawn="1">
            <p:ph type="body" sz="quarter" idx="95" hasCustomPrompt="1"/>
          </p:nvPr>
        </p:nvSpPr>
        <p:spPr>
          <a:xfrm>
            <a:off x="5617220" y="2022666"/>
            <a:ext cx="1572055" cy="247210"/>
          </a:xfrm>
        </p:spPr>
        <p:txBody>
          <a:bodyPr anchor="ctr">
            <a:noAutofit/>
          </a:bodyPr>
          <a:lstStyle>
            <a:lvl1pPr algn="l">
              <a:spcBef>
                <a:spcPts val="600"/>
              </a:spcBef>
              <a:defRPr lang="pt-PT" sz="1200" kern="1200" cap="all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pt-PT" dirty="0"/>
              <a:t>Texto destacado</a:t>
            </a:r>
          </a:p>
        </p:txBody>
      </p:sp>
      <p:sp>
        <p:nvSpPr>
          <p:cNvPr id="17" name="Marcador de Posição do Texto 10">
            <a:extLst>
              <a:ext uri="{FF2B5EF4-FFF2-40B4-BE49-F238E27FC236}">
                <a16:creationId xmlns:a16="http://schemas.microsoft.com/office/drawing/2014/main" id="{748AB5D8-BDD0-1FD8-6DF0-81596A2F8F14}"/>
              </a:ext>
            </a:extLst>
          </p:cNvPr>
          <p:cNvSpPr>
            <a:spLocks noGrp="1"/>
          </p:cNvSpPr>
          <p:nvPr userDrawn="1">
            <p:ph type="body" sz="quarter" idx="96" hasCustomPrompt="1"/>
          </p:nvPr>
        </p:nvSpPr>
        <p:spPr>
          <a:xfrm>
            <a:off x="7496223" y="2228157"/>
            <a:ext cx="827764" cy="233235"/>
          </a:xfrm>
        </p:spPr>
        <p:txBody>
          <a:bodyPr lIns="0" tIns="0" rIns="0" bIns="0" anchor="t">
            <a:noAutofit/>
          </a:bodyPr>
          <a:lstStyle>
            <a:lvl1pPr algn="ctr">
              <a:spcBef>
                <a:spcPts val="600"/>
              </a:spcBef>
              <a:defRPr sz="1000">
                <a:solidFill>
                  <a:schemeClr val="tx2"/>
                </a:solidFill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pt-PT" dirty="0"/>
              <a:t>Texto</a:t>
            </a:r>
          </a:p>
        </p:txBody>
      </p:sp>
      <p:sp>
        <p:nvSpPr>
          <p:cNvPr id="18" name="Marcador de Posição do Texto 10">
            <a:extLst>
              <a:ext uri="{FF2B5EF4-FFF2-40B4-BE49-F238E27FC236}">
                <a16:creationId xmlns:a16="http://schemas.microsoft.com/office/drawing/2014/main" id="{42ADAC1A-49BB-DEFA-D487-D4D0DE6F89DB}"/>
              </a:ext>
            </a:extLst>
          </p:cNvPr>
          <p:cNvSpPr>
            <a:spLocks noGrp="1"/>
          </p:cNvSpPr>
          <p:nvPr userDrawn="1">
            <p:ph type="body" sz="quarter" idx="97" hasCustomPrompt="1"/>
          </p:nvPr>
        </p:nvSpPr>
        <p:spPr>
          <a:xfrm>
            <a:off x="8433280" y="2228157"/>
            <a:ext cx="827764" cy="233235"/>
          </a:xfrm>
        </p:spPr>
        <p:txBody>
          <a:bodyPr lIns="0" tIns="0" rIns="0" bIns="0" anchor="t">
            <a:noAutofit/>
          </a:bodyPr>
          <a:lstStyle>
            <a:lvl1pPr algn="ctr">
              <a:spcBef>
                <a:spcPts val="600"/>
              </a:spcBef>
              <a:defRPr sz="1000">
                <a:solidFill>
                  <a:schemeClr val="tx2"/>
                </a:solidFill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pt-PT" dirty="0"/>
              <a:t>Texto</a:t>
            </a:r>
          </a:p>
        </p:txBody>
      </p:sp>
      <p:sp>
        <p:nvSpPr>
          <p:cNvPr id="19" name="Marcador de Posição do Texto 10">
            <a:extLst>
              <a:ext uri="{FF2B5EF4-FFF2-40B4-BE49-F238E27FC236}">
                <a16:creationId xmlns:a16="http://schemas.microsoft.com/office/drawing/2014/main" id="{E6A85B77-1AA0-8E5B-4211-9D23B4FAFEA2}"/>
              </a:ext>
            </a:extLst>
          </p:cNvPr>
          <p:cNvSpPr>
            <a:spLocks noGrp="1"/>
          </p:cNvSpPr>
          <p:nvPr userDrawn="1">
            <p:ph type="body" sz="quarter" idx="98" hasCustomPrompt="1"/>
          </p:nvPr>
        </p:nvSpPr>
        <p:spPr>
          <a:xfrm>
            <a:off x="9370337" y="2228157"/>
            <a:ext cx="827764" cy="233235"/>
          </a:xfrm>
        </p:spPr>
        <p:txBody>
          <a:bodyPr lIns="0" tIns="0" rIns="0" bIns="0" anchor="t">
            <a:noAutofit/>
          </a:bodyPr>
          <a:lstStyle>
            <a:lvl1pPr algn="ctr">
              <a:spcBef>
                <a:spcPts val="600"/>
              </a:spcBef>
              <a:defRPr sz="1000">
                <a:solidFill>
                  <a:schemeClr val="tx2"/>
                </a:solidFill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pt-PT" dirty="0"/>
              <a:t>Texto</a:t>
            </a:r>
          </a:p>
        </p:txBody>
      </p:sp>
      <p:sp>
        <p:nvSpPr>
          <p:cNvPr id="20" name="Marcador de Posição do Texto 10">
            <a:extLst>
              <a:ext uri="{FF2B5EF4-FFF2-40B4-BE49-F238E27FC236}">
                <a16:creationId xmlns:a16="http://schemas.microsoft.com/office/drawing/2014/main" id="{CA24A8BB-E84C-31C6-5A92-968FF19E7DDF}"/>
              </a:ext>
            </a:extLst>
          </p:cNvPr>
          <p:cNvSpPr>
            <a:spLocks noGrp="1"/>
          </p:cNvSpPr>
          <p:nvPr userDrawn="1">
            <p:ph type="body" sz="quarter" idx="99" hasCustomPrompt="1"/>
          </p:nvPr>
        </p:nvSpPr>
        <p:spPr>
          <a:xfrm>
            <a:off x="10375479" y="1831150"/>
            <a:ext cx="1219200" cy="630242"/>
          </a:xfrm>
        </p:spPr>
        <p:txBody>
          <a:bodyPr anchor="ctr">
            <a:noAutofit/>
          </a:bodyPr>
          <a:lstStyle>
            <a:lvl1pPr algn="l">
              <a:spcBef>
                <a:spcPts val="600"/>
              </a:spcBef>
              <a:defRPr sz="1000">
                <a:solidFill>
                  <a:schemeClr val="tx2"/>
                </a:solidFill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es-ES" dirty="0"/>
              <a:t>Haz </a:t>
            </a:r>
            <a:r>
              <a:rPr lang="es-ES" dirty="0" err="1"/>
              <a:t>click</a:t>
            </a:r>
            <a:r>
              <a:rPr lang="es-ES" dirty="0"/>
              <a:t> para editar los estilos del texto del modelo global</a:t>
            </a:r>
            <a:endParaRPr lang="pt-PT" dirty="0"/>
          </a:p>
        </p:txBody>
      </p:sp>
      <p:sp>
        <p:nvSpPr>
          <p:cNvPr id="21" name="Marcador de Posição da Imagem 20">
            <a:extLst>
              <a:ext uri="{FF2B5EF4-FFF2-40B4-BE49-F238E27FC236}">
                <a16:creationId xmlns:a16="http://schemas.microsoft.com/office/drawing/2014/main" id="{067B02A4-6DF7-315B-B1BD-7509AB4F8102}"/>
              </a:ext>
            </a:extLst>
          </p:cNvPr>
          <p:cNvSpPr>
            <a:spLocks noGrp="1"/>
          </p:cNvSpPr>
          <p:nvPr userDrawn="1">
            <p:ph type="pic" sz="quarter" idx="100"/>
          </p:nvPr>
        </p:nvSpPr>
        <p:spPr>
          <a:xfrm>
            <a:off x="583188" y="2586832"/>
            <a:ext cx="1330095" cy="1230264"/>
          </a:xfrm>
          <a:custGeom>
            <a:avLst/>
            <a:gdLst>
              <a:gd name="connsiteX0" fmla="*/ 0 w 768527"/>
              <a:gd name="connsiteY0" fmla="*/ 0 h 710845"/>
              <a:gd name="connsiteX1" fmla="*/ 367552 w 768527"/>
              <a:gd name="connsiteY1" fmla="*/ 65 h 710845"/>
              <a:gd name="connsiteX2" fmla="*/ 367574 w 768527"/>
              <a:gd name="connsiteY2" fmla="*/ 0 h 710845"/>
              <a:gd name="connsiteX3" fmla="*/ 549736 w 768527"/>
              <a:gd name="connsiteY3" fmla="*/ 0 h 710845"/>
              <a:gd name="connsiteX4" fmla="*/ 549825 w 768527"/>
              <a:gd name="connsiteY4" fmla="*/ 0 h 710845"/>
              <a:gd name="connsiteX5" fmla="*/ 764082 w 768527"/>
              <a:gd name="connsiteY5" fmla="*/ 174608 h 710845"/>
              <a:gd name="connsiteX6" fmla="*/ 768525 w 768527"/>
              <a:gd name="connsiteY6" fmla="*/ 218682 h 710845"/>
              <a:gd name="connsiteX7" fmla="*/ 768527 w 768527"/>
              <a:gd name="connsiteY7" fmla="*/ 218682 h 710845"/>
              <a:gd name="connsiteX8" fmla="*/ 768527 w 768527"/>
              <a:gd name="connsiteY8" fmla="*/ 218700 h 710845"/>
              <a:gd name="connsiteX9" fmla="*/ 768527 w 768527"/>
              <a:gd name="connsiteY9" fmla="*/ 710845 h 710845"/>
              <a:gd name="connsiteX10" fmla="*/ 180179 w 768527"/>
              <a:gd name="connsiteY10" fmla="*/ 710845 h 710845"/>
              <a:gd name="connsiteX11" fmla="*/ 0 w 768527"/>
              <a:gd name="connsiteY11" fmla="*/ 710813 h 7108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768527" h="710845">
                <a:moveTo>
                  <a:pt x="0" y="0"/>
                </a:moveTo>
                <a:lnTo>
                  <a:pt x="367552" y="65"/>
                </a:lnTo>
                <a:lnTo>
                  <a:pt x="367574" y="0"/>
                </a:lnTo>
                <a:lnTo>
                  <a:pt x="549736" y="0"/>
                </a:lnTo>
                <a:lnTo>
                  <a:pt x="549825" y="0"/>
                </a:lnTo>
                <a:cubicBezTo>
                  <a:pt x="655483" y="0"/>
                  <a:pt x="743683" y="74923"/>
                  <a:pt x="764082" y="174608"/>
                </a:cubicBezTo>
                <a:lnTo>
                  <a:pt x="768525" y="218682"/>
                </a:lnTo>
                <a:lnTo>
                  <a:pt x="768527" y="218682"/>
                </a:lnTo>
                <a:lnTo>
                  <a:pt x="768527" y="218700"/>
                </a:lnTo>
                <a:lnTo>
                  <a:pt x="768527" y="710845"/>
                </a:lnTo>
                <a:lnTo>
                  <a:pt x="180179" y="710845"/>
                </a:lnTo>
                <a:lnTo>
                  <a:pt x="0" y="710813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pt-PT"/>
          </a:p>
        </p:txBody>
      </p:sp>
      <p:sp>
        <p:nvSpPr>
          <p:cNvPr id="26" name="Marcador de Posição da Imagem 25">
            <a:extLst>
              <a:ext uri="{FF2B5EF4-FFF2-40B4-BE49-F238E27FC236}">
                <a16:creationId xmlns:a16="http://schemas.microsoft.com/office/drawing/2014/main" id="{086DD5CD-EB5A-2094-B80E-BA172362B0D0}"/>
              </a:ext>
            </a:extLst>
          </p:cNvPr>
          <p:cNvSpPr>
            <a:spLocks noGrp="1"/>
          </p:cNvSpPr>
          <p:nvPr userDrawn="1">
            <p:ph type="pic" sz="quarter" idx="101"/>
          </p:nvPr>
        </p:nvSpPr>
        <p:spPr>
          <a:xfrm>
            <a:off x="10315805" y="2586832"/>
            <a:ext cx="1330095" cy="1230264"/>
          </a:xfrm>
          <a:custGeom>
            <a:avLst/>
            <a:gdLst>
              <a:gd name="connsiteX0" fmla="*/ 0 w 768527"/>
              <a:gd name="connsiteY0" fmla="*/ 0 h 710845"/>
              <a:gd name="connsiteX1" fmla="*/ 367552 w 768527"/>
              <a:gd name="connsiteY1" fmla="*/ 65 h 710845"/>
              <a:gd name="connsiteX2" fmla="*/ 367574 w 768527"/>
              <a:gd name="connsiteY2" fmla="*/ 0 h 710845"/>
              <a:gd name="connsiteX3" fmla="*/ 549736 w 768527"/>
              <a:gd name="connsiteY3" fmla="*/ 0 h 710845"/>
              <a:gd name="connsiteX4" fmla="*/ 549825 w 768527"/>
              <a:gd name="connsiteY4" fmla="*/ 0 h 710845"/>
              <a:gd name="connsiteX5" fmla="*/ 764082 w 768527"/>
              <a:gd name="connsiteY5" fmla="*/ 174608 h 710845"/>
              <a:gd name="connsiteX6" fmla="*/ 768525 w 768527"/>
              <a:gd name="connsiteY6" fmla="*/ 218682 h 710845"/>
              <a:gd name="connsiteX7" fmla="*/ 768527 w 768527"/>
              <a:gd name="connsiteY7" fmla="*/ 218682 h 710845"/>
              <a:gd name="connsiteX8" fmla="*/ 768527 w 768527"/>
              <a:gd name="connsiteY8" fmla="*/ 218700 h 710845"/>
              <a:gd name="connsiteX9" fmla="*/ 768527 w 768527"/>
              <a:gd name="connsiteY9" fmla="*/ 710845 h 710845"/>
              <a:gd name="connsiteX10" fmla="*/ 180179 w 768527"/>
              <a:gd name="connsiteY10" fmla="*/ 710845 h 710845"/>
              <a:gd name="connsiteX11" fmla="*/ 0 w 768527"/>
              <a:gd name="connsiteY11" fmla="*/ 710813 h 7108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768527" h="710845">
                <a:moveTo>
                  <a:pt x="0" y="0"/>
                </a:moveTo>
                <a:lnTo>
                  <a:pt x="367552" y="65"/>
                </a:lnTo>
                <a:lnTo>
                  <a:pt x="367574" y="0"/>
                </a:lnTo>
                <a:lnTo>
                  <a:pt x="549736" y="0"/>
                </a:lnTo>
                <a:lnTo>
                  <a:pt x="549825" y="0"/>
                </a:lnTo>
                <a:cubicBezTo>
                  <a:pt x="655483" y="0"/>
                  <a:pt x="743683" y="74923"/>
                  <a:pt x="764082" y="174608"/>
                </a:cubicBezTo>
                <a:lnTo>
                  <a:pt x="768525" y="218682"/>
                </a:lnTo>
                <a:lnTo>
                  <a:pt x="768527" y="218682"/>
                </a:lnTo>
                <a:lnTo>
                  <a:pt x="768527" y="218700"/>
                </a:lnTo>
                <a:lnTo>
                  <a:pt x="768527" y="710845"/>
                </a:lnTo>
                <a:lnTo>
                  <a:pt x="180179" y="710845"/>
                </a:lnTo>
                <a:lnTo>
                  <a:pt x="0" y="710813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pt-PT"/>
          </a:p>
        </p:txBody>
      </p:sp>
      <p:sp>
        <p:nvSpPr>
          <p:cNvPr id="33" name="Marcador de Posição do Texto 10">
            <a:extLst>
              <a:ext uri="{FF2B5EF4-FFF2-40B4-BE49-F238E27FC236}">
                <a16:creationId xmlns:a16="http://schemas.microsoft.com/office/drawing/2014/main" id="{221858FE-3AE3-4834-5451-A8D59AACC950}"/>
              </a:ext>
            </a:extLst>
          </p:cNvPr>
          <p:cNvSpPr>
            <a:spLocks noGrp="1"/>
          </p:cNvSpPr>
          <p:nvPr userDrawn="1">
            <p:ph type="body" sz="quarter" idx="102" hasCustomPrompt="1"/>
          </p:nvPr>
        </p:nvSpPr>
        <p:spPr>
          <a:xfrm>
            <a:off x="3190874" y="2824310"/>
            <a:ext cx="6848475" cy="233235"/>
          </a:xfrm>
        </p:spPr>
        <p:txBody>
          <a:bodyPr lIns="0" tIns="0" rIns="0" bIns="0" anchor="ctr">
            <a:noAutofit/>
          </a:bodyPr>
          <a:lstStyle>
            <a:lvl1pPr algn="ctr">
              <a:spcBef>
                <a:spcPts val="600"/>
              </a:spcBef>
              <a:defRPr sz="1000">
                <a:solidFill>
                  <a:schemeClr val="tx2"/>
                </a:solidFill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pt-PT" dirty="0"/>
              <a:t>Texto</a:t>
            </a:r>
          </a:p>
        </p:txBody>
      </p:sp>
      <p:sp>
        <p:nvSpPr>
          <p:cNvPr id="34" name="Marcador de Posição do Texto 10">
            <a:extLst>
              <a:ext uri="{FF2B5EF4-FFF2-40B4-BE49-F238E27FC236}">
                <a16:creationId xmlns:a16="http://schemas.microsoft.com/office/drawing/2014/main" id="{78ECF6AB-7385-94A4-E397-E8A6AAC47931}"/>
              </a:ext>
            </a:extLst>
          </p:cNvPr>
          <p:cNvSpPr>
            <a:spLocks noGrp="1"/>
          </p:cNvSpPr>
          <p:nvPr userDrawn="1">
            <p:ph type="body" sz="quarter" idx="103" hasCustomPrompt="1"/>
          </p:nvPr>
        </p:nvSpPr>
        <p:spPr>
          <a:xfrm>
            <a:off x="5615778" y="3472538"/>
            <a:ext cx="1998666" cy="233235"/>
          </a:xfrm>
        </p:spPr>
        <p:txBody>
          <a:bodyPr lIns="0" tIns="0" rIns="0" bIns="0" anchor="ctr">
            <a:noAutofit/>
          </a:bodyPr>
          <a:lstStyle>
            <a:lvl1pPr algn="ctr">
              <a:spcBef>
                <a:spcPts val="600"/>
              </a:spcBef>
              <a:defRPr sz="1000">
                <a:solidFill>
                  <a:schemeClr val="tx2"/>
                </a:solidFill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pt-PT" dirty="0"/>
              <a:t>Texto</a:t>
            </a:r>
          </a:p>
        </p:txBody>
      </p:sp>
      <p:sp>
        <p:nvSpPr>
          <p:cNvPr id="46" name="Marcador de Posição do Texto 45">
            <a:extLst>
              <a:ext uri="{FF2B5EF4-FFF2-40B4-BE49-F238E27FC236}">
                <a16:creationId xmlns:a16="http://schemas.microsoft.com/office/drawing/2014/main" id="{A3097B23-F453-B23A-BF9C-797207902796}"/>
              </a:ext>
            </a:extLst>
          </p:cNvPr>
          <p:cNvSpPr>
            <a:spLocks noGrp="1"/>
          </p:cNvSpPr>
          <p:nvPr userDrawn="1">
            <p:ph type="body" sz="quarter" idx="107" hasCustomPrompt="1"/>
          </p:nvPr>
        </p:nvSpPr>
        <p:spPr>
          <a:xfrm>
            <a:off x="3190874" y="3098599"/>
            <a:ext cx="2612407" cy="242629"/>
          </a:xfrm>
          <a:custGeom>
            <a:avLst/>
            <a:gdLst>
              <a:gd name="connsiteX0" fmla="*/ 2167599 w 2612407"/>
              <a:gd name="connsiteY0" fmla="*/ 0 h 242629"/>
              <a:gd name="connsiteX1" fmla="*/ 2369686 w 2612407"/>
              <a:gd name="connsiteY1" fmla="*/ 0 h 242629"/>
              <a:gd name="connsiteX2" fmla="*/ 2369785 w 2612407"/>
              <a:gd name="connsiteY2" fmla="*/ 0 h 242629"/>
              <a:gd name="connsiteX3" fmla="*/ 2612407 w 2612407"/>
              <a:gd name="connsiteY3" fmla="*/ 242620 h 242629"/>
              <a:gd name="connsiteX4" fmla="*/ 2253937 w 2612407"/>
              <a:gd name="connsiteY4" fmla="*/ 242620 h 242629"/>
              <a:gd name="connsiteX5" fmla="*/ 2253937 w 2612407"/>
              <a:gd name="connsiteY5" fmla="*/ 242629 h 242629"/>
              <a:gd name="connsiteX6" fmla="*/ 444814 w 2612407"/>
              <a:gd name="connsiteY6" fmla="*/ 242602 h 242629"/>
              <a:gd name="connsiteX7" fmla="*/ 444807 w 2612407"/>
              <a:gd name="connsiteY7" fmla="*/ 242622 h 242629"/>
              <a:gd name="connsiteX8" fmla="*/ 242721 w 2612407"/>
              <a:gd name="connsiteY8" fmla="*/ 242622 h 242629"/>
              <a:gd name="connsiteX9" fmla="*/ 242623 w 2612407"/>
              <a:gd name="connsiteY9" fmla="*/ 242622 h 242629"/>
              <a:gd name="connsiteX10" fmla="*/ 0 w 2612407"/>
              <a:gd name="connsiteY10" fmla="*/ 2 h 242629"/>
              <a:gd name="connsiteX11" fmla="*/ 525681 w 2612407"/>
              <a:gd name="connsiteY11" fmla="*/ 2 h 242629"/>
              <a:gd name="connsiteX12" fmla="*/ 525677 w 2612407"/>
              <a:gd name="connsiteY12" fmla="*/ 14 h 242629"/>
              <a:gd name="connsiteX13" fmla="*/ 2167586 w 2612407"/>
              <a:gd name="connsiteY13" fmla="*/ 39 h 2426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2612407" h="242629">
                <a:moveTo>
                  <a:pt x="2167599" y="0"/>
                </a:moveTo>
                <a:lnTo>
                  <a:pt x="2369686" y="0"/>
                </a:lnTo>
                <a:lnTo>
                  <a:pt x="2369785" y="0"/>
                </a:lnTo>
                <a:cubicBezTo>
                  <a:pt x="2503744" y="0"/>
                  <a:pt x="2612407" y="108561"/>
                  <a:pt x="2612407" y="242620"/>
                </a:cubicBezTo>
                <a:lnTo>
                  <a:pt x="2253937" y="242620"/>
                </a:lnTo>
                <a:lnTo>
                  <a:pt x="2253937" y="242629"/>
                </a:lnTo>
                <a:lnTo>
                  <a:pt x="444814" y="242602"/>
                </a:lnTo>
                <a:lnTo>
                  <a:pt x="444807" y="242622"/>
                </a:lnTo>
                <a:lnTo>
                  <a:pt x="242721" y="242622"/>
                </a:lnTo>
                <a:lnTo>
                  <a:pt x="242623" y="242622"/>
                </a:lnTo>
                <a:cubicBezTo>
                  <a:pt x="108663" y="242622"/>
                  <a:pt x="0" y="134061"/>
                  <a:pt x="0" y="2"/>
                </a:cubicBezTo>
                <a:lnTo>
                  <a:pt x="525681" y="2"/>
                </a:lnTo>
                <a:lnTo>
                  <a:pt x="525677" y="14"/>
                </a:lnTo>
                <a:lnTo>
                  <a:pt x="2167586" y="39"/>
                </a:lnTo>
                <a:close/>
              </a:path>
            </a:pathLst>
          </a:custGeom>
          <a:solidFill>
            <a:schemeClr val="tx1"/>
          </a:solidFill>
        </p:spPr>
        <p:txBody>
          <a:bodyPr wrap="square" lIns="0" tIns="0" rIns="0" bIns="0" anchor="ctr">
            <a:noAutofit/>
          </a:bodyPr>
          <a:lstStyle>
            <a:lvl1pPr algn="ctr">
              <a:spcBef>
                <a:spcPts val="600"/>
              </a:spcBef>
              <a:defRPr sz="1000">
                <a:solidFill>
                  <a:schemeClr val="bg1"/>
                </a:solidFill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pt-PT" dirty="0"/>
              <a:t>Texto</a:t>
            </a:r>
          </a:p>
        </p:txBody>
      </p:sp>
      <p:sp>
        <p:nvSpPr>
          <p:cNvPr id="47" name="Marcador de Posição do Texto 46">
            <a:extLst>
              <a:ext uri="{FF2B5EF4-FFF2-40B4-BE49-F238E27FC236}">
                <a16:creationId xmlns:a16="http://schemas.microsoft.com/office/drawing/2014/main" id="{816CE8FD-F128-BE02-6033-C31D2F6756FA}"/>
              </a:ext>
            </a:extLst>
          </p:cNvPr>
          <p:cNvSpPr>
            <a:spLocks noGrp="1"/>
          </p:cNvSpPr>
          <p:nvPr>
            <p:ph type="body" sz="quarter" idx="108" hasCustomPrompt="1"/>
          </p:nvPr>
        </p:nvSpPr>
        <p:spPr>
          <a:xfrm>
            <a:off x="7450535" y="3098599"/>
            <a:ext cx="2612407" cy="242629"/>
          </a:xfrm>
          <a:custGeom>
            <a:avLst/>
            <a:gdLst>
              <a:gd name="connsiteX0" fmla="*/ 2167599 w 2612407"/>
              <a:gd name="connsiteY0" fmla="*/ 0 h 242629"/>
              <a:gd name="connsiteX1" fmla="*/ 2369686 w 2612407"/>
              <a:gd name="connsiteY1" fmla="*/ 0 h 242629"/>
              <a:gd name="connsiteX2" fmla="*/ 2369785 w 2612407"/>
              <a:gd name="connsiteY2" fmla="*/ 0 h 242629"/>
              <a:gd name="connsiteX3" fmla="*/ 2612407 w 2612407"/>
              <a:gd name="connsiteY3" fmla="*/ 242620 h 242629"/>
              <a:gd name="connsiteX4" fmla="*/ 2253937 w 2612407"/>
              <a:gd name="connsiteY4" fmla="*/ 242620 h 242629"/>
              <a:gd name="connsiteX5" fmla="*/ 2253937 w 2612407"/>
              <a:gd name="connsiteY5" fmla="*/ 242629 h 242629"/>
              <a:gd name="connsiteX6" fmla="*/ 444814 w 2612407"/>
              <a:gd name="connsiteY6" fmla="*/ 242602 h 242629"/>
              <a:gd name="connsiteX7" fmla="*/ 444807 w 2612407"/>
              <a:gd name="connsiteY7" fmla="*/ 242622 h 242629"/>
              <a:gd name="connsiteX8" fmla="*/ 242721 w 2612407"/>
              <a:gd name="connsiteY8" fmla="*/ 242622 h 242629"/>
              <a:gd name="connsiteX9" fmla="*/ 242623 w 2612407"/>
              <a:gd name="connsiteY9" fmla="*/ 242622 h 242629"/>
              <a:gd name="connsiteX10" fmla="*/ 0 w 2612407"/>
              <a:gd name="connsiteY10" fmla="*/ 2 h 242629"/>
              <a:gd name="connsiteX11" fmla="*/ 525681 w 2612407"/>
              <a:gd name="connsiteY11" fmla="*/ 2 h 242629"/>
              <a:gd name="connsiteX12" fmla="*/ 525677 w 2612407"/>
              <a:gd name="connsiteY12" fmla="*/ 14 h 242629"/>
              <a:gd name="connsiteX13" fmla="*/ 2167586 w 2612407"/>
              <a:gd name="connsiteY13" fmla="*/ 39 h 2426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2612407" h="242629">
                <a:moveTo>
                  <a:pt x="2167599" y="0"/>
                </a:moveTo>
                <a:lnTo>
                  <a:pt x="2369686" y="0"/>
                </a:lnTo>
                <a:lnTo>
                  <a:pt x="2369785" y="0"/>
                </a:lnTo>
                <a:cubicBezTo>
                  <a:pt x="2503744" y="0"/>
                  <a:pt x="2612407" y="108561"/>
                  <a:pt x="2612407" y="242620"/>
                </a:cubicBezTo>
                <a:lnTo>
                  <a:pt x="2253937" y="242620"/>
                </a:lnTo>
                <a:lnTo>
                  <a:pt x="2253937" y="242629"/>
                </a:lnTo>
                <a:lnTo>
                  <a:pt x="444814" y="242602"/>
                </a:lnTo>
                <a:lnTo>
                  <a:pt x="444807" y="242622"/>
                </a:lnTo>
                <a:lnTo>
                  <a:pt x="242721" y="242622"/>
                </a:lnTo>
                <a:lnTo>
                  <a:pt x="242623" y="242622"/>
                </a:lnTo>
                <a:cubicBezTo>
                  <a:pt x="108663" y="242622"/>
                  <a:pt x="0" y="134061"/>
                  <a:pt x="0" y="2"/>
                </a:cubicBezTo>
                <a:lnTo>
                  <a:pt x="525681" y="2"/>
                </a:lnTo>
                <a:lnTo>
                  <a:pt x="525677" y="14"/>
                </a:lnTo>
                <a:lnTo>
                  <a:pt x="2167586" y="39"/>
                </a:lnTo>
                <a:close/>
              </a:path>
            </a:pathLst>
          </a:custGeom>
          <a:solidFill>
            <a:schemeClr val="tx1"/>
          </a:solidFill>
        </p:spPr>
        <p:txBody>
          <a:bodyPr wrap="square" lIns="0" tIns="0" rIns="0" bIns="0" anchor="ctr">
            <a:noAutofit/>
          </a:bodyPr>
          <a:lstStyle>
            <a:lvl1pPr algn="ctr">
              <a:spcBef>
                <a:spcPts val="600"/>
              </a:spcBef>
              <a:defRPr sz="1000">
                <a:solidFill>
                  <a:schemeClr val="bg1"/>
                </a:solidFill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pt-PT" dirty="0"/>
              <a:t>Texto</a:t>
            </a:r>
          </a:p>
        </p:txBody>
      </p:sp>
      <p:sp>
        <p:nvSpPr>
          <p:cNvPr id="48" name="Marcador de Posição do Texto 10">
            <a:extLst>
              <a:ext uri="{FF2B5EF4-FFF2-40B4-BE49-F238E27FC236}">
                <a16:creationId xmlns:a16="http://schemas.microsoft.com/office/drawing/2014/main" id="{01BC9DA0-B609-1082-04D7-373305EF0F1E}"/>
              </a:ext>
            </a:extLst>
          </p:cNvPr>
          <p:cNvSpPr>
            <a:spLocks noGrp="1"/>
          </p:cNvSpPr>
          <p:nvPr>
            <p:ph type="body" sz="quarter" idx="109" hasCustomPrompt="1"/>
          </p:nvPr>
        </p:nvSpPr>
        <p:spPr>
          <a:xfrm>
            <a:off x="3486147" y="2605570"/>
            <a:ext cx="6257928" cy="247210"/>
          </a:xfrm>
        </p:spPr>
        <p:txBody>
          <a:bodyPr anchor="ctr">
            <a:noAutofit/>
          </a:bodyPr>
          <a:lstStyle>
            <a:lvl1pPr algn="ctr">
              <a:spcBef>
                <a:spcPts val="600"/>
              </a:spcBef>
              <a:defRPr lang="pt-PT" sz="1200" kern="1200" cap="all" baseline="0" dirty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pt-PT" dirty="0"/>
              <a:t>Texto destacado</a:t>
            </a:r>
          </a:p>
        </p:txBody>
      </p:sp>
      <p:sp>
        <p:nvSpPr>
          <p:cNvPr id="49" name="Marcador de Posição do Texto 10">
            <a:extLst>
              <a:ext uri="{FF2B5EF4-FFF2-40B4-BE49-F238E27FC236}">
                <a16:creationId xmlns:a16="http://schemas.microsoft.com/office/drawing/2014/main" id="{BAEF470C-D63F-5C7B-A17A-097E0D9BFD78}"/>
              </a:ext>
            </a:extLst>
          </p:cNvPr>
          <p:cNvSpPr>
            <a:spLocks noGrp="1"/>
          </p:cNvSpPr>
          <p:nvPr>
            <p:ph type="body" sz="quarter" idx="110" hasCustomPrompt="1"/>
          </p:nvPr>
        </p:nvSpPr>
        <p:spPr>
          <a:xfrm>
            <a:off x="7757405" y="3472538"/>
            <a:ext cx="1998666" cy="233235"/>
          </a:xfrm>
        </p:spPr>
        <p:txBody>
          <a:bodyPr lIns="0" tIns="0" rIns="0" bIns="0" anchor="ctr">
            <a:noAutofit/>
          </a:bodyPr>
          <a:lstStyle>
            <a:lvl1pPr algn="ctr">
              <a:spcBef>
                <a:spcPts val="600"/>
              </a:spcBef>
              <a:defRPr sz="1000">
                <a:solidFill>
                  <a:schemeClr val="tx2"/>
                </a:solidFill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pt-PT" dirty="0"/>
              <a:t>Texto</a:t>
            </a:r>
          </a:p>
        </p:txBody>
      </p:sp>
      <p:sp>
        <p:nvSpPr>
          <p:cNvPr id="50" name="Marcador de Posição do Texto 10">
            <a:extLst>
              <a:ext uri="{FF2B5EF4-FFF2-40B4-BE49-F238E27FC236}">
                <a16:creationId xmlns:a16="http://schemas.microsoft.com/office/drawing/2014/main" id="{6EDEE939-0631-5362-1289-529839046AFB}"/>
              </a:ext>
            </a:extLst>
          </p:cNvPr>
          <p:cNvSpPr>
            <a:spLocks noGrp="1"/>
          </p:cNvSpPr>
          <p:nvPr>
            <p:ph type="body" sz="quarter" idx="111" hasCustomPrompt="1"/>
          </p:nvPr>
        </p:nvSpPr>
        <p:spPr>
          <a:xfrm>
            <a:off x="3499408" y="3472538"/>
            <a:ext cx="1998666" cy="233235"/>
          </a:xfrm>
        </p:spPr>
        <p:txBody>
          <a:bodyPr lIns="0" tIns="0" rIns="0" bIns="0" anchor="ctr">
            <a:noAutofit/>
          </a:bodyPr>
          <a:lstStyle>
            <a:lvl1pPr algn="ctr">
              <a:spcBef>
                <a:spcPts val="600"/>
              </a:spcBef>
              <a:defRPr sz="1000">
                <a:solidFill>
                  <a:schemeClr val="tx2"/>
                </a:solidFill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pt-PT" dirty="0"/>
              <a:t>Texto</a:t>
            </a:r>
          </a:p>
        </p:txBody>
      </p:sp>
      <p:sp>
        <p:nvSpPr>
          <p:cNvPr id="51" name="Marcador de Posição do Texto 10">
            <a:extLst>
              <a:ext uri="{FF2B5EF4-FFF2-40B4-BE49-F238E27FC236}">
                <a16:creationId xmlns:a16="http://schemas.microsoft.com/office/drawing/2014/main" id="{6729C2CB-40DF-F24C-EF7A-D7A5668A2129}"/>
              </a:ext>
            </a:extLst>
          </p:cNvPr>
          <p:cNvSpPr>
            <a:spLocks noGrp="1"/>
          </p:cNvSpPr>
          <p:nvPr>
            <p:ph type="body" sz="quarter" idx="112" hasCustomPrompt="1"/>
          </p:nvPr>
        </p:nvSpPr>
        <p:spPr>
          <a:xfrm>
            <a:off x="2073837" y="2729175"/>
            <a:ext cx="958284" cy="233235"/>
          </a:xfrm>
        </p:spPr>
        <p:txBody>
          <a:bodyPr lIns="0" tIns="0" rIns="0" bIns="0" anchor="ctr">
            <a:noAutofit/>
          </a:bodyPr>
          <a:lstStyle>
            <a:lvl1pPr algn="l">
              <a:spcBef>
                <a:spcPts val="600"/>
              </a:spcBef>
              <a:defRPr sz="1000">
                <a:solidFill>
                  <a:schemeClr val="tx2"/>
                </a:solidFill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pt-PT" dirty="0"/>
              <a:t>Texto</a:t>
            </a:r>
          </a:p>
        </p:txBody>
      </p:sp>
      <p:sp>
        <p:nvSpPr>
          <p:cNvPr id="56" name="Marcador de Posição do Texto 10">
            <a:extLst>
              <a:ext uri="{FF2B5EF4-FFF2-40B4-BE49-F238E27FC236}">
                <a16:creationId xmlns:a16="http://schemas.microsoft.com/office/drawing/2014/main" id="{68D3E1B5-AC45-FFE2-D2BF-E61A4E236C09}"/>
              </a:ext>
            </a:extLst>
          </p:cNvPr>
          <p:cNvSpPr>
            <a:spLocks noGrp="1"/>
          </p:cNvSpPr>
          <p:nvPr userDrawn="1">
            <p:ph type="body" sz="quarter" idx="113" hasCustomPrompt="1"/>
          </p:nvPr>
        </p:nvSpPr>
        <p:spPr>
          <a:xfrm>
            <a:off x="1845237" y="4535260"/>
            <a:ext cx="958284" cy="233235"/>
          </a:xfrm>
        </p:spPr>
        <p:txBody>
          <a:bodyPr lIns="0" tIns="0" rIns="0" bIns="0" anchor="ctr">
            <a:noAutofit/>
          </a:bodyPr>
          <a:lstStyle>
            <a:lvl1pPr algn="ctr">
              <a:spcBef>
                <a:spcPts val="600"/>
              </a:spcBef>
              <a:defRPr sz="1000">
                <a:solidFill>
                  <a:schemeClr val="tx2"/>
                </a:solidFill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pt-PT" dirty="0"/>
              <a:t>Texto</a:t>
            </a:r>
          </a:p>
        </p:txBody>
      </p:sp>
      <p:sp>
        <p:nvSpPr>
          <p:cNvPr id="57" name="Marcador de Posição do Texto 10">
            <a:extLst>
              <a:ext uri="{FF2B5EF4-FFF2-40B4-BE49-F238E27FC236}">
                <a16:creationId xmlns:a16="http://schemas.microsoft.com/office/drawing/2014/main" id="{17F037D4-7C3C-3014-917E-05A59423C1B7}"/>
              </a:ext>
            </a:extLst>
          </p:cNvPr>
          <p:cNvSpPr>
            <a:spLocks noGrp="1"/>
          </p:cNvSpPr>
          <p:nvPr userDrawn="1">
            <p:ph type="body" sz="quarter" idx="114" hasCustomPrompt="1"/>
          </p:nvPr>
        </p:nvSpPr>
        <p:spPr>
          <a:xfrm>
            <a:off x="3007005" y="4535260"/>
            <a:ext cx="958284" cy="233235"/>
          </a:xfrm>
        </p:spPr>
        <p:txBody>
          <a:bodyPr lIns="0" tIns="0" rIns="0" bIns="0" anchor="ctr">
            <a:noAutofit/>
          </a:bodyPr>
          <a:lstStyle>
            <a:lvl1pPr algn="ctr">
              <a:spcBef>
                <a:spcPts val="600"/>
              </a:spcBef>
              <a:defRPr sz="1000">
                <a:solidFill>
                  <a:schemeClr val="tx2"/>
                </a:solidFill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pt-PT" dirty="0"/>
              <a:t>Texto</a:t>
            </a:r>
          </a:p>
        </p:txBody>
      </p:sp>
      <p:sp>
        <p:nvSpPr>
          <p:cNvPr id="75" name="Marcador de Posição do Texto 74">
            <a:extLst>
              <a:ext uri="{FF2B5EF4-FFF2-40B4-BE49-F238E27FC236}">
                <a16:creationId xmlns:a16="http://schemas.microsoft.com/office/drawing/2014/main" id="{FF7F1916-0DCB-AD68-271B-870C6A6E386E}"/>
              </a:ext>
            </a:extLst>
          </p:cNvPr>
          <p:cNvSpPr>
            <a:spLocks noGrp="1"/>
          </p:cNvSpPr>
          <p:nvPr userDrawn="1">
            <p:ph type="body" sz="quarter" idx="115" hasCustomPrompt="1"/>
          </p:nvPr>
        </p:nvSpPr>
        <p:spPr>
          <a:xfrm>
            <a:off x="557083" y="3948406"/>
            <a:ext cx="3805754" cy="2366669"/>
          </a:xfrm>
          <a:custGeom>
            <a:avLst/>
            <a:gdLst>
              <a:gd name="connsiteX0" fmla="*/ 2844119 w 3805754"/>
              <a:gd name="connsiteY0" fmla="*/ 0 h 2366669"/>
              <a:gd name="connsiteX1" fmla="*/ 3281012 w 3805754"/>
              <a:gd name="connsiteY1" fmla="*/ 0 h 2366669"/>
              <a:gd name="connsiteX2" fmla="*/ 3281225 w 3805754"/>
              <a:gd name="connsiteY2" fmla="*/ 0 h 2366669"/>
              <a:gd name="connsiteX3" fmla="*/ 3795094 w 3805754"/>
              <a:gd name="connsiteY3" fmla="*/ 418775 h 2366669"/>
              <a:gd name="connsiteX4" fmla="*/ 3805750 w 3805754"/>
              <a:gd name="connsiteY4" fmla="*/ 524482 h 2366669"/>
              <a:gd name="connsiteX5" fmla="*/ 3805754 w 3805754"/>
              <a:gd name="connsiteY5" fmla="*/ 524482 h 2366669"/>
              <a:gd name="connsiteX6" fmla="*/ 3805754 w 3805754"/>
              <a:gd name="connsiteY6" fmla="*/ 524524 h 2366669"/>
              <a:gd name="connsiteX7" fmla="*/ 3805754 w 3805754"/>
              <a:gd name="connsiteY7" fmla="*/ 2366669 h 2366669"/>
              <a:gd name="connsiteX8" fmla="*/ 1 w 3805754"/>
              <a:gd name="connsiteY8" fmla="*/ 2366669 h 2366669"/>
              <a:gd name="connsiteX9" fmla="*/ 1 w 3805754"/>
              <a:gd name="connsiteY9" fmla="*/ 681994 h 2366669"/>
              <a:gd name="connsiteX10" fmla="*/ 0 w 3805754"/>
              <a:gd name="connsiteY10" fmla="*/ 681994 h 2366669"/>
              <a:gd name="connsiteX11" fmla="*/ 0 w 3805754"/>
              <a:gd name="connsiteY11" fmla="*/ 524459 h 2366669"/>
              <a:gd name="connsiteX12" fmla="*/ 0 w 3805754"/>
              <a:gd name="connsiteY12" fmla="*/ 318794 h 2366669"/>
              <a:gd name="connsiteX13" fmla="*/ 0 w 3805754"/>
              <a:gd name="connsiteY13" fmla="*/ 2 h 2366669"/>
              <a:gd name="connsiteX14" fmla="*/ 2844099 w 3805754"/>
              <a:gd name="connsiteY14" fmla="*/ 60 h 23666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3805754" h="2366669">
                <a:moveTo>
                  <a:pt x="2844119" y="0"/>
                </a:moveTo>
                <a:lnTo>
                  <a:pt x="3281012" y="0"/>
                </a:lnTo>
                <a:lnTo>
                  <a:pt x="3281225" y="0"/>
                </a:lnTo>
                <a:cubicBezTo>
                  <a:pt x="3534633" y="0"/>
                  <a:pt x="3746170" y="179692"/>
                  <a:pt x="3795094" y="418775"/>
                </a:cubicBezTo>
                <a:lnTo>
                  <a:pt x="3805750" y="524482"/>
                </a:lnTo>
                <a:lnTo>
                  <a:pt x="3805754" y="524482"/>
                </a:lnTo>
                <a:lnTo>
                  <a:pt x="3805754" y="524524"/>
                </a:lnTo>
                <a:lnTo>
                  <a:pt x="3805754" y="2366669"/>
                </a:lnTo>
                <a:lnTo>
                  <a:pt x="1" y="2366669"/>
                </a:lnTo>
                <a:lnTo>
                  <a:pt x="1" y="681994"/>
                </a:lnTo>
                <a:lnTo>
                  <a:pt x="0" y="681994"/>
                </a:lnTo>
                <a:lnTo>
                  <a:pt x="0" y="524459"/>
                </a:lnTo>
                <a:lnTo>
                  <a:pt x="0" y="318794"/>
                </a:lnTo>
                <a:lnTo>
                  <a:pt x="0" y="2"/>
                </a:lnTo>
                <a:lnTo>
                  <a:pt x="2844099" y="60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lIns="216000" tIns="216000" rIns="108000" anchor="t">
            <a:noAutofit/>
          </a:bodyPr>
          <a:lstStyle>
            <a:lvl1pPr algn="l">
              <a:spcBef>
                <a:spcPts val="600"/>
              </a:spcBef>
              <a:defRPr lang="pt-PT" sz="1200" kern="1200" cap="all" baseline="0" dirty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pt-PT" dirty="0"/>
              <a:t>Texto destacado</a:t>
            </a:r>
          </a:p>
        </p:txBody>
      </p:sp>
      <p:sp>
        <p:nvSpPr>
          <p:cNvPr id="63" name="Marcador de Posição do Texto 10">
            <a:extLst>
              <a:ext uri="{FF2B5EF4-FFF2-40B4-BE49-F238E27FC236}">
                <a16:creationId xmlns:a16="http://schemas.microsoft.com/office/drawing/2014/main" id="{348A31A7-0A1B-867E-3BBE-94CE8A6D11A7}"/>
              </a:ext>
            </a:extLst>
          </p:cNvPr>
          <p:cNvSpPr>
            <a:spLocks noGrp="1"/>
          </p:cNvSpPr>
          <p:nvPr userDrawn="1">
            <p:ph type="body" sz="quarter" idx="116" hasCustomPrompt="1"/>
          </p:nvPr>
        </p:nvSpPr>
        <p:spPr>
          <a:xfrm>
            <a:off x="1552574" y="5492674"/>
            <a:ext cx="650313" cy="233235"/>
          </a:xfrm>
        </p:spPr>
        <p:txBody>
          <a:bodyPr lIns="0" tIns="0" rIns="0" bIns="0" anchor="ctr">
            <a:noAutofit/>
          </a:bodyPr>
          <a:lstStyle>
            <a:lvl1pPr algn="ctr">
              <a:spcBef>
                <a:spcPts val="600"/>
              </a:spcBef>
              <a:defRPr sz="1000">
                <a:solidFill>
                  <a:schemeClr val="tx2"/>
                </a:solidFill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pt-PT" dirty="0"/>
              <a:t>Texto</a:t>
            </a:r>
          </a:p>
        </p:txBody>
      </p:sp>
      <p:sp>
        <p:nvSpPr>
          <p:cNvPr id="64" name="Marcador de Posição do Texto 10">
            <a:extLst>
              <a:ext uri="{FF2B5EF4-FFF2-40B4-BE49-F238E27FC236}">
                <a16:creationId xmlns:a16="http://schemas.microsoft.com/office/drawing/2014/main" id="{3206F069-2C8F-C6A5-57EF-4EF57586C645}"/>
              </a:ext>
            </a:extLst>
          </p:cNvPr>
          <p:cNvSpPr>
            <a:spLocks noGrp="1"/>
          </p:cNvSpPr>
          <p:nvPr userDrawn="1">
            <p:ph type="body" sz="quarter" idx="117" hasCustomPrompt="1"/>
          </p:nvPr>
        </p:nvSpPr>
        <p:spPr>
          <a:xfrm>
            <a:off x="2235200" y="5492674"/>
            <a:ext cx="650313" cy="233235"/>
          </a:xfrm>
        </p:spPr>
        <p:txBody>
          <a:bodyPr lIns="0" tIns="0" rIns="0" bIns="0" anchor="ctr">
            <a:noAutofit/>
          </a:bodyPr>
          <a:lstStyle>
            <a:lvl1pPr algn="ctr">
              <a:spcBef>
                <a:spcPts val="600"/>
              </a:spcBef>
              <a:defRPr sz="1000">
                <a:solidFill>
                  <a:schemeClr val="tx2"/>
                </a:solidFill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pt-PT" dirty="0"/>
              <a:t>Texto</a:t>
            </a:r>
          </a:p>
        </p:txBody>
      </p:sp>
      <p:sp>
        <p:nvSpPr>
          <p:cNvPr id="65" name="Marcador de Posição do Texto 10">
            <a:extLst>
              <a:ext uri="{FF2B5EF4-FFF2-40B4-BE49-F238E27FC236}">
                <a16:creationId xmlns:a16="http://schemas.microsoft.com/office/drawing/2014/main" id="{D1BE0400-148D-DAB6-21D3-4A39A78FC553}"/>
              </a:ext>
            </a:extLst>
          </p:cNvPr>
          <p:cNvSpPr>
            <a:spLocks noGrp="1"/>
          </p:cNvSpPr>
          <p:nvPr userDrawn="1">
            <p:ph type="body" sz="quarter" idx="118" hasCustomPrompt="1"/>
          </p:nvPr>
        </p:nvSpPr>
        <p:spPr>
          <a:xfrm>
            <a:off x="2917826" y="5492674"/>
            <a:ext cx="650313" cy="233235"/>
          </a:xfrm>
        </p:spPr>
        <p:txBody>
          <a:bodyPr lIns="0" tIns="0" rIns="0" bIns="0" anchor="ctr">
            <a:noAutofit/>
          </a:bodyPr>
          <a:lstStyle>
            <a:lvl1pPr algn="ctr">
              <a:spcBef>
                <a:spcPts val="600"/>
              </a:spcBef>
              <a:defRPr sz="1000">
                <a:solidFill>
                  <a:schemeClr val="tx2"/>
                </a:solidFill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pt-PT" dirty="0"/>
              <a:t>Texto</a:t>
            </a:r>
          </a:p>
        </p:txBody>
      </p:sp>
      <p:sp>
        <p:nvSpPr>
          <p:cNvPr id="66" name="Marcador de Posição do Texto 10">
            <a:extLst>
              <a:ext uri="{FF2B5EF4-FFF2-40B4-BE49-F238E27FC236}">
                <a16:creationId xmlns:a16="http://schemas.microsoft.com/office/drawing/2014/main" id="{B1A352F9-3E51-A36F-F42F-ABEF08D3765F}"/>
              </a:ext>
            </a:extLst>
          </p:cNvPr>
          <p:cNvSpPr>
            <a:spLocks noGrp="1"/>
          </p:cNvSpPr>
          <p:nvPr userDrawn="1">
            <p:ph type="body" sz="quarter" idx="119" hasCustomPrompt="1"/>
          </p:nvPr>
        </p:nvSpPr>
        <p:spPr>
          <a:xfrm>
            <a:off x="3606238" y="5492674"/>
            <a:ext cx="650313" cy="233235"/>
          </a:xfrm>
        </p:spPr>
        <p:txBody>
          <a:bodyPr lIns="0" tIns="0" rIns="0" bIns="0" anchor="ctr">
            <a:noAutofit/>
          </a:bodyPr>
          <a:lstStyle>
            <a:lvl1pPr algn="ctr">
              <a:spcBef>
                <a:spcPts val="600"/>
              </a:spcBef>
              <a:defRPr sz="1000">
                <a:solidFill>
                  <a:schemeClr val="tx2"/>
                </a:solidFill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pt-PT" dirty="0"/>
              <a:t>Texto</a:t>
            </a:r>
          </a:p>
        </p:txBody>
      </p:sp>
      <p:sp>
        <p:nvSpPr>
          <p:cNvPr id="67" name="Marcador de Posição da Imagem 66">
            <a:extLst>
              <a:ext uri="{FF2B5EF4-FFF2-40B4-BE49-F238E27FC236}">
                <a16:creationId xmlns:a16="http://schemas.microsoft.com/office/drawing/2014/main" id="{7DDC65AD-A095-0888-7191-FB54B5098DCD}"/>
              </a:ext>
            </a:extLst>
          </p:cNvPr>
          <p:cNvSpPr>
            <a:spLocks noGrp="1"/>
          </p:cNvSpPr>
          <p:nvPr userDrawn="1">
            <p:ph type="pic" sz="quarter" idx="120"/>
          </p:nvPr>
        </p:nvSpPr>
        <p:spPr>
          <a:xfrm>
            <a:off x="557083" y="4720886"/>
            <a:ext cx="815575" cy="754362"/>
          </a:xfrm>
          <a:custGeom>
            <a:avLst/>
            <a:gdLst>
              <a:gd name="connsiteX0" fmla="*/ 0 w 768527"/>
              <a:gd name="connsiteY0" fmla="*/ 0 h 710845"/>
              <a:gd name="connsiteX1" fmla="*/ 367552 w 768527"/>
              <a:gd name="connsiteY1" fmla="*/ 65 h 710845"/>
              <a:gd name="connsiteX2" fmla="*/ 367574 w 768527"/>
              <a:gd name="connsiteY2" fmla="*/ 0 h 710845"/>
              <a:gd name="connsiteX3" fmla="*/ 549736 w 768527"/>
              <a:gd name="connsiteY3" fmla="*/ 0 h 710845"/>
              <a:gd name="connsiteX4" fmla="*/ 549825 w 768527"/>
              <a:gd name="connsiteY4" fmla="*/ 0 h 710845"/>
              <a:gd name="connsiteX5" fmla="*/ 764082 w 768527"/>
              <a:gd name="connsiteY5" fmla="*/ 174608 h 710845"/>
              <a:gd name="connsiteX6" fmla="*/ 768525 w 768527"/>
              <a:gd name="connsiteY6" fmla="*/ 218682 h 710845"/>
              <a:gd name="connsiteX7" fmla="*/ 768527 w 768527"/>
              <a:gd name="connsiteY7" fmla="*/ 218682 h 710845"/>
              <a:gd name="connsiteX8" fmla="*/ 768527 w 768527"/>
              <a:gd name="connsiteY8" fmla="*/ 218700 h 710845"/>
              <a:gd name="connsiteX9" fmla="*/ 768527 w 768527"/>
              <a:gd name="connsiteY9" fmla="*/ 710845 h 710845"/>
              <a:gd name="connsiteX10" fmla="*/ 180179 w 768527"/>
              <a:gd name="connsiteY10" fmla="*/ 710845 h 710845"/>
              <a:gd name="connsiteX11" fmla="*/ 0 w 768527"/>
              <a:gd name="connsiteY11" fmla="*/ 710813 h 7108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768527" h="710845">
                <a:moveTo>
                  <a:pt x="0" y="0"/>
                </a:moveTo>
                <a:lnTo>
                  <a:pt x="367552" y="65"/>
                </a:lnTo>
                <a:lnTo>
                  <a:pt x="367574" y="0"/>
                </a:lnTo>
                <a:lnTo>
                  <a:pt x="549736" y="0"/>
                </a:lnTo>
                <a:lnTo>
                  <a:pt x="549825" y="0"/>
                </a:lnTo>
                <a:cubicBezTo>
                  <a:pt x="655483" y="0"/>
                  <a:pt x="743683" y="74923"/>
                  <a:pt x="764082" y="174608"/>
                </a:cubicBezTo>
                <a:lnTo>
                  <a:pt x="768525" y="218682"/>
                </a:lnTo>
                <a:lnTo>
                  <a:pt x="768527" y="218682"/>
                </a:lnTo>
                <a:lnTo>
                  <a:pt x="768527" y="218700"/>
                </a:lnTo>
                <a:lnTo>
                  <a:pt x="768527" y="710845"/>
                </a:lnTo>
                <a:lnTo>
                  <a:pt x="180179" y="710845"/>
                </a:lnTo>
                <a:lnTo>
                  <a:pt x="0" y="710813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pt-PT"/>
          </a:p>
        </p:txBody>
      </p:sp>
      <p:sp>
        <p:nvSpPr>
          <p:cNvPr id="68" name="Marcador de Posição do Texto 10">
            <a:extLst>
              <a:ext uri="{FF2B5EF4-FFF2-40B4-BE49-F238E27FC236}">
                <a16:creationId xmlns:a16="http://schemas.microsoft.com/office/drawing/2014/main" id="{84AFCEDC-CD4F-CF0D-9BB2-628A253AA0DB}"/>
              </a:ext>
            </a:extLst>
          </p:cNvPr>
          <p:cNvSpPr>
            <a:spLocks noGrp="1"/>
          </p:cNvSpPr>
          <p:nvPr userDrawn="1">
            <p:ph type="body" sz="quarter" idx="121" hasCustomPrompt="1"/>
          </p:nvPr>
        </p:nvSpPr>
        <p:spPr>
          <a:xfrm>
            <a:off x="1552574" y="4921902"/>
            <a:ext cx="2703977" cy="247210"/>
          </a:xfrm>
        </p:spPr>
        <p:txBody>
          <a:bodyPr anchor="ctr">
            <a:noAutofit/>
          </a:bodyPr>
          <a:lstStyle>
            <a:lvl1pPr algn="ctr">
              <a:spcBef>
                <a:spcPts val="600"/>
              </a:spcBef>
              <a:defRPr lang="pt-PT" sz="1200" kern="1200" cap="all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pt-PT" dirty="0"/>
              <a:t>Texto destacado</a:t>
            </a:r>
          </a:p>
        </p:txBody>
      </p:sp>
      <p:sp>
        <p:nvSpPr>
          <p:cNvPr id="69" name="Marcador de Posição do Texto 10">
            <a:extLst>
              <a:ext uri="{FF2B5EF4-FFF2-40B4-BE49-F238E27FC236}">
                <a16:creationId xmlns:a16="http://schemas.microsoft.com/office/drawing/2014/main" id="{F009DC11-A529-B38B-BE87-669501314CBD}"/>
              </a:ext>
            </a:extLst>
          </p:cNvPr>
          <p:cNvSpPr>
            <a:spLocks noGrp="1"/>
          </p:cNvSpPr>
          <p:nvPr userDrawn="1">
            <p:ph type="body" sz="quarter" idx="122" hasCustomPrompt="1"/>
          </p:nvPr>
        </p:nvSpPr>
        <p:spPr>
          <a:xfrm>
            <a:off x="2451096" y="5093120"/>
            <a:ext cx="854080" cy="233235"/>
          </a:xfrm>
        </p:spPr>
        <p:txBody>
          <a:bodyPr lIns="0" tIns="0" rIns="0" bIns="0" anchor="ctr">
            <a:noAutofit/>
          </a:bodyPr>
          <a:lstStyle>
            <a:lvl1pPr algn="ctr">
              <a:spcBef>
                <a:spcPts val="600"/>
              </a:spcBef>
              <a:defRPr sz="1000">
                <a:solidFill>
                  <a:schemeClr val="tx1"/>
                </a:solidFill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pt-PT" dirty="0"/>
              <a:t>Texto</a:t>
            </a:r>
          </a:p>
        </p:txBody>
      </p:sp>
      <p:sp>
        <p:nvSpPr>
          <p:cNvPr id="70" name="Marcador de Posição do Texto 10">
            <a:extLst>
              <a:ext uri="{FF2B5EF4-FFF2-40B4-BE49-F238E27FC236}">
                <a16:creationId xmlns:a16="http://schemas.microsoft.com/office/drawing/2014/main" id="{D32C37DB-3EC8-FD83-74FE-49032937EF17}"/>
              </a:ext>
            </a:extLst>
          </p:cNvPr>
          <p:cNvSpPr>
            <a:spLocks noGrp="1"/>
          </p:cNvSpPr>
          <p:nvPr userDrawn="1">
            <p:ph type="body" sz="quarter" idx="123" hasCustomPrompt="1"/>
          </p:nvPr>
        </p:nvSpPr>
        <p:spPr>
          <a:xfrm>
            <a:off x="557083" y="5498289"/>
            <a:ext cx="815576" cy="233235"/>
          </a:xfrm>
        </p:spPr>
        <p:txBody>
          <a:bodyPr lIns="0" tIns="0" rIns="0" bIns="0" anchor="ctr">
            <a:noAutofit/>
          </a:bodyPr>
          <a:lstStyle>
            <a:lvl1pPr algn="ctr">
              <a:spcBef>
                <a:spcPts val="600"/>
              </a:spcBef>
              <a:defRPr sz="1000">
                <a:solidFill>
                  <a:schemeClr val="tx2"/>
                </a:solidFill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pt-PT" dirty="0"/>
              <a:t>Texto</a:t>
            </a:r>
          </a:p>
        </p:txBody>
      </p:sp>
      <p:sp>
        <p:nvSpPr>
          <p:cNvPr id="71" name="Marcador de Posição do Texto 10">
            <a:extLst>
              <a:ext uri="{FF2B5EF4-FFF2-40B4-BE49-F238E27FC236}">
                <a16:creationId xmlns:a16="http://schemas.microsoft.com/office/drawing/2014/main" id="{3FAE84E2-46CA-D974-E74F-7F8D3FA44879}"/>
              </a:ext>
            </a:extLst>
          </p:cNvPr>
          <p:cNvSpPr>
            <a:spLocks noGrp="1"/>
          </p:cNvSpPr>
          <p:nvPr userDrawn="1">
            <p:ph type="body" sz="quarter" idx="124" hasCustomPrompt="1"/>
          </p:nvPr>
        </p:nvSpPr>
        <p:spPr>
          <a:xfrm>
            <a:off x="1845237" y="5891673"/>
            <a:ext cx="958284" cy="233235"/>
          </a:xfrm>
        </p:spPr>
        <p:txBody>
          <a:bodyPr lIns="0" tIns="0" rIns="0" bIns="0" anchor="ctr">
            <a:noAutofit/>
          </a:bodyPr>
          <a:lstStyle>
            <a:lvl1pPr algn="ctr">
              <a:spcBef>
                <a:spcPts val="600"/>
              </a:spcBef>
              <a:defRPr sz="1000">
                <a:solidFill>
                  <a:schemeClr val="tx2"/>
                </a:solidFill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pt-PT" dirty="0"/>
              <a:t>Texto</a:t>
            </a:r>
          </a:p>
        </p:txBody>
      </p:sp>
      <p:grpSp>
        <p:nvGrpSpPr>
          <p:cNvPr id="76" name="Agrupar 75">
            <a:extLst>
              <a:ext uri="{FF2B5EF4-FFF2-40B4-BE49-F238E27FC236}">
                <a16:creationId xmlns:a16="http://schemas.microsoft.com/office/drawing/2014/main" id="{5EDB4C7B-66DD-B52E-5522-82C042914CFD}"/>
              </a:ext>
            </a:extLst>
          </p:cNvPr>
          <p:cNvGrpSpPr/>
          <p:nvPr userDrawn="1"/>
        </p:nvGrpSpPr>
        <p:grpSpPr>
          <a:xfrm>
            <a:off x="4493483" y="3945978"/>
            <a:ext cx="2695792" cy="1461825"/>
            <a:chOff x="9888416" y="1557974"/>
            <a:chExt cx="2695792" cy="1461825"/>
          </a:xfrm>
          <a:solidFill>
            <a:srgbClr val="E5E5E5"/>
          </a:solidFill>
        </p:grpSpPr>
        <p:sp>
          <p:nvSpPr>
            <p:cNvPr id="77" name="Forma livre: Forma 76">
              <a:extLst>
                <a:ext uri="{FF2B5EF4-FFF2-40B4-BE49-F238E27FC236}">
                  <a16:creationId xmlns:a16="http://schemas.microsoft.com/office/drawing/2014/main" id="{4090AD9E-D818-D1AB-56B4-619D2FF94D53}"/>
                </a:ext>
              </a:extLst>
            </p:cNvPr>
            <p:cNvSpPr/>
            <p:nvPr/>
          </p:nvSpPr>
          <p:spPr>
            <a:xfrm flipV="1">
              <a:off x="9888416" y="1557974"/>
              <a:ext cx="1862762" cy="524519"/>
            </a:xfrm>
            <a:custGeom>
              <a:avLst/>
              <a:gdLst>
                <a:gd name="connsiteX0" fmla="*/ 2220906 w 2220906"/>
                <a:gd name="connsiteY0" fmla="*/ 0 h 524519"/>
                <a:gd name="connsiteX1" fmla="*/ 2220906 w 2220906"/>
                <a:gd name="connsiteY1" fmla="*/ 524457 h 524519"/>
                <a:gd name="connsiteX2" fmla="*/ 0 w 2220906"/>
                <a:gd name="connsiteY2" fmla="*/ 524519 h 524519"/>
                <a:gd name="connsiteX3" fmla="*/ 0 w 2220906"/>
                <a:gd name="connsiteY3" fmla="*/ 62 h 5245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220906" h="524519">
                  <a:moveTo>
                    <a:pt x="2220906" y="0"/>
                  </a:moveTo>
                  <a:lnTo>
                    <a:pt x="2220906" y="524457"/>
                  </a:lnTo>
                  <a:lnTo>
                    <a:pt x="0" y="524519"/>
                  </a:lnTo>
                  <a:lnTo>
                    <a:pt x="0" y="62"/>
                  </a:lnTo>
                  <a:close/>
                </a:path>
              </a:pathLst>
            </a:custGeom>
            <a:grpFill/>
            <a:ln w="4244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pt-PT">
                <a:solidFill>
                  <a:schemeClr val="tx1"/>
                </a:solidFill>
              </a:endParaRPr>
            </a:p>
          </p:txBody>
        </p:sp>
        <p:sp>
          <p:nvSpPr>
            <p:cNvPr id="78" name="Retângulo 77">
              <a:extLst>
                <a:ext uri="{FF2B5EF4-FFF2-40B4-BE49-F238E27FC236}">
                  <a16:creationId xmlns:a16="http://schemas.microsoft.com/office/drawing/2014/main" id="{B358CC3E-CE72-C417-F075-1D8918084603}"/>
                </a:ext>
              </a:extLst>
            </p:cNvPr>
            <p:cNvSpPr/>
            <p:nvPr/>
          </p:nvSpPr>
          <p:spPr>
            <a:xfrm>
              <a:off x="9888416" y="2082455"/>
              <a:ext cx="2695792" cy="937344"/>
            </a:xfrm>
            <a:prstGeom prst="rect">
              <a:avLst/>
            </a:prstGeom>
            <a:grpFill/>
            <a:ln w="4244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pt-PT">
                <a:solidFill>
                  <a:schemeClr val="tx1"/>
                </a:solidFill>
              </a:endParaRPr>
            </a:p>
          </p:txBody>
        </p:sp>
        <p:sp>
          <p:nvSpPr>
            <p:cNvPr id="79" name="Forma livre: Forma 78">
              <a:extLst>
                <a:ext uri="{FF2B5EF4-FFF2-40B4-BE49-F238E27FC236}">
                  <a16:creationId xmlns:a16="http://schemas.microsoft.com/office/drawing/2014/main" id="{64F66853-821A-1F6D-0A5A-67625052A72F}"/>
                </a:ext>
              </a:extLst>
            </p:cNvPr>
            <p:cNvSpPr/>
            <p:nvPr/>
          </p:nvSpPr>
          <p:spPr>
            <a:xfrm flipH="1" flipV="1">
              <a:off x="11447732" y="1557978"/>
              <a:ext cx="1136476" cy="524519"/>
            </a:xfrm>
            <a:custGeom>
              <a:avLst/>
              <a:gdLst>
                <a:gd name="connsiteX0" fmla="*/ 103570 w 224310"/>
                <a:gd name="connsiteY0" fmla="*/ 103528 h 103527"/>
                <a:gd name="connsiteX1" fmla="*/ 189801 w 224310"/>
                <a:gd name="connsiteY1" fmla="*/ 103528 h 103527"/>
                <a:gd name="connsiteX2" fmla="*/ 224310 w 224310"/>
                <a:gd name="connsiteY2" fmla="*/ 0 h 103527"/>
                <a:gd name="connsiteX3" fmla="*/ 0 w 224310"/>
                <a:gd name="connsiteY3" fmla="*/ 0 h 103527"/>
                <a:gd name="connsiteX4" fmla="*/ 103528 w 224310"/>
                <a:gd name="connsiteY4" fmla="*/ 103528 h 1035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24310" h="103527">
                  <a:moveTo>
                    <a:pt x="103570" y="103528"/>
                  </a:moveTo>
                  <a:lnTo>
                    <a:pt x="189801" y="103528"/>
                  </a:lnTo>
                  <a:lnTo>
                    <a:pt x="224310" y="0"/>
                  </a:lnTo>
                  <a:lnTo>
                    <a:pt x="0" y="0"/>
                  </a:lnTo>
                  <a:cubicBezTo>
                    <a:pt x="0" y="57204"/>
                    <a:pt x="46367" y="103528"/>
                    <a:pt x="103528" y="103528"/>
                  </a:cubicBezTo>
                  <a:close/>
                </a:path>
              </a:pathLst>
            </a:custGeom>
            <a:grpFill/>
            <a:ln w="42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sp>
        <p:nvSpPr>
          <p:cNvPr id="80" name="Marcador de Posição do Texto 10">
            <a:extLst>
              <a:ext uri="{FF2B5EF4-FFF2-40B4-BE49-F238E27FC236}">
                <a16:creationId xmlns:a16="http://schemas.microsoft.com/office/drawing/2014/main" id="{26800FA8-8546-CD59-320D-366F82A4ED32}"/>
              </a:ext>
            </a:extLst>
          </p:cNvPr>
          <p:cNvSpPr>
            <a:spLocks noGrp="1"/>
          </p:cNvSpPr>
          <p:nvPr>
            <p:ph type="body" sz="quarter" idx="125" hasCustomPrompt="1"/>
          </p:nvPr>
        </p:nvSpPr>
        <p:spPr>
          <a:xfrm>
            <a:off x="5770843" y="4166850"/>
            <a:ext cx="1136476" cy="233235"/>
          </a:xfrm>
        </p:spPr>
        <p:txBody>
          <a:bodyPr lIns="0" tIns="0" rIns="0" bIns="0" anchor="ctr">
            <a:noAutofit/>
          </a:bodyPr>
          <a:lstStyle>
            <a:lvl1pPr algn="l">
              <a:spcBef>
                <a:spcPts val="600"/>
              </a:spcBef>
              <a:defRPr sz="1000">
                <a:solidFill>
                  <a:schemeClr val="tx2"/>
                </a:solidFill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pt-PT" dirty="0"/>
              <a:t>Texto</a:t>
            </a:r>
          </a:p>
        </p:txBody>
      </p:sp>
      <p:sp>
        <p:nvSpPr>
          <p:cNvPr id="81" name="Marcador de Posição do Texto 10">
            <a:extLst>
              <a:ext uri="{FF2B5EF4-FFF2-40B4-BE49-F238E27FC236}">
                <a16:creationId xmlns:a16="http://schemas.microsoft.com/office/drawing/2014/main" id="{07D3F1FE-E2E1-6078-41C3-3ABBEC779417}"/>
              </a:ext>
            </a:extLst>
          </p:cNvPr>
          <p:cNvSpPr>
            <a:spLocks noGrp="1"/>
          </p:cNvSpPr>
          <p:nvPr>
            <p:ph type="body" sz="quarter" idx="126" hasCustomPrompt="1"/>
          </p:nvPr>
        </p:nvSpPr>
        <p:spPr>
          <a:xfrm>
            <a:off x="5770843" y="4543045"/>
            <a:ext cx="1136476" cy="233235"/>
          </a:xfrm>
        </p:spPr>
        <p:txBody>
          <a:bodyPr lIns="0" tIns="0" rIns="0" bIns="0" anchor="ctr">
            <a:noAutofit/>
          </a:bodyPr>
          <a:lstStyle>
            <a:lvl1pPr algn="l">
              <a:spcBef>
                <a:spcPts val="600"/>
              </a:spcBef>
              <a:defRPr sz="1000">
                <a:solidFill>
                  <a:schemeClr val="tx2"/>
                </a:solidFill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pt-PT" dirty="0"/>
              <a:t>Texto</a:t>
            </a:r>
          </a:p>
        </p:txBody>
      </p:sp>
      <p:sp>
        <p:nvSpPr>
          <p:cNvPr id="82" name="Marcador de Posição do Texto 10">
            <a:extLst>
              <a:ext uri="{FF2B5EF4-FFF2-40B4-BE49-F238E27FC236}">
                <a16:creationId xmlns:a16="http://schemas.microsoft.com/office/drawing/2014/main" id="{E94E4622-ED8F-9959-FC2C-5658B1F8F501}"/>
              </a:ext>
            </a:extLst>
          </p:cNvPr>
          <p:cNvSpPr>
            <a:spLocks noGrp="1"/>
          </p:cNvSpPr>
          <p:nvPr>
            <p:ph type="body" sz="quarter" idx="127" hasCustomPrompt="1"/>
          </p:nvPr>
        </p:nvSpPr>
        <p:spPr>
          <a:xfrm>
            <a:off x="5770843" y="4917400"/>
            <a:ext cx="1136476" cy="233235"/>
          </a:xfrm>
        </p:spPr>
        <p:txBody>
          <a:bodyPr lIns="0" tIns="0" rIns="0" bIns="0" anchor="ctr">
            <a:noAutofit/>
          </a:bodyPr>
          <a:lstStyle>
            <a:lvl1pPr algn="l">
              <a:spcBef>
                <a:spcPts val="600"/>
              </a:spcBef>
              <a:defRPr sz="1000">
                <a:solidFill>
                  <a:schemeClr val="tx2"/>
                </a:solidFill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pt-PT" dirty="0"/>
              <a:t>Texto</a:t>
            </a:r>
          </a:p>
        </p:txBody>
      </p:sp>
      <p:sp>
        <p:nvSpPr>
          <p:cNvPr id="87" name="Marcador de Posição do Texto 10">
            <a:extLst>
              <a:ext uri="{FF2B5EF4-FFF2-40B4-BE49-F238E27FC236}">
                <a16:creationId xmlns:a16="http://schemas.microsoft.com/office/drawing/2014/main" id="{4784C6AF-137D-796A-A763-9948AFC45EA4}"/>
              </a:ext>
            </a:extLst>
          </p:cNvPr>
          <p:cNvSpPr>
            <a:spLocks noGrp="1"/>
          </p:cNvSpPr>
          <p:nvPr userDrawn="1">
            <p:ph type="body" sz="quarter" idx="128" hasCustomPrompt="1"/>
          </p:nvPr>
        </p:nvSpPr>
        <p:spPr>
          <a:xfrm>
            <a:off x="4518995" y="5155830"/>
            <a:ext cx="1678717" cy="247210"/>
          </a:xfrm>
        </p:spPr>
        <p:txBody>
          <a:bodyPr anchor="ctr">
            <a:noAutofit/>
          </a:bodyPr>
          <a:lstStyle>
            <a:lvl1pPr algn="l">
              <a:spcBef>
                <a:spcPts val="600"/>
              </a:spcBef>
              <a:defRPr lang="pt-PT" sz="1000" kern="1200" cap="all" baseline="0" dirty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pt-PT" dirty="0"/>
              <a:t>Texto destacado</a:t>
            </a:r>
          </a:p>
        </p:txBody>
      </p:sp>
      <p:grpSp>
        <p:nvGrpSpPr>
          <p:cNvPr id="88" name="Agrupar 87">
            <a:extLst>
              <a:ext uri="{FF2B5EF4-FFF2-40B4-BE49-F238E27FC236}">
                <a16:creationId xmlns:a16="http://schemas.microsoft.com/office/drawing/2014/main" id="{ADBA4B68-62B6-63E9-1806-FC60BEC91FC3}"/>
              </a:ext>
            </a:extLst>
          </p:cNvPr>
          <p:cNvGrpSpPr/>
          <p:nvPr userDrawn="1"/>
        </p:nvGrpSpPr>
        <p:grpSpPr>
          <a:xfrm>
            <a:off x="7299547" y="3945977"/>
            <a:ext cx="4355878" cy="1461826"/>
            <a:chOff x="9888415" y="1557973"/>
            <a:chExt cx="4355878" cy="1461826"/>
          </a:xfrm>
          <a:solidFill>
            <a:srgbClr val="E5E5E5"/>
          </a:solidFill>
        </p:grpSpPr>
        <p:sp>
          <p:nvSpPr>
            <p:cNvPr id="89" name="Forma livre: Forma 88">
              <a:extLst>
                <a:ext uri="{FF2B5EF4-FFF2-40B4-BE49-F238E27FC236}">
                  <a16:creationId xmlns:a16="http://schemas.microsoft.com/office/drawing/2014/main" id="{FB09F5A5-92DF-9CC5-BC29-2131518B8847}"/>
                </a:ext>
              </a:extLst>
            </p:cNvPr>
            <p:cNvSpPr/>
            <p:nvPr/>
          </p:nvSpPr>
          <p:spPr>
            <a:xfrm flipV="1">
              <a:off x="9888415" y="1557973"/>
              <a:ext cx="3568477" cy="524519"/>
            </a:xfrm>
            <a:custGeom>
              <a:avLst/>
              <a:gdLst>
                <a:gd name="connsiteX0" fmla="*/ 2220906 w 2220906"/>
                <a:gd name="connsiteY0" fmla="*/ 0 h 524519"/>
                <a:gd name="connsiteX1" fmla="*/ 2220906 w 2220906"/>
                <a:gd name="connsiteY1" fmla="*/ 524457 h 524519"/>
                <a:gd name="connsiteX2" fmla="*/ 0 w 2220906"/>
                <a:gd name="connsiteY2" fmla="*/ 524519 h 524519"/>
                <a:gd name="connsiteX3" fmla="*/ 0 w 2220906"/>
                <a:gd name="connsiteY3" fmla="*/ 62 h 5245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220906" h="524519">
                  <a:moveTo>
                    <a:pt x="2220906" y="0"/>
                  </a:moveTo>
                  <a:lnTo>
                    <a:pt x="2220906" y="524457"/>
                  </a:lnTo>
                  <a:lnTo>
                    <a:pt x="0" y="524519"/>
                  </a:lnTo>
                  <a:lnTo>
                    <a:pt x="0" y="62"/>
                  </a:lnTo>
                  <a:close/>
                </a:path>
              </a:pathLst>
            </a:custGeom>
            <a:grpFill/>
            <a:ln w="4244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pt-PT">
                <a:solidFill>
                  <a:schemeClr val="tx1"/>
                </a:solidFill>
              </a:endParaRPr>
            </a:p>
          </p:txBody>
        </p:sp>
        <p:sp>
          <p:nvSpPr>
            <p:cNvPr id="90" name="Retângulo 89">
              <a:extLst>
                <a:ext uri="{FF2B5EF4-FFF2-40B4-BE49-F238E27FC236}">
                  <a16:creationId xmlns:a16="http://schemas.microsoft.com/office/drawing/2014/main" id="{B4842B9D-3C49-D1BF-37AE-2CC0CFB930FA}"/>
                </a:ext>
              </a:extLst>
            </p:cNvPr>
            <p:cNvSpPr/>
            <p:nvPr/>
          </p:nvSpPr>
          <p:spPr>
            <a:xfrm>
              <a:off x="9888415" y="2082455"/>
              <a:ext cx="4355878" cy="937344"/>
            </a:xfrm>
            <a:prstGeom prst="rect">
              <a:avLst/>
            </a:prstGeom>
            <a:grpFill/>
            <a:ln w="4244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pt-PT">
                <a:solidFill>
                  <a:schemeClr val="tx1"/>
                </a:solidFill>
              </a:endParaRPr>
            </a:p>
          </p:txBody>
        </p:sp>
        <p:sp>
          <p:nvSpPr>
            <p:cNvPr id="91" name="Forma livre: Forma 90">
              <a:extLst>
                <a:ext uri="{FF2B5EF4-FFF2-40B4-BE49-F238E27FC236}">
                  <a16:creationId xmlns:a16="http://schemas.microsoft.com/office/drawing/2014/main" id="{60F00403-2DC6-B0EC-0B0C-49C92BD5507C}"/>
                </a:ext>
              </a:extLst>
            </p:cNvPr>
            <p:cNvSpPr/>
            <p:nvPr/>
          </p:nvSpPr>
          <p:spPr>
            <a:xfrm flipH="1" flipV="1">
              <a:off x="13107817" y="1557978"/>
              <a:ext cx="1136476" cy="524519"/>
            </a:xfrm>
            <a:custGeom>
              <a:avLst/>
              <a:gdLst>
                <a:gd name="connsiteX0" fmla="*/ 103570 w 224310"/>
                <a:gd name="connsiteY0" fmla="*/ 103528 h 103527"/>
                <a:gd name="connsiteX1" fmla="*/ 189801 w 224310"/>
                <a:gd name="connsiteY1" fmla="*/ 103528 h 103527"/>
                <a:gd name="connsiteX2" fmla="*/ 224310 w 224310"/>
                <a:gd name="connsiteY2" fmla="*/ 0 h 103527"/>
                <a:gd name="connsiteX3" fmla="*/ 0 w 224310"/>
                <a:gd name="connsiteY3" fmla="*/ 0 h 103527"/>
                <a:gd name="connsiteX4" fmla="*/ 103528 w 224310"/>
                <a:gd name="connsiteY4" fmla="*/ 103528 h 1035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24310" h="103527">
                  <a:moveTo>
                    <a:pt x="103570" y="103528"/>
                  </a:moveTo>
                  <a:lnTo>
                    <a:pt x="189801" y="103528"/>
                  </a:lnTo>
                  <a:lnTo>
                    <a:pt x="224310" y="0"/>
                  </a:lnTo>
                  <a:lnTo>
                    <a:pt x="0" y="0"/>
                  </a:lnTo>
                  <a:cubicBezTo>
                    <a:pt x="0" y="57204"/>
                    <a:pt x="46367" y="103528"/>
                    <a:pt x="103528" y="103528"/>
                  </a:cubicBezTo>
                  <a:close/>
                </a:path>
              </a:pathLst>
            </a:custGeom>
            <a:grpFill/>
            <a:ln w="42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sp>
        <p:nvSpPr>
          <p:cNvPr id="94" name="Marcador de Posição da Imagem 93">
            <a:extLst>
              <a:ext uri="{FF2B5EF4-FFF2-40B4-BE49-F238E27FC236}">
                <a16:creationId xmlns:a16="http://schemas.microsoft.com/office/drawing/2014/main" id="{4B49AFE4-1036-7CE2-9F2F-4B628EBDC3D1}"/>
              </a:ext>
            </a:extLst>
          </p:cNvPr>
          <p:cNvSpPr>
            <a:spLocks noGrp="1"/>
          </p:cNvSpPr>
          <p:nvPr userDrawn="1">
            <p:ph type="pic" sz="quarter" idx="129"/>
          </p:nvPr>
        </p:nvSpPr>
        <p:spPr>
          <a:xfrm>
            <a:off x="4512533" y="3945976"/>
            <a:ext cx="1164367" cy="1204658"/>
          </a:xfrm>
          <a:custGeom>
            <a:avLst/>
            <a:gdLst>
              <a:gd name="connsiteX0" fmla="*/ 0 w 1164367"/>
              <a:gd name="connsiteY0" fmla="*/ 0 h 1204658"/>
              <a:gd name="connsiteX1" fmla="*/ 200346 w 1164367"/>
              <a:gd name="connsiteY1" fmla="*/ 22 h 1204658"/>
              <a:gd name="connsiteX2" fmla="*/ 200354 w 1164367"/>
              <a:gd name="connsiteY2" fmla="*/ 0 h 1204658"/>
              <a:gd name="connsiteX3" fmla="*/ 637246 w 1164367"/>
              <a:gd name="connsiteY3" fmla="*/ 0 h 1204658"/>
              <a:gd name="connsiteX4" fmla="*/ 637459 w 1164367"/>
              <a:gd name="connsiteY4" fmla="*/ 0 h 1204658"/>
              <a:gd name="connsiteX5" fmla="*/ 1151328 w 1164367"/>
              <a:gd name="connsiteY5" fmla="*/ 418775 h 1204658"/>
              <a:gd name="connsiteX6" fmla="*/ 1161717 w 1164367"/>
              <a:gd name="connsiteY6" fmla="*/ 521838 h 1204658"/>
              <a:gd name="connsiteX7" fmla="*/ 1164367 w 1164367"/>
              <a:gd name="connsiteY7" fmla="*/ 521838 h 1204658"/>
              <a:gd name="connsiteX8" fmla="*/ 1164367 w 1164367"/>
              <a:gd name="connsiteY8" fmla="*/ 1204658 h 1204658"/>
              <a:gd name="connsiteX9" fmla="*/ 0 w 1164367"/>
              <a:gd name="connsiteY9" fmla="*/ 1204658 h 1204658"/>
              <a:gd name="connsiteX10" fmla="*/ 0 w 1164367"/>
              <a:gd name="connsiteY10" fmla="*/ 524457 h 1204658"/>
              <a:gd name="connsiteX11" fmla="*/ 0 w 1164367"/>
              <a:gd name="connsiteY11" fmla="*/ 521838 h 12046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164367" h="1204658">
                <a:moveTo>
                  <a:pt x="0" y="0"/>
                </a:moveTo>
                <a:lnTo>
                  <a:pt x="200346" y="22"/>
                </a:lnTo>
                <a:lnTo>
                  <a:pt x="200354" y="0"/>
                </a:lnTo>
                <a:lnTo>
                  <a:pt x="637246" y="0"/>
                </a:lnTo>
                <a:lnTo>
                  <a:pt x="637459" y="0"/>
                </a:lnTo>
                <a:cubicBezTo>
                  <a:pt x="890867" y="0"/>
                  <a:pt x="1102404" y="179692"/>
                  <a:pt x="1151328" y="418775"/>
                </a:cubicBezTo>
                <a:lnTo>
                  <a:pt x="1161717" y="521838"/>
                </a:lnTo>
                <a:lnTo>
                  <a:pt x="1164367" y="521838"/>
                </a:lnTo>
                <a:lnTo>
                  <a:pt x="1164367" y="1204658"/>
                </a:lnTo>
                <a:lnTo>
                  <a:pt x="0" y="1204658"/>
                </a:lnTo>
                <a:lnTo>
                  <a:pt x="0" y="524457"/>
                </a:lnTo>
                <a:lnTo>
                  <a:pt x="0" y="521838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pt-PT"/>
          </a:p>
        </p:txBody>
      </p:sp>
      <p:sp>
        <p:nvSpPr>
          <p:cNvPr id="99" name="Marcador de Posição da Imagem 98">
            <a:extLst>
              <a:ext uri="{FF2B5EF4-FFF2-40B4-BE49-F238E27FC236}">
                <a16:creationId xmlns:a16="http://schemas.microsoft.com/office/drawing/2014/main" id="{36036B5D-1972-13C8-D83B-0D18CF9257A5}"/>
              </a:ext>
            </a:extLst>
          </p:cNvPr>
          <p:cNvSpPr>
            <a:spLocks noGrp="1"/>
          </p:cNvSpPr>
          <p:nvPr>
            <p:ph type="pic" sz="quarter" idx="130"/>
          </p:nvPr>
        </p:nvSpPr>
        <p:spPr>
          <a:xfrm>
            <a:off x="7299547" y="3945977"/>
            <a:ext cx="1164367" cy="1204658"/>
          </a:xfrm>
          <a:custGeom>
            <a:avLst/>
            <a:gdLst>
              <a:gd name="connsiteX0" fmla="*/ 0 w 1164367"/>
              <a:gd name="connsiteY0" fmla="*/ 0 h 1204658"/>
              <a:gd name="connsiteX1" fmla="*/ 200346 w 1164367"/>
              <a:gd name="connsiteY1" fmla="*/ 22 h 1204658"/>
              <a:gd name="connsiteX2" fmla="*/ 200354 w 1164367"/>
              <a:gd name="connsiteY2" fmla="*/ 0 h 1204658"/>
              <a:gd name="connsiteX3" fmla="*/ 637246 w 1164367"/>
              <a:gd name="connsiteY3" fmla="*/ 0 h 1204658"/>
              <a:gd name="connsiteX4" fmla="*/ 637459 w 1164367"/>
              <a:gd name="connsiteY4" fmla="*/ 0 h 1204658"/>
              <a:gd name="connsiteX5" fmla="*/ 1151328 w 1164367"/>
              <a:gd name="connsiteY5" fmla="*/ 418775 h 1204658"/>
              <a:gd name="connsiteX6" fmla="*/ 1161717 w 1164367"/>
              <a:gd name="connsiteY6" fmla="*/ 521838 h 1204658"/>
              <a:gd name="connsiteX7" fmla="*/ 1164367 w 1164367"/>
              <a:gd name="connsiteY7" fmla="*/ 521838 h 1204658"/>
              <a:gd name="connsiteX8" fmla="*/ 1164367 w 1164367"/>
              <a:gd name="connsiteY8" fmla="*/ 1204658 h 1204658"/>
              <a:gd name="connsiteX9" fmla="*/ 0 w 1164367"/>
              <a:gd name="connsiteY9" fmla="*/ 1204658 h 1204658"/>
              <a:gd name="connsiteX10" fmla="*/ 0 w 1164367"/>
              <a:gd name="connsiteY10" fmla="*/ 524457 h 1204658"/>
              <a:gd name="connsiteX11" fmla="*/ 0 w 1164367"/>
              <a:gd name="connsiteY11" fmla="*/ 521838 h 12046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164367" h="1204658">
                <a:moveTo>
                  <a:pt x="0" y="0"/>
                </a:moveTo>
                <a:lnTo>
                  <a:pt x="200346" y="22"/>
                </a:lnTo>
                <a:lnTo>
                  <a:pt x="200354" y="0"/>
                </a:lnTo>
                <a:lnTo>
                  <a:pt x="637246" y="0"/>
                </a:lnTo>
                <a:lnTo>
                  <a:pt x="637459" y="0"/>
                </a:lnTo>
                <a:cubicBezTo>
                  <a:pt x="890867" y="0"/>
                  <a:pt x="1102404" y="179692"/>
                  <a:pt x="1151328" y="418775"/>
                </a:cubicBezTo>
                <a:lnTo>
                  <a:pt x="1161717" y="521838"/>
                </a:lnTo>
                <a:lnTo>
                  <a:pt x="1164367" y="521838"/>
                </a:lnTo>
                <a:lnTo>
                  <a:pt x="1164367" y="1204658"/>
                </a:lnTo>
                <a:lnTo>
                  <a:pt x="0" y="1204658"/>
                </a:lnTo>
                <a:lnTo>
                  <a:pt x="0" y="524457"/>
                </a:lnTo>
                <a:lnTo>
                  <a:pt x="0" y="521838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pt-PT"/>
          </a:p>
        </p:txBody>
      </p:sp>
      <p:sp>
        <p:nvSpPr>
          <p:cNvPr id="100" name="Marcador de Posição do Texto 10">
            <a:extLst>
              <a:ext uri="{FF2B5EF4-FFF2-40B4-BE49-F238E27FC236}">
                <a16:creationId xmlns:a16="http://schemas.microsoft.com/office/drawing/2014/main" id="{B6822B3A-EA4C-803E-13CB-3404380831E9}"/>
              </a:ext>
            </a:extLst>
          </p:cNvPr>
          <p:cNvSpPr>
            <a:spLocks noGrp="1"/>
          </p:cNvSpPr>
          <p:nvPr>
            <p:ph type="body" sz="quarter" idx="131" hasCustomPrompt="1"/>
          </p:nvPr>
        </p:nvSpPr>
        <p:spPr>
          <a:xfrm>
            <a:off x="7299547" y="5155830"/>
            <a:ext cx="1678717" cy="247210"/>
          </a:xfrm>
        </p:spPr>
        <p:txBody>
          <a:bodyPr anchor="ctr">
            <a:noAutofit/>
          </a:bodyPr>
          <a:lstStyle>
            <a:lvl1pPr algn="l">
              <a:spcBef>
                <a:spcPts val="600"/>
              </a:spcBef>
              <a:defRPr lang="pt-PT" sz="1000" kern="1200" cap="all" baseline="0" dirty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pt-PT" dirty="0"/>
              <a:t>Texto destacado</a:t>
            </a:r>
          </a:p>
        </p:txBody>
      </p:sp>
      <p:sp>
        <p:nvSpPr>
          <p:cNvPr id="101" name="Marcador de Posição do Texto 10">
            <a:extLst>
              <a:ext uri="{FF2B5EF4-FFF2-40B4-BE49-F238E27FC236}">
                <a16:creationId xmlns:a16="http://schemas.microsoft.com/office/drawing/2014/main" id="{2C14955D-55AF-9E14-11BF-837C8590775B}"/>
              </a:ext>
            </a:extLst>
          </p:cNvPr>
          <p:cNvSpPr>
            <a:spLocks noGrp="1"/>
          </p:cNvSpPr>
          <p:nvPr>
            <p:ph type="body" sz="quarter" idx="132" hasCustomPrompt="1"/>
          </p:nvPr>
        </p:nvSpPr>
        <p:spPr>
          <a:xfrm>
            <a:off x="8653107" y="4368507"/>
            <a:ext cx="650313" cy="233235"/>
          </a:xfrm>
        </p:spPr>
        <p:txBody>
          <a:bodyPr lIns="0" tIns="0" rIns="0" bIns="0" anchor="ctr">
            <a:noAutofit/>
          </a:bodyPr>
          <a:lstStyle>
            <a:lvl1pPr algn="ctr">
              <a:spcBef>
                <a:spcPts val="600"/>
              </a:spcBef>
              <a:defRPr sz="1000">
                <a:solidFill>
                  <a:schemeClr val="tx2"/>
                </a:solidFill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pt-PT" dirty="0"/>
              <a:t>Texto</a:t>
            </a:r>
          </a:p>
        </p:txBody>
      </p:sp>
      <p:sp>
        <p:nvSpPr>
          <p:cNvPr id="102" name="Marcador de Posição do Texto 10">
            <a:extLst>
              <a:ext uri="{FF2B5EF4-FFF2-40B4-BE49-F238E27FC236}">
                <a16:creationId xmlns:a16="http://schemas.microsoft.com/office/drawing/2014/main" id="{AEFA29DA-F1D9-E9E9-6476-9B947B750F14}"/>
              </a:ext>
            </a:extLst>
          </p:cNvPr>
          <p:cNvSpPr>
            <a:spLocks noGrp="1"/>
          </p:cNvSpPr>
          <p:nvPr>
            <p:ph type="body" sz="quarter" idx="133" hasCustomPrompt="1"/>
          </p:nvPr>
        </p:nvSpPr>
        <p:spPr>
          <a:xfrm>
            <a:off x="9083785" y="4631576"/>
            <a:ext cx="1678717" cy="247210"/>
          </a:xfrm>
        </p:spPr>
        <p:txBody>
          <a:bodyPr anchor="ctr">
            <a:noAutofit/>
          </a:bodyPr>
          <a:lstStyle>
            <a:lvl1pPr algn="ctr">
              <a:spcBef>
                <a:spcPts val="600"/>
              </a:spcBef>
              <a:defRPr lang="pt-PT" sz="1000" kern="1200" cap="all" baseline="0" dirty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pt-PT" dirty="0"/>
              <a:t>Texto destacado</a:t>
            </a:r>
          </a:p>
        </p:txBody>
      </p:sp>
      <p:sp>
        <p:nvSpPr>
          <p:cNvPr id="103" name="Marcador de Posição do Texto 10">
            <a:extLst>
              <a:ext uri="{FF2B5EF4-FFF2-40B4-BE49-F238E27FC236}">
                <a16:creationId xmlns:a16="http://schemas.microsoft.com/office/drawing/2014/main" id="{E10EA151-DCF9-A715-A74A-D81524D26B53}"/>
              </a:ext>
            </a:extLst>
          </p:cNvPr>
          <p:cNvSpPr>
            <a:spLocks noGrp="1"/>
          </p:cNvSpPr>
          <p:nvPr>
            <p:ph type="body" sz="quarter" idx="134" hasCustomPrompt="1"/>
          </p:nvPr>
        </p:nvSpPr>
        <p:spPr>
          <a:xfrm>
            <a:off x="9597986" y="4368507"/>
            <a:ext cx="650313" cy="233235"/>
          </a:xfrm>
        </p:spPr>
        <p:txBody>
          <a:bodyPr lIns="0" tIns="0" rIns="0" bIns="0" anchor="ctr">
            <a:noAutofit/>
          </a:bodyPr>
          <a:lstStyle>
            <a:lvl1pPr algn="ctr">
              <a:spcBef>
                <a:spcPts val="600"/>
              </a:spcBef>
              <a:defRPr sz="1000">
                <a:solidFill>
                  <a:schemeClr val="tx2"/>
                </a:solidFill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pt-PT" dirty="0"/>
              <a:t>Texto</a:t>
            </a:r>
          </a:p>
        </p:txBody>
      </p:sp>
      <p:sp>
        <p:nvSpPr>
          <p:cNvPr id="104" name="Marcador de Posição do Texto 10">
            <a:extLst>
              <a:ext uri="{FF2B5EF4-FFF2-40B4-BE49-F238E27FC236}">
                <a16:creationId xmlns:a16="http://schemas.microsoft.com/office/drawing/2014/main" id="{6B1A8033-9ADF-7279-5A36-0B5EBB4C1765}"/>
              </a:ext>
            </a:extLst>
          </p:cNvPr>
          <p:cNvSpPr>
            <a:spLocks noGrp="1"/>
          </p:cNvSpPr>
          <p:nvPr>
            <p:ph type="body" sz="quarter" idx="135" hasCustomPrompt="1"/>
          </p:nvPr>
        </p:nvSpPr>
        <p:spPr>
          <a:xfrm>
            <a:off x="10542865" y="4368507"/>
            <a:ext cx="650313" cy="233235"/>
          </a:xfrm>
        </p:spPr>
        <p:txBody>
          <a:bodyPr lIns="0" tIns="0" rIns="0" bIns="0" anchor="ctr">
            <a:noAutofit/>
          </a:bodyPr>
          <a:lstStyle>
            <a:lvl1pPr algn="ctr">
              <a:spcBef>
                <a:spcPts val="600"/>
              </a:spcBef>
              <a:defRPr sz="1000">
                <a:solidFill>
                  <a:schemeClr val="tx2"/>
                </a:solidFill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pt-PT" dirty="0"/>
              <a:t>Texto</a:t>
            </a:r>
          </a:p>
        </p:txBody>
      </p:sp>
      <p:sp>
        <p:nvSpPr>
          <p:cNvPr id="105" name="Marcador de Posição do Texto 10">
            <a:extLst>
              <a:ext uri="{FF2B5EF4-FFF2-40B4-BE49-F238E27FC236}">
                <a16:creationId xmlns:a16="http://schemas.microsoft.com/office/drawing/2014/main" id="{81CFE475-23DD-4712-B484-6F152AB952AA}"/>
              </a:ext>
            </a:extLst>
          </p:cNvPr>
          <p:cNvSpPr>
            <a:spLocks noGrp="1"/>
          </p:cNvSpPr>
          <p:nvPr>
            <p:ph type="body" sz="quarter" idx="136" hasCustomPrompt="1"/>
          </p:nvPr>
        </p:nvSpPr>
        <p:spPr>
          <a:xfrm>
            <a:off x="9152329" y="5169805"/>
            <a:ext cx="650313" cy="233235"/>
          </a:xfrm>
        </p:spPr>
        <p:txBody>
          <a:bodyPr lIns="0" tIns="0" rIns="0" bIns="0" anchor="ctr">
            <a:noAutofit/>
          </a:bodyPr>
          <a:lstStyle>
            <a:lvl1pPr algn="ctr">
              <a:spcBef>
                <a:spcPts val="600"/>
              </a:spcBef>
              <a:defRPr sz="1000">
                <a:solidFill>
                  <a:schemeClr val="tx2"/>
                </a:solidFill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pt-PT" dirty="0"/>
              <a:t>Texto</a:t>
            </a:r>
          </a:p>
        </p:txBody>
      </p:sp>
      <p:sp>
        <p:nvSpPr>
          <p:cNvPr id="106" name="Marcador de Posição do Texto 10">
            <a:extLst>
              <a:ext uri="{FF2B5EF4-FFF2-40B4-BE49-F238E27FC236}">
                <a16:creationId xmlns:a16="http://schemas.microsoft.com/office/drawing/2014/main" id="{564AB625-6499-9FD0-539D-1EDF9E570DD7}"/>
              </a:ext>
            </a:extLst>
          </p:cNvPr>
          <p:cNvSpPr>
            <a:spLocks noGrp="1"/>
          </p:cNvSpPr>
          <p:nvPr>
            <p:ph type="body" sz="quarter" idx="137" hasCustomPrompt="1"/>
          </p:nvPr>
        </p:nvSpPr>
        <p:spPr>
          <a:xfrm>
            <a:off x="10086974" y="5169805"/>
            <a:ext cx="650313" cy="233235"/>
          </a:xfrm>
        </p:spPr>
        <p:txBody>
          <a:bodyPr lIns="0" tIns="0" rIns="0" bIns="0" anchor="ctr">
            <a:noAutofit/>
          </a:bodyPr>
          <a:lstStyle>
            <a:lvl1pPr algn="ctr">
              <a:spcBef>
                <a:spcPts val="600"/>
              </a:spcBef>
              <a:defRPr sz="1000">
                <a:solidFill>
                  <a:schemeClr val="tx2"/>
                </a:solidFill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pt-PT" dirty="0"/>
              <a:t>Texto</a:t>
            </a:r>
          </a:p>
        </p:txBody>
      </p:sp>
      <p:sp>
        <p:nvSpPr>
          <p:cNvPr id="109" name="Marcador de Posição do Texto 108">
            <a:extLst>
              <a:ext uri="{FF2B5EF4-FFF2-40B4-BE49-F238E27FC236}">
                <a16:creationId xmlns:a16="http://schemas.microsoft.com/office/drawing/2014/main" id="{B851F5A8-B0A4-25FC-234A-763512EE5E09}"/>
              </a:ext>
            </a:extLst>
          </p:cNvPr>
          <p:cNvSpPr>
            <a:spLocks noGrp="1"/>
          </p:cNvSpPr>
          <p:nvPr>
            <p:ph type="body" sz="quarter" idx="138" hasCustomPrompt="1"/>
          </p:nvPr>
        </p:nvSpPr>
        <p:spPr>
          <a:xfrm>
            <a:off x="4512533" y="5975201"/>
            <a:ext cx="7082146" cy="372755"/>
          </a:xfrm>
          <a:custGeom>
            <a:avLst/>
            <a:gdLst>
              <a:gd name="connsiteX0" fmla="*/ 6398783 w 7082146"/>
              <a:gd name="connsiteY0" fmla="*/ 0 h 372755"/>
              <a:gd name="connsiteX1" fmla="*/ 6709251 w 7082146"/>
              <a:gd name="connsiteY1" fmla="*/ 0 h 372755"/>
              <a:gd name="connsiteX2" fmla="*/ 6709403 w 7082146"/>
              <a:gd name="connsiteY2" fmla="*/ 0 h 372755"/>
              <a:gd name="connsiteX3" fmla="*/ 7082146 w 7082146"/>
              <a:gd name="connsiteY3" fmla="*/ 372741 h 372755"/>
              <a:gd name="connsiteX4" fmla="*/ 6484121 w 7082146"/>
              <a:gd name="connsiteY4" fmla="*/ 372741 h 372755"/>
              <a:gd name="connsiteX5" fmla="*/ 6484121 w 7082146"/>
              <a:gd name="connsiteY5" fmla="*/ 372755 h 372755"/>
              <a:gd name="connsiteX6" fmla="*/ 1138171 w 7082146"/>
              <a:gd name="connsiteY6" fmla="*/ 372714 h 372755"/>
              <a:gd name="connsiteX7" fmla="*/ 1138160 w 7082146"/>
              <a:gd name="connsiteY7" fmla="*/ 372745 h 372755"/>
              <a:gd name="connsiteX8" fmla="*/ 827692 w 7082146"/>
              <a:gd name="connsiteY8" fmla="*/ 372745 h 372755"/>
              <a:gd name="connsiteX9" fmla="*/ 827541 w 7082146"/>
              <a:gd name="connsiteY9" fmla="*/ 372745 h 372755"/>
              <a:gd name="connsiteX10" fmla="*/ 796008 w 7082146"/>
              <a:gd name="connsiteY10" fmla="*/ 369567 h 372755"/>
              <a:gd name="connsiteX11" fmla="*/ 0 w 7082146"/>
              <a:gd name="connsiteY11" fmla="*/ 369567 h 372755"/>
              <a:gd name="connsiteX12" fmla="*/ 0 w 7082146"/>
              <a:gd name="connsiteY12" fmla="*/ 1 h 372755"/>
              <a:gd name="connsiteX13" fmla="*/ 1452188 w 7082146"/>
              <a:gd name="connsiteY13" fmla="*/ 1 h 372755"/>
              <a:gd name="connsiteX14" fmla="*/ 1452188 w 7082146"/>
              <a:gd name="connsiteY14" fmla="*/ 23 h 372755"/>
              <a:gd name="connsiteX15" fmla="*/ 6398763 w 7082146"/>
              <a:gd name="connsiteY15" fmla="*/ 61 h 3727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7082146" h="372755">
                <a:moveTo>
                  <a:pt x="6398783" y="0"/>
                </a:moveTo>
                <a:lnTo>
                  <a:pt x="6709251" y="0"/>
                </a:lnTo>
                <a:lnTo>
                  <a:pt x="6709403" y="0"/>
                </a:lnTo>
                <a:cubicBezTo>
                  <a:pt x="6915205" y="0"/>
                  <a:pt x="7082146" y="166784"/>
                  <a:pt x="7082146" y="372741"/>
                </a:cubicBezTo>
                <a:lnTo>
                  <a:pt x="6484121" y="372741"/>
                </a:lnTo>
                <a:lnTo>
                  <a:pt x="6484121" y="372755"/>
                </a:lnTo>
                <a:lnTo>
                  <a:pt x="1138171" y="372714"/>
                </a:lnTo>
                <a:lnTo>
                  <a:pt x="1138160" y="372745"/>
                </a:lnTo>
                <a:lnTo>
                  <a:pt x="827692" y="372745"/>
                </a:lnTo>
                <a:lnTo>
                  <a:pt x="827541" y="372745"/>
                </a:lnTo>
                <a:lnTo>
                  <a:pt x="796008" y="369567"/>
                </a:lnTo>
                <a:lnTo>
                  <a:pt x="0" y="369567"/>
                </a:lnTo>
                <a:lnTo>
                  <a:pt x="0" y="1"/>
                </a:lnTo>
                <a:lnTo>
                  <a:pt x="1452188" y="1"/>
                </a:lnTo>
                <a:lnTo>
                  <a:pt x="1452188" y="23"/>
                </a:lnTo>
                <a:lnTo>
                  <a:pt x="6398763" y="61"/>
                </a:lnTo>
                <a:close/>
              </a:path>
            </a:pathLst>
          </a:custGeom>
          <a:solidFill>
            <a:srgbClr val="132153"/>
          </a:solidFill>
        </p:spPr>
        <p:txBody>
          <a:bodyPr wrap="square" anchor="ctr">
            <a:noAutofit/>
          </a:bodyPr>
          <a:lstStyle>
            <a:lvl1pPr algn="l">
              <a:spcBef>
                <a:spcPts val="600"/>
              </a:spcBef>
              <a:defRPr lang="pt-PT" sz="1000" kern="1200" cap="all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pt-PT" dirty="0"/>
              <a:t>Texto destacado</a:t>
            </a:r>
          </a:p>
        </p:txBody>
      </p:sp>
      <p:sp>
        <p:nvSpPr>
          <p:cNvPr id="110" name="Marcador de Posição do Texto 10">
            <a:extLst>
              <a:ext uri="{FF2B5EF4-FFF2-40B4-BE49-F238E27FC236}">
                <a16:creationId xmlns:a16="http://schemas.microsoft.com/office/drawing/2014/main" id="{C621FEFC-3EED-703D-5407-5BB5686058C4}"/>
              </a:ext>
            </a:extLst>
          </p:cNvPr>
          <p:cNvSpPr>
            <a:spLocks noGrp="1"/>
          </p:cNvSpPr>
          <p:nvPr>
            <p:ph type="body" sz="quarter" idx="139" hasCustomPrompt="1"/>
          </p:nvPr>
        </p:nvSpPr>
        <p:spPr>
          <a:xfrm>
            <a:off x="6800222" y="6057463"/>
            <a:ext cx="4601203" cy="233235"/>
          </a:xfrm>
        </p:spPr>
        <p:txBody>
          <a:bodyPr lIns="0" tIns="0" rIns="0" bIns="0" anchor="ctr">
            <a:noAutofit/>
          </a:bodyPr>
          <a:lstStyle>
            <a:lvl1pPr algn="l">
              <a:spcBef>
                <a:spcPts val="600"/>
              </a:spcBef>
              <a:defRPr sz="1000">
                <a:solidFill>
                  <a:srgbClr val="F7F7F7"/>
                </a:solidFill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pt-PT" dirty="0"/>
              <a:t>Texto</a:t>
            </a:r>
          </a:p>
        </p:txBody>
      </p:sp>
      <p:sp>
        <p:nvSpPr>
          <p:cNvPr id="139" name="Marcador de Posição do Texto 10">
            <a:extLst>
              <a:ext uri="{FF2B5EF4-FFF2-40B4-BE49-F238E27FC236}">
                <a16:creationId xmlns:a16="http://schemas.microsoft.com/office/drawing/2014/main" id="{63CAB84D-D3DA-E71C-8701-B4E054B59499}"/>
              </a:ext>
            </a:extLst>
          </p:cNvPr>
          <p:cNvSpPr>
            <a:spLocks noGrp="1"/>
          </p:cNvSpPr>
          <p:nvPr userDrawn="1">
            <p:ph type="body" sz="quarter" idx="140" hasCustomPrompt="1"/>
          </p:nvPr>
        </p:nvSpPr>
        <p:spPr>
          <a:xfrm>
            <a:off x="2543453" y="1334081"/>
            <a:ext cx="3002690" cy="214962"/>
          </a:xfrm>
        </p:spPr>
        <p:txBody>
          <a:bodyPr anchor="ctr">
            <a:noAutofit/>
          </a:bodyPr>
          <a:lstStyle>
            <a:lvl1pPr algn="ctr">
              <a:spcBef>
                <a:spcPts val="600"/>
              </a:spcBef>
              <a:defRPr lang="pt-PT" sz="1200" kern="1200" cap="all" baseline="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pt-PT" dirty="0"/>
              <a:t>Texto destacado</a:t>
            </a:r>
          </a:p>
        </p:txBody>
      </p:sp>
      <p:sp>
        <p:nvSpPr>
          <p:cNvPr id="140" name="Marcador de Posição do Texto 10">
            <a:extLst>
              <a:ext uri="{FF2B5EF4-FFF2-40B4-BE49-F238E27FC236}">
                <a16:creationId xmlns:a16="http://schemas.microsoft.com/office/drawing/2014/main" id="{51989443-82A1-FBF5-47AD-2ED4CDFE9E68}"/>
              </a:ext>
            </a:extLst>
          </p:cNvPr>
          <p:cNvSpPr>
            <a:spLocks noGrp="1"/>
          </p:cNvSpPr>
          <p:nvPr userDrawn="1">
            <p:ph type="body" sz="quarter" idx="141" hasCustomPrompt="1"/>
          </p:nvPr>
        </p:nvSpPr>
        <p:spPr>
          <a:xfrm>
            <a:off x="2160660" y="4481722"/>
            <a:ext cx="958284" cy="233235"/>
          </a:xfrm>
        </p:spPr>
        <p:txBody>
          <a:bodyPr lIns="0" tIns="0" rIns="0" bIns="0" anchor="ctr">
            <a:noAutofit/>
          </a:bodyPr>
          <a:lstStyle>
            <a:lvl1pPr algn="ctr">
              <a:spcBef>
                <a:spcPts val="600"/>
              </a:spcBef>
              <a:defRPr sz="1000">
                <a:solidFill>
                  <a:schemeClr val="tx2"/>
                </a:solidFill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pt-PT" dirty="0"/>
              <a:t>Texto</a:t>
            </a:r>
          </a:p>
        </p:txBody>
      </p:sp>
      <p:sp>
        <p:nvSpPr>
          <p:cNvPr id="141" name="Marcador de Posição do Texto 10">
            <a:extLst>
              <a:ext uri="{FF2B5EF4-FFF2-40B4-BE49-F238E27FC236}">
                <a16:creationId xmlns:a16="http://schemas.microsoft.com/office/drawing/2014/main" id="{42700E3A-39E7-B63F-8017-89350BAF2B3F}"/>
              </a:ext>
            </a:extLst>
          </p:cNvPr>
          <p:cNvSpPr>
            <a:spLocks noGrp="1"/>
          </p:cNvSpPr>
          <p:nvPr userDrawn="1">
            <p:ph type="body" sz="quarter" idx="142" hasCustomPrompt="1"/>
          </p:nvPr>
        </p:nvSpPr>
        <p:spPr>
          <a:xfrm>
            <a:off x="3267681" y="4481722"/>
            <a:ext cx="958284" cy="233235"/>
          </a:xfrm>
        </p:spPr>
        <p:txBody>
          <a:bodyPr lIns="0" tIns="0" rIns="0" bIns="0" anchor="ctr">
            <a:noAutofit/>
          </a:bodyPr>
          <a:lstStyle>
            <a:lvl1pPr algn="ctr">
              <a:spcBef>
                <a:spcPts val="600"/>
              </a:spcBef>
              <a:defRPr sz="1000">
                <a:solidFill>
                  <a:schemeClr val="tx2"/>
                </a:solidFill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pt-PT" dirty="0"/>
              <a:t>Texto</a:t>
            </a:r>
          </a:p>
        </p:txBody>
      </p:sp>
      <p:sp>
        <p:nvSpPr>
          <p:cNvPr id="144" name="Marcador de Posição do Texto 143">
            <a:extLst>
              <a:ext uri="{FF2B5EF4-FFF2-40B4-BE49-F238E27FC236}">
                <a16:creationId xmlns:a16="http://schemas.microsoft.com/office/drawing/2014/main" id="{14A5C7EA-D31C-DEEE-9C37-99D14C7A4A0F}"/>
              </a:ext>
            </a:extLst>
          </p:cNvPr>
          <p:cNvSpPr>
            <a:spLocks noGrp="1"/>
          </p:cNvSpPr>
          <p:nvPr userDrawn="1">
            <p:ph type="body" sz="quarter" idx="143" hasCustomPrompt="1"/>
          </p:nvPr>
        </p:nvSpPr>
        <p:spPr>
          <a:xfrm>
            <a:off x="6800222" y="5573160"/>
            <a:ext cx="1094527" cy="343401"/>
          </a:xfrm>
          <a:custGeom>
            <a:avLst/>
            <a:gdLst>
              <a:gd name="connsiteX0" fmla="*/ 464979 w 1094527"/>
              <a:gd name="connsiteY0" fmla="*/ 0 h 343401"/>
              <a:gd name="connsiteX1" fmla="*/ 750998 w 1094527"/>
              <a:gd name="connsiteY1" fmla="*/ 0 h 343401"/>
              <a:gd name="connsiteX2" fmla="*/ 751137 w 1094527"/>
              <a:gd name="connsiteY2" fmla="*/ 0 h 343401"/>
              <a:gd name="connsiteX3" fmla="*/ 1094527 w 1094527"/>
              <a:gd name="connsiteY3" fmla="*/ 343388 h 343401"/>
              <a:gd name="connsiteX4" fmla="*/ 744008 w 1094527"/>
              <a:gd name="connsiteY4" fmla="*/ 343388 h 343401"/>
              <a:gd name="connsiteX5" fmla="*/ 744008 w 1094527"/>
              <a:gd name="connsiteY5" fmla="*/ 343401 h 343401"/>
              <a:gd name="connsiteX6" fmla="*/ 653688 w 1094527"/>
              <a:gd name="connsiteY6" fmla="*/ 343388 h 343401"/>
              <a:gd name="connsiteX7" fmla="*/ 629548 w 1094527"/>
              <a:gd name="connsiteY7" fmla="*/ 343388 h 343401"/>
              <a:gd name="connsiteX8" fmla="*/ 629547 w 1094527"/>
              <a:gd name="connsiteY8" fmla="*/ 343392 h 343401"/>
              <a:gd name="connsiteX9" fmla="*/ 343529 w 1094527"/>
              <a:gd name="connsiteY9" fmla="*/ 343392 h 343401"/>
              <a:gd name="connsiteX10" fmla="*/ 343390 w 1094527"/>
              <a:gd name="connsiteY10" fmla="*/ 343392 h 343401"/>
              <a:gd name="connsiteX11" fmla="*/ 0 w 1094527"/>
              <a:gd name="connsiteY11" fmla="*/ 4 h 343401"/>
              <a:gd name="connsiteX12" fmla="*/ 464978 w 1094527"/>
              <a:gd name="connsiteY12" fmla="*/ 4 h 3434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094527" h="343401">
                <a:moveTo>
                  <a:pt x="464979" y="0"/>
                </a:moveTo>
                <a:lnTo>
                  <a:pt x="750998" y="0"/>
                </a:lnTo>
                <a:lnTo>
                  <a:pt x="751137" y="0"/>
                </a:lnTo>
                <a:cubicBezTo>
                  <a:pt x="940733" y="0"/>
                  <a:pt x="1094527" y="153651"/>
                  <a:pt x="1094527" y="343388"/>
                </a:cubicBezTo>
                <a:lnTo>
                  <a:pt x="744008" y="343388"/>
                </a:lnTo>
                <a:lnTo>
                  <a:pt x="744008" y="343401"/>
                </a:lnTo>
                <a:lnTo>
                  <a:pt x="653688" y="343388"/>
                </a:lnTo>
                <a:lnTo>
                  <a:pt x="629548" y="343388"/>
                </a:lnTo>
                <a:lnTo>
                  <a:pt x="629547" y="343392"/>
                </a:lnTo>
                <a:lnTo>
                  <a:pt x="343529" y="343392"/>
                </a:lnTo>
                <a:lnTo>
                  <a:pt x="343390" y="343392"/>
                </a:lnTo>
                <a:cubicBezTo>
                  <a:pt x="153794" y="343392"/>
                  <a:pt x="0" y="189742"/>
                  <a:pt x="0" y="4"/>
                </a:cubicBezTo>
                <a:lnTo>
                  <a:pt x="464978" y="4"/>
                </a:lnTo>
                <a:close/>
              </a:path>
            </a:pathLst>
          </a:custGeom>
          <a:solidFill>
            <a:schemeClr val="tx1"/>
          </a:solidFill>
        </p:spPr>
        <p:txBody>
          <a:bodyPr wrap="square" lIns="0" tIns="0" rIns="0" bIns="0" anchor="ctr">
            <a:noAutofit/>
          </a:bodyPr>
          <a:lstStyle>
            <a:lvl1pPr algn="ctr">
              <a:spcBef>
                <a:spcPts val="600"/>
              </a:spcBef>
              <a:defRPr sz="1000">
                <a:solidFill>
                  <a:schemeClr val="bg1"/>
                </a:solidFill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pt-PT" dirty="0"/>
              <a:t>Texto</a:t>
            </a:r>
          </a:p>
        </p:txBody>
      </p:sp>
      <p:sp>
        <p:nvSpPr>
          <p:cNvPr id="145" name="Marcador de Posição do Texto 144">
            <a:extLst>
              <a:ext uri="{FF2B5EF4-FFF2-40B4-BE49-F238E27FC236}">
                <a16:creationId xmlns:a16="http://schemas.microsoft.com/office/drawing/2014/main" id="{921F442E-E411-3390-59A5-F4F45068350B}"/>
              </a:ext>
            </a:extLst>
          </p:cNvPr>
          <p:cNvSpPr>
            <a:spLocks noGrp="1"/>
          </p:cNvSpPr>
          <p:nvPr>
            <p:ph type="body" sz="quarter" idx="144" hasCustomPrompt="1"/>
          </p:nvPr>
        </p:nvSpPr>
        <p:spPr>
          <a:xfrm>
            <a:off x="8032614" y="5573160"/>
            <a:ext cx="1094527" cy="343401"/>
          </a:xfrm>
          <a:custGeom>
            <a:avLst/>
            <a:gdLst>
              <a:gd name="connsiteX0" fmla="*/ 464979 w 1094527"/>
              <a:gd name="connsiteY0" fmla="*/ 0 h 343401"/>
              <a:gd name="connsiteX1" fmla="*/ 750998 w 1094527"/>
              <a:gd name="connsiteY1" fmla="*/ 0 h 343401"/>
              <a:gd name="connsiteX2" fmla="*/ 751137 w 1094527"/>
              <a:gd name="connsiteY2" fmla="*/ 0 h 343401"/>
              <a:gd name="connsiteX3" fmla="*/ 1094527 w 1094527"/>
              <a:gd name="connsiteY3" fmla="*/ 343388 h 343401"/>
              <a:gd name="connsiteX4" fmla="*/ 744008 w 1094527"/>
              <a:gd name="connsiteY4" fmla="*/ 343388 h 343401"/>
              <a:gd name="connsiteX5" fmla="*/ 744008 w 1094527"/>
              <a:gd name="connsiteY5" fmla="*/ 343401 h 343401"/>
              <a:gd name="connsiteX6" fmla="*/ 653688 w 1094527"/>
              <a:gd name="connsiteY6" fmla="*/ 343388 h 343401"/>
              <a:gd name="connsiteX7" fmla="*/ 629548 w 1094527"/>
              <a:gd name="connsiteY7" fmla="*/ 343388 h 343401"/>
              <a:gd name="connsiteX8" fmla="*/ 629547 w 1094527"/>
              <a:gd name="connsiteY8" fmla="*/ 343392 h 343401"/>
              <a:gd name="connsiteX9" fmla="*/ 343529 w 1094527"/>
              <a:gd name="connsiteY9" fmla="*/ 343392 h 343401"/>
              <a:gd name="connsiteX10" fmla="*/ 343390 w 1094527"/>
              <a:gd name="connsiteY10" fmla="*/ 343392 h 343401"/>
              <a:gd name="connsiteX11" fmla="*/ 0 w 1094527"/>
              <a:gd name="connsiteY11" fmla="*/ 4 h 343401"/>
              <a:gd name="connsiteX12" fmla="*/ 464978 w 1094527"/>
              <a:gd name="connsiteY12" fmla="*/ 4 h 3434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094527" h="343401">
                <a:moveTo>
                  <a:pt x="464979" y="0"/>
                </a:moveTo>
                <a:lnTo>
                  <a:pt x="750998" y="0"/>
                </a:lnTo>
                <a:lnTo>
                  <a:pt x="751137" y="0"/>
                </a:lnTo>
                <a:cubicBezTo>
                  <a:pt x="940733" y="0"/>
                  <a:pt x="1094527" y="153651"/>
                  <a:pt x="1094527" y="343388"/>
                </a:cubicBezTo>
                <a:lnTo>
                  <a:pt x="744008" y="343388"/>
                </a:lnTo>
                <a:lnTo>
                  <a:pt x="744008" y="343401"/>
                </a:lnTo>
                <a:lnTo>
                  <a:pt x="653688" y="343388"/>
                </a:lnTo>
                <a:lnTo>
                  <a:pt x="629548" y="343388"/>
                </a:lnTo>
                <a:lnTo>
                  <a:pt x="629547" y="343392"/>
                </a:lnTo>
                <a:lnTo>
                  <a:pt x="343529" y="343392"/>
                </a:lnTo>
                <a:lnTo>
                  <a:pt x="343390" y="343392"/>
                </a:lnTo>
                <a:cubicBezTo>
                  <a:pt x="153794" y="343392"/>
                  <a:pt x="0" y="189742"/>
                  <a:pt x="0" y="4"/>
                </a:cubicBezTo>
                <a:lnTo>
                  <a:pt x="464978" y="4"/>
                </a:lnTo>
                <a:close/>
              </a:path>
            </a:pathLst>
          </a:custGeom>
          <a:solidFill>
            <a:schemeClr val="tx1"/>
          </a:solidFill>
        </p:spPr>
        <p:txBody>
          <a:bodyPr wrap="square" lIns="0" tIns="0" rIns="0" bIns="0" anchor="ctr">
            <a:noAutofit/>
          </a:bodyPr>
          <a:lstStyle>
            <a:lvl1pPr algn="ctr">
              <a:spcBef>
                <a:spcPts val="600"/>
              </a:spcBef>
              <a:defRPr sz="1000">
                <a:solidFill>
                  <a:schemeClr val="bg1"/>
                </a:solidFill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pt-PT" dirty="0"/>
              <a:t>Texto</a:t>
            </a:r>
          </a:p>
        </p:txBody>
      </p:sp>
      <p:sp>
        <p:nvSpPr>
          <p:cNvPr id="146" name="Marcador de Posição do Texto 145">
            <a:extLst>
              <a:ext uri="{FF2B5EF4-FFF2-40B4-BE49-F238E27FC236}">
                <a16:creationId xmlns:a16="http://schemas.microsoft.com/office/drawing/2014/main" id="{BB9BC840-2BD7-79E5-4D7F-B47A222B34E9}"/>
              </a:ext>
            </a:extLst>
          </p:cNvPr>
          <p:cNvSpPr>
            <a:spLocks noGrp="1"/>
          </p:cNvSpPr>
          <p:nvPr>
            <p:ph type="body" sz="quarter" idx="145" hasCustomPrompt="1"/>
          </p:nvPr>
        </p:nvSpPr>
        <p:spPr>
          <a:xfrm>
            <a:off x="9265006" y="5573160"/>
            <a:ext cx="1094527" cy="343401"/>
          </a:xfrm>
          <a:custGeom>
            <a:avLst/>
            <a:gdLst>
              <a:gd name="connsiteX0" fmla="*/ 464979 w 1094527"/>
              <a:gd name="connsiteY0" fmla="*/ 0 h 343401"/>
              <a:gd name="connsiteX1" fmla="*/ 750998 w 1094527"/>
              <a:gd name="connsiteY1" fmla="*/ 0 h 343401"/>
              <a:gd name="connsiteX2" fmla="*/ 751137 w 1094527"/>
              <a:gd name="connsiteY2" fmla="*/ 0 h 343401"/>
              <a:gd name="connsiteX3" fmla="*/ 1094527 w 1094527"/>
              <a:gd name="connsiteY3" fmla="*/ 343388 h 343401"/>
              <a:gd name="connsiteX4" fmla="*/ 744008 w 1094527"/>
              <a:gd name="connsiteY4" fmla="*/ 343388 h 343401"/>
              <a:gd name="connsiteX5" fmla="*/ 744008 w 1094527"/>
              <a:gd name="connsiteY5" fmla="*/ 343401 h 343401"/>
              <a:gd name="connsiteX6" fmla="*/ 653688 w 1094527"/>
              <a:gd name="connsiteY6" fmla="*/ 343388 h 343401"/>
              <a:gd name="connsiteX7" fmla="*/ 629548 w 1094527"/>
              <a:gd name="connsiteY7" fmla="*/ 343388 h 343401"/>
              <a:gd name="connsiteX8" fmla="*/ 629547 w 1094527"/>
              <a:gd name="connsiteY8" fmla="*/ 343392 h 343401"/>
              <a:gd name="connsiteX9" fmla="*/ 343529 w 1094527"/>
              <a:gd name="connsiteY9" fmla="*/ 343392 h 343401"/>
              <a:gd name="connsiteX10" fmla="*/ 343390 w 1094527"/>
              <a:gd name="connsiteY10" fmla="*/ 343392 h 343401"/>
              <a:gd name="connsiteX11" fmla="*/ 0 w 1094527"/>
              <a:gd name="connsiteY11" fmla="*/ 4 h 343401"/>
              <a:gd name="connsiteX12" fmla="*/ 464978 w 1094527"/>
              <a:gd name="connsiteY12" fmla="*/ 4 h 3434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094527" h="343401">
                <a:moveTo>
                  <a:pt x="464979" y="0"/>
                </a:moveTo>
                <a:lnTo>
                  <a:pt x="750998" y="0"/>
                </a:lnTo>
                <a:lnTo>
                  <a:pt x="751137" y="0"/>
                </a:lnTo>
                <a:cubicBezTo>
                  <a:pt x="940733" y="0"/>
                  <a:pt x="1094527" y="153651"/>
                  <a:pt x="1094527" y="343388"/>
                </a:cubicBezTo>
                <a:lnTo>
                  <a:pt x="744008" y="343388"/>
                </a:lnTo>
                <a:lnTo>
                  <a:pt x="744008" y="343401"/>
                </a:lnTo>
                <a:lnTo>
                  <a:pt x="653688" y="343388"/>
                </a:lnTo>
                <a:lnTo>
                  <a:pt x="629548" y="343388"/>
                </a:lnTo>
                <a:lnTo>
                  <a:pt x="629547" y="343392"/>
                </a:lnTo>
                <a:lnTo>
                  <a:pt x="343529" y="343392"/>
                </a:lnTo>
                <a:lnTo>
                  <a:pt x="343390" y="343392"/>
                </a:lnTo>
                <a:cubicBezTo>
                  <a:pt x="153794" y="343392"/>
                  <a:pt x="0" y="189742"/>
                  <a:pt x="0" y="4"/>
                </a:cubicBezTo>
                <a:lnTo>
                  <a:pt x="464978" y="4"/>
                </a:lnTo>
                <a:close/>
              </a:path>
            </a:pathLst>
          </a:custGeom>
          <a:solidFill>
            <a:schemeClr val="tx1"/>
          </a:solidFill>
        </p:spPr>
        <p:txBody>
          <a:bodyPr wrap="square" lIns="0" tIns="0" rIns="0" bIns="0" anchor="ctr">
            <a:noAutofit/>
          </a:bodyPr>
          <a:lstStyle>
            <a:lvl1pPr algn="ctr">
              <a:spcBef>
                <a:spcPts val="600"/>
              </a:spcBef>
              <a:defRPr sz="1000">
                <a:solidFill>
                  <a:schemeClr val="bg1"/>
                </a:solidFill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pt-PT" dirty="0"/>
              <a:t>Texto</a:t>
            </a:r>
          </a:p>
        </p:txBody>
      </p:sp>
      <p:sp>
        <p:nvSpPr>
          <p:cNvPr id="147" name="Marcador de Posição do Texto 146">
            <a:extLst>
              <a:ext uri="{FF2B5EF4-FFF2-40B4-BE49-F238E27FC236}">
                <a16:creationId xmlns:a16="http://schemas.microsoft.com/office/drawing/2014/main" id="{67850DE5-69CC-484F-931D-323D4BB24BCF}"/>
              </a:ext>
            </a:extLst>
          </p:cNvPr>
          <p:cNvSpPr>
            <a:spLocks noGrp="1"/>
          </p:cNvSpPr>
          <p:nvPr>
            <p:ph type="body" sz="quarter" idx="146" hasCustomPrompt="1"/>
          </p:nvPr>
        </p:nvSpPr>
        <p:spPr>
          <a:xfrm>
            <a:off x="10497399" y="5573160"/>
            <a:ext cx="1094527" cy="343401"/>
          </a:xfrm>
          <a:custGeom>
            <a:avLst/>
            <a:gdLst>
              <a:gd name="connsiteX0" fmla="*/ 464979 w 1094527"/>
              <a:gd name="connsiteY0" fmla="*/ 0 h 343401"/>
              <a:gd name="connsiteX1" fmla="*/ 750998 w 1094527"/>
              <a:gd name="connsiteY1" fmla="*/ 0 h 343401"/>
              <a:gd name="connsiteX2" fmla="*/ 751137 w 1094527"/>
              <a:gd name="connsiteY2" fmla="*/ 0 h 343401"/>
              <a:gd name="connsiteX3" fmla="*/ 1094527 w 1094527"/>
              <a:gd name="connsiteY3" fmla="*/ 343388 h 343401"/>
              <a:gd name="connsiteX4" fmla="*/ 744008 w 1094527"/>
              <a:gd name="connsiteY4" fmla="*/ 343388 h 343401"/>
              <a:gd name="connsiteX5" fmla="*/ 744008 w 1094527"/>
              <a:gd name="connsiteY5" fmla="*/ 343401 h 343401"/>
              <a:gd name="connsiteX6" fmla="*/ 653688 w 1094527"/>
              <a:gd name="connsiteY6" fmla="*/ 343388 h 343401"/>
              <a:gd name="connsiteX7" fmla="*/ 629548 w 1094527"/>
              <a:gd name="connsiteY7" fmla="*/ 343388 h 343401"/>
              <a:gd name="connsiteX8" fmla="*/ 629547 w 1094527"/>
              <a:gd name="connsiteY8" fmla="*/ 343392 h 343401"/>
              <a:gd name="connsiteX9" fmla="*/ 343529 w 1094527"/>
              <a:gd name="connsiteY9" fmla="*/ 343392 h 343401"/>
              <a:gd name="connsiteX10" fmla="*/ 343390 w 1094527"/>
              <a:gd name="connsiteY10" fmla="*/ 343392 h 343401"/>
              <a:gd name="connsiteX11" fmla="*/ 0 w 1094527"/>
              <a:gd name="connsiteY11" fmla="*/ 4 h 343401"/>
              <a:gd name="connsiteX12" fmla="*/ 464978 w 1094527"/>
              <a:gd name="connsiteY12" fmla="*/ 4 h 3434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094527" h="343401">
                <a:moveTo>
                  <a:pt x="464979" y="0"/>
                </a:moveTo>
                <a:lnTo>
                  <a:pt x="750998" y="0"/>
                </a:lnTo>
                <a:lnTo>
                  <a:pt x="751137" y="0"/>
                </a:lnTo>
                <a:cubicBezTo>
                  <a:pt x="940733" y="0"/>
                  <a:pt x="1094527" y="153651"/>
                  <a:pt x="1094527" y="343388"/>
                </a:cubicBezTo>
                <a:lnTo>
                  <a:pt x="744008" y="343388"/>
                </a:lnTo>
                <a:lnTo>
                  <a:pt x="744008" y="343401"/>
                </a:lnTo>
                <a:lnTo>
                  <a:pt x="653688" y="343388"/>
                </a:lnTo>
                <a:lnTo>
                  <a:pt x="629548" y="343388"/>
                </a:lnTo>
                <a:lnTo>
                  <a:pt x="629547" y="343392"/>
                </a:lnTo>
                <a:lnTo>
                  <a:pt x="343529" y="343392"/>
                </a:lnTo>
                <a:lnTo>
                  <a:pt x="343390" y="343392"/>
                </a:lnTo>
                <a:cubicBezTo>
                  <a:pt x="153794" y="343392"/>
                  <a:pt x="0" y="189742"/>
                  <a:pt x="0" y="4"/>
                </a:cubicBezTo>
                <a:lnTo>
                  <a:pt x="464978" y="4"/>
                </a:lnTo>
                <a:close/>
              </a:path>
            </a:pathLst>
          </a:custGeom>
          <a:solidFill>
            <a:schemeClr val="tx1"/>
          </a:solidFill>
        </p:spPr>
        <p:txBody>
          <a:bodyPr wrap="square" lIns="0" tIns="0" rIns="0" bIns="0" anchor="ctr">
            <a:noAutofit/>
          </a:bodyPr>
          <a:lstStyle>
            <a:lvl1pPr algn="ctr">
              <a:spcBef>
                <a:spcPts val="600"/>
              </a:spcBef>
              <a:defRPr sz="1000">
                <a:solidFill>
                  <a:schemeClr val="bg1"/>
                </a:solidFill>
              </a:defRPr>
            </a:lvl1pPr>
            <a:lvl2pPr algn="r">
              <a:defRPr sz="1400"/>
            </a:lvl2pPr>
            <a:lvl3pPr algn="r">
              <a:defRPr sz="1400"/>
            </a:lvl3pPr>
            <a:lvl4pPr algn="r">
              <a:defRPr sz="1400"/>
            </a:lvl4pPr>
            <a:lvl5pPr algn="r">
              <a:defRPr sz="1400"/>
            </a:lvl5pPr>
          </a:lstStyle>
          <a:p>
            <a:pPr lvl="0"/>
            <a:r>
              <a:rPr lang="pt-PT" dirty="0"/>
              <a:t>Texto</a:t>
            </a:r>
          </a:p>
        </p:txBody>
      </p:sp>
      <p:sp>
        <p:nvSpPr>
          <p:cNvPr id="72" name="Marcador de Posição do Rodapé 4">
            <a:extLst>
              <a:ext uri="{FF2B5EF4-FFF2-40B4-BE49-F238E27FC236}">
                <a16:creationId xmlns:a16="http://schemas.microsoft.com/office/drawing/2014/main" id="{C1808A9B-806C-4F4F-9B6E-DE0158805B7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12762" y="6356350"/>
            <a:ext cx="534669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accent2"/>
                </a:solidFill>
              </a:defRPr>
            </a:lvl1pPr>
          </a:lstStyle>
          <a:p>
            <a:r>
              <a:rPr lang="pt-PT"/>
              <a:t>Título de la presentación</a:t>
            </a:r>
            <a:endParaRPr lang="pt-PT" dirty="0"/>
          </a:p>
        </p:txBody>
      </p:sp>
      <p:sp>
        <p:nvSpPr>
          <p:cNvPr id="73" name="Marcador de Posição do Número do Diapositivo 5">
            <a:extLst>
              <a:ext uri="{FF2B5EF4-FFF2-40B4-BE49-F238E27FC236}">
                <a16:creationId xmlns:a16="http://schemas.microsoft.com/office/drawing/2014/main" id="{27548B5F-7165-4631-9066-70E20529A08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936039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accent2"/>
                </a:solidFill>
              </a:defRPr>
            </a:lvl1pPr>
          </a:lstStyle>
          <a:p>
            <a:fld id="{24A347C2-D68E-473A-8C76-1D063E4EB6E0}" type="slidenum">
              <a:rPr lang="es-ES" smtClean="0"/>
              <a:pPr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31705459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5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25E-6 0.03889 L 1.25E-6 1.85185E-6 " pathEditMode="relative" rAng="0" ptsTypes="AA">
                                      <p:cBhvr>
                                        <p:cTn id="9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944"/>
                                    </p:animMotion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1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3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 nodePh="1">
                                  <p:stCondLst>
                                    <p:cond delay="250"/>
                                  </p:stCondLst>
                                  <p:endCondLst>
                                    <p:cond evt="begin" delay="0">
                                      <p:tn val="16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12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500"/>
                                        <p:tgtEl>
                                          <p:spTgt spid="2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6" presetID="10" presetClass="entr" presetSubtype="0" fill="hold" grpId="0" nodeType="withEffect" nodePh="1">
                                  <p:stCondLst>
                                    <p:cond delay="250"/>
                                  </p:stCondLst>
                                  <p:endCondLst>
                                    <p:cond evt="begin" delay="0">
                                      <p:tn val="46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8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9" presetID="10" presetClass="entr" presetSubtype="0" fill="hold" grpId="0" nodeType="withEffect" nodePh="1">
                                  <p:stCondLst>
                                    <p:cond delay="250"/>
                                  </p:stCondLst>
                                  <p:endCondLst>
                                    <p:cond evt="begin" delay="0">
                                      <p:tn val="49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1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2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4" dur="500"/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5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500"/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8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0" dur="500"/>
                                        <p:tgtEl>
                                          <p:spTgt spid="46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1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3" dur="500"/>
                                        <p:tgtEl>
                                          <p:spTgt spid="4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4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6" dur="500"/>
                                        <p:tgtEl>
                                          <p:spTgt spid="47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7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9" dur="500"/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2" dur="500"/>
                                        <p:tgtEl>
                                          <p:spTgt spid="4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3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5" dur="500"/>
                                        <p:tgtEl>
                                          <p:spTgt spid="4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6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7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8" dur="500"/>
                                        <p:tgtEl>
                                          <p:spTgt spid="5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9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1" dur="500"/>
                                        <p:tgtEl>
                                          <p:spTgt spid="5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2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8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4" dur="500"/>
                                        <p:tgtEl>
                                          <p:spTgt spid="5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5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7" dur="500"/>
                                        <p:tgtEl>
                                          <p:spTgt spid="5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8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8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0" dur="500"/>
                                        <p:tgtEl>
                                          <p:spTgt spid="75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1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3" dur="500"/>
                                        <p:tgtEl>
                                          <p:spTgt spid="7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4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9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6" dur="500"/>
                                        <p:tgtEl>
                                          <p:spTgt spid="6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7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9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9" dur="500"/>
                                        <p:tgtEl>
                                          <p:spTgt spid="6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0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2" dur="500"/>
                                        <p:tgtEl>
                                          <p:spTgt spid="6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3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0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5" dur="500"/>
                                        <p:tgtEl>
                                          <p:spTgt spid="6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6" presetID="10" presetClass="entr" presetSubtype="0" fill="hold" grpId="0" nodeType="withEffect" nodePh="1">
                                  <p:stCondLst>
                                    <p:cond delay="250"/>
                                  </p:stCondLst>
                                  <p:endCondLst>
                                    <p:cond evt="begin" delay="0">
                                      <p:tn val="106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10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8" dur="500"/>
                                        <p:tgtEl>
                                          <p:spTgt spid="6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9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1" dur="500"/>
                                        <p:tgtEl>
                                          <p:spTgt spid="6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2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4" dur="500"/>
                                        <p:tgtEl>
                                          <p:spTgt spid="6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5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7" dur="500"/>
                                        <p:tgtEl>
                                          <p:spTgt spid="7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8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0" dur="500"/>
                                        <p:tgtEl>
                                          <p:spTgt spid="7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1" presetID="10" presetClass="entr" presetSubtype="0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3" dur="500"/>
                                        <p:tgtEl>
                                          <p:spTgt spid="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4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6" dur="500"/>
                                        <p:tgtEl>
                                          <p:spTgt spid="8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7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9" dur="500"/>
                                        <p:tgtEl>
                                          <p:spTgt spid="8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2" dur="500"/>
                                        <p:tgtEl>
                                          <p:spTgt spid="8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3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5" dur="500"/>
                                        <p:tgtEl>
                                          <p:spTgt spid="8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6" presetID="10" presetClass="entr" presetSubtype="0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8" dur="500"/>
                                        <p:tgtEl>
                                          <p:spTgt spid="8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9" presetID="10" presetClass="entr" presetSubtype="0" fill="hold" grpId="0" nodeType="withEffect" nodePh="1">
                                  <p:stCondLst>
                                    <p:cond delay="250"/>
                                  </p:stCondLst>
                                  <p:endCondLst>
                                    <p:cond evt="begin" delay="0">
                                      <p:tn val="139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1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1" dur="500"/>
                                        <p:tgtEl>
                                          <p:spTgt spid="9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2" presetID="10" presetClass="entr" presetSubtype="0" fill="hold" grpId="0" nodeType="withEffect" nodePh="1">
                                  <p:stCondLst>
                                    <p:cond delay="250"/>
                                  </p:stCondLst>
                                  <p:endCondLst>
                                    <p:cond evt="begin" delay="0">
                                      <p:tn val="142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1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4" dur="500"/>
                                        <p:tgtEl>
                                          <p:spTgt spid="9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5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7" dur="500"/>
                                        <p:tgtEl>
                                          <p:spTgt spid="10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8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0" dur="500"/>
                                        <p:tgtEl>
                                          <p:spTgt spid="10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1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3" dur="500"/>
                                        <p:tgtEl>
                                          <p:spTgt spid="10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4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6" dur="500"/>
                                        <p:tgtEl>
                                          <p:spTgt spid="10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7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9" dur="500"/>
                                        <p:tgtEl>
                                          <p:spTgt spid="10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2" dur="500"/>
                                        <p:tgtEl>
                                          <p:spTgt spid="10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3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5" dur="500"/>
                                        <p:tgtEl>
                                          <p:spTgt spid="10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6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9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8" dur="500"/>
                                        <p:tgtEl>
                                          <p:spTgt spid="109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9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1" dur="500"/>
                                        <p:tgtEl>
                                          <p:spTgt spid="10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2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4" dur="500"/>
                                        <p:tgtEl>
                                          <p:spTgt spid="1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5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7" dur="500"/>
                                        <p:tgtEl>
                                          <p:spTgt spid="13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8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7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0" dur="500"/>
                                        <p:tgtEl>
                                          <p:spTgt spid="14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1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3" dur="500"/>
                                        <p:tgtEl>
                                          <p:spTgt spid="14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4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8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4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6" dur="500"/>
                                        <p:tgtEl>
                                          <p:spTgt spid="144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7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9" dur="500"/>
                                        <p:tgtEl>
                                          <p:spTgt spid="1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9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5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2" dur="500"/>
                                        <p:tgtEl>
                                          <p:spTgt spid="145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3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5" dur="500"/>
                                        <p:tgtEl>
                                          <p:spTgt spid="14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6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9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6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8" dur="500"/>
                                        <p:tgtEl>
                                          <p:spTgt spid="146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9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0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1" dur="500"/>
                                        <p:tgtEl>
                                          <p:spTgt spid="14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2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0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7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4" dur="500"/>
                                        <p:tgtEl>
                                          <p:spTgt spid="147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5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0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7" dur="500"/>
                                        <p:tgtEl>
                                          <p:spTgt spid="1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1" grpId="0" build="p" animBg="1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1"/>
                        </p:tgtEl>
                      </p:cBhvr>
                    </p:animEffect>
                  </p:childTnLst>
                </p:cTn>
              </p:par>
            </p:tnLst>
          </p:tmpl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6" grpId="0"/>
      <p:bldP spid="6" grpId="1"/>
      <p:bldP spid="8" grpId="0"/>
      <p:bldP spid="12" grpId="0" build="p" animBg="1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2"/>
                        </p:tgtEl>
                      </p:cBhvr>
                    </p:animEffect>
                  </p:childTnLst>
                </p:cTn>
              </p:par>
            </p:tnLst>
          </p:tmpl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3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5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6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7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8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9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0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1" grpId="0"/>
      <p:bldP spid="26" grpId="0"/>
      <p:bldP spid="33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4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6" grpId="0" build="p" animBg="1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6"/>
                        </p:tgtEl>
                      </p:cBhvr>
                    </p:animEffect>
                  </p:childTnLst>
                </p:cTn>
              </p:par>
            </p:tnLst>
          </p:tmpl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7" grpId="0" build="p" animBg="1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7"/>
                        </p:tgtEl>
                      </p:cBhvr>
                    </p:animEffect>
                  </p:childTnLst>
                </p:cTn>
              </p:par>
            </p:tnLst>
          </p:tmpl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8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9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0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5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1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5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6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5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7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5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75" grpId="0" build="p" animBg="1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75"/>
                        </p:tgtEl>
                      </p:cBhvr>
                    </p:animEffect>
                  </p:childTnLst>
                </p:cTn>
              </p:par>
            </p:tnLst>
          </p:tmpl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7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63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6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6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64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6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6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65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6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6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66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6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6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67" grpId="0"/>
      <p:bldP spid="68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6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6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69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6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6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70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7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71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7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80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8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8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81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8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8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82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8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8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87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8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8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94" grpId="0"/>
      <p:bldP spid="99" grpId="0"/>
      <p:bldP spid="100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0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0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01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0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0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02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0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0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03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0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0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04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0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0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05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0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0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06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0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0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09" grpId="0" build="p" animBg="1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0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09"/>
                        </p:tgtEl>
                      </p:cBhvr>
                    </p:animEffect>
                  </p:childTnLst>
                </p:cTn>
              </p:par>
            </p:tnLst>
          </p:tmpl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0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0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10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1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39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3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3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40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4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4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41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4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4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44" grpId="0" build="p" animBg="1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4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44"/>
                        </p:tgtEl>
                      </p:cBhvr>
                    </p:animEffect>
                  </p:childTnLst>
                </p:cTn>
              </p:par>
            </p:tnLst>
          </p:tmpl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4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4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45" grpId="0" build="p" animBg="1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4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45"/>
                        </p:tgtEl>
                      </p:cBhvr>
                    </p:animEffect>
                  </p:childTnLst>
                </p:cTn>
              </p:par>
            </p:tnLst>
          </p:tmpl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4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4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46" grpId="0" build="p" animBg="1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4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46"/>
                        </p:tgtEl>
                      </p:cBhvr>
                    </p:animEffect>
                  </p:childTnLst>
                </p:cTn>
              </p:par>
            </p:tnLst>
          </p:tmpl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4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4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47" grpId="0" build="p" animBg="1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4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47"/>
                        </p:tgtEl>
                      </p:cBhvr>
                    </p:animEffect>
                  </p:childTnLst>
                </p:cTn>
              </p:par>
            </p:tnLst>
          </p:tmpl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4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47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6" name="Gráfico 2">
            <a:extLst>
              <a:ext uri="{FF2B5EF4-FFF2-40B4-BE49-F238E27FC236}">
                <a16:creationId xmlns:a16="http://schemas.microsoft.com/office/drawing/2014/main" id="{3EBD1A53-B9D7-489B-B465-24A850E50B67}"/>
              </a:ext>
            </a:extLst>
          </p:cNvPr>
          <p:cNvGrpSpPr/>
          <p:nvPr userDrawn="1"/>
        </p:nvGrpSpPr>
        <p:grpSpPr>
          <a:xfrm>
            <a:off x="10552383" y="277601"/>
            <a:ext cx="1317132" cy="139616"/>
            <a:chOff x="0" y="2782824"/>
            <a:chExt cx="12192000" cy="1292352"/>
          </a:xfrm>
        </p:grpSpPr>
        <p:sp>
          <p:nvSpPr>
            <p:cNvPr id="47" name="Forma libre: forma 46">
              <a:extLst>
                <a:ext uri="{FF2B5EF4-FFF2-40B4-BE49-F238E27FC236}">
                  <a16:creationId xmlns:a16="http://schemas.microsoft.com/office/drawing/2014/main" id="{766163C5-1BF8-42B9-BF53-193D19E45A64}"/>
                </a:ext>
              </a:extLst>
            </p:cNvPr>
            <p:cNvSpPr/>
            <p:nvPr/>
          </p:nvSpPr>
          <p:spPr>
            <a:xfrm>
              <a:off x="3791306" y="2777053"/>
              <a:ext cx="1300480" cy="1300480"/>
            </a:xfrm>
            <a:custGeom>
              <a:avLst/>
              <a:gdLst>
                <a:gd name="connsiteX0" fmla="*/ 6096 w 1300480"/>
                <a:gd name="connsiteY0" fmla="*/ 653979 h 1300480"/>
                <a:gd name="connsiteX1" fmla="*/ 653979 w 1300480"/>
                <a:gd name="connsiteY1" fmla="*/ 6096 h 1300480"/>
                <a:gd name="connsiteX2" fmla="*/ 1301862 w 1300480"/>
                <a:gd name="connsiteY2" fmla="*/ 653979 h 1300480"/>
                <a:gd name="connsiteX3" fmla="*/ 653979 w 1300480"/>
                <a:gd name="connsiteY3" fmla="*/ 1301862 h 1300480"/>
                <a:gd name="connsiteX4" fmla="*/ 653898 w 1300480"/>
                <a:gd name="connsiteY4" fmla="*/ 1301862 h 1300480"/>
                <a:gd name="connsiteX5" fmla="*/ 6096 w 1300480"/>
                <a:gd name="connsiteY5" fmla="*/ 654060 h 1300480"/>
                <a:gd name="connsiteX6" fmla="*/ 6096 w 1300480"/>
                <a:gd name="connsiteY6" fmla="*/ 654060 h 1300480"/>
                <a:gd name="connsiteX7" fmla="*/ 653898 w 1300480"/>
                <a:gd name="connsiteY7" fmla="*/ 1091184 h 1300480"/>
                <a:gd name="connsiteX8" fmla="*/ 1091265 w 1300480"/>
                <a:gd name="connsiteY8" fmla="*/ 653979 h 1300480"/>
                <a:gd name="connsiteX9" fmla="*/ 654060 w 1300480"/>
                <a:gd name="connsiteY9" fmla="*/ 216611 h 1300480"/>
                <a:gd name="connsiteX10" fmla="*/ 216692 w 1300480"/>
                <a:gd name="connsiteY10" fmla="*/ 653816 h 1300480"/>
                <a:gd name="connsiteX11" fmla="*/ 216692 w 1300480"/>
                <a:gd name="connsiteY11" fmla="*/ 653979 h 1300480"/>
                <a:gd name="connsiteX12" fmla="*/ 653898 w 1300480"/>
                <a:gd name="connsiteY12" fmla="*/ 1091184 h 13004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300480" h="1300480">
                  <a:moveTo>
                    <a:pt x="6096" y="653979"/>
                  </a:moveTo>
                  <a:cubicBezTo>
                    <a:pt x="6096" y="296184"/>
                    <a:pt x="296184" y="6096"/>
                    <a:pt x="653979" y="6096"/>
                  </a:cubicBezTo>
                  <a:cubicBezTo>
                    <a:pt x="1011773" y="6096"/>
                    <a:pt x="1301862" y="296184"/>
                    <a:pt x="1301862" y="653979"/>
                  </a:cubicBezTo>
                  <a:cubicBezTo>
                    <a:pt x="1301862" y="1011773"/>
                    <a:pt x="1011773" y="1301862"/>
                    <a:pt x="653979" y="1301862"/>
                  </a:cubicBezTo>
                  <a:lnTo>
                    <a:pt x="653898" y="1301862"/>
                  </a:lnTo>
                  <a:cubicBezTo>
                    <a:pt x="296103" y="1301862"/>
                    <a:pt x="6096" y="1011855"/>
                    <a:pt x="6096" y="654060"/>
                  </a:cubicBezTo>
                  <a:lnTo>
                    <a:pt x="6096" y="654060"/>
                  </a:lnTo>
                  <a:moveTo>
                    <a:pt x="653898" y="1091184"/>
                  </a:moveTo>
                  <a:cubicBezTo>
                    <a:pt x="895380" y="1091184"/>
                    <a:pt x="1091184" y="895462"/>
                    <a:pt x="1091265" y="653979"/>
                  </a:cubicBezTo>
                  <a:cubicBezTo>
                    <a:pt x="1091265" y="412496"/>
                    <a:pt x="895543" y="216692"/>
                    <a:pt x="654060" y="216611"/>
                  </a:cubicBezTo>
                  <a:cubicBezTo>
                    <a:pt x="412577" y="216611"/>
                    <a:pt x="216774" y="412333"/>
                    <a:pt x="216692" y="653816"/>
                  </a:cubicBezTo>
                  <a:lnTo>
                    <a:pt x="216692" y="653979"/>
                  </a:lnTo>
                  <a:cubicBezTo>
                    <a:pt x="216692" y="895462"/>
                    <a:pt x="412415" y="1091184"/>
                    <a:pt x="653898" y="1091184"/>
                  </a:cubicBezTo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48" name="Forma libre: forma 47">
              <a:extLst>
                <a:ext uri="{FF2B5EF4-FFF2-40B4-BE49-F238E27FC236}">
                  <a16:creationId xmlns:a16="http://schemas.microsoft.com/office/drawing/2014/main" id="{B77F5D63-FF1D-46E4-A992-6FE5A6C61B80}"/>
                </a:ext>
              </a:extLst>
            </p:cNvPr>
            <p:cNvSpPr/>
            <p:nvPr/>
          </p:nvSpPr>
          <p:spPr>
            <a:xfrm>
              <a:off x="1151981" y="2793797"/>
              <a:ext cx="219456" cy="1267968"/>
            </a:xfrm>
            <a:custGeom>
              <a:avLst/>
              <a:gdLst>
                <a:gd name="connsiteX0" fmla="*/ 216367 w 219456"/>
                <a:gd name="connsiteY0" fmla="*/ 6096 h 1267968"/>
                <a:gd name="connsiteX1" fmla="*/ 216367 w 219456"/>
                <a:gd name="connsiteY1" fmla="*/ 6096 h 1267968"/>
                <a:gd name="connsiteX2" fmla="*/ 216367 w 219456"/>
                <a:gd name="connsiteY2" fmla="*/ 1268212 h 1267968"/>
                <a:gd name="connsiteX3" fmla="*/ 6096 w 219456"/>
                <a:gd name="connsiteY3" fmla="*/ 1268212 h 1267968"/>
                <a:gd name="connsiteX4" fmla="*/ 6096 w 219456"/>
                <a:gd name="connsiteY4" fmla="*/ 216449 h 1267968"/>
                <a:gd name="connsiteX5" fmla="*/ 216367 w 219456"/>
                <a:gd name="connsiteY5" fmla="*/ 6096 h 126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19456" h="1267968">
                  <a:moveTo>
                    <a:pt x="216367" y="6096"/>
                  </a:moveTo>
                  <a:lnTo>
                    <a:pt x="216367" y="6096"/>
                  </a:lnTo>
                  <a:lnTo>
                    <a:pt x="216367" y="1268212"/>
                  </a:lnTo>
                  <a:lnTo>
                    <a:pt x="6096" y="1268212"/>
                  </a:lnTo>
                  <a:lnTo>
                    <a:pt x="6096" y="216449"/>
                  </a:lnTo>
                  <a:cubicBezTo>
                    <a:pt x="6096" y="100300"/>
                    <a:pt x="100218" y="6177"/>
                    <a:pt x="216367" y="6096"/>
                  </a:cubicBezTo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49" name="Forma libre: forma 48">
              <a:extLst>
                <a:ext uri="{FF2B5EF4-FFF2-40B4-BE49-F238E27FC236}">
                  <a16:creationId xmlns:a16="http://schemas.microsoft.com/office/drawing/2014/main" id="{A5340E89-EC98-42AE-A069-8542DCF32909}"/>
                </a:ext>
              </a:extLst>
            </p:cNvPr>
            <p:cNvSpPr/>
            <p:nvPr/>
          </p:nvSpPr>
          <p:spPr>
            <a:xfrm>
              <a:off x="9373128" y="2793797"/>
              <a:ext cx="219456" cy="1267968"/>
            </a:xfrm>
            <a:custGeom>
              <a:avLst/>
              <a:gdLst>
                <a:gd name="connsiteX0" fmla="*/ 216368 w 219456"/>
                <a:gd name="connsiteY0" fmla="*/ 6096 h 1267968"/>
                <a:gd name="connsiteX1" fmla="*/ 216368 w 219456"/>
                <a:gd name="connsiteY1" fmla="*/ 6096 h 1267968"/>
                <a:gd name="connsiteX2" fmla="*/ 216368 w 219456"/>
                <a:gd name="connsiteY2" fmla="*/ 1268212 h 1267968"/>
                <a:gd name="connsiteX3" fmla="*/ 6096 w 219456"/>
                <a:gd name="connsiteY3" fmla="*/ 1268212 h 1267968"/>
                <a:gd name="connsiteX4" fmla="*/ 6096 w 219456"/>
                <a:gd name="connsiteY4" fmla="*/ 216449 h 1267968"/>
                <a:gd name="connsiteX5" fmla="*/ 216287 w 219456"/>
                <a:gd name="connsiteY5" fmla="*/ 6096 h 1267968"/>
                <a:gd name="connsiteX6" fmla="*/ 216368 w 219456"/>
                <a:gd name="connsiteY6" fmla="*/ 6096 h 126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19456" h="1267968">
                  <a:moveTo>
                    <a:pt x="216368" y="6096"/>
                  </a:moveTo>
                  <a:lnTo>
                    <a:pt x="216368" y="6096"/>
                  </a:lnTo>
                  <a:lnTo>
                    <a:pt x="216368" y="1268212"/>
                  </a:lnTo>
                  <a:lnTo>
                    <a:pt x="6096" y="1268212"/>
                  </a:lnTo>
                  <a:lnTo>
                    <a:pt x="6096" y="216449"/>
                  </a:lnTo>
                  <a:cubicBezTo>
                    <a:pt x="6096" y="100300"/>
                    <a:pt x="100138" y="6177"/>
                    <a:pt x="216287" y="6096"/>
                  </a:cubicBezTo>
                  <a:lnTo>
                    <a:pt x="216368" y="6096"/>
                  </a:lnTo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50" name="Forma libre: forma 49">
              <a:extLst>
                <a:ext uri="{FF2B5EF4-FFF2-40B4-BE49-F238E27FC236}">
                  <a16:creationId xmlns:a16="http://schemas.microsoft.com/office/drawing/2014/main" id="{F960796E-D7E1-457B-AD44-0CADE740C6DC}"/>
                </a:ext>
              </a:extLst>
            </p:cNvPr>
            <p:cNvSpPr/>
            <p:nvPr/>
          </p:nvSpPr>
          <p:spPr>
            <a:xfrm>
              <a:off x="8111012" y="2793878"/>
              <a:ext cx="1056640" cy="1267968"/>
            </a:xfrm>
            <a:custGeom>
              <a:avLst/>
              <a:gdLst>
                <a:gd name="connsiteX0" fmla="*/ 74046 w 1056640"/>
                <a:gd name="connsiteY0" fmla="*/ 6096 h 1267968"/>
                <a:gd name="connsiteX1" fmla="*/ 6096 w 1056640"/>
                <a:gd name="connsiteY1" fmla="*/ 216367 h 1267968"/>
                <a:gd name="connsiteX2" fmla="*/ 426802 w 1056640"/>
                <a:gd name="connsiteY2" fmla="*/ 216367 h 1267968"/>
                <a:gd name="connsiteX3" fmla="*/ 426802 w 1056640"/>
                <a:gd name="connsiteY3" fmla="*/ 1268131 h 1267968"/>
                <a:gd name="connsiteX4" fmla="*/ 637155 w 1056640"/>
                <a:gd name="connsiteY4" fmla="*/ 1268131 h 1267968"/>
                <a:gd name="connsiteX5" fmla="*/ 637155 w 1056640"/>
                <a:gd name="connsiteY5" fmla="*/ 216367 h 1267968"/>
                <a:gd name="connsiteX6" fmla="*/ 847507 w 1056640"/>
                <a:gd name="connsiteY6" fmla="*/ 216367 h 1267968"/>
                <a:gd name="connsiteX7" fmla="*/ 1057860 w 1056640"/>
                <a:gd name="connsiteY7" fmla="*/ 6096 h 1267968"/>
                <a:gd name="connsiteX8" fmla="*/ 74046 w 1056640"/>
                <a:gd name="connsiteY8" fmla="*/ 6096 h 126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056640" h="1267968">
                  <a:moveTo>
                    <a:pt x="74046" y="6096"/>
                  </a:moveTo>
                  <a:lnTo>
                    <a:pt x="6096" y="216367"/>
                  </a:lnTo>
                  <a:lnTo>
                    <a:pt x="426802" y="216367"/>
                  </a:lnTo>
                  <a:lnTo>
                    <a:pt x="426802" y="1268131"/>
                  </a:lnTo>
                  <a:lnTo>
                    <a:pt x="637155" y="1268131"/>
                  </a:lnTo>
                  <a:lnTo>
                    <a:pt x="637155" y="216367"/>
                  </a:lnTo>
                  <a:lnTo>
                    <a:pt x="847507" y="216367"/>
                  </a:lnTo>
                  <a:cubicBezTo>
                    <a:pt x="963656" y="216367"/>
                    <a:pt x="1057779" y="122245"/>
                    <a:pt x="1057860" y="6096"/>
                  </a:cubicBezTo>
                  <a:lnTo>
                    <a:pt x="74046" y="6096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51" name="Forma libre: forma 50">
              <a:extLst>
                <a:ext uri="{FF2B5EF4-FFF2-40B4-BE49-F238E27FC236}">
                  <a16:creationId xmlns:a16="http://schemas.microsoft.com/office/drawing/2014/main" id="{B81FC15E-E5F9-43B3-B1BE-A3BA901D63BF}"/>
                </a:ext>
              </a:extLst>
            </p:cNvPr>
            <p:cNvSpPr/>
            <p:nvPr/>
          </p:nvSpPr>
          <p:spPr>
            <a:xfrm>
              <a:off x="1602108" y="2793797"/>
              <a:ext cx="845312" cy="1267968"/>
            </a:xfrm>
            <a:custGeom>
              <a:avLst/>
              <a:gdLst>
                <a:gd name="connsiteX0" fmla="*/ 216288 w 845312"/>
                <a:gd name="connsiteY0" fmla="*/ 1057859 h 1267968"/>
                <a:gd name="connsiteX1" fmla="*/ 216288 w 845312"/>
                <a:gd name="connsiteY1" fmla="*/ 6096 h 1267968"/>
                <a:gd name="connsiteX2" fmla="*/ 6098 w 845312"/>
                <a:gd name="connsiteY2" fmla="*/ 6096 h 1267968"/>
                <a:gd name="connsiteX3" fmla="*/ 6098 w 845312"/>
                <a:gd name="connsiteY3" fmla="*/ 1057859 h 1267968"/>
                <a:gd name="connsiteX4" fmla="*/ 6098 w 845312"/>
                <a:gd name="connsiteY4" fmla="*/ 1057859 h 1267968"/>
                <a:gd name="connsiteX5" fmla="*/ 14226 w 845312"/>
                <a:gd name="connsiteY5" fmla="*/ 1116706 h 1267968"/>
                <a:gd name="connsiteX6" fmla="*/ 15201 w 845312"/>
                <a:gd name="connsiteY6" fmla="*/ 1120364 h 1267968"/>
                <a:gd name="connsiteX7" fmla="*/ 17071 w 845312"/>
                <a:gd name="connsiteY7" fmla="*/ 1125566 h 1267968"/>
                <a:gd name="connsiteX8" fmla="*/ 22598 w 845312"/>
                <a:gd name="connsiteY8" fmla="*/ 1140358 h 1267968"/>
                <a:gd name="connsiteX9" fmla="*/ 52021 w 845312"/>
                <a:gd name="connsiteY9" fmla="*/ 1189126 h 1267968"/>
                <a:gd name="connsiteX10" fmla="*/ 124685 w 845312"/>
                <a:gd name="connsiteY10" fmla="*/ 1246916 h 1267968"/>
                <a:gd name="connsiteX11" fmla="*/ 216125 w 845312"/>
                <a:gd name="connsiteY11" fmla="*/ 1268049 h 1267968"/>
                <a:gd name="connsiteX12" fmla="*/ 776957 w 845312"/>
                <a:gd name="connsiteY12" fmla="*/ 1268049 h 1267968"/>
                <a:gd name="connsiteX13" fmla="*/ 847021 w 845312"/>
                <a:gd name="connsiteY13" fmla="*/ 1057697 h 1267968"/>
                <a:gd name="connsiteX14" fmla="*/ 216288 w 845312"/>
                <a:gd name="connsiteY14" fmla="*/ 1057859 h 126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845312" h="1267968">
                  <a:moveTo>
                    <a:pt x="216288" y="1057859"/>
                  </a:moveTo>
                  <a:lnTo>
                    <a:pt x="216288" y="6096"/>
                  </a:lnTo>
                  <a:lnTo>
                    <a:pt x="6098" y="6096"/>
                  </a:lnTo>
                  <a:lnTo>
                    <a:pt x="6098" y="1057859"/>
                  </a:lnTo>
                  <a:lnTo>
                    <a:pt x="6098" y="1057859"/>
                  </a:lnTo>
                  <a:cubicBezTo>
                    <a:pt x="6017" y="1077773"/>
                    <a:pt x="8699" y="1097605"/>
                    <a:pt x="14226" y="1116706"/>
                  </a:cubicBezTo>
                  <a:cubicBezTo>
                    <a:pt x="14632" y="1117925"/>
                    <a:pt x="14795" y="1119226"/>
                    <a:pt x="15201" y="1120364"/>
                  </a:cubicBezTo>
                  <a:cubicBezTo>
                    <a:pt x="15608" y="1121502"/>
                    <a:pt x="16502" y="1123859"/>
                    <a:pt x="17071" y="1125566"/>
                  </a:cubicBezTo>
                  <a:cubicBezTo>
                    <a:pt x="18777" y="1130605"/>
                    <a:pt x="20566" y="1135563"/>
                    <a:pt x="22598" y="1140358"/>
                  </a:cubicBezTo>
                  <a:cubicBezTo>
                    <a:pt x="30157" y="1157915"/>
                    <a:pt x="40073" y="1174252"/>
                    <a:pt x="52021" y="1189126"/>
                  </a:cubicBezTo>
                  <a:cubicBezTo>
                    <a:pt x="71691" y="1213510"/>
                    <a:pt x="96481" y="1233262"/>
                    <a:pt x="124685" y="1246916"/>
                  </a:cubicBezTo>
                  <a:cubicBezTo>
                    <a:pt x="153215" y="1260734"/>
                    <a:pt x="184426" y="1267968"/>
                    <a:pt x="216125" y="1268049"/>
                  </a:cubicBezTo>
                  <a:lnTo>
                    <a:pt x="776957" y="1268049"/>
                  </a:lnTo>
                  <a:lnTo>
                    <a:pt x="847021" y="1057697"/>
                  </a:lnTo>
                  <a:lnTo>
                    <a:pt x="216288" y="1057859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52" name="Forma libre: forma 51">
              <a:extLst>
                <a:ext uri="{FF2B5EF4-FFF2-40B4-BE49-F238E27FC236}">
                  <a16:creationId xmlns:a16="http://schemas.microsoft.com/office/drawing/2014/main" id="{6899A55C-9BFD-4FE6-8104-DABF79DCBF14}"/>
                </a:ext>
              </a:extLst>
            </p:cNvPr>
            <p:cNvSpPr/>
            <p:nvPr/>
          </p:nvSpPr>
          <p:spPr>
            <a:xfrm>
              <a:off x="-6096" y="2794284"/>
              <a:ext cx="959104" cy="1267968"/>
            </a:xfrm>
            <a:custGeom>
              <a:avLst/>
              <a:gdLst>
                <a:gd name="connsiteX0" fmla="*/ 818815 w 959104"/>
                <a:gd name="connsiteY0" fmla="*/ 411764 h 1267968"/>
                <a:gd name="connsiteX1" fmla="*/ 818815 w 959104"/>
                <a:gd name="connsiteY1" fmla="*/ 285699 h 1267968"/>
                <a:gd name="connsiteX2" fmla="*/ 539130 w 959104"/>
                <a:gd name="connsiteY2" fmla="*/ 6096 h 1267968"/>
                <a:gd name="connsiteX3" fmla="*/ 6096 w 959104"/>
                <a:gd name="connsiteY3" fmla="*/ 6096 h 1267968"/>
                <a:gd name="connsiteX4" fmla="*/ 6096 w 959104"/>
                <a:gd name="connsiteY4" fmla="*/ 1057047 h 1267968"/>
                <a:gd name="connsiteX5" fmla="*/ 216367 w 959104"/>
                <a:gd name="connsiteY5" fmla="*/ 1267399 h 1267968"/>
                <a:gd name="connsiteX6" fmla="*/ 532140 w 959104"/>
                <a:gd name="connsiteY6" fmla="*/ 1267399 h 1267968"/>
                <a:gd name="connsiteX7" fmla="*/ 953821 w 959104"/>
                <a:gd name="connsiteY7" fmla="*/ 892861 h 1267968"/>
                <a:gd name="connsiteX8" fmla="*/ 603260 w 959104"/>
                <a:gd name="connsiteY8" fmla="*/ 530596 h 1267968"/>
                <a:gd name="connsiteX9" fmla="*/ 218562 w 959104"/>
                <a:gd name="connsiteY9" fmla="*/ 531490 h 1267968"/>
                <a:gd name="connsiteX10" fmla="*/ 424282 w 959104"/>
                <a:gd name="connsiteY10" fmla="*/ 737210 h 1267968"/>
                <a:gd name="connsiteX11" fmla="*/ 424932 w 959104"/>
                <a:gd name="connsiteY11" fmla="*/ 737210 h 1267968"/>
                <a:gd name="connsiteX12" fmla="*/ 585785 w 959104"/>
                <a:gd name="connsiteY12" fmla="*/ 737210 h 1267968"/>
                <a:gd name="connsiteX13" fmla="*/ 758261 w 959104"/>
                <a:gd name="connsiteY13" fmla="*/ 889203 h 1267968"/>
                <a:gd name="connsiteX14" fmla="*/ 606268 w 959104"/>
                <a:gd name="connsiteY14" fmla="*/ 1061679 h 1267968"/>
                <a:gd name="connsiteX15" fmla="*/ 585704 w 959104"/>
                <a:gd name="connsiteY15" fmla="*/ 1061679 h 1267968"/>
                <a:gd name="connsiteX16" fmla="*/ 216530 w 959104"/>
                <a:gd name="connsiteY16" fmla="*/ 1061679 h 1267968"/>
                <a:gd name="connsiteX17" fmla="*/ 216530 w 959104"/>
                <a:gd name="connsiteY17" fmla="*/ 211653 h 1267968"/>
                <a:gd name="connsiteX18" fmla="*/ 467685 w 959104"/>
                <a:gd name="connsiteY18" fmla="*/ 211653 h 1267968"/>
                <a:gd name="connsiteX19" fmla="*/ 612689 w 959104"/>
                <a:gd name="connsiteY19" fmla="*/ 356575 h 1267968"/>
                <a:gd name="connsiteX20" fmla="*/ 612689 w 959104"/>
                <a:gd name="connsiteY20" fmla="*/ 530352 h 1267968"/>
                <a:gd name="connsiteX21" fmla="*/ 818815 w 959104"/>
                <a:gd name="connsiteY21" fmla="*/ 411764 h 126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959104" h="1267968">
                  <a:moveTo>
                    <a:pt x="818815" y="411764"/>
                  </a:moveTo>
                  <a:lnTo>
                    <a:pt x="818815" y="285699"/>
                  </a:lnTo>
                  <a:cubicBezTo>
                    <a:pt x="818815" y="131267"/>
                    <a:pt x="693562" y="6096"/>
                    <a:pt x="539130" y="6096"/>
                  </a:cubicBezTo>
                  <a:lnTo>
                    <a:pt x="6096" y="6096"/>
                  </a:lnTo>
                  <a:lnTo>
                    <a:pt x="6096" y="1057047"/>
                  </a:lnTo>
                  <a:cubicBezTo>
                    <a:pt x="6096" y="1173196"/>
                    <a:pt x="100218" y="1267318"/>
                    <a:pt x="216367" y="1267399"/>
                  </a:cubicBezTo>
                  <a:lnTo>
                    <a:pt x="532140" y="1267399"/>
                  </a:lnTo>
                  <a:cubicBezTo>
                    <a:pt x="807436" y="1267399"/>
                    <a:pt x="953821" y="1096711"/>
                    <a:pt x="953821" y="892861"/>
                  </a:cubicBezTo>
                  <a:cubicBezTo>
                    <a:pt x="953821" y="725587"/>
                    <a:pt x="840029" y="530596"/>
                    <a:pt x="603260" y="530596"/>
                  </a:cubicBezTo>
                  <a:lnTo>
                    <a:pt x="218562" y="531490"/>
                  </a:lnTo>
                  <a:cubicBezTo>
                    <a:pt x="218562" y="645119"/>
                    <a:pt x="310652" y="737210"/>
                    <a:pt x="424282" y="737210"/>
                  </a:cubicBezTo>
                  <a:cubicBezTo>
                    <a:pt x="424525" y="737210"/>
                    <a:pt x="424688" y="737210"/>
                    <a:pt x="424932" y="737210"/>
                  </a:cubicBezTo>
                  <a:lnTo>
                    <a:pt x="585785" y="737210"/>
                  </a:lnTo>
                  <a:cubicBezTo>
                    <a:pt x="675356" y="731520"/>
                    <a:pt x="752653" y="799551"/>
                    <a:pt x="758261" y="889203"/>
                  </a:cubicBezTo>
                  <a:cubicBezTo>
                    <a:pt x="763951" y="978774"/>
                    <a:pt x="695919" y="1056071"/>
                    <a:pt x="606268" y="1061679"/>
                  </a:cubicBezTo>
                  <a:cubicBezTo>
                    <a:pt x="599440" y="1062086"/>
                    <a:pt x="592531" y="1062086"/>
                    <a:pt x="585704" y="1061679"/>
                  </a:cubicBezTo>
                  <a:lnTo>
                    <a:pt x="216530" y="1061679"/>
                  </a:lnTo>
                  <a:lnTo>
                    <a:pt x="216530" y="211653"/>
                  </a:lnTo>
                  <a:lnTo>
                    <a:pt x="467685" y="211653"/>
                  </a:lnTo>
                  <a:cubicBezTo>
                    <a:pt x="547014" y="213441"/>
                    <a:pt x="610901" y="277246"/>
                    <a:pt x="612689" y="356575"/>
                  </a:cubicBezTo>
                  <a:lnTo>
                    <a:pt x="612689" y="530352"/>
                  </a:lnTo>
                  <a:lnTo>
                    <a:pt x="818815" y="411764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53" name="Forma libre: forma 52">
              <a:extLst>
                <a:ext uri="{FF2B5EF4-FFF2-40B4-BE49-F238E27FC236}">
                  <a16:creationId xmlns:a16="http://schemas.microsoft.com/office/drawing/2014/main" id="{8B5BD673-BBE2-4C30-9B67-F44F1F531893}"/>
                </a:ext>
              </a:extLst>
            </p:cNvPr>
            <p:cNvSpPr/>
            <p:nvPr/>
          </p:nvSpPr>
          <p:spPr>
            <a:xfrm>
              <a:off x="2653792" y="2794284"/>
              <a:ext cx="959104" cy="1267968"/>
            </a:xfrm>
            <a:custGeom>
              <a:avLst/>
              <a:gdLst>
                <a:gd name="connsiteX0" fmla="*/ 818896 w 959104"/>
                <a:gd name="connsiteY0" fmla="*/ 411764 h 1267968"/>
                <a:gd name="connsiteX1" fmla="*/ 818896 w 959104"/>
                <a:gd name="connsiteY1" fmla="*/ 285699 h 1267968"/>
                <a:gd name="connsiteX2" fmla="*/ 539212 w 959104"/>
                <a:gd name="connsiteY2" fmla="*/ 6096 h 1267968"/>
                <a:gd name="connsiteX3" fmla="*/ 6096 w 959104"/>
                <a:gd name="connsiteY3" fmla="*/ 6096 h 1267968"/>
                <a:gd name="connsiteX4" fmla="*/ 6096 w 959104"/>
                <a:gd name="connsiteY4" fmla="*/ 1057047 h 1267968"/>
                <a:gd name="connsiteX5" fmla="*/ 216449 w 959104"/>
                <a:gd name="connsiteY5" fmla="*/ 1267399 h 1267968"/>
                <a:gd name="connsiteX6" fmla="*/ 532222 w 959104"/>
                <a:gd name="connsiteY6" fmla="*/ 1267399 h 1267968"/>
                <a:gd name="connsiteX7" fmla="*/ 953821 w 959104"/>
                <a:gd name="connsiteY7" fmla="*/ 892861 h 1267968"/>
                <a:gd name="connsiteX8" fmla="*/ 603342 w 959104"/>
                <a:gd name="connsiteY8" fmla="*/ 530596 h 1267968"/>
                <a:gd name="connsiteX9" fmla="*/ 218643 w 959104"/>
                <a:gd name="connsiteY9" fmla="*/ 531490 h 1267968"/>
                <a:gd name="connsiteX10" fmla="*/ 424363 w 959104"/>
                <a:gd name="connsiteY10" fmla="*/ 737210 h 1267968"/>
                <a:gd name="connsiteX11" fmla="*/ 424932 w 959104"/>
                <a:gd name="connsiteY11" fmla="*/ 737210 h 1267968"/>
                <a:gd name="connsiteX12" fmla="*/ 585866 w 959104"/>
                <a:gd name="connsiteY12" fmla="*/ 737210 h 1267968"/>
                <a:gd name="connsiteX13" fmla="*/ 737860 w 959104"/>
                <a:gd name="connsiteY13" fmla="*/ 909686 h 1267968"/>
                <a:gd name="connsiteX14" fmla="*/ 585866 w 959104"/>
                <a:gd name="connsiteY14" fmla="*/ 1061679 h 1267968"/>
                <a:gd name="connsiteX15" fmla="*/ 216611 w 959104"/>
                <a:gd name="connsiteY15" fmla="*/ 1061679 h 1267968"/>
                <a:gd name="connsiteX16" fmla="*/ 216611 w 959104"/>
                <a:gd name="connsiteY16" fmla="*/ 211653 h 1267968"/>
                <a:gd name="connsiteX17" fmla="*/ 467766 w 959104"/>
                <a:gd name="connsiteY17" fmla="*/ 211653 h 1267968"/>
                <a:gd name="connsiteX18" fmla="*/ 612770 w 959104"/>
                <a:gd name="connsiteY18" fmla="*/ 356575 h 1267968"/>
                <a:gd name="connsiteX19" fmla="*/ 612770 w 959104"/>
                <a:gd name="connsiteY19" fmla="*/ 530352 h 1267968"/>
                <a:gd name="connsiteX20" fmla="*/ 818896 w 959104"/>
                <a:gd name="connsiteY20" fmla="*/ 411764 h 126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959104" h="1267968">
                  <a:moveTo>
                    <a:pt x="818896" y="411764"/>
                  </a:moveTo>
                  <a:lnTo>
                    <a:pt x="818896" y="285699"/>
                  </a:lnTo>
                  <a:cubicBezTo>
                    <a:pt x="818896" y="131267"/>
                    <a:pt x="693644" y="6096"/>
                    <a:pt x="539212" y="6096"/>
                  </a:cubicBezTo>
                  <a:lnTo>
                    <a:pt x="6096" y="6096"/>
                  </a:lnTo>
                  <a:lnTo>
                    <a:pt x="6096" y="1057047"/>
                  </a:lnTo>
                  <a:cubicBezTo>
                    <a:pt x="6096" y="1173196"/>
                    <a:pt x="100299" y="1267399"/>
                    <a:pt x="216449" y="1267399"/>
                  </a:cubicBezTo>
                  <a:lnTo>
                    <a:pt x="532222" y="1267399"/>
                  </a:lnTo>
                  <a:cubicBezTo>
                    <a:pt x="807517" y="1267399"/>
                    <a:pt x="953821" y="1096711"/>
                    <a:pt x="953821" y="892861"/>
                  </a:cubicBezTo>
                  <a:cubicBezTo>
                    <a:pt x="953821" y="725587"/>
                    <a:pt x="840029" y="530596"/>
                    <a:pt x="603342" y="530596"/>
                  </a:cubicBezTo>
                  <a:lnTo>
                    <a:pt x="218643" y="531490"/>
                  </a:lnTo>
                  <a:cubicBezTo>
                    <a:pt x="218643" y="645119"/>
                    <a:pt x="310734" y="737210"/>
                    <a:pt x="424363" y="737210"/>
                  </a:cubicBezTo>
                  <a:cubicBezTo>
                    <a:pt x="424526" y="737210"/>
                    <a:pt x="424769" y="737210"/>
                    <a:pt x="424932" y="737210"/>
                  </a:cubicBezTo>
                  <a:lnTo>
                    <a:pt x="585866" y="737210"/>
                  </a:lnTo>
                  <a:cubicBezTo>
                    <a:pt x="675437" y="742899"/>
                    <a:pt x="743468" y="820115"/>
                    <a:pt x="737860" y="909686"/>
                  </a:cubicBezTo>
                  <a:cubicBezTo>
                    <a:pt x="732658" y="991372"/>
                    <a:pt x="667553" y="1056477"/>
                    <a:pt x="585866" y="1061679"/>
                  </a:cubicBezTo>
                  <a:lnTo>
                    <a:pt x="216611" y="1061679"/>
                  </a:lnTo>
                  <a:lnTo>
                    <a:pt x="216611" y="211653"/>
                  </a:lnTo>
                  <a:lnTo>
                    <a:pt x="467766" y="211653"/>
                  </a:lnTo>
                  <a:cubicBezTo>
                    <a:pt x="547096" y="213441"/>
                    <a:pt x="610982" y="277246"/>
                    <a:pt x="612770" y="356575"/>
                  </a:cubicBezTo>
                  <a:lnTo>
                    <a:pt x="612770" y="530352"/>
                  </a:lnTo>
                  <a:lnTo>
                    <a:pt x="818896" y="411764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54" name="Forma libre: forma 53">
              <a:extLst>
                <a:ext uri="{FF2B5EF4-FFF2-40B4-BE49-F238E27FC236}">
                  <a16:creationId xmlns:a16="http://schemas.microsoft.com/office/drawing/2014/main" id="{3A3771CC-D5DC-4D13-B292-8768953651AC}"/>
                </a:ext>
              </a:extLst>
            </p:cNvPr>
            <p:cNvSpPr/>
            <p:nvPr/>
          </p:nvSpPr>
          <p:spPr>
            <a:xfrm>
              <a:off x="5297343" y="2793878"/>
              <a:ext cx="219456" cy="1267968"/>
            </a:xfrm>
            <a:custGeom>
              <a:avLst/>
              <a:gdLst>
                <a:gd name="connsiteX0" fmla="*/ 6096 w 219456"/>
                <a:gd name="connsiteY0" fmla="*/ 6096 h 1267968"/>
                <a:gd name="connsiteX1" fmla="*/ 216449 w 219456"/>
                <a:gd name="connsiteY1" fmla="*/ 6096 h 1267968"/>
                <a:gd name="connsiteX2" fmla="*/ 216449 w 219456"/>
                <a:gd name="connsiteY2" fmla="*/ 1268212 h 1267968"/>
                <a:gd name="connsiteX3" fmla="*/ 6096 w 219456"/>
                <a:gd name="connsiteY3" fmla="*/ 1268212 h 126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19456" h="1267968">
                  <a:moveTo>
                    <a:pt x="6096" y="6096"/>
                  </a:moveTo>
                  <a:lnTo>
                    <a:pt x="216449" y="6096"/>
                  </a:lnTo>
                  <a:lnTo>
                    <a:pt x="216449" y="1268212"/>
                  </a:lnTo>
                  <a:lnTo>
                    <a:pt x="6096" y="1268212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55" name="Forma libre: forma 54">
              <a:extLst>
                <a:ext uri="{FF2B5EF4-FFF2-40B4-BE49-F238E27FC236}">
                  <a16:creationId xmlns:a16="http://schemas.microsoft.com/office/drawing/2014/main" id="{E09EC979-B25B-4A3D-9442-B02751D1B859}"/>
                </a:ext>
              </a:extLst>
            </p:cNvPr>
            <p:cNvSpPr/>
            <p:nvPr/>
          </p:nvSpPr>
          <p:spPr>
            <a:xfrm>
              <a:off x="5507695" y="2793634"/>
              <a:ext cx="487680" cy="1267968"/>
            </a:xfrm>
            <a:custGeom>
              <a:avLst/>
              <a:gdLst>
                <a:gd name="connsiteX0" fmla="*/ 426557 w 487680"/>
                <a:gd name="connsiteY0" fmla="*/ 1268375 h 1267968"/>
                <a:gd name="connsiteX1" fmla="*/ 485323 w 487680"/>
                <a:gd name="connsiteY1" fmla="*/ 1268375 h 1267968"/>
                <a:gd name="connsiteX2" fmla="*/ 248067 w 487680"/>
                <a:gd name="connsiteY2" fmla="*/ 154838 h 1267968"/>
                <a:gd name="connsiteX3" fmla="*/ 64861 w 487680"/>
                <a:gd name="connsiteY3" fmla="*/ 6096 h 1267968"/>
                <a:gd name="connsiteX4" fmla="*/ 6096 w 487680"/>
                <a:gd name="connsiteY4" fmla="*/ 6096 h 1267968"/>
                <a:gd name="connsiteX5" fmla="*/ 243352 w 487680"/>
                <a:gd name="connsiteY5" fmla="*/ 1119632 h 1267968"/>
                <a:gd name="connsiteX6" fmla="*/ 426557 w 487680"/>
                <a:gd name="connsiteY6" fmla="*/ 1267968 h 126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87680" h="1267968">
                  <a:moveTo>
                    <a:pt x="426557" y="1268375"/>
                  </a:moveTo>
                  <a:lnTo>
                    <a:pt x="485323" y="1268375"/>
                  </a:lnTo>
                  <a:lnTo>
                    <a:pt x="248067" y="154838"/>
                  </a:lnTo>
                  <a:cubicBezTo>
                    <a:pt x="229535" y="68356"/>
                    <a:pt x="153294" y="6421"/>
                    <a:pt x="64861" y="6096"/>
                  </a:cubicBezTo>
                  <a:lnTo>
                    <a:pt x="6096" y="6096"/>
                  </a:lnTo>
                  <a:lnTo>
                    <a:pt x="243352" y="1119632"/>
                  </a:lnTo>
                  <a:cubicBezTo>
                    <a:pt x="261803" y="1206114"/>
                    <a:pt x="338125" y="1267887"/>
                    <a:pt x="426557" y="1267968"/>
                  </a:cubicBezTo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56" name="Forma libre: forma 55">
              <a:extLst>
                <a:ext uri="{FF2B5EF4-FFF2-40B4-BE49-F238E27FC236}">
                  <a16:creationId xmlns:a16="http://schemas.microsoft.com/office/drawing/2014/main" id="{AAA942C2-0254-49C9-AC2F-D64D47F76136}"/>
                </a:ext>
              </a:extLst>
            </p:cNvPr>
            <p:cNvSpPr/>
            <p:nvPr/>
          </p:nvSpPr>
          <p:spPr>
            <a:xfrm>
              <a:off x="5986922" y="2794284"/>
              <a:ext cx="487680" cy="1267968"/>
            </a:xfrm>
            <a:custGeom>
              <a:avLst/>
              <a:gdLst>
                <a:gd name="connsiteX0" fmla="*/ 243271 w 487680"/>
                <a:gd name="connsiteY0" fmla="*/ 154595 h 1267968"/>
                <a:gd name="connsiteX1" fmla="*/ 6096 w 487680"/>
                <a:gd name="connsiteY1" fmla="*/ 1268131 h 1267968"/>
                <a:gd name="connsiteX2" fmla="*/ 216367 w 487680"/>
                <a:gd name="connsiteY2" fmla="*/ 1268131 h 1267968"/>
                <a:gd name="connsiteX3" fmla="*/ 485323 w 487680"/>
                <a:gd name="connsiteY3" fmla="*/ 6096 h 1267968"/>
                <a:gd name="connsiteX4" fmla="*/ 426557 w 487680"/>
                <a:gd name="connsiteY4" fmla="*/ 6096 h 1267968"/>
                <a:gd name="connsiteX5" fmla="*/ 243271 w 487680"/>
                <a:gd name="connsiteY5" fmla="*/ 155001 h 126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87680" h="1267968">
                  <a:moveTo>
                    <a:pt x="243271" y="154595"/>
                  </a:moveTo>
                  <a:lnTo>
                    <a:pt x="6096" y="1268131"/>
                  </a:lnTo>
                  <a:lnTo>
                    <a:pt x="216367" y="1268131"/>
                  </a:lnTo>
                  <a:lnTo>
                    <a:pt x="485323" y="6096"/>
                  </a:lnTo>
                  <a:lnTo>
                    <a:pt x="426557" y="6096"/>
                  </a:lnTo>
                  <a:cubicBezTo>
                    <a:pt x="338043" y="6421"/>
                    <a:pt x="261722" y="68438"/>
                    <a:pt x="243271" y="155001"/>
                  </a:cubicBezTo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57" name="Forma libre: forma 56">
              <a:extLst>
                <a:ext uri="{FF2B5EF4-FFF2-40B4-BE49-F238E27FC236}">
                  <a16:creationId xmlns:a16="http://schemas.microsoft.com/office/drawing/2014/main" id="{A84F1C12-0522-4C93-B6BC-9011CE07F57F}"/>
                </a:ext>
              </a:extLst>
            </p:cNvPr>
            <p:cNvSpPr/>
            <p:nvPr/>
          </p:nvSpPr>
          <p:spPr>
            <a:xfrm>
              <a:off x="6466149" y="2793878"/>
              <a:ext cx="219456" cy="1267968"/>
            </a:xfrm>
            <a:custGeom>
              <a:avLst/>
              <a:gdLst>
                <a:gd name="connsiteX0" fmla="*/ 6096 w 219456"/>
                <a:gd name="connsiteY0" fmla="*/ 6096 h 1267968"/>
                <a:gd name="connsiteX1" fmla="*/ 216449 w 219456"/>
                <a:gd name="connsiteY1" fmla="*/ 6096 h 1267968"/>
                <a:gd name="connsiteX2" fmla="*/ 216449 w 219456"/>
                <a:gd name="connsiteY2" fmla="*/ 1268212 h 1267968"/>
                <a:gd name="connsiteX3" fmla="*/ 6096 w 219456"/>
                <a:gd name="connsiteY3" fmla="*/ 1268212 h 126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19456" h="1267968">
                  <a:moveTo>
                    <a:pt x="6096" y="6096"/>
                  </a:moveTo>
                  <a:lnTo>
                    <a:pt x="216449" y="6096"/>
                  </a:lnTo>
                  <a:lnTo>
                    <a:pt x="216449" y="1268212"/>
                  </a:lnTo>
                  <a:lnTo>
                    <a:pt x="6096" y="1268212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58" name="Forma libre: forma 57">
              <a:extLst>
                <a:ext uri="{FF2B5EF4-FFF2-40B4-BE49-F238E27FC236}">
                  <a16:creationId xmlns:a16="http://schemas.microsoft.com/office/drawing/2014/main" id="{14EFFA2D-705B-4F32-A9A0-64FF319F292D}"/>
                </a:ext>
              </a:extLst>
            </p:cNvPr>
            <p:cNvSpPr/>
            <p:nvPr/>
          </p:nvSpPr>
          <p:spPr>
            <a:xfrm>
              <a:off x="9815617" y="2776728"/>
              <a:ext cx="950976" cy="1300480"/>
            </a:xfrm>
            <a:custGeom>
              <a:avLst/>
              <a:gdLst>
                <a:gd name="connsiteX0" fmla="*/ 889935 w 950976"/>
                <a:gd name="connsiteY0" fmla="*/ 286350 h 1300480"/>
                <a:gd name="connsiteX1" fmla="*/ 285618 w 950976"/>
                <a:gd name="connsiteY1" fmla="*/ 417779 h 1300480"/>
                <a:gd name="connsiteX2" fmla="*/ 417047 w 950976"/>
                <a:gd name="connsiteY2" fmla="*/ 1022096 h 1300480"/>
                <a:gd name="connsiteX3" fmla="*/ 653410 w 950976"/>
                <a:gd name="connsiteY3" fmla="*/ 1091509 h 1300480"/>
                <a:gd name="connsiteX4" fmla="*/ 927242 w 950976"/>
                <a:gd name="connsiteY4" fmla="*/ 997712 h 1300480"/>
                <a:gd name="connsiteX5" fmla="*/ 927242 w 950976"/>
                <a:gd name="connsiteY5" fmla="*/ 1240170 h 1300480"/>
                <a:gd name="connsiteX6" fmla="*/ 653736 w 950976"/>
                <a:gd name="connsiteY6" fmla="*/ 1301862 h 1300480"/>
                <a:gd name="connsiteX7" fmla="*/ 6096 w 950976"/>
                <a:gd name="connsiteY7" fmla="*/ 653735 h 1300480"/>
                <a:gd name="connsiteX8" fmla="*/ 654304 w 950976"/>
                <a:gd name="connsiteY8" fmla="*/ 6096 h 1300480"/>
                <a:gd name="connsiteX9" fmla="*/ 948050 w 950976"/>
                <a:gd name="connsiteY9" fmla="*/ 76647 h 1300480"/>
                <a:gd name="connsiteX10" fmla="*/ 889935 w 950976"/>
                <a:gd name="connsiteY10" fmla="*/ 286350 h 13004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950976" h="1300480">
                  <a:moveTo>
                    <a:pt x="889935" y="286350"/>
                  </a:moveTo>
                  <a:cubicBezTo>
                    <a:pt x="686735" y="155814"/>
                    <a:pt x="416235" y="214661"/>
                    <a:pt x="285618" y="417779"/>
                  </a:cubicBezTo>
                  <a:cubicBezTo>
                    <a:pt x="155082" y="620979"/>
                    <a:pt x="213929" y="891479"/>
                    <a:pt x="417047" y="1022096"/>
                  </a:cubicBezTo>
                  <a:cubicBezTo>
                    <a:pt x="487599" y="1067369"/>
                    <a:pt x="569610" y="1091509"/>
                    <a:pt x="653410" y="1091509"/>
                  </a:cubicBezTo>
                  <a:cubicBezTo>
                    <a:pt x="752571" y="1091753"/>
                    <a:pt x="849051" y="1058753"/>
                    <a:pt x="927242" y="997712"/>
                  </a:cubicBezTo>
                  <a:lnTo>
                    <a:pt x="927242" y="1240170"/>
                  </a:lnTo>
                  <a:cubicBezTo>
                    <a:pt x="841817" y="1280892"/>
                    <a:pt x="748345" y="1302024"/>
                    <a:pt x="653736" y="1301862"/>
                  </a:cubicBezTo>
                  <a:cubicBezTo>
                    <a:pt x="295941" y="1301699"/>
                    <a:pt x="5933" y="1011530"/>
                    <a:pt x="6096" y="653735"/>
                  </a:cubicBezTo>
                  <a:cubicBezTo>
                    <a:pt x="6259" y="295941"/>
                    <a:pt x="296428" y="5934"/>
                    <a:pt x="654304" y="6096"/>
                  </a:cubicBezTo>
                  <a:cubicBezTo>
                    <a:pt x="756391" y="6096"/>
                    <a:pt x="857097" y="30318"/>
                    <a:pt x="948050" y="76647"/>
                  </a:cubicBezTo>
                  <a:lnTo>
                    <a:pt x="889935" y="286350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59" name="Forma libre: forma 58">
              <a:extLst>
                <a:ext uri="{FF2B5EF4-FFF2-40B4-BE49-F238E27FC236}">
                  <a16:creationId xmlns:a16="http://schemas.microsoft.com/office/drawing/2014/main" id="{7616F164-164B-4B53-A745-F98A58D8E6CF}"/>
                </a:ext>
              </a:extLst>
            </p:cNvPr>
            <p:cNvSpPr/>
            <p:nvPr/>
          </p:nvSpPr>
          <p:spPr>
            <a:xfrm>
              <a:off x="6886773" y="2794041"/>
              <a:ext cx="1276096" cy="1267968"/>
            </a:xfrm>
            <a:custGeom>
              <a:avLst/>
              <a:gdLst>
                <a:gd name="connsiteX0" fmla="*/ 1060135 w 1276096"/>
                <a:gd name="connsiteY0" fmla="*/ 1267968 h 1267968"/>
                <a:gd name="connsiteX1" fmla="*/ 1273007 w 1276096"/>
                <a:gd name="connsiteY1" fmla="*/ 1267968 h 1267968"/>
                <a:gd name="connsiteX2" fmla="*/ 900501 w 1276096"/>
                <a:gd name="connsiteY2" fmla="*/ 149962 h 1267968"/>
                <a:gd name="connsiteX3" fmla="*/ 700959 w 1276096"/>
                <a:gd name="connsiteY3" fmla="*/ 6096 h 1267968"/>
                <a:gd name="connsiteX4" fmla="*/ 426801 w 1276096"/>
                <a:gd name="connsiteY4" fmla="*/ 6096 h 1267968"/>
                <a:gd name="connsiteX5" fmla="*/ 6096 w 1276096"/>
                <a:gd name="connsiteY5" fmla="*/ 1268212 h 1267968"/>
                <a:gd name="connsiteX6" fmla="*/ 218968 w 1276096"/>
                <a:gd name="connsiteY6" fmla="*/ 1268212 h 1267968"/>
                <a:gd name="connsiteX7" fmla="*/ 324145 w 1276096"/>
                <a:gd name="connsiteY7" fmla="*/ 952683 h 1267968"/>
                <a:gd name="connsiteX8" fmla="*/ 673649 w 1276096"/>
                <a:gd name="connsiteY8" fmla="*/ 952683 h 1267968"/>
                <a:gd name="connsiteX9" fmla="*/ 884001 w 1276096"/>
                <a:gd name="connsiteY9" fmla="*/ 742330 h 1267968"/>
                <a:gd name="connsiteX10" fmla="*/ 884001 w 1276096"/>
                <a:gd name="connsiteY10" fmla="*/ 742330 h 1267968"/>
                <a:gd name="connsiteX11" fmla="*/ 394127 w 1276096"/>
                <a:gd name="connsiteY11" fmla="*/ 742330 h 1267968"/>
                <a:gd name="connsiteX12" fmla="*/ 639511 w 1276096"/>
                <a:gd name="connsiteY12" fmla="*/ 6096 h 1267968"/>
                <a:gd name="connsiteX13" fmla="*/ 1060135 w 1276096"/>
                <a:gd name="connsiteY13" fmla="*/ 1267968 h 126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276096" h="1267968">
                  <a:moveTo>
                    <a:pt x="1060135" y="1267968"/>
                  </a:moveTo>
                  <a:lnTo>
                    <a:pt x="1273007" y="1267968"/>
                  </a:lnTo>
                  <a:lnTo>
                    <a:pt x="900501" y="149962"/>
                  </a:lnTo>
                  <a:cubicBezTo>
                    <a:pt x="871891" y="64049"/>
                    <a:pt x="791505" y="6096"/>
                    <a:pt x="700959" y="6096"/>
                  </a:cubicBezTo>
                  <a:lnTo>
                    <a:pt x="426801" y="6096"/>
                  </a:lnTo>
                  <a:lnTo>
                    <a:pt x="6096" y="1268212"/>
                  </a:lnTo>
                  <a:lnTo>
                    <a:pt x="218968" y="1268212"/>
                  </a:lnTo>
                  <a:lnTo>
                    <a:pt x="324145" y="952683"/>
                  </a:lnTo>
                  <a:lnTo>
                    <a:pt x="673649" y="952683"/>
                  </a:lnTo>
                  <a:cubicBezTo>
                    <a:pt x="789798" y="952683"/>
                    <a:pt x="884001" y="858479"/>
                    <a:pt x="884001" y="742330"/>
                  </a:cubicBezTo>
                  <a:lnTo>
                    <a:pt x="884001" y="742330"/>
                  </a:lnTo>
                  <a:cubicBezTo>
                    <a:pt x="884001" y="742330"/>
                    <a:pt x="394127" y="742330"/>
                    <a:pt x="394127" y="742330"/>
                  </a:cubicBezTo>
                  <a:lnTo>
                    <a:pt x="639511" y="6096"/>
                  </a:lnTo>
                  <a:lnTo>
                    <a:pt x="1060135" y="1267968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60" name="Forma libre: forma 59">
              <a:extLst>
                <a:ext uri="{FF2B5EF4-FFF2-40B4-BE49-F238E27FC236}">
                  <a16:creationId xmlns:a16="http://schemas.microsoft.com/office/drawing/2014/main" id="{26C8F3F4-56E4-4220-8920-B14539566674}"/>
                </a:ext>
              </a:extLst>
            </p:cNvPr>
            <p:cNvSpPr/>
            <p:nvPr/>
          </p:nvSpPr>
          <p:spPr>
            <a:xfrm>
              <a:off x="10918749" y="2794041"/>
              <a:ext cx="1276096" cy="1267968"/>
            </a:xfrm>
            <a:custGeom>
              <a:avLst/>
              <a:gdLst>
                <a:gd name="connsiteX0" fmla="*/ 1060380 w 1276096"/>
                <a:gd name="connsiteY0" fmla="*/ 1267968 h 1267968"/>
                <a:gd name="connsiteX1" fmla="*/ 1273251 w 1276096"/>
                <a:gd name="connsiteY1" fmla="*/ 1267968 h 1267968"/>
                <a:gd name="connsiteX2" fmla="*/ 900420 w 1276096"/>
                <a:gd name="connsiteY2" fmla="*/ 149962 h 1267968"/>
                <a:gd name="connsiteX3" fmla="*/ 700877 w 1276096"/>
                <a:gd name="connsiteY3" fmla="*/ 6096 h 1267968"/>
                <a:gd name="connsiteX4" fmla="*/ 426801 w 1276096"/>
                <a:gd name="connsiteY4" fmla="*/ 6096 h 1267968"/>
                <a:gd name="connsiteX5" fmla="*/ 6096 w 1276096"/>
                <a:gd name="connsiteY5" fmla="*/ 1268212 h 1267968"/>
                <a:gd name="connsiteX6" fmla="*/ 218969 w 1276096"/>
                <a:gd name="connsiteY6" fmla="*/ 1268212 h 1267968"/>
                <a:gd name="connsiteX7" fmla="*/ 324145 w 1276096"/>
                <a:gd name="connsiteY7" fmla="*/ 952683 h 1267968"/>
                <a:gd name="connsiteX8" fmla="*/ 673649 w 1276096"/>
                <a:gd name="connsiteY8" fmla="*/ 952683 h 1267968"/>
                <a:gd name="connsiteX9" fmla="*/ 884001 w 1276096"/>
                <a:gd name="connsiteY9" fmla="*/ 742330 h 1267968"/>
                <a:gd name="connsiteX10" fmla="*/ 884001 w 1276096"/>
                <a:gd name="connsiteY10" fmla="*/ 742330 h 1267968"/>
                <a:gd name="connsiteX11" fmla="*/ 394127 w 1276096"/>
                <a:gd name="connsiteY11" fmla="*/ 742330 h 1267968"/>
                <a:gd name="connsiteX12" fmla="*/ 639512 w 1276096"/>
                <a:gd name="connsiteY12" fmla="*/ 6096 h 1267968"/>
                <a:gd name="connsiteX13" fmla="*/ 1060380 w 1276096"/>
                <a:gd name="connsiteY13" fmla="*/ 1267968 h 126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276096" h="1267968">
                  <a:moveTo>
                    <a:pt x="1060380" y="1267968"/>
                  </a:moveTo>
                  <a:lnTo>
                    <a:pt x="1273251" y="1267968"/>
                  </a:lnTo>
                  <a:lnTo>
                    <a:pt x="900420" y="149962"/>
                  </a:lnTo>
                  <a:cubicBezTo>
                    <a:pt x="871809" y="64049"/>
                    <a:pt x="791423" y="6096"/>
                    <a:pt x="700877" y="6096"/>
                  </a:cubicBezTo>
                  <a:lnTo>
                    <a:pt x="426801" y="6096"/>
                  </a:lnTo>
                  <a:lnTo>
                    <a:pt x="6096" y="1268212"/>
                  </a:lnTo>
                  <a:lnTo>
                    <a:pt x="218969" y="1268212"/>
                  </a:lnTo>
                  <a:lnTo>
                    <a:pt x="324145" y="952683"/>
                  </a:lnTo>
                  <a:lnTo>
                    <a:pt x="673649" y="952683"/>
                  </a:lnTo>
                  <a:cubicBezTo>
                    <a:pt x="789798" y="952683"/>
                    <a:pt x="884001" y="858479"/>
                    <a:pt x="884001" y="742330"/>
                  </a:cubicBezTo>
                  <a:lnTo>
                    <a:pt x="884001" y="742330"/>
                  </a:lnTo>
                  <a:cubicBezTo>
                    <a:pt x="884001" y="742330"/>
                    <a:pt x="394127" y="742330"/>
                    <a:pt x="394127" y="742330"/>
                  </a:cubicBezTo>
                  <a:lnTo>
                    <a:pt x="639512" y="6096"/>
                  </a:lnTo>
                  <a:lnTo>
                    <a:pt x="1060380" y="1267968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</p:grpSp>
    </p:spTree>
    <p:extLst>
      <p:ext uri="{BB962C8B-B14F-4D97-AF65-F5344CB8AC3E}">
        <p14:creationId xmlns:p14="http://schemas.microsoft.com/office/powerpoint/2010/main" val="20011187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Black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978261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Esquema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Composição 1_1">
            <a:hlinkClick r:id="" action="ppaction://media"/>
            <a:extLst>
              <a:ext uri="{FF2B5EF4-FFF2-40B4-BE49-F238E27FC236}">
                <a16:creationId xmlns:a16="http://schemas.microsoft.com/office/drawing/2014/main" id="{A09A5FD8-2E4E-616D-0D7F-655A62107E1B}"/>
              </a:ext>
            </a:extLst>
          </p:cNvPr>
          <p:cNvPicPr>
            <a:picLocks noChangeAspect="1"/>
          </p:cNvPicPr>
          <p:nvPr userDrawn="1"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ítulo 1">
            <a:extLst>
              <a:ext uri="{FF2B5EF4-FFF2-40B4-BE49-F238E27FC236}">
                <a16:creationId xmlns:a16="http://schemas.microsoft.com/office/drawing/2014/main" id="{3E7CAFE9-0935-F83A-56CA-15A90569241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219200" y="3939777"/>
            <a:ext cx="7315200" cy="853282"/>
          </a:xfrm>
        </p:spPr>
        <p:txBody>
          <a:bodyPr/>
          <a:lstStyle>
            <a:lvl1pPr>
              <a:defRPr/>
            </a:lvl1pPr>
          </a:lstStyle>
          <a:p>
            <a:r>
              <a:rPr lang="pt-PT" dirty="0"/>
              <a:t>Insertar título</a:t>
            </a:r>
            <a:br>
              <a:rPr lang="pt-PT" dirty="0"/>
            </a:br>
            <a:r>
              <a:rPr lang="pt-PT" dirty="0"/>
              <a:t>del separador</a:t>
            </a:r>
          </a:p>
        </p:txBody>
      </p:sp>
      <p:sp>
        <p:nvSpPr>
          <p:cNvPr id="7" name="Forma livre: Forma 6">
            <a:extLst>
              <a:ext uri="{FF2B5EF4-FFF2-40B4-BE49-F238E27FC236}">
                <a16:creationId xmlns:a16="http://schemas.microsoft.com/office/drawing/2014/main" id="{D84F6747-2E88-9EF4-87E3-D6B7DDD19A21}"/>
              </a:ext>
            </a:extLst>
          </p:cNvPr>
          <p:cNvSpPr/>
          <p:nvPr userDrawn="1"/>
        </p:nvSpPr>
        <p:spPr>
          <a:xfrm>
            <a:off x="1219200" y="-11890"/>
            <a:ext cx="2105314" cy="3593290"/>
          </a:xfrm>
          <a:custGeom>
            <a:avLst/>
            <a:gdLst>
              <a:gd name="connsiteX0" fmla="*/ 2220906 w 2220906"/>
              <a:gd name="connsiteY0" fmla="*/ 0 h 524519"/>
              <a:gd name="connsiteX1" fmla="*/ 2220906 w 2220906"/>
              <a:gd name="connsiteY1" fmla="*/ 524457 h 524519"/>
              <a:gd name="connsiteX2" fmla="*/ 0 w 2220906"/>
              <a:gd name="connsiteY2" fmla="*/ 524519 h 524519"/>
              <a:gd name="connsiteX3" fmla="*/ 0 w 2220906"/>
              <a:gd name="connsiteY3" fmla="*/ 62 h 5245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220906" h="524519">
                <a:moveTo>
                  <a:pt x="2220906" y="0"/>
                </a:moveTo>
                <a:lnTo>
                  <a:pt x="2220906" y="524457"/>
                </a:lnTo>
                <a:lnTo>
                  <a:pt x="0" y="524519"/>
                </a:lnTo>
                <a:lnTo>
                  <a:pt x="0" y="62"/>
                </a:lnTo>
                <a:close/>
              </a:path>
            </a:pathLst>
          </a:custGeom>
          <a:solidFill>
            <a:schemeClr val="bg1"/>
          </a:solidFill>
          <a:ln w="4244" cap="flat">
            <a:noFill/>
            <a:prstDash val="solid"/>
            <a:miter/>
          </a:ln>
          <a:effectLst>
            <a:outerShdw blurRad="254000" algn="ctr" rotWithShape="0">
              <a:srgbClr val="132153">
                <a:alpha val="5000"/>
              </a:srgb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pt-PT">
              <a:solidFill>
                <a:schemeClr val="tx1"/>
              </a:solidFill>
            </a:endParaRPr>
          </a:p>
        </p:txBody>
      </p:sp>
      <p:sp>
        <p:nvSpPr>
          <p:cNvPr id="17" name="Marcador de Posição do Texto 8">
            <a:extLst>
              <a:ext uri="{FF2B5EF4-FFF2-40B4-BE49-F238E27FC236}">
                <a16:creationId xmlns:a16="http://schemas.microsoft.com/office/drawing/2014/main" id="{23EFAEBB-79F2-7587-902E-8D764B485A9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219200" y="4977216"/>
            <a:ext cx="7315200" cy="560515"/>
          </a:xfrm>
        </p:spPr>
        <p:txBody>
          <a:bodyPr>
            <a:normAutofit/>
          </a:bodyPr>
          <a:lstStyle>
            <a:lvl1pPr>
              <a:defRPr sz="2000">
                <a:solidFill>
                  <a:schemeClr val="tx2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pt-PT" dirty="0"/>
              <a:t>Insertar subtítulo del separador</a:t>
            </a:r>
          </a:p>
        </p:txBody>
      </p:sp>
      <p:sp>
        <p:nvSpPr>
          <p:cNvPr id="18" name="Marcador de Posição do Texto 8">
            <a:extLst>
              <a:ext uri="{FF2B5EF4-FFF2-40B4-BE49-F238E27FC236}">
                <a16:creationId xmlns:a16="http://schemas.microsoft.com/office/drawing/2014/main" id="{20BC7602-FB9A-7279-B652-C026799095C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219200" y="2418184"/>
            <a:ext cx="2105314" cy="1010432"/>
          </a:xfrm>
        </p:spPr>
        <p:txBody>
          <a:bodyPr>
            <a:noAutofit/>
          </a:bodyPr>
          <a:lstStyle>
            <a:lvl1pPr algn="ctr">
              <a:defRPr sz="8000">
                <a:solidFill>
                  <a:schemeClr val="accent1"/>
                </a:solidFill>
                <a:latin typeface="+mj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pt-PT" dirty="0"/>
              <a:t>NR</a:t>
            </a:r>
          </a:p>
        </p:txBody>
      </p:sp>
      <p:grpSp>
        <p:nvGrpSpPr>
          <p:cNvPr id="3" name="Gráfico 2">
            <a:extLst>
              <a:ext uri="{FF2B5EF4-FFF2-40B4-BE49-F238E27FC236}">
                <a16:creationId xmlns:a16="http://schemas.microsoft.com/office/drawing/2014/main" id="{DE4FF469-C5A0-FC48-3969-E6D083B66223}"/>
              </a:ext>
            </a:extLst>
          </p:cNvPr>
          <p:cNvGrpSpPr/>
          <p:nvPr userDrawn="1"/>
        </p:nvGrpSpPr>
        <p:grpSpPr>
          <a:xfrm>
            <a:off x="10557975" y="275736"/>
            <a:ext cx="1308718" cy="138724"/>
            <a:chOff x="0" y="2782824"/>
            <a:chExt cx="12192000" cy="1292352"/>
          </a:xfrm>
          <a:solidFill>
            <a:srgbClr val="184BFF"/>
          </a:solidFill>
        </p:grpSpPr>
        <p:sp>
          <p:nvSpPr>
            <p:cNvPr id="4" name="Forma libre: forma 3">
              <a:extLst>
                <a:ext uri="{FF2B5EF4-FFF2-40B4-BE49-F238E27FC236}">
                  <a16:creationId xmlns:a16="http://schemas.microsoft.com/office/drawing/2014/main" id="{73B03C61-6DE3-D2DC-2AC4-CCFFEAE9602D}"/>
                </a:ext>
              </a:extLst>
            </p:cNvPr>
            <p:cNvSpPr/>
            <p:nvPr/>
          </p:nvSpPr>
          <p:spPr>
            <a:xfrm>
              <a:off x="3791306" y="2777053"/>
              <a:ext cx="1300480" cy="1300480"/>
            </a:xfrm>
            <a:custGeom>
              <a:avLst/>
              <a:gdLst>
                <a:gd name="connsiteX0" fmla="*/ 6096 w 1300480"/>
                <a:gd name="connsiteY0" fmla="*/ 653979 h 1300480"/>
                <a:gd name="connsiteX1" fmla="*/ 653979 w 1300480"/>
                <a:gd name="connsiteY1" fmla="*/ 6096 h 1300480"/>
                <a:gd name="connsiteX2" fmla="*/ 1301862 w 1300480"/>
                <a:gd name="connsiteY2" fmla="*/ 653979 h 1300480"/>
                <a:gd name="connsiteX3" fmla="*/ 653979 w 1300480"/>
                <a:gd name="connsiteY3" fmla="*/ 1301862 h 1300480"/>
                <a:gd name="connsiteX4" fmla="*/ 653898 w 1300480"/>
                <a:gd name="connsiteY4" fmla="*/ 1301862 h 1300480"/>
                <a:gd name="connsiteX5" fmla="*/ 6096 w 1300480"/>
                <a:gd name="connsiteY5" fmla="*/ 654060 h 1300480"/>
                <a:gd name="connsiteX6" fmla="*/ 6096 w 1300480"/>
                <a:gd name="connsiteY6" fmla="*/ 654060 h 1300480"/>
                <a:gd name="connsiteX7" fmla="*/ 653898 w 1300480"/>
                <a:gd name="connsiteY7" fmla="*/ 1091184 h 1300480"/>
                <a:gd name="connsiteX8" fmla="*/ 1091265 w 1300480"/>
                <a:gd name="connsiteY8" fmla="*/ 653979 h 1300480"/>
                <a:gd name="connsiteX9" fmla="*/ 654060 w 1300480"/>
                <a:gd name="connsiteY9" fmla="*/ 216611 h 1300480"/>
                <a:gd name="connsiteX10" fmla="*/ 216692 w 1300480"/>
                <a:gd name="connsiteY10" fmla="*/ 653816 h 1300480"/>
                <a:gd name="connsiteX11" fmla="*/ 216692 w 1300480"/>
                <a:gd name="connsiteY11" fmla="*/ 653979 h 1300480"/>
                <a:gd name="connsiteX12" fmla="*/ 653898 w 1300480"/>
                <a:gd name="connsiteY12" fmla="*/ 1091184 h 13004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300480" h="1300480">
                  <a:moveTo>
                    <a:pt x="6096" y="653979"/>
                  </a:moveTo>
                  <a:cubicBezTo>
                    <a:pt x="6096" y="296184"/>
                    <a:pt x="296184" y="6096"/>
                    <a:pt x="653979" y="6096"/>
                  </a:cubicBezTo>
                  <a:cubicBezTo>
                    <a:pt x="1011773" y="6096"/>
                    <a:pt x="1301862" y="296184"/>
                    <a:pt x="1301862" y="653979"/>
                  </a:cubicBezTo>
                  <a:cubicBezTo>
                    <a:pt x="1301862" y="1011773"/>
                    <a:pt x="1011773" y="1301862"/>
                    <a:pt x="653979" y="1301862"/>
                  </a:cubicBezTo>
                  <a:lnTo>
                    <a:pt x="653898" y="1301862"/>
                  </a:lnTo>
                  <a:cubicBezTo>
                    <a:pt x="296103" y="1301862"/>
                    <a:pt x="6096" y="1011855"/>
                    <a:pt x="6096" y="654060"/>
                  </a:cubicBezTo>
                  <a:lnTo>
                    <a:pt x="6096" y="654060"/>
                  </a:lnTo>
                  <a:moveTo>
                    <a:pt x="653898" y="1091184"/>
                  </a:moveTo>
                  <a:cubicBezTo>
                    <a:pt x="895380" y="1091184"/>
                    <a:pt x="1091184" y="895462"/>
                    <a:pt x="1091265" y="653979"/>
                  </a:cubicBezTo>
                  <a:cubicBezTo>
                    <a:pt x="1091265" y="412496"/>
                    <a:pt x="895543" y="216692"/>
                    <a:pt x="654060" y="216611"/>
                  </a:cubicBezTo>
                  <a:cubicBezTo>
                    <a:pt x="412577" y="216611"/>
                    <a:pt x="216774" y="412333"/>
                    <a:pt x="216692" y="653816"/>
                  </a:cubicBezTo>
                  <a:lnTo>
                    <a:pt x="216692" y="653979"/>
                  </a:lnTo>
                  <a:cubicBezTo>
                    <a:pt x="216692" y="895462"/>
                    <a:pt x="412415" y="1091184"/>
                    <a:pt x="653898" y="1091184"/>
                  </a:cubicBezTo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5" name="Forma libre: forma 4">
              <a:extLst>
                <a:ext uri="{FF2B5EF4-FFF2-40B4-BE49-F238E27FC236}">
                  <a16:creationId xmlns:a16="http://schemas.microsoft.com/office/drawing/2014/main" id="{451ABC9E-45B1-3F92-0C10-90F740FBC813}"/>
                </a:ext>
              </a:extLst>
            </p:cNvPr>
            <p:cNvSpPr/>
            <p:nvPr/>
          </p:nvSpPr>
          <p:spPr>
            <a:xfrm>
              <a:off x="1151981" y="2793797"/>
              <a:ext cx="219456" cy="1267968"/>
            </a:xfrm>
            <a:custGeom>
              <a:avLst/>
              <a:gdLst>
                <a:gd name="connsiteX0" fmla="*/ 216367 w 219456"/>
                <a:gd name="connsiteY0" fmla="*/ 6096 h 1267968"/>
                <a:gd name="connsiteX1" fmla="*/ 216367 w 219456"/>
                <a:gd name="connsiteY1" fmla="*/ 6096 h 1267968"/>
                <a:gd name="connsiteX2" fmla="*/ 216367 w 219456"/>
                <a:gd name="connsiteY2" fmla="*/ 1268212 h 1267968"/>
                <a:gd name="connsiteX3" fmla="*/ 6096 w 219456"/>
                <a:gd name="connsiteY3" fmla="*/ 1268212 h 1267968"/>
                <a:gd name="connsiteX4" fmla="*/ 6096 w 219456"/>
                <a:gd name="connsiteY4" fmla="*/ 216449 h 1267968"/>
                <a:gd name="connsiteX5" fmla="*/ 216367 w 219456"/>
                <a:gd name="connsiteY5" fmla="*/ 6096 h 126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19456" h="1267968">
                  <a:moveTo>
                    <a:pt x="216367" y="6096"/>
                  </a:moveTo>
                  <a:lnTo>
                    <a:pt x="216367" y="6096"/>
                  </a:lnTo>
                  <a:lnTo>
                    <a:pt x="216367" y="1268212"/>
                  </a:lnTo>
                  <a:lnTo>
                    <a:pt x="6096" y="1268212"/>
                  </a:lnTo>
                  <a:lnTo>
                    <a:pt x="6096" y="216449"/>
                  </a:lnTo>
                  <a:cubicBezTo>
                    <a:pt x="6096" y="100300"/>
                    <a:pt x="100218" y="6177"/>
                    <a:pt x="216367" y="6096"/>
                  </a:cubicBezTo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8" name="Forma libre: forma 7">
              <a:extLst>
                <a:ext uri="{FF2B5EF4-FFF2-40B4-BE49-F238E27FC236}">
                  <a16:creationId xmlns:a16="http://schemas.microsoft.com/office/drawing/2014/main" id="{8841E6C7-6560-F9C3-0C39-D5D7C2E5EE46}"/>
                </a:ext>
              </a:extLst>
            </p:cNvPr>
            <p:cNvSpPr/>
            <p:nvPr/>
          </p:nvSpPr>
          <p:spPr>
            <a:xfrm>
              <a:off x="9373128" y="2793797"/>
              <a:ext cx="219456" cy="1267968"/>
            </a:xfrm>
            <a:custGeom>
              <a:avLst/>
              <a:gdLst>
                <a:gd name="connsiteX0" fmla="*/ 216368 w 219456"/>
                <a:gd name="connsiteY0" fmla="*/ 6096 h 1267968"/>
                <a:gd name="connsiteX1" fmla="*/ 216368 w 219456"/>
                <a:gd name="connsiteY1" fmla="*/ 6096 h 1267968"/>
                <a:gd name="connsiteX2" fmla="*/ 216368 w 219456"/>
                <a:gd name="connsiteY2" fmla="*/ 1268212 h 1267968"/>
                <a:gd name="connsiteX3" fmla="*/ 6096 w 219456"/>
                <a:gd name="connsiteY3" fmla="*/ 1268212 h 1267968"/>
                <a:gd name="connsiteX4" fmla="*/ 6096 w 219456"/>
                <a:gd name="connsiteY4" fmla="*/ 216449 h 1267968"/>
                <a:gd name="connsiteX5" fmla="*/ 216287 w 219456"/>
                <a:gd name="connsiteY5" fmla="*/ 6096 h 1267968"/>
                <a:gd name="connsiteX6" fmla="*/ 216368 w 219456"/>
                <a:gd name="connsiteY6" fmla="*/ 6096 h 126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19456" h="1267968">
                  <a:moveTo>
                    <a:pt x="216368" y="6096"/>
                  </a:moveTo>
                  <a:lnTo>
                    <a:pt x="216368" y="6096"/>
                  </a:lnTo>
                  <a:lnTo>
                    <a:pt x="216368" y="1268212"/>
                  </a:lnTo>
                  <a:lnTo>
                    <a:pt x="6096" y="1268212"/>
                  </a:lnTo>
                  <a:lnTo>
                    <a:pt x="6096" y="216449"/>
                  </a:lnTo>
                  <a:cubicBezTo>
                    <a:pt x="6096" y="100300"/>
                    <a:pt x="100138" y="6177"/>
                    <a:pt x="216287" y="6096"/>
                  </a:cubicBezTo>
                  <a:lnTo>
                    <a:pt x="216368" y="6096"/>
                  </a:lnTo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9" name="Forma libre: forma 8">
              <a:extLst>
                <a:ext uri="{FF2B5EF4-FFF2-40B4-BE49-F238E27FC236}">
                  <a16:creationId xmlns:a16="http://schemas.microsoft.com/office/drawing/2014/main" id="{8299E648-EF16-E4DB-2075-96BCF8EDF734}"/>
                </a:ext>
              </a:extLst>
            </p:cNvPr>
            <p:cNvSpPr/>
            <p:nvPr/>
          </p:nvSpPr>
          <p:spPr>
            <a:xfrm>
              <a:off x="8111012" y="2793878"/>
              <a:ext cx="1056640" cy="1267968"/>
            </a:xfrm>
            <a:custGeom>
              <a:avLst/>
              <a:gdLst>
                <a:gd name="connsiteX0" fmla="*/ 74046 w 1056640"/>
                <a:gd name="connsiteY0" fmla="*/ 6096 h 1267968"/>
                <a:gd name="connsiteX1" fmla="*/ 6096 w 1056640"/>
                <a:gd name="connsiteY1" fmla="*/ 216367 h 1267968"/>
                <a:gd name="connsiteX2" fmla="*/ 426802 w 1056640"/>
                <a:gd name="connsiteY2" fmla="*/ 216367 h 1267968"/>
                <a:gd name="connsiteX3" fmla="*/ 426802 w 1056640"/>
                <a:gd name="connsiteY3" fmla="*/ 1268131 h 1267968"/>
                <a:gd name="connsiteX4" fmla="*/ 637155 w 1056640"/>
                <a:gd name="connsiteY4" fmla="*/ 1268131 h 1267968"/>
                <a:gd name="connsiteX5" fmla="*/ 637155 w 1056640"/>
                <a:gd name="connsiteY5" fmla="*/ 216367 h 1267968"/>
                <a:gd name="connsiteX6" fmla="*/ 847507 w 1056640"/>
                <a:gd name="connsiteY6" fmla="*/ 216367 h 1267968"/>
                <a:gd name="connsiteX7" fmla="*/ 1057860 w 1056640"/>
                <a:gd name="connsiteY7" fmla="*/ 6096 h 1267968"/>
                <a:gd name="connsiteX8" fmla="*/ 74046 w 1056640"/>
                <a:gd name="connsiteY8" fmla="*/ 6096 h 126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056640" h="1267968">
                  <a:moveTo>
                    <a:pt x="74046" y="6096"/>
                  </a:moveTo>
                  <a:lnTo>
                    <a:pt x="6096" y="216367"/>
                  </a:lnTo>
                  <a:lnTo>
                    <a:pt x="426802" y="216367"/>
                  </a:lnTo>
                  <a:lnTo>
                    <a:pt x="426802" y="1268131"/>
                  </a:lnTo>
                  <a:lnTo>
                    <a:pt x="637155" y="1268131"/>
                  </a:lnTo>
                  <a:lnTo>
                    <a:pt x="637155" y="216367"/>
                  </a:lnTo>
                  <a:lnTo>
                    <a:pt x="847507" y="216367"/>
                  </a:lnTo>
                  <a:cubicBezTo>
                    <a:pt x="963656" y="216367"/>
                    <a:pt x="1057779" y="122245"/>
                    <a:pt x="1057860" y="6096"/>
                  </a:cubicBezTo>
                  <a:lnTo>
                    <a:pt x="74046" y="609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10" name="Forma libre: forma 9">
              <a:extLst>
                <a:ext uri="{FF2B5EF4-FFF2-40B4-BE49-F238E27FC236}">
                  <a16:creationId xmlns:a16="http://schemas.microsoft.com/office/drawing/2014/main" id="{3C757A5D-6A91-8D07-2FDC-6F9CE19316EE}"/>
                </a:ext>
              </a:extLst>
            </p:cNvPr>
            <p:cNvSpPr/>
            <p:nvPr/>
          </p:nvSpPr>
          <p:spPr>
            <a:xfrm>
              <a:off x="1602108" y="2793797"/>
              <a:ext cx="845312" cy="1267968"/>
            </a:xfrm>
            <a:custGeom>
              <a:avLst/>
              <a:gdLst>
                <a:gd name="connsiteX0" fmla="*/ 216288 w 845312"/>
                <a:gd name="connsiteY0" fmla="*/ 1057859 h 1267968"/>
                <a:gd name="connsiteX1" fmla="*/ 216288 w 845312"/>
                <a:gd name="connsiteY1" fmla="*/ 6096 h 1267968"/>
                <a:gd name="connsiteX2" fmla="*/ 6098 w 845312"/>
                <a:gd name="connsiteY2" fmla="*/ 6096 h 1267968"/>
                <a:gd name="connsiteX3" fmla="*/ 6098 w 845312"/>
                <a:gd name="connsiteY3" fmla="*/ 1057859 h 1267968"/>
                <a:gd name="connsiteX4" fmla="*/ 6098 w 845312"/>
                <a:gd name="connsiteY4" fmla="*/ 1057859 h 1267968"/>
                <a:gd name="connsiteX5" fmla="*/ 14226 w 845312"/>
                <a:gd name="connsiteY5" fmla="*/ 1116706 h 1267968"/>
                <a:gd name="connsiteX6" fmla="*/ 15201 w 845312"/>
                <a:gd name="connsiteY6" fmla="*/ 1120364 h 1267968"/>
                <a:gd name="connsiteX7" fmla="*/ 17071 w 845312"/>
                <a:gd name="connsiteY7" fmla="*/ 1125566 h 1267968"/>
                <a:gd name="connsiteX8" fmla="*/ 22598 w 845312"/>
                <a:gd name="connsiteY8" fmla="*/ 1140358 h 1267968"/>
                <a:gd name="connsiteX9" fmla="*/ 52021 w 845312"/>
                <a:gd name="connsiteY9" fmla="*/ 1189126 h 1267968"/>
                <a:gd name="connsiteX10" fmla="*/ 124685 w 845312"/>
                <a:gd name="connsiteY10" fmla="*/ 1246916 h 1267968"/>
                <a:gd name="connsiteX11" fmla="*/ 216125 w 845312"/>
                <a:gd name="connsiteY11" fmla="*/ 1268049 h 1267968"/>
                <a:gd name="connsiteX12" fmla="*/ 776957 w 845312"/>
                <a:gd name="connsiteY12" fmla="*/ 1268049 h 1267968"/>
                <a:gd name="connsiteX13" fmla="*/ 847021 w 845312"/>
                <a:gd name="connsiteY13" fmla="*/ 1057697 h 1267968"/>
                <a:gd name="connsiteX14" fmla="*/ 216288 w 845312"/>
                <a:gd name="connsiteY14" fmla="*/ 1057859 h 126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845312" h="1267968">
                  <a:moveTo>
                    <a:pt x="216288" y="1057859"/>
                  </a:moveTo>
                  <a:lnTo>
                    <a:pt x="216288" y="6096"/>
                  </a:lnTo>
                  <a:lnTo>
                    <a:pt x="6098" y="6096"/>
                  </a:lnTo>
                  <a:lnTo>
                    <a:pt x="6098" y="1057859"/>
                  </a:lnTo>
                  <a:lnTo>
                    <a:pt x="6098" y="1057859"/>
                  </a:lnTo>
                  <a:cubicBezTo>
                    <a:pt x="6017" y="1077773"/>
                    <a:pt x="8699" y="1097605"/>
                    <a:pt x="14226" y="1116706"/>
                  </a:cubicBezTo>
                  <a:cubicBezTo>
                    <a:pt x="14632" y="1117925"/>
                    <a:pt x="14795" y="1119226"/>
                    <a:pt x="15201" y="1120364"/>
                  </a:cubicBezTo>
                  <a:cubicBezTo>
                    <a:pt x="15608" y="1121502"/>
                    <a:pt x="16502" y="1123859"/>
                    <a:pt x="17071" y="1125566"/>
                  </a:cubicBezTo>
                  <a:cubicBezTo>
                    <a:pt x="18777" y="1130605"/>
                    <a:pt x="20566" y="1135563"/>
                    <a:pt x="22598" y="1140358"/>
                  </a:cubicBezTo>
                  <a:cubicBezTo>
                    <a:pt x="30157" y="1157915"/>
                    <a:pt x="40073" y="1174252"/>
                    <a:pt x="52021" y="1189126"/>
                  </a:cubicBezTo>
                  <a:cubicBezTo>
                    <a:pt x="71691" y="1213510"/>
                    <a:pt x="96481" y="1233262"/>
                    <a:pt x="124685" y="1246916"/>
                  </a:cubicBezTo>
                  <a:cubicBezTo>
                    <a:pt x="153215" y="1260734"/>
                    <a:pt x="184426" y="1267968"/>
                    <a:pt x="216125" y="1268049"/>
                  </a:cubicBezTo>
                  <a:lnTo>
                    <a:pt x="776957" y="1268049"/>
                  </a:lnTo>
                  <a:lnTo>
                    <a:pt x="847021" y="1057697"/>
                  </a:lnTo>
                  <a:lnTo>
                    <a:pt x="216288" y="105785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11" name="Forma libre: forma 10">
              <a:extLst>
                <a:ext uri="{FF2B5EF4-FFF2-40B4-BE49-F238E27FC236}">
                  <a16:creationId xmlns:a16="http://schemas.microsoft.com/office/drawing/2014/main" id="{37C2CA13-9488-E649-EA12-2392A749B7B5}"/>
                </a:ext>
              </a:extLst>
            </p:cNvPr>
            <p:cNvSpPr/>
            <p:nvPr/>
          </p:nvSpPr>
          <p:spPr>
            <a:xfrm>
              <a:off x="-6096" y="2794284"/>
              <a:ext cx="959104" cy="1267968"/>
            </a:xfrm>
            <a:custGeom>
              <a:avLst/>
              <a:gdLst>
                <a:gd name="connsiteX0" fmla="*/ 818815 w 959104"/>
                <a:gd name="connsiteY0" fmla="*/ 411764 h 1267968"/>
                <a:gd name="connsiteX1" fmla="*/ 818815 w 959104"/>
                <a:gd name="connsiteY1" fmla="*/ 285699 h 1267968"/>
                <a:gd name="connsiteX2" fmla="*/ 539130 w 959104"/>
                <a:gd name="connsiteY2" fmla="*/ 6096 h 1267968"/>
                <a:gd name="connsiteX3" fmla="*/ 6096 w 959104"/>
                <a:gd name="connsiteY3" fmla="*/ 6096 h 1267968"/>
                <a:gd name="connsiteX4" fmla="*/ 6096 w 959104"/>
                <a:gd name="connsiteY4" fmla="*/ 1057047 h 1267968"/>
                <a:gd name="connsiteX5" fmla="*/ 216367 w 959104"/>
                <a:gd name="connsiteY5" fmla="*/ 1267399 h 1267968"/>
                <a:gd name="connsiteX6" fmla="*/ 532140 w 959104"/>
                <a:gd name="connsiteY6" fmla="*/ 1267399 h 1267968"/>
                <a:gd name="connsiteX7" fmla="*/ 953821 w 959104"/>
                <a:gd name="connsiteY7" fmla="*/ 892861 h 1267968"/>
                <a:gd name="connsiteX8" fmla="*/ 603260 w 959104"/>
                <a:gd name="connsiteY8" fmla="*/ 530596 h 1267968"/>
                <a:gd name="connsiteX9" fmla="*/ 218562 w 959104"/>
                <a:gd name="connsiteY9" fmla="*/ 531490 h 1267968"/>
                <a:gd name="connsiteX10" fmla="*/ 424282 w 959104"/>
                <a:gd name="connsiteY10" fmla="*/ 737210 h 1267968"/>
                <a:gd name="connsiteX11" fmla="*/ 424932 w 959104"/>
                <a:gd name="connsiteY11" fmla="*/ 737210 h 1267968"/>
                <a:gd name="connsiteX12" fmla="*/ 585785 w 959104"/>
                <a:gd name="connsiteY12" fmla="*/ 737210 h 1267968"/>
                <a:gd name="connsiteX13" fmla="*/ 758261 w 959104"/>
                <a:gd name="connsiteY13" fmla="*/ 889203 h 1267968"/>
                <a:gd name="connsiteX14" fmla="*/ 606268 w 959104"/>
                <a:gd name="connsiteY14" fmla="*/ 1061679 h 1267968"/>
                <a:gd name="connsiteX15" fmla="*/ 585704 w 959104"/>
                <a:gd name="connsiteY15" fmla="*/ 1061679 h 1267968"/>
                <a:gd name="connsiteX16" fmla="*/ 216530 w 959104"/>
                <a:gd name="connsiteY16" fmla="*/ 1061679 h 1267968"/>
                <a:gd name="connsiteX17" fmla="*/ 216530 w 959104"/>
                <a:gd name="connsiteY17" fmla="*/ 211653 h 1267968"/>
                <a:gd name="connsiteX18" fmla="*/ 467685 w 959104"/>
                <a:gd name="connsiteY18" fmla="*/ 211653 h 1267968"/>
                <a:gd name="connsiteX19" fmla="*/ 612689 w 959104"/>
                <a:gd name="connsiteY19" fmla="*/ 356575 h 1267968"/>
                <a:gd name="connsiteX20" fmla="*/ 612689 w 959104"/>
                <a:gd name="connsiteY20" fmla="*/ 530352 h 1267968"/>
                <a:gd name="connsiteX21" fmla="*/ 818815 w 959104"/>
                <a:gd name="connsiteY21" fmla="*/ 411764 h 126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959104" h="1267968">
                  <a:moveTo>
                    <a:pt x="818815" y="411764"/>
                  </a:moveTo>
                  <a:lnTo>
                    <a:pt x="818815" y="285699"/>
                  </a:lnTo>
                  <a:cubicBezTo>
                    <a:pt x="818815" y="131267"/>
                    <a:pt x="693562" y="6096"/>
                    <a:pt x="539130" y="6096"/>
                  </a:cubicBezTo>
                  <a:lnTo>
                    <a:pt x="6096" y="6096"/>
                  </a:lnTo>
                  <a:lnTo>
                    <a:pt x="6096" y="1057047"/>
                  </a:lnTo>
                  <a:cubicBezTo>
                    <a:pt x="6096" y="1173196"/>
                    <a:pt x="100218" y="1267318"/>
                    <a:pt x="216367" y="1267399"/>
                  </a:cubicBezTo>
                  <a:lnTo>
                    <a:pt x="532140" y="1267399"/>
                  </a:lnTo>
                  <a:cubicBezTo>
                    <a:pt x="807436" y="1267399"/>
                    <a:pt x="953821" y="1096711"/>
                    <a:pt x="953821" y="892861"/>
                  </a:cubicBezTo>
                  <a:cubicBezTo>
                    <a:pt x="953821" y="725587"/>
                    <a:pt x="840029" y="530596"/>
                    <a:pt x="603260" y="530596"/>
                  </a:cubicBezTo>
                  <a:lnTo>
                    <a:pt x="218562" y="531490"/>
                  </a:lnTo>
                  <a:cubicBezTo>
                    <a:pt x="218562" y="645119"/>
                    <a:pt x="310652" y="737210"/>
                    <a:pt x="424282" y="737210"/>
                  </a:cubicBezTo>
                  <a:cubicBezTo>
                    <a:pt x="424525" y="737210"/>
                    <a:pt x="424688" y="737210"/>
                    <a:pt x="424932" y="737210"/>
                  </a:cubicBezTo>
                  <a:lnTo>
                    <a:pt x="585785" y="737210"/>
                  </a:lnTo>
                  <a:cubicBezTo>
                    <a:pt x="675356" y="731520"/>
                    <a:pt x="752653" y="799551"/>
                    <a:pt x="758261" y="889203"/>
                  </a:cubicBezTo>
                  <a:cubicBezTo>
                    <a:pt x="763951" y="978774"/>
                    <a:pt x="695919" y="1056071"/>
                    <a:pt x="606268" y="1061679"/>
                  </a:cubicBezTo>
                  <a:cubicBezTo>
                    <a:pt x="599440" y="1062086"/>
                    <a:pt x="592531" y="1062086"/>
                    <a:pt x="585704" y="1061679"/>
                  </a:cubicBezTo>
                  <a:lnTo>
                    <a:pt x="216530" y="1061679"/>
                  </a:lnTo>
                  <a:lnTo>
                    <a:pt x="216530" y="211653"/>
                  </a:lnTo>
                  <a:lnTo>
                    <a:pt x="467685" y="211653"/>
                  </a:lnTo>
                  <a:cubicBezTo>
                    <a:pt x="547014" y="213441"/>
                    <a:pt x="610901" y="277246"/>
                    <a:pt x="612689" y="356575"/>
                  </a:cubicBezTo>
                  <a:lnTo>
                    <a:pt x="612689" y="530352"/>
                  </a:lnTo>
                  <a:lnTo>
                    <a:pt x="818815" y="41176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12" name="Forma libre: forma 11">
              <a:extLst>
                <a:ext uri="{FF2B5EF4-FFF2-40B4-BE49-F238E27FC236}">
                  <a16:creationId xmlns:a16="http://schemas.microsoft.com/office/drawing/2014/main" id="{979AD317-F230-3E3E-CD5A-438923548E61}"/>
                </a:ext>
              </a:extLst>
            </p:cNvPr>
            <p:cNvSpPr/>
            <p:nvPr/>
          </p:nvSpPr>
          <p:spPr>
            <a:xfrm>
              <a:off x="2653792" y="2794284"/>
              <a:ext cx="959104" cy="1267968"/>
            </a:xfrm>
            <a:custGeom>
              <a:avLst/>
              <a:gdLst>
                <a:gd name="connsiteX0" fmla="*/ 818896 w 959104"/>
                <a:gd name="connsiteY0" fmla="*/ 411764 h 1267968"/>
                <a:gd name="connsiteX1" fmla="*/ 818896 w 959104"/>
                <a:gd name="connsiteY1" fmla="*/ 285699 h 1267968"/>
                <a:gd name="connsiteX2" fmla="*/ 539212 w 959104"/>
                <a:gd name="connsiteY2" fmla="*/ 6096 h 1267968"/>
                <a:gd name="connsiteX3" fmla="*/ 6096 w 959104"/>
                <a:gd name="connsiteY3" fmla="*/ 6096 h 1267968"/>
                <a:gd name="connsiteX4" fmla="*/ 6096 w 959104"/>
                <a:gd name="connsiteY4" fmla="*/ 1057047 h 1267968"/>
                <a:gd name="connsiteX5" fmla="*/ 216449 w 959104"/>
                <a:gd name="connsiteY5" fmla="*/ 1267399 h 1267968"/>
                <a:gd name="connsiteX6" fmla="*/ 532222 w 959104"/>
                <a:gd name="connsiteY6" fmla="*/ 1267399 h 1267968"/>
                <a:gd name="connsiteX7" fmla="*/ 953821 w 959104"/>
                <a:gd name="connsiteY7" fmla="*/ 892861 h 1267968"/>
                <a:gd name="connsiteX8" fmla="*/ 603342 w 959104"/>
                <a:gd name="connsiteY8" fmla="*/ 530596 h 1267968"/>
                <a:gd name="connsiteX9" fmla="*/ 218643 w 959104"/>
                <a:gd name="connsiteY9" fmla="*/ 531490 h 1267968"/>
                <a:gd name="connsiteX10" fmla="*/ 424363 w 959104"/>
                <a:gd name="connsiteY10" fmla="*/ 737210 h 1267968"/>
                <a:gd name="connsiteX11" fmla="*/ 424932 w 959104"/>
                <a:gd name="connsiteY11" fmla="*/ 737210 h 1267968"/>
                <a:gd name="connsiteX12" fmla="*/ 585866 w 959104"/>
                <a:gd name="connsiteY12" fmla="*/ 737210 h 1267968"/>
                <a:gd name="connsiteX13" fmla="*/ 737860 w 959104"/>
                <a:gd name="connsiteY13" fmla="*/ 909686 h 1267968"/>
                <a:gd name="connsiteX14" fmla="*/ 585866 w 959104"/>
                <a:gd name="connsiteY14" fmla="*/ 1061679 h 1267968"/>
                <a:gd name="connsiteX15" fmla="*/ 216611 w 959104"/>
                <a:gd name="connsiteY15" fmla="*/ 1061679 h 1267968"/>
                <a:gd name="connsiteX16" fmla="*/ 216611 w 959104"/>
                <a:gd name="connsiteY16" fmla="*/ 211653 h 1267968"/>
                <a:gd name="connsiteX17" fmla="*/ 467766 w 959104"/>
                <a:gd name="connsiteY17" fmla="*/ 211653 h 1267968"/>
                <a:gd name="connsiteX18" fmla="*/ 612770 w 959104"/>
                <a:gd name="connsiteY18" fmla="*/ 356575 h 1267968"/>
                <a:gd name="connsiteX19" fmla="*/ 612770 w 959104"/>
                <a:gd name="connsiteY19" fmla="*/ 530352 h 1267968"/>
                <a:gd name="connsiteX20" fmla="*/ 818896 w 959104"/>
                <a:gd name="connsiteY20" fmla="*/ 411764 h 126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959104" h="1267968">
                  <a:moveTo>
                    <a:pt x="818896" y="411764"/>
                  </a:moveTo>
                  <a:lnTo>
                    <a:pt x="818896" y="285699"/>
                  </a:lnTo>
                  <a:cubicBezTo>
                    <a:pt x="818896" y="131267"/>
                    <a:pt x="693644" y="6096"/>
                    <a:pt x="539212" y="6096"/>
                  </a:cubicBezTo>
                  <a:lnTo>
                    <a:pt x="6096" y="6096"/>
                  </a:lnTo>
                  <a:lnTo>
                    <a:pt x="6096" y="1057047"/>
                  </a:lnTo>
                  <a:cubicBezTo>
                    <a:pt x="6096" y="1173196"/>
                    <a:pt x="100299" y="1267399"/>
                    <a:pt x="216449" y="1267399"/>
                  </a:cubicBezTo>
                  <a:lnTo>
                    <a:pt x="532222" y="1267399"/>
                  </a:lnTo>
                  <a:cubicBezTo>
                    <a:pt x="807517" y="1267399"/>
                    <a:pt x="953821" y="1096711"/>
                    <a:pt x="953821" y="892861"/>
                  </a:cubicBezTo>
                  <a:cubicBezTo>
                    <a:pt x="953821" y="725587"/>
                    <a:pt x="840029" y="530596"/>
                    <a:pt x="603342" y="530596"/>
                  </a:cubicBezTo>
                  <a:lnTo>
                    <a:pt x="218643" y="531490"/>
                  </a:lnTo>
                  <a:cubicBezTo>
                    <a:pt x="218643" y="645119"/>
                    <a:pt x="310734" y="737210"/>
                    <a:pt x="424363" y="737210"/>
                  </a:cubicBezTo>
                  <a:cubicBezTo>
                    <a:pt x="424526" y="737210"/>
                    <a:pt x="424769" y="737210"/>
                    <a:pt x="424932" y="737210"/>
                  </a:cubicBezTo>
                  <a:lnTo>
                    <a:pt x="585866" y="737210"/>
                  </a:lnTo>
                  <a:cubicBezTo>
                    <a:pt x="675437" y="742899"/>
                    <a:pt x="743468" y="820115"/>
                    <a:pt x="737860" y="909686"/>
                  </a:cubicBezTo>
                  <a:cubicBezTo>
                    <a:pt x="732658" y="991372"/>
                    <a:pt x="667553" y="1056477"/>
                    <a:pt x="585866" y="1061679"/>
                  </a:cubicBezTo>
                  <a:lnTo>
                    <a:pt x="216611" y="1061679"/>
                  </a:lnTo>
                  <a:lnTo>
                    <a:pt x="216611" y="211653"/>
                  </a:lnTo>
                  <a:lnTo>
                    <a:pt x="467766" y="211653"/>
                  </a:lnTo>
                  <a:cubicBezTo>
                    <a:pt x="547096" y="213441"/>
                    <a:pt x="610982" y="277246"/>
                    <a:pt x="612770" y="356575"/>
                  </a:cubicBezTo>
                  <a:lnTo>
                    <a:pt x="612770" y="530352"/>
                  </a:lnTo>
                  <a:lnTo>
                    <a:pt x="818896" y="41176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13" name="Forma libre: forma 12">
              <a:extLst>
                <a:ext uri="{FF2B5EF4-FFF2-40B4-BE49-F238E27FC236}">
                  <a16:creationId xmlns:a16="http://schemas.microsoft.com/office/drawing/2014/main" id="{7150C7E3-0775-1A0D-22A9-37B38FDFD57A}"/>
                </a:ext>
              </a:extLst>
            </p:cNvPr>
            <p:cNvSpPr/>
            <p:nvPr/>
          </p:nvSpPr>
          <p:spPr>
            <a:xfrm>
              <a:off x="5297343" y="2793878"/>
              <a:ext cx="219456" cy="1267968"/>
            </a:xfrm>
            <a:custGeom>
              <a:avLst/>
              <a:gdLst>
                <a:gd name="connsiteX0" fmla="*/ 6096 w 219456"/>
                <a:gd name="connsiteY0" fmla="*/ 6096 h 1267968"/>
                <a:gd name="connsiteX1" fmla="*/ 216449 w 219456"/>
                <a:gd name="connsiteY1" fmla="*/ 6096 h 1267968"/>
                <a:gd name="connsiteX2" fmla="*/ 216449 w 219456"/>
                <a:gd name="connsiteY2" fmla="*/ 1268212 h 1267968"/>
                <a:gd name="connsiteX3" fmla="*/ 6096 w 219456"/>
                <a:gd name="connsiteY3" fmla="*/ 1268212 h 126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19456" h="1267968">
                  <a:moveTo>
                    <a:pt x="6096" y="6096"/>
                  </a:moveTo>
                  <a:lnTo>
                    <a:pt x="216449" y="6096"/>
                  </a:lnTo>
                  <a:lnTo>
                    <a:pt x="216449" y="1268212"/>
                  </a:lnTo>
                  <a:lnTo>
                    <a:pt x="6096" y="126821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14" name="Forma libre: forma 13">
              <a:extLst>
                <a:ext uri="{FF2B5EF4-FFF2-40B4-BE49-F238E27FC236}">
                  <a16:creationId xmlns:a16="http://schemas.microsoft.com/office/drawing/2014/main" id="{712D9310-7415-AD2F-06B7-E047A9567929}"/>
                </a:ext>
              </a:extLst>
            </p:cNvPr>
            <p:cNvSpPr/>
            <p:nvPr/>
          </p:nvSpPr>
          <p:spPr>
            <a:xfrm>
              <a:off x="5507695" y="2793634"/>
              <a:ext cx="487680" cy="1267968"/>
            </a:xfrm>
            <a:custGeom>
              <a:avLst/>
              <a:gdLst>
                <a:gd name="connsiteX0" fmla="*/ 426557 w 487680"/>
                <a:gd name="connsiteY0" fmla="*/ 1268375 h 1267968"/>
                <a:gd name="connsiteX1" fmla="*/ 485323 w 487680"/>
                <a:gd name="connsiteY1" fmla="*/ 1268375 h 1267968"/>
                <a:gd name="connsiteX2" fmla="*/ 248067 w 487680"/>
                <a:gd name="connsiteY2" fmla="*/ 154838 h 1267968"/>
                <a:gd name="connsiteX3" fmla="*/ 64861 w 487680"/>
                <a:gd name="connsiteY3" fmla="*/ 6096 h 1267968"/>
                <a:gd name="connsiteX4" fmla="*/ 6096 w 487680"/>
                <a:gd name="connsiteY4" fmla="*/ 6096 h 1267968"/>
                <a:gd name="connsiteX5" fmla="*/ 243352 w 487680"/>
                <a:gd name="connsiteY5" fmla="*/ 1119632 h 1267968"/>
                <a:gd name="connsiteX6" fmla="*/ 426557 w 487680"/>
                <a:gd name="connsiteY6" fmla="*/ 1267968 h 126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87680" h="1267968">
                  <a:moveTo>
                    <a:pt x="426557" y="1268375"/>
                  </a:moveTo>
                  <a:lnTo>
                    <a:pt x="485323" y="1268375"/>
                  </a:lnTo>
                  <a:lnTo>
                    <a:pt x="248067" y="154838"/>
                  </a:lnTo>
                  <a:cubicBezTo>
                    <a:pt x="229535" y="68356"/>
                    <a:pt x="153294" y="6421"/>
                    <a:pt x="64861" y="6096"/>
                  </a:cubicBezTo>
                  <a:lnTo>
                    <a:pt x="6096" y="6096"/>
                  </a:lnTo>
                  <a:lnTo>
                    <a:pt x="243352" y="1119632"/>
                  </a:lnTo>
                  <a:cubicBezTo>
                    <a:pt x="261803" y="1206114"/>
                    <a:pt x="338125" y="1267887"/>
                    <a:pt x="426557" y="1267968"/>
                  </a:cubicBezTo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15" name="Forma libre: forma 14">
              <a:extLst>
                <a:ext uri="{FF2B5EF4-FFF2-40B4-BE49-F238E27FC236}">
                  <a16:creationId xmlns:a16="http://schemas.microsoft.com/office/drawing/2014/main" id="{C2F5CEDC-85C1-2539-73C5-89C1C79B831E}"/>
                </a:ext>
              </a:extLst>
            </p:cNvPr>
            <p:cNvSpPr/>
            <p:nvPr/>
          </p:nvSpPr>
          <p:spPr>
            <a:xfrm>
              <a:off x="5986922" y="2794284"/>
              <a:ext cx="487680" cy="1267968"/>
            </a:xfrm>
            <a:custGeom>
              <a:avLst/>
              <a:gdLst>
                <a:gd name="connsiteX0" fmla="*/ 243271 w 487680"/>
                <a:gd name="connsiteY0" fmla="*/ 154595 h 1267968"/>
                <a:gd name="connsiteX1" fmla="*/ 6096 w 487680"/>
                <a:gd name="connsiteY1" fmla="*/ 1268131 h 1267968"/>
                <a:gd name="connsiteX2" fmla="*/ 216367 w 487680"/>
                <a:gd name="connsiteY2" fmla="*/ 1268131 h 1267968"/>
                <a:gd name="connsiteX3" fmla="*/ 485323 w 487680"/>
                <a:gd name="connsiteY3" fmla="*/ 6096 h 1267968"/>
                <a:gd name="connsiteX4" fmla="*/ 426557 w 487680"/>
                <a:gd name="connsiteY4" fmla="*/ 6096 h 1267968"/>
                <a:gd name="connsiteX5" fmla="*/ 243271 w 487680"/>
                <a:gd name="connsiteY5" fmla="*/ 155001 h 126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87680" h="1267968">
                  <a:moveTo>
                    <a:pt x="243271" y="154595"/>
                  </a:moveTo>
                  <a:lnTo>
                    <a:pt x="6096" y="1268131"/>
                  </a:lnTo>
                  <a:lnTo>
                    <a:pt x="216367" y="1268131"/>
                  </a:lnTo>
                  <a:lnTo>
                    <a:pt x="485323" y="6096"/>
                  </a:lnTo>
                  <a:lnTo>
                    <a:pt x="426557" y="6096"/>
                  </a:lnTo>
                  <a:cubicBezTo>
                    <a:pt x="338043" y="6421"/>
                    <a:pt x="261722" y="68438"/>
                    <a:pt x="243271" y="155001"/>
                  </a:cubicBezTo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16" name="Forma libre: forma 15">
              <a:extLst>
                <a:ext uri="{FF2B5EF4-FFF2-40B4-BE49-F238E27FC236}">
                  <a16:creationId xmlns:a16="http://schemas.microsoft.com/office/drawing/2014/main" id="{643C4F4E-D2E5-3D5A-8B90-9EE2628F7A9F}"/>
                </a:ext>
              </a:extLst>
            </p:cNvPr>
            <p:cNvSpPr/>
            <p:nvPr/>
          </p:nvSpPr>
          <p:spPr>
            <a:xfrm>
              <a:off x="6466149" y="2793878"/>
              <a:ext cx="219456" cy="1267968"/>
            </a:xfrm>
            <a:custGeom>
              <a:avLst/>
              <a:gdLst>
                <a:gd name="connsiteX0" fmla="*/ 6096 w 219456"/>
                <a:gd name="connsiteY0" fmla="*/ 6096 h 1267968"/>
                <a:gd name="connsiteX1" fmla="*/ 216449 w 219456"/>
                <a:gd name="connsiteY1" fmla="*/ 6096 h 1267968"/>
                <a:gd name="connsiteX2" fmla="*/ 216449 w 219456"/>
                <a:gd name="connsiteY2" fmla="*/ 1268212 h 1267968"/>
                <a:gd name="connsiteX3" fmla="*/ 6096 w 219456"/>
                <a:gd name="connsiteY3" fmla="*/ 1268212 h 126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19456" h="1267968">
                  <a:moveTo>
                    <a:pt x="6096" y="6096"/>
                  </a:moveTo>
                  <a:lnTo>
                    <a:pt x="216449" y="6096"/>
                  </a:lnTo>
                  <a:lnTo>
                    <a:pt x="216449" y="1268212"/>
                  </a:lnTo>
                  <a:lnTo>
                    <a:pt x="6096" y="126821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19" name="Forma libre: forma 18">
              <a:extLst>
                <a:ext uri="{FF2B5EF4-FFF2-40B4-BE49-F238E27FC236}">
                  <a16:creationId xmlns:a16="http://schemas.microsoft.com/office/drawing/2014/main" id="{D36C1CA0-5F42-E020-5416-39A2A8F4DE36}"/>
                </a:ext>
              </a:extLst>
            </p:cNvPr>
            <p:cNvSpPr/>
            <p:nvPr/>
          </p:nvSpPr>
          <p:spPr>
            <a:xfrm>
              <a:off x="9815617" y="2776728"/>
              <a:ext cx="950976" cy="1300480"/>
            </a:xfrm>
            <a:custGeom>
              <a:avLst/>
              <a:gdLst>
                <a:gd name="connsiteX0" fmla="*/ 889935 w 950976"/>
                <a:gd name="connsiteY0" fmla="*/ 286350 h 1300480"/>
                <a:gd name="connsiteX1" fmla="*/ 285618 w 950976"/>
                <a:gd name="connsiteY1" fmla="*/ 417779 h 1300480"/>
                <a:gd name="connsiteX2" fmla="*/ 417047 w 950976"/>
                <a:gd name="connsiteY2" fmla="*/ 1022096 h 1300480"/>
                <a:gd name="connsiteX3" fmla="*/ 653410 w 950976"/>
                <a:gd name="connsiteY3" fmla="*/ 1091509 h 1300480"/>
                <a:gd name="connsiteX4" fmla="*/ 927242 w 950976"/>
                <a:gd name="connsiteY4" fmla="*/ 997712 h 1300480"/>
                <a:gd name="connsiteX5" fmla="*/ 927242 w 950976"/>
                <a:gd name="connsiteY5" fmla="*/ 1240170 h 1300480"/>
                <a:gd name="connsiteX6" fmla="*/ 653736 w 950976"/>
                <a:gd name="connsiteY6" fmla="*/ 1301862 h 1300480"/>
                <a:gd name="connsiteX7" fmla="*/ 6096 w 950976"/>
                <a:gd name="connsiteY7" fmla="*/ 653735 h 1300480"/>
                <a:gd name="connsiteX8" fmla="*/ 654304 w 950976"/>
                <a:gd name="connsiteY8" fmla="*/ 6096 h 1300480"/>
                <a:gd name="connsiteX9" fmla="*/ 948050 w 950976"/>
                <a:gd name="connsiteY9" fmla="*/ 76647 h 1300480"/>
                <a:gd name="connsiteX10" fmla="*/ 889935 w 950976"/>
                <a:gd name="connsiteY10" fmla="*/ 286350 h 13004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950976" h="1300480">
                  <a:moveTo>
                    <a:pt x="889935" y="286350"/>
                  </a:moveTo>
                  <a:cubicBezTo>
                    <a:pt x="686735" y="155814"/>
                    <a:pt x="416235" y="214661"/>
                    <a:pt x="285618" y="417779"/>
                  </a:cubicBezTo>
                  <a:cubicBezTo>
                    <a:pt x="155082" y="620979"/>
                    <a:pt x="213929" y="891479"/>
                    <a:pt x="417047" y="1022096"/>
                  </a:cubicBezTo>
                  <a:cubicBezTo>
                    <a:pt x="487599" y="1067369"/>
                    <a:pt x="569610" y="1091509"/>
                    <a:pt x="653410" y="1091509"/>
                  </a:cubicBezTo>
                  <a:cubicBezTo>
                    <a:pt x="752571" y="1091753"/>
                    <a:pt x="849051" y="1058753"/>
                    <a:pt x="927242" y="997712"/>
                  </a:cubicBezTo>
                  <a:lnTo>
                    <a:pt x="927242" y="1240170"/>
                  </a:lnTo>
                  <a:cubicBezTo>
                    <a:pt x="841817" y="1280892"/>
                    <a:pt x="748345" y="1302024"/>
                    <a:pt x="653736" y="1301862"/>
                  </a:cubicBezTo>
                  <a:cubicBezTo>
                    <a:pt x="295941" y="1301699"/>
                    <a:pt x="5933" y="1011530"/>
                    <a:pt x="6096" y="653735"/>
                  </a:cubicBezTo>
                  <a:cubicBezTo>
                    <a:pt x="6259" y="295941"/>
                    <a:pt x="296428" y="5934"/>
                    <a:pt x="654304" y="6096"/>
                  </a:cubicBezTo>
                  <a:cubicBezTo>
                    <a:pt x="756391" y="6096"/>
                    <a:pt x="857097" y="30318"/>
                    <a:pt x="948050" y="76647"/>
                  </a:cubicBezTo>
                  <a:lnTo>
                    <a:pt x="889935" y="28635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20" name="Forma libre: forma 19">
              <a:extLst>
                <a:ext uri="{FF2B5EF4-FFF2-40B4-BE49-F238E27FC236}">
                  <a16:creationId xmlns:a16="http://schemas.microsoft.com/office/drawing/2014/main" id="{2621E6B3-3120-3ACE-A377-A32C0E906BE7}"/>
                </a:ext>
              </a:extLst>
            </p:cNvPr>
            <p:cNvSpPr/>
            <p:nvPr/>
          </p:nvSpPr>
          <p:spPr>
            <a:xfrm>
              <a:off x="6886773" y="2794041"/>
              <a:ext cx="1276096" cy="1267968"/>
            </a:xfrm>
            <a:custGeom>
              <a:avLst/>
              <a:gdLst>
                <a:gd name="connsiteX0" fmla="*/ 1060135 w 1276096"/>
                <a:gd name="connsiteY0" fmla="*/ 1267968 h 1267968"/>
                <a:gd name="connsiteX1" fmla="*/ 1273007 w 1276096"/>
                <a:gd name="connsiteY1" fmla="*/ 1267968 h 1267968"/>
                <a:gd name="connsiteX2" fmla="*/ 900501 w 1276096"/>
                <a:gd name="connsiteY2" fmla="*/ 149962 h 1267968"/>
                <a:gd name="connsiteX3" fmla="*/ 700959 w 1276096"/>
                <a:gd name="connsiteY3" fmla="*/ 6096 h 1267968"/>
                <a:gd name="connsiteX4" fmla="*/ 426801 w 1276096"/>
                <a:gd name="connsiteY4" fmla="*/ 6096 h 1267968"/>
                <a:gd name="connsiteX5" fmla="*/ 6096 w 1276096"/>
                <a:gd name="connsiteY5" fmla="*/ 1268212 h 1267968"/>
                <a:gd name="connsiteX6" fmla="*/ 218968 w 1276096"/>
                <a:gd name="connsiteY6" fmla="*/ 1268212 h 1267968"/>
                <a:gd name="connsiteX7" fmla="*/ 324145 w 1276096"/>
                <a:gd name="connsiteY7" fmla="*/ 952683 h 1267968"/>
                <a:gd name="connsiteX8" fmla="*/ 673649 w 1276096"/>
                <a:gd name="connsiteY8" fmla="*/ 952683 h 1267968"/>
                <a:gd name="connsiteX9" fmla="*/ 884001 w 1276096"/>
                <a:gd name="connsiteY9" fmla="*/ 742330 h 1267968"/>
                <a:gd name="connsiteX10" fmla="*/ 884001 w 1276096"/>
                <a:gd name="connsiteY10" fmla="*/ 742330 h 1267968"/>
                <a:gd name="connsiteX11" fmla="*/ 394127 w 1276096"/>
                <a:gd name="connsiteY11" fmla="*/ 742330 h 1267968"/>
                <a:gd name="connsiteX12" fmla="*/ 639511 w 1276096"/>
                <a:gd name="connsiteY12" fmla="*/ 6096 h 1267968"/>
                <a:gd name="connsiteX13" fmla="*/ 1060135 w 1276096"/>
                <a:gd name="connsiteY13" fmla="*/ 1267968 h 126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276096" h="1267968">
                  <a:moveTo>
                    <a:pt x="1060135" y="1267968"/>
                  </a:moveTo>
                  <a:lnTo>
                    <a:pt x="1273007" y="1267968"/>
                  </a:lnTo>
                  <a:lnTo>
                    <a:pt x="900501" y="149962"/>
                  </a:lnTo>
                  <a:cubicBezTo>
                    <a:pt x="871891" y="64049"/>
                    <a:pt x="791505" y="6096"/>
                    <a:pt x="700959" y="6096"/>
                  </a:cubicBezTo>
                  <a:lnTo>
                    <a:pt x="426801" y="6096"/>
                  </a:lnTo>
                  <a:lnTo>
                    <a:pt x="6096" y="1268212"/>
                  </a:lnTo>
                  <a:lnTo>
                    <a:pt x="218968" y="1268212"/>
                  </a:lnTo>
                  <a:lnTo>
                    <a:pt x="324145" y="952683"/>
                  </a:lnTo>
                  <a:lnTo>
                    <a:pt x="673649" y="952683"/>
                  </a:lnTo>
                  <a:cubicBezTo>
                    <a:pt x="789798" y="952683"/>
                    <a:pt x="884001" y="858479"/>
                    <a:pt x="884001" y="742330"/>
                  </a:cubicBezTo>
                  <a:lnTo>
                    <a:pt x="884001" y="742330"/>
                  </a:lnTo>
                  <a:cubicBezTo>
                    <a:pt x="884001" y="742330"/>
                    <a:pt x="394127" y="742330"/>
                    <a:pt x="394127" y="742330"/>
                  </a:cubicBezTo>
                  <a:lnTo>
                    <a:pt x="639511" y="6096"/>
                  </a:lnTo>
                  <a:lnTo>
                    <a:pt x="1060135" y="126796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21" name="Forma libre: forma 20">
              <a:extLst>
                <a:ext uri="{FF2B5EF4-FFF2-40B4-BE49-F238E27FC236}">
                  <a16:creationId xmlns:a16="http://schemas.microsoft.com/office/drawing/2014/main" id="{894F7A26-49D1-E894-1910-C31916AF1D58}"/>
                </a:ext>
              </a:extLst>
            </p:cNvPr>
            <p:cNvSpPr/>
            <p:nvPr/>
          </p:nvSpPr>
          <p:spPr>
            <a:xfrm>
              <a:off x="10918749" y="2794041"/>
              <a:ext cx="1276096" cy="1267968"/>
            </a:xfrm>
            <a:custGeom>
              <a:avLst/>
              <a:gdLst>
                <a:gd name="connsiteX0" fmla="*/ 1060380 w 1276096"/>
                <a:gd name="connsiteY0" fmla="*/ 1267968 h 1267968"/>
                <a:gd name="connsiteX1" fmla="*/ 1273251 w 1276096"/>
                <a:gd name="connsiteY1" fmla="*/ 1267968 h 1267968"/>
                <a:gd name="connsiteX2" fmla="*/ 900420 w 1276096"/>
                <a:gd name="connsiteY2" fmla="*/ 149962 h 1267968"/>
                <a:gd name="connsiteX3" fmla="*/ 700877 w 1276096"/>
                <a:gd name="connsiteY3" fmla="*/ 6096 h 1267968"/>
                <a:gd name="connsiteX4" fmla="*/ 426801 w 1276096"/>
                <a:gd name="connsiteY4" fmla="*/ 6096 h 1267968"/>
                <a:gd name="connsiteX5" fmla="*/ 6096 w 1276096"/>
                <a:gd name="connsiteY5" fmla="*/ 1268212 h 1267968"/>
                <a:gd name="connsiteX6" fmla="*/ 218969 w 1276096"/>
                <a:gd name="connsiteY6" fmla="*/ 1268212 h 1267968"/>
                <a:gd name="connsiteX7" fmla="*/ 324145 w 1276096"/>
                <a:gd name="connsiteY7" fmla="*/ 952683 h 1267968"/>
                <a:gd name="connsiteX8" fmla="*/ 673649 w 1276096"/>
                <a:gd name="connsiteY8" fmla="*/ 952683 h 1267968"/>
                <a:gd name="connsiteX9" fmla="*/ 884001 w 1276096"/>
                <a:gd name="connsiteY9" fmla="*/ 742330 h 1267968"/>
                <a:gd name="connsiteX10" fmla="*/ 884001 w 1276096"/>
                <a:gd name="connsiteY10" fmla="*/ 742330 h 1267968"/>
                <a:gd name="connsiteX11" fmla="*/ 394127 w 1276096"/>
                <a:gd name="connsiteY11" fmla="*/ 742330 h 1267968"/>
                <a:gd name="connsiteX12" fmla="*/ 639512 w 1276096"/>
                <a:gd name="connsiteY12" fmla="*/ 6096 h 1267968"/>
                <a:gd name="connsiteX13" fmla="*/ 1060380 w 1276096"/>
                <a:gd name="connsiteY13" fmla="*/ 1267968 h 126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276096" h="1267968">
                  <a:moveTo>
                    <a:pt x="1060380" y="1267968"/>
                  </a:moveTo>
                  <a:lnTo>
                    <a:pt x="1273251" y="1267968"/>
                  </a:lnTo>
                  <a:lnTo>
                    <a:pt x="900420" y="149962"/>
                  </a:lnTo>
                  <a:cubicBezTo>
                    <a:pt x="871809" y="64049"/>
                    <a:pt x="791423" y="6096"/>
                    <a:pt x="700877" y="6096"/>
                  </a:cubicBezTo>
                  <a:lnTo>
                    <a:pt x="426801" y="6096"/>
                  </a:lnTo>
                  <a:lnTo>
                    <a:pt x="6096" y="1268212"/>
                  </a:lnTo>
                  <a:lnTo>
                    <a:pt x="218969" y="1268212"/>
                  </a:lnTo>
                  <a:lnTo>
                    <a:pt x="324145" y="952683"/>
                  </a:lnTo>
                  <a:lnTo>
                    <a:pt x="673649" y="952683"/>
                  </a:lnTo>
                  <a:cubicBezTo>
                    <a:pt x="789798" y="952683"/>
                    <a:pt x="884001" y="858479"/>
                    <a:pt x="884001" y="742330"/>
                  </a:cubicBezTo>
                  <a:lnTo>
                    <a:pt x="884001" y="742330"/>
                  </a:lnTo>
                  <a:cubicBezTo>
                    <a:pt x="884001" y="742330"/>
                    <a:pt x="394127" y="742330"/>
                    <a:pt x="394127" y="742330"/>
                  </a:cubicBezTo>
                  <a:lnTo>
                    <a:pt x="639512" y="6096"/>
                  </a:lnTo>
                  <a:lnTo>
                    <a:pt x="1060380" y="126796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</p:grpSp>
    </p:spTree>
    <p:extLst>
      <p:ext uri="{BB962C8B-B14F-4D97-AF65-F5344CB8AC3E}">
        <p14:creationId xmlns:p14="http://schemas.microsoft.com/office/powerpoint/2010/main" val="412641834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4997" fill="hold"/>
                                        <p:tgtEl>
                                          <p:spTgt spid="6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  <p:par>
                                <p:cTn id="7" presetID="2" presetClass="entr" presetSubtype="1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9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0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25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42" presetClass="path" presetSubtype="0" decel="100000" fill="hold" grpId="1" nodeType="withEffect">
                                  <p:stCondLst>
                                    <p:cond delay="300"/>
                                  </p:stCondLst>
                                  <p:childTnLst>
                                    <p:animMotion origin="layout" path="M 0.01666 -0.00046 L 3.75E-6 1.85185E-6 " pathEditMode="relative" rAng="0" ptsTypes="AA">
                                      <p:cBhvr>
                                        <p:cTn id="18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833" y="23"/>
                                    </p:animMotion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25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42" presetClass="path" presetSubtype="0" decel="100000" fill="hold" grpId="1" nodeType="withEffect">
                                  <p:stCondLst>
                                    <p:cond delay="300"/>
                                  </p:stCondLst>
                                  <p:childTnLst>
                                    <p:animMotion origin="layout" path="M 1.25E-6 0.03889 L 1.25E-6 1.85185E-6 " pathEditMode="relative" rAng="0" ptsTypes="AA">
                                      <p:cBhvr>
                                        <p:cTn id="23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944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24" repeatCount="indefinite" fill="hold" display="0">
                  <p:stCondLst>
                    <p:cond delay="indefinite"/>
                  </p:stCondLst>
                </p:cTn>
                <p:tgtEl>
                  <p:spTgt spid="6"/>
                </p:tgtEl>
              </p:cMediaNode>
            </p:video>
          </p:childTnLst>
        </p:cTn>
      </p:par>
    </p:tnLst>
    <p:bldLst>
      <p:bldP spid="2" grpId="0"/>
      <p:bldP spid="2" grpId="1"/>
      <p:bldP spid="7" grpId="0" animBg="1"/>
      <p:bldP spid="17" grpId="0">
        <p:tmplLst>
          <p:tmpl>
            <p:tnLst>
              <p:par>
                <p:cTn presetID="10" presetClass="entr" presetSubtype="0" fill="hold" nodeType="withEffect">
                  <p:stCondLst>
                    <p:cond delay="3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250"/>
                        <p:tgtEl>
                          <p:spTgt spid="1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7" grpId="1">
        <p:tmplLst>
          <p:tmpl>
            <p:tnLst>
              <p:par>
                <p:cTn presetID="42" presetClass="path" presetSubtype="0" decel="100000" fill="hold" nodeType="withEffect">
                  <p:stCondLst>
                    <p:cond delay="300"/>
                  </p:stCondLst>
                  <p:childTnLst>
                    <p:animMotion origin="layout" path="M 1.25E-6 0.03889 L 1.25E-6 1.85185E-6 " pathEditMode="relative" rAng="0" ptsTypes="AA">
                      <p:cBhvr>
                        <p:cTn dur="500" fill="hold"/>
                        <p:tgtEl>
                          <p:spTgt spid="17"/>
                        </p:tgtEl>
                        <p:attrNameLst>
                          <p:attrName>ppt_x</p:attrName>
                          <p:attrName>ppt_y</p:attrName>
                        </p:attrNameLst>
                      </p:cBhvr>
                      <p:rCtr x="0" y="-1944"/>
                    </p:animMotion>
                  </p:childTnLst>
                </p:cTn>
              </p:par>
            </p:tnLst>
          </p:tmpl>
        </p:tmplLst>
      </p:bldP>
      <p:bldP spid="18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3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8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5_Esquema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tângulo 4">
            <a:extLst>
              <a:ext uri="{FF2B5EF4-FFF2-40B4-BE49-F238E27FC236}">
                <a16:creationId xmlns:a16="http://schemas.microsoft.com/office/drawing/2014/main" id="{39890EB7-A05B-FF0F-4059-D5E75F7BA410}"/>
              </a:ext>
            </a:extLst>
          </p:cNvPr>
          <p:cNvSpPr/>
          <p:nvPr userDrawn="1"/>
        </p:nvSpPr>
        <p:spPr>
          <a:xfrm>
            <a:off x="5168900" y="6261100"/>
            <a:ext cx="1739900" cy="596900"/>
          </a:xfrm>
          <a:prstGeom prst="rect">
            <a:avLst/>
          </a:prstGeom>
          <a:solidFill>
            <a:srgbClr val="F8F8F8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16752711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1_Esquema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2583470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Esquema Personalizado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orma livre: Forma 6">
            <a:extLst>
              <a:ext uri="{FF2B5EF4-FFF2-40B4-BE49-F238E27FC236}">
                <a16:creationId xmlns:a16="http://schemas.microsoft.com/office/drawing/2014/main" id="{A21852B0-F14B-1B3D-070C-59989DD05797}"/>
              </a:ext>
            </a:extLst>
          </p:cNvPr>
          <p:cNvSpPr/>
          <p:nvPr userDrawn="1"/>
        </p:nvSpPr>
        <p:spPr>
          <a:xfrm>
            <a:off x="1219200" y="-11890"/>
            <a:ext cx="2105314" cy="3593290"/>
          </a:xfrm>
          <a:custGeom>
            <a:avLst/>
            <a:gdLst>
              <a:gd name="connsiteX0" fmla="*/ 2220906 w 2220906"/>
              <a:gd name="connsiteY0" fmla="*/ 0 h 524519"/>
              <a:gd name="connsiteX1" fmla="*/ 2220906 w 2220906"/>
              <a:gd name="connsiteY1" fmla="*/ 524457 h 524519"/>
              <a:gd name="connsiteX2" fmla="*/ 0 w 2220906"/>
              <a:gd name="connsiteY2" fmla="*/ 524519 h 524519"/>
              <a:gd name="connsiteX3" fmla="*/ 0 w 2220906"/>
              <a:gd name="connsiteY3" fmla="*/ 62 h 5245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220906" h="524519">
                <a:moveTo>
                  <a:pt x="2220906" y="0"/>
                </a:moveTo>
                <a:lnTo>
                  <a:pt x="2220906" y="524457"/>
                </a:lnTo>
                <a:lnTo>
                  <a:pt x="0" y="524519"/>
                </a:lnTo>
                <a:lnTo>
                  <a:pt x="0" y="62"/>
                </a:lnTo>
                <a:close/>
              </a:path>
            </a:pathLst>
          </a:custGeom>
          <a:solidFill>
            <a:schemeClr val="bg1"/>
          </a:solidFill>
          <a:ln w="4244" cap="flat">
            <a:noFill/>
            <a:prstDash val="solid"/>
            <a:miter/>
          </a:ln>
          <a:effectLst>
            <a:outerShdw blurRad="254000" algn="ctr" rotWithShape="0">
              <a:srgbClr val="132153">
                <a:alpha val="5000"/>
              </a:srgb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pt-PT">
              <a:solidFill>
                <a:schemeClr val="tx1"/>
              </a:solidFill>
            </a:endParaRPr>
          </a:p>
        </p:txBody>
      </p:sp>
      <p:sp>
        <p:nvSpPr>
          <p:cNvPr id="9" name="Marcador de Posição do Texto 8">
            <a:extLst>
              <a:ext uri="{FF2B5EF4-FFF2-40B4-BE49-F238E27FC236}">
                <a16:creationId xmlns:a16="http://schemas.microsoft.com/office/drawing/2014/main" id="{4DB17FC5-B80D-9BA5-40BB-AC46C4D9C42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219200" y="2418184"/>
            <a:ext cx="2105314" cy="1010432"/>
          </a:xfrm>
        </p:spPr>
        <p:txBody>
          <a:bodyPr>
            <a:noAutofit/>
          </a:bodyPr>
          <a:lstStyle>
            <a:lvl1pPr algn="ctr">
              <a:defRPr sz="8000">
                <a:solidFill>
                  <a:schemeClr val="accent1"/>
                </a:solidFill>
                <a:latin typeface="+mj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pt-PT" dirty="0"/>
              <a:t>NR</a:t>
            </a:r>
          </a:p>
        </p:txBody>
      </p:sp>
      <p:sp>
        <p:nvSpPr>
          <p:cNvPr id="22" name="Título 1">
            <a:extLst>
              <a:ext uri="{FF2B5EF4-FFF2-40B4-BE49-F238E27FC236}">
                <a16:creationId xmlns:a16="http://schemas.microsoft.com/office/drawing/2014/main" id="{B5D9A759-A33D-4C57-8BCF-D02B2054CDB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219200" y="3939777"/>
            <a:ext cx="7315200" cy="85328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pt-PT" dirty="0"/>
              <a:t>Insertar título</a:t>
            </a:r>
            <a:br>
              <a:rPr lang="pt-PT" dirty="0"/>
            </a:br>
            <a:r>
              <a:rPr lang="pt-PT" dirty="0"/>
              <a:t>del separador</a:t>
            </a:r>
          </a:p>
        </p:txBody>
      </p:sp>
      <p:sp>
        <p:nvSpPr>
          <p:cNvPr id="23" name="Marcador de Posição do Texto 8">
            <a:extLst>
              <a:ext uri="{FF2B5EF4-FFF2-40B4-BE49-F238E27FC236}">
                <a16:creationId xmlns:a16="http://schemas.microsoft.com/office/drawing/2014/main" id="{B044A780-33BF-45BF-8174-D3EC4023E4F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219200" y="4977216"/>
            <a:ext cx="7315200" cy="560515"/>
          </a:xfrm>
        </p:spPr>
        <p:txBody>
          <a:bodyPr>
            <a:normAutofit/>
          </a:bodyPr>
          <a:lstStyle>
            <a:lvl1pPr>
              <a:defRPr sz="2000">
                <a:solidFill>
                  <a:schemeClr val="bg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pt-PT" dirty="0"/>
              <a:t>Insertar subtítulo del separador</a:t>
            </a:r>
          </a:p>
        </p:txBody>
      </p:sp>
      <p:grpSp>
        <p:nvGrpSpPr>
          <p:cNvPr id="2" name="Gráfico 2">
            <a:extLst>
              <a:ext uri="{FF2B5EF4-FFF2-40B4-BE49-F238E27FC236}">
                <a16:creationId xmlns:a16="http://schemas.microsoft.com/office/drawing/2014/main" id="{A378CFBC-9D0E-404C-6ABC-EE8BD2792E4F}"/>
              </a:ext>
            </a:extLst>
          </p:cNvPr>
          <p:cNvGrpSpPr/>
          <p:nvPr userDrawn="1"/>
        </p:nvGrpSpPr>
        <p:grpSpPr>
          <a:xfrm>
            <a:off x="10557975" y="275736"/>
            <a:ext cx="1308718" cy="138724"/>
            <a:chOff x="0" y="2782824"/>
            <a:chExt cx="12192000" cy="1292352"/>
          </a:xfrm>
        </p:grpSpPr>
        <p:sp>
          <p:nvSpPr>
            <p:cNvPr id="3" name="Forma libre: forma 2">
              <a:extLst>
                <a:ext uri="{FF2B5EF4-FFF2-40B4-BE49-F238E27FC236}">
                  <a16:creationId xmlns:a16="http://schemas.microsoft.com/office/drawing/2014/main" id="{6B501908-F43A-729C-B25E-AC912A4B9A5F}"/>
                </a:ext>
              </a:extLst>
            </p:cNvPr>
            <p:cNvSpPr/>
            <p:nvPr/>
          </p:nvSpPr>
          <p:spPr>
            <a:xfrm>
              <a:off x="3791306" y="2777053"/>
              <a:ext cx="1300480" cy="1300480"/>
            </a:xfrm>
            <a:custGeom>
              <a:avLst/>
              <a:gdLst>
                <a:gd name="connsiteX0" fmla="*/ 6096 w 1300480"/>
                <a:gd name="connsiteY0" fmla="*/ 653979 h 1300480"/>
                <a:gd name="connsiteX1" fmla="*/ 653979 w 1300480"/>
                <a:gd name="connsiteY1" fmla="*/ 6096 h 1300480"/>
                <a:gd name="connsiteX2" fmla="*/ 1301862 w 1300480"/>
                <a:gd name="connsiteY2" fmla="*/ 653979 h 1300480"/>
                <a:gd name="connsiteX3" fmla="*/ 653979 w 1300480"/>
                <a:gd name="connsiteY3" fmla="*/ 1301862 h 1300480"/>
                <a:gd name="connsiteX4" fmla="*/ 653898 w 1300480"/>
                <a:gd name="connsiteY4" fmla="*/ 1301862 h 1300480"/>
                <a:gd name="connsiteX5" fmla="*/ 6096 w 1300480"/>
                <a:gd name="connsiteY5" fmla="*/ 654060 h 1300480"/>
                <a:gd name="connsiteX6" fmla="*/ 6096 w 1300480"/>
                <a:gd name="connsiteY6" fmla="*/ 654060 h 1300480"/>
                <a:gd name="connsiteX7" fmla="*/ 653898 w 1300480"/>
                <a:gd name="connsiteY7" fmla="*/ 1091184 h 1300480"/>
                <a:gd name="connsiteX8" fmla="*/ 1091265 w 1300480"/>
                <a:gd name="connsiteY8" fmla="*/ 653979 h 1300480"/>
                <a:gd name="connsiteX9" fmla="*/ 654060 w 1300480"/>
                <a:gd name="connsiteY9" fmla="*/ 216611 h 1300480"/>
                <a:gd name="connsiteX10" fmla="*/ 216692 w 1300480"/>
                <a:gd name="connsiteY10" fmla="*/ 653816 h 1300480"/>
                <a:gd name="connsiteX11" fmla="*/ 216692 w 1300480"/>
                <a:gd name="connsiteY11" fmla="*/ 653979 h 1300480"/>
                <a:gd name="connsiteX12" fmla="*/ 653898 w 1300480"/>
                <a:gd name="connsiteY12" fmla="*/ 1091184 h 13004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300480" h="1300480">
                  <a:moveTo>
                    <a:pt x="6096" y="653979"/>
                  </a:moveTo>
                  <a:cubicBezTo>
                    <a:pt x="6096" y="296184"/>
                    <a:pt x="296184" y="6096"/>
                    <a:pt x="653979" y="6096"/>
                  </a:cubicBezTo>
                  <a:cubicBezTo>
                    <a:pt x="1011773" y="6096"/>
                    <a:pt x="1301862" y="296184"/>
                    <a:pt x="1301862" y="653979"/>
                  </a:cubicBezTo>
                  <a:cubicBezTo>
                    <a:pt x="1301862" y="1011773"/>
                    <a:pt x="1011773" y="1301862"/>
                    <a:pt x="653979" y="1301862"/>
                  </a:cubicBezTo>
                  <a:lnTo>
                    <a:pt x="653898" y="1301862"/>
                  </a:lnTo>
                  <a:cubicBezTo>
                    <a:pt x="296103" y="1301862"/>
                    <a:pt x="6096" y="1011855"/>
                    <a:pt x="6096" y="654060"/>
                  </a:cubicBezTo>
                  <a:lnTo>
                    <a:pt x="6096" y="654060"/>
                  </a:lnTo>
                  <a:moveTo>
                    <a:pt x="653898" y="1091184"/>
                  </a:moveTo>
                  <a:cubicBezTo>
                    <a:pt x="895380" y="1091184"/>
                    <a:pt x="1091184" y="895462"/>
                    <a:pt x="1091265" y="653979"/>
                  </a:cubicBezTo>
                  <a:cubicBezTo>
                    <a:pt x="1091265" y="412496"/>
                    <a:pt x="895543" y="216692"/>
                    <a:pt x="654060" y="216611"/>
                  </a:cubicBezTo>
                  <a:cubicBezTo>
                    <a:pt x="412577" y="216611"/>
                    <a:pt x="216774" y="412333"/>
                    <a:pt x="216692" y="653816"/>
                  </a:cubicBezTo>
                  <a:lnTo>
                    <a:pt x="216692" y="653979"/>
                  </a:lnTo>
                  <a:cubicBezTo>
                    <a:pt x="216692" y="895462"/>
                    <a:pt x="412415" y="1091184"/>
                    <a:pt x="653898" y="1091184"/>
                  </a:cubicBezTo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4" name="Forma libre: forma 3">
              <a:extLst>
                <a:ext uri="{FF2B5EF4-FFF2-40B4-BE49-F238E27FC236}">
                  <a16:creationId xmlns:a16="http://schemas.microsoft.com/office/drawing/2014/main" id="{AC443D90-B9C5-94A3-609E-DDCDD6CC28FA}"/>
                </a:ext>
              </a:extLst>
            </p:cNvPr>
            <p:cNvSpPr/>
            <p:nvPr/>
          </p:nvSpPr>
          <p:spPr>
            <a:xfrm>
              <a:off x="1151981" y="2793797"/>
              <a:ext cx="219456" cy="1267968"/>
            </a:xfrm>
            <a:custGeom>
              <a:avLst/>
              <a:gdLst>
                <a:gd name="connsiteX0" fmla="*/ 216367 w 219456"/>
                <a:gd name="connsiteY0" fmla="*/ 6096 h 1267968"/>
                <a:gd name="connsiteX1" fmla="*/ 216367 w 219456"/>
                <a:gd name="connsiteY1" fmla="*/ 6096 h 1267968"/>
                <a:gd name="connsiteX2" fmla="*/ 216367 w 219456"/>
                <a:gd name="connsiteY2" fmla="*/ 1268212 h 1267968"/>
                <a:gd name="connsiteX3" fmla="*/ 6096 w 219456"/>
                <a:gd name="connsiteY3" fmla="*/ 1268212 h 1267968"/>
                <a:gd name="connsiteX4" fmla="*/ 6096 w 219456"/>
                <a:gd name="connsiteY4" fmla="*/ 216449 h 1267968"/>
                <a:gd name="connsiteX5" fmla="*/ 216367 w 219456"/>
                <a:gd name="connsiteY5" fmla="*/ 6096 h 126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19456" h="1267968">
                  <a:moveTo>
                    <a:pt x="216367" y="6096"/>
                  </a:moveTo>
                  <a:lnTo>
                    <a:pt x="216367" y="6096"/>
                  </a:lnTo>
                  <a:lnTo>
                    <a:pt x="216367" y="1268212"/>
                  </a:lnTo>
                  <a:lnTo>
                    <a:pt x="6096" y="1268212"/>
                  </a:lnTo>
                  <a:lnTo>
                    <a:pt x="6096" y="216449"/>
                  </a:lnTo>
                  <a:cubicBezTo>
                    <a:pt x="6096" y="100300"/>
                    <a:pt x="100218" y="6177"/>
                    <a:pt x="216367" y="6096"/>
                  </a:cubicBezTo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5" name="Forma libre: forma 4">
              <a:extLst>
                <a:ext uri="{FF2B5EF4-FFF2-40B4-BE49-F238E27FC236}">
                  <a16:creationId xmlns:a16="http://schemas.microsoft.com/office/drawing/2014/main" id="{88DAD86A-3859-BA88-2C02-3C3C30037DCD}"/>
                </a:ext>
              </a:extLst>
            </p:cNvPr>
            <p:cNvSpPr/>
            <p:nvPr/>
          </p:nvSpPr>
          <p:spPr>
            <a:xfrm>
              <a:off x="9373128" y="2793797"/>
              <a:ext cx="219456" cy="1267968"/>
            </a:xfrm>
            <a:custGeom>
              <a:avLst/>
              <a:gdLst>
                <a:gd name="connsiteX0" fmla="*/ 216368 w 219456"/>
                <a:gd name="connsiteY0" fmla="*/ 6096 h 1267968"/>
                <a:gd name="connsiteX1" fmla="*/ 216368 w 219456"/>
                <a:gd name="connsiteY1" fmla="*/ 6096 h 1267968"/>
                <a:gd name="connsiteX2" fmla="*/ 216368 w 219456"/>
                <a:gd name="connsiteY2" fmla="*/ 1268212 h 1267968"/>
                <a:gd name="connsiteX3" fmla="*/ 6096 w 219456"/>
                <a:gd name="connsiteY3" fmla="*/ 1268212 h 1267968"/>
                <a:gd name="connsiteX4" fmla="*/ 6096 w 219456"/>
                <a:gd name="connsiteY4" fmla="*/ 216449 h 1267968"/>
                <a:gd name="connsiteX5" fmla="*/ 216287 w 219456"/>
                <a:gd name="connsiteY5" fmla="*/ 6096 h 1267968"/>
                <a:gd name="connsiteX6" fmla="*/ 216368 w 219456"/>
                <a:gd name="connsiteY6" fmla="*/ 6096 h 126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19456" h="1267968">
                  <a:moveTo>
                    <a:pt x="216368" y="6096"/>
                  </a:moveTo>
                  <a:lnTo>
                    <a:pt x="216368" y="6096"/>
                  </a:lnTo>
                  <a:lnTo>
                    <a:pt x="216368" y="1268212"/>
                  </a:lnTo>
                  <a:lnTo>
                    <a:pt x="6096" y="1268212"/>
                  </a:lnTo>
                  <a:lnTo>
                    <a:pt x="6096" y="216449"/>
                  </a:lnTo>
                  <a:cubicBezTo>
                    <a:pt x="6096" y="100300"/>
                    <a:pt x="100138" y="6177"/>
                    <a:pt x="216287" y="6096"/>
                  </a:cubicBezTo>
                  <a:lnTo>
                    <a:pt x="216368" y="6096"/>
                  </a:lnTo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6" name="Forma libre: forma 5">
              <a:extLst>
                <a:ext uri="{FF2B5EF4-FFF2-40B4-BE49-F238E27FC236}">
                  <a16:creationId xmlns:a16="http://schemas.microsoft.com/office/drawing/2014/main" id="{B005D8FC-0A6D-55A4-083F-C70510EBFDB3}"/>
                </a:ext>
              </a:extLst>
            </p:cNvPr>
            <p:cNvSpPr/>
            <p:nvPr/>
          </p:nvSpPr>
          <p:spPr>
            <a:xfrm>
              <a:off x="8111012" y="2793878"/>
              <a:ext cx="1056640" cy="1267968"/>
            </a:xfrm>
            <a:custGeom>
              <a:avLst/>
              <a:gdLst>
                <a:gd name="connsiteX0" fmla="*/ 74046 w 1056640"/>
                <a:gd name="connsiteY0" fmla="*/ 6096 h 1267968"/>
                <a:gd name="connsiteX1" fmla="*/ 6096 w 1056640"/>
                <a:gd name="connsiteY1" fmla="*/ 216367 h 1267968"/>
                <a:gd name="connsiteX2" fmla="*/ 426802 w 1056640"/>
                <a:gd name="connsiteY2" fmla="*/ 216367 h 1267968"/>
                <a:gd name="connsiteX3" fmla="*/ 426802 w 1056640"/>
                <a:gd name="connsiteY3" fmla="*/ 1268131 h 1267968"/>
                <a:gd name="connsiteX4" fmla="*/ 637155 w 1056640"/>
                <a:gd name="connsiteY4" fmla="*/ 1268131 h 1267968"/>
                <a:gd name="connsiteX5" fmla="*/ 637155 w 1056640"/>
                <a:gd name="connsiteY5" fmla="*/ 216367 h 1267968"/>
                <a:gd name="connsiteX6" fmla="*/ 847507 w 1056640"/>
                <a:gd name="connsiteY6" fmla="*/ 216367 h 1267968"/>
                <a:gd name="connsiteX7" fmla="*/ 1057860 w 1056640"/>
                <a:gd name="connsiteY7" fmla="*/ 6096 h 1267968"/>
                <a:gd name="connsiteX8" fmla="*/ 74046 w 1056640"/>
                <a:gd name="connsiteY8" fmla="*/ 6096 h 126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056640" h="1267968">
                  <a:moveTo>
                    <a:pt x="74046" y="6096"/>
                  </a:moveTo>
                  <a:lnTo>
                    <a:pt x="6096" y="216367"/>
                  </a:lnTo>
                  <a:lnTo>
                    <a:pt x="426802" y="216367"/>
                  </a:lnTo>
                  <a:lnTo>
                    <a:pt x="426802" y="1268131"/>
                  </a:lnTo>
                  <a:lnTo>
                    <a:pt x="637155" y="1268131"/>
                  </a:lnTo>
                  <a:lnTo>
                    <a:pt x="637155" y="216367"/>
                  </a:lnTo>
                  <a:lnTo>
                    <a:pt x="847507" y="216367"/>
                  </a:lnTo>
                  <a:cubicBezTo>
                    <a:pt x="963656" y="216367"/>
                    <a:pt x="1057779" y="122245"/>
                    <a:pt x="1057860" y="6096"/>
                  </a:cubicBezTo>
                  <a:lnTo>
                    <a:pt x="74046" y="6096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8" name="Forma libre: forma 7">
              <a:extLst>
                <a:ext uri="{FF2B5EF4-FFF2-40B4-BE49-F238E27FC236}">
                  <a16:creationId xmlns:a16="http://schemas.microsoft.com/office/drawing/2014/main" id="{FC6A698D-A4AF-1B3C-5CD7-AD33EE370288}"/>
                </a:ext>
              </a:extLst>
            </p:cNvPr>
            <p:cNvSpPr/>
            <p:nvPr/>
          </p:nvSpPr>
          <p:spPr>
            <a:xfrm>
              <a:off x="1602108" y="2793797"/>
              <a:ext cx="845312" cy="1267968"/>
            </a:xfrm>
            <a:custGeom>
              <a:avLst/>
              <a:gdLst>
                <a:gd name="connsiteX0" fmla="*/ 216288 w 845312"/>
                <a:gd name="connsiteY0" fmla="*/ 1057859 h 1267968"/>
                <a:gd name="connsiteX1" fmla="*/ 216288 w 845312"/>
                <a:gd name="connsiteY1" fmla="*/ 6096 h 1267968"/>
                <a:gd name="connsiteX2" fmla="*/ 6098 w 845312"/>
                <a:gd name="connsiteY2" fmla="*/ 6096 h 1267968"/>
                <a:gd name="connsiteX3" fmla="*/ 6098 w 845312"/>
                <a:gd name="connsiteY3" fmla="*/ 1057859 h 1267968"/>
                <a:gd name="connsiteX4" fmla="*/ 6098 w 845312"/>
                <a:gd name="connsiteY4" fmla="*/ 1057859 h 1267968"/>
                <a:gd name="connsiteX5" fmla="*/ 14226 w 845312"/>
                <a:gd name="connsiteY5" fmla="*/ 1116706 h 1267968"/>
                <a:gd name="connsiteX6" fmla="*/ 15201 w 845312"/>
                <a:gd name="connsiteY6" fmla="*/ 1120364 h 1267968"/>
                <a:gd name="connsiteX7" fmla="*/ 17071 w 845312"/>
                <a:gd name="connsiteY7" fmla="*/ 1125566 h 1267968"/>
                <a:gd name="connsiteX8" fmla="*/ 22598 w 845312"/>
                <a:gd name="connsiteY8" fmla="*/ 1140358 h 1267968"/>
                <a:gd name="connsiteX9" fmla="*/ 52021 w 845312"/>
                <a:gd name="connsiteY9" fmla="*/ 1189126 h 1267968"/>
                <a:gd name="connsiteX10" fmla="*/ 124685 w 845312"/>
                <a:gd name="connsiteY10" fmla="*/ 1246916 h 1267968"/>
                <a:gd name="connsiteX11" fmla="*/ 216125 w 845312"/>
                <a:gd name="connsiteY11" fmla="*/ 1268049 h 1267968"/>
                <a:gd name="connsiteX12" fmla="*/ 776957 w 845312"/>
                <a:gd name="connsiteY12" fmla="*/ 1268049 h 1267968"/>
                <a:gd name="connsiteX13" fmla="*/ 847021 w 845312"/>
                <a:gd name="connsiteY13" fmla="*/ 1057697 h 1267968"/>
                <a:gd name="connsiteX14" fmla="*/ 216288 w 845312"/>
                <a:gd name="connsiteY14" fmla="*/ 1057859 h 126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845312" h="1267968">
                  <a:moveTo>
                    <a:pt x="216288" y="1057859"/>
                  </a:moveTo>
                  <a:lnTo>
                    <a:pt x="216288" y="6096"/>
                  </a:lnTo>
                  <a:lnTo>
                    <a:pt x="6098" y="6096"/>
                  </a:lnTo>
                  <a:lnTo>
                    <a:pt x="6098" y="1057859"/>
                  </a:lnTo>
                  <a:lnTo>
                    <a:pt x="6098" y="1057859"/>
                  </a:lnTo>
                  <a:cubicBezTo>
                    <a:pt x="6017" y="1077773"/>
                    <a:pt x="8699" y="1097605"/>
                    <a:pt x="14226" y="1116706"/>
                  </a:cubicBezTo>
                  <a:cubicBezTo>
                    <a:pt x="14632" y="1117925"/>
                    <a:pt x="14795" y="1119226"/>
                    <a:pt x="15201" y="1120364"/>
                  </a:cubicBezTo>
                  <a:cubicBezTo>
                    <a:pt x="15608" y="1121502"/>
                    <a:pt x="16502" y="1123859"/>
                    <a:pt x="17071" y="1125566"/>
                  </a:cubicBezTo>
                  <a:cubicBezTo>
                    <a:pt x="18777" y="1130605"/>
                    <a:pt x="20566" y="1135563"/>
                    <a:pt x="22598" y="1140358"/>
                  </a:cubicBezTo>
                  <a:cubicBezTo>
                    <a:pt x="30157" y="1157915"/>
                    <a:pt x="40073" y="1174252"/>
                    <a:pt x="52021" y="1189126"/>
                  </a:cubicBezTo>
                  <a:cubicBezTo>
                    <a:pt x="71691" y="1213510"/>
                    <a:pt x="96481" y="1233262"/>
                    <a:pt x="124685" y="1246916"/>
                  </a:cubicBezTo>
                  <a:cubicBezTo>
                    <a:pt x="153215" y="1260734"/>
                    <a:pt x="184426" y="1267968"/>
                    <a:pt x="216125" y="1268049"/>
                  </a:cubicBezTo>
                  <a:lnTo>
                    <a:pt x="776957" y="1268049"/>
                  </a:lnTo>
                  <a:lnTo>
                    <a:pt x="847021" y="1057697"/>
                  </a:lnTo>
                  <a:lnTo>
                    <a:pt x="216288" y="1057859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10" name="Forma libre: forma 9">
              <a:extLst>
                <a:ext uri="{FF2B5EF4-FFF2-40B4-BE49-F238E27FC236}">
                  <a16:creationId xmlns:a16="http://schemas.microsoft.com/office/drawing/2014/main" id="{0594BD07-A30B-43D1-7175-EBC716E98176}"/>
                </a:ext>
              </a:extLst>
            </p:cNvPr>
            <p:cNvSpPr/>
            <p:nvPr/>
          </p:nvSpPr>
          <p:spPr>
            <a:xfrm>
              <a:off x="-6096" y="2794284"/>
              <a:ext cx="959104" cy="1267968"/>
            </a:xfrm>
            <a:custGeom>
              <a:avLst/>
              <a:gdLst>
                <a:gd name="connsiteX0" fmla="*/ 818815 w 959104"/>
                <a:gd name="connsiteY0" fmla="*/ 411764 h 1267968"/>
                <a:gd name="connsiteX1" fmla="*/ 818815 w 959104"/>
                <a:gd name="connsiteY1" fmla="*/ 285699 h 1267968"/>
                <a:gd name="connsiteX2" fmla="*/ 539130 w 959104"/>
                <a:gd name="connsiteY2" fmla="*/ 6096 h 1267968"/>
                <a:gd name="connsiteX3" fmla="*/ 6096 w 959104"/>
                <a:gd name="connsiteY3" fmla="*/ 6096 h 1267968"/>
                <a:gd name="connsiteX4" fmla="*/ 6096 w 959104"/>
                <a:gd name="connsiteY4" fmla="*/ 1057047 h 1267968"/>
                <a:gd name="connsiteX5" fmla="*/ 216367 w 959104"/>
                <a:gd name="connsiteY5" fmla="*/ 1267399 h 1267968"/>
                <a:gd name="connsiteX6" fmla="*/ 532140 w 959104"/>
                <a:gd name="connsiteY6" fmla="*/ 1267399 h 1267968"/>
                <a:gd name="connsiteX7" fmla="*/ 953821 w 959104"/>
                <a:gd name="connsiteY7" fmla="*/ 892861 h 1267968"/>
                <a:gd name="connsiteX8" fmla="*/ 603260 w 959104"/>
                <a:gd name="connsiteY8" fmla="*/ 530596 h 1267968"/>
                <a:gd name="connsiteX9" fmla="*/ 218562 w 959104"/>
                <a:gd name="connsiteY9" fmla="*/ 531490 h 1267968"/>
                <a:gd name="connsiteX10" fmla="*/ 424282 w 959104"/>
                <a:gd name="connsiteY10" fmla="*/ 737210 h 1267968"/>
                <a:gd name="connsiteX11" fmla="*/ 424932 w 959104"/>
                <a:gd name="connsiteY11" fmla="*/ 737210 h 1267968"/>
                <a:gd name="connsiteX12" fmla="*/ 585785 w 959104"/>
                <a:gd name="connsiteY12" fmla="*/ 737210 h 1267968"/>
                <a:gd name="connsiteX13" fmla="*/ 758261 w 959104"/>
                <a:gd name="connsiteY13" fmla="*/ 889203 h 1267968"/>
                <a:gd name="connsiteX14" fmla="*/ 606268 w 959104"/>
                <a:gd name="connsiteY14" fmla="*/ 1061679 h 1267968"/>
                <a:gd name="connsiteX15" fmla="*/ 585704 w 959104"/>
                <a:gd name="connsiteY15" fmla="*/ 1061679 h 1267968"/>
                <a:gd name="connsiteX16" fmla="*/ 216530 w 959104"/>
                <a:gd name="connsiteY16" fmla="*/ 1061679 h 1267968"/>
                <a:gd name="connsiteX17" fmla="*/ 216530 w 959104"/>
                <a:gd name="connsiteY17" fmla="*/ 211653 h 1267968"/>
                <a:gd name="connsiteX18" fmla="*/ 467685 w 959104"/>
                <a:gd name="connsiteY18" fmla="*/ 211653 h 1267968"/>
                <a:gd name="connsiteX19" fmla="*/ 612689 w 959104"/>
                <a:gd name="connsiteY19" fmla="*/ 356575 h 1267968"/>
                <a:gd name="connsiteX20" fmla="*/ 612689 w 959104"/>
                <a:gd name="connsiteY20" fmla="*/ 530352 h 1267968"/>
                <a:gd name="connsiteX21" fmla="*/ 818815 w 959104"/>
                <a:gd name="connsiteY21" fmla="*/ 411764 h 126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959104" h="1267968">
                  <a:moveTo>
                    <a:pt x="818815" y="411764"/>
                  </a:moveTo>
                  <a:lnTo>
                    <a:pt x="818815" y="285699"/>
                  </a:lnTo>
                  <a:cubicBezTo>
                    <a:pt x="818815" y="131267"/>
                    <a:pt x="693562" y="6096"/>
                    <a:pt x="539130" y="6096"/>
                  </a:cubicBezTo>
                  <a:lnTo>
                    <a:pt x="6096" y="6096"/>
                  </a:lnTo>
                  <a:lnTo>
                    <a:pt x="6096" y="1057047"/>
                  </a:lnTo>
                  <a:cubicBezTo>
                    <a:pt x="6096" y="1173196"/>
                    <a:pt x="100218" y="1267318"/>
                    <a:pt x="216367" y="1267399"/>
                  </a:cubicBezTo>
                  <a:lnTo>
                    <a:pt x="532140" y="1267399"/>
                  </a:lnTo>
                  <a:cubicBezTo>
                    <a:pt x="807436" y="1267399"/>
                    <a:pt x="953821" y="1096711"/>
                    <a:pt x="953821" y="892861"/>
                  </a:cubicBezTo>
                  <a:cubicBezTo>
                    <a:pt x="953821" y="725587"/>
                    <a:pt x="840029" y="530596"/>
                    <a:pt x="603260" y="530596"/>
                  </a:cubicBezTo>
                  <a:lnTo>
                    <a:pt x="218562" y="531490"/>
                  </a:lnTo>
                  <a:cubicBezTo>
                    <a:pt x="218562" y="645119"/>
                    <a:pt x="310652" y="737210"/>
                    <a:pt x="424282" y="737210"/>
                  </a:cubicBezTo>
                  <a:cubicBezTo>
                    <a:pt x="424525" y="737210"/>
                    <a:pt x="424688" y="737210"/>
                    <a:pt x="424932" y="737210"/>
                  </a:cubicBezTo>
                  <a:lnTo>
                    <a:pt x="585785" y="737210"/>
                  </a:lnTo>
                  <a:cubicBezTo>
                    <a:pt x="675356" y="731520"/>
                    <a:pt x="752653" y="799551"/>
                    <a:pt x="758261" y="889203"/>
                  </a:cubicBezTo>
                  <a:cubicBezTo>
                    <a:pt x="763951" y="978774"/>
                    <a:pt x="695919" y="1056071"/>
                    <a:pt x="606268" y="1061679"/>
                  </a:cubicBezTo>
                  <a:cubicBezTo>
                    <a:pt x="599440" y="1062086"/>
                    <a:pt x="592531" y="1062086"/>
                    <a:pt x="585704" y="1061679"/>
                  </a:cubicBezTo>
                  <a:lnTo>
                    <a:pt x="216530" y="1061679"/>
                  </a:lnTo>
                  <a:lnTo>
                    <a:pt x="216530" y="211653"/>
                  </a:lnTo>
                  <a:lnTo>
                    <a:pt x="467685" y="211653"/>
                  </a:lnTo>
                  <a:cubicBezTo>
                    <a:pt x="547014" y="213441"/>
                    <a:pt x="610901" y="277246"/>
                    <a:pt x="612689" y="356575"/>
                  </a:cubicBezTo>
                  <a:lnTo>
                    <a:pt x="612689" y="530352"/>
                  </a:lnTo>
                  <a:lnTo>
                    <a:pt x="818815" y="411764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11" name="Forma libre: forma 10">
              <a:extLst>
                <a:ext uri="{FF2B5EF4-FFF2-40B4-BE49-F238E27FC236}">
                  <a16:creationId xmlns:a16="http://schemas.microsoft.com/office/drawing/2014/main" id="{904B0A20-DE46-3612-1BF1-D1BFFEAA42AA}"/>
                </a:ext>
              </a:extLst>
            </p:cNvPr>
            <p:cNvSpPr/>
            <p:nvPr/>
          </p:nvSpPr>
          <p:spPr>
            <a:xfrm>
              <a:off x="2653792" y="2794284"/>
              <a:ext cx="959104" cy="1267968"/>
            </a:xfrm>
            <a:custGeom>
              <a:avLst/>
              <a:gdLst>
                <a:gd name="connsiteX0" fmla="*/ 818896 w 959104"/>
                <a:gd name="connsiteY0" fmla="*/ 411764 h 1267968"/>
                <a:gd name="connsiteX1" fmla="*/ 818896 w 959104"/>
                <a:gd name="connsiteY1" fmla="*/ 285699 h 1267968"/>
                <a:gd name="connsiteX2" fmla="*/ 539212 w 959104"/>
                <a:gd name="connsiteY2" fmla="*/ 6096 h 1267968"/>
                <a:gd name="connsiteX3" fmla="*/ 6096 w 959104"/>
                <a:gd name="connsiteY3" fmla="*/ 6096 h 1267968"/>
                <a:gd name="connsiteX4" fmla="*/ 6096 w 959104"/>
                <a:gd name="connsiteY4" fmla="*/ 1057047 h 1267968"/>
                <a:gd name="connsiteX5" fmla="*/ 216449 w 959104"/>
                <a:gd name="connsiteY5" fmla="*/ 1267399 h 1267968"/>
                <a:gd name="connsiteX6" fmla="*/ 532222 w 959104"/>
                <a:gd name="connsiteY6" fmla="*/ 1267399 h 1267968"/>
                <a:gd name="connsiteX7" fmla="*/ 953821 w 959104"/>
                <a:gd name="connsiteY7" fmla="*/ 892861 h 1267968"/>
                <a:gd name="connsiteX8" fmla="*/ 603342 w 959104"/>
                <a:gd name="connsiteY8" fmla="*/ 530596 h 1267968"/>
                <a:gd name="connsiteX9" fmla="*/ 218643 w 959104"/>
                <a:gd name="connsiteY9" fmla="*/ 531490 h 1267968"/>
                <a:gd name="connsiteX10" fmla="*/ 424363 w 959104"/>
                <a:gd name="connsiteY10" fmla="*/ 737210 h 1267968"/>
                <a:gd name="connsiteX11" fmla="*/ 424932 w 959104"/>
                <a:gd name="connsiteY11" fmla="*/ 737210 h 1267968"/>
                <a:gd name="connsiteX12" fmla="*/ 585866 w 959104"/>
                <a:gd name="connsiteY12" fmla="*/ 737210 h 1267968"/>
                <a:gd name="connsiteX13" fmla="*/ 737860 w 959104"/>
                <a:gd name="connsiteY13" fmla="*/ 909686 h 1267968"/>
                <a:gd name="connsiteX14" fmla="*/ 585866 w 959104"/>
                <a:gd name="connsiteY14" fmla="*/ 1061679 h 1267968"/>
                <a:gd name="connsiteX15" fmla="*/ 216611 w 959104"/>
                <a:gd name="connsiteY15" fmla="*/ 1061679 h 1267968"/>
                <a:gd name="connsiteX16" fmla="*/ 216611 w 959104"/>
                <a:gd name="connsiteY16" fmla="*/ 211653 h 1267968"/>
                <a:gd name="connsiteX17" fmla="*/ 467766 w 959104"/>
                <a:gd name="connsiteY17" fmla="*/ 211653 h 1267968"/>
                <a:gd name="connsiteX18" fmla="*/ 612770 w 959104"/>
                <a:gd name="connsiteY18" fmla="*/ 356575 h 1267968"/>
                <a:gd name="connsiteX19" fmla="*/ 612770 w 959104"/>
                <a:gd name="connsiteY19" fmla="*/ 530352 h 1267968"/>
                <a:gd name="connsiteX20" fmla="*/ 818896 w 959104"/>
                <a:gd name="connsiteY20" fmla="*/ 411764 h 126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959104" h="1267968">
                  <a:moveTo>
                    <a:pt x="818896" y="411764"/>
                  </a:moveTo>
                  <a:lnTo>
                    <a:pt x="818896" y="285699"/>
                  </a:lnTo>
                  <a:cubicBezTo>
                    <a:pt x="818896" y="131267"/>
                    <a:pt x="693644" y="6096"/>
                    <a:pt x="539212" y="6096"/>
                  </a:cubicBezTo>
                  <a:lnTo>
                    <a:pt x="6096" y="6096"/>
                  </a:lnTo>
                  <a:lnTo>
                    <a:pt x="6096" y="1057047"/>
                  </a:lnTo>
                  <a:cubicBezTo>
                    <a:pt x="6096" y="1173196"/>
                    <a:pt x="100299" y="1267399"/>
                    <a:pt x="216449" y="1267399"/>
                  </a:cubicBezTo>
                  <a:lnTo>
                    <a:pt x="532222" y="1267399"/>
                  </a:lnTo>
                  <a:cubicBezTo>
                    <a:pt x="807517" y="1267399"/>
                    <a:pt x="953821" y="1096711"/>
                    <a:pt x="953821" y="892861"/>
                  </a:cubicBezTo>
                  <a:cubicBezTo>
                    <a:pt x="953821" y="725587"/>
                    <a:pt x="840029" y="530596"/>
                    <a:pt x="603342" y="530596"/>
                  </a:cubicBezTo>
                  <a:lnTo>
                    <a:pt x="218643" y="531490"/>
                  </a:lnTo>
                  <a:cubicBezTo>
                    <a:pt x="218643" y="645119"/>
                    <a:pt x="310734" y="737210"/>
                    <a:pt x="424363" y="737210"/>
                  </a:cubicBezTo>
                  <a:cubicBezTo>
                    <a:pt x="424526" y="737210"/>
                    <a:pt x="424769" y="737210"/>
                    <a:pt x="424932" y="737210"/>
                  </a:cubicBezTo>
                  <a:lnTo>
                    <a:pt x="585866" y="737210"/>
                  </a:lnTo>
                  <a:cubicBezTo>
                    <a:pt x="675437" y="742899"/>
                    <a:pt x="743468" y="820115"/>
                    <a:pt x="737860" y="909686"/>
                  </a:cubicBezTo>
                  <a:cubicBezTo>
                    <a:pt x="732658" y="991372"/>
                    <a:pt x="667553" y="1056477"/>
                    <a:pt x="585866" y="1061679"/>
                  </a:cubicBezTo>
                  <a:lnTo>
                    <a:pt x="216611" y="1061679"/>
                  </a:lnTo>
                  <a:lnTo>
                    <a:pt x="216611" y="211653"/>
                  </a:lnTo>
                  <a:lnTo>
                    <a:pt x="467766" y="211653"/>
                  </a:lnTo>
                  <a:cubicBezTo>
                    <a:pt x="547096" y="213441"/>
                    <a:pt x="610982" y="277246"/>
                    <a:pt x="612770" y="356575"/>
                  </a:cubicBezTo>
                  <a:lnTo>
                    <a:pt x="612770" y="530352"/>
                  </a:lnTo>
                  <a:lnTo>
                    <a:pt x="818896" y="411764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12" name="Forma libre: forma 11">
              <a:extLst>
                <a:ext uri="{FF2B5EF4-FFF2-40B4-BE49-F238E27FC236}">
                  <a16:creationId xmlns:a16="http://schemas.microsoft.com/office/drawing/2014/main" id="{E2FA878A-1A8D-4755-FFE2-F4DE463D8527}"/>
                </a:ext>
              </a:extLst>
            </p:cNvPr>
            <p:cNvSpPr/>
            <p:nvPr/>
          </p:nvSpPr>
          <p:spPr>
            <a:xfrm>
              <a:off x="5297343" y="2793878"/>
              <a:ext cx="219456" cy="1267968"/>
            </a:xfrm>
            <a:custGeom>
              <a:avLst/>
              <a:gdLst>
                <a:gd name="connsiteX0" fmla="*/ 6096 w 219456"/>
                <a:gd name="connsiteY0" fmla="*/ 6096 h 1267968"/>
                <a:gd name="connsiteX1" fmla="*/ 216449 w 219456"/>
                <a:gd name="connsiteY1" fmla="*/ 6096 h 1267968"/>
                <a:gd name="connsiteX2" fmla="*/ 216449 w 219456"/>
                <a:gd name="connsiteY2" fmla="*/ 1268212 h 1267968"/>
                <a:gd name="connsiteX3" fmla="*/ 6096 w 219456"/>
                <a:gd name="connsiteY3" fmla="*/ 1268212 h 126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19456" h="1267968">
                  <a:moveTo>
                    <a:pt x="6096" y="6096"/>
                  </a:moveTo>
                  <a:lnTo>
                    <a:pt x="216449" y="6096"/>
                  </a:lnTo>
                  <a:lnTo>
                    <a:pt x="216449" y="1268212"/>
                  </a:lnTo>
                  <a:lnTo>
                    <a:pt x="6096" y="1268212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13" name="Forma libre: forma 12">
              <a:extLst>
                <a:ext uri="{FF2B5EF4-FFF2-40B4-BE49-F238E27FC236}">
                  <a16:creationId xmlns:a16="http://schemas.microsoft.com/office/drawing/2014/main" id="{CA0DB01D-F7F5-65D0-D5A2-E0ECD649D690}"/>
                </a:ext>
              </a:extLst>
            </p:cNvPr>
            <p:cNvSpPr/>
            <p:nvPr/>
          </p:nvSpPr>
          <p:spPr>
            <a:xfrm>
              <a:off x="5507695" y="2793634"/>
              <a:ext cx="487680" cy="1267968"/>
            </a:xfrm>
            <a:custGeom>
              <a:avLst/>
              <a:gdLst>
                <a:gd name="connsiteX0" fmla="*/ 426557 w 487680"/>
                <a:gd name="connsiteY0" fmla="*/ 1268375 h 1267968"/>
                <a:gd name="connsiteX1" fmla="*/ 485323 w 487680"/>
                <a:gd name="connsiteY1" fmla="*/ 1268375 h 1267968"/>
                <a:gd name="connsiteX2" fmla="*/ 248067 w 487680"/>
                <a:gd name="connsiteY2" fmla="*/ 154838 h 1267968"/>
                <a:gd name="connsiteX3" fmla="*/ 64861 w 487680"/>
                <a:gd name="connsiteY3" fmla="*/ 6096 h 1267968"/>
                <a:gd name="connsiteX4" fmla="*/ 6096 w 487680"/>
                <a:gd name="connsiteY4" fmla="*/ 6096 h 1267968"/>
                <a:gd name="connsiteX5" fmla="*/ 243352 w 487680"/>
                <a:gd name="connsiteY5" fmla="*/ 1119632 h 1267968"/>
                <a:gd name="connsiteX6" fmla="*/ 426557 w 487680"/>
                <a:gd name="connsiteY6" fmla="*/ 1267968 h 126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87680" h="1267968">
                  <a:moveTo>
                    <a:pt x="426557" y="1268375"/>
                  </a:moveTo>
                  <a:lnTo>
                    <a:pt x="485323" y="1268375"/>
                  </a:lnTo>
                  <a:lnTo>
                    <a:pt x="248067" y="154838"/>
                  </a:lnTo>
                  <a:cubicBezTo>
                    <a:pt x="229535" y="68356"/>
                    <a:pt x="153294" y="6421"/>
                    <a:pt x="64861" y="6096"/>
                  </a:cubicBezTo>
                  <a:lnTo>
                    <a:pt x="6096" y="6096"/>
                  </a:lnTo>
                  <a:lnTo>
                    <a:pt x="243352" y="1119632"/>
                  </a:lnTo>
                  <a:cubicBezTo>
                    <a:pt x="261803" y="1206114"/>
                    <a:pt x="338125" y="1267887"/>
                    <a:pt x="426557" y="1267968"/>
                  </a:cubicBezTo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14" name="Forma libre: forma 13">
              <a:extLst>
                <a:ext uri="{FF2B5EF4-FFF2-40B4-BE49-F238E27FC236}">
                  <a16:creationId xmlns:a16="http://schemas.microsoft.com/office/drawing/2014/main" id="{AF7AD999-72ED-5C3D-EAA2-FAE23936738F}"/>
                </a:ext>
              </a:extLst>
            </p:cNvPr>
            <p:cNvSpPr/>
            <p:nvPr/>
          </p:nvSpPr>
          <p:spPr>
            <a:xfrm>
              <a:off x="5986922" y="2794284"/>
              <a:ext cx="487680" cy="1267968"/>
            </a:xfrm>
            <a:custGeom>
              <a:avLst/>
              <a:gdLst>
                <a:gd name="connsiteX0" fmla="*/ 243271 w 487680"/>
                <a:gd name="connsiteY0" fmla="*/ 154595 h 1267968"/>
                <a:gd name="connsiteX1" fmla="*/ 6096 w 487680"/>
                <a:gd name="connsiteY1" fmla="*/ 1268131 h 1267968"/>
                <a:gd name="connsiteX2" fmla="*/ 216367 w 487680"/>
                <a:gd name="connsiteY2" fmla="*/ 1268131 h 1267968"/>
                <a:gd name="connsiteX3" fmla="*/ 485323 w 487680"/>
                <a:gd name="connsiteY3" fmla="*/ 6096 h 1267968"/>
                <a:gd name="connsiteX4" fmla="*/ 426557 w 487680"/>
                <a:gd name="connsiteY4" fmla="*/ 6096 h 1267968"/>
                <a:gd name="connsiteX5" fmla="*/ 243271 w 487680"/>
                <a:gd name="connsiteY5" fmla="*/ 155001 h 126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87680" h="1267968">
                  <a:moveTo>
                    <a:pt x="243271" y="154595"/>
                  </a:moveTo>
                  <a:lnTo>
                    <a:pt x="6096" y="1268131"/>
                  </a:lnTo>
                  <a:lnTo>
                    <a:pt x="216367" y="1268131"/>
                  </a:lnTo>
                  <a:lnTo>
                    <a:pt x="485323" y="6096"/>
                  </a:lnTo>
                  <a:lnTo>
                    <a:pt x="426557" y="6096"/>
                  </a:lnTo>
                  <a:cubicBezTo>
                    <a:pt x="338043" y="6421"/>
                    <a:pt x="261722" y="68438"/>
                    <a:pt x="243271" y="155001"/>
                  </a:cubicBezTo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24" name="Forma libre: forma 23">
              <a:extLst>
                <a:ext uri="{FF2B5EF4-FFF2-40B4-BE49-F238E27FC236}">
                  <a16:creationId xmlns:a16="http://schemas.microsoft.com/office/drawing/2014/main" id="{FBFEF623-2263-7930-8D06-0260FAA02ABA}"/>
                </a:ext>
              </a:extLst>
            </p:cNvPr>
            <p:cNvSpPr/>
            <p:nvPr/>
          </p:nvSpPr>
          <p:spPr>
            <a:xfrm>
              <a:off x="6466149" y="2793878"/>
              <a:ext cx="219456" cy="1267968"/>
            </a:xfrm>
            <a:custGeom>
              <a:avLst/>
              <a:gdLst>
                <a:gd name="connsiteX0" fmla="*/ 6096 w 219456"/>
                <a:gd name="connsiteY0" fmla="*/ 6096 h 1267968"/>
                <a:gd name="connsiteX1" fmla="*/ 216449 w 219456"/>
                <a:gd name="connsiteY1" fmla="*/ 6096 h 1267968"/>
                <a:gd name="connsiteX2" fmla="*/ 216449 w 219456"/>
                <a:gd name="connsiteY2" fmla="*/ 1268212 h 1267968"/>
                <a:gd name="connsiteX3" fmla="*/ 6096 w 219456"/>
                <a:gd name="connsiteY3" fmla="*/ 1268212 h 126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19456" h="1267968">
                  <a:moveTo>
                    <a:pt x="6096" y="6096"/>
                  </a:moveTo>
                  <a:lnTo>
                    <a:pt x="216449" y="6096"/>
                  </a:lnTo>
                  <a:lnTo>
                    <a:pt x="216449" y="1268212"/>
                  </a:lnTo>
                  <a:lnTo>
                    <a:pt x="6096" y="1268212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25" name="Forma libre: forma 24">
              <a:extLst>
                <a:ext uri="{FF2B5EF4-FFF2-40B4-BE49-F238E27FC236}">
                  <a16:creationId xmlns:a16="http://schemas.microsoft.com/office/drawing/2014/main" id="{D56A3D4C-8D8E-0107-0A52-F0787B5D6237}"/>
                </a:ext>
              </a:extLst>
            </p:cNvPr>
            <p:cNvSpPr/>
            <p:nvPr/>
          </p:nvSpPr>
          <p:spPr>
            <a:xfrm>
              <a:off x="9815617" y="2776728"/>
              <a:ext cx="950976" cy="1300480"/>
            </a:xfrm>
            <a:custGeom>
              <a:avLst/>
              <a:gdLst>
                <a:gd name="connsiteX0" fmla="*/ 889935 w 950976"/>
                <a:gd name="connsiteY0" fmla="*/ 286350 h 1300480"/>
                <a:gd name="connsiteX1" fmla="*/ 285618 w 950976"/>
                <a:gd name="connsiteY1" fmla="*/ 417779 h 1300480"/>
                <a:gd name="connsiteX2" fmla="*/ 417047 w 950976"/>
                <a:gd name="connsiteY2" fmla="*/ 1022096 h 1300480"/>
                <a:gd name="connsiteX3" fmla="*/ 653410 w 950976"/>
                <a:gd name="connsiteY3" fmla="*/ 1091509 h 1300480"/>
                <a:gd name="connsiteX4" fmla="*/ 927242 w 950976"/>
                <a:gd name="connsiteY4" fmla="*/ 997712 h 1300480"/>
                <a:gd name="connsiteX5" fmla="*/ 927242 w 950976"/>
                <a:gd name="connsiteY5" fmla="*/ 1240170 h 1300480"/>
                <a:gd name="connsiteX6" fmla="*/ 653736 w 950976"/>
                <a:gd name="connsiteY6" fmla="*/ 1301862 h 1300480"/>
                <a:gd name="connsiteX7" fmla="*/ 6096 w 950976"/>
                <a:gd name="connsiteY7" fmla="*/ 653735 h 1300480"/>
                <a:gd name="connsiteX8" fmla="*/ 654304 w 950976"/>
                <a:gd name="connsiteY8" fmla="*/ 6096 h 1300480"/>
                <a:gd name="connsiteX9" fmla="*/ 948050 w 950976"/>
                <a:gd name="connsiteY9" fmla="*/ 76647 h 1300480"/>
                <a:gd name="connsiteX10" fmla="*/ 889935 w 950976"/>
                <a:gd name="connsiteY10" fmla="*/ 286350 h 13004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950976" h="1300480">
                  <a:moveTo>
                    <a:pt x="889935" y="286350"/>
                  </a:moveTo>
                  <a:cubicBezTo>
                    <a:pt x="686735" y="155814"/>
                    <a:pt x="416235" y="214661"/>
                    <a:pt x="285618" y="417779"/>
                  </a:cubicBezTo>
                  <a:cubicBezTo>
                    <a:pt x="155082" y="620979"/>
                    <a:pt x="213929" y="891479"/>
                    <a:pt x="417047" y="1022096"/>
                  </a:cubicBezTo>
                  <a:cubicBezTo>
                    <a:pt x="487599" y="1067369"/>
                    <a:pt x="569610" y="1091509"/>
                    <a:pt x="653410" y="1091509"/>
                  </a:cubicBezTo>
                  <a:cubicBezTo>
                    <a:pt x="752571" y="1091753"/>
                    <a:pt x="849051" y="1058753"/>
                    <a:pt x="927242" y="997712"/>
                  </a:cubicBezTo>
                  <a:lnTo>
                    <a:pt x="927242" y="1240170"/>
                  </a:lnTo>
                  <a:cubicBezTo>
                    <a:pt x="841817" y="1280892"/>
                    <a:pt x="748345" y="1302024"/>
                    <a:pt x="653736" y="1301862"/>
                  </a:cubicBezTo>
                  <a:cubicBezTo>
                    <a:pt x="295941" y="1301699"/>
                    <a:pt x="5933" y="1011530"/>
                    <a:pt x="6096" y="653735"/>
                  </a:cubicBezTo>
                  <a:cubicBezTo>
                    <a:pt x="6259" y="295941"/>
                    <a:pt x="296428" y="5934"/>
                    <a:pt x="654304" y="6096"/>
                  </a:cubicBezTo>
                  <a:cubicBezTo>
                    <a:pt x="756391" y="6096"/>
                    <a:pt x="857097" y="30318"/>
                    <a:pt x="948050" y="76647"/>
                  </a:cubicBezTo>
                  <a:lnTo>
                    <a:pt x="889935" y="286350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26" name="Forma libre: forma 25">
              <a:extLst>
                <a:ext uri="{FF2B5EF4-FFF2-40B4-BE49-F238E27FC236}">
                  <a16:creationId xmlns:a16="http://schemas.microsoft.com/office/drawing/2014/main" id="{18556646-DABE-5B91-8619-7740E13883A1}"/>
                </a:ext>
              </a:extLst>
            </p:cNvPr>
            <p:cNvSpPr/>
            <p:nvPr/>
          </p:nvSpPr>
          <p:spPr>
            <a:xfrm>
              <a:off x="6886773" y="2794041"/>
              <a:ext cx="1276096" cy="1267968"/>
            </a:xfrm>
            <a:custGeom>
              <a:avLst/>
              <a:gdLst>
                <a:gd name="connsiteX0" fmla="*/ 1060135 w 1276096"/>
                <a:gd name="connsiteY0" fmla="*/ 1267968 h 1267968"/>
                <a:gd name="connsiteX1" fmla="*/ 1273007 w 1276096"/>
                <a:gd name="connsiteY1" fmla="*/ 1267968 h 1267968"/>
                <a:gd name="connsiteX2" fmla="*/ 900501 w 1276096"/>
                <a:gd name="connsiteY2" fmla="*/ 149962 h 1267968"/>
                <a:gd name="connsiteX3" fmla="*/ 700959 w 1276096"/>
                <a:gd name="connsiteY3" fmla="*/ 6096 h 1267968"/>
                <a:gd name="connsiteX4" fmla="*/ 426801 w 1276096"/>
                <a:gd name="connsiteY4" fmla="*/ 6096 h 1267968"/>
                <a:gd name="connsiteX5" fmla="*/ 6096 w 1276096"/>
                <a:gd name="connsiteY5" fmla="*/ 1268212 h 1267968"/>
                <a:gd name="connsiteX6" fmla="*/ 218968 w 1276096"/>
                <a:gd name="connsiteY6" fmla="*/ 1268212 h 1267968"/>
                <a:gd name="connsiteX7" fmla="*/ 324145 w 1276096"/>
                <a:gd name="connsiteY7" fmla="*/ 952683 h 1267968"/>
                <a:gd name="connsiteX8" fmla="*/ 673649 w 1276096"/>
                <a:gd name="connsiteY8" fmla="*/ 952683 h 1267968"/>
                <a:gd name="connsiteX9" fmla="*/ 884001 w 1276096"/>
                <a:gd name="connsiteY9" fmla="*/ 742330 h 1267968"/>
                <a:gd name="connsiteX10" fmla="*/ 884001 w 1276096"/>
                <a:gd name="connsiteY10" fmla="*/ 742330 h 1267968"/>
                <a:gd name="connsiteX11" fmla="*/ 394127 w 1276096"/>
                <a:gd name="connsiteY11" fmla="*/ 742330 h 1267968"/>
                <a:gd name="connsiteX12" fmla="*/ 639511 w 1276096"/>
                <a:gd name="connsiteY12" fmla="*/ 6096 h 1267968"/>
                <a:gd name="connsiteX13" fmla="*/ 1060135 w 1276096"/>
                <a:gd name="connsiteY13" fmla="*/ 1267968 h 126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276096" h="1267968">
                  <a:moveTo>
                    <a:pt x="1060135" y="1267968"/>
                  </a:moveTo>
                  <a:lnTo>
                    <a:pt x="1273007" y="1267968"/>
                  </a:lnTo>
                  <a:lnTo>
                    <a:pt x="900501" y="149962"/>
                  </a:lnTo>
                  <a:cubicBezTo>
                    <a:pt x="871891" y="64049"/>
                    <a:pt x="791505" y="6096"/>
                    <a:pt x="700959" y="6096"/>
                  </a:cubicBezTo>
                  <a:lnTo>
                    <a:pt x="426801" y="6096"/>
                  </a:lnTo>
                  <a:lnTo>
                    <a:pt x="6096" y="1268212"/>
                  </a:lnTo>
                  <a:lnTo>
                    <a:pt x="218968" y="1268212"/>
                  </a:lnTo>
                  <a:lnTo>
                    <a:pt x="324145" y="952683"/>
                  </a:lnTo>
                  <a:lnTo>
                    <a:pt x="673649" y="952683"/>
                  </a:lnTo>
                  <a:cubicBezTo>
                    <a:pt x="789798" y="952683"/>
                    <a:pt x="884001" y="858479"/>
                    <a:pt x="884001" y="742330"/>
                  </a:cubicBezTo>
                  <a:lnTo>
                    <a:pt x="884001" y="742330"/>
                  </a:lnTo>
                  <a:cubicBezTo>
                    <a:pt x="884001" y="742330"/>
                    <a:pt x="394127" y="742330"/>
                    <a:pt x="394127" y="742330"/>
                  </a:cubicBezTo>
                  <a:lnTo>
                    <a:pt x="639511" y="6096"/>
                  </a:lnTo>
                  <a:lnTo>
                    <a:pt x="1060135" y="1267968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27" name="Forma libre: forma 26">
              <a:extLst>
                <a:ext uri="{FF2B5EF4-FFF2-40B4-BE49-F238E27FC236}">
                  <a16:creationId xmlns:a16="http://schemas.microsoft.com/office/drawing/2014/main" id="{54D8283E-A0B7-037E-C6C9-B67E59634FE6}"/>
                </a:ext>
              </a:extLst>
            </p:cNvPr>
            <p:cNvSpPr/>
            <p:nvPr/>
          </p:nvSpPr>
          <p:spPr>
            <a:xfrm>
              <a:off x="10918749" y="2794041"/>
              <a:ext cx="1276096" cy="1267968"/>
            </a:xfrm>
            <a:custGeom>
              <a:avLst/>
              <a:gdLst>
                <a:gd name="connsiteX0" fmla="*/ 1060380 w 1276096"/>
                <a:gd name="connsiteY0" fmla="*/ 1267968 h 1267968"/>
                <a:gd name="connsiteX1" fmla="*/ 1273251 w 1276096"/>
                <a:gd name="connsiteY1" fmla="*/ 1267968 h 1267968"/>
                <a:gd name="connsiteX2" fmla="*/ 900420 w 1276096"/>
                <a:gd name="connsiteY2" fmla="*/ 149962 h 1267968"/>
                <a:gd name="connsiteX3" fmla="*/ 700877 w 1276096"/>
                <a:gd name="connsiteY3" fmla="*/ 6096 h 1267968"/>
                <a:gd name="connsiteX4" fmla="*/ 426801 w 1276096"/>
                <a:gd name="connsiteY4" fmla="*/ 6096 h 1267968"/>
                <a:gd name="connsiteX5" fmla="*/ 6096 w 1276096"/>
                <a:gd name="connsiteY5" fmla="*/ 1268212 h 1267968"/>
                <a:gd name="connsiteX6" fmla="*/ 218969 w 1276096"/>
                <a:gd name="connsiteY6" fmla="*/ 1268212 h 1267968"/>
                <a:gd name="connsiteX7" fmla="*/ 324145 w 1276096"/>
                <a:gd name="connsiteY7" fmla="*/ 952683 h 1267968"/>
                <a:gd name="connsiteX8" fmla="*/ 673649 w 1276096"/>
                <a:gd name="connsiteY8" fmla="*/ 952683 h 1267968"/>
                <a:gd name="connsiteX9" fmla="*/ 884001 w 1276096"/>
                <a:gd name="connsiteY9" fmla="*/ 742330 h 1267968"/>
                <a:gd name="connsiteX10" fmla="*/ 884001 w 1276096"/>
                <a:gd name="connsiteY10" fmla="*/ 742330 h 1267968"/>
                <a:gd name="connsiteX11" fmla="*/ 394127 w 1276096"/>
                <a:gd name="connsiteY11" fmla="*/ 742330 h 1267968"/>
                <a:gd name="connsiteX12" fmla="*/ 639512 w 1276096"/>
                <a:gd name="connsiteY12" fmla="*/ 6096 h 1267968"/>
                <a:gd name="connsiteX13" fmla="*/ 1060380 w 1276096"/>
                <a:gd name="connsiteY13" fmla="*/ 1267968 h 126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276096" h="1267968">
                  <a:moveTo>
                    <a:pt x="1060380" y="1267968"/>
                  </a:moveTo>
                  <a:lnTo>
                    <a:pt x="1273251" y="1267968"/>
                  </a:lnTo>
                  <a:lnTo>
                    <a:pt x="900420" y="149962"/>
                  </a:lnTo>
                  <a:cubicBezTo>
                    <a:pt x="871809" y="64049"/>
                    <a:pt x="791423" y="6096"/>
                    <a:pt x="700877" y="6096"/>
                  </a:cubicBezTo>
                  <a:lnTo>
                    <a:pt x="426801" y="6096"/>
                  </a:lnTo>
                  <a:lnTo>
                    <a:pt x="6096" y="1268212"/>
                  </a:lnTo>
                  <a:lnTo>
                    <a:pt x="218969" y="1268212"/>
                  </a:lnTo>
                  <a:lnTo>
                    <a:pt x="324145" y="952683"/>
                  </a:lnTo>
                  <a:lnTo>
                    <a:pt x="673649" y="952683"/>
                  </a:lnTo>
                  <a:cubicBezTo>
                    <a:pt x="789798" y="952683"/>
                    <a:pt x="884001" y="858479"/>
                    <a:pt x="884001" y="742330"/>
                  </a:cubicBezTo>
                  <a:lnTo>
                    <a:pt x="884001" y="742330"/>
                  </a:lnTo>
                  <a:cubicBezTo>
                    <a:pt x="884001" y="742330"/>
                    <a:pt x="394127" y="742330"/>
                    <a:pt x="394127" y="742330"/>
                  </a:cubicBezTo>
                  <a:lnTo>
                    <a:pt x="639512" y="6096"/>
                  </a:lnTo>
                  <a:lnTo>
                    <a:pt x="1060380" y="1267968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</p:grpSp>
    </p:spTree>
    <p:extLst>
      <p:ext uri="{BB962C8B-B14F-4D97-AF65-F5344CB8AC3E}">
        <p14:creationId xmlns:p14="http://schemas.microsoft.com/office/powerpoint/2010/main" val="99296091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1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10" presetClass="entr" presetSubtype="0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10" presetClass="entr" presetSubtype="0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25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42" presetClass="path" presetSubtype="0" decel="100000" fill="hold" grpId="1" nodeType="withEffect">
                                  <p:stCondLst>
                                    <p:cond delay="300"/>
                                  </p:stCondLst>
                                  <p:childTnLst>
                                    <p:animMotion origin="layout" path="M 0.01666 -0.00046 L 3.75E-6 1.85185E-6 " pathEditMode="relative" rAng="0" ptsTypes="AA">
                                      <p:cBhvr>
                                        <p:cTn id="16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833" y="23"/>
                                    </p:animMotion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25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42" presetClass="path" presetSubtype="0" decel="100000" fill="hold" grpId="1" nodeType="withEffect">
                                  <p:stCondLst>
                                    <p:cond delay="300"/>
                                  </p:stCondLst>
                                  <p:childTnLst>
                                    <p:animMotion origin="layout" path="M 1.25E-6 0.03889 L 1.25E-6 1.85185E-6 " pathEditMode="relative" rAng="0" ptsTypes="AA">
                                      <p:cBhvr>
                                        <p:cTn id="21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944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9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3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2" grpId="0"/>
      <p:bldP spid="22" grpId="1"/>
      <p:bldP spid="23" grpId="0">
        <p:tmplLst>
          <p:tmpl>
            <p:tnLst>
              <p:par>
                <p:cTn presetID="10" presetClass="entr" presetSubtype="0" fill="hold" nodeType="withEffect">
                  <p:stCondLst>
                    <p:cond delay="3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250"/>
                        <p:tgtEl>
                          <p:spTgt spid="2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3" grpId="1">
        <p:tmplLst>
          <p:tmpl>
            <p:tnLst>
              <p:par>
                <p:cTn presetID="42" presetClass="path" presetSubtype="0" decel="100000" fill="hold" nodeType="withEffect">
                  <p:stCondLst>
                    <p:cond delay="300"/>
                  </p:stCondLst>
                  <p:childTnLst>
                    <p:animMotion origin="layout" path="M 1.25E-6 0.03889 L 1.25E-6 1.85185E-6 " pathEditMode="relative" rAng="0" ptsTypes="AA">
                      <p:cBhvr>
                        <p:cTn dur="500" fill="hold"/>
                        <p:tgtEl>
                          <p:spTgt spid="23"/>
                        </p:tgtEl>
                        <p:attrNameLst>
                          <p:attrName>ppt_x</p:attrName>
                          <p:attrName>ppt_y</p:attrName>
                        </p:attrNameLst>
                      </p:cBhvr>
                      <p:rCtr x="0" y="-1944"/>
                    </p:animMotion>
                  </p:childTnLst>
                </p:cTn>
              </p:par>
            </p:tnLst>
          </p:tmpl>
        </p:tmplLst>
      </p:bldP>
    </p:bld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9_Esquema Personalizado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ítulo 1">
            <a:extLst>
              <a:ext uri="{FF2B5EF4-FFF2-40B4-BE49-F238E27FC236}">
                <a16:creationId xmlns:a16="http://schemas.microsoft.com/office/drawing/2014/main" id="{A839413C-6728-DE80-D512-50A6C4937A4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219200" y="3939777"/>
            <a:ext cx="7315200" cy="853282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pt-PT" dirty="0"/>
              <a:t>Insertar título</a:t>
            </a:r>
            <a:br>
              <a:rPr lang="pt-PT" dirty="0"/>
            </a:br>
            <a:r>
              <a:rPr lang="pt-PT" dirty="0"/>
              <a:t>del separador</a:t>
            </a:r>
          </a:p>
        </p:txBody>
      </p:sp>
      <p:sp>
        <p:nvSpPr>
          <p:cNvPr id="7" name="Forma livre: Forma 6">
            <a:extLst>
              <a:ext uri="{FF2B5EF4-FFF2-40B4-BE49-F238E27FC236}">
                <a16:creationId xmlns:a16="http://schemas.microsoft.com/office/drawing/2014/main" id="{76FE8077-CFEC-68AB-6436-32A3FADACFE0}"/>
              </a:ext>
            </a:extLst>
          </p:cNvPr>
          <p:cNvSpPr/>
          <p:nvPr userDrawn="1"/>
        </p:nvSpPr>
        <p:spPr>
          <a:xfrm>
            <a:off x="1219200" y="-11890"/>
            <a:ext cx="2105314" cy="3593290"/>
          </a:xfrm>
          <a:custGeom>
            <a:avLst/>
            <a:gdLst>
              <a:gd name="connsiteX0" fmla="*/ 2220906 w 2220906"/>
              <a:gd name="connsiteY0" fmla="*/ 0 h 524519"/>
              <a:gd name="connsiteX1" fmla="*/ 2220906 w 2220906"/>
              <a:gd name="connsiteY1" fmla="*/ 524457 h 524519"/>
              <a:gd name="connsiteX2" fmla="*/ 0 w 2220906"/>
              <a:gd name="connsiteY2" fmla="*/ 524519 h 524519"/>
              <a:gd name="connsiteX3" fmla="*/ 0 w 2220906"/>
              <a:gd name="connsiteY3" fmla="*/ 62 h 5245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220906" h="524519">
                <a:moveTo>
                  <a:pt x="2220906" y="0"/>
                </a:moveTo>
                <a:lnTo>
                  <a:pt x="2220906" y="524457"/>
                </a:lnTo>
                <a:lnTo>
                  <a:pt x="0" y="524519"/>
                </a:lnTo>
                <a:lnTo>
                  <a:pt x="0" y="62"/>
                </a:lnTo>
                <a:close/>
              </a:path>
            </a:pathLst>
          </a:custGeom>
          <a:solidFill>
            <a:schemeClr val="bg1"/>
          </a:solidFill>
          <a:ln w="4244" cap="flat">
            <a:noFill/>
            <a:prstDash val="solid"/>
            <a:miter/>
          </a:ln>
          <a:effectLst>
            <a:outerShdw blurRad="254000" algn="ctr" rotWithShape="0">
              <a:srgbClr val="132153">
                <a:alpha val="5000"/>
              </a:srgb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pt-PT">
              <a:solidFill>
                <a:schemeClr val="tx1"/>
              </a:solidFill>
            </a:endParaRPr>
          </a:p>
        </p:txBody>
      </p:sp>
      <p:sp>
        <p:nvSpPr>
          <p:cNvPr id="8" name="Marcador de Posição do Texto 8">
            <a:extLst>
              <a:ext uri="{FF2B5EF4-FFF2-40B4-BE49-F238E27FC236}">
                <a16:creationId xmlns:a16="http://schemas.microsoft.com/office/drawing/2014/main" id="{F9CAEA87-5323-A3A3-042C-E6B4D609133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219200" y="4977216"/>
            <a:ext cx="7315200" cy="560515"/>
          </a:xfrm>
        </p:spPr>
        <p:txBody>
          <a:bodyPr>
            <a:normAutofit/>
          </a:bodyPr>
          <a:lstStyle>
            <a:lvl1pPr>
              <a:defRPr sz="2000">
                <a:solidFill>
                  <a:schemeClr val="accent2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pt-PT" dirty="0"/>
              <a:t>Insertar subtítulo del separador</a:t>
            </a:r>
          </a:p>
        </p:txBody>
      </p:sp>
      <p:sp>
        <p:nvSpPr>
          <p:cNvPr id="9" name="Marcador de Posição do Texto 8">
            <a:extLst>
              <a:ext uri="{FF2B5EF4-FFF2-40B4-BE49-F238E27FC236}">
                <a16:creationId xmlns:a16="http://schemas.microsoft.com/office/drawing/2014/main" id="{F4F36660-DA38-51BD-4DB7-7CED80CF5DC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219200" y="2418184"/>
            <a:ext cx="2105314" cy="1010432"/>
          </a:xfrm>
        </p:spPr>
        <p:txBody>
          <a:bodyPr>
            <a:noAutofit/>
          </a:bodyPr>
          <a:lstStyle>
            <a:lvl1pPr algn="ctr">
              <a:defRPr sz="8000">
                <a:solidFill>
                  <a:schemeClr val="tx1"/>
                </a:solidFill>
                <a:latin typeface="+mj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pt-PT" dirty="0"/>
              <a:t>NR</a:t>
            </a:r>
          </a:p>
        </p:txBody>
      </p:sp>
    </p:spTree>
    <p:extLst>
      <p:ext uri="{BB962C8B-B14F-4D97-AF65-F5344CB8AC3E}">
        <p14:creationId xmlns:p14="http://schemas.microsoft.com/office/powerpoint/2010/main" val="142149904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1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10" presetClass="entr" presetSubtype="0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10" presetClass="entr" presetSubtype="0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25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42" presetClass="path" presetSubtype="0" decel="100000" fill="hold" grpId="1" nodeType="withEffect">
                                  <p:stCondLst>
                                    <p:cond delay="300"/>
                                  </p:stCondLst>
                                  <p:childTnLst>
                                    <p:animMotion origin="layout" path="M 0.01666 -0.00046 L 3.75E-6 1.85185E-6 " pathEditMode="relative" rAng="0" ptsTypes="AA">
                                      <p:cBhvr>
                                        <p:cTn id="16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833" y="23"/>
                                    </p:animMotion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25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42" presetClass="path" presetSubtype="0" decel="100000" fill="hold" grpId="1" nodeType="withEffect">
                                  <p:stCondLst>
                                    <p:cond delay="300"/>
                                  </p:stCondLst>
                                  <p:childTnLst>
                                    <p:animMotion origin="layout" path="M 1.25E-6 0.03889 L 1.25E-6 1.85185E-6 " pathEditMode="relative" rAng="0" ptsTypes="AA">
                                      <p:cBhvr>
                                        <p:cTn id="21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944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6" grpId="1"/>
      <p:bldP spid="7" grpId="0" animBg="1"/>
      <p:bldP spid="8" grpId="0">
        <p:tmplLst>
          <p:tmpl>
            <p:tnLst>
              <p:par>
                <p:cTn presetID="10" presetClass="entr" presetSubtype="0" fill="hold" nodeType="withEffect">
                  <p:stCondLst>
                    <p:cond delay="3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250"/>
                        <p:tgtEl>
                          <p:spTgt spid="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8" grpId="1">
        <p:tmplLst>
          <p:tmpl>
            <p:tnLst>
              <p:par>
                <p:cTn presetID="42" presetClass="path" presetSubtype="0" decel="100000" fill="hold" nodeType="withEffect">
                  <p:stCondLst>
                    <p:cond delay="300"/>
                  </p:stCondLst>
                  <p:childTnLst>
                    <p:animMotion origin="layout" path="M 1.25E-6 0.03889 L 1.25E-6 1.85185E-6 " pathEditMode="relative" rAng="0" ptsTypes="AA">
                      <p:cBhvr>
                        <p:cTn dur="500" fill="hold"/>
                        <p:tgtEl>
                          <p:spTgt spid="8"/>
                        </p:tgtEl>
                        <p:attrNameLst>
                          <p:attrName>ppt_x</p:attrName>
                          <p:attrName>ppt_y</p:attrName>
                        </p:attrNameLst>
                      </p:cBhvr>
                      <p:rCtr x="0" y="-1944"/>
                    </p:animMotion>
                  </p:childTnLst>
                </p:cTn>
              </p:par>
            </p:tnLst>
          </p:tmpl>
        </p:tmplLst>
      </p:bldP>
      <p:bldP spid="9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3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9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5_Esquema Personalizado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m 2" descr="Uma imagem com Saturação de cores, azul, Azul elétrico, verde&#10;&#10;Os conteúdos gerados por IA podem estar incorretos.">
            <a:extLst>
              <a:ext uri="{FF2B5EF4-FFF2-40B4-BE49-F238E27FC236}">
                <a16:creationId xmlns:a16="http://schemas.microsoft.com/office/drawing/2014/main" id="{A9E42086-35D8-41A2-A018-C8D13C5DC4A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7" name="Forma livre: Forma 6">
            <a:extLst>
              <a:ext uri="{FF2B5EF4-FFF2-40B4-BE49-F238E27FC236}">
                <a16:creationId xmlns:a16="http://schemas.microsoft.com/office/drawing/2014/main" id="{76FE8077-CFEC-68AB-6436-32A3FADACFE0}"/>
              </a:ext>
            </a:extLst>
          </p:cNvPr>
          <p:cNvSpPr/>
          <p:nvPr userDrawn="1"/>
        </p:nvSpPr>
        <p:spPr>
          <a:xfrm>
            <a:off x="1219200" y="-11890"/>
            <a:ext cx="2105314" cy="3593290"/>
          </a:xfrm>
          <a:custGeom>
            <a:avLst/>
            <a:gdLst>
              <a:gd name="connsiteX0" fmla="*/ 2220906 w 2220906"/>
              <a:gd name="connsiteY0" fmla="*/ 0 h 524519"/>
              <a:gd name="connsiteX1" fmla="*/ 2220906 w 2220906"/>
              <a:gd name="connsiteY1" fmla="*/ 524457 h 524519"/>
              <a:gd name="connsiteX2" fmla="*/ 0 w 2220906"/>
              <a:gd name="connsiteY2" fmla="*/ 524519 h 524519"/>
              <a:gd name="connsiteX3" fmla="*/ 0 w 2220906"/>
              <a:gd name="connsiteY3" fmla="*/ 62 h 5245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220906" h="524519">
                <a:moveTo>
                  <a:pt x="2220906" y="0"/>
                </a:moveTo>
                <a:lnTo>
                  <a:pt x="2220906" y="524457"/>
                </a:lnTo>
                <a:lnTo>
                  <a:pt x="0" y="524519"/>
                </a:lnTo>
                <a:lnTo>
                  <a:pt x="0" y="62"/>
                </a:lnTo>
                <a:close/>
              </a:path>
            </a:pathLst>
          </a:custGeom>
          <a:solidFill>
            <a:schemeClr val="bg1"/>
          </a:solidFill>
          <a:ln w="4244" cap="flat">
            <a:noFill/>
            <a:prstDash val="solid"/>
            <a:miter/>
          </a:ln>
          <a:effectLst>
            <a:outerShdw blurRad="254000" algn="ctr" rotWithShape="0">
              <a:srgbClr val="132153">
                <a:alpha val="5000"/>
              </a:srgb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pt-PT">
              <a:solidFill>
                <a:schemeClr val="tx1"/>
              </a:solidFill>
            </a:endParaRPr>
          </a:p>
        </p:txBody>
      </p:sp>
      <p:sp>
        <p:nvSpPr>
          <p:cNvPr id="9" name="Marcador de Posição do Texto 8">
            <a:extLst>
              <a:ext uri="{FF2B5EF4-FFF2-40B4-BE49-F238E27FC236}">
                <a16:creationId xmlns:a16="http://schemas.microsoft.com/office/drawing/2014/main" id="{F4F36660-DA38-51BD-4DB7-7CED80CF5DC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219200" y="2418184"/>
            <a:ext cx="2105314" cy="1010432"/>
          </a:xfrm>
        </p:spPr>
        <p:txBody>
          <a:bodyPr>
            <a:noAutofit/>
          </a:bodyPr>
          <a:lstStyle>
            <a:lvl1pPr algn="ctr">
              <a:defRPr sz="8000">
                <a:solidFill>
                  <a:schemeClr val="tx1"/>
                </a:solidFill>
                <a:latin typeface="+mj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pt-PT" dirty="0"/>
              <a:t>NR</a:t>
            </a:r>
          </a:p>
        </p:txBody>
      </p:sp>
      <p:sp>
        <p:nvSpPr>
          <p:cNvPr id="10" name="Título 1">
            <a:extLst>
              <a:ext uri="{FF2B5EF4-FFF2-40B4-BE49-F238E27FC236}">
                <a16:creationId xmlns:a16="http://schemas.microsoft.com/office/drawing/2014/main" id="{A8AF4B32-C5AA-4242-8A73-737A9A1BE28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219200" y="3939777"/>
            <a:ext cx="7315200" cy="85328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pt-PT" dirty="0"/>
              <a:t>Insertar título</a:t>
            </a:r>
            <a:br>
              <a:rPr lang="pt-PT" dirty="0"/>
            </a:br>
            <a:r>
              <a:rPr lang="pt-PT" dirty="0"/>
              <a:t>del separador</a:t>
            </a:r>
          </a:p>
        </p:txBody>
      </p:sp>
      <p:sp>
        <p:nvSpPr>
          <p:cNvPr id="11" name="Marcador de Posição do Texto 8">
            <a:extLst>
              <a:ext uri="{FF2B5EF4-FFF2-40B4-BE49-F238E27FC236}">
                <a16:creationId xmlns:a16="http://schemas.microsoft.com/office/drawing/2014/main" id="{3E5FB332-AA48-471D-81E0-5C159A49CEA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219200" y="4977216"/>
            <a:ext cx="7315200" cy="560515"/>
          </a:xfrm>
        </p:spPr>
        <p:txBody>
          <a:bodyPr>
            <a:normAutofit/>
          </a:bodyPr>
          <a:lstStyle>
            <a:lvl1pPr>
              <a:defRPr sz="2000">
                <a:solidFill>
                  <a:schemeClr val="bg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pt-PT" dirty="0"/>
              <a:t>Insertar subtítulo del separador</a:t>
            </a:r>
          </a:p>
        </p:txBody>
      </p:sp>
    </p:spTree>
    <p:extLst>
      <p:ext uri="{BB962C8B-B14F-4D97-AF65-F5344CB8AC3E}">
        <p14:creationId xmlns:p14="http://schemas.microsoft.com/office/powerpoint/2010/main" val="180129852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1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10" presetClass="entr" presetSubtype="0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10" presetClass="entr" presetSubtype="0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25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42" presetClass="path" presetSubtype="0" decel="100000" fill="hold" grpId="1" nodeType="withEffect">
                                  <p:stCondLst>
                                    <p:cond delay="300"/>
                                  </p:stCondLst>
                                  <p:childTnLst>
                                    <p:animMotion origin="layout" path="M 0.01666 -0.00046 L 3.75E-6 1.85185E-6 " pathEditMode="relative" rAng="0" ptsTypes="AA">
                                      <p:cBhvr>
                                        <p:cTn id="16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833" y="23"/>
                                    </p:animMotion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25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42" presetClass="path" presetSubtype="0" decel="100000" fill="hold" grpId="1" nodeType="withEffect">
                                  <p:stCondLst>
                                    <p:cond delay="300"/>
                                  </p:stCondLst>
                                  <p:childTnLst>
                                    <p:animMotion origin="layout" path="M 1.25E-6 0.03889 L 1.25E-6 1.85185E-6 " pathEditMode="relative" rAng="0" ptsTypes="AA">
                                      <p:cBhvr>
                                        <p:cTn id="21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944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9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3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0" grpId="0"/>
      <p:bldP spid="10" grpId="1"/>
      <p:bldP spid="11" grpId="0">
        <p:tmplLst>
          <p:tmpl>
            <p:tnLst>
              <p:par>
                <p:cTn presetID="10" presetClass="entr" presetSubtype="0" fill="hold" nodeType="withEffect">
                  <p:stCondLst>
                    <p:cond delay="3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250"/>
                        <p:tgtEl>
                          <p:spTgt spid="1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1" grpId="1">
        <p:tmplLst>
          <p:tmpl>
            <p:tnLst>
              <p:par>
                <p:cTn presetID="42" presetClass="path" presetSubtype="0" decel="100000" fill="hold" nodeType="withEffect">
                  <p:stCondLst>
                    <p:cond delay="300"/>
                  </p:stCondLst>
                  <p:childTnLst>
                    <p:animMotion origin="layout" path="M 1.25E-6 0.03889 L 1.25E-6 1.85185E-6 " pathEditMode="relative" rAng="0" ptsTypes="AA">
                      <p:cBhvr>
                        <p:cTn dur="500" fill="hold"/>
                        <p:tgtEl>
                          <p:spTgt spid="11"/>
                        </p:tgtEl>
                        <p:attrNameLst>
                          <p:attrName>ppt_x</p:attrName>
                          <p:attrName>ppt_y</p:attrName>
                        </p:attrNameLst>
                      </p:cBhvr>
                      <p:rCtr x="0" y="-1944"/>
                    </p:animMotion>
                  </p:childTnLst>
                </p:cTn>
              </p:par>
            </p:tnLst>
          </p:tmpl>
        </p:tmplLst>
      </p:bldP>
    </p:bldLst>
  </p:timing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50" Type="http://schemas.openxmlformats.org/officeDocument/2006/relationships/slideLayout" Target="../slideLayouts/slideLayout50.xml"/><Relationship Id="rId55" Type="http://schemas.openxmlformats.org/officeDocument/2006/relationships/slideLayout" Target="../slideLayouts/slideLayout55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slideLayout" Target="../slideLayouts/slideLayout53.xml"/><Relationship Id="rId58" Type="http://schemas.openxmlformats.org/officeDocument/2006/relationships/slideLayout" Target="../slideLayouts/slideLayout58.xml"/><Relationship Id="rId5" Type="http://schemas.openxmlformats.org/officeDocument/2006/relationships/slideLayout" Target="../slideLayouts/slideLayout5.xml"/><Relationship Id="rId61" Type="http://schemas.openxmlformats.org/officeDocument/2006/relationships/slideLayout" Target="../slideLayouts/slideLayout61.xml"/><Relationship Id="rId19" Type="http://schemas.openxmlformats.org/officeDocument/2006/relationships/slideLayout" Target="../slideLayouts/slideLayout1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56" Type="http://schemas.openxmlformats.org/officeDocument/2006/relationships/slideLayout" Target="../slideLayouts/slideLayout56.xml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59" Type="http://schemas.openxmlformats.org/officeDocument/2006/relationships/slideLayout" Target="../slideLayouts/slideLayout59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54" Type="http://schemas.openxmlformats.org/officeDocument/2006/relationships/slideLayout" Target="../slideLayouts/slideLayout54.xml"/><Relationship Id="rId6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57" Type="http://schemas.openxmlformats.org/officeDocument/2006/relationships/slideLayout" Target="../slideLayouts/slideLayout57.xml"/><Relationship Id="rId10" Type="http://schemas.openxmlformats.org/officeDocument/2006/relationships/slideLayout" Target="../slideLayouts/slideLayout10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52.xml"/><Relationship Id="rId60" Type="http://schemas.openxmlformats.org/officeDocument/2006/relationships/slideLayout" Target="../slideLayouts/slideLayout6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Posição do Título 1">
            <a:extLst>
              <a:ext uri="{FF2B5EF4-FFF2-40B4-BE49-F238E27FC236}">
                <a16:creationId xmlns:a16="http://schemas.microsoft.com/office/drawing/2014/main" id="{CEB09949-DA0C-5339-5822-56AF7C52CCC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pt-PT" dirty="0"/>
              <a:t>Haz click para editar el estilo de título del modelo global</a:t>
            </a:r>
          </a:p>
        </p:txBody>
      </p:sp>
      <p:sp>
        <p:nvSpPr>
          <p:cNvPr id="3" name="Marcador de Posição do Texto 2">
            <a:extLst>
              <a:ext uri="{FF2B5EF4-FFF2-40B4-BE49-F238E27FC236}">
                <a16:creationId xmlns:a16="http://schemas.microsoft.com/office/drawing/2014/main" id="{1D04B0D9-1B89-110A-2E38-A9492F070F9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t-PT" dirty="0"/>
              <a:t>Haz click para editar los estilos del texto del modelo global</a:t>
            </a:r>
          </a:p>
          <a:p>
            <a:pPr lvl="1"/>
            <a:r>
              <a:rPr lang="pt-PT" dirty="0"/>
              <a:t>Segundo nivel</a:t>
            </a:r>
          </a:p>
          <a:p>
            <a:pPr lvl="2"/>
            <a:r>
              <a:rPr lang="pt-PT" dirty="0"/>
              <a:t>Tercer nivel</a:t>
            </a:r>
          </a:p>
          <a:p>
            <a:pPr lvl="3"/>
            <a:r>
              <a:rPr lang="pt-PT" dirty="0"/>
              <a:t>Cuarto nivel</a:t>
            </a:r>
          </a:p>
          <a:p>
            <a:pPr lvl="4"/>
            <a:r>
              <a:rPr lang="pt-PT" dirty="0"/>
              <a:t>Quinto nivel</a:t>
            </a:r>
          </a:p>
        </p:txBody>
      </p:sp>
      <p:sp>
        <p:nvSpPr>
          <p:cNvPr id="4" name="Marcador de Posição da Data 3">
            <a:extLst>
              <a:ext uri="{FF2B5EF4-FFF2-40B4-BE49-F238E27FC236}">
                <a16:creationId xmlns:a16="http://schemas.microsoft.com/office/drawing/2014/main" id="{DAD4BB1B-DD06-B092-DC34-C00507EC4AD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accent2"/>
                </a:solidFill>
              </a:defRPr>
            </a:lvl1pPr>
          </a:lstStyle>
          <a:p>
            <a:endParaRPr lang="pt-PT" dirty="0"/>
          </a:p>
        </p:txBody>
      </p:sp>
      <p:sp>
        <p:nvSpPr>
          <p:cNvPr id="5" name="Marcador de Posição do Rodapé 4">
            <a:extLst>
              <a:ext uri="{FF2B5EF4-FFF2-40B4-BE49-F238E27FC236}">
                <a16:creationId xmlns:a16="http://schemas.microsoft.com/office/drawing/2014/main" id="{1EFCDB00-9A3B-274C-A88F-061B8DAC4D9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accent2"/>
                </a:solidFill>
              </a:defRPr>
            </a:lvl1pPr>
          </a:lstStyle>
          <a:p>
            <a:r>
              <a:rPr lang="pt-PT"/>
              <a:t>Título de la presentación</a:t>
            </a:r>
          </a:p>
        </p:txBody>
      </p:sp>
      <p:sp>
        <p:nvSpPr>
          <p:cNvPr id="6" name="Marcador de Posição do Número do Diapositivo 5">
            <a:extLst>
              <a:ext uri="{FF2B5EF4-FFF2-40B4-BE49-F238E27FC236}">
                <a16:creationId xmlns:a16="http://schemas.microsoft.com/office/drawing/2014/main" id="{F0466C23-C1D5-DA93-95DF-0D83BC6FC37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accent2"/>
                </a:solidFill>
              </a:defRPr>
            </a:lvl1pPr>
          </a:lstStyle>
          <a:p>
            <a:fld id="{24A347C2-D68E-473A-8C76-1D063E4EB6E0}" type="slidenum">
              <a:rPr lang="pt-PT" smtClean="0"/>
              <a:pPr/>
              <a:t>‹Nº›</a:t>
            </a:fld>
            <a:endParaRPr lang="pt-PT"/>
          </a:p>
        </p:txBody>
      </p:sp>
      <p:grpSp>
        <p:nvGrpSpPr>
          <p:cNvPr id="36" name="Gráfico 1">
            <a:extLst>
              <a:ext uri="{FF2B5EF4-FFF2-40B4-BE49-F238E27FC236}">
                <a16:creationId xmlns:a16="http://schemas.microsoft.com/office/drawing/2014/main" id="{0DB9D22A-4B14-4F99-A2C2-51861BAA0147}"/>
              </a:ext>
            </a:extLst>
          </p:cNvPr>
          <p:cNvGrpSpPr/>
          <p:nvPr userDrawn="1"/>
        </p:nvGrpSpPr>
        <p:grpSpPr>
          <a:xfrm>
            <a:off x="10552387" y="277601"/>
            <a:ext cx="1317128" cy="139616"/>
            <a:chOff x="9964420" y="593345"/>
            <a:chExt cx="1678940" cy="177968"/>
          </a:xfrm>
        </p:grpSpPr>
        <p:sp>
          <p:nvSpPr>
            <p:cNvPr id="37" name="Forma libre: forma 36">
              <a:extLst>
                <a:ext uri="{FF2B5EF4-FFF2-40B4-BE49-F238E27FC236}">
                  <a16:creationId xmlns:a16="http://schemas.microsoft.com/office/drawing/2014/main" id="{9ECD225A-DAD6-484A-B3BA-D603ECFFCDE8}"/>
                </a:ext>
              </a:extLst>
            </p:cNvPr>
            <p:cNvSpPr/>
            <p:nvPr/>
          </p:nvSpPr>
          <p:spPr>
            <a:xfrm>
              <a:off x="10486514" y="592550"/>
              <a:ext cx="179087" cy="179087"/>
            </a:xfrm>
            <a:custGeom>
              <a:avLst/>
              <a:gdLst>
                <a:gd name="connsiteX0" fmla="*/ 839 w 179086"/>
                <a:gd name="connsiteY0" fmla="*/ 90059 h 179087"/>
                <a:gd name="connsiteX1" fmla="*/ 90058 w 179086"/>
                <a:gd name="connsiteY1" fmla="*/ 839 h 179087"/>
                <a:gd name="connsiteX2" fmla="*/ 179277 w 179086"/>
                <a:gd name="connsiteY2" fmla="*/ 90059 h 179087"/>
                <a:gd name="connsiteX3" fmla="*/ 90058 w 179086"/>
                <a:gd name="connsiteY3" fmla="*/ 179278 h 179087"/>
                <a:gd name="connsiteX4" fmla="*/ 90047 w 179086"/>
                <a:gd name="connsiteY4" fmla="*/ 179278 h 179087"/>
                <a:gd name="connsiteX5" fmla="*/ 839 w 179086"/>
                <a:gd name="connsiteY5" fmla="*/ 90070 h 179087"/>
                <a:gd name="connsiteX6" fmla="*/ 839 w 179086"/>
                <a:gd name="connsiteY6" fmla="*/ 90070 h 179087"/>
                <a:gd name="connsiteX7" fmla="*/ 90047 w 179086"/>
                <a:gd name="connsiteY7" fmla="*/ 150265 h 179087"/>
                <a:gd name="connsiteX8" fmla="*/ 150276 w 179086"/>
                <a:gd name="connsiteY8" fmla="*/ 90059 h 179087"/>
                <a:gd name="connsiteX9" fmla="*/ 90070 w 179086"/>
                <a:gd name="connsiteY9" fmla="*/ 29829 h 179087"/>
                <a:gd name="connsiteX10" fmla="*/ 29840 w 179086"/>
                <a:gd name="connsiteY10" fmla="*/ 90036 h 179087"/>
                <a:gd name="connsiteX11" fmla="*/ 29840 w 179086"/>
                <a:gd name="connsiteY11" fmla="*/ 90059 h 179087"/>
                <a:gd name="connsiteX12" fmla="*/ 90047 w 179086"/>
                <a:gd name="connsiteY12" fmla="*/ 150265 h 1790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79086" h="179087">
                  <a:moveTo>
                    <a:pt x="839" y="90059"/>
                  </a:moveTo>
                  <a:cubicBezTo>
                    <a:pt x="839" y="40787"/>
                    <a:pt x="40787" y="839"/>
                    <a:pt x="90058" y="839"/>
                  </a:cubicBezTo>
                  <a:cubicBezTo>
                    <a:pt x="139330" y="839"/>
                    <a:pt x="179277" y="40787"/>
                    <a:pt x="179277" y="90059"/>
                  </a:cubicBezTo>
                  <a:cubicBezTo>
                    <a:pt x="179277" y="139330"/>
                    <a:pt x="139330" y="179278"/>
                    <a:pt x="90058" y="179278"/>
                  </a:cubicBezTo>
                  <a:lnTo>
                    <a:pt x="90047" y="179278"/>
                  </a:lnTo>
                  <a:cubicBezTo>
                    <a:pt x="40776" y="179278"/>
                    <a:pt x="839" y="139341"/>
                    <a:pt x="839" y="90070"/>
                  </a:cubicBezTo>
                  <a:lnTo>
                    <a:pt x="839" y="90070"/>
                  </a:lnTo>
                  <a:moveTo>
                    <a:pt x="90047" y="150265"/>
                  </a:moveTo>
                  <a:cubicBezTo>
                    <a:pt x="123301" y="150265"/>
                    <a:pt x="150265" y="123313"/>
                    <a:pt x="150276" y="90059"/>
                  </a:cubicBezTo>
                  <a:cubicBezTo>
                    <a:pt x="150276" y="56804"/>
                    <a:pt x="123324" y="29840"/>
                    <a:pt x="90070" y="29829"/>
                  </a:cubicBezTo>
                  <a:cubicBezTo>
                    <a:pt x="56815" y="29829"/>
                    <a:pt x="29852" y="56782"/>
                    <a:pt x="29840" y="90036"/>
                  </a:cubicBezTo>
                  <a:lnTo>
                    <a:pt x="29840" y="90059"/>
                  </a:lnTo>
                  <a:cubicBezTo>
                    <a:pt x="29840" y="123313"/>
                    <a:pt x="56793" y="150265"/>
                    <a:pt x="90047" y="150265"/>
                  </a:cubicBezTo>
                </a:path>
              </a:pathLst>
            </a:custGeom>
            <a:solidFill>
              <a:srgbClr val="184B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38" name="Forma libre: forma 37">
              <a:extLst>
                <a:ext uri="{FF2B5EF4-FFF2-40B4-BE49-F238E27FC236}">
                  <a16:creationId xmlns:a16="http://schemas.microsoft.com/office/drawing/2014/main" id="{7448ADD4-E9F9-41A6-A14B-ABFCB5644346}"/>
                </a:ext>
              </a:extLst>
            </p:cNvPr>
            <p:cNvSpPr/>
            <p:nvPr/>
          </p:nvSpPr>
          <p:spPr>
            <a:xfrm>
              <a:off x="10123057" y="594856"/>
              <a:ext cx="30221" cy="174610"/>
            </a:xfrm>
            <a:custGeom>
              <a:avLst/>
              <a:gdLst>
                <a:gd name="connsiteX0" fmla="*/ 29796 w 30220"/>
                <a:gd name="connsiteY0" fmla="*/ 839 h 174610"/>
                <a:gd name="connsiteX1" fmla="*/ 29796 w 30220"/>
                <a:gd name="connsiteY1" fmla="*/ 839 h 174610"/>
                <a:gd name="connsiteX2" fmla="*/ 29796 w 30220"/>
                <a:gd name="connsiteY2" fmla="*/ 174644 h 174610"/>
                <a:gd name="connsiteX3" fmla="*/ 839 w 30220"/>
                <a:gd name="connsiteY3" fmla="*/ 174644 h 174610"/>
                <a:gd name="connsiteX4" fmla="*/ 839 w 30220"/>
                <a:gd name="connsiteY4" fmla="*/ 29807 h 174610"/>
                <a:gd name="connsiteX5" fmla="*/ 29796 w 30220"/>
                <a:gd name="connsiteY5" fmla="*/ 839 h 1746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0220" h="174610">
                  <a:moveTo>
                    <a:pt x="29796" y="839"/>
                  </a:moveTo>
                  <a:lnTo>
                    <a:pt x="29796" y="839"/>
                  </a:lnTo>
                  <a:lnTo>
                    <a:pt x="29796" y="174644"/>
                  </a:lnTo>
                  <a:lnTo>
                    <a:pt x="839" y="174644"/>
                  </a:lnTo>
                  <a:lnTo>
                    <a:pt x="839" y="29807"/>
                  </a:lnTo>
                  <a:cubicBezTo>
                    <a:pt x="839" y="13812"/>
                    <a:pt x="13801" y="851"/>
                    <a:pt x="29796" y="839"/>
                  </a:cubicBezTo>
                </a:path>
              </a:pathLst>
            </a:custGeom>
            <a:solidFill>
              <a:srgbClr val="184B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39" name="Forma libre: forma 38">
              <a:extLst>
                <a:ext uri="{FF2B5EF4-FFF2-40B4-BE49-F238E27FC236}">
                  <a16:creationId xmlns:a16="http://schemas.microsoft.com/office/drawing/2014/main" id="{A1DFC2A9-8A26-4F18-B346-EF53D8FF6B17}"/>
                </a:ext>
              </a:extLst>
            </p:cNvPr>
            <p:cNvSpPr/>
            <p:nvPr/>
          </p:nvSpPr>
          <p:spPr>
            <a:xfrm>
              <a:off x="11255178" y="594856"/>
              <a:ext cx="30221" cy="174610"/>
            </a:xfrm>
            <a:custGeom>
              <a:avLst/>
              <a:gdLst>
                <a:gd name="connsiteX0" fmla="*/ 29796 w 30220"/>
                <a:gd name="connsiteY0" fmla="*/ 839 h 174610"/>
                <a:gd name="connsiteX1" fmla="*/ 29796 w 30220"/>
                <a:gd name="connsiteY1" fmla="*/ 839 h 174610"/>
                <a:gd name="connsiteX2" fmla="*/ 29796 w 30220"/>
                <a:gd name="connsiteY2" fmla="*/ 174644 h 174610"/>
                <a:gd name="connsiteX3" fmla="*/ 839 w 30220"/>
                <a:gd name="connsiteY3" fmla="*/ 174644 h 174610"/>
                <a:gd name="connsiteX4" fmla="*/ 839 w 30220"/>
                <a:gd name="connsiteY4" fmla="*/ 29807 h 174610"/>
                <a:gd name="connsiteX5" fmla="*/ 29785 w 30220"/>
                <a:gd name="connsiteY5" fmla="*/ 839 h 174610"/>
                <a:gd name="connsiteX6" fmla="*/ 29796 w 30220"/>
                <a:gd name="connsiteY6" fmla="*/ 839 h 1746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0220" h="174610">
                  <a:moveTo>
                    <a:pt x="29796" y="839"/>
                  </a:moveTo>
                  <a:lnTo>
                    <a:pt x="29796" y="839"/>
                  </a:lnTo>
                  <a:lnTo>
                    <a:pt x="29796" y="174644"/>
                  </a:lnTo>
                  <a:lnTo>
                    <a:pt x="839" y="174644"/>
                  </a:lnTo>
                  <a:lnTo>
                    <a:pt x="839" y="29807"/>
                  </a:lnTo>
                  <a:cubicBezTo>
                    <a:pt x="839" y="13812"/>
                    <a:pt x="13790" y="851"/>
                    <a:pt x="29785" y="839"/>
                  </a:cubicBezTo>
                  <a:lnTo>
                    <a:pt x="29796" y="839"/>
                  </a:lnTo>
                </a:path>
              </a:pathLst>
            </a:custGeom>
            <a:solidFill>
              <a:srgbClr val="184B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40" name="Forma libre: forma 39">
              <a:extLst>
                <a:ext uri="{FF2B5EF4-FFF2-40B4-BE49-F238E27FC236}">
                  <a16:creationId xmlns:a16="http://schemas.microsoft.com/office/drawing/2014/main" id="{45318101-443B-4042-AA9E-85823478F519}"/>
                </a:ext>
              </a:extLst>
            </p:cNvPr>
            <p:cNvSpPr/>
            <p:nvPr/>
          </p:nvSpPr>
          <p:spPr>
            <a:xfrm>
              <a:off x="11081374" y="594867"/>
              <a:ext cx="145508" cy="174610"/>
            </a:xfrm>
            <a:custGeom>
              <a:avLst/>
              <a:gdLst>
                <a:gd name="connsiteX0" fmla="*/ 10197 w 145508"/>
                <a:gd name="connsiteY0" fmla="*/ 839 h 174610"/>
                <a:gd name="connsiteX1" fmla="*/ 839 w 145508"/>
                <a:gd name="connsiteY1" fmla="*/ 29796 h 174610"/>
                <a:gd name="connsiteX2" fmla="*/ 58774 w 145508"/>
                <a:gd name="connsiteY2" fmla="*/ 29796 h 174610"/>
                <a:gd name="connsiteX3" fmla="*/ 58774 w 145508"/>
                <a:gd name="connsiteY3" fmla="*/ 174633 h 174610"/>
                <a:gd name="connsiteX4" fmla="*/ 87741 w 145508"/>
                <a:gd name="connsiteY4" fmla="*/ 174633 h 174610"/>
                <a:gd name="connsiteX5" fmla="*/ 87741 w 145508"/>
                <a:gd name="connsiteY5" fmla="*/ 29796 h 174610"/>
                <a:gd name="connsiteX6" fmla="*/ 116709 w 145508"/>
                <a:gd name="connsiteY6" fmla="*/ 29796 h 174610"/>
                <a:gd name="connsiteX7" fmla="*/ 145676 w 145508"/>
                <a:gd name="connsiteY7" fmla="*/ 839 h 174610"/>
                <a:gd name="connsiteX8" fmla="*/ 10197 w 145508"/>
                <a:gd name="connsiteY8" fmla="*/ 839 h 1746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5508" h="174610">
                  <a:moveTo>
                    <a:pt x="10197" y="839"/>
                  </a:moveTo>
                  <a:lnTo>
                    <a:pt x="839" y="29796"/>
                  </a:lnTo>
                  <a:lnTo>
                    <a:pt x="58774" y="29796"/>
                  </a:lnTo>
                  <a:lnTo>
                    <a:pt x="58774" y="174633"/>
                  </a:lnTo>
                  <a:lnTo>
                    <a:pt x="87741" y="174633"/>
                  </a:lnTo>
                  <a:lnTo>
                    <a:pt x="87741" y="29796"/>
                  </a:lnTo>
                  <a:lnTo>
                    <a:pt x="116709" y="29796"/>
                  </a:lnTo>
                  <a:cubicBezTo>
                    <a:pt x="132703" y="29796"/>
                    <a:pt x="145665" y="16834"/>
                    <a:pt x="145676" y="839"/>
                  </a:cubicBezTo>
                  <a:lnTo>
                    <a:pt x="10197" y="839"/>
                  </a:lnTo>
                  <a:close/>
                </a:path>
              </a:pathLst>
            </a:custGeom>
            <a:solidFill>
              <a:srgbClr val="184B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41" name="Forma libre: forma 40">
              <a:extLst>
                <a:ext uri="{FF2B5EF4-FFF2-40B4-BE49-F238E27FC236}">
                  <a16:creationId xmlns:a16="http://schemas.microsoft.com/office/drawing/2014/main" id="{A9538235-2927-482F-8E86-803847950D15}"/>
                </a:ext>
              </a:extLst>
            </p:cNvPr>
            <p:cNvSpPr/>
            <p:nvPr/>
          </p:nvSpPr>
          <p:spPr>
            <a:xfrm>
              <a:off x="10185044" y="594856"/>
              <a:ext cx="116407" cy="174610"/>
            </a:xfrm>
            <a:custGeom>
              <a:avLst/>
              <a:gdLst>
                <a:gd name="connsiteX0" fmla="*/ 29785 w 116406"/>
                <a:gd name="connsiteY0" fmla="*/ 145676 h 174610"/>
                <a:gd name="connsiteX1" fmla="*/ 29785 w 116406"/>
                <a:gd name="connsiteY1" fmla="*/ 839 h 174610"/>
                <a:gd name="connsiteX2" fmla="*/ 840 w 116406"/>
                <a:gd name="connsiteY2" fmla="*/ 839 h 174610"/>
                <a:gd name="connsiteX3" fmla="*/ 840 w 116406"/>
                <a:gd name="connsiteY3" fmla="*/ 145676 h 174610"/>
                <a:gd name="connsiteX4" fmla="*/ 840 w 116406"/>
                <a:gd name="connsiteY4" fmla="*/ 145676 h 174610"/>
                <a:gd name="connsiteX5" fmla="*/ 1959 w 116406"/>
                <a:gd name="connsiteY5" fmla="*/ 153780 h 174610"/>
                <a:gd name="connsiteX6" fmla="*/ 2093 w 116406"/>
                <a:gd name="connsiteY6" fmla="*/ 154284 h 174610"/>
                <a:gd name="connsiteX7" fmla="*/ 2351 w 116406"/>
                <a:gd name="connsiteY7" fmla="*/ 155000 h 174610"/>
                <a:gd name="connsiteX8" fmla="*/ 3112 w 116406"/>
                <a:gd name="connsiteY8" fmla="*/ 157037 h 174610"/>
                <a:gd name="connsiteX9" fmla="*/ 7164 w 116406"/>
                <a:gd name="connsiteY9" fmla="*/ 163753 h 174610"/>
                <a:gd name="connsiteX10" fmla="*/ 17170 w 116406"/>
                <a:gd name="connsiteY10" fmla="*/ 171711 h 174610"/>
                <a:gd name="connsiteX11" fmla="*/ 29762 w 116406"/>
                <a:gd name="connsiteY11" fmla="*/ 174621 h 174610"/>
                <a:gd name="connsiteX12" fmla="*/ 106994 w 116406"/>
                <a:gd name="connsiteY12" fmla="*/ 174621 h 174610"/>
                <a:gd name="connsiteX13" fmla="*/ 116642 w 116406"/>
                <a:gd name="connsiteY13" fmla="*/ 145654 h 174610"/>
                <a:gd name="connsiteX14" fmla="*/ 29785 w 116406"/>
                <a:gd name="connsiteY14" fmla="*/ 145676 h 1746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16406" h="174610">
                  <a:moveTo>
                    <a:pt x="29785" y="145676"/>
                  </a:moveTo>
                  <a:lnTo>
                    <a:pt x="29785" y="839"/>
                  </a:lnTo>
                  <a:lnTo>
                    <a:pt x="840" y="839"/>
                  </a:lnTo>
                  <a:lnTo>
                    <a:pt x="840" y="145676"/>
                  </a:lnTo>
                  <a:lnTo>
                    <a:pt x="840" y="145676"/>
                  </a:lnTo>
                  <a:cubicBezTo>
                    <a:pt x="829" y="148419"/>
                    <a:pt x="1198" y="151150"/>
                    <a:pt x="1959" y="153780"/>
                  </a:cubicBezTo>
                  <a:cubicBezTo>
                    <a:pt x="2015" y="153948"/>
                    <a:pt x="2037" y="154127"/>
                    <a:pt x="2093" y="154284"/>
                  </a:cubicBezTo>
                  <a:cubicBezTo>
                    <a:pt x="2149" y="154440"/>
                    <a:pt x="2272" y="154765"/>
                    <a:pt x="2351" y="155000"/>
                  </a:cubicBezTo>
                  <a:cubicBezTo>
                    <a:pt x="2586" y="155694"/>
                    <a:pt x="2832" y="156377"/>
                    <a:pt x="3112" y="157037"/>
                  </a:cubicBezTo>
                  <a:cubicBezTo>
                    <a:pt x="4153" y="159455"/>
                    <a:pt x="5518" y="161705"/>
                    <a:pt x="7164" y="163753"/>
                  </a:cubicBezTo>
                  <a:cubicBezTo>
                    <a:pt x="9872" y="167111"/>
                    <a:pt x="13286" y="169831"/>
                    <a:pt x="17170" y="171711"/>
                  </a:cubicBezTo>
                  <a:cubicBezTo>
                    <a:pt x="21099" y="173614"/>
                    <a:pt x="25397" y="174610"/>
                    <a:pt x="29762" y="174621"/>
                  </a:cubicBezTo>
                  <a:lnTo>
                    <a:pt x="106994" y="174621"/>
                  </a:lnTo>
                  <a:lnTo>
                    <a:pt x="116642" y="145654"/>
                  </a:lnTo>
                  <a:lnTo>
                    <a:pt x="29785" y="145676"/>
                  </a:lnTo>
                  <a:close/>
                </a:path>
              </a:pathLst>
            </a:custGeom>
            <a:solidFill>
              <a:srgbClr val="184B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42" name="Forma libre: forma 41">
              <a:extLst>
                <a:ext uri="{FF2B5EF4-FFF2-40B4-BE49-F238E27FC236}">
                  <a16:creationId xmlns:a16="http://schemas.microsoft.com/office/drawing/2014/main" id="{112E93D0-A8BE-4ECF-8B1D-43D649D69F78}"/>
                </a:ext>
              </a:extLst>
            </p:cNvPr>
            <p:cNvSpPr/>
            <p:nvPr/>
          </p:nvSpPr>
          <p:spPr>
            <a:xfrm>
              <a:off x="9963581" y="594923"/>
              <a:ext cx="132077" cy="174610"/>
            </a:xfrm>
            <a:custGeom>
              <a:avLst/>
              <a:gdLst>
                <a:gd name="connsiteX0" fmla="*/ 112758 w 132076"/>
                <a:gd name="connsiteY0" fmla="*/ 56704 h 174610"/>
                <a:gd name="connsiteX1" fmla="*/ 112758 w 132076"/>
                <a:gd name="connsiteY1" fmla="*/ 39343 h 174610"/>
                <a:gd name="connsiteX2" fmla="*/ 74243 w 132076"/>
                <a:gd name="connsiteY2" fmla="*/ 839 h 174610"/>
                <a:gd name="connsiteX3" fmla="*/ 839 w 132076"/>
                <a:gd name="connsiteY3" fmla="*/ 839 h 174610"/>
                <a:gd name="connsiteX4" fmla="*/ 839 w 132076"/>
                <a:gd name="connsiteY4" fmla="*/ 145564 h 174610"/>
                <a:gd name="connsiteX5" fmla="*/ 29796 w 132076"/>
                <a:gd name="connsiteY5" fmla="*/ 174532 h 174610"/>
                <a:gd name="connsiteX6" fmla="*/ 73280 w 132076"/>
                <a:gd name="connsiteY6" fmla="*/ 174532 h 174610"/>
                <a:gd name="connsiteX7" fmla="*/ 131349 w 132076"/>
                <a:gd name="connsiteY7" fmla="*/ 122955 h 174610"/>
                <a:gd name="connsiteX8" fmla="*/ 83074 w 132076"/>
                <a:gd name="connsiteY8" fmla="*/ 73068 h 174610"/>
                <a:gd name="connsiteX9" fmla="*/ 30098 w 132076"/>
                <a:gd name="connsiteY9" fmla="*/ 73191 h 174610"/>
                <a:gd name="connsiteX10" fmla="*/ 58427 w 132076"/>
                <a:gd name="connsiteY10" fmla="*/ 101520 h 174610"/>
                <a:gd name="connsiteX11" fmla="*/ 58517 w 132076"/>
                <a:gd name="connsiteY11" fmla="*/ 101520 h 174610"/>
                <a:gd name="connsiteX12" fmla="*/ 80667 w 132076"/>
                <a:gd name="connsiteY12" fmla="*/ 101520 h 174610"/>
                <a:gd name="connsiteX13" fmla="*/ 104419 w 132076"/>
                <a:gd name="connsiteY13" fmla="*/ 122451 h 174610"/>
                <a:gd name="connsiteX14" fmla="*/ 83488 w 132076"/>
                <a:gd name="connsiteY14" fmla="*/ 146202 h 174610"/>
                <a:gd name="connsiteX15" fmla="*/ 80656 w 132076"/>
                <a:gd name="connsiteY15" fmla="*/ 146202 h 174610"/>
                <a:gd name="connsiteX16" fmla="*/ 29818 w 132076"/>
                <a:gd name="connsiteY16" fmla="*/ 146202 h 174610"/>
                <a:gd name="connsiteX17" fmla="*/ 29818 w 132076"/>
                <a:gd name="connsiteY17" fmla="*/ 29146 h 174610"/>
                <a:gd name="connsiteX18" fmla="*/ 64404 w 132076"/>
                <a:gd name="connsiteY18" fmla="*/ 29146 h 174610"/>
                <a:gd name="connsiteX19" fmla="*/ 84372 w 132076"/>
                <a:gd name="connsiteY19" fmla="*/ 49103 h 174610"/>
                <a:gd name="connsiteX20" fmla="*/ 84372 w 132076"/>
                <a:gd name="connsiteY20" fmla="*/ 73034 h 174610"/>
                <a:gd name="connsiteX21" fmla="*/ 112758 w 132076"/>
                <a:gd name="connsiteY21" fmla="*/ 56704 h 1746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32076" h="174610">
                  <a:moveTo>
                    <a:pt x="112758" y="56704"/>
                  </a:moveTo>
                  <a:lnTo>
                    <a:pt x="112758" y="39343"/>
                  </a:lnTo>
                  <a:cubicBezTo>
                    <a:pt x="112758" y="18077"/>
                    <a:pt x="95509" y="839"/>
                    <a:pt x="74243" y="839"/>
                  </a:cubicBezTo>
                  <a:lnTo>
                    <a:pt x="839" y="839"/>
                  </a:lnTo>
                  <a:lnTo>
                    <a:pt x="839" y="145564"/>
                  </a:lnTo>
                  <a:cubicBezTo>
                    <a:pt x="839" y="161559"/>
                    <a:pt x="13801" y="174521"/>
                    <a:pt x="29796" y="174532"/>
                  </a:cubicBezTo>
                  <a:lnTo>
                    <a:pt x="73280" y="174532"/>
                  </a:lnTo>
                  <a:cubicBezTo>
                    <a:pt x="111191" y="174532"/>
                    <a:pt x="131349" y="151027"/>
                    <a:pt x="131349" y="122955"/>
                  </a:cubicBezTo>
                  <a:cubicBezTo>
                    <a:pt x="131349" y="99920"/>
                    <a:pt x="115679" y="73068"/>
                    <a:pt x="83074" y="73068"/>
                  </a:cubicBezTo>
                  <a:lnTo>
                    <a:pt x="30098" y="73191"/>
                  </a:lnTo>
                  <a:cubicBezTo>
                    <a:pt x="30098" y="88838"/>
                    <a:pt x="42779" y="101520"/>
                    <a:pt x="58427" y="101520"/>
                  </a:cubicBezTo>
                  <a:cubicBezTo>
                    <a:pt x="58461" y="101520"/>
                    <a:pt x="58483" y="101520"/>
                    <a:pt x="58517" y="101520"/>
                  </a:cubicBezTo>
                  <a:lnTo>
                    <a:pt x="80667" y="101520"/>
                  </a:lnTo>
                  <a:cubicBezTo>
                    <a:pt x="93002" y="100737"/>
                    <a:pt x="103647" y="110105"/>
                    <a:pt x="104419" y="122451"/>
                  </a:cubicBezTo>
                  <a:cubicBezTo>
                    <a:pt x="105202" y="134786"/>
                    <a:pt x="95834" y="145430"/>
                    <a:pt x="83488" y="146202"/>
                  </a:cubicBezTo>
                  <a:cubicBezTo>
                    <a:pt x="82548" y="146258"/>
                    <a:pt x="81596" y="146258"/>
                    <a:pt x="80656" y="146202"/>
                  </a:cubicBezTo>
                  <a:lnTo>
                    <a:pt x="29818" y="146202"/>
                  </a:lnTo>
                  <a:lnTo>
                    <a:pt x="29818" y="29146"/>
                  </a:lnTo>
                  <a:lnTo>
                    <a:pt x="64404" y="29146"/>
                  </a:lnTo>
                  <a:cubicBezTo>
                    <a:pt x="75328" y="29393"/>
                    <a:pt x="84126" y="38179"/>
                    <a:pt x="84372" y="49103"/>
                  </a:cubicBezTo>
                  <a:lnTo>
                    <a:pt x="84372" y="73034"/>
                  </a:lnTo>
                  <a:lnTo>
                    <a:pt x="112758" y="56704"/>
                  </a:lnTo>
                  <a:close/>
                </a:path>
              </a:pathLst>
            </a:custGeom>
            <a:solidFill>
              <a:srgbClr val="184B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43" name="Forma libre: forma 42">
              <a:extLst>
                <a:ext uri="{FF2B5EF4-FFF2-40B4-BE49-F238E27FC236}">
                  <a16:creationId xmlns:a16="http://schemas.microsoft.com/office/drawing/2014/main" id="{DA4E83CD-2503-4E70-9383-3D5EBFE603DD}"/>
                </a:ext>
              </a:extLst>
            </p:cNvPr>
            <p:cNvSpPr/>
            <p:nvPr/>
          </p:nvSpPr>
          <p:spPr>
            <a:xfrm>
              <a:off x="10329869" y="594923"/>
              <a:ext cx="132077" cy="174610"/>
            </a:xfrm>
            <a:custGeom>
              <a:avLst/>
              <a:gdLst>
                <a:gd name="connsiteX0" fmla="*/ 112769 w 132076"/>
                <a:gd name="connsiteY0" fmla="*/ 56704 h 174610"/>
                <a:gd name="connsiteX1" fmla="*/ 112769 w 132076"/>
                <a:gd name="connsiteY1" fmla="*/ 39343 h 174610"/>
                <a:gd name="connsiteX2" fmla="*/ 74254 w 132076"/>
                <a:gd name="connsiteY2" fmla="*/ 839 h 174610"/>
                <a:gd name="connsiteX3" fmla="*/ 839 w 132076"/>
                <a:gd name="connsiteY3" fmla="*/ 839 h 174610"/>
                <a:gd name="connsiteX4" fmla="*/ 839 w 132076"/>
                <a:gd name="connsiteY4" fmla="*/ 145564 h 174610"/>
                <a:gd name="connsiteX5" fmla="*/ 29807 w 132076"/>
                <a:gd name="connsiteY5" fmla="*/ 174532 h 174610"/>
                <a:gd name="connsiteX6" fmla="*/ 73291 w 132076"/>
                <a:gd name="connsiteY6" fmla="*/ 174532 h 174610"/>
                <a:gd name="connsiteX7" fmla="*/ 131349 w 132076"/>
                <a:gd name="connsiteY7" fmla="*/ 122955 h 174610"/>
                <a:gd name="connsiteX8" fmla="*/ 83085 w 132076"/>
                <a:gd name="connsiteY8" fmla="*/ 73068 h 174610"/>
                <a:gd name="connsiteX9" fmla="*/ 30109 w 132076"/>
                <a:gd name="connsiteY9" fmla="*/ 73191 h 174610"/>
                <a:gd name="connsiteX10" fmla="*/ 58438 w 132076"/>
                <a:gd name="connsiteY10" fmla="*/ 101520 h 174610"/>
                <a:gd name="connsiteX11" fmla="*/ 58517 w 132076"/>
                <a:gd name="connsiteY11" fmla="*/ 101520 h 174610"/>
                <a:gd name="connsiteX12" fmla="*/ 80679 w 132076"/>
                <a:gd name="connsiteY12" fmla="*/ 101520 h 174610"/>
                <a:gd name="connsiteX13" fmla="*/ 101609 w 132076"/>
                <a:gd name="connsiteY13" fmla="*/ 125272 h 174610"/>
                <a:gd name="connsiteX14" fmla="*/ 80679 w 132076"/>
                <a:gd name="connsiteY14" fmla="*/ 146202 h 174610"/>
                <a:gd name="connsiteX15" fmla="*/ 29829 w 132076"/>
                <a:gd name="connsiteY15" fmla="*/ 146202 h 174610"/>
                <a:gd name="connsiteX16" fmla="*/ 29829 w 132076"/>
                <a:gd name="connsiteY16" fmla="*/ 29146 h 174610"/>
                <a:gd name="connsiteX17" fmla="*/ 64415 w 132076"/>
                <a:gd name="connsiteY17" fmla="*/ 29146 h 174610"/>
                <a:gd name="connsiteX18" fmla="*/ 84384 w 132076"/>
                <a:gd name="connsiteY18" fmla="*/ 49103 h 174610"/>
                <a:gd name="connsiteX19" fmla="*/ 84384 w 132076"/>
                <a:gd name="connsiteY19" fmla="*/ 73034 h 174610"/>
                <a:gd name="connsiteX20" fmla="*/ 112769 w 132076"/>
                <a:gd name="connsiteY20" fmla="*/ 56704 h 1746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32076" h="174610">
                  <a:moveTo>
                    <a:pt x="112769" y="56704"/>
                  </a:moveTo>
                  <a:lnTo>
                    <a:pt x="112769" y="39343"/>
                  </a:lnTo>
                  <a:cubicBezTo>
                    <a:pt x="112769" y="18077"/>
                    <a:pt x="95520" y="839"/>
                    <a:pt x="74254" y="839"/>
                  </a:cubicBezTo>
                  <a:lnTo>
                    <a:pt x="839" y="839"/>
                  </a:lnTo>
                  <a:lnTo>
                    <a:pt x="839" y="145564"/>
                  </a:lnTo>
                  <a:cubicBezTo>
                    <a:pt x="839" y="161559"/>
                    <a:pt x="13812" y="174532"/>
                    <a:pt x="29807" y="174532"/>
                  </a:cubicBezTo>
                  <a:lnTo>
                    <a:pt x="73291" y="174532"/>
                  </a:lnTo>
                  <a:cubicBezTo>
                    <a:pt x="111202" y="174532"/>
                    <a:pt x="131349" y="151027"/>
                    <a:pt x="131349" y="122955"/>
                  </a:cubicBezTo>
                  <a:cubicBezTo>
                    <a:pt x="131349" y="99920"/>
                    <a:pt x="115679" y="73068"/>
                    <a:pt x="83085" y="73068"/>
                  </a:cubicBezTo>
                  <a:lnTo>
                    <a:pt x="30109" y="73191"/>
                  </a:lnTo>
                  <a:cubicBezTo>
                    <a:pt x="30109" y="88838"/>
                    <a:pt x="42791" y="101520"/>
                    <a:pt x="58438" y="101520"/>
                  </a:cubicBezTo>
                  <a:cubicBezTo>
                    <a:pt x="58461" y="101520"/>
                    <a:pt x="58494" y="101520"/>
                    <a:pt x="58517" y="101520"/>
                  </a:cubicBezTo>
                  <a:lnTo>
                    <a:pt x="80679" y="101520"/>
                  </a:lnTo>
                  <a:cubicBezTo>
                    <a:pt x="93013" y="102304"/>
                    <a:pt x="102382" y="112937"/>
                    <a:pt x="101609" y="125272"/>
                  </a:cubicBezTo>
                  <a:cubicBezTo>
                    <a:pt x="100893" y="136520"/>
                    <a:pt x="91928" y="145486"/>
                    <a:pt x="80679" y="146202"/>
                  </a:cubicBezTo>
                  <a:lnTo>
                    <a:pt x="29829" y="146202"/>
                  </a:lnTo>
                  <a:lnTo>
                    <a:pt x="29829" y="29146"/>
                  </a:lnTo>
                  <a:lnTo>
                    <a:pt x="64415" y="29146"/>
                  </a:lnTo>
                  <a:cubicBezTo>
                    <a:pt x="75340" y="29393"/>
                    <a:pt x="84137" y="38179"/>
                    <a:pt x="84384" y="49103"/>
                  </a:cubicBezTo>
                  <a:lnTo>
                    <a:pt x="84384" y="73034"/>
                  </a:lnTo>
                  <a:lnTo>
                    <a:pt x="112769" y="56704"/>
                  </a:lnTo>
                  <a:close/>
                </a:path>
              </a:pathLst>
            </a:custGeom>
            <a:solidFill>
              <a:srgbClr val="184B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44" name="Forma libre: forma 43">
              <a:extLst>
                <a:ext uri="{FF2B5EF4-FFF2-40B4-BE49-F238E27FC236}">
                  <a16:creationId xmlns:a16="http://schemas.microsoft.com/office/drawing/2014/main" id="{93DFDD96-E5D3-4605-B827-48F471E9241B}"/>
                </a:ext>
              </a:extLst>
            </p:cNvPr>
            <p:cNvSpPr/>
            <p:nvPr/>
          </p:nvSpPr>
          <p:spPr>
            <a:xfrm>
              <a:off x="10693908" y="594867"/>
              <a:ext cx="30221" cy="174610"/>
            </a:xfrm>
            <a:custGeom>
              <a:avLst/>
              <a:gdLst>
                <a:gd name="connsiteX0" fmla="*/ 839 w 30220"/>
                <a:gd name="connsiteY0" fmla="*/ 839 h 174610"/>
                <a:gd name="connsiteX1" fmla="*/ 29807 w 30220"/>
                <a:gd name="connsiteY1" fmla="*/ 839 h 174610"/>
                <a:gd name="connsiteX2" fmla="*/ 29807 w 30220"/>
                <a:gd name="connsiteY2" fmla="*/ 174644 h 174610"/>
                <a:gd name="connsiteX3" fmla="*/ 839 w 30220"/>
                <a:gd name="connsiteY3" fmla="*/ 174644 h 1746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0220" h="174610">
                  <a:moveTo>
                    <a:pt x="839" y="839"/>
                  </a:moveTo>
                  <a:lnTo>
                    <a:pt x="29807" y="839"/>
                  </a:lnTo>
                  <a:lnTo>
                    <a:pt x="29807" y="174644"/>
                  </a:lnTo>
                  <a:lnTo>
                    <a:pt x="839" y="174644"/>
                  </a:lnTo>
                  <a:close/>
                </a:path>
              </a:pathLst>
            </a:custGeom>
            <a:solidFill>
              <a:srgbClr val="184B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45" name="Forma libre: forma 44">
              <a:extLst>
                <a:ext uri="{FF2B5EF4-FFF2-40B4-BE49-F238E27FC236}">
                  <a16:creationId xmlns:a16="http://schemas.microsoft.com/office/drawing/2014/main" id="{06673BE4-B5D7-4D85-A194-D8720584209E}"/>
                </a:ext>
              </a:extLst>
            </p:cNvPr>
            <p:cNvSpPr/>
            <p:nvPr/>
          </p:nvSpPr>
          <p:spPr>
            <a:xfrm>
              <a:off x="10722876" y="594834"/>
              <a:ext cx="67158" cy="174610"/>
            </a:xfrm>
            <a:custGeom>
              <a:avLst/>
              <a:gdLst>
                <a:gd name="connsiteX0" fmla="*/ 58740 w 67157"/>
                <a:gd name="connsiteY0" fmla="*/ 174666 h 174610"/>
                <a:gd name="connsiteX1" fmla="*/ 66833 w 67157"/>
                <a:gd name="connsiteY1" fmla="*/ 174666 h 174610"/>
                <a:gd name="connsiteX2" fmla="*/ 34161 w 67157"/>
                <a:gd name="connsiteY2" fmla="*/ 21323 h 174610"/>
                <a:gd name="connsiteX3" fmla="*/ 8932 w 67157"/>
                <a:gd name="connsiteY3" fmla="*/ 839 h 174610"/>
                <a:gd name="connsiteX4" fmla="*/ 839 w 67157"/>
                <a:gd name="connsiteY4" fmla="*/ 839 h 174610"/>
                <a:gd name="connsiteX5" fmla="*/ 33512 w 67157"/>
                <a:gd name="connsiteY5" fmla="*/ 154183 h 174610"/>
                <a:gd name="connsiteX6" fmla="*/ 58740 w 67157"/>
                <a:gd name="connsiteY6" fmla="*/ 174610 h 1746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7157" h="174610">
                  <a:moveTo>
                    <a:pt x="58740" y="174666"/>
                  </a:moveTo>
                  <a:lnTo>
                    <a:pt x="66833" y="174666"/>
                  </a:lnTo>
                  <a:lnTo>
                    <a:pt x="34161" y="21323"/>
                  </a:lnTo>
                  <a:cubicBezTo>
                    <a:pt x="31609" y="9413"/>
                    <a:pt x="21110" y="884"/>
                    <a:pt x="8932" y="839"/>
                  </a:cubicBezTo>
                  <a:lnTo>
                    <a:pt x="839" y="839"/>
                  </a:lnTo>
                  <a:lnTo>
                    <a:pt x="33512" y="154183"/>
                  </a:lnTo>
                  <a:cubicBezTo>
                    <a:pt x="36052" y="166092"/>
                    <a:pt x="46563" y="174599"/>
                    <a:pt x="58740" y="174610"/>
                  </a:cubicBezTo>
                </a:path>
              </a:pathLst>
            </a:custGeom>
            <a:solidFill>
              <a:srgbClr val="184B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46" name="Forma libre: forma 45">
              <a:extLst>
                <a:ext uri="{FF2B5EF4-FFF2-40B4-BE49-F238E27FC236}">
                  <a16:creationId xmlns:a16="http://schemas.microsoft.com/office/drawing/2014/main" id="{C48A28D2-DEE0-4628-B39E-EA9AAA7339DB}"/>
                </a:ext>
              </a:extLst>
            </p:cNvPr>
            <p:cNvSpPr/>
            <p:nvPr/>
          </p:nvSpPr>
          <p:spPr>
            <a:xfrm>
              <a:off x="10788869" y="594923"/>
              <a:ext cx="67158" cy="174610"/>
            </a:xfrm>
            <a:custGeom>
              <a:avLst/>
              <a:gdLst>
                <a:gd name="connsiteX0" fmla="*/ 33500 w 67157"/>
                <a:gd name="connsiteY0" fmla="*/ 21289 h 174610"/>
                <a:gd name="connsiteX1" fmla="*/ 839 w 67157"/>
                <a:gd name="connsiteY1" fmla="*/ 174632 h 174610"/>
                <a:gd name="connsiteX2" fmla="*/ 29796 w 67157"/>
                <a:gd name="connsiteY2" fmla="*/ 174632 h 174610"/>
                <a:gd name="connsiteX3" fmla="*/ 66833 w 67157"/>
                <a:gd name="connsiteY3" fmla="*/ 839 h 174610"/>
                <a:gd name="connsiteX4" fmla="*/ 58740 w 67157"/>
                <a:gd name="connsiteY4" fmla="*/ 839 h 174610"/>
                <a:gd name="connsiteX5" fmla="*/ 33500 w 67157"/>
                <a:gd name="connsiteY5" fmla="*/ 21345 h 1746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7157" h="174610">
                  <a:moveTo>
                    <a:pt x="33500" y="21289"/>
                  </a:moveTo>
                  <a:lnTo>
                    <a:pt x="839" y="174632"/>
                  </a:lnTo>
                  <a:lnTo>
                    <a:pt x="29796" y="174632"/>
                  </a:lnTo>
                  <a:lnTo>
                    <a:pt x="66833" y="839"/>
                  </a:lnTo>
                  <a:lnTo>
                    <a:pt x="58740" y="839"/>
                  </a:lnTo>
                  <a:cubicBezTo>
                    <a:pt x="46551" y="884"/>
                    <a:pt x="36041" y="9424"/>
                    <a:pt x="33500" y="21345"/>
                  </a:cubicBezTo>
                </a:path>
              </a:pathLst>
            </a:custGeom>
            <a:solidFill>
              <a:srgbClr val="184B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47" name="Forma libre: forma 46">
              <a:extLst>
                <a:ext uri="{FF2B5EF4-FFF2-40B4-BE49-F238E27FC236}">
                  <a16:creationId xmlns:a16="http://schemas.microsoft.com/office/drawing/2014/main" id="{4A5A5A32-063F-4DC4-8B45-89A026310EB7}"/>
                </a:ext>
              </a:extLst>
            </p:cNvPr>
            <p:cNvSpPr/>
            <p:nvPr/>
          </p:nvSpPr>
          <p:spPr>
            <a:xfrm>
              <a:off x="10854863" y="594867"/>
              <a:ext cx="30221" cy="174610"/>
            </a:xfrm>
            <a:custGeom>
              <a:avLst/>
              <a:gdLst>
                <a:gd name="connsiteX0" fmla="*/ 839 w 30220"/>
                <a:gd name="connsiteY0" fmla="*/ 839 h 174610"/>
                <a:gd name="connsiteX1" fmla="*/ 29807 w 30220"/>
                <a:gd name="connsiteY1" fmla="*/ 839 h 174610"/>
                <a:gd name="connsiteX2" fmla="*/ 29807 w 30220"/>
                <a:gd name="connsiteY2" fmla="*/ 174644 h 174610"/>
                <a:gd name="connsiteX3" fmla="*/ 839 w 30220"/>
                <a:gd name="connsiteY3" fmla="*/ 174644 h 1746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0220" h="174610">
                  <a:moveTo>
                    <a:pt x="839" y="839"/>
                  </a:moveTo>
                  <a:lnTo>
                    <a:pt x="29807" y="839"/>
                  </a:lnTo>
                  <a:lnTo>
                    <a:pt x="29807" y="174644"/>
                  </a:lnTo>
                  <a:lnTo>
                    <a:pt x="839" y="174644"/>
                  </a:lnTo>
                  <a:close/>
                </a:path>
              </a:pathLst>
            </a:custGeom>
            <a:solidFill>
              <a:srgbClr val="184B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48" name="Forma libre: forma 47">
              <a:extLst>
                <a:ext uri="{FF2B5EF4-FFF2-40B4-BE49-F238E27FC236}">
                  <a16:creationId xmlns:a16="http://schemas.microsoft.com/office/drawing/2014/main" id="{52D06482-776B-47F0-A772-DB21EFE68374}"/>
                </a:ext>
              </a:extLst>
            </p:cNvPr>
            <p:cNvSpPr/>
            <p:nvPr/>
          </p:nvSpPr>
          <p:spPr>
            <a:xfrm>
              <a:off x="11316112" y="592506"/>
              <a:ext cx="130957" cy="179087"/>
            </a:xfrm>
            <a:custGeom>
              <a:avLst/>
              <a:gdLst>
                <a:gd name="connsiteX0" fmla="*/ 122551 w 130957"/>
                <a:gd name="connsiteY0" fmla="*/ 39433 h 179087"/>
                <a:gd name="connsiteX1" fmla="*/ 39332 w 130957"/>
                <a:gd name="connsiteY1" fmla="*/ 57532 h 179087"/>
                <a:gd name="connsiteX2" fmla="*/ 57431 w 130957"/>
                <a:gd name="connsiteY2" fmla="*/ 140751 h 179087"/>
                <a:gd name="connsiteX3" fmla="*/ 89980 w 130957"/>
                <a:gd name="connsiteY3" fmla="*/ 150310 h 179087"/>
                <a:gd name="connsiteX4" fmla="*/ 127689 w 130957"/>
                <a:gd name="connsiteY4" fmla="*/ 137394 h 179087"/>
                <a:gd name="connsiteX5" fmla="*/ 127689 w 130957"/>
                <a:gd name="connsiteY5" fmla="*/ 170782 h 179087"/>
                <a:gd name="connsiteX6" fmla="*/ 90025 w 130957"/>
                <a:gd name="connsiteY6" fmla="*/ 179278 h 179087"/>
                <a:gd name="connsiteX7" fmla="*/ 839 w 130957"/>
                <a:gd name="connsiteY7" fmla="*/ 90025 h 179087"/>
                <a:gd name="connsiteX8" fmla="*/ 90103 w 130957"/>
                <a:gd name="connsiteY8" fmla="*/ 839 h 179087"/>
                <a:gd name="connsiteX9" fmla="*/ 130554 w 130957"/>
                <a:gd name="connsiteY9" fmla="*/ 10555 h 179087"/>
                <a:gd name="connsiteX10" fmla="*/ 122551 w 130957"/>
                <a:gd name="connsiteY10" fmla="*/ 39433 h 1790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30957" h="179087">
                  <a:moveTo>
                    <a:pt x="122551" y="39433"/>
                  </a:moveTo>
                  <a:cubicBezTo>
                    <a:pt x="94569" y="21457"/>
                    <a:pt x="57319" y="29561"/>
                    <a:pt x="39332" y="57532"/>
                  </a:cubicBezTo>
                  <a:cubicBezTo>
                    <a:pt x="21356" y="85514"/>
                    <a:pt x="29460" y="122764"/>
                    <a:pt x="57431" y="140751"/>
                  </a:cubicBezTo>
                  <a:cubicBezTo>
                    <a:pt x="67146" y="146986"/>
                    <a:pt x="78440" y="150310"/>
                    <a:pt x="89980" y="150310"/>
                  </a:cubicBezTo>
                  <a:cubicBezTo>
                    <a:pt x="103635" y="150344"/>
                    <a:pt x="116921" y="145799"/>
                    <a:pt x="127689" y="137394"/>
                  </a:cubicBezTo>
                  <a:lnTo>
                    <a:pt x="127689" y="170782"/>
                  </a:lnTo>
                  <a:cubicBezTo>
                    <a:pt x="115925" y="176390"/>
                    <a:pt x="103053" y="179300"/>
                    <a:pt x="90025" y="179278"/>
                  </a:cubicBezTo>
                  <a:cubicBezTo>
                    <a:pt x="40754" y="179255"/>
                    <a:pt x="817" y="139296"/>
                    <a:pt x="839" y="90025"/>
                  </a:cubicBezTo>
                  <a:cubicBezTo>
                    <a:pt x="862" y="40754"/>
                    <a:pt x="40821" y="817"/>
                    <a:pt x="90103" y="839"/>
                  </a:cubicBezTo>
                  <a:cubicBezTo>
                    <a:pt x="104161" y="839"/>
                    <a:pt x="118029" y="4175"/>
                    <a:pt x="130554" y="10555"/>
                  </a:cubicBezTo>
                  <a:lnTo>
                    <a:pt x="122551" y="39433"/>
                  </a:lnTo>
                  <a:close/>
                </a:path>
              </a:pathLst>
            </a:custGeom>
            <a:solidFill>
              <a:srgbClr val="184B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49" name="Forma libre: forma 48">
              <a:extLst>
                <a:ext uri="{FF2B5EF4-FFF2-40B4-BE49-F238E27FC236}">
                  <a16:creationId xmlns:a16="http://schemas.microsoft.com/office/drawing/2014/main" id="{ACA14E08-7C64-4A93-A9BA-3186747EE13C}"/>
                </a:ext>
              </a:extLst>
            </p:cNvPr>
            <p:cNvSpPr/>
            <p:nvPr/>
          </p:nvSpPr>
          <p:spPr>
            <a:xfrm>
              <a:off x="10912786" y="594890"/>
              <a:ext cx="175729" cy="174610"/>
            </a:xfrm>
            <a:custGeom>
              <a:avLst/>
              <a:gdLst>
                <a:gd name="connsiteX0" fmla="*/ 145989 w 175729"/>
                <a:gd name="connsiteY0" fmla="*/ 174610 h 174610"/>
                <a:gd name="connsiteX1" fmla="*/ 175304 w 175729"/>
                <a:gd name="connsiteY1" fmla="*/ 174610 h 174610"/>
                <a:gd name="connsiteX2" fmla="*/ 124007 w 175729"/>
                <a:gd name="connsiteY2" fmla="*/ 20651 h 174610"/>
                <a:gd name="connsiteX3" fmla="*/ 96528 w 175729"/>
                <a:gd name="connsiteY3" fmla="*/ 839 h 174610"/>
                <a:gd name="connsiteX4" fmla="*/ 58774 w 175729"/>
                <a:gd name="connsiteY4" fmla="*/ 839 h 174610"/>
                <a:gd name="connsiteX5" fmla="*/ 839 w 175729"/>
                <a:gd name="connsiteY5" fmla="*/ 174644 h 174610"/>
                <a:gd name="connsiteX6" fmla="*/ 30154 w 175729"/>
                <a:gd name="connsiteY6" fmla="*/ 174644 h 174610"/>
                <a:gd name="connsiteX7" fmla="*/ 44637 w 175729"/>
                <a:gd name="connsiteY7" fmla="*/ 131193 h 174610"/>
                <a:gd name="connsiteX8" fmla="*/ 92767 w 175729"/>
                <a:gd name="connsiteY8" fmla="*/ 131193 h 174610"/>
                <a:gd name="connsiteX9" fmla="*/ 121734 w 175729"/>
                <a:gd name="connsiteY9" fmla="*/ 102225 h 174610"/>
                <a:gd name="connsiteX10" fmla="*/ 121734 w 175729"/>
                <a:gd name="connsiteY10" fmla="*/ 102225 h 174610"/>
                <a:gd name="connsiteX11" fmla="*/ 54275 w 175729"/>
                <a:gd name="connsiteY11" fmla="*/ 102225 h 174610"/>
                <a:gd name="connsiteX12" fmla="*/ 88066 w 175729"/>
                <a:gd name="connsiteY12" fmla="*/ 839 h 174610"/>
                <a:gd name="connsiteX13" fmla="*/ 145989 w 175729"/>
                <a:gd name="connsiteY13" fmla="*/ 174610 h 1746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75729" h="174610">
                  <a:moveTo>
                    <a:pt x="145989" y="174610"/>
                  </a:moveTo>
                  <a:lnTo>
                    <a:pt x="175304" y="174610"/>
                  </a:lnTo>
                  <a:lnTo>
                    <a:pt x="124007" y="20651"/>
                  </a:lnTo>
                  <a:cubicBezTo>
                    <a:pt x="120067" y="8820"/>
                    <a:pt x="108997" y="839"/>
                    <a:pt x="96528" y="839"/>
                  </a:cubicBezTo>
                  <a:lnTo>
                    <a:pt x="58774" y="839"/>
                  </a:lnTo>
                  <a:lnTo>
                    <a:pt x="839" y="174644"/>
                  </a:lnTo>
                  <a:lnTo>
                    <a:pt x="30154" y="174644"/>
                  </a:lnTo>
                  <a:lnTo>
                    <a:pt x="44637" y="131193"/>
                  </a:lnTo>
                  <a:lnTo>
                    <a:pt x="92767" y="131193"/>
                  </a:lnTo>
                  <a:cubicBezTo>
                    <a:pt x="108762" y="131193"/>
                    <a:pt x="121734" y="118220"/>
                    <a:pt x="121734" y="102225"/>
                  </a:cubicBezTo>
                  <a:lnTo>
                    <a:pt x="121734" y="102225"/>
                  </a:lnTo>
                  <a:cubicBezTo>
                    <a:pt x="121734" y="102225"/>
                    <a:pt x="54275" y="102225"/>
                    <a:pt x="54275" y="102225"/>
                  </a:cubicBezTo>
                  <a:lnTo>
                    <a:pt x="88066" y="839"/>
                  </a:lnTo>
                  <a:lnTo>
                    <a:pt x="145989" y="174610"/>
                  </a:lnTo>
                  <a:close/>
                </a:path>
              </a:pathLst>
            </a:custGeom>
            <a:solidFill>
              <a:srgbClr val="184B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50" name="Forma libre: forma 49">
              <a:extLst>
                <a:ext uri="{FF2B5EF4-FFF2-40B4-BE49-F238E27FC236}">
                  <a16:creationId xmlns:a16="http://schemas.microsoft.com/office/drawing/2014/main" id="{D7656AA7-F42C-4F6B-B6A6-4744F6D2CFE5}"/>
                </a:ext>
              </a:extLst>
            </p:cNvPr>
            <p:cNvSpPr/>
            <p:nvPr/>
          </p:nvSpPr>
          <p:spPr>
            <a:xfrm>
              <a:off x="11468023" y="594890"/>
              <a:ext cx="175729" cy="174610"/>
            </a:xfrm>
            <a:custGeom>
              <a:avLst/>
              <a:gdLst>
                <a:gd name="connsiteX0" fmla="*/ 146023 w 175729"/>
                <a:gd name="connsiteY0" fmla="*/ 174610 h 174610"/>
                <a:gd name="connsiteX1" fmla="*/ 175337 w 175729"/>
                <a:gd name="connsiteY1" fmla="*/ 174610 h 174610"/>
                <a:gd name="connsiteX2" fmla="*/ 123995 w 175729"/>
                <a:gd name="connsiteY2" fmla="*/ 20651 h 174610"/>
                <a:gd name="connsiteX3" fmla="*/ 96517 w 175729"/>
                <a:gd name="connsiteY3" fmla="*/ 839 h 174610"/>
                <a:gd name="connsiteX4" fmla="*/ 58774 w 175729"/>
                <a:gd name="connsiteY4" fmla="*/ 839 h 174610"/>
                <a:gd name="connsiteX5" fmla="*/ 839 w 175729"/>
                <a:gd name="connsiteY5" fmla="*/ 174644 h 174610"/>
                <a:gd name="connsiteX6" fmla="*/ 30154 w 175729"/>
                <a:gd name="connsiteY6" fmla="*/ 174644 h 174610"/>
                <a:gd name="connsiteX7" fmla="*/ 44637 w 175729"/>
                <a:gd name="connsiteY7" fmla="*/ 131193 h 174610"/>
                <a:gd name="connsiteX8" fmla="*/ 92767 w 175729"/>
                <a:gd name="connsiteY8" fmla="*/ 131193 h 174610"/>
                <a:gd name="connsiteX9" fmla="*/ 121734 w 175729"/>
                <a:gd name="connsiteY9" fmla="*/ 102225 h 174610"/>
                <a:gd name="connsiteX10" fmla="*/ 121734 w 175729"/>
                <a:gd name="connsiteY10" fmla="*/ 102225 h 174610"/>
                <a:gd name="connsiteX11" fmla="*/ 54275 w 175729"/>
                <a:gd name="connsiteY11" fmla="*/ 102225 h 174610"/>
                <a:gd name="connsiteX12" fmla="*/ 88066 w 175729"/>
                <a:gd name="connsiteY12" fmla="*/ 839 h 174610"/>
                <a:gd name="connsiteX13" fmla="*/ 146023 w 175729"/>
                <a:gd name="connsiteY13" fmla="*/ 174610 h 1746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75729" h="174610">
                  <a:moveTo>
                    <a:pt x="146023" y="174610"/>
                  </a:moveTo>
                  <a:lnTo>
                    <a:pt x="175337" y="174610"/>
                  </a:lnTo>
                  <a:lnTo>
                    <a:pt x="123995" y="20651"/>
                  </a:lnTo>
                  <a:cubicBezTo>
                    <a:pt x="120055" y="8820"/>
                    <a:pt x="108986" y="839"/>
                    <a:pt x="96517" y="839"/>
                  </a:cubicBezTo>
                  <a:lnTo>
                    <a:pt x="58774" y="839"/>
                  </a:lnTo>
                  <a:lnTo>
                    <a:pt x="839" y="174644"/>
                  </a:lnTo>
                  <a:lnTo>
                    <a:pt x="30154" y="174644"/>
                  </a:lnTo>
                  <a:lnTo>
                    <a:pt x="44637" y="131193"/>
                  </a:lnTo>
                  <a:lnTo>
                    <a:pt x="92767" y="131193"/>
                  </a:lnTo>
                  <a:cubicBezTo>
                    <a:pt x="108762" y="131193"/>
                    <a:pt x="121734" y="118220"/>
                    <a:pt x="121734" y="102225"/>
                  </a:cubicBezTo>
                  <a:lnTo>
                    <a:pt x="121734" y="102225"/>
                  </a:lnTo>
                  <a:cubicBezTo>
                    <a:pt x="121734" y="102225"/>
                    <a:pt x="54275" y="102225"/>
                    <a:pt x="54275" y="102225"/>
                  </a:cubicBezTo>
                  <a:lnTo>
                    <a:pt x="88066" y="839"/>
                  </a:lnTo>
                  <a:lnTo>
                    <a:pt x="146023" y="174610"/>
                  </a:lnTo>
                  <a:close/>
                </a:path>
              </a:pathLst>
            </a:custGeom>
            <a:solidFill>
              <a:srgbClr val="184B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</p:grpSp>
    </p:spTree>
    <p:extLst>
      <p:ext uri="{BB962C8B-B14F-4D97-AF65-F5344CB8AC3E}">
        <p14:creationId xmlns:p14="http://schemas.microsoft.com/office/powerpoint/2010/main" val="34643442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4" r:id="rId1"/>
    <p:sldLayoutId id="2147483696" r:id="rId2"/>
    <p:sldLayoutId id="2147483697" r:id="rId3"/>
    <p:sldLayoutId id="2147483734" r:id="rId4"/>
    <p:sldLayoutId id="2147483735" r:id="rId5"/>
    <p:sldLayoutId id="2147483695" r:id="rId6"/>
    <p:sldLayoutId id="2147483698" r:id="rId7"/>
    <p:sldLayoutId id="2147483699" r:id="rId8"/>
    <p:sldLayoutId id="2147483736" r:id="rId9"/>
    <p:sldLayoutId id="2147483737" r:id="rId10"/>
    <p:sldLayoutId id="2147483739" r:id="rId11"/>
    <p:sldLayoutId id="2147483649" r:id="rId12"/>
    <p:sldLayoutId id="2147483650" r:id="rId13"/>
    <p:sldLayoutId id="2147483652" r:id="rId14"/>
    <p:sldLayoutId id="2147483653" r:id="rId15"/>
    <p:sldLayoutId id="2147483654" r:id="rId16"/>
    <p:sldLayoutId id="2147483655" r:id="rId17"/>
    <p:sldLayoutId id="2147483656" r:id="rId18"/>
    <p:sldLayoutId id="2147483657" r:id="rId19"/>
    <p:sldLayoutId id="2147483658" r:id="rId20"/>
    <p:sldLayoutId id="2147483659" r:id="rId21"/>
    <p:sldLayoutId id="2147483660" r:id="rId22"/>
    <p:sldLayoutId id="2147483661" r:id="rId23"/>
    <p:sldLayoutId id="2147483662" r:id="rId24"/>
    <p:sldLayoutId id="2147483663" r:id="rId25"/>
    <p:sldLayoutId id="2147483700" r:id="rId26"/>
    <p:sldLayoutId id="2147483732" r:id="rId27"/>
    <p:sldLayoutId id="2147483702" r:id="rId28"/>
    <p:sldLayoutId id="2147483703" r:id="rId29"/>
    <p:sldLayoutId id="2147483704" r:id="rId30"/>
    <p:sldLayoutId id="2147483705" r:id="rId31"/>
    <p:sldLayoutId id="2147483706" r:id="rId32"/>
    <p:sldLayoutId id="2147483707" r:id="rId33"/>
    <p:sldLayoutId id="2147483708" r:id="rId34"/>
    <p:sldLayoutId id="2147483709" r:id="rId35"/>
    <p:sldLayoutId id="2147483711" r:id="rId36"/>
    <p:sldLayoutId id="2147483712" r:id="rId37"/>
    <p:sldLayoutId id="2147483710" r:id="rId38"/>
    <p:sldLayoutId id="2147483714" r:id="rId39"/>
    <p:sldLayoutId id="2147483715" r:id="rId40"/>
    <p:sldLayoutId id="2147483738" r:id="rId41"/>
    <p:sldLayoutId id="2147483717" r:id="rId42"/>
    <p:sldLayoutId id="2147483718" r:id="rId43"/>
    <p:sldLayoutId id="2147483719" r:id="rId44"/>
    <p:sldLayoutId id="2147483720" r:id="rId45"/>
    <p:sldLayoutId id="2147483721" r:id="rId46"/>
    <p:sldLayoutId id="2147483722" r:id="rId47"/>
    <p:sldLayoutId id="2147483723" r:id="rId48"/>
    <p:sldLayoutId id="2147483724" r:id="rId49"/>
    <p:sldLayoutId id="2147483725" r:id="rId50"/>
    <p:sldLayoutId id="2147483726" r:id="rId51"/>
    <p:sldLayoutId id="2147483727" r:id="rId52"/>
    <p:sldLayoutId id="2147483728" r:id="rId53"/>
    <p:sldLayoutId id="2147483729" r:id="rId54"/>
    <p:sldLayoutId id="2147483733" r:id="rId55"/>
    <p:sldLayoutId id="2147483730" r:id="rId56"/>
    <p:sldLayoutId id="2147483731" r:id="rId57"/>
    <p:sldLayoutId id="2147483651" r:id="rId58"/>
    <p:sldLayoutId id="2147483713" r:id="rId59"/>
    <p:sldLayoutId id="2147483671" r:id="rId60"/>
    <p:sldLayoutId id="2147483701" r:id="rId61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1400" kern="1200">
          <a:solidFill>
            <a:schemeClr val="tx2"/>
          </a:solidFill>
          <a:latin typeface="+mn-lt"/>
          <a:ea typeface="+mn-ea"/>
          <a:cs typeface="+mn-cs"/>
        </a:defRPr>
      </a:lvl1pPr>
      <a:lvl2pPr marL="177800" indent="-1778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2"/>
          </a:solidFill>
          <a:latin typeface="+mn-lt"/>
          <a:ea typeface="+mn-ea"/>
          <a:cs typeface="+mn-cs"/>
        </a:defRPr>
      </a:lvl2pPr>
      <a:lvl3pPr marL="177800" indent="-1778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2"/>
          </a:solidFill>
          <a:latin typeface="+mn-lt"/>
          <a:ea typeface="+mn-ea"/>
          <a:cs typeface="+mn-cs"/>
        </a:defRPr>
      </a:lvl3pPr>
      <a:lvl4pPr marL="177800" indent="-1778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2"/>
          </a:solidFill>
          <a:latin typeface="+mn-lt"/>
          <a:ea typeface="+mn-ea"/>
          <a:cs typeface="+mn-cs"/>
        </a:defRPr>
      </a:lvl4pPr>
      <a:lvl5pPr marL="177800" indent="-1778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P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8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13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image" Target="../media/image12.jpeg"/><Relationship Id="rId1" Type="http://schemas.openxmlformats.org/officeDocument/2006/relationships/slideLayout" Target="../slideLayouts/slideLayout16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18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eg"/><Relationship Id="rId1" Type="http://schemas.openxmlformats.org/officeDocument/2006/relationships/slideLayout" Target="../slideLayouts/slideLayout19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58.xml"/><Relationship Id="rId1" Type="http://schemas.openxmlformats.org/officeDocument/2006/relationships/tags" Target="../tags/tag1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eg"/><Relationship Id="rId1" Type="http://schemas.openxmlformats.org/officeDocument/2006/relationships/slideLayout" Target="../slideLayouts/slideLayout27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eg"/><Relationship Id="rId1" Type="http://schemas.openxmlformats.org/officeDocument/2006/relationships/slideLayout" Target="../slideLayouts/slideLayout21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2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23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.xml"/><Relationship Id="rId1" Type="http://schemas.openxmlformats.org/officeDocument/2006/relationships/slideLayout" Target="../slideLayouts/slideLayout24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5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chart" Target="../charts/chart4.xml"/><Relationship Id="rId1" Type="http://schemas.openxmlformats.org/officeDocument/2006/relationships/slideLayout" Target="../slideLayouts/slideLayout28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6.xml"/><Relationship Id="rId2" Type="http://schemas.openxmlformats.org/officeDocument/2006/relationships/chart" Target="../charts/chart5.xml"/><Relationship Id="rId1" Type="http://schemas.openxmlformats.org/officeDocument/2006/relationships/slideLayout" Target="../slideLayouts/slideLayout29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0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eg"/><Relationship Id="rId1" Type="http://schemas.openxmlformats.org/officeDocument/2006/relationships/slideLayout" Target="../slideLayouts/slideLayout31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2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3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4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eg"/><Relationship Id="rId1" Type="http://schemas.openxmlformats.org/officeDocument/2006/relationships/slideLayout" Target="../slideLayouts/slideLayout35.xm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6.xml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7.xml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1.xml"/></Relationships>
</file>

<file path=ppt/slides/_rels/slide3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8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9.xml"/></Relationships>
</file>

<file path=ppt/slides/_rels/slide4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0.xml"/></Relationships>
</file>

<file path=ppt/slides/_rels/slide4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2.xml"/></Relationships>
</file>

<file path=ppt/slides/_rels/slide4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3.xml"/></Relationships>
</file>

<file path=ppt/slides/_rels/slide4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4.xml"/></Relationships>
</file>

<file path=ppt/slides/_rels/slide4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5.xml"/></Relationships>
</file>

<file path=ppt/slides/_rels/slide4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6.xml"/></Relationships>
</file>

<file path=ppt/slides/_rels/slide4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7.xml"/></Relationships>
</file>

<file path=ppt/slides/_rels/slide4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8.xml"/></Relationships>
</file>

<file path=ppt/slides/_rels/slide4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9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5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0.xml"/></Relationships>
</file>

<file path=ppt/slides/_rels/slide5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png"/><Relationship Id="rId3" Type="http://schemas.openxmlformats.org/officeDocument/2006/relationships/image" Target="../media/image19.svg"/><Relationship Id="rId7" Type="http://schemas.openxmlformats.org/officeDocument/2006/relationships/image" Target="../media/image23.sv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51.xml"/><Relationship Id="rId6" Type="http://schemas.openxmlformats.org/officeDocument/2006/relationships/image" Target="../media/image22.png"/><Relationship Id="rId11" Type="http://schemas.openxmlformats.org/officeDocument/2006/relationships/image" Target="../media/image27.svg"/><Relationship Id="rId5" Type="http://schemas.openxmlformats.org/officeDocument/2006/relationships/image" Target="../media/image21.svg"/><Relationship Id="rId10" Type="http://schemas.openxmlformats.org/officeDocument/2006/relationships/image" Target="../media/image26.png"/><Relationship Id="rId4" Type="http://schemas.openxmlformats.org/officeDocument/2006/relationships/image" Target="../media/image20.png"/><Relationship Id="rId9" Type="http://schemas.openxmlformats.org/officeDocument/2006/relationships/image" Target="../media/image25.svg"/></Relationships>
</file>

<file path=ppt/slides/_rels/slide5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2.xml"/></Relationships>
</file>

<file path=ppt/slides/_rels/slide5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3.xml"/></Relationships>
</file>

<file path=ppt/slides/_rels/slide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jpeg"/><Relationship Id="rId1" Type="http://schemas.openxmlformats.org/officeDocument/2006/relationships/slideLayout" Target="../slideLayouts/slideLayout54.xml"/></Relationships>
</file>

<file path=ppt/slides/_rels/slide5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5.xml"/></Relationships>
</file>

<file path=ppt/slides/_rels/slide5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6.xml"/></Relationships>
</file>

<file path=ppt/slides/_rels/slide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jpeg"/><Relationship Id="rId7" Type="http://schemas.openxmlformats.org/officeDocument/2006/relationships/image" Target="../media/image33.jpeg"/><Relationship Id="rId2" Type="http://schemas.openxmlformats.org/officeDocument/2006/relationships/image" Target="../media/image29.jpeg"/><Relationship Id="rId1" Type="http://schemas.openxmlformats.org/officeDocument/2006/relationships/slideLayout" Target="../slideLayouts/slideLayout57.xml"/><Relationship Id="rId6" Type="http://schemas.openxmlformats.org/officeDocument/2006/relationships/image" Target="../media/image28.jpeg"/><Relationship Id="rId5" Type="http://schemas.openxmlformats.org/officeDocument/2006/relationships/image" Target="../media/image32.jpeg"/><Relationship Id="rId4" Type="http://schemas.openxmlformats.org/officeDocument/2006/relationships/image" Target="../media/image31.jpeg"/></Relationships>
</file>

<file path=ppt/slides/_rels/slide5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58.xml"/><Relationship Id="rId1" Type="http://schemas.openxmlformats.org/officeDocument/2006/relationships/tags" Target="../tags/tag2.xml"/></Relationships>
</file>

<file path=ppt/slides/_rels/slide5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1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6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58.xml"/><Relationship Id="rId1" Type="http://schemas.openxmlformats.org/officeDocument/2006/relationships/tags" Target="../tags/tag3.xml"/></Relationships>
</file>

<file path=ppt/slides/_rels/slide6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1.xml"/></Relationships>
</file>

<file path=ppt/slides/_rels/slide6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58.xml"/><Relationship Id="rId1" Type="http://schemas.openxmlformats.org/officeDocument/2006/relationships/tags" Target="../tags/tag4.xml"/></Relationships>
</file>

<file path=ppt/slides/_rels/slide63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61.xml"/><Relationship Id="rId1" Type="http://schemas.openxmlformats.org/officeDocument/2006/relationships/tags" Target="../tags/tag5.xml"/></Relationships>
</file>

<file path=ppt/slides/_rels/slide6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58.xml"/><Relationship Id="rId1" Type="http://schemas.openxmlformats.org/officeDocument/2006/relationships/tags" Target="../tags/tag6.xml"/></Relationships>
</file>

<file path=ppt/slides/_rels/slide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eg"/><Relationship Id="rId1" Type="http://schemas.openxmlformats.org/officeDocument/2006/relationships/slideLayout" Target="../slideLayouts/slideLayout58.xml"/></Relationships>
</file>

<file path=ppt/slides/_rels/slide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jpeg"/><Relationship Id="rId1" Type="http://schemas.openxmlformats.org/officeDocument/2006/relationships/slideLayout" Target="../slideLayouts/slideLayout58.xml"/></Relationships>
</file>

<file path=ppt/slides/_rels/slide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jpeg"/><Relationship Id="rId1" Type="http://schemas.openxmlformats.org/officeDocument/2006/relationships/slideLayout" Target="../slideLayouts/slideLayout58.xml"/></Relationships>
</file>

<file path=ppt/slides/_rels/slide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jpeg"/><Relationship Id="rId1" Type="http://schemas.openxmlformats.org/officeDocument/2006/relationships/slideLayout" Target="../slideLayouts/slideLayout58.xml"/></Relationships>
</file>

<file path=ppt/slides/_rels/slide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jpeg"/><Relationship Id="rId1" Type="http://schemas.openxmlformats.org/officeDocument/2006/relationships/slideLayout" Target="../slideLayouts/slideLayout58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jpeg"/><Relationship Id="rId1" Type="http://schemas.openxmlformats.org/officeDocument/2006/relationships/slideLayout" Target="../slideLayouts/slideLayout58.xml"/></Relationships>
</file>

<file path=ppt/slides/_rels/slide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eg"/><Relationship Id="rId1" Type="http://schemas.openxmlformats.org/officeDocument/2006/relationships/slideLayout" Target="../slideLayouts/slideLayout58.xml"/></Relationships>
</file>

<file path=ppt/slides/_rels/slide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eg"/><Relationship Id="rId1" Type="http://schemas.openxmlformats.org/officeDocument/2006/relationships/slideLayout" Target="../slideLayouts/slideLayout58.xml"/></Relationships>
</file>

<file path=ppt/slides/_rels/slide7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58.xml"/><Relationship Id="rId1" Type="http://schemas.openxmlformats.org/officeDocument/2006/relationships/tags" Target="../tags/tag7.xml"/></Relationships>
</file>

<file path=ppt/slides/_rels/slide7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0.xml"/></Relationships>
</file>

<file path=ppt/slides/_rels/slide75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60.xml"/><Relationship Id="rId1" Type="http://schemas.openxmlformats.org/officeDocument/2006/relationships/tags" Target="../tags/tag8.xml"/></Relationships>
</file>

<file path=ppt/slides/_rels/slide7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0.xml"/></Relationships>
</file>

<file path=ppt/slides/_rels/slide7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0.xml"/></Relationships>
</file>

<file path=ppt/slides/_rels/slide7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0.xml"/></Relationships>
</file>

<file path=ppt/slides/_rels/slide7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0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80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60.xml"/><Relationship Id="rId1" Type="http://schemas.openxmlformats.org/officeDocument/2006/relationships/tags" Target="../tags/tag9.xml"/></Relationships>
</file>

<file path=ppt/slides/_rels/slide8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0.xml"/></Relationships>
</file>

<file path=ppt/slides/_rels/slide8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0.xml"/></Relationships>
</file>

<file path=ppt/slides/_rels/slide83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60.xml"/><Relationship Id="rId1" Type="http://schemas.openxmlformats.org/officeDocument/2006/relationships/tags" Target="../tags/tag10.xml"/></Relationships>
</file>

<file path=ppt/slides/_rels/slide8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0.xml"/></Relationships>
</file>

<file path=ppt/slides/_rels/slide8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8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22">
            <a:extLst>
              <a:ext uri="{FF2B5EF4-FFF2-40B4-BE49-F238E27FC236}">
                <a16:creationId xmlns:a16="http://schemas.microsoft.com/office/drawing/2014/main" id="{38BED76A-42B2-2426-374B-41013BAA35F8}"/>
              </a:ext>
            </a:extLst>
          </p:cNvPr>
          <p:cNvSpPr txBox="1"/>
          <p:nvPr/>
        </p:nvSpPr>
        <p:spPr>
          <a:xfrm>
            <a:off x="555226" y="2908857"/>
            <a:ext cx="11081547" cy="104028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>
            <a:defPPr>
              <a:defRPr lang="pt-PT"/>
            </a:defPPr>
            <a:lvl1pPr>
              <a:lnSpc>
                <a:spcPct val="78000"/>
              </a:lnSpc>
              <a:defRPr sz="11500">
                <a:solidFill>
                  <a:schemeClr val="bg1"/>
                </a:solidFill>
                <a:latin typeface="SB Pakenham" panose="02000608020000020004" pitchFamily="50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7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PT" sz="88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 panose="020B0604030504040204" pitchFamily="34" charset="0"/>
                <a:ea typeface="Open Sans Light" panose="020B0306030504020204" pitchFamily="34" charset="0"/>
                <a:cs typeface="Arial" panose="020B0604020202020204" pitchFamily="34" charset="0"/>
              </a:rPr>
              <a:t>TEMPLATE</a:t>
            </a:r>
            <a:endParaRPr kumimoji="0" lang="pt-PT" sz="8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 panose="020B0604030504040204" pitchFamily="34" charset="0"/>
              <a:ea typeface="Open Sans Light" panose="020B0306030504020204" pitchFamily="34" charset="0"/>
              <a:cs typeface="Arial" panose="020B0604020202020204" pitchFamily="34" charset="0"/>
            </a:endParaRPr>
          </a:p>
        </p:txBody>
      </p:sp>
      <p:grpSp>
        <p:nvGrpSpPr>
          <p:cNvPr id="26" name="Gráfico 2">
            <a:extLst>
              <a:ext uri="{FF2B5EF4-FFF2-40B4-BE49-F238E27FC236}">
                <a16:creationId xmlns:a16="http://schemas.microsoft.com/office/drawing/2014/main" id="{D8200223-6C0F-4DEC-BC4F-E508A94BDF87}"/>
              </a:ext>
            </a:extLst>
          </p:cNvPr>
          <p:cNvGrpSpPr/>
          <p:nvPr/>
        </p:nvGrpSpPr>
        <p:grpSpPr>
          <a:xfrm>
            <a:off x="2864156" y="1298024"/>
            <a:ext cx="6463689" cy="685151"/>
            <a:chOff x="0" y="2782824"/>
            <a:chExt cx="12192000" cy="1292352"/>
          </a:xfrm>
        </p:grpSpPr>
        <p:sp>
          <p:nvSpPr>
            <p:cNvPr id="27" name="Forma libre: forma 26">
              <a:extLst>
                <a:ext uri="{FF2B5EF4-FFF2-40B4-BE49-F238E27FC236}">
                  <a16:creationId xmlns:a16="http://schemas.microsoft.com/office/drawing/2014/main" id="{E15BCC72-1155-4189-8B83-1B9B6C2AE7A3}"/>
                </a:ext>
              </a:extLst>
            </p:cNvPr>
            <p:cNvSpPr/>
            <p:nvPr/>
          </p:nvSpPr>
          <p:spPr>
            <a:xfrm>
              <a:off x="3791306" y="2777053"/>
              <a:ext cx="1300480" cy="1300480"/>
            </a:xfrm>
            <a:custGeom>
              <a:avLst/>
              <a:gdLst>
                <a:gd name="connsiteX0" fmla="*/ 6096 w 1300480"/>
                <a:gd name="connsiteY0" fmla="*/ 653979 h 1300480"/>
                <a:gd name="connsiteX1" fmla="*/ 653979 w 1300480"/>
                <a:gd name="connsiteY1" fmla="*/ 6096 h 1300480"/>
                <a:gd name="connsiteX2" fmla="*/ 1301862 w 1300480"/>
                <a:gd name="connsiteY2" fmla="*/ 653979 h 1300480"/>
                <a:gd name="connsiteX3" fmla="*/ 653979 w 1300480"/>
                <a:gd name="connsiteY3" fmla="*/ 1301862 h 1300480"/>
                <a:gd name="connsiteX4" fmla="*/ 653898 w 1300480"/>
                <a:gd name="connsiteY4" fmla="*/ 1301862 h 1300480"/>
                <a:gd name="connsiteX5" fmla="*/ 6096 w 1300480"/>
                <a:gd name="connsiteY5" fmla="*/ 654060 h 1300480"/>
                <a:gd name="connsiteX6" fmla="*/ 6096 w 1300480"/>
                <a:gd name="connsiteY6" fmla="*/ 654060 h 1300480"/>
                <a:gd name="connsiteX7" fmla="*/ 653898 w 1300480"/>
                <a:gd name="connsiteY7" fmla="*/ 1091184 h 1300480"/>
                <a:gd name="connsiteX8" fmla="*/ 1091265 w 1300480"/>
                <a:gd name="connsiteY8" fmla="*/ 653979 h 1300480"/>
                <a:gd name="connsiteX9" fmla="*/ 654060 w 1300480"/>
                <a:gd name="connsiteY9" fmla="*/ 216611 h 1300480"/>
                <a:gd name="connsiteX10" fmla="*/ 216692 w 1300480"/>
                <a:gd name="connsiteY10" fmla="*/ 653816 h 1300480"/>
                <a:gd name="connsiteX11" fmla="*/ 216692 w 1300480"/>
                <a:gd name="connsiteY11" fmla="*/ 653979 h 1300480"/>
                <a:gd name="connsiteX12" fmla="*/ 653898 w 1300480"/>
                <a:gd name="connsiteY12" fmla="*/ 1091184 h 13004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300480" h="1300480">
                  <a:moveTo>
                    <a:pt x="6096" y="653979"/>
                  </a:moveTo>
                  <a:cubicBezTo>
                    <a:pt x="6096" y="296184"/>
                    <a:pt x="296184" y="6096"/>
                    <a:pt x="653979" y="6096"/>
                  </a:cubicBezTo>
                  <a:cubicBezTo>
                    <a:pt x="1011773" y="6096"/>
                    <a:pt x="1301862" y="296184"/>
                    <a:pt x="1301862" y="653979"/>
                  </a:cubicBezTo>
                  <a:cubicBezTo>
                    <a:pt x="1301862" y="1011773"/>
                    <a:pt x="1011773" y="1301862"/>
                    <a:pt x="653979" y="1301862"/>
                  </a:cubicBezTo>
                  <a:lnTo>
                    <a:pt x="653898" y="1301862"/>
                  </a:lnTo>
                  <a:cubicBezTo>
                    <a:pt x="296103" y="1301862"/>
                    <a:pt x="6096" y="1011855"/>
                    <a:pt x="6096" y="654060"/>
                  </a:cubicBezTo>
                  <a:lnTo>
                    <a:pt x="6096" y="654060"/>
                  </a:lnTo>
                  <a:moveTo>
                    <a:pt x="653898" y="1091184"/>
                  </a:moveTo>
                  <a:cubicBezTo>
                    <a:pt x="895380" y="1091184"/>
                    <a:pt x="1091184" y="895462"/>
                    <a:pt x="1091265" y="653979"/>
                  </a:cubicBezTo>
                  <a:cubicBezTo>
                    <a:pt x="1091265" y="412496"/>
                    <a:pt x="895543" y="216692"/>
                    <a:pt x="654060" y="216611"/>
                  </a:cubicBezTo>
                  <a:cubicBezTo>
                    <a:pt x="412577" y="216611"/>
                    <a:pt x="216774" y="412333"/>
                    <a:pt x="216692" y="653816"/>
                  </a:cubicBezTo>
                  <a:lnTo>
                    <a:pt x="216692" y="653979"/>
                  </a:lnTo>
                  <a:cubicBezTo>
                    <a:pt x="216692" y="895462"/>
                    <a:pt x="412415" y="1091184"/>
                    <a:pt x="653898" y="1091184"/>
                  </a:cubicBezTo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28" name="Forma libre: forma 27">
              <a:extLst>
                <a:ext uri="{FF2B5EF4-FFF2-40B4-BE49-F238E27FC236}">
                  <a16:creationId xmlns:a16="http://schemas.microsoft.com/office/drawing/2014/main" id="{ED7219C5-72F1-4EBB-8D8E-B47FCB87505B}"/>
                </a:ext>
              </a:extLst>
            </p:cNvPr>
            <p:cNvSpPr/>
            <p:nvPr/>
          </p:nvSpPr>
          <p:spPr>
            <a:xfrm>
              <a:off x="1151981" y="2793797"/>
              <a:ext cx="219456" cy="1267968"/>
            </a:xfrm>
            <a:custGeom>
              <a:avLst/>
              <a:gdLst>
                <a:gd name="connsiteX0" fmla="*/ 216367 w 219456"/>
                <a:gd name="connsiteY0" fmla="*/ 6096 h 1267968"/>
                <a:gd name="connsiteX1" fmla="*/ 216367 w 219456"/>
                <a:gd name="connsiteY1" fmla="*/ 6096 h 1267968"/>
                <a:gd name="connsiteX2" fmla="*/ 216367 w 219456"/>
                <a:gd name="connsiteY2" fmla="*/ 1268212 h 1267968"/>
                <a:gd name="connsiteX3" fmla="*/ 6096 w 219456"/>
                <a:gd name="connsiteY3" fmla="*/ 1268212 h 1267968"/>
                <a:gd name="connsiteX4" fmla="*/ 6096 w 219456"/>
                <a:gd name="connsiteY4" fmla="*/ 216449 h 1267968"/>
                <a:gd name="connsiteX5" fmla="*/ 216367 w 219456"/>
                <a:gd name="connsiteY5" fmla="*/ 6096 h 126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19456" h="1267968">
                  <a:moveTo>
                    <a:pt x="216367" y="6096"/>
                  </a:moveTo>
                  <a:lnTo>
                    <a:pt x="216367" y="6096"/>
                  </a:lnTo>
                  <a:lnTo>
                    <a:pt x="216367" y="1268212"/>
                  </a:lnTo>
                  <a:lnTo>
                    <a:pt x="6096" y="1268212"/>
                  </a:lnTo>
                  <a:lnTo>
                    <a:pt x="6096" y="216449"/>
                  </a:lnTo>
                  <a:cubicBezTo>
                    <a:pt x="6096" y="100300"/>
                    <a:pt x="100218" y="6177"/>
                    <a:pt x="216367" y="6096"/>
                  </a:cubicBezTo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29" name="Forma libre: forma 28">
              <a:extLst>
                <a:ext uri="{FF2B5EF4-FFF2-40B4-BE49-F238E27FC236}">
                  <a16:creationId xmlns:a16="http://schemas.microsoft.com/office/drawing/2014/main" id="{77D8CD45-1FB8-433A-943B-51E1C919210E}"/>
                </a:ext>
              </a:extLst>
            </p:cNvPr>
            <p:cNvSpPr/>
            <p:nvPr/>
          </p:nvSpPr>
          <p:spPr>
            <a:xfrm>
              <a:off x="9373128" y="2793797"/>
              <a:ext cx="219456" cy="1267968"/>
            </a:xfrm>
            <a:custGeom>
              <a:avLst/>
              <a:gdLst>
                <a:gd name="connsiteX0" fmla="*/ 216368 w 219456"/>
                <a:gd name="connsiteY0" fmla="*/ 6096 h 1267968"/>
                <a:gd name="connsiteX1" fmla="*/ 216368 w 219456"/>
                <a:gd name="connsiteY1" fmla="*/ 6096 h 1267968"/>
                <a:gd name="connsiteX2" fmla="*/ 216368 w 219456"/>
                <a:gd name="connsiteY2" fmla="*/ 1268212 h 1267968"/>
                <a:gd name="connsiteX3" fmla="*/ 6096 w 219456"/>
                <a:gd name="connsiteY3" fmla="*/ 1268212 h 1267968"/>
                <a:gd name="connsiteX4" fmla="*/ 6096 w 219456"/>
                <a:gd name="connsiteY4" fmla="*/ 216449 h 1267968"/>
                <a:gd name="connsiteX5" fmla="*/ 216287 w 219456"/>
                <a:gd name="connsiteY5" fmla="*/ 6096 h 1267968"/>
                <a:gd name="connsiteX6" fmla="*/ 216368 w 219456"/>
                <a:gd name="connsiteY6" fmla="*/ 6096 h 126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19456" h="1267968">
                  <a:moveTo>
                    <a:pt x="216368" y="6096"/>
                  </a:moveTo>
                  <a:lnTo>
                    <a:pt x="216368" y="6096"/>
                  </a:lnTo>
                  <a:lnTo>
                    <a:pt x="216368" y="1268212"/>
                  </a:lnTo>
                  <a:lnTo>
                    <a:pt x="6096" y="1268212"/>
                  </a:lnTo>
                  <a:lnTo>
                    <a:pt x="6096" y="216449"/>
                  </a:lnTo>
                  <a:cubicBezTo>
                    <a:pt x="6096" y="100300"/>
                    <a:pt x="100138" y="6177"/>
                    <a:pt x="216287" y="6096"/>
                  </a:cubicBezTo>
                  <a:lnTo>
                    <a:pt x="216368" y="6096"/>
                  </a:lnTo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30" name="Forma libre: forma 29">
              <a:extLst>
                <a:ext uri="{FF2B5EF4-FFF2-40B4-BE49-F238E27FC236}">
                  <a16:creationId xmlns:a16="http://schemas.microsoft.com/office/drawing/2014/main" id="{6BAAF1AB-456F-4D99-A6DB-E167D56F75A5}"/>
                </a:ext>
              </a:extLst>
            </p:cNvPr>
            <p:cNvSpPr/>
            <p:nvPr/>
          </p:nvSpPr>
          <p:spPr>
            <a:xfrm>
              <a:off x="8111012" y="2793878"/>
              <a:ext cx="1056640" cy="1267968"/>
            </a:xfrm>
            <a:custGeom>
              <a:avLst/>
              <a:gdLst>
                <a:gd name="connsiteX0" fmla="*/ 74046 w 1056640"/>
                <a:gd name="connsiteY0" fmla="*/ 6096 h 1267968"/>
                <a:gd name="connsiteX1" fmla="*/ 6096 w 1056640"/>
                <a:gd name="connsiteY1" fmla="*/ 216367 h 1267968"/>
                <a:gd name="connsiteX2" fmla="*/ 426802 w 1056640"/>
                <a:gd name="connsiteY2" fmla="*/ 216367 h 1267968"/>
                <a:gd name="connsiteX3" fmla="*/ 426802 w 1056640"/>
                <a:gd name="connsiteY3" fmla="*/ 1268131 h 1267968"/>
                <a:gd name="connsiteX4" fmla="*/ 637155 w 1056640"/>
                <a:gd name="connsiteY4" fmla="*/ 1268131 h 1267968"/>
                <a:gd name="connsiteX5" fmla="*/ 637155 w 1056640"/>
                <a:gd name="connsiteY5" fmla="*/ 216367 h 1267968"/>
                <a:gd name="connsiteX6" fmla="*/ 847507 w 1056640"/>
                <a:gd name="connsiteY6" fmla="*/ 216367 h 1267968"/>
                <a:gd name="connsiteX7" fmla="*/ 1057860 w 1056640"/>
                <a:gd name="connsiteY7" fmla="*/ 6096 h 1267968"/>
                <a:gd name="connsiteX8" fmla="*/ 74046 w 1056640"/>
                <a:gd name="connsiteY8" fmla="*/ 6096 h 126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056640" h="1267968">
                  <a:moveTo>
                    <a:pt x="74046" y="6096"/>
                  </a:moveTo>
                  <a:lnTo>
                    <a:pt x="6096" y="216367"/>
                  </a:lnTo>
                  <a:lnTo>
                    <a:pt x="426802" y="216367"/>
                  </a:lnTo>
                  <a:lnTo>
                    <a:pt x="426802" y="1268131"/>
                  </a:lnTo>
                  <a:lnTo>
                    <a:pt x="637155" y="1268131"/>
                  </a:lnTo>
                  <a:lnTo>
                    <a:pt x="637155" y="216367"/>
                  </a:lnTo>
                  <a:lnTo>
                    <a:pt x="847507" y="216367"/>
                  </a:lnTo>
                  <a:cubicBezTo>
                    <a:pt x="963656" y="216367"/>
                    <a:pt x="1057779" y="122245"/>
                    <a:pt x="1057860" y="6096"/>
                  </a:cubicBezTo>
                  <a:lnTo>
                    <a:pt x="74046" y="6096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31" name="Forma libre: forma 30">
              <a:extLst>
                <a:ext uri="{FF2B5EF4-FFF2-40B4-BE49-F238E27FC236}">
                  <a16:creationId xmlns:a16="http://schemas.microsoft.com/office/drawing/2014/main" id="{A8B879F6-9D66-47B4-9068-B9C1025B1C6F}"/>
                </a:ext>
              </a:extLst>
            </p:cNvPr>
            <p:cNvSpPr/>
            <p:nvPr/>
          </p:nvSpPr>
          <p:spPr>
            <a:xfrm>
              <a:off x="1602108" y="2793797"/>
              <a:ext cx="845312" cy="1267968"/>
            </a:xfrm>
            <a:custGeom>
              <a:avLst/>
              <a:gdLst>
                <a:gd name="connsiteX0" fmla="*/ 216288 w 845312"/>
                <a:gd name="connsiteY0" fmla="*/ 1057859 h 1267968"/>
                <a:gd name="connsiteX1" fmla="*/ 216288 w 845312"/>
                <a:gd name="connsiteY1" fmla="*/ 6096 h 1267968"/>
                <a:gd name="connsiteX2" fmla="*/ 6098 w 845312"/>
                <a:gd name="connsiteY2" fmla="*/ 6096 h 1267968"/>
                <a:gd name="connsiteX3" fmla="*/ 6098 w 845312"/>
                <a:gd name="connsiteY3" fmla="*/ 1057859 h 1267968"/>
                <a:gd name="connsiteX4" fmla="*/ 6098 w 845312"/>
                <a:gd name="connsiteY4" fmla="*/ 1057859 h 1267968"/>
                <a:gd name="connsiteX5" fmla="*/ 14226 w 845312"/>
                <a:gd name="connsiteY5" fmla="*/ 1116706 h 1267968"/>
                <a:gd name="connsiteX6" fmla="*/ 15201 w 845312"/>
                <a:gd name="connsiteY6" fmla="*/ 1120364 h 1267968"/>
                <a:gd name="connsiteX7" fmla="*/ 17071 w 845312"/>
                <a:gd name="connsiteY7" fmla="*/ 1125566 h 1267968"/>
                <a:gd name="connsiteX8" fmla="*/ 22598 w 845312"/>
                <a:gd name="connsiteY8" fmla="*/ 1140358 h 1267968"/>
                <a:gd name="connsiteX9" fmla="*/ 52021 w 845312"/>
                <a:gd name="connsiteY9" fmla="*/ 1189126 h 1267968"/>
                <a:gd name="connsiteX10" fmla="*/ 124685 w 845312"/>
                <a:gd name="connsiteY10" fmla="*/ 1246916 h 1267968"/>
                <a:gd name="connsiteX11" fmla="*/ 216125 w 845312"/>
                <a:gd name="connsiteY11" fmla="*/ 1268049 h 1267968"/>
                <a:gd name="connsiteX12" fmla="*/ 776957 w 845312"/>
                <a:gd name="connsiteY12" fmla="*/ 1268049 h 1267968"/>
                <a:gd name="connsiteX13" fmla="*/ 847021 w 845312"/>
                <a:gd name="connsiteY13" fmla="*/ 1057697 h 1267968"/>
                <a:gd name="connsiteX14" fmla="*/ 216288 w 845312"/>
                <a:gd name="connsiteY14" fmla="*/ 1057859 h 126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845312" h="1267968">
                  <a:moveTo>
                    <a:pt x="216288" y="1057859"/>
                  </a:moveTo>
                  <a:lnTo>
                    <a:pt x="216288" y="6096"/>
                  </a:lnTo>
                  <a:lnTo>
                    <a:pt x="6098" y="6096"/>
                  </a:lnTo>
                  <a:lnTo>
                    <a:pt x="6098" y="1057859"/>
                  </a:lnTo>
                  <a:lnTo>
                    <a:pt x="6098" y="1057859"/>
                  </a:lnTo>
                  <a:cubicBezTo>
                    <a:pt x="6017" y="1077773"/>
                    <a:pt x="8699" y="1097605"/>
                    <a:pt x="14226" y="1116706"/>
                  </a:cubicBezTo>
                  <a:cubicBezTo>
                    <a:pt x="14632" y="1117925"/>
                    <a:pt x="14795" y="1119226"/>
                    <a:pt x="15201" y="1120364"/>
                  </a:cubicBezTo>
                  <a:cubicBezTo>
                    <a:pt x="15608" y="1121502"/>
                    <a:pt x="16502" y="1123859"/>
                    <a:pt x="17071" y="1125566"/>
                  </a:cubicBezTo>
                  <a:cubicBezTo>
                    <a:pt x="18777" y="1130605"/>
                    <a:pt x="20566" y="1135563"/>
                    <a:pt x="22598" y="1140358"/>
                  </a:cubicBezTo>
                  <a:cubicBezTo>
                    <a:pt x="30157" y="1157915"/>
                    <a:pt x="40073" y="1174252"/>
                    <a:pt x="52021" y="1189126"/>
                  </a:cubicBezTo>
                  <a:cubicBezTo>
                    <a:pt x="71691" y="1213510"/>
                    <a:pt x="96481" y="1233262"/>
                    <a:pt x="124685" y="1246916"/>
                  </a:cubicBezTo>
                  <a:cubicBezTo>
                    <a:pt x="153215" y="1260734"/>
                    <a:pt x="184426" y="1267968"/>
                    <a:pt x="216125" y="1268049"/>
                  </a:cubicBezTo>
                  <a:lnTo>
                    <a:pt x="776957" y="1268049"/>
                  </a:lnTo>
                  <a:lnTo>
                    <a:pt x="847021" y="1057697"/>
                  </a:lnTo>
                  <a:lnTo>
                    <a:pt x="216288" y="1057859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32" name="Forma libre: forma 31">
              <a:extLst>
                <a:ext uri="{FF2B5EF4-FFF2-40B4-BE49-F238E27FC236}">
                  <a16:creationId xmlns:a16="http://schemas.microsoft.com/office/drawing/2014/main" id="{2F918E70-CD65-4939-9F02-296D49A8C14E}"/>
                </a:ext>
              </a:extLst>
            </p:cNvPr>
            <p:cNvSpPr/>
            <p:nvPr/>
          </p:nvSpPr>
          <p:spPr>
            <a:xfrm>
              <a:off x="-6096" y="2794284"/>
              <a:ext cx="959104" cy="1267968"/>
            </a:xfrm>
            <a:custGeom>
              <a:avLst/>
              <a:gdLst>
                <a:gd name="connsiteX0" fmla="*/ 818815 w 959104"/>
                <a:gd name="connsiteY0" fmla="*/ 411764 h 1267968"/>
                <a:gd name="connsiteX1" fmla="*/ 818815 w 959104"/>
                <a:gd name="connsiteY1" fmla="*/ 285699 h 1267968"/>
                <a:gd name="connsiteX2" fmla="*/ 539130 w 959104"/>
                <a:gd name="connsiteY2" fmla="*/ 6096 h 1267968"/>
                <a:gd name="connsiteX3" fmla="*/ 6096 w 959104"/>
                <a:gd name="connsiteY3" fmla="*/ 6096 h 1267968"/>
                <a:gd name="connsiteX4" fmla="*/ 6096 w 959104"/>
                <a:gd name="connsiteY4" fmla="*/ 1057047 h 1267968"/>
                <a:gd name="connsiteX5" fmla="*/ 216367 w 959104"/>
                <a:gd name="connsiteY5" fmla="*/ 1267399 h 1267968"/>
                <a:gd name="connsiteX6" fmla="*/ 532140 w 959104"/>
                <a:gd name="connsiteY6" fmla="*/ 1267399 h 1267968"/>
                <a:gd name="connsiteX7" fmla="*/ 953821 w 959104"/>
                <a:gd name="connsiteY7" fmla="*/ 892861 h 1267968"/>
                <a:gd name="connsiteX8" fmla="*/ 603260 w 959104"/>
                <a:gd name="connsiteY8" fmla="*/ 530596 h 1267968"/>
                <a:gd name="connsiteX9" fmla="*/ 218562 w 959104"/>
                <a:gd name="connsiteY9" fmla="*/ 531490 h 1267968"/>
                <a:gd name="connsiteX10" fmla="*/ 424282 w 959104"/>
                <a:gd name="connsiteY10" fmla="*/ 737210 h 1267968"/>
                <a:gd name="connsiteX11" fmla="*/ 424932 w 959104"/>
                <a:gd name="connsiteY11" fmla="*/ 737210 h 1267968"/>
                <a:gd name="connsiteX12" fmla="*/ 585785 w 959104"/>
                <a:gd name="connsiteY12" fmla="*/ 737210 h 1267968"/>
                <a:gd name="connsiteX13" fmla="*/ 758261 w 959104"/>
                <a:gd name="connsiteY13" fmla="*/ 889203 h 1267968"/>
                <a:gd name="connsiteX14" fmla="*/ 606268 w 959104"/>
                <a:gd name="connsiteY14" fmla="*/ 1061679 h 1267968"/>
                <a:gd name="connsiteX15" fmla="*/ 585704 w 959104"/>
                <a:gd name="connsiteY15" fmla="*/ 1061679 h 1267968"/>
                <a:gd name="connsiteX16" fmla="*/ 216530 w 959104"/>
                <a:gd name="connsiteY16" fmla="*/ 1061679 h 1267968"/>
                <a:gd name="connsiteX17" fmla="*/ 216530 w 959104"/>
                <a:gd name="connsiteY17" fmla="*/ 211653 h 1267968"/>
                <a:gd name="connsiteX18" fmla="*/ 467685 w 959104"/>
                <a:gd name="connsiteY18" fmla="*/ 211653 h 1267968"/>
                <a:gd name="connsiteX19" fmla="*/ 612689 w 959104"/>
                <a:gd name="connsiteY19" fmla="*/ 356575 h 1267968"/>
                <a:gd name="connsiteX20" fmla="*/ 612689 w 959104"/>
                <a:gd name="connsiteY20" fmla="*/ 530352 h 1267968"/>
                <a:gd name="connsiteX21" fmla="*/ 818815 w 959104"/>
                <a:gd name="connsiteY21" fmla="*/ 411764 h 126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959104" h="1267968">
                  <a:moveTo>
                    <a:pt x="818815" y="411764"/>
                  </a:moveTo>
                  <a:lnTo>
                    <a:pt x="818815" y="285699"/>
                  </a:lnTo>
                  <a:cubicBezTo>
                    <a:pt x="818815" y="131267"/>
                    <a:pt x="693562" y="6096"/>
                    <a:pt x="539130" y="6096"/>
                  </a:cubicBezTo>
                  <a:lnTo>
                    <a:pt x="6096" y="6096"/>
                  </a:lnTo>
                  <a:lnTo>
                    <a:pt x="6096" y="1057047"/>
                  </a:lnTo>
                  <a:cubicBezTo>
                    <a:pt x="6096" y="1173196"/>
                    <a:pt x="100218" y="1267318"/>
                    <a:pt x="216367" y="1267399"/>
                  </a:cubicBezTo>
                  <a:lnTo>
                    <a:pt x="532140" y="1267399"/>
                  </a:lnTo>
                  <a:cubicBezTo>
                    <a:pt x="807436" y="1267399"/>
                    <a:pt x="953821" y="1096711"/>
                    <a:pt x="953821" y="892861"/>
                  </a:cubicBezTo>
                  <a:cubicBezTo>
                    <a:pt x="953821" y="725587"/>
                    <a:pt x="840029" y="530596"/>
                    <a:pt x="603260" y="530596"/>
                  </a:cubicBezTo>
                  <a:lnTo>
                    <a:pt x="218562" y="531490"/>
                  </a:lnTo>
                  <a:cubicBezTo>
                    <a:pt x="218562" y="645119"/>
                    <a:pt x="310652" y="737210"/>
                    <a:pt x="424282" y="737210"/>
                  </a:cubicBezTo>
                  <a:cubicBezTo>
                    <a:pt x="424525" y="737210"/>
                    <a:pt x="424688" y="737210"/>
                    <a:pt x="424932" y="737210"/>
                  </a:cubicBezTo>
                  <a:lnTo>
                    <a:pt x="585785" y="737210"/>
                  </a:lnTo>
                  <a:cubicBezTo>
                    <a:pt x="675356" y="731520"/>
                    <a:pt x="752653" y="799551"/>
                    <a:pt x="758261" y="889203"/>
                  </a:cubicBezTo>
                  <a:cubicBezTo>
                    <a:pt x="763951" y="978774"/>
                    <a:pt x="695919" y="1056071"/>
                    <a:pt x="606268" y="1061679"/>
                  </a:cubicBezTo>
                  <a:cubicBezTo>
                    <a:pt x="599440" y="1062086"/>
                    <a:pt x="592531" y="1062086"/>
                    <a:pt x="585704" y="1061679"/>
                  </a:cubicBezTo>
                  <a:lnTo>
                    <a:pt x="216530" y="1061679"/>
                  </a:lnTo>
                  <a:lnTo>
                    <a:pt x="216530" y="211653"/>
                  </a:lnTo>
                  <a:lnTo>
                    <a:pt x="467685" y="211653"/>
                  </a:lnTo>
                  <a:cubicBezTo>
                    <a:pt x="547014" y="213441"/>
                    <a:pt x="610901" y="277246"/>
                    <a:pt x="612689" y="356575"/>
                  </a:cubicBezTo>
                  <a:lnTo>
                    <a:pt x="612689" y="530352"/>
                  </a:lnTo>
                  <a:lnTo>
                    <a:pt x="818815" y="411764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35" name="Forma libre: forma 34">
              <a:extLst>
                <a:ext uri="{FF2B5EF4-FFF2-40B4-BE49-F238E27FC236}">
                  <a16:creationId xmlns:a16="http://schemas.microsoft.com/office/drawing/2014/main" id="{8BAD668F-6CE9-49DB-9AA6-D3C447229D13}"/>
                </a:ext>
              </a:extLst>
            </p:cNvPr>
            <p:cNvSpPr/>
            <p:nvPr/>
          </p:nvSpPr>
          <p:spPr>
            <a:xfrm>
              <a:off x="2653792" y="2794284"/>
              <a:ext cx="959104" cy="1267968"/>
            </a:xfrm>
            <a:custGeom>
              <a:avLst/>
              <a:gdLst>
                <a:gd name="connsiteX0" fmla="*/ 818896 w 959104"/>
                <a:gd name="connsiteY0" fmla="*/ 411764 h 1267968"/>
                <a:gd name="connsiteX1" fmla="*/ 818896 w 959104"/>
                <a:gd name="connsiteY1" fmla="*/ 285699 h 1267968"/>
                <a:gd name="connsiteX2" fmla="*/ 539212 w 959104"/>
                <a:gd name="connsiteY2" fmla="*/ 6096 h 1267968"/>
                <a:gd name="connsiteX3" fmla="*/ 6096 w 959104"/>
                <a:gd name="connsiteY3" fmla="*/ 6096 h 1267968"/>
                <a:gd name="connsiteX4" fmla="*/ 6096 w 959104"/>
                <a:gd name="connsiteY4" fmla="*/ 1057047 h 1267968"/>
                <a:gd name="connsiteX5" fmla="*/ 216449 w 959104"/>
                <a:gd name="connsiteY5" fmla="*/ 1267399 h 1267968"/>
                <a:gd name="connsiteX6" fmla="*/ 532222 w 959104"/>
                <a:gd name="connsiteY6" fmla="*/ 1267399 h 1267968"/>
                <a:gd name="connsiteX7" fmla="*/ 953821 w 959104"/>
                <a:gd name="connsiteY7" fmla="*/ 892861 h 1267968"/>
                <a:gd name="connsiteX8" fmla="*/ 603342 w 959104"/>
                <a:gd name="connsiteY8" fmla="*/ 530596 h 1267968"/>
                <a:gd name="connsiteX9" fmla="*/ 218643 w 959104"/>
                <a:gd name="connsiteY9" fmla="*/ 531490 h 1267968"/>
                <a:gd name="connsiteX10" fmla="*/ 424363 w 959104"/>
                <a:gd name="connsiteY10" fmla="*/ 737210 h 1267968"/>
                <a:gd name="connsiteX11" fmla="*/ 424932 w 959104"/>
                <a:gd name="connsiteY11" fmla="*/ 737210 h 1267968"/>
                <a:gd name="connsiteX12" fmla="*/ 585866 w 959104"/>
                <a:gd name="connsiteY12" fmla="*/ 737210 h 1267968"/>
                <a:gd name="connsiteX13" fmla="*/ 737860 w 959104"/>
                <a:gd name="connsiteY13" fmla="*/ 909686 h 1267968"/>
                <a:gd name="connsiteX14" fmla="*/ 585866 w 959104"/>
                <a:gd name="connsiteY14" fmla="*/ 1061679 h 1267968"/>
                <a:gd name="connsiteX15" fmla="*/ 216611 w 959104"/>
                <a:gd name="connsiteY15" fmla="*/ 1061679 h 1267968"/>
                <a:gd name="connsiteX16" fmla="*/ 216611 w 959104"/>
                <a:gd name="connsiteY16" fmla="*/ 211653 h 1267968"/>
                <a:gd name="connsiteX17" fmla="*/ 467766 w 959104"/>
                <a:gd name="connsiteY17" fmla="*/ 211653 h 1267968"/>
                <a:gd name="connsiteX18" fmla="*/ 612770 w 959104"/>
                <a:gd name="connsiteY18" fmla="*/ 356575 h 1267968"/>
                <a:gd name="connsiteX19" fmla="*/ 612770 w 959104"/>
                <a:gd name="connsiteY19" fmla="*/ 530352 h 1267968"/>
                <a:gd name="connsiteX20" fmla="*/ 818896 w 959104"/>
                <a:gd name="connsiteY20" fmla="*/ 411764 h 126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959104" h="1267968">
                  <a:moveTo>
                    <a:pt x="818896" y="411764"/>
                  </a:moveTo>
                  <a:lnTo>
                    <a:pt x="818896" y="285699"/>
                  </a:lnTo>
                  <a:cubicBezTo>
                    <a:pt x="818896" y="131267"/>
                    <a:pt x="693644" y="6096"/>
                    <a:pt x="539212" y="6096"/>
                  </a:cubicBezTo>
                  <a:lnTo>
                    <a:pt x="6096" y="6096"/>
                  </a:lnTo>
                  <a:lnTo>
                    <a:pt x="6096" y="1057047"/>
                  </a:lnTo>
                  <a:cubicBezTo>
                    <a:pt x="6096" y="1173196"/>
                    <a:pt x="100299" y="1267399"/>
                    <a:pt x="216449" y="1267399"/>
                  </a:cubicBezTo>
                  <a:lnTo>
                    <a:pt x="532222" y="1267399"/>
                  </a:lnTo>
                  <a:cubicBezTo>
                    <a:pt x="807517" y="1267399"/>
                    <a:pt x="953821" y="1096711"/>
                    <a:pt x="953821" y="892861"/>
                  </a:cubicBezTo>
                  <a:cubicBezTo>
                    <a:pt x="953821" y="725587"/>
                    <a:pt x="840029" y="530596"/>
                    <a:pt x="603342" y="530596"/>
                  </a:cubicBezTo>
                  <a:lnTo>
                    <a:pt x="218643" y="531490"/>
                  </a:lnTo>
                  <a:cubicBezTo>
                    <a:pt x="218643" y="645119"/>
                    <a:pt x="310734" y="737210"/>
                    <a:pt x="424363" y="737210"/>
                  </a:cubicBezTo>
                  <a:cubicBezTo>
                    <a:pt x="424526" y="737210"/>
                    <a:pt x="424769" y="737210"/>
                    <a:pt x="424932" y="737210"/>
                  </a:cubicBezTo>
                  <a:lnTo>
                    <a:pt x="585866" y="737210"/>
                  </a:lnTo>
                  <a:cubicBezTo>
                    <a:pt x="675437" y="742899"/>
                    <a:pt x="743468" y="820115"/>
                    <a:pt x="737860" y="909686"/>
                  </a:cubicBezTo>
                  <a:cubicBezTo>
                    <a:pt x="732658" y="991372"/>
                    <a:pt x="667553" y="1056477"/>
                    <a:pt x="585866" y="1061679"/>
                  </a:cubicBezTo>
                  <a:lnTo>
                    <a:pt x="216611" y="1061679"/>
                  </a:lnTo>
                  <a:lnTo>
                    <a:pt x="216611" y="211653"/>
                  </a:lnTo>
                  <a:lnTo>
                    <a:pt x="467766" y="211653"/>
                  </a:lnTo>
                  <a:cubicBezTo>
                    <a:pt x="547096" y="213441"/>
                    <a:pt x="610982" y="277246"/>
                    <a:pt x="612770" y="356575"/>
                  </a:cubicBezTo>
                  <a:lnTo>
                    <a:pt x="612770" y="530352"/>
                  </a:lnTo>
                  <a:lnTo>
                    <a:pt x="818896" y="411764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36" name="Forma libre: forma 35">
              <a:extLst>
                <a:ext uri="{FF2B5EF4-FFF2-40B4-BE49-F238E27FC236}">
                  <a16:creationId xmlns:a16="http://schemas.microsoft.com/office/drawing/2014/main" id="{9523C909-3EF9-45A5-8D03-43FB7ECBDC99}"/>
                </a:ext>
              </a:extLst>
            </p:cNvPr>
            <p:cNvSpPr/>
            <p:nvPr/>
          </p:nvSpPr>
          <p:spPr>
            <a:xfrm>
              <a:off x="5297343" y="2793878"/>
              <a:ext cx="219456" cy="1267968"/>
            </a:xfrm>
            <a:custGeom>
              <a:avLst/>
              <a:gdLst>
                <a:gd name="connsiteX0" fmla="*/ 6096 w 219456"/>
                <a:gd name="connsiteY0" fmla="*/ 6096 h 1267968"/>
                <a:gd name="connsiteX1" fmla="*/ 216449 w 219456"/>
                <a:gd name="connsiteY1" fmla="*/ 6096 h 1267968"/>
                <a:gd name="connsiteX2" fmla="*/ 216449 w 219456"/>
                <a:gd name="connsiteY2" fmla="*/ 1268212 h 1267968"/>
                <a:gd name="connsiteX3" fmla="*/ 6096 w 219456"/>
                <a:gd name="connsiteY3" fmla="*/ 1268212 h 126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19456" h="1267968">
                  <a:moveTo>
                    <a:pt x="6096" y="6096"/>
                  </a:moveTo>
                  <a:lnTo>
                    <a:pt x="216449" y="6096"/>
                  </a:lnTo>
                  <a:lnTo>
                    <a:pt x="216449" y="1268212"/>
                  </a:lnTo>
                  <a:lnTo>
                    <a:pt x="6096" y="1268212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37" name="Forma libre: forma 36">
              <a:extLst>
                <a:ext uri="{FF2B5EF4-FFF2-40B4-BE49-F238E27FC236}">
                  <a16:creationId xmlns:a16="http://schemas.microsoft.com/office/drawing/2014/main" id="{BFA389F8-1846-453D-99F7-D2EC8675D66C}"/>
                </a:ext>
              </a:extLst>
            </p:cNvPr>
            <p:cNvSpPr/>
            <p:nvPr/>
          </p:nvSpPr>
          <p:spPr>
            <a:xfrm>
              <a:off x="5507695" y="2793634"/>
              <a:ext cx="487680" cy="1267968"/>
            </a:xfrm>
            <a:custGeom>
              <a:avLst/>
              <a:gdLst>
                <a:gd name="connsiteX0" fmla="*/ 426557 w 487680"/>
                <a:gd name="connsiteY0" fmla="*/ 1268375 h 1267968"/>
                <a:gd name="connsiteX1" fmla="*/ 485323 w 487680"/>
                <a:gd name="connsiteY1" fmla="*/ 1268375 h 1267968"/>
                <a:gd name="connsiteX2" fmla="*/ 248067 w 487680"/>
                <a:gd name="connsiteY2" fmla="*/ 154838 h 1267968"/>
                <a:gd name="connsiteX3" fmla="*/ 64861 w 487680"/>
                <a:gd name="connsiteY3" fmla="*/ 6096 h 1267968"/>
                <a:gd name="connsiteX4" fmla="*/ 6096 w 487680"/>
                <a:gd name="connsiteY4" fmla="*/ 6096 h 1267968"/>
                <a:gd name="connsiteX5" fmla="*/ 243352 w 487680"/>
                <a:gd name="connsiteY5" fmla="*/ 1119632 h 1267968"/>
                <a:gd name="connsiteX6" fmla="*/ 426557 w 487680"/>
                <a:gd name="connsiteY6" fmla="*/ 1267968 h 126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87680" h="1267968">
                  <a:moveTo>
                    <a:pt x="426557" y="1268375"/>
                  </a:moveTo>
                  <a:lnTo>
                    <a:pt x="485323" y="1268375"/>
                  </a:lnTo>
                  <a:lnTo>
                    <a:pt x="248067" y="154838"/>
                  </a:lnTo>
                  <a:cubicBezTo>
                    <a:pt x="229535" y="68356"/>
                    <a:pt x="153294" y="6421"/>
                    <a:pt x="64861" y="6096"/>
                  </a:cubicBezTo>
                  <a:lnTo>
                    <a:pt x="6096" y="6096"/>
                  </a:lnTo>
                  <a:lnTo>
                    <a:pt x="243352" y="1119632"/>
                  </a:lnTo>
                  <a:cubicBezTo>
                    <a:pt x="261803" y="1206114"/>
                    <a:pt x="338125" y="1267887"/>
                    <a:pt x="426557" y="1267968"/>
                  </a:cubicBezTo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38" name="Forma libre: forma 37">
              <a:extLst>
                <a:ext uri="{FF2B5EF4-FFF2-40B4-BE49-F238E27FC236}">
                  <a16:creationId xmlns:a16="http://schemas.microsoft.com/office/drawing/2014/main" id="{FC4F5882-146C-454C-9B49-2B7BA1E19C83}"/>
                </a:ext>
              </a:extLst>
            </p:cNvPr>
            <p:cNvSpPr/>
            <p:nvPr/>
          </p:nvSpPr>
          <p:spPr>
            <a:xfrm>
              <a:off x="5986922" y="2794284"/>
              <a:ext cx="487680" cy="1267968"/>
            </a:xfrm>
            <a:custGeom>
              <a:avLst/>
              <a:gdLst>
                <a:gd name="connsiteX0" fmla="*/ 243271 w 487680"/>
                <a:gd name="connsiteY0" fmla="*/ 154595 h 1267968"/>
                <a:gd name="connsiteX1" fmla="*/ 6096 w 487680"/>
                <a:gd name="connsiteY1" fmla="*/ 1268131 h 1267968"/>
                <a:gd name="connsiteX2" fmla="*/ 216367 w 487680"/>
                <a:gd name="connsiteY2" fmla="*/ 1268131 h 1267968"/>
                <a:gd name="connsiteX3" fmla="*/ 485323 w 487680"/>
                <a:gd name="connsiteY3" fmla="*/ 6096 h 1267968"/>
                <a:gd name="connsiteX4" fmla="*/ 426557 w 487680"/>
                <a:gd name="connsiteY4" fmla="*/ 6096 h 1267968"/>
                <a:gd name="connsiteX5" fmla="*/ 243271 w 487680"/>
                <a:gd name="connsiteY5" fmla="*/ 155001 h 126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87680" h="1267968">
                  <a:moveTo>
                    <a:pt x="243271" y="154595"/>
                  </a:moveTo>
                  <a:lnTo>
                    <a:pt x="6096" y="1268131"/>
                  </a:lnTo>
                  <a:lnTo>
                    <a:pt x="216367" y="1268131"/>
                  </a:lnTo>
                  <a:lnTo>
                    <a:pt x="485323" y="6096"/>
                  </a:lnTo>
                  <a:lnTo>
                    <a:pt x="426557" y="6096"/>
                  </a:lnTo>
                  <a:cubicBezTo>
                    <a:pt x="338043" y="6421"/>
                    <a:pt x="261722" y="68438"/>
                    <a:pt x="243271" y="155001"/>
                  </a:cubicBezTo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39" name="Forma libre: forma 38">
              <a:extLst>
                <a:ext uri="{FF2B5EF4-FFF2-40B4-BE49-F238E27FC236}">
                  <a16:creationId xmlns:a16="http://schemas.microsoft.com/office/drawing/2014/main" id="{AB5B3692-D06E-4A46-BD00-03C2AAD9BFEA}"/>
                </a:ext>
              </a:extLst>
            </p:cNvPr>
            <p:cNvSpPr/>
            <p:nvPr/>
          </p:nvSpPr>
          <p:spPr>
            <a:xfrm>
              <a:off x="6466149" y="2793878"/>
              <a:ext cx="219456" cy="1267968"/>
            </a:xfrm>
            <a:custGeom>
              <a:avLst/>
              <a:gdLst>
                <a:gd name="connsiteX0" fmla="*/ 6096 w 219456"/>
                <a:gd name="connsiteY0" fmla="*/ 6096 h 1267968"/>
                <a:gd name="connsiteX1" fmla="*/ 216449 w 219456"/>
                <a:gd name="connsiteY1" fmla="*/ 6096 h 1267968"/>
                <a:gd name="connsiteX2" fmla="*/ 216449 w 219456"/>
                <a:gd name="connsiteY2" fmla="*/ 1268212 h 1267968"/>
                <a:gd name="connsiteX3" fmla="*/ 6096 w 219456"/>
                <a:gd name="connsiteY3" fmla="*/ 1268212 h 126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19456" h="1267968">
                  <a:moveTo>
                    <a:pt x="6096" y="6096"/>
                  </a:moveTo>
                  <a:lnTo>
                    <a:pt x="216449" y="6096"/>
                  </a:lnTo>
                  <a:lnTo>
                    <a:pt x="216449" y="1268212"/>
                  </a:lnTo>
                  <a:lnTo>
                    <a:pt x="6096" y="1268212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45" name="Forma libre: forma 44">
              <a:extLst>
                <a:ext uri="{FF2B5EF4-FFF2-40B4-BE49-F238E27FC236}">
                  <a16:creationId xmlns:a16="http://schemas.microsoft.com/office/drawing/2014/main" id="{96989BF1-88C7-49D1-BBD3-C3CE86C87099}"/>
                </a:ext>
              </a:extLst>
            </p:cNvPr>
            <p:cNvSpPr/>
            <p:nvPr/>
          </p:nvSpPr>
          <p:spPr>
            <a:xfrm>
              <a:off x="9815617" y="2776728"/>
              <a:ext cx="950976" cy="1300480"/>
            </a:xfrm>
            <a:custGeom>
              <a:avLst/>
              <a:gdLst>
                <a:gd name="connsiteX0" fmla="*/ 889935 w 950976"/>
                <a:gd name="connsiteY0" fmla="*/ 286350 h 1300480"/>
                <a:gd name="connsiteX1" fmla="*/ 285618 w 950976"/>
                <a:gd name="connsiteY1" fmla="*/ 417779 h 1300480"/>
                <a:gd name="connsiteX2" fmla="*/ 417047 w 950976"/>
                <a:gd name="connsiteY2" fmla="*/ 1022096 h 1300480"/>
                <a:gd name="connsiteX3" fmla="*/ 653410 w 950976"/>
                <a:gd name="connsiteY3" fmla="*/ 1091509 h 1300480"/>
                <a:gd name="connsiteX4" fmla="*/ 927242 w 950976"/>
                <a:gd name="connsiteY4" fmla="*/ 997712 h 1300480"/>
                <a:gd name="connsiteX5" fmla="*/ 927242 w 950976"/>
                <a:gd name="connsiteY5" fmla="*/ 1240170 h 1300480"/>
                <a:gd name="connsiteX6" fmla="*/ 653736 w 950976"/>
                <a:gd name="connsiteY6" fmla="*/ 1301862 h 1300480"/>
                <a:gd name="connsiteX7" fmla="*/ 6096 w 950976"/>
                <a:gd name="connsiteY7" fmla="*/ 653735 h 1300480"/>
                <a:gd name="connsiteX8" fmla="*/ 654304 w 950976"/>
                <a:gd name="connsiteY8" fmla="*/ 6096 h 1300480"/>
                <a:gd name="connsiteX9" fmla="*/ 948050 w 950976"/>
                <a:gd name="connsiteY9" fmla="*/ 76647 h 1300480"/>
                <a:gd name="connsiteX10" fmla="*/ 889935 w 950976"/>
                <a:gd name="connsiteY10" fmla="*/ 286350 h 13004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950976" h="1300480">
                  <a:moveTo>
                    <a:pt x="889935" y="286350"/>
                  </a:moveTo>
                  <a:cubicBezTo>
                    <a:pt x="686735" y="155814"/>
                    <a:pt x="416235" y="214661"/>
                    <a:pt x="285618" y="417779"/>
                  </a:cubicBezTo>
                  <a:cubicBezTo>
                    <a:pt x="155082" y="620979"/>
                    <a:pt x="213929" y="891479"/>
                    <a:pt x="417047" y="1022096"/>
                  </a:cubicBezTo>
                  <a:cubicBezTo>
                    <a:pt x="487599" y="1067369"/>
                    <a:pt x="569610" y="1091509"/>
                    <a:pt x="653410" y="1091509"/>
                  </a:cubicBezTo>
                  <a:cubicBezTo>
                    <a:pt x="752571" y="1091753"/>
                    <a:pt x="849051" y="1058753"/>
                    <a:pt x="927242" y="997712"/>
                  </a:cubicBezTo>
                  <a:lnTo>
                    <a:pt x="927242" y="1240170"/>
                  </a:lnTo>
                  <a:cubicBezTo>
                    <a:pt x="841817" y="1280892"/>
                    <a:pt x="748345" y="1302024"/>
                    <a:pt x="653736" y="1301862"/>
                  </a:cubicBezTo>
                  <a:cubicBezTo>
                    <a:pt x="295941" y="1301699"/>
                    <a:pt x="5933" y="1011530"/>
                    <a:pt x="6096" y="653735"/>
                  </a:cubicBezTo>
                  <a:cubicBezTo>
                    <a:pt x="6259" y="295941"/>
                    <a:pt x="296428" y="5934"/>
                    <a:pt x="654304" y="6096"/>
                  </a:cubicBezTo>
                  <a:cubicBezTo>
                    <a:pt x="756391" y="6096"/>
                    <a:pt x="857097" y="30318"/>
                    <a:pt x="948050" y="76647"/>
                  </a:cubicBezTo>
                  <a:lnTo>
                    <a:pt x="889935" y="286350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46" name="Forma libre: forma 45">
              <a:extLst>
                <a:ext uri="{FF2B5EF4-FFF2-40B4-BE49-F238E27FC236}">
                  <a16:creationId xmlns:a16="http://schemas.microsoft.com/office/drawing/2014/main" id="{A816EE1E-69DC-4797-98AC-B3202E7B4789}"/>
                </a:ext>
              </a:extLst>
            </p:cNvPr>
            <p:cNvSpPr/>
            <p:nvPr/>
          </p:nvSpPr>
          <p:spPr>
            <a:xfrm>
              <a:off x="6886773" y="2794041"/>
              <a:ext cx="1276096" cy="1267968"/>
            </a:xfrm>
            <a:custGeom>
              <a:avLst/>
              <a:gdLst>
                <a:gd name="connsiteX0" fmla="*/ 1060135 w 1276096"/>
                <a:gd name="connsiteY0" fmla="*/ 1267968 h 1267968"/>
                <a:gd name="connsiteX1" fmla="*/ 1273007 w 1276096"/>
                <a:gd name="connsiteY1" fmla="*/ 1267968 h 1267968"/>
                <a:gd name="connsiteX2" fmla="*/ 900501 w 1276096"/>
                <a:gd name="connsiteY2" fmla="*/ 149962 h 1267968"/>
                <a:gd name="connsiteX3" fmla="*/ 700959 w 1276096"/>
                <a:gd name="connsiteY3" fmla="*/ 6096 h 1267968"/>
                <a:gd name="connsiteX4" fmla="*/ 426801 w 1276096"/>
                <a:gd name="connsiteY4" fmla="*/ 6096 h 1267968"/>
                <a:gd name="connsiteX5" fmla="*/ 6096 w 1276096"/>
                <a:gd name="connsiteY5" fmla="*/ 1268212 h 1267968"/>
                <a:gd name="connsiteX6" fmla="*/ 218968 w 1276096"/>
                <a:gd name="connsiteY6" fmla="*/ 1268212 h 1267968"/>
                <a:gd name="connsiteX7" fmla="*/ 324145 w 1276096"/>
                <a:gd name="connsiteY7" fmla="*/ 952683 h 1267968"/>
                <a:gd name="connsiteX8" fmla="*/ 673649 w 1276096"/>
                <a:gd name="connsiteY8" fmla="*/ 952683 h 1267968"/>
                <a:gd name="connsiteX9" fmla="*/ 884001 w 1276096"/>
                <a:gd name="connsiteY9" fmla="*/ 742330 h 1267968"/>
                <a:gd name="connsiteX10" fmla="*/ 884001 w 1276096"/>
                <a:gd name="connsiteY10" fmla="*/ 742330 h 1267968"/>
                <a:gd name="connsiteX11" fmla="*/ 394127 w 1276096"/>
                <a:gd name="connsiteY11" fmla="*/ 742330 h 1267968"/>
                <a:gd name="connsiteX12" fmla="*/ 639511 w 1276096"/>
                <a:gd name="connsiteY12" fmla="*/ 6096 h 1267968"/>
                <a:gd name="connsiteX13" fmla="*/ 1060135 w 1276096"/>
                <a:gd name="connsiteY13" fmla="*/ 1267968 h 126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276096" h="1267968">
                  <a:moveTo>
                    <a:pt x="1060135" y="1267968"/>
                  </a:moveTo>
                  <a:lnTo>
                    <a:pt x="1273007" y="1267968"/>
                  </a:lnTo>
                  <a:lnTo>
                    <a:pt x="900501" y="149962"/>
                  </a:lnTo>
                  <a:cubicBezTo>
                    <a:pt x="871891" y="64049"/>
                    <a:pt x="791505" y="6096"/>
                    <a:pt x="700959" y="6096"/>
                  </a:cubicBezTo>
                  <a:lnTo>
                    <a:pt x="426801" y="6096"/>
                  </a:lnTo>
                  <a:lnTo>
                    <a:pt x="6096" y="1268212"/>
                  </a:lnTo>
                  <a:lnTo>
                    <a:pt x="218968" y="1268212"/>
                  </a:lnTo>
                  <a:lnTo>
                    <a:pt x="324145" y="952683"/>
                  </a:lnTo>
                  <a:lnTo>
                    <a:pt x="673649" y="952683"/>
                  </a:lnTo>
                  <a:cubicBezTo>
                    <a:pt x="789798" y="952683"/>
                    <a:pt x="884001" y="858479"/>
                    <a:pt x="884001" y="742330"/>
                  </a:cubicBezTo>
                  <a:lnTo>
                    <a:pt x="884001" y="742330"/>
                  </a:lnTo>
                  <a:cubicBezTo>
                    <a:pt x="884001" y="742330"/>
                    <a:pt x="394127" y="742330"/>
                    <a:pt x="394127" y="742330"/>
                  </a:cubicBezTo>
                  <a:lnTo>
                    <a:pt x="639511" y="6096"/>
                  </a:lnTo>
                  <a:lnTo>
                    <a:pt x="1060135" y="1267968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47" name="Forma libre: forma 46">
              <a:extLst>
                <a:ext uri="{FF2B5EF4-FFF2-40B4-BE49-F238E27FC236}">
                  <a16:creationId xmlns:a16="http://schemas.microsoft.com/office/drawing/2014/main" id="{C4A5082E-56E0-4384-B337-FE3A75944127}"/>
                </a:ext>
              </a:extLst>
            </p:cNvPr>
            <p:cNvSpPr/>
            <p:nvPr/>
          </p:nvSpPr>
          <p:spPr>
            <a:xfrm>
              <a:off x="10918749" y="2794041"/>
              <a:ext cx="1276096" cy="1267968"/>
            </a:xfrm>
            <a:custGeom>
              <a:avLst/>
              <a:gdLst>
                <a:gd name="connsiteX0" fmla="*/ 1060380 w 1276096"/>
                <a:gd name="connsiteY0" fmla="*/ 1267968 h 1267968"/>
                <a:gd name="connsiteX1" fmla="*/ 1273251 w 1276096"/>
                <a:gd name="connsiteY1" fmla="*/ 1267968 h 1267968"/>
                <a:gd name="connsiteX2" fmla="*/ 900420 w 1276096"/>
                <a:gd name="connsiteY2" fmla="*/ 149962 h 1267968"/>
                <a:gd name="connsiteX3" fmla="*/ 700877 w 1276096"/>
                <a:gd name="connsiteY3" fmla="*/ 6096 h 1267968"/>
                <a:gd name="connsiteX4" fmla="*/ 426801 w 1276096"/>
                <a:gd name="connsiteY4" fmla="*/ 6096 h 1267968"/>
                <a:gd name="connsiteX5" fmla="*/ 6096 w 1276096"/>
                <a:gd name="connsiteY5" fmla="*/ 1268212 h 1267968"/>
                <a:gd name="connsiteX6" fmla="*/ 218969 w 1276096"/>
                <a:gd name="connsiteY6" fmla="*/ 1268212 h 1267968"/>
                <a:gd name="connsiteX7" fmla="*/ 324145 w 1276096"/>
                <a:gd name="connsiteY7" fmla="*/ 952683 h 1267968"/>
                <a:gd name="connsiteX8" fmla="*/ 673649 w 1276096"/>
                <a:gd name="connsiteY8" fmla="*/ 952683 h 1267968"/>
                <a:gd name="connsiteX9" fmla="*/ 884001 w 1276096"/>
                <a:gd name="connsiteY9" fmla="*/ 742330 h 1267968"/>
                <a:gd name="connsiteX10" fmla="*/ 884001 w 1276096"/>
                <a:gd name="connsiteY10" fmla="*/ 742330 h 1267968"/>
                <a:gd name="connsiteX11" fmla="*/ 394127 w 1276096"/>
                <a:gd name="connsiteY11" fmla="*/ 742330 h 1267968"/>
                <a:gd name="connsiteX12" fmla="*/ 639512 w 1276096"/>
                <a:gd name="connsiteY12" fmla="*/ 6096 h 1267968"/>
                <a:gd name="connsiteX13" fmla="*/ 1060380 w 1276096"/>
                <a:gd name="connsiteY13" fmla="*/ 1267968 h 126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276096" h="1267968">
                  <a:moveTo>
                    <a:pt x="1060380" y="1267968"/>
                  </a:moveTo>
                  <a:lnTo>
                    <a:pt x="1273251" y="1267968"/>
                  </a:lnTo>
                  <a:lnTo>
                    <a:pt x="900420" y="149962"/>
                  </a:lnTo>
                  <a:cubicBezTo>
                    <a:pt x="871809" y="64049"/>
                    <a:pt x="791423" y="6096"/>
                    <a:pt x="700877" y="6096"/>
                  </a:cubicBezTo>
                  <a:lnTo>
                    <a:pt x="426801" y="6096"/>
                  </a:lnTo>
                  <a:lnTo>
                    <a:pt x="6096" y="1268212"/>
                  </a:lnTo>
                  <a:lnTo>
                    <a:pt x="218969" y="1268212"/>
                  </a:lnTo>
                  <a:lnTo>
                    <a:pt x="324145" y="952683"/>
                  </a:lnTo>
                  <a:lnTo>
                    <a:pt x="673649" y="952683"/>
                  </a:lnTo>
                  <a:cubicBezTo>
                    <a:pt x="789798" y="952683"/>
                    <a:pt x="884001" y="858479"/>
                    <a:pt x="884001" y="742330"/>
                  </a:cubicBezTo>
                  <a:lnTo>
                    <a:pt x="884001" y="742330"/>
                  </a:lnTo>
                  <a:cubicBezTo>
                    <a:pt x="884001" y="742330"/>
                    <a:pt x="394127" y="742330"/>
                    <a:pt x="394127" y="742330"/>
                  </a:cubicBezTo>
                  <a:lnTo>
                    <a:pt x="639512" y="6096"/>
                  </a:lnTo>
                  <a:lnTo>
                    <a:pt x="1060380" y="1267968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</p:grpSp>
    </p:spTree>
    <p:extLst>
      <p:ext uri="{BB962C8B-B14F-4D97-AF65-F5344CB8AC3E}">
        <p14:creationId xmlns:p14="http://schemas.microsoft.com/office/powerpoint/2010/main" val="17801392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ítulo 4">
            <a:extLst>
              <a:ext uri="{FF2B5EF4-FFF2-40B4-BE49-F238E27FC236}">
                <a16:creationId xmlns:a16="http://schemas.microsoft.com/office/drawing/2014/main" id="{A84AD1C1-DA9C-D28E-BB89-F62058AF6A5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19200" y="3939777"/>
            <a:ext cx="7315200" cy="853282"/>
          </a:xfrm>
        </p:spPr>
        <p:txBody>
          <a:bodyPr>
            <a:normAutofit fontScale="90000"/>
          </a:bodyPr>
          <a:lstStyle/>
          <a:p>
            <a:r>
              <a:rPr lang="pt-PT" dirty="0"/>
              <a:t>Ejemplo de título de separador</a:t>
            </a:r>
          </a:p>
        </p:txBody>
      </p:sp>
      <p:sp>
        <p:nvSpPr>
          <p:cNvPr id="6" name="Marcador de Posição do Texto 5">
            <a:extLst>
              <a:ext uri="{FF2B5EF4-FFF2-40B4-BE49-F238E27FC236}">
                <a16:creationId xmlns:a16="http://schemas.microsoft.com/office/drawing/2014/main" id="{03ED2ECB-9B77-85D9-843E-8305901E8990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1219200" y="4977216"/>
            <a:ext cx="7315200" cy="560515"/>
          </a:xfrm>
        </p:spPr>
        <p:txBody>
          <a:bodyPr/>
          <a:lstStyle/>
          <a:p>
            <a:r>
              <a:rPr lang="pt-PT" dirty="0"/>
              <a:t>Ejemplo de subtítulo do separador</a:t>
            </a:r>
          </a:p>
        </p:txBody>
      </p:sp>
      <p:sp>
        <p:nvSpPr>
          <p:cNvPr id="7" name="Marcador de Posição do Texto 6">
            <a:extLst>
              <a:ext uri="{FF2B5EF4-FFF2-40B4-BE49-F238E27FC236}">
                <a16:creationId xmlns:a16="http://schemas.microsoft.com/office/drawing/2014/main" id="{A959709E-C4D2-2E69-C1A4-2FEEEC5251C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pt-PT" dirty="0"/>
              <a:t>02</a:t>
            </a:r>
          </a:p>
        </p:txBody>
      </p:sp>
    </p:spTree>
    <p:extLst>
      <p:ext uri="{BB962C8B-B14F-4D97-AF65-F5344CB8AC3E}">
        <p14:creationId xmlns:p14="http://schemas.microsoft.com/office/powerpoint/2010/main" val="13639844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ítulo 4">
            <a:extLst>
              <a:ext uri="{FF2B5EF4-FFF2-40B4-BE49-F238E27FC236}">
                <a16:creationId xmlns:a16="http://schemas.microsoft.com/office/drawing/2014/main" id="{6D71F362-8E8C-025F-2189-EC18244EDBC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pt-PT" dirty="0"/>
              <a:t>Ejemplo de título de separador</a:t>
            </a:r>
          </a:p>
        </p:txBody>
      </p:sp>
      <p:sp>
        <p:nvSpPr>
          <p:cNvPr id="6" name="Marcador de Posição do Texto 5">
            <a:extLst>
              <a:ext uri="{FF2B5EF4-FFF2-40B4-BE49-F238E27FC236}">
                <a16:creationId xmlns:a16="http://schemas.microsoft.com/office/drawing/2014/main" id="{99A8FCD6-9959-D7B1-5237-F6E047E21E9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pt-PT" dirty="0"/>
              <a:t>Ejemplo de subtítulo do separador</a:t>
            </a:r>
          </a:p>
        </p:txBody>
      </p:sp>
      <p:sp>
        <p:nvSpPr>
          <p:cNvPr id="7" name="Marcador de Posição do Texto 6">
            <a:extLst>
              <a:ext uri="{FF2B5EF4-FFF2-40B4-BE49-F238E27FC236}">
                <a16:creationId xmlns:a16="http://schemas.microsoft.com/office/drawing/2014/main" id="{6313E6FB-9F51-3A37-99EA-E71E4776C4B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pt-PT" dirty="0"/>
              <a:t>03</a:t>
            </a:r>
          </a:p>
        </p:txBody>
      </p:sp>
    </p:spTree>
    <p:extLst>
      <p:ext uri="{BB962C8B-B14F-4D97-AF65-F5344CB8AC3E}">
        <p14:creationId xmlns:p14="http://schemas.microsoft.com/office/powerpoint/2010/main" val="29544763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387C4F49-B6C6-F89C-9257-5917A1D0297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PT" dirty="0"/>
              <a:t>Ejemplo de título de slide</a:t>
            </a:r>
          </a:p>
        </p:txBody>
      </p:sp>
      <p:sp>
        <p:nvSpPr>
          <p:cNvPr id="3" name="Marcador de Posição do Texto 2">
            <a:extLst>
              <a:ext uri="{FF2B5EF4-FFF2-40B4-BE49-F238E27FC236}">
                <a16:creationId xmlns:a16="http://schemas.microsoft.com/office/drawing/2014/main" id="{2F3E1C9C-BDB9-0B79-689E-882D225CF57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>
            <a:normAutofit lnSpcReduction="10000"/>
          </a:bodyPr>
          <a:lstStyle/>
          <a:p>
            <a:r>
              <a:rPr lang="pt-PT" dirty="0"/>
              <a:t>Ejemplo de subtítulo de slide</a:t>
            </a:r>
          </a:p>
        </p:txBody>
      </p:sp>
      <p:sp>
        <p:nvSpPr>
          <p:cNvPr id="4" name="Marcador de Posição do Texto 3">
            <a:extLst>
              <a:ext uri="{FF2B5EF4-FFF2-40B4-BE49-F238E27FC236}">
                <a16:creationId xmlns:a16="http://schemas.microsoft.com/office/drawing/2014/main" id="{BA4B7289-C95A-B02F-E610-38C6E287B3B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Lorem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ipsum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dolor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sit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amet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,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consectetuer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adipiscing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elit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.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Maecenas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porttitor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congue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dirty="0"/>
              <a:t>massa. </a:t>
            </a:r>
            <a:r>
              <a:rPr lang="pt-PT" dirty="0" err="1"/>
              <a:t>Fusce</a:t>
            </a:r>
            <a:r>
              <a:rPr lang="pt-PT" dirty="0"/>
              <a:t> </a:t>
            </a:r>
            <a:r>
              <a:rPr lang="pt-PT" dirty="0" err="1"/>
              <a:t>posuere</a:t>
            </a:r>
            <a:r>
              <a:rPr lang="pt-PT" dirty="0"/>
              <a:t>, magna </a:t>
            </a:r>
            <a:r>
              <a:rPr lang="pt-PT" dirty="0" err="1"/>
              <a:t>sed</a:t>
            </a:r>
            <a:r>
              <a:rPr lang="pt-PT" dirty="0"/>
              <a:t> pulvinar </a:t>
            </a:r>
            <a:r>
              <a:rPr lang="pt-PT" dirty="0" err="1"/>
              <a:t>ultricies</a:t>
            </a:r>
            <a:r>
              <a:rPr lang="pt-PT" dirty="0"/>
              <a:t>, purus </a:t>
            </a:r>
            <a:r>
              <a:rPr lang="pt-PT" dirty="0" err="1"/>
              <a:t>lectus</a:t>
            </a:r>
            <a:r>
              <a:rPr lang="pt-PT" dirty="0"/>
              <a:t> </a:t>
            </a:r>
            <a:r>
              <a:rPr lang="pt-PT" dirty="0" err="1"/>
              <a:t>malesuada</a:t>
            </a:r>
            <a:r>
              <a:rPr lang="pt-PT" dirty="0"/>
              <a:t> libero,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r>
              <a:rPr lang="pt-PT" dirty="0"/>
              <a:t> </a:t>
            </a:r>
            <a:r>
              <a:rPr lang="pt-PT" dirty="0" err="1"/>
              <a:t>commodo</a:t>
            </a:r>
            <a:r>
              <a:rPr lang="pt-PT" dirty="0"/>
              <a:t> magna eros quis urna.</a:t>
            </a:r>
          </a:p>
          <a:p>
            <a:r>
              <a:rPr lang="pt-PT" dirty="0" err="1"/>
              <a:t>Nunc</a:t>
            </a:r>
            <a:r>
              <a:rPr lang="pt-PT" dirty="0"/>
              <a:t> </a:t>
            </a:r>
            <a:r>
              <a:rPr lang="pt-PT" dirty="0" err="1"/>
              <a:t>viverra</a:t>
            </a:r>
            <a:r>
              <a:rPr lang="pt-PT" dirty="0"/>
              <a:t> </a:t>
            </a:r>
            <a:r>
              <a:rPr lang="pt-PT" dirty="0" err="1"/>
              <a:t>imperdiet</a:t>
            </a:r>
            <a:r>
              <a:rPr lang="pt-PT" dirty="0"/>
              <a:t> </a:t>
            </a:r>
            <a:r>
              <a:rPr lang="pt-PT" dirty="0" err="1"/>
              <a:t>enim</a:t>
            </a:r>
            <a:r>
              <a:rPr lang="pt-PT" dirty="0"/>
              <a:t>. </a:t>
            </a:r>
            <a:r>
              <a:rPr lang="pt-PT" dirty="0" err="1"/>
              <a:t>Fusce</a:t>
            </a:r>
            <a:r>
              <a:rPr lang="pt-PT" dirty="0"/>
              <a:t> est. </a:t>
            </a:r>
            <a:r>
              <a:rPr lang="pt-PT" dirty="0" err="1"/>
              <a:t>Vivamus</a:t>
            </a:r>
            <a:r>
              <a:rPr lang="pt-PT" dirty="0"/>
              <a:t> a </a:t>
            </a:r>
            <a:r>
              <a:rPr lang="pt-PT" dirty="0" err="1"/>
              <a:t>tellus</a:t>
            </a:r>
            <a:r>
              <a:rPr lang="pt-PT" dirty="0"/>
              <a:t>.</a:t>
            </a:r>
          </a:p>
          <a:p>
            <a:r>
              <a:rPr lang="pt-PT" dirty="0" err="1"/>
              <a:t>Pellentesque</a:t>
            </a:r>
            <a:r>
              <a:rPr lang="pt-PT" dirty="0"/>
              <a:t> </a:t>
            </a:r>
            <a:r>
              <a:rPr lang="pt-PT" dirty="0" err="1"/>
              <a:t>habitant</a:t>
            </a:r>
            <a:r>
              <a:rPr lang="pt-PT" dirty="0"/>
              <a:t> </a:t>
            </a:r>
            <a:r>
              <a:rPr lang="pt-PT" dirty="0" err="1"/>
              <a:t>morbi</a:t>
            </a:r>
            <a:r>
              <a:rPr lang="pt-PT" dirty="0"/>
              <a:t> </a:t>
            </a:r>
            <a:r>
              <a:rPr lang="pt-PT" dirty="0" err="1"/>
              <a:t>tristique</a:t>
            </a:r>
            <a:r>
              <a:rPr lang="pt-PT" dirty="0"/>
              <a:t> </a:t>
            </a:r>
            <a:r>
              <a:rPr lang="pt-PT" dirty="0" err="1"/>
              <a:t>senectus</a:t>
            </a:r>
            <a:r>
              <a:rPr lang="pt-PT" dirty="0"/>
              <a:t> </a:t>
            </a:r>
            <a:r>
              <a:rPr lang="pt-PT" dirty="0" err="1"/>
              <a:t>et</a:t>
            </a:r>
            <a:r>
              <a:rPr lang="pt-PT" dirty="0"/>
              <a:t> </a:t>
            </a:r>
            <a:r>
              <a:rPr lang="pt-PT" dirty="0" err="1"/>
              <a:t>netus</a:t>
            </a:r>
            <a:r>
              <a:rPr lang="pt-PT" dirty="0"/>
              <a:t> </a:t>
            </a:r>
            <a:r>
              <a:rPr lang="pt-PT" dirty="0" err="1"/>
              <a:t>et</a:t>
            </a:r>
            <a:r>
              <a:rPr lang="pt-PT" dirty="0"/>
              <a:t> </a:t>
            </a:r>
            <a:r>
              <a:rPr lang="pt-PT" dirty="0" err="1"/>
              <a:t>malesuada</a:t>
            </a:r>
            <a:r>
              <a:rPr lang="pt-PT" dirty="0"/>
              <a:t> </a:t>
            </a:r>
            <a:r>
              <a:rPr lang="pt-PT" dirty="0" err="1"/>
              <a:t>fames</a:t>
            </a:r>
            <a:r>
              <a:rPr lang="pt-PT" dirty="0"/>
              <a:t> </a:t>
            </a:r>
            <a:r>
              <a:rPr lang="pt-PT" dirty="0" err="1"/>
              <a:t>ac</a:t>
            </a:r>
            <a:r>
              <a:rPr lang="pt-PT" dirty="0"/>
              <a:t> </a:t>
            </a:r>
            <a:r>
              <a:rPr lang="pt-PT" dirty="0" err="1"/>
              <a:t>turpis</a:t>
            </a:r>
            <a:r>
              <a:rPr lang="pt-PT" dirty="0"/>
              <a:t> egestas. </a:t>
            </a:r>
            <a:r>
              <a:rPr lang="pt-PT" dirty="0" err="1"/>
              <a:t>Proin</a:t>
            </a:r>
            <a:r>
              <a:rPr lang="pt-PT" dirty="0"/>
              <a:t> </a:t>
            </a:r>
            <a:r>
              <a:rPr lang="pt-PT" dirty="0" err="1"/>
              <a:t>pharetra</a:t>
            </a:r>
            <a:r>
              <a:rPr lang="pt-PT" dirty="0"/>
              <a:t> </a:t>
            </a:r>
            <a:r>
              <a:rPr lang="pt-PT" dirty="0" err="1"/>
              <a:t>nonummy</a:t>
            </a:r>
            <a:r>
              <a:rPr lang="pt-PT" dirty="0"/>
              <a:t> pede. </a:t>
            </a:r>
            <a:r>
              <a:rPr lang="pt-PT" dirty="0" err="1"/>
              <a:t>Mauris</a:t>
            </a:r>
            <a:r>
              <a:rPr lang="pt-PT" dirty="0"/>
              <a:t> </a:t>
            </a:r>
            <a:r>
              <a:rPr lang="pt-PT" dirty="0" err="1"/>
              <a:t>et</a:t>
            </a:r>
            <a:r>
              <a:rPr lang="pt-PT" dirty="0"/>
              <a:t> </a:t>
            </a:r>
            <a:r>
              <a:rPr lang="pt-PT" dirty="0" err="1"/>
              <a:t>orci</a:t>
            </a:r>
            <a:r>
              <a:rPr lang="pt-PT" dirty="0"/>
              <a:t>. </a:t>
            </a:r>
            <a:r>
              <a:rPr lang="pt-PT" dirty="0" err="1"/>
              <a:t>Lorem</a:t>
            </a:r>
            <a:r>
              <a:rPr lang="pt-PT" dirty="0"/>
              <a:t> </a:t>
            </a:r>
            <a:r>
              <a:rPr lang="pt-PT" dirty="0" err="1"/>
              <a:t>ipsum</a:t>
            </a:r>
            <a:r>
              <a:rPr lang="pt-PT" dirty="0"/>
              <a:t> </a:t>
            </a:r>
            <a:r>
              <a:rPr lang="pt-PT" dirty="0" err="1"/>
              <a:t>dolor</a:t>
            </a:r>
            <a:r>
              <a:rPr lang="pt-PT" dirty="0"/>
              <a:t>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r>
              <a:rPr lang="pt-PT" dirty="0"/>
              <a:t>, </a:t>
            </a:r>
            <a:r>
              <a:rPr lang="pt-PT" dirty="0" err="1"/>
              <a:t>consectetuer</a:t>
            </a:r>
            <a:r>
              <a:rPr lang="pt-PT" dirty="0"/>
              <a:t> </a:t>
            </a:r>
            <a:r>
              <a:rPr lang="pt-PT" dirty="0" err="1"/>
              <a:t>adipiscing</a:t>
            </a:r>
            <a:r>
              <a:rPr lang="pt-PT" dirty="0"/>
              <a:t> </a:t>
            </a:r>
            <a:r>
              <a:rPr lang="pt-PT" dirty="0" err="1"/>
              <a:t>elit</a:t>
            </a:r>
            <a:r>
              <a:rPr lang="pt-PT" dirty="0"/>
              <a:t>. </a:t>
            </a:r>
            <a:r>
              <a:rPr lang="pt-PT" dirty="0" err="1"/>
              <a:t>Maecenas</a:t>
            </a:r>
            <a:r>
              <a:rPr lang="pt-PT" dirty="0"/>
              <a:t> </a:t>
            </a:r>
            <a:r>
              <a:rPr lang="pt-PT" dirty="0" err="1"/>
              <a:t>porttitor</a:t>
            </a:r>
            <a:r>
              <a:rPr lang="pt-PT" dirty="0"/>
              <a:t> </a:t>
            </a:r>
            <a:r>
              <a:rPr lang="pt-PT" dirty="0" err="1"/>
              <a:t>congue</a:t>
            </a:r>
            <a:r>
              <a:rPr lang="pt-PT" dirty="0"/>
              <a:t> massa. </a:t>
            </a:r>
            <a:r>
              <a:rPr lang="pt-PT" dirty="0" err="1"/>
              <a:t>Fusce</a:t>
            </a:r>
            <a:r>
              <a:rPr lang="pt-PT" dirty="0"/>
              <a:t> </a:t>
            </a:r>
            <a:r>
              <a:rPr lang="pt-PT" dirty="0" err="1"/>
              <a:t>posuere</a:t>
            </a:r>
            <a:r>
              <a:rPr lang="pt-PT" dirty="0"/>
              <a:t>, magna </a:t>
            </a:r>
            <a:r>
              <a:rPr lang="pt-PT" dirty="0" err="1"/>
              <a:t>sed</a:t>
            </a:r>
            <a:r>
              <a:rPr lang="pt-PT" dirty="0"/>
              <a:t> pulvinar </a:t>
            </a:r>
            <a:r>
              <a:rPr lang="pt-PT" dirty="0" err="1"/>
              <a:t>ultricies</a:t>
            </a:r>
            <a:r>
              <a:rPr lang="pt-PT" dirty="0"/>
              <a:t>, purus </a:t>
            </a:r>
            <a:r>
              <a:rPr lang="pt-PT" dirty="0" err="1"/>
              <a:t>lectus</a:t>
            </a:r>
            <a:r>
              <a:rPr lang="pt-PT" dirty="0"/>
              <a:t> </a:t>
            </a:r>
            <a:r>
              <a:rPr lang="pt-PT" dirty="0" err="1"/>
              <a:t>malesuada</a:t>
            </a:r>
            <a:r>
              <a:rPr lang="pt-PT" dirty="0"/>
              <a:t> libero,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r>
              <a:rPr lang="pt-PT" dirty="0"/>
              <a:t> </a:t>
            </a:r>
            <a:r>
              <a:rPr lang="pt-PT" dirty="0" err="1"/>
              <a:t>commodo</a:t>
            </a:r>
            <a:r>
              <a:rPr lang="pt-PT" dirty="0"/>
              <a:t> magna eros quis urna.</a:t>
            </a:r>
          </a:p>
          <a:p>
            <a:pPr marL="174625" indent="-174625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pt-PT" dirty="0" err="1"/>
              <a:t>Nunc</a:t>
            </a:r>
            <a:r>
              <a:rPr lang="pt-PT" dirty="0"/>
              <a:t> </a:t>
            </a:r>
            <a:r>
              <a:rPr lang="pt-PT" dirty="0" err="1"/>
              <a:t>viverra</a:t>
            </a:r>
            <a:r>
              <a:rPr lang="pt-PT" dirty="0"/>
              <a:t> </a:t>
            </a:r>
            <a:r>
              <a:rPr lang="pt-PT" dirty="0" err="1"/>
              <a:t>imperdiet</a:t>
            </a:r>
            <a:r>
              <a:rPr lang="pt-PT" dirty="0"/>
              <a:t> </a:t>
            </a:r>
            <a:r>
              <a:rPr lang="pt-PT" dirty="0" err="1"/>
              <a:t>enim</a:t>
            </a:r>
            <a:r>
              <a:rPr lang="pt-PT" dirty="0"/>
              <a:t>. </a:t>
            </a:r>
            <a:r>
              <a:rPr lang="pt-PT" dirty="0" err="1"/>
              <a:t>Fusce</a:t>
            </a:r>
            <a:r>
              <a:rPr lang="pt-PT" dirty="0"/>
              <a:t> est. </a:t>
            </a:r>
            <a:r>
              <a:rPr lang="pt-PT" dirty="0" err="1"/>
              <a:t>Vivamus</a:t>
            </a:r>
            <a:r>
              <a:rPr lang="pt-PT" dirty="0"/>
              <a:t> a </a:t>
            </a:r>
            <a:r>
              <a:rPr lang="pt-PT" dirty="0" err="1"/>
              <a:t>tellus</a:t>
            </a:r>
            <a:r>
              <a:rPr lang="pt-PT" dirty="0"/>
              <a:t>.</a:t>
            </a:r>
          </a:p>
          <a:p>
            <a:pPr marL="174625" indent="-174625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pt-PT" dirty="0" err="1"/>
              <a:t>Pellentesque</a:t>
            </a:r>
            <a:r>
              <a:rPr lang="pt-PT" dirty="0"/>
              <a:t> </a:t>
            </a:r>
            <a:r>
              <a:rPr lang="pt-PT" dirty="0" err="1"/>
              <a:t>habitant</a:t>
            </a:r>
            <a:r>
              <a:rPr lang="pt-PT" dirty="0"/>
              <a:t> </a:t>
            </a:r>
            <a:r>
              <a:rPr lang="pt-PT" dirty="0" err="1"/>
              <a:t>morbi</a:t>
            </a:r>
            <a:r>
              <a:rPr lang="pt-PT" dirty="0"/>
              <a:t> </a:t>
            </a:r>
            <a:r>
              <a:rPr lang="pt-PT" dirty="0" err="1"/>
              <a:t>tristique</a:t>
            </a:r>
            <a:r>
              <a:rPr lang="pt-PT" dirty="0"/>
              <a:t> </a:t>
            </a:r>
            <a:r>
              <a:rPr lang="pt-PT" dirty="0" err="1"/>
              <a:t>senectus</a:t>
            </a:r>
            <a:r>
              <a:rPr lang="pt-PT" dirty="0"/>
              <a:t> </a:t>
            </a:r>
            <a:r>
              <a:rPr lang="pt-PT" dirty="0" err="1"/>
              <a:t>et</a:t>
            </a:r>
            <a:r>
              <a:rPr lang="pt-PT" dirty="0"/>
              <a:t> </a:t>
            </a:r>
            <a:r>
              <a:rPr lang="pt-PT" dirty="0" err="1"/>
              <a:t>netus</a:t>
            </a:r>
            <a:r>
              <a:rPr lang="pt-PT" dirty="0"/>
              <a:t> </a:t>
            </a:r>
            <a:r>
              <a:rPr lang="pt-PT" dirty="0" err="1"/>
              <a:t>et</a:t>
            </a:r>
            <a:r>
              <a:rPr lang="pt-PT" dirty="0"/>
              <a:t> </a:t>
            </a:r>
            <a:r>
              <a:rPr lang="pt-PT" dirty="0" err="1"/>
              <a:t>malesuada</a:t>
            </a:r>
            <a:r>
              <a:rPr lang="pt-PT" dirty="0"/>
              <a:t> </a:t>
            </a:r>
            <a:r>
              <a:rPr lang="pt-PT" dirty="0" err="1"/>
              <a:t>fames</a:t>
            </a:r>
            <a:r>
              <a:rPr lang="pt-PT" dirty="0"/>
              <a:t> </a:t>
            </a:r>
            <a:r>
              <a:rPr lang="pt-PT" dirty="0" err="1"/>
              <a:t>ac</a:t>
            </a:r>
            <a:r>
              <a:rPr lang="pt-PT" dirty="0"/>
              <a:t> </a:t>
            </a:r>
            <a:r>
              <a:rPr lang="pt-PT" dirty="0" err="1"/>
              <a:t>turpis</a:t>
            </a:r>
            <a:r>
              <a:rPr lang="pt-PT" dirty="0"/>
              <a:t> egestas. </a:t>
            </a:r>
            <a:r>
              <a:rPr lang="pt-PT" dirty="0" err="1"/>
              <a:t>Proin</a:t>
            </a:r>
            <a:r>
              <a:rPr lang="pt-PT" dirty="0"/>
              <a:t> </a:t>
            </a:r>
            <a:r>
              <a:rPr lang="pt-PT" dirty="0" err="1"/>
              <a:t>pharetra</a:t>
            </a:r>
            <a:r>
              <a:rPr lang="pt-PT" dirty="0"/>
              <a:t> </a:t>
            </a:r>
            <a:r>
              <a:rPr lang="pt-PT" dirty="0" err="1"/>
              <a:t>nonummy</a:t>
            </a:r>
            <a:r>
              <a:rPr lang="pt-PT" dirty="0"/>
              <a:t> pede. </a:t>
            </a:r>
            <a:r>
              <a:rPr lang="pt-PT" dirty="0" err="1"/>
              <a:t>Mauris</a:t>
            </a:r>
            <a:r>
              <a:rPr lang="pt-PT" dirty="0"/>
              <a:t> </a:t>
            </a:r>
            <a:r>
              <a:rPr lang="pt-PT" dirty="0" err="1"/>
              <a:t>et</a:t>
            </a:r>
            <a:r>
              <a:rPr lang="pt-PT" dirty="0"/>
              <a:t> </a:t>
            </a:r>
            <a:r>
              <a:rPr lang="pt-PT" dirty="0" err="1"/>
              <a:t>orci</a:t>
            </a:r>
            <a:r>
              <a:rPr lang="pt-PT" dirty="0"/>
              <a:t>.</a:t>
            </a:r>
          </a:p>
          <a:p>
            <a:endParaRPr lang="pt-PT" dirty="0"/>
          </a:p>
        </p:txBody>
      </p:sp>
      <p:sp>
        <p:nvSpPr>
          <p:cNvPr id="5" name="Marcador de Posição do Texto 4">
            <a:extLst>
              <a:ext uri="{FF2B5EF4-FFF2-40B4-BE49-F238E27FC236}">
                <a16:creationId xmlns:a16="http://schemas.microsoft.com/office/drawing/2014/main" id="{2BEE20AA-0320-5BCB-4EF1-3DD5483AB423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pt-PT" dirty="0" err="1"/>
              <a:t>Lorem</a:t>
            </a:r>
            <a:r>
              <a:rPr lang="pt-PT" dirty="0"/>
              <a:t> </a:t>
            </a:r>
            <a:r>
              <a:rPr lang="pt-PT" dirty="0" err="1"/>
              <a:t>ipsum</a:t>
            </a:r>
            <a:r>
              <a:rPr lang="pt-PT" dirty="0"/>
              <a:t> </a:t>
            </a:r>
            <a:r>
              <a:rPr lang="pt-PT" dirty="0" err="1"/>
              <a:t>dolor</a:t>
            </a:r>
            <a:r>
              <a:rPr lang="pt-PT" dirty="0"/>
              <a:t>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r>
              <a:rPr lang="pt-PT" dirty="0"/>
              <a:t>, </a:t>
            </a:r>
            <a:r>
              <a:rPr lang="pt-PT" dirty="0" err="1"/>
              <a:t>consectetuer</a:t>
            </a:r>
            <a:r>
              <a:rPr lang="pt-PT" dirty="0"/>
              <a:t> </a:t>
            </a:r>
            <a:r>
              <a:rPr lang="pt-PT" dirty="0" err="1"/>
              <a:t>adipiscing</a:t>
            </a:r>
            <a:r>
              <a:rPr lang="pt-PT" dirty="0"/>
              <a:t> </a:t>
            </a:r>
            <a:r>
              <a:rPr lang="pt-PT" dirty="0" err="1"/>
              <a:t>elit</a:t>
            </a:r>
            <a:r>
              <a:rPr lang="pt-PT" dirty="0"/>
              <a:t>. </a:t>
            </a:r>
            <a:r>
              <a:rPr lang="pt-PT" dirty="0" err="1"/>
              <a:t>Maecenas</a:t>
            </a:r>
            <a:r>
              <a:rPr lang="pt-PT" dirty="0"/>
              <a:t> </a:t>
            </a:r>
            <a:r>
              <a:rPr lang="pt-PT" dirty="0" err="1"/>
              <a:t>porttitor</a:t>
            </a:r>
            <a:r>
              <a:rPr lang="pt-PT" dirty="0"/>
              <a:t> </a:t>
            </a:r>
            <a:r>
              <a:rPr lang="pt-PT" dirty="0" err="1"/>
              <a:t>congue</a:t>
            </a:r>
            <a:r>
              <a:rPr lang="pt-PT" dirty="0"/>
              <a:t> massa. </a:t>
            </a:r>
            <a:r>
              <a:rPr lang="pt-PT" dirty="0" err="1"/>
              <a:t>Fusce</a:t>
            </a:r>
            <a:r>
              <a:rPr lang="pt-PT" dirty="0"/>
              <a:t> </a:t>
            </a:r>
            <a:r>
              <a:rPr lang="pt-PT" dirty="0" err="1"/>
              <a:t>posuere</a:t>
            </a:r>
            <a:r>
              <a:rPr lang="pt-PT" dirty="0"/>
              <a:t>, magna </a:t>
            </a:r>
            <a:r>
              <a:rPr lang="pt-PT" dirty="0" err="1"/>
              <a:t>sed</a:t>
            </a:r>
            <a:r>
              <a:rPr lang="pt-PT" dirty="0"/>
              <a:t> pulvinar </a:t>
            </a:r>
            <a:r>
              <a:rPr lang="pt-PT" dirty="0" err="1"/>
              <a:t>ultricies</a:t>
            </a:r>
            <a:r>
              <a:rPr lang="pt-PT" dirty="0"/>
              <a:t>, purus </a:t>
            </a:r>
            <a:r>
              <a:rPr lang="pt-PT" dirty="0" err="1"/>
              <a:t>lectus</a:t>
            </a:r>
            <a:r>
              <a:rPr lang="pt-PT" dirty="0"/>
              <a:t> </a:t>
            </a:r>
            <a:r>
              <a:rPr lang="pt-PT" dirty="0" err="1"/>
              <a:t>malesuada</a:t>
            </a:r>
            <a:r>
              <a:rPr lang="pt-PT" dirty="0"/>
              <a:t> libero,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r>
              <a:rPr lang="pt-PT" dirty="0"/>
              <a:t> </a:t>
            </a:r>
            <a:r>
              <a:rPr lang="pt-PT" dirty="0" err="1"/>
              <a:t>commodo</a:t>
            </a:r>
            <a:r>
              <a:rPr lang="pt-PT" dirty="0"/>
              <a:t> magna eros quis urna.</a:t>
            </a:r>
          </a:p>
          <a:p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Nunc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viverra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imperdiet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enim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.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Fusce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est.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Vivamus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a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tellus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.</a:t>
            </a:r>
          </a:p>
          <a:p>
            <a:r>
              <a:rPr lang="pt-PT" dirty="0" err="1"/>
              <a:t>Pellentesque</a:t>
            </a:r>
            <a:r>
              <a:rPr lang="pt-PT" dirty="0"/>
              <a:t> </a:t>
            </a:r>
            <a:r>
              <a:rPr lang="pt-PT" dirty="0" err="1"/>
              <a:t>habitant</a:t>
            </a:r>
            <a:r>
              <a:rPr lang="pt-PT" dirty="0"/>
              <a:t> </a:t>
            </a:r>
            <a:r>
              <a:rPr lang="pt-PT" dirty="0" err="1"/>
              <a:t>morbi</a:t>
            </a:r>
            <a:r>
              <a:rPr lang="pt-PT" dirty="0"/>
              <a:t> </a:t>
            </a:r>
            <a:r>
              <a:rPr lang="pt-PT" dirty="0" err="1"/>
              <a:t>tristique</a:t>
            </a:r>
            <a:r>
              <a:rPr lang="pt-PT" dirty="0"/>
              <a:t> </a:t>
            </a:r>
            <a:r>
              <a:rPr lang="pt-PT" dirty="0" err="1"/>
              <a:t>senectus</a:t>
            </a:r>
            <a:r>
              <a:rPr lang="pt-PT" dirty="0"/>
              <a:t> </a:t>
            </a:r>
            <a:r>
              <a:rPr lang="pt-PT" dirty="0" err="1"/>
              <a:t>et</a:t>
            </a:r>
            <a:r>
              <a:rPr lang="pt-PT" dirty="0"/>
              <a:t> </a:t>
            </a:r>
            <a:r>
              <a:rPr lang="pt-PT" dirty="0" err="1"/>
              <a:t>netus</a:t>
            </a:r>
            <a:r>
              <a:rPr lang="pt-PT" dirty="0"/>
              <a:t> </a:t>
            </a:r>
            <a:r>
              <a:rPr lang="pt-PT" dirty="0" err="1"/>
              <a:t>et</a:t>
            </a:r>
            <a:r>
              <a:rPr lang="pt-PT" dirty="0"/>
              <a:t> </a:t>
            </a:r>
            <a:r>
              <a:rPr lang="pt-PT" dirty="0" err="1"/>
              <a:t>malesuada</a:t>
            </a:r>
            <a:r>
              <a:rPr lang="pt-PT" dirty="0"/>
              <a:t> </a:t>
            </a:r>
            <a:r>
              <a:rPr lang="pt-PT" dirty="0" err="1"/>
              <a:t>fames</a:t>
            </a:r>
            <a:r>
              <a:rPr lang="pt-PT" dirty="0"/>
              <a:t> </a:t>
            </a:r>
            <a:r>
              <a:rPr lang="pt-PT" dirty="0" err="1"/>
              <a:t>ac</a:t>
            </a:r>
            <a:r>
              <a:rPr lang="pt-PT" dirty="0"/>
              <a:t> </a:t>
            </a:r>
            <a:r>
              <a:rPr lang="pt-PT" dirty="0" err="1"/>
              <a:t>turpis</a:t>
            </a:r>
            <a:r>
              <a:rPr lang="pt-PT" dirty="0"/>
              <a:t> egestas. </a:t>
            </a:r>
            <a:r>
              <a:rPr lang="pt-PT" dirty="0" err="1"/>
              <a:t>Proin</a:t>
            </a:r>
            <a:r>
              <a:rPr lang="pt-PT" dirty="0"/>
              <a:t> </a:t>
            </a:r>
            <a:r>
              <a:rPr lang="pt-PT" dirty="0" err="1"/>
              <a:t>pharetra</a:t>
            </a:r>
            <a:r>
              <a:rPr lang="pt-PT" dirty="0"/>
              <a:t> </a:t>
            </a:r>
            <a:r>
              <a:rPr lang="pt-PT" dirty="0" err="1"/>
              <a:t>nonummy</a:t>
            </a:r>
            <a:r>
              <a:rPr lang="pt-PT" dirty="0"/>
              <a:t> pede. </a:t>
            </a:r>
            <a:r>
              <a:rPr lang="pt-PT" dirty="0" err="1"/>
              <a:t>Mauris</a:t>
            </a:r>
            <a:r>
              <a:rPr lang="pt-PT" dirty="0"/>
              <a:t> </a:t>
            </a:r>
            <a:r>
              <a:rPr lang="pt-PT" dirty="0" err="1"/>
              <a:t>et</a:t>
            </a:r>
            <a:r>
              <a:rPr lang="pt-PT" dirty="0"/>
              <a:t> </a:t>
            </a:r>
            <a:r>
              <a:rPr lang="pt-PT" dirty="0" err="1"/>
              <a:t>orci</a:t>
            </a:r>
            <a:r>
              <a:rPr lang="pt-PT" dirty="0"/>
              <a:t>. </a:t>
            </a:r>
            <a:r>
              <a:rPr lang="pt-PT" dirty="0" err="1"/>
              <a:t>Lorem</a:t>
            </a:r>
            <a:r>
              <a:rPr lang="pt-PT" dirty="0"/>
              <a:t> </a:t>
            </a:r>
            <a:r>
              <a:rPr lang="pt-PT" dirty="0" err="1"/>
              <a:t>ipsum</a:t>
            </a:r>
            <a:r>
              <a:rPr lang="pt-PT" dirty="0"/>
              <a:t> </a:t>
            </a:r>
            <a:r>
              <a:rPr lang="pt-PT" dirty="0" err="1"/>
              <a:t>dolor</a:t>
            </a:r>
            <a:r>
              <a:rPr lang="pt-PT" dirty="0"/>
              <a:t>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r>
              <a:rPr lang="pt-PT" dirty="0"/>
              <a:t>, </a:t>
            </a:r>
            <a:r>
              <a:rPr lang="pt-PT" dirty="0" err="1"/>
              <a:t>consectetuer</a:t>
            </a:r>
            <a:r>
              <a:rPr lang="pt-PT" dirty="0"/>
              <a:t> </a:t>
            </a:r>
            <a:r>
              <a:rPr lang="pt-PT" dirty="0" err="1"/>
              <a:t>adipiscing</a:t>
            </a:r>
            <a:r>
              <a:rPr lang="pt-PT" dirty="0"/>
              <a:t> </a:t>
            </a:r>
            <a:r>
              <a:rPr lang="pt-PT" dirty="0" err="1"/>
              <a:t>elit</a:t>
            </a:r>
            <a:r>
              <a:rPr lang="pt-PT" dirty="0"/>
              <a:t>. </a:t>
            </a:r>
            <a:r>
              <a:rPr lang="pt-PT" dirty="0" err="1"/>
              <a:t>Maecenas</a:t>
            </a:r>
            <a:r>
              <a:rPr lang="pt-PT" dirty="0"/>
              <a:t> </a:t>
            </a:r>
            <a:r>
              <a:rPr lang="pt-PT" dirty="0" err="1"/>
              <a:t>porttitor</a:t>
            </a:r>
            <a:r>
              <a:rPr lang="pt-PT" dirty="0"/>
              <a:t> </a:t>
            </a:r>
            <a:r>
              <a:rPr lang="pt-PT" dirty="0" err="1"/>
              <a:t>congue</a:t>
            </a:r>
            <a:r>
              <a:rPr lang="pt-PT" dirty="0"/>
              <a:t> massa. </a:t>
            </a:r>
            <a:r>
              <a:rPr lang="pt-PT" dirty="0" err="1"/>
              <a:t>Fusce</a:t>
            </a:r>
            <a:r>
              <a:rPr lang="pt-PT" dirty="0"/>
              <a:t> </a:t>
            </a:r>
            <a:r>
              <a:rPr lang="pt-PT" dirty="0" err="1"/>
              <a:t>posuere</a:t>
            </a:r>
            <a:r>
              <a:rPr lang="pt-PT" dirty="0"/>
              <a:t>, magna </a:t>
            </a:r>
            <a:r>
              <a:rPr lang="pt-PT" dirty="0" err="1"/>
              <a:t>sed</a:t>
            </a:r>
            <a:r>
              <a:rPr lang="pt-PT" dirty="0"/>
              <a:t> pulvinar </a:t>
            </a:r>
            <a:r>
              <a:rPr lang="pt-PT" dirty="0" err="1"/>
              <a:t>ultricies</a:t>
            </a:r>
            <a:r>
              <a:rPr lang="pt-PT" dirty="0"/>
              <a:t>, purus </a:t>
            </a:r>
            <a:r>
              <a:rPr lang="pt-PT" dirty="0" err="1"/>
              <a:t>lectus</a:t>
            </a:r>
            <a:r>
              <a:rPr lang="pt-PT" dirty="0"/>
              <a:t> </a:t>
            </a:r>
            <a:r>
              <a:rPr lang="pt-PT" dirty="0" err="1"/>
              <a:t>malesuada</a:t>
            </a:r>
            <a:r>
              <a:rPr lang="pt-PT" dirty="0"/>
              <a:t> libero,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r>
              <a:rPr lang="pt-PT" dirty="0"/>
              <a:t> </a:t>
            </a:r>
            <a:r>
              <a:rPr lang="pt-PT" dirty="0" err="1"/>
              <a:t>commodo</a:t>
            </a:r>
            <a:r>
              <a:rPr lang="pt-PT" dirty="0"/>
              <a:t> magna eros quis urna.</a:t>
            </a:r>
          </a:p>
          <a:p>
            <a:pPr marL="174625" indent="-174625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pt-PT" dirty="0" err="1"/>
              <a:t>Nunc</a:t>
            </a:r>
            <a:r>
              <a:rPr lang="pt-PT" dirty="0"/>
              <a:t> </a:t>
            </a:r>
            <a:r>
              <a:rPr lang="pt-PT" dirty="0" err="1"/>
              <a:t>viverra</a:t>
            </a:r>
            <a:r>
              <a:rPr lang="pt-PT" dirty="0"/>
              <a:t> </a:t>
            </a:r>
            <a:r>
              <a:rPr lang="pt-PT" dirty="0" err="1"/>
              <a:t>imperdiet</a:t>
            </a:r>
            <a:r>
              <a:rPr lang="pt-PT" dirty="0"/>
              <a:t> </a:t>
            </a:r>
            <a:r>
              <a:rPr lang="pt-PT" dirty="0" err="1"/>
              <a:t>enim</a:t>
            </a:r>
            <a:r>
              <a:rPr lang="pt-PT" dirty="0"/>
              <a:t>. </a:t>
            </a:r>
            <a:r>
              <a:rPr lang="pt-PT" dirty="0" err="1"/>
              <a:t>Fusce</a:t>
            </a:r>
            <a:r>
              <a:rPr lang="pt-PT" dirty="0"/>
              <a:t> est. </a:t>
            </a:r>
            <a:r>
              <a:rPr lang="pt-PT" dirty="0" err="1"/>
              <a:t>Vivamus</a:t>
            </a:r>
            <a:r>
              <a:rPr lang="pt-PT" dirty="0"/>
              <a:t> a </a:t>
            </a:r>
            <a:r>
              <a:rPr lang="pt-PT" dirty="0" err="1"/>
              <a:t>tellus</a:t>
            </a:r>
            <a:r>
              <a:rPr lang="pt-PT" dirty="0"/>
              <a:t>.</a:t>
            </a:r>
          </a:p>
          <a:p>
            <a:pPr marL="174625" indent="-174625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pt-PT" dirty="0" err="1"/>
              <a:t>Pellentesque</a:t>
            </a:r>
            <a:r>
              <a:rPr lang="pt-PT" dirty="0"/>
              <a:t> </a:t>
            </a:r>
            <a:r>
              <a:rPr lang="pt-PT" dirty="0" err="1"/>
              <a:t>habitant</a:t>
            </a:r>
            <a:r>
              <a:rPr lang="pt-PT" dirty="0"/>
              <a:t> </a:t>
            </a:r>
            <a:r>
              <a:rPr lang="pt-PT" dirty="0" err="1"/>
              <a:t>morbi</a:t>
            </a:r>
            <a:r>
              <a:rPr lang="pt-PT" dirty="0"/>
              <a:t> </a:t>
            </a:r>
            <a:r>
              <a:rPr lang="pt-PT" dirty="0" err="1"/>
              <a:t>tristique</a:t>
            </a:r>
            <a:r>
              <a:rPr lang="pt-PT" dirty="0"/>
              <a:t> </a:t>
            </a:r>
            <a:r>
              <a:rPr lang="pt-PT" dirty="0" err="1"/>
              <a:t>senectus</a:t>
            </a:r>
            <a:r>
              <a:rPr lang="pt-PT" dirty="0"/>
              <a:t> </a:t>
            </a:r>
            <a:r>
              <a:rPr lang="pt-PT" dirty="0" err="1"/>
              <a:t>et</a:t>
            </a:r>
            <a:r>
              <a:rPr lang="pt-PT" dirty="0"/>
              <a:t> </a:t>
            </a:r>
            <a:r>
              <a:rPr lang="pt-PT" dirty="0" err="1"/>
              <a:t>netus</a:t>
            </a:r>
            <a:r>
              <a:rPr lang="pt-PT" dirty="0"/>
              <a:t> </a:t>
            </a:r>
            <a:r>
              <a:rPr lang="pt-PT" dirty="0" err="1"/>
              <a:t>et</a:t>
            </a:r>
            <a:r>
              <a:rPr lang="pt-PT" dirty="0"/>
              <a:t> </a:t>
            </a:r>
            <a:r>
              <a:rPr lang="pt-PT" dirty="0" err="1"/>
              <a:t>malesuada</a:t>
            </a:r>
            <a:r>
              <a:rPr lang="pt-PT" dirty="0"/>
              <a:t> </a:t>
            </a:r>
            <a:r>
              <a:rPr lang="pt-PT" dirty="0" err="1"/>
              <a:t>fames</a:t>
            </a:r>
            <a:r>
              <a:rPr lang="pt-PT" dirty="0"/>
              <a:t> </a:t>
            </a:r>
            <a:r>
              <a:rPr lang="pt-PT" dirty="0" err="1"/>
              <a:t>ac</a:t>
            </a:r>
            <a:r>
              <a:rPr lang="pt-PT" dirty="0"/>
              <a:t> </a:t>
            </a:r>
            <a:r>
              <a:rPr lang="pt-PT" dirty="0" err="1"/>
              <a:t>turpis</a:t>
            </a:r>
            <a:r>
              <a:rPr lang="pt-PT" dirty="0"/>
              <a:t> egestas. </a:t>
            </a:r>
            <a:r>
              <a:rPr lang="pt-PT" dirty="0" err="1"/>
              <a:t>Proin</a:t>
            </a:r>
            <a:r>
              <a:rPr lang="pt-PT" dirty="0"/>
              <a:t> </a:t>
            </a:r>
            <a:r>
              <a:rPr lang="pt-PT" dirty="0" err="1"/>
              <a:t>pharetra</a:t>
            </a:r>
            <a:r>
              <a:rPr lang="pt-PT" dirty="0"/>
              <a:t> </a:t>
            </a:r>
            <a:r>
              <a:rPr lang="pt-PT" dirty="0" err="1"/>
              <a:t>nonummy</a:t>
            </a:r>
            <a:r>
              <a:rPr lang="pt-PT" dirty="0"/>
              <a:t> pede. </a:t>
            </a:r>
            <a:r>
              <a:rPr lang="pt-PT" dirty="0" err="1"/>
              <a:t>Mauris</a:t>
            </a:r>
            <a:r>
              <a:rPr lang="pt-PT" dirty="0"/>
              <a:t> </a:t>
            </a:r>
            <a:r>
              <a:rPr lang="pt-PT" dirty="0" err="1"/>
              <a:t>et</a:t>
            </a:r>
            <a:r>
              <a:rPr lang="pt-PT" dirty="0"/>
              <a:t> </a:t>
            </a:r>
            <a:r>
              <a:rPr lang="pt-PT" dirty="0" err="1"/>
              <a:t>orci</a:t>
            </a:r>
            <a:r>
              <a:rPr lang="pt-PT" dirty="0"/>
              <a:t>.</a:t>
            </a:r>
          </a:p>
          <a:p>
            <a:endParaRPr lang="pt-PT" dirty="0"/>
          </a:p>
        </p:txBody>
      </p:sp>
      <p:sp>
        <p:nvSpPr>
          <p:cNvPr id="10" name="Marcador de pie de página 9">
            <a:extLst>
              <a:ext uri="{FF2B5EF4-FFF2-40B4-BE49-F238E27FC236}">
                <a16:creationId xmlns:a16="http://schemas.microsoft.com/office/drawing/2014/main" id="{91F22B8A-A7D9-48D0-9913-118B0452A38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12762" y="6356350"/>
            <a:ext cx="5346699" cy="365125"/>
          </a:xfrm>
        </p:spPr>
        <p:txBody>
          <a:bodyPr/>
          <a:lstStyle/>
          <a:p>
            <a:r>
              <a:rPr lang="pt-PT"/>
              <a:t>Título de la presentación</a:t>
            </a:r>
            <a:endParaRPr lang="pt-PT" dirty="0"/>
          </a:p>
        </p:txBody>
      </p:sp>
      <p:sp>
        <p:nvSpPr>
          <p:cNvPr id="11" name="Marcador de número de diapositiva 10">
            <a:extLst>
              <a:ext uri="{FF2B5EF4-FFF2-40B4-BE49-F238E27FC236}">
                <a16:creationId xmlns:a16="http://schemas.microsoft.com/office/drawing/2014/main" id="{80DE9A02-9676-482E-9B87-24A45B975F2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936039" y="6356350"/>
            <a:ext cx="2743200" cy="365125"/>
          </a:xfrm>
        </p:spPr>
        <p:txBody>
          <a:bodyPr/>
          <a:lstStyle/>
          <a:p>
            <a:fld id="{24A347C2-D68E-473A-8C76-1D063E4EB6E0}" type="slidenum">
              <a:rPr lang="pt-PT" smtClean="0"/>
              <a:pPr/>
              <a:t>12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18916351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387C4F49-B6C6-F89C-9257-5917A1D0297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PT" dirty="0"/>
              <a:t>Ejemplo de título de slide</a:t>
            </a:r>
          </a:p>
        </p:txBody>
      </p:sp>
      <p:sp>
        <p:nvSpPr>
          <p:cNvPr id="3" name="Marcador de Posição do Texto 2">
            <a:extLst>
              <a:ext uri="{FF2B5EF4-FFF2-40B4-BE49-F238E27FC236}">
                <a16:creationId xmlns:a16="http://schemas.microsoft.com/office/drawing/2014/main" id="{2F3E1C9C-BDB9-0B79-689E-882D225CF57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>
            <a:normAutofit lnSpcReduction="10000"/>
          </a:bodyPr>
          <a:lstStyle/>
          <a:p>
            <a:r>
              <a:rPr lang="pt-PT" dirty="0"/>
              <a:t>Ejemplo de subtítulo de slide</a:t>
            </a:r>
          </a:p>
        </p:txBody>
      </p:sp>
      <p:sp>
        <p:nvSpPr>
          <p:cNvPr id="4" name="Marcador de Posição do Texto 3">
            <a:extLst>
              <a:ext uri="{FF2B5EF4-FFF2-40B4-BE49-F238E27FC236}">
                <a16:creationId xmlns:a16="http://schemas.microsoft.com/office/drawing/2014/main" id="{BA4B7289-C95A-B02F-E610-38C6E287B3B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Lorem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ipsum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dolor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sit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amet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,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consectetuer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adipiscing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elit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.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Maecenas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porttitor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congue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dirty="0"/>
              <a:t>massa. </a:t>
            </a:r>
            <a:r>
              <a:rPr lang="pt-PT" dirty="0" err="1"/>
              <a:t>Fusce</a:t>
            </a:r>
            <a:r>
              <a:rPr lang="pt-PT" dirty="0"/>
              <a:t> </a:t>
            </a:r>
            <a:r>
              <a:rPr lang="pt-PT" dirty="0" err="1"/>
              <a:t>posuere</a:t>
            </a:r>
            <a:r>
              <a:rPr lang="pt-PT" dirty="0"/>
              <a:t>, magna </a:t>
            </a:r>
            <a:r>
              <a:rPr lang="pt-PT" dirty="0" err="1"/>
              <a:t>sed</a:t>
            </a:r>
            <a:r>
              <a:rPr lang="pt-PT" dirty="0"/>
              <a:t> pulvinar </a:t>
            </a:r>
            <a:r>
              <a:rPr lang="pt-PT" dirty="0" err="1"/>
              <a:t>ultricies</a:t>
            </a:r>
            <a:r>
              <a:rPr lang="pt-PT" dirty="0"/>
              <a:t>, purus </a:t>
            </a:r>
            <a:r>
              <a:rPr lang="pt-PT" dirty="0" err="1"/>
              <a:t>lectus</a:t>
            </a:r>
            <a:r>
              <a:rPr lang="pt-PT" dirty="0"/>
              <a:t> </a:t>
            </a:r>
            <a:r>
              <a:rPr lang="pt-PT" dirty="0" err="1"/>
              <a:t>malesuada</a:t>
            </a:r>
            <a:r>
              <a:rPr lang="pt-PT" dirty="0"/>
              <a:t> libero,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r>
              <a:rPr lang="pt-PT" dirty="0"/>
              <a:t> </a:t>
            </a:r>
            <a:r>
              <a:rPr lang="pt-PT" dirty="0" err="1"/>
              <a:t>commodo</a:t>
            </a:r>
            <a:r>
              <a:rPr lang="pt-PT" dirty="0"/>
              <a:t> magna eros quis urna.</a:t>
            </a:r>
          </a:p>
          <a:p>
            <a:r>
              <a:rPr lang="pt-PT" dirty="0" err="1"/>
              <a:t>Nunc</a:t>
            </a:r>
            <a:r>
              <a:rPr lang="pt-PT" dirty="0"/>
              <a:t> </a:t>
            </a:r>
            <a:r>
              <a:rPr lang="pt-PT" dirty="0" err="1"/>
              <a:t>viverra</a:t>
            </a:r>
            <a:r>
              <a:rPr lang="pt-PT" dirty="0"/>
              <a:t> </a:t>
            </a:r>
            <a:r>
              <a:rPr lang="pt-PT" dirty="0" err="1"/>
              <a:t>imperdiet</a:t>
            </a:r>
            <a:r>
              <a:rPr lang="pt-PT" dirty="0"/>
              <a:t> </a:t>
            </a:r>
            <a:r>
              <a:rPr lang="pt-PT" dirty="0" err="1"/>
              <a:t>enim</a:t>
            </a:r>
            <a:r>
              <a:rPr lang="pt-PT" dirty="0"/>
              <a:t>. </a:t>
            </a:r>
            <a:r>
              <a:rPr lang="pt-PT" dirty="0" err="1"/>
              <a:t>Fusce</a:t>
            </a:r>
            <a:r>
              <a:rPr lang="pt-PT" dirty="0"/>
              <a:t> est. </a:t>
            </a:r>
            <a:r>
              <a:rPr lang="pt-PT" dirty="0" err="1"/>
              <a:t>Vivamus</a:t>
            </a:r>
            <a:r>
              <a:rPr lang="pt-PT" dirty="0"/>
              <a:t> a </a:t>
            </a:r>
            <a:r>
              <a:rPr lang="pt-PT" dirty="0" err="1"/>
              <a:t>tellus</a:t>
            </a:r>
            <a:r>
              <a:rPr lang="pt-PT" dirty="0"/>
              <a:t>.</a:t>
            </a:r>
          </a:p>
          <a:p>
            <a:r>
              <a:rPr lang="pt-PT" dirty="0" err="1"/>
              <a:t>Pellentesque</a:t>
            </a:r>
            <a:r>
              <a:rPr lang="pt-PT" dirty="0"/>
              <a:t> </a:t>
            </a:r>
            <a:r>
              <a:rPr lang="pt-PT" dirty="0" err="1"/>
              <a:t>habitant</a:t>
            </a:r>
            <a:r>
              <a:rPr lang="pt-PT" dirty="0"/>
              <a:t> </a:t>
            </a:r>
            <a:r>
              <a:rPr lang="pt-PT" dirty="0" err="1"/>
              <a:t>morbi</a:t>
            </a:r>
            <a:r>
              <a:rPr lang="pt-PT" dirty="0"/>
              <a:t> </a:t>
            </a:r>
            <a:r>
              <a:rPr lang="pt-PT" dirty="0" err="1"/>
              <a:t>tristique</a:t>
            </a:r>
            <a:r>
              <a:rPr lang="pt-PT" dirty="0"/>
              <a:t> </a:t>
            </a:r>
            <a:r>
              <a:rPr lang="pt-PT" dirty="0" err="1"/>
              <a:t>senectus</a:t>
            </a:r>
            <a:r>
              <a:rPr lang="pt-PT" dirty="0"/>
              <a:t> </a:t>
            </a:r>
            <a:r>
              <a:rPr lang="pt-PT" dirty="0" err="1"/>
              <a:t>et</a:t>
            </a:r>
            <a:r>
              <a:rPr lang="pt-PT" dirty="0"/>
              <a:t> </a:t>
            </a:r>
            <a:r>
              <a:rPr lang="pt-PT" dirty="0" err="1"/>
              <a:t>netus</a:t>
            </a:r>
            <a:r>
              <a:rPr lang="pt-PT" dirty="0"/>
              <a:t> </a:t>
            </a:r>
            <a:r>
              <a:rPr lang="pt-PT" dirty="0" err="1"/>
              <a:t>et</a:t>
            </a:r>
            <a:r>
              <a:rPr lang="pt-PT" dirty="0"/>
              <a:t> </a:t>
            </a:r>
            <a:r>
              <a:rPr lang="pt-PT" dirty="0" err="1"/>
              <a:t>malesuada</a:t>
            </a:r>
            <a:r>
              <a:rPr lang="pt-PT" dirty="0"/>
              <a:t> </a:t>
            </a:r>
            <a:r>
              <a:rPr lang="pt-PT" dirty="0" err="1"/>
              <a:t>fames</a:t>
            </a:r>
            <a:r>
              <a:rPr lang="pt-PT" dirty="0"/>
              <a:t> </a:t>
            </a:r>
            <a:r>
              <a:rPr lang="pt-PT" dirty="0" err="1"/>
              <a:t>ac</a:t>
            </a:r>
            <a:r>
              <a:rPr lang="pt-PT" dirty="0"/>
              <a:t> </a:t>
            </a:r>
            <a:r>
              <a:rPr lang="pt-PT" dirty="0" err="1"/>
              <a:t>turpis</a:t>
            </a:r>
            <a:r>
              <a:rPr lang="pt-PT" dirty="0"/>
              <a:t> egestas. </a:t>
            </a:r>
            <a:r>
              <a:rPr lang="pt-PT" dirty="0" err="1"/>
              <a:t>Proin</a:t>
            </a:r>
            <a:r>
              <a:rPr lang="pt-PT" dirty="0"/>
              <a:t> </a:t>
            </a:r>
            <a:r>
              <a:rPr lang="pt-PT" dirty="0" err="1"/>
              <a:t>pharetra</a:t>
            </a:r>
            <a:r>
              <a:rPr lang="pt-PT" dirty="0"/>
              <a:t> </a:t>
            </a:r>
            <a:r>
              <a:rPr lang="pt-PT" dirty="0" err="1"/>
              <a:t>nonummy</a:t>
            </a:r>
            <a:r>
              <a:rPr lang="pt-PT" dirty="0"/>
              <a:t> pede. </a:t>
            </a:r>
            <a:r>
              <a:rPr lang="pt-PT" dirty="0" err="1"/>
              <a:t>Mauris</a:t>
            </a:r>
            <a:r>
              <a:rPr lang="pt-PT" dirty="0"/>
              <a:t> </a:t>
            </a:r>
            <a:r>
              <a:rPr lang="pt-PT" dirty="0" err="1"/>
              <a:t>et</a:t>
            </a:r>
            <a:r>
              <a:rPr lang="pt-PT" dirty="0"/>
              <a:t> </a:t>
            </a:r>
            <a:r>
              <a:rPr lang="pt-PT" dirty="0" err="1"/>
              <a:t>orci</a:t>
            </a:r>
            <a:r>
              <a:rPr lang="pt-PT" dirty="0"/>
              <a:t>. </a:t>
            </a:r>
            <a:r>
              <a:rPr lang="pt-PT" dirty="0" err="1"/>
              <a:t>Lorem</a:t>
            </a:r>
            <a:r>
              <a:rPr lang="pt-PT" dirty="0"/>
              <a:t> </a:t>
            </a:r>
            <a:r>
              <a:rPr lang="pt-PT" dirty="0" err="1"/>
              <a:t>ipsum</a:t>
            </a:r>
            <a:r>
              <a:rPr lang="pt-PT" dirty="0"/>
              <a:t> </a:t>
            </a:r>
            <a:r>
              <a:rPr lang="pt-PT" dirty="0" err="1"/>
              <a:t>dolor</a:t>
            </a:r>
            <a:r>
              <a:rPr lang="pt-PT" dirty="0"/>
              <a:t>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r>
              <a:rPr lang="pt-PT" dirty="0"/>
              <a:t>, </a:t>
            </a:r>
            <a:r>
              <a:rPr lang="pt-PT" dirty="0" err="1"/>
              <a:t>consectetuer</a:t>
            </a:r>
            <a:r>
              <a:rPr lang="pt-PT" dirty="0"/>
              <a:t> </a:t>
            </a:r>
            <a:r>
              <a:rPr lang="pt-PT" dirty="0" err="1"/>
              <a:t>adipiscing</a:t>
            </a:r>
            <a:r>
              <a:rPr lang="pt-PT" dirty="0"/>
              <a:t> </a:t>
            </a:r>
            <a:r>
              <a:rPr lang="pt-PT" dirty="0" err="1"/>
              <a:t>elit</a:t>
            </a:r>
            <a:r>
              <a:rPr lang="pt-PT" dirty="0"/>
              <a:t>. </a:t>
            </a:r>
            <a:r>
              <a:rPr lang="pt-PT" dirty="0" err="1"/>
              <a:t>Maecenas</a:t>
            </a:r>
            <a:r>
              <a:rPr lang="pt-PT" dirty="0"/>
              <a:t> </a:t>
            </a:r>
            <a:r>
              <a:rPr lang="pt-PT" dirty="0" err="1"/>
              <a:t>porttitor</a:t>
            </a:r>
            <a:r>
              <a:rPr lang="pt-PT" dirty="0"/>
              <a:t> </a:t>
            </a:r>
            <a:r>
              <a:rPr lang="pt-PT" dirty="0" err="1"/>
              <a:t>congue</a:t>
            </a:r>
            <a:r>
              <a:rPr lang="pt-PT" dirty="0"/>
              <a:t> massa. </a:t>
            </a:r>
            <a:r>
              <a:rPr lang="pt-PT" dirty="0" err="1"/>
              <a:t>Fusce</a:t>
            </a:r>
            <a:r>
              <a:rPr lang="pt-PT" dirty="0"/>
              <a:t> </a:t>
            </a:r>
            <a:r>
              <a:rPr lang="pt-PT" dirty="0" err="1"/>
              <a:t>posuere</a:t>
            </a:r>
            <a:r>
              <a:rPr lang="pt-PT" dirty="0"/>
              <a:t>, magna </a:t>
            </a:r>
            <a:r>
              <a:rPr lang="pt-PT" dirty="0" err="1"/>
              <a:t>sed</a:t>
            </a:r>
            <a:r>
              <a:rPr lang="pt-PT" dirty="0"/>
              <a:t> pulvinar </a:t>
            </a:r>
            <a:r>
              <a:rPr lang="pt-PT" dirty="0" err="1"/>
              <a:t>ultricies</a:t>
            </a:r>
            <a:r>
              <a:rPr lang="pt-PT" dirty="0"/>
              <a:t>, purus </a:t>
            </a:r>
            <a:r>
              <a:rPr lang="pt-PT" dirty="0" err="1"/>
              <a:t>lectus</a:t>
            </a:r>
            <a:r>
              <a:rPr lang="pt-PT" dirty="0"/>
              <a:t> </a:t>
            </a:r>
            <a:r>
              <a:rPr lang="pt-PT" dirty="0" err="1"/>
              <a:t>malesuada</a:t>
            </a:r>
            <a:r>
              <a:rPr lang="pt-PT" dirty="0"/>
              <a:t> libero,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r>
              <a:rPr lang="pt-PT" dirty="0"/>
              <a:t> </a:t>
            </a:r>
            <a:r>
              <a:rPr lang="pt-PT" dirty="0" err="1"/>
              <a:t>commodo</a:t>
            </a:r>
            <a:r>
              <a:rPr lang="pt-PT" dirty="0"/>
              <a:t> magna eros quis urna.</a:t>
            </a:r>
          </a:p>
          <a:p>
            <a:pPr marL="174625" indent="-174625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pt-PT" dirty="0" err="1"/>
              <a:t>Nunc</a:t>
            </a:r>
            <a:r>
              <a:rPr lang="pt-PT" dirty="0"/>
              <a:t> </a:t>
            </a:r>
            <a:r>
              <a:rPr lang="pt-PT" dirty="0" err="1"/>
              <a:t>viverra</a:t>
            </a:r>
            <a:r>
              <a:rPr lang="pt-PT" dirty="0"/>
              <a:t> </a:t>
            </a:r>
            <a:r>
              <a:rPr lang="pt-PT" dirty="0" err="1"/>
              <a:t>imperdiet</a:t>
            </a:r>
            <a:r>
              <a:rPr lang="pt-PT" dirty="0"/>
              <a:t> </a:t>
            </a:r>
            <a:r>
              <a:rPr lang="pt-PT" dirty="0" err="1"/>
              <a:t>enim</a:t>
            </a:r>
            <a:r>
              <a:rPr lang="pt-PT" dirty="0"/>
              <a:t>. </a:t>
            </a:r>
            <a:r>
              <a:rPr lang="pt-PT" dirty="0" err="1"/>
              <a:t>Fusce</a:t>
            </a:r>
            <a:r>
              <a:rPr lang="pt-PT" dirty="0"/>
              <a:t> est. </a:t>
            </a:r>
            <a:r>
              <a:rPr lang="pt-PT" dirty="0" err="1"/>
              <a:t>Vivamus</a:t>
            </a:r>
            <a:r>
              <a:rPr lang="pt-PT" dirty="0"/>
              <a:t> a </a:t>
            </a:r>
            <a:r>
              <a:rPr lang="pt-PT" dirty="0" err="1"/>
              <a:t>tellus</a:t>
            </a:r>
            <a:r>
              <a:rPr lang="pt-PT" dirty="0"/>
              <a:t>.</a:t>
            </a:r>
          </a:p>
          <a:p>
            <a:pPr marL="174625" indent="-174625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pt-PT" dirty="0" err="1"/>
              <a:t>Pellentesque</a:t>
            </a:r>
            <a:r>
              <a:rPr lang="pt-PT" dirty="0"/>
              <a:t> </a:t>
            </a:r>
            <a:r>
              <a:rPr lang="pt-PT" dirty="0" err="1"/>
              <a:t>habitant</a:t>
            </a:r>
            <a:r>
              <a:rPr lang="pt-PT" dirty="0"/>
              <a:t> </a:t>
            </a:r>
            <a:r>
              <a:rPr lang="pt-PT" dirty="0" err="1"/>
              <a:t>morbi</a:t>
            </a:r>
            <a:r>
              <a:rPr lang="pt-PT" dirty="0"/>
              <a:t> </a:t>
            </a:r>
            <a:r>
              <a:rPr lang="pt-PT" dirty="0" err="1"/>
              <a:t>tristique</a:t>
            </a:r>
            <a:r>
              <a:rPr lang="pt-PT" dirty="0"/>
              <a:t> </a:t>
            </a:r>
            <a:r>
              <a:rPr lang="pt-PT" dirty="0" err="1"/>
              <a:t>senectus</a:t>
            </a:r>
            <a:r>
              <a:rPr lang="pt-PT" dirty="0"/>
              <a:t> </a:t>
            </a:r>
            <a:r>
              <a:rPr lang="pt-PT" dirty="0" err="1"/>
              <a:t>et</a:t>
            </a:r>
            <a:r>
              <a:rPr lang="pt-PT" dirty="0"/>
              <a:t> </a:t>
            </a:r>
            <a:r>
              <a:rPr lang="pt-PT" dirty="0" err="1"/>
              <a:t>netus</a:t>
            </a:r>
            <a:r>
              <a:rPr lang="pt-PT" dirty="0"/>
              <a:t> </a:t>
            </a:r>
            <a:r>
              <a:rPr lang="pt-PT" dirty="0" err="1"/>
              <a:t>et</a:t>
            </a:r>
            <a:r>
              <a:rPr lang="pt-PT" dirty="0"/>
              <a:t> </a:t>
            </a:r>
            <a:r>
              <a:rPr lang="pt-PT" dirty="0" err="1"/>
              <a:t>malesuada</a:t>
            </a:r>
            <a:r>
              <a:rPr lang="pt-PT" dirty="0"/>
              <a:t> </a:t>
            </a:r>
            <a:r>
              <a:rPr lang="pt-PT" dirty="0" err="1"/>
              <a:t>fames</a:t>
            </a:r>
            <a:r>
              <a:rPr lang="pt-PT" dirty="0"/>
              <a:t> </a:t>
            </a:r>
            <a:r>
              <a:rPr lang="pt-PT" dirty="0" err="1"/>
              <a:t>ac</a:t>
            </a:r>
            <a:r>
              <a:rPr lang="pt-PT" dirty="0"/>
              <a:t> </a:t>
            </a:r>
            <a:r>
              <a:rPr lang="pt-PT" dirty="0" err="1"/>
              <a:t>turpis</a:t>
            </a:r>
            <a:r>
              <a:rPr lang="pt-PT" dirty="0"/>
              <a:t> egestas. </a:t>
            </a:r>
            <a:r>
              <a:rPr lang="pt-PT" dirty="0" err="1"/>
              <a:t>Proin</a:t>
            </a:r>
            <a:r>
              <a:rPr lang="pt-PT" dirty="0"/>
              <a:t> </a:t>
            </a:r>
            <a:r>
              <a:rPr lang="pt-PT" dirty="0" err="1"/>
              <a:t>pharetra</a:t>
            </a:r>
            <a:r>
              <a:rPr lang="pt-PT" dirty="0"/>
              <a:t> </a:t>
            </a:r>
            <a:r>
              <a:rPr lang="pt-PT" dirty="0" err="1"/>
              <a:t>nonummy</a:t>
            </a:r>
            <a:r>
              <a:rPr lang="pt-PT" dirty="0"/>
              <a:t> pede. </a:t>
            </a:r>
            <a:r>
              <a:rPr lang="pt-PT" dirty="0" err="1"/>
              <a:t>Mauris</a:t>
            </a:r>
            <a:r>
              <a:rPr lang="pt-PT" dirty="0"/>
              <a:t> </a:t>
            </a:r>
            <a:r>
              <a:rPr lang="pt-PT" dirty="0" err="1"/>
              <a:t>et</a:t>
            </a:r>
            <a:r>
              <a:rPr lang="pt-PT" dirty="0"/>
              <a:t> </a:t>
            </a:r>
            <a:r>
              <a:rPr lang="pt-PT" dirty="0" err="1"/>
              <a:t>orci</a:t>
            </a:r>
            <a:r>
              <a:rPr lang="pt-PT" dirty="0"/>
              <a:t>.</a:t>
            </a:r>
          </a:p>
          <a:p>
            <a:endParaRPr lang="pt-PT" dirty="0"/>
          </a:p>
        </p:txBody>
      </p:sp>
      <p:sp>
        <p:nvSpPr>
          <p:cNvPr id="5" name="Marcador de Posição do Texto 4">
            <a:extLst>
              <a:ext uri="{FF2B5EF4-FFF2-40B4-BE49-F238E27FC236}">
                <a16:creationId xmlns:a16="http://schemas.microsoft.com/office/drawing/2014/main" id="{2BEE20AA-0320-5BCB-4EF1-3DD5483AB423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pt-PT" dirty="0" err="1"/>
              <a:t>Lorem</a:t>
            </a:r>
            <a:r>
              <a:rPr lang="pt-PT" dirty="0"/>
              <a:t> </a:t>
            </a:r>
            <a:r>
              <a:rPr lang="pt-PT" dirty="0" err="1"/>
              <a:t>ipsum</a:t>
            </a:r>
            <a:r>
              <a:rPr lang="pt-PT" dirty="0"/>
              <a:t> </a:t>
            </a:r>
            <a:r>
              <a:rPr lang="pt-PT" dirty="0" err="1"/>
              <a:t>dolor</a:t>
            </a:r>
            <a:r>
              <a:rPr lang="pt-PT" dirty="0"/>
              <a:t>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r>
              <a:rPr lang="pt-PT" dirty="0"/>
              <a:t>, </a:t>
            </a:r>
            <a:r>
              <a:rPr lang="pt-PT" dirty="0" err="1"/>
              <a:t>consectetuer</a:t>
            </a:r>
            <a:r>
              <a:rPr lang="pt-PT" dirty="0"/>
              <a:t> </a:t>
            </a:r>
            <a:r>
              <a:rPr lang="pt-PT" dirty="0" err="1"/>
              <a:t>adipiscing</a:t>
            </a:r>
            <a:r>
              <a:rPr lang="pt-PT" dirty="0"/>
              <a:t> </a:t>
            </a:r>
            <a:r>
              <a:rPr lang="pt-PT" dirty="0" err="1"/>
              <a:t>elit</a:t>
            </a:r>
            <a:r>
              <a:rPr lang="pt-PT" dirty="0"/>
              <a:t>. </a:t>
            </a:r>
            <a:r>
              <a:rPr lang="pt-PT" dirty="0" err="1"/>
              <a:t>Maecenas</a:t>
            </a:r>
            <a:r>
              <a:rPr lang="pt-PT" dirty="0"/>
              <a:t> </a:t>
            </a:r>
            <a:r>
              <a:rPr lang="pt-PT" dirty="0" err="1"/>
              <a:t>porttitor</a:t>
            </a:r>
            <a:r>
              <a:rPr lang="pt-PT" dirty="0"/>
              <a:t> </a:t>
            </a:r>
            <a:r>
              <a:rPr lang="pt-PT" dirty="0" err="1"/>
              <a:t>congue</a:t>
            </a:r>
            <a:r>
              <a:rPr lang="pt-PT" dirty="0"/>
              <a:t> massa. </a:t>
            </a:r>
            <a:r>
              <a:rPr lang="pt-PT" dirty="0" err="1"/>
              <a:t>Fusce</a:t>
            </a:r>
            <a:r>
              <a:rPr lang="pt-PT" dirty="0"/>
              <a:t> </a:t>
            </a:r>
            <a:r>
              <a:rPr lang="pt-PT" dirty="0" err="1"/>
              <a:t>posuere</a:t>
            </a:r>
            <a:r>
              <a:rPr lang="pt-PT" dirty="0"/>
              <a:t>, magna </a:t>
            </a:r>
            <a:r>
              <a:rPr lang="pt-PT" dirty="0" err="1"/>
              <a:t>sed</a:t>
            </a:r>
            <a:r>
              <a:rPr lang="pt-PT" dirty="0"/>
              <a:t> pulvinar </a:t>
            </a:r>
            <a:r>
              <a:rPr lang="pt-PT" dirty="0" err="1"/>
              <a:t>ultricies</a:t>
            </a:r>
            <a:r>
              <a:rPr lang="pt-PT" dirty="0"/>
              <a:t>, purus </a:t>
            </a:r>
            <a:r>
              <a:rPr lang="pt-PT" dirty="0" err="1"/>
              <a:t>lectus</a:t>
            </a:r>
            <a:r>
              <a:rPr lang="pt-PT" dirty="0"/>
              <a:t> </a:t>
            </a:r>
            <a:r>
              <a:rPr lang="pt-PT" dirty="0" err="1"/>
              <a:t>malesuada</a:t>
            </a:r>
            <a:r>
              <a:rPr lang="pt-PT" dirty="0"/>
              <a:t> libero,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r>
              <a:rPr lang="pt-PT" dirty="0"/>
              <a:t> </a:t>
            </a:r>
            <a:r>
              <a:rPr lang="pt-PT" dirty="0" err="1"/>
              <a:t>commodo</a:t>
            </a:r>
            <a:r>
              <a:rPr lang="pt-PT" dirty="0"/>
              <a:t> magna eros quis urna.</a:t>
            </a:r>
          </a:p>
          <a:p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Nunc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viverra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imperdiet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enim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.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Fusce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est.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Vivamus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a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tellus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.</a:t>
            </a:r>
          </a:p>
          <a:p>
            <a:r>
              <a:rPr lang="pt-PT" dirty="0" err="1"/>
              <a:t>Pellentesque</a:t>
            </a:r>
            <a:r>
              <a:rPr lang="pt-PT" dirty="0"/>
              <a:t> </a:t>
            </a:r>
            <a:r>
              <a:rPr lang="pt-PT" dirty="0" err="1"/>
              <a:t>habitant</a:t>
            </a:r>
            <a:r>
              <a:rPr lang="pt-PT" dirty="0"/>
              <a:t> </a:t>
            </a:r>
            <a:r>
              <a:rPr lang="pt-PT" dirty="0" err="1"/>
              <a:t>morbi</a:t>
            </a:r>
            <a:r>
              <a:rPr lang="pt-PT" dirty="0"/>
              <a:t> </a:t>
            </a:r>
            <a:r>
              <a:rPr lang="pt-PT" dirty="0" err="1"/>
              <a:t>tristique</a:t>
            </a:r>
            <a:r>
              <a:rPr lang="pt-PT" dirty="0"/>
              <a:t> </a:t>
            </a:r>
            <a:r>
              <a:rPr lang="pt-PT" dirty="0" err="1"/>
              <a:t>senectus</a:t>
            </a:r>
            <a:r>
              <a:rPr lang="pt-PT" dirty="0"/>
              <a:t> </a:t>
            </a:r>
            <a:r>
              <a:rPr lang="pt-PT" dirty="0" err="1"/>
              <a:t>et</a:t>
            </a:r>
            <a:r>
              <a:rPr lang="pt-PT" dirty="0"/>
              <a:t> </a:t>
            </a:r>
            <a:r>
              <a:rPr lang="pt-PT" dirty="0" err="1"/>
              <a:t>netus</a:t>
            </a:r>
            <a:r>
              <a:rPr lang="pt-PT" dirty="0"/>
              <a:t> </a:t>
            </a:r>
            <a:r>
              <a:rPr lang="pt-PT" dirty="0" err="1"/>
              <a:t>et</a:t>
            </a:r>
            <a:r>
              <a:rPr lang="pt-PT" dirty="0"/>
              <a:t> </a:t>
            </a:r>
            <a:r>
              <a:rPr lang="pt-PT" dirty="0" err="1"/>
              <a:t>malesuada</a:t>
            </a:r>
            <a:r>
              <a:rPr lang="pt-PT" dirty="0"/>
              <a:t> </a:t>
            </a:r>
            <a:r>
              <a:rPr lang="pt-PT" dirty="0" err="1"/>
              <a:t>fames</a:t>
            </a:r>
            <a:r>
              <a:rPr lang="pt-PT" dirty="0"/>
              <a:t> </a:t>
            </a:r>
            <a:r>
              <a:rPr lang="pt-PT" dirty="0" err="1"/>
              <a:t>ac</a:t>
            </a:r>
            <a:r>
              <a:rPr lang="pt-PT" dirty="0"/>
              <a:t> </a:t>
            </a:r>
            <a:r>
              <a:rPr lang="pt-PT" dirty="0" err="1"/>
              <a:t>turpis</a:t>
            </a:r>
            <a:r>
              <a:rPr lang="pt-PT" dirty="0"/>
              <a:t> egestas. </a:t>
            </a:r>
            <a:r>
              <a:rPr lang="pt-PT" dirty="0" err="1"/>
              <a:t>Proin</a:t>
            </a:r>
            <a:r>
              <a:rPr lang="pt-PT" dirty="0"/>
              <a:t> </a:t>
            </a:r>
            <a:r>
              <a:rPr lang="pt-PT" dirty="0" err="1"/>
              <a:t>pharetra</a:t>
            </a:r>
            <a:r>
              <a:rPr lang="pt-PT" dirty="0"/>
              <a:t> </a:t>
            </a:r>
            <a:r>
              <a:rPr lang="pt-PT" dirty="0" err="1"/>
              <a:t>nonummy</a:t>
            </a:r>
            <a:r>
              <a:rPr lang="pt-PT" dirty="0"/>
              <a:t> pede. </a:t>
            </a:r>
            <a:r>
              <a:rPr lang="pt-PT" dirty="0" err="1"/>
              <a:t>Mauris</a:t>
            </a:r>
            <a:r>
              <a:rPr lang="pt-PT" dirty="0"/>
              <a:t> </a:t>
            </a:r>
            <a:r>
              <a:rPr lang="pt-PT" dirty="0" err="1"/>
              <a:t>et</a:t>
            </a:r>
            <a:r>
              <a:rPr lang="pt-PT" dirty="0"/>
              <a:t> </a:t>
            </a:r>
            <a:r>
              <a:rPr lang="pt-PT" dirty="0" err="1"/>
              <a:t>orci</a:t>
            </a:r>
            <a:r>
              <a:rPr lang="pt-PT" dirty="0"/>
              <a:t>. </a:t>
            </a:r>
            <a:r>
              <a:rPr lang="pt-PT" dirty="0" err="1"/>
              <a:t>Lorem</a:t>
            </a:r>
            <a:r>
              <a:rPr lang="pt-PT" dirty="0"/>
              <a:t> </a:t>
            </a:r>
            <a:r>
              <a:rPr lang="pt-PT" dirty="0" err="1"/>
              <a:t>ipsum</a:t>
            </a:r>
            <a:r>
              <a:rPr lang="pt-PT" dirty="0"/>
              <a:t> </a:t>
            </a:r>
            <a:r>
              <a:rPr lang="pt-PT" dirty="0" err="1"/>
              <a:t>dolor</a:t>
            </a:r>
            <a:r>
              <a:rPr lang="pt-PT" dirty="0"/>
              <a:t>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r>
              <a:rPr lang="pt-PT" dirty="0"/>
              <a:t>, </a:t>
            </a:r>
            <a:r>
              <a:rPr lang="pt-PT" dirty="0" err="1"/>
              <a:t>consectetuer</a:t>
            </a:r>
            <a:r>
              <a:rPr lang="pt-PT" dirty="0"/>
              <a:t> </a:t>
            </a:r>
            <a:r>
              <a:rPr lang="pt-PT" dirty="0" err="1"/>
              <a:t>adipiscing</a:t>
            </a:r>
            <a:r>
              <a:rPr lang="pt-PT" dirty="0"/>
              <a:t> </a:t>
            </a:r>
            <a:r>
              <a:rPr lang="pt-PT" dirty="0" err="1"/>
              <a:t>elit</a:t>
            </a:r>
            <a:r>
              <a:rPr lang="pt-PT" dirty="0"/>
              <a:t>. </a:t>
            </a:r>
            <a:r>
              <a:rPr lang="pt-PT" dirty="0" err="1"/>
              <a:t>Maecenas</a:t>
            </a:r>
            <a:r>
              <a:rPr lang="pt-PT" dirty="0"/>
              <a:t> </a:t>
            </a:r>
            <a:r>
              <a:rPr lang="pt-PT" dirty="0" err="1"/>
              <a:t>porttitor</a:t>
            </a:r>
            <a:r>
              <a:rPr lang="pt-PT" dirty="0"/>
              <a:t> </a:t>
            </a:r>
            <a:r>
              <a:rPr lang="pt-PT" dirty="0" err="1"/>
              <a:t>congue</a:t>
            </a:r>
            <a:r>
              <a:rPr lang="pt-PT" dirty="0"/>
              <a:t> massa. </a:t>
            </a:r>
            <a:r>
              <a:rPr lang="pt-PT" dirty="0" err="1"/>
              <a:t>Fusce</a:t>
            </a:r>
            <a:r>
              <a:rPr lang="pt-PT" dirty="0"/>
              <a:t> </a:t>
            </a:r>
            <a:r>
              <a:rPr lang="pt-PT" dirty="0" err="1"/>
              <a:t>posuere</a:t>
            </a:r>
            <a:r>
              <a:rPr lang="pt-PT" dirty="0"/>
              <a:t>, magna </a:t>
            </a:r>
            <a:r>
              <a:rPr lang="pt-PT" dirty="0" err="1"/>
              <a:t>sed</a:t>
            </a:r>
            <a:r>
              <a:rPr lang="pt-PT" dirty="0"/>
              <a:t> pulvinar </a:t>
            </a:r>
            <a:r>
              <a:rPr lang="pt-PT" dirty="0" err="1"/>
              <a:t>ultricies</a:t>
            </a:r>
            <a:r>
              <a:rPr lang="pt-PT" dirty="0"/>
              <a:t>, purus </a:t>
            </a:r>
            <a:r>
              <a:rPr lang="pt-PT" dirty="0" err="1"/>
              <a:t>lectus</a:t>
            </a:r>
            <a:r>
              <a:rPr lang="pt-PT" dirty="0"/>
              <a:t> </a:t>
            </a:r>
            <a:r>
              <a:rPr lang="pt-PT" dirty="0" err="1"/>
              <a:t>malesuada</a:t>
            </a:r>
            <a:r>
              <a:rPr lang="pt-PT" dirty="0"/>
              <a:t> libero,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r>
              <a:rPr lang="pt-PT" dirty="0"/>
              <a:t> </a:t>
            </a:r>
            <a:r>
              <a:rPr lang="pt-PT" dirty="0" err="1"/>
              <a:t>commodo</a:t>
            </a:r>
            <a:r>
              <a:rPr lang="pt-PT" dirty="0"/>
              <a:t> magna eros quis urna.</a:t>
            </a:r>
          </a:p>
          <a:p>
            <a:pPr marL="174625" indent="-174625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pt-PT" dirty="0" err="1"/>
              <a:t>Nunc</a:t>
            </a:r>
            <a:r>
              <a:rPr lang="pt-PT" dirty="0"/>
              <a:t> </a:t>
            </a:r>
            <a:r>
              <a:rPr lang="pt-PT" dirty="0" err="1"/>
              <a:t>viverra</a:t>
            </a:r>
            <a:r>
              <a:rPr lang="pt-PT" dirty="0"/>
              <a:t> </a:t>
            </a:r>
            <a:r>
              <a:rPr lang="pt-PT" dirty="0" err="1"/>
              <a:t>imperdiet</a:t>
            </a:r>
            <a:r>
              <a:rPr lang="pt-PT" dirty="0"/>
              <a:t> </a:t>
            </a:r>
            <a:r>
              <a:rPr lang="pt-PT" dirty="0" err="1"/>
              <a:t>enim</a:t>
            </a:r>
            <a:r>
              <a:rPr lang="pt-PT" dirty="0"/>
              <a:t>. </a:t>
            </a:r>
            <a:r>
              <a:rPr lang="pt-PT" dirty="0" err="1"/>
              <a:t>Fusce</a:t>
            </a:r>
            <a:r>
              <a:rPr lang="pt-PT" dirty="0"/>
              <a:t> est. </a:t>
            </a:r>
            <a:r>
              <a:rPr lang="pt-PT" dirty="0" err="1"/>
              <a:t>Vivamus</a:t>
            </a:r>
            <a:r>
              <a:rPr lang="pt-PT" dirty="0"/>
              <a:t> a </a:t>
            </a:r>
            <a:r>
              <a:rPr lang="pt-PT" dirty="0" err="1"/>
              <a:t>tellus</a:t>
            </a:r>
            <a:r>
              <a:rPr lang="pt-PT" dirty="0"/>
              <a:t>.</a:t>
            </a:r>
          </a:p>
          <a:p>
            <a:pPr marL="174625" indent="-174625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pt-PT" dirty="0" err="1"/>
              <a:t>Pellentesque</a:t>
            </a:r>
            <a:r>
              <a:rPr lang="pt-PT" dirty="0"/>
              <a:t> </a:t>
            </a:r>
            <a:r>
              <a:rPr lang="pt-PT" dirty="0" err="1"/>
              <a:t>habitant</a:t>
            </a:r>
            <a:r>
              <a:rPr lang="pt-PT" dirty="0"/>
              <a:t> </a:t>
            </a:r>
            <a:r>
              <a:rPr lang="pt-PT" dirty="0" err="1"/>
              <a:t>morbi</a:t>
            </a:r>
            <a:r>
              <a:rPr lang="pt-PT" dirty="0"/>
              <a:t> </a:t>
            </a:r>
            <a:r>
              <a:rPr lang="pt-PT" dirty="0" err="1"/>
              <a:t>tristique</a:t>
            </a:r>
            <a:r>
              <a:rPr lang="pt-PT" dirty="0"/>
              <a:t> </a:t>
            </a:r>
            <a:r>
              <a:rPr lang="pt-PT" dirty="0" err="1"/>
              <a:t>senectus</a:t>
            </a:r>
            <a:r>
              <a:rPr lang="pt-PT" dirty="0"/>
              <a:t> </a:t>
            </a:r>
            <a:r>
              <a:rPr lang="pt-PT" dirty="0" err="1"/>
              <a:t>et</a:t>
            </a:r>
            <a:r>
              <a:rPr lang="pt-PT" dirty="0"/>
              <a:t> </a:t>
            </a:r>
            <a:r>
              <a:rPr lang="pt-PT" dirty="0" err="1"/>
              <a:t>netus</a:t>
            </a:r>
            <a:r>
              <a:rPr lang="pt-PT" dirty="0"/>
              <a:t> </a:t>
            </a:r>
            <a:r>
              <a:rPr lang="pt-PT" dirty="0" err="1"/>
              <a:t>et</a:t>
            </a:r>
            <a:r>
              <a:rPr lang="pt-PT" dirty="0"/>
              <a:t> </a:t>
            </a:r>
            <a:r>
              <a:rPr lang="pt-PT" dirty="0" err="1"/>
              <a:t>malesuada</a:t>
            </a:r>
            <a:r>
              <a:rPr lang="pt-PT" dirty="0"/>
              <a:t> </a:t>
            </a:r>
            <a:r>
              <a:rPr lang="pt-PT" dirty="0" err="1"/>
              <a:t>fames</a:t>
            </a:r>
            <a:r>
              <a:rPr lang="pt-PT" dirty="0"/>
              <a:t> </a:t>
            </a:r>
            <a:r>
              <a:rPr lang="pt-PT" dirty="0" err="1"/>
              <a:t>ac</a:t>
            </a:r>
            <a:r>
              <a:rPr lang="pt-PT" dirty="0"/>
              <a:t> </a:t>
            </a:r>
            <a:r>
              <a:rPr lang="pt-PT" dirty="0" err="1"/>
              <a:t>turpis</a:t>
            </a:r>
            <a:r>
              <a:rPr lang="pt-PT" dirty="0"/>
              <a:t> egestas. </a:t>
            </a:r>
            <a:r>
              <a:rPr lang="pt-PT" dirty="0" err="1"/>
              <a:t>Proin</a:t>
            </a:r>
            <a:r>
              <a:rPr lang="pt-PT" dirty="0"/>
              <a:t> </a:t>
            </a:r>
            <a:r>
              <a:rPr lang="pt-PT" dirty="0" err="1"/>
              <a:t>pharetra</a:t>
            </a:r>
            <a:r>
              <a:rPr lang="pt-PT" dirty="0"/>
              <a:t> </a:t>
            </a:r>
            <a:r>
              <a:rPr lang="pt-PT" dirty="0" err="1"/>
              <a:t>nonummy</a:t>
            </a:r>
            <a:r>
              <a:rPr lang="pt-PT" dirty="0"/>
              <a:t> pede. </a:t>
            </a:r>
            <a:r>
              <a:rPr lang="pt-PT" dirty="0" err="1"/>
              <a:t>Mauris</a:t>
            </a:r>
            <a:r>
              <a:rPr lang="pt-PT" dirty="0"/>
              <a:t> </a:t>
            </a:r>
            <a:r>
              <a:rPr lang="pt-PT" dirty="0" err="1"/>
              <a:t>et</a:t>
            </a:r>
            <a:r>
              <a:rPr lang="pt-PT" dirty="0"/>
              <a:t> </a:t>
            </a:r>
            <a:r>
              <a:rPr lang="pt-PT" dirty="0" err="1"/>
              <a:t>orci</a:t>
            </a:r>
            <a:r>
              <a:rPr lang="pt-PT" dirty="0"/>
              <a:t>.</a:t>
            </a:r>
          </a:p>
          <a:p>
            <a:endParaRPr lang="pt-PT" dirty="0"/>
          </a:p>
        </p:txBody>
      </p:sp>
      <p:sp>
        <p:nvSpPr>
          <p:cNvPr id="6" name="Marcador de pie de página 5">
            <a:extLst>
              <a:ext uri="{FF2B5EF4-FFF2-40B4-BE49-F238E27FC236}">
                <a16:creationId xmlns:a16="http://schemas.microsoft.com/office/drawing/2014/main" id="{DB2036C2-1FC8-40CE-9562-C5D01DEBD46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12762" y="6356350"/>
            <a:ext cx="5346699" cy="365125"/>
          </a:xfrm>
        </p:spPr>
        <p:txBody>
          <a:bodyPr/>
          <a:lstStyle/>
          <a:p>
            <a:r>
              <a:rPr lang="pt-PT"/>
              <a:t>Título de la presentación</a:t>
            </a:r>
            <a:endParaRPr lang="pt-PT" dirty="0"/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:a16="http://schemas.microsoft.com/office/drawing/2014/main" id="{E695FEB0-593A-4569-BB19-B49944E4F21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936039" y="6356350"/>
            <a:ext cx="2743200" cy="365125"/>
          </a:xfrm>
        </p:spPr>
        <p:txBody>
          <a:bodyPr/>
          <a:lstStyle/>
          <a:p>
            <a:fld id="{24A347C2-D68E-473A-8C76-1D063E4EB6E0}" type="slidenum">
              <a:rPr lang="pt-PT" smtClean="0"/>
              <a:pPr/>
              <a:t>13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17603141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ítulo 3">
            <a:extLst>
              <a:ext uri="{FF2B5EF4-FFF2-40B4-BE49-F238E27FC236}">
                <a16:creationId xmlns:a16="http://schemas.microsoft.com/office/drawing/2014/main" id="{D06B4417-E950-C29B-C554-D0293C919C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PT" dirty="0"/>
              <a:t>Ejemplo de título de slide</a:t>
            </a:r>
          </a:p>
        </p:txBody>
      </p:sp>
      <p:sp>
        <p:nvSpPr>
          <p:cNvPr id="5" name="Marcador de Posição do Texto 4">
            <a:extLst>
              <a:ext uri="{FF2B5EF4-FFF2-40B4-BE49-F238E27FC236}">
                <a16:creationId xmlns:a16="http://schemas.microsoft.com/office/drawing/2014/main" id="{56B4691F-C32E-6822-6FB4-A2853F45A0C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>
            <a:normAutofit lnSpcReduction="10000"/>
          </a:bodyPr>
          <a:lstStyle/>
          <a:p>
            <a:r>
              <a:rPr lang="pt-PT" dirty="0"/>
              <a:t>Ejemplo de subtítulo de slide</a:t>
            </a:r>
          </a:p>
        </p:txBody>
      </p:sp>
      <p:sp>
        <p:nvSpPr>
          <p:cNvPr id="6" name="Marcador de Posição do Texto 5">
            <a:extLst>
              <a:ext uri="{FF2B5EF4-FFF2-40B4-BE49-F238E27FC236}">
                <a16:creationId xmlns:a16="http://schemas.microsoft.com/office/drawing/2014/main" id="{082B5620-7ACF-C1C4-C4CF-4AE9B837A6B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Lorem ipsum dolor sit amet, consectetuer adipiscing elit. Maecenas porttitor congue massa. </a:t>
            </a:r>
            <a:r>
              <a:rPr lang="pt-PT" dirty="0"/>
              <a:t>Fusce posuere, magna sed pulvinar ultricies, purus lectus malesuada libero, sit amet commodo magna eros quis urna.</a:t>
            </a:r>
          </a:p>
          <a:p>
            <a:r>
              <a:rPr lang="pt-PT" dirty="0"/>
              <a:t>Nunc viverra imperdiet enim. Fusce est. Vivamus a </a:t>
            </a:r>
            <a:r>
              <a:rPr lang="pt-PT" dirty="0" err="1"/>
              <a:t>tellus</a:t>
            </a:r>
            <a:r>
              <a:rPr lang="pt-PT" dirty="0"/>
              <a:t>.</a:t>
            </a:r>
          </a:p>
          <a:p>
            <a:r>
              <a:rPr lang="pt-PT" dirty="0"/>
              <a:t>Pellentesque habitant morbi tristique senectus et netus et malesuada fames ac turpis egestas. Proin pharetra nonummy pede. Mauris et </a:t>
            </a:r>
            <a:r>
              <a:rPr lang="pt-PT" dirty="0" err="1"/>
              <a:t>orci</a:t>
            </a:r>
            <a:r>
              <a:rPr lang="pt-PT" dirty="0"/>
              <a:t>. </a:t>
            </a:r>
            <a:r>
              <a:rPr lang="pt-PT" dirty="0" err="1"/>
              <a:t>Lorem</a:t>
            </a:r>
            <a:r>
              <a:rPr lang="pt-PT" dirty="0"/>
              <a:t> </a:t>
            </a:r>
            <a:r>
              <a:rPr lang="pt-PT" dirty="0" err="1"/>
              <a:t>ipsum</a:t>
            </a:r>
            <a:r>
              <a:rPr lang="pt-PT" dirty="0"/>
              <a:t> </a:t>
            </a:r>
            <a:r>
              <a:rPr lang="pt-PT" dirty="0" err="1"/>
              <a:t>dolor</a:t>
            </a:r>
            <a:r>
              <a:rPr lang="pt-PT" dirty="0"/>
              <a:t>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r>
              <a:rPr lang="pt-PT" dirty="0"/>
              <a:t>, </a:t>
            </a:r>
            <a:r>
              <a:rPr lang="pt-PT" dirty="0" err="1"/>
              <a:t>consectetuer</a:t>
            </a:r>
            <a:r>
              <a:rPr lang="pt-PT" dirty="0"/>
              <a:t> </a:t>
            </a:r>
            <a:r>
              <a:rPr lang="pt-PT" dirty="0" err="1"/>
              <a:t>adipiscing</a:t>
            </a:r>
            <a:r>
              <a:rPr lang="pt-PT" dirty="0"/>
              <a:t> </a:t>
            </a:r>
            <a:r>
              <a:rPr lang="pt-PT" dirty="0" err="1"/>
              <a:t>elit</a:t>
            </a:r>
            <a:r>
              <a:rPr lang="pt-PT" dirty="0"/>
              <a:t>. </a:t>
            </a:r>
            <a:r>
              <a:rPr lang="pt-PT" dirty="0" err="1"/>
              <a:t>Maecenas</a:t>
            </a:r>
            <a:r>
              <a:rPr lang="pt-PT" dirty="0"/>
              <a:t> </a:t>
            </a:r>
            <a:r>
              <a:rPr lang="pt-PT" dirty="0" err="1"/>
              <a:t>porttitor</a:t>
            </a:r>
            <a:r>
              <a:rPr lang="pt-PT" dirty="0"/>
              <a:t> </a:t>
            </a:r>
            <a:r>
              <a:rPr lang="pt-PT" dirty="0" err="1"/>
              <a:t>congue</a:t>
            </a:r>
            <a:r>
              <a:rPr lang="pt-PT" dirty="0"/>
              <a:t> massa. </a:t>
            </a:r>
            <a:r>
              <a:rPr lang="pt-PT" dirty="0" err="1"/>
              <a:t>Fusce</a:t>
            </a:r>
            <a:r>
              <a:rPr lang="pt-PT" dirty="0"/>
              <a:t> </a:t>
            </a:r>
            <a:r>
              <a:rPr lang="pt-PT" dirty="0" err="1"/>
              <a:t>posuere</a:t>
            </a:r>
            <a:r>
              <a:rPr lang="pt-PT" dirty="0"/>
              <a:t>, magna </a:t>
            </a:r>
            <a:r>
              <a:rPr lang="pt-PT" dirty="0" err="1"/>
              <a:t>sed</a:t>
            </a:r>
            <a:r>
              <a:rPr lang="pt-PT" dirty="0"/>
              <a:t> pulvinar </a:t>
            </a:r>
            <a:r>
              <a:rPr lang="pt-PT" dirty="0" err="1"/>
              <a:t>ultricies</a:t>
            </a:r>
            <a:r>
              <a:rPr lang="pt-PT" dirty="0"/>
              <a:t>, purus </a:t>
            </a:r>
            <a:r>
              <a:rPr lang="pt-PT" dirty="0" err="1"/>
              <a:t>lectus</a:t>
            </a:r>
            <a:r>
              <a:rPr lang="pt-PT" dirty="0"/>
              <a:t> </a:t>
            </a:r>
            <a:r>
              <a:rPr lang="pt-PT" dirty="0" err="1"/>
              <a:t>malesuada</a:t>
            </a:r>
            <a:r>
              <a:rPr lang="pt-PT" dirty="0"/>
              <a:t> libero,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r>
              <a:rPr lang="pt-PT" dirty="0"/>
              <a:t> </a:t>
            </a:r>
            <a:r>
              <a:rPr lang="pt-PT" dirty="0" err="1"/>
              <a:t>commodo</a:t>
            </a:r>
            <a:r>
              <a:rPr lang="pt-PT" dirty="0"/>
              <a:t> magna eros quis urna.</a:t>
            </a:r>
          </a:p>
          <a:p>
            <a:pPr marL="174625" indent="-174625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pt-PT" dirty="0" err="1"/>
              <a:t>Nunc</a:t>
            </a:r>
            <a:r>
              <a:rPr lang="pt-PT" dirty="0"/>
              <a:t> </a:t>
            </a:r>
            <a:r>
              <a:rPr lang="pt-PT" dirty="0" err="1"/>
              <a:t>viverra</a:t>
            </a:r>
            <a:r>
              <a:rPr lang="pt-PT" dirty="0"/>
              <a:t> </a:t>
            </a:r>
            <a:r>
              <a:rPr lang="pt-PT" dirty="0" err="1"/>
              <a:t>imperdiet</a:t>
            </a:r>
            <a:r>
              <a:rPr lang="pt-PT" dirty="0"/>
              <a:t> </a:t>
            </a:r>
            <a:r>
              <a:rPr lang="pt-PT" dirty="0" err="1"/>
              <a:t>enim</a:t>
            </a:r>
            <a:r>
              <a:rPr lang="pt-PT" dirty="0"/>
              <a:t>. </a:t>
            </a:r>
            <a:r>
              <a:rPr lang="pt-PT" dirty="0" err="1"/>
              <a:t>Fusce</a:t>
            </a:r>
            <a:r>
              <a:rPr lang="pt-PT" dirty="0"/>
              <a:t> est. </a:t>
            </a:r>
            <a:r>
              <a:rPr lang="pt-PT" dirty="0" err="1"/>
              <a:t>Vivamus</a:t>
            </a:r>
            <a:r>
              <a:rPr lang="pt-PT" dirty="0"/>
              <a:t> a </a:t>
            </a:r>
            <a:r>
              <a:rPr lang="pt-PT" dirty="0" err="1"/>
              <a:t>tellus</a:t>
            </a:r>
            <a:r>
              <a:rPr lang="pt-PT" dirty="0"/>
              <a:t>.</a:t>
            </a:r>
          </a:p>
          <a:p>
            <a:pPr marL="174625" indent="-174625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pt-PT" dirty="0" err="1"/>
              <a:t>Pellentesque</a:t>
            </a:r>
            <a:r>
              <a:rPr lang="pt-PT" dirty="0"/>
              <a:t> </a:t>
            </a:r>
            <a:r>
              <a:rPr lang="pt-PT" dirty="0" err="1"/>
              <a:t>habitant</a:t>
            </a:r>
            <a:r>
              <a:rPr lang="pt-PT" dirty="0"/>
              <a:t> </a:t>
            </a:r>
            <a:r>
              <a:rPr lang="pt-PT" dirty="0" err="1"/>
              <a:t>morbi</a:t>
            </a:r>
            <a:r>
              <a:rPr lang="pt-PT" dirty="0"/>
              <a:t> </a:t>
            </a:r>
            <a:r>
              <a:rPr lang="pt-PT" dirty="0" err="1"/>
              <a:t>tristique</a:t>
            </a:r>
            <a:r>
              <a:rPr lang="pt-PT" dirty="0"/>
              <a:t> </a:t>
            </a:r>
            <a:r>
              <a:rPr lang="pt-PT" dirty="0" err="1"/>
              <a:t>senectus</a:t>
            </a:r>
            <a:r>
              <a:rPr lang="pt-PT" dirty="0"/>
              <a:t> </a:t>
            </a:r>
            <a:r>
              <a:rPr lang="pt-PT" dirty="0" err="1"/>
              <a:t>et</a:t>
            </a:r>
            <a:r>
              <a:rPr lang="pt-PT" dirty="0"/>
              <a:t> </a:t>
            </a:r>
            <a:r>
              <a:rPr lang="pt-PT" dirty="0" err="1"/>
              <a:t>netus</a:t>
            </a:r>
            <a:r>
              <a:rPr lang="pt-PT" dirty="0"/>
              <a:t> </a:t>
            </a:r>
            <a:r>
              <a:rPr lang="pt-PT" dirty="0" err="1"/>
              <a:t>et</a:t>
            </a:r>
            <a:r>
              <a:rPr lang="pt-PT" dirty="0"/>
              <a:t> </a:t>
            </a:r>
            <a:r>
              <a:rPr lang="pt-PT" dirty="0" err="1"/>
              <a:t>malesuada</a:t>
            </a:r>
            <a:r>
              <a:rPr lang="pt-PT" dirty="0"/>
              <a:t> </a:t>
            </a:r>
            <a:r>
              <a:rPr lang="pt-PT" dirty="0" err="1"/>
              <a:t>fames</a:t>
            </a:r>
            <a:r>
              <a:rPr lang="pt-PT" dirty="0"/>
              <a:t> </a:t>
            </a:r>
            <a:r>
              <a:rPr lang="pt-PT" dirty="0" err="1"/>
              <a:t>ac</a:t>
            </a:r>
            <a:r>
              <a:rPr lang="pt-PT" dirty="0"/>
              <a:t> </a:t>
            </a:r>
            <a:r>
              <a:rPr lang="pt-PT" dirty="0" err="1"/>
              <a:t>turpis</a:t>
            </a:r>
            <a:r>
              <a:rPr lang="pt-PT" dirty="0"/>
              <a:t> egestas. </a:t>
            </a:r>
            <a:r>
              <a:rPr lang="pt-PT" dirty="0" err="1"/>
              <a:t>Proin</a:t>
            </a:r>
            <a:r>
              <a:rPr lang="pt-PT" dirty="0"/>
              <a:t> </a:t>
            </a:r>
            <a:r>
              <a:rPr lang="pt-PT" dirty="0" err="1"/>
              <a:t>pharetra</a:t>
            </a:r>
            <a:r>
              <a:rPr lang="pt-PT" dirty="0"/>
              <a:t> </a:t>
            </a:r>
            <a:r>
              <a:rPr lang="pt-PT" dirty="0" err="1"/>
              <a:t>nonummy</a:t>
            </a:r>
            <a:r>
              <a:rPr lang="pt-PT" dirty="0"/>
              <a:t> pede. </a:t>
            </a:r>
            <a:r>
              <a:rPr lang="pt-PT" dirty="0" err="1"/>
              <a:t>Mauris</a:t>
            </a:r>
            <a:r>
              <a:rPr lang="pt-PT" dirty="0"/>
              <a:t> </a:t>
            </a:r>
            <a:r>
              <a:rPr lang="pt-PT" dirty="0" err="1"/>
              <a:t>et</a:t>
            </a:r>
            <a:r>
              <a:rPr lang="pt-PT" dirty="0"/>
              <a:t> </a:t>
            </a:r>
            <a:r>
              <a:rPr lang="pt-PT" dirty="0" err="1"/>
              <a:t>orci</a:t>
            </a:r>
            <a:r>
              <a:rPr lang="pt-PT" dirty="0"/>
              <a:t>.</a:t>
            </a:r>
          </a:p>
          <a:p>
            <a:endParaRPr lang="pt-PT" dirty="0"/>
          </a:p>
        </p:txBody>
      </p:sp>
      <p:pic>
        <p:nvPicPr>
          <p:cNvPr id="15" name="Marcador de Posição da Imagem 14" descr="Uma imagem com mobília, mesa, cadeira, janela&#10;&#10;Os conteúdos gerados por IA podem estar incorretos.">
            <a:extLst>
              <a:ext uri="{FF2B5EF4-FFF2-40B4-BE49-F238E27FC236}">
                <a16:creationId xmlns:a16="http://schemas.microsoft.com/office/drawing/2014/main" id="{394570C5-7B47-3E6B-68F2-929EC33D94D0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/>
      </p:pic>
      <p:sp>
        <p:nvSpPr>
          <p:cNvPr id="2" name="Marcador de pie de página 1">
            <a:extLst>
              <a:ext uri="{FF2B5EF4-FFF2-40B4-BE49-F238E27FC236}">
                <a16:creationId xmlns:a16="http://schemas.microsoft.com/office/drawing/2014/main" id="{7AE39D34-CFD8-43DF-BB06-9FAFDCCCFBC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pt-PT"/>
              <a:t>Título de la presentación</a:t>
            </a:r>
            <a:endParaRPr lang="pt-PT" dirty="0"/>
          </a:p>
        </p:txBody>
      </p:sp>
      <p:sp>
        <p:nvSpPr>
          <p:cNvPr id="3" name="Marcador de número de diapositiva 2">
            <a:extLst>
              <a:ext uri="{FF2B5EF4-FFF2-40B4-BE49-F238E27FC236}">
                <a16:creationId xmlns:a16="http://schemas.microsoft.com/office/drawing/2014/main" id="{AF35D7D4-3F13-4280-BD1F-83CE010272D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4A347C2-D68E-473A-8C76-1D063E4EB6E0}" type="slidenum">
              <a:rPr lang="es-ES" smtClean="0"/>
              <a:pPr/>
              <a:t>14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2744581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ítulo 5">
            <a:extLst>
              <a:ext uri="{FF2B5EF4-FFF2-40B4-BE49-F238E27FC236}">
                <a16:creationId xmlns:a16="http://schemas.microsoft.com/office/drawing/2014/main" id="{FBEAA22A-BF5E-C0E9-B28B-0059DB1264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3184" y="550508"/>
            <a:ext cx="5784979" cy="712204"/>
          </a:xfrm>
        </p:spPr>
        <p:txBody>
          <a:bodyPr/>
          <a:lstStyle/>
          <a:p>
            <a:r>
              <a:rPr lang="pt-PT" dirty="0"/>
              <a:t>Ejemplo de título de slide</a:t>
            </a:r>
          </a:p>
        </p:txBody>
      </p:sp>
      <p:sp>
        <p:nvSpPr>
          <p:cNvPr id="7" name="Marcador de Posição do Texto 6">
            <a:extLst>
              <a:ext uri="{FF2B5EF4-FFF2-40B4-BE49-F238E27FC236}">
                <a16:creationId xmlns:a16="http://schemas.microsoft.com/office/drawing/2014/main" id="{C9150166-3976-3AAB-8BD7-78CD8EC09965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512764" y="1156317"/>
            <a:ext cx="5785416" cy="355243"/>
          </a:xfrm>
        </p:spPr>
        <p:txBody>
          <a:bodyPr>
            <a:normAutofit/>
          </a:bodyPr>
          <a:lstStyle/>
          <a:p>
            <a:r>
              <a:rPr lang="pt-PT" dirty="0"/>
              <a:t>Ejemplo de subtítulo de slide</a:t>
            </a:r>
          </a:p>
        </p:txBody>
      </p:sp>
      <p:sp>
        <p:nvSpPr>
          <p:cNvPr id="8" name="Marcador de Posição do Texto 7">
            <a:extLst>
              <a:ext uri="{FF2B5EF4-FFF2-40B4-BE49-F238E27FC236}">
                <a16:creationId xmlns:a16="http://schemas.microsoft.com/office/drawing/2014/main" id="{89B560EB-F1E1-57BB-22AB-24FF58124C6B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512763" y="1744663"/>
            <a:ext cx="5346700" cy="4478337"/>
          </a:xfrm>
        </p:spPr>
        <p:txBody>
          <a:bodyPr/>
          <a:lstStyle/>
          <a:p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Lorem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ipsum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dolor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sit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amet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,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consectetuer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adipiscing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elit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.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Maecenas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porttitor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congue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massa. </a:t>
            </a:r>
            <a:r>
              <a:rPr lang="pt-PT" dirty="0" err="1"/>
              <a:t>Fusce</a:t>
            </a:r>
            <a:r>
              <a:rPr lang="pt-PT" dirty="0"/>
              <a:t> </a:t>
            </a:r>
            <a:r>
              <a:rPr lang="pt-PT" dirty="0" err="1"/>
              <a:t>posuere</a:t>
            </a:r>
            <a:r>
              <a:rPr lang="pt-PT" dirty="0"/>
              <a:t>, magna </a:t>
            </a:r>
            <a:r>
              <a:rPr lang="pt-PT" dirty="0" err="1"/>
              <a:t>sed</a:t>
            </a:r>
            <a:r>
              <a:rPr lang="pt-PT" dirty="0"/>
              <a:t> pulvinar </a:t>
            </a:r>
            <a:r>
              <a:rPr lang="pt-PT" dirty="0" err="1"/>
              <a:t>ultricies</a:t>
            </a:r>
            <a:r>
              <a:rPr lang="pt-PT" dirty="0"/>
              <a:t>, purus </a:t>
            </a:r>
            <a:r>
              <a:rPr lang="pt-PT" dirty="0" err="1"/>
              <a:t>lectus</a:t>
            </a:r>
            <a:r>
              <a:rPr lang="pt-PT" dirty="0"/>
              <a:t> </a:t>
            </a:r>
            <a:r>
              <a:rPr lang="pt-PT" dirty="0" err="1"/>
              <a:t>malesuada</a:t>
            </a:r>
            <a:r>
              <a:rPr lang="pt-PT" dirty="0"/>
              <a:t> libero,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r>
              <a:rPr lang="pt-PT" dirty="0"/>
              <a:t> </a:t>
            </a:r>
            <a:r>
              <a:rPr lang="pt-PT" dirty="0" err="1"/>
              <a:t>commodo</a:t>
            </a:r>
            <a:r>
              <a:rPr lang="pt-PT" dirty="0"/>
              <a:t> magna eros quis urna.</a:t>
            </a:r>
          </a:p>
          <a:p>
            <a:r>
              <a:rPr lang="pt-PT" dirty="0" err="1"/>
              <a:t>Nunc</a:t>
            </a:r>
            <a:r>
              <a:rPr lang="pt-PT" dirty="0"/>
              <a:t> </a:t>
            </a:r>
            <a:r>
              <a:rPr lang="pt-PT" dirty="0" err="1"/>
              <a:t>viverra</a:t>
            </a:r>
            <a:r>
              <a:rPr lang="pt-PT" dirty="0"/>
              <a:t> </a:t>
            </a:r>
            <a:r>
              <a:rPr lang="pt-PT" dirty="0" err="1"/>
              <a:t>imperdiet</a:t>
            </a:r>
            <a:r>
              <a:rPr lang="pt-PT" dirty="0"/>
              <a:t> </a:t>
            </a:r>
            <a:r>
              <a:rPr lang="pt-PT" dirty="0" err="1"/>
              <a:t>enim</a:t>
            </a:r>
            <a:r>
              <a:rPr lang="pt-PT" dirty="0"/>
              <a:t>. </a:t>
            </a:r>
            <a:r>
              <a:rPr lang="pt-PT" dirty="0" err="1"/>
              <a:t>Fusce</a:t>
            </a:r>
            <a:r>
              <a:rPr lang="pt-PT" dirty="0"/>
              <a:t> est. </a:t>
            </a:r>
            <a:r>
              <a:rPr lang="pt-PT" dirty="0" err="1"/>
              <a:t>Vivamus</a:t>
            </a:r>
            <a:r>
              <a:rPr lang="pt-PT" dirty="0"/>
              <a:t> a </a:t>
            </a:r>
            <a:r>
              <a:rPr lang="pt-PT" dirty="0" err="1"/>
              <a:t>tellus</a:t>
            </a:r>
            <a:r>
              <a:rPr lang="pt-PT" dirty="0"/>
              <a:t>.</a:t>
            </a:r>
          </a:p>
          <a:p>
            <a:r>
              <a:rPr lang="pt-PT" dirty="0" err="1"/>
              <a:t>Pellentesque</a:t>
            </a:r>
            <a:r>
              <a:rPr lang="pt-PT" dirty="0"/>
              <a:t> </a:t>
            </a:r>
            <a:r>
              <a:rPr lang="pt-PT" dirty="0" err="1"/>
              <a:t>habitant</a:t>
            </a:r>
            <a:r>
              <a:rPr lang="pt-PT" dirty="0"/>
              <a:t> </a:t>
            </a:r>
            <a:r>
              <a:rPr lang="pt-PT" dirty="0" err="1"/>
              <a:t>morbi</a:t>
            </a:r>
            <a:r>
              <a:rPr lang="pt-PT" dirty="0"/>
              <a:t> </a:t>
            </a:r>
            <a:r>
              <a:rPr lang="pt-PT" dirty="0" err="1"/>
              <a:t>tristique</a:t>
            </a:r>
            <a:r>
              <a:rPr lang="pt-PT" dirty="0"/>
              <a:t> </a:t>
            </a:r>
            <a:r>
              <a:rPr lang="pt-PT" dirty="0" err="1"/>
              <a:t>senectus</a:t>
            </a:r>
            <a:r>
              <a:rPr lang="pt-PT" dirty="0"/>
              <a:t> </a:t>
            </a:r>
            <a:r>
              <a:rPr lang="pt-PT" dirty="0" err="1"/>
              <a:t>et</a:t>
            </a:r>
            <a:r>
              <a:rPr lang="pt-PT" dirty="0"/>
              <a:t> </a:t>
            </a:r>
            <a:r>
              <a:rPr lang="pt-PT" dirty="0" err="1"/>
              <a:t>netus</a:t>
            </a:r>
            <a:r>
              <a:rPr lang="pt-PT" dirty="0"/>
              <a:t> </a:t>
            </a:r>
            <a:r>
              <a:rPr lang="pt-PT" dirty="0" err="1"/>
              <a:t>et</a:t>
            </a:r>
            <a:r>
              <a:rPr lang="pt-PT" dirty="0"/>
              <a:t> </a:t>
            </a:r>
            <a:r>
              <a:rPr lang="pt-PT" dirty="0" err="1"/>
              <a:t>malesuada</a:t>
            </a:r>
            <a:r>
              <a:rPr lang="pt-PT" dirty="0"/>
              <a:t> </a:t>
            </a:r>
            <a:r>
              <a:rPr lang="pt-PT" dirty="0" err="1"/>
              <a:t>fames</a:t>
            </a:r>
            <a:r>
              <a:rPr lang="pt-PT" dirty="0"/>
              <a:t> </a:t>
            </a:r>
            <a:r>
              <a:rPr lang="pt-PT" dirty="0" err="1"/>
              <a:t>ac</a:t>
            </a:r>
            <a:r>
              <a:rPr lang="pt-PT" dirty="0"/>
              <a:t> </a:t>
            </a:r>
            <a:r>
              <a:rPr lang="pt-PT" dirty="0" err="1"/>
              <a:t>turpis</a:t>
            </a:r>
            <a:r>
              <a:rPr lang="pt-PT" dirty="0"/>
              <a:t> egestas. </a:t>
            </a:r>
            <a:r>
              <a:rPr lang="pt-PT" dirty="0" err="1"/>
              <a:t>Proin</a:t>
            </a:r>
            <a:r>
              <a:rPr lang="pt-PT" dirty="0"/>
              <a:t> </a:t>
            </a:r>
            <a:r>
              <a:rPr lang="pt-PT" dirty="0" err="1"/>
              <a:t>pharetra</a:t>
            </a:r>
            <a:r>
              <a:rPr lang="pt-PT" dirty="0"/>
              <a:t> </a:t>
            </a:r>
            <a:r>
              <a:rPr lang="pt-PT" dirty="0" err="1"/>
              <a:t>nonummy</a:t>
            </a:r>
            <a:r>
              <a:rPr lang="pt-PT" dirty="0"/>
              <a:t> pede. </a:t>
            </a:r>
            <a:r>
              <a:rPr lang="pt-PT" dirty="0" err="1"/>
              <a:t>Mauris</a:t>
            </a:r>
            <a:r>
              <a:rPr lang="pt-PT" dirty="0"/>
              <a:t> </a:t>
            </a:r>
            <a:r>
              <a:rPr lang="pt-PT" dirty="0" err="1"/>
              <a:t>et</a:t>
            </a:r>
            <a:r>
              <a:rPr lang="pt-PT" dirty="0"/>
              <a:t> </a:t>
            </a:r>
            <a:r>
              <a:rPr lang="pt-PT" dirty="0" err="1"/>
              <a:t>orci</a:t>
            </a:r>
            <a:r>
              <a:rPr lang="pt-PT" dirty="0"/>
              <a:t>. </a:t>
            </a:r>
            <a:r>
              <a:rPr lang="pt-PT" dirty="0" err="1"/>
              <a:t>Lorem</a:t>
            </a:r>
            <a:r>
              <a:rPr lang="pt-PT" dirty="0"/>
              <a:t> </a:t>
            </a:r>
            <a:r>
              <a:rPr lang="pt-PT" dirty="0" err="1"/>
              <a:t>ipsum</a:t>
            </a:r>
            <a:r>
              <a:rPr lang="pt-PT" dirty="0"/>
              <a:t> </a:t>
            </a:r>
            <a:r>
              <a:rPr lang="pt-PT" dirty="0" err="1"/>
              <a:t>dolor</a:t>
            </a:r>
            <a:r>
              <a:rPr lang="pt-PT" dirty="0"/>
              <a:t>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r>
              <a:rPr lang="pt-PT" dirty="0"/>
              <a:t>, </a:t>
            </a:r>
            <a:r>
              <a:rPr lang="pt-PT" dirty="0" err="1"/>
              <a:t>consectetuer</a:t>
            </a:r>
            <a:r>
              <a:rPr lang="pt-PT" dirty="0"/>
              <a:t> </a:t>
            </a:r>
            <a:r>
              <a:rPr lang="pt-PT" dirty="0" err="1"/>
              <a:t>adipiscing</a:t>
            </a:r>
            <a:r>
              <a:rPr lang="pt-PT" dirty="0"/>
              <a:t> </a:t>
            </a:r>
            <a:r>
              <a:rPr lang="pt-PT" dirty="0" err="1"/>
              <a:t>elit</a:t>
            </a:r>
            <a:r>
              <a:rPr lang="pt-PT" dirty="0"/>
              <a:t>. </a:t>
            </a:r>
            <a:r>
              <a:rPr lang="pt-PT" dirty="0" err="1"/>
              <a:t>Maecenas</a:t>
            </a:r>
            <a:r>
              <a:rPr lang="pt-PT" dirty="0"/>
              <a:t> </a:t>
            </a:r>
            <a:r>
              <a:rPr lang="pt-PT" dirty="0" err="1"/>
              <a:t>porttitor</a:t>
            </a:r>
            <a:r>
              <a:rPr lang="pt-PT" dirty="0"/>
              <a:t> </a:t>
            </a:r>
            <a:r>
              <a:rPr lang="pt-PT" dirty="0" err="1"/>
              <a:t>congue</a:t>
            </a:r>
            <a:r>
              <a:rPr lang="pt-PT" dirty="0"/>
              <a:t> massa. </a:t>
            </a:r>
            <a:r>
              <a:rPr lang="pt-PT" dirty="0" err="1"/>
              <a:t>Fusce</a:t>
            </a:r>
            <a:r>
              <a:rPr lang="pt-PT" dirty="0"/>
              <a:t> </a:t>
            </a:r>
            <a:r>
              <a:rPr lang="pt-PT" dirty="0" err="1"/>
              <a:t>posuere</a:t>
            </a:r>
            <a:r>
              <a:rPr lang="pt-PT" dirty="0"/>
              <a:t>, magna </a:t>
            </a:r>
            <a:r>
              <a:rPr lang="pt-PT" dirty="0" err="1"/>
              <a:t>sed</a:t>
            </a:r>
            <a:r>
              <a:rPr lang="pt-PT" dirty="0"/>
              <a:t> pulvinar </a:t>
            </a:r>
            <a:r>
              <a:rPr lang="pt-PT" dirty="0" err="1"/>
              <a:t>ultricies</a:t>
            </a:r>
            <a:r>
              <a:rPr lang="pt-PT" dirty="0"/>
              <a:t>, purus </a:t>
            </a:r>
            <a:r>
              <a:rPr lang="pt-PT" dirty="0" err="1"/>
              <a:t>lectus</a:t>
            </a:r>
            <a:r>
              <a:rPr lang="pt-PT" dirty="0"/>
              <a:t> </a:t>
            </a:r>
            <a:r>
              <a:rPr lang="pt-PT" dirty="0" err="1"/>
              <a:t>malesuada</a:t>
            </a:r>
            <a:r>
              <a:rPr lang="pt-PT" dirty="0"/>
              <a:t> libero,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r>
              <a:rPr lang="pt-PT" dirty="0"/>
              <a:t> </a:t>
            </a:r>
            <a:r>
              <a:rPr lang="pt-PT" dirty="0" err="1"/>
              <a:t>commodo</a:t>
            </a:r>
            <a:r>
              <a:rPr lang="pt-PT" dirty="0"/>
              <a:t> magna eros quis urna.</a:t>
            </a:r>
          </a:p>
          <a:p>
            <a:pPr marL="174625" indent="-174625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pt-PT" dirty="0" err="1"/>
              <a:t>Nunc</a:t>
            </a:r>
            <a:r>
              <a:rPr lang="pt-PT" dirty="0"/>
              <a:t> </a:t>
            </a:r>
            <a:r>
              <a:rPr lang="pt-PT" dirty="0" err="1"/>
              <a:t>viverra</a:t>
            </a:r>
            <a:r>
              <a:rPr lang="pt-PT" dirty="0"/>
              <a:t> </a:t>
            </a:r>
            <a:r>
              <a:rPr lang="pt-PT" dirty="0" err="1"/>
              <a:t>imperdiet</a:t>
            </a:r>
            <a:r>
              <a:rPr lang="pt-PT" dirty="0"/>
              <a:t> </a:t>
            </a:r>
            <a:r>
              <a:rPr lang="pt-PT" dirty="0" err="1"/>
              <a:t>enim</a:t>
            </a:r>
            <a:r>
              <a:rPr lang="pt-PT" dirty="0"/>
              <a:t>. </a:t>
            </a:r>
            <a:r>
              <a:rPr lang="pt-PT" dirty="0" err="1"/>
              <a:t>Fusce</a:t>
            </a:r>
            <a:r>
              <a:rPr lang="pt-PT" dirty="0"/>
              <a:t> est. </a:t>
            </a:r>
            <a:r>
              <a:rPr lang="pt-PT" dirty="0" err="1"/>
              <a:t>Vivamus</a:t>
            </a:r>
            <a:r>
              <a:rPr lang="pt-PT" dirty="0"/>
              <a:t> a </a:t>
            </a:r>
            <a:r>
              <a:rPr lang="pt-PT" dirty="0" err="1"/>
              <a:t>tellus</a:t>
            </a:r>
            <a:r>
              <a:rPr lang="pt-PT" dirty="0"/>
              <a:t>.</a:t>
            </a:r>
          </a:p>
          <a:p>
            <a:pPr marL="174625" indent="-174625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pt-PT" dirty="0" err="1"/>
              <a:t>Pellentesque</a:t>
            </a:r>
            <a:r>
              <a:rPr lang="pt-PT" dirty="0"/>
              <a:t> </a:t>
            </a:r>
            <a:r>
              <a:rPr lang="pt-PT" dirty="0" err="1"/>
              <a:t>habitant</a:t>
            </a:r>
            <a:r>
              <a:rPr lang="pt-PT" dirty="0"/>
              <a:t> </a:t>
            </a:r>
            <a:r>
              <a:rPr lang="pt-PT" dirty="0" err="1"/>
              <a:t>morbi</a:t>
            </a:r>
            <a:r>
              <a:rPr lang="pt-PT" dirty="0"/>
              <a:t> </a:t>
            </a:r>
            <a:r>
              <a:rPr lang="pt-PT" dirty="0" err="1"/>
              <a:t>tristique</a:t>
            </a:r>
            <a:r>
              <a:rPr lang="pt-PT" dirty="0"/>
              <a:t> </a:t>
            </a:r>
            <a:r>
              <a:rPr lang="pt-PT" dirty="0" err="1"/>
              <a:t>senectus</a:t>
            </a:r>
            <a:r>
              <a:rPr lang="pt-PT" dirty="0"/>
              <a:t> </a:t>
            </a:r>
            <a:r>
              <a:rPr lang="pt-PT" dirty="0" err="1"/>
              <a:t>et</a:t>
            </a:r>
            <a:r>
              <a:rPr lang="pt-PT" dirty="0"/>
              <a:t> </a:t>
            </a:r>
            <a:r>
              <a:rPr lang="pt-PT" dirty="0" err="1"/>
              <a:t>netus</a:t>
            </a:r>
            <a:r>
              <a:rPr lang="pt-PT" dirty="0"/>
              <a:t> </a:t>
            </a:r>
            <a:r>
              <a:rPr lang="pt-PT" dirty="0" err="1"/>
              <a:t>et</a:t>
            </a:r>
            <a:r>
              <a:rPr lang="pt-PT" dirty="0"/>
              <a:t> </a:t>
            </a:r>
            <a:r>
              <a:rPr lang="pt-PT" dirty="0" err="1"/>
              <a:t>malesuada</a:t>
            </a:r>
            <a:r>
              <a:rPr lang="pt-PT" dirty="0"/>
              <a:t> </a:t>
            </a:r>
            <a:r>
              <a:rPr lang="pt-PT" dirty="0" err="1"/>
              <a:t>fames</a:t>
            </a:r>
            <a:r>
              <a:rPr lang="pt-PT" dirty="0"/>
              <a:t> </a:t>
            </a:r>
            <a:r>
              <a:rPr lang="pt-PT" dirty="0" err="1"/>
              <a:t>ac</a:t>
            </a:r>
            <a:r>
              <a:rPr lang="pt-PT" dirty="0"/>
              <a:t> </a:t>
            </a:r>
            <a:r>
              <a:rPr lang="pt-PT" dirty="0" err="1"/>
              <a:t>turpis</a:t>
            </a:r>
            <a:r>
              <a:rPr lang="pt-PT" dirty="0"/>
              <a:t> egestas. </a:t>
            </a:r>
            <a:r>
              <a:rPr lang="pt-PT" dirty="0" err="1"/>
              <a:t>Proin</a:t>
            </a:r>
            <a:r>
              <a:rPr lang="pt-PT" dirty="0"/>
              <a:t> </a:t>
            </a:r>
            <a:r>
              <a:rPr lang="pt-PT" dirty="0" err="1"/>
              <a:t>pharetra</a:t>
            </a:r>
            <a:r>
              <a:rPr lang="pt-PT" dirty="0"/>
              <a:t> </a:t>
            </a:r>
            <a:r>
              <a:rPr lang="pt-PT" dirty="0" err="1"/>
              <a:t>nonummy</a:t>
            </a:r>
            <a:r>
              <a:rPr lang="pt-PT" dirty="0"/>
              <a:t> pede. </a:t>
            </a:r>
            <a:r>
              <a:rPr lang="pt-PT" dirty="0" err="1"/>
              <a:t>Mauris</a:t>
            </a:r>
            <a:r>
              <a:rPr lang="pt-PT" dirty="0"/>
              <a:t> </a:t>
            </a:r>
            <a:r>
              <a:rPr lang="pt-PT" dirty="0" err="1"/>
              <a:t>et</a:t>
            </a:r>
            <a:r>
              <a:rPr lang="pt-PT" dirty="0"/>
              <a:t> </a:t>
            </a:r>
            <a:r>
              <a:rPr lang="pt-PT" dirty="0" err="1"/>
              <a:t>orci</a:t>
            </a:r>
            <a:r>
              <a:rPr lang="pt-PT" dirty="0"/>
              <a:t>.</a:t>
            </a:r>
          </a:p>
          <a:p>
            <a:endParaRPr lang="pt-PT" dirty="0"/>
          </a:p>
        </p:txBody>
      </p:sp>
      <p:sp>
        <p:nvSpPr>
          <p:cNvPr id="9" name="Marcador de Posição do Texto 8">
            <a:extLst>
              <a:ext uri="{FF2B5EF4-FFF2-40B4-BE49-F238E27FC236}">
                <a16:creationId xmlns:a16="http://schemas.microsoft.com/office/drawing/2014/main" id="{4C2595B3-0862-9399-5FFB-BB4F3812011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 anchor="ctr"/>
          <a:lstStyle/>
          <a:p>
            <a:r>
              <a:rPr lang="pt-PT" dirty="0" err="1"/>
              <a:t>Pellentesque</a:t>
            </a:r>
            <a:r>
              <a:rPr lang="pt-PT" dirty="0"/>
              <a:t> </a:t>
            </a:r>
            <a:r>
              <a:rPr lang="pt-PT" dirty="0" err="1"/>
              <a:t>habitant</a:t>
            </a:r>
            <a:r>
              <a:rPr lang="pt-PT" dirty="0"/>
              <a:t> </a:t>
            </a:r>
            <a:r>
              <a:rPr lang="pt-PT" dirty="0" err="1"/>
              <a:t>morbi</a:t>
            </a:r>
            <a:r>
              <a:rPr lang="pt-PT" dirty="0"/>
              <a:t> </a:t>
            </a:r>
            <a:r>
              <a:rPr lang="pt-PT" dirty="0" err="1"/>
              <a:t>tristique</a:t>
            </a:r>
            <a:r>
              <a:rPr lang="pt-PT" dirty="0"/>
              <a:t> </a:t>
            </a:r>
            <a:r>
              <a:rPr lang="pt-PT" dirty="0" err="1"/>
              <a:t>senectus</a:t>
            </a:r>
            <a:r>
              <a:rPr lang="pt-PT" dirty="0"/>
              <a:t> </a:t>
            </a:r>
            <a:r>
              <a:rPr lang="pt-PT" dirty="0" err="1"/>
              <a:t>et</a:t>
            </a:r>
            <a:r>
              <a:rPr lang="pt-PT" dirty="0"/>
              <a:t> </a:t>
            </a:r>
            <a:r>
              <a:rPr lang="pt-PT" dirty="0" err="1"/>
              <a:t>netus</a:t>
            </a:r>
            <a:r>
              <a:rPr lang="pt-PT" dirty="0"/>
              <a:t> </a:t>
            </a:r>
            <a:r>
              <a:rPr lang="pt-PT" dirty="0" err="1"/>
              <a:t>et</a:t>
            </a:r>
            <a:r>
              <a:rPr lang="pt-PT" dirty="0"/>
              <a:t> </a:t>
            </a:r>
            <a:r>
              <a:rPr lang="pt-PT" dirty="0" err="1"/>
              <a:t>malesuada</a:t>
            </a:r>
            <a:r>
              <a:rPr lang="pt-PT" dirty="0"/>
              <a:t> </a:t>
            </a:r>
            <a:r>
              <a:rPr lang="pt-PT" dirty="0" err="1"/>
              <a:t>fames</a:t>
            </a:r>
            <a:r>
              <a:rPr lang="pt-PT" dirty="0"/>
              <a:t> </a:t>
            </a:r>
            <a:r>
              <a:rPr lang="pt-PT" dirty="0" err="1"/>
              <a:t>ac</a:t>
            </a:r>
            <a:r>
              <a:rPr lang="pt-PT" dirty="0"/>
              <a:t> </a:t>
            </a:r>
            <a:r>
              <a:rPr lang="pt-PT" dirty="0" err="1"/>
              <a:t>turpis</a:t>
            </a:r>
            <a:r>
              <a:rPr lang="pt-PT" dirty="0"/>
              <a:t> egestas. </a:t>
            </a:r>
            <a:r>
              <a:rPr lang="pt-PT" dirty="0" err="1"/>
              <a:t>Proin</a:t>
            </a:r>
            <a:r>
              <a:rPr lang="pt-PT" dirty="0"/>
              <a:t> </a:t>
            </a:r>
            <a:r>
              <a:rPr lang="pt-PT" dirty="0" err="1"/>
              <a:t>pharetra</a:t>
            </a:r>
            <a:r>
              <a:rPr lang="pt-PT" dirty="0"/>
              <a:t> </a:t>
            </a:r>
            <a:r>
              <a:rPr lang="pt-PT" dirty="0" err="1"/>
              <a:t>nonummy</a:t>
            </a:r>
            <a:r>
              <a:rPr lang="pt-PT" dirty="0"/>
              <a:t> pede. </a:t>
            </a:r>
            <a:r>
              <a:rPr lang="pt-PT" dirty="0" err="1"/>
              <a:t>Mauris</a:t>
            </a:r>
            <a:r>
              <a:rPr lang="pt-PT" dirty="0"/>
              <a:t> </a:t>
            </a:r>
            <a:r>
              <a:rPr lang="pt-PT" dirty="0" err="1"/>
              <a:t>et</a:t>
            </a:r>
            <a:r>
              <a:rPr lang="pt-PT" dirty="0"/>
              <a:t> </a:t>
            </a:r>
            <a:r>
              <a:rPr lang="pt-PT" dirty="0" err="1"/>
              <a:t>orci</a:t>
            </a:r>
            <a:r>
              <a:rPr lang="pt-PT" dirty="0"/>
              <a:t>. </a:t>
            </a:r>
            <a:r>
              <a:rPr lang="pt-PT" dirty="0" err="1"/>
              <a:t>Lorem</a:t>
            </a:r>
            <a:r>
              <a:rPr lang="pt-PT" dirty="0"/>
              <a:t> </a:t>
            </a:r>
            <a:r>
              <a:rPr lang="pt-PT" dirty="0" err="1"/>
              <a:t>ipsum</a:t>
            </a:r>
            <a:r>
              <a:rPr lang="pt-PT" dirty="0"/>
              <a:t> </a:t>
            </a:r>
            <a:r>
              <a:rPr lang="pt-PT" dirty="0" err="1"/>
              <a:t>dolor</a:t>
            </a:r>
            <a:r>
              <a:rPr lang="pt-PT" dirty="0"/>
              <a:t>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r>
              <a:rPr lang="pt-PT" dirty="0"/>
              <a:t>, </a:t>
            </a:r>
            <a:r>
              <a:rPr lang="pt-PT" dirty="0" err="1"/>
              <a:t>consectetuer</a:t>
            </a:r>
            <a:r>
              <a:rPr lang="pt-PT" dirty="0"/>
              <a:t> </a:t>
            </a:r>
            <a:r>
              <a:rPr lang="pt-PT" dirty="0" err="1"/>
              <a:t>adipiscing</a:t>
            </a:r>
            <a:r>
              <a:rPr lang="pt-PT" dirty="0"/>
              <a:t> </a:t>
            </a:r>
            <a:r>
              <a:rPr lang="pt-PT" dirty="0" err="1"/>
              <a:t>elit</a:t>
            </a:r>
            <a:r>
              <a:rPr lang="pt-PT" dirty="0"/>
              <a:t>. </a:t>
            </a:r>
            <a:r>
              <a:rPr lang="pt-PT" dirty="0" err="1"/>
              <a:t>Maecenas</a:t>
            </a:r>
            <a:r>
              <a:rPr lang="pt-PT" dirty="0"/>
              <a:t> </a:t>
            </a:r>
            <a:r>
              <a:rPr lang="pt-PT" dirty="0" err="1"/>
              <a:t>porttitor</a:t>
            </a:r>
            <a:r>
              <a:rPr lang="pt-PT" dirty="0"/>
              <a:t> </a:t>
            </a:r>
            <a:r>
              <a:rPr lang="pt-PT" dirty="0" err="1"/>
              <a:t>congue</a:t>
            </a:r>
            <a:r>
              <a:rPr lang="pt-PT" dirty="0"/>
              <a:t> massa. </a:t>
            </a:r>
            <a:r>
              <a:rPr lang="pt-PT" dirty="0" err="1"/>
              <a:t>Fusce</a:t>
            </a:r>
            <a:r>
              <a:rPr lang="pt-PT" dirty="0"/>
              <a:t> </a:t>
            </a:r>
            <a:r>
              <a:rPr lang="pt-PT" dirty="0" err="1"/>
              <a:t>posuere</a:t>
            </a:r>
            <a:r>
              <a:rPr lang="pt-PT" dirty="0"/>
              <a:t>, magna </a:t>
            </a:r>
            <a:r>
              <a:rPr lang="pt-PT" dirty="0" err="1"/>
              <a:t>sed</a:t>
            </a:r>
            <a:r>
              <a:rPr lang="pt-PT" dirty="0"/>
              <a:t> pulvinar </a:t>
            </a:r>
            <a:r>
              <a:rPr lang="pt-PT" dirty="0" err="1"/>
              <a:t>ultricies</a:t>
            </a:r>
            <a:r>
              <a:rPr lang="pt-PT" dirty="0"/>
              <a:t>, purus </a:t>
            </a:r>
            <a:r>
              <a:rPr lang="pt-PT" dirty="0" err="1"/>
              <a:t>lectus</a:t>
            </a:r>
            <a:r>
              <a:rPr lang="pt-PT" dirty="0"/>
              <a:t> </a:t>
            </a:r>
            <a:r>
              <a:rPr lang="pt-PT" dirty="0" err="1"/>
              <a:t>malesuada</a:t>
            </a:r>
            <a:r>
              <a:rPr lang="pt-PT" dirty="0"/>
              <a:t> libero,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r>
              <a:rPr lang="pt-PT" dirty="0"/>
              <a:t> </a:t>
            </a:r>
            <a:r>
              <a:rPr lang="pt-PT" dirty="0" err="1"/>
              <a:t>commodo</a:t>
            </a:r>
            <a:r>
              <a:rPr lang="pt-PT" dirty="0"/>
              <a:t> magna eros quis urna.</a:t>
            </a:r>
          </a:p>
        </p:txBody>
      </p:sp>
      <p:sp>
        <p:nvSpPr>
          <p:cNvPr id="10" name="Marcador de Posição do Texto 9">
            <a:extLst>
              <a:ext uri="{FF2B5EF4-FFF2-40B4-BE49-F238E27FC236}">
                <a16:creationId xmlns:a16="http://schemas.microsoft.com/office/drawing/2014/main" id="{2740BF21-2438-559D-5BBA-AE2B75479B1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t-PT" dirty="0"/>
              <a:t>Texto destacado</a:t>
            </a:r>
          </a:p>
        </p:txBody>
      </p:sp>
      <p:grpSp>
        <p:nvGrpSpPr>
          <p:cNvPr id="2" name="Agrupar 1">
            <a:extLst>
              <a:ext uri="{FF2B5EF4-FFF2-40B4-BE49-F238E27FC236}">
                <a16:creationId xmlns:a16="http://schemas.microsoft.com/office/drawing/2014/main" id="{040A80D8-E46C-9CB9-02D5-1D3C76FE4B2A}"/>
              </a:ext>
            </a:extLst>
          </p:cNvPr>
          <p:cNvGrpSpPr/>
          <p:nvPr/>
        </p:nvGrpSpPr>
        <p:grpSpPr>
          <a:xfrm>
            <a:off x="6669762" y="2772920"/>
            <a:ext cx="675774" cy="675774"/>
            <a:chOff x="6669762" y="2772920"/>
            <a:chExt cx="675774" cy="675774"/>
          </a:xfrm>
        </p:grpSpPr>
        <p:sp>
          <p:nvSpPr>
            <p:cNvPr id="11" name="Oval 10">
              <a:extLst>
                <a:ext uri="{FF2B5EF4-FFF2-40B4-BE49-F238E27FC236}">
                  <a16:creationId xmlns:a16="http://schemas.microsoft.com/office/drawing/2014/main" id="{591D0E0A-049A-48DA-4FCC-0CB392C5924D}"/>
                </a:ext>
              </a:extLst>
            </p:cNvPr>
            <p:cNvSpPr/>
            <p:nvPr/>
          </p:nvSpPr>
          <p:spPr>
            <a:xfrm>
              <a:off x="6669762" y="2772920"/>
              <a:ext cx="675774" cy="675774"/>
            </a:xfrm>
            <a:prstGeom prst="ellipse">
              <a:avLst/>
            </a:prstGeom>
            <a:solidFill>
              <a:srgbClr val="132153"/>
            </a:solidFill>
            <a:ln w="4244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pt-PT" dirty="0"/>
            </a:p>
          </p:txBody>
        </p:sp>
        <p:grpSp>
          <p:nvGrpSpPr>
            <p:cNvPr id="12" name="Agrupar 11">
              <a:extLst>
                <a:ext uri="{FF2B5EF4-FFF2-40B4-BE49-F238E27FC236}">
                  <a16:creationId xmlns:a16="http://schemas.microsoft.com/office/drawing/2014/main" id="{7D4DCD99-6311-EF39-E5D2-2AC41788777E}"/>
                </a:ext>
              </a:extLst>
            </p:cNvPr>
            <p:cNvGrpSpPr/>
            <p:nvPr/>
          </p:nvGrpSpPr>
          <p:grpSpPr>
            <a:xfrm>
              <a:off x="6824999" y="2911343"/>
              <a:ext cx="365300" cy="398929"/>
              <a:chOff x="6000092" y="1357908"/>
              <a:chExt cx="365300" cy="398929"/>
            </a:xfrm>
          </p:grpSpPr>
          <p:sp>
            <p:nvSpPr>
              <p:cNvPr id="13" name="Forma livre: Forma 12">
                <a:extLst>
                  <a:ext uri="{FF2B5EF4-FFF2-40B4-BE49-F238E27FC236}">
                    <a16:creationId xmlns:a16="http://schemas.microsoft.com/office/drawing/2014/main" id="{2A0AD15D-9552-9C14-4697-BDE9188A3E21}"/>
                  </a:ext>
                </a:extLst>
              </p:cNvPr>
              <p:cNvSpPr/>
              <p:nvPr/>
            </p:nvSpPr>
            <p:spPr>
              <a:xfrm>
                <a:off x="6000092" y="1418606"/>
                <a:ext cx="84058" cy="286120"/>
              </a:xfrm>
              <a:custGeom>
                <a:avLst/>
                <a:gdLst>
                  <a:gd name="connsiteX0" fmla="*/ 51595 w 84058"/>
                  <a:gd name="connsiteY0" fmla="*/ 0 h 286120"/>
                  <a:gd name="connsiteX1" fmla="*/ 35266 w 84058"/>
                  <a:gd name="connsiteY1" fmla="*/ 61674 h 286120"/>
                  <a:gd name="connsiteX2" fmla="*/ 28760 w 84058"/>
                  <a:gd name="connsiteY2" fmla="*/ 193415 h 286120"/>
                  <a:gd name="connsiteX3" fmla="*/ 84059 w 84058"/>
                  <a:gd name="connsiteY3" fmla="*/ 286121 h 2861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4058" h="286120">
                    <a:moveTo>
                      <a:pt x="51595" y="0"/>
                    </a:moveTo>
                    <a:cubicBezTo>
                      <a:pt x="37868" y="7872"/>
                      <a:pt x="26028" y="24852"/>
                      <a:pt x="35266" y="61674"/>
                    </a:cubicBezTo>
                    <a:cubicBezTo>
                      <a:pt x="35266" y="61674"/>
                      <a:pt x="-39549" y="126731"/>
                      <a:pt x="28760" y="193415"/>
                    </a:cubicBezTo>
                    <a:cubicBezTo>
                      <a:pt x="28760" y="193415"/>
                      <a:pt x="9243" y="281242"/>
                      <a:pt x="84059" y="286121"/>
                    </a:cubicBezTo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14" name="Gráfico 32">
                <a:extLst>
                  <a:ext uri="{FF2B5EF4-FFF2-40B4-BE49-F238E27FC236}">
                    <a16:creationId xmlns:a16="http://schemas.microsoft.com/office/drawing/2014/main" id="{C8B3E776-C6E1-F419-B61A-A300033ECB75}"/>
                  </a:ext>
                </a:extLst>
              </p:cNvPr>
              <p:cNvGrpSpPr/>
              <p:nvPr/>
            </p:nvGrpSpPr>
            <p:grpSpPr>
              <a:xfrm>
                <a:off x="6061121" y="1359924"/>
                <a:ext cx="128487" cy="396366"/>
                <a:chOff x="6061121" y="1359924"/>
                <a:chExt cx="128487" cy="396366"/>
              </a:xfrm>
              <a:noFill/>
            </p:grpSpPr>
            <p:sp>
              <p:nvSpPr>
                <p:cNvPr id="29" name="Forma livre: Forma 28">
                  <a:extLst>
                    <a:ext uri="{FF2B5EF4-FFF2-40B4-BE49-F238E27FC236}">
                      <a16:creationId xmlns:a16="http://schemas.microsoft.com/office/drawing/2014/main" id="{7BC8D738-0391-5F0E-2E72-CDE210A35BBC}"/>
                    </a:ext>
                  </a:extLst>
                </p:cNvPr>
                <p:cNvSpPr/>
                <p:nvPr/>
              </p:nvSpPr>
              <p:spPr>
                <a:xfrm>
                  <a:off x="6083891" y="1359924"/>
                  <a:ext cx="105717" cy="396366"/>
                </a:xfrm>
                <a:custGeom>
                  <a:avLst/>
                  <a:gdLst>
                    <a:gd name="connsiteX0" fmla="*/ 52891 w 105717"/>
                    <a:gd name="connsiteY0" fmla="*/ 105718 h 396366"/>
                    <a:gd name="connsiteX1" fmla="*/ 0 w 105717"/>
                    <a:gd name="connsiteY1" fmla="*/ 52891 h 396366"/>
                    <a:gd name="connsiteX2" fmla="*/ 52891 w 105717"/>
                    <a:gd name="connsiteY2" fmla="*/ 0 h 396366"/>
                    <a:gd name="connsiteX3" fmla="*/ 105718 w 105717"/>
                    <a:gd name="connsiteY3" fmla="*/ 52826 h 396366"/>
                    <a:gd name="connsiteX4" fmla="*/ 105718 w 105717"/>
                    <a:gd name="connsiteY4" fmla="*/ 346884 h 396366"/>
                    <a:gd name="connsiteX5" fmla="*/ 80606 w 105717"/>
                    <a:gd name="connsiteY5" fmla="*/ 388911 h 396366"/>
                    <a:gd name="connsiteX6" fmla="*/ 9238 w 105717"/>
                    <a:gd name="connsiteY6" fmla="*/ 371150 h 396366"/>
                    <a:gd name="connsiteX7" fmla="*/ 15484 w 105717"/>
                    <a:gd name="connsiteY7" fmla="*/ 309216 h 396366"/>
                    <a:gd name="connsiteX8" fmla="*/ 45019 w 105717"/>
                    <a:gd name="connsiteY8" fmla="*/ 277078 h 39636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105717" h="396366">
                      <a:moveTo>
                        <a:pt x="52891" y="105718"/>
                      </a:moveTo>
                      <a:cubicBezTo>
                        <a:pt x="23681" y="105718"/>
                        <a:pt x="0" y="82037"/>
                        <a:pt x="0" y="52891"/>
                      </a:cubicBezTo>
                      <a:cubicBezTo>
                        <a:pt x="0" y="23746"/>
                        <a:pt x="23681" y="0"/>
                        <a:pt x="52891" y="0"/>
                      </a:cubicBezTo>
                      <a:cubicBezTo>
                        <a:pt x="82102" y="0"/>
                        <a:pt x="105718" y="23681"/>
                        <a:pt x="105718" y="52826"/>
                      </a:cubicBezTo>
                      <a:lnTo>
                        <a:pt x="105718" y="346884"/>
                      </a:lnTo>
                      <a:cubicBezTo>
                        <a:pt x="105718" y="364580"/>
                        <a:pt x="96414" y="379413"/>
                        <a:pt x="80606" y="388911"/>
                      </a:cubicBezTo>
                      <a:cubicBezTo>
                        <a:pt x="55949" y="403744"/>
                        <a:pt x="24006" y="395742"/>
                        <a:pt x="9238" y="371150"/>
                      </a:cubicBezTo>
                      <a:cubicBezTo>
                        <a:pt x="-2928" y="350918"/>
                        <a:pt x="260" y="325741"/>
                        <a:pt x="15484" y="309216"/>
                      </a:cubicBezTo>
                      <a:lnTo>
                        <a:pt x="45019" y="277078"/>
                      </a:lnTo>
                    </a:path>
                  </a:pathLst>
                </a:custGeom>
                <a:noFill/>
                <a:ln w="19050" cap="sq">
                  <a:solidFill>
                    <a:srgbClr val="00FF94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30" name="Forma livre: Forma 29">
                  <a:extLst>
                    <a:ext uri="{FF2B5EF4-FFF2-40B4-BE49-F238E27FC236}">
                      <a16:creationId xmlns:a16="http://schemas.microsoft.com/office/drawing/2014/main" id="{959C796E-0C48-8CBA-0B0A-2A456BB2AF2B}"/>
                    </a:ext>
                  </a:extLst>
                </p:cNvPr>
                <p:cNvSpPr/>
                <p:nvPr/>
              </p:nvSpPr>
              <p:spPr>
                <a:xfrm>
                  <a:off x="6144784" y="1383865"/>
                  <a:ext cx="41563" cy="38963"/>
                </a:xfrm>
                <a:custGeom>
                  <a:avLst/>
                  <a:gdLst>
                    <a:gd name="connsiteX0" fmla="*/ 36172 w 41563"/>
                    <a:gd name="connsiteY0" fmla="*/ 0 h 38963"/>
                    <a:gd name="connsiteX1" fmla="*/ 39425 w 41563"/>
                    <a:gd name="connsiteY1" fmla="*/ 24266 h 38963"/>
                    <a:gd name="connsiteX2" fmla="*/ 36432 w 41563"/>
                    <a:gd name="connsiteY2" fmla="*/ 29080 h 38963"/>
                    <a:gd name="connsiteX3" fmla="*/ 0 w 41563"/>
                    <a:gd name="connsiteY3" fmla="*/ 33439 h 3896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1563" h="38963">
                      <a:moveTo>
                        <a:pt x="36172" y="0"/>
                      </a:moveTo>
                      <a:cubicBezTo>
                        <a:pt x="41571" y="7547"/>
                        <a:pt x="43393" y="16004"/>
                        <a:pt x="39425" y="24266"/>
                      </a:cubicBezTo>
                      <a:cubicBezTo>
                        <a:pt x="38644" y="25893"/>
                        <a:pt x="37603" y="27519"/>
                        <a:pt x="36432" y="29080"/>
                      </a:cubicBezTo>
                      <a:cubicBezTo>
                        <a:pt x="27584" y="40270"/>
                        <a:pt x="11190" y="42287"/>
                        <a:pt x="0" y="33439"/>
                      </a:cubicBezTo>
                    </a:path>
                  </a:pathLst>
                </a:custGeom>
                <a:noFill/>
                <a:ln w="19050" cap="sq">
                  <a:solidFill>
                    <a:srgbClr val="00FF94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31" name="Forma livre: Forma 30">
                  <a:extLst>
                    <a:ext uri="{FF2B5EF4-FFF2-40B4-BE49-F238E27FC236}">
                      <a16:creationId xmlns:a16="http://schemas.microsoft.com/office/drawing/2014/main" id="{9D4503D2-EB79-E660-9A44-12CD61578DF6}"/>
                    </a:ext>
                  </a:extLst>
                </p:cNvPr>
                <p:cNvSpPr/>
                <p:nvPr/>
              </p:nvSpPr>
              <p:spPr>
                <a:xfrm>
                  <a:off x="6081487" y="1460806"/>
                  <a:ext cx="34217" cy="54474"/>
                </a:xfrm>
                <a:custGeom>
                  <a:avLst/>
                  <a:gdLst>
                    <a:gd name="connsiteX0" fmla="*/ 21076 w 34217"/>
                    <a:gd name="connsiteY0" fmla="*/ 54475 h 54474"/>
                    <a:gd name="connsiteX1" fmla="*/ 778 w 34217"/>
                    <a:gd name="connsiteY1" fmla="*/ 21035 h 54474"/>
                    <a:gd name="connsiteX2" fmla="*/ 34217 w 34217"/>
                    <a:gd name="connsiteY2" fmla="*/ 803 h 544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34217" h="54474">
                      <a:moveTo>
                        <a:pt x="21076" y="54475"/>
                      </a:moveTo>
                      <a:cubicBezTo>
                        <a:pt x="6308" y="50832"/>
                        <a:pt x="-2800" y="35803"/>
                        <a:pt x="778" y="21035"/>
                      </a:cubicBezTo>
                      <a:cubicBezTo>
                        <a:pt x="4421" y="6267"/>
                        <a:pt x="19449" y="-2841"/>
                        <a:pt x="34217" y="803"/>
                      </a:cubicBezTo>
                    </a:path>
                  </a:pathLst>
                </a:custGeom>
                <a:noFill/>
                <a:ln w="19050" cap="sq">
                  <a:solidFill>
                    <a:srgbClr val="00FF94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32" name="Forma livre: Forma 31">
                  <a:extLst>
                    <a:ext uri="{FF2B5EF4-FFF2-40B4-BE49-F238E27FC236}">
                      <a16:creationId xmlns:a16="http://schemas.microsoft.com/office/drawing/2014/main" id="{2E30D000-47EE-6E17-DB8B-5DAF7E8E38E2}"/>
                    </a:ext>
                  </a:extLst>
                </p:cNvPr>
                <p:cNvSpPr/>
                <p:nvPr/>
              </p:nvSpPr>
              <p:spPr>
                <a:xfrm>
                  <a:off x="6073547" y="1527543"/>
                  <a:ext cx="114760" cy="72506"/>
                </a:xfrm>
                <a:custGeom>
                  <a:avLst/>
                  <a:gdLst>
                    <a:gd name="connsiteX0" fmla="*/ 114760 w 114760"/>
                    <a:gd name="connsiteY0" fmla="*/ 7254 h 72506"/>
                    <a:gd name="connsiteX1" fmla="*/ 73905 w 114760"/>
                    <a:gd name="connsiteY1" fmla="*/ 8881 h 72506"/>
                    <a:gd name="connsiteX2" fmla="*/ 0 w 114760"/>
                    <a:gd name="connsiteY2" fmla="*/ 72506 h 7250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14760" h="72506">
                      <a:moveTo>
                        <a:pt x="114760" y="7254"/>
                      </a:moveTo>
                      <a:cubicBezTo>
                        <a:pt x="103375" y="-2830"/>
                        <a:pt x="83989" y="-2504"/>
                        <a:pt x="73905" y="8881"/>
                      </a:cubicBezTo>
                      <a:cubicBezTo>
                        <a:pt x="73905" y="8881"/>
                        <a:pt x="31488" y="72506"/>
                        <a:pt x="0" y="72506"/>
                      </a:cubicBezTo>
                    </a:path>
                  </a:pathLst>
                </a:custGeom>
                <a:noFill/>
                <a:ln w="19050" cap="sq">
                  <a:solidFill>
                    <a:srgbClr val="00FF94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33" name="Forma livre: Forma 32">
                  <a:extLst>
                    <a:ext uri="{FF2B5EF4-FFF2-40B4-BE49-F238E27FC236}">
                      <a16:creationId xmlns:a16="http://schemas.microsoft.com/office/drawing/2014/main" id="{51724B26-38D8-6D4B-6C8C-1E5575469FA1}"/>
                    </a:ext>
                  </a:extLst>
                </p:cNvPr>
                <p:cNvSpPr/>
                <p:nvPr/>
              </p:nvSpPr>
              <p:spPr>
                <a:xfrm>
                  <a:off x="6079857" y="1646956"/>
                  <a:ext cx="29405" cy="9823"/>
                </a:xfrm>
                <a:custGeom>
                  <a:avLst/>
                  <a:gdLst>
                    <a:gd name="connsiteX0" fmla="*/ 0 w 29405"/>
                    <a:gd name="connsiteY0" fmla="*/ 0 h 9823"/>
                    <a:gd name="connsiteX1" fmla="*/ 29406 w 29405"/>
                    <a:gd name="connsiteY1" fmla="*/ 9824 h 982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9405" h="9823">
                      <a:moveTo>
                        <a:pt x="0" y="0"/>
                      </a:moveTo>
                      <a:lnTo>
                        <a:pt x="29406" y="9824"/>
                      </a:lnTo>
                    </a:path>
                  </a:pathLst>
                </a:custGeom>
                <a:ln w="19050" cap="sq">
                  <a:solidFill>
                    <a:srgbClr val="00FF94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34" name="Forma livre: Forma 33">
                  <a:extLst>
                    <a:ext uri="{FF2B5EF4-FFF2-40B4-BE49-F238E27FC236}">
                      <a16:creationId xmlns:a16="http://schemas.microsoft.com/office/drawing/2014/main" id="{ABC4B032-2184-58AC-5644-4C7EE357A06C}"/>
                    </a:ext>
                  </a:extLst>
                </p:cNvPr>
                <p:cNvSpPr/>
                <p:nvPr/>
              </p:nvSpPr>
              <p:spPr>
                <a:xfrm>
                  <a:off x="6061121" y="1545272"/>
                  <a:ext cx="47166" cy="34154"/>
                </a:xfrm>
                <a:custGeom>
                  <a:avLst/>
                  <a:gdLst>
                    <a:gd name="connsiteX0" fmla="*/ 0 w 47166"/>
                    <a:gd name="connsiteY0" fmla="*/ 0 h 34154"/>
                    <a:gd name="connsiteX1" fmla="*/ 47166 w 47166"/>
                    <a:gd name="connsiteY1" fmla="*/ 34155 h 3415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7166" h="34154">
                      <a:moveTo>
                        <a:pt x="0" y="0"/>
                      </a:moveTo>
                      <a:cubicBezTo>
                        <a:pt x="0" y="0"/>
                        <a:pt x="27649" y="13011"/>
                        <a:pt x="47166" y="34155"/>
                      </a:cubicBezTo>
                    </a:path>
                  </a:pathLst>
                </a:custGeom>
                <a:noFill/>
                <a:ln w="19050" cap="sq">
                  <a:solidFill>
                    <a:srgbClr val="00FF94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15" name="Gráfico 32">
                <a:extLst>
                  <a:ext uri="{FF2B5EF4-FFF2-40B4-BE49-F238E27FC236}">
                    <a16:creationId xmlns:a16="http://schemas.microsoft.com/office/drawing/2014/main" id="{AD000370-2C2D-64D0-7788-0DA0FE5A3666}"/>
                  </a:ext>
                </a:extLst>
              </p:cNvPr>
              <p:cNvGrpSpPr/>
              <p:nvPr/>
            </p:nvGrpSpPr>
            <p:grpSpPr>
              <a:xfrm>
                <a:off x="6191625" y="1599725"/>
                <a:ext cx="173767" cy="157112"/>
                <a:chOff x="6191625" y="1599725"/>
                <a:chExt cx="173767" cy="157112"/>
              </a:xfrm>
              <a:noFill/>
            </p:grpSpPr>
            <p:sp>
              <p:nvSpPr>
                <p:cNvPr id="25" name="Forma livre: Forma 24">
                  <a:extLst>
                    <a:ext uri="{FF2B5EF4-FFF2-40B4-BE49-F238E27FC236}">
                      <a16:creationId xmlns:a16="http://schemas.microsoft.com/office/drawing/2014/main" id="{958D2084-234F-496D-2847-4FBA1F066D42}"/>
                    </a:ext>
                  </a:extLst>
                </p:cNvPr>
                <p:cNvSpPr/>
                <p:nvPr/>
              </p:nvSpPr>
              <p:spPr>
                <a:xfrm>
                  <a:off x="6310094" y="1621974"/>
                  <a:ext cx="55298" cy="55298"/>
                </a:xfrm>
                <a:custGeom>
                  <a:avLst/>
                  <a:gdLst>
                    <a:gd name="connsiteX0" fmla="*/ 55298 w 55298"/>
                    <a:gd name="connsiteY0" fmla="*/ 27649 h 55298"/>
                    <a:gd name="connsiteX1" fmla="*/ 27649 w 55298"/>
                    <a:gd name="connsiteY1" fmla="*/ 55298 h 55298"/>
                    <a:gd name="connsiteX2" fmla="*/ 0 w 55298"/>
                    <a:gd name="connsiteY2" fmla="*/ 27649 h 55298"/>
                    <a:gd name="connsiteX3" fmla="*/ 27649 w 55298"/>
                    <a:gd name="connsiteY3" fmla="*/ 0 h 55298"/>
                    <a:gd name="connsiteX4" fmla="*/ 55298 w 55298"/>
                    <a:gd name="connsiteY4" fmla="*/ 27649 h 552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5298" h="55298">
                      <a:moveTo>
                        <a:pt x="55298" y="27649"/>
                      </a:moveTo>
                      <a:cubicBezTo>
                        <a:pt x="55298" y="42938"/>
                        <a:pt x="42938" y="55298"/>
                        <a:pt x="27649" y="55298"/>
                      </a:cubicBezTo>
                      <a:cubicBezTo>
                        <a:pt x="12361" y="55298"/>
                        <a:pt x="0" y="42938"/>
                        <a:pt x="0" y="27649"/>
                      </a:cubicBezTo>
                      <a:cubicBezTo>
                        <a:pt x="0" y="12361"/>
                        <a:pt x="12361" y="0"/>
                        <a:pt x="27649" y="0"/>
                      </a:cubicBezTo>
                      <a:cubicBezTo>
                        <a:pt x="42938" y="0"/>
                        <a:pt x="55298" y="12361"/>
                        <a:pt x="55298" y="27649"/>
                      </a:cubicBezTo>
                      <a:close/>
                    </a:path>
                  </a:pathLst>
                </a:custGeom>
                <a:noFill/>
                <a:ln w="19050" cap="sq">
                  <a:solidFill>
                    <a:srgbClr val="00FF94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6" name="Forma livre: Forma 25">
                  <a:extLst>
                    <a:ext uri="{FF2B5EF4-FFF2-40B4-BE49-F238E27FC236}">
                      <a16:creationId xmlns:a16="http://schemas.microsoft.com/office/drawing/2014/main" id="{FF28D9AD-2C3B-2CD8-072D-3E1720EBFDC6}"/>
                    </a:ext>
                  </a:extLst>
                </p:cNvPr>
                <p:cNvSpPr/>
                <p:nvPr/>
              </p:nvSpPr>
              <p:spPr>
                <a:xfrm>
                  <a:off x="6191625" y="1599725"/>
                  <a:ext cx="118078" cy="49898"/>
                </a:xfrm>
                <a:custGeom>
                  <a:avLst/>
                  <a:gdLst>
                    <a:gd name="connsiteX0" fmla="*/ 0 w 118078"/>
                    <a:gd name="connsiteY0" fmla="*/ 0 h 49898"/>
                    <a:gd name="connsiteX1" fmla="*/ 37343 w 118078"/>
                    <a:gd name="connsiteY1" fmla="*/ 0 h 49898"/>
                    <a:gd name="connsiteX2" fmla="*/ 87176 w 118078"/>
                    <a:gd name="connsiteY2" fmla="*/ 49899 h 49898"/>
                    <a:gd name="connsiteX3" fmla="*/ 118078 w 118078"/>
                    <a:gd name="connsiteY3" fmla="*/ 49899 h 498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18078" h="49898">
                      <a:moveTo>
                        <a:pt x="0" y="0"/>
                      </a:moveTo>
                      <a:lnTo>
                        <a:pt x="37343" y="0"/>
                      </a:lnTo>
                      <a:lnTo>
                        <a:pt x="87176" y="49899"/>
                      </a:lnTo>
                      <a:lnTo>
                        <a:pt x="118078" y="49899"/>
                      </a:lnTo>
                    </a:path>
                  </a:pathLst>
                </a:custGeom>
                <a:noFill/>
                <a:ln w="19050" cap="sq">
                  <a:solidFill>
                    <a:srgbClr val="00FF94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7" name="Forma livre: Forma 26">
                  <a:extLst>
                    <a:ext uri="{FF2B5EF4-FFF2-40B4-BE49-F238E27FC236}">
                      <a16:creationId xmlns:a16="http://schemas.microsoft.com/office/drawing/2014/main" id="{6C947895-C1C6-7E31-30A8-11DC2ACD14F7}"/>
                    </a:ext>
                  </a:extLst>
                </p:cNvPr>
                <p:cNvSpPr/>
                <p:nvPr/>
              </p:nvSpPr>
              <p:spPr>
                <a:xfrm>
                  <a:off x="6191625" y="1665367"/>
                  <a:ext cx="81906" cy="44108"/>
                </a:xfrm>
                <a:custGeom>
                  <a:avLst/>
                  <a:gdLst>
                    <a:gd name="connsiteX0" fmla="*/ 0 w 81906"/>
                    <a:gd name="connsiteY0" fmla="*/ 0 h 44108"/>
                    <a:gd name="connsiteX1" fmla="*/ 37343 w 81906"/>
                    <a:gd name="connsiteY1" fmla="*/ 0 h 44108"/>
                    <a:gd name="connsiteX2" fmla="*/ 81907 w 81906"/>
                    <a:gd name="connsiteY2" fmla="*/ 44109 h 4410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81906" h="44108">
                      <a:moveTo>
                        <a:pt x="0" y="0"/>
                      </a:moveTo>
                      <a:lnTo>
                        <a:pt x="37343" y="0"/>
                      </a:lnTo>
                      <a:lnTo>
                        <a:pt x="81907" y="44109"/>
                      </a:lnTo>
                    </a:path>
                  </a:pathLst>
                </a:custGeom>
                <a:noFill/>
                <a:ln w="19050" cap="sq">
                  <a:solidFill>
                    <a:srgbClr val="00FF94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8" name="Forma livre: Forma 27">
                  <a:extLst>
                    <a:ext uri="{FF2B5EF4-FFF2-40B4-BE49-F238E27FC236}">
                      <a16:creationId xmlns:a16="http://schemas.microsoft.com/office/drawing/2014/main" id="{A57DB9E0-96C0-0E4D-E2DB-1975B1438DD3}"/>
                    </a:ext>
                  </a:extLst>
                </p:cNvPr>
                <p:cNvSpPr/>
                <p:nvPr/>
              </p:nvSpPr>
              <p:spPr>
                <a:xfrm>
                  <a:off x="6265075" y="1701539"/>
                  <a:ext cx="55298" cy="55298"/>
                </a:xfrm>
                <a:custGeom>
                  <a:avLst/>
                  <a:gdLst>
                    <a:gd name="connsiteX0" fmla="*/ 55298 w 55298"/>
                    <a:gd name="connsiteY0" fmla="*/ 27649 h 55298"/>
                    <a:gd name="connsiteX1" fmla="*/ 27649 w 55298"/>
                    <a:gd name="connsiteY1" fmla="*/ 55298 h 55298"/>
                    <a:gd name="connsiteX2" fmla="*/ 0 w 55298"/>
                    <a:gd name="connsiteY2" fmla="*/ 27649 h 55298"/>
                    <a:gd name="connsiteX3" fmla="*/ 27649 w 55298"/>
                    <a:gd name="connsiteY3" fmla="*/ 0 h 55298"/>
                    <a:gd name="connsiteX4" fmla="*/ 55298 w 55298"/>
                    <a:gd name="connsiteY4" fmla="*/ 27649 h 552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5298" h="55298">
                      <a:moveTo>
                        <a:pt x="55298" y="27649"/>
                      </a:moveTo>
                      <a:cubicBezTo>
                        <a:pt x="55298" y="42938"/>
                        <a:pt x="42938" y="55298"/>
                        <a:pt x="27649" y="55298"/>
                      </a:cubicBezTo>
                      <a:cubicBezTo>
                        <a:pt x="12361" y="55298"/>
                        <a:pt x="0" y="42938"/>
                        <a:pt x="0" y="27649"/>
                      </a:cubicBezTo>
                      <a:cubicBezTo>
                        <a:pt x="0" y="12361"/>
                        <a:pt x="12361" y="0"/>
                        <a:pt x="27649" y="0"/>
                      </a:cubicBezTo>
                      <a:cubicBezTo>
                        <a:pt x="42938" y="0"/>
                        <a:pt x="55298" y="12361"/>
                        <a:pt x="55298" y="27649"/>
                      </a:cubicBezTo>
                      <a:close/>
                    </a:path>
                  </a:pathLst>
                </a:custGeom>
                <a:noFill/>
                <a:ln w="19050" cap="sq">
                  <a:solidFill>
                    <a:srgbClr val="00FF94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16" name="Gráfico 32">
                <a:extLst>
                  <a:ext uri="{FF2B5EF4-FFF2-40B4-BE49-F238E27FC236}">
                    <a16:creationId xmlns:a16="http://schemas.microsoft.com/office/drawing/2014/main" id="{4D0ACB04-9F09-4991-4B55-3DE7AFC8E67F}"/>
                  </a:ext>
                </a:extLst>
              </p:cNvPr>
              <p:cNvGrpSpPr/>
              <p:nvPr/>
            </p:nvGrpSpPr>
            <p:grpSpPr>
              <a:xfrm>
                <a:off x="6191625" y="1357908"/>
                <a:ext cx="173767" cy="157112"/>
                <a:chOff x="6191625" y="1357908"/>
                <a:chExt cx="173767" cy="157112"/>
              </a:xfrm>
              <a:noFill/>
            </p:grpSpPr>
            <p:sp>
              <p:nvSpPr>
                <p:cNvPr id="21" name="Forma livre: Forma 20">
                  <a:extLst>
                    <a:ext uri="{FF2B5EF4-FFF2-40B4-BE49-F238E27FC236}">
                      <a16:creationId xmlns:a16="http://schemas.microsoft.com/office/drawing/2014/main" id="{9A523282-77DC-D88F-94F5-21D2EE6A0F6C}"/>
                    </a:ext>
                  </a:extLst>
                </p:cNvPr>
                <p:cNvSpPr/>
                <p:nvPr/>
              </p:nvSpPr>
              <p:spPr>
                <a:xfrm>
                  <a:off x="6310094" y="1437472"/>
                  <a:ext cx="55298" cy="55298"/>
                </a:xfrm>
                <a:custGeom>
                  <a:avLst/>
                  <a:gdLst>
                    <a:gd name="connsiteX0" fmla="*/ 55298 w 55298"/>
                    <a:gd name="connsiteY0" fmla="*/ 27649 h 55298"/>
                    <a:gd name="connsiteX1" fmla="*/ 27649 w 55298"/>
                    <a:gd name="connsiteY1" fmla="*/ 0 h 55298"/>
                    <a:gd name="connsiteX2" fmla="*/ 0 w 55298"/>
                    <a:gd name="connsiteY2" fmla="*/ 27649 h 55298"/>
                    <a:gd name="connsiteX3" fmla="*/ 27649 w 55298"/>
                    <a:gd name="connsiteY3" fmla="*/ 55298 h 55298"/>
                    <a:gd name="connsiteX4" fmla="*/ 55298 w 55298"/>
                    <a:gd name="connsiteY4" fmla="*/ 27649 h 552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5298" h="55298">
                      <a:moveTo>
                        <a:pt x="55298" y="27649"/>
                      </a:moveTo>
                      <a:cubicBezTo>
                        <a:pt x="55298" y="12361"/>
                        <a:pt x="42938" y="0"/>
                        <a:pt x="27649" y="0"/>
                      </a:cubicBezTo>
                      <a:cubicBezTo>
                        <a:pt x="12361" y="0"/>
                        <a:pt x="0" y="12361"/>
                        <a:pt x="0" y="27649"/>
                      </a:cubicBezTo>
                      <a:cubicBezTo>
                        <a:pt x="0" y="42938"/>
                        <a:pt x="12361" y="55298"/>
                        <a:pt x="27649" y="55298"/>
                      </a:cubicBezTo>
                      <a:cubicBezTo>
                        <a:pt x="42938" y="55298"/>
                        <a:pt x="55298" y="42938"/>
                        <a:pt x="55298" y="27649"/>
                      </a:cubicBezTo>
                      <a:close/>
                    </a:path>
                  </a:pathLst>
                </a:custGeom>
                <a:noFill/>
                <a:ln w="19050" cap="sq">
                  <a:solidFill>
                    <a:srgbClr val="00FF94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2" name="Forma livre: Forma 21">
                  <a:extLst>
                    <a:ext uri="{FF2B5EF4-FFF2-40B4-BE49-F238E27FC236}">
                      <a16:creationId xmlns:a16="http://schemas.microsoft.com/office/drawing/2014/main" id="{1A3972AB-EC33-2533-5A86-893875603BAC}"/>
                    </a:ext>
                  </a:extLst>
                </p:cNvPr>
                <p:cNvSpPr/>
                <p:nvPr/>
              </p:nvSpPr>
              <p:spPr>
                <a:xfrm>
                  <a:off x="6191625" y="1465122"/>
                  <a:ext cx="118468" cy="49898"/>
                </a:xfrm>
                <a:custGeom>
                  <a:avLst/>
                  <a:gdLst>
                    <a:gd name="connsiteX0" fmla="*/ 0 w 118468"/>
                    <a:gd name="connsiteY0" fmla="*/ 49899 h 49898"/>
                    <a:gd name="connsiteX1" fmla="*/ 37343 w 118468"/>
                    <a:gd name="connsiteY1" fmla="*/ 49899 h 49898"/>
                    <a:gd name="connsiteX2" fmla="*/ 87176 w 118468"/>
                    <a:gd name="connsiteY2" fmla="*/ 0 h 49898"/>
                    <a:gd name="connsiteX3" fmla="*/ 118469 w 118468"/>
                    <a:gd name="connsiteY3" fmla="*/ 0 h 498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18468" h="49898">
                      <a:moveTo>
                        <a:pt x="0" y="49899"/>
                      </a:moveTo>
                      <a:lnTo>
                        <a:pt x="37343" y="49899"/>
                      </a:lnTo>
                      <a:lnTo>
                        <a:pt x="87176" y="0"/>
                      </a:lnTo>
                      <a:lnTo>
                        <a:pt x="118469" y="0"/>
                      </a:lnTo>
                    </a:path>
                  </a:pathLst>
                </a:custGeom>
                <a:noFill/>
                <a:ln w="19050" cap="sq">
                  <a:solidFill>
                    <a:srgbClr val="00FF94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3" name="Forma livre: Forma 22">
                  <a:extLst>
                    <a:ext uri="{FF2B5EF4-FFF2-40B4-BE49-F238E27FC236}">
                      <a16:creationId xmlns:a16="http://schemas.microsoft.com/office/drawing/2014/main" id="{88C9920C-6107-C674-E487-ED98BFD1B55F}"/>
                    </a:ext>
                  </a:extLst>
                </p:cNvPr>
                <p:cNvSpPr/>
                <p:nvPr/>
              </p:nvSpPr>
              <p:spPr>
                <a:xfrm>
                  <a:off x="6191625" y="1405269"/>
                  <a:ext cx="81451" cy="44043"/>
                </a:xfrm>
                <a:custGeom>
                  <a:avLst/>
                  <a:gdLst>
                    <a:gd name="connsiteX0" fmla="*/ 0 w 81451"/>
                    <a:gd name="connsiteY0" fmla="*/ 44044 h 44043"/>
                    <a:gd name="connsiteX1" fmla="*/ 37343 w 81451"/>
                    <a:gd name="connsiteY1" fmla="*/ 44044 h 44043"/>
                    <a:gd name="connsiteX2" fmla="*/ 81451 w 81451"/>
                    <a:gd name="connsiteY2" fmla="*/ 0 h 4404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81451" h="44043">
                      <a:moveTo>
                        <a:pt x="0" y="44044"/>
                      </a:moveTo>
                      <a:lnTo>
                        <a:pt x="37343" y="44044"/>
                      </a:lnTo>
                      <a:lnTo>
                        <a:pt x="81451" y="0"/>
                      </a:lnTo>
                    </a:path>
                  </a:pathLst>
                </a:custGeom>
                <a:noFill/>
                <a:ln w="19050" cap="sq">
                  <a:solidFill>
                    <a:srgbClr val="00FF94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4" name="Forma livre: Forma 23">
                  <a:extLst>
                    <a:ext uri="{FF2B5EF4-FFF2-40B4-BE49-F238E27FC236}">
                      <a16:creationId xmlns:a16="http://schemas.microsoft.com/office/drawing/2014/main" id="{D6090DBC-6AE9-F084-576B-80E4792CD4CC}"/>
                    </a:ext>
                  </a:extLst>
                </p:cNvPr>
                <p:cNvSpPr/>
                <p:nvPr/>
              </p:nvSpPr>
              <p:spPr>
                <a:xfrm>
                  <a:off x="6265075" y="1357908"/>
                  <a:ext cx="55298" cy="55298"/>
                </a:xfrm>
                <a:custGeom>
                  <a:avLst/>
                  <a:gdLst>
                    <a:gd name="connsiteX0" fmla="*/ 55298 w 55298"/>
                    <a:gd name="connsiteY0" fmla="*/ 27649 h 55298"/>
                    <a:gd name="connsiteX1" fmla="*/ 27649 w 55298"/>
                    <a:gd name="connsiteY1" fmla="*/ 0 h 55298"/>
                    <a:gd name="connsiteX2" fmla="*/ 0 w 55298"/>
                    <a:gd name="connsiteY2" fmla="*/ 27649 h 55298"/>
                    <a:gd name="connsiteX3" fmla="*/ 27649 w 55298"/>
                    <a:gd name="connsiteY3" fmla="*/ 55298 h 55298"/>
                    <a:gd name="connsiteX4" fmla="*/ 55298 w 55298"/>
                    <a:gd name="connsiteY4" fmla="*/ 27649 h 552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5298" h="55298">
                      <a:moveTo>
                        <a:pt x="55298" y="27649"/>
                      </a:moveTo>
                      <a:cubicBezTo>
                        <a:pt x="55298" y="12361"/>
                        <a:pt x="42938" y="0"/>
                        <a:pt x="27649" y="0"/>
                      </a:cubicBezTo>
                      <a:cubicBezTo>
                        <a:pt x="12361" y="0"/>
                        <a:pt x="0" y="12361"/>
                        <a:pt x="0" y="27649"/>
                      </a:cubicBezTo>
                      <a:cubicBezTo>
                        <a:pt x="0" y="42938"/>
                        <a:pt x="12361" y="55298"/>
                        <a:pt x="27649" y="55298"/>
                      </a:cubicBezTo>
                      <a:cubicBezTo>
                        <a:pt x="42938" y="55298"/>
                        <a:pt x="55298" y="42938"/>
                        <a:pt x="55298" y="27649"/>
                      </a:cubicBezTo>
                      <a:close/>
                    </a:path>
                  </a:pathLst>
                </a:custGeom>
                <a:noFill/>
                <a:ln w="19050" cap="sq">
                  <a:solidFill>
                    <a:srgbClr val="00FF94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17" name="Gráfico 32">
                <a:extLst>
                  <a:ext uri="{FF2B5EF4-FFF2-40B4-BE49-F238E27FC236}">
                    <a16:creationId xmlns:a16="http://schemas.microsoft.com/office/drawing/2014/main" id="{8C84E045-6D3F-BD96-059C-542D3F095FC3}"/>
                  </a:ext>
                </a:extLst>
              </p:cNvPr>
              <p:cNvGrpSpPr/>
              <p:nvPr/>
            </p:nvGrpSpPr>
            <p:grpSpPr>
              <a:xfrm>
                <a:off x="6190910" y="1529723"/>
                <a:ext cx="123673" cy="55298"/>
                <a:chOff x="6190910" y="1529723"/>
                <a:chExt cx="123673" cy="55298"/>
              </a:xfrm>
              <a:noFill/>
            </p:grpSpPr>
            <p:sp>
              <p:nvSpPr>
                <p:cNvPr id="19" name="Forma livre: Forma 18">
                  <a:extLst>
                    <a:ext uri="{FF2B5EF4-FFF2-40B4-BE49-F238E27FC236}">
                      <a16:creationId xmlns:a16="http://schemas.microsoft.com/office/drawing/2014/main" id="{09FFD8F7-C5FC-ED15-C363-E0CCB3F6610C}"/>
                    </a:ext>
                  </a:extLst>
                </p:cNvPr>
                <p:cNvSpPr/>
                <p:nvPr/>
              </p:nvSpPr>
              <p:spPr>
                <a:xfrm>
                  <a:off x="6190910" y="1557372"/>
                  <a:ext cx="68765" cy="6505"/>
                </a:xfrm>
                <a:custGeom>
                  <a:avLst/>
                  <a:gdLst>
                    <a:gd name="connsiteX0" fmla="*/ 0 w 68765"/>
                    <a:gd name="connsiteY0" fmla="*/ 0 h 6505"/>
                    <a:gd name="connsiteX1" fmla="*/ 68765 w 68765"/>
                    <a:gd name="connsiteY1" fmla="*/ 0 h 650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68765" h="6505">
                      <a:moveTo>
                        <a:pt x="0" y="0"/>
                      </a:moveTo>
                      <a:lnTo>
                        <a:pt x="68765" y="0"/>
                      </a:lnTo>
                    </a:path>
                  </a:pathLst>
                </a:custGeom>
                <a:ln w="19050" cap="sq">
                  <a:solidFill>
                    <a:srgbClr val="00FF94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0" name="Forma livre: Forma 19">
                  <a:extLst>
                    <a:ext uri="{FF2B5EF4-FFF2-40B4-BE49-F238E27FC236}">
                      <a16:creationId xmlns:a16="http://schemas.microsoft.com/office/drawing/2014/main" id="{1C455E4B-1058-EF18-3FFD-DB37988E1E00}"/>
                    </a:ext>
                  </a:extLst>
                </p:cNvPr>
                <p:cNvSpPr/>
                <p:nvPr/>
              </p:nvSpPr>
              <p:spPr>
                <a:xfrm>
                  <a:off x="6259285" y="1529723"/>
                  <a:ext cx="55298" cy="55298"/>
                </a:xfrm>
                <a:custGeom>
                  <a:avLst/>
                  <a:gdLst>
                    <a:gd name="connsiteX0" fmla="*/ 55298 w 55298"/>
                    <a:gd name="connsiteY0" fmla="*/ 27649 h 55298"/>
                    <a:gd name="connsiteX1" fmla="*/ 27649 w 55298"/>
                    <a:gd name="connsiteY1" fmla="*/ 55298 h 55298"/>
                    <a:gd name="connsiteX2" fmla="*/ 0 w 55298"/>
                    <a:gd name="connsiteY2" fmla="*/ 27649 h 55298"/>
                    <a:gd name="connsiteX3" fmla="*/ 27649 w 55298"/>
                    <a:gd name="connsiteY3" fmla="*/ 0 h 55298"/>
                    <a:gd name="connsiteX4" fmla="*/ 55298 w 55298"/>
                    <a:gd name="connsiteY4" fmla="*/ 27649 h 552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5298" h="55298">
                      <a:moveTo>
                        <a:pt x="55298" y="27649"/>
                      </a:moveTo>
                      <a:cubicBezTo>
                        <a:pt x="55298" y="42938"/>
                        <a:pt x="42938" y="55298"/>
                        <a:pt x="27649" y="55298"/>
                      </a:cubicBezTo>
                      <a:cubicBezTo>
                        <a:pt x="12361" y="55298"/>
                        <a:pt x="0" y="42938"/>
                        <a:pt x="0" y="27649"/>
                      </a:cubicBezTo>
                      <a:cubicBezTo>
                        <a:pt x="0" y="12361"/>
                        <a:pt x="12361" y="0"/>
                        <a:pt x="27649" y="0"/>
                      </a:cubicBezTo>
                      <a:cubicBezTo>
                        <a:pt x="42938" y="0"/>
                        <a:pt x="55298" y="12361"/>
                        <a:pt x="55298" y="27649"/>
                      </a:cubicBezTo>
                      <a:close/>
                    </a:path>
                  </a:pathLst>
                </a:custGeom>
                <a:noFill/>
                <a:ln w="19050" cap="sq">
                  <a:solidFill>
                    <a:srgbClr val="00FF94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18" name="Forma livre: Forma 17">
                <a:extLst>
                  <a:ext uri="{FF2B5EF4-FFF2-40B4-BE49-F238E27FC236}">
                    <a16:creationId xmlns:a16="http://schemas.microsoft.com/office/drawing/2014/main" id="{9EF051BE-D360-DAB0-F222-4D50909C8BB0}"/>
                  </a:ext>
                </a:extLst>
              </p:cNvPr>
              <p:cNvSpPr/>
              <p:nvPr/>
            </p:nvSpPr>
            <p:spPr>
              <a:xfrm>
                <a:off x="6152201" y="1686285"/>
                <a:ext cx="37362" cy="20848"/>
              </a:xfrm>
              <a:custGeom>
                <a:avLst/>
                <a:gdLst>
                  <a:gd name="connsiteX0" fmla="*/ 0 w 37362"/>
                  <a:gd name="connsiteY0" fmla="*/ 10505 h 20848"/>
                  <a:gd name="connsiteX1" fmla="*/ 27064 w 37362"/>
                  <a:gd name="connsiteY1" fmla="*/ 2373 h 20848"/>
                  <a:gd name="connsiteX2" fmla="*/ 37343 w 37362"/>
                  <a:gd name="connsiteY2" fmla="*/ 20849 h 208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7362" h="20848">
                    <a:moveTo>
                      <a:pt x="0" y="10505"/>
                    </a:moveTo>
                    <a:cubicBezTo>
                      <a:pt x="5205" y="811"/>
                      <a:pt x="17435" y="-2832"/>
                      <a:pt x="27064" y="2373"/>
                    </a:cubicBezTo>
                    <a:cubicBezTo>
                      <a:pt x="34025" y="6081"/>
                      <a:pt x="37668" y="13432"/>
                      <a:pt x="37343" y="20849"/>
                    </a:cubicBezTo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sp>
        <p:nvSpPr>
          <p:cNvPr id="3" name="Marcador de pie de página 2">
            <a:extLst>
              <a:ext uri="{FF2B5EF4-FFF2-40B4-BE49-F238E27FC236}">
                <a16:creationId xmlns:a16="http://schemas.microsoft.com/office/drawing/2014/main" id="{955EC30B-C6DA-4171-82CE-00EA460BD96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pt-PT"/>
              <a:t>Título de la presentación</a:t>
            </a:r>
            <a:endParaRPr lang="pt-PT" dirty="0"/>
          </a:p>
        </p:txBody>
      </p:sp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id="{40C43708-83C6-4E6A-A530-5BD6026A244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4A347C2-D68E-473A-8C76-1D063E4EB6E0}" type="slidenum">
              <a:rPr lang="es-ES" smtClean="0"/>
              <a:pPr/>
              <a:t>15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2831564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6" presetClass="emph" presetSubtype="0" fill="hold" nodeType="withEffect">
                                  <p:stCondLst>
                                    <p:cond delay="1250"/>
                                  </p:stCondLst>
                                  <p:childTnLst>
                                    <p:animScale>
                                      <p:cBhvr>
                                        <p:cTn id="9" dur="10" fill="hold"/>
                                        <p:tgtEl>
                                          <p:spTgt spid="2"/>
                                        </p:tgtEl>
                                      </p:cBhvr>
                                      <p:by x="125000" y="125000"/>
                                    </p:animScale>
                                  </p:childTnLst>
                                </p:cTn>
                              </p:par>
                              <p:par>
                                <p:cTn id="10" presetID="6" presetClass="emph" presetSubtype="0" decel="100000" fill="hold" nodeType="withEffect">
                                  <p:stCondLst>
                                    <p:cond delay="1250"/>
                                  </p:stCondLst>
                                  <p:childTnLst>
                                    <p:animScale>
                                      <p:cBhvr>
                                        <p:cTn id="11" dur="750" fill="hold"/>
                                        <p:tgtEl>
                                          <p:spTgt spid="2"/>
                                        </p:tgtEl>
                                      </p:cBhvr>
                                      <p:by x="80000" y="8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ítulo 6">
            <a:extLst>
              <a:ext uri="{FF2B5EF4-FFF2-40B4-BE49-F238E27FC236}">
                <a16:creationId xmlns:a16="http://schemas.microsoft.com/office/drawing/2014/main" id="{F53F3032-99EB-EA2E-18B3-F081B6F7983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3184" y="550508"/>
            <a:ext cx="11165632" cy="712204"/>
          </a:xfrm>
        </p:spPr>
        <p:txBody>
          <a:bodyPr/>
          <a:lstStyle/>
          <a:p>
            <a:r>
              <a:rPr lang="pt-PT" dirty="0"/>
              <a:t>Ejemplo de título de slide</a:t>
            </a:r>
          </a:p>
        </p:txBody>
      </p:sp>
      <p:sp>
        <p:nvSpPr>
          <p:cNvPr id="8" name="Marcador de Posição do Texto 7">
            <a:extLst>
              <a:ext uri="{FF2B5EF4-FFF2-40B4-BE49-F238E27FC236}">
                <a16:creationId xmlns:a16="http://schemas.microsoft.com/office/drawing/2014/main" id="{B5512114-8676-E3D5-8D17-5559DEB71D10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512763" y="1156317"/>
            <a:ext cx="11166475" cy="355243"/>
          </a:xfrm>
        </p:spPr>
        <p:txBody>
          <a:bodyPr>
            <a:normAutofit/>
          </a:bodyPr>
          <a:lstStyle/>
          <a:p>
            <a:r>
              <a:rPr lang="pt-PT" dirty="0"/>
              <a:t>Ejemplo de subtítulo de slide</a:t>
            </a:r>
          </a:p>
        </p:txBody>
      </p:sp>
      <p:sp>
        <p:nvSpPr>
          <p:cNvPr id="9" name="Marcador de Posição do Texto 8">
            <a:extLst>
              <a:ext uri="{FF2B5EF4-FFF2-40B4-BE49-F238E27FC236}">
                <a16:creationId xmlns:a16="http://schemas.microsoft.com/office/drawing/2014/main" id="{AE44FFB2-E079-03F8-02A3-E0EAE5B308E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>
            <a:normAutofit lnSpcReduction="10000"/>
          </a:bodyPr>
          <a:lstStyle/>
          <a:p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Lorem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ipsum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dolor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sit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amet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,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consectetuer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adipiscing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elit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.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Maecenas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porttitor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congue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massa. </a:t>
            </a:r>
            <a:r>
              <a:rPr lang="pt-PT" dirty="0" err="1"/>
              <a:t>Fusce</a:t>
            </a:r>
            <a:r>
              <a:rPr lang="pt-PT" dirty="0"/>
              <a:t> </a:t>
            </a:r>
            <a:r>
              <a:rPr lang="pt-PT" dirty="0" err="1"/>
              <a:t>posuere</a:t>
            </a:r>
            <a:r>
              <a:rPr lang="pt-PT" dirty="0"/>
              <a:t>, magna </a:t>
            </a:r>
            <a:r>
              <a:rPr lang="pt-PT" dirty="0" err="1"/>
              <a:t>sed</a:t>
            </a:r>
            <a:r>
              <a:rPr lang="pt-PT" dirty="0"/>
              <a:t> pulvinar </a:t>
            </a:r>
            <a:r>
              <a:rPr lang="pt-PT" dirty="0" err="1"/>
              <a:t>ultricies</a:t>
            </a:r>
            <a:r>
              <a:rPr lang="pt-PT" dirty="0"/>
              <a:t>, purus </a:t>
            </a:r>
            <a:r>
              <a:rPr lang="pt-PT" dirty="0" err="1"/>
              <a:t>lectus</a:t>
            </a:r>
            <a:r>
              <a:rPr lang="pt-PT" dirty="0"/>
              <a:t> </a:t>
            </a:r>
            <a:r>
              <a:rPr lang="pt-PT" dirty="0" err="1"/>
              <a:t>malesuada</a:t>
            </a:r>
            <a:r>
              <a:rPr lang="pt-PT" dirty="0"/>
              <a:t> libero,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r>
              <a:rPr lang="pt-PT" dirty="0"/>
              <a:t> </a:t>
            </a:r>
            <a:r>
              <a:rPr lang="pt-PT" dirty="0" err="1"/>
              <a:t>commodo</a:t>
            </a:r>
            <a:r>
              <a:rPr lang="pt-PT" dirty="0"/>
              <a:t> magna eros quis urna.</a:t>
            </a:r>
          </a:p>
          <a:p>
            <a:r>
              <a:rPr lang="pt-PT" dirty="0" err="1"/>
              <a:t>Nunc</a:t>
            </a:r>
            <a:r>
              <a:rPr lang="pt-PT" dirty="0"/>
              <a:t> </a:t>
            </a:r>
            <a:r>
              <a:rPr lang="pt-PT" dirty="0" err="1"/>
              <a:t>viverra</a:t>
            </a:r>
            <a:r>
              <a:rPr lang="pt-PT" dirty="0"/>
              <a:t> </a:t>
            </a:r>
            <a:r>
              <a:rPr lang="pt-PT" dirty="0" err="1"/>
              <a:t>imperdiet</a:t>
            </a:r>
            <a:r>
              <a:rPr lang="pt-PT" dirty="0"/>
              <a:t> </a:t>
            </a:r>
            <a:r>
              <a:rPr lang="pt-PT" dirty="0" err="1"/>
              <a:t>enim</a:t>
            </a:r>
            <a:r>
              <a:rPr lang="pt-PT" dirty="0"/>
              <a:t>. </a:t>
            </a:r>
            <a:r>
              <a:rPr lang="pt-PT" dirty="0" err="1"/>
              <a:t>Fusce</a:t>
            </a:r>
            <a:r>
              <a:rPr lang="pt-PT" dirty="0"/>
              <a:t> est. </a:t>
            </a:r>
            <a:r>
              <a:rPr lang="pt-PT" dirty="0" err="1"/>
              <a:t>Vivamus</a:t>
            </a:r>
            <a:r>
              <a:rPr lang="pt-PT" dirty="0"/>
              <a:t> a </a:t>
            </a:r>
            <a:r>
              <a:rPr lang="pt-PT" dirty="0" err="1"/>
              <a:t>tellus</a:t>
            </a:r>
            <a:r>
              <a:rPr lang="pt-PT" dirty="0"/>
              <a:t>.</a:t>
            </a:r>
          </a:p>
          <a:p>
            <a:r>
              <a:rPr lang="pt-PT" dirty="0" err="1"/>
              <a:t>Pellentesque</a:t>
            </a:r>
            <a:r>
              <a:rPr lang="pt-PT" dirty="0"/>
              <a:t> </a:t>
            </a:r>
            <a:r>
              <a:rPr lang="pt-PT" dirty="0" err="1"/>
              <a:t>habitant</a:t>
            </a:r>
            <a:r>
              <a:rPr lang="pt-PT" dirty="0"/>
              <a:t> </a:t>
            </a:r>
            <a:r>
              <a:rPr lang="pt-PT" dirty="0" err="1"/>
              <a:t>morbi</a:t>
            </a:r>
            <a:r>
              <a:rPr lang="pt-PT" dirty="0"/>
              <a:t> </a:t>
            </a:r>
            <a:r>
              <a:rPr lang="pt-PT" dirty="0" err="1"/>
              <a:t>tristique</a:t>
            </a:r>
            <a:r>
              <a:rPr lang="pt-PT" dirty="0"/>
              <a:t> </a:t>
            </a:r>
            <a:r>
              <a:rPr lang="pt-PT" dirty="0" err="1"/>
              <a:t>senectus</a:t>
            </a:r>
            <a:r>
              <a:rPr lang="pt-PT" dirty="0"/>
              <a:t> </a:t>
            </a:r>
            <a:r>
              <a:rPr lang="pt-PT" dirty="0" err="1"/>
              <a:t>et</a:t>
            </a:r>
            <a:r>
              <a:rPr lang="pt-PT" dirty="0"/>
              <a:t> </a:t>
            </a:r>
            <a:r>
              <a:rPr lang="pt-PT" dirty="0" err="1"/>
              <a:t>netus</a:t>
            </a:r>
            <a:r>
              <a:rPr lang="pt-PT" dirty="0"/>
              <a:t> </a:t>
            </a:r>
            <a:r>
              <a:rPr lang="pt-PT" dirty="0" err="1"/>
              <a:t>et</a:t>
            </a:r>
            <a:r>
              <a:rPr lang="pt-PT" dirty="0"/>
              <a:t> </a:t>
            </a:r>
            <a:r>
              <a:rPr lang="pt-PT" dirty="0" err="1"/>
              <a:t>malesuada</a:t>
            </a:r>
            <a:r>
              <a:rPr lang="pt-PT" dirty="0"/>
              <a:t> </a:t>
            </a:r>
            <a:r>
              <a:rPr lang="pt-PT" dirty="0" err="1"/>
              <a:t>fames</a:t>
            </a:r>
            <a:r>
              <a:rPr lang="pt-PT" dirty="0"/>
              <a:t> </a:t>
            </a:r>
            <a:r>
              <a:rPr lang="pt-PT" dirty="0" err="1"/>
              <a:t>ac</a:t>
            </a:r>
            <a:r>
              <a:rPr lang="pt-PT" dirty="0"/>
              <a:t> </a:t>
            </a:r>
            <a:r>
              <a:rPr lang="pt-PT" dirty="0" err="1"/>
              <a:t>turpis</a:t>
            </a:r>
            <a:r>
              <a:rPr lang="pt-PT" dirty="0"/>
              <a:t> egestas. </a:t>
            </a:r>
            <a:r>
              <a:rPr lang="pt-PT" dirty="0" err="1"/>
              <a:t>Proin</a:t>
            </a:r>
            <a:r>
              <a:rPr lang="pt-PT" dirty="0"/>
              <a:t> </a:t>
            </a:r>
            <a:r>
              <a:rPr lang="pt-PT" dirty="0" err="1"/>
              <a:t>pharetra</a:t>
            </a:r>
            <a:r>
              <a:rPr lang="pt-PT" dirty="0"/>
              <a:t> </a:t>
            </a:r>
            <a:r>
              <a:rPr lang="pt-PT" dirty="0" err="1"/>
              <a:t>nonummy</a:t>
            </a:r>
            <a:r>
              <a:rPr lang="pt-PT" dirty="0"/>
              <a:t> pede. </a:t>
            </a:r>
            <a:r>
              <a:rPr lang="pt-PT" dirty="0" err="1"/>
              <a:t>Mauris</a:t>
            </a:r>
            <a:r>
              <a:rPr lang="pt-PT" dirty="0"/>
              <a:t> </a:t>
            </a:r>
            <a:r>
              <a:rPr lang="pt-PT" dirty="0" err="1"/>
              <a:t>et</a:t>
            </a:r>
            <a:r>
              <a:rPr lang="pt-PT" dirty="0"/>
              <a:t> </a:t>
            </a:r>
            <a:r>
              <a:rPr lang="pt-PT" dirty="0" err="1"/>
              <a:t>orci</a:t>
            </a:r>
            <a:r>
              <a:rPr lang="pt-PT" dirty="0"/>
              <a:t>. </a:t>
            </a:r>
            <a:r>
              <a:rPr lang="pt-PT" dirty="0" err="1"/>
              <a:t>Lorem</a:t>
            </a:r>
            <a:r>
              <a:rPr lang="pt-PT" dirty="0"/>
              <a:t> </a:t>
            </a:r>
            <a:r>
              <a:rPr lang="pt-PT" dirty="0" err="1"/>
              <a:t>ipsum</a:t>
            </a:r>
            <a:r>
              <a:rPr lang="pt-PT" dirty="0"/>
              <a:t> </a:t>
            </a:r>
            <a:r>
              <a:rPr lang="pt-PT" dirty="0" err="1"/>
              <a:t>dolor</a:t>
            </a:r>
            <a:r>
              <a:rPr lang="pt-PT" dirty="0"/>
              <a:t>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r>
              <a:rPr lang="pt-PT" dirty="0"/>
              <a:t>, </a:t>
            </a:r>
            <a:r>
              <a:rPr lang="pt-PT" dirty="0" err="1"/>
              <a:t>consectetuer</a:t>
            </a:r>
            <a:r>
              <a:rPr lang="pt-PT" dirty="0"/>
              <a:t> </a:t>
            </a:r>
            <a:r>
              <a:rPr lang="pt-PT" dirty="0" err="1"/>
              <a:t>adipiscing</a:t>
            </a:r>
            <a:r>
              <a:rPr lang="pt-PT" dirty="0"/>
              <a:t> </a:t>
            </a:r>
            <a:r>
              <a:rPr lang="pt-PT" dirty="0" err="1"/>
              <a:t>elit</a:t>
            </a:r>
            <a:r>
              <a:rPr lang="pt-PT" dirty="0"/>
              <a:t>.</a:t>
            </a:r>
          </a:p>
        </p:txBody>
      </p:sp>
      <p:sp>
        <p:nvSpPr>
          <p:cNvPr id="10" name="Marcador de Posição do Texto 9">
            <a:extLst>
              <a:ext uri="{FF2B5EF4-FFF2-40B4-BE49-F238E27FC236}">
                <a16:creationId xmlns:a16="http://schemas.microsoft.com/office/drawing/2014/main" id="{2A0E12C0-5F23-67ED-AA56-3C51B1790C5F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>
            <a:normAutofit lnSpcReduction="10000"/>
          </a:bodyPr>
          <a:lstStyle/>
          <a:p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Lorem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ipsum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dolor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sit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amet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,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consectetuer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adipiscing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elit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.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Maecenas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porttitor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congue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massa. </a:t>
            </a:r>
            <a:r>
              <a:rPr lang="pt-PT" dirty="0" err="1"/>
              <a:t>Fusce</a:t>
            </a:r>
            <a:r>
              <a:rPr lang="pt-PT" dirty="0"/>
              <a:t> </a:t>
            </a:r>
            <a:r>
              <a:rPr lang="pt-PT" dirty="0" err="1"/>
              <a:t>posuere</a:t>
            </a:r>
            <a:r>
              <a:rPr lang="pt-PT" dirty="0"/>
              <a:t>, magna </a:t>
            </a:r>
            <a:r>
              <a:rPr lang="pt-PT" dirty="0" err="1"/>
              <a:t>sed</a:t>
            </a:r>
            <a:r>
              <a:rPr lang="pt-PT" dirty="0"/>
              <a:t> pulvinar </a:t>
            </a:r>
            <a:r>
              <a:rPr lang="pt-PT" dirty="0" err="1"/>
              <a:t>ultricies</a:t>
            </a:r>
            <a:r>
              <a:rPr lang="pt-PT" dirty="0"/>
              <a:t>, purus </a:t>
            </a:r>
            <a:r>
              <a:rPr lang="pt-PT" dirty="0" err="1"/>
              <a:t>lectus</a:t>
            </a:r>
            <a:r>
              <a:rPr lang="pt-PT" dirty="0"/>
              <a:t> </a:t>
            </a:r>
            <a:r>
              <a:rPr lang="pt-PT" dirty="0" err="1"/>
              <a:t>malesuada</a:t>
            </a:r>
            <a:r>
              <a:rPr lang="pt-PT" dirty="0"/>
              <a:t> libero,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r>
              <a:rPr lang="pt-PT" dirty="0"/>
              <a:t> </a:t>
            </a:r>
            <a:r>
              <a:rPr lang="pt-PT" dirty="0" err="1"/>
              <a:t>commodo</a:t>
            </a:r>
            <a:r>
              <a:rPr lang="pt-PT" dirty="0"/>
              <a:t> magna eros quis urna.</a:t>
            </a:r>
          </a:p>
          <a:p>
            <a:r>
              <a:rPr lang="pt-PT" dirty="0" err="1"/>
              <a:t>Nunc</a:t>
            </a:r>
            <a:r>
              <a:rPr lang="pt-PT" dirty="0"/>
              <a:t> </a:t>
            </a:r>
            <a:r>
              <a:rPr lang="pt-PT" dirty="0" err="1"/>
              <a:t>viverra</a:t>
            </a:r>
            <a:r>
              <a:rPr lang="pt-PT" dirty="0"/>
              <a:t> </a:t>
            </a:r>
            <a:r>
              <a:rPr lang="pt-PT" dirty="0" err="1"/>
              <a:t>imperdiet</a:t>
            </a:r>
            <a:r>
              <a:rPr lang="pt-PT" dirty="0"/>
              <a:t> </a:t>
            </a:r>
            <a:r>
              <a:rPr lang="pt-PT" dirty="0" err="1"/>
              <a:t>enim</a:t>
            </a:r>
            <a:r>
              <a:rPr lang="pt-PT" dirty="0"/>
              <a:t>. </a:t>
            </a:r>
            <a:r>
              <a:rPr lang="pt-PT" dirty="0" err="1"/>
              <a:t>Fusce</a:t>
            </a:r>
            <a:r>
              <a:rPr lang="pt-PT" dirty="0"/>
              <a:t> est. </a:t>
            </a:r>
            <a:r>
              <a:rPr lang="pt-PT" dirty="0" err="1"/>
              <a:t>Vivamus</a:t>
            </a:r>
            <a:r>
              <a:rPr lang="pt-PT" dirty="0"/>
              <a:t> a </a:t>
            </a:r>
            <a:r>
              <a:rPr lang="pt-PT" dirty="0" err="1"/>
              <a:t>tellus</a:t>
            </a:r>
            <a:r>
              <a:rPr lang="pt-PT" dirty="0"/>
              <a:t>.</a:t>
            </a:r>
          </a:p>
          <a:p>
            <a:r>
              <a:rPr lang="pt-PT" dirty="0" err="1"/>
              <a:t>Pellentesque</a:t>
            </a:r>
            <a:r>
              <a:rPr lang="pt-PT" dirty="0"/>
              <a:t> </a:t>
            </a:r>
            <a:r>
              <a:rPr lang="pt-PT" dirty="0" err="1"/>
              <a:t>habitant</a:t>
            </a:r>
            <a:r>
              <a:rPr lang="pt-PT" dirty="0"/>
              <a:t> </a:t>
            </a:r>
            <a:r>
              <a:rPr lang="pt-PT" dirty="0" err="1"/>
              <a:t>morbi</a:t>
            </a:r>
            <a:r>
              <a:rPr lang="pt-PT" dirty="0"/>
              <a:t> </a:t>
            </a:r>
            <a:r>
              <a:rPr lang="pt-PT" dirty="0" err="1"/>
              <a:t>tristique</a:t>
            </a:r>
            <a:r>
              <a:rPr lang="pt-PT" dirty="0"/>
              <a:t> </a:t>
            </a:r>
            <a:r>
              <a:rPr lang="pt-PT" dirty="0" err="1"/>
              <a:t>senectus</a:t>
            </a:r>
            <a:r>
              <a:rPr lang="pt-PT" dirty="0"/>
              <a:t> </a:t>
            </a:r>
            <a:r>
              <a:rPr lang="pt-PT" dirty="0" err="1"/>
              <a:t>et</a:t>
            </a:r>
            <a:r>
              <a:rPr lang="pt-PT" dirty="0"/>
              <a:t> </a:t>
            </a:r>
            <a:r>
              <a:rPr lang="pt-PT" dirty="0" err="1"/>
              <a:t>netus</a:t>
            </a:r>
            <a:r>
              <a:rPr lang="pt-PT" dirty="0"/>
              <a:t> </a:t>
            </a:r>
            <a:r>
              <a:rPr lang="pt-PT" dirty="0" err="1"/>
              <a:t>et</a:t>
            </a:r>
            <a:r>
              <a:rPr lang="pt-PT" dirty="0"/>
              <a:t> </a:t>
            </a:r>
            <a:r>
              <a:rPr lang="pt-PT" dirty="0" err="1"/>
              <a:t>malesuada</a:t>
            </a:r>
            <a:r>
              <a:rPr lang="pt-PT" dirty="0"/>
              <a:t> </a:t>
            </a:r>
            <a:r>
              <a:rPr lang="pt-PT" dirty="0" err="1"/>
              <a:t>fames</a:t>
            </a:r>
            <a:r>
              <a:rPr lang="pt-PT" dirty="0"/>
              <a:t> </a:t>
            </a:r>
            <a:r>
              <a:rPr lang="pt-PT" dirty="0" err="1"/>
              <a:t>ac</a:t>
            </a:r>
            <a:r>
              <a:rPr lang="pt-PT" dirty="0"/>
              <a:t> </a:t>
            </a:r>
            <a:r>
              <a:rPr lang="pt-PT" dirty="0" err="1"/>
              <a:t>turpis</a:t>
            </a:r>
            <a:r>
              <a:rPr lang="pt-PT" dirty="0"/>
              <a:t> egestas. </a:t>
            </a:r>
            <a:r>
              <a:rPr lang="pt-PT" dirty="0" err="1"/>
              <a:t>Proin</a:t>
            </a:r>
            <a:r>
              <a:rPr lang="pt-PT" dirty="0"/>
              <a:t> </a:t>
            </a:r>
            <a:r>
              <a:rPr lang="pt-PT" dirty="0" err="1"/>
              <a:t>pharetra</a:t>
            </a:r>
            <a:r>
              <a:rPr lang="pt-PT" dirty="0"/>
              <a:t> </a:t>
            </a:r>
            <a:r>
              <a:rPr lang="pt-PT" dirty="0" err="1"/>
              <a:t>nonummy</a:t>
            </a:r>
            <a:r>
              <a:rPr lang="pt-PT" dirty="0"/>
              <a:t> pede. </a:t>
            </a:r>
            <a:r>
              <a:rPr lang="pt-PT" dirty="0" err="1"/>
              <a:t>Mauris</a:t>
            </a:r>
            <a:r>
              <a:rPr lang="pt-PT" dirty="0"/>
              <a:t> </a:t>
            </a:r>
            <a:r>
              <a:rPr lang="pt-PT" dirty="0" err="1"/>
              <a:t>et</a:t>
            </a:r>
            <a:r>
              <a:rPr lang="pt-PT" dirty="0"/>
              <a:t> </a:t>
            </a:r>
            <a:r>
              <a:rPr lang="pt-PT" dirty="0" err="1"/>
              <a:t>orci</a:t>
            </a:r>
            <a:r>
              <a:rPr lang="pt-PT" dirty="0"/>
              <a:t>. </a:t>
            </a:r>
            <a:r>
              <a:rPr lang="pt-PT" dirty="0" err="1"/>
              <a:t>Lorem</a:t>
            </a:r>
            <a:r>
              <a:rPr lang="pt-PT" dirty="0"/>
              <a:t> </a:t>
            </a:r>
            <a:r>
              <a:rPr lang="pt-PT" dirty="0" err="1"/>
              <a:t>ipsum</a:t>
            </a:r>
            <a:r>
              <a:rPr lang="pt-PT" dirty="0"/>
              <a:t> </a:t>
            </a:r>
            <a:r>
              <a:rPr lang="pt-PT" dirty="0" err="1"/>
              <a:t>dolor</a:t>
            </a:r>
            <a:r>
              <a:rPr lang="pt-PT" dirty="0"/>
              <a:t>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r>
              <a:rPr lang="pt-PT" dirty="0"/>
              <a:t>, </a:t>
            </a:r>
            <a:r>
              <a:rPr lang="pt-PT" dirty="0" err="1"/>
              <a:t>consectetuer</a:t>
            </a:r>
            <a:r>
              <a:rPr lang="pt-PT" dirty="0"/>
              <a:t> </a:t>
            </a:r>
            <a:r>
              <a:rPr lang="pt-PT" dirty="0" err="1"/>
              <a:t>adipiscing</a:t>
            </a:r>
            <a:r>
              <a:rPr lang="pt-PT" dirty="0"/>
              <a:t> </a:t>
            </a:r>
            <a:r>
              <a:rPr lang="pt-PT" dirty="0" err="1"/>
              <a:t>elit</a:t>
            </a:r>
            <a:r>
              <a:rPr lang="pt-PT" dirty="0"/>
              <a:t>.</a:t>
            </a:r>
          </a:p>
        </p:txBody>
      </p:sp>
      <p:pic>
        <p:nvPicPr>
          <p:cNvPr id="22" name="Marcador de Posição da Imagem 21" descr="Uma imagem com nuvem, céu, edifício, ar livre&#10;&#10;Os conteúdos gerados por IA podem estar incorretos.">
            <a:extLst>
              <a:ext uri="{FF2B5EF4-FFF2-40B4-BE49-F238E27FC236}">
                <a16:creationId xmlns:a16="http://schemas.microsoft.com/office/drawing/2014/main" id="{90E10585-47CB-D6D0-C4D8-4963DF4314E9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/>
      </p:pic>
      <p:pic>
        <p:nvPicPr>
          <p:cNvPr id="28" name="Marcador de Posição da Imagem 27" descr="Uma imagem com vestuário, computador, pessoa, interior&#10;&#10;Os conteúdos gerados por IA podem estar incorretos.">
            <a:extLst>
              <a:ext uri="{FF2B5EF4-FFF2-40B4-BE49-F238E27FC236}">
                <a16:creationId xmlns:a16="http://schemas.microsoft.com/office/drawing/2014/main" id="{3E44E43D-670D-C8A4-E158-726653DC8D70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>
          <a:blip r:embed="rId3"/>
          <a:srcRect t="13922" b="13922"/>
          <a:stretch>
            <a:fillRect/>
          </a:stretch>
        </p:blipFill>
        <p:spPr/>
      </p:pic>
      <p:sp>
        <p:nvSpPr>
          <p:cNvPr id="2" name="Marcador de pie de página 1">
            <a:extLst>
              <a:ext uri="{FF2B5EF4-FFF2-40B4-BE49-F238E27FC236}">
                <a16:creationId xmlns:a16="http://schemas.microsoft.com/office/drawing/2014/main" id="{BBDC51D6-5359-4370-88D5-8C0A8AC629A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pt-PT"/>
              <a:t>Título de la presentación</a:t>
            </a:r>
            <a:endParaRPr lang="pt-PT" dirty="0"/>
          </a:p>
        </p:txBody>
      </p:sp>
      <p:sp>
        <p:nvSpPr>
          <p:cNvPr id="3" name="Marcador de número de diapositiva 2">
            <a:extLst>
              <a:ext uri="{FF2B5EF4-FFF2-40B4-BE49-F238E27FC236}">
                <a16:creationId xmlns:a16="http://schemas.microsoft.com/office/drawing/2014/main" id="{95BA5062-25FA-45E0-83FE-701C8579C26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4A347C2-D68E-473A-8C76-1D063E4EB6E0}" type="slidenum">
              <a:rPr lang="es-ES" smtClean="0"/>
              <a:pPr/>
              <a:t>16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9028106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Marcador de Posição do Texto 13">
            <a:extLst>
              <a:ext uri="{FF2B5EF4-FFF2-40B4-BE49-F238E27FC236}">
                <a16:creationId xmlns:a16="http://schemas.microsoft.com/office/drawing/2014/main" id="{4FAE70CE-130E-7E98-8287-95CA4979C2E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pt-PT" dirty="0"/>
              <a:t>EJemplo de título de tabla</a:t>
            </a:r>
          </a:p>
        </p:txBody>
      </p:sp>
      <p:sp>
        <p:nvSpPr>
          <p:cNvPr id="12" name="Título 11">
            <a:extLst>
              <a:ext uri="{FF2B5EF4-FFF2-40B4-BE49-F238E27FC236}">
                <a16:creationId xmlns:a16="http://schemas.microsoft.com/office/drawing/2014/main" id="{97BC7D25-C808-BC7A-5ACF-1C461B10A3E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3184" y="550508"/>
            <a:ext cx="11165632" cy="712204"/>
          </a:xfrm>
        </p:spPr>
        <p:txBody>
          <a:bodyPr/>
          <a:lstStyle/>
          <a:p>
            <a:r>
              <a:rPr lang="pt-PT" dirty="0"/>
              <a:t>Ejemplo de título de slide</a:t>
            </a:r>
          </a:p>
        </p:txBody>
      </p:sp>
      <p:sp>
        <p:nvSpPr>
          <p:cNvPr id="13" name="Marcador de Posição do Texto 12">
            <a:extLst>
              <a:ext uri="{FF2B5EF4-FFF2-40B4-BE49-F238E27FC236}">
                <a16:creationId xmlns:a16="http://schemas.microsoft.com/office/drawing/2014/main" id="{9DC6B438-AC36-EA92-0689-4D4E5CAAADC5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512763" y="1156317"/>
            <a:ext cx="11166475" cy="355243"/>
          </a:xfrm>
        </p:spPr>
        <p:txBody>
          <a:bodyPr>
            <a:normAutofit/>
          </a:bodyPr>
          <a:lstStyle/>
          <a:p>
            <a:r>
              <a:rPr lang="pt-PT" dirty="0"/>
              <a:t>Ejemplo de subtítulo de slide</a:t>
            </a:r>
          </a:p>
        </p:txBody>
      </p:sp>
      <p:graphicFrame>
        <p:nvGraphicFramePr>
          <p:cNvPr id="16" name="Marcador de Posição da Tabela 15">
            <a:extLst>
              <a:ext uri="{FF2B5EF4-FFF2-40B4-BE49-F238E27FC236}">
                <a16:creationId xmlns:a16="http://schemas.microsoft.com/office/drawing/2014/main" id="{60D3F231-8E61-4DB5-00DB-BB59A9573873}"/>
              </a:ext>
            </a:extLst>
          </p:cNvPr>
          <p:cNvGraphicFramePr>
            <a:graphicFrameLocks noGrp="1"/>
          </p:cNvGraphicFramePr>
          <p:nvPr>
            <p:ph type="tbl" sz="quarter" idx="12"/>
            <p:extLst>
              <p:ext uri="{D42A27DB-BD31-4B8C-83A1-F6EECF244321}">
                <p14:modId xmlns:p14="http://schemas.microsoft.com/office/powerpoint/2010/main" val="2920966782"/>
              </p:ext>
            </p:extLst>
          </p:nvPr>
        </p:nvGraphicFramePr>
        <p:xfrm>
          <a:off x="752475" y="2305050"/>
          <a:ext cx="10725144" cy="3708400"/>
        </p:xfrm>
        <a:graphic>
          <a:graphicData uri="http://schemas.openxmlformats.org/drawingml/2006/table">
            <a:tbl>
              <a:tblPr firstRow="1" bandRow="1">
                <a:tableStyleId>{D27102A9-8310-4765-A935-A1911B00CA55}</a:tableStyleId>
              </a:tblPr>
              <a:tblGrid>
                <a:gridCol w="1340643">
                  <a:extLst>
                    <a:ext uri="{9D8B030D-6E8A-4147-A177-3AD203B41FA5}">
                      <a16:colId xmlns:a16="http://schemas.microsoft.com/office/drawing/2014/main" val="1284356485"/>
                    </a:ext>
                  </a:extLst>
                </a:gridCol>
                <a:gridCol w="1340643">
                  <a:extLst>
                    <a:ext uri="{9D8B030D-6E8A-4147-A177-3AD203B41FA5}">
                      <a16:colId xmlns:a16="http://schemas.microsoft.com/office/drawing/2014/main" val="233576607"/>
                    </a:ext>
                  </a:extLst>
                </a:gridCol>
                <a:gridCol w="1340643">
                  <a:extLst>
                    <a:ext uri="{9D8B030D-6E8A-4147-A177-3AD203B41FA5}">
                      <a16:colId xmlns:a16="http://schemas.microsoft.com/office/drawing/2014/main" val="2190844464"/>
                    </a:ext>
                  </a:extLst>
                </a:gridCol>
                <a:gridCol w="1340643">
                  <a:extLst>
                    <a:ext uri="{9D8B030D-6E8A-4147-A177-3AD203B41FA5}">
                      <a16:colId xmlns:a16="http://schemas.microsoft.com/office/drawing/2014/main" val="1665789671"/>
                    </a:ext>
                  </a:extLst>
                </a:gridCol>
                <a:gridCol w="1340643">
                  <a:extLst>
                    <a:ext uri="{9D8B030D-6E8A-4147-A177-3AD203B41FA5}">
                      <a16:colId xmlns:a16="http://schemas.microsoft.com/office/drawing/2014/main" val="2643899361"/>
                    </a:ext>
                  </a:extLst>
                </a:gridCol>
                <a:gridCol w="1340643">
                  <a:extLst>
                    <a:ext uri="{9D8B030D-6E8A-4147-A177-3AD203B41FA5}">
                      <a16:colId xmlns:a16="http://schemas.microsoft.com/office/drawing/2014/main" val="3946758124"/>
                    </a:ext>
                  </a:extLst>
                </a:gridCol>
                <a:gridCol w="1340643">
                  <a:extLst>
                    <a:ext uri="{9D8B030D-6E8A-4147-A177-3AD203B41FA5}">
                      <a16:colId xmlns:a16="http://schemas.microsoft.com/office/drawing/2014/main" val="1298056530"/>
                    </a:ext>
                  </a:extLst>
                </a:gridCol>
                <a:gridCol w="1340643">
                  <a:extLst>
                    <a:ext uri="{9D8B030D-6E8A-4147-A177-3AD203B41FA5}">
                      <a16:colId xmlns:a16="http://schemas.microsoft.com/office/drawing/2014/main" val="3772131744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pt-PT" sz="1100" b="1" dirty="0" err="1">
                          <a:solidFill>
                            <a:schemeClr val="tx2"/>
                          </a:solidFill>
                          <a:latin typeface="ALTIA Eddi" panose="020B0000000000020000" pitchFamily="34" charset="0"/>
                          <a:ea typeface="ALTIA Eddi" panose="020B0000000000020000" pitchFamily="34" charset="0"/>
                          <a:cs typeface="ALTIA Eddi" panose="020B0000000000020000" pitchFamily="34" charset="0"/>
                        </a:rPr>
                        <a:t>Lorem</a:t>
                      </a:r>
                      <a:r>
                        <a:rPr lang="pt-PT" sz="1100" b="1" dirty="0">
                          <a:solidFill>
                            <a:schemeClr val="tx2"/>
                          </a:solidFill>
                          <a:latin typeface="ALTIA Eddi" panose="020B0000000000020000" pitchFamily="34" charset="0"/>
                          <a:ea typeface="ALTIA Eddi" panose="020B0000000000020000" pitchFamily="34" charset="0"/>
                          <a:cs typeface="ALTIA Eddi" panose="020B0000000000020000" pitchFamily="34" charset="0"/>
                        </a:rPr>
                        <a:t> </a:t>
                      </a:r>
                      <a:r>
                        <a:rPr lang="pt-PT" sz="1100" b="1" dirty="0" err="1">
                          <a:solidFill>
                            <a:schemeClr val="tx2"/>
                          </a:solidFill>
                          <a:latin typeface="ALTIA Eddi" panose="020B0000000000020000" pitchFamily="34" charset="0"/>
                          <a:ea typeface="ALTIA Eddi" panose="020B0000000000020000" pitchFamily="34" charset="0"/>
                          <a:cs typeface="ALTIA Eddi" panose="020B0000000000020000" pitchFamily="34" charset="0"/>
                        </a:rPr>
                        <a:t>Ipsum</a:t>
                      </a:r>
                      <a:endParaRPr lang="pt-PT" sz="1100" b="1" dirty="0">
                        <a:solidFill>
                          <a:schemeClr val="tx2"/>
                        </a:solidFill>
                        <a:latin typeface="ALTIA Eddi" panose="020B0000000000020000" pitchFamily="34" charset="0"/>
                        <a:ea typeface="ALTIA Eddi" panose="020B0000000000020000" pitchFamily="34" charset="0"/>
                        <a:cs typeface="ALTIA Eddi" panose="020B0000000000020000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1100" b="1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" panose="020B0000000000020000" pitchFamily="34" charset="0"/>
                          <a:ea typeface="ALTIA Eddi" panose="020B0000000000020000" pitchFamily="34" charset="0"/>
                          <a:cs typeface="ALTIA Eddi" panose="020B0000000000020000" pitchFamily="34" charset="0"/>
                        </a:rPr>
                        <a:t>Lorem</a:t>
                      </a:r>
                      <a:r>
                        <a:rPr kumimoji="0" lang="pt-PT" sz="11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" panose="020B0000000000020000" pitchFamily="34" charset="0"/>
                          <a:ea typeface="ALTIA Eddi" panose="020B0000000000020000" pitchFamily="34" charset="0"/>
                          <a:cs typeface="ALTIA Eddi" panose="020B0000000000020000" pitchFamily="34" charset="0"/>
                        </a:rPr>
                        <a:t> </a:t>
                      </a:r>
                      <a:r>
                        <a:rPr kumimoji="0" lang="pt-PT" sz="1100" b="1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" panose="020B0000000000020000" pitchFamily="34" charset="0"/>
                          <a:ea typeface="ALTIA Eddi" panose="020B0000000000020000" pitchFamily="34" charset="0"/>
                          <a:cs typeface="ALTIA Eddi" panose="020B0000000000020000" pitchFamily="34" charset="0"/>
                        </a:rPr>
                        <a:t>Ipsum</a:t>
                      </a:r>
                      <a:endParaRPr kumimoji="0" lang="pt-PT" sz="11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ALTIA Eddi" panose="020B0000000000020000" pitchFamily="34" charset="0"/>
                        <a:ea typeface="ALTIA Eddi" panose="020B0000000000020000" pitchFamily="34" charset="0"/>
                        <a:cs typeface="ALTIA Eddi" panose="020B0000000000020000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1100" b="1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" panose="020B0000000000020000" pitchFamily="34" charset="0"/>
                          <a:ea typeface="ALTIA Eddi" panose="020B0000000000020000" pitchFamily="34" charset="0"/>
                          <a:cs typeface="ALTIA Eddi" panose="020B0000000000020000" pitchFamily="34" charset="0"/>
                        </a:rPr>
                        <a:t>Lorem</a:t>
                      </a:r>
                      <a:r>
                        <a:rPr kumimoji="0" lang="pt-PT" sz="11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" panose="020B0000000000020000" pitchFamily="34" charset="0"/>
                          <a:ea typeface="ALTIA Eddi" panose="020B0000000000020000" pitchFamily="34" charset="0"/>
                          <a:cs typeface="ALTIA Eddi" panose="020B0000000000020000" pitchFamily="34" charset="0"/>
                        </a:rPr>
                        <a:t> </a:t>
                      </a:r>
                      <a:r>
                        <a:rPr kumimoji="0" lang="pt-PT" sz="1100" b="1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" panose="020B0000000000020000" pitchFamily="34" charset="0"/>
                          <a:ea typeface="ALTIA Eddi" panose="020B0000000000020000" pitchFamily="34" charset="0"/>
                          <a:cs typeface="ALTIA Eddi" panose="020B0000000000020000" pitchFamily="34" charset="0"/>
                        </a:rPr>
                        <a:t>Ipsum</a:t>
                      </a:r>
                      <a:endParaRPr kumimoji="0" lang="pt-PT" sz="11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ALTIA Eddi" panose="020B0000000000020000" pitchFamily="34" charset="0"/>
                        <a:ea typeface="ALTIA Eddi" panose="020B0000000000020000" pitchFamily="34" charset="0"/>
                        <a:cs typeface="ALTIA Eddi" panose="020B0000000000020000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11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" panose="020B0000000000020000" pitchFamily="34" charset="0"/>
                          <a:ea typeface="ALTIA Eddi" panose="020B0000000000020000" pitchFamily="34" charset="0"/>
                          <a:cs typeface="ALTIA Eddi" panose="020B0000000000020000" pitchFamily="34" charset="0"/>
                        </a:rPr>
                        <a:t>Lorem Ipsum</a:t>
                      </a:r>
                      <a:endParaRPr kumimoji="0" lang="pt-PT" sz="11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ALTIA Eddi" panose="020B0000000000020000" pitchFamily="34" charset="0"/>
                        <a:ea typeface="ALTIA Eddi" panose="020B0000000000020000" pitchFamily="34" charset="0"/>
                        <a:cs typeface="ALTIA Eddi" panose="020B0000000000020000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1100" b="1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" panose="020B0000000000020000" pitchFamily="34" charset="0"/>
                          <a:ea typeface="ALTIA Eddi" panose="020B0000000000020000" pitchFamily="34" charset="0"/>
                          <a:cs typeface="ALTIA Eddi" panose="020B0000000000020000" pitchFamily="34" charset="0"/>
                        </a:rPr>
                        <a:t>Lorem</a:t>
                      </a:r>
                      <a:r>
                        <a:rPr kumimoji="0" lang="pt-PT" sz="11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" panose="020B0000000000020000" pitchFamily="34" charset="0"/>
                          <a:ea typeface="ALTIA Eddi" panose="020B0000000000020000" pitchFamily="34" charset="0"/>
                          <a:cs typeface="ALTIA Eddi" panose="020B0000000000020000" pitchFamily="34" charset="0"/>
                        </a:rPr>
                        <a:t> </a:t>
                      </a:r>
                      <a:r>
                        <a:rPr kumimoji="0" lang="pt-PT" sz="1100" b="1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" panose="020B0000000000020000" pitchFamily="34" charset="0"/>
                          <a:ea typeface="ALTIA Eddi" panose="020B0000000000020000" pitchFamily="34" charset="0"/>
                          <a:cs typeface="ALTIA Eddi" panose="020B0000000000020000" pitchFamily="34" charset="0"/>
                        </a:rPr>
                        <a:t>Ipsum</a:t>
                      </a:r>
                      <a:endParaRPr kumimoji="0" lang="pt-PT" sz="11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ALTIA Eddi" panose="020B0000000000020000" pitchFamily="34" charset="0"/>
                        <a:ea typeface="ALTIA Eddi" panose="020B0000000000020000" pitchFamily="34" charset="0"/>
                        <a:cs typeface="ALTIA Eddi" panose="020B0000000000020000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1100" b="1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" panose="020B0000000000020000" pitchFamily="34" charset="0"/>
                          <a:ea typeface="ALTIA Eddi" panose="020B0000000000020000" pitchFamily="34" charset="0"/>
                          <a:cs typeface="ALTIA Eddi" panose="020B0000000000020000" pitchFamily="34" charset="0"/>
                        </a:rPr>
                        <a:t>Lorem</a:t>
                      </a:r>
                      <a:r>
                        <a:rPr kumimoji="0" lang="pt-PT" sz="11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" panose="020B0000000000020000" pitchFamily="34" charset="0"/>
                          <a:ea typeface="ALTIA Eddi" panose="020B0000000000020000" pitchFamily="34" charset="0"/>
                          <a:cs typeface="ALTIA Eddi" panose="020B0000000000020000" pitchFamily="34" charset="0"/>
                        </a:rPr>
                        <a:t> </a:t>
                      </a:r>
                      <a:r>
                        <a:rPr kumimoji="0" lang="pt-PT" sz="1100" b="1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" panose="020B0000000000020000" pitchFamily="34" charset="0"/>
                          <a:ea typeface="ALTIA Eddi" panose="020B0000000000020000" pitchFamily="34" charset="0"/>
                          <a:cs typeface="ALTIA Eddi" panose="020B0000000000020000" pitchFamily="34" charset="0"/>
                        </a:rPr>
                        <a:t>Ipsum</a:t>
                      </a:r>
                      <a:endParaRPr kumimoji="0" lang="pt-PT" sz="11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ALTIA Eddi" panose="020B0000000000020000" pitchFamily="34" charset="0"/>
                        <a:ea typeface="ALTIA Eddi" panose="020B0000000000020000" pitchFamily="34" charset="0"/>
                        <a:cs typeface="ALTIA Eddi" panose="020B0000000000020000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1100" b="1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" panose="020B0000000000020000" pitchFamily="34" charset="0"/>
                          <a:ea typeface="ALTIA Eddi" panose="020B0000000000020000" pitchFamily="34" charset="0"/>
                          <a:cs typeface="ALTIA Eddi" panose="020B0000000000020000" pitchFamily="34" charset="0"/>
                        </a:rPr>
                        <a:t>Lorem</a:t>
                      </a:r>
                      <a:r>
                        <a:rPr kumimoji="0" lang="pt-PT" sz="11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" panose="020B0000000000020000" pitchFamily="34" charset="0"/>
                          <a:ea typeface="ALTIA Eddi" panose="020B0000000000020000" pitchFamily="34" charset="0"/>
                          <a:cs typeface="ALTIA Eddi" panose="020B0000000000020000" pitchFamily="34" charset="0"/>
                        </a:rPr>
                        <a:t> </a:t>
                      </a:r>
                      <a:r>
                        <a:rPr kumimoji="0" lang="pt-PT" sz="1100" b="1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" panose="020B0000000000020000" pitchFamily="34" charset="0"/>
                          <a:ea typeface="ALTIA Eddi" panose="020B0000000000020000" pitchFamily="34" charset="0"/>
                          <a:cs typeface="ALTIA Eddi" panose="020B0000000000020000" pitchFamily="34" charset="0"/>
                        </a:rPr>
                        <a:t>Ipsum</a:t>
                      </a:r>
                      <a:endParaRPr kumimoji="0" lang="pt-PT" sz="11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ALTIA Eddi" panose="020B0000000000020000" pitchFamily="34" charset="0"/>
                        <a:ea typeface="ALTIA Eddi" panose="020B0000000000020000" pitchFamily="34" charset="0"/>
                        <a:cs typeface="ALTIA Eddi" panose="020B0000000000020000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1100" b="1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" panose="020B0000000000020000" pitchFamily="34" charset="0"/>
                          <a:ea typeface="ALTIA Eddi" panose="020B0000000000020000" pitchFamily="34" charset="0"/>
                          <a:cs typeface="ALTIA Eddi" panose="020B0000000000020000" pitchFamily="34" charset="0"/>
                        </a:rPr>
                        <a:t>Lorem</a:t>
                      </a:r>
                      <a:r>
                        <a:rPr kumimoji="0" lang="pt-PT" sz="11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" panose="020B0000000000020000" pitchFamily="34" charset="0"/>
                          <a:ea typeface="ALTIA Eddi" panose="020B0000000000020000" pitchFamily="34" charset="0"/>
                          <a:cs typeface="ALTIA Eddi" panose="020B0000000000020000" pitchFamily="34" charset="0"/>
                        </a:rPr>
                        <a:t> </a:t>
                      </a:r>
                      <a:r>
                        <a:rPr kumimoji="0" lang="pt-PT" sz="1100" b="1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" panose="020B0000000000020000" pitchFamily="34" charset="0"/>
                          <a:ea typeface="ALTIA Eddi" panose="020B0000000000020000" pitchFamily="34" charset="0"/>
                          <a:cs typeface="ALTIA Eddi" panose="020B0000000000020000" pitchFamily="34" charset="0"/>
                        </a:rPr>
                        <a:t>Ipsum</a:t>
                      </a:r>
                      <a:endParaRPr kumimoji="0" lang="pt-PT" sz="11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ALTIA Eddi" panose="020B0000000000020000" pitchFamily="34" charset="0"/>
                        <a:ea typeface="ALTIA Eddi" panose="020B0000000000020000" pitchFamily="34" charset="0"/>
                        <a:cs typeface="ALTIA Eddi" panose="020B0000000000020000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20922042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1100" b="1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" panose="020B0000000000020000" pitchFamily="34" charset="0"/>
                          <a:ea typeface="ALTIA Eddi" panose="020B0000000000020000" pitchFamily="34" charset="0"/>
                          <a:cs typeface="ALTIA Eddi" panose="020B0000000000020000" pitchFamily="34" charset="0"/>
                        </a:rPr>
                        <a:t>Lorem</a:t>
                      </a:r>
                      <a:r>
                        <a:rPr kumimoji="0" lang="pt-PT" sz="11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" panose="020B0000000000020000" pitchFamily="34" charset="0"/>
                          <a:ea typeface="ALTIA Eddi" panose="020B0000000000020000" pitchFamily="34" charset="0"/>
                          <a:cs typeface="ALTIA Eddi" panose="020B0000000000020000" pitchFamily="34" charset="0"/>
                        </a:rPr>
                        <a:t> </a:t>
                      </a:r>
                      <a:r>
                        <a:rPr kumimoji="0" lang="pt-PT" sz="1100" b="1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" panose="020B0000000000020000" pitchFamily="34" charset="0"/>
                          <a:ea typeface="ALTIA Eddi" panose="020B0000000000020000" pitchFamily="34" charset="0"/>
                          <a:cs typeface="ALTIA Eddi" panose="020B0000000000020000" pitchFamily="34" charset="0"/>
                        </a:rPr>
                        <a:t>Ipsum</a:t>
                      </a:r>
                      <a:endParaRPr kumimoji="0" lang="pt-PT" sz="11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ALTIA Eddi" panose="020B0000000000020000" pitchFamily="34" charset="0"/>
                        <a:ea typeface="ALTIA Eddi" panose="020B0000000000020000" pitchFamily="34" charset="0"/>
                        <a:cs typeface="ALTIA Eddi" panose="020B0000000000020000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PT" sz="1100" dirty="0">
                          <a:solidFill>
                            <a:schemeClr val="tx2"/>
                          </a:solidFill>
                        </a:rPr>
                        <a:t>X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 Light"/>
                          <a:ea typeface="+mn-ea"/>
                          <a:cs typeface="+mn-cs"/>
                        </a:rPr>
                        <a:t>X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 Light"/>
                          <a:ea typeface="+mn-ea"/>
                          <a:cs typeface="+mn-cs"/>
                        </a:rPr>
                        <a:t>X</a:t>
                      </a:r>
                      <a:endParaRPr kumimoji="0" lang="pt-PT" sz="11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ALTIA Eddi Ligh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 Light"/>
                          <a:ea typeface="+mn-ea"/>
                          <a:cs typeface="+mn-cs"/>
                        </a:rPr>
                        <a:t>X</a:t>
                      </a:r>
                      <a:endParaRPr kumimoji="0" lang="pt-PT" sz="11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ALTIA Eddi Ligh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 Light"/>
                          <a:ea typeface="+mn-ea"/>
                          <a:cs typeface="+mn-cs"/>
                        </a:rPr>
                        <a:t>X</a:t>
                      </a:r>
                      <a:endParaRPr kumimoji="0" lang="pt-PT" sz="11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ALTIA Eddi Ligh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 Light"/>
                          <a:ea typeface="+mn-ea"/>
                          <a:cs typeface="+mn-cs"/>
                        </a:rPr>
                        <a:t>X</a:t>
                      </a:r>
                      <a:endParaRPr kumimoji="0" lang="pt-PT" sz="11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ALTIA Eddi Ligh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 Light"/>
                          <a:ea typeface="+mn-ea"/>
                          <a:cs typeface="+mn-cs"/>
                        </a:rPr>
                        <a:t>X</a:t>
                      </a:r>
                      <a:endParaRPr kumimoji="0" lang="pt-PT" sz="11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ALTIA Eddi Ligh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67358696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1100" b="1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" panose="020B0000000000020000" pitchFamily="34" charset="0"/>
                          <a:ea typeface="ALTIA Eddi" panose="020B0000000000020000" pitchFamily="34" charset="0"/>
                          <a:cs typeface="ALTIA Eddi" panose="020B0000000000020000" pitchFamily="34" charset="0"/>
                        </a:rPr>
                        <a:t>Lorem</a:t>
                      </a:r>
                      <a:r>
                        <a:rPr kumimoji="0" lang="pt-PT" sz="11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" panose="020B0000000000020000" pitchFamily="34" charset="0"/>
                          <a:ea typeface="ALTIA Eddi" panose="020B0000000000020000" pitchFamily="34" charset="0"/>
                          <a:cs typeface="ALTIA Eddi" panose="020B0000000000020000" pitchFamily="34" charset="0"/>
                        </a:rPr>
                        <a:t> </a:t>
                      </a:r>
                      <a:r>
                        <a:rPr kumimoji="0" lang="pt-PT" sz="1100" b="1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" panose="020B0000000000020000" pitchFamily="34" charset="0"/>
                          <a:ea typeface="ALTIA Eddi" panose="020B0000000000020000" pitchFamily="34" charset="0"/>
                          <a:cs typeface="ALTIA Eddi" panose="020B0000000000020000" pitchFamily="34" charset="0"/>
                        </a:rPr>
                        <a:t>Ipsum</a:t>
                      </a:r>
                      <a:endParaRPr kumimoji="0" lang="pt-PT" sz="11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ALTIA Eddi" panose="020B0000000000020000" pitchFamily="34" charset="0"/>
                        <a:ea typeface="ALTIA Eddi" panose="020B0000000000020000" pitchFamily="34" charset="0"/>
                        <a:cs typeface="ALTIA Eddi" panose="020B0000000000020000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 Light"/>
                          <a:ea typeface="+mn-ea"/>
                          <a:cs typeface="+mn-cs"/>
                        </a:rPr>
                        <a:t>X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 Light"/>
                          <a:ea typeface="+mn-ea"/>
                          <a:cs typeface="+mn-cs"/>
                        </a:rPr>
                        <a:t>X</a:t>
                      </a:r>
                      <a:endParaRPr kumimoji="0" lang="pt-PT" sz="11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ALTIA Eddi Ligh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 Light"/>
                          <a:ea typeface="+mn-ea"/>
                          <a:cs typeface="+mn-cs"/>
                        </a:rPr>
                        <a:t>X</a:t>
                      </a:r>
                      <a:endParaRPr kumimoji="0" lang="pt-PT" sz="11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ALTIA Eddi Ligh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 Light"/>
                          <a:ea typeface="+mn-ea"/>
                          <a:cs typeface="+mn-cs"/>
                        </a:rPr>
                        <a:t>X</a:t>
                      </a:r>
                      <a:endParaRPr kumimoji="0" lang="pt-PT" sz="11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ALTIA Eddi Ligh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 Light"/>
                          <a:ea typeface="+mn-ea"/>
                          <a:cs typeface="+mn-cs"/>
                        </a:rPr>
                        <a:t>X</a:t>
                      </a:r>
                      <a:endParaRPr kumimoji="0" lang="pt-PT" sz="11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ALTIA Eddi Ligh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 Light"/>
                          <a:ea typeface="+mn-ea"/>
                          <a:cs typeface="+mn-cs"/>
                        </a:rPr>
                        <a:t>X</a:t>
                      </a:r>
                      <a:endParaRPr kumimoji="0" lang="pt-PT" sz="11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ALTIA Eddi Ligh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 Light"/>
                          <a:ea typeface="+mn-ea"/>
                          <a:cs typeface="+mn-cs"/>
                        </a:rPr>
                        <a:t>X</a:t>
                      </a:r>
                      <a:endParaRPr kumimoji="0" lang="pt-PT" sz="11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ALTIA Eddi Ligh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66820538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11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" panose="020B0000000000020000" pitchFamily="34" charset="0"/>
                          <a:ea typeface="ALTIA Eddi" panose="020B0000000000020000" pitchFamily="34" charset="0"/>
                          <a:cs typeface="ALTIA Eddi" panose="020B0000000000020000" pitchFamily="34" charset="0"/>
                        </a:rPr>
                        <a:t>Lorem Ipsum</a:t>
                      </a:r>
                      <a:endParaRPr kumimoji="0" lang="pt-PT" sz="11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ALTIA Eddi" panose="020B0000000000020000" pitchFamily="34" charset="0"/>
                        <a:ea typeface="ALTIA Eddi" panose="020B0000000000020000" pitchFamily="34" charset="0"/>
                        <a:cs typeface="ALTIA Eddi" panose="020B0000000000020000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 Light"/>
                          <a:ea typeface="+mn-ea"/>
                          <a:cs typeface="+mn-cs"/>
                        </a:rPr>
                        <a:t>X</a:t>
                      </a:r>
                      <a:endParaRPr kumimoji="0" lang="pt-PT" sz="11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ALTIA Eddi Ligh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 Light"/>
                          <a:ea typeface="+mn-ea"/>
                          <a:cs typeface="+mn-cs"/>
                        </a:rPr>
                        <a:t>X</a:t>
                      </a:r>
                      <a:endParaRPr kumimoji="0" lang="pt-PT" sz="11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ALTIA Eddi Ligh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 Light"/>
                          <a:ea typeface="+mn-ea"/>
                          <a:cs typeface="+mn-cs"/>
                        </a:rPr>
                        <a:t>X</a:t>
                      </a:r>
                      <a:endParaRPr kumimoji="0" lang="pt-PT" sz="11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ALTIA Eddi Ligh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 Light"/>
                          <a:ea typeface="+mn-ea"/>
                          <a:cs typeface="+mn-cs"/>
                        </a:rPr>
                        <a:t>X</a:t>
                      </a:r>
                      <a:endParaRPr kumimoji="0" lang="pt-PT" sz="11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ALTIA Eddi Ligh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 Light"/>
                          <a:ea typeface="+mn-ea"/>
                          <a:cs typeface="+mn-cs"/>
                        </a:rPr>
                        <a:t>X</a:t>
                      </a:r>
                      <a:endParaRPr kumimoji="0" lang="pt-PT" sz="11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ALTIA Eddi Ligh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 Light"/>
                          <a:ea typeface="+mn-ea"/>
                          <a:cs typeface="+mn-cs"/>
                        </a:rPr>
                        <a:t>X</a:t>
                      </a:r>
                      <a:endParaRPr kumimoji="0" lang="pt-PT" sz="11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ALTIA Eddi Ligh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 Light"/>
                          <a:ea typeface="+mn-ea"/>
                          <a:cs typeface="+mn-cs"/>
                        </a:rPr>
                        <a:t>X</a:t>
                      </a:r>
                      <a:endParaRPr kumimoji="0" lang="pt-PT" sz="11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ALTIA Eddi Ligh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77980485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1100" b="1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" panose="020B0000000000020000" pitchFamily="34" charset="0"/>
                          <a:ea typeface="ALTIA Eddi" panose="020B0000000000020000" pitchFamily="34" charset="0"/>
                          <a:cs typeface="ALTIA Eddi" panose="020B0000000000020000" pitchFamily="34" charset="0"/>
                        </a:rPr>
                        <a:t>Lorem</a:t>
                      </a:r>
                      <a:r>
                        <a:rPr kumimoji="0" lang="pt-PT" sz="11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" panose="020B0000000000020000" pitchFamily="34" charset="0"/>
                          <a:ea typeface="ALTIA Eddi" panose="020B0000000000020000" pitchFamily="34" charset="0"/>
                          <a:cs typeface="ALTIA Eddi" panose="020B0000000000020000" pitchFamily="34" charset="0"/>
                        </a:rPr>
                        <a:t> </a:t>
                      </a:r>
                      <a:r>
                        <a:rPr kumimoji="0" lang="pt-PT" sz="1100" b="1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" panose="020B0000000000020000" pitchFamily="34" charset="0"/>
                          <a:ea typeface="ALTIA Eddi" panose="020B0000000000020000" pitchFamily="34" charset="0"/>
                          <a:cs typeface="ALTIA Eddi" panose="020B0000000000020000" pitchFamily="34" charset="0"/>
                        </a:rPr>
                        <a:t>Ipsum</a:t>
                      </a:r>
                      <a:endParaRPr kumimoji="0" lang="pt-PT" sz="11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ALTIA Eddi" panose="020B0000000000020000" pitchFamily="34" charset="0"/>
                        <a:ea typeface="ALTIA Eddi" panose="020B0000000000020000" pitchFamily="34" charset="0"/>
                        <a:cs typeface="ALTIA Eddi" panose="020B0000000000020000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 Light"/>
                          <a:ea typeface="+mn-ea"/>
                          <a:cs typeface="+mn-cs"/>
                        </a:rPr>
                        <a:t>X</a:t>
                      </a:r>
                      <a:endParaRPr kumimoji="0" lang="pt-PT" sz="11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ALTIA Eddi Ligh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 Light"/>
                          <a:ea typeface="+mn-ea"/>
                          <a:cs typeface="+mn-cs"/>
                        </a:rPr>
                        <a:t>X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 Light"/>
                          <a:ea typeface="+mn-ea"/>
                          <a:cs typeface="+mn-cs"/>
                        </a:rPr>
                        <a:t>X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 Light"/>
                          <a:ea typeface="+mn-ea"/>
                          <a:cs typeface="+mn-cs"/>
                        </a:rPr>
                        <a:t>X</a:t>
                      </a:r>
                      <a:endParaRPr kumimoji="0" lang="pt-PT" sz="11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ALTIA Eddi Ligh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 Light"/>
                          <a:ea typeface="+mn-ea"/>
                          <a:cs typeface="+mn-cs"/>
                        </a:rPr>
                        <a:t>X</a:t>
                      </a:r>
                      <a:endParaRPr kumimoji="0" lang="pt-PT" sz="11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ALTIA Eddi Ligh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 Light"/>
                          <a:ea typeface="+mn-ea"/>
                          <a:cs typeface="+mn-cs"/>
                        </a:rPr>
                        <a:t>X</a:t>
                      </a:r>
                      <a:endParaRPr kumimoji="0" lang="pt-PT" sz="11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ALTIA Eddi Ligh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 Light"/>
                          <a:ea typeface="+mn-ea"/>
                          <a:cs typeface="+mn-cs"/>
                        </a:rPr>
                        <a:t>X</a:t>
                      </a:r>
                      <a:endParaRPr kumimoji="0" lang="pt-PT" sz="11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ALTIA Eddi Ligh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56914224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1100" b="1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" panose="020B0000000000020000" pitchFamily="34" charset="0"/>
                          <a:ea typeface="ALTIA Eddi" panose="020B0000000000020000" pitchFamily="34" charset="0"/>
                          <a:cs typeface="ALTIA Eddi" panose="020B0000000000020000" pitchFamily="34" charset="0"/>
                        </a:rPr>
                        <a:t>Lorem</a:t>
                      </a:r>
                      <a:r>
                        <a:rPr kumimoji="0" lang="pt-PT" sz="11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" panose="020B0000000000020000" pitchFamily="34" charset="0"/>
                          <a:ea typeface="ALTIA Eddi" panose="020B0000000000020000" pitchFamily="34" charset="0"/>
                          <a:cs typeface="ALTIA Eddi" panose="020B0000000000020000" pitchFamily="34" charset="0"/>
                        </a:rPr>
                        <a:t> </a:t>
                      </a:r>
                      <a:r>
                        <a:rPr kumimoji="0" lang="pt-PT" sz="1100" b="1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" panose="020B0000000000020000" pitchFamily="34" charset="0"/>
                          <a:ea typeface="ALTIA Eddi" panose="020B0000000000020000" pitchFamily="34" charset="0"/>
                          <a:cs typeface="ALTIA Eddi" panose="020B0000000000020000" pitchFamily="34" charset="0"/>
                        </a:rPr>
                        <a:t>Ipsum</a:t>
                      </a:r>
                      <a:endParaRPr kumimoji="0" lang="pt-PT" sz="11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ALTIA Eddi" panose="020B0000000000020000" pitchFamily="34" charset="0"/>
                        <a:ea typeface="ALTIA Eddi" panose="020B0000000000020000" pitchFamily="34" charset="0"/>
                        <a:cs typeface="ALTIA Eddi" panose="020B0000000000020000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 Light"/>
                          <a:ea typeface="+mn-ea"/>
                          <a:cs typeface="+mn-cs"/>
                        </a:rPr>
                        <a:t>X</a:t>
                      </a:r>
                      <a:endParaRPr kumimoji="0" lang="pt-PT" sz="11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ALTIA Eddi Ligh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 Light"/>
                          <a:ea typeface="+mn-ea"/>
                          <a:cs typeface="+mn-cs"/>
                        </a:rPr>
                        <a:t>X</a:t>
                      </a:r>
                      <a:endParaRPr kumimoji="0" lang="pt-PT" sz="11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ALTIA Eddi Ligh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 Light"/>
                          <a:ea typeface="+mn-ea"/>
                          <a:cs typeface="+mn-cs"/>
                        </a:rPr>
                        <a:t>X</a:t>
                      </a:r>
                      <a:endParaRPr kumimoji="0" lang="pt-PT" sz="11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ALTIA Eddi Ligh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 Light"/>
                          <a:ea typeface="+mn-ea"/>
                          <a:cs typeface="+mn-cs"/>
                        </a:rPr>
                        <a:t>X</a:t>
                      </a:r>
                      <a:endParaRPr kumimoji="0" lang="pt-PT" sz="11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ALTIA Eddi Ligh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 Light"/>
                          <a:ea typeface="+mn-ea"/>
                          <a:cs typeface="+mn-cs"/>
                        </a:rPr>
                        <a:t>X</a:t>
                      </a:r>
                      <a:endParaRPr kumimoji="0" lang="pt-PT" sz="11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ALTIA Eddi Ligh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 Light"/>
                          <a:ea typeface="+mn-ea"/>
                          <a:cs typeface="+mn-cs"/>
                        </a:rPr>
                        <a:t>X</a:t>
                      </a:r>
                      <a:endParaRPr kumimoji="0" lang="pt-PT" sz="11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ALTIA Eddi Ligh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 Light"/>
                          <a:ea typeface="+mn-ea"/>
                          <a:cs typeface="+mn-cs"/>
                        </a:rPr>
                        <a:t>X</a:t>
                      </a:r>
                      <a:endParaRPr kumimoji="0" lang="pt-PT" sz="11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ALTIA Eddi Ligh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24450808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1100" b="1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" panose="020B0000000000020000" pitchFamily="34" charset="0"/>
                          <a:ea typeface="ALTIA Eddi" panose="020B0000000000020000" pitchFamily="34" charset="0"/>
                          <a:cs typeface="ALTIA Eddi" panose="020B0000000000020000" pitchFamily="34" charset="0"/>
                        </a:rPr>
                        <a:t>Lorem</a:t>
                      </a:r>
                      <a:r>
                        <a:rPr kumimoji="0" lang="pt-PT" sz="11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" panose="020B0000000000020000" pitchFamily="34" charset="0"/>
                          <a:ea typeface="ALTIA Eddi" panose="020B0000000000020000" pitchFamily="34" charset="0"/>
                          <a:cs typeface="ALTIA Eddi" panose="020B0000000000020000" pitchFamily="34" charset="0"/>
                        </a:rPr>
                        <a:t> </a:t>
                      </a:r>
                      <a:r>
                        <a:rPr kumimoji="0" lang="pt-PT" sz="1100" b="1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" panose="020B0000000000020000" pitchFamily="34" charset="0"/>
                          <a:ea typeface="ALTIA Eddi" panose="020B0000000000020000" pitchFamily="34" charset="0"/>
                          <a:cs typeface="ALTIA Eddi" panose="020B0000000000020000" pitchFamily="34" charset="0"/>
                        </a:rPr>
                        <a:t>Ipsum</a:t>
                      </a:r>
                      <a:endParaRPr kumimoji="0" lang="pt-PT" sz="11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ALTIA Eddi" panose="020B0000000000020000" pitchFamily="34" charset="0"/>
                        <a:ea typeface="ALTIA Eddi" panose="020B0000000000020000" pitchFamily="34" charset="0"/>
                        <a:cs typeface="ALTIA Eddi" panose="020B0000000000020000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 Light"/>
                          <a:ea typeface="+mn-ea"/>
                          <a:cs typeface="+mn-cs"/>
                        </a:rPr>
                        <a:t>X</a:t>
                      </a:r>
                      <a:endParaRPr kumimoji="0" lang="pt-PT" sz="11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ALTIA Eddi Ligh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 Light"/>
                          <a:ea typeface="+mn-ea"/>
                          <a:cs typeface="+mn-cs"/>
                        </a:rPr>
                        <a:t>X</a:t>
                      </a:r>
                      <a:endParaRPr kumimoji="0" lang="pt-PT" sz="11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ALTIA Eddi Ligh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 Light"/>
                          <a:ea typeface="+mn-ea"/>
                          <a:cs typeface="+mn-cs"/>
                        </a:rPr>
                        <a:t>X</a:t>
                      </a:r>
                      <a:endParaRPr kumimoji="0" lang="pt-PT" sz="11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ALTIA Eddi Ligh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 Light"/>
                          <a:ea typeface="+mn-ea"/>
                          <a:cs typeface="+mn-cs"/>
                        </a:rPr>
                        <a:t>X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 Light"/>
                          <a:ea typeface="+mn-ea"/>
                          <a:cs typeface="+mn-cs"/>
                        </a:rPr>
                        <a:t>X</a:t>
                      </a:r>
                      <a:endParaRPr kumimoji="0" lang="pt-PT" sz="11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ALTIA Eddi Ligh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 Light"/>
                          <a:ea typeface="+mn-ea"/>
                          <a:cs typeface="+mn-cs"/>
                        </a:rPr>
                        <a:t>X</a:t>
                      </a:r>
                      <a:endParaRPr kumimoji="0" lang="pt-PT" sz="11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ALTIA Eddi Ligh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 Light"/>
                          <a:ea typeface="+mn-ea"/>
                          <a:cs typeface="+mn-cs"/>
                        </a:rPr>
                        <a:t>X</a:t>
                      </a:r>
                      <a:endParaRPr kumimoji="0" lang="pt-PT" sz="11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ALTIA Eddi Ligh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1820466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11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" panose="020B0000000000020000" pitchFamily="34" charset="0"/>
                          <a:ea typeface="ALTIA Eddi" panose="020B0000000000020000" pitchFamily="34" charset="0"/>
                          <a:cs typeface="ALTIA Eddi" panose="020B0000000000020000" pitchFamily="34" charset="0"/>
                        </a:rPr>
                        <a:t>Lorem Ipsum</a:t>
                      </a:r>
                      <a:endParaRPr kumimoji="0" lang="pt-PT" sz="11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ALTIA Eddi" panose="020B0000000000020000" pitchFamily="34" charset="0"/>
                        <a:ea typeface="ALTIA Eddi" panose="020B0000000000020000" pitchFamily="34" charset="0"/>
                        <a:cs typeface="ALTIA Eddi" panose="020B0000000000020000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 Light"/>
                          <a:ea typeface="+mn-ea"/>
                          <a:cs typeface="+mn-cs"/>
                        </a:rPr>
                        <a:t>X</a:t>
                      </a:r>
                      <a:endParaRPr kumimoji="0" lang="pt-PT" sz="11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ALTIA Eddi Ligh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 Light"/>
                          <a:ea typeface="+mn-ea"/>
                          <a:cs typeface="+mn-cs"/>
                        </a:rPr>
                        <a:t>X</a:t>
                      </a:r>
                      <a:endParaRPr kumimoji="0" lang="pt-PT" sz="11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ALTIA Eddi Ligh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 Light"/>
                          <a:ea typeface="+mn-ea"/>
                          <a:cs typeface="+mn-cs"/>
                        </a:rPr>
                        <a:t>X</a:t>
                      </a:r>
                      <a:endParaRPr kumimoji="0" lang="pt-PT" sz="11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ALTIA Eddi Ligh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 Light"/>
                          <a:ea typeface="+mn-ea"/>
                          <a:cs typeface="+mn-cs"/>
                        </a:rPr>
                        <a:t>X</a:t>
                      </a:r>
                      <a:endParaRPr kumimoji="0" lang="pt-PT" sz="11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ALTIA Eddi Ligh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 Light"/>
                          <a:ea typeface="+mn-ea"/>
                          <a:cs typeface="+mn-cs"/>
                        </a:rPr>
                        <a:t>X</a:t>
                      </a:r>
                      <a:endParaRPr kumimoji="0" lang="pt-PT" sz="11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ALTIA Eddi Ligh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 Light"/>
                          <a:ea typeface="+mn-ea"/>
                          <a:cs typeface="+mn-cs"/>
                        </a:rPr>
                        <a:t>X</a:t>
                      </a:r>
                      <a:endParaRPr kumimoji="0" lang="pt-PT" sz="11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ALTIA Eddi Ligh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 Light"/>
                          <a:ea typeface="+mn-ea"/>
                          <a:cs typeface="+mn-cs"/>
                        </a:rPr>
                        <a:t>X</a:t>
                      </a:r>
                      <a:endParaRPr kumimoji="0" lang="pt-PT" sz="11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ALTIA Eddi Ligh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40981480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1100" b="1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" panose="020B0000000000020000" pitchFamily="34" charset="0"/>
                          <a:ea typeface="ALTIA Eddi" panose="020B0000000000020000" pitchFamily="34" charset="0"/>
                          <a:cs typeface="ALTIA Eddi" panose="020B0000000000020000" pitchFamily="34" charset="0"/>
                        </a:rPr>
                        <a:t>Lorem</a:t>
                      </a:r>
                      <a:r>
                        <a:rPr kumimoji="0" lang="pt-PT" sz="11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" panose="020B0000000000020000" pitchFamily="34" charset="0"/>
                          <a:ea typeface="ALTIA Eddi" panose="020B0000000000020000" pitchFamily="34" charset="0"/>
                          <a:cs typeface="ALTIA Eddi" panose="020B0000000000020000" pitchFamily="34" charset="0"/>
                        </a:rPr>
                        <a:t> </a:t>
                      </a:r>
                      <a:r>
                        <a:rPr kumimoji="0" lang="pt-PT" sz="1100" b="1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" panose="020B0000000000020000" pitchFamily="34" charset="0"/>
                          <a:ea typeface="ALTIA Eddi" panose="020B0000000000020000" pitchFamily="34" charset="0"/>
                          <a:cs typeface="ALTIA Eddi" panose="020B0000000000020000" pitchFamily="34" charset="0"/>
                        </a:rPr>
                        <a:t>Ipsum</a:t>
                      </a:r>
                      <a:endParaRPr kumimoji="0" lang="pt-PT" sz="11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ALTIA Eddi" panose="020B0000000000020000" pitchFamily="34" charset="0"/>
                        <a:ea typeface="ALTIA Eddi" panose="020B0000000000020000" pitchFamily="34" charset="0"/>
                        <a:cs typeface="ALTIA Eddi" panose="020B0000000000020000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 Light"/>
                          <a:ea typeface="+mn-ea"/>
                          <a:cs typeface="+mn-cs"/>
                        </a:rPr>
                        <a:t>X</a:t>
                      </a:r>
                      <a:endParaRPr kumimoji="0" lang="pt-PT" sz="11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ALTIA Eddi Ligh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 Light"/>
                          <a:ea typeface="+mn-ea"/>
                          <a:cs typeface="+mn-cs"/>
                        </a:rPr>
                        <a:t>X</a:t>
                      </a:r>
                      <a:endParaRPr kumimoji="0" lang="pt-PT" sz="11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ALTIA Eddi Ligh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 Light"/>
                          <a:ea typeface="+mn-ea"/>
                          <a:cs typeface="+mn-cs"/>
                        </a:rPr>
                        <a:t>X</a:t>
                      </a:r>
                      <a:endParaRPr kumimoji="0" lang="pt-PT" sz="11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ALTIA Eddi Ligh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 Light"/>
                          <a:ea typeface="+mn-ea"/>
                          <a:cs typeface="+mn-cs"/>
                        </a:rPr>
                        <a:t>X</a:t>
                      </a:r>
                      <a:endParaRPr kumimoji="0" lang="pt-PT" sz="11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ALTIA Eddi Ligh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 Light"/>
                          <a:ea typeface="+mn-ea"/>
                          <a:cs typeface="+mn-cs"/>
                        </a:rPr>
                        <a:t>X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 Light"/>
                          <a:ea typeface="+mn-ea"/>
                          <a:cs typeface="+mn-cs"/>
                        </a:rPr>
                        <a:t>X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 Light"/>
                          <a:ea typeface="+mn-ea"/>
                          <a:cs typeface="+mn-cs"/>
                        </a:rPr>
                        <a:t>X</a:t>
                      </a:r>
                      <a:endParaRPr kumimoji="0" lang="pt-PT" sz="11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ALTIA Eddi Ligh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85338994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1100" b="1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" panose="020B0000000000020000" pitchFamily="34" charset="0"/>
                          <a:ea typeface="ALTIA Eddi" panose="020B0000000000020000" pitchFamily="34" charset="0"/>
                          <a:cs typeface="ALTIA Eddi" panose="020B0000000000020000" pitchFamily="34" charset="0"/>
                        </a:rPr>
                        <a:t>Lorem</a:t>
                      </a:r>
                      <a:r>
                        <a:rPr kumimoji="0" lang="pt-PT" sz="11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" panose="020B0000000000020000" pitchFamily="34" charset="0"/>
                          <a:ea typeface="ALTIA Eddi" panose="020B0000000000020000" pitchFamily="34" charset="0"/>
                          <a:cs typeface="ALTIA Eddi" panose="020B0000000000020000" pitchFamily="34" charset="0"/>
                        </a:rPr>
                        <a:t> </a:t>
                      </a:r>
                      <a:r>
                        <a:rPr kumimoji="0" lang="pt-PT" sz="1100" b="1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" panose="020B0000000000020000" pitchFamily="34" charset="0"/>
                          <a:ea typeface="ALTIA Eddi" panose="020B0000000000020000" pitchFamily="34" charset="0"/>
                          <a:cs typeface="ALTIA Eddi" panose="020B0000000000020000" pitchFamily="34" charset="0"/>
                        </a:rPr>
                        <a:t>Ipsum</a:t>
                      </a:r>
                      <a:endParaRPr kumimoji="0" lang="pt-PT" sz="11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ALTIA Eddi" panose="020B0000000000020000" pitchFamily="34" charset="0"/>
                        <a:ea typeface="ALTIA Eddi" panose="020B0000000000020000" pitchFamily="34" charset="0"/>
                        <a:cs typeface="ALTIA Eddi" panose="020B0000000000020000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 Light"/>
                          <a:ea typeface="+mn-ea"/>
                          <a:cs typeface="+mn-cs"/>
                        </a:rPr>
                        <a:t>X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 Light"/>
                          <a:ea typeface="+mn-ea"/>
                          <a:cs typeface="+mn-cs"/>
                        </a:rPr>
                        <a:t>X</a:t>
                      </a:r>
                      <a:endParaRPr kumimoji="0" lang="pt-PT" sz="11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ALTIA Eddi Ligh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 Light"/>
                          <a:ea typeface="+mn-ea"/>
                          <a:cs typeface="+mn-cs"/>
                        </a:rPr>
                        <a:t>X</a:t>
                      </a:r>
                      <a:endParaRPr kumimoji="0" lang="pt-PT" sz="11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ALTIA Eddi Ligh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 Light"/>
                          <a:ea typeface="+mn-ea"/>
                          <a:cs typeface="+mn-cs"/>
                        </a:rPr>
                        <a:t>X</a:t>
                      </a:r>
                      <a:endParaRPr kumimoji="0" lang="pt-PT" sz="11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ALTIA Eddi Ligh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 Light"/>
                          <a:ea typeface="+mn-ea"/>
                          <a:cs typeface="+mn-cs"/>
                        </a:rPr>
                        <a:t>X</a:t>
                      </a:r>
                      <a:endParaRPr kumimoji="0" lang="pt-PT" sz="11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ALTIA Eddi Ligh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 Light"/>
                          <a:ea typeface="+mn-ea"/>
                          <a:cs typeface="+mn-cs"/>
                        </a:rPr>
                        <a:t>X</a:t>
                      </a:r>
                      <a:endParaRPr kumimoji="0" lang="pt-PT" sz="11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ALTIA Eddi Ligh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 Light"/>
                          <a:ea typeface="+mn-ea"/>
                          <a:cs typeface="+mn-cs"/>
                        </a:rPr>
                        <a:t>X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110646492"/>
                  </a:ext>
                </a:extLst>
              </a:tr>
            </a:tbl>
          </a:graphicData>
        </a:graphic>
      </p:graphicFrame>
      <p:sp>
        <p:nvSpPr>
          <p:cNvPr id="2" name="Marcador de pie de página 1">
            <a:extLst>
              <a:ext uri="{FF2B5EF4-FFF2-40B4-BE49-F238E27FC236}">
                <a16:creationId xmlns:a16="http://schemas.microsoft.com/office/drawing/2014/main" id="{54065794-81DC-4635-9D7A-86931435517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pt-PT"/>
              <a:t>Título de la presentación</a:t>
            </a:r>
            <a:endParaRPr lang="pt-PT" dirty="0"/>
          </a:p>
        </p:txBody>
      </p:sp>
      <p:sp>
        <p:nvSpPr>
          <p:cNvPr id="3" name="Marcador de número de diapositiva 2">
            <a:extLst>
              <a:ext uri="{FF2B5EF4-FFF2-40B4-BE49-F238E27FC236}">
                <a16:creationId xmlns:a16="http://schemas.microsoft.com/office/drawing/2014/main" id="{A0F01A25-6BE3-4E0D-955B-2A9FD7BFA46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4A347C2-D68E-473A-8C76-1D063E4EB6E0}" type="slidenum">
              <a:rPr lang="es-ES" smtClean="0"/>
              <a:pPr/>
              <a:t>17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264173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Posição do Texto 1">
            <a:extLst>
              <a:ext uri="{FF2B5EF4-FFF2-40B4-BE49-F238E27FC236}">
                <a16:creationId xmlns:a16="http://schemas.microsoft.com/office/drawing/2014/main" id="{52480ADA-433B-0A18-BE42-A2C60E1CE66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pt-PT" dirty="0"/>
              <a:t>Ejemplo de título de gráfico</a:t>
            </a:r>
          </a:p>
        </p:txBody>
      </p:sp>
      <p:sp>
        <p:nvSpPr>
          <p:cNvPr id="3" name="Título 2">
            <a:extLst>
              <a:ext uri="{FF2B5EF4-FFF2-40B4-BE49-F238E27FC236}">
                <a16:creationId xmlns:a16="http://schemas.microsoft.com/office/drawing/2014/main" id="{10A083A7-0825-E1C9-65CD-510D78BCCCE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3184" y="550508"/>
            <a:ext cx="11165632" cy="712204"/>
          </a:xfrm>
        </p:spPr>
        <p:txBody>
          <a:bodyPr/>
          <a:lstStyle/>
          <a:p>
            <a:r>
              <a:rPr lang="pt-PT" dirty="0"/>
              <a:t>Ejemplo de título de slide</a:t>
            </a:r>
          </a:p>
        </p:txBody>
      </p:sp>
      <p:sp>
        <p:nvSpPr>
          <p:cNvPr id="4" name="Marcador de Posição do Texto 3">
            <a:extLst>
              <a:ext uri="{FF2B5EF4-FFF2-40B4-BE49-F238E27FC236}">
                <a16:creationId xmlns:a16="http://schemas.microsoft.com/office/drawing/2014/main" id="{199142C9-11C1-F245-E412-EFE151D5907B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512763" y="1156317"/>
            <a:ext cx="11166475" cy="355243"/>
          </a:xfrm>
        </p:spPr>
        <p:txBody>
          <a:bodyPr>
            <a:normAutofit/>
          </a:bodyPr>
          <a:lstStyle/>
          <a:p>
            <a:r>
              <a:rPr lang="pt-PT" dirty="0"/>
              <a:t>Ejemplo de subtítulo de slide</a:t>
            </a:r>
          </a:p>
        </p:txBody>
      </p:sp>
      <p:graphicFrame>
        <p:nvGraphicFramePr>
          <p:cNvPr id="10" name="Marcador de Posição do Gráfico 9">
            <a:extLst>
              <a:ext uri="{FF2B5EF4-FFF2-40B4-BE49-F238E27FC236}">
                <a16:creationId xmlns:a16="http://schemas.microsoft.com/office/drawing/2014/main" id="{4F21771E-F641-1FA0-2C55-DD4150224BC7}"/>
              </a:ext>
            </a:extLst>
          </p:cNvPr>
          <p:cNvGraphicFramePr>
            <a:graphicFrameLocks noGrp="1"/>
          </p:cNvGraphicFramePr>
          <p:nvPr>
            <p:ph type="chart" sz="quarter" idx="12"/>
            <p:extLst>
              <p:ext uri="{D42A27DB-BD31-4B8C-83A1-F6EECF244321}">
                <p14:modId xmlns:p14="http://schemas.microsoft.com/office/powerpoint/2010/main" val="1613473123"/>
              </p:ext>
            </p:extLst>
          </p:nvPr>
        </p:nvGraphicFramePr>
        <p:xfrm>
          <a:off x="696913" y="2322513"/>
          <a:ext cx="10798175" cy="41068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03C97371-1A3F-42EB-A984-F9333EF4E2E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pt-PT"/>
              <a:t>Título de la presentación</a:t>
            </a:r>
            <a:endParaRPr lang="pt-PT" dirty="0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D23E8304-E82D-4E45-9C36-B2D75AF5180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4A347C2-D68E-473A-8C76-1D063E4EB6E0}" type="slidenum">
              <a:rPr lang="es-ES" smtClean="0"/>
              <a:pPr/>
              <a:t>18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7049790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Marcador de Posição da Imagem 10" descr="Uma imagem com Cara humana, óculos, vestuário, texto&#10;&#10;Os conteúdos gerados por IA podem estar incorretos.">
            <a:extLst>
              <a:ext uri="{FF2B5EF4-FFF2-40B4-BE49-F238E27FC236}">
                <a16:creationId xmlns:a16="http://schemas.microsoft.com/office/drawing/2014/main" id="{2552115F-BEA7-580A-8143-1E6040BD4498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>
          <a:blip r:embed="rId2"/>
          <a:srcRect l="21055" r="21055"/>
          <a:stretch/>
        </p:blipFill>
        <p:spPr/>
      </p:pic>
      <p:sp>
        <p:nvSpPr>
          <p:cNvPr id="6" name="Título 5">
            <a:extLst>
              <a:ext uri="{FF2B5EF4-FFF2-40B4-BE49-F238E27FC236}">
                <a16:creationId xmlns:a16="http://schemas.microsoft.com/office/drawing/2014/main" id="{1738A7F6-493F-FA31-80DF-7236018220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pt-PT" dirty="0"/>
              <a:t>Ejemplo de</a:t>
            </a:r>
            <a:br>
              <a:rPr lang="pt-PT" dirty="0"/>
            </a:br>
            <a:r>
              <a:rPr lang="pt-PT" dirty="0"/>
              <a:t>título de slide</a:t>
            </a:r>
          </a:p>
        </p:txBody>
      </p:sp>
      <p:sp>
        <p:nvSpPr>
          <p:cNvPr id="12" name="Marcador de Posição do Texto 11">
            <a:extLst>
              <a:ext uri="{FF2B5EF4-FFF2-40B4-BE49-F238E27FC236}">
                <a16:creationId xmlns:a16="http://schemas.microsoft.com/office/drawing/2014/main" id="{80866D80-8E71-6399-8F8E-09FE7D07693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Lorem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ipsum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dolor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sit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amet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,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consectetuer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adipiscing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elit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.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Maecenas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porttitor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congue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massa. </a:t>
            </a:r>
            <a:r>
              <a:rPr lang="pt-PT" dirty="0" err="1"/>
              <a:t>Fusce</a:t>
            </a:r>
            <a:r>
              <a:rPr lang="pt-PT" dirty="0"/>
              <a:t> </a:t>
            </a:r>
            <a:r>
              <a:rPr lang="pt-PT" dirty="0" err="1"/>
              <a:t>posuere</a:t>
            </a:r>
            <a:r>
              <a:rPr lang="pt-PT" dirty="0"/>
              <a:t>, magna </a:t>
            </a:r>
            <a:r>
              <a:rPr lang="pt-PT" dirty="0" err="1"/>
              <a:t>sed</a:t>
            </a:r>
            <a:r>
              <a:rPr lang="pt-PT" dirty="0"/>
              <a:t> pulvinar </a:t>
            </a:r>
            <a:r>
              <a:rPr lang="pt-PT" dirty="0" err="1"/>
              <a:t>ultricies</a:t>
            </a:r>
            <a:r>
              <a:rPr lang="pt-PT" dirty="0"/>
              <a:t>, purus </a:t>
            </a:r>
            <a:r>
              <a:rPr lang="pt-PT" dirty="0" err="1"/>
              <a:t>lectus</a:t>
            </a:r>
            <a:r>
              <a:rPr lang="pt-PT" dirty="0"/>
              <a:t> </a:t>
            </a:r>
            <a:r>
              <a:rPr lang="pt-PT" dirty="0" err="1"/>
              <a:t>malesuada</a:t>
            </a:r>
            <a:r>
              <a:rPr lang="pt-PT" dirty="0"/>
              <a:t> libero,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r>
              <a:rPr lang="pt-PT" dirty="0"/>
              <a:t> </a:t>
            </a:r>
            <a:r>
              <a:rPr lang="pt-PT" dirty="0" err="1"/>
              <a:t>commodo</a:t>
            </a:r>
            <a:r>
              <a:rPr lang="pt-PT" dirty="0"/>
              <a:t> magna eros quis urna.</a:t>
            </a:r>
          </a:p>
          <a:p>
            <a:r>
              <a:rPr lang="pt-PT" dirty="0" err="1"/>
              <a:t>Nunc</a:t>
            </a:r>
            <a:r>
              <a:rPr lang="pt-PT" dirty="0"/>
              <a:t> </a:t>
            </a:r>
            <a:r>
              <a:rPr lang="pt-PT" dirty="0" err="1"/>
              <a:t>viverra</a:t>
            </a:r>
            <a:r>
              <a:rPr lang="pt-PT" dirty="0"/>
              <a:t> </a:t>
            </a:r>
            <a:r>
              <a:rPr lang="pt-PT" dirty="0" err="1"/>
              <a:t>imperdiet</a:t>
            </a:r>
            <a:r>
              <a:rPr lang="pt-PT" dirty="0"/>
              <a:t> </a:t>
            </a:r>
            <a:r>
              <a:rPr lang="pt-PT" dirty="0" err="1"/>
              <a:t>enim</a:t>
            </a:r>
            <a:r>
              <a:rPr lang="pt-PT" dirty="0"/>
              <a:t>. </a:t>
            </a:r>
            <a:r>
              <a:rPr lang="pt-PT" dirty="0" err="1"/>
              <a:t>Fusce</a:t>
            </a:r>
            <a:r>
              <a:rPr lang="pt-PT" dirty="0"/>
              <a:t> est. </a:t>
            </a:r>
            <a:r>
              <a:rPr lang="pt-PT" dirty="0" err="1"/>
              <a:t>Vivamus</a:t>
            </a:r>
            <a:r>
              <a:rPr lang="pt-PT" dirty="0"/>
              <a:t> a </a:t>
            </a:r>
            <a:r>
              <a:rPr lang="pt-PT" dirty="0" err="1"/>
              <a:t>tellus</a:t>
            </a:r>
            <a:r>
              <a:rPr lang="pt-PT" dirty="0"/>
              <a:t>. </a:t>
            </a:r>
            <a:r>
              <a:rPr lang="pt-PT" dirty="0" err="1"/>
              <a:t>Fusce</a:t>
            </a:r>
            <a:r>
              <a:rPr lang="pt-PT" dirty="0"/>
              <a:t> </a:t>
            </a:r>
            <a:r>
              <a:rPr lang="pt-PT" dirty="0" err="1"/>
              <a:t>posuere</a:t>
            </a:r>
            <a:r>
              <a:rPr lang="pt-PT" dirty="0"/>
              <a:t>, magna </a:t>
            </a:r>
            <a:r>
              <a:rPr lang="pt-PT" dirty="0" err="1"/>
              <a:t>sed</a:t>
            </a:r>
            <a:r>
              <a:rPr lang="pt-PT" dirty="0"/>
              <a:t> pulvinar </a:t>
            </a:r>
            <a:r>
              <a:rPr lang="pt-PT" dirty="0" err="1"/>
              <a:t>ultricies</a:t>
            </a:r>
            <a:r>
              <a:rPr lang="pt-PT" dirty="0"/>
              <a:t>, purus </a:t>
            </a:r>
            <a:r>
              <a:rPr lang="pt-PT" dirty="0" err="1"/>
              <a:t>lectus</a:t>
            </a:r>
            <a:r>
              <a:rPr lang="pt-PT" dirty="0"/>
              <a:t> </a:t>
            </a:r>
            <a:r>
              <a:rPr lang="pt-PT" dirty="0" err="1"/>
              <a:t>malesuada</a:t>
            </a:r>
            <a:r>
              <a:rPr lang="pt-PT" dirty="0"/>
              <a:t> libero,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r>
              <a:rPr lang="pt-PT" dirty="0"/>
              <a:t> </a:t>
            </a:r>
            <a:r>
              <a:rPr lang="pt-PT" dirty="0" err="1"/>
              <a:t>commodo</a:t>
            </a:r>
            <a:r>
              <a:rPr lang="pt-PT" dirty="0"/>
              <a:t> magna eros quis urna.</a:t>
            </a:r>
          </a:p>
        </p:txBody>
      </p:sp>
      <p:sp>
        <p:nvSpPr>
          <p:cNvPr id="13" name="Marcador de Posição do Texto 12">
            <a:extLst>
              <a:ext uri="{FF2B5EF4-FFF2-40B4-BE49-F238E27FC236}">
                <a16:creationId xmlns:a16="http://schemas.microsoft.com/office/drawing/2014/main" id="{3EC64AFB-2C3C-B184-DB79-391D3D0C8EB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pt-PT" dirty="0"/>
              <a:t>texto destacado</a:t>
            </a:r>
          </a:p>
        </p:txBody>
      </p:sp>
      <p:grpSp>
        <p:nvGrpSpPr>
          <p:cNvPr id="2" name="Agrupar 1">
            <a:extLst>
              <a:ext uri="{FF2B5EF4-FFF2-40B4-BE49-F238E27FC236}">
                <a16:creationId xmlns:a16="http://schemas.microsoft.com/office/drawing/2014/main" id="{992712BF-8B2D-E657-B095-2D1BC8C4E2BC}"/>
              </a:ext>
            </a:extLst>
          </p:cNvPr>
          <p:cNvGrpSpPr/>
          <p:nvPr/>
        </p:nvGrpSpPr>
        <p:grpSpPr>
          <a:xfrm>
            <a:off x="6462429" y="2772920"/>
            <a:ext cx="675774" cy="675774"/>
            <a:chOff x="6462429" y="2772920"/>
            <a:chExt cx="675774" cy="675774"/>
          </a:xfrm>
          <a:solidFill>
            <a:srgbClr val="132153"/>
          </a:solidFill>
        </p:grpSpPr>
        <p:sp>
          <p:nvSpPr>
            <p:cNvPr id="14" name="Oval 13">
              <a:extLst>
                <a:ext uri="{FF2B5EF4-FFF2-40B4-BE49-F238E27FC236}">
                  <a16:creationId xmlns:a16="http://schemas.microsoft.com/office/drawing/2014/main" id="{18EB92B4-79AA-10BC-5F3E-B989132F47D5}"/>
                </a:ext>
              </a:extLst>
            </p:cNvPr>
            <p:cNvSpPr/>
            <p:nvPr/>
          </p:nvSpPr>
          <p:spPr>
            <a:xfrm>
              <a:off x="6462429" y="2772920"/>
              <a:ext cx="675774" cy="675774"/>
            </a:xfrm>
            <a:prstGeom prst="ellipse">
              <a:avLst/>
            </a:prstGeom>
            <a:grpFill/>
            <a:ln w="4244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pt-PT"/>
            </a:p>
          </p:txBody>
        </p:sp>
        <p:grpSp>
          <p:nvGrpSpPr>
            <p:cNvPr id="15" name="Agrupar 14">
              <a:extLst>
                <a:ext uri="{FF2B5EF4-FFF2-40B4-BE49-F238E27FC236}">
                  <a16:creationId xmlns:a16="http://schemas.microsoft.com/office/drawing/2014/main" id="{1DB26601-3D6F-63AB-9D59-FBB06FF47B70}"/>
                </a:ext>
              </a:extLst>
            </p:cNvPr>
            <p:cNvGrpSpPr/>
            <p:nvPr/>
          </p:nvGrpSpPr>
          <p:grpSpPr>
            <a:xfrm>
              <a:off x="6617666" y="2911343"/>
              <a:ext cx="365300" cy="398929"/>
              <a:chOff x="6000092" y="1357908"/>
              <a:chExt cx="365300" cy="398929"/>
            </a:xfrm>
            <a:grpFill/>
          </p:grpSpPr>
          <p:sp>
            <p:nvSpPr>
              <p:cNvPr id="16" name="Forma livre: Forma 15">
                <a:extLst>
                  <a:ext uri="{FF2B5EF4-FFF2-40B4-BE49-F238E27FC236}">
                    <a16:creationId xmlns:a16="http://schemas.microsoft.com/office/drawing/2014/main" id="{9993284E-5623-113A-B53A-B53981D3777C}"/>
                  </a:ext>
                </a:extLst>
              </p:cNvPr>
              <p:cNvSpPr/>
              <p:nvPr/>
            </p:nvSpPr>
            <p:spPr>
              <a:xfrm>
                <a:off x="6000092" y="1418606"/>
                <a:ext cx="84058" cy="286120"/>
              </a:xfrm>
              <a:custGeom>
                <a:avLst/>
                <a:gdLst>
                  <a:gd name="connsiteX0" fmla="*/ 51595 w 84058"/>
                  <a:gd name="connsiteY0" fmla="*/ 0 h 286120"/>
                  <a:gd name="connsiteX1" fmla="*/ 35266 w 84058"/>
                  <a:gd name="connsiteY1" fmla="*/ 61674 h 286120"/>
                  <a:gd name="connsiteX2" fmla="*/ 28760 w 84058"/>
                  <a:gd name="connsiteY2" fmla="*/ 193415 h 286120"/>
                  <a:gd name="connsiteX3" fmla="*/ 84059 w 84058"/>
                  <a:gd name="connsiteY3" fmla="*/ 286121 h 2861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4058" h="286120">
                    <a:moveTo>
                      <a:pt x="51595" y="0"/>
                    </a:moveTo>
                    <a:cubicBezTo>
                      <a:pt x="37868" y="7872"/>
                      <a:pt x="26028" y="24852"/>
                      <a:pt x="35266" y="61674"/>
                    </a:cubicBezTo>
                    <a:cubicBezTo>
                      <a:pt x="35266" y="61674"/>
                      <a:pt x="-39549" y="126731"/>
                      <a:pt x="28760" y="193415"/>
                    </a:cubicBezTo>
                    <a:cubicBezTo>
                      <a:pt x="28760" y="193415"/>
                      <a:pt x="9243" y="281242"/>
                      <a:pt x="84059" y="286121"/>
                    </a:cubicBezTo>
                  </a:path>
                </a:pathLst>
              </a:custGeom>
              <a:grp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17" name="Gráfico 32">
                <a:extLst>
                  <a:ext uri="{FF2B5EF4-FFF2-40B4-BE49-F238E27FC236}">
                    <a16:creationId xmlns:a16="http://schemas.microsoft.com/office/drawing/2014/main" id="{AEC173CE-52AD-54B4-E692-8ECC161277B4}"/>
                  </a:ext>
                </a:extLst>
              </p:cNvPr>
              <p:cNvGrpSpPr/>
              <p:nvPr/>
            </p:nvGrpSpPr>
            <p:grpSpPr>
              <a:xfrm>
                <a:off x="6061121" y="1359924"/>
                <a:ext cx="128487" cy="396366"/>
                <a:chOff x="6061121" y="1359924"/>
                <a:chExt cx="128487" cy="396366"/>
              </a:xfrm>
              <a:grpFill/>
            </p:grpSpPr>
            <p:sp>
              <p:nvSpPr>
                <p:cNvPr id="32" name="Forma livre: Forma 31">
                  <a:extLst>
                    <a:ext uri="{FF2B5EF4-FFF2-40B4-BE49-F238E27FC236}">
                      <a16:creationId xmlns:a16="http://schemas.microsoft.com/office/drawing/2014/main" id="{8F25AA7A-52F0-5D54-F046-5631F3B82B8C}"/>
                    </a:ext>
                  </a:extLst>
                </p:cNvPr>
                <p:cNvSpPr/>
                <p:nvPr/>
              </p:nvSpPr>
              <p:spPr>
                <a:xfrm>
                  <a:off x="6083891" y="1359924"/>
                  <a:ext cx="105717" cy="396366"/>
                </a:xfrm>
                <a:custGeom>
                  <a:avLst/>
                  <a:gdLst>
                    <a:gd name="connsiteX0" fmla="*/ 52891 w 105717"/>
                    <a:gd name="connsiteY0" fmla="*/ 105718 h 396366"/>
                    <a:gd name="connsiteX1" fmla="*/ 0 w 105717"/>
                    <a:gd name="connsiteY1" fmla="*/ 52891 h 396366"/>
                    <a:gd name="connsiteX2" fmla="*/ 52891 w 105717"/>
                    <a:gd name="connsiteY2" fmla="*/ 0 h 396366"/>
                    <a:gd name="connsiteX3" fmla="*/ 105718 w 105717"/>
                    <a:gd name="connsiteY3" fmla="*/ 52826 h 396366"/>
                    <a:gd name="connsiteX4" fmla="*/ 105718 w 105717"/>
                    <a:gd name="connsiteY4" fmla="*/ 346884 h 396366"/>
                    <a:gd name="connsiteX5" fmla="*/ 80606 w 105717"/>
                    <a:gd name="connsiteY5" fmla="*/ 388911 h 396366"/>
                    <a:gd name="connsiteX6" fmla="*/ 9238 w 105717"/>
                    <a:gd name="connsiteY6" fmla="*/ 371150 h 396366"/>
                    <a:gd name="connsiteX7" fmla="*/ 15484 w 105717"/>
                    <a:gd name="connsiteY7" fmla="*/ 309216 h 396366"/>
                    <a:gd name="connsiteX8" fmla="*/ 45019 w 105717"/>
                    <a:gd name="connsiteY8" fmla="*/ 277078 h 39636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105717" h="396366">
                      <a:moveTo>
                        <a:pt x="52891" y="105718"/>
                      </a:moveTo>
                      <a:cubicBezTo>
                        <a:pt x="23681" y="105718"/>
                        <a:pt x="0" y="82037"/>
                        <a:pt x="0" y="52891"/>
                      </a:cubicBezTo>
                      <a:cubicBezTo>
                        <a:pt x="0" y="23746"/>
                        <a:pt x="23681" y="0"/>
                        <a:pt x="52891" y="0"/>
                      </a:cubicBezTo>
                      <a:cubicBezTo>
                        <a:pt x="82102" y="0"/>
                        <a:pt x="105718" y="23681"/>
                        <a:pt x="105718" y="52826"/>
                      </a:cubicBezTo>
                      <a:lnTo>
                        <a:pt x="105718" y="346884"/>
                      </a:lnTo>
                      <a:cubicBezTo>
                        <a:pt x="105718" y="364580"/>
                        <a:pt x="96414" y="379413"/>
                        <a:pt x="80606" y="388911"/>
                      </a:cubicBezTo>
                      <a:cubicBezTo>
                        <a:pt x="55949" y="403744"/>
                        <a:pt x="24006" y="395742"/>
                        <a:pt x="9238" y="371150"/>
                      </a:cubicBezTo>
                      <a:cubicBezTo>
                        <a:pt x="-2928" y="350918"/>
                        <a:pt x="260" y="325741"/>
                        <a:pt x="15484" y="309216"/>
                      </a:cubicBezTo>
                      <a:lnTo>
                        <a:pt x="45019" y="277078"/>
                      </a:lnTo>
                    </a:path>
                  </a:pathLst>
                </a:custGeom>
                <a:grpFill/>
                <a:ln w="19050" cap="sq">
                  <a:solidFill>
                    <a:srgbClr val="00FF94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33" name="Forma livre: Forma 32">
                  <a:extLst>
                    <a:ext uri="{FF2B5EF4-FFF2-40B4-BE49-F238E27FC236}">
                      <a16:creationId xmlns:a16="http://schemas.microsoft.com/office/drawing/2014/main" id="{DEC1059A-2A7C-60E0-390E-AD77A012D45E}"/>
                    </a:ext>
                  </a:extLst>
                </p:cNvPr>
                <p:cNvSpPr/>
                <p:nvPr/>
              </p:nvSpPr>
              <p:spPr>
                <a:xfrm>
                  <a:off x="6144784" y="1383865"/>
                  <a:ext cx="41563" cy="38963"/>
                </a:xfrm>
                <a:custGeom>
                  <a:avLst/>
                  <a:gdLst>
                    <a:gd name="connsiteX0" fmla="*/ 36172 w 41563"/>
                    <a:gd name="connsiteY0" fmla="*/ 0 h 38963"/>
                    <a:gd name="connsiteX1" fmla="*/ 39425 w 41563"/>
                    <a:gd name="connsiteY1" fmla="*/ 24266 h 38963"/>
                    <a:gd name="connsiteX2" fmla="*/ 36432 w 41563"/>
                    <a:gd name="connsiteY2" fmla="*/ 29080 h 38963"/>
                    <a:gd name="connsiteX3" fmla="*/ 0 w 41563"/>
                    <a:gd name="connsiteY3" fmla="*/ 33439 h 3896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1563" h="38963">
                      <a:moveTo>
                        <a:pt x="36172" y="0"/>
                      </a:moveTo>
                      <a:cubicBezTo>
                        <a:pt x="41571" y="7547"/>
                        <a:pt x="43393" y="16004"/>
                        <a:pt x="39425" y="24266"/>
                      </a:cubicBezTo>
                      <a:cubicBezTo>
                        <a:pt x="38644" y="25893"/>
                        <a:pt x="37603" y="27519"/>
                        <a:pt x="36432" y="29080"/>
                      </a:cubicBezTo>
                      <a:cubicBezTo>
                        <a:pt x="27584" y="40270"/>
                        <a:pt x="11190" y="42287"/>
                        <a:pt x="0" y="33439"/>
                      </a:cubicBezTo>
                    </a:path>
                  </a:pathLst>
                </a:custGeom>
                <a:grpFill/>
                <a:ln w="19050" cap="sq">
                  <a:solidFill>
                    <a:srgbClr val="00FF94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34" name="Forma livre: Forma 33">
                  <a:extLst>
                    <a:ext uri="{FF2B5EF4-FFF2-40B4-BE49-F238E27FC236}">
                      <a16:creationId xmlns:a16="http://schemas.microsoft.com/office/drawing/2014/main" id="{ADA07C39-F6E2-49B6-A676-D52058A23F61}"/>
                    </a:ext>
                  </a:extLst>
                </p:cNvPr>
                <p:cNvSpPr/>
                <p:nvPr/>
              </p:nvSpPr>
              <p:spPr>
                <a:xfrm>
                  <a:off x="6081487" y="1460806"/>
                  <a:ext cx="34217" cy="54474"/>
                </a:xfrm>
                <a:custGeom>
                  <a:avLst/>
                  <a:gdLst>
                    <a:gd name="connsiteX0" fmla="*/ 21076 w 34217"/>
                    <a:gd name="connsiteY0" fmla="*/ 54475 h 54474"/>
                    <a:gd name="connsiteX1" fmla="*/ 778 w 34217"/>
                    <a:gd name="connsiteY1" fmla="*/ 21035 h 54474"/>
                    <a:gd name="connsiteX2" fmla="*/ 34217 w 34217"/>
                    <a:gd name="connsiteY2" fmla="*/ 803 h 544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34217" h="54474">
                      <a:moveTo>
                        <a:pt x="21076" y="54475"/>
                      </a:moveTo>
                      <a:cubicBezTo>
                        <a:pt x="6308" y="50832"/>
                        <a:pt x="-2800" y="35803"/>
                        <a:pt x="778" y="21035"/>
                      </a:cubicBezTo>
                      <a:cubicBezTo>
                        <a:pt x="4421" y="6267"/>
                        <a:pt x="19449" y="-2841"/>
                        <a:pt x="34217" y="803"/>
                      </a:cubicBezTo>
                    </a:path>
                  </a:pathLst>
                </a:custGeom>
                <a:grpFill/>
                <a:ln w="19050" cap="sq">
                  <a:solidFill>
                    <a:srgbClr val="00FF94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35" name="Forma livre: Forma 34">
                  <a:extLst>
                    <a:ext uri="{FF2B5EF4-FFF2-40B4-BE49-F238E27FC236}">
                      <a16:creationId xmlns:a16="http://schemas.microsoft.com/office/drawing/2014/main" id="{367749B5-B392-9377-5A1A-713E1234D528}"/>
                    </a:ext>
                  </a:extLst>
                </p:cNvPr>
                <p:cNvSpPr/>
                <p:nvPr/>
              </p:nvSpPr>
              <p:spPr>
                <a:xfrm>
                  <a:off x="6073547" y="1527543"/>
                  <a:ext cx="114760" cy="72506"/>
                </a:xfrm>
                <a:custGeom>
                  <a:avLst/>
                  <a:gdLst>
                    <a:gd name="connsiteX0" fmla="*/ 114760 w 114760"/>
                    <a:gd name="connsiteY0" fmla="*/ 7254 h 72506"/>
                    <a:gd name="connsiteX1" fmla="*/ 73905 w 114760"/>
                    <a:gd name="connsiteY1" fmla="*/ 8881 h 72506"/>
                    <a:gd name="connsiteX2" fmla="*/ 0 w 114760"/>
                    <a:gd name="connsiteY2" fmla="*/ 72506 h 7250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14760" h="72506">
                      <a:moveTo>
                        <a:pt x="114760" y="7254"/>
                      </a:moveTo>
                      <a:cubicBezTo>
                        <a:pt x="103375" y="-2830"/>
                        <a:pt x="83989" y="-2504"/>
                        <a:pt x="73905" y="8881"/>
                      </a:cubicBezTo>
                      <a:cubicBezTo>
                        <a:pt x="73905" y="8881"/>
                        <a:pt x="31488" y="72506"/>
                        <a:pt x="0" y="72506"/>
                      </a:cubicBezTo>
                    </a:path>
                  </a:pathLst>
                </a:custGeom>
                <a:grpFill/>
                <a:ln w="19050" cap="sq">
                  <a:solidFill>
                    <a:srgbClr val="00FF94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36" name="Forma livre: Forma 35">
                  <a:extLst>
                    <a:ext uri="{FF2B5EF4-FFF2-40B4-BE49-F238E27FC236}">
                      <a16:creationId xmlns:a16="http://schemas.microsoft.com/office/drawing/2014/main" id="{5277D010-4AA1-111D-3AC4-A266F1329C93}"/>
                    </a:ext>
                  </a:extLst>
                </p:cNvPr>
                <p:cNvSpPr/>
                <p:nvPr/>
              </p:nvSpPr>
              <p:spPr>
                <a:xfrm>
                  <a:off x="6079857" y="1646956"/>
                  <a:ext cx="29405" cy="9823"/>
                </a:xfrm>
                <a:custGeom>
                  <a:avLst/>
                  <a:gdLst>
                    <a:gd name="connsiteX0" fmla="*/ 0 w 29405"/>
                    <a:gd name="connsiteY0" fmla="*/ 0 h 9823"/>
                    <a:gd name="connsiteX1" fmla="*/ 29406 w 29405"/>
                    <a:gd name="connsiteY1" fmla="*/ 9824 h 982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9405" h="9823">
                      <a:moveTo>
                        <a:pt x="0" y="0"/>
                      </a:moveTo>
                      <a:lnTo>
                        <a:pt x="29406" y="9824"/>
                      </a:lnTo>
                    </a:path>
                  </a:pathLst>
                </a:custGeom>
                <a:grpFill/>
                <a:ln w="19050" cap="sq">
                  <a:solidFill>
                    <a:srgbClr val="00FF94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37" name="Forma livre: Forma 36">
                  <a:extLst>
                    <a:ext uri="{FF2B5EF4-FFF2-40B4-BE49-F238E27FC236}">
                      <a16:creationId xmlns:a16="http://schemas.microsoft.com/office/drawing/2014/main" id="{9664582C-A317-D085-82CE-6BD4FC88934A}"/>
                    </a:ext>
                  </a:extLst>
                </p:cNvPr>
                <p:cNvSpPr/>
                <p:nvPr/>
              </p:nvSpPr>
              <p:spPr>
                <a:xfrm>
                  <a:off x="6061121" y="1545272"/>
                  <a:ext cx="47166" cy="34154"/>
                </a:xfrm>
                <a:custGeom>
                  <a:avLst/>
                  <a:gdLst>
                    <a:gd name="connsiteX0" fmla="*/ 0 w 47166"/>
                    <a:gd name="connsiteY0" fmla="*/ 0 h 34154"/>
                    <a:gd name="connsiteX1" fmla="*/ 47166 w 47166"/>
                    <a:gd name="connsiteY1" fmla="*/ 34155 h 3415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7166" h="34154">
                      <a:moveTo>
                        <a:pt x="0" y="0"/>
                      </a:moveTo>
                      <a:cubicBezTo>
                        <a:pt x="0" y="0"/>
                        <a:pt x="27649" y="13011"/>
                        <a:pt x="47166" y="34155"/>
                      </a:cubicBezTo>
                    </a:path>
                  </a:pathLst>
                </a:custGeom>
                <a:grpFill/>
                <a:ln w="19050" cap="sq">
                  <a:solidFill>
                    <a:srgbClr val="00FF94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18" name="Gráfico 32">
                <a:extLst>
                  <a:ext uri="{FF2B5EF4-FFF2-40B4-BE49-F238E27FC236}">
                    <a16:creationId xmlns:a16="http://schemas.microsoft.com/office/drawing/2014/main" id="{35B3C8A8-5274-3995-4E52-52FF2F25ECAF}"/>
                  </a:ext>
                </a:extLst>
              </p:cNvPr>
              <p:cNvGrpSpPr/>
              <p:nvPr/>
            </p:nvGrpSpPr>
            <p:grpSpPr>
              <a:xfrm>
                <a:off x="6191625" y="1599725"/>
                <a:ext cx="173767" cy="157112"/>
                <a:chOff x="6191625" y="1599725"/>
                <a:chExt cx="173767" cy="157112"/>
              </a:xfrm>
              <a:grpFill/>
            </p:grpSpPr>
            <p:sp>
              <p:nvSpPr>
                <p:cNvPr id="28" name="Forma livre: Forma 27">
                  <a:extLst>
                    <a:ext uri="{FF2B5EF4-FFF2-40B4-BE49-F238E27FC236}">
                      <a16:creationId xmlns:a16="http://schemas.microsoft.com/office/drawing/2014/main" id="{0F18EA37-F522-304E-C635-E260369FD4EC}"/>
                    </a:ext>
                  </a:extLst>
                </p:cNvPr>
                <p:cNvSpPr/>
                <p:nvPr/>
              </p:nvSpPr>
              <p:spPr>
                <a:xfrm>
                  <a:off x="6310094" y="1621974"/>
                  <a:ext cx="55298" cy="55298"/>
                </a:xfrm>
                <a:custGeom>
                  <a:avLst/>
                  <a:gdLst>
                    <a:gd name="connsiteX0" fmla="*/ 55298 w 55298"/>
                    <a:gd name="connsiteY0" fmla="*/ 27649 h 55298"/>
                    <a:gd name="connsiteX1" fmla="*/ 27649 w 55298"/>
                    <a:gd name="connsiteY1" fmla="*/ 55298 h 55298"/>
                    <a:gd name="connsiteX2" fmla="*/ 0 w 55298"/>
                    <a:gd name="connsiteY2" fmla="*/ 27649 h 55298"/>
                    <a:gd name="connsiteX3" fmla="*/ 27649 w 55298"/>
                    <a:gd name="connsiteY3" fmla="*/ 0 h 55298"/>
                    <a:gd name="connsiteX4" fmla="*/ 55298 w 55298"/>
                    <a:gd name="connsiteY4" fmla="*/ 27649 h 552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5298" h="55298">
                      <a:moveTo>
                        <a:pt x="55298" y="27649"/>
                      </a:moveTo>
                      <a:cubicBezTo>
                        <a:pt x="55298" y="42938"/>
                        <a:pt x="42938" y="55298"/>
                        <a:pt x="27649" y="55298"/>
                      </a:cubicBezTo>
                      <a:cubicBezTo>
                        <a:pt x="12361" y="55298"/>
                        <a:pt x="0" y="42938"/>
                        <a:pt x="0" y="27649"/>
                      </a:cubicBezTo>
                      <a:cubicBezTo>
                        <a:pt x="0" y="12361"/>
                        <a:pt x="12361" y="0"/>
                        <a:pt x="27649" y="0"/>
                      </a:cubicBezTo>
                      <a:cubicBezTo>
                        <a:pt x="42938" y="0"/>
                        <a:pt x="55298" y="12361"/>
                        <a:pt x="55298" y="27649"/>
                      </a:cubicBezTo>
                      <a:close/>
                    </a:path>
                  </a:pathLst>
                </a:custGeom>
                <a:grpFill/>
                <a:ln w="19050" cap="sq">
                  <a:solidFill>
                    <a:srgbClr val="00FF94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9" name="Forma livre: Forma 28">
                  <a:extLst>
                    <a:ext uri="{FF2B5EF4-FFF2-40B4-BE49-F238E27FC236}">
                      <a16:creationId xmlns:a16="http://schemas.microsoft.com/office/drawing/2014/main" id="{683A8AC4-B238-13BE-3352-EE01531F95BE}"/>
                    </a:ext>
                  </a:extLst>
                </p:cNvPr>
                <p:cNvSpPr/>
                <p:nvPr/>
              </p:nvSpPr>
              <p:spPr>
                <a:xfrm>
                  <a:off x="6191625" y="1599725"/>
                  <a:ext cx="118078" cy="49898"/>
                </a:xfrm>
                <a:custGeom>
                  <a:avLst/>
                  <a:gdLst>
                    <a:gd name="connsiteX0" fmla="*/ 0 w 118078"/>
                    <a:gd name="connsiteY0" fmla="*/ 0 h 49898"/>
                    <a:gd name="connsiteX1" fmla="*/ 37343 w 118078"/>
                    <a:gd name="connsiteY1" fmla="*/ 0 h 49898"/>
                    <a:gd name="connsiteX2" fmla="*/ 87176 w 118078"/>
                    <a:gd name="connsiteY2" fmla="*/ 49899 h 49898"/>
                    <a:gd name="connsiteX3" fmla="*/ 118078 w 118078"/>
                    <a:gd name="connsiteY3" fmla="*/ 49899 h 498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18078" h="49898">
                      <a:moveTo>
                        <a:pt x="0" y="0"/>
                      </a:moveTo>
                      <a:lnTo>
                        <a:pt x="37343" y="0"/>
                      </a:lnTo>
                      <a:lnTo>
                        <a:pt x="87176" y="49899"/>
                      </a:lnTo>
                      <a:lnTo>
                        <a:pt x="118078" y="49899"/>
                      </a:lnTo>
                    </a:path>
                  </a:pathLst>
                </a:custGeom>
                <a:grpFill/>
                <a:ln w="19050" cap="sq">
                  <a:solidFill>
                    <a:srgbClr val="00FF94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30" name="Forma livre: Forma 29">
                  <a:extLst>
                    <a:ext uri="{FF2B5EF4-FFF2-40B4-BE49-F238E27FC236}">
                      <a16:creationId xmlns:a16="http://schemas.microsoft.com/office/drawing/2014/main" id="{2220106E-75BB-9ABA-4775-C7AC188B5432}"/>
                    </a:ext>
                  </a:extLst>
                </p:cNvPr>
                <p:cNvSpPr/>
                <p:nvPr/>
              </p:nvSpPr>
              <p:spPr>
                <a:xfrm>
                  <a:off x="6191625" y="1665367"/>
                  <a:ext cx="81906" cy="44108"/>
                </a:xfrm>
                <a:custGeom>
                  <a:avLst/>
                  <a:gdLst>
                    <a:gd name="connsiteX0" fmla="*/ 0 w 81906"/>
                    <a:gd name="connsiteY0" fmla="*/ 0 h 44108"/>
                    <a:gd name="connsiteX1" fmla="*/ 37343 w 81906"/>
                    <a:gd name="connsiteY1" fmla="*/ 0 h 44108"/>
                    <a:gd name="connsiteX2" fmla="*/ 81907 w 81906"/>
                    <a:gd name="connsiteY2" fmla="*/ 44109 h 4410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81906" h="44108">
                      <a:moveTo>
                        <a:pt x="0" y="0"/>
                      </a:moveTo>
                      <a:lnTo>
                        <a:pt x="37343" y="0"/>
                      </a:lnTo>
                      <a:lnTo>
                        <a:pt x="81907" y="44109"/>
                      </a:lnTo>
                    </a:path>
                  </a:pathLst>
                </a:custGeom>
                <a:grpFill/>
                <a:ln w="19050" cap="sq">
                  <a:solidFill>
                    <a:srgbClr val="00FF94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31" name="Forma livre: Forma 30">
                  <a:extLst>
                    <a:ext uri="{FF2B5EF4-FFF2-40B4-BE49-F238E27FC236}">
                      <a16:creationId xmlns:a16="http://schemas.microsoft.com/office/drawing/2014/main" id="{C0C9EC7F-DF14-A631-0449-0FEA07CCF14B}"/>
                    </a:ext>
                  </a:extLst>
                </p:cNvPr>
                <p:cNvSpPr/>
                <p:nvPr/>
              </p:nvSpPr>
              <p:spPr>
                <a:xfrm>
                  <a:off x="6265075" y="1701539"/>
                  <a:ext cx="55298" cy="55298"/>
                </a:xfrm>
                <a:custGeom>
                  <a:avLst/>
                  <a:gdLst>
                    <a:gd name="connsiteX0" fmla="*/ 55298 w 55298"/>
                    <a:gd name="connsiteY0" fmla="*/ 27649 h 55298"/>
                    <a:gd name="connsiteX1" fmla="*/ 27649 w 55298"/>
                    <a:gd name="connsiteY1" fmla="*/ 55298 h 55298"/>
                    <a:gd name="connsiteX2" fmla="*/ 0 w 55298"/>
                    <a:gd name="connsiteY2" fmla="*/ 27649 h 55298"/>
                    <a:gd name="connsiteX3" fmla="*/ 27649 w 55298"/>
                    <a:gd name="connsiteY3" fmla="*/ 0 h 55298"/>
                    <a:gd name="connsiteX4" fmla="*/ 55298 w 55298"/>
                    <a:gd name="connsiteY4" fmla="*/ 27649 h 552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5298" h="55298">
                      <a:moveTo>
                        <a:pt x="55298" y="27649"/>
                      </a:moveTo>
                      <a:cubicBezTo>
                        <a:pt x="55298" y="42938"/>
                        <a:pt x="42938" y="55298"/>
                        <a:pt x="27649" y="55298"/>
                      </a:cubicBezTo>
                      <a:cubicBezTo>
                        <a:pt x="12361" y="55298"/>
                        <a:pt x="0" y="42938"/>
                        <a:pt x="0" y="27649"/>
                      </a:cubicBezTo>
                      <a:cubicBezTo>
                        <a:pt x="0" y="12361"/>
                        <a:pt x="12361" y="0"/>
                        <a:pt x="27649" y="0"/>
                      </a:cubicBezTo>
                      <a:cubicBezTo>
                        <a:pt x="42938" y="0"/>
                        <a:pt x="55298" y="12361"/>
                        <a:pt x="55298" y="27649"/>
                      </a:cubicBezTo>
                      <a:close/>
                    </a:path>
                  </a:pathLst>
                </a:custGeom>
                <a:grpFill/>
                <a:ln w="19050" cap="sq">
                  <a:solidFill>
                    <a:srgbClr val="00FF94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19" name="Gráfico 32">
                <a:extLst>
                  <a:ext uri="{FF2B5EF4-FFF2-40B4-BE49-F238E27FC236}">
                    <a16:creationId xmlns:a16="http://schemas.microsoft.com/office/drawing/2014/main" id="{0CDB708D-E9EB-B55B-26DA-93D0AABA760C}"/>
                  </a:ext>
                </a:extLst>
              </p:cNvPr>
              <p:cNvGrpSpPr/>
              <p:nvPr/>
            </p:nvGrpSpPr>
            <p:grpSpPr>
              <a:xfrm>
                <a:off x="6191625" y="1357908"/>
                <a:ext cx="173767" cy="157112"/>
                <a:chOff x="6191625" y="1357908"/>
                <a:chExt cx="173767" cy="157112"/>
              </a:xfrm>
              <a:grpFill/>
            </p:grpSpPr>
            <p:sp>
              <p:nvSpPr>
                <p:cNvPr id="24" name="Forma livre: Forma 23">
                  <a:extLst>
                    <a:ext uri="{FF2B5EF4-FFF2-40B4-BE49-F238E27FC236}">
                      <a16:creationId xmlns:a16="http://schemas.microsoft.com/office/drawing/2014/main" id="{43321B96-0D35-24CE-4B22-1D800696047A}"/>
                    </a:ext>
                  </a:extLst>
                </p:cNvPr>
                <p:cNvSpPr/>
                <p:nvPr/>
              </p:nvSpPr>
              <p:spPr>
                <a:xfrm>
                  <a:off x="6310094" y="1437472"/>
                  <a:ext cx="55298" cy="55298"/>
                </a:xfrm>
                <a:custGeom>
                  <a:avLst/>
                  <a:gdLst>
                    <a:gd name="connsiteX0" fmla="*/ 55298 w 55298"/>
                    <a:gd name="connsiteY0" fmla="*/ 27649 h 55298"/>
                    <a:gd name="connsiteX1" fmla="*/ 27649 w 55298"/>
                    <a:gd name="connsiteY1" fmla="*/ 0 h 55298"/>
                    <a:gd name="connsiteX2" fmla="*/ 0 w 55298"/>
                    <a:gd name="connsiteY2" fmla="*/ 27649 h 55298"/>
                    <a:gd name="connsiteX3" fmla="*/ 27649 w 55298"/>
                    <a:gd name="connsiteY3" fmla="*/ 55298 h 55298"/>
                    <a:gd name="connsiteX4" fmla="*/ 55298 w 55298"/>
                    <a:gd name="connsiteY4" fmla="*/ 27649 h 552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5298" h="55298">
                      <a:moveTo>
                        <a:pt x="55298" y="27649"/>
                      </a:moveTo>
                      <a:cubicBezTo>
                        <a:pt x="55298" y="12361"/>
                        <a:pt x="42938" y="0"/>
                        <a:pt x="27649" y="0"/>
                      </a:cubicBezTo>
                      <a:cubicBezTo>
                        <a:pt x="12361" y="0"/>
                        <a:pt x="0" y="12361"/>
                        <a:pt x="0" y="27649"/>
                      </a:cubicBezTo>
                      <a:cubicBezTo>
                        <a:pt x="0" y="42938"/>
                        <a:pt x="12361" y="55298"/>
                        <a:pt x="27649" y="55298"/>
                      </a:cubicBezTo>
                      <a:cubicBezTo>
                        <a:pt x="42938" y="55298"/>
                        <a:pt x="55298" y="42938"/>
                        <a:pt x="55298" y="27649"/>
                      </a:cubicBezTo>
                      <a:close/>
                    </a:path>
                  </a:pathLst>
                </a:custGeom>
                <a:grpFill/>
                <a:ln w="19050" cap="sq">
                  <a:solidFill>
                    <a:srgbClr val="00FF94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5" name="Forma livre: Forma 24">
                  <a:extLst>
                    <a:ext uri="{FF2B5EF4-FFF2-40B4-BE49-F238E27FC236}">
                      <a16:creationId xmlns:a16="http://schemas.microsoft.com/office/drawing/2014/main" id="{7176B84D-4F2D-A8AB-CA20-CB184948DDE8}"/>
                    </a:ext>
                  </a:extLst>
                </p:cNvPr>
                <p:cNvSpPr/>
                <p:nvPr/>
              </p:nvSpPr>
              <p:spPr>
                <a:xfrm>
                  <a:off x="6191625" y="1465122"/>
                  <a:ext cx="118468" cy="49898"/>
                </a:xfrm>
                <a:custGeom>
                  <a:avLst/>
                  <a:gdLst>
                    <a:gd name="connsiteX0" fmla="*/ 0 w 118468"/>
                    <a:gd name="connsiteY0" fmla="*/ 49899 h 49898"/>
                    <a:gd name="connsiteX1" fmla="*/ 37343 w 118468"/>
                    <a:gd name="connsiteY1" fmla="*/ 49899 h 49898"/>
                    <a:gd name="connsiteX2" fmla="*/ 87176 w 118468"/>
                    <a:gd name="connsiteY2" fmla="*/ 0 h 49898"/>
                    <a:gd name="connsiteX3" fmla="*/ 118469 w 118468"/>
                    <a:gd name="connsiteY3" fmla="*/ 0 h 498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18468" h="49898">
                      <a:moveTo>
                        <a:pt x="0" y="49899"/>
                      </a:moveTo>
                      <a:lnTo>
                        <a:pt x="37343" y="49899"/>
                      </a:lnTo>
                      <a:lnTo>
                        <a:pt x="87176" y="0"/>
                      </a:lnTo>
                      <a:lnTo>
                        <a:pt x="118469" y="0"/>
                      </a:lnTo>
                    </a:path>
                  </a:pathLst>
                </a:custGeom>
                <a:grpFill/>
                <a:ln w="19050" cap="sq">
                  <a:solidFill>
                    <a:srgbClr val="00FF94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6" name="Forma livre: Forma 25">
                  <a:extLst>
                    <a:ext uri="{FF2B5EF4-FFF2-40B4-BE49-F238E27FC236}">
                      <a16:creationId xmlns:a16="http://schemas.microsoft.com/office/drawing/2014/main" id="{CCCC01A4-C6E1-A53B-E1CA-8F5CF9E76298}"/>
                    </a:ext>
                  </a:extLst>
                </p:cNvPr>
                <p:cNvSpPr/>
                <p:nvPr/>
              </p:nvSpPr>
              <p:spPr>
                <a:xfrm>
                  <a:off x="6191625" y="1405269"/>
                  <a:ext cx="81451" cy="44043"/>
                </a:xfrm>
                <a:custGeom>
                  <a:avLst/>
                  <a:gdLst>
                    <a:gd name="connsiteX0" fmla="*/ 0 w 81451"/>
                    <a:gd name="connsiteY0" fmla="*/ 44044 h 44043"/>
                    <a:gd name="connsiteX1" fmla="*/ 37343 w 81451"/>
                    <a:gd name="connsiteY1" fmla="*/ 44044 h 44043"/>
                    <a:gd name="connsiteX2" fmla="*/ 81451 w 81451"/>
                    <a:gd name="connsiteY2" fmla="*/ 0 h 4404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81451" h="44043">
                      <a:moveTo>
                        <a:pt x="0" y="44044"/>
                      </a:moveTo>
                      <a:lnTo>
                        <a:pt x="37343" y="44044"/>
                      </a:lnTo>
                      <a:lnTo>
                        <a:pt x="81451" y="0"/>
                      </a:lnTo>
                    </a:path>
                  </a:pathLst>
                </a:custGeom>
                <a:grpFill/>
                <a:ln w="19050" cap="sq">
                  <a:solidFill>
                    <a:srgbClr val="00FF94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7" name="Forma livre: Forma 26">
                  <a:extLst>
                    <a:ext uri="{FF2B5EF4-FFF2-40B4-BE49-F238E27FC236}">
                      <a16:creationId xmlns:a16="http://schemas.microsoft.com/office/drawing/2014/main" id="{2FCB6161-8873-0CBF-8DD6-C0D5851E1198}"/>
                    </a:ext>
                  </a:extLst>
                </p:cNvPr>
                <p:cNvSpPr/>
                <p:nvPr/>
              </p:nvSpPr>
              <p:spPr>
                <a:xfrm>
                  <a:off x="6265075" y="1357908"/>
                  <a:ext cx="55298" cy="55298"/>
                </a:xfrm>
                <a:custGeom>
                  <a:avLst/>
                  <a:gdLst>
                    <a:gd name="connsiteX0" fmla="*/ 55298 w 55298"/>
                    <a:gd name="connsiteY0" fmla="*/ 27649 h 55298"/>
                    <a:gd name="connsiteX1" fmla="*/ 27649 w 55298"/>
                    <a:gd name="connsiteY1" fmla="*/ 0 h 55298"/>
                    <a:gd name="connsiteX2" fmla="*/ 0 w 55298"/>
                    <a:gd name="connsiteY2" fmla="*/ 27649 h 55298"/>
                    <a:gd name="connsiteX3" fmla="*/ 27649 w 55298"/>
                    <a:gd name="connsiteY3" fmla="*/ 55298 h 55298"/>
                    <a:gd name="connsiteX4" fmla="*/ 55298 w 55298"/>
                    <a:gd name="connsiteY4" fmla="*/ 27649 h 552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5298" h="55298">
                      <a:moveTo>
                        <a:pt x="55298" y="27649"/>
                      </a:moveTo>
                      <a:cubicBezTo>
                        <a:pt x="55298" y="12361"/>
                        <a:pt x="42938" y="0"/>
                        <a:pt x="27649" y="0"/>
                      </a:cubicBezTo>
                      <a:cubicBezTo>
                        <a:pt x="12361" y="0"/>
                        <a:pt x="0" y="12361"/>
                        <a:pt x="0" y="27649"/>
                      </a:cubicBezTo>
                      <a:cubicBezTo>
                        <a:pt x="0" y="42938"/>
                        <a:pt x="12361" y="55298"/>
                        <a:pt x="27649" y="55298"/>
                      </a:cubicBezTo>
                      <a:cubicBezTo>
                        <a:pt x="42938" y="55298"/>
                        <a:pt x="55298" y="42938"/>
                        <a:pt x="55298" y="27649"/>
                      </a:cubicBezTo>
                      <a:close/>
                    </a:path>
                  </a:pathLst>
                </a:custGeom>
                <a:grpFill/>
                <a:ln w="19050" cap="sq">
                  <a:solidFill>
                    <a:srgbClr val="00FF94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20" name="Gráfico 32">
                <a:extLst>
                  <a:ext uri="{FF2B5EF4-FFF2-40B4-BE49-F238E27FC236}">
                    <a16:creationId xmlns:a16="http://schemas.microsoft.com/office/drawing/2014/main" id="{E71F77C6-358C-FE28-915E-2748DABEA3A5}"/>
                  </a:ext>
                </a:extLst>
              </p:cNvPr>
              <p:cNvGrpSpPr/>
              <p:nvPr/>
            </p:nvGrpSpPr>
            <p:grpSpPr>
              <a:xfrm>
                <a:off x="6190910" y="1529723"/>
                <a:ext cx="123673" cy="55298"/>
                <a:chOff x="6190910" y="1529723"/>
                <a:chExt cx="123673" cy="55298"/>
              </a:xfrm>
              <a:grpFill/>
            </p:grpSpPr>
            <p:sp>
              <p:nvSpPr>
                <p:cNvPr id="22" name="Forma livre: Forma 21">
                  <a:extLst>
                    <a:ext uri="{FF2B5EF4-FFF2-40B4-BE49-F238E27FC236}">
                      <a16:creationId xmlns:a16="http://schemas.microsoft.com/office/drawing/2014/main" id="{E70A6A23-DD35-3243-7E85-626BCD7CE4C5}"/>
                    </a:ext>
                  </a:extLst>
                </p:cNvPr>
                <p:cNvSpPr/>
                <p:nvPr/>
              </p:nvSpPr>
              <p:spPr>
                <a:xfrm>
                  <a:off x="6190910" y="1557372"/>
                  <a:ext cx="68765" cy="6505"/>
                </a:xfrm>
                <a:custGeom>
                  <a:avLst/>
                  <a:gdLst>
                    <a:gd name="connsiteX0" fmla="*/ 0 w 68765"/>
                    <a:gd name="connsiteY0" fmla="*/ 0 h 6505"/>
                    <a:gd name="connsiteX1" fmla="*/ 68765 w 68765"/>
                    <a:gd name="connsiteY1" fmla="*/ 0 h 650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68765" h="6505">
                      <a:moveTo>
                        <a:pt x="0" y="0"/>
                      </a:moveTo>
                      <a:lnTo>
                        <a:pt x="68765" y="0"/>
                      </a:lnTo>
                    </a:path>
                  </a:pathLst>
                </a:custGeom>
                <a:grpFill/>
                <a:ln w="19050" cap="sq">
                  <a:solidFill>
                    <a:srgbClr val="00FF94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3" name="Forma livre: Forma 22">
                  <a:extLst>
                    <a:ext uri="{FF2B5EF4-FFF2-40B4-BE49-F238E27FC236}">
                      <a16:creationId xmlns:a16="http://schemas.microsoft.com/office/drawing/2014/main" id="{523FC4FE-4C4F-E571-911B-BBF766FC19A2}"/>
                    </a:ext>
                  </a:extLst>
                </p:cNvPr>
                <p:cNvSpPr/>
                <p:nvPr/>
              </p:nvSpPr>
              <p:spPr>
                <a:xfrm>
                  <a:off x="6259285" y="1529723"/>
                  <a:ext cx="55298" cy="55298"/>
                </a:xfrm>
                <a:custGeom>
                  <a:avLst/>
                  <a:gdLst>
                    <a:gd name="connsiteX0" fmla="*/ 55298 w 55298"/>
                    <a:gd name="connsiteY0" fmla="*/ 27649 h 55298"/>
                    <a:gd name="connsiteX1" fmla="*/ 27649 w 55298"/>
                    <a:gd name="connsiteY1" fmla="*/ 55298 h 55298"/>
                    <a:gd name="connsiteX2" fmla="*/ 0 w 55298"/>
                    <a:gd name="connsiteY2" fmla="*/ 27649 h 55298"/>
                    <a:gd name="connsiteX3" fmla="*/ 27649 w 55298"/>
                    <a:gd name="connsiteY3" fmla="*/ 0 h 55298"/>
                    <a:gd name="connsiteX4" fmla="*/ 55298 w 55298"/>
                    <a:gd name="connsiteY4" fmla="*/ 27649 h 552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5298" h="55298">
                      <a:moveTo>
                        <a:pt x="55298" y="27649"/>
                      </a:moveTo>
                      <a:cubicBezTo>
                        <a:pt x="55298" y="42938"/>
                        <a:pt x="42938" y="55298"/>
                        <a:pt x="27649" y="55298"/>
                      </a:cubicBezTo>
                      <a:cubicBezTo>
                        <a:pt x="12361" y="55298"/>
                        <a:pt x="0" y="42938"/>
                        <a:pt x="0" y="27649"/>
                      </a:cubicBezTo>
                      <a:cubicBezTo>
                        <a:pt x="0" y="12361"/>
                        <a:pt x="12361" y="0"/>
                        <a:pt x="27649" y="0"/>
                      </a:cubicBezTo>
                      <a:cubicBezTo>
                        <a:pt x="42938" y="0"/>
                        <a:pt x="55298" y="12361"/>
                        <a:pt x="55298" y="27649"/>
                      </a:cubicBezTo>
                      <a:close/>
                    </a:path>
                  </a:pathLst>
                </a:custGeom>
                <a:grpFill/>
                <a:ln w="19050" cap="sq">
                  <a:solidFill>
                    <a:srgbClr val="00FF94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21" name="Forma livre: Forma 20">
                <a:extLst>
                  <a:ext uri="{FF2B5EF4-FFF2-40B4-BE49-F238E27FC236}">
                    <a16:creationId xmlns:a16="http://schemas.microsoft.com/office/drawing/2014/main" id="{A4CC171F-3DDF-5C35-877C-46102F3444EA}"/>
                  </a:ext>
                </a:extLst>
              </p:cNvPr>
              <p:cNvSpPr/>
              <p:nvPr/>
            </p:nvSpPr>
            <p:spPr>
              <a:xfrm>
                <a:off x="6152201" y="1686285"/>
                <a:ext cx="37362" cy="20848"/>
              </a:xfrm>
              <a:custGeom>
                <a:avLst/>
                <a:gdLst>
                  <a:gd name="connsiteX0" fmla="*/ 0 w 37362"/>
                  <a:gd name="connsiteY0" fmla="*/ 10505 h 20848"/>
                  <a:gd name="connsiteX1" fmla="*/ 27064 w 37362"/>
                  <a:gd name="connsiteY1" fmla="*/ 2373 h 20848"/>
                  <a:gd name="connsiteX2" fmla="*/ 37343 w 37362"/>
                  <a:gd name="connsiteY2" fmla="*/ 20849 h 208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7362" h="20848">
                    <a:moveTo>
                      <a:pt x="0" y="10505"/>
                    </a:moveTo>
                    <a:cubicBezTo>
                      <a:pt x="5205" y="811"/>
                      <a:pt x="17435" y="-2832"/>
                      <a:pt x="27064" y="2373"/>
                    </a:cubicBezTo>
                    <a:cubicBezTo>
                      <a:pt x="34025" y="6081"/>
                      <a:pt x="37668" y="13432"/>
                      <a:pt x="37343" y="20849"/>
                    </a:cubicBezTo>
                  </a:path>
                </a:pathLst>
              </a:custGeom>
              <a:grp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sp>
        <p:nvSpPr>
          <p:cNvPr id="3" name="Marcador de pie de página 2">
            <a:extLst>
              <a:ext uri="{FF2B5EF4-FFF2-40B4-BE49-F238E27FC236}">
                <a16:creationId xmlns:a16="http://schemas.microsoft.com/office/drawing/2014/main" id="{545D32A8-C81A-48E8-A2F1-F838EE0FAD1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pt-PT"/>
              <a:t>Título de la presentación</a:t>
            </a:r>
            <a:endParaRPr lang="pt-PT" dirty="0"/>
          </a:p>
        </p:txBody>
      </p:sp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id="{3D4C7155-1915-4326-BFC3-EF7CB9BBEF4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4A347C2-D68E-473A-8C76-1D063E4EB6E0}" type="slidenum">
              <a:rPr lang="es-ES" smtClean="0"/>
              <a:pPr/>
              <a:t>19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3851243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6" presetClass="emph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animScale>
                                      <p:cBhvr>
                                        <p:cTn id="9" dur="10" fill="hold"/>
                                        <p:tgtEl>
                                          <p:spTgt spid="2"/>
                                        </p:tgtEl>
                                      </p:cBhvr>
                                      <p:by x="125000" y="125000"/>
                                    </p:animScale>
                                  </p:childTnLst>
                                </p:cTn>
                              </p:par>
                              <p:par>
                                <p:cTn id="10" presetID="6" presetClass="emph" presetSubtype="0" decel="10000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animScale>
                                      <p:cBhvr>
                                        <p:cTn id="11" dur="750" fill="hold"/>
                                        <p:tgtEl>
                                          <p:spTgt spid="2"/>
                                        </p:tgtEl>
                                      </p:cBhvr>
                                      <p:by x="80000" y="8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22">
            <a:extLst>
              <a:ext uri="{FF2B5EF4-FFF2-40B4-BE49-F238E27FC236}">
                <a16:creationId xmlns:a16="http://schemas.microsoft.com/office/drawing/2014/main" id="{878493D6-1ADE-2F42-539A-D9FBDB1A6007}"/>
              </a:ext>
            </a:extLst>
          </p:cNvPr>
          <p:cNvSpPr txBox="1"/>
          <p:nvPr/>
        </p:nvSpPr>
        <p:spPr>
          <a:xfrm>
            <a:off x="1110453" y="2423789"/>
            <a:ext cx="7557933" cy="2010422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>
            <a:defPPr>
              <a:defRPr lang="pt-PT"/>
            </a:defPPr>
            <a:lvl1pPr>
              <a:lnSpc>
                <a:spcPct val="78000"/>
              </a:lnSpc>
              <a:defRPr sz="11500">
                <a:solidFill>
                  <a:schemeClr val="bg1"/>
                </a:solidFill>
                <a:latin typeface="SB Pakenham" panose="02000608020000020004" pitchFamily="50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7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PT" sz="8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 panose="020B0604030504040204" pitchFamily="34" charset="0"/>
                <a:ea typeface="Open Sans Light" panose="020B0306030504020204" pitchFamily="34" charset="0"/>
                <a:cs typeface="Arial" panose="020B0604020202020204" pitchFamily="34" charset="0"/>
              </a:rPr>
              <a:t>EJEMPLOS DE </a:t>
            </a:r>
            <a:r>
              <a:rPr lang="pt-PT" sz="8800" dirty="0">
                <a:solidFill>
                  <a:prstClr val="white"/>
                </a:solidFill>
                <a:latin typeface="Verdana" panose="020B0604030504040204" pitchFamily="34" charset="0"/>
                <a:cs typeface="Arial" panose="020B0604020202020204" pitchFamily="34" charset="0"/>
              </a:rPr>
              <a:t>LAYOUTS</a:t>
            </a:r>
            <a:endParaRPr kumimoji="0" lang="pt-PT" sz="8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 panose="020B0604030504040204" pitchFamily="34" charset="0"/>
              <a:ea typeface="Open Sans Light" panose="020B0306030504020204" pitchFamily="34" charset="0"/>
              <a:cs typeface="Arial" panose="020B0604020202020204" pitchFamily="34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5891846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Marcador de Posição da Imagem 10" descr="Uma imagem com interior, computador, mobília, secretária&#10;&#10;Os conteúdos gerados por IA podem estar incorretos.">
            <a:extLst>
              <a:ext uri="{FF2B5EF4-FFF2-40B4-BE49-F238E27FC236}">
                <a16:creationId xmlns:a16="http://schemas.microsoft.com/office/drawing/2014/main" id="{7C93B257-41D2-18F3-8254-B35DDA590C86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>
          <a:blip r:embed="rId2"/>
          <a:srcRect t="40753" b="14743"/>
          <a:stretch>
            <a:fillRect/>
          </a:stretch>
        </p:blipFill>
        <p:spPr>
          <a:xfrm>
            <a:off x="423863" y="590550"/>
            <a:ext cx="11503025" cy="3413125"/>
          </a:xfrm>
        </p:spPr>
      </p:pic>
      <p:sp>
        <p:nvSpPr>
          <p:cNvPr id="6" name="Título 5">
            <a:extLst>
              <a:ext uri="{FF2B5EF4-FFF2-40B4-BE49-F238E27FC236}">
                <a16:creationId xmlns:a16="http://schemas.microsoft.com/office/drawing/2014/main" id="{B787EB6A-5661-4EF8-F3EA-3D23333C180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PT" dirty="0"/>
              <a:t>Ejemplo de título de slide</a:t>
            </a:r>
          </a:p>
        </p:txBody>
      </p:sp>
      <p:sp>
        <p:nvSpPr>
          <p:cNvPr id="7" name="Marcador de Posição do Texto 6">
            <a:extLst>
              <a:ext uri="{FF2B5EF4-FFF2-40B4-BE49-F238E27FC236}">
                <a16:creationId xmlns:a16="http://schemas.microsoft.com/office/drawing/2014/main" id="{6653A953-7370-7E33-8127-524DC861DF3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>
            <a:normAutofit lnSpcReduction="10000"/>
          </a:bodyPr>
          <a:lstStyle/>
          <a:p>
            <a:r>
              <a:rPr lang="pt-PT" dirty="0"/>
              <a:t>Ejemplo de subtítulo de slide</a:t>
            </a:r>
          </a:p>
        </p:txBody>
      </p:sp>
      <p:sp>
        <p:nvSpPr>
          <p:cNvPr id="8" name="Marcador de Posição do Texto 7">
            <a:extLst>
              <a:ext uri="{FF2B5EF4-FFF2-40B4-BE49-F238E27FC236}">
                <a16:creationId xmlns:a16="http://schemas.microsoft.com/office/drawing/2014/main" id="{7137FF8B-E07B-AFB3-4822-744FFD7B381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Lorem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ipsum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dolor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sit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amet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,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consectetuer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adipiscing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elit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.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Maecenas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porttitor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congue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massa. </a:t>
            </a:r>
            <a:r>
              <a:rPr lang="pt-PT" dirty="0" err="1"/>
              <a:t>Fusce</a:t>
            </a:r>
            <a:r>
              <a:rPr lang="pt-PT" dirty="0"/>
              <a:t> </a:t>
            </a:r>
            <a:r>
              <a:rPr lang="pt-PT" dirty="0" err="1"/>
              <a:t>posuere</a:t>
            </a:r>
            <a:r>
              <a:rPr lang="pt-PT" dirty="0"/>
              <a:t>, magna </a:t>
            </a:r>
            <a:r>
              <a:rPr lang="pt-PT" dirty="0" err="1"/>
              <a:t>sed</a:t>
            </a:r>
            <a:r>
              <a:rPr lang="pt-PT" dirty="0"/>
              <a:t> pulvinar </a:t>
            </a:r>
            <a:r>
              <a:rPr lang="pt-PT" dirty="0" err="1"/>
              <a:t>ultricies</a:t>
            </a:r>
            <a:r>
              <a:rPr lang="pt-PT" dirty="0"/>
              <a:t>, purus </a:t>
            </a:r>
            <a:r>
              <a:rPr lang="pt-PT" dirty="0" err="1"/>
              <a:t>lectus</a:t>
            </a:r>
            <a:r>
              <a:rPr lang="pt-PT" dirty="0"/>
              <a:t> </a:t>
            </a:r>
            <a:r>
              <a:rPr lang="pt-PT" dirty="0" err="1"/>
              <a:t>malesuada</a:t>
            </a:r>
            <a:r>
              <a:rPr lang="pt-PT" dirty="0"/>
              <a:t> libero,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r>
              <a:rPr lang="pt-PT" dirty="0"/>
              <a:t> </a:t>
            </a:r>
            <a:r>
              <a:rPr lang="pt-PT" dirty="0" err="1"/>
              <a:t>commodo</a:t>
            </a:r>
            <a:r>
              <a:rPr lang="pt-PT" dirty="0"/>
              <a:t> magna eros quis urna.</a:t>
            </a:r>
          </a:p>
          <a:p>
            <a:endParaRPr lang="pt-PT" dirty="0"/>
          </a:p>
        </p:txBody>
      </p:sp>
      <p:grpSp>
        <p:nvGrpSpPr>
          <p:cNvPr id="12" name="Agrupar 11">
            <a:extLst>
              <a:ext uri="{FF2B5EF4-FFF2-40B4-BE49-F238E27FC236}">
                <a16:creationId xmlns:a16="http://schemas.microsoft.com/office/drawing/2014/main" id="{3A337D12-EC5A-A958-5030-8D1CE8CAA3B3}"/>
              </a:ext>
            </a:extLst>
          </p:cNvPr>
          <p:cNvGrpSpPr/>
          <p:nvPr/>
        </p:nvGrpSpPr>
        <p:grpSpPr>
          <a:xfrm>
            <a:off x="7082174" y="4528586"/>
            <a:ext cx="365300" cy="398929"/>
            <a:chOff x="6000092" y="1357908"/>
            <a:chExt cx="365300" cy="398929"/>
          </a:xfrm>
        </p:grpSpPr>
        <p:sp>
          <p:nvSpPr>
            <p:cNvPr id="13" name="Forma livre: Forma 12">
              <a:extLst>
                <a:ext uri="{FF2B5EF4-FFF2-40B4-BE49-F238E27FC236}">
                  <a16:creationId xmlns:a16="http://schemas.microsoft.com/office/drawing/2014/main" id="{4CF9D197-CC5A-748E-9CAE-5E33AF98C850}"/>
                </a:ext>
              </a:extLst>
            </p:cNvPr>
            <p:cNvSpPr/>
            <p:nvPr/>
          </p:nvSpPr>
          <p:spPr>
            <a:xfrm>
              <a:off x="6000092" y="1418606"/>
              <a:ext cx="84058" cy="286120"/>
            </a:xfrm>
            <a:custGeom>
              <a:avLst/>
              <a:gdLst>
                <a:gd name="connsiteX0" fmla="*/ 51595 w 84058"/>
                <a:gd name="connsiteY0" fmla="*/ 0 h 286120"/>
                <a:gd name="connsiteX1" fmla="*/ 35266 w 84058"/>
                <a:gd name="connsiteY1" fmla="*/ 61674 h 286120"/>
                <a:gd name="connsiteX2" fmla="*/ 28760 w 84058"/>
                <a:gd name="connsiteY2" fmla="*/ 193415 h 286120"/>
                <a:gd name="connsiteX3" fmla="*/ 84059 w 84058"/>
                <a:gd name="connsiteY3" fmla="*/ 286121 h 2861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4058" h="286120">
                  <a:moveTo>
                    <a:pt x="51595" y="0"/>
                  </a:moveTo>
                  <a:cubicBezTo>
                    <a:pt x="37868" y="7872"/>
                    <a:pt x="26028" y="24852"/>
                    <a:pt x="35266" y="61674"/>
                  </a:cubicBezTo>
                  <a:cubicBezTo>
                    <a:pt x="35266" y="61674"/>
                    <a:pt x="-39549" y="126731"/>
                    <a:pt x="28760" y="193415"/>
                  </a:cubicBezTo>
                  <a:cubicBezTo>
                    <a:pt x="28760" y="193415"/>
                    <a:pt x="9243" y="281242"/>
                    <a:pt x="84059" y="286121"/>
                  </a:cubicBezTo>
                </a:path>
              </a:pathLst>
            </a:custGeom>
            <a:noFill/>
            <a:ln w="19050" cap="sq">
              <a:solidFill>
                <a:srgbClr val="1D3EB6"/>
              </a:solidFill>
              <a:prstDash val="solid"/>
              <a:miter lim="800000"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4" name="Gráfico 32">
              <a:extLst>
                <a:ext uri="{FF2B5EF4-FFF2-40B4-BE49-F238E27FC236}">
                  <a16:creationId xmlns:a16="http://schemas.microsoft.com/office/drawing/2014/main" id="{5D9AA804-4EAC-85C4-13ED-AFF6CA8003E5}"/>
                </a:ext>
              </a:extLst>
            </p:cNvPr>
            <p:cNvGrpSpPr/>
            <p:nvPr/>
          </p:nvGrpSpPr>
          <p:grpSpPr>
            <a:xfrm>
              <a:off x="6061121" y="1359924"/>
              <a:ext cx="128487" cy="396366"/>
              <a:chOff x="6061121" y="1359924"/>
              <a:chExt cx="128487" cy="396366"/>
            </a:xfrm>
            <a:noFill/>
          </p:grpSpPr>
          <p:sp>
            <p:nvSpPr>
              <p:cNvPr id="29" name="Forma livre: Forma 28">
                <a:extLst>
                  <a:ext uri="{FF2B5EF4-FFF2-40B4-BE49-F238E27FC236}">
                    <a16:creationId xmlns:a16="http://schemas.microsoft.com/office/drawing/2014/main" id="{264809E9-8491-5AAF-2B7C-58342AEB78B3}"/>
                  </a:ext>
                </a:extLst>
              </p:cNvPr>
              <p:cNvSpPr/>
              <p:nvPr/>
            </p:nvSpPr>
            <p:spPr>
              <a:xfrm>
                <a:off x="6083891" y="1359924"/>
                <a:ext cx="105717" cy="396366"/>
              </a:xfrm>
              <a:custGeom>
                <a:avLst/>
                <a:gdLst>
                  <a:gd name="connsiteX0" fmla="*/ 52891 w 105717"/>
                  <a:gd name="connsiteY0" fmla="*/ 105718 h 396366"/>
                  <a:gd name="connsiteX1" fmla="*/ 0 w 105717"/>
                  <a:gd name="connsiteY1" fmla="*/ 52891 h 396366"/>
                  <a:gd name="connsiteX2" fmla="*/ 52891 w 105717"/>
                  <a:gd name="connsiteY2" fmla="*/ 0 h 396366"/>
                  <a:gd name="connsiteX3" fmla="*/ 105718 w 105717"/>
                  <a:gd name="connsiteY3" fmla="*/ 52826 h 396366"/>
                  <a:gd name="connsiteX4" fmla="*/ 105718 w 105717"/>
                  <a:gd name="connsiteY4" fmla="*/ 346884 h 396366"/>
                  <a:gd name="connsiteX5" fmla="*/ 80606 w 105717"/>
                  <a:gd name="connsiteY5" fmla="*/ 388911 h 396366"/>
                  <a:gd name="connsiteX6" fmla="*/ 9238 w 105717"/>
                  <a:gd name="connsiteY6" fmla="*/ 371150 h 396366"/>
                  <a:gd name="connsiteX7" fmla="*/ 15484 w 105717"/>
                  <a:gd name="connsiteY7" fmla="*/ 309216 h 396366"/>
                  <a:gd name="connsiteX8" fmla="*/ 45019 w 105717"/>
                  <a:gd name="connsiteY8" fmla="*/ 277078 h 3963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05717" h="396366">
                    <a:moveTo>
                      <a:pt x="52891" y="105718"/>
                    </a:moveTo>
                    <a:cubicBezTo>
                      <a:pt x="23681" y="105718"/>
                      <a:pt x="0" y="82037"/>
                      <a:pt x="0" y="52891"/>
                    </a:cubicBezTo>
                    <a:cubicBezTo>
                      <a:pt x="0" y="23746"/>
                      <a:pt x="23681" y="0"/>
                      <a:pt x="52891" y="0"/>
                    </a:cubicBezTo>
                    <a:cubicBezTo>
                      <a:pt x="82102" y="0"/>
                      <a:pt x="105718" y="23681"/>
                      <a:pt x="105718" y="52826"/>
                    </a:cubicBezTo>
                    <a:lnTo>
                      <a:pt x="105718" y="346884"/>
                    </a:lnTo>
                    <a:cubicBezTo>
                      <a:pt x="105718" y="364580"/>
                      <a:pt x="96414" y="379413"/>
                      <a:pt x="80606" y="388911"/>
                    </a:cubicBezTo>
                    <a:cubicBezTo>
                      <a:pt x="55949" y="403744"/>
                      <a:pt x="24006" y="395742"/>
                      <a:pt x="9238" y="371150"/>
                    </a:cubicBezTo>
                    <a:cubicBezTo>
                      <a:pt x="-2928" y="350918"/>
                      <a:pt x="260" y="325741"/>
                      <a:pt x="15484" y="309216"/>
                    </a:cubicBezTo>
                    <a:lnTo>
                      <a:pt x="45019" y="277078"/>
                    </a:lnTo>
                  </a:path>
                </a:pathLst>
              </a:custGeom>
              <a:noFill/>
              <a:ln w="19050" cap="sq">
                <a:solidFill>
                  <a:srgbClr val="1D3EB6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0" name="Forma livre: Forma 29">
                <a:extLst>
                  <a:ext uri="{FF2B5EF4-FFF2-40B4-BE49-F238E27FC236}">
                    <a16:creationId xmlns:a16="http://schemas.microsoft.com/office/drawing/2014/main" id="{001C6FE2-190D-7F32-1F0D-A600758BF809}"/>
                  </a:ext>
                </a:extLst>
              </p:cNvPr>
              <p:cNvSpPr/>
              <p:nvPr/>
            </p:nvSpPr>
            <p:spPr>
              <a:xfrm>
                <a:off x="6144784" y="1383865"/>
                <a:ext cx="41563" cy="38963"/>
              </a:xfrm>
              <a:custGeom>
                <a:avLst/>
                <a:gdLst>
                  <a:gd name="connsiteX0" fmla="*/ 36172 w 41563"/>
                  <a:gd name="connsiteY0" fmla="*/ 0 h 38963"/>
                  <a:gd name="connsiteX1" fmla="*/ 39425 w 41563"/>
                  <a:gd name="connsiteY1" fmla="*/ 24266 h 38963"/>
                  <a:gd name="connsiteX2" fmla="*/ 36432 w 41563"/>
                  <a:gd name="connsiteY2" fmla="*/ 29080 h 38963"/>
                  <a:gd name="connsiteX3" fmla="*/ 0 w 41563"/>
                  <a:gd name="connsiteY3" fmla="*/ 33439 h 389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563" h="38963">
                    <a:moveTo>
                      <a:pt x="36172" y="0"/>
                    </a:moveTo>
                    <a:cubicBezTo>
                      <a:pt x="41571" y="7547"/>
                      <a:pt x="43393" y="16004"/>
                      <a:pt x="39425" y="24266"/>
                    </a:cubicBezTo>
                    <a:cubicBezTo>
                      <a:pt x="38644" y="25893"/>
                      <a:pt x="37603" y="27519"/>
                      <a:pt x="36432" y="29080"/>
                    </a:cubicBezTo>
                    <a:cubicBezTo>
                      <a:pt x="27584" y="40270"/>
                      <a:pt x="11190" y="42287"/>
                      <a:pt x="0" y="33439"/>
                    </a:cubicBezTo>
                  </a:path>
                </a:pathLst>
              </a:custGeom>
              <a:noFill/>
              <a:ln w="19050" cap="sq">
                <a:solidFill>
                  <a:srgbClr val="1D3EB6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1" name="Forma livre: Forma 30">
                <a:extLst>
                  <a:ext uri="{FF2B5EF4-FFF2-40B4-BE49-F238E27FC236}">
                    <a16:creationId xmlns:a16="http://schemas.microsoft.com/office/drawing/2014/main" id="{7BC45E06-6FBD-AA7A-E6C4-67897CDD6287}"/>
                  </a:ext>
                </a:extLst>
              </p:cNvPr>
              <p:cNvSpPr/>
              <p:nvPr/>
            </p:nvSpPr>
            <p:spPr>
              <a:xfrm>
                <a:off x="6081487" y="1460806"/>
                <a:ext cx="34217" cy="54474"/>
              </a:xfrm>
              <a:custGeom>
                <a:avLst/>
                <a:gdLst>
                  <a:gd name="connsiteX0" fmla="*/ 21076 w 34217"/>
                  <a:gd name="connsiteY0" fmla="*/ 54475 h 54474"/>
                  <a:gd name="connsiteX1" fmla="*/ 778 w 34217"/>
                  <a:gd name="connsiteY1" fmla="*/ 21035 h 54474"/>
                  <a:gd name="connsiteX2" fmla="*/ 34217 w 34217"/>
                  <a:gd name="connsiteY2" fmla="*/ 803 h 544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4217" h="54474">
                    <a:moveTo>
                      <a:pt x="21076" y="54475"/>
                    </a:moveTo>
                    <a:cubicBezTo>
                      <a:pt x="6308" y="50832"/>
                      <a:pt x="-2800" y="35803"/>
                      <a:pt x="778" y="21035"/>
                    </a:cubicBezTo>
                    <a:cubicBezTo>
                      <a:pt x="4421" y="6267"/>
                      <a:pt x="19449" y="-2841"/>
                      <a:pt x="34217" y="803"/>
                    </a:cubicBezTo>
                  </a:path>
                </a:pathLst>
              </a:custGeom>
              <a:noFill/>
              <a:ln w="19050" cap="sq">
                <a:solidFill>
                  <a:srgbClr val="1D3EB6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2" name="Forma livre: Forma 31">
                <a:extLst>
                  <a:ext uri="{FF2B5EF4-FFF2-40B4-BE49-F238E27FC236}">
                    <a16:creationId xmlns:a16="http://schemas.microsoft.com/office/drawing/2014/main" id="{55715CE9-CC7C-F378-F214-96F4680D5312}"/>
                  </a:ext>
                </a:extLst>
              </p:cNvPr>
              <p:cNvSpPr/>
              <p:nvPr/>
            </p:nvSpPr>
            <p:spPr>
              <a:xfrm>
                <a:off x="6073547" y="1527543"/>
                <a:ext cx="114760" cy="72506"/>
              </a:xfrm>
              <a:custGeom>
                <a:avLst/>
                <a:gdLst>
                  <a:gd name="connsiteX0" fmla="*/ 114760 w 114760"/>
                  <a:gd name="connsiteY0" fmla="*/ 7254 h 72506"/>
                  <a:gd name="connsiteX1" fmla="*/ 73905 w 114760"/>
                  <a:gd name="connsiteY1" fmla="*/ 8881 h 72506"/>
                  <a:gd name="connsiteX2" fmla="*/ 0 w 114760"/>
                  <a:gd name="connsiteY2" fmla="*/ 72506 h 725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14760" h="72506">
                    <a:moveTo>
                      <a:pt x="114760" y="7254"/>
                    </a:moveTo>
                    <a:cubicBezTo>
                      <a:pt x="103375" y="-2830"/>
                      <a:pt x="83989" y="-2504"/>
                      <a:pt x="73905" y="8881"/>
                    </a:cubicBezTo>
                    <a:cubicBezTo>
                      <a:pt x="73905" y="8881"/>
                      <a:pt x="31488" y="72506"/>
                      <a:pt x="0" y="72506"/>
                    </a:cubicBezTo>
                  </a:path>
                </a:pathLst>
              </a:custGeom>
              <a:noFill/>
              <a:ln w="19050" cap="sq">
                <a:solidFill>
                  <a:srgbClr val="1D3EB6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3" name="Forma livre: Forma 32">
                <a:extLst>
                  <a:ext uri="{FF2B5EF4-FFF2-40B4-BE49-F238E27FC236}">
                    <a16:creationId xmlns:a16="http://schemas.microsoft.com/office/drawing/2014/main" id="{2033AD16-3F03-B4CA-2F1C-2EA68ECB67D8}"/>
                  </a:ext>
                </a:extLst>
              </p:cNvPr>
              <p:cNvSpPr/>
              <p:nvPr/>
            </p:nvSpPr>
            <p:spPr>
              <a:xfrm>
                <a:off x="6079857" y="1646956"/>
                <a:ext cx="29405" cy="9823"/>
              </a:xfrm>
              <a:custGeom>
                <a:avLst/>
                <a:gdLst>
                  <a:gd name="connsiteX0" fmla="*/ 0 w 29405"/>
                  <a:gd name="connsiteY0" fmla="*/ 0 h 9823"/>
                  <a:gd name="connsiteX1" fmla="*/ 29406 w 29405"/>
                  <a:gd name="connsiteY1" fmla="*/ 9824 h 98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9405" h="9823">
                    <a:moveTo>
                      <a:pt x="0" y="0"/>
                    </a:moveTo>
                    <a:lnTo>
                      <a:pt x="29406" y="9824"/>
                    </a:lnTo>
                  </a:path>
                </a:pathLst>
              </a:custGeom>
              <a:ln w="19050" cap="sq">
                <a:solidFill>
                  <a:srgbClr val="1D3EB6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4" name="Forma livre: Forma 33">
                <a:extLst>
                  <a:ext uri="{FF2B5EF4-FFF2-40B4-BE49-F238E27FC236}">
                    <a16:creationId xmlns:a16="http://schemas.microsoft.com/office/drawing/2014/main" id="{976D5282-1551-C7F3-A08F-FEF1EAE7480A}"/>
                  </a:ext>
                </a:extLst>
              </p:cNvPr>
              <p:cNvSpPr/>
              <p:nvPr/>
            </p:nvSpPr>
            <p:spPr>
              <a:xfrm>
                <a:off x="6061121" y="1545272"/>
                <a:ext cx="47166" cy="34154"/>
              </a:xfrm>
              <a:custGeom>
                <a:avLst/>
                <a:gdLst>
                  <a:gd name="connsiteX0" fmla="*/ 0 w 47166"/>
                  <a:gd name="connsiteY0" fmla="*/ 0 h 34154"/>
                  <a:gd name="connsiteX1" fmla="*/ 47166 w 47166"/>
                  <a:gd name="connsiteY1" fmla="*/ 34155 h 341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166" h="34154">
                    <a:moveTo>
                      <a:pt x="0" y="0"/>
                    </a:moveTo>
                    <a:cubicBezTo>
                      <a:pt x="0" y="0"/>
                      <a:pt x="27649" y="13011"/>
                      <a:pt x="47166" y="34155"/>
                    </a:cubicBezTo>
                  </a:path>
                </a:pathLst>
              </a:custGeom>
              <a:noFill/>
              <a:ln w="19050" cap="sq">
                <a:solidFill>
                  <a:srgbClr val="1D3EB6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5" name="Gráfico 32">
              <a:extLst>
                <a:ext uri="{FF2B5EF4-FFF2-40B4-BE49-F238E27FC236}">
                  <a16:creationId xmlns:a16="http://schemas.microsoft.com/office/drawing/2014/main" id="{BFA111F9-D529-42BD-6976-6F13F98FCD29}"/>
                </a:ext>
              </a:extLst>
            </p:cNvPr>
            <p:cNvGrpSpPr/>
            <p:nvPr/>
          </p:nvGrpSpPr>
          <p:grpSpPr>
            <a:xfrm>
              <a:off x="6191625" y="1599725"/>
              <a:ext cx="173767" cy="157112"/>
              <a:chOff x="6191625" y="1599725"/>
              <a:chExt cx="173767" cy="157112"/>
            </a:xfrm>
            <a:noFill/>
          </p:grpSpPr>
          <p:sp>
            <p:nvSpPr>
              <p:cNvPr id="25" name="Forma livre: Forma 24">
                <a:extLst>
                  <a:ext uri="{FF2B5EF4-FFF2-40B4-BE49-F238E27FC236}">
                    <a16:creationId xmlns:a16="http://schemas.microsoft.com/office/drawing/2014/main" id="{81B70A6D-33CF-60EC-5AD5-881B37A42CAD}"/>
                  </a:ext>
                </a:extLst>
              </p:cNvPr>
              <p:cNvSpPr/>
              <p:nvPr/>
            </p:nvSpPr>
            <p:spPr>
              <a:xfrm>
                <a:off x="6310094" y="1621974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rgbClr val="1D3EB6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6" name="Forma livre: Forma 25">
                <a:extLst>
                  <a:ext uri="{FF2B5EF4-FFF2-40B4-BE49-F238E27FC236}">
                    <a16:creationId xmlns:a16="http://schemas.microsoft.com/office/drawing/2014/main" id="{1720AB13-F033-6D71-594C-8E8CD6FE028F}"/>
                  </a:ext>
                </a:extLst>
              </p:cNvPr>
              <p:cNvSpPr/>
              <p:nvPr/>
            </p:nvSpPr>
            <p:spPr>
              <a:xfrm>
                <a:off x="6191625" y="1599725"/>
                <a:ext cx="118078" cy="49898"/>
              </a:xfrm>
              <a:custGeom>
                <a:avLst/>
                <a:gdLst>
                  <a:gd name="connsiteX0" fmla="*/ 0 w 118078"/>
                  <a:gd name="connsiteY0" fmla="*/ 0 h 49898"/>
                  <a:gd name="connsiteX1" fmla="*/ 37343 w 118078"/>
                  <a:gd name="connsiteY1" fmla="*/ 0 h 49898"/>
                  <a:gd name="connsiteX2" fmla="*/ 87176 w 118078"/>
                  <a:gd name="connsiteY2" fmla="*/ 49899 h 49898"/>
                  <a:gd name="connsiteX3" fmla="*/ 118078 w 118078"/>
                  <a:gd name="connsiteY3" fmla="*/ 49899 h 49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8078" h="49898">
                    <a:moveTo>
                      <a:pt x="0" y="0"/>
                    </a:moveTo>
                    <a:lnTo>
                      <a:pt x="37343" y="0"/>
                    </a:lnTo>
                    <a:lnTo>
                      <a:pt x="87176" y="49899"/>
                    </a:lnTo>
                    <a:lnTo>
                      <a:pt x="118078" y="49899"/>
                    </a:lnTo>
                  </a:path>
                </a:pathLst>
              </a:custGeom>
              <a:noFill/>
              <a:ln w="19050" cap="sq">
                <a:solidFill>
                  <a:srgbClr val="1D3EB6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7" name="Forma livre: Forma 26">
                <a:extLst>
                  <a:ext uri="{FF2B5EF4-FFF2-40B4-BE49-F238E27FC236}">
                    <a16:creationId xmlns:a16="http://schemas.microsoft.com/office/drawing/2014/main" id="{8239D594-0DB7-868D-D81E-5E3EF9310BE6}"/>
                  </a:ext>
                </a:extLst>
              </p:cNvPr>
              <p:cNvSpPr/>
              <p:nvPr/>
            </p:nvSpPr>
            <p:spPr>
              <a:xfrm>
                <a:off x="6191625" y="1665367"/>
                <a:ext cx="81906" cy="44108"/>
              </a:xfrm>
              <a:custGeom>
                <a:avLst/>
                <a:gdLst>
                  <a:gd name="connsiteX0" fmla="*/ 0 w 81906"/>
                  <a:gd name="connsiteY0" fmla="*/ 0 h 44108"/>
                  <a:gd name="connsiteX1" fmla="*/ 37343 w 81906"/>
                  <a:gd name="connsiteY1" fmla="*/ 0 h 44108"/>
                  <a:gd name="connsiteX2" fmla="*/ 81907 w 81906"/>
                  <a:gd name="connsiteY2" fmla="*/ 44109 h 441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1906" h="44108">
                    <a:moveTo>
                      <a:pt x="0" y="0"/>
                    </a:moveTo>
                    <a:lnTo>
                      <a:pt x="37343" y="0"/>
                    </a:lnTo>
                    <a:lnTo>
                      <a:pt x="81907" y="44109"/>
                    </a:lnTo>
                  </a:path>
                </a:pathLst>
              </a:custGeom>
              <a:noFill/>
              <a:ln w="19050" cap="sq">
                <a:solidFill>
                  <a:srgbClr val="1D3EB6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8" name="Forma livre: Forma 27">
                <a:extLst>
                  <a:ext uri="{FF2B5EF4-FFF2-40B4-BE49-F238E27FC236}">
                    <a16:creationId xmlns:a16="http://schemas.microsoft.com/office/drawing/2014/main" id="{9F63D74C-5432-F750-BCC9-6CBA4FBB2179}"/>
                  </a:ext>
                </a:extLst>
              </p:cNvPr>
              <p:cNvSpPr/>
              <p:nvPr/>
            </p:nvSpPr>
            <p:spPr>
              <a:xfrm>
                <a:off x="6265075" y="1701539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rgbClr val="1D3EB6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6" name="Gráfico 32">
              <a:extLst>
                <a:ext uri="{FF2B5EF4-FFF2-40B4-BE49-F238E27FC236}">
                  <a16:creationId xmlns:a16="http://schemas.microsoft.com/office/drawing/2014/main" id="{64B8FF53-AEF8-0ACF-7A27-AC56994E43A5}"/>
                </a:ext>
              </a:extLst>
            </p:cNvPr>
            <p:cNvGrpSpPr/>
            <p:nvPr/>
          </p:nvGrpSpPr>
          <p:grpSpPr>
            <a:xfrm>
              <a:off x="6191625" y="1357908"/>
              <a:ext cx="173767" cy="157112"/>
              <a:chOff x="6191625" y="1357908"/>
              <a:chExt cx="173767" cy="157112"/>
            </a:xfrm>
            <a:noFill/>
          </p:grpSpPr>
          <p:sp>
            <p:nvSpPr>
              <p:cNvPr id="21" name="Forma livre: Forma 20">
                <a:extLst>
                  <a:ext uri="{FF2B5EF4-FFF2-40B4-BE49-F238E27FC236}">
                    <a16:creationId xmlns:a16="http://schemas.microsoft.com/office/drawing/2014/main" id="{695244E2-E3CB-BF12-EF05-2DE7CB02CE48}"/>
                  </a:ext>
                </a:extLst>
              </p:cNvPr>
              <p:cNvSpPr/>
              <p:nvPr/>
            </p:nvSpPr>
            <p:spPr>
              <a:xfrm>
                <a:off x="6310094" y="1437472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0 h 55298"/>
                  <a:gd name="connsiteX2" fmla="*/ 0 w 55298"/>
                  <a:gd name="connsiteY2" fmla="*/ 27649 h 55298"/>
                  <a:gd name="connsiteX3" fmla="*/ 27649 w 55298"/>
                  <a:gd name="connsiteY3" fmla="*/ 55298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12361"/>
                      <a:pt x="42938" y="0"/>
                      <a:pt x="27649" y="0"/>
                    </a:cubicBezTo>
                    <a:cubicBezTo>
                      <a:pt x="12361" y="0"/>
                      <a:pt x="0" y="12361"/>
                      <a:pt x="0" y="27649"/>
                    </a:cubicBezTo>
                    <a:cubicBezTo>
                      <a:pt x="0" y="42938"/>
                      <a:pt x="12361" y="55298"/>
                      <a:pt x="27649" y="55298"/>
                    </a:cubicBezTo>
                    <a:cubicBezTo>
                      <a:pt x="42938" y="55298"/>
                      <a:pt x="55298" y="42938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rgbClr val="1D3EB6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2" name="Forma livre: Forma 21">
                <a:extLst>
                  <a:ext uri="{FF2B5EF4-FFF2-40B4-BE49-F238E27FC236}">
                    <a16:creationId xmlns:a16="http://schemas.microsoft.com/office/drawing/2014/main" id="{07126314-7A4C-A864-41C6-E957A6DCF6A2}"/>
                  </a:ext>
                </a:extLst>
              </p:cNvPr>
              <p:cNvSpPr/>
              <p:nvPr/>
            </p:nvSpPr>
            <p:spPr>
              <a:xfrm>
                <a:off x="6191625" y="1465122"/>
                <a:ext cx="118468" cy="49898"/>
              </a:xfrm>
              <a:custGeom>
                <a:avLst/>
                <a:gdLst>
                  <a:gd name="connsiteX0" fmla="*/ 0 w 118468"/>
                  <a:gd name="connsiteY0" fmla="*/ 49899 h 49898"/>
                  <a:gd name="connsiteX1" fmla="*/ 37343 w 118468"/>
                  <a:gd name="connsiteY1" fmla="*/ 49899 h 49898"/>
                  <a:gd name="connsiteX2" fmla="*/ 87176 w 118468"/>
                  <a:gd name="connsiteY2" fmla="*/ 0 h 49898"/>
                  <a:gd name="connsiteX3" fmla="*/ 118469 w 118468"/>
                  <a:gd name="connsiteY3" fmla="*/ 0 h 49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8468" h="49898">
                    <a:moveTo>
                      <a:pt x="0" y="49899"/>
                    </a:moveTo>
                    <a:lnTo>
                      <a:pt x="37343" y="49899"/>
                    </a:lnTo>
                    <a:lnTo>
                      <a:pt x="87176" y="0"/>
                    </a:lnTo>
                    <a:lnTo>
                      <a:pt x="118469" y="0"/>
                    </a:lnTo>
                  </a:path>
                </a:pathLst>
              </a:custGeom>
              <a:noFill/>
              <a:ln w="19050" cap="sq">
                <a:solidFill>
                  <a:srgbClr val="1D3EB6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3" name="Forma livre: Forma 22">
                <a:extLst>
                  <a:ext uri="{FF2B5EF4-FFF2-40B4-BE49-F238E27FC236}">
                    <a16:creationId xmlns:a16="http://schemas.microsoft.com/office/drawing/2014/main" id="{40740201-EF8D-CF72-D597-6EA9311BE1A5}"/>
                  </a:ext>
                </a:extLst>
              </p:cNvPr>
              <p:cNvSpPr/>
              <p:nvPr/>
            </p:nvSpPr>
            <p:spPr>
              <a:xfrm>
                <a:off x="6191625" y="1405269"/>
                <a:ext cx="81451" cy="44043"/>
              </a:xfrm>
              <a:custGeom>
                <a:avLst/>
                <a:gdLst>
                  <a:gd name="connsiteX0" fmla="*/ 0 w 81451"/>
                  <a:gd name="connsiteY0" fmla="*/ 44044 h 44043"/>
                  <a:gd name="connsiteX1" fmla="*/ 37343 w 81451"/>
                  <a:gd name="connsiteY1" fmla="*/ 44044 h 44043"/>
                  <a:gd name="connsiteX2" fmla="*/ 81451 w 81451"/>
                  <a:gd name="connsiteY2" fmla="*/ 0 h 440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1451" h="44043">
                    <a:moveTo>
                      <a:pt x="0" y="44044"/>
                    </a:moveTo>
                    <a:lnTo>
                      <a:pt x="37343" y="44044"/>
                    </a:lnTo>
                    <a:lnTo>
                      <a:pt x="81451" y="0"/>
                    </a:lnTo>
                  </a:path>
                </a:pathLst>
              </a:custGeom>
              <a:noFill/>
              <a:ln w="19050" cap="sq">
                <a:solidFill>
                  <a:srgbClr val="1D3EB6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4" name="Forma livre: Forma 23">
                <a:extLst>
                  <a:ext uri="{FF2B5EF4-FFF2-40B4-BE49-F238E27FC236}">
                    <a16:creationId xmlns:a16="http://schemas.microsoft.com/office/drawing/2014/main" id="{021406A2-677A-D8F9-D880-3908323D7EA8}"/>
                  </a:ext>
                </a:extLst>
              </p:cNvPr>
              <p:cNvSpPr/>
              <p:nvPr/>
            </p:nvSpPr>
            <p:spPr>
              <a:xfrm>
                <a:off x="6265075" y="1357908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0 h 55298"/>
                  <a:gd name="connsiteX2" fmla="*/ 0 w 55298"/>
                  <a:gd name="connsiteY2" fmla="*/ 27649 h 55298"/>
                  <a:gd name="connsiteX3" fmla="*/ 27649 w 55298"/>
                  <a:gd name="connsiteY3" fmla="*/ 55298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12361"/>
                      <a:pt x="42938" y="0"/>
                      <a:pt x="27649" y="0"/>
                    </a:cubicBezTo>
                    <a:cubicBezTo>
                      <a:pt x="12361" y="0"/>
                      <a:pt x="0" y="12361"/>
                      <a:pt x="0" y="27649"/>
                    </a:cubicBezTo>
                    <a:cubicBezTo>
                      <a:pt x="0" y="42938"/>
                      <a:pt x="12361" y="55298"/>
                      <a:pt x="27649" y="55298"/>
                    </a:cubicBezTo>
                    <a:cubicBezTo>
                      <a:pt x="42938" y="55298"/>
                      <a:pt x="55298" y="42938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rgbClr val="1D3EB6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7" name="Gráfico 32">
              <a:extLst>
                <a:ext uri="{FF2B5EF4-FFF2-40B4-BE49-F238E27FC236}">
                  <a16:creationId xmlns:a16="http://schemas.microsoft.com/office/drawing/2014/main" id="{68E2B9D5-5465-DE76-EE8F-601894BBA32A}"/>
                </a:ext>
              </a:extLst>
            </p:cNvPr>
            <p:cNvGrpSpPr/>
            <p:nvPr/>
          </p:nvGrpSpPr>
          <p:grpSpPr>
            <a:xfrm>
              <a:off x="6190910" y="1529723"/>
              <a:ext cx="123673" cy="55298"/>
              <a:chOff x="6190910" y="1529723"/>
              <a:chExt cx="123673" cy="55298"/>
            </a:xfrm>
            <a:noFill/>
          </p:grpSpPr>
          <p:sp>
            <p:nvSpPr>
              <p:cNvPr id="19" name="Forma livre: Forma 18">
                <a:extLst>
                  <a:ext uri="{FF2B5EF4-FFF2-40B4-BE49-F238E27FC236}">
                    <a16:creationId xmlns:a16="http://schemas.microsoft.com/office/drawing/2014/main" id="{57247DFA-7019-7D2F-04E5-B3AA411FC0BE}"/>
                  </a:ext>
                </a:extLst>
              </p:cNvPr>
              <p:cNvSpPr/>
              <p:nvPr/>
            </p:nvSpPr>
            <p:spPr>
              <a:xfrm>
                <a:off x="6190910" y="1557372"/>
                <a:ext cx="68765" cy="6505"/>
              </a:xfrm>
              <a:custGeom>
                <a:avLst/>
                <a:gdLst>
                  <a:gd name="connsiteX0" fmla="*/ 0 w 68765"/>
                  <a:gd name="connsiteY0" fmla="*/ 0 h 6505"/>
                  <a:gd name="connsiteX1" fmla="*/ 68765 w 68765"/>
                  <a:gd name="connsiteY1" fmla="*/ 0 h 65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8765" h="6505">
                    <a:moveTo>
                      <a:pt x="0" y="0"/>
                    </a:moveTo>
                    <a:lnTo>
                      <a:pt x="68765" y="0"/>
                    </a:lnTo>
                  </a:path>
                </a:pathLst>
              </a:custGeom>
              <a:ln w="19050" cap="sq">
                <a:solidFill>
                  <a:srgbClr val="1D3EB6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0" name="Forma livre: Forma 19">
                <a:extLst>
                  <a:ext uri="{FF2B5EF4-FFF2-40B4-BE49-F238E27FC236}">
                    <a16:creationId xmlns:a16="http://schemas.microsoft.com/office/drawing/2014/main" id="{EC0B99D5-8E6D-954A-A4FD-CB24DF27DF08}"/>
                  </a:ext>
                </a:extLst>
              </p:cNvPr>
              <p:cNvSpPr/>
              <p:nvPr/>
            </p:nvSpPr>
            <p:spPr>
              <a:xfrm>
                <a:off x="6259285" y="1529723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rgbClr val="1D3EB6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8" name="Forma livre: Forma 17">
              <a:extLst>
                <a:ext uri="{FF2B5EF4-FFF2-40B4-BE49-F238E27FC236}">
                  <a16:creationId xmlns:a16="http://schemas.microsoft.com/office/drawing/2014/main" id="{01EB88CA-45BA-779E-8A55-E2A850770A91}"/>
                </a:ext>
              </a:extLst>
            </p:cNvPr>
            <p:cNvSpPr/>
            <p:nvPr/>
          </p:nvSpPr>
          <p:spPr>
            <a:xfrm>
              <a:off x="6152201" y="1686285"/>
              <a:ext cx="37362" cy="20848"/>
            </a:xfrm>
            <a:custGeom>
              <a:avLst/>
              <a:gdLst>
                <a:gd name="connsiteX0" fmla="*/ 0 w 37362"/>
                <a:gd name="connsiteY0" fmla="*/ 10505 h 20848"/>
                <a:gd name="connsiteX1" fmla="*/ 27064 w 37362"/>
                <a:gd name="connsiteY1" fmla="*/ 2373 h 20848"/>
                <a:gd name="connsiteX2" fmla="*/ 37343 w 37362"/>
                <a:gd name="connsiteY2" fmla="*/ 20849 h 20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7362" h="20848">
                  <a:moveTo>
                    <a:pt x="0" y="10505"/>
                  </a:moveTo>
                  <a:cubicBezTo>
                    <a:pt x="5205" y="811"/>
                    <a:pt x="17435" y="-2832"/>
                    <a:pt x="27064" y="2373"/>
                  </a:cubicBezTo>
                  <a:cubicBezTo>
                    <a:pt x="34025" y="6081"/>
                    <a:pt x="37668" y="13432"/>
                    <a:pt x="37343" y="20849"/>
                  </a:cubicBezTo>
                </a:path>
              </a:pathLst>
            </a:custGeom>
            <a:noFill/>
            <a:ln w="19050" cap="sq">
              <a:solidFill>
                <a:srgbClr val="1D3EB6"/>
              </a:solidFill>
              <a:prstDash val="solid"/>
              <a:miter lim="800000"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sp>
        <p:nvSpPr>
          <p:cNvPr id="2" name="Marcador de pie de página 1">
            <a:extLst>
              <a:ext uri="{FF2B5EF4-FFF2-40B4-BE49-F238E27FC236}">
                <a16:creationId xmlns:a16="http://schemas.microsoft.com/office/drawing/2014/main" id="{F866D91B-A91C-40B9-94C0-0569409333F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pt-PT"/>
              <a:t>Título de la presentación</a:t>
            </a:r>
            <a:endParaRPr lang="pt-PT" dirty="0"/>
          </a:p>
        </p:txBody>
      </p:sp>
      <p:sp>
        <p:nvSpPr>
          <p:cNvPr id="3" name="Marcador de número de diapositiva 2">
            <a:extLst>
              <a:ext uri="{FF2B5EF4-FFF2-40B4-BE49-F238E27FC236}">
                <a16:creationId xmlns:a16="http://schemas.microsoft.com/office/drawing/2014/main" id="{C393ED8B-59B6-4DD5-B509-FF7CEF1C419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4A347C2-D68E-473A-8C76-1D063E4EB6E0}" type="slidenum">
              <a:rPr lang="es-ES" smtClean="0"/>
              <a:pPr/>
              <a:t>20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6547476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5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42" presetClass="path" presetSubtype="0" decel="100000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animMotion origin="layout" path="M 0.01666 -0.00046 L 3.75E-6 1.85185E-6 " pathEditMode="relative" rAng="0" ptsTypes="AA">
                                      <p:cBhvr>
                                        <p:cTn id="9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83300" y="230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Marcador de Posição do Texto 24">
            <a:extLst>
              <a:ext uri="{FF2B5EF4-FFF2-40B4-BE49-F238E27FC236}">
                <a16:creationId xmlns:a16="http://schemas.microsoft.com/office/drawing/2014/main" id="{C6D4762F-7E34-17C4-60D8-1F9B78881ACD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/>
        <p:txBody>
          <a:bodyPr/>
          <a:lstStyle/>
          <a:p>
            <a:r>
              <a:rPr lang="pt-PT" dirty="0"/>
              <a:t>Texto destacado</a:t>
            </a:r>
          </a:p>
          <a:p>
            <a:endParaRPr lang="pt-PT" dirty="0"/>
          </a:p>
        </p:txBody>
      </p:sp>
      <p:sp>
        <p:nvSpPr>
          <p:cNvPr id="24" name="Marcador de Posição do Texto 23">
            <a:extLst>
              <a:ext uri="{FF2B5EF4-FFF2-40B4-BE49-F238E27FC236}">
                <a16:creationId xmlns:a16="http://schemas.microsoft.com/office/drawing/2014/main" id="{8B642037-764A-E1DA-BEB8-50012BCE2A6B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r>
              <a:rPr lang="pt-PT" dirty="0"/>
              <a:t>Texto destacado</a:t>
            </a:r>
          </a:p>
          <a:p>
            <a:endParaRPr lang="pt-PT" dirty="0"/>
          </a:p>
        </p:txBody>
      </p:sp>
      <p:sp>
        <p:nvSpPr>
          <p:cNvPr id="23" name="Marcador de Posição do Texto 22">
            <a:extLst>
              <a:ext uri="{FF2B5EF4-FFF2-40B4-BE49-F238E27FC236}">
                <a16:creationId xmlns:a16="http://schemas.microsoft.com/office/drawing/2014/main" id="{33590180-3B0D-F3CC-AACD-6B75476C09C4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r>
              <a:rPr lang="pt-PT" dirty="0"/>
              <a:t>Texto destacado</a:t>
            </a:r>
          </a:p>
          <a:p>
            <a:endParaRPr lang="pt-PT" dirty="0"/>
          </a:p>
        </p:txBody>
      </p:sp>
      <p:sp>
        <p:nvSpPr>
          <p:cNvPr id="19" name="Marcador de Posição do Texto 18">
            <a:extLst>
              <a:ext uri="{FF2B5EF4-FFF2-40B4-BE49-F238E27FC236}">
                <a16:creationId xmlns:a16="http://schemas.microsoft.com/office/drawing/2014/main" id="{488331AD-F4A9-B2EC-C975-75B84DB736D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t-PT" dirty="0"/>
              <a:t>Texto destacado</a:t>
            </a:r>
          </a:p>
        </p:txBody>
      </p:sp>
      <p:sp>
        <p:nvSpPr>
          <p:cNvPr id="16" name="Título 15">
            <a:extLst>
              <a:ext uri="{FF2B5EF4-FFF2-40B4-BE49-F238E27FC236}">
                <a16:creationId xmlns:a16="http://schemas.microsoft.com/office/drawing/2014/main" id="{12617BA4-28F1-5E8A-AA5D-A9846E22C2F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PT" dirty="0"/>
              <a:t>Ejemplo de título de slide</a:t>
            </a:r>
          </a:p>
        </p:txBody>
      </p:sp>
      <p:sp>
        <p:nvSpPr>
          <p:cNvPr id="17" name="Marcador de Posição do Texto 16">
            <a:extLst>
              <a:ext uri="{FF2B5EF4-FFF2-40B4-BE49-F238E27FC236}">
                <a16:creationId xmlns:a16="http://schemas.microsoft.com/office/drawing/2014/main" id="{ADF8A9F0-A5CC-FDA6-3399-B051412C869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>
            <a:normAutofit lnSpcReduction="10000"/>
          </a:bodyPr>
          <a:lstStyle/>
          <a:p>
            <a:r>
              <a:rPr lang="pt-PT" dirty="0"/>
              <a:t>Ejemplo de subtítulo de slide</a:t>
            </a:r>
          </a:p>
        </p:txBody>
      </p:sp>
      <p:sp>
        <p:nvSpPr>
          <p:cNvPr id="6" name="Marcador de pie de página 5">
            <a:extLst>
              <a:ext uri="{FF2B5EF4-FFF2-40B4-BE49-F238E27FC236}">
                <a16:creationId xmlns:a16="http://schemas.microsoft.com/office/drawing/2014/main" id="{DD175AF9-9EE1-4537-A424-DFE2B14217F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pt-PT"/>
              <a:t>Título de la presentación</a:t>
            </a:r>
            <a:endParaRPr lang="pt-PT" dirty="0"/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:a16="http://schemas.microsoft.com/office/drawing/2014/main" id="{4773A02C-0A24-4C7E-BF26-66BFD0DFFEB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4A347C2-D68E-473A-8C76-1D063E4EB6E0}" type="slidenum">
              <a:rPr lang="es-ES" smtClean="0"/>
              <a:pPr/>
              <a:t>21</a:t>
            </a:fld>
            <a:endParaRPr lang="es-ES"/>
          </a:p>
        </p:txBody>
      </p:sp>
      <p:sp>
        <p:nvSpPr>
          <p:cNvPr id="18" name="Marcador de Posição do Texto 17">
            <a:extLst>
              <a:ext uri="{FF2B5EF4-FFF2-40B4-BE49-F238E27FC236}">
                <a16:creationId xmlns:a16="http://schemas.microsoft.com/office/drawing/2014/main" id="{CBE3FFF0-1AF6-DC8B-DC8B-7556D97BE6E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>
            <a:noAutofit/>
          </a:bodyPr>
          <a:lstStyle/>
          <a:p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Lorem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ipsum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dolor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sit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amet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,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consectetuer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adipiscing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elit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.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Maecenas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porttitor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congue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massa. </a:t>
            </a:r>
            <a:r>
              <a:rPr lang="pt-PT" dirty="0" err="1"/>
              <a:t>Fusce</a:t>
            </a:r>
            <a:r>
              <a:rPr lang="pt-PT" dirty="0"/>
              <a:t> </a:t>
            </a:r>
            <a:r>
              <a:rPr lang="pt-PT" dirty="0" err="1"/>
              <a:t>posuere</a:t>
            </a:r>
            <a:r>
              <a:rPr lang="pt-PT" dirty="0"/>
              <a:t>, magna </a:t>
            </a:r>
            <a:r>
              <a:rPr lang="pt-PT" dirty="0" err="1"/>
              <a:t>sed</a:t>
            </a:r>
            <a:r>
              <a:rPr lang="pt-PT" dirty="0"/>
              <a:t> pulvinar </a:t>
            </a:r>
            <a:r>
              <a:rPr lang="pt-PT" dirty="0" err="1"/>
              <a:t>ultricies</a:t>
            </a:r>
            <a:r>
              <a:rPr lang="pt-PT" dirty="0"/>
              <a:t>, purus </a:t>
            </a:r>
            <a:r>
              <a:rPr lang="pt-PT" dirty="0" err="1"/>
              <a:t>lectus</a:t>
            </a:r>
            <a:r>
              <a:rPr lang="pt-PT" dirty="0"/>
              <a:t> </a:t>
            </a:r>
            <a:r>
              <a:rPr lang="pt-PT" dirty="0" err="1"/>
              <a:t>malesuada</a:t>
            </a:r>
            <a:r>
              <a:rPr lang="pt-PT" dirty="0"/>
              <a:t> libero,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r>
              <a:rPr lang="pt-PT" dirty="0"/>
              <a:t> </a:t>
            </a:r>
            <a:r>
              <a:rPr lang="pt-PT" dirty="0" err="1"/>
              <a:t>commodo</a:t>
            </a:r>
            <a:r>
              <a:rPr lang="pt-PT" dirty="0"/>
              <a:t> magna eros quis urna.</a:t>
            </a:r>
          </a:p>
          <a:p>
            <a:r>
              <a:rPr lang="pt-PT" dirty="0" err="1"/>
              <a:t>Nunc</a:t>
            </a:r>
            <a:r>
              <a:rPr lang="pt-PT" dirty="0"/>
              <a:t> </a:t>
            </a:r>
            <a:r>
              <a:rPr lang="pt-PT" dirty="0" err="1"/>
              <a:t>viverra</a:t>
            </a:r>
            <a:r>
              <a:rPr lang="pt-PT" dirty="0"/>
              <a:t> </a:t>
            </a:r>
            <a:r>
              <a:rPr lang="pt-PT" dirty="0" err="1"/>
              <a:t>imperdiet</a:t>
            </a:r>
            <a:r>
              <a:rPr lang="pt-PT" dirty="0"/>
              <a:t> </a:t>
            </a:r>
            <a:r>
              <a:rPr lang="pt-PT" dirty="0" err="1"/>
              <a:t>enim</a:t>
            </a:r>
            <a:r>
              <a:rPr lang="pt-PT" dirty="0"/>
              <a:t>. </a:t>
            </a:r>
            <a:r>
              <a:rPr lang="pt-PT" dirty="0" err="1"/>
              <a:t>Fusce</a:t>
            </a:r>
            <a:r>
              <a:rPr lang="pt-PT" dirty="0"/>
              <a:t> est. </a:t>
            </a:r>
            <a:r>
              <a:rPr lang="pt-PT" dirty="0" err="1"/>
              <a:t>Vivamus</a:t>
            </a:r>
            <a:r>
              <a:rPr lang="pt-PT" dirty="0"/>
              <a:t> a </a:t>
            </a:r>
            <a:r>
              <a:rPr lang="pt-PT" dirty="0" err="1"/>
              <a:t>tellus</a:t>
            </a:r>
            <a:r>
              <a:rPr lang="pt-PT" dirty="0"/>
              <a:t>. </a:t>
            </a:r>
            <a:r>
              <a:rPr lang="pt-PT" dirty="0" err="1"/>
              <a:t>Fusce</a:t>
            </a:r>
            <a:r>
              <a:rPr lang="pt-PT" dirty="0"/>
              <a:t> </a:t>
            </a:r>
            <a:r>
              <a:rPr lang="pt-PT" dirty="0" err="1"/>
              <a:t>posuere</a:t>
            </a:r>
            <a:r>
              <a:rPr lang="pt-PT" dirty="0"/>
              <a:t>.</a:t>
            </a:r>
          </a:p>
          <a:p>
            <a:r>
              <a:rPr lang="pt-PT" dirty="0" err="1"/>
              <a:t>Nunc</a:t>
            </a:r>
            <a:r>
              <a:rPr lang="pt-PT" dirty="0"/>
              <a:t> </a:t>
            </a:r>
            <a:r>
              <a:rPr lang="pt-PT" dirty="0" err="1"/>
              <a:t>viverra</a:t>
            </a:r>
            <a:r>
              <a:rPr lang="pt-PT" dirty="0"/>
              <a:t> </a:t>
            </a:r>
            <a:r>
              <a:rPr lang="pt-PT" dirty="0" err="1"/>
              <a:t>imperdiet</a:t>
            </a:r>
            <a:r>
              <a:rPr lang="pt-PT" dirty="0"/>
              <a:t> </a:t>
            </a:r>
            <a:r>
              <a:rPr lang="pt-PT" dirty="0" err="1"/>
              <a:t>enim</a:t>
            </a:r>
            <a:r>
              <a:rPr lang="pt-PT" dirty="0"/>
              <a:t>. </a:t>
            </a:r>
            <a:r>
              <a:rPr lang="pt-PT" dirty="0" err="1"/>
              <a:t>Fusce</a:t>
            </a:r>
            <a:r>
              <a:rPr lang="pt-PT" dirty="0"/>
              <a:t> est. </a:t>
            </a:r>
            <a:r>
              <a:rPr lang="pt-PT" dirty="0" err="1"/>
              <a:t>Vivamus</a:t>
            </a:r>
            <a:r>
              <a:rPr lang="pt-PT" dirty="0"/>
              <a:t> a </a:t>
            </a:r>
            <a:r>
              <a:rPr lang="pt-PT" dirty="0" err="1"/>
              <a:t>tellus</a:t>
            </a:r>
            <a:r>
              <a:rPr lang="pt-PT" dirty="0"/>
              <a:t>. </a:t>
            </a:r>
            <a:r>
              <a:rPr lang="pt-PT" dirty="0" err="1"/>
              <a:t>Fusce</a:t>
            </a:r>
            <a:r>
              <a:rPr lang="pt-PT" dirty="0"/>
              <a:t> </a:t>
            </a:r>
            <a:r>
              <a:rPr lang="pt-PT" dirty="0" err="1"/>
              <a:t>posuere</a:t>
            </a:r>
            <a:r>
              <a:rPr lang="pt-PT" dirty="0"/>
              <a:t>, magna </a:t>
            </a:r>
            <a:r>
              <a:rPr lang="pt-PT" dirty="0" err="1"/>
              <a:t>sed</a:t>
            </a:r>
            <a:r>
              <a:rPr lang="pt-PT" dirty="0"/>
              <a:t> pulvinar </a:t>
            </a:r>
            <a:r>
              <a:rPr lang="pt-PT" dirty="0" err="1"/>
              <a:t>ultricies</a:t>
            </a:r>
            <a:r>
              <a:rPr lang="pt-PT" dirty="0"/>
              <a:t>, purus </a:t>
            </a:r>
            <a:r>
              <a:rPr lang="pt-PT" dirty="0" err="1"/>
              <a:t>lectus</a:t>
            </a:r>
            <a:r>
              <a:rPr lang="pt-PT" dirty="0"/>
              <a:t> </a:t>
            </a:r>
            <a:r>
              <a:rPr lang="pt-PT" dirty="0" err="1"/>
              <a:t>malesuada</a:t>
            </a:r>
            <a:r>
              <a:rPr lang="pt-PT" dirty="0"/>
              <a:t> libero.</a:t>
            </a:r>
          </a:p>
        </p:txBody>
      </p:sp>
      <p:sp>
        <p:nvSpPr>
          <p:cNvPr id="20" name="Marcador de Posição do Texto 19">
            <a:extLst>
              <a:ext uri="{FF2B5EF4-FFF2-40B4-BE49-F238E27FC236}">
                <a16:creationId xmlns:a16="http://schemas.microsoft.com/office/drawing/2014/main" id="{4FD2553D-055E-F538-CF07-0EB8943DA50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>
            <a:normAutofit/>
          </a:bodyPr>
          <a:lstStyle/>
          <a:p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Lorem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ipsum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dolor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sit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amet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,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consectetuer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adipiscing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elit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.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Maecenas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porttitor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congue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massa. </a:t>
            </a:r>
            <a:r>
              <a:rPr lang="pt-PT" dirty="0" err="1"/>
              <a:t>Fusce</a:t>
            </a:r>
            <a:r>
              <a:rPr lang="pt-PT" dirty="0"/>
              <a:t> </a:t>
            </a:r>
            <a:r>
              <a:rPr lang="pt-PT" dirty="0" err="1"/>
              <a:t>posuere</a:t>
            </a:r>
            <a:r>
              <a:rPr lang="pt-PT" dirty="0"/>
              <a:t>, magna </a:t>
            </a:r>
            <a:r>
              <a:rPr lang="pt-PT" dirty="0" err="1"/>
              <a:t>sed</a:t>
            </a:r>
            <a:r>
              <a:rPr lang="pt-PT" dirty="0"/>
              <a:t> pulvinar </a:t>
            </a:r>
            <a:r>
              <a:rPr lang="pt-PT" dirty="0" err="1"/>
              <a:t>ultricies</a:t>
            </a:r>
            <a:r>
              <a:rPr lang="pt-PT" dirty="0"/>
              <a:t>, purus </a:t>
            </a:r>
            <a:r>
              <a:rPr lang="pt-PT" dirty="0" err="1"/>
              <a:t>lectus</a:t>
            </a:r>
            <a:r>
              <a:rPr lang="pt-PT" dirty="0"/>
              <a:t> </a:t>
            </a:r>
            <a:r>
              <a:rPr lang="pt-PT" dirty="0" err="1"/>
              <a:t>malesuada</a:t>
            </a:r>
            <a:r>
              <a:rPr lang="pt-PT" dirty="0"/>
              <a:t> libero,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r>
              <a:rPr lang="pt-PT" dirty="0"/>
              <a:t> </a:t>
            </a:r>
            <a:r>
              <a:rPr lang="pt-PT" dirty="0" err="1"/>
              <a:t>commodo</a:t>
            </a:r>
            <a:r>
              <a:rPr lang="pt-PT" dirty="0"/>
              <a:t> magna eros quis urna.</a:t>
            </a:r>
          </a:p>
          <a:p>
            <a:r>
              <a:rPr lang="pt-PT" dirty="0" err="1"/>
              <a:t>Nunc</a:t>
            </a:r>
            <a:r>
              <a:rPr lang="pt-PT" dirty="0"/>
              <a:t> </a:t>
            </a:r>
            <a:r>
              <a:rPr lang="pt-PT" dirty="0" err="1"/>
              <a:t>viverra</a:t>
            </a:r>
            <a:r>
              <a:rPr lang="pt-PT" dirty="0"/>
              <a:t> </a:t>
            </a:r>
            <a:r>
              <a:rPr lang="pt-PT" dirty="0" err="1"/>
              <a:t>imperdiet</a:t>
            </a:r>
            <a:r>
              <a:rPr lang="pt-PT" dirty="0"/>
              <a:t> </a:t>
            </a:r>
            <a:r>
              <a:rPr lang="pt-PT" dirty="0" err="1"/>
              <a:t>enim</a:t>
            </a:r>
            <a:r>
              <a:rPr lang="pt-PT" dirty="0"/>
              <a:t>. </a:t>
            </a:r>
            <a:r>
              <a:rPr lang="pt-PT" dirty="0" err="1"/>
              <a:t>Fusce</a:t>
            </a:r>
            <a:r>
              <a:rPr lang="pt-PT" dirty="0"/>
              <a:t> est. </a:t>
            </a:r>
            <a:r>
              <a:rPr lang="pt-PT" dirty="0" err="1"/>
              <a:t>Vivamus</a:t>
            </a:r>
            <a:r>
              <a:rPr lang="pt-PT" dirty="0"/>
              <a:t> a </a:t>
            </a:r>
            <a:r>
              <a:rPr lang="pt-PT" dirty="0" err="1"/>
              <a:t>tellus</a:t>
            </a:r>
            <a:r>
              <a:rPr lang="pt-PT" dirty="0"/>
              <a:t>. </a:t>
            </a:r>
            <a:r>
              <a:rPr lang="pt-PT" dirty="0" err="1"/>
              <a:t>Fusce</a:t>
            </a:r>
            <a:r>
              <a:rPr lang="pt-PT" dirty="0"/>
              <a:t> </a:t>
            </a:r>
            <a:r>
              <a:rPr lang="pt-PT" dirty="0" err="1"/>
              <a:t>posuere</a:t>
            </a:r>
            <a:r>
              <a:rPr lang="pt-PT" dirty="0"/>
              <a:t>.</a:t>
            </a:r>
          </a:p>
          <a:p>
            <a:r>
              <a:rPr lang="pt-PT" dirty="0" err="1"/>
              <a:t>Nunc</a:t>
            </a:r>
            <a:r>
              <a:rPr lang="pt-PT" dirty="0"/>
              <a:t> </a:t>
            </a:r>
            <a:r>
              <a:rPr lang="pt-PT" dirty="0" err="1"/>
              <a:t>viverra</a:t>
            </a:r>
            <a:r>
              <a:rPr lang="pt-PT" dirty="0"/>
              <a:t> </a:t>
            </a:r>
            <a:r>
              <a:rPr lang="pt-PT" dirty="0" err="1"/>
              <a:t>imperdiet</a:t>
            </a:r>
            <a:r>
              <a:rPr lang="pt-PT" dirty="0"/>
              <a:t> </a:t>
            </a:r>
            <a:r>
              <a:rPr lang="pt-PT" dirty="0" err="1"/>
              <a:t>enim</a:t>
            </a:r>
            <a:r>
              <a:rPr lang="pt-PT" dirty="0"/>
              <a:t>. </a:t>
            </a:r>
            <a:r>
              <a:rPr lang="pt-PT" dirty="0" err="1"/>
              <a:t>Fusce</a:t>
            </a:r>
            <a:r>
              <a:rPr lang="pt-PT" dirty="0"/>
              <a:t> est. </a:t>
            </a:r>
            <a:r>
              <a:rPr lang="pt-PT" dirty="0" err="1"/>
              <a:t>Vivamus</a:t>
            </a:r>
            <a:r>
              <a:rPr lang="pt-PT" dirty="0"/>
              <a:t> a </a:t>
            </a:r>
            <a:r>
              <a:rPr lang="pt-PT" dirty="0" err="1"/>
              <a:t>tellus</a:t>
            </a:r>
            <a:r>
              <a:rPr lang="pt-PT" dirty="0"/>
              <a:t>. </a:t>
            </a:r>
            <a:r>
              <a:rPr lang="pt-PT" dirty="0" err="1"/>
              <a:t>Fusce</a:t>
            </a:r>
            <a:r>
              <a:rPr lang="pt-PT" dirty="0"/>
              <a:t> </a:t>
            </a:r>
            <a:r>
              <a:rPr lang="pt-PT" dirty="0" err="1"/>
              <a:t>posuere</a:t>
            </a:r>
            <a:r>
              <a:rPr lang="pt-PT" dirty="0"/>
              <a:t>, magna </a:t>
            </a:r>
            <a:r>
              <a:rPr lang="pt-PT" dirty="0" err="1"/>
              <a:t>sed</a:t>
            </a:r>
            <a:r>
              <a:rPr lang="pt-PT" dirty="0"/>
              <a:t> pulvinar </a:t>
            </a:r>
            <a:r>
              <a:rPr lang="pt-PT" dirty="0" err="1"/>
              <a:t>ultricies</a:t>
            </a:r>
            <a:r>
              <a:rPr lang="pt-PT" dirty="0"/>
              <a:t>, purus </a:t>
            </a:r>
            <a:r>
              <a:rPr lang="pt-PT" dirty="0" err="1"/>
              <a:t>lectus</a:t>
            </a:r>
            <a:r>
              <a:rPr lang="pt-PT" dirty="0"/>
              <a:t> </a:t>
            </a:r>
            <a:r>
              <a:rPr lang="pt-PT" dirty="0" err="1"/>
              <a:t>malesuada</a:t>
            </a:r>
            <a:r>
              <a:rPr lang="pt-PT" dirty="0"/>
              <a:t> libero.</a:t>
            </a:r>
          </a:p>
          <a:p>
            <a:endParaRPr lang="pt-PT" dirty="0"/>
          </a:p>
        </p:txBody>
      </p:sp>
      <p:sp>
        <p:nvSpPr>
          <p:cNvPr id="21" name="Marcador de Posição do Texto 20">
            <a:extLst>
              <a:ext uri="{FF2B5EF4-FFF2-40B4-BE49-F238E27FC236}">
                <a16:creationId xmlns:a16="http://schemas.microsoft.com/office/drawing/2014/main" id="{96EFAE63-A459-4F4D-9C84-DB6C0099E04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>
            <a:normAutofit/>
          </a:bodyPr>
          <a:lstStyle/>
          <a:p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Lorem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ipsum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dolor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sit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amet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,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consectetuer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adipiscing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elit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.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Maecenas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porttitor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congue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massa. </a:t>
            </a:r>
            <a:r>
              <a:rPr lang="pt-PT" dirty="0" err="1"/>
              <a:t>Fusce</a:t>
            </a:r>
            <a:r>
              <a:rPr lang="pt-PT" dirty="0"/>
              <a:t> </a:t>
            </a:r>
            <a:r>
              <a:rPr lang="pt-PT" dirty="0" err="1"/>
              <a:t>posuere</a:t>
            </a:r>
            <a:r>
              <a:rPr lang="pt-PT" dirty="0"/>
              <a:t>, magna </a:t>
            </a:r>
            <a:r>
              <a:rPr lang="pt-PT" dirty="0" err="1"/>
              <a:t>sed</a:t>
            </a:r>
            <a:r>
              <a:rPr lang="pt-PT" dirty="0"/>
              <a:t> pulvinar </a:t>
            </a:r>
            <a:r>
              <a:rPr lang="pt-PT" dirty="0" err="1"/>
              <a:t>ultricies</a:t>
            </a:r>
            <a:r>
              <a:rPr lang="pt-PT" dirty="0"/>
              <a:t>, purus </a:t>
            </a:r>
            <a:r>
              <a:rPr lang="pt-PT" dirty="0" err="1"/>
              <a:t>lectus</a:t>
            </a:r>
            <a:r>
              <a:rPr lang="pt-PT" dirty="0"/>
              <a:t> </a:t>
            </a:r>
            <a:r>
              <a:rPr lang="pt-PT" dirty="0" err="1"/>
              <a:t>malesuada</a:t>
            </a:r>
            <a:r>
              <a:rPr lang="pt-PT" dirty="0"/>
              <a:t> libero,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r>
              <a:rPr lang="pt-PT" dirty="0"/>
              <a:t> </a:t>
            </a:r>
            <a:r>
              <a:rPr lang="pt-PT" dirty="0" err="1"/>
              <a:t>commodo</a:t>
            </a:r>
            <a:r>
              <a:rPr lang="pt-PT" dirty="0"/>
              <a:t> magna eros quis urna.</a:t>
            </a:r>
          </a:p>
          <a:p>
            <a:r>
              <a:rPr lang="pt-PT" dirty="0" err="1"/>
              <a:t>Nunc</a:t>
            </a:r>
            <a:r>
              <a:rPr lang="pt-PT" dirty="0"/>
              <a:t> </a:t>
            </a:r>
            <a:r>
              <a:rPr lang="pt-PT" dirty="0" err="1"/>
              <a:t>viverra</a:t>
            </a:r>
            <a:r>
              <a:rPr lang="pt-PT" dirty="0"/>
              <a:t> </a:t>
            </a:r>
            <a:r>
              <a:rPr lang="pt-PT" dirty="0" err="1"/>
              <a:t>imperdiet</a:t>
            </a:r>
            <a:r>
              <a:rPr lang="pt-PT" dirty="0"/>
              <a:t> </a:t>
            </a:r>
            <a:r>
              <a:rPr lang="pt-PT" dirty="0" err="1"/>
              <a:t>enim</a:t>
            </a:r>
            <a:r>
              <a:rPr lang="pt-PT" dirty="0"/>
              <a:t>. </a:t>
            </a:r>
            <a:r>
              <a:rPr lang="pt-PT" dirty="0" err="1"/>
              <a:t>Fusce</a:t>
            </a:r>
            <a:r>
              <a:rPr lang="pt-PT" dirty="0"/>
              <a:t> est. </a:t>
            </a:r>
            <a:r>
              <a:rPr lang="pt-PT" dirty="0" err="1"/>
              <a:t>Vivamus</a:t>
            </a:r>
            <a:r>
              <a:rPr lang="pt-PT" dirty="0"/>
              <a:t> a </a:t>
            </a:r>
            <a:r>
              <a:rPr lang="pt-PT" dirty="0" err="1"/>
              <a:t>tellus</a:t>
            </a:r>
            <a:r>
              <a:rPr lang="pt-PT" dirty="0"/>
              <a:t>. </a:t>
            </a:r>
            <a:r>
              <a:rPr lang="pt-PT" dirty="0" err="1"/>
              <a:t>Fusce</a:t>
            </a:r>
            <a:r>
              <a:rPr lang="pt-PT" dirty="0"/>
              <a:t> </a:t>
            </a:r>
            <a:r>
              <a:rPr lang="pt-PT" dirty="0" err="1"/>
              <a:t>posuere</a:t>
            </a:r>
            <a:r>
              <a:rPr lang="pt-PT" dirty="0"/>
              <a:t>.</a:t>
            </a:r>
          </a:p>
          <a:p>
            <a:r>
              <a:rPr lang="pt-PT" dirty="0" err="1"/>
              <a:t>Nunc</a:t>
            </a:r>
            <a:r>
              <a:rPr lang="pt-PT" dirty="0"/>
              <a:t> </a:t>
            </a:r>
            <a:r>
              <a:rPr lang="pt-PT" dirty="0" err="1"/>
              <a:t>viverra</a:t>
            </a:r>
            <a:r>
              <a:rPr lang="pt-PT" dirty="0"/>
              <a:t> </a:t>
            </a:r>
            <a:r>
              <a:rPr lang="pt-PT" dirty="0" err="1"/>
              <a:t>imperdiet</a:t>
            </a:r>
            <a:r>
              <a:rPr lang="pt-PT" dirty="0"/>
              <a:t> </a:t>
            </a:r>
            <a:r>
              <a:rPr lang="pt-PT" dirty="0" err="1"/>
              <a:t>enim</a:t>
            </a:r>
            <a:r>
              <a:rPr lang="pt-PT" dirty="0"/>
              <a:t>. </a:t>
            </a:r>
            <a:r>
              <a:rPr lang="pt-PT" dirty="0" err="1"/>
              <a:t>Fusce</a:t>
            </a:r>
            <a:r>
              <a:rPr lang="pt-PT" dirty="0"/>
              <a:t> est. </a:t>
            </a:r>
            <a:r>
              <a:rPr lang="pt-PT" dirty="0" err="1"/>
              <a:t>Vivamus</a:t>
            </a:r>
            <a:r>
              <a:rPr lang="pt-PT" dirty="0"/>
              <a:t> a </a:t>
            </a:r>
            <a:r>
              <a:rPr lang="pt-PT" dirty="0" err="1"/>
              <a:t>tellus</a:t>
            </a:r>
            <a:r>
              <a:rPr lang="pt-PT" dirty="0"/>
              <a:t>. </a:t>
            </a:r>
            <a:r>
              <a:rPr lang="pt-PT" dirty="0" err="1"/>
              <a:t>Fusce</a:t>
            </a:r>
            <a:r>
              <a:rPr lang="pt-PT" dirty="0"/>
              <a:t> </a:t>
            </a:r>
            <a:r>
              <a:rPr lang="pt-PT" dirty="0" err="1"/>
              <a:t>posuere</a:t>
            </a:r>
            <a:r>
              <a:rPr lang="pt-PT" dirty="0"/>
              <a:t>, magna </a:t>
            </a:r>
            <a:r>
              <a:rPr lang="pt-PT" dirty="0" err="1"/>
              <a:t>sed</a:t>
            </a:r>
            <a:r>
              <a:rPr lang="pt-PT" dirty="0"/>
              <a:t> pulvinar </a:t>
            </a:r>
            <a:r>
              <a:rPr lang="pt-PT" dirty="0" err="1"/>
              <a:t>ultricies</a:t>
            </a:r>
            <a:r>
              <a:rPr lang="pt-PT" dirty="0"/>
              <a:t>, purus </a:t>
            </a:r>
            <a:r>
              <a:rPr lang="pt-PT" dirty="0" err="1"/>
              <a:t>lectus</a:t>
            </a:r>
            <a:r>
              <a:rPr lang="pt-PT" dirty="0"/>
              <a:t> </a:t>
            </a:r>
            <a:r>
              <a:rPr lang="pt-PT" dirty="0" err="1"/>
              <a:t>malesuada</a:t>
            </a:r>
            <a:r>
              <a:rPr lang="pt-PT" dirty="0"/>
              <a:t> libero.</a:t>
            </a:r>
          </a:p>
          <a:p>
            <a:endParaRPr lang="pt-PT" dirty="0"/>
          </a:p>
        </p:txBody>
      </p:sp>
      <p:sp>
        <p:nvSpPr>
          <p:cNvPr id="22" name="Marcador de Posição do Texto 21">
            <a:extLst>
              <a:ext uri="{FF2B5EF4-FFF2-40B4-BE49-F238E27FC236}">
                <a16:creationId xmlns:a16="http://schemas.microsoft.com/office/drawing/2014/main" id="{7F164E6E-65BB-5B5D-D324-7C5CDD545C4E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>
            <a:normAutofit/>
          </a:bodyPr>
          <a:lstStyle/>
          <a:p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Lorem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ipsum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dolor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sit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amet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,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consectetuer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adipiscing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elit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.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Maecenas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porttitor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congue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massa. </a:t>
            </a:r>
            <a:r>
              <a:rPr lang="pt-PT" dirty="0" err="1"/>
              <a:t>Fusce</a:t>
            </a:r>
            <a:r>
              <a:rPr lang="pt-PT" dirty="0"/>
              <a:t> </a:t>
            </a:r>
            <a:r>
              <a:rPr lang="pt-PT" dirty="0" err="1"/>
              <a:t>posuere</a:t>
            </a:r>
            <a:r>
              <a:rPr lang="pt-PT" dirty="0"/>
              <a:t>, magna </a:t>
            </a:r>
            <a:r>
              <a:rPr lang="pt-PT" dirty="0" err="1"/>
              <a:t>sed</a:t>
            </a:r>
            <a:r>
              <a:rPr lang="pt-PT" dirty="0"/>
              <a:t> pulvinar </a:t>
            </a:r>
            <a:r>
              <a:rPr lang="pt-PT" dirty="0" err="1"/>
              <a:t>ultricies</a:t>
            </a:r>
            <a:r>
              <a:rPr lang="pt-PT" dirty="0"/>
              <a:t>, purus </a:t>
            </a:r>
            <a:r>
              <a:rPr lang="pt-PT" dirty="0" err="1"/>
              <a:t>lectus</a:t>
            </a:r>
            <a:r>
              <a:rPr lang="pt-PT" dirty="0"/>
              <a:t> </a:t>
            </a:r>
            <a:r>
              <a:rPr lang="pt-PT" dirty="0" err="1"/>
              <a:t>malesuada</a:t>
            </a:r>
            <a:r>
              <a:rPr lang="pt-PT" dirty="0"/>
              <a:t> libero,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r>
              <a:rPr lang="pt-PT" dirty="0"/>
              <a:t> </a:t>
            </a:r>
            <a:r>
              <a:rPr lang="pt-PT" dirty="0" err="1"/>
              <a:t>commodo</a:t>
            </a:r>
            <a:r>
              <a:rPr lang="pt-PT" dirty="0"/>
              <a:t> magna eros quis urna.</a:t>
            </a:r>
          </a:p>
          <a:p>
            <a:r>
              <a:rPr lang="pt-PT" dirty="0" err="1"/>
              <a:t>Nunc</a:t>
            </a:r>
            <a:r>
              <a:rPr lang="pt-PT" dirty="0"/>
              <a:t> </a:t>
            </a:r>
            <a:r>
              <a:rPr lang="pt-PT" dirty="0" err="1"/>
              <a:t>viverra</a:t>
            </a:r>
            <a:r>
              <a:rPr lang="pt-PT" dirty="0"/>
              <a:t> </a:t>
            </a:r>
            <a:r>
              <a:rPr lang="pt-PT" dirty="0" err="1"/>
              <a:t>imperdiet</a:t>
            </a:r>
            <a:r>
              <a:rPr lang="pt-PT" dirty="0"/>
              <a:t> </a:t>
            </a:r>
            <a:r>
              <a:rPr lang="pt-PT" dirty="0" err="1"/>
              <a:t>enim</a:t>
            </a:r>
            <a:r>
              <a:rPr lang="pt-PT" dirty="0"/>
              <a:t>. </a:t>
            </a:r>
            <a:r>
              <a:rPr lang="pt-PT" dirty="0" err="1"/>
              <a:t>Fusce</a:t>
            </a:r>
            <a:r>
              <a:rPr lang="pt-PT" dirty="0"/>
              <a:t> est. </a:t>
            </a:r>
            <a:r>
              <a:rPr lang="pt-PT" dirty="0" err="1"/>
              <a:t>Vivamus</a:t>
            </a:r>
            <a:r>
              <a:rPr lang="pt-PT" dirty="0"/>
              <a:t> a </a:t>
            </a:r>
            <a:r>
              <a:rPr lang="pt-PT" dirty="0" err="1"/>
              <a:t>tellus</a:t>
            </a:r>
            <a:r>
              <a:rPr lang="pt-PT" dirty="0"/>
              <a:t>. </a:t>
            </a:r>
            <a:r>
              <a:rPr lang="pt-PT" dirty="0" err="1"/>
              <a:t>Fusce</a:t>
            </a:r>
            <a:r>
              <a:rPr lang="pt-PT" dirty="0"/>
              <a:t> </a:t>
            </a:r>
            <a:r>
              <a:rPr lang="pt-PT" dirty="0" err="1"/>
              <a:t>posuere</a:t>
            </a:r>
            <a:r>
              <a:rPr lang="pt-PT" dirty="0"/>
              <a:t>.</a:t>
            </a:r>
          </a:p>
          <a:p>
            <a:r>
              <a:rPr lang="pt-PT" dirty="0" err="1"/>
              <a:t>Nunc</a:t>
            </a:r>
            <a:r>
              <a:rPr lang="pt-PT" dirty="0"/>
              <a:t> </a:t>
            </a:r>
            <a:r>
              <a:rPr lang="pt-PT" dirty="0" err="1"/>
              <a:t>viverra</a:t>
            </a:r>
            <a:r>
              <a:rPr lang="pt-PT" dirty="0"/>
              <a:t> </a:t>
            </a:r>
            <a:r>
              <a:rPr lang="pt-PT" dirty="0" err="1"/>
              <a:t>imperdiet</a:t>
            </a:r>
            <a:r>
              <a:rPr lang="pt-PT" dirty="0"/>
              <a:t> </a:t>
            </a:r>
            <a:r>
              <a:rPr lang="pt-PT" dirty="0" err="1"/>
              <a:t>enim</a:t>
            </a:r>
            <a:r>
              <a:rPr lang="pt-PT" dirty="0"/>
              <a:t>. </a:t>
            </a:r>
            <a:r>
              <a:rPr lang="pt-PT" dirty="0" err="1"/>
              <a:t>Fusce</a:t>
            </a:r>
            <a:r>
              <a:rPr lang="pt-PT" dirty="0"/>
              <a:t> est. </a:t>
            </a:r>
            <a:r>
              <a:rPr lang="pt-PT" dirty="0" err="1"/>
              <a:t>Vivamus</a:t>
            </a:r>
            <a:r>
              <a:rPr lang="pt-PT" dirty="0"/>
              <a:t> a </a:t>
            </a:r>
            <a:r>
              <a:rPr lang="pt-PT" dirty="0" err="1"/>
              <a:t>tellus</a:t>
            </a:r>
            <a:r>
              <a:rPr lang="pt-PT" dirty="0"/>
              <a:t>. </a:t>
            </a:r>
            <a:r>
              <a:rPr lang="pt-PT" dirty="0" err="1"/>
              <a:t>Fusce</a:t>
            </a:r>
            <a:r>
              <a:rPr lang="pt-PT" dirty="0"/>
              <a:t> </a:t>
            </a:r>
            <a:r>
              <a:rPr lang="pt-PT" dirty="0" err="1"/>
              <a:t>posuere</a:t>
            </a:r>
            <a:r>
              <a:rPr lang="pt-PT" dirty="0"/>
              <a:t>, magna </a:t>
            </a:r>
            <a:r>
              <a:rPr lang="pt-PT" dirty="0" err="1"/>
              <a:t>sed</a:t>
            </a:r>
            <a:r>
              <a:rPr lang="pt-PT" dirty="0"/>
              <a:t> pulvinar </a:t>
            </a:r>
            <a:r>
              <a:rPr lang="pt-PT" dirty="0" err="1"/>
              <a:t>ultricies</a:t>
            </a:r>
            <a:r>
              <a:rPr lang="pt-PT" dirty="0"/>
              <a:t>, purus </a:t>
            </a:r>
            <a:r>
              <a:rPr lang="pt-PT" dirty="0" err="1"/>
              <a:t>lectus</a:t>
            </a:r>
            <a:r>
              <a:rPr lang="pt-PT" dirty="0"/>
              <a:t> </a:t>
            </a:r>
            <a:r>
              <a:rPr lang="pt-PT" dirty="0" err="1"/>
              <a:t>malesuada</a:t>
            </a:r>
            <a:r>
              <a:rPr lang="pt-PT" dirty="0"/>
              <a:t> libero.</a:t>
            </a:r>
          </a:p>
          <a:p>
            <a:endParaRPr lang="pt-PT" dirty="0"/>
          </a:p>
        </p:txBody>
      </p:sp>
      <p:grpSp>
        <p:nvGrpSpPr>
          <p:cNvPr id="2" name="Agrupar 1">
            <a:extLst>
              <a:ext uri="{FF2B5EF4-FFF2-40B4-BE49-F238E27FC236}">
                <a16:creationId xmlns:a16="http://schemas.microsoft.com/office/drawing/2014/main" id="{CA16B909-DD88-FD17-756F-BC028FBC4F21}"/>
              </a:ext>
            </a:extLst>
          </p:cNvPr>
          <p:cNvGrpSpPr/>
          <p:nvPr/>
        </p:nvGrpSpPr>
        <p:grpSpPr>
          <a:xfrm>
            <a:off x="482523" y="2012459"/>
            <a:ext cx="846074" cy="524524"/>
            <a:chOff x="482523" y="2012459"/>
            <a:chExt cx="846074" cy="524524"/>
          </a:xfrm>
        </p:grpSpPr>
        <p:sp>
          <p:nvSpPr>
            <p:cNvPr id="29" name="Forma livre: Forma 28">
              <a:extLst>
                <a:ext uri="{FF2B5EF4-FFF2-40B4-BE49-F238E27FC236}">
                  <a16:creationId xmlns:a16="http://schemas.microsoft.com/office/drawing/2014/main" id="{CAE402D5-A8C0-0547-201C-C72CA010E716}"/>
                </a:ext>
              </a:extLst>
            </p:cNvPr>
            <p:cNvSpPr/>
            <p:nvPr/>
          </p:nvSpPr>
          <p:spPr>
            <a:xfrm flipH="1">
              <a:off x="482523" y="2012459"/>
              <a:ext cx="846074" cy="524524"/>
            </a:xfrm>
            <a:custGeom>
              <a:avLst/>
              <a:gdLst>
                <a:gd name="connsiteX0" fmla="*/ 671828 w 846074"/>
                <a:gd name="connsiteY0" fmla="*/ 0 h 524524"/>
                <a:gd name="connsiteX1" fmla="*/ 0 w 846074"/>
                <a:gd name="connsiteY1" fmla="*/ 0 h 524524"/>
                <a:gd name="connsiteX2" fmla="*/ 524529 w 846074"/>
                <a:gd name="connsiteY2" fmla="*/ 524524 h 524524"/>
                <a:gd name="connsiteX3" fmla="*/ 524742 w 846074"/>
                <a:gd name="connsiteY3" fmla="*/ 524524 h 524524"/>
                <a:gd name="connsiteX4" fmla="*/ 846074 w 846074"/>
                <a:gd name="connsiteY4" fmla="*/ 524524 h 5245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46074" h="524524">
                  <a:moveTo>
                    <a:pt x="671828" y="0"/>
                  </a:moveTo>
                  <a:lnTo>
                    <a:pt x="0" y="0"/>
                  </a:lnTo>
                  <a:cubicBezTo>
                    <a:pt x="0" y="289824"/>
                    <a:pt x="234920" y="524524"/>
                    <a:pt x="524529" y="524524"/>
                  </a:cubicBezTo>
                  <a:lnTo>
                    <a:pt x="524742" y="524524"/>
                  </a:lnTo>
                  <a:lnTo>
                    <a:pt x="846074" y="524524"/>
                  </a:lnTo>
                  <a:close/>
                </a:path>
              </a:pathLst>
            </a:custGeom>
            <a:solidFill>
              <a:srgbClr val="1D3EB6"/>
            </a:solidFill>
            <a:ln w="4244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pt-PT"/>
            </a:p>
          </p:txBody>
        </p:sp>
        <p:grpSp>
          <p:nvGrpSpPr>
            <p:cNvPr id="30" name="Agrupar 29">
              <a:extLst>
                <a:ext uri="{FF2B5EF4-FFF2-40B4-BE49-F238E27FC236}">
                  <a16:creationId xmlns:a16="http://schemas.microsoft.com/office/drawing/2014/main" id="{8123C08B-14F5-0216-CAD0-EF9A807FEB06}"/>
                </a:ext>
              </a:extLst>
            </p:cNvPr>
            <p:cNvGrpSpPr/>
            <p:nvPr/>
          </p:nvGrpSpPr>
          <p:grpSpPr>
            <a:xfrm>
              <a:off x="702020" y="2091210"/>
              <a:ext cx="337061" cy="282872"/>
              <a:chOff x="7527643" y="2537276"/>
              <a:chExt cx="474083" cy="397866"/>
            </a:xfrm>
          </p:grpSpPr>
          <p:grpSp>
            <p:nvGrpSpPr>
              <p:cNvPr id="31" name="Gráfico 215">
                <a:extLst>
                  <a:ext uri="{FF2B5EF4-FFF2-40B4-BE49-F238E27FC236}">
                    <a16:creationId xmlns:a16="http://schemas.microsoft.com/office/drawing/2014/main" id="{9412F8B9-7D44-8DCB-077A-C0EDC0D125E1}"/>
                  </a:ext>
                </a:extLst>
              </p:cNvPr>
              <p:cNvGrpSpPr/>
              <p:nvPr/>
            </p:nvGrpSpPr>
            <p:grpSpPr>
              <a:xfrm>
                <a:off x="7572418" y="2635250"/>
                <a:ext cx="384534" cy="261020"/>
                <a:chOff x="3947140" y="1487919"/>
                <a:chExt cx="552164" cy="374808"/>
              </a:xfrm>
              <a:noFill/>
            </p:grpSpPr>
            <p:sp>
              <p:nvSpPr>
                <p:cNvPr id="48" name="Forma livre: Forma 47">
                  <a:extLst>
                    <a:ext uri="{FF2B5EF4-FFF2-40B4-BE49-F238E27FC236}">
                      <a16:creationId xmlns:a16="http://schemas.microsoft.com/office/drawing/2014/main" id="{DCD8E3CA-DA32-91CC-C8B7-88CD20588AE3}"/>
                    </a:ext>
                  </a:extLst>
                </p:cNvPr>
                <p:cNvSpPr/>
                <p:nvPr/>
              </p:nvSpPr>
              <p:spPr>
                <a:xfrm>
                  <a:off x="4333093" y="1487919"/>
                  <a:ext cx="166211" cy="374808"/>
                </a:xfrm>
                <a:custGeom>
                  <a:avLst/>
                  <a:gdLst>
                    <a:gd name="connsiteX0" fmla="*/ 0 w 166211"/>
                    <a:gd name="connsiteY0" fmla="*/ 0 h 374808"/>
                    <a:gd name="connsiteX1" fmla="*/ 125921 w 166211"/>
                    <a:gd name="connsiteY1" fmla="*/ 0 h 374808"/>
                    <a:gd name="connsiteX2" fmla="*/ 166211 w 166211"/>
                    <a:gd name="connsiteY2" fmla="*/ 40291 h 374808"/>
                    <a:gd name="connsiteX3" fmla="*/ 166211 w 166211"/>
                    <a:gd name="connsiteY3" fmla="*/ 374809 h 37480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66211" h="374808">
                      <a:moveTo>
                        <a:pt x="0" y="0"/>
                      </a:moveTo>
                      <a:lnTo>
                        <a:pt x="125921" y="0"/>
                      </a:lnTo>
                      <a:cubicBezTo>
                        <a:pt x="148114" y="0"/>
                        <a:pt x="166211" y="18097"/>
                        <a:pt x="166211" y="40291"/>
                      </a:cubicBezTo>
                      <a:lnTo>
                        <a:pt x="166211" y="374809"/>
                      </a:lnTo>
                    </a:path>
                  </a:pathLst>
                </a:custGeom>
                <a:noFill/>
                <a:ln w="19050" cap="sq">
                  <a:solidFill>
                    <a:schemeClr val="accent1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49" name="Forma livre: Forma 48">
                  <a:extLst>
                    <a:ext uri="{FF2B5EF4-FFF2-40B4-BE49-F238E27FC236}">
                      <a16:creationId xmlns:a16="http://schemas.microsoft.com/office/drawing/2014/main" id="{5C33504E-9124-C422-A05F-B884C7B43E46}"/>
                    </a:ext>
                  </a:extLst>
                </p:cNvPr>
                <p:cNvSpPr/>
                <p:nvPr/>
              </p:nvSpPr>
              <p:spPr>
                <a:xfrm>
                  <a:off x="3947140" y="1487919"/>
                  <a:ext cx="166020" cy="331851"/>
                </a:xfrm>
                <a:custGeom>
                  <a:avLst/>
                  <a:gdLst>
                    <a:gd name="connsiteX0" fmla="*/ 0 w 166020"/>
                    <a:gd name="connsiteY0" fmla="*/ 331851 h 331851"/>
                    <a:gd name="connsiteX1" fmla="*/ 0 w 166020"/>
                    <a:gd name="connsiteY1" fmla="*/ 40291 h 331851"/>
                    <a:gd name="connsiteX2" fmla="*/ 40291 w 166020"/>
                    <a:gd name="connsiteY2" fmla="*/ 0 h 331851"/>
                    <a:gd name="connsiteX3" fmla="*/ 166021 w 166020"/>
                    <a:gd name="connsiteY3" fmla="*/ 0 h 33185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66020" h="331851">
                      <a:moveTo>
                        <a:pt x="0" y="331851"/>
                      </a:moveTo>
                      <a:lnTo>
                        <a:pt x="0" y="40291"/>
                      </a:lnTo>
                      <a:cubicBezTo>
                        <a:pt x="0" y="18097"/>
                        <a:pt x="18097" y="0"/>
                        <a:pt x="40291" y="0"/>
                      </a:cubicBezTo>
                      <a:lnTo>
                        <a:pt x="166021" y="0"/>
                      </a:lnTo>
                    </a:path>
                  </a:pathLst>
                </a:custGeom>
                <a:noFill/>
                <a:ln w="19050" cap="sq">
                  <a:solidFill>
                    <a:schemeClr val="accent1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32" name="Forma livre: Forma 31">
                <a:extLst>
                  <a:ext uri="{FF2B5EF4-FFF2-40B4-BE49-F238E27FC236}">
                    <a16:creationId xmlns:a16="http://schemas.microsoft.com/office/drawing/2014/main" id="{BF7E756A-C108-B545-866D-84FBA8EA5240}"/>
                  </a:ext>
                </a:extLst>
              </p:cNvPr>
              <p:cNvSpPr/>
              <p:nvPr/>
            </p:nvSpPr>
            <p:spPr>
              <a:xfrm>
                <a:off x="7527643" y="2897332"/>
                <a:ext cx="474083" cy="37810"/>
              </a:xfrm>
              <a:custGeom>
                <a:avLst/>
                <a:gdLst>
                  <a:gd name="connsiteX0" fmla="*/ 0 w 680751"/>
                  <a:gd name="connsiteY0" fmla="*/ 0 h 54292"/>
                  <a:gd name="connsiteX1" fmla="*/ 48863 w 680751"/>
                  <a:gd name="connsiteY1" fmla="*/ 54293 h 54292"/>
                  <a:gd name="connsiteX2" fmla="*/ 631888 w 680751"/>
                  <a:gd name="connsiteY2" fmla="*/ 54293 h 54292"/>
                  <a:gd name="connsiteX3" fmla="*/ 680752 w 680751"/>
                  <a:gd name="connsiteY3" fmla="*/ 0 h 54292"/>
                  <a:gd name="connsiteX4" fmla="*/ 0 w 680751"/>
                  <a:gd name="connsiteY4" fmla="*/ 0 h 542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80751" h="54292">
                    <a:moveTo>
                      <a:pt x="0" y="0"/>
                    </a:moveTo>
                    <a:cubicBezTo>
                      <a:pt x="0" y="0"/>
                      <a:pt x="9906" y="54293"/>
                      <a:pt x="48863" y="54293"/>
                    </a:cubicBezTo>
                    <a:lnTo>
                      <a:pt x="631888" y="54293"/>
                    </a:lnTo>
                    <a:cubicBezTo>
                      <a:pt x="670941" y="54293"/>
                      <a:pt x="680752" y="0"/>
                      <a:pt x="680752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noFill/>
              <a:ln w="19050" cap="sq">
                <a:solidFill>
                  <a:schemeClr val="accent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33" name="Gráfico 215">
                <a:extLst>
                  <a:ext uri="{FF2B5EF4-FFF2-40B4-BE49-F238E27FC236}">
                    <a16:creationId xmlns:a16="http://schemas.microsoft.com/office/drawing/2014/main" id="{3551E8BE-18FD-F64A-25C7-DF0E6E303218}"/>
                  </a:ext>
                </a:extLst>
              </p:cNvPr>
              <p:cNvGrpSpPr/>
              <p:nvPr/>
            </p:nvGrpSpPr>
            <p:grpSpPr>
              <a:xfrm>
                <a:off x="7661835" y="2537276"/>
                <a:ext cx="205699" cy="245499"/>
                <a:chOff x="4075536" y="1347235"/>
                <a:chExt cx="295370" cy="352520"/>
              </a:xfrm>
              <a:noFill/>
            </p:grpSpPr>
            <p:sp>
              <p:nvSpPr>
                <p:cNvPr id="43" name="Forma livre: Forma 42">
                  <a:extLst>
                    <a:ext uri="{FF2B5EF4-FFF2-40B4-BE49-F238E27FC236}">
                      <a16:creationId xmlns:a16="http://schemas.microsoft.com/office/drawing/2014/main" id="{2185F06C-63BD-53CC-619A-1B3BF252F65B}"/>
                    </a:ext>
                  </a:extLst>
                </p:cNvPr>
                <p:cNvSpPr/>
                <p:nvPr/>
              </p:nvSpPr>
              <p:spPr>
                <a:xfrm>
                  <a:off x="4156880" y="1347235"/>
                  <a:ext cx="132778" cy="352520"/>
                </a:xfrm>
                <a:custGeom>
                  <a:avLst/>
                  <a:gdLst>
                    <a:gd name="connsiteX0" fmla="*/ 66389 w 132778"/>
                    <a:gd name="connsiteY0" fmla="*/ 0 h 352520"/>
                    <a:gd name="connsiteX1" fmla="*/ 0 w 132778"/>
                    <a:gd name="connsiteY1" fmla="*/ 99536 h 352520"/>
                    <a:gd name="connsiteX2" fmla="*/ 0 w 132778"/>
                    <a:gd name="connsiteY2" fmla="*/ 352520 h 352520"/>
                    <a:gd name="connsiteX3" fmla="*/ 132778 w 132778"/>
                    <a:gd name="connsiteY3" fmla="*/ 352520 h 352520"/>
                    <a:gd name="connsiteX4" fmla="*/ 132778 w 132778"/>
                    <a:gd name="connsiteY4" fmla="*/ 99536 h 352520"/>
                    <a:gd name="connsiteX5" fmla="*/ 66389 w 132778"/>
                    <a:gd name="connsiteY5" fmla="*/ 0 h 35252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132778" h="352520">
                      <a:moveTo>
                        <a:pt x="66389" y="0"/>
                      </a:moveTo>
                      <a:cubicBezTo>
                        <a:pt x="66389" y="0"/>
                        <a:pt x="0" y="70009"/>
                        <a:pt x="0" y="99536"/>
                      </a:cubicBezTo>
                      <a:lnTo>
                        <a:pt x="0" y="352520"/>
                      </a:lnTo>
                      <a:lnTo>
                        <a:pt x="132778" y="352520"/>
                      </a:lnTo>
                      <a:lnTo>
                        <a:pt x="132778" y="99536"/>
                      </a:lnTo>
                      <a:cubicBezTo>
                        <a:pt x="132778" y="69914"/>
                        <a:pt x="66389" y="0"/>
                        <a:pt x="66389" y="0"/>
                      </a:cubicBezTo>
                      <a:close/>
                    </a:path>
                  </a:pathLst>
                </a:custGeom>
                <a:noFill/>
                <a:ln w="19050" cap="sq">
                  <a:solidFill>
                    <a:schemeClr val="accent1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grpSp>
              <p:nvGrpSpPr>
                <p:cNvPr id="44" name="Gráfico 215">
                  <a:extLst>
                    <a:ext uri="{FF2B5EF4-FFF2-40B4-BE49-F238E27FC236}">
                      <a16:creationId xmlns:a16="http://schemas.microsoft.com/office/drawing/2014/main" id="{5F6766A1-8BBF-87DA-050D-C05303A01598}"/>
                    </a:ext>
                  </a:extLst>
                </p:cNvPr>
                <p:cNvGrpSpPr/>
                <p:nvPr/>
              </p:nvGrpSpPr>
              <p:grpSpPr>
                <a:xfrm>
                  <a:off x="4075536" y="1507636"/>
                  <a:ext cx="295370" cy="174783"/>
                  <a:chOff x="4075536" y="1507636"/>
                  <a:chExt cx="295370" cy="174783"/>
                </a:xfrm>
                <a:noFill/>
              </p:grpSpPr>
              <p:sp>
                <p:nvSpPr>
                  <p:cNvPr id="46" name="Forma livre: Forma 45">
                    <a:extLst>
                      <a:ext uri="{FF2B5EF4-FFF2-40B4-BE49-F238E27FC236}">
                        <a16:creationId xmlns:a16="http://schemas.microsoft.com/office/drawing/2014/main" id="{C99CDEA2-CB1C-5E98-14F9-352455FDD4FA}"/>
                      </a:ext>
                    </a:extLst>
                  </p:cNvPr>
                  <p:cNvSpPr/>
                  <p:nvPr/>
                </p:nvSpPr>
                <p:spPr>
                  <a:xfrm>
                    <a:off x="4075536" y="1507636"/>
                    <a:ext cx="81248" cy="174783"/>
                  </a:xfrm>
                  <a:custGeom>
                    <a:avLst/>
                    <a:gdLst>
                      <a:gd name="connsiteX0" fmla="*/ 81248 w 81248"/>
                      <a:gd name="connsiteY0" fmla="*/ 0 h 174783"/>
                      <a:gd name="connsiteX1" fmla="*/ 24860 w 81248"/>
                      <a:gd name="connsiteY1" fmla="*/ 83630 h 174783"/>
                      <a:gd name="connsiteX2" fmla="*/ 4858 w 81248"/>
                      <a:gd name="connsiteY2" fmla="*/ 103823 h 174783"/>
                      <a:gd name="connsiteX3" fmla="*/ 0 w 81248"/>
                      <a:gd name="connsiteY3" fmla="*/ 130302 h 174783"/>
                      <a:gd name="connsiteX4" fmla="*/ 0 w 81248"/>
                      <a:gd name="connsiteY4" fmla="*/ 174784 h 174783"/>
                      <a:gd name="connsiteX5" fmla="*/ 76581 w 81248"/>
                      <a:gd name="connsiteY5" fmla="*/ 174784 h 17478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81248" h="174783">
                        <a:moveTo>
                          <a:pt x="81248" y="0"/>
                        </a:moveTo>
                        <a:cubicBezTo>
                          <a:pt x="81248" y="18002"/>
                          <a:pt x="62865" y="53054"/>
                          <a:pt x="24860" y="83630"/>
                        </a:cubicBezTo>
                        <a:cubicBezTo>
                          <a:pt x="17431" y="89630"/>
                          <a:pt x="9716" y="95917"/>
                          <a:pt x="4858" y="103823"/>
                        </a:cubicBezTo>
                        <a:cubicBezTo>
                          <a:pt x="381" y="111252"/>
                          <a:pt x="0" y="121444"/>
                          <a:pt x="0" y="130302"/>
                        </a:cubicBezTo>
                        <a:lnTo>
                          <a:pt x="0" y="174784"/>
                        </a:lnTo>
                        <a:lnTo>
                          <a:pt x="76581" y="174784"/>
                        </a:lnTo>
                      </a:path>
                    </a:pathLst>
                  </a:custGeom>
                  <a:noFill/>
                  <a:ln w="19050" cap="sq">
                    <a:solidFill>
                      <a:schemeClr val="accent1"/>
                    </a:solidFill>
                    <a:prstDash val="solid"/>
                    <a:miter lim="800000"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47" name="Forma livre: Forma 46">
                    <a:extLst>
                      <a:ext uri="{FF2B5EF4-FFF2-40B4-BE49-F238E27FC236}">
                        <a16:creationId xmlns:a16="http://schemas.microsoft.com/office/drawing/2014/main" id="{4571FFA6-D86D-DFEA-6429-B72AE0D5F14C}"/>
                      </a:ext>
                    </a:extLst>
                  </p:cNvPr>
                  <p:cNvSpPr/>
                  <p:nvPr/>
                </p:nvSpPr>
                <p:spPr>
                  <a:xfrm>
                    <a:off x="4289658" y="1507636"/>
                    <a:ext cx="81248" cy="174783"/>
                  </a:xfrm>
                  <a:custGeom>
                    <a:avLst/>
                    <a:gdLst>
                      <a:gd name="connsiteX0" fmla="*/ 0 w 81248"/>
                      <a:gd name="connsiteY0" fmla="*/ 0 h 174783"/>
                      <a:gd name="connsiteX1" fmla="*/ 56388 w 81248"/>
                      <a:gd name="connsiteY1" fmla="*/ 83630 h 174783"/>
                      <a:gd name="connsiteX2" fmla="*/ 76391 w 81248"/>
                      <a:gd name="connsiteY2" fmla="*/ 103823 h 174783"/>
                      <a:gd name="connsiteX3" fmla="*/ 81248 w 81248"/>
                      <a:gd name="connsiteY3" fmla="*/ 130302 h 174783"/>
                      <a:gd name="connsiteX4" fmla="*/ 81248 w 81248"/>
                      <a:gd name="connsiteY4" fmla="*/ 174784 h 174783"/>
                      <a:gd name="connsiteX5" fmla="*/ 4667 w 81248"/>
                      <a:gd name="connsiteY5" fmla="*/ 174784 h 17478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81248" h="174783">
                        <a:moveTo>
                          <a:pt x="0" y="0"/>
                        </a:moveTo>
                        <a:cubicBezTo>
                          <a:pt x="0" y="18002"/>
                          <a:pt x="18383" y="53054"/>
                          <a:pt x="56388" y="83630"/>
                        </a:cubicBezTo>
                        <a:cubicBezTo>
                          <a:pt x="63818" y="89630"/>
                          <a:pt x="71533" y="95917"/>
                          <a:pt x="76391" y="103823"/>
                        </a:cubicBezTo>
                        <a:cubicBezTo>
                          <a:pt x="80867" y="111252"/>
                          <a:pt x="81248" y="121444"/>
                          <a:pt x="81248" y="130302"/>
                        </a:cubicBezTo>
                        <a:lnTo>
                          <a:pt x="81248" y="174784"/>
                        </a:lnTo>
                        <a:lnTo>
                          <a:pt x="4667" y="174784"/>
                        </a:lnTo>
                      </a:path>
                    </a:pathLst>
                  </a:custGeom>
                  <a:noFill/>
                  <a:ln w="19050" cap="sq">
                    <a:solidFill>
                      <a:schemeClr val="accent1"/>
                    </a:solidFill>
                    <a:prstDash val="solid"/>
                    <a:miter lim="800000"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  <p:sp>
              <p:nvSpPr>
                <p:cNvPr id="45" name="Forma livre: Forma 44">
                  <a:extLst>
                    <a:ext uri="{FF2B5EF4-FFF2-40B4-BE49-F238E27FC236}">
                      <a16:creationId xmlns:a16="http://schemas.microsoft.com/office/drawing/2014/main" id="{12B1F34E-9729-F380-A6CA-093D883F0389}"/>
                    </a:ext>
                  </a:extLst>
                </p:cNvPr>
                <p:cNvSpPr/>
                <p:nvPr/>
              </p:nvSpPr>
              <p:spPr>
                <a:xfrm>
                  <a:off x="4198980" y="1457820"/>
                  <a:ext cx="48577" cy="11239"/>
                </a:xfrm>
                <a:custGeom>
                  <a:avLst/>
                  <a:gdLst>
                    <a:gd name="connsiteX0" fmla="*/ 48578 w 48577"/>
                    <a:gd name="connsiteY0" fmla="*/ 11240 h 11239"/>
                    <a:gd name="connsiteX1" fmla="*/ 24289 w 48577"/>
                    <a:gd name="connsiteY1" fmla="*/ 0 h 11239"/>
                    <a:gd name="connsiteX2" fmla="*/ 0 w 48577"/>
                    <a:gd name="connsiteY2" fmla="*/ 11240 h 1123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48577" h="11239">
                      <a:moveTo>
                        <a:pt x="48578" y="11240"/>
                      </a:moveTo>
                      <a:cubicBezTo>
                        <a:pt x="44577" y="4667"/>
                        <a:pt x="35243" y="0"/>
                        <a:pt x="24289" y="0"/>
                      </a:cubicBezTo>
                      <a:cubicBezTo>
                        <a:pt x="13335" y="0"/>
                        <a:pt x="4001" y="4667"/>
                        <a:pt x="0" y="11240"/>
                      </a:cubicBezTo>
                    </a:path>
                  </a:pathLst>
                </a:custGeom>
                <a:noFill/>
                <a:ln w="19050" cap="sq">
                  <a:solidFill>
                    <a:schemeClr val="accent1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34" name="Gráfico 215">
                <a:extLst>
                  <a:ext uri="{FF2B5EF4-FFF2-40B4-BE49-F238E27FC236}">
                    <a16:creationId xmlns:a16="http://schemas.microsoft.com/office/drawing/2014/main" id="{9FB0C411-719E-EB28-6E6C-15E9BFB5D9FB}"/>
                  </a:ext>
                </a:extLst>
              </p:cNvPr>
              <p:cNvGrpSpPr/>
              <p:nvPr/>
            </p:nvGrpSpPr>
            <p:grpSpPr>
              <a:xfrm>
                <a:off x="7617192" y="2785627"/>
                <a:ext cx="294983" cy="73961"/>
                <a:chOff x="4011433" y="1703851"/>
                <a:chExt cx="423576" cy="106203"/>
              </a:xfrm>
              <a:noFill/>
            </p:grpSpPr>
            <p:grpSp>
              <p:nvGrpSpPr>
                <p:cNvPr id="35" name="Gráfico 215">
                  <a:extLst>
                    <a:ext uri="{FF2B5EF4-FFF2-40B4-BE49-F238E27FC236}">
                      <a16:creationId xmlns:a16="http://schemas.microsoft.com/office/drawing/2014/main" id="{75FA2C9D-DAC9-7E85-0B9C-A192A04A7B4F}"/>
                    </a:ext>
                  </a:extLst>
                </p:cNvPr>
                <p:cNvGrpSpPr/>
                <p:nvPr/>
              </p:nvGrpSpPr>
              <p:grpSpPr>
                <a:xfrm>
                  <a:off x="4249939" y="1703851"/>
                  <a:ext cx="185070" cy="106203"/>
                  <a:chOff x="4249939" y="1703851"/>
                  <a:chExt cx="185070" cy="106203"/>
                </a:xfrm>
                <a:noFill/>
              </p:grpSpPr>
              <p:sp>
                <p:nvSpPr>
                  <p:cNvPr id="40" name="Forma livre: Forma 39">
                    <a:extLst>
                      <a:ext uri="{FF2B5EF4-FFF2-40B4-BE49-F238E27FC236}">
                        <a16:creationId xmlns:a16="http://schemas.microsoft.com/office/drawing/2014/main" id="{9322769A-A75C-88E1-0335-DF3EF9E7BD6D}"/>
                      </a:ext>
                    </a:extLst>
                  </p:cNvPr>
                  <p:cNvSpPr/>
                  <p:nvPr/>
                </p:nvSpPr>
                <p:spPr>
                  <a:xfrm>
                    <a:off x="4249939" y="1703851"/>
                    <a:ext cx="42195" cy="106203"/>
                  </a:xfrm>
                  <a:custGeom>
                    <a:avLst/>
                    <a:gdLst>
                      <a:gd name="connsiteX0" fmla="*/ 0 w 42195"/>
                      <a:gd name="connsiteY0" fmla="*/ 0 h 106203"/>
                      <a:gd name="connsiteX1" fmla="*/ 42196 w 42195"/>
                      <a:gd name="connsiteY1" fmla="*/ 106204 h 10620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42195" h="106203">
                        <a:moveTo>
                          <a:pt x="0" y="0"/>
                        </a:moveTo>
                        <a:cubicBezTo>
                          <a:pt x="0" y="0"/>
                          <a:pt x="1715" y="89535"/>
                          <a:pt x="42196" y="106204"/>
                        </a:cubicBezTo>
                      </a:path>
                    </a:pathLst>
                  </a:custGeom>
                  <a:noFill/>
                  <a:ln w="19050" cap="sq">
                    <a:solidFill>
                      <a:schemeClr val="accent1"/>
                    </a:solidFill>
                    <a:prstDash val="solid"/>
                    <a:miter lim="800000"/>
                  </a:ln>
                </p:spPr>
                <p:txBody>
                  <a:bodyPr rtlCol="0" anchor="ctr"/>
                  <a:lstStyle/>
                  <a:p>
                    <a:endParaRPr lang="pt-PT" dirty="0"/>
                  </a:p>
                </p:txBody>
              </p:sp>
              <p:sp>
                <p:nvSpPr>
                  <p:cNvPr id="41" name="Forma livre: Forma 40">
                    <a:extLst>
                      <a:ext uri="{FF2B5EF4-FFF2-40B4-BE49-F238E27FC236}">
                        <a16:creationId xmlns:a16="http://schemas.microsoft.com/office/drawing/2014/main" id="{64CD0FB0-C8BA-8C54-EB66-99C14B060BBF}"/>
                      </a:ext>
                    </a:extLst>
                  </p:cNvPr>
                  <p:cNvSpPr/>
                  <p:nvPr/>
                </p:nvSpPr>
                <p:spPr>
                  <a:xfrm>
                    <a:off x="4335283" y="1736480"/>
                    <a:ext cx="99726" cy="48809"/>
                  </a:xfrm>
                  <a:custGeom>
                    <a:avLst/>
                    <a:gdLst>
                      <a:gd name="connsiteX0" fmla="*/ 99727 w 99726"/>
                      <a:gd name="connsiteY0" fmla="*/ 48810 h 48809"/>
                      <a:gd name="connsiteX1" fmla="*/ 83820 w 99726"/>
                      <a:gd name="connsiteY1" fmla="*/ 13948 h 48809"/>
                      <a:gd name="connsiteX2" fmla="*/ 46673 w 99726"/>
                      <a:gd name="connsiteY2" fmla="*/ 42 h 48809"/>
                      <a:gd name="connsiteX3" fmla="*/ 0 w 99726"/>
                      <a:gd name="connsiteY3" fmla="*/ 36427 h 4880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99726" h="48809">
                        <a:moveTo>
                          <a:pt x="99727" y="48810"/>
                        </a:moveTo>
                        <a:cubicBezTo>
                          <a:pt x="99155" y="34998"/>
                          <a:pt x="93154" y="22711"/>
                          <a:pt x="83820" y="13948"/>
                        </a:cubicBezTo>
                        <a:cubicBezTo>
                          <a:pt x="74200" y="4804"/>
                          <a:pt x="60960" y="-530"/>
                          <a:pt x="46673" y="42"/>
                        </a:cubicBezTo>
                        <a:cubicBezTo>
                          <a:pt x="24384" y="994"/>
                          <a:pt x="6001" y="16139"/>
                          <a:pt x="0" y="36427"/>
                        </a:cubicBezTo>
                      </a:path>
                    </a:pathLst>
                  </a:custGeom>
                  <a:noFill/>
                  <a:ln w="19050" cap="sq">
                    <a:solidFill>
                      <a:schemeClr val="accent1"/>
                    </a:solidFill>
                    <a:prstDash val="solid"/>
                    <a:miter lim="800000"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42" name="Forma livre: Forma 41">
                    <a:extLst>
                      <a:ext uri="{FF2B5EF4-FFF2-40B4-BE49-F238E27FC236}">
                        <a16:creationId xmlns:a16="http://schemas.microsoft.com/office/drawing/2014/main" id="{9F48284D-74D3-DFD2-CCE8-B98AA4020B80}"/>
                      </a:ext>
                    </a:extLst>
                  </p:cNvPr>
                  <p:cNvSpPr/>
                  <p:nvPr/>
                </p:nvSpPr>
                <p:spPr>
                  <a:xfrm>
                    <a:off x="4290650" y="1770143"/>
                    <a:ext cx="60349" cy="39816"/>
                  </a:xfrm>
                  <a:custGeom>
                    <a:avLst/>
                    <a:gdLst>
                      <a:gd name="connsiteX0" fmla="*/ 60349 w 60349"/>
                      <a:gd name="connsiteY0" fmla="*/ 21814 h 39816"/>
                      <a:gd name="connsiteX1" fmla="*/ 45681 w 60349"/>
                      <a:gd name="connsiteY1" fmla="*/ 3812 h 39816"/>
                      <a:gd name="connsiteX2" fmla="*/ 21773 w 60349"/>
                      <a:gd name="connsiteY2" fmla="*/ 1336 h 39816"/>
                      <a:gd name="connsiteX3" fmla="*/ 1389 w 60349"/>
                      <a:gd name="connsiteY3" fmla="*/ 39817 h 3981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60349" h="39816">
                        <a:moveTo>
                          <a:pt x="60349" y="21814"/>
                        </a:moveTo>
                        <a:cubicBezTo>
                          <a:pt x="57873" y="13813"/>
                          <a:pt x="52539" y="7527"/>
                          <a:pt x="45681" y="3812"/>
                        </a:cubicBezTo>
                        <a:cubicBezTo>
                          <a:pt x="38632" y="-93"/>
                          <a:pt x="30060" y="-1141"/>
                          <a:pt x="21773" y="1336"/>
                        </a:cubicBezTo>
                        <a:cubicBezTo>
                          <a:pt x="5485" y="6289"/>
                          <a:pt x="-3659" y="23529"/>
                          <a:pt x="1389" y="39817"/>
                        </a:cubicBezTo>
                      </a:path>
                    </a:pathLst>
                  </a:custGeom>
                  <a:noFill/>
                  <a:ln w="19050" cap="sq">
                    <a:solidFill>
                      <a:schemeClr val="accent1"/>
                    </a:solidFill>
                    <a:prstDash val="solid"/>
                    <a:miter lim="800000"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  <p:grpSp>
              <p:nvGrpSpPr>
                <p:cNvPr id="36" name="Gráfico 215">
                  <a:extLst>
                    <a:ext uri="{FF2B5EF4-FFF2-40B4-BE49-F238E27FC236}">
                      <a16:creationId xmlns:a16="http://schemas.microsoft.com/office/drawing/2014/main" id="{995B09D8-49EA-13DE-86FB-9F631A78D6F6}"/>
                    </a:ext>
                  </a:extLst>
                </p:cNvPr>
                <p:cNvGrpSpPr/>
                <p:nvPr/>
              </p:nvGrpSpPr>
              <p:grpSpPr>
                <a:xfrm>
                  <a:off x="4011433" y="1703851"/>
                  <a:ext cx="185070" cy="106203"/>
                  <a:chOff x="4011433" y="1703851"/>
                  <a:chExt cx="185070" cy="106203"/>
                </a:xfrm>
                <a:noFill/>
              </p:grpSpPr>
              <p:sp>
                <p:nvSpPr>
                  <p:cNvPr id="37" name="Forma livre: Forma 36">
                    <a:extLst>
                      <a:ext uri="{FF2B5EF4-FFF2-40B4-BE49-F238E27FC236}">
                        <a16:creationId xmlns:a16="http://schemas.microsoft.com/office/drawing/2014/main" id="{1E8F85D8-D19A-FB71-E32C-8E2CCDE4FFAD}"/>
                      </a:ext>
                    </a:extLst>
                  </p:cNvPr>
                  <p:cNvSpPr/>
                  <p:nvPr/>
                </p:nvSpPr>
                <p:spPr>
                  <a:xfrm>
                    <a:off x="4154308" y="1703851"/>
                    <a:ext cx="42195" cy="106203"/>
                  </a:xfrm>
                  <a:custGeom>
                    <a:avLst/>
                    <a:gdLst>
                      <a:gd name="connsiteX0" fmla="*/ 42196 w 42195"/>
                      <a:gd name="connsiteY0" fmla="*/ 0 h 106203"/>
                      <a:gd name="connsiteX1" fmla="*/ 0 w 42195"/>
                      <a:gd name="connsiteY1" fmla="*/ 106204 h 10620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42195" h="106203">
                        <a:moveTo>
                          <a:pt x="42196" y="0"/>
                        </a:moveTo>
                        <a:cubicBezTo>
                          <a:pt x="42196" y="0"/>
                          <a:pt x="41243" y="93440"/>
                          <a:pt x="0" y="106204"/>
                        </a:cubicBezTo>
                      </a:path>
                    </a:pathLst>
                  </a:custGeom>
                  <a:noFill/>
                  <a:ln w="19050" cap="sq">
                    <a:solidFill>
                      <a:schemeClr val="accent1"/>
                    </a:solidFill>
                    <a:prstDash val="solid"/>
                    <a:miter lim="800000"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38" name="Forma livre: Forma 37">
                    <a:extLst>
                      <a:ext uri="{FF2B5EF4-FFF2-40B4-BE49-F238E27FC236}">
                        <a16:creationId xmlns:a16="http://schemas.microsoft.com/office/drawing/2014/main" id="{33FEEF7B-0CE5-BC0E-CD5F-6D2528150FF1}"/>
                      </a:ext>
                    </a:extLst>
                  </p:cNvPr>
                  <p:cNvSpPr/>
                  <p:nvPr/>
                </p:nvSpPr>
                <p:spPr>
                  <a:xfrm>
                    <a:off x="4011433" y="1736480"/>
                    <a:ext cx="69627" cy="48809"/>
                  </a:xfrm>
                  <a:custGeom>
                    <a:avLst/>
                    <a:gdLst>
                      <a:gd name="connsiteX0" fmla="*/ 0 w 69627"/>
                      <a:gd name="connsiteY0" fmla="*/ 48810 h 48809"/>
                      <a:gd name="connsiteX1" fmla="*/ 15907 w 69627"/>
                      <a:gd name="connsiteY1" fmla="*/ 13948 h 48809"/>
                      <a:gd name="connsiteX2" fmla="*/ 53054 w 69627"/>
                      <a:gd name="connsiteY2" fmla="*/ 42 h 48809"/>
                      <a:gd name="connsiteX3" fmla="*/ 69628 w 69627"/>
                      <a:gd name="connsiteY3" fmla="*/ 3566 h 4880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69627" h="48809">
                        <a:moveTo>
                          <a:pt x="0" y="48810"/>
                        </a:moveTo>
                        <a:cubicBezTo>
                          <a:pt x="572" y="34998"/>
                          <a:pt x="6572" y="22711"/>
                          <a:pt x="15907" y="13948"/>
                        </a:cubicBezTo>
                        <a:cubicBezTo>
                          <a:pt x="25527" y="4804"/>
                          <a:pt x="38767" y="-530"/>
                          <a:pt x="53054" y="42"/>
                        </a:cubicBezTo>
                        <a:cubicBezTo>
                          <a:pt x="58960" y="327"/>
                          <a:pt x="64484" y="1566"/>
                          <a:pt x="69628" y="3566"/>
                        </a:cubicBezTo>
                      </a:path>
                    </a:pathLst>
                  </a:custGeom>
                  <a:noFill/>
                  <a:ln w="19050" cap="sq">
                    <a:solidFill>
                      <a:schemeClr val="accent1"/>
                    </a:solidFill>
                    <a:prstDash val="solid"/>
                    <a:miter lim="800000"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39" name="Forma livre: Forma 38">
                    <a:extLst>
                      <a:ext uri="{FF2B5EF4-FFF2-40B4-BE49-F238E27FC236}">
                        <a16:creationId xmlns:a16="http://schemas.microsoft.com/office/drawing/2014/main" id="{D126DEDC-CFD8-DB71-3624-19937E9139B4}"/>
                      </a:ext>
                    </a:extLst>
                  </p:cNvPr>
                  <p:cNvSpPr/>
                  <p:nvPr/>
                </p:nvSpPr>
                <p:spPr>
                  <a:xfrm>
                    <a:off x="4095444" y="1770143"/>
                    <a:ext cx="60349" cy="39816"/>
                  </a:xfrm>
                  <a:custGeom>
                    <a:avLst/>
                    <a:gdLst>
                      <a:gd name="connsiteX0" fmla="*/ 0 w 60349"/>
                      <a:gd name="connsiteY0" fmla="*/ 21814 h 39816"/>
                      <a:gd name="connsiteX1" fmla="*/ 14669 w 60349"/>
                      <a:gd name="connsiteY1" fmla="*/ 3812 h 39816"/>
                      <a:gd name="connsiteX2" fmla="*/ 38576 w 60349"/>
                      <a:gd name="connsiteY2" fmla="*/ 1336 h 39816"/>
                      <a:gd name="connsiteX3" fmla="*/ 58960 w 60349"/>
                      <a:gd name="connsiteY3" fmla="*/ 39817 h 3981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60349" h="39816">
                        <a:moveTo>
                          <a:pt x="0" y="21814"/>
                        </a:moveTo>
                        <a:cubicBezTo>
                          <a:pt x="2477" y="13813"/>
                          <a:pt x="7810" y="7527"/>
                          <a:pt x="14669" y="3812"/>
                        </a:cubicBezTo>
                        <a:cubicBezTo>
                          <a:pt x="21717" y="-93"/>
                          <a:pt x="30290" y="-1141"/>
                          <a:pt x="38576" y="1336"/>
                        </a:cubicBezTo>
                        <a:cubicBezTo>
                          <a:pt x="54864" y="6289"/>
                          <a:pt x="64008" y="23529"/>
                          <a:pt x="58960" y="39817"/>
                        </a:cubicBezTo>
                      </a:path>
                    </a:pathLst>
                  </a:custGeom>
                  <a:noFill/>
                  <a:ln w="19050" cap="sq">
                    <a:solidFill>
                      <a:schemeClr val="accent1"/>
                    </a:solidFill>
                    <a:prstDash val="solid"/>
                    <a:miter lim="800000"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</p:grpSp>
        </p:grpSp>
      </p:grpSp>
      <p:grpSp>
        <p:nvGrpSpPr>
          <p:cNvPr id="3" name="Agrupar 2">
            <a:extLst>
              <a:ext uri="{FF2B5EF4-FFF2-40B4-BE49-F238E27FC236}">
                <a16:creationId xmlns:a16="http://schemas.microsoft.com/office/drawing/2014/main" id="{76609281-E28B-0634-1D39-1892F7BDC238}"/>
              </a:ext>
            </a:extLst>
          </p:cNvPr>
          <p:cNvGrpSpPr/>
          <p:nvPr/>
        </p:nvGrpSpPr>
        <p:grpSpPr>
          <a:xfrm>
            <a:off x="3325404" y="2012459"/>
            <a:ext cx="846074" cy="524524"/>
            <a:chOff x="3325404" y="2012459"/>
            <a:chExt cx="846074" cy="524524"/>
          </a:xfrm>
        </p:grpSpPr>
        <p:sp>
          <p:nvSpPr>
            <p:cNvPr id="26" name="Forma livre: Forma 25">
              <a:extLst>
                <a:ext uri="{FF2B5EF4-FFF2-40B4-BE49-F238E27FC236}">
                  <a16:creationId xmlns:a16="http://schemas.microsoft.com/office/drawing/2014/main" id="{A63281F7-D5FD-0EAD-1C0B-C8B3DE6FE2AA}"/>
                </a:ext>
              </a:extLst>
            </p:cNvPr>
            <p:cNvSpPr/>
            <p:nvPr/>
          </p:nvSpPr>
          <p:spPr>
            <a:xfrm flipH="1">
              <a:off x="3325404" y="2012459"/>
              <a:ext cx="846074" cy="524524"/>
            </a:xfrm>
            <a:custGeom>
              <a:avLst/>
              <a:gdLst>
                <a:gd name="connsiteX0" fmla="*/ 671828 w 846074"/>
                <a:gd name="connsiteY0" fmla="*/ 0 h 524524"/>
                <a:gd name="connsiteX1" fmla="*/ 0 w 846074"/>
                <a:gd name="connsiteY1" fmla="*/ 0 h 524524"/>
                <a:gd name="connsiteX2" fmla="*/ 524529 w 846074"/>
                <a:gd name="connsiteY2" fmla="*/ 524524 h 524524"/>
                <a:gd name="connsiteX3" fmla="*/ 524742 w 846074"/>
                <a:gd name="connsiteY3" fmla="*/ 524524 h 524524"/>
                <a:gd name="connsiteX4" fmla="*/ 846074 w 846074"/>
                <a:gd name="connsiteY4" fmla="*/ 524524 h 5245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46074" h="524524">
                  <a:moveTo>
                    <a:pt x="671828" y="0"/>
                  </a:moveTo>
                  <a:lnTo>
                    <a:pt x="0" y="0"/>
                  </a:lnTo>
                  <a:cubicBezTo>
                    <a:pt x="0" y="289824"/>
                    <a:pt x="234920" y="524524"/>
                    <a:pt x="524529" y="524524"/>
                  </a:cubicBezTo>
                  <a:lnTo>
                    <a:pt x="524742" y="524524"/>
                  </a:lnTo>
                  <a:lnTo>
                    <a:pt x="846074" y="524524"/>
                  </a:lnTo>
                  <a:close/>
                </a:path>
              </a:pathLst>
            </a:custGeom>
            <a:solidFill>
              <a:srgbClr val="1D3EB6"/>
            </a:solidFill>
            <a:ln w="4244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pt-PT"/>
            </a:p>
          </p:txBody>
        </p:sp>
        <p:grpSp>
          <p:nvGrpSpPr>
            <p:cNvPr id="50" name="Agrupar 49">
              <a:extLst>
                <a:ext uri="{FF2B5EF4-FFF2-40B4-BE49-F238E27FC236}">
                  <a16:creationId xmlns:a16="http://schemas.microsoft.com/office/drawing/2014/main" id="{213F5BD3-D2EE-02FD-64E3-1233A374E234}"/>
                </a:ext>
              </a:extLst>
            </p:cNvPr>
            <p:cNvGrpSpPr/>
            <p:nvPr/>
          </p:nvGrpSpPr>
          <p:grpSpPr>
            <a:xfrm>
              <a:off x="3565627" y="2091210"/>
              <a:ext cx="337061" cy="282872"/>
              <a:chOff x="7527643" y="2537276"/>
              <a:chExt cx="474083" cy="397866"/>
            </a:xfrm>
          </p:grpSpPr>
          <p:grpSp>
            <p:nvGrpSpPr>
              <p:cNvPr id="51" name="Gráfico 215">
                <a:extLst>
                  <a:ext uri="{FF2B5EF4-FFF2-40B4-BE49-F238E27FC236}">
                    <a16:creationId xmlns:a16="http://schemas.microsoft.com/office/drawing/2014/main" id="{E14233C5-59CC-7D69-600D-645041ACC49F}"/>
                  </a:ext>
                </a:extLst>
              </p:cNvPr>
              <p:cNvGrpSpPr/>
              <p:nvPr/>
            </p:nvGrpSpPr>
            <p:grpSpPr>
              <a:xfrm>
                <a:off x="7572418" y="2635250"/>
                <a:ext cx="384534" cy="261020"/>
                <a:chOff x="3947140" y="1487919"/>
                <a:chExt cx="552164" cy="374808"/>
              </a:xfrm>
              <a:noFill/>
            </p:grpSpPr>
            <p:sp>
              <p:nvSpPr>
                <p:cNvPr id="68" name="Forma livre: Forma 67">
                  <a:extLst>
                    <a:ext uri="{FF2B5EF4-FFF2-40B4-BE49-F238E27FC236}">
                      <a16:creationId xmlns:a16="http://schemas.microsoft.com/office/drawing/2014/main" id="{244D30A6-9994-C7D9-0A87-DE357F645D70}"/>
                    </a:ext>
                  </a:extLst>
                </p:cNvPr>
                <p:cNvSpPr/>
                <p:nvPr/>
              </p:nvSpPr>
              <p:spPr>
                <a:xfrm>
                  <a:off x="4333093" y="1487919"/>
                  <a:ext cx="166211" cy="374808"/>
                </a:xfrm>
                <a:custGeom>
                  <a:avLst/>
                  <a:gdLst>
                    <a:gd name="connsiteX0" fmla="*/ 0 w 166211"/>
                    <a:gd name="connsiteY0" fmla="*/ 0 h 374808"/>
                    <a:gd name="connsiteX1" fmla="*/ 125921 w 166211"/>
                    <a:gd name="connsiteY1" fmla="*/ 0 h 374808"/>
                    <a:gd name="connsiteX2" fmla="*/ 166211 w 166211"/>
                    <a:gd name="connsiteY2" fmla="*/ 40291 h 374808"/>
                    <a:gd name="connsiteX3" fmla="*/ 166211 w 166211"/>
                    <a:gd name="connsiteY3" fmla="*/ 374809 h 37480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66211" h="374808">
                      <a:moveTo>
                        <a:pt x="0" y="0"/>
                      </a:moveTo>
                      <a:lnTo>
                        <a:pt x="125921" y="0"/>
                      </a:lnTo>
                      <a:cubicBezTo>
                        <a:pt x="148114" y="0"/>
                        <a:pt x="166211" y="18097"/>
                        <a:pt x="166211" y="40291"/>
                      </a:cubicBezTo>
                      <a:lnTo>
                        <a:pt x="166211" y="374809"/>
                      </a:lnTo>
                    </a:path>
                  </a:pathLst>
                </a:custGeom>
                <a:noFill/>
                <a:ln w="19050" cap="sq">
                  <a:solidFill>
                    <a:schemeClr val="accent1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69" name="Forma livre: Forma 68">
                  <a:extLst>
                    <a:ext uri="{FF2B5EF4-FFF2-40B4-BE49-F238E27FC236}">
                      <a16:creationId xmlns:a16="http://schemas.microsoft.com/office/drawing/2014/main" id="{BA8AF734-B472-FD0B-B3A0-F6111D47275E}"/>
                    </a:ext>
                  </a:extLst>
                </p:cNvPr>
                <p:cNvSpPr/>
                <p:nvPr/>
              </p:nvSpPr>
              <p:spPr>
                <a:xfrm>
                  <a:off x="3947140" y="1487919"/>
                  <a:ext cx="166020" cy="331851"/>
                </a:xfrm>
                <a:custGeom>
                  <a:avLst/>
                  <a:gdLst>
                    <a:gd name="connsiteX0" fmla="*/ 0 w 166020"/>
                    <a:gd name="connsiteY0" fmla="*/ 331851 h 331851"/>
                    <a:gd name="connsiteX1" fmla="*/ 0 w 166020"/>
                    <a:gd name="connsiteY1" fmla="*/ 40291 h 331851"/>
                    <a:gd name="connsiteX2" fmla="*/ 40291 w 166020"/>
                    <a:gd name="connsiteY2" fmla="*/ 0 h 331851"/>
                    <a:gd name="connsiteX3" fmla="*/ 166021 w 166020"/>
                    <a:gd name="connsiteY3" fmla="*/ 0 h 33185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66020" h="331851">
                      <a:moveTo>
                        <a:pt x="0" y="331851"/>
                      </a:moveTo>
                      <a:lnTo>
                        <a:pt x="0" y="40291"/>
                      </a:lnTo>
                      <a:cubicBezTo>
                        <a:pt x="0" y="18097"/>
                        <a:pt x="18097" y="0"/>
                        <a:pt x="40291" y="0"/>
                      </a:cubicBezTo>
                      <a:lnTo>
                        <a:pt x="166021" y="0"/>
                      </a:lnTo>
                    </a:path>
                  </a:pathLst>
                </a:custGeom>
                <a:noFill/>
                <a:ln w="19050" cap="sq">
                  <a:solidFill>
                    <a:schemeClr val="accent1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52" name="Forma livre: Forma 51">
                <a:extLst>
                  <a:ext uri="{FF2B5EF4-FFF2-40B4-BE49-F238E27FC236}">
                    <a16:creationId xmlns:a16="http://schemas.microsoft.com/office/drawing/2014/main" id="{6F193EE3-82C7-D464-F80B-051EA74EA0CB}"/>
                  </a:ext>
                </a:extLst>
              </p:cNvPr>
              <p:cNvSpPr/>
              <p:nvPr/>
            </p:nvSpPr>
            <p:spPr>
              <a:xfrm>
                <a:off x="7527643" y="2897332"/>
                <a:ext cx="474083" cy="37810"/>
              </a:xfrm>
              <a:custGeom>
                <a:avLst/>
                <a:gdLst>
                  <a:gd name="connsiteX0" fmla="*/ 0 w 680751"/>
                  <a:gd name="connsiteY0" fmla="*/ 0 h 54292"/>
                  <a:gd name="connsiteX1" fmla="*/ 48863 w 680751"/>
                  <a:gd name="connsiteY1" fmla="*/ 54293 h 54292"/>
                  <a:gd name="connsiteX2" fmla="*/ 631888 w 680751"/>
                  <a:gd name="connsiteY2" fmla="*/ 54293 h 54292"/>
                  <a:gd name="connsiteX3" fmla="*/ 680752 w 680751"/>
                  <a:gd name="connsiteY3" fmla="*/ 0 h 54292"/>
                  <a:gd name="connsiteX4" fmla="*/ 0 w 680751"/>
                  <a:gd name="connsiteY4" fmla="*/ 0 h 542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80751" h="54292">
                    <a:moveTo>
                      <a:pt x="0" y="0"/>
                    </a:moveTo>
                    <a:cubicBezTo>
                      <a:pt x="0" y="0"/>
                      <a:pt x="9906" y="54293"/>
                      <a:pt x="48863" y="54293"/>
                    </a:cubicBezTo>
                    <a:lnTo>
                      <a:pt x="631888" y="54293"/>
                    </a:lnTo>
                    <a:cubicBezTo>
                      <a:pt x="670941" y="54293"/>
                      <a:pt x="680752" y="0"/>
                      <a:pt x="680752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noFill/>
              <a:ln w="19050" cap="sq">
                <a:solidFill>
                  <a:schemeClr val="accent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53" name="Gráfico 215">
                <a:extLst>
                  <a:ext uri="{FF2B5EF4-FFF2-40B4-BE49-F238E27FC236}">
                    <a16:creationId xmlns:a16="http://schemas.microsoft.com/office/drawing/2014/main" id="{06E00F43-B7F6-E59A-537D-5E98F0575C4B}"/>
                  </a:ext>
                </a:extLst>
              </p:cNvPr>
              <p:cNvGrpSpPr/>
              <p:nvPr/>
            </p:nvGrpSpPr>
            <p:grpSpPr>
              <a:xfrm>
                <a:off x="7661835" y="2537276"/>
                <a:ext cx="205699" cy="245499"/>
                <a:chOff x="4075536" y="1347235"/>
                <a:chExt cx="295370" cy="352520"/>
              </a:xfrm>
              <a:noFill/>
            </p:grpSpPr>
            <p:sp>
              <p:nvSpPr>
                <p:cNvPr id="63" name="Forma livre: Forma 62">
                  <a:extLst>
                    <a:ext uri="{FF2B5EF4-FFF2-40B4-BE49-F238E27FC236}">
                      <a16:creationId xmlns:a16="http://schemas.microsoft.com/office/drawing/2014/main" id="{D1296E6C-9C3D-DB15-0025-B3B0D4BF1AD7}"/>
                    </a:ext>
                  </a:extLst>
                </p:cNvPr>
                <p:cNvSpPr/>
                <p:nvPr/>
              </p:nvSpPr>
              <p:spPr>
                <a:xfrm>
                  <a:off x="4156880" y="1347235"/>
                  <a:ext cx="132778" cy="352520"/>
                </a:xfrm>
                <a:custGeom>
                  <a:avLst/>
                  <a:gdLst>
                    <a:gd name="connsiteX0" fmla="*/ 66389 w 132778"/>
                    <a:gd name="connsiteY0" fmla="*/ 0 h 352520"/>
                    <a:gd name="connsiteX1" fmla="*/ 0 w 132778"/>
                    <a:gd name="connsiteY1" fmla="*/ 99536 h 352520"/>
                    <a:gd name="connsiteX2" fmla="*/ 0 w 132778"/>
                    <a:gd name="connsiteY2" fmla="*/ 352520 h 352520"/>
                    <a:gd name="connsiteX3" fmla="*/ 132778 w 132778"/>
                    <a:gd name="connsiteY3" fmla="*/ 352520 h 352520"/>
                    <a:gd name="connsiteX4" fmla="*/ 132778 w 132778"/>
                    <a:gd name="connsiteY4" fmla="*/ 99536 h 352520"/>
                    <a:gd name="connsiteX5" fmla="*/ 66389 w 132778"/>
                    <a:gd name="connsiteY5" fmla="*/ 0 h 35252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132778" h="352520">
                      <a:moveTo>
                        <a:pt x="66389" y="0"/>
                      </a:moveTo>
                      <a:cubicBezTo>
                        <a:pt x="66389" y="0"/>
                        <a:pt x="0" y="70009"/>
                        <a:pt x="0" y="99536"/>
                      </a:cubicBezTo>
                      <a:lnTo>
                        <a:pt x="0" y="352520"/>
                      </a:lnTo>
                      <a:lnTo>
                        <a:pt x="132778" y="352520"/>
                      </a:lnTo>
                      <a:lnTo>
                        <a:pt x="132778" y="99536"/>
                      </a:lnTo>
                      <a:cubicBezTo>
                        <a:pt x="132778" y="69914"/>
                        <a:pt x="66389" y="0"/>
                        <a:pt x="66389" y="0"/>
                      </a:cubicBezTo>
                      <a:close/>
                    </a:path>
                  </a:pathLst>
                </a:custGeom>
                <a:noFill/>
                <a:ln w="19050" cap="sq">
                  <a:solidFill>
                    <a:schemeClr val="accent1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grpSp>
              <p:nvGrpSpPr>
                <p:cNvPr id="64" name="Gráfico 215">
                  <a:extLst>
                    <a:ext uri="{FF2B5EF4-FFF2-40B4-BE49-F238E27FC236}">
                      <a16:creationId xmlns:a16="http://schemas.microsoft.com/office/drawing/2014/main" id="{2B0C52F9-CDBC-466C-ED33-771DC53E54F9}"/>
                    </a:ext>
                  </a:extLst>
                </p:cNvPr>
                <p:cNvGrpSpPr/>
                <p:nvPr/>
              </p:nvGrpSpPr>
              <p:grpSpPr>
                <a:xfrm>
                  <a:off x="4075536" y="1507636"/>
                  <a:ext cx="295370" cy="174783"/>
                  <a:chOff x="4075536" y="1507636"/>
                  <a:chExt cx="295370" cy="174783"/>
                </a:xfrm>
                <a:noFill/>
              </p:grpSpPr>
              <p:sp>
                <p:nvSpPr>
                  <p:cNvPr id="66" name="Forma livre: Forma 65">
                    <a:extLst>
                      <a:ext uri="{FF2B5EF4-FFF2-40B4-BE49-F238E27FC236}">
                        <a16:creationId xmlns:a16="http://schemas.microsoft.com/office/drawing/2014/main" id="{F5CCBC14-B966-9ED7-8AF9-E2FED17974BE}"/>
                      </a:ext>
                    </a:extLst>
                  </p:cNvPr>
                  <p:cNvSpPr/>
                  <p:nvPr/>
                </p:nvSpPr>
                <p:spPr>
                  <a:xfrm>
                    <a:off x="4075536" y="1507636"/>
                    <a:ext cx="81248" cy="174783"/>
                  </a:xfrm>
                  <a:custGeom>
                    <a:avLst/>
                    <a:gdLst>
                      <a:gd name="connsiteX0" fmla="*/ 81248 w 81248"/>
                      <a:gd name="connsiteY0" fmla="*/ 0 h 174783"/>
                      <a:gd name="connsiteX1" fmla="*/ 24860 w 81248"/>
                      <a:gd name="connsiteY1" fmla="*/ 83630 h 174783"/>
                      <a:gd name="connsiteX2" fmla="*/ 4858 w 81248"/>
                      <a:gd name="connsiteY2" fmla="*/ 103823 h 174783"/>
                      <a:gd name="connsiteX3" fmla="*/ 0 w 81248"/>
                      <a:gd name="connsiteY3" fmla="*/ 130302 h 174783"/>
                      <a:gd name="connsiteX4" fmla="*/ 0 w 81248"/>
                      <a:gd name="connsiteY4" fmla="*/ 174784 h 174783"/>
                      <a:gd name="connsiteX5" fmla="*/ 76581 w 81248"/>
                      <a:gd name="connsiteY5" fmla="*/ 174784 h 17478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81248" h="174783">
                        <a:moveTo>
                          <a:pt x="81248" y="0"/>
                        </a:moveTo>
                        <a:cubicBezTo>
                          <a:pt x="81248" y="18002"/>
                          <a:pt x="62865" y="53054"/>
                          <a:pt x="24860" y="83630"/>
                        </a:cubicBezTo>
                        <a:cubicBezTo>
                          <a:pt x="17431" y="89630"/>
                          <a:pt x="9716" y="95917"/>
                          <a:pt x="4858" y="103823"/>
                        </a:cubicBezTo>
                        <a:cubicBezTo>
                          <a:pt x="381" y="111252"/>
                          <a:pt x="0" y="121444"/>
                          <a:pt x="0" y="130302"/>
                        </a:cubicBezTo>
                        <a:lnTo>
                          <a:pt x="0" y="174784"/>
                        </a:lnTo>
                        <a:lnTo>
                          <a:pt x="76581" y="174784"/>
                        </a:lnTo>
                      </a:path>
                    </a:pathLst>
                  </a:custGeom>
                  <a:noFill/>
                  <a:ln w="19050" cap="sq">
                    <a:solidFill>
                      <a:schemeClr val="accent1"/>
                    </a:solidFill>
                    <a:prstDash val="solid"/>
                    <a:miter lim="800000"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67" name="Forma livre: Forma 66">
                    <a:extLst>
                      <a:ext uri="{FF2B5EF4-FFF2-40B4-BE49-F238E27FC236}">
                        <a16:creationId xmlns:a16="http://schemas.microsoft.com/office/drawing/2014/main" id="{F5873599-99FF-22E5-CA2C-9BE208366E84}"/>
                      </a:ext>
                    </a:extLst>
                  </p:cNvPr>
                  <p:cNvSpPr/>
                  <p:nvPr/>
                </p:nvSpPr>
                <p:spPr>
                  <a:xfrm>
                    <a:off x="4289658" y="1507636"/>
                    <a:ext cx="81248" cy="174783"/>
                  </a:xfrm>
                  <a:custGeom>
                    <a:avLst/>
                    <a:gdLst>
                      <a:gd name="connsiteX0" fmla="*/ 0 w 81248"/>
                      <a:gd name="connsiteY0" fmla="*/ 0 h 174783"/>
                      <a:gd name="connsiteX1" fmla="*/ 56388 w 81248"/>
                      <a:gd name="connsiteY1" fmla="*/ 83630 h 174783"/>
                      <a:gd name="connsiteX2" fmla="*/ 76391 w 81248"/>
                      <a:gd name="connsiteY2" fmla="*/ 103823 h 174783"/>
                      <a:gd name="connsiteX3" fmla="*/ 81248 w 81248"/>
                      <a:gd name="connsiteY3" fmla="*/ 130302 h 174783"/>
                      <a:gd name="connsiteX4" fmla="*/ 81248 w 81248"/>
                      <a:gd name="connsiteY4" fmla="*/ 174784 h 174783"/>
                      <a:gd name="connsiteX5" fmla="*/ 4667 w 81248"/>
                      <a:gd name="connsiteY5" fmla="*/ 174784 h 17478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81248" h="174783">
                        <a:moveTo>
                          <a:pt x="0" y="0"/>
                        </a:moveTo>
                        <a:cubicBezTo>
                          <a:pt x="0" y="18002"/>
                          <a:pt x="18383" y="53054"/>
                          <a:pt x="56388" y="83630"/>
                        </a:cubicBezTo>
                        <a:cubicBezTo>
                          <a:pt x="63818" y="89630"/>
                          <a:pt x="71533" y="95917"/>
                          <a:pt x="76391" y="103823"/>
                        </a:cubicBezTo>
                        <a:cubicBezTo>
                          <a:pt x="80867" y="111252"/>
                          <a:pt x="81248" y="121444"/>
                          <a:pt x="81248" y="130302"/>
                        </a:cubicBezTo>
                        <a:lnTo>
                          <a:pt x="81248" y="174784"/>
                        </a:lnTo>
                        <a:lnTo>
                          <a:pt x="4667" y="174784"/>
                        </a:lnTo>
                      </a:path>
                    </a:pathLst>
                  </a:custGeom>
                  <a:noFill/>
                  <a:ln w="19050" cap="sq">
                    <a:solidFill>
                      <a:schemeClr val="accent1"/>
                    </a:solidFill>
                    <a:prstDash val="solid"/>
                    <a:miter lim="800000"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  <p:sp>
              <p:nvSpPr>
                <p:cNvPr id="65" name="Forma livre: Forma 64">
                  <a:extLst>
                    <a:ext uri="{FF2B5EF4-FFF2-40B4-BE49-F238E27FC236}">
                      <a16:creationId xmlns:a16="http://schemas.microsoft.com/office/drawing/2014/main" id="{2E382F94-BB1D-D392-CB6C-86A14FB371A4}"/>
                    </a:ext>
                  </a:extLst>
                </p:cNvPr>
                <p:cNvSpPr/>
                <p:nvPr/>
              </p:nvSpPr>
              <p:spPr>
                <a:xfrm>
                  <a:off x="4198980" y="1457820"/>
                  <a:ext cx="48577" cy="11239"/>
                </a:xfrm>
                <a:custGeom>
                  <a:avLst/>
                  <a:gdLst>
                    <a:gd name="connsiteX0" fmla="*/ 48578 w 48577"/>
                    <a:gd name="connsiteY0" fmla="*/ 11240 h 11239"/>
                    <a:gd name="connsiteX1" fmla="*/ 24289 w 48577"/>
                    <a:gd name="connsiteY1" fmla="*/ 0 h 11239"/>
                    <a:gd name="connsiteX2" fmla="*/ 0 w 48577"/>
                    <a:gd name="connsiteY2" fmla="*/ 11240 h 1123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48577" h="11239">
                      <a:moveTo>
                        <a:pt x="48578" y="11240"/>
                      </a:moveTo>
                      <a:cubicBezTo>
                        <a:pt x="44577" y="4667"/>
                        <a:pt x="35243" y="0"/>
                        <a:pt x="24289" y="0"/>
                      </a:cubicBezTo>
                      <a:cubicBezTo>
                        <a:pt x="13335" y="0"/>
                        <a:pt x="4001" y="4667"/>
                        <a:pt x="0" y="11240"/>
                      </a:cubicBezTo>
                    </a:path>
                  </a:pathLst>
                </a:custGeom>
                <a:noFill/>
                <a:ln w="19050" cap="sq">
                  <a:solidFill>
                    <a:schemeClr val="accent1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54" name="Gráfico 215">
                <a:extLst>
                  <a:ext uri="{FF2B5EF4-FFF2-40B4-BE49-F238E27FC236}">
                    <a16:creationId xmlns:a16="http://schemas.microsoft.com/office/drawing/2014/main" id="{BFE4C794-9B98-F4EC-0A08-AE192D719EB5}"/>
                  </a:ext>
                </a:extLst>
              </p:cNvPr>
              <p:cNvGrpSpPr/>
              <p:nvPr/>
            </p:nvGrpSpPr>
            <p:grpSpPr>
              <a:xfrm>
                <a:off x="7617192" y="2785627"/>
                <a:ext cx="294983" cy="73961"/>
                <a:chOff x="4011433" y="1703851"/>
                <a:chExt cx="423576" cy="106203"/>
              </a:xfrm>
              <a:noFill/>
            </p:grpSpPr>
            <p:grpSp>
              <p:nvGrpSpPr>
                <p:cNvPr id="55" name="Gráfico 215">
                  <a:extLst>
                    <a:ext uri="{FF2B5EF4-FFF2-40B4-BE49-F238E27FC236}">
                      <a16:creationId xmlns:a16="http://schemas.microsoft.com/office/drawing/2014/main" id="{93D46D92-8DA5-73FD-D8A3-A1695C7A5E69}"/>
                    </a:ext>
                  </a:extLst>
                </p:cNvPr>
                <p:cNvGrpSpPr/>
                <p:nvPr/>
              </p:nvGrpSpPr>
              <p:grpSpPr>
                <a:xfrm>
                  <a:off x="4249939" y="1703851"/>
                  <a:ext cx="185070" cy="106203"/>
                  <a:chOff x="4249939" y="1703851"/>
                  <a:chExt cx="185070" cy="106203"/>
                </a:xfrm>
                <a:noFill/>
              </p:grpSpPr>
              <p:sp>
                <p:nvSpPr>
                  <p:cNvPr id="60" name="Forma livre: Forma 59">
                    <a:extLst>
                      <a:ext uri="{FF2B5EF4-FFF2-40B4-BE49-F238E27FC236}">
                        <a16:creationId xmlns:a16="http://schemas.microsoft.com/office/drawing/2014/main" id="{D9B6F299-6905-7F15-6419-1BB122019654}"/>
                      </a:ext>
                    </a:extLst>
                  </p:cNvPr>
                  <p:cNvSpPr/>
                  <p:nvPr/>
                </p:nvSpPr>
                <p:spPr>
                  <a:xfrm>
                    <a:off x="4249939" y="1703851"/>
                    <a:ext cx="42195" cy="106203"/>
                  </a:xfrm>
                  <a:custGeom>
                    <a:avLst/>
                    <a:gdLst>
                      <a:gd name="connsiteX0" fmla="*/ 0 w 42195"/>
                      <a:gd name="connsiteY0" fmla="*/ 0 h 106203"/>
                      <a:gd name="connsiteX1" fmla="*/ 42196 w 42195"/>
                      <a:gd name="connsiteY1" fmla="*/ 106204 h 10620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42195" h="106203">
                        <a:moveTo>
                          <a:pt x="0" y="0"/>
                        </a:moveTo>
                        <a:cubicBezTo>
                          <a:pt x="0" y="0"/>
                          <a:pt x="1715" y="89535"/>
                          <a:pt x="42196" y="106204"/>
                        </a:cubicBezTo>
                      </a:path>
                    </a:pathLst>
                  </a:custGeom>
                  <a:noFill/>
                  <a:ln w="19050" cap="sq">
                    <a:solidFill>
                      <a:schemeClr val="accent1"/>
                    </a:solidFill>
                    <a:prstDash val="solid"/>
                    <a:miter lim="800000"/>
                  </a:ln>
                </p:spPr>
                <p:txBody>
                  <a:bodyPr rtlCol="0" anchor="ctr"/>
                  <a:lstStyle/>
                  <a:p>
                    <a:endParaRPr lang="pt-PT" dirty="0"/>
                  </a:p>
                </p:txBody>
              </p:sp>
              <p:sp>
                <p:nvSpPr>
                  <p:cNvPr id="61" name="Forma livre: Forma 60">
                    <a:extLst>
                      <a:ext uri="{FF2B5EF4-FFF2-40B4-BE49-F238E27FC236}">
                        <a16:creationId xmlns:a16="http://schemas.microsoft.com/office/drawing/2014/main" id="{94C255E6-A471-1842-F266-92778720CB62}"/>
                      </a:ext>
                    </a:extLst>
                  </p:cNvPr>
                  <p:cNvSpPr/>
                  <p:nvPr/>
                </p:nvSpPr>
                <p:spPr>
                  <a:xfrm>
                    <a:off x="4335283" y="1736480"/>
                    <a:ext cx="99726" cy="48809"/>
                  </a:xfrm>
                  <a:custGeom>
                    <a:avLst/>
                    <a:gdLst>
                      <a:gd name="connsiteX0" fmla="*/ 99727 w 99726"/>
                      <a:gd name="connsiteY0" fmla="*/ 48810 h 48809"/>
                      <a:gd name="connsiteX1" fmla="*/ 83820 w 99726"/>
                      <a:gd name="connsiteY1" fmla="*/ 13948 h 48809"/>
                      <a:gd name="connsiteX2" fmla="*/ 46673 w 99726"/>
                      <a:gd name="connsiteY2" fmla="*/ 42 h 48809"/>
                      <a:gd name="connsiteX3" fmla="*/ 0 w 99726"/>
                      <a:gd name="connsiteY3" fmla="*/ 36427 h 4880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99726" h="48809">
                        <a:moveTo>
                          <a:pt x="99727" y="48810"/>
                        </a:moveTo>
                        <a:cubicBezTo>
                          <a:pt x="99155" y="34998"/>
                          <a:pt x="93154" y="22711"/>
                          <a:pt x="83820" y="13948"/>
                        </a:cubicBezTo>
                        <a:cubicBezTo>
                          <a:pt x="74200" y="4804"/>
                          <a:pt x="60960" y="-530"/>
                          <a:pt x="46673" y="42"/>
                        </a:cubicBezTo>
                        <a:cubicBezTo>
                          <a:pt x="24384" y="994"/>
                          <a:pt x="6001" y="16139"/>
                          <a:pt x="0" y="36427"/>
                        </a:cubicBezTo>
                      </a:path>
                    </a:pathLst>
                  </a:custGeom>
                  <a:noFill/>
                  <a:ln w="19050" cap="sq">
                    <a:solidFill>
                      <a:schemeClr val="accent1"/>
                    </a:solidFill>
                    <a:prstDash val="solid"/>
                    <a:miter lim="800000"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62" name="Forma livre: Forma 61">
                    <a:extLst>
                      <a:ext uri="{FF2B5EF4-FFF2-40B4-BE49-F238E27FC236}">
                        <a16:creationId xmlns:a16="http://schemas.microsoft.com/office/drawing/2014/main" id="{695C1C48-293F-83C2-B4DC-05CDAB7C099A}"/>
                      </a:ext>
                    </a:extLst>
                  </p:cNvPr>
                  <p:cNvSpPr/>
                  <p:nvPr/>
                </p:nvSpPr>
                <p:spPr>
                  <a:xfrm>
                    <a:off x="4290650" y="1770143"/>
                    <a:ext cx="60349" cy="39816"/>
                  </a:xfrm>
                  <a:custGeom>
                    <a:avLst/>
                    <a:gdLst>
                      <a:gd name="connsiteX0" fmla="*/ 60349 w 60349"/>
                      <a:gd name="connsiteY0" fmla="*/ 21814 h 39816"/>
                      <a:gd name="connsiteX1" fmla="*/ 45681 w 60349"/>
                      <a:gd name="connsiteY1" fmla="*/ 3812 h 39816"/>
                      <a:gd name="connsiteX2" fmla="*/ 21773 w 60349"/>
                      <a:gd name="connsiteY2" fmla="*/ 1336 h 39816"/>
                      <a:gd name="connsiteX3" fmla="*/ 1389 w 60349"/>
                      <a:gd name="connsiteY3" fmla="*/ 39817 h 3981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60349" h="39816">
                        <a:moveTo>
                          <a:pt x="60349" y="21814"/>
                        </a:moveTo>
                        <a:cubicBezTo>
                          <a:pt x="57873" y="13813"/>
                          <a:pt x="52539" y="7527"/>
                          <a:pt x="45681" y="3812"/>
                        </a:cubicBezTo>
                        <a:cubicBezTo>
                          <a:pt x="38632" y="-93"/>
                          <a:pt x="30060" y="-1141"/>
                          <a:pt x="21773" y="1336"/>
                        </a:cubicBezTo>
                        <a:cubicBezTo>
                          <a:pt x="5485" y="6289"/>
                          <a:pt x="-3659" y="23529"/>
                          <a:pt x="1389" y="39817"/>
                        </a:cubicBezTo>
                      </a:path>
                    </a:pathLst>
                  </a:custGeom>
                  <a:noFill/>
                  <a:ln w="19050" cap="sq">
                    <a:solidFill>
                      <a:schemeClr val="accent1"/>
                    </a:solidFill>
                    <a:prstDash val="solid"/>
                    <a:miter lim="800000"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  <p:grpSp>
              <p:nvGrpSpPr>
                <p:cNvPr id="56" name="Gráfico 215">
                  <a:extLst>
                    <a:ext uri="{FF2B5EF4-FFF2-40B4-BE49-F238E27FC236}">
                      <a16:creationId xmlns:a16="http://schemas.microsoft.com/office/drawing/2014/main" id="{556CCE46-EDCA-B4BE-B9E0-5FF5D1929CC1}"/>
                    </a:ext>
                  </a:extLst>
                </p:cNvPr>
                <p:cNvGrpSpPr/>
                <p:nvPr/>
              </p:nvGrpSpPr>
              <p:grpSpPr>
                <a:xfrm>
                  <a:off x="4011433" y="1703851"/>
                  <a:ext cx="185070" cy="106203"/>
                  <a:chOff x="4011433" y="1703851"/>
                  <a:chExt cx="185070" cy="106203"/>
                </a:xfrm>
                <a:noFill/>
              </p:grpSpPr>
              <p:sp>
                <p:nvSpPr>
                  <p:cNvPr id="57" name="Forma livre: Forma 56">
                    <a:extLst>
                      <a:ext uri="{FF2B5EF4-FFF2-40B4-BE49-F238E27FC236}">
                        <a16:creationId xmlns:a16="http://schemas.microsoft.com/office/drawing/2014/main" id="{E097712A-E949-BCE6-5B0C-BBE085E15683}"/>
                      </a:ext>
                    </a:extLst>
                  </p:cNvPr>
                  <p:cNvSpPr/>
                  <p:nvPr/>
                </p:nvSpPr>
                <p:spPr>
                  <a:xfrm>
                    <a:off x="4154308" y="1703851"/>
                    <a:ext cx="42195" cy="106203"/>
                  </a:xfrm>
                  <a:custGeom>
                    <a:avLst/>
                    <a:gdLst>
                      <a:gd name="connsiteX0" fmla="*/ 42196 w 42195"/>
                      <a:gd name="connsiteY0" fmla="*/ 0 h 106203"/>
                      <a:gd name="connsiteX1" fmla="*/ 0 w 42195"/>
                      <a:gd name="connsiteY1" fmla="*/ 106204 h 10620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42195" h="106203">
                        <a:moveTo>
                          <a:pt x="42196" y="0"/>
                        </a:moveTo>
                        <a:cubicBezTo>
                          <a:pt x="42196" y="0"/>
                          <a:pt x="41243" y="93440"/>
                          <a:pt x="0" y="106204"/>
                        </a:cubicBezTo>
                      </a:path>
                    </a:pathLst>
                  </a:custGeom>
                  <a:noFill/>
                  <a:ln w="19050" cap="sq">
                    <a:solidFill>
                      <a:schemeClr val="accent1"/>
                    </a:solidFill>
                    <a:prstDash val="solid"/>
                    <a:miter lim="800000"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58" name="Forma livre: Forma 57">
                    <a:extLst>
                      <a:ext uri="{FF2B5EF4-FFF2-40B4-BE49-F238E27FC236}">
                        <a16:creationId xmlns:a16="http://schemas.microsoft.com/office/drawing/2014/main" id="{7DDE01BE-C96A-A6A6-0C8D-82FF8A4A6519}"/>
                      </a:ext>
                    </a:extLst>
                  </p:cNvPr>
                  <p:cNvSpPr/>
                  <p:nvPr/>
                </p:nvSpPr>
                <p:spPr>
                  <a:xfrm>
                    <a:off x="4011433" y="1736480"/>
                    <a:ext cx="69627" cy="48809"/>
                  </a:xfrm>
                  <a:custGeom>
                    <a:avLst/>
                    <a:gdLst>
                      <a:gd name="connsiteX0" fmla="*/ 0 w 69627"/>
                      <a:gd name="connsiteY0" fmla="*/ 48810 h 48809"/>
                      <a:gd name="connsiteX1" fmla="*/ 15907 w 69627"/>
                      <a:gd name="connsiteY1" fmla="*/ 13948 h 48809"/>
                      <a:gd name="connsiteX2" fmla="*/ 53054 w 69627"/>
                      <a:gd name="connsiteY2" fmla="*/ 42 h 48809"/>
                      <a:gd name="connsiteX3" fmla="*/ 69628 w 69627"/>
                      <a:gd name="connsiteY3" fmla="*/ 3566 h 4880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69627" h="48809">
                        <a:moveTo>
                          <a:pt x="0" y="48810"/>
                        </a:moveTo>
                        <a:cubicBezTo>
                          <a:pt x="572" y="34998"/>
                          <a:pt x="6572" y="22711"/>
                          <a:pt x="15907" y="13948"/>
                        </a:cubicBezTo>
                        <a:cubicBezTo>
                          <a:pt x="25527" y="4804"/>
                          <a:pt x="38767" y="-530"/>
                          <a:pt x="53054" y="42"/>
                        </a:cubicBezTo>
                        <a:cubicBezTo>
                          <a:pt x="58960" y="327"/>
                          <a:pt x="64484" y="1566"/>
                          <a:pt x="69628" y="3566"/>
                        </a:cubicBezTo>
                      </a:path>
                    </a:pathLst>
                  </a:custGeom>
                  <a:noFill/>
                  <a:ln w="19050" cap="sq">
                    <a:solidFill>
                      <a:schemeClr val="accent1"/>
                    </a:solidFill>
                    <a:prstDash val="solid"/>
                    <a:miter lim="800000"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59" name="Forma livre: Forma 58">
                    <a:extLst>
                      <a:ext uri="{FF2B5EF4-FFF2-40B4-BE49-F238E27FC236}">
                        <a16:creationId xmlns:a16="http://schemas.microsoft.com/office/drawing/2014/main" id="{3581F662-C46E-A7D9-D78A-8580C395F296}"/>
                      </a:ext>
                    </a:extLst>
                  </p:cNvPr>
                  <p:cNvSpPr/>
                  <p:nvPr/>
                </p:nvSpPr>
                <p:spPr>
                  <a:xfrm>
                    <a:off x="4095444" y="1770143"/>
                    <a:ext cx="60349" cy="39816"/>
                  </a:xfrm>
                  <a:custGeom>
                    <a:avLst/>
                    <a:gdLst>
                      <a:gd name="connsiteX0" fmla="*/ 0 w 60349"/>
                      <a:gd name="connsiteY0" fmla="*/ 21814 h 39816"/>
                      <a:gd name="connsiteX1" fmla="*/ 14669 w 60349"/>
                      <a:gd name="connsiteY1" fmla="*/ 3812 h 39816"/>
                      <a:gd name="connsiteX2" fmla="*/ 38576 w 60349"/>
                      <a:gd name="connsiteY2" fmla="*/ 1336 h 39816"/>
                      <a:gd name="connsiteX3" fmla="*/ 58960 w 60349"/>
                      <a:gd name="connsiteY3" fmla="*/ 39817 h 3981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60349" h="39816">
                        <a:moveTo>
                          <a:pt x="0" y="21814"/>
                        </a:moveTo>
                        <a:cubicBezTo>
                          <a:pt x="2477" y="13813"/>
                          <a:pt x="7810" y="7527"/>
                          <a:pt x="14669" y="3812"/>
                        </a:cubicBezTo>
                        <a:cubicBezTo>
                          <a:pt x="21717" y="-93"/>
                          <a:pt x="30290" y="-1141"/>
                          <a:pt x="38576" y="1336"/>
                        </a:cubicBezTo>
                        <a:cubicBezTo>
                          <a:pt x="54864" y="6289"/>
                          <a:pt x="64008" y="23529"/>
                          <a:pt x="58960" y="39817"/>
                        </a:cubicBezTo>
                      </a:path>
                    </a:pathLst>
                  </a:custGeom>
                  <a:noFill/>
                  <a:ln w="19050" cap="sq">
                    <a:solidFill>
                      <a:schemeClr val="accent1"/>
                    </a:solidFill>
                    <a:prstDash val="solid"/>
                    <a:miter lim="800000"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</p:grpSp>
        </p:grpSp>
      </p:grpSp>
      <p:grpSp>
        <p:nvGrpSpPr>
          <p:cNvPr id="4" name="Agrupar 3">
            <a:extLst>
              <a:ext uri="{FF2B5EF4-FFF2-40B4-BE49-F238E27FC236}">
                <a16:creationId xmlns:a16="http://schemas.microsoft.com/office/drawing/2014/main" id="{64865D3F-5633-9EC2-51B2-49709A645C4F}"/>
              </a:ext>
            </a:extLst>
          </p:cNvPr>
          <p:cNvGrpSpPr/>
          <p:nvPr/>
        </p:nvGrpSpPr>
        <p:grpSpPr>
          <a:xfrm>
            <a:off x="6071905" y="2012459"/>
            <a:ext cx="846074" cy="524524"/>
            <a:chOff x="6071905" y="2012459"/>
            <a:chExt cx="846074" cy="524524"/>
          </a:xfrm>
        </p:grpSpPr>
        <p:sp>
          <p:nvSpPr>
            <p:cNvPr id="27" name="Forma livre: Forma 26">
              <a:extLst>
                <a:ext uri="{FF2B5EF4-FFF2-40B4-BE49-F238E27FC236}">
                  <a16:creationId xmlns:a16="http://schemas.microsoft.com/office/drawing/2014/main" id="{3D5E09A5-5B50-FDD7-6822-9D230F485A77}"/>
                </a:ext>
              </a:extLst>
            </p:cNvPr>
            <p:cNvSpPr/>
            <p:nvPr/>
          </p:nvSpPr>
          <p:spPr>
            <a:xfrm flipH="1">
              <a:off x="6071905" y="2012459"/>
              <a:ext cx="846074" cy="524524"/>
            </a:xfrm>
            <a:custGeom>
              <a:avLst/>
              <a:gdLst>
                <a:gd name="connsiteX0" fmla="*/ 671828 w 846074"/>
                <a:gd name="connsiteY0" fmla="*/ 0 h 524524"/>
                <a:gd name="connsiteX1" fmla="*/ 0 w 846074"/>
                <a:gd name="connsiteY1" fmla="*/ 0 h 524524"/>
                <a:gd name="connsiteX2" fmla="*/ 524529 w 846074"/>
                <a:gd name="connsiteY2" fmla="*/ 524524 h 524524"/>
                <a:gd name="connsiteX3" fmla="*/ 524742 w 846074"/>
                <a:gd name="connsiteY3" fmla="*/ 524524 h 524524"/>
                <a:gd name="connsiteX4" fmla="*/ 846074 w 846074"/>
                <a:gd name="connsiteY4" fmla="*/ 524524 h 5245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46074" h="524524">
                  <a:moveTo>
                    <a:pt x="671828" y="0"/>
                  </a:moveTo>
                  <a:lnTo>
                    <a:pt x="0" y="0"/>
                  </a:lnTo>
                  <a:cubicBezTo>
                    <a:pt x="0" y="289824"/>
                    <a:pt x="234920" y="524524"/>
                    <a:pt x="524529" y="524524"/>
                  </a:cubicBezTo>
                  <a:lnTo>
                    <a:pt x="524742" y="524524"/>
                  </a:lnTo>
                  <a:lnTo>
                    <a:pt x="846074" y="524524"/>
                  </a:lnTo>
                  <a:close/>
                </a:path>
              </a:pathLst>
            </a:custGeom>
            <a:solidFill>
              <a:srgbClr val="1D3EB6"/>
            </a:solidFill>
            <a:ln w="4244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pt-PT"/>
            </a:p>
          </p:txBody>
        </p:sp>
        <p:grpSp>
          <p:nvGrpSpPr>
            <p:cNvPr id="70" name="Agrupar 69">
              <a:extLst>
                <a:ext uri="{FF2B5EF4-FFF2-40B4-BE49-F238E27FC236}">
                  <a16:creationId xmlns:a16="http://schemas.microsoft.com/office/drawing/2014/main" id="{0C293DB1-591C-3908-AD9E-E950DC017F2F}"/>
                </a:ext>
              </a:extLst>
            </p:cNvPr>
            <p:cNvGrpSpPr/>
            <p:nvPr/>
          </p:nvGrpSpPr>
          <p:grpSpPr>
            <a:xfrm>
              <a:off x="6315923" y="2091210"/>
              <a:ext cx="337061" cy="282872"/>
              <a:chOff x="7527643" y="2537276"/>
              <a:chExt cx="474083" cy="397866"/>
            </a:xfrm>
          </p:grpSpPr>
          <p:grpSp>
            <p:nvGrpSpPr>
              <p:cNvPr id="71" name="Gráfico 215">
                <a:extLst>
                  <a:ext uri="{FF2B5EF4-FFF2-40B4-BE49-F238E27FC236}">
                    <a16:creationId xmlns:a16="http://schemas.microsoft.com/office/drawing/2014/main" id="{ACBF1BAF-6322-49B8-A223-F1F24DCF19AF}"/>
                  </a:ext>
                </a:extLst>
              </p:cNvPr>
              <p:cNvGrpSpPr/>
              <p:nvPr/>
            </p:nvGrpSpPr>
            <p:grpSpPr>
              <a:xfrm>
                <a:off x="7572418" y="2635250"/>
                <a:ext cx="384534" cy="261020"/>
                <a:chOff x="3947140" y="1487919"/>
                <a:chExt cx="552164" cy="374808"/>
              </a:xfrm>
              <a:noFill/>
            </p:grpSpPr>
            <p:sp>
              <p:nvSpPr>
                <p:cNvPr id="88" name="Forma livre: Forma 87">
                  <a:extLst>
                    <a:ext uri="{FF2B5EF4-FFF2-40B4-BE49-F238E27FC236}">
                      <a16:creationId xmlns:a16="http://schemas.microsoft.com/office/drawing/2014/main" id="{838C7F1D-52A2-459F-E5A1-AB5B2BD8D5B7}"/>
                    </a:ext>
                  </a:extLst>
                </p:cNvPr>
                <p:cNvSpPr/>
                <p:nvPr/>
              </p:nvSpPr>
              <p:spPr>
                <a:xfrm>
                  <a:off x="4333093" y="1487919"/>
                  <a:ext cx="166211" cy="374808"/>
                </a:xfrm>
                <a:custGeom>
                  <a:avLst/>
                  <a:gdLst>
                    <a:gd name="connsiteX0" fmla="*/ 0 w 166211"/>
                    <a:gd name="connsiteY0" fmla="*/ 0 h 374808"/>
                    <a:gd name="connsiteX1" fmla="*/ 125921 w 166211"/>
                    <a:gd name="connsiteY1" fmla="*/ 0 h 374808"/>
                    <a:gd name="connsiteX2" fmla="*/ 166211 w 166211"/>
                    <a:gd name="connsiteY2" fmla="*/ 40291 h 374808"/>
                    <a:gd name="connsiteX3" fmla="*/ 166211 w 166211"/>
                    <a:gd name="connsiteY3" fmla="*/ 374809 h 37480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66211" h="374808">
                      <a:moveTo>
                        <a:pt x="0" y="0"/>
                      </a:moveTo>
                      <a:lnTo>
                        <a:pt x="125921" y="0"/>
                      </a:lnTo>
                      <a:cubicBezTo>
                        <a:pt x="148114" y="0"/>
                        <a:pt x="166211" y="18097"/>
                        <a:pt x="166211" y="40291"/>
                      </a:cubicBezTo>
                      <a:lnTo>
                        <a:pt x="166211" y="374809"/>
                      </a:lnTo>
                    </a:path>
                  </a:pathLst>
                </a:custGeom>
                <a:noFill/>
                <a:ln w="19050" cap="sq">
                  <a:solidFill>
                    <a:schemeClr val="accent1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89" name="Forma livre: Forma 88">
                  <a:extLst>
                    <a:ext uri="{FF2B5EF4-FFF2-40B4-BE49-F238E27FC236}">
                      <a16:creationId xmlns:a16="http://schemas.microsoft.com/office/drawing/2014/main" id="{279242DC-1553-5625-892B-8C0AAE80E8D7}"/>
                    </a:ext>
                  </a:extLst>
                </p:cNvPr>
                <p:cNvSpPr/>
                <p:nvPr/>
              </p:nvSpPr>
              <p:spPr>
                <a:xfrm>
                  <a:off x="3947140" y="1487919"/>
                  <a:ext cx="166020" cy="331851"/>
                </a:xfrm>
                <a:custGeom>
                  <a:avLst/>
                  <a:gdLst>
                    <a:gd name="connsiteX0" fmla="*/ 0 w 166020"/>
                    <a:gd name="connsiteY0" fmla="*/ 331851 h 331851"/>
                    <a:gd name="connsiteX1" fmla="*/ 0 w 166020"/>
                    <a:gd name="connsiteY1" fmla="*/ 40291 h 331851"/>
                    <a:gd name="connsiteX2" fmla="*/ 40291 w 166020"/>
                    <a:gd name="connsiteY2" fmla="*/ 0 h 331851"/>
                    <a:gd name="connsiteX3" fmla="*/ 166021 w 166020"/>
                    <a:gd name="connsiteY3" fmla="*/ 0 h 33185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66020" h="331851">
                      <a:moveTo>
                        <a:pt x="0" y="331851"/>
                      </a:moveTo>
                      <a:lnTo>
                        <a:pt x="0" y="40291"/>
                      </a:lnTo>
                      <a:cubicBezTo>
                        <a:pt x="0" y="18097"/>
                        <a:pt x="18097" y="0"/>
                        <a:pt x="40291" y="0"/>
                      </a:cubicBezTo>
                      <a:lnTo>
                        <a:pt x="166021" y="0"/>
                      </a:lnTo>
                    </a:path>
                  </a:pathLst>
                </a:custGeom>
                <a:noFill/>
                <a:ln w="19050" cap="sq">
                  <a:solidFill>
                    <a:schemeClr val="accent1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72" name="Forma livre: Forma 71">
                <a:extLst>
                  <a:ext uri="{FF2B5EF4-FFF2-40B4-BE49-F238E27FC236}">
                    <a16:creationId xmlns:a16="http://schemas.microsoft.com/office/drawing/2014/main" id="{C368E86A-5680-E1D5-2617-8525C0E28515}"/>
                  </a:ext>
                </a:extLst>
              </p:cNvPr>
              <p:cNvSpPr/>
              <p:nvPr/>
            </p:nvSpPr>
            <p:spPr>
              <a:xfrm>
                <a:off x="7527643" y="2897332"/>
                <a:ext cx="474083" cy="37810"/>
              </a:xfrm>
              <a:custGeom>
                <a:avLst/>
                <a:gdLst>
                  <a:gd name="connsiteX0" fmla="*/ 0 w 680751"/>
                  <a:gd name="connsiteY0" fmla="*/ 0 h 54292"/>
                  <a:gd name="connsiteX1" fmla="*/ 48863 w 680751"/>
                  <a:gd name="connsiteY1" fmla="*/ 54293 h 54292"/>
                  <a:gd name="connsiteX2" fmla="*/ 631888 w 680751"/>
                  <a:gd name="connsiteY2" fmla="*/ 54293 h 54292"/>
                  <a:gd name="connsiteX3" fmla="*/ 680752 w 680751"/>
                  <a:gd name="connsiteY3" fmla="*/ 0 h 54292"/>
                  <a:gd name="connsiteX4" fmla="*/ 0 w 680751"/>
                  <a:gd name="connsiteY4" fmla="*/ 0 h 542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80751" h="54292">
                    <a:moveTo>
                      <a:pt x="0" y="0"/>
                    </a:moveTo>
                    <a:cubicBezTo>
                      <a:pt x="0" y="0"/>
                      <a:pt x="9906" y="54293"/>
                      <a:pt x="48863" y="54293"/>
                    </a:cubicBezTo>
                    <a:lnTo>
                      <a:pt x="631888" y="54293"/>
                    </a:lnTo>
                    <a:cubicBezTo>
                      <a:pt x="670941" y="54293"/>
                      <a:pt x="680752" y="0"/>
                      <a:pt x="680752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noFill/>
              <a:ln w="19050" cap="sq">
                <a:solidFill>
                  <a:schemeClr val="accent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73" name="Gráfico 215">
                <a:extLst>
                  <a:ext uri="{FF2B5EF4-FFF2-40B4-BE49-F238E27FC236}">
                    <a16:creationId xmlns:a16="http://schemas.microsoft.com/office/drawing/2014/main" id="{24F0E479-AB61-1E00-664B-2DC40BCCA3C1}"/>
                  </a:ext>
                </a:extLst>
              </p:cNvPr>
              <p:cNvGrpSpPr/>
              <p:nvPr/>
            </p:nvGrpSpPr>
            <p:grpSpPr>
              <a:xfrm>
                <a:off x="7661835" y="2537276"/>
                <a:ext cx="205699" cy="245499"/>
                <a:chOff x="4075536" y="1347235"/>
                <a:chExt cx="295370" cy="352520"/>
              </a:xfrm>
              <a:noFill/>
            </p:grpSpPr>
            <p:sp>
              <p:nvSpPr>
                <p:cNvPr id="83" name="Forma livre: Forma 82">
                  <a:extLst>
                    <a:ext uri="{FF2B5EF4-FFF2-40B4-BE49-F238E27FC236}">
                      <a16:creationId xmlns:a16="http://schemas.microsoft.com/office/drawing/2014/main" id="{5685FB0D-172D-A610-34EF-60B1BA7835CA}"/>
                    </a:ext>
                  </a:extLst>
                </p:cNvPr>
                <p:cNvSpPr/>
                <p:nvPr/>
              </p:nvSpPr>
              <p:spPr>
                <a:xfrm>
                  <a:off x="4156880" y="1347235"/>
                  <a:ext cx="132778" cy="352520"/>
                </a:xfrm>
                <a:custGeom>
                  <a:avLst/>
                  <a:gdLst>
                    <a:gd name="connsiteX0" fmla="*/ 66389 w 132778"/>
                    <a:gd name="connsiteY0" fmla="*/ 0 h 352520"/>
                    <a:gd name="connsiteX1" fmla="*/ 0 w 132778"/>
                    <a:gd name="connsiteY1" fmla="*/ 99536 h 352520"/>
                    <a:gd name="connsiteX2" fmla="*/ 0 w 132778"/>
                    <a:gd name="connsiteY2" fmla="*/ 352520 h 352520"/>
                    <a:gd name="connsiteX3" fmla="*/ 132778 w 132778"/>
                    <a:gd name="connsiteY3" fmla="*/ 352520 h 352520"/>
                    <a:gd name="connsiteX4" fmla="*/ 132778 w 132778"/>
                    <a:gd name="connsiteY4" fmla="*/ 99536 h 352520"/>
                    <a:gd name="connsiteX5" fmla="*/ 66389 w 132778"/>
                    <a:gd name="connsiteY5" fmla="*/ 0 h 35252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132778" h="352520">
                      <a:moveTo>
                        <a:pt x="66389" y="0"/>
                      </a:moveTo>
                      <a:cubicBezTo>
                        <a:pt x="66389" y="0"/>
                        <a:pt x="0" y="70009"/>
                        <a:pt x="0" y="99536"/>
                      </a:cubicBezTo>
                      <a:lnTo>
                        <a:pt x="0" y="352520"/>
                      </a:lnTo>
                      <a:lnTo>
                        <a:pt x="132778" y="352520"/>
                      </a:lnTo>
                      <a:lnTo>
                        <a:pt x="132778" y="99536"/>
                      </a:lnTo>
                      <a:cubicBezTo>
                        <a:pt x="132778" y="69914"/>
                        <a:pt x="66389" y="0"/>
                        <a:pt x="66389" y="0"/>
                      </a:cubicBezTo>
                      <a:close/>
                    </a:path>
                  </a:pathLst>
                </a:custGeom>
                <a:noFill/>
                <a:ln w="19050" cap="sq">
                  <a:solidFill>
                    <a:schemeClr val="accent1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grpSp>
              <p:nvGrpSpPr>
                <p:cNvPr id="84" name="Gráfico 215">
                  <a:extLst>
                    <a:ext uri="{FF2B5EF4-FFF2-40B4-BE49-F238E27FC236}">
                      <a16:creationId xmlns:a16="http://schemas.microsoft.com/office/drawing/2014/main" id="{0B902E32-6B36-DDA7-F525-BA065421E9D4}"/>
                    </a:ext>
                  </a:extLst>
                </p:cNvPr>
                <p:cNvGrpSpPr/>
                <p:nvPr/>
              </p:nvGrpSpPr>
              <p:grpSpPr>
                <a:xfrm>
                  <a:off x="4075536" y="1507636"/>
                  <a:ext cx="295370" cy="174783"/>
                  <a:chOff x="4075536" y="1507636"/>
                  <a:chExt cx="295370" cy="174783"/>
                </a:xfrm>
                <a:noFill/>
              </p:grpSpPr>
              <p:sp>
                <p:nvSpPr>
                  <p:cNvPr id="86" name="Forma livre: Forma 85">
                    <a:extLst>
                      <a:ext uri="{FF2B5EF4-FFF2-40B4-BE49-F238E27FC236}">
                        <a16:creationId xmlns:a16="http://schemas.microsoft.com/office/drawing/2014/main" id="{9F9575EE-1B89-4ADD-D30C-892C03B6069E}"/>
                      </a:ext>
                    </a:extLst>
                  </p:cNvPr>
                  <p:cNvSpPr/>
                  <p:nvPr/>
                </p:nvSpPr>
                <p:spPr>
                  <a:xfrm>
                    <a:off x="4075536" y="1507636"/>
                    <a:ext cx="81248" cy="174783"/>
                  </a:xfrm>
                  <a:custGeom>
                    <a:avLst/>
                    <a:gdLst>
                      <a:gd name="connsiteX0" fmla="*/ 81248 w 81248"/>
                      <a:gd name="connsiteY0" fmla="*/ 0 h 174783"/>
                      <a:gd name="connsiteX1" fmla="*/ 24860 w 81248"/>
                      <a:gd name="connsiteY1" fmla="*/ 83630 h 174783"/>
                      <a:gd name="connsiteX2" fmla="*/ 4858 w 81248"/>
                      <a:gd name="connsiteY2" fmla="*/ 103823 h 174783"/>
                      <a:gd name="connsiteX3" fmla="*/ 0 w 81248"/>
                      <a:gd name="connsiteY3" fmla="*/ 130302 h 174783"/>
                      <a:gd name="connsiteX4" fmla="*/ 0 w 81248"/>
                      <a:gd name="connsiteY4" fmla="*/ 174784 h 174783"/>
                      <a:gd name="connsiteX5" fmla="*/ 76581 w 81248"/>
                      <a:gd name="connsiteY5" fmla="*/ 174784 h 17478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81248" h="174783">
                        <a:moveTo>
                          <a:pt x="81248" y="0"/>
                        </a:moveTo>
                        <a:cubicBezTo>
                          <a:pt x="81248" y="18002"/>
                          <a:pt x="62865" y="53054"/>
                          <a:pt x="24860" y="83630"/>
                        </a:cubicBezTo>
                        <a:cubicBezTo>
                          <a:pt x="17431" y="89630"/>
                          <a:pt x="9716" y="95917"/>
                          <a:pt x="4858" y="103823"/>
                        </a:cubicBezTo>
                        <a:cubicBezTo>
                          <a:pt x="381" y="111252"/>
                          <a:pt x="0" y="121444"/>
                          <a:pt x="0" y="130302"/>
                        </a:cubicBezTo>
                        <a:lnTo>
                          <a:pt x="0" y="174784"/>
                        </a:lnTo>
                        <a:lnTo>
                          <a:pt x="76581" y="174784"/>
                        </a:lnTo>
                      </a:path>
                    </a:pathLst>
                  </a:custGeom>
                  <a:noFill/>
                  <a:ln w="19050" cap="sq">
                    <a:solidFill>
                      <a:schemeClr val="accent1"/>
                    </a:solidFill>
                    <a:prstDash val="solid"/>
                    <a:miter lim="800000"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87" name="Forma livre: Forma 86">
                    <a:extLst>
                      <a:ext uri="{FF2B5EF4-FFF2-40B4-BE49-F238E27FC236}">
                        <a16:creationId xmlns:a16="http://schemas.microsoft.com/office/drawing/2014/main" id="{4195C64D-1214-42C2-1437-D6CE97580C81}"/>
                      </a:ext>
                    </a:extLst>
                  </p:cNvPr>
                  <p:cNvSpPr/>
                  <p:nvPr/>
                </p:nvSpPr>
                <p:spPr>
                  <a:xfrm>
                    <a:off x="4289658" y="1507636"/>
                    <a:ext cx="81248" cy="174783"/>
                  </a:xfrm>
                  <a:custGeom>
                    <a:avLst/>
                    <a:gdLst>
                      <a:gd name="connsiteX0" fmla="*/ 0 w 81248"/>
                      <a:gd name="connsiteY0" fmla="*/ 0 h 174783"/>
                      <a:gd name="connsiteX1" fmla="*/ 56388 w 81248"/>
                      <a:gd name="connsiteY1" fmla="*/ 83630 h 174783"/>
                      <a:gd name="connsiteX2" fmla="*/ 76391 w 81248"/>
                      <a:gd name="connsiteY2" fmla="*/ 103823 h 174783"/>
                      <a:gd name="connsiteX3" fmla="*/ 81248 w 81248"/>
                      <a:gd name="connsiteY3" fmla="*/ 130302 h 174783"/>
                      <a:gd name="connsiteX4" fmla="*/ 81248 w 81248"/>
                      <a:gd name="connsiteY4" fmla="*/ 174784 h 174783"/>
                      <a:gd name="connsiteX5" fmla="*/ 4667 w 81248"/>
                      <a:gd name="connsiteY5" fmla="*/ 174784 h 17478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81248" h="174783">
                        <a:moveTo>
                          <a:pt x="0" y="0"/>
                        </a:moveTo>
                        <a:cubicBezTo>
                          <a:pt x="0" y="18002"/>
                          <a:pt x="18383" y="53054"/>
                          <a:pt x="56388" y="83630"/>
                        </a:cubicBezTo>
                        <a:cubicBezTo>
                          <a:pt x="63818" y="89630"/>
                          <a:pt x="71533" y="95917"/>
                          <a:pt x="76391" y="103823"/>
                        </a:cubicBezTo>
                        <a:cubicBezTo>
                          <a:pt x="80867" y="111252"/>
                          <a:pt x="81248" y="121444"/>
                          <a:pt x="81248" y="130302"/>
                        </a:cubicBezTo>
                        <a:lnTo>
                          <a:pt x="81248" y="174784"/>
                        </a:lnTo>
                        <a:lnTo>
                          <a:pt x="4667" y="174784"/>
                        </a:lnTo>
                      </a:path>
                    </a:pathLst>
                  </a:custGeom>
                  <a:noFill/>
                  <a:ln w="19050" cap="sq">
                    <a:solidFill>
                      <a:schemeClr val="accent1"/>
                    </a:solidFill>
                    <a:prstDash val="solid"/>
                    <a:miter lim="800000"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  <p:sp>
              <p:nvSpPr>
                <p:cNvPr id="85" name="Forma livre: Forma 84">
                  <a:extLst>
                    <a:ext uri="{FF2B5EF4-FFF2-40B4-BE49-F238E27FC236}">
                      <a16:creationId xmlns:a16="http://schemas.microsoft.com/office/drawing/2014/main" id="{B57AB924-6FA0-B1D4-723B-DC8F33D8E34E}"/>
                    </a:ext>
                  </a:extLst>
                </p:cNvPr>
                <p:cNvSpPr/>
                <p:nvPr/>
              </p:nvSpPr>
              <p:spPr>
                <a:xfrm>
                  <a:off x="4198980" y="1457820"/>
                  <a:ext cx="48577" cy="11239"/>
                </a:xfrm>
                <a:custGeom>
                  <a:avLst/>
                  <a:gdLst>
                    <a:gd name="connsiteX0" fmla="*/ 48578 w 48577"/>
                    <a:gd name="connsiteY0" fmla="*/ 11240 h 11239"/>
                    <a:gd name="connsiteX1" fmla="*/ 24289 w 48577"/>
                    <a:gd name="connsiteY1" fmla="*/ 0 h 11239"/>
                    <a:gd name="connsiteX2" fmla="*/ 0 w 48577"/>
                    <a:gd name="connsiteY2" fmla="*/ 11240 h 1123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48577" h="11239">
                      <a:moveTo>
                        <a:pt x="48578" y="11240"/>
                      </a:moveTo>
                      <a:cubicBezTo>
                        <a:pt x="44577" y="4667"/>
                        <a:pt x="35243" y="0"/>
                        <a:pt x="24289" y="0"/>
                      </a:cubicBezTo>
                      <a:cubicBezTo>
                        <a:pt x="13335" y="0"/>
                        <a:pt x="4001" y="4667"/>
                        <a:pt x="0" y="11240"/>
                      </a:cubicBezTo>
                    </a:path>
                  </a:pathLst>
                </a:custGeom>
                <a:noFill/>
                <a:ln w="19050" cap="sq">
                  <a:solidFill>
                    <a:schemeClr val="accent1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74" name="Gráfico 215">
                <a:extLst>
                  <a:ext uri="{FF2B5EF4-FFF2-40B4-BE49-F238E27FC236}">
                    <a16:creationId xmlns:a16="http://schemas.microsoft.com/office/drawing/2014/main" id="{6B6FD01E-6721-67D9-7FD5-4C1702D9A5A0}"/>
                  </a:ext>
                </a:extLst>
              </p:cNvPr>
              <p:cNvGrpSpPr/>
              <p:nvPr/>
            </p:nvGrpSpPr>
            <p:grpSpPr>
              <a:xfrm>
                <a:off x="7617192" y="2785627"/>
                <a:ext cx="294983" cy="73961"/>
                <a:chOff x="4011433" y="1703851"/>
                <a:chExt cx="423576" cy="106203"/>
              </a:xfrm>
              <a:noFill/>
            </p:grpSpPr>
            <p:grpSp>
              <p:nvGrpSpPr>
                <p:cNvPr id="75" name="Gráfico 215">
                  <a:extLst>
                    <a:ext uri="{FF2B5EF4-FFF2-40B4-BE49-F238E27FC236}">
                      <a16:creationId xmlns:a16="http://schemas.microsoft.com/office/drawing/2014/main" id="{08AF31C2-19CB-C6BC-C2BA-3A898162A825}"/>
                    </a:ext>
                  </a:extLst>
                </p:cNvPr>
                <p:cNvGrpSpPr/>
                <p:nvPr/>
              </p:nvGrpSpPr>
              <p:grpSpPr>
                <a:xfrm>
                  <a:off x="4249939" y="1703851"/>
                  <a:ext cx="185070" cy="106203"/>
                  <a:chOff x="4249939" y="1703851"/>
                  <a:chExt cx="185070" cy="106203"/>
                </a:xfrm>
                <a:noFill/>
              </p:grpSpPr>
              <p:sp>
                <p:nvSpPr>
                  <p:cNvPr id="80" name="Forma livre: Forma 79">
                    <a:extLst>
                      <a:ext uri="{FF2B5EF4-FFF2-40B4-BE49-F238E27FC236}">
                        <a16:creationId xmlns:a16="http://schemas.microsoft.com/office/drawing/2014/main" id="{4C01F591-9423-8BA5-9974-7AD031D9D575}"/>
                      </a:ext>
                    </a:extLst>
                  </p:cNvPr>
                  <p:cNvSpPr/>
                  <p:nvPr/>
                </p:nvSpPr>
                <p:spPr>
                  <a:xfrm>
                    <a:off x="4249939" y="1703851"/>
                    <a:ext cx="42195" cy="106203"/>
                  </a:xfrm>
                  <a:custGeom>
                    <a:avLst/>
                    <a:gdLst>
                      <a:gd name="connsiteX0" fmla="*/ 0 w 42195"/>
                      <a:gd name="connsiteY0" fmla="*/ 0 h 106203"/>
                      <a:gd name="connsiteX1" fmla="*/ 42196 w 42195"/>
                      <a:gd name="connsiteY1" fmla="*/ 106204 h 10620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42195" h="106203">
                        <a:moveTo>
                          <a:pt x="0" y="0"/>
                        </a:moveTo>
                        <a:cubicBezTo>
                          <a:pt x="0" y="0"/>
                          <a:pt x="1715" y="89535"/>
                          <a:pt x="42196" y="106204"/>
                        </a:cubicBezTo>
                      </a:path>
                    </a:pathLst>
                  </a:custGeom>
                  <a:noFill/>
                  <a:ln w="19050" cap="sq">
                    <a:solidFill>
                      <a:schemeClr val="accent1"/>
                    </a:solidFill>
                    <a:prstDash val="solid"/>
                    <a:miter lim="800000"/>
                  </a:ln>
                </p:spPr>
                <p:txBody>
                  <a:bodyPr rtlCol="0" anchor="ctr"/>
                  <a:lstStyle/>
                  <a:p>
                    <a:endParaRPr lang="pt-PT" dirty="0"/>
                  </a:p>
                </p:txBody>
              </p:sp>
              <p:sp>
                <p:nvSpPr>
                  <p:cNvPr id="81" name="Forma livre: Forma 80">
                    <a:extLst>
                      <a:ext uri="{FF2B5EF4-FFF2-40B4-BE49-F238E27FC236}">
                        <a16:creationId xmlns:a16="http://schemas.microsoft.com/office/drawing/2014/main" id="{61A04B5C-80A4-34B0-8549-7B3BB4FF836D}"/>
                      </a:ext>
                    </a:extLst>
                  </p:cNvPr>
                  <p:cNvSpPr/>
                  <p:nvPr/>
                </p:nvSpPr>
                <p:spPr>
                  <a:xfrm>
                    <a:off x="4335283" y="1736480"/>
                    <a:ext cx="99726" cy="48809"/>
                  </a:xfrm>
                  <a:custGeom>
                    <a:avLst/>
                    <a:gdLst>
                      <a:gd name="connsiteX0" fmla="*/ 99727 w 99726"/>
                      <a:gd name="connsiteY0" fmla="*/ 48810 h 48809"/>
                      <a:gd name="connsiteX1" fmla="*/ 83820 w 99726"/>
                      <a:gd name="connsiteY1" fmla="*/ 13948 h 48809"/>
                      <a:gd name="connsiteX2" fmla="*/ 46673 w 99726"/>
                      <a:gd name="connsiteY2" fmla="*/ 42 h 48809"/>
                      <a:gd name="connsiteX3" fmla="*/ 0 w 99726"/>
                      <a:gd name="connsiteY3" fmla="*/ 36427 h 4880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99726" h="48809">
                        <a:moveTo>
                          <a:pt x="99727" y="48810"/>
                        </a:moveTo>
                        <a:cubicBezTo>
                          <a:pt x="99155" y="34998"/>
                          <a:pt x="93154" y="22711"/>
                          <a:pt x="83820" y="13948"/>
                        </a:cubicBezTo>
                        <a:cubicBezTo>
                          <a:pt x="74200" y="4804"/>
                          <a:pt x="60960" y="-530"/>
                          <a:pt x="46673" y="42"/>
                        </a:cubicBezTo>
                        <a:cubicBezTo>
                          <a:pt x="24384" y="994"/>
                          <a:pt x="6001" y="16139"/>
                          <a:pt x="0" y="36427"/>
                        </a:cubicBezTo>
                      </a:path>
                    </a:pathLst>
                  </a:custGeom>
                  <a:noFill/>
                  <a:ln w="19050" cap="sq">
                    <a:solidFill>
                      <a:schemeClr val="accent1"/>
                    </a:solidFill>
                    <a:prstDash val="solid"/>
                    <a:miter lim="800000"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82" name="Forma livre: Forma 81">
                    <a:extLst>
                      <a:ext uri="{FF2B5EF4-FFF2-40B4-BE49-F238E27FC236}">
                        <a16:creationId xmlns:a16="http://schemas.microsoft.com/office/drawing/2014/main" id="{A2E181FF-D61A-07B1-037B-667F11B94C98}"/>
                      </a:ext>
                    </a:extLst>
                  </p:cNvPr>
                  <p:cNvSpPr/>
                  <p:nvPr/>
                </p:nvSpPr>
                <p:spPr>
                  <a:xfrm>
                    <a:off x="4290650" y="1770143"/>
                    <a:ext cx="60349" cy="39816"/>
                  </a:xfrm>
                  <a:custGeom>
                    <a:avLst/>
                    <a:gdLst>
                      <a:gd name="connsiteX0" fmla="*/ 60349 w 60349"/>
                      <a:gd name="connsiteY0" fmla="*/ 21814 h 39816"/>
                      <a:gd name="connsiteX1" fmla="*/ 45681 w 60349"/>
                      <a:gd name="connsiteY1" fmla="*/ 3812 h 39816"/>
                      <a:gd name="connsiteX2" fmla="*/ 21773 w 60349"/>
                      <a:gd name="connsiteY2" fmla="*/ 1336 h 39816"/>
                      <a:gd name="connsiteX3" fmla="*/ 1389 w 60349"/>
                      <a:gd name="connsiteY3" fmla="*/ 39817 h 3981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60349" h="39816">
                        <a:moveTo>
                          <a:pt x="60349" y="21814"/>
                        </a:moveTo>
                        <a:cubicBezTo>
                          <a:pt x="57873" y="13813"/>
                          <a:pt x="52539" y="7527"/>
                          <a:pt x="45681" y="3812"/>
                        </a:cubicBezTo>
                        <a:cubicBezTo>
                          <a:pt x="38632" y="-93"/>
                          <a:pt x="30060" y="-1141"/>
                          <a:pt x="21773" y="1336"/>
                        </a:cubicBezTo>
                        <a:cubicBezTo>
                          <a:pt x="5485" y="6289"/>
                          <a:pt x="-3659" y="23529"/>
                          <a:pt x="1389" y="39817"/>
                        </a:cubicBezTo>
                      </a:path>
                    </a:pathLst>
                  </a:custGeom>
                  <a:noFill/>
                  <a:ln w="19050" cap="sq">
                    <a:solidFill>
                      <a:schemeClr val="accent1"/>
                    </a:solidFill>
                    <a:prstDash val="solid"/>
                    <a:miter lim="800000"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  <p:grpSp>
              <p:nvGrpSpPr>
                <p:cNvPr id="76" name="Gráfico 215">
                  <a:extLst>
                    <a:ext uri="{FF2B5EF4-FFF2-40B4-BE49-F238E27FC236}">
                      <a16:creationId xmlns:a16="http://schemas.microsoft.com/office/drawing/2014/main" id="{98E7335B-8CB3-C2B7-AAD5-F173E890E36E}"/>
                    </a:ext>
                  </a:extLst>
                </p:cNvPr>
                <p:cNvGrpSpPr/>
                <p:nvPr/>
              </p:nvGrpSpPr>
              <p:grpSpPr>
                <a:xfrm>
                  <a:off x="4011433" y="1703851"/>
                  <a:ext cx="185070" cy="106203"/>
                  <a:chOff x="4011433" y="1703851"/>
                  <a:chExt cx="185070" cy="106203"/>
                </a:xfrm>
                <a:noFill/>
              </p:grpSpPr>
              <p:sp>
                <p:nvSpPr>
                  <p:cNvPr id="77" name="Forma livre: Forma 76">
                    <a:extLst>
                      <a:ext uri="{FF2B5EF4-FFF2-40B4-BE49-F238E27FC236}">
                        <a16:creationId xmlns:a16="http://schemas.microsoft.com/office/drawing/2014/main" id="{7AFCA9E0-FB51-6526-1437-E21AE57422AE}"/>
                      </a:ext>
                    </a:extLst>
                  </p:cNvPr>
                  <p:cNvSpPr/>
                  <p:nvPr/>
                </p:nvSpPr>
                <p:spPr>
                  <a:xfrm>
                    <a:off x="4154308" y="1703851"/>
                    <a:ext cx="42195" cy="106203"/>
                  </a:xfrm>
                  <a:custGeom>
                    <a:avLst/>
                    <a:gdLst>
                      <a:gd name="connsiteX0" fmla="*/ 42196 w 42195"/>
                      <a:gd name="connsiteY0" fmla="*/ 0 h 106203"/>
                      <a:gd name="connsiteX1" fmla="*/ 0 w 42195"/>
                      <a:gd name="connsiteY1" fmla="*/ 106204 h 10620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42195" h="106203">
                        <a:moveTo>
                          <a:pt x="42196" y="0"/>
                        </a:moveTo>
                        <a:cubicBezTo>
                          <a:pt x="42196" y="0"/>
                          <a:pt x="41243" y="93440"/>
                          <a:pt x="0" y="106204"/>
                        </a:cubicBezTo>
                      </a:path>
                    </a:pathLst>
                  </a:custGeom>
                  <a:noFill/>
                  <a:ln w="19050" cap="sq">
                    <a:solidFill>
                      <a:schemeClr val="accent1"/>
                    </a:solidFill>
                    <a:prstDash val="solid"/>
                    <a:miter lim="800000"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78" name="Forma livre: Forma 77">
                    <a:extLst>
                      <a:ext uri="{FF2B5EF4-FFF2-40B4-BE49-F238E27FC236}">
                        <a16:creationId xmlns:a16="http://schemas.microsoft.com/office/drawing/2014/main" id="{3D099AB4-3DA8-F6FE-1471-F7145BEB118C}"/>
                      </a:ext>
                    </a:extLst>
                  </p:cNvPr>
                  <p:cNvSpPr/>
                  <p:nvPr/>
                </p:nvSpPr>
                <p:spPr>
                  <a:xfrm>
                    <a:off x="4011433" y="1736480"/>
                    <a:ext cx="69627" cy="48809"/>
                  </a:xfrm>
                  <a:custGeom>
                    <a:avLst/>
                    <a:gdLst>
                      <a:gd name="connsiteX0" fmla="*/ 0 w 69627"/>
                      <a:gd name="connsiteY0" fmla="*/ 48810 h 48809"/>
                      <a:gd name="connsiteX1" fmla="*/ 15907 w 69627"/>
                      <a:gd name="connsiteY1" fmla="*/ 13948 h 48809"/>
                      <a:gd name="connsiteX2" fmla="*/ 53054 w 69627"/>
                      <a:gd name="connsiteY2" fmla="*/ 42 h 48809"/>
                      <a:gd name="connsiteX3" fmla="*/ 69628 w 69627"/>
                      <a:gd name="connsiteY3" fmla="*/ 3566 h 4880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69627" h="48809">
                        <a:moveTo>
                          <a:pt x="0" y="48810"/>
                        </a:moveTo>
                        <a:cubicBezTo>
                          <a:pt x="572" y="34998"/>
                          <a:pt x="6572" y="22711"/>
                          <a:pt x="15907" y="13948"/>
                        </a:cubicBezTo>
                        <a:cubicBezTo>
                          <a:pt x="25527" y="4804"/>
                          <a:pt x="38767" y="-530"/>
                          <a:pt x="53054" y="42"/>
                        </a:cubicBezTo>
                        <a:cubicBezTo>
                          <a:pt x="58960" y="327"/>
                          <a:pt x="64484" y="1566"/>
                          <a:pt x="69628" y="3566"/>
                        </a:cubicBezTo>
                      </a:path>
                    </a:pathLst>
                  </a:custGeom>
                  <a:noFill/>
                  <a:ln w="19050" cap="sq">
                    <a:solidFill>
                      <a:schemeClr val="accent1"/>
                    </a:solidFill>
                    <a:prstDash val="solid"/>
                    <a:miter lim="800000"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79" name="Forma livre: Forma 78">
                    <a:extLst>
                      <a:ext uri="{FF2B5EF4-FFF2-40B4-BE49-F238E27FC236}">
                        <a16:creationId xmlns:a16="http://schemas.microsoft.com/office/drawing/2014/main" id="{552D5584-A048-74AB-CF71-737223F48E87}"/>
                      </a:ext>
                    </a:extLst>
                  </p:cNvPr>
                  <p:cNvSpPr/>
                  <p:nvPr/>
                </p:nvSpPr>
                <p:spPr>
                  <a:xfrm>
                    <a:off x="4095444" y="1770143"/>
                    <a:ext cx="60349" cy="39816"/>
                  </a:xfrm>
                  <a:custGeom>
                    <a:avLst/>
                    <a:gdLst>
                      <a:gd name="connsiteX0" fmla="*/ 0 w 60349"/>
                      <a:gd name="connsiteY0" fmla="*/ 21814 h 39816"/>
                      <a:gd name="connsiteX1" fmla="*/ 14669 w 60349"/>
                      <a:gd name="connsiteY1" fmla="*/ 3812 h 39816"/>
                      <a:gd name="connsiteX2" fmla="*/ 38576 w 60349"/>
                      <a:gd name="connsiteY2" fmla="*/ 1336 h 39816"/>
                      <a:gd name="connsiteX3" fmla="*/ 58960 w 60349"/>
                      <a:gd name="connsiteY3" fmla="*/ 39817 h 3981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60349" h="39816">
                        <a:moveTo>
                          <a:pt x="0" y="21814"/>
                        </a:moveTo>
                        <a:cubicBezTo>
                          <a:pt x="2477" y="13813"/>
                          <a:pt x="7810" y="7527"/>
                          <a:pt x="14669" y="3812"/>
                        </a:cubicBezTo>
                        <a:cubicBezTo>
                          <a:pt x="21717" y="-93"/>
                          <a:pt x="30290" y="-1141"/>
                          <a:pt x="38576" y="1336"/>
                        </a:cubicBezTo>
                        <a:cubicBezTo>
                          <a:pt x="54864" y="6289"/>
                          <a:pt x="64008" y="23529"/>
                          <a:pt x="58960" y="39817"/>
                        </a:cubicBezTo>
                      </a:path>
                    </a:pathLst>
                  </a:custGeom>
                  <a:noFill/>
                  <a:ln w="19050" cap="sq">
                    <a:solidFill>
                      <a:schemeClr val="accent1"/>
                    </a:solidFill>
                    <a:prstDash val="solid"/>
                    <a:miter lim="800000"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</p:grpSp>
        </p:grpSp>
      </p:grpSp>
      <p:grpSp>
        <p:nvGrpSpPr>
          <p:cNvPr id="5" name="Agrupar 4">
            <a:extLst>
              <a:ext uri="{FF2B5EF4-FFF2-40B4-BE49-F238E27FC236}">
                <a16:creationId xmlns:a16="http://schemas.microsoft.com/office/drawing/2014/main" id="{44403BC4-8F08-F12A-0C41-CCDE732D47BD}"/>
              </a:ext>
            </a:extLst>
          </p:cNvPr>
          <p:cNvGrpSpPr/>
          <p:nvPr/>
        </p:nvGrpSpPr>
        <p:grpSpPr>
          <a:xfrm>
            <a:off x="8914786" y="2012459"/>
            <a:ext cx="846074" cy="524524"/>
            <a:chOff x="8914786" y="2012459"/>
            <a:chExt cx="846074" cy="524524"/>
          </a:xfrm>
        </p:grpSpPr>
        <p:sp>
          <p:nvSpPr>
            <p:cNvPr id="28" name="Forma livre: Forma 27">
              <a:extLst>
                <a:ext uri="{FF2B5EF4-FFF2-40B4-BE49-F238E27FC236}">
                  <a16:creationId xmlns:a16="http://schemas.microsoft.com/office/drawing/2014/main" id="{BB61BA43-2116-20E6-E2A5-D72F25412EF7}"/>
                </a:ext>
              </a:extLst>
            </p:cNvPr>
            <p:cNvSpPr/>
            <p:nvPr/>
          </p:nvSpPr>
          <p:spPr>
            <a:xfrm flipH="1">
              <a:off x="8914786" y="2012459"/>
              <a:ext cx="846074" cy="524524"/>
            </a:xfrm>
            <a:custGeom>
              <a:avLst/>
              <a:gdLst>
                <a:gd name="connsiteX0" fmla="*/ 671828 w 846074"/>
                <a:gd name="connsiteY0" fmla="*/ 0 h 524524"/>
                <a:gd name="connsiteX1" fmla="*/ 0 w 846074"/>
                <a:gd name="connsiteY1" fmla="*/ 0 h 524524"/>
                <a:gd name="connsiteX2" fmla="*/ 524529 w 846074"/>
                <a:gd name="connsiteY2" fmla="*/ 524524 h 524524"/>
                <a:gd name="connsiteX3" fmla="*/ 524742 w 846074"/>
                <a:gd name="connsiteY3" fmla="*/ 524524 h 524524"/>
                <a:gd name="connsiteX4" fmla="*/ 846074 w 846074"/>
                <a:gd name="connsiteY4" fmla="*/ 524524 h 5245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46074" h="524524">
                  <a:moveTo>
                    <a:pt x="671828" y="0"/>
                  </a:moveTo>
                  <a:lnTo>
                    <a:pt x="0" y="0"/>
                  </a:lnTo>
                  <a:cubicBezTo>
                    <a:pt x="0" y="289824"/>
                    <a:pt x="234920" y="524524"/>
                    <a:pt x="524529" y="524524"/>
                  </a:cubicBezTo>
                  <a:lnTo>
                    <a:pt x="524742" y="524524"/>
                  </a:lnTo>
                  <a:lnTo>
                    <a:pt x="846074" y="524524"/>
                  </a:lnTo>
                  <a:close/>
                </a:path>
              </a:pathLst>
            </a:custGeom>
            <a:solidFill>
              <a:srgbClr val="1D3EB6"/>
            </a:solidFill>
            <a:ln w="4244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pt-PT"/>
            </a:p>
          </p:txBody>
        </p:sp>
        <p:grpSp>
          <p:nvGrpSpPr>
            <p:cNvPr id="90" name="Agrupar 89">
              <a:extLst>
                <a:ext uri="{FF2B5EF4-FFF2-40B4-BE49-F238E27FC236}">
                  <a16:creationId xmlns:a16="http://schemas.microsoft.com/office/drawing/2014/main" id="{51A140DB-73BB-08AE-AF6C-F00D676B01B5}"/>
                </a:ext>
              </a:extLst>
            </p:cNvPr>
            <p:cNvGrpSpPr/>
            <p:nvPr/>
          </p:nvGrpSpPr>
          <p:grpSpPr>
            <a:xfrm>
              <a:off x="9169292" y="2091210"/>
              <a:ext cx="337061" cy="282872"/>
              <a:chOff x="7527643" y="2537276"/>
              <a:chExt cx="474083" cy="397866"/>
            </a:xfrm>
          </p:grpSpPr>
          <p:grpSp>
            <p:nvGrpSpPr>
              <p:cNvPr id="91" name="Gráfico 215">
                <a:extLst>
                  <a:ext uri="{FF2B5EF4-FFF2-40B4-BE49-F238E27FC236}">
                    <a16:creationId xmlns:a16="http://schemas.microsoft.com/office/drawing/2014/main" id="{26D088FE-E217-93B7-F40C-BFE236B6243B}"/>
                  </a:ext>
                </a:extLst>
              </p:cNvPr>
              <p:cNvGrpSpPr/>
              <p:nvPr/>
            </p:nvGrpSpPr>
            <p:grpSpPr>
              <a:xfrm>
                <a:off x="7572418" y="2635250"/>
                <a:ext cx="384534" cy="261020"/>
                <a:chOff x="3947140" y="1487919"/>
                <a:chExt cx="552164" cy="374808"/>
              </a:xfrm>
              <a:noFill/>
            </p:grpSpPr>
            <p:sp>
              <p:nvSpPr>
                <p:cNvPr id="108" name="Forma livre: Forma 107">
                  <a:extLst>
                    <a:ext uri="{FF2B5EF4-FFF2-40B4-BE49-F238E27FC236}">
                      <a16:creationId xmlns:a16="http://schemas.microsoft.com/office/drawing/2014/main" id="{20314DA8-3692-A995-73AC-17E41CD87F32}"/>
                    </a:ext>
                  </a:extLst>
                </p:cNvPr>
                <p:cNvSpPr/>
                <p:nvPr/>
              </p:nvSpPr>
              <p:spPr>
                <a:xfrm>
                  <a:off x="4333093" y="1487919"/>
                  <a:ext cx="166211" cy="374808"/>
                </a:xfrm>
                <a:custGeom>
                  <a:avLst/>
                  <a:gdLst>
                    <a:gd name="connsiteX0" fmla="*/ 0 w 166211"/>
                    <a:gd name="connsiteY0" fmla="*/ 0 h 374808"/>
                    <a:gd name="connsiteX1" fmla="*/ 125921 w 166211"/>
                    <a:gd name="connsiteY1" fmla="*/ 0 h 374808"/>
                    <a:gd name="connsiteX2" fmla="*/ 166211 w 166211"/>
                    <a:gd name="connsiteY2" fmla="*/ 40291 h 374808"/>
                    <a:gd name="connsiteX3" fmla="*/ 166211 w 166211"/>
                    <a:gd name="connsiteY3" fmla="*/ 374809 h 37480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66211" h="374808">
                      <a:moveTo>
                        <a:pt x="0" y="0"/>
                      </a:moveTo>
                      <a:lnTo>
                        <a:pt x="125921" y="0"/>
                      </a:lnTo>
                      <a:cubicBezTo>
                        <a:pt x="148114" y="0"/>
                        <a:pt x="166211" y="18097"/>
                        <a:pt x="166211" y="40291"/>
                      </a:cubicBezTo>
                      <a:lnTo>
                        <a:pt x="166211" y="374809"/>
                      </a:lnTo>
                    </a:path>
                  </a:pathLst>
                </a:custGeom>
                <a:noFill/>
                <a:ln w="19050" cap="sq">
                  <a:solidFill>
                    <a:schemeClr val="accent1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09" name="Forma livre: Forma 108">
                  <a:extLst>
                    <a:ext uri="{FF2B5EF4-FFF2-40B4-BE49-F238E27FC236}">
                      <a16:creationId xmlns:a16="http://schemas.microsoft.com/office/drawing/2014/main" id="{03CAE5B7-54F4-7AD5-DA89-E73A30B7A382}"/>
                    </a:ext>
                  </a:extLst>
                </p:cNvPr>
                <p:cNvSpPr/>
                <p:nvPr/>
              </p:nvSpPr>
              <p:spPr>
                <a:xfrm>
                  <a:off x="3947140" y="1487919"/>
                  <a:ext cx="166020" cy="331851"/>
                </a:xfrm>
                <a:custGeom>
                  <a:avLst/>
                  <a:gdLst>
                    <a:gd name="connsiteX0" fmla="*/ 0 w 166020"/>
                    <a:gd name="connsiteY0" fmla="*/ 331851 h 331851"/>
                    <a:gd name="connsiteX1" fmla="*/ 0 w 166020"/>
                    <a:gd name="connsiteY1" fmla="*/ 40291 h 331851"/>
                    <a:gd name="connsiteX2" fmla="*/ 40291 w 166020"/>
                    <a:gd name="connsiteY2" fmla="*/ 0 h 331851"/>
                    <a:gd name="connsiteX3" fmla="*/ 166021 w 166020"/>
                    <a:gd name="connsiteY3" fmla="*/ 0 h 33185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66020" h="331851">
                      <a:moveTo>
                        <a:pt x="0" y="331851"/>
                      </a:moveTo>
                      <a:lnTo>
                        <a:pt x="0" y="40291"/>
                      </a:lnTo>
                      <a:cubicBezTo>
                        <a:pt x="0" y="18097"/>
                        <a:pt x="18097" y="0"/>
                        <a:pt x="40291" y="0"/>
                      </a:cubicBezTo>
                      <a:lnTo>
                        <a:pt x="166021" y="0"/>
                      </a:lnTo>
                    </a:path>
                  </a:pathLst>
                </a:custGeom>
                <a:noFill/>
                <a:ln w="19050" cap="sq">
                  <a:solidFill>
                    <a:schemeClr val="accent1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92" name="Forma livre: Forma 91">
                <a:extLst>
                  <a:ext uri="{FF2B5EF4-FFF2-40B4-BE49-F238E27FC236}">
                    <a16:creationId xmlns:a16="http://schemas.microsoft.com/office/drawing/2014/main" id="{45183686-E6E9-0A14-36FC-296399A17060}"/>
                  </a:ext>
                </a:extLst>
              </p:cNvPr>
              <p:cNvSpPr/>
              <p:nvPr/>
            </p:nvSpPr>
            <p:spPr>
              <a:xfrm>
                <a:off x="7527643" y="2897332"/>
                <a:ext cx="474083" cy="37810"/>
              </a:xfrm>
              <a:custGeom>
                <a:avLst/>
                <a:gdLst>
                  <a:gd name="connsiteX0" fmla="*/ 0 w 680751"/>
                  <a:gd name="connsiteY0" fmla="*/ 0 h 54292"/>
                  <a:gd name="connsiteX1" fmla="*/ 48863 w 680751"/>
                  <a:gd name="connsiteY1" fmla="*/ 54293 h 54292"/>
                  <a:gd name="connsiteX2" fmla="*/ 631888 w 680751"/>
                  <a:gd name="connsiteY2" fmla="*/ 54293 h 54292"/>
                  <a:gd name="connsiteX3" fmla="*/ 680752 w 680751"/>
                  <a:gd name="connsiteY3" fmla="*/ 0 h 54292"/>
                  <a:gd name="connsiteX4" fmla="*/ 0 w 680751"/>
                  <a:gd name="connsiteY4" fmla="*/ 0 h 542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80751" h="54292">
                    <a:moveTo>
                      <a:pt x="0" y="0"/>
                    </a:moveTo>
                    <a:cubicBezTo>
                      <a:pt x="0" y="0"/>
                      <a:pt x="9906" y="54293"/>
                      <a:pt x="48863" y="54293"/>
                    </a:cubicBezTo>
                    <a:lnTo>
                      <a:pt x="631888" y="54293"/>
                    </a:lnTo>
                    <a:cubicBezTo>
                      <a:pt x="670941" y="54293"/>
                      <a:pt x="680752" y="0"/>
                      <a:pt x="680752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noFill/>
              <a:ln w="19050" cap="sq">
                <a:solidFill>
                  <a:schemeClr val="accent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93" name="Gráfico 215">
                <a:extLst>
                  <a:ext uri="{FF2B5EF4-FFF2-40B4-BE49-F238E27FC236}">
                    <a16:creationId xmlns:a16="http://schemas.microsoft.com/office/drawing/2014/main" id="{30014891-5BD8-C34B-1BFF-ABC460C624CF}"/>
                  </a:ext>
                </a:extLst>
              </p:cNvPr>
              <p:cNvGrpSpPr/>
              <p:nvPr/>
            </p:nvGrpSpPr>
            <p:grpSpPr>
              <a:xfrm>
                <a:off x="7661835" y="2537276"/>
                <a:ext cx="205699" cy="245499"/>
                <a:chOff x="4075536" y="1347235"/>
                <a:chExt cx="295370" cy="352520"/>
              </a:xfrm>
              <a:noFill/>
            </p:grpSpPr>
            <p:sp>
              <p:nvSpPr>
                <p:cNvPr id="103" name="Forma livre: Forma 102">
                  <a:extLst>
                    <a:ext uri="{FF2B5EF4-FFF2-40B4-BE49-F238E27FC236}">
                      <a16:creationId xmlns:a16="http://schemas.microsoft.com/office/drawing/2014/main" id="{D5486CD6-187A-EE8A-C70D-027B2F625889}"/>
                    </a:ext>
                  </a:extLst>
                </p:cNvPr>
                <p:cNvSpPr/>
                <p:nvPr/>
              </p:nvSpPr>
              <p:spPr>
                <a:xfrm>
                  <a:off x="4156880" y="1347235"/>
                  <a:ext cx="132778" cy="352520"/>
                </a:xfrm>
                <a:custGeom>
                  <a:avLst/>
                  <a:gdLst>
                    <a:gd name="connsiteX0" fmla="*/ 66389 w 132778"/>
                    <a:gd name="connsiteY0" fmla="*/ 0 h 352520"/>
                    <a:gd name="connsiteX1" fmla="*/ 0 w 132778"/>
                    <a:gd name="connsiteY1" fmla="*/ 99536 h 352520"/>
                    <a:gd name="connsiteX2" fmla="*/ 0 w 132778"/>
                    <a:gd name="connsiteY2" fmla="*/ 352520 h 352520"/>
                    <a:gd name="connsiteX3" fmla="*/ 132778 w 132778"/>
                    <a:gd name="connsiteY3" fmla="*/ 352520 h 352520"/>
                    <a:gd name="connsiteX4" fmla="*/ 132778 w 132778"/>
                    <a:gd name="connsiteY4" fmla="*/ 99536 h 352520"/>
                    <a:gd name="connsiteX5" fmla="*/ 66389 w 132778"/>
                    <a:gd name="connsiteY5" fmla="*/ 0 h 35252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132778" h="352520">
                      <a:moveTo>
                        <a:pt x="66389" y="0"/>
                      </a:moveTo>
                      <a:cubicBezTo>
                        <a:pt x="66389" y="0"/>
                        <a:pt x="0" y="70009"/>
                        <a:pt x="0" y="99536"/>
                      </a:cubicBezTo>
                      <a:lnTo>
                        <a:pt x="0" y="352520"/>
                      </a:lnTo>
                      <a:lnTo>
                        <a:pt x="132778" y="352520"/>
                      </a:lnTo>
                      <a:lnTo>
                        <a:pt x="132778" y="99536"/>
                      </a:lnTo>
                      <a:cubicBezTo>
                        <a:pt x="132778" y="69914"/>
                        <a:pt x="66389" y="0"/>
                        <a:pt x="66389" y="0"/>
                      </a:cubicBezTo>
                      <a:close/>
                    </a:path>
                  </a:pathLst>
                </a:custGeom>
                <a:noFill/>
                <a:ln w="19050" cap="sq">
                  <a:solidFill>
                    <a:schemeClr val="accent1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grpSp>
              <p:nvGrpSpPr>
                <p:cNvPr id="104" name="Gráfico 215">
                  <a:extLst>
                    <a:ext uri="{FF2B5EF4-FFF2-40B4-BE49-F238E27FC236}">
                      <a16:creationId xmlns:a16="http://schemas.microsoft.com/office/drawing/2014/main" id="{57931F6D-032D-92A6-8F0C-8F0942658839}"/>
                    </a:ext>
                  </a:extLst>
                </p:cNvPr>
                <p:cNvGrpSpPr/>
                <p:nvPr/>
              </p:nvGrpSpPr>
              <p:grpSpPr>
                <a:xfrm>
                  <a:off x="4075536" y="1507636"/>
                  <a:ext cx="295370" cy="174783"/>
                  <a:chOff x="4075536" y="1507636"/>
                  <a:chExt cx="295370" cy="174783"/>
                </a:xfrm>
                <a:noFill/>
              </p:grpSpPr>
              <p:sp>
                <p:nvSpPr>
                  <p:cNvPr id="106" name="Forma livre: Forma 105">
                    <a:extLst>
                      <a:ext uri="{FF2B5EF4-FFF2-40B4-BE49-F238E27FC236}">
                        <a16:creationId xmlns:a16="http://schemas.microsoft.com/office/drawing/2014/main" id="{93436E9D-B53B-9B70-C39B-2F37BCD005E3}"/>
                      </a:ext>
                    </a:extLst>
                  </p:cNvPr>
                  <p:cNvSpPr/>
                  <p:nvPr/>
                </p:nvSpPr>
                <p:spPr>
                  <a:xfrm>
                    <a:off x="4075536" y="1507636"/>
                    <a:ext cx="81248" cy="174783"/>
                  </a:xfrm>
                  <a:custGeom>
                    <a:avLst/>
                    <a:gdLst>
                      <a:gd name="connsiteX0" fmla="*/ 81248 w 81248"/>
                      <a:gd name="connsiteY0" fmla="*/ 0 h 174783"/>
                      <a:gd name="connsiteX1" fmla="*/ 24860 w 81248"/>
                      <a:gd name="connsiteY1" fmla="*/ 83630 h 174783"/>
                      <a:gd name="connsiteX2" fmla="*/ 4858 w 81248"/>
                      <a:gd name="connsiteY2" fmla="*/ 103823 h 174783"/>
                      <a:gd name="connsiteX3" fmla="*/ 0 w 81248"/>
                      <a:gd name="connsiteY3" fmla="*/ 130302 h 174783"/>
                      <a:gd name="connsiteX4" fmla="*/ 0 w 81248"/>
                      <a:gd name="connsiteY4" fmla="*/ 174784 h 174783"/>
                      <a:gd name="connsiteX5" fmla="*/ 76581 w 81248"/>
                      <a:gd name="connsiteY5" fmla="*/ 174784 h 17478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81248" h="174783">
                        <a:moveTo>
                          <a:pt x="81248" y="0"/>
                        </a:moveTo>
                        <a:cubicBezTo>
                          <a:pt x="81248" y="18002"/>
                          <a:pt x="62865" y="53054"/>
                          <a:pt x="24860" y="83630"/>
                        </a:cubicBezTo>
                        <a:cubicBezTo>
                          <a:pt x="17431" y="89630"/>
                          <a:pt x="9716" y="95917"/>
                          <a:pt x="4858" y="103823"/>
                        </a:cubicBezTo>
                        <a:cubicBezTo>
                          <a:pt x="381" y="111252"/>
                          <a:pt x="0" y="121444"/>
                          <a:pt x="0" y="130302"/>
                        </a:cubicBezTo>
                        <a:lnTo>
                          <a:pt x="0" y="174784"/>
                        </a:lnTo>
                        <a:lnTo>
                          <a:pt x="76581" y="174784"/>
                        </a:lnTo>
                      </a:path>
                    </a:pathLst>
                  </a:custGeom>
                  <a:noFill/>
                  <a:ln w="19050" cap="sq">
                    <a:solidFill>
                      <a:schemeClr val="accent1"/>
                    </a:solidFill>
                    <a:prstDash val="solid"/>
                    <a:miter lim="800000"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107" name="Forma livre: Forma 106">
                    <a:extLst>
                      <a:ext uri="{FF2B5EF4-FFF2-40B4-BE49-F238E27FC236}">
                        <a16:creationId xmlns:a16="http://schemas.microsoft.com/office/drawing/2014/main" id="{B10B9EE2-D0C0-48AF-D021-6E5004DC86CF}"/>
                      </a:ext>
                    </a:extLst>
                  </p:cNvPr>
                  <p:cNvSpPr/>
                  <p:nvPr/>
                </p:nvSpPr>
                <p:spPr>
                  <a:xfrm>
                    <a:off x="4289658" y="1507636"/>
                    <a:ext cx="81248" cy="174783"/>
                  </a:xfrm>
                  <a:custGeom>
                    <a:avLst/>
                    <a:gdLst>
                      <a:gd name="connsiteX0" fmla="*/ 0 w 81248"/>
                      <a:gd name="connsiteY0" fmla="*/ 0 h 174783"/>
                      <a:gd name="connsiteX1" fmla="*/ 56388 w 81248"/>
                      <a:gd name="connsiteY1" fmla="*/ 83630 h 174783"/>
                      <a:gd name="connsiteX2" fmla="*/ 76391 w 81248"/>
                      <a:gd name="connsiteY2" fmla="*/ 103823 h 174783"/>
                      <a:gd name="connsiteX3" fmla="*/ 81248 w 81248"/>
                      <a:gd name="connsiteY3" fmla="*/ 130302 h 174783"/>
                      <a:gd name="connsiteX4" fmla="*/ 81248 w 81248"/>
                      <a:gd name="connsiteY4" fmla="*/ 174784 h 174783"/>
                      <a:gd name="connsiteX5" fmla="*/ 4667 w 81248"/>
                      <a:gd name="connsiteY5" fmla="*/ 174784 h 17478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81248" h="174783">
                        <a:moveTo>
                          <a:pt x="0" y="0"/>
                        </a:moveTo>
                        <a:cubicBezTo>
                          <a:pt x="0" y="18002"/>
                          <a:pt x="18383" y="53054"/>
                          <a:pt x="56388" y="83630"/>
                        </a:cubicBezTo>
                        <a:cubicBezTo>
                          <a:pt x="63818" y="89630"/>
                          <a:pt x="71533" y="95917"/>
                          <a:pt x="76391" y="103823"/>
                        </a:cubicBezTo>
                        <a:cubicBezTo>
                          <a:pt x="80867" y="111252"/>
                          <a:pt x="81248" y="121444"/>
                          <a:pt x="81248" y="130302"/>
                        </a:cubicBezTo>
                        <a:lnTo>
                          <a:pt x="81248" y="174784"/>
                        </a:lnTo>
                        <a:lnTo>
                          <a:pt x="4667" y="174784"/>
                        </a:lnTo>
                      </a:path>
                    </a:pathLst>
                  </a:custGeom>
                  <a:noFill/>
                  <a:ln w="19050" cap="sq">
                    <a:solidFill>
                      <a:schemeClr val="accent1"/>
                    </a:solidFill>
                    <a:prstDash val="solid"/>
                    <a:miter lim="800000"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  <p:sp>
              <p:nvSpPr>
                <p:cNvPr id="105" name="Forma livre: Forma 104">
                  <a:extLst>
                    <a:ext uri="{FF2B5EF4-FFF2-40B4-BE49-F238E27FC236}">
                      <a16:creationId xmlns:a16="http://schemas.microsoft.com/office/drawing/2014/main" id="{9886F45F-401B-EF4C-57DB-55FA45B5A575}"/>
                    </a:ext>
                  </a:extLst>
                </p:cNvPr>
                <p:cNvSpPr/>
                <p:nvPr/>
              </p:nvSpPr>
              <p:spPr>
                <a:xfrm>
                  <a:off x="4198980" y="1457820"/>
                  <a:ext cx="48577" cy="11239"/>
                </a:xfrm>
                <a:custGeom>
                  <a:avLst/>
                  <a:gdLst>
                    <a:gd name="connsiteX0" fmla="*/ 48578 w 48577"/>
                    <a:gd name="connsiteY0" fmla="*/ 11240 h 11239"/>
                    <a:gd name="connsiteX1" fmla="*/ 24289 w 48577"/>
                    <a:gd name="connsiteY1" fmla="*/ 0 h 11239"/>
                    <a:gd name="connsiteX2" fmla="*/ 0 w 48577"/>
                    <a:gd name="connsiteY2" fmla="*/ 11240 h 1123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48577" h="11239">
                      <a:moveTo>
                        <a:pt x="48578" y="11240"/>
                      </a:moveTo>
                      <a:cubicBezTo>
                        <a:pt x="44577" y="4667"/>
                        <a:pt x="35243" y="0"/>
                        <a:pt x="24289" y="0"/>
                      </a:cubicBezTo>
                      <a:cubicBezTo>
                        <a:pt x="13335" y="0"/>
                        <a:pt x="4001" y="4667"/>
                        <a:pt x="0" y="11240"/>
                      </a:cubicBezTo>
                    </a:path>
                  </a:pathLst>
                </a:custGeom>
                <a:noFill/>
                <a:ln w="19050" cap="sq">
                  <a:solidFill>
                    <a:schemeClr val="accent1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94" name="Gráfico 215">
                <a:extLst>
                  <a:ext uri="{FF2B5EF4-FFF2-40B4-BE49-F238E27FC236}">
                    <a16:creationId xmlns:a16="http://schemas.microsoft.com/office/drawing/2014/main" id="{BB78B342-921E-ABB0-B40A-EB24080F639A}"/>
                  </a:ext>
                </a:extLst>
              </p:cNvPr>
              <p:cNvGrpSpPr/>
              <p:nvPr/>
            </p:nvGrpSpPr>
            <p:grpSpPr>
              <a:xfrm>
                <a:off x="7617192" y="2785627"/>
                <a:ext cx="294983" cy="73961"/>
                <a:chOff x="4011433" y="1703851"/>
                <a:chExt cx="423576" cy="106203"/>
              </a:xfrm>
              <a:noFill/>
            </p:grpSpPr>
            <p:grpSp>
              <p:nvGrpSpPr>
                <p:cNvPr id="95" name="Gráfico 215">
                  <a:extLst>
                    <a:ext uri="{FF2B5EF4-FFF2-40B4-BE49-F238E27FC236}">
                      <a16:creationId xmlns:a16="http://schemas.microsoft.com/office/drawing/2014/main" id="{A9457320-6AA9-83C3-B420-037BA2D9F7E1}"/>
                    </a:ext>
                  </a:extLst>
                </p:cNvPr>
                <p:cNvGrpSpPr/>
                <p:nvPr/>
              </p:nvGrpSpPr>
              <p:grpSpPr>
                <a:xfrm>
                  <a:off x="4249939" y="1703851"/>
                  <a:ext cx="185070" cy="106203"/>
                  <a:chOff x="4249939" y="1703851"/>
                  <a:chExt cx="185070" cy="106203"/>
                </a:xfrm>
                <a:noFill/>
              </p:grpSpPr>
              <p:sp>
                <p:nvSpPr>
                  <p:cNvPr id="100" name="Forma livre: Forma 99">
                    <a:extLst>
                      <a:ext uri="{FF2B5EF4-FFF2-40B4-BE49-F238E27FC236}">
                        <a16:creationId xmlns:a16="http://schemas.microsoft.com/office/drawing/2014/main" id="{2CA6F65E-CE57-EE6F-FC2A-8EF3DAC3EAD0}"/>
                      </a:ext>
                    </a:extLst>
                  </p:cNvPr>
                  <p:cNvSpPr/>
                  <p:nvPr/>
                </p:nvSpPr>
                <p:spPr>
                  <a:xfrm>
                    <a:off x="4249939" y="1703851"/>
                    <a:ext cx="42195" cy="106203"/>
                  </a:xfrm>
                  <a:custGeom>
                    <a:avLst/>
                    <a:gdLst>
                      <a:gd name="connsiteX0" fmla="*/ 0 w 42195"/>
                      <a:gd name="connsiteY0" fmla="*/ 0 h 106203"/>
                      <a:gd name="connsiteX1" fmla="*/ 42196 w 42195"/>
                      <a:gd name="connsiteY1" fmla="*/ 106204 h 10620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42195" h="106203">
                        <a:moveTo>
                          <a:pt x="0" y="0"/>
                        </a:moveTo>
                        <a:cubicBezTo>
                          <a:pt x="0" y="0"/>
                          <a:pt x="1715" y="89535"/>
                          <a:pt x="42196" y="106204"/>
                        </a:cubicBezTo>
                      </a:path>
                    </a:pathLst>
                  </a:custGeom>
                  <a:noFill/>
                  <a:ln w="19050" cap="sq">
                    <a:solidFill>
                      <a:schemeClr val="accent1"/>
                    </a:solidFill>
                    <a:prstDash val="solid"/>
                    <a:miter lim="800000"/>
                  </a:ln>
                </p:spPr>
                <p:txBody>
                  <a:bodyPr rtlCol="0" anchor="ctr"/>
                  <a:lstStyle/>
                  <a:p>
                    <a:endParaRPr lang="pt-PT" dirty="0"/>
                  </a:p>
                </p:txBody>
              </p:sp>
              <p:sp>
                <p:nvSpPr>
                  <p:cNvPr id="101" name="Forma livre: Forma 100">
                    <a:extLst>
                      <a:ext uri="{FF2B5EF4-FFF2-40B4-BE49-F238E27FC236}">
                        <a16:creationId xmlns:a16="http://schemas.microsoft.com/office/drawing/2014/main" id="{AD8F267F-E210-C80C-CCF4-FC4AB7DAD252}"/>
                      </a:ext>
                    </a:extLst>
                  </p:cNvPr>
                  <p:cNvSpPr/>
                  <p:nvPr/>
                </p:nvSpPr>
                <p:spPr>
                  <a:xfrm>
                    <a:off x="4335283" y="1736480"/>
                    <a:ext cx="99726" cy="48809"/>
                  </a:xfrm>
                  <a:custGeom>
                    <a:avLst/>
                    <a:gdLst>
                      <a:gd name="connsiteX0" fmla="*/ 99727 w 99726"/>
                      <a:gd name="connsiteY0" fmla="*/ 48810 h 48809"/>
                      <a:gd name="connsiteX1" fmla="*/ 83820 w 99726"/>
                      <a:gd name="connsiteY1" fmla="*/ 13948 h 48809"/>
                      <a:gd name="connsiteX2" fmla="*/ 46673 w 99726"/>
                      <a:gd name="connsiteY2" fmla="*/ 42 h 48809"/>
                      <a:gd name="connsiteX3" fmla="*/ 0 w 99726"/>
                      <a:gd name="connsiteY3" fmla="*/ 36427 h 4880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99726" h="48809">
                        <a:moveTo>
                          <a:pt x="99727" y="48810"/>
                        </a:moveTo>
                        <a:cubicBezTo>
                          <a:pt x="99155" y="34998"/>
                          <a:pt x="93154" y="22711"/>
                          <a:pt x="83820" y="13948"/>
                        </a:cubicBezTo>
                        <a:cubicBezTo>
                          <a:pt x="74200" y="4804"/>
                          <a:pt x="60960" y="-530"/>
                          <a:pt x="46673" y="42"/>
                        </a:cubicBezTo>
                        <a:cubicBezTo>
                          <a:pt x="24384" y="994"/>
                          <a:pt x="6001" y="16139"/>
                          <a:pt x="0" y="36427"/>
                        </a:cubicBezTo>
                      </a:path>
                    </a:pathLst>
                  </a:custGeom>
                  <a:noFill/>
                  <a:ln w="19050" cap="sq">
                    <a:solidFill>
                      <a:schemeClr val="accent1"/>
                    </a:solidFill>
                    <a:prstDash val="solid"/>
                    <a:miter lim="800000"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102" name="Forma livre: Forma 101">
                    <a:extLst>
                      <a:ext uri="{FF2B5EF4-FFF2-40B4-BE49-F238E27FC236}">
                        <a16:creationId xmlns:a16="http://schemas.microsoft.com/office/drawing/2014/main" id="{33046881-29B9-3B72-9D20-518FFD5B3990}"/>
                      </a:ext>
                    </a:extLst>
                  </p:cNvPr>
                  <p:cNvSpPr/>
                  <p:nvPr/>
                </p:nvSpPr>
                <p:spPr>
                  <a:xfrm>
                    <a:off x="4290650" y="1770143"/>
                    <a:ext cx="60349" cy="39816"/>
                  </a:xfrm>
                  <a:custGeom>
                    <a:avLst/>
                    <a:gdLst>
                      <a:gd name="connsiteX0" fmla="*/ 60349 w 60349"/>
                      <a:gd name="connsiteY0" fmla="*/ 21814 h 39816"/>
                      <a:gd name="connsiteX1" fmla="*/ 45681 w 60349"/>
                      <a:gd name="connsiteY1" fmla="*/ 3812 h 39816"/>
                      <a:gd name="connsiteX2" fmla="*/ 21773 w 60349"/>
                      <a:gd name="connsiteY2" fmla="*/ 1336 h 39816"/>
                      <a:gd name="connsiteX3" fmla="*/ 1389 w 60349"/>
                      <a:gd name="connsiteY3" fmla="*/ 39817 h 3981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60349" h="39816">
                        <a:moveTo>
                          <a:pt x="60349" y="21814"/>
                        </a:moveTo>
                        <a:cubicBezTo>
                          <a:pt x="57873" y="13813"/>
                          <a:pt x="52539" y="7527"/>
                          <a:pt x="45681" y="3812"/>
                        </a:cubicBezTo>
                        <a:cubicBezTo>
                          <a:pt x="38632" y="-93"/>
                          <a:pt x="30060" y="-1141"/>
                          <a:pt x="21773" y="1336"/>
                        </a:cubicBezTo>
                        <a:cubicBezTo>
                          <a:pt x="5485" y="6289"/>
                          <a:pt x="-3659" y="23529"/>
                          <a:pt x="1389" y="39817"/>
                        </a:cubicBezTo>
                      </a:path>
                    </a:pathLst>
                  </a:custGeom>
                  <a:noFill/>
                  <a:ln w="19050" cap="sq">
                    <a:solidFill>
                      <a:schemeClr val="accent1"/>
                    </a:solidFill>
                    <a:prstDash val="solid"/>
                    <a:miter lim="800000"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  <p:grpSp>
              <p:nvGrpSpPr>
                <p:cNvPr id="96" name="Gráfico 215">
                  <a:extLst>
                    <a:ext uri="{FF2B5EF4-FFF2-40B4-BE49-F238E27FC236}">
                      <a16:creationId xmlns:a16="http://schemas.microsoft.com/office/drawing/2014/main" id="{072325C2-84A8-EBE7-248B-79DCB62301B9}"/>
                    </a:ext>
                  </a:extLst>
                </p:cNvPr>
                <p:cNvGrpSpPr/>
                <p:nvPr/>
              </p:nvGrpSpPr>
              <p:grpSpPr>
                <a:xfrm>
                  <a:off x="4011433" y="1703851"/>
                  <a:ext cx="185070" cy="106203"/>
                  <a:chOff x="4011433" y="1703851"/>
                  <a:chExt cx="185070" cy="106203"/>
                </a:xfrm>
                <a:noFill/>
              </p:grpSpPr>
              <p:sp>
                <p:nvSpPr>
                  <p:cNvPr id="97" name="Forma livre: Forma 96">
                    <a:extLst>
                      <a:ext uri="{FF2B5EF4-FFF2-40B4-BE49-F238E27FC236}">
                        <a16:creationId xmlns:a16="http://schemas.microsoft.com/office/drawing/2014/main" id="{F35C91FA-E310-5EF2-B6B4-5E6AFE866E8F}"/>
                      </a:ext>
                    </a:extLst>
                  </p:cNvPr>
                  <p:cNvSpPr/>
                  <p:nvPr/>
                </p:nvSpPr>
                <p:spPr>
                  <a:xfrm>
                    <a:off x="4154308" y="1703851"/>
                    <a:ext cx="42195" cy="106203"/>
                  </a:xfrm>
                  <a:custGeom>
                    <a:avLst/>
                    <a:gdLst>
                      <a:gd name="connsiteX0" fmla="*/ 42196 w 42195"/>
                      <a:gd name="connsiteY0" fmla="*/ 0 h 106203"/>
                      <a:gd name="connsiteX1" fmla="*/ 0 w 42195"/>
                      <a:gd name="connsiteY1" fmla="*/ 106204 h 10620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42195" h="106203">
                        <a:moveTo>
                          <a:pt x="42196" y="0"/>
                        </a:moveTo>
                        <a:cubicBezTo>
                          <a:pt x="42196" y="0"/>
                          <a:pt x="41243" y="93440"/>
                          <a:pt x="0" y="106204"/>
                        </a:cubicBezTo>
                      </a:path>
                    </a:pathLst>
                  </a:custGeom>
                  <a:noFill/>
                  <a:ln w="19050" cap="sq">
                    <a:solidFill>
                      <a:schemeClr val="accent1"/>
                    </a:solidFill>
                    <a:prstDash val="solid"/>
                    <a:miter lim="800000"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98" name="Forma livre: Forma 97">
                    <a:extLst>
                      <a:ext uri="{FF2B5EF4-FFF2-40B4-BE49-F238E27FC236}">
                        <a16:creationId xmlns:a16="http://schemas.microsoft.com/office/drawing/2014/main" id="{2C6D3310-F2F8-2DEF-6F83-75BEE027A3A6}"/>
                      </a:ext>
                    </a:extLst>
                  </p:cNvPr>
                  <p:cNvSpPr/>
                  <p:nvPr/>
                </p:nvSpPr>
                <p:spPr>
                  <a:xfrm>
                    <a:off x="4011433" y="1736480"/>
                    <a:ext cx="69627" cy="48809"/>
                  </a:xfrm>
                  <a:custGeom>
                    <a:avLst/>
                    <a:gdLst>
                      <a:gd name="connsiteX0" fmla="*/ 0 w 69627"/>
                      <a:gd name="connsiteY0" fmla="*/ 48810 h 48809"/>
                      <a:gd name="connsiteX1" fmla="*/ 15907 w 69627"/>
                      <a:gd name="connsiteY1" fmla="*/ 13948 h 48809"/>
                      <a:gd name="connsiteX2" fmla="*/ 53054 w 69627"/>
                      <a:gd name="connsiteY2" fmla="*/ 42 h 48809"/>
                      <a:gd name="connsiteX3" fmla="*/ 69628 w 69627"/>
                      <a:gd name="connsiteY3" fmla="*/ 3566 h 4880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69627" h="48809">
                        <a:moveTo>
                          <a:pt x="0" y="48810"/>
                        </a:moveTo>
                        <a:cubicBezTo>
                          <a:pt x="572" y="34998"/>
                          <a:pt x="6572" y="22711"/>
                          <a:pt x="15907" y="13948"/>
                        </a:cubicBezTo>
                        <a:cubicBezTo>
                          <a:pt x="25527" y="4804"/>
                          <a:pt x="38767" y="-530"/>
                          <a:pt x="53054" y="42"/>
                        </a:cubicBezTo>
                        <a:cubicBezTo>
                          <a:pt x="58960" y="327"/>
                          <a:pt x="64484" y="1566"/>
                          <a:pt x="69628" y="3566"/>
                        </a:cubicBezTo>
                      </a:path>
                    </a:pathLst>
                  </a:custGeom>
                  <a:noFill/>
                  <a:ln w="19050" cap="sq">
                    <a:solidFill>
                      <a:schemeClr val="accent1"/>
                    </a:solidFill>
                    <a:prstDash val="solid"/>
                    <a:miter lim="800000"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99" name="Forma livre: Forma 98">
                    <a:extLst>
                      <a:ext uri="{FF2B5EF4-FFF2-40B4-BE49-F238E27FC236}">
                        <a16:creationId xmlns:a16="http://schemas.microsoft.com/office/drawing/2014/main" id="{0967F09D-3BF6-2CDD-2C9A-29E737A1C9AE}"/>
                      </a:ext>
                    </a:extLst>
                  </p:cNvPr>
                  <p:cNvSpPr/>
                  <p:nvPr/>
                </p:nvSpPr>
                <p:spPr>
                  <a:xfrm>
                    <a:off x="4095444" y="1770143"/>
                    <a:ext cx="60349" cy="39816"/>
                  </a:xfrm>
                  <a:custGeom>
                    <a:avLst/>
                    <a:gdLst>
                      <a:gd name="connsiteX0" fmla="*/ 0 w 60349"/>
                      <a:gd name="connsiteY0" fmla="*/ 21814 h 39816"/>
                      <a:gd name="connsiteX1" fmla="*/ 14669 w 60349"/>
                      <a:gd name="connsiteY1" fmla="*/ 3812 h 39816"/>
                      <a:gd name="connsiteX2" fmla="*/ 38576 w 60349"/>
                      <a:gd name="connsiteY2" fmla="*/ 1336 h 39816"/>
                      <a:gd name="connsiteX3" fmla="*/ 58960 w 60349"/>
                      <a:gd name="connsiteY3" fmla="*/ 39817 h 3981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60349" h="39816">
                        <a:moveTo>
                          <a:pt x="0" y="21814"/>
                        </a:moveTo>
                        <a:cubicBezTo>
                          <a:pt x="2477" y="13813"/>
                          <a:pt x="7810" y="7527"/>
                          <a:pt x="14669" y="3812"/>
                        </a:cubicBezTo>
                        <a:cubicBezTo>
                          <a:pt x="21717" y="-93"/>
                          <a:pt x="30290" y="-1141"/>
                          <a:pt x="38576" y="1336"/>
                        </a:cubicBezTo>
                        <a:cubicBezTo>
                          <a:pt x="54864" y="6289"/>
                          <a:pt x="64008" y="23529"/>
                          <a:pt x="58960" y="39817"/>
                        </a:cubicBezTo>
                      </a:path>
                    </a:pathLst>
                  </a:custGeom>
                  <a:noFill/>
                  <a:ln w="19050" cap="sq">
                    <a:solidFill>
                      <a:schemeClr val="accent1"/>
                    </a:solidFill>
                    <a:prstDash val="solid"/>
                    <a:miter lim="800000"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</p:grpSp>
        </p:grpSp>
      </p:grpSp>
    </p:spTree>
    <p:extLst>
      <p:ext uri="{BB962C8B-B14F-4D97-AF65-F5344CB8AC3E}">
        <p14:creationId xmlns:p14="http://schemas.microsoft.com/office/powerpoint/2010/main" val="22282868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5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42" presetClass="path" presetSubtype="0" decel="10000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animMotion origin="layout" path="M -3.75E-6 -0.03472 L -3.75E-6 1.85185E-6 " pathEditMode="relative" rAng="0" ptsTypes="AA">
                                      <p:cBhvr>
                                        <p:cTn id="9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736"/>
                                    </p:animMotion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25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42" presetClass="path" presetSubtype="0" decel="10000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animMotion origin="layout" path="M -3.75E-6 -0.03472 L -3.75E-6 1.85185E-6 " pathEditMode="relative" rAng="0" ptsTypes="AA">
                                      <p:cBhvr>
                                        <p:cTn id="14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736"/>
                                    </p:animMotion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25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42" presetClass="path" presetSubtype="0" decel="10000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animMotion origin="layout" path="M -3.75E-6 -0.03472 L -3.75E-6 1.85185E-6 " pathEditMode="relative" rAng="0" ptsTypes="AA">
                                      <p:cBhvr>
                                        <p:cTn id="19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736"/>
                                    </p:animMotion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25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42" presetClass="path" presetSubtype="0" decel="10000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animMotion origin="layout" path="M -3.75E-6 -0.03472 L -3.75E-6 1.85185E-6 " pathEditMode="relative" rAng="0" ptsTypes="AA">
                                      <p:cBhvr>
                                        <p:cTn id="24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736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ítulo 14">
            <a:extLst>
              <a:ext uri="{FF2B5EF4-FFF2-40B4-BE49-F238E27FC236}">
                <a16:creationId xmlns:a16="http://schemas.microsoft.com/office/drawing/2014/main" id="{B1072701-6AC8-68EC-457A-C2F1810E2DA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PT" dirty="0"/>
              <a:t>Ejemplo de título de slide</a:t>
            </a:r>
          </a:p>
        </p:txBody>
      </p:sp>
      <p:sp>
        <p:nvSpPr>
          <p:cNvPr id="16" name="Marcador de Posição do Texto 15">
            <a:extLst>
              <a:ext uri="{FF2B5EF4-FFF2-40B4-BE49-F238E27FC236}">
                <a16:creationId xmlns:a16="http://schemas.microsoft.com/office/drawing/2014/main" id="{F0B22E3C-8E77-430C-5929-ED5BB9A2FFD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>
            <a:normAutofit lnSpcReduction="10000"/>
          </a:bodyPr>
          <a:lstStyle/>
          <a:p>
            <a:r>
              <a:rPr lang="pt-PT" dirty="0"/>
              <a:t>Ejemplo de subtítulo de slide</a:t>
            </a:r>
          </a:p>
        </p:txBody>
      </p:sp>
      <p:sp>
        <p:nvSpPr>
          <p:cNvPr id="17" name="Marcador de Posição do Texto 16">
            <a:extLst>
              <a:ext uri="{FF2B5EF4-FFF2-40B4-BE49-F238E27FC236}">
                <a16:creationId xmlns:a16="http://schemas.microsoft.com/office/drawing/2014/main" id="{4E902DEA-FC92-7323-9B0B-44B1AC292A2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>
            <a:normAutofit/>
          </a:bodyPr>
          <a:lstStyle/>
          <a:p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Lorem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ipsum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dolor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sit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amet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,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consectetuer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adipiscing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elit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.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Maecenas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porttitor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congue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massa. </a:t>
            </a:r>
            <a:r>
              <a:rPr lang="pt-PT" dirty="0" err="1"/>
              <a:t>Fusce</a:t>
            </a:r>
            <a:r>
              <a:rPr lang="pt-PT" dirty="0"/>
              <a:t> </a:t>
            </a:r>
            <a:r>
              <a:rPr lang="pt-PT" dirty="0" err="1"/>
              <a:t>posuere</a:t>
            </a:r>
            <a:r>
              <a:rPr lang="pt-PT" dirty="0"/>
              <a:t>, magna </a:t>
            </a:r>
            <a:r>
              <a:rPr lang="pt-PT" dirty="0" err="1"/>
              <a:t>sed</a:t>
            </a:r>
            <a:r>
              <a:rPr lang="pt-PT" dirty="0"/>
              <a:t> pulvinar </a:t>
            </a:r>
            <a:r>
              <a:rPr lang="pt-PT" dirty="0" err="1"/>
              <a:t>ultricies</a:t>
            </a:r>
            <a:r>
              <a:rPr lang="pt-PT" dirty="0"/>
              <a:t>, purus </a:t>
            </a:r>
            <a:r>
              <a:rPr lang="pt-PT" dirty="0" err="1"/>
              <a:t>lectus</a:t>
            </a:r>
            <a:r>
              <a:rPr lang="pt-PT" dirty="0"/>
              <a:t> </a:t>
            </a:r>
            <a:r>
              <a:rPr lang="pt-PT" dirty="0" err="1"/>
              <a:t>malesuada</a:t>
            </a:r>
            <a:r>
              <a:rPr lang="pt-PT" dirty="0"/>
              <a:t> libero,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r>
              <a:rPr lang="pt-PT" dirty="0"/>
              <a:t> </a:t>
            </a:r>
            <a:r>
              <a:rPr lang="pt-PT" dirty="0" err="1"/>
              <a:t>commodo</a:t>
            </a:r>
            <a:r>
              <a:rPr lang="pt-PT" dirty="0"/>
              <a:t> magna eros quis urna.</a:t>
            </a:r>
          </a:p>
        </p:txBody>
      </p:sp>
      <p:sp>
        <p:nvSpPr>
          <p:cNvPr id="19" name="Marcador de Posição do Texto 18">
            <a:extLst>
              <a:ext uri="{FF2B5EF4-FFF2-40B4-BE49-F238E27FC236}">
                <a16:creationId xmlns:a16="http://schemas.microsoft.com/office/drawing/2014/main" id="{2B3EF986-164C-7967-01CA-5C7B4B8FE6D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Lorem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ipsum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dolor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sit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amet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,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consectetuer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adipiscing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elit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.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Maecenas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porttitor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congue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massa. </a:t>
            </a:r>
            <a:r>
              <a:rPr lang="pt-PT" dirty="0" err="1"/>
              <a:t>Fusce</a:t>
            </a:r>
            <a:r>
              <a:rPr lang="pt-PT" dirty="0"/>
              <a:t> </a:t>
            </a:r>
            <a:r>
              <a:rPr lang="pt-PT" dirty="0" err="1"/>
              <a:t>posuere</a:t>
            </a:r>
            <a:r>
              <a:rPr lang="pt-PT" dirty="0"/>
              <a:t>, magna </a:t>
            </a:r>
            <a:r>
              <a:rPr lang="pt-PT" dirty="0" err="1"/>
              <a:t>sed</a:t>
            </a:r>
            <a:r>
              <a:rPr lang="pt-PT" dirty="0"/>
              <a:t> pulvinar </a:t>
            </a:r>
            <a:r>
              <a:rPr lang="pt-PT" dirty="0" err="1"/>
              <a:t>ultricies</a:t>
            </a:r>
            <a:r>
              <a:rPr lang="pt-PT" dirty="0"/>
              <a:t>, purus </a:t>
            </a:r>
            <a:r>
              <a:rPr lang="pt-PT" dirty="0" err="1"/>
              <a:t>lectus</a:t>
            </a:r>
            <a:r>
              <a:rPr lang="pt-PT" dirty="0"/>
              <a:t> </a:t>
            </a:r>
            <a:r>
              <a:rPr lang="pt-PT" dirty="0" err="1"/>
              <a:t>malesuada</a:t>
            </a:r>
            <a:r>
              <a:rPr lang="pt-PT" dirty="0"/>
              <a:t> libero,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r>
              <a:rPr lang="pt-PT" dirty="0"/>
              <a:t> </a:t>
            </a:r>
            <a:r>
              <a:rPr lang="pt-PT" dirty="0" err="1"/>
              <a:t>commodo</a:t>
            </a:r>
            <a:r>
              <a:rPr lang="pt-PT" dirty="0"/>
              <a:t> magna eros quis urna.</a:t>
            </a:r>
          </a:p>
        </p:txBody>
      </p:sp>
      <p:sp>
        <p:nvSpPr>
          <p:cNvPr id="20" name="Marcador de Posição do Texto 19">
            <a:extLst>
              <a:ext uri="{FF2B5EF4-FFF2-40B4-BE49-F238E27FC236}">
                <a16:creationId xmlns:a16="http://schemas.microsoft.com/office/drawing/2014/main" id="{0EF937C4-8AEE-4B13-11D0-118E53DE743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Lorem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ipsum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dolor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sit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amet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,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consectetuer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adipiscing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elit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.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Maecenas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porttitor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congue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massa. </a:t>
            </a:r>
            <a:r>
              <a:rPr lang="pt-PT" dirty="0" err="1"/>
              <a:t>Fusce</a:t>
            </a:r>
            <a:r>
              <a:rPr lang="pt-PT" dirty="0"/>
              <a:t> </a:t>
            </a:r>
            <a:r>
              <a:rPr lang="pt-PT" dirty="0" err="1"/>
              <a:t>posuere</a:t>
            </a:r>
            <a:r>
              <a:rPr lang="pt-PT" dirty="0"/>
              <a:t>, magna </a:t>
            </a:r>
            <a:r>
              <a:rPr lang="pt-PT" dirty="0" err="1"/>
              <a:t>sed</a:t>
            </a:r>
            <a:r>
              <a:rPr lang="pt-PT" dirty="0"/>
              <a:t> pulvinar </a:t>
            </a:r>
            <a:r>
              <a:rPr lang="pt-PT" dirty="0" err="1"/>
              <a:t>ultricies</a:t>
            </a:r>
            <a:r>
              <a:rPr lang="pt-PT" dirty="0"/>
              <a:t>, purus </a:t>
            </a:r>
            <a:r>
              <a:rPr lang="pt-PT" dirty="0" err="1"/>
              <a:t>lectus</a:t>
            </a:r>
            <a:r>
              <a:rPr lang="pt-PT" dirty="0"/>
              <a:t> </a:t>
            </a:r>
            <a:r>
              <a:rPr lang="pt-PT" dirty="0" err="1"/>
              <a:t>malesuada</a:t>
            </a:r>
            <a:r>
              <a:rPr lang="pt-PT" dirty="0"/>
              <a:t> libero,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r>
              <a:rPr lang="pt-PT" dirty="0"/>
              <a:t> </a:t>
            </a:r>
            <a:r>
              <a:rPr lang="pt-PT" dirty="0" err="1"/>
              <a:t>commodo</a:t>
            </a:r>
            <a:r>
              <a:rPr lang="pt-PT" dirty="0"/>
              <a:t> magna eros quis urna.</a:t>
            </a:r>
          </a:p>
        </p:txBody>
      </p:sp>
      <p:sp>
        <p:nvSpPr>
          <p:cNvPr id="21" name="Marcador de Posição do Texto 20">
            <a:extLst>
              <a:ext uri="{FF2B5EF4-FFF2-40B4-BE49-F238E27FC236}">
                <a16:creationId xmlns:a16="http://schemas.microsoft.com/office/drawing/2014/main" id="{4339C9CA-1506-EE31-4597-AA3E57E7FA3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pt-PT" dirty="0"/>
              <a:t>Texto destacado</a:t>
            </a:r>
          </a:p>
        </p:txBody>
      </p:sp>
      <p:sp>
        <p:nvSpPr>
          <p:cNvPr id="22" name="Marcador de Posição do Texto 21">
            <a:extLst>
              <a:ext uri="{FF2B5EF4-FFF2-40B4-BE49-F238E27FC236}">
                <a16:creationId xmlns:a16="http://schemas.microsoft.com/office/drawing/2014/main" id="{CD0B3F4A-D6F0-A0A0-2A58-5FD02A556319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pt-PT" dirty="0"/>
              <a:t>Texto destacado</a:t>
            </a:r>
          </a:p>
        </p:txBody>
      </p:sp>
      <p:sp>
        <p:nvSpPr>
          <p:cNvPr id="23" name="Marcador de Posição do Texto 22">
            <a:extLst>
              <a:ext uri="{FF2B5EF4-FFF2-40B4-BE49-F238E27FC236}">
                <a16:creationId xmlns:a16="http://schemas.microsoft.com/office/drawing/2014/main" id="{D221D870-A948-E418-7D0A-3CBD9DA958E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pt-PT" dirty="0"/>
              <a:t>Texto destacado</a:t>
            </a:r>
          </a:p>
        </p:txBody>
      </p:sp>
      <p:grpSp>
        <p:nvGrpSpPr>
          <p:cNvPr id="24" name="Agrupar 23">
            <a:extLst>
              <a:ext uri="{FF2B5EF4-FFF2-40B4-BE49-F238E27FC236}">
                <a16:creationId xmlns:a16="http://schemas.microsoft.com/office/drawing/2014/main" id="{BB9EAB7F-0EDC-83D0-E2CC-BFCBEA44BED0}"/>
              </a:ext>
            </a:extLst>
          </p:cNvPr>
          <p:cNvGrpSpPr/>
          <p:nvPr/>
        </p:nvGrpSpPr>
        <p:grpSpPr>
          <a:xfrm>
            <a:off x="773516" y="1949094"/>
            <a:ext cx="308179" cy="336550"/>
            <a:chOff x="6000092" y="1357908"/>
            <a:chExt cx="365300" cy="398929"/>
          </a:xfrm>
        </p:grpSpPr>
        <p:sp>
          <p:nvSpPr>
            <p:cNvPr id="25" name="Forma livre: Forma 24">
              <a:extLst>
                <a:ext uri="{FF2B5EF4-FFF2-40B4-BE49-F238E27FC236}">
                  <a16:creationId xmlns:a16="http://schemas.microsoft.com/office/drawing/2014/main" id="{0896B998-4AF5-C02A-D313-104AAA0909CF}"/>
                </a:ext>
              </a:extLst>
            </p:cNvPr>
            <p:cNvSpPr/>
            <p:nvPr/>
          </p:nvSpPr>
          <p:spPr>
            <a:xfrm>
              <a:off x="6000092" y="1418606"/>
              <a:ext cx="84058" cy="286120"/>
            </a:xfrm>
            <a:custGeom>
              <a:avLst/>
              <a:gdLst>
                <a:gd name="connsiteX0" fmla="*/ 51595 w 84058"/>
                <a:gd name="connsiteY0" fmla="*/ 0 h 286120"/>
                <a:gd name="connsiteX1" fmla="*/ 35266 w 84058"/>
                <a:gd name="connsiteY1" fmla="*/ 61674 h 286120"/>
                <a:gd name="connsiteX2" fmla="*/ 28760 w 84058"/>
                <a:gd name="connsiteY2" fmla="*/ 193415 h 286120"/>
                <a:gd name="connsiteX3" fmla="*/ 84059 w 84058"/>
                <a:gd name="connsiteY3" fmla="*/ 286121 h 2861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4058" h="286120">
                  <a:moveTo>
                    <a:pt x="51595" y="0"/>
                  </a:moveTo>
                  <a:cubicBezTo>
                    <a:pt x="37868" y="7872"/>
                    <a:pt x="26028" y="24852"/>
                    <a:pt x="35266" y="61674"/>
                  </a:cubicBezTo>
                  <a:cubicBezTo>
                    <a:pt x="35266" y="61674"/>
                    <a:pt x="-39549" y="126731"/>
                    <a:pt x="28760" y="193415"/>
                  </a:cubicBezTo>
                  <a:cubicBezTo>
                    <a:pt x="28760" y="193415"/>
                    <a:pt x="9243" y="281242"/>
                    <a:pt x="84059" y="286121"/>
                  </a:cubicBezTo>
                </a:path>
              </a:pathLst>
            </a:custGeom>
            <a:noFill/>
            <a:ln w="19050" cap="sq">
              <a:solidFill>
                <a:srgbClr val="00FF94"/>
              </a:solidFill>
              <a:prstDash val="solid"/>
              <a:miter lim="800000"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26" name="Gráfico 32">
              <a:extLst>
                <a:ext uri="{FF2B5EF4-FFF2-40B4-BE49-F238E27FC236}">
                  <a16:creationId xmlns:a16="http://schemas.microsoft.com/office/drawing/2014/main" id="{E29BE4D3-0FCC-AA6E-C2CA-266A4BC3459D}"/>
                </a:ext>
              </a:extLst>
            </p:cNvPr>
            <p:cNvGrpSpPr/>
            <p:nvPr/>
          </p:nvGrpSpPr>
          <p:grpSpPr>
            <a:xfrm>
              <a:off x="6061121" y="1359924"/>
              <a:ext cx="128487" cy="396366"/>
              <a:chOff x="6061121" y="1359924"/>
              <a:chExt cx="128487" cy="396366"/>
            </a:xfrm>
            <a:noFill/>
          </p:grpSpPr>
          <p:sp>
            <p:nvSpPr>
              <p:cNvPr id="41" name="Forma livre: Forma 40">
                <a:extLst>
                  <a:ext uri="{FF2B5EF4-FFF2-40B4-BE49-F238E27FC236}">
                    <a16:creationId xmlns:a16="http://schemas.microsoft.com/office/drawing/2014/main" id="{42E01EB7-A7FF-7A37-2BDF-1F6F6A9A883E}"/>
                  </a:ext>
                </a:extLst>
              </p:cNvPr>
              <p:cNvSpPr/>
              <p:nvPr/>
            </p:nvSpPr>
            <p:spPr>
              <a:xfrm>
                <a:off x="6083891" y="1359924"/>
                <a:ext cx="105717" cy="396366"/>
              </a:xfrm>
              <a:custGeom>
                <a:avLst/>
                <a:gdLst>
                  <a:gd name="connsiteX0" fmla="*/ 52891 w 105717"/>
                  <a:gd name="connsiteY0" fmla="*/ 105718 h 396366"/>
                  <a:gd name="connsiteX1" fmla="*/ 0 w 105717"/>
                  <a:gd name="connsiteY1" fmla="*/ 52891 h 396366"/>
                  <a:gd name="connsiteX2" fmla="*/ 52891 w 105717"/>
                  <a:gd name="connsiteY2" fmla="*/ 0 h 396366"/>
                  <a:gd name="connsiteX3" fmla="*/ 105718 w 105717"/>
                  <a:gd name="connsiteY3" fmla="*/ 52826 h 396366"/>
                  <a:gd name="connsiteX4" fmla="*/ 105718 w 105717"/>
                  <a:gd name="connsiteY4" fmla="*/ 346884 h 396366"/>
                  <a:gd name="connsiteX5" fmla="*/ 80606 w 105717"/>
                  <a:gd name="connsiteY5" fmla="*/ 388911 h 396366"/>
                  <a:gd name="connsiteX6" fmla="*/ 9238 w 105717"/>
                  <a:gd name="connsiteY6" fmla="*/ 371150 h 396366"/>
                  <a:gd name="connsiteX7" fmla="*/ 15484 w 105717"/>
                  <a:gd name="connsiteY7" fmla="*/ 309216 h 396366"/>
                  <a:gd name="connsiteX8" fmla="*/ 45019 w 105717"/>
                  <a:gd name="connsiteY8" fmla="*/ 277078 h 3963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05717" h="396366">
                    <a:moveTo>
                      <a:pt x="52891" y="105718"/>
                    </a:moveTo>
                    <a:cubicBezTo>
                      <a:pt x="23681" y="105718"/>
                      <a:pt x="0" y="82037"/>
                      <a:pt x="0" y="52891"/>
                    </a:cubicBezTo>
                    <a:cubicBezTo>
                      <a:pt x="0" y="23746"/>
                      <a:pt x="23681" y="0"/>
                      <a:pt x="52891" y="0"/>
                    </a:cubicBezTo>
                    <a:cubicBezTo>
                      <a:pt x="82102" y="0"/>
                      <a:pt x="105718" y="23681"/>
                      <a:pt x="105718" y="52826"/>
                    </a:cubicBezTo>
                    <a:lnTo>
                      <a:pt x="105718" y="346884"/>
                    </a:lnTo>
                    <a:cubicBezTo>
                      <a:pt x="105718" y="364580"/>
                      <a:pt x="96414" y="379413"/>
                      <a:pt x="80606" y="388911"/>
                    </a:cubicBezTo>
                    <a:cubicBezTo>
                      <a:pt x="55949" y="403744"/>
                      <a:pt x="24006" y="395742"/>
                      <a:pt x="9238" y="371150"/>
                    </a:cubicBezTo>
                    <a:cubicBezTo>
                      <a:pt x="-2928" y="350918"/>
                      <a:pt x="260" y="325741"/>
                      <a:pt x="15484" y="309216"/>
                    </a:cubicBezTo>
                    <a:lnTo>
                      <a:pt x="45019" y="277078"/>
                    </a:lnTo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2" name="Forma livre: Forma 41">
                <a:extLst>
                  <a:ext uri="{FF2B5EF4-FFF2-40B4-BE49-F238E27FC236}">
                    <a16:creationId xmlns:a16="http://schemas.microsoft.com/office/drawing/2014/main" id="{4C05C6B9-3B67-6B70-2869-CE6D540766B9}"/>
                  </a:ext>
                </a:extLst>
              </p:cNvPr>
              <p:cNvSpPr/>
              <p:nvPr/>
            </p:nvSpPr>
            <p:spPr>
              <a:xfrm>
                <a:off x="6144784" y="1383865"/>
                <a:ext cx="41563" cy="38963"/>
              </a:xfrm>
              <a:custGeom>
                <a:avLst/>
                <a:gdLst>
                  <a:gd name="connsiteX0" fmla="*/ 36172 w 41563"/>
                  <a:gd name="connsiteY0" fmla="*/ 0 h 38963"/>
                  <a:gd name="connsiteX1" fmla="*/ 39425 w 41563"/>
                  <a:gd name="connsiteY1" fmla="*/ 24266 h 38963"/>
                  <a:gd name="connsiteX2" fmla="*/ 36432 w 41563"/>
                  <a:gd name="connsiteY2" fmla="*/ 29080 h 38963"/>
                  <a:gd name="connsiteX3" fmla="*/ 0 w 41563"/>
                  <a:gd name="connsiteY3" fmla="*/ 33439 h 389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563" h="38963">
                    <a:moveTo>
                      <a:pt x="36172" y="0"/>
                    </a:moveTo>
                    <a:cubicBezTo>
                      <a:pt x="41571" y="7547"/>
                      <a:pt x="43393" y="16004"/>
                      <a:pt x="39425" y="24266"/>
                    </a:cubicBezTo>
                    <a:cubicBezTo>
                      <a:pt x="38644" y="25893"/>
                      <a:pt x="37603" y="27519"/>
                      <a:pt x="36432" y="29080"/>
                    </a:cubicBezTo>
                    <a:cubicBezTo>
                      <a:pt x="27584" y="40270"/>
                      <a:pt x="11190" y="42287"/>
                      <a:pt x="0" y="33439"/>
                    </a:cubicBezTo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3" name="Forma livre: Forma 42">
                <a:extLst>
                  <a:ext uri="{FF2B5EF4-FFF2-40B4-BE49-F238E27FC236}">
                    <a16:creationId xmlns:a16="http://schemas.microsoft.com/office/drawing/2014/main" id="{F640811B-C830-8C44-2D82-E5FE36AC1E8B}"/>
                  </a:ext>
                </a:extLst>
              </p:cNvPr>
              <p:cNvSpPr/>
              <p:nvPr/>
            </p:nvSpPr>
            <p:spPr>
              <a:xfrm>
                <a:off x="6081487" y="1460806"/>
                <a:ext cx="34217" cy="54474"/>
              </a:xfrm>
              <a:custGeom>
                <a:avLst/>
                <a:gdLst>
                  <a:gd name="connsiteX0" fmla="*/ 21076 w 34217"/>
                  <a:gd name="connsiteY0" fmla="*/ 54475 h 54474"/>
                  <a:gd name="connsiteX1" fmla="*/ 778 w 34217"/>
                  <a:gd name="connsiteY1" fmla="*/ 21035 h 54474"/>
                  <a:gd name="connsiteX2" fmla="*/ 34217 w 34217"/>
                  <a:gd name="connsiteY2" fmla="*/ 803 h 544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4217" h="54474">
                    <a:moveTo>
                      <a:pt x="21076" y="54475"/>
                    </a:moveTo>
                    <a:cubicBezTo>
                      <a:pt x="6308" y="50832"/>
                      <a:pt x="-2800" y="35803"/>
                      <a:pt x="778" y="21035"/>
                    </a:cubicBezTo>
                    <a:cubicBezTo>
                      <a:pt x="4421" y="6267"/>
                      <a:pt x="19449" y="-2841"/>
                      <a:pt x="34217" y="803"/>
                    </a:cubicBezTo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4" name="Forma livre: Forma 43">
                <a:extLst>
                  <a:ext uri="{FF2B5EF4-FFF2-40B4-BE49-F238E27FC236}">
                    <a16:creationId xmlns:a16="http://schemas.microsoft.com/office/drawing/2014/main" id="{67823AF6-7FC1-C937-03E1-A5A9753DC324}"/>
                  </a:ext>
                </a:extLst>
              </p:cNvPr>
              <p:cNvSpPr/>
              <p:nvPr/>
            </p:nvSpPr>
            <p:spPr>
              <a:xfrm>
                <a:off x="6073547" y="1527543"/>
                <a:ext cx="114760" cy="72506"/>
              </a:xfrm>
              <a:custGeom>
                <a:avLst/>
                <a:gdLst>
                  <a:gd name="connsiteX0" fmla="*/ 114760 w 114760"/>
                  <a:gd name="connsiteY0" fmla="*/ 7254 h 72506"/>
                  <a:gd name="connsiteX1" fmla="*/ 73905 w 114760"/>
                  <a:gd name="connsiteY1" fmla="*/ 8881 h 72506"/>
                  <a:gd name="connsiteX2" fmla="*/ 0 w 114760"/>
                  <a:gd name="connsiteY2" fmla="*/ 72506 h 725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14760" h="72506">
                    <a:moveTo>
                      <a:pt x="114760" y="7254"/>
                    </a:moveTo>
                    <a:cubicBezTo>
                      <a:pt x="103375" y="-2830"/>
                      <a:pt x="83989" y="-2504"/>
                      <a:pt x="73905" y="8881"/>
                    </a:cubicBezTo>
                    <a:cubicBezTo>
                      <a:pt x="73905" y="8881"/>
                      <a:pt x="31488" y="72506"/>
                      <a:pt x="0" y="72506"/>
                    </a:cubicBezTo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5" name="Forma livre: Forma 44">
                <a:extLst>
                  <a:ext uri="{FF2B5EF4-FFF2-40B4-BE49-F238E27FC236}">
                    <a16:creationId xmlns:a16="http://schemas.microsoft.com/office/drawing/2014/main" id="{CCCF9C27-E826-78E9-A27A-BE9C521ACE5D}"/>
                  </a:ext>
                </a:extLst>
              </p:cNvPr>
              <p:cNvSpPr/>
              <p:nvPr/>
            </p:nvSpPr>
            <p:spPr>
              <a:xfrm>
                <a:off x="6079857" y="1646956"/>
                <a:ext cx="29405" cy="9823"/>
              </a:xfrm>
              <a:custGeom>
                <a:avLst/>
                <a:gdLst>
                  <a:gd name="connsiteX0" fmla="*/ 0 w 29405"/>
                  <a:gd name="connsiteY0" fmla="*/ 0 h 9823"/>
                  <a:gd name="connsiteX1" fmla="*/ 29406 w 29405"/>
                  <a:gd name="connsiteY1" fmla="*/ 9824 h 98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9405" h="9823">
                    <a:moveTo>
                      <a:pt x="0" y="0"/>
                    </a:moveTo>
                    <a:lnTo>
                      <a:pt x="29406" y="9824"/>
                    </a:lnTo>
                  </a:path>
                </a:pathLst>
              </a:custGeom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6" name="Forma livre: Forma 45">
                <a:extLst>
                  <a:ext uri="{FF2B5EF4-FFF2-40B4-BE49-F238E27FC236}">
                    <a16:creationId xmlns:a16="http://schemas.microsoft.com/office/drawing/2014/main" id="{1DF18CA2-D0B6-5902-84CB-D9036E38521C}"/>
                  </a:ext>
                </a:extLst>
              </p:cNvPr>
              <p:cNvSpPr/>
              <p:nvPr/>
            </p:nvSpPr>
            <p:spPr>
              <a:xfrm>
                <a:off x="6061121" y="1545272"/>
                <a:ext cx="47166" cy="34154"/>
              </a:xfrm>
              <a:custGeom>
                <a:avLst/>
                <a:gdLst>
                  <a:gd name="connsiteX0" fmla="*/ 0 w 47166"/>
                  <a:gd name="connsiteY0" fmla="*/ 0 h 34154"/>
                  <a:gd name="connsiteX1" fmla="*/ 47166 w 47166"/>
                  <a:gd name="connsiteY1" fmla="*/ 34155 h 341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166" h="34154">
                    <a:moveTo>
                      <a:pt x="0" y="0"/>
                    </a:moveTo>
                    <a:cubicBezTo>
                      <a:pt x="0" y="0"/>
                      <a:pt x="27649" y="13011"/>
                      <a:pt x="47166" y="34155"/>
                    </a:cubicBezTo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27" name="Gráfico 32">
              <a:extLst>
                <a:ext uri="{FF2B5EF4-FFF2-40B4-BE49-F238E27FC236}">
                  <a16:creationId xmlns:a16="http://schemas.microsoft.com/office/drawing/2014/main" id="{6B36317D-BA62-4819-D0AE-B3A55775729A}"/>
                </a:ext>
              </a:extLst>
            </p:cNvPr>
            <p:cNvGrpSpPr/>
            <p:nvPr/>
          </p:nvGrpSpPr>
          <p:grpSpPr>
            <a:xfrm>
              <a:off x="6191625" y="1599725"/>
              <a:ext cx="173767" cy="157112"/>
              <a:chOff x="6191625" y="1599725"/>
              <a:chExt cx="173767" cy="157112"/>
            </a:xfrm>
            <a:noFill/>
          </p:grpSpPr>
          <p:sp>
            <p:nvSpPr>
              <p:cNvPr id="37" name="Forma livre: Forma 36">
                <a:extLst>
                  <a:ext uri="{FF2B5EF4-FFF2-40B4-BE49-F238E27FC236}">
                    <a16:creationId xmlns:a16="http://schemas.microsoft.com/office/drawing/2014/main" id="{AE6E07B4-0D50-2AB5-107E-F386E0EC5390}"/>
                  </a:ext>
                </a:extLst>
              </p:cNvPr>
              <p:cNvSpPr/>
              <p:nvPr/>
            </p:nvSpPr>
            <p:spPr>
              <a:xfrm>
                <a:off x="6310094" y="1621974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8" name="Forma livre: Forma 37">
                <a:extLst>
                  <a:ext uri="{FF2B5EF4-FFF2-40B4-BE49-F238E27FC236}">
                    <a16:creationId xmlns:a16="http://schemas.microsoft.com/office/drawing/2014/main" id="{5A909848-29E7-74E8-27F2-38160BC1FDC7}"/>
                  </a:ext>
                </a:extLst>
              </p:cNvPr>
              <p:cNvSpPr/>
              <p:nvPr/>
            </p:nvSpPr>
            <p:spPr>
              <a:xfrm>
                <a:off x="6191625" y="1599725"/>
                <a:ext cx="118078" cy="49898"/>
              </a:xfrm>
              <a:custGeom>
                <a:avLst/>
                <a:gdLst>
                  <a:gd name="connsiteX0" fmla="*/ 0 w 118078"/>
                  <a:gd name="connsiteY0" fmla="*/ 0 h 49898"/>
                  <a:gd name="connsiteX1" fmla="*/ 37343 w 118078"/>
                  <a:gd name="connsiteY1" fmla="*/ 0 h 49898"/>
                  <a:gd name="connsiteX2" fmla="*/ 87176 w 118078"/>
                  <a:gd name="connsiteY2" fmla="*/ 49899 h 49898"/>
                  <a:gd name="connsiteX3" fmla="*/ 118078 w 118078"/>
                  <a:gd name="connsiteY3" fmla="*/ 49899 h 49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8078" h="49898">
                    <a:moveTo>
                      <a:pt x="0" y="0"/>
                    </a:moveTo>
                    <a:lnTo>
                      <a:pt x="37343" y="0"/>
                    </a:lnTo>
                    <a:lnTo>
                      <a:pt x="87176" y="49899"/>
                    </a:lnTo>
                    <a:lnTo>
                      <a:pt x="118078" y="49899"/>
                    </a:lnTo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9" name="Forma livre: Forma 38">
                <a:extLst>
                  <a:ext uri="{FF2B5EF4-FFF2-40B4-BE49-F238E27FC236}">
                    <a16:creationId xmlns:a16="http://schemas.microsoft.com/office/drawing/2014/main" id="{65AEF7CC-1627-B372-FFA2-B26D4BBBB35D}"/>
                  </a:ext>
                </a:extLst>
              </p:cNvPr>
              <p:cNvSpPr/>
              <p:nvPr/>
            </p:nvSpPr>
            <p:spPr>
              <a:xfrm>
                <a:off x="6191625" y="1665367"/>
                <a:ext cx="81906" cy="44108"/>
              </a:xfrm>
              <a:custGeom>
                <a:avLst/>
                <a:gdLst>
                  <a:gd name="connsiteX0" fmla="*/ 0 w 81906"/>
                  <a:gd name="connsiteY0" fmla="*/ 0 h 44108"/>
                  <a:gd name="connsiteX1" fmla="*/ 37343 w 81906"/>
                  <a:gd name="connsiteY1" fmla="*/ 0 h 44108"/>
                  <a:gd name="connsiteX2" fmla="*/ 81907 w 81906"/>
                  <a:gd name="connsiteY2" fmla="*/ 44109 h 441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1906" h="44108">
                    <a:moveTo>
                      <a:pt x="0" y="0"/>
                    </a:moveTo>
                    <a:lnTo>
                      <a:pt x="37343" y="0"/>
                    </a:lnTo>
                    <a:lnTo>
                      <a:pt x="81907" y="44109"/>
                    </a:lnTo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0" name="Forma livre: Forma 39">
                <a:extLst>
                  <a:ext uri="{FF2B5EF4-FFF2-40B4-BE49-F238E27FC236}">
                    <a16:creationId xmlns:a16="http://schemas.microsoft.com/office/drawing/2014/main" id="{84E2EEE3-DF3A-5425-0CF7-C674DC0E9BB6}"/>
                  </a:ext>
                </a:extLst>
              </p:cNvPr>
              <p:cNvSpPr/>
              <p:nvPr/>
            </p:nvSpPr>
            <p:spPr>
              <a:xfrm>
                <a:off x="6265075" y="1701539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28" name="Gráfico 32">
              <a:extLst>
                <a:ext uri="{FF2B5EF4-FFF2-40B4-BE49-F238E27FC236}">
                  <a16:creationId xmlns:a16="http://schemas.microsoft.com/office/drawing/2014/main" id="{298D0B9A-5394-6788-A109-56FFCC4EA63B}"/>
                </a:ext>
              </a:extLst>
            </p:cNvPr>
            <p:cNvGrpSpPr/>
            <p:nvPr/>
          </p:nvGrpSpPr>
          <p:grpSpPr>
            <a:xfrm>
              <a:off x="6191625" y="1357908"/>
              <a:ext cx="173767" cy="157112"/>
              <a:chOff x="6191625" y="1357908"/>
              <a:chExt cx="173767" cy="157112"/>
            </a:xfrm>
            <a:noFill/>
          </p:grpSpPr>
          <p:sp>
            <p:nvSpPr>
              <p:cNvPr id="33" name="Forma livre: Forma 32">
                <a:extLst>
                  <a:ext uri="{FF2B5EF4-FFF2-40B4-BE49-F238E27FC236}">
                    <a16:creationId xmlns:a16="http://schemas.microsoft.com/office/drawing/2014/main" id="{D3162FB5-FC93-D68D-0159-FEB2B0568FA7}"/>
                  </a:ext>
                </a:extLst>
              </p:cNvPr>
              <p:cNvSpPr/>
              <p:nvPr/>
            </p:nvSpPr>
            <p:spPr>
              <a:xfrm>
                <a:off x="6310094" y="1437472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0 h 55298"/>
                  <a:gd name="connsiteX2" fmla="*/ 0 w 55298"/>
                  <a:gd name="connsiteY2" fmla="*/ 27649 h 55298"/>
                  <a:gd name="connsiteX3" fmla="*/ 27649 w 55298"/>
                  <a:gd name="connsiteY3" fmla="*/ 55298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12361"/>
                      <a:pt x="42938" y="0"/>
                      <a:pt x="27649" y="0"/>
                    </a:cubicBezTo>
                    <a:cubicBezTo>
                      <a:pt x="12361" y="0"/>
                      <a:pt x="0" y="12361"/>
                      <a:pt x="0" y="27649"/>
                    </a:cubicBezTo>
                    <a:cubicBezTo>
                      <a:pt x="0" y="42938"/>
                      <a:pt x="12361" y="55298"/>
                      <a:pt x="27649" y="55298"/>
                    </a:cubicBezTo>
                    <a:cubicBezTo>
                      <a:pt x="42938" y="55298"/>
                      <a:pt x="55298" y="42938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4" name="Forma livre: Forma 33">
                <a:extLst>
                  <a:ext uri="{FF2B5EF4-FFF2-40B4-BE49-F238E27FC236}">
                    <a16:creationId xmlns:a16="http://schemas.microsoft.com/office/drawing/2014/main" id="{DEB7DA3E-3FD4-D25C-139C-EB4C9C966CA3}"/>
                  </a:ext>
                </a:extLst>
              </p:cNvPr>
              <p:cNvSpPr/>
              <p:nvPr/>
            </p:nvSpPr>
            <p:spPr>
              <a:xfrm>
                <a:off x="6191625" y="1465122"/>
                <a:ext cx="118468" cy="49898"/>
              </a:xfrm>
              <a:custGeom>
                <a:avLst/>
                <a:gdLst>
                  <a:gd name="connsiteX0" fmla="*/ 0 w 118468"/>
                  <a:gd name="connsiteY0" fmla="*/ 49899 h 49898"/>
                  <a:gd name="connsiteX1" fmla="*/ 37343 w 118468"/>
                  <a:gd name="connsiteY1" fmla="*/ 49899 h 49898"/>
                  <a:gd name="connsiteX2" fmla="*/ 87176 w 118468"/>
                  <a:gd name="connsiteY2" fmla="*/ 0 h 49898"/>
                  <a:gd name="connsiteX3" fmla="*/ 118469 w 118468"/>
                  <a:gd name="connsiteY3" fmla="*/ 0 h 49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8468" h="49898">
                    <a:moveTo>
                      <a:pt x="0" y="49899"/>
                    </a:moveTo>
                    <a:lnTo>
                      <a:pt x="37343" y="49899"/>
                    </a:lnTo>
                    <a:lnTo>
                      <a:pt x="87176" y="0"/>
                    </a:lnTo>
                    <a:lnTo>
                      <a:pt x="118469" y="0"/>
                    </a:lnTo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5" name="Forma livre: Forma 34">
                <a:extLst>
                  <a:ext uri="{FF2B5EF4-FFF2-40B4-BE49-F238E27FC236}">
                    <a16:creationId xmlns:a16="http://schemas.microsoft.com/office/drawing/2014/main" id="{99772967-EE2F-54EB-4B25-7BAEFAE0DE5B}"/>
                  </a:ext>
                </a:extLst>
              </p:cNvPr>
              <p:cNvSpPr/>
              <p:nvPr/>
            </p:nvSpPr>
            <p:spPr>
              <a:xfrm>
                <a:off x="6191625" y="1405269"/>
                <a:ext cx="81451" cy="44043"/>
              </a:xfrm>
              <a:custGeom>
                <a:avLst/>
                <a:gdLst>
                  <a:gd name="connsiteX0" fmla="*/ 0 w 81451"/>
                  <a:gd name="connsiteY0" fmla="*/ 44044 h 44043"/>
                  <a:gd name="connsiteX1" fmla="*/ 37343 w 81451"/>
                  <a:gd name="connsiteY1" fmla="*/ 44044 h 44043"/>
                  <a:gd name="connsiteX2" fmla="*/ 81451 w 81451"/>
                  <a:gd name="connsiteY2" fmla="*/ 0 h 440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1451" h="44043">
                    <a:moveTo>
                      <a:pt x="0" y="44044"/>
                    </a:moveTo>
                    <a:lnTo>
                      <a:pt x="37343" y="44044"/>
                    </a:lnTo>
                    <a:lnTo>
                      <a:pt x="81451" y="0"/>
                    </a:lnTo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6" name="Forma livre: Forma 35">
                <a:extLst>
                  <a:ext uri="{FF2B5EF4-FFF2-40B4-BE49-F238E27FC236}">
                    <a16:creationId xmlns:a16="http://schemas.microsoft.com/office/drawing/2014/main" id="{9DCDB256-BD19-CAEB-7B6C-3C9CE0A86F3D}"/>
                  </a:ext>
                </a:extLst>
              </p:cNvPr>
              <p:cNvSpPr/>
              <p:nvPr/>
            </p:nvSpPr>
            <p:spPr>
              <a:xfrm>
                <a:off x="6265075" y="1357908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0 h 55298"/>
                  <a:gd name="connsiteX2" fmla="*/ 0 w 55298"/>
                  <a:gd name="connsiteY2" fmla="*/ 27649 h 55298"/>
                  <a:gd name="connsiteX3" fmla="*/ 27649 w 55298"/>
                  <a:gd name="connsiteY3" fmla="*/ 55298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12361"/>
                      <a:pt x="42938" y="0"/>
                      <a:pt x="27649" y="0"/>
                    </a:cubicBezTo>
                    <a:cubicBezTo>
                      <a:pt x="12361" y="0"/>
                      <a:pt x="0" y="12361"/>
                      <a:pt x="0" y="27649"/>
                    </a:cubicBezTo>
                    <a:cubicBezTo>
                      <a:pt x="0" y="42938"/>
                      <a:pt x="12361" y="55298"/>
                      <a:pt x="27649" y="55298"/>
                    </a:cubicBezTo>
                    <a:cubicBezTo>
                      <a:pt x="42938" y="55298"/>
                      <a:pt x="55298" y="42938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29" name="Gráfico 32">
              <a:extLst>
                <a:ext uri="{FF2B5EF4-FFF2-40B4-BE49-F238E27FC236}">
                  <a16:creationId xmlns:a16="http://schemas.microsoft.com/office/drawing/2014/main" id="{95F33BEA-C98F-DE45-C777-791CE95AD561}"/>
                </a:ext>
              </a:extLst>
            </p:cNvPr>
            <p:cNvGrpSpPr/>
            <p:nvPr/>
          </p:nvGrpSpPr>
          <p:grpSpPr>
            <a:xfrm>
              <a:off x="6190910" y="1529723"/>
              <a:ext cx="123673" cy="55298"/>
              <a:chOff x="6190910" y="1529723"/>
              <a:chExt cx="123673" cy="55298"/>
            </a:xfrm>
            <a:noFill/>
          </p:grpSpPr>
          <p:sp>
            <p:nvSpPr>
              <p:cNvPr id="31" name="Forma livre: Forma 30">
                <a:extLst>
                  <a:ext uri="{FF2B5EF4-FFF2-40B4-BE49-F238E27FC236}">
                    <a16:creationId xmlns:a16="http://schemas.microsoft.com/office/drawing/2014/main" id="{00306717-1E44-72A4-B311-76AD64520499}"/>
                  </a:ext>
                </a:extLst>
              </p:cNvPr>
              <p:cNvSpPr/>
              <p:nvPr/>
            </p:nvSpPr>
            <p:spPr>
              <a:xfrm>
                <a:off x="6190910" y="1557372"/>
                <a:ext cx="68765" cy="6505"/>
              </a:xfrm>
              <a:custGeom>
                <a:avLst/>
                <a:gdLst>
                  <a:gd name="connsiteX0" fmla="*/ 0 w 68765"/>
                  <a:gd name="connsiteY0" fmla="*/ 0 h 6505"/>
                  <a:gd name="connsiteX1" fmla="*/ 68765 w 68765"/>
                  <a:gd name="connsiteY1" fmla="*/ 0 h 65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8765" h="6505">
                    <a:moveTo>
                      <a:pt x="0" y="0"/>
                    </a:moveTo>
                    <a:lnTo>
                      <a:pt x="68765" y="0"/>
                    </a:lnTo>
                  </a:path>
                </a:pathLst>
              </a:custGeom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2" name="Forma livre: Forma 31">
                <a:extLst>
                  <a:ext uri="{FF2B5EF4-FFF2-40B4-BE49-F238E27FC236}">
                    <a16:creationId xmlns:a16="http://schemas.microsoft.com/office/drawing/2014/main" id="{19474415-BF0F-98FE-2517-BFA5A7078AA2}"/>
                  </a:ext>
                </a:extLst>
              </p:cNvPr>
              <p:cNvSpPr/>
              <p:nvPr/>
            </p:nvSpPr>
            <p:spPr>
              <a:xfrm>
                <a:off x="6259285" y="1529723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30" name="Forma livre: Forma 29">
              <a:extLst>
                <a:ext uri="{FF2B5EF4-FFF2-40B4-BE49-F238E27FC236}">
                  <a16:creationId xmlns:a16="http://schemas.microsoft.com/office/drawing/2014/main" id="{8CAEA255-115E-8DFF-4554-37003AB7DDA1}"/>
                </a:ext>
              </a:extLst>
            </p:cNvPr>
            <p:cNvSpPr/>
            <p:nvPr/>
          </p:nvSpPr>
          <p:spPr>
            <a:xfrm>
              <a:off x="6152201" y="1686285"/>
              <a:ext cx="37362" cy="20848"/>
            </a:xfrm>
            <a:custGeom>
              <a:avLst/>
              <a:gdLst>
                <a:gd name="connsiteX0" fmla="*/ 0 w 37362"/>
                <a:gd name="connsiteY0" fmla="*/ 10505 h 20848"/>
                <a:gd name="connsiteX1" fmla="*/ 27064 w 37362"/>
                <a:gd name="connsiteY1" fmla="*/ 2373 h 20848"/>
                <a:gd name="connsiteX2" fmla="*/ 37343 w 37362"/>
                <a:gd name="connsiteY2" fmla="*/ 20849 h 20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7362" h="20848">
                  <a:moveTo>
                    <a:pt x="0" y="10505"/>
                  </a:moveTo>
                  <a:cubicBezTo>
                    <a:pt x="5205" y="811"/>
                    <a:pt x="17435" y="-2832"/>
                    <a:pt x="27064" y="2373"/>
                  </a:cubicBezTo>
                  <a:cubicBezTo>
                    <a:pt x="34025" y="6081"/>
                    <a:pt x="37668" y="13432"/>
                    <a:pt x="37343" y="20849"/>
                  </a:cubicBezTo>
                </a:path>
              </a:pathLst>
            </a:custGeom>
            <a:noFill/>
            <a:ln w="19050" cap="sq">
              <a:solidFill>
                <a:srgbClr val="00FF94"/>
              </a:solidFill>
              <a:prstDash val="solid"/>
              <a:miter lim="800000"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47" name="Agrupar 46">
            <a:extLst>
              <a:ext uri="{FF2B5EF4-FFF2-40B4-BE49-F238E27FC236}">
                <a16:creationId xmlns:a16="http://schemas.microsoft.com/office/drawing/2014/main" id="{7465EC27-3682-C922-F231-41308A4F399E}"/>
              </a:ext>
            </a:extLst>
          </p:cNvPr>
          <p:cNvGrpSpPr/>
          <p:nvPr/>
        </p:nvGrpSpPr>
        <p:grpSpPr>
          <a:xfrm>
            <a:off x="773516" y="3521558"/>
            <a:ext cx="308179" cy="336550"/>
            <a:chOff x="6000092" y="1357908"/>
            <a:chExt cx="365300" cy="398929"/>
          </a:xfrm>
        </p:grpSpPr>
        <p:sp>
          <p:nvSpPr>
            <p:cNvPr id="48" name="Forma livre: Forma 47">
              <a:extLst>
                <a:ext uri="{FF2B5EF4-FFF2-40B4-BE49-F238E27FC236}">
                  <a16:creationId xmlns:a16="http://schemas.microsoft.com/office/drawing/2014/main" id="{97F57467-8D7C-E10C-A7B0-6C851573307E}"/>
                </a:ext>
              </a:extLst>
            </p:cNvPr>
            <p:cNvSpPr/>
            <p:nvPr/>
          </p:nvSpPr>
          <p:spPr>
            <a:xfrm>
              <a:off x="6000092" y="1418606"/>
              <a:ext cx="84058" cy="286120"/>
            </a:xfrm>
            <a:custGeom>
              <a:avLst/>
              <a:gdLst>
                <a:gd name="connsiteX0" fmla="*/ 51595 w 84058"/>
                <a:gd name="connsiteY0" fmla="*/ 0 h 286120"/>
                <a:gd name="connsiteX1" fmla="*/ 35266 w 84058"/>
                <a:gd name="connsiteY1" fmla="*/ 61674 h 286120"/>
                <a:gd name="connsiteX2" fmla="*/ 28760 w 84058"/>
                <a:gd name="connsiteY2" fmla="*/ 193415 h 286120"/>
                <a:gd name="connsiteX3" fmla="*/ 84059 w 84058"/>
                <a:gd name="connsiteY3" fmla="*/ 286121 h 2861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4058" h="286120">
                  <a:moveTo>
                    <a:pt x="51595" y="0"/>
                  </a:moveTo>
                  <a:cubicBezTo>
                    <a:pt x="37868" y="7872"/>
                    <a:pt x="26028" y="24852"/>
                    <a:pt x="35266" y="61674"/>
                  </a:cubicBezTo>
                  <a:cubicBezTo>
                    <a:pt x="35266" y="61674"/>
                    <a:pt x="-39549" y="126731"/>
                    <a:pt x="28760" y="193415"/>
                  </a:cubicBezTo>
                  <a:cubicBezTo>
                    <a:pt x="28760" y="193415"/>
                    <a:pt x="9243" y="281242"/>
                    <a:pt x="84059" y="286121"/>
                  </a:cubicBezTo>
                </a:path>
              </a:pathLst>
            </a:custGeom>
            <a:noFill/>
            <a:ln w="19050" cap="sq">
              <a:solidFill>
                <a:srgbClr val="00FF94"/>
              </a:solidFill>
              <a:prstDash val="solid"/>
              <a:miter lim="800000"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49" name="Gráfico 32">
              <a:extLst>
                <a:ext uri="{FF2B5EF4-FFF2-40B4-BE49-F238E27FC236}">
                  <a16:creationId xmlns:a16="http://schemas.microsoft.com/office/drawing/2014/main" id="{C956FB22-79FE-B538-472B-F182CEB104BD}"/>
                </a:ext>
              </a:extLst>
            </p:cNvPr>
            <p:cNvGrpSpPr/>
            <p:nvPr/>
          </p:nvGrpSpPr>
          <p:grpSpPr>
            <a:xfrm>
              <a:off x="6061121" y="1359924"/>
              <a:ext cx="128487" cy="396366"/>
              <a:chOff x="6061121" y="1359924"/>
              <a:chExt cx="128487" cy="396366"/>
            </a:xfrm>
            <a:noFill/>
          </p:grpSpPr>
          <p:sp>
            <p:nvSpPr>
              <p:cNvPr id="64" name="Forma livre: Forma 63">
                <a:extLst>
                  <a:ext uri="{FF2B5EF4-FFF2-40B4-BE49-F238E27FC236}">
                    <a16:creationId xmlns:a16="http://schemas.microsoft.com/office/drawing/2014/main" id="{94743B38-BAB3-A953-CCF1-C65D7F3FFB02}"/>
                  </a:ext>
                </a:extLst>
              </p:cNvPr>
              <p:cNvSpPr/>
              <p:nvPr/>
            </p:nvSpPr>
            <p:spPr>
              <a:xfrm>
                <a:off x="6083891" y="1359924"/>
                <a:ext cx="105717" cy="396366"/>
              </a:xfrm>
              <a:custGeom>
                <a:avLst/>
                <a:gdLst>
                  <a:gd name="connsiteX0" fmla="*/ 52891 w 105717"/>
                  <a:gd name="connsiteY0" fmla="*/ 105718 h 396366"/>
                  <a:gd name="connsiteX1" fmla="*/ 0 w 105717"/>
                  <a:gd name="connsiteY1" fmla="*/ 52891 h 396366"/>
                  <a:gd name="connsiteX2" fmla="*/ 52891 w 105717"/>
                  <a:gd name="connsiteY2" fmla="*/ 0 h 396366"/>
                  <a:gd name="connsiteX3" fmla="*/ 105718 w 105717"/>
                  <a:gd name="connsiteY3" fmla="*/ 52826 h 396366"/>
                  <a:gd name="connsiteX4" fmla="*/ 105718 w 105717"/>
                  <a:gd name="connsiteY4" fmla="*/ 346884 h 396366"/>
                  <a:gd name="connsiteX5" fmla="*/ 80606 w 105717"/>
                  <a:gd name="connsiteY5" fmla="*/ 388911 h 396366"/>
                  <a:gd name="connsiteX6" fmla="*/ 9238 w 105717"/>
                  <a:gd name="connsiteY6" fmla="*/ 371150 h 396366"/>
                  <a:gd name="connsiteX7" fmla="*/ 15484 w 105717"/>
                  <a:gd name="connsiteY7" fmla="*/ 309216 h 396366"/>
                  <a:gd name="connsiteX8" fmla="*/ 45019 w 105717"/>
                  <a:gd name="connsiteY8" fmla="*/ 277078 h 3963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05717" h="396366">
                    <a:moveTo>
                      <a:pt x="52891" y="105718"/>
                    </a:moveTo>
                    <a:cubicBezTo>
                      <a:pt x="23681" y="105718"/>
                      <a:pt x="0" y="82037"/>
                      <a:pt x="0" y="52891"/>
                    </a:cubicBezTo>
                    <a:cubicBezTo>
                      <a:pt x="0" y="23746"/>
                      <a:pt x="23681" y="0"/>
                      <a:pt x="52891" y="0"/>
                    </a:cubicBezTo>
                    <a:cubicBezTo>
                      <a:pt x="82102" y="0"/>
                      <a:pt x="105718" y="23681"/>
                      <a:pt x="105718" y="52826"/>
                    </a:cubicBezTo>
                    <a:lnTo>
                      <a:pt x="105718" y="346884"/>
                    </a:lnTo>
                    <a:cubicBezTo>
                      <a:pt x="105718" y="364580"/>
                      <a:pt x="96414" y="379413"/>
                      <a:pt x="80606" y="388911"/>
                    </a:cubicBezTo>
                    <a:cubicBezTo>
                      <a:pt x="55949" y="403744"/>
                      <a:pt x="24006" y="395742"/>
                      <a:pt x="9238" y="371150"/>
                    </a:cubicBezTo>
                    <a:cubicBezTo>
                      <a:pt x="-2928" y="350918"/>
                      <a:pt x="260" y="325741"/>
                      <a:pt x="15484" y="309216"/>
                    </a:cubicBezTo>
                    <a:lnTo>
                      <a:pt x="45019" y="277078"/>
                    </a:lnTo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65" name="Forma livre: Forma 64">
                <a:extLst>
                  <a:ext uri="{FF2B5EF4-FFF2-40B4-BE49-F238E27FC236}">
                    <a16:creationId xmlns:a16="http://schemas.microsoft.com/office/drawing/2014/main" id="{89032C31-2BA4-1D66-FAF0-B0A7A8F47684}"/>
                  </a:ext>
                </a:extLst>
              </p:cNvPr>
              <p:cNvSpPr/>
              <p:nvPr/>
            </p:nvSpPr>
            <p:spPr>
              <a:xfrm>
                <a:off x="6144784" y="1383865"/>
                <a:ext cx="41563" cy="38963"/>
              </a:xfrm>
              <a:custGeom>
                <a:avLst/>
                <a:gdLst>
                  <a:gd name="connsiteX0" fmla="*/ 36172 w 41563"/>
                  <a:gd name="connsiteY0" fmla="*/ 0 h 38963"/>
                  <a:gd name="connsiteX1" fmla="*/ 39425 w 41563"/>
                  <a:gd name="connsiteY1" fmla="*/ 24266 h 38963"/>
                  <a:gd name="connsiteX2" fmla="*/ 36432 w 41563"/>
                  <a:gd name="connsiteY2" fmla="*/ 29080 h 38963"/>
                  <a:gd name="connsiteX3" fmla="*/ 0 w 41563"/>
                  <a:gd name="connsiteY3" fmla="*/ 33439 h 389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563" h="38963">
                    <a:moveTo>
                      <a:pt x="36172" y="0"/>
                    </a:moveTo>
                    <a:cubicBezTo>
                      <a:pt x="41571" y="7547"/>
                      <a:pt x="43393" y="16004"/>
                      <a:pt x="39425" y="24266"/>
                    </a:cubicBezTo>
                    <a:cubicBezTo>
                      <a:pt x="38644" y="25893"/>
                      <a:pt x="37603" y="27519"/>
                      <a:pt x="36432" y="29080"/>
                    </a:cubicBezTo>
                    <a:cubicBezTo>
                      <a:pt x="27584" y="40270"/>
                      <a:pt x="11190" y="42287"/>
                      <a:pt x="0" y="33439"/>
                    </a:cubicBezTo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66" name="Forma livre: Forma 65">
                <a:extLst>
                  <a:ext uri="{FF2B5EF4-FFF2-40B4-BE49-F238E27FC236}">
                    <a16:creationId xmlns:a16="http://schemas.microsoft.com/office/drawing/2014/main" id="{BCFCF7B2-50C2-EE2C-9199-BB9CAC813C3D}"/>
                  </a:ext>
                </a:extLst>
              </p:cNvPr>
              <p:cNvSpPr/>
              <p:nvPr/>
            </p:nvSpPr>
            <p:spPr>
              <a:xfrm>
                <a:off x="6081487" y="1460806"/>
                <a:ext cx="34217" cy="54474"/>
              </a:xfrm>
              <a:custGeom>
                <a:avLst/>
                <a:gdLst>
                  <a:gd name="connsiteX0" fmla="*/ 21076 w 34217"/>
                  <a:gd name="connsiteY0" fmla="*/ 54475 h 54474"/>
                  <a:gd name="connsiteX1" fmla="*/ 778 w 34217"/>
                  <a:gd name="connsiteY1" fmla="*/ 21035 h 54474"/>
                  <a:gd name="connsiteX2" fmla="*/ 34217 w 34217"/>
                  <a:gd name="connsiteY2" fmla="*/ 803 h 544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4217" h="54474">
                    <a:moveTo>
                      <a:pt x="21076" y="54475"/>
                    </a:moveTo>
                    <a:cubicBezTo>
                      <a:pt x="6308" y="50832"/>
                      <a:pt x="-2800" y="35803"/>
                      <a:pt x="778" y="21035"/>
                    </a:cubicBezTo>
                    <a:cubicBezTo>
                      <a:pt x="4421" y="6267"/>
                      <a:pt x="19449" y="-2841"/>
                      <a:pt x="34217" y="803"/>
                    </a:cubicBezTo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67" name="Forma livre: Forma 66">
                <a:extLst>
                  <a:ext uri="{FF2B5EF4-FFF2-40B4-BE49-F238E27FC236}">
                    <a16:creationId xmlns:a16="http://schemas.microsoft.com/office/drawing/2014/main" id="{BFEAF9BF-EF45-5291-1343-13FEB890344C}"/>
                  </a:ext>
                </a:extLst>
              </p:cNvPr>
              <p:cNvSpPr/>
              <p:nvPr/>
            </p:nvSpPr>
            <p:spPr>
              <a:xfrm>
                <a:off x="6073547" y="1527543"/>
                <a:ext cx="114760" cy="72506"/>
              </a:xfrm>
              <a:custGeom>
                <a:avLst/>
                <a:gdLst>
                  <a:gd name="connsiteX0" fmla="*/ 114760 w 114760"/>
                  <a:gd name="connsiteY0" fmla="*/ 7254 h 72506"/>
                  <a:gd name="connsiteX1" fmla="*/ 73905 w 114760"/>
                  <a:gd name="connsiteY1" fmla="*/ 8881 h 72506"/>
                  <a:gd name="connsiteX2" fmla="*/ 0 w 114760"/>
                  <a:gd name="connsiteY2" fmla="*/ 72506 h 725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14760" h="72506">
                    <a:moveTo>
                      <a:pt x="114760" y="7254"/>
                    </a:moveTo>
                    <a:cubicBezTo>
                      <a:pt x="103375" y="-2830"/>
                      <a:pt x="83989" y="-2504"/>
                      <a:pt x="73905" y="8881"/>
                    </a:cubicBezTo>
                    <a:cubicBezTo>
                      <a:pt x="73905" y="8881"/>
                      <a:pt x="31488" y="72506"/>
                      <a:pt x="0" y="72506"/>
                    </a:cubicBezTo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68" name="Forma livre: Forma 67">
                <a:extLst>
                  <a:ext uri="{FF2B5EF4-FFF2-40B4-BE49-F238E27FC236}">
                    <a16:creationId xmlns:a16="http://schemas.microsoft.com/office/drawing/2014/main" id="{42902F4D-1C58-00EF-FE6E-B40ABF307939}"/>
                  </a:ext>
                </a:extLst>
              </p:cNvPr>
              <p:cNvSpPr/>
              <p:nvPr/>
            </p:nvSpPr>
            <p:spPr>
              <a:xfrm>
                <a:off x="6079857" y="1646956"/>
                <a:ext cx="29405" cy="9823"/>
              </a:xfrm>
              <a:custGeom>
                <a:avLst/>
                <a:gdLst>
                  <a:gd name="connsiteX0" fmla="*/ 0 w 29405"/>
                  <a:gd name="connsiteY0" fmla="*/ 0 h 9823"/>
                  <a:gd name="connsiteX1" fmla="*/ 29406 w 29405"/>
                  <a:gd name="connsiteY1" fmla="*/ 9824 h 98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9405" h="9823">
                    <a:moveTo>
                      <a:pt x="0" y="0"/>
                    </a:moveTo>
                    <a:lnTo>
                      <a:pt x="29406" y="9824"/>
                    </a:lnTo>
                  </a:path>
                </a:pathLst>
              </a:custGeom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69" name="Forma livre: Forma 68">
                <a:extLst>
                  <a:ext uri="{FF2B5EF4-FFF2-40B4-BE49-F238E27FC236}">
                    <a16:creationId xmlns:a16="http://schemas.microsoft.com/office/drawing/2014/main" id="{E946A69A-D6E8-8614-F4A8-7C03FDE06AB9}"/>
                  </a:ext>
                </a:extLst>
              </p:cNvPr>
              <p:cNvSpPr/>
              <p:nvPr/>
            </p:nvSpPr>
            <p:spPr>
              <a:xfrm>
                <a:off x="6061121" y="1545272"/>
                <a:ext cx="47166" cy="34154"/>
              </a:xfrm>
              <a:custGeom>
                <a:avLst/>
                <a:gdLst>
                  <a:gd name="connsiteX0" fmla="*/ 0 w 47166"/>
                  <a:gd name="connsiteY0" fmla="*/ 0 h 34154"/>
                  <a:gd name="connsiteX1" fmla="*/ 47166 w 47166"/>
                  <a:gd name="connsiteY1" fmla="*/ 34155 h 341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166" h="34154">
                    <a:moveTo>
                      <a:pt x="0" y="0"/>
                    </a:moveTo>
                    <a:cubicBezTo>
                      <a:pt x="0" y="0"/>
                      <a:pt x="27649" y="13011"/>
                      <a:pt x="47166" y="34155"/>
                    </a:cubicBezTo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50" name="Gráfico 32">
              <a:extLst>
                <a:ext uri="{FF2B5EF4-FFF2-40B4-BE49-F238E27FC236}">
                  <a16:creationId xmlns:a16="http://schemas.microsoft.com/office/drawing/2014/main" id="{02F26690-1384-545A-2709-269BE0AD0A08}"/>
                </a:ext>
              </a:extLst>
            </p:cNvPr>
            <p:cNvGrpSpPr/>
            <p:nvPr/>
          </p:nvGrpSpPr>
          <p:grpSpPr>
            <a:xfrm>
              <a:off x="6191625" y="1599725"/>
              <a:ext cx="173767" cy="157112"/>
              <a:chOff x="6191625" y="1599725"/>
              <a:chExt cx="173767" cy="157112"/>
            </a:xfrm>
            <a:noFill/>
          </p:grpSpPr>
          <p:sp>
            <p:nvSpPr>
              <p:cNvPr id="60" name="Forma livre: Forma 59">
                <a:extLst>
                  <a:ext uri="{FF2B5EF4-FFF2-40B4-BE49-F238E27FC236}">
                    <a16:creationId xmlns:a16="http://schemas.microsoft.com/office/drawing/2014/main" id="{58508FE4-02F7-01CD-A6B7-040E6474E86C}"/>
                  </a:ext>
                </a:extLst>
              </p:cNvPr>
              <p:cNvSpPr/>
              <p:nvPr/>
            </p:nvSpPr>
            <p:spPr>
              <a:xfrm>
                <a:off x="6310094" y="1621974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61" name="Forma livre: Forma 60">
                <a:extLst>
                  <a:ext uri="{FF2B5EF4-FFF2-40B4-BE49-F238E27FC236}">
                    <a16:creationId xmlns:a16="http://schemas.microsoft.com/office/drawing/2014/main" id="{222F9BA3-E54C-0E2A-70FC-BA6D8379C21C}"/>
                  </a:ext>
                </a:extLst>
              </p:cNvPr>
              <p:cNvSpPr/>
              <p:nvPr/>
            </p:nvSpPr>
            <p:spPr>
              <a:xfrm>
                <a:off x="6191625" y="1599725"/>
                <a:ext cx="118078" cy="49898"/>
              </a:xfrm>
              <a:custGeom>
                <a:avLst/>
                <a:gdLst>
                  <a:gd name="connsiteX0" fmla="*/ 0 w 118078"/>
                  <a:gd name="connsiteY0" fmla="*/ 0 h 49898"/>
                  <a:gd name="connsiteX1" fmla="*/ 37343 w 118078"/>
                  <a:gd name="connsiteY1" fmla="*/ 0 h 49898"/>
                  <a:gd name="connsiteX2" fmla="*/ 87176 w 118078"/>
                  <a:gd name="connsiteY2" fmla="*/ 49899 h 49898"/>
                  <a:gd name="connsiteX3" fmla="*/ 118078 w 118078"/>
                  <a:gd name="connsiteY3" fmla="*/ 49899 h 49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8078" h="49898">
                    <a:moveTo>
                      <a:pt x="0" y="0"/>
                    </a:moveTo>
                    <a:lnTo>
                      <a:pt x="37343" y="0"/>
                    </a:lnTo>
                    <a:lnTo>
                      <a:pt x="87176" y="49899"/>
                    </a:lnTo>
                    <a:lnTo>
                      <a:pt x="118078" y="49899"/>
                    </a:lnTo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62" name="Forma livre: Forma 61">
                <a:extLst>
                  <a:ext uri="{FF2B5EF4-FFF2-40B4-BE49-F238E27FC236}">
                    <a16:creationId xmlns:a16="http://schemas.microsoft.com/office/drawing/2014/main" id="{83F601B7-7206-F627-40C9-936939547FC5}"/>
                  </a:ext>
                </a:extLst>
              </p:cNvPr>
              <p:cNvSpPr/>
              <p:nvPr/>
            </p:nvSpPr>
            <p:spPr>
              <a:xfrm>
                <a:off x="6191625" y="1665367"/>
                <a:ext cx="81906" cy="44108"/>
              </a:xfrm>
              <a:custGeom>
                <a:avLst/>
                <a:gdLst>
                  <a:gd name="connsiteX0" fmla="*/ 0 w 81906"/>
                  <a:gd name="connsiteY0" fmla="*/ 0 h 44108"/>
                  <a:gd name="connsiteX1" fmla="*/ 37343 w 81906"/>
                  <a:gd name="connsiteY1" fmla="*/ 0 h 44108"/>
                  <a:gd name="connsiteX2" fmla="*/ 81907 w 81906"/>
                  <a:gd name="connsiteY2" fmla="*/ 44109 h 441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1906" h="44108">
                    <a:moveTo>
                      <a:pt x="0" y="0"/>
                    </a:moveTo>
                    <a:lnTo>
                      <a:pt x="37343" y="0"/>
                    </a:lnTo>
                    <a:lnTo>
                      <a:pt x="81907" y="44109"/>
                    </a:lnTo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63" name="Forma livre: Forma 62">
                <a:extLst>
                  <a:ext uri="{FF2B5EF4-FFF2-40B4-BE49-F238E27FC236}">
                    <a16:creationId xmlns:a16="http://schemas.microsoft.com/office/drawing/2014/main" id="{3AE250E0-6C0E-60F0-C7CD-E40681BEEAA6}"/>
                  </a:ext>
                </a:extLst>
              </p:cNvPr>
              <p:cNvSpPr/>
              <p:nvPr/>
            </p:nvSpPr>
            <p:spPr>
              <a:xfrm>
                <a:off x="6265075" y="1701539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51" name="Gráfico 32">
              <a:extLst>
                <a:ext uri="{FF2B5EF4-FFF2-40B4-BE49-F238E27FC236}">
                  <a16:creationId xmlns:a16="http://schemas.microsoft.com/office/drawing/2014/main" id="{2B2CC78F-90D7-3256-3CAE-85104DB58D64}"/>
                </a:ext>
              </a:extLst>
            </p:cNvPr>
            <p:cNvGrpSpPr/>
            <p:nvPr/>
          </p:nvGrpSpPr>
          <p:grpSpPr>
            <a:xfrm>
              <a:off x="6191625" y="1357908"/>
              <a:ext cx="173767" cy="157112"/>
              <a:chOff x="6191625" y="1357908"/>
              <a:chExt cx="173767" cy="157112"/>
            </a:xfrm>
            <a:noFill/>
          </p:grpSpPr>
          <p:sp>
            <p:nvSpPr>
              <p:cNvPr id="56" name="Forma livre: Forma 55">
                <a:extLst>
                  <a:ext uri="{FF2B5EF4-FFF2-40B4-BE49-F238E27FC236}">
                    <a16:creationId xmlns:a16="http://schemas.microsoft.com/office/drawing/2014/main" id="{58295C64-FFFF-2AE0-7DF0-000C03D8445C}"/>
                  </a:ext>
                </a:extLst>
              </p:cNvPr>
              <p:cNvSpPr/>
              <p:nvPr/>
            </p:nvSpPr>
            <p:spPr>
              <a:xfrm>
                <a:off x="6310094" y="1437472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0 h 55298"/>
                  <a:gd name="connsiteX2" fmla="*/ 0 w 55298"/>
                  <a:gd name="connsiteY2" fmla="*/ 27649 h 55298"/>
                  <a:gd name="connsiteX3" fmla="*/ 27649 w 55298"/>
                  <a:gd name="connsiteY3" fmla="*/ 55298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12361"/>
                      <a:pt x="42938" y="0"/>
                      <a:pt x="27649" y="0"/>
                    </a:cubicBezTo>
                    <a:cubicBezTo>
                      <a:pt x="12361" y="0"/>
                      <a:pt x="0" y="12361"/>
                      <a:pt x="0" y="27649"/>
                    </a:cubicBezTo>
                    <a:cubicBezTo>
                      <a:pt x="0" y="42938"/>
                      <a:pt x="12361" y="55298"/>
                      <a:pt x="27649" y="55298"/>
                    </a:cubicBezTo>
                    <a:cubicBezTo>
                      <a:pt x="42938" y="55298"/>
                      <a:pt x="55298" y="42938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7" name="Forma livre: Forma 56">
                <a:extLst>
                  <a:ext uri="{FF2B5EF4-FFF2-40B4-BE49-F238E27FC236}">
                    <a16:creationId xmlns:a16="http://schemas.microsoft.com/office/drawing/2014/main" id="{50FAC023-5307-BCA6-7FB6-3C6A933DF718}"/>
                  </a:ext>
                </a:extLst>
              </p:cNvPr>
              <p:cNvSpPr/>
              <p:nvPr/>
            </p:nvSpPr>
            <p:spPr>
              <a:xfrm>
                <a:off x="6191625" y="1465122"/>
                <a:ext cx="118468" cy="49898"/>
              </a:xfrm>
              <a:custGeom>
                <a:avLst/>
                <a:gdLst>
                  <a:gd name="connsiteX0" fmla="*/ 0 w 118468"/>
                  <a:gd name="connsiteY0" fmla="*/ 49899 h 49898"/>
                  <a:gd name="connsiteX1" fmla="*/ 37343 w 118468"/>
                  <a:gd name="connsiteY1" fmla="*/ 49899 h 49898"/>
                  <a:gd name="connsiteX2" fmla="*/ 87176 w 118468"/>
                  <a:gd name="connsiteY2" fmla="*/ 0 h 49898"/>
                  <a:gd name="connsiteX3" fmla="*/ 118469 w 118468"/>
                  <a:gd name="connsiteY3" fmla="*/ 0 h 49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8468" h="49898">
                    <a:moveTo>
                      <a:pt x="0" y="49899"/>
                    </a:moveTo>
                    <a:lnTo>
                      <a:pt x="37343" y="49899"/>
                    </a:lnTo>
                    <a:lnTo>
                      <a:pt x="87176" y="0"/>
                    </a:lnTo>
                    <a:lnTo>
                      <a:pt x="118469" y="0"/>
                    </a:lnTo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8" name="Forma livre: Forma 57">
                <a:extLst>
                  <a:ext uri="{FF2B5EF4-FFF2-40B4-BE49-F238E27FC236}">
                    <a16:creationId xmlns:a16="http://schemas.microsoft.com/office/drawing/2014/main" id="{4DB8F324-A428-C946-CD69-DF023EC3AE2F}"/>
                  </a:ext>
                </a:extLst>
              </p:cNvPr>
              <p:cNvSpPr/>
              <p:nvPr/>
            </p:nvSpPr>
            <p:spPr>
              <a:xfrm>
                <a:off x="6191625" y="1405269"/>
                <a:ext cx="81451" cy="44043"/>
              </a:xfrm>
              <a:custGeom>
                <a:avLst/>
                <a:gdLst>
                  <a:gd name="connsiteX0" fmla="*/ 0 w 81451"/>
                  <a:gd name="connsiteY0" fmla="*/ 44044 h 44043"/>
                  <a:gd name="connsiteX1" fmla="*/ 37343 w 81451"/>
                  <a:gd name="connsiteY1" fmla="*/ 44044 h 44043"/>
                  <a:gd name="connsiteX2" fmla="*/ 81451 w 81451"/>
                  <a:gd name="connsiteY2" fmla="*/ 0 h 440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1451" h="44043">
                    <a:moveTo>
                      <a:pt x="0" y="44044"/>
                    </a:moveTo>
                    <a:lnTo>
                      <a:pt x="37343" y="44044"/>
                    </a:lnTo>
                    <a:lnTo>
                      <a:pt x="81451" y="0"/>
                    </a:lnTo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9" name="Forma livre: Forma 58">
                <a:extLst>
                  <a:ext uri="{FF2B5EF4-FFF2-40B4-BE49-F238E27FC236}">
                    <a16:creationId xmlns:a16="http://schemas.microsoft.com/office/drawing/2014/main" id="{8CDAC06C-4401-113D-FDC6-629D1C20E82A}"/>
                  </a:ext>
                </a:extLst>
              </p:cNvPr>
              <p:cNvSpPr/>
              <p:nvPr/>
            </p:nvSpPr>
            <p:spPr>
              <a:xfrm>
                <a:off x="6265075" y="1357908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0 h 55298"/>
                  <a:gd name="connsiteX2" fmla="*/ 0 w 55298"/>
                  <a:gd name="connsiteY2" fmla="*/ 27649 h 55298"/>
                  <a:gd name="connsiteX3" fmla="*/ 27649 w 55298"/>
                  <a:gd name="connsiteY3" fmla="*/ 55298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12361"/>
                      <a:pt x="42938" y="0"/>
                      <a:pt x="27649" y="0"/>
                    </a:cubicBezTo>
                    <a:cubicBezTo>
                      <a:pt x="12361" y="0"/>
                      <a:pt x="0" y="12361"/>
                      <a:pt x="0" y="27649"/>
                    </a:cubicBezTo>
                    <a:cubicBezTo>
                      <a:pt x="0" y="42938"/>
                      <a:pt x="12361" y="55298"/>
                      <a:pt x="27649" y="55298"/>
                    </a:cubicBezTo>
                    <a:cubicBezTo>
                      <a:pt x="42938" y="55298"/>
                      <a:pt x="55298" y="42938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52" name="Gráfico 32">
              <a:extLst>
                <a:ext uri="{FF2B5EF4-FFF2-40B4-BE49-F238E27FC236}">
                  <a16:creationId xmlns:a16="http://schemas.microsoft.com/office/drawing/2014/main" id="{8B991E7B-182E-5721-95B3-E3EE71E02CE0}"/>
                </a:ext>
              </a:extLst>
            </p:cNvPr>
            <p:cNvGrpSpPr/>
            <p:nvPr/>
          </p:nvGrpSpPr>
          <p:grpSpPr>
            <a:xfrm>
              <a:off x="6190910" y="1529723"/>
              <a:ext cx="123673" cy="55298"/>
              <a:chOff x="6190910" y="1529723"/>
              <a:chExt cx="123673" cy="55298"/>
            </a:xfrm>
            <a:noFill/>
          </p:grpSpPr>
          <p:sp>
            <p:nvSpPr>
              <p:cNvPr id="54" name="Forma livre: Forma 53">
                <a:extLst>
                  <a:ext uri="{FF2B5EF4-FFF2-40B4-BE49-F238E27FC236}">
                    <a16:creationId xmlns:a16="http://schemas.microsoft.com/office/drawing/2014/main" id="{77E0C4EC-BF50-33FC-160D-91E9D3A03EA5}"/>
                  </a:ext>
                </a:extLst>
              </p:cNvPr>
              <p:cNvSpPr/>
              <p:nvPr/>
            </p:nvSpPr>
            <p:spPr>
              <a:xfrm>
                <a:off x="6190910" y="1557372"/>
                <a:ext cx="68765" cy="6505"/>
              </a:xfrm>
              <a:custGeom>
                <a:avLst/>
                <a:gdLst>
                  <a:gd name="connsiteX0" fmla="*/ 0 w 68765"/>
                  <a:gd name="connsiteY0" fmla="*/ 0 h 6505"/>
                  <a:gd name="connsiteX1" fmla="*/ 68765 w 68765"/>
                  <a:gd name="connsiteY1" fmla="*/ 0 h 65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8765" h="6505">
                    <a:moveTo>
                      <a:pt x="0" y="0"/>
                    </a:moveTo>
                    <a:lnTo>
                      <a:pt x="68765" y="0"/>
                    </a:lnTo>
                  </a:path>
                </a:pathLst>
              </a:custGeom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5" name="Forma livre: Forma 54">
                <a:extLst>
                  <a:ext uri="{FF2B5EF4-FFF2-40B4-BE49-F238E27FC236}">
                    <a16:creationId xmlns:a16="http://schemas.microsoft.com/office/drawing/2014/main" id="{B279DF93-721A-B52B-7869-A38350A7A594}"/>
                  </a:ext>
                </a:extLst>
              </p:cNvPr>
              <p:cNvSpPr/>
              <p:nvPr/>
            </p:nvSpPr>
            <p:spPr>
              <a:xfrm>
                <a:off x="6259285" y="1529723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53" name="Forma livre: Forma 52">
              <a:extLst>
                <a:ext uri="{FF2B5EF4-FFF2-40B4-BE49-F238E27FC236}">
                  <a16:creationId xmlns:a16="http://schemas.microsoft.com/office/drawing/2014/main" id="{45B707B8-7773-ECC1-A77A-8C5CA963DD0D}"/>
                </a:ext>
              </a:extLst>
            </p:cNvPr>
            <p:cNvSpPr/>
            <p:nvPr/>
          </p:nvSpPr>
          <p:spPr>
            <a:xfrm>
              <a:off x="6152201" y="1686285"/>
              <a:ext cx="37362" cy="20848"/>
            </a:xfrm>
            <a:custGeom>
              <a:avLst/>
              <a:gdLst>
                <a:gd name="connsiteX0" fmla="*/ 0 w 37362"/>
                <a:gd name="connsiteY0" fmla="*/ 10505 h 20848"/>
                <a:gd name="connsiteX1" fmla="*/ 27064 w 37362"/>
                <a:gd name="connsiteY1" fmla="*/ 2373 h 20848"/>
                <a:gd name="connsiteX2" fmla="*/ 37343 w 37362"/>
                <a:gd name="connsiteY2" fmla="*/ 20849 h 20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7362" h="20848">
                  <a:moveTo>
                    <a:pt x="0" y="10505"/>
                  </a:moveTo>
                  <a:cubicBezTo>
                    <a:pt x="5205" y="811"/>
                    <a:pt x="17435" y="-2832"/>
                    <a:pt x="27064" y="2373"/>
                  </a:cubicBezTo>
                  <a:cubicBezTo>
                    <a:pt x="34025" y="6081"/>
                    <a:pt x="37668" y="13432"/>
                    <a:pt x="37343" y="20849"/>
                  </a:cubicBezTo>
                </a:path>
              </a:pathLst>
            </a:custGeom>
            <a:noFill/>
            <a:ln w="19050" cap="sq">
              <a:solidFill>
                <a:srgbClr val="00FF94"/>
              </a:solidFill>
              <a:prstDash val="solid"/>
              <a:miter lim="800000"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70" name="Agrupar 69">
            <a:extLst>
              <a:ext uri="{FF2B5EF4-FFF2-40B4-BE49-F238E27FC236}">
                <a16:creationId xmlns:a16="http://schemas.microsoft.com/office/drawing/2014/main" id="{7E01CA2C-616F-90FD-9A7B-6FA6C70317BE}"/>
              </a:ext>
            </a:extLst>
          </p:cNvPr>
          <p:cNvGrpSpPr/>
          <p:nvPr/>
        </p:nvGrpSpPr>
        <p:grpSpPr>
          <a:xfrm>
            <a:off x="773516" y="5078798"/>
            <a:ext cx="308179" cy="336550"/>
            <a:chOff x="6000092" y="1357908"/>
            <a:chExt cx="365300" cy="398929"/>
          </a:xfrm>
        </p:grpSpPr>
        <p:sp>
          <p:nvSpPr>
            <p:cNvPr id="71" name="Forma livre: Forma 70">
              <a:extLst>
                <a:ext uri="{FF2B5EF4-FFF2-40B4-BE49-F238E27FC236}">
                  <a16:creationId xmlns:a16="http://schemas.microsoft.com/office/drawing/2014/main" id="{FB459BE3-BBB7-29EB-B515-4F7F52D3A7C5}"/>
                </a:ext>
              </a:extLst>
            </p:cNvPr>
            <p:cNvSpPr/>
            <p:nvPr/>
          </p:nvSpPr>
          <p:spPr>
            <a:xfrm>
              <a:off x="6000092" y="1418606"/>
              <a:ext cx="84058" cy="286120"/>
            </a:xfrm>
            <a:custGeom>
              <a:avLst/>
              <a:gdLst>
                <a:gd name="connsiteX0" fmla="*/ 51595 w 84058"/>
                <a:gd name="connsiteY0" fmla="*/ 0 h 286120"/>
                <a:gd name="connsiteX1" fmla="*/ 35266 w 84058"/>
                <a:gd name="connsiteY1" fmla="*/ 61674 h 286120"/>
                <a:gd name="connsiteX2" fmla="*/ 28760 w 84058"/>
                <a:gd name="connsiteY2" fmla="*/ 193415 h 286120"/>
                <a:gd name="connsiteX3" fmla="*/ 84059 w 84058"/>
                <a:gd name="connsiteY3" fmla="*/ 286121 h 2861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4058" h="286120">
                  <a:moveTo>
                    <a:pt x="51595" y="0"/>
                  </a:moveTo>
                  <a:cubicBezTo>
                    <a:pt x="37868" y="7872"/>
                    <a:pt x="26028" y="24852"/>
                    <a:pt x="35266" y="61674"/>
                  </a:cubicBezTo>
                  <a:cubicBezTo>
                    <a:pt x="35266" y="61674"/>
                    <a:pt x="-39549" y="126731"/>
                    <a:pt x="28760" y="193415"/>
                  </a:cubicBezTo>
                  <a:cubicBezTo>
                    <a:pt x="28760" y="193415"/>
                    <a:pt x="9243" y="281242"/>
                    <a:pt x="84059" y="286121"/>
                  </a:cubicBezTo>
                </a:path>
              </a:pathLst>
            </a:custGeom>
            <a:noFill/>
            <a:ln w="19050" cap="sq">
              <a:solidFill>
                <a:srgbClr val="00FF94"/>
              </a:solidFill>
              <a:prstDash val="solid"/>
              <a:miter lim="800000"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72" name="Gráfico 32">
              <a:extLst>
                <a:ext uri="{FF2B5EF4-FFF2-40B4-BE49-F238E27FC236}">
                  <a16:creationId xmlns:a16="http://schemas.microsoft.com/office/drawing/2014/main" id="{C6751273-B252-6CBD-4E21-53BBEBE47F6B}"/>
                </a:ext>
              </a:extLst>
            </p:cNvPr>
            <p:cNvGrpSpPr/>
            <p:nvPr/>
          </p:nvGrpSpPr>
          <p:grpSpPr>
            <a:xfrm>
              <a:off x="6061121" y="1359924"/>
              <a:ext cx="128487" cy="396366"/>
              <a:chOff x="6061121" y="1359924"/>
              <a:chExt cx="128487" cy="396366"/>
            </a:xfrm>
            <a:noFill/>
          </p:grpSpPr>
          <p:sp>
            <p:nvSpPr>
              <p:cNvPr id="87" name="Forma livre: Forma 86">
                <a:extLst>
                  <a:ext uri="{FF2B5EF4-FFF2-40B4-BE49-F238E27FC236}">
                    <a16:creationId xmlns:a16="http://schemas.microsoft.com/office/drawing/2014/main" id="{F247107C-6696-DECE-69BF-97908DA9BC6F}"/>
                  </a:ext>
                </a:extLst>
              </p:cNvPr>
              <p:cNvSpPr/>
              <p:nvPr/>
            </p:nvSpPr>
            <p:spPr>
              <a:xfrm>
                <a:off x="6083891" y="1359924"/>
                <a:ext cx="105717" cy="396366"/>
              </a:xfrm>
              <a:custGeom>
                <a:avLst/>
                <a:gdLst>
                  <a:gd name="connsiteX0" fmla="*/ 52891 w 105717"/>
                  <a:gd name="connsiteY0" fmla="*/ 105718 h 396366"/>
                  <a:gd name="connsiteX1" fmla="*/ 0 w 105717"/>
                  <a:gd name="connsiteY1" fmla="*/ 52891 h 396366"/>
                  <a:gd name="connsiteX2" fmla="*/ 52891 w 105717"/>
                  <a:gd name="connsiteY2" fmla="*/ 0 h 396366"/>
                  <a:gd name="connsiteX3" fmla="*/ 105718 w 105717"/>
                  <a:gd name="connsiteY3" fmla="*/ 52826 h 396366"/>
                  <a:gd name="connsiteX4" fmla="*/ 105718 w 105717"/>
                  <a:gd name="connsiteY4" fmla="*/ 346884 h 396366"/>
                  <a:gd name="connsiteX5" fmla="*/ 80606 w 105717"/>
                  <a:gd name="connsiteY5" fmla="*/ 388911 h 396366"/>
                  <a:gd name="connsiteX6" fmla="*/ 9238 w 105717"/>
                  <a:gd name="connsiteY6" fmla="*/ 371150 h 396366"/>
                  <a:gd name="connsiteX7" fmla="*/ 15484 w 105717"/>
                  <a:gd name="connsiteY7" fmla="*/ 309216 h 396366"/>
                  <a:gd name="connsiteX8" fmla="*/ 45019 w 105717"/>
                  <a:gd name="connsiteY8" fmla="*/ 277078 h 3963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05717" h="396366">
                    <a:moveTo>
                      <a:pt x="52891" y="105718"/>
                    </a:moveTo>
                    <a:cubicBezTo>
                      <a:pt x="23681" y="105718"/>
                      <a:pt x="0" y="82037"/>
                      <a:pt x="0" y="52891"/>
                    </a:cubicBezTo>
                    <a:cubicBezTo>
                      <a:pt x="0" y="23746"/>
                      <a:pt x="23681" y="0"/>
                      <a:pt x="52891" y="0"/>
                    </a:cubicBezTo>
                    <a:cubicBezTo>
                      <a:pt x="82102" y="0"/>
                      <a:pt x="105718" y="23681"/>
                      <a:pt x="105718" y="52826"/>
                    </a:cubicBezTo>
                    <a:lnTo>
                      <a:pt x="105718" y="346884"/>
                    </a:lnTo>
                    <a:cubicBezTo>
                      <a:pt x="105718" y="364580"/>
                      <a:pt x="96414" y="379413"/>
                      <a:pt x="80606" y="388911"/>
                    </a:cubicBezTo>
                    <a:cubicBezTo>
                      <a:pt x="55949" y="403744"/>
                      <a:pt x="24006" y="395742"/>
                      <a:pt x="9238" y="371150"/>
                    </a:cubicBezTo>
                    <a:cubicBezTo>
                      <a:pt x="-2928" y="350918"/>
                      <a:pt x="260" y="325741"/>
                      <a:pt x="15484" y="309216"/>
                    </a:cubicBezTo>
                    <a:lnTo>
                      <a:pt x="45019" y="277078"/>
                    </a:lnTo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88" name="Forma livre: Forma 87">
                <a:extLst>
                  <a:ext uri="{FF2B5EF4-FFF2-40B4-BE49-F238E27FC236}">
                    <a16:creationId xmlns:a16="http://schemas.microsoft.com/office/drawing/2014/main" id="{26D3B1FE-5A7C-FC46-16AD-8E400BDF6C54}"/>
                  </a:ext>
                </a:extLst>
              </p:cNvPr>
              <p:cNvSpPr/>
              <p:nvPr/>
            </p:nvSpPr>
            <p:spPr>
              <a:xfrm>
                <a:off x="6144784" y="1383865"/>
                <a:ext cx="41563" cy="38963"/>
              </a:xfrm>
              <a:custGeom>
                <a:avLst/>
                <a:gdLst>
                  <a:gd name="connsiteX0" fmla="*/ 36172 w 41563"/>
                  <a:gd name="connsiteY0" fmla="*/ 0 h 38963"/>
                  <a:gd name="connsiteX1" fmla="*/ 39425 w 41563"/>
                  <a:gd name="connsiteY1" fmla="*/ 24266 h 38963"/>
                  <a:gd name="connsiteX2" fmla="*/ 36432 w 41563"/>
                  <a:gd name="connsiteY2" fmla="*/ 29080 h 38963"/>
                  <a:gd name="connsiteX3" fmla="*/ 0 w 41563"/>
                  <a:gd name="connsiteY3" fmla="*/ 33439 h 389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563" h="38963">
                    <a:moveTo>
                      <a:pt x="36172" y="0"/>
                    </a:moveTo>
                    <a:cubicBezTo>
                      <a:pt x="41571" y="7547"/>
                      <a:pt x="43393" y="16004"/>
                      <a:pt x="39425" y="24266"/>
                    </a:cubicBezTo>
                    <a:cubicBezTo>
                      <a:pt x="38644" y="25893"/>
                      <a:pt x="37603" y="27519"/>
                      <a:pt x="36432" y="29080"/>
                    </a:cubicBezTo>
                    <a:cubicBezTo>
                      <a:pt x="27584" y="40270"/>
                      <a:pt x="11190" y="42287"/>
                      <a:pt x="0" y="33439"/>
                    </a:cubicBezTo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89" name="Forma livre: Forma 88">
                <a:extLst>
                  <a:ext uri="{FF2B5EF4-FFF2-40B4-BE49-F238E27FC236}">
                    <a16:creationId xmlns:a16="http://schemas.microsoft.com/office/drawing/2014/main" id="{20EC8C89-0E99-26BC-F626-7879143C84E2}"/>
                  </a:ext>
                </a:extLst>
              </p:cNvPr>
              <p:cNvSpPr/>
              <p:nvPr/>
            </p:nvSpPr>
            <p:spPr>
              <a:xfrm>
                <a:off x="6081487" y="1460806"/>
                <a:ext cx="34217" cy="54474"/>
              </a:xfrm>
              <a:custGeom>
                <a:avLst/>
                <a:gdLst>
                  <a:gd name="connsiteX0" fmla="*/ 21076 w 34217"/>
                  <a:gd name="connsiteY0" fmla="*/ 54475 h 54474"/>
                  <a:gd name="connsiteX1" fmla="*/ 778 w 34217"/>
                  <a:gd name="connsiteY1" fmla="*/ 21035 h 54474"/>
                  <a:gd name="connsiteX2" fmla="*/ 34217 w 34217"/>
                  <a:gd name="connsiteY2" fmla="*/ 803 h 544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4217" h="54474">
                    <a:moveTo>
                      <a:pt x="21076" y="54475"/>
                    </a:moveTo>
                    <a:cubicBezTo>
                      <a:pt x="6308" y="50832"/>
                      <a:pt x="-2800" y="35803"/>
                      <a:pt x="778" y="21035"/>
                    </a:cubicBezTo>
                    <a:cubicBezTo>
                      <a:pt x="4421" y="6267"/>
                      <a:pt x="19449" y="-2841"/>
                      <a:pt x="34217" y="803"/>
                    </a:cubicBezTo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0" name="Forma livre: Forma 89">
                <a:extLst>
                  <a:ext uri="{FF2B5EF4-FFF2-40B4-BE49-F238E27FC236}">
                    <a16:creationId xmlns:a16="http://schemas.microsoft.com/office/drawing/2014/main" id="{595F33AB-331F-9146-AEAD-22345423C72B}"/>
                  </a:ext>
                </a:extLst>
              </p:cNvPr>
              <p:cNvSpPr/>
              <p:nvPr/>
            </p:nvSpPr>
            <p:spPr>
              <a:xfrm>
                <a:off x="6073547" y="1527543"/>
                <a:ext cx="114760" cy="72506"/>
              </a:xfrm>
              <a:custGeom>
                <a:avLst/>
                <a:gdLst>
                  <a:gd name="connsiteX0" fmla="*/ 114760 w 114760"/>
                  <a:gd name="connsiteY0" fmla="*/ 7254 h 72506"/>
                  <a:gd name="connsiteX1" fmla="*/ 73905 w 114760"/>
                  <a:gd name="connsiteY1" fmla="*/ 8881 h 72506"/>
                  <a:gd name="connsiteX2" fmla="*/ 0 w 114760"/>
                  <a:gd name="connsiteY2" fmla="*/ 72506 h 725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14760" h="72506">
                    <a:moveTo>
                      <a:pt x="114760" y="7254"/>
                    </a:moveTo>
                    <a:cubicBezTo>
                      <a:pt x="103375" y="-2830"/>
                      <a:pt x="83989" y="-2504"/>
                      <a:pt x="73905" y="8881"/>
                    </a:cubicBezTo>
                    <a:cubicBezTo>
                      <a:pt x="73905" y="8881"/>
                      <a:pt x="31488" y="72506"/>
                      <a:pt x="0" y="72506"/>
                    </a:cubicBezTo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1" name="Forma livre: Forma 90">
                <a:extLst>
                  <a:ext uri="{FF2B5EF4-FFF2-40B4-BE49-F238E27FC236}">
                    <a16:creationId xmlns:a16="http://schemas.microsoft.com/office/drawing/2014/main" id="{5A72CCF8-EF90-17F2-2080-E8EBF3A1B4C5}"/>
                  </a:ext>
                </a:extLst>
              </p:cNvPr>
              <p:cNvSpPr/>
              <p:nvPr/>
            </p:nvSpPr>
            <p:spPr>
              <a:xfrm>
                <a:off x="6079857" y="1646956"/>
                <a:ext cx="29405" cy="9823"/>
              </a:xfrm>
              <a:custGeom>
                <a:avLst/>
                <a:gdLst>
                  <a:gd name="connsiteX0" fmla="*/ 0 w 29405"/>
                  <a:gd name="connsiteY0" fmla="*/ 0 h 9823"/>
                  <a:gd name="connsiteX1" fmla="*/ 29406 w 29405"/>
                  <a:gd name="connsiteY1" fmla="*/ 9824 h 98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9405" h="9823">
                    <a:moveTo>
                      <a:pt x="0" y="0"/>
                    </a:moveTo>
                    <a:lnTo>
                      <a:pt x="29406" y="9824"/>
                    </a:lnTo>
                  </a:path>
                </a:pathLst>
              </a:custGeom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2" name="Forma livre: Forma 91">
                <a:extLst>
                  <a:ext uri="{FF2B5EF4-FFF2-40B4-BE49-F238E27FC236}">
                    <a16:creationId xmlns:a16="http://schemas.microsoft.com/office/drawing/2014/main" id="{561B6AF0-AE64-BE00-D9E9-547C24007388}"/>
                  </a:ext>
                </a:extLst>
              </p:cNvPr>
              <p:cNvSpPr/>
              <p:nvPr/>
            </p:nvSpPr>
            <p:spPr>
              <a:xfrm>
                <a:off x="6061121" y="1545272"/>
                <a:ext cx="47166" cy="34154"/>
              </a:xfrm>
              <a:custGeom>
                <a:avLst/>
                <a:gdLst>
                  <a:gd name="connsiteX0" fmla="*/ 0 w 47166"/>
                  <a:gd name="connsiteY0" fmla="*/ 0 h 34154"/>
                  <a:gd name="connsiteX1" fmla="*/ 47166 w 47166"/>
                  <a:gd name="connsiteY1" fmla="*/ 34155 h 341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166" h="34154">
                    <a:moveTo>
                      <a:pt x="0" y="0"/>
                    </a:moveTo>
                    <a:cubicBezTo>
                      <a:pt x="0" y="0"/>
                      <a:pt x="27649" y="13011"/>
                      <a:pt x="47166" y="34155"/>
                    </a:cubicBezTo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73" name="Gráfico 32">
              <a:extLst>
                <a:ext uri="{FF2B5EF4-FFF2-40B4-BE49-F238E27FC236}">
                  <a16:creationId xmlns:a16="http://schemas.microsoft.com/office/drawing/2014/main" id="{BA3B7478-2A55-F5E8-E10D-FA046B0CB30F}"/>
                </a:ext>
              </a:extLst>
            </p:cNvPr>
            <p:cNvGrpSpPr/>
            <p:nvPr/>
          </p:nvGrpSpPr>
          <p:grpSpPr>
            <a:xfrm>
              <a:off x="6191625" y="1599725"/>
              <a:ext cx="173767" cy="157112"/>
              <a:chOff x="6191625" y="1599725"/>
              <a:chExt cx="173767" cy="157112"/>
            </a:xfrm>
            <a:noFill/>
          </p:grpSpPr>
          <p:sp>
            <p:nvSpPr>
              <p:cNvPr id="83" name="Forma livre: Forma 82">
                <a:extLst>
                  <a:ext uri="{FF2B5EF4-FFF2-40B4-BE49-F238E27FC236}">
                    <a16:creationId xmlns:a16="http://schemas.microsoft.com/office/drawing/2014/main" id="{76276D01-E8C6-CC59-8E59-A370B93A0ECC}"/>
                  </a:ext>
                </a:extLst>
              </p:cNvPr>
              <p:cNvSpPr/>
              <p:nvPr/>
            </p:nvSpPr>
            <p:spPr>
              <a:xfrm>
                <a:off x="6310094" y="1621974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84" name="Forma livre: Forma 83">
                <a:extLst>
                  <a:ext uri="{FF2B5EF4-FFF2-40B4-BE49-F238E27FC236}">
                    <a16:creationId xmlns:a16="http://schemas.microsoft.com/office/drawing/2014/main" id="{688AA783-567D-0A49-4BE0-575F7222B0B4}"/>
                  </a:ext>
                </a:extLst>
              </p:cNvPr>
              <p:cNvSpPr/>
              <p:nvPr/>
            </p:nvSpPr>
            <p:spPr>
              <a:xfrm>
                <a:off x="6191625" y="1599725"/>
                <a:ext cx="118078" cy="49898"/>
              </a:xfrm>
              <a:custGeom>
                <a:avLst/>
                <a:gdLst>
                  <a:gd name="connsiteX0" fmla="*/ 0 w 118078"/>
                  <a:gd name="connsiteY0" fmla="*/ 0 h 49898"/>
                  <a:gd name="connsiteX1" fmla="*/ 37343 w 118078"/>
                  <a:gd name="connsiteY1" fmla="*/ 0 h 49898"/>
                  <a:gd name="connsiteX2" fmla="*/ 87176 w 118078"/>
                  <a:gd name="connsiteY2" fmla="*/ 49899 h 49898"/>
                  <a:gd name="connsiteX3" fmla="*/ 118078 w 118078"/>
                  <a:gd name="connsiteY3" fmla="*/ 49899 h 49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8078" h="49898">
                    <a:moveTo>
                      <a:pt x="0" y="0"/>
                    </a:moveTo>
                    <a:lnTo>
                      <a:pt x="37343" y="0"/>
                    </a:lnTo>
                    <a:lnTo>
                      <a:pt x="87176" y="49899"/>
                    </a:lnTo>
                    <a:lnTo>
                      <a:pt x="118078" y="49899"/>
                    </a:lnTo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85" name="Forma livre: Forma 84">
                <a:extLst>
                  <a:ext uri="{FF2B5EF4-FFF2-40B4-BE49-F238E27FC236}">
                    <a16:creationId xmlns:a16="http://schemas.microsoft.com/office/drawing/2014/main" id="{DCDF3C6A-01CE-DE6F-B0B1-627DEA1F8FCD}"/>
                  </a:ext>
                </a:extLst>
              </p:cNvPr>
              <p:cNvSpPr/>
              <p:nvPr/>
            </p:nvSpPr>
            <p:spPr>
              <a:xfrm>
                <a:off x="6191625" y="1665367"/>
                <a:ext cx="81906" cy="44108"/>
              </a:xfrm>
              <a:custGeom>
                <a:avLst/>
                <a:gdLst>
                  <a:gd name="connsiteX0" fmla="*/ 0 w 81906"/>
                  <a:gd name="connsiteY0" fmla="*/ 0 h 44108"/>
                  <a:gd name="connsiteX1" fmla="*/ 37343 w 81906"/>
                  <a:gd name="connsiteY1" fmla="*/ 0 h 44108"/>
                  <a:gd name="connsiteX2" fmla="*/ 81907 w 81906"/>
                  <a:gd name="connsiteY2" fmla="*/ 44109 h 441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1906" h="44108">
                    <a:moveTo>
                      <a:pt x="0" y="0"/>
                    </a:moveTo>
                    <a:lnTo>
                      <a:pt x="37343" y="0"/>
                    </a:lnTo>
                    <a:lnTo>
                      <a:pt x="81907" y="44109"/>
                    </a:lnTo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86" name="Forma livre: Forma 85">
                <a:extLst>
                  <a:ext uri="{FF2B5EF4-FFF2-40B4-BE49-F238E27FC236}">
                    <a16:creationId xmlns:a16="http://schemas.microsoft.com/office/drawing/2014/main" id="{78F12DDE-1DF7-40A8-07DF-ECBB613E8C17}"/>
                  </a:ext>
                </a:extLst>
              </p:cNvPr>
              <p:cNvSpPr/>
              <p:nvPr/>
            </p:nvSpPr>
            <p:spPr>
              <a:xfrm>
                <a:off x="6265075" y="1701539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74" name="Gráfico 32">
              <a:extLst>
                <a:ext uri="{FF2B5EF4-FFF2-40B4-BE49-F238E27FC236}">
                  <a16:creationId xmlns:a16="http://schemas.microsoft.com/office/drawing/2014/main" id="{6F23F28D-DF34-655B-CCFF-5F8927D63397}"/>
                </a:ext>
              </a:extLst>
            </p:cNvPr>
            <p:cNvGrpSpPr/>
            <p:nvPr/>
          </p:nvGrpSpPr>
          <p:grpSpPr>
            <a:xfrm>
              <a:off x="6191625" y="1357908"/>
              <a:ext cx="173767" cy="157112"/>
              <a:chOff x="6191625" y="1357908"/>
              <a:chExt cx="173767" cy="157112"/>
            </a:xfrm>
            <a:noFill/>
          </p:grpSpPr>
          <p:sp>
            <p:nvSpPr>
              <p:cNvPr id="79" name="Forma livre: Forma 78">
                <a:extLst>
                  <a:ext uri="{FF2B5EF4-FFF2-40B4-BE49-F238E27FC236}">
                    <a16:creationId xmlns:a16="http://schemas.microsoft.com/office/drawing/2014/main" id="{FD12F6CB-3ECC-D975-DC76-A7A932F39F56}"/>
                  </a:ext>
                </a:extLst>
              </p:cNvPr>
              <p:cNvSpPr/>
              <p:nvPr/>
            </p:nvSpPr>
            <p:spPr>
              <a:xfrm>
                <a:off x="6310094" y="1437472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0 h 55298"/>
                  <a:gd name="connsiteX2" fmla="*/ 0 w 55298"/>
                  <a:gd name="connsiteY2" fmla="*/ 27649 h 55298"/>
                  <a:gd name="connsiteX3" fmla="*/ 27649 w 55298"/>
                  <a:gd name="connsiteY3" fmla="*/ 55298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12361"/>
                      <a:pt x="42938" y="0"/>
                      <a:pt x="27649" y="0"/>
                    </a:cubicBezTo>
                    <a:cubicBezTo>
                      <a:pt x="12361" y="0"/>
                      <a:pt x="0" y="12361"/>
                      <a:pt x="0" y="27649"/>
                    </a:cubicBezTo>
                    <a:cubicBezTo>
                      <a:pt x="0" y="42938"/>
                      <a:pt x="12361" y="55298"/>
                      <a:pt x="27649" y="55298"/>
                    </a:cubicBezTo>
                    <a:cubicBezTo>
                      <a:pt x="42938" y="55298"/>
                      <a:pt x="55298" y="42938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80" name="Forma livre: Forma 79">
                <a:extLst>
                  <a:ext uri="{FF2B5EF4-FFF2-40B4-BE49-F238E27FC236}">
                    <a16:creationId xmlns:a16="http://schemas.microsoft.com/office/drawing/2014/main" id="{8FD559D4-9BC2-574F-9705-AD10F3B233FD}"/>
                  </a:ext>
                </a:extLst>
              </p:cNvPr>
              <p:cNvSpPr/>
              <p:nvPr/>
            </p:nvSpPr>
            <p:spPr>
              <a:xfrm>
                <a:off x="6191625" y="1465122"/>
                <a:ext cx="118468" cy="49898"/>
              </a:xfrm>
              <a:custGeom>
                <a:avLst/>
                <a:gdLst>
                  <a:gd name="connsiteX0" fmla="*/ 0 w 118468"/>
                  <a:gd name="connsiteY0" fmla="*/ 49899 h 49898"/>
                  <a:gd name="connsiteX1" fmla="*/ 37343 w 118468"/>
                  <a:gd name="connsiteY1" fmla="*/ 49899 h 49898"/>
                  <a:gd name="connsiteX2" fmla="*/ 87176 w 118468"/>
                  <a:gd name="connsiteY2" fmla="*/ 0 h 49898"/>
                  <a:gd name="connsiteX3" fmla="*/ 118469 w 118468"/>
                  <a:gd name="connsiteY3" fmla="*/ 0 h 49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8468" h="49898">
                    <a:moveTo>
                      <a:pt x="0" y="49899"/>
                    </a:moveTo>
                    <a:lnTo>
                      <a:pt x="37343" y="49899"/>
                    </a:lnTo>
                    <a:lnTo>
                      <a:pt x="87176" y="0"/>
                    </a:lnTo>
                    <a:lnTo>
                      <a:pt x="118469" y="0"/>
                    </a:lnTo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81" name="Forma livre: Forma 80">
                <a:extLst>
                  <a:ext uri="{FF2B5EF4-FFF2-40B4-BE49-F238E27FC236}">
                    <a16:creationId xmlns:a16="http://schemas.microsoft.com/office/drawing/2014/main" id="{4284AD09-90EA-09C1-E850-E9155A2A373C}"/>
                  </a:ext>
                </a:extLst>
              </p:cNvPr>
              <p:cNvSpPr/>
              <p:nvPr/>
            </p:nvSpPr>
            <p:spPr>
              <a:xfrm>
                <a:off x="6191625" y="1405269"/>
                <a:ext cx="81451" cy="44043"/>
              </a:xfrm>
              <a:custGeom>
                <a:avLst/>
                <a:gdLst>
                  <a:gd name="connsiteX0" fmla="*/ 0 w 81451"/>
                  <a:gd name="connsiteY0" fmla="*/ 44044 h 44043"/>
                  <a:gd name="connsiteX1" fmla="*/ 37343 w 81451"/>
                  <a:gd name="connsiteY1" fmla="*/ 44044 h 44043"/>
                  <a:gd name="connsiteX2" fmla="*/ 81451 w 81451"/>
                  <a:gd name="connsiteY2" fmla="*/ 0 h 440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1451" h="44043">
                    <a:moveTo>
                      <a:pt x="0" y="44044"/>
                    </a:moveTo>
                    <a:lnTo>
                      <a:pt x="37343" y="44044"/>
                    </a:lnTo>
                    <a:lnTo>
                      <a:pt x="81451" y="0"/>
                    </a:lnTo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82" name="Forma livre: Forma 81">
                <a:extLst>
                  <a:ext uri="{FF2B5EF4-FFF2-40B4-BE49-F238E27FC236}">
                    <a16:creationId xmlns:a16="http://schemas.microsoft.com/office/drawing/2014/main" id="{797CC7D8-A084-6D92-EF98-6D430D7C2B12}"/>
                  </a:ext>
                </a:extLst>
              </p:cNvPr>
              <p:cNvSpPr/>
              <p:nvPr/>
            </p:nvSpPr>
            <p:spPr>
              <a:xfrm>
                <a:off x="6265075" y="1357908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0 h 55298"/>
                  <a:gd name="connsiteX2" fmla="*/ 0 w 55298"/>
                  <a:gd name="connsiteY2" fmla="*/ 27649 h 55298"/>
                  <a:gd name="connsiteX3" fmla="*/ 27649 w 55298"/>
                  <a:gd name="connsiteY3" fmla="*/ 55298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12361"/>
                      <a:pt x="42938" y="0"/>
                      <a:pt x="27649" y="0"/>
                    </a:cubicBezTo>
                    <a:cubicBezTo>
                      <a:pt x="12361" y="0"/>
                      <a:pt x="0" y="12361"/>
                      <a:pt x="0" y="27649"/>
                    </a:cubicBezTo>
                    <a:cubicBezTo>
                      <a:pt x="0" y="42938"/>
                      <a:pt x="12361" y="55298"/>
                      <a:pt x="27649" y="55298"/>
                    </a:cubicBezTo>
                    <a:cubicBezTo>
                      <a:pt x="42938" y="55298"/>
                      <a:pt x="55298" y="42938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75" name="Gráfico 32">
              <a:extLst>
                <a:ext uri="{FF2B5EF4-FFF2-40B4-BE49-F238E27FC236}">
                  <a16:creationId xmlns:a16="http://schemas.microsoft.com/office/drawing/2014/main" id="{1B357BDC-5C49-5AA2-F67B-E9A4FBF778C5}"/>
                </a:ext>
              </a:extLst>
            </p:cNvPr>
            <p:cNvGrpSpPr/>
            <p:nvPr/>
          </p:nvGrpSpPr>
          <p:grpSpPr>
            <a:xfrm>
              <a:off x="6190910" y="1529723"/>
              <a:ext cx="123673" cy="55298"/>
              <a:chOff x="6190910" y="1529723"/>
              <a:chExt cx="123673" cy="55298"/>
            </a:xfrm>
            <a:noFill/>
          </p:grpSpPr>
          <p:sp>
            <p:nvSpPr>
              <p:cNvPr id="77" name="Forma livre: Forma 76">
                <a:extLst>
                  <a:ext uri="{FF2B5EF4-FFF2-40B4-BE49-F238E27FC236}">
                    <a16:creationId xmlns:a16="http://schemas.microsoft.com/office/drawing/2014/main" id="{E449E99C-6722-FCEA-186A-B55A50448825}"/>
                  </a:ext>
                </a:extLst>
              </p:cNvPr>
              <p:cNvSpPr/>
              <p:nvPr/>
            </p:nvSpPr>
            <p:spPr>
              <a:xfrm>
                <a:off x="6190910" y="1557372"/>
                <a:ext cx="68765" cy="6505"/>
              </a:xfrm>
              <a:custGeom>
                <a:avLst/>
                <a:gdLst>
                  <a:gd name="connsiteX0" fmla="*/ 0 w 68765"/>
                  <a:gd name="connsiteY0" fmla="*/ 0 h 6505"/>
                  <a:gd name="connsiteX1" fmla="*/ 68765 w 68765"/>
                  <a:gd name="connsiteY1" fmla="*/ 0 h 65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8765" h="6505">
                    <a:moveTo>
                      <a:pt x="0" y="0"/>
                    </a:moveTo>
                    <a:lnTo>
                      <a:pt x="68765" y="0"/>
                    </a:lnTo>
                  </a:path>
                </a:pathLst>
              </a:custGeom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8" name="Forma livre: Forma 77">
                <a:extLst>
                  <a:ext uri="{FF2B5EF4-FFF2-40B4-BE49-F238E27FC236}">
                    <a16:creationId xmlns:a16="http://schemas.microsoft.com/office/drawing/2014/main" id="{A94B0736-3BD1-C581-D978-DDB1B431F3B6}"/>
                  </a:ext>
                </a:extLst>
              </p:cNvPr>
              <p:cNvSpPr/>
              <p:nvPr/>
            </p:nvSpPr>
            <p:spPr>
              <a:xfrm>
                <a:off x="6259285" y="1529723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76" name="Forma livre: Forma 75">
              <a:extLst>
                <a:ext uri="{FF2B5EF4-FFF2-40B4-BE49-F238E27FC236}">
                  <a16:creationId xmlns:a16="http://schemas.microsoft.com/office/drawing/2014/main" id="{CADF989E-F3BE-ED51-CB88-55AA18D7C30D}"/>
                </a:ext>
              </a:extLst>
            </p:cNvPr>
            <p:cNvSpPr/>
            <p:nvPr/>
          </p:nvSpPr>
          <p:spPr>
            <a:xfrm>
              <a:off x="6152201" y="1686285"/>
              <a:ext cx="37362" cy="20848"/>
            </a:xfrm>
            <a:custGeom>
              <a:avLst/>
              <a:gdLst>
                <a:gd name="connsiteX0" fmla="*/ 0 w 37362"/>
                <a:gd name="connsiteY0" fmla="*/ 10505 h 20848"/>
                <a:gd name="connsiteX1" fmla="*/ 27064 w 37362"/>
                <a:gd name="connsiteY1" fmla="*/ 2373 h 20848"/>
                <a:gd name="connsiteX2" fmla="*/ 37343 w 37362"/>
                <a:gd name="connsiteY2" fmla="*/ 20849 h 20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7362" h="20848">
                  <a:moveTo>
                    <a:pt x="0" y="10505"/>
                  </a:moveTo>
                  <a:cubicBezTo>
                    <a:pt x="5205" y="811"/>
                    <a:pt x="17435" y="-2832"/>
                    <a:pt x="27064" y="2373"/>
                  </a:cubicBezTo>
                  <a:cubicBezTo>
                    <a:pt x="34025" y="6081"/>
                    <a:pt x="37668" y="13432"/>
                    <a:pt x="37343" y="20849"/>
                  </a:cubicBezTo>
                </a:path>
              </a:pathLst>
            </a:custGeom>
            <a:noFill/>
            <a:ln w="19050" cap="sq">
              <a:solidFill>
                <a:srgbClr val="00FF94"/>
              </a:solidFill>
              <a:prstDash val="solid"/>
              <a:miter lim="800000"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pic>
        <p:nvPicPr>
          <p:cNvPr id="98" name="Marcador de Posição da Imagem 97" descr="Uma imagem com fábrica, interior, pessoa, pessoas&#10;&#10;Os conteúdos gerados por IA podem estar incorretos.">
            <a:extLst>
              <a:ext uri="{FF2B5EF4-FFF2-40B4-BE49-F238E27FC236}">
                <a16:creationId xmlns:a16="http://schemas.microsoft.com/office/drawing/2014/main" id="{881B6259-46E5-27DD-55DC-793B8A0F9EBD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>
          <a:blip r:embed="rId2"/>
          <a:srcRect l="4563" r="37547"/>
          <a:stretch>
            <a:fillRect/>
          </a:stretch>
        </p:blipFill>
        <p:spPr>
          <a:xfrm>
            <a:off x="6618417" y="550505"/>
            <a:ext cx="4923329" cy="5672137"/>
          </a:xfrm>
        </p:spPr>
      </p:pic>
      <p:sp>
        <p:nvSpPr>
          <p:cNvPr id="2" name="Marcador de pie de página 1">
            <a:extLst>
              <a:ext uri="{FF2B5EF4-FFF2-40B4-BE49-F238E27FC236}">
                <a16:creationId xmlns:a16="http://schemas.microsoft.com/office/drawing/2014/main" id="{8BA3519A-6820-435E-94E3-1EEA69B9227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pt-PT"/>
              <a:t>Título de la presentación</a:t>
            </a:r>
            <a:endParaRPr lang="pt-PT" dirty="0"/>
          </a:p>
        </p:txBody>
      </p:sp>
      <p:sp>
        <p:nvSpPr>
          <p:cNvPr id="3" name="Marcador de número de diapositiva 2">
            <a:extLst>
              <a:ext uri="{FF2B5EF4-FFF2-40B4-BE49-F238E27FC236}">
                <a16:creationId xmlns:a16="http://schemas.microsoft.com/office/drawing/2014/main" id="{EB213016-96F9-4C3B-8D2D-356CC5E4B92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4A347C2-D68E-473A-8C76-1D063E4EB6E0}" type="slidenum">
              <a:rPr lang="es-ES" smtClean="0"/>
              <a:pPr/>
              <a:t>22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6707068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ítulo 10">
            <a:extLst>
              <a:ext uri="{FF2B5EF4-FFF2-40B4-BE49-F238E27FC236}">
                <a16:creationId xmlns:a16="http://schemas.microsoft.com/office/drawing/2014/main" id="{1083FD9B-EED9-4E11-EE08-0522141BDDC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3184" y="550508"/>
            <a:ext cx="11078741" cy="712204"/>
          </a:xfrm>
        </p:spPr>
        <p:txBody>
          <a:bodyPr/>
          <a:lstStyle/>
          <a:p>
            <a:r>
              <a:rPr lang="pt-PT" dirty="0"/>
              <a:t>Ejemplo de slide de título</a:t>
            </a:r>
          </a:p>
        </p:txBody>
      </p:sp>
      <p:sp>
        <p:nvSpPr>
          <p:cNvPr id="12" name="Marcador de Posição do Texto 11">
            <a:extLst>
              <a:ext uri="{FF2B5EF4-FFF2-40B4-BE49-F238E27FC236}">
                <a16:creationId xmlns:a16="http://schemas.microsoft.com/office/drawing/2014/main" id="{B52ADB74-918F-7401-3683-B0FDDABCC368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512764" y="1156317"/>
            <a:ext cx="11079578" cy="355243"/>
          </a:xfrm>
        </p:spPr>
        <p:txBody>
          <a:bodyPr>
            <a:normAutofit/>
          </a:bodyPr>
          <a:lstStyle/>
          <a:p>
            <a:r>
              <a:rPr lang="pt-PT" dirty="0"/>
              <a:t>Ejemplo de subtítulo de slide</a:t>
            </a:r>
          </a:p>
        </p:txBody>
      </p:sp>
      <p:sp>
        <p:nvSpPr>
          <p:cNvPr id="13" name="Marcador de Posição do Texto 12">
            <a:extLst>
              <a:ext uri="{FF2B5EF4-FFF2-40B4-BE49-F238E27FC236}">
                <a16:creationId xmlns:a16="http://schemas.microsoft.com/office/drawing/2014/main" id="{31536806-42BB-CA4F-ADF6-E9119D3D859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>
            <a:noAutofit/>
          </a:bodyPr>
          <a:lstStyle/>
          <a:p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Lorem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ipsum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dolor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sit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amet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,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consectetuer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adipiscing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elit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.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Maecenas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porttitor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congue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massa. </a:t>
            </a:r>
            <a:r>
              <a:rPr lang="pt-PT" dirty="0" err="1"/>
              <a:t>Fusce</a:t>
            </a:r>
            <a:r>
              <a:rPr lang="pt-PT" dirty="0"/>
              <a:t> </a:t>
            </a:r>
            <a:r>
              <a:rPr lang="pt-PT" dirty="0" err="1"/>
              <a:t>posuere</a:t>
            </a:r>
            <a:r>
              <a:rPr lang="pt-PT" dirty="0"/>
              <a:t>, magna </a:t>
            </a:r>
            <a:r>
              <a:rPr lang="pt-PT" dirty="0" err="1"/>
              <a:t>sed</a:t>
            </a:r>
            <a:r>
              <a:rPr lang="pt-PT" dirty="0"/>
              <a:t> pulvinar </a:t>
            </a:r>
            <a:r>
              <a:rPr lang="pt-PT" dirty="0" err="1"/>
              <a:t>ultricies</a:t>
            </a:r>
            <a:r>
              <a:rPr lang="pt-PT" dirty="0"/>
              <a:t>, purus </a:t>
            </a:r>
            <a:r>
              <a:rPr lang="pt-PT" dirty="0" err="1"/>
              <a:t>lectus</a:t>
            </a:r>
            <a:r>
              <a:rPr lang="pt-PT" dirty="0"/>
              <a:t> </a:t>
            </a:r>
            <a:r>
              <a:rPr lang="pt-PT" dirty="0" err="1"/>
              <a:t>malesuada</a:t>
            </a:r>
            <a:r>
              <a:rPr lang="pt-PT" dirty="0"/>
              <a:t> libero,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r>
              <a:rPr lang="pt-PT" dirty="0"/>
              <a:t> </a:t>
            </a:r>
            <a:r>
              <a:rPr lang="pt-PT" dirty="0" err="1"/>
              <a:t>commodo</a:t>
            </a:r>
            <a:r>
              <a:rPr lang="pt-PT" dirty="0"/>
              <a:t> magna eros quis urna.</a:t>
            </a:r>
          </a:p>
        </p:txBody>
      </p:sp>
      <p:sp>
        <p:nvSpPr>
          <p:cNvPr id="14" name="Marcador de Posição do Texto 13">
            <a:extLst>
              <a:ext uri="{FF2B5EF4-FFF2-40B4-BE49-F238E27FC236}">
                <a16:creationId xmlns:a16="http://schemas.microsoft.com/office/drawing/2014/main" id="{CE8023EE-68C8-F244-10D6-C2F75E57D3B6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pt-PT" dirty="0"/>
              <a:t>Exemplo de texto destacado</a:t>
            </a:r>
          </a:p>
        </p:txBody>
      </p:sp>
      <p:sp>
        <p:nvSpPr>
          <p:cNvPr id="15" name="Marcador de Posição do Texto 14">
            <a:extLst>
              <a:ext uri="{FF2B5EF4-FFF2-40B4-BE49-F238E27FC236}">
                <a16:creationId xmlns:a16="http://schemas.microsoft.com/office/drawing/2014/main" id="{084BDC30-5970-E221-8345-4F382B797FD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Lorem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ipsum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dolor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sit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amet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,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consectetuer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adipiscing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elit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.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Maecenas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porttitor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congue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massa. </a:t>
            </a:r>
            <a:r>
              <a:rPr lang="pt-PT" dirty="0" err="1"/>
              <a:t>Fusce</a:t>
            </a:r>
            <a:r>
              <a:rPr lang="pt-PT" dirty="0"/>
              <a:t> </a:t>
            </a:r>
            <a:r>
              <a:rPr lang="pt-PT" dirty="0" err="1"/>
              <a:t>posuere</a:t>
            </a:r>
            <a:r>
              <a:rPr lang="pt-PT" dirty="0"/>
              <a:t>, magna </a:t>
            </a:r>
            <a:r>
              <a:rPr lang="pt-PT" dirty="0" err="1"/>
              <a:t>sed</a:t>
            </a:r>
            <a:r>
              <a:rPr lang="pt-PT" dirty="0"/>
              <a:t> pulvinar </a:t>
            </a:r>
            <a:r>
              <a:rPr lang="pt-PT" dirty="0" err="1"/>
              <a:t>ultricies</a:t>
            </a:r>
            <a:r>
              <a:rPr lang="pt-PT" dirty="0"/>
              <a:t>, purus </a:t>
            </a:r>
            <a:r>
              <a:rPr lang="pt-PT" dirty="0" err="1"/>
              <a:t>lectus</a:t>
            </a:r>
            <a:r>
              <a:rPr lang="pt-PT" dirty="0"/>
              <a:t> </a:t>
            </a:r>
            <a:r>
              <a:rPr lang="pt-PT" dirty="0" err="1"/>
              <a:t>malesuada</a:t>
            </a:r>
            <a:r>
              <a:rPr lang="pt-PT" dirty="0"/>
              <a:t> libero,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r>
              <a:rPr lang="pt-PT" dirty="0"/>
              <a:t> </a:t>
            </a:r>
            <a:r>
              <a:rPr lang="pt-PT" dirty="0" err="1"/>
              <a:t>commodo</a:t>
            </a:r>
            <a:r>
              <a:rPr lang="pt-PT" dirty="0"/>
              <a:t> magna eros quis urna.</a:t>
            </a:r>
          </a:p>
          <a:p>
            <a:endParaRPr lang="pt-PT" dirty="0"/>
          </a:p>
        </p:txBody>
      </p:sp>
      <p:sp>
        <p:nvSpPr>
          <p:cNvPr id="16" name="Marcador de Posição do Texto 15">
            <a:extLst>
              <a:ext uri="{FF2B5EF4-FFF2-40B4-BE49-F238E27FC236}">
                <a16:creationId xmlns:a16="http://schemas.microsoft.com/office/drawing/2014/main" id="{CBD766CE-CD19-CE5E-F8DB-0DB89C293BF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pt-PT" dirty="0"/>
              <a:t>Exemplo de texto destacado</a:t>
            </a:r>
          </a:p>
        </p:txBody>
      </p:sp>
      <p:sp>
        <p:nvSpPr>
          <p:cNvPr id="17" name="Marcador de Posição do Texto 16">
            <a:extLst>
              <a:ext uri="{FF2B5EF4-FFF2-40B4-BE49-F238E27FC236}">
                <a16:creationId xmlns:a16="http://schemas.microsoft.com/office/drawing/2014/main" id="{0238EF24-91BE-4863-E297-711D1F5BE3C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Lorem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ipsum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dolor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sit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amet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,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consectetuer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adipiscing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elit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.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Maecenas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porttitor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congue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massa. </a:t>
            </a:r>
            <a:r>
              <a:rPr lang="pt-PT" dirty="0" err="1"/>
              <a:t>Fusce</a:t>
            </a:r>
            <a:r>
              <a:rPr lang="pt-PT" dirty="0"/>
              <a:t> </a:t>
            </a:r>
            <a:r>
              <a:rPr lang="pt-PT" dirty="0" err="1"/>
              <a:t>posuere</a:t>
            </a:r>
            <a:r>
              <a:rPr lang="pt-PT" dirty="0"/>
              <a:t>, magna </a:t>
            </a:r>
            <a:r>
              <a:rPr lang="pt-PT" dirty="0" err="1"/>
              <a:t>sed</a:t>
            </a:r>
            <a:r>
              <a:rPr lang="pt-PT" dirty="0"/>
              <a:t> pulvinar </a:t>
            </a:r>
            <a:r>
              <a:rPr lang="pt-PT" dirty="0" err="1"/>
              <a:t>ultricies</a:t>
            </a:r>
            <a:r>
              <a:rPr lang="pt-PT" dirty="0"/>
              <a:t>, purus </a:t>
            </a:r>
            <a:r>
              <a:rPr lang="pt-PT" dirty="0" err="1"/>
              <a:t>lectus</a:t>
            </a:r>
            <a:r>
              <a:rPr lang="pt-PT" dirty="0"/>
              <a:t> </a:t>
            </a:r>
            <a:r>
              <a:rPr lang="pt-PT" dirty="0" err="1"/>
              <a:t>malesuada</a:t>
            </a:r>
            <a:r>
              <a:rPr lang="pt-PT" dirty="0"/>
              <a:t> libero,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r>
              <a:rPr lang="pt-PT" dirty="0"/>
              <a:t> </a:t>
            </a:r>
            <a:r>
              <a:rPr lang="pt-PT" dirty="0" err="1"/>
              <a:t>commodo</a:t>
            </a:r>
            <a:r>
              <a:rPr lang="pt-PT" dirty="0"/>
              <a:t> magna eros quis urna.</a:t>
            </a:r>
          </a:p>
          <a:p>
            <a:endParaRPr lang="pt-PT" dirty="0"/>
          </a:p>
        </p:txBody>
      </p:sp>
      <p:sp>
        <p:nvSpPr>
          <p:cNvPr id="18" name="Marcador de Posição do Texto 17">
            <a:extLst>
              <a:ext uri="{FF2B5EF4-FFF2-40B4-BE49-F238E27FC236}">
                <a16:creationId xmlns:a16="http://schemas.microsoft.com/office/drawing/2014/main" id="{7EC08AA7-20A6-7CF1-8ED0-35E3AD957D5F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r>
              <a:rPr lang="pt-PT" dirty="0"/>
              <a:t>Exemplo de texto destacado</a:t>
            </a:r>
          </a:p>
        </p:txBody>
      </p:sp>
      <p:sp>
        <p:nvSpPr>
          <p:cNvPr id="19" name="Marcador de Posição do Texto 18">
            <a:extLst>
              <a:ext uri="{FF2B5EF4-FFF2-40B4-BE49-F238E27FC236}">
                <a16:creationId xmlns:a16="http://schemas.microsoft.com/office/drawing/2014/main" id="{C5417538-3E1A-9D57-FABE-C9BBA3F32FB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Lorem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ipsum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dolor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sit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amet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,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consectetuer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adipiscing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elit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.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Maecenas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porttitor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congue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massa. </a:t>
            </a:r>
            <a:r>
              <a:rPr lang="pt-PT" dirty="0" err="1"/>
              <a:t>Fusce</a:t>
            </a:r>
            <a:r>
              <a:rPr lang="pt-PT" dirty="0"/>
              <a:t> </a:t>
            </a:r>
            <a:r>
              <a:rPr lang="pt-PT" dirty="0" err="1"/>
              <a:t>posuere</a:t>
            </a:r>
            <a:r>
              <a:rPr lang="pt-PT" dirty="0"/>
              <a:t>, magna </a:t>
            </a:r>
            <a:r>
              <a:rPr lang="pt-PT" dirty="0" err="1"/>
              <a:t>sed</a:t>
            </a:r>
            <a:r>
              <a:rPr lang="pt-PT" dirty="0"/>
              <a:t> pulvinar </a:t>
            </a:r>
            <a:r>
              <a:rPr lang="pt-PT" dirty="0" err="1"/>
              <a:t>ultricies</a:t>
            </a:r>
            <a:r>
              <a:rPr lang="pt-PT" dirty="0"/>
              <a:t>, purus </a:t>
            </a:r>
            <a:r>
              <a:rPr lang="pt-PT" dirty="0" err="1"/>
              <a:t>lectus</a:t>
            </a:r>
            <a:r>
              <a:rPr lang="pt-PT" dirty="0"/>
              <a:t> </a:t>
            </a:r>
            <a:r>
              <a:rPr lang="pt-PT" dirty="0" err="1"/>
              <a:t>malesuada</a:t>
            </a:r>
            <a:r>
              <a:rPr lang="pt-PT" dirty="0"/>
              <a:t> libero,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r>
              <a:rPr lang="pt-PT" dirty="0"/>
              <a:t> </a:t>
            </a:r>
            <a:r>
              <a:rPr lang="pt-PT" dirty="0" err="1"/>
              <a:t>commodo</a:t>
            </a:r>
            <a:r>
              <a:rPr lang="pt-PT" dirty="0"/>
              <a:t> magna eros quis urna.</a:t>
            </a:r>
          </a:p>
          <a:p>
            <a:endParaRPr lang="pt-PT" dirty="0"/>
          </a:p>
        </p:txBody>
      </p:sp>
      <p:sp>
        <p:nvSpPr>
          <p:cNvPr id="20" name="Marcador de Posição do Texto 19">
            <a:extLst>
              <a:ext uri="{FF2B5EF4-FFF2-40B4-BE49-F238E27FC236}">
                <a16:creationId xmlns:a16="http://schemas.microsoft.com/office/drawing/2014/main" id="{214761EB-CB94-07C3-C1A7-9A95DD6C9706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r>
              <a:rPr lang="pt-PT" dirty="0"/>
              <a:t>Exemplo de texto destacado</a:t>
            </a:r>
          </a:p>
        </p:txBody>
      </p:sp>
      <p:sp>
        <p:nvSpPr>
          <p:cNvPr id="21" name="Marcador de Posição do Texto 20">
            <a:extLst>
              <a:ext uri="{FF2B5EF4-FFF2-40B4-BE49-F238E27FC236}">
                <a16:creationId xmlns:a16="http://schemas.microsoft.com/office/drawing/2014/main" id="{3D8359F6-E1D9-7A12-793F-9218F8C46D65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/>
        <p:txBody>
          <a:bodyPr/>
          <a:lstStyle/>
          <a:p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Lorem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ipsum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dolor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sit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amet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,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consectetuer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adipiscing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elit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.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Maecenas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porttitor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congue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massa. </a:t>
            </a:r>
            <a:r>
              <a:rPr lang="pt-PT" dirty="0" err="1"/>
              <a:t>Fusce</a:t>
            </a:r>
            <a:r>
              <a:rPr lang="pt-PT" dirty="0"/>
              <a:t> </a:t>
            </a:r>
            <a:r>
              <a:rPr lang="pt-PT" dirty="0" err="1"/>
              <a:t>posuere</a:t>
            </a:r>
            <a:r>
              <a:rPr lang="pt-PT" dirty="0"/>
              <a:t>, magna </a:t>
            </a:r>
            <a:r>
              <a:rPr lang="pt-PT" dirty="0" err="1"/>
              <a:t>sed</a:t>
            </a:r>
            <a:r>
              <a:rPr lang="pt-PT" dirty="0"/>
              <a:t> pulvinar </a:t>
            </a:r>
            <a:r>
              <a:rPr lang="pt-PT" dirty="0" err="1"/>
              <a:t>ultricies</a:t>
            </a:r>
            <a:r>
              <a:rPr lang="pt-PT" dirty="0"/>
              <a:t>, purus </a:t>
            </a:r>
            <a:r>
              <a:rPr lang="pt-PT" dirty="0" err="1"/>
              <a:t>lectus</a:t>
            </a:r>
            <a:r>
              <a:rPr lang="pt-PT" dirty="0"/>
              <a:t> </a:t>
            </a:r>
            <a:r>
              <a:rPr lang="pt-PT" dirty="0" err="1"/>
              <a:t>malesuada</a:t>
            </a:r>
            <a:r>
              <a:rPr lang="pt-PT" dirty="0"/>
              <a:t> libero,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r>
              <a:rPr lang="pt-PT" dirty="0"/>
              <a:t> </a:t>
            </a:r>
            <a:r>
              <a:rPr lang="pt-PT" dirty="0" err="1"/>
              <a:t>commodo</a:t>
            </a:r>
            <a:r>
              <a:rPr lang="pt-PT" dirty="0"/>
              <a:t> magna eros quis urna.</a:t>
            </a:r>
          </a:p>
          <a:p>
            <a:endParaRPr lang="pt-PT" dirty="0"/>
          </a:p>
        </p:txBody>
      </p:sp>
      <p:sp>
        <p:nvSpPr>
          <p:cNvPr id="22" name="Marcador de Posição do Texto 21">
            <a:extLst>
              <a:ext uri="{FF2B5EF4-FFF2-40B4-BE49-F238E27FC236}">
                <a16:creationId xmlns:a16="http://schemas.microsoft.com/office/drawing/2014/main" id="{5CBBFC97-D901-CB8A-A80B-A829E310DB45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r>
              <a:rPr lang="pt-PT" dirty="0"/>
              <a:t>Exemplo de texto destacado</a:t>
            </a:r>
          </a:p>
        </p:txBody>
      </p:sp>
      <p:sp>
        <p:nvSpPr>
          <p:cNvPr id="23" name="Marcador de Posição do Texto 22">
            <a:extLst>
              <a:ext uri="{FF2B5EF4-FFF2-40B4-BE49-F238E27FC236}">
                <a16:creationId xmlns:a16="http://schemas.microsoft.com/office/drawing/2014/main" id="{87692E78-7D5A-A103-4ED0-A207A2B5D0A4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/>
        <p:txBody>
          <a:bodyPr/>
          <a:lstStyle/>
          <a:p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Lorem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ipsum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dolor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sit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amet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,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consectetuer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adipiscing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elit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.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Maecenas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porttitor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congue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massa. </a:t>
            </a:r>
            <a:r>
              <a:rPr lang="pt-PT" dirty="0" err="1"/>
              <a:t>Fusce</a:t>
            </a:r>
            <a:r>
              <a:rPr lang="pt-PT" dirty="0"/>
              <a:t> </a:t>
            </a:r>
            <a:r>
              <a:rPr lang="pt-PT" dirty="0" err="1"/>
              <a:t>posuere</a:t>
            </a:r>
            <a:r>
              <a:rPr lang="pt-PT" dirty="0"/>
              <a:t>, magna </a:t>
            </a:r>
            <a:r>
              <a:rPr lang="pt-PT" dirty="0" err="1"/>
              <a:t>sed</a:t>
            </a:r>
            <a:r>
              <a:rPr lang="pt-PT" dirty="0"/>
              <a:t> pulvinar </a:t>
            </a:r>
            <a:r>
              <a:rPr lang="pt-PT" dirty="0" err="1"/>
              <a:t>ultricies</a:t>
            </a:r>
            <a:r>
              <a:rPr lang="pt-PT" dirty="0"/>
              <a:t>, purus </a:t>
            </a:r>
            <a:r>
              <a:rPr lang="pt-PT" dirty="0" err="1"/>
              <a:t>lectus</a:t>
            </a:r>
            <a:r>
              <a:rPr lang="pt-PT" dirty="0"/>
              <a:t> </a:t>
            </a:r>
            <a:r>
              <a:rPr lang="pt-PT" dirty="0" err="1"/>
              <a:t>malesuada</a:t>
            </a:r>
            <a:r>
              <a:rPr lang="pt-PT" dirty="0"/>
              <a:t> libero,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r>
              <a:rPr lang="pt-PT" dirty="0"/>
              <a:t> </a:t>
            </a:r>
            <a:r>
              <a:rPr lang="pt-PT" dirty="0" err="1"/>
              <a:t>commodo</a:t>
            </a:r>
            <a:r>
              <a:rPr lang="pt-PT" dirty="0"/>
              <a:t> magna eros quis urna.</a:t>
            </a:r>
          </a:p>
          <a:p>
            <a:endParaRPr lang="pt-PT" dirty="0"/>
          </a:p>
        </p:txBody>
      </p:sp>
      <p:sp>
        <p:nvSpPr>
          <p:cNvPr id="24" name="Marcador de Posição do Texto 23">
            <a:extLst>
              <a:ext uri="{FF2B5EF4-FFF2-40B4-BE49-F238E27FC236}">
                <a16:creationId xmlns:a16="http://schemas.microsoft.com/office/drawing/2014/main" id="{6096DA75-8A3C-E23C-CE41-BD3974CB4F9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/>
        <p:txBody>
          <a:bodyPr/>
          <a:lstStyle/>
          <a:p>
            <a:r>
              <a:rPr lang="pt-PT" dirty="0"/>
              <a:t>Exemplo de texto destacado</a:t>
            </a:r>
          </a:p>
        </p:txBody>
      </p:sp>
      <p:grpSp>
        <p:nvGrpSpPr>
          <p:cNvPr id="2" name="Agrupar 1">
            <a:extLst>
              <a:ext uri="{FF2B5EF4-FFF2-40B4-BE49-F238E27FC236}">
                <a16:creationId xmlns:a16="http://schemas.microsoft.com/office/drawing/2014/main" id="{E1F2EC0D-FBA1-C632-B298-D44E63D68C7A}"/>
              </a:ext>
            </a:extLst>
          </p:cNvPr>
          <p:cNvGrpSpPr/>
          <p:nvPr/>
        </p:nvGrpSpPr>
        <p:grpSpPr>
          <a:xfrm>
            <a:off x="478387" y="2035763"/>
            <a:ext cx="994687" cy="616657"/>
            <a:chOff x="478387" y="2035763"/>
            <a:chExt cx="994687" cy="616657"/>
          </a:xfrm>
          <a:solidFill>
            <a:srgbClr val="132153"/>
          </a:solidFill>
        </p:grpSpPr>
        <p:sp>
          <p:nvSpPr>
            <p:cNvPr id="25" name="Forma livre: Forma 24">
              <a:extLst>
                <a:ext uri="{FF2B5EF4-FFF2-40B4-BE49-F238E27FC236}">
                  <a16:creationId xmlns:a16="http://schemas.microsoft.com/office/drawing/2014/main" id="{C7838F1A-EE96-75BA-0377-6EB96D459DAE}"/>
                </a:ext>
              </a:extLst>
            </p:cNvPr>
            <p:cNvSpPr/>
            <p:nvPr/>
          </p:nvSpPr>
          <p:spPr>
            <a:xfrm flipH="1">
              <a:off x="478387" y="2035763"/>
              <a:ext cx="994687" cy="616657"/>
            </a:xfrm>
            <a:custGeom>
              <a:avLst/>
              <a:gdLst>
                <a:gd name="connsiteX0" fmla="*/ 671828 w 846074"/>
                <a:gd name="connsiteY0" fmla="*/ 0 h 524524"/>
                <a:gd name="connsiteX1" fmla="*/ 0 w 846074"/>
                <a:gd name="connsiteY1" fmla="*/ 0 h 524524"/>
                <a:gd name="connsiteX2" fmla="*/ 524529 w 846074"/>
                <a:gd name="connsiteY2" fmla="*/ 524524 h 524524"/>
                <a:gd name="connsiteX3" fmla="*/ 524742 w 846074"/>
                <a:gd name="connsiteY3" fmla="*/ 524524 h 524524"/>
                <a:gd name="connsiteX4" fmla="*/ 846074 w 846074"/>
                <a:gd name="connsiteY4" fmla="*/ 524524 h 5245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46074" h="524524">
                  <a:moveTo>
                    <a:pt x="671828" y="0"/>
                  </a:moveTo>
                  <a:lnTo>
                    <a:pt x="0" y="0"/>
                  </a:lnTo>
                  <a:cubicBezTo>
                    <a:pt x="0" y="289824"/>
                    <a:pt x="234920" y="524524"/>
                    <a:pt x="524529" y="524524"/>
                  </a:cubicBezTo>
                  <a:lnTo>
                    <a:pt x="524742" y="524524"/>
                  </a:lnTo>
                  <a:lnTo>
                    <a:pt x="846074" y="524524"/>
                  </a:lnTo>
                  <a:close/>
                </a:path>
              </a:pathLst>
            </a:custGeom>
            <a:grpFill/>
            <a:ln w="4244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pt-PT"/>
            </a:p>
          </p:txBody>
        </p:sp>
        <p:grpSp>
          <p:nvGrpSpPr>
            <p:cNvPr id="31" name="Agrupar 30">
              <a:extLst>
                <a:ext uri="{FF2B5EF4-FFF2-40B4-BE49-F238E27FC236}">
                  <a16:creationId xmlns:a16="http://schemas.microsoft.com/office/drawing/2014/main" id="{A4F48B18-C74D-2444-9BCC-081EA46EC36E}"/>
                </a:ext>
              </a:extLst>
            </p:cNvPr>
            <p:cNvGrpSpPr/>
            <p:nvPr/>
          </p:nvGrpSpPr>
          <p:grpSpPr>
            <a:xfrm>
              <a:off x="821640" y="2175816"/>
              <a:ext cx="308179" cy="336550"/>
              <a:chOff x="6000092" y="1357908"/>
              <a:chExt cx="365300" cy="398929"/>
            </a:xfrm>
            <a:grpFill/>
          </p:grpSpPr>
          <p:sp>
            <p:nvSpPr>
              <p:cNvPr id="32" name="Forma livre: Forma 31">
                <a:extLst>
                  <a:ext uri="{FF2B5EF4-FFF2-40B4-BE49-F238E27FC236}">
                    <a16:creationId xmlns:a16="http://schemas.microsoft.com/office/drawing/2014/main" id="{F3696450-2FDB-AEA6-7FA8-AD29A17C84D9}"/>
                  </a:ext>
                </a:extLst>
              </p:cNvPr>
              <p:cNvSpPr/>
              <p:nvPr/>
            </p:nvSpPr>
            <p:spPr>
              <a:xfrm>
                <a:off x="6000092" y="1418606"/>
                <a:ext cx="84058" cy="286120"/>
              </a:xfrm>
              <a:custGeom>
                <a:avLst/>
                <a:gdLst>
                  <a:gd name="connsiteX0" fmla="*/ 51595 w 84058"/>
                  <a:gd name="connsiteY0" fmla="*/ 0 h 286120"/>
                  <a:gd name="connsiteX1" fmla="*/ 35266 w 84058"/>
                  <a:gd name="connsiteY1" fmla="*/ 61674 h 286120"/>
                  <a:gd name="connsiteX2" fmla="*/ 28760 w 84058"/>
                  <a:gd name="connsiteY2" fmla="*/ 193415 h 286120"/>
                  <a:gd name="connsiteX3" fmla="*/ 84059 w 84058"/>
                  <a:gd name="connsiteY3" fmla="*/ 286121 h 2861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4058" h="286120">
                    <a:moveTo>
                      <a:pt x="51595" y="0"/>
                    </a:moveTo>
                    <a:cubicBezTo>
                      <a:pt x="37868" y="7872"/>
                      <a:pt x="26028" y="24852"/>
                      <a:pt x="35266" y="61674"/>
                    </a:cubicBezTo>
                    <a:cubicBezTo>
                      <a:pt x="35266" y="61674"/>
                      <a:pt x="-39549" y="126731"/>
                      <a:pt x="28760" y="193415"/>
                    </a:cubicBezTo>
                    <a:cubicBezTo>
                      <a:pt x="28760" y="193415"/>
                      <a:pt x="9243" y="281242"/>
                      <a:pt x="84059" y="286121"/>
                    </a:cubicBezTo>
                  </a:path>
                </a:pathLst>
              </a:custGeom>
              <a:grp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33" name="Gráfico 32">
                <a:extLst>
                  <a:ext uri="{FF2B5EF4-FFF2-40B4-BE49-F238E27FC236}">
                    <a16:creationId xmlns:a16="http://schemas.microsoft.com/office/drawing/2014/main" id="{845074EC-1CC5-7D77-94B9-BCFFA18CFD93}"/>
                  </a:ext>
                </a:extLst>
              </p:cNvPr>
              <p:cNvGrpSpPr/>
              <p:nvPr/>
            </p:nvGrpSpPr>
            <p:grpSpPr>
              <a:xfrm>
                <a:off x="6061121" y="1359924"/>
                <a:ext cx="128487" cy="396366"/>
                <a:chOff x="6061121" y="1359924"/>
                <a:chExt cx="128487" cy="396366"/>
              </a:xfrm>
              <a:grpFill/>
            </p:grpSpPr>
            <p:sp>
              <p:nvSpPr>
                <p:cNvPr id="48" name="Forma livre: Forma 47">
                  <a:extLst>
                    <a:ext uri="{FF2B5EF4-FFF2-40B4-BE49-F238E27FC236}">
                      <a16:creationId xmlns:a16="http://schemas.microsoft.com/office/drawing/2014/main" id="{3A675008-2BD2-7D38-7334-97CD43F0A6CA}"/>
                    </a:ext>
                  </a:extLst>
                </p:cNvPr>
                <p:cNvSpPr/>
                <p:nvPr/>
              </p:nvSpPr>
              <p:spPr>
                <a:xfrm>
                  <a:off x="6083891" y="1359924"/>
                  <a:ext cx="105717" cy="396366"/>
                </a:xfrm>
                <a:custGeom>
                  <a:avLst/>
                  <a:gdLst>
                    <a:gd name="connsiteX0" fmla="*/ 52891 w 105717"/>
                    <a:gd name="connsiteY0" fmla="*/ 105718 h 396366"/>
                    <a:gd name="connsiteX1" fmla="*/ 0 w 105717"/>
                    <a:gd name="connsiteY1" fmla="*/ 52891 h 396366"/>
                    <a:gd name="connsiteX2" fmla="*/ 52891 w 105717"/>
                    <a:gd name="connsiteY2" fmla="*/ 0 h 396366"/>
                    <a:gd name="connsiteX3" fmla="*/ 105718 w 105717"/>
                    <a:gd name="connsiteY3" fmla="*/ 52826 h 396366"/>
                    <a:gd name="connsiteX4" fmla="*/ 105718 w 105717"/>
                    <a:gd name="connsiteY4" fmla="*/ 346884 h 396366"/>
                    <a:gd name="connsiteX5" fmla="*/ 80606 w 105717"/>
                    <a:gd name="connsiteY5" fmla="*/ 388911 h 396366"/>
                    <a:gd name="connsiteX6" fmla="*/ 9238 w 105717"/>
                    <a:gd name="connsiteY6" fmla="*/ 371150 h 396366"/>
                    <a:gd name="connsiteX7" fmla="*/ 15484 w 105717"/>
                    <a:gd name="connsiteY7" fmla="*/ 309216 h 396366"/>
                    <a:gd name="connsiteX8" fmla="*/ 45019 w 105717"/>
                    <a:gd name="connsiteY8" fmla="*/ 277078 h 39636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105717" h="396366">
                      <a:moveTo>
                        <a:pt x="52891" y="105718"/>
                      </a:moveTo>
                      <a:cubicBezTo>
                        <a:pt x="23681" y="105718"/>
                        <a:pt x="0" y="82037"/>
                        <a:pt x="0" y="52891"/>
                      </a:cubicBezTo>
                      <a:cubicBezTo>
                        <a:pt x="0" y="23746"/>
                        <a:pt x="23681" y="0"/>
                        <a:pt x="52891" y="0"/>
                      </a:cubicBezTo>
                      <a:cubicBezTo>
                        <a:pt x="82102" y="0"/>
                        <a:pt x="105718" y="23681"/>
                        <a:pt x="105718" y="52826"/>
                      </a:cubicBezTo>
                      <a:lnTo>
                        <a:pt x="105718" y="346884"/>
                      </a:lnTo>
                      <a:cubicBezTo>
                        <a:pt x="105718" y="364580"/>
                        <a:pt x="96414" y="379413"/>
                        <a:pt x="80606" y="388911"/>
                      </a:cubicBezTo>
                      <a:cubicBezTo>
                        <a:pt x="55949" y="403744"/>
                        <a:pt x="24006" y="395742"/>
                        <a:pt x="9238" y="371150"/>
                      </a:cubicBezTo>
                      <a:cubicBezTo>
                        <a:pt x="-2928" y="350918"/>
                        <a:pt x="260" y="325741"/>
                        <a:pt x="15484" y="309216"/>
                      </a:cubicBezTo>
                      <a:lnTo>
                        <a:pt x="45019" y="277078"/>
                      </a:lnTo>
                    </a:path>
                  </a:pathLst>
                </a:custGeom>
                <a:grpFill/>
                <a:ln w="19050" cap="sq">
                  <a:solidFill>
                    <a:srgbClr val="00FF94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49" name="Forma livre: Forma 48">
                  <a:extLst>
                    <a:ext uri="{FF2B5EF4-FFF2-40B4-BE49-F238E27FC236}">
                      <a16:creationId xmlns:a16="http://schemas.microsoft.com/office/drawing/2014/main" id="{860CCE8A-DC8B-CDF9-6562-AB9256F175CC}"/>
                    </a:ext>
                  </a:extLst>
                </p:cNvPr>
                <p:cNvSpPr/>
                <p:nvPr/>
              </p:nvSpPr>
              <p:spPr>
                <a:xfrm>
                  <a:off x="6144784" y="1383865"/>
                  <a:ext cx="41563" cy="38963"/>
                </a:xfrm>
                <a:custGeom>
                  <a:avLst/>
                  <a:gdLst>
                    <a:gd name="connsiteX0" fmla="*/ 36172 w 41563"/>
                    <a:gd name="connsiteY0" fmla="*/ 0 h 38963"/>
                    <a:gd name="connsiteX1" fmla="*/ 39425 w 41563"/>
                    <a:gd name="connsiteY1" fmla="*/ 24266 h 38963"/>
                    <a:gd name="connsiteX2" fmla="*/ 36432 w 41563"/>
                    <a:gd name="connsiteY2" fmla="*/ 29080 h 38963"/>
                    <a:gd name="connsiteX3" fmla="*/ 0 w 41563"/>
                    <a:gd name="connsiteY3" fmla="*/ 33439 h 3896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1563" h="38963">
                      <a:moveTo>
                        <a:pt x="36172" y="0"/>
                      </a:moveTo>
                      <a:cubicBezTo>
                        <a:pt x="41571" y="7547"/>
                        <a:pt x="43393" y="16004"/>
                        <a:pt x="39425" y="24266"/>
                      </a:cubicBezTo>
                      <a:cubicBezTo>
                        <a:pt x="38644" y="25893"/>
                        <a:pt x="37603" y="27519"/>
                        <a:pt x="36432" y="29080"/>
                      </a:cubicBezTo>
                      <a:cubicBezTo>
                        <a:pt x="27584" y="40270"/>
                        <a:pt x="11190" y="42287"/>
                        <a:pt x="0" y="33439"/>
                      </a:cubicBezTo>
                    </a:path>
                  </a:pathLst>
                </a:custGeom>
                <a:grpFill/>
                <a:ln w="19050" cap="sq">
                  <a:solidFill>
                    <a:srgbClr val="00FF94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50" name="Forma livre: Forma 49">
                  <a:extLst>
                    <a:ext uri="{FF2B5EF4-FFF2-40B4-BE49-F238E27FC236}">
                      <a16:creationId xmlns:a16="http://schemas.microsoft.com/office/drawing/2014/main" id="{9ABC61FD-44C9-9BFA-FEB4-32CBDD9D8902}"/>
                    </a:ext>
                  </a:extLst>
                </p:cNvPr>
                <p:cNvSpPr/>
                <p:nvPr/>
              </p:nvSpPr>
              <p:spPr>
                <a:xfrm>
                  <a:off x="6081487" y="1460806"/>
                  <a:ext cx="34217" cy="54474"/>
                </a:xfrm>
                <a:custGeom>
                  <a:avLst/>
                  <a:gdLst>
                    <a:gd name="connsiteX0" fmla="*/ 21076 w 34217"/>
                    <a:gd name="connsiteY0" fmla="*/ 54475 h 54474"/>
                    <a:gd name="connsiteX1" fmla="*/ 778 w 34217"/>
                    <a:gd name="connsiteY1" fmla="*/ 21035 h 54474"/>
                    <a:gd name="connsiteX2" fmla="*/ 34217 w 34217"/>
                    <a:gd name="connsiteY2" fmla="*/ 803 h 544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34217" h="54474">
                      <a:moveTo>
                        <a:pt x="21076" y="54475"/>
                      </a:moveTo>
                      <a:cubicBezTo>
                        <a:pt x="6308" y="50832"/>
                        <a:pt x="-2800" y="35803"/>
                        <a:pt x="778" y="21035"/>
                      </a:cubicBezTo>
                      <a:cubicBezTo>
                        <a:pt x="4421" y="6267"/>
                        <a:pt x="19449" y="-2841"/>
                        <a:pt x="34217" y="803"/>
                      </a:cubicBezTo>
                    </a:path>
                  </a:pathLst>
                </a:custGeom>
                <a:grpFill/>
                <a:ln w="19050" cap="sq">
                  <a:solidFill>
                    <a:srgbClr val="00FF94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51" name="Forma livre: Forma 50">
                  <a:extLst>
                    <a:ext uri="{FF2B5EF4-FFF2-40B4-BE49-F238E27FC236}">
                      <a16:creationId xmlns:a16="http://schemas.microsoft.com/office/drawing/2014/main" id="{E3C88AC2-CD7D-F02A-F3CF-5E51AF835B16}"/>
                    </a:ext>
                  </a:extLst>
                </p:cNvPr>
                <p:cNvSpPr/>
                <p:nvPr/>
              </p:nvSpPr>
              <p:spPr>
                <a:xfrm>
                  <a:off x="6073547" y="1527543"/>
                  <a:ext cx="114760" cy="72506"/>
                </a:xfrm>
                <a:custGeom>
                  <a:avLst/>
                  <a:gdLst>
                    <a:gd name="connsiteX0" fmla="*/ 114760 w 114760"/>
                    <a:gd name="connsiteY0" fmla="*/ 7254 h 72506"/>
                    <a:gd name="connsiteX1" fmla="*/ 73905 w 114760"/>
                    <a:gd name="connsiteY1" fmla="*/ 8881 h 72506"/>
                    <a:gd name="connsiteX2" fmla="*/ 0 w 114760"/>
                    <a:gd name="connsiteY2" fmla="*/ 72506 h 7250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14760" h="72506">
                      <a:moveTo>
                        <a:pt x="114760" y="7254"/>
                      </a:moveTo>
                      <a:cubicBezTo>
                        <a:pt x="103375" y="-2830"/>
                        <a:pt x="83989" y="-2504"/>
                        <a:pt x="73905" y="8881"/>
                      </a:cubicBezTo>
                      <a:cubicBezTo>
                        <a:pt x="73905" y="8881"/>
                        <a:pt x="31488" y="72506"/>
                        <a:pt x="0" y="72506"/>
                      </a:cubicBezTo>
                    </a:path>
                  </a:pathLst>
                </a:custGeom>
                <a:grpFill/>
                <a:ln w="19050" cap="sq">
                  <a:solidFill>
                    <a:srgbClr val="00FF94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52" name="Forma livre: Forma 51">
                  <a:extLst>
                    <a:ext uri="{FF2B5EF4-FFF2-40B4-BE49-F238E27FC236}">
                      <a16:creationId xmlns:a16="http://schemas.microsoft.com/office/drawing/2014/main" id="{B7DDAA7B-D388-0708-AE5D-6227478B7A24}"/>
                    </a:ext>
                  </a:extLst>
                </p:cNvPr>
                <p:cNvSpPr/>
                <p:nvPr/>
              </p:nvSpPr>
              <p:spPr>
                <a:xfrm>
                  <a:off x="6079857" y="1646956"/>
                  <a:ext cx="29405" cy="9823"/>
                </a:xfrm>
                <a:custGeom>
                  <a:avLst/>
                  <a:gdLst>
                    <a:gd name="connsiteX0" fmla="*/ 0 w 29405"/>
                    <a:gd name="connsiteY0" fmla="*/ 0 h 9823"/>
                    <a:gd name="connsiteX1" fmla="*/ 29406 w 29405"/>
                    <a:gd name="connsiteY1" fmla="*/ 9824 h 982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9405" h="9823">
                      <a:moveTo>
                        <a:pt x="0" y="0"/>
                      </a:moveTo>
                      <a:lnTo>
                        <a:pt x="29406" y="9824"/>
                      </a:lnTo>
                    </a:path>
                  </a:pathLst>
                </a:custGeom>
                <a:grpFill/>
                <a:ln w="19050" cap="sq">
                  <a:solidFill>
                    <a:srgbClr val="00FF94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53" name="Forma livre: Forma 52">
                  <a:extLst>
                    <a:ext uri="{FF2B5EF4-FFF2-40B4-BE49-F238E27FC236}">
                      <a16:creationId xmlns:a16="http://schemas.microsoft.com/office/drawing/2014/main" id="{2213BA95-DEDD-236F-A11C-9FEC4C9EAEB3}"/>
                    </a:ext>
                  </a:extLst>
                </p:cNvPr>
                <p:cNvSpPr/>
                <p:nvPr/>
              </p:nvSpPr>
              <p:spPr>
                <a:xfrm>
                  <a:off x="6061121" y="1545272"/>
                  <a:ext cx="47166" cy="34154"/>
                </a:xfrm>
                <a:custGeom>
                  <a:avLst/>
                  <a:gdLst>
                    <a:gd name="connsiteX0" fmla="*/ 0 w 47166"/>
                    <a:gd name="connsiteY0" fmla="*/ 0 h 34154"/>
                    <a:gd name="connsiteX1" fmla="*/ 47166 w 47166"/>
                    <a:gd name="connsiteY1" fmla="*/ 34155 h 3415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7166" h="34154">
                      <a:moveTo>
                        <a:pt x="0" y="0"/>
                      </a:moveTo>
                      <a:cubicBezTo>
                        <a:pt x="0" y="0"/>
                        <a:pt x="27649" y="13011"/>
                        <a:pt x="47166" y="34155"/>
                      </a:cubicBezTo>
                    </a:path>
                  </a:pathLst>
                </a:custGeom>
                <a:grpFill/>
                <a:ln w="19050" cap="sq">
                  <a:solidFill>
                    <a:srgbClr val="00FF94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34" name="Gráfico 32">
                <a:extLst>
                  <a:ext uri="{FF2B5EF4-FFF2-40B4-BE49-F238E27FC236}">
                    <a16:creationId xmlns:a16="http://schemas.microsoft.com/office/drawing/2014/main" id="{ACD9D3A4-B41D-F902-8D6C-D990A830A675}"/>
                  </a:ext>
                </a:extLst>
              </p:cNvPr>
              <p:cNvGrpSpPr/>
              <p:nvPr/>
            </p:nvGrpSpPr>
            <p:grpSpPr>
              <a:xfrm>
                <a:off x="6191625" y="1599725"/>
                <a:ext cx="173767" cy="157112"/>
                <a:chOff x="6191625" y="1599725"/>
                <a:chExt cx="173767" cy="157112"/>
              </a:xfrm>
              <a:grpFill/>
            </p:grpSpPr>
            <p:sp>
              <p:nvSpPr>
                <p:cNvPr id="44" name="Forma livre: Forma 43">
                  <a:extLst>
                    <a:ext uri="{FF2B5EF4-FFF2-40B4-BE49-F238E27FC236}">
                      <a16:creationId xmlns:a16="http://schemas.microsoft.com/office/drawing/2014/main" id="{9DB34B20-D637-5237-0E93-741329C76786}"/>
                    </a:ext>
                  </a:extLst>
                </p:cNvPr>
                <p:cNvSpPr/>
                <p:nvPr/>
              </p:nvSpPr>
              <p:spPr>
                <a:xfrm>
                  <a:off x="6310094" y="1621974"/>
                  <a:ext cx="55298" cy="55298"/>
                </a:xfrm>
                <a:custGeom>
                  <a:avLst/>
                  <a:gdLst>
                    <a:gd name="connsiteX0" fmla="*/ 55298 w 55298"/>
                    <a:gd name="connsiteY0" fmla="*/ 27649 h 55298"/>
                    <a:gd name="connsiteX1" fmla="*/ 27649 w 55298"/>
                    <a:gd name="connsiteY1" fmla="*/ 55298 h 55298"/>
                    <a:gd name="connsiteX2" fmla="*/ 0 w 55298"/>
                    <a:gd name="connsiteY2" fmla="*/ 27649 h 55298"/>
                    <a:gd name="connsiteX3" fmla="*/ 27649 w 55298"/>
                    <a:gd name="connsiteY3" fmla="*/ 0 h 55298"/>
                    <a:gd name="connsiteX4" fmla="*/ 55298 w 55298"/>
                    <a:gd name="connsiteY4" fmla="*/ 27649 h 552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5298" h="55298">
                      <a:moveTo>
                        <a:pt x="55298" y="27649"/>
                      </a:moveTo>
                      <a:cubicBezTo>
                        <a:pt x="55298" y="42938"/>
                        <a:pt x="42938" y="55298"/>
                        <a:pt x="27649" y="55298"/>
                      </a:cubicBezTo>
                      <a:cubicBezTo>
                        <a:pt x="12361" y="55298"/>
                        <a:pt x="0" y="42938"/>
                        <a:pt x="0" y="27649"/>
                      </a:cubicBezTo>
                      <a:cubicBezTo>
                        <a:pt x="0" y="12361"/>
                        <a:pt x="12361" y="0"/>
                        <a:pt x="27649" y="0"/>
                      </a:cubicBezTo>
                      <a:cubicBezTo>
                        <a:pt x="42938" y="0"/>
                        <a:pt x="55298" y="12361"/>
                        <a:pt x="55298" y="27649"/>
                      </a:cubicBezTo>
                      <a:close/>
                    </a:path>
                  </a:pathLst>
                </a:custGeom>
                <a:grpFill/>
                <a:ln w="19050" cap="sq">
                  <a:solidFill>
                    <a:srgbClr val="00FF94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45" name="Forma livre: Forma 44">
                  <a:extLst>
                    <a:ext uri="{FF2B5EF4-FFF2-40B4-BE49-F238E27FC236}">
                      <a16:creationId xmlns:a16="http://schemas.microsoft.com/office/drawing/2014/main" id="{F330638D-6DE6-8BC1-6052-B2ADF92D07B2}"/>
                    </a:ext>
                  </a:extLst>
                </p:cNvPr>
                <p:cNvSpPr/>
                <p:nvPr/>
              </p:nvSpPr>
              <p:spPr>
                <a:xfrm>
                  <a:off x="6191625" y="1599725"/>
                  <a:ext cx="118078" cy="49898"/>
                </a:xfrm>
                <a:custGeom>
                  <a:avLst/>
                  <a:gdLst>
                    <a:gd name="connsiteX0" fmla="*/ 0 w 118078"/>
                    <a:gd name="connsiteY0" fmla="*/ 0 h 49898"/>
                    <a:gd name="connsiteX1" fmla="*/ 37343 w 118078"/>
                    <a:gd name="connsiteY1" fmla="*/ 0 h 49898"/>
                    <a:gd name="connsiteX2" fmla="*/ 87176 w 118078"/>
                    <a:gd name="connsiteY2" fmla="*/ 49899 h 49898"/>
                    <a:gd name="connsiteX3" fmla="*/ 118078 w 118078"/>
                    <a:gd name="connsiteY3" fmla="*/ 49899 h 498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18078" h="49898">
                      <a:moveTo>
                        <a:pt x="0" y="0"/>
                      </a:moveTo>
                      <a:lnTo>
                        <a:pt x="37343" y="0"/>
                      </a:lnTo>
                      <a:lnTo>
                        <a:pt x="87176" y="49899"/>
                      </a:lnTo>
                      <a:lnTo>
                        <a:pt x="118078" y="49899"/>
                      </a:lnTo>
                    </a:path>
                  </a:pathLst>
                </a:custGeom>
                <a:grpFill/>
                <a:ln w="19050" cap="sq">
                  <a:solidFill>
                    <a:srgbClr val="00FF94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46" name="Forma livre: Forma 45">
                  <a:extLst>
                    <a:ext uri="{FF2B5EF4-FFF2-40B4-BE49-F238E27FC236}">
                      <a16:creationId xmlns:a16="http://schemas.microsoft.com/office/drawing/2014/main" id="{B9AB7FF6-F2BB-E16F-18C3-C053C58F38D7}"/>
                    </a:ext>
                  </a:extLst>
                </p:cNvPr>
                <p:cNvSpPr/>
                <p:nvPr/>
              </p:nvSpPr>
              <p:spPr>
                <a:xfrm>
                  <a:off x="6191625" y="1665367"/>
                  <a:ext cx="81906" cy="44108"/>
                </a:xfrm>
                <a:custGeom>
                  <a:avLst/>
                  <a:gdLst>
                    <a:gd name="connsiteX0" fmla="*/ 0 w 81906"/>
                    <a:gd name="connsiteY0" fmla="*/ 0 h 44108"/>
                    <a:gd name="connsiteX1" fmla="*/ 37343 w 81906"/>
                    <a:gd name="connsiteY1" fmla="*/ 0 h 44108"/>
                    <a:gd name="connsiteX2" fmla="*/ 81907 w 81906"/>
                    <a:gd name="connsiteY2" fmla="*/ 44109 h 4410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81906" h="44108">
                      <a:moveTo>
                        <a:pt x="0" y="0"/>
                      </a:moveTo>
                      <a:lnTo>
                        <a:pt x="37343" y="0"/>
                      </a:lnTo>
                      <a:lnTo>
                        <a:pt x="81907" y="44109"/>
                      </a:lnTo>
                    </a:path>
                  </a:pathLst>
                </a:custGeom>
                <a:grpFill/>
                <a:ln w="19050" cap="sq">
                  <a:solidFill>
                    <a:srgbClr val="00FF94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47" name="Forma livre: Forma 46">
                  <a:extLst>
                    <a:ext uri="{FF2B5EF4-FFF2-40B4-BE49-F238E27FC236}">
                      <a16:creationId xmlns:a16="http://schemas.microsoft.com/office/drawing/2014/main" id="{A4521DC1-5A45-A7F9-846A-B58A3808FF8D}"/>
                    </a:ext>
                  </a:extLst>
                </p:cNvPr>
                <p:cNvSpPr/>
                <p:nvPr/>
              </p:nvSpPr>
              <p:spPr>
                <a:xfrm>
                  <a:off x="6265075" y="1701539"/>
                  <a:ext cx="55298" cy="55298"/>
                </a:xfrm>
                <a:custGeom>
                  <a:avLst/>
                  <a:gdLst>
                    <a:gd name="connsiteX0" fmla="*/ 55298 w 55298"/>
                    <a:gd name="connsiteY0" fmla="*/ 27649 h 55298"/>
                    <a:gd name="connsiteX1" fmla="*/ 27649 w 55298"/>
                    <a:gd name="connsiteY1" fmla="*/ 55298 h 55298"/>
                    <a:gd name="connsiteX2" fmla="*/ 0 w 55298"/>
                    <a:gd name="connsiteY2" fmla="*/ 27649 h 55298"/>
                    <a:gd name="connsiteX3" fmla="*/ 27649 w 55298"/>
                    <a:gd name="connsiteY3" fmla="*/ 0 h 55298"/>
                    <a:gd name="connsiteX4" fmla="*/ 55298 w 55298"/>
                    <a:gd name="connsiteY4" fmla="*/ 27649 h 552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5298" h="55298">
                      <a:moveTo>
                        <a:pt x="55298" y="27649"/>
                      </a:moveTo>
                      <a:cubicBezTo>
                        <a:pt x="55298" y="42938"/>
                        <a:pt x="42938" y="55298"/>
                        <a:pt x="27649" y="55298"/>
                      </a:cubicBezTo>
                      <a:cubicBezTo>
                        <a:pt x="12361" y="55298"/>
                        <a:pt x="0" y="42938"/>
                        <a:pt x="0" y="27649"/>
                      </a:cubicBezTo>
                      <a:cubicBezTo>
                        <a:pt x="0" y="12361"/>
                        <a:pt x="12361" y="0"/>
                        <a:pt x="27649" y="0"/>
                      </a:cubicBezTo>
                      <a:cubicBezTo>
                        <a:pt x="42938" y="0"/>
                        <a:pt x="55298" y="12361"/>
                        <a:pt x="55298" y="27649"/>
                      </a:cubicBezTo>
                      <a:close/>
                    </a:path>
                  </a:pathLst>
                </a:custGeom>
                <a:grpFill/>
                <a:ln w="19050" cap="sq">
                  <a:solidFill>
                    <a:srgbClr val="00FF94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35" name="Gráfico 32">
                <a:extLst>
                  <a:ext uri="{FF2B5EF4-FFF2-40B4-BE49-F238E27FC236}">
                    <a16:creationId xmlns:a16="http://schemas.microsoft.com/office/drawing/2014/main" id="{7A84BA02-A8C8-4299-7FB3-3246B3103DF6}"/>
                  </a:ext>
                </a:extLst>
              </p:cNvPr>
              <p:cNvGrpSpPr/>
              <p:nvPr/>
            </p:nvGrpSpPr>
            <p:grpSpPr>
              <a:xfrm>
                <a:off x="6191625" y="1357908"/>
                <a:ext cx="173767" cy="157112"/>
                <a:chOff x="6191625" y="1357908"/>
                <a:chExt cx="173767" cy="157112"/>
              </a:xfrm>
              <a:grpFill/>
            </p:grpSpPr>
            <p:sp>
              <p:nvSpPr>
                <p:cNvPr id="40" name="Forma livre: Forma 39">
                  <a:extLst>
                    <a:ext uri="{FF2B5EF4-FFF2-40B4-BE49-F238E27FC236}">
                      <a16:creationId xmlns:a16="http://schemas.microsoft.com/office/drawing/2014/main" id="{72B1F76A-F792-5903-712C-5F0527C289EA}"/>
                    </a:ext>
                  </a:extLst>
                </p:cNvPr>
                <p:cNvSpPr/>
                <p:nvPr/>
              </p:nvSpPr>
              <p:spPr>
                <a:xfrm>
                  <a:off x="6310094" y="1437472"/>
                  <a:ext cx="55298" cy="55298"/>
                </a:xfrm>
                <a:custGeom>
                  <a:avLst/>
                  <a:gdLst>
                    <a:gd name="connsiteX0" fmla="*/ 55298 w 55298"/>
                    <a:gd name="connsiteY0" fmla="*/ 27649 h 55298"/>
                    <a:gd name="connsiteX1" fmla="*/ 27649 w 55298"/>
                    <a:gd name="connsiteY1" fmla="*/ 0 h 55298"/>
                    <a:gd name="connsiteX2" fmla="*/ 0 w 55298"/>
                    <a:gd name="connsiteY2" fmla="*/ 27649 h 55298"/>
                    <a:gd name="connsiteX3" fmla="*/ 27649 w 55298"/>
                    <a:gd name="connsiteY3" fmla="*/ 55298 h 55298"/>
                    <a:gd name="connsiteX4" fmla="*/ 55298 w 55298"/>
                    <a:gd name="connsiteY4" fmla="*/ 27649 h 552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5298" h="55298">
                      <a:moveTo>
                        <a:pt x="55298" y="27649"/>
                      </a:moveTo>
                      <a:cubicBezTo>
                        <a:pt x="55298" y="12361"/>
                        <a:pt x="42938" y="0"/>
                        <a:pt x="27649" y="0"/>
                      </a:cubicBezTo>
                      <a:cubicBezTo>
                        <a:pt x="12361" y="0"/>
                        <a:pt x="0" y="12361"/>
                        <a:pt x="0" y="27649"/>
                      </a:cubicBezTo>
                      <a:cubicBezTo>
                        <a:pt x="0" y="42938"/>
                        <a:pt x="12361" y="55298"/>
                        <a:pt x="27649" y="55298"/>
                      </a:cubicBezTo>
                      <a:cubicBezTo>
                        <a:pt x="42938" y="55298"/>
                        <a:pt x="55298" y="42938"/>
                        <a:pt x="55298" y="27649"/>
                      </a:cubicBezTo>
                      <a:close/>
                    </a:path>
                  </a:pathLst>
                </a:custGeom>
                <a:grpFill/>
                <a:ln w="19050" cap="sq">
                  <a:solidFill>
                    <a:srgbClr val="00FF94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41" name="Forma livre: Forma 40">
                  <a:extLst>
                    <a:ext uri="{FF2B5EF4-FFF2-40B4-BE49-F238E27FC236}">
                      <a16:creationId xmlns:a16="http://schemas.microsoft.com/office/drawing/2014/main" id="{600D8C61-051C-F9E4-18B4-BDEA1A3717CF}"/>
                    </a:ext>
                  </a:extLst>
                </p:cNvPr>
                <p:cNvSpPr/>
                <p:nvPr/>
              </p:nvSpPr>
              <p:spPr>
                <a:xfrm>
                  <a:off x="6191625" y="1465122"/>
                  <a:ext cx="118468" cy="49898"/>
                </a:xfrm>
                <a:custGeom>
                  <a:avLst/>
                  <a:gdLst>
                    <a:gd name="connsiteX0" fmla="*/ 0 w 118468"/>
                    <a:gd name="connsiteY0" fmla="*/ 49899 h 49898"/>
                    <a:gd name="connsiteX1" fmla="*/ 37343 w 118468"/>
                    <a:gd name="connsiteY1" fmla="*/ 49899 h 49898"/>
                    <a:gd name="connsiteX2" fmla="*/ 87176 w 118468"/>
                    <a:gd name="connsiteY2" fmla="*/ 0 h 49898"/>
                    <a:gd name="connsiteX3" fmla="*/ 118469 w 118468"/>
                    <a:gd name="connsiteY3" fmla="*/ 0 h 498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18468" h="49898">
                      <a:moveTo>
                        <a:pt x="0" y="49899"/>
                      </a:moveTo>
                      <a:lnTo>
                        <a:pt x="37343" y="49899"/>
                      </a:lnTo>
                      <a:lnTo>
                        <a:pt x="87176" y="0"/>
                      </a:lnTo>
                      <a:lnTo>
                        <a:pt x="118469" y="0"/>
                      </a:lnTo>
                    </a:path>
                  </a:pathLst>
                </a:custGeom>
                <a:grpFill/>
                <a:ln w="19050" cap="sq">
                  <a:solidFill>
                    <a:srgbClr val="00FF94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42" name="Forma livre: Forma 41">
                  <a:extLst>
                    <a:ext uri="{FF2B5EF4-FFF2-40B4-BE49-F238E27FC236}">
                      <a16:creationId xmlns:a16="http://schemas.microsoft.com/office/drawing/2014/main" id="{CCFE7C1B-AF9F-5736-205D-65B2FF342DE1}"/>
                    </a:ext>
                  </a:extLst>
                </p:cNvPr>
                <p:cNvSpPr/>
                <p:nvPr/>
              </p:nvSpPr>
              <p:spPr>
                <a:xfrm>
                  <a:off x="6191625" y="1405269"/>
                  <a:ext cx="81451" cy="44043"/>
                </a:xfrm>
                <a:custGeom>
                  <a:avLst/>
                  <a:gdLst>
                    <a:gd name="connsiteX0" fmla="*/ 0 w 81451"/>
                    <a:gd name="connsiteY0" fmla="*/ 44044 h 44043"/>
                    <a:gd name="connsiteX1" fmla="*/ 37343 w 81451"/>
                    <a:gd name="connsiteY1" fmla="*/ 44044 h 44043"/>
                    <a:gd name="connsiteX2" fmla="*/ 81451 w 81451"/>
                    <a:gd name="connsiteY2" fmla="*/ 0 h 4404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81451" h="44043">
                      <a:moveTo>
                        <a:pt x="0" y="44044"/>
                      </a:moveTo>
                      <a:lnTo>
                        <a:pt x="37343" y="44044"/>
                      </a:lnTo>
                      <a:lnTo>
                        <a:pt x="81451" y="0"/>
                      </a:lnTo>
                    </a:path>
                  </a:pathLst>
                </a:custGeom>
                <a:grpFill/>
                <a:ln w="19050" cap="sq">
                  <a:solidFill>
                    <a:srgbClr val="00FF94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43" name="Forma livre: Forma 42">
                  <a:extLst>
                    <a:ext uri="{FF2B5EF4-FFF2-40B4-BE49-F238E27FC236}">
                      <a16:creationId xmlns:a16="http://schemas.microsoft.com/office/drawing/2014/main" id="{C8155E32-ABC8-A102-90EF-EDC4FA13069F}"/>
                    </a:ext>
                  </a:extLst>
                </p:cNvPr>
                <p:cNvSpPr/>
                <p:nvPr/>
              </p:nvSpPr>
              <p:spPr>
                <a:xfrm>
                  <a:off x="6265075" y="1357908"/>
                  <a:ext cx="55298" cy="55298"/>
                </a:xfrm>
                <a:custGeom>
                  <a:avLst/>
                  <a:gdLst>
                    <a:gd name="connsiteX0" fmla="*/ 55298 w 55298"/>
                    <a:gd name="connsiteY0" fmla="*/ 27649 h 55298"/>
                    <a:gd name="connsiteX1" fmla="*/ 27649 w 55298"/>
                    <a:gd name="connsiteY1" fmla="*/ 0 h 55298"/>
                    <a:gd name="connsiteX2" fmla="*/ 0 w 55298"/>
                    <a:gd name="connsiteY2" fmla="*/ 27649 h 55298"/>
                    <a:gd name="connsiteX3" fmla="*/ 27649 w 55298"/>
                    <a:gd name="connsiteY3" fmla="*/ 55298 h 55298"/>
                    <a:gd name="connsiteX4" fmla="*/ 55298 w 55298"/>
                    <a:gd name="connsiteY4" fmla="*/ 27649 h 552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5298" h="55298">
                      <a:moveTo>
                        <a:pt x="55298" y="27649"/>
                      </a:moveTo>
                      <a:cubicBezTo>
                        <a:pt x="55298" y="12361"/>
                        <a:pt x="42938" y="0"/>
                        <a:pt x="27649" y="0"/>
                      </a:cubicBezTo>
                      <a:cubicBezTo>
                        <a:pt x="12361" y="0"/>
                        <a:pt x="0" y="12361"/>
                        <a:pt x="0" y="27649"/>
                      </a:cubicBezTo>
                      <a:cubicBezTo>
                        <a:pt x="0" y="42938"/>
                        <a:pt x="12361" y="55298"/>
                        <a:pt x="27649" y="55298"/>
                      </a:cubicBezTo>
                      <a:cubicBezTo>
                        <a:pt x="42938" y="55298"/>
                        <a:pt x="55298" y="42938"/>
                        <a:pt x="55298" y="27649"/>
                      </a:cubicBezTo>
                      <a:close/>
                    </a:path>
                  </a:pathLst>
                </a:custGeom>
                <a:grpFill/>
                <a:ln w="19050" cap="sq">
                  <a:solidFill>
                    <a:srgbClr val="00FF94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36" name="Gráfico 32">
                <a:extLst>
                  <a:ext uri="{FF2B5EF4-FFF2-40B4-BE49-F238E27FC236}">
                    <a16:creationId xmlns:a16="http://schemas.microsoft.com/office/drawing/2014/main" id="{D5D0DA77-2EB8-04C5-F10A-8B43C9B0AD6C}"/>
                  </a:ext>
                </a:extLst>
              </p:cNvPr>
              <p:cNvGrpSpPr/>
              <p:nvPr/>
            </p:nvGrpSpPr>
            <p:grpSpPr>
              <a:xfrm>
                <a:off x="6190910" y="1529723"/>
                <a:ext cx="123673" cy="55298"/>
                <a:chOff x="6190910" y="1529723"/>
                <a:chExt cx="123673" cy="55298"/>
              </a:xfrm>
              <a:grpFill/>
            </p:grpSpPr>
            <p:sp>
              <p:nvSpPr>
                <p:cNvPr id="38" name="Forma livre: Forma 37">
                  <a:extLst>
                    <a:ext uri="{FF2B5EF4-FFF2-40B4-BE49-F238E27FC236}">
                      <a16:creationId xmlns:a16="http://schemas.microsoft.com/office/drawing/2014/main" id="{8354C315-73E3-2790-567B-95A9578E45E8}"/>
                    </a:ext>
                  </a:extLst>
                </p:cNvPr>
                <p:cNvSpPr/>
                <p:nvPr/>
              </p:nvSpPr>
              <p:spPr>
                <a:xfrm>
                  <a:off x="6190910" y="1557372"/>
                  <a:ext cx="68765" cy="6505"/>
                </a:xfrm>
                <a:custGeom>
                  <a:avLst/>
                  <a:gdLst>
                    <a:gd name="connsiteX0" fmla="*/ 0 w 68765"/>
                    <a:gd name="connsiteY0" fmla="*/ 0 h 6505"/>
                    <a:gd name="connsiteX1" fmla="*/ 68765 w 68765"/>
                    <a:gd name="connsiteY1" fmla="*/ 0 h 650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68765" h="6505">
                      <a:moveTo>
                        <a:pt x="0" y="0"/>
                      </a:moveTo>
                      <a:lnTo>
                        <a:pt x="68765" y="0"/>
                      </a:lnTo>
                    </a:path>
                  </a:pathLst>
                </a:custGeom>
                <a:grpFill/>
                <a:ln w="19050" cap="sq">
                  <a:solidFill>
                    <a:srgbClr val="00FF94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39" name="Forma livre: Forma 38">
                  <a:extLst>
                    <a:ext uri="{FF2B5EF4-FFF2-40B4-BE49-F238E27FC236}">
                      <a16:creationId xmlns:a16="http://schemas.microsoft.com/office/drawing/2014/main" id="{64BEFD24-6146-75F6-55B1-F3E8F131686F}"/>
                    </a:ext>
                  </a:extLst>
                </p:cNvPr>
                <p:cNvSpPr/>
                <p:nvPr/>
              </p:nvSpPr>
              <p:spPr>
                <a:xfrm>
                  <a:off x="6259285" y="1529723"/>
                  <a:ext cx="55298" cy="55298"/>
                </a:xfrm>
                <a:custGeom>
                  <a:avLst/>
                  <a:gdLst>
                    <a:gd name="connsiteX0" fmla="*/ 55298 w 55298"/>
                    <a:gd name="connsiteY0" fmla="*/ 27649 h 55298"/>
                    <a:gd name="connsiteX1" fmla="*/ 27649 w 55298"/>
                    <a:gd name="connsiteY1" fmla="*/ 55298 h 55298"/>
                    <a:gd name="connsiteX2" fmla="*/ 0 w 55298"/>
                    <a:gd name="connsiteY2" fmla="*/ 27649 h 55298"/>
                    <a:gd name="connsiteX3" fmla="*/ 27649 w 55298"/>
                    <a:gd name="connsiteY3" fmla="*/ 0 h 55298"/>
                    <a:gd name="connsiteX4" fmla="*/ 55298 w 55298"/>
                    <a:gd name="connsiteY4" fmla="*/ 27649 h 552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5298" h="55298">
                      <a:moveTo>
                        <a:pt x="55298" y="27649"/>
                      </a:moveTo>
                      <a:cubicBezTo>
                        <a:pt x="55298" y="42938"/>
                        <a:pt x="42938" y="55298"/>
                        <a:pt x="27649" y="55298"/>
                      </a:cubicBezTo>
                      <a:cubicBezTo>
                        <a:pt x="12361" y="55298"/>
                        <a:pt x="0" y="42938"/>
                        <a:pt x="0" y="27649"/>
                      </a:cubicBezTo>
                      <a:cubicBezTo>
                        <a:pt x="0" y="12361"/>
                        <a:pt x="12361" y="0"/>
                        <a:pt x="27649" y="0"/>
                      </a:cubicBezTo>
                      <a:cubicBezTo>
                        <a:pt x="42938" y="0"/>
                        <a:pt x="55298" y="12361"/>
                        <a:pt x="55298" y="27649"/>
                      </a:cubicBezTo>
                      <a:close/>
                    </a:path>
                  </a:pathLst>
                </a:custGeom>
                <a:grpFill/>
                <a:ln w="19050" cap="sq">
                  <a:solidFill>
                    <a:srgbClr val="00FF94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37" name="Forma livre: Forma 36">
                <a:extLst>
                  <a:ext uri="{FF2B5EF4-FFF2-40B4-BE49-F238E27FC236}">
                    <a16:creationId xmlns:a16="http://schemas.microsoft.com/office/drawing/2014/main" id="{26604D23-3D8B-5245-3AB4-5F749A283E64}"/>
                  </a:ext>
                </a:extLst>
              </p:cNvPr>
              <p:cNvSpPr/>
              <p:nvPr/>
            </p:nvSpPr>
            <p:spPr>
              <a:xfrm>
                <a:off x="6152201" y="1686285"/>
                <a:ext cx="37362" cy="20848"/>
              </a:xfrm>
              <a:custGeom>
                <a:avLst/>
                <a:gdLst>
                  <a:gd name="connsiteX0" fmla="*/ 0 w 37362"/>
                  <a:gd name="connsiteY0" fmla="*/ 10505 h 20848"/>
                  <a:gd name="connsiteX1" fmla="*/ 27064 w 37362"/>
                  <a:gd name="connsiteY1" fmla="*/ 2373 h 20848"/>
                  <a:gd name="connsiteX2" fmla="*/ 37343 w 37362"/>
                  <a:gd name="connsiteY2" fmla="*/ 20849 h 208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7362" h="20848">
                    <a:moveTo>
                      <a:pt x="0" y="10505"/>
                    </a:moveTo>
                    <a:cubicBezTo>
                      <a:pt x="5205" y="811"/>
                      <a:pt x="17435" y="-2832"/>
                      <a:pt x="27064" y="2373"/>
                    </a:cubicBezTo>
                    <a:cubicBezTo>
                      <a:pt x="34025" y="6081"/>
                      <a:pt x="37668" y="13432"/>
                      <a:pt x="37343" y="20849"/>
                    </a:cubicBezTo>
                  </a:path>
                </a:pathLst>
              </a:custGeom>
              <a:grp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3" name="Agrupar 2">
            <a:extLst>
              <a:ext uri="{FF2B5EF4-FFF2-40B4-BE49-F238E27FC236}">
                <a16:creationId xmlns:a16="http://schemas.microsoft.com/office/drawing/2014/main" id="{C28ADDFC-5321-3DD3-85B7-DDAD37B55CE9}"/>
              </a:ext>
            </a:extLst>
          </p:cNvPr>
          <p:cNvGrpSpPr/>
          <p:nvPr/>
        </p:nvGrpSpPr>
        <p:grpSpPr>
          <a:xfrm>
            <a:off x="478387" y="3484952"/>
            <a:ext cx="994687" cy="616657"/>
            <a:chOff x="478387" y="3484952"/>
            <a:chExt cx="994687" cy="616657"/>
          </a:xfrm>
          <a:solidFill>
            <a:srgbClr val="132153"/>
          </a:solidFill>
        </p:grpSpPr>
        <p:sp>
          <p:nvSpPr>
            <p:cNvPr id="26" name="Forma livre: Forma 25">
              <a:extLst>
                <a:ext uri="{FF2B5EF4-FFF2-40B4-BE49-F238E27FC236}">
                  <a16:creationId xmlns:a16="http://schemas.microsoft.com/office/drawing/2014/main" id="{743A236C-D5FF-37DC-8938-BB490055FF0C}"/>
                </a:ext>
              </a:extLst>
            </p:cNvPr>
            <p:cNvSpPr/>
            <p:nvPr/>
          </p:nvSpPr>
          <p:spPr>
            <a:xfrm flipH="1">
              <a:off x="478387" y="3484952"/>
              <a:ext cx="994687" cy="616657"/>
            </a:xfrm>
            <a:custGeom>
              <a:avLst/>
              <a:gdLst>
                <a:gd name="connsiteX0" fmla="*/ 671828 w 846074"/>
                <a:gd name="connsiteY0" fmla="*/ 0 h 524524"/>
                <a:gd name="connsiteX1" fmla="*/ 0 w 846074"/>
                <a:gd name="connsiteY1" fmla="*/ 0 h 524524"/>
                <a:gd name="connsiteX2" fmla="*/ 524529 w 846074"/>
                <a:gd name="connsiteY2" fmla="*/ 524524 h 524524"/>
                <a:gd name="connsiteX3" fmla="*/ 524742 w 846074"/>
                <a:gd name="connsiteY3" fmla="*/ 524524 h 524524"/>
                <a:gd name="connsiteX4" fmla="*/ 846074 w 846074"/>
                <a:gd name="connsiteY4" fmla="*/ 524524 h 5245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46074" h="524524">
                  <a:moveTo>
                    <a:pt x="671828" y="0"/>
                  </a:moveTo>
                  <a:lnTo>
                    <a:pt x="0" y="0"/>
                  </a:lnTo>
                  <a:cubicBezTo>
                    <a:pt x="0" y="289824"/>
                    <a:pt x="234920" y="524524"/>
                    <a:pt x="524529" y="524524"/>
                  </a:cubicBezTo>
                  <a:lnTo>
                    <a:pt x="524742" y="524524"/>
                  </a:lnTo>
                  <a:lnTo>
                    <a:pt x="846074" y="524524"/>
                  </a:lnTo>
                  <a:close/>
                </a:path>
              </a:pathLst>
            </a:custGeom>
            <a:grpFill/>
            <a:ln w="4244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pt-PT"/>
            </a:p>
          </p:txBody>
        </p:sp>
        <p:grpSp>
          <p:nvGrpSpPr>
            <p:cNvPr id="54" name="Agrupar 53">
              <a:extLst>
                <a:ext uri="{FF2B5EF4-FFF2-40B4-BE49-F238E27FC236}">
                  <a16:creationId xmlns:a16="http://schemas.microsoft.com/office/drawing/2014/main" id="{73C4CFAE-F041-62EE-5994-A0B2C3012721}"/>
                </a:ext>
              </a:extLst>
            </p:cNvPr>
            <p:cNvGrpSpPr/>
            <p:nvPr/>
          </p:nvGrpSpPr>
          <p:grpSpPr>
            <a:xfrm>
              <a:off x="821640" y="3607482"/>
              <a:ext cx="308179" cy="336550"/>
              <a:chOff x="6000092" y="1357908"/>
              <a:chExt cx="365300" cy="398929"/>
            </a:xfrm>
            <a:grpFill/>
          </p:grpSpPr>
          <p:sp>
            <p:nvSpPr>
              <p:cNvPr id="55" name="Forma livre: Forma 54">
                <a:extLst>
                  <a:ext uri="{FF2B5EF4-FFF2-40B4-BE49-F238E27FC236}">
                    <a16:creationId xmlns:a16="http://schemas.microsoft.com/office/drawing/2014/main" id="{34795A6B-CC40-8BB7-1A6D-C275025D18B6}"/>
                  </a:ext>
                </a:extLst>
              </p:cNvPr>
              <p:cNvSpPr/>
              <p:nvPr/>
            </p:nvSpPr>
            <p:spPr>
              <a:xfrm>
                <a:off x="6000092" y="1418606"/>
                <a:ext cx="84058" cy="286120"/>
              </a:xfrm>
              <a:custGeom>
                <a:avLst/>
                <a:gdLst>
                  <a:gd name="connsiteX0" fmla="*/ 51595 w 84058"/>
                  <a:gd name="connsiteY0" fmla="*/ 0 h 286120"/>
                  <a:gd name="connsiteX1" fmla="*/ 35266 w 84058"/>
                  <a:gd name="connsiteY1" fmla="*/ 61674 h 286120"/>
                  <a:gd name="connsiteX2" fmla="*/ 28760 w 84058"/>
                  <a:gd name="connsiteY2" fmla="*/ 193415 h 286120"/>
                  <a:gd name="connsiteX3" fmla="*/ 84059 w 84058"/>
                  <a:gd name="connsiteY3" fmla="*/ 286121 h 2861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4058" h="286120">
                    <a:moveTo>
                      <a:pt x="51595" y="0"/>
                    </a:moveTo>
                    <a:cubicBezTo>
                      <a:pt x="37868" y="7872"/>
                      <a:pt x="26028" y="24852"/>
                      <a:pt x="35266" y="61674"/>
                    </a:cubicBezTo>
                    <a:cubicBezTo>
                      <a:pt x="35266" y="61674"/>
                      <a:pt x="-39549" y="126731"/>
                      <a:pt x="28760" y="193415"/>
                    </a:cubicBezTo>
                    <a:cubicBezTo>
                      <a:pt x="28760" y="193415"/>
                      <a:pt x="9243" y="281242"/>
                      <a:pt x="84059" y="286121"/>
                    </a:cubicBezTo>
                  </a:path>
                </a:pathLst>
              </a:custGeom>
              <a:grp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56" name="Gráfico 32">
                <a:extLst>
                  <a:ext uri="{FF2B5EF4-FFF2-40B4-BE49-F238E27FC236}">
                    <a16:creationId xmlns:a16="http://schemas.microsoft.com/office/drawing/2014/main" id="{8D3A2ACB-E707-36EE-B62F-4D8F7E28382E}"/>
                  </a:ext>
                </a:extLst>
              </p:cNvPr>
              <p:cNvGrpSpPr/>
              <p:nvPr/>
            </p:nvGrpSpPr>
            <p:grpSpPr>
              <a:xfrm>
                <a:off x="6061121" y="1359924"/>
                <a:ext cx="128487" cy="396366"/>
                <a:chOff x="6061121" y="1359924"/>
                <a:chExt cx="128487" cy="396366"/>
              </a:xfrm>
              <a:grpFill/>
            </p:grpSpPr>
            <p:sp>
              <p:nvSpPr>
                <p:cNvPr id="71" name="Forma livre: Forma 70">
                  <a:extLst>
                    <a:ext uri="{FF2B5EF4-FFF2-40B4-BE49-F238E27FC236}">
                      <a16:creationId xmlns:a16="http://schemas.microsoft.com/office/drawing/2014/main" id="{F9CC9625-0DE9-7C12-730C-0504043BD422}"/>
                    </a:ext>
                  </a:extLst>
                </p:cNvPr>
                <p:cNvSpPr/>
                <p:nvPr/>
              </p:nvSpPr>
              <p:spPr>
                <a:xfrm>
                  <a:off x="6083891" y="1359924"/>
                  <a:ext cx="105717" cy="396366"/>
                </a:xfrm>
                <a:custGeom>
                  <a:avLst/>
                  <a:gdLst>
                    <a:gd name="connsiteX0" fmla="*/ 52891 w 105717"/>
                    <a:gd name="connsiteY0" fmla="*/ 105718 h 396366"/>
                    <a:gd name="connsiteX1" fmla="*/ 0 w 105717"/>
                    <a:gd name="connsiteY1" fmla="*/ 52891 h 396366"/>
                    <a:gd name="connsiteX2" fmla="*/ 52891 w 105717"/>
                    <a:gd name="connsiteY2" fmla="*/ 0 h 396366"/>
                    <a:gd name="connsiteX3" fmla="*/ 105718 w 105717"/>
                    <a:gd name="connsiteY3" fmla="*/ 52826 h 396366"/>
                    <a:gd name="connsiteX4" fmla="*/ 105718 w 105717"/>
                    <a:gd name="connsiteY4" fmla="*/ 346884 h 396366"/>
                    <a:gd name="connsiteX5" fmla="*/ 80606 w 105717"/>
                    <a:gd name="connsiteY5" fmla="*/ 388911 h 396366"/>
                    <a:gd name="connsiteX6" fmla="*/ 9238 w 105717"/>
                    <a:gd name="connsiteY6" fmla="*/ 371150 h 396366"/>
                    <a:gd name="connsiteX7" fmla="*/ 15484 w 105717"/>
                    <a:gd name="connsiteY7" fmla="*/ 309216 h 396366"/>
                    <a:gd name="connsiteX8" fmla="*/ 45019 w 105717"/>
                    <a:gd name="connsiteY8" fmla="*/ 277078 h 39636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105717" h="396366">
                      <a:moveTo>
                        <a:pt x="52891" y="105718"/>
                      </a:moveTo>
                      <a:cubicBezTo>
                        <a:pt x="23681" y="105718"/>
                        <a:pt x="0" y="82037"/>
                        <a:pt x="0" y="52891"/>
                      </a:cubicBezTo>
                      <a:cubicBezTo>
                        <a:pt x="0" y="23746"/>
                        <a:pt x="23681" y="0"/>
                        <a:pt x="52891" y="0"/>
                      </a:cubicBezTo>
                      <a:cubicBezTo>
                        <a:pt x="82102" y="0"/>
                        <a:pt x="105718" y="23681"/>
                        <a:pt x="105718" y="52826"/>
                      </a:cubicBezTo>
                      <a:lnTo>
                        <a:pt x="105718" y="346884"/>
                      </a:lnTo>
                      <a:cubicBezTo>
                        <a:pt x="105718" y="364580"/>
                        <a:pt x="96414" y="379413"/>
                        <a:pt x="80606" y="388911"/>
                      </a:cubicBezTo>
                      <a:cubicBezTo>
                        <a:pt x="55949" y="403744"/>
                        <a:pt x="24006" y="395742"/>
                        <a:pt x="9238" y="371150"/>
                      </a:cubicBezTo>
                      <a:cubicBezTo>
                        <a:pt x="-2928" y="350918"/>
                        <a:pt x="260" y="325741"/>
                        <a:pt x="15484" y="309216"/>
                      </a:cubicBezTo>
                      <a:lnTo>
                        <a:pt x="45019" y="277078"/>
                      </a:lnTo>
                    </a:path>
                  </a:pathLst>
                </a:custGeom>
                <a:grpFill/>
                <a:ln w="19050" cap="sq">
                  <a:solidFill>
                    <a:srgbClr val="00FF94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72" name="Forma livre: Forma 71">
                  <a:extLst>
                    <a:ext uri="{FF2B5EF4-FFF2-40B4-BE49-F238E27FC236}">
                      <a16:creationId xmlns:a16="http://schemas.microsoft.com/office/drawing/2014/main" id="{95A63AA4-55F0-26C1-1629-5956AD3CA0E5}"/>
                    </a:ext>
                  </a:extLst>
                </p:cNvPr>
                <p:cNvSpPr/>
                <p:nvPr/>
              </p:nvSpPr>
              <p:spPr>
                <a:xfrm>
                  <a:off x="6144784" y="1383865"/>
                  <a:ext cx="41563" cy="38963"/>
                </a:xfrm>
                <a:custGeom>
                  <a:avLst/>
                  <a:gdLst>
                    <a:gd name="connsiteX0" fmla="*/ 36172 w 41563"/>
                    <a:gd name="connsiteY0" fmla="*/ 0 h 38963"/>
                    <a:gd name="connsiteX1" fmla="*/ 39425 w 41563"/>
                    <a:gd name="connsiteY1" fmla="*/ 24266 h 38963"/>
                    <a:gd name="connsiteX2" fmla="*/ 36432 w 41563"/>
                    <a:gd name="connsiteY2" fmla="*/ 29080 h 38963"/>
                    <a:gd name="connsiteX3" fmla="*/ 0 w 41563"/>
                    <a:gd name="connsiteY3" fmla="*/ 33439 h 3896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1563" h="38963">
                      <a:moveTo>
                        <a:pt x="36172" y="0"/>
                      </a:moveTo>
                      <a:cubicBezTo>
                        <a:pt x="41571" y="7547"/>
                        <a:pt x="43393" y="16004"/>
                        <a:pt x="39425" y="24266"/>
                      </a:cubicBezTo>
                      <a:cubicBezTo>
                        <a:pt x="38644" y="25893"/>
                        <a:pt x="37603" y="27519"/>
                        <a:pt x="36432" y="29080"/>
                      </a:cubicBezTo>
                      <a:cubicBezTo>
                        <a:pt x="27584" y="40270"/>
                        <a:pt x="11190" y="42287"/>
                        <a:pt x="0" y="33439"/>
                      </a:cubicBezTo>
                    </a:path>
                  </a:pathLst>
                </a:custGeom>
                <a:grpFill/>
                <a:ln w="19050" cap="sq">
                  <a:solidFill>
                    <a:srgbClr val="00FF94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73" name="Forma livre: Forma 72">
                  <a:extLst>
                    <a:ext uri="{FF2B5EF4-FFF2-40B4-BE49-F238E27FC236}">
                      <a16:creationId xmlns:a16="http://schemas.microsoft.com/office/drawing/2014/main" id="{1E5A3618-F7CB-9B94-2F48-0796C7A9298D}"/>
                    </a:ext>
                  </a:extLst>
                </p:cNvPr>
                <p:cNvSpPr/>
                <p:nvPr/>
              </p:nvSpPr>
              <p:spPr>
                <a:xfrm>
                  <a:off x="6081487" y="1460806"/>
                  <a:ext cx="34217" cy="54474"/>
                </a:xfrm>
                <a:custGeom>
                  <a:avLst/>
                  <a:gdLst>
                    <a:gd name="connsiteX0" fmla="*/ 21076 w 34217"/>
                    <a:gd name="connsiteY0" fmla="*/ 54475 h 54474"/>
                    <a:gd name="connsiteX1" fmla="*/ 778 w 34217"/>
                    <a:gd name="connsiteY1" fmla="*/ 21035 h 54474"/>
                    <a:gd name="connsiteX2" fmla="*/ 34217 w 34217"/>
                    <a:gd name="connsiteY2" fmla="*/ 803 h 544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34217" h="54474">
                      <a:moveTo>
                        <a:pt x="21076" y="54475"/>
                      </a:moveTo>
                      <a:cubicBezTo>
                        <a:pt x="6308" y="50832"/>
                        <a:pt x="-2800" y="35803"/>
                        <a:pt x="778" y="21035"/>
                      </a:cubicBezTo>
                      <a:cubicBezTo>
                        <a:pt x="4421" y="6267"/>
                        <a:pt x="19449" y="-2841"/>
                        <a:pt x="34217" y="803"/>
                      </a:cubicBezTo>
                    </a:path>
                  </a:pathLst>
                </a:custGeom>
                <a:grpFill/>
                <a:ln w="19050" cap="sq">
                  <a:solidFill>
                    <a:srgbClr val="00FF94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74" name="Forma livre: Forma 73">
                  <a:extLst>
                    <a:ext uri="{FF2B5EF4-FFF2-40B4-BE49-F238E27FC236}">
                      <a16:creationId xmlns:a16="http://schemas.microsoft.com/office/drawing/2014/main" id="{229D883D-945D-6D48-C0C0-37425C5D9ED2}"/>
                    </a:ext>
                  </a:extLst>
                </p:cNvPr>
                <p:cNvSpPr/>
                <p:nvPr/>
              </p:nvSpPr>
              <p:spPr>
                <a:xfrm>
                  <a:off x="6073547" y="1527543"/>
                  <a:ext cx="114760" cy="72506"/>
                </a:xfrm>
                <a:custGeom>
                  <a:avLst/>
                  <a:gdLst>
                    <a:gd name="connsiteX0" fmla="*/ 114760 w 114760"/>
                    <a:gd name="connsiteY0" fmla="*/ 7254 h 72506"/>
                    <a:gd name="connsiteX1" fmla="*/ 73905 w 114760"/>
                    <a:gd name="connsiteY1" fmla="*/ 8881 h 72506"/>
                    <a:gd name="connsiteX2" fmla="*/ 0 w 114760"/>
                    <a:gd name="connsiteY2" fmla="*/ 72506 h 7250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14760" h="72506">
                      <a:moveTo>
                        <a:pt x="114760" y="7254"/>
                      </a:moveTo>
                      <a:cubicBezTo>
                        <a:pt x="103375" y="-2830"/>
                        <a:pt x="83989" y="-2504"/>
                        <a:pt x="73905" y="8881"/>
                      </a:cubicBezTo>
                      <a:cubicBezTo>
                        <a:pt x="73905" y="8881"/>
                        <a:pt x="31488" y="72506"/>
                        <a:pt x="0" y="72506"/>
                      </a:cubicBezTo>
                    </a:path>
                  </a:pathLst>
                </a:custGeom>
                <a:grpFill/>
                <a:ln w="19050" cap="sq">
                  <a:solidFill>
                    <a:srgbClr val="00FF94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75" name="Forma livre: Forma 74">
                  <a:extLst>
                    <a:ext uri="{FF2B5EF4-FFF2-40B4-BE49-F238E27FC236}">
                      <a16:creationId xmlns:a16="http://schemas.microsoft.com/office/drawing/2014/main" id="{AE8AD92E-5AE6-F2B7-4FA2-AEF111E3F4F4}"/>
                    </a:ext>
                  </a:extLst>
                </p:cNvPr>
                <p:cNvSpPr/>
                <p:nvPr/>
              </p:nvSpPr>
              <p:spPr>
                <a:xfrm>
                  <a:off x="6079857" y="1646956"/>
                  <a:ext cx="29405" cy="9823"/>
                </a:xfrm>
                <a:custGeom>
                  <a:avLst/>
                  <a:gdLst>
                    <a:gd name="connsiteX0" fmla="*/ 0 w 29405"/>
                    <a:gd name="connsiteY0" fmla="*/ 0 h 9823"/>
                    <a:gd name="connsiteX1" fmla="*/ 29406 w 29405"/>
                    <a:gd name="connsiteY1" fmla="*/ 9824 h 982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9405" h="9823">
                      <a:moveTo>
                        <a:pt x="0" y="0"/>
                      </a:moveTo>
                      <a:lnTo>
                        <a:pt x="29406" y="9824"/>
                      </a:lnTo>
                    </a:path>
                  </a:pathLst>
                </a:custGeom>
                <a:grpFill/>
                <a:ln w="19050" cap="sq">
                  <a:solidFill>
                    <a:srgbClr val="00FF94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76" name="Forma livre: Forma 75">
                  <a:extLst>
                    <a:ext uri="{FF2B5EF4-FFF2-40B4-BE49-F238E27FC236}">
                      <a16:creationId xmlns:a16="http://schemas.microsoft.com/office/drawing/2014/main" id="{75CDF11C-8073-818C-4EB7-81C1456BCB14}"/>
                    </a:ext>
                  </a:extLst>
                </p:cNvPr>
                <p:cNvSpPr/>
                <p:nvPr/>
              </p:nvSpPr>
              <p:spPr>
                <a:xfrm>
                  <a:off x="6061121" y="1545272"/>
                  <a:ext cx="47166" cy="34154"/>
                </a:xfrm>
                <a:custGeom>
                  <a:avLst/>
                  <a:gdLst>
                    <a:gd name="connsiteX0" fmla="*/ 0 w 47166"/>
                    <a:gd name="connsiteY0" fmla="*/ 0 h 34154"/>
                    <a:gd name="connsiteX1" fmla="*/ 47166 w 47166"/>
                    <a:gd name="connsiteY1" fmla="*/ 34155 h 3415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7166" h="34154">
                      <a:moveTo>
                        <a:pt x="0" y="0"/>
                      </a:moveTo>
                      <a:cubicBezTo>
                        <a:pt x="0" y="0"/>
                        <a:pt x="27649" y="13011"/>
                        <a:pt x="47166" y="34155"/>
                      </a:cubicBezTo>
                    </a:path>
                  </a:pathLst>
                </a:custGeom>
                <a:grpFill/>
                <a:ln w="19050" cap="sq">
                  <a:solidFill>
                    <a:srgbClr val="00FF94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57" name="Gráfico 32">
                <a:extLst>
                  <a:ext uri="{FF2B5EF4-FFF2-40B4-BE49-F238E27FC236}">
                    <a16:creationId xmlns:a16="http://schemas.microsoft.com/office/drawing/2014/main" id="{6D98625B-29A4-4BAD-4641-9A735214C533}"/>
                  </a:ext>
                </a:extLst>
              </p:cNvPr>
              <p:cNvGrpSpPr/>
              <p:nvPr/>
            </p:nvGrpSpPr>
            <p:grpSpPr>
              <a:xfrm>
                <a:off x="6191625" y="1599725"/>
                <a:ext cx="173767" cy="157112"/>
                <a:chOff x="6191625" y="1599725"/>
                <a:chExt cx="173767" cy="157112"/>
              </a:xfrm>
              <a:grpFill/>
            </p:grpSpPr>
            <p:sp>
              <p:nvSpPr>
                <p:cNvPr id="67" name="Forma livre: Forma 66">
                  <a:extLst>
                    <a:ext uri="{FF2B5EF4-FFF2-40B4-BE49-F238E27FC236}">
                      <a16:creationId xmlns:a16="http://schemas.microsoft.com/office/drawing/2014/main" id="{75A4BB36-FF0B-E30C-825A-6981EF416662}"/>
                    </a:ext>
                  </a:extLst>
                </p:cNvPr>
                <p:cNvSpPr/>
                <p:nvPr/>
              </p:nvSpPr>
              <p:spPr>
                <a:xfrm>
                  <a:off x="6310094" y="1621974"/>
                  <a:ext cx="55298" cy="55298"/>
                </a:xfrm>
                <a:custGeom>
                  <a:avLst/>
                  <a:gdLst>
                    <a:gd name="connsiteX0" fmla="*/ 55298 w 55298"/>
                    <a:gd name="connsiteY0" fmla="*/ 27649 h 55298"/>
                    <a:gd name="connsiteX1" fmla="*/ 27649 w 55298"/>
                    <a:gd name="connsiteY1" fmla="*/ 55298 h 55298"/>
                    <a:gd name="connsiteX2" fmla="*/ 0 w 55298"/>
                    <a:gd name="connsiteY2" fmla="*/ 27649 h 55298"/>
                    <a:gd name="connsiteX3" fmla="*/ 27649 w 55298"/>
                    <a:gd name="connsiteY3" fmla="*/ 0 h 55298"/>
                    <a:gd name="connsiteX4" fmla="*/ 55298 w 55298"/>
                    <a:gd name="connsiteY4" fmla="*/ 27649 h 552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5298" h="55298">
                      <a:moveTo>
                        <a:pt x="55298" y="27649"/>
                      </a:moveTo>
                      <a:cubicBezTo>
                        <a:pt x="55298" y="42938"/>
                        <a:pt x="42938" y="55298"/>
                        <a:pt x="27649" y="55298"/>
                      </a:cubicBezTo>
                      <a:cubicBezTo>
                        <a:pt x="12361" y="55298"/>
                        <a:pt x="0" y="42938"/>
                        <a:pt x="0" y="27649"/>
                      </a:cubicBezTo>
                      <a:cubicBezTo>
                        <a:pt x="0" y="12361"/>
                        <a:pt x="12361" y="0"/>
                        <a:pt x="27649" y="0"/>
                      </a:cubicBezTo>
                      <a:cubicBezTo>
                        <a:pt x="42938" y="0"/>
                        <a:pt x="55298" y="12361"/>
                        <a:pt x="55298" y="27649"/>
                      </a:cubicBezTo>
                      <a:close/>
                    </a:path>
                  </a:pathLst>
                </a:custGeom>
                <a:grpFill/>
                <a:ln w="19050" cap="sq">
                  <a:solidFill>
                    <a:srgbClr val="00FF94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68" name="Forma livre: Forma 67">
                  <a:extLst>
                    <a:ext uri="{FF2B5EF4-FFF2-40B4-BE49-F238E27FC236}">
                      <a16:creationId xmlns:a16="http://schemas.microsoft.com/office/drawing/2014/main" id="{B19FCEEC-C470-25A1-C49B-A24DE9E02B17}"/>
                    </a:ext>
                  </a:extLst>
                </p:cNvPr>
                <p:cNvSpPr/>
                <p:nvPr/>
              </p:nvSpPr>
              <p:spPr>
                <a:xfrm>
                  <a:off x="6191625" y="1599725"/>
                  <a:ext cx="118078" cy="49898"/>
                </a:xfrm>
                <a:custGeom>
                  <a:avLst/>
                  <a:gdLst>
                    <a:gd name="connsiteX0" fmla="*/ 0 w 118078"/>
                    <a:gd name="connsiteY0" fmla="*/ 0 h 49898"/>
                    <a:gd name="connsiteX1" fmla="*/ 37343 w 118078"/>
                    <a:gd name="connsiteY1" fmla="*/ 0 h 49898"/>
                    <a:gd name="connsiteX2" fmla="*/ 87176 w 118078"/>
                    <a:gd name="connsiteY2" fmla="*/ 49899 h 49898"/>
                    <a:gd name="connsiteX3" fmla="*/ 118078 w 118078"/>
                    <a:gd name="connsiteY3" fmla="*/ 49899 h 498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18078" h="49898">
                      <a:moveTo>
                        <a:pt x="0" y="0"/>
                      </a:moveTo>
                      <a:lnTo>
                        <a:pt x="37343" y="0"/>
                      </a:lnTo>
                      <a:lnTo>
                        <a:pt x="87176" y="49899"/>
                      </a:lnTo>
                      <a:lnTo>
                        <a:pt x="118078" y="49899"/>
                      </a:lnTo>
                    </a:path>
                  </a:pathLst>
                </a:custGeom>
                <a:grpFill/>
                <a:ln w="19050" cap="sq">
                  <a:solidFill>
                    <a:srgbClr val="00FF94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69" name="Forma livre: Forma 68">
                  <a:extLst>
                    <a:ext uri="{FF2B5EF4-FFF2-40B4-BE49-F238E27FC236}">
                      <a16:creationId xmlns:a16="http://schemas.microsoft.com/office/drawing/2014/main" id="{38ADD979-EDC1-F14B-8730-95B6885557BE}"/>
                    </a:ext>
                  </a:extLst>
                </p:cNvPr>
                <p:cNvSpPr/>
                <p:nvPr/>
              </p:nvSpPr>
              <p:spPr>
                <a:xfrm>
                  <a:off x="6191625" y="1665367"/>
                  <a:ext cx="81906" cy="44108"/>
                </a:xfrm>
                <a:custGeom>
                  <a:avLst/>
                  <a:gdLst>
                    <a:gd name="connsiteX0" fmla="*/ 0 w 81906"/>
                    <a:gd name="connsiteY0" fmla="*/ 0 h 44108"/>
                    <a:gd name="connsiteX1" fmla="*/ 37343 w 81906"/>
                    <a:gd name="connsiteY1" fmla="*/ 0 h 44108"/>
                    <a:gd name="connsiteX2" fmla="*/ 81907 w 81906"/>
                    <a:gd name="connsiteY2" fmla="*/ 44109 h 4410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81906" h="44108">
                      <a:moveTo>
                        <a:pt x="0" y="0"/>
                      </a:moveTo>
                      <a:lnTo>
                        <a:pt x="37343" y="0"/>
                      </a:lnTo>
                      <a:lnTo>
                        <a:pt x="81907" y="44109"/>
                      </a:lnTo>
                    </a:path>
                  </a:pathLst>
                </a:custGeom>
                <a:grpFill/>
                <a:ln w="19050" cap="sq">
                  <a:solidFill>
                    <a:srgbClr val="00FF94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70" name="Forma livre: Forma 69">
                  <a:extLst>
                    <a:ext uri="{FF2B5EF4-FFF2-40B4-BE49-F238E27FC236}">
                      <a16:creationId xmlns:a16="http://schemas.microsoft.com/office/drawing/2014/main" id="{8A1B0783-3907-C1A9-5AEC-3C0A9B89408F}"/>
                    </a:ext>
                  </a:extLst>
                </p:cNvPr>
                <p:cNvSpPr/>
                <p:nvPr/>
              </p:nvSpPr>
              <p:spPr>
                <a:xfrm>
                  <a:off x="6265075" y="1701539"/>
                  <a:ext cx="55298" cy="55298"/>
                </a:xfrm>
                <a:custGeom>
                  <a:avLst/>
                  <a:gdLst>
                    <a:gd name="connsiteX0" fmla="*/ 55298 w 55298"/>
                    <a:gd name="connsiteY0" fmla="*/ 27649 h 55298"/>
                    <a:gd name="connsiteX1" fmla="*/ 27649 w 55298"/>
                    <a:gd name="connsiteY1" fmla="*/ 55298 h 55298"/>
                    <a:gd name="connsiteX2" fmla="*/ 0 w 55298"/>
                    <a:gd name="connsiteY2" fmla="*/ 27649 h 55298"/>
                    <a:gd name="connsiteX3" fmla="*/ 27649 w 55298"/>
                    <a:gd name="connsiteY3" fmla="*/ 0 h 55298"/>
                    <a:gd name="connsiteX4" fmla="*/ 55298 w 55298"/>
                    <a:gd name="connsiteY4" fmla="*/ 27649 h 552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5298" h="55298">
                      <a:moveTo>
                        <a:pt x="55298" y="27649"/>
                      </a:moveTo>
                      <a:cubicBezTo>
                        <a:pt x="55298" y="42938"/>
                        <a:pt x="42938" y="55298"/>
                        <a:pt x="27649" y="55298"/>
                      </a:cubicBezTo>
                      <a:cubicBezTo>
                        <a:pt x="12361" y="55298"/>
                        <a:pt x="0" y="42938"/>
                        <a:pt x="0" y="27649"/>
                      </a:cubicBezTo>
                      <a:cubicBezTo>
                        <a:pt x="0" y="12361"/>
                        <a:pt x="12361" y="0"/>
                        <a:pt x="27649" y="0"/>
                      </a:cubicBezTo>
                      <a:cubicBezTo>
                        <a:pt x="42938" y="0"/>
                        <a:pt x="55298" y="12361"/>
                        <a:pt x="55298" y="27649"/>
                      </a:cubicBezTo>
                      <a:close/>
                    </a:path>
                  </a:pathLst>
                </a:custGeom>
                <a:grpFill/>
                <a:ln w="19050" cap="sq">
                  <a:solidFill>
                    <a:srgbClr val="00FF94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58" name="Gráfico 32">
                <a:extLst>
                  <a:ext uri="{FF2B5EF4-FFF2-40B4-BE49-F238E27FC236}">
                    <a16:creationId xmlns:a16="http://schemas.microsoft.com/office/drawing/2014/main" id="{A019DFED-81FC-71B2-39BE-70FC43FB40DD}"/>
                  </a:ext>
                </a:extLst>
              </p:cNvPr>
              <p:cNvGrpSpPr/>
              <p:nvPr/>
            </p:nvGrpSpPr>
            <p:grpSpPr>
              <a:xfrm>
                <a:off x="6191625" y="1357908"/>
                <a:ext cx="173767" cy="157112"/>
                <a:chOff x="6191625" y="1357908"/>
                <a:chExt cx="173767" cy="157112"/>
              </a:xfrm>
              <a:grpFill/>
            </p:grpSpPr>
            <p:sp>
              <p:nvSpPr>
                <p:cNvPr id="63" name="Forma livre: Forma 62">
                  <a:extLst>
                    <a:ext uri="{FF2B5EF4-FFF2-40B4-BE49-F238E27FC236}">
                      <a16:creationId xmlns:a16="http://schemas.microsoft.com/office/drawing/2014/main" id="{66509750-8947-B201-9A3A-081D69C70959}"/>
                    </a:ext>
                  </a:extLst>
                </p:cNvPr>
                <p:cNvSpPr/>
                <p:nvPr/>
              </p:nvSpPr>
              <p:spPr>
                <a:xfrm>
                  <a:off x="6310094" y="1437472"/>
                  <a:ext cx="55298" cy="55298"/>
                </a:xfrm>
                <a:custGeom>
                  <a:avLst/>
                  <a:gdLst>
                    <a:gd name="connsiteX0" fmla="*/ 55298 w 55298"/>
                    <a:gd name="connsiteY0" fmla="*/ 27649 h 55298"/>
                    <a:gd name="connsiteX1" fmla="*/ 27649 w 55298"/>
                    <a:gd name="connsiteY1" fmla="*/ 0 h 55298"/>
                    <a:gd name="connsiteX2" fmla="*/ 0 w 55298"/>
                    <a:gd name="connsiteY2" fmla="*/ 27649 h 55298"/>
                    <a:gd name="connsiteX3" fmla="*/ 27649 w 55298"/>
                    <a:gd name="connsiteY3" fmla="*/ 55298 h 55298"/>
                    <a:gd name="connsiteX4" fmla="*/ 55298 w 55298"/>
                    <a:gd name="connsiteY4" fmla="*/ 27649 h 552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5298" h="55298">
                      <a:moveTo>
                        <a:pt x="55298" y="27649"/>
                      </a:moveTo>
                      <a:cubicBezTo>
                        <a:pt x="55298" y="12361"/>
                        <a:pt x="42938" y="0"/>
                        <a:pt x="27649" y="0"/>
                      </a:cubicBezTo>
                      <a:cubicBezTo>
                        <a:pt x="12361" y="0"/>
                        <a:pt x="0" y="12361"/>
                        <a:pt x="0" y="27649"/>
                      </a:cubicBezTo>
                      <a:cubicBezTo>
                        <a:pt x="0" y="42938"/>
                        <a:pt x="12361" y="55298"/>
                        <a:pt x="27649" y="55298"/>
                      </a:cubicBezTo>
                      <a:cubicBezTo>
                        <a:pt x="42938" y="55298"/>
                        <a:pt x="55298" y="42938"/>
                        <a:pt x="55298" y="27649"/>
                      </a:cubicBezTo>
                      <a:close/>
                    </a:path>
                  </a:pathLst>
                </a:custGeom>
                <a:grpFill/>
                <a:ln w="19050" cap="sq">
                  <a:solidFill>
                    <a:srgbClr val="00FF94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64" name="Forma livre: Forma 63">
                  <a:extLst>
                    <a:ext uri="{FF2B5EF4-FFF2-40B4-BE49-F238E27FC236}">
                      <a16:creationId xmlns:a16="http://schemas.microsoft.com/office/drawing/2014/main" id="{710BA79E-9E44-60AE-FB36-2383A18ED9D1}"/>
                    </a:ext>
                  </a:extLst>
                </p:cNvPr>
                <p:cNvSpPr/>
                <p:nvPr/>
              </p:nvSpPr>
              <p:spPr>
                <a:xfrm>
                  <a:off x="6191625" y="1465122"/>
                  <a:ext cx="118468" cy="49898"/>
                </a:xfrm>
                <a:custGeom>
                  <a:avLst/>
                  <a:gdLst>
                    <a:gd name="connsiteX0" fmla="*/ 0 w 118468"/>
                    <a:gd name="connsiteY0" fmla="*/ 49899 h 49898"/>
                    <a:gd name="connsiteX1" fmla="*/ 37343 w 118468"/>
                    <a:gd name="connsiteY1" fmla="*/ 49899 h 49898"/>
                    <a:gd name="connsiteX2" fmla="*/ 87176 w 118468"/>
                    <a:gd name="connsiteY2" fmla="*/ 0 h 49898"/>
                    <a:gd name="connsiteX3" fmla="*/ 118469 w 118468"/>
                    <a:gd name="connsiteY3" fmla="*/ 0 h 498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18468" h="49898">
                      <a:moveTo>
                        <a:pt x="0" y="49899"/>
                      </a:moveTo>
                      <a:lnTo>
                        <a:pt x="37343" y="49899"/>
                      </a:lnTo>
                      <a:lnTo>
                        <a:pt x="87176" y="0"/>
                      </a:lnTo>
                      <a:lnTo>
                        <a:pt x="118469" y="0"/>
                      </a:lnTo>
                    </a:path>
                  </a:pathLst>
                </a:custGeom>
                <a:grpFill/>
                <a:ln w="19050" cap="sq">
                  <a:solidFill>
                    <a:srgbClr val="00FF94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65" name="Forma livre: Forma 64">
                  <a:extLst>
                    <a:ext uri="{FF2B5EF4-FFF2-40B4-BE49-F238E27FC236}">
                      <a16:creationId xmlns:a16="http://schemas.microsoft.com/office/drawing/2014/main" id="{0E60FF20-618C-90CA-294A-D891DA1CB79A}"/>
                    </a:ext>
                  </a:extLst>
                </p:cNvPr>
                <p:cNvSpPr/>
                <p:nvPr/>
              </p:nvSpPr>
              <p:spPr>
                <a:xfrm>
                  <a:off x="6191625" y="1405269"/>
                  <a:ext cx="81451" cy="44043"/>
                </a:xfrm>
                <a:custGeom>
                  <a:avLst/>
                  <a:gdLst>
                    <a:gd name="connsiteX0" fmla="*/ 0 w 81451"/>
                    <a:gd name="connsiteY0" fmla="*/ 44044 h 44043"/>
                    <a:gd name="connsiteX1" fmla="*/ 37343 w 81451"/>
                    <a:gd name="connsiteY1" fmla="*/ 44044 h 44043"/>
                    <a:gd name="connsiteX2" fmla="*/ 81451 w 81451"/>
                    <a:gd name="connsiteY2" fmla="*/ 0 h 4404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81451" h="44043">
                      <a:moveTo>
                        <a:pt x="0" y="44044"/>
                      </a:moveTo>
                      <a:lnTo>
                        <a:pt x="37343" y="44044"/>
                      </a:lnTo>
                      <a:lnTo>
                        <a:pt x="81451" y="0"/>
                      </a:lnTo>
                    </a:path>
                  </a:pathLst>
                </a:custGeom>
                <a:grpFill/>
                <a:ln w="19050" cap="sq">
                  <a:solidFill>
                    <a:srgbClr val="00FF94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66" name="Forma livre: Forma 65">
                  <a:extLst>
                    <a:ext uri="{FF2B5EF4-FFF2-40B4-BE49-F238E27FC236}">
                      <a16:creationId xmlns:a16="http://schemas.microsoft.com/office/drawing/2014/main" id="{C4B9AB21-ECF6-CABC-1F1B-C9F479F6E1D8}"/>
                    </a:ext>
                  </a:extLst>
                </p:cNvPr>
                <p:cNvSpPr/>
                <p:nvPr/>
              </p:nvSpPr>
              <p:spPr>
                <a:xfrm>
                  <a:off x="6265075" y="1357908"/>
                  <a:ext cx="55298" cy="55298"/>
                </a:xfrm>
                <a:custGeom>
                  <a:avLst/>
                  <a:gdLst>
                    <a:gd name="connsiteX0" fmla="*/ 55298 w 55298"/>
                    <a:gd name="connsiteY0" fmla="*/ 27649 h 55298"/>
                    <a:gd name="connsiteX1" fmla="*/ 27649 w 55298"/>
                    <a:gd name="connsiteY1" fmla="*/ 0 h 55298"/>
                    <a:gd name="connsiteX2" fmla="*/ 0 w 55298"/>
                    <a:gd name="connsiteY2" fmla="*/ 27649 h 55298"/>
                    <a:gd name="connsiteX3" fmla="*/ 27649 w 55298"/>
                    <a:gd name="connsiteY3" fmla="*/ 55298 h 55298"/>
                    <a:gd name="connsiteX4" fmla="*/ 55298 w 55298"/>
                    <a:gd name="connsiteY4" fmla="*/ 27649 h 552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5298" h="55298">
                      <a:moveTo>
                        <a:pt x="55298" y="27649"/>
                      </a:moveTo>
                      <a:cubicBezTo>
                        <a:pt x="55298" y="12361"/>
                        <a:pt x="42938" y="0"/>
                        <a:pt x="27649" y="0"/>
                      </a:cubicBezTo>
                      <a:cubicBezTo>
                        <a:pt x="12361" y="0"/>
                        <a:pt x="0" y="12361"/>
                        <a:pt x="0" y="27649"/>
                      </a:cubicBezTo>
                      <a:cubicBezTo>
                        <a:pt x="0" y="42938"/>
                        <a:pt x="12361" y="55298"/>
                        <a:pt x="27649" y="55298"/>
                      </a:cubicBezTo>
                      <a:cubicBezTo>
                        <a:pt x="42938" y="55298"/>
                        <a:pt x="55298" y="42938"/>
                        <a:pt x="55298" y="27649"/>
                      </a:cubicBezTo>
                      <a:close/>
                    </a:path>
                  </a:pathLst>
                </a:custGeom>
                <a:grpFill/>
                <a:ln w="19050" cap="sq">
                  <a:solidFill>
                    <a:srgbClr val="00FF94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59" name="Gráfico 32">
                <a:extLst>
                  <a:ext uri="{FF2B5EF4-FFF2-40B4-BE49-F238E27FC236}">
                    <a16:creationId xmlns:a16="http://schemas.microsoft.com/office/drawing/2014/main" id="{4EEA98B3-4EBA-D395-CE49-7C4C0AD75ED0}"/>
                  </a:ext>
                </a:extLst>
              </p:cNvPr>
              <p:cNvGrpSpPr/>
              <p:nvPr/>
            </p:nvGrpSpPr>
            <p:grpSpPr>
              <a:xfrm>
                <a:off x="6190910" y="1529723"/>
                <a:ext cx="123673" cy="55298"/>
                <a:chOff x="6190910" y="1529723"/>
                <a:chExt cx="123673" cy="55298"/>
              </a:xfrm>
              <a:grpFill/>
            </p:grpSpPr>
            <p:sp>
              <p:nvSpPr>
                <p:cNvPr id="61" name="Forma livre: Forma 60">
                  <a:extLst>
                    <a:ext uri="{FF2B5EF4-FFF2-40B4-BE49-F238E27FC236}">
                      <a16:creationId xmlns:a16="http://schemas.microsoft.com/office/drawing/2014/main" id="{9291069E-7444-A791-8E39-DF3030B7D562}"/>
                    </a:ext>
                  </a:extLst>
                </p:cNvPr>
                <p:cNvSpPr/>
                <p:nvPr/>
              </p:nvSpPr>
              <p:spPr>
                <a:xfrm>
                  <a:off x="6190910" y="1557372"/>
                  <a:ext cx="68765" cy="6505"/>
                </a:xfrm>
                <a:custGeom>
                  <a:avLst/>
                  <a:gdLst>
                    <a:gd name="connsiteX0" fmla="*/ 0 w 68765"/>
                    <a:gd name="connsiteY0" fmla="*/ 0 h 6505"/>
                    <a:gd name="connsiteX1" fmla="*/ 68765 w 68765"/>
                    <a:gd name="connsiteY1" fmla="*/ 0 h 650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68765" h="6505">
                      <a:moveTo>
                        <a:pt x="0" y="0"/>
                      </a:moveTo>
                      <a:lnTo>
                        <a:pt x="68765" y="0"/>
                      </a:lnTo>
                    </a:path>
                  </a:pathLst>
                </a:custGeom>
                <a:grpFill/>
                <a:ln w="19050" cap="sq">
                  <a:solidFill>
                    <a:srgbClr val="00FF94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62" name="Forma livre: Forma 61">
                  <a:extLst>
                    <a:ext uri="{FF2B5EF4-FFF2-40B4-BE49-F238E27FC236}">
                      <a16:creationId xmlns:a16="http://schemas.microsoft.com/office/drawing/2014/main" id="{71E6D76A-9AA8-5C1D-4A7E-C310DD8406D3}"/>
                    </a:ext>
                  </a:extLst>
                </p:cNvPr>
                <p:cNvSpPr/>
                <p:nvPr/>
              </p:nvSpPr>
              <p:spPr>
                <a:xfrm>
                  <a:off x="6259285" y="1529723"/>
                  <a:ext cx="55298" cy="55298"/>
                </a:xfrm>
                <a:custGeom>
                  <a:avLst/>
                  <a:gdLst>
                    <a:gd name="connsiteX0" fmla="*/ 55298 w 55298"/>
                    <a:gd name="connsiteY0" fmla="*/ 27649 h 55298"/>
                    <a:gd name="connsiteX1" fmla="*/ 27649 w 55298"/>
                    <a:gd name="connsiteY1" fmla="*/ 55298 h 55298"/>
                    <a:gd name="connsiteX2" fmla="*/ 0 w 55298"/>
                    <a:gd name="connsiteY2" fmla="*/ 27649 h 55298"/>
                    <a:gd name="connsiteX3" fmla="*/ 27649 w 55298"/>
                    <a:gd name="connsiteY3" fmla="*/ 0 h 55298"/>
                    <a:gd name="connsiteX4" fmla="*/ 55298 w 55298"/>
                    <a:gd name="connsiteY4" fmla="*/ 27649 h 552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5298" h="55298">
                      <a:moveTo>
                        <a:pt x="55298" y="27649"/>
                      </a:moveTo>
                      <a:cubicBezTo>
                        <a:pt x="55298" y="42938"/>
                        <a:pt x="42938" y="55298"/>
                        <a:pt x="27649" y="55298"/>
                      </a:cubicBezTo>
                      <a:cubicBezTo>
                        <a:pt x="12361" y="55298"/>
                        <a:pt x="0" y="42938"/>
                        <a:pt x="0" y="27649"/>
                      </a:cubicBezTo>
                      <a:cubicBezTo>
                        <a:pt x="0" y="12361"/>
                        <a:pt x="12361" y="0"/>
                        <a:pt x="27649" y="0"/>
                      </a:cubicBezTo>
                      <a:cubicBezTo>
                        <a:pt x="42938" y="0"/>
                        <a:pt x="55298" y="12361"/>
                        <a:pt x="55298" y="27649"/>
                      </a:cubicBezTo>
                      <a:close/>
                    </a:path>
                  </a:pathLst>
                </a:custGeom>
                <a:grpFill/>
                <a:ln w="19050" cap="sq">
                  <a:solidFill>
                    <a:srgbClr val="00FF94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60" name="Forma livre: Forma 59">
                <a:extLst>
                  <a:ext uri="{FF2B5EF4-FFF2-40B4-BE49-F238E27FC236}">
                    <a16:creationId xmlns:a16="http://schemas.microsoft.com/office/drawing/2014/main" id="{A24F9B76-46DE-1EBD-3C1F-CFC968C8DF01}"/>
                  </a:ext>
                </a:extLst>
              </p:cNvPr>
              <p:cNvSpPr/>
              <p:nvPr/>
            </p:nvSpPr>
            <p:spPr>
              <a:xfrm>
                <a:off x="6152201" y="1686285"/>
                <a:ext cx="37362" cy="20848"/>
              </a:xfrm>
              <a:custGeom>
                <a:avLst/>
                <a:gdLst>
                  <a:gd name="connsiteX0" fmla="*/ 0 w 37362"/>
                  <a:gd name="connsiteY0" fmla="*/ 10505 h 20848"/>
                  <a:gd name="connsiteX1" fmla="*/ 27064 w 37362"/>
                  <a:gd name="connsiteY1" fmla="*/ 2373 h 20848"/>
                  <a:gd name="connsiteX2" fmla="*/ 37343 w 37362"/>
                  <a:gd name="connsiteY2" fmla="*/ 20849 h 208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7362" h="20848">
                    <a:moveTo>
                      <a:pt x="0" y="10505"/>
                    </a:moveTo>
                    <a:cubicBezTo>
                      <a:pt x="5205" y="811"/>
                      <a:pt x="17435" y="-2832"/>
                      <a:pt x="27064" y="2373"/>
                    </a:cubicBezTo>
                    <a:cubicBezTo>
                      <a:pt x="34025" y="6081"/>
                      <a:pt x="37668" y="13432"/>
                      <a:pt x="37343" y="20849"/>
                    </a:cubicBezTo>
                  </a:path>
                </a:pathLst>
              </a:custGeom>
              <a:grp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4" name="Agrupar 3">
            <a:extLst>
              <a:ext uri="{FF2B5EF4-FFF2-40B4-BE49-F238E27FC236}">
                <a16:creationId xmlns:a16="http://schemas.microsoft.com/office/drawing/2014/main" id="{3AFD6E13-7768-755E-4812-94A46B7A6C0B}"/>
              </a:ext>
            </a:extLst>
          </p:cNvPr>
          <p:cNvGrpSpPr/>
          <p:nvPr/>
        </p:nvGrpSpPr>
        <p:grpSpPr>
          <a:xfrm>
            <a:off x="478387" y="4888887"/>
            <a:ext cx="994687" cy="616657"/>
            <a:chOff x="478387" y="4888887"/>
            <a:chExt cx="994687" cy="616657"/>
          </a:xfrm>
          <a:solidFill>
            <a:srgbClr val="132153"/>
          </a:solidFill>
        </p:grpSpPr>
        <p:sp>
          <p:nvSpPr>
            <p:cNvPr id="27" name="Forma livre: Forma 26">
              <a:extLst>
                <a:ext uri="{FF2B5EF4-FFF2-40B4-BE49-F238E27FC236}">
                  <a16:creationId xmlns:a16="http://schemas.microsoft.com/office/drawing/2014/main" id="{A49A1DCF-85A6-1594-5590-2733359AE9F6}"/>
                </a:ext>
              </a:extLst>
            </p:cNvPr>
            <p:cNvSpPr/>
            <p:nvPr/>
          </p:nvSpPr>
          <p:spPr>
            <a:xfrm flipH="1">
              <a:off x="478387" y="4888887"/>
              <a:ext cx="994687" cy="616657"/>
            </a:xfrm>
            <a:custGeom>
              <a:avLst/>
              <a:gdLst>
                <a:gd name="connsiteX0" fmla="*/ 671828 w 846074"/>
                <a:gd name="connsiteY0" fmla="*/ 0 h 524524"/>
                <a:gd name="connsiteX1" fmla="*/ 0 w 846074"/>
                <a:gd name="connsiteY1" fmla="*/ 0 h 524524"/>
                <a:gd name="connsiteX2" fmla="*/ 524529 w 846074"/>
                <a:gd name="connsiteY2" fmla="*/ 524524 h 524524"/>
                <a:gd name="connsiteX3" fmla="*/ 524742 w 846074"/>
                <a:gd name="connsiteY3" fmla="*/ 524524 h 524524"/>
                <a:gd name="connsiteX4" fmla="*/ 846074 w 846074"/>
                <a:gd name="connsiteY4" fmla="*/ 524524 h 5245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46074" h="524524">
                  <a:moveTo>
                    <a:pt x="671828" y="0"/>
                  </a:moveTo>
                  <a:lnTo>
                    <a:pt x="0" y="0"/>
                  </a:lnTo>
                  <a:cubicBezTo>
                    <a:pt x="0" y="289824"/>
                    <a:pt x="234920" y="524524"/>
                    <a:pt x="524529" y="524524"/>
                  </a:cubicBezTo>
                  <a:lnTo>
                    <a:pt x="524742" y="524524"/>
                  </a:lnTo>
                  <a:lnTo>
                    <a:pt x="846074" y="524524"/>
                  </a:lnTo>
                  <a:close/>
                </a:path>
              </a:pathLst>
            </a:custGeom>
            <a:grpFill/>
            <a:ln w="4244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pt-PT"/>
            </a:p>
          </p:txBody>
        </p:sp>
        <p:grpSp>
          <p:nvGrpSpPr>
            <p:cNvPr id="77" name="Agrupar 76">
              <a:extLst>
                <a:ext uri="{FF2B5EF4-FFF2-40B4-BE49-F238E27FC236}">
                  <a16:creationId xmlns:a16="http://schemas.microsoft.com/office/drawing/2014/main" id="{956E39F5-D048-AFA8-2096-0009448C2411}"/>
                </a:ext>
              </a:extLst>
            </p:cNvPr>
            <p:cNvGrpSpPr/>
            <p:nvPr/>
          </p:nvGrpSpPr>
          <p:grpSpPr>
            <a:xfrm>
              <a:off x="821640" y="5012104"/>
              <a:ext cx="308179" cy="336550"/>
              <a:chOff x="6000092" y="1357908"/>
              <a:chExt cx="365300" cy="398929"/>
            </a:xfrm>
            <a:grpFill/>
          </p:grpSpPr>
          <p:sp>
            <p:nvSpPr>
              <p:cNvPr id="78" name="Forma livre: Forma 77">
                <a:extLst>
                  <a:ext uri="{FF2B5EF4-FFF2-40B4-BE49-F238E27FC236}">
                    <a16:creationId xmlns:a16="http://schemas.microsoft.com/office/drawing/2014/main" id="{F27B29D6-D574-E47F-41D3-131580B83630}"/>
                  </a:ext>
                </a:extLst>
              </p:cNvPr>
              <p:cNvSpPr/>
              <p:nvPr/>
            </p:nvSpPr>
            <p:spPr>
              <a:xfrm>
                <a:off x="6000092" y="1418606"/>
                <a:ext cx="84058" cy="286120"/>
              </a:xfrm>
              <a:custGeom>
                <a:avLst/>
                <a:gdLst>
                  <a:gd name="connsiteX0" fmla="*/ 51595 w 84058"/>
                  <a:gd name="connsiteY0" fmla="*/ 0 h 286120"/>
                  <a:gd name="connsiteX1" fmla="*/ 35266 w 84058"/>
                  <a:gd name="connsiteY1" fmla="*/ 61674 h 286120"/>
                  <a:gd name="connsiteX2" fmla="*/ 28760 w 84058"/>
                  <a:gd name="connsiteY2" fmla="*/ 193415 h 286120"/>
                  <a:gd name="connsiteX3" fmla="*/ 84059 w 84058"/>
                  <a:gd name="connsiteY3" fmla="*/ 286121 h 2861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4058" h="286120">
                    <a:moveTo>
                      <a:pt x="51595" y="0"/>
                    </a:moveTo>
                    <a:cubicBezTo>
                      <a:pt x="37868" y="7872"/>
                      <a:pt x="26028" y="24852"/>
                      <a:pt x="35266" y="61674"/>
                    </a:cubicBezTo>
                    <a:cubicBezTo>
                      <a:pt x="35266" y="61674"/>
                      <a:pt x="-39549" y="126731"/>
                      <a:pt x="28760" y="193415"/>
                    </a:cubicBezTo>
                    <a:cubicBezTo>
                      <a:pt x="28760" y="193415"/>
                      <a:pt x="9243" y="281242"/>
                      <a:pt x="84059" y="286121"/>
                    </a:cubicBezTo>
                  </a:path>
                </a:pathLst>
              </a:custGeom>
              <a:grp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79" name="Gráfico 32">
                <a:extLst>
                  <a:ext uri="{FF2B5EF4-FFF2-40B4-BE49-F238E27FC236}">
                    <a16:creationId xmlns:a16="http://schemas.microsoft.com/office/drawing/2014/main" id="{E79EBAF2-8832-52A9-20F1-D03878A77756}"/>
                  </a:ext>
                </a:extLst>
              </p:cNvPr>
              <p:cNvGrpSpPr/>
              <p:nvPr/>
            </p:nvGrpSpPr>
            <p:grpSpPr>
              <a:xfrm>
                <a:off x="6061121" y="1359924"/>
                <a:ext cx="128487" cy="396366"/>
                <a:chOff x="6061121" y="1359924"/>
                <a:chExt cx="128487" cy="396366"/>
              </a:xfrm>
              <a:grpFill/>
            </p:grpSpPr>
            <p:sp>
              <p:nvSpPr>
                <p:cNvPr id="94" name="Forma livre: Forma 93">
                  <a:extLst>
                    <a:ext uri="{FF2B5EF4-FFF2-40B4-BE49-F238E27FC236}">
                      <a16:creationId xmlns:a16="http://schemas.microsoft.com/office/drawing/2014/main" id="{481EE401-58D6-F238-FBDE-A2ED42089F55}"/>
                    </a:ext>
                  </a:extLst>
                </p:cNvPr>
                <p:cNvSpPr/>
                <p:nvPr/>
              </p:nvSpPr>
              <p:spPr>
                <a:xfrm>
                  <a:off x="6083891" y="1359924"/>
                  <a:ext cx="105717" cy="396366"/>
                </a:xfrm>
                <a:custGeom>
                  <a:avLst/>
                  <a:gdLst>
                    <a:gd name="connsiteX0" fmla="*/ 52891 w 105717"/>
                    <a:gd name="connsiteY0" fmla="*/ 105718 h 396366"/>
                    <a:gd name="connsiteX1" fmla="*/ 0 w 105717"/>
                    <a:gd name="connsiteY1" fmla="*/ 52891 h 396366"/>
                    <a:gd name="connsiteX2" fmla="*/ 52891 w 105717"/>
                    <a:gd name="connsiteY2" fmla="*/ 0 h 396366"/>
                    <a:gd name="connsiteX3" fmla="*/ 105718 w 105717"/>
                    <a:gd name="connsiteY3" fmla="*/ 52826 h 396366"/>
                    <a:gd name="connsiteX4" fmla="*/ 105718 w 105717"/>
                    <a:gd name="connsiteY4" fmla="*/ 346884 h 396366"/>
                    <a:gd name="connsiteX5" fmla="*/ 80606 w 105717"/>
                    <a:gd name="connsiteY5" fmla="*/ 388911 h 396366"/>
                    <a:gd name="connsiteX6" fmla="*/ 9238 w 105717"/>
                    <a:gd name="connsiteY6" fmla="*/ 371150 h 396366"/>
                    <a:gd name="connsiteX7" fmla="*/ 15484 w 105717"/>
                    <a:gd name="connsiteY7" fmla="*/ 309216 h 396366"/>
                    <a:gd name="connsiteX8" fmla="*/ 45019 w 105717"/>
                    <a:gd name="connsiteY8" fmla="*/ 277078 h 39636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105717" h="396366">
                      <a:moveTo>
                        <a:pt x="52891" y="105718"/>
                      </a:moveTo>
                      <a:cubicBezTo>
                        <a:pt x="23681" y="105718"/>
                        <a:pt x="0" y="82037"/>
                        <a:pt x="0" y="52891"/>
                      </a:cubicBezTo>
                      <a:cubicBezTo>
                        <a:pt x="0" y="23746"/>
                        <a:pt x="23681" y="0"/>
                        <a:pt x="52891" y="0"/>
                      </a:cubicBezTo>
                      <a:cubicBezTo>
                        <a:pt x="82102" y="0"/>
                        <a:pt x="105718" y="23681"/>
                        <a:pt x="105718" y="52826"/>
                      </a:cubicBezTo>
                      <a:lnTo>
                        <a:pt x="105718" y="346884"/>
                      </a:lnTo>
                      <a:cubicBezTo>
                        <a:pt x="105718" y="364580"/>
                        <a:pt x="96414" y="379413"/>
                        <a:pt x="80606" y="388911"/>
                      </a:cubicBezTo>
                      <a:cubicBezTo>
                        <a:pt x="55949" y="403744"/>
                        <a:pt x="24006" y="395742"/>
                        <a:pt x="9238" y="371150"/>
                      </a:cubicBezTo>
                      <a:cubicBezTo>
                        <a:pt x="-2928" y="350918"/>
                        <a:pt x="260" y="325741"/>
                        <a:pt x="15484" y="309216"/>
                      </a:cubicBezTo>
                      <a:lnTo>
                        <a:pt x="45019" y="277078"/>
                      </a:lnTo>
                    </a:path>
                  </a:pathLst>
                </a:custGeom>
                <a:grpFill/>
                <a:ln w="19050" cap="sq">
                  <a:solidFill>
                    <a:srgbClr val="00FF94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95" name="Forma livre: Forma 94">
                  <a:extLst>
                    <a:ext uri="{FF2B5EF4-FFF2-40B4-BE49-F238E27FC236}">
                      <a16:creationId xmlns:a16="http://schemas.microsoft.com/office/drawing/2014/main" id="{8B1CF4E8-2C24-EF1C-E998-8E0C288EA4AA}"/>
                    </a:ext>
                  </a:extLst>
                </p:cNvPr>
                <p:cNvSpPr/>
                <p:nvPr/>
              </p:nvSpPr>
              <p:spPr>
                <a:xfrm>
                  <a:off x="6144784" y="1383865"/>
                  <a:ext cx="41563" cy="38963"/>
                </a:xfrm>
                <a:custGeom>
                  <a:avLst/>
                  <a:gdLst>
                    <a:gd name="connsiteX0" fmla="*/ 36172 w 41563"/>
                    <a:gd name="connsiteY0" fmla="*/ 0 h 38963"/>
                    <a:gd name="connsiteX1" fmla="*/ 39425 w 41563"/>
                    <a:gd name="connsiteY1" fmla="*/ 24266 h 38963"/>
                    <a:gd name="connsiteX2" fmla="*/ 36432 w 41563"/>
                    <a:gd name="connsiteY2" fmla="*/ 29080 h 38963"/>
                    <a:gd name="connsiteX3" fmla="*/ 0 w 41563"/>
                    <a:gd name="connsiteY3" fmla="*/ 33439 h 3896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1563" h="38963">
                      <a:moveTo>
                        <a:pt x="36172" y="0"/>
                      </a:moveTo>
                      <a:cubicBezTo>
                        <a:pt x="41571" y="7547"/>
                        <a:pt x="43393" y="16004"/>
                        <a:pt x="39425" y="24266"/>
                      </a:cubicBezTo>
                      <a:cubicBezTo>
                        <a:pt x="38644" y="25893"/>
                        <a:pt x="37603" y="27519"/>
                        <a:pt x="36432" y="29080"/>
                      </a:cubicBezTo>
                      <a:cubicBezTo>
                        <a:pt x="27584" y="40270"/>
                        <a:pt x="11190" y="42287"/>
                        <a:pt x="0" y="33439"/>
                      </a:cubicBezTo>
                    </a:path>
                  </a:pathLst>
                </a:custGeom>
                <a:grpFill/>
                <a:ln w="19050" cap="sq">
                  <a:solidFill>
                    <a:srgbClr val="00FF94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96" name="Forma livre: Forma 95">
                  <a:extLst>
                    <a:ext uri="{FF2B5EF4-FFF2-40B4-BE49-F238E27FC236}">
                      <a16:creationId xmlns:a16="http://schemas.microsoft.com/office/drawing/2014/main" id="{308F15A3-EDF4-FEDC-8BC0-C8CC787FAA55}"/>
                    </a:ext>
                  </a:extLst>
                </p:cNvPr>
                <p:cNvSpPr/>
                <p:nvPr/>
              </p:nvSpPr>
              <p:spPr>
                <a:xfrm>
                  <a:off x="6081487" y="1460806"/>
                  <a:ext cx="34217" cy="54474"/>
                </a:xfrm>
                <a:custGeom>
                  <a:avLst/>
                  <a:gdLst>
                    <a:gd name="connsiteX0" fmla="*/ 21076 w 34217"/>
                    <a:gd name="connsiteY0" fmla="*/ 54475 h 54474"/>
                    <a:gd name="connsiteX1" fmla="*/ 778 w 34217"/>
                    <a:gd name="connsiteY1" fmla="*/ 21035 h 54474"/>
                    <a:gd name="connsiteX2" fmla="*/ 34217 w 34217"/>
                    <a:gd name="connsiteY2" fmla="*/ 803 h 544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34217" h="54474">
                      <a:moveTo>
                        <a:pt x="21076" y="54475"/>
                      </a:moveTo>
                      <a:cubicBezTo>
                        <a:pt x="6308" y="50832"/>
                        <a:pt x="-2800" y="35803"/>
                        <a:pt x="778" y="21035"/>
                      </a:cubicBezTo>
                      <a:cubicBezTo>
                        <a:pt x="4421" y="6267"/>
                        <a:pt x="19449" y="-2841"/>
                        <a:pt x="34217" y="803"/>
                      </a:cubicBezTo>
                    </a:path>
                  </a:pathLst>
                </a:custGeom>
                <a:grpFill/>
                <a:ln w="19050" cap="sq">
                  <a:solidFill>
                    <a:srgbClr val="00FF94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97" name="Forma livre: Forma 96">
                  <a:extLst>
                    <a:ext uri="{FF2B5EF4-FFF2-40B4-BE49-F238E27FC236}">
                      <a16:creationId xmlns:a16="http://schemas.microsoft.com/office/drawing/2014/main" id="{728464F7-BF89-3109-CB8C-7C25C10EF467}"/>
                    </a:ext>
                  </a:extLst>
                </p:cNvPr>
                <p:cNvSpPr/>
                <p:nvPr/>
              </p:nvSpPr>
              <p:spPr>
                <a:xfrm>
                  <a:off x="6073547" y="1527543"/>
                  <a:ext cx="114760" cy="72506"/>
                </a:xfrm>
                <a:custGeom>
                  <a:avLst/>
                  <a:gdLst>
                    <a:gd name="connsiteX0" fmla="*/ 114760 w 114760"/>
                    <a:gd name="connsiteY0" fmla="*/ 7254 h 72506"/>
                    <a:gd name="connsiteX1" fmla="*/ 73905 w 114760"/>
                    <a:gd name="connsiteY1" fmla="*/ 8881 h 72506"/>
                    <a:gd name="connsiteX2" fmla="*/ 0 w 114760"/>
                    <a:gd name="connsiteY2" fmla="*/ 72506 h 7250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14760" h="72506">
                      <a:moveTo>
                        <a:pt x="114760" y="7254"/>
                      </a:moveTo>
                      <a:cubicBezTo>
                        <a:pt x="103375" y="-2830"/>
                        <a:pt x="83989" y="-2504"/>
                        <a:pt x="73905" y="8881"/>
                      </a:cubicBezTo>
                      <a:cubicBezTo>
                        <a:pt x="73905" y="8881"/>
                        <a:pt x="31488" y="72506"/>
                        <a:pt x="0" y="72506"/>
                      </a:cubicBezTo>
                    </a:path>
                  </a:pathLst>
                </a:custGeom>
                <a:grpFill/>
                <a:ln w="19050" cap="sq">
                  <a:solidFill>
                    <a:srgbClr val="00FF94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98" name="Forma livre: Forma 97">
                  <a:extLst>
                    <a:ext uri="{FF2B5EF4-FFF2-40B4-BE49-F238E27FC236}">
                      <a16:creationId xmlns:a16="http://schemas.microsoft.com/office/drawing/2014/main" id="{0F637968-9BAB-145A-136B-87B0D1EC1C9A}"/>
                    </a:ext>
                  </a:extLst>
                </p:cNvPr>
                <p:cNvSpPr/>
                <p:nvPr/>
              </p:nvSpPr>
              <p:spPr>
                <a:xfrm>
                  <a:off x="6079857" y="1646956"/>
                  <a:ext cx="29405" cy="9823"/>
                </a:xfrm>
                <a:custGeom>
                  <a:avLst/>
                  <a:gdLst>
                    <a:gd name="connsiteX0" fmla="*/ 0 w 29405"/>
                    <a:gd name="connsiteY0" fmla="*/ 0 h 9823"/>
                    <a:gd name="connsiteX1" fmla="*/ 29406 w 29405"/>
                    <a:gd name="connsiteY1" fmla="*/ 9824 h 982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9405" h="9823">
                      <a:moveTo>
                        <a:pt x="0" y="0"/>
                      </a:moveTo>
                      <a:lnTo>
                        <a:pt x="29406" y="9824"/>
                      </a:lnTo>
                    </a:path>
                  </a:pathLst>
                </a:custGeom>
                <a:grpFill/>
                <a:ln w="19050" cap="sq">
                  <a:solidFill>
                    <a:srgbClr val="00FF94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99" name="Forma livre: Forma 98">
                  <a:extLst>
                    <a:ext uri="{FF2B5EF4-FFF2-40B4-BE49-F238E27FC236}">
                      <a16:creationId xmlns:a16="http://schemas.microsoft.com/office/drawing/2014/main" id="{D64A0182-AC99-25D7-ED7A-698E759D4C98}"/>
                    </a:ext>
                  </a:extLst>
                </p:cNvPr>
                <p:cNvSpPr/>
                <p:nvPr/>
              </p:nvSpPr>
              <p:spPr>
                <a:xfrm>
                  <a:off x="6061121" y="1545272"/>
                  <a:ext cx="47166" cy="34154"/>
                </a:xfrm>
                <a:custGeom>
                  <a:avLst/>
                  <a:gdLst>
                    <a:gd name="connsiteX0" fmla="*/ 0 w 47166"/>
                    <a:gd name="connsiteY0" fmla="*/ 0 h 34154"/>
                    <a:gd name="connsiteX1" fmla="*/ 47166 w 47166"/>
                    <a:gd name="connsiteY1" fmla="*/ 34155 h 3415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7166" h="34154">
                      <a:moveTo>
                        <a:pt x="0" y="0"/>
                      </a:moveTo>
                      <a:cubicBezTo>
                        <a:pt x="0" y="0"/>
                        <a:pt x="27649" y="13011"/>
                        <a:pt x="47166" y="34155"/>
                      </a:cubicBezTo>
                    </a:path>
                  </a:pathLst>
                </a:custGeom>
                <a:grpFill/>
                <a:ln w="19050" cap="sq">
                  <a:solidFill>
                    <a:srgbClr val="00FF94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80" name="Gráfico 32">
                <a:extLst>
                  <a:ext uri="{FF2B5EF4-FFF2-40B4-BE49-F238E27FC236}">
                    <a16:creationId xmlns:a16="http://schemas.microsoft.com/office/drawing/2014/main" id="{0DC6B9E1-E456-2015-7844-CBD7E5F716DF}"/>
                  </a:ext>
                </a:extLst>
              </p:cNvPr>
              <p:cNvGrpSpPr/>
              <p:nvPr/>
            </p:nvGrpSpPr>
            <p:grpSpPr>
              <a:xfrm>
                <a:off x="6191625" y="1599725"/>
                <a:ext cx="173767" cy="157112"/>
                <a:chOff x="6191625" y="1599725"/>
                <a:chExt cx="173767" cy="157112"/>
              </a:xfrm>
              <a:grpFill/>
            </p:grpSpPr>
            <p:sp>
              <p:nvSpPr>
                <p:cNvPr id="90" name="Forma livre: Forma 89">
                  <a:extLst>
                    <a:ext uri="{FF2B5EF4-FFF2-40B4-BE49-F238E27FC236}">
                      <a16:creationId xmlns:a16="http://schemas.microsoft.com/office/drawing/2014/main" id="{A8A072C4-54C2-089E-4E3C-6535BD1F0B0D}"/>
                    </a:ext>
                  </a:extLst>
                </p:cNvPr>
                <p:cNvSpPr/>
                <p:nvPr/>
              </p:nvSpPr>
              <p:spPr>
                <a:xfrm>
                  <a:off x="6310094" y="1621974"/>
                  <a:ext cx="55298" cy="55298"/>
                </a:xfrm>
                <a:custGeom>
                  <a:avLst/>
                  <a:gdLst>
                    <a:gd name="connsiteX0" fmla="*/ 55298 w 55298"/>
                    <a:gd name="connsiteY0" fmla="*/ 27649 h 55298"/>
                    <a:gd name="connsiteX1" fmla="*/ 27649 w 55298"/>
                    <a:gd name="connsiteY1" fmla="*/ 55298 h 55298"/>
                    <a:gd name="connsiteX2" fmla="*/ 0 w 55298"/>
                    <a:gd name="connsiteY2" fmla="*/ 27649 h 55298"/>
                    <a:gd name="connsiteX3" fmla="*/ 27649 w 55298"/>
                    <a:gd name="connsiteY3" fmla="*/ 0 h 55298"/>
                    <a:gd name="connsiteX4" fmla="*/ 55298 w 55298"/>
                    <a:gd name="connsiteY4" fmla="*/ 27649 h 552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5298" h="55298">
                      <a:moveTo>
                        <a:pt x="55298" y="27649"/>
                      </a:moveTo>
                      <a:cubicBezTo>
                        <a:pt x="55298" y="42938"/>
                        <a:pt x="42938" y="55298"/>
                        <a:pt x="27649" y="55298"/>
                      </a:cubicBezTo>
                      <a:cubicBezTo>
                        <a:pt x="12361" y="55298"/>
                        <a:pt x="0" y="42938"/>
                        <a:pt x="0" y="27649"/>
                      </a:cubicBezTo>
                      <a:cubicBezTo>
                        <a:pt x="0" y="12361"/>
                        <a:pt x="12361" y="0"/>
                        <a:pt x="27649" y="0"/>
                      </a:cubicBezTo>
                      <a:cubicBezTo>
                        <a:pt x="42938" y="0"/>
                        <a:pt x="55298" y="12361"/>
                        <a:pt x="55298" y="27649"/>
                      </a:cubicBezTo>
                      <a:close/>
                    </a:path>
                  </a:pathLst>
                </a:custGeom>
                <a:grpFill/>
                <a:ln w="19050" cap="sq">
                  <a:solidFill>
                    <a:srgbClr val="00FF94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91" name="Forma livre: Forma 90">
                  <a:extLst>
                    <a:ext uri="{FF2B5EF4-FFF2-40B4-BE49-F238E27FC236}">
                      <a16:creationId xmlns:a16="http://schemas.microsoft.com/office/drawing/2014/main" id="{CEE793E6-B777-4C7E-5678-AF78E7EBE4A8}"/>
                    </a:ext>
                  </a:extLst>
                </p:cNvPr>
                <p:cNvSpPr/>
                <p:nvPr/>
              </p:nvSpPr>
              <p:spPr>
                <a:xfrm>
                  <a:off x="6191625" y="1599725"/>
                  <a:ext cx="118078" cy="49898"/>
                </a:xfrm>
                <a:custGeom>
                  <a:avLst/>
                  <a:gdLst>
                    <a:gd name="connsiteX0" fmla="*/ 0 w 118078"/>
                    <a:gd name="connsiteY0" fmla="*/ 0 h 49898"/>
                    <a:gd name="connsiteX1" fmla="*/ 37343 w 118078"/>
                    <a:gd name="connsiteY1" fmla="*/ 0 h 49898"/>
                    <a:gd name="connsiteX2" fmla="*/ 87176 w 118078"/>
                    <a:gd name="connsiteY2" fmla="*/ 49899 h 49898"/>
                    <a:gd name="connsiteX3" fmla="*/ 118078 w 118078"/>
                    <a:gd name="connsiteY3" fmla="*/ 49899 h 498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18078" h="49898">
                      <a:moveTo>
                        <a:pt x="0" y="0"/>
                      </a:moveTo>
                      <a:lnTo>
                        <a:pt x="37343" y="0"/>
                      </a:lnTo>
                      <a:lnTo>
                        <a:pt x="87176" y="49899"/>
                      </a:lnTo>
                      <a:lnTo>
                        <a:pt x="118078" y="49899"/>
                      </a:lnTo>
                    </a:path>
                  </a:pathLst>
                </a:custGeom>
                <a:grpFill/>
                <a:ln w="19050" cap="sq">
                  <a:solidFill>
                    <a:srgbClr val="00FF94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92" name="Forma livre: Forma 91">
                  <a:extLst>
                    <a:ext uri="{FF2B5EF4-FFF2-40B4-BE49-F238E27FC236}">
                      <a16:creationId xmlns:a16="http://schemas.microsoft.com/office/drawing/2014/main" id="{6B7F9529-F486-2970-AFBB-EA792153E44B}"/>
                    </a:ext>
                  </a:extLst>
                </p:cNvPr>
                <p:cNvSpPr/>
                <p:nvPr/>
              </p:nvSpPr>
              <p:spPr>
                <a:xfrm>
                  <a:off x="6191625" y="1665367"/>
                  <a:ext cx="81906" cy="44108"/>
                </a:xfrm>
                <a:custGeom>
                  <a:avLst/>
                  <a:gdLst>
                    <a:gd name="connsiteX0" fmla="*/ 0 w 81906"/>
                    <a:gd name="connsiteY0" fmla="*/ 0 h 44108"/>
                    <a:gd name="connsiteX1" fmla="*/ 37343 w 81906"/>
                    <a:gd name="connsiteY1" fmla="*/ 0 h 44108"/>
                    <a:gd name="connsiteX2" fmla="*/ 81907 w 81906"/>
                    <a:gd name="connsiteY2" fmla="*/ 44109 h 4410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81906" h="44108">
                      <a:moveTo>
                        <a:pt x="0" y="0"/>
                      </a:moveTo>
                      <a:lnTo>
                        <a:pt x="37343" y="0"/>
                      </a:lnTo>
                      <a:lnTo>
                        <a:pt x="81907" y="44109"/>
                      </a:lnTo>
                    </a:path>
                  </a:pathLst>
                </a:custGeom>
                <a:grpFill/>
                <a:ln w="19050" cap="sq">
                  <a:solidFill>
                    <a:srgbClr val="00FF94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93" name="Forma livre: Forma 92">
                  <a:extLst>
                    <a:ext uri="{FF2B5EF4-FFF2-40B4-BE49-F238E27FC236}">
                      <a16:creationId xmlns:a16="http://schemas.microsoft.com/office/drawing/2014/main" id="{EADC1AE0-B885-0FA3-7C83-CA9419FEB963}"/>
                    </a:ext>
                  </a:extLst>
                </p:cNvPr>
                <p:cNvSpPr/>
                <p:nvPr/>
              </p:nvSpPr>
              <p:spPr>
                <a:xfrm>
                  <a:off x="6265075" y="1701539"/>
                  <a:ext cx="55298" cy="55298"/>
                </a:xfrm>
                <a:custGeom>
                  <a:avLst/>
                  <a:gdLst>
                    <a:gd name="connsiteX0" fmla="*/ 55298 w 55298"/>
                    <a:gd name="connsiteY0" fmla="*/ 27649 h 55298"/>
                    <a:gd name="connsiteX1" fmla="*/ 27649 w 55298"/>
                    <a:gd name="connsiteY1" fmla="*/ 55298 h 55298"/>
                    <a:gd name="connsiteX2" fmla="*/ 0 w 55298"/>
                    <a:gd name="connsiteY2" fmla="*/ 27649 h 55298"/>
                    <a:gd name="connsiteX3" fmla="*/ 27649 w 55298"/>
                    <a:gd name="connsiteY3" fmla="*/ 0 h 55298"/>
                    <a:gd name="connsiteX4" fmla="*/ 55298 w 55298"/>
                    <a:gd name="connsiteY4" fmla="*/ 27649 h 552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5298" h="55298">
                      <a:moveTo>
                        <a:pt x="55298" y="27649"/>
                      </a:moveTo>
                      <a:cubicBezTo>
                        <a:pt x="55298" y="42938"/>
                        <a:pt x="42938" y="55298"/>
                        <a:pt x="27649" y="55298"/>
                      </a:cubicBezTo>
                      <a:cubicBezTo>
                        <a:pt x="12361" y="55298"/>
                        <a:pt x="0" y="42938"/>
                        <a:pt x="0" y="27649"/>
                      </a:cubicBezTo>
                      <a:cubicBezTo>
                        <a:pt x="0" y="12361"/>
                        <a:pt x="12361" y="0"/>
                        <a:pt x="27649" y="0"/>
                      </a:cubicBezTo>
                      <a:cubicBezTo>
                        <a:pt x="42938" y="0"/>
                        <a:pt x="55298" y="12361"/>
                        <a:pt x="55298" y="27649"/>
                      </a:cubicBezTo>
                      <a:close/>
                    </a:path>
                  </a:pathLst>
                </a:custGeom>
                <a:grpFill/>
                <a:ln w="19050" cap="sq">
                  <a:solidFill>
                    <a:srgbClr val="00FF94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81" name="Gráfico 32">
                <a:extLst>
                  <a:ext uri="{FF2B5EF4-FFF2-40B4-BE49-F238E27FC236}">
                    <a16:creationId xmlns:a16="http://schemas.microsoft.com/office/drawing/2014/main" id="{36C3A367-D71C-3092-FD11-C412AE77ED31}"/>
                  </a:ext>
                </a:extLst>
              </p:cNvPr>
              <p:cNvGrpSpPr/>
              <p:nvPr/>
            </p:nvGrpSpPr>
            <p:grpSpPr>
              <a:xfrm>
                <a:off x="6191625" y="1357908"/>
                <a:ext cx="173767" cy="157112"/>
                <a:chOff x="6191625" y="1357908"/>
                <a:chExt cx="173767" cy="157112"/>
              </a:xfrm>
              <a:grpFill/>
            </p:grpSpPr>
            <p:sp>
              <p:nvSpPr>
                <p:cNvPr id="86" name="Forma livre: Forma 85">
                  <a:extLst>
                    <a:ext uri="{FF2B5EF4-FFF2-40B4-BE49-F238E27FC236}">
                      <a16:creationId xmlns:a16="http://schemas.microsoft.com/office/drawing/2014/main" id="{A7493973-0E67-43EB-29E1-ED0B9D9B79BF}"/>
                    </a:ext>
                  </a:extLst>
                </p:cNvPr>
                <p:cNvSpPr/>
                <p:nvPr/>
              </p:nvSpPr>
              <p:spPr>
                <a:xfrm>
                  <a:off x="6310094" y="1437472"/>
                  <a:ext cx="55298" cy="55298"/>
                </a:xfrm>
                <a:custGeom>
                  <a:avLst/>
                  <a:gdLst>
                    <a:gd name="connsiteX0" fmla="*/ 55298 w 55298"/>
                    <a:gd name="connsiteY0" fmla="*/ 27649 h 55298"/>
                    <a:gd name="connsiteX1" fmla="*/ 27649 w 55298"/>
                    <a:gd name="connsiteY1" fmla="*/ 0 h 55298"/>
                    <a:gd name="connsiteX2" fmla="*/ 0 w 55298"/>
                    <a:gd name="connsiteY2" fmla="*/ 27649 h 55298"/>
                    <a:gd name="connsiteX3" fmla="*/ 27649 w 55298"/>
                    <a:gd name="connsiteY3" fmla="*/ 55298 h 55298"/>
                    <a:gd name="connsiteX4" fmla="*/ 55298 w 55298"/>
                    <a:gd name="connsiteY4" fmla="*/ 27649 h 552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5298" h="55298">
                      <a:moveTo>
                        <a:pt x="55298" y="27649"/>
                      </a:moveTo>
                      <a:cubicBezTo>
                        <a:pt x="55298" y="12361"/>
                        <a:pt x="42938" y="0"/>
                        <a:pt x="27649" y="0"/>
                      </a:cubicBezTo>
                      <a:cubicBezTo>
                        <a:pt x="12361" y="0"/>
                        <a:pt x="0" y="12361"/>
                        <a:pt x="0" y="27649"/>
                      </a:cubicBezTo>
                      <a:cubicBezTo>
                        <a:pt x="0" y="42938"/>
                        <a:pt x="12361" y="55298"/>
                        <a:pt x="27649" y="55298"/>
                      </a:cubicBezTo>
                      <a:cubicBezTo>
                        <a:pt x="42938" y="55298"/>
                        <a:pt x="55298" y="42938"/>
                        <a:pt x="55298" y="27649"/>
                      </a:cubicBezTo>
                      <a:close/>
                    </a:path>
                  </a:pathLst>
                </a:custGeom>
                <a:grpFill/>
                <a:ln w="19050" cap="sq">
                  <a:solidFill>
                    <a:srgbClr val="00FF94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87" name="Forma livre: Forma 86">
                  <a:extLst>
                    <a:ext uri="{FF2B5EF4-FFF2-40B4-BE49-F238E27FC236}">
                      <a16:creationId xmlns:a16="http://schemas.microsoft.com/office/drawing/2014/main" id="{54841A5E-5945-CFB2-11FA-741EA0135D8C}"/>
                    </a:ext>
                  </a:extLst>
                </p:cNvPr>
                <p:cNvSpPr/>
                <p:nvPr/>
              </p:nvSpPr>
              <p:spPr>
                <a:xfrm>
                  <a:off x="6191625" y="1465122"/>
                  <a:ext cx="118468" cy="49898"/>
                </a:xfrm>
                <a:custGeom>
                  <a:avLst/>
                  <a:gdLst>
                    <a:gd name="connsiteX0" fmla="*/ 0 w 118468"/>
                    <a:gd name="connsiteY0" fmla="*/ 49899 h 49898"/>
                    <a:gd name="connsiteX1" fmla="*/ 37343 w 118468"/>
                    <a:gd name="connsiteY1" fmla="*/ 49899 h 49898"/>
                    <a:gd name="connsiteX2" fmla="*/ 87176 w 118468"/>
                    <a:gd name="connsiteY2" fmla="*/ 0 h 49898"/>
                    <a:gd name="connsiteX3" fmla="*/ 118469 w 118468"/>
                    <a:gd name="connsiteY3" fmla="*/ 0 h 498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18468" h="49898">
                      <a:moveTo>
                        <a:pt x="0" y="49899"/>
                      </a:moveTo>
                      <a:lnTo>
                        <a:pt x="37343" y="49899"/>
                      </a:lnTo>
                      <a:lnTo>
                        <a:pt x="87176" y="0"/>
                      </a:lnTo>
                      <a:lnTo>
                        <a:pt x="118469" y="0"/>
                      </a:lnTo>
                    </a:path>
                  </a:pathLst>
                </a:custGeom>
                <a:grpFill/>
                <a:ln w="19050" cap="sq">
                  <a:solidFill>
                    <a:srgbClr val="00FF94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88" name="Forma livre: Forma 87">
                  <a:extLst>
                    <a:ext uri="{FF2B5EF4-FFF2-40B4-BE49-F238E27FC236}">
                      <a16:creationId xmlns:a16="http://schemas.microsoft.com/office/drawing/2014/main" id="{A48C5B3C-B31E-17D7-DDC2-6F411CFA7A6B}"/>
                    </a:ext>
                  </a:extLst>
                </p:cNvPr>
                <p:cNvSpPr/>
                <p:nvPr/>
              </p:nvSpPr>
              <p:spPr>
                <a:xfrm>
                  <a:off x="6191625" y="1405269"/>
                  <a:ext cx="81451" cy="44043"/>
                </a:xfrm>
                <a:custGeom>
                  <a:avLst/>
                  <a:gdLst>
                    <a:gd name="connsiteX0" fmla="*/ 0 w 81451"/>
                    <a:gd name="connsiteY0" fmla="*/ 44044 h 44043"/>
                    <a:gd name="connsiteX1" fmla="*/ 37343 w 81451"/>
                    <a:gd name="connsiteY1" fmla="*/ 44044 h 44043"/>
                    <a:gd name="connsiteX2" fmla="*/ 81451 w 81451"/>
                    <a:gd name="connsiteY2" fmla="*/ 0 h 4404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81451" h="44043">
                      <a:moveTo>
                        <a:pt x="0" y="44044"/>
                      </a:moveTo>
                      <a:lnTo>
                        <a:pt x="37343" y="44044"/>
                      </a:lnTo>
                      <a:lnTo>
                        <a:pt x="81451" y="0"/>
                      </a:lnTo>
                    </a:path>
                  </a:pathLst>
                </a:custGeom>
                <a:grpFill/>
                <a:ln w="19050" cap="sq">
                  <a:solidFill>
                    <a:srgbClr val="00FF94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89" name="Forma livre: Forma 88">
                  <a:extLst>
                    <a:ext uri="{FF2B5EF4-FFF2-40B4-BE49-F238E27FC236}">
                      <a16:creationId xmlns:a16="http://schemas.microsoft.com/office/drawing/2014/main" id="{F490F084-0949-3B18-F761-F4BF59D96455}"/>
                    </a:ext>
                  </a:extLst>
                </p:cNvPr>
                <p:cNvSpPr/>
                <p:nvPr/>
              </p:nvSpPr>
              <p:spPr>
                <a:xfrm>
                  <a:off x="6265075" y="1357908"/>
                  <a:ext cx="55298" cy="55298"/>
                </a:xfrm>
                <a:custGeom>
                  <a:avLst/>
                  <a:gdLst>
                    <a:gd name="connsiteX0" fmla="*/ 55298 w 55298"/>
                    <a:gd name="connsiteY0" fmla="*/ 27649 h 55298"/>
                    <a:gd name="connsiteX1" fmla="*/ 27649 w 55298"/>
                    <a:gd name="connsiteY1" fmla="*/ 0 h 55298"/>
                    <a:gd name="connsiteX2" fmla="*/ 0 w 55298"/>
                    <a:gd name="connsiteY2" fmla="*/ 27649 h 55298"/>
                    <a:gd name="connsiteX3" fmla="*/ 27649 w 55298"/>
                    <a:gd name="connsiteY3" fmla="*/ 55298 h 55298"/>
                    <a:gd name="connsiteX4" fmla="*/ 55298 w 55298"/>
                    <a:gd name="connsiteY4" fmla="*/ 27649 h 552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5298" h="55298">
                      <a:moveTo>
                        <a:pt x="55298" y="27649"/>
                      </a:moveTo>
                      <a:cubicBezTo>
                        <a:pt x="55298" y="12361"/>
                        <a:pt x="42938" y="0"/>
                        <a:pt x="27649" y="0"/>
                      </a:cubicBezTo>
                      <a:cubicBezTo>
                        <a:pt x="12361" y="0"/>
                        <a:pt x="0" y="12361"/>
                        <a:pt x="0" y="27649"/>
                      </a:cubicBezTo>
                      <a:cubicBezTo>
                        <a:pt x="0" y="42938"/>
                        <a:pt x="12361" y="55298"/>
                        <a:pt x="27649" y="55298"/>
                      </a:cubicBezTo>
                      <a:cubicBezTo>
                        <a:pt x="42938" y="55298"/>
                        <a:pt x="55298" y="42938"/>
                        <a:pt x="55298" y="27649"/>
                      </a:cubicBezTo>
                      <a:close/>
                    </a:path>
                  </a:pathLst>
                </a:custGeom>
                <a:grpFill/>
                <a:ln w="19050" cap="sq">
                  <a:solidFill>
                    <a:srgbClr val="00FF94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82" name="Gráfico 32">
                <a:extLst>
                  <a:ext uri="{FF2B5EF4-FFF2-40B4-BE49-F238E27FC236}">
                    <a16:creationId xmlns:a16="http://schemas.microsoft.com/office/drawing/2014/main" id="{EC55BBF8-CA70-4A2D-2A1A-E6D3935A01D5}"/>
                  </a:ext>
                </a:extLst>
              </p:cNvPr>
              <p:cNvGrpSpPr/>
              <p:nvPr/>
            </p:nvGrpSpPr>
            <p:grpSpPr>
              <a:xfrm>
                <a:off x="6190910" y="1529723"/>
                <a:ext cx="123673" cy="55298"/>
                <a:chOff x="6190910" y="1529723"/>
                <a:chExt cx="123673" cy="55298"/>
              </a:xfrm>
              <a:grpFill/>
            </p:grpSpPr>
            <p:sp>
              <p:nvSpPr>
                <p:cNvPr id="84" name="Forma livre: Forma 83">
                  <a:extLst>
                    <a:ext uri="{FF2B5EF4-FFF2-40B4-BE49-F238E27FC236}">
                      <a16:creationId xmlns:a16="http://schemas.microsoft.com/office/drawing/2014/main" id="{51E481A4-81F1-11B4-8C7D-2AFFC229CEFD}"/>
                    </a:ext>
                  </a:extLst>
                </p:cNvPr>
                <p:cNvSpPr/>
                <p:nvPr/>
              </p:nvSpPr>
              <p:spPr>
                <a:xfrm>
                  <a:off x="6190910" y="1557372"/>
                  <a:ext cx="68765" cy="6505"/>
                </a:xfrm>
                <a:custGeom>
                  <a:avLst/>
                  <a:gdLst>
                    <a:gd name="connsiteX0" fmla="*/ 0 w 68765"/>
                    <a:gd name="connsiteY0" fmla="*/ 0 h 6505"/>
                    <a:gd name="connsiteX1" fmla="*/ 68765 w 68765"/>
                    <a:gd name="connsiteY1" fmla="*/ 0 h 650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68765" h="6505">
                      <a:moveTo>
                        <a:pt x="0" y="0"/>
                      </a:moveTo>
                      <a:lnTo>
                        <a:pt x="68765" y="0"/>
                      </a:lnTo>
                    </a:path>
                  </a:pathLst>
                </a:custGeom>
                <a:grpFill/>
                <a:ln w="19050" cap="sq">
                  <a:solidFill>
                    <a:srgbClr val="00FF94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85" name="Forma livre: Forma 84">
                  <a:extLst>
                    <a:ext uri="{FF2B5EF4-FFF2-40B4-BE49-F238E27FC236}">
                      <a16:creationId xmlns:a16="http://schemas.microsoft.com/office/drawing/2014/main" id="{47BAE97D-EABD-15F9-55EF-D0DCA123BE83}"/>
                    </a:ext>
                  </a:extLst>
                </p:cNvPr>
                <p:cNvSpPr/>
                <p:nvPr/>
              </p:nvSpPr>
              <p:spPr>
                <a:xfrm>
                  <a:off x="6259285" y="1529723"/>
                  <a:ext cx="55298" cy="55298"/>
                </a:xfrm>
                <a:custGeom>
                  <a:avLst/>
                  <a:gdLst>
                    <a:gd name="connsiteX0" fmla="*/ 55298 w 55298"/>
                    <a:gd name="connsiteY0" fmla="*/ 27649 h 55298"/>
                    <a:gd name="connsiteX1" fmla="*/ 27649 w 55298"/>
                    <a:gd name="connsiteY1" fmla="*/ 55298 h 55298"/>
                    <a:gd name="connsiteX2" fmla="*/ 0 w 55298"/>
                    <a:gd name="connsiteY2" fmla="*/ 27649 h 55298"/>
                    <a:gd name="connsiteX3" fmla="*/ 27649 w 55298"/>
                    <a:gd name="connsiteY3" fmla="*/ 0 h 55298"/>
                    <a:gd name="connsiteX4" fmla="*/ 55298 w 55298"/>
                    <a:gd name="connsiteY4" fmla="*/ 27649 h 552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5298" h="55298">
                      <a:moveTo>
                        <a:pt x="55298" y="27649"/>
                      </a:moveTo>
                      <a:cubicBezTo>
                        <a:pt x="55298" y="42938"/>
                        <a:pt x="42938" y="55298"/>
                        <a:pt x="27649" y="55298"/>
                      </a:cubicBezTo>
                      <a:cubicBezTo>
                        <a:pt x="12361" y="55298"/>
                        <a:pt x="0" y="42938"/>
                        <a:pt x="0" y="27649"/>
                      </a:cubicBezTo>
                      <a:cubicBezTo>
                        <a:pt x="0" y="12361"/>
                        <a:pt x="12361" y="0"/>
                        <a:pt x="27649" y="0"/>
                      </a:cubicBezTo>
                      <a:cubicBezTo>
                        <a:pt x="42938" y="0"/>
                        <a:pt x="55298" y="12361"/>
                        <a:pt x="55298" y="27649"/>
                      </a:cubicBezTo>
                      <a:close/>
                    </a:path>
                  </a:pathLst>
                </a:custGeom>
                <a:grpFill/>
                <a:ln w="19050" cap="sq">
                  <a:solidFill>
                    <a:srgbClr val="00FF94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83" name="Forma livre: Forma 82">
                <a:extLst>
                  <a:ext uri="{FF2B5EF4-FFF2-40B4-BE49-F238E27FC236}">
                    <a16:creationId xmlns:a16="http://schemas.microsoft.com/office/drawing/2014/main" id="{F5DBF981-EC1A-699F-A5FC-9F6E7650812A}"/>
                  </a:ext>
                </a:extLst>
              </p:cNvPr>
              <p:cNvSpPr/>
              <p:nvPr/>
            </p:nvSpPr>
            <p:spPr>
              <a:xfrm>
                <a:off x="6152201" y="1686285"/>
                <a:ext cx="37362" cy="20848"/>
              </a:xfrm>
              <a:custGeom>
                <a:avLst/>
                <a:gdLst>
                  <a:gd name="connsiteX0" fmla="*/ 0 w 37362"/>
                  <a:gd name="connsiteY0" fmla="*/ 10505 h 20848"/>
                  <a:gd name="connsiteX1" fmla="*/ 27064 w 37362"/>
                  <a:gd name="connsiteY1" fmla="*/ 2373 h 20848"/>
                  <a:gd name="connsiteX2" fmla="*/ 37343 w 37362"/>
                  <a:gd name="connsiteY2" fmla="*/ 20849 h 208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7362" h="20848">
                    <a:moveTo>
                      <a:pt x="0" y="10505"/>
                    </a:moveTo>
                    <a:cubicBezTo>
                      <a:pt x="5205" y="811"/>
                      <a:pt x="17435" y="-2832"/>
                      <a:pt x="27064" y="2373"/>
                    </a:cubicBezTo>
                    <a:cubicBezTo>
                      <a:pt x="34025" y="6081"/>
                      <a:pt x="37668" y="13432"/>
                      <a:pt x="37343" y="20849"/>
                    </a:cubicBezTo>
                  </a:path>
                </a:pathLst>
              </a:custGeom>
              <a:grp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5" name="Agrupar 4">
            <a:extLst>
              <a:ext uri="{FF2B5EF4-FFF2-40B4-BE49-F238E27FC236}">
                <a16:creationId xmlns:a16="http://schemas.microsoft.com/office/drawing/2014/main" id="{406197B3-30EF-E9C5-8F65-0F0B123F1E33}"/>
              </a:ext>
            </a:extLst>
          </p:cNvPr>
          <p:cNvGrpSpPr/>
          <p:nvPr/>
        </p:nvGrpSpPr>
        <p:grpSpPr>
          <a:xfrm>
            <a:off x="6298225" y="2035763"/>
            <a:ext cx="994687" cy="616657"/>
            <a:chOff x="6298225" y="2035763"/>
            <a:chExt cx="994687" cy="616657"/>
          </a:xfrm>
          <a:solidFill>
            <a:srgbClr val="132153"/>
          </a:solidFill>
        </p:grpSpPr>
        <p:sp>
          <p:nvSpPr>
            <p:cNvPr id="28" name="Forma livre: Forma 27">
              <a:extLst>
                <a:ext uri="{FF2B5EF4-FFF2-40B4-BE49-F238E27FC236}">
                  <a16:creationId xmlns:a16="http://schemas.microsoft.com/office/drawing/2014/main" id="{9B405A72-6F5B-2079-D710-7E69B40E8869}"/>
                </a:ext>
              </a:extLst>
            </p:cNvPr>
            <p:cNvSpPr/>
            <p:nvPr/>
          </p:nvSpPr>
          <p:spPr>
            <a:xfrm flipH="1">
              <a:off x="6298225" y="2035763"/>
              <a:ext cx="994687" cy="616657"/>
            </a:xfrm>
            <a:custGeom>
              <a:avLst/>
              <a:gdLst>
                <a:gd name="connsiteX0" fmla="*/ 671828 w 846074"/>
                <a:gd name="connsiteY0" fmla="*/ 0 h 524524"/>
                <a:gd name="connsiteX1" fmla="*/ 0 w 846074"/>
                <a:gd name="connsiteY1" fmla="*/ 0 h 524524"/>
                <a:gd name="connsiteX2" fmla="*/ 524529 w 846074"/>
                <a:gd name="connsiteY2" fmla="*/ 524524 h 524524"/>
                <a:gd name="connsiteX3" fmla="*/ 524742 w 846074"/>
                <a:gd name="connsiteY3" fmla="*/ 524524 h 524524"/>
                <a:gd name="connsiteX4" fmla="*/ 846074 w 846074"/>
                <a:gd name="connsiteY4" fmla="*/ 524524 h 5245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46074" h="524524">
                  <a:moveTo>
                    <a:pt x="671828" y="0"/>
                  </a:moveTo>
                  <a:lnTo>
                    <a:pt x="0" y="0"/>
                  </a:lnTo>
                  <a:cubicBezTo>
                    <a:pt x="0" y="289824"/>
                    <a:pt x="234920" y="524524"/>
                    <a:pt x="524529" y="524524"/>
                  </a:cubicBezTo>
                  <a:lnTo>
                    <a:pt x="524742" y="524524"/>
                  </a:lnTo>
                  <a:lnTo>
                    <a:pt x="846074" y="524524"/>
                  </a:lnTo>
                  <a:close/>
                </a:path>
              </a:pathLst>
            </a:custGeom>
            <a:grpFill/>
            <a:ln w="4244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pt-PT" dirty="0"/>
            </a:p>
          </p:txBody>
        </p:sp>
        <p:grpSp>
          <p:nvGrpSpPr>
            <p:cNvPr id="100" name="Agrupar 99">
              <a:extLst>
                <a:ext uri="{FF2B5EF4-FFF2-40B4-BE49-F238E27FC236}">
                  <a16:creationId xmlns:a16="http://schemas.microsoft.com/office/drawing/2014/main" id="{A9916D2E-3E7A-94EC-8AE4-7D522368773C}"/>
                </a:ext>
              </a:extLst>
            </p:cNvPr>
            <p:cNvGrpSpPr/>
            <p:nvPr/>
          </p:nvGrpSpPr>
          <p:grpSpPr>
            <a:xfrm>
              <a:off x="6637655" y="2175816"/>
              <a:ext cx="308179" cy="336550"/>
              <a:chOff x="6000092" y="1357908"/>
              <a:chExt cx="365300" cy="398929"/>
            </a:xfrm>
            <a:grpFill/>
          </p:grpSpPr>
          <p:sp>
            <p:nvSpPr>
              <p:cNvPr id="101" name="Forma livre: Forma 100">
                <a:extLst>
                  <a:ext uri="{FF2B5EF4-FFF2-40B4-BE49-F238E27FC236}">
                    <a16:creationId xmlns:a16="http://schemas.microsoft.com/office/drawing/2014/main" id="{6FEBBAEB-4DAE-0AE4-339F-199D3F5593CA}"/>
                  </a:ext>
                </a:extLst>
              </p:cNvPr>
              <p:cNvSpPr/>
              <p:nvPr/>
            </p:nvSpPr>
            <p:spPr>
              <a:xfrm>
                <a:off x="6000092" y="1418606"/>
                <a:ext cx="84058" cy="286120"/>
              </a:xfrm>
              <a:custGeom>
                <a:avLst/>
                <a:gdLst>
                  <a:gd name="connsiteX0" fmla="*/ 51595 w 84058"/>
                  <a:gd name="connsiteY0" fmla="*/ 0 h 286120"/>
                  <a:gd name="connsiteX1" fmla="*/ 35266 w 84058"/>
                  <a:gd name="connsiteY1" fmla="*/ 61674 h 286120"/>
                  <a:gd name="connsiteX2" fmla="*/ 28760 w 84058"/>
                  <a:gd name="connsiteY2" fmla="*/ 193415 h 286120"/>
                  <a:gd name="connsiteX3" fmla="*/ 84059 w 84058"/>
                  <a:gd name="connsiteY3" fmla="*/ 286121 h 2861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4058" h="286120">
                    <a:moveTo>
                      <a:pt x="51595" y="0"/>
                    </a:moveTo>
                    <a:cubicBezTo>
                      <a:pt x="37868" y="7872"/>
                      <a:pt x="26028" y="24852"/>
                      <a:pt x="35266" y="61674"/>
                    </a:cubicBezTo>
                    <a:cubicBezTo>
                      <a:pt x="35266" y="61674"/>
                      <a:pt x="-39549" y="126731"/>
                      <a:pt x="28760" y="193415"/>
                    </a:cubicBezTo>
                    <a:cubicBezTo>
                      <a:pt x="28760" y="193415"/>
                      <a:pt x="9243" y="281242"/>
                      <a:pt x="84059" y="286121"/>
                    </a:cubicBezTo>
                  </a:path>
                </a:pathLst>
              </a:custGeom>
              <a:grp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102" name="Gráfico 32">
                <a:extLst>
                  <a:ext uri="{FF2B5EF4-FFF2-40B4-BE49-F238E27FC236}">
                    <a16:creationId xmlns:a16="http://schemas.microsoft.com/office/drawing/2014/main" id="{9B07DA56-F9B0-1424-739E-82621943B5B3}"/>
                  </a:ext>
                </a:extLst>
              </p:cNvPr>
              <p:cNvGrpSpPr/>
              <p:nvPr/>
            </p:nvGrpSpPr>
            <p:grpSpPr>
              <a:xfrm>
                <a:off x="6061121" y="1359924"/>
                <a:ext cx="128487" cy="396366"/>
                <a:chOff x="6061121" y="1359924"/>
                <a:chExt cx="128487" cy="396366"/>
              </a:xfrm>
              <a:grpFill/>
            </p:grpSpPr>
            <p:sp>
              <p:nvSpPr>
                <p:cNvPr id="117" name="Forma livre: Forma 116">
                  <a:extLst>
                    <a:ext uri="{FF2B5EF4-FFF2-40B4-BE49-F238E27FC236}">
                      <a16:creationId xmlns:a16="http://schemas.microsoft.com/office/drawing/2014/main" id="{01B5B769-B607-B86F-5743-3A92797B666C}"/>
                    </a:ext>
                  </a:extLst>
                </p:cNvPr>
                <p:cNvSpPr/>
                <p:nvPr/>
              </p:nvSpPr>
              <p:spPr>
                <a:xfrm>
                  <a:off x="6083891" y="1359924"/>
                  <a:ext cx="105717" cy="396366"/>
                </a:xfrm>
                <a:custGeom>
                  <a:avLst/>
                  <a:gdLst>
                    <a:gd name="connsiteX0" fmla="*/ 52891 w 105717"/>
                    <a:gd name="connsiteY0" fmla="*/ 105718 h 396366"/>
                    <a:gd name="connsiteX1" fmla="*/ 0 w 105717"/>
                    <a:gd name="connsiteY1" fmla="*/ 52891 h 396366"/>
                    <a:gd name="connsiteX2" fmla="*/ 52891 w 105717"/>
                    <a:gd name="connsiteY2" fmla="*/ 0 h 396366"/>
                    <a:gd name="connsiteX3" fmla="*/ 105718 w 105717"/>
                    <a:gd name="connsiteY3" fmla="*/ 52826 h 396366"/>
                    <a:gd name="connsiteX4" fmla="*/ 105718 w 105717"/>
                    <a:gd name="connsiteY4" fmla="*/ 346884 h 396366"/>
                    <a:gd name="connsiteX5" fmla="*/ 80606 w 105717"/>
                    <a:gd name="connsiteY5" fmla="*/ 388911 h 396366"/>
                    <a:gd name="connsiteX6" fmla="*/ 9238 w 105717"/>
                    <a:gd name="connsiteY6" fmla="*/ 371150 h 396366"/>
                    <a:gd name="connsiteX7" fmla="*/ 15484 w 105717"/>
                    <a:gd name="connsiteY7" fmla="*/ 309216 h 396366"/>
                    <a:gd name="connsiteX8" fmla="*/ 45019 w 105717"/>
                    <a:gd name="connsiteY8" fmla="*/ 277078 h 39636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105717" h="396366">
                      <a:moveTo>
                        <a:pt x="52891" y="105718"/>
                      </a:moveTo>
                      <a:cubicBezTo>
                        <a:pt x="23681" y="105718"/>
                        <a:pt x="0" y="82037"/>
                        <a:pt x="0" y="52891"/>
                      </a:cubicBezTo>
                      <a:cubicBezTo>
                        <a:pt x="0" y="23746"/>
                        <a:pt x="23681" y="0"/>
                        <a:pt x="52891" y="0"/>
                      </a:cubicBezTo>
                      <a:cubicBezTo>
                        <a:pt x="82102" y="0"/>
                        <a:pt x="105718" y="23681"/>
                        <a:pt x="105718" y="52826"/>
                      </a:cubicBezTo>
                      <a:lnTo>
                        <a:pt x="105718" y="346884"/>
                      </a:lnTo>
                      <a:cubicBezTo>
                        <a:pt x="105718" y="364580"/>
                        <a:pt x="96414" y="379413"/>
                        <a:pt x="80606" y="388911"/>
                      </a:cubicBezTo>
                      <a:cubicBezTo>
                        <a:pt x="55949" y="403744"/>
                        <a:pt x="24006" y="395742"/>
                        <a:pt x="9238" y="371150"/>
                      </a:cubicBezTo>
                      <a:cubicBezTo>
                        <a:pt x="-2928" y="350918"/>
                        <a:pt x="260" y="325741"/>
                        <a:pt x="15484" y="309216"/>
                      </a:cubicBezTo>
                      <a:lnTo>
                        <a:pt x="45019" y="277078"/>
                      </a:lnTo>
                    </a:path>
                  </a:pathLst>
                </a:custGeom>
                <a:grpFill/>
                <a:ln w="19050" cap="sq">
                  <a:solidFill>
                    <a:srgbClr val="00FF94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18" name="Forma livre: Forma 117">
                  <a:extLst>
                    <a:ext uri="{FF2B5EF4-FFF2-40B4-BE49-F238E27FC236}">
                      <a16:creationId xmlns:a16="http://schemas.microsoft.com/office/drawing/2014/main" id="{BBC65CF1-F2FD-AACE-D3A9-F121A79713F3}"/>
                    </a:ext>
                  </a:extLst>
                </p:cNvPr>
                <p:cNvSpPr/>
                <p:nvPr/>
              </p:nvSpPr>
              <p:spPr>
                <a:xfrm>
                  <a:off x="6144784" y="1383865"/>
                  <a:ext cx="41563" cy="38963"/>
                </a:xfrm>
                <a:custGeom>
                  <a:avLst/>
                  <a:gdLst>
                    <a:gd name="connsiteX0" fmla="*/ 36172 w 41563"/>
                    <a:gd name="connsiteY0" fmla="*/ 0 h 38963"/>
                    <a:gd name="connsiteX1" fmla="*/ 39425 w 41563"/>
                    <a:gd name="connsiteY1" fmla="*/ 24266 h 38963"/>
                    <a:gd name="connsiteX2" fmla="*/ 36432 w 41563"/>
                    <a:gd name="connsiteY2" fmla="*/ 29080 h 38963"/>
                    <a:gd name="connsiteX3" fmla="*/ 0 w 41563"/>
                    <a:gd name="connsiteY3" fmla="*/ 33439 h 3896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1563" h="38963">
                      <a:moveTo>
                        <a:pt x="36172" y="0"/>
                      </a:moveTo>
                      <a:cubicBezTo>
                        <a:pt x="41571" y="7547"/>
                        <a:pt x="43393" y="16004"/>
                        <a:pt x="39425" y="24266"/>
                      </a:cubicBezTo>
                      <a:cubicBezTo>
                        <a:pt x="38644" y="25893"/>
                        <a:pt x="37603" y="27519"/>
                        <a:pt x="36432" y="29080"/>
                      </a:cubicBezTo>
                      <a:cubicBezTo>
                        <a:pt x="27584" y="40270"/>
                        <a:pt x="11190" y="42287"/>
                        <a:pt x="0" y="33439"/>
                      </a:cubicBezTo>
                    </a:path>
                  </a:pathLst>
                </a:custGeom>
                <a:grpFill/>
                <a:ln w="19050" cap="sq">
                  <a:solidFill>
                    <a:srgbClr val="00FF94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19" name="Forma livre: Forma 118">
                  <a:extLst>
                    <a:ext uri="{FF2B5EF4-FFF2-40B4-BE49-F238E27FC236}">
                      <a16:creationId xmlns:a16="http://schemas.microsoft.com/office/drawing/2014/main" id="{756406E8-F189-BA1B-A7B4-12A7EC92F144}"/>
                    </a:ext>
                  </a:extLst>
                </p:cNvPr>
                <p:cNvSpPr/>
                <p:nvPr/>
              </p:nvSpPr>
              <p:spPr>
                <a:xfrm>
                  <a:off x="6081487" y="1460806"/>
                  <a:ext cx="34217" cy="54474"/>
                </a:xfrm>
                <a:custGeom>
                  <a:avLst/>
                  <a:gdLst>
                    <a:gd name="connsiteX0" fmla="*/ 21076 w 34217"/>
                    <a:gd name="connsiteY0" fmla="*/ 54475 h 54474"/>
                    <a:gd name="connsiteX1" fmla="*/ 778 w 34217"/>
                    <a:gd name="connsiteY1" fmla="*/ 21035 h 54474"/>
                    <a:gd name="connsiteX2" fmla="*/ 34217 w 34217"/>
                    <a:gd name="connsiteY2" fmla="*/ 803 h 544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34217" h="54474">
                      <a:moveTo>
                        <a:pt x="21076" y="54475"/>
                      </a:moveTo>
                      <a:cubicBezTo>
                        <a:pt x="6308" y="50832"/>
                        <a:pt x="-2800" y="35803"/>
                        <a:pt x="778" y="21035"/>
                      </a:cubicBezTo>
                      <a:cubicBezTo>
                        <a:pt x="4421" y="6267"/>
                        <a:pt x="19449" y="-2841"/>
                        <a:pt x="34217" y="803"/>
                      </a:cubicBezTo>
                    </a:path>
                  </a:pathLst>
                </a:custGeom>
                <a:grpFill/>
                <a:ln w="19050" cap="sq">
                  <a:solidFill>
                    <a:srgbClr val="00FF94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20" name="Forma livre: Forma 119">
                  <a:extLst>
                    <a:ext uri="{FF2B5EF4-FFF2-40B4-BE49-F238E27FC236}">
                      <a16:creationId xmlns:a16="http://schemas.microsoft.com/office/drawing/2014/main" id="{83F16A05-6B4A-EFAE-2D77-EF6BB62F543B}"/>
                    </a:ext>
                  </a:extLst>
                </p:cNvPr>
                <p:cNvSpPr/>
                <p:nvPr/>
              </p:nvSpPr>
              <p:spPr>
                <a:xfrm>
                  <a:off x="6073547" y="1527543"/>
                  <a:ext cx="114760" cy="72506"/>
                </a:xfrm>
                <a:custGeom>
                  <a:avLst/>
                  <a:gdLst>
                    <a:gd name="connsiteX0" fmla="*/ 114760 w 114760"/>
                    <a:gd name="connsiteY0" fmla="*/ 7254 h 72506"/>
                    <a:gd name="connsiteX1" fmla="*/ 73905 w 114760"/>
                    <a:gd name="connsiteY1" fmla="*/ 8881 h 72506"/>
                    <a:gd name="connsiteX2" fmla="*/ 0 w 114760"/>
                    <a:gd name="connsiteY2" fmla="*/ 72506 h 7250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14760" h="72506">
                      <a:moveTo>
                        <a:pt x="114760" y="7254"/>
                      </a:moveTo>
                      <a:cubicBezTo>
                        <a:pt x="103375" y="-2830"/>
                        <a:pt x="83989" y="-2504"/>
                        <a:pt x="73905" y="8881"/>
                      </a:cubicBezTo>
                      <a:cubicBezTo>
                        <a:pt x="73905" y="8881"/>
                        <a:pt x="31488" y="72506"/>
                        <a:pt x="0" y="72506"/>
                      </a:cubicBezTo>
                    </a:path>
                  </a:pathLst>
                </a:custGeom>
                <a:grpFill/>
                <a:ln w="19050" cap="sq">
                  <a:solidFill>
                    <a:srgbClr val="00FF94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21" name="Forma livre: Forma 120">
                  <a:extLst>
                    <a:ext uri="{FF2B5EF4-FFF2-40B4-BE49-F238E27FC236}">
                      <a16:creationId xmlns:a16="http://schemas.microsoft.com/office/drawing/2014/main" id="{EA9BE601-9199-9AB4-2B77-8A3CECCC263A}"/>
                    </a:ext>
                  </a:extLst>
                </p:cNvPr>
                <p:cNvSpPr/>
                <p:nvPr/>
              </p:nvSpPr>
              <p:spPr>
                <a:xfrm>
                  <a:off x="6079857" y="1646956"/>
                  <a:ext cx="29405" cy="9823"/>
                </a:xfrm>
                <a:custGeom>
                  <a:avLst/>
                  <a:gdLst>
                    <a:gd name="connsiteX0" fmla="*/ 0 w 29405"/>
                    <a:gd name="connsiteY0" fmla="*/ 0 h 9823"/>
                    <a:gd name="connsiteX1" fmla="*/ 29406 w 29405"/>
                    <a:gd name="connsiteY1" fmla="*/ 9824 h 982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9405" h="9823">
                      <a:moveTo>
                        <a:pt x="0" y="0"/>
                      </a:moveTo>
                      <a:lnTo>
                        <a:pt x="29406" y="9824"/>
                      </a:lnTo>
                    </a:path>
                  </a:pathLst>
                </a:custGeom>
                <a:grpFill/>
                <a:ln w="19050" cap="sq">
                  <a:solidFill>
                    <a:srgbClr val="00FF94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22" name="Forma livre: Forma 121">
                  <a:extLst>
                    <a:ext uri="{FF2B5EF4-FFF2-40B4-BE49-F238E27FC236}">
                      <a16:creationId xmlns:a16="http://schemas.microsoft.com/office/drawing/2014/main" id="{C9C86A14-376C-3A09-58C6-E88D526B1805}"/>
                    </a:ext>
                  </a:extLst>
                </p:cNvPr>
                <p:cNvSpPr/>
                <p:nvPr/>
              </p:nvSpPr>
              <p:spPr>
                <a:xfrm>
                  <a:off x="6061121" y="1545272"/>
                  <a:ext cx="47166" cy="34154"/>
                </a:xfrm>
                <a:custGeom>
                  <a:avLst/>
                  <a:gdLst>
                    <a:gd name="connsiteX0" fmla="*/ 0 w 47166"/>
                    <a:gd name="connsiteY0" fmla="*/ 0 h 34154"/>
                    <a:gd name="connsiteX1" fmla="*/ 47166 w 47166"/>
                    <a:gd name="connsiteY1" fmla="*/ 34155 h 3415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7166" h="34154">
                      <a:moveTo>
                        <a:pt x="0" y="0"/>
                      </a:moveTo>
                      <a:cubicBezTo>
                        <a:pt x="0" y="0"/>
                        <a:pt x="27649" y="13011"/>
                        <a:pt x="47166" y="34155"/>
                      </a:cubicBezTo>
                    </a:path>
                  </a:pathLst>
                </a:custGeom>
                <a:grpFill/>
                <a:ln w="19050" cap="sq">
                  <a:solidFill>
                    <a:srgbClr val="00FF94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103" name="Gráfico 32">
                <a:extLst>
                  <a:ext uri="{FF2B5EF4-FFF2-40B4-BE49-F238E27FC236}">
                    <a16:creationId xmlns:a16="http://schemas.microsoft.com/office/drawing/2014/main" id="{40DA24BD-1F58-F250-95AD-672D4C1DEAE9}"/>
                  </a:ext>
                </a:extLst>
              </p:cNvPr>
              <p:cNvGrpSpPr/>
              <p:nvPr/>
            </p:nvGrpSpPr>
            <p:grpSpPr>
              <a:xfrm>
                <a:off x="6191625" y="1599725"/>
                <a:ext cx="173767" cy="157112"/>
                <a:chOff x="6191625" y="1599725"/>
                <a:chExt cx="173767" cy="157112"/>
              </a:xfrm>
              <a:grpFill/>
            </p:grpSpPr>
            <p:sp>
              <p:nvSpPr>
                <p:cNvPr id="113" name="Forma livre: Forma 112">
                  <a:extLst>
                    <a:ext uri="{FF2B5EF4-FFF2-40B4-BE49-F238E27FC236}">
                      <a16:creationId xmlns:a16="http://schemas.microsoft.com/office/drawing/2014/main" id="{C72159C6-9545-3E8C-6F7B-BFD13A7C88F0}"/>
                    </a:ext>
                  </a:extLst>
                </p:cNvPr>
                <p:cNvSpPr/>
                <p:nvPr/>
              </p:nvSpPr>
              <p:spPr>
                <a:xfrm>
                  <a:off x="6310094" y="1621974"/>
                  <a:ext cx="55298" cy="55298"/>
                </a:xfrm>
                <a:custGeom>
                  <a:avLst/>
                  <a:gdLst>
                    <a:gd name="connsiteX0" fmla="*/ 55298 w 55298"/>
                    <a:gd name="connsiteY0" fmla="*/ 27649 h 55298"/>
                    <a:gd name="connsiteX1" fmla="*/ 27649 w 55298"/>
                    <a:gd name="connsiteY1" fmla="*/ 55298 h 55298"/>
                    <a:gd name="connsiteX2" fmla="*/ 0 w 55298"/>
                    <a:gd name="connsiteY2" fmla="*/ 27649 h 55298"/>
                    <a:gd name="connsiteX3" fmla="*/ 27649 w 55298"/>
                    <a:gd name="connsiteY3" fmla="*/ 0 h 55298"/>
                    <a:gd name="connsiteX4" fmla="*/ 55298 w 55298"/>
                    <a:gd name="connsiteY4" fmla="*/ 27649 h 552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5298" h="55298">
                      <a:moveTo>
                        <a:pt x="55298" y="27649"/>
                      </a:moveTo>
                      <a:cubicBezTo>
                        <a:pt x="55298" y="42938"/>
                        <a:pt x="42938" y="55298"/>
                        <a:pt x="27649" y="55298"/>
                      </a:cubicBezTo>
                      <a:cubicBezTo>
                        <a:pt x="12361" y="55298"/>
                        <a:pt x="0" y="42938"/>
                        <a:pt x="0" y="27649"/>
                      </a:cubicBezTo>
                      <a:cubicBezTo>
                        <a:pt x="0" y="12361"/>
                        <a:pt x="12361" y="0"/>
                        <a:pt x="27649" y="0"/>
                      </a:cubicBezTo>
                      <a:cubicBezTo>
                        <a:pt x="42938" y="0"/>
                        <a:pt x="55298" y="12361"/>
                        <a:pt x="55298" y="27649"/>
                      </a:cubicBezTo>
                      <a:close/>
                    </a:path>
                  </a:pathLst>
                </a:custGeom>
                <a:grpFill/>
                <a:ln w="19050" cap="sq">
                  <a:solidFill>
                    <a:srgbClr val="00FF94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14" name="Forma livre: Forma 113">
                  <a:extLst>
                    <a:ext uri="{FF2B5EF4-FFF2-40B4-BE49-F238E27FC236}">
                      <a16:creationId xmlns:a16="http://schemas.microsoft.com/office/drawing/2014/main" id="{6BAE0F50-8F46-E86D-3FDE-9A47CC755838}"/>
                    </a:ext>
                  </a:extLst>
                </p:cNvPr>
                <p:cNvSpPr/>
                <p:nvPr/>
              </p:nvSpPr>
              <p:spPr>
                <a:xfrm>
                  <a:off x="6191625" y="1599725"/>
                  <a:ext cx="118078" cy="49898"/>
                </a:xfrm>
                <a:custGeom>
                  <a:avLst/>
                  <a:gdLst>
                    <a:gd name="connsiteX0" fmla="*/ 0 w 118078"/>
                    <a:gd name="connsiteY0" fmla="*/ 0 h 49898"/>
                    <a:gd name="connsiteX1" fmla="*/ 37343 w 118078"/>
                    <a:gd name="connsiteY1" fmla="*/ 0 h 49898"/>
                    <a:gd name="connsiteX2" fmla="*/ 87176 w 118078"/>
                    <a:gd name="connsiteY2" fmla="*/ 49899 h 49898"/>
                    <a:gd name="connsiteX3" fmla="*/ 118078 w 118078"/>
                    <a:gd name="connsiteY3" fmla="*/ 49899 h 498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18078" h="49898">
                      <a:moveTo>
                        <a:pt x="0" y="0"/>
                      </a:moveTo>
                      <a:lnTo>
                        <a:pt x="37343" y="0"/>
                      </a:lnTo>
                      <a:lnTo>
                        <a:pt x="87176" y="49899"/>
                      </a:lnTo>
                      <a:lnTo>
                        <a:pt x="118078" y="49899"/>
                      </a:lnTo>
                    </a:path>
                  </a:pathLst>
                </a:custGeom>
                <a:grpFill/>
                <a:ln w="19050" cap="sq">
                  <a:solidFill>
                    <a:srgbClr val="00FF94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15" name="Forma livre: Forma 114">
                  <a:extLst>
                    <a:ext uri="{FF2B5EF4-FFF2-40B4-BE49-F238E27FC236}">
                      <a16:creationId xmlns:a16="http://schemas.microsoft.com/office/drawing/2014/main" id="{37B76C84-F42E-E9D3-E15C-7D5D2548D854}"/>
                    </a:ext>
                  </a:extLst>
                </p:cNvPr>
                <p:cNvSpPr/>
                <p:nvPr/>
              </p:nvSpPr>
              <p:spPr>
                <a:xfrm>
                  <a:off x="6191625" y="1665367"/>
                  <a:ext cx="81906" cy="44108"/>
                </a:xfrm>
                <a:custGeom>
                  <a:avLst/>
                  <a:gdLst>
                    <a:gd name="connsiteX0" fmla="*/ 0 w 81906"/>
                    <a:gd name="connsiteY0" fmla="*/ 0 h 44108"/>
                    <a:gd name="connsiteX1" fmla="*/ 37343 w 81906"/>
                    <a:gd name="connsiteY1" fmla="*/ 0 h 44108"/>
                    <a:gd name="connsiteX2" fmla="*/ 81907 w 81906"/>
                    <a:gd name="connsiteY2" fmla="*/ 44109 h 4410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81906" h="44108">
                      <a:moveTo>
                        <a:pt x="0" y="0"/>
                      </a:moveTo>
                      <a:lnTo>
                        <a:pt x="37343" y="0"/>
                      </a:lnTo>
                      <a:lnTo>
                        <a:pt x="81907" y="44109"/>
                      </a:lnTo>
                    </a:path>
                  </a:pathLst>
                </a:custGeom>
                <a:grpFill/>
                <a:ln w="19050" cap="sq">
                  <a:solidFill>
                    <a:srgbClr val="00FF94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16" name="Forma livre: Forma 115">
                  <a:extLst>
                    <a:ext uri="{FF2B5EF4-FFF2-40B4-BE49-F238E27FC236}">
                      <a16:creationId xmlns:a16="http://schemas.microsoft.com/office/drawing/2014/main" id="{47F9FACB-98A8-EF16-A621-73E2D7620D54}"/>
                    </a:ext>
                  </a:extLst>
                </p:cNvPr>
                <p:cNvSpPr/>
                <p:nvPr/>
              </p:nvSpPr>
              <p:spPr>
                <a:xfrm>
                  <a:off x="6265075" y="1701539"/>
                  <a:ext cx="55298" cy="55298"/>
                </a:xfrm>
                <a:custGeom>
                  <a:avLst/>
                  <a:gdLst>
                    <a:gd name="connsiteX0" fmla="*/ 55298 w 55298"/>
                    <a:gd name="connsiteY0" fmla="*/ 27649 h 55298"/>
                    <a:gd name="connsiteX1" fmla="*/ 27649 w 55298"/>
                    <a:gd name="connsiteY1" fmla="*/ 55298 h 55298"/>
                    <a:gd name="connsiteX2" fmla="*/ 0 w 55298"/>
                    <a:gd name="connsiteY2" fmla="*/ 27649 h 55298"/>
                    <a:gd name="connsiteX3" fmla="*/ 27649 w 55298"/>
                    <a:gd name="connsiteY3" fmla="*/ 0 h 55298"/>
                    <a:gd name="connsiteX4" fmla="*/ 55298 w 55298"/>
                    <a:gd name="connsiteY4" fmla="*/ 27649 h 552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5298" h="55298">
                      <a:moveTo>
                        <a:pt x="55298" y="27649"/>
                      </a:moveTo>
                      <a:cubicBezTo>
                        <a:pt x="55298" y="42938"/>
                        <a:pt x="42938" y="55298"/>
                        <a:pt x="27649" y="55298"/>
                      </a:cubicBezTo>
                      <a:cubicBezTo>
                        <a:pt x="12361" y="55298"/>
                        <a:pt x="0" y="42938"/>
                        <a:pt x="0" y="27649"/>
                      </a:cubicBezTo>
                      <a:cubicBezTo>
                        <a:pt x="0" y="12361"/>
                        <a:pt x="12361" y="0"/>
                        <a:pt x="27649" y="0"/>
                      </a:cubicBezTo>
                      <a:cubicBezTo>
                        <a:pt x="42938" y="0"/>
                        <a:pt x="55298" y="12361"/>
                        <a:pt x="55298" y="27649"/>
                      </a:cubicBezTo>
                      <a:close/>
                    </a:path>
                  </a:pathLst>
                </a:custGeom>
                <a:grpFill/>
                <a:ln w="19050" cap="sq">
                  <a:solidFill>
                    <a:srgbClr val="00FF94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104" name="Gráfico 32">
                <a:extLst>
                  <a:ext uri="{FF2B5EF4-FFF2-40B4-BE49-F238E27FC236}">
                    <a16:creationId xmlns:a16="http://schemas.microsoft.com/office/drawing/2014/main" id="{44D3FBFE-1E28-0828-D776-AC55A38F8A48}"/>
                  </a:ext>
                </a:extLst>
              </p:cNvPr>
              <p:cNvGrpSpPr/>
              <p:nvPr/>
            </p:nvGrpSpPr>
            <p:grpSpPr>
              <a:xfrm>
                <a:off x="6191625" y="1357908"/>
                <a:ext cx="173767" cy="157112"/>
                <a:chOff x="6191625" y="1357908"/>
                <a:chExt cx="173767" cy="157112"/>
              </a:xfrm>
              <a:grpFill/>
            </p:grpSpPr>
            <p:sp>
              <p:nvSpPr>
                <p:cNvPr id="109" name="Forma livre: Forma 108">
                  <a:extLst>
                    <a:ext uri="{FF2B5EF4-FFF2-40B4-BE49-F238E27FC236}">
                      <a16:creationId xmlns:a16="http://schemas.microsoft.com/office/drawing/2014/main" id="{673720A7-A99C-9C98-ADB5-54173E5CA65E}"/>
                    </a:ext>
                  </a:extLst>
                </p:cNvPr>
                <p:cNvSpPr/>
                <p:nvPr/>
              </p:nvSpPr>
              <p:spPr>
                <a:xfrm>
                  <a:off x="6310094" y="1437472"/>
                  <a:ext cx="55298" cy="55298"/>
                </a:xfrm>
                <a:custGeom>
                  <a:avLst/>
                  <a:gdLst>
                    <a:gd name="connsiteX0" fmla="*/ 55298 w 55298"/>
                    <a:gd name="connsiteY0" fmla="*/ 27649 h 55298"/>
                    <a:gd name="connsiteX1" fmla="*/ 27649 w 55298"/>
                    <a:gd name="connsiteY1" fmla="*/ 0 h 55298"/>
                    <a:gd name="connsiteX2" fmla="*/ 0 w 55298"/>
                    <a:gd name="connsiteY2" fmla="*/ 27649 h 55298"/>
                    <a:gd name="connsiteX3" fmla="*/ 27649 w 55298"/>
                    <a:gd name="connsiteY3" fmla="*/ 55298 h 55298"/>
                    <a:gd name="connsiteX4" fmla="*/ 55298 w 55298"/>
                    <a:gd name="connsiteY4" fmla="*/ 27649 h 552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5298" h="55298">
                      <a:moveTo>
                        <a:pt x="55298" y="27649"/>
                      </a:moveTo>
                      <a:cubicBezTo>
                        <a:pt x="55298" y="12361"/>
                        <a:pt x="42938" y="0"/>
                        <a:pt x="27649" y="0"/>
                      </a:cubicBezTo>
                      <a:cubicBezTo>
                        <a:pt x="12361" y="0"/>
                        <a:pt x="0" y="12361"/>
                        <a:pt x="0" y="27649"/>
                      </a:cubicBezTo>
                      <a:cubicBezTo>
                        <a:pt x="0" y="42938"/>
                        <a:pt x="12361" y="55298"/>
                        <a:pt x="27649" y="55298"/>
                      </a:cubicBezTo>
                      <a:cubicBezTo>
                        <a:pt x="42938" y="55298"/>
                        <a:pt x="55298" y="42938"/>
                        <a:pt x="55298" y="27649"/>
                      </a:cubicBezTo>
                      <a:close/>
                    </a:path>
                  </a:pathLst>
                </a:custGeom>
                <a:grpFill/>
                <a:ln w="19050" cap="sq">
                  <a:solidFill>
                    <a:srgbClr val="00FF94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10" name="Forma livre: Forma 109">
                  <a:extLst>
                    <a:ext uri="{FF2B5EF4-FFF2-40B4-BE49-F238E27FC236}">
                      <a16:creationId xmlns:a16="http://schemas.microsoft.com/office/drawing/2014/main" id="{35DB2329-9BA6-6F70-8BF1-D17E10D12AD6}"/>
                    </a:ext>
                  </a:extLst>
                </p:cNvPr>
                <p:cNvSpPr/>
                <p:nvPr/>
              </p:nvSpPr>
              <p:spPr>
                <a:xfrm>
                  <a:off x="6191625" y="1465122"/>
                  <a:ext cx="118468" cy="49898"/>
                </a:xfrm>
                <a:custGeom>
                  <a:avLst/>
                  <a:gdLst>
                    <a:gd name="connsiteX0" fmla="*/ 0 w 118468"/>
                    <a:gd name="connsiteY0" fmla="*/ 49899 h 49898"/>
                    <a:gd name="connsiteX1" fmla="*/ 37343 w 118468"/>
                    <a:gd name="connsiteY1" fmla="*/ 49899 h 49898"/>
                    <a:gd name="connsiteX2" fmla="*/ 87176 w 118468"/>
                    <a:gd name="connsiteY2" fmla="*/ 0 h 49898"/>
                    <a:gd name="connsiteX3" fmla="*/ 118469 w 118468"/>
                    <a:gd name="connsiteY3" fmla="*/ 0 h 498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18468" h="49898">
                      <a:moveTo>
                        <a:pt x="0" y="49899"/>
                      </a:moveTo>
                      <a:lnTo>
                        <a:pt x="37343" y="49899"/>
                      </a:lnTo>
                      <a:lnTo>
                        <a:pt x="87176" y="0"/>
                      </a:lnTo>
                      <a:lnTo>
                        <a:pt x="118469" y="0"/>
                      </a:lnTo>
                    </a:path>
                  </a:pathLst>
                </a:custGeom>
                <a:grpFill/>
                <a:ln w="19050" cap="sq">
                  <a:solidFill>
                    <a:srgbClr val="00FF94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11" name="Forma livre: Forma 110">
                  <a:extLst>
                    <a:ext uri="{FF2B5EF4-FFF2-40B4-BE49-F238E27FC236}">
                      <a16:creationId xmlns:a16="http://schemas.microsoft.com/office/drawing/2014/main" id="{D3A1105B-1124-C648-8FDD-28F705389254}"/>
                    </a:ext>
                  </a:extLst>
                </p:cNvPr>
                <p:cNvSpPr/>
                <p:nvPr/>
              </p:nvSpPr>
              <p:spPr>
                <a:xfrm>
                  <a:off x="6191625" y="1405269"/>
                  <a:ext cx="81451" cy="44043"/>
                </a:xfrm>
                <a:custGeom>
                  <a:avLst/>
                  <a:gdLst>
                    <a:gd name="connsiteX0" fmla="*/ 0 w 81451"/>
                    <a:gd name="connsiteY0" fmla="*/ 44044 h 44043"/>
                    <a:gd name="connsiteX1" fmla="*/ 37343 w 81451"/>
                    <a:gd name="connsiteY1" fmla="*/ 44044 h 44043"/>
                    <a:gd name="connsiteX2" fmla="*/ 81451 w 81451"/>
                    <a:gd name="connsiteY2" fmla="*/ 0 h 4404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81451" h="44043">
                      <a:moveTo>
                        <a:pt x="0" y="44044"/>
                      </a:moveTo>
                      <a:lnTo>
                        <a:pt x="37343" y="44044"/>
                      </a:lnTo>
                      <a:lnTo>
                        <a:pt x="81451" y="0"/>
                      </a:lnTo>
                    </a:path>
                  </a:pathLst>
                </a:custGeom>
                <a:grpFill/>
                <a:ln w="19050" cap="sq">
                  <a:solidFill>
                    <a:srgbClr val="00FF94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12" name="Forma livre: Forma 111">
                  <a:extLst>
                    <a:ext uri="{FF2B5EF4-FFF2-40B4-BE49-F238E27FC236}">
                      <a16:creationId xmlns:a16="http://schemas.microsoft.com/office/drawing/2014/main" id="{8E3C26D2-DF0B-B627-B627-50218A57AB64}"/>
                    </a:ext>
                  </a:extLst>
                </p:cNvPr>
                <p:cNvSpPr/>
                <p:nvPr/>
              </p:nvSpPr>
              <p:spPr>
                <a:xfrm>
                  <a:off x="6265075" y="1357908"/>
                  <a:ext cx="55298" cy="55298"/>
                </a:xfrm>
                <a:custGeom>
                  <a:avLst/>
                  <a:gdLst>
                    <a:gd name="connsiteX0" fmla="*/ 55298 w 55298"/>
                    <a:gd name="connsiteY0" fmla="*/ 27649 h 55298"/>
                    <a:gd name="connsiteX1" fmla="*/ 27649 w 55298"/>
                    <a:gd name="connsiteY1" fmla="*/ 0 h 55298"/>
                    <a:gd name="connsiteX2" fmla="*/ 0 w 55298"/>
                    <a:gd name="connsiteY2" fmla="*/ 27649 h 55298"/>
                    <a:gd name="connsiteX3" fmla="*/ 27649 w 55298"/>
                    <a:gd name="connsiteY3" fmla="*/ 55298 h 55298"/>
                    <a:gd name="connsiteX4" fmla="*/ 55298 w 55298"/>
                    <a:gd name="connsiteY4" fmla="*/ 27649 h 552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5298" h="55298">
                      <a:moveTo>
                        <a:pt x="55298" y="27649"/>
                      </a:moveTo>
                      <a:cubicBezTo>
                        <a:pt x="55298" y="12361"/>
                        <a:pt x="42938" y="0"/>
                        <a:pt x="27649" y="0"/>
                      </a:cubicBezTo>
                      <a:cubicBezTo>
                        <a:pt x="12361" y="0"/>
                        <a:pt x="0" y="12361"/>
                        <a:pt x="0" y="27649"/>
                      </a:cubicBezTo>
                      <a:cubicBezTo>
                        <a:pt x="0" y="42938"/>
                        <a:pt x="12361" y="55298"/>
                        <a:pt x="27649" y="55298"/>
                      </a:cubicBezTo>
                      <a:cubicBezTo>
                        <a:pt x="42938" y="55298"/>
                        <a:pt x="55298" y="42938"/>
                        <a:pt x="55298" y="27649"/>
                      </a:cubicBezTo>
                      <a:close/>
                    </a:path>
                  </a:pathLst>
                </a:custGeom>
                <a:grpFill/>
                <a:ln w="19050" cap="sq">
                  <a:solidFill>
                    <a:srgbClr val="00FF94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105" name="Gráfico 32">
                <a:extLst>
                  <a:ext uri="{FF2B5EF4-FFF2-40B4-BE49-F238E27FC236}">
                    <a16:creationId xmlns:a16="http://schemas.microsoft.com/office/drawing/2014/main" id="{FC3394F9-DDD1-B621-F655-B7814757BE51}"/>
                  </a:ext>
                </a:extLst>
              </p:cNvPr>
              <p:cNvGrpSpPr/>
              <p:nvPr/>
            </p:nvGrpSpPr>
            <p:grpSpPr>
              <a:xfrm>
                <a:off x="6190910" y="1529723"/>
                <a:ext cx="123673" cy="55298"/>
                <a:chOff x="6190910" y="1529723"/>
                <a:chExt cx="123673" cy="55298"/>
              </a:xfrm>
              <a:grpFill/>
            </p:grpSpPr>
            <p:sp>
              <p:nvSpPr>
                <p:cNvPr id="107" name="Forma livre: Forma 106">
                  <a:extLst>
                    <a:ext uri="{FF2B5EF4-FFF2-40B4-BE49-F238E27FC236}">
                      <a16:creationId xmlns:a16="http://schemas.microsoft.com/office/drawing/2014/main" id="{D22EEEF2-C27F-32D0-3976-BA5D745731AE}"/>
                    </a:ext>
                  </a:extLst>
                </p:cNvPr>
                <p:cNvSpPr/>
                <p:nvPr/>
              </p:nvSpPr>
              <p:spPr>
                <a:xfrm>
                  <a:off x="6190910" y="1557372"/>
                  <a:ext cx="68765" cy="6505"/>
                </a:xfrm>
                <a:custGeom>
                  <a:avLst/>
                  <a:gdLst>
                    <a:gd name="connsiteX0" fmla="*/ 0 w 68765"/>
                    <a:gd name="connsiteY0" fmla="*/ 0 h 6505"/>
                    <a:gd name="connsiteX1" fmla="*/ 68765 w 68765"/>
                    <a:gd name="connsiteY1" fmla="*/ 0 h 650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68765" h="6505">
                      <a:moveTo>
                        <a:pt x="0" y="0"/>
                      </a:moveTo>
                      <a:lnTo>
                        <a:pt x="68765" y="0"/>
                      </a:lnTo>
                    </a:path>
                  </a:pathLst>
                </a:custGeom>
                <a:grpFill/>
                <a:ln w="19050" cap="sq">
                  <a:solidFill>
                    <a:srgbClr val="00FF94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08" name="Forma livre: Forma 107">
                  <a:extLst>
                    <a:ext uri="{FF2B5EF4-FFF2-40B4-BE49-F238E27FC236}">
                      <a16:creationId xmlns:a16="http://schemas.microsoft.com/office/drawing/2014/main" id="{50E384CE-BCC4-04F0-28BF-1B8D8046F159}"/>
                    </a:ext>
                  </a:extLst>
                </p:cNvPr>
                <p:cNvSpPr/>
                <p:nvPr/>
              </p:nvSpPr>
              <p:spPr>
                <a:xfrm>
                  <a:off x="6259285" y="1529723"/>
                  <a:ext cx="55298" cy="55298"/>
                </a:xfrm>
                <a:custGeom>
                  <a:avLst/>
                  <a:gdLst>
                    <a:gd name="connsiteX0" fmla="*/ 55298 w 55298"/>
                    <a:gd name="connsiteY0" fmla="*/ 27649 h 55298"/>
                    <a:gd name="connsiteX1" fmla="*/ 27649 w 55298"/>
                    <a:gd name="connsiteY1" fmla="*/ 55298 h 55298"/>
                    <a:gd name="connsiteX2" fmla="*/ 0 w 55298"/>
                    <a:gd name="connsiteY2" fmla="*/ 27649 h 55298"/>
                    <a:gd name="connsiteX3" fmla="*/ 27649 w 55298"/>
                    <a:gd name="connsiteY3" fmla="*/ 0 h 55298"/>
                    <a:gd name="connsiteX4" fmla="*/ 55298 w 55298"/>
                    <a:gd name="connsiteY4" fmla="*/ 27649 h 552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5298" h="55298">
                      <a:moveTo>
                        <a:pt x="55298" y="27649"/>
                      </a:moveTo>
                      <a:cubicBezTo>
                        <a:pt x="55298" y="42938"/>
                        <a:pt x="42938" y="55298"/>
                        <a:pt x="27649" y="55298"/>
                      </a:cubicBezTo>
                      <a:cubicBezTo>
                        <a:pt x="12361" y="55298"/>
                        <a:pt x="0" y="42938"/>
                        <a:pt x="0" y="27649"/>
                      </a:cubicBezTo>
                      <a:cubicBezTo>
                        <a:pt x="0" y="12361"/>
                        <a:pt x="12361" y="0"/>
                        <a:pt x="27649" y="0"/>
                      </a:cubicBezTo>
                      <a:cubicBezTo>
                        <a:pt x="42938" y="0"/>
                        <a:pt x="55298" y="12361"/>
                        <a:pt x="55298" y="27649"/>
                      </a:cubicBezTo>
                      <a:close/>
                    </a:path>
                  </a:pathLst>
                </a:custGeom>
                <a:grpFill/>
                <a:ln w="19050" cap="sq">
                  <a:solidFill>
                    <a:srgbClr val="00FF94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106" name="Forma livre: Forma 105">
                <a:extLst>
                  <a:ext uri="{FF2B5EF4-FFF2-40B4-BE49-F238E27FC236}">
                    <a16:creationId xmlns:a16="http://schemas.microsoft.com/office/drawing/2014/main" id="{08C47FBE-497D-5E79-ACA9-3684C1F94C94}"/>
                  </a:ext>
                </a:extLst>
              </p:cNvPr>
              <p:cNvSpPr/>
              <p:nvPr/>
            </p:nvSpPr>
            <p:spPr>
              <a:xfrm>
                <a:off x="6152201" y="1686285"/>
                <a:ext cx="37362" cy="20848"/>
              </a:xfrm>
              <a:custGeom>
                <a:avLst/>
                <a:gdLst>
                  <a:gd name="connsiteX0" fmla="*/ 0 w 37362"/>
                  <a:gd name="connsiteY0" fmla="*/ 10505 h 20848"/>
                  <a:gd name="connsiteX1" fmla="*/ 27064 w 37362"/>
                  <a:gd name="connsiteY1" fmla="*/ 2373 h 20848"/>
                  <a:gd name="connsiteX2" fmla="*/ 37343 w 37362"/>
                  <a:gd name="connsiteY2" fmla="*/ 20849 h 208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7362" h="20848">
                    <a:moveTo>
                      <a:pt x="0" y="10505"/>
                    </a:moveTo>
                    <a:cubicBezTo>
                      <a:pt x="5205" y="811"/>
                      <a:pt x="17435" y="-2832"/>
                      <a:pt x="27064" y="2373"/>
                    </a:cubicBezTo>
                    <a:cubicBezTo>
                      <a:pt x="34025" y="6081"/>
                      <a:pt x="37668" y="13432"/>
                      <a:pt x="37343" y="20849"/>
                    </a:cubicBezTo>
                  </a:path>
                </a:pathLst>
              </a:custGeom>
              <a:grp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6" name="Agrupar 5">
            <a:extLst>
              <a:ext uri="{FF2B5EF4-FFF2-40B4-BE49-F238E27FC236}">
                <a16:creationId xmlns:a16="http://schemas.microsoft.com/office/drawing/2014/main" id="{8E11F6EA-3AED-49D7-7ED0-1CBA67E3F99C}"/>
              </a:ext>
            </a:extLst>
          </p:cNvPr>
          <p:cNvGrpSpPr/>
          <p:nvPr/>
        </p:nvGrpSpPr>
        <p:grpSpPr>
          <a:xfrm>
            <a:off x="6298225" y="3484952"/>
            <a:ext cx="994687" cy="616657"/>
            <a:chOff x="6298225" y="3484952"/>
            <a:chExt cx="994687" cy="616657"/>
          </a:xfrm>
          <a:solidFill>
            <a:srgbClr val="132153"/>
          </a:solidFill>
        </p:grpSpPr>
        <p:sp>
          <p:nvSpPr>
            <p:cNvPr id="29" name="Forma livre: Forma 28">
              <a:extLst>
                <a:ext uri="{FF2B5EF4-FFF2-40B4-BE49-F238E27FC236}">
                  <a16:creationId xmlns:a16="http://schemas.microsoft.com/office/drawing/2014/main" id="{92B73CC3-9BE3-E230-0FE3-44AA1CCB5349}"/>
                </a:ext>
              </a:extLst>
            </p:cNvPr>
            <p:cNvSpPr/>
            <p:nvPr/>
          </p:nvSpPr>
          <p:spPr>
            <a:xfrm flipH="1">
              <a:off x="6298225" y="3484952"/>
              <a:ext cx="994687" cy="616657"/>
            </a:xfrm>
            <a:custGeom>
              <a:avLst/>
              <a:gdLst>
                <a:gd name="connsiteX0" fmla="*/ 671828 w 846074"/>
                <a:gd name="connsiteY0" fmla="*/ 0 h 524524"/>
                <a:gd name="connsiteX1" fmla="*/ 0 w 846074"/>
                <a:gd name="connsiteY1" fmla="*/ 0 h 524524"/>
                <a:gd name="connsiteX2" fmla="*/ 524529 w 846074"/>
                <a:gd name="connsiteY2" fmla="*/ 524524 h 524524"/>
                <a:gd name="connsiteX3" fmla="*/ 524742 w 846074"/>
                <a:gd name="connsiteY3" fmla="*/ 524524 h 524524"/>
                <a:gd name="connsiteX4" fmla="*/ 846074 w 846074"/>
                <a:gd name="connsiteY4" fmla="*/ 524524 h 5245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46074" h="524524">
                  <a:moveTo>
                    <a:pt x="671828" y="0"/>
                  </a:moveTo>
                  <a:lnTo>
                    <a:pt x="0" y="0"/>
                  </a:lnTo>
                  <a:cubicBezTo>
                    <a:pt x="0" y="289824"/>
                    <a:pt x="234920" y="524524"/>
                    <a:pt x="524529" y="524524"/>
                  </a:cubicBezTo>
                  <a:lnTo>
                    <a:pt x="524742" y="524524"/>
                  </a:lnTo>
                  <a:lnTo>
                    <a:pt x="846074" y="524524"/>
                  </a:lnTo>
                  <a:close/>
                </a:path>
              </a:pathLst>
            </a:custGeom>
            <a:solidFill>
              <a:srgbClr val="132153"/>
            </a:solidFill>
            <a:ln w="4244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pt-PT" dirty="0"/>
            </a:p>
          </p:txBody>
        </p:sp>
        <p:grpSp>
          <p:nvGrpSpPr>
            <p:cNvPr id="123" name="Agrupar 122">
              <a:extLst>
                <a:ext uri="{FF2B5EF4-FFF2-40B4-BE49-F238E27FC236}">
                  <a16:creationId xmlns:a16="http://schemas.microsoft.com/office/drawing/2014/main" id="{252761A9-A061-DB03-FA71-35EFDD11699E}"/>
                </a:ext>
              </a:extLst>
            </p:cNvPr>
            <p:cNvGrpSpPr/>
            <p:nvPr/>
          </p:nvGrpSpPr>
          <p:grpSpPr>
            <a:xfrm>
              <a:off x="6637655" y="3607482"/>
              <a:ext cx="308179" cy="336550"/>
              <a:chOff x="6000092" y="1357908"/>
              <a:chExt cx="365300" cy="398929"/>
            </a:xfrm>
            <a:grpFill/>
          </p:grpSpPr>
          <p:sp>
            <p:nvSpPr>
              <p:cNvPr id="124" name="Forma livre: Forma 123">
                <a:extLst>
                  <a:ext uri="{FF2B5EF4-FFF2-40B4-BE49-F238E27FC236}">
                    <a16:creationId xmlns:a16="http://schemas.microsoft.com/office/drawing/2014/main" id="{AE0EBE2C-B4C6-A348-85BA-00C98A7B2A11}"/>
                  </a:ext>
                </a:extLst>
              </p:cNvPr>
              <p:cNvSpPr/>
              <p:nvPr/>
            </p:nvSpPr>
            <p:spPr>
              <a:xfrm>
                <a:off x="6000092" y="1418606"/>
                <a:ext cx="84058" cy="286120"/>
              </a:xfrm>
              <a:custGeom>
                <a:avLst/>
                <a:gdLst>
                  <a:gd name="connsiteX0" fmla="*/ 51595 w 84058"/>
                  <a:gd name="connsiteY0" fmla="*/ 0 h 286120"/>
                  <a:gd name="connsiteX1" fmla="*/ 35266 w 84058"/>
                  <a:gd name="connsiteY1" fmla="*/ 61674 h 286120"/>
                  <a:gd name="connsiteX2" fmla="*/ 28760 w 84058"/>
                  <a:gd name="connsiteY2" fmla="*/ 193415 h 286120"/>
                  <a:gd name="connsiteX3" fmla="*/ 84059 w 84058"/>
                  <a:gd name="connsiteY3" fmla="*/ 286121 h 2861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4058" h="286120">
                    <a:moveTo>
                      <a:pt x="51595" y="0"/>
                    </a:moveTo>
                    <a:cubicBezTo>
                      <a:pt x="37868" y="7872"/>
                      <a:pt x="26028" y="24852"/>
                      <a:pt x="35266" y="61674"/>
                    </a:cubicBezTo>
                    <a:cubicBezTo>
                      <a:pt x="35266" y="61674"/>
                      <a:pt x="-39549" y="126731"/>
                      <a:pt x="28760" y="193415"/>
                    </a:cubicBezTo>
                    <a:cubicBezTo>
                      <a:pt x="28760" y="193415"/>
                      <a:pt x="9243" y="281242"/>
                      <a:pt x="84059" y="286121"/>
                    </a:cubicBezTo>
                  </a:path>
                </a:pathLst>
              </a:custGeom>
              <a:grp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125" name="Gráfico 32">
                <a:extLst>
                  <a:ext uri="{FF2B5EF4-FFF2-40B4-BE49-F238E27FC236}">
                    <a16:creationId xmlns:a16="http://schemas.microsoft.com/office/drawing/2014/main" id="{B99F0D53-7FB3-589F-6537-469BF3D363E5}"/>
                  </a:ext>
                </a:extLst>
              </p:cNvPr>
              <p:cNvGrpSpPr/>
              <p:nvPr/>
            </p:nvGrpSpPr>
            <p:grpSpPr>
              <a:xfrm>
                <a:off x="6061121" y="1359924"/>
                <a:ext cx="128487" cy="396366"/>
                <a:chOff x="6061121" y="1359924"/>
                <a:chExt cx="128487" cy="396366"/>
              </a:xfrm>
              <a:grpFill/>
            </p:grpSpPr>
            <p:sp>
              <p:nvSpPr>
                <p:cNvPr id="140" name="Forma livre: Forma 139">
                  <a:extLst>
                    <a:ext uri="{FF2B5EF4-FFF2-40B4-BE49-F238E27FC236}">
                      <a16:creationId xmlns:a16="http://schemas.microsoft.com/office/drawing/2014/main" id="{B7ED6DAD-B864-0177-64FB-62DF71FDC2BC}"/>
                    </a:ext>
                  </a:extLst>
                </p:cNvPr>
                <p:cNvSpPr/>
                <p:nvPr/>
              </p:nvSpPr>
              <p:spPr>
                <a:xfrm>
                  <a:off x="6083891" y="1359924"/>
                  <a:ext cx="105717" cy="396366"/>
                </a:xfrm>
                <a:custGeom>
                  <a:avLst/>
                  <a:gdLst>
                    <a:gd name="connsiteX0" fmla="*/ 52891 w 105717"/>
                    <a:gd name="connsiteY0" fmla="*/ 105718 h 396366"/>
                    <a:gd name="connsiteX1" fmla="*/ 0 w 105717"/>
                    <a:gd name="connsiteY1" fmla="*/ 52891 h 396366"/>
                    <a:gd name="connsiteX2" fmla="*/ 52891 w 105717"/>
                    <a:gd name="connsiteY2" fmla="*/ 0 h 396366"/>
                    <a:gd name="connsiteX3" fmla="*/ 105718 w 105717"/>
                    <a:gd name="connsiteY3" fmla="*/ 52826 h 396366"/>
                    <a:gd name="connsiteX4" fmla="*/ 105718 w 105717"/>
                    <a:gd name="connsiteY4" fmla="*/ 346884 h 396366"/>
                    <a:gd name="connsiteX5" fmla="*/ 80606 w 105717"/>
                    <a:gd name="connsiteY5" fmla="*/ 388911 h 396366"/>
                    <a:gd name="connsiteX6" fmla="*/ 9238 w 105717"/>
                    <a:gd name="connsiteY6" fmla="*/ 371150 h 396366"/>
                    <a:gd name="connsiteX7" fmla="*/ 15484 w 105717"/>
                    <a:gd name="connsiteY7" fmla="*/ 309216 h 396366"/>
                    <a:gd name="connsiteX8" fmla="*/ 45019 w 105717"/>
                    <a:gd name="connsiteY8" fmla="*/ 277078 h 39636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105717" h="396366">
                      <a:moveTo>
                        <a:pt x="52891" y="105718"/>
                      </a:moveTo>
                      <a:cubicBezTo>
                        <a:pt x="23681" y="105718"/>
                        <a:pt x="0" y="82037"/>
                        <a:pt x="0" y="52891"/>
                      </a:cubicBezTo>
                      <a:cubicBezTo>
                        <a:pt x="0" y="23746"/>
                        <a:pt x="23681" y="0"/>
                        <a:pt x="52891" y="0"/>
                      </a:cubicBezTo>
                      <a:cubicBezTo>
                        <a:pt x="82102" y="0"/>
                        <a:pt x="105718" y="23681"/>
                        <a:pt x="105718" y="52826"/>
                      </a:cubicBezTo>
                      <a:lnTo>
                        <a:pt x="105718" y="346884"/>
                      </a:lnTo>
                      <a:cubicBezTo>
                        <a:pt x="105718" y="364580"/>
                        <a:pt x="96414" y="379413"/>
                        <a:pt x="80606" y="388911"/>
                      </a:cubicBezTo>
                      <a:cubicBezTo>
                        <a:pt x="55949" y="403744"/>
                        <a:pt x="24006" y="395742"/>
                        <a:pt x="9238" y="371150"/>
                      </a:cubicBezTo>
                      <a:cubicBezTo>
                        <a:pt x="-2928" y="350918"/>
                        <a:pt x="260" y="325741"/>
                        <a:pt x="15484" y="309216"/>
                      </a:cubicBezTo>
                      <a:lnTo>
                        <a:pt x="45019" y="277078"/>
                      </a:lnTo>
                    </a:path>
                  </a:pathLst>
                </a:custGeom>
                <a:grpFill/>
                <a:ln w="19050" cap="sq">
                  <a:solidFill>
                    <a:srgbClr val="00FF94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41" name="Forma livre: Forma 140">
                  <a:extLst>
                    <a:ext uri="{FF2B5EF4-FFF2-40B4-BE49-F238E27FC236}">
                      <a16:creationId xmlns:a16="http://schemas.microsoft.com/office/drawing/2014/main" id="{8A4A5B97-EB47-439F-A9BF-009EA3D0BD74}"/>
                    </a:ext>
                  </a:extLst>
                </p:cNvPr>
                <p:cNvSpPr/>
                <p:nvPr/>
              </p:nvSpPr>
              <p:spPr>
                <a:xfrm>
                  <a:off x="6144784" y="1383865"/>
                  <a:ext cx="41563" cy="38963"/>
                </a:xfrm>
                <a:custGeom>
                  <a:avLst/>
                  <a:gdLst>
                    <a:gd name="connsiteX0" fmla="*/ 36172 w 41563"/>
                    <a:gd name="connsiteY0" fmla="*/ 0 h 38963"/>
                    <a:gd name="connsiteX1" fmla="*/ 39425 w 41563"/>
                    <a:gd name="connsiteY1" fmla="*/ 24266 h 38963"/>
                    <a:gd name="connsiteX2" fmla="*/ 36432 w 41563"/>
                    <a:gd name="connsiteY2" fmla="*/ 29080 h 38963"/>
                    <a:gd name="connsiteX3" fmla="*/ 0 w 41563"/>
                    <a:gd name="connsiteY3" fmla="*/ 33439 h 3896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1563" h="38963">
                      <a:moveTo>
                        <a:pt x="36172" y="0"/>
                      </a:moveTo>
                      <a:cubicBezTo>
                        <a:pt x="41571" y="7547"/>
                        <a:pt x="43393" y="16004"/>
                        <a:pt x="39425" y="24266"/>
                      </a:cubicBezTo>
                      <a:cubicBezTo>
                        <a:pt x="38644" y="25893"/>
                        <a:pt x="37603" y="27519"/>
                        <a:pt x="36432" y="29080"/>
                      </a:cubicBezTo>
                      <a:cubicBezTo>
                        <a:pt x="27584" y="40270"/>
                        <a:pt x="11190" y="42287"/>
                        <a:pt x="0" y="33439"/>
                      </a:cubicBezTo>
                    </a:path>
                  </a:pathLst>
                </a:custGeom>
                <a:grpFill/>
                <a:ln w="19050" cap="sq">
                  <a:solidFill>
                    <a:srgbClr val="00FF94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42" name="Forma livre: Forma 141">
                  <a:extLst>
                    <a:ext uri="{FF2B5EF4-FFF2-40B4-BE49-F238E27FC236}">
                      <a16:creationId xmlns:a16="http://schemas.microsoft.com/office/drawing/2014/main" id="{D6EDC920-3D07-34DB-6FCC-76E337161632}"/>
                    </a:ext>
                  </a:extLst>
                </p:cNvPr>
                <p:cNvSpPr/>
                <p:nvPr/>
              </p:nvSpPr>
              <p:spPr>
                <a:xfrm>
                  <a:off x="6081487" y="1460806"/>
                  <a:ext cx="34217" cy="54474"/>
                </a:xfrm>
                <a:custGeom>
                  <a:avLst/>
                  <a:gdLst>
                    <a:gd name="connsiteX0" fmla="*/ 21076 w 34217"/>
                    <a:gd name="connsiteY0" fmla="*/ 54475 h 54474"/>
                    <a:gd name="connsiteX1" fmla="*/ 778 w 34217"/>
                    <a:gd name="connsiteY1" fmla="*/ 21035 h 54474"/>
                    <a:gd name="connsiteX2" fmla="*/ 34217 w 34217"/>
                    <a:gd name="connsiteY2" fmla="*/ 803 h 544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34217" h="54474">
                      <a:moveTo>
                        <a:pt x="21076" y="54475"/>
                      </a:moveTo>
                      <a:cubicBezTo>
                        <a:pt x="6308" y="50832"/>
                        <a:pt x="-2800" y="35803"/>
                        <a:pt x="778" y="21035"/>
                      </a:cubicBezTo>
                      <a:cubicBezTo>
                        <a:pt x="4421" y="6267"/>
                        <a:pt x="19449" y="-2841"/>
                        <a:pt x="34217" y="803"/>
                      </a:cubicBezTo>
                    </a:path>
                  </a:pathLst>
                </a:custGeom>
                <a:grpFill/>
                <a:ln w="19050" cap="sq">
                  <a:solidFill>
                    <a:srgbClr val="00FF94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43" name="Forma livre: Forma 142">
                  <a:extLst>
                    <a:ext uri="{FF2B5EF4-FFF2-40B4-BE49-F238E27FC236}">
                      <a16:creationId xmlns:a16="http://schemas.microsoft.com/office/drawing/2014/main" id="{067C116B-A98F-0131-3F86-F3FB32D344E8}"/>
                    </a:ext>
                  </a:extLst>
                </p:cNvPr>
                <p:cNvSpPr/>
                <p:nvPr/>
              </p:nvSpPr>
              <p:spPr>
                <a:xfrm>
                  <a:off x="6073547" y="1527543"/>
                  <a:ext cx="114760" cy="72506"/>
                </a:xfrm>
                <a:custGeom>
                  <a:avLst/>
                  <a:gdLst>
                    <a:gd name="connsiteX0" fmla="*/ 114760 w 114760"/>
                    <a:gd name="connsiteY0" fmla="*/ 7254 h 72506"/>
                    <a:gd name="connsiteX1" fmla="*/ 73905 w 114760"/>
                    <a:gd name="connsiteY1" fmla="*/ 8881 h 72506"/>
                    <a:gd name="connsiteX2" fmla="*/ 0 w 114760"/>
                    <a:gd name="connsiteY2" fmla="*/ 72506 h 7250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14760" h="72506">
                      <a:moveTo>
                        <a:pt x="114760" y="7254"/>
                      </a:moveTo>
                      <a:cubicBezTo>
                        <a:pt x="103375" y="-2830"/>
                        <a:pt x="83989" y="-2504"/>
                        <a:pt x="73905" y="8881"/>
                      </a:cubicBezTo>
                      <a:cubicBezTo>
                        <a:pt x="73905" y="8881"/>
                        <a:pt x="31488" y="72506"/>
                        <a:pt x="0" y="72506"/>
                      </a:cubicBezTo>
                    </a:path>
                  </a:pathLst>
                </a:custGeom>
                <a:grpFill/>
                <a:ln w="19050" cap="sq">
                  <a:solidFill>
                    <a:srgbClr val="00FF94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44" name="Forma livre: Forma 143">
                  <a:extLst>
                    <a:ext uri="{FF2B5EF4-FFF2-40B4-BE49-F238E27FC236}">
                      <a16:creationId xmlns:a16="http://schemas.microsoft.com/office/drawing/2014/main" id="{27132A18-457B-4866-2AFE-022B1CB66C5C}"/>
                    </a:ext>
                  </a:extLst>
                </p:cNvPr>
                <p:cNvSpPr/>
                <p:nvPr/>
              </p:nvSpPr>
              <p:spPr>
                <a:xfrm>
                  <a:off x="6079857" y="1646956"/>
                  <a:ext cx="29405" cy="9823"/>
                </a:xfrm>
                <a:custGeom>
                  <a:avLst/>
                  <a:gdLst>
                    <a:gd name="connsiteX0" fmla="*/ 0 w 29405"/>
                    <a:gd name="connsiteY0" fmla="*/ 0 h 9823"/>
                    <a:gd name="connsiteX1" fmla="*/ 29406 w 29405"/>
                    <a:gd name="connsiteY1" fmla="*/ 9824 h 982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9405" h="9823">
                      <a:moveTo>
                        <a:pt x="0" y="0"/>
                      </a:moveTo>
                      <a:lnTo>
                        <a:pt x="29406" y="9824"/>
                      </a:lnTo>
                    </a:path>
                  </a:pathLst>
                </a:custGeom>
                <a:grpFill/>
                <a:ln w="19050" cap="sq">
                  <a:solidFill>
                    <a:srgbClr val="00FF94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45" name="Forma livre: Forma 144">
                  <a:extLst>
                    <a:ext uri="{FF2B5EF4-FFF2-40B4-BE49-F238E27FC236}">
                      <a16:creationId xmlns:a16="http://schemas.microsoft.com/office/drawing/2014/main" id="{04C009FE-5BC6-AD2A-465B-DE0F580093D8}"/>
                    </a:ext>
                  </a:extLst>
                </p:cNvPr>
                <p:cNvSpPr/>
                <p:nvPr/>
              </p:nvSpPr>
              <p:spPr>
                <a:xfrm>
                  <a:off x="6061121" y="1545272"/>
                  <a:ext cx="47166" cy="34154"/>
                </a:xfrm>
                <a:custGeom>
                  <a:avLst/>
                  <a:gdLst>
                    <a:gd name="connsiteX0" fmla="*/ 0 w 47166"/>
                    <a:gd name="connsiteY0" fmla="*/ 0 h 34154"/>
                    <a:gd name="connsiteX1" fmla="*/ 47166 w 47166"/>
                    <a:gd name="connsiteY1" fmla="*/ 34155 h 3415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7166" h="34154">
                      <a:moveTo>
                        <a:pt x="0" y="0"/>
                      </a:moveTo>
                      <a:cubicBezTo>
                        <a:pt x="0" y="0"/>
                        <a:pt x="27649" y="13011"/>
                        <a:pt x="47166" y="34155"/>
                      </a:cubicBezTo>
                    </a:path>
                  </a:pathLst>
                </a:custGeom>
                <a:grpFill/>
                <a:ln w="19050" cap="sq">
                  <a:solidFill>
                    <a:srgbClr val="00FF94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126" name="Gráfico 32">
                <a:extLst>
                  <a:ext uri="{FF2B5EF4-FFF2-40B4-BE49-F238E27FC236}">
                    <a16:creationId xmlns:a16="http://schemas.microsoft.com/office/drawing/2014/main" id="{988FACA8-E91C-64B6-BF06-D132D5879228}"/>
                  </a:ext>
                </a:extLst>
              </p:cNvPr>
              <p:cNvGrpSpPr/>
              <p:nvPr/>
            </p:nvGrpSpPr>
            <p:grpSpPr>
              <a:xfrm>
                <a:off x="6191625" y="1599725"/>
                <a:ext cx="173767" cy="157112"/>
                <a:chOff x="6191625" y="1599725"/>
                <a:chExt cx="173767" cy="157112"/>
              </a:xfrm>
              <a:grpFill/>
            </p:grpSpPr>
            <p:sp>
              <p:nvSpPr>
                <p:cNvPr id="136" name="Forma livre: Forma 135">
                  <a:extLst>
                    <a:ext uri="{FF2B5EF4-FFF2-40B4-BE49-F238E27FC236}">
                      <a16:creationId xmlns:a16="http://schemas.microsoft.com/office/drawing/2014/main" id="{36D659FE-502E-5C48-0A21-0B67D0DB19FB}"/>
                    </a:ext>
                  </a:extLst>
                </p:cNvPr>
                <p:cNvSpPr/>
                <p:nvPr/>
              </p:nvSpPr>
              <p:spPr>
                <a:xfrm>
                  <a:off x="6310094" y="1621974"/>
                  <a:ext cx="55298" cy="55298"/>
                </a:xfrm>
                <a:custGeom>
                  <a:avLst/>
                  <a:gdLst>
                    <a:gd name="connsiteX0" fmla="*/ 55298 w 55298"/>
                    <a:gd name="connsiteY0" fmla="*/ 27649 h 55298"/>
                    <a:gd name="connsiteX1" fmla="*/ 27649 w 55298"/>
                    <a:gd name="connsiteY1" fmla="*/ 55298 h 55298"/>
                    <a:gd name="connsiteX2" fmla="*/ 0 w 55298"/>
                    <a:gd name="connsiteY2" fmla="*/ 27649 h 55298"/>
                    <a:gd name="connsiteX3" fmla="*/ 27649 w 55298"/>
                    <a:gd name="connsiteY3" fmla="*/ 0 h 55298"/>
                    <a:gd name="connsiteX4" fmla="*/ 55298 w 55298"/>
                    <a:gd name="connsiteY4" fmla="*/ 27649 h 552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5298" h="55298">
                      <a:moveTo>
                        <a:pt x="55298" y="27649"/>
                      </a:moveTo>
                      <a:cubicBezTo>
                        <a:pt x="55298" y="42938"/>
                        <a:pt x="42938" y="55298"/>
                        <a:pt x="27649" y="55298"/>
                      </a:cubicBezTo>
                      <a:cubicBezTo>
                        <a:pt x="12361" y="55298"/>
                        <a:pt x="0" y="42938"/>
                        <a:pt x="0" y="27649"/>
                      </a:cubicBezTo>
                      <a:cubicBezTo>
                        <a:pt x="0" y="12361"/>
                        <a:pt x="12361" y="0"/>
                        <a:pt x="27649" y="0"/>
                      </a:cubicBezTo>
                      <a:cubicBezTo>
                        <a:pt x="42938" y="0"/>
                        <a:pt x="55298" y="12361"/>
                        <a:pt x="55298" y="27649"/>
                      </a:cubicBezTo>
                      <a:close/>
                    </a:path>
                  </a:pathLst>
                </a:custGeom>
                <a:grpFill/>
                <a:ln w="19050" cap="sq">
                  <a:solidFill>
                    <a:srgbClr val="00FF94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37" name="Forma livre: Forma 136">
                  <a:extLst>
                    <a:ext uri="{FF2B5EF4-FFF2-40B4-BE49-F238E27FC236}">
                      <a16:creationId xmlns:a16="http://schemas.microsoft.com/office/drawing/2014/main" id="{D3471854-4AF6-BBF6-81F0-B39BB8894D40}"/>
                    </a:ext>
                  </a:extLst>
                </p:cNvPr>
                <p:cNvSpPr/>
                <p:nvPr/>
              </p:nvSpPr>
              <p:spPr>
                <a:xfrm>
                  <a:off x="6191625" y="1599725"/>
                  <a:ext cx="118078" cy="49898"/>
                </a:xfrm>
                <a:custGeom>
                  <a:avLst/>
                  <a:gdLst>
                    <a:gd name="connsiteX0" fmla="*/ 0 w 118078"/>
                    <a:gd name="connsiteY0" fmla="*/ 0 h 49898"/>
                    <a:gd name="connsiteX1" fmla="*/ 37343 w 118078"/>
                    <a:gd name="connsiteY1" fmla="*/ 0 h 49898"/>
                    <a:gd name="connsiteX2" fmla="*/ 87176 w 118078"/>
                    <a:gd name="connsiteY2" fmla="*/ 49899 h 49898"/>
                    <a:gd name="connsiteX3" fmla="*/ 118078 w 118078"/>
                    <a:gd name="connsiteY3" fmla="*/ 49899 h 498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18078" h="49898">
                      <a:moveTo>
                        <a:pt x="0" y="0"/>
                      </a:moveTo>
                      <a:lnTo>
                        <a:pt x="37343" y="0"/>
                      </a:lnTo>
                      <a:lnTo>
                        <a:pt x="87176" y="49899"/>
                      </a:lnTo>
                      <a:lnTo>
                        <a:pt x="118078" y="49899"/>
                      </a:lnTo>
                    </a:path>
                  </a:pathLst>
                </a:custGeom>
                <a:grpFill/>
                <a:ln w="19050" cap="sq">
                  <a:solidFill>
                    <a:srgbClr val="00FF94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38" name="Forma livre: Forma 137">
                  <a:extLst>
                    <a:ext uri="{FF2B5EF4-FFF2-40B4-BE49-F238E27FC236}">
                      <a16:creationId xmlns:a16="http://schemas.microsoft.com/office/drawing/2014/main" id="{2953F869-B15E-1FCB-0FE8-8A2EC283F3EE}"/>
                    </a:ext>
                  </a:extLst>
                </p:cNvPr>
                <p:cNvSpPr/>
                <p:nvPr/>
              </p:nvSpPr>
              <p:spPr>
                <a:xfrm>
                  <a:off x="6191625" y="1665367"/>
                  <a:ext cx="81906" cy="44108"/>
                </a:xfrm>
                <a:custGeom>
                  <a:avLst/>
                  <a:gdLst>
                    <a:gd name="connsiteX0" fmla="*/ 0 w 81906"/>
                    <a:gd name="connsiteY0" fmla="*/ 0 h 44108"/>
                    <a:gd name="connsiteX1" fmla="*/ 37343 w 81906"/>
                    <a:gd name="connsiteY1" fmla="*/ 0 h 44108"/>
                    <a:gd name="connsiteX2" fmla="*/ 81907 w 81906"/>
                    <a:gd name="connsiteY2" fmla="*/ 44109 h 4410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81906" h="44108">
                      <a:moveTo>
                        <a:pt x="0" y="0"/>
                      </a:moveTo>
                      <a:lnTo>
                        <a:pt x="37343" y="0"/>
                      </a:lnTo>
                      <a:lnTo>
                        <a:pt x="81907" y="44109"/>
                      </a:lnTo>
                    </a:path>
                  </a:pathLst>
                </a:custGeom>
                <a:grpFill/>
                <a:ln w="19050" cap="sq">
                  <a:solidFill>
                    <a:srgbClr val="00FF94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39" name="Forma livre: Forma 138">
                  <a:extLst>
                    <a:ext uri="{FF2B5EF4-FFF2-40B4-BE49-F238E27FC236}">
                      <a16:creationId xmlns:a16="http://schemas.microsoft.com/office/drawing/2014/main" id="{F0D227BE-77B3-D0A7-78A4-028FB04566F6}"/>
                    </a:ext>
                  </a:extLst>
                </p:cNvPr>
                <p:cNvSpPr/>
                <p:nvPr/>
              </p:nvSpPr>
              <p:spPr>
                <a:xfrm>
                  <a:off x="6265075" y="1701539"/>
                  <a:ext cx="55298" cy="55298"/>
                </a:xfrm>
                <a:custGeom>
                  <a:avLst/>
                  <a:gdLst>
                    <a:gd name="connsiteX0" fmla="*/ 55298 w 55298"/>
                    <a:gd name="connsiteY0" fmla="*/ 27649 h 55298"/>
                    <a:gd name="connsiteX1" fmla="*/ 27649 w 55298"/>
                    <a:gd name="connsiteY1" fmla="*/ 55298 h 55298"/>
                    <a:gd name="connsiteX2" fmla="*/ 0 w 55298"/>
                    <a:gd name="connsiteY2" fmla="*/ 27649 h 55298"/>
                    <a:gd name="connsiteX3" fmla="*/ 27649 w 55298"/>
                    <a:gd name="connsiteY3" fmla="*/ 0 h 55298"/>
                    <a:gd name="connsiteX4" fmla="*/ 55298 w 55298"/>
                    <a:gd name="connsiteY4" fmla="*/ 27649 h 552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5298" h="55298">
                      <a:moveTo>
                        <a:pt x="55298" y="27649"/>
                      </a:moveTo>
                      <a:cubicBezTo>
                        <a:pt x="55298" y="42938"/>
                        <a:pt x="42938" y="55298"/>
                        <a:pt x="27649" y="55298"/>
                      </a:cubicBezTo>
                      <a:cubicBezTo>
                        <a:pt x="12361" y="55298"/>
                        <a:pt x="0" y="42938"/>
                        <a:pt x="0" y="27649"/>
                      </a:cubicBezTo>
                      <a:cubicBezTo>
                        <a:pt x="0" y="12361"/>
                        <a:pt x="12361" y="0"/>
                        <a:pt x="27649" y="0"/>
                      </a:cubicBezTo>
                      <a:cubicBezTo>
                        <a:pt x="42938" y="0"/>
                        <a:pt x="55298" y="12361"/>
                        <a:pt x="55298" y="27649"/>
                      </a:cubicBezTo>
                      <a:close/>
                    </a:path>
                  </a:pathLst>
                </a:custGeom>
                <a:grpFill/>
                <a:ln w="19050" cap="sq">
                  <a:solidFill>
                    <a:srgbClr val="00FF94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127" name="Gráfico 32">
                <a:extLst>
                  <a:ext uri="{FF2B5EF4-FFF2-40B4-BE49-F238E27FC236}">
                    <a16:creationId xmlns:a16="http://schemas.microsoft.com/office/drawing/2014/main" id="{C0510EAE-1913-E12C-3922-8BBBE4E3A67A}"/>
                  </a:ext>
                </a:extLst>
              </p:cNvPr>
              <p:cNvGrpSpPr/>
              <p:nvPr/>
            </p:nvGrpSpPr>
            <p:grpSpPr>
              <a:xfrm>
                <a:off x="6191625" y="1357908"/>
                <a:ext cx="173767" cy="157112"/>
                <a:chOff x="6191625" y="1357908"/>
                <a:chExt cx="173767" cy="157112"/>
              </a:xfrm>
              <a:grpFill/>
            </p:grpSpPr>
            <p:sp>
              <p:nvSpPr>
                <p:cNvPr id="132" name="Forma livre: Forma 131">
                  <a:extLst>
                    <a:ext uri="{FF2B5EF4-FFF2-40B4-BE49-F238E27FC236}">
                      <a16:creationId xmlns:a16="http://schemas.microsoft.com/office/drawing/2014/main" id="{DB7234EB-67FB-4413-5A68-CF8F4BDD604C}"/>
                    </a:ext>
                  </a:extLst>
                </p:cNvPr>
                <p:cNvSpPr/>
                <p:nvPr/>
              </p:nvSpPr>
              <p:spPr>
                <a:xfrm>
                  <a:off x="6310094" y="1437472"/>
                  <a:ext cx="55298" cy="55298"/>
                </a:xfrm>
                <a:custGeom>
                  <a:avLst/>
                  <a:gdLst>
                    <a:gd name="connsiteX0" fmla="*/ 55298 w 55298"/>
                    <a:gd name="connsiteY0" fmla="*/ 27649 h 55298"/>
                    <a:gd name="connsiteX1" fmla="*/ 27649 w 55298"/>
                    <a:gd name="connsiteY1" fmla="*/ 0 h 55298"/>
                    <a:gd name="connsiteX2" fmla="*/ 0 w 55298"/>
                    <a:gd name="connsiteY2" fmla="*/ 27649 h 55298"/>
                    <a:gd name="connsiteX3" fmla="*/ 27649 w 55298"/>
                    <a:gd name="connsiteY3" fmla="*/ 55298 h 55298"/>
                    <a:gd name="connsiteX4" fmla="*/ 55298 w 55298"/>
                    <a:gd name="connsiteY4" fmla="*/ 27649 h 552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5298" h="55298">
                      <a:moveTo>
                        <a:pt x="55298" y="27649"/>
                      </a:moveTo>
                      <a:cubicBezTo>
                        <a:pt x="55298" y="12361"/>
                        <a:pt x="42938" y="0"/>
                        <a:pt x="27649" y="0"/>
                      </a:cubicBezTo>
                      <a:cubicBezTo>
                        <a:pt x="12361" y="0"/>
                        <a:pt x="0" y="12361"/>
                        <a:pt x="0" y="27649"/>
                      </a:cubicBezTo>
                      <a:cubicBezTo>
                        <a:pt x="0" y="42938"/>
                        <a:pt x="12361" y="55298"/>
                        <a:pt x="27649" y="55298"/>
                      </a:cubicBezTo>
                      <a:cubicBezTo>
                        <a:pt x="42938" y="55298"/>
                        <a:pt x="55298" y="42938"/>
                        <a:pt x="55298" y="27649"/>
                      </a:cubicBezTo>
                      <a:close/>
                    </a:path>
                  </a:pathLst>
                </a:custGeom>
                <a:grpFill/>
                <a:ln w="19050" cap="sq">
                  <a:solidFill>
                    <a:srgbClr val="00FF94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33" name="Forma livre: Forma 132">
                  <a:extLst>
                    <a:ext uri="{FF2B5EF4-FFF2-40B4-BE49-F238E27FC236}">
                      <a16:creationId xmlns:a16="http://schemas.microsoft.com/office/drawing/2014/main" id="{708E22A7-AC59-BC26-7A63-BE008912C2F4}"/>
                    </a:ext>
                  </a:extLst>
                </p:cNvPr>
                <p:cNvSpPr/>
                <p:nvPr/>
              </p:nvSpPr>
              <p:spPr>
                <a:xfrm>
                  <a:off x="6191625" y="1465122"/>
                  <a:ext cx="118468" cy="49898"/>
                </a:xfrm>
                <a:custGeom>
                  <a:avLst/>
                  <a:gdLst>
                    <a:gd name="connsiteX0" fmla="*/ 0 w 118468"/>
                    <a:gd name="connsiteY0" fmla="*/ 49899 h 49898"/>
                    <a:gd name="connsiteX1" fmla="*/ 37343 w 118468"/>
                    <a:gd name="connsiteY1" fmla="*/ 49899 h 49898"/>
                    <a:gd name="connsiteX2" fmla="*/ 87176 w 118468"/>
                    <a:gd name="connsiteY2" fmla="*/ 0 h 49898"/>
                    <a:gd name="connsiteX3" fmla="*/ 118469 w 118468"/>
                    <a:gd name="connsiteY3" fmla="*/ 0 h 498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18468" h="49898">
                      <a:moveTo>
                        <a:pt x="0" y="49899"/>
                      </a:moveTo>
                      <a:lnTo>
                        <a:pt x="37343" y="49899"/>
                      </a:lnTo>
                      <a:lnTo>
                        <a:pt x="87176" y="0"/>
                      </a:lnTo>
                      <a:lnTo>
                        <a:pt x="118469" y="0"/>
                      </a:lnTo>
                    </a:path>
                  </a:pathLst>
                </a:custGeom>
                <a:grpFill/>
                <a:ln w="19050" cap="sq">
                  <a:solidFill>
                    <a:srgbClr val="00FF94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34" name="Forma livre: Forma 133">
                  <a:extLst>
                    <a:ext uri="{FF2B5EF4-FFF2-40B4-BE49-F238E27FC236}">
                      <a16:creationId xmlns:a16="http://schemas.microsoft.com/office/drawing/2014/main" id="{ECB718F5-6E90-D6BF-FFA5-13EA90700F89}"/>
                    </a:ext>
                  </a:extLst>
                </p:cNvPr>
                <p:cNvSpPr/>
                <p:nvPr/>
              </p:nvSpPr>
              <p:spPr>
                <a:xfrm>
                  <a:off x="6191625" y="1405269"/>
                  <a:ext cx="81451" cy="44043"/>
                </a:xfrm>
                <a:custGeom>
                  <a:avLst/>
                  <a:gdLst>
                    <a:gd name="connsiteX0" fmla="*/ 0 w 81451"/>
                    <a:gd name="connsiteY0" fmla="*/ 44044 h 44043"/>
                    <a:gd name="connsiteX1" fmla="*/ 37343 w 81451"/>
                    <a:gd name="connsiteY1" fmla="*/ 44044 h 44043"/>
                    <a:gd name="connsiteX2" fmla="*/ 81451 w 81451"/>
                    <a:gd name="connsiteY2" fmla="*/ 0 h 4404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81451" h="44043">
                      <a:moveTo>
                        <a:pt x="0" y="44044"/>
                      </a:moveTo>
                      <a:lnTo>
                        <a:pt x="37343" y="44044"/>
                      </a:lnTo>
                      <a:lnTo>
                        <a:pt x="81451" y="0"/>
                      </a:lnTo>
                    </a:path>
                  </a:pathLst>
                </a:custGeom>
                <a:grpFill/>
                <a:ln w="19050" cap="sq">
                  <a:solidFill>
                    <a:srgbClr val="00FF94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35" name="Forma livre: Forma 134">
                  <a:extLst>
                    <a:ext uri="{FF2B5EF4-FFF2-40B4-BE49-F238E27FC236}">
                      <a16:creationId xmlns:a16="http://schemas.microsoft.com/office/drawing/2014/main" id="{7BEEB947-BFE9-2833-08CE-CE35DDA1B328}"/>
                    </a:ext>
                  </a:extLst>
                </p:cNvPr>
                <p:cNvSpPr/>
                <p:nvPr/>
              </p:nvSpPr>
              <p:spPr>
                <a:xfrm>
                  <a:off x="6265075" y="1357908"/>
                  <a:ext cx="55298" cy="55298"/>
                </a:xfrm>
                <a:custGeom>
                  <a:avLst/>
                  <a:gdLst>
                    <a:gd name="connsiteX0" fmla="*/ 55298 w 55298"/>
                    <a:gd name="connsiteY0" fmla="*/ 27649 h 55298"/>
                    <a:gd name="connsiteX1" fmla="*/ 27649 w 55298"/>
                    <a:gd name="connsiteY1" fmla="*/ 0 h 55298"/>
                    <a:gd name="connsiteX2" fmla="*/ 0 w 55298"/>
                    <a:gd name="connsiteY2" fmla="*/ 27649 h 55298"/>
                    <a:gd name="connsiteX3" fmla="*/ 27649 w 55298"/>
                    <a:gd name="connsiteY3" fmla="*/ 55298 h 55298"/>
                    <a:gd name="connsiteX4" fmla="*/ 55298 w 55298"/>
                    <a:gd name="connsiteY4" fmla="*/ 27649 h 552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5298" h="55298">
                      <a:moveTo>
                        <a:pt x="55298" y="27649"/>
                      </a:moveTo>
                      <a:cubicBezTo>
                        <a:pt x="55298" y="12361"/>
                        <a:pt x="42938" y="0"/>
                        <a:pt x="27649" y="0"/>
                      </a:cubicBezTo>
                      <a:cubicBezTo>
                        <a:pt x="12361" y="0"/>
                        <a:pt x="0" y="12361"/>
                        <a:pt x="0" y="27649"/>
                      </a:cubicBezTo>
                      <a:cubicBezTo>
                        <a:pt x="0" y="42938"/>
                        <a:pt x="12361" y="55298"/>
                        <a:pt x="27649" y="55298"/>
                      </a:cubicBezTo>
                      <a:cubicBezTo>
                        <a:pt x="42938" y="55298"/>
                        <a:pt x="55298" y="42938"/>
                        <a:pt x="55298" y="27649"/>
                      </a:cubicBezTo>
                      <a:close/>
                    </a:path>
                  </a:pathLst>
                </a:custGeom>
                <a:grpFill/>
                <a:ln w="19050" cap="sq">
                  <a:solidFill>
                    <a:srgbClr val="00FF94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128" name="Gráfico 32">
                <a:extLst>
                  <a:ext uri="{FF2B5EF4-FFF2-40B4-BE49-F238E27FC236}">
                    <a16:creationId xmlns:a16="http://schemas.microsoft.com/office/drawing/2014/main" id="{E043CE71-C2DA-43CA-D0E1-77AC6602CCA8}"/>
                  </a:ext>
                </a:extLst>
              </p:cNvPr>
              <p:cNvGrpSpPr/>
              <p:nvPr/>
            </p:nvGrpSpPr>
            <p:grpSpPr>
              <a:xfrm>
                <a:off x="6190910" y="1529723"/>
                <a:ext cx="123673" cy="55298"/>
                <a:chOff x="6190910" y="1529723"/>
                <a:chExt cx="123673" cy="55298"/>
              </a:xfrm>
              <a:grpFill/>
            </p:grpSpPr>
            <p:sp>
              <p:nvSpPr>
                <p:cNvPr id="130" name="Forma livre: Forma 129">
                  <a:extLst>
                    <a:ext uri="{FF2B5EF4-FFF2-40B4-BE49-F238E27FC236}">
                      <a16:creationId xmlns:a16="http://schemas.microsoft.com/office/drawing/2014/main" id="{B32C29CB-1870-1F07-1250-52CD75760B9D}"/>
                    </a:ext>
                  </a:extLst>
                </p:cNvPr>
                <p:cNvSpPr/>
                <p:nvPr/>
              </p:nvSpPr>
              <p:spPr>
                <a:xfrm>
                  <a:off x="6190910" y="1557372"/>
                  <a:ext cx="68765" cy="6505"/>
                </a:xfrm>
                <a:custGeom>
                  <a:avLst/>
                  <a:gdLst>
                    <a:gd name="connsiteX0" fmla="*/ 0 w 68765"/>
                    <a:gd name="connsiteY0" fmla="*/ 0 h 6505"/>
                    <a:gd name="connsiteX1" fmla="*/ 68765 w 68765"/>
                    <a:gd name="connsiteY1" fmla="*/ 0 h 650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68765" h="6505">
                      <a:moveTo>
                        <a:pt x="0" y="0"/>
                      </a:moveTo>
                      <a:lnTo>
                        <a:pt x="68765" y="0"/>
                      </a:lnTo>
                    </a:path>
                  </a:pathLst>
                </a:custGeom>
                <a:grpFill/>
                <a:ln w="19050" cap="sq">
                  <a:solidFill>
                    <a:srgbClr val="00FF94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31" name="Forma livre: Forma 130">
                  <a:extLst>
                    <a:ext uri="{FF2B5EF4-FFF2-40B4-BE49-F238E27FC236}">
                      <a16:creationId xmlns:a16="http://schemas.microsoft.com/office/drawing/2014/main" id="{D839AA97-1185-4DC2-3CA4-D41CADF94733}"/>
                    </a:ext>
                  </a:extLst>
                </p:cNvPr>
                <p:cNvSpPr/>
                <p:nvPr/>
              </p:nvSpPr>
              <p:spPr>
                <a:xfrm>
                  <a:off x="6259285" y="1529723"/>
                  <a:ext cx="55298" cy="55298"/>
                </a:xfrm>
                <a:custGeom>
                  <a:avLst/>
                  <a:gdLst>
                    <a:gd name="connsiteX0" fmla="*/ 55298 w 55298"/>
                    <a:gd name="connsiteY0" fmla="*/ 27649 h 55298"/>
                    <a:gd name="connsiteX1" fmla="*/ 27649 w 55298"/>
                    <a:gd name="connsiteY1" fmla="*/ 55298 h 55298"/>
                    <a:gd name="connsiteX2" fmla="*/ 0 w 55298"/>
                    <a:gd name="connsiteY2" fmla="*/ 27649 h 55298"/>
                    <a:gd name="connsiteX3" fmla="*/ 27649 w 55298"/>
                    <a:gd name="connsiteY3" fmla="*/ 0 h 55298"/>
                    <a:gd name="connsiteX4" fmla="*/ 55298 w 55298"/>
                    <a:gd name="connsiteY4" fmla="*/ 27649 h 552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5298" h="55298">
                      <a:moveTo>
                        <a:pt x="55298" y="27649"/>
                      </a:moveTo>
                      <a:cubicBezTo>
                        <a:pt x="55298" y="42938"/>
                        <a:pt x="42938" y="55298"/>
                        <a:pt x="27649" y="55298"/>
                      </a:cubicBezTo>
                      <a:cubicBezTo>
                        <a:pt x="12361" y="55298"/>
                        <a:pt x="0" y="42938"/>
                        <a:pt x="0" y="27649"/>
                      </a:cubicBezTo>
                      <a:cubicBezTo>
                        <a:pt x="0" y="12361"/>
                        <a:pt x="12361" y="0"/>
                        <a:pt x="27649" y="0"/>
                      </a:cubicBezTo>
                      <a:cubicBezTo>
                        <a:pt x="42938" y="0"/>
                        <a:pt x="55298" y="12361"/>
                        <a:pt x="55298" y="27649"/>
                      </a:cubicBezTo>
                      <a:close/>
                    </a:path>
                  </a:pathLst>
                </a:custGeom>
                <a:grpFill/>
                <a:ln w="19050" cap="sq">
                  <a:solidFill>
                    <a:srgbClr val="00FF94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129" name="Forma livre: Forma 128">
                <a:extLst>
                  <a:ext uri="{FF2B5EF4-FFF2-40B4-BE49-F238E27FC236}">
                    <a16:creationId xmlns:a16="http://schemas.microsoft.com/office/drawing/2014/main" id="{5D3501E6-5E7D-B5B4-29B0-86C7A2E79FA3}"/>
                  </a:ext>
                </a:extLst>
              </p:cNvPr>
              <p:cNvSpPr/>
              <p:nvPr/>
            </p:nvSpPr>
            <p:spPr>
              <a:xfrm>
                <a:off x="6152201" y="1686285"/>
                <a:ext cx="37362" cy="20848"/>
              </a:xfrm>
              <a:custGeom>
                <a:avLst/>
                <a:gdLst>
                  <a:gd name="connsiteX0" fmla="*/ 0 w 37362"/>
                  <a:gd name="connsiteY0" fmla="*/ 10505 h 20848"/>
                  <a:gd name="connsiteX1" fmla="*/ 27064 w 37362"/>
                  <a:gd name="connsiteY1" fmla="*/ 2373 h 20848"/>
                  <a:gd name="connsiteX2" fmla="*/ 37343 w 37362"/>
                  <a:gd name="connsiteY2" fmla="*/ 20849 h 208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7362" h="20848">
                    <a:moveTo>
                      <a:pt x="0" y="10505"/>
                    </a:moveTo>
                    <a:cubicBezTo>
                      <a:pt x="5205" y="811"/>
                      <a:pt x="17435" y="-2832"/>
                      <a:pt x="27064" y="2373"/>
                    </a:cubicBezTo>
                    <a:cubicBezTo>
                      <a:pt x="34025" y="6081"/>
                      <a:pt x="37668" y="13432"/>
                      <a:pt x="37343" y="20849"/>
                    </a:cubicBezTo>
                  </a:path>
                </a:pathLst>
              </a:custGeom>
              <a:grp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7" name="Agrupar 6">
            <a:extLst>
              <a:ext uri="{FF2B5EF4-FFF2-40B4-BE49-F238E27FC236}">
                <a16:creationId xmlns:a16="http://schemas.microsoft.com/office/drawing/2014/main" id="{437E6614-B9A8-3F75-7386-5372364C85D0}"/>
              </a:ext>
            </a:extLst>
          </p:cNvPr>
          <p:cNvGrpSpPr/>
          <p:nvPr/>
        </p:nvGrpSpPr>
        <p:grpSpPr>
          <a:xfrm>
            <a:off x="6298225" y="4888887"/>
            <a:ext cx="994687" cy="616657"/>
            <a:chOff x="6298225" y="4888887"/>
            <a:chExt cx="994687" cy="616657"/>
          </a:xfrm>
          <a:solidFill>
            <a:srgbClr val="132153"/>
          </a:solidFill>
        </p:grpSpPr>
        <p:sp>
          <p:nvSpPr>
            <p:cNvPr id="30" name="Forma livre: Forma 29">
              <a:extLst>
                <a:ext uri="{FF2B5EF4-FFF2-40B4-BE49-F238E27FC236}">
                  <a16:creationId xmlns:a16="http://schemas.microsoft.com/office/drawing/2014/main" id="{3B5C0AC1-AC98-B051-F3ED-1ABD92ABFEEB}"/>
                </a:ext>
              </a:extLst>
            </p:cNvPr>
            <p:cNvSpPr/>
            <p:nvPr/>
          </p:nvSpPr>
          <p:spPr>
            <a:xfrm flipH="1">
              <a:off x="6298225" y="4888887"/>
              <a:ext cx="994687" cy="616657"/>
            </a:xfrm>
            <a:custGeom>
              <a:avLst/>
              <a:gdLst>
                <a:gd name="connsiteX0" fmla="*/ 671828 w 846074"/>
                <a:gd name="connsiteY0" fmla="*/ 0 h 524524"/>
                <a:gd name="connsiteX1" fmla="*/ 0 w 846074"/>
                <a:gd name="connsiteY1" fmla="*/ 0 h 524524"/>
                <a:gd name="connsiteX2" fmla="*/ 524529 w 846074"/>
                <a:gd name="connsiteY2" fmla="*/ 524524 h 524524"/>
                <a:gd name="connsiteX3" fmla="*/ 524742 w 846074"/>
                <a:gd name="connsiteY3" fmla="*/ 524524 h 524524"/>
                <a:gd name="connsiteX4" fmla="*/ 846074 w 846074"/>
                <a:gd name="connsiteY4" fmla="*/ 524524 h 5245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46074" h="524524">
                  <a:moveTo>
                    <a:pt x="671828" y="0"/>
                  </a:moveTo>
                  <a:lnTo>
                    <a:pt x="0" y="0"/>
                  </a:lnTo>
                  <a:cubicBezTo>
                    <a:pt x="0" y="289824"/>
                    <a:pt x="234920" y="524524"/>
                    <a:pt x="524529" y="524524"/>
                  </a:cubicBezTo>
                  <a:lnTo>
                    <a:pt x="524742" y="524524"/>
                  </a:lnTo>
                  <a:lnTo>
                    <a:pt x="846074" y="524524"/>
                  </a:lnTo>
                  <a:close/>
                </a:path>
              </a:pathLst>
            </a:custGeom>
            <a:solidFill>
              <a:srgbClr val="132153"/>
            </a:solidFill>
            <a:ln w="4244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pt-PT"/>
            </a:p>
          </p:txBody>
        </p:sp>
        <p:grpSp>
          <p:nvGrpSpPr>
            <p:cNvPr id="146" name="Agrupar 145">
              <a:extLst>
                <a:ext uri="{FF2B5EF4-FFF2-40B4-BE49-F238E27FC236}">
                  <a16:creationId xmlns:a16="http://schemas.microsoft.com/office/drawing/2014/main" id="{74AE3A43-B1FE-92B9-FD45-54CC1602B986}"/>
                </a:ext>
              </a:extLst>
            </p:cNvPr>
            <p:cNvGrpSpPr/>
            <p:nvPr/>
          </p:nvGrpSpPr>
          <p:grpSpPr>
            <a:xfrm>
              <a:off x="6637655" y="5012104"/>
              <a:ext cx="308179" cy="336550"/>
              <a:chOff x="6000092" y="1357908"/>
              <a:chExt cx="365300" cy="398929"/>
            </a:xfrm>
            <a:grpFill/>
          </p:grpSpPr>
          <p:sp>
            <p:nvSpPr>
              <p:cNvPr id="147" name="Forma livre: Forma 146">
                <a:extLst>
                  <a:ext uri="{FF2B5EF4-FFF2-40B4-BE49-F238E27FC236}">
                    <a16:creationId xmlns:a16="http://schemas.microsoft.com/office/drawing/2014/main" id="{7013A83B-5581-447D-E49C-7C6C398FB47E}"/>
                  </a:ext>
                </a:extLst>
              </p:cNvPr>
              <p:cNvSpPr/>
              <p:nvPr/>
            </p:nvSpPr>
            <p:spPr>
              <a:xfrm>
                <a:off x="6000092" y="1418606"/>
                <a:ext cx="84058" cy="286120"/>
              </a:xfrm>
              <a:custGeom>
                <a:avLst/>
                <a:gdLst>
                  <a:gd name="connsiteX0" fmla="*/ 51595 w 84058"/>
                  <a:gd name="connsiteY0" fmla="*/ 0 h 286120"/>
                  <a:gd name="connsiteX1" fmla="*/ 35266 w 84058"/>
                  <a:gd name="connsiteY1" fmla="*/ 61674 h 286120"/>
                  <a:gd name="connsiteX2" fmla="*/ 28760 w 84058"/>
                  <a:gd name="connsiteY2" fmla="*/ 193415 h 286120"/>
                  <a:gd name="connsiteX3" fmla="*/ 84059 w 84058"/>
                  <a:gd name="connsiteY3" fmla="*/ 286121 h 2861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4058" h="286120">
                    <a:moveTo>
                      <a:pt x="51595" y="0"/>
                    </a:moveTo>
                    <a:cubicBezTo>
                      <a:pt x="37868" y="7872"/>
                      <a:pt x="26028" y="24852"/>
                      <a:pt x="35266" y="61674"/>
                    </a:cubicBezTo>
                    <a:cubicBezTo>
                      <a:pt x="35266" y="61674"/>
                      <a:pt x="-39549" y="126731"/>
                      <a:pt x="28760" y="193415"/>
                    </a:cubicBezTo>
                    <a:cubicBezTo>
                      <a:pt x="28760" y="193415"/>
                      <a:pt x="9243" y="281242"/>
                      <a:pt x="84059" y="286121"/>
                    </a:cubicBezTo>
                  </a:path>
                </a:pathLst>
              </a:custGeom>
              <a:grp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148" name="Gráfico 32">
                <a:extLst>
                  <a:ext uri="{FF2B5EF4-FFF2-40B4-BE49-F238E27FC236}">
                    <a16:creationId xmlns:a16="http://schemas.microsoft.com/office/drawing/2014/main" id="{728CA229-236E-2339-52F2-01FDD5241615}"/>
                  </a:ext>
                </a:extLst>
              </p:cNvPr>
              <p:cNvGrpSpPr/>
              <p:nvPr/>
            </p:nvGrpSpPr>
            <p:grpSpPr>
              <a:xfrm>
                <a:off x="6061121" y="1359924"/>
                <a:ext cx="128487" cy="396366"/>
                <a:chOff x="6061121" y="1359924"/>
                <a:chExt cx="128487" cy="396366"/>
              </a:xfrm>
              <a:grpFill/>
            </p:grpSpPr>
            <p:sp>
              <p:nvSpPr>
                <p:cNvPr id="163" name="Forma livre: Forma 162">
                  <a:extLst>
                    <a:ext uri="{FF2B5EF4-FFF2-40B4-BE49-F238E27FC236}">
                      <a16:creationId xmlns:a16="http://schemas.microsoft.com/office/drawing/2014/main" id="{819399C7-62B4-037A-2077-7230670E175D}"/>
                    </a:ext>
                  </a:extLst>
                </p:cNvPr>
                <p:cNvSpPr/>
                <p:nvPr/>
              </p:nvSpPr>
              <p:spPr>
                <a:xfrm>
                  <a:off x="6083891" y="1359924"/>
                  <a:ext cx="105717" cy="396366"/>
                </a:xfrm>
                <a:custGeom>
                  <a:avLst/>
                  <a:gdLst>
                    <a:gd name="connsiteX0" fmla="*/ 52891 w 105717"/>
                    <a:gd name="connsiteY0" fmla="*/ 105718 h 396366"/>
                    <a:gd name="connsiteX1" fmla="*/ 0 w 105717"/>
                    <a:gd name="connsiteY1" fmla="*/ 52891 h 396366"/>
                    <a:gd name="connsiteX2" fmla="*/ 52891 w 105717"/>
                    <a:gd name="connsiteY2" fmla="*/ 0 h 396366"/>
                    <a:gd name="connsiteX3" fmla="*/ 105718 w 105717"/>
                    <a:gd name="connsiteY3" fmla="*/ 52826 h 396366"/>
                    <a:gd name="connsiteX4" fmla="*/ 105718 w 105717"/>
                    <a:gd name="connsiteY4" fmla="*/ 346884 h 396366"/>
                    <a:gd name="connsiteX5" fmla="*/ 80606 w 105717"/>
                    <a:gd name="connsiteY5" fmla="*/ 388911 h 396366"/>
                    <a:gd name="connsiteX6" fmla="*/ 9238 w 105717"/>
                    <a:gd name="connsiteY6" fmla="*/ 371150 h 396366"/>
                    <a:gd name="connsiteX7" fmla="*/ 15484 w 105717"/>
                    <a:gd name="connsiteY7" fmla="*/ 309216 h 396366"/>
                    <a:gd name="connsiteX8" fmla="*/ 45019 w 105717"/>
                    <a:gd name="connsiteY8" fmla="*/ 277078 h 39636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105717" h="396366">
                      <a:moveTo>
                        <a:pt x="52891" y="105718"/>
                      </a:moveTo>
                      <a:cubicBezTo>
                        <a:pt x="23681" y="105718"/>
                        <a:pt x="0" y="82037"/>
                        <a:pt x="0" y="52891"/>
                      </a:cubicBezTo>
                      <a:cubicBezTo>
                        <a:pt x="0" y="23746"/>
                        <a:pt x="23681" y="0"/>
                        <a:pt x="52891" y="0"/>
                      </a:cubicBezTo>
                      <a:cubicBezTo>
                        <a:pt x="82102" y="0"/>
                        <a:pt x="105718" y="23681"/>
                        <a:pt x="105718" y="52826"/>
                      </a:cubicBezTo>
                      <a:lnTo>
                        <a:pt x="105718" y="346884"/>
                      </a:lnTo>
                      <a:cubicBezTo>
                        <a:pt x="105718" y="364580"/>
                        <a:pt x="96414" y="379413"/>
                        <a:pt x="80606" y="388911"/>
                      </a:cubicBezTo>
                      <a:cubicBezTo>
                        <a:pt x="55949" y="403744"/>
                        <a:pt x="24006" y="395742"/>
                        <a:pt x="9238" y="371150"/>
                      </a:cubicBezTo>
                      <a:cubicBezTo>
                        <a:pt x="-2928" y="350918"/>
                        <a:pt x="260" y="325741"/>
                        <a:pt x="15484" y="309216"/>
                      </a:cubicBezTo>
                      <a:lnTo>
                        <a:pt x="45019" y="277078"/>
                      </a:lnTo>
                    </a:path>
                  </a:pathLst>
                </a:custGeom>
                <a:grpFill/>
                <a:ln w="19050" cap="sq">
                  <a:solidFill>
                    <a:srgbClr val="00FF94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64" name="Forma livre: Forma 163">
                  <a:extLst>
                    <a:ext uri="{FF2B5EF4-FFF2-40B4-BE49-F238E27FC236}">
                      <a16:creationId xmlns:a16="http://schemas.microsoft.com/office/drawing/2014/main" id="{CA4A66B4-0AAF-777A-6019-1FB515D45A08}"/>
                    </a:ext>
                  </a:extLst>
                </p:cNvPr>
                <p:cNvSpPr/>
                <p:nvPr/>
              </p:nvSpPr>
              <p:spPr>
                <a:xfrm>
                  <a:off x="6144784" y="1383865"/>
                  <a:ext cx="41563" cy="38963"/>
                </a:xfrm>
                <a:custGeom>
                  <a:avLst/>
                  <a:gdLst>
                    <a:gd name="connsiteX0" fmla="*/ 36172 w 41563"/>
                    <a:gd name="connsiteY0" fmla="*/ 0 h 38963"/>
                    <a:gd name="connsiteX1" fmla="*/ 39425 w 41563"/>
                    <a:gd name="connsiteY1" fmla="*/ 24266 h 38963"/>
                    <a:gd name="connsiteX2" fmla="*/ 36432 w 41563"/>
                    <a:gd name="connsiteY2" fmla="*/ 29080 h 38963"/>
                    <a:gd name="connsiteX3" fmla="*/ 0 w 41563"/>
                    <a:gd name="connsiteY3" fmla="*/ 33439 h 3896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1563" h="38963">
                      <a:moveTo>
                        <a:pt x="36172" y="0"/>
                      </a:moveTo>
                      <a:cubicBezTo>
                        <a:pt x="41571" y="7547"/>
                        <a:pt x="43393" y="16004"/>
                        <a:pt x="39425" y="24266"/>
                      </a:cubicBezTo>
                      <a:cubicBezTo>
                        <a:pt x="38644" y="25893"/>
                        <a:pt x="37603" y="27519"/>
                        <a:pt x="36432" y="29080"/>
                      </a:cubicBezTo>
                      <a:cubicBezTo>
                        <a:pt x="27584" y="40270"/>
                        <a:pt x="11190" y="42287"/>
                        <a:pt x="0" y="33439"/>
                      </a:cubicBezTo>
                    </a:path>
                  </a:pathLst>
                </a:custGeom>
                <a:grpFill/>
                <a:ln w="19050" cap="sq">
                  <a:solidFill>
                    <a:srgbClr val="00FF94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65" name="Forma livre: Forma 164">
                  <a:extLst>
                    <a:ext uri="{FF2B5EF4-FFF2-40B4-BE49-F238E27FC236}">
                      <a16:creationId xmlns:a16="http://schemas.microsoft.com/office/drawing/2014/main" id="{97F5AD07-1442-E2EE-40B4-785E48E5721B}"/>
                    </a:ext>
                  </a:extLst>
                </p:cNvPr>
                <p:cNvSpPr/>
                <p:nvPr/>
              </p:nvSpPr>
              <p:spPr>
                <a:xfrm>
                  <a:off x="6081487" y="1460806"/>
                  <a:ext cx="34217" cy="54474"/>
                </a:xfrm>
                <a:custGeom>
                  <a:avLst/>
                  <a:gdLst>
                    <a:gd name="connsiteX0" fmla="*/ 21076 w 34217"/>
                    <a:gd name="connsiteY0" fmla="*/ 54475 h 54474"/>
                    <a:gd name="connsiteX1" fmla="*/ 778 w 34217"/>
                    <a:gd name="connsiteY1" fmla="*/ 21035 h 54474"/>
                    <a:gd name="connsiteX2" fmla="*/ 34217 w 34217"/>
                    <a:gd name="connsiteY2" fmla="*/ 803 h 544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34217" h="54474">
                      <a:moveTo>
                        <a:pt x="21076" y="54475"/>
                      </a:moveTo>
                      <a:cubicBezTo>
                        <a:pt x="6308" y="50832"/>
                        <a:pt x="-2800" y="35803"/>
                        <a:pt x="778" y="21035"/>
                      </a:cubicBezTo>
                      <a:cubicBezTo>
                        <a:pt x="4421" y="6267"/>
                        <a:pt x="19449" y="-2841"/>
                        <a:pt x="34217" y="803"/>
                      </a:cubicBezTo>
                    </a:path>
                  </a:pathLst>
                </a:custGeom>
                <a:grpFill/>
                <a:ln w="19050" cap="sq">
                  <a:solidFill>
                    <a:srgbClr val="00FF94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66" name="Forma livre: Forma 165">
                  <a:extLst>
                    <a:ext uri="{FF2B5EF4-FFF2-40B4-BE49-F238E27FC236}">
                      <a16:creationId xmlns:a16="http://schemas.microsoft.com/office/drawing/2014/main" id="{5E19E26D-C2B1-CBA7-2E01-45E5451C0168}"/>
                    </a:ext>
                  </a:extLst>
                </p:cNvPr>
                <p:cNvSpPr/>
                <p:nvPr/>
              </p:nvSpPr>
              <p:spPr>
                <a:xfrm>
                  <a:off x="6073547" y="1527543"/>
                  <a:ext cx="114760" cy="72506"/>
                </a:xfrm>
                <a:custGeom>
                  <a:avLst/>
                  <a:gdLst>
                    <a:gd name="connsiteX0" fmla="*/ 114760 w 114760"/>
                    <a:gd name="connsiteY0" fmla="*/ 7254 h 72506"/>
                    <a:gd name="connsiteX1" fmla="*/ 73905 w 114760"/>
                    <a:gd name="connsiteY1" fmla="*/ 8881 h 72506"/>
                    <a:gd name="connsiteX2" fmla="*/ 0 w 114760"/>
                    <a:gd name="connsiteY2" fmla="*/ 72506 h 7250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14760" h="72506">
                      <a:moveTo>
                        <a:pt x="114760" y="7254"/>
                      </a:moveTo>
                      <a:cubicBezTo>
                        <a:pt x="103375" y="-2830"/>
                        <a:pt x="83989" y="-2504"/>
                        <a:pt x="73905" y="8881"/>
                      </a:cubicBezTo>
                      <a:cubicBezTo>
                        <a:pt x="73905" y="8881"/>
                        <a:pt x="31488" y="72506"/>
                        <a:pt x="0" y="72506"/>
                      </a:cubicBezTo>
                    </a:path>
                  </a:pathLst>
                </a:custGeom>
                <a:grpFill/>
                <a:ln w="19050" cap="sq">
                  <a:solidFill>
                    <a:srgbClr val="00FF94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67" name="Forma livre: Forma 166">
                  <a:extLst>
                    <a:ext uri="{FF2B5EF4-FFF2-40B4-BE49-F238E27FC236}">
                      <a16:creationId xmlns:a16="http://schemas.microsoft.com/office/drawing/2014/main" id="{9F2B3B09-8A5D-E9EA-0992-E0602A9829B9}"/>
                    </a:ext>
                  </a:extLst>
                </p:cNvPr>
                <p:cNvSpPr/>
                <p:nvPr/>
              </p:nvSpPr>
              <p:spPr>
                <a:xfrm>
                  <a:off x="6079857" y="1646956"/>
                  <a:ext cx="29405" cy="9823"/>
                </a:xfrm>
                <a:custGeom>
                  <a:avLst/>
                  <a:gdLst>
                    <a:gd name="connsiteX0" fmla="*/ 0 w 29405"/>
                    <a:gd name="connsiteY0" fmla="*/ 0 h 9823"/>
                    <a:gd name="connsiteX1" fmla="*/ 29406 w 29405"/>
                    <a:gd name="connsiteY1" fmla="*/ 9824 h 982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9405" h="9823">
                      <a:moveTo>
                        <a:pt x="0" y="0"/>
                      </a:moveTo>
                      <a:lnTo>
                        <a:pt x="29406" y="9824"/>
                      </a:lnTo>
                    </a:path>
                  </a:pathLst>
                </a:custGeom>
                <a:grpFill/>
                <a:ln w="19050" cap="sq">
                  <a:solidFill>
                    <a:srgbClr val="00FF94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68" name="Forma livre: Forma 167">
                  <a:extLst>
                    <a:ext uri="{FF2B5EF4-FFF2-40B4-BE49-F238E27FC236}">
                      <a16:creationId xmlns:a16="http://schemas.microsoft.com/office/drawing/2014/main" id="{20A74C83-6868-6350-A1B4-F529B879DA7E}"/>
                    </a:ext>
                  </a:extLst>
                </p:cNvPr>
                <p:cNvSpPr/>
                <p:nvPr/>
              </p:nvSpPr>
              <p:spPr>
                <a:xfrm>
                  <a:off x="6061121" y="1545272"/>
                  <a:ext cx="47166" cy="34154"/>
                </a:xfrm>
                <a:custGeom>
                  <a:avLst/>
                  <a:gdLst>
                    <a:gd name="connsiteX0" fmla="*/ 0 w 47166"/>
                    <a:gd name="connsiteY0" fmla="*/ 0 h 34154"/>
                    <a:gd name="connsiteX1" fmla="*/ 47166 w 47166"/>
                    <a:gd name="connsiteY1" fmla="*/ 34155 h 3415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7166" h="34154">
                      <a:moveTo>
                        <a:pt x="0" y="0"/>
                      </a:moveTo>
                      <a:cubicBezTo>
                        <a:pt x="0" y="0"/>
                        <a:pt x="27649" y="13011"/>
                        <a:pt x="47166" y="34155"/>
                      </a:cubicBezTo>
                    </a:path>
                  </a:pathLst>
                </a:custGeom>
                <a:grpFill/>
                <a:ln w="19050" cap="sq">
                  <a:solidFill>
                    <a:srgbClr val="00FF94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149" name="Gráfico 32">
                <a:extLst>
                  <a:ext uri="{FF2B5EF4-FFF2-40B4-BE49-F238E27FC236}">
                    <a16:creationId xmlns:a16="http://schemas.microsoft.com/office/drawing/2014/main" id="{772D9CA6-503E-CA08-00B9-450C87D59A5D}"/>
                  </a:ext>
                </a:extLst>
              </p:cNvPr>
              <p:cNvGrpSpPr/>
              <p:nvPr/>
            </p:nvGrpSpPr>
            <p:grpSpPr>
              <a:xfrm>
                <a:off x="6191625" y="1599725"/>
                <a:ext cx="173767" cy="157112"/>
                <a:chOff x="6191625" y="1599725"/>
                <a:chExt cx="173767" cy="157112"/>
              </a:xfrm>
              <a:grpFill/>
            </p:grpSpPr>
            <p:sp>
              <p:nvSpPr>
                <p:cNvPr id="159" name="Forma livre: Forma 158">
                  <a:extLst>
                    <a:ext uri="{FF2B5EF4-FFF2-40B4-BE49-F238E27FC236}">
                      <a16:creationId xmlns:a16="http://schemas.microsoft.com/office/drawing/2014/main" id="{9A60F3CC-92DA-64F5-E708-4CE7DE335CDA}"/>
                    </a:ext>
                  </a:extLst>
                </p:cNvPr>
                <p:cNvSpPr/>
                <p:nvPr/>
              </p:nvSpPr>
              <p:spPr>
                <a:xfrm>
                  <a:off x="6310094" y="1621974"/>
                  <a:ext cx="55298" cy="55298"/>
                </a:xfrm>
                <a:custGeom>
                  <a:avLst/>
                  <a:gdLst>
                    <a:gd name="connsiteX0" fmla="*/ 55298 w 55298"/>
                    <a:gd name="connsiteY0" fmla="*/ 27649 h 55298"/>
                    <a:gd name="connsiteX1" fmla="*/ 27649 w 55298"/>
                    <a:gd name="connsiteY1" fmla="*/ 55298 h 55298"/>
                    <a:gd name="connsiteX2" fmla="*/ 0 w 55298"/>
                    <a:gd name="connsiteY2" fmla="*/ 27649 h 55298"/>
                    <a:gd name="connsiteX3" fmla="*/ 27649 w 55298"/>
                    <a:gd name="connsiteY3" fmla="*/ 0 h 55298"/>
                    <a:gd name="connsiteX4" fmla="*/ 55298 w 55298"/>
                    <a:gd name="connsiteY4" fmla="*/ 27649 h 552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5298" h="55298">
                      <a:moveTo>
                        <a:pt x="55298" y="27649"/>
                      </a:moveTo>
                      <a:cubicBezTo>
                        <a:pt x="55298" y="42938"/>
                        <a:pt x="42938" y="55298"/>
                        <a:pt x="27649" y="55298"/>
                      </a:cubicBezTo>
                      <a:cubicBezTo>
                        <a:pt x="12361" y="55298"/>
                        <a:pt x="0" y="42938"/>
                        <a:pt x="0" y="27649"/>
                      </a:cubicBezTo>
                      <a:cubicBezTo>
                        <a:pt x="0" y="12361"/>
                        <a:pt x="12361" y="0"/>
                        <a:pt x="27649" y="0"/>
                      </a:cubicBezTo>
                      <a:cubicBezTo>
                        <a:pt x="42938" y="0"/>
                        <a:pt x="55298" y="12361"/>
                        <a:pt x="55298" y="27649"/>
                      </a:cubicBezTo>
                      <a:close/>
                    </a:path>
                  </a:pathLst>
                </a:custGeom>
                <a:grpFill/>
                <a:ln w="19050" cap="sq">
                  <a:solidFill>
                    <a:srgbClr val="00FF94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60" name="Forma livre: Forma 159">
                  <a:extLst>
                    <a:ext uri="{FF2B5EF4-FFF2-40B4-BE49-F238E27FC236}">
                      <a16:creationId xmlns:a16="http://schemas.microsoft.com/office/drawing/2014/main" id="{7B60317B-DBDA-CB44-7782-BA2811ECB405}"/>
                    </a:ext>
                  </a:extLst>
                </p:cNvPr>
                <p:cNvSpPr/>
                <p:nvPr/>
              </p:nvSpPr>
              <p:spPr>
                <a:xfrm>
                  <a:off x="6191625" y="1599725"/>
                  <a:ext cx="118078" cy="49898"/>
                </a:xfrm>
                <a:custGeom>
                  <a:avLst/>
                  <a:gdLst>
                    <a:gd name="connsiteX0" fmla="*/ 0 w 118078"/>
                    <a:gd name="connsiteY0" fmla="*/ 0 h 49898"/>
                    <a:gd name="connsiteX1" fmla="*/ 37343 w 118078"/>
                    <a:gd name="connsiteY1" fmla="*/ 0 h 49898"/>
                    <a:gd name="connsiteX2" fmla="*/ 87176 w 118078"/>
                    <a:gd name="connsiteY2" fmla="*/ 49899 h 49898"/>
                    <a:gd name="connsiteX3" fmla="*/ 118078 w 118078"/>
                    <a:gd name="connsiteY3" fmla="*/ 49899 h 498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18078" h="49898">
                      <a:moveTo>
                        <a:pt x="0" y="0"/>
                      </a:moveTo>
                      <a:lnTo>
                        <a:pt x="37343" y="0"/>
                      </a:lnTo>
                      <a:lnTo>
                        <a:pt x="87176" y="49899"/>
                      </a:lnTo>
                      <a:lnTo>
                        <a:pt x="118078" y="49899"/>
                      </a:lnTo>
                    </a:path>
                  </a:pathLst>
                </a:custGeom>
                <a:grpFill/>
                <a:ln w="19050" cap="sq">
                  <a:solidFill>
                    <a:srgbClr val="00FF94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61" name="Forma livre: Forma 160">
                  <a:extLst>
                    <a:ext uri="{FF2B5EF4-FFF2-40B4-BE49-F238E27FC236}">
                      <a16:creationId xmlns:a16="http://schemas.microsoft.com/office/drawing/2014/main" id="{BA564FB5-4C1E-C819-06CD-53FA61FC64D5}"/>
                    </a:ext>
                  </a:extLst>
                </p:cNvPr>
                <p:cNvSpPr/>
                <p:nvPr/>
              </p:nvSpPr>
              <p:spPr>
                <a:xfrm>
                  <a:off x="6191625" y="1665367"/>
                  <a:ext cx="81906" cy="44108"/>
                </a:xfrm>
                <a:custGeom>
                  <a:avLst/>
                  <a:gdLst>
                    <a:gd name="connsiteX0" fmla="*/ 0 w 81906"/>
                    <a:gd name="connsiteY0" fmla="*/ 0 h 44108"/>
                    <a:gd name="connsiteX1" fmla="*/ 37343 w 81906"/>
                    <a:gd name="connsiteY1" fmla="*/ 0 h 44108"/>
                    <a:gd name="connsiteX2" fmla="*/ 81907 w 81906"/>
                    <a:gd name="connsiteY2" fmla="*/ 44109 h 4410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81906" h="44108">
                      <a:moveTo>
                        <a:pt x="0" y="0"/>
                      </a:moveTo>
                      <a:lnTo>
                        <a:pt x="37343" y="0"/>
                      </a:lnTo>
                      <a:lnTo>
                        <a:pt x="81907" y="44109"/>
                      </a:lnTo>
                    </a:path>
                  </a:pathLst>
                </a:custGeom>
                <a:grpFill/>
                <a:ln w="19050" cap="sq">
                  <a:solidFill>
                    <a:srgbClr val="00FF94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62" name="Forma livre: Forma 161">
                  <a:extLst>
                    <a:ext uri="{FF2B5EF4-FFF2-40B4-BE49-F238E27FC236}">
                      <a16:creationId xmlns:a16="http://schemas.microsoft.com/office/drawing/2014/main" id="{6BAC426A-0792-283E-18EF-19CF6759AB0A}"/>
                    </a:ext>
                  </a:extLst>
                </p:cNvPr>
                <p:cNvSpPr/>
                <p:nvPr/>
              </p:nvSpPr>
              <p:spPr>
                <a:xfrm>
                  <a:off x="6265075" y="1701539"/>
                  <a:ext cx="55298" cy="55298"/>
                </a:xfrm>
                <a:custGeom>
                  <a:avLst/>
                  <a:gdLst>
                    <a:gd name="connsiteX0" fmla="*/ 55298 w 55298"/>
                    <a:gd name="connsiteY0" fmla="*/ 27649 h 55298"/>
                    <a:gd name="connsiteX1" fmla="*/ 27649 w 55298"/>
                    <a:gd name="connsiteY1" fmla="*/ 55298 h 55298"/>
                    <a:gd name="connsiteX2" fmla="*/ 0 w 55298"/>
                    <a:gd name="connsiteY2" fmla="*/ 27649 h 55298"/>
                    <a:gd name="connsiteX3" fmla="*/ 27649 w 55298"/>
                    <a:gd name="connsiteY3" fmla="*/ 0 h 55298"/>
                    <a:gd name="connsiteX4" fmla="*/ 55298 w 55298"/>
                    <a:gd name="connsiteY4" fmla="*/ 27649 h 552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5298" h="55298">
                      <a:moveTo>
                        <a:pt x="55298" y="27649"/>
                      </a:moveTo>
                      <a:cubicBezTo>
                        <a:pt x="55298" y="42938"/>
                        <a:pt x="42938" y="55298"/>
                        <a:pt x="27649" y="55298"/>
                      </a:cubicBezTo>
                      <a:cubicBezTo>
                        <a:pt x="12361" y="55298"/>
                        <a:pt x="0" y="42938"/>
                        <a:pt x="0" y="27649"/>
                      </a:cubicBezTo>
                      <a:cubicBezTo>
                        <a:pt x="0" y="12361"/>
                        <a:pt x="12361" y="0"/>
                        <a:pt x="27649" y="0"/>
                      </a:cubicBezTo>
                      <a:cubicBezTo>
                        <a:pt x="42938" y="0"/>
                        <a:pt x="55298" y="12361"/>
                        <a:pt x="55298" y="27649"/>
                      </a:cubicBezTo>
                      <a:close/>
                    </a:path>
                  </a:pathLst>
                </a:custGeom>
                <a:grpFill/>
                <a:ln w="19050" cap="sq">
                  <a:solidFill>
                    <a:srgbClr val="00FF94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150" name="Gráfico 32">
                <a:extLst>
                  <a:ext uri="{FF2B5EF4-FFF2-40B4-BE49-F238E27FC236}">
                    <a16:creationId xmlns:a16="http://schemas.microsoft.com/office/drawing/2014/main" id="{BEC0FFEC-2379-5B49-2E92-0404B8930875}"/>
                  </a:ext>
                </a:extLst>
              </p:cNvPr>
              <p:cNvGrpSpPr/>
              <p:nvPr/>
            </p:nvGrpSpPr>
            <p:grpSpPr>
              <a:xfrm>
                <a:off x="6191625" y="1357908"/>
                <a:ext cx="173767" cy="157112"/>
                <a:chOff x="6191625" y="1357908"/>
                <a:chExt cx="173767" cy="157112"/>
              </a:xfrm>
              <a:grpFill/>
            </p:grpSpPr>
            <p:sp>
              <p:nvSpPr>
                <p:cNvPr id="155" name="Forma livre: Forma 154">
                  <a:extLst>
                    <a:ext uri="{FF2B5EF4-FFF2-40B4-BE49-F238E27FC236}">
                      <a16:creationId xmlns:a16="http://schemas.microsoft.com/office/drawing/2014/main" id="{25320C5B-834A-FC44-348F-B65A5C303828}"/>
                    </a:ext>
                  </a:extLst>
                </p:cNvPr>
                <p:cNvSpPr/>
                <p:nvPr/>
              </p:nvSpPr>
              <p:spPr>
                <a:xfrm>
                  <a:off x="6310094" y="1437472"/>
                  <a:ext cx="55298" cy="55298"/>
                </a:xfrm>
                <a:custGeom>
                  <a:avLst/>
                  <a:gdLst>
                    <a:gd name="connsiteX0" fmla="*/ 55298 w 55298"/>
                    <a:gd name="connsiteY0" fmla="*/ 27649 h 55298"/>
                    <a:gd name="connsiteX1" fmla="*/ 27649 w 55298"/>
                    <a:gd name="connsiteY1" fmla="*/ 0 h 55298"/>
                    <a:gd name="connsiteX2" fmla="*/ 0 w 55298"/>
                    <a:gd name="connsiteY2" fmla="*/ 27649 h 55298"/>
                    <a:gd name="connsiteX3" fmla="*/ 27649 w 55298"/>
                    <a:gd name="connsiteY3" fmla="*/ 55298 h 55298"/>
                    <a:gd name="connsiteX4" fmla="*/ 55298 w 55298"/>
                    <a:gd name="connsiteY4" fmla="*/ 27649 h 552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5298" h="55298">
                      <a:moveTo>
                        <a:pt x="55298" y="27649"/>
                      </a:moveTo>
                      <a:cubicBezTo>
                        <a:pt x="55298" y="12361"/>
                        <a:pt x="42938" y="0"/>
                        <a:pt x="27649" y="0"/>
                      </a:cubicBezTo>
                      <a:cubicBezTo>
                        <a:pt x="12361" y="0"/>
                        <a:pt x="0" y="12361"/>
                        <a:pt x="0" y="27649"/>
                      </a:cubicBezTo>
                      <a:cubicBezTo>
                        <a:pt x="0" y="42938"/>
                        <a:pt x="12361" y="55298"/>
                        <a:pt x="27649" y="55298"/>
                      </a:cubicBezTo>
                      <a:cubicBezTo>
                        <a:pt x="42938" y="55298"/>
                        <a:pt x="55298" y="42938"/>
                        <a:pt x="55298" y="27649"/>
                      </a:cubicBezTo>
                      <a:close/>
                    </a:path>
                  </a:pathLst>
                </a:custGeom>
                <a:grpFill/>
                <a:ln w="19050" cap="sq">
                  <a:solidFill>
                    <a:srgbClr val="00FF94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56" name="Forma livre: Forma 155">
                  <a:extLst>
                    <a:ext uri="{FF2B5EF4-FFF2-40B4-BE49-F238E27FC236}">
                      <a16:creationId xmlns:a16="http://schemas.microsoft.com/office/drawing/2014/main" id="{CC0C405F-6B8E-0469-2D54-87B8245D4713}"/>
                    </a:ext>
                  </a:extLst>
                </p:cNvPr>
                <p:cNvSpPr/>
                <p:nvPr/>
              </p:nvSpPr>
              <p:spPr>
                <a:xfrm>
                  <a:off x="6191625" y="1465122"/>
                  <a:ext cx="118468" cy="49898"/>
                </a:xfrm>
                <a:custGeom>
                  <a:avLst/>
                  <a:gdLst>
                    <a:gd name="connsiteX0" fmla="*/ 0 w 118468"/>
                    <a:gd name="connsiteY0" fmla="*/ 49899 h 49898"/>
                    <a:gd name="connsiteX1" fmla="*/ 37343 w 118468"/>
                    <a:gd name="connsiteY1" fmla="*/ 49899 h 49898"/>
                    <a:gd name="connsiteX2" fmla="*/ 87176 w 118468"/>
                    <a:gd name="connsiteY2" fmla="*/ 0 h 49898"/>
                    <a:gd name="connsiteX3" fmla="*/ 118469 w 118468"/>
                    <a:gd name="connsiteY3" fmla="*/ 0 h 498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18468" h="49898">
                      <a:moveTo>
                        <a:pt x="0" y="49899"/>
                      </a:moveTo>
                      <a:lnTo>
                        <a:pt x="37343" y="49899"/>
                      </a:lnTo>
                      <a:lnTo>
                        <a:pt x="87176" y="0"/>
                      </a:lnTo>
                      <a:lnTo>
                        <a:pt x="118469" y="0"/>
                      </a:lnTo>
                    </a:path>
                  </a:pathLst>
                </a:custGeom>
                <a:grpFill/>
                <a:ln w="19050" cap="sq">
                  <a:solidFill>
                    <a:srgbClr val="00FF94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57" name="Forma livre: Forma 156">
                  <a:extLst>
                    <a:ext uri="{FF2B5EF4-FFF2-40B4-BE49-F238E27FC236}">
                      <a16:creationId xmlns:a16="http://schemas.microsoft.com/office/drawing/2014/main" id="{8D6BD1A5-2C77-CE18-2B1C-5959D175C710}"/>
                    </a:ext>
                  </a:extLst>
                </p:cNvPr>
                <p:cNvSpPr/>
                <p:nvPr/>
              </p:nvSpPr>
              <p:spPr>
                <a:xfrm>
                  <a:off x="6191625" y="1405269"/>
                  <a:ext cx="81451" cy="44043"/>
                </a:xfrm>
                <a:custGeom>
                  <a:avLst/>
                  <a:gdLst>
                    <a:gd name="connsiteX0" fmla="*/ 0 w 81451"/>
                    <a:gd name="connsiteY0" fmla="*/ 44044 h 44043"/>
                    <a:gd name="connsiteX1" fmla="*/ 37343 w 81451"/>
                    <a:gd name="connsiteY1" fmla="*/ 44044 h 44043"/>
                    <a:gd name="connsiteX2" fmla="*/ 81451 w 81451"/>
                    <a:gd name="connsiteY2" fmla="*/ 0 h 4404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81451" h="44043">
                      <a:moveTo>
                        <a:pt x="0" y="44044"/>
                      </a:moveTo>
                      <a:lnTo>
                        <a:pt x="37343" y="44044"/>
                      </a:lnTo>
                      <a:lnTo>
                        <a:pt x="81451" y="0"/>
                      </a:lnTo>
                    </a:path>
                  </a:pathLst>
                </a:custGeom>
                <a:grpFill/>
                <a:ln w="19050" cap="sq">
                  <a:solidFill>
                    <a:srgbClr val="00FF94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58" name="Forma livre: Forma 157">
                  <a:extLst>
                    <a:ext uri="{FF2B5EF4-FFF2-40B4-BE49-F238E27FC236}">
                      <a16:creationId xmlns:a16="http://schemas.microsoft.com/office/drawing/2014/main" id="{A3AD20CC-AF20-1C1B-A6E0-C6C7FCD58E30}"/>
                    </a:ext>
                  </a:extLst>
                </p:cNvPr>
                <p:cNvSpPr/>
                <p:nvPr/>
              </p:nvSpPr>
              <p:spPr>
                <a:xfrm>
                  <a:off x="6265075" y="1357908"/>
                  <a:ext cx="55298" cy="55298"/>
                </a:xfrm>
                <a:custGeom>
                  <a:avLst/>
                  <a:gdLst>
                    <a:gd name="connsiteX0" fmla="*/ 55298 w 55298"/>
                    <a:gd name="connsiteY0" fmla="*/ 27649 h 55298"/>
                    <a:gd name="connsiteX1" fmla="*/ 27649 w 55298"/>
                    <a:gd name="connsiteY1" fmla="*/ 0 h 55298"/>
                    <a:gd name="connsiteX2" fmla="*/ 0 w 55298"/>
                    <a:gd name="connsiteY2" fmla="*/ 27649 h 55298"/>
                    <a:gd name="connsiteX3" fmla="*/ 27649 w 55298"/>
                    <a:gd name="connsiteY3" fmla="*/ 55298 h 55298"/>
                    <a:gd name="connsiteX4" fmla="*/ 55298 w 55298"/>
                    <a:gd name="connsiteY4" fmla="*/ 27649 h 552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5298" h="55298">
                      <a:moveTo>
                        <a:pt x="55298" y="27649"/>
                      </a:moveTo>
                      <a:cubicBezTo>
                        <a:pt x="55298" y="12361"/>
                        <a:pt x="42938" y="0"/>
                        <a:pt x="27649" y="0"/>
                      </a:cubicBezTo>
                      <a:cubicBezTo>
                        <a:pt x="12361" y="0"/>
                        <a:pt x="0" y="12361"/>
                        <a:pt x="0" y="27649"/>
                      </a:cubicBezTo>
                      <a:cubicBezTo>
                        <a:pt x="0" y="42938"/>
                        <a:pt x="12361" y="55298"/>
                        <a:pt x="27649" y="55298"/>
                      </a:cubicBezTo>
                      <a:cubicBezTo>
                        <a:pt x="42938" y="55298"/>
                        <a:pt x="55298" y="42938"/>
                        <a:pt x="55298" y="27649"/>
                      </a:cubicBezTo>
                      <a:close/>
                    </a:path>
                  </a:pathLst>
                </a:custGeom>
                <a:grpFill/>
                <a:ln w="19050" cap="sq">
                  <a:solidFill>
                    <a:srgbClr val="00FF94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151" name="Gráfico 32">
                <a:extLst>
                  <a:ext uri="{FF2B5EF4-FFF2-40B4-BE49-F238E27FC236}">
                    <a16:creationId xmlns:a16="http://schemas.microsoft.com/office/drawing/2014/main" id="{150713F0-DDE1-A308-56FC-EC5BBF3617CE}"/>
                  </a:ext>
                </a:extLst>
              </p:cNvPr>
              <p:cNvGrpSpPr/>
              <p:nvPr/>
            </p:nvGrpSpPr>
            <p:grpSpPr>
              <a:xfrm>
                <a:off x="6190910" y="1529723"/>
                <a:ext cx="123673" cy="55298"/>
                <a:chOff x="6190910" y="1529723"/>
                <a:chExt cx="123673" cy="55298"/>
              </a:xfrm>
              <a:grpFill/>
            </p:grpSpPr>
            <p:sp>
              <p:nvSpPr>
                <p:cNvPr id="153" name="Forma livre: Forma 152">
                  <a:extLst>
                    <a:ext uri="{FF2B5EF4-FFF2-40B4-BE49-F238E27FC236}">
                      <a16:creationId xmlns:a16="http://schemas.microsoft.com/office/drawing/2014/main" id="{C0450629-9226-67D0-63BD-CC367AEF1956}"/>
                    </a:ext>
                  </a:extLst>
                </p:cNvPr>
                <p:cNvSpPr/>
                <p:nvPr/>
              </p:nvSpPr>
              <p:spPr>
                <a:xfrm>
                  <a:off x="6190910" y="1557372"/>
                  <a:ext cx="68765" cy="6505"/>
                </a:xfrm>
                <a:custGeom>
                  <a:avLst/>
                  <a:gdLst>
                    <a:gd name="connsiteX0" fmla="*/ 0 w 68765"/>
                    <a:gd name="connsiteY0" fmla="*/ 0 h 6505"/>
                    <a:gd name="connsiteX1" fmla="*/ 68765 w 68765"/>
                    <a:gd name="connsiteY1" fmla="*/ 0 h 650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68765" h="6505">
                      <a:moveTo>
                        <a:pt x="0" y="0"/>
                      </a:moveTo>
                      <a:lnTo>
                        <a:pt x="68765" y="0"/>
                      </a:lnTo>
                    </a:path>
                  </a:pathLst>
                </a:custGeom>
                <a:grpFill/>
                <a:ln w="19050" cap="sq">
                  <a:solidFill>
                    <a:srgbClr val="00FF94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54" name="Forma livre: Forma 153">
                  <a:extLst>
                    <a:ext uri="{FF2B5EF4-FFF2-40B4-BE49-F238E27FC236}">
                      <a16:creationId xmlns:a16="http://schemas.microsoft.com/office/drawing/2014/main" id="{47415DB0-2F70-B690-106D-BC327BB723BD}"/>
                    </a:ext>
                  </a:extLst>
                </p:cNvPr>
                <p:cNvSpPr/>
                <p:nvPr/>
              </p:nvSpPr>
              <p:spPr>
                <a:xfrm>
                  <a:off x="6259285" y="1529723"/>
                  <a:ext cx="55298" cy="55298"/>
                </a:xfrm>
                <a:custGeom>
                  <a:avLst/>
                  <a:gdLst>
                    <a:gd name="connsiteX0" fmla="*/ 55298 w 55298"/>
                    <a:gd name="connsiteY0" fmla="*/ 27649 h 55298"/>
                    <a:gd name="connsiteX1" fmla="*/ 27649 w 55298"/>
                    <a:gd name="connsiteY1" fmla="*/ 55298 h 55298"/>
                    <a:gd name="connsiteX2" fmla="*/ 0 w 55298"/>
                    <a:gd name="connsiteY2" fmla="*/ 27649 h 55298"/>
                    <a:gd name="connsiteX3" fmla="*/ 27649 w 55298"/>
                    <a:gd name="connsiteY3" fmla="*/ 0 h 55298"/>
                    <a:gd name="connsiteX4" fmla="*/ 55298 w 55298"/>
                    <a:gd name="connsiteY4" fmla="*/ 27649 h 552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5298" h="55298">
                      <a:moveTo>
                        <a:pt x="55298" y="27649"/>
                      </a:moveTo>
                      <a:cubicBezTo>
                        <a:pt x="55298" y="42938"/>
                        <a:pt x="42938" y="55298"/>
                        <a:pt x="27649" y="55298"/>
                      </a:cubicBezTo>
                      <a:cubicBezTo>
                        <a:pt x="12361" y="55298"/>
                        <a:pt x="0" y="42938"/>
                        <a:pt x="0" y="27649"/>
                      </a:cubicBezTo>
                      <a:cubicBezTo>
                        <a:pt x="0" y="12361"/>
                        <a:pt x="12361" y="0"/>
                        <a:pt x="27649" y="0"/>
                      </a:cubicBezTo>
                      <a:cubicBezTo>
                        <a:pt x="42938" y="0"/>
                        <a:pt x="55298" y="12361"/>
                        <a:pt x="55298" y="27649"/>
                      </a:cubicBezTo>
                      <a:close/>
                    </a:path>
                  </a:pathLst>
                </a:custGeom>
                <a:grpFill/>
                <a:ln w="19050" cap="sq">
                  <a:solidFill>
                    <a:srgbClr val="00FF94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152" name="Forma livre: Forma 151">
                <a:extLst>
                  <a:ext uri="{FF2B5EF4-FFF2-40B4-BE49-F238E27FC236}">
                    <a16:creationId xmlns:a16="http://schemas.microsoft.com/office/drawing/2014/main" id="{2078F257-FEF0-58B2-80CA-E14BF207BD44}"/>
                  </a:ext>
                </a:extLst>
              </p:cNvPr>
              <p:cNvSpPr/>
              <p:nvPr/>
            </p:nvSpPr>
            <p:spPr>
              <a:xfrm>
                <a:off x="6152201" y="1686285"/>
                <a:ext cx="37362" cy="20848"/>
              </a:xfrm>
              <a:custGeom>
                <a:avLst/>
                <a:gdLst>
                  <a:gd name="connsiteX0" fmla="*/ 0 w 37362"/>
                  <a:gd name="connsiteY0" fmla="*/ 10505 h 20848"/>
                  <a:gd name="connsiteX1" fmla="*/ 27064 w 37362"/>
                  <a:gd name="connsiteY1" fmla="*/ 2373 h 20848"/>
                  <a:gd name="connsiteX2" fmla="*/ 37343 w 37362"/>
                  <a:gd name="connsiteY2" fmla="*/ 20849 h 208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7362" h="20848">
                    <a:moveTo>
                      <a:pt x="0" y="10505"/>
                    </a:moveTo>
                    <a:cubicBezTo>
                      <a:pt x="5205" y="811"/>
                      <a:pt x="17435" y="-2832"/>
                      <a:pt x="27064" y="2373"/>
                    </a:cubicBezTo>
                    <a:cubicBezTo>
                      <a:pt x="34025" y="6081"/>
                      <a:pt x="37668" y="13432"/>
                      <a:pt x="37343" y="20849"/>
                    </a:cubicBezTo>
                  </a:path>
                </a:pathLst>
              </a:custGeom>
              <a:grp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sp>
        <p:nvSpPr>
          <p:cNvPr id="8" name="Marcador de pie de página 7">
            <a:extLst>
              <a:ext uri="{FF2B5EF4-FFF2-40B4-BE49-F238E27FC236}">
                <a16:creationId xmlns:a16="http://schemas.microsoft.com/office/drawing/2014/main" id="{3EC8F925-D582-42C0-BD9F-C99C04AFD0A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pt-PT"/>
              <a:t>Título de la presentación</a:t>
            </a:r>
            <a:endParaRPr lang="pt-PT" dirty="0"/>
          </a:p>
        </p:txBody>
      </p:sp>
      <p:sp>
        <p:nvSpPr>
          <p:cNvPr id="9" name="Marcador de número de diapositiva 8">
            <a:extLst>
              <a:ext uri="{FF2B5EF4-FFF2-40B4-BE49-F238E27FC236}">
                <a16:creationId xmlns:a16="http://schemas.microsoft.com/office/drawing/2014/main" id="{FAC0C394-CA52-4CE8-A3BF-B3CD14B3B19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4A347C2-D68E-473A-8C76-1D063E4EB6E0}" type="slidenum">
              <a:rPr lang="es-ES" smtClean="0"/>
              <a:pPr/>
              <a:t>23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2104372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5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42" presetClass="path" presetSubtype="0" decel="100000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animMotion origin="layout" path="M -0.01719 -0.00023 L 2.08333E-6 3.33333E-6 " pathEditMode="relative" rAng="0" ptsTypes="AA">
                                      <p:cBhvr>
                                        <p:cTn id="9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859" y="0"/>
                                    </p:animMotion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25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42" presetClass="path" presetSubtype="0" decel="100000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animMotion origin="layout" path="M -0.01719 -0.00023 L -1.25E-6 1.85185E-6 " pathEditMode="relative" rAng="0" ptsTypes="AA">
                                      <p:cBhvr>
                                        <p:cTn id="14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859" y="0"/>
                                    </p:animMotion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25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42" presetClass="path" presetSubtype="0" decel="100000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animMotion origin="layout" path="M -0.01719 -0.00023 L -1.25E-6 1.85185E-6 " pathEditMode="relative" rAng="0" ptsTypes="AA">
                                      <p:cBhvr>
                                        <p:cTn id="19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859" y="0"/>
                                    </p:animMotion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25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42" presetClass="path" presetSubtype="0" decel="100000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animMotion origin="layout" path="M -0.01719 -0.00023 L -1.25E-6 1.85185E-6 " pathEditMode="relative" rAng="0" ptsTypes="AA">
                                      <p:cBhvr>
                                        <p:cTn id="24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859" y="0"/>
                                    </p:animMotion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25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42" presetClass="path" presetSubtype="0" decel="100000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animMotion origin="layout" path="M -0.01719 -0.00023 L -1.25E-6 1.85185E-6 " pathEditMode="relative" rAng="0" ptsTypes="AA">
                                      <p:cBhvr>
                                        <p:cTn id="29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859" y="0"/>
                                    </p:animMotion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25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42" presetClass="path" presetSubtype="0" decel="100000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animMotion origin="layout" path="M -0.01719 -0.00023 L -1.25E-6 1.85185E-6 " pathEditMode="relative" rAng="0" ptsTypes="AA">
                                      <p:cBhvr>
                                        <p:cTn id="34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859" y="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ítulo 15">
            <a:extLst>
              <a:ext uri="{FF2B5EF4-FFF2-40B4-BE49-F238E27FC236}">
                <a16:creationId xmlns:a16="http://schemas.microsoft.com/office/drawing/2014/main" id="{51498A11-5CCF-DB53-0F76-3EBB3EF5417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3184" y="550508"/>
            <a:ext cx="11096625" cy="712204"/>
          </a:xfrm>
        </p:spPr>
        <p:txBody>
          <a:bodyPr/>
          <a:lstStyle/>
          <a:p>
            <a:r>
              <a:rPr lang="pt-PT" dirty="0"/>
              <a:t>Ejemplo de título de slide</a:t>
            </a:r>
          </a:p>
        </p:txBody>
      </p:sp>
      <p:sp>
        <p:nvSpPr>
          <p:cNvPr id="17" name="Marcador de Posição do Texto 16">
            <a:extLst>
              <a:ext uri="{FF2B5EF4-FFF2-40B4-BE49-F238E27FC236}">
                <a16:creationId xmlns:a16="http://schemas.microsoft.com/office/drawing/2014/main" id="{6D7EB3A7-C31F-FAE7-FF7B-16CB31F1F4A2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512763" y="1156317"/>
            <a:ext cx="11097463" cy="355243"/>
          </a:xfrm>
        </p:spPr>
        <p:txBody>
          <a:bodyPr>
            <a:normAutofit/>
          </a:bodyPr>
          <a:lstStyle/>
          <a:p>
            <a:r>
              <a:rPr lang="pt-PT" dirty="0"/>
              <a:t>Ejemplo de subtítulo</a:t>
            </a:r>
          </a:p>
        </p:txBody>
      </p:sp>
      <p:sp>
        <p:nvSpPr>
          <p:cNvPr id="18" name="Marcador de Posição do Texto 17">
            <a:extLst>
              <a:ext uri="{FF2B5EF4-FFF2-40B4-BE49-F238E27FC236}">
                <a16:creationId xmlns:a16="http://schemas.microsoft.com/office/drawing/2014/main" id="{C45B1C17-7EC3-F8E8-A23A-B37ECDA2CDE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Lorem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ipsum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dolor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sit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amet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,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consectetuer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adipiscing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elit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.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Maecenas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porttitor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congue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massa. </a:t>
            </a:r>
            <a:r>
              <a:rPr lang="pt-PT" dirty="0" err="1"/>
              <a:t>Fusce</a:t>
            </a:r>
            <a:r>
              <a:rPr lang="pt-PT" dirty="0"/>
              <a:t> </a:t>
            </a:r>
            <a:r>
              <a:rPr lang="pt-PT" dirty="0" err="1"/>
              <a:t>posuere</a:t>
            </a:r>
            <a:r>
              <a:rPr lang="pt-PT" dirty="0"/>
              <a:t>, magna </a:t>
            </a:r>
            <a:r>
              <a:rPr lang="pt-PT" dirty="0" err="1"/>
              <a:t>sed</a:t>
            </a:r>
            <a:r>
              <a:rPr lang="pt-PT" dirty="0"/>
              <a:t> pulvinar </a:t>
            </a:r>
            <a:r>
              <a:rPr lang="pt-PT" dirty="0" err="1"/>
              <a:t>ultricies</a:t>
            </a:r>
            <a:r>
              <a:rPr lang="pt-PT" dirty="0"/>
              <a:t>, purus </a:t>
            </a:r>
            <a:r>
              <a:rPr lang="pt-PT" dirty="0" err="1"/>
              <a:t>lectus</a:t>
            </a:r>
            <a:r>
              <a:rPr lang="pt-PT" dirty="0"/>
              <a:t> </a:t>
            </a:r>
            <a:r>
              <a:rPr lang="pt-PT" dirty="0" err="1"/>
              <a:t>malesuada</a:t>
            </a:r>
            <a:r>
              <a:rPr lang="pt-PT" dirty="0"/>
              <a:t> libero,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r>
              <a:rPr lang="pt-PT" dirty="0"/>
              <a:t> </a:t>
            </a:r>
            <a:r>
              <a:rPr lang="pt-PT" dirty="0" err="1"/>
              <a:t>commodo</a:t>
            </a:r>
            <a:r>
              <a:rPr lang="pt-PT" dirty="0"/>
              <a:t> magna eros quis urna.</a:t>
            </a:r>
          </a:p>
        </p:txBody>
      </p:sp>
      <p:sp>
        <p:nvSpPr>
          <p:cNvPr id="20" name="Marcador de Posição do Texto 19">
            <a:extLst>
              <a:ext uri="{FF2B5EF4-FFF2-40B4-BE49-F238E27FC236}">
                <a16:creationId xmlns:a16="http://schemas.microsoft.com/office/drawing/2014/main" id="{589A0E15-0EE2-C658-2433-BE46E248A73E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pt-PT" dirty="0"/>
              <a:t>Texto de destaque</a:t>
            </a:r>
          </a:p>
        </p:txBody>
      </p:sp>
      <p:sp>
        <p:nvSpPr>
          <p:cNvPr id="21" name="Marcador de Posição do Texto 20">
            <a:extLst>
              <a:ext uri="{FF2B5EF4-FFF2-40B4-BE49-F238E27FC236}">
                <a16:creationId xmlns:a16="http://schemas.microsoft.com/office/drawing/2014/main" id="{5475BD8E-FA82-833A-6ED4-EAF7EBC58842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Lorem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ipsum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dolor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sit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amet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,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consectetuer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adipiscing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elit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.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Maecenas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porttitor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congue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massa. </a:t>
            </a:r>
            <a:r>
              <a:rPr lang="pt-PT" dirty="0" err="1"/>
              <a:t>Fusce</a:t>
            </a:r>
            <a:r>
              <a:rPr lang="pt-PT" dirty="0"/>
              <a:t> </a:t>
            </a:r>
            <a:r>
              <a:rPr lang="pt-PT" dirty="0" err="1"/>
              <a:t>posuere</a:t>
            </a:r>
            <a:r>
              <a:rPr lang="pt-PT" dirty="0"/>
              <a:t>, magna </a:t>
            </a:r>
            <a:r>
              <a:rPr lang="pt-PT" dirty="0" err="1"/>
              <a:t>sed</a:t>
            </a:r>
            <a:r>
              <a:rPr lang="pt-PT" dirty="0"/>
              <a:t> pulvinar </a:t>
            </a:r>
            <a:r>
              <a:rPr lang="pt-PT" dirty="0" err="1"/>
              <a:t>ultricies</a:t>
            </a:r>
            <a:r>
              <a:rPr lang="pt-PT" dirty="0"/>
              <a:t>, purus </a:t>
            </a:r>
            <a:r>
              <a:rPr lang="pt-PT" dirty="0" err="1"/>
              <a:t>lectus</a:t>
            </a:r>
            <a:r>
              <a:rPr lang="pt-PT" dirty="0"/>
              <a:t> </a:t>
            </a:r>
            <a:r>
              <a:rPr lang="pt-PT" dirty="0" err="1"/>
              <a:t>malesuada</a:t>
            </a:r>
            <a:r>
              <a:rPr lang="pt-PT" dirty="0"/>
              <a:t> libero,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r>
              <a:rPr lang="pt-PT" dirty="0"/>
              <a:t> </a:t>
            </a:r>
            <a:r>
              <a:rPr lang="pt-PT" dirty="0" err="1"/>
              <a:t>commodo</a:t>
            </a:r>
            <a:r>
              <a:rPr lang="pt-PT" dirty="0"/>
              <a:t> magna eros quis urna.</a:t>
            </a:r>
          </a:p>
        </p:txBody>
      </p:sp>
      <p:sp>
        <p:nvSpPr>
          <p:cNvPr id="22" name="Marcador de Posição do Texto 21">
            <a:extLst>
              <a:ext uri="{FF2B5EF4-FFF2-40B4-BE49-F238E27FC236}">
                <a16:creationId xmlns:a16="http://schemas.microsoft.com/office/drawing/2014/main" id="{E2059027-B791-916A-4F0D-A987212B5EB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pt-PT" dirty="0"/>
              <a:t>Texto de destaque</a:t>
            </a:r>
          </a:p>
        </p:txBody>
      </p:sp>
      <p:graphicFrame>
        <p:nvGraphicFramePr>
          <p:cNvPr id="66" name="Marcador de Posição do Gráfico 65">
            <a:extLst>
              <a:ext uri="{FF2B5EF4-FFF2-40B4-BE49-F238E27FC236}">
                <a16:creationId xmlns:a16="http://schemas.microsoft.com/office/drawing/2014/main" id="{5E5008A6-66C5-B25A-D0DD-7E32882D789B}"/>
              </a:ext>
            </a:extLst>
          </p:cNvPr>
          <p:cNvGraphicFramePr>
            <a:graphicFrameLocks noGrp="1"/>
          </p:cNvGraphicFramePr>
          <p:nvPr>
            <p:ph type="chart" sz="quarter" idx="12"/>
            <p:extLst>
              <p:ext uri="{D42A27DB-BD31-4B8C-83A1-F6EECF244321}">
                <p14:modId xmlns:p14="http://schemas.microsoft.com/office/powerpoint/2010/main" val="2172377290"/>
              </p:ext>
            </p:extLst>
          </p:nvPr>
        </p:nvGraphicFramePr>
        <p:xfrm>
          <a:off x="696913" y="1741488"/>
          <a:ext cx="5149850" cy="26781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pSp>
        <p:nvGrpSpPr>
          <p:cNvPr id="24" name="Agrupar 23">
            <a:extLst>
              <a:ext uri="{FF2B5EF4-FFF2-40B4-BE49-F238E27FC236}">
                <a16:creationId xmlns:a16="http://schemas.microsoft.com/office/drawing/2014/main" id="{0D7331F0-400E-5468-DF82-970C04C1826F}"/>
              </a:ext>
            </a:extLst>
          </p:cNvPr>
          <p:cNvGrpSpPr/>
          <p:nvPr/>
        </p:nvGrpSpPr>
        <p:grpSpPr>
          <a:xfrm>
            <a:off x="6518620" y="4783610"/>
            <a:ext cx="474232" cy="397990"/>
            <a:chOff x="7527643" y="2537276"/>
            <a:chExt cx="474083" cy="397866"/>
          </a:xfrm>
        </p:grpSpPr>
        <p:grpSp>
          <p:nvGrpSpPr>
            <p:cNvPr id="25" name="Gráfico 215">
              <a:extLst>
                <a:ext uri="{FF2B5EF4-FFF2-40B4-BE49-F238E27FC236}">
                  <a16:creationId xmlns:a16="http://schemas.microsoft.com/office/drawing/2014/main" id="{17FBAAA9-A592-0BFE-B98E-D026941209E6}"/>
                </a:ext>
              </a:extLst>
            </p:cNvPr>
            <p:cNvGrpSpPr/>
            <p:nvPr/>
          </p:nvGrpSpPr>
          <p:grpSpPr>
            <a:xfrm>
              <a:off x="7572418" y="2635250"/>
              <a:ext cx="384534" cy="261020"/>
              <a:chOff x="3947140" y="1487919"/>
              <a:chExt cx="552164" cy="374808"/>
            </a:xfrm>
            <a:noFill/>
          </p:grpSpPr>
          <p:sp>
            <p:nvSpPr>
              <p:cNvPr id="42" name="Forma livre: Forma 41">
                <a:extLst>
                  <a:ext uri="{FF2B5EF4-FFF2-40B4-BE49-F238E27FC236}">
                    <a16:creationId xmlns:a16="http://schemas.microsoft.com/office/drawing/2014/main" id="{46A0C53E-918C-E6A2-A5F0-83B17D5B1067}"/>
                  </a:ext>
                </a:extLst>
              </p:cNvPr>
              <p:cNvSpPr/>
              <p:nvPr/>
            </p:nvSpPr>
            <p:spPr>
              <a:xfrm>
                <a:off x="4333093" y="1487919"/>
                <a:ext cx="166211" cy="374808"/>
              </a:xfrm>
              <a:custGeom>
                <a:avLst/>
                <a:gdLst>
                  <a:gd name="connsiteX0" fmla="*/ 0 w 166211"/>
                  <a:gd name="connsiteY0" fmla="*/ 0 h 374808"/>
                  <a:gd name="connsiteX1" fmla="*/ 125921 w 166211"/>
                  <a:gd name="connsiteY1" fmla="*/ 0 h 374808"/>
                  <a:gd name="connsiteX2" fmla="*/ 166211 w 166211"/>
                  <a:gd name="connsiteY2" fmla="*/ 40291 h 374808"/>
                  <a:gd name="connsiteX3" fmla="*/ 166211 w 166211"/>
                  <a:gd name="connsiteY3" fmla="*/ 374809 h 3748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66211" h="374808">
                    <a:moveTo>
                      <a:pt x="0" y="0"/>
                    </a:moveTo>
                    <a:lnTo>
                      <a:pt x="125921" y="0"/>
                    </a:lnTo>
                    <a:cubicBezTo>
                      <a:pt x="148114" y="0"/>
                      <a:pt x="166211" y="18097"/>
                      <a:pt x="166211" y="40291"/>
                    </a:cubicBezTo>
                    <a:lnTo>
                      <a:pt x="166211" y="374809"/>
                    </a:lnTo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3" name="Forma livre: Forma 42">
                <a:extLst>
                  <a:ext uri="{FF2B5EF4-FFF2-40B4-BE49-F238E27FC236}">
                    <a16:creationId xmlns:a16="http://schemas.microsoft.com/office/drawing/2014/main" id="{5615B68E-2D36-1150-D9F6-7B439C1E5474}"/>
                  </a:ext>
                </a:extLst>
              </p:cNvPr>
              <p:cNvSpPr/>
              <p:nvPr/>
            </p:nvSpPr>
            <p:spPr>
              <a:xfrm>
                <a:off x="3947140" y="1487919"/>
                <a:ext cx="166020" cy="331851"/>
              </a:xfrm>
              <a:custGeom>
                <a:avLst/>
                <a:gdLst>
                  <a:gd name="connsiteX0" fmla="*/ 0 w 166020"/>
                  <a:gd name="connsiteY0" fmla="*/ 331851 h 331851"/>
                  <a:gd name="connsiteX1" fmla="*/ 0 w 166020"/>
                  <a:gd name="connsiteY1" fmla="*/ 40291 h 331851"/>
                  <a:gd name="connsiteX2" fmla="*/ 40291 w 166020"/>
                  <a:gd name="connsiteY2" fmla="*/ 0 h 331851"/>
                  <a:gd name="connsiteX3" fmla="*/ 166021 w 166020"/>
                  <a:gd name="connsiteY3" fmla="*/ 0 h 3318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66020" h="331851">
                    <a:moveTo>
                      <a:pt x="0" y="331851"/>
                    </a:moveTo>
                    <a:lnTo>
                      <a:pt x="0" y="40291"/>
                    </a:lnTo>
                    <a:cubicBezTo>
                      <a:pt x="0" y="18097"/>
                      <a:pt x="18097" y="0"/>
                      <a:pt x="40291" y="0"/>
                    </a:cubicBezTo>
                    <a:lnTo>
                      <a:pt x="166021" y="0"/>
                    </a:lnTo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26" name="Forma livre: Forma 25">
              <a:extLst>
                <a:ext uri="{FF2B5EF4-FFF2-40B4-BE49-F238E27FC236}">
                  <a16:creationId xmlns:a16="http://schemas.microsoft.com/office/drawing/2014/main" id="{FBEEED88-5E9F-0BE9-953D-8CDBAA3709AC}"/>
                </a:ext>
              </a:extLst>
            </p:cNvPr>
            <p:cNvSpPr/>
            <p:nvPr/>
          </p:nvSpPr>
          <p:spPr>
            <a:xfrm>
              <a:off x="7527643" y="2897332"/>
              <a:ext cx="474083" cy="37810"/>
            </a:xfrm>
            <a:custGeom>
              <a:avLst/>
              <a:gdLst>
                <a:gd name="connsiteX0" fmla="*/ 0 w 680751"/>
                <a:gd name="connsiteY0" fmla="*/ 0 h 54292"/>
                <a:gd name="connsiteX1" fmla="*/ 48863 w 680751"/>
                <a:gd name="connsiteY1" fmla="*/ 54293 h 54292"/>
                <a:gd name="connsiteX2" fmla="*/ 631888 w 680751"/>
                <a:gd name="connsiteY2" fmla="*/ 54293 h 54292"/>
                <a:gd name="connsiteX3" fmla="*/ 680752 w 680751"/>
                <a:gd name="connsiteY3" fmla="*/ 0 h 54292"/>
                <a:gd name="connsiteX4" fmla="*/ 0 w 680751"/>
                <a:gd name="connsiteY4" fmla="*/ 0 h 542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80751" h="54292">
                  <a:moveTo>
                    <a:pt x="0" y="0"/>
                  </a:moveTo>
                  <a:cubicBezTo>
                    <a:pt x="0" y="0"/>
                    <a:pt x="9906" y="54293"/>
                    <a:pt x="48863" y="54293"/>
                  </a:cubicBezTo>
                  <a:lnTo>
                    <a:pt x="631888" y="54293"/>
                  </a:lnTo>
                  <a:cubicBezTo>
                    <a:pt x="670941" y="54293"/>
                    <a:pt x="680752" y="0"/>
                    <a:pt x="680752" y="0"/>
                  </a:cubicBezTo>
                  <a:lnTo>
                    <a:pt x="0" y="0"/>
                  </a:lnTo>
                  <a:close/>
                </a:path>
              </a:pathLst>
            </a:custGeom>
            <a:noFill/>
            <a:ln w="19050" cap="sq">
              <a:solidFill>
                <a:srgbClr val="00FF94"/>
              </a:solidFill>
              <a:prstDash val="solid"/>
              <a:miter lim="800000"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27" name="Gráfico 215">
              <a:extLst>
                <a:ext uri="{FF2B5EF4-FFF2-40B4-BE49-F238E27FC236}">
                  <a16:creationId xmlns:a16="http://schemas.microsoft.com/office/drawing/2014/main" id="{097CE305-2236-CAF9-0D50-5D06F12EF7F0}"/>
                </a:ext>
              </a:extLst>
            </p:cNvPr>
            <p:cNvGrpSpPr/>
            <p:nvPr/>
          </p:nvGrpSpPr>
          <p:grpSpPr>
            <a:xfrm>
              <a:off x="7661835" y="2537276"/>
              <a:ext cx="205699" cy="245499"/>
              <a:chOff x="4075536" y="1347235"/>
              <a:chExt cx="295370" cy="352520"/>
            </a:xfrm>
            <a:noFill/>
          </p:grpSpPr>
          <p:sp>
            <p:nvSpPr>
              <p:cNvPr id="37" name="Forma livre: Forma 36">
                <a:extLst>
                  <a:ext uri="{FF2B5EF4-FFF2-40B4-BE49-F238E27FC236}">
                    <a16:creationId xmlns:a16="http://schemas.microsoft.com/office/drawing/2014/main" id="{FA311FC0-CF6A-FDBA-4A7A-6D41E12BD0E1}"/>
                  </a:ext>
                </a:extLst>
              </p:cNvPr>
              <p:cNvSpPr/>
              <p:nvPr/>
            </p:nvSpPr>
            <p:spPr>
              <a:xfrm>
                <a:off x="4156880" y="1347235"/>
                <a:ext cx="132778" cy="352520"/>
              </a:xfrm>
              <a:custGeom>
                <a:avLst/>
                <a:gdLst>
                  <a:gd name="connsiteX0" fmla="*/ 66389 w 132778"/>
                  <a:gd name="connsiteY0" fmla="*/ 0 h 352520"/>
                  <a:gd name="connsiteX1" fmla="*/ 0 w 132778"/>
                  <a:gd name="connsiteY1" fmla="*/ 99536 h 352520"/>
                  <a:gd name="connsiteX2" fmla="*/ 0 w 132778"/>
                  <a:gd name="connsiteY2" fmla="*/ 352520 h 352520"/>
                  <a:gd name="connsiteX3" fmla="*/ 132778 w 132778"/>
                  <a:gd name="connsiteY3" fmla="*/ 352520 h 352520"/>
                  <a:gd name="connsiteX4" fmla="*/ 132778 w 132778"/>
                  <a:gd name="connsiteY4" fmla="*/ 99536 h 352520"/>
                  <a:gd name="connsiteX5" fmla="*/ 66389 w 132778"/>
                  <a:gd name="connsiteY5" fmla="*/ 0 h 3525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32778" h="352520">
                    <a:moveTo>
                      <a:pt x="66389" y="0"/>
                    </a:moveTo>
                    <a:cubicBezTo>
                      <a:pt x="66389" y="0"/>
                      <a:pt x="0" y="70009"/>
                      <a:pt x="0" y="99536"/>
                    </a:cubicBezTo>
                    <a:lnTo>
                      <a:pt x="0" y="352520"/>
                    </a:lnTo>
                    <a:lnTo>
                      <a:pt x="132778" y="352520"/>
                    </a:lnTo>
                    <a:lnTo>
                      <a:pt x="132778" y="99536"/>
                    </a:lnTo>
                    <a:cubicBezTo>
                      <a:pt x="132778" y="69914"/>
                      <a:pt x="66389" y="0"/>
                      <a:pt x="66389" y="0"/>
                    </a:cubicBezTo>
                    <a:close/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38" name="Gráfico 215">
                <a:extLst>
                  <a:ext uri="{FF2B5EF4-FFF2-40B4-BE49-F238E27FC236}">
                    <a16:creationId xmlns:a16="http://schemas.microsoft.com/office/drawing/2014/main" id="{5482C5A4-C7D2-A51B-E4CD-5B2463CD908C}"/>
                  </a:ext>
                </a:extLst>
              </p:cNvPr>
              <p:cNvGrpSpPr/>
              <p:nvPr/>
            </p:nvGrpSpPr>
            <p:grpSpPr>
              <a:xfrm>
                <a:off x="4075536" y="1507636"/>
                <a:ext cx="295370" cy="174783"/>
                <a:chOff x="4075536" y="1507636"/>
                <a:chExt cx="295370" cy="174783"/>
              </a:xfrm>
              <a:noFill/>
            </p:grpSpPr>
            <p:sp>
              <p:nvSpPr>
                <p:cNvPr id="40" name="Forma livre: Forma 39">
                  <a:extLst>
                    <a:ext uri="{FF2B5EF4-FFF2-40B4-BE49-F238E27FC236}">
                      <a16:creationId xmlns:a16="http://schemas.microsoft.com/office/drawing/2014/main" id="{934D69E2-9473-8A4C-BC0A-83AB1B98A5A6}"/>
                    </a:ext>
                  </a:extLst>
                </p:cNvPr>
                <p:cNvSpPr/>
                <p:nvPr/>
              </p:nvSpPr>
              <p:spPr>
                <a:xfrm>
                  <a:off x="4075536" y="1507636"/>
                  <a:ext cx="81248" cy="174783"/>
                </a:xfrm>
                <a:custGeom>
                  <a:avLst/>
                  <a:gdLst>
                    <a:gd name="connsiteX0" fmla="*/ 81248 w 81248"/>
                    <a:gd name="connsiteY0" fmla="*/ 0 h 174783"/>
                    <a:gd name="connsiteX1" fmla="*/ 24860 w 81248"/>
                    <a:gd name="connsiteY1" fmla="*/ 83630 h 174783"/>
                    <a:gd name="connsiteX2" fmla="*/ 4858 w 81248"/>
                    <a:gd name="connsiteY2" fmla="*/ 103823 h 174783"/>
                    <a:gd name="connsiteX3" fmla="*/ 0 w 81248"/>
                    <a:gd name="connsiteY3" fmla="*/ 130302 h 174783"/>
                    <a:gd name="connsiteX4" fmla="*/ 0 w 81248"/>
                    <a:gd name="connsiteY4" fmla="*/ 174784 h 174783"/>
                    <a:gd name="connsiteX5" fmla="*/ 76581 w 81248"/>
                    <a:gd name="connsiteY5" fmla="*/ 174784 h 17478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81248" h="174783">
                      <a:moveTo>
                        <a:pt x="81248" y="0"/>
                      </a:moveTo>
                      <a:cubicBezTo>
                        <a:pt x="81248" y="18002"/>
                        <a:pt x="62865" y="53054"/>
                        <a:pt x="24860" y="83630"/>
                      </a:cubicBezTo>
                      <a:cubicBezTo>
                        <a:pt x="17431" y="89630"/>
                        <a:pt x="9716" y="95917"/>
                        <a:pt x="4858" y="103823"/>
                      </a:cubicBezTo>
                      <a:cubicBezTo>
                        <a:pt x="381" y="111252"/>
                        <a:pt x="0" y="121444"/>
                        <a:pt x="0" y="130302"/>
                      </a:cubicBezTo>
                      <a:lnTo>
                        <a:pt x="0" y="174784"/>
                      </a:lnTo>
                      <a:lnTo>
                        <a:pt x="76581" y="174784"/>
                      </a:lnTo>
                    </a:path>
                  </a:pathLst>
                </a:custGeom>
                <a:noFill/>
                <a:ln w="19050" cap="sq">
                  <a:solidFill>
                    <a:srgbClr val="00FF94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41" name="Forma livre: Forma 40">
                  <a:extLst>
                    <a:ext uri="{FF2B5EF4-FFF2-40B4-BE49-F238E27FC236}">
                      <a16:creationId xmlns:a16="http://schemas.microsoft.com/office/drawing/2014/main" id="{AEE87CBB-DEFC-73FC-D2CB-4F5FA47D46A4}"/>
                    </a:ext>
                  </a:extLst>
                </p:cNvPr>
                <p:cNvSpPr/>
                <p:nvPr/>
              </p:nvSpPr>
              <p:spPr>
                <a:xfrm>
                  <a:off x="4289658" y="1507636"/>
                  <a:ext cx="81248" cy="174783"/>
                </a:xfrm>
                <a:custGeom>
                  <a:avLst/>
                  <a:gdLst>
                    <a:gd name="connsiteX0" fmla="*/ 0 w 81248"/>
                    <a:gd name="connsiteY0" fmla="*/ 0 h 174783"/>
                    <a:gd name="connsiteX1" fmla="*/ 56388 w 81248"/>
                    <a:gd name="connsiteY1" fmla="*/ 83630 h 174783"/>
                    <a:gd name="connsiteX2" fmla="*/ 76391 w 81248"/>
                    <a:gd name="connsiteY2" fmla="*/ 103823 h 174783"/>
                    <a:gd name="connsiteX3" fmla="*/ 81248 w 81248"/>
                    <a:gd name="connsiteY3" fmla="*/ 130302 h 174783"/>
                    <a:gd name="connsiteX4" fmla="*/ 81248 w 81248"/>
                    <a:gd name="connsiteY4" fmla="*/ 174784 h 174783"/>
                    <a:gd name="connsiteX5" fmla="*/ 4667 w 81248"/>
                    <a:gd name="connsiteY5" fmla="*/ 174784 h 17478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81248" h="174783">
                      <a:moveTo>
                        <a:pt x="0" y="0"/>
                      </a:moveTo>
                      <a:cubicBezTo>
                        <a:pt x="0" y="18002"/>
                        <a:pt x="18383" y="53054"/>
                        <a:pt x="56388" y="83630"/>
                      </a:cubicBezTo>
                      <a:cubicBezTo>
                        <a:pt x="63818" y="89630"/>
                        <a:pt x="71533" y="95917"/>
                        <a:pt x="76391" y="103823"/>
                      </a:cubicBezTo>
                      <a:cubicBezTo>
                        <a:pt x="80867" y="111252"/>
                        <a:pt x="81248" y="121444"/>
                        <a:pt x="81248" y="130302"/>
                      </a:cubicBezTo>
                      <a:lnTo>
                        <a:pt x="81248" y="174784"/>
                      </a:lnTo>
                      <a:lnTo>
                        <a:pt x="4667" y="174784"/>
                      </a:lnTo>
                    </a:path>
                  </a:pathLst>
                </a:custGeom>
                <a:noFill/>
                <a:ln w="19050" cap="sq">
                  <a:solidFill>
                    <a:srgbClr val="00FF94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39" name="Forma livre: Forma 38">
                <a:extLst>
                  <a:ext uri="{FF2B5EF4-FFF2-40B4-BE49-F238E27FC236}">
                    <a16:creationId xmlns:a16="http://schemas.microsoft.com/office/drawing/2014/main" id="{7CC5B217-0D61-6498-96A3-99FF52477715}"/>
                  </a:ext>
                </a:extLst>
              </p:cNvPr>
              <p:cNvSpPr/>
              <p:nvPr/>
            </p:nvSpPr>
            <p:spPr>
              <a:xfrm>
                <a:off x="4198980" y="1457820"/>
                <a:ext cx="48577" cy="11239"/>
              </a:xfrm>
              <a:custGeom>
                <a:avLst/>
                <a:gdLst>
                  <a:gd name="connsiteX0" fmla="*/ 48578 w 48577"/>
                  <a:gd name="connsiteY0" fmla="*/ 11240 h 11239"/>
                  <a:gd name="connsiteX1" fmla="*/ 24289 w 48577"/>
                  <a:gd name="connsiteY1" fmla="*/ 0 h 11239"/>
                  <a:gd name="connsiteX2" fmla="*/ 0 w 48577"/>
                  <a:gd name="connsiteY2" fmla="*/ 11240 h 112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48577" h="11239">
                    <a:moveTo>
                      <a:pt x="48578" y="11240"/>
                    </a:moveTo>
                    <a:cubicBezTo>
                      <a:pt x="44577" y="4667"/>
                      <a:pt x="35243" y="0"/>
                      <a:pt x="24289" y="0"/>
                    </a:cubicBezTo>
                    <a:cubicBezTo>
                      <a:pt x="13335" y="0"/>
                      <a:pt x="4001" y="4667"/>
                      <a:pt x="0" y="11240"/>
                    </a:cubicBezTo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28" name="Gráfico 215">
              <a:extLst>
                <a:ext uri="{FF2B5EF4-FFF2-40B4-BE49-F238E27FC236}">
                  <a16:creationId xmlns:a16="http://schemas.microsoft.com/office/drawing/2014/main" id="{AF2BA122-413F-C78C-A86F-7DB88603F920}"/>
                </a:ext>
              </a:extLst>
            </p:cNvPr>
            <p:cNvGrpSpPr/>
            <p:nvPr/>
          </p:nvGrpSpPr>
          <p:grpSpPr>
            <a:xfrm>
              <a:off x="7617192" y="2785627"/>
              <a:ext cx="294983" cy="73961"/>
              <a:chOff x="4011433" y="1703851"/>
              <a:chExt cx="423576" cy="106203"/>
            </a:xfrm>
            <a:noFill/>
          </p:grpSpPr>
          <p:grpSp>
            <p:nvGrpSpPr>
              <p:cNvPr id="29" name="Gráfico 215">
                <a:extLst>
                  <a:ext uri="{FF2B5EF4-FFF2-40B4-BE49-F238E27FC236}">
                    <a16:creationId xmlns:a16="http://schemas.microsoft.com/office/drawing/2014/main" id="{36B4042C-0722-54E0-757D-2AF7B6D34B97}"/>
                  </a:ext>
                </a:extLst>
              </p:cNvPr>
              <p:cNvGrpSpPr/>
              <p:nvPr/>
            </p:nvGrpSpPr>
            <p:grpSpPr>
              <a:xfrm>
                <a:off x="4249939" y="1703851"/>
                <a:ext cx="185070" cy="106203"/>
                <a:chOff x="4249939" y="1703851"/>
                <a:chExt cx="185070" cy="106203"/>
              </a:xfrm>
              <a:noFill/>
            </p:grpSpPr>
            <p:sp>
              <p:nvSpPr>
                <p:cNvPr id="34" name="Forma livre: Forma 33">
                  <a:extLst>
                    <a:ext uri="{FF2B5EF4-FFF2-40B4-BE49-F238E27FC236}">
                      <a16:creationId xmlns:a16="http://schemas.microsoft.com/office/drawing/2014/main" id="{2E102197-EA40-D36D-A20B-0C29E9CE7545}"/>
                    </a:ext>
                  </a:extLst>
                </p:cNvPr>
                <p:cNvSpPr/>
                <p:nvPr/>
              </p:nvSpPr>
              <p:spPr>
                <a:xfrm>
                  <a:off x="4249939" y="1703851"/>
                  <a:ext cx="42195" cy="106203"/>
                </a:xfrm>
                <a:custGeom>
                  <a:avLst/>
                  <a:gdLst>
                    <a:gd name="connsiteX0" fmla="*/ 0 w 42195"/>
                    <a:gd name="connsiteY0" fmla="*/ 0 h 106203"/>
                    <a:gd name="connsiteX1" fmla="*/ 42196 w 42195"/>
                    <a:gd name="connsiteY1" fmla="*/ 106204 h 1062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2195" h="106203">
                      <a:moveTo>
                        <a:pt x="0" y="0"/>
                      </a:moveTo>
                      <a:cubicBezTo>
                        <a:pt x="0" y="0"/>
                        <a:pt x="1715" y="89535"/>
                        <a:pt x="42196" y="106204"/>
                      </a:cubicBezTo>
                    </a:path>
                  </a:pathLst>
                </a:custGeom>
                <a:noFill/>
                <a:ln w="19050" cap="sq">
                  <a:solidFill>
                    <a:srgbClr val="00FF94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 dirty="0"/>
                </a:p>
              </p:txBody>
            </p:sp>
            <p:sp>
              <p:nvSpPr>
                <p:cNvPr id="35" name="Forma livre: Forma 34">
                  <a:extLst>
                    <a:ext uri="{FF2B5EF4-FFF2-40B4-BE49-F238E27FC236}">
                      <a16:creationId xmlns:a16="http://schemas.microsoft.com/office/drawing/2014/main" id="{57C8BE62-AD55-EA93-DD4D-F8170804F2DF}"/>
                    </a:ext>
                  </a:extLst>
                </p:cNvPr>
                <p:cNvSpPr/>
                <p:nvPr/>
              </p:nvSpPr>
              <p:spPr>
                <a:xfrm>
                  <a:off x="4335283" y="1736480"/>
                  <a:ext cx="99726" cy="48809"/>
                </a:xfrm>
                <a:custGeom>
                  <a:avLst/>
                  <a:gdLst>
                    <a:gd name="connsiteX0" fmla="*/ 99727 w 99726"/>
                    <a:gd name="connsiteY0" fmla="*/ 48810 h 48809"/>
                    <a:gd name="connsiteX1" fmla="*/ 83820 w 99726"/>
                    <a:gd name="connsiteY1" fmla="*/ 13948 h 48809"/>
                    <a:gd name="connsiteX2" fmla="*/ 46673 w 99726"/>
                    <a:gd name="connsiteY2" fmla="*/ 42 h 48809"/>
                    <a:gd name="connsiteX3" fmla="*/ 0 w 99726"/>
                    <a:gd name="connsiteY3" fmla="*/ 36427 h 4880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9726" h="48809">
                      <a:moveTo>
                        <a:pt x="99727" y="48810"/>
                      </a:moveTo>
                      <a:cubicBezTo>
                        <a:pt x="99155" y="34998"/>
                        <a:pt x="93154" y="22711"/>
                        <a:pt x="83820" y="13948"/>
                      </a:cubicBezTo>
                      <a:cubicBezTo>
                        <a:pt x="74200" y="4804"/>
                        <a:pt x="60960" y="-530"/>
                        <a:pt x="46673" y="42"/>
                      </a:cubicBezTo>
                      <a:cubicBezTo>
                        <a:pt x="24384" y="994"/>
                        <a:pt x="6001" y="16139"/>
                        <a:pt x="0" y="36427"/>
                      </a:cubicBezTo>
                    </a:path>
                  </a:pathLst>
                </a:custGeom>
                <a:noFill/>
                <a:ln w="19050" cap="sq">
                  <a:solidFill>
                    <a:srgbClr val="00FF94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36" name="Forma livre: Forma 35">
                  <a:extLst>
                    <a:ext uri="{FF2B5EF4-FFF2-40B4-BE49-F238E27FC236}">
                      <a16:creationId xmlns:a16="http://schemas.microsoft.com/office/drawing/2014/main" id="{70201699-44EE-ED3C-6140-F050E3BE5070}"/>
                    </a:ext>
                  </a:extLst>
                </p:cNvPr>
                <p:cNvSpPr/>
                <p:nvPr/>
              </p:nvSpPr>
              <p:spPr>
                <a:xfrm>
                  <a:off x="4290650" y="1770143"/>
                  <a:ext cx="60349" cy="39816"/>
                </a:xfrm>
                <a:custGeom>
                  <a:avLst/>
                  <a:gdLst>
                    <a:gd name="connsiteX0" fmla="*/ 60349 w 60349"/>
                    <a:gd name="connsiteY0" fmla="*/ 21814 h 39816"/>
                    <a:gd name="connsiteX1" fmla="*/ 45681 w 60349"/>
                    <a:gd name="connsiteY1" fmla="*/ 3812 h 39816"/>
                    <a:gd name="connsiteX2" fmla="*/ 21773 w 60349"/>
                    <a:gd name="connsiteY2" fmla="*/ 1336 h 39816"/>
                    <a:gd name="connsiteX3" fmla="*/ 1389 w 60349"/>
                    <a:gd name="connsiteY3" fmla="*/ 39817 h 3981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60349" h="39816">
                      <a:moveTo>
                        <a:pt x="60349" y="21814"/>
                      </a:moveTo>
                      <a:cubicBezTo>
                        <a:pt x="57873" y="13813"/>
                        <a:pt x="52539" y="7527"/>
                        <a:pt x="45681" y="3812"/>
                      </a:cubicBezTo>
                      <a:cubicBezTo>
                        <a:pt x="38632" y="-93"/>
                        <a:pt x="30060" y="-1141"/>
                        <a:pt x="21773" y="1336"/>
                      </a:cubicBezTo>
                      <a:cubicBezTo>
                        <a:pt x="5485" y="6289"/>
                        <a:pt x="-3659" y="23529"/>
                        <a:pt x="1389" y="39817"/>
                      </a:cubicBezTo>
                    </a:path>
                  </a:pathLst>
                </a:custGeom>
                <a:noFill/>
                <a:ln w="19050" cap="sq">
                  <a:solidFill>
                    <a:srgbClr val="00FF94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30" name="Gráfico 215">
                <a:extLst>
                  <a:ext uri="{FF2B5EF4-FFF2-40B4-BE49-F238E27FC236}">
                    <a16:creationId xmlns:a16="http://schemas.microsoft.com/office/drawing/2014/main" id="{9608274D-B57D-5410-3734-281B023D9393}"/>
                  </a:ext>
                </a:extLst>
              </p:cNvPr>
              <p:cNvGrpSpPr/>
              <p:nvPr/>
            </p:nvGrpSpPr>
            <p:grpSpPr>
              <a:xfrm>
                <a:off x="4011433" y="1703851"/>
                <a:ext cx="185070" cy="106203"/>
                <a:chOff x="4011433" y="1703851"/>
                <a:chExt cx="185070" cy="106203"/>
              </a:xfrm>
              <a:noFill/>
            </p:grpSpPr>
            <p:sp>
              <p:nvSpPr>
                <p:cNvPr id="31" name="Forma livre: Forma 30">
                  <a:extLst>
                    <a:ext uri="{FF2B5EF4-FFF2-40B4-BE49-F238E27FC236}">
                      <a16:creationId xmlns:a16="http://schemas.microsoft.com/office/drawing/2014/main" id="{D3EBE19B-A19E-D4BC-AACB-51C01C48EBBB}"/>
                    </a:ext>
                  </a:extLst>
                </p:cNvPr>
                <p:cNvSpPr/>
                <p:nvPr/>
              </p:nvSpPr>
              <p:spPr>
                <a:xfrm>
                  <a:off x="4154308" y="1703851"/>
                  <a:ext cx="42195" cy="106203"/>
                </a:xfrm>
                <a:custGeom>
                  <a:avLst/>
                  <a:gdLst>
                    <a:gd name="connsiteX0" fmla="*/ 42196 w 42195"/>
                    <a:gd name="connsiteY0" fmla="*/ 0 h 106203"/>
                    <a:gd name="connsiteX1" fmla="*/ 0 w 42195"/>
                    <a:gd name="connsiteY1" fmla="*/ 106204 h 1062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2195" h="106203">
                      <a:moveTo>
                        <a:pt x="42196" y="0"/>
                      </a:moveTo>
                      <a:cubicBezTo>
                        <a:pt x="42196" y="0"/>
                        <a:pt x="41243" y="93440"/>
                        <a:pt x="0" y="106204"/>
                      </a:cubicBezTo>
                    </a:path>
                  </a:pathLst>
                </a:custGeom>
                <a:noFill/>
                <a:ln w="19050" cap="sq">
                  <a:solidFill>
                    <a:srgbClr val="00FF94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32" name="Forma livre: Forma 31">
                  <a:extLst>
                    <a:ext uri="{FF2B5EF4-FFF2-40B4-BE49-F238E27FC236}">
                      <a16:creationId xmlns:a16="http://schemas.microsoft.com/office/drawing/2014/main" id="{F3D86C5C-FD2F-E78D-74B5-E420E23D349D}"/>
                    </a:ext>
                  </a:extLst>
                </p:cNvPr>
                <p:cNvSpPr/>
                <p:nvPr/>
              </p:nvSpPr>
              <p:spPr>
                <a:xfrm>
                  <a:off x="4011433" y="1736480"/>
                  <a:ext cx="69627" cy="48809"/>
                </a:xfrm>
                <a:custGeom>
                  <a:avLst/>
                  <a:gdLst>
                    <a:gd name="connsiteX0" fmla="*/ 0 w 69627"/>
                    <a:gd name="connsiteY0" fmla="*/ 48810 h 48809"/>
                    <a:gd name="connsiteX1" fmla="*/ 15907 w 69627"/>
                    <a:gd name="connsiteY1" fmla="*/ 13948 h 48809"/>
                    <a:gd name="connsiteX2" fmla="*/ 53054 w 69627"/>
                    <a:gd name="connsiteY2" fmla="*/ 42 h 48809"/>
                    <a:gd name="connsiteX3" fmla="*/ 69628 w 69627"/>
                    <a:gd name="connsiteY3" fmla="*/ 3566 h 4880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69627" h="48809">
                      <a:moveTo>
                        <a:pt x="0" y="48810"/>
                      </a:moveTo>
                      <a:cubicBezTo>
                        <a:pt x="572" y="34998"/>
                        <a:pt x="6572" y="22711"/>
                        <a:pt x="15907" y="13948"/>
                      </a:cubicBezTo>
                      <a:cubicBezTo>
                        <a:pt x="25527" y="4804"/>
                        <a:pt x="38767" y="-530"/>
                        <a:pt x="53054" y="42"/>
                      </a:cubicBezTo>
                      <a:cubicBezTo>
                        <a:pt x="58960" y="327"/>
                        <a:pt x="64484" y="1566"/>
                        <a:pt x="69628" y="3566"/>
                      </a:cubicBezTo>
                    </a:path>
                  </a:pathLst>
                </a:custGeom>
                <a:noFill/>
                <a:ln w="19050" cap="sq">
                  <a:solidFill>
                    <a:srgbClr val="00FF94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33" name="Forma livre: Forma 32">
                  <a:extLst>
                    <a:ext uri="{FF2B5EF4-FFF2-40B4-BE49-F238E27FC236}">
                      <a16:creationId xmlns:a16="http://schemas.microsoft.com/office/drawing/2014/main" id="{337FDEAB-E5B4-67C7-7B98-5BFAD72B4B4D}"/>
                    </a:ext>
                  </a:extLst>
                </p:cNvPr>
                <p:cNvSpPr/>
                <p:nvPr/>
              </p:nvSpPr>
              <p:spPr>
                <a:xfrm>
                  <a:off x="4095444" y="1770143"/>
                  <a:ext cx="60349" cy="39816"/>
                </a:xfrm>
                <a:custGeom>
                  <a:avLst/>
                  <a:gdLst>
                    <a:gd name="connsiteX0" fmla="*/ 0 w 60349"/>
                    <a:gd name="connsiteY0" fmla="*/ 21814 h 39816"/>
                    <a:gd name="connsiteX1" fmla="*/ 14669 w 60349"/>
                    <a:gd name="connsiteY1" fmla="*/ 3812 h 39816"/>
                    <a:gd name="connsiteX2" fmla="*/ 38576 w 60349"/>
                    <a:gd name="connsiteY2" fmla="*/ 1336 h 39816"/>
                    <a:gd name="connsiteX3" fmla="*/ 58960 w 60349"/>
                    <a:gd name="connsiteY3" fmla="*/ 39817 h 3981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60349" h="39816">
                      <a:moveTo>
                        <a:pt x="0" y="21814"/>
                      </a:moveTo>
                      <a:cubicBezTo>
                        <a:pt x="2477" y="13813"/>
                        <a:pt x="7810" y="7527"/>
                        <a:pt x="14669" y="3812"/>
                      </a:cubicBezTo>
                      <a:cubicBezTo>
                        <a:pt x="21717" y="-93"/>
                        <a:pt x="30290" y="-1141"/>
                        <a:pt x="38576" y="1336"/>
                      </a:cubicBezTo>
                      <a:cubicBezTo>
                        <a:pt x="54864" y="6289"/>
                        <a:pt x="64008" y="23529"/>
                        <a:pt x="58960" y="39817"/>
                      </a:cubicBezTo>
                    </a:path>
                  </a:pathLst>
                </a:custGeom>
                <a:noFill/>
                <a:ln w="19050" cap="sq">
                  <a:solidFill>
                    <a:srgbClr val="00FF94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</p:grpSp>
      <p:grpSp>
        <p:nvGrpSpPr>
          <p:cNvPr id="44" name="Agrupar 43">
            <a:extLst>
              <a:ext uri="{FF2B5EF4-FFF2-40B4-BE49-F238E27FC236}">
                <a16:creationId xmlns:a16="http://schemas.microsoft.com/office/drawing/2014/main" id="{480A94FC-70DF-4948-FFD0-8A0BA44D0618}"/>
              </a:ext>
            </a:extLst>
          </p:cNvPr>
          <p:cNvGrpSpPr/>
          <p:nvPr/>
        </p:nvGrpSpPr>
        <p:grpSpPr>
          <a:xfrm>
            <a:off x="811580" y="4783610"/>
            <a:ext cx="474232" cy="397990"/>
            <a:chOff x="7527643" y="2537276"/>
            <a:chExt cx="474083" cy="397866"/>
          </a:xfrm>
        </p:grpSpPr>
        <p:grpSp>
          <p:nvGrpSpPr>
            <p:cNvPr id="45" name="Gráfico 215">
              <a:extLst>
                <a:ext uri="{FF2B5EF4-FFF2-40B4-BE49-F238E27FC236}">
                  <a16:creationId xmlns:a16="http://schemas.microsoft.com/office/drawing/2014/main" id="{8D9A7947-E184-1BCF-44B3-C01FA3C01952}"/>
                </a:ext>
              </a:extLst>
            </p:cNvPr>
            <p:cNvGrpSpPr/>
            <p:nvPr/>
          </p:nvGrpSpPr>
          <p:grpSpPr>
            <a:xfrm>
              <a:off x="7572418" y="2635250"/>
              <a:ext cx="384534" cy="261020"/>
              <a:chOff x="3947140" y="1487919"/>
              <a:chExt cx="552164" cy="374808"/>
            </a:xfrm>
            <a:noFill/>
          </p:grpSpPr>
          <p:sp>
            <p:nvSpPr>
              <p:cNvPr id="62" name="Forma livre: Forma 61">
                <a:extLst>
                  <a:ext uri="{FF2B5EF4-FFF2-40B4-BE49-F238E27FC236}">
                    <a16:creationId xmlns:a16="http://schemas.microsoft.com/office/drawing/2014/main" id="{436B13D2-C8AC-7E0C-2AFF-DD8DEBC41354}"/>
                  </a:ext>
                </a:extLst>
              </p:cNvPr>
              <p:cNvSpPr/>
              <p:nvPr/>
            </p:nvSpPr>
            <p:spPr>
              <a:xfrm>
                <a:off x="4333093" y="1487919"/>
                <a:ext cx="166211" cy="374808"/>
              </a:xfrm>
              <a:custGeom>
                <a:avLst/>
                <a:gdLst>
                  <a:gd name="connsiteX0" fmla="*/ 0 w 166211"/>
                  <a:gd name="connsiteY0" fmla="*/ 0 h 374808"/>
                  <a:gd name="connsiteX1" fmla="*/ 125921 w 166211"/>
                  <a:gd name="connsiteY1" fmla="*/ 0 h 374808"/>
                  <a:gd name="connsiteX2" fmla="*/ 166211 w 166211"/>
                  <a:gd name="connsiteY2" fmla="*/ 40291 h 374808"/>
                  <a:gd name="connsiteX3" fmla="*/ 166211 w 166211"/>
                  <a:gd name="connsiteY3" fmla="*/ 374809 h 3748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66211" h="374808">
                    <a:moveTo>
                      <a:pt x="0" y="0"/>
                    </a:moveTo>
                    <a:lnTo>
                      <a:pt x="125921" y="0"/>
                    </a:lnTo>
                    <a:cubicBezTo>
                      <a:pt x="148114" y="0"/>
                      <a:pt x="166211" y="18097"/>
                      <a:pt x="166211" y="40291"/>
                    </a:cubicBezTo>
                    <a:lnTo>
                      <a:pt x="166211" y="374809"/>
                    </a:lnTo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63" name="Forma livre: Forma 62">
                <a:extLst>
                  <a:ext uri="{FF2B5EF4-FFF2-40B4-BE49-F238E27FC236}">
                    <a16:creationId xmlns:a16="http://schemas.microsoft.com/office/drawing/2014/main" id="{58720CC5-EDA5-1607-FA38-4AD4B8C7067F}"/>
                  </a:ext>
                </a:extLst>
              </p:cNvPr>
              <p:cNvSpPr/>
              <p:nvPr/>
            </p:nvSpPr>
            <p:spPr>
              <a:xfrm>
                <a:off x="3947140" y="1487919"/>
                <a:ext cx="166020" cy="331851"/>
              </a:xfrm>
              <a:custGeom>
                <a:avLst/>
                <a:gdLst>
                  <a:gd name="connsiteX0" fmla="*/ 0 w 166020"/>
                  <a:gd name="connsiteY0" fmla="*/ 331851 h 331851"/>
                  <a:gd name="connsiteX1" fmla="*/ 0 w 166020"/>
                  <a:gd name="connsiteY1" fmla="*/ 40291 h 331851"/>
                  <a:gd name="connsiteX2" fmla="*/ 40291 w 166020"/>
                  <a:gd name="connsiteY2" fmla="*/ 0 h 331851"/>
                  <a:gd name="connsiteX3" fmla="*/ 166021 w 166020"/>
                  <a:gd name="connsiteY3" fmla="*/ 0 h 3318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66020" h="331851">
                    <a:moveTo>
                      <a:pt x="0" y="331851"/>
                    </a:moveTo>
                    <a:lnTo>
                      <a:pt x="0" y="40291"/>
                    </a:lnTo>
                    <a:cubicBezTo>
                      <a:pt x="0" y="18097"/>
                      <a:pt x="18097" y="0"/>
                      <a:pt x="40291" y="0"/>
                    </a:cubicBezTo>
                    <a:lnTo>
                      <a:pt x="166021" y="0"/>
                    </a:lnTo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46" name="Forma livre: Forma 45">
              <a:extLst>
                <a:ext uri="{FF2B5EF4-FFF2-40B4-BE49-F238E27FC236}">
                  <a16:creationId xmlns:a16="http://schemas.microsoft.com/office/drawing/2014/main" id="{8DC45472-1C63-739B-3FD0-3FC9EE3E8FED}"/>
                </a:ext>
              </a:extLst>
            </p:cNvPr>
            <p:cNvSpPr/>
            <p:nvPr/>
          </p:nvSpPr>
          <p:spPr>
            <a:xfrm>
              <a:off x="7527643" y="2897332"/>
              <a:ext cx="474083" cy="37810"/>
            </a:xfrm>
            <a:custGeom>
              <a:avLst/>
              <a:gdLst>
                <a:gd name="connsiteX0" fmla="*/ 0 w 680751"/>
                <a:gd name="connsiteY0" fmla="*/ 0 h 54292"/>
                <a:gd name="connsiteX1" fmla="*/ 48863 w 680751"/>
                <a:gd name="connsiteY1" fmla="*/ 54293 h 54292"/>
                <a:gd name="connsiteX2" fmla="*/ 631888 w 680751"/>
                <a:gd name="connsiteY2" fmla="*/ 54293 h 54292"/>
                <a:gd name="connsiteX3" fmla="*/ 680752 w 680751"/>
                <a:gd name="connsiteY3" fmla="*/ 0 h 54292"/>
                <a:gd name="connsiteX4" fmla="*/ 0 w 680751"/>
                <a:gd name="connsiteY4" fmla="*/ 0 h 542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80751" h="54292">
                  <a:moveTo>
                    <a:pt x="0" y="0"/>
                  </a:moveTo>
                  <a:cubicBezTo>
                    <a:pt x="0" y="0"/>
                    <a:pt x="9906" y="54293"/>
                    <a:pt x="48863" y="54293"/>
                  </a:cubicBezTo>
                  <a:lnTo>
                    <a:pt x="631888" y="54293"/>
                  </a:lnTo>
                  <a:cubicBezTo>
                    <a:pt x="670941" y="54293"/>
                    <a:pt x="680752" y="0"/>
                    <a:pt x="680752" y="0"/>
                  </a:cubicBezTo>
                  <a:lnTo>
                    <a:pt x="0" y="0"/>
                  </a:lnTo>
                  <a:close/>
                </a:path>
              </a:pathLst>
            </a:custGeom>
            <a:noFill/>
            <a:ln w="19050" cap="sq">
              <a:solidFill>
                <a:srgbClr val="00FF94"/>
              </a:solidFill>
              <a:prstDash val="solid"/>
              <a:miter lim="800000"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47" name="Gráfico 215">
              <a:extLst>
                <a:ext uri="{FF2B5EF4-FFF2-40B4-BE49-F238E27FC236}">
                  <a16:creationId xmlns:a16="http://schemas.microsoft.com/office/drawing/2014/main" id="{EDC71F20-D25A-5C0A-9FE7-E99A2687C572}"/>
                </a:ext>
              </a:extLst>
            </p:cNvPr>
            <p:cNvGrpSpPr/>
            <p:nvPr/>
          </p:nvGrpSpPr>
          <p:grpSpPr>
            <a:xfrm>
              <a:off x="7661835" y="2537276"/>
              <a:ext cx="205699" cy="245499"/>
              <a:chOff x="4075536" y="1347235"/>
              <a:chExt cx="295370" cy="352520"/>
            </a:xfrm>
            <a:noFill/>
          </p:grpSpPr>
          <p:sp>
            <p:nvSpPr>
              <p:cNvPr id="57" name="Forma livre: Forma 56">
                <a:extLst>
                  <a:ext uri="{FF2B5EF4-FFF2-40B4-BE49-F238E27FC236}">
                    <a16:creationId xmlns:a16="http://schemas.microsoft.com/office/drawing/2014/main" id="{44228B4D-87A6-A396-4F8A-6E41E6B9B7AA}"/>
                  </a:ext>
                </a:extLst>
              </p:cNvPr>
              <p:cNvSpPr/>
              <p:nvPr/>
            </p:nvSpPr>
            <p:spPr>
              <a:xfrm>
                <a:off x="4156880" y="1347235"/>
                <a:ext cx="132778" cy="352520"/>
              </a:xfrm>
              <a:custGeom>
                <a:avLst/>
                <a:gdLst>
                  <a:gd name="connsiteX0" fmla="*/ 66389 w 132778"/>
                  <a:gd name="connsiteY0" fmla="*/ 0 h 352520"/>
                  <a:gd name="connsiteX1" fmla="*/ 0 w 132778"/>
                  <a:gd name="connsiteY1" fmla="*/ 99536 h 352520"/>
                  <a:gd name="connsiteX2" fmla="*/ 0 w 132778"/>
                  <a:gd name="connsiteY2" fmla="*/ 352520 h 352520"/>
                  <a:gd name="connsiteX3" fmla="*/ 132778 w 132778"/>
                  <a:gd name="connsiteY3" fmla="*/ 352520 h 352520"/>
                  <a:gd name="connsiteX4" fmla="*/ 132778 w 132778"/>
                  <a:gd name="connsiteY4" fmla="*/ 99536 h 352520"/>
                  <a:gd name="connsiteX5" fmla="*/ 66389 w 132778"/>
                  <a:gd name="connsiteY5" fmla="*/ 0 h 3525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32778" h="352520">
                    <a:moveTo>
                      <a:pt x="66389" y="0"/>
                    </a:moveTo>
                    <a:cubicBezTo>
                      <a:pt x="66389" y="0"/>
                      <a:pt x="0" y="70009"/>
                      <a:pt x="0" y="99536"/>
                    </a:cubicBezTo>
                    <a:lnTo>
                      <a:pt x="0" y="352520"/>
                    </a:lnTo>
                    <a:lnTo>
                      <a:pt x="132778" y="352520"/>
                    </a:lnTo>
                    <a:lnTo>
                      <a:pt x="132778" y="99536"/>
                    </a:lnTo>
                    <a:cubicBezTo>
                      <a:pt x="132778" y="69914"/>
                      <a:pt x="66389" y="0"/>
                      <a:pt x="66389" y="0"/>
                    </a:cubicBezTo>
                    <a:close/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58" name="Gráfico 215">
                <a:extLst>
                  <a:ext uri="{FF2B5EF4-FFF2-40B4-BE49-F238E27FC236}">
                    <a16:creationId xmlns:a16="http://schemas.microsoft.com/office/drawing/2014/main" id="{801F42B0-F5D4-DF04-97CC-DE59FC8F2495}"/>
                  </a:ext>
                </a:extLst>
              </p:cNvPr>
              <p:cNvGrpSpPr/>
              <p:nvPr/>
            </p:nvGrpSpPr>
            <p:grpSpPr>
              <a:xfrm>
                <a:off x="4075536" y="1507636"/>
                <a:ext cx="295370" cy="174783"/>
                <a:chOff x="4075536" y="1507636"/>
                <a:chExt cx="295370" cy="174783"/>
              </a:xfrm>
              <a:noFill/>
            </p:grpSpPr>
            <p:sp>
              <p:nvSpPr>
                <p:cNvPr id="60" name="Forma livre: Forma 59">
                  <a:extLst>
                    <a:ext uri="{FF2B5EF4-FFF2-40B4-BE49-F238E27FC236}">
                      <a16:creationId xmlns:a16="http://schemas.microsoft.com/office/drawing/2014/main" id="{28E5DE8E-62A1-FD49-BC94-6472545CD818}"/>
                    </a:ext>
                  </a:extLst>
                </p:cNvPr>
                <p:cNvSpPr/>
                <p:nvPr/>
              </p:nvSpPr>
              <p:spPr>
                <a:xfrm>
                  <a:off x="4075536" y="1507636"/>
                  <a:ext cx="81248" cy="174783"/>
                </a:xfrm>
                <a:custGeom>
                  <a:avLst/>
                  <a:gdLst>
                    <a:gd name="connsiteX0" fmla="*/ 81248 w 81248"/>
                    <a:gd name="connsiteY0" fmla="*/ 0 h 174783"/>
                    <a:gd name="connsiteX1" fmla="*/ 24860 w 81248"/>
                    <a:gd name="connsiteY1" fmla="*/ 83630 h 174783"/>
                    <a:gd name="connsiteX2" fmla="*/ 4858 w 81248"/>
                    <a:gd name="connsiteY2" fmla="*/ 103823 h 174783"/>
                    <a:gd name="connsiteX3" fmla="*/ 0 w 81248"/>
                    <a:gd name="connsiteY3" fmla="*/ 130302 h 174783"/>
                    <a:gd name="connsiteX4" fmla="*/ 0 w 81248"/>
                    <a:gd name="connsiteY4" fmla="*/ 174784 h 174783"/>
                    <a:gd name="connsiteX5" fmla="*/ 76581 w 81248"/>
                    <a:gd name="connsiteY5" fmla="*/ 174784 h 17478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81248" h="174783">
                      <a:moveTo>
                        <a:pt x="81248" y="0"/>
                      </a:moveTo>
                      <a:cubicBezTo>
                        <a:pt x="81248" y="18002"/>
                        <a:pt x="62865" y="53054"/>
                        <a:pt x="24860" y="83630"/>
                      </a:cubicBezTo>
                      <a:cubicBezTo>
                        <a:pt x="17431" y="89630"/>
                        <a:pt x="9716" y="95917"/>
                        <a:pt x="4858" y="103823"/>
                      </a:cubicBezTo>
                      <a:cubicBezTo>
                        <a:pt x="381" y="111252"/>
                        <a:pt x="0" y="121444"/>
                        <a:pt x="0" y="130302"/>
                      </a:cubicBezTo>
                      <a:lnTo>
                        <a:pt x="0" y="174784"/>
                      </a:lnTo>
                      <a:lnTo>
                        <a:pt x="76581" y="174784"/>
                      </a:lnTo>
                    </a:path>
                  </a:pathLst>
                </a:custGeom>
                <a:noFill/>
                <a:ln w="19050" cap="sq">
                  <a:solidFill>
                    <a:srgbClr val="00FF94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61" name="Forma livre: Forma 60">
                  <a:extLst>
                    <a:ext uri="{FF2B5EF4-FFF2-40B4-BE49-F238E27FC236}">
                      <a16:creationId xmlns:a16="http://schemas.microsoft.com/office/drawing/2014/main" id="{469CE0A5-A4F3-9F12-C2BA-6F7939D50274}"/>
                    </a:ext>
                  </a:extLst>
                </p:cNvPr>
                <p:cNvSpPr/>
                <p:nvPr/>
              </p:nvSpPr>
              <p:spPr>
                <a:xfrm>
                  <a:off x="4289658" y="1507636"/>
                  <a:ext cx="81248" cy="174783"/>
                </a:xfrm>
                <a:custGeom>
                  <a:avLst/>
                  <a:gdLst>
                    <a:gd name="connsiteX0" fmla="*/ 0 w 81248"/>
                    <a:gd name="connsiteY0" fmla="*/ 0 h 174783"/>
                    <a:gd name="connsiteX1" fmla="*/ 56388 w 81248"/>
                    <a:gd name="connsiteY1" fmla="*/ 83630 h 174783"/>
                    <a:gd name="connsiteX2" fmla="*/ 76391 w 81248"/>
                    <a:gd name="connsiteY2" fmla="*/ 103823 h 174783"/>
                    <a:gd name="connsiteX3" fmla="*/ 81248 w 81248"/>
                    <a:gd name="connsiteY3" fmla="*/ 130302 h 174783"/>
                    <a:gd name="connsiteX4" fmla="*/ 81248 w 81248"/>
                    <a:gd name="connsiteY4" fmla="*/ 174784 h 174783"/>
                    <a:gd name="connsiteX5" fmla="*/ 4667 w 81248"/>
                    <a:gd name="connsiteY5" fmla="*/ 174784 h 17478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81248" h="174783">
                      <a:moveTo>
                        <a:pt x="0" y="0"/>
                      </a:moveTo>
                      <a:cubicBezTo>
                        <a:pt x="0" y="18002"/>
                        <a:pt x="18383" y="53054"/>
                        <a:pt x="56388" y="83630"/>
                      </a:cubicBezTo>
                      <a:cubicBezTo>
                        <a:pt x="63818" y="89630"/>
                        <a:pt x="71533" y="95917"/>
                        <a:pt x="76391" y="103823"/>
                      </a:cubicBezTo>
                      <a:cubicBezTo>
                        <a:pt x="80867" y="111252"/>
                        <a:pt x="81248" y="121444"/>
                        <a:pt x="81248" y="130302"/>
                      </a:cubicBezTo>
                      <a:lnTo>
                        <a:pt x="81248" y="174784"/>
                      </a:lnTo>
                      <a:lnTo>
                        <a:pt x="4667" y="174784"/>
                      </a:lnTo>
                    </a:path>
                  </a:pathLst>
                </a:custGeom>
                <a:noFill/>
                <a:ln w="19050" cap="sq">
                  <a:solidFill>
                    <a:srgbClr val="00FF94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59" name="Forma livre: Forma 58">
                <a:extLst>
                  <a:ext uri="{FF2B5EF4-FFF2-40B4-BE49-F238E27FC236}">
                    <a16:creationId xmlns:a16="http://schemas.microsoft.com/office/drawing/2014/main" id="{3527AD9C-FA6B-87C9-7B2D-E921DD304E1A}"/>
                  </a:ext>
                </a:extLst>
              </p:cNvPr>
              <p:cNvSpPr/>
              <p:nvPr/>
            </p:nvSpPr>
            <p:spPr>
              <a:xfrm>
                <a:off x="4198980" y="1457820"/>
                <a:ext cx="48577" cy="11239"/>
              </a:xfrm>
              <a:custGeom>
                <a:avLst/>
                <a:gdLst>
                  <a:gd name="connsiteX0" fmla="*/ 48578 w 48577"/>
                  <a:gd name="connsiteY0" fmla="*/ 11240 h 11239"/>
                  <a:gd name="connsiteX1" fmla="*/ 24289 w 48577"/>
                  <a:gd name="connsiteY1" fmla="*/ 0 h 11239"/>
                  <a:gd name="connsiteX2" fmla="*/ 0 w 48577"/>
                  <a:gd name="connsiteY2" fmla="*/ 11240 h 112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48577" h="11239">
                    <a:moveTo>
                      <a:pt x="48578" y="11240"/>
                    </a:moveTo>
                    <a:cubicBezTo>
                      <a:pt x="44577" y="4667"/>
                      <a:pt x="35243" y="0"/>
                      <a:pt x="24289" y="0"/>
                    </a:cubicBezTo>
                    <a:cubicBezTo>
                      <a:pt x="13335" y="0"/>
                      <a:pt x="4001" y="4667"/>
                      <a:pt x="0" y="11240"/>
                    </a:cubicBezTo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48" name="Gráfico 215">
              <a:extLst>
                <a:ext uri="{FF2B5EF4-FFF2-40B4-BE49-F238E27FC236}">
                  <a16:creationId xmlns:a16="http://schemas.microsoft.com/office/drawing/2014/main" id="{06D06287-670D-F0B0-76B6-89AF19DA9C69}"/>
                </a:ext>
              </a:extLst>
            </p:cNvPr>
            <p:cNvGrpSpPr/>
            <p:nvPr/>
          </p:nvGrpSpPr>
          <p:grpSpPr>
            <a:xfrm>
              <a:off x="7617192" y="2785627"/>
              <a:ext cx="294983" cy="73961"/>
              <a:chOff x="4011433" y="1703851"/>
              <a:chExt cx="423576" cy="106203"/>
            </a:xfrm>
            <a:noFill/>
          </p:grpSpPr>
          <p:grpSp>
            <p:nvGrpSpPr>
              <p:cNvPr id="49" name="Gráfico 215">
                <a:extLst>
                  <a:ext uri="{FF2B5EF4-FFF2-40B4-BE49-F238E27FC236}">
                    <a16:creationId xmlns:a16="http://schemas.microsoft.com/office/drawing/2014/main" id="{697702EF-3774-0428-1767-230F3D7C359E}"/>
                  </a:ext>
                </a:extLst>
              </p:cNvPr>
              <p:cNvGrpSpPr/>
              <p:nvPr/>
            </p:nvGrpSpPr>
            <p:grpSpPr>
              <a:xfrm>
                <a:off x="4249939" y="1703851"/>
                <a:ext cx="185070" cy="106203"/>
                <a:chOff x="4249939" y="1703851"/>
                <a:chExt cx="185070" cy="106203"/>
              </a:xfrm>
              <a:noFill/>
            </p:grpSpPr>
            <p:sp>
              <p:nvSpPr>
                <p:cNvPr id="54" name="Forma livre: Forma 53">
                  <a:extLst>
                    <a:ext uri="{FF2B5EF4-FFF2-40B4-BE49-F238E27FC236}">
                      <a16:creationId xmlns:a16="http://schemas.microsoft.com/office/drawing/2014/main" id="{0CF9FA70-385B-D3EA-5EFF-77D29E36ED76}"/>
                    </a:ext>
                  </a:extLst>
                </p:cNvPr>
                <p:cNvSpPr/>
                <p:nvPr/>
              </p:nvSpPr>
              <p:spPr>
                <a:xfrm>
                  <a:off x="4249939" y="1703851"/>
                  <a:ext cx="42195" cy="106203"/>
                </a:xfrm>
                <a:custGeom>
                  <a:avLst/>
                  <a:gdLst>
                    <a:gd name="connsiteX0" fmla="*/ 0 w 42195"/>
                    <a:gd name="connsiteY0" fmla="*/ 0 h 106203"/>
                    <a:gd name="connsiteX1" fmla="*/ 42196 w 42195"/>
                    <a:gd name="connsiteY1" fmla="*/ 106204 h 1062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2195" h="106203">
                      <a:moveTo>
                        <a:pt x="0" y="0"/>
                      </a:moveTo>
                      <a:cubicBezTo>
                        <a:pt x="0" y="0"/>
                        <a:pt x="1715" y="89535"/>
                        <a:pt x="42196" y="106204"/>
                      </a:cubicBezTo>
                    </a:path>
                  </a:pathLst>
                </a:custGeom>
                <a:noFill/>
                <a:ln w="19050" cap="sq">
                  <a:solidFill>
                    <a:srgbClr val="00FF94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 dirty="0"/>
                </a:p>
              </p:txBody>
            </p:sp>
            <p:sp>
              <p:nvSpPr>
                <p:cNvPr id="55" name="Forma livre: Forma 54">
                  <a:extLst>
                    <a:ext uri="{FF2B5EF4-FFF2-40B4-BE49-F238E27FC236}">
                      <a16:creationId xmlns:a16="http://schemas.microsoft.com/office/drawing/2014/main" id="{200FB27D-68E9-6EF4-E6C8-036745E6EE82}"/>
                    </a:ext>
                  </a:extLst>
                </p:cNvPr>
                <p:cNvSpPr/>
                <p:nvPr/>
              </p:nvSpPr>
              <p:spPr>
                <a:xfrm>
                  <a:off x="4335283" y="1736480"/>
                  <a:ext cx="99726" cy="48809"/>
                </a:xfrm>
                <a:custGeom>
                  <a:avLst/>
                  <a:gdLst>
                    <a:gd name="connsiteX0" fmla="*/ 99727 w 99726"/>
                    <a:gd name="connsiteY0" fmla="*/ 48810 h 48809"/>
                    <a:gd name="connsiteX1" fmla="*/ 83820 w 99726"/>
                    <a:gd name="connsiteY1" fmla="*/ 13948 h 48809"/>
                    <a:gd name="connsiteX2" fmla="*/ 46673 w 99726"/>
                    <a:gd name="connsiteY2" fmla="*/ 42 h 48809"/>
                    <a:gd name="connsiteX3" fmla="*/ 0 w 99726"/>
                    <a:gd name="connsiteY3" fmla="*/ 36427 h 4880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9726" h="48809">
                      <a:moveTo>
                        <a:pt x="99727" y="48810"/>
                      </a:moveTo>
                      <a:cubicBezTo>
                        <a:pt x="99155" y="34998"/>
                        <a:pt x="93154" y="22711"/>
                        <a:pt x="83820" y="13948"/>
                      </a:cubicBezTo>
                      <a:cubicBezTo>
                        <a:pt x="74200" y="4804"/>
                        <a:pt x="60960" y="-530"/>
                        <a:pt x="46673" y="42"/>
                      </a:cubicBezTo>
                      <a:cubicBezTo>
                        <a:pt x="24384" y="994"/>
                        <a:pt x="6001" y="16139"/>
                        <a:pt x="0" y="36427"/>
                      </a:cubicBezTo>
                    </a:path>
                  </a:pathLst>
                </a:custGeom>
                <a:noFill/>
                <a:ln w="19050" cap="sq">
                  <a:solidFill>
                    <a:srgbClr val="00FF94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56" name="Forma livre: Forma 55">
                  <a:extLst>
                    <a:ext uri="{FF2B5EF4-FFF2-40B4-BE49-F238E27FC236}">
                      <a16:creationId xmlns:a16="http://schemas.microsoft.com/office/drawing/2014/main" id="{7A4A5093-36E3-DE26-856E-68987624BDB0}"/>
                    </a:ext>
                  </a:extLst>
                </p:cNvPr>
                <p:cNvSpPr/>
                <p:nvPr/>
              </p:nvSpPr>
              <p:spPr>
                <a:xfrm>
                  <a:off x="4290650" y="1770143"/>
                  <a:ext cx="60349" cy="39816"/>
                </a:xfrm>
                <a:custGeom>
                  <a:avLst/>
                  <a:gdLst>
                    <a:gd name="connsiteX0" fmla="*/ 60349 w 60349"/>
                    <a:gd name="connsiteY0" fmla="*/ 21814 h 39816"/>
                    <a:gd name="connsiteX1" fmla="*/ 45681 w 60349"/>
                    <a:gd name="connsiteY1" fmla="*/ 3812 h 39816"/>
                    <a:gd name="connsiteX2" fmla="*/ 21773 w 60349"/>
                    <a:gd name="connsiteY2" fmla="*/ 1336 h 39816"/>
                    <a:gd name="connsiteX3" fmla="*/ 1389 w 60349"/>
                    <a:gd name="connsiteY3" fmla="*/ 39817 h 3981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60349" h="39816">
                      <a:moveTo>
                        <a:pt x="60349" y="21814"/>
                      </a:moveTo>
                      <a:cubicBezTo>
                        <a:pt x="57873" y="13813"/>
                        <a:pt x="52539" y="7527"/>
                        <a:pt x="45681" y="3812"/>
                      </a:cubicBezTo>
                      <a:cubicBezTo>
                        <a:pt x="38632" y="-93"/>
                        <a:pt x="30060" y="-1141"/>
                        <a:pt x="21773" y="1336"/>
                      </a:cubicBezTo>
                      <a:cubicBezTo>
                        <a:pt x="5485" y="6289"/>
                        <a:pt x="-3659" y="23529"/>
                        <a:pt x="1389" y="39817"/>
                      </a:cubicBezTo>
                    </a:path>
                  </a:pathLst>
                </a:custGeom>
                <a:noFill/>
                <a:ln w="19050" cap="sq">
                  <a:solidFill>
                    <a:srgbClr val="00FF94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50" name="Gráfico 215">
                <a:extLst>
                  <a:ext uri="{FF2B5EF4-FFF2-40B4-BE49-F238E27FC236}">
                    <a16:creationId xmlns:a16="http://schemas.microsoft.com/office/drawing/2014/main" id="{3CF843FC-3A01-C632-CDA6-0799AAF3C5A6}"/>
                  </a:ext>
                </a:extLst>
              </p:cNvPr>
              <p:cNvGrpSpPr/>
              <p:nvPr/>
            </p:nvGrpSpPr>
            <p:grpSpPr>
              <a:xfrm>
                <a:off x="4011433" y="1703851"/>
                <a:ext cx="185070" cy="106203"/>
                <a:chOff x="4011433" y="1703851"/>
                <a:chExt cx="185070" cy="106203"/>
              </a:xfrm>
              <a:noFill/>
            </p:grpSpPr>
            <p:sp>
              <p:nvSpPr>
                <p:cNvPr id="51" name="Forma livre: Forma 50">
                  <a:extLst>
                    <a:ext uri="{FF2B5EF4-FFF2-40B4-BE49-F238E27FC236}">
                      <a16:creationId xmlns:a16="http://schemas.microsoft.com/office/drawing/2014/main" id="{6CA0A4D3-B9C9-97E8-8B3A-44F650754982}"/>
                    </a:ext>
                  </a:extLst>
                </p:cNvPr>
                <p:cNvSpPr/>
                <p:nvPr/>
              </p:nvSpPr>
              <p:spPr>
                <a:xfrm>
                  <a:off x="4154308" y="1703851"/>
                  <a:ext cx="42195" cy="106203"/>
                </a:xfrm>
                <a:custGeom>
                  <a:avLst/>
                  <a:gdLst>
                    <a:gd name="connsiteX0" fmla="*/ 42196 w 42195"/>
                    <a:gd name="connsiteY0" fmla="*/ 0 h 106203"/>
                    <a:gd name="connsiteX1" fmla="*/ 0 w 42195"/>
                    <a:gd name="connsiteY1" fmla="*/ 106204 h 1062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2195" h="106203">
                      <a:moveTo>
                        <a:pt x="42196" y="0"/>
                      </a:moveTo>
                      <a:cubicBezTo>
                        <a:pt x="42196" y="0"/>
                        <a:pt x="41243" y="93440"/>
                        <a:pt x="0" y="106204"/>
                      </a:cubicBezTo>
                    </a:path>
                  </a:pathLst>
                </a:custGeom>
                <a:noFill/>
                <a:ln w="19050" cap="sq">
                  <a:solidFill>
                    <a:srgbClr val="00FF94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52" name="Forma livre: Forma 51">
                  <a:extLst>
                    <a:ext uri="{FF2B5EF4-FFF2-40B4-BE49-F238E27FC236}">
                      <a16:creationId xmlns:a16="http://schemas.microsoft.com/office/drawing/2014/main" id="{0042FB07-FABD-A6E6-2518-32E09230AB3D}"/>
                    </a:ext>
                  </a:extLst>
                </p:cNvPr>
                <p:cNvSpPr/>
                <p:nvPr/>
              </p:nvSpPr>
              <p:spPr>
                <a:xfrm>
                  <a:off x="4011433" y="1736480"/>
                  <a:ext cx="69627" cy="48809"/>
                </a:xfrm>
                <a:custGeom>
                  <a:avLst/>
                  <a:gdLst>
                    <a:gd name="connsiteX0" fmla="*/ 0 w 69627"/>
                    <a:gd name="connsiteY0" fmla="*/ 48810 h 48809"/>
                    <a:gd name="connsiteX1" fmla="*/ 15907 w 69627"/>
                    <a:gd name="connsiteY1" fmla="*/ 13948 h 48809"/>
                    <a:gd name="connsiteX2" fmla="*/ 53054 w 69627"/>
                    <a:gd name="connsiteY2" fmla="*/ 42 h 48809"/>
                    <a:gd name="connsiteX3" fmla="*/ 69628 w 69627"/>
                    <a:gd name="connsiteY3" fmla="*/ 3566 h 4880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69627" h="48809">
                      <a:moveTo>
                        <a:pt x="0" y="48810"/>
                      </a:moveTo>
                      <a:cubicBezTo>
                        <a:pt x="572" y="34998"/>
                        <a:pt x="6572" y="22711"/>
                        <a:pt x="15907" y="13948"/>
                      </a:cubicBezTo>
                      <a:cubicBezTo>
                        <a:pt x="25527" y="4804"/>
                        <a:pt x="38767" y="-530"/>
                        <a:pt x="53054" y="42"/>
                      </a:cubicBezTo>
                      <a:cubicBezTo>
                        <a:pt x="58960" y="327"/>
                        <a:pt x="64484" y="1566"/>
                        <a:pt x="69628" y="3566"/>
                      </a:cubicBezTo>
                    </a:path>
                  </a:pathLst>
                </a:custGeom>
                <a:noFill/>
                <a:ln w="19050" cap="sq">
                  <a:solidFill>
                    <a:srgbClr val="00FF94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53" name="Forma livre: Forma 52">
                  <a:extLst>
                    <a:ext uri="{FF2B5EF4-FFF2-40B4-BE49-F238E27FC236}">
                      <a16:creationId xmlns:a16="http://schemas.microsoft.com/office/drawing/2014/main" id="{2142105A-4097-2C3A-A69D-867A19607D07}"/>
                    </a:ext>
                  </a:extLst>
                </p:cNvPr>
                <p:cNvSpPr/>
                <p:nvPr/>
              </p:nvSpPr>
              <p:spPr>
                <a:xfrm>
                  <a:off x="4095444" y="1770143"/>
                  <a:ext cx="60349" cy="39816"/>
                </a:xfrm>
                <a:custGeom>
                  <a:avLst/>
                  <a:gdLst>
                    <a:gd name="connsiteX0" fmla="*/ 0 w 60349"/>
                    <a:gd name="connsiteY0" fmla="*/ 21814 h 39816"/>
                    <a:gd name="connsiteX1" fmla="*/ 14669 w 60349"/>
                    <a:gd name="connsiteY1" fmla="*/ 3812 h 39816"/>
                    <a:gd name="connsiteX2" fmla="*/ 38576 w 60349"/>
                    <a:gd name="connsiteY2" fmla="*/ 1336 h 39816"/>
                    <a:gd name="connsiteX3" fmla="*/ 58960 w 60349"/>
                    <a:gd name="connsiteY3" fmla="*/ 39817 h 3981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60349" h="39816">
                      <a:moveTo>
                        <a:pt x="0" y="21814"/>
                      </a:moveTo>
                      <a:cubicBezTo>
                        <a:pt x="2477" y="13813"/>
                        <a:pt x="7810" y="7527"/>
                        <a:pt x="14669" y="3812"/>
                      </a:cubicBezTo>
                      <a:cubicBezTo>
                        <a:pt x="21717" y="-93"/>
                        <a:pt x="30290" y="-1141"/>
                        <a:pt x="38576" y="1336"/>
                      </a:cubicBezTo>
                      <a:cubicBezTo>
                        <a:pt x="54864" y="6289"/>
                        <a:pt x="64008" y="23529"/>
                        <a:pt x="58960" y="39817"/>
                      </a:cubicBezTo>
                    </a:path>
                  </a:pathLst>
                </a:custGeom>
                <a:noFill/>
                <a:ln w="19050" cap="sq">
                  <a:solidFill>
                    <a:srgbClr val="00FF94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</p:grpSp>
      <p:graphicFrame>
        <p:nvGraphicFramePr>
          <p:cNvPr id="67" name="Marcador de Posição da Tabela 15">
            <a:extLst>
              <a:ext uri="{FF2B5EF4-FFF2-40B4-BE49-F238E27FC236}">
                <a16:creationId xmlns:a16="http://schemas.microsoft.com/office/drawing/2014/main" id="{95976B64-A8F7-9EA0-7A85-028ADDE63177}"/>
              </a:ext>
            </a:extLst>
          </p:cNvPr>
          <p:cNvGraphicFramePr>
            <a:graphicFrameLocks noGrp="1"/>
          </p:cNvGraphicFramePr>
          <p:nvPr>
            <p:ph type="chart" sz="quarter" idx="18"/>
            <p:extLst>
              <p:ext uri="{D42A27DB-BD31-4B8C-83A1-F6EECF244321}">
                <p14:modId xmlns:p14="http://schemas.microsoft.com/office/powerpoint/2010/main" val="1086462790"/>
              </p:ext>
            </p:extLst>
          </p:nvPr>
        </p:nvGraphicFramePr>
        <p:xfrm>
          <a:off x="6345238" y="1741488"/>
          <a:ext cx="5362572" cy="2225040"/>
        </p:xfrm>
        <a:graphic>
          <a:graphicData uri="http://schemas.openxmlformats.org/drawingml/2006/table">
            <a:tbl>
              <a:tblPr firstRow="1" bandRow="1">
                <a:tableStyleId>{D27102A9-8310-4765-A935-A1911B00CA55}</a:tableStyleId>
              </a:tblPr>
              <a:tblGrid>
                <a:gridCol w="1340643">
                  <a:extLst>
                    <a:ext uri="{9D8B030D-6E8A-4147-A177-3AD203B41FA5}">
                      <a16:colId xmlns:a16="http://schemas.microsoft.com/office/drawing/2014/main" val="1284356485"/>
                    </a:ext>
                  </a:extLst>
                </a:gridCol>
                <a:gridCol w="1340643">
                  <a:extLst>
                    <a:ext uri="{9D8B030D-6E8A-4147-A177-3AD203B41FA5}">
                      <a16:colId xmlns:a16="http://schemas.microsoft.com/office/drawing/2014/main" val="233576607"/>
                    </a:ext>
                  </a:extLst>
                </a:gridCol>
                <a:gridCol w="1340643">
                  <a:extLst>
                    <a:ext uri="{9D8B030D-6E8A-4147-A177-3AD203B41FA5}">
                      <a16:colId xmlns:a16="http://schemas.microsoft.com/office/drawing/2014/main" val="2190844464"/>
                    </a:ext>
                  </a:extLst>
                </a:gridCol>
                <a:gridCol w="1340643">
                  <a:extLst>
                    <a:ext uri="{9D8B030D-6E8A-4147-A177-3AD203B41FA5}">
                      <a16:colId xmlns:a16="http://schemas.microsoft.com/office/drawing/2014/main" val="1665789671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pt-PT" sz="1100" b="1" dirty="0" err="1">
                          <a:solidFill>
                            <a:schemeClr val="tx2"/>
                          </a:solidFill>
                          <a:latin typeface="ALTIA Eddi" panose="020B0000000000020000" pitchFamily="34" charset="0"/>
                          <a:ea typeface="ALTIA Eddi" panose="020B0000000000020000" pitchFamily="34" charset="0"/>
                          <a:cs typeface="ALTIA Eddi" panose="020B0000000000020000" pitchFamily="34" charset="0"/>
                        </a:rPr>
                        <a:t>Lorem</a:t>
                      </a:r>
                      <a:r>
                        <a:rPr lang="pt-PT" sz="1100" b="1" dirty="0">
                          <a:solidFill>
                            <a:schemeClr val="tx2"/>
                          </a:solidFill>
                          <a:latin typeface="ALTIA Eddi" panose="020B0000000000020000" pitchFamily="34" charset="0"/>
                          <a:ea typeface="ALTIA Eddi" panose="020B0000000000020000" pitchFamily="34" charset="0"/>
                          <a:cs typeface="ALTIA Eddi" panose="020B0000000000020000" pitchFamily="34" charset="0"/>
                        </a:rPr>
                        <a:t> </a:t>
                      </a:r>
                      <a:r>
                        <a:rPr lang="pt-PT" sz="1100" b="1" dirty="0" err="1">
                          <a:solidFill>
                            <a:schemeClr val="tx2"/>
                          </a:solidFill>
                          <a:latin typeface="ALTIA Eddi" panose="020B0000000000020000" pitchFamily="34" charset="0"/>
                          <a:ea typeface="ALTIA Eddi" panose="020B0000000000020000" pitchFamily="34" charset="0"/>
                          <a:cs typeface="ALTIA Eddi" panose="020B0000000000020000" pitchFamily="34" charset="0"/>
                        </a:rPr>
                        <a:t>Ipsum</a:t>
                      </a:r>
                      <a:endParaRPr lang="pt-PT" sz="1100" b="1" dirty="0">
                        <a:solidFill>
                          <a:schemeClr val="tx2"/>
                        </a:solidFill>
                        <a:latin typeface="ALTIA Eddi" panose="020B0000000000020000" pitchFamily="34" charset="0"/>
                        <a:ea typeface="ALTIA Eddi" panose="020B0000000000020000" pitchFamily="34" charset="0"/>
                        <a:cs typeface="ALTIA Eddi" panose="020B0000000000020000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1100" b="1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" panose="020B0000000000020000" pitchFamily="34" charset="0"/>
                          <a:ea typeface="ALTIA Eddi" panose="020B0000000000020000" pitchFamily="34" charset="0"/>
                          <a:cs typeface="ALTIA Eddi" panose="020B0000000000020000" pitchFamily="34" charset="0"/>
                        </a:rPr>
                        <a:t>Lorem</a:t>
                      </a:r>
                      <a:r>
                        <a:rPr kumimoji="0" lang="pt-PT" sz="11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" panose="020B0000000000020000" pitchFamily="34" charset="0"/>
                          <a:ea typeface="ALTIA Eddi" panose="020B0000000000020000" pitchFamily="34" charset="0"/>
                          <a:cs typeface="ALTIA Eddi" panose="020B0000000000020000" pitchFamily="34" charset="0"/>
                        </a:rPr>
                        <a:t> </a:t>
                      </a:r>
                      <a:r>
                        <a:rPr kumimoji="0" lang="pt-PT" sz="1100" b="1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" panose="020B0000000000020000" pitchFamily="34" charset="0"/>
                          <a:ea typeface="ALTIA Eddi" panose="020B0000000000020000" pitchFamily="34" charset="0"/>
                          <a:cs typeface="ALTIA Eddi" panose="020B0000000000020000" pitchFamily="34" charset="0"/>
                        </a:rPr>
                        <a:t>Ipsum</a:t>
                      </a:r>
                      <a:endParaRPr kumimoji="0" lang="pt-PT" sz="11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ALTIA Eddi" panose="020B0000000000020000" pitchFamily="34" charset="0"/>
                        <a:ea typeface="ALTIA Eddi" panose="020B0000000000020000" pitchFamily="34" charset="0"/>
                        <a:cs typeface="ALTIA Eddi" panose="020B0000000000020000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1100" b="1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" panose="020B0000000000020000" pitchFamily="34" charset="0"/>
                          <a:ea typeface="ALTIA Eddi" panose="020B0000000000020000" pitchFamily="34" charset="0"/>
                          <a:cs typeface="ALTIA Eddi" panose="020B0000000000020000" pitchFamily="34" charset="0"/>
                        </a:rPr>
                        <a:t>Lorem</a:t>
                      </a:r>
                      <a:r>
                        <a:rPr kumimoji="0" lang="pt-PT" sz="11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" panose="020B0000000000020000" pitchFamily="34" charset="0"/>
                          <a:ea typeface="ALTIA Eddi" panose="020B0000000000020000" pitchFamily="34" charset="0"/>
                          <a:cs typeface="ALTIA Eddi" panose="020B0000000000020000" pitchFamily="34" charset="0"/>
                        </a:rPr>
                        <a:t> </a:t>
                      </a:r>
                      <a:r>
                        <a:rPr kumimoji="0" lang="pt-PT" sz="1100" b="1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" panose="020B0000000000020000" pitchFamily="34" charset="0"/>
                          <a:ea typeface="ALTIA Eddi" panose="020B0000000000020000" pitchFamily="34" charset="0"/>
                          <a:cs typeface="ALTIA Eddi" panose="020B0000000000020000" pitchFamily="34" charset="0"/>
                        </a:rPr>
                        <a:t>Ipsum</a:t>
                      </a:r>
                      <a:endParaRPr kumimoji="0" lang="pt-PT" sz="11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ALTIA Eddi" panose="020B0000000000020000" pitchFamily="34" charset="0"/>
                        <a:ea typeface="ALTIA Eddi" panose="020B0000000000020000" pitchFamily="34" charset="0"/>
                        <a:cs typeface="ALTIA Eddi" panose="020B0000000000020000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11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" panose="020B0000000000020000" pitchFamily="34" charset="0"/>
                          <a:ea typeface="ALTIA Eddi" panose="020B0000000000020000" pitchFamily="34" charset="0"/>
                          <a:cs typeface="ALTIA Eddi" panose="020B0000000000020000" pitchFamily="34" charset="0"/>
                        </a:rPr>
                        <a:t>Lorem Ipsum</a:t>
                      </a:r>
                      <a:endParaRPr kumimoji="0" lang="pt-PT" sz="11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ALTIA Eddi" panose="020B0000000000020000" pitchFamily="34" charset="0"/>
                        <a:ea typeface="ALTIA Eddi" panose="020B0000000000020000" pitchFamily="34" charset="0"/>
                        <a:cs typeface="ALTIA Eddi" panose="020B0000000000020000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20922042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1100" b="1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" panose="020B0000000000020000" pitchFamily="34" charset="0"/>
                          <a:ea typeface="ALTIA Eddi" panose="020B0000000000020000" pitchFamily="34" charset="0"/>
                          <a:cs typeface="ALTIA Eddi" panose="020B0000000000020000" pitchFamily="34" charset="0"/>
                        </a:rPr>
                        <a:t>Lorem</a:t>
                      </a:r>
                      <a:r>
                        <a:rPr kumimoji="0" lang="pt-PT" sz="11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" panose="020B0000000000020000" pitchFamily="34" charset="0"/>
                          <a:ea typeface="ALTIA Eddi" panose="020B0000000000020000" pitchFamily="34" charset="0"/>
                          <a:cs typeface="ALTIA Eddi" panose="020B0000000000020000" pitchFamily="34" charset="0"/>
                        </a:rPr>
                        <a:t> </a:t>
                      </a:r>
                      <a:r>
                        <a:rPr kumimoji="0" lang="pt-PT" sz="1100" b="1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" panose="020B0000000000020000" pitchFamily="34" charset="0"/>
                          <a:ea typeface="ALTIA Eddi" panose="020B0000000000020000" pitchFamily="34" charset="0"/>
                          <a:cs typeface="ALTIA Eddi" panose="020B0000000000020000" pitchFamily="34" charset="0"/>
                        </a:rPr>
                        <a:t>Ipsum</a:t>
                      </a:r>
                      <a:endParaRPr kumimoji="0" lang="pt-PT" sz="11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ALTIA Eddi" panose="020B0000000000020000" pitchFamily="34" charset="0"/>
                        <a:ea typeface="ALTIA Eddi" panose="020B0000000000020000" pitchFamily="34" charset="0"/>
                        <a:cs typeface="ALTIA Eddi" panose="020B0000000000020000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PT" sz="1100" dirty="0">
                          <a:solidFill>
                            <a:schemeClr val="tx2"/>
                          </a:solidFill>
                        </a:rPr>
                        <a:t>X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 Light"/>
                          <a:ea typeface="+mn-ea"/>
                          <a:cs typeface="+mn-cs"/>
                        </a:rPr>
                        <a:t>X</a:t>
                      </a:r>
                      <a:endParaRPr kumimoji="0" lang="pt-PT" sz="11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ALTIA Eddi Ligh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 Light"/>
                          <a:ea typeface="+mn-ea"/>
                          <a:cs typeface="+mn-cs"/>
                        </a:rPr>
                        <a:t>X</a:t>
                      </a:r>
                      <a:endParaRPr kumimoji="0" lang="pt-PT" sz="11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ALTIA Eddi Ligh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67358696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1100" b="1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" panose="020B0000000000020000" pitchFamily="34" charset="0"/>
                          <a:ea typeface="ALTIA Eddi" panose="020B0000000000020000" pitchFamily="34" charset="0"/>
                          <a:cs typeface="ALTIA Eddi" panose="020B0000000000020000" pitchFamily="34" charset="0"/>
                        </a:rPr>
                        <a:t>Lorem</a:t>
                      </a:r>
                      <a:r>
                        <a:rPr kumimoji="0" lang="pt-PT" sz="11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" panose="020B0000000000020000" pitchFamily="34" charset="0"/>
                          <a:ea typeface="ALTIA Eddi" panose="020B0000000000020000" pitchFamily="34" charset="0"/>
                          <a:cs typeface="ALTIA Eddi" panose="020B0000000000020000" pitchFamily="34" charset="0"/>
                        </a:rPr>
                        <a:t> </a:t>
                      </a:r>
                      <a:r>
                        <a:rPr kumimoji="0" lang="pt-PT" sz="1100" b="1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" panose="020B0000000000020000" pitchFamily="34" charset="0"/>
                          <a:ea typeface="ALTIA Eddi" panose="020B0000000000020000" pitchFamily="34" charset="0"/>
                          <a:cs typeface="ALTIA Eddi" panose="020B0000000000020000" pitchFamily="34" charset="0"/>
                        </a:rPr>
                        <a:t>Ipsum</a:t>
                      </a:r>
                      <a:endParaRPr kumimoji="0" lang="pt-PT" sz="11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ALTIA Eddi" panose="020B0000000000020000" pitchFamily="34" charset="0"/>
                        <a:ea typeface="ALTIA Eddi" panose="020B0000000000020000" pitchFamily="34" charset="0"/>
                        <a:cs typeface="ALTIA Eddi" panose="020B0000000000020000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 Light"/>
                          <a:ea typeface="+mn-ea"/>
                          <a:cs typeface="+mn-cs"/>
                        </a:rPr>
                        <a:t>X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 Light"/>
                          <a:ea typeface="+mn-ea"/>
                          <a:cs typeface="+mn-cs"/>
                        </a:rPr>
                        <a:t>X</a:t>
                      </a:r>
                      <a:endParaRPr kumimoji="0" lang="pt-PT" sz="11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ALTIA Eddi Ligh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 Light"/>
                          <a:ea typeface="+mn-ea"/>
                          <a:cs typeface="+mn-cs"/>
                        </a:rPr>
                        <a:t>X</a:t>
                      </a:r>
                      <a:endParaRPr kumimoji="0" lang="pt-PT" sz="11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ALTIA Eddi Ligh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66820538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11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" panose="020B0000000000020000" pitchFamily="34" charset="0"/>
                          <a:ea typeface="ALTIA Eddi" panose="020B0000000000020000" pitchFamily="34" charset="0"/>
                          <a:cs typeface="ALTIA Eddi" panose="020B0000000000020000" pitchFamily="34" charset="0"/>
                        </a:rPr>
                        <a:t>Lorem Ipsum</a:t>
                      </a:r>
                      <a:endParaRPr kumimoji="0" lang="pt-PT" sz="11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ALTIA Eddi" panose="020B0000000000020000" pitchFamily="34" charset="0"/>
                        <a:ea typeface="ALTIA Eddi" panose="020B0000000000020000" pitchFamily="34" charset="0"/>
                        <a:cs typeface="ALTIA Eddi" panose="020B0000000000020000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 Light"/>
                          <a:ea typeface="+mn-ea"/>
                          <a:cs typeface="+mn-cs"/>
                        </a:rPr>
                        <a:t>X</a:t>
                      </a:r>
                      <a:endParaRPr kumimoji="0" lang="pt-PT" sz="11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ALTIA Eddi Ligh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 Light"/>
                          <a:ea typeface="+mn-ea"/>
                          <a:cs typeface="+mn-cs"/>
                        </a:rPr>
                        <a:t>X</a:t>
                      </a:r>
                      <a:endParaRPr kumimoji="0" lang="pt-PT" sz="11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ALTIA Eddi Ligh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 Light"/>
                          <a:ea typeface="+mn-ea"/>
                          <a:cs typeface="+mn-cs"/>
                        </a:rPr>
                        <a:t>X</a:t>
                      </a:r>
                      <a:endParaRPr kumimoji="0" lang="pt-PT" sz="11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ALTIA Eddi Ligh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77980485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1100" b="1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" panose="020B0000000000020000" pitchFamily="34" charset="0"/>
                          <a:ea typeface="ALTIA Eddi" panose="020B0000000000020000" pitchFamily="34" charset="0"/>
                          <a:cs typeface="ALTIA Eddi" panose="020B0000000000020000" pitchFamily="34" charset="0"/>
                        </a:rPr>
                        <a:t>Lorem</a:t>
                      </a:r>
                      <a:r>
                        <a:rPr kumimoji="0" lang="pt-PT" sz="11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" panose="020B0000000000020000" pitchFamily="34" charset="0"/>
                          <a:ea typeface="ALTIA Eddi" panose="020B0000000000020000" pitchFamily="34" charset="0"/>
                          <a:cs typeface="ALTIA Eddi" panose="020B0000000000020000" pitchFamily="34" charset="0"/>
                        </a:rPr>
                        <a:t> </a:t>
                      </a:r>
                      <a:r>
                        <a:rPr kumimoji="0" lang="pt-PT" sz="1100" b="1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" panose="020B0000000000020000" pitchFamily="34" charset="0"/>
                          <a:ea typeface="ALTIA Eddi" panose="020B0000000000020000" pitchFamily="34" charset="0"/>
                          <a:cs typeface="ALTIA Eddi" panose="020B0000000000020000" pitchFamily="34" charset="0"/>
                        </a:rPr>
                        <a:t>Ipsum</a:t>
                      </a:r>
                      <a:endParaRPr kumimoji="0" lang="pt-PT" sz="11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ALTIA Eddi" panose="020B0000000000020000" pitchFamily="34" charset="0"/>
                        <a:ea typeface="ALTIA Eddi" panose="020B0000000000020000" pitchFamily="34" charset="0"/>
                        <a:cs typeface="ALTIA Eddi" panose="020B0000000000020000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 Light"/>
                          <a:ea typeface="+mn-ea"/>
                          <a:cs typeface="+mn-cs"/>
                        </a:rPr>
                        <a:t>X</a:t>
                      </a:r>
                      <a:endParaRPr kumimoji="0" lang="pt-PT" sz="11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ALTIA Eddi Ligh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 Light"/>
                          <a:ea typeface="+mn-ea"/>
                          <a:cs typeface="+mn-cs"/>
                        </a:rPr>
                        <a:t>X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 Light"/>
                          <a:ea typeface="+mn-ea"/>
                          <a:cs typeface="+mn-cs"/>
                        </a:rPr>
                        <a:t>X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56914224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1100" b="1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" panose="020B0000000000020000" pitchFamily="34" charset="0"/>
                          <a:ea typeface="ALTIA Eddi" panose="020B0000000000020000" pitchFamily="34" charset="0"/>
                          <a:cs typeface="ALTIA Eddi" panose="020B0000000000020000" pitchFamily="34" charset="0"/>
                        </a:rPr>
                        <a:t>Lorem</a:t>
                      </a:r>
                      <a:r>
                        <a:rPr kumimoji="0" lang="pt-PT" sz="11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" panose="020B0000000000020000" pitchFamily="34" charset="0"/>
                          <a:ea typeface="ALTIA Eddi" panose="020B0000000000020000" pitchFamily="34" charset="0"/>
                          <a:cs typeface="ALTIA Eddi" panose="020B0000000000020000" pitchFamily="34" charset="0"/>
                        </a:rPr>
                        <a:t> </a:t>
                      </a:r>
                      <a:r>
                        <a:rPr kumimoji="0" lang="pt-PT" sz="1100" b="1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" panose="020B0000000000020000" pitchFamily="34" charset="0"/>
                          <a:ea typeface="ALTIA Eddi" panose="020B0000000000020000" pitchFamily="34" charset="0"/>
                          <a:cs typeface="ALTIA Eddi" panose="020B0000000000020000" pitchFamily="34" charset="0"/>
                        </a:rPr>
                        <a:t>Ipsum</a:t>
                      </a:r>
                      <a:endParaRPr kumimoji="0" lang="pt-PT" sz="11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ALTIA Eddi" panose="020B0000000000020000" pitchFamily="34" charset="0"/>
                        <a:ea typeface="ALTIA Eddi" panose="020B0000000000020000" pitchFamily="34" charset="0"/>
                        <a:cs typeface="ALTIA Eddi" panose="020B0000000000020000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 Light"/>
                          <a:ea typeface="+mn-ea"/>
                          <a:cs typeface="+mn-cs"/>
                        </a:rPr>
                        <a:t>X</a:t>
                      </a:r>
                      <a:endParaRPr kumimoji="0" lang="pt-PT" sz="11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ALTIA Eddi Ligh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 Light"/>
                          <a:ea typeface="+mn-ea"/>
                          <a:cs typeface="+mn-cs"/>
                        </a:rPr>
                        <a:t>X</a:t>
                      </a:r>
                      <a:endParaRPr kumimoji="0" lang="pt-PT" sz="11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ALTIA Eddi Ligh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 Light"/>
                          <a:ea typeface="+mn-ea"/>
                          <a:cs typeface="+mn-cs"/>
                        </a:rPr>
                        <a:t>X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244508081"/>
                  </a:ext>
                </a:extLst>
              </a:tr>
            </a:tbl>
          </a:graphicData>
        </a:graphic>
      </p:graphicFrame>
      <p:sp>
        <p:nvSpPr>
          <p:cNvPr id="2" name="Marcador de pie de página 1">
            <a:extLst>
              <a:ext uri="{FF2B5EF4-FFF2-40B4-BE49-F238E27FC236}">
                <a16:creationId xmlns:a16="http://schemas.microsoft.com/office/drawing/2014/main" id="{5602F54E-3512-464D-B162-62B61A0A207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pt-PT"/>
              <a:t>Título de la presentación</a:t>
            </a:r>
            <a:endParaRPr lang="pt-PT" dirty="0"/>
          </a:p>
        </p:txBody>
      </p:sp>
      <p:sp>
        <p:nvSpPr>
          <p:cNvPr id="3" name="Marcador de número de diapositiva 2">
            <a:extLst>
              <a:ext uri="{FF2B5EF4-FFF2-40B4-BE49-F238E27FC236}">
                <a16:creationId xmlns:a16="http://schemas.microsoft.com/office/drawing/2014/main" id="{175736B9-3DB8-4707-B867-DF748922287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4A347C2-D68E-473A-8C76-1D063E4EB6E0}" type="slidenum">
              <a:rPr lang="es-ES" smtClean="0"/>
              <a:pPr/>
              <a:t>24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4033040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5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42" presetClass="path" presetSubtype="0" decel="10000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animMotion origin="layout" path="M 1.25E-6 0.03889 L 1.25E-6 1.85185E-6 " pathEditMode="relative" rAng="0" ptsTypes="AA">
                                      <p:cBhvr>
                                        <p:cTn id="9" dur="5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944"/>
                                    </p:animMotion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25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42" presetClass="path" presetSubtype="0" decel="10000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animMotion origin="layout" path="M 1.25E-6 0.03889 L 1.25E-6 1.85185E-6 " pathEditMode="relative" rAng="0" ptsTypes="AA">
                                      <p:cBhvr>
                                        <p:cTn id="14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944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ítulo 9">
            <a:extLst>
              <a:ext uri="{FF2B5EF4-FFF2-40B4-BE49-F238E27FC236}">
                <a16:creationId xmlns:a16="http://schemas.microsoft.com/office/drawing/2014/main" id="{0C34ACA8-6CBD-458A-24BC-B8B934A3AD2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3184" y="550508"/>
            <a:ext cx="11096625" cy="712204"/>
          </a:xfrm>
        </p:spPr>
        <p:txBody>
          <a:bodyPr/>
          <a:lstStyle/>
          <a:p>
            <a:r>
              <a:rPr lang="pt-PT" dirty="0"/>
              <a:t>Ejemplo de título de slide</a:t>
            </a:r>
          </a:p>
        </p:txBody>
      </p:sp>
      <p:sp>
        <p:nvSpPr>
          <p:cNvPr id="11" name="Marcador de Posição do Texto 10">
            <a:extLst>
              <a:ext uri="{FF2B5EF4-FFF2-40B4-BE49-F238E27FC236}">
                <a16:creationId xmlns:a16="http://schemas.microsoft.com/office/drawing/2014/main" id="{D77C0CBE-6EF5-02F9-E3E1-6D48BD65BF54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512763" y="1156317"/>
            <a:ext cx="11097463" cy="355243"/>
          </a:xfrm>
        </p:spPr>
        <p:txBody>
          <a:bodyPr>
            <a:normAutofit/>
          </a:bodyPr>
          <a:lstStyle/>
          <a:p>
            <a:r>
              <a:rPr lang="pt-PT" dirty="0"/>
              <a:t>Ejemplo de subtítulo de slide</a:t>
            </a:r>
          </a:p>
        </p:txBody>
      </p:sp>
      <p:sp>
        <p:nvSpPr>
          <p:cNvPr id="12" name="Marcador de Posição do Texto 11">
            <a:extLst>
              <a:ext uri="{FF2B5EF4-FFF2-40B4-BE49-F238E27FC236}">
                <a16:creationId xmlns:a16="http://schemas.microsoft.com/office/drawing/2014/main" id="{6F0C197D-3D42-B816-C364-4D8030699CE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Lorem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ipsum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dolor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sit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amet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,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consectetuer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adipiscing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elit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.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Maecenas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porttitor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congue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massa. </a:t>
            </a:r>
            <a:r>
              <a:rPr lang="pt-PT" dirty="0" err="1"/>
              <a:t>Fusce</a:t>
            </a:r>
            <a:r>
              <a:rPr lang="pt-PT" dirty="0"/>
              <a:t> </a:t>
            </a:r>
            <a:r>
              <a:rPr lang="pt-PT" dirty="0" err="1"/>
              <a:t>posuere</a:t>
            </a:r>
            <a:r>
              <a:rPr lang="pt-PT" dirty="0"/>
              <a:t>, magna </a:t>
            </a:r>
            <a:r>
              <a:rPr lang="pt-PT" dirty="0" err="1"/>
              <a:t>sed</a:t>
            </a:r>
            <a:r>
              <a:rPr lang="pt-PT" dirty="0"/>
              <a:t> pulvinar </a:t>
            </a:r>
            <a:r>
              <a:rPr lang="pt-PT" dirty="0" err="1"/>
              <a:t>ultricies</a:t>
            </a:r>
            <a:r>
              <a:rPr lang="pt-PT" dirty="0"/>
              <a:t>, purus </a:t>
            </a:r>
            <a:r>
              <a:rPr lang="pt-PT" dirty="0" err="1"/>
              <a:t>lectus</a:t>
            </a:r>
            <a:r>
              <a:rPr lang="pt-PT" dirty="0"/>
              <a:t> </a:t>
            </a:r>
            <a:r>
              <a:rPr lang="pt-PT" dirty="0" err="1"/>
              <a:t>malesuada</a:t>
            </a:r>
            <a:r>
              <a:rPr lang="pt-PT" dirty="0"/>
              <a:t> libero,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r>
              <a:rPr lang="pt-PT" dirty="0"/>
              <a:t> </a:t>
            </a:r>
            <a:r>
              <a:rPr lang="pt-PT" dirty="0" err="1"/>
              <a:t>commodo</a:t>
            </a:r>
            <a:r>
              <a:rPr lang="pt-PT" dirty="0"/>
              <a:t> magna eros quis urna.</a:t>
            </a:r>
          </a:p>
          <a:p>
            <a:endParaRPr lang="pt-PT" dirty="0"/>
          </a:p>
        </p:txBody>
      </p:sp>
      <p:sp>
        <p:nvSpPr>
          <p:cNvPr id="13" name="Marcador de Posição do Texto 12">
            <a:extLst>
              <a:ext uri="{FF2B5EF4-FFF2-40B4-BE49-F238E27FC236}">
                <a16:creationId xmlns:a16="http://schemas.microsoft.com/office/drawing/2014/main" id="{D732A2E2-3272-4908-4032-B5462A6F04AF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Lorem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ipsum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dolor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sit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amet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,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consectetuer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adipiscing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elit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.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Maecenas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porttitor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congue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massa. </a:t>
            </a:r>
            <a:r>
              <a:rPr lang="pt-PT" dirty="0" err="1"/>
              <a:t>Fusce</a:t>
            </a:r>
            <a:r>
              <a:rPr lang="pt-PT" dirty="0"/>
              <a:t> </a:t>
            </a:r>
            <a:r>
              <a:rPr lang="pt-PT" dirty="0" err="1"/>
              <a:t>posuere</a:t>
            </a:r>
            <a:r>
              <a:rPr lang="pt-PT" dirty="0"/>
              <a:t>, magna </a:t>
            </a:r>
            <a:r>
              <a:rPr lang="pt-PT" dirty="0" err="1"/>
              <a:t>sed</a:t>
            </a:r>
            <a:r>
              <a:rPr lang="pt-PT" dirty="0"/>
              <a:t> pulvinar </a:t>
            </a:r>
            <a:r>
              <a:rPr lang="pt-PT" dirty="0" err="1"/>
              <a:t>ultricies</a:t>
            </a:r>
            <a:r>
              <a:rPr lang="pt-PT" dirty="0"/>
              <a:t>, purus </a:t>
            </a:r>
            <a:r>
              <a:rPr lang="pt-PT" dirty="0" err="1"/>
              <a:t>lectus</a:t>
            </a:r>
            <a:r>
              <a:rPr lang="pt-PT" dirty="0"/>
              <a:t> </a:t>
            </a:r>
            <a:r>
              <a:rPr lang="pt-PT" dirty="0" err="1"/>
              <a:t>malesuada</a:t>
            </a:r>
            <a:r>
              <a:rPr lang="pt-PT" dirty="0"/>
              <a:t> libero,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r>
              <a:rPr lang="pt-PT" dirty="0"/>
              <a:t> </a:t>
            </a:r>
            <a:r>
              <a:rPr lang="pt-PT" dirty="0" err="1"/>
              <a:t>commodo</a:t>
            </a:r>
            <a:r>
              <a:rPr lang="pt-PT" dirty="0"/>
              <a:t> magna eros quis urna.</a:t>
            </a:r>
          </a:p>
          <a:p>
            <a:endParaRPr lang="pt-PT" dirty="0"/>
          </a:p>
        </p:txBody>
      </p:sp>
      <p:sp>
        <p:nvSpPr>
          <p:cNvPr id="14" name="Marcador de Posição do Texto 13">
            <a:extLst>
              <a:ext uri="{FF2B5EF4-FFF2-40B4-BE49-F238E27FC236}">
                <a16:creationId xmlns:a16="http://schemas.microsoft.com/office/drawing/2014/main" id="{F96691AD-0A07-DD5D-CFBA-11C4AAA308E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pt-PT" dirty="0"/>
              <a:t>Título de gráfico</a:t>
            </a:r>
          </a:p>
        </p:txBody>
      </p:sp>
      <p:sp>
        <p:nvSpPr>
          <p:cNvPr id="15" name="Marcador de Posição do Texto 14">
            <a:extLst>
              <a:ext uri="{FF2B5EF4-FFF2-40B4-BE49-F238E27FC236}">
                <a16:creationId xmlns:a16="http://schemas.microsoft.com/office/drawing/2014/main" id="{A06C0288-6FFD-A6BC-8C97-DFA8B9C5FE9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pt-PT" dirty="0"/>
              <a:t>Título de tabla</a:t>
            </a:r>
          </a:p>
        </p:txBody>
      </p:sp>
      <p:graphicFrame>
        <p:nvGraphicFramePr>
          <p:cNvPr id="20" name="Marcador de Posição do Gráfico 19">
            <a:extLst>
              <a:ext uri="{FF2B5EF4-FFF2-40B4-BE49-F238E27FC236}">
                <a16:creationId xmlns:a16="http://schemas.microsoft.com/office/drawing/2014/main" id="{A542A914-A6D3-7C64-23FF-E67BF36B8D6A}"/>
              </a:ext>
            </a:extLst>
          </p:cNvPr>
          <p:cNvGraphicFramePr>
            <a:graphicFrameLocks noGrp="1"/>
          </p:cNvGraphicFramePr>
          <p:nvPr>
            <p:ph type="chart" sz="quarter" idx="17"/>
            <p:extLst>
              <p:ext uri="{D42A27DB-BD31-4B8C-83A1-F6EECF244321}">
                <p14:modId xmlns:p14="http://schemas.microsoft.com/office/powerpoint/2010/main" val="366267179"/>
              </p:ext>
            </p:extLst>
          </p:nvPr>
        </p:nvGraphicFramePr>
        <p:xfrm>
          <a:off x="781050" y="2614613"/>
          <a:ext cx="4762500" cy="2387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21" name="Marcador de Posição da Tabela 15">
            <a:extLst>
              <a:ext uri="{FF2B5EF4-FFF2-40B4-BE49-F238E27FC236}">
                <a16:creationId xmlns:a16="http://schemas.microsoft.com/office/drawing/2014/main" id="{A300B015-D1EE-DDCE-B199-04E8DEB297B4}"/>
              </a:ext>
            </a:extLst>
          </p:cNvPr>
          <p:cNvGraphicFramePr>
            <a:graphicFrameLocks noGrp="1"/>
          </p:cNvGraphicFramePr>
          <p:nvPr>
            <p:ph type="tbl" sz="quarter" idx="19"/>
            <p:extLst>
              <p:ext uri="{D42A27DB-BD31-4B8C-83A1-F6EECF244321}">
                <p14:modId xmlns:p14="http://schemas.microsoft.com/office/powerpoint/2010/main" val="3941009931"/>
              </p:ext>
            </p:extLst>
          </p:nvPr>
        </p:nvGraphicFramePr>
        <p:xfrm>
          <a:off x="6648450" y="2614612"/>
          <a:ext cx="4762488" cy="2283570"/>
        </p:xfrm>
        <a:graphic>
          <a:graphicData uri="http://schemas.openxmlformats.org/drawingml/2006/table">
            <a:tbl>
              <a:tblPr firstRow="1" bandRow="1">
                <a:tableStyleId>{D27102A9-8310-4765-A935-A1911B00CA55}</a:tableStyleId>
              </a:tblPr>
              <a:tblGrid>
                <a:gridCol w="1190622">
                  <a:extLst>
                    <a:ext uri="{9D8B030D-6E8A-4147-A177-3AD203B41FA5}">
                      <a16:colId xmlns:a16="http://schemas.microsoft.com/office/drawing/2014/main" val="1284356485"/>
                    </a:ext>
                  </a:extLst>
                </a:gridCol>
                <a:gridCol w="1190622">
                  <a:extLst>
                    <a:ext uri="{9D8B030D-6E8A-4147-A177-3AD203B41FA5}">
                      <a16:colId xmlns:a16="http://schemas.microsoft.com/office/drawing/2014/main" val="233576607"/>
                    </a:ext>
                  </a:extLst>
                </a:gridCol>
                <a:gridCol w="1190622">
                  <a:extLst>
                    <a:ext uri="{9D8B030D-6E8A-4147-A177-3AD203B41FA5}">
                      <a16:colId xmlns:a16="http://schemas.microsoft.com/office/drawing/2014/main" val="2190844464"/>
                    </a:ext>
                  </a:extLst>
                </a:gridCol>
                <a:gridCol w="1190622">
                  <a:extLst>
                    <a:ext uri="{9D8B030D-6E8A-4147-A177-3AD203B41FA5}">
                      <a16:colId xmlns:a16="http://schemas.microsoft.com/office/drawing/2014/main" val="1665789671"/>
                    </a:ext>
                  </a:extLst>
                </a:gridCol>
              </a:tblGrid>
              <a:tr h="380595">
                <a:tc>
                  <a:txBody>
                    <a:bodyPr/>
                    <a:lstStyle/>
                    <a:p>
                      <a:pPr algn="ctr"/>
                      <a:r>
                        <a:rPr lang="pt-PT" sz="1100" b="1" dirty="0" err="1">
                          <a:solidFill>
                            <a:schemeClr val="tx2"/>
                          </a:solidFill>
                          <a:latin typeface="ALTIA Eddi" panose="020B0000000000020000" pitchFamily="34" charset="0"/>
                          <a:ea typeface="ALTIA Eddi" panose="020B0000000000020000" pitchFamily="34" charset="0"/>
                          <a:cs typeface="ALTIA Eddi" panose="020B0000000000020000" pitchFamily="34" charset="0"/>
                        </a:rPr>
                        <a:t>Lorem</a:t>
                      </a:r>
                      <a:r>
                        <a:rPr lang="pt-PT" sz="1100" b="1" dirty="0">
                          <a:solidFill>
                            <a:schemeClr val="tx2"/>
                          </a:solidFill>
                          <a:latin typeface="ALTIA Eddi" panose="020B0000000000020000" pitchFamily="34" charset="0"/>
                          <a:ea typeface="ALTIA Eddi" panose="020B0000000000020000" pitchFamily="34" charset="0"/>
                          <a:cs typeface="ALTIA Eddi" panose="020B0000000000020000" pitchFamily="34" charset="0"/>
                        </a:rPr>
                        <a:t> </a:t>
                      </a:r>
                      <a:r>
                        <a:rPr lang="pt-PT" sz="1100" b="1" dirty="0" err="1">
                          <a:solidFill>
                            <a:schemeClr val="tx2"/>
                          </a:solidFill>
                          <a:latin typeface="ALTIA Eddi" panose="020B0000000000020000" pitchFamily="34" charset="0"/>
                          <a:ea typeface="ALTIA Eddi" panose="020B0000000000020000" pitchFamily="34" charset="0"/>
                          <a:cs typeface="ALTIA Eddi" panose="020B0000000000020000" pitchFamily="34" charset="0"/>
                        </a:rPr>
                        <a:t>Ipsum</a:t>
                      </a:r>
                      <a:endParaRPr lang="pt-PT" sz="1100" b="1" dirty="0">
                        <a:solidFill>
                          <a:schemeClr val="tx2"/>
                        </a:solidFill>
                        <a:latin typeface="ALTIA Eddi" panose="020B0000000000020000" pitchFamily="34" charset="0"/>
                        <a:ea typeface="ALTIA Eddi" panose="020B0000000000020000" pitchFamily="34" charset="0"/>
                        <a:cs typeface="ALTIA Eddi" panose="020B0000000000020000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1100" b="1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" panose="020B0000000000020000" pitchFamily="34" charset="0"/>
                          <a:ea typeface="ALTIA Eddi" panose="020B0000000000020000" pitchFamily="34" charset="0"/>
                          <a:cs typeface="ALTIA Eddi" panose="020B0000000000020000" pitchFamily="34" charset="0"/>
                        </a:rPr>
                        <a:t>Lorem</a:t>
                      </a:r>
                      <a:r>
                        <a:rPr kumimoji="0" lang="pt-PT" sz="11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" panose="020B0000000000020000" pitchFamily="34" charset="0"/>
                          <a:ea typeface="ALTIA Eddi" panose="020B0000000000020000" pitchFamily="34" charset="0"/>
                          <a:cs typeface="ALTIA Eddi" panose="020B0000000000020000" pitchFamily="34" charset="0"/>
                        </a:rPr>
                        <a:t> </a:t>
                      </a:r>
                      <a:r>
                        <a:rPr kumimoji="0" lang="pt-PT" sz="1100" b="1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" panose="020B0000000000020000" pitchFamily="34" charset="0"/>
                          <a:ea typeface="ALTIA Eddi" panose="020B0000000000020000" pitchFamily="34" charset="0"/>
                          <a:cs typeface="ALTIA Eddi" panose="020B0000000000020000" pitchFamily="34" charset="0"/>
                        </a:rPr>
                        <a:t>Ipsum</a:t>
                      </a:r>
                      <a:endParaRPr kumimoji="0" lang="pt-PT" sz="11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ALTIA Eddi" panose="020B0000000000020000" pitchFamily="34" charset="0"/>
                        <a:ea typeface="ALTIA Eddi" panose="020B0000000000020000" pitchFamily="34" charset="0"/>
                        <a:cs typeface="ALTIA Eddi" panose="020B0000000000020000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1100" b="1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" panose="020B0000000000020000" pitchFamily="34" charset="0"/>
                          <a:ea typeface="ALTIA Eddi" panose="020B0000000000020000" pitchFamily="34" charset="0"/>
                          <a:cs typeface="ALTIA Eddi" panose="020B0000000000020000" pitchFamily="34" charset="0"/>
                        </a:rPr>
                        <a:t>Lorem</a:t>
                      </a:r>
                      <a:r>
                        <a:rPr kumimoji="0" lang="pt-PT" sz="11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" panose="020B0000000000020000" pitchFamily="34" charset="0"/>
                          <a:ea typeface="ALTIA Eddi" panose="020B0000000000020000" pitchFamily="34" charset="0"/>
                          <a:cs typeface="ALTIA Eddi" panose="020B0000000000020000" pitchFamily="34" charset="0"/>
                        </a:rPr>
                        <a:t> </a:t>
                      </a:r>
                      <a:r>
                        <a:rPr kumimoji="0" lang="pt-PT" sz="1100" b="1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" panose="020B0000000000020000" pitchFamily="34" charset="0"/>
                          <a:ea typeface="ALTIA Eddi" panose="020B0000000000020000" pitchFamily="34" charset="0"/>
                          <a:cs typeface="ALTIA Eddi" panose="020B0000000000020000" pitchFamily="34" charset="0"/>
                        </a:rPr>
                        <a:t>Ipsum</a:t>
                      </a:r>
                      <a:endParaRPr kumimoji="0" lang="pt-PT" sz="11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ALTIA Eddi" panose="020B0000000000020000" pitchFamily="34" charset="0"/>
                        <a:ea typeface="ALTIA Eddi" panose="020B0000000000020000" pitchFamily="34" charset="0"/>
                        <a:cs typeface="ALTIA Eddi" panose="020B0000000000020000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11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" panose="020B0000000000020000" pitchFamily="34" charset="0"/>
                          <a:ea typeface="ALTIA Eddi" panose="020B0000000000020000" pitchFamily="34" charset="0"/>
                          <a:cs typeface="ALTIA Eddi" panose="020B0000000000020000" pitchFamily="34" charset="0"/>
                        </a:rPr>
                        <a:t>Lorem Ipsum</a:t>
                      </a:r>
                      <a:endParaRPr kumimoji="0" lang="pt-PT" sz="11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ALTIA Eddi" panose="020B0000000000020000" pitchFamily="34" charset="0"/>
                        <a:ea typeface="ALTIA Eddi" panose="020B0000000000020000" pitchFamily="34" charset="0"/>
                        <a:cs typeface="ALTIA Eddi" panose="020B0000000000020000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209220420"/>
                  </a:ext>
                </a:extLst>
              </a:tr>
              <a:tr h="380595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1100" b="1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" panose="020B0000000000020000" pitchFamily="34" charset="0"/>
                          <a:ea typeface="ALTIA Eddi" panose="020B0000000000020000" pitchFamily="34" charset="0"/>
                          <a:cs typeface="ALTIA Eddi" panose="020B0000000000020000" pitchFamily="34" charset="0"/>
                        </a:rPr>
                        <a:t>Lorem</a:t>
                      </a:r>
                      <a:r>
                        <a:rPr kumimoji="0" lang="pt-PT" sz="11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" panose="020B0000000000020000" pitchFamily="34" charset="0"/>
                          <a:ea typeface="ALTIA Eddi" panose="020B0000000000020000" pitchFamily="34" charset="0"/>
                          <a:cs typeface="ALTIA Eddi" panose="020B0000000000020000" pitchFamily="34" charset="0"/>
                        </a:rPr>
                        <a:t> </a:t>
                      </a:r>
                      <a:r>
                        <a:rPr kumimoji="0" lang="pt-PT" sz="1100" b="1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" panose="020B0000000000020000" pitchFamily="34" charset="0"/>
                          <a:ea typeface="ALTIA Eddi" panose="020B0000000000020000" pitchFamily="34" charset="0"/>
                          <a:cs typeface="ALTIA Eddi" panose="020B0000000000020000" pitchFamily="34" charset="0"/>
                        </a:rPr>
                        <a:t>Ipsum</a:t>
                      </a:r>
                      <a:endParaRPr kumimoji="0" lang="pt-PT" sz="11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ALTIA Eddi" panose="020B0000000000020000" pitchFamily="34" charset="0"/>
                        <a:ea typeface="ALTIA Eddi" panose="020B0000000000020000" pitchFamily="34" charset="0"/>
                        <a:cs typeface="ALTIA Eddi" panose="020B0000000000020000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PT" sz="1100" dirty="0">
                          <a:solidFill>
                            <a:schemeClr val="tx2"/>
                          </a:solidFill>
                        </a:rPr>
                        <a:t>X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 Light"/>
                          <a:ea typeface="+mn-ea"/>
                          <a:cs typeface="+mn-cs"/>
                        </a:rPr>
                        <a:t>X</a:t>
                      </a:r>
                      <a:endParaRPr kumimoji="0" lang="pt-PT" sz="11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ALTIA Eddi Ligh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 Light"/>
                          <a:ea typeface="+mn-ea"/>
                          <a:cs typeface="+mn-cs"/>
                        </a:rPr>
                        <a:t>X</a:t>
                      </a:r>
                      <a:endParaRPr kumimoji="0" lang="pt-PT" sz="11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ALTIA Eddi Ligh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673586960"/>
                  </a:ext>
                </a:extLst>
              </a:tr>
              <a:tr h="380595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1100" b="1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" panose="020B0000000000020000" pitchFamily="34" charset="0"/>
                          <a:ea typeface="ALTIA Eddi" panose="020B0000000000020000" pitchFamily="34" charset="0"/>
                          <a:cs typeface="ALTIA Eddi" panose="020B0000000000020000" pitchFamily="34" charset="0"/>
                        </a:rPr>
                        <a:t>Lorem</a:t>
                      </a:r>
                      <a:r>
                        <a:rPr kumimoji="0" lang="pt-PT" sz="11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" panose="020B0000000000020000" pitchFamily="34" charset="0"/>
                          <a:ea typeface="ALTIA Eddi" panose="020B0000000000020000" pitchFamily="34" charset="0"/>
                          <a:cs typeface="ALTIA Eddi" panose="020B0000000000020000" pitchFamily="34" charset="0"/>
                        </a:rPr>
                        <a:t> </a:t>
                      </a:r>
                      <a:r>
                        <a:rPr kumimoji="0" lang="pt-PT" sz="1100" b="1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" panose="020B0000000000020000" pitchFamily="34" charset="0"/>
                          <a:ea typeface="ALTIA Eddi" panose="020B0000000000020000" pitchFamily="34" charset="0"/>
                          <a:cs typeface="ALTIA Eddi" panose="020B0000000000020000" pitchFamily="34" charset="0"/>
                        </a:rPr>
                        <a:t>Ipsum</a:t>
                      </a:r>
                      <a:endParaRPr kumimoji="0" lang="pt-PT" sz="11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ALTIA Eddi" panose="020B0000000000020000" pitchFamily="34" charset="0"/>
                        <a:ea typeface="ALTIA Eddi" panose="020B0000000000020000" pitchFamily="34" charset="0"/>
                        <a:cs typeface="ALTIA Eddi" panose="020B0000000000020000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 Light"/>
                          <a:ea typeface="+mn-ea"/>
                          <a:cs typeface="+mn-cs"/>
                        </a:rPr>
                        <a:t>X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 Light"/>
                          <a:ea typeface="+mn-ea"/>
                          <a:cs typeface="+mn-cs"/>
                        </a:rPr>
                        <a:t>X</a:t>
                      </a:r>
                      <a:endParaRPr kumimoji="0" lang="pt-PT" sz="11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ALTIA Eddi Ligh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 Light"/>
                          <a:ea typeface="+mn-ea"/>
                          <a:cs typeface="+mn-cs"/>
                        </a:rPr>
                        <a:t>X</a:t>
                      </a:r>
                      <a:endParaRPr kumimoji="0" lang="pt-PT" sz="11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ALTIA Eddi Ligh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668205385"/>
                  </a:ext>
                </a:extLst>
              </a:tr>
              <a:tr h="380595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11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" panose="020B0000000000020000" pitchFamily="34" charset="0"/>
                          <a:ea typeface="ALTIA Eddi" panose="020B0000000000020000" pitchFamily="34" charset="0"/>
                          <a:cs typeface="ALTIA Eddi" panose="020B0000000000020000" pitchFamily="34" charset="0"/>
                        </a:rPr>
                        <a:t>Lorem Ipsum</a:t>
                      </a:r>
                      <a:endParaRPr kumimoji="0" lang="pt-PT" sz="11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ALTIA Eddi" panose="020B0000000000020000" pitchFamily="34" charset="0"/>
                        <a:ea typeface="ALTIA Eddi" panose="020B0000000000020000" pitchFamily="34" charset="0"/>
                        <a:cs typeface="ALTIA Eddi" panose="020B0000000000020000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 Light"/>
                          <a:ea typeface="+mn-ea"/>
                          <a:cs typeface="+mn-cs"/>
                        </a:rPr>
                        <a:t>X</a:t>
                      </a:r>
                      <a:endParaRPr kumimoji="0" lang="pt-PT" sz="11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ALTIA Eddi Ligh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 Light"/>
                          <a:ea typeface="+mn-ea"/>
                          <a:cs typeface="+mn-cs"/>
                        </a:rPr>
                        <a:t>X</a:t>
                      </a:r>
                      <a:endParaRPr kumimoji="0" lang="pt-PT" sz="11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ALTIA Eddi Ligh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 Light"/>
                          <a:ea typeface="+mn-ea"/>
                          <a:cs typeface="+mn-cs"/>
                        </a:rPr>
                        <a:t>X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779804851"/>
                  </a:ext>
                </a:extLst>
              </a:tr>
              <a:tr h="380595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1100" b="1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" panose="020B0000000000020000" pitchFamily="34" charset="0"/>
                          <a:ea typeface="ALTIA Eddi" panose="020B0000000000020000" pitchFamily="34" charset="0"/>
                          <a:cs typeface="ALTIA Eddi" panose="020B0000000000020000" pitchFamily="34" charset="0"/>
                        </a:rPr>
                        <a:t>Lorem</a:t>
                      </a:r>
                      <a:r>
                        <a:rPr kumimoji="0" lang="pt-PT" sz="11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" panose="020B0000000000020000" pitchFamily="34" charset="0"/>
                          <a:ea typeface="ALTIA Eddi" panose="020B0000000000020000" pitchFamily="34" charset="0"/>
                          <a:cs typeface="ALTIA Eddi" panose="020B0000000000020000" pitchFamily="34" charset="0"/>
                        </a:rPr>
                        <a:t> </a:t>
                      </a:r>
                      <a:r>
                        <a:rPr kumimoji="0" lang="pt-PT" sz="1100" b="1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" panose="020B0000000000020000" pitchFamily="34" charset="0"/>
                          <a:ea typeface="ALTIA Eddi" panose="020B0000000000020000" pitchFamily="34" charset="0"/>
                          <a:cs typeface="ALTIA Eddi" panose="020B0000000000020000" pitchFamily="34" charset="0"/>
                        </a:rPr>
                        <a:t>Ipsum</a:t>
                      </a:r>
                      <a:endParaRPr kumimoji="0" lang="pt-PT" sz="11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ALTIA Eddi" panose="020B0000000000020000" pitchFamily="34" charset="0"/>
                        <a:ea typeface="ALTIA Eddi" panose="020B0000000000020000" pitchFamily="34" charset="0"/>
                        <a:cs typeface="ALTIA Eddi" panose="020B0000000000020000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 Light"/>
                          <a:ea typeface="+mn-ea"/>
                          <a:cs typeface="+mn-cs"/>
                        </a:rPr>
                        <a:t>X</a:t>
                      </a:r>
                      <a:endParaRPr kumimoji="0" lang="pt-PT" sz="11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ALTIA Eddi Ligh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 Light"/>
                          <a:ea typeface="+mn-ea"/>
                          <a:cs typeface="+mn-cs"/>
                        </a:rPr>
                        <a:t>X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 Light"/>
                          <a:ea typeface="+mn-ea"/>
                          <a:cs typeface="+mn-cs"/>
                        </a:rPr>
                        <a:t>X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569142246"/>
                  </a:ext>
                </a:extLst>
              </a:tr>
              <a:tr h="380595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1100" b="1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" panose="020B0000000000020000" pitchFamily="34" charset="0"/>
                          <a:ea typeface="ALTIA Eddi" panose="020B0000000000020000" pitchFamily="34" charset="0"/>
                          <a:cs typeface="ALTIA Eddi" panose="020B0000000000020000" pitchFamily="34" charset="0"/>
                        </a:rPr>
                        <a:t>Lorem</a:t>
                      </a:r>
                      <a:r>
                        <a:rPr kumimoji="0" lang="pt-PT" sz="11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" panose="020B0000000000020000" pitchFamily="34" charset="0"/>
                          <a:ea typeface="ALTIA Eddi" panose="020B0000000000020000" pitchFamily="34" charset="0"/>
                          <a:cs typeface="ALTIA Eddi" panose="020B0000000000020000" pitchFamily="34" charset="0"/>
                        </a:rPr>
                        <a:t> </a:t>
                      </a:r>
                      <a:r>
                        <a:rPr kumimoji="0" lang="pt-PT" sz="1100" b="1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" panose="020B0000000000020000" pitchFamily="34" charset="0"/>
                          <a:ea typeface="ALTIA Eddi" panose="020B0000000000020000" pitchFamily="34" charset="0"/>
                          <a:cs typeface="ALTIA Eddi" panose="020B0000000000020000" pitchFamily="34" charset="0"/>
                        </a:rPr>
                        <a:t>Ipsum</a:t>
                      </a:r>
                      <a:endParaRPr kumimoji="0" lang="pt-PT" sz="11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ALTIA Eddi" panose="020B0000000000020000" pitchFamily="34" charset="0"/>
                        <a:ea typeface="ALTIA Eddi" panose="020B0000000000020000" pitchFamily="34" charset="0"/>
                        <a:cs typeface="ALTIA Eddi" panose="020B0000000000020000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 Light"/>
                          <a:ea typeface="+mn-ea"/>
                          <a:cs typeface="+mn-cs"/>
                        </a:rPr>
                        <a:t>X</a:t>
                      </a:r>
                      <a:endParaRPr kumimoji="0" lang="pt-PT" sz="11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ALTIA Eddi Ligh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 Light"/>
                          <a:ea typeface="+mn-ea"/>
                          <a:cs typeface="+mn-cs"/>
                        </a:rPr>
                        <a:t>X</a:t>
                      </a:r>
                      <a:endParaRPr kumimoji="0" lang="pt-PT" sz="11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ALTIA Eddi Ligh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 Light"/>
                          <a:ea typeface="+mn-ea"/>
                          <a:cs typeface="+mn-cs"/>
                        </a:rPr>
                        <a:t>X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244508081"/>
                  </a:ext>
                </a:extLst>
              </a:tr>
            </a:tbl>
          </a:graphicData>
        </a:graphic>
      </p:graphicFrame>
      <p:sp>
        <p:nvSpPr>
          <p:cNvPr id="2" name="Marcador de pie de página 1">
            <a:extLst>
              <a:ext uri="{FF2B5EF4-FFF2-40B4-BE49-F238E27FC236}">
                <a16:creationId xmlns:a16="http://schemas.microsoft.com/office/drawing/2014/main" id="{30F4C73A-3733-4F09-9E6E-ADE0AF3A077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pt-PT"/>
              <a:t>Título de la presentación</a:t>
            </a:r>
            <a:endParaRPr lang="pt-PT" dirty="0"/>
          </a:p>
        </p:txBody>
      </p:sp>
      <p:sp>
        <p:nvSpPr>
          <p:cNvPr id="3" name="Marcador de número de diapositiva 2">
            <a:extLst>
              <a:ext uri="{FF2B5EF4-FFF2-40B4-BE49-F238E27FC236}">
                <a16:creationId xmlns:a16="http://schemas.microsoft.com/office/drawing/2014/main" id="{F721B871-9557-4080-9A3F-7D4513B92A2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4A347C2-D68E-473A-8C76-1D063E4EB6E0}" type="slidenum">
              <a:rPr lang="es-ES" smtClean="0"/>
              <a:pPr/>
              <a:t>25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6516126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ítulo 9">
            <a:extLst>
              <a:ext uri="{FF2B5EF4-FFF2-40B4-BE49-F238E27FC236}">
                <a16:creationId xmlns:a16="http://schemas.microsoft.com/office/drawing/2014/main" id="{391992E0-1263-3CC5-AC93-3F1C48C0CAE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PT" dirty="0"/>
              <a:t>Ejemplo de título de slide</a:t>
            </a:r>
          </a:p>
        </p:txBody>
      </p:sp>
      <p:sp>
        <p:nvSpPr>
          <p:cNvPr id="11" name="Marcador de Posição do Texto 10">
            <a:extLst>
              <a:ext uri="{FF2B5EF4-FFF2-40B4-BE49-F238E27FC236}">
                <a16:creationId xmlns:a16="http://schemas.microsoft.com/office/drawing/2014/main" id="{0E087DE9-520C-D404-1200-D55576851FB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>
            <a:normAutofit lnSpcReduction="10000"/>
          </a:bodyPr>
          <a:lstStyle/>
          <a:p>
            <a:r>
              <a:rPr lang="pt-PT" dirty="0"/>
              <a:t>Ejemplo de subtítulo de slide</a:t>
            </a:r>
          </a:p>
        </p:txBody>
      </p:sp>
      <p:sp>
        <p:nvSpPr>
          <p:cNvPr id="12" name="Marcador de Posição do Texto 11">
            <a:extLst>
              <a:ext uri="{FF2B5EF4-FFF2-40B4-BE49-F238E27FC236}">
                <a16:creationId xmlns:a16="http://schemas.microsoft.com/office/drawing/2014/main" id="{04106D6D-3C38-A2DD-B9B8-05818DF6CB8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Lorem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ipsum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dolor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sit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amet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,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consectetuer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adipiscing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elit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.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Maecenas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porttitor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congue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massa. </a:t>
            </a:r>
            <a:r>
              <a:rPr lang="pt-PT" dirty="0" err="1"/>
              <a:t>Fusce</a:t>
            </a:r>
            <a:r>
              <a:rPr lang="pt-PT" dirty="0"/>
              <a:t> </a:t>
            </a:r>
            <a:r>
              <a:rPr lang="pt-PT" dirty="0" err="1"/>
              <a:t>posuere</a:t>
            </a:r>
            <a:r>
              <a:rPr lang="pt-PT" dirty="0"/>
              <a:t>, magna </a:t>
            </a:r>
            <a:r>
              <a:rPr lang="pt-PT" dirty="0" err="1"/>
              <a:t>sed</a:t>
            </a:r>
            <a:r>
              <a:rPr lang="pt-PT" dirty="0"/>
              <a:t> pulvinar </a:t>
            </a:r>
            <a:r>
              <a:rPr lang="pt-PT" dirty="0" err="1"/>
              <a:t>ultricies</a:t>
            </a:r>
            <a:r>
              <a:rPr lang="pt-PT" dirty="0"/>
              <a:t>, purus </a:t>
            </a:r>
            <a:r>
              <a:rPr lang="pt-PT" dirty="0" err="1"/>
              <a:t>lectus</a:t>
            </a:r>
            <a:r>
              <a:rPr lang="pt-PT" dirty="0"/>
              <a:t> </a:t>
            </a:r>
            <a:r>
              <a:rPr lang="pt-PT" dirty="0" err="1"/>
              <a:t>malesuada</a:t>
            </a:r>
            <a:r>
              <a:rPr lang="pt-PT" dirty="0"/>
              <a:t> libero,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r>
              <a:rPr lang="pt-PT" dirty="0"/>
              <a:t> </a:t>
            </a:r>
            <a:r>
              <a:rPr lang="pt-PT" dirty="0" err="1"/>
              <a:t>commodo</a:t>
            </a:r>
            <a:r>
              <a:rPr lang="pt-PT" dirty="0"/>
              <a:t> magna eros quis urna.</a:t>
            </a:r>
          </a:p>
          <a:p>
            <a:pPr marL="171450" indent="-171450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r>
              <a:rPr lang="pt-PT" dirty="0"/>
              <a:t> </a:t>
            </a:r>
            <a:r>
              <a:rPr lang="pt-PT" dirty="0" err="1"/>
              <a:t>commodo</a:t>
            </a:r>
            <a:r>
              <a:rPr lang="pt-PT" dirty="0"/>
              <a:t> magna eros quis urna.</a:t>
            </a:r>
          </a:p>
          <a:p>
            <a:pPr marL="171450" indent="-171450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r>
              <a:rPr lang="pt-PT" dirty="0"/>
              <a:t> </a:t>
            </a:r>
            <a:r>
              <a:rPr lang="pt-PT" dirty="0" err="1"/>
              <a:t>commodo</a:t>
            </a:r>
            <a:r>
              <a:rPr lang="pt-PT" dirty="0"/>
              <a:t> magna eros quis urna.</a:t>
            </a:r>
          </a:p>
        </p:txBody>
      </p:sp>
      <p:sp>
        <p:nvSpPr>
          <p:cNvPr id="13" name="Marcador de Posição do Texto 12">
            <a:extLst>
              <a:ext uri="{FF2B5EF4-FFF2-40B4-BE49-F238E27FC236}">
                <a16:creationId xmlns:a16="http://schemas.microsoft.com/office/drawing/2014/main" id="{282B3AB8-59D8-D4F3-7EBA-221C8500765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pt-PT" dirty="0"/>
              <a:t>Texto destacado</a:t>
            </a:r>
          </a:p>
        </p:txBody>
      </p:sp>
      <p:sp>
        <p:nvSpPr>
          <p:cNvPr id="14" name="Marcador de Posição do Texto 13">
            <a:extLst>
              <a:ext uri="{FF2B5EF4-FFF2-40B4-BE49-F238E27FC236}">
                <a16:creationId xmlns:a16="http://schemas.microsoft.com/office/drawing/2014/main" id="{CD75B549-4727-2E28-BF60-B6DE44E7892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Lorem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ipsum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dolor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sit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amet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,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consectetuer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adipiscing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elit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.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Maecenas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porttitor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congue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massa. </a:t>
            </a:r>
            <a:r>
              <a:rPr lang="pt-PT" dirty="0" err="1"/>
              <a:t>Fusce</a:t>
            </a:r>
            <a:r>
              <a:rPr lang="pt-PT" dirty="0"/>
              <a:t> </a:t>
            </a:r>
            <a:r>
              <a:rPr lang="pt-PT" dirty="0" err="1"/>
              <a:t>posuere</a:t>
            </a:r>
            <a:r>
              <a:rPr lang="pt-PT" dirty="0"/>
              <a:t>, magna </a:t>
            </a:r>
            <a:r>
              <a:rPr lang="pt-PT" dirty="0" err="1"/>
              <a:t>sed</a:t>
            </a:r>
            <a:r>
              <a:rPr lang="pt-PT" dirty="0"/>
              <a:t> pulvinar </a:t>
            </a:r>
            <a:r>
              <a:rPr lang="pt-PT" dirty="0" err="1"/>
              <a:t>ultricies</a:t>
            </a:r>
            <a:r>
              <a:rPr lang="pt-PT" dirty="0"/>
              <a:t>, purus </a:t>
            </a:r>
            <a:r>
              <a:rPr lang="pt-PT" dirty="0" err="1"/>
              <a:t>lectus</a:t>
            </a:r>
            <a:r>
              <a:rPr lang="pt-PT" dirty="0"/>
              <a:t> </a:t>
            </a:r>
            <a:r>
              <a:rPr lang="pt-PT" dirty="0" err="1"/>
              <a:t>malesuada</a:t>
            </a:r>
            <a:r>
              <a:rPr lang="pt-PT" dirty="0"/>
              <a:t> libero,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r>
              <a:rPr lang="pt-PT" dirty="0"/>
              <a:t> </a:t>
            </a:r>
            <a:r>
              <a:rPr lang="pt-PT" dirty="0" err="1"/>
              <a:t>commodo</a:t>
            </a:r>
            <a:r>
              <a:rPr lang="pt-PT" dirty="0"/>
              <a:t> magna eros quis urna.</a:t>
            </a:r>
          </a:p>
          <a:p>
            <a:pPr marL="171450" indent="-171450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r>
              <a:rPr lang="pt-PT" dirty="0"/>
              <a:t> </a:t>
            </a:r>
            <a:r>
              <a:rPr lang="pt-PT" dirty="0" err="1"/>
              <a:t>commodo</a:t>
            </a:r>
            <a:r>
              <a:rPr lang="pt-PT" dirty="0"/>
              <a:t> magna eros quis urna.</a:t>
            </a:r>
          </a:p>
          <a:p>
            <a:pPr marL="171450" indent="-171450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r>
              <a:rPr lang="pt-PT" dirty="0"/>
              <a:t> </a:t>
            </a:r>
            <a:r>
              <a:rPr lang="pt-PT" dirty="0" err="1"/>
              <a:t>commodo</a:t>
            </a:r>
            <a:r>
              <a:rPr lang="pt-PT" dirty="0"/>
              <a:t> magna eros quis urna.</a:t>
            </a:r>
          </a:p>
          <a:p>
            <a:endParaRPr lang="pt-PT" dirty="0"/>
          </a:p>
        </p:txBody>
      </p:sp>
      <p:sp>
        <p:nvSpPr>
          <p:cNvPr id="15" name="Marcador de Posição do Texto 14">
            <a:extLst>
              <a:ext uri="{FF2B5EF4-FFF2-40B4-BE49-F238E27FC236}">
                <a16:creationId xmlns:a16="http://schemas.microsoft.com/office/drawing/2014/main" id="{F9308E25-F41B-9283-13ED-096B7A62B16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pt-PT" dirty="0"/>
              <a:t>Texto destacado</a:t>
            </a:r>
          </a:p>
        </p:txBody>
      </p:sp>
      <p:sp>
        <p:nvSpPr>
          <p:cNvPr id="16" name="Marcador de Posição do Texto 15">
            <a:extLst>
              <a:ext uri="{FF2B5EF4-FFF2-40B4-BE49-F238E27FC236}">
                <a16:creationId xmlns:a16="http://schemas.microsoft.com/office/drawing/2014/main" id="{8758CBF1-2DD3-A699-B85A-CB14B4CB6F6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Lorem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ipsum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dolor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sit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amet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,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consectetuer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adipiscing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elit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.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Maecenas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porttitor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congue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massa. </a:t>
            </a:r>
            <a:r>
              <a:rPr lang="pt-PT" dirty="0" err="1"/>
              <a:t>Fusce</a:t>
            </a:r>
            <a:r>
              <a:rPr lang="pt-PT" dirty="0"/>
              <a:t> </a:t>
            </a:r>
            <a:r>
              <a:rPr lang="pt-PT" dirty="0" err="1"/>
              <a:t>posuere</a:t>
            </a:r>
            <a:r>
              <a:rPr lang="pt-PT" dirty="0"/>
              <a:t>, magna </a:t>
            </a:r>
            <a:r>
              <a:rPr lang="pt-PT" dirty="0" err="1"/>
              <a:t>sed</a:t>
            </a:r>
            <a:r>
              <a:rPr lang="pt-PT" dirty="0"/>
              <a:t> pulvinar </a:t>
            </a:r>
            <a:r>
              <a:rPr lang="pt-PT" dirty="0" err="1"/>
              <a:t>ultricies</a:t>
            </a:r>
            <a:r>
              <a:rPr lang="pt-PT" dirty="0"/>
              <a:t>, purus </a:t>
            </a:r>
            <a:r>
              <a:rPr lang="pt-PT" dirty="0" err="1"/>
              <a:t>lectus</a:t>
            </a:r>
            <a:r>
              <a:rPr lang="pt-PT" dirty="0"/>
              <a:t> </a:t>
            </a:r>
            <a:r>
              <a:rPr lang="pt-PT" dirty="0" err="1"/>
              <a:t>malesuada</a:t>
            </a:r>
            <a:r>
              <a:rPr lang="pt-PT" dirty="0"/>
              <a:t> libero,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r>
              <a:rPr lang="pt-PT" dirty="0"/>
              <a:t> </a:t>
            </a:r>
            <a:r>
              <a:rPr lang="pt-PT" dirty="0" err="1"/>
              <a:t>commodo</a:t>
            </a:r>
            <a:r>
              <a:rPr lang="pt-PT" dirty="0"/>
              <a:t> magna eros quis urna.</a:t>
            </a:r>
          </a:p>
          <a:p>
            <a:pPr marL="171450" indent="-171450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r>
              <a:rPr lang="pt-PT" dirty="0"/>
              <a:t> </a:t>
            </a:r>
            <a:r>
              <a:rPr lang="pt-PT" dirty="0" err="1"/>
              <a:t>commodo</a:t>
            </a:r>
            <a:r>
              <a:rPr lang="pt-PT" dirty="0"/>
              <a:t> magna eros quis urna.</a:t>
            </a:r>
          </a:p>
          <a:p>
            <a:pPr marL="171450" indent="-171450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r>
              <a:rPr lang="pt-PT" dirty="0"/>
              <a:t> </a:t>
            </a:r>
            <a:r>
              <a:rPr lang="pt-PT" dirty="0" err="1"/>
              <a:t>commodo</a:t>
            </a:r>
            <a:r>
              <a:rPr lang="pt-PT" dirty="0"/>
              <a:t> magna eros quis urna.</a:t>
            </a:r>
          </a:p>
          <a:p>
            <a:endParaRPr lang="pt-PT" dirty="0"/>
          </a:p>
          <a:p>
            <a:endParaRPr lang="pt-PT" dirty="0"/>
          </a:p>
        </p:txBody>
      </p:sp>
      <p:sp>
        <p:nvSpPr>
          <p:cNvPr id="17" name="Marcador de Posição do Texto 16">
            <a:extLst>
              <a:ext uri="{FF2B5EF4-FFF2-40B4-BE49-F238E27FC236}">
                <a16:creationId xmlns:a16="http://schemas.microsoft.com/office/drawing/2014/main" id="{A82CD98F-AC95-CFCE-F97A-1312E3DE688A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r>
              <a:rPr lang="pt-PT" dirty="0"/>
              <a:t>Texto destacado</a:t>
            </a:r>
          </a:p>
        </p:txBody>
      </p:sp>
      <p:sp>
        <p:nvSpPr>
          <p:cNvPr id="18" name="Marcador de Posição do Texto 17">
            <a:extLst>
              <a:ext uri="{FF2B5EF4-FFF2-40B4-BE49-F238E27FC236}">
                <a16:creationId xmlns:a16="http://schemas.microsoft.com/office/drawing/2014/main" id="{63D3D74A-345A-7683-77F2-82C274325F47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Lorem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ipsum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dolor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sit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amet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,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consectetuer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adipiscing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elit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.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Maecenas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porttitor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congue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massa. </a:t>
            </a:r>
            <a:r>
              <a:rPr lang="pt-PT" dirty="0" err="1"/>
              <a:t>Fusce</a:t>
            </a:r>
            <a:r>
              <a:rPr lang="pt-PT" dirty="0"/>
              <a:t> </a:t>
            </a:r>
            <a:r>
              <a:rPr lang="pt-PT" dirty="0" err="1"/>
              <a:t>posuere</a:t>
            </a:r>
            <a:r>
              <a:rPr lang="pt-PT" dirty="0"/>
              <a:t>, magna </a:t>
            </a:r>
            <a:r>
              <a:rPr lang="pt-PT" dirty="0" err="1"/>
              <a:t>sed</a:t>
            </a:r>
            <a:r>
              <a:rPr lang="pt-PT" dirty="0"/>
              <a:t> pulvinar </a:t>
            </a:r>
            <a:r>
              <a:rPr lang="pt-PT" dirty="0" err="1"/>
              <a:t>ultricies</a:t>
            </a:r>
            <a:r>
              <a:rPr lang="pt-PT" dirty="0"/>
              <a:t>, purus </a:t>
            </a:r>
            <a:r>
              <a:rPr lang="pt-PT" dirty="0" err="1"/>
              <a:t>lectus</a:t>
            </a:r>
            <a:r>
              <a:rPr lang="pt-PT" dirty="0"/>
              <a:t> </a:t>
            </a:r>
            <a:r>
              <a:rPr lang="pt-PT" dirty="0" err="1"/>
              <a:t>malesuada</a:t>
            </a:r>
            <a:r>
              <a:rPr lang="pt-PT" dirty="0"/>
              <a:t> libero,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r>
              <a:rPr lang="pt-PT" dirty="0"/>
              <a:t> </a:t>
            </a:r>
            <a:r>
              <a:rPr lang="pt-PT" dirty="0" err="1"/>
              <a:t>commodo</a:t>
            </a:r>
            <a:r>
              <a:rPr lang="pt-PT" dirty="0"/>
              <a:t> magna eros quis urna.</a:t>
            </a:r>
          </a:p>
          <a:p>
            <a:pPr marL="171450" indent="-171450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r>
              <a:rPr lang="pt-PT" dirty="0"/>
              <a:t> </a:t>
            </a:r>
            <a:r>
              <a:rPr lang="pt-PT" dirty="0" err="1"/>
              <a:t>commodo</a:t>
            </a:r>
            <a:r>
              <a:rPr lang="pt-PT" dirty="0"/>
              <a:t> magna eros quis urna.</a:t>
            </a:r>
          </a:p>
          <a:p>
            <a:pPr marL="171450" indent="-171450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r>
              <a:rPr lang="pt-PT" dirty="0"/>
              <a:t> </a:t>
            </a:r>
            <a:r>
              <a:rPr lang="pt-PT" dirty="0" err="1"/>
              <a:t>commodo</a:t>
            </a:r>
            <a:r>
              <a:rPr lang="pt-PT" dirty="0"/>
              <a:t> magna eros quis urna.</a:t>
            </a:r>
          </a:p>
          <a:p>
            <a:endParaRPr lang="pt-PT" dirty="0"/>
          </a:p>
          <a:p>
            <a:endParaRPr lang="pt-PT" dirty="0"/>
          </a:p>
        </p:txBody>
      </p:sp>
      <p:sp>
        <p:nvSpPr>
          <p:cNvPr id="19" name="Marcador de Posição do Texto 18">
            <a:extLst>
              <a:ext uri="{FF2B5EF4-FFF2-40B4-BE49-F238E27FC236}">
                <a16:creationId xmlns:a16="http://schemas.microsoft.com/office/drawing/2014/main" id="{F448BD23-E4C8-CFBE-B590-A9C884ABAE0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r>
              <a:rPr lang="pt-PT" dirty="0"/>
              <a:t>Texto destacado</a:t>
            </a:r>
          </a:p>
        </p:txBody>
      </p:sp>
      <p:grpSp>
        <p:nvGrpSpPr>
          <p:cNvPr id="24" name="Agrupar 23">
            <a:extLst>
              <a:ext uri="{FF2B5EF4-FFF2-40B4-BE49-F238E27FC236}">
                <a16:creationId xmlns:a16="http://schemas.microsoft.com/office/drawing/2014/main" id="{666F4DEA-8403-FDD0-9492-210F988DA296}"/>
              </a:ext>
            </a:extLst>
          </p:cNvPr>
          <p:cNvGrpSpPr/>
          <p:nvPr/>
        </p:nvGrpSpPr>
        <p:grpSpPr>
          <a:xfrm>
            <a:off x="6550680" y="2086711"/>
            <a:ext cx="474083" cy="397866"/>
            <a:chOff x="7527643" y="2537276"/>
            <a:chExt cx="474083" cy="397866"/>
          </a:xfrm>
        </p:grpSpPr>
        <p:grpSp>
          <p:nvGrpSpPr>
            <p:cNvPr id="25" name="Gráfico 215">
              <a:extLst>
                <a:ext uri="{FF2B5EF4-FFF2-40B4-BE49-F238E27FC236}">
                  <a16:creationId xmlns:a16="http://schemas.microsoft.com/office/drawing/2014/main" id="{33B7D69F-364A-4361-C480-49EA45D34657}"/>
                </a:ext>
              </a:extLst>
            </p:cNvPr>
            <p:cNvGrpSpPr/>
            <p:nvPr/>
          </p:nvGrpSpPr>
          <p:grpSpPr>
            <a:xfrm>
              <a:off x="7572418" y="2635250"/>
              <a:ext cx="384534" cy="261020"/>
              <a:chOff x="3947140" y="1487919"/>
              <a:chExt cx="552164" cy="374808"/>
            </a:xfrm>
            <a:noFill/>
          </p:grpSpPr>
          <p:sp>
            <p:nvSpPr>
              <p:cNvPr id="42" name="Forma livre: Forma 41">
                <a:extLst>
                  <a:ext uri="{FF2B5EF4-FFF2-40B4-BE49-F238E27FC236}">
                    <a16:creationId xmlns:a16="http://schemas.microsoft.com/office/drawing/2014/main" id="{C6F1A0C0-5496-E416-511B-2098EFB5EC3F}"/>
                  </a:ext>
                </a:extLst>
              </p:cNvPr>
              <p:cNvSpPr/>
              <p:nvPr/>
            </p:nvSpPr>
            <p:spPr>
              <a:xfrm>
                <a:off x="4333093" y="1487919"/>
                <a:ext cx="166211" cy="374808"/>
              </a:xfrm>
              <a:custGeom>
                <a:avLst/>
                <a:gdLst>
                  <a:gd name="connsiteX0" fmla="*/ 0 w 166211"/>
                  <a:gd name="connsiteY0" fmla="*/ 0 h 374808"/>
                  <a:gd name="connsiteX1" fmla="*/ 125921 w 166211"/>
                  <a:gd name="connsiteY1" fmla="*/ 0 h 374808"/>
                  <a:gd name="connsiteX2" fmla="*/ 166211 w 166211"/>
                  <a:gd name="connsiteY2" fmla="*/ 40291 h 374808"/>
                  <a:gd name="connsiteX3" fmla="*/ 166211 w 166211"/>
                  <a:gd name="connsiteY3" fmla="*/ 374809 h 3748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66211" h="374808">
                    <a:moveTo>
                      <a:pt x="0" y="0"/>
                    </a:moveTo>
                    <a:lnTo>
                      <a:pt x="125921" y="0"/>
                    </a:lnTo>
                    <a:cubicBezTo>
                      <a:pt x="148114" y="0"/>
                      <a:pt x="166211" y="18097"/>
                      <a:pt x="166211" y="40291"/>
                    </a:cubicBezTo>
                    <a:lnTo>
                      <a:pt x="166211" y="374809"/>
                    </a:lnTo>
                  </a:path>
                </a:pathLst>
              </a:custGeom>
              <a:noFill/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3" name="Forma livre: Forma 42">
                <a:extLst>
                  <a:ext uri="{FF2B5EF4-FFF2-40B4-BE49-F238E27FC236}">
                    <a16:creationId xmlns:a16="http://schemas.microsoft.com/office/drawing/2014/main" id="{804C7F7B-A90C-784F-CDAF-9A8F6DF9659E}"/>
                  </a:ext>
                </a:extLst>
              </p:cNvPr>
              <p:cNvSpPr/>
              <p:nvPr/>
            </p:nvSpPr>
            <p:spPr>
              <a:xfrm>
                <a:off x="3947140" y="1487919"/>
                <a:ext cx="166020" cy="331851"/>
              </a:xfrm>
              <a:custGeom>
                <a:avLst/>
                <a:gdLst>
                  <a:gd name="connsiteX0" fmla="*/ 0 w 166020"/>
                  <a:gd name="connsiteY0" fmla="*/ 331851 h 331851"/>
                  <a:gd name="connsiteX1" fmla="*/ 0 w 166020"/>
                  <a:gd name="connsiteY1" fmla="*/ 40291 h 331851"/>
                  <a:gd name="connsiteX2" fmla="*/ 40291 w 166020"/>
                  <a:gd name="connsiteY2" fmla="*/ 0 h 331851"/>
                  <a:gd name="connsiteX3" fmla="*/ 166021 w 166020"/>
                  <a:gd name="connsiteY3" fmla="*/ 0 h 3318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66020" h="331851">
                    <a:moveTo>
                      <a:pt x="0" y="331851"/>
                    </a:moveTo>
                    <a:lnTo>
                      <a:pt x="0" y="40291"/>
                    </a:lnTo>
                    <a:cubicBezTo>
                      <a:pt x="0" y="18097"/>
                      <a:pt x="18097" y="0"/>
                      <a:pt x="40291" y="0"/>
                    </a:cubicBezTo>
                    <a:lnTo>
                      <a:pt x="166021" y="0"/>
                    </a:lnTo>
                  </a:path>
                </a:pathLst>
              </a:custGeom>
              <a:noFill/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26" name="Forma livre: Forma 25">
              <a:extLst>
                <a:ext uri="{FF2B5EF4-FFF2-40B4-BE49-F238E27FC236}">
                  <a16:creationId xmlns:a16="http://schemas.microsoft.com/office/drawing/2014/main" id="{B6FE005A-78BD-4984-3385-DC3CA0FA4A12}"/>
                </a:ext>
              </a:extLst>
            </p:cNvPr>
            <p:cNvSpPr/>
            <p:nvPr/>
          </p:nvSpPr>
          <p:spPr>
            <a:xfrm>
              <a:off x="7527643" y="2897332"/>
              <a:ext cx="474083" cy="37810"/>
            </a:xfrm>
            <a:custGeom>
              <a:avLst/>
              <a:gdLst>
                <a:gd name="connsiteX0" fmla="*/ 0 w 680751"/>
                <a:gd name="connsiteY0" fmla="*/ 0 h 54292"/>
                <a:gd name="connsiteX1" fmla="*/ 48863 w 680751"/>
                <a:gd name="connsiteY1" fmla="*/ 54293 h 54292"/>
                <a:gd name="connsiteX2" fmla="*/ 631888 w 680751"/>
                <a:gd name="connsiteY2" fmla="*/ 54293 h 54292"/>
                <a:gd name="connsiteX3" fmla="*/ 680752 w 680751"/>
                <a:gd name="connsiteY3" fmla="*/ 0 h 54292"/>
                <a:gd name="connsiteX4" fmla="*/ 0 w 680751"/>
                <a:gd name="connsiteY4" fmla="*/ 0 h 542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80751" h="54292">
                  <a:moveTo>
                    <a:pt x="0" y="0"/>
                  </a:moveTo>
                  <a:cubicBezTo>
                    <a:pt x="0" y="0"/>
                    <a:pt x="9906" y="54293"/>
                    <a:pt x="48863" y="54293"/>
                  </a:cubicBezTo>
                  <a:lnTo>
                    <a:pt x="631888" y="54293"/>
                  </a:lnTo>
                  <a:cubicBezTo>
                    <a:pt x="670941" y="54293"/>
                    <a:pt x="680752" y="0"/>
                    <a:pt x="680752" y="0"/>
                  </a:cubicBezTo>
                  <a:lnTo>
                    <a:pt x="0" y="0"/>
                  </a:lnTo>
                  <a:close/>
                </a:path>
              </a:pathLst>
            </a:custGeom>
            <a:noFill/>
            <a:ln w="19050" cap="sq">
              <a:solidFill>
                <a:srgbClr val="184BFF"/>
              </a:solidFill>
              <a:prstDash val="solid"/>
              <a:miter lim="800000"/>
            </a:ln>
          </p:spPr>
          <p:txBody>
            <a:bodyPr rtlCol="0" anchor="ctr"/>
            <a:lstStyle/>
            <a:p>
              <a:endParaRPr lang="pt-PT" dirty="0"/>
            </a:p>
          </p:txBody>
        </p:sp>
        <p:grpSp>
          <p:nvGrpSpPr>
            <p:cNvPr id="27" name="Gráfico 215">
              <a:extLst>
                <a:ext uri="{FF2B5EF4-FFF2-40B4-BE49-F238E27FC236}">
                  <a16:creationId xmlns:a16="http://schemas.microsoft.com/office/drawing/2014/main" id="{232C8CE2-61B6-B706-0DD9-4F2D902B754D}"/>
                </a:ext>
              </a:extLst>
            </p:cNvPr>
            <p:cNvGrpSpPr/>
            <p:nvPr/>
          </p:nvGrpSpPr>
          <p:grpSpPr>
            <a:xfrm>
              <a:off x="7661835" y="2537276"/>
              <a:ext cx="205699" cy="245499"/>
              <a:chOff x="4075536" y="1347235"/>
              <a:chExt cx="295370" cy="352520"/>
            </a:xfrm>
            <a:noFill/>
          </p:grpSpPr>
          <p:sp>
            <p:nvSpPr>
              <p:cNvPr id="37" name="Forma livre: Forma 36">
                <a:extLst>
                  <a:ext uri="{FF2B5EF4-FFF2-40B4-BE49-F238E27FC236}">
                    <a16:creationId xmlns:a16="http://schemas.microsoft.com/office/drawing/2014/main" id="{97CEC121-9216-4EC4-FA9F-D2AE1507BC8D}"/>
                  </a:ext>
                </a:extLst>
              </p:cNvPr>
              <p:cNvSpPr/>
              <p:nvPr/>
            </p:nvSpPr>
            <p:spPr>
              <a:xfrm>
                <a:off x="4156880" y="1347235"/>
                <a:ext cx="132778" cy="352520"/>
              </a:xfrm>
              <a:custGeom>
                <a:avLst/>
                <a:gdLst>
                  <a:gd name="connsiteX0" fmla="*/ 66389 w 132778"/>
                  <a:gd name="connsiteY0" fmla="*/ 0 h 352520"/>
                  <a:gd name="connsiteX1" fmla="*/ 0 w 132778"/>
                  <a:gd name="connsiteY1" fmla="*/ 99536 h 352520"/>
                  <a:gd name="connsiteX2" fmla="*/ 0 w 132778"/>
                  <a:gd name="connsiteY2" fmla="*/ 352520 h 352520"/>
                  <a:gd name="connsiteX3" fmla="*/ 132778 w 132778"/>
                  <a:gd name="connsiteY3" fmla="*/ 352520 h 352520"/>
                  <a:gd name="connsiteX4" fmla="*/ 132778 w 132778"/>
                  <a:gd name="connsiteY4" fmla="*/ 99536 h 352520"/>
                  <a:gd name="connsiteX5" fmla="*/ 66389 w 132778"/>
                  <a:gd name="connsiteY5" fmla="*/ 0 h 3525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32778" h="352520">
                    <a:moveTo>
                      <a:pt x="66389" y="0"/>
                    </a:moveTo>
                    <a:cubicBezTo>
                      <a:pt x="66389" y="0"/>
                      <a:pt x="0" y="70009"/>
                      <a:pt x="0" y="99536"/>
                    </a:cubicBezTo>
                    <a:lnTo>
                      <a:pt x="0" y="352520"/>
                    </a:lnTo>
                    <a:lnTo>
                      <a:pt x="132778" y="352520"/>
                    </a:lnTo>
                    <a:lnTo>
                      <a:pt x="132778" y="99536"/>
                    </a:lnTo>
                    <a:cubicBezTo>
                      <a:pt x="132778" y="69914"/>
                      <a:pt x="66389" y="0"/>
                      <a:pt x="66389" y="0"/>
                    </a:cubicBezTo>
                    <a:close/>
                  </a:path>
                </a:pathLst>
              </a:custGeom>
              <a:noFill/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38" name="Gráfico 215">
                <a:extLst>
                  <a:ext uri="{FF2B5EF4-FFF2-40B4-BE49-F238E27FC236}">
                    <a16:creationId xmlns:a16="http://schemas.microsoft.com/office/drawing/2014/main" id="{BA92A9F4-6079-D5E9-18E2-037DDD05F223}"/>
                  </a:ext>
                </a:extLst>
              </p:cNvPr>
              <p:cNvGrpSpPr/>
              <p:nvPr/>
            </p:nvGrpSpPr>
            <p:grpSpPr>
              <a:xfrm>
                <a:off x="4075536" y="1507636"/>
                <a:ext cx="295370" cy="174783"/>
                <a:chOff x="4075536" y="1507636"/>
                <a:chExt cx="295370" cy="174783"/>
              </a:xfrm>
              <a:noFill/>
            </p:grpSpPr>
            <p:sp>
              <p:nvSpPr>
                <p:cNvPr id="40" name="Forma livre: Forma 39">
                  <a:extLst>
                    <a:ext uri="{FF2B5EF4-FFF2-40B4-BE49-F238E27FC236}">
                      <a16:creationId xmlns:a16="http://schemas.microsoft.com/office/drawing/2014/main" id="{10440D03-2CB3-D955-7B01-CEC53AF1E3F5}"/>
                    </a:ext>
                  </a:extLst>
                </p:cNvPr>
                <p:cNvSpPr/>
                <p:nvPr/>
              </p:nvSpPr>
              <p:spPr>
                <a:xfrm>
                  <a:off x="4075536" y="1507636"/>
                  <a:ext cx="81248" cy="174783"/>
                </a:xfrm>
                <a:custGeom>
                  <a:avLst/>
                  <a:gdLst>
                    <a:gd name="connsiteX0" fmla="*/ 81248 w 81248"/>
                    <a:gd name="connsiteY0" fmla="*/ 0 h 174783"/>
                    <a:gd name="connsiteX1" fmla="*/ 24860 w 81248"/>
                    <a:gd name="connsiteY1" fmla="*/ 83630 h 174783"/>
                    <a:gd name="connsiteX2" fmla="*/ 4858 w 81248"/>
                    <a:gd name="connsiteY2" fmla="*/ 103823 h 174783"/>
                    <a:gd name="connsiteX3" fmla="*/ 0 w 81248"/>
                    <a:gd name="connsiteY3" fmla="*/ 130302 h 174783"/>
                    <a:gd name="connsiteX4" fmla="*/ 0 w 81248"/>
                    <a:gd name="connsiteY4" fmla="*/ 174784 h 174783"/>
                    <a:gd name="connsiteX5" fmla="*/ 76581 w 81248"/>
                    <a:gd name="connsiteY5" fmla="*/ 174784 h 17478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81248" h="174783">
                      <a:moveTo>
                        <a:pt x="81248" y="0"/>
                      </a:moveTo>
                      <a:cubicBezTo>
                        <a:pt x="81248" y="18002"/>
                        <a:pt x="62865" y="53054"/>
                        <a:pt x="24860" y="83630"/>
                      </a:cubicBezTo>
                      <a:cubicBezTo>
                        <a:pt x="17431" y="89630"/>
                        <a:pt x="9716" y="95917"/>
                        <a:pt x="4858" y="103823"/>
                      </a:cubicBezTo>
                      <a:cubicBezTo>
                        <a:pt x="381" y="111252"/>
                        <a:pt x="0" y="121444"/>
                        <a:pt x="0" y="130302"/>
                      </a:cubicBezTo>
                      <a:lnTo>
                        <a:pt x="0" y="174784"/>
                      </a:lnTo>
                      <a:lnTo>
                        <a:pt x="76581" y="174784"/>
                      </a:lnTo>
                    </a:path>
                  </a:pathLst>
                </a:custGeom>
                <a:noFill/>
                <a:ln w="19050" cap="sq">
                  <a:solidFill>
                    <a:srgbClr val="184BFF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41" name="Forma livre: Forma 40">
                  <a:extLst>
                    <a:ext uri="{FF2B5EF4-FFF2-40B4-BE49-F238E27FC236}">
                      <a16:creationId xmlns:a16="http://schemas.microsoft.com/office/drawing/2014/main" id="{D633C868-149E-EB65-C632-41F47E176CAE}"/>
                    </a:ext>
                  </a:extLst>
                </p:cNvPr>
                <p:cNvSpPr/>
                <p:nvPr/>
              </p:nvSpPr>
              <p:spPr>
                <a:xfrm>
                  <a:off x="4289658" y="1507636"/>
                  <a:ext cx="81248" cy="174783"/>
                </a:xfrm>
                <a:custGeom>
                  <a:avLst/>
                  <a:gdLst>
                    <a:gd name="connsiteX0" fmla="*/ 0 w 81248"/>
                    <a:gd name="connsiteY0" fmla="*/ 0 h 174783"/>
                    <a:gd name="connsiteX1" fmla="*/ 56388 w 81248"/>
                    <a:gd name="connsiteY1" fmla="*/ 83630 h 174783"/>
                    <a:gd name="connsiteX2" fmla="*/ 76391 w 81248"/>
                    <a:gd name="connsiteY2" fmla="*/ 103823 h 174783"/>
                    <a:gd name="connsiteX3" fmla="*/ 81248 w 81248"/>
                    <a:gd name="connsiteY3" fmla="*/ 130302 h 174783"/>
                    <a:gd name="connsiteX4" fmla="*/ 81248 w 81248"/>
                    <a:gd name="connsiteY4" fmla="*/ 174784 h 174783"/>
                    <a:gd name="connsiteX5" fmla="*/ 4667 w 81248"/>
                    <a:gd name="connsiteY5" fmla="*/ 174784 h 17478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81248" h="174783">
                      <a:moveTo>
                        <a:pt x="0" y="0"/>
                      </a:moveTo>
                      <a:cubicBezTo>
                        <a:pt x="0" y="18002"/>
                        <a:pt x="18383" y="53054"/>
                        <a:pt x="56388" y="83630"/>
                      </a:cubicBezTo>
                      <a:cubicBezTo>
                        <a:pt x="63818" y="89630"/>
                        <a:pt x="71533" y="95917"/>
                        <a:pt x="76391" y="103823"/>
                      </a:cubicBezTo>
                      <a:cubicBezTo>
                        <a:pt x="80867" y="111252"/>
                        <a:pt x="81248" y="121444"/>
                        <a:pt x="81248" y="130302"/>
                      </a:cubicBezTo>
                      <a:lnTo>
                        <a:pt x="81248" y="174784"/>
                      </a:lnTo>
                      <a:lnTo>
                        <a:pt x="4667" y="174784"/>
                      </a:lnTo>
                    </a:path>
                  </a:pathLst>
                </a:custGeom>
                <a:noFill/>
                <a:ln w="19050" cap="sq">
                  <a:solidFill>
                    <a:srgbClr val="184BFF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39" name="Forma livre: Forma 38">
                <a:extLst>
                  <a:ext uri="{FF2B5EF4-FFF2-40B4-BE49-F238E27FC236}">
                    <a16:creationId xmlns:a16="http://schemas.microsoft.com/office/drawing/2014/main" id="{2D3507B4-C7F7-3CD2-562A-7EAE0F89B58F}"/>
                  </a:ext>
                </a:extLst>
              </p:cNvPr>
              <p:cNvSpPr/>
              <p:nvPr/>
            </p:nvSpPr>
            <p:spPr>
              <a:xfrm>
                <a:off x="4198980" y="1457820"/>
                <a:ext cx="48577" cy="11239"/>
              </a:xfrm>
              <a:custGeom>
                <a:avLst/>
                <a:gdLst>
                  <a:gd name="connsiteX0" fmla="*/ 48578 w 48577"/>
                  <a:gd name="connsiteY0" fmla="*/ 11240 h 11239"/>
                  <a:gd name="connsiteX1" fmla="*/ 24289 w 48577"/>
                  <a:gd name="connsiteY1" fmla="*/ 0 h 11239"/>
                  <a:gd name="connsiteX2" fmla="*/ 0 w 48577"/>
                  <a:gd name="connsiteY2" fmla="*/ 11240 h 112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48577" h="11239">
                    <a:moveTo>
                      <a:pt x="48578" y="11240"/>
                    </a:moveTo>
                    <a:cubicBezTo>
                      <a:pt x="44577" y="4667"/>
                      <a:pt x="35243" y="0"/>
                      <a:pt x="24289" y="0"/>
                    </a:cubicBezTo>
                    <a:cubicBezTo>
                      <a:pt x="13335" y="0"/>
                      <a:pt x="4001" y="4667"/>
                      <a:pt x="0" y="11240"/>
                    </a:cubicBezTo>
                  </a:path>
                </a:pathLst>
              </a:custGeom>
              <a:noFill/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28" name="Gráfico 215">
              <a:extLst>
                <a:ext uri="{FF2B5EF4-FFF2-40B4-BE49-F238E27FC236}">
                  <a16:creationId xmlns:a16="http://schemas.microsoft.com/office/drawing/2014/main" id="{476DDDFA-62DA-5105-1FB8-9B9E69212432}"/>
                </a:ext>
              </a:extLst>
            </p:cNvPr>
            <p:cNvGrpSpPr/>
            <p:nvPr/>
          </p:nvGrpSpPr>
          <p:grpSpPr>
            <a:xfrm>
              <a:off x="7617192" y="2785627"/>
              <a:ext cx="294983" cy="73961"/>
              <a:chOff x="4011433" y="1703851"/>
              <a:chExt cx="423576" cy="106203"/>
            </a:xfrm>
            <a:noFill/>
          </p:grpSpPr>
          <p:grpSp>
            <p:nvGrpSpPr>
              <p:cNvPr id="29" name="Gráfico 215">
                <a:extLst>
                  <a:ext uri="{FF2B5EF4-FFF2-40B4-BE49-F238E27FC236}">
                    <a16:creationId xmlns:a16="http://schemas.microsoft.com/office/drawing/2014/main" id="{B2DCF2BA-99B9-4116-6234-356B672027F0}"/>
                  </a:ext>
                </a:extLst>
              </p:cNvPr>
              <p:cNvGrpSpPr/>
              <p:nvPr/>
            </p:nvGrpSpPr>
            <p:grpSpPr>
              <a:xfrm>
                <a:off x="4249939" y="1703851"/>
                <a:ext cx="185070" cy="106203"/>
                <a:chOff x="4249939" y="1703851"/>
                <a:chExt cx="185070" cy="106203"/>
              </a:xfrm>
              <a:noFill/>
            </p:grpSpPr>
            <p:sp>
              <p:nvSpPr>
                <p:cNvPr id="34" name="Forma livre: Forma 33">
                  <a:extLst>
                    <a:ext uri="{FF2B5EF4-FFF2-40B4-BE49-F238E27FC236}">
                      <a16:creationId xmlns:a16="http://schemas.microsoft.com/office/drawing/2014/main" id="{BA47E8DC-7EDA-29DE-F08A-974E4DA2321B}"/>
                    </a:ext>
                  </a:extLst>
                </p:cNvPr>
                <p:cNvSpPr/>
                <p:nvPr/>
              </p:nvSpPr>
              <p:spPr>
                <a:xfrm>
                  <a:off x="4249939" y="1703851"/>
                  <a:ext cx="42195" cy="106203"/>
                </a:xfrm>
                <a:custGeom>
                  <a:avLst/>
                  <a:gdLst>
                    <a:gd name="connsiteX0" fmla="*/ 0 w 42195"/>
                    <a:gd name="connsiteY0" fmla="*/ 0 h 106203"/>
                    <a:gd name="connsiteX1" fmla="*/ 42196 w 42195"/>
                    <a:gd name="connsiteY1" fmla="*/ 106204 h 1062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2195" h="106203">
                      <a:moveTo>
                        <a:pt x="0" y="0"/>
                      </a:moveTo>
                      <a:cubicBezTo>
                        <a:pt x="0" y="0"/>
                        <a:pt x="1715" y="89535"/>
                        <a:pt x="42196" y="106204"/>
                      </a:cubicBezTo>
                    </a:path>
                  </a:pathLst>
                </a:custGeom>
                <a:noFill/>
                <a:ln w="19050" cap="sq">
                  <a:solidFill>
                    <a:srgbClr val="184BFF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 dirty="0"/>
                </a:p>
              </p:txBody>
            </p:sp>
            <p:sp>
              <p:nvSpPr>
                <p:cNvPr id="35" name="Forma livre: Forma 34">
                  <a:extLst>
                    <a:ext uri="{FF2B5EF4-FFF2-40B4-BE49-F238E27FC236}">
                      <a16:creationId xmlns:a16="http://schemas.microsoft.com/office/drawing/2014/main" id="{A18BF31C-8050-3160-D828-99039F1E2B37}"/>
                    </a:ext>
                  </a:extLst>
                </p:cNvPr>
                <p:cNvSpPr/>
                <p:nvPr/>
              </p:nvSpPr>
              <p:spPr>
                <a:xfrm>
                  <a:off x="4335283" y="1736480"/>
                  <a:ext cx="99726" cy="48809"/>
                </a:xfrm>
                <a:custGeom>
                  <a:avLst/>
                  <a:gdLst>
                    <a:gd name="connsiteX0" fmla="*/ 99727 w 99726"/>
                    <a:gd name="connsiteY0" fmla="*/ 48810 h 48809"/>
                    <a:gd name="connsiteX1" fmla="*/ 83820 w 99726"/>
                    <a:gd name="connsiteY1" fmla="*/ 13948 h 48809"/>
                    <a:gd name="connsiteX2" fmla="*/ 46673 w 99726"/>
                    <a:gd name="connsiteY2" fmla="*/ 42 h 48809"/>
                    <a:gd name="connsiteX3" fmla="*/ 0 w 99726"/>
                    <a:gd name="connsiteY3" fmla="*/ 36427 h 4880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9726" h="48809">
                      <a:moveTo>
                        <a:pt x="99727" y="48810"/>
                      </a:moveTo>
                      <a:cubicBezTo>
                        <a:pt x="99155" y="34998"/>
                        <a:pt x="93154" y="22711"/>
                        <a:pt x="83820" y="13948"/>
                      </a:cubicBezTo>
                      <a:cubicBezTo>
                        <a:pt x="74200" y="4804"/>
                        <a:pt x="60960" y="-530"/>
                        <a:pt x="46673" y="42"/>
                      </a:cubicBezTo>
                      <a:cubicBezTo>
                        <a:pt x="24384" y="994"/>
                        <a:pt x="6001" y="16139"/>
                        <a:pt x="0" y="36427"/>
                      </a:cubicBezTo>
                    </a:path>
                  </a:pathLst>
                </a:custGeom>
                <a:noFill/>
                <a:ln w="19050" cap="sq">
                  <a:solidFill>
                    <a:srgbClr val="184BFF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36" name="Forma livre: Forma 35">
                  <a:extLst>
                    <a:ext uri="{FF2B5EF4-FFF2-40B4-BE49-F238E27FC236}">
                      <a16:creationId xmlns:a16="http://schemas.microsoft.com/office/drawing/2014/main" id="{C57DF4E7-422B-CD03-68B5-F9666B41B6B5}"/>
                    </a:ext>
                  </a:extLst>
                </p:cNvPr>
                <p:cNvSpPr/>
                <p:nvPr/>
              </p:nvSpPr>
              <p:spPr>
                <a:xfrm>
                  <a:off x="4290650" y="1770143"/>
                  <a:ext cx="60349" cy="39816"/>
                </a:xfrm>
                <a:custGeom>
                  <a:avLst/>
                  <a:gdLst>
                    <a:gd name="connsiteX0" fmla="*/ 60349 w 60349"/>
                    <a:gd name="connsiteY0" fmla="*/ 21814 h 39816"/>
                    <a:gd name="connsiteX1" fmla="*/ 45681 w 60349"/>
                    <a:gd name="connsiteY1" fmla="*/ 3812 h 39816"/>
                    <a:gd name="connsiteX2" fmla="*/ 21773 w 60349"/>
                    <a:gd name="connsiteY2" fmla="*/ 1336 h 39816"/>
                    <a:gd name="connsiteX3" fmla="*/ 1389 w 60349"/>
                    <a:gd name="connsiteY3" fmla="*/ 39817 h 3981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60349" h="39816">
                      <a:moveTo>
                        <a:pt x="60349" y="21814"/>
                      </a:moveTo>
                      <a:cubicBezTo>
                        <a:pt x="57873" y="13813"/>
                        <a:pt x="52539" y="7527"/>
                        <a:pt x="45681" y="3812"/>
                      </a:cubicBezTo>
                      <a:cubicBezTo>
                        <a:pt x="38632" y="-93"/>
                        <a:pt x="30060" y="-1141"/>
                        <a:pt x="21773" y="1336"/>
                      </a:cubicBezTo>
                      <a:cubicBezTo>
                        <a:pt x="5485" y="6289"/>
                        <a:pt x="-3659" y="23529"/>
                        <a:pt x="1389" y="39817"/>
                      </a:cubicBezTo>
                    </a:path>
                  </a:pathLst>
                </a:custGeom>
                <a:noFill/>
                <a:ln w="19050" cap="sq">
                  <a:solidFill>
                    <a:srgbClr val="184BFF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30" name="Gráfico 215">
                <a:extLst>
                  <a:ext uri="{FF2B5EF4-FFF2-40B4-BE49-F238E27FC236}">
                    <a16:creationId xmlns:a16="http://schemas.microsoft.com/office/drawing/2014/main" id="{BC15E84C-1C1C-219A-9C2D-7DA50C218CB6}"/>
                  </a:ext>
                </a:extLst>
              </p:cNvPr>
              <p:cNvGrpSpPr/>
              <p:nvPr/>
            </p:nvGrpSpPr>
            <p:grpSpPr>
              <a:xfrm>
                <a:off x="4011433" y="1703851"/>
                <a:ext cx="185070" cy="106203"/>
                <a:chOff x="4011433" y="1703851"/>
                <a:chExt cx="185070" cy="106203"/>
              </a:xfrm>
              <a:noFill/>
            </p:grpSpPr>
            <p:sp>
              <p:nvSpPr>
                <p:cNvPr id="31" name="Forma livre: Forma 30">
                  <a:extLst>
                    <a:ext uri="{FF2B5EF4-FFF2-40B4-BE49-F238E27FC236}">
                      <a16:creationId xmlns:a16="http://schemas.microsoft.com/office/drawing/2014/main" id="{F5783688-DBB0-8990-3118-CCC851A617F7}"/>
                    </a:ext>
                  </a:extLst>
                </p:cNvPr>
                <p:cNvSpPr/>
                <p:nvPr/>
              </p:nvSpPr>
              <p:spPr>
                <a:xfrm>
                  <a:off x="4154308" y="1703851"/>
                  <a:ext cx="42195" cy="106203"/>
                </a:xfrm>
                <a:custGeom>
                  <a:avLst/>
                  <a:gdLst>
                    <a:gd name="connsiteX0" fmla="*/ 42196 w 42195"/>
                    <a:gd name="connsiteY0" fmla="*/ 0 h 106203"/>
                    <a:gd name="connsiteX1" fmla="*/ 0 w 42195"/>
                    <a:gd name="connsiteY1" fmla="*/ 106204 h 1062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2195" h="106203">
                      <a:moveTo>
                        <a:pt x="42196" y="0"/>
                      </a:moveTo>
                      <a:cubicBezTo>
                        <a:pt x="42196" y="0"/>
                        <a:pt x="41243" y="93440"/>
                        <a:pt x="0" y="106204"/>
                      </a:cubicBezTo>
                    </a:path>
                  </a:pathLst>
                </a:custGeom>
                <a:noFill/>
                <a:ln w="19050" cap="sq">
                  <a:solidFill>
                    <a:srgbClr val="184BFF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32" name="Forma livre: Forma 31">
                  <a:extLst>
                    <a:ext uri="{FF2B5EF4-FFF2-40B4-BE49-F238E27FC236}">
                      <a16:creationId xmlns:a16="http://schemas.microsoft.com/office/drawing/2014/main" id="{D0C4B876-281E-DFED-D4D9-FE5A566D5549}"/>
                    </a:ext>
                  </a:extLst>
                </p:cNvPr>
                <p:cNvSpPr/>
                <p:nvPr/>
              </p:nvSpPr>
              <p:spPr>
                <a:xfrm>
                  <a:off x="4011433" y="1736480"/>
                  <a:ext cx="69627" cy="48809"/>
                </a:xfrm>
                <a:custGeom>
                  <a:avLst/>
                  <a:gdLst>
                    <a:gd name="connsiteX0" fmla="*/ 0 w 69627"/>
                    <a:gd name="connsiteY0" fmla="*/ 48810 h 48809"/>
                    <a:gd name="connsiteX1" fmla="*/ 15907 w 69627"/>
                    <a:gd name="connsiteY1" fmla="*/ 13948 h 48809"/>
                    <a:gd name="connsiteX2" fmla="*/ 53054 w 69627"/>
                    <a:gd name="connsiteY2" fmla="*/ 42 h 48809"/>
                    <a:gd name="connsiteX3" fmla="*/ 69628 w 69627"/>
                    <a:gd name="connsiteY3" fmla="*/ 3566 h 4880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69627" h="48809">
                      <a:moveTo>
                        <a:pt x="0" y="48810"/>
                      </a:moveTo>
                      <a:cubicBezTo>
                        <a:pt x="572" y="34998"/>
                        <a:pt x="6572" y="22711"/>
                        <a:pt x="15907" y="13948"/>
                      </a:cubicBezTo>
                      <a:cubicBezTo>
                        <a:pt x="25527" y="4804"/>
                        <a:pt x="38767" y="-530"/>
                        <a:pt x="53054" y="42"/>
                      </a:cubicBezTo>
                      <a:cubicBezTo>
                        <a:pt x="58960" y="327"/>
                        <a:pt x="64484" y="1566"/>
                        <a:pt x="69628" y="3566"/>
                      </a:cubicBezTo>
                    </a:path>
                  </a:pathLst>
                </a:custGeom>
                <a:noFill/>
                <a:ln w="19050" cap="sq">
                  <a:solidFill>
                    <a:srgbClr val="184BFF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33" name="Forma livre: Forma 32">
                  <a:extLst>
                    <a:ext uri="{FF2B5EF4-FFF2-40B4-BE49-F238E27FC236}">
                      <a16:creationId xmlns:a16="http://schemas.microsoft.com/office/drawing/2014/main" id="{7E6E06DE-52DB-6978-649B-A375AD8763D3}"/>
                    </a:ext>
                  </a:extLst>
                </p:cNvPr>
                <p:cNvSpPr/>
                <p:nvPr/>
              </p:nvSpPr>
              <p:spPr>
                <a:xfrm>
                  <a:off x="4095444" y="1770143"/>
                  <a:ext cx="60349" cy="39816"/>
                </a:xfrm>
                <a:custGeom>
                  <a:avLst/>
                  <a:gdLst>
                    <a:gd name="connsiteX0" fmla="*/ 0 w 60349"/>
                    <a:gd name="connsiteY0" fmla="*/ 21814 h 39816"/>
                    <a:gd name="connsiteX1" fmla="*/ 14669 w 60349"/>
                    <a:gd name="connsiteY1" fmla="*/ 3812 h 39816"/>
                    <a:gd name="connsiteX2" fmla="*/ 38576 w 60349"/>
                    <a:gd name="connsiteY2" fmla="*/ 1336 h 39816"/>
                    <a:gd name="connsiteX3" fmla="*/ 58960 w 60349"/>
                    <a:gd name="connsiteY3" fmla="*/ 39817 h 3981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60349" h="39816">
                      <a:moveTo>
                        <a:pt x="0" y="21814"/>
                      </a:moveTo>
                      <a:cubicBezTo>
                        <a:pt x="2477" y="13813"/>
                        <a:pt x="7810" y="7527"/>
                        <a:pt x="14669" y="3812"/>
                      </a:cubicBezTo>
                      <a:cubicBezTo>
                        <a:pt x="21717" y="-93"/>
                        <a:pt x="30290" y="-1141"/>
                        <a:pt x="38576" y="1336"/>
                      </a:cubicBezTo>
                      <a:cubicBezTo>
                        <a:pt x="54864" y="6289"/>
                        <a:pt x="64008" y="23529"/>
                        <a:pt x="58960" y="39817"/>
                      </a:cubicBezTo>
                    </a:path>
                  </a:pathLst>
                </a:custGeom>
                <a:noFill/>
                <a:ln w="19050" cap="sq">
                  <a:solidFill>
                    <a:srgbClr val="184BFF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</p:grpSp>
      <p:grpSp>
        <p:nvGrpSpPr>
          <p:cNvPr id="44" name="Agrupar 43">
            <a:extLst>
              <a:ext uri="{FF2B5EF4-FFF2-40B4-BE49-F238E27FC236}">
                <a16:creationId xmlns:a16="http://schemas.microsoft.com/office/drawing/2014/main" id="{AA9A8D17-2284-A025-5037-9A9449A025C5}"/>
              </a:ext>
            </a:extLst>
          </p:cNvPr>
          <p:cNvGrpSpPr/>
          <p:nvPr/>
        </p:nvGrpSpPr>
        <p:grpSpPr>
          <a:xfrm>
            <a:off x="6550680" y="4373424"/>
            <a:ext cx="474083" cy="397866"/>
            <a:chOff x="7527643" y="2537276"/>
            <a:chExt cx="474083" cy="397866"/>
          </a:xfrm>
        </p:grpSpPr>
        <p:grpSp>
          <p:nvGrpSpPr>
            <p:cNvPr id="45" name="Gráfico 215">
              <a:extLst>
                <a:ext uri="{FF2B5EF4-FFF2-40B4-BE49-F238E27FC236}">
                  <a16:creationId xmlns:a16="http://schemas.microsoft.com/office/drawing/2014/main" id="{7E070C61-82FF-1DAA-118F-DF466896870C}"/>
                </a:ext>
              </a:extLst>
            </p:cNvPr>
            <p:cNvGrpSpPr/>
            <p:nvPr/>
          </p:nvGrpSpPr>
          <p:grpSpPr>
            <a:xfrm>
              <a:off x="7572418" y="2635250"/>
              <a:ext cx="384534" cy="261020"/>
              <a:chOff x="3947140" y="1487919"/>
              <a:chExt cx="552164" cy="374808"/>
            </a:xfrm>
            <a:noFill/>
          </p:grpSpPr>
          <p:sp>
            <p:nvSpPr>
              <p:cNvPr id="62" name="Forma livre: Forma 61">
                <a:extLst>
                  <a:ext uri="{FF2B5EF4-FFF2-40B4-BE49-F238E27FC236}">
                    <a16:creationId xmlns:a16="http://schemas.microsoft.com/office/drawing/2014/main" id="{2920F624-4F38-533F-3E97-C8062729DDB3}"/>
                  </a:ext>
                </a:extLst>
              </p:cNvPr>
              <p:cNvSpPr/>
              <p:nvPr/>
            </p:nvSpPr>
            <p:spPr>
              <a:xfrm>
                <a:off x="4333093" y="1487919"/>
                <a:ext cx="166211" cy="374808"/>
              </a:xfrm>
              <a:custGeom>
                <a:avLst/>
                <a:gdLst>
                  <a:gd name="connsiteX0" fmla="*/ 0 w 166211"/>
                  <a:gd name="connsiteY0" fmla="*/ 0 h 374808"/>
                  <a:gd name="connsiteX1" fmla="*/ 125921 w 166211"/>
                  <a:gd name="connsiteY1" fmla="*/ 0 h 374808"/>
                  <a:gd name="connsiteX2" fmla="*/ 166211 w 166211"/>
                  <a:gd name="connsiteY2" fmla="*/ 40291 h 374808"/>
                  <a:gd name="connsiteX3" fmla="*/ 166211 w 166211"/>
                  <a:gd name="connsiteY3" fmla="*/ 374809 h 3748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66211" h="374808">
                    <a:moveTo>
                      <a:pt x="0" y="0"/>
                    </a:moveTo>
                    <a:lnTo>
                      <a:pt x="125921" y="0"/>
                    </a:lnTo>
                    <a:cubicBezTo>
                      <a:pt x="148114" y="0"/>
                      <a:pt x="166211" y="18097"/>
                      <a:pt x="166211" y="40291"/>
                    </a:cubicBezTo>
                    <a:lnTo>
                      <a:pt x="166211" y="374809"/>
                    </a:lnTo>
                  </a:path>
                </a:pathLst>
              </a:custGeom>
              <a:noFill/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63" name="Forma livre: Forma 62">
                <a:extLst>
                  <a:ext uri="{FF2B5EF4-FFF2-40B4-BE49-F238E27FC236}">
                    <a16:creationId xmlns:a16="http://schemas.microsoft.com/office/drawing/2014/main" id="{BE2D6D3B-41EF-DA1B-51DB-174BEDA5EA8D}"/>
                  </a:ext>
                </a:extLst>
              </p:cNvPr>
              <p:cNvSpPr/>
              <p:nvPr/>
            </p:nvSpPr>
            <p:spPr>
              <a:xfrm>
                <a:off x="3947140" y="1487919"/>
                <a:ext cx="166020" cy="331851"/>
              </a:xfrm>
              <a:custGeom>
                <a:avLst/>
                <a:gdLst>
                  <a:gd name="connsiteX0" fmla="*/ 0 w 166020"/>
                  <a:gd name="connsiteY0" fmla="*/ 331851 h 331851"/>
                  <a:gd name="connsiteX1" fmla="*/ 0 w 166020"/>
                  <a:gd name="connsiteY1" fmla="*/ 40291 h 331851"/>
                  <a:gd name="connsiteX2" fmla="*/ 40291 w 166020"/>
                  <a:gd name="connsiteY2" fmla="*/ 0 h 331851"/>
                  <a:gd name="connsiteX3" fmla="*/ 166021 w 166020"/>
                  <a:gd name="connsiteY3" fmla="*/ 0 h 3318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66020" h="331851">
                    <a:moveTo>
                      <a:pt x="0" y="331851"/>
                    </a:moveTo>
                    <a:lnTo>
                      <a:pt x="0" y="40291"/>
                    </a:lnTo>
                    <a:cubicBezTo>
                      <a:pt x="0" y="18097"/>
                      <a:pt x="18097" y="0"/>
                      <a:pt x="40291" y="0"/>
                    </a:cubicBezTo>
                    <a:lnTo>
                      <a:pt x="166021" y="0"/>
                    </a:lnTo>
                  </a:path>
                </a:pathLst>
              </a:custGeom>
              <a:noFill/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46" name="Forma livre: Forma 45">
              <a:extLst>
                <a:ext uri="{FF2B5EF4-FFF2-40B4-BE49-F238E27FC236}">
                  <a16:creationId xmlns:a16="http://schemas.microsoft.com/office/drawing/2014/main" id="{563F5541-A7F9-B733-66F7-E896D9D0171B}"/>
                </a:ext>
              </a:extLst>
            </p:cNvPr>
            <p:cNvSpPr/>
            <p:nvPr/>
          </p:nvSpPr>
          <p:spPr>
            <a:xfrm>
              <a:off x="7527643" y="2897332"/>
              <a:ext cx="474083" cy="37810"/>
            </a:xfrm>
            <a:custGeom>
              <a:avLst/>
              <a:gdLst>
                <a:gd name="connsiteX0" fmla="*/ 0 w 680751"/>
                <a:gd name="connsiteY0" fmla="*/ 0 h 54292"/>
                <a:gd name="connsiteX1" fmla="*/ 48863 w 680751"/>
                <a:gd name="connsiteY1" fmla="*/ 54293 h 54292"/>
                <a:gd name="connsiteX2" fmla="*/ 631888 w 680751"/>
                <a:gd name="connsiteY2" fmla="*/ 54293 h 54292"/>
                <a:gd name="connsiteX3" fmla="*/ 680752 w 680751"/>
                <a:gd name="connsiteY3" fmla="*/ 0 h 54292"/>
                <a:gd name="connsiteX4" fmla="*/ 0 w 680751"/>
                <a:gd name="connsiteY4" fmla="*/ 0 h 542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80751" h="54292">
                  <a:moveTo>
                    <a:pt x="0" y="0"/>
                  </a:moveTo>
                  <a:cubicBezTo>
                    <a:pt x="0" y="0"/>
                    <a:pt x="9906" y="54293"/>
                    <a:pt x="48863" y="54293"/>
                  </a:cubicBezTo>
                  <a:lnTo>
                    <a:pt x="631888" y="54293"/>
                  </a:lnTo>
                  <a:cubicBezTo>
                    <a:pt x="670941" y="54293"/>
                    <a:pt x="680752" y="0"/>
                    <a:pt x="680752" y="0"/>
                  </a:cubicBezTo>
                  <a:lnTo>
                    <a:pt x="0" y="0"/>
                  </a:lnTo>
                  <a:close/>
                </a:path>
              </a:pathLst>
            </a:custGeom>
            <a:noFill/>
            <a:ln w="19050" cap="sq">
              <a:solidFill>
                <a:srgbClr val="184BFF"/>
              </a:solidFill>
              <a:prstDash val="solid"/>
              <a:miter lim="800000"/>
            </a:ln>
          </p:spPr>
          <p:txBody>
            <a:bodyPr rtlCol="0" anchor="ctr"/>
            <a:lstStyle/>
            <a:p>
              <a:endParaRPr lang="pt-PT" dirty="0"/>
            </a:p>
          </p:txBody>
        </p:sp>
        <p:grpSp>
          <p:nvGrpSpPr>
            <p:cNvPr id="47" name="Gráfico 215">
              <a:extLst>
                <a:ext uri="{FF2B5EF4-FFF2-40B4-BE49-F238E27FC236}">
                  <a16:creationId xmlns:a16="http://schemas.microsoft.com/office/drawing/2014/main" id="{64979C09-6FCC-81B4-B8A0-B04843008ABA}"/>
                </a:ext>
              </a:extLst>
            </p:cNvPr>
            <p:cNvGrpSpPr/>
            <p:nvPr/>
          </p:nvGrpSpPr>
          <p:grpSpPr>
            <a:xfrm>
              <a:off x="7661835" y="2537276"/>
              <a:ext cx="205699" cy="245499"/>
              <a:chOff x="4075536" y="1347235"/>
              <a:chExt cx="295370" cy="352520"/>
            </a:xfrm>
            <a:noFill/>
          </p:grpSpPr>
          <p:sp>
            <p:nvSpPr>
              <p:cNvPr id="57" name="Forma livre: Forma 56">
                <a:extLst>
                  <a:ext uri="{FF2B5EF4-FFF2-40B4-BE49-F238E27FC236}">
                    <a16:creationId xmlns:a16="http://schemas.microsoft.com/office/drawing/2014/main" id="{17328163-EB6D-F7DF-CEA1-F4B9ACA39FEE}"/>
                  </a:ext>
                </a:extLst>
              </p:cNvPr>
              <p:cNvSpPr/>
              <p:nvPr/>
            </p:nvSpPr>
            <p:spPr>
              <a:xfrm>
                <a:off x="4156880" y="1347235"/>
                <a:ext cx="132778" cy="352520"/>
              </a:xfrm>
              <a:custGeom>
                <a:avLst/>
                <a:gdLst>
                  <a:gd name="connsiteX0" fmla="*/ 66389 w 132778"/>
                  <a:gd name="connsiteY0" fmla="*/ 0 h 352520"/>
                  <a:gd name="connsiteX1" fmla="*/ 0 w 132778"/>
                  <a:gd name="connsiteY1" fmla="*/ 99536 h 352520"/>
                  <a:gd name="connsiteX2" fmla="*/ 0 w 132778"/>
                  <a:gd name="connsiteY2" fmla="*/ 352520 h 352520"/>
                  <a:gd name="connsiteX3" fmla="*/ 132778 w 132778"/>
                  <a:gd name="connsiteY3" fmla="*/ 352520 h 352520"/>
                  <a:gd name="connsiteX4" fmla="*/ 132778 w 132778"/>
                  <a:gd name="connsiteY4" fmla="*/ 99536 h 352520"/>
                  <a:gd name="connsiteX5" fmla="*/ 66389 w 132778"/>
                  <a:gd name="connsiteY5" fmla="*/ 0 h 3525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32778" h="352520">
                    <a:moveTo>
                      <a:pt x="66389" y="0"/>
                    </a:moveTo>
                    <a:cubicBezTo>
                      <a:pt x="66389" y="0"/>
                      <a:pt x="0" y="70009"/>
                      <a:pt x="0" y="99536"/>
                    </a:cubicBezTo>
                    <a:lnTo>
                      <a:pt x="0" y="352520"/>
                    </a:lnTo>
                    <a:lnTo>
                      <a:pt x="132778" y="352520"/>
                    </a:lnTo>
                    <a:lnTo>
                      <a:pt x="132778" y="99536"/>
                    </a:lnTo>
                    <a:cubicBezTo>
                      <a:pt x="132778" y="69914"/>
                      <a:pt x="66389" y="0"/>
                      <a:pt x="66389" y="0"/>
                    </a:cubicBezTo>
                    <a:close/>
                  </a:path>
                </a:pathLst>
              </a:custGeom>
              <a:noFill/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58" name="Gráfico 215">
                <a:extLst>
                  <a:ext uri="{FF2B5EF4-FFF2-40B4-BE49-F238E27FC236}">
                    <a16:creationId xmlns:a16="http://schemas.microsoft.com/office/drawing/2014/main" id="{007711AA-686E-1D26-3B03-05A7D535E85C}"/>
                  </a:ext>
                </a:extLst>
              </p:cNvPr>
              <p:cNvGrpSpPr/>
              <p:nvPr/>
            </p:nvGrpSpPr>
            <p:grpSpPr>
              <a:xfrm>
                <a:off x="4075536" y="1507636"/>
                <a:ext cx="295370" cy="174783"/>
                <a:chOff x="4075536" y="1507636"/>
                <a:chExt cx="295370" cy="174783"/>
              </a:xfrm>
              <a:noFill/>
            </p:grpSpPr>
            <p:sp>
              <p:nvSpPr>
                <p:cNvPr id="60" name="Forma livre: Forma 59">
                  <a:extLst>
                    <a:ext uri="{FF2B5EF4-FFF2-40B4-BE49-F238E27FC236}">
                      <a16:creationId xmlns:a16="http://schemas.microsoft.com/office/drawing/2014/main" id="{3B3DC1FD-D8E7-701B-0993-B2D01D8E3E80}"/>
                    </a:ext>
                  </a:extLst>
                </p:cNvPr>
                <p:cNvSpPr/>
                <p:nvPr/>
              </p:nvSpPr>
              <p:spPr>
                <a:xfrm>
                  <a:off x="4075536" y="1507636"/>
                  <a:ext cx="81248" cy="174783"/>
                </a:xfrm>
                <a:custGeom>
                  <a:avLst/>
                  <a:gdLst>
                    <a:gd name="connsiteX0" fmla="*/ 81248 w 81248"/>
                    <a:gd name="connsiteY0" fmla="*/ 0 h 174783"/>
                    <a:gd name="connsiteX1" fmla="*/ 24860 w 81248"/>
                    <a:gd name="connsiteY1" fmla="*/ 83630 h 174783"/>
                    <a:gd name="connsiteX2" fmla="*/ 4858 w 81248"/>
                    <a:gd name="connsiteY2" fmla="*/ 103823 h 174783"/>
                    <a:gd name="connsiteX3" fmla="*/ 0 w 81248"/>
                    <a:gd name="connsiteY3" fmla="*/ 130302 h 174783"/>
                    <a:gd name="connsiteX4" fmla="*/ 0 w 81248"/>
                    <a:gd name="connsiteY4" fmla="*/ 174784 h 174783"/>
                    <a:gd name="connsiteX5" fmla="*/ 76581 w 81248"/>
                    <a:gd name="connsiteY5" fmla="*/ 174784 h 17478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81248" h="174783">
                      <a:moveTo>
                        <a:pt x="81248" y="0"/>
                      </a:moveTo>
                      <a:cubicBezTo>
                        <a:pt x="81248" y="18002"/>
                        <a:pt x="62865" y="53054"/>
                        <a:pt x="24860" y="83630"/>
                      </a:cubicBezTo>
                      <a:cubicBezTo>
                        <a:pt x="17431" y="89630"/>
                        <a:pt x="9716" y="95917"/>
                        <a:pt x="4858" y="103823"/>
                      </a:cubicBezTo>
                      <a:cubicBezTo>
                        <a:pt x="381" y="111252"/>
                        <a:pt x="0" y="121444"/>
                        <a:pt x="0" y="130302"/>
                      </a:cubicBezTo>
                      <a:lnTo>
                        <a:pt x="0" y="174784"/>
                      </a:lnTo>
                      <a:lnTo>
                        <a:pt x="76581" y="174784"/>
                      </a:lnTo>
                    </a:path>
                  </a:pathLst>
                </a:custGeom>
                <a:noFill/>
                <a:ln w="19050" cap="sq">
                  <a:solidFill>
                    <a:srgbClr val="184BFF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61" name="Forma livre: Forma 60">
                  <a:extLst>
                    <a:ext uri="{FF2B5EF4-FFF2-40B4-BE49-F238E27FC236}">
                      <a16:creationId xmlns:a16="http://schemas.microsoft.com/office/drawing/2014/main" id="{938F02FB-9C67-AD68-2382-F1115940C00E}"/>
                    </a:ext>
                  </a:extLst>
                </p:cNvPr>
                <p:cNvSpPr/>
                <p:nvPr/>
              </p:nvSpPr>
              <p:spPr>
                <a:xfrm>
                  <a:off x="4289658" y="1507636"/>
                  <a:ext cx="81248" cy="174783"/>
                </a:xfrm>
                <a:custGeom>
                  <a:avLst/>
                  <a:gdLst>
                    <a:gd name="connsiteX0" fmla="*/ 0 w 81248"/>
                    <a:gd name="connsiteY0" fmla="*/ 0 h 174783"/>
                    <a:gd name="connsiteX1" fmla="*/ 56388 w 81248"/>
                    <a:gd name="connsiteY1" fmla="*/ 83630 h 174783"/>
                    <a:gd name="connsiteX2" fmla="*/ 76391 w 81248"/>
                    <a:gd name="connsiteY2" fmla="*/ 103823 h 174783"/>
                    <a:gd name="connsiteX3" fmla="*/ 81248 w 81248"/>
                    <a:gd name="connsiteY3" fmla="*/ 130302 h 174783"/>
                    <a:gd name="connsiteX4" fmla="*/ 81248 w 81248"/>
                    <a:gd name="connsiteY4" fmla="*/ 174784 h 174783"/>
                    <a:gd name="connsiteX5" fmla="*/ 4667 w 81248"/>
                    <a:gd name="connsiteY5" fmla="*/ 174784 h 17478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81248" h="174783">
                      <a:moveTo>
                        <a:pt x="0" y="0"/>
                      </a:moveTo>
                      <a:cubicBezTo>
                        <a:pt x="0" y="18002"/>
                        <a:pt x="18383" y="53054"/>
                        <a:pt x="56388" y="83630"/>
                      </a:cubicBezTo>
                      <a:cubicBezTo>
                        <a:pt x="63818" y="89630"/>
                        <a:pt x="71533" y="95917"/>
                        <a:pt x="76391" y="103823"/>
                      </a:cubicBezTo>
                      <a:cubicBezTo>
                        <a:pt x="80867" y="111252"/>
                        <a:pt x="81248" y="121444"/>
                        <a:pt x="81248" y="130302"/>
                      </a:cubicBezTo>
                      <a:lnTo>
                        <a:pt x="81248" y="174784"/>
                      </a:lnTo>
                      <a:lnTo>
                        <a:pt x="4667" y="174784"/>
                      </a:lnTo>
                    </a:path>
                  </a:pathLst>
                </a:custGeom>
                <a:noFill/>
                <a:ln w="19050" cap="sq">
                  <a:solidFill>
                    <a:srgbClr val="184BFF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59" name="Forma livre: Forma 58">
                <a:extLst>
                  <a:ext uri="{FF2B5EF4-FFF2-40B4-BE49-F238E27FC236}">
                    <a16:creationId xmlns:a16="http://schemas.microsoft.com/office/drawing/2014/main" id="{ED0F42C3-836C-FEA3-4819-86D6B7E3BFFB}"/>
                  </a:ext>
                </a:extLst>
              </p:cNvPr>
              <p:cNvSpPr/>
              <p:nvPr/>
            </p:nvSpPr>
            <p:spPr>
              <a:xfrm>
                <a:off x="4198980" y="1457820"/>
                <a:ext cx="48577" cy="11239"/>
              </a:xfrm>
              <a:custGeom>
                <a:avLst/>
                <a:gdLst>
                  <a:gd name="connsiteX0" fmla="*/ 48578 w 48577"/>
                  <a:gd name="connsiteY0" fmla="*/ 11240 h 11239"/>
                  <a:gd name="connsiteX1" fmla="*/ 24289 w 48577"/>
                  <a:gd name="connsiteY1" fmla="*/ 0 h 11239"/>
                  <a:gd name="connsiteX2" fmla="*/ 0 w 48577"/>
                  <a:gd name="connsiteY2" fmla="*/ 11240 h 112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48577" h="11239">
                    <a:moveTo>
                      <a:pt x="48578" y="11240"/>
                    </a:moveTo>
                    <a:cubicBezTo>
                      <a:pt x="44577" y="4667"/>
                      <a:pt x="35243" y="0"/>
                      <a:pt x="24289" y="0"/>
                    </a:cubicBezTo>
                    <a:cubicBezTo>
                      <a:pt x="13335" y="0"/>
                      <a:pt x="4001" y="4667"/>
                      <a:pt x="0" y="11240"/>
                    </a:cubicBezTo>
                  </a:path>
                </a:pathLst>
              </a:custGeom>
              <a:noFill/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48" name="Gráfico 215">
              <a:extLst>
                <a:ext uri="{FF2B5EF4-FFF2-40B4-BE49-F238E27FC236}">
                  <a16:creationId xmlns:a16="http://schemas.microsoft.com/office/drawing/2014/main" id="{A826AA65-A62B-D70F-7F7E-A1B46DA92F01}"/>
                </a:ext>
              </a:extLst>
            </p:cNvPr>
            <p:cNvGrpSpPr/>
            <p:nvPr/>
          </p:nvGrpSpPr>
          <p:grpSpPr>
            <a:xfrm>
              <a:off x="7617192" y="2785627"/>
              <a:ext cx="294983" cy="73961"/>
              <a:chOff x="4011433" y="1703851"/>
              <a:chExt cx="423576" cy="106203"/>
            </a:xfrm>
            <a:noFill/>
          </p:grpSpPr>
          <p:grpSp>
            <p:nvGrpSpPr>
              <p:cNvPr id="49" name="Gráfico 215">
                <a:extLst>
                  <a:ext uri="{FF2B5EF4-FFF2-40B4-BE49-F238E27FC236}">
                    <a16:creationId xmlns:a16="http://schemas.microsoft.com/office/drawing/2014/main" id="{010C0A56-9E5F-D190-72EC-62859E62E2A3}"/>
                  </a:ext>
                </a:extLst>
              </p:cNvPr>
              <p:cNvGrpSpPr/>
              <p:nvPr/>
            </p:nvGrpSpPr>
            <p:grpSpPr>
              <a:xfrm>
                <a:off x="4249939" y="1703851"/>
                <a:ext cx="185070" cy="106203"/>
                <a:chOff x="4249939" y="1703851"/>
                <a:chExt cx="185070" cy="106203"/>
              </a:xfrm>
              <a:noFill/>
            </p:grpSpPr>
            <p:sp>
              <p:nvSpPr>
                <p:cNvPr id="54" name="Forma livre: Forma 53">
                  <a:extLst>
                    <a:ext uri="{FF2B5EF4-FFF2-40B4-BE49-F238E27FC236}">
                      <a16:creationId xmlns:a16="http://schemas.microsoft.com/office/drawing/2014/main" id="{8C8F033A-BEBC-340F-4A96-8A5D3A8B37CE}"/>
                    </a:ext>
                  </a:extLst>
                </p:cNvPr>
                <p:cNvSpPr/>
                <p:nvPr/>
              </p:nvSpPr>
              <p:spPr>
                <a:xfrm>
                  <a:off x="4249939" y="1703851"/>
                  <a:ext cx="42195" cy="106203"/>
                </a:xfrm>
                <a:custGeom>
                  <a:avLst/>
                  <a:gdLst>
                    <a:gd name="connsiteX0" fmla="*/ 0 w 42195"/>
                    <a:gd name="connsiteY0" fmla="*/ 0 h 106203"/>
                    <a:gd name="connsiteX1" fmla="*/ 42196 w 42195"/>
                    <a:gd name="connsiteY1" fmla="*/ 106204 h 1062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2195" h="106203">
                      <a:moveTo>
                        <a:pt x="0" y="0"/>
                      </a:moveTo>
                      <a:cubicBezTo>
                        <a:pt x="0" y="0"/>
                        <a:pt x="1715" y="89535"/>
                        <a:pt x="42196" y="106204"/>
                      </a:cubicBezTo>
                    </a:path>
                  </a:pathLst>
                </a:custGeom>
                <a:noFill/>
                <a:ln w="19050" cap="sq">
                  <a:solidFill>
                    <a:srgbClr val="184BFF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 dirty="0"/>
                </a:p>
              </p:txBody>
            </p:sp>
            <p:sp>
              <p:nvSpPr>
                <p:cNvPr id="55" name="Forma livre: Forma 54">
                  <a:extLst>
                    <a:ext uri="{FF2B5EF4-FFF2-40B4-BE49-F238E27FC236}">
                      <a16:creationId xmlns:a16="http://schemas.microsoft.com/office/drawing/2014/main" id="{27DA3337-772C-E451-7343-175B3ABFBBE1}"/>
                    </a:ext>
                  </a:extLst>
                </p:cNvPr>
                <p:cNvSpPr/>
                <p:nvPr/>
              </p:nvSpPr>
              <p:spPr>
                <a:xfrm>
                  <a:off x="4335283" y="1736480"/>
                  <a:ext cx="99726" cy="48809"/>
                </a:xfrm>
                <a:custGeom>
                  <a:avLst/>
                  <a:gdLst>
                    <a:gd name="connsiteX0" fmla="*/ 99727 w 99726"/>
                    <a:gd name="connsiteY0" fmla="*/ 48810 h 48809"/>
                    <a:gd name="connsiteX1" fmla="*/ 83820 w 99726"/>
                    <a:gd name="connsiteY1" fmla="*/ 13948 h 48809"/>
                    <a:gd name="connsiteX2" fmla="*/ 46673 w 99726"/>
                    <a:gd name="connsiteY2" fmla="*/ 42 h 48809"/>
                    <a:gd name="connsiteX3" fmla="*/ 0 w 99726"/>
                    <a:gd name="connsiteY3" fmla="*/ 36427 h 4880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9726" h="48809">
                      <a:moveTo>
                        <a:pt x="99727" y="48810"/>
                      </a:moveTo>
                      <a:cubicBezTo>
                        <a:pt x="99155" y="34998"/>
                        <a:pt x="93154" y="22711"/>
                        <a:pt x="83820" y="13948"/>
                      </a:cubicBezTo>
                      <a:cubicBezTo>
                        <a:pt x="74200" y="4804"/>
                        <a:pt x="60960" y="-530"/>
                        <a:pt x="46673" y="42"/>
                      </a:cubicBezTo>
                      <a:cubicBezTo>
                        <a:pt x="24384" y="994"/>
                        <a:pt x="6001" y="16139"/>
                        <a:pt x="0" y="36427"/>
                      </a:cubicBezTo>
                    </a:path>
                  </a:pathLst>
                </a:custGeom>
                <a:noFill/>
                <a:ln w="19050" cap="sq">
                  <a:solidFill>
                    <a:srgbClr val="184BFF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56" name="Forma livre: Forma 55">
                  <a:extLst>
                    <a:ext uri="{FF2B5EF4-FFF2-40B4-BE49-F238E27FC236}">
                      <a16:creationId xmlns:a16="http://schemas.microsoft.com/office/drawing/2014/main" id="{09A20AA0-E125-63A1-6C0E-54609C52D9A2}"/>
                    </a:ext>
                  </a:extLst>
                </p:cNvPr>
                <p:cNvSpPr/>
                <p:nvPr/>
              </p:nvSpPr>
              <p:spPr>
                <a:xfrm>
                  <a:off x="4290650" y="1770143"/>
                  <a:ext cx="60349" cy="39816"/>
                </a:xfrm>
                <a:custGeom>
                  <a:avLst/>
                  <a:gdLst>
                    <a:gd name="connsiteX0" fmla="*/ 60349 w 60349"/>
                    <a:gd name="connsiteY0" fmla="*/ 21814 h 39816"/>
                    <a:gd name="connsiteX1" fmla="*/ 45681 w 60349"/>
                    <a:gd name="connsiteY1" fmla="*/ 3812 h 39816"/>
                    <a:gd name="connsiteX2" fmla="*/ 21773 w 60349"/>
                    <a:gd name="connsiteY2" fmla="*/ 1336 h 39816"/>
                    <a:gd name="connsiteX3" fmla="*/ 1389 w 60349"/>
                    <a:gd name="connsiteY3" fmla="*/ 39817 h 3981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60349" h="39816">
                      <a:moveTo>
                        <a:pt x="60349" y="21814"/>
                      </a:moveTo>
                      <a:cubicBezTo>
                        <a:pt x="57873" y="13813"/>
                        <a:pt x="52539" y="7527"/>
                        <a:pt x="45681" y="3812"/>
                      </a:cubicBezTo>
                      <a:cubicBezTo>
                        <a:pt x="38632" y="-93"/>
                        <a:pt x="30060" y="-1141"/>
                        <a:pt x="21773" y="1336"/>
                      </a:cubicBezTo>
                      <a:cubicBezTo>
                        <a:pt x="5485" y="6289"/>
                        <a:pt x="-3659" y="23529"/>
                        <a:pt x="1389" y="39817"/>
                      </a:cubicBezTo>
                    </a:path>
                  </a:pathLst>
                </a:custGeom>
                <a:noFill/>
                <a:ln w="19050" cap="sq">
                  <a:solidFill>
                    <a:srgbClr val="184BFF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50" name="Gráfico 215">
                <a:extLst>
                  <a:ext uri="{FF2B5EF4-FFF2-40B4-BE49-F238E27FC236}">
                    <a16:creationId xmlns:a16="http://schemas.microsoft.com/office/drawing/2014/main" id="{75D897B3-9FB3-1340-FEE1-1AF0E6CE63C5}"/>
                  </a:ext>
                </a:extLst>
              </p:cNvPr>
              <p:cNvGrpSpPr/>
              <p:nvPr/>
            </p:nvGrpSpPr>
            <p:grpSpPr>
              <a:xfrm>
                <a:off x="4011433" y="1703851"/>
                <a:ext cx="185070" cy="106203"/>
                <a:chOff x="4011433" y="1703851"/>
                <a:chExt cx="185070" cy="106203"/>
              </a:xfrm>
              <a:noFill/>
            </p:grpSpPr>
            <p:sp>
              <p:nvSpPr>
                <p:cNvPr id="51" name="Forma livre: Forma 50">
                  <a:extLst>
                    <a:ext uri="{FF2B5EF4-FFF2-40B4-BE49-F238E27FC236}">
                      <a16:creationId xmlns:a16="http://schemas.microsoft.com/office/drawing/2014/main" id="{D4942089-83E2-71D9-C4F8-8A968E8B6A38}"/>
                    </a:ext>
                  </a:extLst>
                </p:cNvPr>
                <p:cNvSpPr/>
                <p:nvPr/>
              </p:nvSpPr>
              <p:spPr>
                <a:xfrm>
                  <a:off x="4154308" y="1703851"/>
                  <a:ext cx="42195" cy="106203"/>
                </a:xfrm>
                <a:custGeom>
                  <a:avLst/>
                  <a:gdLst>
                    <a:gd name="connsiteX0" fmla="*/ 42196 w 42195"/>
                    <a:gd name="connsiteY0" fmla="*/ 0 h 106203"/>
                    <a:gd name="connsiteX1" fmla="*/ 0 w 42195"/>
                    <a:gd name="connsiteY1" fmla="*/ 106204 h 1062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2195" h="106203">
                      <a:moveTo>
                        <a:pt x="42196" y="0"/>
                      </a:moveTo>
                      <a:cubicBezTo>
                        <a:pt x="42196" y="0"/>
                        <a:pt x="41243" y="93440"/>
                        <a:pt x="0" y="106204"/>
                      </a:cubicBezTo>
                    </a:path>
                  </a:pathLst>
                </a:custGeom>
                <a:noFill/>
                <a:ln w="19050" cap="sq">
                  <a:solidFill>
                    <a:srgbClr val="184BFF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52" name="Forma livre: Forma 51">
                  <a:extLst>
                    <a:ext uri="{FF2B5EF4-FFF2-40B4-BE49-F238E27FC236}">
                      <a16:creationId xmlns:a16="http://schemas.microsoft.com/office/drawing/2014/main" id="{B3458DA4-780E-8BD3-B2A3-BBEB8920168C}"/>
                    </a:ext>
                  </a:extLst>
                </p:cNvPr>
                <p:cNvSpPr/>
                <p:nvPr/>
              </p:nvSpPr>
              <p:spPr>
                <a:xfrm>
                  <a:off x="4011433" y="1736480"/>
                  <a:ext cx="69627" cy="48809"/>
                </a:xfrm>
                <a:custGeom>
                  <a:avLst/>
                  <a:gdLst>
                    <a:gd name="connsiteX0" fmla="*/ 0 w 69627"/>
                    <a:gd name="connsiteY0" fmla="*/ 48810 h 48809"/>
                    <a:gd name="connsiteX1" fmla="*/ 15907 w 69627"/>
                    <a:gd name="connsiteY1" fmla="*/ 13948 h 48809"/>
                    <a:gd name="connsiteX2" fmla="*/ 53054 w 69627"/>
                    <a:gd name="connsiteY2" fmla="*/ 42 h 48809"/>
                    <a:gd name="connsiteX3" fmla="*/ 69628 w 69627"/>
                    <a:gd name="connsiteY3" fmla="*/ 3566 h 4880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69627" h="48809">
                      <a:moveTo>
                        <a:pt x="0" y="48810"/>
                      </a:moveTo>
                      <a:cubicBezTo>
                        <a:pt x="572" y="34998"/>
                        <a:pt x="6572" y="22711"/>
                        <a:pt x="15907" y="13948"/>
                      </a:cubicBezTo>
                      <a:cubicBezTo>
                        <a:pt x="25527" y="4804"/>
                        <a:pt x="38767" y="-530"/>
                        <a:pt x="53054" y="42"/>
                      </a:cubicBezTo>
                      <a:cubicBezTo>
                        <a:pt x="58960" y="327"/>
                        <a:pt x="64484" y="1566"/>
                        <a:pt x="69628" y="3566"/>
                      </a:cubicBezTo>
                    </a:path>
                  </a:pathLst>
                </a:custGeom>
                <a:noFill/>
                <a:ln w="19050" cap="sq">
                  <a:solidFill>
                    <a:srgbClr val="184BFF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53" name="Forma livre: Forma 52">
                  <a:extLst>
                    <a:ext uri="{FF2B5EF4-FFF2-40B4-BE49-F238E27FC236}">
                      <a16:creationId xmlns:a16="http://schemas.microsoft.com/office/drawing/2014/main" id="{741A42D6-F2BF-E8DC-9401-31147D972574}"/>
                    </a:ext>
                  </a:extLst>
                </p:cNvPr>
                <p:cNvSpPr/>
                <p:nvPr/>
              </p:nvSpPr>
              <p:spPr>
                <a:xfrm>
                  <a:off x="4095444" y="1770143"/>
                  <a:ext cx="60349" cy="39816"/>
                </a:xfrm>
                <a:custGeom>
                  <a:avLst/>
                  <a:gdLst>
                    <a:gd name="connsiteX0" fmla="*/ 0 w 60349"/>
                    <a:gd name="connsiteY0" fmla="*/ 21814 h 39816"/>
                    <a:gd name="connsiteX1" fmla="*/ 14669 w 60349"/>
                    <a:gd name="connsiteY1" fmla="*/ 3812 h 39816"/>
                    <a:gd name="connsiteX2" fmla="*/ 38576 w 60349"/>
                    <a:gd name="connsiteY2" fmla="*/ 1336 h 39816"/>
                    <a:gd name="connsiteX3" fmla="*/ 58960 w 60349"/>
                    <a:gd name="connsiteY3" fmla="*/ 39817 h 3981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60349" h="39816">
                      <a:moveTo>
                        <a:pt x="0" y="21814"/>
                      </a:moveTo>
                      <a:cubicBezTo>
                        <a:pt x="2477" y="13813"/>
                        <a:pt x="7810" y="7527"/>
                        <a:pt x="14669" y="3812"/>
                      </a:cubicBezTo>
                      <a:cubicBezTo>
                        <a:pt x="21717" y="-93"/>
                        <a:pt x="30290" y="-1141"/>
                        <a:pt x="38576" y="1336"/>
                      </a:cubicBezTo>
                      <a:cubicBezTo>
                        <a:pt x="54864" y="6289"/>
                        <a:pt x="64008" y="23529"/>
                        <a:pt x="58960" y="39817"/>
                      </a:cubicBezTo>
                    </a:path>
                  </a:pathLst>
                </a:custGeom>
                <a:noFill/>
                <a:ln w="19050" cap="sq">
                  <a:solidFill>
                    <a:srgbClr val="184BFF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</p:grpSp>
      <p:grpSp>
        <p:nvGrpSpPr>
          <p:cNvPr id="64" name="Agrupar 63">
            <a:extLst>
              <a:ext uri="{FF2B5EF4-FFF2-40B4-BE49-F238E27FC236}">
                <a16:creationId xmlns:a16="http://schemas.microsoft.com/office/drawing/2014/main" id="{00379D34-863A-2503-C9D1-1FDA0404CE7E}"/>
              </a:ext>
            </a:extLst>
          </p:cNvPr>
          <p:cNvGrpSpPr/>
          <p:nvPr/>
        </p:nvGrpSpPr>
        <p:grpSpPr>
          <a:xfrm>
            <a:off x="735958" y="2086711"/>
            <a:ext cx="474083" cy="397866"/>
            <a:chOff x="7527643" y="2537276"/>
            <a:chExt cx="474083" cy="397866"/>
          </a:xfrm>
        </p:grpSpPr>
        <p:grpSp>
          <p:nvGrpSpPr>
            <p:cNvPr id="65" name="Gráfico 215">
              <a:extLst>
                <a:ext uri="{FF2B5EF4-FFF2-40B4-BE49-F238E27FC236}">
                  <a16:creationId xmlns:a16="http://schemas.microsoft.com/office/drawing/2014/main" id="{7506A4CF-6DCE-78FB-61D3-035F328F53BA}"/>
                </a:ext>
              </a:extLst>
            </p:cNvPr>
            <p:cNvGrpSpPr/>
            <p:nvPr/>
          </p:nvGrpSpPr>
          <p:grpSpPr>
            <a:xfrm>
              <a:off x="7572418" y="2635250"/>
              <a:ext cx="384534" cy="261020"/>
              <a:chOff x="3947140" y="1487919"/>
              <a:chExt cx="552164" cy="374808"/>
            </a:xfrm>
            <a:noFill/>
          </p:grpSpPr>
          <p:sp>
            <p:nvSpPr>
              <p:cNvPr id="82" name="Forma livre: Forma 81">
                <a:extLst>
                  <a:ext uri="{FF2B5EF4-FFF2-40B4-BE49-F238E27FC236}">
                    <a16:creationId xmlns:a16="http://schemas.microsoft.com/office/drawing/2014/main" id="{1860EFFB-1133-B86E-D715-225420018328}"/>
                  </a:ext>
                </a:extLst>
              </p:cNvPr>
              <p:cNvSpPr/>
              <p:nvPr/>
            </p:nvSpPr>
            <p:spPr>
              <a:xfrm>
                <a:off x="4333093" y="1487919"/>
                <a:ext cx="166211" cy="374808"/>
              </a:xfrm>
              <a:custGeom>
                <a:avLst/>
                <a:gdLst>
                  <a:gd name="connsiteX0" fmla="*/ 0 w 166211"/>
                  <a:gd name="connsiteY0" fmla="*/ 0 h 374808"/>
                  <a:gd name="connsiteX1" fmla="*/ 125921 w 166211"/>
                  <a:gd name="connsiteY1" fmla="*/ 0 h 374808"/>
                  <a:gd name="connsiteX2" fmla="*/ 166211 w 166211"/>
                  <a:gd name="connsiteY2" fmla="*/ 40291 h 374808"/>
                  <a:gd name="connsiteX3" fmla="*/ 166211 w 166211"/>
                  <a:gd name="connsiteY3" fmla="*/ 374809 h 3748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66211" h="374808">
                    <a:moveTo>
                      <a:pt x="0" y="0"/>
                    </a:moveTo>
                    <a:lnTo>
                      <a:pt x="125921" y="0"/>
                    </a:lnTo>
                    <a:cubicBezTo>
                      <a:pt x="148114" y="0"/>
                      <a:pt x="166211" y="18097"/>
                      <a:pt x="166211" y="40291"/>
                    </a:cubicBezTo>
                    <a:lnTo>
                      <a:pt x="166211" y="374809"/>
                    </a:lnTo>
                  </a:path>
                </a:pathLst>
              </a:custGeom>
              <a:noFill/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83" name="Forma livre: Forma 82">
                <a:extLst>
                  <a:ext uri="{FF2B5EF4-FFF2-40B4-BE49-F238E27FC236}">
                    <a16:creationId xmlns:a16="http://schemas.microsoft.com/office/drawing/2014/main" id="{86F53716-B05E-13C3-30C9-E4F410DA1709}"/>
                  </a:ext>
                </a:extLst>
              </p:cNvPr>
              <p:cNvSpPr/>
              <p:nvPr/>
            </p:nvSpPr>
            <p:spPr>
              <a:xfrm>
                <a:off x="3947140" y="1487919"/>
                <a:ext cx="166020" cy="331851"/>
              </a:xfrm>
              <a:custGeom>
                <a:avLst/>
                <a:gdLst>
                  <a:gd name="connsiteX0" fmla="*/ 0 w 166020"/>
                  <a:gd name="connsiteY0" fmla="*/ 331851 h 331851"/>
                  <a:gd name="connsiteX1" fmla="*/ 0 w 166020"/>
                  <a:gd name="connsiteY1" fmla="*/ 40291 h 331851"/>
                  <a:gd name="connsiteX2" fmla="*/ 40291 w 166020"/>
                  <a:gd name="connsiteY2" fmla="*/ 0 h 331851"/>
                  <a:gd name="connsiteX3" fmla="*/ 166021 w 166020"/>
                  <a:gd name="connsiteY3" fmla="*/ 0 h 3318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66020" h="331851">
                    <a:moveTo>
                      <a:pt x="0" y="331851"/>
                    </a:moveTo>
                    <a:lnTo>
                      <a:pt x="0" y="40291"/>
                    </a:lnTo>
                    <a:cubicBezTo>
                      <a:pt x="0" y="18097"/>
                      <a:pt x="18097" y="0"/>
                      <a:pt x="40291" y="0"/>
                    </a:cubicBezTo>
                    <a:lnTo>
                      <a:pt x="166021" y="0"/>
                    </a:lnTo>
                  </a:path>
                </a:pathLst>
              </a:custGeom>
              <a:noFill/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66" name="Forma livre: Forma 65">
              <a:extLst>
                <a:ext uri="{FF2B5EF4-FFF2-40B4-BE49-F238E27FC236}">
                  <a16:creationId xmlns:a16="http://schemas.microsoft.com/office/drawing/2014/main" id="{F94F72B9-7E2E-93D4-31D1-2062CF818391}"/>
                </a:ext>
              </a:extLst>
            </p:cNvPr>
            <p:cNvSpPr/>
            <p:nvPr/>
          </p:nvSpPr>
          <p:spPr>
            <a:xfrm>
              <a:off x="7527643" y="2897332"/>
              <a:ext cx="474083" cy="37810"/>
            </a:xfrm>
            <a:custGeom>
              <a:avLst/>
              <a:gdLst>
                <a:gd name="connsiteX0" fmla="*/ 0 w 680751"/>
                <a:gd name="connsiteY0" fmla="*/ 0 h 54292"/>
                <a:gd name="connsiteX1" fmla="*/ 48863 w 680751"/>
                <a:gd name="connsiteY1" fmla="*/ 54293 h 54292"/>
                <a:gd name="connsiteX2" fmla="*/ 631888 w 680751"/>
                <a:gd name="connsiteY2" fmla="*/ 54293 h 54292"/>
                <a:gd name="connsiteX3" fmla="*/ 680752 w 680751"/>
                <a:gd name="connsiteY3" fmla="*/ 0 h 54292"/>
                <a:gd name="connsiteX4" fmla="*/ 0 w 680751"/>
                <a:gd name="connsiteY4" fmla="*/ 0 h 542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80751" h="54292">
                  <a:moveTo>
                    <a:pt x="0" y="0"/>
                  </a:moveTo>
                  <a:cubicBezTo>
                    <a:pt x="0" y="0"/>
                    <a:pt x="9906" y="54293"/>
                    <a:pt x="48863" y="54293"/>
                  </a:cubicBezTo>
                  <a:lnTo>
                    <a:pt x="631888" y="54293"/>
                  </a:lnTo>
                  <a:cubicBezTo>
                    <a:pt x="670941" y="54293"/>
                    <a:pt x="680752" y="0"/>
                    <a:pt x="680752" y="0"/>
                  </a:cubicBezTo>
                  <a:lnTo>
                    <a:pt x="0" y="0"/>
                  </a:lnTo>
                  <a:close/>
                </a:path>
              </a:pathLst>
            </a:custGeom>
            <a:noFill/>
            <a:ln w="19050" cap="sq">
              <a:solidFill>
                <a:srgbClr val="184BFF"/>
              </a:solidFill>
              <a:prstDash val="solid"/>
              <a:miter lim="800000"/>
            </a:ln>
          </p:spPr>
          <p:txBody>
            <a:bodyPr rtlCol="0" anchor="ctr"/>
            <a:lstStyle/>
            <a:p>
              <a:endParaRPr lang="pt-PT" dirty="0"/>
            </a:p>
          </p:txBody>
        </p:sp>
        <p:grpSp>
          <p:nvGrpSpPr>
            <p:cNvPr id="67" name="Gráfico 215">
              <a:extLst>
                <a:ext uri="{FF2B5EF4-FFF2-40B4-BE49-F238E27FC236}">
                  <a16:creationId xmlns:a16="http://schemas.microsoft.com/office/drawing/2014/main" id="{E9342ECF-0E00-F4B2-F281-DA0B31F5A4AB}"/>
                </a:ext>
              </a:extLst>
            </p:cNvPr>
            <p:cNvGrpSpPr/>
            <p:nvPr/>
          </p:nvGrpSpPr>
          <p:grpSpPr>
            <a:xfrm>
              <a:off x="7661835" y="2537276"/>
              <a:ext cx="205699" cy="245499"/>
              <a:chOff x="4075536" y="1347235"/>
              <a:chExt cx="295370" cy="352520"/>
            </a:xfrm>
            <a:noFill/>
          </p:grpSpPr>
          <p:sp>
            <p:nvSpPr>
              <p:cNvPr id="77" name="Forma livre: Forma 76">
                <a:extLst>
                  <a:ext uri="{FF2B5EF4-FFF2-40B4-BE49-F238E27FC236}">
                    <a16:creationId xmlns:a16="http://schemas.microsoft.com/office/drawing/2014/main" id="{B93AAD7F-0570-B615-BCF3-31CD049CB0B3}"/>
                  </a:ext>
                </a:extLst>
              </p:cNvPr>
              <p:cNvSpPr/>
              <p:nvPr/>
            </p:nvSpPr>
            <p:spPr>
              <a:xfrm>
                <a:off x="4156880" y="1347235"/>
                <a:ext cx="132778" cy="352520"/>
              </a:xfrm>
              <a:custGeom>
                <a:avLst/>
                <a:gdLst>
                  <a:gd name="connsiteX0" fmla="*/ 66389 w 132778"/>
                  <a:gd name="connsiteY0" fmla="*/ 0 h 352520"/>
                  <a:gd name="connsiteX1" fmla="*/ 0 w 132778"/>
                  <a:gd name="connsiteY1" fmla="*/ 99536 h 352520"/>
                  <a:gd name="connsiteX2" fmla="*/ 0 w 132778"/>
                  <a:gd name="connsiteY2" fmla="*/ 352520 h 352520"/>
                  <a:gd name="connsiteX3" fmla="*/ 132778 w 132778"/>
                  <a:gd name="connsiteY3" fmla="*/ 352520 h 352520"/>
                  <a:gd name="connsiteX4" fmla="*/ 132778 w 132778"/>
                  <a:gd name="connsiteY4" fmla="*/ 99536 h 352520"/>
                  <a:gd name="connsiteX5" fmla="*/ 66389 w 132778"/>
                  <a:gd name="connsiteY5" fmla="*/ 0 h 3525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32778" h="352520">
                    <a:moveTo>
                      <a:pt x="66389" y="0"/>
                    </a:moveTo>
                    <a:cubicBezTo>
                      <a:pt x="66389" y="0"/>
                      <a:pt x="0" y="70009"/>
                      <a:pt x="0" y="99536"/>
                    </a:cubicBezTo>
                    <a:lnTo>
                      <a:pt x="0" y="352520"/>
                    </a:lnTo>
                    <a:lnTo>
                      <a:pt x="132778" y="352520"/>
                    </a:lnTo>
                    <a:lnTo>
                      <a:pt x="132778" y="99536"/>
                    </a:lnTo>
                    <a:cubicBezTo>
                      <a:pt x="132778" y="69914"/>
                      <a:pt x="66389" y="0"/>
                      <a:pt x="66389" y="0"/>
                    </a:cubicBezTo>
                    <a:close/>
                  </a:path>
                </a:pathLst>
              </a:custGeom>
              <a:noFill/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78" name="Gráfico 215">
                <a:extLst>
                  <a:ext uri="{FF2B5EF4-FFF2-40B4-BE49-F238E27FC236}">
                    <a16:creationId xmlns:a16="http://schemas.microsoft.com/office/drawing/2014/main" id="{28A67FCC-655C-0C09-9BA9-24A74A83B732}"/>
                  </a:ext>
                </a:extLst>
              </p:cNvPr>
              <p:cNvGrpSpPr/>
              <p:nvPr/>
            </p:nvGrpSpPr>
            <p:grpSpPr>
              <a:xfrm>
                <a:off x="4075536" y="1507636"/>
                <a:ext cx="295370" cy="174783"/>
                <a:chOff x="4075536" y="1507636"/>
                <a:chExt cx="295370" cy="174783"/>
              </a:xfrm>
              <a:noFill/>
            </p:grpSpPr>
            <p:sp>
              <p:nvSpPr>
                <p:cNvPr id="80" name="Forma livre: Forma 79">
                  <a:extLst>
                    <a:ext uri="{FF2B5EF4-FFF2-40B4-BE49-F238E27FC236}">
                      <a16:creationId xmlns:a16="http://schemas.microsoft.com/office/drawing/2014/main" id="{D363D580-5025-EE66-062F-A74D94432F0A}"/>
                    </a:ext>
                  </a:extLst>
                </p:cNvPr>
                <p:cNvSpPr/>
                <p:nvPr/>
              </p:nvSpPr>
              <p:spPr>
                <a:xfrm>
                  <a:off x="4075536" y="1507636"/>
                  <a:ext cx="81248" cy="174783"/>
                </a:xfrm>
                <a:custGeom>
                  <a:avLst/>
                  <a:gdLst>
                    <a:gd name="connsiteX0" fmla="*/ 81248 w 81248"/>
                    <a:gd name="connsiteY0" fmla="*/ 0 h 174783"/>
                    <a:gd name="connsiteX1" fmla="*/ 24860 w 81248"/>
                    <a:gd name="connsiteY1" fmla="*/ 83630 h 174783"/>
                    <a:gd name="connsiteX2" fmla="*/ 4858 w 81248"/>
                    <a:gd name="connsiteY2" fmla="*/ 103823 h 174783"/>
                    <a:gd name="connsiteX3" fmla="*/ 0 w 81248"/>
                    <a:gd name="connsiteY3" fmla="*/ 130302 h 174783"/>
                    <a:gd name="connsiteX4" fmla="*/ 0 w 81248"/>
                    <a:gd name="connsiteY4" fmla="*/ 174784 h 174783"/>
                    <a:gd name="connsiteX5" fmla="*/ 76581 w 81248"/>
                    <a:gd name="connsiteY5" fmla="*/ 174784 h 17478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81248" h="174783">
                      <a:moveTo>
                        <a:pt x="81248" y="0"/>
                      </a:moveTo>
                      <a:cubicBezTo>
                        <a:pt x="81248" y="18002"/>
                        <a:pt x="62865" y="53054"/>
                        <a:pt x="24860" y="83630"/>
                      </a:cubicBezTo>
                      <a:cubicBezTo>
                        <a:pt x="17431" y="89630"/>
                        <a:pt x="9716" y="95917"/>
                        <a:pt x="4858" y="103823"/>
                      </a:cubicBezTo>
                      <a:cubicBezTo>
                        <a:pt x="381" y="111252"/>
                        <a:pt x="0" y="121444"/>
                        <a:pt x="0" y="130302"/>
                      </a:cubicBezTo>
                      <a:lnTo>
                        <a:pt x="0" y="174784"/>
                      </a:lnTo>
                      <a:lnTo>
                        <a:pt x="76581" y="174784"/>
                      </a:lnTo>
                    </a:path>
                  </a:pathLst>
                </a:custGeom>
                <a:noFill/>
                <a:ln w="19050" cap="sq">
                  <a:solidFill>
                    <a:srgbClr val="184BFF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81" name="Forma livre: Forma 80">
                  <a:extLst>
                    <a:ext uri="{FF2B5EF4-FFF2-40B4-BE49-F238E27FC236}">
                      <a16:creationId xmlns:a16="http://schemas.microsoft.com/office/drawing/2014/main" id="{3D7C71BB-6FED-E1E2-06AB-44324784D870}"/>
                    </a:ext>
                  </a:extLst>
                </p:cNvPr>
                <p:cNvSpPr/>
                <p:nvPr/>
              </p:nvSpPr>
              <p:spPr>
                <a:xfrm>
                  <a:off x="4289658" y="1507636"/>
                  <a:ext cx="81248" cy="174783"/>
                </a:xfrm>
                <a:custGeom>
                  <a:avLst/>
                  <a:gdLst>
                    <a:gd name="connsiteX0" fmla="*/ 0 w 81248"/>
                    <a:gd name="connsiteY0" fmla="*/ 0 h 174783"/>
                    <a:gd name="connsiteX1" fmla="*/ 56388 w 81248"/>
                    <a:gd name="connsiteY1" fmla="*/ 83630 h 174783"/>
                    <a:gd name="connsiteX2" fmla="*/ 76391 w 81248"/>
                    <a:gd name="connsiteY2" fmla="*/ 103823 h 174783"/>
                    <a:gd name="connsiteX3" fmla="*/ 81248 w 81248"/>
                    <a:gd name="connsiteY3" fmla="*/ 130302 h 174783"/>
                    <a:gd name="connsiteX4" fmla="*/ 81248 w 81248"/>
                    <a:gd name="connsiteY4" fmla="*/ 174784 h 174783"/>
                    <a:gd name="connsiteX5" fmla="*/ 4667 w 81248"/>
                    <a:gd name="connsiteY5" fmla="*/ 174784 h 17478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81248" h="174783">
                      <a:moveTo>
                        <a:pt x="0" y="0"/>
                      </a:moveTo>
                      <a:cubicBezTo>
                        <a:pt x="0" y="18002"/>
                        <a:pt x="18383" y="53054"/>
                        <a:pt x="56388" y="83630"/>
                      </a:cubicBezTo>
                      <a:cubicBezTo>
                        <a:pt x="63818" y="89630"/>
                        <a:pt x="71533" y="95917"/>
                        <a:pt x="76391" y="103823"/>
                      </a:cubicBezTo>
                      <a:cubicBezTo>
                        <a:pt x="80867" y="111252"/>
                        <a:pt x="81248" y="121444"/>
                        <a:pt x="81248" y="130302"/>
                      </a:cubicBezTo>
                      <a:lnTo>
                        <a:pt x="81248" y="174784"/>
                      </a:lnTo>
                      <a:lnTo>
                        <a:pt x="4667" y="174784"/>
                      </a:lnTo>
                    </a:path>
                  </a:pathLst>
                </a:custGeom>
                <a:noFill/>
                <a:ln w="19050" cap="sq">
                  <a:solidFill>
                    <a:srgbClr val="184BFF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79" name="Forma livre: Forma 78">
                <a:extLst>
                  <a:ext uri="{FF2B5EF4-FFF2-40B4-BE49-F238E27FC236}">
                    <a16:creationId xmlns:a16="http://schemas.microsoft.com/office/drawing/2014/main" id="{A353386B-1C51-6796-A200-3DF8498AF63B}"/>
                  </a:ext>
                </a:extLst>
              </p:cNvPr>
              <p:cNvSpPr/>
              <p:nvPr/>
            </p:nvSpPr>
            <p:spPr>
              <a:xfrm>
                <a:off x="4198980" y="1457820"/>
                <a:ext cx="48577" cy="11239"/>
              </a:xfrm>
              <a:custGeom>
                <a:avLst/>
                <a:gdLst>
                  <a:gd name="connsiteX0" fmla="*/ 48578 w 48577"/>
                  <a:gd name="connsiteY0" fmla="*/ 11240 h 11239"/>
                  <a:gd name="connsiteX1" fmla="*/ 24289 w 48577"/>
                  <a:gd name="connsiteY1" fmla="*/ 0 h 11239"/>
                  <a:gd name="connsiteX2" fmla="*/ 0 w 48577"/>
                  <a:gd name="connsiteY2" fmla="*/ 11240 h 112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48577" h="11239">
                    <a:moveTo>
                      <a:pt x="48578" y="11240"/>
                    </a:moveTo>
                    <a:cubicBezTo>
                      <a:pt x="44577" y="4667"/>
                      <a:pt x="35243" y="0"/>
                      <a:pt x="24289" y="0"/>
                    </a:cubicBezTo>
                    <a:cubicBezTo>
                      <a:pt x="13335" y="0"/>
                      <a:pt x="4001" y="4667"/>
                      <a:pt x="0" y="11240"/>
                    </a:cubicBezTo>
                  </a:path>
                </a:pathLst>
              </a:custGeom>
              <a:noFill/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68" name="Gráfico 215">
              <a:extLst>
                <a:ext uri="{FF2B5EF4-FFF2-40B4-BE49-F238E27FC236}">
                  <a16:creationId xmlns:a16="http://schemas.microsoft.com/office/drawing/2014/main" id="{F8007722-523D-F89E-1FBB-1FFB2DFAFA22}"/>
                </a:ext>
              </a:extLst>
            </p:cNvPr>
            <p:cNvGrpSpPr/>
            <p:nvPr/>
          </p:nvGrpSpPr>
          <p:grpSpPr>
            <a:xfrm>
              <a:off x="7617192" y="2785627"/>
              <a:ext cx="294983" cy="73961"/>
              <a:chOff x="4011433" y="1703851"/>
              <a:chExt cx="423576" cy="106203"/>
            </a:xfrm>
            <a:noFill/>
          </p:grpSpPr>
          <p:grpSp>
            <p:nvGrpSpPr>
              <p:cNvPr id="69" name="Gráfico 215">
                <a:extLst>
                  <a:ext uri="{FF2B5EF4-FFF2-40B4-BE49-F238E27FC236}">
                    <a16:creationId xmlns:a16="http://schemas.microsoft.com/office/drawing/2014/main" id="{91DA277E-BB82-AB09-6942-B82AAAC2B22B}"/>
                  </a:ext>
                </a:extLst>
              </p:cNvPr>
              <p:cNvGrpSpPr/>
              <p:nvPr/>
            </p:nvGrpSpPr>
            <p:grpSpPr>
              <a:xfrm>
                <a:off x="4249939" y="1703851"/>
                <a:ext cx="185070" cy="106203"/>
                <a:chOff x="4249939" y="1703851"/>
                <a:chExt cx="185070" cy="106203"/>
              </a:xfrm>
              <a:noFill/>
            </p:grpSpPr>
            <p:sp>
              <p:nvSpPr>
                <p:cNvPr id="74" name="Forma livre: Forma 73">
                  <a:extLst>
                    <a:ext uri="{FF2B5EF4-FFF2-40B4-BE49-F238E27FC236}">
                      <a16:creationId xmlns:a16="http://schemas.microsoft.com/office/drawing/2014/main" id="{4FEC1A48-9096-D4C4-E3B7-A11107BCF9EE}"/>
                    </a:ext>
                  </a:extLst>
                </p:cNvPr>
                <p:cNvSpPr/>
                <p:nvPr/>
              </p:nvSpPr>
              <p:spPr>
                <a:xfrm>
                  <a:off x="4249939" y="1703851"/>
                  <a:ext cx="42195" cy="106203"/>
                </a:xfrm>
                <a:custGeom>
                  <a:avLst/>
                  <a:gdLst>
                    <a:gd name="connsiteX0" fmla="*/ 0 w 42195"/>
                    <a:gd name="connsiteY0" fmla="*/ 0 h 106203"/>
                    <a:gd name="connsiteX1" fmla="*/ 42196 w 42195"/>
                    <a:gd name="connsiteY1" fmla="*/ 106204 h 1062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2195" h="106203">
                      <a:moveTo>
                        <a:pt x="0" y="0"/>
                      </a:moveTo>
                      <a:cubicBezTo>
                        <a:pt x="0" y="0"/>
                        <a:pt x="1715" y="89535"/>
                        <a:pt x="42196" y="106204"/>
                      </a:cubicBezTo>
                    </a:path>
                  </a:pathLst>
                </a:custGeom>
                <a:noFill/>
                <a:ln w="19050" cap="sq">
                  <a:solidFill>
                    <a:srgbClr val="184BFF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 dirty="0"/>
                </a:p>
              </p:txBody>
            </p:sp>
            <p:sp>
              <p:nvSpPr>
                <p:cNvPr id="75" name="Forma livre: Forma 74">
                  <a:extLst>
                    <a:ext uri="{FF2B5EF4-FFF2-40B4-BE49-F238E27FC236}">
                      <a16:creationId xmlns:a16="http://schemas.microsoft.com/office/drawing/2014/main" id="{20DF035E-0B7A-ED48-8483-94401F752142}"/>
                    </a:ext>
                  </a:extLst>
                </p:cNvPr>
                <p:cNvSpPr/>
                <p:nvPr/>
              </p:nvSpPr>
              <p:spPr>
                <a:xfrm>
                  <a:off x="4335283" y="1736480"/>
                  <a:ext cx="99726" cy="48809"/>
                </a:xfrm>
                <a:custGeom>
                  <a:avLst/>
                  <a:gdLst>
                    <a:gd name="connsiteX0" fmla="*/ 99727 w 99726"/>
                    <a:gd name="connsiteY0" fmla="*/ 48810 h 48809"/>
                    <a:gd name="connsiteX1" fmla="*/ 83820 w 99726"/>
                    <a:gd name="connsiteY1" fmla="*/ 13948 h 48809"/>
                    <a:gd name="connsiteX2" fmla="*/ 46673 w 99726"/>
                    <a:gd name="connsiteY2" fmla="*/ 42 h 48809"/>
                    <a:gd name="connsiteX3" fmla="*/ 0 w 99726"/>
                    <a:gd name="connsiteY3" fmla="*/ 36427 h 4880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9726" h="48809">
                      <a:moveTo>
                        <a:pt x="99727" y="48810"/>
                      </a:moveTo>
                      <a:cubicBezTo>
                        <a:pt x="99155" y="34998"/>
                        <a:pt x="93154" y="22711"/>
                        <a:pt x="83820" y="13948"/>
                      </a:cubicBezTo>
                      <a:cubicBezTo>
                        <a:pt x="74200" y="4804"/>
                        <a:pt x="60960" y="-530"/>
                        <a:pt x="46673" y="42"/>
                      </a:cubicBezTo>
                      <a:cubicBezTo>
                        <a:pt x="24384" y="994"/>
                        <a:pt x="6001" y="16139"/>
                        <a:pt x="0" y="36427"/>
                      </a:cubicBezTo>
                    </a:path>
                  </a:pathLst>
                </a:custGeom>
                <a:noFill/>
                <a:ln w="19050" cap="sq">
                  <a:solidFill>
                    <a:srgbClr val="184BFF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76" name="Forma livre: Forma 75">
                  <a:extLst>
                    <a:ext uri="{FF2B5EF4-FFF2-40B4-BE49-F238E27FC236}">
                      <a16:creationId xmlns:a16="http://schemas.microsoft.com/office/drawing/2014/main" id="{A78AF657-A79C-6EE7-3905-65B66D336756}"/>
                    </a:ext>
                  </a:extLst>
                </p:cNvPr>
                <p:cNvSpPr/>
                <p:nvPr/>
              </p:nvSpPr>
              <p:spPr>
                <a:xfrm>
                  <a:off x="4290650" y="1770143"/>
                  <a:ext cx="60349" cy="39816"/>
                </a:xfrm>
                <a:custGeom>
                  <a:avLst/>
                  <a:gdLst>
                    <a:gd name="connsiteX0" fmla="*/ 60349 w 60349"/>
                    <a:gd name="connsiteY0" fmla="*/ 21814 h 39816"/>
                    <a:gd name="connsiteX1" fmla="*/ 45681 w 60349"/>
                    <a:gd name="connsiteY1" fmla="*/ 3812 h 39816"/>
                    <a:gd name="connsiteX2" fmla="*/ 21773 w 60349"/>
                    <a:gd name="connsiteY2" fmla="*/ 1336 h 39816"/>
                    <a:gd name="connsiteX3" fmla="*/ 1389 w 60349"/>
                    <a:gd name="connsiteY3" fmla="*/ 39817 h 3981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60349" h="39816">
                      <a:moveTo>
                        <a:pt x="60349" y="21814"/>
                      </a:moveTo>
                      <a:cubicBezTo>
                        <a:pt x="57873" y="13813"/>
                        <a:pt x="52539" y="7527"/>
                        <a:pt x="45681" y="3812"/>
                      </a:cubicBezTo>
                      <a:cubicBezTo>
                        <a:pt x="38632" y="-93"/>
                        <a:pt x="30060" y="-1141"/>
                        <a:pt x="21773" y="1336"/>
                      </a:cubicBezTo>
                      <a:cubicBezTo>
                        <a:pt x="5485" y="6289"/>
                        <a:pt x="-3659" y="23529"/>
                        <a:pt x="1389" y="39817"/>
                      </a:cubicBezTo>
                    </a:path>
                  </a:pathLst>
                </a:custGeom>
                <a:noFill/>
                <a:ln w="19050" cap="sq">
                  <a:solidFill>
                    <a:srgbClr val="184BFF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70" name="Gráfico 215">
                <a:extLst>
                  <a:ext uri="{FF2B5EF4-FFF2-40B4-BE49-F238E27FC236}">
                    <a16:creationId xmlns:a16="http://schemas.microsoft.com/office/drawing/2014/main" id="{142754F5-F9F7-4FFE-689E-C8C37BA072CD}"/>
                  </a:ext>
                </a:extLst>
              </p:cNvPr>
              <p:cNvGrpSpPr/>
              <p:nvPr/>
            </p:nvGrpSpPr>
            <p:grpSpPr>
              <a:xfrm>
                <a:off x="4011433" y="1703851"/>
                <a:ext cx="185070" cy="106203"/>
                <a:chOff x="4011433" y="1703851"/>
                <a:chExt cx="185070" cy="106203"/>
              </a:xfrm>
              <a:noFill/>
            </p:grpSpPr>
            <p:sp>
              <p:nvSpPr>
                <p:cNvPr id="71" name="Forma livre: Forma 70">
                  <a:extLst>
                    <a:ext uri="{FF2B5EF4-FFF2-40B4-BE49-F238E27FC236}">
                      <a16:creationId xmlns:a16="http://schemas.microsoft.com/office/drawing/2014/main" id="{64FB7CCD-D05D-7B7E-9404-5A960708CA52}"/>
                    </a:ext>
                  </a:extLst>
                </p:cNvPr>
                <p:cNvSpPr/>
                <p:nvPr/>
              </p:nvSpPr>
              <p:spPr>
                <a:xfrm>
                  <a:off x="4154308" y="1703851"/>
                  <a:ext cx="42195" cy="106203"/>
                </a:xfrm>
                <a:custGeom>
                  <a:avLst/>
                  <a:gdLst>
                    <a:gd name="connsiteX0" fmla="*/ 42196 w 42195"/>
                    <a:gd name="connsiteY0" fmla="*/ 0 h 106203"/>
                    <a:gd name="connsiteX1" fmla="*/ 0 w 42195"/>
                    <a:gd name="connsiteY1" fmla="*/ 106204 h 1062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2195" h="106203">
                      <a:moveTo>
                        <a:pt x="42196" y="0"/>
                      </a:moveTo>
                      <a:cubicBezTo>
                        <a:pt x="42196" y="0"/>
                        <a:pt x="41243" y="93440"/>
                        <a:pt x="0" y="106204"/>
                      </a:cubicBezTo>
                    </a:path>
                  </a:pathLst>
                </a:custGeom>
                <a:noFill/>
                <a:ln w="19050" cap="sq">
                  <a:solidFill>
                    <a:srgbClr val="184BFF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72" name="Forma livre: Forma 71">
                  <a:extLst>
                    <a:ext uri="{FF2B5EF4-FFF2-40B4-BE49-F238E27FC236}">
                      <a16:creationId xmlns:a16="http://schemas.microsoft.com/office/drawing/2014/main" id="{F00B6F9F-C4C1-46D3-8AC7-82A02436C721}"/>
                    </a:ext>
                  </a:extLst>
                </p:cNvPr>
                <p:cNvSpPr/>
                <p:nvPr/>
              </p:nvSpPr>
              <p:spPr>
                <a:xfrm>
                  <a:off x="4011433" y="1736480"/>
                  <a:ext cx="69627" cy="48809"/>
                </a:xfrm>
                <a:custGeom>
                  <a:avLst/>
                  <a:gdLst>
                    <a:gd name="connsiteX0" fmla="*/ 0 w 69627"/>
                    <a:gd name="connsiteY0" fmla="*/ 48810 h 48809"/>
                    <a:gd name="connsiteX1" fmla="*/ 15907 w 69627"/>
                    <a:gd name="connsiteY1" fmla="*/ 13948 h 48809"/>
                    <a:gd name="connsiteX2" fmla="*/ 53054 w 69627"/>
                    <a:gd name="connsiteY2" fmla="*/ 42 h 48809"/>
                    <a:gd name="connsiteX3" fmla="*/ 69628 w 69627"/>
                    <a:gd name="connsiteY3" fmla="*/ 3566 h 4880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69627" h="48809">
                      <a:moveTo>
                        <a:pt x="0" y="48810"/>
                      </a:moveTo>
                      <a:cubicBezTo>
                        <a:pt x="572" y="34998"/>
                        <a:pt x="6572" y="22711"/>
                        <a:pt x="15907" y="13948"/>
                      </a:cubicBezTo>
                      <a:cubicBezTo>
                        <a:pt x="25527" y="4804"/>
                        <a:pt x="38767" y="-530"/>
                        <a:pt x="53054" y="42"/>
                      </a:cubicBezTo>
                      <a:cubicBezTo>
                        <a:pt x="58960" y="327"/>
                        <a:pt x="64484" y="1566"/>
                        <a:pt x="69628" y="3566"/>
                      </a:cubicBezTo>
                    </a:path>
                  </a:pathLst>
                </a:custGeom>
                <a:noFill/>
                <a:ln w="19050" cap="sq">
                  <a:solidFill>
                    <a:srgbClr val="184BFF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73" name="Forma livre: Forma 72">
                  <a:extLst>
                    <a:ext uri="{FF2B5EF4-FFF2-40B4-BE49-F238E27FC236}">
                      <a16:creationId xmlns:a16="http://schemas.microsoft.com/office/drawing/2014/main" id="{0681F8FD-8BD3-60C5-EBD8-7E1437CC0D4A}"/>
                    </a:ext>
                  </a:extLst>
                </p:cNvPr>
                <p:cNvSpPr/>
                <p:nvPr/>
              </p:nvSpPr>
              <p:spPr>
                <a:xfrm>
                  <a:off x="4095444" y="1770143"/>
                  <a:ext cx="60349" cy="39816"/>
                </a:xfrm>
                <a:custGeom>
                  <a:avLst/>
                  <a:gdLst>
                    <a:gd name="connsiteX0" fmla="*/ 0 w 60349"/>
                    <a:gd name="connsiteY0" fmla="*/ 21814 h 39816"/>
                    <a:gd name="connsiteX1" fmla="*/ 14669 w 60349"/>
                    <a:gd name="connsiteY1" fmla="*/ 3812 h 39816"/>
                    <a:gd name="connsiteX2" fmla="*/ 38576 w 60349"/>
                    <a:gd name="connsiteY2" fmla="*/ 1336 h 39816"/>
                    <a:gd name="connsiteX3" fmla="*/ 58960 w 60349"/>
                    <a:gd name="connsiteY3" fmla="*/ 39817 h 3981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60349" h="39816">
                      <a:moveTo>
                        <a:pt x="0" y="21814"/>
                      </a:moveTo>
                      <a:cubicBezTo>
                        <a:pt x="2477" y="13813"/>
                        <a:pt x="7810" y="7527"/>
                        <a:pt x="14669" y="3812"/>
                      </a:cubicBezTo>
                      <a:cubicBezTo>
                        <a:pt x="21717" y="-93"/>
                        <a:pt x="30290" y="-1141"/>
                        <a:pt x="38576" y="1336"/>
                      </a:cubicBezTo>
                      <a:cubicBezTo>
                        <a:pt x="54864" y="6289"/>
                        <a:pt x="64008" y="23529"/>
                        <a:pt x="58960" y="39817"/>
                      </a:cubicBezTo>
                    </a:path>
                  </a:pathLst>
                </a:custGeom>
                <a:noFill/>
                <a:ln w="19050" cap="sq">
                  <a:solidFill>
                    <a:srgbClr val="184BFF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</p:grpSp>
      <p:grpSp>
        <p:nvGrpSpPr>
          <p:cNvPr id="84" name="Agrupar 83">
            <a:extLst>
              <a:ext uri="{FF2B5EF4-FFF2-40B4-BE49-F238E27FC236}">
                <a16:creationId xmlns:a16="http://schemas.microsoft.com/office/drawing/2014/main" id="{4F6967E4-3A62-01E4-5B8B-88EC81386AA8}"/>
              </a:ext>
            </a:extLst>
          </p:cNvPr>
          <p:cNvGrpSpPr/>
          <p:nvPr/>
        </p:nvGrpSpPr>
        <p:grpSpPr>
          <a:xfrm>
            <a:off x="735958" y="4373424"/>
            <a:ext cx="474083" cy="397866"/>
            <a:chOff x="7527643" y="2537276"/>
            <a:chExt cx="474083" cy="397866"/>
          </a:xfrm>
        </p:grpSpPr>
        <p:grpSp>
          <p:nvGrpSpPr>
            <p:cNvPr id="85" name="Gráfico 215">
              <a:extLst>
                <a:ext uri="{FF2B5EF4-FFF2-40B4-BE49-F238E27FC236}">
                  <a16:creationId xmlns:a16="http://schemas.microsoft.com/office/drawing/2014/main" id="{93C338BB-9D45-B127-786C-7B65617566AC}"/>
                </a:ext>
              </a:extLst>
            </p:cNvPr>
            <p:cNvGrpSpPr/>
            <p:nvPr/>
          </p:nvGrpSpPr>
          <p:grpSpPr>
            <a:xfrm>
              <a:off x="7572418" y="2635250"/>
              <a:ext cx="384534" cy="261020"/>
              <a:chOff x="3947140" y="1487919"/>
              <a:chExt cx="552164" cy="374808"/>
            </a:xfrm>
            <a:noFill/>
          </p:grpSpPr>
          <p:sp>
            <p:nvSpPr>
              <p:cNvPr id="102" name="Forma livre: Forma 101">
                <a:extLst>
                  <a:ext uri="{FF2B5EF4-FFF2-40B4-BE49-F238E27FC236}">
                    <a16:creationId xmlns:a16="http://schemas.microsoft.com/office/drawing/2014/main" id="{41367F1F-5112-DBF7-1E1D-B86E90731B60}"/>
                  </a:ext>
                </a:extLst>
              </p:cNvPr>
              <p:cNvSpPr/>
              <p:nvPr/>
            </p:nvSpPr>
            <p:spPr>
              <a:xfrm>
                <a:off x="4333093" y="1487919"/>
                <a:ext cx="166211" cy="374808"/>
              </a:xfrm>
              <a:custGeom>
                <a:avLst/>
                <a:gdLst>
                  <a:gd name="connsiteX0" fmla="*/ 0 w 166211"/>
                  <a:gd name="connsiteY0" fmla="*/ 0 h 374808"/>
                  <a:gd name="connsiteX1" fmla="*/ 125921 w 166211"/>
                  <a:gd name="connsiteY1" fmla="*/ 0 h 374808"/>
                  <a:gd name="connsiteX2" fmla="*/ 166211 w 166211"/>
                  <a:gd name="connsiteY2" fmla="*/ 40291 h 374808"/>
                  <a:gd name="connsiteX3" fmla="*/ 166211 w 166211"/>
                  <a:gd name="connsiteY3" fmla="*/ 374809 h 3748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66211" h="374808">
                    <a:moveTo>
                      <a:pt x="0" y="0"/>
                    </a:moveTo>
                    <a:lnTo>
                      <a:pt x="125921" y="0"/>
                    </a:lnTo>
                    <a:cubicBezTo>
                      <a:pt x="148114" y="0"/>
                      <a:pt x="166211" y="18097"/>
                      <a:pt x="166211" y="40291"/>
                    </a:cubicBezTo>
                    <a:lnTo>
                      <a:pt x="166211" y="374809"/>
                    </a:lnTo>
                  </a:path>
                </a:pathLst>
              </a:custGeom>
              <a:noFill/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03" name="Forma livre: Forma 102">
                <a:extLst>
                  <a:ext uri="{FF2B5EF4-FFF2-40B4-BE49-F238E27FC236}">
                    <a16:creationId xmlns:a16="http://schemas.microsoft.com/office/drawing/2014/main" id="{9A204697-1F89-4F41-445F-4569A9E70B29}"/>
                  </a:ext>
                </a:extLst>
              </p:cNvPr>
              <p:cNvSpPr/>
              <p:nvPr/>
            </p:nvSpPr>
            <p:spPr>
              <a:xfrm>
                <a:off x="3947140" y="1487919"/>
                <a:ext cx="166020" cy="331851"/>
              </a:xfrm>
              <a:custGeom>
                <a:avLst/>
                <a:gdLst>
                  <a:gd name="connsiteX0" fmla="*/ 0 w 166020"/>
                  <a:gd name="connsiteY0" fmla="*/ 331851 h 331851"/>
                  <a:gd name="connsiteX1" fmla="*/ 0 w 166020"/>
                  <a:gd name="connsiteY1" fmla="*/ 40291 h 331851"/>
                  <a:gd name="connsiteX2" fmla="*/ 40291 w 166020"/>
                  <a:gd name="connsiteY2" fmla="*/ 0 h 331851"/>
                  <a:gd name="connsiteX3" fmla="*/ 166021 w 166020"/>
                  <a:gd name="connsiteY3" fmla="*/ 0 h 3318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66020" h="331851">
                    <a:moveTo>
                      <a:pt x="0" y="331851"/>
                    </a:moveTo>
                    <a:lnTo>
                      <a:pt x="0" y="40291"/>
                    </a:lnTo>
                    <a:cubicBezTo>
                      <a:pt x="0" y="18097"/>
                      <a:pt x="18097" y="0"/>
                      <a:pt x="40291" y="0"/>
                    </a:cubicBezTo>
                    <a:lnTo>
                      <a:pt x="166021" y="0"/>
                    </a:lnTo>
                  </a:path>
                </a:pathLst>
              </a:custGeom>
              <a:noFill/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86" name="Forma livre: Forma 85">
              <a:extLst>
                <a:ext uri="{FF2B5EF4-FFF2-40B4-BE49-F238E27FC236}">
                  <a16:creationId xmlns:a16="http://schemas.microsoft.com/office/drawing/2014/main" id="{8962D723-69DD-04A5-067B-C4851CE8CE68}"/>
                </a:ext>
              </a:extLst>
            </p:cNvPr>
            <p:cNvSpPr/>
            <p:nvPr/>
          </p:nvSpPr>
          <p:spPr>
            <a:xfrm>
              <a:off x="7527643" y="2897332"/>
              <a:ext cx="474083" cy="37810"/>
            </a:xfrm>
            <a:custGeom>
              <a:avLst/>
              <a:gdLst>
                <a:gd name="connsiteX0" fmla="*/ 0 w 680751"/>
                <a:gd name="connsiteY0" fmla="*/ 0 h 54292"/>
                <a:gd name="connsiteX1" fmla="*/ 48863 w 680751"/>
                <a:gd name="connsiteY1" fmla="*/ 54293 h 54292"/>
                <a:gd name="connsiteX2" fmla="*/ 631888 w 680751"/>
                <a:gd name="connsiteY2" fmla="*/ 54293 h 54292"/>
                <a:gd name="connsiteX3" fmla="*/ 680752 w 680751"/>
                <a:gd name="connsiteY3" fmla="*/ 0 h 54292"/>
                <a:gd name="connsiteX4" fmla="*/ 0 w 680751"/>
                <a:gd name="connsiteY4" fmla="*/ 0 h 542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80751" h="54292">
                  <a:moveTo>
                    <a:pt x="0" y="0"/>
                  </a:moveTo>
                  <a:cubicBezTo>
                    <a:pt x="0" y="0"/>
                    <a:pt x="9906" y="54293"/>
                    <a:pt x="48863" y="54293"/>
                  </a:cubicBezTo>
                  <a:lnTo>
                    <a:pt x="631888" y="54293"/>
                  </a:lnTo>
                  <a:cubicBezTo>
                    <a:pt x="670941" y="54293"/>
                    <a:pt x="680752" y="0"/>
                    <a:pt x="680752" y="0"/>
                  </a:cubicBezTo>
                  <a:lnTo>
                    <a:pt x="0" y="0"/>
                  </a:lnTo>
                  <a:close/>
                </a:path>
              </a:pathLst>
            </a:custGeom>
            <a:noFill/>
            <a:ln w="19050" cap="sq">
              <a:solidFill>
                <a:srgbClr val="184BFF"/>
              </a:solidFill>
              <a:prstDash val="solid"/>
              <a:miter lim="800000"/>
            </a:ln>
          </p:spPr>
          <p:txBody>
            <a:bodyPr rtlCol="0" anchor="ctr"/>
            <a:lstStyle/>
            <a:p>
              <a:endParaRPr lang="pt-PT" dirty="0"/>
            </a:p>
          </p:txBody>
        </p:sp>
        <p:grpSp>
          <p:nvGrpSpPr>
            <p:cNvPr id="87" name="Gráfico 215">
              <a:extLst>
                <a:ext uri="{FF2B5EF4-FFF2-40B4-BE49-F238E27FC236}">
                  <a16:creationId xmlns:a16="http://schemas.microsoft.com/office/drawing/2014/main" id="{233E75C3-AA39-CA61-4F15-3A9D75BC2D2B}"/>
                </a:ext>
              </a:extLst>
            </p:cNvPr>
            <p:cNvGrpSpPr/>
            <p:nvPr/>
          </p:nvGrpSpPr>
          <p:grpSpPr>
            <a:xfrm>
              <a:off x="7661835" y="2537276"/>
              <a:ext cx="205699" cy="245499"/>
              <a:chOff x="4075536" y="1347235"/>
              <a:chExt cx="295370" cy="352520"/>
            </a:xfrm>
            <a:noFill/>
          </p:grpSpPr>
          <p:sp>
            <p:nvSpPr>
              <p:cNvPr id="97" name="Forma livre: Forma 96">
                <a:extLst>
                  <a:ext uri="{FF2B5EF4-FFF2-40B4-BE49-F238E27FC236}">
                    <a16:creationId xmlns:a16="http://schemas.microsoft.com/office/drawing/2014/main" id="{1F18B088-423F-9186-69C7-EDAD825A69E4}"/>
                  </a:ext>
                </a:extLst>
              </p:cNvPr>
              <p:cNvSpPr/>
              <p:nvPr/>
            </p:nvSpPr>
            <p:spPr>
              <a:xfrm>
                <a:off x="4156880" y="1347235"/>
                <a:ext cx="132778" cy="352520"/>
              </a:xfrm>
              <a:custGeom>
                <a:avLst/>
                <a:gdLst>
                  <a:gd name="connsiteX0" fmla="*/ 66389 w 132778"/>
                  <a:gd name="connsiteY0" fmla="*/ 0 h 352520"/>
                  <a:gd name="connsiteX1" fmla="*/ 0 w 132778"/>
                  <a:gd name="connsiteY1" fmla="*/ 99536 h 352520"/>
                  <a:gd name="connsiteX2" fmla="*/ 0 w 132778"/>
                  <a:gd name="connsiteY2" fmla="*/ 352520 h 352520"/>
                  <a:gd name="connsiteX3" fmla="*/ 132778 w 132778"/>
                  <a:gd name="connsiteY3" fmla="*/ 352520 h 352520"/>
                  <a:gd name="connsiteX4" fmla="*/ 132778 w 132778"/>
                  <a:gd name="connsiteY4" fmla="*/ 99536 h 352520"/>
                  <a:gd name="connsiteX5" fmla="*/ 66389 w 132778"/>
                  <a:gd name="connsiteY5" fmla="*/ 0 h 3525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32778" h="352520">
                    <a:moveTo>
                      <a:pt x="66389" y="0"/>
                    </a:moveTo>
                    <a:cubicBezTo>
                      <a:pt x="66389" y="0"/>
                      <a:pt x="0" y="70009"/>
                      <a:pt x="0" y="99536"/>
                    </a:cubicBezTo>
                    <a:lnTo>
                      <a:pt x="0" y="352520"/>
                    </a:lnTo>
                    <a:lnTo>
                      <a:pt x="132778" y="352520"/>
                    </a:lnTo>
                    <a:lnTo>
                      <a:pt x="132778" y="99536"/>
                    </a:lnTo>
                    <a:cubicBezTo>
                      <a:pt x="132778" y="69914"/>
                      <a:pt x="66389" y="0"/>
                      <a:pt x="66389" y="0"/>
                    </a:cubicBezTo>
                    <a:close/>
                  </a:path>
                </a:pathLst>
              </a:custGeom>
              <a:noFill/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98" name="Gráfico 215">
                <a:extLst>
                  <a:ext uri="{FF2B5EF4-FFF2-40B4-BE49-F238E27FC236}">
                    <a16:creationId xmlns:a16="http://schemas.microsoft.com/office/drawing/2014/main" id="{B1FEE2DF-95D6-50DA-2859-43EA63AEC1E0}"/>
                  </a:ext>
                </a:extLst>
              </p:cNvPr>
              <p:cNvGrpSpPr/>
              <p:nvPr/>
            </p:nvGrpSpPr>
            <p:grpSpPr>
              <a:xfrm>
                <a:off x="4075536" y="1507636"/>
                <a:ext cx="295370" cy="174783"/>
                <a:chOff x="4075536" y="1507636"/>
                <a:chExt cx="295370" cy="174783"/>
              </a:xfrm>
              <a:noFill/>
            </p:grpSpPr>
            <p:sp>
              <p:nvSpPr>
                <p:cNvPr id="100" name="Forma livre: Forma 99">
                  <a:extLst>
                    <a:ext uri="{FF2B5EF4-FFF2-40B4-BE49-F238E27FC236}">
                      <a16:creationId xmlns:a16="http://schemas.microsoft.com/office/drawing/2014/main" id="{5CB9C7CE-5381-E180-794A-ACDE05486512}"/>
                    </a:ext>
                  </a:extLst>
                </p:cNvPr>
                <p:cNvSpPr/>
                <p:nvPr/>
              </p:nvSpPr>
              <p:spPr>
                <a:xfrm>
                  <a:off x="4075536" y="1507636"/>
                  <a:ext cx="81248" cy="174783"/>
                </a:xfrm>
                <a:custGeom>
                  <a:avLst/>
                  <a:gdLst>
                    <a:gd name="connsiteX0" fmla="*/ 81248 w 81248"/>
                    <a:gd name="connsiteY0" fmla="*/ 0 h 174783"/>
                    <a:gd name="connsiteX1" fmla="*/ 24860 w 81248"/>
                    <a:gd name="connsiteY1" fmla="*/ 83630 h 174783"/>
                    <a:gd name="connsiteX2" fmla="*/ 4858 w 81248"/>
                    <a:gd name="connsiteY2" fmla="*/ 103823 h 174783"/>
                    <a:gd name="connsiteX3" fmla="*/ 0 w 81248"/>
                    <a:gd name="connsiteY3" fmla="*/ 130302 h 174783"/>
                    <a:gd name="connsiteX4" fmla="*/ 0 w 81248"/>
                    <a:gd name="connsiteY4" fmla="*/ 174784 h 174783"/>
                    <a:gd name="connsiteX5" fmla="*/ 76581 w 81248"/>
                    <a:gd name="connsiteY5" fmla="*/ 174784 h 17478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81248" h="174783">
                      <a:moveTo>
                        <a:pt x="81248" y="0"/>
                      </a:moveTo>
                      <a:cubicBezTo>
                        <a:pt x="81248" y="18002"/>
                        <a:pt x="62865" y="53054"/>
                        <a:pt x="24860" y="83630"/>
                      </a:cubicBezTo>
                      <a:cubicBezTo>
                        <a:pt x="17431" y="89630"/>
                        <a:pt x="9716" y="95917"/>
                        <a:pt x="4858" y="103823"/>
                      </a:cubicBezTo>
                      <a:cubicBezTo>
                        <a:pt x="381" y="111252"/>
                        <a:pt x="0" y="121444"/>
                        <a:pt x="0" y="130302"/>
                      </a:cubicBezTo>
                      <a:lnTo>
                        <a:pt x="0" y="174784"/>
                      </a:lnTo>
                      <a:lnTo>
                        <a:pt x="76581" y="174784"/>
                      </a:lnTo>
                    </a:path>
                  </a:pathLst>
                </a:custGeom>
                <a:noFill/>
                <a:ln w="19050" cap="sq">
                  <a:solidFill>
                    <a:srgbClr val="184BFF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01" name="Forma livre: Forma 100">
                  <a:extLst>
                    <a:ext uri="{FF2B5EF4-FFF2-40B4-BE49-F238E27FC236}">
                      <a16:creationId xmlns:a16="http://schemas.microsoft.com/office/drawing/2014/main" id="{BBF76328-7DCC-C987-C2F2-61E6F76E58D2}"/>
                    </a:ext>
                  </a:extLst>
                </p:cNvPr>
                <p:cNvSpPr/>
                <p:nvPr/>
              </p:nvSpPr>
              <p:spPr>
                <a:xfrm>
                  <a:off x="4289658" y="1507636"/>
                  <a:ext cx="81248" cy="174783"/>
                </a:xfrm>
                <a:custGeom>
                  <a:avLst/>
                  <a:gdLst>
                    <a:gd name="connsiteX0" fmla="*/ 0 w 81248"/>
                    <a:gd name="connsiteY0" fmla="*/ 0 h 174783"/>
                    <a:gd name="connsiteX1" fmla="*/ 56388 w 81248"/>
                    <a:gd name="connsiteY1" fmla="*/ 83630 h 174783"/>
                    <a:gd name="connsiteX2" fmla="*/ 76391 w 81248"/>
                    <a:gd name="connsiteY2" fmla="*/ 103823 h 174783"/>
                    <a:gd name="connsiteX3" fmla="*/ 81248 w 81248"/>
                    <a:gd name="connsiteY3" fmla="*/ 130302 h 174783"/>
                    <a:gd name="connsiteX4" fmla="*/ 81248 w 81248"/>
                    <a:gd name="connsiteY4" fmla="*/ 174784 h 174783"/>
                    <a:gd name="connsiteX5" fmla="*/ 4667 w 81248"/>
                    <a:gd name="connsiteY5" fmla="*/ 174784 h 17478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81248" h="174783">
                      <a:moveTo>
                        <a:pt x="0" y="0"/>
                      </a:moveTo>
                      <a:cubicBezTo>
                        <a:pt x="0" y="18002"/>
                        <a:pt x="18383" y="53054"/>
                        <a:pt x="56388" y="83630"/>
                      </a:cubicBezTo>
                      <a:cubicBezTo>
                        <a:pt x="63818" y="89630"/>
                        <a:pt x="71533" y="95917"/>
                        <a:pt x="76391" y="103823"/>
                      </a:cubicBezTo>
                      <a:cubicBezTo>
                        <a:pt x="80867" y="111252"/>
                        <a:pt x="81248" y="121444"/>
                        <a:pt x="81248" y="130302"/>
                      </a:cubicBezTo>
                      <a:lnTo>
                        <a:pt x="81248" y="174784"/>
                      </a:lnTo>
                      <a:lnTo>
                        <a:pt x="4667" y="174784"/>
                      </a:lnTo>
                    </a:path>
                  </a:pathLst>
                </a:custGeom>
                <a:noFill/>
                <a:ln w="19050" cap="sq">
                  <a:solidFill>
                    <a:srgbClr val="184BFF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99" name="Forma livre: Forma 98">
                <a:extLst>
                  <a:ext uri="{FF2B5EF4-FFF2-40B4-BE49-F238E27FC236}">
                    <a16:creationId xmlns:a16="http://schemas.microsoft.com/office/drawing/2014/main" id="{E951B38E-28E7-7B10-6B19-9CE4569C97F0}"/>
                  </a:ext>
                </a:extLst>
              </p:cNvPr>
              <p:cNvSpPr/>
              <p:nvPr/>
            </p:nvSpPr>
            <p:spPr>
              <a:xfrm>
                <a:off x="4198980" y="1457820"/>
                <a:ext cx="48577" cy="11239"/>
              </a:xfrm>
              <a:custGeom>
                <a:avLst/>
                <a:gdLst>
                  <a:gd name="connsiteX0" fmla="*/ 48578 w 48577"/>
                  <a:gd name="connsiteY0" fmla="*/ 11240 h 11239"/>
                  <a:gd name="connsiteX1" fmla="*/ 24289 w 48577"/>
                  <a:gd name="connsiteY1" fmla="*/ 0 h 11239"/>
                  <a:gd name="connsiteX2" fmla="*/ 0 w 48577"/>
                  <a:gd name="connsiteY2" fmla="*/ 11240 h 112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48577" h="11239">
                    <a:moveTo>
                      <a:pt x="48578" y="11240"/>
                    </a:moveTo>
                    <a:cubicBezTo>
                      <a:pt x="44577" y="4667"/>
                      <a:pt x="35243" y="0"/>
                      <a:pt x="24289" y="0"/>
                    </a:cubicBezTo>
                    <a:cubicBezTo>
                      <a:pt x="13335" y="0"/>
                      <a:pt x="4001" y="4667"/>
                      <a:pt x="0" y="11240"/>
                    </a:cubicBezTo>
                  </a:path>
                </a:pathLst>
              </a:custGeom>
              <a:noFill/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88" name="Gráfico 215">
              <a:extLst>
                <a:ext uri="{FF2B5EF4-FFF2-40B4-BE49-F238E27FC236}">
                  <a16:creationId xmlns:a16="http://schemas.microsoft.com/office/drawing/2014/main" id="{5C5411AF-4C5F-8438-BDD1-F60A5DE7033B}"/>
                </a:ext>
              </a:extLst>
            </p:cNvPr>
            <p:cNvGrpSpPr/>
            <p:nvPr/>
          </p:nvGrpSpPr>
          <p:grpSpPr>
            <a:xfrm>
              <a:off x="7617192" y="2785627"/>
              <a:ext cx="294983" cy="73961"/>
              <a:chOff x="4011433" y="1703851"/>
              <a:chExt cx="423576" cy="106203"/>
            </a:xfrm>
            <a:noFill/>
          </p:grpSpPr>
          <p:grpSp>
            <p:nvGrpSpPr>
              <p:cNvPr id="89" name="Gráfico 215">
                <a:extLst>
                  <a:ext uri="{FF2B5EF4-FFF2-40B4-BE49-F238E27FC236}">
                    <a16:creationId xmlns:a16="http://schemas.microsoft.com/office/drawing/2014/main" id="{B51FC9D5-BDEF-F20D-CD3C-1D8956F18187}"/>
                  </a:ext>
                </a:extLst>
              </p:cNvPr>
              <p:cNvGrpSpPr/>
              <p:nvPr/>
            </p:nvGrpSpPr>
            <p:grpSpPr>
              <a:xfrm>
                <a:off x="4249939" y="1703851"/>
                <a:ext cx="185070" cy="106203"/>
                <a:chOff x="4249939" y="1703851"/>
                <a:chExt cx="185070" cy="106203"/>
              </a:xfrm>
              <a:noFill/>
            </p:grpSpPr>
            <p:sp>
              <p:nvSpPr>
                <p:cNvPr id="94" name="Forma livre: Forma 93">
                  <a:extLst>
                    <a:ext uri="{FF2B5EF4-FFF2-40B4-BE49-F238E27FC236}">
                      <a16:creationId xmlns:a16="http://schemas.microsoft.com/office/drawing/2014/main" id="{17EFF025-010A-9A76-F478-A0F3A7C1EF15}"/>
                    </a:ext>
                  </a:extLst>
                </p:cNvPr>
                <p:cNvSpPr/>
                <p:nvPr/>
              </p:nvSpPr>
              <p:spPr>
                <a:xfrm>
                  <a:off x="4249939" y="1703851"/>
                  <a:ext cx="42195" cy="106203"/>
                </a:xfrm>
                <a:custGeom>
                  <a:avLst/>
                  <a:gdLst>
                    <a:gd name="connsiteX0" fmla="*/ 0 w 42195"/>
                    <a:gd name="connsiteY0" fmla="*/ 0 h 106203"/>
                    <a:gd name="connsiteX1" fmla="*/ 42196 w 42195"/>
                    <a:gd name="connsiteY1" fmla="*/ 106204 h 1062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2195" h="106203">
                      <a:moveTo>
                        <a:pt x="0" y="0"/>
                      </a:moveTo>
                      <a:cubicBezTo>
                        <a:pt x="0" y="0"/>
                        <a:pt x="1715" y="89535"/>
                        <a:pt x="42196" y="106204"/>
                      </a:cubicBezTo>
                    </a:path>
                  </a:pathLst>
                </a:custGeom>
                <a:noFill/>
                <a:ln w="19050" cap="sq">
                  <a:solidFill>
                    <a:srgbClr val="184BFF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 dirty="0"/>
                </a:p>
              </p:txBody>
            </p:sp>
            <p:sp>
              <p:nvSpPr>
                <p:cNvPr id="95" name="Forma livre: Forma 94">
                  <a:extLst>
                    <a:ext uri="{FF2B5EF4-FFF2-40B4-BE49-F238E27FC236}">
                      <a16:creationId xmlns:a16="http://schemas.microsoft.com/office/drawing/2014/main" id="{7AF187AA-04B1-2D7B-A58D-15D05A4ECB41}"/>
                    </a:ext>
                  </a:extLst>
                </p:cNvPr>
                <p:cNvSpPr/>
                <p:nvPr/>
              </p:nvSpPr>
              <p:spPr>
                <a:xfrm>
                  <a:off x="4335283" y="1736480"/>
                  <a:ext cx="99726" cy="48809"/>
                </a:xfrm>
                <a:custGeom>
                  <a:avLst/>
                  <a:gdLst>
                    <a:gd name="connsiteX0" fmla="*/ 99727 w 99726"/>
                    <a:gd name="connsiteY0" fmla="*/ 48810 h 48809"/>
                    <a:gd name="connsiteX1" fmla="*/ 83820 w 99726"/>
                    <a:gd name="connsiteY1" fmla="*/ 13948 h 48809"/>
                    <a:gd name="connsiteX2" fmla="*/ 46673 w 99726"/>
                    <a:gd name="connsiteY2" fmla="*/ 42 h 48809"/>
                    <a:gd name="connsiteX3" fmla="*/ 0 w 99726"/>
                    <a:gd name="connsiteY3" fmla="*/ 36427 h 4880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9726" h="48809">
                      <a:moveTo>
                        <a:pt x="99727" y="48810"/>
                      </a:moveTo>
                      <a:cubicBezTo>
                        <a:pt x="99155" y="34998"/>
                        <a:pt x="93154" y="22711"/>
                        <a:pt x="83820" y="13948"/>
                      </a:cubicBezTo>
                      <a:cubicBezTo>
                        <a:pt x="74200" y="4804"/>
                        <a:pt x="60960" y="-530"/>
                        <a:pt x="46673" y="42"/>
                      </a:cubicBezTo>
                      <a:cubicBezTo>
                        <a:pt x="24384" y="994"/>
                        <a:pt x="6001" y="16139"/>
                        <a:pt x="0" y="36427"/>
                      </a:cubicBezTo>
                    </a:path>
                  </a:pathLst>
                </a:custGeom>
                <a:noFill/>
                <a:ln w="19050" cap="sq">
                  <a:solidFill>
                    <a:srgbClr val="184BFF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96" name="Forma livre: Forma 95">
                  <a:extLst>
                    <a:ext uri="{FF2B5EF4-FFF2-40B4-BE49-F238E27FC236}">
                      <a16:creationId xmlns:a16="http://schemas.microsoft.com/office/drawing/2014/main" id="{7C27C2C7-9484-66D0-5AAF-02FDB84FD249}"/>
                    </a:ext>
                  </a:extLst>
                </p:cNvPr>
                <p:cNvSpPr/>
                <p:nvPr/>
              </p:nvSpPr>
              <p:spPr>
                <a:xfrm>
                  <a:off x="4290650" y="1770143"/>
                  <a:ext cx="60349" cy="39816"/>
                </a:xfrm>
                <a:custGeom>
                  <a:avLst/>
                  <a:gdLst>
                    <a:gd name="connsiteX0" fmla="*/ 60349 w 60349"/>
                    <a:gd name="connsiteY0" fmla="*/ 21814 h 39816"/>
                    <a:gd name="connsiteX1" fmla="*/ 45681 w 60349"/>
                    <a:gd name="connsiteY1" fmla="*/ 3812 h 39816"/>
                    <a:gd name="connsiteX2" fmla="*/ 21773 w 60349"/>
                    <a:gd name="connsiteY2" fmla="*/ 1336 h 39816"/>
                    <a:gd name="connsiteX3" fmla="*/ 1389 w 60349"/>
                    <a:gd name="connsiteY3" fmla="*/ 39817 h 3981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60349" h="39816">
                      <a:moveTo>
                        <a:pt x="60349" y="21814"/>
                      </a:moveTo>
                      <a:cubicBezTo>
                        <a:pt x="57873" y="13813"/>
                        <a:pt x="52539" y="7527"/>
                        <a:pt x="45681" y="3812"/>
                      </a:cubicBezTo>
                      <a:cubicBezTo>
                        <a:pt x="38632" y="-93"/>
                        <a:pt x="30060" y="-1141"/>
                        <a:pt x="21773" y="1336"/>
                      </a:cubicBezTo>
                      <a:cubicBezTo>
                        <a:pt x="5485" y="6289"/>
                        <a:pt x="-3659" y="23529"/>
                        <a:pt x="1389" y="39817"/>
                      </a:cubicBezTo>
                    </a:path>
                  </a:pathLst>
                </a:custGeom>
                <a:noFill/>
                <a:ln w="19050" cap="sq">
                  <a:solidFill>
                    <a:srgbClr val="184BFF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90" name="Gráfico 215">
                <a:extLst>
                  <a:ext uri="{FF2B5EF4-FFF2-40B4-BE49-F238E27FC236}">
                    <a16:creationId xmlns:a16="http://schemas.microsoft.com/office/drawing/2014/main" id="{E2C4C4F4-CEA5-371C-1C0D-4498059EC39B}"/>
                  </a:ext>
                </a:extLst>
              </p:cNvPr>
              <p:cNvGrpSpPr/>
              <p:nvPr/>
            </p:nvGrpSpPr>
            <p:grpSpPr>
              <a:xfrm>
                <a:off x="4011433" y="1703851"/>
                <a:ext cx="185070" cy="106203"/>
                <a:chOff x="4011433" y="1703851"/>
                <a:chExt cx="185070" cy="106203"/>
              </a:xfrm>
              <a:noFill/>
            </p:grpSpPr>
            <p:sp>
              <p:nvSpPr>
                <p:cNvPr id="91" name="Forma livre: Forma 90">
                  <a:extLst>
                    <a:ext uri="{FF2B5EF4-FFF2-40B4-BE49-F238E27FC236}">
                      <a16:creationId xmlns:a16="http://schemas.microsoft.com/office/drawing/2014/main" id="{C3CD0C3A-E6A0-F642-165A-1557C56175F3}"/>
                    </a:ext>
                  </a:extLst>
                </p:cNvPr>
                <p:cNvSpPr/>
                <p:nvPr/>
              </p:nvSpPr>
              <p:spPr>
                <a:xfrm>
                  <a:off x="4154308" y="1703851"/>
                  <a:ext cx="42195" cy="106203"/>
                </a:xfrm>
                <a:custGeom>
                  <a:avLst/>
                  <a:gdLst>
                    <a:gd name="connsiteX0" fmla="*/ 42196 w 42195"/>
                    <a:gd name="connsiteY0" fmla="*/ 0 h 106203"/>
                    <a:gd name="connsiteX1" fmla="*/ 0 w 42195"/>
                    <a:gd name="connsiteY1" fmla="*/ 106204 h 1062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2195" h="106203">
                      <a:moveTo>
                        <a:pt x="42196" y="0"/>
                      </a:moveTo>
                      <a:cubicBezTo>
                        <a:pt x="42196" y="0"/>
                        <a:pt x="41243" y="93440"/>
                        <a:pt x="0" y="106204"/>
                      </a:cubicBezTo>
                    </a:path>
                  </a:pathLst>
                </a:custGeom>
                <a:noFill/>
                <a:ln w="19050" cap="sq">
                  <a:solidFill>
                    <a:srgbClr val="184BFF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92" name="Forma livre: Forma 91">
                  <a:extLst>
                    <a:ext uri="{FF2B5EF4-FFF2-40B4-BE49-F238E27FC236}">
                      <a16:creationId xmlns:a16="http://schemas.microsoft.com/office/drawing/2014/main" id="{10C4C7FA-F8A9-F198-0267-963E73CA0FB5}"/>
                    </a:ext>
                  </a:extLst>
                </p:cNvPr>
                <p:cNvSpPr/>
                <p:nvPr/>
              </p:nvSpPr>
              <p:spPr>
                <a:xfrm>
                  <a:off x="4011433" y="1736480"/>
                  <a:ext cx="69627" cy="48809"/>
                </a:xfrm>
                <a:custGeom>
                  <a:avLst/>
                  <a:gdLst>
                    <a:gd name="connsiteX0" fmla="*/ 0 w 69627"/>
                    <a:gd name="connsiteY0" fmla="*/ 48810 h 48809"/>
                    <a:gd name="connsiteX1" fmla="*/ 15907 w 69627"/>
                    <a:gd name="connsiteY1" fmla="*/ 13948 h 48809"/>
                    <a:gd name="connsiteX2" fmla="*/ 53054 w 69627"/>
                    <a:gd name="connsiteY2" fmla="*/ 42 h 48809"/>
                    <a:gd name="connsiteX3" fmla="*/ 69628 w 69627"/>
                    <a:gd name="connsiteY3" fmla="*/ 3566 h 4880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69627" h="48809">
                      <a:moveTo>
                        <a:pt x="0" y="48810"/>
                      </a:moveTo>
                      <a:cubicBezTo>
                        <a:pt x="572" y="34998"/>
                        <a:pt x="6572" y="22711"/>
                        <a:pt x="15907" y="13948"/>
                      </a:cubicBezTo>
                      <a:cubicBezTo>
                        <a:pt x="25527" y="4804"/>
                        <a:pt x="38767" y="-530"/>
                        <a:pt x="53054" y="42"/>
                      </a:cubicBezTo>
                      <a:cubicBezTo>
                        <a:pt x="58960" y="327"/>
                        <a:pt x="64484" y="1566"/>
                        <a:pt x="69628" y="3566"/>
                      </a:cubicBezTo>
                    </a:path>
                  </a:pathLst>
                </a:custGeom>
                <a:noFill/>
                <a:ln w="19050" cap="sq">
                  <a:solidFill>
                    <a:srgbClr val="184BFF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93" name="Forma livre: Forma 92">
                  <a:extLst>
                    <a:ext uri="{FF2B5EF4-FFF2-40B4-BE49-F238E27FC236}">
                      <a16:creationId xmlns:a16="http://schemas.microsoft.com/office/drawing/2014/main" id="{F17FEDB1-38B0-E0DE-6F67-3FF84A30ACAD}"/>
                    </a:ext>
                  </a:extLst>
                </p:cNvPr>
                <p:cNvSpPr/>
                <p:nvPr/>
              </p:nvSpPr>
              <p:spPr>
                <a:xfrm>
                  <a:off x="4095444" y="1770143"/>
                  <a:ext cx="60349" cy="39816"/>
                </a:xfrm>
                <a:custGeom>
                  <a:avLst/>
                  <a:gdLst>
                    <a:gd name="connsiteX0" fmla="*/ 0 w 60349"/>
                    <a:gd name="connsiteY0" fmla="*/ 21814 h 39816"/>
                    <a:gd name="connsiteX1" fmla="*/ 14669 w 60349"/>
                    <a:gd name="connsiteY1" fmla="*/ 3812 h 39816"/>
                    <a:gd name="connsiteX2" fmla="*/ 38576 w 60349"/>
                    <a:gd name="connsiteY2" fmla="*/ 1336 h 39816"/>
                    <a:gd name="connsiteX3" fmla="*/ 58960 w 60349"/>
                    <a:gd name="connsiteY3" fmla="*/ 39817 h 3981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60349" h="39816">
                      <a:moveTo>
                        <a:pt x="0" y="21814"/>
                      </a:moveTo>
                      <a:cubicBezTo>
                        <a:pt x="2477" y="13813"/>
                        <a:pt x="7810" y="7527"/>
                        <a:pt x="14669" y="3812"/>
                      </a:cubicBezTo>
                      <a:cubicBezTo>
                        <a:pt x="21717" y="-93"/>
                        <a:pt x="30290" y="-1141"/>
                        <a:pt x="38576" y="1336"/>
                      </a:cubicBezTo>
                      <a:cubicBezTo>
                        <a:pt x="54864" y="6289"/>
                        <a:pt x="64008" y="23529"/>
                        <a:pt x="58960" y="39817"/>
                      </a:cubicBezTo>
                    </a:path>
                  </a:pathLst>
                </a:custGeom>
                <a:noFill/>
                <a:ln w="19050" cap="sq">
                  <a:solidFill>
                    <a:srgbClr val="184BFF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</p:grpSp>
      <p:sp>
        <p:nvSpPr>
          <p:cNvPr id="2" name="Marcador de pie de página 1">
            <a:extLst>
              <a:ext uri="{FF2B5EF4-FFF2-40B4-BE49-F238E27FC236}">
                <a16:creationId xmlns:a16="http://schemas.microsoft.com/office/drawing/2014/main" id="{C9235E48-479C-49B5-AFFB-E9AA5CEA628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pt-PT"/>
              <a:t>Título de la presentación</a:t>
            </a:r>
            <a:endParaRPr lang="pt-PT" dirty="0"/>
          </a:p>
        </p:txBody>
      </p:sp>
      <p:sp>
        <p:nvSpPr>
          <p:cNvPr id="3" name="Marcador de número de diapositiva 2">
            <a:extLst>
              <a:ext uri="{FF2B5EF4-FFF2-40B4-BE49-F238E27FC236}">
                <a16:creationId xmlns:a16="http://schemas.microsoft.com/office/drawing/2014/main" id="{D666F917-66F2-4088-91EF-E67D604A6A1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4A347C2-D68E-473A-8C76-1D063E4EB6E0}" type="slidenum">
              <a:rPr lang="es-ES" smtClean="0"/>
              <a:pPr/>
              <a:t>26</a:t>
            </a:fld>
            <a:endParaRPr lang="es-ES"/>
          </a:p>
        </p:txBody>
      </p:sp>
      <p:sp>
        <p:nvSpPr>
          <p:cNvPr id="104" name="Retângulo 205">
            <a:extLst>
              <a:ext uri="{FF2B5EF4-FFF2-40B4-BE49-F238E27FC236}">
                <a16:creationId xmlns:a16="http://schemas.microsoft.com/office/drawing/2014/main" id="{9B45F2A3-93C5-4565-8F3D-5FA0091C968D}"/>
              </a:ext>
            </a:extLst>
          </p:cNvPr>
          <p:cNvSpPr/>
          <p:nvPr/>
        </p:nvSpPr>
        <p:spPr>
          <a:xfrm>
            <a:off x="6787722" y="2565403"/>
            <a:ext cx="4312077" cy="1404000"/>
          </a:xfrm>
          <a:custGeom>
            <a:avLst/>
            <a:gdLst>
              <a:gd name="connsiteX0" fmla="*/ 0 w 1635417"/>
              <a:gd name="connsiteY0" fmla="*/ 0 h 1179213"/>
              <a:gd name="connsiteX1" fmla="*/ 1635417 w 1635417"/>
              <a:gd name="connsiteY1" fmla="*/ 0 h 1179213"/>
              <a:gd name="connsiteX2" fmla="*/ 1635417 w 1635417"/>
              <a:gd name="connsiteY2" fmla="*/ 1179213 h 1179213"/>
              <a:gd name="connsiteX3" fmla="*/ 0 w 1635417"/>
              <a:gd name="connsiteY3" fmla="*/ 1179213 h 1179213"/>
              <a:gd name="connsiteX4" fmla="*/ 0 w 1635417"/>
              <a:gd name="connsiteY4" fmla="*/ 0 h 1179213"/>
              <a:gd name="connsiteX0" fmla="*/ 1635417 w 1726857"/>
              <a:gd name="connsiteY0" fmla="*/ 0 h 1179213"/>
              <a:gd name="connsiteX1" fmla="*/ 1635417 w 1726857"/>
              <a:gd name="connsiteY1" fmla="*/ 1179213 h 1179213"/>
              <a:gd name="connsiteX2" fmla="*/ 0 w 1726857"/>
              <a:gd name="connsiteY2" fmla="*/ 1179213 h 1179213"/>
              <a:gd name="connsiteX3" fmla="*/ 0 w 1726857"/>
              <a:gd name="connsiteY3" fmla="*/ 0 h 1179213"/>
              <a:gd name="connsiteX4" fmla="*/ 1726857 w 1726857"/>
              <a:gd name="connsiteY4" fmla="*/ 91440 h 1179213"/>
              <a:gd name="connsiteX0" fmla="*/ 1635417 w 1635417"/>
              <a:gd name="connsiteY0" fmla="*/ 0 h 1179213"/>
              <a:gd name="connsiteX1" fmla="*/ 1635417 w 1635417"/>
              <a:gd name="connsiteY1" fmla="*/ 1179213 h 1179213"/>
              <a:gd name="connsiteX2" fmla="*/ 0 w 1635417"/>
              <a:gd name="connsiteY2" fmla="*/ 1179213 h 1179213"/>
              <a:gd name="connsiteX3" fmla="*/ 0 w 1635417"/>
              <a:gd name="connsiteY3" fmla="*/ 0 h 1179213"/>
              <a:gd name="connsiteX0" fmla="*/ 1635417 w 1635417"/>
              <a:gd name="connsiteY0" fmla="*/ 1179213 h 1179213"/>
              <a:gd name="connsiteX1" fmla="*/ 0 w 1635417"/>
              <a:gd name="connsiteY1" fmla="*/ 1179213 h 1179213"/>
              <a:gd name="connsiteX2" fmla="*/ 0 w 1635417"/>
              <a:gd name="connsiteY2" fmla="*/ 0 h 11792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635417" h="1179213">
                <a:moveTo>
                  <a:pt x="1635417" y="1179213"/>
                </a:moveTo>
                <a:lnTo>
                  <a:pt x="0" y="1179213"/>
                </a:lnTo>
                <a:lnTo>
                  <a:pt x="0" y="0"/>
                </a:lnTo>
              </a:path>
            </a:pathLst>
          </a:custGeom>
          <a:noFill/>
          <a:ln w="6350" cap="sq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  <p:sp>
        <p:nvSpPr>
          <p:cNvPr id="105" name="Retângulo 205">
            <a:extLst>
              <a:ext uri="{FF2B5EF4-FFF2-40B4-BE49-F238E27FC236}">
                <a16:creationId xmlns:a16="http://schemas.microsoft.com/office/drawing/2014/main" id="{0D02DBDE-FE95-422C-88EA-79BCFB64FF4D}"/>
              </a:ext>
            </a:extLst>
          </p:cNvPr>
          <p:cNvSpPr/>
          <p:nvPr/>
        </p:nvSpPr>
        <p:spPr>
          <a:xfrm>
            <a:off x="6787722" y="4841031"/>
            <a:ext cx="4312077" cy="1404000"/>
          </a:xfrm>
          <a:custGeom>
            <a:avLst/>
            <a:gdLst>
              <a:gd name="connsiteX0" fmla="*/ 0 w 1635417"/>
              <a:gd name="connsiteY0" fmla="*/ 0 h 1179213"/>
              <a:gd name="connsiteX1" fmla="*/ 1635417 w 1635417"/>
              <a:gd name="connsiteY1" fmla="*/ 0 h 1179213"/>
              <a:gd name="connsiteX2" fmla="*/ 1635417 w 1635417"/>
              <a:gd name="connsiteY2" fmla="*/ 1179213 h 1179213"/>
              <a:gd name="connsiteX3" fmla="*/ 0 w 1635417"/>
              <a:gd name="connsiteY3" fmla="*/ 1179213 h 1179213"/>
              <a:gd name="connsiteX4" fmla="*/ 0 w 1635417"/>
              <a:gd name="connsiteY4" fmla="*/ 0 h 1179213"/>
              <a:gd name="connsiteX0" fmla="*/ 1635417 w 1726857"/>
              <a:gd name="connsiteY0" fmla="*/ 0 h 1179213"/>
              <a:gd name="connsiteX1" fmla="*/ 1635417 w 1726857"/>
              <a:gd name="connsiteY1" fmla="*/ 1179213 h 1179213"/>
              <a:gd name="connsiteX2" fmla="*/ 0 w 1726857"/>
              <a:gd name="connsiteY2" fmla="*/ 1179213 h 1179213"/>
              <a:gd name="connsiteX3" fmla="*/ 0 w 1726857"/>
              <a:gd name="connsiteY3" fmla="*/ 0 h 1179213"/>
              <a:gd name="connsiteX4" fmla="*/ 1726857 w 1726857"/>
              <a:gd name="connsiteY4" fmla="*/ 91440 h 1179213"/>
              <a:gd name="connsiteX0" fmla="*/ 1635417 w 1635417"/>
              <a:gd name="connsiteY0" fmla="*/ 0 h 1179213"/>
              <a:gd name="connsiteX1" fmla="*/ 1635417 w 1635417"/>
              <a:gd name="connsiteY1" fmla="*/ 1179213 h 1179213"/>
              <a:gd name="connsiteX2" fmla="*/ 0 w 1635417"/>
              <a:gd name="connsiteY2" fmla="*/ 1179213 h 1179213"/>
              <a:gd name="connsiteX3" fmla="*/ 0 w 1635417"/>
              <a:gd name="connsiteY3" fmla="*/ 0 h 1179213"/>
              <a:gd name="connsiteX0" fmla="*/ 1635417 w 1635417"/>
              <a:gd name="connsiteY0" fmla="*/ 1179213 h 1179213"/>
              <a:gd name="connsiteX1" fmla="*/ 0 w 1635417"/>
              <a:gd name="connsiteY1" fmla="*/ 1179213 h 1179213"/>
              <a:gd name="connsiteX2" fmla="*/ 0 w 1635417"/>
              <a:gd name="connsiteY2" fmla="*/ 0 h 11792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635417" h="1179213">
                <a:moveTo>
                  <a:pt x="1635417" y="1179213"/>
                </a:moveTo>
                <a:lnTo>
                  <a:pt x="0" y="1179213"/>
                </a:lnTo>
                <a:lnTo>
                  <a:pt x="0" y="0"/>
                </a:lnTo>
              </a:path>
            </a:pathLst>
          </a:custGeom>
          <a:noFill/>
          <a:ln w="6350" cap="sq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  <p:sp>
        <p:nvSpPr>
          <p:cNvPr id="106" name="Retângulo 205">
            <a:extLst>
              <a:ext uri="{FF2B5EF4-FFF2-40B4-BE49-F238E27FC236}">
                <a16:creationId xmlns:a16="http://schemas.microsoft.com/office/drawing/2014/main" id="{4C3A7DFF-2AC7-4D5B-B488-F20C062555A7}"/>
              </a:ext>
            </a:extLst>
          </p:cNvPr>
          <p:cNvSpPr/>
          <p:nvPr/>
        </p:nvSpPr>
        <p:spPr>
          <a:xfrm>
            <a:off x="947406" y="2565403"/>
            <a:ext cx="4312077" cy="1404000"/>
          </a:xfrm>
          <a:custGeom>
            <a:avLst/>
            <a:gdLst>
              <a:gd name="connsiteX0" fmla="*/ 0 w 1635417"/>
              <a:gd name="connsiteY0" fmla="*/ 0 h 1179213"/>
              <a:gd name="connsiteX1" fmla="*/ 1635417 w 1635417"/>
              <a:gd name="connsiteY1" fmla="*/ 0 h 1179213"/>
              <a:gd name="connsiteX2" fmla="*/ 1635417 w 1635417"/>
              <a:gd name="connsiteY2" fmla="*/ 1179213 h 1179213"/>
              <a:gd name="connsiteX3" fmla="*/ 0 w 1635417"/>
              <a:gd name="connsiteY3" fmla="*/ 1179213 h 1179213"/>
              <a:gd name="connsiteX4" fmla="*/ 0 w 1635417"/>
              <a:gd name="connsiteY4" fmla="*/ 0 h 1179213"/>
              <a:gd name="connsiteX0" fmla="*/ 1635417 w 1726857"/>
              <a:gd name="connsiteY0" fmla="*/ 0 h 1179213"/>
              <a:gd name="connsiteX1" fmla="*/ 1635417 w 1726857"/>
              <a:gd name="connsiteY1" fmla="*/ 1179213 h 1179213"/>
              <a:gd name="connsiteX2" fmla="*/ 0 w 1726857"/>
              <a:gd name="connsiteY2" fmla="*/ 1179213 h 1179213"/>
              <a:gd name="connsiteX3" fmla="*/ 0 w 1726857"/>
              <a:gd name="connsiteY3" fmla="*/ 0 h 1179213"/>
              <a:gd name="connsiteX4" fmla="*/ 1726857 w 1726857"/>
              <a:gd name="connsiteY4" fmla="*/ 91440 h 1179213"/>
              <a:gd name="connsiteX0" fmla="*/ 1635417 w 1635417"/>
              <a:gd name="connsiteY0" fmla="*/ 0 h 1179213"/>
              <a:gd name="connsiteX1" fmla="*/ 1635417 w 1635417"/>
              <a:gd name="connsiteY1" fmla="*/ 1179213 h 1179213"/>
              <a:gd name="connsiteX2" fmla="*/ 0 w 1635417"/>
              <a:gd name="connsiteY2" fmla="*/ 1179213 h 1179213"/>
              <a:gd name="connsiteX3" fmla="*/ 0 w 1635417"/>
              <a:gd name="connsiteY3" fmla="*/ 0 h 1179213"/>
              <a:gd name="connsiteX0" fmla="*/ 1635417 w 1635417"/>
              <a:gd name="connsiteY0" fmla="*/ 1179213 h 1179213"/>
              <a:gd name="connsiteX1" fmla="*/ 0 w 1635417"/>
              <a:gd name="connsiteY1" fmla="*/ 1179213 h 1179213"/>
              <a:gd name="connsiteX2" fmla="*/ 0 w 1635417"/>
              <a:gd name="connsiteY2" fmla="*/ 0 h 11792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635417" h="1179213">
                <a:moveTo>
                  <a:pt x="1635417" y="1179213"/>
                </a:moveTo>
                <a:lnTo>
                  <a:pt x="0" y="1179213"/>
                </a:lnTo>
                <a:lnTo>
                  <a:pt x="0" y="0"/>
                </a:lnTo>
              </a:path>
            </a:pathLst>
          </a:custGeom>
          <a:noFill/>
          <a:ln w="6350" cap="sq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  <p:sp>
        <p:nvSpPr>
          <p:cNvPr id="107" name="Retângulo 205">
            <a:extLst>
              <a:ext uri="{FF2B5EF4-FFF2-40B4-BE49-F238E27FC236}">
                <a16:creationId xmlns:a16="http://schemas.microsoft.com/office/drawing/2014/main" id="{C976740C-CA47-4C8C-8267-7D5B375AB255}"/>
              </a:ext>
            </a:extLst>
          </p:cNvPr>
          <p:cNvSpPr/>
          <p:nvPr/>
        </p:nvSpPr>
        <p:spPr>
          <a:xfrm>
            <a:off x="947406" y="4841031"/>
            <a:ext cx="4312077" cy="1404000"/>
          </a:xfrm>
          <a:custGeom>
            <a:avLst/>
            <a:gdLst>
              <a:gd name="connsiteX0" fmla="*/ 0 w 1635417"/>
              <a:gd name="connsiteY0" fmla="*/ 0 h 1179213"/>
              <a:gd name="connsiteX1" fmla="*/ 1635417 w 1635417"/>
              <a:gd name="connsiteY1" fmla="*/ 0 h 1179213"/>
              <a:gd name="connsiteX2" fmla="*/ 1635417 w 1635417"/>
              <a:gd name="connsiteY2" fmla="*/ 1179213 h 1179213"/>
              <a:gd name="connsiteX3" fmla="*/ 0 w 1635417"/>
              <a:gd name="connsiteY3" fmla="*/ 1179213 h 1179213"/>
              <a:gd name="connsiteX4" fmla="*/ 0 w 1635417"/>
              <a:gd name="connsiteY4" fmla="*/ 0 h 1179213"/>
              <a:gd name="connsiteX0" fmla="*/ 1635417 w 1726857"/>
              <a:gd name="connsiteY0" fmla="*/ 0 h 1179213"/>
              <a:gd name="connsiteX1" fmla="*/ 1635417 w 1726857"/>
              <a:gd name="connsiteY1" fmla="*/ 1179213 h 1179213"/>
              <a:gd name="connsiteX2" fmla="*/ 0 w 1726857"/>
              <a:gd name="connsiteY2" fmla="*/ 1179213 h 1179213"/>
              <a:gd name="connsiteX3" fmla="*/ 0 w 1726857"/>
              <a:gd name="connsiteY3" fmla="*/ 0 h 1179213"/>
              <a:gd name="connsiteX4" fmla="*/ 1726857 w 1726857"/>
              <a:gd name="connsiteY4" fmla="*/ 91440 h 1179213"/>
              <a:gd name="connsiteX0" fmla="*/ 1635417 w 1635417"/>
              <a:gd name="connsiteY0" fmla="*/ 0 h 1179213"/>
              <a:gd name="connsiteX1" fmla="*/ 1635417 w 1635417"/>
              <a:gd name="connsiteY1" fmla="*/ 1179213 h 1179213"/>
              <a:gd name="connsiteX2" fmla="*/ 0 w 1635417"/>
              <a:gd name="connsiteY2" fmla="*/ 1179213 h 1179213"/>
              <a:gd name="connsiteX3" fmla="*/ 0 w 1635417"/>
              <a:gd name="connsiteY3" fmla="*/ 0 h 1179213"/>
              <a:gd name="connsiteX0" fmla="*/ 1635417 w 1635417"/>
              <a:gd name="connsiteY0" fmla="*/ 1179213 h 1179213"/>
              <a:gd name="connsiteX1" fmla="*/ 0 w 1635417"/>
              <a:gd name="connsiteY1" fmla="*/ 1179213 h 1179213"/>
              <a:gd name="connsiteX2" fmla="*/ 0 w 1635417"/>
              <a:gd name="connsiteY2" fmla="*/ 0 h 11792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635417" h="1179213">
                <a:moveTo>
                  <a:pt x="1635417" y="1179213"/>
                </a:moveTo>
                <a:lnTo>
                  <a:pt x="0" y="1179213"/>
                </a:lnTo>
                <a:lnTo>
                  <a:pt x="0" y="0"/>
                </a:lnTo>
              </a:path>
            </a:pathLst>
          </a:custGeom>
          <a:noFill/>
          <a:ln w="6350" cap="sq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5027933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8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10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0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10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10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4" grpId="0" animBg="1"/>
      <p:bldP spid="105" grpId="0" animBg="1"/>
      <p:bldP spid="106" grpId="0" animBg="1"/>
      <p:bldP spid="107" grpId="0" animBg="1"/>
    </p:bld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Marcador de Posição do Texto 15">
            <a:extLst>
              <a:ext uri="{FF2B5EF4-FFF2-40B4-BE49-F238E27FC236}">
                <a16:creationId xmlns:a16="http://schemas.microsoft.com/office/drawing/2014/main" id="{35B9EC74-AE8D-C8F6-4BC4-412AC84EE2B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pt-PT" dirty="0"/>
              <a:t>Texto destacado</a:t>
            </a:r>
          </a:p>
        </p:txBody>
      </p:sp>
      <p:sp>
        <p:nvSpPr>
          <p:cNvPr id="12" name="Título 11">
            <a:extLst>
              <a:ext uri="{FF2B5EF4-FFF2-40B4-BE49-F238E27FC236}">
                <a16:creationId xmlns:a16="http://schemas.microsoft.com/office/drawing/2014/main" id="{4DB40322-5C8E-DD8E-9963-C54F58A11D2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PT" dirty="0"/>
              <a:t>Ejemplo de título de slide</a:t>
            </a:r>
          </a:p>
        </p:txBody>
      </p:sp>
      <p:sp>
        <p:nvSpPr>
          <p:cNvPr id="13" name="Marcador de Posição do Texto 12">
            <a:extLst>
              <a:ext uri="{FF2B5EF4-FFF2-40B4-BE49-F238E27FC236}">
                <a16:creationId xmlns:a16="http://schemas.microsoft.com/office/drawing/2014/main" id="{7CFCCAAC-225D-B69F-5D09-F258D41E827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>
            <a:normAutofit lnSpcReduction="10000"/>
          </a:bodyPr>
          <a:lstStyle/>
          <a:p>
            <a:r>
              <a:rPr lang="pt-PT" dirty="0"/>
              <a:t>Ejemplo de subtítulo de slide</a:t>
            </a:r>
          </a:p>
        </p:txBody>
      </p:sp>
      <p:sp>
        <p:nvSpPr>
          <p:cNvPr id="14" name="Marcador de Posição do Texto 13">
            <a:extLst>
              <a:ext uri="{FF2B5EF4-FFF2-40B4-BE49-F238E27FC236}">
                <a16:creationId xmlns:a16="http://schemas.microsoft.com/office/drawing/2014/main" id="{5D255C79-2E4E-03F6-94A0-937C42F9EB9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Lorem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ipsum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dolor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sit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amet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,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consectetuer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adipiscing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elit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.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Maecenas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porttitor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congue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massa. </a:t>
            </a:r>
            <a:r>
              <a:rPr lang="pt-PT" dirty="0" err="1"/>
              <a:t>Fusce</a:t>
            </a:r>
            <a:r>
              <a:rPr lang="pt-PT" dirty="0"/>
              <a:t> </a:t>
            </a:r>
            <a:r>
              <a:rPr lang="pt-PT" dirty="0" err="1"/>
              <a:t>posuere</a:t>
            </a:r>
            <a:r>
              <a:rPr lang="pt-PT" dirty="0"/>
              <a:t>, magna </a:t>
            </a:r>
            <a:r>
              <a:rPr lang="pt-PT" dirty="0" err="1"/>
              <a:t>sed</a:t>
            </a:r>
            <a:r>
              <a:rPr lang="pt-PT" dirty="0"/>
              <a:t> pulvinar </a:t>
            </a:r>
            <a:r>
              <a:rPr lang="pt-PT" dirty="0" err="1"/>
              <a:t>ultricies</a:t>
            </a:r>
            <a:r>
              <a:rPr lang="pt-PT" dirty="0"/>
              <a:t>, purus </a:t>
            </a:r>
            <a:r>
              <a:rPr lang="pt-PT" dirty="0" err="1"/>
              <a:t>lectus</a:t>
            </a:r>
            <a:r>
              <a:rPr lang="pt-PT" dirty="0"/>
              <a:t> </a:t>
            </a:r>
            <a:r>
              <a:rPr lang="pt-PT" dirty="0" err="1"/>
              <a:t>malesuada</a:t>
            </a:r>
            <a:r>
              <a:rPr lang="pt-PT" dirty="0"/>
              <a:t> libero,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r>
              <a:rPr lang="pt-PT" dirty="0"/>
              <a:t> </a:t>
            </a:r>
            <a:r>
              <a:rPr lang="pt-PT" dirty="0" err="1"/>
              <a:t>commodo</a:t>
            </a:r>
            <a:r>
              <a:rPr lang="pt-PT" dirty="0"/>
              <a:t> magna eros quis urna.</a:t>
            </a:r>
          </a:p>
          <a:p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Lorem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ipsum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dolor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sit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amet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,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consectetuer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adipiscing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elit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.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Maecenas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porttitor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congue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massa. </a:t>
            </a:r>
            <a:r>
              <a:rPr lang="pt-PT" dirty="0" err="1"/>
              <a:t>Fusce</a:t>
            </a:r>
            <a:r>
              <a:rPr lang="pt-PT" dirty="0"/>
              <a:t> </a:t>
            </a:r>
            <a:r>
              <a:rPr lang="pt-PT" dirty="0" err="1"/>
              <a:t>posuere</a:t>
            </a:r>
            <a:r>
              <a:rPr lang="pt-PT" dirty="0"/>
              <a:t>, magna </a:t>
            </a:r>
            <a:r>
              <a:rPr lang="pt-PT" dirty="0" err="1"/>
              <a:t>sed</a:t>
            </a:r>
            <a:r>
              <a:rPr lang="pt-PT" dirty="0"/>
              <a:t> pulvinar </a:t>
            </a:r>
            <a:r>
              <a:rPr lang="pt-PT" dirty="0" err="1"/>
              <a:t>ultricies</a:t>
            </a:r>
            <a:r>
              <a:rPr lang="pt-PT" dirty="0"/>
              <a:t>, purus </a:t>
            </a:r>
            <a:r>
              <a:rPr lang="pt-PT" dirty="0" err="1"/>
              <a:t>lectus</a:t>
            </a:r>
            <a:r>
              <a:rPr lang="pt-PT" dirty="0"/>
              <a:t> </a:t>
            </a:r>
            <a:r>
              <a:rPr lang="pt-PT" dirty="0" err="1"/>
              <a:t>malesuada</a:t>
            </a:r>
            <a:r>
              <a:rPr lang="pt-PT" dirty="0"/>
              <a:t> libero,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r>
              <a:rPr lang="pt-PT" dirty="0"/>
              <a:t> </a:t>
            </a:r>
            <a:r>
              <a:rPr lang="pt-PT" dirty="0" err="1"/>
              <a:t>commodo</a:t>
            </a:r>
            <a:r>
              <a:rPr lang="pt-PT" dirty="0"/>
              <a:t> magna eros quis urna.</a:t>
            </a:r>
          </a:p>
        </p:txBody>
      </p:sp>
      <p:graphicFrame>
        <p:nvGraphicFramePr>
          <p:cNvPr id="17" name="Marcador de Posição da Tabela 15">
            <a:extLst>
              <a:ext uri="{FF2B5EF4-FFF2-40B4-BE49-F238E27FC236}">
                <a16:creationId xmlns:a16="http://schemas.microsoft.com/office/drawing/2014/main" id="{A772598F-61D9-68DA-AAE7-CD162D50332C}"/>
              </a:ext>
            </a:extLst>
          </p:cNvPr>
          <p:cNvGraphicFramePr>
            <a:graphicFrameLocks noGrp="1"/>
          </p:cNvGraphicFramePr>
          <p:nvPr>
            <p:ph type="tbl" sz="quarter" idx="12"/>
            <p:extLst>
              <p:ext uri="{D42A27DB-BD31-4B8C-83A1-F6EECF244321}">
                <p14:modId xmlns:p14="http://schemas.microsoft.com/office/powerpoint/2010/main" val="116553814"/>
              </p:ext>
            </p:extLst>
          </p:nvPr>
        </p:nvGraphicFramePr>
        <p:xfrm>
          <a:off x="512763" y="1800224"/>
          <a:ext cx="7602540" cy="4507270"/>
        </p:xfrm>
        <a:graphic>
          <a:graphicData uri="http://schemas.openxmlformats.org/drawingml/2006/table">
            <a:tbl>
              <a:tblPr firstRow="1" bandRow="1">
                <a:tableStyleId>{D27102A9-8310-4765-A935-A1911B00CA55}</a:tableStyleId>
              </a:tblPr>
              <a:tblGrid>
                <a:gridCol w="1267090">
                  <a:extLst>
                    <a:ext uri="{9D8B030D-6E8A-4147-A177-3AD203B41FA5}">
                      <a16:colId xmlns:a16="http://schemas.microsoft.com/office/drawing/2014/main" val="1284356485"/>
                    </a:ext>
                  </a:extLst>
                </a:gridCol>
                <a:gridCol w="1267090">
                  <a:extLst>
                    <a:ext uri="{9D8B030D-6E8A-4147-A177-3AD203B41FA5}">
                      <a16:colId xmlns:a16="http://schemas.microsoft.com/office/drawing/2014/main" val="233576607"/>
                    </a:ext>
                  </a:extLst>
                </a:gridCol>
                <a:gridCol w="1267090">
                  <a:extLst>
                    <a:ext uri="{9D8B030D-6E8A-4147-A177-3AD203B41FA5}">
                      <a16:colId xmlns:a16="http://schemas.microsoft.com/office/drawing/2014/main" val="2190844464"/>
                    </a:ext>
                  </a:extLst>
                </a:gridCol>
                <a:gridCol w="1267090">
                  <a:extLst>
                    <a:ext uri="{9D8B030D-6E8A-4147-A177-3AD203B41FA5}">
                      <a16:colId xmlns:a16="http://schemas.microsoft.com/office/drawing/2014/main" val="1665789671"/>
                    </a:ext>
                  </a:extLst>
                </a:gridCol>
                <a:gridCol w="1267090">
                  <a:extLst>
                    <a:ext uri="{9D8B030D-6E8A-4147-A177-3AD203B41FA5}">
                      <a16:colId xmlns:a16="http://schemas.microsoft.com/office/drawing/2014/main" val="2643899361"/>
                    </a:ext>
                  </a:extLst>
                </a:gridCol>
                <a:gridCol w="1267090">
                  <a:extLst>
                    <a:ext uri="{9D8B030D-6E8A-4147-A177-3AD203B41FA5}">
                      <a16:colId xmlns:a16="http://schemas.microsoft.com/office/drawing/2014/main" val="3946758124"/>
                    </a:ext>
                  </a:extLst>
                </a:gridCol>
              </a:tblGrid>
              <a:tr h="450727">
                <a:tc>
                  <a:txBody>
                    <a:bodyPr/>
                    <a:lstStyle/>
                    <a:p>
                      <a:pPr algn="ctr"/>
                      <a:r>
                        <a:rPr lang="pt-PT" sz="1100" b="1" dirty="0" err="1">
                          <a:solidFill>
                            <a:schemeClr val="tx2"/>
                          </a:solidFill>
                          <a:latin typeface="ALTIA Eddi" panose="020B0000000000020000" pitchFamily="34" charset="0"/>
                          <a:ea typeface="ALTIA Eddi" panose="020B0000000000020000" pitchFamily="34" charset="0"/>
                          <a:cs typeface="ALTIA Eddi" panose="020B0000000000020000" pitchFamily="34" charset="0"/>
                        </a:rPr>
                        <a:t>Lorem</a:t>
                      </a:r>
                      <a:r>
                        <a:rPr lang="pt-PT" sz="1100" b="1" dirty="0">
                          <a:solidFill>
                            <a:schemeClr val="tx2"/>
                          </a:solidFill>
                          <a:latin typeface="ALTIA Eddi" panose="020B0000000000020000" pitchFamily="34" charset="0"/>
                          <a:ea typeface="ALTIA Eddi" panose="020B0000000000020000" pitchFamily="34" charset="0"/>
                          <a:cs typeface="ALTIA Eddi" panose="020B0000000000020000" pitchFamily="34" charset="0"/>
                        </a:rPr>
                        <a:t> </a:t>
                      </a:r>
                      <a:r>
                        <a:rPr lang="pt-PT" sz="1100" b="1" dirty="0" err="1">
                          <a:solidFill>
                            <a:schemeClr val="tx2"/>
                          </a:solidFill>
                          <a:latin typeface="ALTIA Eddi" panose="020B0000000000020000" pitchFamily="34" charset="0"/>
                          <a:ea typeface="ALTIA Eddi" panose="020B0000000000020000" pitchFamily="34" charset="0"/>
                          <a:cs typeface="ALTIA Eddi" panose="020B0000000000020000" pitchFamily="34" charset="0"/>
                        </a:rPr>
                        <a:t>Ipsum</a:t>
                      </a:r>
                      <a:endParaRPr lang="pt-PT" sz="1100" b="1" dirty="0">
                        <a:solidFill>
                          <a:schemeClr val="tx2"/>
                        </a:solidFill>
                        <a:latin typeface="ALTIA Eddi" panose="020B0000000000020000" pitchFamily="34" charset="0"/>
                        <a:ea typeface="ALTIA Eddi" panose="020B0000000000020000" pitchFamily="34" charset="0"/>
                        <a:cs typeface="ALTIA Eddi" panose="020B0000000000020000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1100" b="1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" panose="020B0000000000020000" pitchFamily="34" charset="0"/>
                          <a:ea typeface="ALTIA Eddi" panose="020B0000000000020000" pitchFamily="34" charset="0"/>
                          <a:cs typeface="ALTIA Eddi" panose="020B0000000000020000" pitchFamily="34" charset="0"/>
                        </a:rPr>
                        <a:t>Lorem</a:t>
                      </a:r>
                      <a:r>
                        <a:rPr kumimoji="0" lang="pt-PT" sz="11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" panose="020B0000000000020000" pitchFamily="34" charset="0"/>
                          <a:ea typeface="ALTIA Eddi" panose="020B0000000000020000" pitchFamily="34" charset="0"/>
                          <a:cs typeface="ALTIA Eddi" panose="020B0000000000020000" pitchFamily="34" charset="0"/>
                        </a:rPr>
                        <a:t> </a:t>
                      </a:r>
                      <a:r>
                        <a:rPr kumimoji="0" lang="pt-PT" sz="1100" b="1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" panose="020B0000000000020000" pitchFamily="34" charset="0"/>
                          <a:ea typeface="ALTIA Eddi" panose="020B0000000000020000" pitchFamily="34" charset="0"/>
                          <a:cs typeface="ALTIA Eddi" panose="020B0000000000020000" pitchFamily="34" charset="0"/>
                        </a:rPr>
                        <a:t>Ipsum</a:t>
                      </a:r>
                      <a:endParaRPr kumimoji="0" lang="pt-PT" sz="11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ALTIA Eddi" panose="020B0000000000020000" pitchFamily="34" charset="0"/>
                        <a:ea typeface="ALTIA Eddi" panose="020B0000000000020000" pitchFamily="34" charset="0"/>
                        <a:cs typeface="ALTIA Eddi" panose="020B0000000000020000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1100" b="1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" panose="020B0000000000020000" pitchFamily="34" charset="0"/>
                          <a:ea typeface="ALTIA Eddi" panose="020B0000000000020000" pitchFamily="34" charset="0"/>
                          <a:cs typeface="ALTIA Eddi" panose="020B0000000000020000" pitchFamily="34" charset="0"/>
                        </a:rPr>
                        <a:t>Lorem</a:t>
                      </a:r>
                      <a:r>
                        <a:rPr kumimoji="0" lang="pt-PT" sz="11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" panose="020B0000000000020000" pitchFamily="34" charset="0"/>
                          <a:ea typeface="ALTIA Eddi" panose="020B0000000000020000" pitchFamily="34" charset="0"/>
                          <a:cs typeface="ALTIA Eddi" panose="020B0000000000020000" pitchFamily="34" charset="0"/>
                        </a:rPr>
                        <a:t> </a:t>
                      </a:r>
                      <a:r>
                        <a:rPr kumimoji="0" lang="pt-PT" sz="1100" b="1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" panose="020B0000000000020000" pitchFamily="34" charset="0"/>
                          <a:ea typeface="ALTIA Eddi" panose="020B0000000000020000" pitchFamily="34" charset="0"/>
                          <a:cs typeface="ALTIA Eddi" panose="020B0000000000020000" pitchFamily="34" charset="0"/>
                        </a:rPr>
                        <a:t>Ipsum</a:t>
                      </a:r>
                      <a:endParaRPr kumimoji="0" lang="pt-PT" sz="11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ALTIA Eddi" panose="020B0000000000020000" pitchFamily="34" charset="0"/>
                        <a:ea typeface="ALTIA Eddi" panose="020B0000000000020000" pitchFamily="34" charset="0"/>
                        <a:cs typeface="ALTIA Eddi" panose="020B0000000000020000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11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" panose="020B0000000000020000" pitchFamily="34" charset="0"/>
                          <a:ea typeface="ALTIA Eddi" panose="020B0000000000020000" pitchFamily="34" charset="0"/>
                          <a:cs typeface="ALTIA Eddi" panose="020B0000000000020000" pitchFamily="34" charset="0"/>
                        </a:rPr>
                        <a:t>Lorem Ipsum</a:t>
                      </a:r>
                      <a:endParaRPr kumimoji="0" lang="pt-PT" sz="11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ALTIA Eddi" panose="020B0000000000020000" pitchFamily="34" charset="0"/>
                        <a:ea typeface="ALTIA Eddi" panose="020B0000000000020000" pitchFamily="34" charset="0"/>
                        <a:cs typeface="ALTIA Eddi" panose="020B0000000000020000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1100" b="1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" panose="020B0000000000020000" pitchFamily="34" charset="0"/>
                          <a:ea typeface="ALTIA Eddi" panose="020B0000000000020000" pitchFamily="34" charset="0"/>
                          <a:cs typeface="ALTIA Eddi" panose="020B0000000000020000" pitchFamily="34" charset="0"/>
                        </a:rPr>
                        <a:t>Lorem</a:t>
                      </a:r>
                      <a:r>
                        <a:rPr kumimoji="0" lang="pt-PT" sz="11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" panose="020B0000000000020000" pitchFamily="34" charset="0"/>
                          <a:ea typeface="ALTIA Eddi" panose="020B0000000000020000" pitchFamily="34" charset="0"/>
                          <a:cs typeface="ALTIA Eddi" panose="020B0000000000020000" pitchFamily="34" charset="0"/>
                        </a:rPr>
                        <a:t> </a:t>
                      </a:r>
                      <a:r>
                        <a:rPr kumimoji="0" lang="pt-PT" sz="1100" b="1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" panose="020B0000000000020000" pitchFamily="34" charset="0"/>
                          <a:ea typeface="ALTIA Eddi" panose="020B0000000000020000" pitchFamily="34" charset="0"/>
                          <a:cs typeface="ALTIA Eddi" panose="020B0000000000020000" pitchFamily="34" charset="0"/>
                        </a:rPr>
                        <a:t>Ipsum</a:t>
                      </a:r>
                      <a:endParaRPr kumimoji="0" lang="pt-PT" sz="11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ALTIA Eddi" panose="020B0000000000020000" pitchFamily="34" charset="0"/>
                        <a:ea typeface="ALTIA Eddi" panose="020B0000000000020000" pitchFamily="34" charset="0"/>
                        <a:cs typeface="ALTIA Eddi" panose="020B0000000000020000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1100" b="1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" panose="020B0000000000020000" pitchFamily="34" charset="0"/>
                          <a:ea typeface="ALTIA Eddi" panose="020B0000000000020000" pitchFamily="34" charset="0"/>
                          <a:cs typeface="ALTIA Eddi" panose="020B0000000000020000" pitchFamily="34" charset="0"/>
                        </a:rPr>
                        <a:t>Lorem</a:t>
                      </a:r>
                      <a:r>
                        <a:rPr kumimoji="0" lang="pt-PT" sz="11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" panose="020B0000000000020000" pitchFamily="34" charset="0"/>
                          <a:ea typeface="ALTIA Eddi" panose="020B0000000000020000" pitchFamily="34" charset="0"/>
                          <a:cs typeface="ALTIA Eddi" panose="020B0000000000020000" pitchFamily="34" charset="0"/>
                        </a:rPr>
                        <a:t> </a:t>
                      </a:r>
                      <a:r>
                        <a:rPr kumimoji="0" lang="pt-PT" sz="1100" b="1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" panose="020B0000000000020000" pitchFamily="34" charset="0"/>
                          <a:ea typeface="ALTIA Eddi" panose="020B0000000000020000" pitchFamily="34" charset="0"/>
                          <a:cs typeface="ALTIA Eddi" panose="020B0000000000020000" pitchFamily="34" charset="0"/>
                        </a:rPr>
                        <a:t>Ipsum</a:t>
                      </a:r>
                      <a:endParaRPr kumimoji="0" lang="pt-PT" sz="11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ALTIA Eddi" panose="020B0000000000020000" pitchFamily="34" charset="0"/>
                        <a:ea typeface="ALTIA Eddi" panose="020B0000000000020000" pitchFamily="34" charset="0"/>
                        <a:cs typeface="ALTIA Eddi" panose="020B0000000000020000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209220420"/>
                  </a:ext>
                </a:extLst>
              </a:tr>
              <a:tr h="450727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1100" b="1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" panose="020B0000000000020000" pitchFamily="34" charset="0"/>
                          <a:ea typeface="ALTIA Eddi" panose="020B0000000000020000" pitchFamily="34" charset="0"/>
                          <a:cs typeface="ALTIA Eddi" panose="020B0000000000020000" pitchFamily="34" charset="0"/>
                        </a:rPr>
                        <a:t>Lorem</a:t>
                      </a:r>
                      <a:r>
                        <a:rPr kumimoji="0" lang="pt-PT" sz="11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" panose="020B0000000000020000" pitchFamily="34" charset="0"/>
                          <a:ea typeface="ALTIA Eddi" panose="020B0000000000020000" pitchFamily="34" charset="0"/>
                          <a:cs typeface="ALTIA Eddi" panose="020B0000000000020000" pitchFamily="34" charset="0"/>
                        </a:rPr>
                        <a:t> </a:t>
                      </a:r>
                      <a:r>
                        <a:rPr kumimoji="0" lang="pt-PT" sz="1100" b="1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" panose="020B0000000000020000" pitchFamily="34" charset="0"/>
                          <a:ea typeface="ALTIA Eddi" panose="020B0000000000020000" pitchFamily="34" charset="0"/>
                          <a:cs typeface="ALTIA Eddi" panose="020B0000000000020000" pitchFamily="34" charset="0"/>
                        </a:rPr>
                        <a:t>Ipsum</a:t>
                      </a:r>
                      <a:endParaRPr kumimoji="0" lang="pt-PT" sz="11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ALTIA Eddi" panose="020B0000000000020000" pitchFamily="34" charset="0"/>
                        <a:ea typeface="ALTIA Eddi" panose="020B0000000000020000" pitchFamily="34" charset="0"/>
                        <a:cs typeface="ALTIA Eddi" panose="020B0000000000020000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PT" sz="1100" dirty="0">
                          <a:solidFill>
                            <a:schemeClr val="tx2"/>
                          </a:solidFill>
                        </a:rPr>
                        <a:t>X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 Light"/>
                          <a:ea typeface="+mn-ea"/>
                          <a:cs typeface="+mn-cs"/>
                        </a:rPr>
                        <a:t>X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 Light"/>
                          <a:ea typeface="+mn-ea"/>
                          <a:cs typeface="+mn-cs"/>
                        </a:rPr>
                        <a:t>X</a:t>
                      </a:r>
                      <a:endParaRPr kumimoji="0" lang="pt-PT" sz="11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ALTIA Eddi Ligh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 Light"/>
                          <a:ea typeface="+mn-ea"/>
                          <a:cs typeface="+mn-cs"/>
                        </a:rPr>
                        <a:t>X</a:t>
                      </a:r>
                      <a:endParaRPr kumimoji="0" lang="pt-PT" sz="11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ALTIA Eddi Ligh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 Light"/>
                          <a:ea typeface="+mn-ea"/>
                          <a:cs typeface="+mn-cs"/>
                        </a:rPr>
                        <a:t>X</a:t>
                      </a:r>
                      <a:endParaRPr kumimoji="0" lang="pt-PT" sz="11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ALTIA Eddi Ligh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673586960"/>
                  </a:ext>
                </a:extLst>
              </a:tr>
              <a:tr h="450727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1100" b="1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" panose="020B0000000000020000" pitchFamily="34" charset="0"/>
                          <a:ea typeface="ALTIA Eddi" panose="020B0000000000020000" pitchFamily="34" charset="0"/>
                          <a:cs typeface="ALTIA Eddi" panose="020B0000000000020000" pitchFamily="34" charset="0"/>
                        </a:rPr>
                        <a:t>Lorem</a:t>
                      </a:r>
                      <a:r>
                        <a:rPr kumimoji="0" lang="pt-PT" sz="11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" panose="020B0000000000020000" pitchFamily="34" charset="0"/>
                          <a:ea typeface="ALTIA Eddi" panose="020B0000000000020000" pitchFamily="34" charset="0"/>
                          <a:cs typeface="ALTIA Eddi" panose="020B0000000000020000" pitchFamily="34" charset="0"/>
                        </a:rPr>
                        <a:t> </a:t>
                      </a:r>
                      <a:r>
                        <a:rPr kumimoji="0" lang="pt-PT" sz="1100" b="1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" panose="020B0000000000020000" pitchFamily="34" charset="0"/>
                          <a:ea typeface="ALTIA Eddi" panose="020B0000000000020000" pitchFamily="34" charset="0"/>
                          <a:cs typeface="ALTIA Eddi" panose="020B0000000000020000" pitchFamily="34" charset="0"/>
                        </a:rPr>
                        <a:t>Ipsum</a:t>
                      </a:r>
                      <a:endParaRPr kumimoji="0" lang="pt-PT" sz="11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ALTIA Eddi" panose="020B0000000000020000" pitchFamily="34" charset="0"/>
                        <a:ea typeface="ALTIA Eddi" panose="020B0000000000020000" pitchFamily="34" charset="0"/>
                        <a:cs typeface="ALTIA Eddi" panose="020B0000000000020000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 Light"/>
                          <a:ea typeface="+mn-ea"/>
                          <a:cs typeface="+mn-cs"/>
                        </a:rPr>
                        <a:t>X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 Light"/>
                          <a:ea typeface="+mn-ea"/>
                          <a:cs typeface="+mn-cs"/>
                        </a:rPr>
                        <a:t>X</a:t>
                      </a:r>
                      <a:endParaRPr kumimoji="0" lang="pt-PT" sz="11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ALTIA Eddi Ligh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 Light"/>
                          <a:ea typeface="+mn-ea"/>
                          <a:cs typeface="+mn-cs"/>
                        </a:rPr>
                        <a:t>X</a:t>
                      </a:r>
                      <a:endParaRPr kumimoji="0" lang="pt-PT" sz="11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ALTIA Eddi Ligh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 Light"/>
                          <a:ea typeface="+mn-ea"/>
                          <a:cs typeface="+mn-cs"/>
                        </a:rPr>
                        <a:t>X</a:t>
                      </a:r>
                      <a:endParaRPr kumimoji="0" lang="pt-PT" sz="11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ALTIA Eddi Ligh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 Light"/>
                          <a:ea typeface="+mn-ea"/>
                          <a:cs typeface="+mn-cs"/>
                        </a:rPr>
                        <a:t>X</a:t>
                      </a:r>
                      <a:endParaRPr kumimoji="0" lang="pt-PT" sz="11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ALTIA Eddi Ligh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668205385"/>
                  </a:ext>
                </a:extLst>
              </a:tr>
              <a:tr h="450727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11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" panose="020B0000000000020000" pitchFamily="34" charset="0"/>
                          <a:ea typeface="ALTIA Eddi" panose="020B0000000000020000" pitchFamily="34" charset="0"/>
                          <a:cs typeface="ALTIA Eddi" panose="020B0000000000020000" pitchFamily="34" charset="0"/>
                        </a:rPr>
                        <a:t>Lorem Ipsum</a:t>
                      </a:r>
                      <a:endParaRPr kumimoji="0" lang="pt-PT" sz="11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ALTIA Eddi" panose="020B0000000000020000" pitchFamily="34" charset="0"/>
                        <a:ea typeface="ALTIA Eddi" panose="020B0000000000020000" pitchFamily="34" charset="0"/>
                        <a:cs typeface="ALTIA Eddi" panose="020B0000000000020000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 Light"/>
                          <a:ea typeface="+mn-ea"/>
                          <a:cs typeface="+mn-cs"/>
                        </a:rPr>
                        <a:t>X</a:t>
                      </a:r>
                      <a:endParaRPr kumimoji="0" lang="pt-PT" sz="11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ALTIA Eddi Ligh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 Light"/>
                          <a:ea typeface="+mn-ea"/>
                          <a:cs typeface="+mn-cs"/>
                        </a:rPr>
                        <a:t>X</a:t>
                      </a:r>
                      <a:endParaRPr kumimoji="0" lang="pt-PT" sz="11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ALTIA Eddi Ligh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 Light"/>
                          <a:ea typeface="+mn-ea"/>
                          <a:cs typeface="+mn-cs"/>
                        </a:rPr>
                        <a:t>X</a:t>
                      </a:r>
                      <a:endParaRPr kumimoji="0" lang="pt-PT" sz="11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ALTIA Eddi Ligh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 Light"/>
                          <a:ea typeface="+mn-ea"/>
                          <a:cs typeface="+mn-cs"/>
                        </a:rPr>
                        <a:t>X</a:t>
                      </a:r>
                      <a:endParaRPr kumimoji="0" lang="pt-PT" sz="11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ALTIA Eddi Ligh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 Light"/>
                          <a:ea typeface="+mn-ea"/>
                          <a:cs typeface="+mn-cs"/>
                        </a:rPr>
                        <a:t>X</a:t>
                      </a:r>
                      <a:endParaRPr kumimoji="0" lang="pt-PT" sz="11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ALTIA Eddi Ligh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779804851"/>
                  </a:ext>
                </a:extLst>
              </a:tr>
              <a:tr h="450727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1100" b="1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" panose="020B0000000000020000" pitchFamily="34" charset="0"/>
                          <a:ea typeface="ALTIA Eddi" panose="020B0000000000020000" pitchFamily="34" charset="0"/>
                          <a:cs typeface="ALTIA Eddi" panose="020B0000000000020000" pitchFamily="34" charset="0"/>
                        </a:rPr>
                        <a:t>Lorem</a:t>
                      </a:r>
                      <a:r>
                        <a:rPr kumimoji="0" lang="pt-PT" sz="11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" panose="020B0000000000020000" pitchFamily="34" charset="0"/>
                          <a:ea typeface="ALTIA Eddi" panose="020B0000000000020000" pitchFamily="34" charset="0"/>
                          <a:cs typeface="ALTIA Eddi" panose="020B0000000000020000" pitchFamily="34" charset="0"/>
                        </a:rPr>
                        <a:t> </a:t>
                      </a:r>
                      <a:r>
                        <a:rPr kumimoji="0" lang="pt-PT" sz="1100" b="1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" panose="020B0000000000020000" pitchFamily="34" charset="0"/>
                          <a:ea typeface="ALTIA Eddi" panose="020B0000000000020000" pitchFamily="34" charset="0"/>
                          <a:cs typeface="ALTIA Eddi" panose="020B0000000000020000" pitchFamily="34" charset="0"/>
                        </a:rPr>
                        <a:t>Ipsum</a:t>
                      </a:r>
                      <a:endParaRPr kumimoji="0" lang="pt-PT" sz="11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ALTIA Eddi" panose="020B0000000000020000" pitchFamily="34" charset="0"/>
                        <a:ea typeface="ALTIA Eddi" panose="020B0000000000020000" pitchFamily="34" charset="0"/>
                        <a:cs typeface="ALTIA Eddi" panose="020B0000000000020000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 Light"/>
                          <a:ea typeface="+mn-ea"/>
                          <a:cs typeface="+mn-cs"/>
                        </a:rPr>
                        <a:t>X</a:t>
                      </a:r>
                      <a:endParaRPr kumimoji="0" lang="pt-PT" sz="11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ALTIA Eddi Ligh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 Light"/>
                          <a:ea typeface="+mn-ea"/>
                          <a:cs typeface="+mn-cs"/>
                        </a:rPr>
                        <a:t>X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 Light"/>
                          <a:ea typeface="+mn-ea"/>
                          <a:cs typeface="+mn-cs"/>
                        </a:rPr>
                        <a:t>X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 Light"/>
                          <a:ea typeface="+mn-ea"/>
                          <a:cs typeface="+mn-cs"/>
                        </a:rPr>
                        <a:t>X</a:t>
                      </a:r>
                      <a:endParaRPr kumimoji="0" lang="pt-PT" sz="11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ALTIA Eddi Ligh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 Light"/>
                          <a:ea typeface="+mn-ea"/>
                          <a:cs typeface="+mn-cs"/>
                        </a:rPr>
                        <a:t>X</a:t>
                      </a:r>
                      <a:endParaRPr kumimoji="0" lang="pt-PT" sz="11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ALTIA Eddi Ligh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569142246"/>
                  </a:ext>
                </a:extLst>
              </a:tr>
              <a:tr h="450727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1100" b="1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" panose="020B0000000000020000" pitchFamily="34" charset="0"/>
                          <a:ea typeface="ALTIA Eddi" panose="020B0000000000020000" pitchFamily="34" charset="0"/>
                          <a:cs typeface="ALTIA Eddi" panose="020B0000000000020000" pitchFamily="34" charset="0"/>
                        </a:rPr>
                        <a:t>Lorem</a:t>
                      </a:r>
                      <a:r>
                        <a:rPr kumimoji="0" lang="pt-PT" sz="11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" panose="020B0000000000020000" pitchFamily="34" charset="0"/>
                          <a:ea typeface="ALTIA Eddi" panose="020B0000000000020000" pitchFamily="34" charset="0"/>
                          <a:cs typeface="ALTIA Eddi" panose="020B0000000000020000" pitchFamily="34" charset="0"/>
                        </a:rPr>
                        <a:t> </a:t>
                      </a:r>
                      <a:r>
                        <a:rPr kumimoji="0" lang="pt-PT" sz="1100" b="1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" panose="020B0000000000020000" pitchFamily="34" charset="0"/>
                          <a:ea typeface="ALTIA Eddi" panose="020B0000000000020000" pitchFamily="34" charset="0"/>
                          <a:cs typeface="ALTIA Eddi" panose="020B0000000000020000" pitchFamily="34" charset="0"/>
                        </a:rPr>
                        <a:t>Ipsum</a:t>
                      </a:r>
                      <a:endParaRPr kumimoji="0" lang="pt-PT" sz="11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ALTIA Eddi" panose="020B0000000000020000" pitchFamily="34" charset="0"/>
                        <a:ea typeface="ALTIA Eddi" panose="020B0000000000020000" pitchFamily="34" charset="0"/>
                        <a:cs typeface="ALTIA Eddi" panose="020B0000000000020000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 Light"/>
                          <a:ea typeface="+mn-ea"/>
                          <a:cs typeface="+mn-cs"/>
                        </a:rPr>
                        <a:t>X</a:t>
                      </a:r>
                      <a:endParaRPr kumimoji="0" lang="pt-PT" sz="11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ALTIA Eddi Ligh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 Light"/>
                          <a:ea typeface="+mn-ea"/>
                          <a:cs typeface="+mn-cs"/>
                        </a:rPr>
                        <a:t>X</a:t>
                      </a:r>
                      <a:endParaRPr kumimoji="0" lang="pt-PT" sz="11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ALTIA Eddi Ligh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 Light"/>
                          <a:ea typeface="+mn-ea"/>
                          <a:cs typeface="+mn-cs"/>
                        </a:rPr>
                        <a:t>X</a:t>
                      </a:r>
                      <a:endParaRPr kumimoji="0" lang="pt-PT" sz="11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ALTIA Eddi Ligh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 Light"/>
                          <a:ea typeface="+mn-ea"/>
                          <a:cs typeface="+mn-cs"/>
                        </a:rPr>
                        <a:t>X</a:t>
                      </a:r>
                      <a:endParaRPr kumimoji="0" lang="pt-PT" sz="11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ALTIA Eddi Ligh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 Light"/>
                          <a:ea typeface="+mn-ea"/>
                          <a:cs typeface="+mn-cs"/>
                        </a:rPr>
                        <a:t>X</a:t>
                      </a:r>
                      <a:endParaRPr kumimoji="0" lang="pt-PT" sz="11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ALTIA Eddi Ligh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244508081"/>
                  </a:ext>
                </a:extLst>
              </a:tr>
              <a:tr h="450727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1100" b="1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" panose="020B0000000000020000" pitchFamily="34" charset="0"/>
                          <a:ea typeface="ALTIA Eddi" panose="020B0000000000020000" pitchFamily="34" charset="0"/>
                          <a:cs typeface="ALTIA Eddi" panose="020B0000000000020000" pitchFamily="34" charset="0"/>
                        </a:rPr>
                        <a:t>Lorem</a:t>
                      </a:r>
                      <a:r>
                        <a:rPr kumimoji="0" lang="pt-PT" sz="11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" panose="020B0000000000020000" pitchFamily="34" charset="0"/>
                          <a:ea typeface="ALTIA Eddi" panose="020B0000000000020000" pitchFamily="34" charset="0"/>
                          <a:cs typeface="ALTIA Eddi" panose="020B0000000000020000" pitchFamily="34" charset="0"/>
                        </a:rPr>
                        <a:t> </a:t>
                      </a:r>
                      <a:r>
                        <a:rPr kumimoji="0" lang="pt-PT" sz="1100" b="1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" panose="020B0000000000020000" pitchFamily="34" charset="0"/>
                          <a:ea typeface="ALTIA Eddi" panose="020B0000000000020000" pitchFamily="34" charset="0"/>
                          <a:cs typeface="ALTIA Eddi" panose="020B0000000000020000" pitchFamily="34" charset="0"/>
                        </a:rPr>
                        <a:t>Ipsum</a:t>
                      </a:r>
                      <a:endParaRPr kumimoji="0" lang="pt-PT" sz="11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ALTIA Eddi" panose="020B0000000000020000" pitchFamily="34" charset="0"/>
                        <a:ea typeface="ALTIA Eddi" panose="020B0000000000020000" pitchFamily="34" charset="0"/>
                        <a:cs typeface="ALTIA Eddi" panose="020B0000000000020000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 Light"/>
                          <a:ea typeface="+mn-ea"/>
                          <a:cs typeface="+mn-cs"/>
                        </a:rPr>
                        <a:t>X</a:t>
                      </a:r>
                      <a:endParaRPr kumimoji="0" lang="pt-PT" sz="11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ALTIA Eddi Ligh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 Light"/>
                          <a:ea typeface="+mn-ea"/>
                          <a:cs typeface="+mn-cs"/>
                        </a:rPr>
                        <a:t>X</a:t>
                      </a:r>
                      <a:endParaRPr kumimoji="0" lang="pt-PT" sz="11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ALTIA Eddi Ligh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 Light"/>
                          <a:ea typeface="+mn-ea"/>
                          <a:cs typeface="+mn-cs"/>
                        </a:rPr>
                        <a:t>X</a:t>
                      </a:r>
                      <a:endParaRPr kumimoji="0" lang="pt-PT" sz="11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ALTIA Eddi Ligh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 Light"/>
                          <a:ea typeface="+mn-ea"/>
                          <a:cs typeface="+mn-cs"/>
                        </a:rPr>
                        <a:t>X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 Light"/>
                          <a:ea typeface="+mn-ea"/>
                          <a:cs typeface="+mn-cs"/>
                        </a:rPr>
                        <a:t>X</a:t>
                      </a:r>
                      <a:endParaRPr kumimoji="0" lang="pt-PT" sz="11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ALTIA Eddi Ligh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18204668"/>
                  </a:ext>
                </a:extLst>
              </a:tr>
              <a:tr h="450727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11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" panose="020B0000000000020000" pitchFamily="34" charset="0"/>
                          <a:ea typeface="ALTIA Eddi" panose="020B0000000000020000" pitchFamily="34" charset="0"/>
                          <a:cs typeface="ALTIA Eddi" panose="020B0000000000020000" pitchFamily="34" charset="0"/>
                        </a:rPr>
                        <a:t>Lorem Ipsum</a:t>
                      </a:r>
                      <a:endParaRPr kumimoji="0" lang="pt-PT" sz="11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ALTIA Eddi" panose="020B0000000000020000" pitchFamily="34" charset="0"/>
                        <a:ea typeface="ALTIA Eddi" panose="020B0000000000020000" pitchFamily="34" charset="0"/>
                        <a:cs typeface="ALTIA Eddi" panose="020B0000000000020000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 Light"/>
                          <a:ea typeface="+mn-ea"/>
                          <a:cs typeface="+mn-cs"/>
                        </a:rPr>
                        <a:t>X</a:t>
                      </a:r>
                      <a:endParaRPr kumimoji="0" lang="pt-PT" sz="11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ALTIA Eddi Ligh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 Light"/>
                          <a:ea typeface="+mn-ea"/>
                          <a:cs typeface="+mn-cs"/>
                        </a:rPr>
                        <a:t>X</a:t>
                      </a:r>
                      <a:endParaRPr kumimoji="0" lang="pt-PT" sz="11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ALTIA Eddi Ligh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 Light"/>
                          <a:ea typeface="+mn-ea"/>
                          <a:cs typeface="+mn-cs"/>
                        </a:rPr>
                        <a:t>X</a:t>
                      </a:r>
                      <a:endParaRPr kumimoji="0" lang="pt-PT" sz="11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ALTIA Eddi Ligh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 Light"/>
                          <a:ea typeface="+mn-ea"/>
                          <a:cs typeface="+mn-cs"/>
                        </a:rPr>
                        <a:t>X</a:t>
                      </a:r>
                      <a:endParaRPr kumimoji="0" lang="pt-PT" sz="11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ALTIA Eddi Ligh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 Light"/>
                          <a:ea typeface="+mn-ea"/>
                          <a:cs typeface="+mn-cs"/>
                        </a:rPr>
                        <a:t>X</a:t>
                      </a:r>
                      <a:endParaRPr kumimoji="0" lang="pt-PT" sz="11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ALTIA Eddi Ligh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409814805"/>
                  </a:ext>
                </a:extLst>
              </a:tr>
              <a:tr h="450727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1100" b="1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" panose="020B0000000000020000" pitchFamily="34" charset="0"/>
                          <a:ea typeface="ALTIA Eddi" panose="020B0000000000020000" pitchFamily="34" charset="0"/>
                          <a:cs typeface="ALTIA Eddi" panose="020B0000000000020000" pitchFamily="34" charset="0"/>
                        </a:rPr>
                        <a:t>Lorem</a:t>
                      </a:r>
                      <a:r>
                        <a:rPr kumimoji="0" lang="pt-PT" sz="11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" panose="020B0000000000020000" pitchFamily="34" charset="0"/>
                          <a:ea typeface="ALTIA Eddi" panose="020B0000000000020000" pitchFamily="34" charset="0"/>
                          <a:cs typeface="ALTIA Eddi" panose="020B0000000000020000" pitchFamily="34" charset="0"/>
                        </a:rPr>
                        <a:t> </a:t>
                      </a:r>
                      <a:r>
                        <a:rPr kumimoji="0" lang="pt-PT" sz="1100" b="1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" panose="020B0000000000020000" pitchFamily="34" charset="0"/>
                          <a:ea typeface="ALTIA Eddi" panose="020B0000000000020000" pitchFamily="34" charset="0"/>
                          <a:cs typeface="ALTIA Eddi" panose="020B0000000000020000" pitchFamily="34" charset="0"/>
                        </a:rPr>
                        <a:t>Ipsum</a:t>
                      </a:r>
                      <a:endParaRPr kumimoji="0" lang="pt-PT" sz="11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ALTIA Eddi" panose="020B0000000000020000" pitchFamily="34" charset="0"/>
                        <a:ea typeface="ALTIA Eddi" panose="020B0000000000020000" pitchFamily="34" charset="0"/>
                        <a:cs typeface="ALTIA Eddi" panose="020B0000000000020000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 Light"/>
                          <a:ea typeface="+mn-ea"/>
                          <a:cs typeface="+mn-cs"/>
                        </a:rPr>
                        <a:t>X</a:t>
                      </a:r>
                      <a:endParaRPr kumimoji="0" lang="pt-PT" sz="11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ALTIA Eddi Ligh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 Light"/>
                          <a:ea typeface="+mn-ea"/>
                          <a:cs typeface="+mn-cs"/>
                        </a:rPr>
                        <a:t>X</a:t>
                      </a:r>
                      <a:endParaRPr kumimoji="0" lang="pt-PT" sz="11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ALTIA Eddi Ligh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 Light"/>
                          <a:ea typeface="+mn-ea"/>
                          <a:cs typeface="+mn-cs"/>
                        </a:rPr>
                        <a:t>X</a:t>
                      </a:r>
                      <a:endParaRPr kumimoji="0" lang="pt-PT" sz="11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ALTIA Eddi Ligh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 Light"/>
                          <a:ea typeface="+mn-ea"/>
                          <a:cs typeface="+mn-cs"/>
                        </a:rPr>
                        <a:t>X</a:t>
                      </a:r>
                      <a:endParaRPr kumimoji="0" lang="pt-PT" sz="11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ALTIA Eddi Ligh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 Light"/>
                          <a:ea typeface="+mn-ea"/>
                          <a:cs typeface="+mn-cs"/>
                        </a:rPr>
                        <a:t>X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853389946"/>
                  </a:ext>
                </a:extLst>
              </a:tr>
              <a:tr h="450727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1100" b="1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" panose="020B0000000000020000" pitchFamily="34" charset="0"/>
                          <a:ea typeface="ALTIA Eddi" panose="020B0000000000020000" pitchFamily="34" charset="0"/>
                          <a:cs typeface="ALTIA Eddi" panose="020B0000000000020000" pitchFamily="34" charset="0"/>
                        </a:rPr>
                        <a:t>Lorem</a:t>
                      </a:r>
                      <a:r>
                        <a:rPr kumimoji="0" lang="pt-PT" sz="11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" panose="020B0000000000020000" pitchFamily="34" charset="0"/>
                          <a:ea typeface="ALTIA Eddi" panose="020B0000000000020000" pitchFamily="34" charset="0"/>
                          <a:cs typeface="ALTIA Eddi" panose="020B0000000000020000" pitchFamily="34" charset="0"/>
                        </a:rPr>
                        <a:t> </a:t>
                      </a:r>
                      <a:r>
                        <a:rPr kumimoji="0" lang="pt-PT" sz="1100" b="1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" panose="020B0000000000020000" pitchFamily="34" charset="0"/>
                          <a:ea typeface="ALTIA Eddi" panose="020B0000000000020000" pitchFamily="34" charset="0"/>
                          <a:cs typeface="ALTIA Eddi" panose="020B0000000000020000" pitchFamily="34" charset="0"/>
                        </a:rPr>
                        <a:t>Ipsum</a:t>
                      </a:r>
                      <a:endParaRPr kumimoji="0" lang="pt-PT" sz="11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ALTIA Eddi" panose="020B0000000000020000" pitchFamily="34" charset="0"/>
                        <a:ea typeface="ALTIA Eddi" panose="020B0000000000020000" pitchFamily="34" charset="0"/>
                        <a:cs typeface="ALTIA Eddi" panose="020B0000000000020000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 Light"/>
                          <a:ea typeface="+mn-ea"/>
                          <a:cs typeface="+mn-cs"/>
                        </a:rPr>
                        <a:t>X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 Light"/>
                          <a:ea typeface="+mn-ea"/>
                          <a:cs typeface="+mn-cs"/>
                        </a:rPr>
                        <a:t>X</a:t>
                      </a:r>
                      <a:endParaRPr kumimoji="0" lang="pt-PT" sz="11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ALTIA Eddi Ligh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 Light"/>
                          <a:ea typeface="+mn-ea"/>
                          <a:cs typeface="+mn-cs"/>
                        </a:rPr>
                        <a:t>X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 Light"/>
                          <a:ea typeface="+mn-ea"/>
                          <a:cs typeface="+mn-cs"/>
                        </a:rPr>
                        <a:t>X</a:t>
                      </a:r>
                      <a:endParaRPr kumimoji="0" lang="pt-PT" sz="11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ALTIA Eddi Ligh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LTIA Eddi Light"/>
                          <a:ea typeface="+mn-ea"/>
                          <a:cs typeface="+mn-cs"/>
                        </a:rPr>
                        <a:t>X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110646492"/>
                  </a:ext>
                </a:extLst>
              </a:tr>
            </a:tbl>
          </a:graphicData>
        </a:graphic>
      </p:graphicFrame>
      <p:sp>
        <p:nvSpPr>
          <p:cNvPr id="2" name="Marcador de pie de página 1">
            <a:extLst>
              <a:ext uri="{FF2B5EF4-FFF2-40B4-BE49-F238E27FC236}">
                <a16:creationId xmlns:a16="http://schemas.microsoft.com/office/drawing/2014/main" id="{D6C08E40-C810-4AC8-8D9D-483C4FA6AA1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pt-PT"/>
              <a:t>Título de la presentación</a:t>
            </a:r>
            <a:endParaRPr lang="pt-PT" dirty="0"/>
          </a:p>
        </p:txBody>
      </p:sp>
      <p:sp>
        <p:nvSpPr>
          <p:cNvPr id="3" name="Marcador de número de diapositiva 2">
            <a:extLst>
              <a:ext uri="{FF2B5EF4-FFF2-40B4-BE49-F238E27FC236}">
                <a16:creationId xmlns:a16="http://schemas.microsoft.com/office/drawing/2014/main" id="{EA670F1F-BC5B-43CD-8E43-C2FB137D072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4A347C2-D68E-473A-8C76-1D063E4EB6E0}" type="slidenum">
              <a:rPr lang="es-ES" smtClean="0"/>
              <a:pPr/>
              <a:t>27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5487866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ítulo 6">
            <a:extLst>
              <a:ext uri="{FF2B5EF4-FFF2-40B4-BE49-F238E27FC236}">
                <a16:creationId xmlns:a16="http://schemas.microsoft.com/office/drawing/2014/main" id="{E086AE61-2D29-159C-3B18-CAA1656D838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PT" dirty="0"/>
              <a:t>Ejemplo de título de slide</a:t>
            </a:r>
          </a:p>
        </p:txBody>
      </p:sp>
      <p:sp>
        <p:nvSpPr>
          <p:cNvPr id="19" name="Marcador de Posição do Texto 18">
            <a:extLst>
              <a:ext uri="{FF2B5EF4-FFF2-40B4-BE49-F238E27FC236}">
                <a16:creationId xmlns:a16="http://schemas.microsoft.com/office/drawing/2014/main" id="{A79FAC33-C565-0976-C96B-1A9E488239A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>
            <a:normAutofit lnSpcReduction="10000"/>
          </a:bodyPr>
          <a:lstStyle/>
          <a:p>
            <a:r>
              <a:rPr lang="pt-PT" dirty="0"/>
              <a:t>Ejemplo de subtítulo de slide</a:t>
            </a:r>
          </a:p>
        </p:txBody>
      </p:sp>
      <p:graphicFrame>
        <p:nvGraphicFramePr>
          <p:cNvPr id="26" name="Marcador de Posição do Gráfico 25">
            <a:extLst>
              <a:ext uri="{FF2B5EF4-FFF2-40B4-BE49-F238E27FC236}">
                <a16:creationId xmlns:a16="http://schemas.microsoft.com/office/drawing/2014/main" id="{D0009FAF-CD05-84F5-2408-1FB4027F91BA}"/>
              </a:ext>
            </a:extLst>
          </p:cNvPr>
          <p:cNvGraphicFramePr>
            <a:graphicFrameLocks noGrp="1"/>
          </p:cNvGraphicFramePr>
          <p:nvPr>
            <p:ph type="chart" sz="quarter" idx="17"/>
            <p:extLst>
              <p:ext uri="{D42A27DB-BD31-4B8C-83A1-F6EECF244321}">
                <p14:modId xmlns:p14="http://schemas.microsoft.com/office/powerpoint/2010/main" val="206683300"/>
              </p:ext>
            </p:extLst>
          </p:nvPr>
        </p:nvGraphicFramePr>
        <p:xfrm>
          <a:off x="512763" y="1868488"/>
          <a:ext cx="6224587" cy="41671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pic>
        <p:nvPicPr>
          <p:cNvPr id="16" name="Marcador de Posição da Imagem 15" descr="Uma imagem com vestuário, computador, pessoa, interior&#10;&#10;Os conteúdos gerados por IA podem estar incorretos.">
            <a:extLst>
              <a:ext uri="{FF2B5EF4-FFF2-40B4-BE49-F238E27FC236}">
                <a16:creationId xmlns:a16="http://schemas.microsoft.com/office/drawing/2014/main" id="{F5D8C905-399F-78E2-5DC1-E632BF664339}"/>
              </a:ext>
            </a:extLst>
          </p:cNvPr>
          <p:cNvPicPr>
            <a:picLocks noGrp="1" noChangeAspect="1"/>
          </p:cNvPicPr>
          <p:nvPr>
            <p:ph type="pic" sz="quarter" idx="18"/>
          </p:nvPr>
        </p:nvPicPr>
        <p:blipFill>
          <a:blip r:embed="rId3"/>
          <a:srcRect l="30905" r="30905"/>
          <a:stretch/>
        </p:blipFill>
        <p:spPr/>
      </p:pic>
      <p:sp>
        <p:nvSpPr>
          <p:cNvPr id="20" name="Marcador de Posição do Texto 19">
            <a:extLst>
              <a:ext uri="{FF2B5EF4-FFF2-40B4-BE49-F238E27FC236}">
                <a16:creationId xmlns:a16="http://schemas.microsoft.com/office/drawing/2014/main" id="{47BBDAA8-07BB-A9FC-4E30-E83518C2278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Lorem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ipsum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dolor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sit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amet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,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consectetuer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adipiscing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elit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.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Maecenas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porttitor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congue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massa. </a:t>
            </a:r>
            <a:r>
              <a:rPr lang="pt-PT" dirty="0" err="1"/>
              <a:t>Fusce</a:t>
            </a:r>
            <a:r>
              <a:rPr lang="pt-PT" dirty="0"/>
              <a:t> </a:t>
            </a:r>
            <a:r>
              <a:rPr lang="pt-PT" dirty="0" err="1"/>
              <a:t>posuere</a:t>
            </a:r>
            <a:r>
              <a:rPr lang="pt-PT" dirty="0"/>
              <a:t>, magna </a:t>
            </a:r>
            <a:r>
              <a:rPr lang="pt-PT" dirty="0" err="1"/>
              <a:t>sed</a:t>
            </a:r>
            <a:r>
              <a:rPr lang="pt-PT" dirty="0"/>
              <a:t> pulvinar </a:t>
            </a:r>
            <a:r>
              <a:rPr lang="pt-PT" dirty="0" err="1"/>
              <a:t>ultricies</a:t>
            </a:r>
            <a:r>
              <a:rPr lang="pt-PT" dirty="0"/>
              <a:t>, purus </a:t>
            </a:r>
            <a:r>
              <a:rPr lang="pt-PT" dirty="0" err="1"/>
              <a:t>lectus</a:t>
            </a:r>
            <a:r>
              <a:rPr lang="pt-PT" dirty="0"/>
              <a:t> </a:t>
            </a:r>
            <a:r>
              <a:rPr lang="pt-PT" dirty="0" err="1"/>
              <a:t>malesuada</a:t>
            </a:r>
            <a:r>
              <a:rPr lang="pt-PT" dirty="0"/>
              <a:t> libero,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r>
              <a:rPr lang="pt-PT" dirty="0"/>
              <a:t> </a:t>
            </a:r>
            <a:r>
              <a:rPr lang="pt-PT" dirty="0" err="1"/>
              <a:t>commodo</a:t>
            </a:r>
            <a:r>
              <a:rPr lang="pt-PT" dirty="0"/>
              <a:t> magna eros quis urna.</a:t>
            </a:r>
          </a:p>
          <a:p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Lorem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ipsum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dolor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sit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amet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,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consectetuer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adipiscing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elit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.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Maecenas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porttitor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congue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massa. </a:t>
            </a:r>
            <a:r>
              <a:rPr lang="pt-PT" dirty="0" err="1"/>
              <a:t>Fusce</a:t>
            </a:r>
            <a:r>
              <a:rPr lang="pt-PT" dirty="0"/>
              <a:t> </a:t>
            </a:r>
            <a:r>
              <a:rPr lang="pt-PT" dirty="0" err="1"/>
              <a:t>posuere</a:t>
            </a:r>
            <a:r>
              <a:rPr lang="pt-PT" dirty="0"/>
              <a:t>, magna </a:t>
            </a:r>
            <a:r>
              <a:rPr lang="pt-PT" dirty="0" err="1"/>
              <a:t>sed</a:t>
            </a:r>
            <a:r>
              <a:rPr lang="pt-PT" dirty="0"/>
              <a:t> pulvinar </a:t>
            </a:r>
            <a:r>
              <a:rPr lang="pt-PT" dirty="0" err="1"/>
              <a:t>ultricies</a:t>
            </a:r>
            <a:r>
              <a:rPr lang="pt-PT" dirty="0"/>
              <a:t>, purus </a:t>
            </a:r>
            <a:r>
              <a:rPr lang="pt-PT" dirty="0" err="1"/>
              <a:t>lectus</a:t>
            </a:r>
            <a:r>
              <a:rPr lang="pt-PT" dirty="0"/>
              <a:t> </a:t>
            </a:r>
            <a:r>
              <a:rPr lang="pt-PT" dirty="0" err="1"/>
              <a:t>malesuada</a:t>
            </a:r>
            <a:r>
              <a:rPr lang="pt-PT" dirty="0"/>
              <a:t> libero,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r>
              <a:rPr lang="pt-PT" dirty="0"/>
              <a:t> </a:t>
            </a:r>
            <a:r>
              <a:rPr lang="pt-PT" dirty="0" err="1"/>
              <a:t>commodo</a:t>
            </a:r>
            <a:r>
              <a:rPr lang="pt-PT" dirty="0"/>
              <a:t> magna eros quis urna.</a:t>
            </a:r>
          </a:p>
        </p:txBody>
      </p:sp>
      <p:sp>
        <p:nvSpPr>
          <p:cNvPr id="21" name="Marcador de Posição do Texto 20">
            <a:extLst>
              <a:ext uri="{FF2B5EF4-FFF2-40B4-BE49-F238E27FC236}">
                <a16:creationId xmlns:a16="http://schemas.microsoft.com/office/drawing/2014/main" id="{F8C9650A-CEDD-27C2-5694-31A14AE7679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pt-PT" dirty="0"/>
              <a:t>EJemplo de texto destacado</a:t>
            </a:r>
          </a:p>
        </p:txBody>
      </p:sp>
      <p:sp>
        <p:nvSpPr>
          <p:cNvPr id="2" name="Marcador de pie de página 1">
            <a:extLst>
              <a:ext uri="{FF2B5EF4-FFF2-40B4-BE49-F238E27FC236}">
                <a16:creationId xmlns:a16="http://schemas.microsoft.com/office/drawing/2014/main" id="{CD0CDF85-AF0F-40CA-B09F-2941822A5B7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pt-PT"/>
              <a:t>Título de la presentación</a:t>
            </a:r>
            <a:endParaRPr lang="pt-PT" dirty="0"/>
          </a:p>
        </p:txBody>
      </p:sp>
      <p:sp>
        <p:nvSpPr>
          <p:cNvPr id="3" name="Marcador de número de diapositiva 2">
            <a:extLst>
              <a:ext uri="{FF2B5EF4-FFF2-40B4-BE49-F238E27FC236}">
                <a16:creationId xmlns:a16="http://schemas.microsoft.com/office/drawing/2014/main" id="{C8FA9E28-0080-4FEE-A98E-31CB71A5C2D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4A347C2-D68E-473A-8C76-1D063E4EB6E0}" type="slidenum">
              <a:rPr lang="es-ES" smtClean="0"/>
              <a:pPr/>
              <a:t>28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6895439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ítulo 7">
            <a:extLst>
              <a:ext uri="{FF2B5EF4-FFF2-40B4-BE49-F238E27FC236}">
                <a16:creationId xmlns:a16="http://schemas.microsoft.com/office/drawing/2014/main" id="{89FB2DBF-2C7A-B05B-47ED-6190E9F889B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PT" dirty="0"/>
              <a:t>Ejemplo de título de slide</a:t>
            </a:r>
          </a:p>
        </p:txBody>
      </p:sp>
      <p:sp>
        <p:nvSpPr>
          <p:cNvPr id="9" name="Marcador de Posição do Texto 8">
            <a:extLst>
              <a:ext uri="{FF2B5EF4-FFF2-40B4-BE49-F238E27FC236}">
                <a16:creationId xmlns:a16="http://schemas.microsoft.com/office/drawing/2014/main" id="{9449092B-998B-2635-EFB0-4A8400833A4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>
            <a:normAutofit lnSpcReduction="10000"/>
          </a:bodyPr>
          <a:lstStyle/>
          <a:p>
            <a:r>
              <a:rPr lang="pt-PT" dirty="0"/>
              <a:t>Ejemplo de subtítulo de slide</a:t>
            </a:r>
          </a:p>
        </p:txBody>
      </p:sp>
      <p:sp>
        <p:nvSpPr>
          <p:cNvPr id="11" name="Marcador de Posição do Texto 10">
            <a:extLst>
              <a:ext uri="{FF2B5EF4-FFF2-40B4-BE49-F238E27FC236}">
                <a16:creationId xmlns:a16="http://schemas.microsoft.com/office/drawing/2014/main" id="{01FE436D-052E-6B1C-8201-C11A629834E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pt-PT" dirty="0"/>
              <a:t>Título de gráfico circular</a:t>
            </a:r>
          </a:p>
        </p:txBody>
      </p:sp>
      <p:graphicFrame>
        <p:nvGraphicFramePr>
          <p:cNvPr id="17" name="Marcador de Posição do Gráfico 16">
            <a:extLst>
              <a:ext uri="{FF2B5EF4-FFF2-40B4-BE49-F238E27FC236}">
                <a16:creationId xmlns:a16="http://schemas.microsoft.com/office/drawing/2014/main" id="{69D0F5D2-D973-3845-6C9D-7DAA6EB810F3}"/>
              </a:ext>
            </a:extLst>
          </p:cNvPr>
          <p:cNvGraphicFramePr>
            <a:graphicFrameLocks noGrp="1"/>
          </p:cNvGraphicFramePr>
          <p:nvPr>
            <p:ph type="chart" sz="quarter" idx="16"/>
            <p:extLst>
              <p:ext uri="{D42A27DB-BD31-4B8C-83A1-F6EECF244321}">
                <p14:modId xmlns:p14="http://schemas.microsoft.com/office/powerpoint/2010/main" val="3175076150"/>
              </p:ext>
            </p:extLst>
          </p:nvPr>
        </p:nvGraphicFramePr>
        <p:xfrm>
          <a:off x="404813" y="2935288"/>
          <a:ext cx="4186237" cy="319563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3" name="Marcador de Posição do Texto 12">
            <a:extLst>
              <a:ext uri="{FF2B5EF4-FFF2-40B4-BE49-F238E27FC236}">
                <a16:creationId xmlns:a16="http://schemas.microsoft.com/office/drawing/2014/main" id="{15C64FE8-EC81-4C3C-3AC8-03A466B76F4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pt-PT" dirty="0"/>
              <a:t>Título de gráfico de barras</a:t>
            </a:r>
          </a:p>
        </p:txBody>
      </p:sp>
      <p:graphicFrame>
        <p:nvGraphicFramePr>
          <p:cNvPr id="20" name="Marcador de Posição do Gráfico 19">
            <a:extLst>
              <a:ext uri="{FF2B5EF4-FFF2-40B4-BE49-F238E27FC236}">
                <a16:creationId xmlns:a16="http://schemas.microsoft.com/office/drawing/2014/main" id="{39E095F7-A5C6-9405-1BB8-F4860F0CC439}"/>
              </a:ext>
            </a:extLst>
          </p:cNvPr>
          <p:cNvGraphicFramePr>
            <a:graphicFrameLocks noGrp="1"/>
          </p:cNvGraphicFramePr>
          <p:nvPr>
            <p:ph type="chart" sz="quarter" idx="18"/>
            <p:extLst>
              <p:ext uri="{D42A27DB-BD31-4B8C-83A1-F6EECF244321}">
                <p14:modId xmlns:p14="http://schemas.microsoft.com/office/powerpoint/2010/main" val="935741410"/>
              </p:ext>
            </p:extLst>
          </p:nvPr>
        </p:nvGraphicFramePr>
        <p:xfrm>
          <a:off x="5157788" y="2935288"/>
          <a:ext cx="4186237" cy="319563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0" name="Marcador de Posição do Texto 9">
            <a:extLst>
              <a:ext uri="{FF2B5EF4-FFF2-40B4-BE49-F238E27FC236}">
                <a16:creationId xmlns:a16="http://schemas.microsoft.com/office/drawing/2014/main" id="{21AD45B4-F7FF-6B8C-4CDF-CA8FD2A7D45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Lorem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ipsum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dolor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sit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amet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,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consectetuer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adipiscing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elit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.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Maecenas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porttitor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congue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massa. </a:t>
            </a:r>
            <a:r>
              <a:rPr lang="pt-PT" dirty="0" err="1"/>
              <a:t>Fusce</a:t>
            </a:r>
            <a:r>
              <a:rPr lang="pt-PT" dirty="0"/>
              <a:t> </a:t>
            </a:r>
            <a:r>
              <a:rPr lang="pt-PT" dirty="0" err="1"/>
              <a:t>posuere</a:t>
            </a:r>
            <a:r>
              <a:rPr lang="pt-PT" dirty="0"/>
              <a:t>, magna </a:t>
            </a:r>
            <a:r>
              <a:rPr lang="pt-PT" dirty="0" err="1"/>
              <a:t>sed</a:t>
            </a:r>
            <a:r>
              <a:rPr lang="pt-PT" dirty="0"/>
              <a:t> pulvinar </a:t>
            </a:r>
            <a:r>
              <a:rPr lang="pt-PT" dirty="0" err="1"/>
              <a:t>ultricies</a:t>
            </a:r>
            <a:r>
              <a:rPr lang="pt-PT" dirty="0"/>
              <a:t>, purus </a:t>
            </a:r>
            <a:r>
              <a:rPr lang="pt-PT" dirty="0" err="1"/>
              <a:t>lectus</a:t>
            </a:r>
            <a:r>
              <a:rPr lang="pt-PT" dirty="0"/>
              <a:t> </a:t>
            </a:r>
            <a:r>
              <a:rPr lang="pt-PT" dirty="0" err="1"/>
              <a:t>malesuada</a:t>
            </a:r>
            <a:r>
              <a:rPr lang="pt-PT" dirty="0"/>
              <a:t> libero,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r>
              <a:rPr lang="pt-PT" dirty="0"/>
              <a:t> </a:t>
            </a:r>
            <a:r>
              <a:rPr lang="pt-PT" dirty="0" err="1"/>
              <a:t>commodo</a:t>
            </a:r>
            <a:r>
              <a:rPr lang="pt-PT" dirty="0"/>
              <a:t> magna eros quis urna.</a:t>
            </a:r>
          </a:p>
        </p:txBody>
      </p:sp>
      <p:grpSp>
        <p:nvGrpSpPr>
          <p:cNvPr id="21" name="Agrupar 20">
            <a:extLst>
              <a:ext uri="{FF2B5EF4-FFF2-40B4-BE49-F238E27FC236}">
                <a16:creationId xmlns:a16="http://schemas.microsoft.com/office/drawing/2014/main" id="{A13429B9-5983-D056-23D5-CBFB40CB7AC0}"/>
              </a:ext>
            </a:extLst>
          </p:cNvPr>
          <p:cNvGrpSpPr/>
          <p:nvPr/>
        </p:nvGrpSpPr>
        <p:grpSpPr>
          <a:xfrm>
            <a:off x="9775661" y="3740365"/>
            <a:ext cx="589528" cy="494751"/>
            <a:chOff x="7527643" y="2537276"/>
            <a:chExt cx="474083" cy="397866"/>
          </a:xfrm>
        </p:grpSpPr>
        <p:grpSp>
          <p:nvGrpSpPr>
            <p:cNvPr id="22" name="Gráfico 215">
              <a:extLst>
                <a:ext uri="{FF2B5EF4-FFF2-40B4-BE49-F238E27FC236}">
                  <a16:creationId xmlns:a16="http://schemas.microsoft.com/office/drawing/2014/main" id="{8321370D-1DDE-BDEF-C0BA-98D00A578E77}"/>
                </a:ext>
              </a:extLst>
            </p:cNvPr>
            <p:cNvGrpSpPr/>
            <p:nvPr/>
          </p:nvGrpSpPr>
          <p:grpSpPr>
            <a:xfrm>
              <a:off x="7572418" y="2635250"/>
              <a:ext cx="384534" cy="261020"/>
              <a:chOff x="3947140" y="1487919"/>
              <a:chExt cx="552164" cy="374808"/>
            </a:xfrm>
            <a:noFill/>
          </p:grpSpPr>
          <p:sp>
            <p:nvSpPr>
              <p:cNvPr id="39" name="Forma livre: Forma 38">
                <a:extLst>
                  <a:ext uri="{FF2B5EF4-FFF2-40B4-BE49-F238E27FC236}">
                    <a16:creationId xmlns:a16="http://schemas.microsoft.com/office/drawing/2014/main" id="{A4838DAB-4B3D-8375-5B50-1FCECE68B7D0}"/>
                  </a:ext>
                </a:extLst>
              </p:cNvPr>
              <p:cNvSpPr/>
              <p:nvPr/>
            </p:nvSpPr>
            <p:spPr>
              <a:xfrm>
                <a:off x="4333093" y="1487919"/>
                <a:ext cx="166211" cy="374808"/>
              </a:xfrm>
              <a:custGeom>
                <a:avLst/>
                <a:gdLst>
                  <a:gd name="connsiteX0" fmla="*/ 0 w 166211"/>
                  <a:gd name="connsiteY0" fmla="*/ 0 h 374808"/>
                  <a:gd name="connsiteX1" fmla="*/ 125921 w 166211"/>
                  <a:gd name="connsiteY1" fmla="*/ 0 h 374808"/>
                  <a:gd name="connsiteX2" fmla="*/ 166211 w 166211"/>
                  <a:gd name="connsiteY2" fmla="*/ 40291 h 374808"/>
                  <a:gd name="connsiteX3" fmla="*/ 166211 w 166211"/>
                  <a:gd name="connsiteY3" fmla="*/ 374809 h 3748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66211" h="374808">
                    <a:moveTo>
                      <a:pt x="0" y="0"/>
                    </a:moveTo>
                    <a:lnTo>
                      <a:pt x="125921" y="0"/>
                    </a:lnTo>
                    <a:cubicBezTo>
                      <a:pt x="148114" y="0"/>
                      <a:pt x="166211" y="18097"/>
                      <a:pt x="166211" y="40291"/>
                    </a:cubicBezTo>
                    <a:lnTo>
                      <a:pt x="166211" y="374809"/>
                    </a:lnTo>
                  </a:path>
                </a:pathLst>
              </a:custGeom>
              <a:noFill/>
              <a:ln w="19050" cap="sq">
                <a:solidFill>
                  <a:schemeClr val="accent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0" name="Forma livre: Forma 39">
                <a:extLst>
                  <a:ext uri="{FF2B5EF4-FFF2-40B4-BE49-F238E27FC236}">
                    <a16:creationId xmlns:a16="http://schemas.microsoft.com/office/drawing/2014/main" id="{1CD2689A-6C2D-B13A-79DC-BF4C48584F04}"/>
                  </a:ext>
                </a:extLst>
              </p:cNvPr>
              <p:cNvSpPr/>
              <p:nvPr/>
            </p:nvSpPr>
            <p:spPr>
              <a:xfrm>
                <a:off x="3947140" y="1487919"/>
                <a:ext cx="166020" cy="331851"/>
              </a:xfrm>
              <a:custGeom>
                <a:avLst/>
                <a:gdLst>
                  <a:gd name="connsiteX0" fmla="*/ 0 w 166020"/>
                  <a:gd name="connsiteY0" fmla="*/ 331851 h 331851"/>
                  <a:gd name="connsiteX1" fmla="*/ 0 w 166020"/>
                  <a:gd name="connsiteY1" fmla="*/ 40291 h 331851"/>
                  <a:gd name="connsiteX2" fmla="*/ 40291 w 166020"/>
                  <a:gd name="connsiteY2" fmla="*/ 0 h 331851"/>
                  <a:gd name="connsiteX3" fmla="*/ 166021 w 166020"/>
                  <a:gd name="connsiteY3" fmla="*/ 0 h 3318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66020" h="331851">
                    <a:moveTo>
                      <a:pt x="0" y="331851"/>
                    </a:moveTo>
                    <a:lnTo>
                      <a:pt x="0" y="40291"/>
                    </a:lnTo>
                    <a:cubicBezTo>
                      <a:pt x="0" y="18097"/>
                      <a:pt x="18097" y="0"/>
                      <a:pt x="40291" y="0"/>
                    </a:cubicBezTo>
                    <a:lnTo>
                      <a:pt x="166021" y="0"/>
                    </a:lnTo>
                  </a:path>
                </a:pathLst>
              </a:custGeom>
              <a:noFill/>
              <a:ln w="19050" cap="sq">
                <a:solidFill>
                  <a:schemeClr val="accent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23" name="Forma livre: Forma 22">
              <a:extLst>
                <a:ext uri="{FF2B5EF4-FFF2-40B4-BE49-F238E27FC236}">
                  <a16:creationId xmlns:a16="http://schemas.microsoft.com/office/drawing/2014/main" id="{412843ED-CEA0-2B2F-9494-D0AC32AD3FC2}"/>
                </a:ext>
              </a:extLst>
            </p:cNvPr>
            <p:cNvSpPr/>
            <p:nvPr/>
          </p:nvSpPr>
          <p:spPr>
            <a:xfrm>
              <a:off x="7527643" y="2897332"/>
              <a:ext cx="474083" cy="37810"/>
            </a:xfrm>
            <a:custGeom>
              <a:avLst/>
              <a:gdLst>
                <a:gd name="connsiteX0" fmla="*/ 0 w 680751"/>
                <a:gd name="connsiteY0" fmla="*/ 0 h 54292"/>
                <a:gd name="connsiteX1" fmla="*/ 48863 w 680751"/>
                <a:gd name="connsiteY1" fmla="*/ 54293 h 54292"/>
                <a:gd name="connsiteX2" fmla="*/ 631888 w 680751"/>
                <a:gd name="connsiteY2" fmla="*/ 54293 h 54292"/>
                <a:gd name="connsiteX3" fmla="*/ 680752 w 680751"/>
                <a:gd name="connsiteY3" fmla="*/ 0 h 54292"/>
                <a:gd name="connsiteX4" fmla="*/ 0 w 680751"/>
                <a:gd name="connsiteY4" fmla="*/ 0 h 542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80751" h="54292">
                  <a:moveTo>
                    <a:pt x="0" y="0"/>
                  </a:moveTo>
                  <a:cubicBezTo>
                    <a:pt x="0" y="0"/>
                    <a:pt x="9906" y="54293"/>
                    <a:pt x="48863" y="54293"/>
                  </a:cubicBezTo>
                  <a:lnTo>
                    <a:pt x="631888" y="54293"/>
                  </a:lnTo>
                  <a:cubicBezTo>
                    <a:pt x="670941" y="54293"/>
                    <a:pt x="680752" y="0"/>
                    <a:pt x="680752" y="0"/>
                  </a:cubicBezTo>
                  <a:lnTo>
                    <a:pt x="0" y="0"/>
                  </a:lnTo>
                  <a:close/>
                </a:path>
              </a:pathLst>
            </a:custGeom>
            <a:noFill/>
            <a:ln w="19050" cap="sq">
              <a:solidFill>
                <a:schemeClr val="accent1"/>
              </a:solidFill>
              <a:prstDash val="solid"/>
              <a:miter lim="800000"/>
            </a:ln>
          </p:spPr>
          <p:txBody>
            <a:bodyPr rtlCol="0" anchor="ctr"/>
            <a:lstStyle/>
            <a:p>
              <a:endParaRPr lang="pt-PT" dirty="0"/>
            </a:p>
          </p:txBody>
        </p:sp>
        <p:grpSp>
          <p:nvGrpSpPr>
            <p:cNvPr id="24" name="Gráfico 215">
              <a:extLst>
                <a:ext uri="{FF2B5EF4-FFF2-40B4-BE49-F238E27FC236}">
                  <a16:creationId xmlns:a16="http://schemas.microsoft.com/office/drawing/2014/main" id="{E693F401-BC2A-3E34-F20E-2D30F176EEB6}"/>
                </a:ext>
              </a:extLst>
            </p:cNvPr>
            <p:cNvGrpSpPr/>
            <p:nvPr/>
          </p:nvGrpSpPr>
          <p:grpSpPr>
            <a:xfrm>
              <a:off x="7661835" y="2537276"/>
              <a:ext cx="205699" cy="245499"/>
              <a:chOff x="4075536" y="1347235"/>
              <a:chExt cx="295370" cy="352520"/>
            </a:xfrm>
            <a:noFill/>
          </p:grpSpPr>
          <p:sp>
            <p:nvSpPr>
              <p:cNvPr id="34" name="Forma livre: Forma 33">
                <a:extLst>
                  <a:ext uri="{FF2B5EF4-FFF2-40B4-BE49-F238E27FC236}">
                    <a16:creationId xmlns:a16="http://schemas.microsoft.com/office/drawing/2014/main" id="{1BBCB6D3-5CD1-8DF0-BF84-58BB36DE1758}"/>
                  </a:ext>
                </a:extLst>
              </p:cNvPr>
              <p:cNvSpPr/>
              <p:nvPr/>
            </p:nvSpPr>
            <p:spPr>
              <a:xfrm>
                <a:off x="4156880" y="1347235"/>
                <a:ext cx="132778" cy="352520"/>
              </a:xfrm>
              <a:custGeom>
                <a:avLst/>
                <a:gdLst>
                  <a:gd name="connsiteX0" fmla="*/ 66389 w 132778"/>
                  <a:gd name="connsiteY0" fmla="*/ 0 h 352520"/>
                  <a:gd name="connsiteX1" fmla="*/ 0 w 132778"/>
                  <a:gd name="connsiteY1" fmla="*/ 99536 h 352520"/>
                  <a:gd name="connsiteX2" fmla="*/ 0 w 132778"/>
                  <a:gd name="connsiteY2" fmla="*/ 352520 h 352520"/>
                  <a:gd name="connsiteX3" fmla="*/ 132778 w 132778"/>
                  <a:gd name="connsiteY3" fmla="*/ 352520 h 352520"/>
                  <a:gd name="connsiteX4" fmla="*/ 132778 w 132778"/>
                  <a:gd name="connsiteY4" fmla="*/ 99536 h 352520"/>
                  <a:gd name="connsiteX5" fmla="*/ 66389 w 132778"/>
                  <a:gd name="connsiteY5" fmla="*/ 0 h 3525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32778" h="352520">
                    <a:moveTo>
                      <a:pt x="66389" y="0"/>
                    </a:moveTo>
                    <a:cubicBezTo>
                      <a:pt x="66389" y="0"/>
                      <a:pt x="0" y="70009"/>
                      <a:pt x="0" y="99536"/>
                    </a:cubicBezTo>
                    <a:lnTo>
                      <a:pt x="0" y="352520"/>
                    </a:lnTo>
                    <a:lnTo>
                      <a:pt x="132778" y="352520"/>
                    </a:lnTo>
                    <a:lnTo>
                      <a:pt x="132778" y="99536"/>
                    </a:lnTo>
                    <a:cubicBezTo>
                      <a:pt x="132778" y="69914"/>
                      <a:pt x="66389" y="0"/>
                      <a:pt x="66389" y="0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accent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35" name="Gráfico 215">
                <a:extLst>
                  <a:ext uri="{FF2B5EF4-FFF2-40B4-BE49-F238E27FC236}">
                    <a16:creationId xmlns:a16="http://schemas.microsoft.com/office/drawing/2014/main" id="{13153191-E891-A2B3-80B2-2CED906B111F}"/>
                  </a:ext>
                </a:extLst>
              </p:cNvPr>
              <p:cNvGrpSpPr/>
              <p:nvPr/>
            </p:nvGrpSpPr>
            <p:grpSpPr>
              <a:xfrm>
                <a:off x="4075536" y="1507636"/>
                <a:ext cx="295370" cy="174783"/>
                <a:chOff x="4075536" y="1507636"/>
                <a:chExt cx="295370" cy="174783"/>
              </a:xfrm>
              <a:noFill/>
            </p:grpSpPr>
            <p:sp>
              <p:nvSpPr>
                <p:cNvPr id="37" name="Forma livre: Forma 36">
                  <a:extLst>
                    <a:ext uri="{FF2B5EF4-FFF2-40B4-BE49-F238E27FC236}">
                      <a16:creationId xmlns:a16="http://schemas.microsoft.com/office/drawing/2014/main" id="{A1A74522-BD29-45DB-D310-5CAB42B1AF5A}"/>
                    </a:ext>
                  </a:extLst>
                </p:cNvPr>
                <p:cNvSpPr/>
                <p:nvPr/>
              </p:nvSpPr>
              <p:spPr>
                <a:xfrm>
                  <a:off x="4075536" y="1507636"/>
                  <a:ext cx="81248" cy="174783"/>
                </a:xfrm>
                <a:custGeom>
                  <a:avLst/>
                  <a:gdLst>
                    <a:gd name="connsiteX0" fmla="*/ 81248 w 81248"/>
                    <a:gd name="connsiteY0" fmla="*/ 0 h 174783"/>
                    <a:gd name="connsiteX1" fmla="*/ 24860 w 81248"/>
                    <a:gd name="connsiteY1" fmla="*/ 83630 h 174783"/>
                    <a:gd name="connsiteX2" fmla="*/ 4858 w 81248"/>
                    <a:gd name="connsiteY2" fmla="*/ 103823 h 174783"/>
                    <a:gd name="connsiteX3" fmla="*/ 0 w 81248"/>
                    <a:gd name="connsiteY3" fmla="*/ 130302 h 174783"/>
                    <a:gd name="connsiteX4" fmla="*/ 0 w 81248"/>
                    <a:gd name="connsiteY4" fmla="*/ 174784 h 174783"/>
                    <a:gd name="connsiteX5" fmla="*/ 76581 w 81248"/>
                    <a:gd name="connsiteY5" fmla="*/ 174784 h 17478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81248" h="174783">
                      <a:moveTo>
                        <a:pt x="81248" y="0"/>
                      </a:moveTo>
                      <a:cubicBezTo>
                        <a:pt x="81248" y="18002"/>
                        <a:pt x="62865" y="53054"/>
                        <a:pt x="24860" y="83630"/>
                      </a:cubicBezTo>
                      <a:cubicBezTo>
                        <a:pt x="17431" y="89630"/>
                        <a:pt x="9716" y="95917"/>
                        <a:pt x="4858" y="103823"/>
                      </a:cubicBezTo>
                      <a:cubicBezTo>
                        <a:pt x="381" y="111252"/>
                        <a:pt x="0" y="121444"/>
                        <a:pt x="0" y="130302"/>
                      </a:cubicBezTo>
                      <a:lnTo>
                        <a:pt x="0" y="174784"/>
                      </a:lnTo>
                      <a:lnTo>
                        <a:pt x="76581" y="174784"/>
                      </a:lnTo>
                    </a:path>
                  </a:pathLst>
                </a:custGeom>
                <a:noFill/>
                <a:ln w="19050" cap="sq">
                  <a:solidFill>
                    <a:schemeClr val="accent1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38" name="Forma livre: Forma 37">
                  <a:extLst>
                    <a:ext uri="{FF2B5EF4-FFF2-40B4-BE49-F238E27FC236}">
                      <a16:creationId xmlns:a16="http://schemas.microsoft.com/office/drawing/2014/main" id="{D7A51E60-5581-42D1-50BD-6E9155690566}"/>
                    </a:ext>
                  </a:extLst>
                </p:cNvPr>
                <p:cNvSpPr/>
                <p:nvPr/>
              </p:nvSpPr>
              <p:spPr>
                <a:xfrm>
                  <a:off x="4289658" y="1507636"/>
                  <a:ext cx="81248" cy="174783"/>
                </a:xfrm>
                <a:custGeom>
                  <a:avLst/>
                  <a:gdLst>
                    <a:gd name="connsiteX0" fmla="*/ 0 w 81248"/>
                    <a:gd name="connsiteY0" fmla="*/ 0 h 174783"/>
                    <a:gd name="connsiteX1" fmla="*/ 56388 w 81248"/>
                    <a:gd name="connsiteY1" fmla="*/ 83630 h 174783"/>
                    <a:gd name="connsiteX2" fmla="*/ 76391 w 81248"/>
                    <a:gd name="connsiteY2" fmla="*/ 103823 h 174783"/>
                    <a:gd name="connsiteX3" fmla="*/ 81248 w 81248"/>
                    <a:gd name="connsiteY3" fmla="*/ 130302 h 174783"/>
                    <a:gd name="connsiteX4" fmla="*/ 81248 w 81248"/>
                    <a:gd name="connsiteY4" fmla="*/ 174784 h 174783"/>
                    <a:gd name="connsiteX5" fmla="*/ 4667 w 81248"/>
                    <a:gd name="connsiteY5" fmla="*/ 174784 h 17478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81248" h="174783">
                      <a:moveTo>
                        <a:pt x="0" y="0"/>
                      </a:moveTo>
                      <a:cubicBezTo>
                        <a:pt x="0" y="18002"/>
                        <a:pt x="18383" y="53054"/>
                        <a:pt x="56388" y="83630"/>
                      </a:cubicBezTo>
                      <a:cubicBezTo>
                        <a:pt x="63818" y="89630"/>
                        <a:pt x="71533" y="95917"/>
                        <a:pt x="76391" y="103823"/>
                      </a:cubicBezTo>
                      <a:cubicBezTo>
                        <a:pt x="80867" y="111252"/>
                        <a:pt x="81248" y="121444"/>
                        <a:pt x="81248" y="130302"/>
                      </a:cubicBezTo>
                      <a:lnTo>
                        <a:pt x="81248" y="174784"/>
                      </a:lnTo>
                      <a:lnTo>
                        <a:pt x="4667" y="174784"/>
                      </a:lnTo>
                    </a:path>
                  </a:pathLst>
                </a:custGeom>
                <a:noFill/>
                <a:ln w="19050" cap="sq">
                  <a:solidFill>
                    <a:schemeClr val="accent1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36" name="Forma livre: Forma 35">
                <a:extLst>
                  <a:ext uri="{FF2B5EF4-FFF2-40B4-BE49-F238E27FC236}">
                    <a16:creationId xmlns:a16="http://schemas.microsoft.com/office/drawing/2014/main" id="{AEB224DF-DE94-BCCD-4E85-8B5BE171770D}"/>
                  </a:ext>
                </a:extLst>
              </p:cNvPr>
              <p:cNvSpPr/>
              <p:nvPr/>
            </p:nvSpPr>
            <p:spPr>
              <a:xfrm>
                <a:off x="4198980" y="1457820"/>
                <a:ext cx="48577" cy="11239"/>
              </a:xfrm>
              <a:custGeom>
                <a:avLst/>
                <a:gdLst>
                  <a:gd name="connsiteX0" fmla="*/ 48578 w 48577"/>
                  <a:gd name="connsiteY0" fmla="*/ 11240 h 11239"/>
                  <a:gd name="connsiteX1" fmla="*/ 24289 w 48577"/>
                  <a:gd name="connsiteY1" fmla="*/ 0 h 11239"/>
                  <a:gd name="connsiteX2" fmla="*/ 0 w 48577"/>
                  <a:gd name="connsiteY2" fmla="*/ 11240 h 112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48577" h="11239">
                    <a:moveTo>
                      <a:pt x="48578" y="11240"/>
                    </a:moveTo>
                    <a:cubicBezTo>
                      <a:pt x="44577" y="4667"/>
                      <a:pt x="35243" y="0"/>
                      <a:pt x="24289" y="0"/>
                    </a:cubicBezTo>
                    <a:cubicBezTo>
                      <a:pt x="13335" y="0"/>
                      <a:pt x="4001" y="4667"/>
                      <a:pt x="0" y="11240"/>
                    </a:cubicBezTo>
                  </a:path>
                </a:pathLst>
              </a:custGeom>
              <a:noFill/>
              <a:ln w="19050" cap="sq">
                <a:solidFill>
                  <a:schemeClr val="accent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25" name="Gráfico 215">
              <a:extLst>
                <a:ext uri="{FF2B5EF4-FFF2-40B4-BE49-F238E27FC236}">
                  <a16:creationId xmlns:a16="http://schemas.microsoft.com/office/drawing/2014/main" id="{04788ADC-A46E-FDBD-A86E-89E778D9AEB7}"/>
                </a:ext>
              </a:extLst>
            </p:cNvPr>
            <p:cNvGrpSpPr/>
            <p:nvPr/>
          </p:nvGrpSpPr>
          <p:grpSpPr>
            <a:xfrm>
              <a:off x="7617192" y="2785627"/>
              <a:ext cx="294983" cy="73961"/>
              <a:chOff x="4011433" y="1703851"/>
              <a:chExt cx="423576" cy="106203"/>
            </a:xfrm>
            <a:noFill/>
          </p:grpSpPr>
          <p:grpSp>
            <p:nvGrpSpPr>
              <p:cNvPr id="26" name="Gráfico 215">
                <a:extLst>
                  <a:ext uri="{FF2B5EF4-FFF2-40B4-BE49-F238E27FC236}">
                    <a16:creationId xmlns:a16="http://schemas.microsoft.com/office/drawing/2014/main" id="{D56E3161-E128-7B47-101A-777F3F742CFC}"/>
                  </a:ext>
                </a:extLst>
              </p:cNvPr>
              <p:cNvGrpSpPr/>
              <p:nvPr/>
            </p:nvGrpSpPr>
            <p:grpSpPr>
              <a:xfrm>
                <a:off x="4249939" y="1703851"/>
                <a:ext cx="185070" cy="106203"/>
                <a:chOff x="4249939" y="1703851"/>
                <a:chExt cx="185070" cy="106203"/>
              </a:xfrm>
              <a:noFill/>
            </p:grpSpPr>
            <p:sp>
              <p:nvSpPr>
                <p:cNvPr id="31" name="Forma livre: Forma 30">
                  <a:extLst>
                    <a:ext uri="{FF2B5EF4-FFF2-40B4-BE49-F238E27FC236}">
                      <a16:creationId xmlns:a16="http://schemas.microsoft.com/office/drawing/2014/main" id="{67F823BF-D8AE-01A6-5C06-92F6B795DD18}"/>
                    </a:ext>
                  </a:extLst>
                </p:cNvPr>
                <p:cNvSpPr/>
                <p:nvPr/>
              </p:nvSpPr>
              <p:spPr>
                <a:xfrm>
                  <a:off x="4249939" y="1703851"/>
                  <a:ext cx="42195" cy="106203"/>
                </a:xfrm>
                <a:custGeom>
                  <a:avLst/>
                  <a:gdLst>
                    <a:gd name="connsiteX0" fmla="*/ 0 w 42195"/>
                    <a:gd name="connsiteY0" fmla="*/ 0 h 106203"/>
                    <a:gd name="connsiteX1" fmla="*/ 42196 w 42195"/>
                    <a:gd name="connsiteY1" fmla="*/ 106204 h 1062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2195" h="106203">
                      <a:moveTo>
                        <a:pt x="0" y="0"/>
                      </a:moveTo>
                      <a:cubicBezTo>
                        <a:pt x="0" y="0"/>
                        <a:pt x="1715" y="89535"/>
                        <a:pt x="42196" y="106204"/>
                      </a:cubicBezTo>
                    </a:path>
                  </a:pathLst>
                </a:custGeom>
                <a:noFill/>
                <a:ln w="19050" cap="sq">
                  <a:solidFill>
                    <a:schemeClr val="accent1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 dirty="0"/>
                </a:p>
              </p:txBody>
            </p:sp>
            <p:sp>
              <p:nvSpPr>
                <p:cNvPr id="32" name="Forma livre: Forma 31">
                  <a:extLst>
                    <a:ext uri="{FF2B5EF4-FFF2-40B4-BE49-F238E27FC236}">
                      <a16:creationId xmlns:a16="http://schemas.microsoft.com/office/drawing/2014/main" id="{45C59CA1-E748-D384-B5E3-13554D77E906}"/>
                    </a:ext>
                  </a:extLst>
                </p:cNvPr>
                <p:cNvSpPr/>
                <p:nvPr/>
              </p:nvSpPr>
              <p:spPr>
                <a:xfrm>
                  <a:off x="4335283" y="1736480"/>
                  <a:ext cx="99726" cy="48809"/>
                </a:xfrm>
                <a:custGeom>
                  <a:avLst/>
                  <a:gdLst>
                    <a:gd name="connsiteX0" fmla="*/ 99727 w 99726"/>
                    <a:gd name="connsiteY0" fmla="*/ 48810 h 48809"/>
                    <a:gd name="connsiteX1" fmla="*/ 83820 w 99726"/>
                    <a:gd name="connsiteY1" fmla="*/ 13948 h 48809"/>
                    <a:gd name="connsiteX2" fmla="*/ 46673 w 99726"/>
                    <a:gd name="connsiteY2" fmla="*/ 42 h 48809"/>
                    <a:gd name="connsiteX3" fmla="*/ 0 w 99726"/>
                    <a:gd name="connsiteY3" fmla="*/ 36427 h 4880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9726" h="48809">
                      <a:moveTo>
                        <a:pt x="99727" y="48810"/>
                      </a:moveTo>
                      <a:cubicBezTo>
                        <a:pt x="99155" y="34998"/>
                        <a:pt x="93154" y="22711"/>
                        <a:pt x="83820" y="13948"/>
                      </a:cubicBezTo>
                      <a:cubicBezTo>
                        <a:pt x="74200" y="4804"/>
                        <a:pt x="60960" y="-530"/>
                        <a:pt x="46673" y="42"/>
                      </a:cubicBezTo>
                      <a:cubicBezTo>
                        <a:pt x="24384" y="994"/>
                        <a:pt x="6001" y="16139"/>
                        <a:pt x="0" y="36427"/>
                      </a:cubicBezTo>
                    </a:path>
                  </a:pathLst>
                </a:custGeom>
                <a:noFill/>
                <a:ln w="19050" cap="sq">
                  <a:solidFill>
                    <a:schemeClr val="accent1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33" name="Forma livre: Forma 32">
                  <a:extLst>
                    <a:ext uri="{FF2B5EF4-FFF2-40B4-BE49-F238E27FC236}">
                      <a16:creationId xmlns:a16="http://schemas.microsoft.com/office/drawing/2014/main" id="{058EFE00-833C-4DF8-2781-DCBB7BCF0667}"/>
                    </a:ext>
                  </a:extLst>
                </p:cNvPr>
                <p:cNvSpPr/>
                <p:nvPr/>
              </p:nvSpPr>
              <p:spPr>
                <a:xfrm>
                  <a:off x="4290650" y="1770143"/>
                  <a:ext cx="60349" cy="39816"/>
                </a:xfrm>
                <a:custGeom>
                  <a:avLst/>
                  <a:gdLst>
                    <a:gd name="connsiteX0" fmla="*/ 60349 w 60349"/>
                    <a:gd name="connsiteY0" fmla="*/ 21814 h 39816"/>
                    <a:gd name="connsiteX1" fmla="*/ 45681 w 60349"/>
                    <a:gd name="connsiteY1" fmla="*/ 3812 h 39816"/>
                    <a:gd name="connsiteX2" fmla="*/ 21773 w 60349"/>
                    <a:gd name="connsiteY2" fmla="*/ 1336 h 39816"/>
                    <a:gd name="connsiteX3" fmla="*/ 1389 w 60349"/>
                    <a:gd name="connsiteY3" fmla="*/ 39817 h 3981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60349" h="39816">
                      <a:moveTo>
                        <a:pt x="60349" y="21814"/>
                      </a:moveTo>
                      <a:cubicBezTo>
                        <a:pt x="57873" y="13813"/>
                        <a:pt x="52539" y="7527"/>
                        <a:pt x="45681" y="3812"/>
                      </a:cubicBezTo>
                      <a:cubicBezTo>
                        <a:pt x="38632" y="-93"/>
                        <a:pt x="30060" y="-1141"/>
                        <a:pt x="21773" y="1336"/>
                      </a:cubicBezTo>
                      <a:cubicBezTo>
                        <a:pt x="5485" y="6289"/>
                        <a:pt x="-3659" y="23529"/>
                        <a:pt x="1389" y="39817"/>
                      </a:cubicBezTo>
                    </a:path>
                  </a:pathLst>
                </a:custGeom>
                <a:noFill/>
                <a:ln w="19050" cap="sq">
                  <a:solidFill>
                    <a:schemeClr val="accent1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27" name="Gráfico 215">
                <a:extLst>
                  <a:ext uri="{FF2B5EF4-FFF2-40B4-BE49-F238E27FC236}">
                    <a16:creationId xmlns:a16="http://schemas.microsoft.com/office/drawing/2014/main" id="{6F735EA4-178D-4CD3-FD30-C204AE2EFFA0}"/>
                  </a:ext>
                </a:extLst>
              </p:cNvPr>
              <p:cNvGrpSpPr/>
              <p:nvPr/>
            </p:nvGrpSpPr>
            <p:grpSpPr>
              <a:xfrm>
                <a:off x="4011433" y="1703851"/>
                <a:ext cx="185070" cy="106203"/>
                <a:chOff x="4011433" y="1703851"/>
                <a:chExt cx="185070" cy="106203"/>
              </a:xfrm>
              <a:noFill/>
            </p:grpSpPr>
            <p:sp>
              <p:nvSpPr>
                <p:cNvPr id="28" name="Forma livre: Forma 27">
                  <a:extLst>
                    <a:ext uri="{FF2B5EF4-FFF2-40B4-BE49-F238E27FC236}">
                      <a16:creationId xmlns:a16="http://schemas.microsoft.com/office/drawing/2014/main" id="{7FC660F5-A9FB-8AD3-1AAB-0213083BF419}"/>
                    </a:ext>
                  </a:extLst>
                </p:cNvPr>
                <p:cNvSpPr/>
                <p:nvPr/>
              </p:nvSpPr>
              <p:spPr>
                <a:xfrm>
                  <a:off x="4154308" y="1703851"/>
                  <a:ext cx="42195" cy="106203"/>
                </a:xfrm>
                <a:custGeom>
                  <a:avLst/>
                  <a:gdLst>
                    <a:gd name="connsiteX0" fmla="*/ 42196 w 42195"/>
                    <a:gd name="connsiteY0" fmla="*/ 0 h 106203"/>
                    <a:gd name="connsiteX1" fmla="*/ 0 w 42195"/>
                    <a:gd name="connsiteY1" fmla="*/ 106204 h 1062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2195" h="106203">
                      <a:moveTo>
                        <a:pt x="42196" y="0"/>
                      </a:moveTo>
                      <a:cubicBezTo>
                        <a:pt x="42196" y="0"/>
                        <a:pt x="41243" y="93440"/>
                        <a:pt x="0" y="106204"/>
                      </a:cubicBezTo>
                    </a:path>
                  </a:pathLst>
                </a:custGeom>
                <a:noFill/>
                <a:ln w="19050" cap="sq">
                  <a:solidFill>
                    <a:schemeClr val="accent1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9" name="Forma livre: Forma 28">
                  <a:extLst>
                    <a:ext uri="{FF2B5EF4-FFF2-40B4-BE49-F238E27FC236}">
                      <a16:creationId xmlns:a16="http://schemas.microsoft.com/office/drawing/2014/main" id="{DA6E705D-EB2C-DD9D-5284-8084135F88BF}"/>
                    </a:ext>
                  </a:extLst>
                </p:cNvPr>
                <p:cNvSpPr/>
                <p:nvPr/>
              </p:nvSpPr>
              <p:spPr>
                <a:xfrm>
                  <a:off x="4011433" y="1736480"/>
                  <a:ext cx="69627" cy="48809"/>
                </a:xfrm>
                <a:custGeom>
                  <a:avLst/>
                  <a:gdLst>
                    <a:gd name="connsiteX0" fmla="*/ 0 w 69627"/>
                    <a:gd name="connsiteY0" fmla="*/ 48810 h 48809"/>
                    <a:gd name="connsiteX1" fmla="*/ 15907 w 69627"/>
                    <a:gd name="connsiteY1" fmla="*/ 13948 h 48809"/>
                    <a:gd name="connsiteX2" fmla="*/ 53054 w 69627"/>
                    <a:gd name="connsiteY2" fmla="*/ 42 h 48809"/>
                    <a:gd name="connsiteX3" fmla="*/ 69628 w 69627"/>
                    <a:gd name="connsiteY3" fmla="*/ 3566 h 4880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69627" h="48809">
                      <a:moveTo>
                        <a:pt x="0" y="48810"/>
                      </a:moveTo>
                      <a:cubicBezTo>
                        <a:pt x="572" y="34998"/>
                        <a:pt x="6572" y="22711"/>
                        <a:pt x="15907" y="13948"/>
                      </a:cubicBezTo>
                      <a:cubicBezTo>
                        <a:pt x="25527" y="4804"/>
                        <a:pt x="38767" y="-530"/>
                        <a:pt x="53054" y="42"/>
                      </a:cubicBezTo>
                      <a:cubicBezTo>
                        <a:pt x="58960" y="327"/>
                        <a:pt x="64484" y="1566"/>
                        <a:pt x="69628" y="3566"/>
                      </a:cubicBezTo>
                    </a:path>
                  </a:pathLst>
                </a:custGeom>
                <a:noFill/>
                <a:ln w="19050" cap="sq">
                  <a:solidFill>
                    <a:schemeClr val="accent1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30" name="Forma livre: Forma 29">
                  <a:extLst>
                    <a:ext uri="{FF2B5EF4-FFF2-40B4-BE49-F238E27FC236}">
                      <a16:creationId xmlns:a16="http://schemas.microsoft.com/office/drawing/2014/main" id="{0F1D4BD8-1A73-C0AF-D1EF-12A00D29F7CD}"/>
                    </a:ext>
                  </a:extLst>
                </p:cNvPr>
                <p:cNvSpPr/>
                <p:nvPr/>
              </p:nvSpPr>
              <p:spPr>
                <a:xfrm>
                  <a:off x="4095444" y="1770143"/>
                  <a:ext cx="60349" cy="39816"/>
                </a:xfrm>
                <a:custGeom>
                  <a:avLst/>
                  <a:gdLst>
                    <a:gd name="connsiteX0" fmla="*/ 0 w 60349"/>
                    <a:gd name="connsiteY0" fmla="*/ 21814 h 39816"/>
                    <a:gd name="connsiteX1" fmla="*/ 14669 w 60349"/>
                    <a:gd name="connsiteY1" fmla="*/ 3812 h 39816"/>
                    <a:gd name="connsiteX2" fmla="*/ 38576 w 60349"/>
                    <a:gd name="connsiteY2" fmla="*/ 1336 h 39816"/>
                    <a:gd name="connsiteX3" fmla="*/ 58960 w 60349"/>
                    <a:gd name="connsiteY3" fmla="*/ 39817 h 3981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60349" h="39816">
                      <a:moveTo>
                        <a:pt x="0" y="21814"/>
                      </a:moveTo>
                      <a:cubicBezTo>
                        <a:pt x="2477" y="13813"/>
                        <a:pt x="7810" y="7527"/>
                        <a:pt x="14669" y="3812"/>
                      </a:cubicBezTo>
                      <a:cubicBezTo>
                        <a:pt x="21717" y="-93"/>
                        <a:pt x="30290" y="-1141"/>
                        <a:pt x="38576" y="1336"/>
                      </a:cubicBezTo>
                      <a:cubicBezTo>
                        <a:pt x="54864" y="6289"/>
                        <a:pt x="64008" y="23529"/>
                        <a:pt x="58960" y="39817"/>
                      </a:cubicBezTo>
                    </a:path>
                  </a:pathLst>
                </a:custGeom>
                <a:noFill/>
                <a:ln w="19050" cap="sq">
                  <a:solidFill>
                    <a:schemeClr val="accent1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</p:grpSp>
      <p:sp>
        <p:nvSpPr>
          <p:cNvPr id="2" name="Marcador de pie de página 1">
            <a:extLst>
              <a:ext uri="{FF2B5EF4-FFF2-40B4-BE49-F238E27FC236}">
                <a16:creationId xmlns:a16="http://schemas.microsoft.com/office/drawing/2014/main" id="{C57F89E7-4D54-4093-B00A-CA3C99FBB8A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pt-PT"/>
              <a:t>Título de la presentación</a:t>
            </a:r>
            <a:endParaRPr lang="pt-PT" dirty="0"/>
          </a:p>
        </p:txBody>
      </p:sp>
      <p:sp>
        <p:nvSpPr>
          <p:cNvPr id="3" name="Marcador de número de diapositiva 2">
            <a:extLst>
              <a:ext uri="{FF2B5EF4-FFF2-40B4-BE49-F238E27FC236}">
                <a16:creationId xmlns:a16="http://schemas.microsoft.com/office/drawing/2014/main" id="{47309EF1-C9ED-4BCE-8777-447072A961D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4A347C2-D68E-473A-8C76-1D063E4EB6E0}" type="slidenum">
              <a:rPr lang="es-ES" smtClean="0"/>
              <a:pPr/>
              <a:t>29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2230737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BC1E5309-3AF1-98CF-DA83-D6E96E53A20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Ejemplo de</a:t>
            </a:r>
            <a:br>
              <a:rPr lang="es-ES"/>
            </a:br>
            <a:r>
              <a:rPr lang="es-ES"/>
              <a:t>título do slide</a:t>
            </a:r>
          </a:p>
        </p:txBody>
      </p:sp>
      <p:sp>
        <p:nvSpPr>
          <p:cNvPr id="3" name="Marcador de Posição do Texto 2">
            <a:extLst>
              <a:ext uri="{FF2B5EF4-FFF2-40B4-BE49-F238E27FC236}">
                <a16:creationId xmlns:a16="http://schemas.microsoft.com/office/drawing/2014/main" id="{57D70446-8335-76DC-2E40-689109398AF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pt-PT" dirty="0"/>
              <a:t>Ejemplo de subtítulo</a:t>
            </a:r>
          </a:p>
        </p:txBody>
      </p:sp>
      <p:sp>
        <p:nvSpPr>
          <p:cNvPr id="4" name="Marcador de Posição do Texto 3">
            <a:extLst>
              <a:ext uri="{FF2B5EF4-FFF2-40B4-BE49-F238E27FC236}">
                <a16:creationId xmlns:a16="http://schemas.microsoft.com/office/drawing/2014/main" id="{2AC21EAA-5023-D7D7-500C-50B41C6E85F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pt-PT" dirty="0"/>
              <a:t>Insertar info</a:t>
            </a:r>
          </a:p>
        </p:txBody>
      </p:sp>
      <p:sp>
        <p:nvSpPr>
          <p:cNvPr id="5" name="Marcador de Posição do Texto 4">
            <a:extLst>
              <a:ext uri="{FF2B5EF4-FFF2-40B4-BE49-F238E27FC236}">
                <a16:creationId xmlns:a16="http://schemas.microsoft.com/office/drawing/2014/main" id="{BBEDA51A-7978-A101-A134-FED37F98C1E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pt-PT" dirty="0"/>
              <a:t>Insertar fecha</a:t>
            </a:r>
          </a:p>
        </p:txBody>
      </p:sp>
    </p:spTree>
    <p:extLst>
      <p:ext uri="{BB962C8B-B14F-4D97-AF65-F5344CB8AC3E}">
        <p14:creationId xmlns:p14="http://schemas.microsoft.com/office/powerpoint/2010/main" val="18130739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ítulo 8">
            <a:extLst>
              <a:ext uri="{FF2B5EF4-FFF2-40B4-BE49-F238E27FC236}">
                <a16:creationId xmlns:a16="http://schemas.microsoft.com/office/drawing/2014/main" id="{77D33514-FDDC-6B9B-9F37-D9AC3F86870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PT" dirty="0"/>
              <a:t>Ejemplo de título de slide</a:t>
            </a:r>
          </a:p>
        </p:txBody>
      </p:sp>
      <p:sp>
        <p:nvSpPr>
          <p:cNvPr id="10" name="Marcador de Posição do Texto 9">
            <a:extLst>
              <a:ext uri="{FF2B5EF4-FFF2-40B4-BE49-F238E27FC236}">
                <a16:creationId xmlns:a16="http://schemas.microsoft.com/office/drawing/2014/main" id="{5A78C0FC-75BF-0F53-9719-5211E83B65D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>
            <a:normAutofit lnSpcReduction="10000"/>
          </a:bodyPr>
          <a:lstStyle/>
          <a:p>
            <a:r>
              <a:rPr lang="pt-PT" dirty="0"/>
              <a:t>Ejemplo de subtítulo de slide</a:t>
            </a:r>
          </a:p>
        </p:txBody>
      </p:sp>
      <p:sp>
        <p:nvSpPr>
          <p:cNvPr id="12" name="Marcador de Posição do Texto 11">
            <a:extLst>
              <a:ext uri="{FF2B5EF4-FFF2-40B4-BE49-F238E27FC236}">
                <a16:creationId xmlns:a16="http://schemas.microsoft.com/office/drawing/2014/main" id="{87309436-3DA4-3756-783D-EB67A1A3B9F6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pt-PT" dirty="0"/>
              <a:t>TEXTO DESTACADO</a:t>
            </a:r>
          </a:p>
        </p:txBody>
      </p:sp>
      <p:sp>
        <p:nvSpPr>
          <p:cNvPr id="11" name="Marcador de Posição do Texto 10">
            <a:extLst>
              <a:ext uri="{FF2B5EF4-FFF2-40B4-BE49-F238E27FC236}">
                <a16:creationId xmlns:a16="http://schemas.microsoft.com/office/drawing/2014/main" id="{0DA6C9CD-43A1-0733-E6A3-4C5F3977ABD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pt-PT" dirty="0"/>
              <a:t>50</a:t>
            </a:r>
            <a:r>
              <a:rPr lang="pt-PT" baseline="30000" dirty="0"/>
              <a:t>%</a:t>
            </a:r>
          </a:p>
        </p:txBody>
      </p:sp>
      <p:sp>
        <p:nvSpPr>
          <p:cNvPr id="13" name="Marcador de Posição do Texto 12">
            <a:extLst>
              <a:ext uri="{FF2B5EF4-FFF2-40B4-BE49-F238E27FC236}">
                <a16:creationId xmlns:a16="http://schemas.microsoft.com/office/drawing/2014/main" id="{1AF082A1-DAE0-5301-C6C3-A421A01B434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pt-PT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Lorem</a:t>
            </a:r>
            <a:r>
              <a:rPr lang="pt-PT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ipsum</a:t>
            </a:r>
            <a:r>
              <a:rPr lang="pt-PT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dolor</a:t>
            </a:r>
            <a:r>
              <a:rPr lang="pt-PT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sit</a:t>
            </a:r>
            <a:r>
              <a:rPr lang="pt-PT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amet</a:t>
            </a:r>
            <a:r>
              <a:rPr lang="pt-PT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, </a:t>
            </a:r>
            <a:r>
              <a:rPr lang="pt-PT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consectetuer</a:t>
            </a:r>
            <a:r>
              <a:rPr lang="pt-PT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adipiscing</a:t>
            </a:r>
            <a:r>
              <a:rPr lang="pt-PT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elit</a:t>
            </a:r>
            <a:r>
              <a:rPr lang="pt-PT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. </a:t>
            </a:r>
            <a:r>
              <a:rPr lang="pt-PT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Maecenas</a:t>
            </a:r>
            <a:r>
              <a:rPr lang="pt-PT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porttitor</a:t>
            </a:r>
            <a:r>
              <a:rPr lang="pt-PT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congue</a:t>
            </a:r>
            <a:r>
              <a:rPr lang="pt-PT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massa. </a:t>
            </a:r>
            <a:endParaRPr lang="pt-PT" dirty="0"/>
          </a:p>
        </p:txBody>
      </p:sp>
      <p:sp>
        <p:nvSpPr>
          <p:cNvPr id="14" name="Marcador de Posição do Texto 13">
            <a:extLst>
              <a:ext uri="{FF2B5EF4-FFF2-40B4-BE49-F238E27FC236}">
                <a16:creationId xmlns:a16="http://schemas.microsoft.com/office/drawing/2014/main" id="{4AFFD561-D9D6-FC94-B53D-813FACE50C3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pt-PT" dirty="0"/>
              <a:t>50</a:t>
            </a:r>
            <a:r>
              <a:rPr lang="pt-PT" baseline="30000" dirty="0"/>
              <a:t>%</a:t>
            </a:r>
          </a:p>
        </p:txBody>
      </p:sp>
      <p:sp>
        <p:nvSpPr>
          <p:cNvPr id="15" name="Marcador de Posição do Texto 14">
            <a:extLst>
              <a:ext uri="{FF2B5EF4-FFF2-40B4-BE49-F238E27FC236}">
                <a16:creationId xmlns:a16="http://schemas.microsoft.com/office/drawing/2014/main" id="{039CFBE5-528D-2612-FB18-AD492A7C28E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pt-PT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Lorem</a:t>
            </a:r>
            <a:r>
              <a:rPr lang="pt-PT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ipsum</a:t>
            </a:r>
            <a:r>
              <a:rPr lang="pt-PT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dolor</a:t>
            </a:r>
            <a:r>
              <a:rPr lang="pt-PT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sit</a:t>
            </a:r>
            <a:r>
              <a:rPr lang="pt-PT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amet</a:t>
            </a:r>
            <a:r>
              <a:rPr lang="pt-PT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, </a:t>
            </a:r>
            <a:r>
              <a:rPr lang="pt-PT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consectetuer</a:t>
            </a:r>
            <a:r>
              <a:rPr lang="pt-PT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adipiscing</a:t>
            </a:r>
            <a:r>
              <a:rPr lang="pt-PT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elit</a:t>
            </a:r>
            <a:r>
              <a:rPr lang="pt-PT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. </a:t>
            </a:r>
            <a:r>
              <a:rPr lang="pt-PT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Maecenas</a:t>
            </a:r>
            <a:r>
              <a:rPr lang="pt-PT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porttitor</a:t>
            </a:r>
            <a:r>
              <a:rPr lang="pt-PT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congue</a:t>
            </a:r>
            <a:r>
              <a:rPr lang="pt-PT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massa. </a:t>
            </a:r>
            <a:endParaRPr lang="pt-PT" dirty="0"/>
          </a:p>
        </p:txBody>
      </p:sp>
      <p:sp>
        <p:nvSpPr>
          <p:cNvPr id="16" name="Marcador de Posição do Texto 15">
            <a:extLst>
              <a:ext uri="{FF2B5EF4-FFF2-40B4-BE49-F238E27FC236}">
                <a16:creationId xmlns:a16="http://schemas.microsoft.com/office/drawing/2014/main" id="{40FD4B62-01D6-940F-0DDD-4803CC52445A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r>
              <a:rPr lang="pt-PT" dirty="0"/>
              <a:t>50</a:t>
            </a:r>
            <a:r>
              <a:rPr lang="pt-PT" baseline="30000" dirty="0"/>
              <a:t>%</a:t>
            </a:r>
          </a:p>
        </p:txBody>
      </p:sp>
      <p:sp>
        <p:nvSpPr>
          <p:cNvPr id="17" name="Marcador de Posição do Texto 16">
            <a:extLst>
              <a:ext uri="{FF2B5EF4-FFF2-40B4-BE49-F238E27FC236}">
                <a16:creationId xmlns:a16="http://schemas.microsoft.com/office/drawing/2014/main" id="{BD015AF7-0AFA-B390-A777-FED8485F8DA9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r>
              <a:rPr lang="pt-PT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Lorem</a:t>
            </a:r>
            <a:r>
              <a:rPr lang="pt-PT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ipsum</a:t>
            </a:r>
            <a:r>
              <a:rPr lang="pt-PT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dolor</a:t>
            </a:r>
            <a:r>
              <a:rPr lang="pt-PT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sit</a:t>
            </a:r>
            <a:r>
              <a:rPr lang="pt-PT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amet</a:t>
            </a:r>
            <a:r>
              <a:rPr lang="pt-PT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, </a:t>
            </a:r>
            <a:r>
              <a:rPr lang="pt-PT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consectetuer</a:t>
            </a:r>
            <a:r>
              <a:rPr lang="pt-PT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adipiscing</a:t>
            </a:r>
            <a:r>
              <a:rPr lang="pt-PT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elit</a:t>
            </a:r>
            <a:r>
              <a:rPr lang="pt-PT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. </a:t>
            </a:r>
            <a:r>
              <a:rPr lang="pt-PT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Maecenas</a:t>
            </a:r>
            <a:r>
              <a:rPr lang="pt-PT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porttitor</a:t>
            </a:r>
            <a:r>
              <a:rPr lang="pt-PT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congue</a:t>
            </a:r>
            <a:r>
              <a:rPr lang="pt-PT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massa. </a:t>
            </a:r>
            <a:endParaRPr lang="pt-PT" dirty="0"/>
          </a:p>
        </p:txBody>
      </p:sp>
      <p:sp>
        <p:nvSpPr>
          <p:cNvPr id="18" name="Marcador de Posição do Texto 17">
            <a:extLst>
              <a:ext uri="{FF2B5EF4-FFF2-40B4-BE49-F238E27FC236}">
                <a16:creationId xmlns:a16="http://schemas.microsoft.com/office/drawing/2014/main" id="{485E7C03-F42F-648E-2559-3BD695EC97CF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r>
              <a:rPr lang="pt-PT" dirty="0"/>
              <a:t>50</a:t>
            </a:r>
            <a:r>
              <a:rPr lang="pt-PT" baseline="30000" dirty="0"/>
              <a:t>%</a:t>
            </a:r>
          </a:p>
        </p:txBody>
      </p:sp>
      <p:sp>
        <p:nvSpPr>
          <p:cNvPr id="19" name="Marcador de Posição do Texto 18">
            <a:extLst>
              <a:ext uri="{FF2B5EF4-FFF2-40B4-BE49-F238E27FC236}">
                <a16:creationId xmlns:a16="http://schemas.microsoft.com/office/drawing/2014/main" id="{37DE3618-6483-4BB9-57F2-2C3CB28E21BF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/>
        <p:txBody>
          <a:bodyPr/>
          <a:lstStyle/>
          <a:p>
            <a:r>
              <a:rPr lang="pt-PT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Lorem</a:t>
            </a:r>
            <a:r>
              <a:rPr lang="pt-PT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ipsum</a:t>
            </a:r>
            <a:r>
              <a:rPr lang="pt-PT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dolor</a:t>
            </a:r>
            <a:r>
              <a:rPr lang="pt-PT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sit</a:t>
            </a:r>
            <a:r>
              <a:rPr lang="pt-PT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amet</a:t>
            </a:r>
            <a:r>
              <a:rPr lang="pt-PT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, </a:t>
            </a:r>
            <a:r>
              <a:rPr lang="pt-PT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consectetuer</a:t>
            </a:r>
            <a:r>
              <a:rPr lang="pt-PT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adipiscing</a:t>
            </a:r>
            <a:r>
              <a:rPr lang="pt-PT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elit</a:t>
            </a:r>
            <a:r>
              <a:rPr lang="pt-PT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. </a:t>
            </a:r>
            <a:r>
              <a:rPr lang="pt-PT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Maecenas</a:t>
            </a:r>
            <a:r>
              <a:rPr lang="pt-PT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porttitor</a:t>
            </a:r>
            <a:r>
              <a:rPr lang="pt-PT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congue</a:t>
            </a:r>
            <a:r>
              <a:rPr lang="pt-PT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massa. </a:t>
            </a:r>
            <a:endParaRPr lang="pt-PT" dirty="0"/>
          </a:p>
        </p:txBody>
      </p:sp>
      <p:sp>
        <p:nvSpPr>
          <p:cNvPr id="20" name="Marcador de Posição do Texto 19">
            <a:extLst>
              <a:ext uri="{FF2B5EF4-FFF2-40B4-BE49-F238E27FC236}">
                <a16:creationId xmlns:a16="http://schemas.microsoft.com/office/drawing/2014/main" id="{562C7213-D5B3-16E8-8AD4-A6520C5EFEEE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Lorem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ipsum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dolor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sit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amet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,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consectetuer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adipiscing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elit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.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Maecenas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porttitor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congue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massa. </a:t>
            </a:r>
            <a:r>
              <a:rPr lang="pt-PT" dirty="0" err="1"/>
              <a:t>Fusce</a:t>
            </a:r>
            <a:r>
              <a:rPr lang="pt-PT" dirty="0"/>
              <a:t> </a:t>
            </a:r>
            <a:r>
              <a:rPr lang="pt-PT" dirty="0" err="1"/>
              <a:t>posuere</a:t>
            </a:r>
            <a:r>
              <a:rPr lang="pt-PT" dirty="0"/>
              <a:t>, magna </a:t>
            </a:r>
            <a:r>
              <a:rPr lang="pt-PT" dirty="0" err="1"/>
              <a:t>sed</a:t>
            </a:r>
            <a:r>
              <a:rPr lang="pt-PT" dirty="0"/>
              <a:t> pulvinar </a:t>
            </a:r>
            <a:r>
              <a:rPr lang="pt-PT" dirty="0" err="1"/>
              <a:t>ultricies</a:t>
            </a:r>
            <a:r>
              <a:rPr lang="pt-PT" dirty="0"/>
              <a:t>, purus </a:t>
            </a:r>
            <a:r>
              <a:rPr lang="pt-PT" dirty="0" err="1"/>
              <a:t>lectus</a:t>
            </a:r>
            <a:r>
              <a:rPr lang="pt-PT" dirty="0"/>
              <a:t> </a:t>
            </a:r>
            <a:r>
              <a:rPr lang="pt-PT" dirty="0" err="1"/>
              <a:t>malesuada</a:t>
            </a:r>
            <a:r>
              <a:rPr lang="pt-PT" dirty="0"/>
              <a:t> libero,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r>
              <a:rPr lang="pt-PT" dirty="0"/>
              <a:t>.</a:t>
            </a:r>
          </a:p>
        </p:txBody>
      </p:sp>
      <p:sp>
        <p:nvSpPr>
          <p:cNvPr id="21" name="Marcador de Posição do Texto 20">
            <a:extLst>
              <a:ext uri="{FF2B5EF4-FFF2-40B4-BE49-F238E27FC236}">
                <a16:creationId xmlns:a16="http://schemas.microsoft.com/office/drawing/2014/main" id="{1B23866D-689B-3B16-911E-3B92BA9362BA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/>
        <p:txBody>
          <a:bodyPr/>
          <a:lstStyle/>
          <a:p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Lorem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ipsum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dolor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sit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amet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,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consectetuer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adipiscing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elit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.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Maecenas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porttitor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congue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massa. </a:t>
            </a:r>
            <a:r>
              <a:rPr lang="pt-PT" dirty="0" err="1"/>
              <a:t>Fusce</a:t>
            </a:r>
            <a:r>
              <a:rPr lang="pt-PT" dirty="0"/>
              <a:t> </a:t>
            </a:r>
            <a:r>
              <a:rPr lang="pt-PT" dirty="0" err="1"/>
              <a:t>posuere</a:t>
            </a:r>
            <a:r>
              <a:rPr lang="pt-PT" dirty="0"/>
              <a:t>, magna </a:t>
            </a:r>
            <a:r>
              <a:rPr lang="pt-PT" dirty="0" err="1"/>
              <a:t>sed</a:t>
            </a:r>
            <a:r>
              <a:rPr lang="pt-PT" dirty="0"/>
              <a:t> pulvinar </a:t>
            </a:r>
            <a:r>
              <a:rPr lang="pt-PT" dirty="0" err="1"/>
              <a:t>ultricies</a:t>
            </a:r>
            <a:r>
              <a:rPr lang="pt-PT" dirty="0"/>
              <a:t>, purus </a:t>
            </a:r>
            <a:r>
              <a:rPr lang="pt-PT" dirty="0" err="1"/>
              <a:t>lectus</a:t>
            </a:r>
            <a:r>
              <a:rPr lang="pt-PT" dirty="0"/>
              <a:t> </a:t>
            </a:r>
            <a:r>
              <a:rPr lang="pt-PT" dirty="0" err="1"/>
              <a:t>malesuada</a:t>
            </a:r>
            <a:r>
              <a:rPr lang="pt-PT" dirty="0"/>
              <a:t> libero,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r>
              <a:rPr lang="pt-PT" dirty="0"/>
              <a:t>.</a:t>
            </a:r>
          </a:p>
        </p:txBody>
      </p:sp>
      <p:sp>
        <p:nvSpPr>
          <p:cNvPr id="22" name="Marcador de Posição do Texto 21">
            <a:extLst>
              <a:ext uri="{FF2B5EF4-FFF2-40B4-BE49-F238E27FC236}">
                <a16:creationId xmlns:a16="http://schemas.microsoft.com/office/drawing/2014/main" id="{CDB21F0B-8320-3AFB-ED52-DC8441DBE7A5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/>
        <p:txBody>
          <a:bodyPr/>
          <a:lstStyle/>
          <a:p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Lorem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ipsum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dolor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sit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amet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,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consectetuer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adipiscing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elit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.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Maecenas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porttitor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congue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massa. </a:t>
            </a:r>
            <a:r>
              <a:rPr lang="pt-PT" dirty="0" err="1"/>
              <a:t>Fusce</a:t>
            </a:r>
            <a:r>
              <a:rPr lang="pt-PT" dirty="0"/>
              <a:t> </a:t>
            </a:r>
            <a:r>
              <a:rPr lang="pt-PT" dirty="0" err="1"/>
              <a:t>posuere</a:t>
            </a:r>
            <a:r>
              <a:rPr lang="pt-PT" dirty="0"/>
              <a:t>, magna </a:t>
            </a:r>
            <a:r>
              <a:rPr lang="pt-PT" dirty="0" err="1"/>
              <a:t>sed</a:t>
            </a:r>
            <a:r>
              <a:rPr lang="pt-PT" dirty="0"/>
              <a:t> pulvinar </a:t>
            </a:r>
            <a:r>
              <a:rPr lang="pt-PT" dirty="0" err="1"/>
              <a:t>ultricies</a:t>
            </a:r>
            <a:r>
              <a:rPr lang="pt-PT" dirty="0"/>
              <a:t>, purus </a:t>
            </a:r>
            <a:r>
              <a:rPr lang="pt-PT" dirty="0" err="1"/>
              <a:t>lectus</a:t>
            </a:r>
            <a:r>
              <a:rPr lang="pt-PT" dirty="0"/>
              <a:t> </a:t>
            </a:r>
            <a:r>
              <a:rPr lang="pt-PT" dirty="0" err="1"/>
              <a:t>malesuada</a:t>
            </a:r>
            <a:r>
              <a:rPr lang="pt-PT" dirty="0"/>
              <a:t> libero,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r>
              <a:rPr lang="pt-PT" dirty="0"/>
              <a:t>.</a:t>
            </a:r>
          </a:p>
        </p:txBody>
      </p:sp>
      <p:grpSp>
        <p:nvGrpSpPr>
          <p:cNvPr id="23" name="Agrupar 22">
            <a:extLst>
              <a:ext uri="{FF2B5EF4-FFF2-40B4-BE49-F238E27FC236}">
                <a16:creationId xmlns:a16="http://schemas.microsoft.com/office/drawing/2014/main" id="{85FA0127-4130-116E-D1B5-E15AF3ADE95D}"/>
              </a:ext>
            </a:extLst>
          </p:cNvPr>
          <p:cNvGrpSpPr/>
          <p:nvPr/>
        </p:nvGrpSpPr>
        <p:grpSpPr>
          <a:xfrm>
            <a:off x="7566569" y="1777097"/>
            <a:ext cx="459831" cy="502163"/>
            <a:chOff x="6000092" y="1357908"/>
            <a:chExt cx="365300" cy="398929"/>
          </a:xfrm>
        </p:grpSpPr>
        <p:sp>
          <p:nvSpPr>
            <p:cNvPr id="24" name="Forma livre: Forma 23">
              <a:extLst>
                <a:ext uri="{FF2B5EF4-FFF2-40B4-BE49-F238E27FC236}">
                  <a16:creationId xmlns:a16="http://schemas.microsoft.com/office/drawing/2014/main" id="{7DC750E5-B286-7526-FCBC-B914E498A60D}"/>
                </a:ext>
              </a:extLst>
            </p:cNvPr>
            <p:cNvSpPr/>
            <p:nvPr/>
          </p:nvSpPr>
          <p:spPr>
            <a:xfrm>
              <a:off x="6000092" y="1418606"/>
              <a:ext cx="84058" cy="286120"/>
            </a:xfrm>
            <a:custGeom>
              <a:avLst/>
              <a:gdLst>
                <a:gd name="connsiteX0" fmla="*/ 51595 w 84058"/>
                <a:gd name="connsiteY0" fmla="*/ 0 h 286120"/>
                <a:gd name="connsiteX1" fmla="*/ 35266 w 84058"/>
                <a:gd name="connsiteY1" fmla="*/ 61674 h 286120"/>
                <a:gd name="connsiteX2" fmla="*/ 28760 w 84058"/>
                <a:gd name="connsiteY2" fmla="*/ 193415 h 286120"/>
                <a:gd name="connsiteX3" fmla="*/ 84059 w 84058"/>
                <a:gd name="connsiteY3" fmla="*/ 286121 h 2861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4058" h="286120">
                  <a:moveTo>
                    <a:pt x="51595" y="0"/>
                  </a:moveTo>
                  <a:cubicBezTo>
                    <a:pt x="37868" y="7872"/>
                    <a:pt x="26028" y="24852"/>
                    <a:pt x="35266" y="61674"/>
                  </a:cubicBezTo>
                  <a:cubicBezTo>
                    <a:pt x="35266" y="61674"/>
                    <a:pt x="-39549" y="126731"/>
                    <a:pt x="28760" y="193415"/>
                  </a:cubicBezTo>
                  <a:cubicBezTo>
                    <a:pt x="28760" y="193415"/>
                    <a:pt x="9243" y="281242"/>
                    <a:pt x="84059" y="286121"/>
                  </a:cubicBezTo>
                </a:path>
              </a:pathLst>
            </a:custGeom>
            <a:noFill/>
            <a:ln w="19050" cap="sq">
              <a:solidFill>
                <a:schemeClr val="accent1"/>
              </a:solidFill>
              <a:prstDash val="solid"/>
              <a:miter lim="800000"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25" name="Gráfico 32">
              <a:extLst>
                <a:ext uri="{FF2B5EF4-FFF2-40B4-BE49-F238E27FC236}">
                  <a16:creationId xmlns:a16="http://schemas.microsoft.com/office/drawing/2014/main" id="{77C2D1B8-05D9-8F24-3CDA-FAD379A43A0B}"/>
                </a:ext>
              </a:extLst>
            </p:cNvPr>
            <p:cNvGrpSpPr/>
            <p:nvPr/>
          </p:nvGrpSpPr>
          <p:grpSpPr>
            <a:xfrm>
              <a:off x="6061121" y="1359924"/>
              <a:ext cx="128487" cy="396366"/>
              <a:chOff x="6061121" y="1359924"/>
              <a:chExt cx="128487" cy="396366"/>
            </a:xfrm>
            <a:noFill/>
          </p:grpSpPr>
          <p:sp>
            <p:nvSpPr>
              <p:cNvPr id="40" name="Forma livre: Forma 39">
                <a:extLst>
                  <a:ext uri="{FF2B5EF4-FFF2-40B4-BE49-F238E27FC236}">
                    <a16:creationId xmlns:a16="http://schemas.microsoft.com/office/drawing/2014/main" id="{5B69349E-18EC-4807-E1B6-AC12A2039155}"/>
                  </a:ext>
                </a:extLst>
              </p:cNvPr>
              <p:cNvSpPr/>
              <p:nvPr/>
            </p:nvSpPr>
            <p:spPr>
              <a:xfrm>
                <a:off x="6083891" y="1359924"/>
                <a:ext cx="105717" cy="396366"/>
              </a:xfrm>
              <a:custGeom>
                <a:avLst/>
                <a:gdLst>
                  <a:gd name="connsiteX0" fmla="*/ 52891 w 105717"/>
                  <a:gd name="connsiteY0" fmla="*/ 105718 h 396366"/>
                  <a:gd name="connsiteX1" fmla="*/ 0 w 105717"/>
                  <a:gd name="connsiteY1" fmla="*/ 52891 h 396366"/>
                  <a:gd name="connsiteX2" fmla="*/ 52891 w 105717"/>
                  <a:gd name="connsiteY2" fmla="*/ 0 h 396366"/>
                  <a:gd name="connsiteX3" fmla="*/ 105718 w 105717"/>
                  <a:gd name="connsiteY3" fmla="*/ 52826 h 396366"/>
                  <a:gd name="connsiteX4" fmla="*/ 105718 w 105717"/>
                  <a:gd name="connsiteY4" fmla="*/ 346884 h 396366"/>
                  <a:gd name="connsiteX5" fmla="*/ 80606 w 105717"/>
                  <a:gd name="connsiteY5" fmla="*/ 388911 h 396366"/>
                  <a:gd name="connsiteX6" fmla="*/ 9238 w 105717"/>
                  <a:gd name="connsiteY6" fmla="*/ 371150 h 396366"/>
                  <a:gd name="connsiteX7" fmla="*/ 15484 w 105717"/>
                  <a:gd name="connsiteY7" fmla="*/ 309216 h 396366"/>
                  <a:gd name="connsiteX8" fmla="*/ 45019 w 105717"/>
                  <a:gd name="connsiteY8" fmla="*/ 277078 h 3963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05717" h="396366">
                    <a:moveTo>
                      <a:pt x="52891" y="105718"/>
                    </a:moveTo>
                    <a:cubicBezTo>
                      <a:pt x="23681" y="105718"/>
                      <a:pt x="0" y="82037"/>
                      <a:pt x="0" y="52891"/>
                    </a:cubicBezTo>
                    <a:cubicBezTo>
                      <a:pt x="0" y="23746"/>
                      <a:pt x="23681" y="0"/>
                      <a:pt x="52891" y="0"/>
                    </a:cubicBezTo>
                    <a:cubicBezTo>
                      <a:pt x="82102" y="0"/>
                      <a:pt x="105718" y="23681"/>
                      <a:pt x="105718" y="52826"/>
                    </a:cubicBezTo>
                    <a:lnTo>
                      <a:pt x="105718" y="346884"/>
                    </a:lnTo>
                    <a:cubicBezTo>
                      <a:pt x="105718" y="364580"/>
                      <a:pt x="96414" y="379413"/>
                      <a:pt x="80606" y="388911"/>
                    </a:cubicBezTo>
                    <a:cubicBezTo>
                      <a:pt x="55949" y="403744"/>
                      <a:pt x="24006" y="395742"/>
                      <a:pt x="9238" y="371150"/>
                    </a:cubicBezTo>
                    <a:cubicBezTo>
                      <a:pt x="-2928" y="350918"/>
                      <a:pt x="260" y="325741"/>
                      <a:pt x="15484" y="309216"/>
                    </a:cubicBezTo>
                    <a:lnTo>
                      <a:pt x="45019" y="277078"/>
                    </a:lnTo>
                  </a:path>
                </a:pathLst>
              </a:custGeom>
              <a:noFill/>
              <a:ln w="19050" cap="sq">
                <a:solidFill>
                  <a:schemeClr val="accent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1" name="Forma livre: Forma 40">
                <a:extLst>
                  <a:ext uri="{FF2B5EF4-FFF2-40B4-BE49-F238E27FC236}">
                    <a16:creationId xmlns:a16="http://schemas.microsoft.com/office/drawing/2014/main" id="{23FFAC4E-7087-C526-A380-DF643636B1F2}"/>
                  </a:ext>
                </a:extLst>
              </p:cNvPr>
              <p:cNvSpPr/>
              <p:nvPr/>
            </p:nvSpPr>
            <p:spPr>
              <a:xfrm>
                <a:off x="6144784" y="1383865"/>
                <a:ext cx="41563" cy="38963"/>
              </a:xfrm>
              <a:custGeom>
                <a:avLst/>
                <a:gdLst>
                  <a:gd name="connsiteX0" fmla="*/ 36172 w 41563"/>
                  <a:gd name="connsiteY0" fmla="*/ 0 h 38963"/>
                  <a:gd name="connsiteX1" fmla="*/ 39425 w 41563"/>
                  <a:gd name="connsiteY1" fmla="*/ 24266 h 38963"/>
                  <a:gd name="connsiteX2" fmla="*/ 36432 w 41563"/>
                  <a:gd name="connsiteY2" fmla="*/ 29080 h 38963"/>
                  <a:gd name="connsiteX3" fmla="*/ 0 w 41563"/>
                  <a:gd name="connsiteY3" fmla="*/ 33439 h 389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563" h="38963">
                    <a:moveTo>
                      <a:pt x="36172" y="0"/>
                    </a:moveTo>
                    <a:cubicBezTo>
                      <a:pt x="41571" y="7547"/>
                      <a:pt x="43393" y="16004"/>
                      <a:pt x="39425" y="24266"/>
                    </a:cubicBezTo>
                    <a:cubicBezTo>
                      <a:pt x="38644" y="25893"/>
                      <a:pt x="37603" y="27519"/>
                      <a:pt x="36432" y="29080"/>
                    </a:cubicBezTo>
                    <a:cubicBezTo>
                      <a:pt x="27584" y="40270"/>
                      <a:pt x="11190" y="42287"/>
                      <a:pt x="0" y="33439"/>
                    </a:cubicBezTo>
                  </a:path>
                </a:pathLst>
              </a:custGeom>
              <a:noFill/>
              <a:ln w="19050" cap="sq">
                <a:solidFill>
                  <a:schemeClr val="accent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2" name="Forma livre: Forma 41">
                <a:extLst>
                  <a:ext uri="{FF2B5EF4-FFF2-40B4-BE49-F238E27FC236}">
                    <a16:creationId xmlns:a16="http://schemas.microsoft.com/office/drawing/2014/main" id="{CC02927A-7C38-8CA3-29B6-7F5B80DFB2BF}"/>
                  </a:ext>
                </a:extLst>
              </p:cNvPr>
              <p:cNvSpPr/>
              <p:nvPr/>
            </p:nvSpPr>
            <p:spPr>
              <a:xfrm>
                <a:off x="6081487" y="1460806"/>
                <a:ext cx="34217" cy="54474"/>
              </a:xfrm>
              <a:custGeom>
                <a:avLst/>
                <a:gdLst>
                  <a:gd name="connsiteX0" fmla="*/ 21076 w 34217"/>
                  <a:gd name="connsiteY0" fmla="*/ 54475 h 54474"/>
                  <a:gd name="connsiteX1" fmla="*/ 778 w 34217"/>
                  <a:gd name="connsiteY1" fmla="*/ 21035 h 54474"/>
                  <a:gd name="connsiteX2" fmla="*/ 34217 w 34217"/>
                  <a:gd name="connsiteY2" fmla="*/ 803 h 544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4217" h="54474">
                    <a:moveTo>
                      <a:pt x="21076" y="54475"/>
                    </a:moveTo>
                    <a:cubicBezTo>
                      <a:pt x="6308" y="50832"/>
                      <a:pt x="-2800" y="35803"/>
                      <a:pt x="778" y="21035"/>
                    </a:cubicBezTo>
                    <a:cubicBezTo>
                      <a:pt x="4421" y="6267"/>
                      <a:pt x="19449" y="-2841"/>
                      <a:pt x="34217" y="803"/>
                    </a:cubicBezTo>
                  </a:path>
                </a:pathLst>
              </a:custGeom>
              <a:noFill/>
              <a:ln w="19050" cap="sq">
                <a:solidFill>
                  <a:schemeClr val="accent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3" name="Forma livre: Forma 42">
                <a:extLst>
                  <a:ext uri="{FF2B5EF4-FFF2-40B4-BE49-F238E27FC236}">
                    <a16:creationId xmlns:a16="http://schemas.microsoft.com/office/drawing/2014/main" id="{E29607EA-F515-EFE6-5CB3-ABE34112126D}"/>
                  </a:ext>
                </a:extLst>
              </p:cNvPr>
              <p:cNvSpPr/>
              <p:nvPr/>
            </p:nvSpPr>
            <p:spPr>
              <a:xfrm>
                <a:off x="6073547" y="1527543"/>
                <a:ext cx="114760" cy="72506"/>
              </a:xfrm>
              <a:custGeom>
                <a:avLst/>
                <a:gdLst>
                  <a:gd name="connsiteX0" fmla="*/ 114760 w 114760"/>
                  <a:gd name="connsiteY0" fmla="*/ 7254 h 72506"/>
                  <a:gd name="connsiteX1" fmla="*/ 73905 w 114760"/>
                  <a:gd name="connsiteY1" fmla="*/ 8881 h 72506"/>
                  <a:gd name="connsiteX2" fmla="*/ 0 w 114760"/>
                  <a:gd name="connsiteY2" fmla="*/ 72506 h 725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14760" h="72506">
                    <a:moveTo>
                      <a:pt x="114760" y="7254"/>
                    </a:moveTo>
                    <a:cubicBezTo>
                      <a:pt x="103375" y="-2830"/>
                      <a:pt x="83989" y="-2504"/>
                      <a:pt x="73905" y="8881"/>
                    </a:cubicBezTo>
                    <a:cubicBezTo>
                      <a:pt x="73905" y="8881"/>
                      <a:pt x="31488" y="72506"/>
                      <a:pt x="0" y="72506"/>
                    </a:cubicBezTo>
                  </a:path>
                </a:pathLst>
              </a:custGeom>
              <a:noFill/>
              <a:ln w="19050" cap="sq">
                <a:solidFill>
                  <a:schemeClr val="accent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4" name="Forma livre: Forma 43">
                <a:extLst>
                  <a:ext uri="{FF2B5EF4-FFF2-40B4-BE49-F238E27FC236}">
                    <a16:creationId xmlns:a16="http://schemas.microsoft.com/office/drawing/2014/main" id="{886FEAE9-538F-CDEC-5C04-2BDF0EA5D405}"/>
                  </a:ext>
                </a:extLst>
              </p:cNvPr>
              <p:cNvSpPr/>
              <p:nvPr/>
            </p:nvSpPr>
            <p:spPr>
              <a:xfrm>
                <a:off x="6079857" y="1646956"/>
                <a:ext cx="29405" cy="9823"/>
              </a:xfrm>
              <a:custGeom>
                <a:avLst/>
                <a:gdLst>
                  <a:gd name="connsiteX0" fmla="*/ 0 w 29405"/>
                  <a:gd name="connsiteY0" fmla="*/ 0 h 9823"/>
                  <a:gd name="connsiteX1" fmla="*/ 29406 w 29405"/>
                  <a:gd name="connsiteY1" fmla="*/ 9824 h 98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9405" h="9823">
                    <a:moveTo>
                      <a:pt x="0" y="0"/>
                    </a:moveTo>
                    <a:lnTo>
                      <a:pt x="29406" y="9824"/>
                    </a:lnTo>
                  </a:path>
                </a:pathLst>
              </a:custGeom>
              <a:ln w="19050" cap="sq">
                <a:solidFill>
                  <a:schemeClr val="accent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5" name="Forma livre: Forma 44">
                <a:extLst>
                  <a:ext uri="{FF2B5EF4-FFF2-40B4-BE49-F238E27FC236}">
                    <a16:creationId xmlns:a16="http://schemas.microsoft.com/office/drawing/2014/main" id="{3E638202-7997-440E-13CC-197D70ECB2AD}"/>
                  </a:ext>
                </a:extLst>
              </p:cNvPr>
              <p:cNvSpPr/>
              <p:nvPr/>
            </p:nvSpPr>
            <p:spPr>
              <a:xfrm>
                <a:off x="6061121" y="1545272"/>
                <a:ext cx="47166" cy="34154"/>
              </a:xfrm>
              <a:custGeom>
                <a:avLst/>
                <a:gdLst>
                  <a:gd name="connsiteX0" fmla="*/ 0 w 47166"/>
                  <a:gd name="connsiteY0" fmla="*/ 0 h 34154"/>
                  <a:gd name="connsiteX1" fmla="*/ 47166 w 47166"/>
                  <a:gd name="connsiteY1" fmla="*/ 34155 h 341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166" h="34154">
                    <a:moveTo>
                      <a:pt x="0" y="0"/>
                    </a:moveTo>
                    <a:cubicBezTo>
                      <a:pt x="0" y="0"/>
                      <a:pt x="27649" y="13011"/>
                      <a:pt x="47166" y="34155"/>
                    </a:cubicBezTo>
                  </a:path>
                </a:pathLst>
              </a:custGeom>
              <a:noFill/>
              <a:ln w="19050" cap="sq">
                <a:solidFill>
                  <a:schemeClr val="accent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26" name="Gráfico 32">
              <a:extLst>
                <a:ext uri="{FF2B5EF4-FFF2-40B4-BE49-F238E27FC236}">
                  <a16:creationId xmlns:a16="http://schemas.microsoft.com/office/drawing/2014/main" id="{DDD70EC3-437F-E110-CF30-5CE931A3B076}"/>
                </a:ext>
              </a:extLst>
            </p:cNvPr>
            <p:cNvGrpSpPr/>
            <p:nvPr/>
          </p:nvGrpSpPr>
          <p:grpSpPr>
            <a:xfrm>
              <a:off x="6191625" y="1599725"/>
              <a:ext cx="173767" cy="157112"/>
              <a:chOff x="6191625" y="1599725"/>
              <a:chExt cx="173767" cy="157112"/>
            </a:xfrm>
            <a:noFill/>
          </p:grpSpPr>
          <p:sp>
            <p:nvSpPr>
              <p:cNvPr id="36" name="Forma livre: Forma 35">
                <a:extLst>
                  <a:ext uri="{FF2B5EF4-FFF2-40B4-BE49-F238E27FC236}">
                    <a16:creationId xmlns:a16="http://schemas.microsoft.com/office/drawing/2014/main" id="{7F8DE0DC-C61A-8491-84AC-C9AAF7172689}"/>
                  </a:ext>
                </a:extLst>
              </p:cNvPr>
              <p:cNvSpPr/>
              <p:nvPr/>
            </p:nvSpPr>
            <p:spPr>
              <a:xfrm>
                <a:off x="6310094" y="1621974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accent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7" name="Forma livre: Forma 36">
                <a:extLst>
                  <a:ext uri="{FF2B5EF4-FFF2-40B4-BE49-F238E27FC236}">
                    <a16:creationId xmlns:a16="http://schemas.microsoft.com/office/drawing/2014/main" id="{502668EB-2A46-8EAC-1BD5-E008C528E3E7}"/>
                  </a:ext>
                </a:extLst>
              </p:cNvPr>
              <p:cNvSpPr/>
              <p:nvPr/>
            </p:nvSpPr>
            <p:spPr>
              <a:xfrm>
                <a:off x="6191625" y="1599725"/>
                <a:ext cx="118078" cy="49898"/>
              </a:xfrm>
              <a:custGeom>
                <a:avLst/>
                <a:gdLst>
                  <a:gd name="connsiteX0" fmla="*/ 0 w 118078"/>
                  <a:gd name="connsiteY0" fmla="*/ 0 h 49898"/>
                  <a:gd name="connsiteX1" fmla="*/ 37343 w 118078"/>
                  <a:gd name="connsiteY1" fmla="*/ 0 h 49898"/>
                  <a:gd name="connsiteX2" fmla="*/ 87176 w 118078"/>
                  <a:gd name="connsiteY2" fmla="*/ 49899 h 49898"/>
                  <a:gd name="connsiteX3" fmla="*/ 118078 w 118078"/>
                  <a:gd name="connsiteY3" fmla="*/ 49899 h 49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8078" h="49898">
                    <a:moveTo>
                      <a:pt x="0" y="0"/>
                    </a:moveTo>
                    <a:lnTo>
                      <a:pt x="37343" y="0"/>
                    </a:lnTo>
                    <a:lnTo>
                      <a:pt x="87176" y="49899"/>
                    </a:lnTo>
                    <a:lnTo>
                      <a:pt x="118078" y="49899"/>
                    </a:lnTo>
                  </a:path>
                </a:pathLst>
              </a:custGeom>
              <a:noFill/>
              <a:ln w="19050" cap="sq">
                <a:solidFill>
                  <a:schemeClr val="accent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8" name="Forma livre: Forma 37">
                <a:extLst>
                  <a:ext uri="{FF2B5EF4-FFF2-40B4-BE49-F238E27FC236}">
                    <a16:creationId xmlns:a16="http://schemas.microsoft.com/office/drawing/2014/main" id="{B14F330C-FA03-557A-6B20-034C7699230F}"/>
                  </a:ext>
                </a:extLst>
              </p:cNvPr>
              <p:cNvSpPr/>
              <p:nvPr/>
            </p:nvSpPr>
            <p:spPr>
              <a:xfrm>
                <a:off x="6191625" y="1665367"/>
                <a:ext cx="81906" cy="44108"/>
              </a:xfrm>
              <a:custGeom>
                <a:avLst/>
                <a:gdLst>
                  <a:gd name="connsiteX0" fmla="*/ 0 w 81906"/>
                  <a:gd name="connsiteY0" fmla="*/ 0 h 44108"/>
                  <a:gd name="connsiteX1" fmla="*/ 37343 w 81906"/>
                  <a:gd name="connsiteY1" fmla="*/ 0 h 44108"/>
                  <a:gd name="connsiteX2" fmla="*/ 81907 w 81906"/>
                  <a:gd name="connsiteY2" fmla="*/ 44109 h 441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1906" h="44108">
                    <a:moveTo>
                      <a:pt x="0" y="0"/>
                    </a:moveTo>
                    <a:lnTo>
                      <a:pt x="37343" y="0"/>
                    </a:lnTo>
                    <a:lnTo>
                      <a:pt x="81907" y="44109"/>
                    </a:lnTo>
                  </a:path>
                </a:pathLst>
              </a:custGeom>
              <a:noFill/>
              <a:ln w="19050" cap="sq">
                <a:solidFill>
                  <a:schemeClr val="accent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9" name="Forma livre: Forma 38">
                <a:extLst>
                  <a:ext uri="{FF2B5EF4-FFF2-40B4-BE49-F238E27FC236}">
                    <a16:creationId xmlns:a16="http://schemas.microsoft.com/office/drawing/2014/main" id="{71E9C449-47AC-E213-D567-0D5ECFAF2034}"/>
                  </a:ext>
                </a:extLst>
              </p:cNvPr>
              <p:cNvSpPr/>
              <p:nvPr/>
            </p:nvSpPr>
            <p:spPr>
              <a:xfrm>
                <a:off x="6265075" y="1701539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accent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27" name="Gráfico 32">
              <a:extLst>
                <a:ext uri="{FF2B5EF4-FFF2-40B4-BE49-F238E27FC236}">
                  <a16:creationId xmlns:a16="http://schemas.microsoft.com/office/drawing/2014/main" id="{4A059F20-0828-C27C-126E-11C5733A4A9B}"/>
                </a:ext>
              </a:extLst>
            </p:cNvPr>
            <p:cNvGrpSpPr/>
            <p:nvPr/>
          </p:nvGrpSpPr>
          <p:grpSpPr>
            <a:xfrm>
              <a:off x="6191625" y="1357908"/>
              <a:ext cx="173767" cy="157112"/>
              <a:chOff x="6191625" y="1357908"/>
              <a:chExt cx="173767" cy="157112"/>
            </a:xfrm>
            <a:noFill/>
          </p:grpSpPr>
          <p:sp>
            <p:nvSpPr>
              <p:cNvPr id="32" name="Forma livre: Forma 31">
                <a:extLst>
                  <a:ext uri="{FF2B5EF4-FFF2-40B4-BE49-F238E27FC236}">
                    <a16:creationId xmlns:a16="http://schemas.microsoft.com/office/drawing/2014/main" id="{2E67B743-6630-80FF-D022-73ED58F62358}"/>
                  </a:ext>
                </a:extLst>
              </p:cNvPr>
              <p:cNvSpPr/>
              <p:nvPr/>
            </p:nvSpPr>
            <p:spPr>
              <a:xfrm>
                <a:off x="6310094" y="1437472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0 h 55298"/>
                  <a:gd name="connsiteX2" fmla="*/ 0 w 55298"/>
                  <a:gd name="connsiteY2" fmla="*/ 27649 h 55298"/>
                  <a:gd name="connsiteX3" fmla="*/ 27649 w 55298"/>
                  <a:gd name="connsiteY3" fmla="*/ 55298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12361"/>
                      <a:pt x="42938" y="0"/>
                      <a:pt x="27649" y="0"/>
                    </a:cubicBezTo>
                    <a:cubicBezTo>
                      <a:pt x="12361" y="0"/>
                      <a:pt x="0" y="12361"/>
                      <a:pt x="0" y="27649"/>
                    </a:cubicBezTo>
                    <a:cubicBezTo>
                      <a:pt x="0" y="42938"/>
                      <a:pt x="12361" y="55298"/>
                      <a:pt x="27649" y="55298"/>
                    </a:cubicBezTo>
                    <a:cubicBezTo>
                      <a:pt x="42938" y="55298"/>
                      <a:pt x="55298" y="42938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accent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3" name="Forma livre: Forma 32">
                <a:extLst>
                  <a:ext uri="{FF2B5EF4-FFF2-40B4-BE49-F238E27FC236}">
                    <a16:creationId xmlns:a16="http://schemas.microsoft.com/office/drawing/2014/main" id="{FA80484A-0109-1947-BEAF-228EF23641DE}"/>
                  </a:ext>
                </a:extLst>
              </p:cNvPr>
              <p:cNvSpPr/>
              <p:nvPr/>
            </p:nvSpPr>
            <p:spPr>
              <a:xfrm>
                <a:off x="6191625" y="1465122"/>
                <a:ext cx="118468" cy="49898"/>
              </a:xfrm>
              <a:custGeom>
                <a:avLst/>
                <a:gdLst>
                  <a:gd name="connsiteX0" fmla="*/ 0 w 118468"/>
                  <a:gd name="connsiteY0" fmla="*/ 49899 h 49898"/>
                  <a:gd name="connsiteX1" fmla="*/ 37343 w 118468"/>
                  <a:gd name="connsiteY1" fmla="*/ 49899 h 49898"/>
                  <a:gd name="connsiteX2" fmla="*/ 87176 w 118468"/>
                  <a:gd name="connsiteY2" fmla="*/ 0 h 49898"/>
                  <a:gd name="connsiteX3" fmla="*/ 118469 w 118468"/>
                  <a:gd name="connsiteY3" fmla="*/ 0 h 49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8468" h="49898">
                    <a:moveTo>
                      <a:pt x="0" y="49899"/>
                    </a:moveTo>
                    <a:lnTo>
                      <a:pt x="37343" y="49899"/>
                    </a:lnTo>
                    <a:lnTo>
                      <a:pt x="87176" y="0"/>
                    </a:lnTo>
                    <a:lnTo>
                      <a:pt x="118469" y="0"/>
                    </a:lnTo>
                  </a:path>
                </a:pathLst>
              </a:custGeom>
              <a:noFill/>
              <a:ln w="19050" cap="sq">
                <a:solidFill>
                  <a:schemeClr val="accent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4" name="Forma livre: Forma 33">
                <a:extLst>
                  <a:ext uri="{FF2B5EF4-FFF2-40B4-BE49-F238E27FC236}">
                    <a16:creationId xmlns:a16="http://schemas.microsoft.com/office/drawing/2014/main" id="{C8B4D245-06C8-A7F6-7199-0BB51CE8D2A6}"/>
                  </a:ext>
                </a:extLst>
              </p:cNvPr>
              <p:cNvSpPr/>
              <p:nvPr/>
            </p:nvSpPr>
            <p:spPr>
              <a:xfrm>
                <a:off x="6191625" y="1405269"/>
                <a:ext cx="81451" cy="44043"/>
              </a:xfrm>
              <a:custGeom>
                <a:avLst/>
                <a:gdLst>
                  <a:gd name="connsiteX0" fmla="*/ 0 w 81451"/>
                  <a:gd name="connsiteY0" fmla="*/ 44044 h 44043"/>
                  <a:gd name="connsiteX1" fmla="*/ 37343 w 81451"/>
                  <a:gd name="connsiteY1" fmla="*/ 44044 h 44043"/>
                  <a:gd name="connsiteX2" fmla="*/ 81451 w 81451"/>
                  <a:gd name="connsiteY2" fmla="*/ 0 h 440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1451" h="44043">
                    <a:moveTo>
                      <a:pt x="0" y="44044"/>
                    </a:moveTo>
                    <a:lnTo>
                      <a:pt x="37343" y="44044"/>
                    </a:lnTo>
                    <a:lnTo>
                      <a:pt x="81451" y="0"/>
                    </a:lnTo>
                  </a:path>
                </a:pathLst>
              </a:custGeom>
              <a:noFill/>
              <a:ln w="19050" cap="sq">
                <a:solidFill>
                  <a:schemeClr val="accent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5" name="Forma livre: Forma 34">
                <a:extLst>
                  <a:ext uri="{FF2B5EF4-FFF2-40B4-BE49-F238E27FC236}">
                    <a16:creationId xmlns:a16="http://schemas.microsoft.com/office/drawing/2014/main" id="{AA8F2B79-1AF4-8CC8-E6D4-4D109EE713D6}"/>
                  </a:ext>
                </a:extLst>
              </p:cNvPr>
              <p:cNvSpPr/>
              <p:nvPr/>
            </p:nvSpPr>
            <p:spPr>
              <a:xfrm>
                <a:off x="6265075" y="1357908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0 h 55298"/>
                  <a:gd name="connsiteX2" fmla="*/ 0 w 55298"/>
                  <a:gd name="connsiteY2" fmla="*/ 27649 h 55298"/>
                  <a:gd name="connsiteX3" fmla="*/ 27649 w 55298"/>
                  <a:gd name="connsiteY3" fmla="*/ 55298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12361"/>
                      <a:pt x="42938" y="0"/>
                      <a:pt x="27649" y="0"/>
                    </a:cubicBezTo>
                    <a:cubicBezTo>
                      <a:pt x="12361" y="0"/>
                      <a:pt x="0" y="12361"/>
                      <a:pt x="0" y="27649"/>
                    </a:cubicBezTo>
                    <a:cubicBezTo>
                      <a:pt x="0" y="42938"/>
                      <a:pt x="12361" y="55298"/>
                      <a:pt x="27649" y="55298"/>
                    </a:cubicBezTo>
                    <a:cubicBezTo>
                      <a:pt x="42938" y="55298"/>
                      <a:pt x="55298" y="42938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accent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28" name="Gráfico 32">
              <a:extLst>
                <a:ext uri="{FF2B5EF4-FFF2-40B4-BE49-F238E27FC236}">
                  <a16:creationId xmlns:a16="http://schemas.microsoft.com/office/drawing/2014/main" id="{96E82226-6176-7E75-685B-58D17A051982}"/>
                </a:ext>
              </a:extLst>
            </p:cNvPr>
            <p:cNvGrpSpPr/>
            <p:nvPr/>
          </p:nvGrpSpPr>
          <p:grpSpPr>
            <a:xfrm>
              <a:off x="6190910" y="1529723"/>
              <a:ext cx="123673" cy="55298"/>
              <a:chOff x="6190910" y="1529723"/>
              <a:chExt cx="123673" cy="55298"/>
            </a:xfrm>
            <a:noFill/>
          </p:grpSpPr>
          <p:sp>
            <p:nvSpPr>
              <p:cNvPr id="30" name="Forma livre: Forma 29">
                <a:extLst>
                  <a:ext uri="{FF2B5EF4-FFF2-40B4-BE49-F238E27FC236}">
                    <a16:creationId xmlns:a16="http://schemas.microsoft.com/office/drawing/2014/main" id="{2A9E65C4-5391-7C41-6D48-6136788B6229}"/>
                  </a:ext>
                </a:extLst>
              </p:cNvPr>
              <p:cNvSpPr/>
              <p:nvPr/>
            </p:nvSpPr>
            <p:spPr>
              <a:xfrm>
                <a:off x="6190910" y="1557372"/>
                <a:ext cx="68765" cy="6505"/>
              </a:xfrm>
              <a:custGeom>
                <a:avLst/>
                <a:gdLst>
                  <a:gd name="connsiteX0" fmla="*/ 0 w 68765"/>
                  <a:gd name="connsiteY0" fmla="*/ 0 h 6505"/>
                  <a:gd name="connsiteX1" fmla="*/ 68765 w 68765"/>
                  <a:gd name="connsiteY1" fmla="*/ 0 h 65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8765" h="6505">
                    <a:moveTo>
                      <a:pt x="0" y="0"/>
                    </a:moveTo>
                    <a:lnTo>
                      <a:pt x="68765" y="0"/>
                    </a:lnTo>
                  </a:path>
                </a:pathLst>
              </a:custGeom>
              <a:ln w="19050" cap="sq">
                <a:solidFill>
                  <a:schemeClr val="accent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1" name="Forma livre: Forma 30">
                <a:extLst>
                  <a:ext uri="{FF2B5EF4-FFF2-40B4-BE49-F238E27FC236}">
                    <a16:creationId xmlns:a16="http://schemas.microsoft.com/office/drawing/2014/main" id="{48623E48-C101-EAC2-7282-D06E6D371249}"/>
                  </a:ext>
                </a:extLst>
              </p:cNvPr>
              <p:cNvSpPr/>
              <p:nvPr/>
            </p:nvSpPr>
            <p:spPr>
              <a:xfrm>
                <a:off x="6259285" y="1529723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accent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29" name="Forma livre: Forma 28">
              <a:extLst>
                <a:ext uri="{FF2B5EF4-FFF2-40B4-BE49-F238E27FC236}">
                  <a16:creationId xmlns:a16="http://schemas.microsoft.com/office/drawing/2014/main" id="{99D25480-08A4-B21D-9941-79DF8F48DFB8}"/>
                </a:ext>
              </a:extLst>
            </p:cNvPr>
            <p:cNvSpPr/>
            <p:nvPr/>
          </p:nvSpPr>
          <p:spPr>
            <a:xfrm>
              <a:off x="6152201" y="1686285"/>
              <a:ext cx="37362" cy="20848"/>
            </a:xfrm>
            <a:custGeom>
              <a:avLst/>
              <a:gdLst>
                <a:gd name="connsiteX0" fmla="*/ 0 w 37362"/>
                <a:gd name="connsiteY0" fmla="*/ 10505 h 20848"/>
                <a:gd name="connsiteX1" fmla="*/ 27064 w 37362"/>
                <a:gd name="connsiteY1" fmla="*/ 2373 h 20848"/>
                <a:gd name="connsiteX2" fmla="*/ 37343 w 37362"/>
                <a:gd name="connsiteY2" fmla="*/ 20849 h 20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7362" h="20848">
                  <a:moveTo>
                    <a:pt x="0" y="10505"/>
                  </a:moveTo>
                  <a:cubicBezTo>
                    <a:pt x="5205" y="811"/>
                    <a:pt x="17435" y="-2832"/>
                    <a:pt x="27064" y="2373"/>
                  </a:cubicBezTo>
                  <a:cubicBezTo>
                    <a:pt x="34025" y="6081"/>
                    <a:pt x="37668" y="13432"/>
                    <a:pt x="37343" y="20849"/>
                  </a:cubicBezTo>
                </a:path>
              </a:pathLst>
            </a:custGeom>
            <a:noFill/>
            <a:ln w="19050" cap="sq">
              <a:solidFill>
                <a:schemeClr val="accent1"/>
              </a:solidFill>
              <a:prstDash val="solid"/>
              <a:miter lim="800000"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46" name="Agrupar 45">
            <a:extLst>
              <a:ext uri="{FF2B5EF4-FFF2-40B4-BE49-F238E27FC236}">
                <a16:creationId xmlns:a16="http://schemas.microsoft.com/office/drawing/2014/main" id="{C1711B42-8D77-CCB2-20BD-DDB6FF419541}"/>
              </a:ext>
            </a:extLst>
          </p:cNvPr>
          <p:cNvGrpSpPr/>
          <p:nvPr/>
        </p:nvGrpSpPr>
        <p:grpSpPr>
          <a:xfrm>
            <a:off x="7566569" y="3429000"/>
            <a:ext cx="459831" cy="502163"/>
            <a:chOff x="6000092" y="1357908"/>
            <a:chExt cx="365300" cy="398929"/>
          </a:xfrm>
        </p:grpSpPr>
        <p:sp>
          <p:nvSpPr>
            <p:cNvPr id="47" name="Forma livre: Forma 46">
              <a:extLst>
                <a:ext uri="{FF2B5EF4-FFF2-40B4-BE49-F238E27FC236}">
                  <a16:creationId xmlns:a16="http://schemas.microsoft.com/office/drawing/2014/main" id="{FC869520-D2FB-4969-3A6F-96C4809C4003}"/>
                </a:ext>
              </a:extLst>
            </p:cNvPr>
            <p:cNvSpPr/>
            <p:nvPr/>
          </p:nvSpPr>
          <p:spPr>
            <a:xfrm>
              <a:off x="6000092" y="1418606"/>
              <a:ext cx="84058" cy="286120"/>
            </a:xfrm>
            <a:custGeom>
              <a:avLst/>
              <a:gdLst>
                <a:gd name="connsiteX0" fmla="*/ 51595 w 84058"/>
                <a:gd name="connsiteY0" fmla="*/ 0 h 286120"/>
                <a:gd name="connsiteX1" fmla="*/ 35266 w 84058"/>
                <a:gd name="connsiteY1" fmla="*/ 61674 h 286120"/>
                <a:gd name="connsiteX2" fmla="*/ 28760 w 84058"/>
                <a:gd name="connsiteY2" fmla="*/ 193415 h 286120"/>
                <a:gd name="connsiteX3" fmla="*/ 84059 w 84058"/>
                <a:gd name="connsiteY3" fmla="*/ 286121 h 2861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4058" h="286120">
                  <a:moveTo>
                    <a:pt x="51595" y="0"/>
                  </a:moveTo>
                  <a:cubicBezTo>
                    <a:pt x="37868" y="7872"/>
                    <a:pt x="26028" y="24852"/>
                    <a:pt x="35266" y="61674"/>
                  </a:cubicBezTo>
                  <a:cubicBezTo>
                    <a:pt x="35266" y="61674"/>
                    <a:pt x="-39549" y="126731"/>
                    <a:pt x="28760" y="193415"/>
                  </a:cubicBezTo>
                  <a:cubicBezTo>
                    <a:pt x="28760" y="193415"/>
                    <a:pt x="9243" y="281242"/>
                    <a:pt x="84059" y="286121"/>
                  </a:cubicBezTo>
                </a:path>
              </a:pathLst>
            </a:custGeom>
            <a:noFill/>
            <a:ln w="19050" cap="sq">
              <a:solidFill>
                <a:schemeClr val="accent1"/>
              </a:solidFill>
              <a:prstDash val="solid"/>
              <a:miter lim="800000"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48" name="Gráfico 32">
              <a:extLst>
                <a:ext uri="{FF2B5EF4-FFF2-40B4-BE49-F238E27FC236}">
                  <a16:creationId xmlns:a16="http://schemas.microsoft.com/office/drawing/2014/main" id="{5DBF0446-B9C1-4F3D-E4DA-A85C55349037}"/>
                </a:ext>
              </a:extLst>
            </p:cNvPr>
            <p:cNvGrpSpPr/>
            <p:nvPr/>
          </p:nvGrpSpPr>
          <p:grpSpPr>
            <a:xfrm>
              <a:off x="6061121" y="1359924"/>
              <a:ext cx="128487" cy="396366"/>
              <a:chOff x="6061121" y="1359924"/>
              <a:chExt cx="128487" cy="396366"/>
            </a:xfrm>
            <a:noFill/>
          </p:grpSpPr>
          <p:sp>
            <p:nvSpPr>
              <p:cNvPr id="63" name="Forma livre: Forma 62">
                <a:extLst>
                  <a:ext uri="{FF2B5EF4-FFF2-40B4-BE49-F238E27FC236}">
                    <a16:creationId xmlns:a16="http://schemas.microsoft.com/office/drawing/2014/main" id="{D384FE5E-08D4-A9CF-7803-3C61E3CDD7D8}"/>
                  </a:ext>
                </a:extLst>
              </p:cNvPr>
              <p:cNvSpPr/>
              <p:nvPr/>
            </p:nvSpPr>
            <p:spPr>
              <a:xfrm>
                <a:off x="6083891" y="1359924"/>
                <a:ext cx="105717" cy="396366"/>
              </a:xfrm>
              <a:custGeom>
                <a:avLst/>
                <a:gdLst>
                  <a:gd name="connsiteX0" fmla="*/ 52891 w 105717"/>
                  <a:gd name="connsiteY0" fmla="*/ 105718 h 396366"/>
                  <a:gd name="connsiteX1" fmla="*/ 0 w 105717"/>
                  <a:gd name="connsiteY1" fmla="*/ 52891 h 396366"/>
                  <a:gd name="connsiteX2" fmla="*/ 52891 w 105717"/>
                  <a:gd name="connsiteY2" fmla="*/ 0 h 396366"/>
                  <a:gd name="connsiteX3" fmla="*/ 105718 w 105717"/>
                  <a:gd name="connsiteY3" fmla="*/ 52826 h 396366"/>
                  <a:gd name="connsiteX4" fmla="*/ 105718 w 105717"/>
                  <a:gd name="connsiteY4" fmla="*/ 346884 h 396366"/>
                  <a:gd name="connsiteX5" fmla="*/ 80606 w 105717"/>
                  <a:gd name="connsiteY5" fmla="*/ 388911 h 396366"/>
                  <a:gd name="connsiteX6" fmla="*/ 9238 w 105717"/>
                  <a:gd name="connsiteY6" fmla="*/ 371150 h 396366"/>
                  <a:gd name="connsiteX7" fmla="*/ 15484 w 105717"/>
                  <a:gd name="connsiteY7" fmla="*/ 309216 h 396366"/>
                  <a:gd name="connsiteX8" fmla="*/ 45019 w 105717"/>
                  <a:gd name="connsiteY8" fmla="*/ 277078 h 3963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05717" h="396366">
                    <a:moveTo>
                      <a:pt x="52891" y="105718"/>
                    </a:moveTo>
                    <a:cubicBezTo>
                      <a:pt x="23681" y="105718"/>
                      <a:pt x="0" y="82037"/>
                      <a:pt x="0" y="52891"/>
                    </a:cubicBezTo>
                    <a:cubicBezTo>
                      <a:pt x="0" y="23746"/>
                      <a:pt x="23681" y="0"/>
                      <a:pt x="52891" y="0"/>
                    </a:cubicBezTo>
                    <a:cubicBezTo>
                      <a:pt x="82102" y="0"/>
                      <a:pt x="105718" y="23681"/>
                      <a:pt x="105718" y="52826"/>
                    </a:cubicBezTo>
                    <a:lnTo>
                      <a:pt x="105718" y="346884"/>
                    </a:lnTo>
                    <a:cubicBezTo>
                      <a:pt x="105718" y="364580"/>
                      <a:pt x="96414" y="379413"/>
                      <a:pt x="80606" y="388911"/>
                    </a:cubicBezTo>
                    <a:cubicBezTo>
                      <a:pt x="55949" y="403744"/>
                      <a:pt x="24006" y="395742"/>
                      <a:pt x="9238" y="371150"/>
                    </a:cubicBezTo>
                    <a:cubicBezTo>
                      <a:pt x="-2928" y="350918"/>
                      <a:pt x="260" y="325741"/>
                      <a:pt x="15484" y="309216"/>
                    </a:cubicBezTo>
                    <a:lnTo>
                      <a:pt x="45019" y="277078"/>
                    </a:lnTo>
                  </a:path>
                </a:pathLst>
              </a:custGeom>
              <a:noFill/>
              <a:ln w="19050" cap="sq">
                <a:solidFill>
                  <a:schemeClr val="accent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64" name="Forma livre: Forma 63">
                <a:extLst>
                  <a:ext uri="{FF2B5EF4-FFF2-40B4-BE49-F238E27FC236}">
                    <a16:creationId xmlns:a16="http://schemas.microsoft.com/office/drawing/2014/main" id="{E463FC23-A33A-76F7-5985-9758A6D032C6}"/>
                  </a:ext>
                </a:extLst>
              </p:cNvPr>
              <p:cNvSpPr/>
              <p:nvPr/>
            </p:nvSpPr>
            <p:spPr>
              <a:xfrm>
                <a:off x="6144784" y="1383865"/>
                <a:ext cx="41563" cy="38963"/>
              </a:xfrm>
              <a:custGeom>
                <a:avLst/>
                <a:gdLst>
                  <a:gd name="connsiteX0" fmla="*/ 36172 w 41563"/>
                  <a:gd name="connsiteY0" fmla="*/ 0 h 38963"/>
                  <a:gd name="connsiteX1" fmla="*/ 39425 w 41563"/>
                  <a:gd name="connsiteY1" fmla="*/ 24266 h 38963"/>
                  <a:gd name="connsiteX2" fmla="*/ 36432 w 41563"/>
                  <a:gd name="connsiteY2" fmla="*/ 29080 h 38963"/>
                  <a:gd name="connsiteX3" fmla="*/ 0 w 41563"/>
                  <a:gd name="connsiteY3" fmla="*/ 33439 h 389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563" h="38963">
                    <a:moveTo>
                      <a:pt x="36172" y="0"/>
                    </a:moveTo>
                    <a:cubicBezTo>
                      <a:pt x="41571" y="7547"/>
                      <a:pt x="43393" y="16004"/>
                      <a:pt x="39425" y="24266"/>
                    </a:cubicBezTo>
                    <a:cubicBezTo>
                      <a:pt x="38644" y="25893"/>
                      <a:pt x="37603" y="27519"/>
                      <a:pt x="36432" y="29080"/>
                    </a:cubicBezTo>
                    <a:cubicBezTo>
                      <a:pt x="27584" y="40270"/>
                      <a:pt x="11190" y="42287"/>
                      <a:pt x="0" y="33439"/>
                    </a:cubicBezTo>
                  </a:path>
                </a:pathLst>
              </a:custGeom>
              <a:noFill/>
              <a:ln w="19050" cap="sq">
                <a:solidFill>
                  <a:schemeClr val="accent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65" name="Forma livre: Forma 64">
                <a:extLst>
                  <a:ext uri="{FF2B5EF4-FFF2-40B4-BE49-F238E27FC236}">
                    <a16:creationId xmlns:a16="http://schemas.microsoft.com/office/drawing/2014/main" id="{D3B8FB77-DEFA-DF82-6257-8124C1A5185B}"/>
                  </a:ext>
                </a:extLst>
              </p:cNvPr>
              <p:cNvSpPr/>
              <p:nvPr/>
            </p:nvSpPr>
            <p:spPr>
              <a:xfrm>
                <a:off x="6081487" y="1460806"/>
                <a:ext cx="34217" cy="54474"/>
              </a:xfrm>
              <a:custGeom>
                <a:avLst/>
                <a:gdLst>
                  <a:gd name="connsiteX0" fmla="*/ 21076 w 34217"/>
                  <a:gd name="connsiteY0" fmla="*/ 54475 h 54474"/>
                  <a:gd name="connsiteX1" fmla="*/ 778 w 34217"/>
                  <a:gd name="connsiteY1" fmla="*/ 21035 h 54474"/>
                  <a:gd name="connsiteX2" fmla="*/ 34217 w 34217"/>
                  <a:gd name="connsiteY2" fmla="*/ 803 h 544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4217" h="54474">
                    <a:moveTo>
                      <a:pt x="21076" y="54475"/>
                    </a:moveTo>
                    <a:cubicBezTo>
                      <a:pt x="6308" y="50832"/>
                      <a:pt x="-2800" y="35803"/>
                      <a:pt x="778" y="21035"/>
                    </a:cubicBezTo>
                    <a:cubicBezTo>
                      <a:pt x="4421" y="6267"/>
                      <a:pt x="19449" y="-2841"/>
                      <a:pt x="34217" y="803"/>
                    </a:cubicBezTo>
                  </a:path>
                </a:pathLst>
              </a:custGeom>
              <a:noFill/>
              <a:ln w="19050" cap="sq">
                <a:solidFill>
                  <a:schemeClr val="accent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66" name="Forma livre: Forma 65">
                <a:extLst>
                  <a:ext uri="{FF2B5EF4-FFF2-40B4-BE49-F238E27FC236}">
                    <a16:creationId xmlns:a16="http://schemas.microsoft.com/office/drawing/2014/main" id="{1C717937-A4FD-AC7C-B5C1-8E64F7A036B2}"/>
                  </a:ext>
                </a:extLst>
              </p:cNvPr>
              <p:cNvSpPr/>
              <p:nvPr/>
            </p:nvSpPr>
            <p:spPr>
              <a:xfrm>
                <a:off x="6073547" y="1527543"/>
                <a:ext cx="114760" cy="72506"/>
              </a:xfrm>
              <a:custGeom>
                <a:avLst/>
                <a:gdLst>
                  <a:gd name="connsiteX0" fmla="*/ 114760 w 114760"/>
                  <a:gd name="connsiteY0" fmla="*/ 7254 h 72506"/>
                  <a:gd name="connsiteX1" fmla="*/ 73905 w 114760"/>
                  <a:gd name="connsiteY1" fmla="*/ 8881 h 72506"/>
                  <a:gd name="connsiteX2" fmla="*/ 0 w 114760"/>
                  <a:gd name="connsiteY2" fmla="*/ 72506 h 725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14760" h="72506">
                    <a:moveTo>
                      <a:pt x="114760" y="7254"/>
                    </a:moveTo>
                    <a:cubicBezTo>
                      <a:pt x="103375" y="-2830"/>
                      <a:pt x="83989" y="-2504"/>
                      <a:pt x="73905" y="8881"/>
                    </a:cubicBezTo>
                    <a:cubicBezTo>
                      <a:pt x="73905" y="8881"/>
                      <a:pt x="31488" y="72506"/>
                      <a:pt x="0" y="72506"/>
                    </a:cubicBezTo>
                  </a:path>
                </a:pathLst>
              </a:custGeom>
              <a:noFill/>
              <a:ln w="19050" cap="sq">
                <a:solidFill>
                  <a:schemeClr val="accent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67" name="Forma livre: Forma 66">
                <a:extLst>
                  <a:ext uri="{FF2B5EF4-FFF2-40B4-BE49-F238E27FC236}">
                    <a16:creationId xmlns:a16="http://schemas.microsoft.com/office/drawing/2014/main" id="{DA9BB414-B047-668C-6D76-8B024F4DE0AC}"/>
                  </a:ext>
                </a:extLst>
              </p:cNvPr>
              <p:cNvSpPr/>
              <p:nvPr/>
            </p:nvSpPr>
            <p:spPr>
              <a:xfrm>
                <a:off x="6079857" y="1646956"/>
                <a:ext cx="29405" cy="9823"/>
              </a:xfrm>
              <a:custGeom>
                <a:avLst/>
                <a:gdLst>
                  <a:gd name="connsiteX0" fmla="*/ 0 w 29405"/>
                  <a:gd name="connsiteY0" fmla="*/ 0 h 9823"/>
                  <a:gd name="connsiteX1" fmla="*/ 29406 w 29405"/>
                  <a:gd name="connsiteY1" fmla="*/ 9824 h 98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9405" h="9823">
                    <a:moveTo>
                      <a:pt x="0" y="0"/>
                    </a:moveTo>
                    <a:lnTo>
                      <a:pt x="29406" y="9824"/>
                    </a:lnTo>
                  </a:path>
                </a:pathLst>
              </a:custGeom>
              <a:ln w="19050" cap="sq">
                <a:solidFill>
                  <a:schemeClr val="accent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68" name="Forma livre: Forma 67">
                <a:extLst>
                  <a:ext uri="{FF2B5EF4-FFF2-40B4-BE49-F238E27FC236}">
                    <a16:creationId xmlns:a16="http://schemas.microsoft.com/office/drawing/2014/main" id="{23F8BBF8-B4BA-A132-72F5-4F355D734929}"/>
                  </a:ext>
                </a:extLst>
              </p:cNvPr>
              <p:cNvSpPr/>
              <p:nvPr/>
            </p:nvSpPr>
            <p:spPr>
              <a:xfrm>
                <a:off x="6061121" y="1545272"/>
                <a:ext cx="47166" cy="34154"/>
              </a:xfrm>
              <a:custGeom>
                <a:avLst/>
                <a:gdLst>
                  <a:gd name="connsiteX0" fmla="*/ 0 w 47166"/>
                  <a:gd name="connsiteY0" fmla="*/ 0 h 34154"/>
                  <a:gd name="connsiteX1" fmla="*/ 47166 w 47166"/>
                  <a:gd name="connsiteY1" fmla="*/ 34155 h 341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166" h="34154">
                    <a:moveTo>
                      <a:pt x="0" y="0"/>
                    </a:moveTo>
                    <a:cubicBezTo>
                      <a:pt x="0" y="0"/>
                      <a:pt x="27649" y="13011"/>
                      <a:pt x="47166" y="34155"/>
                    </a:cubicBezTo>
                  </a:path>
                </a:pathLst>
              </a:custGeom>
              <a:noFill/>
              <a:ln w="19050" cap="sq">
                <a:solidFill>
                  <a:schemeClr val="accent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49" name="Gráfico 32">
              <a:extLst>
                <a:ext uri="{FF2B5EF4-FFF2-40B4-BE49-F238E27FC236}">
                  <a16:creationId xmlns:a16="http://schemas.microsoft.com/office/drawing/2014/main" id="{177843AE-37B9-EC86-35D0-52FE046FE66F}"/>
                </a:ext>
              </a:extLst>
            </p:cNvPr>
            <p:cNvGrpSpPr/>
            <p:nvPr/>
          </p:nvGrpSpPr>
          <p:grpSpPr>
            <a:xfrm>
              <a:off x="6191625" y="1599725"/>
              <a:ext cx="173767" cy="157112"/>
              <a:chOff x="6191625" y="1599725"/>
              <a:chExt cx="173767" cy="157112"/>
            </a:xfrm>
            <a:noFill/>
          </p:grpSpPr>
          <p:sp>
            <p:nvSpPr>
              <p:cNvPr id="59" name="Forma livre: Forma 58">
                <a:extLst>
                  <a:ext uri="{FF2B5EF4-FFF2-40B4-BE49-F238E27FC236}">
                    <a16:creationId xmlns:a16="http://schemas.microsoft.com/office/drawing/2014/main" id="{CD59CF1F-9E2A-2FF6-697C-04C64ABB5837}"/>
                  </a:ext>
                </a:extLst>
              </p:cNvPr>
              <p:cNvSpPr/>
              <p:nvPr/>
            </p:nvSpPr>
            <p:spPr>
              <a:xfrm>
                <a:off x="6310094" y="1621974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accent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60" name="Forma livre: Forma 59">
                <a:extLst>
                  <a:ext uri="{FF2B5EF4-FFF2-40B4-BE49-F238E27FC236}">
                    <a16:creationId xmlns:a16="http://schemas.microsoft.com/office/drawing/2014/main" id="{0B04AC98-767F-976C-BA57-46ABE975D90A}"/>
                  </a:ext>
                </a:extLst>
              </p:cNvPr>
              <p:cNvSpPr/>
              <p:nvPr/>
            </p:nvSpPr>
            <p:spPr>
              <a:xfrm>
                <a:off x="6191625" y="1599725"/>
                <a:ext cx="118078" cy="49898"/>
              </a:xfrm>
              <a:custGeom>
                <a:avLst/>
                <a:gdLst>
                  <a:gd name="connsiteX0" fmla="*/ 0 w 118078"/>
                  <a:gd name="connsiteY0" fmla="*/ 0 h 49898"/>
                  <a:gd name="connsiteX1" fmla="*/ 37343 w 118078"/>
                  <a:gd name="connsiteY1" fmla="*/ 0 h 49898"/>
                  <a:gd name="connsiteX2" fmla="*/ 87176 w 118078"/>
                  <a:gd name="connsiteY2" fmla="*/ 49899 h 49898"/>
                  <a:gd name="connsiteX3" fmla="*/ 118078 w 118078"/>
                  <a:gd name="connsiteY3" fmla="*/ 49899 h 49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8078" h="49898">
                    <a:moveTo>
                      <a:pt x="0" y="0"/>
                    </a:moveTo>
                    <a:lnTo>
                      <a:pt x="37343" y="0"/>
                    </a:lnTo>
                    <a:lnTo>
                      <a:pt x="87176" y="49899"/>
                    </a:lnTo>
                    <a:lnTo>
                      <a:pt x="118078" y="49899"/>
                    </a:lnTo>
                  </a:path>
                </a:pathLst>
              </a:custGeom>
              <a:noFill/>
              <a:ln w="19050" cap="sq">
                <a:solidFill>
                  <a:schemeClr val="accent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61" name="Forma livre: Forma 60">
                <a:extLst>
                  <a:ext uri="{FF2B5EF4-FFF2-40B4-BE49-F238E27FC236}">
                    <a16:creationId xmlns:a16="http://schemas.microsoft.com/office/drawing/2014/main" id="{1B48B3D6-C3DE-3248-4FD7-94372E209E29}"/>
                  </a:ext>
                </a:extLst>
              </p:cNvPr>
              <p:cNvSpPr/>
              <p:nvPr/>
            </p:nvSpPr>
            <p:spPr>
              <a:xfrm>
                <a:off x="6191625" y="1665367"/>
                <a:ext cx="81906" cy="44108"/>
              </a:xfrm>
              <a:custGeom>
                <a:avLst/>
                <a:gdLst>
                  <a:gd name="connsiteX0" fmla="*/ 0 w 81906"/>
                  <a:gd name="connsiteY0" fmla="*/ 0 h 44108"/>
                  <a:gd name="connsiteX1" fmla="*/ 37343 w 81906"/>
                  <a:gd name="connsiteY1" fmla="*/ 0 h 44108"/>
                  <a:gd name="connsiteX2" fmla="*/ 81907 w 81906"/>
                  <a:gd name="connsiteY2" fmla="*/ 44109 h 441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1906" h="44108">
                    <a:moveTo>
                      <a:pt x="0" y="0"/>
                    </a:moveTo>
                    <a:lnTo>
                      <a:pt x="37343" y="0"/>
                    </a:lnTo>
                    <a:lnTo>
                      <a:pt x="81907" y="44109"/>
                    </a:lnTo>
                  </a:path>
                </a:pathLst>
              </a:custGeom>
              <a:noFill/>
              <a:ln w="19050" cap="sq">
                <a:solidFill>
                  <a:schemeClr val="accent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62" name="Forma livre: Forma 61">
                <a:extLst>
                  <a:ext uri="{FF2B5EF4-FFF2-40B4-BE49-F238E27FC236}">
                    <a16:creationId xmlns:a16="http://schemas.microsoft.com/office/drawing/2014/main" id="{7B4AD703-35D1-DB65-B41E-759CFF4253B5}"/>
                  </a:ext>
                </a:extLst>
              </p:cNvPr>
              <p:cNvSpPr/>
              <p:nvPr/>
            </p:nvSpPr>
            <p:spPr>
              <a:xfrm>
                <a:off x="6265075" y="1701539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accent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50" name="Gráfico 32">
              <a:extLst>
                <a:ext uri="{FF2B5EF4-FFF2-40B4-BE49-F238E27FC236}">
                  <a16:creationId xmlns:a16="http://schemas.microsoft.com/office/drawing/2014/main" id="{2890A211-D5C1-FF34-71FC-D96C42F30BC6}"/>
                </a:ext>
              </a:extLst>
            </p:cNvPr>
            <p:cNvGrpSpPr/>
            <p:nvPr/>
          </p:nvGrpSpPr>
          <p:grpSpPr>
            <a:xfrm>
              <a:off x="6191625" y="1357908"/>
              <a:ext cx="173767" cy="157112"/>
              <a:chOff x="6191625" y="1357908"/>
              <a:chExt cx="173767" cy="157112"/>
            </a:xfrm>
            <a:noFill/>
          </p:grpSpPr>
          <p:sp>
            <p:nvSpPr>
              <p:cNvPr id="55" name="Forma livre: Forma 54">
                <a:extLst>
                  <a:ext uri="{FF2B5EF4-FFF2-40B4-BE49-F238E27FC236}">
                    <a16:creationId xmlns:a16="http://schemas.microsoft.com/office/drawing/2014/main" id="{E126A618-A168-C6B2-2C68-42118F930F1C}"/>
                  </a:ext>
                </a:extLst>
              </p:cNvPr>
              <p:cNvSpPr/>
              <p:nvPr/>
            </p:nvSpPr>
            <p:spPr>
              <a:xfrm>
                <a:off x="6310094" y="1437472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0 h 55298"/>
                  <a:gd name="connsiteX2" fmla="*/ 0 w 55298"/>
                  <a:gd name="connsiteY2" fmla="*/ 27649 h 55298"/>
                  <a:gd name="connsiteX3" fmla="*/ 27649 w 55298"/>
                  <a:gd name="connsiteY3" fmla="*/ 55298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12361"/>
                      <a:pt x="42938" y="0"/>
                      <a:pt x="27649" y="0"/>
                    </a:cubicBezTo>
                    <a:cubicBezTo>
                      <a:pt x="12361" y="0"/>
                      <a:pt x="0" y="12361"/>
                      <a:pt x="0" y="27649"/>
                    </a:cubicBezTo>
                    <a:cubicBezTo>
                      <a:pt x="0" y="42938"/>
                      <a:pt x="12361" y="55298"/>
                      <a:pt x="27649" y="55298"/>
                    </a:cubicBezTo>
                    <a:cubicBezTo>
                      <a:pt x="42938" y="55298"/>
                      <a:pt x="55298" y="42938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accent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6" name="Forma livre: Forma 55">
                <a:extLst>
                  <a:ext uri="{FF2B5EF4-FFF2-40B4-BE49-F238E27FC236}">
                    <a16:creationId xmlns:a16="http://schemas.microsoft.com/office/drawing/2014/main" id="{8D780CBC-E497-B930-EB13-92538F0BF23E}"/>
                  </a:ext>
                </a:extLst>
              </p:cNvPr>
              <p:cNvSpPr/>
              <p:nvPr/>
            </p:nvSpPr>
            <p:spPr>
              <a:xfrm>
                <a:off x="6191625" y="1465122"/>
                <a:ext cx="118468" cy="49898"/>
              </a:xfrm>
              <a:custGeom>
                <a:avLst/>
                <a:gdLst>
                  <a:gd name="connsiteX0" fmla="*/ 0 w 118468"/>
                  <a:gd name="connsiteY0" fmla="*/ 49899 h 49898"/>
                  <a:gd name="connsiteX1" fmla="*/ 37343 w 118468"/>
                  <a:gd name="connsiteY1" fmla="*/ 49899 h 49898"/>
                  <a:gd name="connsiteX2" fmla="*/ 87176 w 118468"/>
                  <a:gd name="connsiteY2" fmla="*/ 0 h 49898"/>
                  <a:gd name="connsiteX3" fmla="*/ 118469 w 118468"/>
                  <a:gd name="connsiteY3" fmla="*/ 0 h 49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8468" h="49898">
                    <a:moveTo>
                      <a:pt x="0" y="49899"/>
                    </a:moveTo>
                    <a:lnTo>
                      <a:pt x="37343" y="49899"/>
                    </a:lnTo>
                    <a:lnTo>
                      <a:pt x="87176" y="0"/>
                    </a:lnTo>
                    <a:lnTo>
                      <a:pt x="118469" y="0"/>
                    </a:lnTo>
                  </a:path>
                </a:pathLst>
              </a:custGeom>
              <a:noFill/>
              <a:ln w="19050" cap="sq">
                <a:solidFill>
                  <a:schemeClr val="accent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7" name="Forma livre: Forma 56">
                <a:extLst>
                  <a:ext uri="{FF2B5EF4-FFF2-40B4-BE49-F238E27FC236}">
                    <a16:creationId xmlns:a16="http://schemas.microsoft.com/office/drawing/2014/main" id="{7086B475-403B-AFA5-0CBB-FFDF2CA8ACC6}"/>
                  </a:ext>
                </a:extLst>
              </p:cNvPr>
              <p:cNvSpPr/>
              <p:nvPr/>
            </p:nvSpPr>
            <p:spPr>
              <a:xfrm>
                <a:off x="6191625" y="1405269"/>
                <a:ext cx="81451" cy="44043"/>
              </a:xfrm>
              <a:custGeom>
                <a:avLst/>
                <a:gdLst>
                  <a:gd name="connsiteX0" fmla="*/ 0 w 81451"/>
                  <a:gd name="connsiteY0" fmla="*/ 44044 h 44043"/>
                  <a:gd name="connsiteX1" fmla="*/ 37343 w 81451"/>
                  <a:gd name="connsiteY1" fmla="*/ 44044 h 44043"/>
                  <a:gd name="connsiteX2" fmla="*/ 81451 w 81451"/>
                  <a:gd name="connsiteY2" fmla="*/ 0 h 440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1451" h="44043">
                    <a:moveTo>
                      <a:pt x="0" y="44044"/>
                    </a:moveTo>
                    <a:lnTo>
                      <a:pt x="37343" y="44044"/>
                    </a:lnTo>
                    <a:lnTo>
                      <a:pt x="81451" y="0"/>
                    </a:lnTo>
                  </a:path>
                </a:pathLst>
              </a:custGeom>
              <a:noFill/>
              <a:ln w="19050" cap="sq">
                <a:solidFill>
                  <a:schemeClr val="accent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8" name="Forma livre: Forma 57">
                <a:extLst>
                  <a:ext uri="{FF2B5EF4-FFF2-40B4-BE49-F238E27FC236}">
                    <a16:creationId xmlns:a16="http://schemas.microsoft.com/office/drawing/2014/main" id="{C9D0C630-9B5F-2AC4-D018-D69443712284}"/>
                  </a:ext>
                </a:extLst>
              </p:cNvPr>
              <p:cNvSpPr/>
              <p:nvPr/>
            </p:nvSpPr>
            <p:spPr>
              <a:xfrm>
                <a:off x="6265075" y="1357908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0 h 55298"/>
                  <a:gd name="connsiteX2" fmla="*/ 0 w 55298"/>
                  <a:gd name="connsiteY2" fmla="*/ 27649 h 55298"/>
                  <a:gd name="connsiteX3" fmla="*/ 27649 w 55298"/>
                  <a:gd name="connsiteY3" fmla="*/ 55298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12361"/>
                      <a:pt x="42938" y="0"/>
                      <a:pt x="27649" y="0"/>
                    </a:cubicBezTo>
                    <a:cubicBezTo>
                      <a:pt x="12361" y="0"/>
                      <a:pt x="0" y="12361"/>
                      <a:pt x="0" y="27649"/>
                    </a:cubicBezTo>
                    <a:cubicBezTo>
                      <a:pt x="0" y="42938"/>
                      <a:pt x="12361" y="55298"/>
                      <a:pt x="27649" y="55298"/>
                    </a:cubicBezTo>
                    <a:cubicBezTo>
                      <a:pt x="42938" y="55298"/>
                      <a:pt x="55298" y="42938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accent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51" name="Gráfico 32">
              <a:extLst>
                <a:ext uri="{FF2B5EF4-FFF2-40B4-BE49-F238E27FC236}">
                  <a16:creationId xmlns:a16="http://schemas.microsoft.com/office/drawing/2014/main" id="{740C01E1-56E0-AC27-D35B-62E61A01416F}"/>
                </a:ext>
              </a:extLst>
            </p:cNvPr>
            <p:cNvGrpSpPr/>
            <p:nvPr/>
          </p:nvGrpSpPr>
          <p:grpSpPr>
            <a:xfrm>
              <a:off x="6190910" y="1529723"/>
              <a:ext cx="123673" cy="55298"/>
              <a:chOff x="6190910" y="1529723"/>
              <a:chExt cx="123673" cy="55298"/>
            </a:xfrm>
            <a:noFill/>
          </p:grpSpPr>
          <p:sp>
            <p:nvSpPr>
              <p:cNvPr id="53" name="Forma livre: Forma 52">
                <a:extLst>
                  <a:ext uri="{FF2B5EF4-FFF2-40B4-BE49-F238E27FC236}">
                    <a16:creationId xmlns:a16="http://schemas.microsoft.com/office/drawing/2014/main" id="{9A31B020-0B4A-281E-C7D2-110BA01DE939}"/>
                  </a:ext>
                </a:extLst>
              </p:cNvPr>
              <p:cNvSpPr/>
              <p:nvPr/>
            </p:nvSpPr>
            <p:spPr>
              <a:xfrm>
                <a:off x="6190910" y="1557372"/>
                <a:ext cx="68765" cy="6505"/>
              </a:xfrm>
              <a:custGeom>
                <a:avLst/>
                <a:gdLst>
                  <a:gd name="connsiteX0" fmla="*/ 0 w 68765"/>
                  <a:gd name="connsiteY0" fmla="*/ 0 h 6505"/>
                  <a:gd name="connsiteX1" fmla="*/ 68765 w 68765"/>
                  <a:gd name="connsiteY1" fmla="*/ 0 h 65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8765" h="6505">
                    <a:moveTo>
                      <a:pt x="0" y="0"/>
                    </a:moveTo>
                    <a:lnTo>
                      <a:pt x="68765" y="0"/>
                    </a:lnTo>
                  </a:path>
                </a:pathLst>
              </a:custGeom>
              <a:ln w="19050" cap="sq">
                <a:solidFill>
                  <a:schemeClr val="accent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4" name="Forma livre: Forma 53">
                <a:extLst>
                  <a:ext uri="{FF2B5EF4-FFF2-40B4-BE49-F238E27FC236}">
                    <a16:creationId xmlns:a16="http://schemas.microsoft.com/office/drawing/2014/main" id="{3C5CC453-5DE4-AF80-7954-B1EEB0F76192}"/>
                  </a:ext>
                </a:extLst>
              </p:cNvPr>
              <p:cNvSpPr/>
              <p:nvPr/>
            </p:nvSpPr>
            <p:spPr>
              <a:xfrm>
                <a:off x="6259285" y="1529723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accent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52" name="Forma livre: Forma 51">
              <a:extLst>
                <a:ext uri="{FF2B5EF4-FFF2-40B4-BE49-F238E27FC236}">
                  <a16:creationId xmlns:a16="http://schemas.microsoft.com/office/drawing/2014/main" id="{C3C4F91D-7497-BF01-5952-C99349773987}"/>
                </a:ext>
              </a:extLst>
            </p:cNvPr>
            <p:cNvSpPr/>
            <p:nvPr/>
          </p:nvSpPr>
          <p:spPr>
            <a:xfrm>
              <a:off x="6152201" y="1686285"/>
              <a:ext cx="37362" cy="20848"/>
            </a:xfrm>
            <a:custGeom>
              <a:avLst/>
              <a:gdLst>
                <a:gd name="connsiteX0" fmla="*/ 0 w 37362"/>
                <a:gd name="connsiteY0" fmla="*/ 10505 h 20848"/>
                <a:gd name="connsiteX1" fmla="*/ 27064 w 37362"/>
                <a:gd name="connsiteY1" fmla="*/ 2373 h 20848"/>
                <a:gd name="connsiteX2" fmla="*/ 37343 w 37362"/>
                <a:gd name="connsiteY2" fmla="*/ 20849 h 20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7362" h="20848">
                  <a:moveTo>
                    <a:pt x="0" y="10505"/>
                  </a:moveTo>
                  <a:cubicBezTo>
                    <a:pt x="5205" y="811"/>
                    <a:pt x="17435" y="-2832"/>
                    <a:pt x="27064" y="2373"/>
                  </a:cubicBezTo>
                  <a:cubicBezTo>
                    <a:pt x="34025" y="6081"/>
                    <a:pt x="37668" y="13432"/>
                    <a:pt x="37343" y="20849"/>
                  </a:cubicBezTo>
                </a:path>
              </a:pathLst>
            </a:custGeom>
            <a:noFill/>
            <a:ln w="19050" cap="sq">
              <a:solidFill>
                <a:schemeClr val="accent1"/>
              </a:solidFill>
              <a:prstDash val="solid"/>
              <a:miter lim="800000"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69" name="Agrupar 68">
            <a:extLst>
              <a:ext uri="{FF2B5EF4-FFF2-40B4-BE49-F238E27FC236}">
                <a16:creationId xmlns:a16="http://schemas.microsoft.com/office/drawing/2014/main" id="{5B418548-255F-F709-5C4C-34367BFECA38}"/>
              </a:ext>
            </a:extLst>
          </p:cNvPr>
          <p:cNvGrpSpPr/>
          <p:nvPr/>
        </p:nvGrpSpPr>
        <p:grpSpPr>
          <a:xfrm>
            <a:off x="7566569" y="5028534"/>
            <a:ext cx="459831" cy="502163"/>
            <a:chOff x="6000092" y="1357908"/>
            <a:chExt cx="365300" cy="398929"/>
          </a:xfrm>
        </p:grpSpPr>
        <p:sp>
          <p:nvSpPr>
            <p:cNvPr id="70" name="Forma livre: Forma 69">
              <a:extLst>
                <a:ext uri="{FF2B5EF4-FFF2-40B4-BE49-F238E27FC236}">
                  <a16:creationId xmlns:a16="http://schemas.microsoft.com/office/drawing/2014/main" id="{E59E55EF-F705-93A6-0560-17F9FF65AC75}"/>
                </a:ext>
              </a:extLst>
            </p:cNvPr>
            <p:cNvSpPr/>
            <p:nvPr/>
          </p:nvSpPr>
          <p:spPr>
            <a:xfrm>
              <a:off x="6000092" y="1418606"/>
              <a:ext cx="84058" cy="286120"/>
            </a:xfrm>
            <a:custGeom>
              <a:avLst/>
              <a:gdLst>
                <a:gd name="connsiteX0" fmla="*/ 51595 w 84058"/>
                <a:gd name="connsiteY0" fmla="*/ 0 h 286120"/>
                <a:gd name="connsiteX1" fmla="*/ 35266 w 84058"/>
                <a:gd name="connsiteY1" fmla="*/ 61674 h 286120"/>
                <a:gd name="connsiteX2" fmla="*/ 28760 w 84058"/>
                <a:gd name="connsiteY2" fmla="*/ 193415 h 286120"/>
                <a:gd name="connsiteX3" fmla="*/ 84059 w 84058"/>
                <a:gd name="connsiteY3" fmla="*/ 286121 h 2861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4058" h="286120">
                  <a:moveTo>
                    <a:pt x="51595" y="0"/>
                  </a:moveTo>
                  <a:cubicBezTo>
                    <a:pt x="37868" y="7872"/>
                    <a:pt x="26028" y="24852"/>
                    <a:pt x="35266" y="61674"/>
                  </a:cubicBezTo>
                  <a:cubicBezTo>
                    <a:pt x="35266" y="61674"/>
                    <a:pt x="-39549" y="126731"/>
                    <a:pt x="28760" y="193415"/>
                  </a:cubicBezTo>
                  <a:cubicBezTo>
                    <a:pt x="28760" y="193415"/>
                    <a:pt x="9243" y="281242"/>
                    <a:pt x="84059" y="286121"/>
                  </a:cubicBezTo>
                </a:path>
              </a:pathLst>
            </a:custGeom>
            <a:noFill/>
            <a:ln w="19050" cap="sq">
              <a:solidFill>
                <a:schemeClr val="accent1"/>
              </a:solidFill>
              <a:prstDash val="solid"/>
              <a:miter lim="800000"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71" name="Gráfico 32">
              <a:extLst>
                <a:ext uri="{FF2B5EF4-FFF2-40B4-BE49-F238E27FC236}">
                  <a16:creationId xmlns:a16="http://schemas.microsoft.com/office/drawing/2014/main" id="{03D7263F-D566-3830-8A20-DD4F2B2E871F}"/>
                </a:ext>
              </a:extLst>
            </p:cNvPr>
            <p:cNvGrpSpPr/>
            <p:nvPr/>
          </p:nvGrpSpPr>
          <p:grpSpPr>
            <a:xfrm>
              <a:off x="6061121" y="1359924"/>
              <a:ext cx="128487" cy="396366"/>
              <a:chOff x="6061121" y="1359924"/>
              <a:chExt cx="128487" cy="396366"/>
            </a:xfrm>
            <a:noFill/>
          </p:grpSpPr>
          <p:sp>
            <p:nvSpPr>
              <p:cNvPr id="86" name="Forma livre: Forma 85">
                <a:extLst>
                  <a:ext uri="{FF2B5EF4-FFF2-40B4-BE49-F238E27FC236}">
                    <a16:creationId xmlns:a16="http://schemas.microsoft.com/office/drawing/2014/main" id="{95B18061-C7E4-1EFF-E9AB-61A88B8528D5}"/>
                  </a:ext>
                </a:extLst>
              </p:cNvPr>
              <p:cNvSpPr/>
              <p:nvPr/>
            </p:nvSpPr>
            <p:spPr>
              <a:xfrm>
                <a:off x="6083891" y="1359924"/>
                <a:ext cx="105717" cy="396366"/>
              </a:xfrm>
              <a:custGeom>
                <a:avLst/>
                <a:gdLst>
                  <a:gd name="connsiteX0" fmla="*/ 52891 w 105717"/>
                  <a:gd name="connsiteY0" fmla="*/ 105718 h 396366"/>
                  <a:gd name="connsiteX1" fmla="*/ 0 w 105717"/>
                  <a:gd name="connsiteY1" fmla="*/ 52891 h 396366"/>
                  <a:gd name="connsiteX2" fmla="*/ 52891 w 105717"/>
                  <a:gd name="connsiteY2" fmla="*/ 0 h 396366"/>
                  <a:gd name="connsiteX3" fmla="*/ 105718 w 105717"/>
                  <a:gd name="connsiteY3" fmla="*/ 52826 h 396366"/>
                  <a:gd name="connsiteX4" fmla="*/ 105718 w 105717"/>
                  <a:gd name="connsiteY4" fmla="*/ 346884 h 396366"/>
                  <a:gd name="connsiteX5" fmla="*/ 80606 w 105717"/>
                  <a:gd name="connsiteY5" fmla="*/ 388911 h 396366"/>
                  <a:gd name="connsiteX6" fmla="*/ 9238 w 105717"/>
                  <a:gd name="connsiteY6" fmla="*/ 371150 h 396366"/>
                  <a:gd name="connsiteX7" fmla="*/ 15484 w 105717"/>
                  <a:gd name="connsiteY7" fmla="*/ 309216 h 396366"/>
                  <a:gd name="connsiteX8" fmla="*/ 45019 w 105717"/>
                  <a:gd name="connsiteY8" fmla="*/ 277078 h 3963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05717" h="396366">
                    <a:moveTo>
                      <a:pt x="52891" y="105718"/>
                    </a:moveTo>
                    <a:cubicBezTo>
                      <a:pt x="23681" y="105718"/>
                      <a:pt x="0" y="82037"/>
                      <a:pt x="0" y="52891"/>
                    </a:cubicBezTo>
                    <a:cubicBezTo>
                      <a:pt x="0" y="23746"/>
                      <a:pt x="23681" y="0"/>
                      <a:pt x="52891" y="0"/>
                    </a:cubicBezTo>
                    <a:cubicBezTo>
                      <a:pt x="82102" y="0"/>
                      <a:pt x="105718" y="23681"/>
                      <a:pt x="105718" y="52826"/>
                    </a:cubicBezTo>
                    <a:lnTo>
                      <a:pt x="105718" y="346884"/>
                    </a:lnTo>
                    <a:cubicBezTo>
                      <a:pt x="105718" y="364580"/>
                      <a:pt x="96414" y="379413"/>
                      <a:pt x="80606" y="388911"/>
                    </a:cubicBezTo>
                    <a:cubicBezTo>
                      <a:pt x="55949" y="403744"/>
                      <a:pt x="24006" y="395742"/>
                      <a:pt x="9238" y="371150"/>
                    </a:cubicBezTo>
                    <a:cubicBezTo>
                      <a:pt x="-2928" y="350918"/>
                      <a:pt x="260" y="325741"/>
                      <a:pt x="15484" y="309216"/>
                    </a:cubicBezTo>
                    <a:lnTo>
                      <a:pt x="45019" y="277078"/>
                    </a:lnTo>
                  </a:path>
                </a:pathLst>
              </a:custGeom>
              <a:noFill/>
              <a:ln w="19050" cap="sq">
                <a:solidFill>
                  <a:schemeClr val="accent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87" name="Forma livre: Forma 86">
                <a:extLst>
                  <a:ext uri="{FF2B5EF4-FFF2-40B4-BE49-F238E27FC236}">
                    <a16:creationId xmlns:a16="http://schemas.microsoft.com/office/drawing/2014/main" id="{97740BAF-825B-E146-9228-03D0331A46F2}"/>
                  </a:ext>
                </a:extLst>
              </p:cNvPr>
              <p:cNvSpPr/>
              <p:nvPr/>
            </p:nvSpPr>
            <p:spPr>
              <a:xfrm>
                <a:off x="6144784" y="1383865"/>
                <a:ext cx="41563" cy="38963"/>
              </a:xfrm>
              <a:custGeom>
                <a:avLst/>
                <a:gdLst>
                  <a:gd name="connsiteX0" fmla="*/ 36172 w 41563"/>
                  <a:gd name="connsiteY0" fmla="*/ 0 h 38963"/>
                  <a:gd name="connsiteX1" fmla="*/ 39425 w 41563"/>
                  <a:gd name="connsiteY1" fmla="*/ 24266 h 38963"/>
                  <a:gd name="connsiteX2" fmla="*/ 36432 w 41563"/>
                  <a:gd name="connsiteY2" fmla="*/ 29080 h 38963"/>
                  <a:gd name="connsiteX3" fmla="*/ 0 w 41563"/>
                  <a:gd name="connsiteY3" fmla="*/ 33439 h 389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563" h="38963">
                    <a:moveTo>
                      <a:pt x="36172" y="0"/>
                    </a:moveTo>
                    <a:cubicBezTo>
                      <a:pt x="41571" y="7547"/>
                      <a:pt x="43393" y="16004"/>
                      <a:pt x="39425" y="24266"/>
                    </a:cubicBezTo>
                    <a:cubicBezTo>
                      <a:pt x="38644" y="25893"/>
                      <a:pt x="37603" y="27519"/>
                      <a:pt x="36432" y="29080"/>
                    </a:cubicBezTo>
                    <a:cubicBezTo>
                      <a:pt x="27584" y="40270"/>
                      <a:pt x="11190" y="42287"/>
                      <a:pt x="0" y="33439"/>
                    </a:cubicBezTo>
                  </a:path>
                </a:pathLst>
              </a:custGeom>
              <a:noFill/>
              <a:ln w="19050" cap="sq">
                <a:solidFill>
                  <a:schemeClr val="accent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88" name="Forma livre: Forma 87">
                <a:extLst>
                  <a:ext uri="{FF2B5EF4-FFF2-40B4-BE49-F238E27FC236}">
                    <a16:creationId xmlns:a16="http://schemas.microsoft.com/office/drawing/2014/main" id="{8C9AD38B-BE34-540D-B3F9-D5ACFC746527}"/>
                  </a:ext>
                </a:extLst>
              </p:cNvPr>
              <p:cNvSpPr/>
              <p:nvPr/>
            </p:nvSpPr>
            <p:spPr>
              <a:xfrm>
                <a:off x="6081487" y="1460806"/>
                <a:ext cx="34217" cy="54474"/>
              </a:xfrm>
              <a:custGeom>
                <a:avLst/>
                <a:gdLst>
                  <a:gd name="connsiteX0" fmla="*/ 21076 w 34217"/>
                  <a:gd name="connsiteY0" fmla="*/ 54475 h 54474"/>
                  <a:gd name="connsiteX1" fmla="*/ 778 w 34217"/>
                  <a:gd name="connsiteY1" fmla="*/ 21035 h 54474"/>
                  <a:gd name="connsiteX2" fmla="*/ 34217 w 34217"/>
                  <a:gd name="connsiteY2" fmla="*/ 803 h 544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4217" h="54474">
                    <a:moveTo>
                      <a:pt x="21076" y="54475"/>
                    </a:moveTo>
                    <a:cubicBezTo>
                      <a:pt x="6308" y="50832"/>
                      <a:pt x="-2800" y="35803"/>
                      <a:pt x="778" y="21035"/>
                    </a:cubicBezTo>
                    <a:cubicBezTo>
                      <a:pt x="4421" y="6267"/>
                      <a:pt x="19449" y="-2841"/>
                      <a:pt x="34217" y="803"/>
                    </a:cubicBezTo>
                  </a:path>
                </a:pathLst>
              </a:custGeom>
              <a:noFill/>
              <a:ln w="19050" cap="sq">
                <a:solidFill>
                  <a:schemeClr val="accent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89" name="Forma livre: Forma 88">
                <a:extLst>
                  <a:ext uri="{FF2B5EF4-FFF2-40B4-BE49-F238E27FC236}">
                    <a16:creationId xmlns:a16="http://schemas.microsoft.com/office/drawing/2014/main" id="{E1E6818B-EAC3-3C59-744E-399AAD2CB2F2}"/>
                  </a:ext>
                </a:extLst>
              </p:cNvPr>
              <p:cNvSpPr/>
              <p:nvPr/>
            </p:nvSpPr>
            <p:spPr>
              <a:xfrm>
                <a:off x="6073547" y="1527543"/>
                <a:ext cx="114760" cy="72506"/>
              </a:xfrm>
              <a:custGeom>
                <a:avLst/>
                <a:gdLst>
                  <a:gd name="connsiteX0" fmla="*/ 114760 w 114760"/>
                  <a:gd name="connsiteY0" fmla="*/ 7254 h 72506"/>
                  <a:gd name="connsiteX1" fmla="*/ 73905 w 114760"/>
                  <a:gd name="connsiteY1" fmla="*/ 8881 h 72506"/>
                  <a:gd name="connsiteX2" fmla="*/ 0 w 114760"/>
                  <a:gd name="connsiteY2" fmla="*/ 72506 h 725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14760" h="72506">
                    <a:moveTo>
                      <a:pt x="114760" y="7254"/>
                    </a:moveTo>
                    <a:cubicBezTo>
                      <a:pt x="103375" y="-2830"/>
                      <a:pt x="83989" y="-2504"/>
                      <a:pt x="73905" y="8881"/>
                    </a:cubicBezTo>
                    <a:cubicBezTo>
                      <a:pt x="73905" y="8881"/>
                      <a:pt x="31488" y="72506"/>
                      <a:pt x="0" y="72506"/>
                    </a:cubicBezTo>
                  </a:path>
                </a:pathLst>
              </a:custGeom>
              <a:noFill/>
              <a:ln w="19050" cap="sq">
                <a:solidFill>
                  <a:schemeClr val="accent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0" name="Forma livre: Forma 89">
                <a:extLst>
                  <a:ext uri="{FF2B5EF4-FFF2-40B4-BE49-F238E27FC236}">
                    <a16:creationId xmlns:a16="http://schemas.microsoft.com/office/drawing/2014/main" id="{DCA2B09B-B25B-C51B-3156-B7385029C9A1}"/>
                  </a:ext>
                </a:extLst>
              </p:cNvPr>
              <p:cNvSpPr/>
              <p:nvPr/>
            </p:nvSpPr>
            <p:spPr>
              <a:xfrm>
                <a:off x="6079857" y="1646956"/>
                <a:ext cx="29405" cy="9823"/>
              </a:xfrm>
              <a:custGeom>
                <a:avLst/>
                <a:gdLst>
                  <a:gd name="connsiteX0" fmla="*/ 0 w 29405"/>
                  <a:gd name="connsiteY0" fmla="*/ 0 h 9823"/>
                  <a:gd name="connsiteX1" fmla="*/ 29406 w 29405"/>
                  <a:gd name="connsiteY1" fmla="*/ 9824 h 98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9405" h="9823">
                    <a:moveTo>
                      <a:pt x="0" y="0"/>
                    </a:moveTo>
                    <a:lnTo>
                      <a:pt x="29406" y="9824"/>
                    </a:lnTo>
                  </a:path>
                </a:pathLst>
              </a:custGeom>
              <a:ln w="19050" cap="sq">
                <a:solidFill>
                  <a:schemeClr val="accent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1" name="Forma livre: Forma 90">
                <a:extLst>
                  <a:ext uri="{FF2B5EF4-FFF2-40B4-BE49-F238E27FC236}">
                    <a16:creationId xmlns:a16="http://schemas.microsoft.com/office/drawing/2014/main" id="{B81B9CB9-5000-578C-2AA0-9E91707A288F}"/>
                  </a:ext>
                </a:extLst>
              </p:cNvPr>
              <p:cNvSpPr/>
              <p:nvPr/>
            </p:nvSpPr>
            <p:spPr>
              <a:xfrm>
                <a:off x="6061121" y="1545272"/>
                <a:ext cx="47166" cy="34154"/>
              </a:xfrm>
              <a:custGeom>
                <a:avLst/>
                <a:gdLst>
                  <a:gd name="connsiteX0" fmla="*/ 0 w 47166"/>
                  <a:gd name="connsiteY0" fmla="*/ 0 h 34154"/>
                  <a:gd name="connsiteX1" fmla="*/ 47166 w 47166"/>
                  <a:gd name="connsiteY1" fmla="*/ 34155 h 341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166" h="34154">
                    <a:moveTo>
                      <a:pt x="0" y="0"/>
                    </a:moveTo>
                    <a:cubicBezTo>
                      <a:pt x="0" y="0"/>
                      <a:pt x="27649" y="13011"/>
                      <a:pt x="47166" y="34155"/>
                    </a:cubicBezTo>
                  </a:path>
                </a:pathLst>
              </a:custGeom>
              <a:noFill/>
              <a:ln w="19050" cap="sq">
                <a:solidFill>
                  <a:schemeClr val="accent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72" name="Gráfico 32">
              <a:extLst>
                <a:ext uri="{FF2B5EF4-FFF2-40B4-BE49-F238E27FC236}">
                  <a16:creationId xmlns:a16="http://schemas.microsoft.com/office/drawing/2014/main" id="{7AC2225F-0460-1F55-0367-2D3733F654D0}"/>
                </a:ext>
              </a:extLst>
            </p:cNvPr>
            <p:cNvGrpSpPr/>
            <p:nvPr/>
          </p:nvGrpSpPr>
          <p:grpSpPr>
            <a:xfrm>
              <a:off x="6191625" y="1599725"/>
              <a:ext cx="173767" cy="157112"/>
              <a:chOff x="6191625" y="1599725"/>
              <a:chExt cx="173767" cy="157112"/>
            </a:xfrm>
            <a:noFill/>
          </p:grpSpPr>
          <p:sp>
            <p:nvSpPr>
              <p:cNvPr id="82" name="Forma livre: Forma 81">
                <a:extLst>
                  <a:ext uri="{FF2B5EF4-FFF2-40B4-BE49-F238E27FC236}">
                    <a16:creationId xmlns:a16="http://schemas.microsoft.com/office/drawing/2014/main" id="{1AD9FCD7-F282-03B7-CD36-8157CAED60BE}"/>
                  </a:ext>
                </a:extLst>
              </p:cNvPr>
              <p:cNvSpPr/>
              <p:nvPr/>
            </p:nvSpPr>
            <p:spPr>
              <a:xfrm>
                <a:off x="6310094" y="1621974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accent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83" name="Forma livre: Forma 82">
                <a:extLst>
                  <a:ext uri="{FF2B5EF4-FFF2-40B4-BE49-F238E27FC236}">
                    <a16:creationId xmlns:a16="http://schemas.microsoft.com/office/drawing/2014/main" id="{FCA5094E-43F2-6E6A-B5F5-F39EC1B2C5C0}"/>
                  </a:ext>
                </a:extLst>
              </p:cNvPr>
              <p:cNvSpPr/>
              <p:nvPr/>
            </p:nvSpPr>
            <p:spPr>
              <a:xfrm>
                <a:off x="6191625" y="1599725"/>
                <a:ext cx="118078" cy="49898"/>
              </a:xfrm>
              <a:custGeom>
                <a:avLst/>
                <a:gdLst>
                  <a:gd name="connsiteX0" fmla="*/ 0 w 118078"/>
                  <a:gd name="connsiteY0" fmla="*/ 0 h 49898"/>
                  <a:gd name="connsiteX1" fmla="*/ 37343 w 118078"/>
                  <a:gd name="connsiteY1" fmla="*/ 0 h 49898"/>
                  <a:gd name="connsiteX2" fmla="*/ 87176 w 118078"/>
                  <a:gd name="connsiteY2" fmla="*/ 49899 h 49898"/>
                  <a:gd name="connsiteX3" fmla="*/ 118078 w 118078"/>
                  <a:gd name="connsiteY3" fmla="*/ 49899 h 49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8078" h="49898">
                    <a:moveTo>
                      <a:pt x="0" y="0"/>
                    </a:moveTo>
                    <a:lnTo>
                      <a:pt x="37343" y="0"/>
                    </a:lnTo>
                    <a:lnTo>
                      <a:pt x="87176" y="49899"/>
                    </a:lnTo>
                    <a:lnTo>
                      <a:pt x="118078" y="49899"/>
                    </a:lnTo>
                  </a:path>
                </a:pathLst>
              </a:custGeom>
              <a:noFill/>
              <a:ln w="19050" cap="sq">
                <a:solidFill>
                  <a:schemeClr val="accent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84" name="Forma livre: Forma 83">
                <a:extLst>
                  <a:ext uri="{FF2B5EF4-FFF2-40B4-BE49-F238E27FC236}">
                    <a16:creationId xmlns:a16="http://schemas.microsoft.com/office/drawing/2014/main" id="{6CDC6DA1-0861-49CD-3338-353525552EDD}"/>
                  </a:ext>
                </a:extLst>
              </p:cNvPr>
              <p:cNvSpPr/>
              <p:nvPr/>
            </p:nvSpPr>
            <p:spPr>
              <a:xfrm>
                <a:off x="6191625" y="1665367"/>
                <a:ext cx="81906" cy="44108"/>
              </a:xfrm>
              <a:custGeom>
                <a:avLst/>
                <a:gdLst>
                  <a:gd name="connsiteX0" fmla="*/ 0 w 81906"/>
                  <a:gd name="connsiteY0" fmla="*/ 0 h 44108"/>
                  <a:gd name="connsiteX1" fmla="*/ 37343 w 81906"/>
                  <a:gd name="connsiteY1" fmla="*/ 0 h 44108"/>
                  <a:gd name="connsiteX2" fmla="*/ 81907 w 81906"/>
                  <a:gd name="connsiteY2" fmla="*/ 44109 h 441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1906" h="44108">
                    <a:moveTo>
                      <a:pt x="0" y="0"/>
                    </a:moveTo>
                    <a:lnTo>
                      <a:pt x="37343" y="0"/>
                    </a:lnTo>
                    <a:lnTo>
                      <a:pt x="81907" y="44109"/>
                    </a:lnTo>
                  </a:path>
                </a:pathLst>
              </a:custGeom>
              <a:noFill/>
              <a:ln w="19050" cap="sq">
                <a:solidFill>
                  <a:schemeClr val="accent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85" name="Forma livre: Forma 84">
                <a:extLst>
                  <a:ext uri="{FF2B5EF4-FFF2-40B4-BE49-F238E27FC236}">
                    <a16:creationId xmlns:a16="http://schemas.microsoft.com/office/drawing/2014/main" id="{B9C57FB6-4014-C4D9-5C79-09B0E13EC458}"/>
                  </a:ext>
                </a:extLst>
              </p:cNvPr>
              <p:cNvSpPr/>
              <p:nvPr/>
            </p:nvSpPr>
            <p:spPr>
              <a:xfrm>
                <a:off x="6265075" y="1701539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accent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73" name="Gráfico 32">
              <a:extLst>
                <a:ext uri="{FF2B5EF4-FFF2-40B4-BE49-F238E27FC236}">
                  <a16:creationId xmlns:a16="http://schemas.microsoft.com/office/drawing/2014/main" id="{A7363D5F-A8CD-595C-2766-8C1166C0F19E}"/>
                </a:ext>
              </a:extLst>
            </p:cNvPr>
            <p:cNvGrpSpPr/>
            <p:nvPr/>
          </p:nvGrpSpPr>
          <p:grpSpPr>
            <a:xfrm>
              <a:off x="6191625" y="1357908"/>
              <a:ext cx="173767" cy="157112"/>
              <a:chOff x="6191625" y="1357908"/>
              <a:chExt cx="173767" cy="157112"/>
            </a:xfrm>
            <a:noFill/>
          </p:grpSpPr>
          <p:sp>
            <p:nvSpPr>
              <p:cNvPr id="78" name="Forma livre: Forma 77">
                <a:extLst>
                  <a:ext uri="{FF2B5EF4-FFF2-40B4-BE49-F238E27FC236}">
                    <a16:creationId xmlns:a16="http://schemas.microsoft.com/office/drawing/2014/main" id="{EBE7B7F1-22E4-F389-864F-1A439E2EE9F8}"/>
                  </a:ext>
                </a:extLst>
              </p:cNvPr>
              <p:cNvSpPr/>
              <p:nvPr/>
            </p:nvSpPr>
            <p:spPr>
              <a:xfrm>
                <a:off x="6310094" y="1437472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0 h 55298"/>
                  <a:gd name="connsiteX2" fmla="*/ 0 w 55298"/>
                  <a:gd name="connsiteY2" fmla="*/ 27649 h 55298"/>
                  <a:gd name="connsiteX3" fmla="*/ 27649 w 55298"/>
                  <a:gd name="connsiteY3" fmla="*/ 55298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12361"/>
                      <a:pt x="42938" y="0"/>
                      <a:pt x="27649" y="0"/>
                    </a:cubicBezTo>
                    <a:cubicBezTo>
                      <a:pt x="12361" y="0"/>
                      <a:pt x="0" y="12361"/>
                      <a:pt x="0" y="27649"/>
                    </a:cubicBezTo>
                    <a:cubicBezTo>
                      <a:pt x="0" y="42938"/>
                      <a:pt x="12361" y="55298"/>
                      <a:pt x="27649" y="55298"/>
                    </a:cubicBezTo>
                    <a:cubicBezTo>
                      <a:pt x="42938" y="55298"/>
                      <a:pt x="55298" y="42938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accent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9" name="Forma livre: Forma 78">
                <a:extLst>
                  <a:ext uri="{FF2B5EF4-FFF2-40B4-BE49-F238E27FC236}">
                    <a16:creationId xmlns:a16="http://schemas.microsoft.com/office/drawing/2014/main" id="{494549CF-8098-2A08-F54F-7FD26B92AB94}"/>
                  </a:ext>
                </a:extLst>
              </p:cNvPr>
              <p:cNvSpPr/>
              <p:nvPr/>
            </p:nvSpPr>
            <p:spPr>
              <a:xfrm>
                <a:off x="6191625" y="1465122"/>
                <a:ext cx="118468" cy="49898"/>
              </a:xfrm>
              <a:custGeom>
                <a:avLst/>
                <a:gdLst>
                  <a:gd name="connsiteX0" fmla="*/ 0 w 118468"/>
                  <a:gd name="connsiteY0" fmla="*/ 49899 h 49898"/>
                  <a:gd name="connsiteX1" fmla="*/ 37343 w 118468"/>
                  <a:gd name="connsiteY1" fmla="*/ 49899 h 49898"/>
                  <a:gd name="connsiteX2" fmla="*/ 87176 w 118468"/>
                  <a:gd name="connsiteY2" fmla="*/ 0 h 49898"/>
                  <a:gd name="connsiteX3" fmla="*/ 118469 w 118468"/>
                  <a:gd name="connsiteY3" fmla="*/ 0 h 49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8468" h="49898">
                    <a:moveTo>
                      <a:pt x="0" y="49899"/>
                    </a:moveTo>
                    <a:lnTo>
                      <a:pt x="37343" y="49899"/>
                    </a:lnTo>
                    <a:lnTo>
                      <a:pt x="87176" y="0"/>
                    </a:lnTo>
                    <a:lnTo>
                      <a:pt x="118469" y="0"/>
                    </a:lnTo>
                  </a:path>
                </a:pathLst>
              </a:custGeom>
              <a:noFill/>
              <a:ln w="19050" cap="sq">
                <a:solidFill>
                  <a:schemeClr val="accent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80" name="Forma livre: Forma 79">
                <a:extLst>
                  <a:ext uri="{FF2B5EF4-FFF2-40B4-BE49-F238E27FC236}">
                    <a16:creationId xmlns:a16="http://schemas.microsoft.com/office/drawing/2014/main" id="{8D6921D6-2C22-BA23-BD4F-B33BB8362AE8}"/>
                  </a:ext>
                </a:extLst>
              </p:cNvPr>
              <p:cNvSpPr/>
              <p:nvPr/>
            </p:nvSpPr>
            <p:spPr>
              <a:xfrm>
                <a:off x="6191625" y="1405269"/>
                <a:ext cx="81451" cy="44043"/>
              </a:xfrm>
              <a:custGeom>
                <a:avLst/>
                <a:gdLst>
                  <a:gd name="connsiteX0" fmla="*/ 0 w 81451"/>
                  <a:gd name="connsiteY0" fmla="*/ 44044 h 44043"/>
                  <a:gd name="connsiteX1" fmla="*/ 37343 w 81451"/>
                  <a:gd name="connsiteY1" fmla="*/ 44044 h 44043"/>
                  <a:gd name="connsiteX2" fmla="*/ 81451 w 81451"/>
                  <a:gd name="connsiteY2" fmla="*/ 0 h 440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1451" h="44043">
                    <a:moveTo>
                      <a:pt x="0" y="44044"/>
                    </a:moveTo>
                    <a:lnTo>
                      <a:pt x="37343" y="44044"/>
                    </a:lnTo>
                    <a:lnTo>
                      <a:pt x="81451" y="0"/>
                    </a:lnTo>
                  </a:path>
                </a:pathLst>
              </a:custGeom>
              <a:noFill/>
              <a:ln w="19050" cap="sq">
                <a:solidFill>
                  <a:schemeClr val="accent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81" name="Forma livre: Forma 80">
                <a:extLst>
                  <a:ext uri="{FF2B5EF4-FFF2-40B4-BE49-F238E27FC236}">
                    <a16:creationId xmlns:a16="http://schemas.microsoft.com/office/drawing/2014/main" id="{9D55FB06-7B4C-DC85-615C-89F1D0090290}"/>
                  </a:ext>
                </a:extLst>
              </p:cNvPr>
              <p:cNvSpPr/>
              <p:nvPr/>
            </p:nvSpPr>
            <p:spPr>
              <a:xfrm>
                <a:off x="6265075" y="1357908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0 h 55298"/>
                  <a:gd name="connsiteX2" fmla="*/ 0 w 55298"/>
                  <a:gd name="connsiteY2" fmla="*/ 27649 h 55298"/>
                  <a:gd name="connsiteX3" fmla="*/ 27649 w 55298"/>
                  <a:gd name="connsiteY3" fmla="*/ 55298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12361"/>
                      <a:pt x="42938" y="0"/>
                      <a:pt x="27649" y="0"/>
                    </a:cubicBezTo>
                    <a:cubicBezTo>
                      <a:pt x="12361" y="0"/>
                      <a:pt x="0" y="12361"/>
                      <a:pt x="0" y="27649"/>
                    </a:cubicBezTo>
                    <a:cubicBezTo>
                      <a:pt x="0" y="42938"/>
                      <a:pt x="12361" y="55298"/>
                      <a:pt x="27649" y="55298"/>
                    </a:cubicBezTo>
                    <a:cubicBezTo>
                      <a:pt x="42938" y="55298"/>
                      <a:pt x="55298" y="42938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accent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74" name="Gráfico 32">
              <a:extLst>
                <a:ext uri="{FF2B5EF4-FFF2-40B4-BE49-F238E27FC236}">
                  <a16:creationId xmlns:a16="http://schemas.microsoft.com/office/drawing/2014/main" id="{2EBBD6DF-6012-DC25-9E48-83F0FD517CD9}"/>
                </a:ext>
              </a:extLst>
            </p:cNvPr>
            <p:cNvGrpSpPr/>
            <p:nvPr/>
          </p:nvGrpSpPr>
          <p:grpSpPr>
            <a:xfrm>
              <a:off x="6190910" y="1529723"/>
              <a:ext cx="123673" cy="55298"/>
              <a:chOff x="6190910" y="1529723"/>
              <a:chExt cx="123673" cy="55298"/>
            </a:xfrm>
            <a:noFill/>
          </p:grpSpPr>
          <p:sp>
            <p:nvSpPr>
              <p:cNvPr id="76" name="Forma livre: Forma 75">
                <a:extLst>
                  <a:ext uri="{FF2B5EF4-FFF2-40B4-BE49-F238E27FC236}">
                    <a16:creationId xmlns:a16="http://schemas.microsoft.com/office/drawing/2014/main" id="{68D8F2AE-474B-7FC9-1413-4E707003DD31}"/>
                  </a:ext>
                </a:extLst>
              </p:cNvPr>
              <p:cNvSpPr/>
              <p:nvPr/>
            </p:nvSpPr>
            <p:spPr>
              <a:xfrm>
                <a:off x="6190910" y="1557372"/>
                <a:ext cx="68765" cy="6505"/>
              </a:xfrm>
              <a:custGeom>
                <a:avLst/>
                <a:gdLst>
                  <a:gd name="connsiteX0" fmla="*/ 0 w 68765"/>
                  <a:gd name="connsiteY0" fmla="*/ 0 h 6505"/>
                  <a:gd name="connsiteX1" fmla="*/ 68765 w 68765"/>
                  <a:gd name="connsiteY1" fmla="*/ 0 h 65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8765" h="6505">
                    <a:moveTo>
                      <a:pt x="0" y="0"/>
                    </a:moveTo>
                    <a:lnTo>
                      <a:pt x="68765" y="0"/>
                    </a:lnTo>
                  </a:path>
                </a:pathLst>
              </a:custGeom>
              <a:ln w="19050" cap="sq">
                <a:solidFill>
                  <a:schemeClr val="accent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7" name="Forma livre: Forma 76">
                <a:extLst>
                  <a:ext uri="{FF2B5EF4-FFF2-40B4-BE49-F238E27FC236}">
                    <a16:creationId xmlns:a16="http://schemas.microsoft.com/office/drawing/2014/main" id="{4475BC92-950F-99FF-728B-455FC12716B9}"/>
                  </a:ext>
                </a:extLst>
              </p:cNvPr>
              <p:cNvSpPr/>
              <p:nvPr/>
            </p:nvSpPr>
            <p:spPr>
              <a:xfrm>
                <a:off x="6259285" y="1529723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accent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75" name="Forma livre: Forma 74">
              <a:extLst>
                <a:ext uri="{FF2B5EF4-FFF2-40B4-BE49-F238E27FC236}">
                  <a16:creationId xmlns:a16="http://schemas.microsoft.com/office/drawing/2014/main" id="{304B5E9F-C820-EBA8-8821-34EF0356E3C0}"/>
                </a:ext>
              </a:extLst>
            </p:cNvPr>
            <p:cNvSpPr/>
            <p:nvPr/>
          </p:nvSpPr>
          <p:spPr>
            <a:xfrm>
              <a:off x="6152201" y="1686285"/>
              <a:ext cx="37362" cy="20848"/>
            </a:xfrm>
            <a:custGeom>
              <a:avLst/>
              <a:gdLst>
                <a:gd name="connsiteX0" fmla="*/ 0 w 37362"/>
                <a:gd name="connsiteY0" fmla="*/ 10505 h 20848"/>
                <a:gd name="connsiteX1" fmla="*/ 27064 w 37362"/>
                <a:gd name="connsiteY1" fmla="*/ 2373 h 20848"/>
                <a:gd name="connsiteX2" fmla="*/ 37343 w 37362"/>
                <a:gd name="connsiteY2" fmla="*/ 20849 h 20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7362" h="20848">
                  <a:moveTo>
                    <a:pt x="0" y="10505"/>
                  </a:moveTo>
                  <a:cubicBezTo>
                    <a:pt x="5205" y="811"/>
                    <a:pt x="17435" y="-2832"/>
                    <a:pt x="27064" y="2373"/>
                  </a:cubicBezTo>
                  <a:cubicBezTo>
                    <a:pt x="34025" y="6081"/>
                    <a:pt x="37668" y="13432"/>
                    <a:pt x="37343" y="20849"/>
                  </a:cubicBezTo>
                </a:path>
              </a:pathLst>
            </a:custGeom>
            <a:noFill/>
            <a:ln w="19050" cap="sq">
              <a:solidFill>
                <a:schemeClr val="accent1"/>
              </a:solidFill>
              <a:prstDash val="solid"/>
              <a:miter lim="800000"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sp>
        <p:nvSpPr>
          <p:cNvPr id="2" name="Marcador de pie de página 1">
            <a:extLst>
              <a:ext uri="{FF2B5EF4-FFF2-40B4-BE49-F238E27FC236}">
                <a16:creationId xmlns:a16="http://schemas.microsoft.com/office/drawing/2014/main" id="{2D8EFEF5-DED1-4785-BAC9-DCC227FA786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pt-PT"/>
              <a:t>Título de la presentación</a:t>
            </a:r>
            <a:endParaRPr lang="pt-PT" dirty="0"/>
          </a:p>
        </p:txBody>
      </p:sp>
      <p:sp>
        <p:nvSpPr>
          <p:cNvPr id="3" name="Marcador de número de diapositiva 2">
            <a:extLst>
              <a:ext uri="{FF2B5EF4-FFF2-40B4-BE49-F238E27FC236}">
                <a16:creationId xmlns:a16="http://schemas.microsoft.com/office/drawing/2014/main" id="{F7C0151E-5EB1-4AC0-AF16-D56756233E8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4A347C2-D68E-473A-8C76-1D063E4EB6E0}" type="slidenum">
              <a:rPr lang="es-ES" smtClean="0"/>
              <a:pPr/>
              <a:t>30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9459688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5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42" presetClass="path" presetSubtype="0" decel="10000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animMotion origin="layout" path="M -0.01719 -0.00023 L -1.25E-6 1.85185E-6 " pathEditMode="relative" rAng="0" ptsTypes="AA">
                                      <p:cBhvr>
                                        <p:cTn id="9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859" y="0"/>
                                    </p:animMotion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25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42" presetClass="path" presetSubtype="0" decel="10000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animMotion origin="layout" path="M -0.01719 -0.00023 L -1.25E-6 1.85185E-6 " pathEditMode="relative" rAng="0" ptsTypes="AA">
                                      <p:cBhvr>
                                        <p:cTn id="14" dur="5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859" y="0"/>
                                    </p:animMotion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250"/>
                                        <p:tgtEl>
                                          <p:spTgt spid="6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42" presetClass="path" presetSubtype="0" decel="10000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animMotion origin="layout" path="M -0.01719 -0.00023 L -1.25E-6 1.85185E-6 " pathEditMode="relative" rAng="0" ptsTypes="AA">
                                      <p:cBhvr>
                                        <p:cTn id="19" dur="500" fill="hold"/>
                                        <p:tgtEl>
                                          <p:spTgt spid="6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859" y="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" name="Marcador de Posição da Imagem 27" descr="Uma imagem com fábrica, interior, pessoa, pessoas&#10;&#10;Os conteúdos gerados por IA podem estar incorretos.">
            <a:extLst>
              <a:ext uri="{FF2B5EF4-FFF2-40B4-BE49-F238E27FC236}">
                <a16:creationId xmlns:a16="http://schemas.microsoft.com/office/drawing/2014/main" id="{07B9C788-CF69-3E1D-88E3-73DD14D87337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>
          <a:blip r:embed="rId2"/>
          <a:srcRect l="5234" r="36876"/>
          <a:stretch>
            <a:fillRect/>
          </a:stretch>
        </p:blipFill>
        <p:spPr>
          <a:xfrm>
            <a:off x="827217" y="592931"/>
            <a:ext cx="4923329" cy="5672137"/>
          </a:xfrm>
        </p:spPr>
      </p:pic>
      <p:sp>
        <p:nvSpPr>
          <p:cNvPr id="16" name="Título 15">
            <a:extLst>
              <a:ext uri="{FF2B5EF4-FFF2-40B4-BE49-F238E27FC236}">
                <a16:creationId xmlns:a16="http://schemas.microsoft.com/office/drawing/2014/main" id="{E6F0F3E5-AE16-29ED-DA6E-7373DF7E0CB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PT" dirty="0"/>
              <a:t>Ejemplo de título de slide</a:t>
            </a:r>
          </a:p>
        </p:txBody>
      </p:sp>
      <p:sp>
        <p:nvSpPr>
          <p:cNvPr id="17" name="Marcador de Posição do Texto 16">
            <a:extLst>
              <a:ext uri="{FF2B5EF4-FFF2-40B4-BE49-F238E27FC236}">
                <a16:creationId xmlns:a16="http://schemas.microsoft.com/office/drawing/2014/main" id="{71CC2B9C-2F97-A502-3387-E7C7D1ACA3A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>
            <a:normAutofit lnSpcReduction="10000"/>
          </a:bodyPr>
          <a:lstStyle/>
          <a:p>
            <a:r>
              <a:rPr lang="pt-PT" dirty="0"/>
              <a:t>Ejemplo de subtítulo</a:t>
            </a:r>
          </a:p>
        </p:txBody>
      </p:sp>
      <p:sp>
        <p:nvSpPr>
          <p:cNvPr id="18" name="Marcador de Posição do Texto 17">
            <a:extLst>
              <a:ext uri="{FF2B5EF4-FFF2-40B4-BE49-F238E27FC236}">
                <a16:creationId xmlns:a16="http://schemas.microsoft.com/office/drawing/2014/main" id="{09C6D867-5B28-3060-EF88-349470F818F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pt-PT" dirty="0"/>
              <a:t>50</a:t>
            </a:r>
            <a:r>
              <a:rPr lang="pt-PT" baseline="30000" dirty="0"/>
              <a:t>%</a:t>
            </a:r>
          </a:p>
        </p:txBody>
      </p:sp>
      <p:sp>
        <p:nvSpPr>
          <p:cNvPr id="20" name="Marcador de Posição do Texto 19">
            <a:extLst>
              <a:ext uri="{FF2B5EF4-FFF2-40B4-BE49-F238E27FC236}">
                <a16:creationId xmlns:a16="http://schemas.microsoft.com/office/drawing/2014/main" id="{A7496A59-4224-CF27-9379-C8717ADA594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pt-PT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Lorem</a:t>
            </a:r>
            <a:r>
              <a:rPr lang="pt-PT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ipsum</a:t>
            </a:r>
            <a:r>
              <a:rPr lang="pt-PT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dolor</a:t>
            </a:r>
            <a:r>
              <a:rPr lang="pt-PT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sit</a:t>
            </a:r>
            <a:r>
              <a:rPr lang="pt-PT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amet</a:t>
            </a:r>
            <a:r>
              <a:rPr lang="pt-PT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, </a:t>
            </a:r>
            <a:r>
              <a:rPr lang="pt-PT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consectetuer</a:t>
            </a:r>
            <a:r>
              <a:rPr lang="pt-PT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adipiscing</a:t>
            </a:r>
            <a:r>
              <a:rPr lang="pt-PT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elit</a:t>
            </a:r>
            <a:r>
              <a:rPr lang="pt-PT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. </a:t>
            </a:r>
            <a:r>
              <a:rPr lang="pt-PT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Maecenas</a:t>
            </a:r>
            <a:r>
              <a:rPr lang="pt-PT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porttitor</a:t>
            </a:r>
            <a:r>
              <a:rPr lang="pt-PT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congue</a:t>
            </a:r>
            <a:r>
              <a:rPr lang="pt-PT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massa. </a:t>
            </a:r>
            <a:endParaRPr lang="pt-PT" dirty="0"/>
          </a:p>
          <a:p>
            <a:endParaRPr lang="pt-PT" dirty="0"/>
          </a:p>
        </p:txBody>
      </p:sp>
      <p:sp>
        <p:nvSpPr>
          <p:cNvPr id="21" name="Marcador de Posição do Texto 20">
            <a:extLst>
              <a:ext uri="{FF2B5EF4-FFF2-40B4-BE49-F238E27FC236}">
                <a16:creationId xmlns:a16="http://schemas.microsoft.com/office/drawing/2014/main" id="{0741999B-CD2E-08F5-A4B4-69CD6F4C600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pt-PT" dirty="0"/>
              <a:t>50</a:t>
            </a:r>
            <a:r>
              <a:rPr lang="pt-PT" baseline="30000" dirty="0"/>
              <a:t>%</a:t>
            </a:r>
          </a:p>
        </p:txBody>
      </p:sp>
      <p:sp>
        <p:nvSpPr>
          <p:cNvPr id="22" name="Marcador de Posição do Texto 21">
            <a:extLst>
              <a:ext uri="{FF2B5EF4-FFF2-40B4-BE49-F238E27FC236}">
                <a16:creationId xmlns:a16="http://schemas.microsoft.com/office/drawing/2014/main" id="{232161E0-64A8-6013-276E-F66F8C9488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pt-PT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Lorem</a:t>
            </a:r>
            <a:r>
              <a:rPr lang="pt-PT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ipsum</a:t>
            </a:r>
            <a:r>
              <a:rPr lang="pt-PT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dolor</a:t>
            </a:r>
            <a:r>
              <a:rPr lang="pt-PT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sit</a:t>
            </a:r>
            <a:r>
              <a:rPr lang="pt-PT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amet</a:t>
            </a:r>
            <a:r>
              <a:rPr lang="pt-PT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, </a:t>
            </a:r>
            <a:r>
              <a:rPr lang="pt-PT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consectetuer</a:t>
            </a:r>
            <a:r>
              <a:rPr lang="pt-PT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adipiscing</a:t>
            </a:r>
            <a:r>
              <a:rPr lang="pt-PT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elit</a:t>
            </a:r>
            <a:r>
              <a:rPr lang="pt-PT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. </a:t>
            </a:r>
            <a:r>
              <a:rPr lang="pt-PT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Maecenas</a:t>
            </a:r>
            <a:r>
              <a:rPr lang="pt-PT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porttitor</a:t>
            </a:r>
            <a:r>
              <a:rPr lang="pt-PT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congue</a:t>
            </a:r>
            <a:r>
              <a:rPr lang="pt-PT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massa. </a:t>
            </a:r>
            <a:endParaRPr lang="pt-PT" dirty="0"/>
          </a:p>
          <a:p>
            <a:endParaRPr lang="pt-PT" dirty="0"/>
          </a:p>
        </p:txBody>
      </p:sp>
      <p:sp>
        <p:nvSpPr>
          <p:cNvPr id="23" name="Marcador de Posição do Texto 22">
            <a:extLst>
              <a:ext uri="{FF2B5EF4-FFF2-40B4-BE49-F238E27FC236}">
                <a16:creationId xmlns:a16="http://schemas.microsoft.com/office/drawing/2014/main" id="{9E75841B-D186-1F8F-3C7B-69FAF824BD4A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r>
              <a:rPr lang="pt-PT" dirty="0"/>
              <a:t>50</a:t>
            </a:r>
            <a:r>
              <a:rPr lang="pt-PT" baseline="30000" dirty="0"/>
              <a:t>%</a:t>
            </a:r>
          </a:p>
        </p:txBody>
      </p:sp>
      <p:sp>
        <p:nvSpPr>
          <p:cNvPr id="24" name="Marcador de Posição do Texto 23">
            <a:extLst>
              <a:ext uri="{FF2B5EF4-FFF2-40B4-BE49-F238E27FC236}">
                <a16:creationId xmlns:a16="http://schemas.microsoft.com/office/drawing/2014/main" id="{13B96440-D24E-D4FF-52E2-D446960BEB54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r>
              <a:rPr lang="pt-PT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Lorem</a:t>
            </a:r>
            <a:r>
              <a:rPr lang="pt-PT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ipsum</a:t>
            </a:r>
            <a:r>
              <a:rPr lang="pt-PT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dolor</a:t>
            </a:r>
            <a:r>
              <a:rPr lang="pt-PT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sit</a:t>
            </a:r>
            <a:r>
              <a:rPr lang="pt-PT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amet</a:t>
            </a:r>
            <a:r>
              <a:rPr lang="pt-PT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, </a:t>
            </a:r>
            <a:r>
              <a:rPr lang="pt-PT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consectetuer</a:t>
            </a:r>
            <a:r>
              <a:rPr lang="pt-PT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adipiscing</a:t>
            </a:r>
            <a:r>
              <a:rPr lang="pt-PT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elit</a:t>
            </a:r>
            <a:r>
              <a:rPr lang="pt-PT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. </a:t>
            </a:r>
            <a:r>
              <a:rPr lang="pt-PT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Maecenas</a:t>
            </a:r>
            <a:r>
              <a:rPr lang="pt-PT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porttitor</a:t>
            </a:r>
            <a:r>
              <a:rPr lang="pt-PT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congue</a:t>
            </a:r>
            <a:r>
              <a:rPr lang="pt-PT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massa. </a:t>
            </a:r>
            <a:endParaRPr lang="pt-PT" dirty="0"/>
          </a:p>
          <a:p>
            <a:endParaRPr lang="pt-PT" dirty="0"/>
          </a:p>
        </p:txBody>
      </p:sp>
      <p:sp>
        <p:nvSpPr>
          <p:cNvPr id="25" name="Marcador de Posição do Texto 24">
            <a:extLst>
              <a:ext uri="{FF2B5EF4-FFF2-40B4-BE49-F238E27FC236}">
                <a16:creationId xmlns:a16="http://schemas.microsoft.com/office/drawing/2014/main" id="{5100734E-A643-747D-B9D0-D3CCE67DCDDD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r>
              <a:rPr lang="pt-PT" dirty="0"/>
              <a:t>50</a:t>
            </a:r>
            <a:r>
              <a:rPr lang="pt-PT" baseline="30000" dirty="0"/>
              <a:t>%</a:t>
            </a:r>
          </a:p>
        </p:txBody>
      </p:sp>
      <p:sp>
        <p:nvSpPr>
          <p:cNvPr id="26" name="Marcador de Posição do Texto 25">
            <a:extLst>
              <a:ext uri="{FF2B5EF4-FFF2-40B4-BE49-F238E27FC236}">
                <a16:creationId xmlns:a16="http://schemas.microsoft.com/office/drawing/2014/main" id="{74163844-1F2E-B39A-FA51-73F5E6D601C5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/>
        <p:txBody>
          <a:bodyPr/>
          <a:lstStyle/>
          <a:p>
            <a:r>
              <a:rPr lang="pt-PT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Lorem</a:t>
            </a:r>
            <a:r>
              <a:rPr lang="pt-PT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ipsum</a:t>
            </a:r>
            <a:r>
              <a:rPr lang="pt-PT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dolor</a:t>
            </a:r>
            <a:r>
              <a:rPr lang="pt-PT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sit</a:t>
            </a:r>
            <a:r>
              <a:rPr lang="pt-PT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amet</a:t>
            </a:r>
            <a:r>
              <a:rPr lang="pt-PT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, </a:t>
            </a:r>
            <a:r>
              <a:rPr lang="pt-PT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consectetuer</a:t>
            </a:r>
            <a:r>
              <a:rPr lang="pt-PT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adipiscing</a:t>
            </a:r>
            <a:r>
              <a:rPr lang="pt-PT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elit</a:t>
            </a:r>
            <a:r>
              <a:rPr lang="pt-PT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. </a:t>
            </a:r>
            <a:r>
              <a:rPr lang="pt-PT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Maecenas</a:t>
            </a:r>
            <a:r>
              <a:rPr lang="pt-PT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porttitor</a:t>
            </a:r>
            <a:r>
              <a:rPr lang="pt-PT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congue</a:t>
            </a:r>
            <a:r>
              <a:rPr lang="pt-PT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massa. </a:t>
            </a:r>
            <a:endParaRPr lang="pt-PT" dirty="0"/>
          </a:p>
          <a:p>
            <a:endParaRPr lang="pt-PT" dirty="0"/>
          </a:p>
        </p:txBody>
      </p:sp>
      <p:sp>
        <p:nvSpPr>
          <p:cNvPr id="2" name="Marcador de pie de página 1">
            <a:extLst>
              <a:ext uri="{FF2B5EF4-FFF2-40B4-BE49-F238E27FC236}">
                <a16:creationId xmlns:a16="http://schemas.microsoft.com/office/drawing/2014/main" id="{E1E86C9C-A4B0-49E5-B219-56F0B5B15FA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pt-PT"/>
              <a:t>Título de la presentación</a:t>
            </a:r>
            <a:endParaRPr lang="pt-PT" dirty="0"/>
          </a:p>
        </p:txBody>
      </p:sp>
      <p:sp>
        <p:nvSpPr>
          <p:cNvPr id="3" name="Marcador de número de diapositiva 2">
            <a:extLst>
              <a:ext uri="{FF2B5EF4-FFF2-40B4-BE49-F238E27FC236}">
                <a16:creationId xmlns:a16="http://schemas.microsoft.com/office/drawing/2014/main" id="{6F01B7A3-B21C-4133-89AC-DD2CA1DE92D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4A347C2-D68E-473A-8C76-1D063E4EB6E0}" type="slidenum">
              <a:rPr lang="es-ES" smtClean="0"/>
              <a:pPr/>
              <a:t>31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2310146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ítulo 12">
            <a:extLst>
              <a:ext uri="{FF2B5EF4-FFF2-40B4-BE49-F238E27FC236}">
                <a16:creationId xmlns:a16="http://schemas.microsoft.com/office/drawing/2014/main" id="{8B3AC022-3EA1-68FF-D499-15EBCF43E05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pt-PT" dirty="0"/>
              <a:t>Ejemplo de título de slide</a:t>
            </a:r>
          </a:p>
        </p:txBody>
      </p:sp>
      <p:sp>
        <p:nvSpPr>
          <p:cNvPr id="14" name="Marcador de Posição do Texto 13">
            <a:extLst>
              <a:ext uri="{FF2B5EF4-FFF2-40B4-BE49-F238E27FC236}">
                <a16:creationId xmlns:a16="http://schemas.microsoft.com/office/drawing/2014/main" id="{CEEDF6FA-8E3B-BA0A-C64A-1C1732CFEBF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pt-PT" dirty="0"/>
              <a:t>Ejemplo de subtítulo de slide</a:t>
            </a:r>
          </a:p>
        </p:txBody>
      </p:sp>
      <p:sp>
        <p:nvSpPr>
          <p:cNvPr id="16" name="Marcador de Posição do Texto 15">
            <a:extLst>
              <a:ext uri="{FF2B5EF4-FFF2-40B4-BE49-F238E27FC236}">
                <a16:creationId xmlns:a16="http://schemas.microsoft.com/office/drawing/2014/main" id="{B3E72206-8AC3-256D-0308-B4C6A79FA8C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Lorem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ipsum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dolor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sit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amet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,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consectetuer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adipiscing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elit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.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Maecenas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porttitor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congue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massa. </a:t>
            </a:r>
            <a:r>
              <a:rPr lang="pt-PT" dirty="0" err="1"/>
              <a:t>Fusce</a:t>
            </a:r>
            <a:r>
              <a:rPr lang="pt-PT" dirty="0"/>
              <a:t> </a:t>
            </a:r>
            <a:r>
              <a:rPr lang="pt-PT" dirty="0" err="1"/>
              <a:t>posuere</a:t>
            </a:r>
            <a:r>
              <a:rPr lang="pt-PT" dirty="0"/>
              <a:t>, magna </a:t>
            </a:r>
            <a:r>
              <a:rPr lang="pt-PT" dirty="0" err="1"/>
              <a:t>sed</a:t>
            </a:r>
            <a:r>
              <a:rPr lang="pt-PT" dirty="0"/>
              <a:t> pulvinar </a:t>
            </a:r>
            <a:r>
              <a:rPr lang="pt-PT" dirty="0" err="1"/>
              <a:t>ultricies</a:t>
            </a:r>
            <a:r>
              <a:rPr lang="pt-PT" dirty="0"/>
              <a:t>, purus </a:t>
            </a:r>
            <a:r>
              <a:rPr lang="pt-PT" dirty="0" err="1"/>
              <a:t>lectus</a:t>
            </a:r>
            <a:r>
              <a:rPr lang="pt-PT" dirty="0"/>
              <a:t> </a:t>
            </a:r>
            <a:r>
              <a:rPr lang="pt-PT" dirty="0" err="1"/>
              <a:t>malesuada</a:t>
            </a:r>
            <a:r>
              <a:rPr lang="pt-PT" dirty="0"/>
              <a:t> libero,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r>
              <a:rPr lang="pt-PT" dirty="0"/>
              <a:t>.</a:t>
            </a:r>
          </a:p>
          <a:p>
            <a:r>
              <a:rPr lang="pt-PT" dirty="0" err="1"/>
              <a:t>Lorem</a:t>
            </a:r>
            <a:r>
              <a:rPr lang="pt-PT" dirty="0"/>
              <a:t> </a:t>
            </a:r>
            <a:r>
              <a:rPr lang="pt-PT" dirty="0" err="1"/>
              <a:t>ipsum</a:t>
            </a:r>
            <a:r>
              <a:rPr lang="pt-PT" dirty="0"/>
              <a:t> </a:t>
            </a:r>
            <a:r>
              <a:rPr lang="pt-PT" dirty="0" err="1"/>
              <a:t>dolor</a:t>
            </a:r>
            <a:r>
              <a:rPr lang="pt-PT" dirty="0"/>
              <a:t>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r>
              <a:rPr lang="pt-PT" dirty="0"/>
              <a:t>, </a:t>
            </a:r>
            <a:r>
              <a:rPr lang="pt-PT" dirty="0" err="1"/>
              <a:t>consectetuer</a:t>
            </a:r>
            <a:r>
              <a:rPr lang="pt-PT" dirty="0"/>
              <a:t> </a:t>
            </a:r>
            <a:r>
              <a:rPr lang="pt-PT" dirty="0" err="1"/>
              <a:t>adipiscing</a:t>
            </a:r>
            <a:r>
              <a:rPr lang="pt-PT" dirty="0"/>
              <a:t> </a:t>
            </a:r>
            <a:r>
              <a:rPr lang="pt-PT" dirty="0" err="1"/>
              <a:t>elit</a:t>
            </a:r>
            <a:r>
              <a:rPr lang="pt-PT" dirty="0"/>
              <a:t>. </a:t>
            </a:r>
            <a:r>
              <a:rPr lang="pt-PT" dirty="0" err="1"/>
              <a:t>Maecenas</a:t>
            </a:r>
            <a:r>
              <a:rPr lang="pt-PT" dirty="0"/>
              <a:t> </a:t>
            </a:r>
            <a:r>
              <a:rPr lang="pt-PT" dirty="0" err="1"/>
              <a:t>porttitor</a:t>
            </a:r>
            <a:r>
              <a:rPr lang="pt-PT" dirty="0"/>
              <a:t> </a:t>
            </a:r>
            <a:r>
              <a:rPr lang="pt-PT" dirty="0" err="1"/>
              <a:t>congue</a:t>
            </a:r>
            <a:r>
              <a:rPr lang="pt-PT" dirty="0"/>
              <a:t> massa. </a:t>
            </a:r>
          </a:p>
        </p:txBody>
      </p:sp>
      <p:sp>
        <p:nvSpPr>
          <p:cNvPr id="15" name="Marcador de Posição do Texto 14">
            <a:extLst>
              <a:ext uri="{FF2B5EF4-FFF2-40B4-BE49-F238E27FC236}">
                <a16:creationId xmlns:a16="http://schemas.microsoft.com/office/drawing/2014/main" id="{C895D622-549C-3209-1910-5557C19E0872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Lorem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ipsum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dolor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sit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amet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,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consectetuer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adipiscing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elit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.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Maecenas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porttitor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congue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massa. </a:t>
            </a:r>
            <a:r>
              <a:rPr lang="pt-PT" dirty="0" err="1"/>
              <a:t>Fusce</a:t>
            </a:r>
            <a:r>
              <a:rPr lang="pt-PT" dirty="0"/>
              <a:t> </a:t>
            </a:r>
            <a:r>
              <a:rPr lang="pt-PT" dirty="0" err="1"/>
              <a:t>posuere</a:t>
            </a:r>
            <a:r>
              <a:rPr lang="pt-PT" dirty="0"/>
              <a:t>, magna </a:t>
            </a:r>
            <a:r>
              <a:rPr lang="pt-PT" dirty="0" err="1"/>
              <a:t>sed</a:t>
            </a:r>
            <a:r>
              <a:rPr lang="pt-PT" dirty="0"/>
              <a:t> pulvinar </a:t>
            </a:r>
            <a:r>
              <a:rPr lang="pt-PT" dirty="0" err="1"/>
              <a:t>ultricies</a:t>
            </a:r>
            <a:r>
              <a:rPr lang="pt-PT" dirty="0"/>
              <a:t>, purus </a:t>
            </a:r>
            <a:r>
              <a:rPr lang="pt-PT" dirty="0" err="1"/>
              <a:t>lectus</a:t>
            </a:r>
            <a:r>
              <a:rPr lang="pt-PT" dirty="0"/>
              <a:t> </a:t>
            </a:r>
            <a:r>
              <a:rPr lang="pt-PT" dirty="0" err="1"/>
              <a:t>malesuada</a:t>
            </a:r>
            <a:r>
              <a:rPr lang="pt-PT" dirty="0"/>
              <a:t> libero.</a:t>
            </a:r>
          </a:p>
        </p:txBody>
      </p:sp>
      <p:sp>
        <p:nvSpPr>
          <p:cNvPr id="17" name="Marcador de Posição do Texto 16">
            <a:extLst>
              <a:ext uri="{FF2B5EF4-FFF2-40B4-BE49-F238E27FC236}">
                <a16:creationId xmlns:a16="http://schemas.microsoft.com/office/drawing/2014/main" id="{E12EDBA2-F7DC-56EA-7F27-347F68C9F07E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/>
        <p:txBody>
          <a:bodyPr/>
          <a:lstStyle/>
          <a:p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Lorem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ipsum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dolor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sit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amet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,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consectetuer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adipiscing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elit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.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Maecenas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porttitor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congue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massa. </a:t>
            </a:r>
            <a:r>
              <a:rPr lang="pt-PT" dirty="0" err="1"/>
              <a:t>Fusce</a:t>
            </a:r>
            <a:r>
              <a:rPr lang="pt-PT" dirty="0"/>
              <a:t> </a:t>
            </a:r>
            <a:r>
              <a:rPr lang="pt-PT" dirty="0" err="1"/>
              <a:t>posuere</a:t>
            </a:r>
            <a:r>
              <a:rPr lang="pt-PT" dirty="0"/>
              <a:t>, magna </a:t>
            </a:r>
            <a:r>
              <a:rPr lang="pt-PT" dirty="0" err="1"/>
              <a:t>sed</a:t>
            </a:r>
            <a:r>
              <a:rPr lang="pt-PT" dirty="0"/>
              <a:t> pulvinar </a:t>
            </a:r>
            <a:r>
              <a:rPr lang="pt-PT" dirty="0" err="1"/>
              <a:t>ultricies</a:t>
            </a:r>
            <a:r>
              <a:rPr lang="pt-PT" dirty="0"/>
              <a:t>, purus </a:t>
            </a:r>
            <a:r>
              <a:rPr lang="pt-PT" dirty="0" err="1"/>
              <a:t>lectus</a:t>
            </a:r>
            <a:r>
              <a:rPr lang="pt-PT" dirty="0"/>
              <a:t> </a:t>
            </a:r>
            <a:r>
              <a:rPr lang="pt-PT" dirty="0" err="1"/>
              <a:t>malesuada</a:t>
            </a:r>
            <a:r>
              <a:rPr lang="pt-PT" dirty="0"/>
              <a:t> libero.</a:t>
            </a:r>
          </a:p>
        </p:txBody>
      </p:sp>
      <p:sp>
        <p:nvSpPr>
          <p:cNvPr id="18" name="Marcador de Posição do Texto 17">
            <a:extLst>
              <a:ext uri="{FF2B5EF4-FFF2-40B4-BE49-F238E27FC236}">
                <a16:creationId xmlns:a16="http://schemas.microsoft.com/office/drawing/2014/main" id="{B08DCD03-DAC7-3F54-5E01-F0B95CAA59B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/>
        <p:txBody>
          <a:bodyPr/>
          <a:lstStyle/>
          <a:p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Lorem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ipsum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dolor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sit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amet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,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consectetuer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adipiscing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elit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.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Maecenas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porttitor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congue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massa. </a:t>
            </a:r>
            <a:r>
              <a:rPr lang="pt-PT" dirty="0" err="1"/>
              <a:t>Fusce</a:t>
            </a:r>
            <a:r>
              <a:rPr lang="pt-PT" dirty="0"/>
              <a:t> </a:t>
            </a:r>
            <a:r>
              <a:rPr lang="pt-PT" dirty="0" err="1"/>
              <a:t>posuere</a:t>
            </a:r>
            <a:r>
              <a:rPr lang="pt-PT" dirty="0"/>
              <a:t>, magna </a:t>
            </a:r>
            <a:r>
              <a:rPr lang="pt-PT" dirty="0" err="1"/>
              <a:t>sed</a:t>
            </a:r>
            <a:r>
              <a:rPr lang="pt-PT" dirty="0"/>
              <a:t> pulvinar </a:t>
            </a:r>
            <a:r>
              <a:rPr lang="pt-PT" dirty="0" err="1"/>
              <a:t>ultricies</a:t>
            </a:r>
            <a:r>
              <a:rPr lang="pt-PT" dirty="0"/>
              <a:t>, purus </a:t>
            </a:r>
            <a:r>
              <a:rPr lang="pt-PT" dirty="0" err="1"/>
              <a:t>lectus</a:t>
            </a:r>
            <a:r>
              <a:rPr lang="pt-PT" dirty="0"/>
              <a:t> </a:t>
            </a:r>
            <a:r>
              <a:rPr lang="pt-PT" dirty="0" err="1"/>
              <a:t>malesuada</a:t>
            </a:r>
            <a:r>
              <a:rPr lang="pt-PT" dirty="0"/>
              <a:t> libero.</a:t>
            </a:r>
          </a:p>
        </p:txBody>
      </p:sp>
      <p:sp>
        <p:nvSpPr>
          <p:cNvPr id="19" name="Marcador de Posição do Texto 18">
            <a:extLst>
              <a:ext uri="{FF2B5EF4-FFF2-40B4-BE49-F238E27FC236}">
                <a16:creationId xmlns:a16="http://schemas.microsoft.com/office/drawing/2014/main" id="{533CA250-C664-994E-543D-6074934CE7BA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/>
        <p:txBody>
          <a:bodyPr/>
          <a:lstStyle/>
          <a:p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Lorem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ipsum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dolor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sit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amet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,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consectetuer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adipiscing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elit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.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Maecenas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porttitor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congue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massa. </a:t>
            </a:r>
            <a:r>
              <a:rPr lang="pt-PT" dirty="0" err="1"/>
              <a:t>Fusce</a:t>
            </a:r>
            <a:r>
              <a:rPr lang="pt-PT" dirty="0"/>
              <a:t> </a:t>
            </a:r>
            <a:r>
              <a:rPr lang="pt-PT" dirty="0" err="1"/>
              <a:t>posuere</a:t>
            </a:r>
            <a:r>
              <a:rPr lang="pt-PT" dirty="0"/>
              <a:t>, magna </a:t>
            </a:r>
            <a:r>
              <a:rPr lang="pt-PT" dirty="0" err="1"/>
              <a:t>sed</a:t>
            </a:r>
            <a:r>
              <a:rPr lang="pt-PT" dirty="0"/>
              <a:t> pulvinar </a:t>
            </a:r>
            <a:r>
              <a:rPr lang="pt-PT" dirty="0" err="1"/>
              <a:t>ultricies</a:t>
            </a:r>
            <a:r>
              <a:rPr lang="pt-PT" dirty="0"/>
              <a:t>, purus </a:t>
            </a:r>
            <a:r>
              <a:rPr lang="pt-PT" dirty="0" err="1"/>
              <a:t>lectus</a:t>
            </a:r>
            <a:r>
              <a:rPr lang="pt-PT" dirty="0"/>
              <a:t> </a:t>
            </a:r>
            <a:r>
              <a:rPr lang="pt-PT" dirty="0" err="1"/>
              <a:t>malesuada</a:t>
            </a:r>
            <a:r>
              <a:rPr lang="pt-PT" dirty="0"/>
              <a:t> libero.</a:t>
            </a:r>
          </a:p>
        </p:txBody>
      </p:sp>
      <p:sp>
        <p:nvSpPr>
          <p:cNvPr id="20" name="Marcador de Posição do Texto 19">
            <a:extLst>
              <a:ext uri="{FF2B5EF4-FFF2-40B4-BE49-F238E27FC236}">
                <a16:creationId xmlns:a16="http://schemas.microsoft.com/office/drawing/2014/main" id="{1B8BA3CE-1143-4FE7-FE9B-67AA6D2146C7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/>
        <p:txBody>
          <a:bodyPr/>
          <a:lstStyle/>
          <a:p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Lorem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ipsum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dolor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sit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amet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,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consectetuer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adipiscing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elit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.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Maecenas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porttitor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congue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massa. </a:t>
            </a:r>
            <a:r>
              <a:rPr lang="pt-PT" dirty="0" err="1"/>
              <a:t>Fusce</a:t>
            </a:r>
            <a:r>
              <a:rPr lang="pt-PT" dirty="0"/>
              <a:t> </a:t>
            </a:r>
            <a:r>
              <a:rPr lang="pt-PT" dirty="0" err="1"/>
              <a:t>posuere</a:t>
            </a:r>
            <a:r>
              <a:rPr lang="pt-PT" dirty="0"/>
              <a:t>, magna </a:t>
            </a:r>
            <a:r>
              <a:rPr lang="pt-PT" dirty="0" err="1"/>
              <a:t>sed</a:t>
            </a:r>
            <a:r>
              <a:rPr lang="pt-PT" dirty="0"/>
              <a:t> pulvinar </a:t>
            </a:r>
            <a:r>
              <a:rPr lang="pt-PT" dirty="0" err="1"/>
              <a:t>ultricies</a:t>
            </a:r>
            <a:r>
              <a:rPr lang="pt-PT" dirty="0"/>
              <a:t>, purus </a:t>
            </a:r>
            <a:r>
              <a:rPr lang="pt-PT" dirty="0" err="1"/>
              <a:t>lectus</a:t>
            </a:r>
            <a:r>
              <a:rPr lang="pt-PT" dirty="0"/>
              <a:t> </a:t>
            </a:r>
            <a:r>
              <a:rPr lang="pt-PT" dirty="0" err="1"/>
              <a:t>malesuada</a:t>
            </a:r>
            <a:r>
              <a:rPr lang="pt-PT" dirty="0"/>
              <a:t> libero.</a:t>
            </a:r>
          </a:p>
        </p:txBody>
      </p:sp>
      <p:grpSp>
        <p:nvGrpSpPr>
          <p:cNvPr id="21" name="Agrupar 20">
            <a:extLst>
              <a:ext uri="{FF2B5EF4-FFF2-40B4-BE49-F238E27FC236}">
                <a16:creationId xmlns:a16="http://schemas.microsoft.com/office/drawing/2014/main" id="{EDB2A83D-7F45-F163-1DB9-D6BDE89146BC}"/>
              </a:ext>
            </a:extLst>
          </p:cNvPr>
          <p:cNvGrpSpPr/>
          <p:nvPr/>
        </p:nvGrpSpPr>
        <p:grpSpPr>
          <a:xfrm>
            <a:off x="5866084" y="1210419"/>
            <a:ext cx="459831" cy="502163"/>
            <a:chOff x="6000092" y="1357908"/>
            <a:chExt cx="365300" cy="398929"/>
          </a:xfrm>
        </p:grpSpPr>
        <p:sp>
          <p:nvSpPr>
            <p:cNvPr id="22" name="Forma livre: Forma 21">
              <a:extLst>
                <a:ext uri="{FF2B5EF4-FFF2-40B4-BE49-F238E27FC236}">
                  <a16:creationId xmlns:a16="http://schemas.microsoft.com/office/drawing/2014/main" id="{48C791EE-BACE-53FB-8784-B9F4D9F391A3}"/>
                </a:ext>
              </a:extLst>
            </p:cNvPr>
            <p:cNvSpPr/>
            <p:nvPr/>
          </p:nvSpPr>
          <p:spPr>
            <a:xfrm>
              <a:off x="6000092" y="1418606"/>
              <a:ext cx="84058" cy="286120"/>
            </a:xfrm>
            <a:custGeom>
              <a:avLst/>
              <a:gdLst>
                <a:gd name="connsiteX0" fmla="*/ 51595 w 84058"/>
                <a:gd name="connsiteY0" fmla="*/ 0 h 286120"/>
                <a:gd name="connsiteX1" fmla="*/ 35266 w 84058"/>
                <a:gd name="connsiteY1" fmla="*/ 61674 h 286120"/>
                <a:gd name="connsiteX2" fmla="*/ 28760 w 84058"/>
                <a:gd name="connsiteY2" fmla="*/ 193415 h 286120"/>
                <a:gd name="connsiteX3" fmla="*/ 84059 w 84058"/>
                <a:gd name="connsiteY3" fmla="*/ 286121 h 2861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4058" h="286120">
                  <a:moveTo>
                    <a:pt x="51595" y="0"/>
                  </a:moveTo>
                  <a:cubicBezTo>
                    <a:pt x="37868" y="7872"/>
                    <a:pt x="26028" y="24852"/>
                    <a:pt x="35266" y="61674"/>
                  </a:cubicBezTo>
                  <a:cubicBezTo>
                    <a:pt x="35266" y="61674"/>
                    <a:pt x="-39549" y="126731"/>
                    <a:pt x="28760" y="193415"/>
                  </a:cubicBezTo>
                  <a:cubicBezTo>
                    <a:pt x="28760" y="193415"/>
                    <a:pt x="9243" y="281242"/>
                    <a:pt x="84059" y="286121"/>
                  </a:cubicBezTo>
                </a:path>
              </a:pathLst>
            </a:custGeom>
            <a:noFill/>
            <a:ln w="19050" cap="sq">
              <a:solidFill>
                <a:schemeClr val="accent2"/>
              </a:solidFill>
              <a:prstDash val="solid"/>
              <a:miter lim="800000"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23" name="Gráfico 32">
              <a:extLst>
                <a:ext uri="{FF2B5EF4-FFF2-40B4-BE49-F238E27FC236}">
                  <a16:creationId xmlns:a16="http://schemas.microsoft.com/office/drawing/2014/main" id="{6D179054-023D-72A6-B55D-98F9B6F7612B}"/>
                </a:ext>
              </a:extLst>
            </p:cNvPr>
            <p:cNvGrpSpPr/>
            <p:nvPr/>
          </p:nvGrpSpPr>
          <p:grpSpPr>
            <a:xfrm>
              <a:off x="6061121" y="1359924"/>
              <a:ext cx="128487" cy="396366"/>
              <a:chOff x="6061121" y="1359924"/>
              <a:chExt cx="128487" cy="396366"/>
            </a:xfrm>
            <a:noFill/>
          </p:grpSpPr>
          <p:sp>
            <p:nvSpPr>
              <p:cNvPr id="38" name="Forma livre: Forma 37">
                <a:extLst>
                  <a:ext uri="{FF2B5EF4-FFF2-40B4-BE49-F238E27FC236}">
                    <a16:creationId xmlns:a16="http://schemas.microsoft.com/office/drawing/2014/main" id="{56291E15-FC15-3DC9-B370-4392DD560F48}"/>
                  </a:ext>
                </a:extLst>
              </p:cNvPr>
              <p:cNvSpPr/>
              <p:nvPr/>
            </p:nvSpPr>
            <p:spPr>
              <a:xfrm>
                <a:off x="6083891" y="1359924"/>
                <a:ext cx="105717" cy="396366"/>
              </a:xfrm>
              <a:custGeom>
                <a:avLst/>
                <a:gdLst>
                  <a:gd name="connsiteX0" fmla="*/ 52891 w 105717"/>
                  <a:gd name="connsiteY0" fmla="*/ 105718 h 396366"/>
                  <a:gd name="connsiteX1" fmla="*/ 0 w 105717"/>
                  <a:gd name="connsiteY1" fmla="*/ 52891 h 396366"/>
                  <a:gd name="connsiteX2" fmla="*/ 52891 w 105717"/>
                  <a:gd name="connsiteY2" fmla="*/ 0 h 396366"/>
                  <a:gd name="connsiteX3" fmla="*/ 105718 w 105717"/>
                  <a:gd name="connsiteY3" fmla="*/ 52826 h 396366"/>
                  <a:gd name="connsiteX4" fmla="*/ 105718 w 105717"/>
                  <a:gd name="connsiteY4" fmla="*/ 346884 h 396366"/>
                  <a:gd name="connsiteX5" fmla="*/ 80606 w 105717"/>
                  <a:gd name="connsiteY5" fmla="*/ 388911 h 396366"/>
                  <a:gd name="connsiteX6" fmla="*/ 9238 w 105717"/>
                  <a:gd name="connsiteY6" fmla="*/ 371150 h 396366"/>
                  <a:gd name="connsiteX7" fmla="*/ 15484 w 105717"/>
                  <a:gd name="connsiteY7" fmla="*/ 309216 h 396366"/>
                  <a:gd name="connsiteX8" fmla="*/ 45019 w 105717"/>
                  <a:gd name="connsiteY8" fmla="*/ 277078 h 3963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05717" h="396366">
                    <a:moveTo>
                      <a:pt x="52891" y="105718"/>
                    </a:moveTo>
                    <a:cubicBezTo>
                      <a:pt x="23681" y="105718"/>
                      <a:pt x="0" y="82037"/>
                      <a:pt x="0" y="52891"/>
                    </a:cubicBezTo>
                    <a:cubicBezTo>
                      <a:pt x="0" y="23746"/>
                      <a:pt x="23681" y="0"/>
                      <a:pt x="52891" y="0"/>
                    </a:cubicBezTo>
                    <a:cubicBezTo>
                      <a:pt x="82102" y="0"/>
                      <a:pt x="105718" y="23681"/>
                      <a:pt x="105718" y="52826"/>
                    </a:cubicBezTo>
                    <a:lnTo>
                      <a:pt x="105718" y="346884"/>
                    </a:lnTo>
                    <a:cubicBezTo>
                      <a:pt x="105718" y="364580"/>
                      <a:pt x="96414" y="379413"/>
                      <a:pt x="80606" y="388911"/>
                    </a:cubicBezTo>
                    <a:cubicBezTo>
                      <a:pt x="55949" y="403744"/>
                      <a:pt x="24006" y="395742"/>
                      <a:pt x="9238" y="371150"/>
                    </a:cubicBezTo>
                    <a:cubicBezTo>
                      <a:pt x="-2928" y="350918"/>
                      <a:pt x="260" y="325741"/>
                      <a:pt x="15484" y="309216"/>
                    </a:cubicBezTo>
                    <a:lnTo>
                      <a:pt x="45019" y="277078"/>
                    </a:lnTo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9" name="Forma livre: Forma 38">
                <a:extLst>
                  <a:ext uri="{FF2B5EF4-FFF2-40B4-BE49-F238E27FC236}">
                    <a16:creationId xmlns:a16="http://schemas.microsoft.com/office/drawing/2014/main" id="{F8BA448D-F0F3-DC12-02D5-F64383B783E7}"/>
                  </a:ext>
                </a:extLst>
              </p:cNvPr>
              <p:cNvSpPr/>
              <p:nvPr/>
            </p:nvSpPr>
            <p:spPr>
              <a:xfrm>
                <a:off x="6144784" y="1383865"/>
                <a:ext cx="41563" cy="38963"/>
              </a:xfrm>
              <a:custGeom>
                <a:avLst/>
                <a:gdLst>
                  <a:gd name="connsiteX0" fmla="*/ 36172 w 41563"/>
                  <a:gd name="connsiteY0" fmla="*/ 0 h 38963"/>
                  <a:gd name="connsiteX1" fmla="*/ 39425 w 41563"/>
                  <a:gd name="connsiteY1" fmla="*/ 24266 h 38963"/>
                  <a:gd name="connsiteX2" fmla="*/ 36432 w 41563"/>
                  <a:gd name="connsiteY2" fmla="*/ 29080 h 38963"/>
                  <a:gd name="connsiteX3" fmla="*/ 0 w 41563"/>
                  <a:gd name="connsiteY3" fmla="*/ 33439 h 389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563" h="38963">
                    <a:moveTo>
                      <a:pt x="36172" y="0"/>
                    </a:moveTo>
                    <a:cubicBezTo>
                      <a:pt x="41571" y="7547"/>
                      <a:pt x="43393" y="16004"/>
                      <a:pt x="39425" y="24266"/>
                    </a:cubicBezTo>
                    <a:cubicBezTo>
                      <a:pt x="38644" y="25893"/>
                      <a:pt x="37603" y="27519"/>
                      <a:pt x="36432" y="29080"/>
                    </a:cubicBezTo>
                    <a:cubicBezTo>
                      <a:pt x="27584" y="40270"/>
                      <a:pt x="11190" y="42287"/>
                      <a:pt x="0" y="33439"/>
                    </a:cubicBezTo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0" name="Forma livre: Forma 39">
                <a:extLst>
                  <a:ext uri="{FF2B5EF4-FFF2-40B4-BE49-F238E27FC236}">
                    <a16:creationId xmlns:a16="http://schemas.microsoft.com/office/drawing/2014/main" id="{91C41FF8-E406-04A7-CAF5-0F8DF792E19C}"/>
                  </a:ext>
                </a:extLst>
              </p:cNvPr>
              <p:cNvSpPr/>
              <p:nvPr/>
            </p:nvSpPr>
            <p:spPr>
              <a:xfrm>
                <a:off x="6081487" y="1460806"/>
                <a:ext cx="34217" cy="54474"/>
              </a:xfrm>
              <a:custGeom>
                <a:avLst/>
                <a:gdLst>
                  <a:gd name="connsiteX0" fmla="*/ 21076 w 34217"/>
                  <a:gd name="connsiteY0" fmla="*/ 54475 h 54474"/>
                  <a:gd name="connsiteX1" fmla="*/ 778 w 34217"/>
                  <a:gd name="connsiteY1" fmla="*/ 21035 h 54474"/>
                  <a:gd name="connsiteX2" fmla="*/ 34217 w 34217"/>
                  <a:gd name="connsiteY2" fmla="*/ 803 h 544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4217" h="54474">
                    <a:moveTo>
                      <a:pt x="21076" y="54475"/>
                    </a:moveTo>
                    <a:cubicBezTo>
                      <a:pt x="6308" y="50832"/>
                      <a:pt x="-2800" y="35803"/>
                      <a:pt x="778" y="21035"/>
                    </a:cubicBezTo>
                    <a:cubicBezTo>
                      <a:pt x="4421" y="6267"/>
                      <a:pt x="19449" y="-2841"/>
                      <a:pt x="34217" y="803"/>
                    </a:cubicBezTo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1" name="Forma livre: Forma 40">
                <a:extLst>
                  <a:ext uri="{FF2B5EF4-FFF2-40B4-BE49-F238E27FC236}">
                    <a16:creationId xmlns:a16="http://schemas.microsoft.com/office/drawing/2014/main" id="{06D13DEC-65BE-CE23-F704-825BE5A76C64}"/>
                  </a:ext>
                </a:extLst>
              </p:cNvPr>
              <p:cNvSpPr/>
              <p:nvPr/>
            </p:nvSpPr>
            <p:spPr>
              <a:xfrm>
                <a:off x="6073547" y="1527543"/>
                <a:ext cx="114760" cy="72506"/>
              </a:xfrm>
              <a:custGeom>
                <a:avLst/>
                <a:gdLst>
                  <a:gd name="connsiteX0" fmla="*/ 114760 w 114760"/>
                  <a:gd name="connsiteY0" fmla="*/ 7254 h 72506"/>
                  <a:gd name="connsiteX1" fmla="*/ 73905 w 114760"/>
                  <a:gd name="connsiteY1" fmla="*/ 8881 h 72506"/>
                  <a:gd name="connsiteX2" fmla="*/ 0 w 114760"/>
                  <a:gd name="connsiteY2" fmla="*/ 72506 h 725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14760" h="72506">
                    <a:moveTo>
                      <a:pt x="114760" y="7254"/>
                    </a:moveTo>
                    <a:cubicBezTo>
                      <a:pt x="103375" y="-2830"/>
                      <a:pt x="83989" y="-2504"/>
                      <a:pt x="73905" y="8881"/>
                    </a:cubicBezTo>
                    <a:cubicBezTo>
                      <a:pt x="73905" y="8881"/>
                      <a:pt x="31488" y="72506"/>
                      <a:pt x="0" y="72506"/>
                    </a:cubicBezTo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2" name="Forma livre: Forma 41">
                <a:extLst>
                  <a:ext uri="{FF2B5EF4-FFF2-40B4-BE49-F238E27FC236}">
                    <a16:creationId xmlns:a16="http://schemas.microsoft.com/office/drawing/2014/main" id="{26AE475A-042B-D107-3647-26E7F9D5C9B6}"/>
                  </a:ext>
                </a:extLst>
              </p:cNvPr>
              <p:cNvSpPr/>
              <p:nvPr/>
            </p:nvSpPr>
            <p:spPr>
              <a:xfrm>
                <a:off x="6079857" y="1646956"/>
                <a:ext cx="29405" cy="9823"/>
              </a:xfrm>
              <a:custGeom>
                <a:avLst/>
                <a:gdLst>
                  <a:gd name="connsiteX0" fmla="*/ 0 w 29405"/>
                  <a:gd name="connsiteY0" fmla="*/ 0 h 9823"/>
                  <a:gd name="connsiteX1" fmla="*/ 29406 w 29405"/>
                  <a:gd name="connsiteY1" fmla="*/ 9824 h 98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9405" h="9823">
                    <a:moveTo>
                      <a:pt x="0" y="0"/>
                    </a:moveTo>
                    <a:lnTo>
                      <a:pt x="29406" y="9824"/>
                    </a:lnTo>
                  </a:path>
                </a:pathLst>
              </a:custGeom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3" name="Forma livre: Forma 42">
                <a:extLst>
                  <a:ext uri="{FF2B5EF4-FFF2-40B4-BE49-F238E27FC236}">
                    <a16:creationId xmlns:a16="http://schemas.microsoft.com/office/drawing/2014/main" id="{1A5DEAAB-F1B2-F8D8-5BA2-08CF9FAF82FB}"/>
                  </a:ext>
                </a:extLst>
              </p:cNvPr>
              <p:cNvSpPr/>
              <p:nvPr/>
            </p:nvSpPr>
            <p:spPr>
              <a:xfrm>
                <a:off x="6061121" y="1545272"/>
                <a:ext cx="47166" cy="34154"/>
              </a:xfrm>
              <a:custGeom>
                <a:avLst/>
                <a:gdLst>
                  <a:gd name="connsiteX0" fmla="*/ 0 w 47166"/>
                  <a:gd name="connsiteY0" fmla="*/ 0 h 34154"/>
                  <a:gd name="connsiteX1" fmla="*/ 47166 w 47166"/>
                  <a:gd name="connsiteY1" fmla="*/ 34155 h 341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166" h="34154">
                    <a:moveTo>
                      <a:pt x="0" y="0"/>
                    </a:moveTo>
                    <a:cubicBezTo>
                      <a:pt x="0" y="0"/>
                      <a:pt x="27649" y="13011"/>
                      <a:pt x="47166" y="34155"/>
                    </a:cubicBezTo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24" name="Gráfico 32">
              <a:extLst>
                <a:ext uri="{FF2B5EF4-FFF2-40B4-BE49-F238E27FC236}">
                  <a16:creationId xmlns:a16="http://schemas.microsoft.com/office/drawing/2014/main" id="{F9E0D791-0349-9ED3-AE41-67B06F634F34}"/>
                </a:ext>
              </a:extLst>
            </p:cNvPr>
            <p:cNvGrpSpPr/>
            <p:nvPr/>
          </p:nvGrpSpPr>
          <p:grpSpPr>
            <a:xfrm>
              <a:off x="6191625" y="1599725"/>
              <a:ext cx="173767" cy="157112"/>
              <a:chOff x="6191625" y="1599725"/>
              <a:chExt cx="173767" cy="157112"/>
            </a:xfrm>
            <a:noFill/>
          </p:grpSpPr>
          <p:sp>
            <p:nvSpPr>
              <p:cNvPr id="34" name="Forma livre: Forma 33">
                <a:extLst>
                  <a:ext uri="{FF2B5EF4-FFF2-40B4-BE49-F238E27FC236}">
                    <a16:creationId xmlns:a16="http://schemas.microsoft.com/office/drawing/2014/main" id="{82DF2686-7087-5A80-7268-6D24203196F1}"/>
                  </a:ext>
                </a:extLst>
              </p:cNvPr>
              <p:cNvSpPr/>
              <p:nvPr/>
            </p:nvSpPr>
            <p:spPr>
              <a:xfrm>
                <a:off x="6310094" y="1621974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5" name="Forma livre: Forma 34">
                <a:extLst>
                  <a:ext uri="{FF2B5EF4-FFF2-40B4-BE49-F238E27FC236}">
                    <a16:creationId xmlns:a16="http://schemas.microsoft.com/office/drawing/2014/main" id="{DFD1B074-8B0D-3CB9-F92F-90855DCAEDCE}"/>
                  </a:ext>
                </a:extLst>
              </p:cNvPr>
              <p:cNvSpPr/>
              <p:nvPr/>
            </p:nvSpPr>
            <p:spPr>
              <a:xfrm>
                <a:off x="6191625" y="1599725"/>
                <a:ext cx="118078" cy="49898"/>
              </a:xfrm>
              <a:custGeom>
                <a:avLst/>
                <a:gdLst>
                  <a:gd name="connsiteX0" fmla="*/ 0 w 118078"/>
                  <a:gd name="connsiteY0" fmla="*/ 0 h 49898"/>
                  <a:gd name="connsiteX1" fmla="*/ 37343 w 118078"/>
                  <a:gd name="connsiteY1" fmla="*/ 0 h 49898"/>
                  <a:gd name="connsiteX2" fmla="*/ 87176 w 118078"/>
                  <a:gd name="connsiteY2" fmla="*/ 49899 h 49898"/>
                  <a:gd name="connsiteX3" fmla="*/ 118078 w 118078"/>
                  <a:gd name="connsiteY3" fmla="*/ 49899 h 49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8078" h="49898">
                    <a:moveTo>
                      <a:pt x="0" y="0"/>
                    </a:moveTo>
                    <a:lnTo>
                      <a:pt x="37343" y="0"/>
                    </a:lnTo>
                    <a:lnTo>
                      <a:pt x="87176" y="49899"/>
                    </a:lnTo>
                    <a:lnTo>
                      <a:pt x="118078" y="49899"/>
                    </a:lnTo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6" name="Forma livre: Forma 35">
                <a:extLst>
                  <a:ext uri="{FF2B5EF4-FFF2-40B4-BE49-F238E27FC236}">
                    <a16:creationId xmlns:a16="http://schemas.microsoft.com/office/drawing/2014/main" id="{ECC79E34-CB81-881F-B967-4D836B594061}"/>
                  </a:ext>
                </a:extLst>
              </p:cNvPr>
              <p:cNvSpPr/>
              <p:nvPr/>
            </p:nvSpPr>
            <p:spPr>
              <a:xfrm>
                <a:off x="6191625" y="1665367"/>
                <a:ext cx="81906" cy="44108"/>
              </a:xfrm>
              <a:custGeom>
                <a:avLst/>
                <a:gdLst>
                  <a:gd name="connsiteX0" fmla="*/ 0 w 81906"/>
                  <a:gd name="connsiteY0" fmla="*/ 0 h 44108"/>
                  <a:gd name="connsiteX1" fmla="*/ 37343 w 81906"/>
                  <a:gd name="connsiteY1" fmla="*/ 0 h 44108"/>
                  <a:gd name="connsiteX2" fmla="*/ 81907 w 81906"/>
                  <a:gd name="connsiteY2" fmla="*/ 44109 h 441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1906" h="44108">
                    <a:moveTo>
                      <a:pt x="0" y="0"/>
                    </a:moveTo>
                    <a:lnTo>
                      <a:pt x="37343" y="0"/>
                    </a:lnTo>
                    <a:lnTo>
                      <a:pt x="81907" y="44109"/>
                    </a:lnTo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7" name="Forma livre: Forma 36">
                <a:extLst>
                  <a:ext uri="{FF2B5EF4-FFF2-40B4-BE49-F238E27FC236}">
                    <a16:creationId xmlns:a16="http://schemas.microsoft.com/office/drawing/2014/main" id="{065EC12B-6F86-50E5-E074-AB0F5BC8BC8D}"/>
                  </a:ext>
                </a:extLst>
              </p:cNvPr>
              <p:cNvSpPr/>
              <p:nvPr/>
            </p:nvSpPr>
            <p:spPr>
              <a:xfrm>
                <a:off x="6265075" y="1701539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25" name="Gráfico 32">
              <a:extLst>
                <a:ext uri="{FF2B5EF4-FFF2-40B4-BE49-F238E27FC236}">
                  <a16:creationId xmlns:a16="http://schemas.microsoft.com/office/drawing/2014/main" id="{C5F75587-082F-6840-68B2-2C2227BF111E}"/>
                </a:ext>
              </a:extLst>
            </p:cNvPr>
            <p:cNvGrpSpPr/>
            <p:nvPr/>
          </p:nvGrpSpPr>
          <p:grpSpPr>
            <a:xfrm>
              <a:off x="6191625" y="1357908"/>
              <a:ext cx="173767" cy="157112"/>
              <a:chOff x="6191625" y="1357908"/>
              <a:chExt cx="173767" cy="157112"/>
            </a:xfrm>
            <a:noFill/>
          </p:grpSpPr>
          <p:sp>
            <p:nvSpPr>
              <p:cNvPr id="30" name="Forma livre: Forma 29">
                <a:extLst>
                  <a:ext uri="{FF2B5EF4-FFF2-40B4-BE49-F238E27FC236}">
                    <a16:creationId xmlns:a16="http://schemas.microsoft.com/office/drawing/2014/main" id="{676D6AE1-BDE8-FCA6-42E8-05F45549159E}"/>
                  </a:ext>
                </a:extLst>
              </p:cNvPr>
              <p:cNvSpPr/>
              <p:nvPr/>
            </p:nvSpPr>
            <p:spPr>
              <a:xfrm>
                <a:off x="6310094" y="1437472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0 h 55298"/>
                  <a:gd name="connsiteX2" fmla="*/ 0 w 55298"/>
                  <a:gd name="connsiteY2" fmla="*/ 27649 h 55298"/>
                  <a:gd name="connsiteX3" fmla="*/ 27649 w 55298"/>
                  <a:gd name="connsiteY3" fmla="*/ 55298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12361"/>
                      <a:pt x="42938" y="0"/>
                      <a:pt x="27649" y="0"/>
                    </a:cubicBezTo>
                    <a:cubicBezTo>
                      <a:pt x="12361" y="0"/>
                      <a:pt x="0" y="12361"/>
                      <a:pt x="0" y="27649"/>
                    </a:cubicBezTo>
                    <a:cubicBezTo>
                      <a:pt x="0" y="42938"/>
                      <a:pt x="12361" y="55298"/>
                      <a:pt x="27649" y="55298"/>
                    </a:cubicBezTo>
                    <a:cubicBezTo>
                      <a:pt x="42938" y="55298"/>
                      <a:pt x="55298" y="42938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1" name="Forma livre: Forma 30">
                <a:extLst>
                  <a:ext uri="{FF2B5EF4-FFF2-40B4-BE49-F238E27FC236}">
                    <a16:creationId xmlns:a16="http://schemas.microsoft.com/office/drawing/2014/main" id="{93C491D7-3630-1D1D-3F29-4ACB0CAC2B2D}"/>
                  </a:ext>
                </a:extLst>
              </p:cNvPr>
              <p:cNvSpPr/>
              <p:nvPr/>
            </p:nvSpPr>
            <p:spPr>
              <a:xfrm>
                <a:off x="6191625" y="1465122"/>
                <a:ext cx="118468" cy="49898"/>
              </a:xfrm>
              <a:custGeom>
                <a:avLst/>
                <a:gdLst>
                  <a:gd name="connsiteX0" fmla="*/ 0 w 118468"/>
                  <a:gd name="connsiteY0" fmla="*/ 49899 h 49898"/>
                  <a:gd name="connsiteX1" fmla="*/ 37343 w 118468"/>
                  <a:gd name="connsiteY1" fmla="*/ 49899 h 49898"/>
                  <a:gd name="connsiteX2" fmla="*/ 87176 w 118468"/>
                  <a:gd name="connsiteY2" fmla="*/ 0 h 49898"/>
                  <a:gd name="connsiteX3" fmla="*/ 118469 w 118468"/>
                  <a:gd name="connsiteY3" fmla="*/ 0 h 49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8468" h="49898">
                    <a:moveTo>
                      <a:pt x="0" y="49899"/>
                    </a:moveTo>
                    <a:lnTo>
                      <a:pt x="37343" y="49899"/>
                    </a:lnTo>
                    <a:lnTo>
                      <a:pt x="87176" y="0"/>
                    </a:lnTo>
                    <a:lnTo>
                      <a:pt x="118469" y="0"/>
                    </a:lnTo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2" name="Forma livre: Forma 31">
                <a:extLst>
                  <a:ext uri="{FF2B5EF4-FFF2-40B4-BE49-F238E27FC236}">
                    <a16:creationId xmlns:a16="http://schemas.microsoft.com/office/drawing/2014/main" id="{E538D5EB-2325-80B8-E691-924DD619C32A}"/>
                  </a:ext>
                </a:extLst>
              </p:cNvPr>
              <p:cNvSpPr/>
              <p:nvPr/>
            </p:nvSpPr>
            <p:spPr>
              <a:xfrm>
                <a:off x="6191625" y="1405269"/>
                <a:ext cx="81451" cy="44043"/>
              </a:xfrm>
              <a:custGeom>
                <a:avLst/>
                <a:gdLst>
                  <a:gd name="connsiteX0" fmla="*/ 0 w 81451"/>
                  <a:gd name="connsiteY0" fmla="*/ 44044 h 44043"/>
                  <a:gd name="connsiteX1" fmla="*/ 37343 w 81451"/>
                  <a:gd name="connsiteY1" fmla="*/ 44044 h 44043"/>
                  <a:gd name="connsiteX2" fmla="*/ 81451 w 81451"/>
                  <a:gd name="connsiteY2" fmla="*/ 0 h 440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1451" h="44043">
                    <a:moveTo>
                      <a:pt x="0" y="44044"/>
                    </a:moveTo>
                    <a:lnTo>
                      <a:pt x="37343" y="44044"/>
                    </a:lnTo>
                    <a:lnTo>
                      <a:pt x="81451" y="0"/>
                    </a:lnTo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3" name="Forma livre: Forma 32">
                <a:extLst>
                  <a:ext uri="{FF2B5EF4-FFF2-40B4-BE49-F238E27FC236}">
                    <a16:creationId xmlns:a16="http://schemas.microsoft.com/office/drawing/2014/main" id="{57AE27F9-014A-945D-B3AD-890117C046E5}"/>
                  </a:ext>
                </a:extLst>
              </p:cNvPr>
              <p:cNvSpPr/>
              <p:nvPr/>
            </p:nvSpPr>
            <p:spPr>
              <a:xfrm>
                <a:off x="6265075" y="1357908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0 h 55298"/>
                  <a:gd name="connsiteX2" fmla="*/ 0 w 55298"/>
                  <a:gd name="connsiteY2" fmla="*/ 27649 h 55298"/>
                  <a:gd name="connsiteX3" fmla="*/ 27649 w 55298"/>
                  <a:gd name="connsiteY3" fmla="*/ 55298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12361"/>
                      <a:pt x="42938" y="0"/>
                      <a:pt x="27649" y="0"/>
                    </a:cubicBezTo>
                    <a:cubicBezTo>
                      <a:pt x="12361" y="0"/>
                      <a:pt x="0" y="12361"/>
                      <a:pt x="0" y="27649"/>
                    </a:cubicBezTo>
                    <a:cubicBezTo>
                      <a:pt x="0" y="42938"/>
                      <a:pt x="12361" y="55298"/>
                      <a:pt x="27649" y="55298"/>
                    </a:cubicBezTo>
                    <a:cubicBezTo>
                      <a:pt x="42938" y="55298"/>
                      <a:pt x="55298" y="42938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26" name="Gráfico 32">
              <a:extLst>
                <a:ext uri="{FF2B5EF4-FFF2-40B4-BE49-F238E27FC236}">
                  <a16:creationId xmlns:a16="http://schemas.microsoft.com/office/drawing/2014/main" id="{EAD1EC84-24E9-B818-C5AE-9BD01E9D00C2}"/>
                </a:ext>
              </a:extLst>
            </p:cNvPr>
            <p:cNvGrpSpPr/>
            <p:nvPr/>
          </p:nvGrpSpPr>
          <p:grpSpPr>
            <a:xfrm>
              <a:off x="6190910" y="1529723"/>
              <a:ext cx="123673" cy="55298"/>
              <a:chOff x="6190910" y="1529723"/>
              <a:chExt cx="123673" cy="55298"/>
            </a:xfrm>
            <a:noFill/>
          </p:grpSpPr>
          <p:sp>
            <p:nvSpPr>
              <p:cNvPr id="28" name="Forma livre: Forma 27">
                <a:extLst>
                  <a:ext uri="{FF2B5EF4-FFF2-40B4-BE49-F238E27FC236}">
                    <a16:creationId xmlns:a16="http://schemas.microsoft.com/office/drawing/2014/main" id="{83BEEEEE-D8A1-B05E-CEC2-E229E794483B}"/>
                  </a:ext>
                </a:extLst>
              </p:cNvPr>
              <p:cNvSpPr/>
              <p:nvPr/>
            </p:nvSpPr>
            <p:spPr>
              <a:xfrm>
                <a:off x="6190910" y="1557372"/>
                <a:ext cx="68765" cy="6505"/>
              </a:xfrm>
              <a:custGeom>
                <a:avLst/>
                <a:gdLst>
                  <a:gd name="connsiteX0" fmla="*/ 0 w 68765"/>
                  <a:gd name="connsiteY0" fmla="*/ 0 h 6505"/>
                  <a:gd name="connsiteX1" fmla="*/ 68765 w 68765"/>
                  <a:gd name="connsiteY1" fmla="*/ 0 h 65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8765" h="6505">
                    <a:moveTo>
                      <a:pt x="0" y="0"/>
                    </a:moveTo>
                    <a:lnTo>
                      <a:pt x="68765" y="0"/>
                    </a:lnTo>
                  </a:path>
                </a:pathLst>
              </a:custGeom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9" name="Forma livre: Forma 28">
                <a:extLst>
                  <a:ext uri="{FF2B5EF4-FFF2-40B4-BE49-F238E27FC236}">
                    <a16:creationId xmlns:a16="http://schemas.microsoft.com/office/drawing/2014/main" id="{8BCBD83E-22ED-68AB-5AEA-B305AA01BADA}"/>
                  </a:ext>
                </a:extLst>
              </p:cNvPr>
              <p:cNvSpPr/>
              <p:nvPr/>
            </p:nvSpPr>
            <p:spPr>
              <a:xfrm>
                <a:off x="6259285" y="1529723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27" name="Forma livre: Forma 26">
              <a:extLst>
                <a:ext uri="{FF2B5EF4-FFF2-40B4-BE49-F238E27FC236}">
                  <a16:creationId xmlns:a16="http://schemas.microsoft.com/office/drawing/2014/main" id="{7FAFFD1F-2FD5-5033-7BC2-6BEA66D4DFA8}"/>
                </a:ext>
              </a:extLst>
            </p:cNvPr>
            <p:cNvSpPr/>
            <p:nvPr/>
          </p:nvSpPr>
          <p:spPr>
            <a:xfrm>
              <a:off x="6152201" y="1686285"/>
              <a:ext cx="37362" cy="20848"/>
            </a:xfrm>
            <a:custGeom>
              <a:avLst/>
              <a:gdLst>
                <a:gd name="connsiteX0" fmla="*/ 0 w 37362"/>
                <a:gd name="connsiteY0" fmla="*/ 10505 h 20848"/>
                <a:gd name="connsiteX1" fmla="*/ 27064 w 37362"/>
                <a:gd name="connsiteY1" fmla="*/ 2373 h 20848"/>
                <a:gd name="connsiteX2" fmla="*/ 37343 w 37362"/>
                <a:gd name="connsiteY2" fmla="*/ 20849 h 20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7362" h="20848">
                  <a:moveTo>
                    <a:pt x="0" y="10505"/>
                  </a:moveTo>
                  <a:cubicBezTo>
                    <a:pt x="5205" y="811"/>
                    <a:pt x="17435" y="-2832"/>
                    <a:pt x="27064" y="2373"/>
                  </a:cubicBezTo>
                  <a:cubicBezTo>
                    <a:pt x="34025" y="6081"/>
                    <a:pt x="37668" y="13432"/>
                    <a:pt x="37343" y="20849"/>
                  </a:cubicBezTo>
                </a:path>
              </a:pathLst>
            </a:custGeom>
            <a:noFill/>
            <a:ln w="19050" cap="sq">
              <a:solidFill>
                <a:schemeClr val="accent2"/>
              </a:solidFill>
              <a:prstDash val="solid"/>
              <a:miter lim="800000"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44" name="Agrupar 43">
            <a:extLst>
              <a:ext uri="{FF2B5EF4-FFF2-40B4-BE49-F238E27FC236}">
                <a16:creationId xmlns:a16="http://schemas.microsoft.com/office/drawing/2014/main" id="{01A91C35-D546-A6CA-4306-30DB157A7891}"/>
              </a:ext>
            </a:extLst>
          </p:cNvPr>
          <p:cNvGrpSpPr/>
          <p:nvPr/>
        </p:nvGrpSpPr>
        <p:grpSpPr>
          <a:xfrm>
            <a:off x="5866084" y="2232325"/>
            <a:ext cx="459831" cy="502163"/>
            <a:chOff x="6000092" y="1357908"/>
            <a:chExt cx="365300" cy="398929"/>
          </a:xfrm>
        </p:grpSpPr>
        <p:sp>
          <p:nvSpPr>
            <p:cNvPr id="45" name="Forma livre: Forma 44">
              <a:extLst>
                <a:ext uri="{FF2B5EF4-FFF2-40B4-BE49-F238E27FC236}">
                  <a16:creationId xmlns:a16="http://schemas.microsoft.com/office/drawing/2014/main" id="{8F3F5660-C807-1BB6-52BB-0DE03615159E}"/>
                </a:ext>
              </a:extLst>
            </p:cNvPr>
            <p:cNvSpPr/>
            <p:nvPr/>
          </p:nvSpPr>
          <p:spPr>
            <a:xfrm>
              <a:off x="6000092" y="1418606"/>
              <a:ext cx="84058" cy="286120"/>
            </a:xfrm>
            <a:custGeom>
              <a:avLst/>
              <a:gdLst>
                <a:gd name="connsiteX0" fmla="*/ 51595 w 84058"/>
                <a:gd name="connsiteY0" fmla="*/ 0 h 286120"/>
                <a:gd name="connsiteX1" fmla="*/ 35266 w 84058"/>
                <a:gd name="connsiteY1" fmla="*/ 61674 h 286120"/>
                <a:gd name="connsiteX2" fmla="*/ 28760 w 84058"/>
                <a:gd name="connsiteY2" fmla="*/ 193415 h 286120"/>
                <a:gd name="connsiteX3" fmla="*/ 84059 w 84058"/>
                <a:gd name="connsiteY3" fmla="*/ 286121 h 2861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4058" h="286120">
                  <a:moveTo>
                    <a:pt x="51595" y="0"/>
                  </a:moveTo>
                  <a:cubicBezTo>
                    <a:pt x="37868" y="7872"/>
                    <a:pt x="26028" y="24852"/>
                    <a:pt x="35266" y="61674"/>
                  </a:cubicBezTo>
                  <a:cubicBezTo>
                    <a:pt x="35266" y="61674"/>
                    <a:pt x="-39549" y="126731"/>
                    <a:pt x="28760" y="193415"/>
                  </a:cubicBezTo>
                  <a:cubicBezTo>
                    <a:pt x="28760" y="193415"/>
                    <a:pt x="9243" y="281242"/>
                    <a:pt x="84059" y="286121"/>
                  </a:cubicBezTo>
                </a:path>
              </a:pathLst>
            </a:custGeom>
            <a:noFill/>
            <a:ln w="19050" cap="sq">
              <a:solidFill>
                <a:schemeClr val="accent2"/>
              </a:solidFill>
              <a:prstDash val="solid"/>
              <a:miter lim="800000"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46" name="Gráfico 32">
              <a:extLst>
                <a:ext uri="{FF2B5EF4-FFF2-40B4-BE49-F238E27FC236}">
                  <a16:creationId xmlns:a16="http://schemas.microsoft.com/office/drawing/2014/main" id="{FD4FCDC2-E154-B500-A211-7486F2C26ED6}"/>
                </a:ext>
              </a:extLst>
            </p:cNvPr>
            <p:cNvGrpSpPr/>
            <p:nvPr/>
          </p:nvGrpSpPr>
          <p:grpSpPr>
            <a:xfrm>
              <a:off x="6061121" y="1359924"/>
              <a:ext cx="128487" cy="396366"/>
              <a:chOff x="6061121" y="1359924"/>
              <a:chExt cx="128487" cy="396366"/>
            </a:xfrm>
            <a:noFill/>
          </p:grpSpPr>
          <p:sp>
            <p:nvSpPr>
              <p:cNvPr id="61" name="Forma livre: Forma 60">
                <a:extLst>
                  <a:ext uri="{FF2B5EF4-FFF2-40B4-BE49-F238E27FC236}">
                    <a16:creationId xmlns:a16="http://schemas.microsoft.com/office/drawing/2014/main" id="{9AE67025-79D3-2260-52B4-38C45C82CDD9}"/>
                  </a:ext>
                </a:extLst>
              </p:cNvPr>
              <p:cNvSpPr/>
              <p:nvPr/>
            </p:nvSpPr>
            <p:spPr>
              <a:xfrm>
                <a:off x="6083891" y="1359924"/>
                <a:ext cx="105717" cy="396366"/>
              </a:xfrm>
              <a:custGeom>
                <a:avLst/>
                <a:gdLst>
                  <a:gd name="connsiteX0" fmla="*/ 52891 w 105717"/>
                  <a:gd name="connsiteY0" fmla="*/ 105718 h 396366"/>
                  <a:gd name="connsiteX1" fmla="*/ 0 w 105717"/>
                  <a:gd name="connsiteY1" fmla="*/ 52891 h 396366"/>
                  <a:gd name="connsiteX2" fmla="*/ 52891 w 105717"/>
                  <a:gd name="connsiteY2" fmla="*/ 0 h 396366"/>
                  <a:gd name="connsiteX3" fmla="*/ 105718 w 105717"/>
                  <a:gd name="connsiteY3" fmla="*/ 52826 h 396366"/>
                  <a:gd name="connsiteX4" fmla="*/ 105718 w 105717"/>
                  <a:gd name="connsiteY4" fmla="*/ 346884 h 396366"/>
                  <a:gd name="connsiteX5" fmla="*/ 80606 w 105717"/>
                  <a:gd name="connsiteY5" fmla="*/ 388911 h 396366"/>
                  <a:gd name="connsiteX6" fmla="*/ 9238 w 105717"/>
                  <a:gd name="connsiteY6" fmla="*/ 371150 h 396366"/>
                  <a:gd name="connsiteX7" fmla="*/ 15484 w 105717"/>
                  <a:gd name="connsiteY7" fmla="*/ 309216 h 396366"/>
                  <a:gd name="connsiteX8" fmla="*/ 45019 w 105717"/>
                  <a:gd name="connsiteY8" fmla="*/ 277078 h 3963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05717" h="396366">
                    <a:moveTo>
                      <a:pt x="52891" y="105718"/>
                    </a:moveTo>
                    <a:cubicBezTo>
                      <a:pt x="23681" y="105718"/>
                      <a:pt x="0" y="82037"/>
                      <a:pt x="0" y="52891"/>
                    </a:cubicBezTo>
                    <a:cubicBezTo>
                      <a:pt x="0" y="23746"/>
                      <a:pt x="23681" y="0"/>
                      <a:pt x="52891" y="0"/>
                    </a:cubicBezTo>
                    <a:cubicBezTo>
                      <a:pt x="82102" y="0"/>
                      <a:pt x="105718" y="23681"/>
                      <a:pt x="105718" y="52826"/>
                    </a:cubicBezTo>
                    <a:lnTo>
                      <a:pt x="105718" y="346884"/>
                    </a:lnTo>
                    <a:cubicBezTo>
                      <a:pt x="105718" y="364580"/>
                      <a:pt x="96414" y="379413"/>
                      <a:pt x="80606" y="388911"/>
                    </a:cubicBezTo>
                    <a:cubicBezTo>
                      <a:pt x="55949" y="403744"/>
                      <a:pt x="24006" y="395742"/>
                      <a:pt x="9238" y="371150"/>
                    </a:cubicBezTo>
                    <a:cubicBezTo>
                      <a:pt x="-2928" y="350918"/>
                      <a:pt x="260" y="325741"/>
                      <a:pt x="15484" y="309216"/>
                    </a:cubicBezTo>
                    <a:lnTo>
                      <a:pt x="45019" y="277078"/>
                    </a:lnTo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62" name="Forma livre: Forma 61">
                <a:extLst>
                  <a:ext uri="{FF2B5EF4-FFF2-40B4-BE49-F238E27FC236}">
                    <a16:creationId xmlns:a16="http://schemas.microsoft.com/office/drawing/2014/main" id="{6CE57153-DCE4-B1E2-4258-873C7CC18580}"/>
                  </a:ext>
                </a:extLst>
              </p:cNvPr>
              <p:cNvSpPr/>
              <p:nvPr/>
            </p:nvSpPr>
            <p:spPr>
              <a:xfrm>
                <a:off x="6144784" y="1383865"/>
                <a:ext cx="41563" cy="38963"/>
              </a:xfrm>
              <a:custGeom>
                <a:avLst/>
                <a:gdLst>
                  <a:gd name="connsiteX0" fmla="*/ 36172 w 41563"/>
                  <a:gd name="connsiteY0" fmla="*/ 0 h 38963"/>
                  <a:gd name="connsiteX1" fmla="*/ 39425 w 41563"/>
                  <a:gd name="connsiteY1" fmla="*/ 24266 h 38963"/>
                  <a:gd name="connsiteX2" fmla="*/ 36432 w 41563"/>
                  <a:gd name="connsiteY2" fmla="*/ 29080 h 38963"/>
                  <a:gd name="connsiteX3" fmla="*/ 0 w 41563"/>
                  <a:gd name="connsiteY3" fmla="*/ 33439 h 389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563" h="38963">
                    <a:moveTo>
                      <a:pt x="36172" y="0"/>
                    </a:moveTo>
                    <a:cubicBezTo>
                      <a:pt x="41571" y="7547"/>
                      <a:pt x="43393" y="16004"/>
                      <a:pt x="39425" y="24266"/>
                    </a:cubicBezTo>
                    <a:cubicBezTo>
                      <a:pt x="38644" y="25893"/>
                      <a:pt x="37603" y="27519"/>
                      <a:pt x="36432" y="29080"/>
                    </a:cubicBezTo>
                    <a:cubicBezTo>
                      <a:pt x="27584" y="40270"/>
                      <a:pt x="11190" y="42287"/>
                      <a:pt x="0" y="33439"/>
                    </a:cubicBezTo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63" name="Forma livre: Forma 62">
                <a:extLst>
                  <a:ext uri="{FF2B5EF4-FFF2-40B4-BE49-F238E27FC236}">
                    <a16:creationId xmlns:a16="http://schemas.microsoft.com/office/drawing/2014/main" id="{EC8DF62D-FFB5-091B-0100-5807D4A3F659}"/>
                  </a:ext>
                </a:extLst>
              </p:cNvPr>
              <p:cNvSpPr/>
              <p:nvPr/>
            </p:nvSpPr>
            <p:spPr>
              <a:xfrm>
                <a:off x="6081487" y="1460806"/>
                <a:ext cx="34217" cy="54474"/>
              </a:xfrm>
              <a:custGeom>
                <a:avLst/>
                <a:gdLst>
                  <a:gd name="connsiteX0" fmla="*/ 21076 w 34217"/>
                  <a:gd name="connsiteY0" fmla="*/ 54475 h 54474"/>
                  <a:gd name="connsiteX1" fmla="*/ 778 w 34217"/>
                  <a:gd name="connsiteY1" fmla="*/ 21035 h 54474"/>
                  <a:gd name="connsiteX2" fmla="*/ 34217 w 34217"/>
                  <a:gd name="connsiteY2" fmla="*/ 803 h 544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4217" h="54474">
                    <a:moveTo>
                      <a:pt x="21076" y="54475"/>
                    </a:moveTo>
                    <a:cubicBezTo>
                      <a:pt x="6308" y="50832"/>
                      <a:pt x="-2800" y="35803"/>
                      <a:pt x="778" y="21035"/>
                    </a:cubicBezTo>
                    <a:cubicBezTo>
                      <a:pt x="4421" y="6267"/>
                      <a:pt x="19449" y="-2841"/>
                      <a:pt x="34217" y="803"/>
                    </a:cubicBezTo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64" name="Forma livre: Forma 63">
                <a:extLst>
                  <a:ext uri="{FF2B5EF4-FFF2-40B4-BE49-F238E27FC236}">
                    <a16:creationId xmlns:a16="http://schemas.microsoft.com/office/drawing/2014/main" id="{3DEC34F5-7F0A-5183-8863-7AEE36056832}"/>
                  </a:ext>
                </a:extLst>
              </p:cNvPr>
              <p:cNvSpPr/>
              <p:nvPr/>
            </p:nvSpPr>
            <p:spPr>
              <a:xfrm>
                <a:off x="6073547" y="1527543"/>
                <a:ext cx="114760" cy="72506"/>
              </a:xfrm>
              <a:custGeom>
                <a:avLst/>
                <a:gdLst>
                  <a:gd name="connsiteX0" fmla="*/ 114760 w 114760"/>
                  <a:gd name="connsiteY0" fmla="*/ 7254 h 72506"/>
                  <a:gd name="connsiteX1" fmla="*/ 73905 w 114760"/>
                  <a:gd name="connsiteY1" fmla="*/ 8881 h 72506"/>
                  <a:gd name="connsiteX2" fmla="*/ 0 w 114760"/>
                  <a:gd name="connsiteY2" fmla="*/ 72506 h 725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14760" h="72506">
                    <a:moveTo>
                      <a:pt x="114760" y="7254"/>
                    </a:moveTo>
                    <a:cubicBezTo>
                      <a:pt x="103375" y="-2830"/>
                      <a:pt x="83989" y="-2504"/>
                      <a:pt x="73905" y="8881"/>
                    </a:cubicBezTo>
                    <a:cubicBezTo>
                      <a:pt x="73905" y="8881"/>
                      <a:pt x="31488" y="72506"/>
                      <a:pt x="0" y="72506"/>
                    </a:cubicBezTo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65" name="Forma livre: Forma 64">
                <a:extLst>
                  <a:ext uri="{FF2B5EF4-FFF2-40B4-BE49-F238E27FC236}">
                    <a16:creationId xmlns:a16="http://schemas.microsoft.com/office/drawing/2014/main" id="{65D0F46C-7F6D-375A-2A19-507FBFE4BF31}"/>
                  </a:ext>
                </a:extLst>
              </p:cNvPr>
              <p:cNvSpPr/>
              <p:nvPr/>
            </p:nvSpPr>
            <p:spPr>
              <a:xfrm>
                <a:off x="6079857" y="1646956"/>
                <a:ext cx="29405" cy="9823"/>
              </a:xfrm>
              <a:custGeom>
                <a:avLst/>
                <a:gdLst>
                  <a:gd name="connsiteX0" fmla="*/ 0 w 29405"/>
                  <a:gd name="connsiteY0" fmla="*/ 0 h 9823"/>
                  <a:gd name="connsiteX1" fmla="*/ 29406 w 29405"/>
                  <a:gd name="connsiteY1" fmla="*/ 9824 h 98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9405" h="9823">
                    <a:moveTo>
                      <a:pt x="0" y="0"/>
                    </a:moveTo>
                    <a:lnTo>
                      <a:pt x="29406" y="9824"/>
                    </a:lnTo>
                  </a:path>
                </a:pathLst>
              </a:custGeom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66" name="Forma livre: Forma 65">
                <a:extLst>
                  <a:ext uri="{FF2B5EF4-FFF2-40B4-BE49-F238E27FC236}">
                    <a16:creationId xmlns:a16="http://schemas.microsoft.com/office/drawing/2014/main" id="{F6827E53-1E33-6169-AA39-86092025EB23}"/>
                  </a:ext>
                </a:extLst>
              </p:cNvPr>
              <p:cNvSpPr/>
              <p:nvPr/>
            </p:nvSpPr>
            <p:spPr>
              <a:xfrm>
                <a:off x="6061121" y="1545272"/>
                <a:ext cx="47166" cy="34154"/>
              </a:xfrm>
              <a:custGeom>
                <a:avLst/>
                <a:gdLst>
                  <a:gd name="connsiteX0" fmla="*/ 0 w 47166"/>
                  <a:gd name="connsiteY0" fmla="*/ 0 h 34154"/>
                  <a:gd name="connsiteX1" fmla="*/ 47166 w 47166"/>
                  <a:gd name="connsiteY1" fmla="*/ 34155 h 341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166" h="34154">
                    <a:moveTo>
                      <a:pt x="0" y="0"/>
                    </a:moveTo>
                    <a:cubicBezTo>
                      <a:pt x="0" y="0"/>
                      <a:pt x="27649" y="13011"/>
                      <a:pt x="47166" y="34155"/>
                    </a:cubicBezTo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47" name="Gráfico 32">
              <a:extLst>
                <a:ext uri="{FF2B5EF4-FFF2-40B4-BE49-F238E27FC236}">
                  <a16:creationId xmlns:a16="http://schemas.microsoft.com/office/drawing/2014/main" id="{9FBBAE58-3D8D-17BC-30CA-5EA02AB2FDE2}"/>
                </a:ext>
              </a:extLst>
            </p:cNvPr>
            <p:cNvGrpSpPr/>
            <p:nvPr/>
          </p:nvGrpSpPr>
          <p:grpSpPr>
            <a:xfrm>
              <a:off x="6191625" y="1599725"/>
              <a:ext cx="173767" cy="157112"/>
              <a:chOff x="6191625" y="1599725"/>
              <a:chExt cx="173767" cy="157112"/>
            </a:xfrm>
            <a:noFill/>
          </p:grpSpPr>
          <p:sp>
            <p:nvSpPr>
              <p:cNvPr id="57" name="Forma livre: Forma 56">
                <a:extLst>
                  <a:ext uri="{FF2B5EF4-FFF2-40B4-BE49-F238E27FC236}">
                    <a16:creationId xmlns:a16="http://schemas.microsoft.com/office/drawing/2014/main" id="{44D1CC5A-2A20-5C01-C3EF-109B6AB12060}"/>
                  </a:ext>
                </a:extLst>
              </p:cNvPr>
              <p:cNvSpPr/>
              <p:nvPr/>
            </p:nvSpPr>
            <p:spPr>
              <a:xfrm>
                <a:off x="6310094" y="1621974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8" name="Forma livre: Forma 57">
                <a:extLst>
                  <a:ext uri="{FF2B5EF4-FFF2-40B4-BE49-F238E27FC236}">
                    <a16:creationId xmlns:a16="http://schemas.microsoft.com/office/drawing/2014/main" id="{FBF57CC8-552A-48B5-CE97-614C05545BE0}"/>
                  </a:ext>
                </a:extLst>
              </p:cNvPr>
              <p:cNvSpPr/>
              <p:nvPr/>
            </p:nvSpPr>
            <p:spPr>
              <a:xfrm>
                <a:off x="6191625" y="1599725"/>
                <a:ext cx="118078" cy="49898"/>
              </a:xfrm>
              <a:custGeom>
                <a:avLst/>
                <a:gdLst>
                  <a:gd name="connsiteX0" fmla="*/ 0 w 118078"/>
                  <a:gd name="connsiteY0" fmla="*/ 0 h 49898"/>
                  <a:gd name="connsiteX1" fmla="*/ 37343 w 118078"/>
                  <a:gd name="connsiteY1" fmla="*/ 0 h 49898"/>
                  <a:gd name="connsiteX2" fmla="*/ 87176 w 118078"/>
                  <a:gd name="connsiteY2" fmla="*/ 49899 h 49898"/>
                  <a:gd name="connsiteX3" fmla="*/ 118078 w 118078"/>
                  <a:gd name="connsiteY3" fmla="*/ 49899 h 49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8078" h="49898">
                    <a:moveTo>
                      <a:pt x="0" y="0"/>
                    </a:moveTo>
                    <a:lnTo>
                      <a:pt x="37343" y="0"/>
                    </a:lnTo>
                    <a:lnTo>
                      <a:pt x="87176" y="49899"/>
                    </a:lnTo>
                    <a:lnTo>
                      <a:pt x="118078" y="49899"/>
                    </a:lnTo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9" name="Forma livre: Forma 58">
                <a:extLst>
                  <a:ext uri="{FF2B5EF4-FFF2-40B4-BE49-F238E27FC236}">
                    <a16:creationId xmlns:a16="http://schemas.microsoft.com/office/drawing/2014/main" id="{AB18AF71-1C1A-390F-44B7-968450371C24}"/>
                  </a:ext>
                </a:extLst>
              </p:cNvPr>
              <p:cNvSpPr/>
              <p:nvPr/>
            </p:nvSpPr>
            <p:spPr>
              <a:xfrm>
                <a:off x="6191625" y="1665367"/>
                <a:ext cx="81906" cy="44108"/>
              </a:xfrm>
              <a:custGeom>
                <a:avLst/>
                <a:gdLst>
                  <a:gd name="connsiteX0" fmla="*/ 0 w 81906"/>
                  <a:gd name="connsiteY0" fmla="*/ 0 h 44108"/>
                  <a:gd name="connsiteX1" fmla="*/ 37343 w 81906"/>
                  <a:gd name="connsiteY1" fmla="*/ 0 h 44108"/>
                  <a:gd name="connsiteX2" fmla="*/ 81907 w 81906"/>
                  <a:gd name="connsiteY2" fmla="*/ 44109 h 441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1906" h="44108">
                    <a:moveTo>
                      <a:pt x="0" y="0"/>
                    </a:moveTo>
                    <a:lnTo>
                      <a:pt x="37343" y="0"/>
                    </a:lnTo>
                    <a:lnTo>
                      <a:pt x="81907" y="44109"/>
                    </a:lnTo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60" name="Forma livre: Forma 59">
                <a:extLst>
                  <a:ext uri="{FF2B5EF4-FFF2-40B4-BE49-F238E27FC236}">
                    <a16:creationId xmlns:a16="http://schemas.microsoft.com/office/drawing/2014/main" id="{BEA7CED9-F531-CCA5-EBBF-C7C6275B5684}"/>
                  </a:ext>
                </a:extLst>
              </p:cNvPr>
              <p:cNvSpPr/>
              <p:nvPr/>
            </p:nvSpPr>
            <p:spPr>
              <a:xfrm>
                <a:off x="6265075" y="1701539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48" name="Gráfico 32">
              <a:extLst>
                <a:ext uri="{FF2B5EF4-FFF2-40B4-BE49-F238E27FC236}">
                  <a16:creationId xmlns:a16="http://schemas.microsoft.com/office/drawing/2014/main" id="{820FE967-6E57-428F-C940-F0AC98295E06}"/>
                </a:ext>
              </a:extLst>
            </p:cNvPr>
            <p:cNvGrpSpPr/>
            <p:nvPr/>
          </p:nvGrpSpPr>
          <p:grpSpPr>
            <a:xfrm>
              <a:off x="6191625" y="1357908"/>
              <a:ext cx="173767" cy="157112"/>
              <a:chOff x="6191625" y="1357908"/>
              <a:chExt cx="173767" cy="157112"/>
            </a:xfrm>
            <a:noFill/>
          </p:grpSpPr>
          <p:sp>
            <p:nvSpPr>
              <p:cNvPr id="53" name="Forma livre: Forma 52">
                <a:extLst>
                  <a:ext uri="{FF2B5EF4-FFF2-40B4-BE49-F238E27FC236}">
                    <a16:creationId xmlns:a16="http://schemas.microsoft.com/office/drawing/2014/main" id="{E3B66161-A16A-4B51-7AC1-D63828E83F6C}"/>
                  </a:ext>
                </a:extLst>
              </p:cNvPr>
              <p:cNvSpPr/>
              <p:nvPr/>
            </p:nvSpPr>
            <p:spPr>
              <a:xfrm>
                <a:off x="6310094" y="1437472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0 h 55298"/>
                  <a:gd name="connsiteX2" fmla="*/ 0 w 55298"/>
                  <a:gd name="connsiteY2" fmla="*/ 27649 h 55298"/>
                  <a:gd name="connsiteX3" fmla="*/ 27649 w 55298"/>
                  <a:gd name="connsiteY3" fmla="*/ 55298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12361"/>
                      <a:pt x="42938" y="0"/>
                      <a:pt x="27649" y="0"/>
                    </a:cubicBezTo>
                    <a:cubicBezTo>
                      <a:pt x="12361" y="0"/>
                      <a:pt x="0" y="12361"/>
                      <a:pt x="0" y="27649"/>
                    </a:cubicBezTo>
                    <a:cubicBezTo>
                      <a:pt x="0" y="42938"/>
                      <a:pt x="12361" y="55298"/>
                      <a:pt x="27649" y="55298"/>
                    </a:cubicBezTo>
                    <a:cubicBezTo>
                      <a:pt x="42938" y="55298"/>
                      <a:pt x="55298" y="42938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4" name="Forma livre: Forma 53">
                <a:extLst>
                  <a:ext uri="{FF2B5EF4-FFF2-40B4-BE49-F238E27FC236}">
                    <a16:creationId xmlns:a16="http://schemas.microsoft.com/office/drawing/2014/main" id="{FB9229F1-FC53-EC02-7F61-E03F8684D50B}"/>
                  </a:ext>
                </a:extLst>
              </p:cNvPr>
              <p:cNvSpPr/>
              <p:nvPr/>
            </p:nvSpPr>
            <p:spPr>
              <a:xfrm>
                <a:off x="6191625" y="1465122"/>
                <a:ext cx="118468" cy="49898"/>
              </a:xfrm>
              <a:custGeom>
                <a:avLst/>
                <a:gdLst>
                  <a:gd name="connsiteX0" fmla="*/ 0 w 118468"/>
                  <a:gd name="connsiteY0" fmla="*/ 49899 h 49898"/>
                  <a:gd name="connsiteX1" fmla="*/ 37343 w 118468"/>
                  <a:gd name="connsiteY1" fmla="*/ 49899 h 49898"/>
                  <a:gd name="connsiteX2" fmla="*/ 87176 w 118468"/>
                  <a:gd name="connsiteY2" fmla="*/ 0 h 49898"/>
                  <a:gd name="connsiteX3" fmla="*/ 118469 w 118468"/>
                  <a:gd name="connsiteY3" fmla="*/ 0 h 49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8468" h="49898">
                    <a:moveTo>
                      <a:pt x="0" y="49899"/>
                    </a:moveTo>
                    <a:lnTo>
                      <a:pt x="37343" y="49899"/>
                    </a:lnTo>
                    <a:lnTo>
                      <a:pt x="87176" y="0"/>
                    </a:lnTo>
                    <a:lnTo>
                      <a:pt x="118469" y="0"/>
                    </a:lnTo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5" name="Forma livre: Forma 54">
                <a:extLst>
                  <a:ext uri="{FF2B5EF4-FFF2-40B4-BE49-F238E27FC236}">
                    <a16:creationId xmlns:a16="http://schemas.microsoft.com/office/drawing/2014/main" id="{5D5F1B83-5091-C711-4B84-53E58DB1CB01}"/>
                  </a:ext>
                </a:extLst>
              </p:cNvPr>
              <p:cNvSpPr/>
              <p:nvPr/>
            </p:nvSpPr>
            <p:spPr>
              <a:xfrm>
                <a:off x="6191625" y="1405269"/>
                <a:ext cx="81451" cy="44043"/>
              </a:xfrm>
              <a:custGeom>
                <a:avLst/>
                <a:gdLst>
                  <a:gd name="connsiteX0" fmla="*/ 0 w 81451"/>
                  <a:gd name="connsiteY0" fmla="*/ 44044 h 44043"/>
                  <a:gd name="connsiteX1" fmla="*/ 37343 w 81451"/>
                  <a:gd name="connsiteY1" fmla="*/ 44044 h 44043"/>
                  <a:gd name="connsiteX2" fmla="*/ 81451 w 81451"/>
                  <a:gd name="connsiteY2" fmla="*/ 0 h 440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1451" h="44043">
                    <a:moveTo>
                      <a:pt x="0" y="44044"/>
                    </a:moveTo>
                    <a:lnTo>
                      <a:pt x="37343" y="44044"/>
                    </a:lnTo>
                    <a:lnTo>
                      <a:pt x="81451" y="0"/>
                    </a:lnTo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6" name="Forma livre: Forma 55">
                <a:extLst>
                  <a:ext uri="{FF2B5EF4-FFF2-40B4-BE49-F238E27FC236}">
                    <a16:creationId xmlns:a16="http://schemas.microsoft.com/office/drawing/2014/main" id="{B44B7AFB-3BC3-5FF0-67BC-D096838BBBCC}"/>
                  </a:ext>
                </a:extLst>
              </p:cNvPr>
              <p:cNvSpPr/>
              <p:nvPr/>
            </p:nvSpPr>
            <p:spPr>
              <a:xfrm>
                <a:off x="6265075" y="1357908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0 h 55298"/>
                  <a:gd name="connsiteX2" fmla="*/ 0 w 55298"/>
                  <a:gd name="connsiteY2" fmla="*/ 27649 h 55298"/>
                  <a:gd name="connsiteX3" fmla="*/ 27649 w 55298"/>
                  <a:gd name="connsiteY3" fmla="*/ 55298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12361"/>
                      <a:pt x="42938" y="0"/>
                      <a:pt x="27649" y="0"/>
                    </a:cubicBezTo>
                    <a:cubicBezTo>
                      <a:pt x="12361" y="0"/>
                      <a:pt x="0" y="12361"/>
                      <a:pt x="0" y="27649"/>
                    </a:cubicBezTo>
                    <a:cubicBezTo>
                      <a:pt x="0" y="42938"/>
                      <a:pt x="12361" y="55298"/>
                      <a:pt x="27649" y="55298"/>
                    </a:cubicBezTo>
                    <a:cubicBezTo>
                      <a:pt x="42938" y="55298"/>
                      <a:pt x="55298" y="42938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49" name="Gráfico 32">
              <a:extLst>
                <a:ext uri="{FF2B5EF4-FFF2-40B4-BE49-F238E27FC236}">
                  <a16:creationId xmlns:a16="http://schemas.microsoft.com/office/drawing/2014/main" id="{CDF6D7F3-D4A2-84FA-9474-50207BFB17D1}"/>
                </a:ext>
              </a:extLst>
            </p:cNvPr>
            <p:cNvGrpSpPr/>
            <p:nvPr/>
          </p:nvGrpSpPr>
          <p:grpSpPr>
            <a:xfrm>
              <a:off x="6190910" y="1529723"/>
              <a:ext cx="123673" cy="55298"/>
              <a:chOff x="6190910" y="1529723"/>
              <a:chExt cx="123673" cy="55298"/>
            </a:xfrm>
            <a:noFill/>
          </p:grpSpPr>
          <p:sp>
            <p:nvSpPr>
              <p:cNvPr id="51" name="Forma livre: Forma 50">
                <a:extLst>
                  <a:ext uri="{FF2B5EF4-FFF2-40B4-BE49-F238E27FC236}">
                    <a16:creationId xmlns:a16="http://schemas.microsoft.com/office/drawing/2014/main" id="{7D3BB631-0286-0582-79D5-5649D860CE8C}"/>
                  </a:ext>
                </a:extLst>
              </p:cNvPr>
              <p:cNvSpPr/>
              <p:nvPr/>
            </p:nvSpPr>
            <p:spPr>
              <a:xfrm>
                <a:off x="6190910" y="1557372"/>
                <a:ext cx="68765" cy="6505"/>
              </a:xfrm>
              <a:custGeom>
                <a:avLst/>
                <a:gdLst>
                  <a:gd name="connsiteX0" fmla="*/ 0 w 68765"/>
                  <a:gd name="connsiteY0" fmla="*/ 0 h 6505"/>
                  <a:gd name="connsiteX1" fmla="*/ 68765 w 68765"/>
                  <a:gd name="connsiteY1" fmla="*/ 0 h 65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8765" h="6505">
                    <a:moveTo>
                      <a:pt x="0" y="0"/>
                    </a:moveTo>
                    <a:lnTo>
                      <a:pt x="68765" y="0"/>
                    </a:lnTo>
                  </a:path>
                </a:pathLst>
              </a:custGeom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2" name="Forma livre: Forma 51">
                <a:extLst>
                  <a:ext uri="{FF2B5EF4-FFF2-40B4-BE49-F238E27FC236}">
                    <a16:creationId xmlns:a16="http://schemas.microsoft.com/office/drawing/2014/main" id="{ABBFD6A4-9329-5A85-158B-7AB686278387}"/>
                  </a:ext>
                </a:extLst>
              </p:cNvPr>
              <p:cNvSpPr/>
              <p:nvPr/>
            </p:nvSpPr>
            <p:spPr>
              <a:xfrm>
                <a:off x="6259285" y="1529723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50" name="Forma livre: Forma 49">
              <a:extLst>
                <a:ext uri="{FF2B5EF4-FFF2-40B4-BE49-F238E27FC236}">
                  <a16:creationId xmlns:a16="http://schemas.microsoft.com/office/drawing/2014/main" id="{FF11D5C8-A3E0-3545-019A-8264686104D6}"/>
                </a:ext>
              </a:extLst>
            </p:cNvPr>
            <p:cNvSpPr/>
            <p:nvPr/>
          </p:nvSpPr>
          <p:spPr>
            <a:xfrm>
              <a:off x="6152201" y="1686285"/>
              <a:ext cx="37362" cy="20848"/>
            </a:xfrm>
            <a:custGeom>
              <a:avLst/>
              <a:gdLst>
                <a:gd name="connsiteX0" fmla="*/ 0 w 37362"/>
                <a:gd name="connsiteY0" fmla="*/ 10505 h 20848"/>
                <a:gd name="connsiteX1" fmla="*/ 27064 w 37362"/>
                <a:gd name="connsiteY1" fmla="*/ 2373 h 20848"/>
                <a:gd name="connsiteX2" fmla="*/ 37343 w 37362"/>
                <a:gd name="connsiteY2" fmla="*/ 20849 h 20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7362" h="20848">
                  <a:moveTo>
                    <a:pt x="0" y="10505"/>
                  </a:moveTo>
                  <a:cubicBezTo>
                    <a:pt x="5205" y="811"/>
                    <a:pt x="17435" y="-2832"/>
                    <a:pt x="27064" y="2373"/>
                  </a:cubicBezTo>
                  <a:cubicBezTo>
                    <a:pt x="34025" y="6081"/>
                    <a:pt x="37668" y="13432"/>
                    <a:pt x="37343" y="20849"/>
                  </a:cubicBezTo>
                </a:path>
              </a:pathLst>
            </a:custGeom>
            <a:noFill/>
            <a:ln w="19050" cap="sq">
              <a:solidFill>
                <a:schemeClr val="accent2"/>
              </a:solidFill>
              <a:prstDash val="solid"/>
              <a:miter lim="800000"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67" name="Agrupar 66">
            <a:extLst>
              <a:ext uri="{FF2B5EF4-FFF2-40B4-BE49-F238E27FC236}">
                <a16:creationId xmlns:a16="http://schemas.microsoft.com/office/drawing/2014/main" id="{3AEC3546-CE71-D9A2-EB8E-C565D00DA457}"/>
              </a:ext>
            </a:extLst>
          </p:cNvPr>
          <p:cNvGrpSpPr/>
          <p:nvPr/>
        </p:nvGrpSpPr>
        <p:grpSpPr>
          <a:xfrm>
            <a:off x="5866084" y="3274637"/>
            <a:ext cx="459831" cy="502163"/>
            <a:chOff x="6000092" y="1357908"/>
            <a:chExt cx="365300" cy="398929"/>
          </a:xfrm>
        </p:grpSpPr>
        <p:sp>
          <p:nvSpPr>
            <p:cNvPr id="68" name="Forma livre: Forma 67">
              <a:extLst>
                <a:ext uri="{FF2B5EF4-FFF2-40B4-BE49-F238E27FC236}">
                  <a16:creationId xmlns:a16="http://schemas.microsoft.com/office/drawing/2014/main" id="{997D90C3-B8F1-1F5D-D4FF-C85A5535C7F8}"/>
                </a:ext>
              </a:extLst>
            </p:cNvPr>
            <p:cNvSpPr/>
            <p:nvPr/>
          </p:nvSpPr>
          <p:spPr>
            <a:xfrm>
              <a:off x="6000092" y="1418606"/>
              <a:ext cx="84058" cy="286120"/>
            </a:xfrm>
            <a:custGeom>
              <a:avLst/>
              <a:gdLst>
                <a:gd name="connsiteX0" fmla="*/ 51595 w 84058"/>
                <a:gd name="connsiteY0" fmla="*/ 0 h 286120"/>
                <a:gd name="connsiteX1" fmla="*/ 35266 w 84058"/>
                <a:gd name="connsiteY1" fmla="*/ 61674 h 286120"/>
                <a:gd name="connsiteX2" fmla="*/ 28760 w 84058"/>
                <a:gd name="connsiteY2" fmla="*/ 193415 h 286120"/>
                <a:gd name="connsiteX3" fmla="*/ 84059 w 84058"/>
                <a:gd name="connsiteY3" fmla="*/ 286121 h 2861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4058" h="286120">
                  <a:moveTo>
                    <a:pt x="51595" y="0"/>
                  </a:moveTo>
                  <a:cubicBezTo>
                    <a:pt x="37868" y="7872"/>
                    <a:pt x="26028" y="24852"/>
                    <a:pt x="35266" y="61674"/>
                  </a:cubicBezTo>
                  <a:cubicBezTo>
                    <a:pt x="35266" y="61674"/>
                    <a:pt x="-39549" y="126731"/>
                    <a:pt x="28760" y="193415"/>
                  </a:cubicBezTo>
                  <a:cubicBezTo>
                    <a:pt x="28760" y="193415"/>
                    <a:pt x="9243" y="281242"/>
                    <a:pt x="84059" y="286121"/>
                  </a:cubicBezTo>
                </a:path>
              </a:pathLst>
            </a:custGeom>
            <a:noFill/>
            <a:ln w="19050" cap="sq">
              <a:solidFill>
                <a:schemeClr val="accent2"/>
              </a:solidFill>
              <a:prstDash val="solid"/>
              <a:miter lim="800000"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69" name="Gráfico 32">
              <a:extLst>
                <a:ext uri="{FF2B5EF4-FFF2-40B4-BE49-F238E27FC236}">
                  <a16:creationId xmlns:a16="http://schemas.microsoft.com/office/drawing/2014/main" id="{859CEB9D-F42D-E127-9861-4AA2E5944A39}"/>
                </a:ext>
              </a:extLst>
            </p:cNvPr>
            <p:cNvGrpSpPr/>
            <p:nvPr/>
          </p:nvGrpSpPr>
          <p:grpSpPr>
            <a:xfrm>
              <a:off x="6061121" y="1359924"/>
              <a:ext cx="128487" cy="396366"/>
              <a:chOff x="6061121" y="1359924"/>
              <a:chExt cx="128487" cy="396366"/>
            </a:xfrm>
            <a:noFill/>
          </p:grpSpPr>
          <p:sp>
            <p:nvSpPr>
              <p:cNvPr id="84" name="Forma livre: Forma 83">
                <a:extLst>
                  <a:ext uri="{FF2B5EF4-FFF2-40B4-BE49-F238E27FC236}">
                    <a16:creationId xmlns:a16="http://schemas.microsoft.com/office/drawing/2014/main" id="{1C80D726-D599-487E-588F-D99905E482AF}"/>
                  </a:ext>
                </a:extLst>
              </p:cNvPr>
              <p:cNvSpPr/>
              <p:nvPr/>
            </p:nvSpPr>
            <p:spPr>
              <a:xfrm>
                <a:off x="6083891" y="1359924"/>
                <a:ext cx="105717" cy="396366"/>
              </a:xfrm>
              <a:custGeom>
                <a:avLst/>
                <a:gdLst>
                  <a:gd name="connsiteX0" fmla="*/ 52891 w 105717"/>
                  <a:gd name="connsiteY0" fmla="*/ 105718 h 396366"/>
                  <a:gd name="connsiteX1" fmla="*/ 0 w 105717"/>
                  <a:gd name="connsiteY1" fmla="*/ 52891 h 396366"/>
                  <a:gd name="connsiteX2" fmla="*/ 52891 w 105717"/>
                  <a:gd name="connsiteY2" fmla="*/ 0 h 396366"/>
                  <a:gd name="connsiteX3" fmla="*/ 105718 w 105717"/>
                  <a:gd name="connsiteY3" fmla="*/ 52826 h 396366"/>
                  <a:gd name="connsiteX4" fmla="*/ 105718 w 105717"/>
                  <a:gd name="connsiteY4" fmla="*/ 346884 h 396366"/>
                  <a:gd name="connsiteX5" fmla="*/ 80606 w 105717"/>
                  <a:gd name="connsiteY5" fmla="*/ 388911 h 396366"/>
                  <a:gd name="connsiteX6" fmla="*/ 9238 w 105717"/>
                  <a:gd name="connsiteY6" fmla="*/ 371150 h 396366"/>
                  <a:gd name="connsiteX7" fmla="*/ 15484 w 105717"/>
                  <a:gd name="connsiteY7" fmla="*/ 309216 h 396366"/>
                  <a:gd name="connsiteX8" fmla="*/ 45019 w 105717"/>
                  <a:gd name="connsiteY8" fmla="*/ 277078 h 3963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05717" h="396366">
                    <a:moveTo>
                      <a:pt x="52891" y="105718"/>
                    </a:moveTo>
                    <a:cubicBezTo>
                      <a:pt x="23681" y="105718"/>
                      <a:pt x="0" y="82037"/>
                      <a:pt x="0" y="52891"/>
                    </a:cubicBezTo>
                    <a:cubicBezTo>
                      <a:pt x="0" y="23746"/>
                      <a:pt x="23681" y="0"/>
                      <a:pt x="52891" y="0"/>
                    </a:cubicBezTo>
                    <a:cubicBezTo>
                      <a:pt x="82102" y="0"/>
                      <a:pt x="105718" y="23681"/>
                      <a:pt x="105718" y="52826"/>
                    </a:cubicBezTo>
                    <a:lnTo>
                      <a:pt x="105718" y="346884"/>
                    </a:lnTo>
                    <a:cubicBezTo>
                      <a:pt x="105718" y="364580"/>
                      <a:pt x="96414" y="379413"/>
                      <a:pt x="80606" y="388911"/>
                    </a:cubicBezTo>
                    <a:cubicBezTo>
                      <a:pt x="55949" y="403744"/>
                      <a:pt x="24006" y="395742"/>
                      <a:pt x="9238" y="371150"/>
                    </a:cubicBezTo>
                    <a:cubicBezTo>
                      <a:pt x="-2928" y="350918"/>
                      <a:pt x="260" y="325741"/>
                      <a:pt x="15484" y="309216"/>
                    </a:cubicBezTo>
                    <a:lnTo>
                      <a:pt x="45019" y="277078"/>
                    </a:lnTo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85" name="Forma livre: Forma 84">
                <a:extLst>
                  <a:ext uri="{FF2B5EF4-FFF2-40B4-BE49-F238E27FC236}">
                    <a16:creationId xmlns:a16="http://schemas.microsoft.com/office/drawing/2014/main" id="{AC466650-CB49-BAED-7DFC-929C546CE2F4}"/>
                  </a:ext>
                </a:extLst>
              </p:cNvPr>
              <p:cNvSpPr/>
              <p:nvPr/>
            </p:nvSpPr>
            <p:spPr>
              <a:xfrm>
                <a:off x="6144784" y="1383865"/>
                <a:ext cx="41563" cy="38963"/>
              </a:xfrm>
              <a:custGeom>
                <a:avLst/>
                <a:gdLst>
                  <a:gd name="connsiteX0" fmla="*/ 36172 w 41563"/>
                  <a:gd name="connsiteY0" fmla="*/ 0 h 38963"/>
                  <a:gd name="connsiteX1" fmla="*/ 39425 w 41563"/>
                  <a:gd name="connsiteY1" fmla="*/ 24266 h 38963"/>
                  <a:gd name="connsiteX2" fmla="*/ 36432 w 41563"/>
                  <a:gd name="connsiteY2" fmla="*/ 29080 h 38963"/>
                  <a:gd name="connsiteX3" fmla="*/ 0 w 41563"/>
                  <a:gd name="connsiteY3" fmla="*/ 33439 h 389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563" h="38963">
                    <a:moveTo>
                      <a:pt x="36172" y="0"/>
                    </a:moveTo>
                    <a:cubicBezTo>
                      <a:pt x="41571" y="7547"/>
                      <a:pt x="43393" y="16004"/>
                      <a:pt x="39425" y="24266"/>
                    </a:cubicBezTo>
                    <a:cubicBezTo>
                      <a:pt x="38644" y="25893"/>
                      <a:pt x="37603" y="27519"/>
                      <a:pt x="36432" y="29080"/>
                    </a:cubicBezTo>
                    <a:cubicBezTo>
                      <a:pt x="27584" y="40270"/>
                      <a:pt x="11190" y="42287"/>
                      <a:pt x="0" y="33439"/>
                    </a:cubicBezTo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86" name="Forma livre: Forma 85">
                <a:extLst>
                  <a:ext uri="{FF2B5EF4-FFF2-40B4-BE49-F238E27FC236}">
                    <a16:creationId xmlns:a16="http://schemas.microsoft.com/office/drawing/2014/main" id="{374CB442-F47D-0A9D-B82A-78D89897646B}"/>
                  </a:ext>
                </a:extLst>
              </p:cNvPr>
              <p:cNvSpPr/>
              <p:nvPr/>
            </p:nvSpPr>
            <p:spPr>
              <a:xfrm>
                <a:off x="6081487" y="1460806"/>
                <a:ext cx="34217" cy="54474"/>
              </a:xfrm>
              <a:custGeom>
                <a:avLst/>
                <a:gdLst>
                  <a:gd name="connsiteX0" fmla="*/ 21076 w 34217"/>
                  <a:gd name="connsiteY0" fmla="*/ 54475 h 54474"/>
                  <a:gd name="connsiteX1" fmla="*/ 778 w 34217"/>
                  <a:gd name="connsiteY1" fmla="*/ 21035 h 54474"/>
                  <a:gd name="connsiteX2" fmla="*/ 34217 w 34217"/>
                  <a:gd name="connsiteY2" fmla="*/ 803 h 544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4217" h="54474">
                    <a:moveTo>
                      <a:pt x="21076" y="54475"/>
                    </a:moveTo>
                    <a:cubicBezTo>
                      <a:pt x="6308" y="50832"/>
                      <a:pt x="-2800" y="35803"/>
                      <a:pt x="778" y="21035"/>
                    </a:cubicBezTo>
                    <a:cubicBezTo>
                      <a:pt x="4421" y="6267"/>
                      <a:pt x="19449" y="-2841"/>
                      <a:pt x="34217" y="803"/>
                    </a:cubicBezTo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87" name="Forma livre: Forma 86">
                <a:extLst>
                  <a:ext uri="{FF2B5EF4-FFF2-40B4-BE49-F238E27FC236}">
                    <a16:creationId xmlns:a16="http://schemas.microsoft.com/office/drawing/2014/main" id="{E8746D31-AED4-5155-7FAB-CA5F346962BE}"/>
                  </a:ext>
                </a:extLst>
              </p:cNvPr>
              <p:cNvSpPr/>
              <p:nvPr/>
            </p:nvSpPr>
            <p:spPr>
              <a:xfrm>
                <a:off x="6073547" y="1527543"/>
                <a:ext cx="114760" cy="72506"/>
              </a:xfrm>
              <a:custGeom>
                <a:avLst/>
                <a:gdLst>
                  <a:gd name="connsiteX0" fmla="*/ 114760 w 114760"/>
                  <a:gd name="connsiteY0" fmla="*/ 7254 h 72506"/>
                  <a:gd name="connsiteX1" fmla="*/ 73905 w 114760"/>
                  <a:gd name="connsiteY1" fmla="*/ 8881 h 72506"/>
                  <a:gd name="connsiteX2" fmla="*/ 0 w 114760"/>
                  <a:gd name="connsiteY2" fmla="*/ 72506 h 725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14760" h="72506">
                    <a:moveTo>
                      <a:pt x="114760" y="7254"/>
                    </a:moveTo>
                    <a:cubicBezTo>
                      <a:pt x="103375" y="-2830"/>
                      <a:pt x="83989" y="-2504"/>
                      <a:pt x="73905" y="8881"/>
                    </a:cubicBezTo>
                    <a:cubicBezTo>
                      <a:pt x="73905" y="8881"/>
                      <a:pt x="31488" y="72506"/>
                      <a:pt x="0" y="72506"/>
                    </a:cubicBezTo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88" name="Forma livre: Forma 87">
                <a:extLst>
                  <a:ext uri="{FF2B5EF4-FFF2-40B4-BE49-F238E27FC236}">
                    <a16:creationId xmlns:a16="http://schemas.microsoft.com/office/drawing/2014/main" id="{F2D2EC10-0055-039A-0687-C6EF118E3BEE}"/>
                  </a:ext>
                </a:extLst>
              </p:cNvPr>
              <p:cNvSpPr/>
              <p:nvPr/>
            </p:nvSpPr>
            <p:spPr>
              <a:xfrm>
                <a:off x="6079857" y="1646956"/>
                <a:ext cx="29405" cy="9823"/>
              </a:xfrm>
              <a:custGeom>
                <a:avLst/>
                <a:gdLst>
                  <a:gd name="connsiteX0" fmla="*/ 0 w 29405"/>
                  <a:gd name="connsiteY0" fmla="*/ 0 h 9823"/>
                  <a:gd name="connsiteX1" fmla="*/ 29406 w 29405"/>
                  <a:gd name="connsiteY1" fmla="*/ 9824 h 98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9405" h="9823">
                    <a:moveTo>
                      <a:pt x="0" y="0"/>
                    </a:moveTo>
                    <a:lnTo>
                      <a:pt x="29406" y="9824"/>
                    </a:lnTo>
                  </a:path>
                </a:pathLst>
              </a:custGeom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89" name="Forma livre: Forma 88">
                <a:extLst>
                  <a:ext uri="{FF2B5EF4-FFF2-40B4-BE49-F238E27FC236}">
                    <a16:creationId xmlns:a16="http://schemas.microsoft.com/office/drawing/2014/main" id="{28A13E3A-A6C6-2372-6C6E-43D34E9DE263}"/>
                  </a:ext>
                </a:extLst>
              </p:cNvPr>
              <p:cNvSpPr/>
              <p:nvPr/>
            </p:nvSpPr>
            <p:spPr>
              <a:xfrm>
                <a:off x="6061121" y="1545272"/>
                <a:ext cx="47166" cy="34154"/>
              </a:xfrm>
              <a:custGeom>
                <a:avLst/>
                <a:gdLst>
                  <a:gd name="connsiteX0" fmla="*/ 0 w 47166"/>
                  <a:gd name="connsiteY0" fmla="*/ 0 h 34154"/>
                  <a:gd name="connsiteX1" fmla="*/ 47166 w 47166"/>
                  <a:gd name="connsiteY1" fmla="*/ 34155 h 341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166" h="34154">
                    <a:moveTo>
                      <a:pt x="0" y="0"/>
                    </a:moveTo>
                    <a:cubicBezTo>
                      <a:pt x="0" y="0"/>
                      <a:pt x="27649" y="13011"/>
                      <a:pt x="47166" y="34155"/>
                    </a:cubicBezTo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70" name="Gráfico 32">
              <a:extLst>
                <a:ext uri="{FF2B5EF4-FFF2-40B4-BE49-F238E27FC236}">
                  <a16:creationId xmlns:a16="http://schemas.microsoft.com/office/drawing/2014/main" id="{DF0D8319-57EB-0E6B-3E3F-D0C85E0D9825}"/>
                </a:ext>
              </a:extLst>
            </p:cNvPr>
            <p:cNvGrpSpPr/>
            <p:nvPr/>
          </p:nvGrpSpPr>
          <p:grpSpPr>
            <a:xfrm>
              <a:off x="6191625" y="1599725"/>
              <a:ext cx="173767" cy="157112"/>
              <a:chOff x="6191625" y="1599725"/>
              <a:chExt cx="173767" cy="157112"/>
            </a:xfrm>
            <a:noFill/>
          </p:grpSpPr>
          <p:sp>
            <p:nvSpPr>
              <p:cNvPr id="80" name="Forma livre: Forma 79">
                <a:extLst>
                  <a:ext uri="{FF2B5EF4-FFF2-40B4-BE49-F238E27FC236}">
                    <a16:creationId xmlns:a16="http://schemas.microsoft.com/office/drawing/2014/main" id="{77637767-9814-7A4E-E1EF-41424CED554D}"/>
                  </a:ext>
                </a:extLst>
              </p:cNvPr>
              <p:cNvSpPr/>
              <p:nvPr/>
            </p:nvSpPr>
            <p:spPr>
              <a:xfrm>
                <a:off x="6310094" y="1621974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81" name="Forma livre: Forma 80">
                <a:extLst>
                  <a:ext uri="{FF2B5EF4-FFF2-40B4-BE49-F238E27FC236}">
                    <a16:creationId xmlns:a16="http://schemas.microsoft.com/office/drawing/2014/main" id="{CFC09F47-2484-DEC9-7C8A-98A86F39634A}"/>
                  </a:ext>
                </a:extLst>
              </p:cNvPr>
              <p:cNvSpPr/>
              <p:nvPr/>
            </p:nvSpPr>
            <p:spPr>
              <a:xfrm>
                <a:off x="6191625" y="1599725"/>
                <a:ext cx="118078" cy="49898"/>
              </a:xfrm>
              <a:custGeom>
                <a:avLst/>
                <a:gdLst>
                  <a:gd name="connsiteX0" fmla="*/ 0 w 118078"/>
                  <a:gd name="connsiteY0" fmla="*/ 0 h 49898"/>
                  <a:gd name="connsiteX1" fmla="*/ 37343 w 118078"/>
                  <a:gd name="connsiteY1" fmla="*/ 0 h 49898"/>
                  <a:gd name="connsiteX2" fmla="*/ 87176 w 118078"/>
                  <a:gd name="connsiteY2" fmla="*/ 49899 h 49898"/>
                  <a:gd name="connsiteX3" fmla="*/ 118078 w 118078"/>
                  <a:gd name="connsiteY3" fmla="*/ 49899 h 49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8078" h="49898">
                    <a:moveTo>
                      <a:pt x="0" y="0"/>
                    </a:moveTo>
                    <a:lnTo>
                      <a:pt x="37343" y="0"/>
                    </a:lnTo>
                    <a:lnTo>
                      <a:pt x="87176" y="49899"/>
                    </a:lnTo>
                    <a:lnTo>
                      <a:pt x="118078" y="49899"/>
                    </a:lnTo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82" name="Forma livre: Forma 81">
                <a:extLst>
                  <a:ext uri="{FF2B5EF4-FFF2-40B4-BE49-F238E27FC236}">
                    <a16:creationId xmlns:a16="http://schemas.microsoft.com/office/drawing/2014/main" id="{11BE0FF2-D21B-D14C-BC05-937EF949CCDB}"/>
                  </a:ext>
                </a:extLst>
              </p:cNvPr>
              <p:cNvSpPr/>
              <p:nvPr/>
            </p:nvSpPr>
            <p:spPr>
              <a:xfrm>
                <a:off x="6191625" y="1665367"/>
                <a:ext cx="81906" cy="44108"/>
              </a:xfrm>
              <a:custGeom>
                <a:avLst/>
                <a:gdLst>
                  <a:gd name="connsiteX0" fmla="*/ 0 w 81906"/>
                  <a:gd name="connsiteY0" fmla="*/ 0 h 44108"/>
                  <a:gd name="connsiteX1" fmla="*/ 37343 w 81906"/>
                  <a:gd name="connsiteY1" fmla="*/ 0 h 44108"/>
                  <a:gd name="connsiteX2" fmla="*/ 81907 w 81906"/>
                  <a:gd name="connsiteY2" fmla="*/ 44109 h 441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1906" h="44108">
                    <a:moveTo>
                      <a:pt x="0" y="0"/>
                    </a:moveTo>
                    <a:lnTo>
                      <a:pt x="37343" y="0"/>
                    </a:lnTo>
                    <a:lnTo>
                      <a:pt x="81907" y="44109"/>
                    </a:lnTo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83" name="Forma livre: Forma 82">
                <a:extLst>
                  <a:ext uri="{FF2B5EF4-FFF2-40B4-BE49-F238E27FC236}">
                    <a16:creationId xmlns:a16="http://schemas.microsoft.com/office/drawing/2014/main" id="{CD66F721-041F-51FF-BCA7-AD0F036C1E94}"/>
                  </a:ext>
                </a:extLst>
              </p:cNvPr>
              <p:cNvSpPr/>
              <p:nvPr/>
            </p:nvSpPr>
            <p:spPr>
              <a:xfrm>
                <a:off x="6265075" y="1701539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71" name="Gráfico 32">
              <a:extLst>
                <a:ext uri="{FF2B5EF4-FFF2-40B4-BE49-F238E27FC236}">
                  <a16:creationId xmlns:a16="http://schemas.microsoft.com/office/drawing/2014/main" id="{E64E28F3-C36D-4274-0852-E0BE01EC0C4E}"/>
                </a:ext>
              </a:extLst>
            </p:cNvPr>
            <p:cNvGrpSpPr/>
            <p:nvPr/>
          </p:nvGrpSpPr>
          <p:grpSpPr>
            <a:xfrm>
              <a:off x="6191625" y="1357908"/>
              <a:ext cx="173767" cy="157112"/>
              <a:chOff x="6191625" y="1357908"/>
              <a:chExt cx="173767" cy="157112"/>
            </a:xfrm>
            <a:noFill/>
          </p:grpSpPr>
          <p:sp>
            <p:nvSpPr>
              <p:cNvPr id="76" name="Forma livre: Forma 75">
                <a:extLst>
                  <a:ext uri="{FF2B5EF4-FFF2-40B4-BE49-F238E27FC236}">
                    <a16:creationId xmlns:a16="http://schemas.microsoft.com/office/drawing/2014/main" id="{9703CDBD-6BF4-7700-2E3E-90100EF75184}"/>
                  </a:ext>
                </a:extLst>
              </p:cNvPr>
              <p:cNvSpPr/>
              <p:nvPr/>
            </p:nvSpPr>
            <p:spPr>
              <a:xfrm>
                <a:off x="6310094" y="1437472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0 h 55298"/>
                  <a:gd name="connsiteX2" fmla="*/ 0 w 55298"/>
                  <a:gd name="connsiteY2" fmla="*/ 27649 h 55298"/>
                  <a:gd name="connsiteX3" fmla="*/ 27649 w 55298"/>
                  <a:gd name="connsiteY3" fmla="*/ 55298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12361"/>
                      <a:pt x="42938" y="0"/>
                      <a:pt x="27649" y="0"/>
                    </a:cubicBezTo>
                    <a:cubicBezTo>
                      <a:pt x="12361" y="0"/>
                      <a:pt x="0" y="12361"/>
                      <a:pt x="0" y="27649"/>
                    </a:cubicBezTo>
                    <a:cubicBezTo>
                      <a:pt x="0" y="42938"/>
                      <a:pt x="12361" y="55298"/>
                      <a:pt x="27649" y="55298"/>
                    </a:cubicBezTo>
                    <a:cubicBezTo>
                      <a:pt x="42938" y="55298"/>
                      <a:pt x="55298" y="42938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7" name="Forma livre: Forma 76">
                <a:extLst>
                  <a:ext uri="{FF2B5EF4-FFF2-40B4-BE49-F238E27FC236}">
                    <a16:creationId xmlns:a16="http://schemas.microsoft.com/office/drawing/2014/main" id="{EF266DF1-2FC0-13D6-E4CF-28115B4F698D}"/>
                  </a:ext>
                </a:extLst>
              </p:cNvPr>
              <p:cNvSpPr/>
              <p:nvPr/>
            </p:nvSpPr>
            <p:spPr>
              <a:xfrm>
                <a:off x="6191625" y="1465122"/>
                <a:ext cx="118468" cy="49898"/>
              </a:xfrm>
              <a:custGeom>
                <a:avLst/>
                <a:gdLst>
                  <a:gd name="connsiteX0" fmla="*/ 0 w 118468"/>
                  <a:gd name="connsiteY0" fmla="*/ 49899 h 49898"/>
                  <a:gd name="connsiteX1" fmla="*/ 37343 w 118468"/>
                  <a:gd name="connsiteY1" fmla="*/ 49899 h 49898"/>
                  <a:gd name="connsiteX2" fmla="*/ 87176 w 118468"/>
                  <a:gd name="connsiteY2" fmla="*/ 0 h 49898"/>
                  <a:gd name="connsiteX3" fmla="*/ 118469 w 118468"/>
                  <a:gd name="connsiteY3" fmla="*/ 0 h 49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8468" h="49898">
                    <a:moveTo>
                      <a:pt x="0" y="49899"/>
                    </a:moveTo>
                    <a:lnTo>
                      <a:pt x="37343" y="49899"/>
                    </a:lnTo>
                    <a:lnTo>
                      <a:pt x="87176" y="0"/>
                    </a:lnTo>
                    <a:lnTo>
                      <a:pt x="118469" y="0"/>
                    </a:lnTo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8" name="Forma livre: Forma 77">
                <a:extLst>
                  <a:ext uri="{FF2B5EF4-FFF2-40B4-BE49-F238E27FC236}">
                    <a16:creationId xmlns:a16="http://schemas.microsoft.com/office/drawing/2014/main" id="{14087C1D-EDBA-7AF8-4CDD-96263AFEFA23}"/>
                  </a:ext>
                </a:extLst>
              </p:cNvPr>
              <p:cNvSpPr/>
              <p:nvPr/>
            </p:nvSpPr>
            <p:spPr>
              <a:xfrm>
                <a:off x="6191625" y="1405269"/>
                <a:ext cx="81451" cy="44043"/>
              </a:xfrm>
              <a:custGeom>
                <a:avLst/>
                <a:gdLst>
                  <a:gd name="connsiteX0" fmla="*/ 0 w 81451"/>
                  <a:gd name="connsiteY0" fmla="*/ 44044 h 44043"/>
                  <a:gd name="connsiteX1" fmla="*/ 37343 w 81451"/>
                  <a:gd name="connsiteY1" fmla="*/ 44044 h 44043"/>
                  <a:gd name="connsiteX2" fmla="*/ 81451 w 81451"/>
                  <a:gd name="connsiteY2" fmla="*/ 0 h 440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1451" h="44043">
                    <a:moveTo>
                      <a:pt x="0" y="44044"/>
                    </a:moveTo>
                    <a:lnTo>
                      <a:pt x="37343" y="44044"/>
                    </a:lnTo>
                    <a:lnTo>
                      <a:pt x="81451" y="0"/>
                    </a:lnTo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9" name="Forma livre: Forma 78">
                <a:extLst>
                  <a:ext uri="{FF2B5EF4-FFF2-40B4-BE49-F238E27FC236}">
                    <a16:creationId xmlns:a16="http://schemas.microsoft.com/office/drawing/2014/main" id="{8ED6E3FD-EFA9-F4F8-9290-E6E0474C1E56}"/>
                  </a:ext>
                </a:extLst>
              </p:cNvPr>
              <p:cNvSpPr/>
              <p:nvPr/>
            </p:nvSpPr>
            <p:spPr>
              <a:xfrm>
                <a:off x="6265075" y="1357908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0 h 55298"/>
                  <a:gd name="connsiteX2" fmla="*/ 0 w 55298"/>
                  <a:gd name="connsiteY2" fmla="*/ 27649 h 55298"/>
                  <a:gd name="connsiteX3" fmla="*/ 27649 w 55298"/>
                  <a:gd name="connsiteY3" fmla="*/ 55298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12361"/>
                      <a:pt x="42938" y="0"/>
                      <a:pt x="27649" y="0"/>
                    </a:cubicBezTo>
                    <a:cubicBezTo>
                      <a:pt x="12361" y="0"/>
                      <a:pt x="0" y="12361"/>
                      <a:pt x="0" y="27649"/>
                    </a:cubicBezTo>
                    <a:cubicBezTo>
                      <a:pt x="0" y="42938"/>
                      <a:pt x="12361" y="55298"/>
                      <a:pt x="27649" y="55298"/>
                    </a:cubicBezTo>
                    <a:cubicBezTo>
                      <a:pt x="42938" y="55298"/>
                      <a:pt x="55298" y="42938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72" name="Gráfico 32">
              <a:extLst>
                <a:ext uri="{FF2B5EF4-FFF2-40B4-BE49-F238E27FC236}">
                  <a16:creationId xmlns:a16="http://schemas.microsoft.com/office/drawing/2014/main" id="{56BA26E2-5C1D-0802-2BDE-F199A6CDE433}"/>
                </a:ext>
              </a:extLst>
            </p:cNvPr>
            <p:cNvGrpSpPr/>
            <p:nvPr/>
          </p:nvGrpSpPr>
          <p:grpSpPr>
            <a:xfrm>
              <a:off x="6190910" y="1529723"/>
              <a:ext cx="123673" cy="55298"/>
              <a:chOff x="6190910" y="1529723"/>
              <a:chExt cx="123673" cy="55298"/>
            </a:xfrm>
            <a:noFill/>
          </p:grpSpPr>
          <p:sp>
            <p:nvSpPr>
              <p:cNvPr id="74" name="Forma livre: Forma 73">
                <a:extLst>
                  <a:ext uri="{FF2B5EF4-FFF2-40B4-BE49-F238E27FC236}">
                    <a16:creationId xmlns:a16="http://schemas.microsoft.com/office/drawing/2014/main" id="{A3647F0B-5048-0019-0FF1-A7181268D0BE}"/>
                  </a:ext>
                </a:extLst>
              </p:cNvPr>
              <p:cNvSpPr/>
              <p:nvPr/>
            </p:nvSpPr>
            <p:spPr>
              <a:xfrm>
                <a:off x="6190910" y="1557372"/>
                <a:ext cx="68765" cy="6505"/>
              </a:xfrm>
              <a:custGeom>
                <a:avLst/>
                <a:gdLst>
                  <a:gd name="connsiteX0" fmla="*/ 0 w 68765"/>
                  <a:gd name="connsiteY0" fmla="*/ 0 h 6505"/>
                  <a:gd name="connsiteX1" fmla="*/ 68765 w 68765"/>
                  <a:gd name="connsiteY1" fmla="*/ 0 h 65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8765" h="6505">
                    <a:moveTo>
                      <a:pt x="0" y="0"/>
                    </a:moveTo>
                    <a:lnTo>
                      <a:pt x="68765" y="0"/>
                    </a:lnTo>
                  </a:path>
                </a:pathLst>
              </a:custGeom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5" name="Forma livre: Forma 74">
                <a:extLst>
                  <a:ext uri="{FF2B5EF4-FFF2-40B4-BE49-F238E27FC236}">
                    <a16:creationId xmlns:a16="http://schemas.microsoft.com/office/drawing/2014/main" id="{82C12783-A65F-02D5-F8B8-D29D77CD3DE9}"/>
                  </a:ext>
                </a:extLst>
              </p:cNvPr>
              <p:cNvSpPr/>
              <p:nvPr/>
            </p:nvSpPr>
            <p:spPr>
              <a:xfrm>
                <a:off x="6259285" y="1529723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73" name="Forma livre: Forma 72">
              <a:extLst>
                <a:ext uri="{FF2B5EF4-FFF2-40B4-BE49-F238E27FC236}">
                  <a16:creationId xmlns:a16="http://schemas.microsoft.com/office/drawing/2014/main" id="{84D51367-1F7C-70E3-CDA6-844DDE06F9A3}"/>
                </a:ext>
              </a:extLst>
            </p:cNvPr>
            <p:cNvSpPr/>
            <p:nvPr/>
          </p:nvSpPr>
          <p:spPr>
            <a:xfrm>
              <a:off x="6152201" y="1686285"/>
              <a:ext cx="37362" cy="20848"/>
            </a:xfrm>
            <a:custGeom>
              <a:avLst/>
              <a:gdLst>
                <a:gd name="connsiteX0" fmla="*/ 0 w 37362"/>
                <a:gd name="connsiteY0" fmla="*/ 10505 h 20848"/>
                <a:gd name="connsiteX1" fmla="*/ 27064 w 37362"/>
                <a:gd name="connsiteY1" fmla="*/ 2373 h 20848"/>
                <a:gd name="connsiteX2" fmla="*/ 37343 w 37362"/>
                <a:gd name="connsiteY2" fmla="*/ 20849 h 20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7362" h="20848">
                  <a:moveTo>
                    <a:pt x="0" y="10505"/>
                  </a:moveTo>
                  <a:cubicBezTo>
                    <a:pt x="5205" y="811"/>
                    <a:pt x="17435" y="-2832"/>
                    <a:pt x="27064" y="2373"/>
                  </a:cubicBezTo>
                  <a:cubicBezTo>
                    <a:pt x="34025" y="6081"/>
                    <a:pt x="37668" y="13432"/>
                    <a:pt x="37343" y="20849"/>
                  </a:cubicBezTo>
                </a:path>
              </a:pathLst>
            </a:custGeom>
            <a:noFill/>
            <a:ln w="19050" cap="sq">
              <a:solidFill>
                <a:schemeClr val="accent2"/>
              </a:solidFill>
              <a:prstDash val="solid"/>
              <a:miter lim="800000"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90" name="Agrupar 89">
            <a:extLst>
              <a:ext uri="{FF2B5EF4-FFF2-40B4-BE49-F238E27FC236}">
                <a16:creationId xmlns:a16="http://schemas.microsoft.com/office/drawing/2014/main" id="{9A769D3D-1A07-CB30-A144-5B9964364DE7}"/>
              </a:ext>
            </a:extLst>
          </p:cNvPr>
          <p:cNvGrpSpPr/>
          <p:nvPr/>
        </p:nvGrpSpPr>
        <p:grpSpPr>
          <a:xfrm>
            <a:off x="5866084" y="4320874"/>
            <a:ext cx="459831" cy="502163"/>
            <a:chOff x="6000092" y="1357908"/>
            <a:chExt cx="365300" cy="398929"/>
          </a:xfrm>
        </p:grpSpPr>
        <p:sp>
          <p:nvSpPr>
            <p:cNvPr id="91" name="Forma livre: Forma 90">
              <a:extLst>
                <a:ext uri="{FF2B5EF4-FFF2-40B4-BE49-F238E27FC236}">
                  <a16:creationId xmlns:a16="http://schemas.microsoft.com/office/drawing/2014/main" id="{30DA3DA8-3B5A-7ECC-D4C4-09D7F71B2157}"/>
                </a:ext>
              </a:extLst>
            </p:cNvPr>
            <p:cNvSpPr/>
            <p:nvPr/>
          </p:nvSpPr>
          <p:spPr>
            <a:xfrm>
              <a:off x="6000092" y="1418606"/>
              <a:ext cx="84058" cy="286120"/>
            </a:xfrm>
            <a:custGeom>
              <a:avLst/>
              <a:gdLst>
                <a:gd name="connsiteX0" fmla="*/ 51595 w 84058"/>
                <a:gd name="connsiteY0" fmla="*/ 0 h 286120"/>
                <a:gd name="connsiteX1" fmla="*/ 35266 w 84058"/>
                <a:gd name="connsiteY1" fmla="*/ 61674 h 286120"/>
                <a:gd name="connsiteX2" fmla="*/ 28760 w 84058"/>
                <a:gd name="connsiteY2" fmla="*/ 193415 h 286120"/>
                <a:gd name="connsiteX3" fmla="*/ 84059 w 84058"/>
                <a:gd name="connsiteY3" fmla="*/ 286121 h 2861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4058" h="286120">
                  <a:moveTo>
                    <a:pt x="51595" y="0"/>
                  </a:moveTo>
                  <a:cubicBezTo>
                    <a:pt x="37868" y="7872"/>
                    <a:pt x="26028" y="24852"/>
                    <a:pt x="35266" y="61674"/>
                  </a:cubicBezTo>
                  <a:cubicBezTo>
                    <a:pt x="35266" y="61674"/>
                    <a:pt x="-39549" y="126731"/>
                    <a:pt x="28760" y="193415"/>
                  </a:cubicBezTo>
                  <a:cubicBezTo>
                    <a:pt x="28760" y="193415"/>
                    <a:pt x="9243" y="281242"/>
                    <a:pt x="84059" y="286121"/>
                  </a:cubicBezTo>
                </a:path>
              </a:pathLst>
            </a:custGeom>
            <a:noFill/>
            <a:ln w="19050" cap="sq">
              <a:solidFill>
                <a:schemeClr val="accent2"/>
              </a:solidFill>
              <a:prstDash val="solid"/>
              <a:miter lim="800000"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92" name="Gráfico 32">
              <a:extLst>
                <a:ext uri="{FF2B5EF4-FFF2-40B4-BE49-F238E27FC236}">
                  <a16:creationId xmlns:a16="http://schemas.microsoft.com/office/drawing/2014/main" id="{24C2DA71-21E1-D200-BD49-0675401FAE1B}"/>
                </a:ext>
              </a:extLst>
            </p:cNvPr>
            <p:cNvGrpSpPr/>
            <p:nvPr/>
          </p:nvGrpSpPr>
          <p:grpSpPr>
            <a:xfrm>
              <a:off x="6061121" y="1359924"/>
              <a:ext cx="128487" cy="396366"/>
              <a:chOff x="6061121" y="1359924"/>
              <a:chExt cx="128487" cy="396366"/>
            </a:xfrm>
            <a:noFill/>
          </p:grpSpPr>
          <p:sp>
            <p:nvSpPr>
              <p:cNvPr id="107" name="Forma livre: Forma 106">
                <a:extLst>
                  <a:ext uri="{FF2B5EF4-FFF2-40B4-BE49-F238E27FC236}">
                    <a16:creationId xmlns:a16="http://schemas.microsoft.com/office/drawing/2014/main" id="{45E38558-A053-CA21-DFB5-C16DBEB28A62}"/>
                  </a:ext>
                </a:extLst>
              </p:cNvPr>
              <p:cNvSpPr/>
              <p:nvPr/>
            </p:nvSpPr>
            <p:spPr>
              <a:xfrm>
                <a:off x="6083891" y="1359924"/>
                <a:ext cx="105717" cy="396366"/>
              </a:xfrm>
              <a:custGeom>
                <a:avLst/>
                <a:gdLst>
                  <a:gd name="connsiteX0" fmla="*/ 52891 w 105717"/>
                  <a:gd name="connsiteY0" fmla="*/ 105718 h 396366"/>
                  <a:gd name="connsiteX1" fmla="*/ 0 w 105717"/>
                  <a:gd name="connsiteY1" fmla="*/ 52891 h 396366"/>
                  <a:gd name="connsiteX2" fmla="*/ 52891 w 105717"/>
                  <a:gd name="connsiteY2" fmla="*/ 0 h 396366"/>
                  <a:gd name="connsiteX3" fmla="*/ 105718 w 105717"/>
                  <a:gd name="connsiteY3" fmla="*/ 52826 h 396366"/>
                  <a:gd name="connsiteX4" fmla="*/ 105718 w 105717"/>
                  <a:gd name="connsiteY4" fmla="*/ 346884 h 396366"/>
                  <a:gd name="connsiteX5" fmla="*/ 80606 w 105717"/>
                  <a:gd name="connsiteY5" fmla="*/ 388911 h 396366"/>
                  <a:gd name="connsiteX6" fmla="*/ 9238 w 105717"/>
                  <a:gd name="connsiteY6" fmla="*/ 371150 h 396366"/>
                  <a:gd name="connsiteX7" fmla="*/ 15484 w 105717"/>
                  <a:gd name="connsiteY7" fmla="*/ 309216 h 396366"/>
                  <a:gd name="connsiteX8" fmla="*/ 45019 w 105717"/>
                  <a:gd name="connsiteY8" fmla="*/ 277078 h 3963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05717" h="396366">
                    <a:moveTo>
                      <a:pt x="52891" y="105718"/>
                    </a:moveTo>
                    <a:cubicBezTo>
                      <a:pt x="23681" y="105718"/>
                      <a:pt x="0" y="82037"/>
                      <a:pt x="0" y="52891"/>
                    </a:cubicBezTo>
                    <a:cubicBezTo>
                      <a:pt x="0" y="23746"/>
                      <a:pt x="23681" y="0"/>
                      <a:pt x="52891" y="0"/>
                    </a:cubicBezTo>
                    <a:cubicBezTo>
                      <a:pt x="82102" y="0"/>
                      <a:pt x="105718" y="23681"/>
                      <a:pt x="105718" y="52826"/>
                    </a:cubicBezTo>
                    <a:lnTo>
                      <a:pt x="105718" y="346884"/>
                    </a:lnTo>
                    <a:cubicBezTo>
                      <a:pt x="105718" y="364580"/>
                      <a:pt x="96414" y="379413"/>
                      <a:pt x="80606" y="388911"/>
                    </a:cubicBezTo>
                    <a:cubicBezTo>
                      <a:pt x="55949" y="403744"/>
                      <a:pt x="24006" y="395742"/>
                      <a:pt x="9238" y="371150"/>
                    </a:cubicBezTo>
                    <a:cubicBezTo>
                      <a:pt x="-2928" y="350918"/>
                      <a:pt x="260" y="325741"/>
                      <a:pt x="15484" y="309216"/>
                    </a:cubicBezTo>
                    <a:lnTo>
                      <a:pt x="45019" y="277078"/>
                    </a:lnTo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08" name="Forma livre: Forma 107">
                <a:extLst>
                  <a:ext uri="{FF2B5EF4-FFF2-40B4-BE49-F238E27FC236}">
                    <a16:creationId xmlns:a16="http://schemas.microsoft.com/office/drawing/2014/main" id="{86E766D1-409E-6693-56A0-A10AC25CBB84}"/>
                  </a:ext>
                </a:extLst>
              </p:cNvPr>
              <p:cNvSpPr/>
              <p:nvPr/>
            </p:nvSpPr>
            <p:spPr>
              <a:xfrm>
                <a:off x="6144784" y="1383865"/>
                <a:ext cx="41563" cy="38963"/>
              </a:xfrm>
              <a:custGeom>
                <a:avLst/>
                <a:gdLst>
                  <a:gd name="connsiteX0" fmla="*/ 36172 w 41563"/>
                  <a:gd name="connsiteY0" fmla="*/ 0 h 38963"/>
                  <a:gd name="connsiteX1" fmla="*/ 39425 w 41563"/>
                  <a:gd name="connsiteY1" fmla="*/ 24266 h 38963"/>
                  <a:gd name="connsiteX2" fmla="*/ 36432 w 41563"/>
                  <a:gd name="connsiteY2" fmla="*/ 29080 h 38963"/>
                  <a:gd name="connsiteX3" fmla="*/ 0 w 41563"/>
                  <a:gd name="connsiteY3" fmla="*/ 33439 h 389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563" h="38963">
                    <a:moveTo>
                      <a:pt x="36172" y="0"/>
                    </a:moveTo>
                    <a:cubicBezTo>
                      <a:pt x="41571" y="7547"/>
                      <a:pt x="43393" y="16004"/>
                      <a:pt x="39425" y="24266"/>
                    </a:cubicBezTo>
                    <a:cubicBezTo>
                      <a:pt x="38644" y="25893"/>
                      <a:pt x="37603" y="27519"/>
                      <a:pt x="36432" y="29080"/>
                    </a:cubicBezTo>
                    <a:cubicBezTo>
                      <a:pt x="27584" y="40270"/>
                      <a:pt x="11190" y="42287"/>
                      <a:pt x="0" y="33439"/>
                    </a:cubicBezTo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09" name="Forma livre: Forma 108">
                <a:extLst>
                  <a:ext uri="{FF2B5EF4-FFF2-40B4-BE49-F238E27FC236}">
                    <a16:creationId xmlns:a16="http://schemas.microsoft.com/office/drawing/2014/main" id="{2360D380-9CBE-CD23-4A44-BE7885184F7F}"/>
                  </a:ext>
                </a:extLst>
              </p:cNvPr>
              <p:cNvSpPr/>
              <p:nvPr/>
            </p:nvSpPr>
            <p:spPr>
              <a:xfrm>
                <a:off x="6081487" y="1460806"/>
                <a:ext cx="34217" cy="54474"/>
              </a:xfrm>
              <a:custGeom>
                <a:avLst/>
                <a:gdLst>
                  <a:gd name="connsiteX0" fmla="*/ 21076 w 34217"/>
                  <a:gd name="connsiteY0" fmla="*/ 54475 h 54474"/>
                  <a:gd name="connsiteX1" fmla="*/ 778 w 34217"/>
                  <a:gd name="connsiteY1" fmla="*/ 21035 h 54474"/>
                  <a:gd name="connsiteX2" fmla="*/ 34217 w 34217"/>
                  <a:gd name="connsiteY2" fmla="*/ 803 h 544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4217" h="54474">
                    <a:moveTo>
                      <a:pt x="21076" y="54475"/>
                    </a:moveTo>
                    <a:cubicBezTo>
                      <a:pt x="6308" y="50832"/>
                      <a:pt x="-2800" y="35803"/>
                      <a:pt x="778" y="21035"/>
                    </a:cubicBezTo>
                    <a:cubicBezTo>
                      <a:pt x="4421" y="6267"/>
                      <a:pt x="19449" y="-2841"/>
                      <a:pt x="34217" y="803"/>
                    </a:cubicBezTo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10" name="Forma livre: Forma 109">
                <a:extLst>
                  <a:ext uri="{FF2B5EF4-FFF2-40B4-BE49-F238E27FC236}">
                    <a16:creationId xmlns:a16="http://schemas.microsoft.com/office/drawing/2014/main" id="{C774B5CC-4293-8026-12F0-CCE879A7F321}"/>
                  </a:ext>
                </a:extLst>
              </p:cNvPr>
              <p:cNvSpPr/>
              <p:nvPr/>
            </p:nvSpPr>
            <p:spPr>
              <a:xfrm>
                <a:off x="6073547" y="1527543"/>
                <a:ext cx="114760" cy="72506"/>
              </a:xfrm>
              <a:custGeom>
                <a:avLst/>
                <a:gdLst>
                  <a:gd name="connsiteX0" fmla="*/ 114760 w 114760"/>
                  <a:gd name="connsiteY0" fmla="*/ 7254 h 72506"/>
                  <a:gd name="connsiteX1" fmla="*/ 73905 w 114760"/>
                  <a:gd name="connsiteY1" fmla="*/ 8881 h 72506"/>
                  <a:gd name="connsiteX2" fmla="*/ 0 w 114760"/>
                  <a:gd name="connsiteY2" fmla="*/ 72506 h 725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14760" h="72506">
                    <a:moveTo>
                      <a:pt x="114760" y="7254"/>
                    </a:moveTo>
                    <a:cubicBezTo>
                      <a:pt x="103375" y="-2830"/>
                      <a:pt x="83989" y="-2504"/>
                      <a:pt x="73905" y="8881"/>
                    </a:cubicBezTo>
                    <a:cubicBezTo>
                      <a:pt x="73905" y="8881"/>
                      <a:pt x="31488" y="72506"/>
                      <a:pt x="0" y="72506"/>
                    </a:cubicBezTo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11" name="Forma livre: Forma 110">
                <a:extLst>
                  <a:ext uri="{FF2B5EF4-FFF2-40B4-BE49-F238E27FC236}">
                    <a16:creationId xmlns:a16="http://schemas.microsoft.com/office/drawing/2014/main" id="{CF897B32-D3C8-3521-3B5F-8CA1A9F970BC}"/>
                  </a:ext>
                </a:extLst>
              </p:cNvPr>
              <p:cNvSpPr/>
              <p:nvPr/>
            </p:nvSpPr>
            <p:spPr>
              <a:xfrm>
                <a:off x="6079857" y="1646956"/>
                <a:ext cx="29405" cy="9823"/>
              </a:xfrm>
              <a:custGeom>
                <a:avLst/>
                <a:gdLst>
                  <a:gd name="connsiteX0" fmla="*/ 0 w 29405"/>
                  <a:gd name="connsiteY0" fmla="*/ 0 h 9823"/>
                  <a:gd name="connsiteX1" fmla="*/ 29406 w 29405"/>
                  <a:gd name="connsiteY1" fmla="*/ 9824 h 98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9405" h="9823">
                    <a:moveTo>
                      <a:pt x="0" y="0"/>
                    </a:moveTo>
                    <a:lnTo>
                      <a:pt x="29406" y="9824"/>
                    </a:lnTo>
                  </a:path>
                </a:pathLst>
              </a:custGeom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12" name="Forma livre: Forma 111">
                <a:extLst>
                  <a:ext uri="{FF2B5EF4-FFF2-40B4-BE49-F238E27FC236}">
                    <a16:creationId xmlns:a16="http://schemas.microsoft.com/office/drawing/2014/main" id="{C43DC63C-3711-4C1B-176E-8BE580B5A758}"/>
                  </a:ext>
                </a:extLst>
              </p:cNvPr>
              <p:cNvSpPr/>
              <p:nvPr/>
            </p:nvSpPr>
            <p:spPr>
              <a:xfrm>
                <a:off x="6061121" y="1545272"/>
                <a:ext cx="47166" cy="34154"/>
              </a:xfrm>
              <a:custGeom>
                <a:avLst/>
                <a:gdLst>
                  <a:gd name="connsiteX0" fmla="*/ 0 w 47166"/>
                  <a:gd name="connsiteY0" fmla="*/ 0 h 34154"/>
                  <a:gd name="connsiteX1" fmla="*/ 47166 w 47166"/>
                  <a:gd name="connsiteY1" fmla="*/ 34155 h 341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166" h="34154">
                    <a:moveTo>
                      <a:pt x="0" y="0"/>
                    </a:moveTo>
                    <a:cubicBezTo>
                      <a:pt x="0" y="0"/>
                      <a:pt x="27649" y="13011"/>
                      <a:pt x="47166" y="34155"/>
                    </a:cubicBezTo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93" name="Gráfico 32">
              <a:extLst>
                <a:ext uri="{FF2B5EF4-FFF2-40B4-BE49-F238E27FC236}">
                  <a16:creationId xmlns:a16="http://schemas.microsoft.com/office/drawing/2014/main" id="{D2F047B6-9DCA-28D1-17DB-BE120142D5B8}"/>
                </a:ext>
              </a:extLst>
            </p:cNvPr>
            <p:cNvGrpSpPr/>
            <p:nvPr/>
          </p:nvGrpSpPr>
          <p:grpSpPr>
            <a:xfrm>
              <a:off x="6191625" y="1599725"/>
              <a:ext cx="173767" cy="157112"/>
              <a:chOff x="6191625" y="1599725"/>
              <a:chExt cx="173767" cy="157112"/>
            </a:xfrm>
            <a:noFill/>
          </p:grpSpPr>
          <p:sp>
            <p:nvSpPr>
              <p:cNvPr id="103" name="Forma livre: Forma 102">
                <a:extLst>
                  <a:ext uri="{FF2B5EF4-FFF2-40B4-BE49-F238E27FC236}">
                    <a16:creationId xmlns:a16="http://schemas.microsoft.com/office/drawing/2014/main" id="{F4B88F8C-1234-4099-A67E-34DC17D3F1E6}"/>
                  </a:ext>
                </a:extLst>
              </p:cNvPr>
              <p:cNvSpPr/>
              <p:nvPr/>
            </p:nvSpPr>
            <p:spPr>
              <a:xfrm>
                <a:off x="6310094" y="1621974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04" name="Forma livre: Forma 103">
                <a:extLst>
                  <a:ext uri="{FF2B5EF4-FFF2-40B4-BE49-F238E27FC236}">
                    <a16:creationId xmlns:a16="http://schemas.microsoft.com/office/drawing/2014/main" id="{80E4D8E6-CAE2-2B57-6887-58BEE513CAEA}"/>
                  </a:ext>
                </a:extLst>
              </p:cNvPr>
              <p:cNvSpPr/>
              <p:nvPr/>
            </p:nvSpPr>
            <p:spPr>
              <a:xfrm>
                <a:off x="6191625" y="1599725"/>
                <a:ext cx="118078" cy="49898"/>
              </a:xfrm>
              <a:custGeom>
                <a:avLst/>
                <a:gdLst>
                  <a:gd name="connsiteX0" fmla="*/ 0 w 118078"/>
                  <a:gd name="connsiteY0" fmla="*/ 0 h 49898"/>
                  <a:gd name="connsiteX1" fmla="*/ 37343 w 118078"/>
                  <a:gd name="connsiteY1" fmla="*/ 0 h 49898"/>
                  <a:gd name="connsiteX2" fmla="*/ 87176 w 118078"/>
                  <a:gd name="connsiteY2" fmla="*/ 49899 h 49898"/>
                  <a:gd name="connsiteX3" fmla="*/ 118078 w 118078"/>
                  <a:gd name="connsiteY3" fmla="*/ 49899 h 49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8078" h="49898">
                    <a:moveTo>
                      <a:pt x="0" y="0"/>
                    </a:moveTo>
                    <a:lnTo>
                      <a:pt x="37343" y="0"/>
                    </a:lnTo>
                    <a:lnTo>
                      <a:pt x="87176" y="49899"/>
                    </a:lnTo>
                    <a:lnTo>
                      <a:pt x="118078" y="49899"/>
                    </a:lnTo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05" name="Forma livre: Forma 104">
                <a:extLst>
                  <a:ext uri="{FF2B5EF4-FFF2-40B4-BE49-F238E27FC236}">
                    <a16:creationId xmlns:a16="http://schemas.microsoft.com/office/drawing/2014/main" id="{DAA33407-6408-02B4-2ABF-4826B09B2F20}"/>
                  </a:ext>
                </a:extLst>
              </p:cNvPr>
              <p:cNvSpPr/>
              <p:nvPr/>
            </p:nvSpPr>
            <p:spPr>
              <a:xfrm>
                <a:off x="6191625" y="1665367"/>
                <a:ext cx="81906" cy="44108"/>
              </a:xfrm>
              <a:custGeom>
                <a:avLst/>
                <a:gdLst>
                  <a:gd name="connsiteX0" fmla="*/ 0 w 81906"/>
                  <a:gd name="connsiteY0" fmla="*/ 0 h 44108"/>
                  <a:gd name="connsiteX1" fmla="*/ 37343 w 81906"/>
                  <a:gd name="connsiteY1" fmla="*/ 0 h 44108"/>
                  <a:gd name="connsiteX2" fmla="*/ 81907 w 81906"/>
                  <a:gd name="connsiteY2" fmla="*/ 44109 h 441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1906" h="44108">
                    <a:moveTo>
                      <a:pt x="0" y="0"/>
                    </a:moveTo>
                    <a:lnTo>
                      <a:pt x="37343" y="0"/>
                    </a:lnTo>
                    <a:lnTo>
                      <a:pt x="81907" y="44109"/>
                    </a:lnTo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06" name="Forma livre: Forma 105">
                <a:extLst>
                  <a:ext uri="{FF2B5EF4-FFF2-40B4-BE49-F238E27FC236}">
                    <a16:creationId xmlns:a16="http://schemas.microsoft.com/office/drawing/2014/main" id="{D761EFD2-6355-09B9-6829-7D98EC73FD1F}"/>
                  </a:ext>
                </a:extLst>
              </p:cNvPr>
              <p:cNvSpPr/>
              <p:nvPr/>
            </p:nvSpPr>
            <p:spPr>
              <a:xfrm>
                <a:off x="6265075" y="1701539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94" name="Gráfico 32">
              <a:extLst>
                <a:ext uri="{FF2B5EF4-FFF2-40B4-BE49-F238E27FC236}">
                  <a16:creationId xmlns:a16="http://schemas.microsoft.com/office/drawing/2014/main" id="{46F024D1-BDA2-22C4-9DD8-9C4902BDA188}"/>
                </a:ext>
              </a:extLst>
            </p:cNvPr>
            <p:cNvGrpSpPr/>
            <p:nvPr/>
          </p:nvGrpSpPr>
          <p:grpSpPr>
            <a:xfrm>
              <a:off x="6191625" y="1357908"/>
              <a:ext cx="173767" cy="157112"/>
              <a:chOff x="6191625" y="1357908"/>
              <a:chExt cx="173767" cy="157112"/>
            </a:xfrm>
            <a:noFill/>
          </p:grpSpPr>
          <p:sp>
            <p:nvSpPr>
              <p:cNvPr id="99" name="Forma livre: Forma 98">
                <a:extLst>
                  <a:ext uri="{FF2B5EF4-FFF2-40B4-BE49-F238E27FC236}">
                    <a16:creationId xmlns:a16="http://schemas.microsoft.com/office/drawing/2014/main" id="{1B628CAD-472D-E0A4-391B-EE950DA2F956}"/>
                  </a:ext>
                </a:extLst>
              </p:cNvPr>
              <p:cNvSpPr/>
              <p:nvPr/>
            </p:nvSpPr>
            <p:spPr>
              <a:xfrm>
                <a:off x="6310094" y="1437472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0 h 55298"/>
                  <a:gd name="connsiteX2" fmla="*/ 0 w 55298"/>
                  <a:gd name="connsiteY2" fmla="*/ 27649 h 55298"/>
                  <a:gd name="connsiteX3" fmla="*/ 27649 w 55298"/>
                  <a:gd name="connsiteY3" fmla="*/ 55298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12361"/>
                      <a:pt x="42938" y="0"/>
                      <a:pt x="27649" y="0"/>
                    </a:cubicBezTo>
                    <a:cubicBezTo>
                      <a:pt x="12361" y="0"/>
                      <a:pt x="0" y="12361"/>
                      <a:pt x="0" y="27649"/>
                    </a:cubicBezTo>
                    <a:cubicBezTo>
                      <a:pt x="0" y="42938"/>
                      <a:pt x="12361" y="55298"/>
                      <a:pt x="27649" y="55298"/>
                    </a:cubicBezTo>
                    <a:cubicBezTo>
                      <a:pt x="42938" y="55298"/>
                      <a:pt x="55298" y="42938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00" name="Forma livre: Forma 99">
                <a:extLst>
                  <a:ext uri="{FF2B5EF4-FFF2-40B4-BE49-F238E27FC236}">
                    <a16:creationId xmlns:a16="http://schemas.microsoft.com/office/drawing/2014/main" id="{D06B9E45-1C85-0124-3AD4-AC3C4E61ACAC}"/>
                  </a:ext>
                </a:extLst>
              </p:cNvPr>
              <p:cNvSpPr/>
              <p:nvPr/>
            </p:nvSpPr>
            <p:spPr>
              <a:xfrm>
                <a:off x="6191625" y="1465122"/>
                <a:ext cx="118468" cy="49898"/>
              </a:xfrm>
              <a:custGeom>
                <a:avLst/>
                <a:gdLst>
                  <a:gd name="connsiteX0" fmla="*/ 0 w 118468"/>
                  <a:gd name="connsiteY0" fmla="*/ 49899 h 49898"/>
                  <a:gd name="connsiteX1" fmla="*/ 37343 w 118468"/>
                  <a:gd name="connsiteY1" fmla="*/ 49899 h 49898"/>
                  <a:gd name="connsiteX2" fmla="*/ 87176 w 118468"/>
                  <a:gd name="connsiteY2" fmla="*/ 0 h 49898"/>
                  <a:gd name="connsiteX3" fmla="*/ 118469 w 118468"/>
                  <a:gd name="connsiteY3" fmla="*/ 0 h 49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8468" h="49898">
                    <a:moveTo>
                      <a:pt x="0" y="49899"/>
                    </a:moveTo>
                    <a:lnTo>
                      <a:pt x="37343" y="49899"/>
                    </a:lnTo>
                    <a:lnTo>
                      <a:pt x="87176" y="0"/>
                    </a:lnTo>
                    <a:lnTo>
                      <a:pt x="118469" y="0"/>
                    </a:lnTo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01" name="Forma livre: Forma 100">
                <a:extLst>
                  <a:ext uri="{FF2B5EF4-FFF2-40B4-BE49-F238E27FC236}">
                    <a16:creationId xmlns:a16="http://schemas.microsoft.com/office/drawing/2014/main" id="{82322D7E-C020-3869-4512-950FB0A2DD83}"/>
                  </a:ext>
                </a:extLst>
              </p:cNvPr>
              <p:cNvSpPr/>
              <p:nvPr/>
            </p:nvSpPr>
            <p:spPr>
              <a:xfrm>
                <a:off x="6191625" y="1405269"/>
                <a:ext cx="81451" cy="44043"/>
              </a:xfrm>
              <a:custGeom>
                <a:avLst/>
                <a:gdLst>
                  <a:gd name="connsiteX0" fmla="*/ 0 w 81451"/>
                  <a:gd name="connsiteY0" fmla="*/ 44044 h 44043"/>
                  <a:gd name="connsiteX1" fmla="*/ 37343 w 81451"/>
                  <a:gd name="connsiteY1" fmla="*/ 44044 h 44043"/>
                  <a:gd name="connsiteX2" fmla="*/ 81451 w 81451"/>
                  <a:gd name="connsiteY2" fmla="*/ 0 h 440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1451" h="44043">
                    <a:moveTo>
                      <a:pt x="0" y="44044"/>
                    </a:moveTo>
                    <a:lnTo>
                      <a:pt x="37343" y="44044"/>
                    </a:lnTo>
                    <a:lnTo>
                      <a:pt x="81451" y="0"/>
                    </a:lnTo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02" name="Forma livre: Forma 101">
                <a:extLst>
                  <a:ext uri="{FF2B5EF4-FFF2-40B4-BE49-F238E27FC236}">
                    <a16:creationId xmlns:a16="http://schemas.microsoft.com/office/drawing/2014/main" id="{29121918-2B0D-C648-A318-8B1C4C719628}"/>
                  </a:ext>
                </a:extLst>
              </p:cNvPr>
              <p:cNvSpPr/>
              <p:nvPr/>
            </p:nvSpPr>
            <p:spPr>
              <a:xfrm>
                <a:off x="6265075" y="1357908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0 h 55298"/>
                  <a:gd name="connsiteX2" fmla="*/ 0 w 55298"/>
                  <a:gd name="connsiteY2" fmla="*/ 27649 h 55298"/>
                  <a:gd name="connsiteX3" fmla="*/ 27649 w 55298"/>
                  <a:gd name="connsiteY3" fmla="*/ 55298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12361"/>
                      <a:pt x="42938" y="0"/>
                      <a:pt x="27649" y="0"/>
                    </a:cubicBezTo>
                    <a:cubicBezTo>
                      <a:pt x="12361" y="0"/>
                      <a:pt x="0" y="12361"/>
                      <a:pt x="0" y="27649"/>
                    </a:cubicBezTo>
                    <a:cubicBezTo>
                      <a:pt x="0" y="42938"/>
                      <a:pt x="12361" y="55298"/>
                      <a:pt x="27649" y="55298"/>
                    </a:cubicBezTo>
                    <a:cubicBezTo>
                      <a:pt x="42938" y="55298"/>
                      <a:pt x="55298" y="42938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95" name="Gráfico 32">
              <a:extLst>
                <a:ext uri="{FF2B5EF4-FFF2-40B4-BE49-F238E27FC236}">
                  <a16:creationId xmlns:a16="http://schemas.microsoft.com/office/drawing/2014/main" id="{869F60F5-2410-B9D2-2592-02A446D3093C}"/>
                </a:ext>
              </a:extLst>
            </p:cNvPr>
            <p:cNvGrpSpPr/>
            <p:nvPr/>
          </p:nvGrpSpPr>
          <p:grpSpPr>
            <a:xfrm>
              <a:off x="6190910" y="1529723"/>
              <a:ext cx="123673" cy="55298"/>
              <a:chOff x="6190910" y="1529723"/>
              <a:chExt cx="123673" cy="55298"/>
            </a:xfrm>
            <a:noFill/>
          </p:grpSpPr>
          <p:sp>
            <p:nvSpPr>
              <p:cNvPr id="97" name="Forma livre: Forma 96">
                <a:extLst>
                  <a:ext uri="{FF2B5EF4-FFF2-40B4-BE49-F238E27FC236}">
                    <a16:creationId xmlns:a16="http://schemas.microsoft.com/office/drawing/2014/main" id="{7FC0D288-DAE7-AEFA-9EB0-E3EF4B59DCF8}"/>
                  </a:ext>
                </a:extLst>
              </p:cNvPr>
              <p:cNvSpPr/>
              <p:nvPr/>
            </p:nvSpPr>
            <p:spPr>
              <a:xfrm>
                <a:off x="6190910" y="1557372"/>
                <a:ext cx="68765" cy="6505"/>
              </a:xfrm>
              <a:custGeom>
                <a:avLst/>
                <a:gdLst>
                  <a:gd name="connsiteX0" fmla="*/ 0 w 68765"/>
                  <a:gd name="connsiteY0" fmla="*/ 0 h 6505"/>
                  <a:gd name="connsiteX1" fmla="*/ 68765 w 68765"/>
                  <a:gd name="connsiteY1" fmla="*/ 0 h 65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8765" h="6505">
                    <a:moveTo>
                      <a:pt x="0" y="0"/>
                    </a:moveTo>
                    <a:lnTo>
                      <a:pt x="68765" y="0"/>
                    </a:lnTo>
                  </a:path>
                </a:pathLst>
              </a:custGeom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8" name="Forma livre: Forma 97">
                <a:extLst>
                  <a:ext uri="{FF2B5EF4-FFF2-40B4-BE49-F238E27FC236}">
                    <a16:creationId xmlns:a16="http://schemas.microsoft.com/office/drawing/2014/main" id="{28A0C551-FB63-8776-9BF7-11C0A51961B7}"/>
                  </a:ext>
                </a:extLst>
              </p:cNvPr>
              <p:cNvSpPr/>
              <p:nvPr/>
            </p:nvSpPr>
            <p:spPr>
              <a:xfrm>
                <a:off x="6259285" y="1529723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96" name="Forma livre: Forma 95">
              <a:extLst>
                <a:ext uri="{FF2B5EF4-FFF2-40B4-BE49-F238E27FC236}">
                  <a16:creationId xmlns:a16="http://schemas.microsoft.com/office/drawing/2014/main" id="{AE8FAAF1-BA93-FA20-5319-4EA2E649B5D9}"/>
                </a:ext>
              </a:extLst>
            </p:cNvPr>
            <p:cNvSpPr/>
            <p:nvPr/>
          </p:nvSpPr>
          <p:spPr>
            <a:xfrm>
              <a:off x="6152201" y="1686285"/>
              <a:ext cx="37362" cy="20848"/>
            </a:xfrm>
            <a:custGeom>
              <a:avLst/>
              <a:gdLst>
                <a:gd name="connsiteX0" fmla="*/ 0 w 37362"/>
                <a:gd name="connsiteY0" fmla="*/ 10505 h 20848"/>
                <a:gd name="connsiteX1" fmla="*/ 27064 w 37362"/>
                <a:gd name="connsiteY1" fmla="*/ 2373 h 20848"/>
                <a:gd name="connsiteX2" fmla="*/ 37343 w 37362"/>
                <a:gd name="connsiteY2" fmla="*/ 20849 h 20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7362" h="20848">
                  <a:moveTo>
                    <a:pt x="0" y="10505"/>
                  </a:moveTo>
                  <a:cubicBezTo>
                    <a:pt x="5205" y="811"/>
                    <a:pt x="17435" y="-2832"/>
                    <a:pt x="27064" y="2373"/>
                  </a:cubicBezTo>
                  <a:cubicBezTo>
                    <a:pt x="34025" y="6081"/>
                    <a:pt x="37668" y="13432"/>
                    <a:pt x="37343" y="20849"/>
                  </a:cubicBezTo>
                </a:path>
              </a:pathLst>
            </a:custGeom>
            <a:noFill/>
            <a:ln w="19050" cap="sq">
              <a:solidFill>
                <a:schemeClr val="accent2"/>
              </a:solidFill>
              <a:prstDash val="solid"/>
              <a:miter lim="800000"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13" name="Agrupar 112">
            <a:extLst>
              <a:ext uri="{FF2B5EF4-FFF2-40B4-BE49-F238E27FC236}">
                <a16:creationId xmlns:a16="http://schemas.microsoft.com/office/drawing/2014/main" id="{7B680291-515D-C9D3-8B16-E65DA23985B1}"/>
              </a:ext>
            </a:extLst>
          </p:cNvPr>
          <p:cNvGrpSpPr/>
          <p:nvPr/>
        </p:nvGrpSpPr>
        <p:grpSpPr>
          <a:xfrm>
            <a:off x="5866084" y="5356010"/>
            <a:ext cx="459831" cy="502163"/>
            <a:chOff x="6000092" y="1357908"/>
            <a:chExt cx="365300" cy="398929"/>
          </a:xfrm>
        </p:grpSpPr>
        <p:sp>
          <p:nvSpPr>
            <p:cNvPr id="114" name="Forma livre: Forma 113">
              <a:extLst>
                <a:ext uri="{FF2B5EF4-FFF2-40B4-BE49-F238E27FC236}">
                  <a16:creationId xmlns:a16="http://schemas.microsoft.com/office/drawing/2014/main" id="{C5917014-491A-AD4A-6AE1-86F482FA93BE}"/>
                </a:ext>
              </a:extLst>
            </p:cNvPr>
            <p:cNvSpPr/>
            <p:nvPr/>
          </p:nvSpPr>
          <p:spPr>
            <a:xfrm>
              <a:off x="6000092" y="1418606"/>
              <a:ext cx="84058" cy="286120"/>
            </a:xfrm>
            <a:custGeom>
              <a:avLst/>
              <a:gdLst>
                <a:gd name="connsiteX0" fmla="*/ 51595 w 84058"/>
                <a:gd name="connsiteY0" fmla="*/ 0 h 286120"/>
                <a:gd name="connsiteX1" fmla="*/ 35266 w 84058"/>
                <a:gd name="connsiteY1" fmla="*/ 61674 h 286120"/>
                <a:gd name="connsiteX2" fmla="*/ 28760 w 84058"/>
                <a:gd name="connsiteY2" fmla="*/ 193415 h 286120"/>
                <a:gd name="connsiteX3" fmla="*/ 84059 w 84058"/>
                <a:gd name="connsiteY3" fmla="*/ 286121 h 2861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4058" h="286120">
                  <a:moveTo>
                    <a:pt x="51595" y="0"/>
                  </a:moveTo>
                  <a:cubicBezTo>
                    <a:pt x="37868" y="7872"/>
                    <a:pt x="26028" y="24852"/>
                    <a:pt x="35266" y="61674"/>
                  </a:cubicBezTo>
                  <a:cubicBezTo>
                    <a:pt x="35266" y="61674"/>
                    <a:pt x="-39549" y="126731"/>
                    <a:pt x="28760" y="193415"/>
                  </a:cubicBezTo>
                  <a:cubicBezTo>
                    <a:pt x="28760" y="193415"/>
                    <a:pt x="9243" y="281242"/>
                    <a:pt x="84059" y="286121"/>
                  </a:cubicBezTo>
                </a:path>
              </a:pathLst>
            </a:custGeom>
            <a:noFill/>
            <a:ln w="19050" cap="sq">
              <a:solidFill>
                <a:schemeClr val="accent2"/>
              </a:solidFill>
              <a:prstDash val="solid"/>
              <a:miter lim="800000"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15" name="Gráfico 32">
              <a:extLst>
                <a:ext uri="{FF2B5EF4-FFF2-40B4-BE49-F238E27FC236}">
                  <a16:creationId xmlns:a16="http://schemas.microsoft.com/office/drawing/2014/main" id="{77E79B13-F70A-E85E-4882-DCF67496BBE0}"/>
                </a:ext>
              </a:extLst>
            </p:cNvPr>
            <p:cNvGrpSpPr/>
            <p:nvPr/>
          </p:nvGrpSpPr>
          <p:grpSpPr>
            <a:xfrm>
              <a:off x="6061121" y="1359924"/>
              <a:ext cx="128487" cy="396366"/>
              <a:chOff x="6061121" y="1359924"/>
              <a:chExt cx="128487" cy="396366"/>
            </a:xfrm>
            <a:noFill/>
          </p:grpSpPr>
          <p:sp>
            <p:nvSpPr>
              <p:cNvPr id="130" name="Forma livre: Forma 129">
                <a:extLst>
                  <a:ext uri="{FF2B5EF4-FFF2-40B4-BE49-F238E27FC236}">
                    <a16:creationId xmlns:a16="http://schemas.microsoft.com/office/drawing/2014/main" id="{046E1B28-CAAA-9325-3801-909D9ADA2597}"/>
                  </a:ext>
                </a:extLst>
              </p:cNvPr>
              <p:cNvSpPr/>
              <p:nvPr/>
            </p:nvSpPr>
            <p:spPr>
              <a:xfrm>
                <a:off x="6083891" y="1359924"/>
                <a:ext cx="105717" cy="396366"/>
              </a:xfrm>
              <a:custGeom>
                <a:avLst/>
                <a:gdLst>
                  <a:gd name="connsiteX0" fmla="*/ 52891 w 105717"/>
                  <a:gd name="connsiteY0" fmla="*/ 105718 h 396366"/>
                  <a:gd name="connsiteX1" fmla="*/ 0 w 105717"/>
                  <a:gd name="connsiteY1" fmla="*/ 52891 h 396366"/>
                  <a:gd name="connsiteX2" fmla="*/ 52891 w 105717"/>
                  <a:gd name="connsiteY2" fmla="*/ 0 h 396366"/>
                  <a:gd name="connsiteX3" fmla="*/ 105718 w 105717"/>
                  <a:gd name="connsiteY3" fmla="*/ 52826 h 396366"/>
                  <a:gd name="connsiteX4" fmla="*/ 105718 w 105717"/>
                  <a:gd name="connsiteY4" fmla="*/ 346884 h 396366"/>
                  <a:gd name="connsiteX5" fmla="*/ 80606 w 105717"/>
                  <a:gd name="connsiteY5" fmla="*/ 388911 h 396366"/>
                  <a:gd name="connsiteX6" fmla="*/ 9238 w 105717"/>
                  <a:gd name="connsiteY6" fmla="*/ 371150 h 396366"/>
                  <a:gd name="connsiteX7" fmla="*/ 15484 w 105717"/>
                  <a:gd name="connsiteY7" fmla="*/ 309216 h 396366"/>
                  <a:gd name="connsiteX8" fmla="*/ 45019 w 105717"/>
                  <a:gd name="connsiteY8" fmla="*/ 277078 h 3963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05717" h="396366">
                    <a:moveTo>
                      <a:pt x="52891" y="105718"/>
                    </a:moveTo>
                    <a:cubicBezTo>
                      <a:pt x="23681" y="105718"/>
                      <a:pt x="0" y="82037"/>
                      <a:pt x="0" y="52891"/>
                    </a:cubicBezTo>
                    <a:cubicBezTo>
                      <a:pt x="0" y="23746"/>
                      <a:pt x="23681" y="0"/>
                      <a:pt x="52891" y="0"/>
                    </a:cubicBezTo>
                    <a:cubicBezTo>
                      <a:pt x="82102" y="0"/>
                      <a:pt x="105718" y="23681"/>
                      <a:pt x="105718" y="52826"/>
                    </a:cubicBezTo>
                    <a:lnTo>
                      <a:pt x="105718" y="346884"/>
                    </a:lnTo>
                    <a:cubicBezTo>
                      <a:pt x="105718" y="364580"/>
                      <a:pt x="96414" y="379413"/>
                      <a:pt x="80606" y="388911"/>
                    </a:cubicBezTo>
                    <a:cubicBezTo>
                      <a:pt x="55949" y="403744"/>
                      <a:pt x="24006" y="395742"/>
                      <a:pt x="9238" y="371150"/>
                    </a:cubicBezTo>
                    <a:cubicBezTo>
                      <a:pt x="-2928" y="350918"/>
                      <a:pt x="260" y="325741"/>
                      <a:pt x="15484" y="309216"/>
                    </a:cubicBezTo>
                    <a:lnTo>
                      <a:pt x="45019" y="277078"/>
                    </a:lnTo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31" name="Forma livre: Forma 130">
                <a:extLst>
                  <a:ext uri="{FF2B5EF4-FFF2-40B4-BE49-F238E27FC236}">
                    <a16:creationId xmlns:a16="http://schemas.microsoft.com/office/drawing/2014/main" id="{34A687DD-1788-4268-841B-7A5FED0BA1EF}"/>
                  </a:ext>
                </a:extLst>
              </p:cNvPr>
              <p:cNvSpPr/>
              <p:nvPr/>
            </p:nvSpPr>
            <p:spPr>
              <a:xfrm>
                <a:off x="6144784" y="1383865"/>
                <a:ext cx="41563" cy="38963"/>
              </a:xfrm>
              <a:custGeom>
                <a:avLst/>
                <a:gdLst>
                  <a:gd name="connsiteX0" fmla="*/ 36172 w 41563"/>
                  <a:gd name="connsiteY0" fmla="*/ 0 h 38963"/>
                  <a:gd name="connsiteX1" fmla="*/ 39425 w 41563"/>
                  <a:gd name="connsiteY1" fmla="*/ 24266 h 38963"/>
                  <a:gd name="connsiteX2" fmla="*/ 36432 w 41563"/>
                  <a:gd name="connsiteY2" fmla="*/ 29080 h 38963"/>
                  <a:gd name="connsiteX3" fmla="*/ 0 w 41563"/>
                  <a:gd name="connsiteY3" fmla="*/ 33439 h 389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563" h="38963">
                    <a:moveTo>
                      <a:pt x="36172" y="0"/>
                    </a:moveTo>
                    <a:cubicBezTo>
                      <a:pt x="41571" y="7547"/>
                      <a:pt x="43393" y="16004"/>
                      <a:pt x="39425" y="24266"/>
                    </a:cubicBezTo>
                    <a:cubicBezTo>
                      <a:pt x="38644" y="25893"/>
                      <a:pt x="37603" y="27519"/>
                      <a:pt x="36432" y="29080"/>
                    </a:cubicBezTo>
                    <a:cubicBezTo>
                      <a:pt x="27584" y="40270"/>
                      <a:pt x="11190" y="42287"/>
                      <a:pt x="0" y="33439"/>
                    </a:cubicBezTo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32" name="Forma livre: Forma 131">
                <a:extLst>
                  <a:ext uri="{FF2B5EF4-FFF2-40B4-BE49-F238E27FC236}">
                    <a16:creationId xmlns:a16="http://schemas.microsoft.com/office/drawing/2014/main" id="{BBE586C8-A5CF-3EAD-11A3-3637AE2F622C}"/>
                  </a:ext>
                </a:extLst>
              </p:cNvPr>
              <p:cNvSpPr/>
              <p:nvPr/>
            </p:nvSpPr>
            <p:spPr>
              <a:xfrm>
                <a:off x="6081487" y="1460806"/>
                <a:ext cx="34217" cy="54474"/>
              </a:xfrm>
              <a:custGeom>
                <a:avLst/>
                <a:gdLst>
                  <a:gd name="connsiteX0" fmla="*/ 21076 w 34217"/>
                  <a:gd name="connsiteY0" fmla="*/ 54475 h 54474"/>
                  <a:gd name="connsiteX1" fmla="*/ 778 w 34217"/>
                  <a:gd name="connsiteY1" fmla="*/ 21035 h 54474"/>
                  <a:gd name="connsiteX2" fmla="*/ 34217 w 34217"/>
                  <a:gd name="connsiteY2" fmla="*/ 803 h 544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4217" h="54474">
                    <a:moveTo>
                      <a:pt x="21076" y="54475"/>
                    </a:moveTo>
                    <a:cubicBezTo>
                      <a:pt x="6308" y="50832"/>
                      <a:pt x="-2800" y="35803"/>
                      <a:pt x="778" y="21035"/>
                    </a:cubicBezTo>
                    <a:cubicBezTo>
                      <a:pt x="4421" y="6267"/>
                      <a:pt x="19449" y="-2841"/>
                      <a:pt x="34217" y="803"/>
                    </a:cubicBezTo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33" name="Forma livre: Forma 132">
                <a:extLst>
                  <a:ext uri="{FF2B5EF4-FFF2-40B4-BE49-F238E27FC236}">
                    <a16:creationId xmlns:a16="http://schemas.microsoft.com/office/drawing/2014/main" id="{40177C12-6849-DB8B-3D56-66AA6F9011C6}"/>
                  </a:ext>
                </a:extLst>
              </p:cNvPr>
              <p:cNvSpPr/>
              <p:nvPr/>
            </p:nvSpPr>
            <p:spPr>
              <a:xfrm>
                <a:off x="6073547" y="1527543"/>
                <a:ext cx="114760" cy="72506"/>
              </a:xfrm>
              <a:custGeom>
                <a:avLst/>
                <a:gdLst>
                  <a:gd name="connsiteX0" fmla="*/ 114760 w 114760"/>
                  <a:gd name="connsiteY0" fmla="*/ 7254 h 72506"/>
                  <a:gd name="connsiteX1" fmla="*/ 73905 w 114760"/>
                  <a:gd name="connsiteY1" fmla="*/ 8881 h 72506"/>
                  <a:gd name="connsiteX2" fmla="*/ 0 w 114760"/>
                  <a:gd name="connsiteY2" fmla="*/ 72506 h 725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14760" h="72506">
                    <a:moveTo>
                      <a:pt x="114760" y="7254"/>
                    </a:moveTo>
                    <a:cubicBezTo>
                      <a:pt x="103375" y="-2830"/>
                      <a:pt x="83989" y="-2504"/>
                      <a:pt x="73905" y="8881"/>
                    </a:cubicBezTo>
                    <a:cubicBezTo>
                      <a:pt x="73905" y="8881"/>
                      <a:pt x="31488" y="72506"/>
                      <a:pt x="0" y="72506"/>
                    </a:cubicBezTo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34" name="Forma livre: Forma 133">
                <a:extLst>
                  <a:ext uri="{FF2B5EF4-FFF2-40B4-BE49-F238E27FC236}">
                    <a16:creationId xmlns:a16="http://schemas.microsoft.com/office/drawing/2014/main" id="{7362BA9F-CD0E-E5A6-91C7-BB77CE8E790E}"/>
                  </a:ext>
                </a:extLst>
              </p:cNvPr>
              <p:cNvSpPr/>
              <p:nvPr/>
            </p:nvSpPr>
            <p:spPr>
              <a:xfrm>
                <a:off x="6079857" y="1646956"/>
                <a:ext cx="29405" cy="9823"/>
              </a:xfrm>
              <a:custGeom>
                <a:avLst/>
                <a:gdLst>
                  <a:gd name="connsiteX0" fmla="*/ 0 w 29405"/>
                  <a:gd name="connsiteY0" fmla="*/ 0 h 9823"/>
                  <a:gd name="connsiteX1" fmla="*/ 29406 w 29405"/>
                  <a:gd name="connsiteY1" fmla="*/ 9824 h 98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9405" h="9823">
                    <a:moveTo>
                      <a:pt x="0" y="0"/>
                    </a:moveTo>
                    <a:lnTo>
                      <a:pt x="29406" y="9824"/>
                    </a:lnTo>
                  </a:path>
                </a:pathLst>
              </a:custGeom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35" name="Forma livre: Forma 134">
                <a:extLst>
                  <a:ext uri="{FF2B5EF4-FFF2-40B4-BE49-F238E27FC236}">
                    <a16:creationId xmlns:a16="http://schemas.microsoft.com/office/drawing/2014/main" id="{4A941120-841C-3BB0-E1A7-2377109AB291}"/>
                  </a:ext>
                </a:extLst>
              </p:cNvPr>
              <p:cNvSpPr/>
              <p:nvPr/>
            </p:nvSpPr>
            <p:spPr>
              <a:xfrm>
                <a:off x="6061121" y="1545272"/>
                <a:ext cx="47166" cy="34154"/>
              </a:xfrm>
              <a:custGeom>
                <a:avLst/>
                <a:gdLst>
                  <a:gd name="connsiteX0" fmla="*/ 0 w 47166"/>
                  <a:gd name="connsiteY0" fmla="*/ 0 h 34154"/>
                  <a:gd name="connsiteX1" fmla="*/ 47166 w 47166"/>
                  <a:gd name="connsiteY1" fmla="*/ 34155 h 341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166" h="34154">
                    <a:moveTo>
                      <a:pt x="0" y="0"/>
                    </a:moveTo>
                    <a:cubicBezTo>
                      <a:pt x="0" y="0"/>
                      <a:pt x="27649" y="13011"/>
                      <a:pt x="47166" y="34155"/>
                    </a:cubicBezTo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16" name="Gráfico 32">
              <a:extLst>
                <a:ext uri="{FF2B5EF4-FFF2-40B4-BE49-F238E27FC236}">
                  <a16:creationId xmlns:a16="http://schemas.microsoft.com/office/drawing/2014/main" id="{BDBBFB6B-8115-36A7-A0DE-8E8C795D96F8}"/>
                </a:ext>
              </a:extLst>
            </p:cNvPr>
            <p:cNvGrpSpPr/>
            <p:nvPr/>
          </p:nvGrpSpPr>
          <p:grpSpPr>
            <a:xfrm>
              <a:off x="6191625" y="1599725"/>
              <a:ext cx="173767" cy="157112"/>
              <a:chOff x="6191625" y="1599725"/>
              <a:chExt cx="173767" cy="157112"/>
            </a:xfrm>
            <a:noFill/>
          </p:grpSpPr>
          <p:sp>
            <p:nvSpPr>
              <p:cNvPr id="126" name="Forma livre: Forma 125">
                <a:extLst>
                  <a:ext uri="{FF2B5EF4-FFF2-40B4-BE49-F238E27FC236}">
                    <a16:creationId xmlns:a16="http://schemas.microsoft.com/office/drawing/2014/main" id="{310BE380-44B4-304F-373D-78C3BB56BDC7}"/>
                  </a:ext>
                </a:extLst>
              </p:cNvPr>
              <p:cNvSpPr/>
              <p:nvPr/>
            </p:nvSpPr>
            <p:spPr>
              <a:xfrm>
                <a:off x="6310094" y="1621974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7" name="Forma livre: Forma 126">
                <a:extLst>
                  <a:ext uri="{FF2B5EF4-FFF2-40B4-BE49-F238E27FC236}">
                    <a16:creationId xmlns:a16="http://schemas.microsoft.com/office/drawing/2014/main" id="{4DB9DC89-8214-8295-6EA4-BDE8BEF00F8E}"/>
                  </a:ext>
                </a:extLst>
              </p:cNvPr>
              <p:cNvSpPr/>
              <p:nvPr/>
            </p:nvSpPr>
            <p:spPr>
              <a:xfrm>
                <a:off x="6191625" y="1599725"/>
                <a:ext cx="118078" cy="49898"/>
              </a:xfrm>
              <a:custGeom>
                <a:avLst/>
                <a:gdLst>
                  <a:gd name="connsiteX0" fmla="*/ 0 w 118078"/>
                  <a:gd name="connsiteY0" fmla="*/ 0 h 49898"/>
                  <a:gd name="connsiteX1" fmla="*/ 37343 w 118078"/>
                  <a:gd name="connsiteY1" fmla="*/ 0 h 49898"/>
                  <a:gd name="connsiteX2" fmla="*/ 87176 w 118078"/>
                  <a:gd name="connsiteY2" fmla="*/ 49899 h 49898"/>
                  <a:gd name="connsiteX3" fmla="*/ 118078 w 118078"/>
                  <a:gd name="connsiteY3" fmla="*/ 49899 h 49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8078" h="49898">
                    <a:moveTo>
                      <a:pt x="0" y="0"/>
                    </a:moveTo>
                    <a:lnTo>
                      <a:pt x="37343" y="0"/>
                    </a:lnTo>
                    <a:lnTo>
                      <a:pt x="87176" y="49899"/>
                    </a:lnTo>
                    <a:lnTo>
                      <a:pt x="118078" y="49899"/>
                    </a:lnTo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8" name="Forma livre: Forma 127">
                <a:extLst>
                  <a:ext uri="{FF2B5EF4-FFF2-40B4-BE49-F238E27FC236}">
                    <a16:creationId xmlns:a16="http://schemas.microsoft.com/office/drawing/2014/main" id="{F208DA7F-B643-5A6A-B63C-D9152EE1460E}"/>
                  </a:ext>
                </a:extLst>
              </p:cNvPr>
              <p:cNvSpPr/>
              <p:nvPr/>
            </p:nvSpPr>
            <p:spPr>
              <a:xfrm>
                <a:off x="6191625" y="1665367"/>
                <a:ext cx="81906" cy="44108"/>
              </a:xfrm>
              <a:custGeom>
                <a:avLst/>
                <a:gdLst>
                  <a:gd name="connsiteX0" fmla="*/ 0 w 81906"/>
                  <a:gd name="connsiteY0" fmla="*/ 0 h 44108"/>
                  <a:gd name="connsiteX1" fmla="*/ 37343 w 81906"/>
                  <a:gd name="connsiteY1" fmla="*/ 0 h 44108"/>
                  <a:gd name="connsiteX2" fmla="*/ 81907 w 81906"/>
                  <a:gd name="connsiteY2" fmla="*/ 44109 h 441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1906" h="44108">
                    <a:moveTo>
                      <a:pt x="0" y="0"/>
                    </a:moveTo>
                    <a:lnTo>
                      <a:pt x="37343" y="0"/>
                    </a:lnTo>
                    <a:lnTo>
                      <a:pt x="81907" y="44109"/>
                    </a:lnTo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9" name="Forma livre: Forma 128">
                <a:extLst>
                  <a:ext uri="{FF2B5EF4-FFF2-40B4-BE49-F238E27FC236}">
                    <a16:creationId xmlns:a16="http://schemas.microsoft.com/office/drawing/2014/main" id="{1F53C0DE-9397-B67F-E636-A4B8D4AFB51F}"/>
                  </a:ext>
                </a:extLst>
              </p:cNvPr>
              <p:cNvSpPr/>
              <p:nvPr/>
            </p:nvSpPr>
            <p:spPr>
              <a:xfrm>
                <a:off x="6265075" y="1701539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17" name="Gráfico 32">
              <a:extLst>
                <a:ext uri="{FF2B5EF4-FFF2-40B4-BE49-F238E27FC236}">
                  <a16:creationId xmlns:a16="http://schemas.microsoft.com/office/drawing/2014/main" id="{042E214B-8CAF-35C0-21DC-82E0686B4B40}"/>
                </a:ext>
              </a:extLst>
            </p:cNvPr>
            <p:cNvGrpSpPr/>
            <p:nvPr/>
          </p:nvGrpSpPr>
          <p:grpSpPr>
            <a:xfrm>
              <a:off x="6191625" y="1357908"/>
              <a:ext cx="173767" cy="157112"/>
              <a:chOff x="6191625" y="1357908"/>
              <a:chExt cx="173767" cy="157112"/>
            </a:xfrm>
            <a:noFill/>
          </p:grpSpPr>
          <p:sp>
            <p:nvSpPr>
              <p:cNvPr id="122" name="Forma livre: Forma 121">
                <a:extLst>
                  <a:ext uri="{FF2B5EF4-FFF2-40B4-BE49-F238E27FC236}">
                    <a16:creationId xmlns:a16="http://schemas.microsoft.com/office/drawing/2014/main" id="{31982B68-2EE5-9201-56D6-E0C83296F707}"/>
                  </a:ext>
                </a:extLst>
              </p:cNvPr>
              <p:cNvSpPr/>
              <p:nvPr/>
            </p:nvSpPr>
            <p:spPr>
              <a:xfrm>
                <a:off x="6310094" y="1437472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0 h 55298"/>
                  <a:gd name="connsiteX2" fmla="*/ 0 w 55298"/>
                  <a:gd name="connsiteY2" fmla="*/ 27649 h 55298"/>
                  <a:gd name="connsiteX3" fmla="*/ 27649 w 55298"/>
                  <a:gd name="connsiteY3" fmla="*/ 55298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12361"/>
                      <a:pt x="42938" y="0"/>
                      <a:pt x="27649" y="0"/>
                    </a:cubicBezTo>
                    <a:cubicBezTo>
                      <a:pt x="12361" y="0"/>
                      <a:pt x="0" y="12361"/>
                      <a:pt x="0" y="27649"/>
                    </a:cubicBezTo>
                    <a:cubicBezTo>
                      <a:pt x="0" y="42938"/>
                      <a:pt x="12361" y="55298"/>
                      <a:pt x="27649" y="55298"/>
                    </a:cubicBezTo>
                    <a:cubicBezTo>
                      <a:pt x="42938" y="55298"/>
                      <a:pt x="55298" y="42938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3" name="Forma livre: Forma 122">
                <a:extLst>
                  <a:ext uri="{FF2B5EF4-FFF2-40B4-BE49-F238E27FC236}">
                    <a16:creationId xmlns:a16="http://schemas.microsoft.com/office/drawing/2014/main" id="{B54B573F-30CB-0734-4EF8-51267F94D6DE}"/>
                  </a:ext>
                </a:extLst>
              </p:cNvPr>
              <p:cNvSpPr/>
              <p:nvPr/>
            </p:nvSpPr>
            <p:spPr>
              <a:xfrm>
                <a:off x="6191625" y="1465122"/>
                <a:ext cx="118468" cy="49898"/>
              </a:xfrm>
              <a:custGeom>
                <a:avLst/>
                <a:gdLst>
                  <a:gd name="connsiteX0" fmla="*/ 0 w 118468"/>
                  <a:gd name="connsiteY0" fmla="*/ 49899 h 49898"/>
                  <a:gd name="connsiteX1" fmla="*/ 37343 w 118468"/>
                  <a:gd name="connsiteY1" fmla="*/ 49899 h 49898"/>
                  <a:gd name="connsiteX2" fmla="*/ 87176 w 118468"/>
                  <a:gd name="connsiteY2" fmla="*/ 0 h 49898"/>
                  <a:gd name="connsiteX3" fmla="*/ 118469 w 118468"/>
                  <a:gd name="connsiteY3" fmla="*/ 0 h 49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8468" h="49898">
                    <a:moveTo>
                      <a:pt x="0" y="49899"/>
                    </a:moveTo>
                    <a:lnTo>
                      <a:pt x="37343" y="49899"/>
                    </a:lnTo>
                    <a:lnTo>
                      <a:pt x="87176" y="0"/>
                    </a:lnTo>
                    <a:lnTo>
                      <a:pt x="118469" y="0"/>
                    </a:lnTo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4" name="Forma livre: Forma 123">
                <a:extLst>
                  <a:ext uri="{FF2B5EF4-FFF2-40B4-BE49-F238E27FC236}">
                    <a16:creationId xmlns:a16="http://schemas.microsoft.com/office/drawing/2014/main" id="{C2CAD163-809B-B806-FD91-584A9F51DBD6}"/>
                  </a:ext>
                </a:extLst>
              </p:cNvPr>
              <p:cNvSpPr/>
              <p:nvPr/>
            </p:nvSpPr>
            <p:spPr>
              <a:xfrm>
                <a:off x="6191625" y="1405269"/>
                <a:ext cx="81451" cy="44043"/>
              </a:xfrm>
              <a:custGeom>
                <a:avLst/>
                <a:gdLst>
                  <a:gd name="connsiteX0" fmla="*/ 0 w 81451"/>
                  <a:gd name="connsiteY0" fmla="*/ 44044 h 44043"/>
                  <a:gd name="connsiteX1" fmla="*/ 37343 w 81451"/>
                  <a:gd name="connsiteY1" fmla="*/ 44044 h 44043"/>
                  <a:gd name="connsiteX2" fmla="*/ 81451 w 81451"/>
                  <a:gd name="connsiteY2" fmla="*/ 0 h 440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1451" h="44043">
                    <a:moveTo>
                      <a:pt x="0" y="44044"/>
                    </a:moveTo>
                    <a:lnTo>
                      <a:pt x="37343" y="44044"/>
                    </a:lnTo>
                    <a:lnTo>
                      <a:pt x="81451" y="0"/>
                    </a:lnTo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5" name="Forma livre: Forma 124">
                <a:extLst>
                  <a:ext uri="{FF2B5EF4-FFF2-40B4-BE49-F238E27FC236}">
                    <a16:creationId xmlns:a16="http://schemas.microsoft.com/office/drawing/2014/main" id="{059A3C11-E734-1522-905C-415F82B37795}"/>
                  </a:ext>
                </a:extLst>
              </p:cNvPr>
              <p:cNvSpPr/>
              <p:nvPr/>
            </p:nvSpPr>
            <p:spPr>
              <a:xfrm>
                <a:off x="6265075" y="1357908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0 h 55298"/>
                  <a:gd name="connsiteX2" fmla="*/ 0 w 55298"/>
                  <a:gd name="connsiteY2" fmla="*/ 27649 h 55298"/>
                  <a:gd name="connsiteX3" fmla="*/ 27649 w 55298"/>
                  <a:gd name="connsiteY3" fmla="*/ 55298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12361"/>
                      <a:pt x="42938" y="0"/>
                      <a:pt x="27649" y="0"/>
                    </a:cubicBezTo>
                    <a:cubicBezTo>
                      <a:pt x="12361" y="0"/>
                      <a:pt x="0" y="12361"/>
                      <a:pt x="0" y="27649"/>
                    </a:cubicBezTo>
                    <a:cubicBezTo>
                      <a:pt x="0" y="42938"/>
                      <a:pt x="12361" y="55298"/>
                      <a:pt x="27649" y="55298"/>
                    </a:cubicBezTo>
                    <a:cubicBezTo>
                      <a:pt x="42938" y="55298"/>
                      <a:pt x="55298" y="42938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18" name="Gráfico 32">
              <a:extLst>
                <a:ext uri="{FF2B5EF4-FFF2-40B4-BE49-F238E27FC236}">
                  <a16:creationId xmlns:a16="http://schemas.microsoft.com/office/drawing/2014/main" id="{C188C17F-1AA5-0C86-0E07-C2AD96D67F7D}"/>
                </a:ext>
              </a:extLst>
            </p:cNvPr>
            <p:cNvGrpSpPr/>
            <p:nvPr/>
          </p:nvGrpSpPr>
          <p:grpSpPr>
            <a:xfrm>
              <a:off x="6190910" y="1529723"/>
              <a:ext cx="123673" cy="55298"/>
              <a:chOff x="6190910" y="1529723"/>
              <a:chExt cx="123673" cy="55298"/>
            </a:xfrm>
            <a:noFill/>
          </p:grpSpPr>
          <p:sp>
            <p:nvSpPr>
              <p:cNvPr id="120" name="Forma livre: Forma 119">
                <a:extLst>
                  <a:ext uri="{FF2B5EF4-FFF2-40B4-BE49-F238E27FC236}">
                    <a16:creationId xmlns:a16="http://schemas.microsoft.com/office/drawing/2014/main" id="{2335084F-A1A1-D461-8D9E-BA3BC28CCF68}"/>
                  </a:ext>
                </a:extLst>
              </p:cNvPr>
              <p:cNvSpPr/>
              <p:nvPr/>
            </p:nvSpPr>
            <p:spPr>
              <a:xfrm>
                <a:off x="6190910" y="1557372"/>
                <a:ext cx="68765" cy="6505"/>
              </a:xfrm>
              <a:custGeom>
                <a:avLst/>
                <a:gdLst>
                  <a:gd name="connsiteX0" fmla="*/ 0 w 68765"/>
                  <a:gd name="connsiteY0" fmla="*/ 0 h 6505"/>
                  <a:gd name="connsiteX1" fmla="*/ 68765 w 68765"/>
                  <a:gd name="connsiteY1" fmla="*/ 0 h 65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8765" h="6505">
                    <a:moveTo>
                      <a:pt x="0" y="0"/>
                    </a:moveTo>
                    <a:lnTo>
                      <a:pt x="68765" y="0"/>
                    </a:lnTo>
                  </a:path>
                </a:pathLst>
              </a:custGeom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1" name="Forma livre: Forma 120">
                <a:extLst>
                  <a:ext uri="{FF2B5EF4-FFF2-40B4-BE49-F238E27FC236}">
                    <a16:creationId xmlns:a16="http://schemas.microsoft.com/office/drawing/2014/main" id="{1D4854AD-DC2B-230B-BBA3-D504B2BA3C8E}"/>
                  </a:ext>
                </a:extLst>
              </p:cNvPr>
              <p:cNvSpPr/>
              <p:nvPr/>
            </p:nvSpPr>
            <p:spPr>
              <a:xfrm>
                <a:off x="6259285" y="1529723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19" name="Forma livre: Forma 118">
              <a:extLst>
                <a:ext uri="{FF2B5EF4-FFF2-40B4-BE49-F238E27FC236}">
                  <a16:creationId xmlns:a16="http://schemas.microsoft.com/office/drawing/2014/main" id="{5AA9CC8F-9533-A712-EF3B-D9922F4C8AE4}"/>
                </a:ext>
              </a:extLst>
            </p:cNvPr>
            <p:cNvSpPr/>
            <p:nvPr/>
          </p:nvSpPr>
          <p:spPr>
            <a:xfrm>
              <a:off x="6152201" y="1686285"/>
              <a:ext cx="37362" cy="20848"/>
            </a:xfrm>
            <a:custGeom>
              <a:avLst/>
              <a:gdLst>
                <a:gd name="connsiteX0" fmla="*/ 0 w 37362"/>
                <a:gd name="connsiteY0" fmla="*/ 10505 h 20848"/>
                <a:gd name="connsiteX1" fmla="*/ 27064 w 37362"/>
                <a:gd name="connsiteY1" fmla="*/ 2373 h 20848"/>
                <a:gd name="connsiteX2" fmla="*/ 37343 w 37362"/>
                <a:gd name="connsiteY2" fmla="*/ 20849 h 20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7362" h="20848">
                  <a:moveTo>
                    <a:pt x="0" y="10505"/>
                  </a:moveTo>
                  <a:cubicBezTo>
                    <a:pt x="5205" y="811"/>
                    <a:pt x="17435" y="-2832"/>
                    <a:pt x="27064" y="2373"/>
                  </a:cubicBezTo>
                  <a:cubicBezTo>
                    <a:pt x="34025" y="6081"/>
                    <a:pt x="37668" y="13432"/>
                    <a:pt x="37343" y="20849"/>
                  </a:cubicBezTo>
                </a:path>
              </a:pathLst>
            </a:custGeom>
            <a:noFill/>
            <a:ln w="19050" cap="sq">
              <a:solidFill>
                <a:schemeClr val="accent2"/>
              </a:solidFill>
              <a:prstDash val="solid"/>
              <a:miter lim="800000"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sp>
        <p:nvSpPr>
          <p:cNvPr id="2" name="Marcador de pie de página 1">
            <a:extLst>
              <a:ext uri="{FF2B5EF4-FFF2-40B4-BE49-F238E27FC236}">
                <a16:creationId xmlns:a16="http://schemas.microsoft.com/office/drawing/2014/main" id="{9905C64B-8939-4A83-83E4-9E7E7140049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pt-PT"/>
              <a:t>Título de la presentación</a:t>
            </a:r>
            <a:endParaRPr lang="pt-PT" dirty="0"/>
          </a:p>
        </p:txBody>
      </p:sp>
      <p:sp>
        <p:nvSpPr>
          <p:cNvPr id="3" name="Marcador de número de diapositiva 2">
            <a:extLst>
              <a:ext uri="{FF2B5EF4-FFF2-40B4-BE49-F238E27FC236}">
                <a16:creationId xmlns:a16="http://schemas.microsoft.com/office/drawing/2014/main" id="{7F5F8FF0-A339-4B84-884A-D183A14B6F5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4A347C2-D68E-473A-8C76-1D063E4EB6E0}" type="slidenum">
              <a:rPr lang="es-ES" smtClean="0"/>
              <a:pPr/>
              <a:t>32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40110349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5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42" presetClass="path" presetSubtype="0" decel="10000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animMotion origin="layout" path="M -0.01719 -0.00023 L -1.25E-6 1.85185E-6 " pathEditMode="relative" rAng="0" ptsTypes="AA">
                                      <p:cBhvr>
                                        <p:cTn id="9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859" y="0"/>
                                    </p:animMotion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25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42" presetClass="path" presetSubtype="0" decel="10000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animMotion origin="layout" path="M -0.01719 -0.00023 L -1.25E-6 1.85185E-6 " pathEditMode="relative" rAng="0" ptsTypes="AA">
                                      <p:cBhvr>
                                        <p:cTn id="14" dur="5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859" y="0"/>
                                    </p:animMotion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250"/>
                                        <p:tgtEl>
                                          <p:spTgt spid="6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42" presetClass="path" presetSubtype="0" decel="10000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animMotion origin="layout" path="M -0.01719 -0.00023 L -1.25E-6 1.85185E-6 " pathEditMode="relative" rAng="0" ptsTypes="AA">
                                      <p:cBhvr>
                                        <p:cTn id="19" dur="500" fill="hold"/>
                                        <p:tgtEl>
                                          <p:spTgt spid="6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859" y="0"/>
                                    </p:animMotion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250"/>
                                        <p:tgtEl>
                                          <p:spTgt spid="9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42" presetClass="path" presetSubtype="0" decel="10000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animMotion origin="layout" path="M -0.01719 -0.00023 L -1.25E-6 1.85185E-6 " pathEditMode="relative" rAng="0" ptsTypes="AA">
                                      <p:cBhvr>
                                        <p:cTn id="24" dur="500" fill="hold"/>
                                        <p:tgtEl>
                                          <p:spTgt spid="9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859" y="0"/>
                                    </p:animMotion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250"/>
                                        <p:tgtEl>
                                          <p:spTgt spid="1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42" presetClass="path" presetSubtype="0" decel="10000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animMotion origin="layout" path="M -0.01719 -0.00023 L -1.25E-6 1.85185E-6 " pathEditMode="relative" rAng="0" ptsTypes="AA">
                                      <p:cBhvr>
                                        <p:cTn id="29" dur="500" fill="hold"/>
                                        <p:tgtEl>
                                          <p:spTgt spid="11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859" y="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ítulo 9">
            <a:extLst>
              <a:ext uri="{FF2B5EF4-FFF2-40B4-BE49-F238E27FC236}">
                <a16:creationId xmlns:a16="http://schemas.microsoft.com/office/drawing/2014/main" id="{2A80E3F5-A512-8191-1326-7793DD1F657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PT" dirty="0"/>
              <a:t>Ejemplo de título de slide</a:t>
            </a:r>
          </a:p>
        </p:txBody>
      </p:sp>
      <p:sp>
        <p:nvSpPr>
          <p:cNvPr id="11" name="Marcador de Posição do Texto 10">
            <a:extLst>
              <a:ext uri="{FF2B5EF4-FFF2-40B4-BE49-F238E27FC236}">
                <a16:creationId xmlns:a16="http://schemas.microsoft.com/office/drawing/2014/main" id="{CF870567-B86B-9991-6F60-C1951A64BB5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>
            <a:normAutofit lnSpcReduction="10000"/>
          </a:bodyPr>
          <a:lstStyle/>
          <a:p>
            <a:r>
              <a:rPr lang="pt-PT" dirty="0"/>
              <a:t>Ejemplo de subtítulo de slide</a:t>
            </a:r>
          </a:p>
        </p:txBody>
      </p:sp>
      <p:sp>
        <p:nvSpPr>
          <p:cNvPr id="13" name="Marcador de Posição do Texto 12">
            <a:extLst>
              <a:ext uri="{FF2B5EF4-FFF2-40B4-BE49-F238E27FC236}">
                <a16:creationId xmlns:a16="http://schemas.microsoft.com/office/drawing/2014/main" id="{F0965CBA-C52C-105F-486B-4CCD59F9859A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/>
        <p:txBody>
          <a:bodyPr/>
          <a:lstStyle/>
          <a:p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Lorem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ipsum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dolor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sit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amet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,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consectetuer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adipiscing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elit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.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Maecenas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porttitor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congue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massa. </a:t>
            </a:r>
            <a:r>
              <a:rPr lang="pt-PT" dirty="0" err="1"/>
              <a:t>Fusce</a:t>
            </a:r>
            <a:r>
              <a:rPr lang="pt-PT" dirty="0"/>
              <a:t> </a:t>
            </a:r>
            <a:r>
              <a:rPr lang="pt-PT" dirty="0" err="1"/>
              <a:t>posuere</a:t>
            </a:r>
            <a:r>
              <a:rPr lang="pt-PT" dirty="0"/>
              <a:t>, magna </a:t>
            </a:r>
            <a:r>
              <a:rPr lang="pt-PT" dirty="0" err="1"/>
              <a:t>sed</a:t>
            </a:r>
            <a:r>
              <a:rPr lang="pt-PT" dirty="0"/>
              <a:t> pulvinar </a:t>
            </a:r>
            <a:r>
              <a:rPr lang="pt-PT" dirty="0" err="1"/>
              <a:t>ultricies</a:t>
            </a:r>
            <a:r>
              <a:rPr lang="pt-PT" dirty="0"/>
              <a:t>, purus </a:t>
            </a:r>
            <a:r>
              <a:rPr lang="pt-PT" dirty="0" err="1"/>
              <a:t>lectus</a:t>
            </a:r>
            <a:r>
              <a:rPr lang="pt-PT" dirty="0"/>
              <a:t> </a:t>
            </a:r>
            <a:r>
              <a:rPr lang="pt-PT" dirty="0" err="1"/>
              <a:t>malesuada</a:t>
            </a:r>
            <a:r>
              <a:rPr lang="pt-PT" dirty="0"/>
              <a:t> libero.</a:t>
            </a:r>
          </a:p>
          <a:p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Lorem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ipsum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dolor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sit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amet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,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consectetuer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adipiscing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elit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.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Maecenas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porttitor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congue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massa. </a:t>
            </a:r>
            <a:r>
              <a:rPr lang="pt-PT" dirty="0" err="1"/>
              <a:t>Fusce</a:t>
            </a:r>
            <a:r>
              <a:rPr lang="pt-PT" dirty="0"/>
              <a:t> </a:t>
            </a:r>
            <a:r>
              <a:rPr lang="pt-PT" dirty="0" err="1"/>
              <a:t>posuere</a:t>
            </a:r>
            <a:r>
              <a:rPr lang="pt-PT" dirty="0"/>
              <a:t>, magna </a:t>
            </a:r>
            <a:r>
              <a:rPr lang="pt-PT" dirty="0" err="1"/>
              <a:t>sed</a:t>
            </a:r>
            <a:r>
              <a:rPr lang="pt-PT" dirty="0"/>
              <a:t> pulvinar </a:t>
            </a:r>
            <a:r>
              <a:rPr lang="pt-PT" dirty="0" err="1"/>
              <a:t>ultricies</a:t>
            </a:r>
            <a:r>
              <a:rPr lang="pt-PT" dirty="0"/>
              <a:t>, purus </a:t>
            </a:r>
            <a:r>
              <a:rPr lang="pt-PT" dirty="0" err="1"/>
              <a:t>lectus</a:t>
            </a:r>
            <a:r>
              <a:rPr lang="pt-PT" dirty="0"/>
              <a:t> </a:t>
            </a:r>
            <a:r>
              <a:rPr lang="pt-PT" dirty="0" err="1"/>
              <a:t>malesuada</a:t>
            </a:r>
            <a:r>
              <a:rPr lang="pt-PT" dirty="0"/>
              <a:t> libero.</a:t>
            </a:r>
          </a:p>
          <a:p>
            <a:endParaRPr lang="pt-PT" dirty="0"/>
          </a:p>
        </p:txBody>
      </p:sp>
      <p:sp>
        <p:nvSpPr>
          <p:cNvPr id="14" name="Marcador de Posição do Texto 13">
            <a:extLst>
              <a:ext uri="{FF2B5EF4-FFF2-40B4-BE49-F238E27FC236}">
                <a16:creationId xmlns:a16="http://schemas.microsoft.com/office/drawing/2014/main" id="{9691ACD3-C694-242A-26B1-C189866359FF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/>
        <p:txBody>
          <a:bodyPr/>
          <a:lstStyle/>
          <a:p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Lorem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ipsum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dolor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sit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amet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,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consectetuer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adipiscing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elit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.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Maecenas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porttitor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congue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massa. </a:t>
            </a:r>
            <a:r>
              <a:rPr lang="pt-PT" dirty="0" err="1"/>
              <a:t>Fusce</a:t>
            </a:r>
            <a:r>
              <a:rPr lang="pt-PT" dirty="0"/>
              <a:t> </a:t>
            </a:r>
            <a:r>
              <a:rPr lang="pt-PT" dirty="0" err="1"/>
              <a:t>posuere</a:t>
            </a:r>
            <a:r>
              <a:rPr lang="pt-PT" dirty="0"/>
              <a:t>, magna </a:t>
            </a:r>
            <a:r>
              <a:rPr lang="pt-PT" dirty="0" err="1"/>
              <a:t>sed</a:t>
            </a:r>
            <a:r>
              <a:rPr lang="pt-PT" dirty="0"/>
              <a:t> pulvinar </a:t>
            </a:r>
            <a:r>
              <a:rPr lang="pt-PT" dirty="0" err="1"/>
              <a:t>ultricies</a:t>
            </a:r>
            <a:r>
              <a:rPr lang="pt-PT" dirty="0"/>
              <a:t>, purus </a:t>
            </a:r>
            <a:r>
              <a:rPr lang="pt-PT" dirty="0" err="1"/>
              <a:t>lectus</a:t>
            </a:r>
            <a:r>
              <a:rPr lang="pt-PT" dirty="0"/>
              <a:t> </a:t>
            </a:r>
            <a:r>
              <a:rPr lang="pt-PT" dirty="0" err="1"/>
              <a:t>malesuada</a:t>
            </a:r>
            <a:r>
              <a:rPr lang="pt-PT" dirty="0"/>
              <a:t> libero.</a:t>
            </a:r>
          </a:p>
          <a:p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Lorem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ipsum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dolor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sit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amet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,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consectetuer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adipiscing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elit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.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Maecenas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porttitor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congue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massa. </a:t>
            </a:r>
            <a:r>
              <a:rPr lang="pt-PT" dirty="0" err="1"/>
              <a:t>Fusce</a:t>
            </a:r>
            <a:r>
              <a:rPr lang="pt-PT" dirty="0"/>
              <a:t> </a:t>
            </a:r>
            <a:r>
              <a:rPr lang="pt-PT" dirty="0" err="1"/>
              <a:t>posuere</a:t>
            </a:r>
            <a:r>
              <a:rPr lang="pt-PT" dirty="0"/>
              <a:t>, magna </a:t>
            </a:r>
            <a:r>
              <a:rPr lang="pt-PT" dirty="0" err="1"/>
              <a:t>sed</a:t>
            </a:r>
            <a:r>
              <a:rPr lang="pt-PT" dirty="0"/>
              <a:t> pulvinar </a:t>
            </a:r>
            <a:r>
              <a:rPr lang="pt-PT" dirty="0" err="1"/>
              <a:t>ultricies</a:t>
            </a:r>
            <a:r>
              <a:rPr lang="pt-PT" dirty="0"/>
              <a:t>, purus </a:t>
            </a:r>
            <a:r>
              <a:rPr lang="pt-PT" dirty="0" err="1"/>
              <a:t>lectus</a:t>
            </a:r>
            <a:r>
              <a:rPr lang="pt-PT" dirty="0"/>
              <a:t> </a:t>
            </a:r>
            <a:r>
              <a:rPr lang="pt-PT" dirty="0" err="1"/>
              <a:t>malesuada</a:t>
            </a:r>
            <a:r>
              <a:rPr lang="pt-PT" dirty="0"/>
              <a:t> libero.</a:t>
            </a:r>
          </a:p>
          <a:p>
            <a:endParaRPr lang="pt-PT" dirty="0"/>
          </a:p>
        </p:txBody>
      </p:sp>
      <p:sp>
        <p:nvSpPr>
          <p:cNvPr id="15" name="Marcador de Posição do Texto 14">
            <a:extLst>
              <a:ext uri="{FF2B5EF4-FFF2-40B4-BE49-F238E27FC236}">
                <a16:creationId xmlns:a16="http://schemas.microsoft.com/office/drawing/2014/main" id="{5DECCA59-1468-3F28-AAA7-A1CEBA60769E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/>
        <p:txBody>
          <a:bodyPr/>
          <a:lstStyle/>
          <a:p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Lorem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ipsum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dolor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sit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amet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,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consectetuer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adipiscing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elit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.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Maecenas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porttitor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congue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massa. </a:t>
            </a:r>
            <a:r>
              <a:rPr lang="pt-PT" dirty="0" err="1"/>
              <a:t>Fusce</a:t>
            </a:r>
            <a:r>
              <a:rPr lang="pt-PT" dirty="0"/>
              <a:t> </a:t>
            </a:r>
            <a:r>
              <a:rPr lang="pt-PT" dirty="0" err="1"/>
              <a:t>posuere</a:t>
            </a:r>
            <a:r>
              <a:rPr lang="pt-PT" dirty="0"/>
              <a:t>, magna </a:t>
            </a:r>
            <a:r>
              <a:rPr lang="pt-PT" dirty="0" err="1"/>
              <a:t>sed</a:t>
            </a:r>
            <a:r>
              <a:rPr lang="pt-PT" dirty="0"/>
              <a:t> pulvinar </a:t>
            </a:r>
            <a:r>
              <a:rPr lang="pt-PT" dirty="0" err="1"/>
              <a:t>ultricies</a:t>
            </a:r>
            <a:r>
              <a:rPr lang="pt-PT" dirty="0"/>
              <a:t>, purus </a:t>
            </a:r>
            <a:r>
              <a:rPr lang="pt-PT" dirty="0" err="1"/>
              <a:t>lectus</a:t>
            </a:r>
            <a:r>
              <a:rPr lang="pt-PT" dirty="0"/>
              <a:t> </a:t>
            </a:r>
            <a:r>
              <a:rPr lang="pt-PT" dirty="0" err="1"/>
              <a:t>malesuada</a:t>
            </a:r>
            <a:r>
              <a:rPr lang="pt-PT" dirty="0"/>
              <a:t> libero.</a:t>
            </a:r>
          </a:p>
          <a:p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Lorem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ipsum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dolor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sit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amet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,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consectetuer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adipiscing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elit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.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Maecenas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porttitor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congue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massa. </a:t>
            </a:r>
            <a:r>
              <a:rPr lang="pt-PT" dirty="0" err="1"/>
              <a:t>Fusce</a:t>
            </a:r>
            <a:r>
              <a:rPr lang="pt-PT" dirty="0"/>
              <a:t> </a:t>
            </a:r>
            <a:r>
              <a:rPr lang="pt-PT" dirty="0" err="1"/>
              <a:t>posuere</a:t>
            </a:r>
            <a:r>
              <a:rPr lang="pt-PT" dirty="0"/>
              <a:t>, magna </a:t>
            </a:r>
            <a:r>
              <a:rPr lang="pt-PT" dirty="0" err="1"/>
              <a:t>sed</a:t>
            </a:r>
            <a:r>
              <a:rPr lang="pt-PT" dirty="0"/>
              <a:t> pulvinar </a:t>
            </a:r>
            <a:r>
              <a:rPr lang="pt-PT" dirty="0" err="1"/>
              <a:t>ultricies</a:t>
            </a:r>
            <a:r>
              <a:rPr lang="pt-PT" dirty="0"/>
              <a:t>, purus </a:t>
            </a:r>
            <a:r>
              <a:rPr lang="pt-PT" dirty="0" err="1"/>
              <a:t>lectus</a:t>
            </a:r>
            <a:r>
              <a:rPr lang="pt-PT" dirty="0"/>
              <a:t> </a:t>
            </a:r>
            <a:r>
              <a:rPr lang="pt-PT" dirty="0" err="1"/>
              <a:t>malesuada</a:t>
            </a:r>
            <a:r>
              <a:rPr lang="pt-PT" dirty="0"/>
              <a:t> libero.</a:t>
            </a:r>
          </a:p>
          <a:p>
            <a:endParaRPr lang="pt-PT" dirty="0"/>
          </a:p>
        </p:txBody>
      </p:sp>
      <p:sp>
        <p:nvSpPr>
          <p:cNvPr id="12" name="Marcador de Posição do Texto 11">
            <a:extLst>
              <a:ext uri="{FF2B5EF4-FFF2-40B4-BE49-F238E27FC236}">
                <a16:creationId xmlns:a16="http://schemas.microsoft.com/office/drawing/2014/main" id="{5F1863C3-D9F3-7569-31C9-A6064FFD0988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pt-PT" dirty="0"/>
              <a:t>Texto destacado</a:t>
            </a:r>
          </a:p>
        </p:txBody>
      </p:sp>
      <p:sp>
        <p:nvSpPr>
          <p:cNvPr id="16" name="Marcador de Posição do Texto 15">
            <a:extLst>
              <a:ext uri="{FF2B5EF4-FFF2-40B4-BE49-F238E27FC236}">
                <a16:creationId xmlns:a16="http://schemas.microsoft.com/office/drawing/2014/main" id="{FE9833D7-3D72-D024-1146-1DC78D8C3214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/>
        <p:txBody>
          <a:bodyPr/>
          <a:lstStyle/>
          <a:p>
            <a:r>
              <a:rPr lang="pt-PT" dirty="0"/>
              <a:t>Texto destacado</a:t>
            </a:r>
          </a:p>
        </p:txBody>
      </p:sp>
      <p:sp>
        <p:nvSpPr>
          <p:cNvPr id="17" name="Marcador de Posição do Texto 16">
            <a:extLst>
              <a:ext uri="{FF2B5EF4-FFF2-40B4-BE49-F238E27FC236}">
                <a16:creationId xmlns:a16="http://schemas.microsoft.com/office/drawing/2014/main" id="{6384C4E6-E706-1CBA-7C1D-896FA9AA5AA1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/>
        <p:txBody>
          <a:bodyPr/>
          <a:lstStyle/>
          <a:p>
            <a:r>
              <a:rPr lang="pt-PT" dirty="0"/>
              <a:t>Texto destacado</a:t>
            </a:r>
          </a:p>
        </p:txBody>
      </p:sp>
      <p:grpSp>
        <p:nvGrpSpPr>
          <p:cNvPr id="18" name="Agrupar 17">
            <a:extLst>
              <a:ext uri="{FF2B5EF4-FFF2-40B4-BE49-F238E27FC236}">
                <a16:creationId xmlns:a16="http://schemas.microsoft.com/office/drawing/2014/main" id="{7268B324-0866-8C76-BEA0-201F0A04DBAF}"/>
              </a:ext>
            </a:extLst>
          </p:cNvPr>
          <p:cNvGrpSpPr/>
          <p:nvPr/>
        </p:nvGrpSpPr>
        <p:grpSpPr>
          <a:xfrm>
            <a:off x="877524" y="1916023"/>
            <a:ext cx="459831" cy="502163"/>
            <a:chOff x="6000092" y="1357908"/>
            <a:chExt cx="365300" cy="398929"/>
          </a:xfrm>
        </p:grpSpPr>
        <p:sp>
          <p:nvSpPr>
            <p:cNvPr id="19" name="Forma livre: Forma 18">
              <a:extLst>
                <a:ext uri="{FF2B5EF4-FFF2-40B4-BE49-F238E27FC236}">
                  <a16:creationId xmlns:a16="http://schemas.microsoft.com/office/drawing/2014/main" id="{5F99C2F3-DD71-D83A-9D9C-84CC0B5C5828}"/>
                </a:ext>
              </a:extLst>
            </p:cNvPr>
            <p:cNvSpPr/>
            <p:nvPr/>
          </p:nvSpPr>
          <p:spPr>
            <a:xfrm>
              <a:off x="6000092" y="1418606"/>
              <a:ext cx="84058" cy="286120"/>
            </a:xfrm>
            <a:custGeom>
              <a:avLst/>
              <a:gdLst>
                <a:gd name="connsiteX0" fmla="*/ 51595 w 84058"/>
                <a:gd name="connsiteY0" fmla="*/ 0 h 286120"/>
                <a:gd name="connsiteX1" fmla="*/ 35266 w 84058"/>
                <a:gd name="connsiteY1" fmla="*/ 61674 h 286120"/>
                <a:gd name="connsiteX2" fmla="*/ 28760 w 84058"/>
                <a:gd name="connsiteY2" fmla="*/ 193415 h 286120"/>
                <a:gd name="connsiteX3" fmla="*/ 84059 w 84058"/>
                <a:gd name="connsiteY3" fmla="*/ 286121 h 2861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4058" h="286120">
                  <a:moveTo>
                    <a:pt x="51595" y="0"/>
                  </a:moveTo>
                  <a:cubicBezTo>
                    <a:pt x="37868" y="7872"/>
                    <a:pt x="26028" y="24852"/>
                    <a:pt x="35266" y="61674"/>
                  </a:cubicBezTo>
                  <a:cubicBezTo>
                    <a:pt x="35266" y="61674"/>
                    <a:pt x="-39549" y="126731"/>
                    <a:pt x="28760" y="193415"/>
                  </a:cubicBezTo>
                  <a:cubicBezTo>
                    <a:pt x="28760" y="193415"/>
                    <a:pt x="9243" y="281242"/>
                    <a:pt x="84059" y="286121"/>
                  </a:cubicBezTo>
                </a:path>
              </a:pathLst>
            </a:custGeom>
            <a:noFill/>
            <a:ln w="19050" cap="sq">
              <a:solidFill>
                <a:schemeClr val="accent2"/>
              </a:solidFill>
              <a:prstDash val="solid"/>
              <a:miter lim="800000"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20" name="Gráfico 32">
              <a:extLst>
                <a:ext uri="{FF2B5EF4-FFF2-40B4-BE49-F238E27FC236}">
                  <a16:creationId xmlns:a16="http://schemas.microsoft.com/office/drawing/2014/main" id="{5090CCEF-8C09-E2C4-EE8C-CCF993F23CE7}"/>
                </a:ext>
              </a:extLst>
            </p:cNvPr>
            <p:cNvGrpSpPr/>
            <p:nvPr/>
          </p:nvGrpSpPr>
          <p:grpSpPr>
            <a:xfrm>
              <a:off x="6061121" y="1359924"/>
              <a:ext cx="128487" cy="396366"/>
              <a:chOff x="6061121" y="1359924"/>
              <a:chExt cx="128487" cy="396366"/>
            </a:xfrm>
            <a:noFill/>
          </p:grpSpPr>
          <p:sp>
            <p:nvSpPr>
              <p:cNvPr id="35" name="Forma livre: Forma 34">
                <a:extLst>
                  <a:ext uri="{FF2B5EF4-FFF2-40B4-BE49-F238E27FC236}">
                    <a16:creationId xmlns:a16="http://schemas.microsoft.com/office/drawing/2014/main" id="{EC189BF7-7426-D8D1-C9B3-322295963C09}"/>
                  </a:ext>
                </a:extLst>
              </p:cNvPr>
              <p:cNvSpPr/>
              <p:nvPr/>
            </p:nvSpPr>
            <p:spPr>
              <a:xfrm>
                <a:off x="6083891" y="1359924"/>
                <a:ext cx="105717" cy="396366"/>
              </a:xfrm>
              <a:custGeom>
                <a:avLst/>
                <a:gdLst>
                  <a:gd name="connsiteX0" fmla="*/ 52891 w 105717"/>
                  <a:gd name="connsiteY0" fmla="*/ 105718 h 396366"/>
                  <a:gd name="connsiteX1" fmla="*/ 0 w 105717"/>
                  <a:gd name="connsiteY1" fmla="*/ 52891 h 396366"/>
                  <a:gd name="connsiteX2" fmla="*/ 52891 w 105717"/>
                  <a:gd name="connsiteY2" fmla="*/ 0 h 396366"/>
                  <a:gd name="connsiteX3" fmla="*/ 105718 w 105717"/>
                  <a:gd name="connsiteY3" fmla="*/ 52826 h 396366"/>
                  <a:gd name="connsiteX4" fmla="*/ 105718 w 105717"/>
                  <a:gd name="connsiteY4" fmla="*/ 346884 h 396366"/>
                  <a:gd name="connsiteX5" fmla="*/ 80606 w 105717"/>
                  <a:gd name="connsiteY5" fmla="*/ 388911 h 396366"/>
                  <a:gd name="connsiteX6" fmla="*/ 9238 w 105717"/>
                  <a:gd name="connsiteY6" fmla="*/ 371150 h 396366"/>
                  <a:gd name="connsiteX7" fmla="*/ 15484 w 105717"/>
                  <a:gd name="connsiteY7" fmla="*/ 309216 h 396366"/>
                  <a:gd name="connsiteX8" fmla="*/ 45019 w 105717"/>
                  <a:gd name="connsiteY8" fmla="*/ 277078 h 3963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05717" h="396366">
                    <a:moveTo>
                      <a:pt x="52891" y="105718"/>
                    </a:moveTo>
                    <a:cubicBezTo>
                      <a:pt x="23681" y="105718"/>
                      <a:pt x="0" y="82037"/>
                      <a:pt x="0" y="52891"/>
                    </a:cubicBezTo>
                    <a:cubicBezTo>
                      <a:pt x="0" y="23746"/>
                      <a:pt x="23681" y="0"/>
                      <a:pt x="52891" y="0"/>
                    </a:cubicBezTo>
                    <a:cubicBezTo>
                      <a:pt x="82102" y="0"/>
                      <a:pt x="105718" y="23681"/>
                      <a:pt x="105718" y="52826"/>
                    </a:cubicBezTo>
                    <a:lnTo>
                      <a:pt x="105718" y="346884"/>
                    </a:lnTo>
                    <a:cubicBezTo>
                      <a:pt x="105718" y="364580"/>
                      <a:pt x="96414" y="379413"/>
                      <a:pt x="80606" y="388911"/>
                    </a:cubicBezTo>
                    <a:cubicBezTo>
                      <a:pt x="55949" y="403744"/>
                      <a:pt x="24006" y="395742"/>
                      <a:pt x="9238" y="371150"/>
                    </a:cubicBezTo>
                    <a:cubicBezTo>
                      <a:pt x="-2928" y="350918"/>
                      <a:pt x="260" y="325741"/>
                      <a:pt x="15484" y="309216"/>
                    </a:cubicBezTo>
                    <a:lnTo>
                      <a:pt x="45019" y="277078"/>
                    </a:lnTo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6" name="Forma livre: Forma 35">
                <a:extLst>
                  <a:ext uri="{FF2B5EF4-FFF2-40B4-BE49-F238E27FC236}">
                    <a16:creationId xmlns:a16="http://schemas.microsoft.com/office/drawing/2014/main" id="{3DA8460F-6C57-250C-3F17-DCDD886422A4}"/>
                  </a:ext>
                </a:extLst>
              </p:cNvPr>
              <p:cNvSpPr/>
              <p:nvPr/>
            </p:nvSpPr>
            <p:spPr>
              <a:xfrm>
                <a:off x="6144784" y="1383865"/>
                <a:ext cx="41563" cy="38963"/>
              </a:xfrm>
              <a:custGeom>
                <a:avLst/>
                <a:gdLst>
                  <a:gd name="connsiteX0" fmla="*/ 36172 w 41563"/>
                  <a:gd name="connsiteY0" fmla="*/ 0 h 38963"/>
                  <a:gd name="connsiteX1" fmla="*/ 39425 w 41563"/>
                  <a:gd name="connsiteY1" fmla="*/ 24266 h 38963"/>
                  <a:gd name="connsiteX2" fmla="*/ 36432 w 41563"/>
                  <a:gd name="connsiteY2" fmla="*/ 29080 h 38963"/>
                  <a:gd name="connsiteX3" fmla="*/ 0 w 41563"/>
                  <a:gd name="connsiteY3" fmla="*/ 33439 h 389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563" h="38963">
                    <a:moveTo>
                      <a:pt x="36172" y="0"/>
                    </a:moveTo>
                    <a:cubicBezTo>
                      <a:pt x="41571" y="7547"/>
                      <a:pt x="43393" y="16004"/>
                      <a:pt x="39425" y="24266"/>
                    </a:cubicBezTo>
                    <a:cubicBezTo>
                      <a:pt x="38644" y="25893"/>
                      <a:pt x="37603" y="27519"/>
                      <a:pt x="36432" y="29080"/>
                    </a:cubicBezTo>
                    <a:cubicBezTo>
                      <a:pt x="27584" y="40270"/>
                      <a:pt x="11190" y="42287"/>
                      <a:pt x="0" y="33439"/>
                    </a:cubicBezTo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7" name="Forma livre: Forma 36">
                <a:extLst>
                  <a:ext uri="{FF2B5EF4-FFF2-40B4-BE49-F238E27FC236}">
                    <a16:creationId xmlns:a16="http://schemas.microsoft.com/office/drawing/2014/main" id="{A3BAE0D8-93FA-FEC6-66D5-666E71094F49}"/>
                  </a:ext>
                </a:extLst>
              </p:cNvPr>
              <p:cNvSpPr/>
              <p:nvPr/>
            </p:nvSpPr>
            <p:spPr>
              <a:xfrm>
                <a:off x="6081487" y="1460806"/>
                <a:ext cx="34217" cy="54474"/>
              </a:xfrm>
              <a:custGeom>
                <a:avLst/>
                <a:gdLst>
                  <a:gd name="connsiteX0" fmla="*/ 21076 w 34217"/>
                  <a:gd name="connsiteY0" fmla="*/ 54475 h 54474"/>
                  <a:gd name="connsiteX1" fmla="*/ 778 w 34217"/>
                  <a:gd name="connsiteY1" fmla="*/ 21035 h 54474"/>
                  <a:gd name="connsiteX2" fmla="*/ 34217 w 34217"/>
                  <a:gd name="connsiteY2" fmla="*/ 803 h 544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4217" h="54474">
                    <a:moveTo>
                      <a:pt x="21076" y="54475"/>
                    </a:moveTo>
                    <a:cubicBezTo>
                      <a:pt x="6308" y="50832"/>
                      <a:pt x="-2800" y="35803"/>
                      <a:pt x="778" y="21035"/>
                    </a:cubicBezTo>
                    <a:cubicBezTo>
                      <a:pt x="4421" y="6267"/>
                      <a:pt x="19449" y="-2841"/>
                      <a:pt x="34217" y="803"/>
                    </a:cubicBezTo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8" name="Forma livre: Forma 37">
                <a:extLst>
                  <a:ext uri="{FF2B5EF4-FFF2-40B4-BE49-F238E27FC236}">
                    <a16:creationId xmlns:a16="http://schemas.microsoft.com/office/drawing/2014/main" id="{709993F1-14F4-D7A1-1640-7C74752240B4}"/>
                  </a:ext>
                </a:extLst>
              </p:cNvPr>
              <p:cNvSpPr/>
              <p:nvPr/>
            </p:nvSpPr>
            <p:spPr>
              <a:xfrm>
                <a:off x="6073547" y="1527543"/>
                <a:ext cx="114760" cy="72506"/>
              </a:xfrm>
              <a:custGeom>
                <a:avLst/>
                <a:gdLst>
                  <a:gd name="connsiteX0" fmla="*/ 114760 w 114760"/>
                  <a:gd name="connsiteY0" fmla="*/ 7254 h 72506"/>
                  <a:gd name="connsiteX1" fmla="*/ 73905 w 114760"/>
                  <a:gd name="connsiteY1" fmla="*/ 8881 h 72506"/>
                  <a:gd name="connsiteX2" fmla="*/ 0 w 114760"/>
                  <a:gd name="connsiteY2" fmla="*/ 72506 h 725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14760" h="72506">
                    <a:moveTo>
                      <a:pt x="114760" y="7254"/>
                    </a:moveTo>
                    <a:cubicBezTo>
                      <a:pt x="103375" y="-2830"/>
                      <a:pt x="83989" y="-2504"/>
                      <a:pt x="73905" y="8881"/>
                    </a:cubicBezTo>
                    <a:cubicBezTo>
                      <a:pt x="73905" y="8881"/>
                      <a:pt x="31488" y="72506"/>
                      <a:pt x="0" y="72506"/>
                    </a:cubicBezTo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9" name="Forma livre: Forma 38">
                <a:extLst>
                  <a:ext uri="{FF2B5EF4-FFF2-40B4-BE49-F238E27FC236}">
                    <a16:creationId xmlns:a16="http://schemas.microsoft.com/office/drawing/2014/main" id="{21B5FE4C-1ABE-001D-EFFE-14E12C657558}"/>
                  </a:ext>
                </a:extLst>
              </p:cNvPr>
              <p:cNvSpPr/>
              <p:nvPr/>
            </p:nvSpPr>
            <p:spPr>
              <a:xfrm>
                <a:off x="6079857" y="1646956"/>
                <a:ext cx="29405" cy="9823"/>
              </a:xfrm>
              <a:custGeom>
                <a:avLst/>
                <a:gdLst>
                  <a:gd name="connsiteX0" fmla="*/ 0 w 29405"/>
                  <a:gd name="connsiteY0" fmla="*/ 0 h 9823"/>
                  <a:gd name="connsiteX1" fmla="*/ 29406 w 29405"/>
                  <a:gd name="connsiteY1" fmla="*/ 9824 h 98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9405" h="9823">
                    <a:moveTo>
                      <a:pt x="0" y="0"/>
                    </a:moveTo>
                    <a:lnTo>
                      <a:pt x="29406" y="9824"/>
                    </a:lnTo>
                  </a:path>
                </a:pathLst>
              </a:custGeom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0" name="Forma livre: Forma 39">
                <a:extLst>
                  <a:ext uri="{FF2B5EF4-FFF2-40B4-BE49-F238E27FC236}">
                    <a16:creationId xmlns:a16="http://schemas.microsoft.com/office/drawing/2014/main" id="{7F84BBEA-FBD6-D15C-B779-832FB896B13C}"/>
                  </a:ext>
                </a:extLst>
              </p:cNvPr>
              <p:cNvSpPr/>
              <p:nvPr/>
            </p:nvSpPr>
            <p:spPr>
              <a:xfrm>
                <a:off x="6061121" y="1545272"/>
                <a:ext cx="47166" cy="34154"/>
              </a:xfrm>
              <a:custGeom>
                <a:avLst/>
                <a:gdLst>
                  <a:gd name="connsiteX0" fmla="*/ 0 w 47166"/>
                  <a:gd name="connsiteY0" fmla="*/ 0 h 34154"/>
                  <a:gd name="connsiteX1" fmla="*/ 47166 w 47166"/>
                  <a:gd name="connsiteY1" fmla="*/ 34155 h 341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166" h="34154">
                    <a:moveTo>
                      <a:pt x="0" y="0"/>
                    </a:moveTo>
                    <a:cubicBezTo>
                      <a:pt x="0" y="0"/>
                      <a:pt x="27649" y="13011"/>
                      <a:pt x="47166" y="34155"/>
                    </a:cubicBezTo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21" name="Gráfico 32">
              <a:extLst>
                <a:ext uri="{FF2B5EF4-FFF2-40B4-BE49-F238E27FC236}">
                  <a16:creationId xmlns:a16="http://schemas.microsoft.com/office/drawing/2014/main" id="{C61AF0C2-CB27-BF48-9B13-8772C4DA6D19}"/>
                </a:ext>
              </a:extLst>
            </p:cNvPr>
            <p:cNvGrpSpPr/>
            <p:nvPr/>
          </p:nvGrpSpPr>
          <p:grpSpPr>
            <a:xfrm>
              <a:off x="6191625" y="1599725"/>
              <a:ext cx="173767" cy="157112"/>
              <a:chOff x="6191625" y="1599725"/>
              <a:chExt cx="173767" cy="157112"/>
            </a:xfrm>
            <a:noFill/>
          </p:grpSpPr>
          <p:sp>
            <p:nvSpPr>
              <p:cNvPr id="31" name="Forma livre: Forma 30">
                <a:extLst>
                  <a:ext uri="{FF2B5EF4-FFF2-40B4-BE49-F238E27FC236}">
                    <a16:creationId xmlns:a16="http://schemas.microsoft.com/office/drawing/2014/main" id="{35995EBD-71F7-C442-F6C0-3D7FE7861324}"/>
                  </a:ext>
                </a:extLst>
              </p:cNvPr>
              <p:cNvSpPr/>
              <p:nvPr/>
            </p:nvSpPr>
            <p:spPr>
              <a:xfrm>
                <a:off x="6310094" y="1621974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2" name="Forma livre: Forma 31">
                <a:extLst>
                  <a:ext uri="{FF2B5EF4-FFF2-40B4-BE49-F238E27FC236}">
                    <a16:creationId xmlns:a16="http://schemas.microsoft.com/office/drawing/2014/main" id="{4E6D2C4F-9328-1670-F6D0-6CB9E3C2F021}"/>
                  </a:ext>
                </a:extLst>
              </p:cNvPr>
              <p:cNvSpPr/>
              <p:nvPr/>
            </p:nvSpPr>
            <p:spPr>
              <a:xfrm>
                <a:off x="6191625" y="1599725"/>
                <a:ext cx="118078" cy="49898"/>
              </a:xfrm>
              <a:custGeom>
                <a:avLst/>
                <a:gdLst>
                  <a:gd name="connsiteX0" fmla="*/ 0 w 118078"/>
                  <a:gd name="connsiteY0" fmla="*/ 0 h 49898"/>
                  <a:gd name="connsiteX1" fmla="*/ 37343 w 118078"/>
                  <a:gd name="connsiteY1" fmla="*/ 0 h 49898"/>
                  <a:gd name="connsiteX2" fmla="*/ 87176 w 118078"/>
                  <a:gd name="connsiteY2" fmla="*/ 49899 h 49898"/>
                  <a:gd name="connsiteX3" fmla="*/ 118078 w 118078"/>
                  <a:gd name="connsiteY3" fmla="*/ 49899 h 49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8078" h="49898">
                    <a:moveTo>
                      <a:pt x="0" y="0"/>
                    </a:moveTo>
                    <a:lnTo>
                      <a:pt x="37343" y="0"/>
                    </a:lnTo>
                    <a:lnTo>
                      <a:pt x="87176" y="49899"/>
                    </a:lnTo>
                    <a:lnTo>
                      <a:pt x="118078" y="49899"/>
                    </a:lnTo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3" name="Forma livre: Forma 32">
                <a:extLst>
                  <a:ext uri="{FF2B5EF4-FFF2-40B4-BE49-F238E27FC236}">
                    <a16:creationId xmlns:a16="http://schemas.microsoft.com/office/drawing/2014/main" id="{8E1BEFCB-8C22-0880-7FB4-D979843C4B91}"/>
                  </a:ext>
                </a:extLst>
              </p:cNvPr>
              <p:cNvSpPr/>
              <p:nvPr/>
            </p:nvSpPr>
            <p:spPr>
              <a:xfrm>
                <a:off x="6191625" y="1665367"/>
                <a:ext cx="81906" cy="44108"/>
              </a:xfrm>
              <a:custGeom>
                <a:avLst/>
                <a:gdLst>
                  <a:gd name="connsiteX0" fmla="*/ 0 w 81906"/>
                  <a:gd name="connsiteY0" fmla="*/ 0 h 44108"/>
                  <a:gd name="connsiteX1" fmla="*/ 37343 w 81906"/>
                  <a:gd name="connsiteY1" fmla="*/ 0 h 44108"/>
                  <a:gd name="connsiteX2" fmla="*/ 81907 w 81906"/>
                  <a:gd name="connsiteY2" fmla="*/ 44109 h 441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1906" h="44108">
                    <a:moveTo>
                      <a:pt x="0" y="0"/>
                    </a:moveTo>
                    <a:lnTo>
                      <a:pt x="37343" y="0"/>
                    </a:lnTo>
                    <a:lnTo>
                      <a:pt x="81907" y="44109"/>
                    </a:lnTo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4" name="Forma livre: Forma 33">
                <a:extLst>
                  <a:ext uri="{FF2B5EF4-FFF2-40B4-BE49-F238E27FC236}">
                    <a16:creationId xmlns:a16="http://schemas.microsoft.com/office/drawing/2014/main" id="{B00BBACE-7CD1-DAB1-7EA8-ED10043F1B58}"/>
                  </a:ext>
                </a:extLst>
              </p:cNvPr>
              <p:cNvSpPr/>
              <p:nvPr/>
            </p:nvSpPr>
            <p:spPr>
              <a:xfrm>
                <a:off x="6265075" y="1701539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22" name="Gráfico 32">
              <a:extLst>
                <a:ext uri="{FF2B5EF4-FFF2-40B4-BE49-F238E27FC236}">
                  <a16:creationId xmlns:a16="http://schemas.microsoft.com/office/drawing/2014/main" id="{12624E47-800A-45EF-5CA1-87F273992CB4}"/>
                </a:ext>
              </a:extLst>
            </p:cNvPr>
            <p:cNvGrpSpPr/>
            <p:nvPr/>
          </p:nvGrpSpPr>
          <p:grpSpPr>
            <a:xfrm>
              <a:off x="6191625" y="1357908"/>
              <a:ext cx="173767" cy="157112"/>
              <a:chOff x="6191625" y="1357908"/>
              <a:chExt cx="173767" cy="157112"/>
            </a:xfrm>
            <a:noFill/>
          </p:grpSpPr>
          <p:sp>
            <p:nvSpPr>
              <p:cNvPr id="27" name="Forma livre: Forma 26">
                <a:extLst>
                  <a:ext uri="{FF2B5EF4-FFF2-40B4-BE49-F238E27FC236}">
                    <a16:creationId xmlns:a16="http://schemas.microsoft.com/office/drawing/2014/main" id="{B0334BE5-FFD7-DE0C-0E28-975A1627B226}"/>
                  </a:ext>
                </a:extLst>
              </p:cNvPr>
              <p:cNvSpPr/>
              <p:nvPr/>
            </p:nvSpPr>
            <p:spPr>
              <a:xfrm>
                <a:off x="6310094" y="1437472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0 h 55298"/>
                  <a:gd name="connsiteX2" fmla="*/ 0 w 55298"/>
                  <a:gd name="connsiteY2" fmla="*/ 27649 h 55298"/>
                  <a:gd name="connsiteX3" fmla="*/ 27649 w 55298"/>
                  <a:gd name="connsiteY3" fmla="*/ 55298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12361"/>
                      <a:pt x="42938" y="0"/>
                      <a:pt x="27649" y="0"/>
                    </a:cubicBezTo>
                    <a:cubicBezTo>
                      <a:pt x="12361" y="0"/>
                      <a:pt x="0" y="12361"/>
                      <a:pt x="0" y="27649"/>
                    </a:cubicBezTo>
                    <a:cubicBezTo>
                      <a:pt x="0" y="42938"/>
                      <a:pt x="12361" y="55298"/>
                      <a:pt x="27649" y="55298"/>
                    </a:cubicBezTo>
                    <a:cubicBezTo>
                      <a:pt x="42938" y="55298"/>
                      <a:pt x="55298" y="42938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8" name="Forma livre: Forma 27">
                <a:extLst>
                  <a:ext uri="{FF2B5EF4-FFF2-40B4-BE49-F238E27FC236}">
                    <a16:creationId xmlns:a16="http://schemas.microsoft.com/office/drawing/2014/main" id="{FBE8AEB4-EDAF-10DA-2799-01A06A2443FA}"/>
                  </a:ext>
                </a:extLst>
              </p:cNvPr>
              <p:cNvSpPr/>
              <p:nvPr/>
            </p:nvSpPr>
            <p:spPr>
              <a:xfrm>
                <a:off x="6191625" y="1465122"/>
                <a:ext cx="118468" cy="49898"/>
              </a:xfrm>
              <a:custGeom>
                <a:avLst/>
                <a:gdLst>
                  <a:gd name="connsiteX0" fmla="*/ 0 w 118468"/>
                  <a:gd name="connsiteY0" fmla="*/ 49899 h 49898"/>
                  <a:gd name="connsiteX1" fmla="*/ 37343 w 118468"/>
                  <a:gd name="connsiteY1" fmla="*/ 49899 h 49898"/>
                  <a:gd name="connsiteX2" fmla="*/ 87176 w 118468"/>
                  <a:gd name="connsiteY2" fmla="*/ 0 h 49898"/>
                  <a:gd name="connsiteX3" fmla="*/ 118469 w 118468"/>
                  <a:gd name="connsiteY3" fmla="*/ 0 h 49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8468" h="49898">
                    <a:moveTo>
                      <a:pt x="0" y="49899"/>
                    </a:moveTo>
                    <a:lnTo>
                      <a:pt x="37343" y="49899"/>
                    </a:lnTo>
                    <a:lnTo>
                      <a:pt x="87176" y="0"/>
                    </a:lnTo>
                    <a:lnTo>
                      <a:pt x="118469" y="0"/>
                    </a:lnTo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9" name="Forma livre: Forma 28">
                <a:extLst>
                  <a:ext uri="{FF2B5EF4-FFF2-40B4-BE49-F238E27FC236}">
                    <a16:creationId xmlns:a16="http://schemas.microsoft.com/office/drawing/2014/main" id="{7C768489-B1D2-5BBE-17B0-0F94C7271EB5}"/>
                  </a:ext>
                </a:extLst>
              </p:cNvPr>
              <p:cNvSpPr/>
              <p:nvPr/>
            </p:nvSpPr>
            <p:spPr>
              <a:xfrm>
                <a:off x="6191625" y="1405269"/>
                <a:ext cx="81451" cy="44043"/>
              </a:xfrm>
              <a:custGeom>
                <a:avLst/>
                <a:gdLst>
                  <a:gd name="connsiteX0" fmla="*/ 0 w 81451"/>
                  <a:gd name="connsiteY0" fmla="*/ 44044 h 44043"/>
                  <a:gd name="connsiteX1" fmla="*/ 37343 w 81451"/>
                  <a:gd name="connsiteY1" fmla="*/ 44044 h 44043"/>
                  <a:gd name="connsiteX2" fmla="*/ 81451 w 81451"/>
                  <a:gd name="connsiteY2" fmla="*/ 0 h 440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1451" h="44043">
                    <a:moveTo>
                      <a:pt x="0" y="44044"/>
                    </a:moveTo>
                    <a:lnTo>
                      <a:pt x="37343" y="44044"/>
                    </a:lnTo>
                    <a:lnTo>
                      <a:pt x="81451" y="0"/>
                    </a:lnTo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0" name="Forma livre: Forma 29">
                <a:extLst>
                  <a:ext uri="{FF2B5EF4-FFF2-40B4-BE49-F238E27FC236}">
                    <a16:creationId xmlns:a16="http://schemas.microsoft.com/office/drawing/2014/main" id="{F345D526-3F73-D50D-4CBB-B87DA2D25F27}"/>
                  </a:ext>
                </a:extLst>
              </p:cNvPr>
              <p:cNvSpPr/>
              <p:nvPr/>
            </p:nvSpPr>
            <p:spPr>
              <a:xfrm>
                <a:off x="6265075" y="1357908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0 h 55298"/>
                  <a:gd name="connsiteX2" fmla="*/ 0 w 55298"/>
                  <a:gd name="connsiteY2" fmla="*/ 27649 h 55298"/>
                  <a:gd name="connsiteX3" fmla="*/ 27649 w 55298"/>
                  <a:gd name="connsiteY3" fmla="*/ 55298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12361"/>
                      <a:pt x="42938" y="0"/>
                      <a:pt x="27649" y="0"/>
                    </a:cubicBezTo>
                    <a:cubicBezTo>
                      <a:pt x="12361" y="0"/>
                      <a:pt x="0" y="12361"/>
                      <a:pt x="0" y="27649"/>
                    </a:cubicBezTo>
                    <a:cubicBezTo>
                      <a:pt x="0" y="42938"/>
                      <a:pt x="12361" y="55298"/>
                      <a:pt x="27649" y="55298"/>
                    </a:cubicBezTo>
                    <a:cubicBezTo>
                      <a:pt x="42938" y="55298"/>
                      <a:pt x="55298" y="42938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23" name="Gráfico 32">
              <a:extLst>
                <a:ext uri="{FF2B5EF4-FFF2-40B4-BE49-F238E27FC236}">
                  <a16:creationId xmlns:a16="http://schemas.microsoft.com/office/drawing/2014/main" id="{F133FAE6-03ED-A785-F4BD-242EB3774733}"/>
                </a:ext>
              </a:extLst>
            </p:cNvPr>
            <p:cNvGrpSpPr/>
            <p:nvPr/>
          </p:nvGrpSpPr>
          <p:grpSpPr>
            <a:xfrm>
              <a:off x="6190910" y="1529723"/>
              <a:ext cx="123673" cy="55298"/>
              <a:chOff x="6190910" y="1529723"/>
              <a:chExt cx="123673" cy="55298"/>
            </a:xfrm>
            <a:noFill/>
          </p:grpSpPr>
          <p:sp>
            <p:nvSpPr>
              <p:cNvPr id="25" name="Forma livre: Forma 24">
                <a:extLst>
                  <a:ext uri="{FF2B5EF4-FFF2-40B4-BE49-F238E27FC236}">
                    <a16:creationId xmlns:a16="http://schemas.microsoft.com/office/drawing/2014/main" id="{1876FD8C-282C-B59E-6A4E-DEB6137D7215}"/>
                  </a:ext>
                </a:extLst>
              </p:cNvPr>
              <p:cNvSpPr/>
              <p:nvPr/>
            </p:nvSpPr>
            <p:spPr>
              <a:xfrm>
                <a:off x="6190910" y="1557372"/>
                <a:ext cx="68765" cy="6505"/>
              </a:xfrm>
              <a:custGeom>
                <a:avLst/>
                <a:gdLst>
                  <a:gd name="connsiteX0" fmla="*/ 0 w 68765"/>
                  <a:gd name="connsiteY0" fmla="*/ 0 h 6505"/>
                  <a:gd name="connsiteX1" fmla="*/ 68765 w 68765"/>
                  <a:gd name="connsiteY1" fmla="*/ 0 h 65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8765" h="6505">
                    <a:moveTo>
                      <a:pt x="0" y="0"/>
                    </a:moveTo>
                    <a:lnTo>
                      <a:pt x="68765" y="0"/>
                    </a:lnTo>
                  </a:path>
                </a:pathLst>
              </a:custGeom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6" name="Forma livre: Forma 25">
                <a:extLst>
                  <a:ext uri="{FF2B5EF4-FFF2-40B4-BE49-F238E27FC236}">
                    <a16:creationId xmlns:a16="http://schemas.microsoft.com/office/drawing/2014/main" id="{6F3062DB-25ED-270C-1932-04D3E1A352BE}"/>
                  </a:ext>
                </a:extLst>
              </p:cNvPr>
              <p:cNvSpPr/>
              <p:nvPr/>
            </p:nvSpPr>
            <p:spPr>
              <a:xfrm>
                <a:off x="6259285" y="1529723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24" name="Forma livre: Forma 23">
              <a:extLst>
                <a:ext uri="{FF2B5EF4-FFF2-40B4-BE49-F238E27FC236}">
                  <a16:creationId xmlns:a16="http://schemas.microsoft.com/office/drawing/2014/main" id="{3820BEDE-3C2D-9AD8-8E3B-3ECC66985FE9}"/>
                </a:ext>
              </a:extLst>
            </p:cNvPr>
            <p:cNvSpPr/>
            <p:nvPr/>
          </p:nvSpPr>
          <p:spPr>
            <a:xfrm>
              <a:off x="6152201" y="1686285"/>
              <a:ext cx="37362" cy="20848"/>
            </a:xfrm>
            <a:custGeom>
              <a:avLst/>
              <a:gdLst>
                <a:gd name="connsiteX0" fmla="*/ 0 w 37362"/>
                <a:gd name="connsiteY0" fmla="*/ 10505 h 20848"/>
                <a:gd name="connsiteX1" fmla="*/ 27064 w 37362"/>
                <a:gd name="connsiteY1" fmla="*/ 2373 h 20848"/>
                <a:gd name="connsiteX2" fmla="*/ 37343 w 37362"/>
                <a:gd name="connsiteY2" fmla="*/ 20849 h 20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7362" h="20848">
                  <a:moveTo>
                    <a:pt x="0" y="10505"/>
                  </a:moveTo>
                  <a:cubicBezTo>
                    <a:pt x="5205" y="811"/>
                    <a:pt x="17435" y="-2832"/>
                    <a:pt x="27064" y="2373"/>
                  </a:cubicBezTo>
                  <a:cubicBezTo>
                    <a:pt x="34025" y="6081"/>
                    <a:pt x="37668" y="13432"/>
                    <a:pt x="37343" y="20849"/>
                  </a:cubicBezTo>
                </a:path>
              </a:pathLst>
            </a:custGeom>
            <a:noFill/>
            <a:ln w="19050" cap="sq">
              <a:solidFill>
                <a:schemeClr val="accent2"/>
              </a:solidFill>
              <a:prstDash val="solid"/>
              <a:miter lim="800000"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41" name="Agrupar 40">
            <a:extLst>
              <a:ext uri="{FF2B5EF4-FFF2-40B4-BE49-F238E27FC236}">
                <a16:creationId xmlns:a16="http://schemas.microsoft.com/office/drawing/2014/main" id="{01293B0F-439A-41F1-B2E0-ECEDD2E03300}"/>
              </a:ext>
            </a:extLst>
          </p:cNvPr>
          <p:cNvGrpSpPr/>
          <p:nvPr/>
        </p:nvGrpSpPr>
        <p:grpSpPr>
          <a:xfrm>
            <a:off x="4961844" y="1916023"/>
            <a:ext cx="459831" cy="502163"/>
            <a:chOff x="6000092" y="1357908"/>
            <a:chExt cx="365300" cy="398929"/>
          </a:xfrm>
        </p:grpSpPr>
        <p:sp>
          <p:nvSpPr>
            <p:cNvPr id="42" name="Forma livre: Forma 41">
              <a:extLst>
                <a:ext uri="{FF2B5EF4-FFF2-40B4-BE49-F238E27FC236}">
                  <a16:creationId xmlns:a16="http://schemas.microsoft.com/office/drawing/2014/main" id="{9C5DCD54-4A8B-3CB4-2D8A-72E4154C486D}"/>
                </a:ext>
              </a:extLst>
            </p:cNvPr>
            <p:cNvSpPr/>
            <p:nvPr/>
          </p:nvSpPr>
          <p:spPr>
            <a:xfrm>
              <a:off x="6000092" y="1418606"/>
              <a:ext cx="84058" cy="286120"/>
            </a:xfrm>
            <a:custGeom>
              <a:avLst/>
              <a:gdLst>
                <a:gd name="connsiteX0" fmla="*/ 51595 w 84058"/>
                <a:gd name="connsiteY0" fmla="*/ 0 h 286120"/>
                <a:gd name="connsiteX1" fmla="*/ 35266 w 84058"/>
                <a:gd name="connsiteY1" fmla="*/ 61674 h 286120"/>
                <a:gd name="connsiteX2" fmla="*/ 28760 w 84058"/>
                <a:gd name="connsiteY2" fmla="*/ 193415 h 286120"/>
                <a:gd name="connsiteX3" fmla="*/ 84059 w 84058"/>
                <a:gd name="connsiteY3" fmla="*/ 286121 h 2861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4058" h="286120">
                  <a:moveTo>
                    <a:pt x="51595" y="0"/>
                  </a:moveTo>
                  <a:cubicBezTo>
                    <a:pt x="37868" y="7872"/>
                    <a:pt x="26028" y="24852"/>
                    <a:pt x="35266" y="61674"/>
                  </a:cubicBezTo>
                  <a:cubicBezTo>
                    <a:pt x="35266" y="61674"/>
                    <a:pt x="-39549" y="126731"/>
                    <a:pt x="28760" y="193415"/>
                  </a:cubicBezTo>
                  <a:cubicBezTo>
                    <a:pt x="28760" y="193415"/>
                    <a:pt x="9243" y="281242"/>
                    <a:pt x="84059" y="286121"/>
                  </a:cubicBezTo>
                </a:path>
              </a:pathLst>
            </a:custGeom>
            <a:noFill/>
            <a:ln w="19050" cap="sq">
              <a:solidFill>
                <a:schemeClr val="accent2"/>
              </a:solidFill>
              <a:prstDash val="solid"/>
              <a:miter lim="800000"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43" name="Gráfico 32">
              <a:extLst>
                <a:ext uri="{FF2B5EF4-FFF2-40B4-BE49-F238E27FC236}">
                  <a16:creationId xmlns:a16="http://schemas.microsoft.com/office/drawing/2014/main" id="{3EF4222A-8999-3989-4429-1D4FD2EB139D}"/>
                </a:ext>
              </a:extLst>
            </p:cNvPr>
            <p:cNvGrpSpPr/>
            <p:nvPr/>
          </p:nvGrpSpPr>
          <p:grpSpPr>
            <a:xfrm>
              <a:off x="6061121" y="1359924"/>
              <a:ext cx="128487" cy="396366"/>
              <a:chOff x="6061121" y="1359924"/>
              <a:chExt cx="128487" cy="396366"/>
            </a:xfrm>
            <a:noFill/>
          </p:grpSpPr>
          <p:sp>
            <p:nvSpPr>
              <p:cNvPr id="58" name="Forma livre: Forma 57">
                <a:extLst>
                  <a:ext uri="{FF2B5EF4-FFF2-40B4-BE49-F238E27FC236}">
                    <a16:creationId xmlns:a16="http://schemas.microsoft.com/office/drawing/2014/main" id="{D39E095D-77F3-4F15-9C55-80E5E8F68447}"/>
                  </a:ext>
                </a:extLst>
              </p:cNvPr>
              <p:cNvSpPr/>
              <p:nvPr/>
            </p:nvSpPr>
            <p:spPr>
              <a:xfrm>
                <a:off x="6083891" y="1359924"/>
                <a:ext cx="105717" cy="396366"/>
              </a:xfrm>
              <a:custGeom>
                <a:avLst/>
                <a:gdLst>
                  <a:gd name="connsiteX0" fmla="*/ 52891 w 105717"/>
                  <a:gd name="connsiteY0" fmla="*/ 105718 h 396366"/>
                  <a:gd name="connsiteX1" fmla="*/ 0 w 105717"/>
                  <a:gd name="connsiteY1" fmla="*/ 52891 h 396366"/>
                  <a:gd name="connsiteX2" fmla="*/ 52891 w 105717"/>
                  <a:gd name="connsiteY2" fmla="*/ 0 h 396366"/>
                  <a:gd name="connsiteX3" fmla="*/ 105718 w 105717"/>
                  <a:gd name="connsiteY3" fmla="*/ 52826 h 396366"/>
                  <a:gd name="connsiteX4" fmla="*/ 105718 w 105717"/>
                  <a:gd name="connsiteY4" fmla="*/ 346884 h 396366"/>
                  <a:gd name="connsiteX5" fmla="*/ 80606 w 105717"/>
                  <a:gd name="connsiteY5" fmla="*/ 388911 h 396366"/>
                  <a:gd name="connsiteX6" fmla="*/ 9238 w 105717"/>
                  <a:gd name="connsiteY6" fmla="*/ 371150 h 396366"/>
                  <a:gd name="connsiteX7" fmla="*/ 15484 w 105717"/>
                  <a:gd name="connsiteY7" fmla="*/ 309216 h 396366"/>
                  <a:gd name="connsiteX8" fmla="*/ 45019 w 105717"/>
                  <a:gd name="connsiteY8" fmla="*/ 277078 h 3963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05717" h="396366">
                    <a:moveTo>
                      <a:pt x="52891" y="105718"/>
                    </a:moveTo>
                    <a:cubicBezTo>
                      <a:pt x="23681" y="105718"/>
                      <a:pt x="0" y="82037"/>
                      <a:pt x="0" y="52891"/>
                    </a:cubicBezTo>
                    <a:cubicBezTo>
                      <a:pt x="0" y="23746"/>
                      <a:pt x="23681" y="0"/>
                      <a:pt x="52891" y="0"/>
                    </a:cubicBezTo>
                    <a:cubicBezTo>
                      <a:pt x="82102" y="0"/>
                      <a:pt x="105718" y="23681"/>
                      <a:pt x="105718" y="52826"/>
                    </a:cubicBezTo>
                    <a:lnTo>
                      <a:pt x="105718" y="346884"/>
                    </a:lnTo>
                    <a:cubicBezTo>
                      <a:pt x="105718" y="364580"/>
                      <a:pt x="96414" y="379413"/>
                      <a:pt x="80606" y="388911"/>
                    </a:cubicBezTo>
                    <a:cubicBezTo>
                      <a:pt x="55949" y="403744"/>
                      <a:pt x="24006" y="395742"/>
                      <a:pt x="9238" y="371150"/>
                    </a:cubicBezTo>
                    <a:cubicBezTo>
                      <a:pt x="-2928" y="350918"/>
                      <a:pt x="260" y="325741"/>
                      <a:pt x="15484" y="309216"/>
                    </a:cubicBezTo>
                    <a:lnTo>
                      <a:pt x="45019" y="277078"/>
                    </a:lnTo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9" name="Forma livre: Forma 58">
                <a:extLst>
                  <a:ext uri="{FF2B5EF4-FFF2-40B4-BE49-F238E27FC236}">
                    <a16:creationId xmlns:a16="http://schemas.microsoft.com/office/drawing/2014/main" id="{FE364C85-0411-A959-930A-AE03C3D657B1}"/>
                  </a:ext>
                </a:extLst>
              </p:cNvPr>
              <p:cNvSpPr/>
              <p:nvPr/>
            </p:nvSpPr>
            <p:spPr>
              <a:xfrm>
                <a:off x="6144784" y="1383865"/>
                <a:ext cx="41563" cy="38963"/>
              </a:xfrm>
              <a:custGeom>
                <a:avLst/>
                <a:gdLst>
                  <a:gd name="connsiteX0" fmla="*/ 36172 w 41563"/>
                  <a:gd name="connsiteY0" fmla="*/ 0 h 38963"/>
                  <a:gd name="connsiteX1" fmla="*/ 39425 w 41563"/>
                  <a:gd name="connsiteY1" fmla="*/ 24266 h 38963"/>
                  <a:gd name="connsiteX2" fmla="*/ 36432 w 41563"/>
                  <a:gd name="connsiteY2" fmla="*/ 29080 h 38963"/>
                  <a:gd name="connsiteX3" fmla="*/ 0 w 41563"/>
                  <a:gd name="connsiteY3" fmla="*/ 33439 h 389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563" h="38963">
                    <a:moveTo>
                      <a:pt x="36172" y="0"/>
                    </a:moveTo>
                    <a:cubicBezTo>
                      <a:pt x="41571" y="7547"/>
                      <a:pt x="43393" y="16004"/>
                      <a:pt x="39425" y="24266"/>
                    </a:cubicBezTo>
                    <a:cubicBezTo>
                      <a:pt x="38644" y="25893"/>
                      <a:pt x="37603" y="27519"/>
                      <a:pt x="36432" y="29080"/>
                    </a:cubicBezTo>
                    <a:cubicBezTo>
                      <a:pt x="27584" y="40270"/>
                      <a:pt x="11190" y="42287"/>
                      <a:pt x="0" y="33439"/>
                    </a:cubicBezTo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60" name="Forma livre: Forma 59">
                <a:extLst>
                  <a:ext uri="{FF2B5EF4-FFF2-40B4-BE49-F238E27FC236}">
                    <a16:creationId xmlns:a16="http://schemas.microsoft.com/office/drawing/2014/main" id="{E941FC69-FFC9-B6BC-615B-7F872BE37881}"/>
                  </a:ext>
                </a:extLst>
              </p:cNvPr>
              <p:cNvSpPr/>
              <p:nvPr/>
            </p:nvSpPr>
            <p:spPr>
              <a:xfrm>
                <a:off x="6081487" y="1460806"/>
                <a:ext cx="34217" cy="54474"/>
              </a:xfrm>
              <a:custGeom>
                <a:avLst/>
                <a:gdLst>
                  <a:gd name="connsiteX0" fmla="*/ 21076 w 34217"/>
                  <a:gd name="connsiteY0" fmla="*/ 54475 h 54474"/>
                  <a:gd name="connsiteX1" fmla="*/ 778 w 34217"/>
                  <a:gd name="connsiteY1" fmla="*/ 21035 h 54474"/>
                  <a:gd name="connsiteX2" fmla="*/ 34217 w 34217"/>
                  <a:gd name="connsiteY2" fmla="*/ 803 h 544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4217" h="54474">
                    <a:moveTo>
                      <a:pt x="21076" y="54475"/>
                    </a:moveTo>
                    <a:cubicBezTo>
                      <a:pt x="6308" y="50832"/>
                      <a:pt x="-2800" y="35803"/>
                      <a:pt x="778" y="21035"/>
                    </a:cubicBezTo>
                    <a:cubicBezTo>
                      <a:pt x="4421" y="6267"/>
                      <a:pt x="19449" y="-2841"/>
                      <a:pt x="34217" y="803"/>
                    </a:cubicBezTo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61" name="Forma livre: Forma 60">
                <a:extLst>
                  <a:ext uri="{FF2B5EF4-FFF2-40B4-BE49-F238E27FC236}">
                    <a16:creationId xmlns:a16="http://schemas.microsoft.com/office/drawing/2014/main" id="{8F28E703-D331-69DE-1115-F7F9BB2CCA64}"/>
                  </a:ext>
                </a:extLst>
              </p:cNvPr>
              <p:cNvSpPr/>
              <p:nvPr/>
            </p:nvSpPr>
            <p:spPr>
              <a:xfrm>
                <a:off x="6073547" y="1527543"/>
                <a:ext cx="114760" cy="72506"/>
              </a:xfrm>
              <a:custGeom>
                <a:avLst/>
                <a:gdLst>
                  <a:gd name="connsiteX0" fmla="*/ 114760 w 114760"/>
                  <a:gd name="connsiteY0" fmla="*/ 7254 h 72506"/>
                  <a:gd name="connsiteX1" fmla="*/ 73905 w 114760"/>
                  <a:gd name="connsiteY1" fmla="*/ 8881 h 72506"/>
                  <a:gd name="connsiteX2" fmla="*/ 0 w 114760"/>
                  <a:gd name="connsiteY2" fmla="*/ 72506 h 725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14760" h="72506">
                    <a:moveTo>
                      <a:pt x="114760" y="7254"/>
                    </a:moveTo>
                    <a:cubicBezTo>
                      <a:pt x="103375" y="-2830"/>
                      <a:pt x="83989" y="-2504"/>
                      <a:pt x="73905" y="8881"/>
                    </a:cubicBezTo>
                    <a:cubicBezTo>
                      <a:pt x="73905" y="8881"/>
                      <a:pt x="31488" y="72506"/>
                      <a:pt x="0" y="72506"/>
                    </a:cubicBezTo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62" name="Forma livre: Forma 61">
                <a:extLst>
                  <a:ext uri="{FF2B5EF4-FFF2-40B4-BE49-F238E27FC236}">
                    <a16:creationId xmlns:a16="http://schemas.microsoft.com/office/drawing/2014/main" id="{16E4D4EB-75A9-E139-9F40-01D897E72784}"/>
                  </a:ext>
                </a:extLst>
              </p:cNvPr>
              <p:cNvSpPr/>
              <p:nvPr/>
            </p:nvSpPr>
            <p:spPr>
              <a:xfrm>
                <a:off x="6079857" y="1646956"/>
                <a:ext cx="29405" cy="9823"/>
              </a:xfrm>
              <a:custGeom>
                <a:avLst/>
                <a:gdLst>
                  <a:gd name="connsiteX0" fmla="*/ 0 w 29405"/>
                  <a:gd name="connsiteY0" fmla="*/ 0 h 9823"/>
                  <a:gd name="connsiteX1" fmla="*/ 29406 w 29405"/>
                  <a:gd name="connsiteY1" fmla="*/ 9824 h 98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9405" h="9823">
                    <a:moveTo>
                      <a:pt x="0" y="0"/>
                    </a:moveTo>
                    <a:lnTo>
                      <a:pt x="29406" y="9824"/>
                    </a:lnTo>
                  </a:path>
                </a:pathLst>
              </a:custGeom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63" name="Forma livre: Forma 62">
                <a:extLst>
                  <a:ext uri="{FF2B5EF4-FFF2-40B4-BE49-F238E27FC236}">
                    <a16:creationId xmlns:a16="http://schemas.microsoft.com/office/drawing/2014/main" id="{57C455F5-27F9-FEFD-4AED-CAD84F72439E}"/>
                  </a:ext>
                </a:extLst>
              </p:cNvPr>
              <p:cNvSpPr/>
              <p:nvPr/>
            </p:nvSpPr>
            <p:spPr>
              <a:xfrm>
                <a:off x="6061121" y="1545272"/>
                <a:ext cx="47166" cy="34154"/>
              </a:xfrm>
              <a:custGeom>
                <a:avLst/>
                <a:gdLst>
                  <a:gd name="connsiteX0" fmla="*/ 0 w 47166"/>
                  <a:gd name="connsiteY0" fmla="*/ 0 h 34154"/>
                  <a:gd name="connsiteX1" fmla="*/ 47166 w 47166"/>
                  <a:gd name="connsiteY1" fmla="*/ 34155 h 341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166" h="34154">
                    <a:moveTo>
                      <a:pt x="0" y="0"/>
                    </a:moveTo>
                    <a:cubicBezTo>
                      <a:pt x="0" y="0"/>
                      <a:pt x="27649" y="13011"/>
                      <a:pt x="47166" y="34155"/>
                    </a:cubicBezTo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44" name="Gráfico 32">
              <a:extLst>
                <a:ext uri="{FF2B5EF4-FFF2-40B4-BE49-F238E27FC236}">
                  <a16:creationId xmlns:a16="http://schemas.microsoft.com/office/drawing/2014/main" id="{258057D4-12E3-275A-6BC8-22115AF91BD4}"/>
                </a:ext>
              </a:extLst>
            </p:cNvPr>
            <p:cNvGrpSpPr/>
            <p:nvPr/>
          </p:nvGrpSpPr>
          <p:grpSpPr>
            <a:xfrm>
              <a:off x="6191625" y="1599725"/>
              <a:ext cx="173767" cy="157112"/>
              <a:chOff x="6191625" y="1599725"/>
              <a:chExt cx="173767" cy="157112"/>
            </a:xfrm>
            <a:noFill/>
          </p:grpSpPr>
          <p:sp>
            <p:nvSpPr>
              <p:cNvPr id="54" name="Forma livre: Forma 53">
                <a:extLst>
                  <a:ext uri="{FF2B5EF4-FFF2-40B4-BE49-F238E27FC236}">
                    <a16:creationId xmlns:a16="http://schemas.microsoft.com/office/drawing/2014/main" id="{E9FA5684-015B-D36F-26CD-B54FD25CC2F0}"/>
                  </a:ext>
                </a:extLst>
              </p:cNvPr>
              <p:cNvSpPr/>
              <p:nvPr/>
            </p:nvSpPr>
            <p:spPr>
              <a:xfrm>
                <a:off x="6310094" y="1621974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5" name="Forma livre: Forma 54">
                <a:extLst>
                  <a:ext uri="{FF2B5EF4-FFF2-40B4-BE49-F238E27FC236}">
                    <a16:creationId xmlns:a16="http://schemas.microsoft.com/office/drawing/2014/main" id="{35781F98-EEAA-F408-F627-C6D8064F2137}"/>
                  </a:ext>
                </a:extLst>
              </p:cNvPr>
              <p:cNvSpPr/>
              <p:nvPr/>
            </p:nvSpPr>
            <p:spPr>
              <a:xfrm>
                <a:off x="6191625" y="1599725"/>
                <a:ext cx="118078" cy="49898"/>
              </a:xfrm>
              <a:custGeom>
                <a:avLst/>
                <a:gdLst>
                  <a:gd name="connsiteX0" fmla="*/ 0 w 118078"/>
                  <a:gd name="connsiteY0" fmla="*/ 0 h 49898"/>
                  <a:gd name="connsiteX1" fmla="*/ 37343 w 118078"/>
                  <a:gd name="connsiteY1" fmla="*/ 0 h 49898"/>
                  <a:gd name="connsiteX2" fmla="*/ 87176 w 118078"/>
                  <a:gd name="connsiteY2" fmla="*/ 49899 h 49898"/>
                  <a:gd name="connsiteX3" fmla="*/ 118078 w 118078"/>
                  <a:gd name="connsiteY3" fmla="*/ 49899 h 49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8078" h="49898">
                    <a:moveTo>
                      <a:pt x="0" y="0"/>
                    </a:moveTo>
                    <a:lnTo>
                      <a:pt x="37343" y="0"/>
                    </a:lnTo>
                    <a:lnTo>
                      <a:pt x="87176" y="49899"/>
                    </a:lnTo>
                    <a:lnTo>
                      <a:pt x="118078" y="49899"/>
                    </a:lnTo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6" name="Forma livre: Forma 55">
                <a:extLst>
                  <a:ext uri="{FF2B5EF4-FFF2-40B4-BE49-F238E27FC236}">
                    <a16:creationId xmlns:a16="http://schemas.microsoft.com/office/drawing/2014/main" id="{EDA6D9AE-5195-4A6A-2C95-9647C8B25C55}"/>
                  </a:ext>
                </a:extLst>
              </p:cNvPr>
              <p:cNvSpPr/>
              <p:nvPr/>
            </p:nvSpPr>
            <p:spPr>
              <a:xfrm>
                <a:off x="6191625" y="1665367"/>
                <a:ext cx="81906" cy="44108"/>
              </a:xfrm>
              <a:custGeom>
                <a:avLst/>
                <a:gdLst>
                  <a:gd name="connsiteX0" fmla="*/ 0 w 81906"/>
                  <a:gd name="connsiteY0" fmla="*/ 0 h 44108"/>
                  <a:gd name="connsiteX1" fmla="*/ 37343 w 81906"/>
                  <a:gd name="connsiteY1" fmla="*/ 0 h 44108"/>
                  <a:gd name="connsiteX2" fmla="*/ 81907 w 81906"/>
                  <a:gd name="connsiteY2" fmla="*/ 44109 h 441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1906" h="44108">
                    <a:moveTo>
                      <a:pt x="0" y="0"/>
                    </a:moveTo>
                    <a:lnTo>
                      <a:pt x="37343" y="0"/>
                    </a:lnTo>
                    <a:lnTo>
                      <a:pt x="81907" y="44109"/>
                    </a:lnTo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7" name="Forma livre: Forma 56">
                <a:extLst>
                  <a:ext uri="{FF2B5EF4-FFF2-40B4-BE49-F238E27FC236}">
                    <a16:creationId xmlns:a16="http://schemas.microsoft.com/office/drawing/2014/main" id="{09C1C349-7D9E-7702-6D69-392EDB35FE39}"/>
                  </a:ext>
                </a:extLst>
              </p:cNvPr>
              <p:cNvSpPr/>
              <p:nvPr/>
            </p:nvSpPr>
            <p:spPr>
              <a:xfrm>
                <a:off x="6265075" y="1701539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45" name="Gráfico 32">
              <a:extLst>
                <a:ext uri="{FF2B5EF4-FFF2-40B4-BE49-F238E27FC236}">
                  <a16:creationId xmlns:a16="http://schemas.microsoft.com/office/drawing/2014/main" id="{ABA1A478-154D-A8FB-D9AC-A3C0E087E879}"/>
                </a:ext>
              </a:extLst>
            </p:cNvPr>
            <p:cNvGrpSpPr/>
            <p:nvPr/>
          </p:nvGrpSpPr>
          <p:grpSpPr>
            <a:xfrm>
              <a:off x="6191625" y="1357908"/>
              <a:ext cx="173767" cy="157112"/>
              <a:chOff x="6191625" y="1357908"/>
              <a:chExt cx="173767" cy="157112"/>
            </a:xfrm>
            <a:noFill/>
          </p:grpSpPr>
          <p:sp>
            <p:nvSpPr>
              <p:cNvPr id="50" name="Forma livre: Forma 49">
                <a:extLst>
                  <a:ext uri="{FF2B5EF4-FFF2-40B4-BE49-F238E27FC236}">
                    <a16:creationId xmlns:a16="http://schemas.microsoft.com/office/drawing/2014/main" id="{2CC07954-65EB-2F95-C3DD-8D27C6EC288E}"/>
                  </a:ext>
                </a:extLst>
              </p:cNvPr>
              <p:cNvSpPr/>
              <p:nvPr/>
            </p:nvSpPr>
            <p:spPr>
              <a:xfrm>
                <a:off x="6310094" y="1437472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0 h 55298"/>
                  <a:gd name="connsiteX2" fmla="*/ 0 w 55298"/>
                  <a:gd name="connsiteY2" fmla="*/ 27649 h 55298"/>
                  <a:gd name="connsiteX3" fmla="*/ 27649 w 55298"/>
                  <a:gd name="connsiteY3" fmla="*/ 55298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12361"/>
                      <a:pt x="42938" y="0"/>
                      <a:pt x="27649" y="0"/>
                    </a:cubicBezTo>
                    <a:cubicBezTo>
                      <a:pt x="12361" y="0"/>
                      <a:pt x="0" y="12361"/>
                      <a:pt x="0" y="27649"/>
                    </a:cubicBezTo>
                    <a:cubicBezTo>
                      <a:pt x="0" y="42938"/>
                      <a:pt x="12361" y="55298"/>
                      <a:pt x="27649" y="55298"/>
                    </a:cubicBezTo>
                    <a:cubicBezTo>
                      <a:pt x="42938" y="55298"/>
                      <a:pt x="55298" y="42938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1" name="Forma livre: Forma 50">
                <a:extLst>
                  <a:ext uri="{FF2B5EF4-FFF2-40B4-BE49-F238E27FC236}">
                    <a16:creationId xmlns:a16="http://schemas.microsoft.com/office/drawing/2014/main" id="{29CAE10C-512B-792E-8A3E-431196CBC70C}"/>
                  </a:ext>
                </a:extLst>
              </p:cNvPr>
              <p:cNvSpPr/>
              <p:nvPr/>
            </p:nvSpPr>
            <p:spPr>
              <a:xfrm>
                <a:off x="6191625" y="1465122"/>
                <a:ext cx="118468" cy="49898"/>
              </a:xfrm>
              <a:custGeom>
                <a:avLst/>
                <a:gdLst>
                  <a:gd name="connsiteX0" fmla="*/ 0 w 118468"/>
                  <a:gd name="connsiteY0" fmla="*/ 49899 h 49898"/>
                  <a:gd name="connsiteX1" fmla="*/ 37343 w 118468"/>
                  <a:gd name="connsiteY1" fmla="*/ 49899 h 49898"/>
                  <a:gd name="connsiteX2" fmla="*/ 87176 w 118468"/>
                  <a:gd name="connsiteY2" fmla="*/ 0 h 49898"/>
                  <a:gd name="connsiteX3" fmla="*/ 118469 w 118468"/>
                  <a:gd name="connsiteY3" fmla="*/ 0 h 49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8468" h="49898">
                    <a:moveTo>
                      <a:pt x="0" y="49899"/>
                    </a:moveTo>
                    <a:lnTo>
                      <a:pt x="37343" y="49899"/>
                    </a:lnTo>
                    <a:lnTo>
                      <a:pt x="87176" y="0"/>
                    </a:lnTo>
                    <a:lnTo>
                      <a:pt x="118469" y="0"/>
                    </a:lnTo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2" name="Forma livre: Forma 51">
                <a:extLst>
                  <a:ext uri="{FF2B5EF4-FFF2-40B4-BE49-F238E27FC236}">
                    <a16:creationId xmlns:a16="http://schemas.microsoft.com/office/drawing/2014/main" id="{787A5AF2-1876-1CB1-26D6-EAA5F0AD0852}"/>
                  </a:ext>
                </a:extLst>
              </p:cNvPr>
              <p:cNvSpPr/>
              <p:nvPr/>
            </p:nvSpPr>
            <p:spPr>
              <a:xfrm>
                <a:off x="6191625" y="1405269"/>
                <a:ext cx="81451" cy="44043"/>
              </a:xfrm>
              <a:custGeom>
                <a:avLst/>
                <a:gdLst>
                  <a:gd name="connsiteX0" fmla="*/ 0 w 81451"/>
                  <a:gd name="connsiteY0" fmla="*/ 44044 h 44043"/>
                  <a:gd name="connsiteX1" fmla="*/ 37343 w 81451"/>
                  <a:gd name="connsiteY1" fmla="*/ 44044 h 44043"/>
                  <a:gd name="connsiteX2" fmla="*/ 81451 w 81451"/>
                  <a:gd name="connsiteY2" fmla="*/ 0 h 440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1451" h="44043">
                    <a:moveTo>
                      <a:pt x="0" y="44044"/>
                    </a:moveTo>
                    <a:lnTo>
                      <a:pt x="37343" y="44044"/>
                    </a:lnTo>
                    <a:lnTo>
                      <a:pt x="81451" y="0"/>
                    </a:lnTo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3" name="Forma livre: Forma 52">
                <a:extLst>
                  <a:ext uri="{FF2B5EF4-FFF2-40B4-BE49-F238E27FC236}">
                    <a16:creationId xmlns:a16="http://schemas.microsoft.com/office/drawing/2014/main" id="{AF9A71B9-3A0C-6D3F-4AD7-51D9A141C61D}"/>
                  </a:ext>
                </a:extLst>
              </p:cNvPr>
              <p:cNvSpPr/>
              <p:nvPr/>
            </p:nvSpPr>
            <p:spPr>
              <a:xfrm>
                <a:off x="6265075" y="1357908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0 h 55298"/>
                  <a:gd name="connsiteX2" fmla="*/ 0 w 55298"/>
                  <a:gd name="connsiteY2" fmla="*/ 27649 h 55298"/>
                  <a:gd name="connsiteX3" fmla="*/ 27649 w 55298"/>
                  <a:gd name="connsiteY3" fmla="*/ 55298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12361"/>
                      <a:pt x="42938" y="0"/>
                      <a:pt x="27649" y="0"/>
                    </a:cubicBezTo>
                    <a:cubicBezTo>
                      <a:pt x="12361" y="0"/>
                      <a:pt x="0" y="12361"/>
                      <a:pt x="0" y="27649"/>
                    </a:cubicBezTo>
                    <a:cubicBezTo>
                      <a:pt x="0" y="42938"/>
                      <a:pt x="12361" y="55298"/>
                      <a:pt x="27649" y="55298"/>
                    </a:cubicBezTo>
                    <a:cubicBezTo>
                      <a:pt x="42938" y="55298"/>
                      <a:pt x="55298" y="42938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46" name="Gráfico 32">
              <a:extLst>
                <a:ext uri="{FF2B5EF4-FFF2-40B4-BE49-F238E27FC236}">
                  <a16:creationId xmlns:a16="http://schemas.microsoft.com/office/drawing/2014/main" id="{D3F65A20-29CB-FC13-426C-61F2459462A5}"/>
                </a:ext>
              </a:extLst>
            </p:cNvPr>
            <p:cNvGrpSpPr/>
            <p:nvPr/>
          </p:nvGrpSpPr>
          <p:grpSpPr>
            <a:xfrm>
              <a:off x="6190910" y="1529723"/>
              <a:ext cx="123673" cy="55298"/>
              <a:chOff x="6190910" y="1529723"/>
              <a:chExt cx="123673" cy="55298"/>
            </a:xfrm>
            <a:noFill/>
          </p:grpSpPr>
          <p:sp>
            <p:nvSpPr>
              <p:cNvPr id="48" name="Forma livre: Forma 47">
                <a:extLst>
                  <a:ext uri="{FF2B5EF4-FFF2-40B4-BE49-F238E27FC236}">
                    <a16:creationId xmlns:a16="http://schemas.microsoft.com/office/drawing/2014/main" id="{A6809997-4FCC-C892-6689-A930D4F7CF00}"/>
                  </a:ext>
                </a:extLst>
              </p:cNvPr>
              <p:cNvSpPr/>
              <p:nvPr/>
            </p:nvSpPr>
            <p:spPr>
              <a:xfrm>
                <a:off x="6190910" y="1557372"/>
                <a:ext cx="68765" cy="6505"/>
              </a:xfrm>
              <a:custGeom>
                <a:avLst/>
                <a:gdLst>
                  <a:gd name="connsiteX0" fmla="*/ 0 w 68765"/>
                  <a:gd name="connsiteY0" fmla="*/ 0 h 6505"/>
                  <a:gd name="connsiteX1" fmla="*/ 68765 w 68765"/>
                  <a:gd name="connsiteY1" fmla="*/ 0 h 65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8765" h="6505">
                    <a:moveTo>
                      <a:pt x="0" y="0"/>
                    </a:moveTo>
                    <a:lnTo>
                      <a:pt x="68765" y="0"/>
                    </a:lnTo>
                  </a:path>
                </a:pathLst>
              </a:custGeom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9" name="Forma livre: Forma 48">
                <a:extLst>
                  <a:ext uri="{FF2B5EF4-FFF2-40B4-BE49-F238E27FC236}">
                    <a16:creationId xmlns:a16="http://schemas.microsoft.com/office/drawing/2014/main" id="{28917708-6FB1-B7D0-08F6-18328CF3568F}"/>
                  </a:ext>
                </a:extLst>
              </p:cNvPr>
              <p:cNvSpPr/>
              <p:nvPr/>
            </p:nvSpPr>
            <p:spPr>
              <a:xfrm>
                <a:off x="6259285" y="1529723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47" name="Forma livre: Forma 46">
              <a:extLst>
                <a:ext uri="{FF2B5EF4-FFF2-40B4-BE49-F238E27FC236}">
                  <a16:creationId xmlns:a16="http://schemas.microsoft.com/office/drawing/2014/main" id="{10BD1BBB-65DC-4B1C-28B6-A60767F8BBD6}"/>
                </a:ext>
              </a:extLst>
            </p:cNvPr>
            <p:cNvSpPr/>
            <p:nvPr/>
          </p:nvSpPr>
          <p:spPr>
            <a:xfrm>
              <a:off x="6152201" y="1686285"/>
              <a:ext cx="37362" cy="20848"/>
            </a:xfrm>
            <a:custGeom>
              <a:avLst/>
              <a:gdLst>
                <a:gd name="connsiteX0" fmla="*/ 0 w 37362"/>
                <a:gd name="connsiteY0" fmla="*/ 10505 h 20848"/>
                <a:gd name="connsiteX1" fmla="*/ 27064 w 37362"/>
                <a:gd name="connsiteY1" fmla="*/ 2373 h 20848"/>
                <a:gd name="connsiteX2" fmla="*/ 37343 w 37362"/>
                <a:gd name="connsiteY2" fmla="*/ 20849 h 20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7362" h="20848">
                  <a:moveTo>
                    <a:pt x="0" y="10505"/>
                  </a:moveTo>
                  <a:cubicBezTo>
                    <a:pt x="5205" y="811"/>
                    <a:pt x="17435" y="-2832"/>
                    <a:pt x="27064" y="2373"/>
                  </a:cubicBezTo>
                  <a:cubicBezTo>
                    <a:pt x="34025" y="6081"/>
                    <a:pt x="37668" y="13432"/>
                    <a:pt x="37343" y="20849"/>
                  </a:cubicBezTo>
                </a:path>
              </a:pathLst>
            </a:custGeom>
            <a:noFill/>
            <a:ln w="19050" cap="sq">
              <a:solidFill>
                <a:schemeClr val="accent2"/>
              </a:solidFill>
              <a:prstDash val="solid"/>
              <a:miter lim="800000"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64" name="Agrupar 63">
            <a:extLst>
              <a:ext uri="{FF2B5EF4-FFF2-40B4-BE49-F238E27FC236}">
                <a16:creationId xmlns:a16="http://schemas.microsoft.com/office/drawing/2014/main" id="{A122AA25-8B26-FA2A-DA3D-226CCDADCFAC}"/>
              </a:ext>
            </a:extLst>
          </p:cNvPr>
          <p:cNvGrpSpPr/>
          <p:nvPr/>
        </p:nvGrpSpPr>
        <p:grpSpPr>
          <a:xfrm>
            <a:off x="8731204" y="1916023"/>
            <a:ext cx="459831" cy="502163"/>
            <a:chOff x="6000092" y="1357908"/>
            <a:chExt cx="365300" cy="398929"/>
          </a:xfrm>
        </p:grpSpPr>
        <p:sp>
          <p:nvSpPr>
            <p:cNvPr id="65" name="Forma livre: Forma 64">
              <a:extLst>
                <a:ext uri="{FF2B5EF4-FFF2-40B4-BE49-F238E27FC236}">
                  <a16:creationId xmlns:a16="http://schemas.microsoft.com/office/drawing/2014/main" id="{7CAF73BB-4F37-128C-B500-6168FAA5891D}"/>
                </a:ext>
              </a:extLst>
            </p:cNvPr>
            <p:cNvSpPr/>
            <p:nvPr/>
          </p:nvSpPr>
          <p:spPr>
            <a:xfrm>
              <a:off x="6000092" y="1418606"/>
              <a:ext cx="84058" cy="286120"/>
            </a:xfrm>
            <a:custGeom>
              <a:avLst/>
              <a:gdLst>
                <a:gd name="connsiteX0" fmla="*/ 51595 w 84058"/>
                <a:gd name="connsiteY0" fmla="*/ 0 h 286120"/>
                <a:gd name="connsiteX1" fmla="*/ 35266 w 84058"/>
                <a:gd name="connsiteY1" fmla="*/ 61674 h 286120"/>
                <a:gd name="connsiteX2" fmla="*/ 28760 w 84058"/>
                <a:gd name="connsiteY2" fmla="*/ 193415 h 286120"/>
                <a:gd name="connsiteX3" fmla="*/ 84059 w 84058"/>
                <a:gd name="connsiteY3" fmla="*/ 286121 h 2861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4058" h="286120">
                  <a:moveTo>
                    <a:pt x="51595" y="0"/>
                  </a:moveTo>
                  <a:cubicBezTo>
                    <a:pt x="37868" y="7872"/>
                    <a:pt x="26028" y="24852"/>
                    <a:pt x="35266" y="61674"/>
                  </a:cubicBezTo>
                  <a:cubicBezTo>
                    <a:pt x="35266" y="61674"/>
                    <a:pt x="-39549" y="126731"/>
                    <a:pt x="28760" y="193415"/>
                  </a:cubicBezTo>
                  <a:cubicBezTo>
                    <a:pt x="28760" y="193415"/>
                    <a:pt x="9243" y="281242"/>
                    <a:pt x="84059" y="286121"/>
                  </a:cubicBezTo>
                </a:path>
              </a:pathLst>
            </a:custGeom>
            <a:noFill/>
            <a:ln w="19050" cap="sq">
              <a:solidFill>
                <a:schemeClr val="accent2"/>
              </a:solidFill>
              <a:prstDash val="solid"/>
              <a:miter lim="800000"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66" name="Gráfico 32">
              <a:extLst>
                <a:ext uri="{FF2B5EF4-FFF2-40B4-BE49-F238E27FC236}">
                  <a16:creationId xmlns:a16="http://schemas.microsoft.com/office/drawing/2014/main" id="{96370100-FF53-BA04-8D6B-C2730F789200}"/>
                </a:ext>
              </a:extLst>
            </p:cNvPr>
            <p:cNvGrpSpPr/>
            <p:nvPr/>
          </p:nvGrpSpPr>
          <p:grpSpPr>
            <a:xfrm>
              <a:off x="6061121" y="1359924"/>
              <a:ext cx="128487" cy="396366"/>
              <a:chOff x="6061121" y="1359924"/>
              <a:chExt cx="128487" cy="396366"/>
            </a:xfrm>
            <a:noFill/>
          </p:grpSpPr>
          <p:sp>
            <p:nvSpPr>
              <p:cNvPr id="81" name="Forma livre: Forma 80">
                <a:extLst>
                  <a:ext uri="{FF2B5EF4-FFF2-40B4-BE49-F238E27FC236}">
                    <a16:creationId xmlns:a16="http://schemas.microsoft.com/office/drawing/2014/main" id="{DE979AAB-9B84-1DFA-202F-0A714FE272DC}"/>
                  </a:ext>
                </a:extLst>
              </p:cNvPr>
              <p:cNvSpPr/>
              <p:nvPr/>
            </p:nvSpPr>
            <p:spPr>
              <a:xfrm>
                <a:off x="6083891" y="1359924"/>
                <a:ext cx="105717" cy="396366"/>
              </a:xfrm>
              <a:custGeom>
                <a:avLst/>
                <a:gdLst>
                  <a:gd name="connsiteX0" fmla="*/ 52891 w 105717"/>
                  <a:gd name="connsiteY0" fmla="*/ 105718 h 396366"/>
                  <a:gd name="connsiteX1" fmla="*/ 0 w 105717"/>
                  <a:gd name="connsiteY1" fmla="*/ 52891 h 396366"/>
                  <a:gd name="connsiteX2" fmla="*/ 52891 w 105717"/>
                  <a:gd name="connsiteY2" fmla="*/ 0 h 396366"/>
                  <a:gd name="connsiteX3" fmla="*/ 105718 w 105717"/>
                  <a:gd name="connsiteY3" fmla="*/ 52826 h 396366"/>
                  <a:gd name="connsiteX4" fmla="*/ 105718 w 105717"/>
                  <a:gd name="connsiteY4" fmla="*/ 346884 h 396366"/>
                  <a:gd name="connsiteX5" fmla="*/ 80606 w 105717"/>
                  <a:gd name="connsiteY5" fmla="*/ 388911 h 396366"/>
                  <a:gd name="connsiteX6" fmla="*/ 9238 w 105717"/>
                  <a:gd name="connsiteY6" fmla="*/ 371150 h 396366"/>
                  <a:gd name="connsiteX7" fmla="*/ 15484 w 105717"/>
                  <a:gd name="connsiteY7" fmla="*/ 309216 h 396366"/>
                  <a:gd name="connsiteX8" fmla="*/ 45019 w 105717"/>
                  <a:gd name="connsiteY8" fmla="*/ 277078 h 3963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05717" h="396366">
                    <a:moveTo>
                      <a:pt x="52891" y="105718"/>
                    </a:moveTo>
                    <a:cubicBezTo>
                      <a:pt x="23681" y="105718"/>
                      <a:pt x="0" y="82037"/>
                      <a:pt x="0" y="52891"/>
                    </a:cubicBezTo>
                    <a:cubicBezTo>
                      <a:pt x="0" y="23746"/>
                      <a:pt x="23681" y="0"/>
                      <a:pt x="52891" y="0"/>
                    </a:cubicBezTo>
                    <a:cubicBezTo>
                      <a:pt x="82102" y="0"/>
                      <a:pt x="105718" y="23681"/>
                      <a:pt x="105718" y="52826"/>
                    </a:cubicBezTo>
                    <a:lnTo>
                      <a:pt x="105718" y="346884"/>
                    </a:lnTo>
                    <a:cubicBezTo>
                      <a:pt x="105718" y="364580"/>
                      <a:pt x="96414" y="379413"/>
                      <a:pt x="80606" y="388911"/>
                    </a:cubicBezTo>
                    <a:cubicBezTo>
                      <a:pt x="55949" y="403744"/>
                      <a:pt x="24006" y="395742"/>
                      <a:pt x="9238" y="371150"/>
                    </a:cubicBezTo>
                    <a:cubicBezTo>
                      <a:pt x="-2928" y="350918"/>
                      <a:pt x="260" y="325741"/>
                      <a:pt x="15484" y="309216"/>
                    </a:cubicBezTo>
                    <a:lnTo>
                      <a:pt x="45019" y="277078"/>
                    </a:lnTo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82" name="Forma livre: Forma 81">
                <a:extLst>
                  <a:ext uri="{FF2B5EF4-FFF2-40B4-BE49-F238E27FC236}">
                    <a16:creationId xmlns:a16="http://schemas.microsoft.com/office/drawing/2014/main" id="{1B922467-4E2D-B583-F1FC-6E801FADA373}"/>
                  </a:ext>
                </a:extLst>
              </p:cNvPr>
              <p:cNvSpPr/>
              <p:nvPr/>
            </p:nvSpPr>
            <p:spPr>
              <a:xfrm>
                <a:off x="6144784" y="1383865"/>
                <a:ext cx="41563" cy="38963"/>
              </a:xfrm>
              <a:custGeom>
                <a:avLst/>
                <a:gdLst>
                  <a:gd name="connsiteX0" fmla="*/ 36172 w 41563"/>
                  <a:gd name="connsiteY0" fmla="*/ 0 h 38963"/>
                  <a:gd name="connsiteX1" fmla="*/ 39425 w 41563"/>
                  <a:gd name="connsiteY1" fmla="*/ 24266 h 38963"/>
                  <a:gd name="connsiteX2" fmla="*/ 36432 w 41563"/>
                  <a:gd name="connsiteY2" fmla="*/ 29080 h 38963"/>
                  <a:gd name="connsiteX3" fmla="*/ 0 w 41563"/>
                  <a:gd name="connsiteY3" fmla="*/ 33439 h 389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563" h="38963">
                    <a:moveTo>
                      <a:pt x="36172" y="0"/>
                    </a:moveTo>
                    <a:cubicBezTo>
                      <a:pt x="41571" y="7547"/>
                      <a:pt x="43393" y="16004"/>
                      <a:pt x="39425" y="24266"/>
                    </a:cubicBezTo>
                    <a:cubicBezTo>
                      <a:pt x="38644" y="25893"/>
                      <a:pt x="37603" y="27519"/>
                      <a:pt x="36432" y="29080"/>
                    </a:cubicBezTo>
                    <a:cubicBezTo>
                      <a:pt x="27584" y="40270"/>
                      <a:pt x="11190" y="42287"/>
                      <a:pt x="0" y="33439"/>
                    </a:cubicBezTo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83" name="Forma livre: Forma 82">
                <a:extLst>
                  <a:ext uri="{FF2B5EF4-FFF2-40B4-BE49-F238E27FC236}">
                    <a16:creationId xmlns:a16="http://schemas.microsoft.com/office/drawing/2014/main" id="{02CBF83D-12A6-DBC7-1A56-5F339905EA60}"/>
                  </a:ext>
                </a:extLst>
              </p:cNvPr>
              <p:cNvSpPr/>
              <p:nvPr/>
            </p:nvSpPr>
            <p:spPr>
              <a:xfrm>
                <a:off x="6081487" y="1460806"/>
                <a:ext cx="34217" cy="54474"/>
              </a:xfrm>
              <a:custGeom>
                <a:avLst/>
                <a:gdLst>
                  <a:gd name="connsiteX0" fmla="*/ 21076 w 34217"/>
                  <a:gd name="connsiteY0" fmla="*/ 54475 h 54474"/>
                  <a:gd name="connsiteX1" fmla="*/ 778 w 34217"/>
                  <a:gd name="connsiteY1" fmla="*/ 21035 h 54474"/>
                  <a:gd name="connsiteX2" fmla="*/ 34217 w 34217"/>
                  <a:gd name="connsiteY2" fmla="*/ 803 h 544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4217" h="54474">
                    <a:moveTo>
                      <a:pt x="21076" y="54475"/>
                    </a:moveTo>
                    <a:cubicBezTo>
                      <a:pt x="6308" y="50832"/>
                      <a:pt x="-2800" y="35803"/>
                      <a:pt x="778" y="21035"/>
                    </a:cubicBezTo>
                    <a:cubicBezTo>
                      <a:pt x="4421" y="6267"/>
                      <a:pt x="19449" y="-2841"/>
                      <a:pt x="34217" y="803"/>
                    </a:cubicBezTo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84" name="Forma livre: Forma 83">
                <a:extLst>
                  <a:ext uri="{FF2B5EF4-FFF2-40B4-BE49-F238E27FC236}">
                    <a16:creationId xmlns:a16="http://schemas.microsoft.com/office/drawing/2014/main" id="{56A50E8A-5C2C-AD61-94CD-4F8056F69E24}"/>
                  </a:ext>
                </a:extLst>
              </p:cNvPr>
              <p:cNvSpPr/>
              <p:nvPr/>
            </p:nvSpPr>
            <p:spPr>
              <a:xfrm>
                <a:off x="6073547" y="1527543"/>
                <a:ext cx="114760" cy="72506"/>
              </a:xfrm>
              <a:custGeom>
                <a:avLst/>
                <a:gdLst>
                  <a:gd name="connsiteX0" fmla="*/ 114760 w 114760"/>
                  <a:gd name="connsiteY0" fmla="*/ 7254 h 72506"/>
                  <a:gd name="connsiteX1" fmla="*/ 73905 w 114760"/>
                  <a:gd name="connsiteY1" fmla="*/ 8881 h 72506"/>
                  <a:gd name="connsiteX2" fmla="*/ 0 w 114760"/>
                  <a:gd name="connsiteY2" fmla="*/ 72506 h 725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14760" h="72506">
                    <a:moveTo>
                      <a:pt x="114760" y="7254"/>
                    </a:moveTo>
                    <a:cubicBezTo>
                      <a:pt x="103375" y="-2830"/>
                      <a:pt x="83989" y="-2504"/>
                      <a:pt x="73905" y="8881"/>
                    </a:cubicBezTo>
                    <a:cubicBezTo>
                      <a:pt x="73905" y="8881"/>
                      <a:pt x="31488" y="72506"/>
                      <a:pt x="0" y="72506"/>
                    </a:cubicBezTo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85" name="Forma livre: Forma 84">
                <a:extLst>
                  <a:ext uri="{FF2B5EF4-FFF2-40B4-BE49-F238E27FC236}">
                    <a16:creationId xmlns:a16="http://schemas.microsoft.com/office/drawing/2014/main" id="{1B241BF8-86EE-A599-F51A-B1DAB3708D35}"/>
                  </a:ext>
                </a:extLst>
              </p:cNvPr>
              <p:cNvSpPr/>
              <p:nvPr/>
            </p:nvSpPr>
            <p:spPr>
              <a:xfrm>
                <a:off x="6079857" y="1646956"/>
                <a:ext cx="29405" cy="9823"/>
              </a:xfrm>
              <a:custGeom>
                <a:avLst/>
                <a:gdLst>
                  <a:gd name="connsiteX0" fmla="*/ 0 w 29405"/>
                  <a:gd name="connsiteY0" fmla="*/ 0 h 9823"/>
                  <a:gd name="connsiteX1" fmla="*/ 29406 w 29405"/>
                  <a:gd name="connsiteY1" fmla="*/ 9824 h 98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9405" h="9823">
                    <a:moveTo>
                      <a:pt x="0" y="0"/>
                    </a:moveTo>
                    <a:lnTo>
                      <a:pt x="29406" y="9824"/>
                    </a:lnTo>
                  </a:path>
                </a:pathLst>
              </a:custGeom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86" name="Forma livre: Forma 85">
                <a:extLst>
                  <a:ext uri="{FF2B5EF4-FFF2-40B4-BE49-F238E27FC236}">
                    <a16:creationId xmlns:a16="http://schemas.microsoft.com/office/drawing/2014/main" id="{CA50A941-59E0-FB10-6DCC-C6E9720F9229}"/>
                  </a:ext>
                </a:extLst>
              </p:cNvPr>
              <p:cNvSpPr/>
              <p:nvPr/>
            </p:nvSpPr>
            <p:spPr>
              <a:xfrm>
                <a:off x="6061121" y="1545272"/>
                <a:ext cx="47166" cy="34154"/>
              </a:xfrm>
              <a:custGeom>
                <a:avLst/>
                <a:gdLst>
                  <a:gd name="connsiteX0" fmla="*/ 0 w 47166"/>
                  <a:gd name="connsiteY0" fmla="*/ 0 h 34154"/>
                  <a:gd name="connsiteX1" fmla="*/ 47166 w 47166"/>
                  <a:gd name="connsiteY1" fmla="*/ 34155 h 341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166" h="34154">
                    <a:moveTo>
                      <a:pt x="0" y="0"/>
                    </a:moveTo>
                    <a:cubicBezTo>
                      <a:pt x="0" y="0"/>
                      <a:pt x="27649" y="13011"/>
                      <a:pt x="47166" y="34155"/>
                    </a:cubicBezTo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67" name="Gráfico 32">
              <a:extLst>
                <a:ext uri="{FF2B5EF4-FFF2-40B4-BE49-F238E27FC236}">
                  <a16:creationId xmlns:a16="http://schemas.microsoft.com/office/drawing/2014/main" id="{A8862E96-1D65-0C9D-7028-09B5EEC0C7FC}"/>
                </a:ext>
              </a:extLst>
            </p:cNvPr>
            <p:cNvGrpSpPr/>
            <p:nvPr/>
          </p:nvGrpSpPr>
          <p:grpSpPr>
            <a:xfrm>
              <a:off x="6191625" y="1599725"/>
              <a:ext cx="173767" cy="157112"/>
              <a:chOff x="6191625" y="1599725"/>
              <a:chExt cx="173767" cy="157112"/>
            </a:xfrm>
            <a:noFill/>
          </p:grpSpPr>
          <p:sp>
            <p:nvSpPr>
              <p:cNvPr id="77" name="Forma livre: Forma 76">
                <a:extLst>
                  <a:ext uri="{FF2B5EF4-FFF2-40B4-BE49-F238E27FC236}">
                    <a16:creationId xmlns:a16="http://schemas.microsoft.com/office/drawing/2014/main" id="{B2B49A5F-7E9F-1700-2ABA-5EFC46272186}"/>
                  </a:ext>
                </a:extLst>
              </p:cNvPr>
              <p:cNvSpPr/>
              <p:nvPr/>
            </p:nvSpPr>
            <p:spPr>
              <a:xfrm>
                <a:off x="6310094" y="1621974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8" name="Forma livre: Forma 77">
                <a:extLst>
                  <a:ext uri="{FF2B5EF4-FFF2-40B4-BE49-F238E27FC236}">
                    <a16:creationId xmlns:a16="http://schemas.microsoft.com/office/drawing/2014/main" id="{2F8AC456-EB45-A35A-A660-67DC4605147A}"/>
                  </a:ext>
                </a:extLst>
              </p:cNvPr>
              <p:cNvSpPr/>
              <p:nvPr/>
            </p:nvSpPr>
            <p:spPr>
              <a:xfrm>
                <a:off x="6191625" y="1599725"/>
                <a:ext cx="118078" cy="49898"/>
              </a:xfrm>
              <a:custGeom>
                <a:avLst/>
                <a:gdLst>
                  <a:gd name="connsiteX0" fmla="*/ 0 w 118078"/>
                  <a:gd name="connsiteY0" fmla="*/ 0 h 49898"/>
                  <a:gd name="connsiteX1" fmla="*/ 37343 w 118078"/>
                  <a:gd name="connsiteY1" fmla="*/ 0 h 49898"/>
                  <a:gd name="connsiteX2" fmla="*/ 87176 w 118078"/>
                  <a:gd name="connsiteY2" fmla="*/ 49899 h 49898"/>
                  <a:gd name="connsiteX3" fmla="*/ 118078 w 118078"/>
                  <a:gd name="connsiteY3" fmla="*/ 49899 h 49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8078" h="49898">
                    <a:moveTo>
                      <a:pt x="0" y="0"/>
                    </a:moveTo>
                    <a:lnTo>
                      <a:pt x="37343" y="0"/>
                    </a:lnTo>
                    <a:lnTo>
                      <a:pt x="87176" y="49899"/>
                    </a:lnTo>
                    <a:lnTo>
                      <a:pt x="118078" y="49899"/>
                    </a:lnTo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9" name="Forma livre: Forma 78">
                <a:extLst>
                  <a:ext uri="{FF2B5EF4-FFF2-40B4-BE49-F238E27FC236}">
                    <a16:creationId xmlns:a16="http://schemas.microsoft.com/office/drawing/2014/main" id="{B0B0FA2A-A1BC-4C22-5625-8C1F6AB6A2E1}"/>
                  </a:ext>
                </a:extLst>
              </p:cNvPr>
              <p:cNvSpPr/>
              <p:nvPr/>
            </p:nvSpPr>
            <p:spPr>
              <a:xfrm>
                <a:off x="6191625" y="1665367"/>
                <a:ext cx="81906" cy="44108"/>
              </a:xfrm>
              <a:custGeom>
                <a:avLst/>
                <a:gdLst>
                  <a:gd name="connsiteX0" fmla="*/ 0 w 81906"/>
                  <a:gd name="connsiteY0" fmla="*/ 0 h 44108"/>
                  <a:gd name="connsiteX1" fmla="*/ 37343 w 81906"/>
                  <a:gd name="connsiteY1" fmla="*/ 0 h 44108"/>
                  <a:gd name="connsiteX2" fmla="*/ 81907 w 81906"/>
                  <a:gd name="connsiteY2" fmla="*/ 44109 h 441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1906" h="44108">
                    <a:moveTo>
                      <a:pt x="0" y="0"/>
                    </a:moveTo>
                    <a:lnTo>
                      <a:pt x="37343" y="0"/>
                    </a:lnTo>
                    <a:lnTo>
                      <a:pt x="81907" y="44109"/>
                    </a:lnTo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80" name="Forma livre: Forma 79">
                <a:extLst>
                  <a:ext uri="{FF2B5EF4-FFF2-40B4-BE49-F238E27FC236}">
                    <a16:creationId xmlns:a16="http://schemas.microsoft.com/office/drawing/2014/main" id="{FAD2423E-A0C5-AE96-C76B-2F6DB04BC813}"/>
                  </a:ext>
                </a:extLst>
              </p:cNvPr>
              <p:cNvSpPr/>
              <p:nvPr/>
            </p:nvSpPr>
            <p:spPr>
              <a:xfrm>
                <a:off x="6265075" y="1701539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68" name="Gráfico 32">
              <a:extLst>
                <a:ext uri="{FF2B5EF4-FFF2-40B4-BE49-F238E27FC236}">
                  <a16:creationId xmlns:a16="http://schemas.microsoft.com/office/drawing/2014/main" id="{05B71B37-C0F8-5B8D-4AA7-A63D3BB82604}"/>
                </a:ext>
              </a:extLst>
            </p:cNvPr>
            <p:cNvGrpSpPr/>
            <p:nvPr/>
          </p:nvGrpSpPr>
          <p:grpSpPr>
            <a:xfrm>
              <a:off x="6191625" y="1357908"/>
              <a:ext cx="173767" cy="157112"/>
              <a:chOff x="6191625" y="1357908"/>
              <a:chExt cx="173767" cy="157112"/>
            </a:xfrm>
            <a:noFill/>
          </p:grpSpPr>
          <p:sp>
            <p:nvSpPr>
              <p:cNvPr id="73" name="Forma livre: Forma 72">
                <a:extLst>
                  <a:ext uri="{FF2B5EF4-FFF2-40B4-BE49-F238E27FC236}">
                    <a16:creationId xmlns:a16="http://schemas.microsoft.com/office/drawing/2014/main" id="{804D12F6-FB55-BA0E-C0C9-3F0DDE1D5E31}"/>
                  </a:ext>
                </a:extLst>
              </p:cNvPr>
              <p:cNvSpPr/>
              <p:nvPr/>
            </p:nvSpPr>
            <p:spPr>
              <a:xfrm>
                <a:off x="6310094" y="1437472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0 h 55298"/>
                  <a:gd name="connsiteX2" fmla="*/ 0 w 55298"/>
                  <a:gd name="connsiteY2" fmla="*/ 27649 h 55298"/>
                  <a:gd name="connsiteX3" fmla="*/ 27649 w 55298"/>
                  <a:gd name="connsiteY3" fmla="*/ 55298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12361"/>
                      <a:pt x="42938" y="0"/>
                      <a:pt x="27649" y="0"/>
                    </a:cubicBezTo>
                    <a:cubicBezTo>
                      <a:pt x="12361" y="0"/>
                      <a:pt x="0" y="12361"/>
                      <a:pt x="0" y="27649"/>
                    </a:cubicBezTo>
                    <a:cubicBezTo>
                      <a:pt x="0" y="42938"/>
                      <a:pt x="12361" y="55298"/>
                      <a:pt x="27649" y="55298"/>
                    </a:cubicBezTo>
                    <a:cubicBezTo>
                      <a:pt x="42938" y="55298"/>
                      <a:pt x="55298" y="42938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4" name="Forma livre: Forma 73">
                <a:extLst>
                  <a:ext uri="{FF2B5EF4-FFF2-40B4-BE49-F238E27FC236}">
                    <a16:creationId xmlns:a16="http://schemas.microsoft.com/office/drawing/2014/main" id="{026BD263-08C5-EBF7-4023-8D23A75FC1CB}"/>
                  </a:ext>
                </a:extLst>
              </p:cNvPr>
              <p:cNvSpPr/>
              <p:nvPr/>
            </p:nvSpPr>
            <p:spPr>
              <a:xfrm>
                <a:off x="6191625" y="1465122"/>
                <a:ext cx="118468" cy="49898"/>
              </a:xfrm>
              <a:custGeom>
                <a:avLst/>
                <a:gdLst>
                  <a:gd name="connsiteX0" fmla="*/ 0 w 118468"/>
                  <a:gd name="connsiteY0" fmla="*/ 49899 h 49898"/>
                  <a:gd name="connsiteX1" fmla="*/ 37343 w 118468"/>
                  <a:gd name="connsiteY1" fmla="*/ 49899 h 49898"/>
                  <a:gd name="connsiteX2" fmla="*/ 87176 w 118468"/>
                  <a:gd name="connsiteY2" fmla="*/ 0 h 49898"/>
                  <a:gd name="connsiteX3" fmla="*/ 118469 w 118468"/>
                  <a:gd name="connsiteY3" fmla="*/ 0 h 49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8468" h="49898">
                    <a:moveTo>
                      <a:pt x="0" y="49899"/>
                    </a:moveTo>
                    <a:lnTo>
                      <a:pt x="37343" y="49899"/>
                    </a:lnTo>
                    <a:lnTo>
                      <a:pt x="87176" y="0"/>
                    </a:lnTo>
                    <a:lnTo>
                      <a:pt x="118469" y="0"/>
                    </a:lnTo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5" name="Forma livre: Forma 74">
                <a:extLst>
                  <a:ext uri="{FF2B5EF4-FFF2-40B4-BE49-F238E27FC236}">
                    <a16:creationId xmlns:a16="http://schemas.microsoft.com/office/drawing/2014/main" id="{FCE5F5AF-F2F3-9547-B620-4F2AD768D9EE}"/>
                  </a:ext>
                </a:extLst>
              </p:cNvPr>
              <p:cNvSpPr/>
              <p:nvPr/>
            </p:nvSpPr>
            <p:spPr>
              <a:xfrm>
                <a:off x="6191625" y="1405269"/>
                <a:ext cx="81451" cy="44043"/>
              </a:xfrm>
              <a:custGeom>
                <a:avLst/>
                <a:gdLst>
                  <a:gd name="connsiteX0" fmla="*/ 0 w 81451"/>
                  <a:gd name="connsiteY0" fmla="*/ 44044 h 44043"/>
                  <a:gd name="connsiteX1" fmla="*/ 37343 w 81451"/>
                  <a:gd name="connsiteY1" fmla="*/ 44044 h 44043"/>
                  <a:gd name="connsiteX2" fmla="*/ 81451 w 81451"/>
                  <a:gd name="connsiteY2" fmla="*/ 0 h 440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1451" h="44043">
                    <a:moveTo>
                      <a:pt x="0" y="44044"/>
                    </a:moveTo>
                    <a:lnTo>
                      <a:pt x="37343" y="44044"/>
                    </a:lnTo>
                    <a:lnTo>
                      <a:pt x="81451" y="0"/>
                    </a:lnTo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6" name="Forma livre: Forma 75">
                <a:extLst>
                  <a:ext uri="{FF2B5EF4-FFF2-40B4-BE49-F238E27FC236}">
                    <a16:creationId xmlns:a16="http://schemas.microsoft.com/office/drawing/2014/main" id="{007B218E-70B6-080B-06FE-9E4524E6A7D6}"/>
                  </a:ext>
                </a:extLst>
              </p:cNvPr>
              <p:cNvSpPr/>
              <p:nvPr/>
            </p:nvSpPr>
            <p:spPr>
              <a:xfrm>
                <a:off x="6265075" y="1357908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0 h 55298"/>
                  <a:gd name="connsiteX2" fmla="*/ 0 w 55298"/>
                  <a:gd name="connsiteY2" fmla="*/ 27649 h 55298"/>
                  <a:gd name="connsiteX3" fmla="*/ 27649 w 55298"/>
                  <a:gd name="connsiteY3" fmla="*/ 55298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12361"/>
                      <a:pt x="42938" y="0"/>
                      <a:pt x="27649" y="0"/>
                    </a:cubicBezTo>
                    <a:cubicBezTo>
                      <a:pt x="12361" y="0"/>
                      <a:pt x="0" y="12361"/>
                      <a:pt x="0" y="27649"/>
                    </a:cubicBezTo>
                    <a:cubicBezTo>
                      <a:pt x="0" y="42938"/>
                      <a:pt x="12361" y="55298"/>
                      <a:pt x="27649" y="55298"/>
                    </a:cubicBezTo>
                    <a:cubicBezTo>
                      <a:pt x="42938" y="55298"/>
                      <a:pt x="55298" y="42938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69" name="Gráfico 32">
              <a:extLst>
                <a:ext uri="{FF2B5EF4-FFF2-40B4-BE49-F238E27FC236}">
                  <a16:creationId xmlns:a16="http://schemas.microsoft.com/office/drawing/2014/main" id="{E41641B1-546B-16BB-84C4-FEDDA6EC7D3C}"/>
                </a:ext>
              </a:extLst>
            </p:cNvPr>
            <p:cNvGrpSpPr/>
            <p:nvPr/>
          </p:nvGrpSpPr>
          <p:grpSpPr>
            <a:xfrm>
              <a:off x="6190910" y="1529723"/>
              <a:ext cx="123673" cy="55298"/>
              <a:chOff x="6190910" y="1529723"/>
              <a:chExt cx="123673" cy="55298"/>
            </a:xfrm>
            <a:noFill/>
          </p:grpSpPr>
          <p:sp>
            <p:nvSpPr>
              <p:cNvPr id="71" name="Forma livre: Forma 70">
                <a:extLst>
                  <a:ext uri="{FF2B5EF4-FFF2-40B4-BE49-F238E27FC236}">
                    <a16:creationId xmlns:a16="http://schemas.microsoft.com/office/drawing/2014/main" id="{8B531790-8434-A967-7C27-461F4A0ABAA3}"/>
                  </a:ext>
                </a:extLst>
              </p:cNvPr>
              <p:cNvSpPr/>
              <p:nvPr/>
            </p:nvSpPr>
            <p:spPr>
              <a:xfrm>
                <a:off x="6190910" y="1557372"/>
                <a:ext cx="68765" cy="6505"/>
              </a:xfrm>
              <a:custGeom>
                <a:avLst/>
                <a:gdLst>
                  <a:gd name="connsiteX0" fmla="*/ 0 w 68765"/>
                  <a:gd name="connsiteY0" fmla="*/ 0 h 6505"/>
                  <a:gd name="connsiteX1" fmla="*/ 68765 w 68765"/>
                  <a:gd name="connsiteY1" fmla="*/ 0 h 65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8765" h="6505">
                    <a:moveTo>
                      <a:pt x="0" y="0"/>
                    </a:moveTo>
                    <a:lnTo>
                      <a:pt x="68765" y="0"/>
                    </a:lnTo>
                  </a:path>
                </a:pathLst>
              </a:custGeom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2" name="Forma livre: Forma 71">
                <a:extLst>
                  <a:ext uri="{FF2B5EF4-FFF2-40B4-BE49-F238E27FC236}">
                    <a16:creationId xmlns:a16="http://schemas.microsoft.com/office/drawing/2014/main" id="{3543E92C-4D97-D998-108A-A7B94DF1D34A}"/>
                  </a:ext>
                </a:extLst>
              </p:cNvPr>
              <p:cNvSpPr/>
              <p:nvPr/>
            </p:nvSpPr>
            <p:spPr>
              <a:xfrm>
                <a:off x="6259285" y="1529723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70" name="Forma livre: Forma 69">
              <a:extLst>
                <a:ext uri="{FF2B5EF4-FFF2-40B4-BE49-F238E27FC236}">
                  <a16:creationId xmlns:a16="http://schemas.microsoft.com/office/drawing/2014/main" id="{ABD9B909-2D6D-961A-D1F0-EDC78B20CB39}"/>
                </a:ext>
              </a:extLst>
            </p:cNvPr>
            <p:cNvSpPr/>
            <p:nvPr/>
          </p:nvSpPr>
          <p:spPr>
            <a:xfrm>
              <a:off x="6152201" y="1686285"/>
              <a:ext cx="37362" cy="20848"/>
            </a:xfrm>
            <a:custGeom>
              <a:avLst/>
              <a:gdLst>
                <a:gd name="connsiteX0" fmla="*/ 0 w 37362"/>
                <a:gd name="connsiteY0" fmla="*/ 10505 h 20848"/>
                <a:gd name="connsiteX1" fmla="*/ 27064 w 37362"/>
                <a:gd name="connsiteY1" fmla="*/ 2373 h 20848"/>
                <a:gd name="connsiteX2" fmla="*/ 37343 w 37362"/>
                <a:gd name="connsiteY2" fmla="*/ 20849 h 20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7362" h="20848">
                  <a:moveTo>
                    <a:pt x="0" y="10505"/>
                  </a:moveTo>
                  <a:cubicBezTo>
                    <a:pt x="5205" y="811"/>
                    <a:pt x="17435" y="-2832"/>
                    <a:pt x="27064" y="2373"/>
                  </a:cubicBezTo>
                  <a:cubicBezTo>
                    <a:pt x="34025" y="6081"/>
                    <a:pt x="37668" y="13432"/>
                    <a:pt x="37343" y="20849"/>
                  </a:cubicBezTo>
                </a:path>
              </a:pathLst>
            </a:custGeom>
            <a:noFill/>
            <a:ln w="19050" cap="sq">
              <a:solidFill>
                <a:schemeClr val="accent2"/>
              </a:solidFill>
              <a:prstDash val="solid"/>
              <a:miter lim="800000"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sp>
        <p:nvSpPr>
          <p:cNvPr id="2" name="Marcador de pie de página 1">
            <a:extLst>
              <a:ext uri="{FF2B5EF4-FFF2-40B4-BE49-F238E27FC236}">
                <a16:creationId xmlns:a16="http://schemas.microsoft.com/office/drawing/2014/main" id="{C5D889B3-7F60-4CAB-BFB6-2045846CFFA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pt-PT"/>
              <a:t>Título de la presentación</a:t>
            </a:r>
            <a:endParaRPr lang="pt-PT" dirty="0"/>
          </a:p>
        </p:txBody>
      </p:sp>
      <p:sp>
        <p:nvSpPr>
          <p:cNvPr id="3" name="Marcador de número de diapositiva 2">
            <a:extLst>
              <a:ext uri="{FF2B5EF4-FFF2-40B4-BE49-F238E27FC236}">
                <a16:creationId xmlns:a16="http://schemas.microsoft.com/office/drawing/2014/main" id="{610D7882-C2D5-4AE3-95F1-F0687F8E99F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4A347C2-D68E-473A-8C76-1D063E4EB6E0}" type="slidenum">
              <a:rPr lang="es-ES" smtClean="0"/>
              <a:pPr/>
              <a:t>33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0293593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5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42" presetClass="path" presetSubtype="0" decel="10000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animMotion origin="layout" path="M 1.25E-6 0.03889 L 1.25E-6 1.85185E-6 " pathEditMode="relative" rAng="0" ptsTypes="AA">
                                      <p:cBhvr>
                                        <p:cTn id="9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944"/>
                                    </p:animMotion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25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42" presetClass="path" presetSubtype="0" decel="10000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animMotion origin="layout" path="M 1.25E-6 0.03889 L 1.25E-6 1.85185E-6 " pathEditMode="relative" rAng="0" ptsTypes="AA">
                                      <p:cBhvr>
                                        <p:cTn id="14" dur="5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944"/>
                                    </p:animMotion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250"/>
                                        <p:tgtEl>
                                          <p:spTgt spid="6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42" presetClass="path" presetSubtype="0" decel="10000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animMotion origin="layout" path="M 1.25E-6 0.03889 L 1.25E-6 1.85185E-6 " pathEditMode="relative" rAng="0" ptsTypes="AA">
                                      <p:cBhvr>
                                        <p:cTn id="19" dur="500" fill="hold"/>
                                        <p:tgtEl>
                                          <p:spTgt spid="6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944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ítulo 9">
            <a:extLst>
              <a:ext uri="{FF2B5EF4-FFF2-40B4-BE49-F238E27FC236}">
                <a16:creationId xmlns:a16="http://schemas.microsoft.com/office/drawing/2014/main" id="{0B49D1E4-4106-9932-624C-14861FDB0C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PT" dirty="0"/>
              <a:t>Ejemplo de título de slide</a:t>
            </a:r>
          </a:p>
        </p:txBody>
      </p:sp>
      <p:sp>
        <p:nvSpPr>
          <p:cNvPr id="11" name="Marcador de Posição do Texto 10">
            <a:extLst>
              <a:ext uri="{FF2B5EF4-FFF2-40B4-BE49-F238E27FC236}">
                <a16:creationId xmlns:a16="http://schemas.microsoft.com/office/drawing/2014/main" id="{05424C53-50E6-8491-91FF-95438AE4CA7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>
            <a:normAutofit lnSpcReduction="10000"/>
          </a:bodyPr>
          <a:lstStyle/>
          <a:p>
            <a:r>
              <a:rPr lang="pt-PT" dirty="0"/>
              <a:t>Ejemplo de subtítulo</a:t>
            </a:r>
          </a:p>
        </p:txBody>
      </p:sp>
      <p:sp>
        <p:nvSpPr>
          <p:cNvPr id="31" name="Marcador de Posição do Texto 30">
            <a:extLst>
              <a:ext uri="{FF2B5EF4-FFF2-40B4-BE49-F238E27FC236}">
                <a16:creationId xmlns:a16="http://schemas.microsoft.com/office/drawing/2014/main" id="{393D829A-D391-BC15-A43D-4DDE5D3B10CD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/>
        <p:txBody>
          <a:bodyPr>
            <a:normAutofit lnSpcReduction="10000"/>
          </a:bodyPr>
          <a:lstStyle/>
          <a:p>
            <a:r>
              <a:rPr lang="pt-PT" dirty="0"/>
              <a:t>Exemplo de texto</a:t>
            </a:r>
          </a:p>
        </p:txBody>
      </p:sp>
      <p:sp>
        <p:nvSpPr>
          <p:cNvPr id="32" name="Marcador de Posição do Texto 31">
            <a:extLst>
              <a:ext uri="{FF2B5EF4-FFF2-40B4-BE49-F238E27FC236}">
                <a16:creationId xmlns:a16="http://schemas.microsoft.com/office/drawing/2014/main" id="{D774EB59-B3BE-5AF5-9752-01DACF84B61D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/>
        <p:txBody>
          <a:bodyPr>
            <a:normAutofit lnSpcReduction="10000"/>
          </a:bodyPr>
          <a:lstStyle/>
          <a:p>
            <a:r>
              <a:rPr lang="pt-PT" dirty="0"/>
              <a:t>Exemplo de texto</a:t>
            </a:r>
          </a:p>
        </p:txBody>
      </p:sp>
      <p:sp>
        <p:nvSpPr>
          <p:cNvPr id="33" name="Marcador de Posição do Texto 32">
            <a:extLst>
              <a:ext uri="{FF2B5EF4-FFF2-40B4-BE49-F238E27FC236}">
                <a16:creationId xmlns:a16="http://schemas.microsoft.com/office/drawing/2014/main" id="{30B83797-2D85-B441-0535-90807796F388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/>
        <p:txBody>
          <a:bodyPr>
            <a:normAutofit lnSpcReduction="10000"/>
          </a:bodyPr>
          <a:lstStyle/>
          <a:p>
            <a:r>
              <a:rPr lang="pt-PT" dirty="0"/>
              <a:t>Exemplo de texto</a:t>
            </a:r>
          </a:p>
        </p:txBody>
      </p:sp>
      <p:sp>
        <p:nvSpPr>
          <p:cNvPr id="34" name="Marcador de Posição do Texto 33">
            <a:extLst>
              <a:ext uri="{FF2B5EF4-FFF2-40B4-BE49-F238E27FC236}">
                <a16:creationId xmlns:a16="http://schemas.microsoft.com/office/drawing/2014/main" id="{4EBFC6C1-C8EE-5849-2CD2-4EF955C079C8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/>
        <p:txBody>
          <a:bodyPr>
            <a:normAutofit lnSpcReduction="10000"/>
          </a:bodyPr>
          <a:lstStyle/>
          <a:p>
            <a:r>
              <a:rPr lang="pt-PT" dirty="0"/>
              <a:t>Exemplo de texto</a:t>
            </a:r>
          </a:p>
        </p:txBody>
      </p:sp>
      <p:sp>
        <p:nvSpPr>
          <p:cNvPr id="35" name="Marcador de Posição do Texto 34">
            <a:extLst>
              <a:ext uri="{FF2B5EF4-FFF2-40B4-BE49-F238E27FC236}">
                <a16:creationId xmlns:a16="http://schemas.microsoft.com/office/drawing/2014/main" id="{70EA1393-6B29-AF4B-51A7-A3DF9C1D1B2D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/>
        <p:txBody>
          <a:bodyPr>
            <a:normAutofit lnSpcReduction="10000"/>
          </a:bodyPr>
          <a:lstStyle/>
          <a:p>
            <a:r>
              <a:rPr lang="pt-PT" dirty="0"/>
              <a:t>Exemplo de texto</a:t>
            </a:r>
          </a:p>
        </p:txBody>
      </p:sp>
      <p:sp>
        <p:nvSpPr>
          <p:cNvPr id="36" name="Marcador de Posição do Texto 35">
            <a:extLst>
              <a:ext uri="{FF2B5EF4-FFF2-40B4-BE49-F238E27FC236}">
                <a16:creationId xmlns:a16="http://schemas.microsoft.com/office/drawing/2014/main" id="{EDC7DD36-E842-40E9-1C3F-F923D184F667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/>
        <p:txBody>
          <a:bodyPr>
            <a:normAutofit lnSpcReduction="10000"/>
          </a:bodyPr>
          <a:lstStyle/>
          <a:p>
            <a:r>
              <a:rPr lang="pt-PT" dirty="0"/>
              <a:t>Exemplo de texto</a:t>
            </a:r>
          </a:p>
        </p:txBody>
      </p:sp>
      <p:sp>
        <p:nvSpPr>
          <p:cNvPr id="37" name="Marcador de Posição do Texto 36">
            <a:extLst>
              <a:ext uri="{FF2B5EF4-FFF2-40B4-BE49-F238E27FC236}">
                <a16:creationId xmlns:a16="http://schemas.microsoft.com/office/drawing/2014/main" id="{68365894-5611-DB67-9403-350252798C40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/>
        <p:txBody>
          <a:bodyPr>
            <a:normAutofit lnSpcReduction="10000"/>
          </a:bodyPr>
          <a:lstStyle/>
          <a:p>
            <a:r>
              <a:rPr lang="pt-PT" dirty="0"/>
              <a:t>Exemplo de texto</a:t>
            </a:r>
          </a:p>
        </p:txBody>
      </p:sp>
      <p:grpSp>
        <p:nvGrpSpPr>
          <p:cNvPr id="38" name="Agrupar 37">
            <a:extLst>
              <a:ext uri="{FF2B5EF4-FFF2-40B4-BE49-F238E27FC236}">
                <a16:creationId xmlns:a16="http://schemas.microsoft.com/office/drawing/2014/main" id="{870D8DF3-EFE5-113A-1BEB-263060962313}"/>
              </a:ext>
            </a:extLst>
          </p:cNvPr>
          <p:cNvGrpSpPr/>
          <p:nvPr/>
        </p:nvGrpSpPr>
        <p:grpSpPr>
          <a:xfrm>
            <a:off x="897189" y="2473598"/>
            <a:ext cx="351508" cy="383868"/>
            <a:chOff x="6000092" y="1357908"/>
            <a:chExt cx="365300" cy="398929"/>
          </a:xfrm>
        </p:grpSpPr>
        <p:sp>
          <p:nvSpPr>
            <p:cNvPr id="39" name="Forma livre: Forma 38">
              <a:extLst>
                <a:ext uri="{FF2B5EF4-FFF2-40B4-BE49-F238E27FC236}">
                  <a16:creationId xmlns:a16="http://schemas.microsoft.com/office/drawing/2014/main" id="{242456A5-F1AE-4EF8-5406-3F28165251D3}"/>
                </a:ext>
              </a:extLst>
            </p:cNvPr>
            <p:cNvSpPr/>
            <p:nvPr/>
          </p:nvSpPr>
          <p:spPr>
            <a:xfrm>
              <a:off x="6000092" y="1418606"/>
              <a:ext cx="84058" cy="286120"/>
            </a:xfrm>
            <a:custGeom>
              <a:avLst/>
              <a:gdLst>
                <a:gd name="connsiteX0" fmla="*/ 51595 w 84058"/>
                <a:gd name="connsiteY0" fmla="*/ 0 h 286120"/>
                <a:gd name="connsiteX1" fmla="*/ 35266 w 84058"/>
                <a:gd name="connsiteY1" fmla="*/ 61674 h 286120"/>
                <a:gd name="connsiteX2" fmla="*/ 28760 w 84058"/>
                <a:gd name="connsiteY2" fmla="*/ 193415 h 286120"/>
                <a:gd name="connsiteX3" fmla="*/ 84059 w 84058"/>
                <a:gd name="connsiteY3" fmla="*/ 286121 h 2861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4058" h="286120">
                  <a:moveTo>
                    <a:pt x="51595" y="0"/>
                  </a:moveTo>
                  <a:cubicBezTo>
                    <a:pt x="37868" y="7872"/>
                    <a:pt x="26028" y="24852"/>
                    <a:pt x="35266" y="61674"/>
                  </a:cubicBezTo>
                  <a:cubicBezTo>
                    <a:pt x="35266" y="61674"/>
                    <a:pt x="-39549" y="126731"/>
                    <a:pt x="28760" y="193415"/>
                  </a:cubicBezTo>
                  <a:cubicBezTo>
                    <a:pt x="28760" y="193415"/>
                    <a:pt x="9243" y="281242"/>
                    <a:pt x="84059" y="286121"/>
                  </a:cubicBezTo>
                </a:path>
              </a:pathLst>
            </a:custGeom>
            <a:noFill/>
            <a:ln w="19050" cap="sq">
              <a:solidFill>
                <a:srgbClr val="184BFF"/>
              </a:solidFill>
              <a:prstDash val="solid"/>
              <a:miter lim="800000"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40" name="Gráfico 32">
              <a:extLst>
                <a:ext uri="{FF2B5EF4-FFF2-40B4-BE49-F238E27FC236}">
                  <a16:creationId xmlns:a16="http://schemas.microsoft.com/office/drawing/2014/main" id="{20DE126F-0803-5A6E-5A41-F6821ADF93BD}"/>
                </a:ext>
              </a:extLst>
            </p:cNvPr>
            <p:cNvGrpSpPr/>
            <p:nvPr/>
          </p:nvGrpSpPr>
          <p:grpSpPr>
            <a:xfrm>
              <a:off x="6061121" y="1359924"/>
              <a:ext cx="128487" cy="396366"/>
              <a:chOff x="6061121" y="1359924"/>
              <a:chExt cx="128487" cy="396366"/>
            </a:xfrm>
            <a:noFill/>
          </p:grpSpPr>
          <p:sp>
            <p:nvSpPr>
              <p:cNvPr id="55" name="Forma livre: Forma 54">
                <a:extLst>
                  <a:ext uri="{FF2B5EF4-FFF2-40B4-BE49-F238E27FC236}">
                    <a16:creationId xmlns:a16="http://schemas.microsoft.com/office/drawing/2014/main" id="{977A3BCA-2C5E-5791-BDCB-660CFA4181AA}"/>
                  </a:ext>
                </a:extLst>
              </p:cNvPr>
              <p:cNvSpPr/>
              <p:nvPr/>
            </p:nvSpPr>
            <p:spPr>
              <a:xfrm>
                <a:off x="6083891" y="1359924"/>
                <a:ext cx="105717" cy="396366"/>
              </a:xfrm>
              <a:custGeom>
                <a:avLst/>
                <a:gdLst>
                  <a:gd name="connsiteX0" fmla="*/ 52891 w 105717"/>
                  <a:gd name="connsiteY0" fmla="*/ 105718 h 396366"/>
                  <a:gd name="connsiteX1" fmla="*/ 0 w 105717"/>
                  <a:gd name="connsiteY1" fmla="*/ 52891 h 396366"/>
                  <a:gd name="connsiteX2" fmla="*/ 52891 w 105717"/>
                  <a:gd name="connsiteY2" fmla="*/ 0 h 396366"/>
                  <a:gd name="connsiteX3" fmla="*/ 105718 w 105717"/>
                  <a:gd name="connsiteY3" fmla="*/ 52826 h 396366"/>
                  <a:gd name="connsiteX4" fmla="*/ 105718 w 105717"/>
                  <a:gd name="connsiteY4" fmla="*/ 346884 h 396366"/>
                  <a:gd name="connsiteX5" fmla="*/ 80606 w 105717"/>
                  <a:gd name="connsiteY5" fmla="*/ 388911 h 396366"/>
                  <a:gd name="connsiteX6" fmla="*/ 9238 w 105717"/>
                  <a:gd name="connsiteY6" fmla="*/ 371150 h 396366"/>
                  <a:gd name="connsiteX7" fmla="*/ 15484 w 105717"/>
                  <a:gd name="connsiteY7" fmla="*/ 309216 h 396366"/>
                  <a:gd name="connsiteX8" fmla="*/ 45019 w 105717"/>
                  <a:gd name="connsiteY8" fmla="*/ 277078 h 3963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05717" h="396366">
                    <a:moveTo>
                      <a:pt x="52891" y="105718"/>
                    </a:moveTo>
                    <a:cubicBezTo>
                      <a:pt x="23681" y="105718"/>
                      <a:pt x="0" y="82037"/>
                      <a:pt x="0" y="52891"/>
                    </a:cubicBezTo>
                    <a:cubicBezTo>
                      <a:pt x="0" y="23746"/>
                      <a:pt x="23681" y="0"/>
                      <a:pt x="52891" y="0"/>
                    </a:cubicBezTo>
                    <a:cubicBezTo>
                      <a:pt x="82102" y="0"/>
                      <a:pt x="105718" y="23681"/>
                      <a:pt x="105718" y="52826"/>
                    </a:cubicBezTo>
                    <a:lnTo>
                      <a:pt x="105718" y="346884"/>
                    </a:lnTo>
                    <a:cubicBezTo>
                      <a:pt x="105718" y="364580"/>
                      <a:pt x="96414" y="379413"/>
                      <a:pt x="80606" y="388911"/>
                    </a:cubicBezTo>
                    <a:cubicBezTo>
                      <a:pt x="55949" y="403744"/>
                      <a:pt x="24006" y="395742"/>
                      <a:pt x="9238" y="371150"/>
                    </a:cubicBezTo>
                    <a:cubicBezTo>
                      <a:pt x="-2928" y="350918"/>
                      <a:pt x="260" y="325741"/>
                      <a:pt x="15484" y="309216"/>
                    </a:cubicBezTo>
                    <a:lnTo>
                      <a:pt x="45019" y="277078"/>
                    </a:lnTo>
                  </a:path>
                </a:pathLst>
              </a:custGeom>
              <a:noFill/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6" name="Forma livre: Forma 55">
                <a:extLst>
                  <a:ext uri="{FF2B5EF4-FFF2-40B4-BE49-F238E27FC236}">
                    <a16:creationId xmlns:a16="http://schemas.microsoft.com/office/drawing/2014/main" id="{81280BED-7CC9-ADBF-1685-2F1D3A5C6133}"/>
                  </a:ext>
                </a:extLst>
              </p:cNvPr>
              <p:cNvSpPr/>
              <p:nvPr/>
            </p:nvSpPr>
            <p:spPr>
              <a:xfrm>
                <a:off x="6144784" y="1383865"/>
                <a:ext cx="41563" cy="38963"/>
              </a:xfrm>
              <a:custGeom>
                <a:avLst/>
                <a:gdLst>
                  <a:gd name="connsiteX0" fmla="*/ 36172 w 41563"/>
                  <a:gd name="connsiteY0" fmla="*/ 0 h 38963"/>
                  <a:gd name="connsiteX1" fmla="*/ 39425 w 41563"/>
                  <a:gd name="connsiteY1" fmla="*/ 24266 h 38963"/>
                  <a:gd name="connsiteX2" fmla="*/ 36432 w 41563"/>
                  <a:gd name="connsiteY2" fmla="*/ 29080 h 38963"/>
                  <a:gd name="connsiteX3" fmla="*/ 0 w 41563"/>
                  <a:gd name="connsiteY3" fmla="*/ 33439 h 389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563" h="38963">
                    <a:moveTo>
                      <a:pt x="36172" y="0"/>
                    </a:moveTo>
                    <a:cubicBezTo>
                      <a:pt x="41571" y="7547"/>
                      <a:pt x="43393" y="16004"/>
                      <a:pt x="39425" y="24266"/>
                    </a:cubicBezTo>
                    <a:cubicBezTo>
                      <a:pt x="38644" y="25893"/>
                      <a:pt x="37603" y="27519"/>
                      <a:pt x="36432" y="29080"/>
                    </a:cubicBezTo>
                    <a:cubicBezTo>
                      <a:pt x="27584" y="40270"/>
                      <a:pt x="11190" y="42287"/>
                      <a:pt x="0" y="33439"/>
                    </a:cubicBezTo>
                  </a:path>
                </a:pathLst>
              </a:custGeom>
              <a:noFill/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7" name="Forma livre: Forma 56">
                <a:extLst>
                  <a:ext uri="{FF2B5EF4-FFF2-40B4-BE49-F238E27FC236}">
                    <a16:creationId xmlns:a16="http://schemas.microsoft.com/office/drawing/2014/main" id="{5AB07DF1-0738-7BE3-6B41-A6B64617D685}"/>
                  </a:ext>
                </a:extLst>
              </p:cNvPr>
              <p:cNvSpPr/>
              <p:nvPr/>
            </p:nvSpPr>
            <p:spPr>
              <a:xfrm>
                <a:off x="6081487" y="1460806"/>
                <a:ext cx="34217" cy="54474"/>
              </a:xfrm>
              <a:custGeom>
                <a:avLst/>
                <a:gdLst>
                  <a:gd name="connsiteX0" fmla="*/ 21076 w 34217"/>
                  <a:gd name="connsiteY0" fmla="*/ 54475 h 54474"/>
                  <a:gd name="connsiteX1" fmla="*/ 778 w 34217"/>
                  <a:gd name="connsiteY1" fmla="*/ 21035 h 54474"/>
                  <a:gd name="connsiteX2" fmla="*/ 34217 w 34217"/>
                  <a:gd name="connsiteY2" fmla="*/ 803 h 544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4217" h="54474">
                    <a:moveTo>
                      <a:pt x="21076" y="54475"/>
                    </a:moveTo>
                    <a:cubicBezTo>
                      <a:pt x="6308" y="50832"/>
                      <a:pt x="-2800" y="35803"/>
                      <a:pt x="778" y="21035"/>
                    </a:cubicBezTo>
                    <a:cubicBezTo>
                      <a:pt x="4421" y="6267"/>
                      <a:pt x="19449" y="-2841"/>
                      <a:pt x="34217" y="803"/>
                    </a:cubicBezTo>
                  </a:path>
                </a:pathLst>
              </a:custGeom>
              <a:noFill/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8" name="Forma livre: Forma 57">
                <a:extLst>
                  <a:ext uri="{FF2B5EF4-FFF2-40B4-BE49-F238E27FC236}">
                    <a16:creationId xmlns:a16="http://schemas.microsoft.com/office/drawing/2014/main" id="{088C10BA-57F8-42C6-81D7-36509CAFF21C}"/>
                  </a:ext>
                </a:extLst>
              </p:cNvPr>
              <p:cNvSpPr/>
              <p:nvPr/>
            </p:nvSpPr>
            <p:spPr>
              <a:xfrm>
                <a:off x="6073547" y="1527543"/>
                <a:ext cx="114760" cy="72506"/>
              </a:xfrm>
              <a:custGeom>
                <a:avLst/>
                <a:gdLst>
                  <a:gd name="connsiteX0" fmla="*/ 114760 w 114760"/>
                  <a:gd name="connsiteY0" fmla="*/ 7254 h 72506"/>
                  <a:gd name="connsiteX1" fmla="*/ 73905 w 114760"/>
                  <a:gd name="connsiteY1" fmla="*/ 8881 h 72506"/>
                  <a:gd name="connsiteX2" fmla="*/ 0 w 114760"/>
                  <a:gd name="connsiteY2" fmla="*/ 72506 h 725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14760" h="72506">
                    <a:moveTo>
                      <a:pt x="114760" y="7254"/>
                    </a:moveTo>
                    <a:cubicBezTo>
                      <a:pt x="103375" y="-2830"/>
                      <a:pt x="83989" y="-2504"/>
                      <a:pt x="73905" y="8881"/>
                    </a:cubicBezTo>
                    <a:cubicBezTo>
                      <a:pt x="73905" y="8881"/>
                      <a:pt x="31488" y="72506"/>
                      <a:pt x="0" y="72506"/>
                    </a:cubicBezTo>
                  </a:path>
                </a:pathLst>
              </a:custGeom>
              <a:noFill/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9" name="Forma livre: Forma 58">
                <a:extLst>
                  <a:ext uri="{FF2B5EF4-FFF2-40B4-BE49-F238E27FC236}">
                    <a16:creationId xmlns:a16="http://schemas.microsoft.com/office/drawing/2014/main" id="{68F7C69C-7C7A-99F3-6A6B-D0922CCD129F}"/>
                  </a:ext>
                </a:extLst>
              </p:cNvPr>
              <p:cNvSpPr/>
              <p:nvPr/>
            </p:nvSpPr>
            <p:spPr>
              <a:xfrm>
                <a:off x="6079857" y="1646956"/>
                <a:ext cx="29405" cy="9823"/>
              </a:xfrm>
              <a:custGeom>
                <a:avLst/>
                <a:gdLst>
                  <a:gd name="connsiteX0" fmla="*/ 0 w 29405"/>
                  <a:gd name="connsiteY0" fmla="*/ 0 h 9823"/>
                  <a:gd name="connsiteX1" fmla="*/ 29406 w 29405"/>
                  <a:gd name="connsiteY1" fmla="*/ 9824 h 98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9405" h="9823">
                    <a:moveTo>
                      <a:pt x="0" y="0"/>
                    </a:moveTo>
                    <a:lnTo>
                      <a:pt x="29406" y="9824"/>
                    </a:lnTo>
                  </a:path>
                </a:pathLst>
              </a:custGeom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60" name="Forma livre: Forma 59">
                <a:extLst>
                  <a:ext uri="{FF2B5EF4-FFF2-40B4-BE49-F238E27FC236}">
                    <a16:creationId xmlns:a16="http://schemas.microsoft.com/office/drawing/2014/main" id="{B5E95028-BDE7-35AA-C937-C7EED5578DA5}"/>
                  </a:ext>
                </a:extLst>
              </p:cNvPr>
              <p:cNvSpPr/>
              <p:nvPr/>
            </p:nvSpPr>
            <p:spPr>
              <a:xfrm>
                <a:off x="6061121" y="1545272"/>
                <a:ext cx="47166" cy="34154"/>
              </a:xfrm>
              <a:custGeom>
                <a:avLst/>
                <a:gdLst>
                  <a:gd name="connsiteX0" fmla="*/ 0 w 47166"/>
                  <a:gd name="connsiteY0" fmla="*/ 0 h 34154"/>
                  <a:gd name="connsiteX1" fmla="*/ 47166 w 47166"/>
                  <a:gd name="connsiteY1" fmla="*/ 34155 h 341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166" h="34154">
                    <a:moveTo>
                      <a:pt x="0" y="0"/>
                    </a:moveTo>
                    <a:cubicBezTo>
                      <a:pt x="0" y="0"/>
                      <a:pt x="27649" y="13011"/>
                      <a:pt x="47166" y="34155"/>
                    </a:cubicBezTo>
                  </a:path>
                </a:pathLst>
              </a:custGeom>
              <a:noFill/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41" name="Gráfico 32">
              <a:extLst>
                <a:ext uri="{FF2B5EF4-FFF2-40B4-BE49-F238E27FC236}">
                  <a16:creationId xmlns:a16="http://schemas.microsoft.com/office/drawing/2014/main" id="{5111AD6D-DEE5-BB07-041D-9205D2B61B13}"/>
                </a:ext>
              </a:extLst>
            </p:cNvPr>
            <p:cNvGrpSpPr/>
            <p:nvPr/>
          </p:nvGrpSpPr>
          <p:grpSpPr>
            <a:xfrm>
              <a:off x="6191625" y="1599725"/>
              <a:ext cx="173767" cy="157112"/>
              <a:chOff x="6191625" y="1599725"/>
              <a:chExt cx="173767" cy="157112"/>
            </a:xfrm>
            <a:noFill/>
          </p:grpSpPr>
          <p:sp>
            <p:nvSpPr>
              <p:cNvPr id="51" name="Forma livre: Forma 50">
                <a:extLst>
                  <a:ext uri="{FF2B5EF4-FFF2-40B4-BE49-F238E27FC236}">
                    <a16:creationId xmlns:a16="http://schemas.microsoft.com/office/drawing/2014/main" id="{71BAFF3B-D270-8FE4-0CDE-A46DF22061D2}"/>
                  </a:ext>
                </a:extLst>
              </p:cNvPr>
              <p:cNvSpPr/>
              <p:nvPr/>
            </p:nvSpPr>
            <p:spPr>
              <a:xfrm>
                <a:off x="6310094" y="1621974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2" name="Forma livre: Forma 51">
                <a:extLst>
                  <a:ext uri="{FF2B5EF4-FFF2-40B4-BE49-F238E27FC236}">
                    <a16:creationId xmlns:a16="http://schemas.microsoft.com/office/drawing/2014/main" id="{1F09F2F1-BC34-53E1-5BEB-126C401D7843}"/>
                  </a:ext>
                </a:extLst>
              </p:cNvPr>
              <p:cNvSpPr/>
              <p:nvPr/>
            </p:nvSpPr>
            <p:spPr>
              <a:xfrm>
                <a:off x="6191625" y="1599725"/>
                <a:ext cx="118078" cy="49898"/>
              </a:xfrm>
              <a:custGeom>
                <a:avLst/>
                <a:gdLst>
                  <a:gd name="connsiteX0" fmla="*/ 0 w 118078"/>
                  <a:gd name="connsiteY0" fmla="*/ 0 h 49898"/>
                  <a:gd name="connsiteX1" fmla="*/ 37343 w 118078"/>
                  <a:gd name="connsiteY1" fmla="*/ 0 h 49898"/>
                  <a:gd name="connsiteX2" fmla="*/ 87176 w 118078"/>
                  <a:gd name="connsiteY2" fmla="*/ 49899 h 49898"/>
                  <a:gd name="connsiteX3" fmla="*/ 118078 w 118078"/>
                  <a:gd name="connsiteY3" fmla="*/ 49899 h 49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8078" h="49898">
                    <a:moveTo>
                      <a:pt x="0" y="0"/>
                    </a:moveTo>
                    <a:lnTo>
                      <a:pt x="37343" y="0"/>
                    </a:lnTo>
                    <a:lnTo>
                      <a:pt x="87176" y="49899"/>
                    </a:lnTo>
                    <a:lnTo>
                      <a:pt x="118078" y="49899"/>
                    </a:lnTo>
                  </a:path>
                </a:pathLst>
              </a:custGeom>
              <a:noFill/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3" name="Forma livre: Forma 52">
                <a:extLst>
                  <a:ext uri="{FF2B5EF4-FFF2-40B4-BE49-F238E27FC236}">
                    <a16:creationId xmlns:a16="http://schemas.microsoft.com/office/drawing/2014/main" id="{6CB8EDC0-5681-014A-A1D5-38F2C3A63511}"/>
                  </a:ext>
                </a:extLst>
              </p:cNvPr>
              <p:cNvSpPr/>
              <p:nvPr/>
            </p:nvSpPr>
            <p:spPr>
              <a:xfrm>
                <a:off x="6191625" y="1665367"/>
                <a:ext cx="81906" cy="44108"/>
              </a:xfrm>
              <a:custGeom>
                <a:avLst/>
                <a:gdLst>
                  <a:gd name="connsiteX0" fmla="*/ 0 w 81906"/>
                  <a:gd name="connsiteY0" fmla="*/ 0 h 44108"/>
                  <a:gd name="connsiteX1" fmla="*/ 37343 w 81906"/>
                  <a:gd name="connsiteY1" fmla="*/ 0 h 44108"/>
                  <a:gd name="connsiteX2" fmla="*/ 81907 w 81906"/>
                  <a:gd name="connsiteY2" fmla="*/ 44109 h 441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1906" h="44108">
                    <a:moveTo>
                      <a:pt x="0" y="0"/>
                    </a:moveTo>
                    <a:lnTo>
                      <a:pt x="37343" y="0"/>
                    </a:lnTo>
                    <a:lnTo>
                      <a:pt x="81907" y="44109"/>
                    </a:lnTo>
                  </a:path>
                </a:pathLst>
              </a:custGeom>
              <a:noFill/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4" name="Forma livre: Forma 53">
                <a:extLst>
                  <a:ext uri="{FF2B5EF4-FFF2-40B4-BE49-F238E27FC236}">
                    <a16:creationId xmlns:a16="http://schemas.microsoft.com/office/drawing/2014/main" id="{7A52F3CB-2D48-7D4C-B888-2C0FE3E3DB93}"/>
                  </a:ext>
                </a:extLst>
              </p:cNvPr>
              <p:cNvSpPr/>
              <p:nvPr/>
            </p:nvSpPr>
            <p:spPr>
              <a:xfrm>
                <a:off x="6265075" y="1701539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42" name="Gráfico 32">
              <a:extLst>
                <a:ext uri="{FF2B5EF4-FFF2-40B4-BE49-F238E27FC236}">
                  <a16:creationId xmlns:a16="http://schemas.microsoft.com/office/drawing/2014/main" id="{38E0968D-624D-B731-0054-EA587F71244B}"/>
                </a:ext>
              </a:extLst>
            </p:cNvPr>
            <p:cNvGrpSpPr/>
            <p:nvPr/>
          </p:nvGrpSpPr>
          <p:grpSpPr>
            <a:xfrm>
              <a:off x="6191625" y="1357908"/>
              <a:ext cx="173767" cy="157112"/>
              <a:chOff x="6191625" y="1357908"/>
              <a:chExt cx="173767" cy="157112"/>
            </a:xfrm>
            <a:noFill/>
          </p:grpSpPr>
          <p:sp>
            <p:nvSpPr>
              <p:cNvPr id="47" name="Forma livre: Forma 46">
                <a:extLst>
                  <a:ext uri="{FF2B5EF4-FFF2-40B4-BE49-F238E27FC236}">
                    <a16:creationId xmlns:a16="http://schemas.microsoft.com/office/drawing/2014/main" id="{5B33B93B-EC38-64AB-2EC9-6FDB253CBB1A}"/>
                  </a:ext>
                </a:extLst>
              </p:cNvPr>
              <p:cNvSpPr/>
              <p:nvPr/>
            </p:nvSpPr>
            <p:spPr>
              <a:xfrm>
                <a:off x="6310094" y="1437472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0 h 55298"/>
                  <a:gd name="connsiteX2" fmla="*/ 0 w 55298"/>
                  <a:gd name="connsiteY2" fmla="*/ 27649 h 55298"/>
                  <a:gd name="connsiteX3" fmla="*/ 27649 w 55298"/>
                  <a:gd name="connsiteY3" fmla="*/ 55298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12361"/>
                      <a:pt x="42938" y="0"/>
                      <a:pt x="27649" y="0"/>
                    </a:cubicBezTo>
                    <a:cubicBezTo>
                      <a:pt x="12361" y="0"/>
                      <a:pt x="0" y="12361"/>
                      <a:pt x="0" y="27649"/>
                    </a:cubicBezTo>
                    <a:cubicBezTo>
                      <a:pt x="0" y="42938"/>
                      <a:pt x="12361" y="55298"/>
                      <a:pt x="27649" y="55298"/>
                    </a:cubicBezTo>
                    <a:cubicBezTo>
                      <a:pt x="42938" y="55298"/>
                      <a:pt x="55298" y="42938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8" name="Forma livre: Forma 47">
                <a:extLst>
                  <a:ext uri="{FF2B5EF4-FFF2-40B4-BE49-F238E27FC236}">
                    <a16:creationId xmlns:a16="http://schemas.microsoft.com/office/drawing/2014/main" id="{D7FDC231-29B4-16CF-4BB3-995C53FD5DBF}"/>
                  </a:ext>
                </a:extLst>
              </p:cNvPr>
              <p:cNvSpPr/>
              <p:nvPr/>
            </p:nvSpPr>
            <p:spPr>
              <a:xfrm>
                <a:off x="6191625" y="1465122"/>
                <a:ext cx="118468" cy="49898"/>
              </a:xfrm>
              <a:custGeom>
                <a:avLst/>
                <a:gdLst>
                  <a:gd name="connsiteX0" fmla="*/ 0 w 118468"/>
                  <a:gd name="connsiteY0" fmla="*/ 49899 h 49898"/>
                  <a:gd name="connsiteX1" fmla="*/ 37343 w 118468"/>
                  <a:gd name="connsiteY1" fmla="*/ 49899 h 49898"/>
                  <a:gd name="connsiteX2" fmla="*/ 87176 w 118468"/>
                  <a:gd name="connsiteY2" fmla="*/ 0 h 49898"/>
                  <a:gd name="connsiteX3" fmla="*/ 118469 w 118468"/>
                  <a:gd name="connsiteY3" fmla="*/ 0 h 49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8468" h="49898">
                    <a:moveTo>
                      <a:pt x="0" y="49899"/>
                    </a:moveTo>
                    <a:lnTo>
                      <a:pt x="37343" y="49899"/>
                    </a:lnTo>
                    <a:lnTo>
                      <a:pt x="87176" y="0"/>
                    </a:lnTo>
                    <a:lnTo>
                      <a:pt x="118469" y="0"/>
                    </a:lnTo>
                  </a:path>
                </a:pathLst>
              </a:custGeom>
              <a:noFill/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9" name="Forma livre: Forma 48">
                <a:extLst>
                  <a:ext uri="{FF2B5EF4-FFF2-40B4-BE49-F238E27FC236}">
                    <a16:creationId xmlns:a16="http://schemas.microsoft.com/office/drawing/2014/main" id="{12B36C07-7C45-16E6-E072-769E04346D28}"/>
                  </a:ext>
                </a:extLst>
              </p:cNvPr>
              <p:cNvSpPr/>
              <p:nvPr/>
            </p:nvSpPr>
            <p:spPr>
              <a:xfrm>
                <a:off x="6191625" y="1405269"/>
                <a:ext cx="81451" cy="44043"/>
              </a:xfrm>
              <a:custGeom>
                <a:avLst/>
                <a:gdLst>
                  <a:gd name="connsiteX0" fmla="*/ 0 w 81451"/>
                  <a:gd name="connsiteY0" fmla="*/ 44044 h 44043"/>
                  <a:gd name="connsiteX1" fmla="*/ 37343 w 81451"/>
                  <a:gd name="connsiteY1" fmla="*/ 44044 h 44043"/>
                  <a:gd name="connsiteX2" fmla="*/ 81451 w 81451"/>
                  <a:gd name="connsiteY2" fmla="*/ 0 h 440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1451" h="44043">
                    <a:moveTo>
                      <a:pt x="0" y="44044"/>
                    </a:moveTo>
                    <a:lnTo>
                      <a:pt x="37343" y="44044"/>
                    </a:lnTo>
                    <a:lnTo>
                      <a:pt x="81451" y="0"/>
                    </a:lnTo>
                  </a:path>
                </a:pathLst>
              </a:custGeom>
              <a:noFill/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0" name="Forma livre: Forma 49">
                <a:extLst>
                  <a:ext uri="{FF2B5EF4-FFF2-40B4-BE49-F238E27FC236}">
                    <a16:creationId xmlns:a16="http://schemas.microsoft.com/office/drawing/2014/main" id="{F1926E90-46BF-DCEE-BD81-EE9855F12D76}"/>
                  </a:ext>
                </a:extLst>
              </p:cNvPr>
              <p:cNvSpPr/>
              <p:nvPr/>
            </p:nvSpPr>
            <p:spPr>
              <a:xfrm>
                <a:off x="6265075" y="1357908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0 h 55298"/>
                  <a:gd name="connsiteX2" fmla="*/ 0 w 55298"/>
                  <a:gd name="connsiteY2" fmla="*/ 27649 h 55298"/>
                  <a:gd name="connsiteX3" fmla="*/ 27649 w 55298"/>
                  <a:gd name="connsiteY3" fmla="*/ 55298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12361"/>
                      <a:pt x="42938" y="0"/>
                      <a:pt x="27649" y="0"/>
                    </a:cubicBezTo>
                    <a:cubicBezTo>
                      <a:pt x="12361" y="0"/>
                      <a:pt x="0" y="12361"/>
                      <a:pt x="0" y="27649"/>
                    </a:cubicBezTo>
                    <a:cubicBezTo>
                      <a:pt x="0" y="42938"/>
                      <a:pt x="12361" y="55298"/>
                      <a:pt x="27649" y="55298"/>
                    </a:cubicBezTo>
                    <a:cubicBezTo>
                      <a:pt x="42938" y="55298"/>
                      <a:pt x="55298" y="42938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43" name="Gráfico 32">
              <a:extLst>
                <a:ext uri="{FF2B5EF4-FFF2-40B4-BE49-F238E27FC236}">
                  <a16:creationId xmlns:a16="http://schemas.microsoft.com/office/drawing/2014/main" id="{37E8B910-1429-C7DA-DBDD-769AA81C9A6C}"/>
                </a:ext>
              </a:extLst>
            </p:cNvPr>
            <p:cNvGrpSpPr/>
            <p:nvPr/>
          </p:nvGrpSpPr>
          <p:grpSpPr>
            <a:xfrm>
              <a:off x="6190910" y="1529723"/>
              <a:ext cx="123673" cy="55298"/>
              <a:chOff x="6190910" y="1529723"/>
              <a:chExt cx="123673" cy="55298"/>
            </a:xfrm>
            <a:noFill/>
          </p:grpSpPr>
          <p:sp>
            <p:nvSpPr>
              <p:cNvPr id="45" name="Forma livre: Forma 44">
                <a:extLst>
                  <a:ext uri="{FF2B5EF4-FFF2-40B4-BE49-F238E27FC236}">
                    <a16:creationId xmlns:a16="http://schemas.microsoft.com/office/drawing/2014/main" id="{FBA27738-12B1-376A-4827-40832882E409}"/>
                  </a:ext>
                </a:extLst>
              </p:cNvPr>
              <p:cNvSpPr/>
              <p:nvPr/>
            </p:nvSpPr>
            <p:spPr>
              <a:xfrm>
                <a:off x="6190910" y="1557372"/>
                <a:ext cx="68765" cy="6505"/>
              </a:xfrm>
              <a:custGeom>
                <a:avLst/>
                <a:gdLst>
                  <a:gd name="connsiteX0" fmla="*/ 0 w 68765"/>
                  <a:gd name="connsiteY0" fmla="*/ 0 h 6505"/>
                  <a:gd name="connsiteX1" fmla="*/ 68765 w 68765"/>
                  <a:gd name="connsiteY1" fmla="*/ 0 h 65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8765" h="6505">
                    <a:moveTo>
                      <a:pt x="0" y="0"/>
                    </a:moveTo>
                    <a:lnTo>
                      <a:pt x="68765" y="0"/>
                    </a:lnTo>
                  </a:path>
                </a:pathLst>
              </a:custGeom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6" name="Forma livre: Forma 45">
                <a:extLst>
                  <a:ext uri="{FF2B5EF4-FFF2-40B4-BE49-F238E27FC236}">
                    <a16:creationId xmlns:a16="http://schemas.microsoft.com/office/drawing/2014/main" id="{A0CF4773-CFB3-CC21-9D40-6DFBB3D0C4B6}"/>
                  </a:ext>
                </a:extLst>
              </p:cNvPr>
              <p:cNvSpPr/>
              <p:nvPr/>
            </p:nvSpPr>
            <p:spPr>
              <a:xfrm>
                <a:off x="6259285" y="1529723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44" name="Forma livre: Forma 43">
              <a:extLst>
                <a:ext uri="{FF2B5EF4-FFF2-40B4-BE49-F238E27FC236}">
                  <a16:creationId xmlns:a16="http://schemas.microsoft.com/office/drawing/2014/main" id="{31C826B9-D956-5120-655F-145EF4932EA7}"/>
                </a:ext>
              </a:extLst>
            </p:cNvPr>
            <p:cNvSpPr/>
            <p:nvPr/>
          </p:nvSpPr>
          <p:spPr>
            <a:xfrm>
              <a:off x="6152201" y="1686285"/>
              <a:ext cx="37362" cy="20848"/>
            </a:xfrm>
            <a:custGeom>
              <a:avLst/>
              <a:gdLst>
                <a:gd name="connsiteX0" fmla="*/ 0 w 37362"/>
                <a:gd name="connsiteY0" fmla="*/ 10505 h 20848"/>
                <a:gd name="connsiteX1" fmla="*/ 27064 w 37362"/>
                <a:gd name="connsiteY1" fmla="*/ 2373 h 20848"/>
                <a:gd name="connsiteX2" fmla="*/ 37343 w 37362"/>
                <a:gd name="connsiteY2" fmla="*/ 20849 h 20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7362" h="20848">
                  <a:moveTo>
                    <a:pt x="0" y="10505"/>
                  </a:moveTo>
                  <a:cubicBezTo>
                    <a:pt x="5205" y="811"/>
                    <a:pt x="17435" y="-2832"/>
                    <a:pt x="27064" y="2373"/>
                  </a:cubicBezTo>
                  <a:cubicBezTo>
                    <a:pt x="34025" y="6081"/>
                    <a:pt x="37668" y="13432"/>
                    <a:pt x="37343" y="20849"/>
                  </a:cubicBezTo>
                </a:path>
              </a:pathLst>
            </a:custGeom>
            <a:noFill/>
            <a:ln w="19050" cap="sq">
              <a:solidFill>
                <a:srgbClr val="184BFF"/>
              </a:solidFill>
              <a:prstDash val="solid"/>
              <a:miter lim="800000"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61" name="Agrupar 60">
            <a:extLst>
              <a:ext uri="{FF2B5EF4-FFF2-40B4-BE49-F238E27FC236}">
                <a16:creationId xmlns:a16="http://schemas.microsoft.com/office/drawing/2014/main" id="{FB04F89F-C278-B317-817C-B849BE24E4A3}"/>
              </a:ext>
            </a:extLst>
          </p:cNvPr>
          <p:cNvGrpSpPr/>
          <p:nvPr/>
        </p:nvGrpSpPr>
        <p:grpSpPr>
          <a:xfrm>
            <a:off x="897189" y="3037028"/>
            <a:ext cx="351508" cy="383868"/>
            <a:chOff x="6000092" y="1357908"/>
            <a:chExt cx="365300" cy="398929"/>
          </a:xfrm>
        </p:grpSpPr>
        <p:sp>
          <p:nvSpPr>
            <p:cNvPr id="62" name="Forma livre: Forma 61">
              <a:extLst>
                <a:ext uri="{FF2B5EF4-FFF2-40B4-BE49-F238E27FC236}">
                  <a16:creationId xmlns:a16="http://schemas.microsoft.com/office/drawing/2014/main" id="{80F71970-06F4-0030-AB52-4D8417BEFF0B}"/>
                </a:ext>
              </a:extLst>
            </p:cNvPr>
            <p:cNvSpPr/>
            <p:nvPr/>
          </p:nvSpPr>
          <p:spPr>
            <a:xfrm>
              <a:off x="6000092" y="1418606"/>
              <a:ext cx="84058" cy="286120"/>
            </a:xfrm>
            <a:custGeom>
              <a:avLst/>
              <a:gdLst>
                <a:gd name="connsiteX0" fmla="*/ 51595 w 84058"/>
                <a:gd name="connsiteY0" fmla="*/ 0 h 286120"/>
                <a:gd name="connsiteX1" fmla="*/ 35266 w 84058"/>
                <a:gd name="connsiteY1" fmla="*/ 61674 h 286120"/>
                <a:gd name="connsiteX2" fmla="*/ 28760 w 84058"/>
                <a:gd name="connsiteY2" fmla="*/ 193415 h 286120"/>
                <a:gd name="connsiteX3" fmla="*/ 84059 w 84058"/>
                <a:gd name="connsiteY3" fmla="*/ 286121 h 2861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4058" h="286120">
                  <a:moveTo>
                    <a:pt x="51595" y="0"/>
                  </a:moveTo>
                  <a:cubicBezTo>
                    <a:pt x="37868" y="7872"/>
                    <a:pt x="26028" y="24852"/>
                    <a:pt x="35266" y="61674"/>
                  </a:cubicBezTo>
                  <a:cubicBezTo>
                    <a:pt x="35266" y="61674"/>
                    <a:pt x="-39549" y="126731"/>
                    <a:pt x="28760" y="193415"/>
                  </a:cubicBezTo>
                  <a:cubicBezTo>
                    <a:pt x="28760" y="193415"/>
                    <a:pt x="9243" y="281242"/>
                    <a:pt x="84059" y="286121"/>
                  </a:cubicBezTo>
                </a:path>
              </a:pathLst>
            </a:custGeom>
            <a:noFill/>
            <a:ln w="19050" cap="sq">
              <a:solidFill>
                <a:srgbClr val="184BFF"/>
              </a:solidFill>
              <a:prstDash val="solid"/>
              <a:miter lim="800000"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63" name="Gráfico 32">
              <a:extLst>
                <a:ext uri="{FF2B5EF4-FFF2-40B4-BE49-F238E27FC236}">
                  <a16:creationId xmlns:a16="http://schemas.microsoft.com/office/drawing/2014/main" id="{85D3ED91-EE6F-CFD4-50CE-07DB2656207E}"/>
                </a:ext>
              </a:extLst>
            </p:cNvPr>
            <p:cNvGrpSpPr/>
            <p:nvPr/>
          </p:nvGrpSpPr>
          <p:grpSpPr>
            <a:xfrm>
              <a:off x="6061121" y="1359924"/>
              <a:ext cx="128487" cy="396366"/>
              <a:chOff x="6061121" y="1359924"/>
              <a:chExt cx="128487" cy="396366"/>
            </a:xfrm>
            <a:noFill/>
          </p:grpSpPr>
          <p:sp>
            <p:nvSpPr>
              <p:cNvPr id="78" name="Forma livre: Forma 77">
                <a:extLst>
                  <a:ext uri="{FF2B5EF4-FFF2-40B4-BE49-F238E27FC236}">
                    <a16:creationId xmlns:a16="http://schemas.microsoft.com/office/drawing/2014/main" id="{D502E50C-5FF2-695A-6FAD-27DDECCA6DF0}"/>
                  </a:ext>
                </a:extLst>
              </p:cNvPr>
              <p:cNvSpPr/>
              <p:nvPr/>
            </p:nvSpPr>
            <p:spPr>
              <a:xfrm>
                <a:off x="6083891" y="1359924"/>
                <a:ext cx="105717" cy="396366"/>
              </a:xfrm>
              <a:custGeom>
                <a:avLst/>
                <a:gdLst>
                  <a:gd name="connsiteX0" fmla="*/ 52891 w 105717"/>
                  <a:gd name="connsiteY0" fmla="*/ 105718 h 396366"/>
                  <a:gd name="connsiteX1" fmla="*/ 0 w 105717"/>
                  <a:gd name="connsiteY1" fmla="*/ 52891 h 396366"/>
                  <a:gd name="connsiteX2" fmla="*/ 52891 w 105717"/>
                  <a:gd name="connsiteY2" fmla="*/ 0 h 396366"/>
                  <a:gd name="connsiteX3" fmla="*/ 105718 w 105717"/>
                  <a:gd name="connsiteY3" fmla="*/ 52826 h 396366"/>
                  <a:gd name="connsiteX4" fmla="*/ 105718 w 105717"/>
                  <a:gd name="connsiteY4" fmla="*/ 346884 h 396366"/>
                  <a:gd name="connsiteX5" fmla="*/ 80606 w 105717"/>
                  <a:gd name="connsiteY5" fmla="*/ 388911 h 396366"/>
                  <a:gd name="connsiteX6" fmla="*/ 9238 w 105717"/>
                  <a:gd name="connsiteY6" fmla="*/ 371150 h 396366"/>
                  <a:gd name="connsiteX7" fmla="*/ 15484 w 105717"/>
                  <a:gd name="connsiteY7" fmla="*/ 309216 h 396366"/>
                  <a:gd name="connsiteX8" fmla="*/ 45019 w 105717"/>
                  <a:gd name="connsiteY8" fmla="*/ 277078 h 3963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05717" h="396366">
                    <a:moveTo>
                      <a:pt x="52891" y="105718"/>
                    </a:moveTo>
                    <a:cubicBezTo>
                      <a:pt x="23681" y="105718"/>
                      <a:pt x="0" y="82037"/>
                      <a:pt x="0" y="52891"/>
                    </a:cubicBezTo>
                    <a:cubicBezTo>
                      <a:pt x="0" y="23746"/>
                      <a:pt x="23681" y="0"/>
                      <a:pt x="52891" y="0"/>
                    </a:cubicBezTo>
                    <a:cubicBezTo>
                      <a:pt x="82102" y="0"/>
                      <a:pt x="105718" y="23681"/>
                      <a:pt x="105718" y="52826"/>
                    </a:cubicBezTo>
                    <a:lnTo>
                      <a:pt x="105718" y="346884"/>
                    </a:lnTo>
                    <a:cubicBezTo>
                      <a:pt x="105718" y="364580"/>
                      <a:pt x="96414" y="379413"/>
                      <a:pt x="80606" y="388911"/>
                    </a:cubicBezTo>
                    <a:cubicBezTo>
                      <a:pt x="55949" y="403744"/>
                      <a:pt x="24006" y="395742"/>
                      <a:pt x="9238" y="371150"/>
                    </a:cubicBezTo>
                    <a:cubicBezTo>
                      <a:pt x="-2928" y="350918"/>
                      <a:pt x="260" y="325741"/>
                      <a:pt x="15484" y="309216"/>
                    </a:cubicBezTo>
                    <a:lnTo>
                      <a:pt x="45019" y="277078"/>
                    </a:lnTo>
                  </a:path>
                </a:pathLst>
              </a:custGeom>
              <a:noFill/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9" name="Forma livre: Forma 78">
                <a:extLst>
                  <a:ext uri="{FF2B5EF4-FFF2-40B4-BE49-F238E27FC236}">
                    <a16:creationId xmlns:a16="http://schemas.microsoft.com/office/drawing/2014/main" id="{A977081E-74C8-5023-1E22-DF7410274780}"/>
                  </a:ext>
                </a:extLst>
              </p:cNvPr>
              <p:cNvSpPr/>
              <p:nvPr/>
            </p:nvSpPr>
            <p:spPr>
              <a:xfrm>
                <a:off x="6144784" y="1383865"/>
                <a:ext cx="41563" cy="38963"/>
              </a:xfrm>
              <a:custGeom>
                <a:avLst/>
                <a:gdLst>
                  <a:gd name="connsiteX0" fmla="*/ 36172 w 41563"/>
                  <a:gd name="connsiteY0" fmla="*/ 0 h 38963"/>
                  <a:gd name="connsiteX1" fmla="*/ 39425 w 41563"/>
                  <a:gd name="connsiteY1" fmla="*/ 24266 h 38963"/>
                  <a:gd name="connsiteX2" fmla="*/ 36432 w 41563"/>
                  <a:gd name="connsiteY2" fmla="*/ 29080 h 38963"/>
                  <a:gd name="connsiteX3" fmla="*/ 0 w 41563"/>
                  <a:gd name="connsiteY3" fmla="*/ 33439 h 389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563" h="38963">
                    <a:moveTo>
                      <a:pt x="36172" y="0"/>
                    </a:moveTo>
                    <a:cubicBezTo>
                      <a:pt x="41571" y="7547"/>
                      <a:pt x="43393" y="16004"/>
                      <a:pt x="39425" y="24266"/>
                    </a:cubicBezTo>
                    <a:cubicBezTo>
                      <a:pt x="38644" y="25893"/>
                      <a:pt x="37603" y="27519"/>
                      <a:pt x="36432" y="29080"/>
                    </a:cubicBezTo>
                    <a:cubicBezTo>
                      <a:pt x="27584" y="40270"/>
                      <a:pt x="11190" y="42287"/>
                      <a:pt x="0" y="33439"/>
                    </a:cubicBezTo>
                  </a:path>
                </a:pathLst>
              </a:custGeom>
              <a:noFill/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80" name="Forma livre: Forma 79">
                <a:extLst>
                  <a:ext uri="{FF2B5EF4-FFF2-40B4-BE49-F238E27FC236}">
                    <a16:creationId xmlns:a16="http://schemas.microsoft.com/office/drawing/2014/main" id="{E6103213-BC5E-4368-2816-A4DB09C1C305}"/>
                  </a:ext>
                </a:extLst>
              </p:cNvPr>
              <p:cNvSpPr/>
              <p:nvPr/>
            </p:nvSpPr>
            <p:spPr>
              <a:xfrm>
                <a:off x="6081487" y="1460806"/>
                <a:ext cx="34217" cy="54474"/>
              </a:xfrm>
              <a:custGeom>
                <a:avLst/>
                <a:gdLst>
                  <a:gd name="connsiteX0" fmla="*/ 21076 w 34217"/>
                  <a:gd name="connsiteY0" fmla="*/ 54475 h 54474"/>
                  <a:gd name="connsiteX1" fmla="*/ 778 w 34217"/>
                  <a:gd name="connsiteY1" fmla="*/ 21035 h 54474"/>
                  <a:gd name="connsiteX2" fmla="*/ 34217 w 34217"/>
                  <a:gd name="connsiteY2" fmla="*/ 803 h 544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4217" h="54474">
                    <a:moveTo>
                      <a:pt x="21076" y="54475"/>
                    </a:moveTo>
                    <a:cubicBezTo>
                      <a:pt x="6308" y="50832"/>
                      <a:pt x="-2800" y="35803"/>
                      <a:pt x="778" y="21035"/>
                    </a:cubicBezTo>
                    <a:cubicBezTo>
                      <a:pt x="4421" y="6267"/>
                      <a:pt x="19449" y="-2841"/>
                      <a:pt x="34217" y="803"/>
                    </a:cubicBezTo>
                  </a:path>
                </a:pathLst>
              </a:custGeom>
              <a:noFill/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81" name="Forma livre: Forma 80">
                <a:extLst>
                  <a:ext uri="{FF2B5EF4-FFF2-40B4-BE49-F238E27FC236}">
                    <a16:creationId xmlns:a16="http://schemas.microsoft.com/office/drawing/2014/main" id="{EA6F96AE-9531-1C50-4443-1BE9F3FBD49A}"/>
                  </a:ext>
                </a:extLst>
              </p:cNvPr>
              <p:cNvSpPr/>
              <p:nvPr/>
            </p:nvSpPr>
            <p:spPr>
              <a:xfrm>
                <a:off x="6073547" y="1527543"/>
                <a:ext cx="114760" cy="72506"/>
              </a:xfrm>
              <a:custGeom>
                <a:avLst/>
                <a:gdLst>
                  <a:gd name="connsiteX0" fmla="*/ 114760 w 114760"/>
                  <a:gd name="connsiteY0" fmla="*/ 7254 h 72506"/>
                  <a:gd name="connsiteX1" fmla="*/ 73905 w 114760"/>
                  <a:gd name="connsiteY1" fmla="*/ 8881 h 72506"/>
                  <a:gd name="connsiteX2" fmla="*/ 0 w 114760"/>
                  <a:gd name="connsiteY2" fmla="*/ 72506 h 725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14760" h="72506">
                    <a:moveTo>
                      <a:pt x="114760" y="7254"/>
                    </a:moveTo>
                    <a:cubicBezTo>
                      <a:pt x="103375" y="-2830"/>
                      <a:pt x="83989" y="-2504"/>
                      <a:pt x="73905" y="8881"/>
                    </a:cubicBezTo>
                    <a:cubicBezTo>
                      <a:pt x="73905" y="8881"/>
                      <a:pt x="31488" y="72506"/>
                      <a:pt x="0" y="72506"/>
                    </a:cubicBezTo>
                  </a:path>
                </a:pathLst>
              </a:custGeom>
              <a:noFill/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82" name="Forma livre: Forma 81">
                <a:extLst>
                  <a:ext uri="{FF2B5EF4-FFF2-40B4-BE49-F238E27FC236}">
                    <a16:creationId xmlns:a16="http://schemas.microsoft.com/office/drawing/2014/main" id="{A63F0254-FDAE-8616-0A99-E428BF424DBB}"/>
                  </a:ext>
                </a:extLst>
              </p:cNvPr>
              <p:cNvSpPr/>
              <p:nvPr/>
            </p:nvSpPr>
            <p:spPr>
              <a:xfrm>
                <a:off x="6079857" y="1646956"/>
                <a:ext cx="29405" cy="9823"/>
              </a:xfrm>
              <a:custGeom>
                <a:avLst/>
                <a:gdLst>
                  <a:gd name="connsiteX0" fmla="*/ 0 w 29405"/>
                  <a:gd name="connsiteY0" fmla="*/ 0 h 9823"/>
                  <a:gd name="connsiteX1" fmla="*/ 29406 w 29405"/>
                  <a:gd name="connsiteY1" fmla="*/ 9824 h 98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9405" h="9823">
                    <a:moveTo>
                      <a:pt x="0" y="0"/>
                    </a:moveTo>
                    <a:lnTo>
                      <a:pt x="29406" y="9824"/>
                    </a:lnTo>
                  </a:path>
                </a:pathLst>
              </a:custGeom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83" name="Forma livre: Forma 82">
                <a:extLst>
                  <a:ext uri="{FF2B5EF4-FFF2-40B4-BE49-F238E27FC236}">
                    <a16:creationId xmlns:a16="http://schemas.microsoft.com/office/drawing/2014/main" id="{587CE241-F694-0819-3132-FAB01AC1E995}"/>
                  </a:ext>
                </a:extLst>
              </p:cNvPr>
              <p:cNvSpPr/>
              <p:nvPr/>
            </p:nvSpPr>
            <p:spPr>
              <a:xfrm>
                <a:off x="6061121" y="1545272"/>
                <a:ext cx="47166" cy="34154"/>
              </a:xfrm>
              <a:custGeom>
                <a:avLst/>
                <a:gdLst>
                  <a:gd name="connsiteX0" fmla="*/ 0 w 47166"/>
                  <a:gd name="connsiteY0" fmla="*/ 0 h 34154"/>
                  <a:gd name="connsiteX1" fmla="*/ 47166 w 47166"/>
                  <a:gd name="connsiteY1" fmla="*/ 34155 h 341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166" h="34154">
                    <a:moveTo>
                      <a:pt x="0" y="0"/>
                    </a:moveTo>
                    <a:cubicBezTo>
                      <a:pt x="0" y="0"/>
                      <a:pt x="27649" y="13011"/>
                      <a:pt x="47166" y="34155"/>
                    </a:cubicBezTo>
                  </a:path>
                </a:pathLst>
              </a:custGeom>
              <a:noFill/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64" name="Gráfico 32">
              <a:extLst>
                <a:ext uri="{FF2B5EF4-FFF2-40B4-BE49-F238E27FC236}">
                  <a16:creationId xmlns:a16="http://schemas.microsoft.com/office/drawing/2014/main" id="{C924A081-2114-01AE-D122-D84027F00EE0}"/>
                </a:ext>
              </a:extLst>
            </p:cNvPr>
            <p:cNvGrpSpPr/>
            <p:nvPr/>
          </p:nvGrpSpPr>
          <p:grpSpPr>
            <a:xfrm>
              <a:off x="6191625" y="1599725"/>
              <a:ext cx="173767" cy="157112"/>
              <a:chOff x="6191625" y="1599725"/>
              <a:chExt cx="173767" cy="157112"/>
            </a:xfrm>
            <a:noFill/>
          </p:grpSpPr>
          <p:sp>
            <p:nvSpPr>
              <p:cNvPr id="74" name="Forma livre: Forma 73">
                <a:extLst>
                  <a:ext uri="{FF2B5EF4-FFF2-40B4-BE49-F238E27FC236}">
                    <a16:creationId xmlns:a16="http://schemas.microsoft.com/office/drawing/2014/main" id="{82895C22-261C-98C1-77DC-A65958338E44}"/>
                  </a:ext>
                </a:extLst>
              </p:cNvPr>
              <p:cNvSpPr/>
              <p:nvPr/>
            </p:nvSpPr>
            <p:spPr>
              <a:xfrm>
                <a:off x="6310094" y="1621974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5" name="Forma livre: Forma 74">
                <a:extLst>
                  <a:ext uri="{FF2B5EF4-FFF2-40B4-BE49-F238E27FC236}">
                    <a16:creationId xmlns:a16="http://schemas.microsoft.com/office/drawing/2014/main" id="{DC9F55AC-1AFF-32D2-8A24-9A8E68280CBE}"/>
                  </a:ext>
                </a:extLst>
              </p:cNvPr>
              <p:cNvSpPr/>
              <p:nvPr/>
            </p:nvSpPr>
            <p:spPr>
              <a:xfrm>
                <a:off x="6191625" y="1599725"/>
                <a:ext cx="118078" cy="49898"/>
              </a:xfrm>
              <a:custGeom>
                <a:avLst/>
                <a:gdLst>
                  <a:gd name="connsiteX0" fmla="*/ 0 w 118078"/>
                  <a:gd name="connsiteY0" fmla="*/ 0 h 49898"/>
                  <a:gd name="connsiteX1" fmla="*/ 37343 w 118078"/>
                  <a:gd name="connsiteY1" fmla="*/ 0 h 49898"/>
                  <a:gd name="connsiteX2" fmla="*/ 87176 w 118078"/>
                  <a:gd name="connsiteY2" fmla="*/ 49899 h 49898"/>
                  <a:gd name="connsiteX3" fmla="*/ 118078 w 118078"/>
                  <a:gd name="connsiteY3" fmla="*/ 49899 h 49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8078" h="49898">
                    <a:moveTo>
                      <a:pt x="0" y="0"/>
                    </a:moveTo>
                    <a:lnTo>
                      <a:pt x="37343" y="0"/>
                    </a:lnTo>
                    <a:lnTo>
                      <a:pt x="87176" y="49899"/>
                    </a:lnTo>
                    <a:lnTo>
                      <a:pt x="118078" y="49899"/>
                    </a:lnTo>
                  </a:path>
                </a:pathLst>
              </a:custGeom>
              <a:noFill/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6" name="Forma livre: Forma 75">
                <a:extLst>
                  <a:ext uri="{FF2B5EF4-FFF2-40B4-BE49-F238E27FC236}">
                    <a16:creationId xmlns:a16="http://schemas.microsoft.com/office/drawing/2014/main" id="{5C9AB315-D3A3-E469-F267-AB3C366A273D}"/>
                  </a:ext>
                </a:extLst>
              </p:cNvPr>
              <p:cNvSpPr/>
              <p:nvPr/>
            </p:nvSpPr>
            <p:spPr>
              <a:xfrm>
                <a:off x="6191625" y="1665367"/>
                <a:ext cx="81906" cy="44108"/>
              </a:xfrm>
              <a:custGeom>
                <a:avLst/>
                <a:gdLst>
                  <a:gd name="connsiteX0" fmla="*/ 0 w 81906"/>
                  <a:gd name="connsiteY0" fmla="*/ 0 h 44108"/>
                  <a:gd name="connsiteX1" fmla="*/ 37343 w 81906"/>
                  <a:gd name="connsiteY1" fmla="*/ 0 h 44108"/>
                  <a:gd name="connsiteX2" fmla="*/ 81907 w 81906"/>
                  <a:gd name="connsiteY2" fmla="*/ 44109 h 441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1906" h="44108">
                    <a:moveTo>
                      <a:pt x="0" y="0"/>
                    </a:moveTo>
                    <a:lnTo>
                      <a:pt x="37343" y="0"/>
                    </a:lnTo>
                    <a:lnTo>
                      <a:pt x="81907" y="44109"/>
                    </a:lnTo>
                  </a:path>
                </a:pathLst>
              </a:custGeom>
              <a:noFill/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7" name="Forma livre: Forma 76">
                <a:extLst>
                  <a:ext uri="{FF2B5EF4-FFF2-40B4-BE49-F238E27FC236}">
                    <a16:creationId xmlns:a16="http://schemas.microsoft.com/office/drawing/2014/main" id="{453DD209-7122-BC36-A0AE-8738358C2F8B}"/>
                  </a:ext>
                </a:extLst>
              </p:cNvPr>
              <p:cNvSpPr/>
              <p:nvPr/>
            </p:nvSpPr>
            <p:spPr>
              <a:xfrm>
                <a:off x="6265075" y="1701539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65" name="Gráfico 32">
              <a:extLst>
                <a:ext uri="{FF2B5EF4-FFF2-40B4-BE49-F238E27FC236}">
                  <a16:creationId xmlns:a16="http://schemas.microsoft.com/office/drawing/2014/main" id="{22AAF580-47E3-BC4D-FD82-2980C814E209}"/>
                </a:ext>
              </a:extLst>
            </p:cNvPr>
            <p:cNvGrpSpPr/>
            <p:nvPr/>
          </p:nvGrpSpPr>
          <p:grpSpPr>
            <a:xfrm>
              <a:off x="6191625" y="1357908"/>
              <a:ext cx="173767" cy="157112"/>
              <a:chOff x="6191625" y="1357908"/>
              <a:chExt cx="173767" cy="157112"/>
            </a:xfrm>
            <a:noFill/>
          </p:grpSpPr>
          <p:sp>
            <p:nvSpPr>
              <p:cNvPr id="70" name="Forma livre: Forma 69">
                <a:extLst>
                  <a:ext uri="{FF2B5EF4-FFF2-40B4-BE49-F238E27FC236}">
                    <a16:creationId xmlns:a16="http://schemas.microsoft.com/office/drawing/2014/main" id="{EEC39759-B2AB-6689-E392-7932B19C08F6}"/>
                  </a:ext>
                </a:extLst>
              </p:cNvPr>
              <p:cNvSpPr/>
              <p:nvPr/>
            </p:nvSpPr>
            <p:spPr>
              <a:xfrm>
                <a:off x="6310094" y="1437472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0 h 55298"/>
                  <a:gd name="connsiteX2" fmla="*/ 0 w 55298"/>
                  <a:gd name="connsiteY2" fmla="*/ 27649 h 55298"/>
                  <a:gd name="connsiteX3" fmla="*/ 27649 w 55298"/>
                  <a:gd name="connsiteY3" fmla="*/ 55298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12361"/>
                      <a:pt x="42938" y="0"/>
                      <a:pt x="27649" y="0"/>
                    </a:cubicBezTo>
                    <a:cubicBezTo>
                      <a:pt x="12361" y="0"/>
                      <a:pt x="0" y="12361"/>
                      <a:pt x="0" y="27649"/>
                    </a:cubicBezTo>
                    <a:cubicBezTo>
                      <a:pt x="0" y="42938"/>
                      <a:pt x="12361" y="55298"/>
                      <a:pt x="27649" y="55298"/>
                    </a:cubicBezTo>
                    <a:cubicBezTo>
                      <a:pt x="42938" y="55298"/>
                      <a:pt x="55298" y="42938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1" name="Forma livre: Forma 70">
                <a:extLst>
                  <a:ext uri="{FF2B5EF4-FFF2-40B4-BE49-F238E27FC236}">
                    <a16:creationId xmlns:a16="http://schemas.microsoft.com/office/drawing/2014/main" id="{67D757B7-D7EA-BEAD-B76D-978145909C18}"/>
                  </a:ext>
                </a:extLst>
              </p:cNvPr>
              <p:cNvSpPr/>
              <p:nvPr/>
            </p:nvSpPr>
            <p:spPr>
              <a:xfrm>
                <a:off x="6191625" y="1465122"/>
                <a:ext cx="118468" cy="49898"/>
              </a:xfrm>
              <a:custGeom>
                <a:avLst/>
                <a:gdLst>
                  <a:gd name="connsiteX0" fmla="*/ 0 w 118468"/>
                  <a:gd name="connsiteY0" fmla="*/ 49899 h 49898"/>
                  <a:gd name="connsiteX1" fmla="*/ 37343 w 118468"/>
                  <a:gd name="connsiteY1" fmla="*/ 49899 h 49898"/>
                  <a:gd name="connsiteX2" fmla="*/ 87176 w 118468"/>
                  <a:gd name="connsiteY2" fmla="*/ 0 h 49898"/>
                  <a:gd name="connsiteX3" fmla="*/ 118469 w 118468"/>
                  <a:gd name="connsiteY3" fmla="*/ 0 h 49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8468" h="49898">
                    <a:moveTo>
                      <a:pt x="0" y="49899"/>
                    </a:moveTo>
                    <a:lnTo>
                      <a:pt x="37343" y="49899"/>
                    </a:lnTo>
                    <a:lnTo>
                      <a:pt x="87176" y="0"/>
                    </a:lnTo>
                    <a:lnTo>
                      <a:pt x="118469" y="0"/>
                    </a:lnTo>
                  </a:path>
                </a:pathLst>
              </a:custGeom>
              <a:noFill/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2" name="Forma livre: Forma 71">
                <a:extLst>
                  <a:ext uri="{FF2B5EF4-FFF2-40B4-BE49-F238E27FC236}">
                    <a16:creationId xmlns:a16="http://schemas.microsoft.com/office/drawing/2014/main" id="{3821B467-6B86-6BB7-DAB4-AA1E4042EAD1}"/>
                  </a:ext>
                </a:extLst>
              </p:cNvPr>
              <p:cNvSpPr/>
              <p:nvPr/>
            </p:nvSpPr>
            <p:spPr>
              <a:xfrm>
                <a:off x="6191625" y="1405269"/>
                <a:ext cx="81451" cy="44043"/>
              </a:xfrm>
              <a:custGeom>
                <a:avLst/>
                <a:gdLst>
                  <a:gd name="connsiteX0" fmla="*/ 0 w 81451"/>
                  <a:gd name="connsiteY0" fmla="*/ 44044 h 44043"/>
                  <a:gd name="connsiteX1" fmla="*/ 37343 w 81451"/>
                  <a:gd name="connsiteY1" fmla="*/ 44044 h 44043"/>
                  <a:gd name="connsiteX2" fmla="*/ 81451 w 81451"/>
                  <a:gd name="connsiteY2" fmla="*/ 0 h 440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1451" h="44043">
                    <a:moveTo>
                      <a:pt x="0" y="44044"/>
                    </a:moveTo>
                    <a:lnTo>
                      <a:pt x="37343" y="44044"/>
                    </a:lnTo>
                    <a:lnTo>
                      <a:pt x="81451" y="0"/>
                    </a:lnTo>
                  </a:path>
                </a:pathLst>
              </a:custGeom>
              <a:noFill/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3" name="Forma livre: Forma 72">
                <a:extLst>
                  <a:ext uri="{FF2B5EF4-FFF2-40B4-BE49-F238E27FC236}">
                    <a16:creationId xmlns:a16="http://schemas.microsoft.com/office/drawing/2014/main" id="{32383036-1172-1D16-6104-F0D54FE36FBC}"/>
                  </a:ext>
                </a:extLst>
              </p:cNvPr>
              <p:cNvSpPr/>
              <p:nvPr/>
            </p:nvSpPr>
            <p:spPr>
              <a:xfrm>
                <a:off x="6265075" y="1357908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0 h 55298"/>
                  <a:gd name="connsiteX2" fmla="*/ 0 w 55298"/>
                  <a:gd name="connsiteY2" fmla="*/ 27649 h 55298"/>
                  <a:gd name="connsiteX3" fmla="*/ 27649 w 55298"/>
                  <a:gd name="connsiteY3" fmla="*/ 55298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12361"/>
                      <a:pt x="42938" y="0"/>
                      <a:pt x="27649" y="0"/>
                    </a:cubicBezTo>
                    <a:cubicBezTo>
                      <a:pt x="12361" y="0"/>
                      <a:pt x="0" y="12361"/>
                      <a:pt x="0" y="27649"/>
                    </a:cubicBezTo>
                    <a:cubicBezTo>
                      <a:pt x="0" y="42938"/>
                      <a:pt x="12361" y="55298"/>
                      <a:pt x="27649" y="55298"/>
                    </a:cubicBezTo>
                    <a:cubicBezTo>
                      <a:pt x="42938" y="55298"/>
                      <a:pt x="55298" y="42938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66" name="Gráfico 32">
              <a:extLst>
                <a:ext uri="{FF2B5EF4-FFF2-40B4-BE49-F238E27FC236}">
                  <a16:creationId xmlns:a16="http://schemas.microsoft.com/office/drawing/2014/main" id="{60F9D1B3-6C1F-6B10-756A-0C45C55BD5D8}"/>
                </a:ext>
              </a:extLst>
            </p:cNvPr>
            <p:cNvGrpSpPr/>
            <p:nvPr/>
          </p:nvGrpSpPr>
          <p:grpSpPr>
            <a:xfrm>
              <a:off x="6190910" y="1529723"/>
              <a:ext cx="123673" cy="55298"/>
              <a:chOff x="6190910" y="1529723"/>
              <a:chExt cx="123673" cy="55298"/>
            </a:xfrm>
            <a:noFill/>
          </p:grpSpPr>
          <p:sp>
            <p:nvSpPr>
              <p:cNvPr id="68" name="Forma livre: Forma 67">
                <a:extLst>
                  <a:ext uri="{FF2B5EF4-FFF2-40B4-BE49-F238E27FC236}">
                    <a16:creationId xmlns:a16="http://schemas.microsoft.com/office/drawing/2014/main" id="{FA79A545-116A-65C9-52F9-08235F7936BC}"/>
                  </a:ext>
                </a:extLst>
              </p:cNvPr>
              <p:cNvSpPr/>
              <p:nvPr/>
            </p:nvSpPr>
            <p:spPr>
              <a:xfrm>
                <a:off x="6190910" y="1557372"/>
                <a:ext cx="68765" cy="6505"/>
              </a:xfrm>
              <a:custGeom>
                <a:avLst/>
                <a:gdLst>
                  <a:gd name="connsiteX0" fmla="*/ 0 w 68765"/>
                  <a:gd name="connsiteY0" fmla="*/ 0 h 6505"/>
                  <a:gd name="connsiteX1" fmla="*/ 68765 w 68765"/>
                  <a:gd name="connsiteY1" fmla="*/ 0 h 65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8765" h="6505">
                    <a:moveTo>
                      <a:pt x="0" y="0"/>
                    </a:moveTo>
                    <a:lnTo>
                      <a:pt x="68765" y="0"/>
                    </a:lnTo>
                  </a:path>
                </a:pathLst>
              </a:custGeom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69" name="Forma livre: Forma 68">
                <a:extLst>
                  <a:ext uri="{FF2B5EF4-FFF2-40B4-BE49-F238E27FC236}">
                    <a16:creationId xmlns:a16="http://schemas.microsoft.com/office/drawing/2014/main" id="{B46CD11F-B726-97B3-7807-244CD182BE22}"/>
                  </a:ext>
                </a:extLst>
              </p:cNvPr>
              <p:cNvSpPr/>
              <p:nvPr/>
            </p:nvSpPr>
            <p:spPr>
              <a:xfrm>
                <a:off x="6259285" y="1529723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67" name="Forma livre: Forma 66">
              <a:extLst>
                <a:ext uri="{FF2B5EF4-FFF2-40B4-BE49-F238E27FC236}">
                  <a16:creationId xmlns:a16="http://schemas.microsoft.com/office/drawing/2014/main" id="{CFD2D306-0648-83D0-79AE-6C24286C751F}"/>
                </a:ext>
              </a:extLst>
            </p:cNvPr>
            <p:cNvSpPr/>
            <p:nvPr/>
          </p:nvSpPr>
          <p:spPr>
            <a:xfrm>
              <a:off x="6152201" y="1686285"/>
              <a:ext cx="37362" cy="20848"/>
            </a:xfrm>
            <a:custGeom>
              <a:avLst/>
              <a:gdLst>
                <a:gd name="connsiteX0" fmla="*/ 0 w 37362"/>
                <a:gd name="connsiteY0" fmla="*/ 10505 h 20848"/>
                <a:gd name="connsiteX1" fmla="*/ 27064 w 37362"/>
                <a:gd name="connsiteY1" fmla="*/ 2373 h 20848"/>
                <a:gd name="connsiteX2" fmla="*/ 37343 w 37362"/>
                <a:gd name="connsiteY2" fmla="*/ 20849 h 20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7362" h="20848">
                  <a:moveTo>
                    <a:pt x="0" y="10505"/>
                  </a:moveTo>
                  <a:cubicBezTo>
                    <a:pt x="5205" y="811"/>
                    <a:pt x="17435" y="-2832"/>
                    <a:pt x="27064" y="2373"/>
                  </a:cubicBezTo>
                  <a:cubicBezTo>
                    <a:pt x="34025" y="6081"/>
                    <a:pt x="37668" y="13432"/>
                    <a:pt x="37343" y="20849"/>
                  </a:cubicBezTo>
                </a:path>
              </a:pathLst>
            </a:custGeom>
            <a:noFill/>
            <a:ln w="19050" cap="sq">
              <a:solidFill>
                <a:srgbClr val="184BFF"/>
              </a:solidFill>
              <a:prstDash val="solid"/>
              <a:miter lim="800000"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84" name="Agrupar 83">
            <a:extLst>
              <a:ext uri="{FF2B5EF4-FFF2-40B4-BE49-F238E27FC236}">
                <a16:creationId xmlns:a16="http://schemas.microsoft.com/office/drawing/2014/main" id="{C57AE198-FAA5-E03F-04FD-9A89EE681860}"/>
              </a:ext>
            </a:extLst>
          </p:cNvPr>
          <p:cNvGrpSpPr/>
          <p:nvPr/>
        </p:nvGrpSpPr>
        <p:grpSpPr>
          <a:xfrm>
            <a:off x="897189" y="3600458"/>
            <a:ext cx="351508" cy="383868"/>
            <a:chOff x="6000092" y="1357908"/>
            <a:chExt cx="365300" cy="398929"/>
          </a:xfrm>
        </p:grpSpPr>
        <p:sp>
          <p:nvSpPr>
            <p:cNvPr id="85" name="Forma livre: Forma 84">
              <a:extLst>
                <a:ext uri="{FF2B5EF4-FFF2-40B4-BE49-F238E27FC236}">
                  <a16:creationId xmlns:a16="http://schemas.microsoft.com/office/drawing/2014/main" id="{F8D2580F-11DA-3F8A-7B26-68926EF97C7E}"/>
                </a:ext>
              </a:extLst>
            </p:cNvPr>
            <p:cNvSpPr/>
            <p:nvPr/>
          </p:nvSpPr>
          <p:spPr>
            <a:xfrm>
              <a:off x="6000092" y="1418606"/>
              <a:ext cx="84058" cy="286120"/>
            </a:xfrm>
            <a:custGeom>
              <a:avLst/>
              <a:gdLst>
                <a:gd name="connsiteX0" fmla="*/ 51595 w 84058"/>
                <a:gd name="connsiteY0" fmla="*/ 0 h 286120"/>
                <a:gd name="connsiteX1" fmla="*/ 35266 w 84058"/>
                <a:gd name="connsiteY1" fmla="*/ 61674 h 286120"/>
                <a:gd name="connsiteX2" fmla="*/ 28760 w 84058"/>
                <a:gd name="connsiteY2" fmla="*/ 193415 h 286120"/>
                <a:gd name="connsiteX3" fmla="*/ 84059 w 84058"/>
                <a:gd name="connsiteY3" fmla="*/ 286121 h 2861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4058" h="286120">
                  <a:moveTo>
                    <a:pt x="51595" y="0"/>
                  </a:moveTo>
                  <a:cubicBezTo>
                    <a:pt x="37868" y="7872"/>
                    <a:pt x="26028" y="24852"/>
                    <a:pt x="35266" y="61674"/>
                  </a:cubicBezTo>
                  <a:cubicBezTo>
                    <a:pt x="35266" y="61674"/>
                    <a:pt x="-39549" y="126731"/>
                    <a:pt x="28760" y="193415"/>
                  </a:cubicBezTo>
                  <a:cubicBezTo>
                    <a:pt x="28760" y="193415"/>
                    <a:pt x="9243" y="281242"/>
                    <a:pt x="84059" y="286121"/>
                  </a:cubicBezTo>
                </a:path>
              </a:pathLst>
            </a:custGeom>
            <a:noFill/>
            <a:ln w="19050" cap="sq">
              <a:solidFill>
                <a:srgbClr val="184BFF"/>
              </a:solidFill>
              <a:prstDash val="solid"/>
              <a:miter lim="800000"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86" name="Gráfico 32">
              <a:extLst>
                <a:ext uri="{FF2B5EF4-FFF2-40B4-BE49-F238E27FC236}">
                  <a16:creationId xmlns:a16="http://schemas.microsoft.com/office/drawing/2014/main" id="{85C3912C-B44C-F32A-3C2F-07A2B322DE64}"/>
                </a:ext>
              </a:extLst>
            </p:cNvPr>
            <p:cNvGrpSpPr/>
            <p:nvPr/>
          </p:nvGrpSpPr>
          <p:grpSpPr>
            <a:xfrm>
              <a:off x="6061121" y="1359924"/>
              <a:ext cx="128487" cy="396366"/>
              <a:chOff x="6061121" y="1359924"/>
              <a:chExt cx="128487" cy="396366"/>
            </a:xfrm>
            <a:noFill/>
          </p:grpSpPr>
          <p:sp>
            <p:nvSpPr>
              <p:cNvPr id="101" name="Forma livre: Forma 100">
                <a:extLst>
                  <a:ext uri="{FF2B5EF4-FFF2-40B4-BE49-F238E27FC236}">
                    <a16:creationId xmlns:a16="http://schemas.microsoft.com/office/drawing/2014/main" id="{6EF93EA2-4301-8221-7740-29E7C11F6D6B}"/>
                  </a:ext>
                </a:extLst>
              </p:cNvPr>
              <p:cNvSpPr/>
              <p:nvPr/>
            </p:nvSpPr>
            <p:spPr>
              <a:xfrm>
                <a:off x="6083891" y="1359924"/>
                <a:ext cx="105717" cy="396366"/>
              </a:xfrm>
              <a:custGeom>
                <a:avLst/>
                <a:gdLst>
                  <a:gd name="connsiteX0" fmla="*/ 52891 w 105717"/>
                  <a:gd name="connsiteY0" fmla="*/ 105718 h 396366"/>
                  <a:gd name="connsiteX1" fmla="*/ 0 w 105717"/>
                  <a:gd name="connsiteY1" fmla="*/ 52891 h 396366"/>
                  <a:gd name="connsiteX2" fmla="*/ 52891 w 105717"/>
                  <a:gd name="connsiteY2" fmla="*/ 0 h 396366"/>
                  <a:gd name="connsiteX3" fmla="*/ 105718 w 105717"/>
                  <a:gd name="connsiteY3" fmla="*/ 52826 h 396366"/>
                  <a:gd name="connsiteX4" fmla="*/ 105718 w 105717"/>
                  <a:gd name="connsiteY4" fmla="*/ 346884 h 396366"/>
                  <a:gd name="connsiteX5" fmla="*/ 80606 w 105717"/>
                  <a:gd name="connsiteY5" fmla="*/ 388911 h 396366"/>
                  <a:gd name="connsiteX6" fmla="*/ 9238 w 105717"/>
                  <a:gd name="connsiteY6" fmla="*/ 371150 h 396366"/>
                  <a:gd name="connsiteX7" fmla="*/ 15484 w 105717"/>
                  <a:gd name="connsiteY7" fmla="*/ 309216 h 396366"/>
                  <a:gd name="connsiteX8" fmla="*/ 45019 w 105717"/>
                  <a:gd name="connsiteY8" fmla="*/ 277078 h 3963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05717" h="396366">
                    <a:moveTo>
                      <a:pt x="52891" y="105718"/>
                    </a:moveTo>
                    <a:cubicBezTo>
                      <a:pt x="23681" y="105718"/>
                      <a:pt x="0" y="82037"/>
                      <a:pt x="0" y="52891"/>
                    </a:cubicBezTo>
                    <a:cubicBezTo>
                      <a:pt x="0" y="23746"/>
                      <a:pt x="23681" y="0"/>
                      <a:pt x="52891" y="0"/>
                    </a:cubicBezTo>
                    <a:cubicBezTo>
                      <a:pt x="82102" y="0"/>
                      <a:pt x="105718" y="23681"/>
                      <a:pt x="105718" y="52826"/>
                    </a:cubicBezTo>
                    <a:lnTo>
                      <a:pt x="105718" y="346884"/>
                    </a:lnTo>
                    <a:cubicBezTo>
                      <a:pt x="105718" y="364580"/>
                      <a:pt x="96414" y="379413"/>
                      <a:pt x="80606" y="388911"/>
                    </a:cubicBezTo>
                    <a:cubicBezTo>
                      <a:pt x="55949" y="403744"/>
                      <a:pt x="24006" y="395742"/>
                      <a:pt x="9238" y="371150"/>
                    </a:cubicBezTo>
                    <a:cubicBezTo>
                      <a:pt x="-2928" y="350918"/>
                      <a:pt x="260" y="325741"/>
                      <a:pt x="15484" y="309216"/>
                    </a:cubicBezTo>
                    <a:lnTo>
                      <a:pt x="45019" y="277078"/>
                    </a:lnTo>
                  </a:path>
                </a:pathLst>
              </a:custGeom>
              <a:noFill/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02" name="Forma livre: Forma 101">
                <a:extLst>
                  <a:ext uri="{FF2B5EF4-FFF2-40B4-BE49-F238E27FC236}">
                    <a16:creationId xmlns:a16="http://schemas.microsoft.com/office/drawing/2014/main" id="{1A44AC7E-C46A-1A67-2E1B-FA2A13DEF7A8}"/>
                  </a:ext>
                </a:extLst>
              </p:cNvPr>
              <p:cNvSpPr/>
              <p:nvPr/>
            </p:nvSpPr>
            <p:spPr>
              <a:xfrm>
                <a:off x="6144784" y="1383865"/>
                <a:ext cx="41563" cy="38963"/>
              </a:xfrm>
              <a:custGeom>
                <a:avLst/>
                <a:gdLst>
                  <a:gd name="connsiteX0" fmla="*/ 36172 w 41563"/>
                  <a:gd name="connsiteY0" fmla="*/ 0 h 38963"/>
                  <a:gd name="connsiteX1" fmla="*/ 39425 w 41563"/>
                  <a:gd name="connsiteY1" fmla="*/ 24266 h 38963"/>
                  <a:gd name="connsiteX2" fmla="*/ 36432 w 41563"/>
                  <a:gd name="connsiteY2" fmla="*/ 29080 h 38963"/>
                  <a:gd name="connsiteX3" fmla="*/ 0 w 41563"/>
                  <a:gd name="connsiteY3" fmla="*/ 33439 h 389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563" h="38963">
                    <a:moveTo>
                      <a:pt x="36172" y="0"/>
                    </a:moveTo>
                    <a:cubicBezTo>
                      <a:pt x="41571" y="7547"/>
                      <a:pt x="43393" y="16004"/>
                      <a:pt x="39425" y="24266"/>
                    </a:cubicBezTo>
                    <a:cubicBezTo>
                      <a:pt x="38644" y="25893"/>
                      <a:pt x="37603" y="27519"/>
                      <a:pt x="36432" y="29080"/>
                    </a:cubicBezTo>
                    <a:cubicBezTo>
                      <a:pt x="27584" y="40270"/>
                      <a:pt x="11190" y="42287"/>
                      <a:pt x="0" y="33439"/>
                    </a:cubicBezTo>
                  </a:path>
                </a:pathLst>
              </a:custGeom>
              <a:noFill/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03" name="Forma livre: Forma 102">
                <a:extLst>
                  <a:ext uri="{FF2B5EF4-FFF2-40B4-BE49-F238E27FC236}">
                    <a16:creationId xmlns:a16="http://schemas.microsoft.com/office/drawing/2014/main" id="{032BB2D8-565E-BAA5-74A7-12093EE5E9A1}"/>
                  </a:ext>
                </a:extLst>
              </p:cNvPr>
              <p:cNvSpPr/>
              <p:nvPr/>
            </p:nvSpPr>
            <p:spPr>
              <a:xfrm>
                <a:off x="6081487" y="1460806"/>
                <a:ext cx="34217" cy="54474"/>
              </a:xfrm>
              <a:custGeom>
                <a:avLst/>
                <a:gdLst>
                  <a:gd name="connsiteX0" fmla="*/ 21076 w 34217"/>
                  <a:gd name="connsiteY0" fmla="*/ 54475 h 54474"/>
                  <a:gd name="connsiteX1" fmla="*/ 778 w 34217"/>
                  <a:gd name="connsiteY1" fmla="*/ 21035 h 54474"/>
                  <a:gd name="connsiteX2" fmla="*/ 34217 w 34217"/>
                  <a:gd name="connsiteY2" fmla="*/ 803 h 544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4217" h="54474">
                    <a:moveTo>
                      <a:pt x="21076" y="54475"/>
                    </a:moveTo>
                    <a:cubicBezTo>
                      <a:pt x="6308" y="50832"/>
                      <a:pt x="-2800" y="35803"/>
                      <a:pt x="778" y="21035"/>
                    </a:cubicBezTo>
                    <a:cubicBezTo>
                      <a:pt x="4421" y="6267"/>
                      <a:pt x="19449" y="-2841"/>
                      <a:pt x="34217" y="803"/>
                    </a:cubicBezTo>
                  </a:path>
                </a:pathLst>
              </a:custGeom>
              <a:noFill/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04" name="Forma livre: Forma 103">
                <a:extLst>
                  <a:ext uri="{FF2B5EF4-FFF2-40B4-BE49-F238E27FC236}">
                    <a16:creationId xmlns:a16="http://schemas.microsoft.com/office/drawing/2014/main" id="{373210BC-46FE-ED0C-717B-457A143ECCBA}"/>
                  </a:ext>
                </a:extLst>
              </p:cNvPr>
              <p:cNvSpPr/>
              <p:nvPr/>
            </p:nvSpPr>
            <p:spPr>
              <a:xfrm>
                <a:off x="6073547" y="1527543"/>
                <a:ext cx="114760" cy="72506"/>
              </a:xfrm>
              <a:custGeom>
                <a:avLst/>
                <a:gdLst>
                  <a:gd name="connsiteX0" fmla="*/ 114760 w 114760"/>
                  <a:gd name="connsiteY0" fmla="*/ 7254 h 72506"/>
                  <a:gd name="connsiteX1" fmla="*/ 73905 w 114760"/>
                  <a:gd name="connsiteY1" fmla="*/ 8881 h 72506"/>
                  <a:gd name="connsiteX2" fmla="*/ 0 w 114760"/>
                  <a:gd name="connsiteY2" fmla="*/ 72506 h 725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14760" h="72506">
                    <a:moveTo>
                      <a:pt x="114760" y="7254"/>
                    </a:moveTo>
                    <a:cubicBezTo>
                      <a:pt x="103375" y="-2830"/>
                      <a:pt x="83989" y="-2504"/>
                      <a:pt x="73905" y="8881"/>
                    </a:cubicBezTo>
                    <a:cubicBezTo>
                      <a:pt x="73905" y="8881"/>
                      <a:pt x="31488" y="72506"/>
                      <a:pt x="0" y="72506"/>
                    </a:cubicBezTo>
                  </a:path>
                </a:pathLst>
              </a:custGeom>
              <a:noFill/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05" name="Forma livre: Forma 104">
                <a:extLst>
                  <a:ext uri="{FF2B5EF4-FFF2-40B4-BE49-F238E27FC236}">
                    <a16:creationId xmlns:a16="http://schemas.microsoft.com/office/drawing/2014/main" id="{BF8E2997-BC01-7383-11AD-042ADAD67F6A}"/>
                  </a:ext>
                </a:extLst>
              </p:cNvPr>
              <p:cNvSpPr/>
              <p:nvPr/>
            </p:nvSpPr>
            <p:spPr>
              <a:xfrm>
                <a:off x="6079857" y="1646956"/>
                <a:ext cx="29405" cy="9823"/>
              </a:xfrm>
              <a:custGeom>
                <a:avLst/>
                <a:gdLst>
                  <a:gd name="connsiteX0" fmla="*/ 0 w 29405"/>
                  <a:gd name="connsiteY0" fmla="*/ 0 h 9823"/>
                  <a:gd name="connsiteX1" fmla="*/ 29406 w 29405"/>
                  <a:gd name="connsiteY1" fmla="*/ 9824 h 98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9405" h="9823">
                    <a:moveTo>
                      <a:pt x="0" y="0"/>
                    </a:moveTo>
                    <a:lnTo>
                      <a:pt x="29406" y="9824"/>
                    </a:lnTo>
                  </a:path>
                </a:pathLst>
              </a:custGeom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06" name="Forma livre: Forma 105">
                <a:extLst>
                  <a:ext uri="{FF2B5EF4-FFF2-40B4-BE49-F238E27FC236}">
                    <a16:creationId xmlns:a16="http://schemas.microsoft.com/office/drawing/2014/main" id="{A3482FE5-017F-7A6B-8558-528D5260800B}"/>
                  </a:ext>
                </a:extLst>
              </p:cNvPr>
              <p:cNvSpPr/>
              <p:nvPr/>
            </p:nvSpPr>
            <p:spPr>
              <a:xfrm>
                <a:off x="6061121" y="1545272"/>
                <a:ext cx="47166" cy="34154"/>
              </a:xfrm>
              <a:custGeom>
                <a:avLst/>
                <a:gdLst>
                  <a:gd name="connsiteX0" fmla="*/ 0 w 47166"/>
                  <a:gd name="connsiteY0" fmla="*/ 0 h 34154"/>
                  <a:gd name="connsiteX1" fmla="*/ 47166 w 47166"/>
                  <a:gd name="connsiteY1" fmla="*/ 34155 h 341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166" h="34154">
                    <a:moveTo>
                      <a:pt x="0" y="0"/>
                    </a:moveTo>
                    <a:cubicBezTo>
                      <a:pt x="0" y="0"/>
                      <a:pt x="27649" y="13011"/>
                      <a:pt x="47166" y="34155"/>
                    </a:cubicBezTo>
                  </a:path>
                </a:pathLst>
              </a:custGeom>
              <a:noFill/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87" name="Gráfico 32">
              <a:extLst>
                <a:ext uri="{FF2B5EF4-FFF2-40B4-BE49-F238E27FC236}">
                  <a16:creationId xmlns:a16="http://schemas.microsoft.com/office/drawing/2014/main" id="{B76F47FC-60C9-111C-223B-D9D907555AE3}"/>
                </a:ext>
              </a:extLst>
            </p:cNvPr>
            <p:cNvGrpSpPr/>
            <p:nvPr/>
          </p:nvGrpSpPr>
          <p:grpSpPr>
            <a:xfrm>
              <a:off x="6191625" y="1599725"/>
              <a:ext cx="173767" cy="157112"/>
              <a:chOff x="6191625" y="1599725"/>
              <a:chExt cx="173767" cy="157112"/>
            </a:xfrm>
            <a:noFill/>
          </p:grpSpPr>
          <p:sp>
            <p:nvSpPr>
              <p:cNvPr id="97" name="Forma livre: Forma 96">
                <a:extLst>
                  <a:ext uri="{FF2B5EF4-FFF2-40B4-BE49-F238E27FC236}">
                    <a16:creationId xmlns:a16="http://schemas.microsoft.com/office/drawing/2014/main" id="{D3D08EE6-F2B6-3D04-AF23-7E6DA58DA022}"/>
                  </a:ext>
                </a:extLst>
              </p:cNvPr>
              <p:cNvSpPr/>
              <p:nvPr/>
            </p:nvSpPr>
            <p:spPr>
              <a:xfrm>
                <a:off x="6310094" y="1621974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8" name="Forma livre: Forma 97">
                <a:extLst>
                  <a:ext uri="{FF2B5EF4-FFF2-40B4-BE49-F238E27FC236}">
                    <a16:creationId xmlns:a16="http://schemas.microsoft.com/office/drawing/2014/main" id="{FF92179C-BF31-976B-68E5-2A97618E0FD1}"/>
                  </a:ext>
                </a:extLst>
              </p:cNvPr>
              <p:cNvSpPr/>
              <p:nvPr/>
            </p:nvSpPr>
            <p:spPr>
              <a:xfrm>
                <a:off x="6191625" y="1599725"/>
                <a:ext cx="118078" cy="49898"/>
              </a:xfrm>
              <a:custGeom>
                <a:avLst/>
                <a:gdLst>
                  <a:gd name="connsiteX0" fmla="*/ 0 w 118078"/>
                  <a:gd name="connsiteY0" fmla="*/ 0 h 49898"/>
                  <a:gd name="connsiteX1" fmla="*/ 37343 w 118078"/>
                  <a:gd name="connsiteY1" fmla="*/ 0 h 49898"/>
                  <a:gd name="connsiteX2" fmla="*/ 87176 w 118078"/>
                  <a:gd name="connsiteY2" fmla="*/ 49899 h 49898"/>
                  <a:gd name="connsiteX3" fmla="*/ 118078 w 118078"/>
                  <a:gd name="connsiteY3" fmla="*/ 49899 h 49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8078" h="49898">
                    <a:moveTo>
                      <a:pt x="0" y="0"/>
                    </a:moveTo>
                    <a:lnTo>
                      <a:pt x="37343" y="0"/>
                    </a:lnTo>
                    <a:lnTo>
                      <a:pt x="87176" y="49899"/>
                    </a:lnTo>
                    <a:lnTo>
                      <a:pt x="118078" y="49899"/>
                    </a:lnTo>
                  </a:path>
                </a:pathLst>
              </a:custGeom>
              <a:noFill/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9" name="Forma livre: Forma 98">
                <a:extLst>
                  <a:ext uri="{FF2B5EF4-FFF2-40B4-BE49-F238E27FC236}">
                    <a16:creationId xmlns:a16="http://schemas.microsoft.com/office/drawing/2014/main" id="{FB485E63-EFBD-C443-C17D-E7404DC1505C}"/>
                  </a:ext>
                </a:extLst>
              </p:cNvPr>
              <p:cNvSpPr/>
              <p:nvPr/>
            </p:nvSpPr>
            <p:spPr>
              <a:xfrm>
                <a:off x="6191625" y="1665367"/>
                <a:ext cx="81906" cy="44108"/>
              </a:xfrm>
              <a:custGeom>
                <a:avLst/>
                <a:gdLst>
                  <a:gd name="connsiteX0" fmla="*/ 0 w 81906"/>
                  <a:gd name="connsiteY0" fmla="*/ 0 h 44108"/>
                  <a:gd name="connsiteX1" fmla="*/ 37343 w 81906"/>
                  <a:gd name="connsiteY1" fmla="*/ 0 h 44108"/>
                  <a:gd name="connsiteX2" fmla="*/ 81907 w 81906"/>
                  <a:gd name="connsiteY2" fmla="*/ 44109 h 441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1906" h="44108">
                    <a:moveTo>
                      <a:pt x="0" y="0"/>
                    </a:moveTo>
                    <a:lnTo>
                      <a:pt x="37343" y="0"/>
                    </a:lnTo>
                    <a:lnTo>
                      <a:pt x="81907" y="44109"/>
                    </a:lnTo>
                  </a:path>
                </a:pathLst>
              </a:custGeom>
              <a:noFill/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00" name="Forma livre: Forma 99">
                <a:extLst>
                  <a:ext uri="{FF2B5EF4-FFF2-40B4-BE49-F238E27FC236}">
                    <a16:creationId xmlns:a16="http://schemas.microsoft.com/office/drawing/2014/main" id="{38540263-32FC-7151-DAAC-E0141CCB8C95}"/>
                  </a:ext>
                </a:extLst>
              </p:cNvPr>
              <p:cNvSpPr/>
              <p:nvPr/>
            </p:nvSpPr>
            <p:spPr>
              <a:xfrm>
                <a:off x="6265075" y="1701539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88" name="Gráfico 32">
              <a:extLst>
                <a:ext uri="{FF2B5EF4-FFF2-40B4-BE49-F238E27FC236}">
                  <a16:creationId xmlns:a16="http://schemas.microsoft.com/office/drawing/2014/main" id="{E5D87F2C-3721-15AB-7354-9FD8BDA58E80}"/>
                </a:ext>
              </a:extLst>
            </p:cNvPr>
            <p:cNvGrpSpPr/>
            <p:nvPr/>
          </p:nvGrpSpPr>
          <p:grpSpPr>
            <a:xfrm>
              <a:off x="6191625" y="1357908"/>
              <a:ext cx="173767" cy="157112"/>
              <a:chOff x="6191625" y="1357908"/>
              <a:chExt cx="173767" cy="157112"/>
            </a:xfrm>
            <a:noFill/>
          </p:grpSpPr>
          <p:sp>
            <p:nvSpPr>
              <p:cNvPr id="93" name="Forma livre: Forma 92">
                <a:extLst>
                  <a:ext uri="{FF2B5EF4-FFF2-40B4-BE49-F238E27FC236}">
                    <a16:creationId xmlns:a16="http://schemas.microsoft.com/office/drawing/2014/main" id="{FCC7665E-D206-89FD-5899-330D174E0424}"/>
                  </a:ext>
                </a:extLst>
              </p:cNvPr>
              <p:cNvSpPr/>
              <p:nvPr/>
            </p:nvSpPr>
            <p:spPr>
              <a:xfrm>
                <a:off x="6310094" y="1437472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0 h 55298"/>
                  <a:gd name="connsiteX2" fmla="*/ 0 w 55298"/>
                  <a:gd name="connsiteY2" fmla="*/ 27649 h 55298"/>
                  <a:gd name="connsiteX3" fmla="*/ 27649 w 55298"/>
                  <a:gd name="connsiteY3" fmla="*/ 55298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12361"/>
                      <a:pt x="42938" y="0"/>
                      <a:pt x="27649" y="0"/>
                    </a:cubicBezTo>
                    <a:cubicBezTo>
                      <a:pt x="12361" y="0"/>
                      <a:pt x="0" y="12361"/>
                      <a:pt x="0" y="27649"/>
                    </a:cubicBezTo>
                    <a:cubicBezTo>
                      <a:pt x="0" y="42938"/>
                      <a:pt x="12361" y="55298"/>
                      <a:pt x="27649" y="55298"/>
                    </a:cubicBezTo>
                    <a:cubicBezTo>
                      <a:pt x="42938" y="55298"/>
                      <a:pt x="55298" y="42938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4" name="Forma livre: Forma 93">
                <a:extLst>
                  <a:ext uri="{FF2B5EF4-FFF2-40B4-BE49-F238E27FC236}">
                    <a16:creationId xmlns:a16="http://schemas.microsoft.com/office/drawing/2014/main" id="{F8256E28-1947-F8F8-C2A5-6590B69FA3EE}"/>
                  </a:ext>
                </a:extLst>
              </p:cNvPr>
              <p:cNvSpPr/>
              <p:nvPr/>
            </p:nvSpPr>
            <p:spPr>
              <a:xfrm>
                <a:off x="6191625" y="1465122"/>
                <a:ext cx="118468" cy="49898"/>
              </a:xfrm>
              <a:custGeom>
                <a:avLst/>
                <a:gdLst>
                  <a:gd name="connsiteX0" fmla="*/ 0 w 118468"/>
                  <a:gd name="connsiteY0" fmla="*/ 49899 h 49898"/>
                  <a:gd name="connsiteX1" fmla="*/ 37343 w 118468"/>
                  <a:gd name="connsiteY1" fmla="*/ 49899 h 49898"/>
                  <a:gd name="connsiteX2" fmla="*/ 87176 w 118468"/>
                  <a:gd name="connsiteY2" fmla="*/ 0 h 49898"/>
                  <a:gd name="connsiteX3" fmla="*/ 118469 w 118468"/>
                  <a:gd name="connsiteY3" fmla="*/ 0 h 49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8468" h="49898">
                    <a:moveTo>
                      <a:pt x="0" y="49899"/>
                    </a:moveTo>
                    <a:lnTo>
                      <a:pt x="37343" y="49899"/>
                    </a:lnTo>
                    <a:lnTo>
                      <a:pt x="87176" y="0"/>
                    </a:lnTo>
                    <a:lnTo>
                      <a:pt x="118469" y="0"/>
                    </a:lnTo>
                  </a:path>
                </a:pathLst>
              </a:custGeom>
              <a:noFill/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5" name="Forma livre: Forma 94">
                <a:extLst>
                  <a:ext uri="{FF2B5EF4-FFF2-40B4-BE49-F238E27FC236}">
                    <a16:creationId xmlns:a16="http://schemas.microsoft.com/office/drawing/2014/main" id="{B55EF04A-6171-2D38-2AC7-0D30F59E021D}"/>
                  </a:ext>
                </a:extLst>
              </p:cNvPr>
              <p:cNvSpPr/>
              <p:nvPr/>
            </p:nvSpPr>
            <p:spPr>
              <a:xfrm>
                <a:off x="6191625" y="1405269"/>
                <a:ext cx="81451" cy="44043"/>
              </a:xfrm>
              <a:custGeom>
                <a:avLst/>
                <a:gdLst>
                  <a:gd name="connsiteX0" fmla="*/ 0 w 81451"/>
                  <a:gd name="connsiteY0" fmla="*/ 44044 h 44043"/>
                  <a:gd name="connsiteX1" fmla="*/ 37343 w 81451"/>
                  <a:gd name="connsiteY1" fmla="*/ 44044 h 44043"/>
                  <a:gd name="connsiteX2" fmla="*/ 81451 w 81451"/>
                  <a:gd name="connsiteY2" fmla="*/ 0 h 440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1451" h="44043">
                    <a:moveTo>
                      <a:pt x="0" y="44044"/>
                    </a:moveTo>
                    <a:lnTo>
                      <a:pt x="37343" y="44044"/>
                    </a:lnTo>
                    <a:lnTo>
                      <a:pt x="81451" y="0"/>
                    </a:lnTo>
                  </a:path>
                </a:pathLst>
              </a:custGeom>
              <a:noFill/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6" name="Forma livre: Forma 95">
                <a:extLst>
                  <a:ext uri="{FF2B5EF4-FFF2-40B4-BE49-F238E27FC236}">
                    <a16:creationId xmlns:a16="http://schemas.microsoft.com/office/drawing/2014/main" id="{EA9CC53B-27DB-F4F8-11BA-039B411E70BC}"/>
                  </a:ext>
                </a:extLst>
              </p:cNvPr>
              <p:cNvSpPr/>
              <p:nvPr/>
            </p:nvSpPr>
            <p:spPr>
              <a:xfrm>
                <a:off x="6265075" y="1357908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0 h 55298"/>
                  <a:gd name="connsiteX2" fmla="*/ 0 w 55298"/>
                  <a:gd name="connsiteY2" fmla="*/ 27649 h 55298"/>
                  <a:gd name="connsiteX3" fmla="*/ 27649 w 55298"/>
                  <a:gd name="connsiteY3" fmla="*/ 55298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12361"/>
                      <a:pt x="42938" y="0"/>
                      <a:pt x="27649" y="0"/>
                    </a:cubicBezTo>
                    <a:cubicBezTo>
                      <a:pt x="12361" y="0"/>
                      <a:pt x="0" y="12361"/>
                      <a:pt x="0" y="27649"/>
                    </a:cubicBezTo>
                    <a:cubicBezTo>
                      <a:pt x="0" y="42938"/>
                      <a:pt x="12361" y="55298"/>
                      <a:pt x="27649" y="55298"/>
                    </a:cubicBezTo>
                    <a:cubicBezTo>
                      <a:pt x="42938" y="55298"/>
                      <a:pt x="55298" y="42938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89" name="Gráfico 32">
              <a:extLst>
                <a:ext uri="{FF2B5EF4-FFF2-40B4-BE49-F238E27FC236}">
                  <a16:creationId xmlns:a16="http://schemas.microsoft.com/office/drawing/2014/main" id="{AFE3F829-3679-BCD0-5682-A01AD01B55D6}"/>
                </a:ext>
              </a:extLst>
            </p:cNvPr>
            <p:cNvGrpSpPr/>
            <p:nvPr/>
          </p:nvGrpSpPr>
          <p:grpSpPr>
            <a:xfrm>
              <a:off x="6190910" y="1529723"/>
              <a:ext cx="123673" cy="55298"/>
              <a:chOff x="6190910" y="1529723"/>
              <a:chExt cx="123673" cy="55298"/>
            </a:xfrm>
            <a:noFill/>
          </p:grpSpPr>
          <p:sp>
            <p:nvSpPr>
              <p:cNvPr id="91" name="Forma livre: Forma 90">
                <a:extLst>
                  <a:ext uri="{FF2B5EF4-FFF2-40B4-BE49-F238E27FC236}">
                    <a16:creationId xmlns:a16="http://schemas.microsoft.com/office/drawing/2014/main" id="{23DEA6FC-BEB6-E2B9-C061-1B89D91DF9CF}"/>
                  </a:ext>
                </a:extLst>
              </p:cNvPr>
              <p:cNvSpPr/>
              <p:nvPr/>
            </p:nvSpPr>
            <p:spPr>
              <a:xfrm>
                <a:off x="6190910" y="1557372"/>
                <a:ext cx="68765" cy="6505"/>
              </a:xfrm>
              <a:custGeom>
                <a:avLst/>
                <a:gdLst>
                  <a:gd name="connsiteX0" fmla="*/ 0 w 68765"/>
                  <a:gd name="connsiteY0" fmla="*/ 0 h 6505"/>
                  <a:gd name="connsiteX1" fmla="*/ 68765 w 68765"/>
                  <a:gd name="connsiteY1" fmla="*/ 0 h 65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8765" h="6505">
                    <a:moveTo>
                      <a:pt x="0" y="0"/>
                    </a:moveTo>
                    <a:lnTo>
                      <a:pt x="68765" y="0"/>
                    </a:lnTo>
                  </a:path>
                </a:pathLst>
              </a:custGeom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2" name="Forma livre: Forma 91">
                <a:extLst>
                  <a:ext uri="{FF2B5EF4-FFF2-40B4-BE49-F238E27FC236}">
                    <a16:creationId xmlns:a16="http://schemas.microsoft.com/office/drawing/2014/main" id="{F6D4406C-B0A0-4AD2-FD84-0CFD51BD9D00}"/>
                  </a:ext>
                </a:extLst>
              </p:cNvPr>
              <p:cNvSpPr/>
              <p:nvPr/>
            </p:nvSpPr>
            <p:spPr>
              <a:xfrm>
                <a:off x="6259285" y="1529723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90" name="Forma livre: Forma 89">
              <a:extLst>
                <a:ext uri="{FF2B5EF4-FFF2-40B4-BE49-F238E27FC236}">
                  <a16:creationId xmlns:a16="http://schemas.microsoft.com/office/drawing/2014/main" id="{74722669-EBDB-D370-498A-E6F6D6175DF6}"/>
                </a:ext>
              </a:extLst>
            </p:cNvPr>
            <p:cNvSpPr/>
            <p:nvPr/>
          </p:nvSpPr>
          <p:spPr>
            <a:xfrm>
              <a:off x="6152201" y="1686285"/>
              <a:ext cx="37362" cy="20848"/>
            </a:xfrm>
            <a:custGeom>
              <a:avLst/>
              <a:gdLst>
                <a:gd name="connsiteX0" fmla="*/ 0 w 37362"/>
                <a:gd name="connsiteY0" fmla="*/ 10505 h 20848"/>
                <a:gd name="connsiteX1" fmla="*/ 27064 w 37362"/>
                <a:gd name="connsiteY1" fmla="*/ 2373 h 20848"/>
                <a:gd name="connsiteX2" fmla="*/ 37343 w 37362"/>
                <a:gd name="connsiteY2" fmla="*/ 20849 h 20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7362" h="20848">
                  <a:moveTo>
                    <a:pt x="0" y="10505"/>
                  </a:moveTo>
                  <a:cubicBezTo>
                    <a:pt x="5205" y="811"/>
                    <a:pt x="17435" y="-2832"/>
                    <a:pt x="27064" y="2373"/>
                  </a:cubicBezTo>
                  <a:cubicBezTo>
                    <a:pt x="34025" y="6081"/>
                    <a:pt x="37668" y="13432"/>
                    <a:pt x="37343" y="20849"/>
                  </a:cubicBezTo>
                </a:path>
              </a:pathLst>
            </a:custGeom>
            <a:noFill/>
            <a:ln w="19050" cap="sq">
              <a:solidFill>
                <a:srgbClr val="184BFF"/>
              </a:solidFill>
              <a:prstDash val="solid"/>
              <a:miter lim="800000"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07" name="Agrupar 106">
            <a:extLst>
              <a:ext uri="{FF2B5EF4-FFF2-40B4-BE49-F238E27FC236}">
                <a16:creationId xmlns:a16="http://schemas.microsoft.com/office/drawing/2014/main" id="{794F09E0-2668-7577-1F26-F1E19C687FE7}"/>
              </a:ext>
            </a:extLst>
          </p:cNvPr>
          <p:cNvGrpSpPr/>
          <p:nvPr/>
        </p:nvGrpSpPr>
        <p:grpSpPr>
          <a:xfrm>
            <a:off x="897189" y="4163888"/>
            <a:ext cx="351508" cy="383868"/>
            <a:chOff x="6000092" y="1357908"/>
            <a:chExt cx="365300" cy="398929"/>
          </a:xfrm>
        </p:grpSpPr>
        <p:sp>
          <p:nvSpPr>
            <p:cNvPr id="108" name="Forma livre: Forma 107">
              <a:extLst>
                <a:ext uri="{FF2B5EF4-FFF2-40B4-BE49-F238E27FC236}">
                  <a16:creationId xmlns:a16="http://schemas.microsoft.com/office/drawing/2014/main" id="{A30B8008-9F87-2615-ECEB-1DB341F0C451}"/>
                </a:ext>
              </a:extLst>
            </p:cNvPr>
            <p:cNvSpPr/>
            <p:nvPr/>
          </p:nvSpPr>
          <p:spPr>
            <a:xfrm>
              <a:off x="6000092" y="1418606"/>
              <a:ext cx="84058" cy="286120"/>
            </a:xfrm>
            <a:custGeom>
              <a:avLst/>
              <a:gdLst>
                <a:gd name="connsiteX0" fmla="*/ 51595 w 84058"/>
                <a:gd name="connsiteY0" fmla="*/ 0 h 286120"/>
                <a:gd name="connsiteX1" fmla="*/ 35266 w 84058"/>
                <a:gd name="connsiteY1" fmla="*/ 61674 h 286120"/>
                <a:gd name="connsiteX2" fmla="*/ 28760 w 84058"/>
                <a:gd name="connsiteY2" fmla="*/ 193415 h 286120"/>
                <a:gd name="connsiteX3" fmla="*/ 84059 w 84058"/>
                <a:gd name="connsiteY3" fmla="*/ 286121 h 2861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4058" h="286120">
                  <a:moveTo>
                    <a:pt x="51595" y="0"/>
                  </a:moveTo>
                  <a:cubicBezTo>
                    <a:pt x="37868" y="7872"/>
                    <a:pt x="26028" y="24852"/>
                    <a:pt x="35266" y="61674"/>
                  </a:cubicBezTo>
                  <a:cubicBezTo>
                    <a:pt x="35266" y="61674"/>
                    <a:pt x="-39549" y="126731"/>
                    <a:pt x="28760" y="193415"/>
                  </a:cubicBezTo>
                  <a:cubicBezTo>
                    <a:pt x="28760" y="193415"/>
                    <a:pt x="9243" y="281242"/>
                    <a:pt x="84059" y="286121"/>
                  </a:cubicBezTo>
                </a:path>
              </a:pathLst>
            </a:custGeom>
            <a:noFill/>
            <a:ln w="19050" cap="sq">
              <a:solidFill>
                <a:srgbClr val="184BFF"/>
              </a:solidFill>
              <a:prstDash val="solid"/>
              <a:miter lim="800000"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09" name="Gráfico 32">
              <a:extLst>
                <a:ext uri="{FF2B5EF4-FFF2-40B4-BE49-F238E27FC236}">
                  <a16:creationId xmlns:a16="http://schemas.microsoft.com/office/drawing/2014/main" id="{1DC7D9D9-989B-2B9F-D1A7-83FDAD502E07}"/>
                </a:ext>
              </a:extLst>
            </p:cNvPr>
            <p:cNvGrpSpPr/>
            <p:nvPr/>
          </p:nvGrpSpPr>
          <p:grpSpPr>
            <a:xfrm>
              <a:off x="6061121" y="1359924"/>
              <a:ext cx="128487" cy="396366"/>
              <a:chOff x="6061121" y="1359924"/>
              <a:chExt cx="128487" cy="396366"/>
            </a:xfrm>
            <a:noFill/>
          </p:grpSpPr>
          <p:sp>
            <p:nvSpPr>
              <p:cNvPr id="124" name="Forma livre: Forma 123">
                <a:extLst>
                  <a:ext uri="{FF2B5EF4-FFF2-40B4-BE49-F238E27FC236}">
                    <a16:creationId xmlns:a16="http://schemas.microsoft.com/office/drawing/2014/main" id="{585DE55F-6451-0E37-381A-7F54B9127350}"/>
                  </a:ext>
                </a:extLst>
              </p:cNvPr>
              <p:cNvSpPr/>
              <p:nvPr/>
            </p:nvSpPr>
            <p:spPr>
              <a:xfrm>
                <a:off x="6083891" y="1359924"/>
                <a:ext cx="105717" cy="396366"/>
              </a:xfrm>
              <a:custGeom>
                <a:avLst/>
                <a:gdLst>
                  <a:gd name="connsiteX0" fmla="*/ 52891 w 105717"/>
                  <a:gd name="connsiteY0" fmla="*/ 105718 h 396366"/>
                  <a:gd name="connsiteX1" fmla="*/ 0 w 105717"/>
                  <a:gd name="connsiteY1" fmla="*/ 52891 h 396366"/>
                  <a:gd name="connsiteX2" fmla="*/ 52891 w 105717"/>
                  <a:gd name="connsiteY2" fmla="*/ 0 h 396366"/>
                  <a:gd name="connsiteX3" fmla="*/ 105718 w 105717"/>
                  <a:gd name="connsiteY3" fmla="*/ 52826 h 396366"/>
                  <a:gd name="connsiteX4" fmla="*/ 105718 w 105717"/>
                  <a:gd name="connsiteY4" fmla="*/ 346884 h 396366"/>
                  <a:gd name="connsiteX5" fmla="*/ 80606 w 105717"/>
                  <a:gd name="connsiteY5" fmla="*/ 388911 h 396366"/>
                  <a:gd name="connsiteX6" fmla="*/ 9238 w 105717"/>
                  <a:gd name="connsiteY6" fmla="*/ 371150 h 396366"/>
                  <a:gd name="connsiteX7" fmla="*/ 15484 w 105717"/>
                  <a:gd name="connsiteY7" fmla="*/ 309216 h 396366"/>
                  <a:gd name="connsiteX8" fmla="*/ 45019 w 105717"/>
                  <a:gd name="connsiteY8" fmla="*/ 277078 h 3963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05717" h="396366">
                    <a:moveTo>
                      <a:pt x="52891" y="105718"/>
                    </a:moveTo>
                    <a:cubicBezTo>
                      <a:pt x="23681" y="105718"/>
                      <a:pt x="0" y="82037"/>
                      <a:pt x="0" y="52891"/>
                    </a:cubicBezTo>
                    <a:cubicBezTo>
                      <a:pt x="0" y="23746"/>
                      <a:pt x="23681" y="0"/>
                      <a:pt x="52891" y="0"/>
                    </a:cubicBezTo>
                    <a:cubicBezTo>
                      <a:pt x="82102" y="0"/>
                      <a:pt x="105718" y="23681"/>
                      <a:pt x="105718" y="52826"/>
                    </a:cubicBezTo>
                    <a:lnTo>
                      <a:pt x="105718" y="346884"/>
                    </a:lnTo>
                    <a:cubicBezTo>
                      <a:pt x="105718" y="364580"/>
                      <a:pt x="96414" y="379413"/>
                      <a:pt x="80606" y="388911"/>
                    </a:cubicBezTo>
                    <a:cubicBezTo>
                      <a:pt x="55949" y="403744"/>
                      <a:pt x="24006" y="395742"/>
                      <a:pt x="9238" y="371150"/>
                    </a:cubicBezTo>
                    <a:cubicBezTo>
                      <a:pt x="-2928" y="350918"/>
                      <a:pt x="260" y="325741"/>
                      <a:pt x="15484" y="309216"/>
                    </a:cubicBezTo>
                    <a:lnTo>
                      <a:pt x="45019" y="277078"/>
                    </a:lnTo>
                  </a:path>
                </a:pathLst>
              </a:custGeom>
              <a:noFill/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5" name="Forma livre: Forma 124">
                <a:extLst>
                  <a:ext uri="{FF2B5EF4-FFF2-40B4-BE49-F238E27FC236}">
                    <a16:creationId xmlns:a16="http://schemas.microsoft.com/office/drawing/2014/main" id="{7F967834-8A44-BAC0-F929-5A786C5C2E8C}"/>
                  </a:ext>
                </a:extLst>
              </p:cNvPr>
              <p:cNvSpPr/>
              <p:nvPr/>
            </p:nvSpPr>
            <p:spPr>
              <a:xfrm>
                <a:off x="6144784" y="1383865"/>
                <a:ext cx="41563" cy="38963"/>
              </a:xfrm>
              <a:custGeom>
                <a:avLst/>
                <a:gdLst>
                  <a:gd name="connsiteX0" fmla="*/ 36172 w 41563"/>
                  <a:gd name="connsiteY0" fmla="*/ 0 h 38963"/>
                  <a:gd name="connsiteX1" fmla="*/ 39425 w 41563"/>
                  <a:gd name="connsiteY1" fmla="*/ 24266 h 38963"/>
                  <a:gd name="connsiteX2" fmla="*/ 36432 w 41563"/>
                  <a:gd name="connsiteY2" fmla="*/ 29080 h 38963"/>
                  <a:gd name="connsiteX3" fmla="*/ 0 w 41563"/>
                  <a:gd name="connsiteY3" fmla="*/ 33439 h 389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563" h="38963">
                    <a:moveTo>
                      <a:pt x="36172" y="0"/>
                    </a:moveTo>
                    <a:cubicBezTo>
                      <a:pt x="41571" y="7547"/>
                      <a:pt x="43393" y="16004"/>
                      <a:pt x="39425" y="24266"/>
                    </a:cubicBezTo>
                    <a:cubicBezTo>
                      <a:pt x="38644" y="25893"/>
                      <a:pt x="37603" y="27519"/>
                      <a:pt x="36432" y="29080"/>
                    </a:cubicBezTo>
                    <a:cubicBezTo>
                      <a:pt x="27584" y="40270"/>
                      <a:pt x="11190" y="42287"/>
                      <a:pt x="0" y="33439"/>
                    </a:cubicBezTo>
                  </a:path>
                </a:pathLst>
              </a:custGeom>
              <a:noFill/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6" name="Forma livre: Forma 125">
                <a:extLst>
                  <a:ext uri="{FF2B5EF4-FFF2-40B4-BE49-F238E27FC236}">
                    <a16:creationId xmlns:a16="http://schemas.microsoft.com/office/drawing/2014/main" id="{BA0E471E-B7C8-0FC8-C128-2A4C86DDE4C0}"/>
                  </a:ext>
                </a:extLst>
              </p:cNvPr>
              <p:cNvSpPr/>
              <p:nvPr/>
            </p:nvSpPr>
            <p:spPr>
              <a:xfrm>
                <a:off x="6081487" y="1460806"/>
                <a:ext cx="34217" cy="54474"/>
              </a:xfrm>
              <a:custGeom>
                <a:avLst/>
                <a:gdLst>
                  <a:gd name="connsiteX0" fmla="*/ 21076 w 34217"/>
                  <a:gd name="connsiteY0" fmla="*/ 54475 h 54474"/>
                  <a:gd name="connsiteX1" fmla="*/ 778 w 34217"/>
                  <a:gd name="connsiteY1" fmla="*/ 21035 h 54474"/>
                  <a:gd name="connsiteX2" fmla="*/ 34217 w 34217"/>
                  <a:gd name="connsiteY2" fmla="*/ 803 h 544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4217" h="54474">
                    <a:moveTo>
                      <a:pt x="21076" y="54475"/>
                    </a:moveTo>
                    <a:cubicBezTo>
                      <a:pt x="6308" y="50832"/>
                      <a:pt x="-2800" y="35803"/>
                      <a:pt x="778" y="21035"/>
                    </a:cubicBezTo>
                    <a:cubicBezTo>
                      <a:pt x="4421" y="6267"/>
                      <a:pt x="19449" y="-2841"/>
                      <a:pt x="34217" y="803"/>
                    </a:cubicBezTo>
                  </a:path>
                </a:pathLst>
              </a:custGeom>
              <a:noFill/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7" name="Forma livre: Forma 126">
                <a:extLst>
                  <a:ext uri="{FF2B5EF4-FFF2-40B4-BE49-F238E27FC236}">
                    <a16:creationId xmlns:a16="http://schemas.microsoft.com/office/drawing/2014/main" id="{7F9B8DF6-22AA-1ECC-AB34-09B6E01060BA}"/>
                  </a:ext>
                </a:extLst>
              </p:cNvPr>
              <p:cNvSpPr/>
              <p:nvPr/>
            </p:nvSpPr>
            <p:spPr>
              <a:xfrm>
                <a:off x="6073547" y="1527543"/>
                <a:ext cx="114760" cy="72506"/>
              </a:xfrm>
              <a:custGeom>
                <a:avLst/>
                <a:gdLst>
                  <a:gd name="connsiteX0" fmla="*/ 114760 w 114760"/>
                  <a:gd name="connsiteY0" fmla="*/ 7254 h 72506"/>
                  <a:gd name="connsiteX1" fmla="*/ 73905 w 114760"/>
                  <a:gd name="connsiteY1" fmla="*/ 8881 h 72506"/>
                  <a:gd name="connsiteX2" fmla="*/ 0 w 114760"/>
                  <a:gd name="connsiteY2" fmla="*/ 72506 h 725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14760" h="72506">
                    <a:moveTo>
                      <a:pt x="114760" y="7254"/>
                    </a:moveTo>
                    <a:cubicBezTo>
                      <a:pt x="103375" y="-2830"/>
                      <a:pt x="83989" y="-2504"/>
                      <a:pt x="73905" y="8881"/>
                    </a:cubicBezTo>
                    <a:cubicBezTo>
                      <a:pt x="73905" y="8881"/>
                      <a:pt x="31488" y="72506"/>
                      <a:pt x="0" y="72506"/>
                    </a:cubicBezTo>
                  </a:path>
                </a:pathLst>
              </a:custGeom>
              <a:noFill/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8" name="Forma livre: Forma 127">
                <a:extLst>
                  <a:ext uri="{FF2B5EF4-FFF2-40B4-BE49-F238E27FC236}">
                    <a16:creationId xmlns:a16="http://schemas.microsoft.com/office/drawing/2014/main" id="{0622C76B-BD5F-105D-7A73-494F9B3551D3}"/>
                  </a:ext>
                </a:extLst>
              </p:cNvPr>
              <p:cNvSpPr/>
              <p:nvPr/>
            </p:nvSpPr>
            <p:spPr>
              <a:xfrm>
                <a:off x="6079857" y="1646956"/>
                <a:ext cx="29405" cy="9823"/>
              </a:xfrm>
              <a:custGeom>
                <a:avLst/>
                <a:gdLst>
                  <a:gd name="connsiteX0" fmla="*/ 0 w 29405"/>
                  <a:gd name="connsiteY0" fmla="*/ 0 h 9823"/>
                  <a:gd name="connsiteX1" fmla="*/ 29406 w 29405"/>
                  <a:gd name="connsiteY1" fmla="*/ 9824 h 98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9405" h="9823">
                    <a:moveTo>
                      <a:pt x="0" y="0"/>
                    </a:moveTo>
                    <a:lnTo>
                      <a:pt x="29406" y="9824"/>
                    </a:lnTo>
                  </a:path>
                </a:pathLst>
              </a:custGeom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9" name="Forma livre: Forma 128">
                <a:extLst>
                  <a:ext uri="{FF2B5EF4-FFF2-40B4-BE49-F238E27FC236}">
                    <a16:creationId xmlns:a16="http://schemas.microsoft.com/office/drawing/2014/main" id="{F9DFCA77-BE74-4789-7E95-5F9F4BAA2092}"/>
                  </a:ext>
                </a:extLst>
              </p:cNvPr>
              <p:cNvSpPr/>
              <p:nvPr/>
            </p:nvSpPr>
            <p:spPr>
              <a:xfrm>
                <a:off x="6061121" y="1545272"/>
                <a:ext cx="47166" cy="34154"/>
              </a:xfrm>
              <a:custGeom>
                <a:avLst/>
                <a:gdLst>
                  <a:gd name="connsiteX0" fmla="*/ 0 w 47166"/>
                  <a:gd name="connsiteY0" fmla="*/ 0 h 34154"/>
                  <a:gd name="connsiteX1" fmla="*/ 47166 w 47166"/>
                  <a:gd name="connsiteY1" fmla="*/ 34155 h 341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166" h="34154">
                    <a:moveTo>
                      <a:pt x="0" y="0"/>
                    </a:moveTo>
                    <a:cubicBezTo>
                      <a:pt x="0" y="0"/>
                      <a:pt x="27649" y="13011"/>
                      <a:pt x="47166" y="34155"/>
                    </a:cubicBezTo>
                  </a:path>
                </a:pathLst>
              </a:custGeom>
              <a:noFill/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10" name="Gráfico 32">
              <a:extLst>
                <a:ext uri="{FF2B5EF4-FFF2-40B4-BE49-F238E27FC236}">
                  <a16:creationId xmlns:a16="http://schemas.microsoft.com/office/drawing/2014/main" id="{9AABF5D0-21D3-2F2B-AA91-DE8F692C78EC}"/>
                </a:ext>
              </a:extLst>
            </p:cNvPr>
            <p:cNvGrpSpPr/>
            <p:nvPr/>
          </p:nvGrpSpPr>
          <p:grpSpPr>
            <a:xfrm>
              <a:off x="6191625" y="1599725"/>
              <a:ext cx="173767" cy="157112"/>
              <a:chOff x="6191625" y="1599725"/>
              <a:chExt cx="173767" cy="157112"/>
            </a:xfrm>
            <a:noFill/>
          </p:grpSpPr>
          <p:sp>
            <p:nvSpPr>
              <p:cNvPr id="120" name="Forma livre: Forma 119">
                <a:extLst>
                  <a:ext uri="{FF2B5EF4-FFF2-40B4-BE49-F238E27FC236}">
                    <a16:creationId xmlns:a16="http://schemas.microsoft.com/office/drawing/2014/main" id="{31934B0F-4E13-83FB-F2E8-7A99731ABDDB}"/>
                  </a:ext>
                </a:extLst>
              </p:cNvPr>
              <p:cNvSpPr/>
              <p:nvPr/>
            </p:nvSpPr>
            <p:spPr>
              <a:xfrm>
                <a:off x="6310094" y="1621974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1" name="Forma livre: Forma 120">
                <a:extLst>
                  <a:ext uri="{FF2B5EF4-FFF2-40B4-BE49-F238E27FC236}">
                    <a16:creationId xmlns:a16="http://schemas.microsoft.com/office/drawing/2014/main" id="{528ED0FD-AA74-64B1-D446-A19C1C97B1D7}"/>
                  </a:ext>
                </a:extLst>
              </p:cNvPr>
              <p:cNvSpPr/>
              <p:nvPr/>
            </p:nvSpPr>
            <p:spPr>
              <a:xfrm>
                <a:off x="6191625" y="1599725"/>
                <a:ext cx="118078" cy="49898"/>
              </a:xfrm>
              <a:custGeom>
                <a:avLst/>
                <a:gdLst>
                  <a:gd name="connsiteX0" fmla="*/ 0 w 118078"/>
                  <a:gd name="connsiteY0" fmla="*/ 0 h 49898"/>
                  <a:gd name="connsiteX1" fmla="*/ 37343 w 118078"/>
                  <a:gd name="connsiteY1" fmla="*/ 0 h 49898"/>
                  <a:gd name="connsiteX2" fmla="*/ 87176 w 118078"/>
                  <a:gd name="connsiteY2" fmla="*/ 49899 h 49898"/>
                  <a:gd name="connsiteX3" fmla="*/ 118078 w 118078"/>
                  <a:gd name="connsiteY3" fmla="*/ 49899 h 49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8078" h="49898">
                    <a:moveTo>
                      <a:pt x="0" y="0"/>
                    </a:moveTo>
                    <a:lnTo>
                      <a:pt x="37343" y="0"/>
                    </a:lnTo>
                    <a:lnTo>
                      <a:pt x="87176" y="49899"/>
                    </a:lnTo>
                    <a:lnTo>
                      <a:pt x="118078" y="49899"/>
                    </a:lnTo>
                  </a:path>
                </a:pathLst>
              </a:custGeom>
              <a:noFill/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2" name="Forma livre: Forma 121">
                <a:extLst>
                  <a:ext uri="{FF2B5EF4-FFF2-40B4-BE49-F238E27FC236}">
                    <a16:creationId xmlns:a16="http://schemas.microsoft.com/office/drawing/2014/main" id="{1C83D11E-AEFA-2531-1F61-A814CB5854FA}"/>
                  </a:ext>
                </a:extLst>
              </p:cNvPr>
              <p:cNvSpPr/>
              <p:nvPr/>
            </p:nvSpPr>
            <p:spPr>
              <a:xfrm>
                <a:off x="6191625" y="1665367"/>
                <a:ext cx="81906" cy="44108"/>
              </a:xfrm>
              <a:custGeom>
                <a:avLst/>
                <a:gdLst>
                  <a:gd name="connsiteX0" fmla="*/ 0 w 81906"/>
                  <a:gd name="connsiteY0" fmla="*/ 0 h 44108"/>
                  <a:gd name="connsiteX1" fmla="*/ 37343 w 81906"/>
                  <a:gd name="connsiteY1" fmla="*/ 0 h 44108"/>
                  <a:gd name="connsiteX2" fmla="*/ 81907 w 81906"/>
                  <a:gd name="connsiteY2" fmla="*/ 44109 h 441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1906" h="44108">
                    <a:moveTo>
                      <a:pt x="0" y="0"/>
                    </a:moveTo>
                    <a:lnTo>
                      <a:pt x="37343" y="0"/>
                    </a:lnTo>
                    <a:lnTo>
                      <a:pt x="81907" y="44109"/>
                    </a:lnTo>
                  </a:path>
                </a:pathLst>
              </a:custGeom>
              <a:noFill/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3" name="Forma livre: Forma 122">
                <a:extLst>
                  <a:ext uri="{FF2B5EF4-FFF2-40B4-BE49-F238E27FC236}">
                    <a16:creationId xmlns:a16="http://schemas.microsoft.com/office/drawing/2014/main" id="{81BC7C34-4816-E5FF-1B43-C7CE35552576}"/>
                  </a:ext>
                </a:extLst>
              </p:cNvPr>
              <p:cNvSpPr/>
              <p:nvPr/>
            </p:nvSpPr>
            <p:spPr>
              <a:xfrm>
                <a:off x="6265075" y="1701539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11" name="Gráfico 32">
              <a:extLst>
                <a:ext uri="{FF2B5EF4-FFF2-40B4-BE49-F238E27FC236}">
                  <a16:creationId xmlns:a16="http://schemas.microsoft.com/office/drawing/2014/main" id="{8821040F-EC2D-D228-36E5-B6495EB3B9EB}"/>
                </a:ext>
              </a:extLst>
            </p:cNvPr>
            <p:cNvGrpSpPr/>
            <p:nvPr/>
          </p:nvGrpSpPr>
          <p:grpSpPr>
            <a:xfrm>
              <a:off x="6191625" y="1357908"/>
              <a:ext cx="173767" cy="157112"/>
              <a:chOff x="6191625" y="1357908"/>
              <a:chExt cx="173767" cy="157112"/>
            </a:xfrm>
            <a:noFill/>
          </p:grpSpPr>
          <p:sp>
            <p:nvSpPr>
              <p:cNvPr id="116" name="Forma livre: Forma 115">
                <a:extLst>
                  <a:ext uri="{FF2B5EF4-FFF2-40B4-BE49-F238E27FC236}">
                    <a16:creationId xmlns:a16="http://schemas.microsoft.com/office/drawing/2014/main" id="{734E4BB9-4FE3-0CC4-F5D7-22A0CE5E5860}"/>
                  </a:ext>
                </a:extLst>
              </p:cNvPr>
              <p:cNvSpPr/>
              <p:nvPr/>
            </p:nvSpPr>
            <p:spPr>
              <a:xfrm>
                <a:off x="6310094" y="1437472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0 h 55298"/>
                  <a:gd name="connsiteX2" fmla="*/ 0 w 55298"/>
                  <a:gd name="connsiteY2" fmla="*/ 27649 h 55298"/>
                  <a:gd name="connsiteX3" fmla="*/ 27649 w 55298"/>
                  <a:gd name="connsiteY3" fmla="*/ 55298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12361"/>
                      <a:pt x="42938" y="0"/>
                      <a:pt x="27649" y="0"/>
                    </a:cubicBezTo>
                    <a:cubicBezTo>
                      <a:pt x="12361" y="0"/>
                      <a:pt x="0" y="12361"/>
                      <a:pt x="0" y="27649"/>
                    </a:cubicBezTo>
                    <a:cubicBezTo>
                      <a:pt x="0" y="42938"/>
                      <a:pt x="12361" y="55298"/>
                      <a:pt x="27649" y="55298"/>
                    </a:cubicBezTo>
                    <a:cubicBezTo>
                      <a:pt x="42938" y="55298"/>
                      <a:pt x="55298" y="42938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17" name="Forma livre: Forma 116">
                <a:extLst>
                  <a:ext uri="{FF2B5EF4-FFF2-40B4-BE49-F238E27FC236}">
                    <a16:creationId xmlns:a16="http://schemas.microsoft.com/office/drawing/2014/main" id="{7718AB90-FAC7-E502-E99B-67D7EE698C7F}"/>
                  </a:ext>
                </a:extLst>
              </p:cNvPr>
              <p:cNvSpPr/>
              <p:nvPr/>
            </p:nvSpPr>
            <p:spPr>
              <a:xfrm>
                <a:off x="6191625" y="1465122"/>
                <a:ext cx="118468" cy="49898"/>
              </a:xfrm>
              <a:custGeom>
                <a:avLst/>
                <a:gdLst>
                  <a:gd name="connsiteX0" fmla="*/ 0 w 118468"/>
                  <a:gd name="connsiteY0" fmla="*/ 49899 h 49898"/>
                  <a:gd name="connsiteX1" fmla="*/ 37343 w 118468"/>
                  <a:gd name="connsiteY1" fmla="*/ 49899 h 49898"/>
                  <a:gd name="connsiteX2" fmla="*/ 87176 w 118468"/>
                  <a:gd name="connsiteY2" fmla="*/ 0 h 49898"/>
                  <a:gd name="connsiteX3" fmla="*/ 118469 w 118468"/>
                  <a:gd name="connsiteY3" fmla="*/ 0 h 49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8468" h="49898">
                    <a:moveTo>
                      <a:pt x="0" y="49899"/>
                    </a:moveTo>
                    <a:lnTo>
                      <a:pt x="37343" y="49899"/>
                    </a:lnTo>
                    <a:lnTo>
                      <a:pt x="87176" y="0"/>
                    </a:lnTo>
                    <a:lnTo>
                      <a:pt x="118469" y="0"/>
                    </a:lnTo>
                  </a:path>
                </a:pathLst>
              </a:custGeom>
              <a:noFill/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18" name="Forma livre: Forma 117">
                <a:extLst>
                  <a:ext uri="{FF2B5EF4-FFF2-40B4-BE49-F238E27FC236}">
                    <a16:creationId xmlns:a16="http://schemas.microsoft.com/office/drawing/2014/main" id="{10A94841-A25F-25CD-4B51-0447F997A297}"/>
                  </a:ext>
                </a:extLst>
              </p:cNvPr>
              <p:cNvSpPr/>
              <p:nvPr/>
            </p:nvSpPr>
            <p:spPr>
              <a:xfrm>
                <a:off x="6191625" y="1405269"/>
                <a:ext cx="81451" cy="44043"/>
              </a:xfrm>
              <a:custGeom>
                <a:avLst/>
                <a:gdLst>
                  <a:gd name="connsiteX0" fmla="*/ 0 w 81451"/>
                  <a:gd name="connsiteY0" fmla="*/ 44044 h 44043"/>
                  <a:gd name="connsiteX1" fmla="*/ 37343 w 81451"/>
                  <a:gd name="connsiteY1" fmla="*/ 44044 h 44043"/>
                  <a:gd name="connsiteX2" fmla="*/ 81451 w 81451"/>
                  <a:gd name="connsiteY2" fmla="*/ 0 h 440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1451" h="44043">
                    <a:moveTo>
                      <a:pt x="0" y="44044"/>
                    </a:moveTo>
                    <a:lnTo>
                      <a:pt x="37343" y="44044"/>
                    </a:lnTo>
                    <a:lnTo>
                      <a:pt x="81451" y="0"/>
                    </a:lnTo>
                  </a:path>
                </a:pathLst>
              </a:custGeom>
              <a:noFill/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19" name="Forma livre: Forma 118">
                <a:extLst>
                  <a:ext uri="{FF2B5EF4-FFF2-40B4-BE49-F238E27FC236}">
                    <a16:creationId xmlns:a16="http://schemas.microsoft.com/office/drawing/2014/main" id="{199E438E-C6CA-BF72-0CA2-2B5D70F88E2A}"/>
                  </a:ext>
                </a:extLst>
              </p:cNvPr>
              <p:cNvSpPr/>
              <p:nvPr/>
            </p:nvSpPr>
            <p:spPr>
              <a:xfrm>
                <a:off x="6265075" y="1357908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0 h 55298"/>
                  <a:gd name="connsiteX2" fmla="*/ 0 w 55298"/>
                  <a:gd name="connsiteY2" fmla="*/ 27649 h 55298"/>
                  <a:gd name="connsiteX3" fmla="*/ 27649 w 55298"/>
                  <a:gd name="connsiteY3" fmla="*/ 55298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12361"/>
                      <a:pt x="42938" y="0"/>
                      <a:pt x="27649" y="0"/>
                    </a:cubicBezTo>
                    <a:cubicBezTo>
                      <a:pt x="12361" y="0"/>
                      <a:pt x="0" y="12361"/>
                      <a:pt x="0" y="27649"/>
                    </a:cubicBezTo>
                    <a:cubicBezTo>
                      <a:pt x="0" y="42938"/>
                      <a:pt x="12361" y="55298"/>
                      <a:pt x="27649" y="55298"/>
                    </a:cubicBezTo>
                    <a:cubicBezTo>
                      <a:pt x="42938" y="55298"/>
                      <a:pt x="55298" y="42938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12" name="Gráfico 32">
              <a:extLst>
                <a:ext uri="{FF2B5EF4-FFF2-40B4-BE49-F238E27FC236}">
                  <a16:creationId xmlns:a16="http://schemas.microsoft.com/office/drawing/2014/main" id="{86DB342A-1648-093B-06FC-7A21162F18F4}"/>
                </a:ext>
              </a:extLst>
            </p:cNvPr>
            <p:cNvGrpSpPr/>
            <p:nvPr/>
          </p:nvGrpSpPr>
          <p:grpSpPr>
            <a:xfrm>
              <a:off x="6190910" y="1529723"/>
              <a:ext cx="123673" cy="55298"/>
              <a:chOff x="6190910" y="1529723"/>
              <a:chExt cx="123673" cy="55298"/>
            </a:xfrm>
            <a:noFill/>
          </p:grpSpPr>
          <p:sp>
            <p:nvSpPr>
              <p:cNvPr id="114" name="Forma livre: Forma 113">
                <a:extLst>
                  <a:ext uri="{FF2B5EF4-FFF2-40B4-BE49-F238E27FC236}">
                    <a16:creationId xmlns:a16="http://schemas.microsoft.com/office/drawing/2014/main" id="{F2992A21-81D5-CE14-A5D8-C9AEFAD7AF9A}"/>
                  </a:ext>
                </a:extLst>
              </p:cNvPr>
              <p:cNvSpPr/>
              <p:nvPr/>
            </p:nvSpPr>
            <p:spPr>
              <a:xfrm>
                <a:off x="6190910" y="1557372"/>
                <a:ext cx="68765" cy="6505"/>
              </a:xfrm>
              <a:custGeom>
                <a:avLst/>
                <a:gdLst>
                  <a:gd name="connsiteX0" fmla="*/ 0 w 68765"/>
                  <a:gd name="connsiteY0" fmla="*/ 0 h 6505"/>
                  <a:gd name="connsiteX1" fmla="*/ 68765 w 68765"/>
                  <a:gd name="connsiteY1" fmla="*/ 0 h 65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8765" h="6505">
                    <a:moveTo>
                      <a:pt x="0" y="0"/>
                    </a:moveTo>
                    <a:lnTo>
                      <a:pt x="68765" y="0"/>
                    </a:lnTo>
                  </a:path>
                </a:pathLst>
              </a:custGeom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15" name="Forma livre: Forma 114">
                <a:extLst>
                  <a:ext uri="{FF2B5EF4-FFF2-40B4-BE49-F238E27FC236}">
                    <a16:creationId xmlns:a16="http://schemas.microsoft.com/office/drawing/2014/main" id="{968A8C51-031C-DC8E-B59B-0D25066AABA5}"/>
                  </a:ext>
                </a:extLst>
              </p:cNvPr>
              <p:cNvSpPr/>
              <p:nvPr/>
            </p:nvSpPr>
            <p:spPr>
              <a:xfrm>
                <a:off x="6259285" y="1529723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13" name="Forma livre: Forma 112">
              <a:extLst>
                <a:ext uri="{FF2B5EF4-FFF2-40B4-BE49-F238E27FC236}">
                  <a16:creationId xmlns:a16="http://schemas.microsoft.com/office/drawing/2014/main" id="{BAF88340-2C14-D7AC-8C7B-3B6412C69272}"/>
                </a:ext>
              </a:extLst>
            </p:cNvPr>
            <p:cNvSpPr/>
            <p:nvPr/>
          </p:nvSpPr>
          <p:spPr>
            <a:xfrm>
              <a:off x="6152201" y="1686285"/>
              <a:ext cx="37362" cy="20848"/>
            </a:xfrm>
            <a:custGeom>
              <a:avLst/>
              <a:gdLst>
                <a:gd name="connsiteX0" fmla="*/ 0 w 37362"/>
                <a:gd name="connsiteY0" fmla="*/ 10505 h 20848"/>
                <a:gd name="connsiteX1" fmla="*/ 27064 w 37362"/>
                <a:gd name="connsiteY1" fmla="*/ 2373 h 20848"/>
                <a:gd name="connsiteX2" fmla="*/ 37343 w 37362"/>
                <a:gd name="connsiteY2" fmla="*/ 20849 h 20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7362" h="20848">
                  <a:moveTo>
                    <a:pt x="0" y="10505"/>
                  </a:moveTo>
                  <a:cubicBezTo>
                    <a:pt x="5205" y="811"/>
                    <a:pt x="17435" y="-2832"/>
                    <a:pt x="27064" y="2373"/>
                  </a:cubicBezTo>
                  <a:cubicBezTo>
                    <a:pt x="34025" y="6081"/>
                    <a:pt x="37668" y="13432"/>
                    <a:pt x="37343" y="20849"/>
                  </a:cubicBezTo>
                </a:path>
              </a:pathLst>
            </a:custGeom>
            <a:noFill/>
            <a:ln w="19050" cap="sq">
              <a:solidFill>
                <a:srgbClr val="184BFF"/>
              </a:solidFill>
              <a:prstDash val="solid"/>
              <a:miter lim="800000"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30" name="Agrupar 129">
            <a:extLst>
              <a:ext uri="{FF2B5EF4-FFF2-40B4-BE49-F238E27FC236}">
                <a16:creationId xmlns:a16="http://schemas.microsoft.com/office/drawing/2014/main" id="{44A299FE-E079-D20F-01D8-792584F96D39}"/>
              </a:ext>
            </a:extLst>
          </p:cNvPr>
          <p:cNvGrpSpPr/>
          <p:nvPr/>
        </p:nvGrpSpPr>
        <p:grpSpPr>
          <a:xfrm>
            <a:off x="897189" y="4727318"/>
            <a:ext cx="351508" cy="383868"/>
            <a:chOff x="6000092" y="1357908"/>
            <a:chExt cx="365300" cy="398929"/>
          </a:xfrm>
        </p:grpSpPr>
        <p:sp>
          <p:nvSpPr>
            <p:cNvPr id="131" name="Forma livre: Forma 130">
              <a:extLst>
                <a:ext uri="{FF2B5EF4-FFF2-40B4-BE49-F238E27FC236}">
                  <a16:creationId xmlns:a16="http://schemas.microsoft.com/office/drawing/2014/main" id="{AC06FB6E-E80E-443C-1F72-B6657919605C}"/>
                </a:ext>
              </a:extLst>
            </p:cNvPr>
            <p:cNvSpPr/>
            <p:nvPr/>
          </p:nvSpPr>
          <p:spPr>
            <a:xfrm>
              <a:off x="6000092" y="1418606"/>
              <a:ext cx="84058" cy="286120"/>
            </a:xfrm>
            <a:custGeom>
              <a:avLst/>
              <a:gdLst>
                <a:gd name="connsiteX0" fmla="*/ 51595 w 84058"/>
                <a:gd name="connsiteY0" fmla="*/ 0 h 286120"/>
                <a:gd name="connsiteX1" fmla="*/ 35266 w 84058"/>
                <a:gd name="connsiteY1" fmla="*/ 61674 h 286120"/>
                <a:gd name="connsiteX2" fmla="*/ 28760 w 84058"/>
                <a:gd name="connsiteY2" fmla="*/ 193415 h 286120"/>
                <a:gd name="connsiteX3" fmla="*/ 84059 w 84058"/>
                <a:gd name="connsiteY3" fmla="*/ 286121 h 2861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4058" h="286120">
                  <a:moveTo>
                    <a:pt x="51595" y="0"/>
                  </a:moveTo>
                  <a:cubicBezTo>
                    <a:pt x="37868" y="7872"/>
                    <a:pt x="26028" y="24852"/>
                    <a:pt x="35266" y="61674"/>
                  </a:cubicBezTo>
                  <a:cubicBezTo>
                    <a:pt x="35266" y="61674"/>
                    <a:pt x="-39549" y="126731"/>
                    <a:pt x="28760" y="193415"/>
                  </a:cubicBezTo>
                  <a:cubicBezTo>
                    <a:pt x="28760" y="193415"/>
                    <a:pt x="9243" y="281242"/>
                    <a:pt x="84059" y="286121"/>
                  </a:cubicBezTo>
                </a:path>
              </a:pathLst>
            </a:custGeom>
            <a:noFill/>
            <a:ln w="19050" cap="sq">
              <a:solidFill>
                <a:srgbClr val="184BFF"/>
              </a:solidFill>
              <a:prstDash val="solid"/>
              <a:miter lim="800000"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32" name="Gráfico 32">
              <a:extLst>
                <a:ext uri="{FF2B5EF4-FFF2-40B4-BE49-F238E27FC236}">
                  <a16:creationId xmlns:a16="http://schemas.microsoft.com/office/drawing/2014/main" id="{4AA9CB67-ADD9-7558-7D4E-0EF7CC42EAAB}"/>
                </a:ext>
              </a:extLst>
            </p:cNvPr>
            <p:cNvGrpSpPr/>
            <p:nvPr/>
          </p:nvGrpSpPr>
          <p:grpSpPr>
            <a:xfrm>
              <a:off x="6061121" y="1359924"/>
              <a:ext cx="128487" cy="396366"/>
              <a:chOff x="6061121" y="1359924"/>
              <a:chExt cx="128487" cy="396366"/>
            </a:xfrm>
            <a:noFill/>
          </p:grpSpPr>
          <p:sp>
            <p:nvSpPr>
              <p:cNvPr id="147" name="Forma livre: Forma 146">
                <a:extLst>
                  <a:ext uri="{FF2B5EF4-FFF2-40B4-BE49-F238E27FC236}">
                    <a16:creationId xmlns:a16="http://schemas.microsoft.com/office/drawing/2014/main" id="{AE0387E1-FB82-38E6-8B13-EC2AFC80FCE1}"/>
                  </a:ext>
                </a:extLst>
              </p:cNvPr>
              <p:cNvSpPr/>
              <p:nvPr/>
            </p:nvSpPr>
            <p:spPr>
              <a:xfrm>
                <a:off x="6083891" y="1359924"/>
                <a:ext cx="105717" cy="396366"/>
              </a:xfrm>
              <a:custGeom>
                <a:avLst/>
                <a:gdLst>
                  <a:gd name="connsiteX0" fmla="*/ 52891 w 105717"/>
                  <a:gd name="connsiteY0" fmla="*/ 105718 h 396366"/>
                  <a:gd name="connsiteX1" fmla="*/ 0 w 105717"/>
                  <a:gd name="connsiteY1" fmla="*/ 52891 h 396366"/>
                  <a:gd name="connsiteX2" fmla="*/ 52891 w 105717"/>
                  <a:gd name="connsiteY2" fmla="*/ 0 h 396366"/>
                  <a:gd name="connsiteX3" fmla="*/ 105718 w 105717"/>
                  <a:gd name="connsiteY3" fmla="*/ 52826 h 396366"/>
                  <a:gd name="connsiteX4" fmla="*/ 105718 w 105717"/>
                  <a:gd name="connsiteY4" fmla="*/ 346884 h 396366"/>
                  <a:gd name="connsiteX5" fmla="*/ 80606 w 105717"/>
                  <a:gd name="connsiteY5" fmla="*/ 388911 h 396366"/>
                  <a:gd name="connsiteX6" fmla="*/ 9238 w 105717"/>
                  <a:gd name="connsiteY6" fmla="*/ 371150 h 396366"/>
                  <a:gd name="connsiteX7" fmla="*/ 15484 w 105717"/>
                  <a:gd name="connsiteY7" fmla="*/ 309216 h 396366"/>
                  <a:gd name="connsiteX8" fmla="*/ 45019 w 105717"/>
                  <a:gd name="connsiteY8" fmla="*/ 277078 h 3963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05717" h="396366">
                    <a:moveTo>
                      <a:pt x="52891" y="105718"/>
                    </a:moveTo>
                    <a:cubicBezTo>
                      <a:pt x="23681" y="105718"/>
                      <a:pt x="0" y="82037"/>
                      <a:pt x="0" y="52891"/>
                    </a:cubicBezTo>
                    <a:cubicBezTo>
                      <a:pt x="0" y="23746"/>
                      <a:pt x="23681" y="0"/>
                      <a:pt x="52891" y="0"/>
                    </a:cubicBezTo>
                    <a:cubicBezTo>
                      <a:pt x="82102" y="0"/>
                      <a:pt x="105718" y="23681"/>
                      <a:pt x="105718" y="52826"/>
                    </a:cubicBezTo>
                    <a:lnTo>
                      <a:pt x="105718" y="346884"/>
                    </a:lnTo>
                    <a:cubicBezTo>
                      <a:pt x="105718" y="364580"/>
                      <a:pt x="96414" y="379413"/>
                      <a:pt x="80606" y="388911"/>
                    </a:cubicBezTo>
                    <a:cubicBezTo>
                      <a:pt x="55949" y="403744"/>
                      <a:pt x="24006" y="395742"/>
                      <a:pt x="9238" y="371150"/>
                    </a:cubicBezTo>
                    <a:cubicBezTo>
                      <a:pt x="-2928" y="350918"/>
                      <a:pt x="260" y="325741"/>
                      <a:pt x="15484" y="309216"/>
                    </a:cubicBezTo>
                    <a:lnTo>
                      <a:pt x="45019" y="277078"/>
                    </a:lnTo>
                  </a:path>
                </a:pathLst>
              </a:custGeom>
              <a:noFill/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48" name="Forma livre: Forma 147">
                <a:extLst>
                  <a:ext uri="{FF2B5EF4-FFF2-40B4-BE49-F238E27FC236}">
                    <a16:creationId xmlns:a16="http://schemas.microsoft.com/office/drawing/2014/main" id="{86C7AA5F-2C92-A1D9-5077-4F93D253CBC3}"/>
                  </a:ext>
                </a:extLst>
              </p:cNvPr>
              <p:cNvSpPr/>
              <p:nvPr/>
            </p:nvSpPr>
            <p:spPr>
              <a:xfrm>
                <a:off x="6144784" y="1383865"/>
                <a:ext cx="41563" cy="38963"/>
              </a:xfrm>
              <a:custGeom>
                <a:avLst/>
                <a:gdLst>
                  <a:gd name="connsiteX0" fmla="*/ 36172 w 41563"/>
                  <a:gd name="connsiteY0" fmla="*/ 0 h 38963"/>
                  <a:gd name="connsiteX1" fmla="*/ 39425 w 41563"/>
                  <a:gd name="connsiteY1" fmla="*/ 24266 h 38963"/>
                  <a:gd name="connsiteX2" fmla="*/ 36432 w 41563"/>
                  <a:gd name="connsiteY2" fmla="*/ 29080 h 38963"/>
                  <a:gd name="connsiteX3" fmla="*/ 0 w 41563"/>
                  <a:gd name="connsiteY3" fmla="*/ 33439 h 389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563" h="38963">
                    <a:moveTo>
                      <a:pt x="36172" y="0"/>
                    </a:moveTo>
                    <a:cubicBezTo>
                      <a:pt x="41571" y="7547"/>
                      <a:pt x="43393" y="16004"/>
                      <a:pt x="39425" y="24266"/>
                    </a:cubicBezTo>
                    <a:cubicBezTo>
                      <a:pt x="38644" y="25893"/>
                      <a:pt x="37603" y="27519"/>
                      <a:pt x="36432" y="29080"/>
                    </a:cubicBezTo>
                    <a:cubicBezTo>
                      <a:pt x="27584" y="40270"/>
                      <a:pt x="11190" y="42287"/>
                      <a:pt x="0" y="33439"/>
                    </a:cubicBezTo>
                  </a:path>
                </a:pathLst>
              </a:custGeom>
              <a:noFill/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49" name="Forma livre: Forma 148">
                <a:extLst>
                  <a:ext uri="{FF2B5EF4-FFF2-40B4-BE49-F238E27FC236}">
                    <a16:creationId xmlns:a16="http://schemas.microsoft.com/office/drawing/2014/main" id="{CC99A92B-FBED-5E58-7E14-E2C28EE5D610}"/>
                  </a:ext>
                </a:extLst>
              </p:cNvPr>
              <p:cNvSpPr/>
              <p:nvPr/>
            </p:nvSpPr>
            <p:spPr>
              <a:xfrm>
                <a:off x="6081487" y="1460806"/>
                <a:ext cx="34217" cy="54474"/>
              </a:xfrm>
              <a:custGeom>
                <a:avLst/>
                <a:gdLst>
                  <a:gd name="connsiteX0" fmla="*/ 21076 w 34217"/>
                  <a:gd name="connsiteY0" fmla="*/ 54475 h 54474"/>
                  <a:gd name="connsiteX1" fmla="*/ 778 w 34217"/>
                  <a:gd name="connsiteY1" fmla="*/ 21035 h 54474"/>
                  <a:gd name="connsiteX2" fmla="*/ 34217 w 34217"/>
                  <a:gd name="connsiteY2" fmla="*/ 803 h 544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4217" h="54474">
                    <a:moveTo>
                      <a:pt x="21076" y="54475"/>
                    </a:moveTo>
                    <a:cubicBezTo>
                      <a:pt x="6308" y="50832"/>
                      <a:pt x="-2800" y="35803"/>
                      <a:pt x="778" y="21035"/>
                    </a:cubicBezTo>
                    <a:cubicBezTo>
                      <a:pt x="4421" y="6267"/>
                      <a:pt x="19449" y="-2841"/>
                      <a:pt x="34217" y="803"/>
                    </a:cubicBezTo>
                  </a:path>
                </a:pathLst>
              </a:custGeom>
              <a:noFill/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50" name="Forma livre: Forma 149">
                <a:extLst>
                  <a:ext uri="{FF2B5EF4-FFF2-40B4-BE49-F238E27FC236}">
                    <a16:creationId xmlns:a16="http://schemas.microsoft.com/office/drawing/2014/main" id="{5EE68DB5-48D3-F15F-B56D-D096D82E2F14}"/>
                  </a:ext>
                </a:extLst>
              </p:cNvPr>
              <p:cNvSpPr/>
              <p:nvPr/>
            </p:nvSpPr>
            <p:spPr>
              <a:xfrm>
                <a:off x="6073547" y="1527543"/>
                <a:ext cx="114760" cy="72506"/>
              </a:xfrm>
              <a:custGeom>
                <a:avLst/>
                <a:gdLst>
                  <a:gd name="connsiteX0" fmla="*/ 114760 w 114760"/>
                  <a:gd name="connsiteY0" fmla="*/ 7254 h 72506"/>
                  <a:gd name="connsiteX1" fmla="*/ 73905 w 114760"/>
                  <a:gd name="connsiteY1" fmla="*/ 8881 h 72506"/>
                  <a:gd name="connsiteX2" fmla="*/ 0 w 114760"/>
                  <a:gd name="connsiteY2" fmla="*/ 72506 h 725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14760" h="72506">
                    <a:moveTo>
                      <a:pt x="114760" y="7254"/>
                    </a:moveTo>
                    <a:cubicBezTo>
                      <a:pt x="103375" y="-2830"/>
                      <a:pt x="83989" y="-2504"/>
                      <a:pt x="73905" y="8881"/>
                    </a:cubicBezTo>
                    <a:cubicBezTo>
                      <a:pt x="73905" y="8881"/>
                      <a:pt x="31488" y="72506"/>
                      <a:pt x="0" y="72506"/>
                    </a:cubicBezTo>
                  </a:path>
                </a:pathLst>
              </a:custGeom>
              <a:noFill/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51" name="Forma livre: Forma 150">
                <a:extLst>
                  <a:ext uri="{FF2B5EF4-FFF2-40B4-BE49-F238E27FC236}">
                    <a16:creationId xmlns:a16="http://schemas.microsoft.com/office/drawing/2014/main" id="{2CED213E-59DD-D894-CEE8-12CF79BD1A49}"/>
                  </a:ext>
                </a:extLst>
              </p:cNvPr>
              <p:cNvSpPr/>
              <p:nvPr/>
            </p:nvSpPr>
            <p:spPr>
              <a:xfrm>
                <a:off x="6079857" y="1646956"/>
                <a:ext cx="29405" cy="9823"/>
              </a:xfrm>
              <a:custGeom>
                <a:avLst/>
                <a:gdLst>
                  <a:gd name="connsiteX0" fmla="*/ 0 w 29405"/>
                  <a:gd name="connsiteY0" fmla="*/ 0 h 9823"/>
                  <a:gd name="connsiteX1" fmla="*/ 29406 w 29405"/>
                  <a:gd name="connsiteY1" fmla="*/ 9824 h 98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9405" h="9823">
                    <a:moveTo>
                      <a:pt x="0" y="0"/>
                    </a:moveTo>
                    <a:lnTo>
                      <a:pt x="29406" y="9824"/>
                    </a:lnTo>
                  </a:path>
                </a:pathLst>
              </a:custGeom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52" name="Forma livre: Forma 151">
                <a:extLst>
                  <a:ext uri="{FF2B5EF4-FFF2-40B4-BE49-F238E27FC236}">
                    <a16:creationId xmlns:a16="http://schemas.microsoft.com/office/drawing/2014/main" id="{42B01318-AD13-7E1A-30D1-57ED87131ED1}"/>
                  </a:ext>
                </a:extLst>
              </p:cNvPr>
              <p:cNvSpPr/>
              <p:nvPr/>
            </p:nvSpPr>
            <p:spPr>
              <a:xfrm>
                <a:off x="6061121" y="1545272"/>
                <a:ext cx="47166" cy="34154"/>
              </a:xfrm>
              <a:custGeom>
                <a:avLst/>
                <a:gdLst>
                  <a:gd name="connsiteX0" fmla="*/ 0 w 47166"/>
                  <a:gd name="connsiteY0" fmla="*/ 0 h 34154"/>
                  <a:gd name="connsiteX1" fmla="*/ 47166 w 47166"/>
                  <a:gd name="connsiteY1" fmla="*/ 34155 h 341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166" h="34154">
                    <a:moveTo>
                      <a:pt x="0" y="0"/>
                    </a:moveTo>
                    <a:cubicBezTo>
                      <a:pt x="0" y="0"/>
                      <a:pt x="27649" y="13011"/>
                      <a:pt x="47166" y="34155"/>
                    </a:cubicBezTo>
                  </a:path>
                </a:pathLst>
              </a:custGeom>
              <a:noFill/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33" name="Gráfico 32">
              <a:extLst>
                <a:ext uri="{FF2B5EF4-FFF2-40B4-BE49-F238E27FC236}">
                  <a16:creationId xmlns:a16="http://schemas.microsoft.com/office/drawing/2014/main" id="{AC5CF858-481F-9B8A-5463-06A5D8524FFC}"/>
                </a:ext>
              </a:extLst>
            </p:cNvPr>
            <p:cNvGrpSpPr/>
            <p:nvPr/>
          </p:nvGrpSpPr>
          <p:grpSpPr>
            <a:xfrm>
              <a:off x="6191625" y="1599725"/>
              <a:ext cx="173767" cy="157112"/>
              <a:chOff x="6191625" y="1599725"/>
              <a:chExt cx="173767" cy="157112"/>
            </a:xfrm>
            <a:noFill/>
          </p:grpSpPr>
          <p:sp>
            <p:nvSpPr>
              <p:cNvPr id="143" name="Forma livre: Forma 142">
                <a:extLst>
                  <a:ext uri="{FF2B5EF4-FFF2-40B4-BE49-F238E27FC236}">
                    <a16:creationId xmlns:a16="http://schemas.microsoft.com/office/drawing/2014/main" id="{19C580EA-8A18-2894-71EF-6CEF704DCCF2}"/>
                  </a:ext>
                </a:extLst>
              </p:cNvPr>
              <p:cNvSpPr/>
              <p:nvPr/>
            </p:nvSpPr>
            <p:spPr>
              <a:xfrm>
                <a:off x="6310094" y="1621974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44" name="Forma livre: Forma 143">
                <a:extLst>
                  <a:ext uri="{FF2B5EF4-FFF2-40B4-BE49-F238E27FC236}">
                    <a16:creationId xmlns:a16="http://schemas.microsoft.com/office/drawing/2014/main" id="{B0EF615D-276D-55E8-DB42-A1F0F5077834}"/>
                  </a:ext>
                </a:extLst>
              </p:cNvPr>
              <p:cNvSpPr/>
              <p:nvPr/>
            </p:nvSpPr>
            <p:spPr>
              <a:xfrm>
                <a:off x="6191625" y="1599725"/>
                <a:ext cx="118078" cy="49898"/>
              </a:xfrm>
              <a:custGeom>
                <a:avLst/>
                <a:gdLst>
                  <a:gd name="connsiteX0" fmla="*/ 0 w 118078"/>
                  <a:gd name="connsiteY0" fmla="*/ 0 h 49898"/>
                  <a:gd name="connsiteX1" fmla="*/ 37343 w 118078"/>
                  <a:gd name="connsiteY1" fmla="*/ 0 h 49898"/>
                  <a:gd name="connsiteX2" fmla="*/ 87176 w 118078"/>
                  <a:gd name="connsiteY2" fmla="*/ 49899 h 49898"/>
                  <a:gd name="connsiteX3" fmla="*/ 118078 w 118078"/>
                  <a:gd name="connsiteY3" fmla="*/ 49899 h 49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8078" h="49898">
                    <a:moveTo>
                      <a:pt x="0" y="0"/>
                    </a:moveTo>
                    <a:lnTo>
                      <a:pt x="37343" y="0"/>
                    </a:lnTo>
                    <a:lnTo>
                      <a:pt x="87176" y="49899"/>
                    </a:lnTo>
                    <a:lnTo>
                      <a:pt x="118078" y="49899"/>
                    </a:lnTo>
                  </a:path>
                </a:pathLst>
              </a:custGeom>
              <a:noFill/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45" name="Forma livre: Forma 144">
                <a:extLst>
                  <a:ext uri="{FF2B5EF4-FFF2-40B4-BE49-F238E27FC236}">
                    <a16:creationId xmlns:a16="http://schemas.microsoft.com/office/drawing/2014/main" id="{18F85592-F755-BF72-FDB0-A41B8609C09F}"/>
                  </a:ext>
                </a:extLst>
              </p:cNvPr>
              <p:cNvSpPr/>
              <p:nvPr/>
            </p:nvSpPr>
            <p:spPr>
              <a:xfrm>
                <a:off x="6191625" y="1665367"/>
                <a:ext cx="81906" cy="44108"/>
              </a:xfrm>
              <a:custGeom>
                <a:avLst/>
                <a:gdLst>
                  <a:gd name="connsiteX0" fmla="*/ 0 w 81906"/>
                  <a:gd name="connsiteY0" fmla="*/ 0 h 44108"/>
                  <a:gd name="connsiteX1" fmla="*/ 37343 w 81906"/>
                  <a:gd name="connsiteY1" fmla="*/ 0 h 44108"/>
                  <a:gd name="connsiteX2" fmla="*/ 81907 w 81906"/>
                  <a:gd name="connsiteY2" fmla="*/ 44109 h 441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1906" h="44108">
                    <a:moveTo>
                      <a:pt x="0" y="0"/>
                    </a:moveTo>
                    <a:lnTo>
                      <a:pt x="37343" y="0"/>
                    </a:lnTo>
                    <a:lnTo>
                      <a:pt x="81907" y="44109"/>
                    </a:lnTo>
                  </a:path>
                </a:pathLst>
              </a:custGeom>
              <a:noFill/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46" name="Forma livre: Forma 145">
                <a:extLst>
                  <a:ext uri="{FF2B5EF4-FFF2-40B4-BE49-F238E27FC236}">
                    <a16:creationId xmlns:a16="http://schemas.microsoft.com/office/drawing/2014/main" id="{7AF2F5B6-BAFA-9F25-9E2C-AF070AE0CD58}"/>
                  </a:ext>
                </a:extLst>
              </p:cNvPr>
              <p:cNvSpPr/>
              <p:nvPr/>
            </p:nvSpPr>
            <p:spPr>
              <a:xfrm>
                <a:off x="6265075" y="1701539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34" name="Gráfico 32">
              <a:extLst>
                <a:ext uri="{FF2B5EF4-FFF2-40B4-BE49-F238E27FC236}">
                  <a16:creationId xmlns:a16="http://schemas.microsoft.com/office/drawing/2014/main" id="{546D9C9E-929F-D974-C431-7BF526220794}"/>
                </a:ext>
              </a:extLst>
            </p:cNvPr>
            <p:cNvGrpSpPr/>
            <p:nvPr/>
          </p:nvGrpSpPr>
          <p:grpSpPr>
            <a:xfrm>
              <a:off x="6191625" y="1357908"/>
              <a:ext cx="173767" cy="157112"/>
              <a:chOff x="6191625" y="1357908"/>
              <a:chExt cx="173767" cy="157112"/>
            </a:xfrm>
            <a:noFill/>
          </p:grpSpPr>
          <p:sp>
            <p:nvSpPr>
              <p:cNvPr id="139" name="Forma livre: Forma 138">
                <a:extLst>
                  <a:ext uri="{FF2B5EF4-FFF2-40B4-BE49-F238E27FC236}">
                    <a16:creationId xmlns:a16="http://schemas.microsoft.com/office/drawing/2014/main" id="{81FD8F06-E34A-5A21-F4C3-6877EA5EFDEA}"/>
                  </a:ext>
                </a:extLst>
              </p:cNvPr>
              <p:cNvSpPr/>
              <p:nvPr/>
            </p:nvSpPr>
            <p:spPr>
              <a:xfrm>
                <a:off x="6310094" y="1437472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0 h 55298"/>
                  <a:gd name="connsiteX2" fmla="*/ 0 w 55298"/>
                  <a:gd name="connsiteY2" fmla="*/ 27649 h 55298"/>
                  <a:gd name="connsiteX3" fmla="*/ 27649 w 55298"/>
                  <a:gd name="connsiteY3" fmla="*/ 55298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12361"/>
                      <a:pt x="42938" y="0"/>
                      <a:pt x="27649" y="0"/>
                    </a:cubicBezTo>
                    <a:cubicBezTo>
                      <a:pt x="12361" y="0"/>
                      <a:pt x="0" y="12361"/>
                      <a:pt x="0" y="27649"/>
                    </a:cubicBezTo>
                    <a:cubicBezTo>
                      <a:pt x="0" y="42938"/>
                      <a:pt x="12361" y="55298"/>
                      <a:pt x="27649" y="55298"/>
                    </a:cubicBezTo>
                    <a:cubicBezTo>
                      <a:pt x="42938" y="55298"/>
                      <a:pt x="55298" y="42938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40" name="Forma livre: Forma 139">
                <a:extLst>
                  <a:ext uri="{FF2B5EF4-FFF2-40B4-BE49-F238E27FC236}">
                    <a16:creationId xmlns:a16="http://schemas.microsoft.com/office/drawing/2014/main" id="{78890F32-4D4F-5145-905B-DB8F9C18C3D2}"/>
                  </a:ext>
                </a:extLst>
              </p:cNvPr>
              <p:cNvSpPr/>
              <p:nvPr/>
            </p:nvSpPr>
            <p:spPr>
              <a:xfrm>
                <a:off x="6191625" y="1465122"/>
                <a:ext cx="118468" cy="49898"/>
              </a:xfrm>
              <a:custGeom>
                <a:avLst/>
                <a:gdLst>
                  <a:gd name="connsiteX0" fmla="*/ 0 w 118468"/>
                  <a:gd name="connsiteY0" fmla="*/ 49899 h 49898"/>
                  <a:gd name="connsiteX1" fmla="*/ 37343 w 118468"/>
                  <a:gd name="connsiteY1" fmla="*/ 49899 h 49898"/>
                  <a:gd name="connsiteX2" fmla="*/ 87176 w 118468"/>
                  <a:gd name="connsiteY2" fmla="*/ 0 h 49898"/>
                  <a:gd name="connsiteX3" fmla="*/ 118469 w 118468"/>
                  <a:gd name="connsiteY3" fmla="*/ 0 h 49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8468" h="49898">
                    <a:moveTo>
                      <a:pt x="0" y="49899"/>
                    </a:moveTo>
                    <a:lnTo>
                      <a:pt x="37343" y="49899"/>
                    </a:lnTo>
                    <a:lnTo>
                      <a:pt x="87176" y="0"/>
                    </a:lnTo>
                    <a:lnTo>
                      <a:pt x="118469" y="0"/>
                    </a:lnTo>
                  </a:path>
                </a:pathLst>
              </a:custGeom>
              <a:noFill/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41" name="Forma livre: Forma 140">
                <a:extLst>
                  <a:ext uri="{FF2B5EF4-FFF2-40B4-BE49-F238E27FC236}">
                    <a16:creationId xmlns:a16="http://schemas.microsoft.com/office/drawing/2014/main" id="{82AFE068-091F-FDE2-BE56-E0EA589643E5}"/>
                  </a:ext>
                </a:extLst>
              </p:cNvPr>
              <p:cNvSpPr/>
              <p:nvPr/>
            </p:nvSpPr>
            <p:spPr>
              <a:xfrm>
                <a:off x="6191625" y="1405269"/>
                <a:ext cx="81451" cy="44043"/>
              </a:xfrm>
              <a:custGeom>
                <a:avLst/>
                <a:gdLst>
                  <a:gd name="connsiteX0" fmla="*/ 0 w 81451"/>
                  <a:gd name="connsiteY0" fmla="*/ 44044 h 44043"/>
                  <a:gd name="connsiteX1" fmla="*/ 37343 w 81451"/>
                  <a:gd name="connsiteY1" fmla="*/ 44044 h 44043"/>
                  <a:gd name="connsiteX2" fmla="*/ 81451 w 81451"/>
                  <a:gd name="connsiteY2" fmla="*/ 0 h 440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1451" h="44043">
                    <a:moveTo>
                      <a:pt x="0" y="44044"/>
                    </a:moveTo>
                    <a:lnTo>
                      <a:pt x="37343" y="44044"/>
                    </a:lnTo>
                    <a:lnTo>
                      <a:pt x="81451" y="0"/>
                    </a:lnTo>
                  </a:path>
                </a:pathLst>
              </a:custGeom>
              <a:noFill/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42" name="Forma livre: Forma 141">
                <a:extLst>
                  <a:ext uri="{FF2B5EF4-FFF2-40B4-BE49-F238E27FC236}">
                    <a16:creationId xmlns:a16="http://schemas.microsoft.com/office/drawing/2014/main" id="{75AAA180-6F16-B973-E2F8-5D48F23D35E5}"/>
                  </a:ext>
                </a:extLst>
              </p:cNvPr>
              <p:cNvSpPr/>
              <p:nvPr/>
            </p:nvSpPr>
            <p:spPr>
              <a:xfrm>
                <a:off x="6265075" y="1357908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0 h 55298"/>
                  <a:gd name="connsiteX2" fmla="*/ 0 w 55298"/>
                  <a:gd name="connsiteY2" fmla="*/ 27649 h 55298"/>
                  <a:gd name="connsiteX3" fmla="*/ 27649 w 55298"/>
                  <a:gd name="connsiteY3" fmla="*/ 55298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12361"/>
                      <a:pt x="42938" y="0"/>
                      <a:pt x="27649" y="0"/>
                    </a:cubicBezTo>
                    <a:cubicBezTo>
                      <a:pt x="12361" y="0"/>
                      <a:pt x="0" y="12361"/>
                      <a:pt x="0" y="27649"/>
                    </a:cubicBezTo>
                    <a:cubicBezTo>
                      <a:pt x="0" y="42938"/>
                      <a:pt x="12361" y="55298"/>
                      <a:pt x="27649" y="55298"/>
                    </a:cubicBezTo>
                    <a:cubicBezTo>
                      <a:pt x="42938" y="55298"/>
                      <a:pt x="55298" y="42938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35" name="Gráfico 32">
              <a:extLst>
                <a:ext uri="{FF2B5EF4-FFF2-40B4-BE49-F238E27FC236}">
                  <a16:creationId xmlns:a16="http://schemas.microsoft.com/office/drawing/2014/main" id="{5BA61035-CA8A-DEF8-F278-42183A864705}"/>
                </a:ext>
              </a:extLst>
            </p:cNvPr>
            <p:cNvGrpSpPr/>
            <p:nvPr/>
          </p:nvGrpSpPr>
          <p:grpSpPr>
            <a:xfrm>
              <a:off x="6190910" y="1529723"/>
              <a:ext cx="123673" cy="55298"/>
              <a:chOff x="6190910" y="1529723"/>
              <a:chExt cx="123673" cy="55298"/>
            </a:xfrm>
            <a:noFill/>
          </p:grpSpPr>
          <p:sp>
            <p:nvSpPr>
              <p:cNvPr id="137" name="Forma livre: Forma 136">
                <a:extLst>
                  <a:ext uri="{FF2B5EF4-FFF2-40B4-BE49-F238E27FC236}">
                    <a16:creationId xmlns:a16="http://schemas.microsoft.com/office/drawing/2014/main" id="{07F0F8FD-14B3-C411-7D99-DCD88C1DD00A}"/>
                  </a:ext>
                </a:extLst>
              </p:cNvPr>
              <p:cNvSpPr/>
              <p:nvPr/>
            </p:nvSpPr>
            <p:spPr>
              <a:xfrm>
                <a:off x="6190910" y="1557372"/>
                <a:ext cx="68765" cy="6505"/>
              </a:xfrm>
              <a:custGeom>
                <a:avLst/>
                <a:gdLst>
                  <a:gd name="connsiteX0" fmla="*/ 0 w 68765"/>
                  <a:gd name="connsiteY0" fmla="*/ 0 h 6505"/>
                  <a:gd name="connsiteX1" fmla="*/ 68765 w 68765"/>
                  <a:gd name="connsiteY1" fmla="*/ 0 h 65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8765" h="6505">
                    <a:moveTo>
                      <a:pt x="0" y="0"/>
                    </a:moveTo>
                    <a:lnTo>
                      <a:pt x="68765" y="0"/>
                    </a:lnTo>
                  </a:path>
                </a:pathLst>
              </a:custGeom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38" name="Forma livre: Forma 137">
                <a:extLst>
                  <a:ext uri="{FF2B5EF4-FFF2-40B4-BE49-F238E27FC236}">
                    <a16:creationId xmlns:a16="http://schemas.microsoft.com/office/drawing/2014/main" id="{08F1A155-6F66-9B3D-DC6C-223C5EE23761}"/>
                  </a:ext>
                </a:extLst>
              </p:cNvPr>
              <p:cNvSpPr/>
              <p:nvPr/>
            </p:nvSpPr>
            <p:spPr>
              <a:xfrm>
                <a:off x="6259285" y="1529723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36" name="Forma livre: Forma 135">
              <a:extLst>
                <a:ext uri="{FF2B5EF4-FFF2-40B4-BE49-F238E27FC236}">
                  <a16:creationId xmlns:a16="http://schemas.microsoft.com/office/drawing/2014/main" id="{7E6CC719-2745-3419-BD32-0785C3B40600}"/>
                </a:ext>
              </a:extLst>
            </p:cNvPr>
            <p:cNvSpPr/>
            <p:nvPr/>
          </p:nvSpPr>
          <p:spPr>
            <a:xfrm>
              <a:off x="6152201" y="1686285"/>
              <a:ext cx="37362" cy="20848"/>
            </a:xfrm>
            <a:custGeom>
              <a:avLst/>
              <a:gdLst>
                <a:gd name="connsiteX0" fmla="*/ 0 w 37362"/>
                <a:gd name="connsiteY0" fmla="*/ 10505 h 20848"/>
                <a:gd name="connsiteX1" fmla="*/ 27064 w 37362"/>
                <a:gd name="connsiteY1" fmla="*/ 2373 h 20848"/>
                <a:gd name="connsiteX2" fmla="*/ 37343 w 37362"/>
                <a:gd name="connsiteY2" fmla="*/ 20849 h 20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7362" h="20848">
                  <a:moveTo>
                    <a:pt x="0" y="10505"/>
                  </a:moveTo>
                  <a:cubicBezTo>
                    <a:pt x="5205" y="811"/>
                    <a:pt x="17435" y="-2832"/>
                    <a:pt x="27064" y="2373"/>
                  </a:cubicBezTo>
                  <a:cubicBezTo>
                    <a:pt x="34025" y="6081"/>
                    <a:pt x="37668" y="13432"/>
                    <a:pt x="37343" y="20849"/>
                  </a:cubicBezTo>
                </a:path>
              </a:pathLst>
            </a:custGeom>
            <a:noFill/>
            <a:ln w="19050" cap="sq">
              <a:solidFill>
                <a:srgbClr val="184BFF"/>
              </a:solidFill>
              <a:prstDash val="solid"/>
              <a:miter lim="800000"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53" name="Agrupar 152">
            <a:extLst>
              <a:ext uri="{FF2B5EF4-FFF2-40B4-BE49-F238E27FC236}">
                <a16:creationId xmlns:a16="http://schemas.microsoft.com/office/drawing/2014/main" id="{B608F97C-9D33-A3E0-DB98-49CBCF833195}"/>
              </a:ext>
            </a:extLst>
          </p:cNvPr>
          <p:cNvGrpSpPr/>
          <p:nvPr/>
        </p:nvGrpSpPr>
        <p:grpSpPr>
          <a:xfrm>
            <a:off x="897189" y="5290748"/>
            <a:ext cx="351508" cy="383868"/>
            <a:chOff x="6000092" y="1357908"/>
            <a:chExt cx="365300" cy="398929"/>
          </a:xfrm>
        </p:grpSpPr>
        <p:sp>
          <p:nvSpPr>
            <p:cNvPr id="154" name="Forma livre: Forma 153">
              <a:extLst>
                <a:ext uri="{FF2B5EF4-FFF2-40B4-BE49-F238E27FC236}">
                  <a16:creationId xmlns:a16="http://schemas.microsoft.com/office/drawing/2014/main" id="{325223BD-EB82-99E2-F4FD-C6C15A1FBAC1}"/>
                </a:ext>
              </a:extLst>
            </p:cNvPr>
            <p:cNvSpPr/>
            <p:nvPr/>
          </p:nvSpPr>
          <p:spPr>
            <a:xfrm>
              <a:off x="6000092" y="1418606"/>
              <a:ext cx="84058" cy="286120"/>
            </a:xfrm>
            <a:custGeom>
              <a:avLst/>
              <a:gdLst>
                <a:gd name="connsiteX0" fmla="*/ 51595 w 84058"/>
                <a:gd name="connsiteY0" fmla="*/ 0 h 286120"/>
                <a:gd name="connsiteX1" fmla="*/ 35266 w 84058"/>
                <a:gd name="connsiteY1" fmla="*/ 61674 h 286120"/>
                <a:gd name="connsiteX2" fmla="*/ 28760 w 84058"/>
                <a:gd name="connsiteY2" fmla="*/ 193415 h 286120"/>
                <a:gd name="connsiteX3" fmla="*/ 84059 w 84058"/>
                <a:gd name="connsiteY3" fmla="*/ 286121 h 2861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4058" h="286120">
                  <a:moveTo>
                    <a:pt x="51595" y="0"/>
                  </a:moveTo>
                  <a:cubicBezTo>
                    <a:pt x="37868" y="7872"/>
                    <a:pt x="26028" y="24852"/>
                    <a:pt x="35266" y="61674"/>
                  </a:cubicBezTo>
                  <a:cubicBezTo>
                    <a:pt x="35266" y="61674"/>
                    <a:pt x="-39549" y="126731"/>
                    <a:pt x="28760" y="193415"/>
                  </a:cubicBezTo>
                  <a:cubicBezTo>
                    <a:pt x="28760" y="193415"/>
                    <a:pt x="9243" y="281242"/>
                    <a:pt x="84059" y="286121"/>
                  </a:cubicBezTo>
                </a:path>
              </a:pathLst>
            </a:custGeom>
            <a:noFill/>
            <a:ln w="19050" cap="sq">
              <a:solidFill>
                <a:srgbClr val="184BFF"/>
              </a:solidFill>
              <a:prstDash val="solid"/>
              <a:miter lim="800000"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55" name="Gráfico 32">
              <a:extLst>
                <a:ext uri="{FF2B5EF4-FFF2-40B4-BE49-F238E27FC236}">
                  <a16:creationId xmlns:a16="http://schemas.microsoft.com/office/drawing/2014/main" id="{697EFD25-248E-8948-D1D9-4C03020845E9}"/>
                </a:ext>
              </a:extLst>
            </p:cNvPr>
            <p:cNvGrpSpPr/>
            <p:nvPr/>
          </p:nvGrpSpPr>
          <p:grpSpPr>
            <a:xfrm>
              <a:off x="6061121" y="1359924"/>
              <a:ext cx="128487" cy="396366"/>
              <a:chOff x="6061121" y="1359924"/>
              <a:chExt cx="128487" cy="396366"/>
            </a:xfrm>
            <a:noFill/>
          </p:grpSpPr>
          <p:sp>
            <p:nvSpPr>
              <p:cNvPr id="170" name="Forma livre: Forma 169">
                <a:extLst>
                  <a:ext uri="{FF2B5EF4-FFF2-40B4-BE49-F238E27FC236}">
                    <a16:creationId xmlns:a16="http://schemas.microsoft.com/office/drawing/2014/main" id="{167F529F-9978-B38C-FDFB-959F944DAB2A}"/>
                  </a:ext>
                </a:extLst>
              </p:cNvPr>
              <p:cNvSpPr/>
              <p:nvPr/>
            </p:nvSpPr>
            <p:spPr>
              <a:xfrm>
                <a:off x="6083891" y="1359924"/>
                <a:ext cx="105717" cy="396366"/>
              </a:xfrm>
              <a:custGeom>
                <a:avLst/>
                <a:gdLst>
                  <a:gd name="connsiteX0" fmla="*/ 52891 w 105717"/>
                  <a:gd name="connsiteY0" fmla="*/ 105718 h 396366"/>
                  <a:gd name="connsiteX1" fmla="*/ 0 w 105717"/>
                  <a:gd name="connsiteY1" fmla="*/ 52891 h 396366"/>
                  <a:gd name="connsiteX2" fmla="*/ 52891 w 105717"/>
                  <a:gd name="connsiteY2" fmla="*/ 0 h 396366"/>
                  <a:gd name="connsiteX3" fmla="*/ 105718 w 105717"/>
                  <a:gd name="connsiteY3" fmla="*/ 52826 h 396366"/>
                  <a:gd name="connsiteX4" fmla="*/ 105718 w 105717"/>
                  <a:gd name="connsiteY4" fmla="*/ 346884 h 396366"/>
                  <a:gd name="connsiteX5" fmla="*/ 80606 w 105717"/>
                  <a:gd name="connsiteY5" fmla="*/ 388911 h 396366"/>
                  <a:gd name="connsiteX6" fmla="*/ 9238 w 105717"/>
                  <a:gd name="connsiteY6" fmla="*/ 371150 h 396366"/>
                  <a:gd name="connsiteX7" fmla="*/ 15484 w 105717"/>
                  <a:gd name="connsiteY7" fmla="*/ 309216 h 396366"/>
                  <a:gd name="connsiteX8" fmla="*/ 45019 w 105717"/>
                  <a:gd name="connsiteY8" fmla="*/ 277078 h 3963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05717" h="396366">
                    <a:moveTo>
                      <a:pt x="52891" y="105718"/>
                    </a:moveTo>
                    <a:cubicBezTo>
                      <a:pt x="23681" y="105718"/>
                      <a:pt x="0" y="82037"/>
                      <a:pt x="0" y="52891"/>
                    </a:cubicBezTo>
                    <a:cubicBezTo>
                      <a:pt x="0" y="23746"/>
                      <a:pt x="23681" y="0"/>
                      <a:pt x="52891" y="0"/>
                    </a:cubicBezTo>
                    <a:cubicBezTo>
                      <a:pt x="82102" y="0"/>
                      <a:pt x="105718" y="23681"/>
                      <a:pt x="105718" y="52826"/>
                    </a:cubicBezTo>
                    <a:lnTo>
                      <a:pt x="105718" y="346884"/>
                    </a:lnTo>
                    <a:cubicBezTo>
                      <a:pt x="105718" y="364580"/>
                      <a:pt x="96414" y="379413"/>
                      <a:pt x="80606" y="388911"/>
                    </a:cubicBezTo>
                    <a:cubicBezTo>
                      <a:pt x="55949" y="403744"/>
                      <a:pt x="24006" y="395742"/>
                      <a:pt x="9238" y="371150"/>
                    </a:cubicBezTo>
                    <a:cubicBezTo>
                      <a:pt x="-2928" y="350918"/>
                      <a:pt x="260" y="325741"/>
                      <a:pt x="15484" y="309216"/>
                    </a:cubicBezTo>
                    <a:lnTo>
                      <a:pt x="45019" y="277078"/>
                    </a:lnTo>
                  </a:path>
                </a:pathLst>
              </a:custGeom>
              <a:noFill/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71" name="Forma livre: Forma 170">
                <a:extLst>
                  <a:ext uri="{FF2B5EF4-FFF2-40B4-BE49-F238E27FC236}">
                    <a16:creationId xmlns:a16="http://schemas.microsoft.com/office/drawing/2014/main" id="{4C3E87A5-6412-6317-F3BF-9F489AF4379A}"/>
                  </a:ext>
                </a:extLst>
              </p:cNvPr>
              <p:cNvSpPr/>
              <p:nvPr/>
            </p:nvSpPr>
            <p:spPr>
              <a:xfrm>
                <a:off x="6144784" y="1383865"/>
                <a:ext cx="41563" cy="38963"/>
              </a:xfrm>
              <a:custGeom>
                <a:avLst/>
                <a:gdLst>
                  <a:gd name="connsiteX0" fmla="*/ 36172 w 41563"/>
                  <a:gd name="connsiteY0" fmla="*/ 0 h 38963"/>
                  <a:gd name="connsiteX1" fmla="*/ 39425 w 41563"/>
                  <a:gd name="connsiteY1" fmla="*/ 24266 h 38963"/>
                  <a:gd name="connsiteX2" fmla="*/ 36432 w 41563"/>
                  <a:gd name="connsiteY2" fmla="*/ 29080 h 38963"/>
                  <a:gd name="connsiteX3" fmla="*/ 0 w 41563"/>
                  <a:gd name="connsiteY3" fmla="*/ 33439 h 389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563" h="38963">
                    <a:moveTo>
                      <a:pt x="36172" y="0"/>
                    </a:moveTo>
                    <a:cubicBezTo>
                      <a:pt x="41571" y="7547"/>
                      <a:pt x="43393" y="16004"/>
                      <a:pt x="39425" y="24266"/>
                    </a:cubicBezTo>
                    <a:cubicBezTo>
                      <a:pt x="38644" y="25893"/>
                      <a:pt x="37603" y="27519"/>
                      <a:pt x="36432" y="29080"/>
                    </a:cubicBezTo>
                    <a:cubicBezTo>
                      <a:pt x="27584" y="40270"/>
                      <a:pt x="11190" y="42287"/>
                      <a:pt x="0" y="33439"/>
                    </a:cubicBezTo>
                  </a:path>
                </a:pathLst>
              </a:custGeom>
              <a:noFill/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72" name="Forma livre: Forma 171">
                <a:extLst>
                  <a:ext uri="{FF2B5EF4-FFF2-40B4-BE49-F238E27FC236}">
                    <a16:creationId xmlns:a16="http://schemas.microsoft.com/office/drawing/2014/main" id="{8D4F3BE3-559D-BB94-3498-27C1DD0C15BC}"/>
                  </a:ext>
                </a:extLst>
              </p:cNvPr>
              <p:cNvSpPr/>
              <p:nvPr/>
            </p:nvSpPr>
            <p:spPr>
              <a:xfrm>
                <a:off x="6081487" y="1460806"/>
                <a:ext cx="34217" cy="54474"/>
              </a:xfrm>
              <a:custGeom>
                <a:avLst/>
                <a:gdLst>
                  <a:gd name="connsiteX0" fmla="*/ 21076 w 34217"/>
                  <a:gd name="connsiteY0" fmla="*/ 54475 h 54474"/>
                  <a:gd name="connsiteX1" fmla="*/ 778 w 34217"/>
                  <a:gd name="connsiteY1" fmla="*/ 21035 h 54474"/>
                  <a:gd name="connsiteX2" fmla="*/ 34217 w 34217"/>
                  <a:gd name="connsiteY2" fmla="*/ 803 h 544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4217" h="54474">
                    <a:moveTo>
                      <a:pt x="21076" y="54475"/>
                    </a:moveTo>
                    <a:cubicBezTo>
                      <a:pt x="6308" y="50832"/>
                      <a:pt x="-2800" y="35803"/>
                      <a:pt x="778" y="21035"/>
                    </a:cubicBezTo>
                    <a:cubicBezTo>
                      <a:pt x="4421" y="6267"/>
                      <a:pt x="19449" y="-2841"/>
                      <a:pt x="34217" y="803"/>
                    </a:cubicBezTo>
                  </a:path>
                </a:pathLst>
              </a:custGeom>
              <a:noFill/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73" name="Forma livre: Forma 172">
                <a:extLst>
                  <a:ext uri="{FF2B5EF4-FFF2-40B4-BE49-F238E27FC236}">
                    <a16:creationId xmlns:a16="http://schemas.microsoft.com/office/drawing/2014/main" id="{50F15A53-246E-1F3B-3076-81C07757B618}"/>
                  </a:ext>
                </a:extLst>
              </p:cNvPr>
              <p:cNvSpPr/>
              <p:nvPr/>
            </p:nvSpPr>
            <p:spPr>
              <a:xfrm>
                <a:off x="6073547" y="1527543"/>
                <a:ext cx="114760" cy="72506"/>
              </a:xfrm>
              <a:custGeom>
                <a:avLst/>
                <a:gdLst>
                  <a:gd name="connsiteX0" fmla="*/ 114760 w 114760"/>
                  <a:gd name="connsiteY0" fmla="*/ 7254 h 72506"/>
                  <a:gd name="connsiteX1" fmla="*/ 73905 w 114760"/>
                  <a:gd name="connsiteY1" fmla="*/ 8881 h 72506"/>
                  <a:gd name="connsiteX2" fmla="*/ 0 w 114760"/>
                  <a:gd name="connsiteY2" fmla="*/ 72506 h 725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14760" h="72506">
                    <a:moveTo>
                      <a:pt x="114760" y="7254"/>
                    </a:moveTo>
                    <a:cubicBezTo>
                      <a:pt x="103375" y="-2830"/>
                      <a:pt x="83989" y="-2504"/>
                      <a:pt x="73905" y="8881"/>
                    </a:cubicBezTo>
                    <a:cubicBezTo>
                      <a:pt x="73905" y="8881"/>
                      <a:pt x="31488" y="72506"/>
                      <a:pt x="0" y="72506"/>
                    </a:cubicBezTo>
                  </a:path>
                </a:pathLst>
              </a:custGeom>
              <a:noFill/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74" name="Forma livre: Forma 173">
                <a:extLst>
                  <a:ext uri="{FF2B5EF4-FFF2-40B4-BE49-F238E27FC236}">
                    <a16:creationId xmlns:a16="http://schemas.microsoft.com/office/drawing/2014/main" id="{4906A1B5-FA6C-5315-FABE-B69CE8B2A09C}"/>
                  </a:ext>
                </a:extLst>
              </p:cNvPr>
              <p:cNvSpPr/>
              <p:nvPr/>
            </p:nvSpPr>
            <p:spPr>
              <a:xfrm>
                <a:off x="6079857" y="1646956"/>
                <a:ext cx="29405" cy="9823"/>
              </a:xfrm>
              <a:custGeom>
                <a:avLst/>
                <a:gdLst>
                  <a:gd name="connsiteX0" fmla="*/ 0 w 29405"/>
                  <a:gd name="connsiteY0" fmla="*/ 0 h 9823"/>
                  <a:gd name="connsiteX1" fmla="*/ 29406 w 29405"/>
                  <a:gd name="connsiteY1" fmla="*/ 9824 h 98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9405" h="9823">
                    <a:moveTo>
                      <a:pt x="0" y="0"/>
                    </a:moveTo>
                    <a:lnTo>
                      <a:pt x="29406" y="9824"/>
                    </a:lnTo>
                  </a:path>
                </a:pathLst>
              </a:custGeom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75" name="Forma livre: Forma 174">
                <a:extLst>
                  <a:ext uri="{FF2B5EF4-FFF2-40B4-BE49-F238E27FC236}">
                    <a16:creationId xmlns:a16="http://schemas.microsoft.com/office/drawing/2014/main" id="{00BDF970-AF17-141D-2CA3-882230485DCE}"/>
                  </a:ext>
                </a:extLst>
              </p:cNvPr>
              <p:cNvSpPr/>
              <p:nvPr/>
            </p:nvSpPr>
            <p:spPr>
              <a:xfrm>
                <a:off x="6061121" y="1545272"/>
                <a:ext cx="47166" cy="34154"/>
              </a:xfrm>
              <a:custGeom>
                <a:avLst/>
                <a:gdLst>
                  <a:gd name="connsiteX0" fmla="*/ 0 w 47166"/>
                  <a:gd name="connsiteY0" fmla="*/ 0 h 34154"/>
                  <a:gd name="connsiteX1" fmla="*/ 47166 w 47166"/>
                  <a:gd name="connsiteY1" fmla="*/ 34155 h 341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166" h="34154">
                    <a:moveTo>
                      <a:pt x="0" y="0"/>
                    </a:moveTo>
                    <a:cubicBezTo>
                      <a:pt x="0" y="0"/>
                      <a:pt x="27649" y="13011"/>
                      <a:pt x="47166" y="34155"/>
                    </a:cubicBezTo>
                  </a:path>
                </a:pathLst>
              </a:custGeom>
              <a:noFill/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56" name="Gráfico 32">
              <a:extLst>
                <a:ext uri="{FF2B5EF4-FFF2-40B4-BE49-F238E27FC236}">
                  <a16:creationId xmlns:a16="http://schemas.microsoft.com/office/drawing/2014/main" id="{FD95AB31-91BB-1FCA-1CBA-78540E4468F4}"/>
                </a:ext>
              </a:extLst>
            </p:cNvPr>
            <p:cNvGrpSpPr/>
            <p:nvPr/>
          </p:nvGrpSpPr>
          <p:grpSpPr>
            <a:xfrm>
              <a:off x="6191625" y="1599725"/>
              <a:ext cx="173767" cy="157112"/>
              <a:chOff x="6191625" y="1599725"/>
              <a:chExt cx="173767" cy="157112"/>
            </a:xfrm>
            <a:noFill/>
          </p:grpSpPr>
          <p:sp>
            <p:nvSpPr>
              <p:cNvPr id="166" name="Forma livre: Forma 165">
                <a:extLst>
                  <a:ext uri="{FF2B5EF4-FFF2-40B4-BE49-F238E27FC236}">
                    <a16:creationId xmlns:a16="http://schemas.microsoft.com/office/drawing/2014/main" id="{0612F360-4D9D-75E4-4061-BF8D170EA4FC}"/>
                  </a:ext>
                </a:extLst>
              </p:cNvPr>
              <p:cNvSpPr/>
              <p:nvPr/>
            </p:nvSpPr>
            <p:spPr>
              <a:xfrm>
                <a:off x="6310094" y="1621974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67" name="Forma livre: Forma 166">
                <a:extLst>
                  <a:ext uri="{FF2B5EF4-FFF2-40B4-BE49-F238E27FC236}">
                    <a16:creationId xmlns:a16="http://schemas.microsoft.com/office/drawing/2014/main" id="{5F83752B-16C8-8B4A-4D17-FF3BBC7FAC28}"/>
                  </a:ext>
                </a:extLst>
              </p:cNvPr>
              <p:cNvSpPr/>
              <p:nvPr/>
            </p:nvSpPr>
            <p:spPr>
              <a:xfrm>
                <a:off x="6191625" y="1599725"/>
                <a:ext cx="118078" cy="49898"/>
              </a:xfrm>
              <a:custGeom>
                <a:avLst/>
                <a:gdLst>
                  <a:gd name="connsiteX0" fmla="*/ 0 w 118078"/>
                  <a:gd name="connsiteY0" fmla="*/ 0 h 49898"/>
                  <a:gd name="connsiteX1" fmla="*/ 37343 w 118078"/>
                  <a:gd name="connsiteY1" fmla="*/ 0 h 49898"/>
                  <a:gd name="connsiteX2" fmla="*/ 87176 w 118078"/>
                  <a:gd name="connsiteY2" fmla="*/ 49899 h 49898"/>
                  <a:gd name="connsiteX3" fmla="*/ 118078 w 118078"/>
                  <a:gd name="connsiteY3" fmla="*/ 49899 h 49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8078" h="49898">
                    <a:moveTo>
                      <a:pt x="0" y="0"/>
                    </a:moveTo>
                    <a:lnTo>
                      <a:pt x="37343" y="0"/>
                    </a:lnTo>
                    <a:lnTo>
                      <a:pt x="87176" y="49899"/>
                    </a:lnTo>
                    <a:lnTo>
                      <a:pt x="118078" y="49899"/>
                    </a:lnTo>
                  </a:path>
                </a:pathLst>
              </a:custGeom>
              <a:noFill/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68" name="Forma livre: Forma 167">
                <a:extLst>
                  <a:ext uri="{FF2B5EF4-FFF2-40B4-BE49-F238E27FC236}">
                    <a16:creationId xmlns:a16="http://schemas.microsoft.com/office/drawing/2014/main" id="{B9C84BBD-5C1C-654E-F770-D76EC47220A8}"/>
                  </a:ext>
                </a:extLst>
              </p:cNvPr>
              <p:cNvSpPr/>
              <p:nvPr/>
            </p:nvSpPr>
            <p:spPr>
              <a:xfrm>
                <a:off x="6191625" y="1665367"/>
                <a:ext cx="81906" cy="44108"/>
              </a:xfrm>
              <a:custGeom>
                <a:avLst/>
                <a:gdLst>
                  <a:gd name="connsiteX0" fmla="*/ 0 w 81906"/>
                  <a:gd name="connsiteY0" fmla="*/ 0 h 44108"/>
                  <a:gd name="connsiteX1" fmla="*/ 37343 w 81906"/>
                  <a:gd name="connsiteY1" fmla="*/ 0 h 44108"/>
                  <a:gd name="connsiteX2" fmla="*/ 81907 w 81906"/>
                  <a:gd name="connsiteY2" fmla="*/ 44109 h 441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1906" h="44108">
                    <a:moveTo>
                      <a:pt x="0" y="0"/>
                    </a:moveTo>
                    <a:lnTo>
                      <a:pt x="37343" y="0"/>
                    </a:lnTo>
                    <a:lnTo>
                      <a:pt x="81907" y="44109"/>
                    </a:lnTo>
                  </a:path>
                </a:pathLst>
              </a:custGeom>
              <a:noFill/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69" name="Forma livre: Forma 168">
                <a:extLst>
                  <a:ext uri="{FF2B5EF4-FFF2-40B4-BE49-F238E27FC236}">
                    <a16:creationId xmlns:a16="http://schemas.microsoft.com/office/drawing/2014/main" id="{5AD819FE-1886-293A-1D98-20AF9A9EE6D3}"/>
                  </a:ext>
                </a:extLst>
              </p:cNvPr>
              <p:cNvSpPr/>
              <p:nvPr/>
            </p:nvSpPr>
            <p:spPr>
              <a:xfrm>
                <a:off x="6265075" y="1701539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57" name="Gráfico 32">
              <a:extLst>
                <a:ext uri="{FF2B5EF4-FFF2-40B4-BE49-F238E27FC236}">
                  <a16:creationId xmlns:a16="http://schemas.microsoft.com/office/drawing/2014/main" id="{DDBA8331-47D0-47F0-E8A1-D8158C6D06DD}"/>
                </a:ext>
              </a:extLst>
            </p:cNvPr>
            <p:cNvGrpSpPr/>
            <p:nvPr/>
          </p:nvGrpSpPr>
          <p:grpSpPr>
            <a:xfrm>
              <a:off x="6191625" y="1357908"/>
              <a:ext cx="173767" cy="157112"/>
              <a:chOff x="6191625" y="1357908"/>
              <a:chExt cx="173767" cy="157112"/>
            </a:xfrm>
            <a:noFill/>
          </p:grpSpPr>
          <p:sp>
            <p:nvSpPr>
              <p:cNvPr id="162" name="Forma livre: Forma 161">
                <a:extLst>
                  <a:ext uri="{FF2B5EF4-FFF2-40B4-BE49-F238E27FC236}">
                    <a16:creationId xmlns:a16="http://schemas.microsoft.com/office/drawing/2014/main" id="{E17A1C57-F61C-558D-9BD2-60903A3282FE}"/>
                  </a:ext>
                </a:extLst>
              </p:cNvPr>
              <p:cNvSpPr/>
              <p:nvPr/>
            </p:nvSpPr>
            <p:spPr>
              <a:xfrm>
                <a:off x="6310094" y="1437472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0 h 55298"/>
                  <a:gd name="connsiteX2" fmla="*/ 0 w 55298"/>
                  <a:gd name="connsiteY2" fmla="*/ 27649 h 55298"/>
                  <a:gd name="connsiteX3" fmla="*/ 27649 w 55298"/>
                  <a:gd name="connsiteY3" fmla="*/ 55298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12361"/>
                      <a:pt x="42938" y="0"/>
                      <a:pt x="27649" y="0"/>
                    </a:cubicBezTo>
                    <a:cubicBezTo>
                      <a:pt x="12361" y="0"/>
                      <a:pt x="0" y="12361"/>
                      <a:pt x="0" y="27649"/>
                    </a:cubicBezTo>
                    <a:cubicBezTo>
                      <a:pt x="0" y="42938"/>
                      <a:pt x="12361" y="55298"/>
                      <a:pt x="27649" y="55298"/>
                    </a:cubicBezTo>
                    <a:cubicBezTo>
                      <a:pt x="42938" y="55298"/>
                      <a:pt x="55298" y="42938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63" name="Forma livre: Forma 162">
                <a:extLst>
                  <a:ext uri="{FF2B5EF4-FFF2-40B4-BE49-F238E27FC236}">
                    <a16:creationId xmlns:a16="http://schemas.microsoft.com/office/drawing/2014/main" id="{644C5A42-3E0A-68DF-6F8C-9062D070D408}"/>
                  </a:ext>
                </a:extLst>
              </p:cNvPr>
              <p:cNvSpPr/>
              <p:nvPr/>
            </p:nvSpPr>
            <p:spPr>
              <a:xfrm>
                <a:off x="6191625" y="1465122"/>
                <a:ext cx="118468" cy="49898"/>
              </a:xfrm>
              <a:custGeom>
                <a:avLst/>
                <a:gdLst>
                  <a:gd name="connsiteX0" fmla="*/ 0 w 118468"/>
                  <a:gd name="connsiteY0" fmla="*/ 49899 h 49898"/>
                  <a:gd name="connsiteX1" fmla="*/ 37343 w 118468"/>
                  <a:gd name="connsiteY1" fmla="*/ 49899 h 49898"/>
                  <a:gd name="connsiteX2" fmla="*/ 87176 w 118468"/>
                  <a:gd name="connsiteY2" fmla="*/ 0 h 49898"/>
                  <a:gd name="connsiteX3" fmla="*/ 118469 w 118468"/>
                  <a:gd name="connsiteY3" fmla="*/ 0 h 49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8468" h="49898">
                    <a:moveTo>
                      <a:pt x="0" y="49899"/>
                    </a:moveTo>
                    <a:lnTo>
                      <a:pt x="37343" y="49899"/>
                    </a:lnTo>
                    <a:lnTo>
                      <a:pt x="87176" y="0"/>
                    </a:lnTo>
                    <a:lnTo>
                      <a:pt x="118469" y="0"/>
                    </a:lnTo>
                  </a:path>
                </a:pathLst>
              </a:custGeom>
              <a:noFill/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64" name="Forma livre: Forma 163">
                <a:extLst>
                  <a:ext uri="{FF2B5EF4-FFF2-40B4-BE49-F238E27FC236}">
                    <a16:creationId xmlns:a16="http://schemas.microsoft.com/office/drawing/2014/main" id="{FE7ECDB2-48A8-590D-7738-EB84433B524D}"/>
                  </a:ext>
                </a:extLst>
              </p:cNvPr>
              <p:cNvSpPr/>
              <p:nvPr/>
            </p:nvSpPr>
            <p:spPr>
              <a:xfrm>
                <a:off x="6191625" y="1405269"/>
                <a:ext cx="81451" cy="44043"/>
              </a:xfrm>
              <a:custGeom>
                <a:avLst/>
                <a:gdLst>
                  <a:gd name="connsiteX0" fmla="*/ 0 w 81451"/>
                  <a:gd name="connsiteY0" fmla="*/ 44044 h 44043"/>
                  <a:gd name="connsiteX1" fmla="*/ 37343 w 81451"/>
                  <a:gd name="connsiteY1" fmla="*/ 44044 h 44043"/>
                  <a:gd name="connsiteX2" fmla="*/ 81451 w 81451"/>
                  <a:gd name="connsiteY2" fmla="*/ 0 h 440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1451" h="44043">
                    <a:moveTo>
                      <a:pt x="0" y="44044"/>
                    </a:moveTo>
                    <a:lnTo>
                      <a:pt x="37343" y="44044"/>
                    </a:lnTo>
                    <a:lnTo>
                      <a:pt x="81451" y="0"/>
                    </a:lnTo>
                  </a:path>
                </a:pathLst>
              </a:custGeom>
              <a:noFill/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65" name="Forma livre: Forma 164">
                <a:extLst>
                  <a:ext uri="{FF2B5EF4-FFF2-40B4-BE49-F238E27FC236}">
                    <a16:creationId xmlns:a16="http://schemas.microsoft.com/office/drawing/2014/main" id="{586BFE85-E543-B0E2-5E44-7433CA520DF9}"/>
                  </a:ext>
                </a:extLst>
              </p:cNvPr>
              <p:cNvSpPr/>
              <p:nvPr/>
            </p:nvSpPr>
            <p:spPr>
              <a:xfrm>
                <a:off x="6265075" y="1357908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0 h 55298"/>
                  <a:gd name="connsiteX2" fmla="*/ 0 w 55298"/>
                  <a:gd name="connsiteY2" fmla="*/ 27649 h 55298"/>
                  <a:gd name="connsiteX3" fmla="*/ 27649 w 55298"/>
                  <a:gd name="connsiteY3" fmla="*/ 55298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12361"/>
                      <a:pt x="42938" y="0"/>
                      <a:pt x="27649" y="0"/>
                    </a:cubicBezTo>
                    <a:cubicBezTo>
                      <a:pt x="12361" y="0"/>
                      <a:pt x="0" y="12361"/>
                      <a:pt x="0" y="27649"/>
                    </a:cubicBezTo>
                    <a:cubicBezTo>
                      <a:pt x="0" y="42938"/>
                      <a:pt x="12361" y="55298"/>
                      <a:pt x="27649" y="55298"/>
                    </a:cubicBezTo>
                    <a:cubicBezTo>
                      <a:pt x="42938" y="55298"/>
                      <a:pt x="55298" y="42938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58" name="Gráfico 32">
              <a:extLst>
                <a:ext uri="{FF2B5EF4-FFF2-40B4-BE49-F238E27FC236}">
                  <a16:creationId xmlns:a16="http://schemas.microsoft.com/office/drawing/2014/main" id="{B95FE9CB-F159-AD1C-C810-A74BC8A95E72}"/>
                </a:ext>
              </a:extLst>
            </p:cNvPr>
            <p:cNvGrpSpPr/>
            <p:nvPr/>
          </p:nvGrpSpPr>
          <p:grpSpPr>
            <a:xfrm>
              <a:off x="6190910" y="1529723"/>
              <a:ext cx="123673" cy="55298"/>
              <a:chOff x="6190910" y="1529723"/>
              <a:chExt cx="123673" cy="55298"/>
            </a:xfrm>
            <a:noFill/>
          </p:grpSpPr>
          <p:sp>
            <p:nvSpPr>
              <p:cNvPr id="160" name="Forma livre: Forma 159">
                <a:extLst>
                  <a:ext uri="{FF2B5EF4-FFF2-40B4-BE49-F238E27FC236}">
                    <a16:creationId xmlns:a16="http://schemas.microsoft.com/office/drawing/2014/main" id="{BE79A8DF-0A62-9D80-A419-59F9F47D87B0}"/>
                  </a:ext>
                </a:extLst>
              </p:cNvPr>
              <p:cNvSpPr/>
              <p:nvPr/>
            </p:nvSpPr>
            <p:spPr>
              <a:xfrm>
                <a:off x="6190910" y="1557372"/>
                <a:ext cx="68765" cy="6505"/>
              </a:xfrm>
              <a:custGeom>
                <a:avLst/>
                <a:gdLst>
                  <a:gd name="connsiteX0" fmla="*/ 0 w 68765"/>
                  <a:gd name="connsiteY0" fmla="*/ 0 h 6505"/>
                  <a:gd name="connsiteX1" fmla="*/ 68765 w 68765"/>
                  <a:gd name="connsiteY1" fmla="*/ 0 h 65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8765" h="6505">
                    <a:moveTo>
                      <a:pt x="0" y="0"/>
                    </a:moveTo>
                    <a:lnTo>
                      <a:pt x="68765" y="0"/>
                    </a:lnTo>
                  </a:path>
                </a:pathLst>
              </a:custGeom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61" name="Forma livre: Forma 160">
                <a:extLst>
                  <a:ext uri="{FF2B5EF4-FFF2-40B4-BE49-F238E27FC236}">
                    <a16:creationId xmlns:a16="http://schemas.microsoft.com/office/drawing/2014/main" id="{66C7B022-F79F-2A3A-132F-059A393ECE5D}"/>
                  </a:ext>
                </a:extLst>
              </p:cNvPr>
              <p:cNvSpPr/>
              <p:nvPr/>
            </p:nvSpPr>
            <p:spPr>
              <a:xfrm>
                <a:off x="6259285" y="1529723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59" name="Forma livre: Forma 158">
              <a:extLst>
                <a:ext uri="{FF2B5EF4-FFF2-40B4-BE49-F238E27FC236}">
                  <a16:creationId xmlns:a16="http://schemas.microsoft.com/office/drawing/2014/main" id="{F4066BDD-F1B4-2913-E09A-6776A4710FD3}"/>
                </a:ext>
              </a:extLst>
            </p:cNvPr>
            <p:cNvSpPr/>
            <p:nvPr/>
          </p:nvSpPr>
          <p:spPr>
            <a:xfrm>
              <a:off x="6152201" y="1686285"/>
              <a:ext cx="37362" cy="20848"/>
            </a:xfrm>
            <a:custGeom>
              <a:avLst/>
              <a:gdLst>
                <a:gd name="connsiteX0" fmla="*/ 0 w 37362"/>
                <a:gd name="connsiteY0" fmla="*/ 10505 h 20848"/>
                <a:gd name="connsiteX1" fmla="*/ 27064 w 37362"/>
                <a:gd name="connsiteY1" fmla="*/ 2373 h 20848"/>
                <a:gd name="connsiteX2" fmla="*/ 37343 w 37362"/>
                <a:gd name="connsiteY2" fmla="*/ 20849 h 20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7362" h="20848">
                  <a:moveTo>
                    <a:pt x="0" y="10505"/>
                  </a:moveTo>
                  <a:cubicBezTo>
                    <a:pt x="5205" y="811"/>
                    <a:pt x="17435" y="-2832"/>
                    <a:pt x="27064" y="2373"/>
                  </a:cubicBezTo>
                  <a:cubicBezTo>
                    <a:pt x="34025" y="6081"/>
                    <a:pt x="37668" y="13432"/>
                    <a:pt x="37343" y="20849"/>
                  </a:cubicBezTo>
                </a:path>
              </a:pathLst>
            </a:custGeom>
            <a:noFill/>
            <a:ln w="19050" cap="sq">
              <a:solidFill>
                <a:srgbClr val="184BFF"/>
              </a:solidFill>
              <a:prstDash val="solid"/>
              <a:miter lim="800000"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76" name="Agrupar 175">
            <a:extLst>
              <a:ext uri="{FF2B5EF4-FFF2-40B4-BE49-F238E27FC236}">
                <a16:creationId xmlns:a16="http://schemas.microsoft.com/office/drawing/2014/main" id="{E8B52701-DF09-984F-0AD1-698803F2BF8A}"/>
              </a:ext>
            </a:extLst>
          </p:cNvPr>
          <p:cNvGrpSpPr/>
          <p:nvPr/>
        </p:nvGrpSpPr>
        <p:grpSpPr>
          <a:xfrm>
            <a:off x="897189" y="5854178"/>
            <a:ext cx="351508" cy="383868"/>
            <a:chOff x="6000092" y="1357908"/>
            <a:chExt cx="365300" cy="398929"/>
          </a:xfrm>
        </p:grpSpPr>
        <p:sp>
          <p:nvSpPr>
            <p:cNvPr id="177" name="Forma livre: Forma 176">
              <a:extLst>
                <a:ext uri="{FF2B5EF4-FFF2-40B4-BE49-F238E27FC236}">
                  <a16:creationId xmlns:a16="http://schemas.microsoft.com/office/drawing/2014/main" id="{F0F52B12-7880-CE95-887E-7F8365BB0406}"/>
                </a:ext>
              </a:extLst>
            </p:cNvPr>
            <p:cNvSpPr/>
            <p:nvPr/>
          </p:nvSpPr>
          <p:spPr>
            <a:xfrm>
              <a:off x="6000092" y="1418606"/>
              <a:ext cx="84058" cy="286120"/>
            </a:xfrm>
            <a:custGeom>
              <a:avLst/>
              <a:gdLst>
                <a:gd name="connsiteX0" fmla="*/ 51595 w 84058"/>
                <a:gd name="connsiteY0" fmla="*/ 0 h 286120"/>
                <a:gd name="connsiteX1" fmla="*/ 35266 w 84058"/>
                <a:gd name="connsiteY1" fmla="*/ 61674 h 286120"/>
                <a:gd name="connsiteX2" fmla="*/ 28760 w 84058"/>
                <a:gd name="connsiteY2" fmla="*/ 193415 h 286120"/>
                <a:gd name="connsiteX3" fmla="*/ 84059 w 84058"/>
                <a:gd name="connsiteY3" fmla="*/ 286121 h 2861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4058" h="286120">
                  <a:moveTo>
                    <a:pt x="51595" y="0"/>
                  </a:moveTo>
                  <a:cubicBezTo>
                    <a:pt x="37868" y="7872"/>
                    <a:pt x="26028" y="24852"/>
                    <a:pt x="35266" y="61674"/>
                  </a:cubicBezTo>
                  <a:cubicBezTo>
                    <a:pt x="35266" y="61674"/>
                    <a:pt x="-39549" y="126731"/>
                    <a:pt x="28760" y="193415"/>
                  </a:cubicBezTo>
                  <a:cubicBezTo>
                    <a:pt x="28760" y="193415"/>
                    <a:pt x="9243" y="281242"/>
                    <a:pt x="84059" y="286121"/>
                  </a:cubicBezTo>
                </a:path>
              </a:pathLst>
            </a:custGeom>
            <a:noFill/>
            <a:ln w="19050" cap="sq">
              <a:solidFill>
                <a:srgbClr val="184BFF"/>
              </a:solidFill>
              <a:prstDash val="solid"/>
              <a:miter lim="800000"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78" name="Gráfico 32">
              <a:extLst>
                <a:ext uri="{FF2B5EF4-FFF2-40B4-BE49-F238E27FC236}">
                  <a16:creationId xmlns:a16="http://schemas.microsoft.com/office/drawing/2014/main" id="{A1E78F66-9CA1-AA91-0ABB-4CFAAA4A2F71}"/>
                </a:ext>
              </a:extLst>
            </p:cNvPr>
            <p:cNvGrpSpPr/>
            <p:nvPr/>
          </p:nvGrpSpPr>
          <p:grpSpPr>
            <a:xfrm>
              <a:off x="6061121" y="1359924"/>
              <a:ext cx="128487" cy="396366"/>
              <a:chOff x="6061121" y="1359924"/>
              <a:chExt cx="128487" cy="396366"/>
            </a:xfrm>
            <a:noFill/>
          </p:grpSpPr>
          <p:sp>
            <p:nvSpPr>
              <p:cNvPr id="193" name="Forma livre: Forma 192">
                <a:extLst>
                  <a:ext uri="{FF2B5EF4-FFF2-40B4-BE49-F238E27FC236}">
                    <a16:creationId xmlns:a16="http://schemas.microsoft.com/office/drawing/2014/main" id="{DBB4E240-1247-F142-A72A-8321A11E55FE}"/>
                  </a:ext>
                </a:extLst>
              </p:cNvPr>
              <p:cNvSpPr/>
              <p:nvPr/>
            </p:nvSpPr>
            <p:spPr>
              <a:xfrm>
                <a:off x="6083891" y="1359924"/>
                <a:ext cx="105717" cy="396366"/>
              </a:xfrm>
              <a:custGeom>
                <a:avLst/>
                <a:gdLst>
                  <a:gd name="connsiteX0" fmla="*/ 52891 w 105717"/>
                  <a:gd name="connsiteY0" fmla="*/ 105718 h 396366"/>
                  <a:gd name="connsiteX1" fmla="*/ 0 w 105717"/>
                  <a:gd name="connsiteY1" fmla="*/ 52891 h 396366"/>
                  <a:gd name="connsiteX2" fmla="*/ 52891 w 105717"/>
                  <a:gd name="connsiteY2" fmla="*/ 0 h 396366"/>
                  <a:gd name="connsiteX3" fmla="*/ 105718 w 105717"/>
                  <a:gd name="connsiteY3" fmla="*/ 52826 h 396366"/>
                  <a:gd name="connsiteX4" fmla="*/ 105718 w 105717"/>
                  <a:gd name="connsiteY4" fmla="*/ 346884 h 396366"/>
                  <a:gd name="connsiteX5" fmla="*/ 80606 w 105717"/>
                  <a:gd name="connsiteY5" fmla="*/ 388911 h 396366"/>
                  <a:gd name="connsiteX6" fmla="*/ 9238 w 105717"/>
                  <a:gd name="connsiteY6" fmla="*/ 371150 h 396366"/>
                  <a:gd name="connsiteX7" fmla="*/ 15484 w 105717"/>
                  <a:gd name="connsiteY7" fmla="*/ 309216 h 396366"/>
                  <a:gd name="connsiteX8" fmla="*/ 45019 w 105717"/>
                  <a:gd name="connsiteY8" fmla="*/ 277078 h 3963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05717" h="396366">
                    <a:moveTo>
                      <a:pt x="52891" y="105718"/>
                    </a:moveTo>
                    <a:cubicBezTo>
                      <a:pt x="23681" y="105718"/>
                      <a:pt x="0" y="82037"/>
                      <a:pt x="0" y="52891"/>
                    </a:cubicBezTo>
                    <a:cubicBezTo>
                      <a:pt x="0" y="23746"/>
                      <a:pt x="23681" y="0"/>
                      <a:pt x="52891" y="0"/>
                    </a:cubicBezTo>
                    <a:cubicBezTo>
                      <a:pt x="82102" y="0"/>
                      <a:pt x="105718" y="23681"/>
                      <a:pt x="105718" y="52826"/>
                    </a:cubicBezTo>
                    <a:lnTo>
                      <a:pt x="105718" y="346884"/>
                    </a:lnTo>
                    <a:cubicBezTo>
                      <a:pt x="105718" y="364580"/>
                      <a:pt x="96414" y="379413"/>
                      <a:pt x="80606" y="388911"/>
                    </a:cubicBezTo>
                    <a:cubicBezTo>
                      <a:pt x="55949" y="403744"/>
                      <a:pt x="24006" y="395742"/>
                      <a:pt x="9238" y="371150"/>
                    </a:cubicBezTo>
                    <a:cubicBezTo>
                      <a:pt x="-2928" y="350918"/>
                      <a:pt x="260" y="325741"/>
                      <a:pt x="15484" y="309216"/>
                    </a:cubicBezTo>
                    <a:lnTo>
                      <a:pt x="45019" y="277078"/>
                    </a:lnTo>
                  </a:path>
                </a:pathLst>
              </a:custGeom>
              <a:noFill/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94" name="Forma livre: Forma 193">
                <a:extLst>
                  <a:ext uri="{FF2B5EF4-FFF2-40B4-BE49-F238E27FC236}">
                    <a16:creationId xmlns:a16="http://schemas.microsoft.com/office/drawing/2014/main" id="{5B607AA3-5237-6687-1453-A54BD14A6D8E}"/>
                  </a:ext>
                </a:extLst>
              </p:cNvPr>
              <p:cNvSpPr/>
              <p:nvPr/>
            </p:nvSpPr>
            <p:spPr>
              <a:xfrm>
                <a:off x="6144784" y="1383865"/>
                <a:ext cx="41563" cy="38963"/>
              </a:xfrm>
              <a:custGeom>
                <a:avLst/>
                <a:gdLst>
                  <a:gd name="connsiteX0" fmla="*/ 36172 w 41563"/>
                  <a:gd name="connsiteY0" fmla="*/ 0 h 38963"/>
                  <a:gd name="connsiteX1" fmla="*/ 39425 w 41563"/>
                  <a:gd name="connsiteY1" fmla="*/ 24266 h 38963"/>
                  <a:gd name="connsiteX2" fmla="*/ 36432 w 41563"/>
                  <a:gd name="connsiteY2" fmla="*/ 29080 h 38963"/>
                  <a:gd name="connsiteX3" fmla="*/ 0 w 41563"/>
                  <a:gd name="connsiteY3" fmla="*/ 33439 h 389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563" h="38963">
                    <a:moveTo>
                      <a:pt x="36172" y="0"/>
                    </a:moveTo>
                    <a:cubicBezTo>
                      <a:pt x="41571" y="7547"/>
                      <a:pt x="43393" y="16004"/>
                      <a:pt x="39425" y="24266"/>
                    </a:cubicBezTo>
                    <a:cubicBezTo>
                      <a:pt x="38644" y="25893"/>
                      <a:pt x="37603" y="27519"/>
                      <a:pt x="36432" y="29080"/>
                    </a:cubicBezTo>
                    <a:cubicBezTo>
                      <a:pt x="27584" y="40270"/>
                      <a:pt x="11190" y="42287"/>
                      <a:pt x="0" y="33439"/>
                    </a:cubicBezTo>
                  </a:path>
                </a:pathLst>
              </a:custGeom>
              <a:noFill/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95" name="Forma livre: Forma 194">
                <a:extLst>
                  <a:ext uri="{FF2B5EF4-FFF2-40B4-BE49-F238E27FC236}">
                    <a16:creationId xmlns:a16="http://schemas.microsoft.com/office/drawing/2014/main" id="{C0FB01E6-3AA8-7750-0B92-138194DEA91E}"/>
                  </a:ext>
                </a:extLst>
              </p:cNvPr>
              <p:cNvSpPr/>
              <p:nvPr/>
            </p:nvSpPr>
            <p:spPr>
              <a:xfrm>
                <a:off x="6081487" y="1460806"/>
                <a:ext cx="34217" cy="54474"/>
              </a:xfrm>
              <a:custGeom>
                <a:avLst/>
                <a:gdLst>
                  <a:gd name="connsiteX0" fmla="*/ 21076 w 34217"/>
                  <a:gd name="connsiteY0" fmla="*/ 54475 h 54474"/>
                  <a:gd name="connsiteX1" fmla="*/ 778 w 34217"/>
                  <a:gd name="connsiteY1" fmla="*/ 21035 h 54474"/>
                  <a:gd name="connsiteX2" fmla="*/ 34217 w 34217"/>
                  <a:gd name="connsiteY2" fmla="*/ 803 h 544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4217" h="54474">
                    <a:moveTo>
                      <a:pt x="21076" y="54475"/>
                    </a:moveTo>
                    <a:cubicBezTo>
                      <a:pt x="6308" y="50832"/>
                      <a:pt x="-2800" y="35803"/>
                      <a:pt x="778" y="21035"/>
                    </a:cubicBezTo>
                    <a:cubicBezTo>
                      <a:pt x="4421" y="6267"/>
                      <a:pt x="19449" y="-2841"/>
                      <a:pt x="34217" y="803"/>
                    </a:cubicBezTo>
                  </a:path>
                </a:pathLst>
              </a:custGeom>
              <a:noFill/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96" name="Forma livre: Forma 195">
                <a:extLst>
                  <a:ext uri="{FF2B5EF4-FFF2-40B4-BE49-F238E27FC236}">
                    <a16:creationId xmlns:a16="http://schemas.microsoft.com/office/drawing/2014/main" id="{2C4B14AC-6C4F-FC7C-B5F7-6B8379C7451D}"/>
                  </a:ext>
                </a:extLst>
              </p:cNvPr>
              <p:cNvSpPr/>
              <p:nvPr/>
            </p:nvSpPr>
            <p:spPr>
              <a:xfrm>
                <a:off x="6073547" y="1527543"/>
                <a:ext cx="114760" cy="72506"/>
              </a:xfrm>
              <a:custGeom>
                <a:avLst/>
                <a:gdLst>
                  <a:gd name="connsiteX0" fmla="*/ 114760 w 114760"/>
                  <a:gd name="connsiteY0" fmla="*/ 7254 h 72506"/>
                  <a:gd name="connsiteX1" fmla="*/ 73905 w 114760"/>
                  <a:gd name="connsiteY1" fmla="*/ 8881 h 72506"/>
                  <a:gd name="connsiteX2" fmla="*/ 0 w 114760"/>
                  <a:gd name="connsiteY2" fmla="*/ 72506 h 725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14760" h="72506">
                    <a:moveTo>
                      <a:pt x="114760" y="7254"/>
                    </a:moveTo>
                    <a:cubicBezTo>
                      <a:pt x="103375" y="-2830"/>
                      <a:pt x="83989" y="-2504"/>
                      <a:pt x="73905" y="8881"/>
                    </a:cubicBezTo>
                    <a:cubicBezTo>
                      <a:pt x="73905" y="8881"/>
                      <a:pt x="31488" y="72506"/>
                      <a:pt x="0" y="72506"/>
                    </a:cubicBezTo>
                  </a:path>
                </a:pathLst>
              </a:custGeom>
              <a:noFill/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97" name="Forma livre: Forma 196">
                <a:extLst>
                  <a:ext uri="{FF2B5EF4-FFF2-40B4-BE49-F238E27FC236}">
                    <a16:creationId xmlns:a16="http://schemas.microsoft.com/office/drawing/2014/main" id="{30A93D65-B0A2-9F9F-A6FD-08F244626A8B}"/>
                  </a:ext>
                </a:extLst>
              </p:cNvPr>
              <p:cNvSpPr/>
              <p:nvPr/>
            </p:nvSpPr>
            <p:spPr>
              <a:xfrm>
                <a:off x="6079857" y="1646956"/>
                <a:ext cx="29405" cy="9823"/>
              </a:xfrm>
              <a:custGeom>
                <a:avLst/>
                <a:gdLst>
                  <a:gd name="connsiteX0" fmla="*/ 0 w 29405"/>
                  <a:gd name="connsiteY0" fmla="*/ 0 h 9823"/>
                  <a:gd name="connsiteX1" fmla="*/ 29406 w 29405"/>
                  <a:gd name="connsiteY1" fmla="*/ 9824 h 98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9405" h="9823">
                    <a:moveTo>
                      <a:pt x="0" y="0"/>
                    </a:moveTo>
                    <a:lnTo>
                      <a:pt x="29406" y="9824"/>
                    </a:lnTo>
                  </a:path>
                </a:pathLst>
              </a:custGeom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98" name="Forma livre: Forma 197">
                <a:extLst>
                  <a:ext uri="{FF2B5EF4-FFF2-40B4-BE49-F238E27FC236}">
                    <a16:creationId xmlns:a16="http://schemas.microsoft.com/office/drawing/2014/main" id="{092C29A8-9180-D6F4-1727-6423B6863B71}"/>
                  </a:ext>
                </a:extLst>
              </p:cNvPr>
              <p:cNvSpPr/>
              <p:nvPr/>
            </p:nvSpPr>
            <p:spPr>
              <a:xfrm>
                <a:off x="6061121" y="1545272"/>
                <a:ext cx="47166" cy="34154"/>
              </a:xfrm>
              <a:custGeom>
                <a:avLst/>
                <a:gdLst>
                  <a:gd name="connsiteX0" fmla="*/ 0 w 47166"/>
                  <a:gd name="connsiteY0" fmla="*/ 0 h 34154"/>
                  <a:gd name="connsiteX1" fmla="*/ 47166 w 47166"/>
                  <a:gd name="connsiteY1" fmla="*/ 34155 h 341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166" h="34154">
                    <a:moveTo>
                      <a:pt x="0" y="0"/>
                    </a:moveTo>
                    <a:cubicBezTo>
                      <a:pt x="0" y="0"/>
                      <a:pt x="27649" y="13011"/>
                      <a:pt x="47166" y="34155"/>
                    </a:cubicBezTo>
                  </a:path>
                </a:pathLst>
              </a:custGeom>
              <a:noFill/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79" name="Gráfico 32">
              <a:extLst>
                <a:ext uri="{FF2B5EF4-FFF2-40B4-BE49-F238E27FC236}">
                  <a16:creationId xmlns:a16="http://schemas.microsoft.com/office/drawing/2014/main" id="{F1CAA8DE-EBC0-577A-0B46-370822BAC5E4}"/>
                </a:ext>
              </a:extLst>
            </p:cNvPr>
            <p:cNvGrpSpPr/>
            <p:nvPr/>
          </p:nvGrpSpPr>
          <p:grpSpPr>
            <a:xfrm>
              <a:off x="6191625" y="1599725"/>
              <a:ext cx="173767" cy="157112"/>
              <a:chOff x="6191625" y="1599725"/>
              <a:chExt cx="173767" cy="157112"/>
            </a:xfrm>
            <a:noFill/>
          </p:grpSpPr>
          <p:sp>
            <p:nvSpPr>
              <p:cNvPr id="189" name="Forma livre: Forma 188">
                <a:extLst>
                  <a:ext uri="{FF2B5EF4-FFF2-40B4-BE49-F238E27FC236}">
                    <a16:creationId xmlns:a16="http://schemas.microsoft.com/office/drawing/2014/main" id="{067A22BF-7B1C-57DE-E4FC-C47AFFF546C6}"/>
                  </a:ext>
                </a:extLst>
              </p:cNvPr>
              <p:cNvSpPr/>
              <p:nvPr/>
            </p:nvSpPr>
            <p:spPr>
              <a:xfrm>
                <a:off x="6310094" y="1621974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90" name="Forma livre: Forma 189">
                <a:extLst>
                  <a:ext uri="{FF2B5EF4-FFF2-40B4-BE49-F238E27FC236}">
                    <a16:creationId xmlns:a16="http://schemas.microsoft.com/office/drawing/2014/main" id="{1346B86D-A7EA-AAB0-DCA8-631DEDD707DD}"/>
                  </a:ext>
                </a:extLst>
              </p:cNvPr>
              <p:cNvSpPr/>
              <p:nvPr/>
            </p:nvSpPr>
            <p:spPr>
              <a:xfrm>
                <a:off x="6191625" y="1599725"/>
                <a:ext cx="118078" cy="49898"/>
              </a:xfrm>
              <a:custGeom>
                <a:avLst/>
                <a:gdLst>
                  <a:gd name="connsiteX0" fmla="*/ 0 w 118078"/>
                  <a:gd name="connsiteY0" fmla="*/ 0 h 49898"/>
                  <a:gd name="connsiteX1" fmla="*/ 37343 w 118078"/>
                  <a:gd name="connsiteY1" fmla="*/ 0 h 49898"/>
                  <a:gd name="connsiteX2" fmla="*/ 87176 w 118078"/>
                  <a:gd name="connsiteY2" fmla="*/ 49899 h 49898"/>
                  <a:gd name="connsiteX3" fmla="*/ 118078 w 118078"/>
                  <a:gd name="connsiteY3" fmla="*/ 49899 h 49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8078" h="49898">
                    <a:moveTo>
                      <a:pt x="0" y="0"/>
                    </a:moveTo>
                    <a:lnTo>
                      <a:pt x="37343" y="0"/>
                    </a:lnTo>
                    <a:lnTo>
                      <a:pt x="87176" y="49899"/>
                    </a:lnTo>
                    <a:lnTo>
                      <a:pt x="118078" y="49899"/>
                    </a:lnTo>
                  </a:path>
                </a:pathLst>
              </a:custGeom>
              <a:noFill/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91" name="Forma livre: Forma 190">
                <a:extLst>
                  <a:ext uri="{FF2B5EF4-FFF2-40B4-BE49-F238E27FC236}">
                    <a16:creationId xmlns:a16="http://schemas.microsoft.com/office/drawing/2014/main" id="{3F6533A9-B27E-D4F1-620C-47A24B630BD3}"/>
                  </a:ext>
                </a:extLst>
              </p:cNvPr>
              <p:cNvSpPr/>
              <p:nvPr/>
            </p:nvSpPr>
            <p:spPr>
              <a:xfrm>
                <a:off x="6191625" y="1665367"/>
                <a:ext cx="81906" cy="44108"/>
              </a:xfrm>
              <a:custGeom>
                <a:avLst/>
                <a:gdLst>
                  <a:gd name="connsiteX0" fmla="*/ 0 w 81906"/>
                  <a:gd name="connsiteY0" fmla="*/ 0 h 44108"/>
                  <a:gd name="connsiteX1" fmla="*/ 37343 w 81906"/>
                  <a:gd name="connsiteY1" fmla="*/ 0 h 44108"/>
                  <a:gd name="connsiteX2" fmla="*/ 81907 w 81906"/>
                  <a:gd name="connsiteY2" fmla="*/ 44109 h 441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1906" h="44108">
                    <a:moveTo>
                      <a:pt x="0" y="0"/>
                    </a:moveTo>
                    <a:lnTo>
                      <a:pt x="37343" y="0"/>
                    </a:lnTo>
                    <a:lnTo>
                      <a:pt x="81907" y="44109"/>
                    </a:lnTo>
                  </a:path>
                </a:pathLst>
              </a:custGeom>
              <a:noFill/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92" name="Forma livre: Forma 191">
                <a:extLst>
                  <a:ext uri="{FF2B5EF4-FFF2-40B4-BE49-F238E27FC236}">
                    <a16:creationId xmlns:a16="http://schemas.microsoft.com/office/drawing/2014/main" id="{4F14E4C8-9868-4723-3DF4-5C40FF4A3B83}"/>
                  </a:ext>
                </a:extLst>
              </p:cNvPr>
              <p:cNvSpPr/>
              <p:nvPr/>
            </p:nvSpPr>
            <p:spPr>
              <a:xfrm>
                <a:off x="6265075" y="1701539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80" name="Gráfico 32">
              <a:extLst>
                <a:ext uri="{FF2B5EF4-FFF2-40B4-BE49-F238E27FC236}">
                  <a16:creationId xmlns:a16="http://schemas.microsoft.com/office/drawing/2014/main" id="{FBC93638-0946-7766-BB07-7BBFC2AEE31A}"/>
                </a:ext>
              </a:extLst>
            </p:cNvPr>
            <p:cNvGrpSpPr/>
            <p:nvPr/>
          </p:nvGrpSpPr>
          <p:grpSpPr>
            <a:xfrm>
              <a:off x="6191625" y="1357908"/>
              <a:ext cx="173767" cy="157112"/>
              <a:chOff x="6191625" y="1357908"/>
              <a:chExt cx="173767" cy="157112"/>
            </a:xfrm>
            <a:noFill/>
          </p:grpSpPr>
          <p:sp>
            <p:nvSpPr>
              <p:cNvPr id="185" name="Forma livre: Forma 184">
                <a:extLst>
                  <a:ext uri="{FF2B5EF4-FFF2-40B4-BE49-F238E27FC236}">
                    <a16:creationId xmlns:a16="http://schemas.microsoft.com/office/drawing/2014/main" id="{D1C213C4-E775-D0AB-DE5B-982EE64C8742}"/>
                  </a:ext>
                </a:extLst>
              </p:cNvPr>
              <p:cNvSpPr/>
              <p:nvPr/>
            </p:nvSpPr>
            <p:spPr>
              <a:xfrm>
                <a:off x="6310094" y="1437472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0 h 55298"/>
                  <a:gd name="connsiteX2" fmla="*/ 0 w 55298"/>
                  <a:gd name="connsiteY2" fmla="*/ 27649 h 55298"/>
                  <a:gd name="connsiteX3" fmla="*/ 27649 w 55298"/>
                  <a:gd name="connsiteY3" fmla="*/ 55298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12361"/>
                      <a:pt x="42938" y="0"/>
                      <a:pt x="27649" y="0"/>
                    </a:cubicBezTo>
                    <a:cubicBezTo>
                      <a:pt x="12361" y="0"/>
                      <a:pt x="0" y="12361"/>
                      <a:pt x="0" y="27649"/>
                    </a:cubicBezTo>
                    <a:cubicBezTo>
                      <a:pt x="0" y="42938"/>
                      <a:pt x="12361" y="55298"/>
                      <a:pt x="27649" y="55298"/>
                    </a:cubicBezTo>
                    <a:cubicBezTo>
                      <a:pt x="42938" y="55298"/>
                      <a:pt x="55298" y="42938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86" name="Forma livre: Forma 185">
                <a:extLst>
                  <a:ext uri="{FF2B5EF4-FFF2-40B4-BE49-F238E27FC236}">
                    <a16:creationId xmlns:a16="http://schemas.microsoft.com/office/drawing/2014/main" id="{52416630-FA81-6499-78EF-6C9FCF40253D}"/>
                  </a:ext>
                </a:extLst>
              </p:cNvPr>
              <p:cNvSpPr/>
              <p:nvPr/>
            </p:nvSpPr>
            <p:spPr>
              <a:xfrm>
                <a:off x="6191625" y="1465122"/>
                <a:ext cx="118468" cy="49898"/>
              </a:xfrm>
              <a:custGeom>
                <a:avLst/>
                <a:gdLst>
                  <a:gd name="connsiteX0" fmla="*/ 0 w 118468"/>
                  <a:gd name="connsiteY0" fmla="*/ 49899 h 49898"/>
                  <a:gd name="connsiteX1" fmla="*/ 37343 w 118468"/>
                  <a:gd name="connsiteY1" fmla="*/ 49899 h 49898"/>
                  <a:gd name="connsiteX2" fmla="*/ 87176 w 118468"/>
                  <a:gd name="connsiteY2" fmla="*/ 0 h 49898"/>
                  <a:gd name="connsiteX3" fmla="*/ 118469 w 118468"/>
                  <a:gd name="connsiteY3" fmla="*/ 0 h 49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8468" h="49898">
                    <a:moveTo>
                      <a:pt x="0" y="49899"/>
                    </a:moveTo>
                    <a:lnTo>
                      <a:pt x="37343" y="49899"/>
                    </a:lnTo>
                    <a:lnTo>
                      <a:pt x="87176" y="0"/>
                    </a:lnTo>
                    <a:lnTo>
                      <a:pt x="118469" y="0"/>
                    </a:lnTo>
                  </a:path>
                </a:pathLst>
              </a:custGeom>
              <a:noFill/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87" name="Forma livre: Forma 186">
                <a:extLst>
                  <a:ext uri="{FF2B5EF4-FFF2-40B4-BE49-F238E27FC236}">
                    <a16:creationId xmlns:a16="http://schemas.microsoft.com/office/drawing/2014/main" id="{48BD92CA-CF57-738E-3F2D-FABA7D2E0F6D}"/>
                  </a:ext>
                </a:extLst>
              </p:cNvPr>
              <p:cNvSpPr/>
              <p:nvPr/>
            </p:nvSpPr>
            <p:spPr>
              <a:xfrm>
                <a:off x="6191625" y="1405269"/>
                <a:ext cx="81451" cy="44043"/>
              </a:xfrm>
              <a:custGeom>
                <a:avLst/>
                <a:gdLst>
                  <a:gd name="connsiteX0" fmla="*/ 0 w 81451"/>
                  <a:gd name="connsiteY0" fmla="*/ 44044 h 44043"/>
                  <a:gd name="connsiteX1" fmla="*/ 37343 w 81451"/>
                  <a:gd name="connsiteY1" fmla="*/ 44044 h 44043"/>
                  <a:gd name="connsiteX2" fmla="*/ 81451 w 81451"/>
                  <a:gd name="connsiteY2" fmla="*/ 0 h 440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1451" h="44043">
                    <a:moveTo>
                      <a:pt x="0" y="44044"/>
                    </a:moveTo>
                    <a:lnTo>
                      <a:pt x="37343" y="44044"/>
                    </a:lnTo>
                    <a:lnTo>
                      <a:pt x="81451" y="0"/>
                    </a:lnTo>
                  </a:path>
                </a:pathLst>
              </a:custGeom>
              <a:noFill/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88" name="Forma livre: Forma 187">
                <a:extLst>
                  <a:ext uri="{FF2B5EF4-FFF2-40B4-BE49-F238E27FC236}">
                    <a16:creationId xmlns:a16="http://schemas.microsoft.com/office/drawing/2014/main" id="{065111AA-B439-E46C-125E-7115D19B14F9}"/>
                  </a:ext>
                </a:extLst>
              </p:cNvPr>
              <p:cNvSpPr/>
              <p:nvPr/>
            </p:nvSpPr>
            <p:spPr>
              <a:xfrm>
                <a:off x="6265075" y="1357908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0 h 55298"/>
                  <a:gd name="connsiteX2" fmla="*/ 0 w 55298"/>
                  <a:gd name="connsiteY2" fmla="*/ 27649 h 55298"/>
                  <a:gd name="connsiteX3" fmla="*/ 27649 w 55298"/>
                  <a:gd name="connsiteY3" fmla="*/ 55298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12361"/>
                      <a:pt x="42938" y="0"/>
                      <a:pt x="27649" y="0"/>
                    </a:cubicBezTo>
                    <a:cubicBezTo>
                      <a:pt x="12361" y="0"/>
                      <a:pt x="0" y="12361"/>
                      <a:pt x="0" y="27649"/>
                    </a:cubicBezTo>
                    <a:cubicBezTo>
                      <a:pt x="0" y="42938"/>
                      <a:pt x="12361" y="55298"/>
                      <a:pt x="27649" y="55298"/>
                    </a:cubicBezTo>
                    <a:cubicBezTo>
                      <a:pt x="42938" y="55298"/>
                      <a:pt x="55298" y="42938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81" name="Gráfico 32">
              <a:extLst>
                <a:ext uri="{FF2B5EF4-FFF2-40B4-BE49-F238E27FC236}">
                  <a16:creationId xmlns:a16="http://schemas.microsoft.com/office/drawing/2014/main" id="{5C02E0C8-5E4F-6F2D-05A0-72A95BB90998}"/>
                </a:ext>
              </a:extLst>
            </p:cNvPr>
            <p:cNvGrpSpPr/>
            <p:nvPr/>
          </p:nvGrpSpPr>
          <p:grpSpPr>
            <a:xfrm>
              <a:off x="6190910" y="1529723"/>
              <a:ext cx="123673" cy="55298"/>
              <a:chOff x="6190910" y="1529723"/>
              <a:chExt cx="123673" cy="55298"/>
            </a:xfrm>
            <a:noFill/>
          </p:grpSpPr>
          <p:sp>
            <p:nvSpPr>
              <p:cNvPr id="183" name="Forma livre: Forma 182">
                <a:extLst>
                  <a:ext uri="{FF2B5EF4-FFF2-40B4-BE49-F238E27FC236}">
                    <a16:creationId xmlns:a16="http://schemas.microsoft.com/office/drawing/2014/main" id="{32BA7DE5-5AE7-C852-FF68-19FEB60639E0}"/>
                  </a:ext>
                </a:extLst>
              </p:cNvPr>
              <p:cNvSpPr/>
              <p:nvPr/>
            </p:nvSpPr>
            <p:spPr>
              <a:xfrm>
                <a:off x="6190910" y="1557372"/>
                <a:ext cx="68765" cy="6505"/>
              </a:xfrm>
              <a:custGeom>
                <a:avLst/>
                <a:gdLst>
                  <a:gd name="connsiteX0" fmla="*/ 0 w 68765"/>
                  <a:gd name="connsiteY0" fmla="*/ 0 h 6505"/>
                  <a:gd name="connsiteX1" fmla="*/ 68765 w 68765"/>
                  <a:gd name="connsiteY1" fmla="*/ 0 h 65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8765" h="6505">
                    <a:moveTo>
                      <a:pt x="0" y="0"/>
                    </a:moveTo>
                    <a:lnTo>
                      <a:pt x="68765" y="0"/>
                    </a:lnTo>
                  </a:path>
                </a:pathLst>
              </a:custGeom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84" name="Forma livre: Forma 183">
                <a:extLst>
                  <a:ext uri="{FF2B5EF4-FFF2-40B4-BE49-F238E27FC236}">
                    <a16:creationId xmlns:a16="http://schemas.microsoft.com/office/drawing/2014/main" id="{E705427A-1DD1-7092-ABDF-291D6227EDBC}"/>
                  </a:ext>
                </a:extLst>
              </p:cNvPr>
              <p:cNvSpPr/>
              <p:nvPr/>
            </p:nvSpPr>
            <p:spPr>
              <a:xfrm>
                <a:off x="6259285" y="1529723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82" name="Forma livre: Forma 181">
              <a:extLst>
                <a:ext uri="{FF2B5EF4-FFF2-40B4-BE49-F238E27FC236}">
                  <a16:creationId xmlns:a16="http://schemas.microsoft.com/office/drawing/2014/main" id="{E18F0A02-0A0E-22D8-615B-C791A8BE10FD}"/>
                </a:ext>
              </a:extLst>
            </p:cNvPr>
            <p:cNvSpPr/>
            <p:nvPr/>
          </p:nvSpPr>
          <p:spPr>
            <a:xfrm>
              <a:off x="6152201" y="1686285"/>
              <a:ext cx="37362" cy="20848"/>
            </a:xfrm>
            <a:custGeom>
              <a:avLst/>
              <a:gdLst>
                <a:gd name="connsiteX0" fmla="*/ 0 w 37362"/>
                <a:gd name="connsiteY0" fmla="*/ 10505 h 20848"/>
                <a:gd name="connsiteX1" fmla="*/ 27064 w 37362"/>
                <a:gd name="connsiteY1" fmla="*/ 2373 h 20848"/>
                <a:gd name="connsiteX2" fmla="*/ 37343 w 37362"/>
                <a:gd name="connsiteY2" fmla="*/ 20849 h 20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7362" h="20848">
                  <a:moveTo>
                    <a:pt x="0" y="10505"/>
                  </a:moveTo>
                  <a:cubicBezTo>
                    <a:pt x="5205" y="811"/>
                    <a:pt x="17435" y="-2832"/>
                    <a:pt x="27064" y="2373"/>
                  </a:cubicBezTo>
                  <a:cubicBezTo>
                    <a:pt x="34025" y="6081"/>
                    <a:pt x="37668" y="13432"/>
                    <a:pt x="37343" y="20849"/>
                  </a:cubicBezTo>
                </a:path>
              </a:pathLst>
            </a:custGeom>
            <a:noFill/>
            <a:ln w="19050" cap="sq">
              <a:solidFill>
                <a:srgbClr val="184BFF"/>
              </a:solidFill>
              <a:prstDash val="solid"/>
              <a:miter lim="800000"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cxnSp>
        <p:nvCxnSpPr>
          <p:cNvPr id="200" name="Conexão reta 199">
            <a:extLst>
              <a:ext uri="{FF2B5EF4-FFF2-40B4-BE49-F238E27FC236}">
                <a16:creationId xmlns:a16="http://schemas.microsoft.com/office/drawing/2014/main" id="{97A53ECE-DD7E-D794-BF11-7BDECBB47592}"/>
              </a:ext>
            </a:extLst>
          </p:cNvPr>
          <p:cNvCxnSpPr/>
          <p:nvPr/>
        </p:nvCxnSpPr>
        <p:spPr>
          <a:xfrm>
            <a:off x="897189" y="2939845"/>
            <a:ext cx="10547914" cy="0"/>
          </a:xfrm>
          <a:prstGeom prst="line">
            <a:avLst/>
          </a:prstGeom>
          <a:ln w="317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1" name="Conexão reta 200">
            <a:extLst>
              <a:ext uri="{FF2B5EF4-FFF2-40B4-BE49-F238E27FC236}">
                <a16:creationId xmlns:a16="http://schemas.microsoft.com/office/drawing/2014/main" id="{6612F460-7975-1E6B-2C34-A4ED632D2EFE}"/>
              </a:ext>
            </a:extLst>
          </p:cNvPr>
          <p:cNvCxnSpPr/>
          <p:nvPr/>
        </p:nvCxnSpPr>
        <p:spPr>
          <a:xfrm>
            <a:off x="897189" y="3510116"/>
            <a:ext cx="10547914" cy="0"/>
          </a:xfrm>
          <a:prstGeom prst="line">
            <a:avLst/>
          </a:prstGeom>
          <a:ln w="317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2" name="Conexão reta 201">
            <a:extLst>
              <a:ext uri="{FF2B5EF4-FFF2-40B4-BE49-F238E27FC236}">
                <a16:creationId xmlns:a16="http://schemas.microsoft.com/office/drawing/2014/main" id="{0D258D56-C682-039F-6D8A-651836423EE3}"/>
              </a:ext>
            </a:extLst>
          </p:cNvPr>
          <p:cNvCxnSpPr/>
          <p:nvPr/>
        </p:nvCxnSpPr>
        <p:spPr>
          <a:xfrm>
            <a:off x="897189" y="4060723"/>
            <a:ext cx="10547914" cy="0"/>
          </a:xfrm>
          <a:prstGeom prst="line">
            <a:avLst/>
          </a:prstGeom>
          <a:ln w="317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3" name="Conexão reta 202">
            <a:extLst>
              <a:ext uri="{FF2B5EF4-FFF2-40B4-BE49-F238E27FC236}">
                <a16:creationId xmlns:a16="http://schemas.microsoft.com/office/drawing/2014/main" id="{A7326779-C2EE-E443-C0C1-16FAF07B2FB2}"/>
              </a:ext>
            </a:extLst>
          </p:cNvPr>
          <p:cNvCxnSpPr/>
          <p:nvPr/>
        </p:nvCxnSpPr>
        <p:spPr>
          <a:xfrm>
            <a:off x="897189" y="4650658"/>
            <a:ext cx="10547914" cy="0"/>
          </a:xfrm>
          <a:prstGeom prst="line">
            <a:avLst/>
          </a:prstGeom>
          <a:ln w="317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4" name="Conexão reta 203">
            <a:extLst>
              <a:ext uri="{FF2B5EF4-FFF2-40B4-BE49-F238E27FC236}">
                <a16:creationId xmlns:a16="http://schemas.microsoft.com/office/drawing/2014/main" id="{9256F9F9-7E7E-6795-8CBF-4E6C558D25C8}"/>
              </a:ext>
            </a:extLst>
          </p:cNvPr>
          <p:cNvCxnSpPr/>
          <p:nvPr/>
        </p:nvCxnSpPr>
        <p:spPr>
          <a:xfrm>
            <a:off x="897189" y="5195646"/>
            <a:ext cx="10547914" cy="0"/>
          </a:xfrm>
          <a:prstGeom prst="line">
            <a:avLst/>
          </a:prstGeom>
          <a:ln w="317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5" name="Conexão reta 204">
            <a:extLst>
              <a:ext uri="{FF2B5EF4-FFF2-40B4-BE49-F238E27FC236}">
                <a16:creationId xmlns:a16="http://schemas.microsoft.com/office/drawing/2014/main" id="{8DD2B94B-2384-7B54-56C7-FCCCE9CA6265}"/>
              </a:ext>
            </a:extLst>
          </p:cNvPr>
          <p:cNvCxnSpPr/>
          <p:nvPr/>
        </p:nvCxnSpPr>
        <p:spPr>
          <a:xfrm>
            <a:off x="897189" y="5769903"/>
            <a:ext cx="10547914" cy="0"/>
          </a:xfrm>
          <a:prstGeom prst="line">
            <a:avLst/>
          </a:prstGeom>
          <a:ln w="317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" name="Marcador de pie de página 1">
            <a:extLst>
              <a:ext uri="{FF2B5EF4-FFF2-40B4-BE49-F238E27FC236}">
                <a16:creationId xmlns:a16="http://schemas.microsoft.com/office/drawing/2014/main" id="{917F3891-75E0-468D-97D2-07E2F63E391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pt-PT"/>
              <a:t>Título de la presentación</a:t>
            </a:r>
            <a:endParaRPr lang="pt-PT" dirty="0"/>
          </a:p>
        </p:txBody>
      </p:sp>
      <p:sp>
        <p:nvSpPr>
          <p:cNvPr id="3" name="Marcador de número de diapositiva 2">
            <a:extLst>
              <a:ext uri="{FF2B5EF4-FFF2-40B4-BE49-F238E27FC236}">
                <a16:creationId xmlns:a16="http://schemas.microsoft.com/office/drawing/2014/main" id="{2BB7F1DD-E797-4423-91A1-3999ED283E4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4A347C2-D68E-473A-8C76-1D063E4EB6E0}" type="slidenum">
              <a:rPr lang="es-ES" smtClean="0"/>
              <a:pPr/>
              <a:t>34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3254446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5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42" presetClass="path" presetSubtype="0" decel="10000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animMotion origin="layout" path="M -0.01719 -0.00023 L -1.25E-6 1.85185E-6 " pathEditMode="relative" rAng="0" ptsTypes="AA">
                                      <p:cBhvr>
                                        <p:cTn id="9" dur="5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859" y="0"/>
                                    </p:animMotion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250"/>
                                        <p:tgtEl>
                                          <p:spTgt spid="6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42" presetClass="path" presetSubtype="0" decel="10000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animMotion origin="layout" path="M -0.01719 -0.00023 L -1.25E-6 1.85185E-6 " pathEditMode="relative" rAng="0" ptsTypes="AA">
                                      <p:cBhvr>
                                        <p:cTn id="14" dur="500" fill="hold"/>
                                        <p:tgtEl>
                                          <p:spTgt spid="6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859" y="0"/>
                                    </p:animMotion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250"/>
                                        <p:tgtEl>
                                          <p:spTgt spid="8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42" presetClass="path" presetSubtype="0" decel="10000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animMotion origin="layout" path="M -0.01719 -0.00023 L -1.25E-6 1.85185E-6 " pathEditMode="relative" rAng="0" ptsTypes="AA">
                                      <p:cBhvr>
                                        <p:cTn id="19" dur="500" fill="hold"/>
                                        <p:tgtEl>
                                          <p:spTgt spid="8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859" y="0"/>
                                    </p:animMotion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250"/>
                                        <p:tgtEl>
                                          <p:spTgt spid="10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42" presetClass="path" presetSubtype="0" decel="10000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animMotion origin="layout" path="M -0.01719 -0.00023 L -1.25E-6 1.85185E-6 " pathEditMode="relative" rAng="0" ptsTypes="AA">
                                      <p:cBhvr>
                                        <p:cTn id="24" dur="500" fill="hold"/>
                                        <p:tgtEl>
                                          <p:spTgt spid="10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859" y="0"/>
                                    </p:animMotion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250"/>
                                        <p:tgtEl>
                                          <p:spTgt spid="1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42" presetClass="path" presetSubtype="0" decel="10000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animMotion origin="layout" path="M -0.01719 -0.00023 L -1.25E-6 1.85185E-6 " pathEditMode="relative" rAng="0" ptsTypes="AA">
                                      <p:cBhvr>
                                        <p:cTn id="29" dur="500" fill="hold"/>
                                        <p:tgtEl>
                                          <p:spTgt spid="13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859" y="0"/>
                                    </p:animMotion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250"/>
                                        <p:tgtEl>
                                          <p:spTgt spid="1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42" presetClass="path" presetSubtype="0" decel="10000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animMotion origin="layout" path="M -0.01719 -0.00023 L -1.25E-6 1.85185E-6 " pathEditMode="relative" rAng="0" ptsTypes="AA">
                                      <p:cBhvr>
                                        <p:cTn id="34" dur="500" fill="hold"/>
                                        <p:tgtEl>
                                          <p:spTgt spid="15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859" y="0"/>
                                    </p:animMotion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250"/>
                                        <p:tgtEl>
                                          <p:spTgt spid="1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42" presetClass="path" presetSubtype="0" decel="10000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animMotion origin="layout" path="M -0.01719 -0.00023 L -1.25E-6 1.85185E-6 " pathEditMode="relative" rAng="0" ptsTypes="AA">
                                      <p:cBhvr>
                                        <p:cTn id="39" dur="500" fill="hold"/>
                                        <p:tgtEl>
                                          <p:spTgt spid="17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859" y="0"/>
                                    </p:animMotion>
                                  </p:childTnLst>
                                </p:cTn>
                              </p:par>
                              <p:par>
                                <p:cTn id="40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20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500"/>
                                        <p:tgtEl>
                                          <p:spTgt spid="20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6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8" dur="500"/>
                                        <p:tgtEl>
                                          <p:spTgt spid="20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9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1" dur="500"/>
                                        <p:tgtEl>
                                          <p:spTgt spid="20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2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4" dur="500"/>
                                        <p:tgtEl>
                                          <p:spTgt spid="20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5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500"/>
                                        <p:tgtEl>
                                          <p:spTgt spid="20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6" name="Marcador de Posição da Imagem 35" descr="Uma imagem com vestuário, computador, pessoa, interior&#10;&#10;Os conteúdos gerados por IA podem estar incorretos.">
            <a:extLst>
              <a:ext uri="{FF2B5EF4-FFF2-40B4-BE49-F238E27FC236}">
                <a16:creationId xmlns:a16="http://schemas.microsoft.com/office/drawing/2014/main" id="{4B44A04F-5475-CB2C-11D3-8400479C3559}"/>
              </a:ext>
            </a:extLst>
          </p:cNvPr>
          <p:cNvPicPr>
            <a:picLocks noGrp="1" noChangeAspect="1"/>
          </p:cNvPicPr>
          <p:nvPr>
            <p:ph type="pic" sz="quarter" idx="1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0" y="0"/>
            <a:ext cx="12192000" cy="3320716"/>
          </a:xfrm>
        </p:spPr>
      </p:pic>
      <p:sp>
        <p:nvSpPr>
          <p:cNvPr id="11" name="Título 10">
            <a:extLst>
              <a:ext uri="{FF2B5EF4-FFF2-40B4-BE49-F238E27FC236}">
                <a16:creationId xmlns:a16="http://schemas.microsoft.com/office/drawing/2014/main" id="{F1D43CCB-958E-5938-C86C-CB1B2FDB7FA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pt-PT" dirty="0"/>
              <a:t>Ejemplo de</a:t>
            </a:r>
            <a:br>
              <a:rPr lang="pt-PT" dirty="0"/>
            </a:br>
            <a:r>
              <a:rPr lang="pt-PT" dirty="0"/>
              <a:t>título de slide</a:t>
            </a:r>
          </a:p>
        </p:txBody>
      </p:sp>
      <p:sp>
        <p:nvSpPr>
          <p:cNvPr id="12" name="Marcador de Posição do Texto 11">
            <a:extLst>
              <a:ext uri="{FF2B5EF4-FFF2-40B4-BE49-F238E27FC236}">
                <a16:creationId xmlns:a16="http://schemas.microsoft.com/office/drawing/2014/main" id="{057C1D25-053A-6390-3A77-70EF9562F52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pt-PT" dirty="0"/>
              <a:t>Ejemplo de subtítulo</a:t>
            </a:r>
          </a:p>
        </p:txBody>
      </p:sp>
      <p:sp>
        <p:nvSpPr>
          <p:cNvPr id="15" name="Marcador de Posição do Texto 14">
            <a:extLst>
              <a:ext uri="{FF2B5EF4-FFF2-40B4-BE49-F238E27FC236}">
                <a16:creationId xmlns:a16="http://schemas.microsoft.com/office/drawing/2014/main" id="{E7FA8A11-685C-AD1D-7F76-E3169439EB0F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/>
        <p:txBody>
          <a:bodyPr/>
          <a:lstStyle/>
          <a:p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Lorem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ipsum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dolor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sit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amet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,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consectetuer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adipiscing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elit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.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Maecenas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porttitor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congue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massa. </a:t>
            </a:r>
            <a:r>
              <a:rPr lang="pt-PT" dirty="0" err="1"/>
              <a:t>Fusce</a:t>
            </a:r>
            <a:r>
              <a:rPr lang="pt-PT" dirty="0"/>
              <a:t> </a:t>
            </a:r>
            <a:r>
              <a:rPr lang="pt-PT" dirty="0" err="1"/>
              <a:t>posuere</a:t>
            </a:r>
            <a:r>
              <a:rPr lang="pt-PT" dirty="0"/>
              <a:t>, magna </a:t>
            </a:r>
            <a:r>
              <a:rPr lang="pt-PT" dirty="0" err="1"/>
              <a:t>sed</a:t>
            </a:r>
            <a:r>
              <a:rPr lang="pt-PT" dirty="0"/>
              <a:t> pulvinar </a:t>
            </a:r>
            <a:r>
              <a:rPr lang="pt-PT" dirty="0" err="1"/>
              <a:t>ultricies</a:t>
            </a:r>
            <a:r>
              <a:rPr lang="pt-PT" dirty="0"/>
              <a:t>, purus </a:t>
            </a:r>
            <a:r>
              <a:rPr lang="pt-PT" dirty="0" err="1"/>
              <a:t>lectus</a:t>
            </a:r>
            <a:r>
              <a:rPr lang="pt-PT" dirty="0"/>
              <a:t> </a:t>
            </a:r>
            <a:r>
              <a:rPr lang="pt-PT" dirty="0" err="1"/>
              <a:t>malesuada</a:t>
            </a:r>
            <a:r>
              <a:rPr lang="pt-PT" dirty="0"/>
              <a:t> libero.</a:t>
            </a:r>
          </a:p>
          <a:p>
            <a:endParaRPr lang="pt-PT" dirty="0"/>
          </a:p>
        </p:txBody>
      </p:sp>
      <p:sp>
        <p:nvSpPr>
          <p:cNvPr id="14" name="Marcador de Posição do Texto 13">
            <a:extLst>
              <a:ext uri="{FF2B5EF4-FFF2-40B4-BE49-F238E27FC236}">
                <a16:creationId xmlns:a16="http://schemas.microsoft.com/office/drawing/2014/main" id="{6D84F132-6DAE-0A97-22CA-09D99600B54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pt-PT" dirty="0"/>
              <a:t>Ejemplo de texto destacado</a:t>
            </a:r>
          </a:p>
        </p:txBody>
      </p:sp>
      <p:sp>
        <p:nvSpPr>
          <p:cNvPr id="16" name="Marcador de Posição do Texto 15">
            <a:extLst>
              <a:ext uri="{FF2B5EF4-FFF2-40B4-BE49-F238E27FC236}">
                <a16:creationId xmlns:a16="http://schemas.microsoft.com/office/drawing/2014/main" id="{69D27FEC-CC58-A4E8-6F20-75B533AC81FA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4925728" y="3223530"/>
            <a:ext cx="2340543" cy="867017"/>
          </a:xfrm>
        </p:spPr>
        <p:txBody>
          <a:bodyPr/>
          <a:lstStyle/>
          <a:p>
            <a:r>
              <a:rPr lang="pt-PT" dirty="0" err="1">
                <a:ea typeface="ALTIA Eddi" panose="020B0000000000020000" pitchFamily="34" charset="0"/>
                <a:cs typeface="ALTIA Eddi" panose="020B0000000000020000" pitchFamily="34" charset="0"/>
              </a:rPr>
              <a:t>Lorem</a:t>
            </a:r>
            <a:r>
              <a:rPr lang="pt-PT" dirty="0"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dirty="0" err="1">
                <a:ea typeface="ALTIA Eddi" panose="020B0000000000020000" pitchFamily="34" charset="0"/>
                <a:cs typeface="ALTIA Eddi" panose="020B0000000000020000" pitchFamily="34" charset="0"/>
              </a:rPr>
              <a:t>ipsum</a:t>
            </a:r>
            <a:r>
              <a:rPr lang="pt-PT" dirty="0"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dirty="0" err="1">
                <a:ea typeface="ALTIA Eddi" panose="020B0000000000020000" pitchFamily="34" charset="0"/>
                <a:cs typeface="ALTIA Eddi" panose="020B0000000000020000" pitchFamily="34" charset="0"/>
              </a:rPr>
              <a:t>dolor</a:t>
            </a:r>
            <a:r>
              <a:rPr lang="pt-PT" dirty="0"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dirty="0" err="1">
                <a:ea typeface="ALTIA Eddi" panose="020B0000000000020000" pitchFamily="34" charset="0"/>
                <a:cs typeface="ALTIA Eddi" panose="020B0000000000020000" pitchFamily="34" charset="0"/>
              </a:rPr>
              <a:t>sit</a:t>
            </a:r>
            <a:r>
              <a:rPr lang="pt-PT" dirty="0"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dirty="0" err="1">
                <a:ea typeface="ALTIA Eddi" panose="020B0000000000020000" pitchFamily="34" charset="0"/>
                <a:cs typeface="ALTIA Eddi" panose="020B0000000000020000" pitchFamily="34" charset="0"/>
              </a:rPr>
              <a:t>amet</a:t>
            </a:r>
            <a:r>
              <a:rPr lang="pt-PT" dirty="0">
                <a:ea typeface="ALTIA Eddi" panose="020B0000000000020000" pitchFamily="34" charset="0"/>
                <a:cs typeface="ALTIA Eddi" panose="020B0000000000020000" pitchFamily="34" charset="0"/>
              </a:rPr>
              <a:t>, </a:t>
            </a:r>
            <a:r>
              <a:rPr lang="pt-PT" dirty="0" err="1">
                <a:ea typeface="ALTIA Eddi" panose="020B0000000000020000" pitchFamily="34" charset="0"/>
                <a:cs typeface="ALTIA Eddi" panose="020B0000000000020000" pitchFamily="34" charset="0"/>
              </a:rPr>
              <a:t>consectetuer</a:t>
            </a:r>
            <a:r>
              <a:rPr lang="pt-PT" dirty="0"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dirty="0" err="1">
                <a:ea typeface="ALTIA Eddi" panose="020B0000000000020000" pitchFamily="34" charset="0"/>
                <a:cs typeface="ALTIA Eddi" panose="020B0000000000020000" pitchFamily="34" charset="0"/>
              </a:rPr>
              <a:t>adipiscing</a:t>
            </a:r>
            <a:r>
              <a:rPr lang="pt-PT" dirty="0"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dirty="0" err="1">
                <a:ea typeface="ALTIA Eddi" panose="020B0000000000020000" pitchFamily="34" charset="0"/>
                <a:cs typeface="ALTIA Eddi" panose="020B0000000000020000" pitchFamily="34" charset="0"/>
              </a:rPr>
              <a:t>elit</a:t>
            </a:r>
            <a:r>
              <a:rPr lang="pt-PT" dirty="0">
                <a:ea typeface="ALTIA Eddi" panose="020B0000000000020000" pitchFamily="34" charset="0"/>
                <a:cs typeface="ALTIA Eddi" panose="020B0000000000020000" pitchFamily="34" charset="0"/>
              </a:rPr>
              <a:t>. </a:t>
            </a:r>
            <a:endParaRPr lang="pt-PT" dirty="0"/>
          </a:p>
          <a:p>
            <a:endParaRPr lang="pt-PT" dirty="0"/>
          </a:p>
        </p:txBody>
      </p:sp>
      <p:sp>
        <p:nvSpPr>
          <p:cNvPr id="17" name="Marcador de Posição do Texto 16">
            <a:extLst>
              <a:ext uri="{FF2B5EF4-FFF2-40B4-BE49-F238E27FC236}">
                <a16:creationId xmlns:a16="http://schemas.microsoft.com/office/drawing/2014/main" id="{AAC158C7-D2B2-C1E2-95B9-CD84A4E65CD4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4925728" y="4233621"/>
            <a:ext cx="2340543" cy="867017"/>
          </a:xfrm>
        </p:spPr>
        <p:txBody>
          <a:bodyPr/>
          <a:lstStyle/>
          <a:p>
            <a:r>
              <a:rPr lang="pt-PT" dirty="0" err="1">
                <a:ea typeface="ALTIA Eddi" panose="020B0000000000020000" pitchFamily="34" charset="0"/>
                <a:cs typeface="ALTIA Eddi" panose="020B0000000000020000" pitchFamily="34" charset="0"/>
              </a:rPr>
              <a:t>Lorem</a:t>
            </a:r>
            <a:r>
              <a:rPr lang="pt-PT" dirty="0"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dirty="0" err="1">
                <a:ea typeface="ALTIA Eddi" panose="020B0000000000020000" pitchFamily="34" charset="0"/>
                <a:cs typeface="ALTIA Eddi" panose="020B0000000000020000" pitchFamily="34" charset="0"/>
              </a:rPr>
              <a:t>ipsum</a:t>
            </a:r>
            <a:r>
              <a:rPr lang="pt-PT" dirty="0"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dirty="0" err="1">
                <a:ea typeface="ALTIA Eddi" panose="020B0000000000020000" pitchFamily="34" charset="0"/>
                <a:cs typeface="ALTIA Eddi" panose="020B0000000000020000" pitchFamily="34" charset="0"/>
              </a:rPr>
              <a:t>dolor</a:t>
            </a:r>
            <a:r>
              <a:rPr lang="pt-PT" dirty="0"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dirty="0" err="1">
                <a:ea typeface="ALTIA Eddi" panose="020B0000000000020000" pitchFamily="34" charset="0"/>
                <a:cs typeface="ALTIA Eddi" panose="020B0000000000020000" pitchFamily="34" charset="0"/>
              </a:rPr>
              <a:t>sit</a:t>
            </a:r>
            <a:r>
              <a:rPr lang="pt-PT" dirty="0"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dirty="0" err="1">
                <a:ea typeface="ALTIA Eddi" panose="020B0000000000020000" pitchFamily="34" charset="0"/>
                <a:cs typeface="ALTIA Eddi" panose="020B0000000000020000" pitchFamily="34" charset="0"/>
              </a:rPr>
              <a:t>amet</a:t>
            </a:r>
            <a:r>
              <a:rPr lang="pt-PT" dirty="0">
                <a:ea typeface="ALTIA Eddi" panose="020B0000000000020000" pitchFamily="34" charset="0"/>
                <a:cs typeface="ALTIA Eddi" panose="020B0000000000020000" pitchFamily="34" charset="0"/>
              </a:rPr>
              <a:t>, </a:t>
            </a:r>
            <a:r>
              <a:rPr lang="pt-PT" dirty="0" err="1">
                <a:ea typeface="ALTIA Eddi" panose="020B0000000000020000" pitchFamily="34" charset="0"/>
                <a:cs typeface="ALTIA Eddi" panose="020B0000000000020000" pitchFamily="34" charset="0"/>
              </a:rPr>
              <a:t>consectetuer</a:t>
            </a:r>
            <a:r>
              <a:rPr lang="pt-PT" dirty="0"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dirty="0" err="1">
                <a:ea typeface="ALTIA Eddi" panose="020B0000000000020000" pitchFamily="34" charset="0"/>
                <a:cs typeface="ALTIA Eddi" panose="020B0000000000020000" pitchFamily="34" charset="0"/>
              </a:rPr>
              <a:t>adipiscing</a:t>
            </a:r>
            <a:r>
              <a:rPr lang="pt-PT" dirty="0"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dirty="0" err="1">
                <a:ea typeface="ALTIA Eddi" panose="020B0000000000020000" pitchFamily="34" charset="0"/>
                <a:cs typeface="ALTIA Eddi" panose="020B0000000000020000" pitchFamily="34" charset="0"/>
              </a:rPr>
              <a:t>elit</a:t>
            </a:r>
            <a:r>
              <a:rPr lang="pt-PT" dirty="0">
                <a:ea typeface="ALTIA Eddi" panose="020B0000000000020000" pitchFamily="34" charset="0"/>
                <a:cs typeface="ALTIA Eddi" panose="020B0000000000020000" pitchFamily="34" charset="0"/>
              </a:rPr>
              <a:t>. </a:t>
            </a:r>
            <a:endParaRPr lang="pt-PT" dirty="0"/>
          </a:p>
          <a:p>
            <a:endParaRPr lang="pt-PT" dirty="0"/>
          </a:p>
        </p:txBody>
      </p:sp>
      <p:sp>
        <p:nvSpPr>
          <p:cNvPr id="18" name="Marcador de Posição do Texto 17">
            <a:extLst>
              <a:ext uri="{FF2B5EF4-FFF2-40B4-BE49-F238E27FC236}">
                <a16:creationId xmlns:a16="http://schemas.microsoft.com/office/drawing/2014/main" id="{76A62871-670F-6295-8197-C7D1B474E009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4925728" y="5243712"/>
            <a:ext cx="2340543" cy="867017"/>
          </a:xfrm>
        </p:spPr>
        <p:txBody>
          <a:bodyPr/>
          <a:lstStyle/>
          <a:p>
            <a:r>
              <a:rPr lang="pt-PT" dirty="0" err="1">
                <a:ea typeface="ALTIA Eddi" panose="020B0000000000020000" pitchFamily="34" charset="0"/>
                <a:cs typeface="ALTIA Eddi" panose="020B0000000000020000" pitchFamily="34" charset="0"/>
              </a:rPr>
              <a:t>Lorem</a:t>
            </a:r>
            <a:r>
              <a:rPr lang="pt-PT" dirty="0"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dirty="0" err="1">
                <a:ea typeface="ALTIA Eddi" panose="020B0000000000020000" pitchFamily="34" charset="0"/>
                <a:cs typeface="ALTIA Eddi" panose="020B0000000000020000" pitchFamily="34" charset="0"/>
              </a:rPr>
              <a:t>ipsum</a:t>
            </a:r>
            <a:r>
              <a:rPr lang="pt-PT" dirty="0"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dirty="0" err="1">
                <a:ea typeface="ALTIA Eddi" panose="020B0000000000020000" pitchFamily="34" charset="0"/>
                <a:cs typeface="ALTIA Eddi" panose="020B0000000000020000" pitchFamily="34" charset="0"/>
              </a:rPr>
              <a:t>dolor</a:t>
            </a:r>
            <a:r>
              <a:rPr lang="pt-PT" dirty="0"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dirty="0" err="1">
                <a:ea typeface="ALTIA Eddi" panose="020B0000000000020000" pitchFamily="34" charset="0"/>
                <a:cs typeface="ALTIA Eddi" panose="020B0000000000020000" pitchFamily="34" charset="0"/>
              </a:rPr>
              <a:t>sit</a:t>
            </a:r>
            <a:r>
              <a:rPr lang="pt-PT" dirty="0"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dirty="0" err="1">
                <a:ea typeface="ALTIA Eddi" panose="020B0000000000020000" pitchFamily="34" charset="0"/>
                <a:cs typeface="ALTIA Eddi" panose="020B0000000000020000" pitchFamily="34" charset="0"/>
              </a:rPr>
              <a:t>amet</a:t>
            </a:r>
            <a:r>
              <a:rPr lang="pt-PT" dirty="0">
                <a:ea typeface="ALTIA Eddi" panose="020B0000000000020000" pitchFamily="34" charset="0"/>
                <a:cs typeface="ALTIA Eddi" panose="020B0000000000020000" pitchFamily="34" charset="0"/>
              </a:rPr>
              <a:t>, </a:t>
            </a:r>
            <a:r>
              <a:rPr lang="pt-PT" dirty="0" err="1">
                <a:ea typeface="ALTIA Eddi" panose="020B0000000000020000" pitchFamily="34" charset="0"/>
                <a:cs typeface="ALTIA Eddi" panose="020B0000000000020000" pitchFamily="34" charset="0"/>
              </a:rPr>
              <a:t>consectetuer</a:t>
            </a:r>
            <a:r>
              <a:rPr lang="pt-PT" dirty="0"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dirty="0" err="1">
                <a:ea typeface="ALTIA Eddi" panose="020B0000000000020000" pitchFamily="34" charset="0"/>
                <a:cs typeface="ALTIA Eddi" panose="020B0000000000020000" pitchFamily="34" charset="0"/>
              </a:rPr>
              <a:t>adipiscing</a:t>
            </a:r>
            <a:r>
              <a:rPr lang="pt-PT" dirty="0"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dirty="0" err="1">
                <a:ea typeface="ALTIA Eddi" panose="020B0000000000020000" pitchFamily="34" charset="0"/>
                <a:cs typeface="ALTIA Eddi" panose="020B0000000000020000" pitchFamily="34" charset="0"/>
              </a:rPr>
              <a:t>elit</a:t>
            </a:r>
            <a:r>
              <a:rPr lang="pt-PT" dirty="0">
                <a:ea typeface="ALTIA Eddi" panose="020B0000000000020000" pitchFamily="34" charset="0"/>
                <a:cs typeface="ALTIA Eddi" panose="020B0000000000020000" pitchFamily="34" charset="0"/>
              </a:rPr>
              <a:t>. </a:t>
            </a:r>
            <a:endParaRPr lang="pt-PT" dirty="0"/>
          </a:p>
          <a:p>
            <a:endParaRPr lang="pt-PT" dirty="0"/>
          </a:p>
        </p:txBody>
      </p:sp>
      <p:sp>
        <p:nvSpPr>
          <p:cNvPr id="19" name="Marcador de Posição do Texto 18">
            <a:extLst>
              <a:ext uri="{FF2B5EF4-FFF2-40B4-BE49-F238E27FC236}">
                <a16:creationId xmlns:a16="http://schemas.microsoft.com/office/drawing/2014/main" id="{8D9D62C1-6567-FB5B-9957-B85884074583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1399014" y="3223530"/>
            <a:ext cx="2340543" cy="867017"/>
          </a:xfrm>
        </p:spPr>
        <p:txBody>
          <a:bodyPr/>
          <a:lstStyle/>
          <a:p>
            <a:r>
              <a:rPr lang="pt-PT" dirty="0" err="1">
                <a:ea typeface="ALTIA Eddi" panose="020B0000000000020000" pitchFamily="34" charset="0"/>
                <a:cs typeface="ALTIA Eddi" panose="020B0000000000020000" pitchFamily="34" charset="0"/>
              </a:rPr>
              <a:t>Lorem</a:t>
            </a:r>
            <a:r>
              <a:rPr lang="pt-PT" dirty="0"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dirty="0" err="1">
                <a:ea typeface="ALTIA Eddi" panose="020B0000000000020000" pitchFamily="34" charset="0"/>
                <a:cs typeface="ALTIA Eddi" panose="020B0000000000020000" pitchFamily="34" charset="0"/>
              </a:rPr>
              <a:t>ipsum</a:t>
            </a:r>
            <a:r>
              <a:rPr lang="pt-PT" dirty="0"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dirty="0" err="1">
                <a:ea typeface="ALTIA Eddi" panose="020B0000000000020000" pitchFamily="34" charset="0"/>
                <a:cs typeface="ALTIA Eddi" panose="020B0000000000020000" pitchFamily="34" charset="0"/>
              </a:rPr>
              <a:t>dolor</a:t>
            </a:r>
            <a:r>
              <a:rPr lang="pt-PT" dirty="0"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dirty="0" err="1">
                <a:ea typeface="ALTIA Eddi" panose="020B0000000000020000" pitchFamily="34" charset="0"/>
                <a:cs typeface="ALTIA Eddi" panose="020B0000000000020000" pitchFamily="34" charset="0"/>
              </a:rPr>
              <a:t>sit</a:t>
            </a:r>
            <a:r>
              <a:rPr lang="pt-PT" dirty="0"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dirty="0" err="1">
                <a:ea typeface="ALTIA Eddi" panose="020B0000000000020000" pitchFamily="34" charset="0"/>
                <a:cs typeface="ALTIA Eddi" panose="020B0000000000020000" pitchFamily="34" charset="0"/>
              </a:rPr>
              <a:t>amet</a:t>
            </a:r>
            <a:r>
              <a:rPr lang="pt-PT" dirty="0">
                <a:ea typeface="ALTIA Eddi" panose="020B0000000000020000" pitchFamily="34" charset="0"/>
                <a:cs typeface="ALTIA Eddi" panose="020B0000000000020000" pitchFamily="34" charset="0"/>
              </a:rPr>
              <a:t>, </a:t>
            </a:r>
            <a:r>
              <a:rPr lang="pt-PT" dirty="0" err="1">
                <a:ea typeface="ALTIA Eddi" panose="020B0000000000020000" pitchFamily="34" charset="0"/>
                <a:cs typeface="ALTIA Eddi" panose="020B0000000000020000" pitchFamily="34" charset="0"/>
              </a:rPr>
              <a:t>consectetuer</a:t>
            </a:r>
            <a:r>
              <a:rPr lang="pt-PT" dirty="0"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dirty="0" err="1">
                <a:ea typeface="ALTIA Eddi" panose="020B0000000000020000" pitchFamily="34" charset="0"/>
                <a:cs typeface="ALTIA Eddi" panose="020B0000000000020000" pitchFamily="34" charset="0"/>
              </a:rPr>
              <a:t>adipiscing</a:t>
            </a:r>
            <a:r>
              <a:rPr lang="pt-PT" dirty="0"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dirty="0" err="1">
                <a:ea typeface="ALTIA Eddi" panose="020B0000000000020000" pitchFamily="34" charset="0"/>
                <a:cs typeface="ALTIA Eddi" panose="020B0000000000020000" pitchFamily="34" charset="0"/>
              </a:rPr>
              <a:t>elit</a:t>
            </a:r>
            <a:r>
              <a:rPr lang="pt-PT" dirty="0">
                <a:ea typeface="ALTIA Eddi" panose="020B0000000000020000" pitchFamily="34" charset="0"/>
                <a:cs typeface="ALTIA Eddi" panose="020B0000000000020000" pitchFamily="34" charset="0"/>
              </a:rPr>
              <a:t>. </a:t>
            </a:r>
            <a:endParaRPr lang="pt-PT" dirty="0"/>
          </a:p>
        </p:txBody>
      </p:sp>
      <p:sp>
        <p:nvSpPr>
          <p:cNvPr id="20" name="Marcador de Posição do Texto 19">
            <a:extLst>
              <a:ext uri="{FF2B5EF4-FFF2-40B4-BE49-F238E27FC236}">
                <a16:creationId xmlns:a16="http://schemas.microsoft.com/office/drawing/2014/main" id="{18F8EFD1-5596-8086-D9B4-CE8263ED2877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1399014" y="4233621"/>
            <a:ext cx="2340543" cy="867017"/>
          </a:xfrm>
        </p:spPr>
        <p:txBody>
          <a:bodyPr/>
          <a:lstStyle/>
          <a:p>
            <a:r>
              <a:rPr lang="pt-PT" dirty="0" err="1">
                <a:ea typeface="ALTIA Eddi" panose="020B0000000000020000" pitchFamily="34" charset="0"/>
                <a:cs typeface="ALTIA Eddi" panose="020B0000000000020000" pitchFamily="34" charset="0"/>
              </a:rPr>
              <a:t>Lorem</a:t>
            </a:r>
            <a:r>
              <a:rPr lang="pt-PT" dirty="0"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dirty="0" err="1">
                <a:ea typeface="ALTIA Eddi" panose="020B0000000000020000" pitchFamily="34" charset="0"/>
                <a:cs typeface="ALTIA Eddi" panose="020B0000000000020000" pitchFamily="34" charset="0"/>
              </a:rPr>
              <a:t>ipsum</a:t>
            </a:r>
            <a:r>
              <a:rPr lang="pt-PT" dirty="0"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dirty="0" err="1">
                <a:ea typeface="ALTIA Eddi" panose="020B0000000000020000" pitchFamily="34" charset="0"/>
                <a:cs typeface="ALTIA Eddi" panose="020B0000000000020000" pitchFamily="34" charset="0"/>
              </a:rPr>
              <a:t>dolor</a:t>
            </a:r>
            <a:r>
              <a:rPr lang="pt-PT" dirty="0"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dirty="0" err="1">
                <a:ea typeface="ALTIA Eddi" panose="020B0000000000020000" pitchFamily="34" charset="0"/>
                <a:cs typeface="ALTIA Eddi" panose="020B0000000000020000" pitchFamily="34" charset="0"/>
              </a:rPr>
              <a:t>sit</a:t>
            </a:r>
            <a:r>
              <a:rPr lang="pt-PT" dirty="0"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dirty="0" err="1">
                <a:ea typeface="ALTIA Eddi" panose="020B0000000000020000" pitchFamily="34" charset="0"/>
                <a:cs typeface="ALTIA Eddi" panose="020B0000000000020000" pitchFamily="34" charset="0"/>
              </a:rPr>
              <a:t>amet</a:t>
            </a:r>
            <a:r>
              <a:rPr lang="pt-PT" dirty="0">
                <a:ea typeface="ALTIA Eddi" panose="020B0000000000020000" pitchFamily="34" charset="0"/>
                <a:cs typeface="ALTIA Eddi" panose="020B0000000000020000" pitchFamily="34" charset="0"/>
              </a:rPr>
              <a:t>, </a:t>
            </a:r>
            <a:r>
              <a:rPr lang="pt-PT" dirty="0" err="1">
                <a:ea typeface="ALTIA Eddi" panose="020B0000000000020000" pitchFamily="34" charset="0"/>
                <a:cs typeface="ALTIA Eddi" panose="020B0000000000020000" pitchFamily="34" charset="0"/>
              </a:rPr>
              <a:t>consectetuer</a:t>
            </a:r>
            <a:r>
              <a:rPr lang="pt-PT" dirty="0"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dirty="0" err="1">
                <a:ea typeface="ALTIA Eddi" panose="020B0000000000020000" pitchFamily="34" charset="0"/>
                <a:cs typeface="ALTIA Eddi" panose="020B0000000000020000" pitchFamily="34" charset="0"/>
              </a:rPr>
              <a:t>adipiscing</a:t>
            </a:r>
            <a:r>
              <a:rPr lang="pt-PT" dirty="0"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dirty="0" err="1">
                <a:ea typeface="ALTIA Eddi" panose="020B0000000000020000" pitchFamily="34" charset="0"/>
                <a:cs typeface="ALTIA Eddi" panose="020B0000000000020000" pitchFamily="34" charset="0"/>
              </a:rPr>
              <a:t>elit</a:t>
            </a:r>
            <a:r>
              <a:rPr lang="pt-PT" dirty="0">
                <a:ea typeface="ALTIA Eddi" panose="020B0000000000020000" pitchFamily="34" charset="0"/>
                <a:cs typeface="ALTIA Eddi" panose="020B0000000000020000" pitchFamily="34" charset="0"/>
              </a:rPr>
              <a:t>. </a:t>
            </a:r>
            <a:endParaRPr lang="pt-PT" dirty="0"/>
          </a:p>
          <a:p>
            <a:endParaRPr lang="pt-PT" dirty="0"/>
          </a:p>
        </p:txBody>
      </p:sp>
      <p:sp>
        <p:nvSpPr>
          <p:cNvPr id="21" name="Marcador de Posição do Texto 20">
            <a:extLst>
              <a:ext uri="{FF2B5EF4-FFF2-40B4-BE49-F238E27FC236}">
                <a16:creationId xmlns:a16="http://schemas.microsoft.com/office/drawing/2014/main" id="{68D3678C-5032-4B0F-D99F-0C595BA2C093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1399014" y="5243712"/>
            <a:ext cx="2340543" cy="867017"/>
          </a:xfrm>
        </p:spPr>
        <p:txBody>
          <a:bodyPr/>
          <a:lstStyle/>
          <a:p>
            <a:r>
              <a:rPr lang="pt-PT" dirty="0" err="1">
                <a:ea typeface="ALTIA Eddi" panose="020B0000000000020000" pitchFamily="34" charset="0"/>
                <a:cs typeface="ALTIA Eddi" panose="020B0000000000020000" pitchFamily="34" charset="0"/>
              </a:rPr>
              <a:t>Lorem</a:t>
            </a:r>
            <a:r>
              <a:rPr lang="pt-PT" dirty="0"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dirty="0" err="1">
                <a:ea typeface="ALTIA Eddi" panose="020B0000000000020000" pitchFamily="34" charset="0"/>
                <a:cs typeface="ALTIA Eddi" panose="020B0000000000020000" pitchFamily="34" charset="0"/>
              </a:rPr>
              <a:t>ipsum</a:t>
            </a:r>
            <a:r>
              <a:rPr lang="pt-PT" dirty="0"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dirty="0" err="1">
                <a:ea typeface="ALTIA Eddi" panose="020B0000000000020000" pitchFamily="34" charset="0"/>
                <a:cs typeface="ALTIA Eddi" panose="020B0000000000020000" pitchFamily="34" charset="0"/>
              </a:rPr>
              <a:t>dolor</a:t>
            </a:r>
            <a:r>
              <a:rPr lang="pt-PT" dirty="0"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dirty="0" err="1">
                <a:ea typeface="ALTIA Eddi" panose="020B0000000000020000" pitchFamily="34" charset="0"/>
                <a:cs typeface="ALTIA Eddi" panose="020B0000000000020000" pitchFamily="34" charset="0"/>
              </a:rPr>
              <a:t>sit</a:t>
            </a:r>
            <a:r>
              <a:rPr lang="pt-PT" dirty="0"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dirty="0" err="1">
                <a:ea typeface="ALTIA Eddi" panose="020B0000000000020000" pitchFamily="34" charset="0"/>
                <a:cs typeface="ALTIA Eddi" panose="020B0000000000020000" pitchFamily="34" charset="0"/>
              </a:rPr>
              <a:t>amet</a:t>
            </a:r>
            <a:r>
              <a:rPr lang="pt-PT" dirty="0">
                <a:ea typeface="ALTIA Eddi" panose="020B0000000000020000" pitchFamily="34" charset="0"/>
                <a:cs typeface="ALTIA Eddi" panose="020B0000000000020000" pitchFamily="34" charset="0"/>
              </a:rPr>
              <a:t>, </a:t>
            </a:r>
            <a:r>
              <a:rPr lang="pt-PT" dirty="0" err="1">
                <a:ea typeface="ALTIA Eddi" panose="020B0000000000020000" pitchFamily="34" charset="0"/>
                <a:cs typeface="ALTIA Eddi" panose="020B0000000000020000" pitchFamily="34" charset="0"/>
              </a:rPr>
              <a:t>consectetuer</a:t>
            </a:r>
            <a:r>
              <a:rPr lang="pt-PT" dirty="0"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dirty="0" err="1">
                <a:ea typeface="ALTIA Eddi" panose="020B0000000000020000" pitchFamily="34" charset="0"/>
                <a:cs typeface="ALTIA Eddi" panose="020B0000000000020000" pitchFamily="34" charset="0"/>
              </a:rPr>
              <a:t>adipiscing</a:t>
            </a:r>
            <a:r>
              <a:rPr lang="pt-PT" dirty="0"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dirty="0" err="1">
                <a:ea typeface="ALTIA Eddi" panose="020B0000000000020000" pitchFamily="34" charset="0"/>
                <a:cs typeface="ALTIA Eddi" panose="020B0000000000020000" pitchFamily="34" charset="0"/>
              </a:rPr>
              <a:t>elit</a:t>
            </a:r>
            <a:r>
              <a:rPr lang="pt-PT" dirty="0">
                <a:ea typeface="ALTIA Eddi" panose="020B0000000000020000" pitchFamily="34" charset="0"/>
                <a:cs typeface="ALTIA Eddi" panose="020B0000000000020000" pitchFamily="34" charset="0"/>
              </a:rPr>
              <a:t>. </a:t>
            </a:r>
            <a:endParaRPr lang="pt-PT" dirty="0"/>
          </a:p>
          <a:p>
            <a:endParaRPr lang="pt-PT" dirty="0"/>
          </a:p>
        </p:txBody>
      </p:sp>
      <p:grpSp>
        <p:nvGrpSpPr>
          <p:cNvPr id="37" name="Agrupar 36">
            <a:extLst>
              <a:ext uri="{FF2B5EF4-FFF2-40B4-BE49-F238E27FC236}">
                <a16:creationId xmlns:a16="http://schemas.microsoft.com/office/drawing/2014/main" id="{F26994FE-9C73-358B-F260-6FB3758B61B0}"/>
              </a:ext>
            </a:extLst>
          </p:cNvPr>
          <p:cNvGrpSpPr/>
          <p:nvPr/>
        </p:nvGrpSpPr>
        <p:grpSpPr>
          <a:xfrm>
            <a:off x="803050" y="3275005"/>
            <a:ext cx="459831" cy="502163"/>
            <a:chOff x="6000092" y="1357908"/>
            <a:chExt cx="365300" cy="398929"/>
          </a:xfrm>
        </p:grpSpPr>
        <p:sp>
          <p:nvSpPr>
            <p:cNvPr id="38" name="Forma livre: Forma 37">
              <a:extLst>
                <a:ext uri="{FF2B5EF4-FFF2-40B4-BE49-F238E27FC236}">
                  <a16:creationId xmlns:a16="http://schemas.microsoft.com/office/drawing/2014/main" id="{FB305115-6D2F-7B3A-F1D0-FA8A3A2010D2}"/>
                </a:ext>
              </a:extLst>
            </p:cNvPr>
            <p:cNvSpPr/>
            <p:nvPr/>
          </p:nvSpPr>
          <p:spPr>
            <a:xfrm>
              <a:off x="6000092" y="1418606"/>
              <a:ext cx="84058" cy="286120"/>
            </a:xfrm>
            <a:custGeom>
              <a:avLst/>
              <a:gdLst>
                <a:gd name="connsiteX0" fmla="*/ 51595 w 84058"/>
                <a:gd name="connsiteY0" fmla="*/ 0 h 286120"/>
                <a:gd name="connsiteX1" fmla="*/ 35266 w 84058"/>
                <a:gd name="connsiteY1" fmla="*/ 61674 h 286120"/>
                <a:gd name="connsiteX2" fmla="*/ 28760 w 84058"/>
                <a:gd name="connsiteY2" fmla="*/ 193415 h 286120"/>
                <a:gd name="connsiteX3" fmla="*/ 84059 w 84058"/>
                <a:gd name="connsiteY3" fmla="*/ 286121 h 2861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4058" h="286120">
                  <a:moveTo>
                    <a:pt x="51595" y="0"/>
                  </a:moveTo>
                  <a:cubicBezTo>
                    <a:pt x="37868" y="7872"/>
                    <a:pt x="26028" y="24852"/>
                    <a:pt x="35266" y="61674"/>
                  </a:cubicBezTo>
                  <a:cubicBezTo>
                    <a:pt x="35266" y="61674"/>
                    <a:pt x="-39549" y="126731"/>
                    <a:pt x="28760" y="193415"/>
                  </a:cubicBezTo>
                  <a:cubicBezTo>
                    <a:pt x="28760" y="193415"/>
                    <a:pt x="9243" y="281242"/>
                    <a:pt x="84059" y="286121"/>
                  </a:cubicBezTo>
                </a:path>
              </a:pathLst>
            </a:custGeom>
            <a:noFill/>
            <a:ln w="19050" cap="sq">
              <a:solidFill>
                <a:srgbClr val="00FF94"/>
              </a:solidFill>
              <a:prstDash val="solid"/>
              <a:miter lim="800000"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39" name="Gráfico 32">
              <a:extLst>
                <a:ext uri="{FF2B5EF4-FFF2-40B4-BE49-F238E27FC236}">
                  <a16:creationId xmlns:a16="http://schemas.microsoft.com/office/drawing/2014/main" id="{599FBF67-CF63-5092-148D-4AC6A2422DAA}"/>
                </a:ext>
              </a:extLst>
            </p:cNvPr>
            <p:cNvGrpSpPr/>
            <p:nvPr/>
          </p:nvGrpSpPr>
          <p:grpSpPr>
            <a:xfrm>
              <a:off x="6061121" y="1359924"/>
              <a:ext cx="128487" cy="396366"/>
              <a:chOff x="6061121" y="1359924"/>
              <a:chExt cx="128487" cy="396366"/>
            </a:xfrm>
            <a:noFill/>
          </p:grpSpPr>
          <p:sp>
            <p:nvSpPr>
              <p:cNvPr id="54" name="Forma livre: Forma 53">
                <a:extLst>
                  <a:ext uri="{FF2B5EF4-FFF2-40B4-BE49-F238E27FC236}">
                    <a16:creationId xmlns:a16="http://schemas.microsoft.com/office/drawing/2014/main" id="{9758E930-B1ED-D9A0-FBED-4B60254BACDA}"/>
                  </a:ext>
                </a:extLst>
              </p:cNvPr>
              <p:cNvSpPr/>
              <p:nvPr/>
            </p:nvSpPr>
            <p:spPr>
              <a:xfrm>
                <a:off x="6083891" y="1359924"/>
                <a:ext cx="105717" cy="396366"/>
              </a:xfrm>
              <a:custGeom>
                <a:avLst/>
                <a:gdLst>
                  <a:gd name="connsiteX0" fmla="*/ 52891 w 105717"/>
                  <a:gd name="connsiteY0" fmla="*/ 105718 h 396366"/>
                  <a:gd name="connsiteX1" fmla="*/ 0 w 105717"/>
                  <a:gd name="connsiteY1" fmla="*/ 52891 h 396366"/>
                  <a:gd name="connsiteX2" fmla="*/ 52891 w 105717"/>
                  <a:gd name="connsiteY2" fmla="*/ 0 h 396366"/>
                  <a:gd name="connsiteX3" fmla="*/ 105718 w 105717"/>
                  <a:gd name="connsiteY3" fmla="*/ 52826 h 396366"/>
                  <a:gd name="connsiteX4" fmla="*/ 105718 w 105717"/>
                  <a:gd name="connsiteY4" fmla="*/ 346884 h 396366"/>
                  <a:gd name="connsiteX5" fmla="*/ 80606 w 105717"/>
                  <a:gd name="connsiteY5" fmla="*/ 388911 h 396366"/>
                  <a:gd name="connsiteX6" fmla="*/ 9238 w 105717"/>
                  <a:gd name="connsiteY6" fmla="*/ 371150 h 396366"/>
                  <a:gd name="connsiteX7" fmla="*/ 15484 w 105717"/>
                  <a:gd name="connsiteY7" fmla="*/ 309216 h 396366"/>
                  <a:gd name="connsiteX8" fmla="*/ 45019 w 105717"/>
                  <a:gd name="connsiteY8" fmla="*/ 277078 h 3963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05717" h="396366">
                    <a:moveTo>
                      <a:pt x="52891" y="105718"/>
                    </a:moveTo>
                    <a:cubicBezTo>
                      <a:pt x="23681" y="105718"/>
                      <a:pt x="0" y="82037"/>
                      <a:pt x="0" y="52891"/>
                    </a:cubicBezTo>
                    <a:cubicBezTo>
                      <a:pt x="0" y="23746"/>
                      <a:pt x="23681" y="0"/>
                      <a:pt x="52891" y="0"/>
                    </a:cubicBezTo>
                    <a:cubicBezTo>
                      <a:pt x="82102" y="0"/>
                      <a:pt x="105718" y="23681"/>
                      <a:pt x="105718" y="52826"/>
                    </a:cubicBezTo>
                    <a:lnTo>
                      <a:pt x="105718" y="346884"/>
                    </a:lnTo>
                    <a:cubicBezTo>
                      <a:pt x="105718" y="364580"/>
                      <a:pt x="96414" y="379413"/>
                      <a:pt x="80606" y="388911"/>
                    </a:cubicBezTo>
                    <a:cubicBezTo>
                      <a:pt x="55949" y="403744"/>
                      <a:pt x="24006" y="395742"/>
                      <a:pt x="9238" y="371150"/>
                    </a:cubicBezTo>
                    <a:cubicBezTo>
                      <a:pt x="-2928" y="350918"/>
                      <a:pt x="260" y="325741"/>
                      <a:pt x="15484" y="309216"/>
                    </a:cubicBezTo>
                    <a:lnTo>
                      <a:pt x="45019" y="277078"/>
                    </a:lnTo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5" name="Forma livre: Forma 54">
                <a:extLst>
                  <a:ext uri="{FF2B5EF4-FFF2-40B4-BE49-F238E27FC236}">
                    <a16:creationId xmlns:a16="http://schemas.microsoft.com/office/drawing/2014/main" id="{698395D4-3581-842C-263B-C2C9D134298A}"/>
                  </a:ext>
                </a:extLst>
              </p:cNvPr>
              <p:cNvSpPr/>
              <p:nvPr/>
            </p:nvSpPr>
            <p:spPr>
              <a:xfrm>
                <a:off x="6144784" y="1383865"/>
                <a:ext cx="41563" cy="38963"/>
              </a:xfrm>
              <a:custGeom>
                <a:avLst/>
                <a:gdLst>
                  <a:gd name="connsiteX0" fmla="*/ 36172 w 41563"/>
                  <a:gd name="connsiteY0" fmla="*/ 0 h 38963"/>
                  <a:gd name="connsiteX1" fmla="*/ 39425 w 41563"/>
                  <a:gd name="connsiteY1" fmla="*/ 24266 h 38963"/>
                  <a:gd name="connsiteX2" fmla="*/ 36432 w 41563"/>
                  <a:gd name="connsiteY2" fmla="*/ 29080 h 38963"/>
                  <a:gd name="connsiteX3" fmla="*/ 0 w 41563"/>
                  <a:gd name="connsiteY3" fmla="*/ 33439 h 389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563" h="38963">
                    <a:moveTo>
                      <a:pt x="36172" y="0"/>
                    </a:moveTo>
                    <a:cubicBezTo>
                      <a:pt x="41571" y="7547"/>
                      <a:pt x="43393" y="16004"/>
                      <a:pt x="39425" y="24266"/>
                    </a:cubicBezTo>
                    <a:cubicBezTo>
                      <a:pt x="38644" y="25893"/>
                      <a:pt x="37603" y="27519"/>
                      <a:pt x="36432" y="29080"/>
                    </a:cubicBezTo>
                    <a:cubicBezTo>
                      <a:pt x="27584" y="40270"/>
                      <a:pt x="11190" y="42287"/>
                      <a:pt x="0" y="33439"/>
                    </a:cubicBezTo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6" name="Forma livre: Forma 55">
                <a:extLst>
                  <a:ext uri="{FF2B5EF4-FFF2-40B4-BE49-F238E27FC236}">
                    <a16:creationId xmlns:a16="http://schemas.microsoft.com/office/drawing/2014/main" id="{E656B483-0901-7416-9CE1-6AD2636AB5C4}"/>
                  </a:ext>
                </a:extLst>
              </p:cNvPr>
              <p:cNvSpPr/>
              <p:nvPr/>
            </p:nvSpPr>
            <p:spPr>
              <a:xfrm>
                <a:off x="6081487" y="1460806"/>
                <a:ext cx="34217" cy="54474"/>
              </a:xfrm>
              <a:custGeom>
                <a:avLst/>
                <a:gdLst>
                  <a:gd name="connsiteX0" fmla="*/ 21076 w 34217"/>
                  <a:gd name="connsiteY0" fmla="*/ 54475 h 54474"/>
                  <a:gd name="connsiteX1" fmla="*/ 778 w 34217"/>
                  <a:gd name="connsiteY1" fmla="*/ 21035 h 54474"/>
                  <a:gd name="connsiteX2" fmla="*/ 34217 w 34217"/>
                  <a:gd name="connsiteY2" fmla="*/ 803 h 544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4217" h="54474">
                    <a:moveTo>
                      <a:pt x="21076" y="54475"/>
                    </a:moveTo>
                    <a:cubicBezTo>
                      <a:pt x="6308" y="50832"/>
                      <a:pt x="-2800" y="35803"/>
                      <a:pt x="778" y="21035"/>
                    </a:cubicBezTo>
                    <a:cubicBezTo>
                      <a:pt x="4421" y="6267"/>
                      <a:pt x="19449" y="-2841"/>
                      <a:pt x="34217" y="803"/>
                    </a:cubicBezTo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7" name="Forma livre: Forma 56">
                <a:extLst>
                  <a:ext uri="{FF2B5EF4-FFF2-40B4-BE49-F238E27FC236}">
                    <a16:creationId xmlns:a16="http://schemas.microsoft.com/office/drawing/2014/main" id="{2C763947-5CC1-F428-E616-C766D95F1751}"/>
                  </a:ext>
                </a:extLst>
              </p:cNvPr>
              <p:cNvSpPr/>
              <p:nvPr/>
            </p:nvSpPr>
            <p:spPr>
              <a:xfrm>
                <a:off x="6073547" y="1527543"/>
                <a:ext cx="114760" cy="72506"/>
              </a:xfrm>
              <a:custGeom>
                <a:avLst/>
                <a:gdLst>
                  <a:gd name="connsiteX0" fmla="*/ 114760 w 114760"/>
                  <a:gd name="connsiteY0" fmla="*/ 7254 h 72506"/>
                  <a:gd name="connsiteX1" fmla="*/ 73905 w 114760"/>
                  <a:gd name="connsiteY1" fmla="*/ 8881 h 72506"/>
                  <a:gd name="connsiteX2" fmla="*/ 0 w 114760"/>
                  <a:gd name="connsiteY2" fmla="*/ 72506 h 725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14760" h="72506">
                    <a:moveTo>
                      <a:pt x="114760" y="7254"/>
                    </a:moveTo>
                    <a:cubicBezTo>
                      <a:pt x="103375" y="-2830"/>
                      <a:pt x="83989" y="-2504"/>
                      <a:pt x="73905" y="8881"/>
                    </a:cubicBezTo>
                    <a:cubicBezTo>
                      <a:pt x="73905" y="8881"/>
                      <a:pt x="31488" y="72506"/>
                      <a:pt x="0" y="72506"/>
                    </a:cubicBezTo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8" name="Forma livre: Forma 57">
                <a:extLst>
                  <a:ext uri="{FF2B5EF4-FFF2-40B4-BE49-F238E27FC236}">
                    <a16:creationId xmlns:a16="http://schemas.microsoft.com/office/drawing/2014/main" id="{C4659818-4C81-2ED2-E185-6706C1D58C23}"/>
                  </a:ext>
                </a:extLst>
              </p:cNvPr>
              <p:cNvSpPr/>
              <p:nvPr/>
            </p:nvSpPr>
            <p:spPr>
              <a:xfrm>
                <a:off x="6079857" y="1646956"/>
                <a:ext cx="29405" cy="9823"/>
              </a:xfrm>
              <a:custGeom>
                <a:avLst/>
                <a:gdLst>
                  <a:gd name="connsiteX0" fmla="*/ 0 w 29405"/>
                  <a:gd name="connsiteY0" fmla="*/ 0 h 9823"/>
                  <a:gd name="connsiteX1" fmla="*/ 29406 w 29405"/>
                  <a:gd name="connsiteY1" fmla="*/ 9824 h 98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9405" h="9823">
                    <a:moveTo>
                      <a:pt x="0" y="0"/>
                    </a:moveTo>
                    <a:lnTo>
                      <a:pt x="29406" y="9824"/>
                    </a:lnTo>
                  </a:path>
                </a:pathLst>
              </a:custGeom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9" name="Forma livre: Forma 58">
                <a:extLst>
                  <a:ext uri="{FF2B5EF4-FFF2-40B4-BE49-F238E27FC236}">
                    <a16:creationId xmlns:a16="http://schemas.microsoft.com/office/drawing/2014/main" id="{EC1E3538-7986-FA48-0656-367327C26121}"/>
                  </a:ext>
                </a:extLst>
              </p:cNvPr>
              <p:cNvSpPr/>
              <p:nvPr/>
            </p:nvSpPr>
            <p:spPr>
              <a:xfrm>
                <a:off x="6061121" y="1545272"/>
                <a:ext cx="47166" cy="34154"/>
              </a:xfrm>
              <a:custGeom>
                <a:avLst/>
                <a:gdLst>
                  <a:gd name="connsiteX0" fmla="*/ 0 w 47166"/>
                  <a:gd name="connsiteY0" fmla="*/ 0 h 34154"/>
                  <a:gd name="connsiteX1" fmla="*/ 47166 w 47166"/>
                  <a:gd name="connsiteY1" fmla="*/ 34155 h 341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166" h="34154">
                    <a:moveTo>
                      <a:pt x="0" y="0"/>
                    </a:moveTo>
                    <a:cubicBezTo>
                      <a:pt x="0" y="0"/>
                      <a:pt x="27649" y="13011"/>
                      <a:pt x="47166" y="34155"/>
                    </a:cubicBezTo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40" name="Gráfico 32">
              <a:extLst>
                <a:ext uri="{FF2B5EF4-FFF2-40B4-BE49-F238E27FC236}">
                  <a16:creationId xmlns:a16="http://schemas.microsoft.com/office/drawing/2014/main" id="{1820155A-ADDB-9851-B16D-605DCE4C1F42}"/>
                </a:ext>
              </a:extLst>
            </p:cNvPr>
            <p:cNvGrpSpPr/>
            <p:nvPr/>
          </p:nvGrpSpPr>
          <p:grpSpPr>
            <a:xfrm>
              <a:off x="6191625" y="1599725"/>
              <a:ext cx="173767" cy="157112"/>
              <a:chOff x="6191625" y="1599725"/>
              <a:chExt cx="173767" cy="157112"/>
            </a:xfrm>
            <a:noFill/>
          </p:grpSpPr>
          <p:sp>
            <p:nvSpPr>
              <p:cNvPr id="50" name="Forma livre: Forma 49">
                <a:extLst>
                  <a:ext uri="{FF2B5EF4-FFF2-40B4-BE49-F238E27FC236}">
                    <a16:creationId xmlns:a16="http://schemas.microsoft.com/office/drawing/2014/main" id="{045D118B-5A6E-868B-6033-4BDECE6CAC18}"/>
                  </a:ext>
                </a:extLst>
              </p:cNvPr>
              <p:cNvSpPr/>
              <p:nvPr/>
            </p:nvSpPr>
            <p:spPr>
              <a:xfrm>
                <a:off x="6310094" y="1621974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1" name="Forma livre: Forma 50">
                <a:extLst>
                  <a:ext uri="{FF2B5EF4-FFF2-40B4-BE49-F238E27FC236}">
                    <a16:creationId xmlns:a16="http://schemas.microsoft.com/office/drawing/2014/main" id="{B675CD76-5773-D583-16C3-703AC1450F5F}"/>
                  </a:ext>
                </a:extLst>
              </p:cNvPr>
              <p:cNvSpPr/>
              <p:nvPr/>
            </p:nvSpPr>
            <p:spPr>
              <a:xfrm>
                <a:off x="6191625" y="1599725"/>
                <a:ext cx="118078" cy="49898"/>
              </a:xfrm>
              <a:custGeom>
                <a:avLst/>
                <a:gdLst>
                  <a:gd name="connsiteX0" fmla="*/ 0 w 118078"/>
                  <a:gd name="connsiteY0" fmla="*/ 0 h 49898"/>
                  <a:gd name="connsiteX1" fmla="*/ 37343 w 118078"/>
                  <a:gd name="connsiteY1" fmla="*/ 0 h 49898"/>
                  <a:gd name="connsiteX2" fmla="*/ 87176 w 118078"/>
                  <a:gd name="connsiteY2" fmla="*/ 49899 h 49898"/>
                  <a:gd name="connsiteX3" fmla="*/ 118078 w 118078"/>
                  <a:gd name="connsiteY3" fmla="*/ 49899 h 49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8078" h="49898">
                    <a:moveTo>
                      <a:pt x="0" y="0"/>
                    </a:moveTo>
                    <a:lnTo>
                      <a:pt x="37343" y="0"/>
                    </a:lnTo>
                    <a:lnTo>
                      <a:pt x="87176" y="49899"/>
                    </a:lnTo>
                    <a:lnTo>
                      <a:pt x="118078" y="49899"/>
                    </a:lnTo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2" name="Forma livre: Forma 51">
                <a:extLst>
                  <a:ext uri="{FF2B5EF4-FFF2-40B4-BE49-F238E27FC236}">
                    <a16:creationId xmlns:a16="http://schemas.microsoft.com/office/drawing/2014/main" id="{BD0C198F-564C-C4F3-0956-D9BD1E256D4D}"/>
                  </a:ext>
                </a:extLst>
              </p:cNvPr>
              <p:cNvSpPr/>
              <p:nvPr/>
            </p:nvSpPr>
            <p:spPr>
              <a:xfrm>
                <a:off x="6191625" y="1665367"/>
                <a:ext cx="81906" cy="44108"/>
              </a:xfrm>
              <a:custGeom>
                <a:avLst/>
                <a:gdLst>
                  <a:gd name="connsiteX0" fmla="*/ 0 w 81906"/>
                  <a:gd name="connsiteY0" fmla="*/ 0 h 44108"/>
                  <a:gd name="connsiteX1" fmla="*/ 37343 w 81906"/>
                  <a:gd name="connsiteY1" fmla="*/ 0 h 44108"/>
                  <a:gd name="connsiteX2" fmla="*/ 81907 w 81906"/>
                  <a:gd name="connsiteY2" fmla="*/ 44109 h 441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1906" h="44108">
                    <a:moveTo>
                      <a:pt x="0" y="0"/>
                    </a:moveTo>
                    <a:lnTo>
                      <a:pt x="37343" y="0"/>
                    </a:lnTo>
                    <a:lnTo>
                      <a:pt x="81907" y="44109"/>
                    </a:lnTo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3" name="Forma livre: Forma 52">
                <a:extLst>
                  <a:ext uri="{FF2B5EF4-FFF2-40B4-BE49-F238E27FC236}">
                    <a16:creationId xmlns:a16="http://schemas.microsoft.com/office/drawing/2014/main" id="{A7E60615-7AEA-EC1C-A1BC-B9CBA59CC378}"/>
                  </a:ext>
                </a:extLst>
              </p:cNvPr>
              <p:cNvSpPr/>
              <p:nvPr/>
            </p:nvSpPr>
            <p:spPr>
              <a:xfrm>
                <a:off x="6265075" y="1701539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41" name="Gráfico 32">
              <a:extLst>
                <a:ext uri="{FF2B5EF4-FFF2-40B4-BE49-F238E27FC236}">
                  <a16:creationId xmlns:a16="http://schemas.microsoft.com/office/drawing/2014/main" id="{0FE384FA-9630-25C4-D28B-34818D1E5836}"/>
                </a:ext>
              </a:extLst>
            </p:cNvPr>
            <p:cNvGrpSpPr/>
            <p:nvPr/>
          </p:nvGrpSpPr>
          <p:grpSpPr>
            <a:xfrm>
              <a:off x="6191625" y="1357908"/>
              <a:ext cx="173767" cy="157112"/>
              <a:chOff x="6191625" y="1357908"/>
              <a:chExt cx="173767" cy="157112"/>
            </a:xfrm>
            <a:noFill/>
          </p:grpSpPr>
          <p:sp>
            <p:nvSpPr>
              <p:cNvPr id="46" name="Forma livre: Forma 45">
                <a:extLst>
                  <a:ext uri="{FF2B5EF4-FFF2-40B4-BE49-F238E27FC236}">
                    <a16:creationId xmlns:a16="http://schemas.microsoft.com/office/drawing/2014/main" id="{0FFD7211-4FB2-E947-1EA1-EDF6C1B9B374}"/>
                  </a:ext>
                </a:extLst>
              </p:cNvPr>
              <p:cNvSpPr/>
              <p:nvPr/>
            </p:nvSpPr>
            <p:spPr>
              <a:xfrm>
                <a:off x="6310094" y="1437472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0 h 55298"/>
                  <a:gd name="connsiteX2" fmla="*/ 0 w 55298"/>
                  <a:gd name="connsiteY2" fmla="*/ 27649 h 55298"/>
                  <a:gd name="connsiteX3" fmla="*/ 27649 w 55298"/>
                  <a:gd name="connsiteY3" fmla="*/ 55298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12361"/>
                      <a:pt x="42938" y="0"/>
                      <a:pt x="27649" y="0"/>
                    </a:cubicBezTo>
                    <a:cubicBezTo>
                      <a:pt x="12361" y="0"/>
                      <a:pt x="0" y="12361"/>
                      <a:pt x="0" y="27649"/>
                    </a:cubicBezTo>
                    <a:cubicBezTo>
                      <a:pt x="0" y="42938"/>
                      <a:pt x="12361" y="55298"/>
                      <a:pt x="27649" y="55298"/>
                    </a:cubicBezTo>
                    <a:cubicBezTo>
                      <a:pt x="42938" y="55298"/>
                      <a:pt x="55298" y="42938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7" name="Forma livre: Forma 46">
                <a:extLst>
                  <a:ext uri="{FF2B5EF4-FFF2-40B4-BE49-F238E27FC236}">
                    <a16:creationId xmlns:a16="http://schemas.microsoft.com/office/drawing/2014/main" id="{B0F18D52-7979-1962-A3D6-E694CE613B9A}"/>
                  </a:ext>
                </a:extLst>
              </p:cNvPr>
              <p:cNvSpPr/>
              <p:nvPr/>
            </p:nvSpPr>
            <p:spPr>
              <a:xfrm>
                <a:off x="6191625" y="1465122"/>
                <a:ext cx="118468" cy="49898"/>
              </a:xfrm>
              <a:custGeom>
                <a:avLst/>
                <a:gdLst>
                  <a:gd name="connsiteX0" fmla="*/ 0 w 118468"/>
                  <a:gd name="connsiteY0" fmla="*/ 49899 h 49898"/>
                  <a:gd name="connsiteX1" fmla="*/ 37343 w 118468"/>
                  <a:gd name="connsiteY1" fmla="*/ 49899 h 49898"/>
                  <a:gd name="connsiteX2" fmla="*/ 87176 w 118468"/>
                  <a:gd name="connsiteY2" fmla="*/ 0 h 49898"/>
                  <a:gd name="connsiteX3" fmla="*/ 118469 w 118468"/>
                  <a:gd name="connsiteY3" fmla="*/ 0 h 49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8468" h="49898">
                    <a:moveTo>
                      <a:pt x="0" y="49899"/>
                    </a:moveTo>
                    <a:lnTo>
                      <a:pt x="37343" y="49899"/>
                    </a:lnTo>
                    <a:lnTo>
                      <a:pt x="87176" y="0"/>
                    </a:lnTo>
                    <a:lnTo>
                      <a:pt x="118469" y="0"/>
                    </a:lnTo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8" name="Forma livre: Forma 47">
                <a:extLst>
                  <a:ext uri="{FF2B5EF4-FFF2-40B4-BE49-F238E27FC236}">
                    <a16:creationId xmlns:a16="http://schemas.microsoft.com/office/drawing/2014/main" id="{84A2EDDC-1E05-8DFE-303B-14E3B5475FAF}"/>
                  </a:ext>
                </a:extLst>
              </p:cNvPr>
              <p:cNvSpPr/>
              <p:nvPr/>
            </p:nvSpPr>
            <p:spPr>
              <a:xfrm>
                <a:off x="6191625" y="1405269"/>
                <a:ext cx="81451" cy="44043"/>
              </a:xfrm>
              <a:custGeom>
                <a:avLst/>
                <a:gdLst>
                  <a:gd name="connsiteX0" fmla="*/ 0 w 81451"/>
                  <a:gd name="connsiteY0" fmla="*/ 44044 h 44043"/>
                  <a:gd name="connsiteX1" fmla="*/ 37343 w 81451"/>
                  <a:gd name="connsiteY1" fmla="*/ 44044 h 44043"/>
                  <a:gd name="connsiteX2" fmla="*/ 81451 w 81451"/>
                  <a:gd name="connsiteY2" fmla="*/ 0 h 440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1451" h="44043">
                    <a:moveTo>
                      <a:pt x="0" y="44044"/>
                    </a:moveTo>
                    <a:lnTo>
                      <a:pt x="37343" y="44044"/>
                    </a:lnTo>
                    <a:lnTo>
                      <a:pt x="81451" y="0"/>
                    </a:lnTo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9" name="Forma livre: Forma 48">
                <a:extLst>
                  <a:ext uri="{FF2B5EF4-FFF2-40B4-BE49-F238E27FC236}">
                    <a16:creationId xmlns:a16="http://schemas.microsoft.com/office/drawing/2014/main" id="{9F4D0A47-5F11-2194-3825-75B7F3310E46}"/>
                  </a:ext>
                </a:extLst>
              </p:cNvPr>
              <p:cNvSpPr/>
              <p:nvPr/>
            </p:nvSpPr>
            <p:spPr>
              <a:xfrm>
                <a:off x="6265075" y="1357908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0 h 55298"/>
                  <a:gd name="connsiteX2" fmla="*/ 0 w 55298"/>
                  <a:gd name="connsiteY2" fmla="*/ 27649 h 55298"/>
                  <a:gd name="connsiteX3" fmla="*/ 27649 w 55298"/>
                  <a:gd name="connsiteY3" fmla="*/ 55298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12361"/>
                      <a:pt x="42938" y="0"/>
                      <a:pt x="27649" y="0"/>
                    </a:cubicBezTo>
                    <a:cubicBezTo>
                      <a:pt x="12361" y="0"/>
                      <a:pt x="0" y="12361"/>
                      <a:pt x="0" y="27649"/>
                    </a:cubicBezTo>
                    <a:cubicBezTo>
                      <a:pt x="0" y="42938"/>
                      <a:pt x="12361" y="55298"/>
                      <a:pt x="27649" y="55298"/>
                    </a:cubicBezTo>
                    <a:cubicBezTo>
                      <a:pt x="42938" y="55298"/>
                      <a:pt x="55298" y="42938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42" name="Gráfico 32">
              <a:extLst>
                <a:ext uri="{FF2B5EF4-FFF2-40B4-BE49-F238E27FC236}">
                  <a16:creationId xmlns:a16="http://schemas.microsoft.com/office/drawing/2014/main" id="{E292C87A-391F-BC5A-4EEA-BF7B477367F7}"/>
                </a:ext>
              </a:extLst>
            </p:cNvPr>
            <p:cNvGrpSpPr/>
            <p:nvPr/>
          </p:nvGrpSpPr>
          <p:grpSpPr>
            <a:xfrm>
              <a:off x="6190910" y="1529723"/>
              <a:ext cx="123673" cy="55298"/>
              <a:chOff x="6190910" y="1529723"/>
              <a:chExt cx="123673" cy="55298"/>
            </a:xfrm>
            <a:noFill/>
          </p:grpSpPr>
          <p:sp>
            <p:nvSpPr>
              <p:cNvPr id="44" name="Forma livre: Forma 43">
                <a:extLst>
                  <a:ext uri="{FF2B5EF4-FFF2-40B4-BE49-F238E27FC236}">
                    <a16:creationId xmlns:a16="http://schemas.microsoft.com/office/drawing/2014/main" id="{38EAD126-D791-6D65-305E-5B6739AA0991}"/>
                  </a:ext>
                </a:extLst>
              </p:cNvPr>
              <p:cNvSpPr/>
              <p:nvPr/>
            </p:nvSpPr>
            <p:spPr>
              <a:xfrm>
                <a:off x="6190910" y="1557372"/>
                <a:ext cx="68765" cy="6505"/>
              </a:xfrm>
              <a:custGeom>
                <a:avLst/>
                <a:gdLst>
                  <a:gd name="connsiteX0" fmla="*/ 0 w 68765"/>
                  <a:gd name="connsiteY0" fmla="*/ 0 h 6505"/>
                  <a:gd name="connsiteX1" fmla="*/ 68765 w 68765"/>
                  <a:gd name="connsiteY1" fmla="*/ 0 h 65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8765" h="6505">
                    <a:moveTo>
                      <a:pt x="0" y="0"/>
                    </a:moveTo>
                    <a:lnTo>
                      <a:pt x="68765" y="0"/>
                    </a:lnTo>
                  </a:path>
                </a:pathLst>
              </a:custGeom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5" name="Forma livre: Forma 44">
                <a:extLst>
                  <a:ext uri="{FF2B5EF4-FFF2-40B4-BE49-F238E27FC236}">
                    <a16:creationId xmlns:a16="http://schemas.microsoft.com/office/drawing/2014/main" id="{B45DD86E-DD8B-41EB-527B-F26E633C98A5}"/>
                  </a:ext>
                </a:extLst>
              </p:cNvPr>
              <p:cNvSpPr/>
              <p:nvPr/>
            </p:nvSpPr>
            <p:spPr>
              <a:xfrm>
                <a:off x="6259285" y="1529723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43" name="Forma livre: Forma 42">
              <a:extLst>
                <a:ext uri="{FF2B5EF4-FFF2-40B4-BE49-F238E27FC236}">
                  <a16:creationId xmlns:a16="http://schemas.microsoft.com/office/drawing/2014/main" id="{EC9BDFE4-8167-D7FA-6F41-41F5D870511D}"/>
                </a:ext>
              </a:extLst>
            </p:cNvPr>
            <p:cNvSpPr/>
            <p:nvPr/>
          </p:nvSpPr>
          <p:spPr>
            <a:xfrm>
              <a:off x="6152201" y="1686285"/>
              <a:ext cx="37362" cy="20848"/>
            </a:xfrm>
            <a:custGeom>
              <a:avLst/>
              <a:gdLst>
                <a:gd name="connsiteX0" fmla="*/ 0 w 37362"/>
                <a:gd name="connsiteY0" fmla="*/ 10505 h 20848"/>
                <a:gd name="connsiteX1" fmla="*/ 27064 w 37362"/>
                <a:gd name="connsiteY1" fmla="*/ 2373 h 20848"/>
                <a:gd name="connsiteX2" fmla="*/ 37343 w 37362"/>
                <a:gd name="connsiteY2" fmla="*/ 20849 h 20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7362" h="20848">
                  <a:moveTo>
                    <a:pt x="0" y="10505"/>
                  </a:moveTo>
                  <a:cubicBezTo>
                    <a:pt x="5205" y="811"/>
                    <a:pt x="17435" y="-2832"/>
                    <a:pt x="27064" y="2373"/>
                  </a:cubicBezTo>
                  <a:cubicBezTo>
                    <a:pt x="34025" y="6081"/>
                    <a:pt x="37668" y="13432"/>
                    <a:pt x="37343" y="20849"/>
                  </a:cubicBezTo>
                </a:path>
              </a:pathLst>
            </a:custGeom>
            <a:noFill/>
            <a:ln w="19050" cap="sq">
              <a:solidFill>
                <a:srgbClr val="00FF94"/>
              </a:solidFill>
              <a:prstDash val="solid"/>
              <a:miter lim="800000"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60" name="Agrupar 59">
            <a:extLst>
              <a:ext uri="{FF2B5EF4-FFF2-40B4-BE49-F238E27FC236}">
                <a16:creationId xmlns:a16="http://schemas.microsoft.com/office/drawing/2014/main" id="{27DA174F-3566-3D80-3A37-CCFA1B3197FE}"/>
              </a:ext>
            </a:extLst>
          </p:cNvPr>
          <p:cNvGrpSpPr/>
          <p:nvPr/>
        </p:nvGrpSpPr>
        <p:grpSpPr>
          <a:xfrm>
            <a:off x="803050" y="4273639"/>
            <a:ext cx="459831" cy="502163"/>
            <a:chOff x="6000092" y="1357908"/>
            <a:chExt cx="365300" cy="398929"/>
          </a:xfrm>
        </p:grpSpPr>
        <p:sp>
          <p:nvSpPr>
            <p:cNvPr id="61" name="Forma livre: Forma 60">
              <a:extLst>
                <a:ext uri="{FF2B5EF4-FFF2-40B4-BE49-F238E27FC236}">
                  <a16:creationId xmlns:a16="http://schemas.microsoft.com/office/drawing/2014/main" id="{E038EEC1-1E25-FD34-F91C-BE86AFD4D35D}"/>
                </a:ext>
              </a:extLst>
            </p:cNvPr>
            <p:cNvSpPr/>
            <p:nvPr/>
          </p:nvSpPr>
          <p:spPr>
            <a:xfrm>
              <a:off x="6000092" y="1418606"/>
              <a:ext cx="84058" cy="286120"/>
            </a:xfrm>
            <a:custGeom>
              <a:avLst/>
              <a:gdLst>
                <a:gd name="connsiteX0" fmla="*/ 51595 w 84058"/>
                <a:gd name="connsiteY0" fmla="*/ 0 h 286120"/>
                <a:gd name="connsiteX1" fmla="*/ 35266 w 84058"/>
                <a:gd name="connsiteY1" fmla="*/ 61674 h 286120"/>
                <a:gd name="connsiteX2" fmla="*/ 28760 w 84058"/>
                <a:gd name="connsiteY2" fmla="*/ 193415 h 286120"/>
                <a:gd name="connsiteX3" fmla="*/ 84059 w 84058"/>
                <a:gd name="connsiteY3" fmla="*/ 286121 h 2861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4058" h="286120">
                  <a:moveTo>
                    <a:pt x="51595" y="0"/>
                  </a:moveTo>
                  <a:cubicBezTo>
                    <a:pt x="37868" y="7872"/>
                    <a:pt x="26028" y="24852"/>
                    <a:pt x="35266" y="61674"/>
                  </a:cubicBezTo>
                  <a:cubicBezTo>
                    <a:pt x="35266" y="61674"/>
                    <a:pt x="-39549" y="126731"/>
                    <a:pt x="28760" y="193415"/>
                  </a:cubicBezTo>
                  <a:cubicBezTo>
                    <a:pt x="28760" y="193415"/>
                    <a:pt x="9243" y="281242"/>
                    <a:pt x="84059" y="286121"/>
                  </a:cubicBezTo>
                </a:path>
              </a:pathLst>
            </a:custGeom>
            <a:noFill/>
            <a:ln w="19050" cap="sq">
              <a:solidFill>
                <a:srgbClr val="00FF94"/>
              </a:solidFill>
              <a:prstDash val="solid"/>
              <a:miter lim="800000"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62" name="Gráfico 32">
              <a:extLst>
                <a:ext uri="{FF2B5EF4-FFF2-40B4-BE49-F238E27FC236}">
                  <a16:creationId xmlns:a16="http://schemas.microsoft.com/office/drawing/2014/main" id="{08A3CA3B-1E64-6B2F-A091-D3F93E0B81E0}"/>
                </a:ext>
              </a:extLst>
            </p:cNvPr>
            <p:cNvGrpSpPr/>
            <p:nvPr/>
          </p:nvGrpSpPr>
          <p:grpSpPr>
            <a:xfrm>
              <a:off x="6061121" y="1359924"/>
              <a:ext cx="128487" cy="396366"/>
              <a:chOff x="6061121" y="1359924"/>
              <a:chExt cx="128487" cy="396366"/>
            </a:xfrm>
            <a:noFill/>
          </p:grpSpPr>
          <p:sp>
            <p:nvSpPr>
              <p:cNvPr id="77" name="Forma livre: Forma 76">
                <a:extLst>
                  <a:ext uri="{FF2B5EF4-FFF2-40B4-BE49-F238E27FC236}">
                    <a16:creationId xmlns:a16="http://schemas.microsoft.com/office/drawing/2014/main" id="{410A7F95-53F4-7254-A682-4B1A908E9D95}"/>
                  </a:ext>
                </a:extLst>
              </p:cNvPr>
              <p:cNvSpPr/>
              <p:nvPr/>
            </p:nvSpPr>
            <p:spPr>
              <a:xfrm>
                <a:off x="6083891" y="1359924"/>
                <a:ext cx="105717" cy="396366"/>
              </a:xfrm>
              <a:custGeom>
                <a:avLst/>
                <a:gdLst>
                  <a:gd name="connsiteX0" fmla="*/ 52891 w 105717"/>
                  <a:gd name="connsiteY0" fmla="*/ 105718 h 396366"/>
                  <a:gd name="connsiteX1" fmla="*/ 0 w 105717"/>
                  <a:gd name="connsiteY1" fmla="*/ 52891 h 396366"/>
                  <a:gd name="connsiteX2" fmla="*/ 52891 w 105717"/>
                  <a:gd name="connsiteY2" fmla="*/ 0 h 396366"/>
                  <a:gd name="connsiteX3" fmla="*/ 105718 w 105717"/>
                  <a:gd name="connsiteY3" fmla="*/ 52826 h 396366"/>
                  <a:gd name="connsiteX4" fmla="*/ 105718 w 105717"/>
                  <a:gd name="connsiteY4" fmla="*/ 346884 h 396366"/>
                  <a:gd name="connsiteX5" fmla="*/ 80606 w 105717"/>
                  <a:gd name="connsiteY5" fmla="*/ 388911 h 396366"/>
                  <a:gd name="connsiteX6" fmla="*/ 9238 w 105717"/>
                  <a:gd name="connsiteY6" fmla="*/ 371150 h 396366"/>
                  <a:gd name="connsiteX7" fmla="*/ 15484 w 105717"/>
                  <a:gd name="connsiteY7" fmla="*/ 309216 h 396366"/>
                  <a:gd name="connsiteX8" fmla="*/ 45019 w 105717"/>
                  <a:gd name="connsiteY8" fmla="*/ 277078 h 3963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05717" h="396366">
                    <a:moveTo>
                      <a:pt x="52891" y="105718"/>
                    </a:moveTo>
                    <a:cubicBezTo>
                      <a:pt x="23681" y="105718"/>
                      <a:pt x="0" y="82037"/>
                      <a:pt x="0" y="52891"/>
                    </a:cubicBezTo>
                    <a:cubicBezTo>
                      <a:pt x="0" y="23746"/>
                      <a:pt x="23681" y="0"/>
                      <a:pt x="52891" y="0"/>
                    </a:cubicBezTo>
                    <a:cubicBezTo>
                      <a:pt x="82102" y="0"/>
                      <a:pt x="105718" y="23681"/>
                      <a:pt x="105718" y="52826"/>
                    </a:cubicBezTo>
                    <a:lnTo>
                      <a:pt x="105718" y="346884"/>
                    </a:lnTo>
                    <a:cubicBezTo>
                      <a:pt x="105718" y="364580"/>
                      <a:pt x="96414" y="379413"/>
                      <a:pt x="80606" y="388911"/>
                    </a:cubicBezTo>
                    <a:cubicBezTo>
                      <a:pt x="55949" y="403744"/>
                      <a:pt x="24006" y="395742"/>
                      <a:pt x="9238" y="371150"/>
                    </a:cubicBezTo>
                    <a:cubicBezTo>
                      <a:pt x="-2928" y="350918"/>
                      <a:pt x="260" y="325741"/>
                      <a:pt x="15484" y="309216"/>
                    </a:cubicBezTo>
                    <a:lnTo>
                      <a:pt x="45019" y="277078"/>
                    </a:lnTo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8" name="Forma livre: Forma 77">
                <a:extLst>
                  <a:ext uri="{FF2B5EF4-FFF2-40B4-BE49-F238E27FC236}">
                    <a16:creationId xmlns:a16="http://schemas.microsoft.com/office/drawing/2014/main" id="{BE7059DA-AFE6-A98C-28A4-4208468D2957}"/>
                  </a:ext>
                </a:extLst>
              </p:cNvPr>
              <p:cNvSpPr/>
              <p:nvPr/>
            </p:nvSpPr>
            <p:spPr>
              <a:xfrm>
                <a:off x="6144784" y="1383865"/>
                <a:ext cx="41563" cy="38963"/>
              </a:xfrm>
              <a:custGeom>
                <a:avLst/>
                <a:gdLst>
                  <a:gd name="connsiteX0" fmla="*/ 36172 w 41563"/>
                  <a:gd name="connsiteY0" fmla="*/ 0 h 38963"/>
                  <a:gd name="connsiteX1" fmla="*/ 39425 w 41563"/>
                  <a:gd name="connsiteY1" fmla="*/ 24266 h 38963"/>
                  <a:gd name="connsiteX2" fmla="*/ 36432 w 41563"/>
                  <a:gd name="connsiteY2" fmla="*/ 29080 h 38963"/>
                  <a:gd name="connsiteX3" fmla="*/ 0 w 41563"/>
                  <a:gd name="connsiteY3" fmla="*/ 33439 h 389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563" h="38963">
                    <a:moveTo>
                      <a:pt x="36172" y="0"/>
                    </a:moveTo>
                    <a:cubicBezTo>
                      <a:pt x="41571" y="7547"/>
                      <a:pt x="43393" y="16004"/>
                      <a:pt x="39425" y="24266"/>
                    </a:cubicBezTo>
                    <a:cubicBezTo>
                      <a:pt x="38644" y="25893"/>
                      <a:pt x="37603" y="27519"/>
                      <a:pt x="36432" y="29080"/>
                    </a:cubicBezTo>
                    <a:cubicBezTo>
                      <a:pt x="27584" y="40270"/>
                      <a:pt x="11190" y="42287"/>
                      <a:pt x="0" y="33439"/>
                    </a:cubicBezTo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9" name="Forma livre: Forma 78">
                <a:extLst>
                  <a:ext uri="{FF2B5EF4-FFF2-40B4-BE49-F238E27FC236}">
                    <a16:creationId xmlns:a16="http://schemas.microsoft.com/office/drawing/2014/main" id="{17DF72A1-909B-EF52-065E-83A11C0988D5}"/>
                  </a:ext>
                </a:extLst>
              </p:cNvPr>
              <p:cNvSpPr/>
              <p:nvPr/>
            </p:nvSpPr>
            <p:spPr>
              <a:xfrm>
                <a:off x="6081487" y="1460806"/>
                <a:ext cx="34217" cy="54474"/>
              </a:xfrm>
              <a:custGeom>
                <a:avLst/>
                <a:gdLst>
                  <a:gd name="connsiteX0" fmla="*/ 21076 w 34217"/>
                  <a:gd name="connsiteY0" fmla="*/ 54475 h 54474"/>
                  <a:gd name="connsiteX1" fmla="*/ 778 w 34217"/>
                  <a:gd name="connsiteY1" fmla="*/ 21035 h 54474"/>
                  <a:gd name="connsiteX2" fmla="*/ 34217 w 34217"/>
                  <a:gd name="connsiteY2" fmla="*/ 803 h 544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4217" h="54474">
                    <a:moveTo>
                      <a:pt x="21076" y="54475"/>
                    </a:moveTo>
                    <a:cubicBezTo>
                      <a:pt x="6308" y="50832"/>
                      <a:pt x="-2800" y="35803"/>
                      <a:pt x="778" y="21035"/>
                    </a:cubicBezTo>
                    <a:cubicBezTo>
                      <a:pt x="4421" y="6267"/>
                      <a:pt x="19449" y="-2841"/>
                      <a:pt x="34217" y="803"/>
                    </a:cubicBezTo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80" name="Forma livre: Forma 79">
                <a:extLst>
                  <a:ext uri="{FF2B5EF4-FFF2-40B4-BE49-F238E27FC236}">
                    <a16:creationId xmlns:a16="http://schemas.microsoft.com/office/drawing/2014/main" id="{5BBC384B-52D5-C19F-11BB-F231E0117ECF}"/>
                  </a:ext>
                </a:extLst>
              </p:cNvPr>
              <p:cNvSpPr/>
              <p:nvPr/>
            </p:nvSpPr>
            <p:spPr>
              <a:xfrm>
                <a:off x="6073547" y="1527543"/>
                <a:ext cx="114760" cy="72506"/>
              </a:xfrm>
              <a:custGeom>
                <a:avLst/>
                <a:gdLst>
                  <a:gd name="connsiteX0" fmla="*/ 114760 w 114760"/>
                  <a:gd name="connsiteY0" fmla="*/ 7254 h 72506"/>
                  <a:gd name="connsiteX1" fmla="*/ 73905 w 114760"/>
                  <a:gd name="connsiteY1" fmla="*/ 8881 h 72506"/>
                  <a:gd name="connsiteX2" fmla="*/ 0 w 114760"/>
                  <a:gd name="connsiteY2" fmla="*/ 72506 h 725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14760" h="72506">
                    <a:moveTo>
                      <a:pt x="114760" y="7254"/>
                    </a:moveTo>
                    <a:cubicBezTo>
                      <a:pt x="103375" y="-2830"/>
                      <a:pt x="83989" y="-2504"/>
                      <a:pt x="73905" y="8881"/>
                    </a:cubicBezTo>
                    <a:cubicBezTo>
                      <a:pt x="73905" y="8881"/>
                      <a:pt x="31488" y="72506"/>
                      <a:pt x="0" y="72506"/>
                    </a:cubicBezTo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81" name="Forma livre: Forma 80">
                <a:extLst>
                  <a:ext uri="{FF2B5EF4-FFF2-40B4-BE49-F238E27FC236}">
                    <a16:creationId xmlns:a16="http://schemas.microsoft.com/office/drawing/2014/main" id="{D1A2D849-3EFE-35A0-F8AF-748978F591C8}"/>
                  </a:ext>
                </a:extLst>
              </p:cNvPr>
              <p:cNvSpPr/>
              <p:nvPr/>
            </p:nvSpPr>
            <p:spPr>
              <a:xfrm>
                <a:off x="6079857" y="1646956"/>
                <a:ext cx="29405" cy="9823"/>
              </a:xfrm>
              <a:custGeom>
                <a:avLst/>
                <a:gdLst>
                  <a:gd name="connsiteX0" fmla="*/ 0 w 29405"/>
                  <a:gd name="connsiteY0" fmla="*/ 0 h 9823"/>
                  <a:gd name="connsiteX1" fmla="*/ 29406 w 29405"/>
                  <a:gd name="connsiteY1" fmla="*/ 9824 h 98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9405" h="9823">
                    <a:moveTo>
                      <a:pt x="0" y="0"/>
                    </a:moveTo>
                    <a:lnTo>
                      <a:pt x="29406" y="9824"/>
                    </a:lnTo>
                  </a:path>
                </a:pathLst>
              </a:custGeom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82" name="Forma livre: Forma 81">
                <a:extLst>
                  <a:ext uri="{FF2B5EF4-FFF2-40B4-BE49-F238E27FC236}">
                    <a16:creationId xmlns:a16="http://schemas.microsoft.com/office/drawing/2014/main" id="{8182C14F-5137-8174-B87B-EBB804B0E6F4}"/>
                  </a:ext>
                </a:extLst>
              </p:cNvPr>
              <p:cNvSpPr/>
              <p:nvPr/>
            </p:nvSpPr>
            <p:spPr>
              <a:xfrm>
                <a:off x="6061121" y="1545272"/>
                <a:ext cx="47166" cy="34154"/>
              </a:xfrm>
              <a:custGeom>
                <a:avLst/>
                <a:gdLst>
                  <a:gd name="connsiteX0" fmla="*/ 0 w 47166"/>
                  <a:gd name="connsiteY0" fmla="*/ 0 h 34154"/>
                  <a:gd name="connsiteX1" fmla="*/ 47166 w 47166"/>
                  <a:gd name="connsiteY1" fmla="*/ 34155 h 341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166" h="34154">
                    <a:moveTo>
                      <a:pt x="0" y="0"/>
                    </a:moveTo>
                    <a:cubicBezTo>
                      <a:pt x="0" y="0"/>
                      <a:pt x="27649" y="13011"/>
                      <a:pt x="47166" y="34155"/>
                    </a:cubicBezTo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63" name="Gráfico 32">
              <a:extLst>
                <a:ext uri="{FF2B5EF4-FFF2-40B4-BE49-F238E27FC236}">
                  <a16:creationId xmlns:a16="http://schemas.microsoft.com/office/drawing/2014/main" id="{ADAF0F4C-5320-24E7-9394-333B1C627B30}"/>
                </a:ext>
              </a:extLst>
            </p:cNvPr>
            <p:cNvGrpSpPr/>
            <p:nvPr/>
          </p:nvGrpSpPr>
          <p:grpSpPr>
            <a:xfrm>
              <a:off x="6191625" y="1599725"/>
              <a:ext cx="173767" cy="157112"/>
              <a:chOff x="6191625" y="1599725"/>
              <a:chExt cx="173767" cy="157112"/>
            </a:xfrm>
            <a:noFill/>
          </p:grpSpPr>
          <p:sp>
            <p:nvSpPr>
              <p:cNvPr id="73" name="Forma livre: Forma 72">
                <a:extLst>
                  <a:ext uri="{FF2B5EF4-FFF2-40B4-BE49-F238E27FC236}">
                    <a16:creationId xmlns:a16="http://schemas.microsoft.com/office/drawing/2014/main" id="{DE9FCDA1-4EEF-916F-D88A-D09E40D55CB7}"/>
                  </a:ext>
                </a:extLst>
              </p:cNvPr>
              <p:cNvSpPr/>
              <p:nvPr/>
            </p:nvSpPr>
            <p:spPr>
              <a:xfrm>
                <a:off x="6310094" y="1621974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4" name="Forma livre: Forma 73">
                <a:extLst>
                  <a:ext uri="{FF2B5EF4-FFF2-40B4-BE49-F238E27FC236}">
                    <a16:creationId xmlns:a16="http://schemas.microsoft.com/office/drawing/2014/main" id="{165FDC5F-478C-04DB-CE99-E98695E285D4}"/>
                  </a:ext>
                </a:extLst>
              </p:cNvPr>
              <p:cNvSpPr/>
              <p:nvPr/>
            </p:nvSpPr>
            <p:spPr>
              <a:xfrm>
                <a:off x="6191625" y="1599725"/>
                <a:ext cx="118078" cy="49898"/>
              </a:xfrm>
              <a:custGeom>
                <a:avLst/>
                <a:gdLst>
                  <a:gd name="connsiteX0" fmla="*/ 0 w 118078"/>
                  <a:gd name="connsiteY0" fmla="*/ 0 h 49898"/>
                  <a:gd name="connsiteX1" fmla="*/ 37343 w 118078"/>
                  <a:gd name="connsiteY1" fmla="*/ 0 h 49898"/>
                  <a:gd name="connsiteX2" fmla="*/ 87176 w 118078"/>
                  <a:gd name="connsiteY2" fmla="*/ 49899 h 49898"/>
                  <a:gd name="connsiteX3" fmla="*/ 118078 w 118078"/>
                  <a:gd name="connsiteY3" fmla="*/ 49899 h 49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8078" h="49898">
                    <a:moveTo>
                      <a:pt x="0" y="0"/>
                    </a:moveTo>
                    <a:lnTo>
                      <a:pt x="37343" y="0"/>
                    </a:lnTo>
                    <a:lnTo>
                      <a:pt x="87176" y="49899"/>
                    </a:lnTo>
                    <a:lnTo>
                      <a:pt x="118078" y="49899"/>
                    </a:lnTo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5" name="Forma livre: Forma 74">
                <a:extLst>
                  <a:ext uri="{FF2B5EF4-FFF2-40B4-BE49-F238E27FC236}">
                    <a16:creationId xmlns:a16="http://schemas.microsoft.com/office/drawing/2014/main" id="{5DCCAD2C-B4EE-A63E-93C3-6E8A1CF53CCC}"/>
                  </a:ext>
                </a:extLst>
              </p:cNvPr>
              <p:cNvSpPr/>
              <p:nvPr/>
            </p:nvSpPr>
            <p:spPr>
              <a:xfrm>
                <a:off x="6191625" y="1665367"/>
                <a:ext cx="81906" cy="44108"/>
              </a:xfrm>
              <a:custGeom>
                <a:avLst/>
                <a:gdLst>
                  <a:gd name="connsiteX0" fmla="*/ 0 w 81906"/>
                  <a:gd name="connsiteY0" fmla="*/ 0 h 44108"/>
                  <a:gd name="connsiteX1" fmla="*/ 37343 w 81906"/>
                  <a:gd name="connsiteY1" fmla="*/ 0 h 44108"/>
                  <a:gd name="connsiteX2" fmla="*/ 81907 w 81906"/>
                  <a:gd name="connsiteY2" fmla="*/ 44109 h 441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1906" h="44108">
                    <a:moveTo>
                      <a:pt x="0" y="0"/>
                    </a:moveTo>
                    <a:lnTo>
                      <a:pt x="37343" y="0"/>
                    </a:lnTo>
                    <a:lnTo>
                      <a:pt x="81907" y="44109"/>
                    </a:lnTo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6" name="Forma livre: Forma 75">
                <a:extLst>
                  <a:ext uri="{FF2B5EF4-FFF2-40B4-BE49-F238E27FC236}">
                    <a16:creationId xmlns:a16="http://schemas.microsoft.com/office/drawing/2014/main" id="{6931FF7A-109A-E076-08EC-66368AA8C850}"/>
                  </a:ext>
                </a:extLst>
              </p:cNvPr>
              <p:cNvSpPr/>
              <p:nvPr/>
            </p:nvSpPr>
            <p:spPr>
              <a:xfrm>
                <a:off x="6265075" y="1701539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64" name="Gráfico 32">
              <a:extLst>
                <a:ext uri="{FF2B5EF4-FFF2-40B4-BE49-F238E27FC236}">
                  <a16:creationId xmlns:a16="http://schemas.microsoft.com/office/drawing/2014/main" id="{3C1CF028-565C-13B4-ACB3-0B7CC1A457A9}"/>
                </a:ext>
              </a:extLst>
            </p:cNvPr>
            <p:cNvGrpSpPr/>
            <p:nvPr/>
          </p:nvGrpSpPr>
          <p:grpSpPr>
            <a:xfrm>
              <a:off x="6191625" y="1357908"/>
              <a:ext cx="173767" cy="157112"/>
              <a:chOff x="6191625" y="1357908"/>
              <a:chExt cx="173767" cy="157112"/>
            </a:xfrm>
            <a:noFill/>
          </p:grpSpPr>
          <p:sp>
            <p:nvSpPr>
              <p:cNvPr id="69" name="Forma livre: Forma 68">
                <a:extLst>
                  <a:ext uri="{FF2B5EF4-FFF2-40B4-BE49-F238E27FC236}">
                    <a16:creationId xmlns:a16="http://schemas.microsoft.com/office/drawing/2014/main" id="{613960D5-9C19-92DF-31D0-385CF35522BB}"/>
                  </a:ext>
                </a:extLst>
              </p:cNvPr>
              <p:cNvSpPr/>
              <p:nvPr/>
            </p:nvSpPr>
            <p:spPr>
              <a:xfrm>
                <a:off x="6310094" y="1437472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0 h 55298"/>
                  <a:gd name="connsiteX2" fmla="*/ 0 w 55298"/>
                  <a:gd name="connsiteY2" fmla="*/ 27649 h 55298"/>
                  <a:gd name="connsiteX3" fmla="*/ 27649 w 55298"/>
                  <a:gd name="connsiteY3" fmla="*/ 55298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12361"/>
                      <a:pt x="42938" y="0"/>
                      <a:pt x="27649" y="0"/>
                    </a:cubicBezTo>
                    <a:cubicBezTo>
                      <a:pt x="12361" y="0"/>
                      <a:pt x="0" y="12361"/>
                      <a:pt x="0" y="27649"/>
                    </a:cubicBezTo>
                    <a:cubicBezTo>
                      <a:pt x="0" y="42938"/>
                      <a:pt x="12361" y="55298"/>
                      <a:pt x="27649" y="55298"/>
                    </a:cubicBezTo>
                    <a:cubicBezTo>
                      <a:pt x="42938" y="55298"/>
                      <a:pt x="55298" y="42938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0" name="Forma livre: Forma 69">
                <a:extLst>
                  <a:ext uri="{FF2B5EF4-FFF2-40B4-BE49-F238E27FC236}">
                    <a16:creationId xmlns:a16="http://schemas.microsoft.com/office/drawing/2014/main" id="{434A89F9-8C35-791F-D246-1CEEFAD0D792}"/>
                  </a:ext>
                </a:extLst>
              </p:cNvPr>
              <p:cNvSpPr/>
              <p:nvPr/>
            </p:nvSpPr>
            <p:spPr>
              <a:xfrm>
                <a:off x="6191625" y="1465122"/>
                <a:ext cx="118468" cy="49898"/>
              </a:xfrm>
              <a:custGeom>
                <a:avLst/>
                <a:gdLst>
                  <a:gd name="connsiteX0" fmla="*/ 0 w 118468"/>
                  <a:gd name="connsiteY0" fmla="*/ 49899 h 49898"/>
                  <a:gd name="connsiteX1" fmla="*/ 37343 w 118468"/>
                  <a:gd name="connsiteY1" fmla="*/ 49899 h 49898"/>
                  <a:gd name="connsiteX2" fmla="*/ 87176 w 118468"/>
                  <a:gd name="connsiteY2" fmla="*/ 0 h 49898"/>
                  <a:gd name="connsiteX3" fmla="*/ 118469 w 118468"/>
                  <a:gd name="connsiteY3" fmla="*/ 0 h 49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8468" h="49898">
                    <a:moveTo>
                      <a:pt x="0" y="49899"/>
                    </a:moveTo>
                    <a:lnTo>
                      <a:pt x="37343" y="49899"/>
                    </a:lnTo>
                    <a:lnTo>
                      <a:pt x="87176" y="0"/>
                    </a:lnTo>
                    <a:lnTo>
                      <a:pt x="118469" y="0"/>
                    </a:lnTo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1" name="Forma livre: Forma 70">
                <a:extLst>
                  <a:ext uri="{FF2B5EF4-FFF2-40B4-BE49-F238E27FC236}">
                    <a16:creationId xmlns:a16="http://schemas.microsoft.com/office/drawing/2014/main" id="{BB2FE810-3546-317B-14D6-B8E8140133FE}"/>
                  </a:ext>
                </a:extLst>
              </p:cNvPr>
              <p:cNvSpPr/>
              <p:nvPr/>
            </p:nvSpPr>
            <p:spPr>
              <a:xfrm>
                <a:off x="6191625" y="1405269"/>
                <a:ext cx="81451" cy="44043"/>
              </a:xfrm>
              <a:custGeom>
                <a:avLst/>
                <a:gdLst>
                  <a:gd name="connsiteX0" fmla="*/ 0 w 81451"/>
                  <a:gd name="connsiteY0" fmla="*/ 44044 h 44043"/>
                  <a:gd name="connsiteX1" fmla="*/ 37343 w 81451"/>
                  <a:gd name="connsiteY1" fmla="*/ 44044 h 44043"/>
                  <a:gd name="connsiteX2" fmla="*/ 81451 w 81451"/>
                  <a:gd name="connsiteY2" fmla="*/ 0 h 440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1451" h="44043">
                    <a:moveTo>
                      <a:pt x="0" y="44044"/>
                    </a:moveTo>
                    <a:lnTo>
                      <a:pt x="37343" y="44044"/>
                    </a:lnTo>
                    <a:lnTo>
                      <a:pt x="81451" y="0"/>
                    </a:lnTo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2" name="Forma livre: Forma 71">
                <a:extLst>
                  <a:ext uri="{FF2B5EF4-FFF2-40B4-BE49-F238E27FC236}">
                    <a16:creationId xmlns:a16="http://schemas.microsoft.com/office/drawing/2014/main" id="{27643C2E-7451-271F-EEBC-D9A30C133EAD}"/>
                  </a:ext>
                </a:extLst>
              </p:cNvPr>
              <p:cNvSpPr/>
              <p:nvPr/>
            </p:nvSpPr>
            <p:spPr>
              <a:xfrm>
                <a:off x="6265075" y="1357908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0 h 55298"/>
                  <a:gd name="connsiteX2" fmla="*/ 0 w 55298"/>
                  <a:gd name="connsiteY2" fmla="*/ 27649 h 55298"/>
                  <a:gd name="connsiteX3" fmla="*/ 27649 w 55298"/>
                  <a:gd name="connsiteY3" fmla="*/ 55298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12361"/>
                      <a:pt x="42938" y="0"/>
                      <a:pt x="27649" y="0"/>
                    </a:cubicBezTo>
                    <a:cubicBezTo>
                      <a:pt x="12361" y="0"/>
                      <a:pt x="0" y="12361"/>
                      <a:pt x="0" y="27649"/>
                    </a:cubicBezTo>
                    <a:cubicBezTo>
                      <a:pt x="0" y="42938"/>
                      <a:pt x="12361" y="55298"/>
                      <a:pt x="27649" y="55298"/>
                    </a:cubicBezTo>
                    <a:cubicBezTo>
                      <a:pt x="42938" y="55298"/>
                      <a:pt x="55298" y="42938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65" name="Gráfico 32">
              <a:extLst>
                <a:ext uri="{FF2B5EF4-FFF2-40B4-BE49-F238E27FC236}">
                  <a16:creationId xmlns:a16="http://schemas.microsoft.com/office/drawing/2014/main" id="{8D259C6E-B27E-EB56-1860-94FDD3F19454}"/>
                </a:ext>
              </a:extLst>
            </p:cNvPr>
            <p:cNvGrpSpPr/>
            <p:nvPr/>
          </p:nvGrpSpPr>
          <p:grpSpPr>
            <a:xfrm>
              <a:off x="6190910" y="1529723"/>
              <a:ext cx="123673" cy="55298"/>
              <a:chOff x="6190910" y="1529723"/>
              <a:chExt cx="123673" cy="55298"/>
            </a:xfrm>
            <a:noFill/>
          </p:grpSpPr>
          <p:sp>
            <p:nvSpPr>
              <p:cNvPr id="67" name="Forma livre: Forma 66">
                <a:extLst>
                  <a:ext uri="{FF2B5EF4-FFF2-40B4-BE49-F238E27FC236}">
                    <a16:creationId xmlns:a16="http://schemas.microsoft.com/office/drawing/2014/main" id="{77DE6E05-6DFC-1A8F-72EF-9785C7E77154}"/>
                  </a:ext>
                </a:extLst>
              </p:cNvPr>
              <p:cNvSpPr/>
              <p:nvPr/>
            </p:nvSpPr>
            <p:spPr>
              <a:xfrm>
                <a:off x="6190910" y="1557372"/>
                <a:ext cx="68765" cy="6505"/>
              </a:xfrm>
              <a:custGeom>
                <a:avLst/>
                <a:gdLst>
                  <a:gd name="connsiteX0" fmla="*/ 0 w 68765"/>
                  <a:gd name="connsiteY0" fmla="*/ 0 h 6505"/>
                  <a:gd name="connsiteX1" fmla="*/ 68765 w 68765"/>
                  <a:gd name="connsiteY1" fmla="*/ 0 h 65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8765" h="6505">
                    <a:moveTo>
                      <a:pt x="0" y="0"/>
                    </a:moveTo>
                    <a:lnTo>
                      <a:pt x="68765" y="0"/>
                    </a:lnTo>
                  </a:path>
                </a:pathLst>
              </a:custGeom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68" name="Forma livre: Forma 67">
                <a:extLst>
                  <a:ext uri="{FF2B5EF4-FFF2-40B4-BE49-F238E27FC236}">
                    <a16:creationId xmlns:a16="http://schemas.microsoft.com/office/drawing/2014/main" id="{47C4E36F-38D5-3509-6474-D74D44CD051B}"/>
                  </a:ext>
                </a:extLst>
              </p:cNvPr>
              <p:cNvSpPr/>
              <p:nvPr/>
            </p:nvSpPr>
            <p:spPr>
              <a:xfrm>
                <a:off x="6259285" y="1529723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66" name="Forma livre: Forma 65">
              <a:extLst>
                <a:ext uri="{FF2B5EF4-FFF2-40B4-BE49-F238E27FC236}">
                  <a16:creationId xmlns:a16="http://schemas.microsoft.com/office/drawing/2014/main" id="{FE06C9E5-228C-C69B-0377-4D61C2F966ED}"/>
                </a:ext>
              </a:extLst>
            </p:cNvPr>
            <p:cNvSpPr/>
            <p:nvPr/>
          </p:nvSpPr>
          <p:spPr>
            <a:xfrm>
              <a:off x="6152201" y="1686285"/>
              <a:ext cx="37362" cy="20848"/>
            </a:xfrm>
            <a:custGeom>
              <a:avLst/>
              <a:gdLst>
                <a:gd name="connsiteX0" fmla="*/ 0 w 37362"/>
                <a:gd name="connsiteY0" fmla="*/ 10505 h 20848"/>
                <a:gd name="connsiteX1" fmla="*/ 27064 w 37362"/>
                <a:gd name="connsiteY1" fmla="*/ 2373 h 20848"/>
                <a:gd name="connsiteX2" fmla="*/ 37343 w 37362"/>
                <a:gd name="connsiteY2" fmla="*/ 20849 h 20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7362" h="20848">
                  <a:moveTo>
                    <a:pt x="0" y="10505"/>
                  </a:moveTo>
                  <a:cubicBezTo>
                    <a:pt x="5205" y="811"/>
                    <a:pt x="17435" y="-2832"/>
                    <a:pt x="27064" y="2373"/>
                  </a:cubicBezTo>
                  <a:cubicBezTo>
                    <a:pt x="34025" y="6081"/>
                    <a:pt x="37668" y="13432"/>
                    <a:pt x="37343" y="20849"/>
                  </a:cubicBezTo>
                </a:path>
              </a:pathLst>
            </a:custGeom>
            <a:noFill/>
            <a:ln w="19050" cap="sq">
              <a:solidFill>
                <a:srgbClr val="00FF94"/>
              </a:solidFill>
              <a:prstDash val="solid"/>
              <a:miter lim="800000"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83" name="Agrupar 82">
            <a:extLst>
              <a:ext uri="{FF2B5EF4-FFF2-40B4-BE49-F238E27FC236}">
                <a16:creationId xmlns:a16="http://schemas.microsoft.com/office/drawing/2014/main" id="{420CC77B-B5F4-034C-DF0A-344B243E4493}"/>
              </a:ext>
            </a:extLst>
          </p:cNvPr>
          <p:cNvGrpSpPr/>
          <p:nvPr/>
        </p:nvGrpSpPr>
        <p:grpSpPr>
          <a:xfrm>
            <a:off x="803050" y="5272273"/>
            <a:ext cx="459831" cy="502163"/>
            <a:chOff x="6000092" y="1357908"/>
            <a:chExt cx="365300" cy="398929"/>
          </a:xfrm>
        </p:grpSpPr>
        <p:sp>
          <p:nvSpPr>
            <p:cNvPr id="84" name="Forma livre: Forma 83">
              <a:extLst>
                <a:ext uri="{FF2B5EF4-FFF2-40B4-BE49-F238E27FC236}">
                  <a16:creationId xmlns:a16="http://schemas.microsoft.com/office/drawing/2014/main" id="{464A15EB-8C06-14CD-5318-64EC394FA6AC}"/>
                </a:ext>
              </a:extLst>
            </p:cNvPr>
            <p:cNvSpPr/>
            <p:nvPr/>
          </p:nvSpPr>
          <p:spPr>
            <a:xfrm>
              <a:off x="6000092" y="1418606"/>
              <a:ext cx="84058" cy="286120"/>
            </a:xfrm>
            <a:custGeom>
              <a:avLst/>
              <a:gdLst>
                <a:gd name="connsiteX0" fmla="*/ 51595 w 84058"/>
                <a:gd name="connsiteY0" fmla="*/ 0 h 286120"/>
                <a:gd name="connsiteX1" fmla="*/ 35266 w 84058"/>
                <a:gd name="connsiteY1" fmla="*/ 61674 h 286120"/>
                <a:gd name="connsiteX2" fmla="*/ 28760 w 84058"/>
                <a:gd name="connsiteY2" fmla="*/ 193415 h 286120"/>
                <a:gd name="connsiteX3" fmla="*/ 84059 w 84058"/>
                <a:gd name="connsiteY3" fmla="*/ 286121 h 2861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4058" h="286120">
                  <a:moveTo>
                    <a:pt x="51595" y="0"/>
                  </a:moveTo>
                  <a:cubicBezTo>
                    <a:pt x="37868" y="7872"/>
                    <a:pt x="26028" y="24852"/>
                    <a:pt x="35266" y="61674"/>
                  </a:cubicBezTo>
                  <a:cubicBezTo>
                    <a:pt x="35266" y="61674"/>
                    <a:pt x="-39549" y="126731"/>
                    <a:pt x="28760" y="193415"/>
                  </a:cubicBezTo>
                  <a:cubicBezTo>
                    <a:pt x="28760" y="193415"/>
                    <a:pt x="9243" y="281242"/>
                    <a:pt x="84059" y="286121"/>
                  </a:cubicBezTo>
                </a:path>
              </a:pathLst>
            </a:custGeom>
            <a:noFill/>
            <a:ln w="19050" cap="sq">
              <a:solidFill>
                <a:srgbClr val="00FF94"/>
              </a:solidFill>
              <a:prstDash val="solid"/>
              <a:miter lim="800000"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85" name="Gráfico 32">
              <a:extLst>
                <a:ext uri="{FF2B5EF4-FFF2-40B4-BE49-F238E27FC236}">
                  <a16:creationId xmlns:a16="http://schemas.microsoft.com/office/drawing/2014/main" id="{54AF79EB-634D-71A2-437F-B4386FFDF973}"/>
                </a:ext>
              </a:extLst>
            </p:cNvPr>
            <p:cNvGrpSpPr/>
            <p:nvPr/>
          </p:nvGrpSpPr>
          <p:grpSpPr>
            <a:xfrm>
              <a:off x="6061121" y="1359924"/>
              <a:ext cx="128487" cy="396366"/>
              <a:chOff x="6061121" y="1359924"/>
              <a:chExt cx="128487" cy="396366"/>
            </a:xfrm>
            <a:noFill/>
          </p:grpSpPr>
          <p:sp>
            <p:nvSpPr>
              <p:cNvPr id="100" name="Forma livre: Forma 99">
                <a:extLst>
                  <a:ext uri="{FF2B5EF4-FFF2-40B4-BE49-F238E27FC236}">
                    <a16:creationId xmlns:a16="http://schemas.microsoft.com/office/drawing/2014/main" id="{9B63657E-7BBB-F576-1CDA-4F86B3C8495E}"/>
                  </a:ext>
                </a:extLst>
              </p:cNvPr>
              <p:cNvSpPr/>
              <p:nvPr/>
            </p:nvSpPr>
            <p:spPr>
              <a:xfrm>
                <a:off x="6083891" y="1359924"/>
                <a:ext cx="105717" cy="396366"/>
              </a:xfrm>
              <a:custGeom>
                <a:avLst/>
                <a:gdLst>
                  <a:gd name="connsiteX0" fmla="*/ 52891 w 105717"/>
                  <a:gd name="connsiteY0" fmla="*/ 105718 h 396366"/>
                  <a:gd name="connsiteX1" fmla="*/ 0 w 105717"/>
                  <a:gd name="connsiteY1" fmla="*/ 52891 h 396366"/>
                  <a:gd name="connsiteX2" fmla="*/ 52891 w 105717"/>
                  <a:gd name="connsiteY2" fmla="*/ 0 h 396366"/>
                  <a:gd name="connsiteX3" fmla="*/ 105718 w 105717"/>
                  <a:gd name="connsiteY3" fmla="*/ 52826 h 396366"/>
                  <a:gd name="connsiteX4" fmla="*/ 105718 w 105717"/>
                  <a:gd name="connsiteY4" fmla="*/ 346884 h 396366"/>
                  <a:gd name="connsiteX5" fmla="*/ 80606 w 105717"/>
                  <a:gd name="connsiteY5" fmla="*/ 388911 h 396366"/>
                  <a:gd name="connsiteX6" fmla="*/ 9238 w 105717"/>
                  <a:gd name="connsiteY6" fmla="*/ 371150 h 396366"/>
                  <a:gd name="connsiteX7" fmla="*/ 15484 w 105717"/>
                  <a:gd name="connsiteY7" fmla="*/ 309216 h 396366"/>
                  <a:gd name="connsiteX8" fmla="*/ 45019 w 105717"/>
                  <a:gd name="connsiteY8" fmla="*/ 277078 h 3963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05717" h="396366">
                    <a:moveTo>
                      <a:pt x="52891" y="105718"/>
                    </a:moveTo>
                    <a:cubicBezTo>
                      <a:pt x="23681" y="105718"/>
                      <a:pt x="0" y="82037"/>
                      <a:pt x="0" y="52891"/>
                    </a:cubicBezTo>
                    <a:cubicBezTo>
                      <a:pt x="0" y="23746"/>
                      <a:pt x="23681" y="0"/>
                      <a:pt x="52891" y="0"/>
                    </a:cubicBezTo>
                    <a:cubicBezTo>
                      <a:pt x="82102" y="0"/>
                      <a:pt x="105718" y="23681"/>
                      <a:pt x="105718" y="52826"/>
                    </a:cubicBezTo>
                    <a:lnTo>
                      <a:pt x="105718" y="346884"/>
                    </a:lnTo>
                    <a:cubicBezTo>
                      <a:pt x="105718" y="364580"/>
                      <a:pt x="96414" y="379413"/>
                      <a:pt x="80606" y="388911"/>
                    </a:cubicBezTo>
                    <a:cubicBezTo>
                      <a:pt x="55949" y="403744"/>
                      <a:pt x="24006" y="395742"/>
                      <a:pt x="9238" y="371150"/>
                    </a:cubicBezTo>
                    <a:cubicBezTo>
                      <a:pt x="-2928" y="350918"/>
                      <a:pt x="260" y="325741"/>
                      <a:pt x="15484" y="309216"/>
                    </a:cubicBezTo>
                    <a:lnTo>
                      <a:pt x="45019" y="277078"/>
                    </a:lnTo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01" name="Forma livre: Forma 100">
                <a:extLst>
                  <a:ext uri="{FF2B5EF4-FFF2-40B4-BE49-F238E27FC236}">
                    <a16:creationId xmlns:a16="http://schemas.microsoft.com/office/drawing/2014/main" id="{7BBB9ED6-CB74-6292-B521-D308F1D36322}"/>
                  </a:ext>
                </a:extLst>
              </p:cNvPr>
              <p:cNvSpPr/>
              <p:nvPr/>
            </p:nvSpPr>
            <p:spPr>
              <a:xfrm>
                <a:off x="6144784" y="1383865"/>
                <a:ext cx="41563" cy="38963"/>
              </a:xfrm>
              <a:custGeom>
                <a:avLst/>
                <a:gdLst>
                  <a:gd name="connsiteX0" fmla="*/ 36172 w 41563"/>
                  <a:gd name="connsiteY0" fmla="*/ 0 h 38963"/>
                  <a:gd name="connsiteX1" fmla="*/ 39425 w 41563"/>
                  <a:gd name="connsiteY1" fmla="*/ 24266 h 38963"/>
                  <a:gd name="connsiteX2" fmla="*/ 36432 w 41563"/>
                  <a:gd name="connsiteY2" fmla="*/ 29080 h 38963"/>
                  <a:gd name="connsiteX3" fmla="*/ 0 w 41563"/>
                  <a:gd name="connsiteY3" fmla="*/ 33439 h 389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563" h="38963">
                    <a:moveTo>
                      <a:pt x="36172" y="0"/>
                    </a:moveTo>
                    <a:cubicBezTo>
                      <a:pt x="41571" y="7547"/>
                      <a:pt x="43393" y="16004"/>
                      <a:pt x="39425" y="24266"/>
                    </a:cubicBezTo>
                    <a:cubicBezTo>
                      <a:pt x="38644" y="25893"/>
                      <a:pt x="37603" y="27519"/>
                      <a:pt x="36432" y="29080"/>
                    </a:cubicBezTo>
                    <a:cubicBezTo>
                      <a:pt x="27584" y="40270"/>
                      <a:pt x="11190" y="42287"/>
                      <a:pt x="0" y="33439"/>
                    </a:cubicBezTo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02" name="Forma livre: Forma 101">
                <a:extLst>
                  <a:ext uri="{FF2B5EF4-FFF2-40B4-BE49-F238E27FC236}">
                    <a16:creationId xmlns:a16="http://schemas.microsoft.com/office/drawing/2014/main" id="{47292E7B-70B6-145C-0F0E-9511BAAE77FE}"/>
                  </a:ext>
                </a:extLst>
              </p:cNvPr>
              <p:cNvSpPr/>
              <p:nvPr/>
            </p:nvSpPr>
            <p:spPr>
              <a:xfrm>
                <a:off x="6081487" y="1460806"/>
                <a:ext cx="34217" cy="54474"/>
              </a:xfrm>
              <a:custGeom>
                <a:avLst/>
                <a:gdLst>
                  <a:gd name="connsiteX0" fmla="*/ 21076 w 34217"/>
                  <a:gd name="connsiteY0" fmla="*/ 54475 h 54474"/>
                  <a:gd name="connsiteX1" fmla="*/ 778 w 34217"/>
                  <a:gd name="connsiteY1" fmla="*/ 21035 h 54474"/>
                  <a:gd name="connsiteX2" fmla="*/ 34217 w 34217"/>
                  <a:gd name="connsiteY2" fmla="*/ 803 h 544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4217" h="54474">
                    <a:moveTo>
                      <a:pt x="21076" y="54475"/>
                    </a:moveTo>
                    <a:cubicBezTo>
                      <a:pt x="6308" y="50832"/>
                      <a:pt x="-2800" y="35803"/>
                      <a:pt x="778" y="21035"/>
                    </a:cubicBezTo>
                    <a:cubicBezTo>
                      <a:pt x="4421" y="6267"/>
                      <a:pt x="19449" y="-2841"/>
                      <a:pt x="34217" y="803"/>
                    </a:cubicBezTo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03" name="Forma livre: Forma 102">
                <a:extLst>
                  <a:ext uri="{FF2B5EF4-FFF2-40B4-BE49-F238E27FC236}">
                    <a16:creationId xmlns:a16="http://schemas.microsoft.com/office/drawing/2014/main" id="{D5FB30AE-79FC-8FDA-87B7-015B44F812A8}"/>
                  </a:ext>
                </a:extLst>
              </p:cNvPr>
              <p:cNvSpPr/>
              <p:nvPr/>
            </p:nvSpPr>
            <p:spPr>
              <a:xfrm>
                <a:off x="6073547" y="1527543"/>
                <a:ext cx="114760" cy="72506"/>
              </a:xfrm>
              <a:custGeom>
                <a:avLst/>
                <a:gdLst>
                  <a:gd name="connsiteX0" fmla="*/ 114760 w 114760"/>
                  <a:gd name="connsiteY0" fmla="*/ 7254 h 72506"/>
                  <a:gd name="connsiteX1" fmla="*/ 73905 w 114760"/>
                  <a:gd name="connsiteY1" fmla="*/ 8881 h 72506"/>
                  <a:gd name="connsiteX2" fmla="*/ 0 w 114760"/>
                  <a:gd name="connsiteY2" fmla="*/ 72506 h 725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14760" h="72506">
                    <a:moveTo>
                      <a:pt x="114760" y="7254"/>
                    </a:moveTo>
                    <a:cubicBezTo>
                      <a:pt x="103375" y="-2830"/>
                      <a:pt x="83989" y="-2504"/>
                      <a:pt x="73905" y="8881"/>
                    </a:cubicBezTo>
                    <a:cubicBezTo>
                      <a:pt x="73905" y="8881"/>
                      <a:pt x="31488" y="72506"/>
                      <a:pt x="0" y="72506"/>
                    </a:cubicBezTo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04" name="Forma livre: Forma 103">
                <a:extLst>
                  <a:ext uri="{FF2B5EF4-FFF2-40B4-BE49-F238E27FC236}">
                    <a16:creationId xmlns:a16="http://schemas.microsoft.com/office/drawing/2014/main" id="{C4ED801A-D52B-8049-50F3-E9DF1C3C3D05}"/>
                  </a:ext>
                </a:extLst>
              </p:cNvPr>
              <p:cNvSpPr/>
              <p:nvPr/>
            </p:nvSpPr>
            <p:spPr>
              <a:xfrm>
                <a:off x="6079857" y="1646956"/>
                <a:ext cx="29405" cy="9823"/>
              </a:xfrm>
              <a:custGeom>
                <a:avLst/>
                <a:gdLst>
                  <a:gd name="connsiteX0" fmla="*/ 0 w 29405"/>
                  <a:gd name="connsiteY0" fmla="*/ 0 h 9823"/>
                  <a:gd name="connsiteX1" fmla="*/ 29406 w 29405"/>
                  <a:gd name="connsiteY1" fmla="*/ 9824 h 98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9405" h="9823">
                    <a:moveTo>
                      <a:pt x="0" y="0"/>
                    </a:moveTo>
                    <a:lnTo>
                      <a:pt x="29406" y="9824"/>
                    </a:lnTo>
                  </a:path>
                </a:pathLst>
              </a:custGeom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05" name="Forma livre: Forma 104">
                <a:extLst>
                  <a:ext uri="{FF2B5EF4-FFF2-40B4-BE49-F238E27FC236}">
                    <a16:creationId xmlns:a16="http://schemas.microsoft.com/office/drawing/2014/main" id="{0B64EE6C-DBA6-F2C6-EA57-037AAB7BA71C}"/>
                  </a:ext>
                </a:extLst>
              </p:cNvPr>
              <p:cNvSpPr/>
              <p:nvPr/>
            </p:nvSpPr>
            <p:spPr>
              <a:xfrm>
                <a:off x="6061121" y="1545272"/>
                <a:ext cx="47166" cy="34154"/>
              </a:xfrm>
              <a:custGeom>
                <a:avLst/>
                <a:gdLst>
                  <a:gd name="connsiteX0" fmla="*/ 0 w 47166"/>
                  <a:gd name="connsiteY0" fmla="*/ 0 h 34154"/>
                  <a:gd name="connsiteX1" fmla="*/ 47166 w 47166"/>
                  <a:gd name="connsiteY1" fmla="*/ 34155 h 341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166" h="34154">
                    <a:moveTo>
                      <a:pt x="0" y="0"/>
                    </a:moveTo>
                    <a:cubicBezTo>
                      <a:pt x="0" y="0"/>
                      <a:pt x="27649" y="13011"/>
                      <a:pt x="47166" y="34155"/>
                    </a:cubicBezTo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86" name="Gráfico 32">
              <a:extLst>
                <a:ext uri="{FF2B5EF4-FFF2-40B4-BE49-F238E27FC236}">
                  <a16:creationId xmlns:a16="http://schemas.microsoft.com/office/drawing/2014/main" id="{30096065-58D0-C749-BAD7-4A0E78831A96}"/>
                </a:ext>
              </a:extLst>
            </p:cNvPr>
            <p:cNvGrpSpPr/>
            <p:nvPr/>
          </p:nvGrpSpPr>
          <p:grpSpPr>
            <a:xfrm>
              <a:off x="6191625" y="1599725"/>
              <a:ext cx="173767" cy="157112"/>
              <a:chOff x="6191625" y="1599725"/>
              <a:chExt cx="173767" cy="157112"/>
            </a:xfrm>
            <a:noFill/>
          </p:grpSpPr>
          <p:sp>
            <p:nvSpPr>
              <p:cNvPr id="96" name="Forma livre: Forma 95">
                <a:extLst>
                  <a:ext uri="{FF2B5EF4-FFF2-40B4-BE49-F238E27FC236}">
                    <a16:creationId xmlns:a16="http://schemas.microsoft.com/office/drawing/2014/main" id="{7B2E50DA-8FE5-6942-8B2A-513B22FE5D4D}"/>
                  </a:ext>
                </a:extLst>
              </p:cNvPr>
              <p:cNvSpPr/>
              <p:nvPr/>
            </p:nvSpPr>
            <p:spPr>
              <a:xfrm>
                <a:off x="6310094" y="1621974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7" name="Forma livre: Forma 96">
                <a:extLst>
                  <a:ext uri="{FF2B5EF4-FFF2-40B4-BE49-F238E27FC236}">
                    <a16:creationId xmlns:a16="http://schemas.microsoft.com/office/drawing/2014/main" id="{51AE2202-A756-8E92-1435-22CE631F4944}"/>
                  </a:ext>
                </a:extLst>
              </p:cNvPr>
              <p:cNvSpPr/>
              <p:nvPr/>
            </p:nvSpPr>
            <p:spPr>
              <a:xfrm>
                <a:off x="6191625" y="1599725"/>
                <a:ext cx="118078" cy="49898"/>
              </a:xfrm>
              <a:custGeom>
                <a:avLst/>
                <a:gdLst>
                  <a:gd name="connsiteX0" fmla="*/ 0 w 118078"/>
                  <a:gd name="connsiteY0" fmla="*/ 0 h 49898"/>
                  <a:gd name="connsiteX1" fmla="*/ 37343 w 118078"/>
                  <a:gd name="connsiteY1" fmla="*/ 0 h 49898"/>
                  <a:gd name="connsiteX2" fmla="*/ 87176 w 118078"/>
                  <a:gd name="connsiteY2" fmla="*/ 49899 h 49898"/>
                  <a:gd name="connsiteX3" fmla="*/ 118078 w 118078"/>
                  <a:gd name="connsiteY3" fmla="*/ 49899 h 49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8078" h="49898">
                    <a:moveTo>
                      <a:pt x="0" y="0"/>
                    </a:moveTo>
                    <a:lnTo>
                      <a:pt x="37343" y="0"/>
                    </a:lnTo>
                    <a:lnTo>
                      <a:pt x="87176" y="49899"/>
                    </a:lnTo>
                    <a:lnTo>
                      <a:pt x="118078" y="49899"/>
                    </a:lnTo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8" name="Forma livre: Forma 97">
                <a:extLst>
                  <a:ext uri="{FF2B5EF4-FFF2-40B4-BE49-F238E27FC236}">
                    <a16:creationId xmlns:a16="http://schemas.microsoft.com/office/drawing/2014/main" id="{50AF86D0-FAF3-06A4-5E31-1A5C85C3A653}"/>
                  </a:ext>
                </a:extLst>
              </p:cNvPr>
              <p:cNvSpPr/>
              <p:nvPr/>
            </p:nvSpPr>
            <p:spPr>
              <a:xfrm>
                <a:off x="6191625" y="1665367"/>
                <a:ext cx="81906" cy="44108"/>
              </a:xfrm>
              <a:custGeom>
                <a:avLst/>
                <a:gdLst>
                  <a:gd name="connsiteX0" fmla="*/ 0 w 81906"/>
                  <a:gd name="connsiteY0" fmla="*/ 0 h 44108"/>
                  <a:gd name="connsiteX1" fmla="*/ 37343 w 81906"/>
                  <a:gd name="connsiteY1" fmla="*/ 0 h 44108"/>
                  <a:gd name="connsiteX2" fmla="*/ 81907 w 81906"/>
                  <a:gd name="connsiteY2" fmla="*/ 44109 h 441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1906" h="44108">
                    <a:moveTo>
                      <a:pt x="0" y="0"/>
                    </a:moveTo>
                    <a:lnTo>
                      <a:pt x="37343" y="0"/>
                    </a:lnTo>
                    <a:lnTo>
                      <a:pt x="81907" y="44109"/>
                    </a:lnTo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9" name="Forma livre: Forma 98">
                <a:extLst>
                  <a:ext uri="{FF2B5EF4-FFF2-40B4-BE49-F238E27FC236}">
                    <a16:creationId xmlns:a16="http://schemas.microsoft.com/office/drawing/2014/main" id="{00134CA1-69BD-259C-AA78-621F07EE1BA1}"/>
                  </a:ext>
                </a:extLst>
              </p:cNvPr>
              <p:cNvSpPr/>
              <p:nvPr/>
            </p:nvSpPr>
            <p:spPr>
              <a:xfrm>
                <a:off x="6265075" y="1701539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87" name="Gráfico 32">
              <a:extLst>
                <a:ext uri="{FF2B5EF4-FFF2-40B4-BE49-F238E27FC236}">
                  <a16:creationId xmlns:a16="http://schemas.microsoft.com/office/drawing/2014/main" id="{5C9DC80E-08FC-1853-A2BD-3C20E603F4AB}"/>
                </a:ext>
              </a:extLst>
            </p:cNvPr>
            <p:cNvGrpSpPr/>
            <p:nvPr/>
          </p:nvGrpSpPr>
          <p:grpSpPr>
            <a:xfrm>
              <a:off x="6191625" y="1357908"/>
              <a:ext cx="173767" cy="157112"/>
              <a:chOff x="6191625" y="1357908"/>
              <a:chExt cx="173767" cy="157112"/>
            </a:xfrm>
            <a:noFill/>
          </p:grpSpPr>
          <p:sp>
            <p:nvSpPr>
              <p:cNvPr id="92" name="Forma livre: Forma 91">
                <a:extLst>
                  <a:ext uri="{FF2B5EF4-FFF2-40B4-BE49-F238E27FC236}">
                    <a16:creationId xmlns:a16="http://schemas.microsoft.com/office/drawing/2014/main" id="{8A816DD9-1ED3-52A2-058D-CEAB042ECFDF}"/>
                  </a:ext>
                </a:extLst>
              </p:cNvPr>
              <p:cNvSpPr/>
              <p:nvPr/>
            </p:nvSpPr>
            <p:spPr>
              <a:xfrm>
                <a:off x="6310094" y="1437472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0 h 55298"/>
                  <a:gd name="connsiteX2" fmla="*/ 0 w 55298"/>
                  <a:gd name="connsiteY2" fmla="*/ 27649 h 55298"/>
                  <a:gd name="connsiteX3" fmla="*/ 27649 w 55298"/>
                  <a:gd name="connsiteY3" fmla="*/ 55298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12361"/>
                      <a:pt x="42938" y="0"/>
                      <a:pt x="27649" y="0"/>
                    </a:cubicBezTo>
                    <a:cubicBezTo>
                      <a:pt x="12361" y="0"/>
                      <a:pt x="0" y="12361"/>
                      <a:pt x="0" y="27649"/>
                    </a:cubicBezTo>
                    <a:cubicBezTo>
                      <a:pt x="0" y="42938"/>
                      <a:pt x="12361" y="55298"/>
                      <a:pt x="27649" y="55298"/>
                    </a:cubicBezTo>
                    <a:cubicBezTo>
                      <a:pt x="42938" y="55298"/>
                      <a:pt x="55298" y="42938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3" name="Forma livre: Forma 92">
                <a:extLst>
                  <a:ext uri="{FF2B5EF4-FFF2-40B4-BE49-F238E27FC236}">
                    <a16:creationId xmlns:a16="http://schemas.microsoft.com/office/drawing/2014/main" id="{C646009F-059E-5E80-8932-A04D1FF3CDE0}"/>
                  </a:ext>
                </a:extLst>
              </p:cNvPr>
              <p:cNvSpPr/>
              <p:nvPr/>
            </p:nvSpPr>
            <p:spPr>
              <a:xfrm>
                <a:off x="6191625" y="1465122"/>
                <a:ext cx="118468" cy="49898"/>
              </a:xfrm>
              <a:custGeom>
                <a:avLst/>
                <a:gdLst>
                  <a:gd name="connsiteX0" fmla="*/ 0 w 118468"/>
                  <a:gd name="connsiteY0" fmla="*/ 49899 h 49898"/>
                  <a:gd name="connsiteX1" fmla="*/ 37343 w 118468"/>
                  <a:gd name="connsiteY1" fmla="*/ 49899 h 49898"/>
                  <a:gd name="connsiteX2" fmla="*/ 87176 w 118468"/>
                  <a:gd name="connsiteY2" fmla="*/ 0 h 49898"/>
                  <a:gd name="connsiteX3" fmla="*/ 118469 w 118468"/>
                  <a:gd name="connsiteY3" fmla="*/ 0 h 49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8468" h="49898">
                    <a:moveTo>
                      <a:pt x="0" y="49899"/>
                    </a:moveTo>
                    <a:lnTo>
                      <a:pt x="37343" y="49899"/>
                    </a:lnTo>
                    <a:lnTo>
                      <a:pt x="87176" y="0"/>
                    </a:lnTo>
                    <a:lnTo>
                      <a:pt x="118469" y="0"/>
                    </a:lnTo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4" name="Forma livre: Forma 93">
                <a:extLst>
                  <a:ext uri="{FF2B5EF4-FFF2-40B4-BE49-F238E27FC236}">
                    <a16:creationId xmlns:a16="http://schemas.microsoft.com/office/drawing/2014/main" id="{62E28683-9C5F-137E-29F3-20AB51139449}"/>
                  </a:ext>
                </a:extLst>
              </p:cNvPr>
              <p:cNvSpPr/>
              <p:nvPr/>
            </p:nvSpPr>
            <p:spPr>
              <a:xfrm>
                <a:off x="6191625" y="1405269"/>
                <a:ext cx="81451" cy="44043"/>
              </a:xfrm>
              <a:custGeom>
                <a:avLst/>
                <a:gdLst>
                  <a:gd name="connsiteX0" fmla="*/ 0 w 81451"/>
                  <a:gd name="connsiteY0" fmla="*/ 44044 h 44043"/>
                  <a:gd name="connsiteX1" fmla="*/ 37343 w 81451"/>
                  <a:gd name="connsiteY1" fmla="*/ 44044 h 44043"/>
                  <a:gd name="connsiteX2" fmla="*/ 81451 w 81451"/>
                  <a:gd name="connsiteY2" fmla="*/ 0 h 440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1451" h="44043">
                    <a:moveTo>
                      <a:pt x="0" y="44044"/>
                    </a:moveTo>
                    <a:lnTo>
                      <a:pt x="37343" y="44044"/>
                    </a:lnTo>
                    <a:lnTo>
                      <a:pt x="81451" y="0"/>
                    </a:lnTo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5" name="Forma livre: Forma 94">
                <a:extLst>
                  <a:ext uri="{FF2B5EF4-FFF2-40B4-BE49-F238E27FC236}">
                    <a16:creationId xmlns:a16="http://schemas.microsoft.com/office/drawing/2014/main" id="{8454B80A-B2F1-AFA8-231A-8233AACB8C51}"/>
                  </a:ext>
                </a:extLst>
              </p:cNvPr>
              <p:cNvSpPr/>
              <p:nvPr/>
            </p:nvSpPr>
            <p:spPr>
              <a:xfrm>
                <a:off x="6265075" y="1357908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0 h 55298"/>
                  <a:gd name="connsiteX2" fmla="*/ 0 w 55298"/>
                  <a:gd name="connsiteY2" fmla="*/ 27649 h 55298"/>
                  <a:gd name="connsiteX3" fmla="*/ 27649 w 55298"/>
                  <a:gd name="connsiteY3" fmla="*/ 55298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12361"/>
                      <a:pt x="42938" y="0"/>
                      <a:pt x="27649" y="0"/>
                    </a:cubicBezTo>
                    <a:cubicBezTo>
                      <a:pt x="12361" y="0"/>
                      <a:pt x="0" y="12361"/>
                      <a:pt x="0" y="27649"/>
                    </a:cubicBezTo>
                    <a:cubicBezTo>
                      <a:pt x="0" y="42938"/>
                      <a:pt x="12361" y="55298"/>
                      <a:pt x="27649" y="55298"/>
                    </a:cubicBezTo>
                    <a:cubicBezTo>
                      <a:pt x="42938" y="55298"/>
                      <a:pt x="55298" y="42938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88" name="Gráfico 32">
              <a:extLst>
                <a:ext uri="{FF2B5EF4-FFF2-40B4-BE49-F238E27FC236}">
                  <a16:creationId xmlns:a16="http://schemas.microsoft.com/office/drawing/2014/main" id="{36286F4A-CA71-27F8-B2FB-65A5948BF483}"/>
                </a:ext>
              </a:extLst>
            </p:cNvPr>
            <p:cNvGrpSpPr/>
            <p:nvPr/>
          </p:nvGrpSpPr>
          <p:grpSpPr>
            <a:xfrm>
              <a:off x="6190910" y="1529723"/>
              <a:ext cx="123673" cy="55298"/>
              <a:chOff x="6190910" y="1529723"/>
              <a:chExt cx="123673" cy="55298"/>
            </a:xfrm>
            <a:noFill/>
          </p:grpSpPr>
          <p:sp>
            <p:nvSpPr>
              <p:cNvPr id="90" name="Forma livre: Forma 89">
                <a:extLst>
                  <a:ext uri="{FF2B5EF4-FFF2-40B4-BE49-F238E27FC236}">
                    <a16:creationId xmlns:a16="http://schemas.microsoft.com/office/drawing/2014/main" id="{D04FF40D-A8C1-B5C9-A353-E77D19065C91}"/>
                  </a:ext>
                </a:extLst>
              </p:cNvPr>
              <p:cNvSpPr/>
              <p:nvPr/>
            </p:nvSpPr>
            <p:spPr>
              <a:xfrm>
                <a:off x="6190910" y="1557372"/>
                <a:ext cx="68765" cy="6505"/>
              </a:xfrm>
              <a:custGeom>
                <a:avLst/>
                <a:gdLst>
                  <a:gd name="connsiteX0" fmla="*/ 0 w 68765"/>
                  <a:gd name="connsiteY0" fmla="*/ 0 h 6505"/>
                  <a:gd name="connsiteX1" fmla="*/ 68765 w 68765"/>
                  <a:gd name="connsiteY1" fmla="*/ 0 h 65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8765" h="6505">
                    <a:moveTo>
                      <a:pt x="0" y="0"/>
                    </a:moveTo>
                    <a:lnTo>
                      <a:pt x="68765" y="0"/>
                    </a:lnTo>
                  </a:path>
                </a:pathLst>
              </a:custGeom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1" name="Forma livre: Forma 90">
                <a:extLst>
                  <a:ext uri="{FF2B5EF4-FFF2-40B4-BE49-F238E27FC236}">
                    <a16:creationId xmlns:a16="http://schemas.microsoft.com/office/drawing/2014/main" id="{DF23560D-19A3-7EFD-B115-C49EE88B54CD}"/>
                  </a:ext>
                </a:extLst>
              </p:cNvPr>
              <p:cNvSpPr/>
              <p:nvPr/>
            </p:nvSpPr>
            <p:spPr>
              <a:xfrm>
                <a:off x="6259285" y="1529723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89" name="Forma livre: Forma 88">
              <a:extLst>
                <a:ext uri="{FF2B5EF4-FFF2-40B4-BE49-F238E27FC236}">
                  <a16:creationId xmlns:a16="http://schemas.microsoft.com/office/drawing/2014/main" id="{81936D6E-2C70-ADA3-87DD-B1AFF676562A}"/>
                </a:ext>
              </a:extLst>
            </p:cNvPr>
            <p:cNvSpPr/>
            <p:nvPr/>
          </p:nvSpPr>
          <p:spPr>
            <a:xfrm>
              <a:off x="6152201" y="1686285"/>
              <a:ext cx="37362" cy="20848"/>
            </a:xfrm>
            <a:custGeom>
              <a:avLst/>
              <a:gdLst>
                <a:gd name="connsiteX0" fmla="*/ 0 w 37362"/>
                <a:gd name="connsiteY0" fmla="*/ 10505 h 20848"/>
                <a:gd name="connsiteX1" fmla="*/ 27064 w 37362"/>
                <a:gd name="connsiteY1" fmla="*/ 2373 h 20848"/>
                <a:gd name="connsiteX2" fmla="*/ 37343 w 37362"/>
                <a:gd name="connsiteY2" fmla="*/ 20849 h 20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7362" h="20848">
                  <a:moveTo>
                    <a:pt x="0" y="10505"/>
                  </a:moveTo>
                  <a:cubicBezTo>
                    <a:pt x="5205" y="811"/>
                    <a:pt x="17435" y="-2832"/>
                    <a:pt x="27064" y="2373"/>
                  </a:cubicBezTo>
                  <a:cubicBezTo>
                    <a:pt x="34025" y="6081"/>
                    <a:pt x="37668" y="13432"/>
                    <a:pt x="37343" y="20849"/>
                  </a:cubicBezTo>
                </a:path>
              </a:pathLst>
            </a:custGeom>
            <a:noFill/>
            <a:ln w="19050" cap="sq">
              <a:solidFill>
                <a:srgbClr val="00FF94"/>
              </a:solidFill>
              <a:prstDash val="solid"/>
              <a:miter lim="800000"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06" name="Agrupar 105">
            <a:extLst>
              <a:ext uri="{FF2B5EF4-FFF2-40B4-BE49-F238E27FC236}">
                <a16:creationId xmlns:a16="http://schemas.microsoft.com/office/drawing/2014/main" id="{503B3846-CE8F-048C-E069-3DA008F2F0AD}"/>
              </a:ext>
            </a:extLst>
          </p:cNvPr>
          <p:cNvGrpSpPr/>
          <p:nvPr/>
        </p:nvGrpSpPr>
        <p:grpSpPr>
          <a:xfrm>
            <a:off x="4317875" y="3275005"/>
            <a:ext cx="459831" cy="502163"/>
            <a:chOff x="6000092" y="1357908"/>
            <a:chExt cx="365300" cy="398929"/>
          </a:xfrm>
        </p:grpSpPr>
        <p:sp>
          <p:nvSpPr>
            <p:cNvPr id="107" name="Forma livre: Forma 106">
              <a:extLst>
                <a:ext uri="{FF2B5EF4-FFF2-40B4-BE49-F238E27FC236}">
                  <a16:creationId xmlns:a16="http://schemas.microsoft.com/office/drawing/2014/main" id="{BEAC1DB6-2796-485C-7C3D-22A5E112A02F}"/>
                </a:ext>
              </a:extLst>
            </p:cNvPr>
            <p:cNvSpPr/>
            <p:nvPr/>
          </p:nvSpPr>
          <p:spPr>
            <a:xfrm>
              <a:off x="6000092" y="1418606"/>
              <a:ext cx="84058" cy="286120"/>
            </a:xfrm>
            <a:custGeom>
              <a:avLst/>
              <a:gdLst>
                <a:gd name="connsiteX0" fmla="*/ 51595 w 84058"/>
                <a:gd name="connsiteY0" fmla="*/ 0 h 286120"/>
                <a:gd name="connsiteX1" fmla="*/ 35266 w 84058"/>
                <a:gd name="connsiteY1" fmla="*/ 61674 h 286120"/>
                <a:gd name="connsiteX2" fmla="*/ 28760 w 84058"/>
                <a:gd name="connsiteY2" fmla="*/ 193415 h 286120"/>
                <a:gd name="connsiteX3" fmla="*/ 84059 w 84058"/>
                <a:gd name="connsiteY3" fmla="*/ 286121 h 2861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4058" h="286120">
                  <a:moveTo>
                    <a:pt x="51595" y="0"/>
                  </a:moveTo>
                  <a:cubicBezTo>
                    <a:pt x="37868" y="7872"/>
                    <a:pt x="26028" y="24852"/>
                    <a:pt x="35266" y="61674"/>
                  </a:cubicBezTo>
                  <a:cubicBezTo>
                    <a:pt x="35266" y="61674"/>
                    <a:pt x="-39549" y="126731"/>
                    <a:pt x="28760" y="193415"/>
                  </a:cubicBezTo>
                  <a:cubicBezTo>
                    <a:pt x="28760" y="193415"/>
                    <a:pt x="9243" y="281242"/>
                    <a:pt x="84059" y="286121"/>
                  </a:cubicBezTo>
                </a:path>
              </a:pathLst>
            </a:custGeom>
            <a:noFill/>
            <a:ln w="19050" cap="sq">
              <a:solidFill>
                <a:srgbClr val="00FF94"/>
              </a:solidFill>
              <a:prstDash val="solid"/>
              <a:miter lim="800000"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08" name="Gráfico 32">
              <a:extLst>
                <a:ext uri="{FF2B5EF4-FFF2-40B4-BE49-F238E27FC236}">
                  <a16:creationId xmlns:a16="http://schemas.microsoft.com/office/drawing/2014/main" id="{1C61517B-EEE6-EF7C-C31B-EB941AC202E3}"/>
                </a:ext>
              </a:extLst>
            </p:cNvPr>
            <p:cNvGrpSpPr/>
            <p:nvPr/>
          </p:nvGrpSpPr>
          <p:grpSpPr>
            <a:xfrm>
              <a:off x="6061121" y="1359924"/>
              <a:ext cx="128487" cy="396366"/>
              <a:chOff x="6061121" y="1359924"/>
              <a:chExt cx="128487" cy="396366"/>
            </a:xfrm>
            <a:noFill/>
          </p:grpSpPr>
          <p:sp>
            <p:nvSpPr>
              <p:cNvPr id="123" name="Forma livre: Forma 122">
                <a:extLst>
                  <a:ext uri="{FF2B5EF4-FFF2-40B4-BE49-F238E27FC236}">
                    <a16:creationId xmlns:a16="http://schemas.microsoft.com/office/drawing/2014/main" id="{ACB7317E-F88F-E652-49DE-94AB12F0D95F}"/>
                  </a:ext>
                </a:extLst>
              </p:cNvPr>
              <p:cNvSpPr/>
              <p:nvPr/>
            </p:nvSpPr>
            <p:spPr>
              <a:xfrm>
                <a:off x="6083891" y="1359924"/>
                <a:ext cx="105717" cy="396366"/>
              </a:xfrm>
              <a:custGeom>
                <a:avLst/>
                <a:gdLst>
                  <a:gd name="connsiteX0" fmla="*/ 52891 w 105717"/>
                  <a:gd name="connsiteY0" fmla="*/ 105718 h 396366"/>
                  <a:gd name="connsiteX1" fmla="*/ 0 w 105717"/>
                  <a:gd name="connsiteY1" fmla="*/ 52891 h 396366"/>
                  <a:gd name="connsiteX2" fmla="*/ 52891 w 105717"/>
                  <a:gd name="connsiteY2" fmla="*/ 0 h 396366"/>
                  <a:gd name="connsiteX3" fmla="*/ 105718 w 105717"/>
                  <a:gd name="connsiteY3" fmla="*/ 52826 h 396366"/>
                  <a:gd name="connsiteX4" fmla="*/ 105718 w 105717"/>
                  <a:gd name="connsiteY4" fmla="*/ 346884 h 396366"/>
                  <a:gd name="connsiteX5" fmla="*/ 80606 w 105717"/>
                  <a:gd name="connsiteY5" fmla="*/ 388911 h 396366"/>
                  <a:gd name="connsiteX6" fmla="*/ 9238 w 105717"/>
                  <a:gd name="connsiteY6" fmla="*/ 371150 h 396366"/>
                  <a:gd name="connsiteX7" fmla="*/ 15484 w 105717"/>
                  <a:gd name="connsiteY7" fmla="*/ 309216 h 396366"/>
                  <a:gd name="connsiteX8" fmla="*/ 45019 w 105717"/>
                  <a:gd name="connsiteY8" fmla="*/ 277078 h 3963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05717" h="396366">
                    <a:moveTo>
                      <a:pt x="52891" y="105718"/>
                    </a:moveTo>
                    <a:cubicBezTo>
                      <a:pt x="23681" y="105718"/>
                      <a:pt x="0" y="82037"/>
                      <a:pt x="0" y="52891"/>
                    </a:cubicBezTo>
                    <a:cubicBezTo>
                      <a:pt x="0" y="23746"/>
                      <a:pt x="23681" y="0"/>
                      <a:pt x="52891" y="0"/>
                    </a:cubicBezTo>
                    <a:cubicBezTo>
                      <a:pt x="82102" y="0"/>
                      <a:pt x="105718" y="23681"/>
                      <a:pt x="105718" y="52826"/>
                    </a:cubicBezTo>
                    <a:lnTo>
                      <a:pt x="105718" y="346884"/>
                    </a:lnTo>
                    <a:cubicBezTo>
                      <a:pt x="105718" y="364580"/>
                      <a:pt x="96414" y="379413"/>
                      <a:pt x="80606" y="388911"/>
                    </a:cubicBezTo>
                    <a:cubicBezTo>
                      <a:pt x="55949" y="403744"/>
                      <a:pt x="24006" y="395742"/>
                      <a:pt x="9238" y="371150"/>
                    </a:cubicBezTo>
                    <a:cubicBezTo>
                      <a:pt x="-2928" y="350918"/>
                      <a:pt x="260" y="325741"/>
                      <a:pt x="15484" y="309216"/>
                    </a:cubicBezTo>
                    <a:lnTo>
                      <a:pt x="45019" y="277078"/>
                    </a:lnTo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4" name="Forma livre: Forma 123">
                <a:extLst>
                  <a:ext uri="{FF2B5EF4-FFF2-40B4-BE49-F238E27FC236}">
                    <a16:creationId xmlns:a16="http://schemas.microsoft.com/office/drawing/2014/main" id="{6FCF64A2-1CB4-D8B4-6510-4079227F026F}"/>
                  </a:ext>
                </a:extLst>
              </p:cNvPr>
              <p:cNvSpPr/>
              <p:nvPr/>
            </p:nvSpPr>
            <p:spPr>
              <a:xfrm>
                <a:off x="6144784" y="1383865"/>
                <a:ext cx="41563" cy="38963"/>
              </a:xfrm>
              <a:custGeom>
                <a:avLst/>
                <a:gdLst>
                  <a:gd name="connsiteX0" fmla="*/ 36172 w 41563"/>
                  <a:gd name="connsiteY0" fmla="*/ 0 h 38963"/>
                  <a:gd name="connsiteX1" fmla="*/ 39425 w 41563"/>
                  <a:gd name="connsiteY1" fmla="*/ 24266 h 38963"/>
                  <a:gd name="connsiteX2" fmla="*/ 36432 w 41563"/>
                  <a:gd name="connsiteY2" fmla="*/ 29080 h 38963"/>
                  <a:gd name="connsiteX3" fmla="*/ 0 w 41563"/>
                  <a:gd name="connsiteY3" fmla="*/ 33439 h 389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563" h="38963">
                    <a:moveTo>
                      <a:pt x="36172" y="0"/>
                    </a:moveTo>
                    <a:cubicBezTo>
                      <a:pt x="41571" y="7547"/>
                      <a:pt x="43393" y="16004"/>
                      <a:pt x="39425" y="24266"/>
                    </a:cubicBezTo>
                    <a:cubicBezTo>
                      <a:pt x="38644" y="25893"/>
                      <a:pt x="37603" y="27519"/>
                      <a:pt x="36432" y="29080"/>
                    </a:cubicBezTo>
                    <a:cubicBezTo>
                      <a:pt x="27584" y="40270"/>
                      <a:pt x="11190" y="42287"/>
                      <a:pt x="0" y="33439"/>
                    </a:cubicBezTo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5" name="Forma livre: Forma 124">
                <a:extLst>
                  <a:ext uri="{FF2B5EF4-FFF2-40B4-BE49-F238E27FC236}">
                    <a16:creationId xmlns:a16="http://schemas.microsoft.com/office/drawing/2014/main" id="{D4823F4B-6807-18DD-D6CD-06A2CE0A533E}"/>
                  </a:ext>
                </a:extLst>
              </p:cNvPr>
              <p:cNvSpPr/>
              <p:nvPr/>
            </p:nvSpPr>
            <p:spPr>
              <a:xfrm>
                <a:off x="6081487" y="1460806"/>
                <a:ext cx="34217" cy="54474"/>
              </a:xfrm>
              <a:custGeom>
                <a:avLst/>
                <a:gdLst>
                  <a:gd name="connsiteX0" fmla="*/ 21076 w 34217"/>
                  <a:gd name="connsiteY0" fmla="*/ 54475 h 54474"/>
                  <a:gd name="connsiteX1" fmla="*/ 778 w 34217"/>
                  <a:gd name="connsiteY1" fmla="*/ 21035 h 54474"/>
                  <a:gd name="connsiteX2" fmla="*/ 34217 w 34217"/>
                  <a:gd name="connsiteY2" fmla="*/ 803 h 544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4217" h="54474">
                    <a:moveTo>
                      <a:pt x="21076" y="54475"/>
                    </a:moveTo>
                    <a:cubicBezTo>
                      <a:pt x="6308" y="50832"/>
                      <a:pt x="-2800" y="35803"/>
                      <a:pt x="778" y="21035"/>
                    </a:cubicBezTo>
                    <a:cubicBezTo>
                      <a:pt x="4421" y="6267"/>
                      <a:pt x="19449" y="-2841"/>
                      <a:pt x="34217" y="803"/>
                    </a:cubicBezTo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6" name="Forma livre: Forma 125">
                <a:extLst>
                  <a:ext uri="{FF2B5EF4-FFF2-40B4-BE49-F238E27FC236}">
                    <a16:creationId xmlns:a16="http://schemas.microsoft.com/office/drawing/2014/main" id="{2FC33EC4-B5EA-833D-D69C-0023F18F921A}"/>
                  </a:ext>
                </a:extLst>
              </p:cNvPr>
              <p:cNvSpPr/>
              <p:nvPr/>
            </p:nvSpPr>
            <p:spPr>
              <a:xfrm>
                <a:off x="6073547" y="1527543"/>
                <a:ext cx="114760" cy="72506"/>
              </a:xfrm>
              <a:custGeom>
                <a:avLst/>
                <a:gdLst>
                  <a:gd name="connsiteX0" fmla="*/ 114760 w 114760"/>
                  <a:gd name="connsiteY0" fmla="*/ 7254 h 72506"/>
                  <a:gd name="connsiteX1" fmla="*/ 73905 w 114760"/>
                  <a:gd name="connsiteY1" fmla="*/ 8881 h 72506"/>
                  <a:gd name="connsiteX2" fmla="*/ 0 w 114760"/>
                  <a:gd name="connsiteY2" fmla="*/ 72506 h 725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14760" h="72506">
                    <a:moveTo>
                      <a:pt x="114760" y="7254"/>
                    </a:moveTo>
                    <a:cubicBezTo>
                      <a:pt x="103375" y="-2830"/>
                      <a:pt x="83989" y="-2504"/>
                      <a:pt x="73905" y="8881"/>
                    </a:cubicBezTo>
                    <a:cubicBezTo>
                      <a:pt x="73905" y="8881"/>
                      <a:pt x="31488" y="72506"/>
                      <a:pt x="0" y="72506"/>
                    </a:cubicBezTo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7" name="Forma livre: Forma 126">
                <a:extLst>
                  <a:ext uri="{FF2B5EF4-FFF2-40B4-BE49-F238E27FC236}">
                    <a16:creationId xmlns:a16="http://schemas.microsoft.com/office/drawing/2014/main" id="{B3DC5CA6-5A00-FF62-0FF6-B70C234FF4BD}"/>
                  </a:ext>
                </a:extLst>
              </p:cNvPr>
              <p:cNvSpPr/>
              <p:nvPr/>
            </p:nvSpPr>
            <p:spPr>
              <a:xfrm>
                <a:off x="6079857" y="1646956"/>
                <a:ext cx="29405" cy="9823"/>
              </a:xfrm>
              <a:custGeom>
                <a:avLst/>
                <a:gdLst>
                  <a:gd name="connsiteX0" fmla="*/ 0 w 29405"/>
                  <a:gd name="connsiteY0" fmla="*/ 0 h 9823"/>
                  <a:gd name="connsiteX1" fmla="*/ 29406 w 29405"/>
                  <a:gd name="connsiteY1" fmla="*/ 9824 h 98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9405" h="9823">
                    <a:moveTo>
                      <a:pt x="0" y="0"/>
                    </a:moveTo>
                    <a:lnTo>
                      <a:pt x="29406" y="9824"/>
                    </a:lnTo>
                  </a:path>
                </a:pathLst>
              </a:custGeom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8" name="Forma livre: Forma 127">
                <a:extLst>
                  <a:ext uri="{FF2B5EF4-FFF2-40B4-BE49-F238E27FC236}">
                    <a16:creationId xmlns:a16="http://schemas.microsoft.com/office/drawing/2014/main" id="{6C3195D3-871C-E0C9-3633-351AF0E3F8BB}"/>
                  </a:ext>
                </a:extLst>
              </p:cNvPr>
              <p:cNvSpPr/>
              <p:nvPr/>
            </p:nvSpPr>
            <p:spPr>
              <a:xfrm>
                <a:off x="6061121" y="1545272"/>
                <a:ext cx="47166" cy="34154"/>
              </a:xfrm>
              <a:custGeom>
                <a:avLst/>
                <a:gdLst>
                  <a:gd name="connsiteX0" fmla="*/ 0 w 47166"/>
                  <a:gd name="connsiteY0" fmla="*/ 0 h 34154"/>
                  <a:gd name="connsiteX1" fmla="*/ 47166 w 47166"/>
                  <a:gd name="connsiteY1" fmla="*/ 34155 h 341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166" h="34154">
                    <a:moveTo>
                      <a:pt x="0" y="0"/>
                    </a:moveTo>
                    <a:cubicBezTo>
                      <a:pt x="0" y="0"/>
                      <a:pt x="27649" y="13011"/>
                      <a:pt x="47166" y="34155"/>
                    </a:cubicBezTo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09" name="Gráfico 32">
              <a:extLst>
                <a:ext uri="{FF2B5EF4-FFF2-40B4-BE49-F238E27FC236}">
                  <a16:creationId xmlns:a16="http://schemas.microsoft.com/office/drawing/2014/main" id="{5F80749A-4EE7-3B3B-6F59-88D6F9AA25CA}"/>
                </a:ext>
              </a:extLst>
            </p:cNvPr>
            <p:cNvGrpSpPr/>
            <p:nvPr/>
          </p:nvGrpSpPr>
          <p:grpSpPr>
            <a:xfrm>
              <a:off x="6191625" y="1599725"/>
              <a:ext cx="173767" cy="157112"/>
              <a:chOff x="6191625" y="1599725"/>
              <a:chExt cx="173767" cy="157112"/>
            </a:xfrm>
            <a:noFill/>
          </p:grpSpPr>
          <p:sp>
            <p:nvSpPr>
              <p:cNvPr id="119" name="Forma livre: Forma 118">
                <a:extLst>
                  <a:ext uri="{FF2B5EF4-FFF2-40B4-BE49-F238E27FC236}">
                    <a16:creationId xmlns:a16="http://schemas.microsoft.com/office/drawing/2014/main" id="{199F1527-E0D3-BF17-4C66-A57A11805219}"/>
                  </a:ext>
                </a:extLst>
              </p:cNvPr>
              <p:cNvSpPr/>
              <p:nvPr/>
            </p:nvSpPr>
            <p:spPr>
              <a:xfrm>
                <a:off x="6310094" y="1621974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0" name="Forma livre: Forma 119">
                <a:extLst>
                  <a:ext uri="{FF2B5EF4-FFF2-40B4-BE49-F238E27FC236}">
                    <a16:creationId xmlns:a16="http://schemas.microsoft.com/office/drawing/2014/main" id="{175C6F9A-039D-3989-744B-F2C395FD9DF1}"/>
                  </a:ext>
                </a:extLst>
              </p:cNvPr>
              <p:cNvSpPr/>
              <p:nvPr/>
            </p:nvSpPr>
            <p:spPr>
              <a:xfrm>
                <a:off x="6191625" y="1599725"/>
                <a:ext cx="118078" cy="49898"/>
              </a:xfrm>
              <a:custGeom>
                <a:avLst/>
                <a:gdLst>
                  <a:gd name="connsiteX0" fmla="*/ 0 w 118078"/>
                  <a:gd name="connsiteY0" fmla="*/ 0 h 49898"/>
                  <a:gd name="connsiteX1" fmla="*/ 37343 w 118078"/>
                  <a:gd name="connsiteY1" fmla="*/ 0 h 49898"/>
                  <a:gd name="connsiteX2" fmla="*/ 87176 w 118078"/>
                  <a:gd name="connsiteY2" fmla="*/ 49899 h 49898"/>
                  <a:gd name="connsiteX3" fmla="*/ 118078 w 118078"/>
                  <a:gd name="connsiteY3" fmla="*/ 49899 h 49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8078" h="49898">
                    <a:moveTo>
                      <a:pt x="0" y="0"/>
                    </a:moveTo>
                    <a:lnTo>
                      <a:pt x="37343" y="0"/>
                    </a:lnTo>
                    <a:lnTo>
                      <a:pt x="87176" y="49899"/>
                    </a:lnTo>
                    <a:lnTo>
                      <a:pt x="118078" y="49899"/>
                    </a:lnTo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1" name="Forma livre: Forma 120">
                <a:extLst>
                  <a:ext uri="{FF2B5EF4-FFF2-40B4-BE49-F238E27FC236}">
                    <a16:creationId xmlns:a16="http://schemas.microsoft.com/office/drawing/2014/main" id="{83B0D511-388C-8A63-44E5-1C8F489E6DAB}"/>
                  </a:ext>
                </a:extLst>
              </p:cNvPr>
              <p:cNvSpPr/>
              <p:nvPr/>
            </p:nvSpPr>
            <p:spPr>
              <a:xfrm>
                <a:off x="6191625" y="1665367"/>
                <a:ext cx="81906" cy="44108"/>
              </a:xfrm>
              <a:custGeom>
                <a:avLst/>
                <a:gdLst>
                  <a:gd name="connsiteX0" fmla="*/ 0 w 81906"/>
                  <a:gd name="connsiteY0" fmla="*/ 0 h 44108"/>
                  <a:gd name="connsiteX1" fmla="*/ 37343 w 81906"/>
                  <a:gd name="connsiteY1" fmla="*/ 0 h 44108"/>
                  <a:gd name="connsiteX2" fmla="*/ 81907 w 81906"/>
                  <a:gd name="connsiteY2" fmla="*/ 44109 h 441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1906" h="44108">
                    <a:moveTo>
                      <a:pt x="0" y="0"/>
                    </a:moveTo>
                    <a:lnTo>
                      <a:pt x="37343" y="0"/>
                    </a:lnTo>
                    <a:lnTo>
                      <a:pt x="81907" y="44109"/>
                    </a:lnTo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2" name="Forma livre: Forma 121">
                <a:extLst>
                  <a:ext uri="{FF2B5EF4-FFF2-40B4-BE49-F238E27FC236}">
                    <a16:creationId xmlns:a16="http://schemas.microsoft.com/office/drawing/2014/main" id="{2A4A14D5-9D09-5193-CA58-FE3CD7D6D30B}"/>
                  </a:ext>
                </a:extLst>
              </p:cNvPr>
              <p:cNvSpPr/>
              <p:nvPr/>
            </p:nvSpPr>
            <p:spPr>
              <a:xfrm>
                <a:off x="6265075" y="1701539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10" name="Gráfico 32">
              <a:extLst>
                <a:ext uri="{FF2B5EF4-FFF2-40B4-BE49-F238E27FC236}">
                  <a16:creationId xmlns:a16="http://schemas.microsoft.com/office/drawing/2014/main" id="{5D3C6685-EB0E-84F1-C1C0-24AC166D0D69}"/>
                </a:ext>
              </a:extLst>
            </p:cNvPr>
            <p:cNvGrpSpPr/>
            <p:nvPr/>
          </p:nvGrpSpPr>
          <p:grpSpPr>
            <a:xfrm>
              <a:off x="6191625" y="1357908"/>
              <a:ext cx="173767" cy="157112"/>
              <a:chOff x="6191625" y="1357908"/>
              <a:chExt cx="173767" cy="157112"/>
            </a:xfrm>
            <a:noFill/>
          </p:grpSpPr>
          <p:sp>
            <p:nvSpPr>
              <p:cNvPr id="115" name="Forma livre: Forma 114">
                <a:extLst>
                  <a:ext uri="{FF2B5EF4-FFF2-40B4-BE49-F238E27FC236}">
                    <a16:creationId xmlns:a16="http://schemas.microsoft.com/office/drawing/2014/main" id="{4423E745-076E-789B-B2E4-2A06DD296F10}"/>
                  </a:ext>
                </a:extLst>
              </p:cNvPr>
              <p:cNvSpPr/>
              <p:nvPr/>
            </p:nvSpPr>
            <p:spPr>
              <a:xfrm>
                <a:off x="6310094" y="1437472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0 h 55298"/>
                  <a:gd name="connsiteX2" fmla="*/ 0 w 55298"/>
                  <a:gd name="connsiteY2" fmla="*/ 27649 h 55298"/>
                  <a:gd name="connsiteX3" fmla="*/ 27649 w 55298"/>
                  <a:gd name="connsiteY3" fmla="*/ 55298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12361"/>
                      <a:pt x="42938" y="0"/>
                      <a:pt x="27649" y="0"/>
                    </a:cubicBezTo>
                    <a:cubicBezTo>
                      <a:pt x="12361" y="0"/>
                      <a:pt x="0" y="12361"/>
                      <a:pt x="0" y="27649"/>
                    </a:cubicBezTo>
                    <a:cubicBezTo>
                      <a:pt x="0" y="42938"/>
                      <a:pt x="12361" y="55298"/>
                      <a:pt x="27649" y="55298"/>
                    </a:cubicBezTo>
                    <a:cubicBezTo>
                      <a:pt x="42938" y="55298"/>
                      <a:pt x="55298" y="42938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16" name="Forma livre: Forma 115">
                <a:extLst>
                  <a:ext uri="{FF2B5EF4-FFF2-40B4-BE49-F238E27FC236}">
                    <a16:creationId xmlns:a16="http://schemas.microsoft.com/office/drawing/2014/main" id="{64F8C0EE-D4B8-6F4B-37C9-D849DEAD8240}"/>
                  </a:ext>
                </a:extLst>
              </p:cNvPr>
              <p:cNvSpPr/>
              <p:nvPr/>
            </p:nvSpPr>
            <p:spPr>
              <a:xfrm>
                <a:off x="6191625" y="1465122"/>
                <a:ext cx="118468" cy="49898"/>
              </a:xfrm>
              <a:custGeom>
                <a:avLst/>
                <a:gdLst>
                  <a:gd name="connsiteX0" fmla="*/ 0 w 118468"/>
                  <a:gd name="connsiteY0" fmla="*/ 49899 h 49898"/>
                  <a:gd name="connsiteX1" fmla="*/ 37343 w 118468"/>
                  <a:gd name="connsiteY1" fmla="*/ 49899 h 49898"/>
                  <a:gd name="connsiteX2" fmla="*/ 87176 w 118468"/>
                  <a:gd name="connsiteY2" fmla="*/ 0 h 49898"/>
                  <a:gd name="connsiteX3" fmla="*/ 118469 w 118468"/>
                  <a:gd name="connsiteY3" fmla="*/ 0 h 49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8468" h="49898">
                    <a:moveTo>
                      <a:pt x="0" y="49899"/>
                    </a:moveTo>
                    <a:lnTo>
                      <a:pt x="37343" y="49899"/>
                    </a:lnTo>
                    <a:lnTo>
                      <a:pt x="87176" y="0"/>
                    </a:lnTo>
                    <a:lnTo>
                      <a:pt x="118469" y="0"/>
                    </a:lnTo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17" name="Forma livre: Forma 116">
                <a:extLst>
                  <a:ext uri="{FF2B5EF4-FFF2-40B4-BE49-F238E27FC236}">
                    <a16:creationId xmlns:a16="http://schemas.microsoft.com/office/drawing/2014/main" id="{83B26FED-C3B1-3BD1-3B33-8D94BC4431BD}"/>
                  </a:ext>
                </a:extLst>
              </p:cNvPr>
              <p:cNvSpPr/>
              <p:nvPr/>
            </p:nvSpPr>
            <p:spPr>
              <a:xfrm>
                <a:off x="6191625" y="1405269"/>
                <a:ext cx="81451" cy="44043"/>
              </a:xfrm>
              <a:custGeom>
                <a:avLst/>
                <a:gdLst>
                  <a:gd name="connsiteX0" fmla="*/ 0 w 81451"/>
                  <a:gd name="connsiteY0" fmla="*/ 44044 h 44043"/>
                  <a:gd name="connsiteX1" fmla="*/ 37343 w 81451"/>
                  <a:gd name="connsiteY1" fmla="*/ 44044 h 44043"/>
                  <a:gd name="connsiteX2" fmla="*/ 81451 w 81451"/>
                  <a:gd name="connsiteY2" fmla="*/ 0 h 440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1451" h="44043">
                    <a:moveTo>
                      <a:pt x="0" y="44044"/>
                    </a:moveTo>
                    <a:lnTo>
                      <a:pt x="37343" y="44044"/>
                    </a:lnTo>
                    <a:lnTo>
                      <a:pt x="81451" y="0"/>
                    </a:lnTo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18" name="Forma livre: Forma 117">
                <a:extLst>
                  <a:ext uri="{FF2B5EF4-FFF2-40B4-BE49-F238E27FC236}">
                    <a16:creationId xmlns:a16="http://schemas.microsoft.com/office/drawing/2014/main" id="{D1ED0394-6057-B9F4-1A8F-983095A4BA16}"/>
                  </a:ext>
                </a:extLst>
              </p:cNvPr>
              <p:cNvSpPr/>
              <p:nvPr/>
            </p:nvSpPr>
            <p:spPr>
              <a:xfrm>
                <a:off x="6265075" y="1357908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0 h 55298"/>
                  <a:gd name="connsiteX2" fmla="*/ 0 w 55298"/>
                  <a:gd name="connsiteY2" fmla="*/ 27649 h 55298"/>
                  <a:gd name="connsiteX3" fmla="*/ 27649 w 55298"/>
                  <a:gd name="connsiteY3" fmla="*/ 55298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12361"/>
                      <a:pt x="42938" y="0"/>
                      <a:pt x="27649" y="0"/>
                    </a:cubicBezTo>
                    <a:cubicBezTo>
                      <a:pt x="12361" y="0"/>
                      <a:pt x="0" y="12361"/>
                      <a:pt x="0" y="27649"/>
                    </a:cubicBezTo>
                    <a:cubicBezTo>
                      <a:pt x="0" y="42938"/>
                      <a:pt x="12361" y="55298"/>
                      <a:pt x="27649" y="55298"/>
                    </a:cubicBezTo>
                    <a:cubicBezTo>
                      <a:pt x="42938" y="55298"/>
                      <a:pt x="55298" y="42938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11" name="Gráfico 32">
              <a:extLst>
                <a:ext uri="{FF2B5EF4-FFF2-40B4-BE49-F238E27FC236}">
                  <a16:creationId xmlns:a16="http://schemas.microsoft.com/office/drawing/2014/main" id="{291D4BA9-0332-B454-88B3-B77615DD267D}"/>
                </a:ext>
              </a:extLst>
            </p:cNvPr>
            <p:cNvGrpSpPr/>
            <p:nvPr/>
          </p:nvGrpSpPr>
          <p:grpSpPr>
            <a:xfrm>
              <a:off x="6190910" y="1529723"/>
              <a:ext cx="123673" cy="55298"/>
              <a:chOff x="6190910" y="1529723"/>
              <a:chExt cx="123673" cy="55298"/>
            </a:xfrm>
            <a:noFill/>
          </p:grpSpPr>
          <p:sp>
            <p:nvSpPr>
              <p:cNvPr id="113" name="Forma livre: Forma 112">
                <a:extLst>
                  <a:ext uri="{FF2B5EF4-FFF2-40B4-BE49-F238E27FC236}">
                    <a16:creationId xmlns:a16="http://schemas.microsoft.com/office/drawing/2014/main" id="{84C890BE-DF76-18AC-174A-3B12E076616C}"/>
                  </a:ext>
                </a:extLst>
              </p:cNvPr>
              <p:cNvSpPr/>
              <p:nvPr/>
            </p:nvSpPr>
            <p:spPr>
              <a:xfrm>
                <a:off x="6190910" y="1557372"/>
                <a:ext cx="68765" cy="6505"/>
              </a:xfrm>
              <a:custGeom>
                <a:avLst/>
                <a:gdLst>
                  <a:gd name="connsiteX0" fmla="*/ 0 w 68765"/>
                  <a:gd name="connsiteY0" fmla="*/ 0 h 6505"/>
                  <a:gd name="connsiteX1" fmla="*/ 68765 w 68765"/>
                  <a:gd name="connsiteY1" fmla="*/ 0 h 65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8765" h="6505">
                    <a:moveTo>
                      <a:pt x="0" y="0"/>
                    </a:moveTo>
                    <a:lnTo>
                      <a:pt x="68765" y="0"/>
                    </a:lnTo>
                  </a:path>
                </a:pathLst>
              </a:custGeom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14" name="Forma livre: Forma 113">
                <a:extLst>
                  <a:ext uri="{FF2B5EF4-FFF2-40B4-BE49-F238E27FC236}">
                    <a16:creationId xmlns:a16="http://schemas.microsoft.com/office/drawing/2014/main" id="{BC7B08CF-EE0C-CDEF-9680-A01419EAD31C}"/>
                  </a:ext>
                </a:extLst>
              </p:cNvPr>
              <p:cNvSpPr/>
              <p:nvPr/>
            </p:nvSpPr>
            <p:spPr>
              <a:xfrm>
                <a:off x="6259285" y="1529723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12" name="Forma livre: Forma 111">
              <a:extLst>
                <a:ext uri="{FF2B5EF4-FFF2-40B4-BE49-F238E27FC236}">
                  <a16:creationId xmlns:a16="http://schemas.microsoft.com/office/drawing/2014/main" id="{1A7B2E52-6910-8A92-E5CB-8DBD41F5FBCB}"/>
                </a:ext>
              </a:extLst>
            </p:cNvPr>
            <p:cNvSpPr/>
            <p:nvPr/>
          </p:nvSpPr>
          <p:spPr>
            <a:xfrm>
              <a:off x="6152201" y="1686285"/>
              <a:ext cx="37362" cy="20848"/>
            </a:xfrm>
            <a:custGeom>
              <a:avLst/>
              <a:gdLst>
                <a:gd name="connsiteX0" fmla="*/ 0 w 37362"/>
                <a:gd name="connsiteY0" fmla="*/ 10505 h 20848"/>
                <a:gd name="connsiteX1" fmla="*/ 27064 w 37362"/>
                <a:gd name="connsiteY1" fmla="*/ 2373 h 20848"/>
                <a:gd name="connsiteX2" fmla="*/ 37343 w 37362"/>
                <a:gd name="connsiteY2" fmla="*/ 20849 h 20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7362" h="20848">
                  <a:moveTo>
                    <a:pt x="0" y="10505"/>
                  </a:moveTo>
                  <a:cubicBezTo>
                    <a:pt x="5205" y="811"/>
                    <a:pt x="17435" y="-2832"/>
                    <a:pt x="27064" y="2373"/>
                  </a:cubicBezTo>
                  <a:cubicBezTo>
                    <a:pt x="34025" y="6081"/>
                    <a:pt x="37668" y="13432"/>
                    <a:pt x="37343" y="20849"/>
                  </a:cubicBezTo>
                </a:path>
              </a:pathLst>
            </a:custGeom>
            <a:noFill/>
            <a:ln w="19050" cap="sq">
              <a:solidFill>
                <a:srgbClr val="00FF94"/>
              </a:solidFill>
              <a:prstDash val="solid"/>
              <a:miter lim="800000"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29" name="Agrupar 128">
            <a:extLst>
              <a:ext uri="{FF2B5EF4-FFF2-40B4-BE49-F238E27FC236}">
                <a16:creationId xmlns:a16="http://schemas.microsoft.com/office/drawing/2014/main" id="{599841CC-1466-5306-FE6B-A929C7CA3741}"/>
              </a:ext>
            </a:extLst>
          </p:cNvPr>
          <p:cNvGrpSpPr/>
          <p:nvPr/>
        </p:nvGrpSpPr>
        <p:grpSpPr>
          <a:xfrm>
            <a:off x="4317875" y="4273639"/>
            <a:ext cx="459831" cy="502163"/>
            <a:chOff x="6000092" y="1357908"/>
            <a:chExt cx="365300" cy="398929"/>
          </a:xfrm>
        </p:grpSpPr>
        <p:sp>
          <p:nvSpPr>
            <p:cNvPr id="130" name="Forma livre: Forma 129">
              <a:extLst>
                <a:ext uri="{FF2B5EF4-FFF2-40B4-BE49-F238E27FC236}">
                  <a16:creationId xmlns:a16="http://schemas.microsoft.com/office/drawing/2014/main" id="{B5C93ADE-62B5-A3F0-B7AE-BC378DD4D994}"/>
                </a:ext>
              </a:extLst>
            </p:cNvPr>
            <p:cNvSpPr/>
            <p:nvPr/>
          </p:nvSpPr>
          <p:spPr>
            <a:xfrm>
              <a:off x="6000092" y="1418606"/>
              <a:ext cx="84058" cy="286120"/>
            </a:xfrm>
            <a:custGeom>
              <a:avLst/>
              <a:gdLst>
                <a:gd name="connsiteX0" fmla="*/ 51595 w 84058"/>
                <a:gd name="connsiteY0" fmla="*/ 0 h 286120"/>
                <a:gd name="connsiteX1" fmla="*/ 35266 w 84058"/>
                <a:gd name="connsiteY1" fmla="*/ 61674 h 286120"/>
                <a:gd name="connsiteX2" fmla="*/ 28760 w 84058"/>
                <a:gd name="connsiteY2" fmla="*/ 193415 h 286120"/>
                <a:gd name="connsiteX3" fmla="*/ 84059 w 84058"/>
                <a:gd name="connsiteY3" fmla="*/ 286121 h 2861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4058" h="286120">
                  <a:moveTo>
                    <a:pt x="51595" y="0"/>
                  </a:moveTo>
                  <a:cubicBezTo>
                    <a:pt x="37868" y="7872"/>
                    <a:pt x="26028" y="24852"/>
                    <a:pt x="35266" y="61674"/>
                  </a:cubicBezTo>
                  <a:cubicBezTo>
                    <a:pt x="35266" y="61674"/>
                    <a:pt x="-39549" y="126731"/>
                    <a:pt x="28760" y="193415"/>
                  </a:cubicBezTo>
                  <a:cubicBezTo>
                    <a:pt x="28760" y="193415"/>
                    <a:pt x="9243" y="281242"/>
                    <a:pt x="84059" y="286121"/>
                  </a:cubicBezTo>
                </a:path>
              </a:pathLst>
            </a:custGeom>
            <a:noFill/>
            <a:ln w="19050" cap="sq">
              <a:solidFill>
                <a:srgbClr val="00FF94"/>
              </a:solidFill>
              <a:prstDash val="solid"/>
              <a:miter lim="800000"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31" name="Gráfico 32">
              <a:extLst>
                <a:ext uri="{FF2B5EF4-FFF2-40B4-BE49-F238E27FC236}">
                  <a16:creationId xmlns:a16="http://schemas.microsoft.com/office/drawing/2014/main" id="{4E97E222-C08E-7567-107F-351C39222DCA}"/>
                </a:ext>
              </a:extLst>
            </p:cNvPr>
            <p:cNvGrpSpPr/>
            <p:nvPr/>
          </p:nvGrpSpPr>
          <p:grpSpPr>
            <a:xfrm>
              <a:off x="6061121" y="1359924"/>
              <a:ext cx="128487" cy="396366"/>
              <a:chOff x="6061121" y="1359924"/>
              <a:chExt cx="128487" cy="396366"/>
            </a:xfrm>
            <a:noFill/>
          </p:grpSpPr>
          <p:sp>
            <p:nvSpPr>
              <p:cNvPr id="146" name="Forma livre: Forma 145">
                <a:extLst>
                  <a:ext uri="{FF2B5EF4-FFF2-40B4-BE49-F238E27FC236}">
                    <a16:creationId xmlns:a16="http://schemas.microsoft.com/office/drawing/2014/main" id="{2F75D842-E45F-F11C-C6B9-72485118465F}"/>
                  </a:ext>
                </a:extLst>
              </p:cNvPr>
              <p:cNvSpPr/>
              <p:nvPr/>
            </p:nvSpPr>
            <p:spPr>
              <a:xfrm>
                <a:off x="6083891" y="1359924"/>
                <a:ext cx="105717" cy="396366"/>
              </a:xfrm>
              <a:custGeom>
                <a:avLst/>
                <a:gdLst>
                  <a:gd name="connsiteX0" fmla="*/ 52891 w 105717"/>
                  <a:gd name="connsiteY0" fmla="*/ 105718 h 396366"/>
                  <a:gd name="connsiteX1" fmla="*/ 0 w 105717"/>
                  <a:gd name="connsiteY1" fmla="*/ 52891 h 396366"/>
                  <a:gd name="connsiteX2" fmla="*/ 52891 w 105717"/>
                  <a:gd name="connsiteY2" fmla="*/ 0 h 396366"/>
                  <a:gd name="connsiteX3" fmla="*/ 105718 w 105717"/>
                  <a:gd name="connsiteY3" fmla="*/ 52826 h 396366"/>
                  <a:gd name="connsiteX4" fmla="*/ 105718 w 105717"/>
                  <a:gd name="connsiteY4" fmla="*/ 346884 h 396366"/>
                  <a:gd name="connsiteX5" fmla="*/ 80606 w 105717"/>
                  <a:gd name="connsiteY5" fmla="*/ 388911 h 396366"/>
                  <a:gd name="connsiteX6" fmla="*/ 9238 w 105717"/>
                  <a:gd name="connsiteY6" fmla="*/ 371150 h 396366"/>
                  <a:gd name="connsiteX7" fmla="*/ 15484 w 105717"/>
                  <a:gd name="connsiteY7" fmla="*/ 309216 h 396366"/>
                  <a:gd name="connsiteX8" fmla="*/ 45019 w 105717"/>
                  <a:gd name="connsiteY8" fmla="*/ 277078 h 3963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05717" h="396366">
                    <a:moveTo>
                      <a:pt x="52891" y="105718"/>
                    </a:moveTo>
                    <a:cubicBezTo>
                      <a:pt x="23681" y="105718"/>
                      <a:pt x="0" y="82037"/>
                      <a:pt x="0" y="52891"/>
                    </a:cubicBezTo>
                    <a:cubicBezTo>
                      <a:pt x="0" y="23746"/>
                      <a:pt x="23681" y="0"/>
                      <a:pt x="52891" y="0"/>
                    </a:cubicBezTo>
                    <a:cubicBezTo>
                      <a:pt x="82102" y="0"/>
                      <a:pt x="105718" y="23681"/>
                      <a:pt x="105718" y="52826"/>
                    </a:cubicBezTo>
                    <a:lnTo>
                      <a:pt x="105718" y="346884"/>
                    </a:lnTo>
                    <a:cubicBezTo>
                      <a:pt x="105718" y="364580"/>
                      <a:pt x="96414" y="379413"/>
                      <a:pt x="80606" y="388911"/>
                    </a:cubicBezTo>
                    <a:cubicBezTo>
                      <a:pt x="55949" y="403744"/>
                      <a:pt x="24006" y="395742"/>
                      <a:pt x="9238" y="371150"/>
                    </a:cubicBezTo>
                    <a:cubicBezTo>
                      <a:pt x="-2928" y="350918"/>
                      <a:pt x="260" y="325741"/>
                      <a:pt x="15484" y="309216"/>
                    </a:cubicBezTo>
                    <a:lnTo>
                      <a:pt x="45019" y="277078"/>
                    </a:lnTo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47" name="Forma livre: Forma 146">
                <a:extLst>
                  <a:ext uri="{FF2B5EF4-FFF2-40B4-BE49-F238E27FC236}">
                    <a16:creationId xmlns:a16="http://schemas.microsoft.com/office/drawing/2014/main" id="{D6490456-C1A5-EB3E-DC68-5024E6107F17}"/>
                  </a:ext>
                </a:extLst>
              </p:cNvPr>
              <p:cNvSpPr/>
              <p:nvPr/>
            </p:nvSpPr>
            <p:spPr>
              <a:xfrm>
                <a:off x="6144784" y="1383865"/>
                <a:ext cx="41563" cy="38963"/>
              </a:xfrm>
              <a:custGeom>
                <a:avLst/>
                <a:gdLst>
                  <a:gd name="connsiteX0" fmla="*/ 36172 w 41563"/>
                  <a:gd name="connsiteY0" fmla="*/ 0 h 38963"/>
                  <a:gd name="connsiteX1" fmla="*/ 39425 w 41563"/>
                  <a:gd name="connsiteY1" fmla="*/ 24266 h 38963"/>
                  <a:gd name="connsiteX2" fmla="*/ 36432 w 41563"/>
                  <a:gd name="connsiteY2" fmla="*/ 29080 h 38963"/>
                  <a:gd name="connsiteX3" fmla="*/ 0 w 41563"/>
                  <a:gd name="connsiteY3" fmla="*/ 33439 h 389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563" h="38963">
                    <a:moveTo>
                      <a:pt x="36172" y="0"/>
                    </a:moveTo>
                    <a:cubicBezTo>
                      <a:pt x="41571" y="7547"/>
                      <a:pt x="43393" y="16004"/>
                      <a:pt x="39425" y="24266"/>
                    </a:cubicBezTo>
                    <a:cubicBezTo>
                      <a:pt x="38644" y="25893"/>
                      <a:pt x="37603" y="27519"/>
                      <a:pt x="36432" y="29080"/>
                    </a:cubicBezTo>
                    <a:cubicBezTo>
                      <a:pt x="27584" y="40270"/>
                      <a:pt x="11190" y="42287"/>
                      <a:pt x="0" y="33439"/>
                    </a:cubicBezTo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48" name="Forma livre: Forma 147">
                <a:extLst>
                  <a:ext uri="{FF2B5EF4-FFF2-40B4-BE49-F238E27FC236}">
                    <a16:creationId xmlns:a16="http://schemas.microsoft.com/office/drawing/2014/main" id="{8397A44B-E1B6-9F8A-0E02-15A412733C09}"/>
                  </a:ext>
                </a:extLst>
              </p:cNvPr>
              <p:cNvSpPr/>
              <p:nvPr/>
            </p:nvSpPr>
            <p:spPr>
              <a:xfrm>
                <a:off x="6081487" y="1460806"/>
                <a:ext cx="34217" cy="54474"/>
              </a:xfrm>
              <a:custGeom>
                <a:avLst/>
                <a:gdLst>
                  <a:gd name="connsiteX0" fmla="*/ 21076 w 34217"/>
                  <a:gd name="connsiteY0" fmla="*/ 54475 h 54474"/>
                  <a:gd name="connsiteX1" fmla="*/ 778 w 34217"/>
                  <a:gd name="connsiteY1" fmla="*/ 21035 h 54474"/>
                  <a:gd name="connsiteX2" fmla="*/ 34217 w 34217"/>
                  <a:gd name="connsiteY2" fmla="*/ 803 h 544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4217" h="54474">
                    <a:moveTo>
                      <a:pt x="21076" y="54475"/>
                    </a:moveTo>
                    <a:cubicBezTo>
                      <a:pt x="6308" y="50832"/>
                      <a:pt x="-2800" y="35803"/>
                      <a:pt x="778" y="21035"/>
                    </a:cubicBezTo>
                    <a:cubicBezTo>
                      <a:pt x="4421" y="6267"/>
                      <a:pt x="19449" y="-2841"/>
                      <a:pt x="34217" y="803"/>
                    </a:cubicBezTo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49" name="Forma livre: Forma 148">
                <a:extLst>
                  <a:ext uri="{FF2B5EF4-FFF2-40B4-BE49-F238E27FC236}">
                    <a16:creationId xmlns:a16="http://schemas.microsoft.com/office/drawing/2014/main" id="{5A5B8C05-FB35-55E6-B7C6-EE6CDBBCEA5B}"/>
                  </a:ext>
                </a:extLst>
              </p:cNvPr>
              <p:cNvSpPr/>
              <p:nvPr/>
            </p:nvSpPr>
            <p:spPr>
              <a:xfrm>
                <a:off x="6073547" y="1527543"/>
                <a:ext cx="114760" cy="72506"/>
              </a:xfrm>
              <a:custGeom>
                <a:avLst/>
                <a:gdLst>
                  <a:gd name="connsiteX0" fmla="*/ 114760 w 114760"/>
                  <a:gd name="connsiteY0" fmla="*/ 7254 h 72506"/>
                  <a:gd name="connsiteX1" fmla="*/ 73905 w 114760"/>
                  <a:gd name="connsiteY1" fmla="*/ 8881 h 72506"/>
                  <a:gd name="connsiteX2" fmla="*/ 0 w 114760"/>
                  <a:gd name="connsiteY2" fmla="*/ 72506 h 725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14760" h="72506">
                    <a:moveTo>
                      <a:pt x="114760" y="7254"/>
                    </a:moveTo>
                    <a:cubicBezTo>
                      <a:pt x="103375" y="-2830"/>
                      <a:pt x="83989" y="-2504"/>
                      <a:pt x="73905" y="8881"/>
                    </a:cubicBezTo>
                    <a:cubicBezTo>
                      <a:pt x="73905" y="8881"/>
                      <a:pt x="31488" y="72506"/>
                      <a:pt x="0" y="72506"/>
                    </a:cubicBezTo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50" name="Forma livre: Forma 149">
                <a:extLst>
                  <a:ext uri="{FF2B5EF4-FFF2-40B4-BE49-F238E27FC236}">
                    <a16:creationId xmlns:a16="http://schemas.microsoft.com/office/drawing/2014/main" id="{2E02C81F-9062-B311-B6F5-4AEF76B6C796}"/>
                  </a:ext>
                </a:extLst>
              </p:cNvPr>
              <p:cNvSpPr/>
              <p:nvPr/>
            </p:nvSpPr>
            <p:spPr>
              <a:xfrm>
                <a:off x="6079857" y="1646956"/>
                <a:ext cx="29405" cy="9823"/>
              </a:xfrm>
              <a:custGeom>
                <a:avLst/>
                <a:gdLst>
                  <a:gd name="connsiteX0" fmla="*/ 0 w 29405"/>
                  <a:gd name="connsiteY0" fmla="*/ 0 h 9823"/>
                  <a:gd name="connsiteX1" fmla="*/ 29406 w 29405"/>
                  <a:gd name="connsiteY1" fmla="*/ 9824 h 98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9405" h="9823">
                    <a:moveTo>
                      <a:pt x="0" y="0"/>
                    </a:moveTo>
                    <a:lnTo>
                      <a:pt x="29406" y="9824"/>
                    </a:lnTo>
                  </a:path>
                </a:pathLst>
              </a:custGeom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51" name="Forma livre: Forma 150">
                <a:extLst>
                  <a:ext uri="{FF2B5EF4-FFF2-40B4-BE49-F238E27FC236}">
                    <a16:creationId xmlns:a16="http://schemas.microsoft.com/office/drawing/2014/main" id="{DEC94C18-2B5E-129E-4999-813C2153C0D1}"/>
                  </a:ext>
                </a:extLst>
              </p:cNvPr>
              <p:cNvSpPr/>
              <p:nvPr/>
            </p:nvSpPr>
            <p:spPr>
              <a:xfrm>
                <a:off x="6061121" y="1545272"/>
                <a:ext cx="47166" cy="34154"/>
              </a:xfrm>
              <a:custGeom>
                <a:avLst/>
                <a:gdLst>
                  <a:gd name="connsiteX0" fmla="*/ 0 w 47166"/>
                  <a:gd name="connsiteY0" fmla="*/ 0 h 34154"/>
                  <a:gd name="connsiteX1" fmla="*/ 47166 w 47166"/>
                  <a:gd name="connsiteY1" fmla="*/ 34155 h 341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166" h="34154">
                    <a:moveTo>
                      <a:pt x="0" y="0"/>
                    </a:moveTo>
                    <a:cubicBezTo>
                      <a:pt x="0" y="0"/>
                      <a:pt x="27649" y="13011"/>
                      <a:pt x="47166" y="34155"/>
                    </a:cubicBezTo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32" name="Gráfico 32">
              <a:extLst>
                <a:ext uri="{FF2B5EF4-FFF2-40B4-BE49-F238E27FC236}">
                  <a16:creationId xmlns:a16="http://schemas.microsoft.com/office/drawing/2014/main" id="{7F9C3494-B6CC-D952-4663-90FDA929D713}"/>
                </a:ext>
              </a:extLst>
            </p:cNvPr>
            <p:cNvGrpSpPr/>
            <p:nvPr/>
          </p:nvGrpSpPr>
          <p:grpSpPr>
            <a:xfrm>
              <a:off x="6191625" y="1599725"/>
              <a:ext cx="173767" cy="157112"/>
              <a:chOff x="6191625" y="1599725"/>
              <a:chExt cx="173767" cy="157112"/>
            </a:xfrm>
            <a:noFill/>
          </p:grpSpPr>
          <p:sp>
            <p:nvSpPr>
              <p:cNvPr id="142" name="Forma livre: Forma 141">
                <a:extLst>
                  <a:ext uri="{FF2B5EF4-FFF2-40B4-BE49-F238E27FC236}">
                    <a16:creationId xmlns:a16="http://schemas.microsoft.com/office/drawing/2014/main" id="{5741A59A-8997-F315-0E60-0C79DCF8F014}"/>
                  </a:ext>
                </a:extLst>
              </p:cNvPr>
              <p:cNvSpPr/>
              <p:nvPr/>
            </p:nvSpPr>
            <p:spPr>
              <a:xfrm>
                <a:off x="6310094" y="1621974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43" name="Forma livre: Forma 142">
                <a:extLst>
                  <a:ext uri="{FF2B5EF4-FFF2-40B4-BE49-F238E27FC236}">
                    <a16:creationId xmlns:a16="http://schemas.microsoft.com/office/drawing/2014/main" id="{115B8979-FB57-F671-3C0B-52BADC21FD90}"/>
                  </a:ext>
                </a:extLst>
              </p:cNvPr>
              <p:cNvSpPr/>
              <p:nvPr/>
            </p:nvSpPr>
            <p:spPr>
              <a:xfrm>
                <a:off x="6191625" y="1599725"/>
                <a:ext cx="118078" cy="49898"/>
              </a:xfrm>
              <a:custGeom>
                <a:avLst/>
                <a:gdLst>
                  <a:gd name="connsiteX0" fmla="*/ 0 w 118078"/>
                  <a:gd name="connsiteY0" fmla="*/ 0 h 49898"/>
                  <a:gd name="connsiteX1" fmla="*/ 37343 w 118078"/>
                  <a:gd name="connsiteY1" fmla="*/ 0 h 49898"/>
                  <a:gd name="connsiteX2" fmla="*/ 87176 w 118078"/>
                  <a:gd name="connsiteY2" fmla="*/ 49899 h 49898"/>
                  <a:gd name="connsiteX3" fmla="*/ 118078 w 118078"/>
                  <a:gd name="connsiteY3" fmla="*/ 49899 h 49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8078" h="49898">
                    <a:moveTo>
                      <a:pt x="0" y="0"/>
                    </a:moveTo>
                    <a:lnTo>
                      <a:pt x="37343" y="0"/>
                    </a:lnTo>
                    <a:lnTo>
                      <a:pt x="87176" y="49899"/>
                    </a:lnTo>
                    <a:lnTo>
                      <a:pt x="118078" y="49899"/>
                    </a:lnTo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44" name="Forma livre: Forma 143">
                <a:extLst>
                  <a:ext uri="{FF2B5EF4-FFF2-40B4-BE49-F238E27FC236}">
                    <a16:creationId xmlns:a16="http://schemas.microsoft.com/office/drawing/2014/main" id="{81B843DD-EE26-9877-0837-51DA990E3E65}"/>
                  </a:ext>
                </a:extLst>
              </p:cNvPr>
              <p:cNvSpPr/>
              <p:nvPr/>
            </p:nvSpPr>
            <p:spPr>
              <a:xfrm>
                <a:off x="6191625" y="1665367"/>
                <a:ext cx="81906" cy="44108"/>
              </a:xfrm>
              <a:custGeom>
                <a:avLst/>
                <a:gdLst>
                  <a:gd name="connsiteX0" fmla="*/ 0 w 81906"/>
                  <a:gd name="connsiteY0" fmla="*/ 0 h 44108"/>
                  <a:gd name="connsiteX1" fmla="*/ 37343 w 81906"/>
                  <a:gd name="connsiteY1" fmla="*/ 0 h 44108"/>
                  <a:gd name="connsiteX2" fmla="*/ 81907 w 81906"/>
                  <a:gd name="connsiteY2" fmla="*/ 44109 h 441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1906" h="44108">
                    <a:moveTo>
                      <a:pt x="0" y="0"/>
                    </a:moveTo>
                    <a:lnTo>
                      <a:pt x="37343" y="0"/>
                    </a:lnTo>
                    <a:lnTo>
                      <a:pt x="81907" y="44109"/>
                    </a:lnTo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45" name="Forma livre: Forma 144">
                <a:extLst>
                  <a:ext uri="{FF2B5EF4-FFF2-40B4-BE49-F238E27FC236}">
                    <a16:creationId xmlns:a16="http://schemas.microsoft.com/office/drawing/2014/main" id="{41951C2F-48B3-366A-7055-3E707BF280ED}"/>
                  </a:ext>
                </a:extLst>
              </p:cNvPr>
              <p:cNvSpPr/>
              <p:nvPr/>
            </p:nvSpPr>
            <p:spPr>
              <a:xfrm>
                <a:off x="6265075" y="1701539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33" name="Gráfico 32">
              <a:extLst>
                <a:ext uri="{FF2B5EF4-FFF2-40B4-BE49-F238E27FC236}">
                  <a16:creationId xmlns:a16="http://schemas.microsoft.com/office/drawing/2014/main" id="{212D7F1B-90FD-D492-0447-611A7681129B}"/>
                </a:ext>
              </a:extLst>
            </p:cNvPr>
            <p:cNvGrpSpPr/>
            <p:nvPr/>
          </p:nvGrpSpPr>
          <p:grpSpPr>
            <a:xfrm>
              <a:off x="6191625" y="1357908"/>
              <a:ext cx="173767" cy="157112"/>
              <a:chOff x="6191625" y="1357908"/>
              <a:chExt cx="173767" cy="157112"/>
            </a:xfrm>
            <a:noFill/>
          </p:grpSpPr>
          <p:sp>
            <p:nvSpPr>
              <p:cNvPr id="138" name="Forma livre: Forma 137">
                <a:extLst>
                  <a:ext uri="{FF2B5EF4-FFF2-40B4-BE49-F238E27FC236}">
                    <a16:creationId xmlns:a16="http://schemas.microsoft.com/office/drawing/2014/main" id="{A5483366-3D32-1C97-CCB6-D62076DCD844}"/>
                  </a:ext>
                </a:extLst>
              </p:cNvPr>
              <p:cNvSpPr/>
              <p:nvPr/>
            </p:nvSpPr>
            <p:spPr>
              <a:xfrm>
                <a:off x="6310094" y="1437472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0 h 55298"/>
                  <a:gd name="connsiteX2" fmla="*/ 0 w 55298"/>
                  <a:gd name="connsiteY2" fmla="*/ 27649 h 55298"/>
                  <a:gd name="connsiteX3" fmla="*/ 27649 w 55298"/>
                  <a:gd name="connsiteY3" fmla="*/ 55298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12361"/>
                      <a:pt x="42938" y="0"/>
                      <a:pt x="27649" y="0"/>
                    </a:cubicBezTo>
                    <a:cubicBezTo>
                      <a:pt x="12361" y="0"/>
                      <a:pt x="0" y="12361"/>
                      <a:pt x="0" y="27649"/>
                    </a:cubicBezTo>
                    <a:cubicBezTo>
                      <a:pt x="0" y="42938"/>
                      <a:pt x="12361" y="55298"/>
                      <a:pt x="27649" y="55298"/>
                    </a:cubicBezTo>
                    <a:cubicBezTo>
                      <a:pt x="42938" y="55298"/>
                      <a:pt x="55298" y="42938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39" name="Forma livre: Forma 138">
                <a:extLst>
                  <a:ext uri="{FF2B5EF4-FFF2-40B4-BE49-F238E27FC236}">
                    <a16:creationId xmlns:a16="http://schemas.microsoft.com/office/drawing/2014/main" id="{44A9ABF2-0209-2990-1032-DAD6418C4C82}"/>
                  </a:ext>
                </a:extLst>
              </p:cNvPr>
              <p:cNvSpPr/>
              <p:nvPr/>
            </p:nvSpPr>
            <p:spPr>
              <a:xfrm>
                <a:off x="6191625" y="1465122"/>
                <a:ext cx="118468" cy="49898"/>
              </a:xfrm>
              <a:custGeom>
                <a:avLst/>
                <a:gdLst>
                  <a:gd name="connsiteX0" fmla="*/ 0 w 118468"/>
                  <a:gd name="connsiteY0" fmla="*/ 49899 h 49898"/>
                  <a:gd name="connsiteX1" fmla="*/ 37343 w 118468"/>
                  <a:gd name="connsiteY1" fmla="*/ 49899 h 49898"/>
                  <a:gd name="connsiteX2" fmla="*/ 87176 w 118468"/>
                  <a:gd name="connsiteY2" fmla="*/ 0 h 49898"/>
                  <a:gd name="connsiteX3" fmla="*/ 118469 w 118468"/>
                  <a:gd name="connsiteY3" fmla="*/ 0 h 49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8468" h="49898">
                    <a:moveTo>
                      <a:pt x="0" y="49899"/>
                    </a:moveTo>
                    <a:lnTo>
                      <a:pt x="37343" y="49899"/>
                    </a:lnTo>
                    <a:lnTo>
                      <a:pt x="87176" y="0"/>
                    </a:lnTo>
                    <a:lnTo>
                      <a:pt x="118469" y="0"/>
                    </a:lnTo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40" name="Forma livre: Forma 139">
                <a:extLst>
                  <a:ext uri="{FF2B5EF4-FFF2-40B4-BE49-F238E27FC236}">
                    <a16:creationId xmlns:a16="http://schemas.microsoft.com/office/drawing/2014/main" id="{40208D7B-D505-BCA3-2656-2279359AED17}"/>
                  </a:ext>
                </a:extLst>
              </p:cNvPr>
              <p:cNvSpPr/>
              <p:nvPr/>
            </p:nvSpPr>
            <p:spPr>
              <a:xfrm>
                <a:off x="6191625" y="1405269"/>
                <a:ext cx="81451" cy="44043"/>
              </a:xfrm>
              <a:custGeom>
                <a:avLst/>
                <a:gdLst>
                  <a:gd name="connsiteX0" fmla="*/ 0 w 81451"/>
                  <a:gd name="connsiteY0" fmla="*/ 44044 h 44043"/>
                  <a:gd name="connsiteX1" fmla="*/ 37343 w 81451"/>
                  <a:gd name="connsiteY1" fmla="*/ 44044 h 44043"/>
                  <a:gd name="connsiteX2" fmla="*/ 81451 w 81451"/>
                  <a:gd name="connsiteY2" fmla="*/ 0 h 440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1451" h="44043">
                    <a:moveTo>
                      <a:pt x="0" y="44044"/>
                    </a:moveTo>
                    <a:lnTo>
                      <a:pt x="37343" y="44044"/>
                    </a:lnTo>
                    <a:lnTo>
                      <a:pt x="81451" y="0"/>
                    </a:lnTo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41" name="Forma livre: Forma 140">
                <a:extLst>
                  <a:ext uri="{FF2B5EF4-FFF2-40B4-BE49-F238E27FC236}">
                    <a16:creationId xmlns:a16="http://schemas.microsoft.com/office/drawing/2014/main" id="{1DAC56D0-06E1-DBAD-1E5A-DE9C91E0E910}"/>
                  </a:ext>
                </a:extLst>
              </p:cNvPr>
              <p:cNvSpPr/>
              <p:nvPr/>
            </p:nvSpPr>
            <p:spPr>
              <a:xfrm>
                <a:off x="6265075" y="1357908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0 h 55298"/>
                  <a:gd name="connsiteX2" fmla="*/ 0 w 55298"/>
                  <a:gd name="connsiteY2" fmla="*/ 27649 h 55298"/>
                  <a:gd name="connsiteX3" fmla="*/ 27649 w 55298"/>
                  <a:gd name="connsiteY3" fmla="*/ 55298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12361"/>
                      <a:pt x="42938" y="0"/>
                      <a:pt x="27649" y="0"/>
                    </a:cubicBezTo>
                    <a:cubicBezTo>
                      <a:pt x="12361" y="0"/>
                      <a:pt x="0" y="12361"/>
                      <a:pt x="0" y="27649"/>
                    </a:cubicBezTo>
                    <a:cubicBezTo>
                      <a:pt x="0" y="42938"/>
                      <a:pt x="12361" y="55298"/>
                      <a:pt x="27649" y="55298"/>
                    </a:cubicBezTo>
                    <a:cubicBezTo>
                      <a:pt x="42938" y="55298"/>
                      <a:pt x="55298" y="42938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34" name="Gráfico 32">
              <a:extLst>
                <a:ext uri="{FF2B5EF4-FFF2-40B4-BE49-F238E27FC236}">
                  <a16:creationId xmlns:a16="http://schemas.microsoft.com/office/drawing/2014/main" id="{D61ED140-C29B-4792-124C-BB3832B1EE45}"/>
                </a:ext>
              </a:extLst>
            </p:cNvPr>
            <p:cNvGrpSpPr/>
            <p:nvPr/>
          </p:nvGrpSpPr>
          <p:grpSpPr>
            <a:xfrm>
              <a:off x="6190910" y="1529723"/>
              <a:ext cx="123673" cy="55298"/>
              <a:chOff x="6190910" y="1529723"/>
              <a:chExt cx="123673" cy="55298"/>
            </a:xfrm>
            <a:noFill/>
          </p:grpSpPr>
          <p:sp>
            <p:nvSpPr>
              <p:cNvPr id="136" name="Forma livre: Forma 135">
                <a:extLst>
                  <a:ext uri="{FF2B5EF4-FFF2-40B4-BE49-F238E27FC236}">
                    <a16:creationId xmlns:a16="http://schemas.microsoft.com/office/drawing/2014/main" id="{A8159DDA-0F7A-725B-C26B-45892081EB18}"/>
                  </a:ext>
                </a:extLst>
              </p:cNvPr>
              <p:cNvSpPr/>
              <p:nvPr/>
            </p:nvSpPr>
            <p:spPr>
              <a:xfrm>
                <a:off x="6190910" y="1557372"/>
                <a:ext cx="68765" cy="6505"/>
              </a:xfrm>
              <a:custGeom>
                <a:avLst/>
                <a:gdLst>
                  <a:gd name="connsiteX0" fmla="*/ 0 w 68765"/>
                  <a:gd name="connsiteY0" fmla="*/ 0 h 6505"/>
                  <a:gd name="connsiteX1" fmla="*/ 68765 w 68765"/>
                  <a:gd name="connsiteY1" fmla="*/ 0 h 65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8765" h="6505">
                    <a:moveTo>
                      <a:pt x="0" y="0"/>
                    </a:moveTo>
                    <a:lnTo>
                      <a:pt x="68765" y="0"/>
                    </a:lnTo>
                  </a:path>
                </a:pathLst>
              </a:custGeom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37" name="Forma livre: Forma 136">
                <a:extLst>
                  <a:ext uri="{FF2B5EF4-FFF2-40B4-BE49-F238E27FC236}">
                    <a16:creationId xmlns:a16="http://schemas.microsoft.com/office/drawing/2014/main" id="{D1F5B9E6-0BB3-C1F7-79B4-C3450A3B6FC6}"/>
                  </a:ext>
                </a:extLst>
              </p:cNvPr>
              <p:cNvSpPr/>
              <p:nvPr/>
            </p:nvSpPr>
            <p:spPr>
              <a:xfrm>
                <a:off x="6259285" y="1529723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35" name="Forma livre: Forma 134">
              <a:extLst>
                <a:ext uri="{FF2B5EF4-FFF2-40B4-BE49-F238E27FC236}">
                  <a16:creationId xmlns:a16="http://schemas.microsoft.com/office/drawing/2014/main" id="{40C9E9A6-5412-A038-4CD4-CA674637B687}"/>
                </a:ext>
              </a:extLst>
            </p:cNvPr>
            <p:cNvSpPr/>
            <p:nvPr/>
          </p:nvSpPr>
          <p:spPr>
            <a:xfrm>
              <a:off x="6152201" y="1686285"/>
              <a:ext cx="37362" cy="20848"/>
            </a:xfrm>
            <a:custGeom>
              <a:avLst/>
              <a:gdLst>
                <a:gd name="connsiteX0" fmla="*/ 0 w 37362"/>
                <a:gd name="connsiteY0" fmla="*/ 10505 h 20848"/>
                <a:gd name="connsiteX1" fmla="*/ 27064 w 37362"/>
                <a:gd name="connsiteY1" fmla="*/ 2373 h 20848"/>
                <a:gd name="connsiteX2" fmla="*/ 37343 w 37362"/>
                <a:gd name="connsiteY2" fmla="*/ 20849 h 20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7362" h="20848">
                  <a:moveTo>
                    <a:pt x="0" y="10505"/>
                  </a:moveTo>
                  <a:cubicBezTo>
                    <a:pt x="5205" y="811"/>
                    <a:pt x="17435" y="-2832"/>
                    <a:pt x="27064" y="2373"/>
                  </a:cubicBezTo>
                  <a:cubicBezTo>
                    <a:pt x="34025" y="6081"/>
                    <a:pt x="37668" y="13432"/>
                    <a:pt x="37343" y="20849"/>
                  </a:cubicBezTo>
                </a:path>
              </a:pathLst>
            </a:custGeom>
            <a:noFill/>
            <a:ln w="19050" cap="sq">
              <a:solidFill>
                <a:srgbClr val="00FF94"/>
              </a:solidFill>
              <a:prstDash val="solid"/>
              <a:miter lim="800000"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52" name="Agrupar 151">
            <a:extLst>
              <a:ext uri="{FF2B5EF4-FFF2-40B4-BE49-F238E27FC236}">
                <a16:creationId xmlns:a16="http://schemas.microsoft.com/office/drawing/2014/main" id="{C2D87281-91DE-70A7-63A7-6893477BDD20}"/>
              </a:ext>
            </a:extLst>
          </p:cNvPr>
          <p:cNvGrpSpPr/>
          <p:nvPr/>
        </p:nvGrpSpPr>
        <p:grpSpPr>
          <a:xfrm>
            <a:off x="4317875" y="5272273"/>
            <a:ext cx="459831" cy="502163"/>
            <a:chOff x="6000092" y="1357908"/>
            <a:chExt cx="365300" cy="398929"/>
          </a:xfrm>
        </p:grpSpPr>
        <p:sp>
          <p:nvSpPr>
            <p:cNvPr id="153" name="Forma livre: Forma 152">
              <a:extLst>
                <a:ext uri="{FF2B5EF4-FFF2-40B4-BE49-F238E27FC236}">
                  <a16:creationId xmlns:a16="http://schemas.microsoft.com/office/drawing/2014/main" id="{38AD522E-6DED-BE3A-1B15-E7B5F30BD674}"/>
                </a:ext>
              </a:extLst>
            </p:cNvPr>
            <p:cNvSpPr/>
            <p:nvPr/>
          </p:nvSpPr>
          <p:spPr>
            <a:xfrm>
              <a:off x="6000092" y="1418606"/>
              <a:ext cx="84058" cy="286120"/>
            </a:xfrm>
            <a:custGeom>
              <a:avLst/>
              <a:gdLst>
                <a:gd name="connsiteX0" fmla="*/ 51595 w 84058"/>
                <a:gd name="connsiteY0" fmla="*/ 0 h 286120"/>
                <a:gd name="connsiteX1" fmla="*/ 35266 w 84058"/>
                <a:gd name="connsiteY1" fmla="*/ 61674 h 286120"/>
                <a:gd name="connsiteX2" fmla="*/ 28760 w 84058"/>
                <a:gd name="connsiteY2" fmla="*/ 193415 h 286120"/>
                <a:gd name="connsiteX3" fmla="*/ 84059 w 84058"/>
                <a:gd name="connsiteY3" fmla="*/ 286121 h 2861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4058" h="286120">
                  <a:moveTo>
                    <a:pt x="51595" y="0"/>
                  </a:moveTo>
                  <a:cubicBezTo>
                    <a:pt x="37868" y="7872"/>
                    <a:pt x="26028" y="24852"/>
                    <a:pt x="35266" y="61674"/>
                  </a:cubicBezTo>
                  <a:cubicBezTo>
                    <a:pt x="35266" y="61674"/>
                    <a:pt x="-39549" y="126731"/>
                    <a:pt x="28760" y="193415"/>
                  </a:cubicBezTo>
                  <a:cubicBezTo>
                    <a:pt x="28760" y="193415"/>
                    <a:pt x="9243" y="281242"/>
                    <a:pt x="84059" y="286121"/>
                  </a:cubicBezTo>
                </a:path>
              </a:pathLst>
            </a:custGeom>
            <a:noFill/>
            <a:ln w="19050" cap="sq">
              <a:solidFill>
                <a:srgbClr val="00FF94"/>
              </a:solidFill>
              <a:prstDash val="solid"/>
              <a:miter lim="800000"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54" name="Gráfico 32">
              <a:extLst>
                <a:ext uri="{FF2B5EF4-FFF2-40B4-BE49-F238E27FC236}">
                  <a16:creationId xmlns:a16="http://schemas.microsoft.com/office/drawing/2014/main" id="{B7493425-8CAD-A404-EE85-DEAB36D02EE9}"/>
                </a:ext>
              </a:extLst>
            </p:cNvPr>
            <p:cNvGrpSpPr/>
            <p:nvPr/>
          </p:nvGrpSpPr>
          <p:grpSpPr>
            <a:xfrm>
              <a:off x="6061121" y="1359924"/>
              <a:ext cx="128487" cy="396366"/>
              <a:chOff x="6061121" y="1359924"/>
              <a:chExt cx="128487" cy="396366"/>
            </a:xfrm>
            <a:noFill/>
          </p:grpSpPr>
          <p:sp>
            <p:nvSpPr>
              <p:cNvPr id="169" name="Forma livre: Forma 168">
                <a:extLst>
                  <a:ext uri="{FF2B5EF4-FFF2-40B4-BE49-F238E27FC236}">
                    <a16:creationId xmlns:a16="http://schemas.microsoft.com/office/drawing/2014/main" id="{15D91E47-8836-1C39-6129-D19B2818B4F5}"/>
                  </a:ext>
                </a:extLst>
              </p:cNvPr>
              <p:cNvSpPr/>
              <p:nvPr/>
            </p:nvSpPr>
            <p:spPr>
              <a:xfrm>
                <a:off x="6083891" y="1359924"/>
                <a:ext cx="105717" cy="396366"/>
              </a:xfrm>
              <a:custGeom>
                <a:avLst/>
                <a:gdLst>
                  <a:gd name="connsiteX0" fmla="*/ 52891 w 105717"/>
                  <a:gd name="connsiteY0" fmla="*/ 105718 h 396366"/>
                  <a:gd name="connsiteX1" fmla="*/ 0 w 105717"/>
                  <a:gd name="connsiteY1" fmla="*/ 52891 h 396366"/>
                  <a:gd name="connsiteX2" fmla="*/ 52891 w 105717"/>
                  <a:gd name="connsiteY2" fmla="*/ 0 h 396366"/>
                  <a:gd name="connsiteX3" fmla="*/ 105718 w 105717"/>
                  <a:gd name="connsiteY3" fmla="*/ 52826 h 396366"/>
                  <a:gd name="connsiteX4" fmla="*/ 105718 w 105717"/>
                  <a:gd name="connsiteY4" fmla="*/ 346884 h 396366"/>
                  <a:gd name="connsiteX5" fmla="*/ 80606 w 105717"/>
                  <a:gd name="connsiteY5" fmla="*/ 388911 h 396366"/>
                  <a:gd name="connsiteX6" fmla="*/ 9238 w 105717"/>
                  <a:gd name="connsiteY6" fmla="*/ 371150 h 396366"/>
                  <a:gd name="connsiteX7" fmla="*/ 15484 w 105717"/>
                  <a:gd name="connsiteY7" fmla="*/ 309216 h 396366"/>
                  <a:gd name="connsiteX8" fmla="*/ 45019 w 105717"/>
                  <a:gd name="connsiteY8" fmla="*/ 277078 h 3963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05717" h="396366">
                    <a:moveTo>
                      <a:pt x="52891" y="105718"/>
                    </a:moveTo>
                    <a:cubicBezTo>
                      <a:pt x="23681" y="105718"/>
                      <a:pt x="0" y="82037"/>
                      <a:pt x="0" y="52891"/>
                    </a:cubicBezTo>
                    <a:cubicBezTo>
                      <a:pt x="0" y="23746"/>
                      <a:pt x="23681" y="0"/>
                      <a:pt x="52891" y="0"/>
                    </a:cubicBezTo>
                    <a:cubicBezTo>
                      <a:pt x="82102" y="0"/>
                      <a:pt x="105718" y="23681"/>
                      <a:pt x="105718" y="52826"/>
                    </a:cubicBezTo>
                    <a:lnTo>
                      <a:pt x="105718" y="346884"/>
                    </a:lnTo>
                    <a:cubicBezTo>
                      <a:pt x="105718" y="364580"/>
                      <a:pt x="96414" y="379413"/>
                      <a:pt x="80606" y="388911"/>
                    </a:cubicBezTo>
                    <a:cubicBezTo>
                      <a:pt x="55949" y="403744"/>
                      <a:pt x="24006" y="395742"/>
                      <a:pt x="9238" y="371150"/>
                    </a:cubicBezTo>
                    <a:cubicBezTo>
                      <a:pt x="-2928" y="350918"/>
                      <a:pt x="260" y="325741"/>
                      <a:pt x="15484" y="309216"/>
                    </a:cubicBezTo>
                    <a:lnTo>
                      <a:pt x="45019" y="277078"/>
                    </a:lnTo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70" name="Forma livre: Forma 169">
                <a:extLst>
                  <a:ext uri="{FF2B5EF4-FFF2-40B4-BE49-F238E27FC236}">
                    <a16:creationId xmlns:a16="http://schemas.microsoft.com/office/drawing/2014/main" id="{453B3D2B-2481-5682-C095-37FD03D5E764}"/>
                  </a:ext>
                </a:extLst>
              </p:cNvPr>
              <p:cNvSpPr/>
              <p:nvPr/>
            </p:nvSpPr>
            <p:spPr>
              <a:xfrm>
                <a:off x="6144784" y="1383865"/>
                <a:ext cx="41563" cy="38963"/>
              </a:xfrm>
              <a:custGeom>
                <a:avLst/>
                <a:gdLst>
                  <a:gd name="connsiteX0" fmla="*/ 36172 w 41563"/>
                  <a:gd name="connsiteY0" fmla="*/ 0 h 38963"/>
                  <a:gd name="connsiteX1" fmla="*/ 39425 w 41563"/>
                  <a:gd name="connsiteY1" fmla="*/ 24266 h 38963"/>
                  <a:gd name="connsiteX2" fmla="*/ 36432 w 41563"/>
                  <a:gd name="connsiteY2" fmla="*/ 29080 h 38963"/>
                  <a:gd name="connsiteX3" fmla="*/ 0 w 41563"/>
                  <a:gd name="connsiteY3" fmla="*/ 33439 h 389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563" h="38963">
                    <a:moveTo>
                      <a:pt x="36172" y="0"/>
                    </a:moveTo>
                    <a:cubicBezTo>
                      <a:pt x="41571" y="7547"/>
                      <a:pt x="43393" y="16004"/>
                      <a:pt x="39425" y="24266"/>
                    </a:cubicBezTo>
                    <a:cubicBezTo>
                      <a:pt x="38644" y="25893"/>
                      <a:pt x="37603" y="27519"/>
                      <a:pt x="36432" y="29080"/>
                    </a:cubicBezTo>
                    <a:cubicBezTo>
                      <a:pt x="27584" y="40270"/>
                      <a:pt x="11190" y="42287"/>
                      <a:pt x="0" y="33439"/>
                    </a:cubicBezTo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71" name="Forma livre: Forma 170">
                <a:extLst>
                  <a:ext uri="{FF2B5EF4-FFF2-40B4-BE49-F238E27FC236}">
                    <a16:creationId xmlns:a16="http://schemas.microsoft.com/office/drawing/2014/main" id="{3814BFED-1ED2-744F-447D-C3A300D5312C}"/>
                  </a:ext>
                </a:extLst>
              </p:cNvPr>
              <p:cNvSpPr/>
              <p:nvPr/>
            </p:nvSpPr>
            <p:spPr>
              <a:xfrm>
                <a:off x="6081487" y="1460806"/>
                <a:ext cx="34217" cy="54474"/>
              </a:xfrm>
              <a:custGeom>
                <a:avLst/>
                <a:gdLst>
                  <a:gd name="connsiteX0" fmla="*/ 21076 w 34217"/>
                  <a:gd name="connsiteY0" fmla="*/ 54475 h 54474"/>
                  <a:gd name="connsiteX1" fmla="*/ 778 w 34217"/>
                  <a:gd name="connsiteY1" fmla="*/ 21035 h 54474"/>
                  <a:gd name="connsiteX2" fmla="*/ 34217 w 34217"/>
                  <a:gd name="connsiteY2" fmla="*/ 803 h 544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4217" h="54474">
                    <a:moveTo>
                      <a:pt x="21076" y="54475"/>
                    </a:moveTo>
                    <a:cubicBezTo>
                      <a:pt x="6308" y="50832"/>
                      <a:pt x="-2800" y="35803"/>
                      <a:pt x="778" y="21035"/>
                    </a:cubicBezTo>
                    <a:cubicBezTo>
                      <a:pt x="4421" y="6267"/>
                      <a:pt x="19449" y="-2841"/>
                      <a:pt x="34217" y="803"/>
                    </a:cubicBezTo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72" name="Forma livre: Forma 171">
                <a:extLst>
                  <a:ext uri="{FF2B5EF4-FFF2-40B4-BE49-F238E27FC236}">
                    <a16:creationId xmlns:a16="http://schemas.microsoft.com/office/drawing/2014/main" id="{A0FB5644-333A-D77E-CDA0-A4A30065F998}"/>
                  </a:ext>
                </a:extLst>
              </p:cNvPr>
              <p:cNvSpPr/>
              <p:nvPr/>
            </p:nvSpPr>
            <p:spPr>
              <a:xfrm>
                <a:off x="6073547" y="1527543"/>
                <a:ext cx="114760" cy="72506"/>
              </a:xfrm>
              <a:custGeom>
                <a:avLst/>
                <a:gdLst>
                  <a:gd name="connsiteX0" fmla="*/ 114760 w 114760"/>
                  <a:gd name="connsiteY0" fmla="*/ 7254 h 72506"/>
                  <a:gd name="connsiteX1" fmla="*/ 73905 w 114760"/>
                  <a:gd name="connsiteY1" fmla="*/ 8881 h 72506"/>
                  <a:gd name="connsiteX2" fmla="*/ 0 w 114760"/>
                  <a:gd name="connsiteY2" fmla="*/ 72506 h 725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14760" h="72506">
                    <a:moveTo>
                      <a:pt x="114760" y="7254"/>
                    </a:moveTo>
                    <a:cubicBezTo>
                      <a:pt x="103375" y="-2830"/>
                      <a:pt x="83989" y="-2504"/>
                      <a:pt x="73905" y="8881"/>
                    </a:cubicBezTo>
                    <a:cubicBezTo>
                      <a:pt x="73905" y="8881"/>
                      <a:pt x="31488" y="72506"/>
                      <a:pt x="0" y="72506"/>
                    </a:cubicBezTo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73" name="Forma livre: Forma 172">
                <a:extLst>
                  <a:ext uri="{FF2B5EF4-FFF2-40B4-BE49-F238E27FC236}">
                    <a16:creationId xmlns:a16="http://schemas.microsoft.com/office/drawing/2014/main" id="{71913B1E-2549-2800-C47D-045D3567D358}"/>
                  </a:ext>
                </a:extLst>
              </p:cNvPr>
              <p:cNvSpPr/>
              <p:nvPr/>
            </p:nvSpPr>
            <p:spPr>
              <a:xfrm>
                <a:off x="6079857" y="1646956"/>
                <a:ext cx="29405" cy="9823"/>
              </a:xfrm>
              <a:custGeom>
                <a:avLst/>
                <a:gdLst>
                  <a:gd name="connsiteX0" fmla="*/ 0 w 29405"/>
                  <a:gd name="connsiteY0" fmla="*/ 0 h 9823"/>
                  <a:gd name="connsiteX1" fmla="*/ 29406 w 29405"/>
                  <a:gd name="connsiteY1" fmla="*/ 9824 h 98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9405" h="9823">
                    <a:moveTo>
                      <a:pt x="0" y="0"/>
                    </a:moveTo>
                    <a:lnTo>
                      <a:pt x="29406" y="9824"/>
                    </a:lnTo>
                  </a:path>
                </a:pathLst>
              </a:custGeom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74" name="Forma livre: Forma 173">
                <a:extLst>
                  <a:ext uri="{FF2B5EF4-FFF2-40B4-BE49-F238E27FC236}">
                    <a16:creationId xmlns:a16="http://schemas.microsoft.com/office/drawing/2014/main" id="{9C60D71A-99FE-0DE1-3A88-4590047DE960}"/>
                  </a:ext>
                </a:extLst>
              </p:cNvPr>
              <p:cNvSpPr/>
              <p:nvPr/>
            </p:nvSpPr>
            <p:spPr>
              <a:xfrm>
                <a:off x="6061121" y="1545272"/>
                <a:ext cx="47166" cy="34154"/>
              </a:xfrm>
              <a:custGeom>
                <a:avLst/>
                <a:gdLst>
                  <a:gd name="connsiteX0" fmla="*/ 0 w 47166"/>
                  <a:gd name="connsiteY0" fmla="*/ 0 h 34154"/>
                  <a:gd name="connsiteX1" fmla="*/ 47166 w 47166"/>
                  <a:gd name="connsiteY1" fmla="*/ 34155 h 341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166" h="34154">
                    <a:moveTo>
                      <a:pt x="0" y="0"/>
                    </a:moveTo>
                    <a:cubicBezTo>
                      <a:pt x="0" y="0"/>
                      <a:pt x="27649" y="13011"/>
                      <a:pt x="47166" y="34155"/>
                    </a:cubicBezTo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55" name="Gráfico 32">
              <a:extLst>
                <a:ext uri="{FF2B5EF4-FFF2-40B4-BE49-F238E27FC236}">
                  <a16:creationId xmlns:a16="http://schemas.microsoft.com/office/drawing/2014/main" id="{65735E1A-9AA9-A882-F8C3-97E515A868E9}"/>
                </a:ext>
              </a:extLst>
            </p:cNvPr>
            <p:cNvGrpSpPr/>
            <p:nvPr/>
          </p:nvGrpSpPr>
          <p:grpSpPr>
            <a:xfrm>
              <a:off x="6191625" y="1599725"/>
              <a:ext cx="173767" cy="157112"/>
              <a:chOff x="6191625" y="1599725"/>
              <a:chExt cx="173767" cy="157112"/>
            </a:xfrm>
            <a:noFill/>
          </p:grpSpPr>
          <p:sp>
            <p:nvSpPr>
              <p:cNvPr id="165" name="Forma livre: Forma 164">
                <a:extLst>
                  <a:ext uri="{FF2B5EF4-FFF2-40B4-BE49-F238E27FC236}">
                    <a16:creationId xmlns:a16="http://schemas.microsoft.com/office/drawing/2014/main" id="{483B2671-AB85-EF6C-E8C1-39828029EEFF}"/>
                  </a:ext>
                </a:extLst>
              </p:cNvPr>
              <p:cNvSpPr/>
              <p:nvPr/>
            </p:nvSpPr>
            <p:spPr>
              <a:xfrm>
                <a:off x="6310094" y="1621974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66" name="Forma livre: Forma 165">
                <a:extLst>
                  <a:ext uri="{FF2B5EF4-FFF2-40B4-BE49-F238E27FC236}">
                    <a16:creationId xmlns:a16="http://schemas.microsoft.com/office/drawing/2014/main" id="{DE3CDB6C-F6C0-AB16-747C-E7363D6B5778}"/>
                  </a:ext>
                </a:extLst>
              </p:cNvPr>
              <p:cNvSpPr/>
              <p:nvPr/>
            </p:nvSpPr>
            <p:spPr>
              <a:xfrm>
                <a:off x="6191625" y="1599725"/>
                <a:ext cx="118078" cy="49898"/>
              </a:xfrm>
              <a:custGeom>
                <a:avLst/>
                <a:gdLst>
                  <a:gd name="connsiteX0" fmla="*/ 0 w 118078"/>
                  <a:gd name="connsiteY0" fmla="*/ 0 h 49898"/>
                  <a:gd name="connsiteX1" fmla="*/ 37343 w 118078"/>
                  <a:gd name="connsiteY1" fmla="*/ 0 h 49898"/>
                  <a:gd name="connsiteX2" fmla="*/ 87176 w 118078"/>
                  <a:gd name="connsiteY2" fmla="*/ 49899 h 49898"/>
                  <a:gd name="connsiteX3" fmla="*/ 118078 w 118078"/>
                  <a:gd name="connsiteY3" fmla="*/ 49899 h 49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8078" h="49898">
                    <a:moveTo>
                      <a:pt x="0" y="0"/>
                    </a:moveTo>
                    <a:lnTo>
                      <a:pt x="37343" y="0"/>
                    </a:lnTo>
                    <a:lnTo>
                      <a:pt x="87176" y="49899"/>
                    </a:lnTo>
                    <a:lnTo>
                      <a:pt x="118078" y="49899"/>
                    </a:lnTo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67" name="Forma livre: Forma 166">
                <a:extLst>
                  <a:ext uri="{FF2B5EF4-FFF2-40B4-BE49-F238E27FC236}">
                    <a16:creationId xmlns:a16="http://schemas.microsoft.com/office/drawing/2014/main" id="{977AE247-EF02-E586-D796-B22D4D76DFDE}"/>
                  </a:ext>
                </a:extLst>
              </p:cNvPr>
              <p:cNvSpPr/>
              <p:nvPr/>
            </p:nvSpPr>
            <p:spPr>
              <a:xfrm>
                <a:off x="6191625" y="1665367"/>
                <a:ext cx="81906" cy="44108"/>
              </a:xfrm>
              <a:custGeom>
                <a:avLst/>
                <a:gdLst>
                  <a:gd name="connsiteX0" fmla="*/ 0 w 81906"/>
                  <a:gd name="connsiteY0" fmla="*/ 0 h 44108"/>
                  <a:gd name="connsiteX1" fmla="*/ 37343 w 81906"/>
                  <a:gd name="connsiteY1" fmla="*/ 0 h 44108"/>
                  <a:gd name="connsiteX2" fmla="*/ 81907 w 81906"/>
                  <a:gd name="connsiteY2" fmla="*/ 44109 h 441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1906" h="44108">
                    <a:moveTo>
                      <a:pt x="0" y="0"/>
                    </a:moveTo>
                    <a:lnTo>
                      <a:pt x="37343" y="0"/>
                    </a:lnTo>
                    <a:lnTo>
                      <a:pt x="81907" y="44109"/>
                    </a:lnTo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68" name="Forma livre: Forma 167">
                <a:extLst>
                  <a:ext uri="{FF2B5EF4-FFF2-40B4-BE49-F238E27FC236}">
                    <a16:creationId xmlns:a16="http://schemas.microsoft.com/office/drawing/2014/main" id="{9C75693C-C5EF-6305-BFFD-4A341527E5BF}"/>
                  </a:ext>
                </a:extLst>
              </p:cNvPr>
              <p:cNvSpPr/>
              <p:nvPr/>
            </p:nvSpPr>
            <p:spPr>
              <a:xfrm>
                <a:off x="6265075" y="1701539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56" name="Gráfico 32">
              <a:extLst>
                <a:ext uri="{FF2B5EF4-FFF2-40B4-BE49-F238E27FC236}">
                  <a16:creationId xmlns:a16="http://schemas.microsoft.com/office/drawing/2014/main" id="{C8157FDE-208D-7327-1ECA-F03DC99380F3}"/>
                </a:ext>
              </a:extLst>
            </p:cNvPr>
            <p:cNvGrpSpPr/>
            <p:nvPr/>
          </p:nvGrpSpPr>
          <p:grpSpPr>
            <a:xfrm>
              <a:off x="6191625" y="1357908"/>
              <a:ext cx="173767" cy="157112"/>
              <a:chOff x="6191625" y="1357908"/>
              <a:chExt cx="173767" cy="157112"/>
            </a:xfrm>
            <a:noFill/>
          </p:grpSpPr>
          <p:sp>
            <p:nvSpPr>
              <p:cNvPr id="161" name="Forma livre: Forma 160">
                <a:extLst>
                  <a:ext uri="{FF2B5EF4-FFF2-40B4-BE49-F238E27FC236}">
                    <a16:creationId xmlns:a16="http://schemas.microsoft.com/office/drawing/2014/main" id="{D5B12CA5-D9E7-EEDC-CE7F-C3FF5654A526}"/>
                  </a:ext>
                </a:extLst>
              </p:cNvPr>
              <p:cNvSpPr/>
              <p:nvPr/>
            </p:nvSpPr>
            <p:spPr>
              <a:xfrm>
                <a:off x="6310094" y="1437472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0 h 55298"/>
                  <a:gd name="connsiteX2" fmla="*/ 0 w 55298"/>
                  <a:gd name="connsiteY2" fmla="*/ 27649 h 55298"/>
                  <a:gd name="connsiteX3" fmla="*/ 27649 w 55298"/>
                  <a:gd name="connsiteY3" fmla="*/ 55298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12361"/>
                      <a:pt x="42938" y="0"/>
                      <a:pt x="27649" y="0"/>
                    </a:cubicBezTo>
                    <a:cubicBezTo>
                      <a:pt x="12361" y="0"/>
                      <a:pt x="0" y="12361"/>
                      <a:pt x="0" y="27649"/>
                    </a:cubicBezTo>
                    <a:cubicBezTo>
                      <a:pt x="0" y="42938"/>
                      <a:pt x="12361" y="55298"/>
                      <a:pt x="27649" y="55298"/>
                    </a:cubicBezTo>
                    <a:cubicBezTo>
                      <a:pt x="42938" y="55298"/>
                      <a:pt x="55298" y="42938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62" name="Forma livre: Forma 161">
                <a:extLst>
                  <a:ext uri="{FF2B5EF4-FFF2-40B4-BE49-F238E27FC236}">
                    <a16:creationId xmlns:a16="http://schemas.microsoft.com/office/drawing/2014/main" id="{032AA00E-78CB-CBC8-91DA-6C6B87482817}"/>
                  </a:ext>
                </a:extLst>
              </p:cNvPr>
              <p:cNvSpPr/>
              <p:nvPr/>
            </p:nvSpPr>
            <p:spPr>
              <a:xfrm>
                <a:off x="6191625" y="1465122"/>
                <a:ext cx="118468" cy="49898"/>
              </a:xfrm>
              <a:custGeom>
                <a:avLst/>
                <a:gdLst>
                  <a:gd name="connsiteX0" fmla="*/ 0 w 118468"/>
                  <a:gd name="connsiteY0" fmla="*/ 49899 h 49898"/>
                  <a:gd name="connsiteX1" fmla="*/ 37343 w 118468"/>
                  <a:gd name="connsiteY1" fmla="*/ 49899 h 49898"/>
                  <a:gd name="connsiteX2" fmla="*/ 87176 w 118468"/>
                  <a:gd name="connsiteY2" fmla="*/ 0 h 49898"/>
                  <a:gd name="connsiteX3" fmla="*/ 118469 w 118468"/>
                  <a:gd name="connsiteY3" fmla="*/ 0 h 49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8468" h="49898">
                    <a:moveTo>
                      <a:pt x="0" y="49899"/>
                    </a:moveTo>
                    <a:lnTo>
                      <a:pt x="37343" y="49899"/>
                    </a:lnTo>
                    <a:lnTo>
                      <a:pt x="87176" y="0"/>
                    </a:lnTo>
                    <a:lnTo>
                      <a:pt x="118469" y="0"/>
                    </a:lnTo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63" name="Forma livre: Forma 162">
                <a:extLst>
                  <a:ext uri="{FF2B5EF4-FFF2-40B4-BE49-F238E27FC236}">
                    <a16:creationId xmlns:a16="http://schemas.microsoft.com/office/drawing/2014/main" id="{CC5DE792-4C0C-8C95-D625-7E5ACE20FCAC}"/>
                  </a:ext>
                </a:extLst>
              </p:cNvPr>
              <p:cNvSpPr/>
              <p:nvPr/>
            </p:nvSpPr>
            <p:spPr>
              <a:xfrm>
                <a:off x="6191625" y="1405269"/>
                <a:ext cx="81451" cy="44043"/>
              </a:xfrm>
              <a:custGeom>
                <a:avLst/>
                <a:gdLst>
                  <a:gd name="connsiteX0" fmla="*/ 0 w 81451"/>
                  <a:gd name="connsiteY0" fmla="*/ 44044 h 44043"/>
                  <a:gd name="connsiteX1" fmla="*/ 37343 w 81451"/>
                  <a:gd name="connsiteY1" fmla="*/ 44044 h 44043"/>
                  <a:gd name="connsiteX2" fmla="*/ 81451 w 81451"/>
                  <a:gd name="connsiteY2" fmla="*/ 0 h 440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1451" h="44043">
                    <a:moveTo>
                      <a:pt x="0" y="44044"/>
                    </a:moveTo>
                    <a:lnTo>
                      <a:pt x="37343" y="44044"/>
                    </a:lnTo>
                    <a:lnTo>
                      <a:pt x="81451" y="0"/>
                    </a:lnTo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64" name="Forma livre: Forma 163">
                <a:extLst>
                  <a:ext uri="{FF2B5EF4-FFF2-40B4-BE49-F238E27FC236}">
                    <a16:creationId xmlns:a16="http://schemas.microsoft.com/office/drawing/2014/main" id="{73BF3FCD-C7AF-0CF0-A4FA-301749DE2600}"/>
                  </a:ext>
                </a:extLst>
              </p:cNvPr>
              <p:cNvSpPr/>
              <p:nvPr/>
            </p:nvSpPr>
            <p:spPr>
              <a:xfrm>
                <a:off x="6265075" y="1357908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0 h 55298"/>
                  <a:gd name="connsiteX2" fmla="*/ 0 w 55298"/>
                  <a:gd name="connsiteY2" fmla="*/ 27649 h 55298"/>
                  <a:gd name="connsiteX3" fmla="*/ 27649 w 55298"/>
                  <a:gd name="connsiteY3" fmla="*/ 55298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12361"/>
                      <a:pt x="42938" y="0"/>
                      <a:pt x="27649" y="0"/>
                    </a:cubicBezTo>
                    <a:cubicBezTo>
                      <a:pt x="12361" y="0"/>
                      <a:pt x="0" y="12361"/>
                      <a:pt x="0" y="27649"/>
                    </a:cubicBezTo>
                    <a:cubicBezTo>
                      <a:pt x="0" y="42938"/>
                      <a:pt x="12361" y="55298"/>
                      <a:pt x="27649" y="55298"/>
                    </a:cubicBezTo>
                    <a:cubicBezTo>
                      <a:pt x="42938" y="55298"/>
                      <a:pt x="55298" y="42938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57" name="Gráfico 32">
              <a:extLst>
                <a:ext uri="{FF2B5EF4-FFF2-40B4-BE49-F238E27FC236}">
                  <a16:creationId xmlns:a16="http://schemas.microsoft.com/office/drawing/2014/main" id="{DDA859DC-9D2F-873E-1669-94435D8B865D}"/>
                </a:ext>
              </a:extLst>
            </p:cNvPr>
            <p:cNvGrpSpPr/>
            <p:nvPr/>
          </p:nvGrpSpPr>
          <p:grpSpPr>
            <a:xfrm>
              <a:off x="6190910" y="1529723"/>
              <a:ext cx="123673" cy="55298"/>
              <a:chOff x="6190910" y="1529723"/>
              <a:chExt cx="123673" cy="55298"/>
            </a:xfrm>
            <a:noFill/>
          </p:grpSpPr>
          <p:sp>
            <p:nvSpPr>
              <p:cNvPr id="159" name="Forma livre: Forma 158">
                <a:extLst>
                  <a:ext uri="{FF2B5EF4-FFF2-40B4-BE49-F238E27FC236}">
                    <a16:creationId xmlns:a16="http://schemas.microsoft.com/office/drawing/2014/main" id="{9A59EABA-790F-4FBF-C122-4883CA0654CC}"/>
                  </a:ext>
                </a:extLst>
              </p:cNvPr>
              <p:cNvSpPr/>
              <p:nvPr/>
            </p:nvSpPr>
            <p:spPr>
              <a:xfrm>
                <a:off x="6190910" y="1557372"/>
                <a:ext cx="68765" cy="6505"/>
              </a:xfrm>
              <a:custGeom>
                <a:avLst/>
                <a:gdLst>
                  <a:gd name="connsiteX0" fmla="*/ 0 w 68765"/>
                  <a:gd name="connsiteY0" fmla="*/ 0 h 6505"/>
                  <a:gd name="connsiteX1" fmla="*/ 68765 w 68765"/>
                  <a:gd name="connsiteY1" fmla="*/ 0 h 65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8765" h="6505">
                    <a:moveTo>
                      <a:pt x="0" y="0"/>
                    </a:moveTo>
                    <a:lnTo>
                      <a:pt x="68765" y="0"/>
                    </a:lnTo>
                  </a:path>
                </a:pathLst>
              </a:custGeom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60" name="Forma livre: Forma 159">
                <a:extLst>
                  <a:ext uri="{FF2B5EF4-FFF2-40B4-BE49-F238E27FC236}">
                    <a16:creationId xmlns:a16="http://schemas.microsoft.com/office/drawing/2014/main" id="{F47E0270-5B25-C93A-1A5B-EC3AB7AC17B3}"/>
                  </a:ext>
                </a:extLst>
              </p:cNvPr>
              <p:cNvSpPr/>
              <p:nvPr/>
            </p:nvSpPr>
            <p:spPr>
              <a:xfrm>
                <a:off x="6259285" y="1529723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58" name="Forma livre: Forma 157">
              <a:extLst>
                <a:ext uri="{FF2B5EF4-FFF2-40B4-BE49-F238E27FC236}">
                  <a16:creationId xmlns:a16="http://schemas.microsoft.com/office/drawing/2014/main" id="{506A1F33-4CD8-FE9B-56C1-7E6698DE1CA1}"/>
                </a:ext>
              </a:extLst>
            </p:cNvPr>
            <p:cNvSpPr/>
            <p:nvPr/>
          </p:nvSpPr>
          <p:spPr>
            <a:xfrm>
              <a:off x="6152201" y="1686285"/>
              <a:ext cx="37362" cy="20848"/>
            </a:xfrm>
            <a:custGeom>
              <a:avLst/>
              <a:gdLst>
                <a:gd name="connsiteX0" fmla="*/ 0 w 37362"/>
                <a:gd name="connsiteY0" fmla="*/ 10505 h 20848"/>
                <a:gd name="connsiteX1" fmla="*/ 27064 w 37362"/>
                <a:gd name="connsiteY1" fmla="*/ 2373 h 20848"/>
                <a:gd name="connsiteX2" fmla="*/ 37343 w 37362"/>
                <a:gd name="connsiteY2" fmla="*/ 20849 h 20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7362" h="20848">
                  <a:moveTo>
                    <a:pt x="0" y="10505"/>
                  </a:moveTo>
                  <a:cubicBezTo>
                    <a:pt x="5205" y="811"/>
                    <a:pt x="17435" y="-2832"/>
                    <a:pt x="27064" y="2373"/>
                  </a:cubicBezTo>
                  <a:cubicBezTo>
                    <a:pt x="34025" y="6081"/>
                    <a:pt x="37668" y="13432"/>
                    <a:pt x="37343" y="20849"/>
                  </a:cubicBezTo>
                </a:path>
              </a:pathLst>
            </a:custGeom>
            <a:noFill/>
            <a:ln w="19050" cap="sq">
              <a:solidFill>
                <a:srgbClr val="00FF94"/>
              </a:solidFill>
              <a:prstDash val="solid"/>
              <a:miter lim="800000"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75" name="Gráfico 2">
            <a:extLst>
              <a:ext uri="{FF2B5EF4-FFF2-40B4-BE49-F238E27FC236}">
                <a16:creationId xmlns:a16="http://schemas.microsoft.com/office/drawing/2014/main" id="{F0062F79-2B15-4EAB-B713-1B2C2E196BE8}"/>
              </a:ext>
            </a:extLst>
          </p:cNvPr>
          <p:cNvGrpSpPr/>
          <p:nvPr/>
        </p:nvGrpSpPr>
        <p:grpSpPr>
          <a:xfrm>
            <a:off x="10557975" y="275736"/>
            <a:ext cx="1308718" cy="138724"/>
            <a:chOff x="0" y="2782824"/>
            <a:chExt cx="12192000" cy="1292352"/>
          </a:xfrm>
        </p:grpSpPr>
        <p:sp>
          <p:nvSpPr>
            <p:cNvPr id="176" name="Forma libre: forma 175">
              <a:extLst>
                <a:ext uri="{FF2B5EF4-FFF2-40B4-BE49-F238E27FC236}">
                  <a16:creationId xmlns:a16="http://schemas.microsoft.com/office/drawing/2014/main" id="{27DF0683-63A8-4888-AF09-E2825444E6AA}"/>
                </a:ext>
              </a:extLst>
            </p:cNvPr>
            <p:cNvSpPr/>
            <p:nvPr/>
          </p:nvSpPr>
          <p:spPr>
            <a:xfrm>
              <a:off x="3791306" y="2777053"/>
              <a:ext cx="1300480" cy="1300480"/>
            </a:xfrm>
            <a:custGeom>
              <a:avLst/>
              <a:gdLst>
                <a:gd name="connsiteX0" fmla="*/ 6096 w 1300480"/>
                <a:gd name="connsiteY0" fmla="*/ 653979 h 1300480"/>
                <a:gd name="connsiteX1" fmla="*/ 653979 w 1300480"/>
                <a:gd name="connsiteY1" fmla="*/ 6096 h 1300480"/>
                <a:gd name="connsiteX2" fmla="*/ 1301862 w 1300480"/>
                <a:gd name="connsiteY2" fmla="*/ 653979 h 1300480"/>
                <a:gd name="connsiteX3" fmla="*/ 653979 w 1300480"/>
                <a:gd name="connsiteY3" fmla="*/ 1301862 h 1300480"/>
                <a:gd name="connsiteX4" fmla="*/ 653898 w 1300480"/>
                <a:gd name="connsiteY4" fmla="*/ 1301862 h 1300480"/>
                <a:gd name="connsiteX5" fmla="*/ 6096 w 1300480"/>
                <a:gd name="connsiteY5" fmla="*/ 654060 h 1300480"/>
                <a:gd name="connsiteX6" fmla="*/ 6096 w 1300480"/>
                <a:gd name="connsiteY6" fmla="*/ 654060 h 1300480"/>
                <a:gd name="connsiteX7" fmla="*/ 653898 w 1300480"/>
                <a:gd name="connsiteY7" fmla="*/ 1091184 h 1300480"/>
                <a:gd name="connsiteX8" fmla="*/ 1091265 w 1300480"/>
                <a:gd name="connsiteY8" fmla="*/ 653979 h 1300480"/>
                <a:gd name="connsiteX9" fmla="*/ 654060 w 1300480"/>
                <a:gd name="connsiteY9" fmla="*/ 216611 h 1300480"/>
                <a:gd name="connsiteX10" fmla="*/ 216692 w 1300480"/>
                <a:gd name="connsiteY10" fmla="*/ 653816 h 1300480"/>
                <a:gd name="connsiteX11" fmla="*/ 216692 w 1300480"/>
                <a:gd name="connsiteY11" fmla="*/ 653979 h 1300480"/>
                <a:gd name="connsiteX12" fmla="*/ 653898 w 1300480"/>
                <a:gd name="connsiteY12" fmla="*/ 1091184 h 13004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300480" h="1300480">
                  <a:moveTo>
                    <a:pt x="6096" y="653979"/>
                  </a:moveTo>
                  <a:cubicBezTo>
                    <a:pt x="6096" y="296184"/>
                    <a:pt x="296184" y="6096"/>
                    <a:pt x="653979" y="6096"/>
                  </a:cubicBezTo>
                  <a:cubicBezTo>
                    <a:pt x="1011773" y="6096"/>
                    <a:pt x="1301862" y="296184"/>
                    <a:pt x="1301862" y="653979"/>
                  </a:cubicBezTo>
                  <a:cubicBezTo>
                    <a:pt x="1301862" y="1011773"/>
                    <a:pt x="1011773" y="1301862"/>
                    <a:pt x="653979" y="1301862"/>
                  </a:cubicBezTo>
                  <a:lnTo>
                    <a:pt x="653898" y="1301862"/>
                  </a:lnTo>
                  <a:cubicBezTo>
                    <a:pt x="296103" y="1301862"/>
                    <a:pt x="6096" y="1011855"/>
                    <a:pt x="6096" y="654060"/>
                  </a:cubicBezTo>
                  <a:lnTo>
                    <a:pt x="6096" y="654060"/>
                  </a:lnTo>
                  <a:moveTo>
                    <a:pt x="653898" y="1091184"/>
                  </a:moveTo>
                  <a:cubicBezTo>
                    <a:pt x="895380" y="1091184"/>
                    <a:pt x="1091184" y="895462"/>
                    <a:pt x="1091265" y="653979"/>
                  </a:cubicBezTo>
                  <a:cubicBezTo>
                    <a:pt x="1091265" y="412496"/>
                    <a:pt x="895543" y="216692"/>
                    <a:pt x="654060" y="216611"/>
                  </a:cubicBezTo>
                  <a:cubicBezTo>
                    <a:pt x="412577" y="216611"/>
                    <a:pt x="216774" y="412333"/>
                    <a:pt x="216692" y="653816"/>
                  </a:cubicBezTo>
                  <a:lnTo>
                    <a:pt x="216692" y="653979"/>
                  </a:lnTo>
                  <a:cubicBezTo>
                    <a:pt x="216692" y="895462"/>
                    <a:pt x="412415" y="1091184"/>
                    <a:pt x="653898" y="1091184"/>
                  </a:cubicBezTo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177" name="Forma libre: forma 176">
              <a:extLst>
                <a:ext uri="{FF2B5EF4-FFF2-40B4-BE49-F238E27FC236}">
                  <a16:creationId xmlns:a16="http://schemas.microsoft.com/office/drawing/2014/main" id="{87A6560E-FDE0-4E57-9D61-BBA0530B7E3A}"/>
                </a:ext>
              </a:extLst>
            </p:cNvPr>
            <p:cNvSpPr/>
            <p:nvPr/>
          </p:nvSpPr>
          <p:spPr>
            <a:xfrm>
              <a:off x="1151981" y="2793797"/>
              <a:ext cx="219456" cy="1267968"/>
            </a:xfrm>
            <a:custGeom>
              <a:avLst/>
              <a:gdLst>
                <a:gd name="connsiteX0" fmla="*/ 216367 w 219456"/>
                <a:gd name="connsiteY0" fmla="*/ 6096 h 1267968"/>
                <a:gd name="connsiteX1" fmla="*/ 216367 w 219456"/>
                <a:gd name="connsiteY1" fmla="*/ 6096 h 1267968"/>
                <a:gd name="connsiteX2" fmla="*/ 216367 w 219456"/>
                <a:gd name="connsiteY2" fmla="*/ 1268212 h 1267968"/>
                <a:gd name="connsiteX3" fmla="*/ 6096 w 219456"/>
                <a:gd name="connsiteY3" fmla="*/ 1268212 h 1267968"/>
                <a:gd name="connsiteX4" fmla="*/ 6096 w 219456"/>
                <a:gd name="connsiteY4" fmla="*/ 216449 h 1267968"/>
                <a:gd name="connsiteX5" fmla="*/ 216367 w 219456"/>
                <a:gd name="connsiteY5" fmla="*/ 6096 h 126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19456" h="1267968">
                  <a:moveTo>
                    <a:pt x="216367" y="6096"/>
                  </a:moveTo>
                  <a:lnTo>
                    <a:pt x="216367" y="6096"/>
                  </a:lnTo>
                  <a:lnTo>
                    <a:pt x="216367" y="1268212"/>
                  </a:lnTo>
                  <a:lnTo>
                    <a:pt x="6096" y="1268212"/>
                  </a:lnTo>
                  <a:lnTo>
                    <a:pt x="6096" y="216449"/>
                  </a:lnTo>
                  <a:cubicBezTo>
                    <a:pt x="6096" y="100300"/>
                    <a:pt x="100218" y="6177"/>
                    <a:pt x="216367" y="6096"/>
                  </a:cubicBezTo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178" name="Forma libre: forma 177">
              <a:extLst>
                <a:ext uri="{FF2B5EF4-FFF2-40B4-BE49-F238E27FC236}">
                  <a16:creationId xmlns:a16="http://schemas.microsoft.com/office/drawing/2014/main" id="{CB0EEF3B-6A0C-4EB5-83E1-D5E0FC070409}"/>
                </a:ext>
              </a:extLst>
            </p:cNvPr>
            <p:cNvSpPr/>
            <p:nvPr/>
          </p:nvSpPr>
          <p:spPr>
            <a:xfrm>
              <a:off x="9373128" y="2793797"/>
              <a:ext cx="219456" cy="1267968"/>
            </a:xfrm>
            <a:custGeom>
              <a:avLst/>
              <a:gdLst>
                <a:gd name="connsiteX0" fmla="*/ 216368 w 219456"/>
                <a:gd name="connsiteY0" fmla="*/ 6096 h 1267968"/>
                <a:gd name="connsiteX1" fmla="*/ 216368 w 219456"/>
                <a:gd name="connsiteY1" fmla="*/ 6096 h 1267968"/>
                <a:gd name="connsiteX2" fmla="*/ 216368 w 219456"/>
                <a:gd name="connsiteY2" fmla="*/ 1268212 h 1267968"/>
                <a:gd name="connsiteX3" fmla="*/ 6096 w 219456"/>
                <a:gd name="connsiteY3" fmla="*/ 1268212 h 1267968"/>
                <a:gd name="connsiteX4" fmla="*/ 6096 w 219456"/>
                <a:gd name="connsiteY4" fmla="*/ 216449 h 1267968"/>
                <a:gd name="connsiteX5" fmla="*/ 216287 w 219456"/>
                <a:gd name="connsiteY5" fmla="*/ 6096 h 1267968"/>
                <a:gd name="connsiteX6" fmla="*/ 216368 w 219456"/>
                <a:gd name="connsiteY6" fmla="*/ 6096 h 126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19456" h="1267968">
                  <a:moveTo>
                    <a:pt x="216368" y="6096"/>
                  </a:moveTo>
                  <a:lnTo>
                    <a:pt x="216368" y="6096"/>
                  </a:lnTo>
                  <a:lnTo>
                    <a:pt x="216368" y="1268212"/>
                  </a:lnTo>
                  <a:lnTo>
                    <a:pt x="6096" y="1268212"/>
                  </a:lnTo>
                  <a:lnTo>
                    <a:pt x="6096" y="216449"/>
                  </a:lnTo>
                  <a:cubicBezTo>
                    <a:pt x="6096" y="100300"/>
                    <a:pt x="100138" y="6177"/>
                    <a:pt x="216287" y="6096"/>
                  </a:cubicBezTo>
                  <a:lnTo>
                    <a:pt x="216368" y="6096"/>
                  </a:lnTo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179" name="Forma libre: forma 178">
              <a:extLst>
                <a:ext uri="{FF2B5EF4-FFF2-40B4-BE49-F238E27FC236}">
                  <a16:creationId xmlns:a16="http://schemas.microsoft.com/office/drawing/2014/main" id="{11E05D06-FBC0-4725-BF12-FD5E9BFB1D56}"/>
                </a:ext>
              </a:extLst>
            </p:cNvPr>
            <p:cNvSpPr/>
            <p:nvPr/>
          </p:nvSpPr>
          <p:spPr>
            <a:xfrm>
              <a:off x="8111012" y="2793878"/>
              <a:ext cx="1056640" cy="1267968"/>
            </a:xfrm>
            <a:custGeom>
              <a:avLst/>
              <a:gdLst>
                <a:gd name="connsiteX0" fmla="*/ 74046 w 1056640"/>
                <a:gd name="connsiteY0" fmla="*/ 6096 h 1267968"/>
                <a:gd name="connsiteX1" fmla="*/ 6096 w 1056640"/>
                <a:gd name="connsiteY1" fmla="*/ 216367 h 1267968"/>
                <a:gd name="connsiteX2" fmla="*/ 426802 w 1056640"/>
                <a:gd name="connsiteY2" fmla="*/ 216367 h 1267968"/>
                <a:gd name="connsiteX3" fmla="*/ 426802 w 1056640"/>
                <a:gd name="connsiteY3" fmla="*/ 1268131 h 1267968"/>
                <a:gd name="connsiteX4" fmla="*/ 637155 w 1056640"/>
                <a:gd name="connsiteY4" fmla="*/ 1268131 h 1267968"/>
                <a:gd name="connsiteX5" fmla="*/ 637155 w 1056640"/>
                <a:gd name="connsiteY5" fmla="*/ 216367 h 1267968"/>
                <a:gd name="connsiteX6" fmla="*/ 847507 w 1056640"/>
                <a:gd name="connsiteY6" fmla="*/ 216367 h 1267968"/>
                <a:gd name="connsiteX7" fmla="*/ 1057860 w 1056640"/>
                <a:gd name="connsiteY7" fmla="*/ 6096 h 1267968"/>
                <a:gd name="connsiteX8" fmla="*/ 74046 w 1056640"/>
                <a:gd name="connsiteY8" fmla="*/ 6096 h 126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056640" h="1267968">
                  <a:moveTo>
                    <a:pt x="74046" y="6096"/>
                  </a:moveTo>
                  <a:lnTo>
                    <a:pt x="6096" y="216367"/>
                  </a:lnTo>
                  <a:lnTo>
                    <a:pt x="426802" y="216367"/>
                  </a:lnTo>
                  <a:lnTo>
                    <a:pt x="426802" y="1268131"/>
                  </a:lnTo>
                  <a:lnTo>
                    <a:pt x="637155" y="1268131"/>
                  </a:lnTo>
                  <a:lnTo>
                    <a:pt x="637155" y="216367"/>
                  </a:lnTo>
                  <a:lnTo>
                    <a:pt x="847507" y="216367"/>
                  </a:lnTo>
                  <a:cubicBezTo>
                    <a:pt x="963656" y="216367"/>
                    <a:pt x="1057779" y="122245"/>
                    <a:pt x="1057860" y="6096"/>
                  </a:cubicBezTo>
                  <a:lnTo>
                    <a:pt x="74046" y="6096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180" name="Forma libre: forma 179">
              <a:extLst>
                <a:ext uri="{FF2B5EF4-FFF2-40B4-BE49-F238E27FC236}">
                  <a16:creationId xmlns:a16="http://schemas.microsoft.com/office/drawing/2014/main" id="{3DE3E34C-0FA7-4F05-B71D-BAAC7B3EE0A4}"/>
                </a:ext>
              </a:extLst>
            </p:cNvPr>
            <p:cNvSpPr/>
            <p:nvPr/>
          </p:nvSpPr>
          <p:spPr>
            <a:xfrm>
              <a:off x="1602108" y="2793797"/>
              <a:ext cx="845312" cy="1267968"/>
            </a:xfrm>
            <a:custGeom>
              <a:avLst/>
              <a:gdLst>
                <a:gd name="connsiteX0" fmla="*/ 216288 w 845312"/>
                <a:gd name="connsiteY0" fmla="*/ 1057859 h 1267968"/>
                <a:gd name="connsiteX1" fmla="*/ 216288 w 845312"/>
                <a:gd name="connsiteY1" fmla="*/ 6096 h 1267968"/>
                <a:gd name="connsiteX2" fmla="*/ 6098 w 845312"/>
                <a:gd name="connsiteY2" fmla="*/ 6096 h 1267968"/>
                <a:gd name="connsiteX3" fmla="*/ 6098 w 845312"/>
                <a:gd name="connsiteY3" fmla="*/ 1057859 h 1267968"/>
                <a:gd name="connsiteX4" fmla="*/ 6098 w 845312"/>
                <a:gd name="connsiteY4" fmla="*/ 1057859 h 1267968"/>
                <a:gd name="connsiteX5" fmla="*/ 14226 w 845312"/>
                <a:gd name="connsiteY5" fmla="*/ 1116706 h 1267968"/>
                <a:gd name="connsiteX6" fmla="*/ 15201 w 845312"/>
                <a:gd name="connsiteY6" fmla="*/ 1120364 h 1267968"/>
                <a:gd name="connsiteX7" fmla="*/ 17071 w 845312"/>
                <a:gd name="connsiteY7" fmla="*/ 1125566 h 1267968"/>
                <a:gd name="connsiteX8" fmla="*/ 22598 w 845312"/>
                <a:gd name="connsiteY8" fmla="*/ 1140358 h 1267968"/>
                <a:gd name="connsiteX9" fmla="*/ 52021 w 845312"/>
                <a:gd name="connsiteY9" fmla="*/ 1189126 h 1267968"/>
                <a:gd name="connsiteX10" fmla="*/ 124685 w 845312"/>
                <a:gd name="connsiteY10" fmla="*/ 1246916 h 1267968"/>
                <a:gd name="connsiteX11" fmla="*/ 216125 w 845312"/>
                <a:gd name="connsiteY11" fmla="*/ 1268049 h 1267968"/>
                <a:gd name="connsiteX12" fmla="*/ 776957 w 845312"/>
                <a:gd name="connsiteY12" fmla="*/ 1268049 h 1267968"/>
                <a:gd name="connsiteX13" fmla="*/ 847021 w 845312"/>
                <a:gd name="connsiteY13" fmla="*/ 1057697 h 1267968"/>
                <a:gd name="connsiteX14" fmla="*/ 216288 w 845312"/>
                <a:gd name="connsiteY14" fmla="*/ 1057859 h 126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845312" h="1267968">
                  <a:moveTo>
                    <a:pt x="216288" y="1057859"/>
                  </a:moveTo>
                  <a:lnTo>
                    <a:pt x="216288" y="6096"/>
                  </a:lnTo>
                  <a:lnTo>
                    <a:pt x="6098" y="6096"/>
                  </a:lnTo>
                  <a:lnTo>
                    <a:pt x="6098" y="1057859"/>
                  </a:lnTo>
                  <a:lnTo>
                    <a:pt x="6098" y="1057859"/>
                  </a:lnTo>
                  <a:cubicBezTo>
                    <a:pt x="6017" y="1077773"/>
                    <a:pt x="8699" y="1097605"/>
                    <a:pt x="14226" y="1116706"/>
                  </a:cubicBezTo>
                  <a:cubicBezTo>
                    <a:pt x="14632" y="1117925"/>
                    <a:pt x="14795" y="1119226"/>
                    <a:pt x="15201" y="1120364"/>
                  </a:cubicBezTo>
                  <a:cubicBezTo>
                    <a:pt x="15608" y="1121502"/>
                    <a:pt x="16502" y="1123859"/>
                    <a:pt x="17071" y="1125566"/>
                  </a:cubicBezTo>
                  <a:cubicBezTo>
                    <a:pt x="18777" y="1130605"/>
                    <a:pt x="20566" y="1135563"/>
                    <a:pt x="22598" y="1140358"/>
                  </a:cubicBezTo>
                  <a:cubicBezTo>
                    <a:pt x="30157" y="1157915"/>
                    <a:pt x="40073" y="1174252"/>
                    <a:pt x="52021" y="1189126"/>
                  </a:cubicBezTo>
                  <a:cubicBezTo>
                    <a:pt x="71691" y="1213510"/>
                    <a:pt x="96481" y="1233262"/>
                    <a:pt x="124685" y="1246916"/>
                  </a:cubicBezTo>
                  <a:cubicBezTo>
                    <a:pt x="153215" y="1260734"/>
                    <a:pt x="184426" y="1267968"/>
                    <a:pt x="216125" y="1268049"/>
                  </a:cubicBezTo>
                  <a:lnTo>
                    <a:pt x="776957" y="1268049"/>
                  </a:lnTo>
                  <a:lnTo>
                    <a:pt x="847021" y="1057697"/>
                  </a:lnTo>
                  <a:lnTo>
                    <a:pt x="216288" y="1057859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181" name="Forma libre: forma 180">
              <a:extLst>
                <a:ext uri="{FF2B5EF4-FFF2-40B4-BE49-F238E27FC236}">
                  <a16:creationId xmlns:a16="http://schemas.microsoft.com/office/drawing/2014/main" id="{3304114D-0B60-40F2-A035-502502A454FD}"/>
                </a:ext>
              </a:extLst>
            </p:cNvPr>
            <p:cNvSpPr/>
            <p:nvPr/>
          </p:nvSpPr>
          <p:spPr>
            <a:xfrm>
              <a:off x="-6096" y="2794284"/>
              <a:ext cx="959104" cy="1267968"/>
            </a:xfrm>
            <a:custGeom>
              <a:avLst/>
              <a:gdLst>
                <a:gd name="connsiteX0" fmla="*/ 818815 w 959104"/>
                <a:gd name="connsiteY0" fmla="*/ 411764 h 1267968"/>
                <a:gd name="connsiteX1" fmla="*/ 818815 w 959104"/>
                <a:gd name="connsiteY1" fmla="*/ 285699 h 1267968"/>
                <a:gd name="connsiteX2" fmla="*/ 539130 w 959104"/>
                <a:gd name="connsiteY2" fmla="*/ 6096 h 1267968"/>
                <a:gd name="connsiteX3" fmla="*/ 6096 w 959104"/>
                <a:gd name="connsiteY3" fmla="*/ 6096 h 1267968"/>
                <a:gd name="connsiteX4" fmla="*/ 6096 w 959104"/>
                <a:gd name="connsiteY4" fmla="*/ 1057047 h 1267968"/>
                <a:gd name="connsiteX5" fmla="*/ 216367 w 959104"/>
                <a:gd name="connsiteY5" fmla="*/ 1267399 h 1267968"/>
                <a:gd name="connsiteX6" fmla="*/ 532140 w 959104"/>
                <a:gd name="connsiteY6" fmla="*/ 1267399 h 1267968"/>
                <a:gd name="connsiteX7" fmla="*/ 953821 w 959104"/>
                <a:gd name="connsiteY7" fmla="*/ 892861 h 1267968"/>
                <a:gd name="connsiteX8" fmla="*/ 603260 w 959104"/>
                <a:gd name="connsiteY8" fmla="*/ 530596 h 1267968"/>
                <a:gd name="connsiteX9" fmla="*/ 218562 w 959104"/>
                <a:gd name="connsiteY9" fmla="*/ 531490 h 1267968"/>
                <a:gd name="connsiteX10" fmla="*/ 424282 w 959104"/>
                <a:gd name="connsiteY10" fmla="*/ 737210 h 1267968"/>
                <a:gd name="connsiteX11" fmla="*/ 424932 w 959104"/>
                <a:gd name="connsiteY11" fmla="*/ 737210 h 1267968"/>
                <a:gd name="connsiteX12" fmla="*/ 585785 w 959104"/>
                <a:gd name="connsiteY12" fmla="*/ 737210 h 1267968"/>
                <a:gd name="connsiteX13" fmla="*/ 758261 w 959104"/>
                <a:gd name="connsiteY13" fmla="*/ 889203 h 1267968"/>
                <a:gd name="connsiteX14" fmla="*/ 606268 w 959104"/>
                <a:gd name="connsiteY14" fmla="*/ 1061679 h 1267968"/>
                <a:gd name="connsiteX15" fmla="*/ 585704 w 959104"/>
                <a:gd name="connsiteY15" fmla="*/ 1061679 h 1267968"/>
                <a:gd name="connsiteX16" fmla="*/ 216530 w 959104"/>
                <a:gd name="connsiteY16" fmla="*/ 1061679 h 1267968"/>
                <a:gd name="connsiteX17" fmla="*/ 216530 w 959104"/>
                <a:gd name="connsiteY17" fmla="*/ 211653 h 1267968"/>
                <a:gd name="connsiteX18" fmla="*/ 467685 w 959104"/>
                <a:gd name="connsiteY18" fmla="*/ 211653 h 1267968"/>
                <a:gd name="connsiteX19" fmla="*/ 612689 w 959104"/>
                <a:gd name="connsiteY19" fmla="*/ 356575 h 1267968"/>
                <a:gd name="connsiteX20" fmla="*/ 612689 w 959104"/>
                <a:gd name="connsiteY20" fmla="*/ 530352 h 1267968"/>
                <a:gd name="connsiteX21" fmla="*/ 818815 w 959104"/>
                <a:gd name="connsiteY21" fmla="*/ 411764 h 126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959104" h="1267968">
                  <a:moveTo>
                    <a:pt x="818815" y="411764"/>
                  </a:moveTo>
                  <a:lnTo>
                    <a:pt x="818815" y="285699"/>
                  </a:lnTo>
                  <a:cubicBezTo>
                    <a:pt x="818815" y="131267"/>
                    <a:pt x="693562" y="6096"/>
                    <a:pt x="539130" y="6096"/>
                  </a:cubicBezTo>
                  <a:lnTo>
                    <a:pt x="6096" y="6096"/>
                  </a:lnTo>
                  <a:lnTo>
                    <a:pt x="6096" y="1057047"/>
                  </a:lnTo>
                  <a:cubicBezTo>
                    <a:pt x="6096" y="1173196"/>
                    <a:pt x="100218" y="1267318"/>
                    <a:pt x="216367" y="1267399"/>
                  </a:cubicBezTo>
                  <a:lnTo>
                    <a:pt x="532140" y="1267399"/>
                  </a:lnTo>
                  <a:cubicBezTo>
                    <a:pt x="807436" y="1267399"/>
                    <a:pt x="953821" y="1096711"/>
                    <a:pt x="953821" y="892861"/>
                  </a:cubicBezTo>
                  <a:cubicBezTo>
                    <a:pt x="953821" y="725587"/>
                    <a:pt x="840029" y="530596"/>
                    <a:pt x="603260" y="530596"/>
                  </a:cubicBezTo>
                  <a:lnTo>
                    <a:pt x="218562" y="531490"/>
                  </a:lnTo>
                  <a:cubicBezTo>
                    <a:pt x="218562" y="645119"/>
                    <a:pt x="310652" y="737210"/>
                    <a:pt x="424282" y="737210"/>
                  </a:cubicBezTo>
                  <a:cubicBezTo>
                    <a:pt x="424525" y="737210"/>
                    <a:pt x="424688" y="737210"/>
                    <a:pt x="424932" y="737210"/>
                  </a:cubicBezTo>
                  <a:lnTo>
                    <a:pt x="585785" y="737210"/>
                  </a:lnTo>
                  <a:cubicBezTo>
                    <a:pt x="675356" y="731520"/>
                    <a:pt x="752653" y="799551"/>
                    <a:pt x="758261" y="889203"/>
                  </a:cubicBezTo>
                  <a:cubicBezTo>
                    <a:pt x="763951" y="978774"/>
                    <a:pt x="695919" y="1056071"/>
                    <a:pt x="606268" y="1061679"/>
                  </a:cubicBezTo>
                  <a:cubicBezTo>
                    <a:pt x="599440" y="1062086"/>
                    <a:pt x="592531" y="1062086"/>
                    <a:pt x="585704" y="1061679"/>
                  </a:cubicBezTo>
                  <a:lnTo>
                    <a:pt x="216530" y="1061679"/>
                  </a:lnTo>
                  <a:lnTo>
                    <a:pt x="216530" y="211653"/>
                  </a:lnTo>
                  <a:lnTo>
                    <a:pt x="467685" y="211653"/>
                  </a:lnTo>
                  <a:cubicBezTo>
                    <a:pt x="547014" y="213441"/>
                    <a:pt x="610901" y="277246"/>
                    <a:pt x="612689" y="356575"/>
                  </a:cubicBezTo>
                  <a:lnTo>
                    <a:pt x="612689" y="530352"/>
                  </a:lnTo>
                  <a:lnTo>
                    <a:pt x="818815" y="411764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189" name="Forma libre: forma 188">
              <a:extLst>
                <a:ext uri="{FF2B5EF4-FFF2-40B4-BE49-F238E27FC236}">
                  <a16:creationId xmlns:a16="http://schemas.microsoft.com/office/drawing/2014/main" id="{EB049B37-F150-451D-BFC1-D44AD2413D08}"/>
                </a:ext>
              </a:extLst>
            </p:cNvPr>
            <p:cNvSpPr/>
            <p:nvPr/>
          </p:nvSpPr>
          <p:spPr>
            <a:xfrm>
              <a:off x="2653792" y="2794284"/>
              <a:ext cx="959104" cy="1267968"/>
            </a:xfrm>
            <a:custGeom>
              <a:avLst/>
              <a:gdLst>
                <a:gd name="connsiteX0" fmla="*/ 818896 w 959104"/>
                <a:gd name="connsiteY0" fmla="*/ 411764 h 1267968"/>
                <a:gd name="connsiteX1" fmla="*/ 818896 w 959104"/>
                <a:gd name="connsiteY1" fmla="*/ 285699 h 1267968"/>
                <a:gd name="connsiteX2" fmla="*/ 539212 w 959104"/>
                <a:gd name="connsiteY2" fmla="*/ 6096 h 1267968"/>
                <a:gd name="connsiteX3" fmla="*/ 6096 w 959104"/>
                <a:gd name="connsiteY3" fmla="*/ 6096 h 1267968"/>
                <a:gd name="connsiteX4" fmla="*/ 6096 w 959104"/>
                <a:gd name="connsiteY4" fmla="*/ 1057047 h 1267968"/>
                <a:gd name="connsiteX5" fmla="*/ 216449 w 959104"/>
                <a:gd name="connsiteY5" fmla="*/ 1267399 h 1267968"/>
                <a:gd name="connsiteX6" fmla="*/ 532222 w 959104"/>
                <a:gd name="connsiteY6" fmla="*/ 1267399 h 1267968"/>
                <a:gd name="connsiteX7" fmla="*/ 953821 w 959104"/>
                <a:gd name="connsiteY7" fmla="*/ 892861 h 1267968"/>
                <a:gd name="connsiteX8" fmla="*/ 603342 w 959104"/>
                <a:gd name="connsiteY8" fmla="*/ 530596 h 1267968"/>
                <a:gd name="connsiteX9" fmla="*/ 218643 w 959104"/>
                <a:gd name="connsiteY9" fmla="*/ 531490 h 1267968"/>
                <a:gd name="connsiteX10" fmla="*/ 424363 w 959104"/>
                <a:gd name="connsiteY10" fmla="*/ 737210 h 1267968"/>
                <a:gd name="connsiteX11" fmla="*/ 424932 w 959104"/>
                <a:gd name="connsiteY11" fmla="*/ 737210 h 1267968"/>
                <a:gd name="connsiteX12" fmla="*/ 585866 w 959104"/>
                <a:gd name="connsiteY12" fmla="*/ 737210 h 1267968"/>
                <a:gd name="connsiteX13" fmla="*/ 737860 w 959104"/>
                <a:gd name="connsiteY13" fmla="*/ 909686 h 1267968"/>
                <a:gd name="connsiteX14" fmla="*/ 585866 w 959104"/>
                <a:gd name="connsiteY14" fmla="*/ 1061679 h 1267968"/>
                <a:gd name="connsiteX15" fmla="*/ 216611 w 959104"/>
                <a:gd name="connsiteY15" fmla="*/ 1061679 h 1267968"/>
                <a:gd name="connsiteX16" fmla="*/ 216611 w 959104"/>
                <a:gd name="connsiteY16" fmla="*/ 211653 h 1267968"/>
                <a:gd name="connsiteX17" fmla="*/ 467766 w 959104"/>
                <a:gd name="connsiteY17" fmla="*/ 211653 h 1267968"/>
                <a:gd name="connsiteX18" fmla="*/ 612770 w 959104"/>
                <a:gd name="connsiteY18" fmla="*/ 356575 h 1267968"/>
                <a:gd name="connsiteX19" fmla="*/ 612770 w 959104"/>
                <a:gd name="connsiteY19" fmla="*/ 530352 h 1267968"/>
                <a:gd name="connsiteX20" fmla="*/ 818896 w 959104"/>
                <a:gd name="connsiteY20" fmla="*/ 411764 h 126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959104" h="1267968">
                  <a:moveTo>
                    <a:pt x="818896" y="411764"/>
                  </a:moveTo>
                  <a:lnTo>
                    <a:pt x="818896" y="285699"/>
                  </a:lnTo>
                  <a:cubicBezTo>
                    <a:pt x="818896" y="131267"/>
                    <a:pt x="693644" y="6096"/>
                    <a:pt x="539212" y="6096"/>
                  </a:cubicBezTo>
                  <a:lnTo>
                    <a:pt x="6096" y="6096"/>
                  </a:lnTo>
                  <a:lnTo>
                    <a:pt x="6096" y="1057047"/>
                  </a:lnTo>
                  <a:cubicBezTo>
                    <a:pt x="6096" y="1173196"/>
                    <a:pt x="100299" y="1267399"/>
                    <a:pt x="216449" y="1267399"/>
                  </a:cubicBezTo>
                  <a:lnTo>
                    <a:pt x="532222" y="1267399"/>
                  </a:lnTo>
                  <a:cubicBezTo>
                    <a:pt x="807517" y="1267399"/>
                    <a:pt x="953821" y="1096711"/>
                    <a:pt x="953821" y="892861"/>
                  </a:cubicBezTo>
                  <a:cubicBezTo>
                    <a:pt x="953821" y="725587"/>
                    <a:pt x="840029" y="530596"/>
                    <a:pt x="603342" y="530596"/>
                  </a:cubicBezTo>
                  <a:lnTo>
                    <a:pt x="218643" y="531490"/>
                  </a:lnTo>
                  <a:cubicBezTo>
                    <a:pt x="218643" y="645119"/>
                    <a:pt x="310734" y="737210"/>
                    <a:pt x="424363" y="737210"/>
                  </a:cubicBezTo>
                  <a:cubicBezTo>
                    <a:pt x="424526" y="737210"/>
                    <a:pt x="424769" y="737210"/>
                    <a:pt x="424932" y="737210"/>
                  </a:cubicBezTo>
                  <a:lnTo>
                    <a:pt x="585866" y="737210"/>
                  </a:lnTo>
                  <a:cubicBezTo>
                    <a:pt x="675437" y="742899"/>
                    <a:pt x="743468" y="820115"/>
                    <a:pt x="737860" y="909686"/>
                  </a:cubicBezTo>
                  <a:cubicBezTo>
                    <a:pt x="732658" y="991372"/>
                    <a:pt x="667553" y="1056477"/>
                    <a:pt x="585866" y="1061679"/>
                  </a:cubicBezTo>
                  <a:lnTo>
                    <a:pt x="216611" y="1061679"/>
                  </a:lnTo>
                  <a:lnTo>
                    <a:pt x="216611" y="211653"/>
                  </a:lnTo>
                  <a:lnTo>
                    <a:pt x="467766" y="211653"/>
                  </a:lnTo>
                  <a:cubicBezTo>
                    <a:pt x="547096" y="213441"/>
                    <a:pt x="610982" y="277246"/>
                    <a:pt x="612770" y="356575"/>
                  </a:cubicBezTo>
                  <a:lnTo>
                    <a:pt x="612770" y="530352"/>
                  </a:lnTo>
                  <a:lnTo>
                    <a:pt x="818896" y="411764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190" name="Forma libre: forma 189">
              <a:extLst>
                <a:ext uri="{FF2B5EF4-FFF2-40B4-BE49-F238E27FC236}">
                  <a16:creationId xmlns:a16="http://schemas.microsoft.com/office/drawing/2014/main" id="{9155549E-9B77-4CBA-8840-3F5C84865C05}"/>
                </a:ext>
              </a:extLst>
            </p:cNvPr>
            <p:cNvSpPr/>
            <p:nvPr/>
          </p:nvSpPr>
          <p:spPr>
            <a:xfrm>
              <a:off x="5297343" y="2793878"/>
              <a:ext cx="219456" cy="1267968"/>
            </a:xfrm>
            <a:custGeom>
              <a:avLst/>
              <a:gdLst>
                <a:gd name="connsiteX0" fmla="*/ 6096 w 219456"/>
                <a:gd name="connsiteY0" fmla="*/ 6096 h 1267968"/>
                <a:gd name="connsiteX1" fmla="*/ 216449 w 219456"/>
                <a:gd name="connsiteY1" fmla="*/ 6096 h 1267968"/>
                <a:gd name="connsiteX2" fmla="*/ 216449 w 219456"/>
                <a:gd name="connsiteY2" fmla="*/ 1268212 h 1267968"/>
                <a:gd name="connsiteX3" fmla="*/ 6096 w 219456"/>
                <a:gd name="connsiteY3" fmla="*/ 1268212 h 126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19456" h="1267968">
                  <a:moveTo>
                    <a:pt x="6096" y="6096"/>
                  </a:moveTo>
                  <a:lnTo>
                    <a:pt x="216449" y="6096"/>
                  </a:lnTo>
                  <a:lnTo>
                    <a:pt x="216449" y="1268212"/>
                  </a:lnTo>
                  <a:lnTo>
                    <a:pt x="6096" y="1268212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191" name="Forma libre: forma 190">
              <a:extLst>
                <a:ext uri="{FF2B5EF4-FFF2-40B4-BE49-F238E27FC236}">
                  <a16:creationId xmlns:a16="http://schemas.microsoft.com/office/drawing/2014/main" id="{48EF5F88-D31B-4710-B07C-8C5B48A3123C}"/>
                </a:ext>
              </a:extLst>
            </p:cNvPr>
            <p:cNvSpPr/>
            <p:nvPr/>
          </p:nvSpPr>
          <p:spPr>
            <a:xfrm>
              <a:off x="5507695" y="2793634"/>
              <a:ext cx="487680" cy="1267968"/>
            </a:xfrm>
            <a:custGeom>
              <a:avLst/>
              <a:gdLst>
                <a:gd name="connsiteX0" fmla="*/ 426557 w 487680"/>
                <a:gd name="connsiteY0" fmla="*/ 1268375 h 1267968"/>
                <a:gd name="connsiteX1" fmla="*/ 485323 w 487680"/>
                <a:gd name="connsiteY1" fmla="*/ 1268375 h 1267968"/>
                <a:gd name="connsiteX2" fmla="*/ 248067 w 487680"/>
                <a:gd name="connsiteY2" fmla="*/ 154838 h 1267968"/>
                <a:gd name="connsiteX3" fmla="*/ 64861 w 487680"/>
                <a:gd name="connsiteY3" fmla="*/ 6096 h 1267968"/>
                <a:gd name="connsiteX4" fmla="*/ 6096 w 487680"/>
                <a:gd name="connsiteY4" fmla="*/ 6096 h 1267968"/>
                <a:gd name="connsiteX5" fmla="*/ 243352 w 487680"/>
                <a:gd name="connsiteY5" fmla="*/ 1119632 h 1267968"/>
                <a:gd name="connsiteX6" fmla="*/ 426557 w 487680"/>
                <a:gd name="connsiteY6" fmla="*/ 1267968 h 126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87680" h="1267968">
                  <a:moveTo>
                    <a:pt x="426557" y="1268375"/>
                  </a:moveTo>
                  <a:lnTo>
                    <a:pt x="485323" y="1268375"/>
                  </a:lnTo>
                  <a:lnTo>
                    <a:pt x="248067" y="154838"/>
                  </a:lnTo>
                  <a:cubicBezTo>
                    <a:pt x="229535" y="68356"/>
                    <a:pt x="153294" y="6421"/>
                    <a:pt x="64861" y="6096"/>
                  </a:cubicBezTo>
                  <a:lnTo>
                    <a:pt x="6096" y="6096"/>
                  </a:lnTo>
                  <a:lnTo>
                    <a:pt x="243352" y="1119632"/>
                  </a:lnTo>
                  <a:cubicBezTo>
                    <a:pt x="261803" y="1206114"/>
                    <a:pt x="338125" y="1267887"/>
                    <a:pt x="426557" y="1267968"/>
                  </a:cubicBezTo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192" name="Forma libre: forma 191">
              <a:extLst>
                <a:ext uri="{FF2B5EF4-FFF2-40B4-BE49-F238E27FC236}">
                  <a16:creationId xmlns:a16="http://schemas.microsoft.com/office/drawing/2014/main" id="{7D6DC3CF-5B99-4D2A-850A-622C2B4C0D80}"/>
                </a:ext>
              </a:extLst>
            </p:cNvPr>
            <p:cNvSpPr/>
            <p:nvPr/>
          </p:nvSpPr>
          <p:spPr>
            <a:xfrm>
              <a:off x="5986922" y="2794284"/>
              <a:ext cx="487680" cy="1267968"/>
            </a:xfrm>
            <a:custGeom>
              <a:avLst/>
              <a:gdLst>
                <a:gd name="connsiteX0" fmla="*/ 243271 w 487680"/>
                <a:gd name="connsiteY0" fmla="*/ 154595 h 1267968"/>
                <a:gd name="connsiteX1" fmla="*/ 6096 w 487680"/>
                <a:gd name="connsiteY1" fmla="*/ 1268131 h 1267968"/>
                <a:gd name="connsiteX2" fmla="*/ 216367 w 487680"/>
                <a:gd name="connsiteY2" fmla="*/ 1268131 h 1267968"/>
                <a:gd name="connsiteX3" fmla="*/ 485323 w 487680"/>
                <a:gd name="connsiteY3" fmla="*/ 6096 h 1267968"/>
                <a:gd name="connsiteX4" fmla="*/ 426557 w 487680"/>
                <a:gd name="connsiteY4" fmla="*/ 6096 h 1267968"/>
                <a:gd name="connsiteX5" fmla="*/ 243271 w 487680"/>
                <a:gd name="connsiteY5" fmla="*/ 155001 h 126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87680" h="1267968">
                  <a:moveTo>
                    <a:pt x="243271" y="154595"/>
                  </a:moveTo>
                  <a:lnTo>
                    <a:pt x="6096" y="1268131"/>
                  </a:lnTo>
                  <a:lnTo>
                    <a:pt x="216367" y="1268131"/>
                  </a:lnTo>
                  <a:lnTo>
                    <a:pt x="485323" y="6096"/>
                  </a:lnTo>
                  <a:lnTo>
                    <a:pt x="426557" y="6096"/>
                  </a:lnTo>
                  <a:cubicBezTo>
                    <a:pt x="338043" y="6421"/>
                    <a:pt x="261722" y="68438"/>
                    <a:pt x="243271" y="155001"/>
                  </a:cubicBezTo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193" name="Forma libre: forma 192">
              <a:extLst>
                <a:ext uri="{FF2B5EF4-FFF2-40B4-BE49-F238E27FC236}">
                  <a16:creationId xmlns:a16="http://schemas.microsoft.com/office/drawing/2014/main" id="{4BA02AA7-764D-4EAD-BF92-F7134E9FAC02}"/>
                </a:ext>
              </a:extLst>
            </p:cNvPr>
            <p:cNvSpPr/>
            <p:nvPr/>
          </p:nvSpPr>
          <p:spPr>
            <a:xfrm>
              <a:off x="6466149" y="2793878"/>
              <a:ext cx="219456" cy="1267968"/>
            </a:xfrm>
            <a:custGeom>
              <a:avLst/>
              <a:gdLst>
                <a:gd name="connsiteX0" fmla="*/ 6096 w 219456"/>
                <a:gd name="connsiteY0" fmla="*/ 6096 h 1267968"/>
                <a:gd name="connsiteX1" fmla="*/ 216449 w 219456"/>
                <a:gd name="connsiteY1" fmla="*/ 6096 h 1267968"/>
                <a:gd name="connsiteX2" fmla="*/ 216449 w 219456"/>
                <a:gd name="connsiteY2" fmla="*/ 1268212 h 1267968"/>
                <a:gd name="connsiteX3" fmla="*/ 6096 w 219456"/>
                <a:gd name="connsiteY3" fmla="*/ 1268212 h 126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19456" h="1267968">
                  <a:moveTo>
                    <a:pt x="6096" y="6096"/>
                  </a:moveTo>
                  <a:lnTo>
                    <a:pt x="216449" y="6096"/>
                  </a:lnTo>
                  <a:lnTo>
                    <a:pt x="216449" y="1268212"/>
                  </a:lnTo>
                  <a:lnTo>
                    <a:pt x="6096" y="1268212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194" name="Forma libre: forma 193">
              <a:extLst>
                <a:ext uri="{FF2B5EF4-FFF2-40B4-BE49-F238E27FC236}">
                  <a16:creationId xmlns:a16="http://schemas.microsoft.com/office/drawing/2014/main" id="{FAB661C0-C660-4048-BCA0-33BD6B822CE6}"/>
                </a:ext>
              </a:extLst>
            </p:cNvPr>
            <p:cNvSpPr/>
            <p:nvPr/>
          </p:nvSpPr>
          <p:spPr>
            <a:xfrm>
              <a:off x="9815617" y="2776728"/>
              <a:ext cx="950976" cy="1300480"/>
            </a:xfrm>
            <a:custGeom>
              <a:avLst/>
              <a:gdLst>
                <a:gd name="connsiteX0" fmla="*/ 889935 w 950976"/>
                <a:gd name="connsiteY0" fmla="*/ 286350 h 1300480"/>
                <a:gd name="connsiteX1" fmla="*/ 285618 w 950976"/>
                <a:gd name="connsiteY1" fmla="*/ 417779 h 1300480"/>
                <a:gd name="connsiteX2" fmla="*/ 417047 w 950976"/>
                <a:gd name="connsiteY2" fmla="*/ 1022096 h 1300480"/>
                <a:gd name="connsiteX3" fmla="*/ 653410 w 950976"/>
                <a:gd name="connsiteY3" fmla="*/ 1091509 h 1300480"/>
                <a:gd name="connsiteX4" fmla="*/ 927242 w 950976"/>
                <a:gd name="connsiteY4" fmla="*/ 997712 h 1300480"/>
                <a:gd name="connsiteX5" fmla="*/ 927242 w 950976"/>
                <a:gd name="connsiteY5" fmla="*/ 1240170 h 1300480"/>
                <a:gd name="connsiteX6" fmla="*/ 653736 w 950976"/>
                <a:gd name="connsiteY6" fmla="*/ 1301862 h 1300480"/>
                <a:gd name="connsiteX7" fmla="*/ 6096 w 950976"/>
                <a:gd name="connsiteY7" fmla="*/ 653735 h 1300480"/>
                <a:gd name="connsiteX8" fmla="*/ 654304 w 950976"/>
                <a:gd name="connsiteY8" fmla="*/ 6096 h 1300480"/>
                <a:gd name="connsiteX9" fmla="*/ 948050 w 950976"/>
                <a:gd name="connsiteY9" fmla="*/ 76647 h 1300480"/>
                <a:gd name="connsiteX10" fmla="*/ 889935 w 950976"/>
                <a:gd name="connsiteY10" fmla="*/ 286350 h 13004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950976" h="1300480">
                  <a:moveTo>
                    <a:pt x="889935" y="286350"/>
                  </a:moveTo>
                  <a:cubicBezTo>
                    <a:pt x="686735" y="155814"/>
                    <a:pt x="416235" y="214661"/>
                    <a:pt x="285618" y="417779"/>
                  </a:cubicBezTo>
                  <a:cubicBezTo>
                    <a:pt x="155082" y="620979"/>
                    <a:pt x="213929" y="891479"/>
                    <a:pt x="417047" y="1022096"/>
                  </a:cubicBezTo>
                  <a:cubicBezTo>
                    <a:pt x="487599" y="1067369"/>
                    <a:pt x="569610" y="1091509"/>
                    <a:pt x="653410" y="1091509"/>
                  </a:cubicBezTo>
                  <a:cubicBezTo>
                    <a:pt x="752571" y="1091753"/>
                    <a:pt x="849051" y="1058753"/>
                    <a:pt x="927242" y="997712"/>
                  </a:cubicBezTo>
                  <a:lnTo>
                    <a:pt x="927242" y="1240170"/>
                  </a:lnTo>
                  <a:cubicBezTo>
                    <a:pt x="841817" y="1280892"/>
                    <a:pt x="748345" y="1302024"/>
                    <a:pt x="653736" y="1301862"/>
                  </a:cubicBezTo>
                  <a:cubicBezTo>
                    <a:pt x="295941" y="1301699"/>
                    <a:pt x="5933" y="1011530"/>
                    <a:pt x="6096" y="653735"/>
                  </a:cubicBezTo>
                  <a:cubicBezTo>
                    <a:pt x="6259" y="295941"/>
                    <a:pt x="296428" y="5934"/>
                    <a:pt x="654304" y="6096"/>
                  </a:cubicBezTo>
                  <a:cubicBezTo>
                    <a:pt x="756391" y="6096"/>
                    <a:pt x="857097" y="30318"/>
                    <a:pt x="948050" y="76647"/>
                  </a:cubicBezTo>
                  <a:lnTo>
                    <a:pt x="889935" y="286350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195" name="Forma libre: forma 194">
              <a:extLst>
                <a:ext uri="{FF2B5EF4-FFF2-40B4-BE49-F238E27FC236}">
                  <a16:creationId xmlns:a16="http://schemas.microsoft.com/office/drawing/2014/main" id="{D71ADCAB-451C-43E6-A77F-480DBD0D19D5}"/>
                </a:ext>
              </a:extLst>
            </p:cNvPr>
            <p:cNvSpPr/>
            <p:nvPr/>
          </p:nvSpPr>
          <p:spPr>
            <a:xfrm>
              <a:off x="6886773" y="2794041"/>
              <a:ext cx="1276096" cy="1267968"/>
            </a:xfrm>
            <a:custGeom>
              <a:avLst/>
              <a:gdLst>
                <a:gd name="connsiteX0" fmla="*/ 1060135 w 1276096"/>
                <a:gd name="connsiteY0" fmla="*/ 1267968 h 1267968"/>
                <a:gd name="connsiteX1" fmla="*/ 1273007 w 1276096"/>
                <a:gd name="connsiteY1" fmla="*/ 1267968 h 1267968"/>
                <a:gd name="connsiteX2" fmla="*/ 900501 w 1276096"/>
                <a:gd name="connsiteY2" fmla="*/ 149962 h 1267968"/>
                <a:gd name="connsiteX3" fmla="*/ 700959 w 1276096"/>
                <a:gd name="connsiteY3" fmla="*/ 6096 h 1267968"/>
                <a:gd name="connsiteX4" fmla="*/ 426801 w 1276096"/>
                <a:gd name="connsiteY4" fmla="*/ 6096 h 1267968"/>
                <a:gd name="connsiteX5" fmla="*/ 6096 w 1276096"/>
                <a:gd name="connsiteY5" fmla="*/ 1268212 h 1267968"/>
                <a:gd name="connsiteX6" fmla="*/ 218968 w 1276096"/>
                <a:gd name="connsiteY6" fmla="*/ 1268212 h 1267968"/>
                <a:gd name="connsiteX7" fmla="*/ 324145 w 1276096"/>
                <a:gd name="connsiteY7" fmla="*/ 952683 h 1267968"/>
                <a:gd name="connsiteX8" fmla="*/ 673649 w 1276096"/>
                <a:gd name="connsiteY8" fmla="*/ 952683 h 1267968"/>
                <a:gd name="connsiteX9" fmla="*/ 884001 w 1276096"/>
                <a:gd name="connsiteY9" fmla="*/ 742330 h 1267968"/>
                <a:gd name="connsiteX10" fmla="*/ 884001 w 1276096"/>
                <a:gd name="connsiteY10" fmla="*/ 742330 h 1267968"/>
                <a:gd name="connsiteX11" fmla="*/ 394127 w 1276096"/>
                <a:gd name="connsiteY11" fmla="*/ 742330 h 1267968"/>
                <a:gd name="connsiteX12" fmla="*/ 639511 w 1276096"/>
                <a:gd name="connsiteY12" fmla="*/ 6096 h 1267968"/>
                <a:gd name="connsiteX13" fmla="*/ 1060135 w 1276096"/>
                <a:gd name="connsiteY13" fmla="*/ 1267968 h 126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276096" h="1267968">
                  <a:moveTo>
                    <a:pt x="1060135" y="1267968"/>
                  </a:moveTo>
                  <a:lnTo>
                    <a:pt x="1273007" y="1267968"/>
                  </a:lnTo>
                  <a:lnTo>
                    <a:pt x="900501" y="149962"/>
                  </a:lnTo>
                  <a:cubicBezTo>
                    <a:pt x="871891" y="64049"/>
                    <a:pt x="791505" y="6096"/>
                    <a:pt x="700959" y="6096"/>
                  </a:cubicBezTo>
                  <a:lnTo>
                    <a:pt x="426801" y="6096"/>
                  </a:lnTo>
                  <a:lnTo>
                    <a:pt x="6096" y="1268212"/>
                  </a:lnTo>
                  <a:lnTo>
                    <a:pt x="218968" y="1268212"/>
                  </a:lnTo>
                  <a:lnTo>
                    <a:pt x="324145" y="952683"/>
                  </a:lnTo>
                  <a:lnTo>
                    <a:pt x="673649" y="952683"/>
                  </a:lnTo>
                  <a:cubicBezTo>
                    <a:pt x="789798" y="952683"/>
                    <a:pt x="884001" y="858479"/>
                    <a:pt x="884001" y="742330"/>
                  </a:cubicBezTo>
                  <a:lnTo>
                    <a:pt x="884001" y="742330"/>
                  </a:lnTo>
                  <a:cubicBezTo>
                    <a:pt x="884001" y="742330"/>
                    <a:pt x="394127" y="742330"/>
                    <a:pt x="394127" y="742330"/>
                  </a:cubicBezTo>
                  <a:lnTo>
                    <a:pt x="639511" y="6096"/>
                  </a:lnTo>
                  <a:lnTo>
                    <a:pt x="1060135" y="1267968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196" name="Forma libre: forma 195">
              <a:extLst>
                <a:ext uri="{FF2B5EF4-FFF2-40B4-BE49-F238E27FC236}">
                  <a16:creationId xmlns:a16="http://schemas.microsoft.com/office/drawing/2014/main" id="{E5756BF1-AEFC-412D-8C82-ABC65CD6DD46}"/>
                </a:ext>
              </a:extLst>
            </p:cNvPr>
            <p:cNvSpPr/>
            <p:nvPr/>
          </p:nvSpPr>
          <p:spPr>
            <a:xfrm>
              <a:off x="10918749" y="2794041"/>
              <a:ext cx="1276096" cy="1267968"/>
            </a:xfrm>
            <a:custGeom>
              <a:avLst/>
              <a:gdLst>
                <a:gd name="connsiteX0" fmla="*/ 1060380 w 1276096"/>
                <a:gd name="connsiteY0" fmla="*/ 1267968 h 1267968"/>
                <a:gd name="connsiteX1" fmla="*/ 1273251 w 1276096"/>
                <a:gd name="connsiteY1" fmla="*/ 1267968 h 1267968"/>
                <a:gd name="connsiteX2" fmla="*/ 900420 w 1276096"/>
                <a:gd name="connsiteY2" fmla="*/ 149962 h 1267968"/>
                <a:gd name="connsiteX3" fmla="*/ 700877 w 1276096"/>
                <a:gd name="connsiteY3" fmla="*/ 6096 h 1267968"/>
                <a:gd name="connsiteX4" fmla="*/ 426801 w 1276096"/>
                <a:gd name="connsiteY4" fmla="*/ 6096 h 1267968"/>
                <a:gd name="connsiteX5" fmla="*/ 6096 w 1276096"/>
                <a:gd name="connsiteY5" fmla="*/ 1268212 h 1267968"/>
                <a:gd name="connsiteX6" fmla="*/ 218969 w 1276096"/>
                <a:gd name="connsiteY6" fmla="*/ 1268212 h 1267968"/>
                <a:gd name="connsiteX7" fmla="*/ 324145 w 1276096"/>
                <a:gd name="connsiteY7" fmla="*/ 952683 h 1267968"/>
                <a:gd name="connsiteX8" fmla="*/ 673649 w 1276096"/>
                <a:gd name="connsiteY8" fmla="*/ 952683 h 1267968"/>
                <a:gd name="connsiteX9" fmla="*/ 884001 w 1276096"/>
                <a:gd name="connsiteY9" fmla="*/ 742330 h 1267968"/>
                <a:gd name="connsiteX10" fmla="*/ 884001 w 1276096"/>
                <a:gd name="connsiteY10" fmla="*/ 742330 h 1267968"/>
                <a:gd name="connsiteX11" fmla="*/ 394127 w 1276096"/>
                <a:gd name="connsiteY11" fmla="*/ 742330 h 1267968"/>
                <a:gd name="connsiteX12" fmla="*/ 639512 w 1276096"/>
                <a:gd name="connsiteY12" fmla="*/ 6096 h 1267968"/>
                <a:gd name="connsiteX13" fmla="*/ 1060380 w 1276096"/>
                <a:gd name="connsiteY13" fmla="*/ 1267968 h 126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276096" h="1267968">
                  <a:moveTo>
                    <a:pt x="1060380" y="1267968"/>
                  </a:moveTo>
                  <a:lnTo>
                    <a:pt x="1273251" y="1267968"/>
                  </a:lnTo>
                  <a:lnTo>
                    <a:pt x="900420" y="149962"/>
                  </a:lnTo>
                  <a:cubicBezTo>
                    <a:pt x="871809" y="64049"/>
                    <a:pt x="791423" y="6096"/>
                    <a:pt x="700877" y="6096"/>
                  </a:cubicBezTo>
                  <a:lnTo>
                    <a:pt x="426801" y="6096"/>
                  </a:lnTo>
                  <a:lnTo>
                    <a:pt x="6096" y="1268212"/>
                  </a:lnTo>
                  <a:lnTo>
                    <a:pt x="218969" y="1268212"/>
                  </a:lnTo>
                  <a:lnTo>
                    <a:pt x="324145" y="952683"/>
                  </a:lnTo>
                  <a:lnTo>
                    <a:pt x="673649" y="952683"/>
                  </a:lnTo>
                  <a:cubicBezTo>
                    <a:pt x="789798" y="952683"/>
                    <a:pt x="884001" y="858479"/>
                    <a:pt x="884001" y="742330"/>
                  </a:cubicBezTo>
                  <a:lnTo>
                    <a:pt x="884001" y="742330"/>
                  </a:lnTo>
                  <a:cubicBezTo>
                    <a:pt x="884001" y="742330"/>
                    <a:pt x="394127" y="742330"/>
                    <a:pt x="394127" y="742330"/>
                  </a:cubicBezTo>
                  <a:lnTo>
                    <a:pt x="639512" y="6096"/>
                  </a:lnTo>
                  <a:lnTo>
                    <a:pt x="1060380" y="1267968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</p:grpSp>
      <p:sp>
        <p:nvSpPr>
          <p:cNvPr id="2" name="Marcador de pie de página 1">
            <a:extLst>
              <a:ext uri="{FF2B5EF4-FFF2-40B4-BE49-F238E27FC236}">
                <a16:creationId xmlns:a16="http://schemas.microsoft.com/office/drawing/2014/main" id="{0A66E6B5-F323-42A5-846F-63B81A13982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pt-PT"/>
              <a:t>Título de la presentación</a:t>
            </a:r>
            <a:endParaRPr lang="pt-PT" dirty="0"/>
          </a:p>
        </p:txBody>
      </p:sp>
      <p:sp>
        <p:nvSpPr>
          <p:cNvPr id="3" name="Marcador de número de diapositiva 2">
            <a:extLst>
              <a:ext uri="{FF2B5EF4-FFF2-40B4-BE49-F238E27FC236}">
                <a16:creationId xmlns:a16="http://schemas.microsoft.com/office/drawing/2014/main" id="{9E9D2BEF-83DB-49FB-A0A8-FA57A8535EF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4A347C2-D68E-473A-8C76-1D063E4EB6E0}" type="slidenum">
              <a:rPr lang="es-ES" smtClean="0"/>
              <a:pPr/>
              <a:t>35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3584205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50"/>
                                        <p:tgtEl>
                                          <p:spTgt spid="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42" presetClass="path" presetSubtype="0" decel="10000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animMotion origin="layout" path="M -0.01719 -0.00023 L -1.25E-6 1.85185E-6 " pathEditMode="relative" rAng="0" ptsTypes="AA">
                                      <p:cBhvr>
                                        <p:cTn id="9" dur="500" fill="hold"/>
                                        <p:tgtEl>
                                          <p:spTgt spid="6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859" y="0"/>
                                    </p:animMotion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25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42" presetClass="path" presetSubtype="0" decel="10000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animMotion origin="layout" path="M -0.01719 -0.00023 L -1.25E-6 1.85185E-6 " pathEditMode="relative" rAng="0" ptsTypes="AA">
                                      <p:cBhvr>
                                        <p:cTn id="14" dur="5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859" y="0"/>
                                    </p:animMotion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250"/>
                                        <p:tgtEl>
                                          <p:spTgt spid="8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42" presetClass="path" presetSubtype="0" decel="10000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animMotion origin="layout" path="M -0.01719 -0.00023 L -1.25E-6 1.85185E-6 " pathEditMode="relative" rAng="0" ptsTypes="AA">
                                      <p:cBhvr>
                                        <p:cTn id="19" dur="500" fill="hold"/>
                                        <p:tgtEl>
                                          <p:spTgt spid="8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859" y="0"/>
                                    </p:animMotion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250"/>
                                        <p:tgtEl>
                                          <p:spTgt spid="10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42" presetClass="path" presetSubtype="0" decel="10000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animMotion origin="layout" path="M -0.01719 -0.00023 L -1.25E-6 1.85185E-6 " pathEditMode="relative" rAng="0" ptsTypes="AA">
                                      <p:cBhvr>
                                        <p:cTn id="24" dur="500" fill="hold"/>
                                        <p:tgtEl>
                                          <p:spTgt spid="10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859" y="0"/>
                                    </p:animMotion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250"/>
                                        <p:tgtEl>
                                          <p:spTgt spid="1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42" presetClass="path" presetSubtype="0" decel="10000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animMotion origin="layout" path="M -0.01719 -0.00023 L -1.25E-6 1.85185E-6 " pathEditMode="relative" rAng="0" ptsTypes="AA">
                                      <p:cBhvr>
                                        <p:cTn id="29" dur="500" fill="hold"/>
                                        <p:tgtEl>
                                          <p:spTgt spid="12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859" y="0"/>
                                    </p:animMotion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250"/>
                                        <p:tgtEl>
                                          <p:spTgt spid="1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42" presetClass="path" presetSubtype="0" decel="10000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animMotion origin="layout" path="M -0.01719 -0.00023 L -1.25E-6 1.85185E-6 " pathEditMode="relative" rAng="0" ptsTypes="AA">
                                      <p:cBhvr>
                                        <p:cTn id="34" dur="500" fill="hold"/>
                                        <p:tgtEl>
                                          <p:spTgt spid="15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859" y="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ítulo 12">
            <a:extLst>
              <a:ext uri="{FF2B5EF4-FFF2-40B4-BE49-F238E27FC236}">
                <a16:creationId xmlns:a16="http://schemas.microsoft.com/office/drawing/2014/main" id="{CF0FB9F6-E6FD-B2C5-46D2-29BDB7A9973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Lorem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ipsum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dolor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sit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amet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,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consectetuer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adipiscing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elit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.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Maecenas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porttitor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congue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massa</a:t>
            </a:r>
            <a:endParaRPr lang="pt-PT" dirty="0"/>
          </a:p>
        </p:txBody>
      </p:sp>
      <p:grpSp>
        <p:nvGrpSpPr>
          <p:cNvPr id="15" name="Agrupar 14">
            <a:extLst>
              <a:ext uri="{FF2B5EF4-FFF2-40B4-BE49-F238E27FC236}">
                <a16:creationId xmlns:a16="http://schemas.microsoft.com/office/drawing/2014/main" id="{C5B30917-9936-D2FB-C85E-F650E650DCA7}"/>
              </a:ext>
            </a:extLst>
          </p:cNvPr>
          <p:cNvGrpSpPr/>
          <p:nvPr/>
        </p:nvGrpSpPr>
        <p:grpSpPr>
          <a:xfrm>
            <a:off x="1613663" y="1237108"/>
            <a:ext cx="680637" cy="743296"/>
            <a:chOff x="6000092" y="1357908"/>
            <a:chExt cx="365300" cy="398929"/>
          </a:xfrm>
        </p:grpSpPr>
        <p:sp>
          <p:nvSpPr>
            <p:cNvPr id="16" name="Forma livre: Forma 15">
              <a:extLst>
                <a:ext uri="{FF2B5EF4-FFF2-40B4-BE49-F238E27FC236}">
                  <a16:creationId xmlns:a16="http://schemas.microsoft.com/office/drawing/2014/main" id="{98077CB7-DE07-6E60-C749-7745A18900B3}"/>
                </a:ext>
              </a:extLst>
            </p:cNvPr>
            <p:cNvSpPr/>
            <p:nvPr/>
          </p:nvSpPr>
          <p:spPr>
            <a:xfrm>
              <a:off x="6000092" y="1418606"/>
              <a:ext cx="84058" cy="286120"/>
            </a:xfrm>
            <a:custGeom>
              <a:avLst/>
              <a:gdLst>
                <a:gd name="connsiteX0" fmla="*/ 51595 w 84058"/>
                <a:gd name="connsiteY0" fmla="*/ 0 h 286120"/>
                <a:gd name="connsiteX1" fmla="*/ 35266 w 84058"/>
                <a:gd name="connsiteY1" fmla="*/ 61674 h 286120"/>
                <a:gd name="connsiteX2" fmla="*/ 28760 w 84058"/>
                <a:gd name="connsiteY2" fmla="*/ 193415 h 286120"/>
                <a:gd name="connsiteX3" fmla="*/ 84059 w 84058"/>
                <a:gd name="connsiteY3" fmla="*/ 286121 h 2861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4058" h="286120">
                  <a:moveTo>
                    <a:pt x="51595" y="0"/>
                  </a:moveTo>
                  <a:cubicBezTo>
                    <a:pt x="37868" y="7872"/>
                    <a:pt x="26028" y="24852"/>
                    <a:pt x="35266" y="61674"/>
                  </a:cubicBezTo>
                  <a:cubicBezTo>
                    <a:pt x="35266" y="61674"/>
                    <a:pt x="-39549" y="126731"/>
                    <a:pt x="28760" y="193415"/>
                  </a:cubicBezTo>
                  <a:cubicBezTo>
                    <a:pt x="28760" y="193415"/>
                    <a:pt x="9243" y="281242"/>
                    <a:pt x="84059" y="286121"/>
                  </a:cubicBezTo>
                </a:path>
              </a:pathLst>
            </a:custGeom>
            <a:noFill/>
            <a:ln w="19050" cap="sq">
              <a:solidFill>
                <a:srgbClr val="00FF94"/>
              </a:solidFill>
              <a:prstDash val="solid"/>
              <a:miter lim="800000"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7" name="Gráfico 32">
              <a:extLst>
                <a:ext uri="{FF2B5EF4-FFF2-40B4-BE49-F238E27FC236}">
                  <a16:creationId xmlns:a16="http://schemas.microsoft.com/office/drawing/2014/main" id="{46798796-CB5C-3628-DCAC-B5C513EE336F}"/>
                </a:ext>
              </a:extLst>
            </p:cNvPr>
            <p:cNvGrpSpPr/>
            <p:nvPr/>
          </p:nvGrpSpPr>
          <p:grpSpPr>
            <a:xfrm>
              <a:off x="6061121" y="1359924"/>
              <a:ext cx="128487" cy="396366"/>
              <a:chOff x="6061121" y="1359924"/>
              <a:chExt cx="128487" cy="396366"/>
            </a:xfrm>
            <a:noFill/>
          </p:grpSpPr>
          <p:sp>
            <p:nvSpPr>
              <p:cNvPr id="32" name="Forma livre: Forma 31">
                <a:extLst>
                  <a:ext uri="{FF2B5EF4-FFF2-40B4-BE49-F238E27FC236}">
                    <a16:creationId xmlns:a16="http://schemas.microsoft.com/office/drawing/2014/main" id="{062A2E19-FFAB-B5F3-024D-8E518CAE937E}"/>
                  </a:ext>
                </a:extLst>
              </p:cNvPr>
              <p:cNvSpPr/>
              <p:nvPr/>
            </p:nvSpPr>
            <p:spPr>
              <a:xfrm>
                <a:off x="6083891" y="1359924"/>
                <a:ext cx="105717" cy="396366"/>
              </a:xfrm>
              <a:custGeom>
                <a:avLst/>
                <a:gdLst>
                  <a:gd name="connsiteX0" fmla="*/ 52891 w 105717"/>
                  <a:gd name="connsiteY0" fmla="*/ 105718 h 396366"/>
                  <a:gd name="connsiteX1" fmla="*/ 0 w 105717"/>
                  <a:gd name="connsiteY1" fmla="*/ 52891 h 396366"/>
                  <a:gd name="connsiteX2" fmla="*/ 52891 w 105717"/>
                  <a:gd name="connsiteY2" fmla="*/ 0 h 396366"/>
                  <a:gd name="connsiteX3" fmla="*/ 105718 w 105717"/>
                  <a:gd name="connsiteY3" fmla="*/ 52826 h 396366"/>
                  <a:gd name="connsiteX4" fmla="*/ 105718 w 105717"/>
                  <a:gd name="connsiteY4" fmla="*/ 346884 h 396366"/>
                  <a:gd name="connsiteX5" fmla="*/ 80606 w 105717"/>
                  <a:gd name="connsiteY5" fmla="*/ 388911 h 396366"/>
                  <a:gd name="connsiteX6" fmla="*/ 9238 w 105717"/>
                  <a:gd name="connsiteY6" fmla="*/ 371150 h 396366"/>
                  <a:gd name="connsiteX7" fmla="*/ 15484 w 105717"/>
                  <a:gd name="connsiteY7" fmla="*/ 309216 h 396366"/>
                  <a:gd name="connsiteX8" fmla="*/ 45019 w 105717"/>
                  <a:gd name="connsiteY8" fmla="*/ 277078 h 3963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05717" h="396366">
                    <a:moveTo>
                      <a:pt x="52891" y="105718"/>
                    </a:moveTo>
                    <a:cubicBezTo>
                      <a:pt x="23681" y="105718"/>
                      <a:pt x="0" y="82037"/>
                      <a:pt x="0" y="52891"/>
                    </a:cubicBezTo>
                    <a:cubicBezTo>
                      <a:pt x="0" y="23746"/>
                      <a:pt x="23681" y="0"/>
                      <a:pt x="52891" y="0"/>
                    </a:cubicBezTo>
                    <a:cubicBezTo>
                      <a:pt x="82102" y="0"/>
                      <a:pt x="105718" y="23681"/>
                      <a:pt x="105718" y="52826"/>
                    </a:cubicBezTo>
                    <a:lnTo>
                      <a:pt x="105718" y="346884"/>
                    </a:lnTo>
                    <a:cubicBezTo>
                      <a:pt x="105718" y="364580"/>
                      <a:pt x="96414" y="379413"/>
                      <a:pt x="80606" y="388911"/>
                    </a:cubicBezTo>
                    <a:cubicBezTo>
                      <a:pt x="55949" y="403744"/>
                      <a:pt x="24006" y="395742"/>
                      <a:pt x="9238" y="371150"/>
                    </a:cubicBezTo>
                    <a:cubicBezTo>
                      <a:pt x="-2928" y="350918"/>
                      <a:pt x="260" y="325741"/>
                      <a:pt x="15484" y="309216"/>
                    </a:cubicBezTo>
                    <a:lnTo>
                      <a:pt x="45019" y="277078"/>
                    </a:lnTo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3" name="Forma livre: Forma 32">
                <a:extLst>
                  <a:ext uri="{FF2B5EF4-FFF2-40B4-BE49-F238E27FC236}">
                    <a16:creationId xmlns:a16="http://schemas.microsoft.com/office/drawing/2014/main" id="{C7CAC843-7012-75FB-52B7-56DE85D84F30}"/>
                  </a:ext>
                </a:extLst>
              </p:cNvPr>
              <p:cNvSpPr/>
              <p:nvPr/>
            </p:nvSpPr>
            <p:spPr>
              <a:xfrm>
                <a:off x="6144784" y="1383865"/>
                <a:ext cx="41563" cy="38963"/>
              </a:xfrm>
              <a:custGeom>
                <a:avLst/>
                <a:gdLst>
                  <a:gd name="connsiteX0" fmla="*/ 36172 w 41563"/>
                  <a:gd name="connsiteY0" fmla="*/ 0 h 38963"/>
                  <a:gd name="connsiteX1" fmla="*/ 39425 w 41563"/>
                  <a:gd name="connsiteY1" fmla="*/ 24266 h 38963"/>
                  <a:gd name="connsiteX2" fmla="*/ 36432 w 41563"/>
                  <a:gd name="connsiteY2" fmla="*/ 29080 h 38963"/>
                  <a:gd name="connsiteX3" fmla="*/ 0 w 41563"/>
                  <a:gd name="connsiteY3" fmla="*/ 33439 h 389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563" h="38963">
                    <a:moveTo>
                      <a:pt x="36172" y="0"/>
                    </a:moveTo>
                    <a:cubicBezTo>
                      <a:pt x="41571" y="7547"/>
                      <a:pt x="43393" y="16004"/>
                      <a:pt x="39425" y="24266"/>
                    </a:cubicBezTo>
                    <a:cubicBezTo>
                      <a:pt x="38644" y="25893"/>
                      <a:pt x="37603" y="27519"/>
                      <a:pt x="36432" y="29080"/>
                    </a:cubicBezTo>
                    <a:cubicBezTo>
                      <a:pt x="27584" y="40270"/>
                      <a:pt x="11190" y="42287"/>
                      <a:pt x="0" y="33439"/>
                    </a:cubicBezTo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4" name="Forma livre: Forma 33">
                <a:extLst>
                  <a:ext uri="{FF2B5EF4-FFF2-40B4-BE49-F238E27FC236}">
                    <a16:creationId xmlns:a16="http://schemas.microsoft.com/office/drawing/2014/main" id="{FE84441A-78C8-4914-EF29-63ECB0FAC688}"/>
                  </a:ext>
                </a:extLst>
              </p:cNvPr>
              <p:cNvSpPr/>
              <p:nvPr/>
            </p:nvSpPr>
            <p:spPr>
              <a:xfrm>
                <a:off x="6081487" y="1460806"/>
                <a:ext cx="34217" cy="54474"/>
              </a:xfrm>
              <a:custGeom>
                <a:avLst/>
                <a:gdLst>
                  <a:gd name="connsiteX0" fmla="*/ 21076 w 34217"/>
                  <a:gd name="connsiteY0" fmla="*/ 54475 h 54474"/>
                  <a:gd name="connsiteX1" fmla="*/ 778 w 34217"/>
                  <a:gd name="connsiteY1" fmla="*/ 21035 h 54474"/>
                  <a:gd name="connsiteX2" fmla="*/ 34217 w 34217"/>
                  <a:gd name="connsiteY2" fmla="*/ 803 h 544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4217" h="54474">
                    <a:moveTo>
                      <a:pt x="21076" y="54475"/>
                    </a:moveTo>
                    <a:cubicBezTo>
                      <a:pt x="6308" y="50832"/>
                      <a:pt x="-2800" y="35803"/>
                      <a:pt x="778" y="21035"/>
                    </a:cubicBezTo>
                    <a:cubicBezTo>
                      <a:pt x="4421" y="6267"/>
                      <a:pt x="19449" y="-2841"/>
                      <a:pt x="34217" y="803"/>
                    </a:cubicBezTo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5" name="Forma livre: Forma 34">
                <a:extLst>
                  <a:ext uri="{FF2B5EF4-FFF2-40B4-BE49-F238E27FC236}">
                    <a16:creationId xmlns:a16="http://schemas.microsoft.com/office/drawing/2014/main" id="{37D7D079-C262-7076-39A2-7413C3B8E91D}"/>
                  </a:ext>
                </a:extLst>
              </p:cNvPr>
              <p:cNvSpPr/>
              <p:nvPr/>
            </p:nvSpPr>
            <p:spPr>
              <a:xfrm>
                <a:off x="6073547" y="1527543"/>
                <a:ext cx="114760" cy="72506"/>
              </a:xfrm>
              <a:custGeom>
                <a:avLst/>
                <a:gdLst>
                  <a:gd name="connsiteX0" fmla="*/ 114760 w 114760"/>
                  <a:gd name="connsiteY0" fmla="*/ 7254 h 72506"/>
                  <a:gd name="connsiteX1" fmla="*/ 73905 w 114760"/>
                  <a:gd name="connsiteY1" fmla="*/ 8881 h 72506"/>
                  <a:gd name="connsiteX2" fmla="*/ 0 w 114760"/>
                  <a:gd name="connsiteY2" fmla="*/ 72506 h 725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14760" h="72506">
                    <a:moveTo>
                      <a:pt x="114760" y="7254"/>
                    </a:moveTo>
                    <a:cubicBezTo>
                      <a:pt x="103375" y="-2830"/>
                      <a:pt x="83989" y="-2504"/>
                      <a:pt x="73905" y="8881"/>
                    </a:cubicBezTo>
                    <a:cubicBezTo>
                      <a:pt x="73905" y="8881"/>
                      <a:pt x="31488" y="72506"/>
                      <a:pt x="0" y="72506"/>
                    </a:cubicBezTo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6" name="Forma livre: Forma 35">
                <a:extLst>
                  <a:ext uri="{FF2B5EF4-FFF2-40B4-BE49-F238E27FC236}">
                    <a16:creationId xmlns:a16="http://schemas.microsoft.com/office/drawing/2014/main" id="{2D7D5DEB-C68E-2FE0-042C-4ED508BABC50}"/>
                  </a:ext>
                </a:extLst>
              </p:cNvPr>
              <p:cNvSpPr/>
              <p:nvPr/>
            </p:nvSpPr>
            <p:spPr>
              <a:xfrm>
                <a:off x="6079857" y="1646956"/>
                <a:ext cx="29405" cy="9823"/>
              </a:xfrm>
              <a:custGeom>
                <a:avLst/>
                <a:gdLst>
                  <a:gd name="connsiteX0" fmla="*/ 0 w 29405"/>
                  <a:gd name="connsiteY0" fmla="*/ 0 h 9823"/>
                  <a:gd name="connsiteX1" fmla="*/ 29406 w 29405"/>
                  <a:gd name="connsiteY1" fmla="*/ 9824 h 98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9405" h="9823">
                    <a:moveTo>
                      <a:pt x="0" y="0"/>
                    </a:moveTo>
                    <a:lnTo>
                      <a:pt x="29406" y="9824"/>
                    </a:lnTo>
                  </a:path>
                </a:pathLst>
              </a:custGeom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7" name="Forma livre: Forma 36">
                <a:extLst>
                  <a:ext uri="{FF2B5EF4-FFF2-40B4-BE49-F238E27FC236}">
                    <a16:creationId xmlns:a16="http://schemas.microsoft.com/office/drawing/2014/main" id="{0F3C7951-1BFD-247E-42CE-897A422CA9D6}"/>
                  </a:ext>
                </a:extLst>
              </p:cNvPr>
              <p:cNvSpPr/>
              <p:nvPr/>
            </p:nvSpPr>
            <p:spPr>
              <a:xfrm>
                <a:off x="6061121" y="1545272"/>
                <a:ext cx="47166" cy="34154"/>
              </a:xfrm>
              <a:custGeom>
                <a:avLst/>
                <a:gdLst>
                  <a:gd name="connsiteX0" fmla="*/ 0 w 47166"/>
                  <a:gd name="connsiteY0" fmla="*/ 0 h 34154"/>
                  <a:gd name="connsiteX1" fmla="*/ 47166 w 47166"/>
                  <a:gd name="connsiteY1" fmla="*/ 34155 h 341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166" h="34154">
                    <a:moveTo>
                      <a:pt x="0" y="0"/>
                    </a:moveTo>
                    <a:cubicBezTo>
                      <a:pt x="0" y="0"/>
                      <a:pt x="27649" y="13011"/>
                      <a:pt x="47166" y="34155"/>
                    </a:cubicBezTo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8" name="Gráfico 32">
              <a:extLst>
                <a:ext uri="{FF2B5EF4-FFF2-40B4-BE49-F238E27FC236}">
                  <a16:creationId xmlns:a16="http://schemas.microsoft.com/office/drawing/2014/main" id="{77A4EBF3-8A62-4CC2-8806-539B29EDEA07}"/>
                </a:ext>
              </a:extLst>
            </p:cNvPr>
            <p:cNvGrpSpPr/>
            <p:nvPr/>
          </p:nvGrpSpPr>
          <p:grpSpPr>
            <a:xfrm>
              <a:off x="6191625" y="1599725"/>
              <a:ext cx="173767" cy="157112"/>
              <a:chOff x="6191625" y="1599725"/>
              <a:chExt cx="173767" cy="157112"/>
            </a:xfrm>
            <a:noFill/>
          </p:grpSpPr>
          <p:sp>
            <p:nvSpPr>
              <p:cNvPr id="28" name="Forma livre: Forma 27">
                <a:extLst>
                  <a:ext uri="{FF2B5EF4-FFF2-40B4-BE49-F238E27FC236}">
                    <a16:creationId xmlns:a16="http://schemas.microsoft.com/office/drawing/2014/main" id="{041815CD-BE0D-DCE5-D9CE-694C2894F04E}"/>
                  </a:ext>
                </a:extLst>
              </p:cNvPr>
              <p:cNvSpPr/>
              <p:nvPr/>
            </p:nvSpPr>
            <p:spPr>
              <a:xfrm>
                <a:off x="6310094" y="1621974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9" name="Forma livre: Forma 28">
                <a:extLst>
                  <a:ext uri="{FF2B5EF4-FFF2-40B4-BE49-F238E27FC236}">
                    <a16:creationId xmlns:a16="http://schemas.microsoft.com/office/drawing/2014/main" id="{11597BD9-712C-0881-2F88-726876C0E550}"/>
                  </a:ext>
                </a:extLst>
              </p:cNvPr>
              <p:cNvSpPr/>
              <p:nvPr/>
            </p:nvSpPr>
            <p:spPr>
              <a:xfrm>
                <a:off x="6191625" y="1599725"/>
                <a:ext cx="118078" cy="49898"/>
              </a:xfrm>
              <a:custGeom>
                <a:avLst/>
                <a:gdLst>
                  <a:gd name="connsiteX0" fmla="*/ 0 w 118078"/>
                  <a:gd name="connsiteY0" fmla="*/ 0 h 49898"/>
                  <a:gd name="connsiteX1" fmla="*/ 37343 w 118078"/>
                  <a:gd name="connsiteY1" fmla="*/ 0 h 49898"/>
                  <a:gd name="connsiteX2" fmla="*/ 87176 w 118078"/>
                  <a:gd name="connsiteY2" fmla="*/ 49899 h 49898"/>
                  <a:gd name="connsiteX3" fmla="*/ 118078 w 118078"/>
                  <a:gd name="connsiteY3" fmla="*/ 49899 h 49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8078" h="49898">
                    <a:moveTo>
                      <a:pt x="0" y="0"/>
                    </a:moveTo>
                    <a:lnTo>
                      <a:pt x="37343" y="0"/>
                    </a:lnTo>
                    <a:lnTo>
                      <a:pt x="87176" y="49899"/>
                    </a:lnTo>
                    <a:lnTo>
                      <a:pt x="118078" y="49899"/>
                    </a:lnTo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0" name="Forma livre: Forma 29">
                <a:extLst>
                  <a:ext uri="{FF2B5EF4-FFF2-40B4-BE49-F238E27FC236}">
                    <a16:creationId xmlns:a16="http://schemas.microsoft.com/office/drawing/2014/main" id="{95A3D5AB-A1FE-1965-2033-42921D8464B1}"/>
                  </a:ext>
                </a:extLst>
              </p:cNvPr>
              <p:cNvSpPr/>
              <p:nvPr/>
            </p:nvSpPr>
            <p:spPr>
              <a:xfrm>
                <a:off x="6191625" y="1665367"/>
                <a:ext cx="81906" cy="44108"/>
              </a:xfrm>
              <a:custGeom>
                <a:avLst/>
                <a:gdLst>
                  <a:gd name="connsiteX0" fmla="*/ 0 w 81906"/>
                  <a:gd name="connsiteY0" fmla="*/ 0 h 44108"/>
                  <a:gd name="connsiteX1" fmla="*/ 37343 w 81906"/>
                  <a:gd name="connsiteY1" fmla="*/ 0 h 44108"/>
                  <a:gd name="connsiteX2" fmla="*/ 81907 w 81906"/>
                  <a:gd name="connsiteY2" fmla="*/ 44109 h 441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1906" h="44108">
                    <a:moveTo>
                      <a:pt x="0" y="0"/>
                    </a:moveTo>
                    <a:lnTo>
                      <a:pt x="37343" y="0"/>
                    </a:lnTo>
                    <a:lnTo>
                      <a:pt x="81907" y="44109"/>
                    </a:lnTo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1" name="Forma livre: Forma 30">
                <a:extLst>
                  <a:ext uri="{FF2B5EF4-FFF2-40B4-BE49-F238E27FC236}">
                    <a16:creationId xmlns:a16="http://schemas.microsoft.com/office/drawing/2014/main" id="{43D86DD7-4FCB-A085-FBD2-1B88D68FA59A}"/>
                  </a:ext>
                </a:extLst>
              </p:cNvPr>
              <p:cNvSpPr/>
              <p:nvPr/>
            </p:nvSpPr>
            <p:spPr>
              <a:xfrm>
                <a:off x="6265075" y="1701539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9" name="Gráfico 32">
              <a:extLst>
                <a:ext uri="{FF2B5EF4-FFF2-40B4-BE49-F238E27FC236}">
                  <a16:creationId xmlns:a16="http://schemas.microsoft.com/office/drawing/2014/main" id="{07D48AF7-FA33-D2F5-79F9-D38299D21FC6}"/>
                </a:ext>
              </a:extLst>
            </p:cNvPr>
            <p:cNvGrpSpPr/>
            <p:nvPr/>
          </p:nvGrpSpPr>
          <p:grpSpPr>
            <a:xfrm>
              <a:off x="6191625" y="1357908"/>
              <a:ext cx="173767" cy="157112"/>
              <a:chOff x="6191625" y="1357908"/>
              <a:chExt cx="173767" cy="157112"/>
            </a:xfrm>
            <a:noFill/>
          </p:grpSpPr>
          <p:sp>
            <p:nvSpPr>
              <p:cNvPr id="24" name="Forma livre: Forma 23">
                <a:extLst>
                  <a:ext uri="{FF2B5EF4-FFF2-40B4-BE49-F238E27FC236}">
                    <a16:creationId xmlns:a16="http://schemas.microsoft.com/office/drawing/2014/main" id="{BA2D984C-BA55-E5E2-7370-3788F3475F9F}"/>
                  </a:ext>
                </a:extLst>
              </p:cNvPr>
              <p:cNvSpPr/>
              <p:nvPr/>
            </p:nvSpPr>
            <p:spPr>
              <a:xfrm>
                <a:off x="6310094" y="1437472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0 h 55298"/>
                  <a:gd name="connsiteX2" fmla="*/ 0 w 55298"/>
                  <a:gd name="connsiteY2" fmla="*/ 27649 h 55298"/>
                  <a:gd name="connsiteX3" fmla="*/ 27649 w 55298"/>
                  <a:gd name="connsiteY3" fmla="*/ 55298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12361"/>
                      <a:pt x="42938" y="0"/>
                      <a:pt x="27649" y="0"/>
                    </a:cubicBezTo>
                    <a:cubicBezTo>
                      <a:pt x="12361" y="0"/>
                      <a:pt x="0" y="12361"/>
                      <a:pt x="0" y="27649"/>
                    </a:cubicBezTo>
                    <a:cubicBezTo>
                      <a:pt x="0" y="42938"/>
                      <a:pt x="12361" y="55298"/>
                      <a:pt x="27649" y="55298"/>
                    </a:cubicBezTo>
                    <a:cubicBezTo>
                      <a:pt x="42938" y="55298"/>
                      <a:pt x="55298" y="42938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5" name="Forma livre: Forma 24">
                <a:extLst>
                  <a:ext uri="{FF2B5EF4-FFF2-40B4-BE49-F238E27FC236}">
                    <a16:creationId xmlns:a16="http://schemas.microsoft.com/office/drawing/2014/main" id="{99B08426-642F-8B91-00B0-6D2E0302C024}"/>
                  </a:ext>
                </a:extLst>
              </p:cNvPr>
              <p:cNvSpPr/>
              <p:nvPr/>
            </p:nvSpPr>
            <p:spPr>
              <a:xfrm>
                <a:off x="6191625" y="1465122"/>
                <a:ext cx="118468" cy="49898"/>
              </a:xfrm>
              <a:custGeom>
                <a:avLst/>
                <a:gdLst>
                  <a:gd name="connsiteX0" fmla="*/ 0 w 118468"/>
                  <a:gd name="connsiteY0" fmla="*/ 49899 h 49898"/>
                  <a:gd name="connsiteX1" fmla="*/ 37343 w 118468"/>
                  <a:gd name="connsiteY1" fmla="*/ 49899 h 49898"/>
                  <a:gd name="connsiteX2" fmla="*/ 87176 w 118468"/>
                  <a:gd name="connsiteY2" fmla="*/ 0 h 49898"/>
                  <a:gd name="connsiteX3" fmla="*/ 118469 w 118468"/>
                  <a:gd name="connsiteY3" fmla="*/ 0 h 49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8468" h="49898">
                    <a:moveTo>
                      <a:pt x="0" y="49899"/>
                    </a:moveTo>
                    <a:lnTo>
                      <a:pt x="37343" y="49899"/>
                    </a:lnTo>
                    <a:lnTo>
                      <a:pt x="87176" y="0"/>
                    </a:lnTo>
                    <a:lnTo>
                      <a:pt x="118469" y="0"/>
                    </a:lnTo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6" name="Forma livre: Forma 25">
                <a:extLst>
                  <a:ext uri="{FF2B5EF4-FFF2-40B4-BE49-F238E27FC236}">
                    <a16:creationId xmlns:a16="http://schemas.microsoft.com/office/drawing/2014/main" id="{22930403-2956-925B-601D-0394AA87AAAC}"/>
                  </a:ext>
                </a:extLst>
              </p:cNvPr>
              <p:cNvSpPr/>
              <p:nvPr/>
            </p:nvSpPr>
            <p:spPr>
              <a:xfrm>
                <a:off x="6191625" y="1405269"/>
                <a:ext cx="81451" cy="44043"/>
              </a:xfrm>
              <a:custGeom>
                <a:avLst/>
                <a:gdLst>
                  <a:gd name="connsiteX0" fmla="*/ 0 w 81451"/>
                  <a:gd name="connsiteY0" fmla="*/ 44044 h 44043"/>
                  <a:gd name="connsiteX1" fmla="*/ 37343 w 81451"/>
                  <a:gd name="connsiteY1" fmla="*/ 44044 h 44043"/>
                  <a:gd name="connsiteX2" fmla="*/ 81451 w 81451"/>
                  <a:gd name="connsiteY2" fmla="*/ 0 h 440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1451" h="44043">
                    <a:moveTo>
                      <a:pt x="0" y="44044"/>
                    </a:moveTo>
                    <a:lnTo>
                      <a:pt x="37343" y="44044"/>
                    </a:lnTo>
                    <a:lnTo>
                      <a:pt x="81451" y="0"/>
                    </a:lnTo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7" name="Forma livre: Forma 26">
                <a:extLst>
                  <a:ext uri="{FF2B5EF4-FFF2-40B4-BE49-F238E27FC236}">
                    <a16:creationId xmlns:a16="http://schemas.microsoft.com/office/drawing/2014/main" id="{C6801EEE-EEE1-56CC-2E11-05933FF89E31}"/>
                  </a:ext>
                </a:extLst>
              </p:cNvPr>
              <p:cNvSpPr/>
              <p:nvPr/>
            </p:nvSpPr>
            <p:spPr>
              <a:xfrm>
                <a:off x="6265075" y="1357908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0 h 55298"/>
                  <a:gd name="connsiteX2" fmla="*/ 0 w 55298"/>
                  <a:gd name="connsiteY2" fmla="*/ 27649 h 55298"/>
                  <a:gd name="connsiteX3" fmla="*/ 27649 w 55298"/>
                  <a:gd name="connsiteY3" fmla="*/ 55298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12361"/>
                      <a:pt x="42938" y="0"/>
                      <a:pt x="27649" y="0"/>
                    </a:cubicBezTo>
                    <a:cubicBezTo>
                      <a:pt x="12361" y="0"/>
                      <a:pt x="0" y="12361"/>
                      <a:pt x="0" y="27649"/>
                    </a:cubicBezTo>
                    <a:cubicBezTo>
                      <a:pt x="0" y="42938"/>
                      <a:pt x="12361" y="55298"/>
                      <a:pt x="27649" y="55298"/>
                    </a:cubicBezTo>
                    <a:cubicBezTo>
                      <a:pt x="42938" y="55298"/>
                      <a:pt x="55298" y="42938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20" name="Gráfico 32">
              <a:extLst>
                <a:ext uri="{FF2B5EF4-FFF2-40B4-BE49-F238E27FC236}">
                  <a16:creationId xmlns:a16="http://schemas.microsoft.com/office/drawing/2014/main" id="{3DF42F56-D1AB-B06C-97EF-22CF87C52E05}"/>
                </a:ext>
              </a:extLst>
            </p:cNvPr>
            <p:cNvGrpSpPr/>
            <p:nvPr/>
          </p:nvGrpSpPr>
          <p:grpSpPr>
            <a:xfrm>
              <a:off x="6190910" y="1529723"/>
              <a:ext cx="123673" cy="55298"/>
              <a:chOff x="6190910" y="1529723"/>
              <a:chExt cx="123673" cy="55298"/>
            </a:xfrm>
            <a:noFill/>
          </p:grpSpPr>
          <p:sp>
            <p:nvSpPr>
              <p:cNvPr id="22" name="Forma livre: Forma 21">
                <a:extLst>
                  <a:ext uri="{FF2B5EF4-FFF2-40B4-BE49-F238E27FC236}">
                    <a16:creationId xmlns:a16="http://schemas.microsoft.com/office/drawing/2014/main" id="{3E5F1C0B-DF05-F49F-0D01-20161275B1C6}"/>
                  </a:ext>
                </a:extLst>
              </p:cNvPr>
              <p:cNvSpPr/>
              <p:nvPr/>
            </p:nvSpPr>
            <p:spPr>
              <a:xfrm>
                <a:off x="6190910" y="1557372"/>
                <a:ext cx="68765" cy="6505"/>
              </a:xfrm>
              <a:custGeom>
                <a:avLst/>
                <a:gdLst>
                  <a:gd name="connsiteX0" fmla="*/ 0 w 68765"/>
                  <a:gd name="connsiteY0" fmla="*/ 0 h 6505"/>
                  <a:gd name="connsiteX1" fmla="*/ 68765 w 68765"/>
                  <a:gd name="connsiteY1" fmla="*/ 0 h 65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8765" h="6505">
                    <a:moveTo>
                      <a:pt x="0" y="0"/>
                    </a:moveTo>
                    <a:lnTo>
                      <a:pt x="68765" y="0"/>
                    </a:lnTo>
                  </a:path>
                </a:pathLst>
              </a:custGeom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3" name="Forma livre: Forma 22">
                <a:extLst>
                  <a:ext uri="{FF2B5EF4-FFF2-40B4-BE49-F238E27FC236}">
                    <a16:creationId xmlns:a16="http://schemas.microsoft.com/office/drawing/2014/main" id="{056EE662-EF1F-5F71-D6F9-2E40B5B6645A}"/>
                  </a:ext>
                </a:extLst>
              </p:cNvPr>
              <p:cNvSpPr/>
              <p:nvPr/>
            </p:nvSpPr>
            <p:spPr>
              <a:xfrm>
                <a:off x="6259285" y="1529723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21" name="Forma livre: Forma 20">
              <a:extLst>
                <a:ext uri="{FF2B5EF4-FFF2-40B4-BE49-F238E27FC236}">
                  <a16:creationId xmlns:a16="http://schemas.microsoft.com/office/drawing/2014/main" id="{733F1F18-F74E-9E2D-E360-9E5EFDCFD58C}"/>
                </a:ext>
              </a:extLst>
            </p:cNvPr>
            <p:cNvSpPr/>
            <p:nvPr/>
          </p:nvSpPr>
          <p:spPr>
            <a:xfrm>
              <a:off x="6152201" y="1686285"/>
              <a:ext cx="37362" cy="20848"/>
            </a:xfrm>
            <a:custGeom>
              <a:avLst/>
              <a:gdLst>
                <a:gd name="connsiteX0" fmla="*/ 0 w 37362"/>
                <a:gd name="connsiteY0" fmla="*/ 10505 h 20848"/>
                <a:gd name="connsiteX1" fmla="*/ 27064 w 37362"/>
                <a:gd name="connsiteY1" fmla="*/ 2373 h 20848"/>
                <a:gd name="connsiteX2" fmla="*/ 37343 w 37362"/>
                <a:gd name="connsiteY2" fmla="*/ 20849 h 20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7362" h="20848">
                  <a:moveTo>
                    <a:pt x="0" y="10505"/>
                  </a:moveTo>
                  <a:cubicBezTo>
                    <a:pt x="5205" y="811"/>
                    <a:pt x="17435" y="-2832"/>
                    <a:pt x="27064" y="2373"/>
                  </a:cubicBezTo>
                  <a:cubicBezTo>
                    <a:pt x="34025" y="6081"/>
                    <a:pt x="37668" y="13432"/>
                    <a:pt x="37343" y="20849"/>
                  </a:cubicBezTo>
                </a:path>
              </a:pathLst>
            </a:custGeom>
            <a:noFill/>
            <a:ln w="19050" cap="sq">
              <a:solidFill>
                <a:srgbClr val="00FF94"/>
              </a:solidFill>
              <a:prstDash val="solid"/>
              <a:miter lim="800000"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sp>
        <p:nvSpPr>
          <p:cNvPr id="2" name="Marcador de pie de página 1">
            <a:extLst>
              <a:ext uri="{FF2B5EF4-FFF2-40B4-BE49-F238E27FC236}">
                <a16:creationId xmlns:a16="http://schemas.microsoft.com/office/drawing/2014/main" id="{451AAB40-8E5A-46C9-959C-1C6FA99A268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pt-PT"/>
              <a:t>Título de la presentación</a:t>
            </a:r>
            <a:endParaRPr lang="pt-PT" dirty="0"/>
          </a:p>
        </p:txBody>
      </p:sp>
      <p:sp>
        <p:nvSpPr>
          <p:cNvPr id="3" name="Marcador de número de diapositiva 2">
            <a:extLst>
              <a:ext uri="{FF2B5EF4-FFF2-40B4-BE49-F238E27FC236}">
                <a16:creationId xmlns:a16="http://schemas.microsoft.com/office/drawing/2014/main" id="{6FD6397D-5F84-4557-A0D8-B2991B4540C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4A347C2-D68E-473A-8C76-1D063E4EB6E0}" type="slidenum">
              <a:rPr lang="es-ES" smtClean="0"/>
              <a:pPr/>
              <a:t>36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7667694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ítulo 2">
            <a:extLst>
              <a:ext uri="{FF2B5EF4-FFF2-40B4-BE49-F238E27FC236}">
                <a16:creationId xmlns:a16="http://schemas.microsoft.com/office/drawing/2014/main" id="{E788BD27-A8FB-8B59-4B87-0D3490FDB6D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Lorem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ipsum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dolor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sit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amet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,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consectetuer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adipiscing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elit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.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Maecenas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porttitor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congue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massa</a:t>
            </a:r>
            <a:endParaRPr lang="pt-PT" dirty="0"/>
          </a:p>
        </p:txBody>
      </p:sp>
      <p:sp>
        <p:nvSpPr>
          <p:cNvPr id="2" name="Marcador de pie de página 1">
            <a:extLst>
              <a:ext uri="{FF2B5EF4-FFF2-40B4-BE49-F238E27FC236}">
                <a16:creationId xmlns:a16="http://schemas.microsoft.com/office/drawing/2014/main" id="{251FD841-DE5E-4A8D-9A5A-B0D0F29FAEB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pt-PT"/>
              <a:t>Título de la presentación</a:t>
            </a:r>
            <a:endParaRPr lang="pt-PT" dirty="0"/>
          </a:p>
        </p:txBody>
      </p:sp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id="{9607EBBC-D8A0-4C9E-BE79-347A3719BB0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4A347C2-D68E-473A-8C76-1D063E4EB6E0}" type="slidenum">
              <a:rPr lang="es-ES" smtClean="0"/>
              <a:pPr/>
              <a:t>37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3490431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6E2A39D-85DE-C581-A9BA-17B8A65225A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Marcador de Posição do Texto 4">
            <a:extLst>
              <a:ext uri="{FF2B5EF4-FFF2-40B4-BE49-F238E27FC236}">
                <a16:creationId xmlns:a16="http://schemas.microsoft.com/office/drawing/2014/main" id="{190B514D-D413-F6E4-0E1E-06B4E130710D}"/>
              </a:ext>
            </a:extLst>
          </p:cNvPr>
          <p:cNvSpPr>
            <a:spLocks noGrp="1"/>
          </p:cNvSpPr>
          <p:nvPr>
            <p:ph type="body" sz="quarter" idx="46"/>
          </p:nvPr>
        </p:nvSpPr>
        <p:spPr/>
        <p:txBody>
          <a:bodyPr/>
          <a:lstStyle/>
          <a:p>
            <a:r>
              <a:rPr lang="pt-PT" dirty="0"/>
              <a:t>texto</a:t>
            </a:r>
          </a:p>
        </p:txBody>
      </p:sp>
      <p:sp>
        <p:nvSpPr>
          <p:cNvPr id="6" name="Marcador de Posição do Texto 5">
            <a:extLst>
              <a:ext uri="{FF2B5EF4-FFF2-40B4-BE49-F238E27FC236}">
                <a16:creationId xmlns:a16="http://schemas.microsoft.com/office/drawing/2014/main" id="{C7C2A503-A607-5DC9-2C46-1680DA944464}"/>
              </a:ext>
            </a:extLst>
          </p:cNvPr>
          <p:cNvSpPr>
            <a:spLocks noGrp="1"/>
          </p:cNvSpPr>
          <p:nvPr>
            <p:ph type="body" sz="quarter" idx="47"/>
          </p:nvPr>
        </p:nvSpPr>
        <p:spPr/>
        <p:txBody>
          <a:bodyPr/>
          <a:lstStyle/>
          <a:p>
            <a:r>
              <a:rPr lang="pt-PT" dirty="0"/>
              <a:t>Texto</a:t>
            </a:r>
          </a:p>
        </p:txBody>
      </p:sp>
      <p:sp>
        <p:nvSpPr>
          <p:cNvPr id="7" name="Marcador de Posição do Texto 6">
            <a:extLst>
              <a:ext uri="{FF2B5EF4-FFF2-40B4-BE49-F238E27FC236}">
                <a16:creationId xmlns:a16="http://schemas.microsoft.com/office/drawing/2014/main" id="{CE0A746E-E3AE-3EC5-F7C6-66D7E2BF8BA1}"/>
              </a:ext>
            </a:extLst>
          </p:cNvPr>
          <p:cNvSpPr>
            <a:spLocks noGrp="1"/>
          </p:cNvSpPr>
          <p:nvPr>
            <p:ph type="body" sz="quarter" idx="48"/>
          </p:nvPr>
        </p:nvSpPr>
        <p:spPr/>
        <p:txBody>
          <a:bodyPr/>
          <a:lstStyle/>
          <a:p>
            <a:r>
              <a:rPr lang="pt-PT" dirty="0"/>
              <a:t>texto</a:t>
            </a:r>
          </a:p>
        </p:txBody>
      </p:sp>
      <p:sp>
        <p:nvSpPr>
          <p:cNvPr id="8" name="Marcador de Posição do Texto 7">
            <a:extLst>
              <a:ext uri="{FF2B5EF4-FFF2-40B4-BE49-F238E27FC236}">
                <a16:creationId xmlns:a16="http://schemas.microsoft.com/office/drawing/2014/main" id="{8AE5138B-1C7B-ED5D-6401-BE608B35E5C3}"/>
              </a:ext>
            </a:extLst>
          </p:cNvPr>
          <p:cNvSpPr>
            <a:spLocks noGrp="1"/>
          </p:cNvSpPr>
          <p:nvPr>
            <p:ph type="body" sz="quarter" idx="49"/>
          </p:nvPr>
        </p:nvSpPr>
        <p:spPr/>
        <p:txBody>
          <a:bodyPr/>
          <a:lstStyle/>
          <a:p>
            <a:r>
              <a:rPr lang="pt-PT" dirty="0"/>
              <a:t>texto</a:t>
            </a:r>
          </a:p>
        </p:txBody>
      </p:sp>
      <p:sp>
        <p:nvSpPr>
          <p:cNvPr id="9" name="Marcador de Posição do Texto 8">
            <a:extLst>
              <a:ext uri="{FF2B5EF4-FFF2-40B4-BE49-F238E27FC236}">
                <a16:creationId xmlns:a16="http://schemas.microsoft.com/office/drawing/2014/main" id="{5AD51E9C-C20A-EE2A-569A-3D74F381B083}"/>
              </a:ext>
            </a:extLst>
          </p:cNvPr>
          <p:cNvSpPr>
            <a:spLocks noGrp="1"/>
          </p:cNvSpPr>
          <p:nvPr>
            <p:ph type="body" sz="quarter" idx="50"/>
          </p:nvPr>
        </p:nvSpPr>
        <p:spPr/>
        <p:txBody>
          <a:bodyPr/>
          <a:lstStyle/>
          <a:p>
            <a:r>
              <a:rPr lang="pt-PT" dirty="0"/>
              <a:t>Texto</a:t>
            </a:r>
          </a:p>
        </p:txBody>
      </p:sp>
      <p:sp>
        <p:nvSpPr>
          <p:cNvPr id="10" name="Marcador de Posição do Texto 9">
            <a:extLst>
              <a:ext uri="{FF2B5EF4-FFF2-40B4-BE49-F238E27FC236}">
                <a16:creationId xmlns:a16="http://schemas.microsoft.com/office/drawing/2014/main" id="{16972F72-1DC3-7489-50BF-8528F771813F}"/>
              </a:ext>
            </a:extLst>
          </p:cNvPr>
          <p:cNvSpPr>
            <a:spLocks noGrp="1"/>
          </p:cNvSpPr>
          <p:nvPr>
            <p:ph type="body" sz="quarter" idx="51"/>
          </p:nvPr>
        </p:nvSpPr>
        <p:spPr/>
        <p:txBody>
          <a:bodyPr/>
          <a:lstStyle/>
          <a:p>
            <a:r>
              <a:rPr lang="pt-PT" dirty="0"/>
              <a:t>Texto</a:t>
            </a:r>
          </a:p>
        </p:txBody>
      </p:sp>
      <p:sp>
        <p:nvSpPr>
          <p:cNvPr id="11" name="Marcador de Posição do Texto 10">
            <a:extLst>
              <a:ext uri="{FF2B5EF4-FFF2-40B4-BE49-F238E27FC236}">
                <a16:creationId xmlns:a16="http://schemas.microsoft.com/office/drawing/2014/main" id="{0299F8E7-CDDC-86DA-713A-668A347EE6DD}"/>
              </a:ext>
            </a:extLst>
          </p:cNvPr>
          <p:cNvSpPr>
            <a:spLocks noGrp="1"/>
          </p:cNvSpPr>
          <p:nvPr>
            <p:ph type="body" sz="quarter" idx="52"/>
          </p:nvPr>
        </p:nvSpPr>
        <p:spPr/>
        <p:txBody>
          <a:bodyPr/>
          <a:lstStyle/>
          <a:p>
            <a:r>
              <a:rPr lang="pt-PT" dirty="0"/>
              <a:t>Texto</a:t>
            </a:r>
          </a:p>
        </p:txBody>
      </p:sp>
      <p:sp>
        <p:nvSpPr>
          <p:cNvPr id="12" name="Marcador de Posição do Texto 11">
            <a:extLst>
              <a:ext uri="{FF2B5EF4-FFF2-40B4-BE49-F238E27FC236}">
                <a16:creationId xmlns:a16="http://schemas.microsoft.com/office/drawing/2014/main" id="{041A2554-FE1E-9F13-9946-B994AE7DC03A}"/>
              </a:ext>
            </a:extLst>
          </p:cNvPr>
          <p:cNvSpPr>
            <a:spLocks noGrp="1"/>
          </p:cNvSpPr>
          <p:nvPr>
            <p:ph type="body" sz="quarter" idx="53"/>
          </p:nvPr>
        </p:nvSpPr>
        <p:spPr/>
        <p:txBody>
          <a:bodyPr/>
          <a:lstStyle/>
          <a:p>
            <a:r>
              <a:rPr lang="pt-PT" dirty="0"/>
              <a:t>Texto en arco</a:t>
            </a:r>
          </a:p>
        </p:txBody>
      </p:sp>
      <p:sp>
        <p:nvSpPr>
          <p:cNvPr id="13" name="Marcador de Posição do Texto 12">
            <a:extLst>
              <a:ext uri="{FF2B5EF4-FFF2-40B4-BE49-F238E27FC236}">
                <a16:creationId xmlns:a16="http://schemas.microsoft.com/office/drawing/2014/main" id="{B24EA9F1-FA74-69AB-2375-7B8C9954A156}"/>
              </a:ext>
            </a:extLst>
          </p:cNvPr>
          <p:cNvSpPr>
            <a:spLocks noGrp="1"/>
          </p:cNvSpPr>
          <p:nvPr>
            <p:ph type="body" sz="quarter" idx="54"/>
          </p:nvPr>
        </p:nvSpPr>
        <p:spPr/>
        <p:txBody>
          <a:bodyPr/>
          <a:lstStyle/>
          <a:p>
            <a:r>
              <a:rPr lang="pt-PT" dirty="0"/>
              <a:t>Texto</a:t>
            </a:r>
          </a:p>
        </p:txBody>
      </p:sp>
      <p:sp>
        <p:nvSpPr>
          <p:cNvPr id="14" name="Marcador de Posição do Texto 13">
            <a:extLst>
              <a:ext uri="{FF2B5EF4-FFF2-40B4-BE49-F238E27FC236}">
                <a16:creationId xmlns:a16="http://schemas.microsoft.com/office/drawing/2014/main" id="{B67AE399-FAD7-FF10-3C9A-760E5CDDA309}"/>
              </a:ext>
            </a:extLst>
          </p:cNvPr>
          <p:cNvSpPr>
            <a:spLocks noGrp="1"/>
          </p:cNvSpPr>
          <p:nvPr>
            <p:ph type="body" sz="quarter" idx="55"/>
          </p:nvPr>
        </p:nvSpPr>
        <p:spPr/>
        <p:txBody>
          <a:bodyPr/>
          <a:lstStyle/>
          <a:p>
            <a:r>
              <a:rPr lang="pt-PT" dirty="0"/>
              <a:t>Texto</a:t>
            </a:r>
          </a:p>
        </p:txBody>
      </p:sp>
      <p:sp>
        <p:nvSpPr>
          <p:cNvPr id="15" name="Marcador de Posição do Texto 14">
            <a:extLst>
              <a:ext uri="{FF2B5EF4-FFF2-40B4-BE49-F238E27FC236}">
                <a16:creationId xmlns:a16="http://schemas.microsoft.com/office/drawing/2014/main" id="{171A81CE-8BD4-8489-7C1A-ED3EF4A5ECB4}"/>
              </a:ext>
            </a:extLst>
          </p:cNvPr>
          <p:cNvSpPr>
            <a:spLocks noGrp="1"/>
          </p:cNvSpPr>
          <p:nvPr>
            <p:ph type="body" sz="quarter" idx="56"/>
          </p:nvPr>
        </p:nvSpPr>
        <p:spPr/>
        <p:txBody>
          <a:bodyPr/>
          <a:lstStyle/>
          <a:p>
            <a:r>
              <a:rPr lang="pt-PT" dirty="0"/>
              <a:t>Texto</a:t>
            </a:r>
          </a:p>
        </p:txBody>
      </p:sp>
      <p:sp>
        <p:nvSpPr>
          <p:cNvPr id="16" name="Marcador de Posição do Texto 15">
            <a:extLst>
              <a:ext uri="{FF2B5EF4-FFF2-40B4-BE49-F238E27FC236}">
                <a16:creationId xmlns:a16="http://schemas.microsoft.com/office/drawing/2014/main" id="{000F4849-735C-54D2-1624-65B2794F5F56}"/>
              </a:ext>
            </a:extLst>
          </p:cNvPr>
          <p:cNvSpPr>
            <a:spLocks noGrp="1"/>
          </p:cNvSpPr>
          <p:nvPr>
            <p:ph type="body" sz="quarter" idx="57"/>
          </p:nvPr>
        </p:nvSpPr>
        <p:spPr/>
        <p:txBody>
          <a:bodyPr/>
          <a:lstStyle/>
          <a:p>
            <a:r>
              <a:rPr lang="pt-PT" dirty="0"/>
              <a:t>Texto</a:t>
            </a:r>
          </a:p>
        </p:txBody>
      </p:sp>
      <p:sp>
        <p:nvSpPr>
          <p:cNvPr id="17" name="Marcador de Posição do Texto 16">
            <a:extLst>
              <a:ext uri="{FF2B5EF4-FFF2-40B4-BE49-F238E27FC236}">
                <a16:creationId xmlns:a16="http://schemas.microsoft.com/office/drawing/2014/main" id="{E06EFA28-A0A6-A397-59F1-219A140C103D}"/>
              </a:ext>
            </a:extLst>
          </p:cNvPr>
          <p:cNvSpPr>
            <a:spLocks noGrp="1"/>
          </p:cNvSpPr>
          <p:nvPr>
            <p:ph type="body" sz="quarter" idx="58"/>
          </p:nvPr>
        </p:nvSpPr>
        <p:spPr/>
        <p:txBody>
          <a:bodyPr/>
          <a:lstStyle/>
          <a:p>
            <a:r>
              <a:rPr lang="pt-PT" dirty="0"/>
              <a:t>Texto</a:t>
            </a:r>
          </a:p>
        </p:txBody>
      </p:sp>
      <p:sp>
        <p:nvSpPr>
          <p:cNvPr id="18" name="Marcador de Posição do Texto 17">
            <a:extLst>
              <a:ext uri="{FF2B5EF4-FFF2-40B4-BE49-F238E27FC236}">
                <a16:creationId xmlns:a16="http://schemas.microsoft.com/office/drawing/2014/main" id="{A06D037A-991A-12D3-CE06-CC3097815C57}"/>
              </a:ext>
            </a:extLst>
          </p:cNvPr>
          <p:cNvSpPr>
            <a:spLocks noGrp="1"/>
          </p:cNvSpPr>
          <p:nvPr>
            <p:ph type="body" sz="quarter" idx="59"/>
          </p:nvPr>
        </p:nvSpPr>
        <p:spPr/>
        <p:txBody>
          <a:bodyPr/>
          <a:lstStyle/>
          <a:p>
            <a:r>
              <a:rPr lang="pt-PT" dirty="0"/>
              <a:t>Texto</a:t>
            </a:r>
          </a:p>
        </p:txBody>
      </p:sp>
      <p:sp>
        <p:nvSpPr>
          <p:cNvPr id="19" name="Marcador de Posição do Texto 18">
            <a:extLst>
              <a:ext uri="{FF2B5EF4-FFF2-40B4-BE49-F238E27FC236}">
                <a16:creationId xmlns:a16="http://schemas.microsoft.com/office/drawing/2014/main" id="{D337BAB9-F947-35F5-A122-D250AFFFED70}"/>
              </a:ext>
            </a:extLst>
          </p:cNvPr>
          <p:cNvSpPr>
            <a:spLocks noGrp="1"/>
          </p:cNvSpPr>
          <p:nvPr>
            <p:ph type="body" sz="quarter" idx="60"/>
          </p:nvPr>
        </p:nvSpPr>
        <p:spPr/>
        <p:txBody>
          <a:bodyPr/>
          <a:lstStyle/>
          <a:p>
            <a:r>
              <a:rPr lang="pt-PT" dirty="0"/>
              <a:t>Texto</a:t>
            </a:r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05671143-BBAF-8EAA-3992-7686D81C31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PT" dirty="0"/>
              <a:t>Ejemplo de título de slide</a:t>
            </a:r>
          </a:p>
        </p:txBody>
      </p:sp>
      <p:sp>
        <p:nvSpPr>
          <p:cNvPr id="3" name="Marcador de Posição do Texto 2">
            <a:extLst>
              <a:ext uri="{FF2B5EF4-FFF2-40B4-BE49-F238E27FC236}">
                <a16:creationId xmlns:a16="http://schemas.microsoft.com/office/drawing/2014/main" id="{4742B90A-1FF9-BB58-77E2-1AC21E55731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>
            <a:normAutofit lnSpcReduction="10000"/>
          </a:bodyPr>
          <a:lstStyle/>
          <a:p>
            <a:r>
              <a:rPr lang="pt-PT" dirty="0"/>
              <a:t>Ejemplo de subtítulo de slide</a:t>
            </a:r>
          </a:p>
        </p:txBody>
      </p:sp>
      <p:sp>
        <p:nvSpPr>
          <p:cNvPr id="4" name="Marcador de Posição do Texto 3">
            <a:extLst>
              <a:ext uri="{FF2B5EF4-FFF2-40B4-BE49-F238E27FC236}">
                <a16:creationId xmlns:a16="http://schemas.microsoft.com/office/drawing/2014/main" id="{A58105A3-CB75-7AE4-F386-26DA16285E9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>
            <a:noAutofit/>
          </a:bodyPr>
          <a:lstStyle/>
          <a:p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Lorem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ipsum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dolor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sit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amet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,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consectetuer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adipiscing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elit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.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Maecenas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porttitor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congue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dirty="0"/>
              <a:t>massa. </a:t>
            </a:r>
            <a:r>
              <a:rPr lang="pt-PT" dirty="0" err="1"/>
              <a:t>Fusce</a:t>
            </a:r>
            <a:r>
              <a:rPr lang="pt-PT" dirty="0"/>
              <a:t> </a:t>
            </a:r>
            <a:r>
              <a:rPr lang="pt-PT" dirty="0" err="1"/>
              <a:t>posuere</a:t>
            </a:r>
            <a:r>
              <a:rPr lang="pt-PT" dirty="0"/>
              <a:t>, magna </a:t>
            </a:r>
            <a:r>
              <a:rPr lang="pt-PT" dirty="0" err="1"/>
              <a:t>sed</a:t>
            </a:r>
            <a:r>
              <a:rPr lang="pt-PT" dirty="0"/>
              <a:t> pulvinar </a:t>
            </a:r>
            <a:r>
              <a:rPr lang="pt-PT" dirty="0" err="1"/>
              <a:t>ultricies</a:t>
            </a:r>
            <a:r>
              <a:rPr lang="pt-PT" dirty="0"/>
              <a:t>, purus </a:t>
            </a:r>
            <a:r>
              <a:rPr lang="pt-PT" dirty="0" err="1"/>
              <a:t>lectus</a:t>
            </a:r>
            <a:r>
              <a:rPr lang="pt-PT" dirty="0"/>
              <a:t> </a:t>
            </a:r>
            <a:r>
              <a:rPr lang="pt-PT" dirty="0" err="1"/>
              <a:t>malesuada</a:t>
            </a:r>
            <a:r>
              <a:rPr lang="pt-PT" dirty="0"/>
              <a:t> libero,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r>
              <a:rPr lang="pt-PT" dirty="0"/>
              <a:t> </a:t>
            </a:r>
            <a:r>
              <a:rPr lang="pt-PT" dirty="0" err="1"/>
              <a:t>commodo</a:t>
            </a:r>
            <a:r>
              <a:rPr lang="pt-PT" dirty="0"/>
              <a:t> magna eros quis urna.</a:t>
            </a:r>
          </a:p>
          <a:p>
            <a:r>
              <a:rPr lang="pt-PT" dirty="0" err="1"/>
              <a:t>Nunc</a:t>
            </a:r>
            <a:r>
              <a:rPr lang="pt-PT" dirty="0"/>
              <a:t> </a:t>
            </a:r>
            <a:r>
              <a:rPr lang="pt-PT" dirty="0" err="1"/>
              <a:t>viverra</a:t>
            </a:r>
            <a:r>
              <a:rPr lang="pt-PT" dirty="0"/>
              <a:t> </a:t>
            </a:r>
            <a:r>
              <a:rPr lang="pt-PT" dirty="0" err="1"/>
              <a:t>imperdiet</a:t>
            </a:r>
            <a:r>
              <a:rPr lang="pt-PT" dirty="0"/>
              <a:t> </a:t>
            </a:r>
            <a:r>
              <a:rPr lang="pt-PT" dirty="0" err="1"/>
              <a:t>enim</a:t>
            </a:r>
            <a:r>
              <a:rPr lang="pt-PT" dirty="0"/>
              <a:t>. </a:t>
            </a:r>
            <a:r>
              <a:rPr lang="pt-PT" dirty="0" err="1"/>
              <a:t>Fusce</a:t>
            </a:r>
            <a:r>
              <a:rPr lang="pt-PT" dirty="0"/>
              <a:t> est. </a:t>
            </a:r>
            <a:r>
              <a:rPr lang="pt-PT" dirty="0" err="1"/>
              <a:t>Vivamus</a:t>
            </a:r>
            <a:r>
              <a:rPr lang="pt-PT" dirty="0"/>
              <a:t> a </a:t>
            </a:r>
            <a:r>
              <a:rPr lang="pt-PT" dirty="0" err="1"/>
              <a:t>tellus</a:t>
            </a:r>
            <a:r>
              <a:rPr lang="pt-PT" dirty="0"/>
              <a:t>.</a:t>
            </a:r>
          </a:p>
          <a:p>
            <a:r>
              <a:rPr lang="pt-PT" dirty="0" err="1"/>
              <a:t>Pellentesque</a:t>
            </a:r>
            <a:r>
              <a:rPr lang="pt-PT" dirty="0"/>
              <a:t> </a:t>
            </a:r>
            <a:r>
              <a:rPr lang="pt-PT" dirty="0" err="1"/>
              <a:t>habitant</a:t>
            </a:r>
            <a:r>
              <a:rPr lang="pt-PT" dirty="0"/>
              <a:t> </a:t>
            </a:r>
            <a:r>
              <a:rPr lang="pt-PT" dirty="0" err="1"/>
              <a:t>morbi</a:t>
            </a:r>
            <a:r>
              <a:rPr lang="pt-PT" dirty="0"/>
              <a:t> </a:t>
            </a:r>
            <a:r>
              <a:rPr lang="pt-PT" dirty="0" err="1"/>
              <a:t>tristique</a:t>
            </a:r>
            <a:r>
              <a:rPr lang="pt-PT" dirty="0"/>
              <a:t> </a:t>
            </a:r>
            <a:r>
              <a:rPr lang="pt-PT" dirty="0" err="1"/>
              <a:t>senectus</a:t>
            </a:r>
            <a:r>
              <a:rPr lang="pt-PT" dirty="0"/>
              <a:t> </a:t>
            </a:r>
            <a:r>
              <a:rPr lang="pt-PT" dirty="0" err="1"/>
              <a:t>et</a:t>
            </a:r>
            <a:r>
              <a:rPr lang="pt-PT" dirty="0"/>
              <a:t> </a:t>
            </a:r>
            <a:r>
              <a:rPr lang="pt-PT" dirty="0" err="1"/>
              <a:t>netus</a:t>
            </a:r>
            <a:r>
              <a:rPr lang="pt-PT" dirty="0"/>
              <a:t> </a:t>
            </a:r>
            <a:r>
              <a:rPr lang="pt-PT" dirty="0" err="1"/>
              <a:t>et</a:t>
            </a:r>
            <a:r>
              <a:rPr lang="pt-PT" dirty="0"/>
              <a:t> </a:t>
            </a:r>
            <a:r>
              <a:rPr lang="pt-PT" dirty="0" err="1"/>
              <a:t>malesuada</a:t>
            </a:r>
            <a:r>
              <a:rPr lang="pt-PT" dirty="0"/>
              <a:t> </a:t>
            </a:r>
            <a:r>
              <a:rPr lang="pt-PT" dirty="0" err="1"/>
              <a:t>fames</a:t>
            </a:r>
            <a:r>
              <a:rPr lang="pt-PT" dirty="0"/>
              <a:t> </a:t>
            </a:r>
            <a:r>
              <a:rPr lang="pt-PT" dirty="0" err="1"/>
              <a:t>ac</a:t>
            </a:r>
            <a:r>
              <a:rPr lang="pt-PT" dirty="0"/>
              <a:t> </a:t>
            </a:r>
            <a:r>
              <a:rPr lang="pt-PT" dirty="0" err="1"/>
              <a:t>turpis</a:t>
            </a:r>
            <a:r>
              <a:rPr lang="pt-PT" dirty="0"/>
              <a:t> egestas. </a:t>
            </a:r>
            <a:r>
              <a:rPr lang="pt-PT" dirty="0" err="1"/>
              <a:t>Proin</a:t>
            </a:r>
            <a:r>
              <a:rPr lang="pt-PT" dirty="0"/>
              <a:t> </a:t>
            </a:r>
            <a:r>
              <a:rPr lang="pt-PT" dirty="0" err="1"/>
              <a:t>pharetra</a:t>
            </a:r>
            <a:r>
              <a:rPr lang="pt-PT" dirty="0"/>
              <a:t> </a:t>
            </a:r>
            <a:r>
              <a:rPr lang="pt-PT" dirty="0" err="1"/>
              <a:t>nonummy</a:t>
            </a:r>
            <a:r>
              <a:rPr lang="pt-PT" dirty="0"/>
              <a:t> pede. </a:t>
            </a:r>
            <a:r>
              <a:rPr lang="pt-PT" dirty="0" err="1"/>
              <a:t>Mauris</a:t>
            </a:r>
            <a:r>
              <a:rPr lang="pt-PT" dirty="0"/>
              <a:t> </a:t>
            </a:r>
            <a:r>
              <a:rPr lang="pt-PT" dirty="0" err="1"/>
              <a:t>et</a:t>
            </a:r>
            <a:r>
              <a:rPr lang="pt-PT" dirty="0"/>
              <a:t> </a:t>
            </a:r>
            <a:r>
              <a:rPr lang="pt-PT" dirty="0" err="1"/>
              <a:t>orci</a:t>
            </a:r>
            <a:r>
              <a:rPr lang="pt-PT" dirty="0"/>
              <a:t>. </a:t>
            </a:r>
            <a:r>
              <a:rPr lang="pt-PT" dirty="0" err="1"/>
              <a:t>Lorem</a:t>
            </a:r>
            <a:r>
              <a:rPr lang="pt-PT" dirty="0"/>
              <a:t> </a:t>
            </a:r>
            <a:r>
              <a:rPr lang="pt-PT" dirty="0" err="1"/>
              <a:t>ipsum</a:t>
            </a:r>
            <a:r>
              <a:rPr lang="pt-PT" dirty="0"/>
              <a:t> </a:t>
            </a:r>
            <a:r>
              <a:rPr lang="pt-PT" dirty="0" err="1"/>
              <a:t>dolor</a:t>
            </a:r>
            <a:r>
              <a:rPr lang="pt-PT" dirty="0"/>
              <a:t>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r>
              <a:rPr lang="pt-PT" dirty="0"/>
              <a:t>, </a:t>
            </a:r>
            <a:r>
              <a:rPr lang="pt-PT" dirty="0" err="1"/>
              <a:t>consectetuer</a:t>
            </a:r>
            <a:r>
              <a:rPr lang="pt-PT" dirty="0"/>
              <a:t> </a:t>
            </a:r>
            <a:r>
              <a:rPr lang="pt-PT" dirty="0" err="1"/>
              <a:t>adipiscing</a:t>
            </a:r>
            <a:r>
              <a:rPr lang="pt-PT" dirty="0"/>
              <a:t> </a:t>
            </a:r>
            <a:r>
              <a:rPr lang="pt-PT" dirty="0" err="1"/>
              <a:t>elit</a:t>
            </a:r>
            <a:r>
              <a:rPr lang="pt-PT" dirty="0"/>
              <a:t>. </a:t>
            </a:r>
            <a:r>
              <a:rPr lang="pt-PT" dirty="0" err="1"/>
              <a:t>Maecenas</a:t>
            </a:r>
            <a:r>
              <a:rPr lang="pt-PT" dirty="0"/>
              <a:t> </a:t>
            </a:r>
            <a:r>
              <a:rPr lang="pt-PT" dirty="0" err="1"/>
              <a:t>porttitor</a:t>
            </a:r>
            <a:r>
              <a:rPr lang="pt-PT" dirty="0"/>
              <a:t> </a:t>
            </a:r>
            <a:r>
              <a:rPr lang="pt-PT" dirty="0" err="1"/>
              <a:t>congue</a:t>
            </a:r>
            <a:r>
              <a:rPr lang="pt-PT" dirty="0"/>
              <a:t> massa. </a:t>
            </a:r>
            <a:r>
              <a:rPr lang="pt-PT" dirty="0" err="1"/>
              <a:t>Fusce</a:t>
            </a:r>
            <a:r>
              <a:rPr lang="pt-PT" dirty="0"/>
              <a:t> </a:t>
            </a:r>
            <a:r>
              <a:rPr lang="pt-PT" dirty="0" err="1"/>
              <a:t>posuere</a:t>
            </a:r>
            <a:r>
              <a:rPr lang="pt-PT" dirty="0"/>
              <a:t>, magna </a:t>
            </a:r>
            <a:r>
              <a:rPr lang="pt-PT" dirty="0" err="1"/>
              <a:t>sed</a:t>
            </a:r>
            <a:r>
              <a:rPr lang="pt-PT" dirty="0"/>
              <a:t> pulvinar </a:t>
            </a:r>
            <a:r>
              <a:rPr lang="pt-PT" dirty="0" err="1"/>
              <a:t>ultricies</a:t>
            </a:r>
            <a:r>
              <a:rPr lang="pt-PT" dirty="0"/>
              <a:t>, purus </a:t>
            </a:r>
            <a:r>
              <a:rPr lang="pt-PT" dirty="0" err="1"/>
              <a:t>lectus</a:t>
            </a:r>
            <a:r>
              <a:rPr lang="pt-PT" dirty="0"/>
              <a:t> </a:t>
            </a:r>
            <a:r>
              <a:rPr lang="pt-PT" dirty="0" err="1"/>
              <a:t>malesuada</a:t>
            </a:r>
            <a:r>
              <a:rPr lang="pt-PT" dirty="0"/>
              <a:t> libero,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r>
              <a:rPr lang="pt-PT" dirty="0"/>
              <a:t> </a:t>
            </a:r>
            <a:r>
              <a:rPr lang="pt-PT" dirty="0" err="1"/>
              <a:t>commodo</a:t>
            </a:r>
            <a:r>
              <a:rPr lang="pt-PT" dirty="0"/>
              <a:t> magna eros quis urna.</a:t>
            </a:r>
          </a:p>
          <a:p>
            <a:pPr marL="174625" indent="-174625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pt-PT" dirty="0" err="1"/>
              <a:t>Nunc</a:t>
            </a:r>
            <a:r>
              <a:rPr lang="pt-PT" dirty="0"/>
              <a:t> </a:t>
            </a:r>
            <a:r>
              <a:rPr lang="pt-PT" dirty="0" err="1"/>
              <a:t>viverra</a:t>
            </a:r>
            <a:r>
              <a:rPr lang="pt-PT" dirty="0"/>
              <a:t> </a:t>
            </a:r>
            <a:r>
              <a:rPr lang="pt-PT" dirty="0" err="1"/>
              <a:t>imperdiet</a:t>
            </a:r>
            <a:r>
              <a:rPr lang="pt-PT" dirty="0"/>
              <a:t> </a:t>
            </a:r>
            <a:r>
              <a:rPr lang="pt-PT" dirty="0" err="1"/>
              <a:t>enim</a:t>
            </a:r>
            <a:r>
              <a:rPr lang="pt-PT" dirty="0"/>
              <a:t>. </a:t>
            </a:r>
            <a:r>
              <a:rPr lang="pt-PT" dirty="0" err="1"/>
              <a:t>Fusce</a:t>
            </a:r>
            <a:r>
              <a:rPr lang="pt-PT" dirty="0"/>
              <a:t> est. </a:t>
            </a:r>
            <a:r>
              <a:rPr lang="pt-PT" dirty="0" err="1"/>
              <a:t>Vivamus</a:t>
            </a:r>
            <a:r>
              <a:rPr lang="pt-PT" dirty="0"/>
              <a:t> a </a:t>
            </a:r>
            <a:r>
              <a:rPr lang="pt-PT" dirty="0" err="1"/>
              <a:t>tellus</a:t>
            </a:r>
            <a:r>
              <a:rPr lang="pt-PT" dirty="0"/>
              <a:t>.</a:t>
            </a:r>
          </a:p>
        </p:txBody>
      </p:sp>
      <p:sp>
        <p:nvSpPr>
          <p:cNvPr id="20" name="Marcador de Posição do Texto 19">
            <a:extLst>
              <a:ext uri="{FF2B5EF4-FFF2-40B4-BE49-F238E27FC236}">
                <a16:creationId xmlns:a16="http://schemas.microsoft.com/office/drawing/2014/main" id="{000563D8-B6B2-1D36-773C-48895D792E59}"/>
              </a:ext>
            </a:extLst>
          </p:cNvPr>
          <p:cNvSpPr>
            <a:spLocks noGrp="1"/>
          </p:cNvSpPr>
          <p:nvPr>
            <p:ph type="body" sz="quarter" idx="61"/>
          </p:nvPr>
        </p:nvSpPr>
        <p:spPr/>
        <p:txBody>
          <a:bodyPr/>
          <a:lstStyle/>
          <a:p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Lorem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ipsum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dolor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sit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amet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,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consectetuer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adipiscing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elit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.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Maecenas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porttitor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congue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dirty="0"/>
              <a:t>massa. </a:t>
            </a:r>
            <a:r>
              <a:rPr lang="pt-PT" dirty="0" err="1"/>
              <a:t>Fusce</a:t>
            </a:r>
            <a:r>
              <a:rPr lang="pt-PT" dirty="0"/>
              <a:t> </a:t>
            </a:r>
            <a:r>
              <a:rPr lang="pt-PT" dirty="0" err="1"/>
              <a:t>posuere</a:t>
            </a:r>
            <a:r>
              <a:rPr lang="pt-PT" dirty="0"/>
              <a:t>, magna </a:t>
            </a:r>
            <a:r>
              <a:rPr lang="pt-PT" dirty="0" err="1"/>
              <a:t>sed</a:t>
            </a:r>
            <a:r>
              <a:rPr lang="pt-PT" dirty="0"/>
              <a:t> pulvinar </a:t>
            </a:r>
            <a:r>
              <a:rPr lang="pt-PT" dirty="0" err="1"/>
              <a:t>ultricies</a:t>
            </a:r>
            <a:r>
              <a:rPr lang="pt-PT" dirty="0"/>
              <a:t>, purus </a:t>
            </a:r>
            <a:r>
              <a:rPr lang="pt-PT" dirty="0" err="1"/>
              <a:t>lectus</a:t>
            </a:r>
            <a:r>
              <a:rPr lang="pt-PT" dirty="0"/>
              <a:t> </a:t>
            </a:r>
            <a:r>
              <a:rPr lang="pt-PT" dirty="0" err="1"/>
              <a:t>malesuada</a:t>
            </a:r>
            <a:r>
              <a:rPr lang="pt-PT" dirty="0"/>
              <a:t> libero,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r>
              <a:rPr lang="pt-PT" dirty="0"/>
              <a:t> </a:t>
            </a:r>
            <a:r>
              <a:rPr lang="pt-PT" dirty="0" err="1"/>
              <a:t>commodo</a:t>
            </a:r>
            <a:r>
              <a:rPr lang="pt-PT" dirty="0"/>
              <a:t> magna eros quis urna.</a:t>
            </a:r>
          </a:p>
          <a:p>
            <a:r>
              <a:rPr lang="pt-PT" dirty="0" err="1"/>
              <a:t>Nunc</a:t>
            </a:r>
            <a:r>
              <a:rPr lang="pt-PT" dirty="0"/>
              <a:t> </a:t>
            </a:r>
            <a:r>
              <a:rPr lang="pt-PT" dirty="0" err="1"/>
              <a:t>viverra</a:t>
            </a:r>
            <a:r>
              <a:rPr lang="pt-PT" dirty="0"/>
              <a:t> </a:t>
            </a:r>
            <a:r>
              <a:rPr lang="pt-PT" dirty="0" err="1"/>
              <a:t>imperdiet</a:t>
            </a:r>
            <a:r>
              <a:rPr lang="pt-PT" dirty="0"/>
              <a:t> </a:t>
            </a:r>
            <a:r>
              <a:rPr lang="pt-PT" dirty="0" err="1"/>
              <a:t>enim</a:t>
            </a:r>
            <a:r>
              <a:rPr lang="pt-PT" dirty="0"/>
              <a:t>. </a:t>
            </a:r>
            <a:r>
              <a:rPr lang="pt-PT" dirty="0" err="1"/>
              <a:t>Fusce</a:t>
            </a:r>
            <a:r>
              <a:rPr lang="pt-PT" dirty="0"/>
              <a:t> est. </a:t>
            </a:r>
            <a:r>
              <a:rPr lang="pt-PT" dirty="0" err="1"/>
              <a:t>Vivamus</a:t>
            </a:r>
            <a:r>
              <a:rPr lang="pt-PT" dirty="0"/>
              <a:t> a </a:t>
            </a:r>
            <a:r>
              <a:rPr lang="pt-PT" dirty="0" err="1"/>
              <a:t>tellus</a:t>
            </a:r>
            <a:r>
              <a:rPr lang="pt-PT" dirty="0"/>
              <a:t>.</a:t>
            </a:r>
          </a:p>
          <a:p>
            <a:r>
              <a:rPr lang="pt-PT" dirty="0" err="1"/>
              <a:t>Pellentesque</a:t>
            </a:r>
            <a:r>
              <a:rPr lang="pt-PT" dirty="0"/>
              <a:t> </a:t>
            </a:r>
            <a:r>
              <a:rPr lang="pt-PT" dirty="0" err="1"/>
              <a:t>habitant</a:t>
            </a:r>
            <a:r>
              <a:rPr lang="pt-PT" dirty="0"/>
              <a:t> </a:t>
            </a:r>
            <a:r>
              <a:rPr lang="pt-PT" dirty="0" err="1"/>
              <a:t>morbi</a:t>
            </a:r>
            <a:r>
              <a:rPr lang="pt-PT" dirty="0"/>
              <a:t> </a:t>
            </a:r>
            <a:r>
              <a:rPr lang="pt-PT" dirty="0" err="1"/>
              <a:t>tristique</a:t>
            </a:r>
            <a:r>
              <a:rPr lang="pt-PT" dirty="0"/>
              <a:t> </a:t>
            </a:r>
            <a:r>
              <a:rPr lang="pt-PT" dirty="0" err="1"/>
              <a:t>senectus</a:t>
            </a:r>
            <a:r>
              <a:rPr lang="pt-PT" dirty="0"/>
              <a:t> </a:t>
            </a:r>
            <a:r>
              <a:rPr lang="pt-PT" dirty="0" err="1"/>
              <a:t>et</a:t>
            </a:r>
            <a:r>
              <a:rPr lang="pt-PT" dirty="0"/>
              <a:t> </a:t>
            </a:r>
            <a:r>
              <a:rPr lang="pt-PT" dirty="0" err="1"/>
              <a:t>netus</a:t>
            </a:r>
            <a:r>
              <a:rPr lang="pt-PT" dirty="0"/>
              <a:t> </a:t>
            </a:r>
            <a:r>
              <a:rPr lang="pt-PT" dirty="0" err="1"/>
              <a:t>et</a:t>
            </a:r>
            <a:r>
              <a:rPr lang="pt-PT" dirty="0"/>
              <a:t> </a:t>
            </a:r>
            <a:r>
              <a:rPr lang="pt-PT" dirty="0" err="1"/>
              <a:t>malesuada</a:t>
            </a:r>
            <a:r>
              <a:rPr lang="pt-PT" dirty="0"/>
              <a:t> </a:t>
            </a:r>
            <a:r>
              <a:rPr lang="pt-PT" dirty="0" err="1"/>
              <a:t>fames</a:t>
            </a:r>
            <a:r>
              <a:rPr lang="pt-PT" dirty="0"/>
              <a:t> </a:t>
            </a:r>
            <a:r>
              <a:rPr lang="pt-PT" dirty="0" err="1"/>
              <a:t>ac</a:t>
            </a:r>
            <a:r>
              <a:rPr lang="pt-PT" dirty="0"/>
              <a:t> </a:t>
            </a:r>
            <a:r>
              <a:rPr lang="pt-PT" dirty="0" err="1"/>
              <a:t>turpis</a:t>
            </a:r>
            <a:r>
              <a:rPr lang="pt-PT" dirty="0"/>
              <a:t> egestas. </a:t>
            </a:r>
            <a:r>
              <a:rPr lang="pt-PT" dirty="0" err="1"/>
              <a:t>Proin</a:t>
            </a:r>
            <a:r>
              <a:rPr lang="pt-PT" dirty="0"/>
              <a:t> </a:t>
            </a:r>
            <a:r>
              <a:rPr lang="pt-PT" dirty="0" err="1"/>
              <a:t>pharetra</a:t>
            </a:r>
            <a:r>
              <a:rPr lang="pt-PT" dirty="0"/>
              <a:t> </a:t>
            </a:r>
            <a:r>
              <a:rPr lang="pt-PT" dirty="0" err="1"/>
              <a:t>nonummy</a:t>
            </a:r>
            <a:r>
              <a:rPr lang="pt-PT" dirty="0"/>
              <a:t> pede. </a:t>
            </a:r>
            <a:r>
              <a:rPr lang="pt-PT" dirty="0" err="1"/>
              <a:t>Mauris</a:t>
            </a:r>
            <a:r>
              <a:rPr lang="pt-PT" dirty="0"/>
              <a:t> </a:t>
            </a:r>
            <a:r>
              <a:rPr lang="pt-PT" dirty="0" err="1"/>
              <a:t>et</a:t>
            </a:r>
            <a:r>
              <a:rPr lang="pt-PT" dirty="0"/>
              <a:t> </a:t>
            </a:r>
            <a:r>
              <a:rPr lang="pt-PT" dirty="0" err="1"/>
              <a:t>orci</a:t>
            </a:r>
            <a:r>
              <a:rPr lang="pt-PT" dirty="0"/>
              <a:t>. </a:t>
            </a:r>
            <a:r>
              <a:rPr lang="pt-PT" dirty="0" err="1"/>
              <a:t>Lorem</a:t>
            </a:r>
            <a:r>
              <a:rPr lang="pt-PT" dirty="0"/>
              <a:t> </a:t>
            </a:r>
            <a:r>
              <a:rPr lang="pt-PT" dirty="0" err="1"/>
              <a:t>ipsum</a:t>
            </a:r>
            <a:r>
              <a:rPr lang="pt-PT" dirty="0"/>
              <a:t> </a:t>
            </a:r>
            <a:r>
              <a:rPr lang="pt-PT" dirty="0" err="1"/>
              <a:t>dolor</a:t>
            </a:r>
            <a:r>
              <a:rPr lang="pt-PT" dirty="0"/>
              <a:t>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r>
              <a:rPr lang="pt-PT" dirty="0"/>
              <a:t>, </a:t>
            </a:r>
            <a:r>
              <a:rPr lang="pt-PT" dirty="0" err="1"/>
              <a:t>consectetuer</a:t>
            </a:r>
            <a:r>
              <a:rPr lang="pt-PT" dirty="0"/>
              <a:t> </a:t>
            </a:r>
            <a:r>
              <a:rPr lang="pt-PT" dirty="0" err="1"/>
              <a:t>adipiscing</a:t>
            </a:r>
            <a:r>
              <a:rPr lang="pt-PT" dirty="0"/>
              <a:t> </a:t>
            </a:r>
            <a:r>
              <a:rPr lang="pt-PT" dirty="0" err="1"/>
              <a:t>elit</a:t>
            </a:r>
            <a:r>
              <a:rPr lang="pt-PT" dirty="0"/>
              <a:t>. </a:t>
            </a:r>
            <a:r>
              <a:rPr lang="pt-PT" dirty="0" err="1"/>
              <a:t>Maecenas</a:t>
            </a:r>
            <a:r>
              <a:rPr lang="pt-PT" dirty="0"/>
              <a:t> </a:t>
            </a:r>
            <a:r>
              <a:rPr lang="pt-PT" dirty="0" err="1"/>
              <a:t>porttitor</a:t>
            </a:r>
            <a:r>
              <a:rPr lang="pt-PT" dirty="0"/>
              <a:t> </a:t>
            </a:r>
            <a:r>
              <a:rPr lang="pt-PT" dirty="0" err="1"/>
              <a:t>congue</a:t>
            </a:r>
            <a:r>
              <a:rPr lang="pt-PT" dirty="0"/>
              <a:t> massa. </a:t>
            </a:r>
            <a:r>
              <a:rPr lang="pt-PT" dirty="0" err="1"/>
              <a:t>Fusce</a:t>
            </a:r>
            <a:r>
              <a:rPr lang="pt-PT" dirty="0"/>
              <a:t> </a:t>
            </a:r>
            <a:r>
              <a:rPr lang="pt-PT" dirty="0" err="1"/>
              <a:t>posuere</a:t>
            </a:r>
            <a:r>
              <a:rPr lang="pt-PT" dirty="0"/>
              <a:t>, magna </a:t>
            </a:r>
            <a:r>
              <a:rPr lang="pt-PT" dirty="0" err="1"/>
              <a:t>sed</a:t>
            </a:r>
            <a:r>
              <a:rPr lang="pt-PT" dirty="0"/>
              <a:t> pulvinar </a:t>
            </a:r>
            <a:r>
              <a:rPr lang="pt-PT" dirty="0" err="1"/>
              <a:t>ultricies</a:t>
            </a:r>
            <a:r>
              <a:rPr lang="pt-PT" dirty="0"/>
              <a:t>, purus </a:t>
            </a:r>
            <a:r>
              <a:rPr lang="pt-PT" dirty="0" err="1"/>
              <a:t>lectus</a:t>
            </a:r>
            <a:r>
              <a:rPr lang="pt-PT" dirty="0"/>
              <a:t> </a:t>
            </a:r>
            <a:r>
              <a:rPr lang="pt-PT" dirty="0" err="1"/>
              <a:t>malesuada</a:t>
            </a:r>
            <a:r>
              <a:rPr lang="pt-PT" dirty="0"/>
              <a:t> libero,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r>
              <a:rPr lang="pt-PT" dirty="0"/>
              <a:t> </a:t>
            </a:r>
            <a:r>
              <a:rPr lang="pt-PT" dirty="0" err="1"/>
              <a:t>commodo</a:t>
            </a:r>
            <a:r>
              <a:rPr lang="pt-PT" dirty="0"/>
              <a:t> magna eros quis urna.</a:t>
            </a:r>
          </a:p>
          <a:p>
            <a:pPr marL="174625" indent="-174625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pt-PT" dirty="0" err="1"/>
              <a:t>Nunc</a:t>
            </a:r>
            <a:r>
              <a:rPr lang="pt-PT" dirty="0"/>
              <a:t> </a:t>
            </a:r>
            <a:r>
              <a:rPr lang="pt-PT" dirty="0" err="1"/>
              <a:t>viverra</a:t>
            </a:r>
            <a:r>
              <a:rPr lang="pt-PT" dirty="0"/>
              <a:t> </a:t>
            </a:r>
            <a:r>
              <a:rPr lang="pt-PT" dirty="0" err="1"/>
              <a:t>imperdiet</a:t>
            </a:r>
            <a:r>
              <a:rPr lang="pt-PT" dirty="0"/>
              <a:t> </a:t>
            </a:r>
            <a:r>
              <a:rPr lang="pt-PT" dirty="0" err="1"/>
              <a:t>enim</a:t>
            </a:r>
            <a:r>
              <a:rPr lang="pt-PT" dirty="0"/>
              <a:t>. </a:t>
            </a:r>
            <a:r>
              <a:rPr lang="pt-PT" dirty="0" err="1"/>
              <a:t>Fusce</a:t>
            </a:r>
            <a:r>
              <a:rPr lang="pt-PT" dirty="0"/>
              <a:t> est. </a:t>
            </a:r>
            <a:r>
              <a:rPr lang="pt-PT" dirty="0" err="1"/>
              <a:t>Vivamus</a:t>
            </a:r>
            <a:r>
              <a:rPr lang="pt-PT" dirty="0"/>
              <a:t> a </a:t>
            </a:r>
            <a:r>
              <a:rPr lang="pt-PT" dirty="0" err="1"/>
              <a:t>tellus</a:t>
            </a:r>
            <a:r>
              <a:rPr lang="pt-PT" dirty="0"/>
              <a:t>.</a:t>
            </a:r>
          </a:p>
        </p:txBody>
      </p:sp>
      <p:sp>
        <p:nvSpPr>
          <p:cNvPr id="21" name="Marcador de pie de página 20">
            <a:extLst>
              <a:ext uri="{FF2B5EF4-FFF2-40B4-BE49-F238E27FC236}">
                <a16:creationId xmlns:a16="http://schemas.microsoft.com/office/drawing/2014/main" id="{CD0299D9-4088-4993-9248-8FB91815FD7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pt-PT"/>
              <a:t>Título de la presentación</a:t>
            </a:r>
            <a:endParaRPr lang="pt-PT" dirty="0"/>
          </a:p>
        </p:txBody>
      </p:sp>
      <p:sp>
        <p:nvSpPr>
          <p:cNvPr id="22" name="Marcador de número de diapositiva 21">
            <a:extLst>
              <a:ext uri="{FF2B5EF4-FFF2-40B4-BE49-F238E27FC236}">
                <a16:creationId xmlns:a16="http://schemas.microsoft.com/office/drawing/2014/main" id="{1CA5F415-7BD9-4012-8ECA-1E737BDC34A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4A347C2-D68E-473A-8C76-1D063E4EB6E0}" type="slidenum">
              <a:rPr lang="es-ES" smtClean="0"/>
              <a:pPr/>
              <a:t>38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0214469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ítulo 2">
            <a:extLst>
              <a:ext uri="{FF2B5EF4-FFF2-40B4-BE49-F238E27FC236}">
                <a16:creationId xmlns:a16="http://schemas.microsoft.com/office/drawing/2014/main" id="{F62D1B4C-B993-5916-36FD-88F303B93EB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pt-PT" dirty="0"/>
              <a:t>Título del esquema</a:t>
            </a:r>
          </a:p>
        </p:txBody>
      </p:sp>
      <p:sp>
        <p:nvSpPr>
          <p:cNvPr id="4" name="Marcador de Posição do Texto 3">
            <a:extLst>
              <a:ext uri="{FF2B5EF4-FFF2-40B4-BE49-F238E27FC236}">
                <a16:creationId xmlns:a16="http://schemas.microsoft.com/office/drawing/2014/main" id="{25A57B25-56F1-D61C-4D18-3F365A109C0F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r>
              <a:rPr lang="pt-PT" dirty="0"/>
              <a:t>TEXTO DESTACADO</a:t>
            </a:r>
          </a:p>
        </p:txBody>
      </p:sp>
      <p:sp>
        <p:nvSpPr>
          <p:cNvPr id="5" name="Marcador de Posição do Texto 4">
            <a:extLst>
              <a:ext uri="{FF2B5EF4-FFF2-40B4-BE49-F238E27FC236}">
                <a16:creationId xmlns:a16="http://schemas.microsoft.com/office/drawing/2014/main" id="{3ADB148F-A321-795B-9AD3-FEFD8B79EC2E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/>
        <p:txBody>
          <a:bodyPr/>
          <a:lstStyle/>
          <a:p>
            <a:r>
              <a:rPr lang="pt-PT" dirty="0" err="1"/>
              <a:t>Fusce</a:t>
            </a:r>
            <a:r>
              <a:rPr lang="pt-PT" dirty="0"/>
              <a:t> </a:t>
            </a:r>
            <a:r>
              <a:rPr lang="pt-PT" dirty="0" err="1"/>
              <a:t>posuere</a:t>
            </a:r>
            <a:r>
              <a:rPr lang="pt-PT" dirty="0"/>
              <a:t>, magna </a:t>
            </a:r>
            <a:r>
              <a:rPr lang="pt-PT" dirty="0" err="1"/>
              <a:t>sed</a:t>
            </a:r>
            <a:r>
              <a:rPr lang="pt-PT" dirty="0"/>
              <a:t> pulvinar </a:t>
            </a:r>
            <a:r>
              <a:rPr lang="pt-PT" dirty="0" err="1"/>
              <a:t>ultricies</a:t>
            </a:r>
            <a:r>
              <a:rPr lang="pt-PT" dirty="0"/>
              <a:t>, purus.</a:t>
            </a:r>
          </a:p>
        </p:txBody>
      </p:sp>
      <p:sp>
        <p:nvSpPr>
          <p:cNvPr id="6" name="Marcador de Posição do Texto 5">
            <a:extLst>
              <a:ext uri="{FF2B5EF4-FFF2-40B4-BE49-F238E27FC236}">
                <a16:creationId xmlns:a16="http://schemas.microsoft.com/office/drawing/2014/main" id="{A7F27305-2E3D-08B4-55FC-77C6D9E33328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/>
        <p:txBody>
          <a:bodyPr/>
          <a:lstStyle/>
          <a:p>
            <a:r>
              <a:rPr lang="pt-PT" dirty="0"/>
              <a:t>TEXTO DESTACADO</a:t>
            </a:r>
          </a:p>
        </p:txBody>
      </p:sp>
      <p:sp>
        <p:nvSpPr>
          <p:cNvPr id="7" name="Marcador de Posição do Texto 6">
            <a:extLst>
              <a:ext uri="{FF2B5EF4-FFF2-40B4-BE49-F238E27FC236}">
                <a16:creationId xmlns:a16="http://schemas.microsoft.com/office/drawing/2014/main" id="{9507E283-BBB5-F512-8A06-2C84FDB188AA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/>
        <p:txBody>
          <a:bodyPr/>
          <a:lstStyle/>
          <a:p>
            <a:r>
              <a:rPr lang="pt-PT" dirty="0" err="1"/>
              <a:t>Fusce</a:t>
            </a:r>
            <a:r>
              <a:rPr lang="pt-PT" dirty="0"/>
              <a:t> </a:t>
            </a:r>
            <a:r>
              <a:rPr lang="pt-PT" dirty="0" err="1"/>
              <a:t>posuere</a:t>
            </a:r>
            <a:r>
              <a:rPr lang="pt-PT" dirty="0"/>
              <a:t>, magna </a:t>
            </a:r>
            <a:r>
              <a:rPr lang="pt-PT" dirty="0" err="1"/>
              <a:t>sed</a:t>
            </a:r>
            <a:r>
              <a:rPr lang="pt-PT" dirty="0"/>
              <a:t> pulvinar </a:t>
            </a:r>
            <a:r>
              <a:rPr lang="pt-PT" dirty="0" err="1"/>
              <a:t>ultricies</a:t>
            </a:r>
            <a:r>
              <a:rPr lang="pt-PT" dirty="0"/>
              <a:t>, purus.</a:t>
            </a:r>
          </a:p>
        </p:txBody>
      </p:sp>
      <p:sp>
        <p:nvSpPr>
          <p:cNvPr id="8" name="Marcador de Posição do Texto 7">
            <a:extLst>
              <a:ext uri="{FF2B5EF4-FFF2-40B4-BE49-F238E27FC236}">
                <a16:creationId xmlns:a16="http://schemas.microsoft.com/office/drawing/2014/main" id="{E0386BA9-D784-7C51-B42E-9B78E5AB4431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/>
        <p:txBody>
          <a:bodyPr/>
          <a:lstStyle/>
          <a:p>
            <a:r>
              <a:rPr lang="pt-PT" dirty="0"/>
              <a:t>TEXTO DESTACADO</a:t>
            </a:r>
          </a:p>
        </p:txBody>
      </p:sp>
      <p:sp>
        <p:nvSpPr>
          <p:cNvPr id="9" name="Marcador de Posição do Texto 8">
            <a:extLst>
              <a:ext uri="{FF2B5EF4-FFF2-40B4-BE49-F238E27FC236}">
                <a16:creationId xmlns:a16="http://schemas.microsoft.com/office/drawing/2014/main" id="{1F83C507-6A49-6660-BEDA-2E7299A45AA7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/>
        <p:txBody>
          <a:bodyPr/>
          <a:lstStyle/>
          <a:p>
            <a:r>
              <a:rPr lang="pt-PT" dirty="0" err="1"/>
              <a:t>Fusce</a:t>
            </a:r>
            <a:r>
              <a:rPr lang="pt-PT" dirty="0"/>
              <a:t> </a:t>
            </a:r>
            <a:r>
              <a:rPr lang="pt-PT" dirty="0" err="1"/>
              <a:t>posuere</a:t>
            </a:r>
            <a:r>
              <a:rPr lang="pt-PT" dirty="0"/>
              <a:t>, magna </a:t>
            </a:r>
            <a:r>
              <a:rPr lang="pt-PT" dirty="0" err="1"/>
              <a:t>sed</a:t>
            </a:r>
            <a:r>
              <a:rPr lang="pt-PT" dirty="0"/>
              <a:t> pulvinar </a:t>
            </a:r>
            <a:r>
              <a:rPr lang="pt-PT" dirty="0" err="1"/>
              <a:t>ultricies</a:t>
            </a:r>
            <a:r>
              <a:rPr lang="pt-PT" dirty="0"/>
              <a:t>, purus.</a:t>
            </a:r>
          </a:p>
        </p:txBody>
      </p:sp>
      <p:sp>
        <p:nvSpPr>
          <p:cNvPr id="10" name="Marcador de Posição do Texto 9">
            <a:extLst>
              <a:ext uri="{FF2B5EF4-FFF2-40B4-BE49-F238E27FC236}">
                <a16:creationId xmlns:a16="http://schemas.microsoft.com/office/drawing/2014/main" id="{6D5ECBAF-9FA7-A834-2B78-FEA8094E4067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/>
        <p:txBody>
          <a:bodyPr/>
          <a:lstStyle/>
          <a:p>
            <a:r>
              <a:rPr lang="pt-PT" dirty="0"/>
              <a:t>TEXTO DESTACADO</a:t>
            </a:r>
          </a:p>
        </p:txBody>
      </p:sp>
      <p:sp>
        <p:nvSpPr>
          <p:cNvPr id="11" name="Marcador de Posição do Texto 10">
            <a:extLst>
              <a:ext uri="{FF2B5EF4-FFF2-40B4-BE49-F238E27FC236}">
                <a16:creationId xmlns:a16="http://schemas.microsoft.com/office/drawing/2014/main" id="{7566FB99-3F58-AEEB-3421-01C80473F1B0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/>
        <p:txBody>
          <a:bodyPr/>
          <a:lstStyle/>
          <a:p>
            <a:r>
              <a:rPr lang="pt-PT" dirty="0" err="1"/>
              <a:t>Fusce</a:t>
            </a:r>
            <a:r>
              <a:rPr lang="pt-PT" dirty="0"/>
              <a:t> </a:t>
            </a:r>
            <a:r>
              <a:rPr lang="pt-PT" dirty="0" err="1"/>
              <a:t>posuere</a:t>
            </a:r>
            <a:r>
              <a:rPr lang="pt-PT" dirty="0"/>
              <a:t>, magna </a:t>
            </a:r>
            <a:r>
              <a:rPr lang="pt-PT" dirty="0" err="1"/>
              <a:t>sed</a:t>
            </a:r>
            <a:r>
              <a:rPr lang="pt-PT" dirty="0"/>
              <a:t> pulvinar </a:t>
            </a:r>
            <a:r>
              <a:rPr lang="pt-PT" dirty="0" err="1"/>
              <a:t>ultricies</a:t>
            </a:r>
            <a:r>
              <a:rPr lang="pt-PT" dirty="0"/>
              <a:t>, purus.</a:t>
            </a:r>
          </a:p>
        </p:txBody>
      </p:sp>
      <p:sp>
        <p:nvSpPr>
          <p:cNvPr id="12" name="Marcador de Posição do Texto 11">
            <a:extLst>
              <a:ext uri="{FF2B5EF4-FFF2-40B4-BE49-F238E27FC236}">
                <a16:creationId xmlns:a16="http://schemas.microsoft.com/office/drawing/2014/main" id="{8E597770-0C60-BC65-978D-B096BA730F30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/>
        <p:txBody>
          <a:bodyPr/>
          <a:lstStyle/>
          <a:p>
            <a:r>
              <a:rPr lang="pt-PT" dirty="0"/>
              <a:t>TEXTO DESTACADO</a:t>
            </a:r>
          </a:p>
        </p:txBody>
      </p:sp>
      <p:sp>
        <p:nvSpPr>
          <p:cNvPr id="13" name="Marcador de Posição do Texto 12">
            <a:extLst>
              <a:ext uri="{FF2B5EF4-FFF2-40B4-BE49-F238E27FC236}">
                <a16:creationId xmlns:a16="http://schemas.microsoft.com/office/drawing/2014/main" id="{7BFC4DBC-C3E7-CE9A-787A-D5B30E8A2510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/>
        <p:txBody>
          <a:bodyPr/>
          <a:lstStyle/>
          <a:p>
            <a:r>
              <a:rPr lang="pt-PT" dirty="0" err="1"/>
              <a:t>Fusce</a:t>
            </a:r>
            <a:r>
              <a:rPr lang="pt-PT" dirty="0"/>
              <a:t> </a:t>
            </a:r>
            <a:r>
              <a:rPr lang="pt-PT" dirty="0" err="1"/>
              <a:t>posuere</a:t>
            </a:r>
            <a:r>
              <a:rPr lang="pt-PT" dirty="0"/>
              <a:t>, magna </a:t>
            </a:r>
            <a:r>
              <a:rPr lang="pt-PT" dirty="0" err="1"/>
              <a:t>sed</a:t>
            </a:r>
            <a:r>
              <a:rPr lang="pt-PT" dirty="0"/>
              <a:t> pulvinar </a:t>
            </a:r>
            <a:r>
              <a:rPr lang="pt-PT" dirty="0" err="1"/>
              <a:t>ultricies</a:t>
            </a:r>
            <a:r>
              <a:rPr lang="pt-PT" dirty="0"/>
              <a:t>, purus.</a:t>
            </a:r>
          </a:p>
        </p:txBody>
      </p:sp>
      <p:sp>
        <p:nvSpPr>
          <p:cNvPr id="14" name="Marcador de Posição do Texto 13">
            <a:extLst>
              <a:ext uri="{FF2B5EF4-FFF2-40B4-BE49-F238E27FC236}">
                <a16:creationId xmlns:a16="http://schemas.microsoft.com/office/drawing/2014/main" id="{EC6D01FC-3946-C246-03CA-C7C18CFE22A2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/>
        <p:txBody>
          <a:bodyPr/>
          <a:lstStyle/>
          <a:p>
            <a:r>
              <a:rPr lang="pt-PT" dirty="0"/>
              <a:t>TEXTO DESTACADO</a:t>
            </a:r>
          </a:p>
        </p:txBody>
      </p:sp>
      <p:sp>
        <p:nvSpPr>
          <p:cNvPr id="15" name="Marcador de Posição do Texto 14">
            <a:extLst>
              <a:ext uri="{FF2B5EF4-FFF2-40B4-BE49-F238E27FC236}">
                <a16:creationId xmlns:a16="http://schemas.microsoft.com/office/drawing/2014/main" id="{17693057-8710-A0CC-3A4D-B7A8EB1A106C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/>
        <p:txBody>
          <a:bodyPr/>
          <a:lstStyle/>
          <a:p>
            <a:r>
              <a:rPr lang="pt-PT" dirty="0" err="1"/>
              <a:t>Fusce</a:t>
            </a:r>
            <a:r>
              <a:rPr lang="pt-PT" dirty="0"/>
              <a:t> </a:t>
            </a:r>
            <a:r>
              <a:rPr lang="pt-PT" dirty="0" err="1"/>
              <a:t>posuere</a:t>
            </a:r>
            <a:r>
              <a:rPr lang="pt-PT" dirty="0"/>
              <a:t>, magna </a:t>
            </a:r>
            <a:r>
              <a:rPr lang="pt-PT" dirty="0" err="1"/>
              <a:t>sed</a:t>
            </a:r>
            <a:r>
              <a:rPr lang="pt-PT" dirty="0"/>
              <a:t> pulvinar </a:t>
            </a:r>
            <a:r>
              <a:rPr lang="pt-PT" dirty="0" err="1"/>
              <a:t>ultricies</a:t>
            </a:r>
            <a:r>
              <a:rPr lang="pt-PT" dirty="0"/>
              <a:t>, purus.</a:t>
            </a:r>
          </a:p>
        </p:txBody>
      </p:sp>
      <p:sp>
        <p:nvSpPr>
          <p:cNvPr id="16" name="Marcador de Posição do Texto 15">
            <a:extLst>
              <a:ext uri="{FF2B5EF4-FFF2-40B4-BE49-F238E27FC236}">
                <a16:creationId xmlns:a16="http://schemas.microsoft.com/office/drawing/2014/main" id="{0DF33C58-E452-43A9-350E-4A2CFEBC1D57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/>
        <p:txBody>
          <a:bodyPr/>
          <a:lstStyle/>
          <a:p>
            <a:r>
              <a:rPr lang="pt-PT" dirty="0"/>
              <a:t>TEXTO DESTACADO</a:t>
            </a:r>
          </a:p>
        </p:txBody>
      </p:sp>
      <p:sp>
        <p:nvSpPr>
          <p:cNvPr id="17" name="Marcador de Posição do Texto 16">
            <a:extLst>
              <a:ext uri="{FF2B5EF4-FFF2-40B4-BE49-F238E27FC236}">
                <a16:creationId xmlns:a16="http://schemas.microsoft.com/office/drawing/2014/main" id="{153CA2FF-03B2-DE8B-6BC3-D2269C4C4876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/>
        <p:txBody>
          <a:bodyPr/>
          <a:lstStyle/>
          <a:p>
            <a:r>
              <a:rPr lang="pt-PT" dirty="0" err="1"/>
              <a:t>Fusce</a:t>
            </a:r>
            <a:r>
              <a:rPr lang="pt-PT" dirty="0"/>
              <a:t> </a:t>
            </a:r>
            <a:r>
              <a:rPr lang="pt-PT" dirty="0" err="1"/>
              <a:t>posuere</a:t>
            </a:r>
            <a:r>
              <a:rPr lang="pt-PT" dirty="0"/>
              <a:t>, magna </a:t>
            </a:r>
            <a:r>
              <a:rPr lang="pt-PT" dirty="0" err="1"/>
              <a:t>sed</a:t>
            </a:r>
            <a:r>
              <a:rPr lang="pt-PT" dirty="0"/>
              <a:t> pulvinar </a:t>
            </a:r>
            <a:r>
              <a:rPr lang="pt-PT" dirty="0" err="1"/>
              <a:t>ultricies</a:t>
            </a:r>
            <a:r>
              <a:rPr lang="pt-PT" dirty="0"/>
              <a:t>, purus.</a:t>
            </a:r>
          </a:p>
        </p:txBody>
      </p:sp>
      <p:sp>
        <p:nvSpPr>
          <p:cNvPr id="18" name="Marcador de Posição do Texto 17">
            <a:extLst>
              <a:ext uri="{FF2B5EF4-FFF2-40B4-BE49-F238E27FC236}">
                <a16:creationId xmlns:a16="http://schemas.microsoft.com/office/drawing/2014/main" id="{6A7D72DF-5D51-0BA3-04BB-EE5B56032ECC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/>
        <p:txBody>
          <a:bodyPr/>
          <a:lstStyle/>
          <a:p>
            <a:r>
              <a:rPr lang="pt-PT" dirty="0"/>
              <a:t>TEXTO DESTACADO</a:t>
            </a:r>
          </a:p>
        </p:txBody>
      </p:sp>
      <p:sp>
        <p:nvSpPr>
          <p:cNvPr id="19" name="Marcador de Posição do Texto 18">
            <a:extLst>
              <a:ext uri="{FF2B5EF4-FFF2-40B4-BE49-F238E27FC236}">
                <a16:creationId xmlns:a16="http://schemas.microsoft.com/office/drawing/2014/main" id="{469184CE-CD1D-5C34-35E3-96657F54B764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/>
        <p:txBody>
          <a:bodyPr/>
          <a:lstStyle/>
          <a:p>
            <a:r>
              <a:rPr lang="pt-PT" dirty="0" err="1"/>
              <a:t>Fusce</a:t>
            </a:r>
            <a:r>
              <a:rPr lang="pt-PT" dirty="0"/>
              <a:t> </a:t>
            </a:r>
            <a:r>
              <a:rPr lang="pt-PT" dirty="0" err="1"/>
              <a:t>posuere</a:t>
            </a:r>
            <a:r>
              <a:rPr lang="pt-PT" dirty="0"/>
              <a:t>, magna </a:t>
            </a:r>
            <a:r>
              <a:rPr lang="pt-PT" dirty="0" err="1"/>
              <a:t>sed</a:t>
            </a:r>
            <a:r>
              <a:rPr lang="pt-PT" dirty="0"/>
              <a:t> pulvinar </a:t>
            </a:r>
            <a:r>
              <a:rPr lang="pt-PT" dirty="0" err="1"/>
              <a:t>ultricies</a:t>
            </a:r>
            <a:r>
              <a:rPr lang="pt-PT" dirty="0"/>
              <a:t>, purus.</a:t>
            </a:r>
          </a:p>
        </p:txBody>
      </p:sp>
      <p:grpSp>
        <p:nvGrpSpPr>
          <p:cNvPr id="20" name="Agrupar 19">
            <a:extLst>
              <a:ext uri="{FF2B5EF4-FFF2-40B4-BE49-F238E27FC236}">
                <a16:creationId xmlns:a16="http://schemas.microsoft.com/office/drawing/2014/main" id="{A4EE1115-C3B0-FA84-D9FE-14C778563BF7}"/>
              </a:ext>
            </a:extLst>
          </p:cNvPr>
          <p:cNvGrpSpPr/>
          <p:nvPr/>
        </p:nvGrpSpPr>
        <p:grpSpPr>
          <a:xfrm>
            <a:off x="5819830" y="1141301"/>
            <a:ext cx="552340" cy="603188"/>
            <a:chOff x="6000092" y="1357908"/>
            <a:chExt cx="365300" cy="398929"/>
          </a:xfrm>
        </p:grpSpPr>
        <p:sp>
          <p:nvSpPr>
            <p:cNvPr id="21" name="Forma livre: Forma 20">
              <a:extLst>
                <a:ext uri="{FF2B5EF4-FFF2-40B4-BE49-F238E27FC236}">
                  <a16:creationId xmlns:a16="http://schemas.microsoft.com/office/drawing/2014/main" id="{6F97EAF9-8C45-A629-CA07-33A219923BC8}"/>
                </a:ext>
              </a:extLst>
            </p:cNvPr>
            <p:cNvSpPr/>
            <p:nvPr/>
          </p:nvSpPr>
          <p:spPr>
            <a:xfrm>
              <a:off x="6000092" y="1418606"/>
              <a:ext cx="84058" cy="286120"/>
            </a:xfrm>
            <a:custGeom>
              <a:avLst/>
              <a:gdLst>
                <a:gd name="connsiteX0" fmla="*/ 51595 w 84058"/>
                <a:gd name="connsiteY0" fmla="*/ 0 h 286120"/>
                <a:gd name="connsiteX1" fmla="*/ 35266 w 84058"/>
                <a:gd name="connsiteY1" fmla="*/ 61674 h 286120"/>
                <a:gd name="connsiteX2" fmla="*/ 28760 w 84058"/>
                <a:gd name="connsiteY2" fmla="*/ 193415 h 286120"/>
                <a:gd name="connsiteX3" fmla="*/ 84059 w 84058"/>
                <a:gd name="connsiteY3" fmla="*/ 286121 h 2861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4058" h="286120">
                  <a:moveTo>
                    <a:pt x="51595" y="0"/>
                  </a:moveTo>
                  <a:cubicBezTo>
                    <a:pt x="37868" y="7872"/>
                    <a:pt x="26028" y="24852"/>
                    <a:pt x="35266" y="61674"/>
                  </a:cubicBezTo>
                  <a:cubicBezTo>
                    <a:pt x="35266" y="61674"/>
                    <a:pt x="-39549" y="126731"/>
                    <a:pt x="28760" y="193415"/>
                  </a:cubicBezTo>
                  <a:cubicBezTo>
                    <a:pt x="28760" y="193415"/>
                    <a:pt x="9243" y="281242"/>
                    <a:pt x="84059" y="286121"/>
                  </a:cubicBezTo>
                </a:path>
              </a:pathLst>
            </a:custGeom>
            <a:noFill/>
            <a:ln w="19050" cap="sq">
              <a:solidFill>
                <a:srgbClr val="1D3EB6"/>
              </a:solidFill>
              <a:prstDash val="solid"/>
              <a:miter lim="800000"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22" name="Gráfico 32">
              <a:extLst>
                <a:ext uri="{FF2B5EF4-FFF2-40B4-BE49-F238E27FC236}">
                  <a16:creationId xmlns:a16="http://schemas.microsoft.com/office/drawing/2014/main" id="{0AFEE72C-2925-3856-1DFB-CBBD97005B58}"/>
                </a:ext>
              </a:extLst>
            </p:cNvPr>
            <p:cNvGrpSpPr/>
            <p:nvPr/>
          </p:nvGrpSpPr>
          <p:grpSpPr>
            <a:xfrm>
              <a:off x="6061121" y="1359924"/>
              <a:ext cx="128487" cy="396366"/>
              <a:chOff x="6061121" y="1359924"/>
              <a:chExt cx="128487" cy="396366"/>
            </a:xfrm>
            <a:noFill/>
          </p:grpSpPr>
          <p:sp>
            <p:nvSpPr>
              <p:cNvPr id="37" name="Forma livre: Forma 36">
                <a:extLst>
                  <a:ext uri="{FF2B5EF4-FFF2-40B4-BE49-F238E27FC236}">
                    <a16:creationId xmlns:a16="http://schemas.microsoft.com/office/drawing/2014/main" id="{C050231A-DB8E-A4BB-3685-1672744337A8}"/>
                  </a:ext>
                </a:extLst>
              </p:cNvPr>
              <p:cNvSpPr/>
              <p:nvPr/>
            </p:nvSpPr>
            <p:spPr>
              <a:xfrm>
                <a:off x="6083891" y="1359924"/>
                <a:ext cx="105717" cy="396366"/>
              </a:xfrm>
              <a:custGeom>
                <a:avLst/>
                <a:gdLst>
                  <a:gd name="connsiteX0" fmla="*/ 52891 w 105717"/>
                  <a:gd name="connsiteY0" fmla="*/ 105718 h 396366"/>
                  <a:gd name="connsiteX1" fmla="*/ 0 w 105717"/>
                  <a:gd name="connsiteY1" fmla="*/ 52891 h 396366"/>
                  <a:gd name="connsiteX2" fmla="*/ 52891 w 105717"/>
                  <a:gd name="connsiteY2" fmla="*/ 0 h 396366"/>
                  <a:gd name="connsiteX3" fmla="*/ 105718 w 105717"/>
                  <a:gd name="connsiteY3" fmla="*/ 52826 h 396366"/>
                  <a:gd name="connsiteX4" fmla="*/ 105718 w 105717"/>
                  <a:gd name="connsiteY4" fmla="*/ 346884 h 396366"/>
                  <a:gd name="connsiteX5" fmla="*/ 80606 w 105717"/>
                  <a:gd name="connsiteY5" fmla="*/ 388911 h 396366"/>
                  <a:gd name="connsiteX6" fmla="*/ 9238 w 105717"/>
                  <a:gd name="connsiteY6" fmla="*/ 371150 h 396366"/>
                  <a:gd name="connsiteX7" fmla="*/ 15484 w 105717"/>
                  <a:gd name="connsiteY7" fmla="*/ 309216 h 396366"/>
                  <a:gd name="connsiteX8" fmla="*/ 45019 w 105717"/>
                  <a:gd name="connsiteY8" fmla="*/ 277078 h 3963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05717" h="396366">
                    <a:moveTo>
                      <a:pt x="52891" y="105718"/>
                    </a:moveTo>
                    <a:cubicBezTo>
                      <a:pt x="23681" y="105718"/>
                      <a:pt x="0" y="82037"/>
                      <a:pt x="0" y="52891"/>
                    </a:cubicBezTo>
                    <a:cubicBezTo>
                      <a:pt x="0" y="23746"/>
                      <a:pt x="23681" y="0"/>
                      <a:pt x="52891" y="0"/>
                    </a:cubicBezTo>
                    <a:cubicBezTo>
                      <a:pt x="82102" y="0"/>
                      <a:pt x="105718" y="23681"/>
                      <a:pt x="105718" y="52826"/>
                    </a:cubicBezTo>
                    <a:lnTo>
                      <a:pt x="105718" y="346884"/>
                    </a:lnTo>
                    <a:cubicBezTo>
                      <a:pt x="105718" y="364580"/>
                      <a:pt x="96414" y="379413"/>
                      <a:pt x="80606" y="388911"/>
                    </a:cubicBezTo>
                    <a:cubicBezTo>
                      <a:pt x="55949" y="403744"/>
                      <a:pt x="24006" y="395742"/>
                      <a:pt x="9238" y="371150"/>
                    </a:cubicBezTo>
                    <a:cubicBezTo>
                      <a:pt x="-2928" y="350918"/>
                      <a:pt x="260" y="325741"/>
                      <a:pt x="15484" y="309216"/>
                    </a:cubicBezTo>
                    <a:lnTo>
                      <a:pt x="45019" y="277078"/>
                    </a:lnTo>
                  </a:path>
                </a:pathLst>
              </a:custGeom>
              <a:noFill/>
              <a:ln w="19050" cap="sq">
                <a:solidFill>
                  <a:srgbClr val="1D3EB6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8" name="Forma livre: Forma 37">
                <a:extLst>
                  <a:ext uri="{FF2B5EF4-FFF2-40B4-BE49-F238E27FC236}">
                    <a16:creationId xmlns:a16="http://schemas.microsoft.com/office/drawing/2014/main" id="{DE0425AA-44DE-5F7B-4883-C8B0C1162D4F}"/>
                  </a:ext>
                </a:extLst>
              </p:cNvPr>
              <p:cNvSpPr/>
              <p:nvPr/>
            </p:nvSpPr>
            <p:spPr>
              <a:xfrm>
                <a:off x="6144784" y="1383865"/>
                <a:ext cx="41563" cy="38963"/>
              </a:xfrm>
              <a:custGeom>
                <a:avLst/>
                <a:gdLst>
                  <a:gd name="connsiteX0" fmla="*/ 36172 w 41563"/>
                  <a:gd name="connsiteY0" fmla="*/ 0 h 38963"/>
                  <a:gd name="connsiteX1" fmla="*/ 39425 w 41563"/>
                  <a:gd name="connsiteY1" fmla="*/ 24266 h 38963"/>
                  <a:gd name="connsiteX2" fmla="*/ 36432 w 41563"/>
                  <a:gd name="connsiteY2" fmla="*/ 29080 h 38963"/>
                  <a:gd name="connsiteX3" fmla="*/ 0 w 41563"/>
                  <a:gd name="connsiteY3" fmla="*/ 33439 h 389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563" h="38963">
                    <a:moveTo>
                      <a:pt x="36172" y="0"/>
                    </a:moveTo>
                    <a:cubicBezTo>
                      <a:pt x="41571" y="7547"/>
                      <a:pt x="43393" y="16004"/>
                      <a:pt x="39425" y="24266"/>
                    </a:cubicBezTo>
                    <a:cubicBezTo>
                      <a:pt x="38644" y="25893"/>
                      <a:pt x="37603" y="27519"/>
                      <a:pt x="36432" y="29080"/>
                    </a:cubicBezTo>
                    <a:cubicBezTo>
                      <a:pt x="27584" y="40270"/>
                      <a:pt x="11190" y="42287"/>
                      <a:pt x="0" y="33439"/>
                    </a:cubicBezTo>
                  </a:path>
                </a:pathLst>
              </a:custGeom>
              <a:noFill/>
              <a:ln w="19050" cap="sq">
                <a:solidFill>
                  <a:srgbClr val="1D3EB6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9" name="Forma livre: Forma 38">
                <a:extLst>
                  <a:ext uri="{FF2B5EF4-FFF2-40B4-BE49-F238E27FC236}">
                    <a16:creationId xmlns:a16="http://schemas.microsoft.com/office/drawing/2014/main" id="{AA3BF2C3-11FB-0906-7CD8-6A72E8A2D975}"/>
                  </a:ext>
                </a:extLst>
              </p:cNvPr>
              <p:cNvSpPr/>
              <p:nvPr/>
            </p:nvSpPr>
            <p:spPr>
              <a:xfrm>
                <a:off x="6081487" y="1460806"/>
                <a:ext cx="34217" cy="54474"/>
              </a:xfrm>
              <a:custGeom>
                <a:avLst/>
                <a:gdLst>
                  <a:gd name="connsiteX0" fmla="*/ 21076 w 34217"/>
                  <a:gd name="connsiteY0" fmla="*/ 54475 h 54474"/>
                  <a:gd name="connsiteX1" fmla="*/ 778 w 34217"/>
                  <a:gd name="connsiteY1" fmla="*/ 21035 h 54474"/>
                  <a:gd name="connsiteX2" fmla="*/ 34217 w 34217"/>
                  <a:gd name="connsiteY2" fmla="*/ 803 h 544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4217" h="54474">
                    <a:moveTo>
                      <a:pt x="21076" y="54475"/>
                    </a:moveTo>
                    <a:cubicBezTo>
                      <a:pt x="6308" y="50832"/>
                      <a:pt x="-2800" y="35803"/>
                      <a:pt x="778" y="21035"/>
                    </a:cubicBezTo>
                    <a:cubicBezTo>
                      <a:pt x="4421" y="6267"/>
                      <a:pt x="19449" y="-2841"/>
                      <a:pt x="34217" y="803"/>
                    </a:cubicBezTo>
                  </a:path>
                </a:pathLst>
              </a:custGeom>
              <a:noFill/>
              <a:ln w="19050" cap="sq">
                <a:solidFill>
                  <a:srgbClr val="1D3EB6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0" name="Forma livre: Forma 39">
                <a:extLst>
                  <a:ext uri="{FF2B5EF4-FFF2-40B4-BE49-F238E27FC236}">
                    <a16:creationId xmlns:a16="http://schemas.microsoft.com/office/drawing/2014/main" id="{83879C66-76AB-CB25-C6A4-C0705C7ADF49}"/>
                  </a:ext>
                </a:extLst>
              </p:cNvPr>
              <p:cNvSpPr/>
              <p:nvPr/>
            </p:nvSpPr>
            <p:spPr>
              <a:xfrm>
                <a:off x="6073547" y="1527543"/>
                <a:ext cx="114760" cy="72506"/>
              </a:xfrm>
              <a:custGeom>
                <a:avLst/>
                <a:gdLst>
                  <a:gd name="connsiteX0" fmla="*/ 114760 w 114760"/>
                  <a:gd name="connsiteY0" fmla="*/ 7254 h 72506"/>
                  <a:gd name="connsiteX1" fmla="*/ 73905 w 114760"/>
                  <a:gd name="connsiteY1" fmla="*/ 8881 h 72506"/>
                  <a:gd name="connsiteX2" fmla="*/ 0 w 114760"/>
                  <a:gd name="connsiteY2" fmla="*/ 72506 h 725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14760" h="72506">
                    <a:moveTo>
                      <a:pt x="114760" y="7254"/>
                    </a:moveTo>
                    <a:cubicBezTo>
                      <a:pt x="103375" y="-2830"/>
                      <a:pt x="83989" y="-2504"/>
                      <a:pt x="73905" y="8881"/>
                    </a:cubicBezTo>
                    <a:cubicBezTo>
                      <a:pt x="73905" y="8881"/>
                      <a:pt x="31488" y="72506"/>
                      <a:pt x="0" y="72506"/>
                    </a:cubicBezTo>
                  </a:path>
                </a:pathLst>
              </a:custGeom>
              <a:noFill/>
              <a:ln w="19050" cap="sq">
                <a:solidFill>
                  <a:srgbClr val="1D3EB6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1" name="Forma livre: Forma 40">
                <a:extLst>
                  <a:ext uri="{FF2B5EF4-FFF2-40B4-BE49-F238E27FC236}">
                    <a16:creationId xmlns:a16="http://schemas.microsoft.com/office/drawing/2014/main" id="{0207E252-E9E7-5A87-81E4-9881810A8938}"/>
                  </a:ext>
                </a:extLst>
              </p:cNvPr>
              <p:cNvSpPr/>
              <p:nvPr/>
            </p:nvSpPr>
            <p:spPr>
              <a:xfrm>
                <a:off x="6079857" y="1646956"/>
                <a:ext cx="29405" cy="9823"/>
              </a:xfrm>
              <a:custGeom>
                <a:avLst/>
                <a:gdLst>
                  <a:gd name="connsiteX0" fmla="*/ 0 w 29405"/>
                  <a:gd name="connsiteY0" fmla="*/ 0 h 9823"/>
                  <a:gd name="connsiteX1" fmla="*/ 29406 w 29405"/>
                  <a:gd name="connsiteY1" fmla="*/ 9824 h 98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9405" h="9823">
                    <a:moveTo>
                      <a:pt x="0" y="0"/>
                    </a:moveTo>
                    <a:lnTo>
                      <a:pt x="29406" y="9824"/>
                    </a:lnTo>
                  </a:path>
                </a:pathLst>
              </a:custGeom>
              <a:ln w="19050" cap="sq">
                <a:solidFill>
                  <a:srgbClr val="1D3EB6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2" name="Forma livre: Forma 41">
                <a:extLst>
                  <a:ext uri="{FF2B5EF4-FFF2-40B4-BE49-F238E27FC236}">
                    <a16:creationId xmlns:a16="http://schemas.microsoft.com/office/drawing/2014/main" id="{CFE5125C-3CAB-0994-6DB4-DF2DC3C0D53D}"/>
                  </a:ext>
                </a:extLst>
              </p:cNvPr>
              <p:cNvSpPr/>
              <p:nvPr/>
            </p:nvSpPr>
            <p:spPr>
              <a:xfrm>
                <a:off x="6061121" y="1545272"/>
                <a:ext cx="47166" cy="34154"/>
              </a:xfrm>
              <a:custGeom>
                <a:avLst/>
                <a:gdLst>
                  <a:gd name="connsiteX0" fmla="*/ 0 w 47166"/>
                  <a:gd name="connsiteY0" fmla="*/ 0 h 34154"/>
                  <a:gd name="connsiteX1" fmla="*/ 47166 w 47166"/>
                  <a:gd name="connsiteY1" fmla="*/ 34155 h 341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166" h="34154">
                    <a:moveTo>
                      <a:pt x="0" y="0"/>
                    </a:moveTo>
                    <a:cubicBezTo>
                      <a:pt x="0" y="0"/>
                      <a:pt x="27649" y="13011"/>
                      <a:pt x="47166" y="34155"/>
                    </a:cubicBezTo>
                  </a:path>
                </a:pathLst>
              </a:custGeom>
              <a:noFill/>
              <a:ln w="19050" cap="sq">
                <a:solidFill>
                  <a:srgbClr val="1D3EB6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23" name="Gráfico 32">
              <a:extLst>
                <a:ext uri="{FF2B5EF4-FFF2-40B4-BE49-F238E27FC236}">
                  <a16:creationId xmlns:a16="http://schemas.microsoft.com/office/drawing/2014/main" id="{747736F2-73AF-1512-8D86-14A86F717419}"/>
                </a:ext>
              </a:extLst>
            </p:cNvPr>
            <p:cNvGrpSpPr/>
            <p:nvPr/>
          </p:nvGrpSpPr>
          <p:grpSpPr>
            <a:xfrm>
              <a:off x="6191625" y="1599725"/>
              <a:ext cx="173767" cy="157112"/>
              <a:chOff x="6191625" y="1599725"/>
              <a:chExt cx="173767" cy="157112"/>
            </a:xfrm>
            <a:noFill/>
          </p:grpSpPr>
          <p:sp>
            <p:nvSpPr>
              <p:cNvPr id="33" name="Forma livre: Forma 32">
                <a:extLst>
                  <a:ext uri="{FF2B5EF4-FFF2-40B4-BE49-F238E27FC236}">
                    <a16:creationId xmlns:a16="http://schemas.microsoft.com/office/drawing/2014/main" id="{22B56545-565E-06CE-E5FF-75194BFE3375}"/>
                  </a:ext>
                </a:extLst>
              </p:cNvPr>
              <p:cNvSpPr/>
              <p:nvPr/>
            </p:nvSpPr>
            <p:spPr>
              <a:xfrm>
                <a:off x="6310094" y="1621974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rgbClr val="1D3EB6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4" name="Forma livre: Forma 33">
                <a:extLst>
                  <a:ext uri="{FF2B5EF4-FFF2-40B4-BE49-F238E27FC236}">
                    <a16:creationId xmlns:a16="http://schemas.microsoft.com/office/drawing/2014/main" id="{3EC80335-EED3-ADB8-BF43-DEF70C90F717}"/>
                  </a:ext>
                </a:extLst>
              </p:cNvPr>
              <p:cNvSpPr/>
              <p:nvPr/>
            </p:nvSpPr>
            <p:spPr>
              <a:xfrm>
                <a:off x="6191625" y="1599725"/>
                <a:ext cx="118078" cy="49898"/>
              </a:xfrm>
              <a:custGeom>
                <a:avLst/>
                <a:gdLst>
                  <a:gd name="connsiteX0" fmla="*/ 0 w 118078"/>
                  <a:gd name="connsiteY0" fmla="*/ 0 h 49898"/>
                  <a:gd name="connsiteX1" fmla="*/ 37343 w 118078"/>
                  <a:gd name="connsiteY1" fmla="*/ 0 h 49898"/>
                  <a:gd name="connsiteX2" fmla="*/ 87176 w 118078"/>
                  <a:gd name="connsiteY2" fmla="*/ 49899 h 49898"/>
                  <a:gd name="connsiteX3" fmla="*/ 118078 w 118078"/>
                  <a:gd name="connsiteY3" fmla="*/ 49899 h 49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8078" h="49898">
                    <a:moveTo>
                      <a:pt x="0" y="0"/>
                    </a:moveTo>
                    <a:lnTo>
                      <a:pt x="37343" y="0"/>
                    </a:lnTo>
                    <a:lnTo>
                      <a:pt x="87176" y="49899"/>
                    </a:lnTo>
                    <a:lnTo>
                      <a:pt x="118078" y="49899"/>
                    </a:lnTo>
                  </a:path>
                </a:pathLst>
              </a:custGeom>
              <a:noFill/>
              <a:ln w="19050" cap="sq">
                <a:solidFill>
                  <a:srgbClr val="1D3EB6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5" name="Forma livre: Forma 34">
                <a:extLst>
                  <a:ext uri="{FF2B5EF4-FFF2-40B4-BE49-F238E27FC236}">
                    <a16:creationId xmlns:a16="http://schemas.microsoft.com/office/drawing/2014/main" id="{2C4D1FBE-9E85-5DFF-5A6C-DAB4B93F197B}"/>
                  </a:ext>
                </a:extLst>
              </p:cNvPr>
              <p:cNvSpPr/>
              <p:nvPr/>
            </p:nvSpPr>
            <p:spPr>
              <a:xfrm>
                <a:off x="6191625" y="1665367"/>
                <a:ext cx="81906" cy="44108"/>
              </a:xfrm>
              <a:custGeom>
                <a:avLst/>
                <a:gdLst>
                  <a:gd name="connsiteX0" fmla="*/ 0 w 81906"/>
                  <a:gd name="connsiteY0" fmla="*/ 0 h 44108"/>
                  <a:gd name="connsiteX1" fmla="*/ 37343 w 81906"/>
                  <a:gd name="connsiteY1" fmla="*/ 0 h 44108"/>
                  <a:gd name="connsiteX2" fmla="*/ 81907 w 81906"/>
                  <a:gd name="connsiteY2" fmla="*/ 44109 h 441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1906" h="44108">
                    <a:moveTo>
                      <a:pt x="0" y="0"/>
                    </a:moveTo>
                    <a:lnTo>
                      <a:pt x="37343" y="0"/>
                    </a:lnTo>
                    <a:lnTo>
                      <a:pt x="81907" y="44109"/>
                    </a:lnTo>
                  </a:path>
                </a:pathLst>
              </a:custGeom>
              <a:noFill/>
              <a:ln w="19050" cap="sq">
                <a:solidFill>
                  <a:srgbClr val="1D3EB6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6" name="Forma livre: Forma 35">
                <a:extLst>
                  <a:ext uri="{FF2B5EF4-FFF2-40B4-BE49-F238E27FC236}">
                    <a16:creationId xmlns:a16="http://schemas.microsoft.com/office/drawing/2014/main" id="{6C9B0A02-AF7E-9A9C-A037-24240DE25CD6}"/>
                  </a:ext>
                </a:extLst>
              </p:cNvPr>
              <p:cNvSpPr/>
              <p:nvPr/>
            </p:nvSpPr>
            <p:spPr>
              <a:xfrm>
                <a:off x="6265075" y="1701539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rgbClr val="1D3EB6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24" name="Gráfico 32">
              <a:extLst>
                <a:ext uri="{FF2B5EF4-FFF2-40B4-BE49-F238E27FC236}">
                  <a16:creationId xmlns:a16="http://schemas.microsoft.com/office/drawing/2014/main" id="{7CD71B9B-7235-8288-A804-BB9F67FEFE25}"/>
                </a:ext>
              </a:extLst>
            </p:cNvPr>
            <p:cNvGrpSpPr/>
            <p:nvPr/>
          </p:nvGrpSpPr>
          <p:grpSpPr>
            <a:xfrm>
              <a:off x="6191625" y="1357908"/>
              <a:ext cx="173767" cy="157112"/>
              <a:chOff x="6191625" y="1357908"/>
              <a:chExt cx="173767" cy="157112"/>
            </a:xfrm>
            <a:noFill/>
          </p:grpSpPr>
          <p:sp>
            <p:nvSpPr>
              <p:cNvPr id="29" name="Forma livre: Forma 28">
                <a:extLst>
                  <a:ext uri="{FF2B5EF4-FFF2-40B4-BE49-F238E27FC236}">
                    <a16:creationId xmlns:a16="http://schemas.microsoft.com/office/drawing/2014/main" id="{6BB3055B-AD5F-DFA0-6EA3-31E5B3E322AA}"/>
                  </a:ext>
                </a:extLst>
              </p:cNvPr>
              <p:cNvSpPr/>
              <p:nvPr/>
            </p:nvSpPr>
            <p:spPr>
              <a:xfrm>
                <a:off x="6310094" y="1437472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0 h 55298"/>
                  <a:gd name="connsiteX2" fmla="*/ 0 w 55298"/>
                  <a:gd name="connsiteY2" fmla="*/ 27649 h 55298"/>
                  <a:gd name="connsiteX3" fmla="*/ 27649 w 55298"/>
                  <a:gd name="connsiteY3" fmla="*/ 55298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12361"/>
                      <a:pt x="42938" y="0"/>
                      <a:pt x="27649" y="0"/>
                    </a:cubicBezTo>
                    <a:cubicBezTo>
                      <a:pt x="12361" y="0"/>
                      <a:pt x="0" y="12361"/>
                      <a:pt x="0" y="27649"/>
                    </a:cubicBezTo>
                    <a:cubicBezTo>
                      <a:pt x="0" y="42938"/>
                      <a:pt x="12361" y="55298"/>
                      <a:pt x="27649" y="55298"/>
                    </a:cubicBezTo>
                    <a:cubicBezTo>
                      <a:pt x="42938" y="55298"/>
                      <a:pt x="55298" y="42938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rgbClr val="1D3EB6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0" name="Forma livre: Forma 29">
                <a:extLst>
                  <a:ext uri="{FF2B5EF4-FFF2-40B4-BE49-F238E27FC236}">
                    <a16:creationId xmlns:a16="http://schemas.microsoft.com/office/drawing/2014/main" id="{06092012-AA4E-3BB4-AE64-DE212035B71C}"/>
                  </a:ext>
                </a:extLst>
              </p:cNvPr>
              <p:cNvSpPr/>
              <p:nvPr/>
            </p:nvSpPr>
            <p:spPr>
              <a:xfrm>
                <a:off x="6191625" y="1465122"/>
                <a:ext cx="118468" cy="49898"/>
              </a:xfrm>
              <a:custGeom>
                <a:avLst/>
                <a:gdLst>
                  <a:gd name="connsiteX0" fmla="*/ 0 w 118468"/>
                  <a:gd name="connsiteY0" fmla="*/ 49899 h 49898"/>
                  <a:gd name="connsiteX1" fmla="*/ 37343 w 118468"/>
                  <a:gd name="connsiteY1" fmla="*/ 49899 h 49898"/>
                  <a:gd name="connsiteX2" fmla="*/ 87176 w 118468"/>
                  <a:gd name="connsiteY2" fmla="*/ 0 h 49898"/>
                  <a:gd name="connsiteX3" fmla="*/ 118469 w 118468"/>
                  <a:gd name="connsiteY3" fmla="*/ 0 h 49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8468" h="49898">
                    <a:moveTo>
                      <a:pt x="0" y="49899"/>
                    </a:moveTo>
                    <a:lnTo>
                      <a:pt x="37343" y="49899"/>
                    </a:lnTo>
                    <a:lnTo>
                      <a:pt x="87176" y="0"/>
                    </a:lnTo>
                    <a:lnTo>
                      <a:pt x="118469" y="0"/>
                    </a:lnTo>
                  </a:path>
                </a:pathLst>
              </a:custGeom>
              <a:noFill/>
              <a:ln w="19050" cap="sq">
                <a:solidFill>
                  <a:srgbClr val="1D3EB6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1" name="Forma livre: Forma 30">
                <a:extLst>
                  <a:ext uri="{FF2B5EF4-FFF2-40B4-BE49-F238E27FC236}">
                    <a16:creationId xmlns:a16="http://schemas.microsoft.com/office/drawing/2014/main" id="{AD8CCA61-4DD9-A098-81B1-7B9B0B5D3684}"/>
                  </a:ext>
                </a:extLst>
              </p:cNvPr>
              <p:cNvSpPr/>
              <p:nvPr/>
            </p:nvSpPr>
            <p:spPr>
              <a:xfrm>
                <a:off x="6191625" y="1405269"/>
                <a:ext cx="81451" cy="44043"/>
              </a:xfrm>
              <a:custGeom>
                <a:avLst/>
                <a:gdLst>
                  <a:gd name="connsiteX0" fmla="*/ 0 w 81451"/>
                  <a:gd name="connsiteY0" fmla="*/ 44044 h 44043"/>
                  <a:gd name="connsiteX1" fmla="*/ 37343 w 81451"/>
                  <a:gd name="connsiteY1" fmla="*/ 44044 h 44043"/>
                  <a:gd name="connsiteX2" fmla="*/ 81451 w 81451"/>
                  <a:gd name="connsiteY2" fmla="*/ 0 h 440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1451" h="44043">
                    <a:moveTo>
                      <a:pt x="0" y="44044"/>
                    </a:moveTo>
                    <a:lnTo>
                      <a:pt x="37343" y="44044"/>
                    </a:lnTo>
                    <a:lnTo>
                      <a:pt x="81451" y="0"/>
                    </a:lnTo>
                  </a:path>
                </a:pathLst>
              </a:custGeom>
              <a:noFill/>
              <a:ln w="19050" cap="sq">
                <a:solidFill>
                  <a:srgbClr val="1D3EB6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2" name="Forma livre: Forma 31">
                <a:extLst>
                  <a:ext uri="{FF2B5EF4-FFF2-40B4-BE49-F238E27FC236}">
                    <a16:creationId xmlns:a16="http://schemas.microsoft.com/office/drawing/2014/main" id="{A9DAB3AC-4650-CF49-30BF-8FE6CAC79AA4}"/>
                  </a:ext>
                </a:extLst>
              </p:cNvPr>
              <p:cNvSpPr/>
              <p:nvPr/>
            </p:nvSpPr>
            <p:spPr>
              <a:xfrm>
                <a:off x="6265075" y="1357908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0 h 55298"/>
                  <a:gd name="connsiteX2" fmla="*/ 0 w 55298"/>
                  <a:gd name="connsiteY2" fmla="*/ 27649 h 55298"/>
                  <a:gd name="connsiteX3" fmla="*/ 27649 w 55298"/>
                  <a:gd name="connsiteY3" fmla="*/ 55298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12361"/>
                      <a:pt x="42938" y="0"/>
                      <a:pt x="27649" y="0"/>
                    </a:cubicBezTo>
                    <a:cubicBezTo>
                      <a:pt x="12361" y="0"/>
                      <a:pt x="0" y="12361"/>
                      <a:pt x="0" y="27649"/>
                    </a:cubicBezTo>
                    <a:cubicBezTo>
                      <a:pt x="0" y="42938"/>
                      <a:pt x="12361" y="55298"/>
                      <a:pt x="27649" y="55298"/>
                    </a:cubicBezTo>
                    <a:cubicBezTo>
                      <a:pt x="42938" y="55298"/>
                      <a:pt x="55298" y="42938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rgbClr val="1D3EB6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25" name="Gráfico 32">
              <a:extLst>
                <a:ext uri="{FF2B5EF4-FFF2-40B4-BE49-F238E27FC236}">
                  <a16:creationId xmlns:a16="http://schemas.microsoft.com/office/drawing/2014/main" id="{689AEF06-58E2-9AE0-67A8-505690A25391}"/>
                </a:ext>
              </a:extLst>
            </p:cNvPr>
            <p:cNvGrpSpPr/>
            <p:nvPr/>
          </p:nvGrpSpPr>
          <p:grpSpPr>
            <a:xfrm>
              <a:off x="6190910" y="1529723"/>
              <a:ext cx="123673" cy="55298"/>
              <a:chOff x="6190910" y="1529723"/>
              <a:chExt cx="123673" cy="55298"/>
            </a:xfrm>
            <a:noFill/>
          </p:grpSpPr>
          <p:sp>
            <p:nvSpPr>
              <p:cNvPr id="27" name="Forma livre: Forma 26">
                <a:extLst>
                  <a:ext uri="{FF2B5EF4-FFF2-40B4-BE49-F238E27FC236}">
                    <a16:creationId xmlns:a16="http://schemas.microsoft.com/office/drawing/2014/main" id="{1D2923B9-E622-5055-163D-D2B0F0CFB417}"/>
                  </a:ext>
                </a:extLst>
              </p:cNvPr>
              <p:cNvSpPr/>
              <p:nvPr/>
            </p:nvSpPr>
            <p:spPr>
              <a:xfrm>
                <a:off x="6190910" y="1557372"/>
                <a:ext cx="68765" cy="6505"/>
              </a:xfrm>
              <a:custGeom>
                <a:avLst/>
                <a:gdLst>
                  <a:gd name="connsiteX0" fmla="*/ 0 w 68765"/>
                  <a:gd name="connsiteY0" fmla="*/ 0 h 6505"/>
                  <a:gd name="connsiteX1" fmla="*/ 68765 w 68765"/>
                  <a:gd name="connsiteY1" fmla="*/ 0 h 65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8765" h="6505">
                    <a:moveTo>
                      <a:pt x="0" y="0"/>
                    </a:moveTo>
                    <a:lnTo>
                      <a:pt x="68765" y="0"/>
                    </a:lnTo>
                  </a:path>
                </a:pathLst>
              </a:custGeom>
              <a:ln w="19050" cap="sq">
                <a:solidFill>
                  <a:srgbClr val="1D3EB6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8" name="Forma livre: Forma 27">
                <a:extLst>
                  <a:ext uri="{FF2B5EF4-FFF2-40B4-BE49-F238E27FC236}">
                    <a16:creationId xmlns:a16="http://schemas.microsoft.com/office/drawing/2014/main" id="{0738E78A-95D9-8F68-9D9A-9EB8053A4118}"/>
                  </a:ext>
                </a:extLst>
              </p:cNvPr>
              <p:cNvSpPr/>
              <p:nvPr/>
            </p:nvSpPr>
            <p:spPr>
              <a:xfrm>
                <a:off x="6259285" y="1529723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rgbClr val="1D3EB6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26" name="Forma livre: Forma 25">
              <a:extLst>
                <a:ext uri="{FF2B5EF4-FFF2-40B4-BE49-F238E27FC236}">
                  <a16:creationId xmlns:a16="http://schemas.microsoft.com/office/drawing/2014/main" id="{9969FF6B-BB09-3257-34A8-5E51FA14AA31}"/>
                </a:ext>
              </a:extLst>
            </p:cNvPr>
            <p:cNvSpPr/>
            <p:nvPr/>
          </p:nvSpPr>
          <p:spPr>
            <a:xfrm>
              <a:off x="6152201" y="1686285"/>
              <a:ext cx="37362" cy="20848"/>
            </a:xfrm>
            <a:custGeom>
              <a:avLst/>
              <a:gdLst>
                <a:gd name="connsiteX0" fmla="*/ 0 w 37362"/>
                <a:gd name="connsiteY0" fmla="*/ 10505 h 20848"/>
                <a:gd name="connsiteX1" fmla="*/ 27064 w 37362"/>
                <a:gd name="connsiteY1" fmla="*/ 2373 h 20848"/>
                <a:gd name="connsiteX2" fmla="*/ 37343 w 37362"/>
                <a:gd name="connsiteY2" fmla="*/ 20849 h 20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7362" h="20848">
                  <a:moveTo>
                    <a:pt x="0" y="10505"/>
                  </a:moveTo>
                  <a:cubicBezTo>
                    <a:pt x="5205" y="811"/>
                    <a:pt x="17435" y="-2832"/>
                    <a:pt x="27064" y="2373"/>
                  </a:cubicBezTo>
                  <a:cubicBezTo>
                    <a:pt x="34025" y="6081"/>
                    <a:pt x="37668" y="13432"/>
                    <a:pt x="37343" y="20849"/>
                  </a:cubicBezTo>
                </a:path>
              </a:pathLst>
            </a:custGeom>
            <a:noFill/>
            <a:ln w="19050" cap="sq">
              <a:solidFill>
                <a:srgbClr val="1D3EB6"/>
              </a:solidFill>
              <a:prstDash val="solid"/>
              <a:miter lim="800000"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43" name="Agrupar 42">
            <a:extLst>
              <a:ext uri="{FF2B5EF4-FFF2-40B4-BE49-F238E27FC236}">
                <a16:creationId xmlns:a16="http://schemas.microsoft.com/office/drawing/2014/main" id="{7F1EBA76-97CE-894D-21F3-84D9FBA78569}"/>
              </a:ext>
            </a:extLst>
          </p:cNvPr>
          <p:cNvGrpSpPr/>
          <p:nvPr/>
        </p:nvGrpSpPr>
        <p:grpSpPr>
          <a:xfrm>
            <a:off x="7227715" y="1715461"/>
            <a:ext cx="552340" cy="603188"/>
            <a:chOff x="6000092" y="1357908"/>
            <a:chExt cx="365300" cy="398929"/>
          </a:xfrm>
        </p:grpSpPr>
        <p:sp>
          <p:nvSpPr>
            <p:cNvPr id="44" name="Forma livre: Forma 43">
              <a:extLst>
                <a:ext uri="{FF2B5EF4-FFF2-40B4-BE49-F238E27FC236}">
                  <a16:creationId xmlns:a16="http://schemas.microsoft.com/office/drawing/2014/main" id="{F0BE450F-55D4-56D7-F328-FBFA1BB71B0D}"/>
                </a:ext>
              </a:extLst>
            </p:cNvPr>
            <p:cNvSpPr/>
            <p:nvPr/>
          </p:nvSpPr>
          <p:spPr>
            <a:xfrm>
              <a:off x="6000092" y="1418606"/>
              <a:ext cx="84058" cy="286120"/>
            </a:xfrm>
            <a:custGeom>
              <a:avLst/>
              <a:gdLst>
                <a:gd name="connsiteX0" fmla="*/ 51595 w 84058"/>
                <a:gd name="connsiteY0" fmla="*/ 0 h 286120"/>
                <a:gd name="connsiteX1" fmla="*/ 35266 w 84058"/>
                <a:gd name="connsiteY1" fmla="*/ 61674 h 286120"/>
                <a:gd name="connsiteX2" fmla="*/ 28760 w 84058"/>
                <a:gd name="connsiteY2" fmla="*/ 193415 h 286120"/>
                <a:gd name="connsiteX3" fmla="*/ 84059 w 84058"/>
                <a:gd name="connsiteY3" fmla="*/ 286121 h 2861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4058" h="286120">
                  <a:moveTo>
                    <a:pt x="51595" y="0"/>
                  </a:moveTo>
                  <a:cubicBezTo>
                    <a:pt x="37868" y="7872"/>
                    <a:pt x="26028" y="24852"/>
                    <a:pt x="35266" y="61674"/>
                  </a:cubicBezTo>
                  <a:cubicBezTo>
                    <a:pt x="35266" y="61674"/>
                    <a:pt x="-39549" y="126731"/>
                    <a:pt x="28760" y="193415"/>
                  </a:cubicBezTo>
                  <a:cubicBezTo>
                    <a:pt x="28760" y="193415"/>
                    <a:pt x="9243" y="281242"/>
                    <a:pt x="84059" y="286121"/>
                  </a:cubicBezTo>
                </a:path>
              </a:pathLst>
            </a:custGeom>
            <a:noFill/>
            <a:ln w="19050" cap="sq">
              <a:solidFill>
                <a:srgbClr val="1D3EB6"/>
              </a:solidFill>
              <a:prstDash val="solid"/>
              <a:miter lim="800000"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45" name="Gráfico 32">
              <a:extLst>
                <a:ext uri="{FF2B5EF4-FFF2-40B4-BE49-F238E27FC236}">
                  <a16:creationId xmlns:a16="http://schemas.microsoft.com/office/drawing/2014/main" id="{D0776B51-2F8A-7230-2043-97F1864F3011}"/>
                </a:ext>
              </a:extLst>
            </p:cNvPr>
            <p:cNvGrpSpPr/>
            <p:nvPr/>
          </p:nvGrpSpPr>
          <p:grpSpPr>
            <a:xfrm>
              <a:off x="6061121" y="1359924"/>
              <a:ext cx="128487" cy="396366"/>
              <a:chOff x="6061121" y="1359924"/>
              <a:chExt cx="128487" cy="396366"/>
            </a:xfrm>
            <a:noFill/>
          </p:grpSpPr>
          <p:sp>
            <p:nvSpPr>
              <p:cNvPr id="60" name="Forma livre: Forma 59">
                <a:extLst>
                  <a:ext uri="{FF2B5EF4-FFF2-40B4-BE49-F238E27FC236}">
                    <a16:creationId xmlns:a16="http://schemas.microsoft.com/office/drawing/2014/main" id="{E6FCF0CC-086F-9CA2-A662-21A3673CDEC9}"/>
                  </a:ext>
                </a:extLst>
              </p:cNvPr>
              <p:cNvSpPr/>
              <p:nvPr/>
            </p:nvSpPr>
            <p:spPr>
              <a:xfrm>
                <a:off x="6083891" y="1359924"/>
                <a:ext cx="105717" cy="396366"/>
              </a:xfrm>
              <a:custGeom>
                <a:avLst/>
                <a:gdLst>
                  <a:gd name="connsiteX0" fmla="*/ 52891 w 105717"/>
                  <a:gd name="connsiteY0" fmla="*/ 105718 h 396366"/>
                  <a:gd name="connsiteX1" fmla="*/ 0 w 105717"/>
                  <a:gd name="connsiteY1" fmla="*/ 52891 h 396366"/>
                  <a:gd name="connsiteX2" fmla="*/ 52891 w 105717"/>
                  <a:gd name="connsiteY2" fmla="*/ 0 h 396366"/>
                  <a:gd name="connsiteX3" fmla="*/ 105718 w 105717"/>
                  <a:gd name="connsiteY3" fmla="*/ 52826 h 396366"/>
                  <a:gd name="connsiteX4" fmla="*/ 105718 w 105717"/>
                  <a:gd name="connsiteY4" fmla="*/ 346884 h 396366"/>
                  <a:gd name="connsiteX5" fmla="*/ 80606 w 105717"/>
                  <a:gd name="connsiteY5" fmla="*/ 388911 h 396366"/>
                  <a:gd name="connsiteX6" fmla="*/ 9238 w 105717"/>
                  <a:gd name="connsiteY6" fmla="*/ 371150 h 396366"/>
                  <a:gd name="connsiteX7" fmla="*/ 15484 w 105717"/>
                  <a:gd name="connsiteY7" fmla="*/ 309216 h 396366"/>
                  <a:gd name="connsiteX8" fmla="*/ 45019 w 105717"/>
                  <a:gd name="connsiteY8" fmla="*/ 277078 h 3963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05717" h="396366">
                    <a:moveTo>
                      <a:pt x="52891" y="105718"/>
                    </a:moveTo>
                    <a:cubicBezTo>
                      <a:pt x="23681" y="105718"/>
                      <a:pt x="0" y="82037"/>
                      <a:pt x="0" y="52891"/>
                    </a:cubicBezTo>
                    <a:cubicBezTo>
                      <a:pt x="0" y="23746"/>
                      <a:pt x="23681" y="0"/>
                      <a:pt x="52891" y="0"/>
                    </a:cubicBezTo>
                    <a:cubicBezTo>
                      <a:pt x="82102" y="0"/>
                      <a:pt x="105718" y="23681"/>
                      <a:pt x="105718" y="52826"/>
                    </a:cubicBezTo>
                    <a:lnTo>
                      <a:pt x="105718" y="346884"/>
                    </a:lnTo>
                    <a:cubicBezTo>
                      <a:pt x="105718" y="364580"/>
                      <a:pt x="96414" y="379413"/>
                      <a:pt x="80606" y="388911"/>
                    </a:cubicBezTo>
                    <a:cubicBezTo>
                      <a:pt x="55949" y="403744"/>
                      <a:pt x="24006" y="395742"/>
                      <a:pt x="9238" y="371150"/>
                    </a:cubicBezTo>
                    <a:cubicBezTo>
                      <a:pt x="-2928" y="350918"/>
                      <a:pt x="260" y="325741"/>
                      <a:pt x="15484" y="309216"/>
                    </a:cubicBezTo>
                    <a:lnTo>
                      <a:pt x="45019" y="277078"/>
                    </a:lnTo>
                  </a:path>
                </a:pathLst>
              </a:custGeom>
              <a:noFill/>
              <a:ln w="19050" cap="sq">
                <a:solidFill>
                  <a:srgbClr val="1D3EB6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61" name="Forma livre: Forma 60">
                <a:extLst>
                  <a:ext uri="{FF2B5EF4-FFF2-40B4-BE49-F238E27FC236}">
                    <a16:creationId xmlns:a16="http://schemas.microsoft.com/office/drawing/2014/main" id="{5EADF8DC-64B1-678E-8323-502813C26D85}"/>
                  </a:ext>
                </a:extLst>
              </p:cNvPr>
              <p:cNvSpPr/>
              <p:nvPr/>
            </p:nvSpPr>
            <p:spPr>
              <a:xfrm>
                <a:off x="6144784" y="1383865"/>
                <a:ext cx="41563" cy="38963"/>
              </a:xfrm>
              <a:custGeom>
                <a:avLst/>
                <a:gdLst>
                  <a:gd name="connsiteX0" fmla="*/ 36172 w 41563"/>
                  <a:gd name="connsiteY0" fmla="*/ 0 h 38963"/>
                  <a:gd name="connsiteX1" fmla="*/ 39425 w 41563"/>
                  <a:gd name="connsiteY1" fmla="*/ 24266 h 38963"/>
                  <a:gd name="connsiteX2" fmla="*/ 36432 w 41563"/>
                  <a:gd name="connsiteY2" fmla="*/ 29080 h 38963"/>
                  <a:gd name="connsiteX3" fmla="*/ 0 w 41563"/>
                  <a:gd name="connsiteY3" fmla="*/ 33439 h 389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563" h="38963">
                    <a:moveTo>
                      <a:pt x="36172" y="0"/>
                    </a:moveTo>
                    <a:cubicBezTo>
                      <a:pt x="41571" y="7547"/>
                      <a:pt x="43393" y="16004"/>
                      <a:pt x="39425" y="24266"/>
                    </a:cubicBezTo>
                    <a:cubicBezTo>
                      <a:pt x="38644" y="25893"/>
                      <a:pt x="37603" y="27519"/>
                      <a:pt x="36432" y="29080"/>
                    </a:cubicBezTo>
                    <a:cubicBezTo>
                      <a:pt x="27584" y="40270"/>
                      <a:pt x="11190" y="42287"/>
                      <a:pt x="0" y="33439"/>
                    </a:cubicBezTo>
                  </a:path>
                </a:pathLst>
              </a:custGeom>
              <a:noFill/>
              <a:ln w="19050" cap="sq">
                <a:solidFill>
                  <a:srgbClr val="1D3EB6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62" name="Forma livre: Forma 61">
                <a:extLst>
                  <a:ext uri="{FF2B5EF4-FFF2-40B4-BE49-F238E27FC236}">
                    <a16:creationId xmlns:a16="http://schemas.microsoft.com/office/drawing/2014/main" id="{8775F11C-467D-90C9-0B4C-AD775C4C1E09}"/>
                  </a:ext>
                </a:extLst>
              </p:cNvPr>
              <p:cNvSpPr/>
              <p:nvPr/>
            </p:nvSpPr>
            <p:spPr>
              <a:xfrm>
                <a:off x="6081487" y="1460806"/>
                <a:ext cx="34217" cy="54474"/>
              </a:xfrm>
              <a:custGeom>
                <a:avLst/>
                <a:gdLst>
                  <a:gd name="connsiteX0" fmla="*/ 21076 w 34217"/>
                  <a:gd name="connsiteY0" fmla="*/ 54475 h 54474"/>
                  <a:gd name="connsiteX1" fmla="*/ 778 w 34217"/>
                  <a:gd name="connsiteY1" fmla="*/ 21035 h 54474"/>
                  <a:gd name="connsiteX2" fmla="*/ 34217 w 34217"/>
                  <a:gd name="connsiteY2" fmla="*/ 803 h 544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4217" h="54474">
                    <a:moveTo>
                      <a:pt x="21076" y="54475"/>
                    </a:moveTo>
                    <a:cubicBezTo>
                      <a:pt x="6308" y="50832"/>
                      <a:pt x="-2800" y="35803"/>
                      <a:pt x="778" y="21035"/>
                    </a:cubicBezTo>
                    <a:cubicBezTo>
                      <a:pt x="4421" y="6267"/>
                      <a:pt x="19449" y="-2841"/>
                      <a:pt x="34217" y="803"/>
                    </a:cubicBezTo>
                  </a:path>
                </a:pathLst>
              </a:custGeom>
              <a:noFill/>
              <a:ln w="19050" cap="sq">
                <a:solidFill>
                  <a:srgbClr val="1D3EB6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63" name="Forma livre: Forma 62">
                <a:extLst>
                  <a:ext uri="{FF2B5EF4-FFF2-40B4-BE49-F238E27FC236}">
                    <a16:creationId xmlns:a16="http://schemas.microsoft.com/office/drawing/2014/main" id="{3C794212-8C28-1E68-5A5C-10206C3E6D32}"/>
                  </a:ext>
                </a:extLst>
              </p:cNvPr>
              <p:cNvSpPr/>
              <p:nvPr/>
            </p:nvSpPr>
            <p:spPr>
              <a:xfrm>
                <a:off x="6073547" y="1527543"/>
                <a:ext cx="114760" cy="72506"/>
              </a:xfrm>
              <a:custGeom>
                <a:avLst/>
                <a:gdLst>
                  <a:gd name="connsiteX0" fmla="*/ 114760 w 114760"/>
                  <a:gd name="connsiteY0" fmla="*/ 7254 h 72506"/>
                  <a:gd name="connsiteX1" fmla="*/ 73905 w 114760"/>
                  <a:gd name="connsiteY1" fmla="*/ 8881 h 72506"/>
                  <a:gd name="connsiteX2" fmla="*/ 0 w 114760"/>
                  <a:gd name="connsiteY2" fmla="*/ 72506 h 725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14760" h="72506">
                    <a:moveTo>
                      <a:pt x="114760" y="7254"/>
                    </a:moveTo>
                    <a:cubicBezTo>
                      <a:pt x="103375" y="-2830"/>
                      <a:pt x="83989" y="-2504"/>
                      <a:pt x="73905" y="8881"/>
                    </a:cubicBezTo>
                    <a:cubicBezTo>
                      <a:pt x="73905" y="8881"/>
                      <a:pt x="31488" y="72506"/>
                      <a:pt x="0" y="72506"/>
                    </a:cubicBezTo>
                  </a:path>
                </a:pathLst>
              </a:custGeom>
              <a:noFill/>
              <a:ln w="19050" cap="sq">
                <a:solidFill>
                  <a:srgbClr val="1D3EB6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64" name="Forma livre: Forma 63">
                <a:extLst>
                  <a:ext uri="{FF2B5EF4-FFF2-40B4-BE49-F238E27FC236}">
                    <a16:creationId xmlns:a16="http://schemas.microsoft.com/office/drawing/2014/main" id="{F4394ED3-32C8-408B-2935-043F7FE49C2F}"/>
                  </a:ext>
                </a:extLst>
              </p:cNvPr>
              <p:cNvSpPr/>
              <p:nvPr/>
            </p:nvSpPr>
            <p:spPr>
              <a:xfrm>
                <a:off x="6079857" y="1646956"/>
                <a:ext cx="29405" cy="9823"/>
              </a:xfrm>
              <a:custGeom>
                <a:avLst/>
                <a:gdLst>
                  <a:gd name="connsiteX0" fmla="*/ 0 w 29405"/>
                  <a:gd name="connsiteY0" fmla="*/ 0 h 9823"/>
                  <a:gd name="connsiteX1" fmla="*/ 29406 w 29405"/>
                  <a:gd name="connsiteY1" fmla="*/ 9824 h 98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9405" h="9823">
                    <a:moveTo>
                      <a:pt x="0" y="0"/>
                    </a:moveTo>
                    <a:lnTo>
                      <a:pt x="29406" y="9824"/>
                    </a:lnTo>
                  </a:path>
                </a:pathLst>
              </a:custGeom>
              <a:ln w="19050" cap="sq">
                <a:solidFill>
                  <a:srgbClr val="1D3EB6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65" name="Forma livre: Forma 64">
                <a:extLst>
                  <a:ext uri="{FF2B5EF4-FFF2-40B4-BE49-F238E27FC236}">
                    <a16:creationId xmlns:a16="http://schemas.microsoft.com/office/drawing/2014/main" id="{7F2FB92B-B399-D454-7587-32E090599ED4}"/>
                  </a:ext>
                </a:extLst>
              </p:cNvPr>
              <p:cNvSpPr/>
              <p:nvPr/>
            </p:nvSpPr>
            <p:spPr>
              <a:xfrm>
                <a:off x="6061121" y="1545272"/>
                <a:ext cx="47166" cy="34154"/>
              </a:xfrm>
              <a:custGeom>
                <a:avLst/>
                <a:gdLst>
                  <a:gd name="connsiteX0" fmla="*/ 0 w 47166"/>
                  <a:gd name="connsiteY0" fmla="*/ 0 h 34154"/>
                  <a:gd name="connsiteX1" fmla="*/ 47166 w 47166"/>
                  <a:gd name="connsiteY1" fmla="*/ 34155 h 341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166" h="34154">
                    <a:moveTo>
                      <a:pt x="0" y="0"/>
                    </a:moveTo>
                    <a:cubicBezTo>
                      <a:pt x="0" y="0"/>
                      <a:pt x="27649" y="13011"/>
                      <a:pt x="47166" y="34155"/>
                    </a:cubicBezTo>
                  </a:path>
                </a:pathLst>
              </a:custGeom>
              <a:noFill/>
              <a:ln w="19050" cap="sq">
                <a:solidFill>
                  <a:srgbClr val="1D3EB6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46" name="Gráfico 32">
              <a:extLst>
                <a:ext uri="{FF2B5EF4-FFF2-40B4-BE49-F238E27FC236}">
                  <a16:creationId xmlns:a16="http://schemas.microsoft.com/office/drawing/2014/main" id="{D54396AC-CB77-579D-4259-15AC05A51029}"/>
                </a:ext>
              </a:extLst>
            </p:cNvPr>
            <p:cNvGrpSpPr/>
            <p:nvPr/>
          </p:nvGrpSpPr>
          <p:grpSpPr>
            <a:xfrm>
              <a:off x="6191625" y="1599725"/>
              <a:ext cx="173767" cy="157112"/>
              <a:chOff x="6191625" y="1599725"/>
              <a:chExt cx="173767" cy="157112"/>
            </a:xfrm>
            <a:noFill/>
          </p:grpSpPr>
          <p:sp>
            <p:nvSpPr>
              <p:cNvPr id="56" name="Forma livre: Forma 55">
                <a:extLst>
                  <a:ext uri="{FF2B5EF4-FFF2-40B4-BE49-F238E27FC236}">
                    <a16:creationId xmlns:a16="http://schemas.microsoft.com/office/drawing/2014/main" id="{B1EC582B-85F0-93A5-EB44-1ED87570F447}"/>
                  </a:ext>
                </a:extLst>
              </p:cNvPr>
              <p:cNvSpPr/>
              <p:nvPr/>
            </p:nvSpPr>
            <p:spPr>
              <a:xfrm>
                <a:off x="6310094" y="1621974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rgbClr val="1D3EB6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7" name="Forma livre: Forma 56">
                <a:extLst>
                  <a:ext uri="{FF2B5EF4-FFF2-40B4-BE49-F238E27FC236}">
                    <a16:creationId xmlns:a16="http://schemas.microsoft.com/office/drawing/2014/main" id="{37C9F50C-ECF6-7B82-CC86-633F47DAC81F}"/>
                  </a:ext>
                </a:extLst>
              </p:cNvPr>
              <p:cNvSpPr/>
              <p:nvPr/>
            </p:nvSpPr>
            <p:spPr>
              <a:xfrm>
                <a:off x="6191625" y="1599725"/>
                <a:ext cx="118078" cy="49898"/>
              </a:xfrm>
              <a:custGeom>
                <a:avLst/>
                <a:gdLst>
                  <a:gd name="connsiteX0" fmla="*/ 0 w 118078"/>
                  <a:gd name="connsiteY0" fmla="*/ 0 h 49898"/>
                  <a:gd name="connsiteX1" fmla="*/ 37343 w 118078"/>
                  <a:gd name="connsiteY1" fmla="*/ 0 h 49898"/>
                  <a:gd name="connsiteX2" fmla="*/ 87176 w 118078"/>
                  <a:gd name="connsiteY2" fmla="*/ 49899 h 49898"/>
                  <a:gd name="connsiteX3" fmla="*/ 118078 w 118078"/>
                  <a:gd name="connsiteY3" fmla="*/ 49899 h 49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8078" h="49898">
                    <a:moveTo>
                      <a:pt x="0" y="0"/>
                    </a:moveTo>
                    <a:lnTo>
                      <a:pt x="37343" y="0"/>
                    </a:lnTo>
                    <a:lnTo>
                      <a:pt x="87176" y="49899"/>
                    </a:lnTo>
                    <a:lnTo>
                      <a:pt x="118078" y="49899"/>
                    </a:lnTo>
                  </a:path>
                </a:pathLst>
              </a:custGeom>
              <a:noFill/>
              <a:ln w="19050" cap="sq">
                <a:solidFill>
                  <a:srgbClr val="1D3EB6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8" name="Forma livre: Forma 57">
                <a:extLst>
                  <a:ext uri="{FF2B5EF4-FFF2-40B4-BE49-F238E27FC236}">
                    <a16:creationId xmlns:a16="http://schemas.microsoft.com/office/drawing/2014/main" id="{2A111C6D-C4B6-C7FE-0A5E-7B83222DE4D2}"/>
                  </a:ext>
                </a:extLst>
              </p:cNvPr>
              <p:cNvSpPr/>
              <p:nvPr/>
            </p:nvSpPr>
            <p:spPr>
              <a:xfrm>
                <a:off x="6191625" y="1665367"/>
                <a:ext cx="81906" cy="44108"/>
              </a:xfrm>
              <a:custGeom>
                <a:avLst/>
                <a:gdLst>
                  <a:gd name="connsiteX0" fmla="*/ 0 w 81906"/>
                  <a:gd name="connsiteY0" fmla="*/ 0 h 44108"/>
                  <a:gd name="connsiteX1" fmla="*/ 37343 w 81906"/>
                  <a:gd name="connsiteY1" fmla="*/ 0 h 44108"/>
                  <a:gd name="connsiteX2" fmla="*/ 81907 w 81906"/>
                  <a:gd name="connsiteY2" fmla="*/ 44109 h 441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1906" h="44108">
                    <a:moveTo>
                      <a:pt x="0" y="0"/>
                    </a:moveTo>
                    <a:lnTo>
                      <a:pt x="37343" y="0"/>
                    </a:lnTo>
                    <a:lnTo>
                      <a:pt x="81907" y="44109"/>
                    </a:lnTo>
                  </a:path>
                </a:pathLst>
              </a:custGeom>
              <a:noFill/>
              <a:ln w="19050" cap="sq">
                <a:solidFill>
                  <a:srgbClr val="1D3EB6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9" name="Forma livre: Forma 58">
                <a:extLst>
                  <a:ext uri="{FF2B5EF4-FFF2-40B4-BE49-F238E27FC236}">
                    <a16:creationId xmlns:a16="http://schemas.microsoft.com/office/drawing/2014/main" id="{51859618-8E99-F2E3-A18F-DB1F167CB2F3}"/>
                  </a:ext>
                </a:extLst>
              </p:cNvPr>
              <p:cNvSpPr/>
              <p:nvPr/>
            </p:nvSpPr>
            <p:spPr>
              <a:xfrm>
                <a:off x="6265075" y="1701539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rgbClr val="1D3EB6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47" name="Gráfico 32">
              <a:extLst>
                <a:ext uri="{FF2B5EF4-FFF2-40B4-BE49-F238E27FC236}">
                  <a16:creationId xmlns:a16="http://schemas.microsoft.com/office/drawing/2014/main" id="{09454829-1CEB-8FEA-92B2-0C8A7EE82E2D}"/>
                </a:ext>
              </a:extLst>
            </p:cNvPr>
            <p:cNvGrpSpPr/>
            <p:nvPr/>
          </p:nvGrpSpPr>
          <p:grpSpPr>
            <a:xfrm>
              <a:off x="6191625" y="1357908"/>
              <a:ext cx="173767" cy="157112"/>
              <a:chOff x="6191625" y="1357908"/>
              <a:chExt cx="173767" cy="157112"/>
            </a:xfrm>
            <a:noFill/>
          </p:grpSpPr>
          <p:sp>
            <p:nvSpPr>
              <p:cNvPr id="52" name="Forma livre: Forma 51">
                <a:extLst>
                  <a:ext uri="{FF2B5EF4-FFF2-40B4-BE49-F238E27FC236}">
                    <a16:creationId xmlns:a16="http://schemas.microsoft.com/office/drawing/2014/main" id="{A1A8CE80-9DF3-E67E-1109-253359FD6454}"/>
                  </a:ext>
                </a:extLst>
              </p:cNvPr>
              <p:cNvSpPr/>
              <p:nvPr/>
            </p:nvSpPr>
            <p:spPr>
              <a:xfrm>
                <a:off x="6310094" y="1437472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0 h 55298"/>
                  <a:gd name="connsiteX2" fmla="*/ 0 w 55298"/>
                  <a:gd name="connsiteY2" fmla="*/ 27649 h 55298"/>
                  <a:gd name="connsiteX3" fmla="*/ 27649 w 55298"/>
                  <a:gd name="connsiteY3" fmla="*/ 55298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12361"/>
                      <a:pt x="42938" y="0"/>
                      <a:pt x="27649" y="0"/>
                    </a:cubicBezTo>
                    <a:cubicBezTo>
                      <a:pt x="12361" y="0"/>
                      <a:pt x="0" y="12361"/>
                      <a:pt x="0" y="27649"/>
                    </a:cubicBezTo>
                    <a:cubicBezTo>
                      <a:pt x="0" y="42938"/>
                      <a:pt x="12361" y="55298"/>
                      <a:pt x="27649" y="55298"/>
                    </a:cubicBezTo>
                    <a:cubicBezTo>
                      <a:pt x="42938" y="55298"/>
                      <a:pt x="55298" y="42938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rgbClr val="1D3EB6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3" name="Forma livre: Forma 52">
                <a:extLst>
                  <a:ext uri="{FF2B5EF4-FFF2-40B4-BE49-F238E27FC236}">
                    <a16:creationId xmlns:a16="http://schemas.microsoft.com/office/drawing/2014/main" id="{28AFA8AB-9697-32A9-0342-0C4ED0E4B15A}"/>
                  </a:ext>
                </a:extLst>
              </p:cNvPr>
              <p:cNvSpPr/>
              <p:nvPr/>
            </p:nvSpPr>
            <p:spPr>
              <a:xfrm>
                <a:off x="6191625" y="1465122"/>
                <a:ext cx="118468" cy="49898"/>
              </a:xfrm>
              <a:custGeom>
                <a:avLst/>
                <a:gdLst>
                  <a:gd name="connsiteX0" fmla="*/ 0 w 118468"/>
                  <a:gd name="connsiteY0" fmla="*/ 49899 h 49898"/>
                  <a:gd name="connsiteX1" fmla="*/ 37343 w 118468"/>
                  <a:gd name="connsiteY1" fmla="*/ 49899 h 49898"/>
                  <a:gd name="connsiteX2" fmla="*/ 87176 w 118468"/>
                  <a:gd name="connsiteY2" fmla="*/ 0 h 49898"/>
                  <a:gd name="connsiteX3" fmla="*/ 118469 w 118468"/>
                  <a:gd name="connsiteY3" fmla="*/ 0 h 49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8468" h="49898">
                    <a:moveTo>
                      <a:pt x="0" y="49899"/>
                    </a:moveTo>
                    <a:lnTo>
                      <a:pt x="37343" y="49899"/>
                    </a:lnTo>
                    <a:lnTo>
                      <a:pt x="87176" y="0"/>
                    </a:lnTo>
                    <a:lnTo>
                      <a:pt x="118469" y="0"/>
                    </a:lnTo>
                  </a:path>
                </a:pathLst>
              </a:custGeom>
              <a:noFill/>
              <a:ln w="19050" cap="sq">
                <a:solidFill>
                  <a:srgbClr val="1D3EB6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4" name="Forma livre: Forma 53">
                <a:extLst>
                  <a:ext uri="{FF2B5EF4-FFF2-40B4-BE49-F238E27FC236}">
                    <a16:creationId xmlns:a16="http://schemas.microsoft.com/office/drawing/2014/main" id="{20EE78C4-5F21-44BF-7FE8-022C2A4826FA}"/>
                  </a:ext>
                </a:extLst>
              </p:cNvPr>
              <p:cNvSpPr/>
              <p:nvPr/>
            </p:nvSpPr>
            <p:spPr>
              <a:xfrm>
                <a:off x="6191625" y="1405269"/>
                <a:ext cx="81451" cy="44043"/>
              </a:xfrm>
              <a:custGeom>
                <a:avLst/>
                <a:gdLst>
                  <a:gd name="connsiteX0" fmla="*/ 0 w 81451"/>
                  <a:gd name="connsiteY0" fmla="*/ 44044 h 44043"/>
                  <a:gd name="connsiteX1" fmla="*/ 37343 w 81451"/>
                  <a:gd name="connsiteY1" fmla="*/ 44044 h 44043"/>
                  <a:gd name="connsiteX2" fmla="*/ 81451 w 81451"/>
                  <a:gd name="connsiteY2" fmla="*/ 0 h 440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1451" h="44043">
                    <a:moveTo>
                      <a:pt x="0" y="44044"/>
                    </a:moveTo>
                    <a:lnTo>
                      <a:pt x="37343" y="44044"/>
                    </a:lnTo>
                    <a:lnTo>
                      <a:pt x="81451" y="0"/>
                    </a:lnTo>
                  </a:path>
                </a:pathLst>
              </a:custGeom>
              <a:noFill/>
              <a:ln w="19050" cap="sq">
                <a:solidFill>
                  <a:srgbClr val="1D3EB6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5" name="Forma livre: Forma 54">
                <a:extLst>
                  <a:ext uri="{FF2B5EF4-FFF2-40B4-BE49-F238E27FC236}">
                    <a16:creationId xmlns:a16="http://schemas.microsoft.com/office/drawing/2014/main" id="{80912542-C7F2-B2F5-DF89-C946A3308AD2}"/>
                  </a:ext>
                </a:extLst>
              </p:cNvPr>
              <p:cNvSpPr/>
              <p:nvPr/>
            </p:nvSpPr>
            <p:spPr>
              <a:xfrm>
                <a:off x="6265075" y="1357908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0 h 55298"/>
                  <a:gd name="connsiteX2" fmla="*/ 0 w 55298"/>
                  <a:gd name="connsiteY2" fmla="*/ 27649 h 55298"/>
                  <a:gd name="connsiteX3" fmla="*/ 27649 w 55298"/>
                  <a:gd name="connsiteY3" fmla="*/ 55298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12361"/>
                      <a:pt x="42938" y="0"/>
                      <a:pt x="27649" y="0"/>
                    </a:cubicBezTo>
                    <a:cubicBezTo>
                      <a:pt x="12361" y="0"/>
                      <a:pt x="0" y="12361"/>
                      <a:pt x="0" y="27649"/>
                    </a:cubicBezTo>
                    <a:cubicBezTo>
                      <a:pt x="0" y="42938"/>
                      <a:pt x="12361" y="55298"/>
                      <a:pt x="27649" y="55298"/>
                    </a:cubicBezTo>
                    <a:cubicBezTo>
                      <a:pt x="42938" y="55298"/>
                      <a:pt x="55298" y="42938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rgbClr val="1D3EB6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48" name="Gráfico 32">
              <a:extLst>
                <a:ext uri="{FF2B5EF4-FFF2-40B4-BE49-F238E27FC236}">
                  <a16:creationId xmlns:a16="http://schemas.microsoft.com/office/drawing/2014/main" id="{3EDC437D-9572-B4BD-DCDC-7AEC271285BB}"/>
                </a:ext>
              </a:extLst>
            </p:cNvPr>
            <p:cNvGrpSpPr/>
            <p:nvPr/>
          </p:nvGrpSpPr>
          <p:grpSpPr>
            <a:xfrm>
              <a:off x="6190910" y="1529723"/>
              <a:ext cx="123673" cy="55298"/>
              <a:chOff x="6190910" y="1529723"/>
              <a:chExt cx="123673" cy="55298"/>
            </a:xfrm>
            <a:noFill/>
          </p:grpSpPr>
          <p:sp>
            <p:nvSpPr>
              <p:cNvPr id="50" name="Forma livre: Forma 49">
                <a:extLst>
                  <a:ext uri="{FF2B5EF4-FFF2-40B4-BE49-F238E27FC236}">
                    <a16:creationId xmlns:a16="http://schemas.microsoft.com/office/drawing/2014/main" id="{A58EA26D-6EA5-A955-9AB9-F0DCB3E95021}"/>
                  </a:ext>
                </a:extLst>
              </p:cNvPr>
              <p:cNvSpPr/>
              <p:nvPr/>
            </p:nvSpPr>
            <p:spPr>
              <a:xfrm>
                <a:off x="6190910" y="1557372"/>
                <a:ext cx="68765" cy="6505"/>
              </a:xfrm>
              <a:custGeom>
                <a:avLst/>
                <a:gdLst>
                  <a:gd name="connsiteX0" fmla="*/ 0 w 68765"/>
                  <a:gd name="connsiteY0" fmla="*/ 0 h 6505"/>
                  <a:gd name="connsiteX1" fmla="*/ 68765 w 68765"/>
                  <a:gd name="connsiteY1" fmla="*/ 0 h 65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8765" h="6505">
                    <a:moveTo>
                      <a:pt x="0" y="0"/>
                    </a:moveTo>
                    <a:lnTo>
                      <a:pt x="68765" y="0"/>
                    </a:lnTo>
                  </a:path>
                </a:pathLst>
              </a:custGeom>
              <a:ln w="19050" cap="sq">
                <a:solidFill>
                  <a:srgbClr val="1D3EB6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1" name="Forma livre: Forma 50">
                <a:extLst>
                  <a:ext uri="{FF2B5EF4-FFF2-40B4-BE49-F238E27FC236}">
                    <a16:creationId xmlns:a16="http://schemas.microsoft.com/office/drawing/2014/main" id="{C2D396FF-6367-F0F3-C8B0-AA203E1B9DAA}"/>
                  </a:ext>
                </a:extLst>
              </p:cNvPr>
              <p:cNvSpPr/>
              <p:nvPr/>
            </p:nvSpPr>
            <p:spPr>
              <a:xfrm>
                <a:off x="6259285" y="1529723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rgbClr val="1D3EB6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49" name="Forma livre: Forma 48">
              <a:extLst>
                <a:ext uri="{FF2B5EF4-FFF2-40B4-BE49-F238E27FC236}">
                  <a16:creationId xmlns:a16="http://schemas.microsoft.com/office/drawing/2014/main" id="{00F9003A-002C-4E62-007C-D27B0B87570B}"/>
                </a:ext>
              </a:extLst>
            </p:cNvPr>
            <p:cNvSpPr/>
            <p:nvPr/>
          </p:nvSpPr>
          <p:spPr>
            <a:xfrm>
              <a:off x="6152201" y="1686285"/>
              <a:ext cx="37362" cy="20848"/>
            </a:xfrm>
            <a:custGeom>
              <a:avLst/>
              <a:gdLst>
                <a:gd name="connsiteX0" fmla="*/ 0 w 37362"/>
                <a:gd name="connsiteY0" fmla="*/ 10505 h 20848"/>
                <a:gd name="connsiteX1" fmla="*/ 27064 w 37362"/>
                <a:gd name="connsiteY1" fmla="*/ 2373 h 20848"/>
                <a:gd name="connsiteX2" fmla="*/ 37343 w 37362"/>
                <a:gd name="connsiteY2" fmla="*/ 20849 h 20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7362" h="20848">
                  <a:moveTo>
                    <a:pt x="0" y="10505"/>
                  </a:moveTo>
                  <a:cubicBezTo>
                    <a:pt x="5205" y="811"/>
                    <a:pt x="17435" y="-2832"/>
                    <a:pt x="27064" y="2373"/>
                  </a:cubicBezTo>
                  <a:cubicBezTo>
                    <a:pt x="34025" y="6081"/>
                    <a:pt x="37668" y="13432"/>
                    <a:pt x="37343" y="20849"/>
                  </a:cubicBezTo>
                </a:path>
              </a:pathLst>
            </a:custGeom>
            <a:noFill/>
            <a:ln w="19050" cap="sq">
              <a:solidFill>
                <a:srgbClr val="1D3EB6"/>
              </a:solidFill>
              <a:prstDash val="solid"/>
              <a:miter lim="800000"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66" name="Agrupar 65">
            <a:extLst>
              <a:ext uri="{FF2B5EF4-FFF2-40B4-BE49-F238E27FC236}">
                <a16:creationId xmlns:a16="http://schemas.microsoft.com/office/drawing/2014/main" id="{D8251133-9699-46AA-8D61-BDDEEDEDBF51}"/>
              </a:ext>
            </a:extLst>
          </p:cNvPr>
          <p:cNvGrpSpPr/>
          <p:nvPr/>
        </p:nvGrpSpPr>
        <p:grpSpPr>
          <a:xfrm>
            <a:off x="7788331" y="3127406"/>
            <a:ext cx="552340" cy="603188"/>
            <a:chOff x="6000092" y="1357908"/>
            <a:chExt cx="365300" cy="398929"/>
          </a:xfrm>
        </p:grpSpPr>
        <p:sp>
          <p:nvSpPr>
            <p:cNvPr id="67" name="Forma livre: Forma 66">
              <a:extLst>
                <a:ext uri="{FF2B5EF4-FFF2-40B4-BE49-F238E27FC236}">
                  <a16:creationId xmlns:a16="http://schemas.microsoft.com/office/drawing/2014/main" id="{B9C37450-550B-AA31-3339-DDD32AC972AA}"/>
                </a:ext>
              </a:extLst>
            </p:cNvPr>
            <p:cNvSpPr/>
            <p:nvPr/>
          </p:nvSpPr>
          <p:spPr>
            <a:xfrm>
              <a:off x="6000092" y="1418606"/>
              <a:ext cx="84058" cy="286120"/>
            </a:xfrm>
            <a:custGeom>
              <a:avLst/>
              <a:gdLst>
                <a:gd name="connsiteX0" fmla="*/ 51595 w 84058"/>
                <a:gd name="connsiteY0" fmla="*/ 0 h 286120"/>
                <a:gd name="connsiteX1" fmla="*/ 35266 w 84058"/>
                <a:gd name="connsiteY1" fmla="*/ 61674 h 286120"/>
                <a:gd name="connsiteX2" fmla="*/ 28760 w 84058"/>
                <a:gd name="connsiteY2" fmla="*/ 193415 h 286120"/>
                <a:gd name="connsiteX3" fmla="*/ 84059 w 84058"/>
                <a:gd name="connsiteY3" fmla="*/ 286121 h 2861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4058" h="286120">
                  <a:moveTo>
                    <a:pt x="51595" y="0"/>
                  </a:moveTo>
                  <a:cubicBezTo>
                    <a:pt x="37868" y="7872"/>
                    <a:pt x="26028" y="24852"/>
                    <a:pt x="35266" y="61674"/>
                  </a:cubicBezTo>
                  <a:cubicBezTo>
                    <a:pt x="35266" y="61674"/>
                    <a:pt x="-39549" y="126731"/>
                    <a:pt x="28760" y="193415"/>
                  </a:cubicBezTo>
                  <a:cubicBezTo>
                    <a:pt x="28760" y="193415"/>
                    <a:pt x="9243" y="281242"/>
                    <a:pt x="84059" y="286121"/>
                  </a:cubicBezTo>
                </a:path>
              </a:pathLst>
            </a:custGeom>
            <a:noFill/>
            <a:ln w="19050" cap="sq">
              <a:solidFill>
                <a:srgbClr val="1D3EB6"/>
              </a:solidFill>
              <a:prstDash val="solid"/>
              <a:miter lim="800000"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68" name="Gráfico 32">
              <a:extLst>
                <a:ext uri="{FF2B5EF4-FFF2-40B4-BE49-F238E27FC236}">
                  <a16:creationId xmlns:a16="http://schemas.microsoft.com/office/drawing/2014/main" id="{774E6AD9-E4C8-8B44-DDFE-4286E4B6001A}"/>
                </a:ext>
              </a:extLst>
            </p:cNvPr>
            <p:cNvGrpSpPr/>
            <p:nvPr/>
          </p:nvGrpSpPr>
          <p:grpSpPr>
            <a:xfrm>
              <a:off x="6061121" y="1359924"/>
              <a:ext cx="128487" cy="396366"/>
              <a:chOff x="6061121" y="1359924"/>
              <a:chExt cx="128487" cy="396366"/>
            </a:xfrm>
            <a:noFill/>
          </p:grpSpPr>
          <p:sp>
            <p:nvSpPr>
              <p:cNvPr id="83" name="Forma livre: Forma 82">
                <a:extLst>
                  <a:ext uri="{FF2B5EF4-FFF2-40B4-BE49-F238E27FC236}">
                    <a16:creationId xmlns:a16="http://schemas.microsoft.com/office/drawing/2014/main" id="{87CBD496-6CD4-1F79-6769-0143265DE832}"/>
                  </a:ext>
                </a:extLst>
              </p:cNvPr>
              <p:cNvSpPr/>
              <p:nvPr/>
            </p:nvSpPr>
            <p:spPr>
              <a:xfrm>
                <a:off x="6083891" y="1359924"/>
                <a:ext cx="105717" cy="396366"/>
              </a:xfrm>
              <a:custGeom>
                <a:avLst/>
                <a:gdLst>
                  <a:gd name="connsiteX0" fmla="*/ 52891 w 105717"/>
                  <a:gd name="connsiteY0" fmla="*/ 105718 h 396366"/>
                  <a:gd name="connsiteX1" fmla="*/ 0 w 105717"/>
                  <a:gd name="connsiteY1" fmla="*/ 52891 h 396366"/>
                  <a:gd name="connsiteX2" fmla="*/ 52891 w 105717"/>
                  <a:gd name="connsiteY2" fmla="*/ 0 h 396366"/>
                  <a:gd name="connsiteX3" fmla="*/ 105718 w 105717"/>
                  <a:gd name="connsiteY3" fmla="*/ 52826 h 396366"/>
                  <a:gd name="connsiteX4" fmla="*/ 105718 w 105717"/>
                  <a:gd name="connsiteY4" fmla="*/ 346884 h 396366"/>
                  <a:gd name="connsiteX5" fmla="*/ 80606 w 105717"/>
                  <a:gd name="connsiteY5" fmla="*/ 388911 h 396366"/>
                  <a:gd name="connsiteX6" fmla="*/ 9238 w 105717"/>
                  <a:gd name="connsiteY6" fmla="*/ 371150 h 396366"/>
                  <a:gd name="connsiteX7" fmla="*/ 15484 w 105717"/>
                  <a:gd name="connsiteY7" fmla="*/ 309216 h 396366"/>
                  <a:gd name="connsiteX8" fmla="*/ 45019 w 105717"/>
                  <a:gd name="connsiteY8" fmla="*/ 277078 h 3963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05717" h="396366">
                    <a:moveTo>
                      <a:pt x="52891" y="105718"/>
                    </a:moveTo>
                    <a:cubicBezTo>
                      <a:pt x="23681" y="105718"/>
                      <a:pt x="0" y="82037"/>
                      <a:pt x="0" y="52891"/>
                    </a:cubicBezTo>
                    <a:cubicBezTo>
                      <a:pt x="0" y="23746"/>
                      <a:pt x="23681" y="0"/>
                      <a:pt x="52891" y="0"/>
                    </a:cubicBezTo>
                    <a:cubicBezTo>
                      <a:pt x="82102" y="0"/>
                      <a:pt x="105718" y="23681"/>
                      <a:pt x="105718" y="52826"/>
                    </a:cubicBezTo>
                    <a:lnTo>
                      <a:pt x="105718" y="346884"/>
                    </a:lnTo>
                    <a:cubicBezTo>
                      <a:pt x="105718" y="364580"/>
                      <a:pt x="96414" y="379413"/>
                      <a:pt x="80606" y="388911"/>
                    </a:cubicBezTo>
                    <a:cubicBezTo>
                      <a:pt x="55949" y="403744"/>
                      <a:pt x="24006" y="395742"/>
                      <a:pt x="9238" y="371150"/>
                    </a:cubicBezTo>
                    <a:cubicBezTo>
                      <a:pt x="-2928" y="350918"/>
                      <a:pt x="260" y="325741"/>
                      <a:pt x="15484" y="309216"/>
                    </a:cubicBezTo>
                    <a:lnTo>
                      <a:pt x="45019" y="277078"/>
                    </a:lnTo>
                  </a:path>
                </a:pathLst>
              </a:custGeom>
              <a:noFill/>
              <a:ln w="19050" cap="sq">
                <a:solidFill>
                  <a:srgbClr val="1D3EB6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84" name="Forma livre: Forma 83">
                <a:extLst>
                  <a:ext uri="{FF2B5EF4-FFF2-40B4-BE49-F238E27FC236}">
                    <a16:creationId xmlns:a16="http://schemas.microsoft.com/office/drawing/2014/main" id="{04DFA1C4-512D-AEDA-5473-3950D838543E}"/>
                  </a:ext>
                </a:extLst>
              </p:cNvPr>
              <p:cNvSpPr/>
              <p:nvPr/>
            </p:nvSpPr>
            <p:spPr>
              <a:xfrm>
                <a:off x="6144784" y="1383865"/>
                <a:ext cx="41563" cy="38963"/>
              </a:xfrm>
              <a:custGeom>
                <a:avLst/>
                <a:gdLst>
                  <a:gd name="connsiteX0" fmla="*/ 36172 w 41563"/>
                  <a:gd name="connsiteY0" fmla="*/ 0 h 38963"/>
                  <a:gd name="connsiteX1" fmla="*/ 39425 w 41563"/>
                  <a:gd name="connsiteY1" fmla="*/ 24266 h 38963"/>
                  <a:gd name="connsiteX2" fmla="*/ 36432 w 41563"/>
                  <a:gd name="connsiteY2" fmla="*/ 29080 h 38963"/>
                  <a:gd name="connsiteX3" fmla="*/ 0 w 41563"/>
                  <a:gd name="connsiteY3" fmla="*/ 33439 h 389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563" h="38963">
                    <a:moveTo>
                      <a:pt x="36172" y="0"/>
                    </a:moveTo>
                    <a:cubicBezTo>
                      <a:pt x="41571" y="7547"/>
                      <a:pt x="43393" y="16004"/>
                      <a:pt x="39425" y="24266"/>
                    </a:cubicBezTo>
                    <a:cubicBezTo>
                      <a:pt x="38644" y="25893"/>
                      <a:pt x="37603" y="27519"/>
                      <a:pt x="36432" y="29080"/>
                    </a:cubicBezTo>
                    <a:cubicBezTo>
                      <a:pt x="27584" y="40270"/>
                      <a:pt x="11190" y="42287"/>
                      <a:pt x="0" y="33439"/>
                    </a:cubicBezTo>
                  </a:path>
                </a:pathLst>
              </a:custGeom>
              <a:noFill/>
              <a:ln w="19050" cap="sq">
                <a:solidFill>
                  <a:srgbClr val="1D3EB6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85" name="Forma livre: Forma 84">
                <a:extLst>
                  <a:ext uri="{FF2B5EF4-FFF2-40B4-BE49-F238E27FC236}">
                    <a16:creationId xmlns:a16="http://schemas.microsoft.com/office/drawing/2014/main" id="{B006998F-E9D0-852A-458D-529A73C578EA}"/>
                  </a:ext>
                </a:extLst>
              </p:cNvPr>
              <p:cNvSpPr/>
              <p:nvPr/>
            </p:nvSpPr>
            <p:spPr>
              <a:xfrm>
                <a:off x="6081487" y="1460806"/>
                <a:ext cx="34217" cy="54474"/>
              </a:xfrm>
              <a:custGeom>
                <a:avLst/>
                <a:gdLst>
                  <a:gd name="connsiteX0" fmla="*/ 21076 w 34217"/>
                  <a:gd name="connsiteY0" fmla="*/ 54475 h 54474"/>
                  <a:gd name="connsiteX1" fmla="*/ 778 w 34217"/>
                  <a:gd name="connsiteY1" fmla="*/ 21035 h 54474"/>
                  <a:gd name="connsiteX2" fmla="*/ 34217 w 34217"/>
                  <a:gd name="connsiteY2" fmla="*/ 803 h 544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4217" h="54474">
                    <a:moveTo>
                      <a:pt x="21076" y="54475"/>
                    </a:moveTo>
                    <a:cubicBezTo>
                      <a:pt x="6308" y="50832"/>
                      <a:pt x="-2800" y="35803"/>
                      <a:pt x="778" y="21035"/>
                    </a:cubicBezTo>
                    <a:cubicBezTo>
                      <a:pt x="4421" y="6267"/>
                      <a:pt x="19449" y="-2841"/>
                      <a:pt x="34217" y="803"/>
                    </a:cubicBezTo>
                  </a:path>
                </a:pathLst>
              </a:custGeom>
              <a:noFill/>
              <a:ln w="19050" cap="sq">
                <a:solidFill>
                  <a:srgbClr val="1D3EB6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86" name="Forma livre: Forma 85">
                <a:extLst>
                  <a:ext uri="{FF2B5EF4-FFF2-40B4-BE49-F238E27FC236}">
                    <a16:creationId xmlns:a16="http://schemas.microsoft.com/office/drawing/2014/main" id="{A2A93BEB-70CD-BC36-08A0-31C53AA88173}"/>
                  </a:ext>
                </a:extLst>
              </p:cNvPr>
              <p:cNvSpPr/>
              <p:nvPr/>
            </p:nvSpPr>
            <p:spPr>
              <a:xfrm>
                <a:off x="6073547" y="1527543"/>
                <a:ext cx="114760" cy="72506"/>
              </a:xfrm>
              <a:custGeom>
                <a:avLst/>
                <a:gdLst>
                  <a:gd name="connsiteX0" fmla="*/ 114760 w 114760"/>
                  <a:gd name="connsiteY0" fmla="*/ 7254 h 72506"/>
                  <a:gd name="connsiteX1" fmla="*/ 73905 w 114760"/>
                  <a:gd name="connsiteY1" fmla="*/ 8881 h 72506"/>
                  <a:gd name="connsiteX2" fmla="*/ 0 w 114760"/>
                  <a:gd name="connsiteY2" fmla="*/ 72506 h 725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14760" h="72506">
                    <a:moveTo>
                      <a:pt x="114760" y="7254"/>
                    </a:moveTo>
                    <a:cubicBezTo>
                      <a:pt x="103375" y="-2830"/>
                      <a:pt x="83989" y="-2504"/>
                      <a:pt x="73905" y="8881"/>
                    </a:cubicBezTo>
                    <a:cubicBezTo>
                      <a:pt x="73905" y="8881"/>
                      <a:pt x="31488" y="72506"/>
                      <a:pt x="0" y="72506"/>
                    </a:cubicBezTo>
                  </a:path>
                </a:pathLst>
              </a:custGeom>
              <a:noFill/>
              <a:ln w="19050" cap="sq">
                <a:solidFill>
                  <a:srgbClr val="1D3EB6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87" name="Forma livre: Forma 86">
                <a:extLst>
                  <a:ext uri="{FF2B5EF4-FFF2-40B4-BE49-F238E27FC236}">
                    <a16:creationId xmlns:a16="http://schemas.microsoft.com/office/drawing/2014/main" id="{7129218B-C836-92DB-148C-297FAA7BDE69}"/>
                  </a:ext>
                </a:extLst>
              </p:cNvPr>
              <p:cNvSpPr/>
              <p:nvPr/>
            </p:nvSpPr>
            <p:spPr>
              <a:xfrm>
                <a:off x="6079857" y="1646956"/>
                <a:ext cx="29405" cy="9823"/>
              </a:xfrm>
              <a:custGeom>
                <a:avLst/>
                <a:gdLst>
                  <a:gd name="connsiteX0" fmla="*/ 0 w 29405"/>
                  <a:gd name="connsiteY0" fmla="*/ 0 h 9823"/>
                  <a:gd name="connsiteX1" fmla="*/ 29406 w 29405"/>
                  <a:gd name="connsiteY1" fmla="*/ 9824 h 98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9405" h="9823">
                    <a:moveTo>
                      <a:pt x="0" y="0"/>
                    </a:moveTo>
                    <a:lnTo>
                      <a:pt x="29406" y="9824"/>
                    </a:lnTo>
                  </a:path>
                </a:pathLst>
              </a:custGeom>
              <a:ln w="19050" cap="sq">
                <a:solidFill>
                  <a:srgbClr val="1D3EB6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88" name="Forma livre: Forma 87">
                <a:extLst>
                  <a:ext uri="{FF2B5EF4-FFF2-40B4-BE49-F238E27FC236}">
                    <a16:creationId xmlns:a16="http://schemas.microsoft.com/office/drawing/2014/main" id="{3077B356-B0E9-75D5-BF4C-6F3498340843}"/>
                  </a:ext>
                </a:extLst>
              </p:cNvPr>
              <p:cNvSpPr/>
              <p:nvPr/>
            </p:nvSpPr>
            <p:spPr>
              <a:xfrm>
                <a:off x="6061121" y="1545272"/>
                <a:ext cx="47166" cy="34154"/>
              </a:xfrm>
              <a:custGeom>
                <a:avLst/>
                <a:gdLst>
                  <a:gd name="connsiteX0" fmla="*/ 0 w 47166"/>
                  <a:gd name="connsiteY0" fmla="*/ 0 h 34154"/>
                  <a:gd name="connsiteX1" fmla="*/ 47166 w 47166"/>
                  <a:gd name="connsiteY1" fmla="*/ 34155 h 341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166" h="34154">
                    <a:moveTo>
                      <a:pt x="0" y="0"/>
                    </a:moveTo>
                    <a:cubicBezTo>
                      <a:pt x="0" y="0"/>
                      <a:pt x="27649" y="13011"/>
                      <a:pt x="47166" y="34155"/>
                    </a:cubicBezTo>
                  </a:path>
                </a:pathLst>
              </a:custGeom>
              <a:noFill/>
              <a:ln w="19050" cap="sq">
                <a:solidFill>
                  <a:srgbClr val="1D3EB6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69" name="Gráfico 32">
              <a:extLst>
                <a:ext uri="{FF2B5EF4-FFF2-40B4-BE49-F238E27FC236}">
                  <a16:creationId xmlns:a16="http://schemas.microsoft.com/office/drawing/2014/main" id="{660BBC4F-EAB1-8CCE-3361-FFE763D85C0F}"/>
                </a:ext>
              </a:extLst>
            </p:cNvPr>
            <p:cNvGrpSpPr/>
            <p:nvPr/>
          </p:nvGrpSpPr>
          <p:grpSpPr>
            <a:xfrm>
              <a:off x="6191625" y="1599725"/>
              <a:ext cx="173767" cy="157112"/>
              <a:chOff x="6191625" y="1599725"/>
              <a:chExt cx="173767" cy="157112"/>
            </a:xfrm>
            <a:noFill/>
          </p:grpSpPr>
          <p:sp>
            <p:nvSpPr>
              <p:cNvPr id="79" name="Forma livre: Forma 78">
                <a:extLst>
                  <a:ext uri="{FF2B5EF4-FFF2-40B4-BE49-F238E27FC236}">
                    <a16:creationId xmlns:a16="http://schemas.microsoft.com/office/drawing/2014/main" id="{786736DF-B8E7-753D-0FFB-8A97013AD46F}"/>
                  </a:ext>
                </a:extLst>
              </p:cNvPr>
              <p:cNvSpPr/>
              <p:nvPr/>
            </p:nvSpPr>
            <p:spPr>
              <a:xfrm>
                <a:off x="6310094" y="1621974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rgbClr val="1D3EB6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80" name="Forma livre: Forma 79">
                <a:extLst>
                  <a:ext uri="{FF2B5EF4-FFF2-40B4-BE49-F238E27FC236}">
                    <a16:creationId xmlns:a16="http://schemas.microsoft.com/office/drawing/2014/main" id="{CE75B564-45C1-AB08-D38E-7C6DA2156686}"/>
                  </a:ext>
                </a:extLst>
              </p:cNvPr>
              <p:cNvSpPr/>
              <p:nvPr/>
            </p:nvSpPr>
            <p:spPr>
              <a:xfrm>
                <a:off x="6191625" y="1599725"/>
                <a:ext cx="118078" cy="49898"/>
              </a:xfrm>
              <a:custGeom>
                <a:avLst/>
                <a:gdLst>
                  <a:gd name="connsiteX0" fmla="*/ 0 w 118078"/>
                  <a:gd name="connsiteY0" fmla="*/ 0 h 49898"/>
                  <a:gd name="connsiteX1" fmla="*/ 37343 w 118078"/>
                  <a:gd name="connsiteY1" fmla="*/ 0 h 49898"/>
                  <a:gd name="connsiteX2" fmla="*/ 87176 w 118078"/>
                  <a:gd name="connsiteY2" fmla="*/ 49899 h 49898"/>
                  <a:gd name="connsiteX3" fmla="*/ 118078 w 118078"/>
                  <a:gd name="connsiteY3" fmla="*/ 49899 h 49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8078" h="49898">
                    <a:moveTo>
                      <a:pt x="0" y="0"/>
                    </a:moveTo>
                    <a:lnTo>
                      <a:pt x="37343" y="0"/>
                    </a:lnTo>
                    <a:lnTo>
                      <a:pt x="87176" y="49899"/>
                    </a:lnTo>
                    <a:lnTo>
                      <a:pt x="118078" y="49899"/>
                    </a:lnTo>
                  </a:path>
                </a:pathLst>
              </a:custGeom>
              <a:noFill/>
              <a:ln w="19050" cap="sq">
                <a:solidFill>
                  <a:srgbClr val="1D3EB6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81" name="Forma livre: Forma 80">
                <a:extLst>
                  <a:ext uri="{FF2B5EF4-FFF2-40B4-BE49-F238E27FC236}">
                    <a16:creationId xmlns:a16="http://schemas.microsoft.com/office/drawing/2014/main" id="{761B4655-9D8F-BEB1-077A-C53B5919A4E6}"/>
                  </a:ext>
                </a:extLst>
              </p:cNvPr>
              <p:cNvSpPr/>
              <p:nvPr/>
            </p:nvSpPr>
            <p:spPr>
              <a:xfrm>
                <a:off x="6191625" y="1665367"/>
                <a:ext cx="81906" cy="44108"/>
              </a:xfrm>
              <a:custGeom>
                <a:avLst/>
                <a:gdLst>
                  <a:gd name="connsiteX0" fmla="*/ 0 w 81906"/>
                  <a:gd name="connsiteY0" fmla="*/ 0 h 44108"/>
                  <a:gd name="connsiteX1" fmla="*/ 37343 w 81906"/>
                  <a:gd name="connsiteY1" fmla="*/ 0 h 44108"/>
                  <a:gd name="connsiteX2" fmla="*/ 81907 w 81906"/>
                  <a:gd name="connsiteY2" fmla="*/ 44109 h 441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1906" h="44108">
                    <a:moveTo>
                      <a:pt x="0" y="0"/>
                    </a:moveTo>
                    <a:lnTo>
                      <a:pt x="37343" y="0"/>
                    </a:lnTo>
                    <a:lnTo>
                      <a:pt x="81907" y="44109"/>
                    </a:lnTo>
                  </a:path>
                </a:pathLst>
              </a:custGeom>
              <a:noFill/>
              <a:ln w="19050" cap="sq">
                <a:solidFill>
                  <a:srgbClr val="1D3EB6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82" name="Forma livre: Forma 81">
                <a:extLst>
                  <a:ext uri="{FF2B5EF4-FFF2-40B4-BE49-F238E27FC236}">
                    <a16:creationId xmlns:a16="http://schemas.microsoft.com/office/drawing/2014/main" id="{F6C92522-EFAB-B90F-F62D-F05AC6CA8DEA}"/>
                  </a:ext>
                </a:extLst>
              </p:cNvPr>
              <p:cNvSpPr/>
              <p:nvPr/>
            </p:nvSpPr>
            <p:spPr>
              <a:xfrm>
                <a:off x="6265075" y="1701539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rgbClr val="1D3EB6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70" name="Gráfico 32">
              <a:extLst>
                <a:ext uri="{FF2B5EF4-FFF2-40B4-BE49-F238E27FC236}">
                  <a16:creationId xmlns:a16="http://schemas.microsoft.com/office/drawing/2014/main" id="{1AAEE92C-C7A2-0358-B075-C6AC2CB64C60}"/>
                </a:ext>
              </a:extLst>
            </p:cNvPr>
            <p:cNvGrpSpPr/>
            <p:nvPr/>
          </p:nvGrpSpPr>
          <p:grpSpPr>
            <a:xfrm>
              <a:off x="6191625" y="1357908"/>
              <a:ext cx="173767" cy="157112"/>
              <a:chOff x="6191625" y="1357908"/>
              <a:chExt cx="173767" cy="157112"/>
            </a:xfrm>
            <a:noFill/>
          </p:grpSpPr>
          <p:sp>
            <p:nvSpPr>
              <p:cNvPr id="75" name="Forma livre: Forma 74">
                <a:extLst>
                  <a:ext uri="{FF2B5EF4-FFF2-40B4-BE49-F238E27FC236}">
                    <a16:creationId xmlns:a16="http://schemas.microsoft.com/office/drawing/2014/main" id="{E3034E50-1851-5357-B468-A3D6A28B8FDC}"/>
                  </a:ext>
                </a:extLst>
              </p:cNvPr>
              <p:cNvSpPr/>
              <p:nvPr/>
            </p:nvSpPr>
            <p:spPr>
              <a:xfrm>
                <a:off x="6310094" y="1437472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0 h 55298"/>
                  <a:gd name="connsiteX2" fmla="*/ 0 w 55298"/>
                  <a:gd name="connsiteY2" fmla="*/ 27649 h 55298"/>
                  <a:gd name="connsiteX3" fmla="*/ 27649 w 55298"/>
                  <a:gd name="connsiteY3" fmla="*/ 55298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12361"/>
                      <a:pt x="42938" y="0"/>
                      <a:pt x="27649" y="0"/>
                    </a:cubicBezTo>
                    <a:cubicBezTo>
                      <a:pt x="12361" y="0"/>
                      <a:pt x="0" y="12361"/>
                      <a:pt x="0" y="27649"/>
                    </a:cubicBezTo>
                    <a:cubicBezTo>
                      <a:pt x="0" y="42938"/>
                      <a:pt x="12361" y="55298"/>
                      <a:pt x="27649" y="55298"/>
                    </a:cubicBezTo>
                    <a:cubicBezTo>
                      <a:pt x="42938" y="55298"/>
                      <a:pt x="55298" y="42938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rgbClr val="1D3EB6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6" name="Forma livre: Forma 75">
                <a:extLst>
                  <a:ext uri="{FF2B5EF4-FFF2-40B4-BE49-F238E27FC236}">
                    <a16:creationId xmlns:a16="http://schemas.microsoft.com/office/drawing/2014/main" id="{0DF0516C-9FFA-5DA4-7750-03C2C64708FD}"/>
                  </a:ext>
                </a:extLst>
              </p:cNvPr>
              <p:cNvSpPr/>
              <p:nvPr/>
            </p:nvSpPr>
            <p:spPr>
              <a:xfrm>
                <a:off x="6191625" y="1465122"/>
                <a:ext cx="118468" cy="49898"/>
              </a:xfrm>
              <a:custGeom>
                <a:avLst/>
                <a:gdLst>
                  <a:gd name="connsiteX0" fmla="*/ 0 w 118468"/>
                  <a:gd name="connsiteY0" fmla="*/ 49899 h 49898"/>
                  <a:gd name="connsiteX1" fmla="*/ 37343 w 118468"/>
                  <a:gd name="connsiteY1" fmla="*/ 49899 h 49898"/>
                  <a:gd name="connsiteX2" fmla="*/ 87176 w 118468"/>
                  <a:gd name="connsiteY2" fmla="*/ 0 h 49898"/>
                  <a:gd name="connsiteX3" fmla="*/ 118469 w 118468"/>
                  <a:gd name="connsiteY3" fmla="*/ 0 h 49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8468" h="49898">
                    <a:moveTo>
                      <a:pt x="0" y="49899"/>
                    </a:moveTo>
                    <a:lnTo>
                      <a:pt x="37343" y="49899"/>
                    </a:lnTo>
                    <a:lnTo>
                      <a:pt x="87176" y="0"/>
                    </a:lnTo>
                    <a:lnTo>
                      <a:pt x="118469" y="0"/>
                    </a:lnTo>
                  </a:path>
                </a:pathLst>
              </a:custGeom>
              <a:noFill/>
              <a:ln w="19050" cap="sq">
                <a:solidFill>
                  <a:srgbClr val="1D3EB6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7" name="Forma livre: Forma 76">
                <a:extLst>
                  <a:ext uri="{FF2B5EF4-FFF2-40B4-BE49-F238E27FC236}">
                    <a16:creationId xmlns:a16="http://schemas.microsoft.com/office/drawing/2014/main" id="{E9B670DB-6A9F-6235-AA18-E90253ACC46B}"/>
                  </a:ext>
                </a:extLst>
              </p:cNvPr>
              <p:cNvSpPr/>
              <p:nvPr/>
            </p:nvSpPr>
            <p:spPr>
              <a:xfrm>
                <a:off x="6191625" y="1405269"/>
                <a:ext cx="81451" cy="44043"/>
              </a:xfrm>
              <a:custGeom>
                <a:avLst/>
                <a:gdLst>
                  <a:gd name="connsiteX0" fmla="*/ 0 w 81451"/>
                  <a:gd name="connsiteY0" fmla="*/ 44044 h 44043"/>
                  <a:gd name="connsiteX1" fmla="*/ 37343 w 81451"/>
                  <a:gd name="connsiteY1" fmla="*/ 44044 h 44043"/>
                  <a:gd name="connsiteX2" fmla="*/ 81451 w 81451"/>
                  <a:gd name="connsiteY2" fmla="*/ 0 h 440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1451" h="44043">
                    <a:moveTo>
                      <a:pt x="0" y="44044"/>
                    </a:moveTo>
                    <a:lnTo>
                      <a:pt x="37343" y="44044"/>
                    </a:lnTo>
                    <a:lnTo>
                      <a:pt x="81451" y="0"/>
                    </a:lnTo>
                  </a:path>
                </a:pathLst>
              </a:custGeom>
              <a:noFill/>
              <a:ln w="19050" cap="sq">
                <a:solidFill>
                  <a:srgbClr val="1D3EB6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8" name="Forma livre: Forma 77">
                <a:extLst>
                  <a:ext uri="{FF2B5EF4-FFF2-40B4-BE49-F238E27FC236}">
                    <a16:creationId xmlns:a16="http://schemas.microsoft.com/office/drawing/2014/main" id="{B9C78061-8D8D-F117-907E-6B56D608C00D}"/>
                  </a:ext>
                </a:extLst>
              </p:cNvPr>
              <p:cNvSpPr/>
              <p:nvPr/>
            </p:nvSpPr>
            <p:spPr>
              <a:xfrm>
                <a:off x="6265075" y="1357908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0 h 55298"/>
                  <a:gd name="connsiteX2" fmla="*/ 0 w 55298"/>
                  <a:gd name="connsiteY2" fmla="*/ 27649 h 55298"/>
                  <a:gd name="connsiteX3" fmla="*/ 27649 w 55298"/>
                  <a:gd name="connsiteY3" fmla="*/ 55298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12361"/>
                      <a:pt x="42938" y="0"/>
                      <a:pt x="27649" y="0"/>
                    </a:cubicBezTo>
                    <a:cubicBezTo>
                      <a:pt x="12361" y="0"/>
                      <a:pt x="0" y="12361"/>
                      <a:pt x="0" y="27649"/>
                    </a:cubicBezTo>
                    <a:cubicBezTo>
                      <a:pt x="0" y="42938"/>
                      <a:pt x="12361" y="55298"/>
                      <a:pt x="27649" y="55298"/>
                    </a:cubicBezTo>
                    <a:cubicBezTo>
                      <a:pt x="42938" y="55298"/>
                      <a:pt x="55298" y="42938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rgbClr val="1D3EB6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71" name="Gráfico 32">
              <a:extLst>
                <a:ext uri="{FF2B5EF4-FFF2-40B4-BE49-F238E27FC236}">
                  <a16:creationId xmlns:a16="http://schemas.microsoft.com/office/drawing/2014/main" id="{A70DCDE1-0944-0134-C538-6CCF5800476E}"/>
                </a:ext>
              </a:extLst>
            </p:cNvPr>
            <p:cNvGrpSpPr/>
            <p:nvPr/>
          </p:nvGrpSpPr>
          <p:grpSpPr>
            <a:xfrm>
              <a:off x="6190910" y="1529723"/>
              <a:ext cx="123673" cy="55298"/>
              <a:chOff x="6190910" y="1529723"/>
              <a:chExt cx="123673" cy="55298"/>
            </a:xfrm>
            <a:noFill/>
          </p:grpSpPr>
          <p:sp>
            <p:nvSpPr>
              <p:cNvPr id="73" name="Forma livre: Forma 72">
                <a:extLst>
                  <a:ext uri="{FF2B5EF4-FFF2-40B4-BE49-F238E27FC236}">
                    <a16:creationId xmlns:a16="http://schemas.microsoft.com/office/drawing/2014/main" id="{0AED7CC0-E4F3-0ACD-9F7C-A5B3586D7377}"/>
                  </a:ext>
                </a:extLst>
              </p:cNvPr>
              <p:cNvSpPr/>
              <p:nvPr/>
            </p:nvSpPr>
            <p:spPr>
              <a:xfrm>
                <a:off x="6190910" y="1557372"/>
                <a:ext cx="68765" cy="6505"/>
              </a:xfrm>
              <a:custGeom>
                <a:avLst/>
                <a:gdLst>
                  <a:gd name="connsiteX0" fmla="*/ 0 w 68765"/>
                  <a:gd name="connsiteY0" fmla="*/ 0 h 6505"/>
                  <a:gd name="connsiteX1" fmla="*/ 68765 w 68765"/>
                  <a:gd name="connsiteY1" fmla="*/ 0 h 65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8765" h="6505">
                    <a:moveTo>
                      <a:pt x="0" y="0"/>
                    </a:moveTo>
                    <a:lnTo>
                      <a:pt x="68765" y="0"/>
                    </a:lnTo>
                  </a:path>
                </a:pathLst>
              </a:custGeom>
              <a:ln w="19050" cap="sq">
                <a:solidFill>
                  <a:srgbClr val="1D3EB6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4" name="Forma livre: Forma 73">
                <a:extLst>
                  <a:ext uri="{FF2B5EF4-FFF2-40B4-BE49-F238E27FC236}">
                    <a16:creationId xmlns:a16="http://schemas.microsoft.com/office/drawing/2014/main" id="{381DF348-9FF7-9190-1F68-FBB1D3D2C30B}"/>
                  </a:ext>
                </a:extLst>
              </p:cNvPr>
              <p:cNvSpPr/>
              <p:nvPr/>
            </p:nvSpPr>
            <p:spPr>
              <a:xfrm>
                <a:off x="6259285" y="1529723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rgbClr val="1D3EB6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72" name="Forma livre: Forma 71">
              <a:extLst>
                <a:ext uri="{FF2B5EF4-FFF2-40B4-BE49-F238E27FC236}">
                  <a16:creationId xmlns:a16="http://schemas.microsoft.com/office/drawing/2014/main" id="{B88C7C5D-D6EC-1356-92B7-7571AD0A4B96}"/>
                </a:ext>
              </a:extLst>
            </p:cNvPr>
            <p:cNvSpPr/>
            <p:nvPr/>
          </p:nvSpPr>
          <p:spPr>
            <a:xfrm>
              <a:off x="6152201" y="1686285"/>
              <a:ext cx="37362" cy="20848"/>
            </a:xfrm>
            <a:custGeom>
              <a:avLst/>
              <a:gdLst>
                <a:gd name="connsiteX0" fmla="*/ 0 w 37362"/>
                <a:gd name="connsiteY0" fmla="*/ 10505 h 20848"/>
                <a:gd name="connsiteX1" fmla="*/ 27064 w 37362"/>
                <a:gd name="connsiteY1" fmla="*/ 2373 h 20848"/>
                <a:gd name="connsiteX2" fmla="*/ 37343 w 37362"/>
                <a:gd name="connsiteY2" fmla="*/ 20849 h 20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7362" h="20848">
                  <a:moveTo>
                    <a:pt x="0" y="10505"/>
                  </a:moveTo>
                  <a:cubicBezTo>
                    <a:pt x="5205" y="811"/>
                    <a:pt x="17435" y="-2832"/>
                    <a:pt x="27064" y="2373"/>
                  </a:cubicBezTo>
                  <a:cubicBezTo>
                    <a:pt x="34025" y="6081"/>
                    <a:pt x="37668" y="13432"/>
                    <a:pt x="37343" y="20849"/>
                  </a:cubicBezTo>
                </a:path>
              </a:pathLst>
            </a:custGeom>
            <a:noFill/>
            <a:ln w="19050" cap="sq">
              <a:solidFill>
                <a:srgbClr val="1D3EB6"/>
              </a:solidFill>
              <a:prstDash val="solid"/>
              <a:miter lim="800000"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89" name="Agrupar 88">
            <a:extLst>
              <a:ext uri="{FF2B5EF4-FFF2-40B4-BE49-F238E27FC236}">
                <a16:creationId xmlns:a16="http://schemas.microsoft.com/office/drawing/2014/main" id="{CE44608B-23CE-9DC4-50D0-80B1BA46D9E2}"/>
              </a:ext>
            </a:extLst>
          </p:cNvPr>
          <p:cNvGrpSpPr/>
          <p:nvPr/>
        </p:nvGrpSpPr>
        <p:grpSpPr>
          <a:xfrm>
            <a:off x="7227715" y="4564906"/>
            <a:ext cx="552340" cy="603188"/>
            <a:chOff x="6000092" y="1357908"/>
            <a:chExt cx="365300" cy="398929"/>
          </a:xfrm>
        </p:grpSpPr>
        <p:sp>
          <p:nvSpPr>
            <p:cNvPr id="90" name="Forma livre: Forma 89">
              <a:extLst>
                <a:ext uri="{FF2B5EF4-FFF2-40B4-BE49-F238E27FC236}">
                  <a16:creationId xmlns:a16="http://schemas.microsoft.com/office/drawing/2014/main" id="{C2F762DB-77D2-4D59-1CFF-DA378C5EE743}"/>
                </a:ext>
              </a:extLst>
            </p:cNvPr>
            <p:cNvSpPr/>
            <p:nvPr/>
          </p:nvSpPr>
          <p:spPr>
            <a:xfrm>
              <a:off x="6000092" y="1418606"/>
              <a:ext cx="84058" cy="286120"/>
            </a:xfrm>
            <a:custGeom>
              <a:avLst/>
              <a:gdLst>
                <a:gd name="connsiteX0" fmla="*/ 51595 w 84058"/>
                <a:gd name="connsiteY0" fmla="*/ 0 h 286120"/>
                <a:gd name="connsiteX1" fmla="*/ 35266 w 84058"/>
                <a:gd name="connsiteY1" fmla="*/ 61674 h 286120"/>
                <a:gd name="connsiteX2" fmla="*/ 28760 w 84058"/>
                <a:gd name="connsiteY2" fmla="*/ 193415 h 286120"/>
                <a:gd name="connsiteX3" fmla="*/ 84059 w 84058"/>
                <a:gd name="connsiteY3" fmla="*/ 286121 h 2861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4058" h="286120">
                  <a:moveTo>
                    <a:pt x="51595" y="0"/>
                  </a:moveTo>
                  <a:cubicBezTo>
                    <a:pt x="37868" y="7872"/>
                    <a:pt x="26028" y="24852"/>
                    <a:pt x="35266" y="61674"/>
                  </a:cubicBezTo>
                  <a:cubicBezTo>
                    <a:pt x="35266" y="61674"/>
                    <a:pt x="-39549" y="126731"/>
                    <a:pt x="28760" y="193415"/>
                  </a:cubicBezTo>
                  <a:cubicBezTo>
                    <a:pt x="28760" y="193415"/>
                    <a:pt x="9243" y="281242"/>
                    <a:pt x="84059" y="286121"/>
                  </a:cubicBezTo>
                </a:path>
              </a:pathLst>
            </a:custGeom>
            <a:noFill/>
            <a:ln w="19050" cap="sq">
              <a:solidFill>
                <a:srgbClr val="1D3EB6"/>
              </a:solidFill>
              <a:prstDash val="solid"/>
              <a:miter lim="800000"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91" name="Gráfico 32">
              <a:extLst>
                <a:ext uri="{FF2B5EF4-FFF2-40B4-BE49-F238E27FC236}">
                  <a16:creationId xmlns:a16="http://schemas.microsoft.com/office/drawing/2014/main" id="{A8257CBA-27E8-74CF-C329-5BFF70A8DA93}"/>
                </a:ext>
              </a:extLst>
            </p:cNvPr>
            <p:cNvGrpSpPr/>
            <p:nvPr/>
          </p:nvGrpSpPr>
          <p:grpSpPr>
            <a:xfrm>
              <a:off x="6061121" y="1359924"/>
              <a:ext cx="128487" cy="396366"/>
              <a:chOff x="6061121" y="1359924"/>
              <a:chExt cx="128487" cy="396366"/>
            </a:xfrm>
            <a:noFill/>
          </p:grpSpPr>
          <p:sp>
            <p:nvSpPr>
              <p:cNvPr id="106" name="Forma livre: Forma 105">
                <a:extLst>
                  <a:ext uri="{FF2B5EF4-FFF2-40B4-BE49-F238E27FC236}">
                    <a16:creationId xmlns:a16="http://schemas.microsoft.com/office/drawing/2014/main" id="{46858185-9727-058A-D8D5-73A0E7B83F10}"/>
                  </a:ext>
                </a:extLst>
              </p:cNvPr>
              <p:cNvSpPr/>
              <p:nvPr/>
            </p:nvSpPr>
            <p:spPr>
              <a:xfrm>
                <a:off x="6083891" y="1359924"/>
                <a:ext cx="105717" cy="396366"/>
              </a:xfrm>
              <a:custGeom>
                <a:avLst/>
                <a:gdLst>
                  <a:gd name="connsiteX0" fmla="*/ 52891 w 105717"/>
                  <a:gd name="connsiteY0" fmla="*/ 105718 h 396366"/>
                  <a:gd name="connsiteX1" fmla="*/ 0 w 105717"/>
                  <a:gd name="connsiteY1" fmla="*/ 52891 h 396366"/>
                  <a:gd name="connsiteX2" fmla="*/ 52891 w 105717"/>
                  <a:gd name="connsiteY2" fmla="*/ 0 h 396366"/>
                  <a:gd name="connsiteX3" fmla="*/ 105718 w 105717"/>
                  <a:gd name="connsiteY3" fmla="*/ 52826 h 396366"/>
                  <a:gd name="connsiteX4" fmla="*/ 105718 w 105717"/>
                  <a:gd name="connsiteY4" fmla="*/ 346884 h 396366"/>
                  <a:gd name="connsiteX5" fmla="*/ 80606 w 105717"/>
                  <a:gd name="connsiteY5" fmla="*/ 388911 h 396366"/>
                  <a:gd name="connsiteX6" fmla="*/ 9238 w 105717"/>
                  <a:gd name="connsiteY6" fmla="*/ 371150 h 396366"/>
                  <a:gd name="connsiteX7" fmla="*/ 15484 w 105717"/>
                  <a:gd name="connsiteY7" fmla="*/ 309216 h 396366"/>
                  <a:gd name="connsiteX8" fmla="*/ 45019 w 105717"/>
                  <a:gd name="connsiteY8" fmla="*/ 277078 h 3963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05717" h="396366">
                    <a:moveTo>
                      <a:pt x="52891" y="105718"/>
                    </a:moveTo>
                    <a:cubicBezTo>
                      <a:pt x="23681" y="105718"/>
                      <a:pt x="0" y="82037"/>
                      <a:pt x="0" y="52891"/>
                    </a:cubicBezTo>
                    <a:cubicBezTo>
                      <a:pt x="0" y="23746"/>
                      <a:pt x="23681" y="0"/>
                      <a:pt x="52891" y="0"/>
                    </a:cubicBezTo>
                    <a:cubicBezTo>
                      <a:pt x="82102" y="0"/>
                      <a:pt x="105718" y="23681"/>
                      <a:pt x="105718" y="52826"/>
                    </a:cubicBezTo>
                    <a:lnTo>
                      <a:pt x="105718" y="346884"/>
                    </a:lnTo>
                    <a:cubicBezTo>
                      <a:pt x="105718" y="364580"/>
                      <a:pt x="96414" y="379413"/>
                      <a:pt x="80606" y="388911"/>
                    </a:cubicBezTo>
                    <a:cubicBezTo>
                      <a:pt x="55949" y="403744"/>
                      <a:pt x="24006" y="395742"/>
                      <a:pt x="9238" y="371150"/>
                    </a:cubicBezTo>
                    <a:cubicBezTo>
                      <a:pt x="-2928" y="350918"/>
                      <a:pt x="260" y="325741"/>
                      <a:pt x="15484" y="309216"/>
                    </a:cubicBezTo>
                    <a:lnTo>
                      <a:pt x="45019" y="277078"/>
                    </a:lnTo>
                  </a:path>
                </a:pathLst>
              </a:custGeom>
              <a:noFill/>
              <a:ln w="19050" cap="sq">
                <a:solidFill>
                  <a:srgbClr val="1D3EB6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07" name="Forma livre: Forma 106">
                <a:extLst>
                  <a:ext uri="{FF2B5EF4-FFF2-40B4-BE49-F238E27FC236}">
                    <a16:creationId xmlns:a16="http://schemas.microsoft.com/office/drawing/2014/main" id="{3CE5E0DB-0132-3552-FD25-65F58AB4EAC4}"/>
                  </a:ext>
                </a:extLst>
              </p:cNvPr>
              <p:cNvSpPr/>
              <p:nvPr/>
            </p:nvSpPr>
            <p:spPr>
              <a:xfrm>
                <a:off x="6144784" y="1383865"/>
                <a:ext cx="41563" cy="38963"/>
              </a:xfrm>
              <a:custGeom>
                <a:avLst/>
                <a:gdLst>
                  <a:gd name="connsiteX0" fmla="*/ 36172 w 41563"/>
                  <a:gd name="connsiteY0" fmla="*/ 0 h 38963"/>
                  <a:gd name="connsiteX1" fmla="*/ 39425 w 41563"/>
                  <a:gd name="connsiteY1" fmla="*/ 24266 h 38963"/>
                  <a:gd name="connsiteX2" fmla="*/ 36432 w 41563"/>
                  <a:gd name="connsiteY2" fmla="*/ 29080 h 38963"/>
                  <a:gd name="connsiteX3" fmla="*/ 0 w 41563"/>
                  <a:gd name="connsiteY3" fmla="*/ 33439 h 389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563" h="38963">
                    <a:moveTo>
                      <a:pt x="36172" y="0"/>
                    </a:moveTo>
                    <a:cubicBezTo>
                      <a:pt x="41571" y="7547"/>
                      <a:pt x="43393" y="16004"/>
                      <a:pt x="39425" y="24266"/>
                    </a:cubicBezTo>
                    <a:cubicBezTo>
                      <a:pt x="38644" y="25893"/>
                      <a:pt x="37603" y="27519"/>
                      <a:pt x="36432" y="29080"/>
                    </a:cubicBezTo>
                    <a:cubicBezTo>
                      <a:pt x="27584" y="40270"/>
                      <a:pt x="11190" y="42287"/>
                      <a:pt x="0" y="33439"/>
                    </a:cubicBezTo>
                  </a:path>
                </a:pathLst>
              </a:custGeom>
              <a:noFill/>
              <a:ln w="19050" cap="sq">
                <a:solidFill>
                  <a:srgbClr val="1D3EB6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08" name="Forma livre: Forma 107">
                <a:extLst>
                  <a:ext uri="{FF2B5EF4-FFF2-40B4-BE49-F238E27FC236}">
                    <a16:creationId xmlns:a16="http://schemas.microsoft.com/office/drawing/2014/main" id="{5FE13ADB-0DE5-BFBB-9079-95331DF7728E}"/>
                  </a:ext>
                </a:extLst>
              </p:cNvPr>
              <p:cNvSpPr/>
              <p:nvPr/>
            </p:nvSpPr>
            <p:spPr>
              <a:xfrm>
                <a:off x="6081487" y="1460806"/>
                <a:ext cx="34217" cy="54474"/>
              </a:xfrm>
              <a:custGeom>
                <a:avLst/>
                <a:gdLst>
                  <a:gd name="connsiteX0" fmla="*/ 21076 w 34217"/>
                  <a:gd name="connsiteY0" fmla="*/ 54475 h 54474"/>
                  <a:gd name="connsiteX1" fmla="*/ 778 w 34217"/>
                  <a:gd name="connsiteY1" fmla="*/ 21035 h 54474"/>
                  <a:gd name="connsiteX2" fmla="*/ 34217 w 34217"/>
                  <a:gd name="connsiteY2" fmla="*/ 803 h 544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4217" h="54474">
                    <a:moveTo>
                      <a:pt x="21076" y="54475"/>
                    </a:moveTo>
                    <a:cubicBezTo>
                      <a:pt x="6308" y="50832"/>
                      <a:pt x="-2800" y="35803"/>
                      <a:pt x="778" y="21035"/>
                    </a:cubicBezTo>
                    <a:cubicBezTo>
                      <a:pt x="4421" y="6267"/>
                      <a:pt x="19449" y="-2841"/>
                      <a:pt x="34217" y="803"/>
                    </a:cubicBezTo>
                  </a:path>
                </a:pathLst>
              </a:custGeom>
              <a:noFill/>
              <a:ln w="19050" cap="sq">
                <a:solidFill>
                  <a:srgbClr val="1D3EB6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09" name="Forma livre: Forma 108">
                <a:extLst>
                  <a:ext uri="{FF2B5EF4-FFF2-40B4-BE49-F238E27FC236}">
                    <a16:creationId xmlns:a16="http://schemas.microsoft.com/office/drawing/2014/main" id="{23DD7E36-F88F-A033-DDE7-B3B48FCF2880}"/>
                  </a:ext>
                </a:extLst>
              </p:cNvPr>
              <p:cNvSpPr/>
              <p:nvPr/>
            </p:nvSpPr>
            <p:spPr>
              <a:xfrm>
                <a:off x="6073547" y="1527543"/>
                <a:ext cx="114760" cy="72506"/>
              </a:xfrm>
              <a:custGeom>
                <a:avLst/>
                <a:gdLst>
                  <a:gd name="connsiteX0" fmla="*/ 114760 w 114760"/>
                  <a:gd name="connsiteY0" fmla="*/ 7254 h 72506"/>
                  <a:gd name="connsiteX1" fmla="*/ 73905 w 114760"/>
                  <a:gd name="connsiteY1" fmla="*/ 8881 h 72506"/>
                  <a:gd name="connsiteX2" fmla="*/ 0 w 114760"/>
                  <a:gd name="connsiteY2" fmla="*/ 72506 h 725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14760" h="72506">
                    <a:moveTo>
                      <a:pt x="114760" y="7254"/>
                    </a:moveTo>
                    <a:cubicBezTo>
                      <a:pt x="103375" y="-2830"/>
                      <a:pt x="83989" y="-2504"/>
                      <a:pt x="73905" y="8881"/>
                    </a:cubicBezTo>
                    <a:cubicBezTo>
                      <a:pt x="73905" y="8881"/>
                      <a:pt x="31488" y="72506"/>
                      <a:pt x="0" y="72506"/>
                    </a:cubicBezTo>
                  </a:path>
                </a:pathLst>
              </a:custGeom>
              <a:noFill/>
              <a:ln w="19050" cap="sq">
                <a:solidFill>
                  <a:srgbClr val="1D3EB6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10" name="Forma livre: Forma 109">
                <a:extLst>
                  <a:ext uri="{FF2B5EF4-FFF2-40B4-BE49-F238E27FC236}">
                    <a16:creationId xmlns:a16="http://schemas.microsoft.com/office/drawing/2014/main" id="{AD795403-DE2B-9A0F-E5EF-DB6204AF1BAB}"/>
                  </a:ext>
                </a:extLst>
              </p:cNvPr>
              <p:cNvSpPr/>
              <p:nvPr/>
            </p:nvSpPr>
            <p:spPr>
              <a:xfrm>
                <a:off x="6079857" y="1646956"/>
                <a:ext cx="29405" cy="9823"/>
              </a:xfrm>
              <a:custGeom>
                <a:avLst/>
                <a:gdLst>
                  <a:gd name="connsiteX0" fmla="*/ 0 w 29405"/>
                  <a:gd name="connsiteY0" fmla="*/ 0 h 9823"/>
                  <a:gd name="connsiteX1" fmla="*/ 29406 w 29405"/>
                  <a:gd name="connsiteY1" fmla="*/ 9824 h 98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9405" h="9823">
                    <a:moveTo>
                      <a:pt x="0" y="0"/>
                    </a:moveTo>
                    <a:lnTo>
                      <a:pt x="29406" y="9824"/>
                    </a:lnTo>
                  </a:path>
                </a:pathLst>
              </a:custGeom>
              <a:ln w="19050" cap="sq">
                <a:solidFill>
                  <a:srgbClr val="1D3EB6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11" name="Forma livre: Forma 110">
                <a:extLst>
                  <a:ext uri="{FF2B5EF4-FFF2-40B4-BE49-F238E27FC236}">
                    <a16:creationId xmlns:a16="http://schemas.microsoft.com/office/drawing/2014/main" id="{90D2AB6C-3D53-DF50-28B0-0AB2997B5843}"/>
                  </a:ext>
                </a:extLst>
              </p:cNvPr>
              <p:cNvSpPr/>
              <p:nvPr/>
            </p:nvSpPr>
            <p:spPr>
              <a:xfrm>
                <a:off x="6061121" y="1545272"/>
                <a:ext cx="47166" cy="34154"/>
              </a:xfrm>
              <a:custGeom>
                <a:avLst/>
                <a:gdLst>
                  <a:gd name="connsiteX0" fmla="*/ 0 w 47166"/>
                  <a:gd name="connsiteY0" fmla="*/ 0 h 34154"/>
                  <a:gd name="connsiteX1" fmla="*/ 47166 w 47166"/>
                  <a:gd name="connsiteY1" fmla="*/ 34155 h 341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166" h="34154">
                    <a:moveTo>
                      <a:pt x="0" y="0"/>
                    </a:moveTo>
                    <a:cubicBezTo>
                      <a:pt x="0" y="0"/>
                      <a:pt x="27649" y="13011"/>
                      <a:pt x="47166" y="34155"/>
                    </a:cubicBezTo>
                  </a:path>
                </a:pathLst>
              </a:custGeom>
              <a:noFill/>
              <a:ln w="19050" cap="sq">
                <a:solidFill>
                  <a:srgbClr val="1D3EB6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92" name="Gráfico 32">
              <a:extLst>
                <a:ext uri="{FF2B5EF4-FFF2-40B4-BE49-F238E27FC236}">
                  <a16:creationId xmlns:a16="http://schemas.microsoft.com/office/drawing/2014/main" id="{86C6BBF4-0AE6-2469-EE92-2D129B4361C0}"/>
                </a:ext>
              </a:extLst>
            </p:cNvPr>
            <p:cNvGrpSpPr/>
            <p:nvPr/>
          </p:nvGrpSpPr>
          <p:grpSpPr>
            <a:xfrm>
              <a:off x="6191625" y="1599725"/>
              <a:ext cx="173767" cy="157112"/>
              <a:chOff x="6191625" y="1599725"/>
              <a:chExt cx="173767" cy="157112"/>
            </a:xfrm>
            <a:noFill/>
          </p:grpSpPr>
          <p:sp>
            <p:nvSpPr>
              <p:cNvPr id="102" name="Forma livre: Forma 101">
                <a:extLst>
                  <a:ext uri="{FF2B5EF4-FFF2-40B4-BE49-F238E27FC236}">
                    <a16:creationId xmlns:a16="http://schemas.microsoft.com/office/drawing/2014/main" id="{C6DB6EA6-85AE-F918-F7B5-88BF34D28386}"/>
                  </a:ext>
                </a:extLst>
              </p:cNvPr>
              <p:cNvSpPr/>
              <p:nvPr/>
            </p:nvSpPr>
            <p:spPr>
              <a:xfrm>
                <a:off x="6310094" y="1621974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rgbClr val="1D3EB6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03" name="Forma livre: Forma 102">
                <a:extLst>
                  <a:ext uri="{FF2B5EF4-FFF2-40B4-BE49-F238E27FC236}">
                    <a16:creationId xmlns:a16="http://schemas.microsoft.com/office/drawing/2014/main" id="{F5CF51FC-7A5D-6E90-BE41-712610536966}"/>
                  </a:ext>
                </a:extLst>
              </p:cNvPr>
              <p:cNvSpPr/>
              <p:nvPr/>
            </p:nvSpPr>
            <p:spPr>
              <a:xfrm>
                <a:off x="6191625" y="1599725"/>
                <a:ext cx="118078" cy="49898"/>
              </a:xfrm>
              <a:custGeom>
                <a:avLst/>
                <a:gdLst>
                  <a:gd name="connsiteX0" fmla="*/ 0 w 118078"/>
                  <a:gd name="connsiteY0" fmla="*/ 0 h 49898"/>
                  <a:gd name="connsiteX1" fmla="*/ 37343 w 118078"/>
                  <a:gd name="connsiteY1" fmla="*/ 0 h 49898"/>
                  <a:gd name="connsiteX2" fmla="*/ 87176 w 118078"/>
                  <a:gd name="connsiteY2" fmla="*/ 49899 h 49898"/>
                  <a:gd name="connsiteX3" fmla="*/ 118078 w 118078"/>
                  <a:gd name="connsiteY3" fmla="*/ 49899 h 49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8078" h="49898">
                    <a:moveTo>
                      <a:pt x="0" y="0"/>
                    </a:moveTo>
                    <a:lnTo>
                      <a:pt x="37343" y="0"/>
                    </a:lnTo>
                    <a:lnTo>
                      <a:pt x="87176" y="49899"/>
                    </a:lnTo>
                    <a:lnTo>
                      <a:pt x="118078" y="49899"/>
                    </a:lnTo>
                  </a:path>
                </a:pathLst>
              </a:custGeom>
              <a:noFill/>
              <a:ln w="19050" cap="sq">
                <a:solidFill>
                  <a:srgbClr val="1D3EB6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04" name="Forma livre: Forma 103">
                <a:extLst>
                  <a:ext uri="{FF2B5EF4-FFF2-40B4-BE49-F238E27FC236}">
                    <a16:creationId xmlns:a16="http://schemas.microsoft.com/office/drawing/2014/main" id="{FF4C6A05-59DC-A37E-9A71-5CB451948AB2}"/>
                  </a:ext>
                </a:extLst>
              </p:cNvPr>
              <p:cNvSpPr/>
              <p:nvPr/>
            </p:nvSpPr>
            <p:spPr>
              <a:xfrm>
                <a:off x="6191625" y="1665367"/>
                <a:ext cx="81906" cy="44108"/>
              </a:xfrm>
              <a:custGeom>
                <a:avLst/>
                <a:gdLst>
                  <a:gd name="connsiteX0" fmla="*/ 0 w 81906"/>
                  <a:gd name="connsiteY0" fmla="*/ 0 h 44108"/>
                  <a:gd name="connsiteX1" fmla="*/ 37343 w 81906"/>
                  <a:gd name="connsiteY1" fmla="*/ 0 h 44108"/>
                  <a:gd name="connsiteX2" fmla="*/ 81907 w 81906"/>
                  <a:gd name="connsiteY2" fmla="*/ 44109 h 441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1906" h="44108">
                    <a:moveTo>
                      <a:pt x="0" y="0"/>
                    </a:moveTo>
                    <a:lnTo>
                      <a:pt x="37343" y="0"/>
                    </a:lnTo>
                    <a:lnTo>
                      <a:pt x="81907" y="44109"/>
                    </a:lnTo>
                  </a:path>
                </a:pathLst>
              </a:custGeom>
              <a:noFill/>
              <a:ln w="19050" cap="sq">
                <a:solidFill>
                  <a:srgbClr val="1D3EB6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05" name="Forma livre: Forma 104">
                <a:extLst>
                  <a:ext uri="{FF2B5EF4-FFF2-40B4-BE49-F238E27FC236}">
                    <a16:creationId xmlns:a16="http://schemas.microsoft.com/office/drawing/2014/main" id="{1C4040B1-927E-4F6B-946A-A1177CBE5A0C}"/>
                  </a:ext>
                </a:extLst>
              </p:cNvPr>
              <p:cNvSpPr/>
              <p:nvPr/>
            </p:nvSpPr>
            <p:spPr>
              <a:xfrm>
                <a:off x="6265075" y="1701539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rgbClr val="1D3EB6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93" name="Gráfico 32">
              <a:extLst>
                <a:ext uri="{FF2B5EF4-FFF2-40B4-BE49-F238E27FC236}">
                  <a16:creationId xmlns:a16="http://schemas.microsoft.com/office/drawing/2014/main" id="{5A63D69B-E59D-5077-4F96-A9CB5D99DE93}"/>
                </a:ext>
              </a:extLst>
            </p:cNvPr>
            <p:cNvGrpSpPr/>
            <p:nvPr/>
          </p:nvGrpSpPr>
          <p:grpSpPr>
            <a:xfrm>
              <a:off x="6191625" y="1357908"/>
              <a:ext cx="173767" cy="157112"/>
              <a:chOff x="6191625" y="1357908"/>
              <a:chExt cx="173767" cy="157112"/>
            </a:xfrm>
            <a:noFill/>
          </p:grpSpPr>
          <p:sp>
            <p:nvSpPr>
              <p:cNvPr id="98" name="Forma livre: Forma 97">
                <a:extLst>
                  <a:ext uri="{FF2B5EF4-FFF2-40B4-BE49-F238E27FC236}">
                    <a16:creationId xmlns:a16="http://schemas.microsoft.com/office/drawing/2014/main" id="{9947C664-9A96-0201-31B3-475406D6A07D}"/>
                  </a:ext>
                </a:extLst>
              </p:cNvPr>
              <p:cNvSpPr/>
              <p:nvPr/>
            </p:nvSpPr>
            <p:spPr>
              <a:xfrm>
                <a:off x="6310094" y="1437472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0 h 55298"/>
                  <a:gd name="connsiteX2" fmla="*/ 0 w 55298"/>
                  <a:gd name="connsiteY2" fmla="*/ 27649 h 55298"/>
                  <a:gd name="connsiteX3" fmla="*/ 27649 w 55298"/>
                  <a:gd name="connsiteY3" fmla="*/ 55298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12361"/>
                      <a:pt x="42938" y="0"/>
                      <a:pt x="27649" y="0"/>
                    </a:cubicBezTo>
                    <a:cubicBezTo>
                      <a:pt x="12361" y="0"/>
                      <a:pt x="0" y="12361"/>
                      <a:pt x="0" y="27649"/>
                    </a:cubicBezTo>
                    <a:cubicBezTo>
                      <a:pt x="0" y="42938"/>
                      <a:pt x="12361" y="55298"/>
                      <a:pt x="27649" y="55298"/>
                    </a:cubicBezTo>
                    <a:cubicBezTo>
                      <a:pt x="42938" y="55298"/>
                      <a:pt x="55298" y="42938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rgbClr val="1D3EB6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9" name="Forma livre: Forma 98">
                <a:extLst>
                  <a:ext uri="{FF2B5EF4-FFF2-40B4-BE49-F238E27FC236}">
                    <a16:creationId xmlns:a16="http://schemas.microsoft.com/office/drawing/2014/main" id="{6E07C512-F3FE-2941-838E-4D0708012EA7}"/>
                  </a:ext>
                </a:extLst>
              </p:cNvPr>
              <p:cNvSpPr/>
              <p:nvPr/>
            </p:nvSpPr>
            <p:spPr>
              <a:xfrm>
                <a:off x="6191625" y="1465122"/>
                <a:ext cx="118468" cy="49898"/>
              </a:xfrm>
              <a:custGeom>
                <a:avLst/>
                <a:gdLst>
                  <a:gd name="connsiteX0" fmla="*/ 0 w 118468"/>
                  <a:gd name="connsiteY0" fmla="*/ 49899 h 49898"/>
                  <a:gd name="connsiteX1" fmla="*/ 37343 w 118468"/>
                  <a:gd name="connsiteY1" fmla="*/ 49899 h 49898"/>
                  <a:gd name="connsiteX2" fmla="*/ 87176 w 118468"/>
                  <a:gd name="connsiteY2" fmla="*/ 0 h 49898"/>
                  <a:gd name="connsiteX3" fmla="*/ 118469 w 118468"/>
                  <a:gd name="connsiteY3" fmla="*/ 0 h 49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8468" h="49898">
                    <a:moveTo>
                      <a:pt x="0" y="49899"/>
                    </a:moveTo>
                    <a:lnTo>
                      <a:pt x="37343" y="49899"/>
                    </a:lnTo>
                    <a:lnTo>
                      <a:pt x="87176" y="0"/>
                    </a:lnTo>
                    <a:lnTo>
                      <a:pt x="118469" y="0"/>
                    </a:lnTo>
                  </a:path>
                </a:pathLst>
              </a:custGeom>
              <a:noFill/>
              <a:ln w="19050" cap="sq">
                <a:solidFill>
                  <a:srgbClr val="1D3EB6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00" name="Forma livre: Forma 99">
                <a:extLst>
                  <a:ext uri="{FF2B5EF4-FFF2-40B4-BE49-F238E27FC236}">
                    <a16:creationId xmlns:a16="http://schemas.microsoft.com/office/drawing/2014/main" id="{5368D914-91ED-31C1-0D39-D7FD1D52948B}"/>
                  </a:ext>
                </a:extLst>
              </p:cNvPr>
              <p:cNvSpPr/>
              <p:nvPr/>
            </p:nvSpPr>
            <p:spPr>
              <a:xfrm>
                <a:off x="6191625" y="1405269"/>
                <a:ext cx="81451" cy="44043"/>
              </a:xfrm>
              <a:custGeom>
                <a:avLst/>
                <a:gdLst>
                  <a:gd name="connsiteX0" fmla="*/ 0 w 81451"/>
                  <a:gd name="connsiteY0" fmla="*/ 44044 h 44043"/>
                  <a:gd name="connsiteX1" fmla="*/ 37343 w 81451"/>
                  <a:gd name="connsiteY1" fmla="*/ 44044 h 44043"/>
                  <a:gd name="connsiteX2" fmla="*/ 81451 w 81451"/>
                  <a:gd name="connsiteY2" fmla="*/ 0 h 440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1451" h="44043">
                    <a:moveTo>
                      <a:pt x="0" y="44044"/>
                    </a:moveTo>
                    <a:lnTo>
                      <a:pt x="37343" y="44044"/>
                    </a:lnTo>
                    <a:lnTo>
                      <a:pt x="81451" y="0"/>
                    </a:lnTo>
                  </a:path>
                </a:pathLst>
              </a:custGeom>
              <a:noFill/>
              <a:ln w="19050" cap="sq">
                <a:solidFill>
                  <a:srgbClr val="1D3EB6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01" name="Forma livre: Forma 100">
                <a:extLst>
                  <a:ext uri="{FF2B5EF4-FFF2-40B4-BE49-F238E27FC236}">
                    <a16:creationId xmlns:a16="http://schemas.microsoft.com/office/drawing/2014/main" id="{6CB5A1FE-F890-7280-BF6C-5870E03A0867}"/>
                  </a:ext>
                </a:extLst>
              </p:cNvPr>
              <p:cNvSpPr/>
              <p:nvPr/>
            </p:nvSpPr>
            <p:spPr>
              <a:xfrm>
                <a:off x="6265075" y="1357908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0 h 55298"/>
                  <a:gd name="connsiteX2" fmla="*/ 0 w 55298"/>
                  <a:gd name="connsiteY2" fmla="*/ 27649 h 55298"/>
                  <a:gd name="connsiteX3" fmla="*/ 27649 w 55298"/>
                  <a:gd name="connsiteY3" fmla="*/ 55298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12361"/>
                      <a:pt x="42938" y="0"/>
                      <a:pt x="27649" y="0"/>
                    </a:cubicBezTo>
                    <a:cubicBezTo>
                      <a:pt x="12361" y="0"/>
                      <a:pt x="0" y="12361"/>
                      <a:pt x="0" y="27649"/>
                    </a:cubicBezTo>
                    <a:cubicBezTo>
                      <a:pt x="0" y="42938"/>
                      <a:pt x="12361" y="55298"/>
                      <a:pt x="27649" y="55298"/>
                    </a:cubicBezTo>
                    <a:cubicBezTo>
                      <a:pt x="42938" y="55298"/>
                      <a:pt x="55298" y="42938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rgbClr val="1D3EB6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94" name="Gráfico 32">
              <a:extLst>
                <a:ext uri="{FF2B5EF4-FFF2-40B4-BE49-F238E27FC236}">
                  <a16:creationId xmlns:a16="http://schemas.microsoft.com/office/drawing/2014/main" id="{14892486-8D33-C2AC-1F05-A781B9F5C70C}"/>
                </a:ext>
              </a:extLst>
            </p:cNvPr>
            <p:cNvGrpSpPr/>
            <p:nvPr/>
          </p:nvGrpSpPr>
          <p:grpSpPr>
            <a:xfrm>
              <a:off x="6190910" y="1529723"/>
              <a:ext cx="123673" cy="55298"/>
              <a:chOff x="6190910" y="1529723"/>
              <a:chExt cx="123673" cy="55298"/>
            </a:xfrm>
            <a:noFill/>
          </p:grpSpPr>
          <p:sp>
            <p:nvSpPr>
              <p:cNvPr id="96" name="Forma livre: Forma 95">
                <a:extLst>
                  <a:ext uri="{FF2B5EF4-FFF2-40B4-BE49-F238E27FC236}">
                    <a16:creationId xmlns:a16="http://schemas.microsoft.com/office/drawing/2014/main" id="{CABF052D-4CF7-09C6-9F3B-6079C929758E}"/>
                  </a:ext>
                </a:extLst>
              </p:cNvPr>
              <p:cNvSpPr/>
              <p:nvPr/>
            </p:nvSpPr>
            <p:spPr>
              <a:xfrm>
                <a:off x="6190910" y="1557372"/>
                <a:ext cx="68765" cy="6505"/>
              </a:xfrm>
              <a:custGeom>
                <a:avLst/>
                <a:gdLst>
                  <a:gd name="connsiteX0" fmla="*/ 0 w 68765"/>
                  <a:gd name="connsiteY0" fmla="*/ 0 h 6505"/>
                  <a:gd name="connsiteX1" fmla="*/ 68765 w 68765"/>
                  <a:gd name="connsiteY1" fmla="*/ 0 h 65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8765" h="6505">
                    <a:moveTo>
                      <a:pt x="0" y="0"/>
                    </a:moveTo>
                    <a:lnTo>
                      <a:pt x="68765" y="0"/>
                    </a:lnTo>
                  </a:path>
                </a:pathLst>
              </a:custGeom>
              <a:ln w="19050" cap="sq">
                <a:solidFill>
                  <a:srgbClr val="1D3EB6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7" name="Forma livre: Forma 96">
                <a:extLst>
                  <a:ext uri="{FF2B5EF4-FFF2-40B4-BE49-F238E27FC236}">
                    <a16:creationId xmlns:a16="http://schemas.microsoft.com/office/drawing/2014/main" id="{E2910DF6-CE62-E9DE-A803-DFDB7FEBDB32}"/>
                  </a:ext>
                </a:extLst>
              </p:cNvPr>
              <p:cNvSpPr/>
              <p:nvPr/>
            </p:nvSpPr>
            <p:spPr>
              <a:xfrm>
                <a:off x="6259285" y="1529723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rgbClr val="1D3EB6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95" name="Forma livre: Forma 94">
              <a:extLst>
                <a:ext uri="{FF2B5EF4-FFF2-40B4-BE49-F238E27FC236}">
                  <a16:creationId xmlns:a16="http://schemas.microsoft.com/office/drawing/2014/main" id="{F9C7BF61-430C-23C3-A3C5-D718B6DC5AAD}"/>
                </a:ext>
              </a:extLst>
            </p:cNvPr>
            <p:cNvSpPr/>
            <p:nvPr/>
          </p:nvSpPr>
          <p:spPr>
            <a:xfrm>
              <a:off x="6152201" y="1686285"/>
              <a:ext cx="37362" cy="20848"/>
            </a:xfrm>
            <a:custGeom>
              <a:avLst/>
              <a:gdLst>
                <a:gd name="connsiteX0" fmla="*/ 0 w 37362"/>
                <a:gd name="connsiteY0" fmla="*/ 10505 h 20848"/>
                <a:gd name="connsiteX1" fmla="*/ 27064 w 37362"/>
                <a:gd name="connsiteY1" fmla="*/ 2373 h 20848"/>
                <a:gd name="connsiteX2" fmla="*/ 37343 w 37362"/>
                <a:gd name="connsiteY2" fmla="*/ 20849 h 20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7362" h="20848">
                  <a:moveTo>
                    <a:pt x="0" y="10505"/>
                  </a:moveTo>
                  <a:cubicBezTo>
                    <a:pt x="5205" y="811"/>
                    <a:pt x="17435" y="-2832"/>
                    <a:pt x="27064" y="2373"/>
                  </a:cubicBezTo>
                  <a:cubicBezTo>
                    <a:pt x="34025" y="6081"/>
                    <a:pt x="37668" y="13432"/>
                    <a:pt x="37343" y="20849"/>
                  </a:cubicBezTo>
                </a:path>
              </a:pathLst>
            </a:custGeom>
            <a:noFill/>
            <a:ln w="19050" cap="sq">
              <a:solidFill>
                <a:srgbClr val="1D3EB6"/>
              </a:solidFill>
              <a:prstDash val="solid"/>
              <a:miter lim="800000"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12" name="Agrupar 111">
            <a:extLst>
              <a:ext uri="{FF2B5EF4-FFF2-40B4-BE49-F238E27FC236}">
                <a16:creationId xmlns:a16="http://schemas.microsoft.com/office/drawing/2014/main" id="{ABAEB149-44B9-F22D-8B16-A1255534E2D3}"/>
              </a:ext>
            </a:extLst>
          </p:cNvPr>
          <p:cNvGrpSpPr/>
          <p:nvPr/>
        </p:nvGrpSpPr>
        <p:grpSpPr>
          <a:xfrm>
            <a:off x="5819830" y="5126288"/>
            <a:ext cx="552340" cy="603188"/>
            <a:chOff x="6000092" y="1357908"/>
            <a:chExt cx="365300" cy="398929"/>
          </a:xfrm>
        </p:grpSpPr>
        <p:sp>
          <p:nvSpPr>
            <p:cNvPr id="113" name="Forma livre: Forma 112">
              <a:extLst>
                <a:ext uri="{FF2B5EF4-FFF2-40B4-BE49-F238E27FC236}">
                  <a16:creationId xmlns:a16="http://schemas.microsoft.com/office/drawing/2014/main" id="{F3190719-A2FA-DB6A-04E2-822B1D7B8205}"/>
                </a:ext>
              </a:extLst>
            </p:cNvPr>
            <p:cNvSpPr/>
            <p:nvPr/>
          </p:nvSpPr>
          <p:spPr>
            <a:xfrm>
              <a:off x="6000092" y="1418606"/>
              <a:ext cx="84058" cy="286120"/>
            </a:xfrm>
            <a:custGeom>
              <a:avLst/>
              <a:gdLst>
                <a:gd name="connsiteX0" fmla="*/ 51595 w 84058"/>
                <a:gd name="connsiteY0" fmla="*/ 0 h 286120"/>
                <a:gd name="connsiteX1" fmla="*/ 35266 w 84058"/>
                <a:gd name="connsiteY1" fmla="*/ 61674 h 286120"/>
                <a:gd name="connsiteX2" fmla="*/ 28760 w 84058"/>
                <a:gd name="connsiteY2" fmla="*/ 193415 h 286120"/>
                <a:gd name="connsiteX3" fmla="*/ 84059 w 84058"/>
                <a:gd name="connsiteY3" fmla="*/ 286121 h 2861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4058" h="286120">
                  <a:moveTo>
                    <a:pt x="51595" y="0"/>
                  </a:moveTo>
                  <a:cubicBezTo>
                    <a:pt x="37868" y="7872"/>
                    <a:pt x="26028" y="24852"/>
                    <a:pt x="35266" y="61674"/>
                  </a:cubicBezTo>
                  <a:cubicBezTo>
                    <a:pt x="35266" y="61674"/>
                    <a:pt x="-39549" y="126731"/>
                    <a:pt x="28760" y="193415"/>
                  </a:cubicBezTo>
                  <a:cubicBezTo>
                    <a:pt x="28760" y="193415"/>
                    <a:pt x="9243" y="281242"/>
                    <a:pt x="84059" y="286121"/>
                  </a:cubicBezTo>
                </a:path>
              </a:pathLst>
            </a:custGeom>
            <a:noFill/>
            <a:ln w="19050" cap="sq">
              <a:solidFill>
                <a:srgbClr val="1D3EB6"/>
              </a:solidFill>
              <a:prstDash val="solid"/>
              <a:miter lim="800000"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14" name="Gráfico 32">
              <a:extLst>
                <a:ext uri="{FF2B5EF4-FFF2-40B4-BE49-F238E27FC236}">
                  <a16:creationId xmlns:a16="http://schemas.microsoft.com/office/drawing/2014/main" id="{A6B3CF5B-3BEF-6920-50D4-D444B15C0CF4}"/>
                </a:ext>
              </a:extLst>
            </p:cNvPr>
            <p:cNvGrpSpPr/>
            <p:nvPr/>
          </p:nvGrpSpPr>
          <p:grpSpPr>
            <a:xfrm>
              <a:off x="6061121" y="1359924"/>
              <a:ext cx="128487" cy="396366"/>
              <a:chOff x="6061121" y="1359924"/>
              <a:chExt cx="128487" cy="396366"/>
            </a:xfrm>
            <a:noFill/>
          </p:grpSpPr>
          <p:sp>
            <p:nvSpPr>
              <p:cNvPr id="129" name="Forma livre: Forma 128">
                <a:extLst>
                  <a:ext uri="{FF2B5EF4-FFF2-40B4-BE49-F238E27FC236}">
                    <a16:creationId xmlns:a16="http://schemas.microsoft.com/office/drawing/2014/main" id="{8946289D-01DD-7C6F-2088-6DE7C84F1AA6}"/>
                  </a:ext>
                </a:extLst>
              </p:cNvPr>
              <p:cNvSpPr/>
              <p:nvPr/>
            </p:nvSpPr>
            <p:spPr>
              <a:xfrm>
                <a:off x="6083891" y="1359924"/>
                <a:ext cx="105717" cy="396366"/>
              </a:xfrm>
              <a:custGeom>
                <a:avLst/>
                <a:gdLst>
                  <a:gd name="connsiteX0" fmla="*/ 52891 w 105717"/>
                  <a:gd name="connsiteY0" fmla="*/ 105718 h 396366"/>
                  <a:gd name="connsiteX1" fmla="*/ 0 w 105717"/>
                  <a:gd name="connsiteY1" fmla="*/ 52891 h 396366"/>
                  <a:gd name="connsiteX2" fmla="*/ 52891 w 105717"/>
                  <a:gd name="connsiteY2" fmla="*/ 0 h 396366"/>
                  <a:gd name="connsiteX3" fmla="*/ 105718 w 105717"/>
                  <a:gd name="connsiteY3" fmla="*/ 52826 h 396366"/>
                  <a:gd name="connsiteX4" fmla="*/ 105718 w 105717"/>
                  <a:gd name="connsiteY4" fmla="*/ 346884 h 396366"/>
                  <a:gd name="connsiteX5" fmla="*/ 80606 w 105717"/>
                  <a:gd name="connsiteY5" fmla="*/ 388911 h 396366"/>
                  <a:gd name="connsiteX6" fmla="*/ 9238 w 105717"/>
                  <a:gd name="connsiteY6" fmla="*/ 371150 h 396366"/>
                  <a:gd name="connsiteX7" fmla="*/ 15484 w 105717"/>
                  <a:gd name="connsiteY7" fmla="*/ 309216 h 396366"/>
                  <a:gd name="connsiteX8" fmla="*/ 45019 w 105717"/>
                  <a:gd name="connsiteY8" fmla="*/ 277078 h 3963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05717" h="396366">
                    <a:moveTo>
                      <a:pt x="52891" y="105718"/>
                    </a:moveTo>
                    <a:cubicBezTo>
                      <a:pt x="23681" y="105718"/>
                      <a:pt x="0" y="82037"/>
                      <a:pt x="0" y="52891"/>
                    </a:cubicBezTo>
                    <a:cubicBezTo>
                      <a:pt x="0" y="23746"/>
                      <a:pt x="23681" y="0"/>
                      <a:pt x="52891" y="0"/>
                    </a:cubicBezTo>
                    <a:cubicBezTo>
                      <a:pt x="82102" y="0"/>
                      <a:pt x="105718" y="23681"/>
                      <a:pt x="105718" y="52826"/>
                    </a:cubicBezTo>
                    <a:lnTo>
                      <a:pt x="105718" y="346884"/>
                    </a:lnTo>
                    <a:cubicBezTo>
                      <a:pt x="105718" y="364580"/>
                      <a:pt x="96414" y="379413"/>
                      <a:pt x="80606" y="388911"/>
                    </a:cubicBezTo>
                    <a:cubicBezTo>
                      <a:pt x="55949" y="403744"/>
                      <a:pt x="24006" y="395742"/>
                      <a:pt x="9238" y="371150"/>
                    </a:cubicBezTo>
                    <a:cubicBezTo>
                      <a:pt x="-2928" y="350918"/>
                      <a:pt x="260" y="325741"/>
                      <a:pt x="15484" y="309216"/>
                    </a:cubicBezTo>
                    <a:lnTo>
                      <a:pt x="45019" y="277078"/>
                    </a:lnTo>
                  </a:path>
                </a:pathLst>
              </a:custGeom>
              <a:noFill/>
              <a:ln w="19050" cap="sq">
                <a:solidFill>
                  <a:srgbClr val="1D3EB6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30" name="Forma livre: Forma 129">
                <a:extLst>
                  <a:ext uri="{FF2B5EF4-FFF2-40B4-BE49-F238E27FC236}">
                    <a16:creationId xmlns:a16="http://schemas.microsoft.com/office/drawing/2014/main" id="{CB42C941-6BAF-4365-1BDD-C57FB55BCC16}"/>
                  </a:ext>
                </a:extLst>
              </p:cNvPr>
              <p:cNvSpPr/>
              <p:nvPr/>
            </p:nvSpPr>
            <p:spPr>
              <a:xfrm>
                <a:off x="6144784" y="1383865"/>
                <a:ext cx="41563" cy="38963"/>
              </a:xfrm>
              <a:custGeom>
                <a:avLst/>
                <a:gdLst>
                  <a:gd name="connsiteX0" fmla="*/ 36172 w 41563"/>
                  <a:gd name="connsiteY0" fmla="*/ 0 h 38963"/>
                  <a:gd name="connsiteX1" fmla="*/ 39425 w 41563"/>
                  <a:gd name="connsiteY1" fmla="*/ 24266 h 38963"/>
                  <a:gd name="connsiteX2" fmla="*/ 36432 w 41563"/>
                  <a:gd name="connsiteY2" fmla="*/ 29080 h 38963"/>
                  <a:gd name="connsiteX3" fmla="*/ 0 w 41563"/>
                  <a:gd name="connsiteY3" fmla="*/ 33439 h 389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563" h="38963">
                    <a:moveTo>
                      <a:pt x="36172" y="0"/>
                    </a:moveTo>
                    <a:cubicBezTo>
                      <a:pt x="41571" y="7547"/>
                      <a:pt x="43393" y="16004"/>
                      <a:pt x="39425" y="24266"/>
                    </a:cubicBezTo>
                    <a:cubicBezTo>
                      <a:pt x="38644" y="25893"/>
                      <a:pt x="37603" y="27519"/>
                      <a:pt x="36432" y="29080"/>
                    </a:cubicBezTo>
                    <a:cubicBezTo>
                      <a:pt x="27584" y="40270"/>
                      <a:pt x="11190" y="42287"/>
                      <a:pt x="0" y="33439"/>
                    </a:cubicBezTo>
                  </a:path>
                </a:pathLst>
              </a:custGeom>
              <a:noFill/>
              <a:ln w="19050" cap="sq">
                <a:solidFill>
                  <a:srgbClr val="1D3EB6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31" name="Forma livre: Forma 130">
                <a:extLst>
                  <a:ext uri="{FF2B5EF4-FFF2-40B4-BE49-F238E27FC236}">
                    <a16:creationId xmlns:a16="http://schemas.microsoft.com/office/drawing/2014/main" id="{E9E14EC3-5746-E7EE-CA41-75F5653B7393}"/>
                  </a:ext>
                </a:extLst>
              </p:cNvPr>
              <p:cNvSpPr/>
              <p:nvPr/>
            </p:nvSpPr>
            <p:spPr>
              <a:xfrm>
                <a:off x="6081487" y="1460806"/>
                <a:ext cx="34217" cy="54474"/>
              </a:xfrm>
              <a:custGeom>
                <a:avLst/>
                <a:gdLst>
                  <a:gd name="connsiteX0" fmla="*/ 21076 w 34217"/>
                  <a:gd name="connsiteY0" fmla="*/ 54475 h 54474"/>
                  <a:gd name="connsiteX1" fmla="*/ 778 w 34217"/>
                  <a:gd name="connsiteY1" fmla="*/ 21035 h 54474"/>
                  <a:gd name="connsiteX2" fmla="*/ 34217 w 34217"/>
                  <a:gd name="connsiteY2" fmla="*/ 803 h 544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4217" h="54474">
                    <a:moveTo>
                      <a:pt x="21076" y="54475"/>
                    </a:moveTo>
                    <a:cubicBezTo>
                      <a:pt x="6308" y="50832"/>
                      <a:pt x="-2800" y="35803"/>
                      <a:pt x="778" y="21035"/>
                    </a:cubicBezTo>
                    <a:cubicBezTo>
                      <a:pt x="4421" y="6267"/>
                      <a:pt x="19449" y="-2841"/>
                      <a:pt x="34217" y="803"/>
                    </a:cubicBezTo>
                  </a:path>
                </a:pathLst>
              </a:custGeom>
              <a:noFill/>
              <a:ln w="19050" cap="sq">
                <a:solidFill>
                  <a:srgbClr val="1D3EB6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32" name="Forma livre: Forma 131">
                <a:extLst>
                  <a:ext uri="{FF2B5EF4-FFF2-40B4-BE49-F238E27FC236}">
                    <a16:creationId xmlns:a16="http://schemas.microsoft.com/office/drawing/2014/main" id="{A0F9601C-F6E5-A15C-D58D-1DA4B08C1CBB}"/>
                  </a:ext>
                </a:extLst>
              </p:cNvPr>
              <p:cNvSpPr/>
              <p:nvPr/>
            </p:nvSpPr>
            <p:spPr>
              <a:xfrm>
                <a:off x="6073547" y="1527543"/>
                <a:ext cx="114760" cy="72506"/>
              </a:xfrm>
              <a:custGeom>
                <a:avLst/>
                <a:gdLst>
                  <a:gd name="connsiteX0" fmla="*/ 114760 w 114760"/>
                  <a:gd name="connsiteY0" fmla="*/ 7254 h 72506"/>
                  <a:gd name="connsiteX1" fmla="*/ 73905 w 114760"/>
                  <a:gd name="connsiteY1" fmla="*/ 8881 h 72506"/>
                  <a:gd name="connsiteX2" fmla="*/ 0 w 114760"/>
                  <a:gd name="connsiteY2" fmla="*/ 72506 h 725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14760" h="72506">
                    <a:moveTo>
                      <a:pt x="114760" y="7254"/>
                    </a:moveTo>
                    <a:cubicBezTo>
                      <a:pt x="103375" y="-2830"/>
                      <a:pt x="83989" y="-2504"/>
                      <a:pt x="73905" y="8881"/>
                    </a:cubicBezTo>
                    <a:cubicBezTo>
                      <a:pt x="73905" y="8881"/>
                      <a:pt x="31488" y="72506"/>
                      <a:pt x="0" y="72506"/>
                    </a:cubicBezTo>
                  </a:path>
                </a:pathLst>
              </a:custGeom>
              <a:noFill/>
              <a:ln w="19050" cap="sq">
                <a:solidFill>
                  <a:srgbClr val="1D3EB6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33" name="Forma livre: Forma 132">
                <a:extLst>
                  <a:ext uri="{FF2B5EF4-FFF2-40B4-BE49-F238E27FC236}">
                    <a16:creationId xmlns:a16="http://schemas.microsoft.com/office/drawing/2014/main" id="{DB6C7D04-E2AA-0A6C-43A5-C33ABEE1E96C}"/>
                  </a:ext>
                </a:extLst>
              </p:cNvPr>
              <p:cNvSpPr/>
              <p:nvPr/>
            </p:nvSpPr>
            <p:spPr>
              <a:xfrm>
                <a:off x="6079857" y="1646956"/>
                <a:ext cx="29405" cy="9823"/>
              </a:xfrm>
              <a:custGeom>
                <a:avLst/>
                <a:gdLst>
                  <a:gd name="connsiteX0" fmla="*/ 0 w 29405"/>
                  <a:gd name="connsiteY0" fmla="*/ 0 h 9823"/>
                  <a:gd name="connsiteX1" fmla="*/ 29406 w 29405"/>
                  <a:gd name="connsiteY1" fmla="*/ 9824 h 98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9405" h="9823">
                    <a:moveTo>
                      <a:pt x="0" y="0"/>
                    </a:moveTo>
                    <a:lnTo>
                      <a:pt x="29406" y="9824"/>
                    </a:lnTo>
                  </a:path>
                </a:pathLst>
              </a:custGeom>
              <a:ln w="19050" cap="sq">
                <a:solidFill>
                  <a:srgbClr val="1D3EB6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34" name="Forma livre: Forma 133">
                <a:extLst>
                  <a:ext uri="{FF2B5EF4-FFF2-40B4-BE49-F238E27FC236}">
                    <a16:creationId xmlns:a16="http://schemas.microsoft.com/office/drawing/2014/main" id="{7A563622-97DD-02CA-3B5F-02A5AF819ADF}"/>
                  </a:ext>
                </a:extLst>
              </p:cNvPr>
              <p:cNvSpPr/>
              <p:nvPr/>
            </p:nvSpPr>
            <p:spPr>
              <a:xfrm>
                <a:off x="6061121" y="1545272"/>
                <a:ext cx="47166" cy="34154"/>
              </a:xfrm>
              <a:custGeom>
                <a:avLst/>
                <a:gdLst>
                  <a:gd name="connsiteX0" fmla="*/ 0 w 47166"/>
                  <a:gd name="connsiteY0" fmla="*/ 0 h 34154"/>
                  <a:gd name="connsiteX1" fmla="*/ 47166 w 47166"/>
                  <a:gd name="connsiteY1" fmla="*/ 34155 h 341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166" h="34154">
                    <a:moveTo>
                      <a:pt x="0" y="0"/>
                    </a:moveTo>
                    <a:cubicBezTo>
                      <a:pt x="0" y="0"/>
                      <a:pt x="27649" y="13011"/>
                      <a:pt x="47166" y="34155"/>
                    </a:cubicBezTo>
                  </a:path>
                </a:pathLst>
              </a:custGeom>
              <a:noFill/>
              <a:ln w="19050" cap="sq">
                <a:solidFill>
                  <a:srgbClr val="1D3EB6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15" name="Gráfico 32">
              <a:extLst>
                <a:ext uri="{FF2B5EF4-FFF2-40B4-BE49-F238E27FC236}">
                  <a16:creationId xmlns:a16="http://schemas.microsoft.com/office/drawing/2014/main" id="{6DDEDE3C-14ED-7BDB-8E58-8AAA636A6E7C}"/>
                </a:ext>
              </a:extLst>
            </p:cNvPr>
            <p:cNvGrpSpPr/>
            <p:nvPr/>
          </p:nvGrpSpPr>
          <p:grpSpPr>
            <a:xfrm>
              <a:off x="6191625" y="1599725"/>
              <a:ext cx="173767" cy="157112"/>
              <a:chOff x="6191625" y="1599725"/>
              <a:chExt cx="173767" cy="157112"/>
            </a:xfrm>
            <a:noFill/>
          </p:grpSpPr>
          <p:sp>
            <p:nvSpPr>
              <p:cNvPr id="125" name="Forma livre: Forma 124">
                <a:extLst>
                  <a:ext uri="{FF2B5EF4-FFF2-40B4-BE49-F238E27FC236}">
                    <a16:creationId xmlns:a16="http://schemas.microsoft.com/office/drawing/2014/main" id="{36DC8CCA-EC01-E98E-9FC7-C6FED93CA12E}"/>
                  </a:ext>
                </a:extLst>
              </p:cNvPr>
              <p:cNvSpPr/>
              <p:nvPr/>
            </p:nvSpPr>
            <p:spPr>
              <a:xfrm>
                <a:off x="6310094" y="1621974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rgbClr val="1D3EB6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6" name="Forma livre: Forma 125">
                <a:extLst>
                  <a:ext uri="{FF2B5EF4-FFF2-40B4-BE49-F238E27FC236}">
                    <a16:creationId xmlns:a16="http://schemas.microsoft.com/office/drawing/2014/main" id="{EBFAD7EE-29E5-2937-43A3-D953B3EC71BC}"/>
                  </a:ext>
                </a:extLst>
              </p:cNvPr>
              <p:cNvSpPr/>
              <p:nvPr/>
            </p:nvSpPr>
            <p:spPr>
              <a:xfrm>
                <a:off x="6191625" y="1599725"/>
                <a:ext cx="118078" cy="49898"/>
              </a:xfrm>
              <a:custGeom>
                <a:avLst/>
                <a:gdLst>
                  <a:gd name="connsiteX0" fmla="*/ 0 w 118078"/>
                  <a:gd name="connsiteY0" fmla="*/ 0 h 49898"/>
                  <a:gd name="connsiteX1" fmla="*/ 37343 w 118078"/>
                  <a:gd name="connsiteY1" fmla="*/ 0 h 49898"/>
                  <a:gd name="connsiteX2" fmla="*/ 87176 w 118078"/>
                  <a:gd name="connsiteY2" fmla="*/ 49899 h 49898"/>
                  <a:gd name="connsiteX3" fmla="*/ 118078 w 118078"/>
                  <a:gd name="connsiteY3" fmla="*/ 49899 h 49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8078" h="49898">
                    <a:moveTo>
                      <a:pt x="0" y="0"/>
                    </a:moveTo>
                    <a:lnTo>
                      <a:pt x="37343" y="0"/>
                    </a:lnTo>
                    <a:lnTo>
                      <a:pt x="87176" y="49899"/>
                    </a:lnTo>
                    <a:lnTo>
                      <a:pt x="118078" y="49899"/>
                    </a:lnTo>
                  </a:path>
                </a:pathLst>
              </a:custGeom>
              <a:noFill/>
              <a:ln w="19050" cap="sq">
                <a:solidFill>
                  <a:srgbClr val="1D3EB6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7" name="Forma livre: Forma 126">
                <a:extLst>
                  <a:ext uri="{FF2B5EF4-FFF2-40B4-BE49-F238E27FC236}">
                    <a16:creationId xmlns:a16="http://schemas.microsoft.com/office/drawing/2014/main" id="{732D92B7-3BD9-2501-1BBD-5AC07530234A}"/>
                  </a:ext>
                </a:extLst>
              </p:cNvPr>
              <p:cNvSpPr/>
              <p:nvPr/>
            </p:nvSpPr>
            <p:spPr>
              <a:xfrm>
                <a:off x="6191625" y="1665367"/>
                <a:ext cx="81906" cy="44108"/>
              </a:xfrm>
              <a:custGeom>
                <a:avLst/>
                <a:gdLst>
                  <a:gd name="connsiteX0" fmla="*/ 0 w 81906"/>
                  <a:gd name="connsiteY0" fmla="*/ 0 h 44108"/>
                  <a:gd name="connsiteX1" fmla="*/ 37343 w 81906"/>
                  <a:gd name="connsiteY1" fmla="*/ 0 h 44108"/>
                  <a:gd name="connsiteX2" fmla="*/ 81907 w 81906"/>
                  <a:gd name="connsiteY2" fmla="*/ 44109 h 441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1906" h="44108">
                    <a:moveTo>
                      <a:pt x="0" y="0"/>
                    </a:moveTo>
                    <a:lnTo>
                      <a:pt x="37343" y="0"/>
                    </a:lnTo>
                    <a:lnTo>
                      <a:pt x="81907" y="44109"/>
                    </a:lnTo>
                  </a:path>
                </a:pathLst>
              </a:custGeom>
              <a:noFill/>
              <a:ln w="19050" cap="sq">
                <a:solidFill>
                  <a:srgbClr val="1D3EB6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8" name="Forma livre: Forma 127">
                <a:extLst>
                  <a:ext uri="{FF2B5EF4-FFF2-40B4-BE49-F238E27FC236}">
                    <a16:creationId xmlns:a16="http://schemas.microsoft.com/office/drawing/2014/main" id="{3EA80705-2D4E-45A5-D57D-0869582B1A52}"/>
                  </a:ext>
                </a:extLst>
              </p:cNvPr>
              <p:cNvSpPr/>
              <p:nvPr/>
            </p:nvSpPr>
            <p:spPr>
              <a:xfrm>
                <a:off x="6265075" y="1701539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rgbClr val="1D3EB6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16" name="Gráfico 32">
              <a:extLst>
                <a:ext uri="{FF2B5EF4-FFF2-40B4-BE49-F238E27FC236}">
                  <a16:creationId xmlns:a16="http://schemas.microsoft.com/office/drawing/2014/main" id="{DC136A30-5E58-FBC9-887D-0152B33A4870}"/>
                </a:ext>
              </a:extLst>
            </p:cNvPr>
            <p:cNvGrpSpPr/>
            <p:nvPr/>
          </p:nvGrpSpPr>
          <p:grpSpPr>
            <a:xfrm>
              <a:off x="6191625" y="1357908"/>
              <a:ext cx="173767" cy="157112"/>
              <a:chOff x="6191625" y="1357908"/>
              <a:chExt cx="173767" cy="157112"/>
            </a:xfrm>
            <a:noFill/>
          </p:grpSpPr>
          <p:sp>
            <p:nvSpPr>
              <p:cNvPr id="121" name="Forma livre: Forma 120">
                <a:extLst>
                  <a:ext uri="{FF2B5EF4-FFF2-40B4-BE49-F238E27FC236}">
                    <a16:creationId xmlns:a16="http://schemas.microsoft.com/office/drawing/2014/main" id="{81CA1D04-79A9-0FEF-D02A-75B0259C9E28}"/>
                  </a:ext>
                </a:extLst>
              </p:cNvPr>
              <p:cNvSpPr/>
              <p:nvPr/>
            </p:nvSpPr>
            <p:spPr>
              <a:xfrm>
                <a:off x="6310094" y="1437472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0 h 55298"/>
                  <a:gd name="connsiteX2" fmla="*/ 0 w 55298"/>
                  <a:gd name="connsiteY2" fmla="*/ 27649 h 55298"/>
                  <a:gd name="connsiteX3" fmla="*/ 27649 w 55298"/>
                  <a:gd name="connsiteY3" fmla="*/ 55298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12361"/>
                      <a:pt x="42938" y="0"/>
                      <a:pt x="27649" y="0"/>
                    </a:cubicBezTo>
                    <a:cubicBezTo>
                      <a:pt x="12361" y="0"/>
                      <a:pt x="0" y="12361"/>
                      <a:pt x="0" y="27649"/>
                    </a:cubicBezTo>
                    <a:cubicBezTo>
                      <a:pt x="0" y="42938"/>
                      <a:pt x="12361" y="55298"/>
                      <a:pt x="27649" y="55298"/>
                    </a:cubicBezTo>
                    <a:cubicBezTo>
                      <a:pt x="42938" y="55298"/>
                      <a:pt x="55298" y="42938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rgbClr val="1D3EB6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2" name="Forma livre: Forma 121">
                <a:extLst>
                  <a:ext uri="{FF2B5EF4-FFF2-40B4-BE49-F238E27FC236}">
                    <a16:creationId xmlns:a16="http://schemas.microsoft.com/office/drawing/2014/main" id="{625ADA6E-AB89-1856-E963-96F2FE9054D1}"/>
                  </a:ext>
                </a:extLst>
              </p:cNvPr>
              <p:cNvSpPr/>
              <p:nvPr/>
            </p:nvSpPr>
            <p:spPr>
              <a:xfrm>
                <a:off x="6191625" y="1465122"/>
                <a:ext cx="118468" cy="49898"/>
              </a:xfrm>
              <a:custGeom>
                <a:avLst/>
                <a:gdLst>
                  <a:gd name="connsiteX0" fmla="*/ 0 w 118468"/>
                  <a:gd name="connsiteY0" fmla="*/ 49899 h 49898"/>
                  <a:gd name="connsiteX1" fmla="*/ 37343 w 118468"/>
                  <a:gd name="connsiteY1" fmla="*/ 49899 h 49898"/>
                  <a:gd name="connsiteX2" fmla="*/ 87176 w 118468"/>
                  <a:gd name="connsiteY2" fmla="*/ 0 h 49898"/>
                  <a:gd name="connsiteX3" fmla="*/ 118469 w 118468"/>
                  <a:gd name="connsiteY3" fmla="*/ 0 h 49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8468" h="49898">
                    <a:moveTo>
                      <a:pt x="0" y="49899"/>
                    </a:moveTo>
                    <a:lnTo>
                      <a:pt x="37343" y="49899"/>
                    </a:lnTo>
                    <a:lnTo>
                      <a:pt x="87176" y="0"/>
                    </a:lnTo>
                    <a:lnTo>
                      <a:pt x="118469" y="0"/>
                    </a:lnTo>
                  </a:path>
                </a:pathLst>
              </a:custGeom>
              <a:noFill/>
              <a:ln w="19050" cap="sq">
                <a:solidFill>
                  <a:srgbClr val="1D3EB6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3" name="Forma livre: Forma 122">
                <a:extLst>
                  <a:ext uri="{FF2B5EF4-FFF2-40B4-BE49-F238E27FC236}">
                    <a16:creationId xmlns:a16="http://schemas.microsoft.com/office/drawing/2014/main" id="{94D20C84-E56C-ECC2-43D8-F448FB345000}"/>
                  </a:ext>
                </a:extLst>
              </p:cNvPr>
              <p:cNvSpPr/>
              <p:nvPr/>
            </p:nvSpPr>
            <p:spPr>
              <a:xfrm>
                <a:off x="6191625" y="1405269"/>
                <a:ext cx="81451" cy="44043"/>
              </a:xfrm>
              <a:custGeom>
                <a:avLst/>
                <a:gdLst>
                  <a:gd name="connsiteX0" fmla="*/ 0 w 81451"/>
                  <a:gd name="connsiteY0" fmla="*/ 44044 h 44043"/>
                  <a:gd name="connsiteX1" fmla="*/ 37343 w 81451"/>
                  <a:gd name="connsiteY1" fmla="*/ 44044 h 44043"/>
                  <a:gd name="connsiteX2" fmla="*/ 81451 w 81451"/>
                  <a:gd name="connsiteY2" fmla="*/ 0 h 440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1451" h="44043">
                    <a:moveTo>
                      <a:pt x="0" y="44044"/>
                    </a:moveTo>
                    <a:lnTo>
                      <a:pt x="37343" y="44044"/>
                    </a:lnTo>
                    <a:lnTo>
                      <a:pt x="81451" y="0"/>
                    </a:lnTo>
                  </a:path>
                </a:pathLst>
              </a:custGeom>
              <a:noFill/>
              <a:ln w="19050" cap="sq">
                <a:solidFill>
                  <a:srgbClr val="1D3EB6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4" name="Forma livre: Forma 123">
                <a:extLst>
                  <a:ext uri="{FF2B5EF4-FFF2-40B4-BE49-F238E27FC236}">
                    <a16:creationId xmlns:a16="http://schemas.microsoft.com/office/drawing/2014/main" id="{E6797041-1AE7-1303-E3F2-BFE37FA11F41}"/>
                  </a:ext>
                </a:extLst>
              </p:cNvPr>
              <p:cNvSpPr/>
              <p:nvPr/>
            </p:nvSpPr>
            <p:spPr>
              <a:xfrm>
                <a:off x="6265075" y="1357908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0 h 55298"/>
                  <a:gd name="connsiteX2" fmla="*/ 0 w 55298"/>
                  <a:gd name="connsiteY2" fmla="*/ 27649 h 55298"/>
                  <a:gd name="connsiteX3" fmla="*/ 27649 w 55298"/>
                  <a:gd name="connsiteY3" fmla="*/ 55298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12361"/>
                      <a:pt x="42938" y="0"/>
                      <a:pt x="27649" y="0"/>
                    </a:cubicBezTo>
                    <a:cubicBezTo>
                      <a:pt x="12361" y="0"/>
                      <a:pt x="0" y="12361"/>
                      <a:pt x="0" y="27649"/>
                    </a:cubicBezTo>
                    <a:cubicBezTo>
                      <a:pt x="0" y="42938"/>
                      <a:pt x="12361" y="55298"/>
                      <a:pt x="27649" y="55298"/>
                    </a:cubicBezTo>
                    <a:cubicBezTo>
                      <a:pt x="42938" y="55298"/>
                      <a:pt x="55298" y="42938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rgbClr val="1D3EB6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17" name="Gráfico 32">
              <a:extLst>
                <a:ext uri="{FF2B5EF4-FFF2-40B4-BE49-F238E27FC236}">
                  <a16:creationId xmlns:a16="http://schemas.microsoft.com/office/drawing/2014/main" id="{0DBC7DB5-868E-7BD3-E320-EB102A8899B9}"/>
                </a:ext>
              </a:extLst>
            </p:cNvPr>
            <p:cNvGrpSpPr/>
            <p:nvPr/>
          </p:nvGrpSpPr>
          <p:grpSpPr>
            <a:xfrm>
              <a:off x="6190910" y="1529723"/>
              <a:ext cx="123673" cy="55298"/>
              <a:chOff x="6190910" y="1529723"/>
              <a:chExt cx="123673" cy="55298"/>
            </a:xfrm>
            <a:noFill/>
          </p:grpSpPr>
          <p:sp>
            <p:nvSpPr>
              <p:cNvPr id="119" name="Forma livre: Forma 118">
                <a:extLst>
                  <a:ext uri="{FF2B5EF4-FFF2-40B4-BE49-F238E27FC236}">
                    <a16:creationId xmlns:a16="http://schemas.microsoft.com/office/drawing/2014/main" id="{B48775B1-A854-9D0A-680B-9CA93A30D0F4}"/>
                  </a:ext>
                </a:extLst>
              </p:cNvPr>
              <p:cNvSpPr/>
              <p:nvPr/>
            </p:nvSpPr>
            <p:spPr>
              <a:xfrm>
                <a:off x="6190910" y="1557372"/>
                <a:ext cx="68765" cy="6505"/>
              </a:xfrm>
              <a:custGeom>
                <a:avLst/>
                <a:gdLst>
                  <a:gd name="connsiteX0" fmla="*/ 0 w 68765"/>
                  <a:gd name="connsiteY0" fmla="*/ 0 h 6505"/>
                  <a:gd name="connsiteX1" fmla="*/ 68765 w 68765"/>
                  <a:gd name="connsiteY1" fmla="*/ 0 h 65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8765" h="6505">
                    <a:moveTo>
                      <a:pt x="0" y="0"/>
                    </a:moveTo>
                    <a:lnTo>
                      <a:pt x="68765" y="0"/>
                    </a:lnTo>
                  </a:path>
                </a:pathLst>
              </a:custGeom>
              <a:ln w="19050" cap="sq">
                <a:solidFill>
                  <a:srgbClr val="1D3EB6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0" name="Forma livre: Forma 119">
                <a:extLst>
                  <a:ext uri="{FF2B5EF4-FFF2-40B4-BE49-F238E27FC236}">
                    <a16:creationId xmlns:a16="http://schemas.microsoft.com/office/drawing/2014/main" id="{84606C8A-45FE-AECE-5E20-F10E766EB9F5}"/>
                  </a:ext>
                </a:extLst>
              </p:cNvPr>
              <p:cNvSpPr/>
              <p:nvPr/>
            </p:nvSpPr>
            <p:spPr>
              <a:xfrm>
                <a:off x="6259285" y="1529723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rgbClr val="1D3EB6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18" name="Forma livre: Forma 117">
              <a:extLst>
                <a:ext uri="{FF2B5EF4-FFF2-40B4-BE49-F238E27FC236}">
                  <a16:creationId xmlns:a16="http://schemas.microsoft.com/office/drawing/2014/main" id="{318E8969-52F3-56E2-A9DF-87750395E3D0}"/>
                </a:ext>
              </a:extLst>
            </p:cNvPr>
            <p:cNvSpPr/>
            <p:nvPr/>
          </p:nvSpPr>
          <p:spPr>
            <a:xfrm>
              <a:off x="6152201" y="1686285"/>
              <a:ext cx="37362" cy="20848"/>
            </a:xfrm>
            <a:custGeom>
              <a:avLst/>
              <a:gdLst>
                <a:gd name="connsiteX0" fmla="*/ 0 w 37362"/>
                <a:gd name="connsiteY0" fmla="*/ 10505 h 20848"/>
                <a:gd name="connsiteX1" fmla="*/ 27064 w 37362"/>
                <a:gd name="connsiteY1" fmla="*/ 2373 h 20848"/>
                <a:gd name="connsiteX2" fmla="*/ 37343 w 37362"/>
                <a:gd name="connsiteY2" fmla="*/ 20849 h 20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7362" h="20848">
                  <a:moveTo>
                    <a:pt x="0" y="10505"/>
                  </a:moveTo>
                  <a:cubicBezTo>
                    <a:pt x="5205" y="811"/>
                    <a:pt x="17435" y="-2832"/>
                    <a:pt x="27064" y="2373"/>
                  </a:cubicBezTo>
                  <a:cubicBezTo>
                    <a:pt x="34025" y="6081"/>
                    <a:pt x="37668" y="13432"/>
                    <a:pt x="37343" y="20849"/>
                  </a:cubicBezTo>
                </a:path>
              </a:pathLst>
            </a:custGeom>
            <a:noFill/>
            <a:ln w="19050" cap="sq">
              <a:solidFill>
                <a:srgbClr val="1D3EB6"/>
              </a:solidFill>
              <a:prstDash val="solid"/>
              <a:miter lim="800000"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35" name="Agrupar 134">
            <a:extLst>
              <a:ext uri="{FF2B5EF4-FFF2-40B4-BE49-F238E27FC236}">
                <a16:creationId xmlns:a16="http://schemas.microsoft.com/office/drawing/2014/main" id="{955EE84B-B9B4-1DFA-C253-F791AAF659E6}"/>
              </a:ext>
            </a:extLst>
          </p:cNvPr>
          <p:cNvGrpSpPr/>
          <p:nvPr/>
        </p:nvGrpSpPr>
        <p:grpSpPr>
          <a:xfrm>
            <a:off x="4382841" y="1715461"/>
            <a:ext cx="552340" cy="603188"/>
            <a:chOff x="6000092" y="1357908"/>
            <a:chExt cx="365300" cy="398929"/>
          </a:xfrm>
        </p:grpSpPr>
        <p:sp>
          <p:nvSpPr>
            <p:cNvPr id="136" name="Forma livre: Forma 135">
              <a:extLst>
                <a:ext uri="{FF2B5EF4-FFF2-40B4-BE49-F238E27FC236}">
                  <a16:creationId xmlns:a16="http://schemas.microsoft.com/office/drawing/2014/main" id="{E72D3FC9-B9A8-78FE-D60A-E5D85C290283}"/>
                </a:ext>
              </a:extLst>
            </p:cNvPr>
            <p:cNvSpPr/>
            <p:nvPr/>
          </p:nvSpPr>
          <p:spPr>
            <a:xfrm>
              <a:off x="6000092" y="1418606"/>
              <a:ext cx="84058" cy="286120"/>
            </a:xfrm>
            <a:custGeom>
              <a:avLst/>
              <a:gdLst>
                <a:gd name="connsiteX0" fmla="*/ 51595 w 84058"/>
                <a:gd name="connsiteY0" fmla="*/ 0 h 286120"/>
                <a:gd name="connsiteX1" fmla="*/ 35266 w 84058"/>
                <a:gd name="connsiteY1" fmla="*/ 61674 h 286120"/>
                <a:gd name="connsiteX2" fmla="*/ 28760 w 84058"/>
                <a:gd name="connsiteY2" fmla="*/ 193415 h 286120"/>
                <a:gd name="connsiteX3" fmla="*/ 84059 w 84058"/>
                <a:gd name="connsiteY3" fmla="*/ 286121 h 2861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4058" h="286120">
                  <a:moveTo>
                    <a:pt x="51595" y="0"/>
                  </a:moveTo>
                  <a:cubicBezTo>
                    <a:pt x="37868" y="7872"/>
                    <a:pt x="26028" y="24852"/>
                    <a:pt x="35266" y="61674"/>
                  </a:cubicBezTo>
                  <a:cubicBezTo>
                    <a:pt x="35266" y="61674"/>
                    <a:pt x="-39549" y="126731"/>
                    <a:pt x="28760" y="193415"/>
                  </a:cubicBezTo>
                  <a:cubicBezTo>
                    <a:pt x="28760" y="193415"/>
                    <a:pt x="9243" y="281242"/>
                    <a:pt x="84059" y="286121"/>
                  </a:cubicBezTo>
                </a:path>
              </a:pathLst>
            </a:custGeom>
            <a:noFill/>
            <a:ln w="19050" cap="sq">
              <a:solidFill>
                <a:srgbClr val="1D3EB6"/>
              </a:solidFill>
              <a:prstDash val="solid"/>
              <a:miter lim="800000"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37" name="Gráfico 32">
              <a:extLst>
                <a:ext uri="{FF2B5EF4-FFF2-40B4-BE49-F238E27FC236}">
                  <a16:creationId xmlns:a16="http://schemas.microsoft.com/office/drawing/2014/main" id="{179D2883-12DD-5822-9574-2DD701258A07}"/>
                </a:ext>
              </a:extLst>
            </p:cNvPr>
            <p:cNvGrpSpPr/>
            <p:nvPr/>
          </p:nvGrpSpPr>
          <p:grpSpPr>
            <a:xfrm>
              <a:off x="6061121" y="1359924"/>
              <a:ext cx="128487" cy="396366"/>
              <a:chOff x="6061121" y="1359924"/>
              <a:chExt cx="128487" cy="396366"/>
            </a:xfrm>
            <a:noFill/>
          </p:grpSpPr>
          <p:sp>
            <p:nvSpPr>
              <p:cNvPr id="152" name="Forma livre: Forma 151">
                <a:extLst>
                  <a:ext uri="{FF2B5EF4-FFF2-40B4-BE49-F238E27FC236}">
                    <a16:creationId xmlns:a16="http://schemas.microsoft.com/office/drawing/2014/main" id="{459DE0FA-4E43-891D-63CA-605BC0DA5CEF}"/>
                  </a:ext>
                </a:extLst>
              </p:cNvPr>
              <p:cNvSpPr/>
              <p:nvPr/>
            </p:nvSpPr>
            <p:spPr>
              <a:xfrm>
                <a:off x="6083891" y="1359924"/>
                <a:ext cx="105717" cy="396366"/>
              </a:xfrm>
              <a:custGeom>
                <a:avLst/>
                <a:gdLst>
                  <a:gd name="connsiteX0" fmla="*/ 52891 w 105717"/>
                  <a:gd name="connsiteY0" fmla="*/ 105718 h 396366"/>
                  <a:gd name="connsiteX1" fmla="*/ 0 w 105717"/>
                  <a:gd name="connsiteY1" fmla="*/ 52891 h 396366"/>
                  <a:gd name="connsiteX2" fmla="*/ 52891 w 105717"/>
                  <a:gd name="connsiteY2" fmla="*/ 0 h 396366"/>
                  <a:gd name="connsiteX3" fmla="*/ 105718 w 105717"/>
                  <a:gd name="connsiteY3" fmla="*/ 52826 h 396366"/>
                  <a:gd name="connsiteX4" fmla="*/ 105718 w 105717"/>
                  <a:gd name="connsiteY4" fmla="*/ 346884 h 396366"/>
                  <a:gd name="connsiteX5" fmla="*/ 80606 w 105717"/>
                  <a:gd name="connsiteY5" fmla="*/ 388911 h 396366"/>
                  <a:gd name="connsiteX6" fmla="*/ 9238 w 105717"/>
                  <a:gd name="connsiteY6" fmla="*/ 371150 h 396366"/>
                  <a:gd name="connsiteX7" fmla="*/ 15484 w 105717"/>
                  <a:gd name="connsiteY7" fmla="*/ 309216 h 396366"/>
                  <a:gd name="connsiteX8" fmla="*/ 45019 w 105717"/>
                  <a:gd name="connsiteY8" fmla="*/ 277078 h 3963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05717" h="396366">
                    <a:moveTo>
                      <a:pt x="52891" y="105718"/>
                    </a:moveTo>
                    <a:cubicBezTo>
                      <a:pt x="23681" y="105718"/>
                      <a:pt x="0" y="82037"/>
                      <a:pt x="0" y="52891"/>
                    </a:cubicBezTo>
                    <a:cubicBezTo>
                      <a:pt x="0" y="23746"/>
                      <a:pt x="23681" y="0"/>
                      <a:pt x="52891" y="0"/>
                    </a:cubicBezTo>
                    <a:cubicBezTo>
                      <a:pt x="82102" y="0"/>
                      <a:pt x="105718" y="23681"/>
                      <a:pt x="105718" y="52826"/>
                    </a:cubicBezTo>
                    <a:lnTo>
                      <a:pt x="105718" y="346884"/>
                    </a:lnTo>
                    <a:cubicBezTo>
                      <a:pt x="105718" y="364580"/>
                      <a:pt x="96414" y="379413"/>
                      <a:pt x="80606" y="388911"/>
                    </a:cubicBezTo>
                    <a:cubicBezTo>
                      <a:pt x="55949" y="403744"/>
                      <a:pt x="24006" y="395742"/>
                      <a:pt x="9238" y="371150"/>
                    </a:cubicBezTo>
                    <a:cubicBezTo>
                      <a:pt x="-2928" y="350918"/>
                      <a:pt x="260" y="325741"/>
                      <a:pt x="15484" y="309216"/>
                    </a:cubicBezTo>
                    <a:lnTo>
                      <a:pt x="45019" y="277078"/>
                    </a:lnTo>
                  </a:path>
                </a:pathLst>
              </a:custGeom>
              <a:noFill/>
              <a:ln w="19050" cap="sq">
                <a:solidFill>
                  <a:srgbClr val="1D3EB6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53" name="Forma livre: Forma 152">
                <a:extLst>
                  <a:ext uri="{FF2B5EF4-FFF2-40B4-BE49-F238E27FC236}">
                    <a16:creationId xmlns:a16="http://schemas.microsoft.com/office/drawing/2014/main" id="{CF0E5B16-A254-AD70-228B-589719298EF8}"/>
                  </a:ext>
                </a:extLst>
              </p:cNvPr>
              <p:cNvSpPr/>
              <p:nvPr/>
            </p:nvSpPr>
            <p:spPr>
              <a:xfrm>
                <a:off x="6144784" y="1383865"/>
                <a:ext cx="41563" cy="38963"/>
              </a:xfrm>
              <a:custGeom>
                <a:avLst/>
                <a:gdLst>
                  <a:gd name="connsiteX0" fmla="*/ 36172 w 41563"/>
                  <a:gd name="connsiteY0" fmla="*/ 0 h 38963"/>
                  <a:gd name="connsiteX1" fmla="*/ 39425 w 41563"/>
                  <a:gd name="connsiteY1" fmla="*/ 24266 h 38963"/>
                  <a:gd name="connsiteX2" fmla="*/ 36432 w 41563"/>
                  <a:gd name="connsiteY2" fmla="*/ 29080 h 38963"/>
                  <a:gd name="connsiteX3" fmla="*/ 0 w 41563"/>
                  <a:gd name="connsiteY3" fmla="*/ 33439 h 389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563" h="38963">
                    <a:moveTo>
                      <a:pt x="36172" y="0"/>
                    </a:moveTo>
                    <a:cubicBezTo>
                      <a:pt x="41571" y="7547"/>
                      <a:pt x="43393" y="16004"/>
                      <a:pt x="39425" y="24266"/>
                    </a:cubicBezTo>
                    <a:cubicBezTo>
                      <a:pt x="38644" y="25893"/>
                      <a:pt x="37603" y="27519"/>
                      <a:pt x="36432" y="29080"/>
                    </a:cubicBezTo>
                    <a:cubicBezTo>
                      <a:pt x="27584" y="40270"/>
                      <a:pt x="11190" y="42287"/>
                      <a:pt x="0" y="33439"/>
                    </a:cubicBezTo>
                  </a:path>
                </a:pathLst>
              </a:custGeom>
              <a:noFill/>
              <a:ln w="19050" cap="sq">
                <a:solidFill>
                  <a:srgbClr val="1D3EB6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54" name="Forma livre: Forma 153">
                <a:extLst>
                  <a:ext uri="{FF2B5EF4-FFF2-40B4-BE49-F238E27FC236}">
                    <a16:creationId xmlns:a16="http://schemas.microsoft.com/office/drawing/2014/main" id="{818B69FA-5D3D-3709-7DF5-7563267D4F3C}"/>
                  </a:ext>
                </a:extLst>
              </p:cNvPr>
              <p:cNvSpPr/>
              <p:nvPr/>
            </p:nvSpPr>
            <p:spPr>
              <a:xfrm>
                <a:off x="6081487" y="1460806"/>
                <a:ext cx="34217" cy="54474"/>
              </a:xfrm>
              <a:custGeom>
                <a:avLst/>
                <a:gdLst>
                  <a:gd name="connsiteX0" fmla="*/ 21076 w 34217"/>
                  <a:gd name="connsiteY0" fmla="*/ 54475 h 54474"/>
                  <a:gd name="connsiteX1" fmla="*/ 778 w 34217"/>
                  <a:gd name="connsiteY1" fmla="*/ 21035 h 54474"/>
                  <a:gd name="connsiteX2" fmla="*/ 34217 w 34217"/>
                  <a:gd name="connsiteY2" fmla="*/ 803 h 544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4217" h="54474">
                    <a:moveTo>
                      <a:pt x="21076" y="54475"/>
                    </a:moveTo>
                    <a:cubicBezTo>
                      <a:pt x="6308" y="50832"/>
                      <a:pt x="-2800" y="35803"/>
                      <a:pt x="778" y="21035"/>
                    </a:cubicBezTo>
                    <a:cubicBezTo>
                      <a:pt x="4421" y="6267"/>
                      <a:pt x="19449" y="-2841"/>
                      <a:pt x="34217" y="803"/>
                    </a:cubicBezTo>
                  </a:path>
                </a:pathLst>
              </a:custGeom>
              <a:noFill/>
              <a:ln w="19050" cap="sq">
                <a:solidFill>
                  <a:srgbClr val="1D3EB6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55" name="Forma livre: Forma 154">
                <a:extLst>
                  <a:ext uri="{FF2B5EF4-FFF2-40B4-BE49-F238E27FC236}">
                    <a16:creationId xmlns:a16="http://schemas.microsoft.com/office/drawing/2014/main" id="{2E71CAA3-6E92-FC07-45F1-E0F230C4A81A}"/>
                  </a:ext>
                </a:extLst>
              </p:cNvPr>
              <p:cNvSpPr/>
              <p:nvPr/>
            </p:nvSpPr>
            <p:spPr>
              <a:xfrm>
                <a:off x="6073547" y="1527543"/>
                <a:ext cx="114760" cy="72506"/>
              </a:xfrm>
              <a:custGeom>
                <a:avLst/>
                <a:gdLst>
                  <a:gd name="connsiteX0" fmla="*/ 114760 w 114760"/>
                  <a:gd name="connsiteY0" fmla="*/ 7254 h 72506"/>
                  <a:gd name="connsiteX1" fmla="*/ 73905 w 114760"/>
                  <a:gd name="connsiteY1" fmla="*/ 8881 h 72506"/>
                  <a:gd name="connsiteX2" fmla="*/ 0 w 114760"/>
                  <a:gd name="connsiteY2" fmla="*/ 72506 h 725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14760" h="72506">
                    <a:moveTo>
                      <a:pt x="114760" y="7254"/>
                    </a:moveTo>
                    <a:cubicBezTo>
                      <a:pt x="103375" y="-2830"/>
                      <a:pt x="83989" y="-2504"/>
                      <a:pt x="73905" y="8881"/>
                    </a:cubicBezTo>
                    <a:cubicBezTo>
                      <a:pt x="73905" y="8881"/>
                      <a:pt x="31488" y="72506"/>
                      <a:pt x="0" y="72506"/>
                    </a:cubicBezTo>
                  </a:path>
                </a:pathLst>
              </a:custGeom>
              <a:noFill/>
              <a:ln w="19050" cap="sq">
                <a:solidFill>
                  <a:srgbClr val="1D3EB6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56" name="Forma livre: Forma 155">
                <a:extLst>
                  <a:ext uri="{FF2B5EF4-FFF2-40B4-BE49-F238E27FC236}">
                    <a16:creationId xmlns:a16="http://schemas.microsoft.com/office/drawing/2014/main" id="{92F78FB2-B006-774C-ACDA-AD6D889ED8CE}"/>
                  </a:ext>
                </a:extLst>
              </p:cNvPr>
              <p:cNvSpPr/>
              <p:nvPr/>
            </p:nvSpPr>
            <p:spPr>
              <a:xfrm>
                <a:off x="6079857" y="1646956"/>
                <a:ext cx="29405" cy="9823"/>
              </a:xfrm>
              <a:custGeom>
                <a:avLst/>
                <a:gdLst>
                  <a:gd name="connsiteX0" fmla="*/ 0 w 29405"/>
                  <a:gd name="connsiteY0" fmla="*/ 0 h 9823"/>
                  <a:gd name="connsiteX1" fmla="*/ 29406 w 29405"/>
                  <a:gd name="connsiteY1" fmla="*/ 9824 h 98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9405" h="9823">
                    <a:moveTo>
                      <a:pt x="0" y="0"/>
                    </a:moveTo>
                    <a:lnTo>
                      <a:pt x="29406" y="9824"/>
                    </a:lnTo>
                  </a:path>
                </a:pathLst>
              </a:custGeom>
              <a:ln w="19050" cap="sq">
                <a:solidFill>
                  <a:srgbClr val="1D3EB6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57" name="Forma livre: Forma 156">
                <a:extLst>
                  <a:ext uri="{FF2B5EF4-FFF2-40B4-BE49-F238E27FC236}">
                    <a16:creationId xmlns:a16="http://schemas.microsoft.com/office/drawing/2014/main" id="{B446330F-D71A-27A7-8B3F-13B669F5F795}"/>
                  </a:ext>
                </a:extLst>
              </p:cNvPr>
              <p:cNvSpPr/>
              <p:nvPr/>
            </p:nvSpPr>
            <p:spPr>
              <a:xfrm>
                <a:off x="6061121" y="1545272"/>
                <a:ext cx="47166" cy="34154"/>
              </a:xfrm>
              <a:custGeom>
                <a:avLst/>
                <a:gdLst>
                  <a:gd name="connsiteX0" fmla="*/ 0 w 47166"/>
                  <a:gd name="connsiteY0" fmla="*/ 0 h 34154"/>
                  <a:gd name="connsiteX1" fmla="*/ 47166 w 47166"/>
                  <a:gd name="connsiteY1" fmla="*/ 34155 h 341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166" h="34154">
                    <a:moveTo>
                      <a:pt x="0" y="0"/>
                    </a:moveTo>
                    <a:cubicBezTo>
                      <a:pt x="0" y="0"/>
                      <a:pt x="27649" y="13011"/>
                      <a:pt x="47166" y="34155"/>
                    </a:cubicBezTo>
                  </a:path>
                </a:pathLst>
              </a:custGeom>
              <a:noFill/>
              <a:ln w="19050" cap="sq">
                <a:solidFill>
                  <a:srgbClr val="1D3EB6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38" name="Gráfico 32">
              <a:extLst>
                <a:ext uri="{FF2B5EF4-FFF2-40B4-BE49-F238E27FC236}">
                  <a16:creationId xmlns:a16="http://schemas.microsoft.com/office/drawing/2014/main" id="{E4037C24-5CA4-8A3D-B172-12A3451BD7F5}"/>
                </a:ext>
              </a:extLst>
            </p:cNvPr>
            <p:cNvGrpSpPr/>
            <p:nvPr/>
          </p:nvGrpSpPr>
          <p:grpSpPr>
            <a:xfrm>
              <a:off x="6191625" y="1599725"/>
              <a:ext cx="173767" cy="157112"/>
              <a:chOff x="6191625" y="1599725"/>
              <a:chExt cx="173767" cy="157112"/>
            </a:xfrm>
            <a:noFill/>
          </p:grpSpPr>
          <p:sp>
            <p:nvSpPr>
              <p:cNvPr id="148" name="Forma livre: Forma 147">
                <a:extLst>
                  <a:ext uri="{FF2B5EF4-FFF2-40B4-BE49-F238E27FC236}">
                    <a16:creationId xmlns:a16="http://schemas.microsoft.com/office/drawing/2014/main" id="{EBE7EBBD-C140-9A4E-C1AC-0C06C3BF6DAE}"/>
                  </a:ext>
                </a:extLst>
              </p:cNvPr>
              <p:cNvSpPr/>
              <p:nvPr/>
            </p:nvSpPr>
            <p:spPr>
              <a:xfrm>
                <a:off x="6310094" y="1621974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rgbClr val="1D3EB6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49" name="Forma livre: Forma 148">
                <a:extLst>
                  <a:ext uri="{FF2B5EF4-FFF2-40B4-BE49-F238E27FC236}">
                    <a16:creationId xmlns:a16="http://schemas.microsoft.com/office/drawing/2014/main" id="{B9BA6BA3-8D8C-0756-03BE-264A935C645F}"/>
                  </a:ext>
                </a:extLst>
              </p:cNvPr>
              <p:cNvSpPr/>
              <p:nvPr/>
            </p:nvSpPr>
            <p:spPr>
              <a:xfrm>
                <a:off x="6191625" y="1599725"/>
                <a:ext cx="118078" cy="49898"/>
              </a:xfrm>
              <a:custGeom>
                <a:avLst/>
                <a:gdLst>
                  <a:gd name="connsiteX0" fmla="*/ 0 w 118078"/>
                  <a:gd name="connsiteY0" fmla="*/ 0 h 49898"/>
                  <a:gd name="connsiteX1" fmla="*/ 37343 w 118078"/>
                  <a:gd name="connsiteY1" fmla="*/ 0 h 49898"/>
                  <a:gd name="connsiteX2" fmla="*/ 87176 w 118078"/>
                  <a:gd name="connsiteY2" fmla="*/ 49899 h 49898"/>
                  <a:gd name="connsiteX3" fmla="*/ 118078 w 118078"/>
                  <a:gd name="connsiteY3" fmla="*/ 49899 h 49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8078" h="49898">
                    <a:moveTo>
                      <a:pt x="0" y="0"/>
                    </a:moveTo>
                    <a:lnTo>
                      <a:pt x="37343" y="0"/>
                    </a:lnTo>
                    <a:lnTo>
                      <a:pt x="87176" y="49899"/>
                    </a:lnTo>
                    <a:lnTo>
                      <a:pt x="118078" y="49899"/>
                    </a:lnTo>
                  </a:path>
                </a:pathLst>
              </a:custGeom>
              <a:noFill/>
              <a:ln w="19050" cap="sq">
                <a:solidFill>
                  <a:srgbClr val="1D3EB6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50" name="Forma livre: Forma 149">
                <a:extLst>
                  <a:ext uri="{FF2B5EF4-FFF2-40B4-BE49-F238E27FC236}">
                    <a16:creationId xmlns:a16="http://schemas.microsoft.com/office/drawing/2014/main" id="{BB0858E8-46C8-5F05-B345-BD631469253B}"/>
                  </a:ext>
                </a:extLst>
              </p:cNvPr>
              <p:cNvSpPr/>
              <p:nvPr/>
            </p:nvSpPr>
            <p:spPr>
              <a:xfrm>
                <a:off x="6191625" y="1665367"/>
                <a:ext cx="81906" cy="44108"/>
              </a:xfrm>
              <a:custGeom>
                <a:avLst/>
                <a:gdLst>
                  <a:gd name="connsiteX0" fmla="*/ 0 w 81906"/>
                  <a:gd name="connsiteY0" fmla="*/ 0 h 44108"/>
                  <a:gd name="connsiteX1" fmla="*/ 37343 w 81906"/>
                  <a:gd name="connsiteY1" fmla="*/ 0 h 44108"/>
                  <a:gd name="connsiteX2" fmla="*/ 81907 w 81906"/>
                  <a:gd name="connsiteY2" fmla="*/ 44109 h 441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1906" h="44108">
                    <a:moveTo>
                      <a:pt x="0" y="0"/>
                    </a:moveTo>
                    <a:lnTo>
                      <a:pt x="37343" y="0"/>
                    </a:lnTo>
                    <a:lnTo>
                      <a:pt x="81907" y="44109"/>
                    </a:lnTo>
                  </a:path>
                </a:pathLst>
              </a:custGeom>
              <a:noFill/>
              <a:ln w="19050" cap="sq">
                <a:solidFill>
                  <a:srgbClr val="1D3EB6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51" name="Forma livre: Forma 150">
                <a:extLst>
                  <a:ext uri="{FF2B5EF4-FFF2-40B4-BE49-F238E27FC236}">
                    <a16:creationId xmlns:a16="http://schemas.microsoft.com/office/drawing/2014/main" id="{EAF2A82F-1CD4-306E-51B7-A51EAA51F2C6}"/>
                  </a:ext>
                </a:extLst>
              </p:cNvPr>
              <p:cNvSpPr/>
              <p:nvPr/>
            </p:nvSpPr>
            <p:spPr>
              <a:xfrm>
                <a:off x="6265075" y="1701539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rgbClr val="1D3EB6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39" name="Gráfico 32">
              <a:extLst>
                <a:ext uri="{FF2B5EF4-FFF2-40B4-BE49-F238E27FC236}">
                  <a16:creationId xmlns:a16="http://schemas.microsoft.com/office/drawing/2014/main" id="{7D76A5AE-1E15-CBC0-F9CD-FA46E25BF001}"/>
                </a:ext>
              </a:extLst>
            </p:cNvPr>
            <p:cNvGrpSpPr/>
            <p:nvPr/>
          </p:nvGrpSpPr>
          <p:grpSpPr>
            <a:xfrm>
              <a:off x="6191625" y="1357908"/>
              <a:ext cx="173767" cy="157112"/>
              <a:chOff x="6191625" y="1357908"/>
              <a:chExt cx="173767" cy="157112"/>
            </a:xfrm>
            <a:noFill/>
          </p:grpSpPr>
          <p:sp>
            <p:nvSpPr>
              <p:cNvPr id="144" name="Forma livre: Forma 143">
                <a:extLst>
                  <a:ext uri="{FF2B5EF4-FFF2-40B4-BE49-F238E27FC236}">
                    <a16:creationId xmlns:a16="http://schemas.microsoft.com/office/drawing/2014/main" id="{321DAA73-73F0-D478-7AC0-A908400B7A11}"/>
                  </a:ext>
                </a:extLst>
              </p:cNvPr>
              <p:cNvSpPr/>
              <p:nvPr/>
            </p:nvSpPr>
            <p:spPr>
              <a:xfrm>
                <a:off x="6310094" y="1437472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0 h 55298"/>
                  <a:gd name="connsiteX2" fmla="*/ 0 w 55298"/>
                  <a:gd name="connsiteY2" fmla="*/ 27649 h 55298"/>
                  <a:gd name="connsiteX3" fmla="*/ 27649 w 55298"/>
                  <a:gd name="connsiteY3" fmla="*/ 55298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12361"/>
                      <a:pt x="42938" y="0"/>
                      <a:pt x="27649" y="0"/>
                    </a:cubicBezTo>
                    <a:cubicBezTo>
                      <a:pt x="12361" y="0"/>
                      <a:pt x="0" y="12361"/>
                      <a:pt x="0" y="27649"/>
                    </a:cubicBezTo>
                    <a:cubicBezTo>
                      <a:pt x="0" y="42938"/>
                      <a:pt x="12361" y="55298"/>
                      <a:pt x="27649" y="55298"/>
                    </a:cubicBezTo>
                    <a:cubicBezTo>
                      <a:pt x="42938" y="55298"/>
                      <a:pt x="55298" y="42938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rgbClr val="1D3EB6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45" name="Forma livre: Forma 144">
                <a:extLst>
                  <a:ext uri="{FF2B5EF4-FFF2-40B4-BE49-F238E27FC236}">
                    <a16:creationId xmlns:a16="http://schemas.microsoft.com/office/drawing/2014/main" id="{3B8C9F86-DD7E-9349-0085-D2F162ADA8B0}"/>
                  </a:ext>
                </a:extLst>
              </p:cNvPr>
              <p:cNvSpPr/>
              <p:nvPr/>
            </p:nvSpPr>
            <p:spPr>
              <a:xfrm>
                <a:off x="6191625" y="1465122"/>
                <a:ext cx="118468" cy="49898"/>
              </a:xfrm>
              <a:custGeom>
                <a:avLst/>
                <a:gdLst>
                  <a:gd name="connsiteX0" fmla="*/ 0 w 118468"/>
                  <a:gd name="connsiteY0" fmla="*/ 49899 h 49898"/>
                  <a:gd name="connsiteX1" fmla="*/ 37343 w 118468"/>
                  <a:gd name="connsiteY1" fmla="*/ 49899 h 49898"/>
                  <a:gd name="connsiteX2" fmla="*/ 87176 w 118468"/>
                  <a:gd name="connsiteY2" fmla="*/ 0 h 49898"/>
                  <a:gd name="connsiteX3" fmla="*/ 118469 w 118468"/>
                  <a:gd name="connsiteY3" fmla="*/ 0 h 49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8468" h="49898">
                    <a:moveTo>
                      <a:pt x="0" y="49899"/>
                    </a:moveTo>
                    <a:lnTo>
                      <a:pt x="37343" y="49899"/>
                    </a:lnTo>
                    <a:lnTo>
                      <a:pt x="87176" y="0"/>
                    </a:lnTo>
                    <a:lnTo>
                      <a:pt x="118469" y="0"/>
                    </a:lnTo>
                  </a:path>
                </a:pathLst>
              </a:custGeom>
              <a:noFill/>
              <a:ln w="19050" cap="sq">
                <a:solidFill>
                  <a:srgbClr val="1D3EB6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46" name="Forma livre: Forma 145">
                <a:extLst>
                  <a:ext uri="{FF2B5EF4-FFF2-40B4-BE49-F238E27FC236}">
                    <a16:creationId xmlns:a16="http://schemas.microsoft.com/office/drawing/2014/main" id="{63D197BC-745A-404C-A56A-9D07E04526E4}"/>
                  </a:ext>
                </a:extLst>
              </p:cNvPr>
              <p:cNvSpPr/>
              <p:nvPr/>
            </p:nvSpPr>
            <p:spPr>
              <a:xfrm>
                <a:off x="6191625" y="1405269"/>
                <a:ext cx="81451" cy="44043"/>
              </a:xfrm>
              <a:custGeom>
                <a:avLst/>
                <a:gdLst>
                  <a:gd name="connsiteX0" fmla="*/ 0 w 81451"/>
                  <a:gd name="connsiteY0" fmla="*/ 44044 h 44043"/>
                  <a:gd name="connsiteX1" fmla="*/ 37343 w 81451"/>
                  <a:gd name="connsiteY1" fmla="*/ 44044 h 44043"/>
                  <a:gd name="connsiteX2" fmla="*/ 81451 w 81451"/>
                  <a:gd name="connsiteY2" fmla="*/ 0 h 440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1451" h="44043">
                    <a:moveTo>
                      <a:pt x="0" y="44044"/>
                    </a:moveTo>
                    <a:lnTo>
                      <a:pt x="37343" y="44044"/>
                    </a:lnTo>
                    <a:lnTo>
                      <a:pt x="81451" y="0"/>
                    </a:lnTo>
                  </a:path>
                </a:pathLst>
              </a:custGeom>
              <a:noFill/>
              <a:ln w="19050" cap="sq">
                <a:solidFill>
                  <a:srgbClr val="1D3EB6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47" name="Forma livre: Forma 146">
                <a:extLst>
                  <a:ext uri="{FF2B5EF4-FFF2-40B4-BE49-F238E27FC236}">
                    <a16:creationId xmlns:a16="http://schemas.microsoft.com/office/drawing/2014/main" id="{41845F59-8826-864C-1775-E0204FEB2FCB}"/>
                  </a:ext>
                </a:extLst>
              </p:cNvPr>
              <p:cNvSpPr/>
              <p:nvPr/>
            </p:nvSpPr>
            <p:spPr>
              <a:xfrm>
                <a:off x="6265075" y="1357908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0 h 55298"/>
                  <a:gd name="connsiteX2" fmla="*/ 0 w 55298"/>
                  <a:gd name="connsiteY2" fmla="*/ 27649 h 55298"/>
                  <a:gd name="connsiteX3" fmla="*/ 27649 w 55298"/>
                  <a:gd name="connsiteY3" fmla="*/ 55298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12361"/>
                      <a:pt x="42938" y="0"/>
                      <a:pt x="27649" y="0"/>
                    </a:cubicBezTo>
                    <a:cubicBezTo>
                      <a:pt x="12361" y="0"/>
                      <a:pt x="0" y="12361"/>
                      <a:pt x="0" y="27649"/>
                    </a:cubicBezTo>
                    <a:cubicBezTo>
                      <a:pt x="0" y="42938"/>
                      <a:pt x="12361" y="55298"/>
                      <a:pt x="27649" y="55298"/>
                    </a:cubicBezTo>
                    <a:cubicBezTo>
                      <a:pt x="42938" y="55298"/>
                      <a:pt x="55298" y="42938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rgbClr val="1D3EB6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40" name="Gráfico 32">
              <a:extLst>
                <a:ext uri="{FF2B5EF4-FFF2-40B4-BE49-F238E27FC236}">
                  <a16:creationId xmlns:a16="http://schemas.microsoft.com/office/drawing/2014/main" id="{B6FDC12C-E4B2-E758-0DFD-0C01BDD511F9}"/>
                </a:ext>
              </a:extLst>
            </p:cNvPr>
            <p:cNvGrpSpPr/>
            <p:nvPr/>
          </p:nvGrpSpPr>
          <p:grpSpPr>
            <a:xfrm>
              <a:off x="6190910" y="1529723"/>
              <a:ext cx="123673" cy="55298"/>
              <a:chOff x="6190910" y="1529723"/>
              <a:chExt cx="123673" cy="55298"/>
            </a:xfrm>
            <a:noFill/>
          </p:grpSpPr>
          <p:sp>
            <p:nvSpPr>
              <p:cNvPr id="142" name="Forma livre: Forma 141">
                <a:extLst>
                  <a:ext uri="{FF2B5EF4-FFF2-40B4-BE49-F238E27FC236}">
                    <a16:creationId xmlns:a16="http://schemas.microsoft.com/office/drawing/2014/main" id="{37F8C3E9-2D5E-8C20-C2BD-37343142290D}"/>
                  </a:ext>
                </a:extLst>
              </p:cNvPr>
              <p:cNvSpPr/>
              <p:nvPr/>
            </p:nvSpPr>
            <p:spPr>
              <a:xfrm>
                <a:off x="6190910" y="1557372"/>
                <a:ext cx="68765" cy="6505"/>
              </a:xfrm>
              <a:custGeom>
                <a:avLst/>
                <a:gdLst>
                  <a:gd name="connsiteX0" fmla="*/ 0 w 68765"/>
                  <a:gd name="connsiteY0" fmla="*/ 0 h 6505"/>
                  <a:gd name="connsiteX1" fmla="*/ 68765 w 68765"/>
                  <a:gd name="connsiteY1" fmla="*/ 0 h 65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8765" h="6505">
                    <a:moveTo>
                      <a:pt x="0" y="0"/>
                    </a:moveTo>
                    <a:lnTo>
                      <a:pt x="68765" y="0"/>
                    </a:lnTo>
                  </a:path>
                </a:pathLst>
              </a:custGeom>
              <a:ln w="19050" cap="sq">
                <a:solidFill>
                  <a:srgbClr val="1D3EB6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43" name="Forma livre: Forma 142">
                <a:extLst>
                  <a:ext uri="{FF2B5EF4-FFF2-40B4-BE49-F238E27FC236}">
                    <a16:creationId xmlns:a16="http://schemas.microsoft.com/office/drawing/2014/main" id="{D5978BFF-849C-01C8-B8D9-7FC8116F765C}"/>
                  </a:ext>
                </a:extLst>
              </p:cNvPr>
              <p:cNvSpPr/>
              <p:nvPr/>
            </p:nvSpPr>
            <p:spPr>
              <a:xfrm>
                <a:off x="6259285" y="1529723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rgbClr val="1D3EB6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41" name="Forma livre: Forma 140">
              <a:extLst>
                <a:ext uri="{FF2B5EF4-FFF2-40B4-BE49-F238E27FC236}">
                  <a16:creationId xmlns:a16="http://schemas.microsoft.com/office/drawing/2014/main" id="{8E9375E7-A96F-EC23-1AF3-C285E2D31646}"/>
                </a:ext>
              </a:extLst>
            </p:cNvPr>
            <p:cNvSpPr/>
            <p:nvPr/>
          </p:nvSpPr>
          <p:spPr>
            <a:xfrm>
              <a:off x="6152201" y="1686285"/>
              <a:ext cx="37362" cy="20848"/>
            </a:xfrm>
            <a:custGeom>
              <a:avLst/>
              <a:gdLst>
                <a:gd name="connsiteX0" fmla="*/ 0 w 37362"/>
                <a:gd name="connsiteY0" fmla="*/ 10505 h 20848"/>
                <a:gd name="connsiteX1" fmla="*/ 27064 w 37362"/>
                <a:gd name="connsiteY1" fmla="*/ 2373 h 20848"/>
                <a:gd name="connsiteX2" fmla="*/ 37343 w 37362"/>
                <a:gd name="connsiteY2" fmla="*/ 20849 h 20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7362" h="20848">
                  <a:moveTo>
                    <a:pt x="0" y="10505"/>
                  </a:moveTo>
                  <a:cubicBezTo>
                    <a:pt x="5205" y="811"/>
                    <a:pt x="17435" y="-2832"/>
                    <a:pt x="27064" y="2373"/>
                  </a:cubicBezTo>
                  <a:cubicBezTo>
                    <a:pt x="34025" y="6081"/>
                    <a:pt x="37668" y="13432"/>
                    <a:pt x="37343" y="20849"/>
                  </a:cubicBezTo>
                </a:path>
              </a:pathLst>
            </a:custGeom>
            <a:noFill/>
            <a:ln w="19050" cap="sq">
              <a:solidFill>
                <a:srgbClr val="1D3EB6"/>
              </a:solidFill>
              <a:prstDash val="solid"/>
              <a:miter lim="800000"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58" name="Agrupar 157">
            <a:extLst>
              <a:ext uri="{FF2B5EF4-FFF2-40B4-BE49-F238E27FC236}">
                <a16:creationId xmlns:a16="http://schemas.microsoft.com/office/drawing/2014/main" id="{6B893B52-62E0-2E51-AEA0-1EB1A2520352}"/>
              </a:ext>
            </a:extLst>
          </p:cNvPr>
          <p:cNvGrpSpPr/>
          <p:nvPr/>
        </p:nvGrpSpPr>
        <p:grpSpPr>
          <a:xfrm>
            <a:off x="4382841" y="4564906"/>
            <a:ext cx="552340" cy="603188"/>
            <a:chOff x="6000092" y="1357908"/>
            <a:chExt cx="365300" cy="398929"/>
          </a:xfrm>
        </p:grpSpPr>
        <p:sp>
          <p:nvSpPr>
            <p:cNvPr id="159" name="Forma livre: Forma 158">
              <a:extLst>
                <a:ext uri="{FF2B5EF4-FFF2-40B4-BE49-F238E27FC236}">
                  <a16:creationId xmlns:a16="http://schemas.microsoft.com/office/drawing/2014/main" id="{FBA01815-DBA9-59F6-4351-5288DBA5CE42}"/>
                </a:ext>
              </a:extLst>
            </p:cNvPr>
            <p:cNvSpPr/>
            <p:nvPr/>
          </p:nvSpPr>
          <p:spPr>
            <a:xfrm>
              <a:off x="6000092" y="1418606"/>
              <a:ext cx="84058" cy="286120"/>
            </a:xfrm>
            <a:custGeom>
              <a:avLst/>
              <a:gdLst>
                <a:gd name="connsiteX0" fmla="*/ 51595 w 84058"/>
                <a:gd name="connsiteY0" fmla="*/ 0 h 286120"/>
                <a:gd name="connsiteX1" fmla="*/ 35266 w 84058"/>
                <a:gd name="connsiteY1" fmla="*/ 61674 h 286120"/>
                <a:gd name="connsiteX2" fmla="*/ 28760 w 84058"/>
                <a:gd name="connsiteY2" fmla="*/ 193415 h 286120"/>
                <a:gd name="connsiteX3" fmla="*/ 84059 w 84058"/>
                <a:gd name="connsiteY3" fmla="*/ 286121 h 2861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4058" h="286120">
                  <a:moveTo>
                    <a:pt x="51595" y="0"/>
                  </a:moveTo>
                  <a:cubicBezTo>
                    <a:pt x="37868" y="7872"/>
                    <a:pt x="26028" y="24852"/>
                    <a:pt x="35266" y="61674"/>
                  </a:cubicBezTo>
                  <a:cubicBezTo>
                    <a:pt x="35266" y="61674"/>
                    <a:pt x="-39549" y="126731"/>
                    <a:pt x="28760" y="193415"/>
                  </a:cubicBezTo>
                  <a:cubicBezTo>
                    <a:pt x="28760" y="193415"/>
                    <a:pt x="9243" y="281242"/>
                    <a:pt x="84059" y="286121"/>
                  </a:cubicBezTo>
                </a:path>
              </a:pathLst>
            </a:custGeom>
            <a:noFill/>
            <a:ln w="19050" cap="sq">
              <a:solidFill>
                <a:srgbClr val="1D3EB6"/>
              </a:solidFill>
              <a:prstDash val="solid"/>
              <a:miter lim="800000"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60" name="Gráfico 32">
              <a:extLst>
                <a:ext uri="{FF2B5EF4-FFF2-40B4-BE49-F238E27FC236}">
                  <a16:creationId xmlns:a16="http://schemas.microsoft.com/office/drawing/2014/main" id="{EBB2FB47-5E22-5325-DA7C-0FBF69761214}"/>
                </a:ext>
              </a:extLst>
            </p:cNvPr>
            <p:cNvGrpSpPr/>
            <p:nvPr/>
          </p:nvGrpSpPr>
          <p:grpSpPr>
            <a:xfrm>
              <a:off x="6061121" y="1359924"/>
              <a:ext cx="128487" cy="396366"/>
              <a:chOff x="6061121" y="1359924"/>
              <a:chExt cx="128487" cy="396366"/>
            </a:xfrm>
            <a:noFill/>
          </p:grpSpPr>
          <p:sp>
            <p:nvSpPr>
              <p:cNvPr id="175" name="Forma livre: Forma 174">
                <a:extLst>
                  <a:ext uri="{FF2B5EF4-FFF2-40B4-BE49-F238E27FC236}">
                    <a16:creationId xmlns:a16="http://schemas.microsoft.com/office/drawing/2014/main" id="{2EFBABC5-5C39-B38A-6D77-0382CE06932A}"/>
                  </a:ext>
                </a:extLst>
              </p:cNvPr>
              <p:cNvSpPr/>
              <p:nvPr/>
            </p:nvSpPr>
            <p:spPr>
              <a:xfrm>
                <a:off x="6083891" y="1359924"/>
                <a:ext cx="105717" cy="396366"/>
              </a:xfrm>
              <a:custGeom>
                <a:avLst/>
                <a:gdLst>
                  <a:gd name="connsiteX0" fmla="*/ 52891 w 105717"/>
                  <a:gd name="connsiteY0" fmla="*/ 105718 h 396366"/>
                  <a:gd name="connsiteX1" fmla="*/ 0 w 105717"/>
                  <a:gd name="connsiteY1" fmla="*/ 52891 h 396366"/>
                  <a:gd name="connsiteX2" fmla="*/ 52891 w 105717"/>
                  <a:gd name="connsiteY2" fmla="*/ 0 h 396366"/>
                  <a:gd name="connsiteX3" fmla="*/ 105718 w 105717"/>
                  <a:gd name="connsiteY3" fmla="*/ 52826 h 396366"/>
                  <a:gd name="connsiteX4" fmla="*/ 105718 w 105717"/>
                  <a:gd name="connsiteY4" fmla="*/ 346884 h 396366"/>
                  <a:gd name="connsiteX5" fmla="*/ 80606 w 105717"/>
                  <a:gd name="connsiteY5" fmla="*/ 388911 h 396366"/>
                  <a:gd name="connsiteX6" fmla="*/ 9238 w 105717"/>
                  <a:gd name="connsiteY6" fmla="*/ 371150 h 396366"/>
                  <a:gd name="connsiteX7" fmla="*/ 15484 w 105717"/>
                  <a:gd name="connsiteY7" fmla="*/ 309216 h 396366"/>
                  <a:gd name="connsiteX8" fmla="*/ 45019 w 105717"/>
                  <a:gd name="connsiteY8" fmla="*/ 277078 h 3963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05717" h="396366">
                    <a:moveTo>
                      <a:pt x="52891" y="105718"/>
                    </a:moveTo>
                    <a:cubicBezTo>
                      <a:pt x="23681" y="105718"/>
                      <a:pt x="0" y="82037"/>
                      <a:pt x="0" y="52891"/>
                    </a:cubicBezTo>
                    <a:cubicBezTo>
                      <a:pt x="0" y="23746"/>
                      <a:pt x="23681" y="0"/>
                      <a:pt x="52891" y="0"/>
                    </a:cubicBezTo>
                    <a:cubicBezTo>
                      <a:pt x="82102" y="0"/>
                      <a:pt x="105718" y="23681"/>
                      <a:pt x="105718" y="52826"/>
                    </a:cubicBezTo>
                    <a:lnTo>
                      <a:pt x="105718" y="346884"/>
                    </a:lnTo>
                    <a:cubicBezTo>
                      <a:pt x="105718" y="364580"/>
                      <a:pt x="96414" y="379413"/>
                      <a:pt x="80606" y="388911"/>
                    </a:cubicBezTo>
                    <a:cubicBezTo>
                      <a:pt x="55949" y="403744"/>
                      <a:pt x="24006" y="395742"/>
                      <a:pt x="9238" y="371150"/>
                    </a:cubicBezTo>
                    <a:cubicBezTo>
                      <a:pt x="-2928" y="350918"/>
                      <a:pt x="260" y="325741"/>
                      <a:pt x="15484" y="309216"/>
                    </a:cubicBezTo>
                    <a:lnTo>
                      <a:pt x="45019" y="277078"/>
                    </a:lnTo>
                  </a:path>
                </a:pathLst>
              </a:custGeom>
              <a:noFill/>
              <a:ln w="19050" cap="sq">
                <a:solidFill>
                  <a:srgbClr val="1D3EB6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76" name="Forma livre: Forma 175">
                <a:extLst>
                  <a:ext uri="{FF2B5EF4-FFF2-40B4-BE49-F238E27FC236}">
                    <a16:creationId xmlns:a16="http://schemas.microsoft.com/office/drawing/2014/main" id="{3EAE188B-A4CA-9824-82CB-D1477D9F50A8}"/>
                  </a:ext>
                </a:extLst>
              </p:cNvPr>
              <p:cNvSpPr/>
              <p:nvPr/>
            </p:nvSpPr>
            <p:spPr>
              <a:xfrm>
                <a:off x="6144784" y="1383865"/>
                <a:ext cx="41563" cy="38963"/>
              </a:xfrm>
              <a:custGeom>
                <a:avLst/>
                <a:gdLst>
                  <a:gd name="connsiteX0" fmla="*/ 36172 w 41563"/>
                  <a:gd name="connsiteY0" fmla="*/ 0 h 38963"/>
                  <a:gd name="connsiteX1" fmla="*/ 39425 w 41563"/>
                  <a:gd name="connsiteY1" fmla="*/ 24266 h 38963"/>
                  <a:gd name="connsiteX2" fmla="*/ 36432 w 41563"/>
                  <a:gd name="connsiteY2" fmla="*/ 29080 h 38963"/>
                  <a:gd name="connsiteX3" fmla="*/ 0 w 41563"/>
                  <a:gd name="connsiteY3" fmla="*/ 33439 h 389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563" h="38963">
                    <a:moveTo>
                      <a:pt x="36172" y="0"/>
                    </a:moveTo>
                    <a:cubicBezTo>
                      <a:pt x="41571" y="7547"/>
                      <a:pt x="43393" y="16004"/>
                      <a:pt x="39425" y="24266"/>
                    </a:cubicBezTo>
                    <a:cubicBezTo>
                      <a:pt x="38644" y="25893"/>
                      <a:pt x="37603" y="27519"/>
                      <a:pt x="36432" y="29080"/>
                    </a:cubicBezTo>
                    <a:cubicBezTo>
                      <a:pt x="27584" y="40270"/>
                      <a:pt x="11190" y="42287"/>
                      <a:pt x="0" y="33439"/>
                    </a:cubicBezTo>
                  </a:path>
                </a:pathLst>
              </a:custGeom>
              <a:noFill/>
              <a:ln w="19050" cap="sq">
                <a:solidFill>
                  <a:srgbClr val="1D3EB6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77" name="Forma livre: Forma 176">
                <a:extLst>
                  <a:ext uri="{FF2B5EF4-FFF2-40B4-BE49-F238E27FC236}">
                    <a16:creationId xmlns:a16="http://schemas.microsoft.com/office/drawing/2014/main" id="{79A7B020-4DC2-897B-47EA-B27D1E7D42AB}"/>
                  </a:ext>
                </a:extLst>
              </p:cNvPr>
              <p:cNvSpPr/>
              <p:nvPr/>
            </p:nvSpPr>
            <p:spPr>
              <a:xfrm>
                <a:off x="6081487" y="1460806"/>
                <a:ext cx="34217" cy="54474"/>
              </a:xfrm>
              <a:custGeom>
                <a:avLst/>
                <a:gdLst>
                  <a:gd name="connsiteX0" fmla="*/ 21076 w 34217"/>
                  <a:gd name="connsiteY0" fmla="*/ 54475 h 54474"/>
                  <a:gd name="connsiteX1" fmla="*/ 778 w 34217"/>
                  <a:gd name="connsiteY1" fmla="*/ 21035 h 54474"/>
                  <a:gd name="connsiteX2" fmla="*/ 34217 w 34217"/>
                  <a:gd name="connsiteY2" fmla="*/ 803 h 544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4217" h="54474">
                    <a:moveTo>
                      <a:pt x="21076" y="54475"/>
                    </a:moveTo>
                    <a:cubicBezTo>
                      <a:pt x="6308" y="50832"/>
                      <a:pt x="-2800" y="35803"/>
                      <a:pt x="778" y="21035"/>
                    </a:cubicBezTo>
                    <a:cubicBezTo>
                      <a:pt x="4421" y="6267"/>
                      <a:pt x="19449" y="-2841"/>
                      <a:pt x="34217" y="803"/>
                    </a:cubicBezTo>
                  </a:path>
                </a:pathLst>
              </a:custGeom>
              <a:noFill/>
              <a:ln w="19050" cap="sq">
                <a:solidFill>
                  <a:srgbClr val="1D3EB6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78" name="Forma livre: Forma 177">
                <a:extLst>
                  <a:ext uri="{FF2B5EF4-FFF2-40B4-BE49-F238E27FC236}">
                    <a16:creationId xmlns:a16="http://schemas.microsoft.com/office/drawing/2014/main" id="{5F173CDA-4C8A-5EE9-D2F3-A4544F4823E3}"/>
                  </a:ext>
                </a:extLst>
              </p:cNvPr>
              <p:cNvSpPr/>
              <p:nvPr/>
            </p:nvSpPr>
            <p:spPr>
              <a:xfrm>
                <a:off x="6073547" y="1527543"/>
                <a:ext cx="114760" cy="72506"/>
              </a:xfrm>
              <a:custGeom>
                <a:avLst/>
                <a:gdLst>
                  <a:gd name="connsiteX0" fmla="*/ 114760 w 114760"/>
                  <a:gd name="connsiteY0" fmla="*/ 7254 h 72506"/>
                  <a:gd name="connsiteX1" fmla="*/ 73905 w 114760"/>
                  <a:gd name="connsiteY1" fmla="*/ 8881 h 72506"/>
                  <a:gd name="connsiteX2" fmla="*/ 0 w 114760"/>
                  <a:gd name="connsiteY2" fmla="*/ 72506 h 725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14760" h="72506">
                    <a:moveTo>
                      <a:pt x="114760" y="7254"/>
                    </a:moveTo>
                    <a:cubicBezTo>
                      <a:pt x="103375" y="-2830"/>
                      <a:pt x="83989" y="-2504"/>
                      <a:pt x="73905" y="8881"/>
                    </a:cubicBezTo>
                    <a:cubicBezTo>
                      <a:pt x="73905" y="8881"/>
                      <a:pt x="31488" y="72506"/>
                      <a:pt x="0" y="72506"/>
                    </a:cubicBezTo>
                  </a:path>
                </a:pathLst>
              </a:custGeom>
              <a:noFill/>
              <a:ln w="19050" cap="sq">
                <a:solidFill>
                  <a:srgbClr val="1D3EB6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79" name="Forma livre: Forma 178">
                <a:extLst>
                  <a:ext uri="{FF2B5EF4-FFF2-40B4-BE49-F238E27FC236}">
                    <a16:creationId xmlns:a16="http://schemas.microsoft.com/office/drawing/2014/main" id="{15DDE034-1FFD-CEDB-9769-81783DC07BCF}"/>
                  </a:ext>
                </a:extLst>
              </p:cNvPr>
              <p:cNvSpPr/>
              <p:nvPr/>
            </p:nvSpPr>
            <p:spPr>
              <a:xfrm>
                <a:off x="6079857" y="1646956"/>
                <a:ext cx="29405" cy="9823"/>
              </a:xfrm>
              <a:custGeom>
                <a:avLst/>
                <a:gdLst>
                  <a:gd name="connsiteX0" fmla="*/ 0 w 29405"/>
                  <a:gd name="connsiteY0" fmla="*/ 0 h 9823"/>
                  <a:gd name="connsiteX1" fmla="*/ 29406 w 29405"/>
                  <a:gd name="connsiteY1" fmla="*/ 9824 h 98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9405" h="9823">
                    <a:moveTo>
                      <a:pt x="0" y="0"/>
                    </a:moveTo>
                    <a:lnTo>
                      <a:pt x="29406" y="9824"/>
                    </a:lnTo>
                  </a:path>
                </a:pathLst>
              </a:custGeom>
              <a:ln w="19050" cap="sq">
                <a:solidFill>
                  <a:srgbClr val="1D3EB6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80" name="Forma livre: Forma 179">
                <a:extLst>
                  <a:ext uri="{FF2B5EF4-FFF2-40B4-BE49-F238E27FC236}">
                    <a16:creationId xmlns:a16="http://schemas.microsoft.com/office/drawing/2014/main" id="{CDA292BA-6A24-06F5-63DE-470FFE0DC988}"/>
                  </a:ext>
                </a:extLst>
              </p:cNvPr>
              <p:cNvSpPr/>
              <p:nvPr/>
            </p:nvSpPr>
            <p:spPr>
              <a:xfrm>
                <a:off x="6061121" y="1545272"/>
                <a:ext cx="47166" cy="34154"/>
              </a:xfrm>
              <a:custGeom>
                <a:avLst/>
                <a:gdLst>
                  <a:gd name="connsiteX0" fmla="*/ 0 w 47166"/>
                  <a:gd name="connsiteY0" fmla="*/ 0 h 34154"/>
                  <a:gd name="connsiteX1" fmla="*/ 47166 w 47166"/>
                  <a:gd name="connsiteY1" fmla="*/ 34155 h 341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166" h="34154">
                    <a:moveTo>
                      <a:pt x="0" y="0"/>
                    </a:moveTo>
                    <a:cubicBezTo>
                      <a:pt x="0" y="0"/>
                      <a:pt x="27649" y="13011"/>
                      <a:pt x="47166" y="34155"/>
                    </a:cubicBezTo>
                  </a:path>
                </a:pathLst>
              </a:custGeom>
              <a:noFill/>
              <a:ln w="19050" cap="sq">
                <a:solidFill>
                  <a:srgbClr val="1D3EB6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61" name="Gráfico 32">
              <a:extLst>
                <a:ext uri="{FF2B5EF4-FFF2-40B4-BE49-F238E27FC236}">
                  <a16:creationId xmlns:a16="http://schemas.microsoft.com/office/drawing/2014/main" id="{E53079E3-1F34-29BA-3081-08299F19BC31}"/>
                </a:ext>
              </a:extLst>
            </p:cNvPr>
            <p:cNvGrpSpPr/>
            <p:nvPr/>
          </p:nvGrpSpPr>
          <p:grpSpPr>
            <a:xfrm>
              <a:off x="6191625" y="1599725"/>
              <a:ext cx="173767" cy="157112"/>
              <a:chOff x="6191625" y="1599725"/>
              <a:chExt cx="173767" cy="157112"/>
            </a:xfrm>
            <a:noFill/>
          </p:grpSpPr>
          <p:sp>
            <p:nvSpPr>
              <p:cNvPr id="171" name="Forma livre: Forma 170">
                <a:extLst>
                  <a:ext uri="{FF2B5EF4-FFF2-40B4-BE49-F238E27FC236}">
                    <a16:creationId xmlns:a16="http://schemas.microsoft.com/office/drawing/2014/main" id="{8E42C119-816F-414E-B97B-4EC41BD1815B}"/>
                  </a:ext>
                </a:extLst>
              </p:cNvPr>
              <p:cNvSpPr/>
              <p:nvPr/>
            </p:nvSpPr>
            <p:spPr>
              <a:xfrm>
                <a:off x="6310094" y="1621974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rgbClr val="1D3EB6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72" name="Forma livre: Forma 171">
                <a:extLst>
                  <a:ext uri="{FF2B5EF4-FFF2-40B4-BE49-F238E27FC236}">
                    <a16:creationId xmlns:a16="http://schemas.microsoft.com/office/drawing/2014/main" id="{55B10D5F-35BE-49D3-4331-10FB4C5E5575}"/>
                  </a:ext>
                </a:extLst>
              </p:cNvPr>
              <p:cNvSpPr/>
              <p:nvPr/>
            </p:nvSpPr>
            <p:spPr>
              <a:xfrm>
                <a:off x="6191625" y="1599725"/>
                <a:ext cx="118078" cy="49898"/>
              </a:xfrm>
              <a:custGeom>
                <a:avLst/>
                <a:gdLst>
                  <a:gd name="connsiteX0" fmla="*/ 0 w 118078"/>
                  <a:gd name="connsiteY0" fmla="*/ 0 h 49898"/>
                  <a:gd name="connsiteX1" fmla="*/ 37343 w 118078"/>
                  <a:gd name="connsiteY1" fmla="*/ 0 h 49898"/>
                  <a:gd name="connsiteX2" fmla="*/ 87176 w 118078"/>
                  <a:gd name="connsiteY2" fmla="*/ 49899 h 49898"/>
                  <a:gd name="connsiteX3" fmla="*/ 118078 w 118078"/>
                  <a:gd name="connsiteY3" fmla="*/ 49899 h 49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8078" h="49898">
                    <a:moveTo>
                      <a:pt x="0" y="0"/>
                    </a:moveTo>
                    <a:lnTo>
                      <a:pt x="37343" y="0"/>
                    </a:lnTo>
                    <a:lnTo>
                      <a:pt x="87176" y="49899"/>
                    </a:lnTo>
                    <a:lnTo>
                      <a:pt x="118078" y="49899"/>
                    </a:lnTo>
                  </a:path>
                </a:pathLst>
              </a:custGeom>
              <a:noFill/>
              <a:ln w="19050" cap="sq">
                <a:solidFill>
                  <a:srgbClr val="1D3EB6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73" name="Forma livre: Forma 172">
                <a:extLst>
                  <a:ext uri="{FF2B5EF4-FFF2-40B4-BE49-F238E27FC236}">
                    <a16:creationId xmlns:a16="http://schemas.microsoft.com/office/drawing/2014/main" id="{17BA4243-450E-C6B0-919D-887024FAE338}"/>
                  </a:ext>
                </a:extLst>
              </p:cNvPr>
              <p:cNvSpPr/>
              <p:nvPr/>
            </p:nvSpPr>
            <p:spPr>
              <a:xfrm>
                <a:off x="6191625" y="1665367"/>
                <a:ext cx="81906" cy="44108"/>
              </a:xfrm>
              <a:custGeom>
                <a:avLst/>
                <a:gdLst>
                  <a:gd name="connsiteX0" fmla="*/ 0 w 81906"/>
                  <a:gd name="connsiteY0" fmla="*/ 0 h 44108"/>
                  <a:gd name="connsiteX1" fmla="*/ 37343 w 81906"/>
                  <a:gd name="connsiteY1" fmla="*/ 0 h 44108"/>
                  <a:gd name="connsiteX2" fmla="*/ 81907 w 81906"/>
                  <a:gd name="connsiteY2" fmla="*/ 44109 h 441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1906" h="44108">
                    <a:moveTo>
                      <a:pt x="0" y="0"/>
                    </a:moveTo>
                    <a:lnTo>
                      <a:pt x="37343" y="0"/>
                    </a:lnTo>
                    <a:lnTo>
                      <a:pt x="81907" y="44109"/>
                    </a:lnTo>
                  </a:path>
                </a:pathLst>
              </a:custGeom>
              <a:noFill/>
              <a:ln w="19050" cap="sq">
                <a:solidFill>
                  <a:srgbClr val="1D3EB6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74" name="Forma livre: Forma 173">
                <a:extLst>
                  <a:ext uri="{FF2B5EF4-FFF2-40B4-BE49-F238E27FC236}">
                    <a16:creationId xmlns:a16="http://schemas.microsoft.com/office/drawing/2014/main" id="{BEA4E23D-FEB2-4B74-88B0-2F31B226B7CC}"/>
                  </a:ext>
                </a:extLst>
              </p:cNvPr>
              <p:cNvSpPr/>
              <p:nvPr/>
            </p:nvSpPr>
            <p:spPr>
              <a:xfrm>
                <a:off x="6265075" y="1701539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rgbClr val="1D3EB6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62" name="Gráfico 32">
              <a:extLst>
                <a:ext uri="{FF2B5EF4-FFF2-40B4-BE49-F238E27FC236}">
                  <a16:creationId xmlns:a16="http://schemas.microsoft.com/office/drawing/2014/main" id="{849B6729-128E-A8CD-F553-4824131DCCE7}"/>
                </a:ext>
              </a:extLst>
            </p:cNvPr>
            <p:cNvGrpSpPr/>
            <p:nvPr/>
          </p:nvGrpSpPr>
          <p:grpSpPr>
            <a:xfrm>
              <a:off x="6191625" y="1357908"/>
              <a:ext cx="173767" cy="157112"/>
              <a:chOff x="6191625" y="1357908"/>
              <a:chExt cx="173767" cy="157112"/>
            </a:xfrm>
            <a:noFill/>
          </p:grpSpPr>
          <p:sp>
            <p:nvSpPr>
              <p:cNvPr id="167" name="Forma livre: Forma 166">
                <a:extLst>
                  <a:ext uri="{FF2B5EF4-FFF2-40B4-BE49-F238E27FC236}">
                    <a16:creationId xmlns:a16="http://schemas.microsoft.com/office/drawing/2014/main" id="{73FD660A-C72F-D892-AF47-43DC92331DF0}"/>
                  </a:ext>
                </a:extLst>
              </p:cNvPr>
              <p:cNvSpPr/>
              <p:nvPr/>
            </p:nvSpPr>
            <p:spPr>
              <a:xfrm>
                <a:off x="6310094" y="1437472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0 h 55298"/>
                  <a:gd name="connsiteX2" fmla="*/ 0 w 55298"/>
                  <a:gd name="connsiteY2" fmla="*/ 27649 h 55298"/>
                  <a:gd name="connsiteX3" fmla="*/ 27649 w 55298"/>
                  <a:gd name="connsiteY3" fmla="*/ 55298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12361"/>
                      <a:pt x="42938" y="0"/>
                      <a:pt x="27649" y="0"/>
                    </a:cubicBezTo>
                    <a:cubicBezTo>
                      <a:pt x="12361" y="0"/>
                      <a:pt x="0" y="12361"/>
                      <a:pt x="0" y="27649"/>
                    </a:cubicBezTo>
                    <a:cubicBezTo>
                      <a:pt x="0" y="42938"/>
                      <a:pt x="12361" y="55298"/>
                      <a:pt x="27649" y="55298"/>
                    </a:cubicBezTo>
                    <a:cubicBezTo>
                      <a:pt x="42938" y="55298"/>
                      <a:pt x="55298" y="42938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rgbClr val="1D3EB6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68" name="Forma livre: Forma 167">
                <a:extLst>
                  <a:ext uri="{FF2B5EF4-FFF2-40B4-BE49-F238E27FC236}">
                    <a16:creationId xmlns:a16="http://schemas.microsoft.com/office/drawing/2014/main" id="{6D29C015-304A-7ED3-8683-477A3DE300BF}"/>
                  </a:ext>
                </a:extLst>
              </p:cNvPr>
              <p:cNvSpPr/>
              <p:nvPr/>
            </p:nvSpPr>
            <p:spPr>
              <a:xfrm>
                <a:off x="6191625" y="1465122"/>
                <a:ext cx="118468" cy="49898"/>
              </a:xfrm>
              <a:custGeom>
                <a:avLst/>
                <a:gdLst>
                  <a:gd name="connsiteX0" fmla="*/ 0 w 118468"/>
                  <a:gd name="connsiteY0" fmla="*/ 49899 h 49898"/>
                  <a:gd name="connsiteX1" fmla="*/ 37343 w 118468"/>
                  <a:gd name="connsiteY1" fmla="*/ 49899 h 49898"/>
                  <a:gd name="connsiteX2" fmla="*/ 87176 w 118468"/>
                  <a:gd name="connsiteY2" fmla="*/ 0 h 49898"/>
                  <a:gd name="connsiteX3" fmla="*/ 118469 w 118468"/>
                  <a:gd name="connsiteY3" fmla="*/ 0 h 49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8468" h="49898">
                    <a:moveTo>
                      <a:pt x="0" y="49899"/>
                    </a:moveTo>
                    <a:lnTo>
                      <a:pt x="37343" y="49899"/>
                    </a:lnTo>
                    <a:lnTo>
                      <a:pt x="87176" y="0"/>
                    </a:lnTo>
                    <a:lnTo>
                      <a:pt x="118469" y="0"/>
                    </a:lnTo>
                  </a:path>
                </a:pathLst>
              </a:custGeom>
              <a:noFill/>
              <a:ln w="19050" cap="sq">
                <a:solidFill>
                  <a:srgbClr val="1D3EB6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69" name="Forma livre: Forma 168">
                <a:extLst>
                  <a:ext uri="{FF2B5EF4-FFF2-40B4-BE49-F238E27FC236}">
                    <a16:creationId xmlns:a16="http://schemas.microsoft.com/office/drawing/2014/main" id="{D8017691-923F-E811-2386-CFCC2AD03C46}"/>
                  </a:ext>
                </a:extLst>
              </p:cNvPr>
              <p:cNvSpPr/>
              <p:nvPr/>
            </p:nvSpPr>
            <p:spPr>
              <a:xfrm>
                <a:off x="6191625" y="1405269"/>
                <a:ext cx="81451" cy="44043"/>
              </a:xfrm>
              <a:custGeom>
                <a:avLst/>
                <a:gdLst>
                  <a:gd name="connsiteX0" fmla="*/ 0 w 81451"/>
                  <a:gd name="connsiteY0" fmla="*/ 44044 h 44043"/>
                  <a:gd name="connsiteX1" fmla="*/ 37343 w 81451"/>
                  <a:gd name="connsiteY1" fmla="*/ 44044 h 44043"/>
                  <a:gd name="connsiteX2" fmla="*/ 81451 w 81451"/>
                  <a:gd name="connsiteY2" fmla="*/ 0 h 440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1451" h="44043">
                    <a:moveTo>
                      <a:pt x="0" y="44044"/>
                    </a:moveTo>
                    <a:lnTo>
                      <a:pt x="37343" y="44044"/>
                    </a:lnTo>
                    <a:lnTo>
                      <a:pt x="81451" y="0"/>
                    </a:lnTo>
                  </a:path>
                </a:pathLst>
              </a:custGeom>
              <a:noFill/>
              <a:ln w="19050" cap="sq">
                <a:solidFill>
                  <a:srgbClr val="1D3EB6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70" name="Forma livre: Forma 169">
                <a:extLst>
                  <a:ext uri="{FF2B5EF4-FFF2-40B4-BE49-F238E27FC236}">
                    <a16:creationId xmlns:a16="http://schemas.microsoft.com/office/drawing/2014/main" id="{FFD8D4F0-BD8C-02D7-08AF-1F6F42DD25F8}"/>
                  </a:ext>
                </a:extLst>
              </p:cNvPr>
              <p:cNvSpPr/>
              <p:nvPr/>
            </p:nvSpPr>
            <p:spPr>
              <a:xfrm>
                <a:off x="6265075" y="1357908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0 h 55298"/>
                  <a:gd name="connsiteX2" fmla="*/ 0 w 55298"/>
                  <a:gd name="connsiteY2" fmla="*/ 27649 h 55298"/>
                  <a:gd name="connsiteX3" fmla="*/ 27649 w 55298"/>
                  <a:gd name="connsiteY3" fmla="*/ 55298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12361"/>
                      <a:pt x="42938" y="0"/>
                      <a:pt x="27649" y="0"/>
                    </a:cubicBezTo>
                    <a:cubicBezTo>
                      <a:pt x="12361" y="0"/>
                      <a:pt x="0" y="12361"/>
                      <a:pt x="0" y="27649"/>
                    </a:cubicBezTo>
                    <a:cubicBezTo>
                      <a:pt x="0" y="42938"/>
                      <a:pt x="12361" y="55298"/>
                      <a:pt x="27649" y="55298"/>
                    </a:cubicBezTo>
                    <a:cubicBezTo>
                      <a:pt x="42938" y="55298"/>
                      <a:pt x="55298" y="42938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rgbClr val="1D3EB6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63" name="Gráfico 32">
              <a:extLst>
                <a:ext uri="{FF2B5EF4-FFF2-40B4-BE49-F238E27FC236}">
                  <a16:creationId xmlns:a16="http://schemas.microsoft.com/office/drawing/2014/main" id="{48048941-2D14-3718-BE25-4643B85136E8}"/>
                </a:ext>
              </a:extLst>
            </p:cNvPr>
            <p:cNvGrpSpPr/>
            <p:nvPr/>
          </p:nvGrpSpPr>
          <p:grpSpPr>
            <a:xfrm>
              <a:off x="6190910" y="1529723"/>
              <a:ext cx="123673" cy="55298"/>
              <a:chOff x="6190910" y="1529723"/>
              <a:chExt cx="123673" cy="55298"/>
            </a:xfrm>
            <a:noFill/>
          </p:grpSpPr>
          <p:sp>
            <p:nvSpPr>
              <p:cNvPr id="165" name="Forma livre: Forma 164">
                <a:extLst>
                  <a:ext uri="{FF2B5EF4-FFF2-40B4-BE49-F238E27FC236}">
                    <a16:creationId xmlns:a16="http://schemas.microsoft.com/office/drawing/2014/main" id="{6762FA60-8150-1FE4-4B3A-EE0724A3FA16}"/>
                  </a:ext>
                </a:extLst>
              </p:cNvPr>
              <p:cNvSpPr/>
              <p:nvPr/>
            </p:nvSpPr>
            <p:spPr>
              <a:xfrm>
                <a:off x="6190910" y="1557372"/>
                <a:ext cx="68765" cy="6505"/>
              </a:xfrm>
              <a:custGeom>
                <a:avLst/>
                <a:gdLst>
                  <a:gd name="connsiteX0" fmla="*/ 0 w 68765"/>
                  <a:gd name="connsiteY0" fmla="*/ 0 h 6505"/>
                  <a:gd name="connsiteX1" fmla="*/ 68765 w 68765"/>
                  <a:gd name="connsiteY1" fmla="*/ 0 h 65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8765" h="6505">
                    <a:moveTo>
                      <a:pt x="0" y="0"/>
                    </a:moveTo>
                    <a:lnTo>
                      <a:pt x="68765" y="0"/>
                    </a:lnTo>
                  </a:path>
                </a:pathLst>
              </a:custGeom>
              <a:ln w="19050" cap="sq">
                <a:solidFill>
                  <a:srgbClr val="1D3EB6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66" name="Forma livre: Forma 165">
                <a:extLst>
                  <a:ext uri="{FF2B5EF4-FFF2-40B4-BE49-F238E27FC236}">
                    <a16:creationId xmlns:a16="http://schemas.microsoft.com/office/drawing/2014/main" id="{15BF34C9-52E0-3E4E-C30F-6E8175E89FD2}"/>
                  </a:ext>
                </a:extLst>
              </p:cNvPr>
              <p:cNvSpPr/>
              <p:nvPr/>
            </p:nvSpPr>
            <p:spPr>
              <a:xfrm>
                <a:off x="6259285" y="1529723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rgbClr val="1D3EB6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64" name="Forma livre: Forma 163">
              <a:extLst>
                <a:ext uri="{FF2B5EF4-FFF2-40B4-BE49-F238E27FC236}">
                  <a16:creationId xmlns:a16="http://schemas.microsoft.com/office/drawing/2014/main" id="{40A463CC-2B18-BDA5-D6D1-B2C6BC429AB0}"/>
                </a:ext>
              </a:extLst>
            </p:cNvPr>
            <p:cNvSpPr/>
            <p:nvPr/>
          </p:nvSpPr>
          <p:spPr>
            <a:xfrm>
              <a:off x="6152201" y="1686285"/>
              <a:ext cx="37362" cy="20848"/>
            </a:xfrm>
            <a:custGeom>
              <a:avLst/>
              <a:gdLst>
                <a:gd name="connsiteX0" fmla="*/ 0 w 37362"/>
                <a:gd name="connsiteY0" fmla="*/ 10505 h 20848"/>
                <a:gd name="connsiteX1" fmla="*/ 27064 w 37362"/>
                <a:gd name="connsiteY1" fmla="*/ 2373 h 20848"/>
                <a:gd name="connsiteX2" fmla="*/ 37343 w 37362"/>
                <a:gd name="connsiteY2" fmla="*/ 20849 h 20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7362" h="20848">
                  <a:moveTo>
                    <a:pt x="0" y="10505"/>
                  </a:moveTo>
                  <a:cubicBezTo>
                    <a:pt x="5205" y="811"/>
                    <a:pt x="17435" y="-2832"/>
                    <a:pt x="27064" y="2373"/>
                  </a:cubicBezTo>
                  <a:cubicBezTo>
                    <a:pt x="34025" y="6081"/>
                    <a:pt x="37668" y="13432"/>
                    <a:pt x="37343" y="20849"/>
                  </a:cubicBezTo>
                </a:path>
              </a:pathLst>
            </a:custGeom>
            <a:noFill/>
            <a:ln w="19050" cap="sq">
              <a:solidFill>
                <a:srgbClr val="1D3EB6"/>
              </a:solidFill>
              <a:prstDash val="solid"/>
              <a:miter lim="800000"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81" name="Agrupar 180">
            <a:extLst>
              <a:ext uri="{FF2B5EF4-FFF2-40B4-BE49-F238E27FC236}">
                <a16:creationId xmlns:a16="http://schemas.microsoft.com/office/drawing/2014/main" id="{D60AFD22-F5E3-C259-0DF9-77A0B09ED837}"/>
              </a:ext>
            </a:extLst>
          </p:cNvPr>
          <p:cNvGrpSpPr/>
          <p:nvPr/>
        </p:nvGrpSpPr>
        <p:grpSpPr>
          <a:xfrm>
            <a:off x="3791189" y="3127406"/>
            <a:ext cx="552340" cy="603188"/>
            <a:chOff x="6000092" y="1357908"/>
            <a:chExt cx="365300" cy="398929"/>
          </a:xfrm>
        </p:grpSpPr>
        <p:sp>
          <p:nvSpPr>
            <p:cNvPr id="182" name="Forma livre: Forma 181">
              <a:extLst>
                <a:ext uri="{FF2B5EF4-FFF2-40B4-BE49-F238E27FC236}">
                  <a16:creationId xmlns:a16="http://schemas.microsoft.com/office/drawing/2014/main" id="{DCD94959-6937-64E2-81DB-AC3DE7A0B9DB}"/>
                </a:ext>
              </a:extLst>
            </p:cNvPr>
            <p:cNvSpPr/>
            <p:nvPr/>
          </p:nvSpPr>
          <p:spPr>
            <a:xfrm>
              <a:off x="6000092" y="1418606"/>
              <a:ext cx="84058" cy="286120"/>
            </a:xfrm>
            <a:custGeom>
              <a:avLst/>
              <a:gdLst>
                <a:gd name="connsiteX0" fmla="*/ 51595 w 84058"/>
                <a:gd name="connsiteY0" fmla="*/ 0 h 286120"/>
                <a:gd name="connsiteX1" fmla="*/ 35266 w 84058"/>
                <a:gd name="connsiteY1" fmla="*/ 61674 h 286120"/>
                <a:gd name="connsiteX2" fmla="*/ 28760 w 84058"/>
                <a:gd name="connsiteY2" fmla="*/ 193415 h 286120"/>
                <a:gd name="connsiteX3" fmla="*/ 84059 w 84058"/>
                <a:gd name="connsiteY3" fmla="*/ 286121 h 2861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4058" h="286120">
                  <a:moveTo>
                    <a:pt x="51595" y="0"/>
                  </a:moveTo>
                  <a:cubicBezTo>
                    <a:pt x="37868" y="7872"/>
                    <a:pt x="26028" y="24852"/>
                    <a:pt x="35266" y="61674"/>
                  </a:cubicBezTo>
                  <a:cubicBezTo>
                    <a:pt x="35266" y="61674"/>
                    <a:pt x="-39549" y="126731"/>
                    <a:pt x="28760" y="193415"/>
                  </a:cubicBezTo>
                  <a:cubicBezTo>
                    <a:pt x="28760" y="193415"/>
                    <a:pt x="9243" y="281242"/>
                    <a:pt x="84059" y="286121"/>
                  </a:cubicBezTo>
                </a:path>
              </a:pathLst>
            </a:custGeom>
            <a:noFill/>
            <a:ln w="19050" cap="sq">
              <a:solidFill>
                <a:srgbClr val="1D3EB6"/>
              </a:solidFill>
              <a:prstDash val="solid"/>
              <a:miter lim="800000"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83" name="Gráfico 32">
              <a:extLst>
                <a:ext uri="{FF2B5EF4-FFF2-40B4-BE49-F238E27FC236}">
                  <a16:creationId xmlns:a16="http://schemas.microsoft.com/office/drawing/2014/main" id="{27B4D2D0-D237-54D8-13AD-D8CC97F9C196}"/>
                </a:ext>
              </a:extLst>
            </p:cNvPr>
            <p:cNvGrpSpPr/>
            <p:nvPr/>
          </p:nvGrpSpPr>
          <p:grpSpPr>
            <a:xfrm>
              <a:off x="6061121" y="1359924"/>
              <a:ext cx="128487" cy="396366"/>
              <a:chOff x="6061121" y="1359924"/>
              <a:chExt cx="128487" cy="396366"/>
            </a:xfrm>
            <a:noFill/>
          </p:grpSpPr>
          <p:sp>
            <p:nvSpPr>
              <p:cNvPr id="198" name="Forma livre: Forma 197">
                <a:extLst>
                  <a:ext uri="{FF2B5EF4-FFF2-40B4-BE49-F238E27FC236}">
                    <a16:creationId xmlns:a16="http://schemas.microsoft.com/office/drawing/2014/main" id="{EE56A37A-DA04-0850-DEB5-9A7A24487B25}"/>
                  </a:ext>
                </a:extLst>
              </p:cNvPr>
              <p:cNvSpPr/>
              <p:nvPr/>
            </p:nvSpPr>
            <p:spPr>
              <a:xfrm>
                <a:off x="6083891" y="1359924"/>
                <a:ext cx="105717" cy="396366"/>
              </a:xfrm>
              <a:custGeom>
                <a:avLst/>
                <a:gdLst>
                  <a:gd name="connsiteX0" fmla="*/ 52891 w 105717"/>
                  <a:gd name="connsiteY0" fmla="*/ 105718 h 396366"/>
                  <a:gd name="connsiteX1" fmla="*/ 0 w 105717"/>
                  <a:gd name="connsiteY1" fmla="*/ 52891 h 396366"/>
                  <a:gd name="connsiteX2" fmla="*/ 52891 w 105717"/>
                  <a:gd name="connsiteY2" fmla="*/ 0 h 396366"/>
                  <a:gd name="connsiteX3" fmla="*/ 105718 w 105717"/>
                  <a:gd name="connsiteY3" fmla="*/ 52826 h 396366"/>
                  <a:gd name="connsiteX4" fmla="*/ 105718 w 105717"/>
                  <a:gd name="connsiteY4" fmla="*/ 346884 h 396366"/>
                  <a:gd name="connsiteX5" fmla="*/ 80606 w 105717"/>
                  <a:gd name="connsiteY5" fmla="*/ 388911 h 396366"/>
                  <a:gd name="connsiteX6" fmla="*/ 9238 w 105717"/>
                  <a:gd name="connsiteY6" fmla="*/ 371150 h 396366"/>
                  <a:gd name="connsiteX7" fmla="*/ 15484 w 105717"/>
                  <a:gd name="connsiteY7" fmla="*/ 309216 h 396366"/>
                  <a:gd name="connsiteX8" fmla="*/ 45019 w 105717"/>
                  <a:gd name="connsiteY8" fmla="*/ 277078 h 3963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05717" h="396366">
                    <a:moveTo>
                      <a:pt x="52891" y="105718"/>
                    </a:moveTo>
                    <a:cubicBezTo>
                      <a:pt x="23681" y="105718"/>
                      <a:pt x="0" y="82037"/>
                      <a:pt x="0" y="52891"/>
                    </a:cubicBezTo>
                    <a:cubicBezTo>
                      <a:pt x="0" y="23746"/>
                      <a:pt x="23681" y="0"/>
                      <a:pt x="52891" y="0"/>
                    </a:cubicBezTo>
                    <a:cubicBezTo>
                      <a:pt x="82102" y="0"/>
                      <a:pt x="105718" y="23681"/>
                      <a:pt x="105718" y="52826"/>
                    </a:cubicBezTo>
                    <a:lnTo>
                      <a:pt x="105718" y="346884"/>
                    </a:lnTo>
                    <a:cubicBezTo>
                      <a:pt x="105718" y="364580"/>
                      <a:pt x="96414" y="379413"/>
                      <a:pt x="80606" y="388911"/>
                    </a:cubicBezTo>
                    <a:cubicBezTo>
                      <a:pt x="55949" y="403744"/>
                      <a:pt x="24006" y="395742"/>
                      <a:pt x="9238" y="371150"/>
                    </a:cubicBezTo>
                    <a:cubicBezTo>
                      <a:pt x="-2928" y="350918"/>
                      <a:pt x="260" y="325741"/>
                      <a:pt x="15484" y="309216"/>
                    </a:cubicBezTo>
                    <a:lnTo>
                      <a:pt x="45019" y="277078"/>
                    </a:lnTo>
                  </a:path>
                </a:pathLst>
              </a:custGeom>
              <a:noFill/>
              <a:ln w="19050" cap="sq">
                <a:solidFill>
                  <a:srgbClr val="1D3EB6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99" name="Forma livre: Forma 198">
                <a:extLst>
                  <a:ext uri="{FF2B5EF4-FFF2-40B4-BE49-F238E27FC236}">
                    <a16:creationId xmlns:a16="http://schemas.microsoft.com/office/drawing/2014/main" id="{622C3F57-7961-0C02-55B0-416A151F7139}"/>
                  </a:ext>
                </a:extLst>
              </p:cNvPr>
              <p:cNvSpPr/>
              <p:nvPr/>
            </p:nvSpPr>
            <p:spPr>
              <a:xfrm>
                <a:off x="6144784" y="1383865"/>
                <a:ext cx="41563" cy="38963"/>
              </a:xfrm>
              <a:custGeom>
                <a:avLst/>
                <a:gdLst>
                  <a:gd name="connsiteX0" fmla="*/ 36172 w 41563"/>
                  <a:gd name="connsiteY0" fmla="*/ 0 h 38963"/>
                  <a:gd name="connsiteX1" fmla="*/ 39425 w 41563"/>
                  <a:gd name="connsiteY1" fmla="*/ 24266 h 38963"/>
                  <a:gd name="connsiteX2" fmla="*/ 36432 w 41563"/>
                  <a:gd name="connsiteY2" fmla="*/ 29080 h 38963"/>
                  <a:gd name="connsiteX3" fmla="*/ 0 w 41563"/>
                  <a:gd name="connsiteY3" fmla="*/ 33439 h 389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563" h="38963">
                    <a:moveTo>
                      <a:pt x="36172" y="0"/>
                    </a:moveTo>
                    <a:cubicBezTo>
                      <a:pt x="41571" y="7547"/>
                      <a:pt x="43393" y="16004"/>
                      <a:pt x="39425" y="24266"/>
                    </a:cubicBezTo>
                    <a:cubicBezTo>
                      <a:pt x="38644" y="25893"/>
                      <a:pt x="37603" y="27519"/>
                      <a:pt x="36432" y="29080"/>
                    </a:cubicBezTo>
                    <a:cubicBezTo>
                      <a:pt x="27584" y="40270"/>
                      <a:pt x="11190" y="42287"/>
                      <a:pt x="0" y="33439"/>
                    </a:cubicBezTo>
                  </a:path>
                </a:pathLst>
              </a:custGeom>
              <a:noFill/>
              <a:ln w="19050" cap="sq">
                <a:solidFill>
                  <a:srgbClr val="1D3EB6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00" name="Forma livre: Forma 199">
                <a:extLst>
                  <a:ext uri="{FF2B5EF4-FFF2-40B4-BE49-F238E27FC236}">
                    <a16:creationId xmlns:a16="http://schemas.microsoft.com/office/drawing/2014/main" id="{F30630C2-C2F5-8630-7A5F-FAE58F1D62E7}"/>
                  </a:ext>
                </a:extLst>
              </p:cNvPr>
              <p:cNvSpPr/>
              <p:nvPr/>
            </p:nvSpPr>
            <p:spPr>
              <a:xfrm>
                <a:off x="6081487" y="1460806"/>
                <a:ext cx="34217" cy="54474"/>
              </a:xfrm>
              <a:custGeom>
                <a:avLst/>
                <a:gdLst>
                  <a:gd name="connsiteX0" fmla="*/ 21076 w 34217"/>
                  <a:gd name="connsiteY0" fmla="*/ 54475 h 54474"/>
                  <a:gd name="connsiteX1" fmla="*/ 778 w 34217"/>
                  <a:gd name="connsiteY1" fmla="*/ 21035 h 54474"/>
                  <a:gd name="connsiteX2" fmla="*/ 34217 w 34217"/>
                  <a:gd name="connsiteY2" fmla="*/ 803 h 544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4217" h="54474">
                    <a:moveTo>
                      <a:pt x="21076" y="54475"/>
                    </a:moveTo>
                    <a:cubicBezTo>
                      <a:pt x="6308" y="50832"/>
                      <a:pt x="-2800" y="35803"/>
                      <a:pt x="778" y="21035"/>
                    </a:cubicBezTo>
                    <a:cubicBezTo>
                      <a:pt x="4421" y="6267"/>
                      <a:pt x="19449" y="-2841"/>
                      <a:pt x="34217" y="803"/>
                    </a:cubicBezTo>
                  </a:path>
                </a:pathLst>
              </a:custGeom>
              <a:noFill/>
              <a:ln w="19050" cap="sq">
                <a:solidFill>
                  <a:srgbClr val="1D3EB6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01" name="Forma livre: Forma 200">
                <a:extLst>
                  <a:ext uri="{FF2B5EF4-FFF2-40B4-BE49-F238E27FC236}">
                    <a16:creationId xmlns:a16="http://schemas.microsoft.com/office/drawing/2014/main" id="{BCC880AA-6017-CA7A-5BCB-693B5789AFC4}"/>
                  </a:ext>
                </a:extLst>
              </p:cNvPr>
              <p:cNvSpPr/>
              <p:nvPr/>
            </p:nvSpPr>
            <p:spPr>
              <a:xfrm>
                <a:off x="6073547" y="1527543"/>
                <a:ext cx="114760" cy="72506"/>
              </a:xfrm>
              <a:custGeom>
                <a:avLst/>
                <a:gdLst>
                  <a:gd name="connsiteX0" fmla="*/ 114760 w 114760"/>
                  <a:gd name="connsiteY0" fmla="*/ 7254 h 72506"/>
                  <a:gd name="connsiteX1" fmla="*/ 73905 w 114760"/>
                  <a:gd name="connsiteY1" fmla="*/ 8881 h 72506"/>
                  <a:gd name="connsiteX2" fmla="*/ 0 w 114760"/>
                  <a:gd name="connsiteY2" fmla="*/ 72506 h 725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14760" h="72506">
                    <a:moveTo>
                      <a:pt x="114760" y="7254"/>
                    </a:moveTo>
                    <a:cubicBezTo>
                      <a:pt x="103375" y="-2830"/>
                      <a:pt x="83989" y="-2504"/>
                      <a:pt x="73905" y="8881"/>
                    </a:cubicBezTo>
                    <a:cubicBezTo>
                      <a:pt x="73905" y="8881"/>
                      <a:pt x="31488" y="72506"/>
                      <a:pt x="0" y="72506"/>
                    </a:cubicBezTo>
                  </a:path>
                </a:pathLst>
              </a:custGeom>
              <a:noFill/>
              <a:ln w="19050" cap="sq">
                <a:solidFill>
                  <a:srgbClr val="1D3EB6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02" name="Forma livre: Forma 201">
                <a:extLst>
                  <a:ext uri="{FF2B5EF4-FFF2-40B4-BE49-F238E27FC236}">
                    <a16:creationId xmlns:a16="http://schemas.microsoft.com/office/drawing/2014/main" id="{27F6BE69-73E3-0CFB-8F75-667FF290D7A2}"/>
                  </a:ext>
                </a:extLst>
              </p:cNvPr>
              <p:cNvSpPr/>
              <p:nvPr/>
            </p:nvSpPr>
            <p:spPr>
              <a:xfrm>
                <a:off x="6079857" y="1646956"/>
                <a:ext cx="29405" cy="9823"/>
              </a:xfrm>
              <a:custGeom>
                <a:avLst/>
                <a:gdLst>
                  <a:gd name="connsiteX0" fmla="*/ 0 w 29405"/>
                  <a:gd name="connsiteY0" fmla="*/ 0 h 9823"/>
                  <a:gd name="connsiteX1" fmla="*/ 29406 w 29405"/>
                  <a:gd name="connsiteY1" fmla="*/ 9824 h 98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9405" h="9823">
                    <a:moveTo>
                      <a:pt x="0" y="0"/>
                    </a:moveTo>
                    <a:lnTo>
                      <a:pt x="29406" y="9824"/>
                    </a:lnTo>
                  </a:path>
                </a:pathLst>
              </a:custGeom>
              <a:ln w="19050" cap="sq">
                <a:solidFill>
                  <a:srgbClr val="1D3EB6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03" name="Forma livre: Forma 202">
                <a:extLst>
                  <a:ext uri="{FF2B5EF4-FFF2-40B4-BE49-F238E27FC236}">
                    <a16:creationId xmlns:a16="http://schemas.microsoft.com/office/drawing/2014/main" id="{37CBA3A7-9BE7-0E0D-E805-3433BDB315FE}"/>
                  </a:ext>
                </a:extLst>
              </p:cNvPr>
              <p:cNvSpPr/>
              <p:nvPr/>
            </p:nvSpPr>
            <p:spPr>
              <a:xfrm>
                <a:off x="6061121" y="1545272"/>
                <a:ext cx="47166" cy="34154"/>
              </a:xfrm>
              <a:custGeom>
                <a:avLst/>
                <a:gdLst>
                  <a:gd name="connsiteX0" fmla="*/ 0 w 47166"/>
                  <a:gd name="connsiteY0" fmla="*/ 0 h 34154"/>
                  <a:gd name="connsiteX1" fmla="*/ 47166 w 47166"/>
                  <a:gd name="connsiteY1" fmla="*/ 34155 h 341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166" h="34154">
                    <a:moveTo>
                      <a:pt x="0" y="0"/>
                    </a:moveTo>
                    <a:cubicBezTo>
                      <a:pt x="0" y="0"/>
                      <a:pt x="27649" y="13011"/>
                      <a:pt x="47166" y="34155"/>
                    </a:cubicBezTo>
                  </a:path>
                </a:pathLst>
              </a:custGeom>
              <a:noFill/>
              <a:ln w="19050" cap="sq">
                <a:solidFill>
                  <a:srgbClr val="1D3EB6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84" name="Gráfico 32">
              <a:extLst>
                <a:ext uri="{FF2B5EF4-FFF2-40B4-BE49-F238E27FC236}">
                  <a16:creationId xmlns:a16="http://schemas.microsoft.com/office/drawing/2014/main" id="{1C9387D5-89DF-F78F-F44F-A4DAF94BD52C}"/>
                </a:ext>
              </a:extLst>
            </p:cNvPr>
            <p:cNvGrpSpPr/>
            <p:nvPr/>
          </p:nvGrpSpPr>
          <p:grpSpPr>
            <a:xfrm>
              <a:off x="6191625" y="1599725"/>
              <a:ext cx="173767" cy="157112"/>
              <a:chOff x="6191625" y="1599725"/>
              <a:chExt cx="173767" cy="157112"/>
            </a:xfrm>
            <a:noFill/>
          </p:grpSpPr>
          <p:sp>
            <p:nvSpPr>
              <p:cNvPr id="194" name="Forma livre: Forma 193">
                <a:extLst>
                  <a:ext uri="{FF2B5EF4-FFF2-40B4-BE49-F238E27FC236}">
                    <a16:creationId xmlns:a16="http://schemas.microsoft.com/office/drawing/2014/main" id="{CDEE7BA2-CE41-708A-5B3E-0AF74822FC80}"/>
                  </a:ext>
                </a:extLst>
              </p:cNvPr>
              <p:cNvSpPr/>
              <p:nvPr/>
            </p:nvSpPr>
            <p:spPr>
              <a:xfrm>
                <a:off x="6310094" y="1621974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rgbClr val="1D3EB6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95" name="Forma livre: Forma 194">
                <a:extLst>
                  <a:ext uri="{FF2B5EF4-FFF2-40B4-BE49-F238E27FC236}">
                    <a16:creationId xmlns:a16="http://schemas.microsoft.com/office/drawing/2014/main" id="{93FE8910-FF36-5DEB-D06B-494669B7285F}"/>
                  </a:ext>
                </a:extLst>
              </p:cNvPr>
              <p:cNvSpPr/>
              <p:nvPr/>
            </p:nvSpPr>
            <p:spPr>
              <a:xfrm>
                <a:off x="6191625" y="1599725"/>
                <a:ext cx="118078" cy="49898"/>
              </a:xfrm>
              <a:custGeom>
                <a:avLst/>
                <a:gdLst>
                  <a:gd name="connsiteX0" fmla="*/ 0 w 118078"/>
                  <a:gd name="connsiteY0" fmla="*/ 0 h 49898"/>
                  <a:gd name="connsiteX1" fmla="*/ 37343 w 118078"/>
                  <a:gd name="connsiteY1" fmla="*/ 0 h 49898"/>
                  <a:gd name="connsiteX2" fmla="*/ 87176 w 118078"/>
                  <a:gd name="connsiteY2" fmla="*/ 49899 h 49898"/>
                  <a:gd name="connsiteX3" fmla="*/ 118078 w 118078"/>
                  <a:gd name="connsiteY3" fmla="*/ 49899 h 49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8078" h="49898">
                    <a:moveTo>
                      <a:pt x="0" y="0"/>
                    </a:moveTo>
                    <a:lnTo>
                      <a:pt x="37343" y="0"/>
                    </a:lnTo>
                    <a:lnTo>
                      <a:pt x="87176" y="49899"/>
                    </a:lnTo>
                    <a:lnTo>
                      <a:pt x="118078" y="49899"/>
                    </a:lnTo>
                  </a:path>
                </a:pathLst>
              </a:custGeom>
              <a:noFill/>
              <a:ln w="19050" cap="sq">
                <a:solidFill>
                  <a:srgbClr val="1D3EB6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96" name="Forma livre: Forma 195">
                <a:extLst>
                  <a:ext uri="{FF2B5EF4-FFF2-40B4-BE49-F238E27FC236}">
                    <a16:creationId xmlns:a16="http://schemas.microsoft.com/office/drawing/2014/main" id="{C6D5311A-4F8E-E0FB-C365-26536054FF7C}"/>
                  </a:ext>
                </a:extLst>
              </p:cNvPr>
              <p:cNvSpPr/>
              <p:nvPr/>
            </p:nvSpPr>
            <p:spPr>
              <a:xfrm>
                <a:off x="6191625" y="1665367"/>
                <a:ext cx="81906" cy="44108"/>
              </a:xfrm>
              <a:custGeom>
                <a:avLst/>
                <a:gdLst>
                  <a:gd name="connsiteX0" fmla="*/ 0 w 81906"/>
                  <a:gd name="connsiteY0" fmla="*/ 0 h 44108"/>
                  <a:gd name="connsiteX1" fmla="*/ 37343 w 81906"/>
                  <a:gd name="connsiteY1" fmla="*/ 0 h 44108"/>
                  <a:gd name="connsiteX2" fmla="*/ 81907 w 81906"/>
                  <a:gd name="connsiteY2" fmla="*/ 44109 h 441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1906" h="44108">
                    <a:moveTo>
                      <a:pt x="0" y="0"/>
                    </a:moveTo>
                    <a:lnTo>
                      <a:pt x="37343" y="0"/>
                    </a:lnTo>
                    <a:lnTo>
                      <a:pt x="81907" y="44109"/>
                    </a:lnTo>
                  </a:path>
                </a:pathLst>
              </a:custGeom>
              <a:noFill/>
              <a:ln w="19050" cap="sq">
                <a:solidFill>
                  <a:srgbClr val="1D3EB6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97" name="Forma livre: Forma 196">
                <a:extLst>
                  <a:ext uri="{FF2B5EF4-FFF2-40B4-BE49-F238E27FC236}">
                    <a16:creationId xmlns:a16="http://schemas.microsoft.com/office/drawing/2014/main" id="{C103DB5C-C5F4-5673-C452-FC937520BBCC}"/>
                  </a:ext>
                </a:extLst>
              </p:cNvPr>
              <p:cNvSpPr/>
              <p:nvPr/>
            </p:nvSpPr>
            <p:spPr>
              <a:xfrm>
                <a:off x="6265075" y="1701539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rgbClr val="1D3EB6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85" name="Gráfico 32">
              <a:extLst>
                <a:ext uri="{FF2B5EF4-FFF2-40B4-BE49-F238E27FC236}">
                  <a16:creationId xmlns:a16="http://schemas.microsoft.com/office/drawing/2014/main" id="{37115922-413D-611D-468D-CDBBC2A668D3}"/>
                </a:ext>
              </a:extLst>
            </p:cNvPr>
            <p:cNvGrpSpPr/>
            <p:nvPr/>
          </p:nvGrpSpPr>
          <p:grpSpPr>
            <a:xfrm>
              <a:off x="6191625" y="1357908"/>
              <a:ext cx="173767" cy="157112"/>
              <a:chOff x="6191625" y="1357908"/>
              <a:chExt cx="173767" cy="157112"/>
            </a:xfrm>
            <a:noFill/>
          </p:grpSpPr>
          <p:sp>
            <p:nvSpPr>
              <p:cNvPr id="190" name="Forma livre: Forma 189">
                <a:extLst>
                  <a:ext uri="{FF2B5EF4-FFF2-40B4-BE49-F238E27FC236}">
                    <a16:creationId xmlns:a16="http://schemas.microsoft.com/office/drawing/2014/main" id="{328F96CB-6ABB-E216-8472-33F74F7B2120}"/>
                  </a:ext>
                </a:extLst>
              </p:cNvPr>
              <p:cNvSpPr/>
              <p:nvPr/>
            </p:nvSpPr>
            <p:spPr>
              <a:xfrm>
                <a:off x="6310094" y="1437472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0 h 55298"/>
                  <a:gd name="connsiteX2" fmla="*/ 0 w 55298"/>
                  <a:gd name="connsiteY2" fmla="*/ 27649 h 55298"/>
                  <a:gd name="connsiteX3" fmla="*/ 27649 w 55298"/>
                  <a:gd name="connsiteY3" fmla="*/ 55298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12361"/>
                      <a:pt x="42938" y="0"/>
                      <a:pt x="27649" y="0"/>
                    </a:cubicBezTo>
                    <a:cubicBezTo>
                      <a:pt x="12361" y="0"/>
                      <a:pt x="0" y="12361"/>
                      <a:pt x="0" y="27649"/>
                    </a:cubicBezTo>
                    <a:cubicBezTo>
                      <a:pt x="0" y="42938"/>
                      <a:pt x="12361" y="55298"/>
                      <a:pt x="27649" y="55298"/>
                    </a:cubicBezTo>
                    <a:cubicBezTo>
                      <a:pt x="42938" y="55298"/>
                      <a:pt x="55298" y="42938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rgbClr val="1D3EB6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91" name="Forma livre: Forma 190">
                <a:extLst>
                  <a:ext uri="{FF2B5EF4-FFF2-40B4-BE49-F238E27FC236}">
                    <a16:creationId xmlns:a16="http://schemas.microsoft.com/office/drawing/2014/main" id="{9F5EAC23-E53E-44CE-BD05-61A77C91F1F5}"/>
                  </a:ext>
                </a:extLst>
              </p:cNvPr>
              <p:cNvSpPr/>
              <p:nvPr/>
            </p:nvSpPr>
            <p:spPr>
              <a:xfrm>
                <a:off x="6191625" y="1465122"/>
                <a:ext cx="118468" cy="49898"/>
              </a:xfrm>
              <a:custGeom>
                <a:avLst/>
                <a:gdLst>
                  <a:gd name="connsiteX0" fmla="*/ 0 w 118468"/>
                  <a:gd name="connsiteY0" fmla="*/ 49899 h 49898"/>
                  <a:gd name="connsiteX1" fmla="*/ 37343 w 118468"/>
                  <a:gd name="connsiteY1" fmla="*/ 49899 h 49898"/>
                  <a:gd name="connsiteX2" fmla="*/ 87176 w 118468"/>
                  <a:gd name="connsiteY2" fmla="*/ 0 h 49898"/>
                  <a:gd name="connsiteX3" fmla="*/ 118469 w 118468"/>
                  <a:gd name="connsiteY3" fmla="*/ 0 h 49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8468" h="49898">
                    <a:moveTo>
                      <a:pt x="0" y="49899"/>
                    </a:moveTo>
                    <a:lnTo>
                      <a:pt x="37343" y="49899"/>
                    </a:lnTo>
                    <a:lnTo>
                      <a:pt x="87176" y="0"/>
                    </a:lnTo>
                    <a:lnTo>
                      <a:pt x="118469" y="0"/>
                    </a:lnTo>
                  </a:path>
                </a:pathLst>
              </a:custGeom>
              <a:noFill/>
              <a:ln w="19050" cap="sq">
                <a:solidFill>
                  <a:srgbClr val="1D3EB6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92" name="Forma livre: Forma 191">
                <a:extLst>
                  <a:ext uri="{FF2B5EF4-FFF2-40B4-BE49-F238E27FC236}">
                    <a16:creationId xmlns:a16="http://schemas.microsoft.com/office/drawing/2014/main" id="{0EA94783-149B-9494-A270-54FC82AB0218}"/>
                  </a:ext>
                </a:extLst>
              </p:cNvPr>
              <p:cNvSpPr/>
              <p:nvPr/>
            </p:nvSpPr>
            <p:spPr>
              <a:xfrm>
                <a:off x="6191625" y="1405269"/>
                <a:ext cx="81451" cy="44043"/>
              </a:xfrm>
              <a:custGeom>
                <a:avLst/>
                <a:gdLst>
                  <a:gd name="connsiteX0" fmla="*/ 0 w 81451"/>
                  <a:gd name="connsiteY0" fmla="*/ 44044 h 44043"/>
                  <a:gd name="connsiteX1" fmla="*/ 37343 w 81451"/>
                  <a:gd name="connsiteY1" fmla="*/ 44044 h 44043"/>
                  <a:gd name="connsiteX2" fmla="*/ 81451 w 81451"/>
                  <a:gd name="connsiteY2" fmla="*/ 0 h 440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1451" h="44043">
                    <a:moveTo>
                      <a:pt x="0" y="44044"/>
                    </a:moveTo>
                    <a:lnTo>
                      <a:pt x="37343" y="44044"/>
                    </a:lnTo>
                    <a:lnTo>
                      <a:pt x="81451" y="0"/>
                    </a:lnTo>
                  </a:path>
                </a:pathLst>
              </a:custGeom>
              <a:noFill/>
              <a:ln w="19050" cap="sq">
                <a:solidFill>
                  <a:srgbClr val="1D3EB6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93" name="Forma livre: Forma 192">
                <a:extLst>
                  <a:ext uri="{FF2B5EF4-FFF2-40B4-BE49-F238E27FC236}">
                    <a16:creationId xmlns:a16="http://schemas.microsoft.com/office/drawing/2014/main" id="{8B7DB09D-74AE-E669-3A8D-5F8FAA53E40F}"/>
                  </a:ext>
                </a:extLst>
              </p:cNvPr>
              <p:cNvSpPr/>
              <p:nvPr/>
            </p:nvSpPr>
            <p:spPr>
              <a:xfrm>
                <a:off x="6265075" y="1357908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0 h 55298"/>
                  <a:gd name="connsiteX2" fmla="*/ 0 w 55298"/>
                  <a:gd name="connsiteY2" fmla="*/ 27649 h 55298"/>
                  <a:gd name="connsiteX3" fmla="*/ 27649 w 55298"/>
                  <a:gd name="connsiteY3" fmla="*/ 55298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12361"/>
                      <a:pt x="42938" y="0"/>
                      <a:pt x="27649" y="0"/>
                    </a:cubicBezTo>
                    <a:cubicBezTo>
                      <a:pt x="12361" y="0"/>
                      <a:pt x="0" y="12361"/>
                      <a:pt x="0" y="27649"/>
                    </a:cubicBezTo>
                    <a:cubicBezTo>
                      <a:pt x="0" y="42938"/>
                      <a:pt x="12361" y="55298"/>
                      <a:pt x="27649" y="55298"/>
                    </a:cubicBezTo>
                    <a:cubicBezTo>
                      <a:pt x="42938" y="55298"/>
                      <a:pt x="55298" y="42938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rgbClr val="1D3EB6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86" name="Gráfico 32">
              <a:extLst>
                <a:ext uri="{FF2B5EF4-FFF2-40B4-BE49-F238E27FC236}">
                  <a16:creationId xmlns:a16="http://schemas.microsoft.com/office/drawing/2014/main" id="{B8BD0B8E-C31A-4418-B011-7983411EA4FC}"/>
                </a:ext>
              </a:extLst>
            </p:cNvPr>
            <p:cNvGrpSpPr/>
            <p:nvPr/>
          </p:nvGrpSpPr>
          <p:grpSpPr>
            <a:xfrm>
              <a:off x="6190910" y="1529723"/>
              <a:ext cx="123673" cy="55298"/>
              <a:chOff x="6190910" y="1529723"/>
              <a:chExt cx="123673" cy="55298"/>
            </a:xfrm>
            <a:noFill/>
          </p:grpSpPr>
          <p:sp>
            <p:nvSpPr>
              <p:cNvPr id="188" name="Forma livre: Forma 187">
                <a:extLst>
                  <a:ext uri="{FF2B5EF4-FFF2-40B4-BE49-F238E27FC236}">
                    <a16:creationId xmlns:a16="http://schemas.microsoft.com/office/drawing/2014/main" id="{039AECD2-0A3A-158F-09BF-927F8CCE7C54}"/>
                  </a:ext>
                </a:extLst>
              </p:cNvPr>
              <p:cNvSpPr/>
              <p:nvPr/>
            </p:nvSpPr>
            <p:spPr>
              <a:xfrm>
                <a:off x="6190910" y="1557372"/>
                <a:ext cx="68765" cy="6505"/>
              </a:xfrm>
              <a:custGeom>
                <a:avLst/>
                <a:gdLst>
                  <a:gd name="connsiteX0" fmla="*/ 0 w 68765"/>
                  <a:gd name="connsiteY0" fmla="*/ 0 h 6505"/>
                  <a:gd name="connsiteX1" fmla="*/ 68765 w 68765"/>
                  <a:gd name="connsiteY1" fmla="*/ 0 h 65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8765" h="6505">
                    <a:moveTo>
                      <a:pt x="0" y="0"/>
                    </a:moveTo>
                    <a:lnTo>
                      <a:pt x="68765" y="0"/>
                    </a:lnTo>
                  </a:path>
                </a:pathLst>
              </a:custGeom>
              <a:ln w="19050" cap="sq">
                <a:solidFill>
                  <a:srgbClr val="1D3EB6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89" name="Forma livre: Forma 188">
                <a:extLst>
                  <a:ext uri="{FF2B5EF4-FFF2-40B4-BE49-F238E27FC236}">
                    <a16:creationId xmlns:a16="http://schemas.microsoft.com/office/drawing/2014/main" id="{E903F3C8-6110-570C-95C5-16B6F6648DCD}"/>
                  </a:ext>
                </a:extLst>
              </p:cNvPr>
              <p:cNvSpPr/>
              <p:nvPr/>
            </p:nvSpPr>
            <p:spPr>
              <a:xfrm>
                <a:off x="6259285" y="1529723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rgbClr val="1D3EB6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87" name="Forma livre: Forma 186">
              <a:extLst>
                <a:ext uri="{FF2B5EF4-FFF2-40B4-BE49-F238E27FC236}">
                  <a16:creationId xmlns:a16="http://schemas.microsoft.com/office/drawing/2014/main" id="{002A35BE-A21D-C4FF-4BDA-A42FEE0622A7}"/>
                </a:ext>
              </a:extLst>
            </p:cNvPr>
            <p:cNvSpPr/>
            <p:nvPr/>
          </p:nvSpPr>
          <p:spPr>
            <a:xfrm>
              <a:off x="6152201" y="1686285"/>
              <a:ext cx="37362" cy="20848"/>
            </a:xfrm>
            <a:custGeom>
              <a:avLst/>
              <a:gdLst>
                <a:gd name="connsiteX0" fmla="*/ 0 w 37362"/>
                <a:gd name="connsiteY0" fmla="*/ 10505 h 20848"/>
                <a:gd name="connsiteX1" fmla="*/ 27064 w 37362"/>
                <a:gd name="connsiteY1" fmla="*/ 2373 h 20848"/>
                <a:gd name="connsiteX2" fmla="*/ 37343 w 37362"/>
                <a:gd name="connsiteY2" fmla="*/ 20849 h 20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7362" h="20848">
                  <a:moveTo>
                    <a:pt x="0" y="10505"/>
                  </a:moveTo>
                  <a:cubicBezTo>
                    <a:pt x="5205" y="811"/>
                    <a:pt x="17435" y="-2832"/>
                    <a:pt x="27064" y="2373"/>
                  </a:cubicBezTo>
                  <a:cubicBezTo>
                    <a:pt x="34025" y="6081"/>
                    <a:pt x="37668" y="13432"/>
                    <a:pt x="37343" y="20849"/>
                  </a:cubicBezTo>
                </a:path>
              </a:pathLst>
            </a:custGeom>
            <a:noFill/>
            <a:ln w="19050" cap="sq">
              <a:solidFill>
                <a:srgbClr val="1D3EB6"/>
              </a:solidFill>
              <a:prstDash val="solid"/>
              <a:miter lim="800000"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sp>
        <p:nvSpPr>
          <p:cNvPr id="2" name="Marcador de pie de página 1">
            <a:extLst>
              <a:ext uri="{FF2B5EF4-FFF2-40B4-BE49-F238E27FC236}">
                <a16:creationId xmlns:a16="http://schemas.microsoft.com/office/drawing/2014/main" id="{D54C2D1D-E167-4E5D-B5D7-9828E9BB55F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pt-PT"/>
              <a:t>Título de la presentación</a:t>
            </a:r>
            <a:endParaRPr lang="pt-PT" dirty="0"/>
          </a:p>
        </p:txBody>
      </p:sp>
      <p:sp>
        <p:nvSpPr>
          <p:cNvPr id="204" name="Marcador de número de diapositiva 203">
            <a:extLst>
              <a:ext uri="{FF2B5EF4-FFF2-40B4-BE49-F238E27FC236}">
                <a16:creationId xmlns:a16="http://schemas.microsoft.com/office/drawing/2014/main" id="{CF70E54C-A0B9-48C8-BDB9-B0EB58F242C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4A347C2-D68E-473A-8C76-1D063E4EB6E0}" type="slidenum">
              <a:rPr lang="es-ES" smtClean="0"/>
              <a:pPr/>
              <a:t>39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8703241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50"/>
                                        <p:tgtEl>
                                          <p:spTgt spid="18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42" presetClass="path" presetSubtype="0" decel="10000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animMotion origin="layout" path="M 1.25E-6 0.03889 L 1.25E-6 1.85185E-6 " pathEditMode="relative" rAng="0" ptsTypes="AA">
                                      <p:cBhvr>
                                        <p:cTn id="9" dur="500" fill="hold"/>
                                        <p:tgtEl>
                                          <p:spTgt spid="18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944"/>
                                    </p:animMotion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250"/>
                                        <p:tgtEl>
                                          <p:spTgt spid="1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42" presetClass="path" presetSubtype="0" decel="10000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animMotion origin="layout" path="M 1.25E-6 0.03889 L 1.25E-6 1.85185E-6 " pathEditMode="relative" rAng="0" ptsTypes="AA">
                                      <p:cBhvr>
                                        <p:cTn id="14" dur="500" fill="hold"/>
                                        <p:tgtEl>
                                          <p:spTgt spid="13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944"/>
                                    </p:animMotion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25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42" presetClass="path" presetSubtype="0" decel="10000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animMotion origin="layout" path="M 1.25E-6 0.03889 L 1.25E-6 1.85185E-6 " pathEditMode="relative" rAng="0" ptsTypes="AA">
                                      <p:cBhvr>
                                        <p:cTn id="19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944"/>
                                    </p:animMotion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25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42" presetClass="path" presetSubtype="0" decel="10000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animMotion origin="layout" path="M 1.25E-6 0.03889 L 1.25E-6 1.85185E-6 " pathEditMode="relative" rAng="0" ptsTypes="AA">
                                      <p:cBhvr>
                                        <p:cTn id="24" dur="5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944"/>
                                    </p:animMotion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250"/>
                                        <p:tgtEl>
                                          <p:spTgt spid="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42" presetClass="path" presetSubtype="0" decel="10000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animMotion origin="layout" path="M 1.25E-6 0.03889 L 1.25E-6 1.85185E-6 " pathEditMode="relative" rAng="0" ptsTypes="AA">
                                      <p:cBhvr>
                                        <p:cTn id="29" dur="500" fill="hold"/>
                                        <p:tgtEl>
                                          <p:spTgt spid="6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944"/>
                                    </p:animMotion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250"/>
                                        <p:tgtEl>
                                          <p:spTgt spid="8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42" presetClass="path" presetSubtype="0" decel="10000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animMotion origin="layout" path="M 1.25E-6 0.03889 L 1.25E-6 1.85185E-6 " pathEditMode="relative" rAng="0" ptsTypes="AA">
                                      <p:cBhvr>
                                        <p:cTn id="34" dur="500" fill="hold"/>
                                        <p:tgtEl>
                                          <p:spTgt spid="8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944"/>
                                    </p:animMotion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250"/>
                                        <p:tgtEl>
                                          <p:spTgt spid="1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42" presetClass="path" presetSubtype="0" decel="10000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animMotion origin="layout" path="M 1.25E-6 0.03889 L 1.25E-6 1.85185E-6 " pathEditMode="relative" rAng="0" ptsTypes="AA">
                                      <p:cBhvr>
                                        <p:cTn id="39" dur="500" fill="hold"/>
                                        <p:tgtEl>
                                          <p:spTgt spid="11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944"/>
                                    </p:animMotion>
                                  </p:childTnLst>
                                </p:cTn>
                              </p:par>
                              <p:par>
                                <p:cTn id="40" presetID="10" presetClass="entr" presetSubtype="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250"/>
                                        <p:tgtEl>
                                          <p:spTgt spid="1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" presetID="42" presetClass="path" presetSubtype="0" decel="10000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animMotion origin="layout" path="M 1.25E-6 0.03889 L 1.25E-6 1.85185E-6 " pathEditMode="relative" rAng="0" ptsTypes="AA">
                                      <p:cBhvr>
                                        <p:cTn id="44" dur="500" fill="hold"/>
                                        <p:tgtEl>
                                          <p:spTgt spid="15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944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0C22E8F3-4B19-F693-BD99-11D21AA9F51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84846" y="3293706"/>
            <a:ext cx="5992780" cy="1325563"/>
          </a:xfrm>
        </p:spPr>
        <p:txBody>
          <a:bodyPr/>
          <a:lstStyle/>
          <a:p>
            <a:r>
              <a:rPr lang="es-ES" dirty="0"/>
              <a:t>Ejemplo de título de la presentación</a:t>
            </a:r>
            <a:endParaRPr lang="pt-PT" dirty="0"/>
          </a:p>
        </p:txBody>
      </p:sp>
      <p:sp>
        <p:nvSpPr>
          <p:cNvPr id="3" name="Marcador de Posição do Texto 2">
            <a:extLst>
              <a:ext uri="{FF2B5EF4-FFF2-40B4-BE49-F238E27FC236}">
                <a16:creationId xmlns:a16="http://schemas.microsoft.com/office/drawing/2014/main" id="{9F2F6385-2BF8-BA7B-3E3F-4DE6AF57F9BB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5484845" y="4809252"/>
            <a:ext cx="5992781" cy="560515"/>
          </a:xfrm>
        </p:spPr>
        <p:txBody>
          <a:bodyPr/>
          <a:lstStyle/>
          <a:p>
            <a:r>
              <a:rPr lang="es-ES" dirty="0"/>
              <a:t>Ejemplo de subtítulo de la presentación</a:t>
            </a:r>
            <a:endParaRPr lang="pt-PT" dirty="0"/>
          </a:p>
        </p:txBody>
      </p:sp>
      <p:sp>
        <p:nvSpPr>
          <p:cNvPr id="4" name="Marcador de Posição do Texto 3">
            <a:extLst>
              <a:ext uri="{FF2B5EF4-FFF2-40B4-BE49-F238E27FC236}">
                <a16:creationId xmlns:a16="http://schemas.microsoft.com/office/drawing/2014/main" id="{BD132219-AA6E-9CA7-BA27-B0DE3414AAD9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5484845" y="6050902"/>
            <a:ext cx="2866053" cy="261256"/>
          </a:xfrm>
        </p:spPr>
        <p:txBody>
          <a:bodyPr>
            <a:normAutofit fontScale="92500" lnSpcReduction="10000"/>
          </a:bodyPr>
          <a:lstStyle/>
          <a:p>
            <a:r>
              <a:rPr lang="pt-PT" dirty="0"/>
              <a:t>Insertar info</a:t>
            </a:r>
          </a:p>
        </p:txBody>
      </p:sp>
      <p:sp>
        <p:nvSpPr>
          <p:cNvPr id="5" name="Marcador de Posição do Texto 4">
            <a:extLst>
              <a:ext uri="{FF2B5EF4-FFF2-40B4-BE49-F238E27FC236}">
                <a16:creationId xmlns:a16="http://schemas.microsoft.com/office/drawing/2014/main" id="{6F7BC205-C76A-54B7-2A89-6D9594DEC404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8611573" y="6050902"/>
            <a:ext cx="2866053" cy="261256"/>
          </a:xfrm>
        </p:spPr>
        <p:txBody>
          <a:bodyPr>
            <a:normAutofit fontScale="92500" lnSpcReduction="10000"/>
          </a:bodyPr>
          <a:lstStyle/>
          <a:p>
            <a:r>
              <a:rPr lang="pt-PT" dirty="0"/>
              <a:t>Insertar fecha</a:t>
            </a:r>
          </a:p>
        </p:txBody>
      </p:sp>
    </p:spTree>
    <p:extLst>
      <p:ext uri="{BB962C8B-B14F-4D97-AF65-F5344CB8AC3E}">
        <p14:creationId xmlns:p14="http://schemas.microsoft.com/office/powerpoint/2010/main" val="2300265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ítulo 18">
            <a:extLst>
              <a:ext uri="{FF2B5EF4-FFF2-40B4-BE49-F238E27FC236}">
                <a16:creationId xmlns:a16="http://schemas.microsoft.com/office/drawing/2014/main" id="{20BA3162-9F9E-C3FD-796D-1C2D1F0BF24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PT" dirty="0"/>
              <a:t>Título del esquema</a:t>
            </a:r>
          </a:p>
        </p:txBody>
      </p:sp>
      <p:sp>
        <p:nvSpPr>
          <p:cNvPr id="20" name="Marcador de Posição do Texto 19">
            <a:extLst>
              <a:ext uri="{FF2B5EF4-FFF2-40B4-BE49-F238E27FC236}">
                <a16:creationId xmlns:a16="http://schemas.microsoft.com/office/drawing/2014/main" id="{0300F634-9514-07FC-8503-D381119FF8C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pt-PT" dirty="0"/>
              <a:t>Subtítulo del esquema</a:t>
            </a:r>
          </a:p>
        </p:txBody>
      </p:sp>
      <p:sp>
        <p:nvSpPr>
          <p:cNvPr id="21" name="Marcador de Posição do Texto 20">
            <a:extLst>
              <a:ext uri="{FF2B5EF4-FFF2-40B4-BE49-F238E27FC236}">
                <a16:creationId xmlns:a16="http://schemas.microsoft.com/office/drawing/2014/main" id="{61CD21C4-1489-1D4D-E147-3F59CFE1F09F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/>
        <p:txBody>
          <a:bodyPr>
            <a:noAutofit/>
          </a:bodyPr>
          <a:lstStyle/>
          <a:p>
            <a:r>
              <a:rPr lang="pt-PT" dirty="0"/>
              <a:t>Texto</a:t>
            </a:r>
            <a:br>
              <a:rPr lang="pt-PT" dirty="0"/>
            </a:br>
            <a:r>
              <a:rPr lang="pt-PT" dirty="0"/>
              <a:t>destacado</a:t>
            </a:r>
          </a:p>
        </p:txBody>
      </p:sp>
      <p:sp>
        <p:nvSpPr>
          <p:cNvPr id="22" name="Marcador de Posição do Texto 21">
            <a:extLst>
              <a:ext uri="{FF2B5EF4-FFF2-40B4-BE49-F238E27FC236}">
                <a16:creationId xmlns:a16="http://schemas.microsoft.com/office/drawing/2014/main" id="{8FB0959F-F622-2F89-01C4-31440CF2835F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/>
        <p:txBody>
          <a:bodyPr/>
          <a:lstStyle/>
          <a:p>
            <a:r>
              <a:rPr lang="pt-PT" dirty="0" err="1"/>
              <a:t>Fusce</a:t>
            </a:r>
            <a:r>
              <a:rPr lang="pt-PT" dirty="0"/>
              <a:t> </a:t>
            </a:r>
            <a:r>
              <a:rPr lang="pt-PT" dirty="0" err="1"/>
              <a:t>posuere</a:t>
            </a:r>
            <a:r>
              <a:rPr lang="pt-PT" dirty="0"/>
              <a:t>, magna </a:t>
            </a:r>
            <a:r>
              <a:rPr lang="pt-PT" dirty="0" err="1"/>
              <a:t>sed</a:t>
            </a:r>
            <a:r>
              <a:rPr lang="pt-PT" dirty="0"/>
              <a:t> pulvinar </a:t>
            </a:r>
            <a:r>
              <a:rPr lang="pt-PT" dirty="0" err="1"/>
              <a:t>ultricies</a:t>
            </a:r>
            <a:r>
              <a:rPr lang="pt-PT" dirty="0"/>
              <a:t>, purus.</a:t>
            </a:r>
          </a:p>
          <a:p>
            <a:endParaRPr lang="pt-PT" dirty="0"/>
          </a:p>
        </p:txBody>
      </p:sp>
      <p:sp>
        <p:nvSpPr>
          <p:cNvPr id="23" name="Marcador de Posição do Texto 22">
            <a:extLst>
              <a:ext uri="{FF2B5EF4-FFF2-40B4-BE49-F238E27FC236}">
                <a16:creationId xmlns:a16="http://schemas.microsoft.com/office/drawing/2014/main" id="{F687DB80-DAFA-9637-4873-8B314515761C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/>
        <p:txBody>
          <a:bodyPr>
            <a:noAutofit/>
          </a:bodyPr>
          <a:lstStyle/>
          <a:p>
            <a:r>
              <a:rPr lang="pt-PT" dirty="0"/>
              <a:t>Texto</a:t>
            </a:r>
            <a:br>
              <a:rPr lang="pt-PT" dirty="0"/>
            </a:br>
            <a:r>
              <a:rPr lang="pt-PT" dirty="0"/>
              <a:t>destacado</a:t>
            </a:r>
          </a:p>
        </p:txBody>
      </p:sp>
      <p:sp>
        <p:nvSpPr>
          <p:cNvPr id="24" name="Marcador de Posição do Texto 23">
            <a:extLst>
              <a:ext uri="{FF2B5EF4-FFF2-40B4-BE49-F238E27FC236}">
                <a16:creationId xmlns:a16="http://schemas.microsoft.com/office/drawing/2014/main" id="{850D95EE-6981-849B-B2D7-55FB8DB8D6FC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/>
        <p:txBody>
          <a:bodyPr/>
          <a:lstStyle/>
          <a:p>
            <a:r>
              <a:rPr lang="pt-PT" dirty="0" err="1"/>
              <a:t>Fusce</a:t>
            </a:r>
            <a:r>
              <a:rPr lang="pt-PT" dirty="0"/>
              <a:t> </a:t>
            </a:r>
            <a:r>
              <a:rPr lang="pt-PT" dirty="0" err="1"/>
              <a:t>posuere</a:t>
            </a:r>
            <a:r>
              <a:rPr lang="pt-PT" dirty="0"/>
              <a:t>, magna </a:t>
            </a:r>
            <a:r>
              <a:rPr lang="pt-PT" dirty="0" err="1"/>
              <a:t>sed</a:t>
            </a:r>
            <a:r>
              <a:rPr lang="pt-PT" dirty="0"/>
              <a:t> pulvinar </a:t>
            </a:r>
            <a:r>
              <a:rPr lang="pt-PT" dirty="0" err="1"/>
              <a:t>ultricies</a:t>
            </a:r>
            <a:r>
              <a:rPr lang="pt-PT" dirty="0"/>
              <a:t>, purus.</a:t>
            </a:r>
          </a:p>
          <a:p>
            <a:endParaRPr lang="pt-PT" dirty="0"/>
          </a:p>
        </p:txBody>
      </p:sp>
      <p:sp>
        <p:nvSpPr>
          <p:cNvPr id="25" name="Marcador de Posição do Texto 24">
            <a:extLst>
              <a:ext uri="{FF2B5EF4-FFF2-40B4-BE49-F238E27FC236}">
                <a16:creationId xmlns:a16="http://schemas.microsoft.com/office/drawing/2014/main" id="{A52F00FE-996D-9D5F-88E8-A5F04EE004D0}"/>
              </a:ext>
            </a:extLst>
          </p:cNvPr>
          <p:cNvSpPr>
            <a:spLocks noGrp="1"/>
          </p:cNvSpPr>
          <p:nvPr>
            <p:ph type="body" sz="quarter" idx="42"/>
          </p:nvPr>
        </p:nvSpPr>
        <p:spPr/>
        <p:txBody>
          <a:bodyPr>
            <a:noAutofit/>
          </a:bodyPr>
          <a:lstStyle/>
          <a:p>
            <a:r>
              <a:rPr lang="pt-PT" dirty="0"/>
              <a:t>Texto</a:t>
            </a:r>
            <a:br>
              <a:rPr lang="pt-PT" dirty="0"/>
            </a:br>
            <a:r>
              <a:rPr lang="pt-PT" dirty="0"/>
              <a:t>destacado</a:t>
            </a:r>
          </a:p>
        </p:txBody>
      </p:sp>
      <p:sp>
        <p:nvSpPr>
          <p:cNvPr id="26" name="Marcador de Posição do Texto 25">
            <a:extLst>
              <a:ext uri="{FF2B5EF4-FFF2-40B4-BE49-F238E27FC236}">
                <a16:creationId xmlns:a16="http://schemas.microsoft.com/office/drawing/2014/main" id="{16ECFEA3-EB91-B159-EC46-1A92E455630F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/>
        <p:txBody>
          <a:bodyPr/>
          <a:lstStyle/>
          <a:p>
            <a:r>
              <a:rPr lang="pt-PT" dirty="0" err="1"/>
              <a:t>Fusce</a:t>
            </a:r>
            <a:r>
              <a:rPr lang="pt-PT" dirty="0"/>
              <a:t> </a:t>
            </a:r>
            <a:r>
              <a:rPr lang="pt-PT" dirty="0" err="1"/>
              <a:t>posuere</a:t>
            </a:r>
            <a:r>
              <a:rPr lang="pt-PT" dirty="0"/>
              <a:t>, magna </a:t>
            </a:r>
            <a:r>
              <a:rPr lang="pt-PT" dirty="0" err="1"/>
              <a:t>sed</a:t>
            </a:r>
            <a:r>
              <a:rPr lang="pt-PT" dirty="0"/>
              <a:t> pulvinar </a:t>
            </a:r>
            <a:r>
              <a:rPr lang="pt-PT" dirty="0" err="1"/>
              <a:t>ultricies</a:t>
            </a:r>
            <a:r>
              <a:rPr lang="pt-PT" dirty="0"/>
              <a:t>, purus.</a:t>
            </a:r>
          </a:p>
          <a:p>
            <a:endParaRPr lang="pt-PT" dirty="0"/>
          </a:p>
        </p:txBody>
      </p:sp>
      <p:sp>
        <p:nvSpPr>
          <p:cNvPr id="27" name="Marcador de Posição do Texto 26">
            <a:extLst>
              <a:ext uri="{FF2B5EF4-FFF2-40B4-BE49-F238E27FC236}">
                <a16:creationId xmlns:a16="http://schemas.microsoft.com/office/drawing/2014/main" id="{9C5B34E5-6849-917C-6FE8-8D3E5F0A14EB}"/>
              </a:ext>
            </a:extLst>
          </p:cNvPr>
          <p:cNvSpPr>
            <a:spLocks noGrp="1"/>
          </p:cNvSpPr>
          <p:nvPr>
            <p:ph type="body" sz="quarter" idx="44"/>
          </p:nvPr>
        </p:nvSpPr>
        <p:spPr/>
        <p:txBody>
          <a:bodyPr>
            <a:noAutofit/>
          </a:bodyPr>
          <a:lstStyle/>
          <a:p>
            <a:r>
              <a:rPr lang="pt-PT" dirty="0"/>
              <a:t>Texto</a:t>
            </a:r>
            <a:br>
              <a:rPr lang="pt-PT" dirty="0"/>
            </a:br>
            <a:r>
              <a:rPr lang="pt-PT" dirty="0"/>
              <a:t>destacado</a:t>
            </a:r>
          </a:p>
        </p:txBody>
      </p:sp>
      <p:sp>
        <p:nvSpPr>
          <p:cNvPr id="28" name="Marcador de Posição do Texto 27">
            <a:extLst>
              <a:ext uri="{FF2B5EF4-FFF2-40B4-BE49-F238E27FC236}">
                <a16:creationId xmlns:a16="http://schemas.microsoft.com/office/drawing/2014/main" id="{4EEEC779-9F65-4F8F-CCDC-8D0C8F8FE8AB}"/>
              </a:ext>
            </a:extLst>
          </p:cNvPr>
          <p:cNvSpPr>
            <a:spLocks noGrp="1"/>
          </p:cNvSpPr>
          <p:nvPr>
            <p:ph type="body" sz="quarter" idx="45"/>
          </p:nvPr>
        </p:nvSpPr>
        <p:spPr/>
        <p:txBody>
          <a:bodyPr/>
          <a:lstStyle/>
          <a:p>
            <a:r>
              <a:rPr lang="pt-PT" dirty="0" err="1"/>
              <a:t>Fusce</a:t>
            </a:r>
            <a:r>
              <a:rPr lang="pt-PT" dirty="0"/>
              <a:t> </a:t>
            </a:r>
            <a:r>
              <a:rPr lang="pt-PT" dirty="0" err="1"/>
              <a:t>posuere</a:t>
            </a:r>
            <a:r>
              <a:rPr lang="pt-PT" dirty="0"/>
              <a:t>, magna </a:t>
            </a:r>
            <a:r>
              <a:rPr lang="pt-PT" dirty="0" err="1"/>
              <a:t>sed</a:t>
            </a:r>
            <a:r>
              <a:rPr lang="pt-PT" dirty="0"/>
              <a:t> pulvinar </a:t>
            </a:r>
            <a:r>
              <a:rPr lang="pt-PT" dirty="0" err="1"/>
              <a:t>ultricies</a:t>
            </a:r>
            <a:r>
              <a:rPr lang="pt-PT" dirty="0"/>
              <a:t>, purus.</a:t>
            </a:r>
          </a:p>
          <a:p>
            <a:endParaRPr lang="pt-PT" dirty="0"/>
          </a:p>
        </p:txBody>
      </p:sp>
      <p:sp>
        <p:nvSpPr>
          <p:cNvPr id="29" name="Marcador de Posição do Texto 28">
            <a:extLst>
              <a:ext uri="{FF2B5EF4-FFF2-40B4-BE49-F238E27FC236}">
                <a16:creationId xmlns:a16="http://schemas.microsoft.com/office/drawing/2014/main" id="{56054229-0470-B3C2-062E-EBA2E925CF31}"/>
              </a:ext>
            </a:extLst>
          </p:cNvPr>
          <p:cNvSpPr>
            <a:spLocks noGrp="1"/>
          </p:cNvSpPr>
          <p:nvPr>
            <p:ph type="body" sz="quarter" idx="46"/>
          </p:nvPr>
        </p:nvSpPr>
        <p:spPr/>
        <p:txBody>
          <a:bodyPr>
            <a:noAutofit/>
          </a:bodyPr>
          <a:lstStyle/>
          <a:p>
            <a:r>
              <a:rPr lang="pt-PT" dirty="0"/>
              <a:t>Texto</a:t>
            </a:r>
            <a:br>
              <a:rPr lang="pt-PT" dirty="0"/>
            </a:br>
            <a:r>
              <a:rPr lang="pt-PT" dirty="0"/>
              <a:t>destacado</a:t>
            </a:r>
          </a:p>
        </p:txBody>
      </p:sp>
      <p:sp>
        <p:nvSpPr>
          <p:cNvPr id="30" name="Marcador de Posição do Texto 29">
            <a:extLst>
              <a:ext uri="{FF2B5EF4-FFF2-40B4-BE49-F238E27FC236}">
                <a16:creationId xmlns:a16="http://schemas.microsoft.com/office/drawing/2014/main" id="{7DD51F77-FAA8-E338-1FF7-5619C6C20F87}"/>
              </a:ext>
            </a:extLst>
          </p:cNvPr>
          <p:cNvSpPr>
            <a:spLocks noGrp="1"/>
          </p:cNvSpPr>
          <p:nvPr>
            <p:ph type="body" sz="quarter" idx="47"/>
          </p:nvPr>
        </p:nvSpPr>
        <p:spPr/>
        <p:txBody>
          <a:bodyPr/>
          <a:lstStyle/>
          <a:p>
            <a:r>
              <a:rPr lang="pt-PT" dirty="0" err="1"/>
              <a:t>Fusce</a:t>
            </a:r>
            <a:r>
              <a:rPr lang="pt-PT" dirty="0"/>
              <a:t> </a:t>
            </a:r>
            <a:r>
              <a:rPr lang="pt-PT" dirty="0" err="1"/>
              <a:t>posuere</a:t>
            </a:r>
            <a:r>
              <a:rPr lang="pt-PT" dirty="0"/>
              <a:t>, magna </a:t>
            </a:r>
            <a:r>
              <a:rPr lang="pt-PT" dirty="0" err="1"/>
              <a:t>sed</a:t>
            </a:r>
            <a:r>
              <a:rPr lang="pt-PT" dirty="0"/>
              <a:t> pulvinar </a:t>
            </a:r>
            <a:r>
              <a:rPr lang="pt-PT" dirty="0" err="1"/>
              <a:t>ultricies</a:t>
            </a:r>
            <a:r>
              <a:rPr lang="pt-PT" dirty="0"/>
              <a:t>, purus.</a:t>
            </a:r>
          </a:p>
          <a:p>
            <a:endParaRPr lang="pt-PT" dirty="0"/>
          </a:p>
        </p:txBody>
      </p:sp>
      <p:sp>
        <p:nvSpPr>
          <p:cNvPr id="2" name="Marcador de Posição do Texto 1">
            <a:extLst>
              <a:ext uri="{FF2B5EF4-FFF2-40B4-BE49-F238E27FC236}">
                <a16:creationId xmlns:a16="http://schemas.microsoft.com/office/drawing/2014/main" id="{3E62D220-6437-AF5F-C4BC-86898E54A31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pt-PT" dirty="0"/>
              <a:t>1</a:t>
            </a:r>
          </a:p>
        </p:txBody>
      </p:sp>
      <p:sp>
        <p:nvSpPr>
          <p:cNvPr id="3" name="Marcador de Posição do Texto 2">
            <a:extLst>
              <a:ext uri="{FF2B5EF4-FFF2-40B4-BE49-F238E27FC236}">
                <a16:creationId xmlns:a16="http://schemas.microsoft.com/office/drawing/2014/main" id="{05C26B3B-3AC0-250B-5C40-EFDECCE1B708}"/>
              </a:ext>
            </a:extLst>
          </p:cNvPr>
          <p:cNvSpPr>
            <a:spLocks noGrp="1"/>
          </p:cNvSpPr>
          <p:nvPr>
            <p:ph type="body" sz="quarter" idx="60"/>
          </p:nvPr>
        </p:nvSpPr>
        <p:spPr/>
        <p:txBody>
          <a:bodyPr/>
          <a:lstStyle/>
          <a:p>
            <a:r>
              <a:rPr lang="pt-PT" dirty="0"/>
              <a:t>2</a:t>
            </a:r>
          </a:p>
        </p:txBody>
      </p:sp>
      <p:sp>
        <p:nvSpPr>
          <p:cNvPr id="4" name="Marcador de Posição do Texto 3">
            <a:extLst>
              <a:ext uri="{FF2B5EF4-FFF2-40B4-BE49-F238E27FC236}">
                <a16:creationId xmlns:a16="http://schemas.microsoft.com/office/drawing/2014/main" id="{4A5F07E1-411F-AD79-B7E4-4569EFD9DD47}"/>
              </a:ext>
            </a:extLst>
          </p:cNvPr>
          <p:cNvSpPr>
            <a:spLocks noGrp="1"/>
          </p:cNvSpPr>
          <p:nvPr>
            <p:ph type="body" sz="quarter" idx="61"/>
          </p:nvPr>
        </p:nvSpPr>
        <p:spPr/>
        <p:txBody>
          <a:bodyPr/>
          <a:lstStyle/>
          <a:p>
            <a:r>
              <a:rPr lang="pt-PT" dirty="0"/>
              <a:t>5</a:t>
            </a:r>
          </a:p>
        </p:txBody>
      </p:sp>
      <p:sp>
        <p:nvSpPr>
          <p:cNvPr id="5" name="Marcador de Posição do Texto 4">
            <a:extLst>
              <a:ext uri="{FF2B5EF4-FFF2-40B4-BE49-F238E27FC236}">
                <a16:creationId xmlns:a16="http://schemas.microsoft.com/office/drawing/2014/main" id="{C12CBED3-B79C-60A4-1312-7F893A120C9E}"/>
              </a:ext>
            </a:extLst>
          </p:cNvPr>
          <p:cNvSpPr>
            <a:spLocks noGrp="1"/>
          </p:cNvSpPr>
          <p:nvPr>
            <p:ph type="body" sz="quarter" idx="62"/>
          </p:nvPr>
        </p:nvSpPr>
        <p:spPr/>
        <p:txBody>
          <a:bodyPr/>
          <a:lstStyle/>
          <a:p>
            <a:r>
              <a:rPr lang="pt-PT" dirty="0"/>
              <a:t>3</a:t>
            </a:r>
          </a:p>
        </p:txBody>
      </p:sp>
      <p:sp>
        <p:nvSpPr>
          <p:cNvPr id="6" name="Marcador de Posição do Texto 5">
            <a:extLst>
              <a:ext uri="{FF2B5EF4-FFF2-40B4-BE49-F238E27FC236}">
                <a16:creationId xmlns:a16="http://schemas.microsoft.com/office/drawing/2014/main" id="{5E06D6F8-69B6-91FF-3603-5B29713138CD}"/>
              </a:ext>
            </a:extLst>
          </p:cNvPr>
          <p:cNvSpPr>
            <a:spLocks noGrp="1"/>
          </p:cNvSpPr>
          <p:nvPr>
            <p:ph type="body" sz="quarter" idx="63"/>
          </p:nvPr>
        </p:nvSpPr>
        <p:spPr/>
        <p:txBody>
          <a:bodyPr/>
          <a:lstStyle/>
          <a:p>
            <a:r>
              <a:rPr lang="pt-PT" dirty="0"/>
              <a:t>4</a:t>
            </a:r>
          </a:p>
        </p:txBody>
      </p:sp>
      <p:grpSp>
        <p:nvGrpSpPr>
          <p:cNvPr id="31" name="Agrupar 30">
            <a:extLst>
              <a:ext uri="{FF2B5EF4-FFF2-40B4-BE49-F238E27FC236}">
                <a16:creationId xmlns:a16="http://schemas.microsoft.com/office/drawing/2014/main" id="{2F60B991-C726-731C-87D2-38C0442B9746}"/>
              </a:ext>
            </a:extLst>
          </p:cNvPr>
          <p:cNvGrpSpPr/>
          <p:nvPr/>
        </p:nvGrpSpPr>
        <p:grpSpPr>
          <a:xfrm>
            <a:off x="10612932" y="731820"/>
            <a:ext cx="461846" cy="504363"/>
            <a:chOff x="6000092" y="1357908"/>
            <a:chExt cx="365300" cy="398929"/>
          </a:xfrm>
        </p:grpSpPr>
        <p:sp>
          <p:nvSpPr>
            <p:cNvPr id="32" name="Forma livre: Forma 31">
              <a:extLst>
                <a:ext uri="{FF2B5EF4-FFF2-40B4-BE49-F238E27FC236}">
                  <a16:creationId xmlns:a16="http://schemas.microsoft.com/office/drawing/2014/main" id="{7227DA03-807C-8D2E-662B-69027CBCCE05}"/>
                </a:ext>
              </a:extLst>
            </p:cNvPr>
            <p:cNvSpPr/>
            <p:nvPr/>
          </p:nvSpPr>
          <p:spPr>
            <a:xfrm>
              <a:off x="6000092" y="1418606"/>
              <a:ext cx="84058" cy="286120"/>
            </a:xfrm>
            <a:custGeom>
              <a:avLst/>
              <a:gdLst>
                <a:gd name="connsiteX0" fmla="*/ 51595 w 84058"/>
                <a:gd name="connsiteY0" fmla="*/ 0 h 286120"/>
                <a:gd name="connsiteX1" fmla="*/ 35266 w 84058"/>
                <a:gd name="connsiteY1" fmla="*/ 61674 h 286120"/>
                <a:gd name="connsiteX2" fmla="*/ 28760 w 84058"/>
                <a:gd name="connsiteY2" fmla="*/ 193415 h 286120"/>
                <a:gd name="connsiteX3" fmla="*/ 84059 w 84058"/>
                <a:gd name="connsiteY3" fmla="*/ 286121 h 2861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4058" h="286120">
                  <a:moveTo>
                    <a:pt x="51595" y="0"/>
                  </a:moveTo>
                  <a:cubicBezTo>
                    <a:pt x="37868" y="7872"/>
                    <a:pt x="26028" y="24852"/>
                    <a:pt x="35266" y="61674"/>
                  </a:cubicBezTo>
                  <a:cubicBezTo>
                    <a:pt x="35266" y="61674"/>
                    <a:pt x="-39549" y="126731"/>
                    <a:pt x="28760" y="193415"/>
                  </a:cubicBezTo>
                  <a:cubicBezTo>
                    <a:pt x="28760" y="193415"/>
                    <a:pt x="9243" y="281242"/>
                    <a:pt x="84059" y="286121"/>
                  </a:cubicBezTo>
                </a:path>
              </a:pathLst>
            </a:custGeom>
            <a:noFill/>
            <a:ln w="19050" cap="sq">
              <a:solidFill>
                <a:srgbClr val="1D3EB6"/>
              </a:solidFill>
              <a:prstDash val="solid"/>
              <a:miter lim="800000"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33" name="Gráfico 32">
              <a:extLst>
                <a:ext uri="{FF2B5EF4-FFF2-40B4-BE49-F238E27FC236}">
                  <a16:creationId xmlns:a16="http://schemas.microsoft.com/office/drawing/2014/main" id="{3EA94147-58CB-19AA-69E1-B7756BA2F56F}"/>
                </a:ext>
              </a:extLst>
            </p:cNvPr>
            <p:cNvGrpSpPr/>
            <p:nvPr/>
          </p:nvGrpSpPr>
          <p:grpSpPr>
            <a:xfrm>
              <a:off x="6061121" y="1359924"/>
              <a:ext cx="128487" cy="396366"/>
              <a:chOff x="6061121" y="1359924"/>
              <a:chExt cx="128487" cy="396366"/>
            </a:xfrm>
            <a:noFill/>
          </p:grpSpPr>
          <p:sp>
            <p:nvSpPr>
              <p:cNvPr id="48" name="Forma livre: Forma 47">
                <a:extLst>
                  <a:ext uri="{FF2B5EF4-FFF2-40B4-BE49-F238E27FC236}">
                    <a16:creationId xmlns:a16="http://schemas.microsoft.com/office/drawing/2014/main" id="{B5453548-7A03-CC16-617E-A0696A849381}"/>
                  </a:ext>
                </a:extLst>
              </p:cNvPr>
              <p:cNvSpPr/>
              <p:nvPr/>
            </p:nvSpPr>
            <p:spPr>
              <a:xfrm>
                <a:off x="6083891" y="1359924"/>
                <a:ext cx="105717" cy="396366"/>
              </a:xfrm>
              <a:custGeom>
                <a:avLst/>
                <a:gdLst>
                  <a:gd name="connsiteX0" fmla="*/ 52891 w 105717"/>
                  <a:gd name="connsiteY0" fmla="*/ 105718 h 396366"/>
                  <a:gd name="connsiteX1" fmla="*/ 0 w 105717"/>
                  <a:gd name="connsiteY1" fmla="*/ 52891 h 396366"/>
                  <a:gd name="connsiteX2" fmla="*/ 52891 w 105717"/>
                  <a:gd name="connsiteY2" fmla="*/ 0 h 396366"/>
                  <a:gd name="connsiteX3" fmla="*/ 105718 w 105717"/>
                  <a:gd name="connsiteY3" fmla="*/ 52826 h 396366"/>
                  <a:gd name="connsiteX4" fmla="*/ 105718 w 105717"/>
                  <a:gd name="connsiteY4" fmla="*/ 346884 h 396366"/>
                  <a:gd name="connsiteX5" fmla="*/ 80606 w 105717"/>
                  <a:gd name="connsiteY5" fmla="*/ 388911 h 396366"/>
                  <a:gd name="connsiteX6" fmla="*/ 9238 w 105717"/>
                  <a:gd name="connsiteY6" fmla="*/ 371150 h 396366"/>
                  <a:gd name="connsiteX7" fmla="*/ 15484 w 105717"/>
                  <a:gd name="connsiteY7" fmla="*/ 309216 h 396366"/>
                  <a:gd name="connsiteX8" fmla="*/ 45019 w 105717"/>
                  <a:gd name="connsiteY8" fmla="*/ 277078 h 3963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05717" h="396366">
                    <a:moveTo>
                      <a:pt x="52891" y="105718"/>
                    </a:moveTo>
                    <a:cubicBezTo>
                      <a:pt x="23681" y="105718"/>
                      <a:pt x="0" y="82037"/>
                      <a:pt x="0" y="52891"/>
                    </a:cubicBezTo>
                    <a:cubicBezTo>
                      <a:pt x="0" y="23746"/>
                      <a:pt x="23681" y="0"/>
                      <a:pt x="52891" y="0"/>
                    </a:cubicBezTo>
                    <a:cubicBezTo>
                      <a:pt x="82102" y="0"/>
                      <a:pt x="105718" y="23681"/>
                      <a:pt x="105718" y="52826"/>
                    </a:cubicBezTo>
                    <a:lnTo>
                      <a:pt x="105718" y="346884"/>
                    </a:lnTo>
                    <a:cubicBezTo>
                      <a:pt x="105718" y="364580"/>
                      <a:pt x="96414" y="379413"/>
                      <a:pt x="80606" y="388911"/>
                    </a:cubicBezTo>
                    <a:cubicBezTo>
                      <a:pt x="55949" y="403744"/>
                      <a:pt x="24006" y="395742"/>
                      <a:pt x="9238" y="371150"/>
                    </a:cubicBezTo>
                    <a:cubicBezTo>
                      <a:pt x="-2928" y="350918"/>
                      <a:pt x="260" y="325741"/>
                      <a:pt x="15484" y="309216"/>
                    </a:cubicBezTo>
                    <a:lnTo>
                      <a:pt x="45019" y="277078"/>
                    </a:lnTo>
                  </a:path>
                </a:pathLst>
              </a:custGeom>
              <a:noFill/>
              <a:ln w="19050" cap="sq">
                <a:solidFill>
                  <a:srgbClr val="1D3EB6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9" name="Forma livre: Forma 48">
                <a:extLst>
                  <a:ext uri="{FF2B5EF4-FFF2-40B4-BE49-F238E27FC236}">
                    <a16:creationId xmlns:a16="http://schemas.microsoft.com/office/drawing/2014/main" id="{217F9DAF-ED80-A674-7D51-995DC045FBB4}"/>
                  </a:ext>
                </a:extLst>
              </p:cNvPr>
              <p:cNvSpPr/>
              <p:nvPr/>
            </p:nvSpPr>
            <p:spPr>
              <a:xfrm>
                <a:off x="6144784" y="1383865"/>
                <a:ext cx="41563" cy="38963"/>
              </a:xfrm>
              <a:custGeom>
                <a:avLst/>
                <a:gdLst>
                  <a:gd name="connsiteX0" fmla="*/ 36172 w 41563"/>
                  <a:gd name="connsiteY0" fmla="*/ 0 h 38963"/>
                  <a:gd name="connsiteX1" fmla="*/ 39425 w 41563"/>
                  <a:gd name="connsiteY1" fmla="*/ 24266 h 38963"/>
                  <a:gd name="connsiteX2" fmla="*/ 36432 w 41563"/>
                  <a:gd name="connsiteY2" fmla="*/ 29080 h 38963"/>
                  <a:gd name="connsiteX3" fmla="*/ 0 w 41563"/>
                  <a:gd name="connsiteY3" fmla="*/ 33439 h 389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563" h="38963">
                    <a:moveTo>
                      <a:pt x="36172" y="0"/>
                    </a:moveTo>
                    <a:cubicBezTo>
                      <a:pt x="41571" y="7547"/>
                      <a:pt x="43393" y="16004"/>
                      <a:pt x="39425" y="24266"/>
                    </a:cubicBezTo>
                    <a:cubicBezTo>
                      <a:pt x="38644" y="25893"/>
                      <a:pt x="37603" y="27519"/>
                      <a:pt x="36432" y="29080"/>
                    </a:cubicBezTo>
                    <a:cubicBezTo>
                      <a:pt x="27584" y="40270"/>
                      <a:pt x="11190" y="42287"/>
                      <a:pt x="0" y="33439"/>
                    </a:cubicBezTo>
                  </a:path>
                </a:pathLst>
              </a:custGeom>
              <a:noFill/>
              <a:ln w="19050" cap="sq">
                <a:solidFill>
                  <a:srgbClr val="1D3EB6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0" name="Forma livre: Forma 49">
                <a:extLst>
                  <a:ext uri="{FF2B5EF4-FFF2-40B4-BE49-F238E27FC236}">
                    <a16:creationId xmlns:a16="http://schemas.microsoft.com/office/drawing/2014/main" id="{A7CD8F14-992A-9F49-A922-040B2E2981EA}"/>
                  </a:ext>
                </a:extLst>
              </p:cNvPr>
              <p:cNvSpPr/>
              <p:nvPr/>
            </p:nvSpPr>
            <p:spPr>
              <a:xfrm>
                <a:off x="6081487" y="1460806"/>
                <a:ext cx="34217" cy="54474"/>
              </a:xfrm>
              <a:custGeom>
                <a:avLst/>
                <a:gdLst>
                  <a:gd name="connsiteX0" fmla="*/ 21076 w 34217"/>
                  <a:gd name="connsiteY0" fmla="*/ 54475 h 54474"/>
                  <a:gd name="connsiteX1" fmla="*/ 778 w 34217"/>
                  <a:gd name="connsiteY1" fmla="*/ 21035 h 54474"/>
                  <a:gd name="connsiteX2" fmla="*/ 34217 w 34217"/>
                  <a:gd name="connsiteY2" fmla="*/ 803 h 544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4217" h="54474">
                    <a:moveTo>
                      <a:pt x="21076" y="54475"/>
                    </a:moveTo>
                    <a:cubicBezTo>
                      <a:pt x="6308" y="50832"/>
                      <a:pt x="-2800" y="35803"/>
                      <a:pt x="778" y="21035"/>
                    </a:cubicBezTo>
                    <a:cubicBezTo>
                      <a:pt x="4421" y="6267"/>
                      <a:pt x="19449" y="-2841"/>
                      <a:pt x="34217" y="803"/>
                    </a:cubicBezTo>
                  </a:path>
                </a:pathLst>
              </a:custGeom>
              <a:noFill/>
              <a:ln w="19050" cap="sq">
                <a:solidFill>
                  <a:srgbClr val="1D3EB6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1" name="Forma livre: Forma 50">
                <a:extLst>
                  <a:ext uri="{FF2B5EF4-FFF2-40B4-BE49-F238E27FC236}">
                    <a16:creationId xmlns:a16="http://schemas.microsoft.com/office/drawing/2014/main" id="{2986873B-965C-B444-E0B1-9DEA59813410}"/>
                  </a:ext>
                </a:extLst>
              </p:cNvPr>
              <p:cNvSpPr/>
              <p:nvPr/>
            </p:nvSpPr>
            <p:spPr>
              <a:xfrm>
                <a:off x="6073547" y="1527543"/>
                <a:ext cx="114760" cy="72506"/>
              </a:xfrm>
              <a:custGeom>
                <a:avLst/>
                <a:gdLst>
                  <a:gd name="connsiteX0" fmla="*/ 114760 w 114760"/>
                  <a:gd name="connsiteY0" fmla="*/ 7254 h 72506"/>
                  <a:gd name="connsiteX1" fmla="*/ 73905 w 114760"/>
                  <a:gd name="connsiteY1" fmla="*/ 8881 h 72506"/>
                  <a:gd name="connsiteX2" fmla="*/ 0 w 114760"/>
                  <a:gd name="connsiteY2" fmla="*/ 72506 h 725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14760" h="72506">
                    <a:moveTo>
                      <a:pt x="114760" y="7254"/>
                    </a:moveTo>
                    <a:cubicBezTo>
                      <a:pt x="103375" y="-2830"/>
                      <a:pt x="83989" y="-2504"/>
                      <a:pt x="73905" y="8881"/>
                    </a:cubicBezTo>
                    <a:cubicBezTo>
                      <a:pt x="73905" y="8881"/>
                      <a:pt x="31488" y="72506"/>
                      <a:pt x="0" y="72506"/>
                    </a:cubicBezTo>
                  </a:path>
                </a:pathLst>
              </a:custGeom>
              <a:noFill/>
              <a:ln w="19050" cap="sq">
                <a:solidFill>
                  <a:srgbClr val="1D3EB6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2" name="Forma livre: Forma 51">
                <a:extLst>
                  <a:ext uri="{FF2B5EF4-FFF2-40B4-BE49-F238E27FC236}">
                    <a16:creationId xmlns:a16="http://schemas.microsoft.com/office/drawing/2014/main" id="{F18393BE-B80C-A788-6227-E42D3323E31F}"/>
                  </a:ext>
                </a:extLst>
              </p:cNvPr>
              <p:cNvSpPr/>
              <p:nvPr/>
            </p:nvSpPr>
            <p:spPr>
              <a:xfrm>
                <a:off x="6079857" y="1646956"/>
                <a:ext cx="29405" cy="9823"/>
              </a:xfrm>
              <a:custGeom>
                <a:avLst/>
                <a:gdLst>
                  <a:gd name="connsiteX0" fmla="*/ 0 w 29405"/>
                  <a:gd name="connsiteY0" fmla="*/ 0 h 9823"/>
                  <a:gd name="connsiteX1" fmla="*/ 29406 w 29405"/>
                  <a:gd name="connsiteY1" fmla="*/ 9824 h 98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9405" h="9823">
                    <a:moveTo>
                      <a:pt x="0" y="0"/>
                    </a:moveTo>
                    <a:lnTo>
                      <a:pt x="29406" y="9824"/>
                    </a:lnTo>
                  </a:path>
                </a:pathLst>
              </a:custGeom>
              <a:ln w="19050" cap="sq">
                <a:solidFill>
                  <a:srgbClr val="1D3EB6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3" name="Forma livre: Forma 52">
                <a:extLst>
                  <a:ext uri="{FF2B5EF4-FFF2-40B4-BE49-F238E27FC236}">
                    <a16:creationId xmlns:a16="http://schemas.microsoft.com/office/drawing/2014/main" id="{599658A1-87D9-9A2B-6BF5-0E53D37664CE}"/>
                  </a:ext>
                </a:extLst>
              </p:cNvPr>
              <p:cNvSpPr/>
              <p:nvPr/>
            </p:nvSpPr>
            <p:spPr>
              <a:xfrm>
                <a:off x="6061121" y="1545272"/>
                <a:ext cx="47166" cy="34154"/>
              </a:xfrm>
              <a:custGeom>
                <a:avLst/>
                <a:gdLst>
                  <a:gd name="connsiteX0" fmla="*/ 0 w 47166"/>
                  <a:gd name="connsiteY0" fmla="*/ 0 h 34154"/>
                  <a:gd name="connsiteX1" fmla="*/ 47166 w 47166"/>
                  <a:gd name="connsiteY1" fmla="*/ 34155 h 341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166" h="34154">
                    <a:moveTo>
                      <a:pt x="0" y="0"/>
                    </a:moveTo>
                    <a:cubicBezTo>
                      <a:pt x="0" y="0"/>
                      <a:pt x="27649" y="13011"/>
                      <a:pt x="47166" y="34155"/>
                    </a:cubicBezTo>
                  </a:path>
                </a:pathLst>
              </a:custGeom>
              <a:noFill/>
              <a:ln w="19050" cap="sq">
                <a:solidFill>
                  <a:srgbClr val="1D3EB6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34" name="Gráfico 32">
              <a:extLst>
                <a:ext uri="{FF2B5EF4-FFF2-40B4-BE49-F238E27FC236}">
                  <a16:creationId xmlns:a16="http://schemas.microsoft.com/office/drawing/2014/main" id="{CB542BC3-7A04-E74F-DACB-33338E260842}"/>
                </a:ext>
              </a:extLst>
            </p:cNvPr>
            <p:cNvGrpSpPr/>
            <p:nvPr/>
          </p:nvGrpSpPr>
          <p:grpSpPr>
            <a:xfrm>
              <a:off x="6191625" y="1599725"/>
              <a:ext cx="173767" cy="157112"/>
              <a:chOff x="6191625" y="1599725"/>
              <a:chExt cx="173767" cy="157112"/>
            </a:xfrm>
            <a:noFill/>
          </p:grpSpPr>
          <p:sp>
            <p:nvSpPr>
              <p:cNvPr id="44" name="Forma livre: Forma 43">
                <a:extLst>
                  <a:ext uri="{FF2B5EF4-FFF2-40B4-BE49-F238E27FC236}">
                    <a16:creationId xmlns:a16="http://schemas.microsoft.com/office/drawing/2014/main" id="{EAEBAA58-D17E-A8D0-45D2-86A9332C2B4D}"/>
                  </a:ext>
                </a:extLst>
              </p:cNvPr>
              <p:cNvSpPr/>
              <p:nvPr/>
            </p:nvSpPr>
            <p:spPr>
              <a:xfrm>
                <a:off x="6310094" y="1621974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rgbClr val="1D3EB6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5" name="Forma livre: Forma 44">
                <a:extLst>
                  <a:ext uri="{FF2B5EF4-FFF2-40B4-BE49-F238E27FC236}">
                    <a16:creationId xmlns:a16="http://schemas.microsoft.com/office/drawing/2014/main" id="{231370A7-DB90-29DE-6363-1FD4048CA7CE}"/>
                  </a:ext>
                </a:extLst>
              </p:cNvPr>
              <p:cNvSpPr/>
              <p:nvPr/>
            </p:nvSpPr>
            <p:spPr>
              <a:xfrm>
                <a:off x="6191625" y="1599725"/>
                <a:ext cx="118078" cy="49898"/>
              </a:xfrm>
              <a:custGeom>
                <a:avLst/>
                <a:gdLst>
                  <a:gd name="connsiteX0" fmla="*/ 0 w 118078"/>
                  <a:gd name="connsiteY0" fmla="*/ 0 h 49898"/>
                  <a:gd name="connsiteX1" fmla="*/ 37343 w 118078"/>
                  <a:gd name="connsiteY1" fmla="*/ 0 h 49898"/>
                  <a:gd name="connsiteX2" fmla="*/ 87176 w 118078"/>
                  <a:gd name="connsiteY2" fmla="*/ 49899 h 49898"/>
                  <a:gd name="connsiteX3" fmla="*/ 118078 w 118078"/>
                  <a:gd name="connsiteY3" fmla="*/ 49899 h 49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8078" h="49898">
                    <a:moveTo>
                      <a:pt x="0" y="0"/>
                    </a:moveTo>
                    <a:lnTo>
                      <a:pt x="37343" y="0"/>
                    </a:lnTo>
                    <a:lnTo>
                      <a:pt x="87176" y="49899"/>
                    </a:lnTo>
                    <a:lnTo>
                      <a:pt x="118078" y="49899"/>
                    </a:lnTo>
                  </a:path>
                </a:pathLst>
              </a:custGeom>
              <a:noFill/>
              <a:ln w="19050" cap="sq">
                <a:solidFill>
                  <a:srgbClr val="1D3EB6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6" name="Forma livre: Forma 45">
                <a:extLst>
                  <a:ext uri="{FF2B5EF4-FFF2-40B4-BE49-F238E27FC236}">
                    <a16:creationId xmlns:a16="http://schemas.microsoft.com/office/drawing/2014/main" id="{20C70149-959E-249A-F345-00C13230EFC5}"/>
                  </a:ext>
                </a:extLst>
              </p:cNvPr>
              <p:cNvSpPr/>
              <p:nvPr/>
            </p:nvSpPr>
            <p:spPr>
              <a:xfrm>
                <a:off x="6191625" y="1665367"/>
                <a:ext cx="81906" cy="44108"/>
              </a:xfrm>
              <a:custGeom>
                <a:avLst/>
                <a:gdLst>
                  <a:gd name="connsiteX0" fmla="*/ 0 w 81906"/>
                  <a:gd name="connsiteY0" fmla="*/ 0 h 44108"/>
                  <a:gd name="connsiteX1" fmla="*/ 37343 w 81906"/>
                  <a:gd name="connsiteY1" fmla="*/ 0 h 44108"/>
                  <a:gd name="connsiteX2" fmla="*/ 81907 w 81906"/>
                  <a:gd name="connsiteY2" fmla="*/ 44109 h 441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1906" h="44108">
                    <a:moveTo>
                      <a:pt x="0" y="0"/>
                    </a:moveTo>
                    <a:lnTo>
                      <a:pt x="37343" y="0"/>
                    </a:lnTo>
                    <a:lnTo>
                      <a:pt x="81907" y="44109"/>
                    </a:lnTo>
                  </a:path>
                </a:pathLst>
              </a:custGeom>
              <a:noFill/>
              <a:ln w="19050" cap="sq">
                <a:solidFill>
                  <a:srgbClr val="1D3EB6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7" name="Forma livre: Forma 46">
                <a:extLst>
                  <a:ext uri="{FF2B5EF4-FFF2-40B4-BE49-F238E27FC236}">
                    <a16:creationId xmlns:a16="http://schemas.microsoft.com/office/drawing/2014/main" id="{A218CA2E-F510-7512-4166-83D5F67ED301}"/>
                  </a:ext>
                </a:extLst>
              </p:cNvPr>
              <p:cNvSpPr/>
              <p:nvPr/>
            </p:nvSpPr>
            <p:spPr>
              <a:xfrm>
                <a:off x="6265075" y="1701539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rgbClr val="1D3EB6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35" name="Gráfico 32">
              <a:extLst>
                <a:ext uri="{FF2B5EF4-FFF2-40B4-BE49-F238E27FC236}">
                  <a16:creationId xmlns:a16="http://schemas.microsoft.com/office/drawing/2014/main" id="{60D8ECD1-BEC7-1F66-4883-E94009C70429}"/>
                </a:ext>
              </a:extLst>
            </p:cNvPr>
            <p:cNvGrpSpPr/>
            <p:nvPr/>
          </p:nvGrpSpPr>
          <p:grpSpPr>
            <a:xfrm>
              <a:off x="6191625" y="1357908"/>
              <a:ext cx="173767" cy="157112"/>
              <a:chOff x="6191625" y="1357908"/>
              <a:chExt cx="173767" cy="157112"/>
            </a:xfrm>
            <a:noFill/>
          </p:grpSpPr>
          <p:sp>
            <p:nvSpPr>
              <p:cNvPr id="40" name="Forma livre: Forma 39">
                <a:extLst>
                  <a:ext uri="{FF2B5EF4-FFF2-40B4-BE49-F238E27FC236}">
                    <a16:creationId xmlns:a16="http://schemas.microsoft.com/office/drawing/2014/main" id="{3F03337F-4B90-FACF-A1FD-AA1152085E5A}"/>
                  </a:ext>
                </a:extLst>
              </p:cNvPr>
              <p:cNvSpPr/>
              <p:nvPr/>
            </p:nvSpPr>
            <p:spPr>
              <a:xfrm>
                <a:off x="6310094" y="1437472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0 h 55298"/>
                  <a:gd name="connsiteX2" fmla="*/ 0 w 55298"/>
                  <a:gd name="connsiteY2" fmla="*/ 27649 h 55298"/>
                  <a:gd name="connsiteX3" fmla="*/ 27649 w 55298"/>
                  <a:gd name="connsiteY3" fmla="*/ 55298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12361"/>
                      <a:pt x="42938" y="0"/>
                      <a:pt x="27649" y="0"/>
                    </a:cubicBezTo>
                    <a:cubicBezTo>
                      <a:pt x="12361" y="0"/>
                      <a:pt x="0" y="12361"/>
                      <a:pt x="0" y="27649"/>
                    </a:cubicBezTo>
                    <a:cubicBezTo>
                      <a:pt x="0" y="42938"/>
                      <a:pt x="12361" y="55298"/>
                      <a:pt x="27649" y="55298"/>
                    </a:cubicBezTo>
                    <a:cubicBezTo>
                      <a:pt x="42938" y="55298"/>
                      <a:pt x="55298" y="42938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rgbClr val="1D3EB6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1" name="Forma livre: Forma 40">
                <a:extLst>
                  <a:ext uri="{FF2B5EF4-FFF2-40B4-BE49-F238E27FC236}">
                    <a16:creationId xmlns:a16="http://schemas.microsoft.com/office/drawing/2014/main" id="{A21E8B06-4F58-E58C-93BE-77C066BA531C}"/>
                  </a:ext>
                </a:extLst>
              </p:cNvPr>
              <p:cNvSpPr/>
              <p:nvPr/>
            </p:nvSpPr>
            <p:spPr>
              <a:xfrm>
                <a:off x="6191625" y="1465122"/>
                <a:ext cx="118468" cy="49898"/>
              </a:xfrm>
              <a:custGeom>
                <a:avLst/>
                <a:gdLst>
                  <a:gd name="connsiteX0" fmla="*/ 0 w 118468"/>
                  <a:gd name="connsiteY0" fmla="*/ 49899 h 49898"/>
                  <a:gd name="connsiteX1" fmla="*/ 37343 w 118468"/>
                  <a:gd name="connsiteY1" fmla="*/ 49899 h 49898"/>
                  <a:gd name="connsiteX2" fmla="*/ 87176 w 118468"/>
                  <a:gd name="connsiteY2" fmla="*/ 0 h 49898"/>
                  <a:gd name="connsiteX3" fmla="*/ 118469 w 118468"/>
                  <a:gd name="connsiteY3" fmla="*/ 0 h 49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8468" h="49898">
                    <a:moveTo>
                      <a:pt x="0" y="49899"/>
                    </a:moveTo>
                    <a:lnTo>
                      <a:pt x="37343" y="49899"/>
                    </a:lnTo>
                    <a:lnTo>
                      <a:pt x="87176" y="0"/>
                    </a:lnTo>
                    <a:lnTo>
                      <a:pt x="118469" y="0"/>
                    </a:lnTo>
                  </a:path>
                </a:pathLst>
              </a:custGeom>
              <a:noFill/>
              <a:ln w="19050" cap="sq">
                <a:solidFill>
                  <a:srgbClr val="1D3EB6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2" name="Forma livre: Forma 41">
                <a:extLst>
                  <a:ext uri="{FF2B5EF4-FFF2-40B4-BE49-F238E27FC236}">
                    <a16:creationId xmlns:a16="http://schemas.microsoft.com/office/drawing/2014/main" id="{94751818-7B26-5002-B16C-E4809545EE02}"/>
                  </a:ext>
                </a:extLst>
              </p:cNvPr>
              <p:cNvSpPr/>
              <p:nvPr/>
            </p:nvSpPr>
            <p:spPr>
              <a:xfrm>
                <a:off x="6191625" y="1405269"/>
                <a:ext cx="81451" cy="44043"/>
              </a:xfrm>
              <a:custGeom>
                <a:avLst/>
                <a:gdLst>
                  <a:gd name="connsiteX0" fmla="*/ 0 w 81451"/>
                  <a:gd name="connsiteY0" fmla="*/ 44044 h 44043"/>
                  <a:gd name="connsiteX1" fmla="*/ 37343 w 81451"/>
                  <a:gd name="connsiteY1" fmla="*/ 44044 h 44043"/>
                  <a:gd name="connsiteX2" fmla="*/ 81451 w 81451"/>
                  <a:gd name="connsiteY2" fmla="*/ 0 h 440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1451" h="44043">
                    <a:moveTo>
                      <a:pt x="0" y="44044"/>
                    </a:moveTo>
                    <a:lnTo>
                      <a:pt x="37343" y="44044"/>
                    </a:lnTo>
                    <a:lnTo>
                      <a:pt x="81451" y="0"/>
                    </a:lnTo>
                  </a:path>
                </a:pathLst>
              </a:custGeom>
              <a:noFill/>
              <a:ln w="19050" cap="sq">
                <a:solidFill>
                  <a:srgbClr val="1D3EB6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3" name="Forma livre: Forma 42">
                <a:extLst>
                  <a:ext uri="{FF2B5EF4-FFF2-40B4-BE49-F238E27FC236}">
                    <a16:creationId xmlns:a16="http://schemas.microsoft.com/office/drawing/2014/main" id="{929D1805-A5EE-59AC-715F-3AEC4CA1FCAF}"/>
                  </a:ext>
                </a:extLst>
              </p:cNvPr>
              <p:cNvSpPr/>
              <p:nvPr/>
            </p:nvSpPr>
            <p:spPr>
              <a:xfrm>
                <a:off x="6265075" y="1357908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0 h 55298"/>
                  <a:gd name="connsiteX2" fmla="*/ 0 w 55298"/>
                  <a:gd name="connsiteY2" fmla="*/ 27649 h 55298"/>
                  <a:gd name="connsiteX3" fmla="*/ 27649 w 55298"/>
                  <a:gd name="connsiteY3" fmla="*/ 55298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12361"/>
                      <a:pt x="42938" y="0"/>
                      <a:pt x="27649" y="0"/>
                    </a:cubicBezTo>
                    <a:cubicBezTo>
                      <a:pt x="12361" y="0"/>
                      <a:pt x="0" y="12361"/>
                      <a:pt x="0" y="27649"/>
                    </a:cubicBezTo>
                    <a:cubicBezTo>
                      <a:pt x="0" y="42938"/>
                      <a:pt x="12361" y="55298"/>
                      <a:pt x="27649" y="55298"/>
                    </a:cubicBezTo>
                    <a:cubicBezTo>
                      <a:pt x="42938" y="55298"/>
                      <a:pt x="55298" y="42938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rgbClr val="1D3EB6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36" name="Gráfico 32">
              <a:extLst>
                <a:ext uri="{FF2B5EF4-FFF2-40B4-BE49-F238E27FC236}">
                  <a16:creationId xmlns:a16="http://schemas.microsoft.com/office/drawing/2014/main" id="{4DEBCDC0-D899-8F54-FA1D-A07EA8FBCAD7}"/>
                </a:ext>
              </a:extLst>
            </p:cNvPr>
            <p:cNvGrpSpPr/>
            <p:nvPr/>
          </p:nvGrpSpPr>
          <p:grpSpPr>
            <a:xfrm>
              <a:off x="6190910" y="1529723"/>
              <a:ext cx="123673" cy="55298"/>
              <a:chOff x="6190910" y="1529723"/>
              <a:chExt cx="123673" cy="55298"/>
            </a:xfrm>
            <a:noFill/>
          </p:grpSpPr>
          <p:sp>
            <p:nvSpPr>
              <p:cNvPr id="38" name="Forma livre: Forma 37">
                <a:extLst>
                  <a:ext uri="{FF2B5EF4-FFF2-40B4-BE49-F238E27FC236}">
                    <a16:creationId xmlns:a16="http://schemas.microsoft.com/office/drawing/2014/main" id="{540E44F2-FBDA-2235-811B-5FB74F70A8AD}"/>
                  </a:ext>
                </a:extLst>
              </p:cNvPr>
              <p:cNvSpPr/>
              <p:nvPr/>
            </p:nvSpPr>
            <p:spPr>
              <a:xfrm>
                <a:off x="6190910" y="1557372"/>
                <a:ext cx="68765" cy="6505"/>
              </a:xfrm>
              <a:custGeom>
                <a:avLst/>
                <a:gdLst>
                  <a:gd name="connsiteX0" fmla="*/ 0 w 68765"/>
                  <a:gd name="connsiteY0" fmla="*/ 0 h 6505"/>
                  <a:gd name="connsiteX1" fmla="*/ 68765 w 68765"/>
                  <a:gd name="connsiteY1" fmla="*/ 0 h 65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8765" h="6505">
                    <a:moveTo>
                      <a:pt x="0" y="0"/>
                    </a:moveTo>
                    <a:lnTo>
                      <a:pt x="68765" y="0"/>
                    </a:lnTo>
                  </a:path>
                </a:pathLst>
              </a:custGeom>
              <a:ln w="19050" cap="sq">
                <a:solidFill>
                  <a:srgbClr val="1D3EB6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9" name="Forma livre: Forma 38">
                <a:extLst>
                  <a:ext uri="{FF2B5EF4-FFF2-40B4-BE49-F238E27FC236}">
                    <a16:creationId xmlns:a16="http://schemas.microsoft.com/office/drawing/2014/main" id="{66238D35-B4B9-E8E1-8B01-2EBB8ED891E1}"/>
                  </a:ext>
                </a:extLst>
              </p:cNvPr>
              <p:cNvSpPr/>
              <p:nvPr/>
            </p:nvSpPr>
            <p:spPr>
              <a:xfrm>
                <a:off x="6259285" y="1529723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rgbClr val="1D3EB6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37" name="Forma livre: Forma 36">
              <a:extLst>
                <a:ext uri="{FF2B5EF4-FFF2-40B4-BE49-F238E27FC236}">
                  <a16:creationId xmlns:a16="http://schemas.microsoft.com/office/drawing/2014/main" id="{E42E4D37-AC5D-6332-4862-2AFF8E25D2BA}"/>
                </a:ext>
              </a:extLst>
            </p:cNvPr>
            <p:cNvSpPr/>
            <p:nvPr/>
          </p:nvSpPr>
          <p:spPr>
            <a:xfrm>
              <a:off x="6152201" y="1686285"/>
              <a:ext cx="37362" cy="20848"/>
            </a:xfrm>
            <a:custGeom>
              <a:avLst/>
              <a:gdLst>
                <a:gd name="connsiteX0" fmla="*/ 0 w 37362"/>
                <a:gd name="connsiteY0" fmla="*/ 10505 h 20848"/>
                <a:gd name="connsiteX1" fmla="*/ 27064 w 37362"/>
                <a:gd name="connsiteY1" fmla="*/ 2373 h 20848"/>
                <a:gd name="connsiteX2" fmla="*/ 37343 w 37362"/>
                <a:gd name="connsiteY2" fmla="*/ 20849 h 20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7362" h="20848">
                  <a:moveTo>
                    <a:pt x="0" y="10505"/>
                  </a:moveTo>
                  <a:cubicBezTo>
                    <a:pt x="5205" y="811"/>
                    <a:pt x="17435" y="-2832"/>
                    <a:pt x="27064" y="2373"/>
                  </a:cubicBezTo>
                  <a:cubicBezTo>
                    <a:pt x="34025" y="6081"/>
                    <a:pt x="37668" y="13432"/>
                    <a:pt x="37343" y="20849"/>
                  </a:cubicBezTo>
                </a:path>
              </a:pathLst>
            </a:custGeom>
            <a:noFill/>
            <a:ln w="19050" cap="sq">
              <a:solidFill>
                <a:srgbClr val="1D3EB6"/>
              </a:solidFill>
              <a:prstDash val="solid"/>
              <a:miter lim="800000"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54" name="Agrupar 53">
            <a:extLst>
              <a:ext uri="{FF2B5EF4-FFF2-40B4-BE49-F238E27FC236}">
                <a16:creationId xmlns:a16="http://schemas.microsoft.com/office/drawing/2014/main" id="{FC01B3B6-0BEA-159F-14FA-318BB4DACE6A}"/>
              </a:ext>
            </a:extLst>
          </p:cNvPr>
          <p:cNvGrpSpPr/>
          <p:nvPr/>
        </p:nvGrpSpPr>
        <p:grpSpPr>
          <a:xfrm>
            <a:off x="1226085" y="755825"/>
            <a:ext cx="461846" cy="504363"/>
            <a:chOff x="6000092" y="1357908"/>
            <a:chExt cx="365300" cy="398929"/>
          </a:xfrm>
        </p:grpSpPr>
        <p:sp>
          <p:nvSpPr>
            <p:cNvPr id="55" name="Forma livre: Forma 54">
              <a:extLst>
                <a:ext uri="{FF2B5EF4-FFF2-40B4-BE49-F238E27FC236}">
                  <a16:creationId xmlns:a16="http://schemas.microsoft.com/office/drawing/2014/main" id="{6F365FF0-56CA-339A-350A-51933EC3959E}"/>
                </a:ext>
              </a:extLst>
            </p:cNvPr>
            <p:cNvSpPr/>
            <p:nvPr/>
          </p:nvSpPr>
          <p:spPr>
            <a:xfrm>
              <a:off x="6000092" y="1418606"/>
              <a:ext cx="84058" cy="286120"/>
            </a:xfrm>
            <a:custGeom>
              <a:avLst/>
              <a:gdLst>
                <a:gd name="connsiteX0" fmla="*/ 51595 w 84058"/>
                <a:gd name="connsiteY0" fmla="*/ 0 h 286120"/>
                <a:gd name="connsiteX1" fmla="*/ 35266 w 84058"/>
                <a:gd name="connsiteY1" fmla="*/ 61674 h 286120"/>
                <a:gd name="connsiteX2" fmla="*/ 28760 w 84058"/>
                <a:gd name="connsiteY2" fmla="*/ 193415 h 286120"/>
                <a:gd name="connsiteX3" fmla="*/ 84059 w 84058"/>
                <a:gd name="connsiteY3" fmla="*/ 286121 h 2861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4058" h="286120">
                  <a:moveTo>
                    <a:pt x="51595" y="0"/>
                  </a:moveTo>
                  <a:cubicBezTo>
                    <a:pt x="37868" y="7872"/>
                    <a:pt x="26028" y="24852"/>
                    <a:pt x="35266" y="61674"/>
                  </a:cubicBezTo>
                  <a:cubicBezTo>
                    <a:pt x="35266" y="61674"/>
                    <a:pt x="-39549" y="126731"/>
                    <a:pt x="28760" y="193415"/>
                  </a:cubicBezTo>
                  <a:cubicBezTo>
                    <a:pt x="28760" y="193415"/>
                    <a:pt x="9243" y="281242"/>
                    <a:pt x="84059" y="286121"/>
                  </a:cubicBezTo>
                </a:path>
              </a:pathLst>
            </a:custGeom>
            <a:noFill/>
            <a:ln w="19050" cap="sq">
              <a:solidFill>
                <a:schemeClr val="tx1"/>
              </a:solidFill>
              <a:prstDash val="solid"/>
              <a:miter lim="800000"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56" name="Gráfico 32">
              <a:extLst>
                <a:ext uri="{FF2B5EF4-FFF2-40B4-BE49-F238E27FC236}">
                  <a16:creationId xmlns:a16="http://schemas.microsoft.com/office/drawing/2014/main" id="{4960C405-DA9F-6D2C-7E20-40B675136D1B}"/>
                </a:ext>
              </a:extLst>
            </p:cNvPr>
            <p:cNvGrpSpPr/>
            <p:nvPr/>
          </p:nvGrpSpPr>
          <p:grpSpPr>
            <a:xfrm>
              <a:off x="6061121" y="1359924"/>
              <a:ext cx="128487" cy="396366"/>
              <a:chOff x="6061121" y="1359924"/>
              <a:chExt cx="128487" cy="396366"/>
            </a:xfrm>
            <a:noFill/>
          </p:grpSpPr>
          <p:sp>
            <p:nvSpPr>
              <p:cNvPr id="71" name="Forma livre: Forma 70">
                <a:extLst>
                  <a:ext uri="{FF2B5EF4-FFF2-40B4-BE49-F238E27FC236}">
                    <a16:creationId xmlns:a16="http://schemas.microsoft.com/office/drawing/2014/main" id="{775E42F8-8FC1-F8EB-7A78-7405AC8CCC61}"/>
                  </a:ext>
                </a:extLst>
              </p:cNvPr>
              <p:cNvSpPr/>
              <p:nvPr/>
            </p:nvSpPr>
            <p:spPr>
              <a:xfrm>
                <a:off x="6083891" y="1359924"/>
                <a:ext cx="105717" cy="396366"/>
              </a:xfrm>
              <a:custGeom>
                <a:avLst/>
                <a:gdLst>
                  <a:gd name="connsiteX0" fmla="*/ 52891 w 105717"/>
                  <a:gd name="connsiteY0" fmla="*/ 105718 h 396366"/>
                  <a:gd name="connsiteX1" fmla="*/ 0 w 105717"/>
                  <a:gd name="connsiteY1" fmla="*/ 52891 h 396366"/>
                  <a:gd name="connsiteX2" fmla="*/ 52891 w 105717"/>
                  <a:gd name="connsiteY2" fmla="*/ 0 h 396366"/>
                  <a:gd name="connsiteX3" fmla="*/ 105718 w 105717"/>
                  <a:gd name="connsiteY3" fmla="*/ 52826 h 396366"/>
                  <a:gd name="connsiteX4" fmla="*/ 105718 w 105717"/>
                  <a:gd name="connsiteY4" fmla="*/ 346884 h 396366"/>
                  <a:gd name="connsiteX5" fmla="*/ 80606 w 105717"/>
                  <a:gd name="connsiteY5" fmla="*/ 388911 h 396366"/>
                  <a:gd name="connsiteX6" fmla="*/ 9238 w 105717"/>
                  <a:gd name="connsiteY6" fmla="*/ 371150 h 396366"/>
                  <a:gd name="connsiteX7" fmla="*/ 15484 w 105717"/>
                  <a:gd name="connsiteY7" fmla="*/ 309216 h 396366"/>
                  <a:gd name="connsiteX8" fmla="*/ 45019 w 105717"/>
                  <a:gd name="connsiteY8" fmla="*/ 277078 h 3963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05717" h="396366">
                    <a:moveTo>
                      <a:pt x="52891" y="105718"/>
                    </a:moveTo>
                    <a:cubicBezTo>
                      <a:pt x="23681" y="105718"/>
                      <a:pt x="0" y="82037"/>
                      <a:pt x="0" y="52891"/>
                    </a:cubicBezTo>
                    <a:cubicBezTo>
                      <a:pt x="0" y="23746"/>
                      <a:pt x="23681" y="0"/>
                      <a:pt x="52891" y="0"/>
                    </a:cubicBezTo>
                    <a:cubicBezTo>
                      <a:pt x="82102" y="0"/>
                      <a:pt x="105718" y="23681"/>
                      <a:pt x="105718" y="52826"/>
                    </a:cubicBezTo>
                    <a:lnTo>
                      <a:pt x="105718" y="346884"/>
                    </a:lnTo>
                    <a:cubicBezTo>
                      <a:pt x="105718" y="364580"/>
                      <a:pt x="96414" y="379413"/>
                      <a:pt x="80606" y="388911"/>
                    </a:cubicBezTo>
                    <a:cubicBezTo>
                      <a:pt x="55949" y="403744"/>
                      <a:pt x="24006" y="395742"/>
                      <a:pt x="9238" y="371150"/>
                    </a:cubicBezTo>
                    <a:cubicBezTo>
                      <a:pt x="-2928" y="350918"/>
                      <a:pt x="260" y="325741"/>
                      <a:pt x="15484" y="309216"/>
                    </a:cubicBezTo>
                    <a:lnTo>
                      <a:pt x="45019" y="277078"/>
                    </a:lnTo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2" name="Forma livre: Forma 71">
                <a:extLst>
                  <a:ext uri="{FF2B5EF4-FFF2-40B4-BE49-F238E27FC236}">
                    <a16:creationId xmlns:a16="http://schemas.microsoft.com/office/drawing/2014/main" id="{1F2BD65B-878C-4A41-FC65-4C95F5B6AD6A}"/>
                  </a:ext>
                </a:extLst>
              </p:cNvPr>
              <p:cNvSpPr/>
              <p:nvPr/>
            </p:nvSpPr>
            <p:spPr>
              <a:xfrm>
                <a:off x="6144784" y="1383865"/>
                <a:ext cx="41563" cy="38963"/>
              </a:xfrm>
              <a:custGeom>
                <a:avLst/>
                <a:gdLst>
                  <a:gd name="connsiteX0" fmla="*/ 36172 w 41563"/>
                  <a:gd name="connsiteY0" fmla="*/ 0 h 38963"/>
                  <a:gd name="connsiteX1" fmla="*/ 39425 w 41563"/>
                  <a:gd name="connsiteY1" fmla="*/ 24266 h 38963"/>
                  <a:gd name="connsiteX2" fmla="*/ 36432 w 41563"/>
                  <a:gd name="connsiteY2" fmla="*/ 29080 h 38963"/>
                  <a:gd name="connsiteX3" fmla="*/ 0 w 41563"/>
                  <a:gd name="connsiteY3" fmla="*/ 33439 h 389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563" h="38963">
                    <a:moveTo>
                      <a:pt x="36172" y="0"/>
                    </a:moveTo>
                    <a:cubicBezTo>
                      <a:pt x="41571" y="7547"/>
                      <a:pt x="43393" y="16004"/>
                      <a:pt x="39425" y="24266"/>
                    </a:cubicBezTo>
                    <a:cubicBezTo>
                      <a:pt x="38644" y="25893"/>
                      <a:pt x="37603" y="27519"/>
                      <a:pt x="36432" y="29080"/>
                    </a:cubicBezTo>
                    <a:cubicBezTo>
                      <a:pt x="27584" y="40270"/>
                      <a:pt x="11190" y="42287"/>
                      <a:pt x="0" y="33439"/>
                    </a:cubicBezTo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3" name="Forma livre: Forma 72">
                <a:extLst>
                  <a:ext uri="{FF2B5EF4-FFF2-40B4-BE49-F238E27FC236}">
                    <a16:creationId xmlns:a16="http://schemas.microsoft.com/office/drawing/2014/main" id="{63C55EB8-B5D8-C31E-7FE3-12B7F5ED6D38}"/>
                  </a:ext>
                </a:extLst>
              </p:cNvPr>
              <p:cNvSpPr/>
              <p:nvPr/>
            </p:nvSpPr>
            <p:spPr>
              <a:xfrm>
                <a:off x="6081487" y="1460806"/>
                <a:ext cx="34217" cy="54474"/>
              </a:xfrm>
              <a:custGeom>
                <a:avLst/>
                <a:gdLst>
                  <a:gd name="connsiteX0" fmla="*/ 21076 w 34217"/>
                  <a:gd name="connsiteY0" fmla="*/ 54475 h 54474"/>
                  <a:gd name="connsiteX1" fmla="*/ 778 w 34217"/>
                  <a:gd name="connsiteY1" fmla="*/ 21035 h 54474"/>
                  <a:gd name="connsiteX2" fmla="*/ 34217 w 34217"/>
                  <a:gd name="connsiteY2" fmla="*/ 803 h 544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4217" h="54474">
                    <a:moveTo>
                      <a:pt x="21076" y="54475"/>
                    </a:moveTo>
                    <a:cubicBezTo>
                      <a:pt x="6308" y="50832"/>
                      <a:pt x="-2800" y="35803"/>
                      <a:pt x="778" y="21035"/>
                    </a:cubicBezTo>
                    <a:cubicBezTo>
                      <a:pt x="4421" y="6267"/>
                      <a:pt x="19449" y="-2841"/>
                      <a:pt x="34217" y="803"/>
                    </a:cubicBezTo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4" name="Forma livre: Forma 73">
                <a:extLst>
                  <a:ext uri="{FF2B5EF4-FFF2-40B4-BE49-F238E27FC236}">
                    <a16:creationId xmlns:a16="http://schemas.microsoft.com/office/drawing/2014/main" id="{19EDBBF4-7CFB-C301-D152-BC47C07FC613}"/>
                  </a:ext>
                </a:extLst>
              </p:cNvPr>
              <p:cNvSpPr/>
              <p:nvPr/>
            </p:nvSpPr>
            <p:spPr>
              <a:xfrm>
                <a:off x="6073547" y="1527543"/>
                <a:ext cx="114760" cy="72506"/>
              </a:xfrm>
              <a:custGeom>
                <a:avLst/>
                <a:gdLst>
                  <a:gd name="connsiteX0" fmla="*/ 114760 w 114760"/>
                  <a:gd name="connsiteY0" fmla="*/ 7254 h 72506"/>
                  <a:gd name="connsiteX1" fmla="*/ 73905 w 114760"/>
                  <a:gd name="connsiteY1" fmla="*/ 8881 h 72506"/>
                  <a:gd name="connsiteX2" fmla="*/ 0 w 114760"/>
                  <a:gd name="connsiteY2" fmla="*/ 72506 h 725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14760" h="72506">
                    <a:moveTo>
                      <a:pt x="114760" y="7254"/>
                    </a:moveTo>
                    <a:cubicBezTo>
                      <a:pt x="103375" y="-2830"/>
                      <a:pt x="83989" y="-2504"/>
                      <a:pt x="73905" y="8881"/>
                    </a:cubicBezTo>
                    <a:cubicBezTo>
                      <a:pt x="73905" y="8881"/>
                      <a:pt x="31488" y="72506"/>
                      <a:pt x="0" y="72506"/>
                    </a:cubicBezTo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5" name="Forma livre: Forma 74">
                <a:extLst>
                  <a:ext uri="{FF2B5EF4-FFF2-40B4-BE49-F238E27FC236}">
                    <a16:creationId xmlns:a16="http://schemas.microsoft.com/office/drawing/2014/main" id="{66441D2A-BEE3-C8DC-7BCD-94353CD58747}"/>
                  </a:ext>
                </a:extLst>
              </p:cNvPr>
              <p:cNvSpPr/>
              <p:nvPr/>
            </p:nvSpPr>
            <p:spPr>
              <a:xfrm>
                <a:off x="6079857" y="1646956"/>
                <a:ext cx="29405" cy="9823"/>
              </a:xfrm>
              <a:custGeom>
                <a:avLst/>
                <a:gdLst>
                  <a:gd name="connsiteX0" fmla="*/ 0 w 29405"/>
                  <a:gd name="connsiteY0" fmla="*/ 0 h 9823"/>
                  <a:gd name="connsiteX1" fmla="*/ 29406 w 29405"/>
                  <a:gd name="connsiteY1" fmla="*/ 9824 h 98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9405" h="9823">
                    <a:moveTo>
                      <a:pt x="0" y="0"/>
                    </a:moveTo>
                    <a:lnTo>
                      <a:pt x="29406" y="9824"/>
                    </a:lnTo>
                  </a:path>
                </a:pathLst>
              </a:custGeom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6" name="Forma livre: Forma 75">
                <a:extLst>
                  <a:ext uri="{FF2B5EF4-FFF2-40B4-BE49-F238E27FC236}">
                    <a16:creationId xmlns:a16="http://schemas.microsoft.com/office/drawing/2014/main" id="{ED2EECBB-B8A4-0526-19D0-157904CE2004}"/>
                  </a:ext>
                </a:extLst>
              </p:cNvPr>
              <p:cNvSpPr/>
              <p:nvPr/>
            </p:nvSpPr>
            <p:spPr>
              <a:xfrm>
                <a:off x="6061121" y="1545272"/>
                <a:ext cx="47166" cy="34154"/>
              </a:xfrm>
              <a:custGeom>
                <a:avLst/>
                <a:gdLst>
                  <a:gd name="connsiteX0" fmla="*/ 0 w 47166"/>
                  <a:gd name="connsiteY0" fmla="*/ 0 h 34154"/>
                  <a:gd name="connsiteX1" fmla="*/ 47166 w 47166"/>
                  <a:gd name="connsiteY1" fmla="*/ 34155 h 341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166" h="34154">
                    <a:moveTo>
                      <a:pt x="0" y="0"/>
                    </a:moveTo>
                    <a:cubicBezTo>
                      <a:pt x="0" y="0"/>
                      <a:pt x="27649" y="13011"/>
                      <a:pt x="47166" y="34155"/>
                    </a:cubicBezTo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57" name="Gráfico 32">
              <a:extLst>
                <a:ext uri="{FF2B5EF4-FFF2-40B4-BE49-F238E27FC236}">
                  <a16:creationId xmlns:a16="http://schemas.microsoft.com/office/drawing/2014/main" id="{43AAEA0F-81D3-5366-3147-3A306A85B1FC}"/>
                </a:ext>
              </a:extLst>
            </p:cNvPr>
            <p:cNvGrpSpPr/>
            <p:nvPr/>
          </p:nvGrpSpPr>
          <p:grpSpPr>
            <a:xfrm>
              <a:off x="6191625" y="1599725"/>
              <a:ext cx="173767" cy="157112"/>
              <a:chOff x="6191625" y="1599725"/>
              <a:chExt cx="173767" cy="157112"/>
            </a:xfrm>
            <a:noFill/>
          </p:grpSpPr>
          <p:sp>
            <p:nvSpPr>
              <p:cNvPr id="67" name="Forma livre: Forma 66">
                <a:extLst>
                  <a:ext uri="{FF2B5EF4-FFF2-40B4-BE49-F238E27FC236}">
                    <a16:creationId xmlns:a16="http://schemas.microsoft.com/office/drawing/2014/main" id="{C9F7AFF2-3243-ACC7-F96B-25656E0DC23A}"/>
                  </a:ext>
                </a:extLst>
              </p:cNvPr>
              <p:cNvSpPr/>
              <p:nvPr/>
            </p:nvSpPr>
            <p:spPr>
              <a:xfrm>
                <a:off x="6310094" y="1621974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68" name="Forma livre: Forma 67">
                <a:extLst>
                  <a:ext uri="{FF2B5EF4-FFF2-40B4-BE49-F238E27FC236}">
                    <a16:creationId xmlns:a16="http://schemas.microsoft.com/office/drawing/2014/main" id="{34DF3942-2072-8457-07C2-41D4DC3669E2}"/>
                  </a:ext>
                </a:extLst>
              </p:cNvPr>
              <p:cNvSpPr/>
              <p:nvPr/>
            </p:nvSpPr>
            <p:spPr>
              <a:xfrm>
                <a:off x="6191625" y="1599725"/>
                <a:ext cx="118078" cy="49898"/>
              </a:xfrm>
              <a:custGeom>
                <a:avLst/>
                <a:gdLst>
                  <a:gd name="connsiteX0" fmla="*/ 0 w 118078"/>
                  <a:gd name="connsiteY0" fmla="*/ 0 h 49898"/>
                  <a:gd name="connsiteX1" fmla="*/ 37343 w 118078"/>
                  <a:gd name="connsiteY1" fmla="*/ 0 h 49898"/>
                  <a:gd name="connsiteX2" fmla="*/ 87176 w 118078"/>
                  <a:gd name="connsiteY2" fmla="*/ 49899 h 49898"/>
                  <a:gd name="connsiteX3" fmla="*/ 118078 w 118078"/>
                  <a:gd name="connsiteY3" fmla="*/ 49899 h 49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8078" h="49898">
                    <a:moveTo>
                      <a:pt x="0" y="0"/>
                    </a:moveTo>
                    <a:lnTo>
                      <a:pt x="37343" y="0"/>
                    </a:lnTo>
                    <a:lnTo>
                      <a:pt x="87176" y="49899"/>
                    </a:lnTo>
                    <a:lnTo>
                      <a:pt x="118078" y="49899"/>
                    </a:lnTo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69" name="Forma livre: Forma 68">
                <a:extLst>
                  <a:ext uri="{FF2B5EF4-FFF2-40B4-BE49-F238E27FC236}">
                    <a16:creationId xmlns:a16="http://schemas.microsoft.com/office/drawing/2014/main" id="{BFCEEEBF-9A0B-8789-EC6D-D45D97BC8AC9}"/>
                  </a:ext>
                </a:extLst>
              </p:cNvPr>
              <p:cNvSpPr/>
              <p:nvPr/>
            </p:nvSpPr>
            <p:spPr>
              <a:xfrm>
                <a:off x="6191625" y="1665367"/>
                <a:ext cx="81906" cy="44108"/>
              </a:xfrm>
              <a:custGeom>
                <a:avLst/>
                <a:gdLst>
                  <a:gd name="connsiteX0" fmla="*/ 0 w 81906"/>
                  <a:gd name="connsiteY0" fmla="*/ 0 h 44108"/>
                  <a:gd name="connsiteX1" fmla="*/ 37343 w 81906"/>
                  <a:gd name="connsiteY1" fmla="*/ 0 h 44108"/>
                  <a:gd name="connsiteX2" fmla="*/ 81907 w 81906"/>
                  <a:gd name="connsiteY2" fmla="*/ 44109 h 441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1906" h="44108">
                    <a:moveTo>
                      <a:pt x="0" y="0"/>
                    </a:moveTo>
                    <a:lnTo>
                      <a:pt x="37343" y="0"/>
                    </a:lnTo>
                    <a:lnTo>
                      <a:pt x="81907" y="44109"/>
                    </a:lnTo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0" name="Forma livre: Forma 69">
                <a:extLst>
                  <a:ext uri="{FF2B5EF4-FFF2-40B4-BE49-F238E27FC236}">
                    <a16:creationId xmlns:a16="http://schemas.microsoft.com/office/drawing/2014/main" id="{2E6A6F64-ABA5-C488-C9DA-651409007137}"/>
                  </a:ext>
                </a:extLst>
              </p:cNvPr>
              <p:cNvSpPr/>
              <p:nvPr/>
            </p:nvSpPr>
            <p:spPr>
              <a:xfrm>
                <a:off x="6265075" y="1701539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58" name="Gráfico 32">
              <a:extLst>
                <a:ext uri="{FF2B5EF4-FFF2-40B4-BE49-F238E27FC236}">
                  <a16:creationId xmlns:a16="http://schemas.microsoft.com/office/drawing/2014/main" id="{8A4DFB40-FF7B-D72F-AC91-BA566D03085B}"/>
                </a:ext>
              </a:extLst>
            </p:cNvPr>
            <p:cNvGrpSpPr/>
            <p:nvPr/>
          </p:nvGrpSpPr>
          <p:grpSpPr>
            <a:xfrm>
              <a:off x="6191625" y="1357908"/>
              <a:ext cx="173767" cy="157112"/>
              <a:chOff x="6191625" y="1357908"/>
              <a:chExt cx="173767" cy="157112"/>
            </a:xfrm>
            <a:noFill/>
          </p:grpSpPr>
          <p:sp>
            <p:nvSpPr>
              <p:cNvPr id="63" name="Forma livre: Forma 62">
                <a:extLst>
                  <a:ext uri="{FF2B5EF4-FFF2-40B4-BE49-F238E27FC236}">
                    <a16:creationId xmlns:a16="http://schemas.microsoft.com/office/drawing/2014/main" id="{D533D5A4-8442-0D01-67BC-9DD3F577FC7D}"/>
                  </a:ext>
                </a:extLst>
              </p:cNvPr>
              <p:cNvSpPr/>
              <p:nvPr/>
            </p:nvSpPr>
            <p:spPr>
              <a:xfrm>
                <a:off x="6310094" y="1437472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0 h 55298"/>
                  <a:gd name="connsiteX2" fmla="*/ 0 w 55298"/>
                  <a:gd name="connsiteY2" fmla="*/ 27649 h 55298"/>
                  <a:gd name="connsiteX3" fmla="*/ 27649 w 55298"/>
                  <a:gd name="connsiteY3" fmla="*/ 55298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12361"/>
                      <a:pt x="42938" y="0"/>
                      <a:pt x="27649" y="0"/>
                    </a:cubicBezTo>
                    <a:cubicBezTo>
                      <a:pt x="12361" y="0"/>
                      <a:pt x="0" y="12361"/>
                      <a:pt x="0" y="27649"/>
                    </a:cubicBezTo>
                    <a:cubicBezTo>
                      <a:pt x="0" y="42938"/>
                      <a:pt x="12361" y="55298"/>
                      <a:pt x="27649" y="55298"/>
                    </a:cubicBezTo>
                    <a:cubicBezTo>
                      <a:pt x="42938" y="55298"/>
                      <a:pt x="55298" y="42938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64" name="Forma livre: Forma 63">
                <a:extLst>
                  <a:ext uri="{FF2B5EF4-FFF2-40B4-BE49-F238E27FC236}">
                    <a16:creationId xmlns:a16="http://schemas.microsoft.com/office/drawing/2014/main" id="{0A79E2D9-1C33-6DB3-AF5A-E50A06449774}"/>
                  </a:ext>
                </a:extLst>
              </p:cNvPr>
              <p:cNvSpPr/>
              <p:nvPr/>
            </p:nvSpPr>
            <p:spPr>
              <a:xfrm>
                <a:off x="6191625" y="1465122"/>
                <a:ext cx="118468" cy="49898"/>
              </a:xfrm>
              <a:custGeom>
                <a:avLst/>
                <a:gdLst>
                  <a:gd name="connsiteX0" fmla="*/ 0 w 118468"/>
                  <a:gd name="connsiteY0" fmla="*/ 49899 h 49898"/>
                  <a:gd name="connsiteX1" fmla="*/ 37343 w 118468"/>
                  <a:gd name="connsiteY1" fmla="*/ 49899 h 49898"/>
                  <a:gd name="connsiteX2" fmla="*/ 87176 w 118468"/>
                  <a:gd name="connsiteY2" fmla="*/ 0 h 49898"/>
                  <a:gd name="connsiteX3" fmla="*/ 118469 w 118468"/>
                  <a:gd name="connsiteY3" fmla="*/ 0 h 49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8468" h="49898">
                    <a:moveTo>
                      <a:pt x="0" y="49899"/>
                    </a:moveTo>
                    <a:lnTo>
                      <a:pt x="37343" y="49899"/>
                    </a:lnTo>
                    <a:lnTo>
                      <a:pt x="87176" y="0"/>
                    </a:lnTo>
                    <a:lnTo>
                      <a:pt x="118469" y="0"/>
                    </a:lnTo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65" name="Forma livre: Forma 64">
                <a:extLst>
                  <a:ext uri="{FF2B5EF4-FFF2-40B4-BE49-F238E27FC236}">
                    <a16:creationId xmlns:a16="http://schemas.microsoft.com/office/drawing/2014/main" id="{D363539A-E4E7-EA7F-6659-E415F7EF81E4}"/>
                  </a:ext>
                </a:extLst>
              </p:cNvPr>
              <p:cNvSpPr/>
              <p:nvPr/>
            </p:nvSpPr>
            <p:spPr>
              <a:xfrm>
                <a:off x="6191625" y="1405269"/>
                <a:ext cx="81451" cy="44043"/>
              </a:xfrm>
              <a:custGeom>
                <a:avLst/>
                <a:gdLst>
                  <a:gd name="connsiteX0" fmla="*/ 0 w 81451"/>
                  <a:gd name="connsiteY0" fmla="*/ 44044 h 44043"/>
                  <a:gd name="connsiteX1" fmla="*/ 37343 w 81451"/>
                  <a:gd name="connsiteY1" fmla="*/ 44044 h 44043"/>
                  <a:gd name="connsiteX2" fmla="*/ 81451 w 81451"/>
                  <a:gd name="connsiteY2" fmla="*/ 0 h 440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1451" h="44043">
                    <a:moveTo>
                      <a:pt x="0" y="44044"/>
                    </a:moveTo>
                    <a:lnTo>
                      <a:pt x="37343" y="44044"/>
                    </a:lnTo>
                    <a:lnTo>
                      <a:pt x="81451" y="0"/>
                    </a:lnTo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66" name="Forma livre: Forma 65">
                <a:extLst>
                  <a:ext uri="{FF2B5EF4-FFF2-40B4-BE49-F238E27FC236}">
                    <a16:creationId xmlns:a16="http://schemas.microsoft.com/office/drawing/2014/main" id="{47A60E62-6907-A36D-8E24-C7D2C9806735}"/>
                  </a:ext>
                </a:extLst>
              </p:cNvPr>
              <p:cNvSpPr/>
              <p:nvPr/>
            </p:nvSpPr>
            <p:spPr>
              <a:xfrm>
                <a:off x="6265075" y="1357908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0 h 55298"/>
                  <a:gd name="connsiteX2" fmla="*/ 0 w 55298"/>
                  <a:gd name="connsiteY2" fmla="*/ 27649 h 55298"/>
                  <a:gd name="connsiteX3" fmla="*/ 27649 w 55298"/>
                  <a:gd name="connsiteY3" fmla="*/ 55298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12361"/>
                      <a:pt x="42938" y="0"/>
                      <a:pt x="27649" y="0"/>
                    </a:cubicBezTo>
                    <a:cubicBezTo>
                      <a:pt x="12361" y="0"/>
                      <a:pt x="0" y="12361"/>
                      <a:pt x="0" y="27649"/>
                    </a:cubicBezTo>
                    <a:cubicBezTo>
                      <a:pt x="0" y="42938"/>
                      <a:pt x="12361" y="55298"/>
                      <a:pt x="27649" y="55298"/>
                    </a:cubicBezTo>
                    <a:cubicBezTo>
                      <a:pt x="42938" y="55298"/>
                      <a:pt x="55298" y="42938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59" name="Gráfico 32">
              <a:extLst>
                <a:ext uri="{FF2B5EF4-FFF2-40B4-BE49-F238E27FC236}">
                  <a16:creationId xmlns:a16="http://schemas.microsoft.com/office/drawing/2014/main" id="{8B2FD4D4-EA81-6C90-1C58-5816427442B8}"/>
                </a:ext>
              </a:extLst>
            </p:cNvPr>
            <p:cNvGrpSpPr/>
            <p:nvPr/>
          </p:nvGrpSpPr>
          <p:grpSpPr>
            <a:xfrm>
              <a:off x="6190910" y="1529723"/>
              <a:ext cx="123673" cy="55298"/>
              <a:chOff x="6190910" y="1529723"/>
              <a:chExt cx="123673" cy="55298"/>
            </a:xfrm>
            <a:noFill/>
          </p:grpSpPr>
          <p:sp>
            <p:nvSpPr>
              <p:cNvPr id="61" name="Forma livre: Forma 60">
                <a:extLst>
                  <a:ext uri="{FF2B5EF4-FFF2-40B4-BE49-F238E27FC236}">
                    <a16:creationId xmlns:a16="http://schemas.microsoft.com/office/drawing/2014/main" id="{F9173B70-3921-4A5C-2F4F-8470092D6706}"/>
                  </a:ext>
                </a:extLst>
              </p:cNvPr>
              <p:cNvSpPr/>
              <p:nvPr/>
            </p:nvSpPr>
            <p:spPr>
              <a:xfrm>
                <a:off x="6190910" y="1557372"/>
                <a:ext cx="68765" cy="6505"/>
              </a:xfrm>
              <a:custGeom>
                <a:avLst/>
                <a:gdLst>
                  <a:gd name="connsiteX0" fmla="*/ 0 w 68765"/>
                  <a:gd name="connsiteY0" fmla="*/ 0 h 6505"/>
                  <a:gd name="connsiteX1" fmla="*/ 68765 w 68765"/>
                  <a:gd name="connsiteY1" fmla="*/ 0 h 65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8765" h="6505">
                    <a:moveTo>
                      <a:pt x="0" y="0"/>
                    </a:moveTo>
                    <a:lnTo>
                      <a:pt x="68765" y="0"/>
                    </a:lnTo>
                  </a:path>
                </a:pathLst>
              </a:custGeom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62" name="Forma livre: Forma 61">
                <a:extLst>
                  <a:ext uri="{FF2B5EF4-FFF2-40B4-BE49-F238E27FC236}">
                    <a16:creationId xmlns:a16="http://schemas.microsoft.com/office/drawing/2014/main" id="{7DDAE409-2C13-5A3F-8239-2530EECA41B8}"/>
                  </a:ext>
                </a:extLst>
              </p:cNvPr>
              <p:cNvSpPr/>
              <p:nvPr/>
            </p:nvSpPr>
            <p:spPr>
              <a:xfrm>
                <a:off x="6259285" y="1529723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60" name="Forma livre: Forma 59">
              <a:extLst>
                <a:ext uri="{FF2B5EF4-FFF2-40B4-BE49-F238E27FC236}">
                  <a16:creationId xmlns:a16="http://schemas.microsoft.com/office/drawing/2014/main" id="{EDF09788-0BAD-6ECC-F1CE-C56C87506C4A}"/>
                </a:ext>
              </a:extLst>
            </p:cNvPr>
            <p:cNvSpPr/>
            <p:nvPr/>
          </p:nvSpPr>
          <p:spPr>
            <a:xfrm>
              <a:off x="6152201" y="1686285"/>
              <a:ext cx="37362" cy="20848"/>
            </a:xfrm>
            <a:custGeom>
              <a:avLst/>
              <a:gdLst>
                <a:gd name="connsiteX0" fmla="*/ 0 w 37362"/>
                <a:gd name="connsiteY0" fmla="*/ 10505 h 20848"/>
                <a:gd name="connsiteX1" fmla="*/ 27064 w 37362"/>
                <a:gd name="connsiteY1" fmla="*/ 2373 h 20848"/>
                <a:gd name="connsiteX2" fmla="*/ 37343 w 37362"/>
                <a:gd name="connsiteY2" fmla="*/ 20849 h 20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7362" h="20848">
                  <a:moveTo>
                    <a:pt x="0" y="10505"/>
                  </a:moveTo>
                  <a:cubicBezTo>
                    <a:pt x="5205" y="811"/>
                    <a:pt x="17435" y="-2832"/>
                    <a:pt x="27064" y="2373"/>
                  </a:cubicBezTo>
                  <a:cubicBezTo>
                    <a:pt x="34025" y="6081"/>
                    <a:pt x="37668" y="13432"/>
                    <a:pt x="37343" y="20849"/>
                  </a:cubicBezTo>
                </a:path>
              </a:pathLst>
            </a:custGeom>
            <a:noFill/>
            <a:ln w="19050" cap="sq">
              <a:solidFill>
                <a:schemeClr val="tx1"/>
              </a:solidFill>
              <a:prstDash val="solid"/>
              <a:miter lim="800000"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77" name="Agrupar 76">
            <a:extLst>
              <a:ext uri="{FF2B5EF4-FFF2-40B4-BE49-F238E27FC236}">
                <a16:creationId xmlns:a16="http://schemas.microsoft.com/office/drawing/2014/main" id="{8FE4E1E5-A1A2-AD26-9710-2923798CD98E}"/>
              </a:ext>
            </a:extLst>
          </p:cNvPr>
          <p:cNvGrpSpPr/>
          <p:nvPr/>
        </p:nvGrpSpPr>
        <p:grpSpPr>
          <a:xfrm>
            <a:off x="796845" y="3662347"/>
            <a:ext cx="461846" cy="504363"/>
            <a:chOff x="6000092" y="1357908"/>
            <a:chExt cx="365300" cy="398929"/>
          </a:xfrm>
        </p:grpSpPr>
        <p:sp>
          <p:nvSpPr>
            <p:cNvPr id="78" name="Forma livre: Forma 77">
              <a:extLst>
                <a:ext uri="{FF2B5EF4-FFF2-40B4-BE49-F238E27FC236}">
                  <a16:creationId xmlns:a16="http://schemas.microsoft.com/office/drawing/2014/main" id="{72E7D8DC-95F7-D68C-88EB-2E3F739AFB54}"/>
                </a:ext>
              </a:extLst>
            </p:cNvPr>
            <p:cNvSpPr/>
            <p:nvPr/>
          </p:nvSpPr>
          <p:spPr>
            <a:xfrm>
              <a:off x="6000092" y="1418606"/>
              <a:ext cx="84058" cy="286120"/>
            </a:xfrm>
            <a:custGeom>
              <a:avLst/>
              <a:gdLst>
                <a:gd name="connsiteX0" fmla="*/ 51595 w 84058"/>
                <a:gd name="connsiteY0" fmla="*/ 0 h 286120"/>
                <a:gd name="connsiteX1" fmla="*/ 35266 w 84058"/>
                <a:gd name="connsiteY1" fmla="*/ 61674 h 286120"/>
                <a:gd name="connsiteX2" fmla="*/ 28760 w 84058"/>
                <a:gd name="connsiteY2" fmla="*/ 193415 h 286120"/>
                <a:gd name="connsiteX3" fmla="*/ 84059 w 84058"/>
                <a:gd name="connsiteY3" fmla="*/ 286121 h 2861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4058" h="286120">
                  <a:moveTo>
                    <a:pt x="51595" y="0"/>
                  </a:moveTo>
                  <a:cubicBezTo>
                    <a:pt x="37868" y="7872"/>
                    <a:pt x="26028" y="24852"/>
                    <a:pt x="35266" y="61674"/>
                  </a:cubicBezTo>
                  <a:cubicBezTo>
                    <a:pt x="35266" y="61674"/>
                    <a:pt x="-39549" y="126731"/>
                    <a:pt x="28760" y="193415"/>
                  </a:cubicBezTo>
                  <a:cubicBezTo>
                    <a:pt x="28760" y="193415"/>
                    <a:pt x="9243" y="281242"/>
                    <a:pt x="84059" y="286121"/>
                  </a:cubicBezTo>
                </a:path>
              </a:pathLst>
            </a:custGeom>
            <a:noFill/>
            <a:ln w="19050" cap="sq">
              <a:solidFill>
                <a:schemeClr val="tx1"/>
              </a:solidFill>
              <a:prstDash val="solid"/>
              <a:miter lim="800000"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79" name="Gráfico 32">
              <a:extLst>
                <a:ext uri="{FF2B5EF4-FFF2-40B4-BE49-F238E27FC236}">
                  <a16:creationId xmlns:a16="http://schemas.microsoft.com/office/drawing/2014/main" id="{2625F58E-FD1E-FC87-6EF8-F38CE493C264}"/>
                </a:ext>
              </a:extLst>
            </p:cNvPr>
            <p:cNvGrpSpPr/>
            <p:nvPr/>
          </p:nvGrpSpPr>
          <p:grpSpPr>
            <a:xfrm>
              <a:off x="6061121" y="1359924"/>
              <a:ext cx="128487" cy="396366"/>
              <a:chOff x="6061121" y="1359924"/>
              <a:chExt cx="128487" cy="396366"/>
            </a:xfrm>
            <a:noFill/>
          </p:grpSpPr>
          <p:sp>
            <p:nvSpPr>
              <p:cNvPr id="94" name="Forma livre: Forma 93">
                <a:extLst>
                  <a:ext uri="{FF2B5EF4-FFF2-40B4-BE49-F238E27FC236}">
                    <a16:creationId xmlns:a16="http://schemas.microsoft.com/office/drawing/2014/main" id="{C553A62E-E114-3262-E191-0AC5C7FD259D}"/>
                  </a:ext>
                </a:extLst>
              </p:cNvPr>
              <p:cNvSpPr/>
              <p:nvPr/>
            </p:nvSpPr>
            <p:spPr>
              <a:xfrm>
                <a:off x="6083891" y="1359924"/>
                <a:ext cx="105717" cy="396366"/>
              </a:xfrm>
              <a:custGeom>
                <a:avLst/>
                <a:gdLst>
                  <a:gd name="connsiteX0" fmla="*/ 52891 w 105717"/>
                  <a:gd name="connsiteY0" fmla="*/ 105718 h 396366"/>
                  <a:gd name="connsiteX1" fmla="*/ 0 w 105717"/>
                  <a:gd name="connsiteY1" fmla="*/ 52891 h 396366"/>
                  <a:gd name="connsiteX2" fmla="*/ 52891 w 105717"/>
                  <a:gd name="connsiteY2" fmla="*/ 0 h 396366"/>
                  <a:gd name="connsiteX3" fmla="*/ 105718 w 105717"/>
                  <a:gd name="connsiteY3" fmla="*/ 52826 h 396366"/>
                  <a:gd name="connsiteX4" fmla="*/ 105718 w 105717"/>
                  <a:gd name="connsiteY4" fmla="*/ 346884 h 396366"/>
                  <a:gd name="connsiteX5" fmla="*/ 80606 w 105717"/>
                  <a:gd name="connsiteY5" fmla="*/ 388911 h 396366"/>
                  <a:gd name="connsiteX6" fmla="*/ 9238 w 105717"/>
                  <a:gd name="connsiteY6" fmla="*/ 371150 h 396366"/>
                  <a:gd name="connsiteX7" fmla="*/ 15484 w 105717"/>
                  <a:gd name="connsiteY7" fmla="*/ 309216 h 396366"/>
                  <a:gd name="connsiteX8" fmla="*/ 45019 w 105717"/>
                  <a:gd name="connsiteY8" fmla="*/ 277078 h 3963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05717" h="396366">
                    <a:moveTo>
                      <a:pt x="52891" y="105718"/>
                    </a:moveTo>
                    <a:cubicBezTo>
                      <a:pt x="23681" y="105718"/>
                      <a:pt x="0" y="82037"/>
                      <a:pt x="0" y="52891"/>
                    </a:cubicBezTo>
                    <a:cubicBezTo>
                      <a:pt x="0" y="23746"/>
                      <a:pt x="23681" y="0"/>
                      <a:pt x="52891" y="0"/>
                    </a:cubicBezTo>
                    <a:cubicBezTo>
                      <a:pt x="82102" y="0"/>
                      <a:pt x="105718" y="23681"/>
                      <a:pt x="105718" y="52826"/>
                    </a:cubicBezTo>
                    <a:lnTo>
                      <a:pt x="105718" y="346884"/>
                    </a:lnTo>
                    <a:cubicBezTo>
                      <a:pt x="105718" y="364580"/>
                      <a:pt x="96414" y="379413"/>
                      <a:pt x="80606" y="388911"/>
                    </a:cubicBezTo>
                    <a:cubicBezTo>
                      <a:pt x="55949" y="403744"/>
                      <a:pt x="24006" y="395742"/>
                      <a:pt x="9238" y="371150"/>
                    </a:cubicBezTo>
                    <a:cubicBezTo>
                      <a:pt x="-2928" y="350918"/>
                      <a:pt x="260" y="325741"/>
                      <a:pt x="15484" y="309216"/>
                    </a:cubicBezTo>
                    <a:lnTo>
                      <a:pt x="45019" y="277078"/>
                    </a:lnTo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5" name="Forma livre: Forma 94">
                <a:extLst>
                  <a:ext uri="{FF2B5EF4-FFF2-40B4-BE49-F238E27FC236}">
                    <a16:creationId xmlns:a16="http://schemas.microsoft.com/office/drawing/2014/main" id="{26201675-62A4-ADA3-FBFA-5AAF37F749D7}"/>
                  </a:ext>
                </a:extLst>
              </p:cNvPr>
              <p:cNvSpPr/>
              <p:nvPr/>
            </p:nvSpPr>
            <p:spPr>
              <a:xfrm>
                <a:off x="6144784" y="1383865"/>
                <a:ext cx="41563" cy="38963"/>
              </a:xfrm>
              <a:custGeom>
                <a:avLst/>
                <a:gdLst>
                  <a:gd name="connsiteX0" fmla="*/ 36172 w 41563"/>
                  <a:gd name="connsiteY0" fmla="*/ 0 h 38963"/>
                  <a:gd name="connsiteX1" fmla="*/ 39425 w 41563"/>
                  <a:gd name="connsiteY1" fmla="*/ 24266 h 38963"/>
                  <a:gd name="connsiteX2" fmla="*/ 36432 w 41563"/>
                  <a:gd name="connsiteY2" fmla="*/ 29080 h 38963"/>
                  <a:gd name="connsiteX3" fmla="*/ 0 w 41563"/>
                  <a:gd name="connsiteY3" fmla="*/ 33439 h 389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563" h="38963">
                    <a:moveTo>
                      <a:pt x="36172" y="0"/>
                    </a:moveTo>
                    <a:cubicBezTo>
                      <a:pt x="41571" y="7547"/>
                      <a:pt x="43393" y="16004"/>
                      <a:pt x="39425" y="24266"/>
                    </a:cubicBezTo>
                    <a:cubicBezTo>
                      <a:pt x="38644" y="25893"/>
                      <a:pt x="37603" y="27519"/>
                      <a:pt x="36432" y="29080"/>
                    </a:cubicBezTo>
                    <a:cubicBezTo>
                      <a:pt x="27584" y="40270"/>
                      <a:pt x="11190" y="42287"/>
                      <a:pt x="0" y="33439"/>
                    </a:cubicBezTo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6" name="Forma livre: Forma 95">
                <a:extLst>
                  <a:ext uri="{FF2B5EF4-FFF2-40B4-BE49-F238E27FC236}">
                    <a16:creationId xmlns:a16="http://schemas.microsoft.com/office/drawing/2014/main" id="{D2A563CF-68F5-FE9A-D122-2E289A246FCA}"/>
                  </a:ext>
                </a:extLst>
              </p:cNvPr>
              <p:cNvSpPr/>
              <p:nvPr/>
            </p:nvSpPr>
            <p:spPr>
              <a:xfrm>
                <a:off x="6081487" y="1460806"/>
                <a:ext cx="34217" cy="54474"/>
              </a:xfrm>
              <a:custGeom>
                <a:avLst/>
                <a:gdLst>
                  <a:gd name="connsiteX0" fmla="*/ 21076 w 34217"/>
                  <a:gd name="connsiteY0" fmla="*/ 54475 h 54474"/>
                  <a:gd name="connsiteX1" fmla="*/ 778 w 34217"/>
                  <a:gd name="connsiteY1" fmla="*/ 21035 h 54474"/>
                  <a:gd name="connsiteX2" fmla="*/ 34217 w 34217"/>
                  <a:gd name="connsiteY2" fmla="*/ 803 h 544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4217" h="54474">
                    <a:moveTo>
                      <a:pt x="21076" y="54475"/>
                    </a:moveTo>
                    <a:cubicBezTo>
                      <a:pt x="6308" y="50832"/>
                      <a:pt x="-2800" y="35803"/>
                      <a:pt x="778" y="21035"/>
                    </a:cubicBezTo>
                    <a:cubicBezTo>
                      <a:pt x="4421" y="6267"/>
                      <a:pt x="19449" y="-2841"/>
                      <a:pt x="34217" y="803"/>
                    </a:cubicBezTo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7" name="Forma livre: Forma 96">
                <a:extLst>
                  <a:ext uri="{FF2B5EF4-FFF2-40B4-BE49-F238E27FC236}">
                    <a16:creationId xmlns:a16="http://schemas.microsoft.com/office/drawing/2014/main" id="{CA6AE28C-D604-7380-3738-2229880EEFAB}"/>
                  </a:ext>
                </a:extLst>
              </p:cNvPr>
              <p:cNvSpPr/>
              <p:nvPr/>
            </p:nvSpPr>
            <p:spPr>
              <a:xfrm>
                <a:off x="6073547" y="1527543"/>
                <a:ext cx="114760" cy="72506"/>
              </a:xfrm>
              <a:custGeom>
                <a:avLst/>
                <a:gdLst>
                  <a:gd name="connsiteX0" fmla="*/ 114760 w 114760"/>
                  <a:gd name="connsiteY0" fmla="*/ 7254 h 72506"/>
                  <a:gd name="connsiteX1" fmla="*/ 73905 w 114760"/>
                  <a:gd name="connsiteY1" fmla="*/ 8881 h 72506"/>
                  <a:gd name="connsiteX2" fmla="*/ 0 w 114760"/>
                  <a:gd name="connsiteY2" fmla="*/ 72506 h 725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14760" h="72506">
                    <a:moveTo>
                      <a:pt x="114760" y="7254"/>
                    </a:moveTo>
                    <a:cubicBezTo>
                      <a:pt x="103375" y="-2830"/>
                      <a:pt x="83989" y="-2504"/>
                      <a:pt x="73905" y="8881"/>
                    </a:cubicBezTo>
                    <a:cubicBezTo>
                      <a:pt x="73905" y="8881"/>
                      <a:pt x="31488" y="72506"/>
                      <a:pt x="0" y="72506"/>
                    </a:cubicBezTo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8" name="Forma livre: Forma 97">
                <a:extLst>
                  <a:ext uri="{FF2B5EF4-FFF2-40B4-BE49-F238E27FC236}">
                    <a16:creationId xmlns:a16="http://schemas.microsoft.com/office/drawing/2014/main" id="{0A39937F-AF69-3D82-3F2E-5CAF97455F73}"/>
                  </a:ext>
                </a:extLst>
              </p:cNvPr>
              <p:cNvSpPr/>
              <p:nvPr/>
            </p:nvSpPr>
            <p:spPr>
              <a:xfrm>
                <a:off x="6079857" y="1646956"/>
                <a:ext cx="29405" cy="9823"/>
              </a:xfrm>
              <a:custGeom>
                <a:avLst/>
                <a:gdLst>
                  <a:gd name="connsiteX0" fmla="*/ 0 w 29405"/>
                  <a:gd name="connsiteY0" fmla="*/ 0 h 9823"/>
                  <a:gd name="connsiteX1" fmla="*/ 29406 w 29405"/>
                  <a:gd name="connsiteY1" fmla="*/ 9824 h 98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9405" h="9823">
                    <a:moveTo>
                      <a:pt x="0" y="0"/>
                    </a:moveTo>
                    <a:lnTo>
                      <a:pt x="29406" y="9824"/>
                    </a:lnTo>
                  </a:path>
                </a:pathLst>
              </a:custGeom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9" name="Forma livre: Forma 98">
                <a:extLst>
                  <a:ext uri="{FF2B5EF4-FFF2-40B4-BE49-F238E27FC236}">
                    <a16:creationId xmlns:a16="http://schemas.microsoft.com/office/drawing/2014/main" id="{B8815ACD-B174-573C-9225-5B408338AED8}"/>
                  </a:ext>
                </a:extLst>
              </p:cNvPr>
              <p:cNvSpPr/>
              <p:nvPr/>
            </p:nvSpPr>
            <p:spPr>
              <a:xfrm>
                <a:off x="6061121" y="1545272"/>
                <a:ext cx="47166" cy="34154"/>
              </a:xfrm>
              <a:custGeom>
                <a:avLst/>
                <a:gdLst>
                  <a:gd name="connsiteX0" fmla="*/ 0 w 47166"/>
                  <a:gd name="connsiteY0" fmla="*/ 0 h 34154"/>
                  <a:gd name="connsiteX1" fmla="*/ 47166 w 47166"/>
                  <a:gd name="connsiteY1" fmla="*/ 34155 h 341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166" h="34154">
                    <a:moveTo>
                      <a:pt x="0" y="0"/>
                    </a:moveTo>
                    <a:cubicBezTo>
                      <a:pt x="0" y="0"/>
                      <a:pt x="27649" y="13011"/>
                      <a:pt x="47166" y="34155"/>
                    </a:cubicBezTo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80" name="Gráfico 32">
              <a:extLst>
                <a:ext uri="{FF2B5EF4-FFF2-40B4-BE49-F238E27FC236}">
                  <a16:creationId xmlns:a16="http://schemas.microsoft.com/office/drawing/2014/main" id="{C522736F-E1D8-327F-723A-2D45786AF2A2}"/>
                </a:ext>
              </a:extLst>
            </p:cNvPr>
            <p:cNvGrpSpPr/>
            <p:nvPr/>
          </p:nvGrpSpPr>
          <p:grpSpPr>
            <a:xfrm>
              <a:off x="6191625" y="1599725"/>
              <a:ext cx="173767" cy="157112"/>
              <a:chOff x="6191625" y="1599725"/>
              <a:chExt cx="173767" cy="157112"/>
            </a:xfrm>
            <a:noFill/>
          </p:grpSpPr>
          <p:sp>
            <p:nvSpPr>
              <p:cNvPr id="90" name="Forma livre: Forma 89">
                <a:extLst>
                  <a:ext uri="{FF2B5EF4-FFF2-40B4-BE49-F238E27FC236}">
                    <a16:creationId xmlns:a16="http://schemas.microsoft.com/office/drawing/2014/main" id="{46491A63-A7C4-C66E-96CD-BD70A96491A2}"/>
                  </a:ext>
                </a:extLst>
              </p:cNvPr>
              <p:cNvSpPr/>
              <p:nvPr/>
            </p:nvSpPr>
            <p:spPr>
              <a:xfrm>
                <a:off x="6310094" y="1621974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1" name="Forma livre: Forma 90">
                <a:extLst>
                  <a:ext uri="{FF2B5EF4-FFF2-40B4-BE49-F238E27FC236}">
                    <a16:creationId xmlns:a16="http://schemas.microsoft.com/office/drawing/2014/main" id="{A0430035-7E21-6A14-5384-EBC128A5D800}"/>
                  </a:ext>
                </a:extLst>
              </p:cNvPr>
              <p:cNvSpPr/>
              <p:nvPr/>
            </p:nvSpPr>
            <p:spPr>
              <a:xfrm>
                <a:off x="6191625" y="1599725"/>
                <a:ext cx="118078" cy="49898"/>
              </a:xfrm>
              <a:custGeom>
                <a:avLst/>
                <a:gdLst>
                  <a:gd name="connsiteX0" fmla="*/ 0 w 118078"/>
                  <a:gd name="connsiteY0" fmla="*/ 0 h 49898"/>
                  <a:gd name="connsiteX1" fmla="*/ 37343 w 118078"/>
                  <a:gd name="connsiteY1" fmla="*/ 0 h 49898"/>
                  <a:gd name="connsiteX2" fmla="*/ 87176 w 118078"/>
                  <a:gd name="connsiteY2" fmla="*/ 49899 h 49898"/>
                  <a:gd name="connsiteX3" fmla="*/ 118078 w 118078"/>
                  <a:gd name="connsiteY3" fmla="*/ 49899 h 49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8078" h="49898">
                    <a:moveTo>
                      <a:pt x="0" y="0"/>
                    </a:moveTo>
                    <a:lnTo>
                      <a:pt x="37343" y="0"/>
                    </a:lnTo>
                    <a:lnTo>
                      <a:pt x="87176" y="49899"/>
                    </a:lnTo>
                    <a:lnTo>
                      <a:pt x="118078" y="49899"/>
                    </a:lnTo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2" name="Forma livre: Forma 91">
                <a:extLst>
                  <a:ext uri="{FF2B5EF4-FFF2-40B4-BE49-F238E27FC236}">
                    <a16:creationId xmlns:a16="http://schemas.microsoft.com/office/drawing/2014/main" id="{B3FC6D77-61D2-0AC3-DC4F-069DF528C8AB}"/>
                  </a:ext>
                </a:extLst>
              </p:cNvPr>
              <p:cNvSpPr/>
              <p:nvPr/>
            </p:nvSpPr>
            <p:spPr>
              <a:xfrm>
                <a:off x="6191625" y="1665367"/>
                <a:ext cx="81906" cy="44108"/>
              </a:xfrm>
              <a:custGeom>
                <a:avLst/>
                <a:gdLst>
                  <a:gd name="connsiteX0" fmla="*/ 0 w 81906"/>
                  <a:gd name="connsiteY0" fmla="*/ 0 h 44108"/>
                  <a:gd name="connsiteX1" fmla="*/ 37343 w 81906"/>
                  <a:gd name="connsiteY1" fmla="*/ 0 h 44108"/>
                  <a:gd name="connsiteX2" fmla="*/ 81907 w 81906"/>
                  <a:gd name="connsiteY2" fmla="*/ 44109 h 441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1906" h="44108">
                    <a:moveTo>
                      <a:pt x="0" y="0"/>
                    </a:moveTo>
                    <a:lnTo>
                      <a:pt x="37343" y="0"/>
                    </a:lnTo>
                    <a:lnTo>
                      <a:pt x="81907" y="44109"/>
                    </a:lnTo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3" name="Forma livre: Forma 92">
                <a:extLst>
                  <a:ext uri="{FF2B5EF4-FFF2-40B4-BE49-F238E27FC236}">
                    <a16:creationId xmlns:a16="http://schemas.microsoft.com/office/drawing/2014/main" id="{242D03C5-3D8C-EDB8-B079-9F9379888834}"/>
                  </a:ext>
                </a:extLst>
              </p:cNvPr>
              <p:cNvSpPr/>
              <p:nvPr/>
            </p:nvSpPr>
            <p:spPr>
              <a:xfrm>
                <a:off x="6265075" y="1701539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81" name="Gráfico 32">
              <a:extLst>
                <a:ext uri="{FF2B5EF4-FFF2-40B4-BE49-F238E27FC236}">
                  <a16:creationId xmlns:a16="http://schemas.microsoft.com/office/drawing/2014/main" id="{11536C97-8EFE-A97C-39C4-91B42FCE6F49}"/>
                </a:ext>
              </a:extLst>
            </p:cNvPr>
            <p:cNvGrpSpPr/>
            <p:nvPr/>
          </p:nvGrpSpPr>
          <p:grpSpPr>
            <a:xfrm>
              <a:off x="6191625" y="1357908"/>
              <a:ext cx="173767" cy="157112"/>
              <a:chOff x="6191625" y="1357908"/>
              <a:chExt cx="173767" cy="157112"/>
            </a:xfrm>
            <a:noFill/>
          </p:grpSpPr>
          <p:sp>
            <p:nvSpPr>
              <p:cNvPr id="86" name="Forma livre: Forma 85">
                <a:extLst>
                  <a:ext uri="{FF2B5EF4-FFF2-40B4-BE49-F238E27FC236}">
                    <a16:creationId xmlns:a16="http://schemas.microsoft.com/office/drawing/2014/main" id="{A9F92892-FCBE-A8B7-2B0F-6A692B9EC1DA}"/>
                  </a:ext>
                </a:extLst>
              </p:cNvPr>
              <p:cNvSpPr/>
              <p:nvPr/>
            </p:nvSpPr>
            <p:spPr>
              <a:xfrm>
                <a:off x="6310094" y="1437472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0 h 55298"/>
                  <a:gd name="connsiteX2" fmla="*/ 0 w 55298"/>
                  <a:gd name="connsiteY2" fmla="*/ 27649 h 55298"/>
                  <a:gd name="connsiteX3" fmla="*/ 27649 w 55298"/>
                  <a:gd name="connsiteY3" fmla="*/ 55298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12361"/>
                      <a:pt x="42938" y="0"/>
                      <a:pt x="27649" y="0"/>
                    </a:cubicBezTo>
                    <a:cubicBezTo>
                      <a:pt x="12361" y="0"/>
                      <a:pt x="0" y="12361"/>
                      <a:pt x="0" y="27649"/>
                    </a:cubicBezTo>
                    <a:cubicBezTo>
                      <a:pt x="0" y="42938"/>
                      <a:pt x="12361" y="55298"/>
                      <a:pt x="27649" y="55298"/>
                    </a:cubicBezTo>
                    <a:cubicBezTo>
                      <a:pt x="42938" y="55298"/>
                      <a:pt x="55298" y="42938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87" name="Forma livre: Forma 86">
                <a:extLst>
                  <a:ext uri="{FF2B5EF4-FFF2-40B4-BE49-F238E27FC236}">
                    <a16:creationId xmlns:a16="http://schemas.microsoft.com/office/drawing/2014/main" id="{6C1C2586-4AA1-80D5-E14C-27565C54B7BD}"/>
                  </a:ext>
                </a:extLst>
              </p:cNvPr>
              <p:cNvSpPr/>
              <p:nvPr/>
            </p:nvSpPr>
            <p:spPr>
              <a:xfrm>
                <a:off x="6191625" y="1465122"/>
                <a:ext cx="118468" cy="49898"/>
              </a:xfrm>
              <a:custGeom>
                <a:avLst/>
                <a:gdLst>
                  <a:gd name="connsiteX0" fmla="*/ 0 w 118468"/>
                  <a:gd name="connsiteY0" fmla="*/ 49899 h 49898"/>
                  <a:gd name="connsiteX1" fmla="*/ 37343 w 118468"/>
                  <a:gd name="connsiteY1" fmla="*/ 49899 h 49898"/>
                  <a:gd name="connsiteX2" fmla="*/ 87176 w 118468"/>
                  <a:gd name="connsiteY2" fmla="*/ 0 h 49898"/>
                  <a:gd name="connsiteX3" fmla="*/ 118469 w 118468"/>
                  <a:gd name="connsiteY3" fmla="*/ 0 h 49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8468" h="49898">
                    <a:moveTo>
                      <a:pt x="0" y="49899"/>
                    </a:moveTo>
                    <a:lnTo>
                      <a:pt x="37343" y="49899"/>
                    </a:lnTo>
                    <a:lnTo>
                      <a:pt x="87176" y="0"/>
                    </a:lnTo>
                    <a:lnTo>
                      <a:pt x="118469" y="0"/>
                    </a:lnTo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88" name="Forma livre: Forma 87">
                <a:extLst>
                  <a:ext uri="{FF2B5EF4-FFF2-40B4-BE49-F238E27FC236}">
                    <a16:creationId xmlns:a16="http://schemas.microsoft.com/office/drawing/2014/main" id="{6E771FC5-FA30-E65C-2F13-639310948453}"/>
                  </a:ext>
                </a:extLst>
              </p:cNvPr>
              <p:cNvSpPr/>
              <p:nvPr/>
            </p:nvSpPr>
            <p:spPr>
              <a:xfrm>
                <a:off x="6191625" y="1405269"/>
                <a:ext cx="81451" cy="44043"/>
              </a:xfrm>
              <a:custGeom>
                <a:avLst/>
                <a:gdLst>
                  <a:gd name="connsiteX0" fmla="*/ 0 w 81451"/>
                  <a:gd name="connsiteY0" fmla="*/ 44044 h 44043"/>
                  <a:gd name="connsiteX1" fmla="*/ 37343 w 81451"/>
                  <a:gd name="connsiteY1" fmla="*/ 44044 h 44043"/>
                  <a:gd name="connsiteX2" fmla="*/ 81451 w 81451"/>
                  <a:gd name="connsiteY2" fmla="*/ 0 h 440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1451" h="44043">
                    <a:moveTo>
                      <a:pt x="0" y="44044"/>
                    </a:moveTo>
                    <a:lnTo>
                      <a:pt x="37343" y="44044"/>
                    </a:lnTo>
                    <a:lnTo>
                      <a:pt x="81451" y="0"/>
                    </a:lnTo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89" name="Forma livre: Forma 88">
                <a:extLst>
                  <a:ext uri="{FF2B5EF4-FFF2-40B4-BE49-F238E27FC236}">
                    <a16:creationId xmlns:a16="http://schemas.microsoft.com/office/drawing/2014/main" id="{C37A4659-D2A2-33FE-021A-7DCB0FA0AB2A}"/>
                  </a:ext>
                </a:extLst>
              </p:cNvPr>
              <p:cNvSpPr/>
              <p:nvPr/>
            </p:nvSpPr>
            <p:spPr>
              <a:xfrm>
                <a:off x="6265075" y="1357908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0 h 55298"/>
                  <a:gd name="connsiteX2" fmla="*/ 0 w 55298"/>
                  <a:gd name="connsiteY2" fmla="*/ 27649 h 55298"/>
                  <a:gd name="connsiteX3" fmla="*/ 27649 w 55298"/>
                  <a:gd name="connsiteY3" fmla="*/ 55298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12361"/>
                      <a:pt x="42938" y="0"/>
                      <a:pt x="27649" y="0"/>
                    </a:cubicBezTo>
                    <a:cubicBezTo>
                      <a:pt x="12361" y="0"/>
                      <a:pt x="0" y="12361"/>
                      <a:pt x="0" y="27649"/>
                    </a:cubicBezTo>
                    <a:cubicBezTo>
                      <a:pt x="0" y="42938"/>
                      <a:pt x="12361" y="55298"/>
                      <a:pt x="27649" y="55298"/>
                    </a:cubicBezTo>
                    <a:cubicBezTo>
                      <a:pt x="42938" y="55298"/>
                      <a:pt x="55298" y="42938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82" name="Gráfico 32">
              <a:extLst>
                <a:ext uri="{FF2B5EF4-FFF2-40B4-BE49-F238E27FC236}">
                  <a16:creationId xmlns:a16="http://schemas.microsoft.com/office/drawing/2014/main" id="{66ED8BC1-D589-C240-27E4-57C88A938EB9}"/>
                </a:ext>
              </a:extLst>
            </p:cNvPr>
            <p:cNvGrpSpPr/>
            <p:nvPr/>
          </p:nvGrpSpPr>
          <p:grpSpPr>
            <a:xfrm>
              <a:off x="6190910" y="1529723"/>
              <a:ext cx="123673" cy="55298"/>
              <a:chOff x="6190910" y="1529723"/>
              <a:chExt cx="123673" cy="55298"/>
            </a:xfrm>
            <a:noFill/>
          </p:grpSpPr>
          <p:sp>
            <p:nvSpPr>
              <p:cNvPr id="84" name="Forma livre: Forma 83">
                <a:extLst>
                  <a:ext uri="{FF2B5EF4-FFF2-40B4-BE49-F238E27FC236}">
                    <a16:creationId xmlns:a16="http://schemas.microsoft.com/office/drawing/2014/main" id="{57172EE6-BC35-370F-C2A0-37F957202A7F}"/>
                  </a:ext>
                </a:extLst>
              </p:cNvPr>
              <p:cNvSpPr/>
              <p:nvPr/>
            </p:nvSpPr>
            <p:spPr>
              <a:xfrm>
                <a:off x="6190910" y="1557372"/>
                <a:ext cx="68765" cy="6505"/>
              </a:xfrm>
              <a:custGeom>
                <a:avLst/>
                <a:gdLst>
                  <a:gd name="connsiteX0" fmla="*/ 0 w 68765"/>
                  <a:gd name="connsiteY0" fmla="*/ 0 h 6505"/>
                  <a:gd name="connsiteX1" fmla="*/ 68765 w 68765"/>
                  <a:gd name="connsiteY1" fmla="*/ 0 h 65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8765" h="6505">
                    <a:moveTo>
                      <a:pt x="0" y="0"/>
                    </a:moveTo>
                    <a:lnTo>
                      <a:pt x="68765" y="0"/>
                    </a:lnTo>
                  </a:path>
                </a:pathLst>
              </a:custGeom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85" name="Forma livre: Forma 84">
                <a:extLst>
                  <a:ext uri="{FF2B5EF4-FFF2-40B4-BE49-F238E27FC236}">
                    <a16:creationId xmlns:a16="http://schemas.microsoft.com/office/drawing/2014/main" id="{D865E525-5F66-1823-35BA-75D963222010}"/>
                  </a:ext>
                </a:extLst>
              </p:cNvPr>
              <p:cNvSpPr/>
              <p:nvPr/>
            </p:nvSpPr>
            <p:spPr>
              <a:xfrm>
                <a:off x="6259285" y="1529723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83" name="Forma livre: Forma 82">
              <a:extLst>
                <a:ext uri="{FF2B5EF4-FFF2-40B4-BE49-F238E27FC236}">
                  <a16:creationId xmlns:a16="http://schemas.microsoft.com/office/drawing/2014/main" id="{1C6CA32D-415A-29A5-99FE-93639CBC2037}"/>
                </a:ext>
              </a:extLst>
            </p:cNvPr>
            <p:cNvSpPr/>
            <p:nvPr/>
          </p:nvSpPr>
          <p:spPr>
            <a:xfrm>
              <a:off x="6152201" y="1686285"/>
              <a:ext cx="37362" cy="20848"/>
            </a:xfrm>
            <a:custGeom>
              <a:avLst/>
              <a:gdLst>
                <a:gd name="connsiteX0" fmla="*/ 0 w 37362"/>
                <a:gd name="connsiteY0" fmla="*/ 10505 h 20848"/>
                <a:gd name="connsiteX1" fmla="*/ 27064 w 37362"/>
                <a:gd name="connsiteY1" fmla="*/ 2373 h 20848"/>
                <a:gd name="connsiteX2" fmla="*/ 37343 w 37362"/>
                <a:gd name="connsiteY2" fmla="*/ 20849 h 20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7362" h="20848">
                  <a:moveTo>
                    <a:pt x="0" y="10505"/>
                  </a:moveTo>
                  <a:cubicBezTo>
                    <a:pt x="5205" y="811"/>
                    <a:pt x="17435" y="-2832"/>
                    <a:pt x="27064" y="2373"/>
                  </a:cubicBezTo>
                  <a:cubicBezTo>
                    <a:pt x="34025" y="6081"/>
                    <a:pt x="37668" y="13432"/>
                    <a:pt x="37343" y="20849"/>
                  </a:cubicBezTo>
                </a:path>
              </a:pathLst>
            </a:custGeom>
            <a:noFill/>
            <a:ln w="19050" cap="sq">
              <a:solidFill>
                <a:schemeClr val="tx1"/>
              </a:solidFill>
              <a:prstDash val="solid"/>
              <a:miter lim="800000"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00" name="Agrupar 99">
            <a:extLst>
              <a:ext uri="{FF2B5EF4-FFF2-40B4-BE49-F238E27FC236}">
                <a16:creationId xmlns:a16="http://schemas.microsoft.com/office/drawing/2014/main" id="{5A25C56D-26F4-7788-67A2-BBCE237D931E}"/>
              </a:ext>
            </a:extLst>
          </p:cNvPr>
          <p:cNvGrpSpPr/>
          <p:nvPr/>
        </p:nvGrpSpPr>
        <p:grpSpPr>
          <a:xfrm>
            <a:off x="10924686" y="3656920"/>
            <a:ext cx="461846" cy="504363"/>
            <a:chOff x="6000092" y="1357908"/>
            <a:chExt cx="365300" cy="398929"/>
          </a:xfrm>
        </p:grpSpPr>
        <p:sp>
          <p:nvSpPr>
            <p:cNvPr id="101" name="Forma livre: Forma 100">
              <a:extLst>
                <a:ext uri="{FF2B5EF4-FFF2-40B4-BE49-F238E27FC236}">
                  <a16:creationId xmlns:a16="http://schemas.microsoft.com/office/drawing/2014/main" id="{39EC9ECF-728C-258B-5E7F-4302B74F1BB7}"/>
                </a:ext>
              </a:extLst>
            </p:cNvPr>
            <p:cNvSpPr/>
            <p:nvPr/>
          </p:nvSpPr>
          <p:spPr>
            <a:xfrm>
              <a:off x="6000092" y="1418606"/>
              <a:ext cx="84058" cy="286120"/>
            </a:xfrm>
            <a:custGeom>
              <a:avLst/>
              <a:gdLst>
                <a:gd name="connsiteX0" fmla="*/ 51595 w 84058"/>
                <a:gd name="connsiteY0" fmla="*/ 0 h 286120"/>
                <a:gd name="connsiteX1" fmla="*/ 35266 w 84058"/>
                <a:gd name="connsiteY1" fmla="*/ 61674 h 286120"/>
                <a:gd name="connsiteX2" fmla="*/ 28760 w 84058"/>
                <a:gd name="connsiteY2" fmla="*/ 193415 h 286120"/>
                <a:gd name="connsiteX3" fmla="*/ 84059 w 84058"/>
                <a:gd name="connsiteY3" fmla="*/ 286121 h 2861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4058" h="286120">
                  <a:moveTo>
                    <a:pt x="51595" y="0"/>
                  </a:moveTo>
                  <a:cubicBezTo>
                    <a:pt x="37868" y="7872"/>
                    <a:pt x="26028" y="24852"/>
                    <a:pt x="35266" y="61674"/>
                  </a:cubicBezTo>
                  <a:cubicBezTo>
                    <a:pt x="35266" y="61674"/>
                    <a:pt x="-39549" y="126731"/>
                    <a:pt x="28760" y="193415"/>
                  </a:cubicBezTo>
                  <a:cubicBezTo>
                    <a:pt x="28760" y="193415"/>
                    <a:pt x="9243" y="281242"/>
                    <a:pt x="84059" y="286121"/>
                  </a:cubicBezTo>
                </a:path>
              </a:pathLst>
            </a:custGeom>
            <a:noFill/>
            <a:ln w="19050" cap="sq">
              <a:solidFill>
                <a:schemeClr val="accent2"/>
              </a:solidFill>
              <a:prstDash val="solid"/>
              <a:miter lim="800000"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02" name="Gráfico 32">
              <a:extLst>
                <a:ext uri="{FF2B5EF4-FFF2-40B4-BE49-F238E27FC236}">
                  <a16:creationId xmlns:a16="http://schemas.microsoft.com/office/drawing/2014/main" id="{FE0F8EB3-47B3-7572-0CEF-73174077BEA8}"/>
                </a:ext>
              </a:extLst>
            </p:cNvPr>
            <p:cNvGrpSpPr/>
            <p:nvPr/>
          </p:nvGrpSpPr>
          <p:grpSpPr>
            <a:xfrm>
              <a:off x="6061121" y="1359924"/>
              <a:ext cx="128487" cy="396366"/>
              <a:chOff x="6061121" y="1359924"/>
              <a:chExt cx="128487" cy="396366"/>
            </a:xfrm>
            <a:noFill/>
          </p:grpSpPr>
          <p:sp>
            <p:nvSpPr>
              <p:cNvPr id="117" name="Forma livre: Forma 116">
                <a:extLst>
                  <a:ext uri="{FF2B5EF4-FFF2-40B4-BE49-F238E27FC236}">
                    <a16:creationId xmlns:a16="http://schemas.microsoft.com/office/drawing/2014/main" id="{F7A6BD96-2043-00DE-AC09-4159E3600C36}"/>
                  </a:ext>
                </a:extLst>
              </p:cNvPr>
              <p:cNvSpPr/>
              <p:nvPr/>
            </p:nvSpPr>
            <p:spPr>
              <a:xfrm>
                <a:off x="6083891" y="1359924"/>
                <a:ext cx="105717" cy="396366"/>
              </a:xfrm>
              <a:custGeom>
                <a:avLst/>
                <a:gdLst>
                  <a:gd name="connsiteX0" fmla="*/ 52891 w 105717"/>
                  <a:gd name="connsiteY0" fmla="*/ 105718 h 396366"/>
                  <a:gd name="connsiteX1" fmla="*/ 0 w 105717"/>
                  <a:gd name="connsiteY1" fmla="*/ 52891 h 396366"/>
                  <a:gd name="connsiteX2" fmla="*/ 52891 w 105717"/>
                  <a:gd name="connsiteY2" fmla="*/ 0 h 396366"/>
                  <a:gd name="connsiteX3" fmla="*/ 105718 w 105717"/>
                  <a:gd name="connsiteY3" fmla="*/ 52826 h 396366"/>
                  <a:gd name="connsiteX4" fmla="*/ 105718 w 105717"/>
                  <a:gd name="connsiteY4" fmla="*/ 346884 h 396366"/>
                  <a:gd name="connsiteX5" fmla="*/ 80606 w 105717"/>
                  <a:gd name="connsiteY5" fmla="*/ 388911 h 396366"/>
                  <a:gd name="connsiteX6" fmla="*/ 9238 w 105717"/>
                  <a:gd name="connsiteY6" fmla="*/ 371150 h 396366"/>
                  <a:gd name="connsiteX7" fmla="*/ 15484 w 105717"/>
                  <a:gd name="connsiteY7" fmla="*/ 309216 h 396366"/>
                  <a:gd name="connsiteX8" fmla="*/ 45019 w 105717"/>
                  <a:gd name="connsiteY8" fmla="*/ 277078 h 3963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05717" h="396366">
                    <a:moveTo>
                      <a:pt x="52891" y="105718"/>
                    </a:moveTo>
                    <a:cubicBezTo>
                      <a:pt x="23681" y="105718"/>
                      <a:pt x="0" y="82037"/>
                      <a:pt x="0" y="52891"/>
                    </a:cubicBezTo>
                    <a:cubicBezTo>
                      <a:pt x="0" y="23746"/>
                      <a:pt x="23681" y="0"/>
                      <a:pt x="52891" y="0"/>
                    </a:cubicBezTo>
                    <a:cubicBezTo>
                      <a:pt x="82102" y="0"/>
                      <a:pt x="105718" y="23681"/>
                      <a:pt x="105718" y="52826"/>
                    </a:cubicBezTo>
                    <a:lnTo>
                      <a:pt x="105718" y="346884"/>
                    </a:lnTo>
                    <a:cubicBezTo>
                      <a:pt x="105718" y="364580"/>
                      <a:pt x="96414" y="379413"/>
                      <a:pt x="80606" y="388911"/>
                    </a:cubicBezTo>
                    <a:cubicBezTo>
                      <a:pt x="55949" y="403744"/>
                      <a:pt x="24006" y="395742"/>
                      <a:pt x="9238" y="371150"/>
                    </a:cubicBezTo>
                    <a:cubicBezTo>
                      <a:pt x="-2928" y="350918"/>
                      <a:pt x="260" y="325741"/>
                      <a:pt x="15484" y="309216"/>
                    </a:cubicBezTo>
                    <a:lnTo>
                      <a:pt x="45019" y="277078"/>
                    </a:lnTo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18" name="Forma livre: Forma 117">
                <a:extLst>
                  <a:ext uri="{FF2B5EF4-FFF2-40B4-BE49-F238E27FC236}">
                    <a16:creationId xmlns:a16="http://schemas.microsoft.com/office/drawing/2014/main" id="{ADB36698-A0BE-6721-6057-36B8C22FC63D}"/>
                  </a:ext>
                </a:extLst>
              </p:cNvPr>
              <p:cNvSpPr/>
              <p:nvPr/>
            </p:nvSpPr>
            <p:spPr>
              <a:xfrm>
                <a:off x="6144784" y="1383865"/>
                <a:ext cx="41563" cy="38963"/>
              </a:xfrm>
              <a:custGeom>
                <a:avLst/>
                <a:gdLst>
                  <a:gd name="connsiteX0" fmla="*/ 36172 w 41563"/>
                  <a:gd name="connsiteY0" fmla="*/ 0 h 38963"/>
                  <a:gd name="connsiteX1" fmla="*/ 39425 w 41563"/>
                  <a:gd name="connsiteY1" fmla="*/ 24266 h 38963"/>
                  <a:gd name="connsiteX2" fmla="*/ 36432 w 41563"/>
                  <a:gd name="connsiteY2" fmla="*/ 29080 h 38963"/>
                  <a:gd name="connsiteX3" fmla="*/ 0 w 41563"/>
                  <a:gd name="connsiteY3" fmla="*/ 33439 h 389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563" h="38963">
                    <a:moveTo>
                      <a:pt x="36172" y="0"/>
                    </a:moveTo>
                    <a:cubicBezTo>
                      <a:pt x="41571" y="7547"/>
                      <a:pt x="43393" y="16004"/>
                      <a:pt x="39425" y="24266"/>
                    </a:cubicBezTo>
                    <a:cubicBezTo>
                      <a:pt x="38644" y="25893"/>
                      <a:pt x="37603" y="27519"/>
                      <a:pt x="36432" y="29080"/>
                    </a:cubicBezTo>
                    <a:cubicBezTo>
                      <a:pt x="27584" y="40270"/>
                      <a:pt x="11190" y="42287"/>
                      <a:pt x="0" y="33439"/>
                    </a:cubicBezTo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19" name="Forma livre: Forma 118">
                <a:extLst>
                  <a:ext uri="{FF2B5EF4-FFF2-40B4-BE49-F238E27FC236}">
                    <a16:creationId xmlns:a16="http://schemas.microsoft.com/office/drawing/2014/main" id="{AF2C6D13-9244-5762-45D3-E001B377AB90}"/>
                  </a:ext>
                </a:extLst>
              </p:cNvPr>
              <p:cNvSpPr/>
              <p:nvPr/>
            </p:nvSpPr>
            <p:spPr>
              <a:xfrm>
                <a:off x="6081487" y="1460806"/>
                <a:ext cx="34217" cy="54474"/>
              </a:xfrm>
              <a:custGeom>
                <a:avLst/>
                <a:gdLst>
                  <a:gd name="connsiteX0" fmla="*/ 21076 w 34217"/>
                  <a:gd name="connsiteY0" fmla="*/ 54475 h 54474"/>
                  <a:gd name="connsiteX1" fmla="*/ 778 w 34217"/>
                  <a:gd name="connsiteY1" fmla="*/ 21035 h 54474"/>
                  <a:gd name="connsiteX2" fmla="*/ 34217 w 34217"/>
                  <a:gd name="connsiteY2" fmla="*/ 803 h 544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4217" h="54474">
                    <a:moveTo>
                      <a:pt x="21076" y="54475"/>
                    </a:moveTo>
                    <a:cubicBezTo>
                      <a:pt x="6308" y="50832"/>
                      <a:pt x="-2800" y="35803"/>
                      <a:pt x="778" y="21035"/>
                    </a:cubicBezTo>
                    <a:cubicBezTo>
                      <a:pt x="4421" y="6267"/>
                      <a:pt x="19449" y="-2841"/>
                      <a:pt x="34217" y="803"/>
                    </a:cubicBezTo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0" name="Forma livre: Forma 119">
                <a:extLst>
                  <a:ext uri="{FF2B5EF4-FFF2-40B4-BE49-F238E27FC236}">
                    <a16:creationId xmlns:a16="http://schemas.microsoft.com/office/drawing/2014/main" id="{20003980-6D32-24E7-FC07-F77F3E5B9838}"/>
                  </a:ext>
                </a:extLst>
              </p:cNvPr>
              <p:cNvSpPr/>
              <p:nvPr/>
            </p:nvSpPr>
            <p:spPr>
              <a:xfrm>
                <a:off x="6073547" y="1527543"/>
                <a:ext cx="114760" cy="72506"/>
              </a:xfrm>
              <a:custGeom>
                <a:avLst/>
                <a:gdLst>
                  <a:gd name="connsiteX0" fmla="*/ 114760 w 114760"/>
                  <a:gd name="connsiteY0" fmla="*/ 7254 h 72506"/>
                  <a:gd name="connsiteX1" fmla="*/ 73905 w 114760"/>
                  <a:gd name="connsiteY1" fmla="*/ 8881 h 72506"/>
                  <a:gd name="connsiteX2" fmla="*/ 0 w 114760"/>
                  <a:gd name="connsiteY2" fmla="*/ 72506 h 725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14760" h="72506">
                    <a:moveTo>
                      <a:pt x="114760" y="7254"/>
                    </a:moveTo>
                    <a:cubicBezTo>
                      <a:pt x="103375" y="-2830"/>
                      <a:pt x="83989" y="-2504"/>
                      <a:pt x="73905" y="8881"/>
                    </a:cubicBezTo>
                    <a:cubicBezTo>
                      <a:pt x="73905" y="8881"/>
                      <a:pt x="31488" y="72506"/>
                      <a:pt x="0" y="72506"/>
                    </a:cubicBezTo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1" name="Forma livre: Forma 120">
                <a:extLst>
                  <a:ext uri="{FF2B5EF4-FFF2-40B4-BE49-F238E27FC236}">
                    <a16:creationId xmlns:a16="http://schemas.microsoft.com/office/drawing/2014/main" id="{86779DF9-33F5-E550-EAAC-363DC02773FE}"/>
                  </a:ext>
                </a:extLst>
              </p:cNvPr>
              <p:cNvSpPr/>
              <p:nvPr/>
            </p:nvSpPr>
            <p:spPr>
              <a:xfrm>
                <a:off x="6079857" y="1646956"/>
                <a:ext cx="29405" cy="9823"/>
              </a:xfrm>
              <a:custGeom>
                <a:avLst/>
                <a:gdLst>
                  <a:gd name="connsiteX0" fmla="*/ 0 w 29405"/>
                  <a:gd name="connsiteY0" fmla="*/ 0 h 9823"/>
                  <a:gd name="connsiteX1" fmla="*/ 29406 w 29405"/>
                  <a:gd name="connsiteY1" fmla="*/ 9824 h 98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9405" h="9823">
                    <a:moveTo>
                      <a:pt x="0" y="0"/>
                    </a:moveTo>
                    <a:lnTo>
                      <a:pt x="29406" y="9824"/>
                    </a:lnTo>
                  </a:path>
                </a:pathLst>
              </a:custGeom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2" name="Forma livre: Forma 121">
                <a:extLst>
                  <a:ext uri="{FF2B5EF4-FFF2-40B4-BE49-F238E27FC236}">
                    <a16:creationId xmlns:a16="http://schemas.microsoft.com/office/drawing/2014/main" id="{9CAB799E-36D9-9D8B-4EAA-0E7B3EC1E9C0}"/>
                  </a:ext>
                </a:extLst>
              </p:cNvPr>
              <p:cNvSpPr/>
              <p:nvPr/>
            </p:nvSpPr>
            <p:spPr>
              <a:xfrm>
                <a:off x="6061121" y="1545272"/>
                <a:ext cx="47166" cy="34154"/>
              </a:xfrm>
              <a:custGeom>
                <a:avLst/>
                <a:gdLst>
                  <a:gd name="connsiteX0" fmla="*/ 0 w 47166"/>
                  <a:gd name="connsiteY0" fmla="*/ 0 h 34154"/>
                  <a:gd name="connsiteX1" fmla="*/ 47166 w 47166"/>
                  <a:gd name="connsiteY1" fmla="*/ 34155 h 341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166" h="34154">
                    <a:moveTo>
                      <a:pt x="0" y="0"/>
                    </a:moveTo>
                    <a:cubicBezTo>
                      <a:pt x="0" y="0"/>
                      <a:pt x="27649" y="13011"/>
                      <a:pt x="47166" y="34155"/>
                    </a:cubicBezTo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03" name="Gráfico 32">
              <a:extLst>
                <a:ext uri="{FF2B5EF4-FFF2-40B4-BE49-F238E27FC236}">
                  <a16:creationId xmlns:a16="http://schemas.microsoft.com/office/drawing/2014/main" id="{38E34516-A1EC-2FC6-0C7E-46D38CE162FF}"/>
                </a:ext>
              </a:extLst>
            </p:cNvPr>
            <p:cNvGrpSpPr/>
            <p:nvPr/>
          </p:nvGrpSpPr>
          <p:grpSpPr>
            <a:xfrm>
              <a:off x="6191625" y="1599725"/>
              <a:ext cx="173767" cy="157112"/>
              <a:chOff x="6191625" y="1599725"/>
              <a:chExt cx="173767" cy="157112"/>
            </a:xfrm>
            <a:noFill/>
          </p:grpSpPr>
          <p:sp>
            <p:nvSpPr>
              <p:cNvPr id="113" name="Forma livre: Forma 112">
                <a:extLst>
                  <a:ext uri="{FF2B5EF4-FFF2-40B4-BE49-F238E27FC236}">
                    <a16:creationId xmlns:a16="http://schemas.microsoft.com/office/drawing/2014/main" id="{8D10BC28-5641-5DF9-72F0-F55E9E52037F}"/>
                  </a:ext>
                </a:extLst>
              </p:cNvPr>
              <p:cNvSpPr/>
              <p:nvPr/>
            </p:nvSpPr>
            <p:spPr>
              <a:xfrm>
                <a:off x="6310094" y="1621974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14" name="Forma livre: Forma 113">
                <a:extLst>
                  <a:ext uri="{FF2B5EF4-FFF2-40B4-BE49-F238E27FC236}">
                    <a16:creationId xmlns:a16="http://schemas.microsoft.com/office/drawing/2014/main" id="{424509DD-6BFF-E681-CBFF-157D9639C5F0}"/>
                  </a:ext>
                </a:extLst>
              </p:cNvPr>
              <p:cNvSpPr/>
              <p:nvPr/>
            </p:nvSpPr>
            <p:spPr>
              <a:xfrm>
                <a:off x="6191625" y="1599725"/>
                <a:ext cx="118078" cy="49898"/>
              </a:xfrm>
              <a:custGeom>
                <a:avLst/>
                <a:gdLst>
                  <a:gd name="connsiteX0" fmla="*/ 0 w 118078"/>
                  <a:gd name="connsiteY0" fmla="*/ 0 h 49898"/>
                  <a:gd name="connsiteX1" fmla="*/ 37343 w 118078"/>
                  <a:gd name="connsiteY1" fmla="*/ 0 h 49898"/>
                  <a:gd name="connsiteX2" fmla="*/ 87176 w 118078"/>
                  <a:gd name="connsiteY2" fmla="*/ 49899 h 49898"/>
                  <a:gd name="connsiteX3" fmla="*/ 118078 w 118078"/>
                  <a:gd name="connsiteY3" fmla="*/ 49899 h 49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8078" h="49898">
                    <a:moveTo>
                      <a:pt x="0" y="0"/>
                    </a:moveTo>
                    <a:lnTo>
                      <a:pt x="37343" y="0"/>
                    </a:lnTo>
                    <a:lnTo>
                      <a:pt x="87176" y="49899"/>
                    </a:lnTo>
                    <a:lnTo>
                      <a:pt x="118078" y="49899"/>
                    </a:lnTo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15" name="Forma livre: Forma 114">
                <a:extLst>
                  <a:ext uri="{FF2B5EF4-FFF2-40B4-BE49-F238E27FC236}">
                    <a16:creationId xmlns:a16="http://schemas.microsoft.com/office/drawing/2014/main" id="{343F71C7-22FE-2F45-59D4-213046E124EE}"/>
                  </a:ext>
                </a:extLst>
              </p:cNvPr>
              <p:cNvSpPr/>
              <p:nvPr/>
            </p:nvSpPr>
            <p:spPr>
              <a:xfrm>
                <a:off x="6191625" y="1665367"/>
                <a:ext cx="81906" cy="44108"/>
              </a:xfrm>
              <a:custGeom>
                <a:avLst/>
                <a:gdLst>
                  <a:gd name="connsiteX0" fmla="*/ 0 w 81906"/>
                  <a:gd name="connsiteY0" fmla="*/ 0 h 44108"/>
                  <a:gd name="connsiteX1" fmla="*/ 37343 w 81906"/>
                  <a:gd name="connsiteY1" fmla="*/ 0 h 44108"/>
                  <a:gd name="connsiteX2" fmla="*/ 81907 w 81906"/>
                  <a:gd name="connsiteY2" fmla="*/ 44109 h 441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1906" h="44108">
                    <a:moveTo>
                      <a:pt x="0" y="0"/>
                    </a:moveTo>
                    <a:lnTo>
                      <a:pt x="37343" y="0"/>
                    </a:lnTo>
                    <a:lnTo>
                      <a:pt x="81907" y="44109"/>
                    </a:lnTo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16" name="Forma livre: Forma 115">
                <a:extLst>
                  <a:ext uri="{FF2B5EF4-FFF2-40B4-BE49-F238E27FC236}">
                    <a16:creationId xmlns:a16="http://schemas.microsoft.com/office/drawing/2014/main" id="{A568D095-37C5-37F3-EAC7-4305D1C58153}"/>
                  </a:ext>
                </a:extLst>
              </p:cNvPr>
              <p:cNvSpPr/>
              <p:nvPr/>
            </p:nvSpPr>
            <p:spPr>
              <a:xfrm>
                <a:off x="6265075" y="1701539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04" name="Gráfico 32">
              <a:extLst>
                <a:ext uri="{FF2B5EF4-FFF2-40B4-BE49-F238E27FC236}">
                  <a16:creationId xmlns:a16="http://schemas.microsoft.com/office/drawing/2014/main" id="{FE567B4B-5687-2339-34AB-18B910BAAEFE}"/>
                </a:ext>
              </a:extLst>
            </p:cNvPr>
            <p:cNvGrpSpPr/>
            <p:nvPr/>
          </p:nvGrpSpPr>
          <p:grpSpPr>
            <a:xfrm>
              <a:off x="6191625" y="1357908"/>
              <a:ext cx="173767" cy="157112"/>
              <a:chOff x="6191625" y="1357908"/>
              <a:chExt cx="173767" cy="157112"/>
            </a:xfrm>
            <a:noFill/>
          </p:grpSpPr>
          <p:sp>
            <p:nvSpPr>
              <p:cNvPr id="109" name="Forma livre: Forma 108">
                <a:extLst>
                  <a:ext uri="{FF2B5EF4-FFF2-40B4-BE49-F238E27FC236}">
                    <a16:creationId xmlns:a16="http://schemas.microsoft.com/office/drawing/2014/main" id="{37B3290F-0CD4-F5AC-79D9-A54FCA185087}"/>
                  </a:ext>
                </a:extLst>
              </p:cNvPr>
              <p:cNvSpPr/>
              <p:nvPr/>
            </p:nvSpPr>
            <p:spPr>
              <a:xfrm>
                <a:off x="6310094" y="1437472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0 h 55298"/>
                  <a:gd name="connsiteX2" fmla="*/ 0 w 55298"/>
                  <a:gd name="connsiteY2" fmla="*/ 27649 h 55298"/>
                  <a:gd name="connsiteX3" fmla="*/ 27649 w 55298"/>
                  <a:gd name="connsiteY3" fmla="*/ 55298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12361"/>
                      <a:pt x="42938" y="0"/>
                      <a:pt x="27649" y="0"/>
                    </a:cubicBezTo>
                    <a:cubicBezTo>
                      <a:pt x="12361" y="0"/>
                      <a:pt x="0" y="12361"/>
                      <a:pt x="0" y="27649"/>
                    </a:cubicBezTo>
                    <a:cubicBezTo>
                      <a:pt x="0" y="42938"/>
                      <a:pt x="12361" y="55298"/>
                      <a:pt x="27649" y="55298"/>
                    </a:cubicBezTo>
                    <a:cubicBezTo>
                      <a:pt x="42938" y="55298"/>
                      <a:pt x="55298" y="42938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10" name="Forma livre: Forma 109">
                <a:extLst>
                  <a:ext uri="{FF2B5EF4-FFF2-40B4-BE49-F238E27FC236}">
                    <a16:creationId xmlns:a16="http://schemas.microsoft.com/office/drawing/2014/main" id="{7691242B-2F53-B70E-C135-C1023E052BA4}"/>
                  </a:ext>
                </a:extLst>
              </p:cNvPr>
              <p:cNvSpPr/>
              <p:nvPr/>
            </p:nvSpPr>
            <p:spPr>
              <a:xfrm>
                <a:off x="6191625" y="1465122"/>
                <a:ext cx="118468" cy="49898"/>
              </a:xfrm>
              <a:custGeom>
                <a:avLst/>
                <a:gdLst>
                  <a:gd name="connsiteX0" fmla="*/ 0 w 118468"/>
                  <a:gd name="connsiteY0" fmla="*/ 49899 h 49898"/>
                  <a:gd name="connsiteX1" fmla="*/ 37343 w 118468"/>
                  <a:gd name="connsiteY1" fmla="*/ 49899 h 49898"/>
                  <a:gd name="connsiteX2" fmla="*/ 87176 w 118468"/>
                  <a:gd name="connsiteY2" fmla="*/ 0 h 49898"/>
                  <a:gd name="connsiteX3" fmla="*/ 118469 w 118468"/>
                  <a:gd name="connsiteY3" fmla="*/ 0 h 49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8468" h="49898">
                    <a:moveTo>
                      <a:pt x="0" y="49899"/>
                    </a:moveTo>
                    <a:lnTo>
                      <a:pt x="37343" y="49899"/>
                    </a:lnTo>
                    <a:lnTo>
                      <a:pt x="87176" y="0"/>
                    </a:lnTo>
                    <a:lnTo>
                      <a:pt x="118469" y="0"/>
                    </a:lnTo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11" name="Forma livre: Forma 110">
                <a:extLst>
                  <a:ext uri="{FF2B5EF4-FFF2-40B4-BE49-F238E27FC236}">
                    <a16:creationId xmlns:a16="http://schemas.microsoft.com/office/drawing/2014/main" id="{3FE3BE7D-A351-55CF-D174-8FE6EDCD7EE4}"/>
                  </a:ext>
                </a:extLst>
              </p:cNvPr>
              <p:cNvSpPr/>
              <p:nvPr/>
            </p:nvSpPr>
            <p:spPr>
              <a:xfrm>
                <a:off x="6191625" y="1405269"/>
                <a:ext cx="81451" cy="44043"/>
              </a:xfrm>
              <a:custGeom>
                <a:avLst/>
                <a:gdLst>
                  <a:gd name="connsiteX0" fmla="*/ 0 w 81451"/>
                  <a:gd name="connsiteY0" fmla="*/ 44044 h 44043"/>
                  <a:gd name="connsiteX1" fmla="*/ 37343 w 81451"/>
                  <a:gd name="connsiteY1" fmla="*/ 44044 h 44043"/>
                  <a:gd name="connsiteX2" fmla="*/ 81451 w 81451"/>
                  <a:gd name="connsiteY2" fmla="*/ 0 h 440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1451" h="44043">
                    <a:moveTo>
                      <a:pt x="0" y="44044"/>
                    </a:moveTo>
                    <a:lnTo>
                      <a:pt x="37343" y="44044"/>
                    </a:lnTo>
                    <a:lnTo>
                      <a:pt x="81451" y="0"/>
                    </a:lnTo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12" name="Forma livre: Forma 111">
                <a:extLst>
                  <a:ext uri="{FF2B5EF4-FFF2-40B4-BE49-F238E27FC236}">
                    <a16:creationId xmlns:a16="http://schemas.microsoft.com/office/drawing/2014/main" id="{E3782FEE-5607-E035-72E3-0FF40BE63EEE}"/>
                  </a:ext>
                </a:extLst>
              </p:cNvPr>
              <p:cNvSpPr/>
              <p:nvPr/>
            </p:nvSpPr>
            <p:spPr>
              <a:xfrm>
                <a:off x="6265075" y="1357908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0 h 55298"/>
                  <a:gd name="connsiteX2" fmla="*/ 0 w 55298"/>
                  <a:gd name="connsiteY2" fmla="*/ 27649 h 55298"/>
                  <a:gd name="connsiteX3" fmla="*/ 27649 w 55298"/>
                  <a:gd name="connsiteY3" fmla="*/ 55298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12361"/>
                      <a:pt x="42938" y="0"/>
                      <a:pt x="27649" y="0"/>
                    </a:cubicBezTo>
                    <a:cubicBezTo>
                      <a:pt x="12361" y="0"/>
                      <a:pt x="0" y="12361"/>
                      <a:pt x="0" y="27649"/>
                    </a:cubicBezTo>
                    <a:cubicBezTo>
                      <a:pt x="0" y="42938"/>
                      <a:pt x="12361" y="55298"/>
                      <a:pt x="27649" y="55298"/>
                    </a:cubicBezTo>
                    <a:cubicBezTo>
                      <a:pt x="42938" y="55298"/>
                      <a:pt x="55298" y="42938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05" name="Gráfico 32">
              <a:extLst>
                <a:ext uri="{FF2B5EF4-FFF2-40B4-BE49-F238E27FC236}">
                  <a16:creationId xmlns:a16="http://schemas.microsoft.com/office/drawing/2014/main" id="{11348182-4337-322D-36EF-20D78FB3E2DE}"/>
                </a:ext>
              </a:extLst>
            </p:cNvPr>
            <p:cNvGrpSpPr/>
            <p:nvPr/>
          </p:nvGrpSpPr>
          <p:grpSpPr>
            <a:xfrm>
              <a:off x="6190910" y="1529723"/>
              <a:ext cx="123673" cy="55298"/>
              <a:chOff x="6190910" y="1529723"/>
              <a:chExt cx="123673" cy="55298"/>
            </a:xfrm>
            <a:noFill/>
          </p:grpSpPr>
          <p:sp>
            <p:nvSpPr>
              <p:cNvPr id="107" name="Forma livre: Forma 106">
                <a:extLst>
                  <a:ext uri="{FF2B5EF4-FFF2-40B4-BE49-F238E27FC236}">
                    <a16:creationId xmlns:a16="http://schemas.microsoft.com/office/drawing/2014/main" id="{D0C47931-90E8-DC0C-093F-57640B635467}"/>
                  </a:ext>
                </a:extLst>
              </p:cNvPr>
              <p:cNvSpPr/>
              <p:nvPr/>
            </p:nvSpPr>
            <p:spPr>
              <a:xfrm>
                <a:off x="6190910" y="1557372"/>
                <a:ext cx="68765" cy="6505"/>
              </a:xfrm>
              <a:custGeom>
                <a:avLst/>
                <a:gdLst>
                  <a:gd name="connsiteX0" fmla="*/ 0 w 68765"/>
                  <a:gd name="connsiteY0" fmla="*/ 0 h 6505"/>
                  <a:gd name="connsiteX1" fmla="*/ 68765 w 68765"/>
                  <a:gd name="connsiteY1" fmla="*/ 0 h 65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8765" h="6505">
                    <a:moveTo>
                      <a:pt x="0" y="0"/>
                    </a:moveTo>
                    <a:lnTo>
                      <a:pt x="68765" y="0"/>
                    </a:lnTo>
                  </a:path>
                </a:pathLst>
              </a:custGeom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08" name="Forma livre: Forma 107">
                <a:extLst>
                  <a:ext uri="{FF2B5EF4-FFF2-40B4-BE49-F238E27FC236}">
                    <a16:creationId xmlns:a16="http://schemas.microsoft.com/office/drawing/2014/main" id="{39BF62ED-D784-00FD-EFCD-6FB43AE9E54C}"/>
                  </a:ext>
                </a:extLst>
              </p:cNvPr>
              <p:cNvSpPr/>
              <p:nvPr/>
            </p:nvSpPr>
            <p:spPr>
              <a:xfrm>
                <a:off x="6259285" y="1529723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06" name="Forma livre: Forma 105">
              <a:extLst>
                <a:ext uri="{FF2B5EF4-FFF2-40B4-BE49-F238E27FC236}">
                  <a16:creationId xmlns:a16="http://schemas.microsoft.com/office/drawing/2014/main" id="{979395AC-9185-0E58-9962-84BFCB4CC79C}"/>
                </a:ext>
              </a:extLst>
            </p:cNvPr>
            <p:cNvSpPr/>
            <p:nvPr/>
          </p:nvSpPr>
          <p:spPr>
            <a:xfrm>
              <a:off x="6152201" y="1686285"/>
              <a:ext cx="37362" cy="20848"/>
            </a:xfrm>
            <a:custGeom>
              <a:avLst/>
              <a:gdLst>
                <a:gd name="connsiteX0" fmla="*/ 0 w 37362"/>
                <a:gd name="connsiteY0" fmla="*/ 10505 h 20848"/>
                <a:gd name="connsiteX1" fmla="*/ 27064 w 37362"/>
                <a:gd name="connsiteY1" fmla="*/ 2373 h 20848"/>
                <a:gd name="connsiteX2" fmla="*/ 37343 w 37362"/>
                <a:gd name="connsiteY2" fmla="*/ 20849 h 20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7362" h="20848">
                  <a:moveTo>
                    <a:pt x="0" y="10505"/>
                  </a:moveTo>
                  <a:cubicBezTo>
                    <a:pt x="5205" y="811"/>
                    <a:pt x="17435" y="-2832"/>
                    <a:pt x="27064" y="2373"/>
                  </a:cubicBezTo>
                  <a:cubicBezTo>
                    <a:pt x="34025" y="6081"/>
                    <a:pt x="37668" y="13432"/>
                    <a:pt x="37343" y="20849"/>
                  </a:cubicBezTo>
                </a:path>
              </a:pathLst>
            </a:custGeom>
            <a:noFill/>
            <a:ln w="19050" cap="sq">
              <a:solidFill>
                <a:schemeClr val="accent2"/>
              </a:solidFill>
              <a:prstDash val="solid"/>
              <a:miter lim="800000"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23" name="Agrupar 122">
            <a:extLst>
              <a:ext uri="{FF2B5EF4-FFF2-40B4-BE49-F238E27FC236}">
                <a16:creationId xmlns:a16="http://schemas.microsoft.com/office/drawing/2014/main" id="{C58DB7CF-4CBB-91F8-6BD5-1CF65BCD6607}"/>
              </a:ext>
            </a:extLst>
          </p:cNvPr>
          <p:cNvGrpSpPr/>
          <p:nvPr/>
        </p:nvGrpSpPr>
        <p:grpSpPr>
          <a:xfrm>
            <a:off x="5334001" y="5704008"/>
            <a:ext cx="461846" cy="504363"/>
            <a:chOff x="6000092" y="1357908"/>
            <a:chExt cx="365300" cy="398929"/>
          </a:xfrm>
        </p:grpSpPr>
        <p:sp>
          <p:nvSpPr>
            <p:cNvPr id="124" name="Forma livre: Forma 123">
              <a:extLst>
                <a:ext uri="{FF2B5EF4-FFF2-40B4-BE49-F238E27FC236}">
                  <a16:creationId xmlns:a16="http://schemas.microsoft.com/office/drawing/2014/main" id="{74FCA774-995F-D692-FD84-BB54DE7464A1}"/>
                </a:ext>
              </a:extLst>
            </p:cNvPr>
            <p:cNvSpPr/>
            <p:nvPr/>
          </p:nvSpPr>
          <p:spPr>
            <a:xfrm>
              <a:off x="6000092" y="1418606"/>
              <a:ext cx="84058" cy="286120"/>
            </a:xfrm>
            <a:custGeom>
              <a:avLst/>
              <a:gdLst>
                <a:gd name="connsiteX0" fmla="*/ 51595 w 84058"/>
                <a:gd name="connsiteY0" fmla="*/ 0 h 286120"/>
                <a:gd name="connsiteX1" fmla="*/ 35266 w 84058"/>
                <a:gd name="connsiteY1" fmla="*/ 61674 h 286120"/>
                <a:gd name="connsiteX2" fmla="*/ 28760 w 84058"/>
                <a:gd name="connsiteY2" fmla="*/ 193415 h 286120"/>
                <a:gd name="connsiteX3" fmla="*/ 84059 w 84058"/>
                <a:gd name="connsiteY3" fmla="*/ 286121 h 2861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4058" h="286120">
                  <a:moveTo>
                    <a:pt x="51595" y="0"/>
                  </a:moveTo>
                  <a:cubicBezTo>
                    <a:pt x="37868" y="7872"/>
                    <a:pt x="26028" y="24852"/>
                    <a:pt x="35266" y="61674"/>
                  </a:cubicBezTo>
                  <a:cubicBezTo>
                    <a:pt x="35266" y="61674"/>
                    <a:pt x="-39549" y="126731"/>
                    <a:pt x="28760" y="193415"/>
                  </a:cubicBezTo>
                  <a:cubicBezTo>
                    <a:pt x="28760" y="193415"/>
                    <a:pt x="9243" y="281242"/>
                    <a:pt x="84059" y="286121"/>
                  </a:cubicBezTo>
                </a:path>
              </a:pathLst>
            </a:custGeom>
            <a:noFill/>
            <a:ln w="19050" cap="sq">
              <a:solidFill>
                <a:schemeClr val="tx2"/>
              </a:solidFill>
              <a:prstDash val="solid"/>
              <a:miter lim="800000"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25" name="Gráfico 32">
              <a:extLst>
                <a:ext uri="{FF2B5EF4-FFF2-40B4-BE49-F238E27FC236}">
                  <a16:creationId xmlns:a16="http://schemas.microsoft.com/office/drawing/2014/main" id="{488E7BDB-7611-00D4-AAA7-A674BCD0F02C}"/>
                </a:ext>
              </a:extLst>
            </p:cNvPr>
            <p:cNvGrpSpPr/>
            <p:nvPr/>
          </p:nvGrpSpPr>
          <p:grpSpPr>
            <a:xfrm>
              <a:off x="6061121" y="1359924"/>
              <a:ext cx="128487" cy="396366"/>
              <a:chOff x="6061121" y="1359924"/>
              <a:chExt cx="128487" cy="396366"/>
            </a:xfrm>
            <a:noFill/>
          </p:grpSpPr>
          <p:sp>
            <p:nvSpPr>
              <p:cNvPr id="140" name="Forma livre: Forma 139">
                <a:extLst>
                  <a:ext uri="{FF2B5EF4-FFF2-40B4-BE49-F238E27FC236}">
                    <a16:creationId xmlns:a16="http://schemas.microsoft.com/office/drawing/2014/main" id="{B615CFA7-9B55-4B63-3814-4602A21134E8}"/>
                  </a:ext>
                </a:extLst>
              </p:cNvPr>
              <p:cNvSpPr/>
              <p:nvPr/>
            </p:nvSpPr>
            <p:spPr>
              <a:xfrm>
                <a:off x="6083891" y="1359924"/>
                <a:ext cx="105717" cy="396366"/>
              </a:xfrm>
              <a:custGeom>
                <a:avLst/>
                <a:gdLst>
                  <a:gd name="connsiteX0" fmla="*/ 52891 w 105717"/>
                  <a:gd name="connsiteY0" fmla="*/ 105718 h 396366"/>
                  <a:gd name="connsiteX1" fmla="*/ 0 w 105717"/>
                  <a:gd name="connsiteY1" fmla="*/ 52891 h 396366"/>
                  <a:gd name="connsiteX2" fmla="*/ 52891 w 105717"/>
                  <a:gd name="connsiteY2" fmla="*/ 0 h 396366"/>
                  <a:gd name="connsiteX3" fmla="*/ 105718 w 105717"/>
                  <a:gd name="connsiteY3" fmla="*/ 52826 h 396366"/>
                  <a:gd name="connsiteX4" fmla="*/ 105718 w 105717"/>
                  <a:gd name="connsiteY4" fmla="*/ 346884 h 396366"/>
                  <a:gd name="connsiteX5" fmla="*/ 80606 w 105717"/>
                  <a:gd name="connsiteY5" fmla="*/ 388911 h 396366"/>
                  <a:gd name="connsiteX6" fmla="*/ 9238 w 105717"/>
                  <a:gd name="connsiteY6" fmla="*/ 371150 h 396366"/>
                  <a:gd name="connsiteX7" fmla="*/ 15484 w 105717"/>
                  <a:gd name="connsiteY7" fmla="*/ 309216 h 396366"/>
                  <a:gd name="connsiteX8" fmla="*/ 45019 w 105717"/>
                  <a:gd name="connsiteY8" fmla="*/ 277078 h 3963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05717" h="396366">
                    <a:moveTo>
                      <a:pt x="52891" y="105718"/>
                    </a:moveTo>
                    <a:cubicBezTo>
                      <a:pt x="23681" y="105718"/>
                      <a:pt x="0" y="82037"/>
                      <a:pt x="0" y="52891"/>
                    </a:cubicBezTo>
                    <a:cubicBezTo>
                      <a:pt x="0" y="23746"/>
                      <a:pt x="23681" y="0"/>
                      <a:pt x="52891" y="0"/>
                    </a:cubicBezTo>
                    <a:cubicBezTo>
                      <a:pt x="82102" y="0"/>
                      <a:pt x="105718" y="23681"/>
                      <a:pt x="105718" y="52826"/>
                    </a:cubicBezTo>
                    <a:lnTo>
                      <a:pt x="105718" y="346884"/>
                    </a:lnTo>
                    <a:cubicBezTo>
                      <a:pt x="105718" y="364580"/>
                      <a:pt x="96414" y="379413"/>
                      <a:pt x="80606" y="388911"/>
                    </a:cubicBezTo>
                    <a:cubicBezTo>
                      <a:pt x="55949" y="403744"/>
                      <a:pt x="24006" y="395742"/>
                      <a:pt x="9238" y="371150"/>
                    </a:cubicBezTo>
                    <a:cubicBezTo>
                      <a:pt x="-2928" y="350918"/>
                      <a:pt x="260" y="325741"/>
                      <a:pt x="15484" y="309216"/>
                    </a:cubicBezTo>
                    <a:lnTo>
                      <a:pt x="45019" y="277078"/>
                    </a:lnTo>
                  </a:path>
                </a:pathLst>
              </a:custGeom>
              <a:noFill/>
              <a:ln w="19050" cap="sq">
                <a:solidFill>
                  <a:schemeClr val="tx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41" name="Forma livre: Forma 140">
                <a:extLst>
                  <a:ext uri="{FF2B5EF4-FFF2-40B4-BE49-F238E27FC236}">
                    <a16:creationId xmlns:a16="http://schemas.microsoft.com/office/drawing/2014/main" id="{03896E98-D9C3-3B1B-C2EE-083581CECA33}"/>
                  </a:ext>
                </a:extLst>
              </p:cNvPr>
              <p:cNvSpPr/>
              <p:nvPr/>
            </p:nvSpPr>
            <p:spPr>
              <a:xfrm>
                <a:off x="6144784" y="1383865"/>
                <a:ext cx="41563" cy="38963"/>
              </a:xfrm>
              <a:custGeom>
                <a:avLst/>
                <a:gdLst>
                  <a:gd name="connsiteX0" fmla="*/ 36172 w 41563"/>
                  <a:gd name="connsiteY0" fmla="*/ 0 h 38963"/>
                  <a:gd name="connsiteX1" fmla="*/ 39425 w 41563"/>
                  <a:gd name="connsiteY1" fmla="*/ 24266 h 38963"/>
                  <a:gd name="connsiteX2" fmla="*/ 36432 w 41563"/>
                  <a:gd name="connsiteY2" fmla="*/ 29080 h 38963"/>
                  <a:gd name="connsiteX3" fmla="*/ 0 w 41563"/>
                  <a:gd name="connsiteY3" fmla="*/ 33439 h 389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563" h="38963">
                    <a:moveTo>
                      <a:pt x="36172" y="0"/>
                    </a:moveTo>
                    <a:cubicBezTo>
                      <a:pt x="41571" y="7547"/>
                      <a:pt x="43393" y="16004"/>
                      <a:pt x="39425" y="24266"/>
                    </a:cubicBezTo>
                    <a:cubicBezTo>
                      <a:pt x="38644" y="25893"/>
                      <a:pt x="37603" y="27519"/>
                      <a:pt x="36432" y="29080"/>
                    </a:cubicBezTo>
                    <a:cubicBezTo>
                      <a:pt x="27584" y="40270"/>
                      <a:pt x="11190" y="42287"/>
                      <a:pt x="0" y="33439"/>
                    </a:cubicBezTo>
                  </a:path>
                </a:pathLst>
              </a:custGeom>
              <a:noFill/>
              <a:ln w="19050" cap="sq">
                <a:solidFill>
                  <a:schemeClr val="tx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42" name="Forma livre: Forma 141">
                <a:extLst>
                  <a:ext uri="{FF2B5EF4-FFF2-40B4-BE49-F238E27FC236}">
                    <a16:creationId xmlns:a16="http://schemas.microsoft.com/office/drawing/2014/main" id="{2DD65F8D-80CF-D6F6-58F9-31F02B15FE75}"/>
                  </a:ext>
                </a:extLst>
              </p:cNvPr>
              <p:cNvSpPr/>
              <p:nvPr/>
            </p:nvSpPr>
            <p:spPr>
              <a:xfrm>
                <a:off x="6081487" y="1460806"/>
                <a:ext cx="34217" cy="54474"/>
              </a:xfrm>
              <a:custGeom>
                <a:avLst/>
                <a:gdLst>
                  <a:gd name="connsiteX0" fmla="*/ 21076 w 34217"/>
                  <a:gd name="connsiteY0" fmla="*/ 54475 h 54474"/>
                  <a:gd name="connsiteX1" fmla="*/ 778 w 34217"/>
                  <a:gd name="connsiteY1" fmla="*/ 21035 h 54474"/>
                  <a:gd name="connsiteX2" fmla="*/ 34217 w 34217"/>
                  <a:gd name="connsiteY2" fmla="*/ 803 h 544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4217" h="54474">
                    <a:moveTo>
                      <a:pt x="21076" y="54475"/>
                    </a:moveTo>
                    <a:cubicBezTo>
                      <a:pt x="6308" y="50832"/>
                      <a:pt x="-2800" y="35803"/>
                      <a:pt x="778" y="21035"/>
                    </a:cubicBezTo>
                    <a:cubicBezTo>
                      <a:pt x="4421" y="6267"/>
                      <a:pt x="19449" y="-2841"/>
                      <a:pt x="34217" y="803"/>
                    </a:cubicBezTo>
                  </a:path>
                </a:pathLst>
              </a:custGeom>
              <a:noFill/>
              <a:ln w="19050" cap="sq">
                <a:solidFill>
                  <a:schemeClr val="tx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43" name="Forma livre: Forma 142">
                <a:extLst>
                  <a:ext uri="{FF2B5EF4-FFF2-40B4-BE49-F238E27FC236}">
                    <a16:creationId xmlns:a16="http://schemas.microsoft.com/office/drawing/2014/main" id="{35FA49ED-B887-C67A-7963-C9335C55BBA9}"/>
                  </a:ext>
                </a:extLst>
              </p:cNvPr>
              <p:cNvSpPr/>
              <p:nvPr/>
            </p:nvSpPr>
            <p:spPr>
              <a:xfrm>
                <a:off x="6073547" y="1527543"/>
                <a:ext cx="114760" cy="72506"/>
              </a:xfrm>
              <a:custGeom>
                <a:avLst/>
                <a:gdLst>
                  <a:gd name="connsiteX0" fmla="*/ 114760 w 114760"/>
                  <a:gd name="connsiteY0" fmla="*/ 7254 h 72506"/>
                  <a:gd name="connsiteX1" fmla="*/ 73905 w 114760"/>
                  <a:gd name="connsiteY1" fmla="*/ 8881 h 72506"/>
                  <a:gd name="connsiteX2" fmla="*/ 0 w 114760"/>
                  <a:gd name="connsiteY2" fmla="*/ 72506 h 725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14760" h="72506">
                    <a:moveTo>
                      <a:pt x="114760" y="7254"/>
                    </a:moveTo>
                    <a:cubicBezTo>
                      <a:pt x="103375" y="-2830"/>
                      <a:pt x="83989" y="-2504"/>
                      <a:pt x="73905" y="8881"/>
                    </a:cubicBezTo>
                    <a:cubicBezTo>
                      <a:pt x="73905" y="8881"/>
                      <a:pt x="31488" y="72506"/>
                      <a:pt x="0" y="72506"/>
                    </a:cubicBezTo>
                  </a:path>
                </a:pathLst>
              </a:custGeom>
              <a:noFill/>
              <a:ln w="19050" cap="sq">
                <a:solidFill>
                  <a:schemeClr val="tx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44" name="Forma livre: Forma 143">
                <a:extLst>
                  <a:ext uri="{FF2B5EF4-FFF2-40B4-BE49-F238E27FC236}">
                    <a16:creationId xmlns:a16="http://schemas.microsoft.com/office/drawing/2014/main" id="{FB703A5E-C6E5-32DF-72F1-F649B803EDDE}"/>
                  </a:ext>
                </a:extLst>
              </p:cNvPr>
              <p:cNvSpPr/>
              <p:nvPr/>
            </p:nvSpPr>
            <p:spPr>
              <a:xfrm>
                <a:off x="6079857" y="1646956"/>
                <a:ext cx="29405" cy="9823"/>
              </a:xfrm>
              <a:custGeom>
                <a:avLst/>
                <a:gdLst>
                  <a:gd name="connsiteX0" fmla="*/ 0 w 29405"/>
                  <a:gd name="connsiteY0" fmla="*/ 0 h 9823"/>
                  <a:gd name="connsiteX1" fmla="*/ 29406 w 29405"/>
                  <a:gd name="connsiteY1" fmla="*/ 9824 h 98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9405" h="9823">
                    <a:moveTo>
                      <a:pt x="0" y="0"/>
                    </a:moveTo>
                    <a:lnTo>
                      <a:pt x="29406" y="9824"/>
                    </a:lnTo>
                  </a:path>
                </a:pathLst>
              </a:custGeom>
              <a:ln w="19050" cap="sq">
                <a:solidFill>
                  <a:schemeClr val="tx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45" name="Forma livre: Forma 144">
                <a:extLst>
                  <a:ext uri="{FF2B5EF4-FFF2-40B4-BE49-F238E27FC236}">
                    <a16:creationId xmlns:a16="http://schemas.microsoft.com/office/drawing/2014/main" id="{1F20AA85-D253-F437-6210-C6F55D5DCA20}"/>
                  </a:ext>
                </a:extLst>
              </p:cNvPr>
              <p:cNvSpPr/>
              <p:nvPr/>
            </p:nvSpPr>
            <p:spPr>
              <a:xfrm>
                <a:off x="6061121" y="1545272"/>
                <a:ext cx="47166" cy="34154"/>
              </a:xfrm>
              <a:custGeom>
                <a:avLst/>
                <a:gdLst>
                  <a:gd name="connsiteX0" fmla="*/ 0 w 47166"/>
                  <a:gd name="connsiteY0" fmla="*/ 0 h 34154"/>
                  <a:gd name="connsiteX1" fmla="*/ 47166 w 47166"/>
                  <a:gd name="connsiteY1" fmla="*/ 34155 h 341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166" h="34154">
                    <a:moveTo>
                      <a:pt x="0" y="0"/>
                    </a:moveTo>
                    <a:cubicBezTo>
                      <a:pt x="0" y="0"/>
                      <a:pt x="27649" y="13011"/>
                      <a:pt x="47166" y="34155"/>
                    </a:cubicBezTo>
                  </a:path>
                </a:pathLst>
              </a:custGeom>
              <a:noFill/>
              <a:ln w="19050" cap="sq">
                <a:solidFill>
                  <a:schemeClr val="tx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26" name="Gráfico 32">
              <a:extLst>
                <a:ext uri="{FF2B5EF4-FFF2-40B4-BE49-F238E27FC236}">
                  <a16:creationId xmlns:a16="http://schemas.microsoft.com/office/drawing/2014/main" id="{DD3F6A36-0982-B735-5DE8-35D50E47AFF7}"/>
                </a:ext>
              </a:extLst>
            </p:cNvPr>
            <p:cNvGrpSpPr/>
            <p:nvPr/>
          </p:nvGrpSpPr>
          <p:grpSpPr>
            <a:xfrm>
              <a:off x="6191625" y="1599725"/>
              <a:ext cx="173767" cy="157112"/>
              <a:chOff x="6191625" y="1599725"/>
              <a:chExt cx="173767" cy="157112"/>
            </a:xfrm>
            <a:noFill/>
          </p:grpSpPr>
          <p:sp>
            <p:nvSpPr>
              <p:cNvPr id="136" name="Forma livre: Forma 135">
                <a:extLst>
                  <a:ext uri="{FF2B5EF4-FFF2-40B4-BE49-F238E27FC236}">
                    <a16:creationId xmlns:a16="http://schemas.microsoft.com/office/drawing/2014/main" id="{14A0AC82-32EB-C377-C679-BF7BC6A6E313}"/>
                  </a:ext>
                </a:extLst>
              </p:cNvPr>
              <p:cNvSpPr/>
              <p:nvPr/>
            </p:nvSpPr>
            <p:spPr>
              <a:xfrm>
                <a:off x="6310094" y="1621974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tx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37" name="Forma livre: Forma 136">
                <a:extLst>
                  <a:ext uri="{FF2B5EF4-FFF2-40B4-BE49-F238E27FC236}">
                    <a16:creationId xmlns:a16="http://schemas.microsoft.com/office/drawing/2014/main" id="{BFC5BDD4-CD34-88D5-6426-1D791D9B3ED1}"/>
                  </a:ext>
                </a:extLst>
              </p:cNvPr>
              <p:cNvSpPr/>
              <p:nvPr/>
            </p:nvSpPr>
            <p:spPr>
              <a:xfrm>
                <a:off x="6191625" y="1599725"/>
                <a:ext cx="118078" cy="49898"/>
              </a:xfrm>
              <a:custGeom>
                <a:avLst/>
                <a:gdLst>
                  <a:gd name="connsiteX0" fmla="*/ 0 w 118078"/>
                  <a:gd name="connsiteY0" fmla="*/ 0 h 49898"/>
                  <a:gd name="connsiteX1" fmla="*/ 37343 w 118078"/>
                  <a:gd name="connsiteY1" fmla="*/ 0 h 49898"/>
                  <a:gd name="connsiteX2" fmla="*/ 87176 w 118078"/>
                  <a:gd name="connsiteY2" fmla="*/ 49899 h 49898"/>
                  <a:gd name="connsiteX3" fmla="*/ 118078 w 118078"/>
                  <a:gd name="connsiteY3" fmla="*/ 49899 h 49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8078" h="49898">
                    <a:moveTo>
                      <a:pt x="0" y="0"/>
                    </a:moveTo>
                    <a:lnTo>
                      <a:pt x="37343" y="0"/>
                    </a:lnTo>
                    <a:lnTo>
                      <a:pt x="87176" y="49899"/>
                    </a:lnTo>
                    <a:lnTo>
                      <a:pt x="118078" y="49899"/>
                    </a:lnTo>
                  </a:path>
                </a:pathLst>
              </a:custGeom>
              <a:noFill/>
              <a:ln w="19050" cap="sq">
                <a:solidFill>
                  <a:schemeClr val="tx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38" name="Forma livre: Forma 137">
                <a:extLst>
                  <a:ext uri="{FF2B5EF4-FFF2-40B4-BE49-F238E27FC236}">
                    <a16:creationId xmlns:a16="http://schemas.microsoft.com/office/drawing/2014/main" id="{23F3D998-60C4-735B-CDAC-E57161246CB2}"/>
                  </a:ext>
                </a:extLst>
              </p:cNvPr>
              <p:cNvSpPr/>
              <p:nvPr/>
            </p:nvSpPr>
            <p:spPr>
              <a:xfrm>
                <a:off x="6191625" y="1665367"/>
                <a:ext cx="81906" cy="44108"/>
              </a:xfrm>
              <a:custGeom>
                <a:avLst/>
                <a:gdLst>
                  <a:gd name="connsiteX0" fmla="*/ 0 w 81906"/>
                  <a:gd name="connsiteY0" fmla="*/ 0 h 44108"/>
                  <a:gd name="connsiteX1" fmla="*/ 37343 w 81906"/>
                  <a:gd name="connsiteY1" fmla="*/ 0 h 44108"/>
                  <a:gd name="connsiteX2" fmla="*/ 81907 w 81906"/>
                  <a:gd name="connsiteY2" fmla="*/ 44109 h 441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1906" h="44108">
                    <a:moveTo>
                      <a:pt x="0" y="0"/>
                    </a:moveTo>
                    <a:lnTo>
                      <a:pt x="37343" y="0"/>
                    </a:lnTo>
                    <a:lnTo>
                      <a:pt x="81907" y="44109"/>
                    </a:lnTo>
                  </a:path>
                </a:pathLst>
              </a:custGeom>
              <a:noFill/>
              <a:ln w="19050" cap="sq">
                <a:solidFill>
                  <a:schemeClr val="tx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39" name="Forma livre: Forma 138">
                <a:extLst>
                  <a:ext uri="{FF2B5EF4-FFF2-40B4-BE49-F238E27FC236}">
                    <a16:creationId xmlns:a16="http://schemas.microsoft.com/office/drawing/2014/main" id="{324CF08B-010E-C057-0995-F7D78AE2F00D}"/>
                  </a:ext>
                </a:extLst>
              </p:cNvPr>
              <p:cNvSpPr/>
              <p:nvPr/>
            </p:nvSpPr>
            <p:spPr>
              <a:xfrm>
                <a:off x="6265075" y="1701539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tx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27" name="Gráfico 32">
              <a:extLst>
                <a:ext uri="{FF2B5EF4-FFF2-40B4-BE49-F238E27FC236}">
                  <a16:creationId xmlns:a16="http://schemas.microsoft.com/office/drawing/2014/main" id="{198D84F6-B58D-8B9D-E939-72EEE0DE1A18}"/>
                </a:ext>
              </a:extLst>
            </p:cNvPr>
            <p:cNvGrpSpPr/>
            <p:nvPr/>
          </p:nvGrpSpPr>
          <p:grpSpPr>
            <a:xfrm>
              <a:off x="6191625" y="1357908"/>
              <a:ext cx="173767" cy="157112"/>
              <a:chOff x="6191625" y="1357908"/>
              <a:chExt cx="173767" cy="157112"/>
            </a:xfrm>
            <a:noFill/>
          </p:grpSpPr>
          <p:sp>
            <p:nvSpPr>
              <p:cNvPr id="132" name="Forma livre: Forma 131">
                <a:extLst>
                  <a:ext uri="{FF2B5EF4-FFF2-40B4-BE49-F238E27FC236}">
                    <a16:creationId xmlns:a16="http://schemas.microsoft.com/office/drawing/2014/main" id="{E9C5260F-DD91-77FA-F162-B4E3546C9D22}"/>
                  </a:ext>
                </a:extLst>
              </p:cNvPr>
              <p:cNvSpPr/>
              <p:nvPr/>
            </p:nvSpPr>
            <p:spPr>
              <a:xfrm>
                <a:off x="6310094" y="1437472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0 h 55298"/>
                  <a:gd name="connsiteX2" fmla="*/ 0 w 55298"/>
                  <a:gd name="connsiteY2" fmla="*/ 27649 h 55298"/>
                  <a:gd name="connsiteX3" fmla="*/ 27649 w 55298"/>
                  <a:gd name="connsiteY3" fmla="*/ 55298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12361"/>
                      <a:pt x="42938" y="0"/>
                      <a:pt x="27649" y="0"/>
                    </a:cubicBezTo>
                    <a:cubicBezTo>
                      <a:pt x="12361" y="0"/>
                      <a:pt x="0" y="12361"/>
                      <a:pt x="0" y="27649"/>
                    </a:cubicBezTo>
                    <a:cubicBezTo>
                      <a:pt x="0" y="42938"/>
                      <a:pt x="12361" y="55298"/>
                      <a:pt x="27649" y="55298"/>
                    </a:cubicBezTo>
                    <a:cubicBezTo>
                      <a:pt x="42938" y="55298"/>
                      <a:pt x="55298" y="42938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tx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33" name="Forma livre: Forma 132">
                <a:extLst>
                  <a:ext uri="{FF2B5EF4-FFF2-40B4-BE49-F238E27FC236}">
                    <a16:creationId xmlns:a16="http://schemas.microsoft.com/office/drawing/2014/main" id="{9C3AAE1C-1490-1A7B-7306-C2560940517D}"/>
                  </a:ext>
                </a:extLst>
              </p:cNvPr>
              <p:cNvSpPr/>
              <p:nvPr/>
            </p:nvSpPr>
            <p:spPr>
              <a:xfrm>
                <a:off x="6191625" y="1465122"/>
                <a:ext cx="118468" cy="49898"/>
              </a:xfrm>
              <a:custGeom>
                <a:avLst/>
                <a:gdLst>
                  <a:gd name="connsiteX0" fmla="*/ 0 w 118468"/>
                  <a:gd name="connsiteY0" fmla="*/ 49899 h 49898"/>
                  <a:gd name="connsiteX1" fmla="*/ 37343 w 118468"/>
                  <a:gd name="connsiteY1" fmla="*/ 49899 h 49898"/>
                  <a:gd name="connsiteX2" fmla="*/ 87176 w 118468"/>
                  <a:gd name="connsiteY2" fmla="*/ 0 h 49898"/>
                  <a:gd name="connsiteX3" fmla="*/ 118469 w 118468"/>
                  <a:gd name="connsiteY3" fmla="*/ 0 h 49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8468" h="49898">
                    <a:moveTo>
                      <a:pt x="0" y="49899"/>
                    </a:moveTo>
                    <a:lnTo>
                      <a:pt x="37343" y="49899"/>
                    </a:lnTo>
                    <a:lnTo>
                      <a:pt x="87176" y="0"/>
                    </a:lnTo>
                    <a:lnTo>
                      <a:pt x="118469" y="0"/>
                    </a:lnTo>
                  </a:path>
                </a:pathLst>
              </a:custGeom>
              <a:noFill/>
              <a:ln w="19050" cap="sq">
                <a:solidFill>
                  <a:schemeClr val="tx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34" name="Forma livre: Forma 133">
                <a:extLst>
                  <a:ext uri="{FF2B5EF4-FFF2-40B4-BE49-F238E27FC236}">
                    <a16:creationId xmlns:a16="http://schemas.microsoft.com/office/drawing/2014/main" id="{E9C18240-C587-134C-58B8-361B15347947}"/>
                  </a:ext>
                </a:extLst>
              </p:cNvPr>
              <p:cNvSpPr/>
              <p:nvPr/>
            </p:nvSpPr>
            <p:spPr>
              <a:xfrm>
                <a:off x="6191625" y="1405269"/>
                <a:ext cx="81451" cy="44043"/>
              </a:xfrm>
              <a:custGeom>
                <a:avLst/>
                <a:gdLst>
                  <a:gd name="connsiteX0" fmla="*/ 0 w 81451"/>
                  <a:gd name="connsiteY0" fmla="*/ 44044 h 44043"/>
                  <a:gd name="connsiteX1" fmla="*/ 37343 w 81451"/>
                  <a:gd name="connsiteY1" fmla="*/ 44044 h 44043"/>
                  <a:gd name="connsiteX2" fmla="*/ 81451 w 81451"/>
                  <a:gd name="connsiteY2" fmla="*/ 0 h 440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1451" h="44043">
                    <a:moveTo>
                      <a:pt x="0" y="44044"/>
                    </a:moveTo>
                    <a:lnTo>
                      <a:pt x="37343" y="44044"/>
                    </a:lnTo>
                    <a:lnTo>
                      <a:pt x="81451" y="0"/>
                    </a:lnTo>
                  </a:path>
                </a:pathLst>
              </a:custGeom>
              <a:noFill/>
              <a:ln w="19050" cap="sq">
                <a:solidFill>
                  <a:schemeClr val="tx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35" name="Forma livre: Forma 134">
                <a:extLst>
                  <a:ext uri="{FF2B5EF4-FFF2-40B4-BE49-F238E27FC236}">
                    <a16:creationId xmlns:a16="http://schemas.microsoft.com/office/drawing/2014/main" id="{B061EAEB-83E2-2B72-EBA5-955F49B59D0C}"/>
                  </a:ext>
                </a:extLst>
              </p:cNvPr>
              <p:cNvSpPr/>
              <p:nvPr/>
            </p:nvSpPr>
            <p:spPr>
              <a:xfrm>
                <a:off x="6265075" y="1357908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0 h 55298"/>
                  <a:gd name="connsiteX2" fmla="*/ 0 w 55298"/>
                  <a:gd name="connsiteY2" fmla="*/ 27649 h 55298"/>
                  <a:gd name="connsiteX3" fmla="*/ 27649 w 55298"/>
                  <a:gd name="connsiteY3" fmla="*/ 55298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12361"/>
                      <a:pt x="42938" y="0"/>
                      <a:pt x="27649" y="0"/>
                    </a:cubicBezTo>
                    <a:cubicBezTo>
                      <a:pt x="12361" y="0"/>
                      <a:pt x="0" y="12361"/>
                      <a:pt x="0" y="27649"/>
                    </a:cubicBezTo>
                    <a:cubicBezTo>
                      <a:pt x="0" y="42938"/>
                      <a:pt x="12361" y="55298"/>
                      <a:pt x="27649" y="55298"/>
                    </a:cubicBezTo>
                    <a:cubicBezTo>
                      <a:pt x="42938" y="55298"/>
                      <a:pt x="55298" y="42938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tx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28" name="Gráfico 32">
              <a:extLst>
                <a:ext uri="{FF2B5EF4-FFF2-40B4-BE49-F238E27FC236}">
                  <a16:creationId xmlns:a16="http://schemas.microsoft.com/office/drawing/2014/main" id="{6AFEC52D-30DA-80BB-A1E0-E1C0FFB50650}"/>
                </a:ext>
              </a:extLst>
            </p:cNvPr>
            <p:cNvGrpSpPr/>
            <p:nvPr/>
          </p:nvGrpSpPr>
          <p:grpSpPr>
            <a:xfrm>
              <a:off x="6190910" y="1529723"/>
              <a:ext cx="123673" cy="55298"/>
              <a:chOff x="6190910" y="1529723"/>
              <a:chExt cx="123673" cy="55298"/>
            </a:xfrm>
            <a:noFill/>
          </p:grpSpPr>
          <p:sp>
            <p:nvSpPr>
              <p:cNvPr id="130" name="Forma livre: Forma 129">
                <a:extLst>
                  <a:ext uri="{FF2B5EF4-FFF2-40B4-BE49-F238E27FC236}">
                    <a16:creationId xmlns:a16="http://schemas.microsoft.com/office/drawing/2014/main" id="{FA0DD740-DBBE-70D1-9404-6566DED53F1F}"/>
                  </a:ext>
                </a:extLst>
              </p:cNvPr>
              <p:cNvSpPr/>
              <p:nvPr/>
            </p:nvSpPr>
            <p:spPr>
              <a:xfrm>
                <a:off x="6190910" y="1557372"/>
                <a:ext cx="68765" cy="6505"/>
              </a:xfrm>
              <a:custGeom>
                <a:avLst/>
                <a:gdLst>
                  <a:gd name="connsiteX0" fmla="*/ 0 w 68765"/>
                  <a:gd name="connsiteY0" fmla="*/ 0 h 6505"/>
                  <a:gd name="connsiteX1" fmla="*/ 68765 w 68765"/>
                  <a:gd name="connsiteY1" fmla="*/ 0 h 65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8765" h="6505">
                    <a:moveTo>
                      <a:pt x="0" y="0"/>
                    </a:moveTo>
                    <a:lnTo>
                      <a:pt x="68765" y="0"/>
                    </a:lnTo>
                  </a:path>
                </a:pathLst>
              </a:custGeom>
              <a:ln w="19050" cap="sq">
                <a:solidFill>
                  <a:schemeClr val="tx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31" name="Forma livre: Forma 130">
                <a:extLst>
                  <a:ext uri="{FF2B5EF4-FFF2-40B4-BE49-F238E27FC236}">
                    <a16:creationId xmlns:a16="http://schemas.microsoft.com/office/drawing/2014/main" id="{1BD7CD8A-AE15-2E31-36FE-9990F28A2E0A}"/>
                  </a:ext>
                </a:extLst>
              </p:cNvPr>
              <p:cNvSpPr/>
              <p:nvPr/>
            </p:nvSpPr>
            <p:spPr>
              <a:xfrm>
                <a:off x="6259285" y="1529723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tx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29" name="Forma livre: Forma 128">
              <a:extLst>
                <a:ext uri="{FF2B5EF4-FFF2-40B4-BE49-F238E27FC236}">
                  <a16:creationId xmlns:a16="http://schemas.microsoft.com/office/drawing/2014/main" id="{CE407AC9-BFDF-1646-3FA5-B8A3231F7766}"/>
                </a:ext>
              </a:extLst>
            </p:cNvPr>
            <p:cNvSpPr/>
            <p:nvPr/>
          </p:nvSpPr>
          <p:spPr>
            <a:xfrm>
              <a:off x="6152201" y="1686285"/>
              <a:ext cx="37362" cy="20848"/>
            </a:xfrm>
            <a:custGeom>
              <a:avLst/>
              <a:gdLst>
                <a:gd name="connsiteX0" fmla="*/ 0 w 37362"/>
                <a:gd name="connsiteY0" fmla="*/ 10505 h 20848"/>
                <a:gd name="connsiteX1" fmla="*/ 27064 w 37362"/>
                <a:gd name="connsiteY1" fmla="*/ 2373 h 20848"/>
                <a:gd name="connsiteX2" fmla="*/ 37343 w 37362"/>
                <a:gd name="connsiteY2" fmla="*/ 20849 h 20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7362" h="20848">
                  <a:moveTo>
                    <a:pt x="0" y="10505"/>
                  </a:moveTo>
                  <a:cubicBezTo>
                    <a:pt x="5205" y="811"/>
                    <a:pt x="17435" y="-2832"/>
                    <a:pt x="27064" y="2373"/>
                  </a:cubicBezTo>
                  <a:cubicBezTo>
                    <a:pt x="34025" y="6081"/>
                    <a:pt x="37668" y="13432"/>
                    <a:pt x="37343" y="20849"/>
                  </a:cubicBezTo>
                </a:path>
              </a:pathLst>
            </a:custGeom>
            <a:noFill/>
            <a:ln w="19050" cap="sq">
              <a:solidFill>
                <a:schemeClr val="tx2"/>
              </a:solidFill>
              <a:prstDash val="solid"/>
              <a:miter lim="800000"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sp>
        <p:nvSpPr>
          <p:cNvPr id="7" name="Marcador de pie de página 6">
            <a:extLst>
              <a:ext uri="{FF2B5EF4-FFF2-40B4-BE49-F238E27FC236}">
                <a16:creationId xmlns:a16="http://schemas.microsoft.com/office/drawing/2014/main" id="{6A8287D3-4A27-4472-8B09-D2F63B4891F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pt-PT"/>
              <a:t>Título de la presentación</a:t>
            </a:r>
            <a:endParaRPr lang="pt-PT" dirty="0"/>
          </a:p>
        </p:txBody>
      </p:sp>
      <p:sp>
        <p:nvSpPr>
          <p:cNvPr id="8" name="Marcador de número de diapositiva 7">
            <a:extLst>
              <a:ext uri="{FF2B5EF4-FFF2-40B4-BE49-F238E27FC236}">
                <a16:creationId xmlns:a16="http://schemas.microsoft.com/office/drawing/2014/main" id="{2FD05B71-4FC0-433C-98FB-649D1FA8975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4A347C2-D68E-473A-8C76-1D063E4EB6E0}" type="slidenum">
              <a:rPr lang="es-ES" smtClean="0"/>
              <a:pPr/>
              <a:t>40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6230235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0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ítulo 18">
            <a:extLst>
              <a:ext uri="{FF2B5EF4-FFF2-40B4-BE49-F238E27FC236}">
                <a16:creationId xmlns:a16="http://schemas.microsoft.com/office/drawing/2014/main" id="{17927F30-FC17-6BBA-842F-6C9B3A8AC44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PT" dirty="0"/>
              <a:t>Título del esquema</a:t>
            </a:r>
          </a:p>
        </p:txBody>
      </p:sp>
      <p:sp>
        <p:nvSpPr>
          <p:cNvPr id="20" name="Marcador de Posição do Texto 19">
            <a:extLst>
              <a:ext uri="{FF2B5EF4-FFF2-40B4-BE49-F238E27FC236}">
                <a16:creationId xmlns:a16="http://schemas.microsoft.com/office/drawing/2014/main" id="{631866CF-6D76-437A-7009-58EA4C4D922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pt-PT" dirty="0"/>
              <a:t>Subtítulo del esquema</a:t>
            </a:r>
          </a:p>
        </p:txBody>
      </p:sp>
      <p:sp>
        <p:nvSpPr>
          <p:cNvPr id="22" name="Marcador de Posição do Texto 21">
            <a:extLst>
              <a:ext uri="{FF2B5EF4-FFF2-40B4-BE49-F238E27FC236}">
                <a16:creationId xmlns:a16="http://schemas.microsoft.com/office/drawing/2014/main" id="{CE673252-0FF7-1FB4-7DAB-A9E4C3B28AC9}"/>
              </a:ext>
            </a:extLst>
          </p:cNvPr>
          <p:cNvSpPr>
            <a:spLocks noGrp="1"/>
          </p:cNvSpPr>
          <p:nvPr>
            <p:ph type="body" sz="quarter" idx="46"/>
          </p:nvPr>
        </p:nvSpPr>
        <p:spPr/>
        <p:txBody>
          <a:bodyPr/>
          <a:lstStyle/>
          <a:p>
            <a:r>
              <a:rPr lang="pt-PT" dirty="0"/>
              <a:t>Texto</a:t>
            </a:r>
            <a:br>
              <a:rPr lang="pt-PT" dirty="0"/>
            </a:br>
            <a:r>
              <a:rPr lang="pt-PT" dirty="0"/>
              <a:t>destacado</a:t>
            </a:r>
          </a:p>
        </p:txBody>
      </p:sp>
      <p:sp>
        <p:nvSpPr>
          <p:cNvPr id="23" name="Marcador de Posição do Texto 22">
            <a:extLst>
              <a:ext uri="{FF2B5EF4-FFF2-40B4-BE49-F238E27FC236}">
                <a16:creationId xmlns:a16="http://schemas.microsoft.com/office/drawing/2014/main" id="{6D28285F-5861-2F10-B8AA-03F2B7FE42C2}"/>
              </a:ext>
            </a:extLst>
          </p:cNvPr>
          <p:cNvSpPr>
            <a:spLocks noGrp="1"/>
          </p:cNvSpPr>
          <p:nvPr>
            <p:ph type="body" sz="quarter" idx="47"/>
          </p:nvPr>
        </p:nvSpPr>
        <p:spPr/>
        <p:txBody>
          <a:bodyPr/>
          <a:lstStyle/>
          <a:p>
            <a:r>
              <a:rPr lang="pt-PT" dirty="0" err="1"/>
              <a:t>Fusce</a:t>
            </a:r>
            <a:r>
              <a:rPr lang="pt-PT" dirty="0"/>
              <a:t> </a:t>
            </a:r>
            <a:r>
              <a:rPr lang="pt-PT" dirty="0" err="1"/>
              <a:t>posuere</a:t>
            </a:r>
            <a:r>
              <a:rPr lang="pt-PT" dirty="0"/>
              <a:t>, magna </a:t>
            </a:r>
            <a:r>
              <a:rPr lang="pt-PT" dirty="0" err="1"/>
              <a:t>sed</a:t>
            </a:r>
            <a:r>
              <a:rPr lang="pt-PT" dirty="0"/>
              <a:t> pulvinar </a:t>
            </a:r>
            <a:r>
              <a:rPr lang="pt-PT" dirty="0" err="1"/>
              <a:t>ultricies</a:t>
            </a:r>
            <a:r>
              <a:rPr lang="pt-PT" dirty="0"/>
              <a:t>, purus.</a:t>
            </a:r>
          </a:p>
          <a:p>
            <a:endParaRPr lang="pt-PT" dirty="0"/>
          </a:p>
        </p:txBody>
      </p:sp>
      <p:sp>
        <p:nvSpPr>
          <p:cNvPr id="24" name="Marcador de Posição do Texto 23">
            <a:extLst>
              <a:ext uri="{FF2B5EF4-FFF2-40B4-BE49-F238E27FC236}">
                <a16:creationId xmlns:a16="http://schemas.microsoft.com/office/drawing/2014/main" id="{9F203AD0-374F-3B6C-5C32-5C77B870F5EC}"/>
              </a:ext>
            </a:extLst>
          </p:cNvPr>
          <p:cNvSpPr>
            <a:spLocks noGrp="1"/>
          </p:cNvSpPr>
          <p:nvPr>
            <p:ph type="body" sz="quarter" idx="48"/>
          </p:nvPr>
        </p:nvSpPr>
        <p:spPr/>
        <p:txBody>
          <a:bodyPr/>
          <a:lstStyle/>
          <a:p>
            <a:r>
              <a:rPr lang="pt-PT" dirty="0"/>
              <a:t>Texto</a:t>
            </a:r>
            <a:br>
              <a:rPr lang="pt-PT" dirty="0"/>
            </a:br>
            <a:r>
              <a:rPr lang="pt-PT" dirty="0"/>
              <a:t>destacado</a:t>
            </a:r>
          </a:p>
        </p:txBody>
      </p:sp>
      <p:sp>
        <p:nvSpPr>
          <p:cNvPr id="25" name="Marcador de Posição do Texto 24">
            <a:extLst>
              <a:ext uri="{FF2B5EF4-FFF2-40B4-BE49-F238E27FC236}">
                <a16:creationId xmlns:a16="http://schemas.microsoft.com/office/drawing/2014/main" id="{0B72324B-2233-E42B-2E50-B1A7102975FF}"/>
              </a:ext>
            </a:extLst>
          </p:cNvPr>
          <p:cNvSpPr>
            <a:spLocks noGrp="1"/>
          </p:cNvSpPr>
          <p:nvPr>
            <p:ph type="body" sz="quarter" idx="49"/>
          </p:nvPr>
        </p:nvSpPr>
        <p:spPr/>
        <p:txBody>
          <a:bodyPr/>
          <a:lstStyle/>
          <a:p>
            <a:r>
              <a:rPr lang="pt-PT" dirty="0" err="1"/>
              <a:t>Fusce</a:t>
            </a:r>
            <a:r>
              <a:rPr lang="pt-PT" dirty="0"/>
              <a:t> </a:t>
            </a:r>
            <a:r>
              <a:rPr lang="pt-PT" dirty="0" err="1"/>
              <a:t>posuere</a:t>
            </a:r>
            <a:r>
              <a:rPr lang="pt-PT" dirty="0"/>
              <a:t>, magna </a:t>
            </a:r>
            <a:r>
              <a:rPr lang="pt-PT" dirty="0" err="1"/>
              <a:t>sed</a:t>
            </a:r>
            <a:r>
              <a:rPr lang="pt-PT" dirty="0"/>
              <a:t> pulvinar </a:t>
            </a:r>
            <a:r>
              <a:rPr lang="pt-PT" dirty="0" err="1"/>
              <a:t>ultricies</a:t>
            </a:r>
            <a:r>
              <a:rPr lang="pt-PT" dirty="0"/>
              <a:t>, purus.</a:t>
            </a:r>
          </a:p>
          <a:p>
            <a:endParaRPr lang="pt-PT" dirty="0"/>
          </a:p>
        </p:txBody>
      </p:sp>
      <p:sp>
        <p:nvSpPr>
          <p:cNvPr id="26" name="Marcador de Posição do Texto 25">
            <a:extLst>
              <a:ext uri="{FF2B5EF4-FFF2-40B4-BE49-F238E27FC236}">
                <a16:creationId xmlns:a16="http://schemas.microsoft.com/office/drawing/2014/main" id="{1F6C3BFF-2185-3E66-6E95-F0F4B41E514C}"/>
              </a:ext>
            </a:extLst>
          </p:cNvPr>
          <p:cNvSpPr>
            <a:spLocks noGrp="1"/>
          </p:cNvSpPr>
          <p:nvPr>
            <p:ph type="body" sz="quarter" idx="50"/>
          </p:nvPr>
        </p:nvSpPr>
        <p:spPr/>
        <p:txBody>
          <a:bodyPr/>
          <a:lstStyle/>
          <a:p>
            <a:r>
              <a:rPr lang="pt-PT" dirty="0"/>
              <a:t>Texto</a:t>
            </a:r>
            <a:br>
              <a:rPr lang="pt-PT" dirty="0"/>
            </a:br>
            <a:r>
              <a:rPr lang="pt-PT" dirty="0"/>
              <a:t>destacado</a:t>
            </a:r>
          </a:p>
        </p:txBody>
      </p:sp>
      <p:sp>
        <p:nvSpPr>
          <p:cNvPr id="27" name="Marcador de Posição do Texto 26">
            <a:extLst>
              <a:ext uri="{FF2B5EF4-FFF2-40B4-BE49-F238E27FC236}">
                <a16:creationId xmlns:a16="http://schemas.microsoft.com/office/drawing/2014/main" id="{6089F285-F8D2-AF41-EFA4-FFB8585C7FFB}"/>
              </a:ext>
            </a:extLst>
          </p:cNvPr>
          <p:cNvSpPr>
            <a:spLocks noGrp="1"/>
          </p:cNvSpPr>
          <p:nvPr>
            <p:ph type="body" sz="quarter" idx="51"/>
          </p:nvPr>
        </p:nvSpPr>
        <p:spPr/>
        <p:txBody>
          <a:bodyPr/>
          <a:lstStyle/>
          <a:p>
            <a:r>
              <a:rPr lang="pt-PT" dirty="0" err="1"/>
              <a:t>Fusce</a:t>
            </a:r>
            <a:r>
              <a:rPr lang="pt-PT" dirty="0"/>
              <a:t> </a:t>
            </a:r>
            <a:r>
              <a:rPr lang="pt-PT" dirty="0" err="1"/>
              <a:t>posuere</a:t>
            </a:r>
            <a:r>
              <a:rPr lang="pt-PT" dirty="0"/>
              <a:t>, magna </a:t>
            </a:r>
            <a:r>
              <a:rPr lang="pt-PT" dirty="0" err="1"/>
              <a:t>sed</a:t>
            </a:r>
            <a:r>
              <a:rPr lang="pt-PT" dirty="0"/>
              <a:t> pulvinar </a:t>
            </a:r>
            <a:r>
              <a:rPr lang="pt-PT" dirty="0" err="1"/>
              <a:t>ultricies</a:t>
            </a:r>
            <a:r>
              <a:rPr lang="pt-PT" dirty="0"/>
              <a:t>, purus.</a:t>
            </a:r>
          </a:p>
          <a:p>
            <a:endParaRPr lang="pt-PT" dirty="0"/>
          </a:p>
        </p:txBody>
      </p:sp>
      <p:sp>
        <p:nvSpPr>
          <p:cNvPr id="28" name="Marcador de Posição do Texto 27">
            <a:extLst>
              <a:ext uri="{FF2B5EF4-FFF2-40B4-BE49-F238E27FC236}">
                <a16:creationId xmlns:a16="http://schemas.microsoft.com/office/drawing/2014/main" id="{0F459345-71DE-4F5C-2D82-32791E792600}"/>
              </a:ext>
            </a:extLst>
          </p:cNvPr>
          <p:cNvSpPr>
            <a:spLocks noGrp="1"/>
          </p:cNvSpPr>
          <p:nvPr>
            <p:ph type="body" sz="quarter" idx="52"/>
          </p:nvPr>
        </p:nvSpPr>
        <p:spPr/>
        <p:txBody>
          <a:bodyPr/>
          <a:lstStyle/>
          <a:p>
            <a:r>
              <a:rPr lang="pt-PT" dirty="0"/>
              <a:t>Texto</a:t>
            </a:r>
            <a:br>
              <a:rPr lang="pt-PT" dirty="0"/>
            </a:br>
            <a:r>
              <a:rPr lang="pt-PT" dirty="0"/>
              <a:t>destacado</a:t>
            </a:r>
          </a:p>
        </p:txBody>
      </p:sp>
      <p:sp>
        <p:nvSpPr>
          <p:cNvPr id="29" name="Marcador de Posição do Texto 28">
            <a:extLst>
              <a:ext uri="{FF2B5EF4-FFF2-40B4-BE49-F238E27FC236}">
                <a16:creationId xmlns:a16="http://schemas.microsoft.com/office/drawing/2014/main" id="{8C033042-16AA-0A6A-8155-756B4BCFCF31}"/>
              </a:ext>
            </a:extLst>
          </p:cNvPr>
          <p:cNvSpPr>
            <a:spLocks noGrp="1"/>
          </p:cNvSpPr>
          <p:nvPr>
            <p:ph type="body" sz="quarter" idx="53"/>
          </p:nvPr>
        </p:nvSpPr>
        <p:spPr/>
        <p:txBody>
          <a:bodyPr/>
          <a:lstStyle/>
          <a:p>
            <a:r>
              <a:rPr lang="pt-PT" dirty="0" err="1"/>
              <a:t>Fusce</a:t>
            </a:r>
            <a:r>
              <a:rPr lang="pt-PT" dirty="0"/>
              <a:t> </a:t>
            </a:r>
            <a:r>
              <a:rPr lang="pt-PT" dirty="0" err="1"/>
              <a:t>posuere</a:t>
            </a:r>
            <a:r>
              <a:rPr lang="pt-PT" dirty="0"/>
              <a:t>, magna </a:t>
            </a:r>
            <a:r>
              <a:rPr lang="pt-PT" dirty="0" err="1"/>
              <a:t>sed</a:t>
            </a:r>
            <a:r>
              <a:rPr lang="pt-PT" dirty="0"/>
              <a:t> pulvinar </a:t>
            </a:r>
            <a:r>
              <a:rPr lang="pt-PT" dirty="0" err="1"/>
              <a:t>ultricies</a:t>
            </a:r>
            <a:r>
              <a:rPr lang="pt-PT" dirty="0"/>
              <a:t>, purus.</a:t>
            </a:r>
          </a:p>
          <a:p>
            <a:endParaRPr lang="pt-PT" dirty="0"/>
          </a:p>
        </p:txBody>
      </p:sp>
      <p:sp>
        <p:nvSpPr>
          <p:cNvPr id="30" name="Marcador de Posição do Texto 29">
            <a:extLst>
              <a:ext uri="{FF2B5EF4-FFF2-40B4-BE49-F238E27FC236}">
                <a16:creationId xmlns:a16="http://schemas.microsoft.com/office/drawing/2014/main" id="{9A96395D-B68F-4316-CDB8-7010C39FBBE5}"/>
              </a:ext>
            </a:extLst>
          </p:cNvPr>
          <p:cNvSpPr>
            <a:spLocks noGrp="1"/>
          </p:cNvSpPr>
          <p:nvPr>
            <p:ph type="body" sz="quarter" idx="54"/>
          </p:nvPr>
        </p:nvSpPr>
        <p:spPr/>
        <p:txBody>
          <a:bodyPr/>
          <a:lstStyle/>
          <a:p>
            <a:r>
              <a:rPr lang="pt-PT" dirty="0"/>
              <a:t>Texto</a:t>
            </a:r>
            <a:br>
              <a:rPr lang="pt-PT" dirty="0"/>
            </a:br>
            <a:r>
              <a:rPr lang="pt-PT" dirty="0"/>
              <a:t>destacado</a:t>
            </a:r>
          </a:p>
        </p:txBody>
      </p:sp>
      <p:sp>
        <p:nvSpPr>
          <p:cNvPr id="31" name="Marcador de Posição do Texto 30">
            <a:extLst>
              <a:ext uri="{FF2B5EF4-FFF2-40B4-BE49-F238E27FC236}">
                <a16:creationId xmlns:a16="http://schemas.microsoft.com/office/drawing/2014/main" id="{C78974D2-D2EA-0652-5468-26E34E21390C}"/>
              </a:ext>
            </a:extLst>
          </p:cNvPr>
          <p:cNvSpPr>
            <a:spLocks noGrp="1"/>
          </p:cNvSpPr>
          <p:nvPr>
            <p:ph type="body" sz="quarter" idx="55"/>
          </p:nvPr>
        </p:nvSpPr>
        <p:spPr/>
        <p:txBody>
          <a:bodyPr/>
          <a:lstStyle/>
          <a:p>
            <a:r>
              <a:rPr lang="pt-PT" dirty="0" err="1"/>
              <a:t>Fusce</a:t>
            </a:r>
            <a:r>
              <a:rPr lang="pt-PT" dirty="0"/>
              <a:t> </a:t>
            </a:r>
            <a:r>
              <a:rPr lang="pt-PT" dirty="0" err="1"/>
              <a:t>posuere</a:t>
            </a:r>
            <a:r>
              <a:rPr lang="pt-PT" dirty="0"/>
              <a:t>, magna </a:t>
            </a:r>
            <a:r>
              <a:rPr lang="pt-PT" dirty="0" err="1"/>
              <a:t>sed</a:t>
            </a:r>
            <a:r>
              <a:rPr lang="pt-PT" dirty="0"/>
              <a:t> pulvinar </a:t>
            </a:r>
            <a:r>
              <a:rPr lang="pt-PT" dirty="0" err="1"/>
              <a:t>ultricies</a:t>
            </a:r>
            <a:r>
              <a:rPr lang="pt-PT" dirty="0"/>
              <a:t>, purus.</a:t>
            </a:r>
          </a:p>
          <a:p>
            <a:endParaRPr lang="pt-PT" dirty="0"/>
          </a:p>
        </p:txBody>
      </p:sp>
      <p:sp>
        <p:nvSpPr>
          <p:cNvPr id="32" name="Marcador de Posição do Texto 31">
            <a:extLst>
              <a:ext uri="{FF2B5EF4-FFF2-40B4-BE49-F238E27FC236}">
                <a16:creationId xmlns:a16="http://schemas.microsoft.com/office/drawing/2014/main" id="{4D51DA06-276E-32AD-4F2A-7472CB3A5949}"/>
              </a:ext>
            </a:extLst>
          </p:cNvPr>
          <p:cNvSpPr>
            <a:spLocks noGrp="1"/>
          </p:cNvSpPr>
          <p:nvPr>
            <p:ph type="body" sz="quarter" idx="56"/>
          </p:nvPr>
        </p:nvSpPr>
        <p:spPr/>
        <p:txBody>
          <a:bodyPr/>
          <a:lstStyle/>
          <a:p>
            <a:r>
              <a:rPr lang="pt-PT" dirty="0"/>
              <a:t>Texto</a:t>
            </a:r>
            <a:br>
              <a:rPr lang="pt-PT" dirty="0"/>
            </a:br>
            <a:r>
              <a:rPr lang="pt-PT" dirty="0"/>
              <a:t>destacado</a:t>
            </a:r>
          </a:p>
        </p:txBody>
      </p:sp>
      <p:sp>
        <p:nvSpPr>
          <p:cNvPr id="33" name="Marcador de Posição do Texto 32">
            <a:extLst>
              <a:ext uri="{FF2B5EF4-FFF2-40B4-BE49-F238E27FC236}">
                <a16:creationId xmlns:a16="http://schemas.microsoft.com/office/drawing/2014/main" id="{D6EC409D-86ED-9D6B-3655-474B7F01AE29}"/>
              </a:ext>
            </a:extLst>
          </p:cNvPr>
          <p:cNvSpPr>
            <a:spLocks noGrp="1"/>
          </p:cNvSpPr>
          <p:nvPr>
            <p:ph type="body" sz="quarter" idx="57"/>
          </p:nvPr>
        </p:nvSpPr>
        <p:spPr/>
        <p:txBody>
          <a:bodyPr/>
          <a:lstStyle/>
          <a:p>
            <a:r>
              <a:rPr lang="pt-PT" dirty="0" err="1"/>
              <a:t>Fusce</a:t>
            </a:r>
            <a:r>
              <a:rPr lang="pt-PT" dirty="0"/>
              <a:t> </a:t>
            </a:r>
            <a:r>
              <a:rPr lang="pt-PT" dirty="0" err="1"/>
              <a:t>posuere</a:t>
            </a:r>
            <a:r>
              <a:rPr lang="pt-PT" dirty="0"/>
              <a:t>, magna </a:t>
            </a:r>
            <a:r>
              <a:rPr lang="pt-PT" dirty="0" err="1"/>
              <a:t>sed</a:t>
            </a:r>
            <a:r>
              <a:rPr lang="pt-PT" dirty="0"/>
              <a:t> pulvinar </a:t>
            </a:r>
            <a:r>
              <a:rPr lang="pt-PT" dirty="0" err="1"/>
              <a:t>ultricies</a:t>
            </a:r>
            <a:r>
              <a:rPr lang="pt-PT" dirty="0"/>
              <a:t>, purus.</a:t>
            </a:r>
          </a:p>
          <a:p>
            <a:endParaRPr lang="pt-PT" dirty="0"/>
          </a:p>
        </p:txBody>
      </p:sp>
      <p:sp>
        <p:nvSpPr>
          <p:cNvPr id="21" name="Marcador de Posição do Texto 20">
            <a:extLst>
              <a:ext uri="{FF2B5EF4-FFF2-40B4-BE49-F238E27FC236}">
                <a16:creationId xmlns:a16="http://schemas.microsoft.com/office/drawing/2014/main" id="{297966E2-1B4D-3F95-A203-23BFF06B74C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pt-PT" dirty="0"/>
              <a:t>1</a:t>
            </a:r>
          </a:p>
        </p:txBody>
      </p:sp>
      <p:sp>
        <p:nvSpPr>
          <p:cNvPr id="34" name="Marcador de Posição do Texto 33">
            <a:extLst>
              <a:ext uri="{FF2B5EF4-FFF2-40B4-BE49-F238E27FC236}">
                <a16:creationId xmlns:a16="http://schemas.microsoft.com/office/drawing/2014/main" id="{D8FF52CC-22C6-3C3A-8019-F91BF617C4BD}"/>
              </a:ext>
            </a:extLst>
          </p:cNvPr>
          <p:cNvSpPr>
            <a:spLocks noGrp="1"/>
          </p:cNvSpPr>
          <p:nvPr>
            <p:ph type="body" sz="quarter" idx="58"/>
          </p:nvPr>
        </p:nvSpPr>
        <p:spPr/>
        <p:txBody>
          <a:bodyPr/>
          <a:lstStyle/>
          <a:p>
            <a:r>
              <a:rPr lang="pt-PT" dirty="0"/>
              <a:t>6</a:t>
            </a:r>
          </a:p>
        </p:txBody>
      </p:sp>
      <p:sp>
        <p:nvSpPr>
          <p:cNvPr id="35" name="Marcador de Posição do Texto 34">
            <a:extLst>
              <a:ext uri="{FF2B5EF4-FFF2-40B4-BE49-F238E27FC236}">
                <a16:creationId xmlns:a16="http://schemas.microsoft.com/office/drawing/2014/main" id="{64619321-7642-47C5-06EF-261A46753275}"/>
              </a:ext>
            </a:extLst>
          </p:cNvPr>
          <p:cNvSpPr>
            <a:spLocks noGrp="1"/>
          </p:cNvSpPr>
          <p:nvPr>
            <p:ph type="body" sz="quarter" idx="59"/>
          </p:nvPr>
        </p:nvSpPr>
        <p:spPr/>
        <p:txBody>
          <a:bodyPr/>
          <a:lstStyle/>
          <a:p>
            <a:r>
              <a:rPr lang="pt-PT" dirty="0"/>
              <a:t>5</a:t>
            </a:r>
          </a:p>
        </p:txBody>
      </p:sp>
      <p:sp>
        <p:nvSpPr>
          <p:cNvPr id="36" name="Marcador de Posição do Texto 35">
            <a:extLst>
              <a:ext uri="{FF2B5EF4-FFF2-40B4-BE49-F238E27FC236}">
                <a16:creationId xmlns:a16="http://schemas.microsoft.com/office/drawing/2014/main" id="{355F7F26-82D1-8677-C465-657E499F4FD5}"/>
              </a:ext>
            </a:extLst>
          </p:cNvPr>
          <p:cNvSpPr>
            <a:spLocks noGrp="1"/>
          </p:cNvSpPr>
          <p:nvPr>
            <p:ph type="body" sz="quarter" idx="60"/>
          </p:nvPr>
        </p:nvSpPr>
        <p:spPr/>
        <p:txBody>
          <a:bodyPr/>
          <a:lstStyle/>
          <a:p>
            <a:r>
              <a:rPr lang="pt-PT" dirty="0"/>
              <a:t>2</a:t>
            </a:r>
          </a:p>
        </p:txBody>
      </p:sp>
      <p:sp>
        <p:nvSpPr>
          <p:cNvPr id="37" name="Marcador de Posição do Texto 36">
            <a:extLst>
              <a:ext uri="{FF2B5EF4-FFF2-40B4-BE49-F238E27FC236}">
                <a16:creationId xmlns:a16="http://schemas.microsoft.com/office/drawing/2014/main" id="{969EF9A8-1FE8-26D7-E650-C476CD823394}"/>
              </a:ext>
            </a:extLst>
          </p:cNvPr>
          <p:cNvSpPr>
            <a:spLocks noGrp="1"/>
          </p:cNvSpPr>
          <p:nvPr>
            <p:ph type="body" sz="quarter" idx="61"/>
          </p:nvPr>
        </p:nvSpPr>
        <p:spPr/>
        <p:txBody>
          <a:bodyPr/>
          <a:lstStyle/>
          <a:p>
            <a:r>
              <a:rPr lang="pt-PT" dirty="0"/>
              <a:t>4</a:t>
            </a:r>
          </a:p>
        </p:txBody>
      </p:sp>
      <p:sp>
        <p:nvSpPr>
          <p:cNvPr id="38" name="Marcador de Posição do Texto 37">
            <a:extLst>
              <a:ext uri="{FF2B5EF4-FFF2-40B4-BE49-F238E27FC236}">
                <a16:creationId xmlns:a16="http://schemas.microsoft.com/office/drawing/2014/main" id="{0BB33169-C27E-E569-8462-F6E85C0F3A83}"/>
              </a:ext>
            </a:extLst>
          </p:cNvPr>
          <p:cNvSpPr>
            <a:spLocks noGrp="1"/>
          </p:cNvSpPr>
          <p:nvPr>
            <p:ph type="body" sz="quarter" idx="62"/>
          </p:nvPr>
        </p:nvSpPr>
        <p:spPr/>
        <p:txBody>
          <a:bodyPr/>
          <a:lstStyle/>
          <a:p>
            <a:r>
              <a:rPr lang="pt-PT" dirty="0"/>
              <a:t>3</a:t>
            </a:r>
          </a:p>
        </p:txBody>
      </p:sp>
      <p:grpSp>
        <p:nvGrpSpPr>
          <p:cNvPr id="39" name="Agrupar 38">
            <a:extLst>
              <a:ext uri="{FF2B5EF4-FFF2-40B4-BE49-F238E27FC236}">
                <a16:creationId xmlns:a16="http://schemas.microsoft.com/office/drawing/2014/main" id="{55910D21-DA8C-4098-2A17-92156F10250F}"/>
              </a:ext>
            </a:extLst>
          </p:cNvPr>
          <p:cNvGrpSpPr/>
          <p:nvPr/>
        </p:nvGrpSpPr>
        <p:grpSpPr>
          <a:xfrm>
            <a:off x="1226085" y="755825"/>
            <a:ext cx="461846" cy="504363"/>
            <a:chOff x="6000092" y="1357908"/>
            <a:chExt cx="365300" cy="398929"/>
          </a:xfrm>
        </p:grpSpPr>
        <p:sp>
          <p:nvSpPr>
            <p:cNvPr id="40" name="Forma livre: Forma 39">
              <a:extLst>
                <a:ext uri="{FF2B5EF4-FFF2-40B4-BE49-F238E27FC236}">
                  <a16:creationId xmlns:a16="http://schemas.microsoft.com/office/drawing/2014/main" id="{473F2DA1-FB93-C521-5B33-FC68001EFCCC}"/>
                </a:ext>
              </a:extLst>
            </p:cNvPr>
            <p:cNvSpPr/>
            <p:nvPr/>
          </p:nvSpPr>
          <p:spPr>
            <a:xfrm>
              <a:off x="6000092" y="1418606"/>
              <a:ext cx="84058" cy="286120"/>
            </a:xfrm>
            <a:custGeom>
              <a:avLst/>
              <a:gdLst>
                <a:gd name="connsiteX0" fmla="*/ 51595 w 84058"/>
                <a:gd name="connsiteY0" fmla="*/ 0 h 286120"/>
                <a:gd name="connsiteX1" fmla="*/ 35266 w 84058"/>
                <a:gd name="connsiteY1" fmla="*/ 61674 h 286120"/>
                <a:gd name="connsiteX2" fmla="*/ 28760 w 84058"/>
                <a:gd name="connsiteY2" fmla="*/ 193415 h 286120"/>
                <a:gd name="connsiteX3" fmla="*/ 84059 w 84058"/>
                <a:gd name="connsiteY3" fmla="*/ 286121 h 2861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4058" h="286120">
                  <a:moveTo>
                    <a:pt x="51595" y="0"/>
                  </a:moveTo>
                  <a:cubicBezTo>
                    <a:pt x="37868" y="7872"/>
                    <a:pt x="26028" y="24852"/>
                    <a:pt x="35266" y="61674"/>
                  </a:cubicBezTo>
                  <a:cubicBezTo>
                    <a:pt x="35266" y="61674"/>
                    <a:pt x="-39549" y="126731"/>
                    <a:pt x="28760" y="193415"/>
                  </a:cubicBezTo>
                  <a:cubicBezTo>
                    <a:pt x="28760" y="193415"/>
                    <a:pt x="9243" y="281242"/>
                    <a:pt x="84059" y="286121"/>
                  </a:cubicBezTo>
                </a:path>
              </a:pathLst>
            </a:custGeom>
            <a:noFill/>
            <a:ln w="19050" cap="sq">
              <a:solidFill>
                <a:schemeClr val="tx1"/>
              </a:solidFill>
              <a:prstDash val="solid"/>
              <a:miter lim="800000"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41" name="Gráfico 32">
              <a:extLst>
                <a:ext uri="{FF2B5EF4-FFF2-40B4-BE49-F238E27FC236}">
                  <a16:creationId xmlns:a16="http://schemas.microsoft.com/office/drawing/2014/main" id="{282E6F54-6456-7730-E006-1F8BC4D00F56}"/>
                </a:ext>
              </a:extLst>
            </p:cNvPr>
            <p:cNvGrpSpPr/>
            <p:nvPr/>
          </p:nvGrpSpPr>
          <p:grpSpPr>
            <a:xfrm>
              <a:off x="6061121" y="1359924"/>
              <a:ext cx="128487" cy="396366"/>
              <a:chOff x="6061121" y="1359924"/>
              <a:chExt cx="128487" cy="396366"/>
            </a:xfrm>
            <a:noFill/>
          </p:grpSpPr>
          <p:sp>
            <p:nvSpPr>
              <p:cNvPr id="56" name="Forma livre: Forma 55">
                <a:extLst>
                  <a:ext uri="{FF2B5EF4-FFF2-40B4-BE49-F238E27FC236}">
                    <a16:creationId xmlns:a16="http://schemas.microsoft.com/office/drawing/2014/main" id="{B50CB16B-CC86-6F3A-9420-8423B0AAACAF}"/>
                  </a:ext>
                </a:extLst>
              </p:cNvPr>
              <p:cNvSpPr/>
              <p:nvPr/>
            </p:nvSpPr>
            <p:spPr>
              <a:xfrm>
                <a:off x="6083891" y="1359924"/>
                <a:ext cx="105717" cy="396366"/>
              </a:xfrm>
              <a:custGeom>
                <a:avLst/>
                <a:gdLst>
                  <a:gd name="connsiteX0" fmla="*/ 52891 w 105717"/>
                  <a:gd name="connsiteY0" fmla="*/ 105718 h 396366"/>
                  <a:gd name="connsiteX1" fmla="*/ 0 w 105717"/>
                  <a:gd name="connsiteY1" fmla="*/ 52891 h 396366"/>
                  <a:gd name="connsiteX2" fmla="*/ 52891 w 105717"/>
                  <a:gd name="connsiteY2" fmla="*/ 0 h 396366"/>
                  <a:gd name="connsiteX3" fmla="*/ 105718 w 105717"/>
                  <a:gd name="connsiteY3" fmla="*/ 52826 h 396366"/>
                  <a:gd name="connsiteX4" fmla="*/ 105718 w 105717"/>
                  <a:gd name="connsiteY4" fmla="*/ 346884 h 396366"/>
                  <a:gd name="connsiteX5" fmla="*/ 80606 w 105717"/>
                  <a:gd name="connsiteY5" fmla="*/ 388911 h 396366"/>
                  <a:gd name="connsiteX6" fmla="*/ 9238 w 105717"/>
                  <a:gd name="connsiteY6" fmla="*/ 371150 h 396366"/>
                  <a:gd name="connsiteX7" fmla="*/ 15484 w 105717"/>
                  <a:gd name="connsiteY7" fmla="*/ 309216 h 396366"/>
                  <a:gd name="connsiteX8" fmla="*/ 45019 w 105717"/>
                  <a:gd name="connsiteY8" fmla="*/ 277078 h 3963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05717" h="396366">
                    <a:moveTo>
                      <a:pt x="52891" y="105718"/>
                    </a:moveTo>
                    <a:cubicBezTo>
                      <a:pt x="23681" y="105718"/>
                      <a:pt x="0" y="82037"/>
                      <a:pt x="0" y="52891"/>
                    </a:cubicBezTo>
                    <a:cubicBezTo>
                      <a:pt x="0" y="23746"/>
                      <a:pt x="23681" y="0"/>
                      <a:pt x="52891" y="0"/>
                    </a:cubicBezTo>
                    <a:cubicBezTo>
                      <a:pt x="82102" y="0"/>
                      <a:pt x="105718" y="23681"/>
                      <a:pt x="105718" y="52826"/>
                    </a:cubicBezTo>
                    <a:lnTo>
                      <a:pt x="105718" y="346884"/>
                    </a:lnTo>
                    <a:cubicBezTo>
                      <a:pt x="105718" y="364580"/>
                      <a:pt x="96414" y="379413"/>
                      <a:pt x="80606" y="388911"/>
                    </a:cubicBezTo>
                    <a:cubicBezTo>
                      <a:pt x="55949" y="403744"/>
                      <a:pt x="24006" y="395742"/>
                      <a:pt x="9238" y="371150"/>
                    </a:cubicBezTo>
                    <a:cubicBezTo>
                      <a:pt x="-2928" y="350918"/>
                      <a:pt x="260" y="325741"/>
                      <a:pt x="15484" y="309216"/>
                    </a:cubicBezTo>
                    <a:lnTo>
                      <a:pt x="45019" y="277078"/>
                    </a:lnTo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7" name="Forma livre: Forma 56">
                <a:extLst>
                  <a:ext uri="{FF2B5EF4-FFF2-40B4-BE49-F238E27FC236}">
                    <a16:creationId xmlns:a16="http://schemas.microsoft.com/office/drawing/2014/main" id="{E497A1D5-7AE3-B1DB-9D59-760AAE40AD1D}"/>
                  </a:ext>
                </a:extLst>
              </p:cNvPr>
              <p:cNvSpPr/>
              <p:nvPr/>
            </p:nvSpPr>
            <p:spPr>
              <a:xfrm>
                <a:off x="6144784" y="1383865"/>
                <a:ext cx="41563" cy="38963"/>
              </a:xfrm>
              <a:custGeom>
                <a:avLst/>
                <a:gdLst>
                  <a:gd name="connsiteX0" fmla="*/ 36172 w 41563"/>
                  <a:gd name="connsiteY0" fmla="*/ 0 h 38963"/>
                  <a:gd name="connsiteX1" fmla="*/ 39425 w 41563"/>
                  <a:gd name="connsiteY1" fmla="*/ 24266 h 38963"/>
                  <a:gd name="connsiteX2" fmla="*/ 36432 w 41563"/>
                  <a:gd name="connsiteY2" fmla="*/ 29080 h 38963"/>
                  <a:gd name="connsiteX3" fmla="*/ 0 w 41563"/>
                  <a:gd name="connsiteY3" fmla="*/ 33439 h 389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563" h="38963">
                    <a:moveTo>
                      <a:pt x="36172" y="0"/>
                    </a:moveTo>
                    <a:cubicBezTo>
                      <a:pt x="41571" y="7547"/>
                      <a:pt x="43393" y="16004"/>
                      <a:pt x="39425" y="24266"/>
                    </a:cubicBezTo>
                    <a:cubicBezTo>
                      <a:pt x="38644" y="25893"/>
                      <a:pt x="37603" y="27519"/>
                      <a:pt x="36432" y="29080"/>
                    </a:cubicBezTo>
                    <a:cubicBezTo>
                      <a:pt x="27584" y="40270"/>
                      <a:pt x="11190" y="42287"/>
                      <a:pt x="0" y="33439"/>
                    </a:cubicBezTo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8" name="Forma livre: Forma 57">
                <a:extLst>
                  <a:ext uri="{FF2B5EF4-FFF2-40B4-BE49-F238E27FC236}">
                    <a16:creationId xmlns:a16="http://schemas.microsoft.com/office/drawing/2014/main" id="{C4ED4C47-787C-2353-1714-B02F158D18C0}"/>
                  </a:ext>
                </a:extLst>
              </p:cNvPr>
              <p:cNvSpPr/>
              <p:nvPr/>
            </p:nvSpPr>
            <p:spPr>
              <a:xfrm>
                <a:off x="6081487" y="1460806"/>
                <a:ext cx="34217" cy="54474"/>
              </a:xfrm>
              <a:custGeom>
                <a:avLst/>
                <a:gdLst>
                  <a:gd name="connsiteX0" fmla="*/ 21076 w 34217"/>
                  <a:gd name="connsiteY0" fmla="*/ 54475 h 54474"/>
                  <a:gd name="connsiteX1" fmla="*/ 778 w 34217"/>
                  <a:gd name="connsiteY1" fmla="*/ 21035 h 54474"/>
                  <a:gd name="connsiteX2" fmla="*/ 34217 w 34217"/>
                  <a:gd name="connsiteY2" fmla="*/ 803 h 544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4217" h="54474">
                    <a:moveTo>
                      <a:pt x="21076" y="54475"/>
                    </a:moveTo>
                    <a:cubicBezTo>
                      <a:pt x="6308" y="50832"/>
                      <a:pt x="-2800" y="35803"/>
                      <a:pt x="778" y="21035"/>
                    </a:cubicBezTo>
                    <a:cubicBezTo>
                      <a:pt x="4421" y="6267"/>
                      <a:pt x="19449" y="-2841"/>
                      <a:pt x="34217" y="803"/>
                    </a:cubicBezTo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9" name="Forma livre: Forma 58">
                <a:extLst>
                  <a:ext uri="{FF2B5EF4-FFF2-40B4-BE49-F238E27FC236}">
                    <a16:creationId xmlns:a16="http://schemas.microsoft.com/office/drawing/2014/main" id="{B0772184-B9CF-62D3-949E-B7617BBEE96E}"/>
                  </a:ext>
                </a:extLst>
              </p:cNvPr>
              <p:cNvSpPr/>
              <p:nvPr/>
            </p:nvSpPr>
            <p:spPr>
              <a:xfrm>
                <a:off x="6073547" y="1527543"/>
                <a:ext cx="114760" cy="72506"/>
              </a:xfrm>
              <a:custGeom>
                <a:avLst/>
                <a:gdLst>
                  <a:gd name="connsiteX0" fmla="*/ 114760 w 114760"/>
                  <a:gd name="connsiteY0" fmla="*/ 7254 h 72506"/>
                  <a:gd name="connsiteX1" fmla="*/ 73905 w 114760"/>
                  <a:gd name="connsiteY1" fmla="*/ 8881 h 72506"/>
                  <a:gd name="connsiteX2" fmla="*/ 0 w 114760"/>
                  <a:gd name="connsiteY2" fmla="*/ 72506 h 725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14760" h="72506">
                    <a:moveTo>
                      <a:pt x="114760" y="7254"/>
                    </a:moveTo>
                    <a:cubicBezTo>
                      <a:pt x="103375" y="-2830"/>
                      <a:pt x="83989" y="-2504"/>
                      <a:pt x="73905" y="8881"/>
                    </a:cubicBezTo>
                    <a:cubicBezTo>
                      <a:pt x="73905" y="8881"/>
                      <a:pt x="31488" y="72506"/>
                      <a:pt x="0" y="72506"/>
                    </a:cubicBezTo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60" name="Forma livre: Forma 59">
                <a:extLst>
                  <a:ext uri="{FF2B5EF4-FFF2-40B4-BE49-F238E27FC236}">
                    <a16:creationId xmlns:a16="http://schemas.microsoft.com/office/drawing/2014/main" id="{EC6E74D5-C8FE-3707-C4AB-B3A5DB245030}"/>
                  </a:ext>
                </a:extLst>
              </p:cNvPr>
              <p:cNvSpPr/>
              <p:nvPr/>
            </p:nvSpPr>
            <p:spPr>
              <a:xfrm>
                <a:off x="6079857" y="1646956"/>
                <a:ext cx="29405" cy="9823"/>
              </a:xfrm>
              <a:custGeom>
                <a:avLst/>
                <a:gdLst>
                  <a:gd name="connsiteX0" fmla="*/ 0 w 29405"/>
                  <a:gd name="connsiteY0" fmla="*/ 0 h 9823"/>
                  <a:gd name="connsiteX1" fmla="*/ 29406 w 29405"/>
                  <a:gd name="connsiteY1" fmla="*/ 9824 h 98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9405" h="9823">
                    <a:moveTo>
                      <a:pt x="0" y="0"/>
                    </a:moveTo>
                    <a:lnTo>
                      <a:pt x="29406" y="9824"/>
                    </a:lnTo>
                  </a:path>
                </a:pathLst>
              </a:custGeom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61" name="Forma livre: Forma 60">
                <a:extLst>
                  <a:ext uri="{FF2B5EF4-FFF2-40B4-BE49-F238E27FC236}">
                    <a16:creationId xmlns:a16="http://schemas.microsoft.com/office/drawing/2014/main" id="{11F95A84-F985-2ADE-5751-7384B3441C33}"/>
                  </a:ext>
                </a:extLst>
              </p:cNvPr>
              <p:cNvSpPr/>
              <p:nvPr/>
            </p:nvSpPr>
            <p:spPr>
              <a:xfrm>
                <a:off x="6061121" y="1545272"/>
                <a:ext cx="47166" cy="34154"/>
              </a:xfrm>
              <a:custGeom>
                <a:avLst/>
                <a:gdLst>
                  <a:gd name="connsiteX0" fmla="*/ 0 w 47166"/>
                  <a:gd name="connsiteY0" fmla="*/ 0 h 34154"/>
                  <a:gd name="connsiteX1" fmla="*/ 47166 w 47166"/>
                  <a:gd name="connsiteY1" fmla="*/ 34155 h 341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166" h="34154">
                    <a:moveTo>
                      <a:pt x="0" y="0"/>
                    </a:moveTo>
                    <a:cubicBezTo>
                      <a:pt x="0" y="0"/>
                      <a:pt x="27649" y="13011"/>
                      <a:pt x="47166" y="34155"/>
                    </a:cubicBezTo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42" name="Gráfico 32">
              <a:extLst>
                <a:ext uri="{FF2B5EF4-FFF2-40B4-BE49-F238E27FC236}">
                  <a16:creationId xmlns:a16="http://schemas.microsoft.com/office/drawing/2014/main" id="{5B125B18-2453-1A31-9BD7-6EFB2825A6E9}"/>
                </a:ext>
              </a:extLst>
            </p:cNvPr>
            <p:cNvGrpSpPr/>
            <p:nvPr/>
          </p:nvGrpSpPr>
          <p:grpSpPr>
            <a:xfrm>
              <a:off x="6191625" y="1599725"/>
              <a:ext cx="173767" cy="157112"/>
              <a:chOff x="6191625" y="1599725"/>
              <a:chExt cx="173767" cy="157112"/>
            </a:xfrm>
            <a:noFill/>
          </p:grpSpPr>
          <p:sp>
            <p:nvSpPr>
              <p:cNvPr id="52" name="Forma livre: Forma 51">
                <a:extLst>
                  <a:ext uri="{FF2B5EF4-FFF2-40B4-BE49-F238E27FC236}">
                    <a16:creationId xmlns:a16="http://schemas.microsoft.com/office/drawing/2014/main" id="{CAA5A228-F772-4118-94B7-B63F01E6B1CA}"/>
                  </a:ext>
                </a:extLst>
              </p:cNvPr>
              <p:cNvSpPr/>
              <p:nvPr/>
            </p:nvSpPr>
            <p:spPr>
              <a:xfrm>
                <a:off x="6310094" y="1621974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3" name="Forma livre: Forma 52">
                <a:extLst>
                  <a:ext uri="{FF2B5EF4-FFF2-40B4-BE49-F238E27FC236}">
                    <a16:creationId xmlns:a16="http://schemas.microsoft.com/office/drawing/2014/main" id="{6D6FA847-1105-6E3F-0768-D88C628EAF64}"/>
                  </a:ext>
                </a:extLst>
              </p:cNvPr>
              <p:cNvSpPr/>
              <p:nvPr/>
            </p:nvSpPr>
            <p:spPr>
              <a:xfrm>
                <a:off x="6191625" y="1599725"/>
                <a:ext cx="118078" cy="49898"/>
              </a:xfrm>
              <a:custGeom>
                <a:avLst/>
                <a:gdLst>
                  <a:gd name="connsiteX0" fmla="*/ 0 w 118078"/>
                  <a:gd name="connsiteY0" fmla="*/ 0 h 49898"/>
                  <a:gd name="connsiteX1" fmla="*/ 37343 w 118078"/>
                  <a:gd name="connsiteY1" fmla="*/ 0 h 49898"/>
                  <a:gd name="connsiteX2" fmla="*/ 87176 w 118078"/>
                  <a:gd name="connsiteY2" fmla="*/ 49899 h 49898"/>
                  <a:gd name="connsiteX3" fmla="*/ 118078 w 118078"/>
                  <a:gd name="connsiteY3" fmla="*/ 49899 h 49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8078" h="49898">
                    <a:moveTo>
                      <a:pt x="0" y="0"/>
                    </a:moveTo>
                    <a:lnTo>
                      <a:pt x="37343" y="0"/>
                    </a:lnTo>
                    <a:lnTo>
                      <a:pt x="87176" y="49899"/>
                    </a:lnTo>
                    <a:lnTo>
                      <a:pt x="118078" y="49899"/>
                    </a:lnTo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4" name="Forma livre: Forma 53">
                <a:extLst>
                  <a:ext uri="{FF2B5EF4-FFF2-40B4-BE49-F238E27FC236}">
                    <a16:creationId xmlns:a16="http://schemas.microsoft.com/office/drawing/2014/main" id="{0C622ABC-4DAC-4DCC-D924-008911B18659}"/>
                  </a:ext>
                </a:extLst>
              </p:cNvPr>
              <p:cNvSpPr/>
              <p:nvPr/>
            </p:nvSpPr>
            <p:spPr>
              <a:xfrm>
                <a:off x="6191625" y="1665367"/>
                <a:ext cx="81906" cy="44108"/>
              </a:xfrm>
              <a:custGeom>
                <a:avLst/>
                <a:gdLst>
                  <a:gd name="connsiteX0" fmla="*/ 0 w 81906"/>
                  <a:gd name="connsiteY0" fmla="*/ 0 h 44108"/>
                  <a:gd name="connsiteX1" fmla="*/ 37343 w 81906"/>
                  <a:gd name="connsiteY1" fmla="*/ 0 h 44108"/>
                  <a:gd name="connsiteX2" fmla="*/ 81907 w 81906"/>
                  <a:gd name="connsiteY2" fmla="*/ 44109 h 441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1906" h="44108">
                    <a:moveTo>
                      <a:pt x="0" y="0"/>
                    </a:moveTo>
                    <a:lnTo>
                      <a:pt x="37343" y="0"/>
                    </a:lnTo>
                    <a:lnTo>
                      <a:pt x="81907" y="44109"/>
                    </a:lnTo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5" name="Forma livre: Forma 54">
                <a:extLst>
                  <a:ext uri="{FF2B5EF4-FFF2-40B4-BE49-F238E27FC236}">
                    <a16:creationId xmlns:a16="http://schemas.microsoft.com/office/drawing/2014/main" id="{3836E650-C5EC-C4DD-A501-8661C3F51692}"/>
                  </a:ext>
                </a:extLst>
              </p:cNvPr>
              <p:cNvSpPr/>
              <p:nvPr/>
            </p:nvSpPr>
            <p:spPr>
              <a:xfrm>
                <a:off x="6265075" y="1701539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43" name="Gráfico 32">
              <a:extLst>
                <a:ext uri="{FF2B5EF4-FFF2-40B4-BE49-F238E27FC236}">
                  <a16:creationId xmlns:a16="http://schemas.microsoft.com/office/drawing/2014/main" id="{D9A91445-B092-941D-1717-74C29CC8AD2A}"/>
                </a:ext>
              </a:extLst>
            </p:cNvPr>
            <p:cNvGrpSpPr/>
            <p:nvPr/>
          </p:nvGrpSpPr>
          <p:grpSpPr>
            <a:xfrm>
              <a:off x="6191625" y="1357908"/>
              <a:ext cx="173767" cy="157112"/>
              <a:chOff x="6191625" y="1357908"/>
              <a:chExt cx="173767" cy="157112"/>
            </a:xfrm>
            <a:noFill/>
          </p:grpSpPr>
          <p:sp>
            <p:nvSpPr>
              <p:cNvPr id="48" name="Forma livre: Forma 47">
                <a:extLst>
                  <a:ext uri="{FF2B5EF4-FFF2-40B4-BE49-F238E27FC236}">
                    <a16:creationId xmlns:a16="http://schemas.microsoft.com/office/drawing/2014/main" id="{7CF9D9B6-EDC1-1ED4-2CC0-EDD46539BBEC}"/>
                  </a:ext>
                </a:extLst>
              </p:cNvPr>
              <p:cNvSpPr/>
              <p:nvPr/>
            </p:nvSpPr>
            <p:spPr>
              <a:xfrm>
                <a:off x="6310094" y="1437472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0 h 55298"/>
                  <a:gd name="connsiteX2" fmla="*/ 0 w 55298"/>
                  <a:gd name="connsiteY2" fmla="*/ 27649 h 55298"/>
                  <a:gd name="connsiteX3" fmla="*/ 27649 w 55298"/>
                  <a:gd name="connsiteY3" fmla="*/ 55298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12361"/>
                      <a:pt x="42938" y="0"/>
                      <a:pt x="27649" y="0"/>
                    </a:cubicBezTo>
                    <a:cubicBezTo>
                      <a:pt x="12361" y="0"/>
                      <a:pt x="0" y="12361"/>
                      <a:pt x="0" y="27649"/>
                    </a:cubicBezTo>
                    <a:cubicBezTo>
                      <a:pt x="0" y="42938"/>
                      <a:pt x="12361" y="55298"/>
                      <a:pt x="27649" y="55298"/>
                    </a:cubicBezTo>
                    <a:cubicBezTo>
                      <a:pt x="42938" y="55298"/>
                      <a:pt x="55298" y="42938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9" name="Forma livre: Forma 48">
                <a:extLst>
                  <a:ext uri="{FF2B5EF4-FFF2-40B4-BE49-F238E27FC236}">
                    <a16:creationId xmlns:a16="http://schemas.microsoft.com/office/drawing/2014/main" id="{1F5DB2D2-FC50-B579-0549-59D44F4C95EA}"/>
                  </a:ext>
                </a:extLst>
              </p:cNvPr>
              <p:cNvSpPr/>
              <p:nvPr/>
            </p:nvSpPr>
            <p:spPr>
              <a:xfrm>
                <a:off x="6191625" y="1465122"/>
                <a:ext cx="118468" cy="49898"/>
              </a:xfrm>
              <a:custGeom>
                <a:avLst/>
                <a:gdLst>
                  <a:gd name="connsiteX0" fmla="*/ 0 w 118468"/>
                  <a:gd name="connsiteY0" fmla="*/ 49899 h 49898"/>
                  <a:gd name="connsiteX1" fmla="*/ 37343 w 118468"/>
                  <a:gd name="connsiteY1" fmla="*/ 49899 h 49898"/>
                  <a:gd name="connsiteX2" fmla="*/ 87176 w 118468"/>
                  <a:gd name="connsiteY2" fmla="*/ 0 h 49898"/>
                  <a:gd name="connsiteX3" fmla="*/ 118469 w 118468"/>
                  <a:gd name="connsiteY3" fmla="*/ 0 h 49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8468" h="49898">
                    <a:moveTo>
                      <a:pt x="0" y="49899"/>
                    </a:moveTo>
                    <a:lnTo>
                      <a:pt x="37343" y="49899"/>
                    </a:lnTo>
                    <a:lnTo>
                      <a:pt x="87176" y="0"/>
                    </a:lnTo>
                    <a:lnTo>
                      <a:pt x="118469" y="0"/>
                    </a:lnTo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0" name="Forma livre: Forma 49">
                <a:extLst>
                  <a:ext uri="{FF2B5EF4-FFF2-40B4-BE49-F238E27FC236}">
                    <a16:creationId xmlns:a16="http://schemas.microsoft.com/office/drawing/2014/main" id="{EEA31528-B9E4-A6C6-3C1F-2CE5CE26C49B}"/>
                  </a:ext>
                </a:extLst>
              </p:cNvPr>
              <p:cNvSpPr/>
              <p:nvPr/>
            </p:nvSpPr>
            <p:spPr>
              <a:xfrm>
                <a:off x="6191625" y="1405269"/>
                <a:ext cx="81451" cy="44043"/>
              </a:xfrm>
              <a:custGeom>
                <a:avLst/>
                <a:gdLst>
                  <a:gd name="connsiteX0" fmla="*/ 0 w 81451"/>
                  <a:gd name="connsiteY0" fmla="*/ 44044 h 44043"/>
                  <a:gd name="connsiteX1" fmla="*/ 37343 w 81451"/>
                  <a:gd name="connsiteY1" fmla="*/ 44044 h 44043"/>
                  <a:gd name="connsiteX2" fmla="*/ 81451 w 81451"/>
                  <a:gd name="connsiteY2" fmla="*/ 0 h 440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1451" h="44043">
                    <a:moveTo>
                      <a:pt x="0" y="44044"/>
                    </a:moveTo>
                    <a:lnTo>
                      <a:pt x="37343" y="44044"/>
                    </a:lnTo>
                    <a:lnTo>
                      <a:pt x="81451" y="0"/>
                    </a:lnTo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1" name="Forma livre: Forma 50">
                <a:extLst>
                  <a:ext uri="{FF2B5EF4-FFF2-40B4-BE49-F238E27FC236}">
                    <a16:creationId xmlns:a16="http://schemas.microsoft.com/office/drawing/2014/main" id="{D5E7E8B9-F16C-C7AA-EA5D-E7A6596BD766}"/>
                  </a:ext>
                </a:extLst>
              </p:cNvPr>
              <p:cNvSpPr/>
              <p:nvPr/>
            </p:nvSpPr>
            <p:spPr>
              <a:xfrm>
                <a:off x="6265075" y="1357908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0 h 55298"/>
                  <a:gd name="connsiteX2" fmla="*/ 0 w 55298"/>
                  <a:gd name="connsiteY2" fmla="*/ 27649 h 55298"/>
                  <a:gd name="connsiteX3" fmla="*/ 27649 w 55298"/>
                  <a:gd name="connsiteY3" fmla="*/ 55298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12361"/>
                      <a:pt x="42938" y="0"/>
                      <a:pt x="27649" y="0"/>
                    </a:cubicBezTo>
                    <a:cubicBezTo>
                      <a:pt x="12361" y="0"/>
                      <a:pt x="0" y="12361"/>
                      <a:pt x="0" y="27649"/>
                    </a:cubicBezTo>
                    <a:cubicBezTo>
                      <a:pt x="0" y="42938"/>
                      <a:pt x="12361" y="55298"/>
                      <a:pt x="27649" y="55298"/>
                    </a:cubicBezTo>
                    <a:cubicBezTo>
                      <a:pt x="42938" y="55298"/>
                      <a:pt x="55298" y="42938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44" name="Gráfico 32">
              <a:extLst>
                <a:ext uri="{FF2B5EF4-FFF2-40B4-BE49-F238E27FC236}">
                  <a16:creationId xmlns:a16="http://schemas.microsoft.com/office/drawing/2014/main" id="{465338C4-B35A-87D8-382F-0F77235004C3}"/>
                </a:ext>
              </a:extLst>
            </p:cNvPr>
            <p:cNvGrpSpPr/>
            <p:nvPr/>
          </p:nvGrpSpPr>
          <p:grpSpPr>
            <a:xfrm>
              <a:off x="6190910" y="1529723"/>
              <a:ext cx="123673" cy="55298"/>
              <a:chOff x="6190910" y="1529723"/>
              <a:chExt cx="123673" cy="55298"/>
            </a:xfrm>
            <a:noFill/>
          </p:grpSpPr>
          <p:sp>
            <p:nvSpPr>
              <p:cNvPr id="46" name="Forma livre: Forma 45">
                <a:extLst>
                  <a:ext uri="{FF2B5EF4-FFF2-40B4-BE49-F238E27FC236}">
                    <a16:creationId xmlns:a16="http://schemas.microsoft.com/office/drawing/2014/main" id="{EE4C8B98-0F2E-BEB0-8F03-5C151ED1A7CE}"/>
                  </a:ext>
                </a:extLst>
              </p:cNvPr>
              <p:cNvSpPr/>
              <p:nvPr/>
            </p:nvSpPr>
            <p:spPr>
              <a:xfrm>
                <a:off x="6190910" y="1557372"/>
                <a:ext cx="68765" cy="6505"/>
              </a:xfrm>
              <a:custGeom>
                <a:avLst/>
                <a:gdLst>
                  <a:gd name="connsiteX0" fmla="*/ 0 w 68765"/>
                  <a:gd name="connsiteY0" fmla="*/ 0 h 6505"/>
                  <a:gd name="connsiteX1" fmla="*/ 68765 w 68765"/>
                  <a:gd name="connsiteY1" fmla="*/ 0 h 65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8765" h="6505">
                    <a:moveTo>
                      <a:pt x="0" y="0"/>
                    </a:moveTo>
                    <a:lnTo>
                      <a:pt x="68765" y="0"/>
                    </a:lnTo>
                  </a:path>
                </a:pathLst>
              </a:custGeom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7" name="Forma livre: Forma 46">
                <a:extLst>
                  <a:ext uri="{FF2B5EF4-FFF2-40B4-BE49-F238E27FC236}">
                    <a16:creationId xmlns:a16="http://schemas.microsoft.com/office/drawing/2014/main" id="{8E7FA2B7-93FD-ED96-18F6-4102659B4F93}"/>
                  </a:ext>
                </a:extLst>
              </p:cNvPr>
              <p:cNvSpPr/>
              <p:nvPr/>
            </p:nvSpPr>
            <p:spPr>
              <a:xfrm>
                <a:off x="6259285" y="1529723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45" name="Forma livre: Forma 44">
              <a:extLst>
                <a:ext uri="{FF2B5EF4-FFF2-40B4-BE49-F238E27FC236}">
                  <a16:creationId xmlns:a16="http://schemas.microsoft.com/office/drawing/2014/main" id="{CA521479-AAE0-69CA-A9E5-9F1ECD6F39DE}"/>
                </a:ext>
              </a:extLst>
            </p:cNvPr>
            <p:cNvSpPr/>
            <p:nvPr/>
          </p:nvSpPr>
          <p:spPr>
            <a:xfrm>
              <a:off x="6152201" y="1686285"/>
              <a:ext cx="37362" cy="20848"/>
            </a:xfrm>
            <a:custGeom>
              <a:avLst/>
              <a:gdLst>
                <a:gd name="connsiteX0" fmla="*/ 0 w 37362"/>
                <a:gd name="connsiteY0" fmla="*/ 10505 h 20848"/>
                <a:gd name="connsiteX1" fmla="*/ 27064 w 37362"/>
                <a:gd name="connsiteY1" fmla="*/ 2373 h 20848"/>
                <a:gd name="connsiteX2" fmla="*/ 37343 w 37362"/>
                <a:gd name="connsiteY2" fmla="*/ 20849 h 20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7362" h="20848">
                  <a:moveTo>
                    <a:pt x="0" y="10505"/>
                  </a:moveTo>
                  <a:cubicBezTo>
                    <a:pt x="5205" y="811"/>
                    <a:pt x="17435" y="-2832"/>
                    <a:pt x="27064" y="2373"/>
                  </a:cubicBezTo>
                  <a:cubicBezTo>
                    <a:pt x="34025" y="6081"/>
                    <a:pt x="37668" y="13432"/>
                    <a:pt x="37343" y="20849"/>
                  </a:cubicBezTo>
                </a:path>
              </a:pathLst>
            </a:custGeom>
            <a:noFill/>
            <a:ln w="19050" cap="sq">
              <a:solidFill>
                <a:schemeClr val="tx1"/>
              </a:solidFill>
              <a:prstDash val="solid"/>
              <a:miter lim="800000"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62" name="Agrupar 61">
            <a:extLst>
              <a:ext uri="{FF2B5EF4-FFF2-40B4-BE49-F238E27FC236}">
                <a16:creationId xmlns:a16="http://schemas.microsoft.com/office/drawing/2014/main" id="{816492C4-D133-3730-E0C1-CD3ADB835879}"/>
              </a:ext>
            </a:extLst>
          </p:cNvPr>
          <p:cNvGrpSpPr/>
          <p:nvPr/>
        </p:nvGrpSpPr>
        <p:grpSpPr>
          <a:xfrm>
            <a:off x="440636" y="3067919"/>
            <a:ext cx="461846" cy="504363"/>
            <a:chOff x="6000092" y="1357908"/>
            <a:chExt cx="365300" cy="398929"/>
          </a:xfrm>
        </p:grpSpPr>
        <p:sp>
          <p:nvSpPr>
            <p:cNvPr id="63" name="Forma livre: Forma 62">
              <a:extLst>
                <a:ext uri="{FF2B5EF4-FFF2-40B4-BE49-F238E27FC236}">
                  <a16:creationId xmlns:a16="http://schemas.microsoft.com/office/drawing/2014/main" id="{705FE7FB-98B8-CE60-6715-B2DEC57D8908}"/>
                </a:ext>
              </a:extLst>
            </p:cNvPr>
            <p:cNvSpPr/>
            <p:nvPr/>
          </p:nvSpPr>
          <p:spPr>
            <a:xfrm>
              <a:off x="6000092" y="1418606"/>
              <a:ext cx="84058" cy="286120"/>
            </a:xfrm>
            <a:custGeom>
              <a:avLst/>
              <a:gdLst>
                <a:gd name="connsiteX0" fmla="*/ 51595 w 84058"/>
                <a:gd name="connsiteY0" fmla="*/ 0 h 286120"/>
                <a:gd name="connsiteX1" fmla="*/ 35266 w 84058"/>
                <a:gd name="connsiteY1" fmla="*/ 61674 h 286120"/>
                <a:gd name="connsiteX2" fmla="*/ 28760 w 84058"/>
                <a:gd name="connsiteY2" fmla="*/ 193415 h 286120"/>
                <a:gd name="connsiteX3" fmla="*/ 84059 w 84058"/>
                <a:gd name="connsiteY3" fmla="*/ 286121 h 2861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4058" h="286120">
                  <a:moveTo>
                    <a:pt x="51595" y="0"/>
                  </a:moveTo>
                  <a:cubicBezTo>
                    <a:pt x="37868" y="7872"/>
                    <a:pt x="26028" y="24852"/>
                    <a:pt x="35266" y="61674"/>
                  </a:cubicBezTo>
                  <a:cubicBezTo>
                    <a:pt x="35266" y="61674"/>
                    <a:pt x="-39549" y="126731"/>
                    <a:pt x="28760" y="193415"/>
                  </a:cubicBezTo>
                  <a:cubicBezTo>
                    <a:pt x="28760" y="193415"/>
                    <a:pt x="9243" y="281242"/>
                    <a:pt x="84059" y="286121"/>
                  </a:cubicBezTo>
                </a:path>
              </a:pathLst>
            </a:custGeom>
            <a:noFill/>
            <a:ln w="19050" cap="sq">
              <a:solidFill>
                <a:schemeClr val="tx1"/>
              </a:solidFill>
              <a:prstDash val="solid"/>
              <a:miter lim="800000"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64" name="Gráfico 32">
              <a:extLst>
                <a:ext uri="{FF2B5EF4-FFF2-40B4-BE49-F238E27FC236}">
                  <a16:creationId xmlns:a16="http://schemas.microsoft.com/office/drawing/2014/main" id="{F9F702F3-13F1-4840-0AC8-B964E37B4C30}"/>
                </a:ext>
              </a:extLst>
            </p:cNvPr>
            <p:cNvGrpSpPr/>
            <p:nvPr/>
          </p:nvGrpSpPr>
          <p:grpSpPr>
            <a:xfrm>
              <a:off x="6061121" y="1359924"/>
              <a:ext cx="128487" cy="396366"/>
              <a:chOff x="6061121" y="1359924"/>
              <a:chExt cx="128487" cy="396366"/>
            </a:xfrm>
            <a:noFill/>
          </p:grpSpPr>
          <p:sp>
            <p:nvSpPr>
              <p:cNvPr id="79" name="Forma livre: Forma 78">
                <a:extLst>
                  <a:ext uri="{FF2B5EF4-FFF2-40B4-BE49-F238E27FC236}">
                    <a16:creationId xmlns:a16="http://schemas.microsoft.com/office/drawing/2014/main" id="{E34C7770-2495-C315-857C-57CC789A4A11}"/>
                  </a:ext>
                </a:extLst>
              </p:cNvPr>
              <p:cNvSpPr/>
              <p:nvPr/>
            </p:nvSpPr>
            <p:spPr>
              <a:xfrm>
                <a:off x="6083891" y="1359924"/>
                <a:ext cx="105717" cy="396366"/>
              </a:xfrm>
              <a:custGeom>
                <a:avLst/>
                <a:gdLst>
                  <a:gd name="connsiteX0" fmla="*/ 52891 w 105717"/>
                  <a:gd name="connsiteY0" fmla="*/ 105718 h 396366"/>
                  <a:gd name="connsiteX1" fmla="*/ 0 w 105717"/>
                  <a:gd name="connsiteY1" fmla="*/ 52891 h 396366"/>
                  <a:gd name="connsiteX2" fmla="*/ 52891 w 105717"/>
                  <a:gd name="connsiteY2" fmla="*/ 0 h 396366"/>
                  <a:gd name="connsiteX3" fmla="*/ 105718 w 105717"/>
                  <a:gd name="connsiteY3" fmla="*/ 52826 h 396366"/>
                  <a:gd name="connsiteX4" fmla="*/ 105718 w 105717"/>
                  <a:gd name="connsiteY4" fmla="*/ 346884 h 396366"/>
                  <a:gd name="connsiteX5" fmla="*/ 80606 w 105717"/>
                  <a:gd name="connsiteY5" fmla="*/ 388911 h 396366"/>
                  <a:gd name="connsiteX6" fmla="*/ 9238 w 105717"/>
                  <a:gd name="connsiteY6" fmla="*/ 371150 h 396366"/>
                  <a:gd name="connsiteX7" fmla="*/ 15484 w 105717"/>
                  <a:gd name="connsiteY7" fmla="*/ 309216 h 396366"/>
                  <a:gd name="connsiteX8" fmla="*/ 45019 w 105717"/>
                  <a:gd name="connsiteY8" fmla="*/ 277078 h 3963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05717" h="396366">
                    <a:moveTo>
                      <a:pt x="52891" y="105718"/>
                    </a:moveTo>
                    <a:cubicBezTo>
                      <a:pt x="23681" y="105718"/>
                      <a:pt x="0" y="82037"/>
                      <a:pt x="0" y="52891"/>
                    </a:cubicBezTo>
                    <a:cubicBezTo>
                      <a:pt x="0" y="23746"/>
                      <a:pt x="23681" y="0"/>
                      <a:pt x="52891" y="0"/>
                    </a:cubicBezTo>
                    <a:cubicBezTo>
                      <a:pt x="82102" y="0"/>
                      <a:pt x="105718" y="23681"/>
                      <a:pt x="105718" y="52826"/>
                    </a:cubicBezTo>
                    <a:lnTo>
                      <a:pt x="105718" y="346884"/>
                    </a:lnTo>
                    <a:cubicBezTo>
                      <a:pt x="105718" y="364580"/>
                      <a:pt x="96414" y="379413"/>
                      <a:pt x="80606" y="388911"/>
                    </a:cubicBezTo>
                    <a:cubicBezTo>
                      <a:pt x="55949" y="403744"/>
                      <a:pt x="24006" y="395742"/>
                      <a:pt x="9238" y="371150"/>
                    </a:cubicBezTo>
                    <a:cubicBezTo>
                      <a:pt x="-2928" y="350918"/>
                      <a:pt x="260" y="325741"/>
                      <a:pt x="15484" y="309216"/>
                    </a:cubicBezTo>
                    <a:lnTo>
                      <a:pt x="45019" y="277078"/>
                    </a:lnTo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80" name="Forma livre: Forma 79">
                <a:extLst>
                  <a:ext uri="{FF2B5EF4-FFF2-40B4-BE49-F238E27FC236}">
                    <a16:creationId xmlns:a16="http://schemas.microsoft.com/office/drawing/2014/main" id="{16FD588A-850D-33F1-2EF4-2C57A45CD206}"/>
                  </a:ext>
                </a:extLst>
              </p:cNvPr>
              <p:cNvSpPr/>
              <p:nvPr/>
            </p:nvSpPr>
            <p:spPr>
              <a:xfrm>
                <a:off x="6144784" y="1383865"/>
                <a:ext cx="41563" cy="38963"/>
              </a:xfrm>
              <a:custGeom>
                <a:avLst/>
                <a:gdLst>
                  <a:gd name="connsiteX0" fmla="*/ 36172 w 41563"/>
                  <a:gd name="connsiteY0" fmla="*/ 0 h 38963"/>
                  <a:gd name="connsiteX1" fmla="*/ 39425 w 41563"/>
                  <a:gd name="connsiteY1" fmla="*/ 24266 h 38963"/>
                  <a:gd name="connsiteX2" fmla="*/ 36432 w 41563"/>
                  <a:gd name="connsiteY2" fmla="*/ 29080 h 38963"/>
                  <a:gd name="connsiteX3" fmla="*/ 0 w 41563"/>
                  <a:gd name="connsiteY3" fmla="*/ 33439 h 389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563" h="38963">
                    <a:moveTo>
                      <a:pt x="36172" y="0"/>
                    </a:moveTo>
                    <a:cubicBezTo>
                      <a:pt x="41571" y="7547"/>
                      <a:pt x="43393" y="16004"/>
                      <a:pt x="39425" y="24266"/>
                    </a:cubicBezTo>
                    <a:cubicBezTo>
                      <a:pt x="38644" y="25893"/>
                      <a:pt x="37603" y="27519"/>
                      <a:pt x="36432" y="29080"/>
                    </a:cubicBezTo>
                    <a:cubicBezTo>
                      <a:pt x="27584" y="40270"/>
                      <a:pt x="11190" y="42287"/>
                      <a:pt x="0" y="33439"/>
                    </a:cubicBezTo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81" name="Forma livre: Forma 80">
                <a:extLst>
                  <a:ext uri="{FF2B5EF4-FFF2-40B4-BE49-F238E27FC236}">
                    <a16:creationId xmlns:a16="http://schemas.microsoft.com/office/drawing/2014/main" id="{E5A08B74-2FF1-D646-C54D-EFA5F6D31451}"/>
                  </a:ext>
                </a:extLst>
              </p:cNvPr>
              <p:cNvSpPr/>
              <p:nvPr/>
            </p:nvSpPr>
            <p:spPr>
              <a:xfrm>
                <a:off x="6081487" y="1460806"/>
                <a:ext cx="34217" cy="54474"/>
              </a:xfrm>
              <a:custGeom>
                <a:avLst/>
                <a:gdLst>
                  <a:gd name="connsiteX0" fmla="*/ 21076 w 34217"/>
                  <a:gd name="connsiteY0" fmla="*/ 54475 h 54474"/>
                  <a:gd name="connsiteX1" fmla="*/ 778 w 34217"/>
                  <a:gd name="connsiteY1" fmla="*/ 21035 h 54474"/>
                  <a:gd name="connsiteX2" fmla="*/ 34217 w 34217"/>
                  <a:gd name="connsiteY2" fmla="*/ 803 h 544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4217" h="54474">
                    <a:moveTo>
                      <a:pt x="21076" y="54475"/>
                    </a:moveTo>
                    <a:cubicBezTo>
                      <a:pt x="6308" y="50832"/>
                      <a:pt x="-2800" y="35803"/>
                      <a:pt x="778" y="21035"/>
                    </a:cubicBezTo>
                    <a:cubicBezTo>
                      <a:pt x="4421" y="6267"/>
                      <a:pt x="19449" y="-2841"/>
                      <a:pt x="34217" y="803"/>
                    </a:cubicBezTo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82" name="Forma livre: Forma 81">
                <a:extLst>
                  <a:ext uri="{FF2B5EF4-FFF2-40B4-BE49-F238E27FC236}">
                    <a16:creationId xmlns:a16="http://schemas.microsoft.com/office/drawing/2014/main" id="{16E84CA6-8282-7FA9-A034-BD3B3820C99B}"/>
                  </a:ext>
                </a:extLst>
              </p:cNvPr>
              <p:cNvSpPr/>
              <p:nvPr/>
            </p:nvSpPr>
            <p:spPr>
              <a:xfrm>
                <a:off x="6073547" y="1527543"/>
                <a:ext cx="114760" cy="72506"/>
              </a:xfrm>
              <a:custGeom>
                <a:avLst/>
                <a:gdLst>
                  <a:gd name="connsiteX0" fmla="*/ 114760 w 114760"/>
                  <a:gd name="connsiteY0" fmla="*/ 7254 h 72506"/>
                  <a:gd name="connsiteX1" fmla="*/ 73905 w 114760"/>
                  <a:gd name="connsiteY1" fmla="*/ 8881 h 72506"/>
                  <a:gd name="connsiteX2" fmla="*/ 0 w 114760"/>
                  <a:gd name="connsiteY2" fmla="*/ 72506 h 725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14760" h="72506">
                    <a:moveTo>
                      <a:pt x="114760" y="7254"/>
                    </a:moveTo>
                    <a:cubicBezTo>
                      <a:pt x="103375" y="-2830"/>
                      <a:pt x="83989" y="-2504"/>
                      <a:pt x="73905" y="8881"/>
                    </a:cubicBezTo>
                    <a:cubicBezTo>
                      <a:pt x="73905" y="8881"/>
                      <a:pt x="31488" y="72506"/>
                      <a:pt x="0" y="72506"/>
                    </a:cubicBezTo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83" name="Forma livre: Forma 82">
                <a:extLst>
                  <a:ext uri="{FF2B5EF4-FFF2-40B4-BE49-F238E27FC236}">
                    <a16:creationId xmlns:a16="http://schemas.microsoft.com/office/drawing/2014/main" id="{AB9CB212-0852-223D-C4DE-E4B8533547AE}"/>
                  </a:ext>
                </a:extLst>
              </p:cNvPr>
              <p:cNvSpPr/>
              <p:nvPr/>
            </p:nvSpPr>
            <p:spPr>
              <a:xfrm>
                <a:off x="6079857" y="1646956"/>
                <a:ext cx="29405" cy="9823"/>
              </a:xfrm>
              <a:custGeom>
                <a:avLst/>
                <a:gdLst>
                  <a:gd name="connsiteX0" fmla="*/ 0 w 29405"/>
                  <a:gd name="connsiteY0" fmla="*/ 0 h 9823"/>
                  <a:gd name="connsiteX1" fmla="*/ 29406 w 29405"/>
                  <a:gd name="connsiteY1" fmla="*/ 9824 h 98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9405" h="9823">
                    <a:moveTo>
                      <a:pt x="0" y="0"/>
                    </a:moveTo>
                    <a:lnTo>
                      <a:pt x="29406" y="9824"/>
                    </a:lnTo>
                  </a:path>
                </a:pathLst>
              </a:custGeom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84" name="Forma livre: Forma 83">
                <a:extLst>
                  <a:ext uri="{FF2B5EF4-FFF2-40B4-BE49-F238E27FC236}">
                    <a16:creationId xmlns:a16="http://schemas.microsoft.com/office/drawing/2014/main" id="{3999E4F3-4511-27CC-BA7B-569D9F9253E1}"/>
                  </a:ext>
                </a:extLst>
              </p:cNvPr>
              <p:cNvSpPr/>
              <p:nvPr/>
            </p:nvSpPr>
            <p:spPr>
              <a:xfrm>
                <a:off x="6061121" y="1545272"/>
                <a:ext cx="47166" cy="34154"/>
              </a:xfrm>
              <a:custGeom>
                <a:avLst/>
                <a:gdLst>
                  <a:gd name="connsiteX0" fmla="*/ 0 w 47166"/>
                  <a:gd name="connsiteY0" fmla="*/ 0 h 34154"/>
                  <a:gd name="connsiteX1" fmla="*/ 47166 w 47166"/>
                  <a:gd name="connsiteY1" fmla="*/ 34155 h 341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166" h="34154">
                    <a:moveTo>
                      <a:pt x="0" y="0"/>
                    </a:moveTo>
                    <a:cubicBezTo>
                      <a:pt x="0" y="0"/>
                      <a:pt x="27649" y="13011"/>
                      <a:pt x="47166" y="34155"/>
                    </a:cubicBezTo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65" name="Gráfico 32">
              <a:extLst>
                <a:ext uri="{FF2B5EF4-FFF2-40B4-BE49-F238E27FC236}">
                  <a16:creationId xmlns:a16="http://schemas.microsoft.com/office/drawing/2014/main" id="{791D52B0-99CB-08CE-163E-1CB003B1643E}"/>
                </a:ext>
              </a:extLst>
            </p:cNvPr>
            <p:cNvGrpSpPr/>
            <p:nvPr/>
          </p:nvGrpSpPr>
          <p:grpSpPr>
            <a:xfrm>
              <a:off x="6191625" y="1599725"/>
              <a:ext cx="173767" cy="157112"/>
              <a:chOff x="6191625" y="1599725"/>
              <a:chExt cx="173767" cy="157112"/>
            </a:xfrm>
            <a:noFill/>
          </p:grpSpPr>
          <p:sp>
            <p:nvSpPr>
              <p:cNvPr id="75" name="Forma livre: Forma 74">
                <a:extLst>
                  <a:ext uri="{FF2B5EF4-FFF2-40B4-BE49-F238E27FC236}">
                    <a16:creationId xmlns:a16="http://schemas.microsoft.com/office/drawing/2014/main" id="{1848E5D1-E441-74B8-AA9B-42217EBAF12E}"/>
                  </a:ext>
                </a:extLst>
              </p:cNvPr>
              <p:cNvSpPr/>
              <p:nvPr/>
            </p:nvSpPr>
            <p:spPr>
              <a:xfrm>
                <a:off x="6310094" y="1621974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6" name="Forma livre: Forma 75">
                <a:extLst>
                  <a:ext uri="{FF2B5EF4-FFF2-40B4-BE49-F238E27FC236}">
                    <a16:creationId xmlns:a16="http://schemas.microsoft.com/office/drawing/2014/main" id="{EEE1EE67-B14D-CAF4-9708-C5EB64ABE88A}"/>
                  </a:ext>
                </a:extLst>
              </p:cNvPr>
              <p:cNvSpPr/>
              <p:nvPr/>
            </p:nvSpPr>
            <p:spPr>
              <a:xfrm>
                <a:off x="6191625" y="1599725"/>
                <a:ext cx="118078" cy="49898"/>
              </a:xfrm>
              <a:custGeom>
                <a:avLst/>
                <a:gdLst>
                  <a:gd name="connsiteX0" fmla="*/ 0 w 118078"/>
                  <a:gd name="connsiteY0" fmla="*/ 0 h 49898"/>
                  <a:gd name="connsiteX1" fmla="*/ 37343 w 118078"/>
                  <a:gd name="connsiteY1" fmla="*/ 0 h 49898"/>
                  <a:gd name="connsiteX2" fmla="*/ 87176 w 118078"/>
                  <a:gd name="connsiteY2" fmla="*/ 49899 h 49898"/>
                  <a:gd name="connsiteX3" fmla="*/ 118078 w 118078"/>
                  <a:gd name="connsiteY3" fmla="*/ 49899 h 49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8078" h="49898">
                    <a:moveTo>
                      <a:pt x="0" y="0"/>
                    </a:moveTo>
                    <a:lnTo>
                      <a:pt x="37343" y="0"/>
                    </a:lnTo>
                    <a:lnTo>
                      <a:pt x="87176" y="49899"/>
                    </a:lnTo>
                    <a:lnTo>
                      <a:pt x="118078" y="49899"/>
                    </a:lnTo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7" name="Forma livre: Forma 76">
                <a:extLst>
                  <a:ext uri="{FF2B5EF4-FFF2-40B4-BE49-F238E27FC236}">
                    <a16:creationId xmlns:a16="http://schemas.microsoft.com/office/drawing/2014/main" id="{65B9D9B9-AB0E-12CB-18E0-C5C6BF47A1DA}"/>
                  </a:ext>
                </a:extLst>
              </p:cNvPr>
              <p:cNvSpPr/>
              <p:nvPr/>
            </p:nvSpPr>
            <p:spPr>
              <a:xfrm>
                <a:off x="6191625" y="1665367"/>
                <a:ext cx="81906" cy="44108"/>
              </a:xfrm>
              <a:custGeom>
                <a:avLst/>
                <a:gdLst>
                  <a:gd name="connsiteX0" fmla="*/ 0 w 81906"/>
                  <a:gd name="connsiteY0" fmla="*/ 0 h 44108"/>
                  <a:gd name="connsiteX1" fmla="*/ 37343 w 81906"/>
                  <a:gd name="connsiteY1" fmla="*/ 0 h 44108"/>
                  <a:gd name="connsiteX2" fmla="*/ 81907 w 81906"/>
                  <a:gd name="connsiteY2" fmla="*/ 44109 h 441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1906" h="44108">
                    <a:moveTo>
                      <a:pt x="0" y="0"/>
                    </a:moveTo>
                    <a:lnTo>
                      <a:pt x="37343" y="0"/>
                    </a:lnTo>
                    <a:lnTo>
                      <a:pt x="81907" y="44109"/>
                    </a:lnTo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8" name="Forma livre: Forma 77">
                <a:extLst>
                  <a:ext uri="{FF2B5EF4-FFF2-40B4-BE49-F238E27FC236}">
                    <a16:creationId xmlns:a16="http://schemas.microsoft.com/office/drawing/2014/main" id="{4F489076-C926-6D09-994F-BB8ED331EC50}"/>
                  </a:ext>
                </a:extLst>
              </p:cNvPr>
              <p:cNvSpPr/>
              <p:nvPr/>
            </p:nvSpPr>
            <p:spPr>
              <a:xfrm>
                <a:off x="6265075" y="1701539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66" name="Gráfico 32">
              <a:extLst>
                <a:ext uri="{FF2B5EF4-FFF2-40B4-BE49-F238E27FC236}">
                  <a16:creationId xmlns:a16="http://schemas.microsoft.com/office/drawing/2014/main" id="{D9D6D9AB-7EA8-3FE1-99F5-5785C61B3F31}"/>
                </a:ext>
              </a:extLst>
            </p:cNvPr>
            <p:cNvGrpSpPr/>
            <p:nvPr/>
          </p:nvGrpSpPr>
          <p:grpSpPr>
            <a:xfrm>
              <a:off x="6191625" y="1357908"/>
              <a:ext cx="173767" cy="157112"/>
              <a:chOff x="6191625" y="1357908"/>
              <a:chExt cx="173767" cy="157112"/>
            </a:xfrm>
            <a:noFill/>
          </p:grpSpPr>
          <p:sp>
            <p:nvSpPr>
              <p:cNvPr id="71" name="Forma livre: Forma 70">
                <a:extLst>
                  <a:ext uri="{FF2B5EF4-FFF2-40B4-BE49-F238E27FC236}">
                    <a16:creationId xmlns:a16="http://schemas.microsoft.com/office/drawing/2014/main" id="{1C528A64-C65E-BF84-C29E-F30BF486944B}"/>
                  </a:ext>
                </a:extLst>
              </p:cNvPr>
              <p:cNvSpPr/>
              <p:nvPr/>
            </p:nvSpPr>
            <p:spPr>
              <a:xfrm>
                <a:off x="6310094" y="1437472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0 h 55298"/>
                  <a:gd name="connsiteX2" fmla="*/ 0 w 55298"/>
                  <a:gd name="connsiteY2" fmla="*/ 27649 h 55298"/>
                  <a:gd name="connsiteX3" fmla="*/ 27649 w 55298"/>
                  <a:gd name="connsiteY3" fmla="*/ 55298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12361"/>
                      <a:pt x="42938" y="0"/>
                      <a:pt x="27649" y="0"/>
                    </a:cubicBezTo>
                    <a:cubicBezTo>
                      <a:pt x="12361" y="0"/>
                      <a:pt x="0" y="12361"/>
                      <a:pt x="0" y="27649"/>
                    </a:cubicBezTo>
                    <a:cubicBezTo>
                      <a:pt x="0" y="42938"/>
                      <a:pt x="12361" y="55298"/>
                      <a:pt x="27649" y="55298"/>
                    </a:cubicBezTo>
                    <a:cubicBezTo>
                      <a:pt x="42938" y="55298"/>
                      <a:pt x="55298" y="42938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2" name="Forma livre: Forma 71">
                <a:extLst>
                  <a:ext uri="{FF2B5EF4-FFF2-40B4-BE49-F238E27FC236}">
                    <a16:creationId xmlns:a16="http://schemas.microsoft.com/office/drawing/2014/main" id="{9AE1327C-70DB-9098-59D0-D7EB7671765C}"/>
                  </a:ext>
                </a:extLst>
              </p:cNvPr>
              <p:cNvSpPr/>
              <p:nvPr/>
            </p:nvSpPr>
            <p:spPr>
              <a:xfrm>
                <a:off x="6191625" y="1465122"/>
                <a:ext cx="118468" cy="49898"/>
              </a:xfrm>
              <a:custGeom>
                <a:avLst/>
                <a:gdLst>
                  <a:gd name="connsiteX0" fmla="*/ 0 w 118468"/>
                  <a:gd name="connsiteY0" fmla="*/ 49899 h 49898"/>
                  <a:gd name="connsiteX1" fmla="*/ 37343 w 118468"/>
                  <a:gd name="connsiteY1" fmla="*/ 49899 h 49898"/>
                  <a:gd name="connsiteX2" fmla="*/ 87176 w 118468"/>
                  <a:gd name="connsiteY2" fmla="*/ 0 h 49898"/>
                  <a:gd name="connsiteX3" fmla="*/ 118469 w 118468"/>
                  <a:gd name="connsiteY3" fmla="*/ 0 h 49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8468" h="49898">
                    <a:moveTo>
                      <a:pt x="0" y="49899"/>
                    </a:moveTo>
                    <a:lnTo>
                      <a:pt x="37343" y="49899"/>
                    </a:lnTo>
                    <a:lnTo>
                      <a:pt x="87176" y="0"/>
                    </a:lnTo>
                    <a:lnTo>
                      <a:pt x="118469" y="0"/>
                    </a:lnTo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3" name="Forma livre: Forma 72">
                <a:extLst>
                  <a:ext uri="{FF2B5EF4-FFF2-40B4-BE49-F238E27FC236}">
                    <a16:creationId xmlns:a16="http://schemas.microsoft.com/office/drawing/2014/main" id="{7D29FB50-B655-E565-C2B6-CACA6263D006}"/>
                  </a:ext>
                </a:extLst>
              </p:cNvPr>
              <p:cNvSpPr/>
              <p:nvPr/>
            </p:nvSpPr>
            <p:spPr>
              <a:xfrm>
                <a:off x="6191625" y="1405269"/>
                <a:ext cx="81451" cy="44043"/>
              </a:xfrm>
              <a:custGeom>
                <a:avLst/>
                <a:gdLst>
                  <a:gd name="connsiteX0" fmla="*/ 0 w 81451"/>
                  <a:gd name="connsiteY0" fmla="*/ 44044 h 44043"/>
                  <a:gd name="connsiteX1" fmla="*/ 37343 w 81451"/>
                  <a:gd name="connsiteY1" fmla="*/ 44044 h 44043"/>
                  <a:gd name="connsiteX2" fmla="*/ 81451 w 81451"/>
                  <a:gd name="connsiteY2" fmla="*/ 0 h 440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1451" h="44043">
                    <a:moveTo>
                      <a:pt x="0" y="44044"/>
                    </a:moveTo>
                    <a:lnTo>
                      <a:pt x="37343" y="44044"/>
                    </a:lnTo>
                    <a:lnTo>
                      <a:pt x="81451" y="0"/>
                    </a:lnTo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4" name="Forma livre: Forma 73">
                <a:extLst>
                  <a:ext uri="{FF2B5EF4-FFF2-40B4-BE49-F238E27FC236}">
                    <a16:creationId xmlns:a16="http://schemas.microsoft.com/office/drawing/2014/main" id="{8B691940-D084-6906-CFD0-5ADFFBCBE669}"/>
                  </a:ext>
                </a:extLst>
              </p:cNvPr>
              <p:cNvSpPr/>
              <p:nvPr/>
            </p:nvSpPr>
            <p:spPr>
              <a:xfrm>
                <a:off x="6265075" y="1357908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0 h 55298"/>
                  <a:gd name="connsiteX2" fmla="*/ 0 w 55298"/>
                  <a:gd name="connsiteY2" fmla="*/ 27649 h 55298"/>
                  <a:gd name="connsiteX3" fmla="*/ 27649 w 55298"/>
                  <a:gd name="connsiteY3" fmla="*/ 55298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12361"/>
                      <a:pt x="42938" y="0"/>
                      <a:pt x="27649" y="0"/>
                    </a:cubicBezTo>
                    <a:cubicBezTo>
                      <a:pt x="12361" y="0"/>
                      <a:pt x="0" y="12361"/>
                      <a:pt x="0" y="27649"/>
                    </a:cubicBezTo>
                    <a:cubicBezTo>
                      <a:pt x="0" y="42938"/>
                      <a:pt x="12361" y="55298"/>
                      <a:pt x="27649" y="55298"/>
                    </a:cubicBezTo>
                    <a:cubicBezTo>
                      <a:pt x="42938" y="55298"/>
                      <a:pt x="55298" y="42938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67" name="Gráfico 32">
              <a:extLst>
                <a:ext uri="{FF2B5EF4-FFF2-40B4-BE49-F238E27FC236}">
                  <a16:creationId xmlns:a16="http://schemas.microsoft.com/office/drawing/2014/main" id="{5DC4B7D7-0058-9942-D943-85838C0CAA2F}"/>
                </a:ext>
              </a:extLst>
            </p:cNvPr>
            <p:cNvGrpSpPr/>
            <p:nvPr/>
          </p:nvGrpSpPr>
          <p:grpSpPr>
            <a:xfrm>
              <a:off x="6190910" y="1529723"/>
              <a:ext cx="123673" cy="55298"/>
              <a:chOff x="6190910" y="1529723"/>
              <a:chExt cx="123673" cy="55298"/>
            </a:xfrm>
            <a:noFill/>
          </p:grpSpPr>
          <p:sp>
            <p:nvSpPr>
              <p:cNvPr id="69" name="Forma livre: Forma 68">
                <a:extLst>
                  <a:ext uri="{FF2B5EF4-FFF2-40B4-BE49-F238E27FC236}">
                    <a16:creationId xmlns:a16="http://schemas.microsoft.com/office/drawing/2014/main" id="{26C146C8-A6B1-3E60-76CF-20097E3E476B}"/>
                  </a:ext>
                </a:extLst>
              </p:cNvPr>
              <p:cNvSpPr/>
              <p:nvPr/>
            </p:nvSpPr>
            <p:spPr>
              <a:xfrm>
                <a:off x="6190910" y="1557372"/>
                <a:ext cx="68765" cy="6505"/>
              </a:xfrm>
              <a:custGeom>
                <a:avLst/>
                <a:gdLst>
                  <a:gd name="connsiteX0" fmla="*/ 0 w 68765"/>
                  <a:gd name="connsiteY0" fmla="*/ 0 h 6505"/>
                  <a:gd name="connsiteX1" fmla="*/ 68765 w 68765"/>
                  <a:gd name="connsiteY1" fmla="*/ 0 h 65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8765" h="6505">
                    <a:moveTo>
                      <a:pt x="0" y="0"/>
                    </a:moveTo>
                    <a:lnTo>
                      <a:pt x="68765" y="0"/>
                    </a:lnTo>
                  </a:path>
                </a:pathLst>
              </a:custGeom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0" name="Forma livre: Forma 69">
                <a:extLst>
                  <a:ext uri="{FF2B5EF4-FFF2-40B4-BE49-F238E27FC236}">
                    <a16:creationId xmlns:a16="http://schemas.microsoft.com/office/drawing/2014/main" id="{EB69EBF0-579F-A968-54D5-C181D2F00414}"/>
                  </a:ext>
                </a:extLst>
              </p:cNvPr>
              <p:cNvSpPr/>
              <p:nvPr/>
            </p:nvSpPr>
            <p:spPr>
              <a:xfrm>
                <a:off x="6259285" y="1529723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68" name="Forma livre: Forma 67">
              <a:extLst>
                <a:ext uri="{FF2B5EF4-FFF2-40B4-BE49-F238E27FC236}">
                  <a16:creationId xmlns:a16="http://schemas.microsoft.com/office/drawing/2014/main" id="{EF5B48AA-DE56-527B-486C-AB593B2035C0}"/>
                </a:ext>
              </a:extLst>
            </p:cNvPr>
            <p:cNvSpPr/>
            <p:nvPr/>
          </p:nvSpPr>
          <p:spPr>
            <a:xfrm>
              <a:off x="6152201" y="1686285"/>
              <a:ext cx="37362" cy="20848"/>
            </a:xfrm>
            <a:custGeom>
              <a:avLst/>
              <a:gdLst>
                <a:gd name="connsiteX0" fmla="*/ 0 w 37362"/>
                <a:gd name="connsiteY0" fmla="*/ 10505 h 20848"/>
                <a:gd name="connsiteX1" fmla="*/ 27064 w 37362"/>
                <a:gd name="connsiteY1" fmla="*/ 2373 h 20848"/>
                <a:gd name="connsiteX2" fmla="*/ 37343 w 37362"/>
                <a:gd name="connsiteY2" fmla="*/ 20849 h 20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7362" h="20848">
                  <a:moveTo>
                    <a:pt x="0" y="10505"/>
                  </a:moveTo>
                  <a:cubicBezTo>
                    <a:pt x="5205" y="811"/>
                    <a:pt x="17435" y="-2832"/>
                    <a:pt x="27064" y="2373"/>
                  </a:cubicBezTo>
                  <a:cubicBezTo>
                    <a:pt x="34025" y="6081"/>
                    <a:pt x="37668" y="13432"/>
                    <a:pt x="37343" y="20849"/>
                  </a:cubicBezTo>
                </a:path>
              </a:pathLst>
            </a:custGeom>
            <a:noFill/>
            <a:ln w="19050" cap="sq">
              <a:solidFill>
                <a:schemeClr val="tx1"/>
              </a:solidFill>
              <a:prstDash val="solid"/>
              <a:miter lim="800000"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85" name="Agrupar 84">
            <a:extLst>
              <a:ext uri="{FF2B5EF4-FFF2-40B4-BE49-F238E27FC236}">
                <a16:creationId xmlns:a16="http://schemas.microsoft.com/office/drawing/2014/main" id="{EE3F42F5-37A5-F24D-A71E-39C4C6AFB056}"/>
              </a:ext>
            </a:extLst>
          </p:cNvPr>
          <p:cNvGrpSpPr/>
          <p:nvPr/>
        </p:nvGrpSpPr>
        <p:grpSpPr>
          <a:xfrm>
            <a:off x="1311958" y="5415920"/>
            <a:ext cx="461846" cy="504363"/>
            <a:chOff x="6000092" y="1357908"/>
            <a:chExt cx="365300" cy="398929"/>
          </a:xfrm>
        </p:grpSpPr>
        <p:sp>
          <p:nvSpPr>
            <p:cNvPr id="86" name="Forma livre: Forma 85">
              <a:extLst>
                <a:ext uri="{FF2B5EF4-FFF2-40B4-BE49-F238E27FC236}">
                  <a16:creationId xmlns:a16="http://schemas.microsoft.com/office/drawing/2014/main" id="{5691BD10-E01F-3859-0D0D-DF4F80676A66}"/>
                </a:ext>
              </a:extLst>
            </p:cNvPr>
            <p:cNvSpPr/>
            <p:nvPr/>
          </p:nvSpPr>
          <p:spPr>
            <a:xfrm>
              <a:off x="6000092" y="1418606"/>
              <a:ext cx="84058" cy="286120"/>
            </a:xfrm>
            <a:custGeom>
              <a:avLst/>
              <a:gdLst>
                <a:gd name="connsiteX0" fmla="*/ 51595 w 84058"/>
                <a:gd name="connsiteY0" fmla="*/ 0 h 286120"/>
                <a:gd name="connsiteX1" fmla="*/ 35266 w 84058"/>
                <a:gd name="connsiteY1" fmla="*/ 61674 h 286120"/>
                <a:gd name="connsiteX2" fmla="*/ 28760 w 84058"/>
                <a:gd name="connsiteY2" fmla="*/ 193415 h 286120"/>
                <a:gd name="connsiteX3" fmla="*/ 84059 w 84058"/>
                <a:gd name="connsiteY3" fmla="*/ 286121 h 2861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4058" h="286120">
                  <a:moveTo>
                    <a:pt x="51595" y="0"/>
                  </a:moveTo>
                  <a:cubicBezTo>
                    <a:pt x="37868" y="7872"/>
                    <a:pt x="26028" y="24852"/>
                    <a:pt x="35266" y="61674"/>
                  </a:cubicBezTo>
                  <a:cubicBezTo>
                    <a:pt x="35266" y="61674"/>
                    <a:pt x="-39549" y="126731"/>
                    <a:pt x="28760" y="193415"/>
                  </a:cubicBezTo>
                  <a:cubicBezTo>
                    <a:pt x="28760" y="193415"/>
                    <a:pt x="9243" y="281242"/>
                    <a:pt x="84059" y="286121"/>
                  </a:cubicBezTo>
                </a:path>
              </a:pathLst>
            </a:custGeom>
            <a:noFill/>
            <a:ln w="19050" cap="sq">
              <a:solidFill>
                <a:schemeClr val="tx1"/>
              </a:solidFill>
              <a:prstDash val="solid"/>
              <a:miter lim="800000"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87" name="Gráfico 32">
              <a:extLst>
                <a:ext uri="{FF2B5EF4-FFF2-40B4-BE49-F238E27FC236}">
                  <a16:creationId xmlns:a16="http://schemas.microsoft.com/office/drawing/2014/main" id="{4D9B56F4-2268-D0B2-2EA3-6BEEB49D8F67}"/>
                </a:ext>
              </a:extLst>
            </p:cNvPr>
            <p:cNvGrpSpPr/>
            <p:nvPr/>
          </p:nvGrpSpPr>
          <p:grpSpPr>
            <a:xfrm>
              <a:off x="6061121" y="1359924"/>
              <a:ext cx="128487" cy="396366"/>
              <a:chOff x="6061121" y="1359924"/>
              <a:chExt cx="128487" cy="396366"/>
            </a:xfrm>
            <a:noFill/>
          </p:grpSpPr>
          <p:sp>
            <p:nvSpPr>
              <p:cNvPr id="102" name="Forma livre: Forma 101">
                <a:extLst>
                  <a:ext uri="{FF2B5EF4-FFF2-40B4-BE49-F238E27FC236}">
                    <a16:creationId xmlns:a16="http://schemas.microsoft.com/office/drawing/2014/main" id="{5584D537-463F-52E2-FA0C-BBE1FEAC72B7}"/>
                  </a:ext>
                </a:extLst>
              </p:cNvPr>
              <p:cNvSpPr/>
              <p:nvPr/>
            </p:nvSpPr>
            <p:spPr>
              <a:xfrm>
                <a:off x="6083891" y="1359924"/>
                <a:ext cx="105717" cy="396366"/>
              </a:xfrm>
              <a:custGeom>
                <a:avLst/>
                <a:gdLst>
                  <a:gd name="connsiteX0" fmla="*/ 52891 w 105717"/>
                  <a:gd name="connsiteY0" fmla="*/ 105718 h 396366"/>
                  <a:gd name="connsiteX1" fmla="*/ 0 w 105717"/>
                  <a:gd name="connsiteY1" fmla="*/ 52891 h 396366"/>
                  <a:gd name="connsiteX2" fmla="*/ 52891 w 105717"/>
                  <a:gd name="connsiteY2" fmla="*/ 0 h 396366"/>
                  <a:gd name="connsiteX3" fmla="*/ 105718 w 105717"/>
                  <a:gd name="connsiteY3" fmla="*/ 52826 h 396366"/>
                  <a:gd name="connsiteX4" fmla="*/ 105718 w 105717"/>
                  <a:gd name="connsiteY4" fmla="*/ 346884 h 396366"/>
                  <a:gd name="connsiteX5" fmla="*/ 80606 w 105717"/>
                  <a:gd name="connsiteY5" fmla="*/ 388911 h 396366"/>
                  <a:gd name="connsiteX6" fmla="*/ 9238 w 105717"/>
                  <a:gd name="connsiteY6" fmla="*/ 371150 h 396366"/>
                  <a:gd name="connsiteX7" fmla="*/ 15484 w 105717"/>
                  <a:gd name="connsiteY7" fmla="*/ 309216 h 396366"/>
                  <a:gd name="connsiteX8" fmla="*/ 45019 w 105717"/>
                  <a:gd name="connsiteY8" fmla="*/ 277078 h 3963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05717" h="396366">
                    <a:moveTo>
                      <a:pt x="52891" y="105718"/>
                    </a:moveTo>
                    <a:cubicBezTo>
                      <a:pt x="23681" y="105718"/>
                      <a:pt x="0" y="82037"/>
                      <a:pt x="0" y="52891"/>
                    </a:cubicBezTo>
                    <a:cubicBezTo>
                      <a:pt x="0" y="23746"/>
                      <a:pt x="23681" y="0"/>
                      <a:pt x="52891" y="0"/>
                    </a:cubicBezTo>
                    <a:cubicBezTo>
                      <a:pt x="82102" y="0"/>
                      <a:pt x="105718" y="23681"/>
                      <a:pt x="105718" y="52826"/>
                    </a:cubicBezTo>
                    <a:lnTo>
                      <a:pt x="105718" y="346884"/>
                    </a:lnTo>
                    <a:cubicBezTo>
                      <a:pt x="105718" y="364580"/>
                      <a:pt x="96414" y="379413"/>
                      <a:pt x="80606" y="388911"/>
                    </a:cubicBezTo>
                    <a:cubicBezTo>
                      <a:pt x="55949" y="403744"/>
                      <a:pt x="24006" y="395742"/>
                      <a:pt x="9238" y="371150"/>
                    </a:cubicBezTo>
                    <a:cubicBezTo>
                      <a:pt x="-2928" y="350918"/>
                      <a:pt x="260" y="325741"/>
                      <a:pt x="15484" y="309216"/>
                    </a:cubicBezTo>
                    <a:lnTo>
                      <a:pt x="45019" y="277078"/>
                    </a:lnTo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03" name="Forma livre: Forma 102">
                <a:extLst>
                  <a:ext uri="{FF2B5EF4-FFF2-40B4-BE49-F238E27FC236}">
                    <a16:creationId xmlns:a16="http://schemas.microsoft.com/office/drawing/2014/main" id="{7F629964-FB62-1ECA-F9CA-EB887024B6FA}"/>
                  </a:ext>
                </a:extLst>
              </p:cNvPr>
              <p:cNvSpPr/>
              <p:nvPr/>
            </p:nvSpPr>
            <p:spPr>
              <a:xfrm>
                <a:off x="6144784" y="1383865"/>
                <a:ext cx="41563" cy="38963"/>
              </a:xfrm>
              <a:custGeom>
                <a:avLst/>
                <a:gdLst>
                  <a:gd name="connsiteX0" fmla="*/ 36172 w 41563"/>
                  <a:gd name="connsiteY0" fmla="*/ 0 h 38963"/>
                  <a:gd name="connsiteX1" fmla="*/ 39425 w 41563"/>
                  <a:gd name="connsiteY1" fmla="*/ 24266 h 38963"/>
                  <a:gd name="connsiteX2" fmla="*/ 36432 w 41563"/>
                  <a:gd name="connsiteY2" fmla="*/ 29080 h 38963"/>
                  <a:gd name="connsiteX3" fmla="*/ 0 w 41563"/>
                  <a:gd name="connsiteY3" fmla="*/ 33439 h 389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563" h="38963">
                    <a:moveTo>
                      <a:pt x="36172" y="0"/>
                    </a:moveTo>
                    <a:cubicBezTo>
                      <a:pt x="41571" y="7547"/>
                      <a:pt x="43393" y="16004"/>
                      <a:pt x="39425" y="24266"/>
                    </a:cubicBezTo>
                    <a:cubicBezTo>
                      <a:pt x="38644" y="25893"/>
                      <a:pt x="37603" y="27519"/>
                      <a:pt x="36432" y="29080"/>
                    </a:cubicBezTo>
                    <a:cubicBezTo>
                      <a:pt x="27584" y="40270"/>
                      <a:pt x="11190" y="42287"/>
                      <a:pt x="0" y="33439"/>
                    </a:cubicBezTo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04" name="Forma livre: Forma 103">
                <a:extLst>
                  <a:ext uri="{FF2B5EF4-FFF2-40B4-BE49-F238E27FC236}">
                    <a16:creationId xmlns:a16="http://schemas.microsoft.com/office/drawing/2014/main" id="{8FC62314-0BEE-9499-C6EA-87254A3F888F}"/>
                  </a:ext>
                </a:extLst>
              </p:cNvPr>
              <p:cNvSpPr/>
              <p:nvPr/>
            </p:nvSpPr>
            <p:spPr>
              <a:xfrm>
                <a:off x="6081487" y="1460806"/>
                <a:ext cx="34217" cy="54474"/>
              </a:xfrm>
              <a:custGeom>
                <a:avLst/>
                <a:gdLst>
                  <a:gd name="connsiteX0" fmla="*/ 21076 w 34217"/>
                  <a:gd name="connsiteY0" fmla="*/ 54475 h 54474"/>
                  <a:gd name="connsiteX1" fmla="*/ 778 w 34217"/>
                  <a:gd name="connsiteY1" fmla="*/ 21035 h 54474"/>
                  <a:gd name="connsiteX2" fmla="*/ 34217 w 34217"/>
                  <a:gd name="connsiteY2" fmla="*/ 803 h 544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4217" h="54474">
                    <a:moveTo>
                      <a:pt x="21076" y="54475"/>
                    </a:moveTo>
                    <a:cubicBezTo>
                      <a:pt x="6308" y="50832"/>
                      <a:pt x="-2800" y="35803"/>
                      <a:pt x="778" y="21035"/>
                    </a:cubicBezTo>
                    <a:cubicBezTo>
                      <a:pt x="4421" y="6267"/>
                      <a:pt x="19449" y="-2841"/>
                      <a:pt x="34217" y="803"/>
                    </a:cubicBezTo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05" name="Forma livre: Forma 104">
                <a:extLst>
                  <a:ext uri="{FF2B5EF4-FFF2-40B4-BE49-F238E27FC236}">
                    <a16:creationId xmlns:a16="http://schemas.microsoft.com/office/drawing/2014/main" id="{8CE9AAB7-9843-D7A0-0A79-3D85C86D7599}"/>
                  </a:ext>
                </a:extLst>
              </p:cNvPr>
              <p:cNvSpPr/>
              <p:nvPr/>
            </p:nvSpPr>
            <p:spPr>
              <a:xfrm>
                <a:off x="6073547" y="1527543"/>
                <a:ext cx="114760" cy="72506"/>
              </a:xfrm>
              <a:custGeom>
                <a:avLst/>
                <a:gdLst>
                  <a:gd name="connsiteX0" fmla="*/ 114760 w 114760"/>
                  <a:gd name="connsiteY0" fmla="*/ 7254 h 72506"/>
                  <a:gd name="connsiteX1" fmla="*/ 73905 w 114760"/>
                  <a:gd name="connsiteY1" fmla="*/ 8881 h 72506"/>
                  <a:gd name="connsiteX2" fmla="*/ 0 w 114760"/>
                  <a:gd name="connsiteY2" fmla="*/ 72506 h 725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14760" h="72506">
                    <a:moveTo>
                      <a:pt x="114760" y="7254"/>
                    </a:moveTo>
                    <a:cubicBezTo>
                      <a:pt x="103375" y="-2830"/>
                      <a:pt x="83989" y="-2504"/>
                      <a:pt x="73905" y="8881"/>
                    </a:cubicBezTo>
                    <a:cubicBezTo>
                      <a:pt x="73905" y="8881"/>
                      <a:pt x="31488" y="72506"/>
                      <a:pt x="0" y="72506"/>
                    </a:cubicBezTo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06" name="Forma livre: Forma 105">
                <a:extLst>
                  <a:ext uri="{FF2B5EF4-FFF2-40B4-BE49-F238E27FC236}">
                    <a16:creationId xmlns:a16="http://schemas.microsoft.com/office/drawing/2014/main" id="{226CA955-5141-1E32-09E5-2871E5D8F246}"/>
                  </a:ext>
                </a:extLst>
              </p:cNvPr>
              <p:cNvSpPr/>
              <p:nvPr/>
            </p:nvSpPr>
            <p:spPr>
              <a:xfrm>
                <a:off x="6079857" y="1646956"/>
                <a:ext cx="29405" cy="9823"/>
              </a:xfrm>
              <a:custGeom>
                <a:avLst/>
                <a:gdLst>
                  <a:gd name="connsiteX0" fmla="*/ 0 w 29405"/>
                  <a:gd name="connsiteY0" fmla="*/ 0 h 9823"/>
                  <a:gd name="connsiteX1" fmla="*/ 29406 w 29405"/>
                  <a:gd name="connsiteY1" fmla="*/ 9824 h 98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9405" h="9823">
                    <a:moveTo>
                      <a:pt x="0" y="0"/>
                    </a:moveTo>
                    <a:lnTo>
                      <a:pt x="29406" y="9824"/>
                    </a:lnTo>
                  </a:path>
                </a:pathLst>
              </a:custGeom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07" name="Forma livre: Forma 106">
                <a:extLst>
                  <a:ext uri="{FF2B5EF4-FFF2-40B4-BE49-F238E27FC236}">
                    <a16:creationId xmlns:a16="http://schemas.microsoft.com/office/drawing/2014/main" id="{0140C105-D269-4CE4-91FC-68150832A8EE}"/>
                  </a:ext>
                </a:extLst>
              </p:cNvPr>
              <p:cNvSpPr/>
              <p:nvPr/>
            </p:nvSpPr>
            <p:spPr>
              <a:xfrm>
                <a:off x="6061121" y="1545272"/>
                <a:ext cx="47166" cy="34154"/>
              </a:xfrm>
              <a:custGeom>
                <a:avLst/>
                <a:gdLst>
                  <a:gd name="connsiteX0" fmla="*/ 0 w 47166"/>
                  <a:gd name="connsiteY0" fmla="*/ 0 h 34154"/>
                  <a:gd name="connsiteX1" fmla="*/ 47166 w 47166"/>
                  <a:gd name="connsiteY1" fmla="*/ 34155 h 341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166" h="34154">
                    <a:moveTo>
                      <a:pt x="0" y="0"/>
                    </a:moveTo>
                    <a:cubicBezTo>
                      <a:pt x="0" y="0"/>
                      <a:pt x="27649" y="13011"/>
                      <a:pt x="47166" y="34155"/>
                    </a:cubicBezTo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88" name="Gráfico 32">
              <a:extLst>
                <a:ext uri="{FF2B5EF4-FFF2-40B4-BE49-F238E27FC236}">
                  <a16:creationId xmlns:a16="http://schemas.microsoft.com/office/drawing/2014/main" id="{026EDC94-827C-9AD6-F4ED-F088455BE79C}"/>
                </a:ext>
              </a:extLst>
            </p:cNvPr>
            <p:cNvGrpSpPr/>
            <p:nvPr/>
          </p:nvGrpSpPr>
          <p:grpSpPr>
            <a:xfrm>
              <a:off x="6191625" y="1599725"/>
              <a:ext cx="173767" cy="157112"/>
              <a:chOff x="6191625" y="1599725"/>
              <a:chExt cx="173767" cy="157112"/>
            </a:xfrm>
            <a:noFill/>
          </p:grpSpPr>
          <p:sp>
            <p:nvSpPr>
              <p:cNvPr id="98" name="Forma livre: Forma 97">
                <a:extLst>
                  <a:ext uri="{FF2B5EF4-FFF2-40B4-BE49-F238E27FC236}">
                    <a16:creationId xmlns:a16="http://schemas.microsoft.com/office/drawing/2014/main" id="{C0D1FBA6-6499-A4D9-0845-25120E53B34A}"/>
                  </a:ext>
                </a:extLst>
              </p:cNvPr>
              <p:cNvSpPr/>
              <p:nvPr/>
            </p:nvSpPr>
            <p:spPr>
              <a:xfrm>
                <a:off x="6310094" y="1621974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9" name="Forma livre: Forma 98">
                <a:extLst>
                  <a:ext uri="{FF2B5EF4-FFF2-40B4-BE49-F238E27FC236}">
                    <a16:creationId xmlns:a16="http://schemas.microsoft.com/office/drawing/2014/main" id="{AB269499-F2F0-E42D-50DD-DB7A6E6910EE}"/>
                  </a:ext>
                </a:extLst>
              </p:cNvPr>
              <p:cNvSpPr/>
              <p:nvPr/>
            </p:nvSpPr>
            <p:spPr>
              <a:xfrm>
                <a:off x="6191625" y="1599725"/>
                <a:ext cx="118078" cy="49898"/>
              </a:xfrm>
              <a:custGeom>
                <a:avLst/>
                <a:gdLst>
                  <a:gd name="connsiteX0" fmla="*/ 0 w 118078"/>
                  <a:gd name="connsiteY0" fmla="*/ 0 h 49898"/>
                  <a:gd name="connsiteX1" fmla="*/ 37343 w 118078"/>
                  <a:gd name="connsiteY1" fmla="*/ 0 h 49898"/>
                  <a:gd name="connsiteX2" fmla="*/ 87176 w 118078"/>
                  <a:gd name="connsiteY2" fmla="*/ 49899 h 49898"/>
                  <a:gd name="connsiteX3" fmla="*/ 118078 w 118078"/>
                  <a:gd name="connsiteY3" fmla="*/ 49899 h 49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8078" h="49898">
                    <a:moveTo>
                      <a:pt x="0" y="0"/>
                    </a:moveTo>
                    <a:lnTo>
                      <a:pt x="37343" y="0"/>
                    </a:lnTo>
                    <a:lnTo>
                      <a:pt x="87176" y="49899"/>
                    </a:lnTo>
                    <a:lnTo>
                      <a:pt x="118078" y="49899"/>
                    </a:lnTo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00" name="Forma livre: Forma 99">
                <a:extLst>
                  <a:ext uri="{FF2B5EF4-FFF2-40B4-BE49-F238E27FC236}">
                    <a16:creationId xmlns:a16="http://schemas.microsoft.com/office/drawing/2014/main" id="{EFF9BE4A-A1A4-BC5C-F992-6B2772EC94AC}"/>
                  </a:ext>
                </a:extLst>
              </p:cNvPr>
              <p:cNvSpPr/>
              <p:nvPr/>
            </p:nvSpPr>
            <p:spPr>
              <a:xfrm>
                <a:off x="6191625" y="1665367"/>
                <a:ext cx="81906" cy="44108"/>
              </a:xfrm>
              <a:custGeom>
                <a:avLst/>
                <a:gdLst>
                  <a:gd name="connsiteX0" fmla="*/ 0 w 81906"/>
                  <a:gd name="connsiteY0" fmla="*/ 0 h 44108"/>
                  <a:gd name="connsiteX1" fmla="*/ 37343 w 81906"/>
                  <a:gd name="connsiteY1" fmla="*/ 0 h 44108"/>
                  <a:gd name="connsiteX2" fmla="*/ 81907 w 81906"/>
                  <a:gd name="connsiteY2" fmla="*/ 44109 h 441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1906" h="44108">
                    <a:moveTo>
                      <a:pt x="0" y="0"/>
                    </a:moveTo>
                    <a:lnTo>
                      <a:pt x="37343" y="0"/>
                    </a:lnTo>
                    <a:lnTo>
                      <a:pt x="81907" y="44109"/>
                    </a:lnTo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01" name="Forma livre: Forma 100">
                <a:extLst>
                  <a:ext uri="{FF2B5EF4-FFF2-40B4-BE49-F238E27FC236}">
                    <a16:creationId xmlns:a16="http://schemas.microsoft.com/office/drawing/2014/main" id="{3165E7FC-7D1B-8F6D-2AFF-BA030DF582D4}"/>
                  </a:ext>
                </a:extLst>
              </p:cNvPr>
              <p:cNvSpPr/>
              <p:nvPr/>
            </p:nvSpPr>
            <p:spPr>
              <a:xfrm>
                <a:off x="6265075" y="1701539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89" name="Gráfico 32">
              <a:extLst>
                <a:ext uri="{FF2B5EF4-FFF2-40B4-BE49-F238E27FC236}">
                  <a16:creationId xmlns:a16="http://schemas.microsoft.com/office/drawing/2014/main" id="{3EB61918-73C0-90ED-91B9-145F9A63EF15}"/>
                </a:ext>
              </a:extLst>
            </p:cNvPr>
            <p:cNvGrpSpPr/>
            <p:nvPr/>
          </p:nvGrpSpPr>
          <p:grpSpPr>
            <a:xfrm>
              <a:off x="6191625" y="1357908"/>
              <a:ext cx="173767" cy="157112"/>
              <a:chOff x="6191625" y="1357908"/>
              <a:chExt cx="173767" cy="157112"/>
            </a:xfrm>
            <a:noFill/>
          </p:grpSpPr>
          <p:sp>
            <p:nvSpPr>
              <p:cNvPr id="94" name="Forma livre: Forma 93">
                <a:extLst>
                  <a:ext uri="{FF2B5EF4-FFF2-40B4-BE49-F238E27FC236}">
                    <a16:creationId xmlns:a16="http://schemas.microsoft.com/office/drawing/2014/main" id="{22378221-F51E-0F06-BF14-7F20306CEC82}"/>
                  </a:ext>
                </a:extLst>
              </p:cNvPr>
              <p:cNvSpPr/>
              <p:nvPr/>
            </p:nvSpPr>
            <p:spPr>
              <a:xfrm>
                <a:off x="6310094" y="1437472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0 h 55298"/>
                  <a:gd name="connsiteX2" fmla="*/ 0 w 55298"/>
                  <a:gd name="connsiteY2" fmla="*/ 27649 h 55298"/>
                  <a:gd name="connsiteX3" fmla="*/ 27649 w 55298"/>
                  <a:gd name="connsiteY3" fmla="*/ 55298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12361"/>
                      <a:pt x="42938" y="0"/>
                      <a:pt x="27649" y="0"/>
                    </a:cubicBezTo>
                    <a:cubicBezTo>
                      <a:pt x="12361" y="0"/>
                      <a:pt x="0" y="12361"/>
                      <a:pt x="0" y="27649"/>
                    </a:cubicBezTo>
                    <a:cubicBezTo>
                      <a:pt x="0" y="42938"/>
                      <a:pt x="12361" y="55298"/>
                      <a:pt x="27649" y="55298"/>
                    </a:cubicBezTo>
                    <a:cubicBezTo>
                      <a:pt x="42938" y="55298"/>
                      <a:pt x="55298" y="42938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5" name="Forma livre: Forma 94">
                <a:extLst>
                  <a:ext uri="{FF2B5EF4-FFF2-40B4-BE49-F238E27FC236}">
                    <a16:creationId xmlns:a16="http://schemas.microsoft.com/office/drawing/2014/main" id="{2FCA5A57-BAA0-18B0-149A-588C4609332E}"/>
                  </a:ext>
                </a:extLst>
              </p:cNvPr>
              <p:cNvSpPr/>
              <p:nvPr/>
            </p:nvSpPr>
            <p:spPr>
              <a:xfrm>
                <a:off x="6191625" y="1465122"/>
                <a:ext cx="118468" cy="49898"/>
              </a:xfrm>
              <a:custGeom>
                <a:avLst/>
                <a:gdLst>
                  <a:gd name="connsiteX0" fmla="*/ 0 w 118468"/>
                  <a:gd name="connsiteY0" fmla="*/ 49899 h 49898"/>
                  <a:gd name="connsiteX1" fmla="*/ 37343 w 118468"/>
                  <a:gd name="connsiteY1" fmla="*/ 49899 h 49898"/>
                  <a:gd name="connsiteX2" fmla="*/ 87176 w 118468"/>
                  <a:gd name="connsiteY2" fmla="*/ 0 h 49898"/>
                  <a:gd name="connsiteX3" fmla="*/ 118469 w 118468"/>
                  <a:gd name="connsiteY3" fmla="*/ 0 h 49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8468" h="49898">
                    <a:moveTo>
                      <a:pt x="0" y="49899"/>
                    </a:moveTo>
                    <a:lnTo>
                      <a:pt x="37343" y="49899"/>
                    </a:lnTo>
                    <a:lnTo>
                      <a:pt x="87176" y="0"/>
                    </a:lnTo>
                    <a:lnTo>
                      <a:pt x="118469" y="0"/>
                    </a:lnTo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6" name="Forma livre: Forma 95">
                <a:extLst>
                  <a:ext uri="{FF2B5EF4-FFF2-40B4-BE49-F238E27FC236}">
                    <a16:creationId xmlns:a16="http://schemas.microsoft.com/office/drawing/2014/main" id="{FAC0420E-4156-B18C-4391-5963FE302578}"/>
                  </a:ext>
                </a:extLst>
              </p:cNvPr>
              <p:cNvSpPr/>
              <p:nvPr/>
            </p:nvSpPr>
            <p:spPr>
              <a:xfrm>
                <a:off x="6191625" y="1405269"/>
                <a:ext cx="81451" cy="44043"/>
              </a:xfrm>
              <a:custGeom>
                <a:avLst/>
                <a:gdLst>
                  <a:gd name="connsiteX0" fmla="*/ 0 w 81451"/>
                  <a:gd name="connsiteY0" fmla="*/ 44044 h 44043"/>
                  <a:gd name="connsiteX1" fmla="*/ 37343 w 81451"/>
                  <a:gd name="connsiteY1" fmla="*/ 44044 h 44043"/>
                  <a:gd name="connsiteX2" fmla="*/ 81451 w 81451"/>
                  <a:gd name="connsiteY2" fmla="*/ 0 h 440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1451" h="44043">
                    <a:moveTo>
                      <a:pt x="0" y="44044"/>
                    </a:moveTo>
                    <a:lnTo>
                      <a:pt x="37343" y="44044"/>
                    </a:lnTo>
                    <a:lnTo>
                      <a:pt x="81451" y="0"/>
                    </a:lnTo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7" name="Forma livre: Forma 96">
                <a:extLst>
                  <a:ext uri="{FF2B5EF4-FFF2-40B4-BE49-F238E27FC236}">
                    <a16:creationId xmlns:a16="http://schemas.microsoft.com/office/drawing/2014/main" id="{FD386C08-BD79-182B-5525-A27FD3AE56C5}"/>
                  </a:ext>
                </a:extLst>
              </p:cNvPr>
              <p:cNvSpPr/>
              <p:nvPr/>
            </p:nvSpPr>
            <p:spPr>
              <a:xfrm>
                <a:off x="6265075" y="1357908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0 h 55298"/>
                  <a:gd name="connsiteX2" fmla="*/ 0 w 55298"/>
                  <a:gd name="connsiteY2" fmla="*/ 27649 h 55298"/>
                  <a:gd name="connsiteX3" fmla="*/ 27649 w 55298"/>
                  <a:gd name="connsiteY3" fmla="*/ 55298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12361"/>
                      <a:pt x="42938" y="0"/>
                      <a:pt x="27649" y="0"/>
                    </a:cubicBezTo>
                    <a:cubicBezTo>
                      <a:pt x="12361" y="0"/>
                      <a:pt x="0" y="12361"/>
                      <a:pt x="0" y="27649"/>
                    </a:cubicBezTo>
                    <a:cubicBezTo>
                      <a:pt x="0" y="42938"/>
                      <a:pt x="12361" y="55298"/>
                      <a:pt x="27649" y="55298"/>
                    </a:cubicBezTo>
                    <a:cubicBezTo>
                      <a:pt x="42938" y="55298"/>
                      <a:pt x="55298" y="42938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90" name="Gráfico 32">
              <a:extLst>
                <a:ext uri="{FF2B5EF4-FFF2-40B4-BE49-F238E27FC236}">
                  <a16:creationId xmlns:a16="http://schemas.microsoft.com/office/drawing/2014/main" id="{2C0BE4AD-A13C-6A04-F0E2-46A6F827B17E}"/>
                </a:ext>
              </a:extLst>
            </p:cNvPr>
            <p:cNvGrpSpPr/>
            <p:nvPr/>
          </p:nvGrpSpPr>
          <p:grpSpPr>
            <a:xfrm>
              <a:off x="6190910" y="1529723"/>
              <a:ext cx="123673" cy="55298"/>
              <a:chOff x="6190910" y="1529723"/>
              <a:chExt cx="123673" cy="55298"/>
            </a:xfrm>
            <a:noFill/>
          </p:grpSpPr>
          <p:sp>
            <p:nvSpPr>
              <p:cNvPr id="92" name="Forma livre: Forma 91">
                <a:extLst>
                  <a:ext uri="{FF2B5EF4-FFF2-40B4-BE49-F238E27FC236}">
                    <a16:creationId xmlns:a16="http://schemas.microsoft.com/office/drawing/2014/main" id="{36B393DD-D692-A5B5-7C43-CB1E6E1A37EB}"/>
                  </a:ext>
                </a:extLst>
              </p:cNvPr>
              <p:cNvSpPr/>
              <p:nvPr/>
            </p:nvSpPr>
            <p:spPr>
              <a:xfrm>
                <a:off x="6190910" y="1557372"/>
                <a:ext cx="68765" cy="6505"/>
              </a:xfrm>
              <a:custGeom>
                <a:avLst/>
                <a:gdLst>
                  <a:gd name="connsiteX0" fmla="*/ 0 w 68765"/>
                  <a:gd name="connsiteY0" fmla="*/ 0 h 6505"/>
                  <a:gd name="connsiteX1" fmla="*/ 68765 w 68765"/>
                  <a:gd name="connsiteY1" fmla="*/ 0 h 65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8765" h="6505">
                    <a:moveTo>
                      <a:pt x="0" y="0"/>
                    </a:moveTo>
                    <a:lnTo>
                      <a:pt x="68765" y="0"/>
                    </a:lnTo>
                  </a:path>
                </a:pathLst>
              </a:custGeom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3" name="Forma livre: Forma 92">
                <a:extLst>
                  <a:ext uri="{FF2B5EF4-FFF2-40B4-BE49-F238E27FC236}">
                    <a16:creationId xmlns:a16="http://schemas.microsoft.com/office/drawing/2014/main" id="{ED40336B-774F-A008-81CB-65C729633612}"/>
                  </a:ext>
                </a:extLst>
              </p:cNvPr>
              <p:cNvSpPr/>
              <p:nvPr/>
            </p:nvSpPr>
            <p:spPr>
              <a:xfrm>
                <a:off x="6259285" y="1529723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91" name="Forma livre: Forma 90">
              <a:extLst>
                <a:ext uri="{FF2B5EF4-FFF2-40B4-BE49-F238E27FC236}">
                  <a16:creationId xmlns:a16="http://schemas.microsoft.com/office/drawing/2014/main" id="{9C5FFC8E-1093-C53E-14C6-36A298E4A538}"/>
                </a:ext>
              </a:extLst>
            </p:cNvPr>
            <p:cNvSpPr/>
            <p:nvPr/>
          </p:nvSpPr>
          <p:spPr>
            <a:xfrm>
              <a:off x="6152201" y="1686285"/>
              <a:ext cx="37362" cy="20848"/>
            </a:xfrm>
            <a:custGeom>
              <a:avLst/>
              <a:gdLst>
                <a:gd name="connsiteX0" fmla="*/ 0 w 37362"/>
                <a:gd name="connsiteY0" fmla="*/ 10505 h 20848"/>
                <a:gd name="connsiteX1" fmla="*/ 27064 w 37362"/>
                <a:gd name="connsiteY1" fmla="*/ 2373 h 20848"/>
                <a:gd name="connsiteX2" fmla="*/ 37343 w 37362"/>
                <a:gd name="connsiteY2" fmla="*/ 20849 h 20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7362" h="20848">
                  <a:moveTo>
                    <a:pt x="0" y="10505"/>
                  </a:moveTo>
                  <a:cubicBezTo>
                    <a:pt x="5205" y="811"/>
                    <a:pt x="17435" y="-2832"/>
                    <a:pt x="27064" y="2373"/>
                  </a:cubicBezTo>
                  <a:cubicBezTo>
                    <a:pt x="34025" y="6081"/>
                    <a:pt x="37668" y="13432"/>
                    <a:pt x="37343" y="20849"/>
                  </a:cubicBezTo>
                </a:path>
              </a:pathLst>
            </a:custGeom>
            <a:noFill/>
            <a:ln w="19050" cap="sq">
              <a:solidFill>
                <a:schemeClr val="tx1"/>
              </a:solidFill>
              <a:prstDash val="solid"/>
              <a:miter lim="800000"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08" name="Agrupar 107">
            <a:extLst>
              <a:ext uri="{FF2B5EF4-FFF2-40B4-BE49-F238E27FC236}">
                <a16:creationId xmlns:a16="http://schemas.microsoft.com/office/drawing/2014/main" id="{7005CBC3-6A9F-1717-2C76-FFA3D44F10F5}"/>
              </a:ext>
            </a:extLst>
          </p:cNvPr>
          <p:cNvGrpSpPr/>
          <p:nvPr/>
        </p:nvGrpSpPr>
        <p:grpSpPr>
          <a:xfrm>
            <a:off x="10331388" y="755825"/>
            <a:ext cx="461846" cy="504363"/>
            <a:chOff x="6000092" y="1357908"/>
            <a:chExt cx="365300" cy="398929"/>
          </a:xfrm>
        </p:grpSpPr>
        <p:sp>
          <p:nvSpPr>
            <p:cNvPr id="109" name="Forma livre: Forma 108">
              <a:extLst>
                <a:ext uri="{FF2B5EF4-FFF2-40B4-BE49-F238E27FC236}">
                  <a16:creationId xmlns:a16="http://schemas.microsoft.com/office/drawing/2014/main" id="{036A3273-4C85-B1DA-B17B-012FE64B8881}"/>
                </a:ext>
              </a:extLst>
            </p:cNvPr>
            <p:cNvSpPr/>
            <p:nvPr/>
          </p:nvSpPr>
          <p:spPr>
            <a:xfrm>
              <a:off x="6000092" y="1418606"/>
              <a:ext cx="84058" cy="286120"/>
            </a:xfrm>
            <a:custGeom>
              <a:avLst/>
              <a:gdLst>
                <a:gd name="connsiteX0" fmla="*/ 51595 w 84058"/>
                <a:gd name="connsiteY0" fmla="*/ 0 h 286120"/>
                <a:gd name="connsiteX1" fmla="*/ 35266 w 84058"/>
                <a:gd name="connsiteY1" fmla="*/ 61674 h 286120"/>
                <a:gd name="connsiteX2" fmla="*/ 28760 w 84058"/>
                <a:gd name="connsiteY2" fmla="*/ 193415 h 286120"/>
                <a:gd name="connsiteX3" fmla="*/ 84059 w 84058"/>
                <a:gd name="connsiteY3" fmla="*/ 286121 h 2861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4058" h="286120">
                  <a:moveTo>
                    <a:pt x="51595" y="0"/>
                  </a:moveTo>
                  <a:cubicBezTo>
                    <a:pt x="37868" y="7872"/>
                    <a:pt x="26028" y="24852"/>
                    <a:pt x="35266" y="61674"/>
                  </a:cubicBezTo>
                  <a:cubicBezTo>
                    <a:pt x="35266" y="61674"/>
                    <a:pt x="-39549" y="126731"/>
                    <a:pt x="28760" y="193415"/>
                  </a:cubicBezTo>
                  <a:cubicBezTo>
                    <a:pt x="28760" y="193415"/>
                    <a:pt x="9243" y="281242"/>
                    <a:pt x="84059" y="286121"/>
                  </a:cubicBezTo>
                </a:path>
              </a:pathLst>
            </a:custGeom>
            <a:noFill/>
            <a:ln w="19050" cap="sq">
              <a:solidFill>
                <a:schemeClr val="tx1"/>
              </a:solidFill>
              <a:prstDash val="solid"/>
              <a:miter lim="800000"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10" name="Gráfico 32">
              <a:extLst>
                <a:ext uri="{FF2B5EF4-FFF2-40B4-BE49-F238E27FC236}">
                  <a16:creationId xmlns:a16="http://schemas.microsoft.com/office/drawing/2014/main" id="{6119EDAF-16AF-1F57-E4DA-A724588F87EA}"/>
                </a:ext>
              </a:extLst>
            </p:cNvPr>
            <p:cNvGrpSpPr/>
            <p:nvPr/>
          </p:nvGrpSpPr>
          <p:grpSpPr>
            <a:xfrm>
              <a:off x="6061121" y="1359924"/>
              <a:ext cx="128487" cy="396366"/>
              <a:chOff x="6061121" y="1359924"/>
              <a:chExt cx="128487" cy="396366"/>
            </a:xfrm>
            <a:noFill/>
          </p:grpSpPr>
          <p:sp>
            <p:nvSpPr>
              <p:cNvPr id="125" name="Forma livre: Forma 124">
                <a:extLst>
                  <a:ext uri="{FF2B5EF4-FFF2-40B4-BE49-F238E27FC236}">
                    <a16:creationId xmlns:a16="http://schemas.microsoft.com/office/drawing/2014/main" id="{4FE203D9-B250-CD01-6792-EC8E5B6AA3FD}"/>
                  </a:ext>
                </a:extLst>
              </p:cNvPr>
              <p:cNvSpPr/>
              <p:nvPr/>
            </p:nvSpPr>
            <p:spPr>
              <a:xfrm>
                <a:off x="6083891" y="1359924"/>
                <a:ext cx="105717" cy="396366"/>
              </a:xfrm>
              <a:custGeom>
                <a:avLst/>
                <a:gdLst>
                  <a:gd name="connsiteX0" fmla="*/ 52891 w 105717"/>
                  <a:gd name="connsiteY0" fmla="*/ 105718 h 396366"/>
                  <a:gd name="connsiteX1" fmla="*/ 0 w 105717"/>
                  <a:gd name="connsiteY1" fmla="*/ 52891 h 396366"/>
                  <a:gd name="connsiteX2" fmla="*/ 52891 w 105717"/>
                  <a:gd name="connsiteY2" fmla="*/ 0 h 396366"/>
                  <a:gd name="connsiteX3" fmla="*/ 105718 w 105717"/>
                  <a:gd name="connsiteY3" fmla="*/ 52826 h 396366"/>
                  <a:gd name="connsiteX4" fmla="*/ 105718 w 105717"/>
                  <a:gd name="connsiteY4" fmla="*/ 346884 h 396366"/>
                  <a:gd name="connsiteX5" fmla="*/ 80606 w 105717"/>
                  <a:gd name="connsiteY5" fmla="*/ 388911 h 396366"/>
                  <a:gd name="connsiteX6" fmla="*/ 9238 w 105717"/>
                  <a:gd name="connsiteY6" fmla="*/ 371150 h 396366"/>
                  <a:gd name="connsiteX7" fmla="*/ 15484 w 105717"/>
                  <a:gd name="connsiteY7" fmla="*/ 309216 h 396366"/>
                  <a:gd name="connsiteX8" fmla="*/ 45019 w 105717"/>
                  <a:gd name="connsiteY8" fmla="*/ 277078 h 3963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05717" h="396366">
                    <a:moveTo>
                      <a:pt x="52891" y="105718"/>
                    </a:moveTo>
                    <a:cubicBezTo>
                      <a:pt x="23681" y="105718"/>
                      <a:pt x="0" y="82037"/>
                      <a:pt x="0" y="52891"/>
                    </a:cubicBezTo>
                    <a:cubicBezTo>
                      <a:pt x="0" y="23746"/>
                      <a:pt x="23681" y="0"/>
                      <a:pt x="52891" y="0"/>
                    </a:cubicBezTo>
                    <a:cubicBezTo>
                      <a:pt x="82102" y="0"/>
                      <a:pt x="105718" y="23681"/>
                      <a:pt x="105718" y="52826"/>
                    </a:cubicBezTo>
                    <a:lnTo>
                      <a:pt x="105718" y="346884"/>
                    </a:lnTo>
                    <a:cubicBezTo>
                      <a:pt x="105718" y="364580"/>
                      <a:pt x="96414" y="379413"/>
                      <a:pt x="80606" y="388911"/>
                    </a:cubicBezTo>
                    <a:cubicBezTo>
                      <a:pt x="55949" y="403744"/>
                      <a:pt x="24006" y="395742"/>
                      <a:pt x="9238" y="371150"/>
                    </a:cubicBezTo>
                    <a:cubicBezTo>
                      <a:pt x="-2928" y="350918"/>
                      <a:pt x="260" y="325741"/>
                      <a:pt x="15484" y="309216"/>
                    </a:cubicBezTo>
                    <a:lnTo>
                      <a:pt x="45019" y="277078"/>
                    </a:lnTo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6" name="Forma livre: Forma 125">
                <a:extLst>
                  <a:ext uri="{FF2B5EF4-FFF2-40B4-BE49-F238E27FC236}">
                    <a16:creationId xmlns:a16="http://schemas.microsoft.com/office/drawing/2014/main" id="{F518085D-704C-FEF1-6800-64E16F5ADAD0}"/>
                  </a:ext>
                </a:extLst>
              </p:cNvPr>
              <p:cNvSpPr/>
              <p:nvPr/>
            </p:nvSpPr>
            <p:spPr>
              <a:xfrm>
                <a:off x="6144784" y="1383865"/>
                <a:ext cx="41563" cy="38963"/>
              </a:xfrm>
              <a:custGeom>
                <a:avLst/>
                <a:gdLst>
                  <a:gd name="connsiteX0" fmla="*/ 36172 w 41563"/>
                  <a:gd name="connsiteY0" fmla="*/ 0 h 38963"/>
                  <a:gd name="connsiteX1" fmla="*/ 39425 w 41563"/>
                  <a:gd name="connsiteY1" fmla="*/ 24266 h 38963"/>
                  <a:gd name="connsiteX2" fmla="*/ 36432 w 41563"/>
                  <a:gd name="connsiteY2" fmla="*/ 29080 h 38963"/>
                  <a:gd name="connsiteX3" fmla="*/ 0 w 41563"/>
                  <a:gd name="connsiteY3" fmla="*/ 33439 h 389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563" h="38963">
                    <a:moveTo>
                      <a:pt x="36172" y="0"/>
                    </a:moveTo>
                    <a:cubicBezTo>
                      <a:pt x="41571" y="7547"/>
                      <a:pt x="43393" y="16004"/>
                      <a:pt x="39425" y="24266"/>
                    </a:cubicBezTo>
                    <a:cubicBezTo>
                      <a:pt x="38644" y="25893"/>
                      <a:pt x="37603" y="27519"/>
                      <a:pt x="36432" y="29080"/>
                    </a:cubicBezTo>
                    <a:cubicBezTo>
                      <a:pt x="27584" y="40270"/>
                      <a:pt x="11190" y="42287"/>
                      <a:pt x="0" y="33439"/>
                    </a:cubicBezTo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7" name="Forma livre: Forma 126">
                <a:extLst>
                  <a:ext uri="{FF2B5EF4-FFF2-40B4-BE49-F238E27FC236}">
                    <a16:creationId xmlns:a16="http://schemas.microsoft.com/office/drawing/2014/main" id="{313C083F-F27C-C55E-A92B-1366F96D2193}"/>
                  </a:ext>
                </a:extLst>
              </p:cNvPr>
              <p:cNvSpPr/>
              <p:nvPr/>
            </p:nvSpPr>
            <p:spPr>
              <a:xfrm>
                <a:off x="6081487" y="1460806"/>
                <a:ext cx="34217" cy="54474"/>
              </a:xfrm>
              <a:custGeom>
                <a:avLst/>
                <a:gdLst>
                  <a:gd name="connsiteX0" fmla="*/ 21076 w 34217"/>
                  <a:gd name="connsiteY0" fmla="*/ 54475 h 54474"/>
                  <a:gd name="connsiteX1" fmla="*/ 778 w 34217"/>
                  <a:gd name="connsiteY1" fmla="*/ 21035 h 54474"/>
                  <a:gd name="connsiteX2" fmla="*/ 34217 w 34217"/>
                  <a:gd name="connsiteY2" fmla="*/ 803 h 544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4217" h="54474">
                    <a:moveTo>
                      <a:pt x="21076" y="54475"/>
                    </a:moveTo>
                    <a:cubicBezTo>
                      <a:pt x="6308" y="50832"/>
                      <a:pt x="-2800" y="35803"/>
                      <a:pt x="778" y="21035"/>
                    </a:cubicBezTo>
                    <a:cubicBezTo>
                      <a:pt x="4421" y="6267"/>
                      <a:pt x="19449" y="-2841"/>
                      <a:pt x="34217" y="803"/>
                    </a:cubicBezTo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8" name="Forma livre: Forma 127">
                <a:extLst>
                  <a:ext uri="{FF2B5EF4-FFF2-40B4-BE49-F238E27FC236}">
                    <a16:creationId xmlns:a16="http://schemas.microsoft.com/office/drawing/2014/main" id="{85DBE88D-B662-0F5F-8B0A-A2EEA03E1BF7}"/>
                  </a:ext>
                </a:extLst>
              </p:cNvPr>
              <p:cNvSpPr/>
              <p:nvPr/>
            </p:nvSpPr>
            <p:spPr>
              <a:xfrm>
                <a:off x="6073547" y="1527543"/>
                <a:ext cx="114760" cy="72506"/>
              </a:xfrm>
              <a:custGeom>
                <a:avLst/>
                <a:gdLst>
                  <a:gd name="connsiteX0" fmla="*/ 114760 w 114760"/>
                  <a:gd name="connsiteY0" fmla="*/ 7254 h 72506"/>
                  <a:gd name="connsiteX1" fmla="*/ 73905 w 114760"/>
                  <a:gd name="connsiteY1" fmla="*/ 8881 h 72506"/>
                  <a:gd name="connsiteX2" fmla="*/ 0 w 114760"/>
                  <a:gd name="connsiteY2" fmla="*/ 72506 h 725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14760" h="72506">
                    <a:moveTo>
                      <a:pt x="114760" y="7254"/>
                    </a:moveTo>
                    <a:cubicBezTo>
                      <a:pt x="103375" y="-2830"/>
                      <a:pt x="83989" y="-2504"/>
                      <a:pt x="73905" y="8881"/>
                    </a:cubicBezTo>
                    <a:cubicBezTo>
                      <a:pt x="73905" y="8881"/>
                      <a:pt x="31488" y="72506"/>
                      <a:pt x="0" y="72506"/>
                    </a:cubicBezTo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9" name="Forma livre: Forma 128">
                <a:extLst>
                  <a:ext uri="{FF2B5EF4-FFF2-40B4-BE49-F238E27FC236}">
                    <a16:creationId xmlns:a16="http://schemas.microsoft.com/office/drawing/2014/main" id="{91EB8079-8C1C-FD33-48B0-69988A212829}"/>
                  </a:ext>
                </a:extLst>
              </p:cNvPr>
              <p:cNvSpPr/>
              <p:nvPr/>
            </p:nvSpPr>
            <p:spPr>
              <a:xfrm>
                <a:off x="6079857" y="1646956"/>
                <a:ext cx="29405" cy="9823"/>
              </a:xfrm>
              <a:custGeom>
                <a:avLst/>
                <a:gdLst>
                  <a:gd name="connsiteX0" fmla="*/ 0 w 29405"/>
                  <a:gd name="connsiteY0" fmla="*/ 0 h 9823"/>
                  <a:gd name="connsiteX1" fmla="*/ 29406 w 29405"/>
                  <a:gd name="connsiteY1" fmla="*/ 9824 h 98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9405" h="9823">
                    <a:moveTo>
                      <a:pt x="0" y="0"/>
                    </a:moveTo>
                    <a:lnTo>
                      <a:pt x="29406" y="9824"/>
                    </a:lnTo>
                  </a:path>
                </a:pathLst>
              </a:custGeom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30" name="Forma livre: Forma 129">
                <a:extLst>
                  <a:ext uri="{FF2B5EF4-FFF2-40B4-BE49-F238E27FC236}">
                    <a16:creationId xmlns:a16="http://schemas.microsoft.com/office/drawing/2014/main" id="{3B858745-3577-79AC-1CED-8B1F92255321}"/>
                  </a:ext>
                </a:extLst>
              </p:cNvPr>
              <p:cNvSpPr/>
              <p:nvPr/>
            </p:nvSpPr>
            <p:spPr>
              <a:xfrm>
                <a:off x="6061121" y="1545272"/>
                <a:ext cx="47166" cy="34154"/>
              </a:xfrm>
              <a:custGeom>
                <a:avLst/>
                <a:gdLst>
                  <a:gd name="connsiteX0" fmla="*/ 0 w 47166"/>
                  <a:gd name="connsiteY0" fmla="*/ 0 h 34154"/>
                  <a:gd name="connsiteX1" fmla="*/ 47166 w 47166"/>
                  <a:gd name="connsiteY1" fmla="*/ 34155 h 341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166" h="34154">
                    <a:moveTo>
                      <a:pt x="0" y="0"/>
                    </a:moveTo>
                    <a:cubicBezTo>
                      <a:pt x="0" y="0"/>
                      <a:pt x="27649" y="13011"/>
                      <a:pt x="47166" y="34155"/>
                    </a:cubicBezTo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11" name="Gráfico 32">
              <a:extLst>
                <a:ext uri="{FF2B5EF4-FFF2-40B4-BE49-F238E27FC236}">
                  <a16:creationId xmlns:a16="http://schemas.microsoft.com/office/drawing/2014/main" id="{8BD706B8-C3C1-803D-A005-D69ED80D9F8A}"/>
                </a:ext>
              </a:extLst>
            </p:cNvPr>
            <p:cNvGrpSpPr/>
            <p:nvPr/>
          </p:nvGrpSpPr>
          <p:grpSpPr>
            <a:xfrm>
              <a:off x="6191625" y="1599725"/>
              <a:ext cx="173767" cy="157112"/>
              <a:chOff x="6191625" y="1599725"/>
              <a:chExt cx="173767" cy="157112"/>
            </a:xfrm>
            <a:noFill/>
          </p:grpSpPr>
          <p:sp>
            <p:nvSpPr>
              <p:cNvPr id="121" name="Forma livre: Forma 120">
                <a:extLst>
                  <a:ext uri="{FF2B5EF4-FFF2-40B4-BE49-F238E27FC236}">
                    <a16:creationId xmlns:a16="http://schemas.microsoft.com/office/drawing/2014/main" id="{20DD7598-507A-597E-4BB5-3239996D186C}"/>
                  </a:ext>
                </a:extLst>
              </p:cNvPr>
              <p:cNvSpPr/>
              <p:nvPr/>
            </p:nvSpPr>
            <p:spPr>
              <a:xfrm>
                <a:off x="6310094" y="1621974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2" name="Forma livre: Forma 121">
                <a:extLst>
                  <a:ext uri="{FF2B5EF4-FFF2-40B4-BE49-F238E27FC236}">
                    <a16:creationId xmlns:a16="http://schemas.microsoft.com/office/drawing/2014/main" id="{08165812-A01F-9B22-C345-772DBD7EFCCA}"/>
                  </a:ext>
                </a:extLst>
              </p:cNvPr>
              <p:cNvSpPr/>
              <p:nvPr/>
            </p:nvSpPr>
            <p:spPr>
              <a:xfrm>
                <a:off x="6191625" y="1599725"/>
                <a:ext cx="118078" cy="49898"/>
              </a:xfrm>
              <a:custGeom>
                <a:avLst/>
                <a:gdLst>
                  <a:gd name="connsiteX0" fmla="*/ 0 w 118078"/>
                  <a:gd name="connsiteY0" fmla="*/ 0 h 49898"/>
                  <a:gd name="connsiteX1" fmla="*/ 37343 w 118078"/>
                  <a:gd name="connsiteY1" fmla="*/ 0 h 49898"/>
                  <a:gd name="connsiteX2" fmla="*/ 87176 w 118078"/>
                  <a:gd name="connsiteY2" fmla="*/ 49899 h 49898"/>
                  <a:gd name="connsiteX3" fmla="*/ 118078 w 118078"/>
                  <a:gd name="connsiteY3" fmla="*/ 49899 h 49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8078" h="49898">
                    <a:moveTo>
                      <a:pt x="0" y="0"/>
                    </a:moveTo>
                    <a:lnTo>
                      <a:pt x="37343" y="0"/>
                    </a:lnTo>
                    <a:lnTo>
                      <a:pt x="87176" y="49899"/>
                    </a:lnTo>
                    <a:lnTo>
                      <a:pt x="118078" y="49899"/>
                    </a:lnTo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3" name="Forma livre: Forma 122">
                <a:extLst>
                  <a:ext uri="{FF2B5EF4-FFF2-40B4-BE49-F238E27FC236}">
                    <a16:creationId xmlns:a16="http://schemas.microsoft.com/office/drawing/2014/main" id="{E0AA0E4D-C160-C1DA-8CAA-58F430BD9605}"/>
                  </a:ext>
                </a:extLst>
              </p:cNvPr>
              <p:cNvSpPr/>
              <p:nvPr/>
            </p:nvSpPr>
            <p:spPr>
              <a:xfrm>
                <a:off x="6191625" y="1665367"/>
                <a:ext cx="81906" cy="44108"/>
              </a:xfrm>
              <a:custGeom>
                <a:avLst/>
                <a:gdLst>
                  <a:gd name="connsiteX0" fmla="*/ 0 w 81906"/>
                  <a:gd name="connsiteY0" fmla="*/ 0 h 44108"/>
                  <a:gd name="connsiteX1" fmla="*/ 37343 w 81906"/>
                  <a:gd name="connsiteY1" fmla="*/ 0 h 44108"/>
                  <a:gd name="connsiteX2" fmla="*/ 81907 w 81906"/>
                  <a:gd name="connsiteY2" fmla="*/ 44109 h 441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1906" h="44108">
                    <a:moveTo>
                      <a:pt x="0" y="0"/>
                    </a:moveTo>
                    <a:lnTo>
                      <a:pt x="37343" y="0"/>
                    </a:lnTo>
                    <a:lnTo>
                      <a:pt x="81907" y="44109"/>
                    </a:lnTo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4" name="Forma livre: Forma 123">
                <a:extLst>
                  <a:ext uri="{FF2B5EF4-FFF2-40B4-BE49-F238E27FC236}">
                    <a16:creationId xmlns:a16="http://schemas.microsoft.com/office/drawing/2014/main" id="{829719DF-4DC1-D614-3FD2-B1D1C86D99FA}"/>
                  </a:ext>
                </a:extLst>
              </p:cNvPr>
              <p:cNvSpPr/>
              <p:nvPr/>
            </p:nvSpPr>
            <p:spPr>
              <a:xfrm>
                <a:off x="6265075" y="1701539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12" name="Gráfico 32">
              <a:extLst>
                <a:ext uri="{FF2B5EF4-FFF2-40B4-BE49-F238E27FC236}">
                  <a16:creationId xmlns:a16="http://schemas.microsoft.com/office/drawing/2014/main" id="{4F2226B7-4898-6FB8-6F59-3CF3E8E236E1}"/>
                </a:ext>
              </a:extLst>
            </p:cNvPr>
            <p:cNvGrpSpPr/>
            <p:nvPr/>
          </p:nvGrpSpPr>
          <p:grpSpPr>
            <a:xfrm>
              <a:off x="6191625" y="1357908"/>
              <a:ext cx="173767" cy="157112"/>
              <a:chOff x="6191625" y="1357908"/>
              <a:chExt cx="173767" cy="157112"/>
            </a:xfrm>
            <a:noFill/>
          </p:grpSpPr>
          <p:sp>
            <p:nvSpPr>
              <p:cNvPr id="117" name="Forma livre: Forma 116">
                <a:extLst>
                  <a:ext uri="{FF2B5EF4-FFF2-40B4-BE49-F238E27FC236}">
                    <a16:creationId xmlns:a16="http://schemas.microsoft.com/office/drawing/2014/main" id="{EA4C886F-9488-DC4C-191D-BD29FCB17C02}"/>
                  </a:ext>
                </a:extLst>
              </p:cNvPr>
              <p:cNvSpPr/>
              <p:nvPr/>
            </p:nvSpPr>
            <p:spPr>
              <a:xfrm>
                <a:off x="6310094" y="1437472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0 h 55298"/>
                  <a:gd name="connsiteX2" fmla="*/ 0 w 55298"/>
                  <a:gd name="connsiteY2" fmla="*/ 27649 h 55298"/>
                  <a:gd name="connsiteX3" fmla="*/ 27649 w 55298"/>
                  <a:gd name="connsiteY3" fmla="*/ 55298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12361"/>
                      <a:pt x="42938" y="0"/>
                      <a:pt x="27649" y="0"/>
                    </a:cubicBezTo>
                    <a:cubicBezTo>
                      <a:pt x="12361" y="0"/>
                      <a:pt x="0" y="12361"/>
                      <a:pt x="0" y="27649"/>
                    </a:cubicBezTo>
                    <a:cubicBezTo>
                      <a:pt x="0" y="42938"/>
                      <a:pt x="12361" y="55298"/>
                      <a:pt x="27649" y="55298"/>
                    </a:cubicBezTo>
                    <a:cubicBezTo>
                      <a:pt x="42938" y="55298"/>
                      <a:pt x="55298" y="42938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18" name="Forma livre: Forma 117">
                <a:extLst>
                  <a:ext uri="{FF2B5EF4-FFF2-40B4-BE49-F238E27FC236}">
                    <a16:creationId xmlns:a16="http://schemas.microsoft.com/office/drawing/2014/main" id="{A0960244-11A9-95BD-6136-61219D5527DC}"/>
                  </a:ext>
                </a:extLst>
              </p:cNvPr>
              <p:cNvSpPr/>
              <p:nvPr/>
            </p:nvSpPr>
            <p:spPr>
              <a:xfrm>
                <a:off x="6191625" y="1465122"/>
                <a:ext cx="118468" cy="49898"/>
              </a:xfrm>
              <a:custGeom>
                <a:avLst/>
                <a:gdLst>
                  <a:gd name="connsiteX0" fmla="*/ 0 w 118468"/>
                  <a:gd name="connsiteY0" fmla="*/ 49899 h 49898"/>
                  <a:gd name="connsiteX1" fmla="*/ 37343 w 118468"/>
                  <a:gd name="connsiteY1" fmla="*/ 49899 h 49898"/>
                  <a:gd name="connsiteX2" fmla="*/ 87176 w 118468"/>
                  <a:gd name="connsiteY2" fmla="*/ 0 h 49898"/>
                  <a:gd name="connsiteX3" fmla="*/ 118469 w 118468"/>
                  <a:gd name="connsiteY3" fmla="*/ 0 h 49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8468" h="49898">
                    <a:moveTo>
                      <a:pt x="0" y="49899"/>
                    </a:moveTo>
                    <a:lnTo>
                      <a:pt x="37343" y="49899"/>
                    </a:lnTo>
                    <a:lnTo>
                      <a:pt x="87176" y="0"/>
                    </a:lnTo>
                    <a:lnTo>
                      <a:pt x="118469" y="0"/>
                    </a:lnTo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19" name="Forma livre: Forma 118">
                <a:extLst>
                  <a:ext uri="{FF2B5EF4-FFF2-40B4-BE49-F238E27FC236}">
                    <a16:creationId xmlns:a16="http://schemas.microsoft.com/office/drawing/2014/main" id="{B22EA467-0544-F2EE-3F6C-3D59D1301927}"/>
                  </a:ext>
                </a:extLst>
              </p:cNvPr>
              <p:cNvSpPr/>
              <p:nvPr/>
            </p:nvSpPr>
            <p:spPr>
              <a:xfrm>
                <a:off x="6191625" y="1405269"/>
                <a:ext cx="81451" cy="44043"/>
              </a:xfrm>
              <a:custGeom>
                <a:avLst/>
                <a:gdLst>
                  <a:gd name="connsiteX0" fmla="*/ 0 w 81451"/>
                  <a:gd name="connsiteY0" fmla="*/ 44044 h 44043"/>
                  <a:gd name="connsiteX1" fmla="*/ 37343 w 81451"/>
                  <a:gd name="connsiteY1" fmla="*/ 44044 h 44043"/>
                  <a:gd name="connsiteX2" fmla="*/ 81451 w 81451"/>
                  <a:gd name="connsiteY2" fmla="*/ 0 h 440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1451" h="44043">
                    <a:moveTo>
                      <a:pt x="0" y="44044"/>
                    </a:moveTo>
                    <a:lnTo>
                      <a:pt x="37343" y="44044"/>
                    </a:lnTo>
                    <a:lnTo>
                      <a:pt x="81451" y="0"/>
                    </a:lnTo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0" name="Forma livre: Forma 119">
                <a:extLst>
                  <a:ext uri="{FF2B5EF4-FFF2-40B4-BE49-F238E27FC236}">
                    <a16:creationId xmlns:a16="http://schemas.microsoft.com/office/drawing/2014/main" id="{E87723C9-B965-C8EE-E703-F10E2DDFBE7A}"/>
                  </a:ext>
                </a:extLst>
              </p:cNvPr>
              <p:cNvSpPr/>
              <p:nvPr/>
            </p:nvSpPr>
            <p:spPr>
              <a:xfrm>
                <a:off x="6265075" y="1357908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0 h 55298"/>
                  <a:gd name="connsiteX2" fmla="*/ 0 w 55298"/>
                  <a:gd name="connsiteY2" fmla="*/ 27649 h 55298"/>
                  <a:gd name="connsiteX3" fmla="*/ 27649 w 55298"/>
                  <a:gd name="connsiteY3" fmla="*/ 55298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12361"/>
                      <a:pt x="42938" y="0"/>
                      <a:pt x="27649" y="0"/>
                    </a:cubicBezTo>
                    <a:cubicBezTo>
                      <a:pt x="12361" y="0"/>
                      <a:pt x="0" y="12361"/>
                      <a:pt x="0" y="27649"/>
                    </a:cubicBezTo>
                    <a:cubicBezTo>
                      <a:pt x="0" y="42938"/>
                      <a:pt x="12361" y="55298"/>
                      <a:pt x="27649" y="55298"/>
                    </a:cubicBezTo>
                    <a:cubicBezTo>
                      <a:pt x="42938" y="55298"/>
                      <a:pt x="55298" y="42938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13" name="Gráfico 32">
              <a:extLst>
                <a:ext uri="{FF2B5EF4-FFF2-40B4-BE49-F238E27FC236}">
                  <a16:creationId xmlns:a16="http://schemas.microsoft.com/office/drawing/2014/main" id="{220425F7-E37F-5905-2CCD-4AD98805A6C5}"/>
                </a:ext>
              </a:extLst>
            </p:cNvPr>
            <p:cNvGrpSpPr/>
            <p:nvPr/>
          </p:nvGrpSpPr>
          <p:grpSpPr>
            <a:xfrm>
              <a:off x="6190910" y="1529723"/>
              <a:ext cx="123673" cy="55298"/>
              <a:chOff x="6190910" y="1529723"/>
              <a:chExt cx="123673" cy="55298"/>
            </a:xfrm>
            <a:noFill/>
          </p:grpSpPr>
          <p:sp>
            <p:nvSpPr>
              <p:cNvPr id="115" name="Forma livre: Forma 114">
                <a:extLst>
                  <a:ext uri="{FF2B5EF4-FFF2-40B4-BE49-F238E27FC236}">
                    <a16:creationId xmlns:a16="http://schemas.microsoft.com/office/drawing/2014/main" id="{A9AACD84-5391-A2A6-4935-6221287A4392}"/>
                  </a:ext>
                </a:extLst>
              </p:cNvPr>
              <p:cNvSpPr/>
              <p:nvPr/>
            </p:nvSpPr>
            <p:spPr>
              <a:xfrm>
                <a:off x="6190910" y="1557372"/>
                <a:ext cx="68765" cy="6505"/>
              </a:xfrm>
              <a:custGeom>
                <a:avLst/>
                <a:gdLst>
                  <a:gd name="connsiteX0" fmla="*/ 0 w 68765"/>
                  <a:gd name="connsiteY0" fmla="*/ 0 h 6505"/>
                  <a:gd name="connsiteX1" fmla="*/ 68765 w 68765"/>
                  <a:gd name="connsiteY1" fmla="*/ 0 h 65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8765" h="6505">
                    <a:moveTo>
                      <a:pt x="0" y="0"/>
                    </a:moveTo>
                    <a:lnTo>
                      <a:pt x="68765" y="0"/>
                    </a:lnTo>
                  </a:path>
                </a:pathLst>
              </a:custGeom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16" name="Forma livre: Forma 115">
                <a:extLst>
                  <a:ext uri="{FF2B5EF4-FFF2-40B4-BE49-F238E27FC236}">
                    <a16:creationId xmlns:a16="http://schemas.microsoft.com/office/drawing/2014/main" id="{DC3D7C2E-779C-3A9B-6088-3AFEDB40C0A3}"/>
                  </a:ext>
                </a:extLst>
              </p:cNvPr>
              <p:cNvSpPr/>
              <p:nvPr/>
            </p:nvSpPr>
            <p:spPr>
              <a:xfrm>
                <a:off x="6259285" y="1529723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14" name="Forma livre: Forma 113">
              <a:extLst>
                <a:ext uri="{FF2B5EF4-FFF2-40B4-BE49-F238E27FC236}">
                  <a16:creationId xmlns:a16="http://schemas.microsoft.com/office/drawing/2014/main" id="{CED4D4D0-D6EB-D247-EAA7-074B09A74742}"/>
                </a:ext>
              </a:extLst>
            </p:cNvPr>
            <p:cNvSpPr/>
            <p:nvPr/>
          </p:nvSpPr>
          <p:spPr>
            <a:xfrm>
              <a:off x="6152201" y="1686285"/>
              <a:ext cx="37362" cy="20848"/>
            </a:xfrm>
            <a:custGeom>
              <a:avLst/>
              <a:gdLst>
                <a:gd name="connsiteX0" fmla="*/ 0 w 37362"/>
                <a:gd name="connsiteY0" fmla="*/ 10505 h 20848"/>
                <a:gd name="connsiteX1" fmla="*/ 27064 w 37362"/>
                <a:gd name="connsiteY1" fmla="*/ 2373 h 20848"/>
                <a:gd name="connsiteX2" fmla="*/ 37343 w 37362"/>
                <a:gd name="connsiteY2" fmla="*/ 20849 h 20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7362" h="20848">
                  <a:moveTo>
                    <a:pt x="0" y="10505"/>
                  </a:moveTo>
                  <a:cubicBezTo>
                    <a:pt x="5205" y="811"/>
                    <a:pt x="17435" y="-2832"/>
                    <a:pt x="27064" y="2373"/>
                  </a:cubicBezTo>
                  <a:cubicBezTo>
                    <a:pt x="34025" y="6081"/>
                    <a:pt x="37668" y="13432"/>
                    <a:pt x="37343" y="20849"/>
                  </a:cubicBezTo>
                </a:path>
              </a:pathLst>
            </a:custGeom>
            <a:noFill/>
            <a:ln w="19050" cap="sq">
              <a:solidFill>
                <a:schemeClr val="tx1"/>
              </a:solidFill>
              <a:prstDash val="solid"/>
              <a:miter lim="800000"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31" name="Agrupar 130">
            <a:extLst>
              <a:ext uri="{FF2B5EF4-FFF2-40B4-BE49-F238E27FC236}">
                <a16:creationId xmlns:a16="http://schemas.microsoft.com/office/drawing/2014/main" id="{844BD506-C026-38E2-5E6D-AD315FA6CC96}"/>
              </a:ext>
            </a:extLst>
          </p:cNvPr>
          <p:cNvGrpSpPr/>
          <p:nvPr/>
        </p:nvGrpSpPr>
        <p:grpSpPr>
          <a:xfrm>
            <a:off x="10417261" y="5415920"/>
            <a:ext cx="461846" cy="504363"/>
            <a:chOff x="6000092" y="1357908"/>
            <a:chExt cx="365300" cy="398929"/>
          </a:xfrm>
        </p:grpSpPr>
        <p:sp>
          <p:nvSpPr>
            <p:cNvPr id="132" name="Forma livre: Forma 131">
              <a:extLst>
                <a:ext uri="{FF2B5EF4-FFF2-40B4-BE49-F238E27FC236}">
                  <a16:creationId xmlns:a16="http://schemas.microsoft.com/office/drawing/2014/main" id="{F7B1053E-E1A9-7560-7996-C95870E39E45}"/>
                </a:ext>
              </a:extLst>
            </p:cNvPr>
            <p:cNvSpPr/>
            <p:nvPr/>
          </p:nvSpPr>
          <p:spPr>
            <a:xfrm>
              <a:off x="6000092" y="1418606"/>
              <a:ext cx="84058" cy="286120"/>
            </a:xfrm>
            <a:custGeom>
              <a:avLst/>
              <a:gdLst>
                <a:gd name="connsiteX0" fmla="*/ 51595 w 84058"/>
                <a:gd name="connsiteY0" fmla="*/ 0 h 286120"/>
                <a:gd name="connsiteX1" fmla="*/ 35266 w 84058"/>
                <a:gd name="connsiteY1" fmla="*/ 61674 h 286120"/>
                <a:gd name="connsiteX2" fmla="*/ 28760 w 84058"/>
                <a:gd name="connsiteY2" fmla="*/ 193415 h 286120"/>
                <a:gd name="connsiteX3" fmla="*/ 84059 w 84058"/>
                <a:gd name="connsiteY3" fmla="*/ 286121 h 2861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4058" h="286120">
                  <a:moveTo>
                    <a:pt x="51595" y="0"/>
                  </a:moveTo>
                  <a:cubicBezTo>
                    <a:pt x="37868" y="7872"/>
                    <a:pt x="26028" y="24852"/>
                    <a:pt x="35266" y="61674"/>
                  </a:cubicBezTo>
                  <a:cubicBezTo>
                    <a:pt x="35266" y="61674"/>
                    <a:pt x="-39549" y="126731"/>
                    <a:pt x="28760" y="193415"/>
                  </a:cubicBezTo>
                  <a:cubicBezTo>
                    <a:pt x="28760" y="193415"/>
                    <a:pt x="9243" y="281242"/>
                    <a:pt x="84059" y="286121"/>
                  </a:cubicBezTo>
                </a:path>
              </a:pathLst>
            </a:custGeom>
            <a:noFill/>
            <a:ln w="19050" cap="sq">
              <a:solidFill>
                <a:schemeClr val="tx1"/>
              </a:solidFill>
              <a:prstDash val="solid"/>
              <a:miter lim="800000"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33" name="Gráfico 32">
              <a:extLst>
                <a:ext uri="{FF2B5EF4-FFF2-40B4-BE49-F238E27FC236}">
                  <a16:creationId xmlns:a16="http://schemas.microsoft.com/office/drawing/2014/main" id="{FE1C5D59-D574-C02C-A31C-6010C0228332}"/>
                </a:ext>
              </a:extLst>
            </p:cNvPr>
            <p:cNvGrpSpPr/>
            <p:nvPr/>
          </p:nvGrpSpPr>
          <p:grpSpPr>
            <a:xfrm>
              <a:off x="6061121" y="1359924"/>
              <a:ext cx="128487" cy="396366"/>
              <a:chOff x="6061121" y="1359924"/>
              <a:chExt cx="128487" cy="396366"/>
            </a:xfrm>
            <a:noFill/>
          </p:grpSpPr>
          <p:sp>
            <p:nvSpPr>
              <p:cNvPr id="148" name="Forma livre: Forma 147">
                <a:extLst>
                  <a:ext uri="{FF2B5EF4-FFF2-40B4-BE49-F238E27FC236}">
                    <a16:creationId xmlns:a16="http://schemas.microsoft.com/office/drawing/2014/main" id="{4970710D-6447-2B46-C6F1-64C11EC7A0C7}"/>
                  </a:ext>
                </a:extLst>
              </p:cNvPr>
              <p:cNvSpPr/>
              <p:nvPr/>
            </p:nvSpPr>
            <p:spPr>
              <a:xfrm>
                <a:off x="6083891" y="1359924"/>
                <a:ext cx="105717" cy="396366"/>
              </a:xfrm>
              <a:custGeom>
                <a:avLst/>
                <a:gdLst>
                  <a:gd name="connsiteX0" fmla="*/ 52891 w 105717"/>
                  <a:gd name="connsiteY0" fmla="*/ 105718 h 396366"/>
                  <a:gd name="connsiteX1" fmla="*/ 0 w 105717"/>
                  <a:gd name="connsiteY1" fmla="*/ 52891 h 396366"/>
                  <a:gd name="connsiteX2" fmla="*/ 52891 w 105717"/>
                  <a:gd name="connsiteY2" fmla="*/ 0 h 396366"/>
                  <a:gd name="connsiteX3" fmla="*/ 105718 w 105717"/>
                  <a:gd name="connsiteY3" fmla="*/ 52826 h 396366"/>
                  <a:gd name="connsiteX4" fmla="*/ 105718 w 105717"/>
                  <a:gd name="connsiteY4" fmla="*/ 346884 h 396366"/>
                  <a:gd name="connsiteX5" fmla="*/ 80606 w 105717"/>
                  <a:gd name="connsiteY5" fmla="*/ 388911 h 396366"/>
                  <a:gd name="connsiteX6" fmla="*/ 9238 w 105717"/>
                  <a:gd name="connsiteY6" fmla="*/ 371150 h 396366"/>
                  <a:gd name="connsiteX7" fmla="*/ 15484 w 105717"/>
                  <a:gd name="connsiteY7" fmla="*/ 309216 h 396366"/>
                  <a:gd name="connsiteX8" fmla="*/ 45019 w 105717"/>
                  <a:gd name="connsiteY8" fmla="*/ 277078 h 3963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05717" h="396366">
                    <a:moveTo>
                      <a:pt x="52891" y="105718"/>
                    </a:moveTo>
                    <a:cubicBezTo>
                      <a:pt x="23681" y="105718"/>
                      <a:pt x="0" y="82037"/>
                      <a:pt x="0" y="52891"/>
                    </a:cubicBezTo>
                    <a:cubicBezTo>
                      <a:pt x="0" y="23746"/>
                      <a:pt x="23681" y="0"/>
                      <a:pt x="52891" y="0"/>
                    </a:cubicBezTo>
                    <a:cubicBezTo>
                      <a:pt x="82102" y="0"/>
                      <a:pt x="105718" y="23681"/>
                      <a:pt x="105718" y="52826"/>
                    </a:cubicBezTo>
                    <a:lnTo>
                      <a:pt x="105718" y="346884"/>
                    </a:lnTo>
                    <a:cubicBezTo>
                      <a:pt x="105718" y="364580"/>
                      <a:pt x="96414" y="379413"/>
                      <a:pt x="80606" y="388911"/>
                    </a:cubicBezTo>
                    <a:cubicBezTo>
                      <a:pt x="55949" y="403744"/>
                      <a:pt x="24006" y="395742"/>
                      <a:pt x="9238" y="371150"/>
                    </a:cubicBezTo>
                    <a:cubicBezTo>
                      <a:pt x="-2928" y="350918"/>
                      <a:pt x="260" y="325741"/>
                      <a:pt x="15484" y="309216"/>
                    </a:cubicBezTo>
                    <a:lnTo>
                      <a:pt x="45019" y="277078"/>
                    </a:lnTo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49" name="Forma livre: Forma 148">
                <a:extLst>
                  <a:ext uri="{FF2B5EF4-FFF2-40B4-BE49-F238E27FC236}">
                    <a16:creationId xmlns:a16="http://schemas.microsoft.com/office/drawing/2014/main" id="{630339AB-E4F2-3EBD-8D2F-E3838005C8C1}"/>
                  </a:ext>
                </a:extLst>
              </p:cNvPr>
              <p:cNvSpPr/>
              <p:nvPr/>
            </p:nvSpPr>
            <p:spPr>
              <a:xfrm>
                <a:off x="6144784" y="1383865"/>
                <a:ext cx="41563" cy="38963"/>
              </a:xfrm>
              <a:custGeom>
                <a:avLst/>
                <a:gdLst>
                  <a:gd name="connsiteX0" fmla="*/ 36172 w 41563"/>
                  <a:gd name="connsiteY0" fmla="*/ 0 h 38963"/>
                  <a:gd name="connsiteX1" fmla="*/ 39425 w 41563"/>
                  <a:gd name="connsiteY1" fmla="*/ 24266 h 38963"/>
                  <a:gd name="connsiteX2" fmla="*/ 36432 w 41563"/>
                  <a:gd name="connsiteY2" fmla="*/ 29080 h 38963"/>
                  <a:gd name="connsiteX3" fmla="*/ 0 w 41563"/>
                  <a:gd name="connsiteY3" fmla="*/ 33439 h 389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563" h="38963">
                    <a:moveTo>
                      <a:pt x="36172" y="0"/>
                    </a:moveTo>
                    <a:cubicBezTo>
                      <a:pt x="41571" y="7547"/>
                      <a:pt x="43393" y="16004"/>
                      <a:pt x="39425" y="24266"/>
                    </a:cubicBezTo>
                    <a:cubicBezTo>
                      <a:pt x="38644" y="25893"/>
                      <a:pt x="37603" y="27519"/>
                      <a:pt x="36432" y="29080"/>
                    </a:cubicBezTo>
                    <a:cubicBezTo>
                      <a:pt x="27584" y="40270"/>
                      <a:pt x="11190" y="42287"/>
                      <a:pt x="0" y="33439"/>
                    </a:cubicBezTo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50" name="Forma livre: Forma 149">
                <a:extLst>
                  <a:ext uri="{FF2B5EF4-FFF2-40B4-BE49-F238E27FC236}">
                    <a16:creationId xmlns:a16="http://schemas.microsoft.com/office/drawing/2014/main" id="{028425A9-D7E0-9D30-6210-D04A98FD345A}"/>
                  </a:ext>
                </a:extLst>
              </p:cNvPr>
              <p:cNvSpPr/>
              <p:nvPr/>
            </p:nvSpPr>
            <p:spPr>
              <a:xfrm>
                <a:off x="6081487" y="1460806"/>
                <a:ext cx="34217" cy="54474"/>
              </a:xfrm>
              <a:custGeom>
                <a:avLst/>
                <a:gdLst>
                  <a:gd name="connsiteX0" fmla="*/ 21076 w 34217"/>
                  <a:gd name="connsiteY0" fmla="*/ 54475 h 54474"/>
                  <a:gd name="connsiteX1" fmla="*/ 778 w 34217"/>
                  <a:gd name="connsiteY1" fmla="*/ 21035 h 54474"/>
                  <a:gd name="connsiteX2" fmla="*/ 34217 w 34217"/>
                  <a:gd name="connsiteY2" fmla="*/ 803 h 544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4217" h="54474">
                    <a:moveTo>
                      <a:pt x="21076" y="54475"/>
                    </a:moveTo>
                    <a:cubicBezTo>
                      <a:pt x="6308" y="50832"/>
                      <a:pt x="-2800" y="35803"/>
                      <a:pt x="778" y="21035"/>
                    </a:cubicBezTo>
                    <a:cubicBezTo>
                      <a:pt x="4421" y="6267"/>
                      <a:pt x="19449" y="-2841"/>
                      <a:pt x="34217" y="803"/>
                    </a:cubicBezTo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51" name="Forma livre: Forma 150">
                <a:extLst>
                  <a:ext uri="{FF2B5EF4-FFF2-40B4-BE49-F238E27FC236}">
                    <a16:creationId xmlns:a16="http://schemas.microsoft.com/office/drawing/2014/main" id="{D7E4A328-D170-A2F3-3FA0-1BACDE84BDCB}"/>
                  </a:ext>
                </a:extLst>
              </p:cNvPr>
              <p:cNvSpPr/>
              <p:nvPr/>
            </p:nvSpPr>
            <p:spPr>
              <a:xfrm>
                <a:off x="6073547" y="1527543"/>
                <a:ext cx="114760" cy="72506"/>
              </a:xfrm>
              <a:custGeom>
                <a:avLst/>
                <a:gdLst>
                  <a:gd name="connsiteX0" fmla="*/ 114760 w 114760"/>
                  <a:gd name="connsiteY0" fmla="*/ 7254 h 72506"/>
                  <a:gd name="connsiteX1" fmla="*/ 73905 w 114760"/>
                  <a:gd name="connsiteY1" fmla="*/ 8881 h 72506"/>
                  <a:gd name="connsiteX2" fmla="*/ 0 w 114760"/>
                  <a:gd name="connsiteY2" fmla="*/ 72506 h 725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14760" h="72506">
                    <a:moveTo>
                      <a:pt x="114760" y="7254"/>
                    </a:moveTo>
                    <a:cubicBezTo>
                      <a:pt x="103375" y="-2830"/>
                      <a:pt x="83989" y="-2504"/>
                      <a:pt x="73905" y="8881"/>
                    </a:cubicBezTo>
                    <a:cubicBezTo>
                      <a:pt x="73905" y="8881"/>
                      <a:pt x="31488" y="72506"/>
                      <a:pt x="0" y="72506"/>
                    </a:cubicBezTo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52" name="Forma livre: Forma 151">
                <a:extLst>
                  <a:ext uri="{FF2B5EF4-FFF2-40B4-BE49-F238E27FC236}">
                    <a16:creationId xmlns:a16="http://schemas.microsoft.com/office/drawing/2014/main" id="{D0F9FDDE-BF1F-3C92-BD6B-11700152A3C2}"/>
                  </a:ext>
                </a:extLst>
              </p:cNvPr>
              <p:cNvSpPr/>
              <p:nvPr/>
            </p:nvSpPr>
            <p:spPr>
              <a:xfrm>
                <a:off x="6079857" y="1646956"/>
                <a:ext cx="29405" cy="9823"/>
              </a:xfrm>
              <a:custGeom>
                <a:avLst/>
                <a:gdLst>
                  <a:gd name="connsiteX0" fmla="*/ 0 w 29405"/>
                  <a:gd name="connsiteY0" fmla="*/ 0 h 9823"/>
                  <a:gd name="connsiteX1" fmla="*/ 29406 w 29405"/>
                  <a:gd name="connsiteY1" fmla="*/ 9824 h 98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9405" h="9823">
                    <a:moveTo>
                      <a:pt x="0" y="0"/>
                    </a:moveTo>
                    <a:lnTo>
                      <a:pt x="29406" y="9824"/>
                    </a:lnTo>
                  </a:path>
                </a:pathLst>
              </a:custGeom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53" name="Forma livre: Forma 152">
                <a:extLst>
                  <a:ext uri="{FF2B5EF4-FFF2-40B4-BE49-F238E27FC236}">
                    <a16:creationId xmlns:a16="http://schemas.microsoft.com/office/drawing/2014/main" id="{DB4F7F19-38B2-BC89-78DC-83329972830D}"/>
                  </a:ext>
                </a:extLst>
              </p:cNvPr>
              <p:cNvSpPr/>
              <p:nvPr/>
            </p:nvSpPr>
            <p:spPr>
              <a:xfrm>
                <a:off x="6061121" y="1545272"/>
                <a:ext cx="47166" cy="34154"/>
              </a:xfrm>
              <a:custGeom>
                <a:avLst/>
                <a:gdLst>
                  <a:gd name="connsiteX0" fmla="*/ 0 w 47166"/>
                  <a:gd name="connsiteY0" fmla="*/ 0 h 34154"/>
                  <a:gd name="connsiteX1" fmla="*/ 47166 w 47166"/>
                  <a:gd name="connsiteY1" fmla="*/ 34155 h 341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166" h="34154">
                    <a:moveTo>
                      <a:pt x="0" y="0"/>
                    </a:moveTo>
                    <a:cubicBezTo>
                      <a:pt x="0" y="0"/>
                      <a:pt x="27649" y="13011"/>
                      <a:pt x="47166" y="34155"/>
                    </a:cubicBezTo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34" name="Gráfico 32">
              <a:extLst>
                <a:ext uri="{FF2B5EF4-FFF2-40B4-BE49-F238E27FC236}">
                  <a16:creationId xmlns:a16="http://schemas.microsoft.com/office/drawing/2014/main" id="{AC308B2D-D6A2-1403-5E2F-CF59AFB882CA}"/>
                </a:ext>
              </a:extLst>
            </p:cNvPr>
            <p:cNvGrpSpPr/>
            <p:nvPr/>
          </p:nvGrpSpPr>
          <p:grpSpPr>
            <a:xfrm>
              <a:off x="6191625" y="1599725"/>
              <a:ext cx="173767" cy="157112"/>
              <a:chOff x="6191625" y="1599725"/>
              <a:chExt cx="173767" cy="157112"/>
            </a:xfrm>
            <a:noFill/>
          </p:grpSpPr>
          <p:sp>
            <p:nvSpPr>
              <p:cNvPr id="144" name="Forma livre: Forma 143">
                <a:extLst>
                  <a:ext uri="{FF2B5EF4-FFF2-40B4-BE49-F238E27FC236}">
                    <a16:creationId xmlns:a16="http://schemas.microsoft.com/office/drawing/2014/main" id="{0048F2F2-B15F-F461-6B94-69C9A4C05D58}"/>
                  </a:ext>
                </a:extLst>
              </p:cNvPr>
              <p:cNvSpPr/>
              <p:nvPr/>
            </p:nvSpPr>
            <p:spPr>
              <a:xfrm>
                <a:off x="6310094" y="1621974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45" name="Forma livre: Forma 144">
                <a:extLst>
                  <a:ext uri="{FF2B5EF4-FFF2-40B4-BE49-F238E27FC236}">
                    <a16:creationId xmlns:a16="http://schemas.microsoft.com/office/drawing/2014/main" id="{BC7407FE-42BA-EC77-B0EA-DB9A5E0DF515}"/>
                  </a:ext>
                </a:extLst>
              </p:cNvPr>
              <p:cNvSpPr/>
              <p:nvPr/>
            </p:nvSpPr>
            <p:spPr>
              <a:xfrm>
                <a:off x="6191625" y="1599725"/>
                <a:ext cx="118078" cy="49898"/>
              </a:xfrm>
              <a:custGeom>
                <a:avLst/>
                <a:gdLst>
                  <a:gd name="connsiteX0" fmla="*/ 0 w 118078"/>
                  <a:gd name="connsiteY0" fmla="*/ 0 h 49898"/>
                  <a:gd name="connsiteX1" fmla="*/ 37343 w 118078"/>
                  <a:gd name="connsiteY1" fmla="*/ 0 h 49898"/>
                  <a:gd name="connsiteX2" fmla="*/ 87176 w 118078"/>
                  <a:gd name="connsiteY2" fmla="*/ 49899 h 49898"/>
                  <a:gd name="connsiteX3" fmla="*/ 118078 w 118078"/>
                  <a:gd name="connsiteY3" fmla="*/ 49899 h 49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8078" h="49898">
                    <a:moveTo>
                      <a:pt x="0" y="0"/>
                    </a:moveTo>
                    <a:lnTo>
                      <a:pt x="37343" y="0"/>
                    </a:lnTo>
                    <a:lnTo>
                      <a:pt x="87176" y="49899"/>
                    </a:lnTo>
                    <a:lnTo>
                      <a:pt x="118078" y="49899"/>
                    </a:lnTo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46" name="Forma livre: Forma 145">
                <a:extLst>
                  <a:ext uri="{FF2B5EF4-FFF2-40B4-BE49-F238E27FC236}">
                    <a16:creationId xmlns:a16="http://schemas.microsoft.com/office/drawing/2014/main" id="{C5FA81A1-ED19-70F1-F0CF-3FCFD91ABBA9}"/>
                  </a:ext>
                </a:extLst>
              </p:cNvPr>
              <p:cNvSpPr/>
              <p:nvPr/>
            </p:nvSpPr>
            <p:spPr>
              <a:xfrm>
                <a:off x="6191625" y="1665367"/>
                <a:ext cx="81906" cy="44108"/>
              </a:xfrm>
              <a:custGeom>
                <a:avLst/>
                <a:gdLst>
                  <a:gd name="connsiteX0" fmla="*/ 0 w 81906"/>
                  <a:gd name="connsiteY0" fmla="*/ 0 h 44108"/>
                  <a:gd name="connsiteX1" fmla="*/ 37343 w 81906"/>
                  <a:gd name="connsiteY1" fmla="*/ 0 h 44108"/>
                  <a:gd name="connsiteX2" fmla="*/ 81907 w 81906"/>
                  <a:gd name="connsiteY2" fmla="*/ 44109 h 441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1906" h="44108">
                    <a:moveTo>
                      <a:pt x="0" y="0"/>
                    </a:moveTo>
                    <a:lnTo>
                      <a:pt x="37343" y="0"/>
                    </a:lnTo>
                    <a:lnTo>
                      <a:pt x="81907" y="44109"/>
                    </a:lnTo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47" name="Forma livre: Forma 146">
                <a:extLst>
                  <a:ext uri="{FF2B5EF4-FFF2-40B4-BE49-F238E27FC236}">
                    <a16:creationId xmlns:a16="http://schemas.microsoft.com/office/drawing/2014/main" id="{9D012F6B-0F3F-C5A4-97CD-46EAFDF95FE2}"/>
                  </a:ext>
                </a:extLst>
              </p:cNvPr>
              <p:cNvSpPr/>
              <p:nvPr/>
            </p:nvSpPr>
            <p:spPr>
              <a:xfrm>
                <a:off x="6265075" y="1701539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35" name="Gráfico 32">
              <a:extLst>
                <a:ext uri="{FF2B5EF4-FFF2-40B4-BE49-F238E27FC236}">
                  <a16:creationId xmlns:a16="http://schemas.microsoft.com/office/drawing/2014/main" id="{46F13679-1EFA-99D6-3E6E-103A2416D523}"/>
                </a:ext>
              </a:extLst>
            </p:cNvPr>
            <p:cNvGrpSpPr/>
            <p:nvPr/>
          </p:nvGrpSpPr>
          <p:grpSpPr>
            <a:xfrm>
              <a:off x="6191625" y="1357908"/>
              <a:ext cx="173767" cy="157112"/>
              <a:chOff x="6191625" y="1357908"/>
              <a:chExt cx="173767" cy="157112"/>
            </a:xfrm>
            <a:noFill/>
          </p:grpSpPr>
          <p:sp>
            <p:nvSpPr>
              <p:cNvPr id="140" name="Forma livre: Forma 139">
                <a:extLst>
                  <a:ext uri="{FF2B5EF4-FFF2-40B4-BE49-F238E27FC236}">
                    <a16:creationId xmlns:a16="http://schemas.microsoft.com/office/drawing/2014/main" id="{CB87EA90-34E5-D925-8170-9698B83FA9C1}"/>
                  </a:ext>
                </a:extLst>
              </p:cNvPr>
              <p:cNvSpPr/>
              <p:nvPr/>
            </p:nvSpPr>
            <p:spPr>
              <a:xfrm>
                <a:off x="6310094" y="1437472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0 h 55298"/>
                  <a:gd name="connsiteX2" fmla="*/ 0 w 55298"/>
                  <a:gd name="connsiteY2" fmla="*/ 27649 h 55298"/>
                  <a:gd name="connsiteX3" fmla="*/ 27649 w 55298"/>
                  <a:gd name="connsiteY3" fmla="*/ 55298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12361"/>
                      <a:pt x="42938" y="0"/>
                      <a:pt x="27649" y="0"/>
                    </a:cubicBezTo>
                    <a:cubicBezTo>
                      <a:pt x="12361" y="0"/>
                      <a:pt x="0" y="12361"/>
                      <a:pt x="0" y="27649"/>
                    </a:cubicBezTo>
                    <a:cubicBezTo>
                      <a:pt x="0" y="42938"/>
                      <a:pt x="12361" y="55298"/>
                      <a:pt x="27649" y="55298"/>
                    </a:cubicBezTo>
                    <a:cubicBezTo>
                      <a:pt x="42938" y="55298"/>
                      <a:pt x="55298" y="42938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41" name="Forma livre: Forma 140">
                <a:extLst>
                  <a:ext uri="{FF2B5EF4-FFF2-40B4-BE49-F238E27FC236}">
                    <a16:creationId xmlns:a16="http://schemas.microsoft.com/office/drawing/2014/main" id="{8EC35CEC-B26E-821E-F28D-7A8E565C4BA6}"/>
                  </a:ext>
                </a:extLst>
              </p:cNvPr>
              <p:cNvSpPr/>
              <p:nvPr/>
            </p:nvSpPr>
            <p:spPr>
              <a:xfrm>
                <a:off x="6191625" y="1465122"/>
                <a:ext cx="118468" cy="49898"/>
              </a:xfrm>
              <a:custGeom>
                <a:avLst/>
                <a:gdLst>
                  <a:gd name="connsiteX0" fmla="*/ 0 w 118468"/>
                  <a:gd name="connsiteY0" fmla="*/ 49899 h 49898"/>
                  <a:gd name="connsiteX1" fmla="*/ 37343 w 118468"/>
                  <a:gd name="connsiteY1" fmla="*/ 49899 h 49898"/>
                  <a:gd name="connsiteX2" fmla="*/ 87176 w 118468"/>
                  <a:gd name="connsiteY2" fmla="*/ 0 h 49898"/>
                  <a:gd name="connsiteX3" fmla="*/ 118469 w 118468"/>
                  <a:gd name="connsiteY3" fmla="*/ 0 h 49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8468" h="49898">
                    <a:moveTo>
                      <a:pt x="0" y="49899"/>
                    </a:moveTo>
                    <a:lnTo>
                      <a:pt x="37343" y="49899"/>
                    </a:lnTo>
                    <a:lnTo>
                      <a:pt x="87176" y="0"/>
                    </a:lnTo>
                    <a:lnTo>
                      <a:pt x="118469" y="0"/>
                    </a:lnTo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42" name="Forma livre: Forma 141">
                <a:extLst>
                  <a:ext uri="{FF2B5EF4-FFF2-40B4-BE49-F238E27FC236}">
                    <a16:creationId xmlns:a16="http://schemas.microsoft.com/office/drawing/2014/main" id="{B28BD2D8-2AB3-8E52-65DD-494BA86BBE78}"/>
                  </a:ext>
                </a:extLst>
              </p:cNvPr>
              <p:cNvSpPr/>
              <p:nvPr/>
            </p:nvSpPr>
            <p:spPr>
              <a:xfrm>
                <a:off x="6191625" y="1405269"/>
                <a:ext cx="81451" cy="44043"/>
              </a:xfrm>
              <a:custGeom>
                <a:avLst/>
                <a:gdLst>
                  <a:gd name="connsiteX0" fmla="*/ 0 w 81451"/>
                  <a:gd name="connsiteY0" fmla="*/ 44044 h 44043"/>
                  <a:gd name="connsiteX1" fmla="*/ 37343 w 81451"/>
                  <a:gd name="connsiteY1" fmla="*/ 44044 h 44043"/>
                  <a:gd name="connsiteX2" fmla="*/ 81451 w 81451"/>
                  <a:gd name="connsiteY2" fmla="*/ 0 h 440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1451" h="44043">
                    <a:moveTo>
                      <a:pt x="0" y="44044"/>
                    </a:moveTo>
                    <a:lnTo>
                      <a:pt x="37343" y="44044"/>
                    </a:lnTo>
                    <a:lnTo>
                      <a:pt x="81451" y="0"/>
                    </a:lnTo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43" name="Forma livre: Forma 142">
                <a:extLst>
                  <a:ext uri="{FF2B5EF4-FFF2-40B4-BE49-F238E27FC236}">
                    <a16:creationId xmlns:a16="http://schemas.microsoft.com/office/drawing/2014/main" id="{6914C855-541C-754C-53D7-6ABD156918CB}"/>
                  </a:ext>
                </a:extLst>
              </p:cNvPr>
              <p:cNvSpPr/>
              <p:nvPr/>
            </p:nvSpPr>
            <p:spPr>
              <a:xfrm>
                <a:off x="6265075" y="1357908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0 h 55298"/>
                  <a:gd name="connsiteX2" fmla="*/ 0 w 55298"/>
                  <a:gd name="connsiteY2" fmla="*/ 27649 h 55298"/>
                  <a:gd name="connsiteX3" fmla="*/ 27649 w 55298"/>
                  <a:gd name="connsiteY3" fmla="*/ 55298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12361"/>
                      <a:pt x="42938" y="0"/>
                      <a:pt x="27649" y="0"/>
                    </a:cubicBezTo>
                    <a:cubicBezTo>
                      <a:pt x="12361" y="0"/>
                      <a:pt x="0" y="12361"/>
                      <a:pt x="0" y="27649"/>
                    </a:cubicBezTo>
                    <a:cubicBezTo>
                      <a:pt x="0" y="42938"/>
                      <a:pt x="12361" y="55298"/>
                      <a:pt x="27649" y="55298"/>
                    </a:cubicBezTo>
                    <a:cubicBezTo>
                      <a:pt x="42938" y="55298"/>
                      <a:pt x="55298" y="42938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36" name="Gráfico 32">
              <a:extLst>
                <a:ext uri="{FF2B5EF4-FFF2-40B4-BE49-F238E27FC236}">
                  <a16:creationId xmlns:a16="http://schemas.microsoft.com/office/drawing/2014/main" id="{BBAC6465-94A8-822E-B140-3CFAC2170CEE}"/>
                </a:ext>
              </a:extLst>
            </p:cNvPr>
            <p:cNvGrpSpPr/>
            <p:nvPr/>
          </p:nvGrpSpPr>
          <p:grpSpPr>
            <a:xfrm>
              <a:off x="6190910" y="1529723"/>
              <a:ext cx="123673" cy="55298"/>
              <a:chOff x="6190910" y="1529723"/>
              <a:chExt cx="123673" cy="55298"/>
            </a:xfrm>
            <a:noFill/>
          </p:grpSpPr>
          <p:sp>
            <p:nvSpPr>
              <p:cNvPr id="138" name="Forma livre: Forma 137">
                <a:extLst>
                  <a:ext uri="{FF2B5EF4-FFF2-40B4-BE49-F238E27FC236}">
                    <a16:creationId xmlns:a16="http://schemas.microsoft.com/office/drawing/2014/main" id="{863BED9B-404C-3C03-27CD-A11202F0111B}"/>
                  </a:ext>
                </a:extLst>
              </p:cNvPr>
              <p:cNvSpPr/>
              <p:nvPr/>
            </p:nvSpPr>
            <p:spPr>
              <a:xfrm>
                <a:off x="6190910" y="1557372"/>
                <a:ext cx="68765" cy="6505"/>
              </a:xfrm>
              <a:custGeom>
                <a:avLst/>
                <a:gdLst>
                  <a:gd name="connsiteX0" fmla="*/ 0 w 68765"/>
                  <a:gd name="connsiteY0" fmla="*/ 0 h 6505"/>
                  <a:gd name="connsiteX1" fmla="*/ 68765 w 68765"/>
                  <a:gd name="connsiteY1" fmla="*/ 0 h 65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8765" h="6505">
                    <a:moveTo>
                      <a:pt x="0" y="0"/>
                    </a:moveTo>
                    <a:lnTo>
                      <a:pt x="68765" y="0"/>
                    </a:lnTo>
                  </a:path>
                </a:pathLst>
              </a:custGeom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39" name="Forma livre: Forma 138">
                <a:extLst>
                  <a:ext uri="{FF2B5EF4-FFF2-40B4-BE49-F238E27FC236}">
                    <a16:creationId xmlns:a16="http://schemas.microsoft.com/office/drawing/2014/main" id="{8B4FC8E5-089D-BCC0-DE3A-A765F3F7C7CB}"/>
                  </a:ext>
                </a:extLst>
              </p:cNvPr>
              <p:cNvSpPr/>
              <p:nvPr/>
            </p:nvSpPr>
            <p:spPr>
              <a:xfrm>
                <a:off x="6259285" y="1529723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37" name="Forma livre: Forma 136">
              <a:extLst>
                <a:ext uri="{FF2B5EF4-FFF2-40B4-BE49-F238E27FC236}">
                  <a16:creationId xmlns:a16="http://schemas.microsoft.com/office/drawing/2014/main" id="{D3167C61-CFDD-DEFF-A4B1-1C89A4786301}"/>
                </a:ext>
              </a:extLst>
            </p:cNvPr>
            <p:cNvSpPr/>
            <p:nvPr/>
          </p:nvSpPr>
          <p:spPr>
            <a:xfrm>
              <a:off x="6152201" y="1686285"/>
              <a:ext cx="37362" cy="20848"/>
            </a:xfrm>
            <a:custGeom>
              <a:avLst/>
              <a:gdLst>
                <a:gd name="connsiteX0" fmla="*/ 0 w 37362"/>
                <a:gd name="connsiteY0" fmla="*/ 10505 h 20848"/>
                <a:gd name="connsiteX1" fmla="*/ 27064 w 37362"/>
                <a:gd name="connsiteY1" fmla="*/ 2373 h 20848"/>
                <a:gd name="connsiteX2" fmla="*/ 37343 w 37362"/>
                <a:gd name="connsiteY2" fmla="*/ 20849 h 20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7362" h="20848">
                  <a:moveTo>
                    <a:pt x="0" y="10505"/>
                  </a:moveTo>
                  <a:cubicBezTo>
                    <a:pt x="5205" y="811"/>
                    <a:pt x="17435" y="-2832"/>
                    <a:pt x="27064" y="2373"/>
                  </a:cubicBezTo>
                  <a:cubicBezTo>
                    <a:pt x="34025" y="6081"/>
                    <a:pt x="37668" y="13432"/>
                    <a:pt x="37343" y="20849"/>
                  </a:cubicBezTo>
                </a:path>
              </a:pathLst>
            </a:custGeom>
            <a:noFill/>
            <a:ln w="19050" cap="sq">
              <a:solidFill>
                <a:schemeClr val="tx1"/>
              </a:solidFill>
              <a:prstDash val="solid"/>
              <a:miter lim="800000"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54" name="Agrupar 153">
            <a:extLst>
              <a:ext uri="{FF2B5EF4-FFF2-40B4-BE49-F238E27FC236}">
                <a16:creationId xmlns:a16="http://schemas.microsoft.com/office/drawing/2014/main" id="{4AEAEA3B-3A9D-1C55-E12D-6D4B8041192D}"/>
              </a:ext>
            </a:extLst>
          </p:cNvPr>
          <p:cNvGrpSpPr/>
          <p:nvPr/>
        </p:nvGrpSpPr>
        <p:grpSpPr>
          <a:xfrm>
            <a:off x="11199907" y="3067919"/>
            <a:ext cx="461846" cy="504363"/>
            <a:chOff x="6000092" y="1357908"/>
            <a:chExt cx="365300" cy="398929"/>
          </a:xfrm>
        </p:grpSpPr>
        <p:sp>
          <p:nvSpPr>
            <p:cNvPr id="155" name="Forma livre: Forma 154">
              <a:extLst>
                <a:ext uri="{FF2B5EF4-FFF2-40B4-BE49-F238E27FC236}">
                  <a16:creationId xmlns:a16="http://schemas.microsoft.com/office/drawing/2014/main" id="{5AFC9659-3357-266A-FCF6-FBB3EF35176E}"/>
                </a:ext>
              </a:extLst>
            </p:cNvPr>
            <p:cNvSpPr/>
            <p:nvPr/>
          </p:nvSpPr>
          <p:spPr>
            <a:xfrm>
              <a:off x="6000092" y="1418606"/>
              <a:ext cx="84058" cy="286120"/>
            </a:xfrm>
            <a:custGeom>
              <a:avLst/>
              <a:gdLst>
                <a:gd name="connsiteX0" fmla="*/ 51595 w 84058"/>
                <a:gd name="connsiteY0" fmla="*/ 0 h 286120"/>
                <a:gd name="connsiteX1" fmla="*/ 35266 w 84058"/>
                <a:gd name="connsiteY1" fmla="*/ 61674 h 286120"/>
                <a:gd name="connsiteX2" fmla="*/ 28760 w 84058"/>
                <a:gd name="connsiteY2" fmla="*/ 193415 h 286120"/>
                <a:gd name="connsiteX3" fmla="*/ 84059 w 84058"/>
                <a:gd name="connsiteY3" fmla="*/ 286121 h 2861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4058" h="286120">
                  <a:moveTo>
                    <a:pt x="51595" y="0"/>
                  </a:moveTo>
                  <a:cubicBezTo>
                    <a:pt x="37868" y="7872"/>
                    <a:pt x="26028" y="24852"/>
                    <a:pt x="35266" y="61674"/>
                  </a:cubicBezTo>
                  <a:cubicBezTo>
                    <a:pt x="35266" y="61674"/>
                    <a:pt x="-39549" y="126731"/>
                    <a:pt x="28760" y="193415"/>
                  </a:cubicBezTo>
                  <a:cubicBezTo>
                    <a:pt x="28760" y="193415"/>
                    <a:pt x="9243" y="281242"/>
                    <a:pt x="84059" y="286121"/>
                  </a:cubicBezTo>
                </a:path>
              </a:pathLst>
            </a:custGeom>
            <a:noFill/>
            <a:ln w="19050" cap="sq">
              <a:solidFill>
                <a:schemeClr val="tx1"/>
              </a:solidFill>
              <a:prstDash val="solid"/>
              <a:miter lim="800000"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56" name="Gráfico 32">
              <a:extLst>
                <a:ext uri="{FF2B5EF4-FFF2-40B4-BE49-F238E27FC236}">
                  <a16:creationId xmlns:a16="http://schemas.microsoft.com/office/drawing/2014/main" id="{BDFA4655-07D7-9220-D737-55A6A0913D68}"/>
                </a:ext>
              </a:extLst>
            </p:cNvPr>
            <p:cNvGrpSpPr/>
            <p:nvPr/>
          </p:nvGrpSpPr>
          <p:grpSpPr>
            <a:xfrm>
              <a:off x="6061121" y="1359924"/>
              <a:ext cx="128487" cy="396366"/>
              <a:chOff x="6061121" y="1359924"/>
              <a:chExt cx="128487" cy="396366"/>
            </a:xfrm>
            <a:noFill/>
          </p:grpSpPr>
          <p:sp>
            <p:nvSpPr>
              <p:cNvPr id="171" name="Forma livre: Forma 170">
                <a:extLst>
                  <a:ext uri="{FF2B5EF4-FFF2-40B4-BE49-F238E27FC236}">
                    <a16:creationId xmlns:a16="http://schemas.microsoft.com/office/drawing/2014/main" id="{A07DB954-633B-7CBF-409E-661B291EAFDE}"/>
                  </a:ext>
                </a:extLst>
              </p:cNvPr>
              <p:cNvSpPr/>
              <p:nvPr/>
            </p:nvSpPr>
            <p:spPr>
              <a:xfrm>
                <a:off x="6083891" y="1359924"/>
                <a:ext cx="105717" cy="396366"/>
              </a:xfrm>
              <a:custGeom>
                <a:avLst/>
                <a:gdLst>
                  <a:gd name="connsiteX0" fmla="*/ 52891 w 105717"/>
                  <a:gd name="connsiteY0" fmla="*/ 105718 h 396366"/>
                  <a:gd name="connsiteX1" fmla="*/ 0 w 105717"/>
                  <a:gd name="connsiteY1" fmla="*/ 52891 h 396366"/>
                  <a:gd name="connsiteX2" fmla="*/ 52891 w 105717"/>
                  <a:gd name="connsiteY2" fmla="*/ 0 h 396366"/>
                  <a:gd name="connsiteX3" fmla="*/ 105718 w 105717"/>
                  <a:gd name="connsiteY3" fmla="*/ 52826 h 396366"/>
                  <a:gd name="connsiteX4" fmla="*/ 105718 w 105717"/>
                  <a:gd name="connsiteY4" fmla="*/ 346884 h 396366"/>
                  <a:gd name="connsiteX5" fmla="*/ 80606 w 105717"/>
                  <a:gd name="connsiteY5" fmla="*/ 388911 h 396366"/>
                  <a:gd name="connsiteX6" fmla="*/ 9238 w 105717"/>
                  <a:gd name="connsiteY6" fmla="*/ 371150 h 396366"/>
                  <a:gd name="connsiteX7" fmla="*/ 15484 w 105717"/>
                  <a:gd name="connsiteY7" fmla="*/ 309216 h 396366"/>
                  <a:gd name="connsiteX8" fmla="*/ 45019 w 105717"/>
                  <a:gd name="connsiteY8" fmla="*/ 277078 h 3963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05717" h="396366">
                    <a:moveTo>
                      <a:pt x="52891" y="105718"/>
                    </a:moveTo>
                    <a:cubicBezTo>
                      <a:pt x="23681" y="105718"/>
                      <a:pt x="0" y="82037"/>
                      <a:pt x="0" y="52891"/>
                    </a:cubicBezTo>
                    <a:cubicBezTo>
                      <a:pt x="0" y="23746"/>
                      <a:pt x="23681" y="0"/>
                      <a:pt x="52891" y="0"/>
                    </a:cubicBezTo>
                    <a:cubicBezTo>
                      <a:pt x="82102" y="0"/>
                      <a:pt x="105718" y="23681"/>
                      <a:pt x="105718" y="52826"/>
                    </a:cubicBezTo>
                    <a:lnTo>
                      <a:pt x="105718" y="346884"/>
                    </a:lnTo>
                    <a:cubicBezTo>
                      <a:pt x="105718" y="364580"/>
                      <a:pt x="96414" y="379413"/>
                      <a:pt x="80606" y="388911"/>
                    </a:cubicBezTo>
                    <a:cubicBezTo>
                      <a:pt x="55949" y="403744"/>
                      <a:pt x="24006" y="395742"/>
                      <a:pt x="9238" y="371150"/>
                    </a:cubicBezTo>
                    <a:cubicBezTo>
                      <a:pt x="-2928" y="350918"/>
                      <a:pt x="260" y="325741"/>
                      <a:pt x="15484" y="309216"/>
                    </a:cubicBezTo>
                    <a:lnTo>
                      <a:pt x="45019" y="277078"/>
                    </a:lnTo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72" name="Forma livre: Forma 171">
                <a:extLst>
                  <a:ext uri="{FF2B5EF4-FFF2-40B4-BE49-F238E27FC236}">
                    <a16:creationId xmlns:a16="http://schemas.microsoft.com/office/drawing/2014/main" id="{F7AB5953-B445-A287-991A-7F5172432F8A}"/>
                  </a:ext>
                </a:extLst>
              </p:cNvPr>
              <p:cNvSpPr/>
              <p:nvPr/>
            </p:nvSpPr>
            <p:spPr>
              <a:xfrm>
                <a:off x="6144784" y="1383865"/>
                <a:ext cx="41563" cy="38963"/>
              </a:xfrm>
              <a:custGeom>
                <a:avLst/>
                <a:gdLst>
                  <a:gd name="connsiteX0" fmla="*/ 36172 w 41563"/>
                  <a:gd name="connsiteY0" fmla="*/ 0 h 38963"/>
                  <a:gd name="connsiteX1" fmla="*/ 39425 w 41563"/>
                  <a:gd name="connsiteY1" fmla="*/ 24266 h 38963"/>
                  <a:gd name="connsiteX2" fmla="*/ 36432 w 41563"/>
                  <a:gd name="connsiteY2" fmla="*/ 29080 h 38963"/>
                  <a:gd name="connsiteX3" fmla="*/ 0 w 41563"/>
                  <a:gd name="connsiteY3" fmla="*/ 33439 h 389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563" h="38963">
                    <a:moveTo>
                      <a:pt x="36172" y="0"/>
                    </a:moveTo>
                    <a:cubicBezTo>
                      <a:pt x="41571" y="7547"/>
                      <a:pt x="43393" y="16004"/>
                      <a:pt x="39425" y="24266"/>
                    </a:cubicBezTo>
                    <a:cubicBezTo>
                      <a:pt x="38644" y="25893"/>
                      <a:pt x="37603" y="27519"/>
                      <a:pt x="36432" y="29080"/>
                    </a:cubicBezTo>
                    <a:cubicBezTo>
                      <a:pt x="27584" y="40270"/>
                      <a:pt x="11190" y="42287"/>
                      <a:pt x="0" y="33439"/>
                    </a:cubicBezTo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73" name="Forma livre: Forma 172">
                <a:extLst>
                  <a:ext uri="{FF2B5EF4-FFF2-40B4-BE49-F238E27FC236}">
                    <a16:creationId xmlns:a16="http://schemas.microsoft.com/office/drawing/2014/main" id="{FE365B70-04D7-0EB7-5AAA-3EC009443DCD}"/>
                  </a:ext>
                </a:extLst>
              </p:cNvPr>
              <p:cNvSpPr/>
              <p:nvPr/>
            </p:nvSpPr>
            <p:spPr>
              <a:xfrm>
                <a:off x="6081487" y="1460806"/>
                <a:ext cx="34217" cy="54474"/>
              </a:xfrm>
              <a:custGeom>
                <a:avLst/>
                <a:gdLst>
                  <a:gd name="connsiteX0" fmla="*/ 21076 w 34217"/>
                  <a:gd name="connsiteY0" fmla="*/ 54475 h 54474"/>
                  <a:gd name="connsiteX1" fmla="*/ 778 w 34217"/>
                  <a:gd name="connsiteY1" fmla="*/ 21035 h 54474"/>
                  <a:gd name="connsiteX2" fmla="*/ 34217 w 34217"/>
                  <a:gd name="connsiteY2" fmla="*/ 803 h 544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4217" h="54474">
                    <a:moveTo>
                      <a:pt x="21076" y="54475"/>
                    </a:moveTo>
                    <a:cubicBezTo>
                      <a:pt x="6308" y="50832"/>
                      <a:pt x="-2800" y="35803"/>
                      <a:pt x="778" y="21035"/>
                    </a:cubicBezTo>
                    <a:cubicBezTo>
                      <a:pt x="4421" y="6267"/>
                      <a:pt x="19449" y="-2841"/>
                      <a:pt x="34217" y="803"/>
                    </a:cubicBezTo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74" name="Forma livre: Forma 173">
                <a:extLst>
                  <a:ext uri="{FF2B5EF4-FFF2-40B4-BE49-F238E27FC236}">
                    <a16:creationId xmlns:a16="http://schemas.microsoft.com/office/drawing/2014/main" id="{70922516-CD15-D327-4CFA-AFCE9CEBDDEB}"/>
                  </a:ext>
                </a:extLst>
              </p:cNvPr>
              <p:cNvSpPr/>
              <p:nvPr/>
            </p:nvSpPr>
            <p:spPr>
              <a:xfrm>
                <a:off x="6073547" y="1527543"/>
                <a:ext cx="114760" cy="72506"/>
              </a:xfrm>
              <a:custGeom>
                <a:avLst/>
                <a:gdLst>
                  <a:gd name="connsiteX0" fmla="*/ 114760 w 114760"/>
                  <a:gd name="connsiteY0" fmla="*/ 7254 h 72506"/>
                  <a:gd name="connsiteX1" fmla="*/ 73905 w 114760"/>
                  <a:gd name="connsiteY1" fmla="*/ 8881 h 72506"/>
                  <a:gd name="connsiteX2" fmla="*/ 0 w 114760"/>
                  <a:gd name="connsiteY2" fmla="*/ 72506 h 725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14760" h="72506">
                    <a:moveTo>
                      <a:pt x="114760" y="7254"/>
                    </a:moveTo>
                    <a:cubicBezTo>
                      <a:pt x="103375" y="-2830"/>
                      <a:pt x="83989" y="-2504"/>
                      <a:pt x="73905" y="8881"/>
                    </a:cubicBezTo>
                    <a:cubicBezTo>
                      <a:pt x="73905" y="8881"/>
                      <a:pt x="31488" y="72506"/>
                      <a:pt x="0" y="72506"/>
                    </a:cubicBezTo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75" name="Forma livre: Forma 174">
                <a:extLst>
                  <a:ext uri="{FF2B5EF4-FFF2-40B4-BE49-F238E27FC236}">
                    <a16:creationId xmlns:a16="http://schemas.microsoft.com/office/drawing/2014/main" id="{2FB42450-6A6A-90B2-7F58-F7CFEF0DC7BC}"/>
                  </a:ext>
                </a:extLst>
              </p:cNvPr>
              <p:cNvSpPr/>
              <p:nvPr/>
            </p:nvSpPr>
            <p:spPr>
              <a:xfrm>
                <a:off x="6079857" y="1646956"/>
                <a:ext cx="29405" cy="9823"/>
              </a:xfrm>
              <a:custGeom>
                <a:avLst/>
                <a:gdLst>
                  <a:gd name="connsiteX0" fmla="*/ 0 w 29405"/>
                  <a:gd name="connsiteY0" fmla="*/ 0 h 9823"/>
                  <a:gd name="connsiteX1" fmla="*/ 29406 w 29405"/>
                  <a:gd name="connsiteY1" fmla="*/ 9824 h 98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9405" h="9823">
                    <a:moveTo>
                      <a:pt x="0" y="0"/>
                    </a:moveTo>
                    <a:lnTo>
                      <a:pt x="29406" y="9824"/>
                    </a:lnTo>
                  </a:path>
                </a:pathLst>
              </a:custGeom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76" name="Forma livre: Forma 175">
                <a:extLst>
                  <a:ext uri="{FF2B5EF4-FFF2-40B4-BE49-F238E27FC236}">
                    <a16:creationId xmlns:a16="http://schemas.microsoft.com/office/drawing/2014/main" id="{0C172279-7DF6-E0F0-E393-5AA6A13C5572}"/>
                  </a:ext>
                </a:extLst>
              </p:cNvPr>
              <p:cNvSpPr/>
              <p:nvPr/>
            </p:nvSpPr>
            <p:spPr>
              <a:xfrm>
                <a:off x="6061121" y="1545272"/>
                <a:ext cx="47166" cy="34154"/>
              </a:xfrm>
              <a:custGeom>
                <a:avLst/>
                <a:gdLst>
                  <a:gd name="connsiteX0" fmla="*/ 0 w 47166"/>
                  <a:gd name="connsiteY0" fmla="*/ 0 h 34154"/>
                  <a:gd name="connsiteX1" fmla="*/ 47166 w 47166"/>
                  <a:gd name="connsiteY1" fmla="*/ 34155 h 341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166" h="34154">
                    <a:moveTo>
                      <a:pt x="0" y="0"/>
                    </a:moveTo>
                    <a:cubicBezTo>
                      <a:pt x="0" y="0"/>
                      <a:pt x="27649" y="13011"/>
                      <a:pt x="47166" y="34155"/>
                    </a:cubicBezTo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57" name="Gráfico 32">
              <a:extLst>
                <a:ext uri="{FF2B5EF4-FFF2-40B4-BE49-F238E27FC236}">
                  <a16:creationId xmlns:a16="http://schemas.microsoft.com/office/drawing/2014/main" id="{1D1235AD-CD20-2A7A-39DC-15BCD0877BBD}"/>
                </a:ext>
              </a:extLst>
            </p:cNvPr>
            <p:cNvGrpSpPr/>
            <p:nvPr/>
          </p:nvGrpSpPr>
          <p:grpSpPr>
            <a:xfrm>
              <a:off x="6191625" y="1599725"/>
              <a:ext cx="173767" cy="157112"/>
              <a:chOff x="6191625" y="1599725"/>
              <a:chExt cx="173767" cy="157112"/>
            </a:xfrm>
            <a:noFill/>
          </p:grpSpPr>
          <p:sp>
            <p:nvSpPr>
              <p:cNvPr id="167" name="Forma livre: Forma 166">
                <a:extLst>
                  <a:ext uri="{FF2B5EF4-FFF2-40B4-BE49-F238E27FC236}">
                    <a16:creationId xmlns:a16="http://schemas.microsoft.com/office/drawing/2014/main" id="{388667FE-7947-EEB0-0125-2515DABE7DDC}"/>
                  </a:ext>
                </a:extLst>
              </p:cNvPr>
              <p:cNvSpPr/>
              <p:nvPr/>
            </p:nvSpPr>
            <p:spPr>
              <a:xfrm>
                <a:off x="6310094" y="1621974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68" name="Forma livre: Forma 167">
                <a:extLst>
                  <a:ext uri="{FF2B5EF4-FFF2-40B4-BE49-F238E27FC236}">
                    <a16:creationId xmlns:a16="http://schemas.microsoft.com/office/drawing/2014/main" id="{09D878D4-5B2E-2564-6941-CA278B79E269}"/>
                  </a:ext>
                </a:extLst>
              </p:cNvPr>
              <p:cNvSpPr/>
              <p:nvPr/>
            </p:nvSpPr>
            <p:spPr>
              <a:xfrm>
                <a:off x="6191625" y="1599725"/>
                <a:ext cx="118078" cy="49898"/>
              </a:xfrm>
              <a:custGeom>
                <a:avLst/>
                <a:gdLst>
                  <a:gd name="connsiteX0" fmla="*/ 0 w 118078"/>
                  <a:gd name="connsiteY0" fmla="*/ 0 h 49898"/>
                  <a:gd name="connsiteX1" fmla="*/ 37343 w 118078"/>
                  <a:gd name="connsiteY1" fmla="*/ 0 h 49898"/>
                  <a:gd name="connsiteX2" fmla="*/ 87176 w 118078"/>
                  <a:gd name="connsiteY2" fmla="*/ 49899 h 49898"/>
                  <a:gd name="connsiteX3" fmla="*/ 118078 w 118078"/>
                  <a:gd name="connsiteY3" fmla="*/ 49899 h 49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8078" h="49898">
                    <a:moveTo>
                      <a:pt x="0" y="0"/>
                    </a:moveTo>
                    <a:lnTo>
                      <a:pt x="37343" y="0"/>
                    </a:lnTo>
                    <a:lnTo>
                      <a:pt x="87176" y="49899"/>
                    </a:lnTo>
                    <a:lnTo>
                      <a:pt x="118078" y="49899"/>
                    </a:lnTo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69" name="Forma livre: Forma 168">
                <a:extLst>
                  <a:ext uri="{FF2B5EF4-FFF2-40B4-BE49-F238E27FC236}">
                    <a16:creationId xmlns:a16="http://schemas.microsoft.com/office/drawing/2014/main" id="{E735E11F-7A21-4B2B-C8BE-0E62BF2A3F20}"/>
                  </a:ext>
                </a:extLst>
              </p:cNvPr>
              <p:cNvSpPr/>
              <p:nvPr/>
            </p:nvSpPr>
            <p:spPr>
              <a:xfrm>
                <a:off x="6191625" y="1665367"/>
                <a:ext cx="81906" cy="44108"/>
              </a:xfrm>
              <a:custGeom>
                <a:avLst/>
                <a:gdLst>
                  <a:gd name="connsiteX0" fmla="*/ 0 w 81906"/>
                  <a:gd name="connsiteY0" fmla="*/ 0 h 44108"/>
                  <a:gd name="connsiteX1" fmla="*/ 37343 w 81906"/>
                  <a:gd name="connsiteY1" fmla="*/ 0 h 44108"/>
                  <a:gd name="connsiteX2" fmla="*/ 81907 w 81906"/>
                  <a:gd name="connsiteY2" fmla="*/ 44109 h 441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1906" h="44108">
                    <a:moveTo>
                      <a:pt x="0" y="0"/>
                    </a:moveTo>
                    <a:lnTo>
                      <a:pt x="37343" y="0"/>
                    </a:lnTo>
                    <a:lnTo>
                      <a:pt x="81907" y="44109"/>
                    </a:lnTo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70" name="Forma livre: Forma 169">
                <a:extLst>
                  <a:ext uri="{FF2B5EF4-FFF2-40B4-BE49-F238E27FC236}">
                    <a16:creationId xmlns:a16="http://schemas.microsoft.com/office/drawing/2014/main" id="{86E6EA45-A2B5-223E-2852-743AE16FABFB}"/>
                  </a:ext>
                </a:extLst>
              </p:cNvPr>
              <p:cNvSpPr/>
              <p:nvPr/>
            </p:nvSpPr>
            <p:spPr>
              <a:xfrm>
                <a:off x="6265075" y="1701539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58" name="Gráfico 32">
              <a:extLst>
                <a:ext uri="{FF2B5EF4-FFF2-40B4-BE49-F238E27FC236}">
                  <a16:creationId xmlns:a16="http://schemas.microsoft.com/office/drawing/2014/main" id="{6D59E8E9-8D1C-F804-88EC-635CD4219C80}"/>
                </a:ext>
              </a:extLst>
            </p:cNvPr>
            <p:cNvGrpSpPr/>
            <p:nvPr/>
          </p:nvGrpSpPr>
          <p:grpSpPr>
            <a:xfrm>
              <a:off x="6191625" y="1357908"/>
              <a:ext cx="173767" cy="157112"/>
              <a:chOff x="6191625" y="1357908"/>
              <a:chExt cx="173767" cy="157112"/>
            </a:xfrm>
            <a:noFill/>
          </p:grpSpPr>
          <p:sp>
            <p:nvSpPr>
              <p:cNvPr id="163" name="Forma livre: Forma 162">
                <a:extLst>
                  <a:ext uri="{FF2B5EF4-FFF2-40B4-BE49-F238E27FC236}">
                    <a16:creationId xmlns:a16="http://schemas.microsoft.com/office/drawing/2014/main" id="{1312E488-F288-D9BA-DB23-6D1A7FF83801}"/>
                  </a:ext>
                </a:extLst>
              </p:cNvPr>
              <p:cNvSpPr/>
              <p:nvPr/>
            </p:nvSpPr>
            <p:spPr>
              <a:xfrm>
                <a:off x="6310094" y="1437472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0 h 55298"/>
                  <a:gd name="connsiteX2" fmla="*/ 0 w 55298"/>
                  <a:gd name="connsiteY2" fmla="*/ 27649 h 55298"/>
                  <a:gd name="connsiteX3" fmla="*/ 27649 w 55298"/>
                  <a:gd name="connsiteY3" fmla="*/ 55298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12361"/>
                      <a:pt x="42938" y="0"/>
                      <a:pt x="27649" y="0"/>
                    </a:cubicBezTo>
                    <a:cubicBezTo>
                      <a:pt x="12361" y="0"/>
                      <a:pt x="0" y="12361"/>
                      <a:pt x="0" y="27649"/>
                    </a:cubicBezTo>
                    <a:cubicBezTo>
                      <a:pt x="0" y="42938"/>
                      <a:pt x="12361" y="55298"/>
                      <a:pt x="27649" y="55298"/>
                    </a:cubicBezTo>
                    <a:cubicBezTo>
                      <a:pt x="42938" y="55298"/>
                      <a:pt x="55298" y="42938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64" name="Forma livre: Forma 163">
                <a:extLst>
                  <a:ext uri="{FF2B5EF4-FFF2-40B4-BE49-F238E27FC236}">
                    <a16:creationId xmlns:a16="http://schemas.microsoft.com/office/drawing/2014/main" id="{DA98E536-91C7-C1E2-E0C8-30994991D0C8}"/>
                  </a:ext>
                </a:extLst>
              </p:cNvPr>
              <p:cNvSpPr/>
              <p:nvPr/>
            </p:nvSpPr>
            <p:spPr>
              <a:xfrm>
                <a:off x="6191625" y="1465122"/>
                <a:ext cx="118468" cy="49898"/>
              </a:xfrm>
              <a:custGeom>
                <a:avLst/>
                <a:gdLst>
                  <a:gd name="connsiteX0" fmla="*/ 0 w 118468"/>
                  <a:gd name="connsiteY0" fmla="*/ 49899 h 49898"/>
                  <a:gd name="connsiteX1" fmla="*/ 37343 w 118468"/>
                  <a:gd name="connsiteY1" fmla="*/ 49899 h 49898"/>
                  <a:gd name="connsiteX2" fmla="*/ 87176 w 118468"/>
                  <a:gd name="connsiteY2" fmla="*/ 0 h 49898"/>
                  <a:gd name="connsiteX3" fmla="*/ 118469 w 118468"/>
                  <a:gd name="connsiteY3" fmla="*/ 0 h 49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8468" h="49898">
                    <a:moveTo>
                      <a:pt x="0" y="49899"/>
                    </a:moveTo>
                    <a:lnTo>
                      <a:pt x="37343" y="49899"/>
                    </a:lnTo>
                    <a:lnTo>
                      <a:pt x="87176" y="0"/>
                    </a:lnTo>
                    <a:lnTo>
                      <a:pt x="118469" y="0"/>
                    </a:lnTo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65" name="Forma livre: Forma 164">
                <a:extLst>
                  <a:ext uri="{FF2B5EF4-FFF2-40B4-BE49-F238E27FC236}">
                    <a16:creationId xmlns:a16="http://schemas.microsoft.com/office/drawing/2014/main" id="{BC4F2A46-4B96-6D56-411E-76F9E6B2FBAB}"/>
                  </a:ext>
                </a:extLst>
              </p:cNvPr>
              <p:cNvSpPr/>
              <p:nvPr/>
            </p:nvSpPr>
            <p:spPr>
              <a:xfrm>
                <a:off x="6191625" y="1405269"/>
                <a:ext cx="81451" cy="44043"/>
              </a:xfrm>
              <a:custGeom>
                <a:avLst/>
                <a:gdLst>
                  <a:gd name="connsiteX0" fmla="*/ 0 w 81451"/>
                  <a:gd name="connsiteY0" fmla="*/ 44044 h 44043"/>
                  <a:gd name="connsiteX1" fmla="*/ 37343 w 81451"/>
                  <a:gd name="connsiteY1" fmla="*/ 44044 h 44043"/>
                  <a:gd name="connsiteX2" fmla="*/ 81451 w 81451"/>
                  <a:gd name="connsiteY2" fmla="*/ 0 h 440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1451" h="44043">
                    <a:moveTo>
                      <a:pt x="0" y="44044"/>
                    </a:moveTo>
                    <a:lnTo>
                      <a:pt x="37343" y="44044"/>
                    </a:lnTo>
                    <a:lnTo>
                      <a:pt x="81451" y="0"/>
                    </a:lnTo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66" name="Forma livre: Forma 165">
                <a:extLst>
                  <a:ext uri="{FF2B5EF4-FFF2-40B4-BE49-F238E27FC236}">
                    <a16:creationId xmlns:a16="http://schemas.microsoft.com/office/drawing/2014/main" id="{1BE8DFA4-739F-0530-1C5C-A7AFE290B797}"/>
                  </a:ext>
                </a:extLst>
              </p:cNvPr>
              <p:cNvSpPr/>
              <p:nvPr/>
            </p:nvSpPr>
            <p:spPr>
              <a:xfrm>
                <a:off x="6265075" y="1357908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0 h 55298"/>
                  <a:gd name="connsiteX2" fmla="*/ 0 w 55298"/>
                  <a:gd name="connsiteY2" fmla="*/ 27649 h 55298"/>
                  <a:gd name="connsiteX3" fmla="*/ 27649 w 55298"/>
                  <a:gd name="connsiteY3" fmla="*/ 55298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12361"/>
                      <a:pt x="42938" y="0"/>
                      <a:pt x="27649" y="0"/>
                    </a:cubicBezTo>
                    <a:cubicBezTo>
                      <a:pt x="12361" y="0"/>
                      <a:pt x="0" y="12361"/>
                      <a:pt x="0" y="27649"/>
                    </a:cubicBezTo>
                    <a:cubicBezTo>
                      <a:pt x="0" y="42938"/>
                      <a:pt x="12361" y="55298"/>
                      <a:pt x="27649" y="55298"/>
                    </a:cubicBezTo>
                    <a:cubicBezTo>
                      <a:pt x="42938" y="55298"/>
                      <a:pt x="55298" y="42938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59" name="Gráfico 32">
              <a:extLst>
                <a:ext uri="{FF2B5EF4-FFF2-40B4-BE49-F238E27FC236}">
                  <a16:creationId xmlns:a16="http://schemas.microsoft.com/office/drawing/2014/main" id="{69A26C26-54AA-90AD-7868-DD12816E465B}"/>
                </a:ext>
              </a:extLst>
            </p:cNvPr>
            <p:cNvGrpSpPr/>
            <p:nvPr/>
          </p:nvGrpSpPr>
          <p:grpSpPr>
            <a:xfrm>
              <a:off x="6190910" y="1529723"/>
              <a:ext cx="123673" cy="55298"/>
              <a:chOff x="6190910" y="1529723"/>
              <a:chExt cx="123673" cy="55298"/>
            </a:xfrm>
            <a:noFill/>
          </p:grpSpPr>
          <p:sp>
            <p:nvSpPr>
              <p:cNvPr id="161" name="Forma livre: Forma 160">
                <a:extLst>
                  <a:ext uri="{FF2B5EF4-FFF2-40B4-BE49-F238E27FC236}">
                    <a16:creationId xmlns:a16="http://schemas.microsoft.com/office/drawing/2014/main" id="{EE91A22E-C6B4-0105-F557-DCA7E097E419}"/>
                  </a:ext>
                </a:extLst>
              </p:cNvPr>
              <p:cNvSpPr/>
              <p:nvPr/>
            </p:nvSpPr>
            <p:spPr>
              <a:xfrm>
                <a:off x="6190910" y="1557372"/>
                <a:ext cx="68765" cy="6505"/>
              </a:xfrm>
              <a:custGeom>
                <a:avLst/>
                <a:gdLst>
                  <a:gd name="connsiteX0" fmla="*/ 0 w 68765"/>
                  <a:gd name="connsiteY0" fmla="*/ 0 h 6505"/>
                  <a:gd name="connsiteX1" fmla="*/ 68765 w 68765"/>
                  <a:gd name="connsiteY1" fmla="*/ 0 h 65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8765" h="6505">
                    <a:moveTo>
                      <a:pt x="0" y="0"/>
                    </a:moveTo>
                    <a:lnTo>
                      <a:pt x="68765" y="0"/>
                    </a:lnTo>
                  </a:path>
                </a:pathLst>
              </a:custGeom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62" name="Forma livre: Forma 161">
                <a:extLst>
                  <a:ext uri="{FF2B5EF4-FFF2-40B4-BE49-F238E27FC236}">
                    <a16:creationId xmlns:a16="http://schemas.microsoft.com/office/drawing/2014/main" id="{17471191-C1C0-EE6E-817E-DC02BB51FEC4}"/>
                  </a:ext>
                </a:extLst>
              </p:cNvPr>
              <p:cNvSpPr/>
              <p:nvPr/>
            </p:nvSpPr>
            <p:spPr>
              <a:xfrm>
                <a:off x="6259285" y="1529723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60" name="Forma livre: Forma 159">
              <a:extLst>
                <a:ext uri="{FF2B5EF4-FFF2-40B4-BE49-F238E27FC236}">
                  <a16:creationId xmlns:a16="http://schemas.microsoft.com/office/drawing/2014/main" id="{2444BAAA-C9E2-BDB3-398C-7C64D2B52FA5}"/>
                </a:ext>
              </a:extLst>
            </p:cNvPr>
            <p:cNvSpPr/>
            <p:nvPr/>
          </p:nvSpPr>
          <p:spPr>
            <a:xfrm>
              <a:off x="6152201" y="1686285"/>
              <a:ext cx="37362" cy="20848"/>
            </a:xfrm>
            <a:custGeom>
              <a:avLst/>
              <a:gdLst>
                <a:gd name="connsiteX0" fmla="*/ 0 w 37362"/>
                <a:gd name="connsiteY0" fmla="*/ 10505 h 20848"/>
                <a:gd name="connsiteX1" fmla="*/ 27064 w 37362"/>
                <a:gd name="connsiteY1" fmla="*/ 2373 h 20848"/>
                <a:gd name="connsiteX2" fmla="*/ 37343 w 37362"/>
                <a:gd name="connsiteY2" fmla="*/ 20849 h 20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7362" h="20848">
                  <a:moveTo>
                    <a:pt x="0" y="10505"/>
                  </a:moveTo>
                  <a:cubicBezTo>
                    <a:pt x="5205" y="811"/>
                    <a:pt x="17435" y="-2832"/>
                    <a:pt x="27064" y="2373"/>
                  </a:cubicBezTo>
                  <a:cubicBezTo>
                    <a:pt x="34025" y="6081"/>
                    <a:pt x="37668" y="13432"/>
                    <a:pt x="37343" y="20849"/>
                  </a:cubicBezTo>
                </a:path>
              </a:pathLst>
            </a:custGeom>
            <a:noFill/>
            <a:ln w="19050" cap="sq">
              <a:solidFill>
                <a:schemeClr val="tx1"/>
              </a:solidFill>
              <a:prstDash val="solid"/>
              <a:miter lim="800000"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sp>
        <p:nvSpPr>
          <p:cNvPr id="2" name="Marcador de pie de página 1">
            <a:extLst>
              <a:ext uri="{FF2B5EF4-FFF2-40B4-BE49-F238E27FC236}">
                <a16:creationId xmlns:a16="http://schemas.microsoft.com/office/drawing/2014/main" id="{8A232AB5-4C19-4897-877A-7EB4FD23571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pt-PT"/>
              <a:t>Título de la presentación</a:t>
            </a:r>
            <a:endParaRPr lang="pt-PT" dirty="0"/>
          </a:p>
        </p:txBody>
      </p:sp>
      <p:sp>
        <p:nvSpPr>
          <p:cNvPr id="3" name="Marcador de número de diapositiva 2">
            <a:extLst>
              <a:ext uri="{FF2B5EF4-FFF2-40B4-BE49-F238E27FC236}">
                <a16:creationId xmlns:a16="http://schemas.microsoft.com/office/drawing/2014/main" id="{F26A3AB2-97AC-435A-A543-0369E45C644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4A347C2-D68E-473A-8C76-1D063E4EB6E0}" type="slidenum">
              <a:rPr lang="es-ES" smtClean="0"/>
              <a:pPr/>
              <a:t>41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42681590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8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0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1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ítulo 21">
            <a:extLst>
              <a:ext uri="{FF2B5EF4-FFF2-40B4-BE49-F238E27FC236}">
                <a16:creationId xmlns:a16="http://schemas.microsoft.com/office/drawing/2014/main" id="{3C7C492C-30BF-6E09-7FD9-3E0A31E126B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PT" dirty="0"/>
              <a:t>Ejemplo de título de slide</a:t>
            </a:r>
          </a:p>
        </p:txBody>
      </p:sp>
      <p:sp>
        <p:nvSpPr>
          <p:cNvPr id="23" name="Marcador de Posição do Texto 22">
            <a:extLst>
              <a:ext uri="{FF2B5EF4-FFF2-40B4-BE49-F238E27FC236}">
                <a16:creationId xmlns:a16="http://schemas.microsoft.com/office/drawing/2014/main" id="{DC5FCD12-B18B-9BA2-39E4-1500E8E7BED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>
            <a:normAutofit lnSpcReduction="10000"/>
          </a:bodyPr>
          <a:lstStyle/>
          <a:p>
            <a:r>
              <a:rPr lang="pt-PT" dirty="0"/>
              <a:t>Ejemplo de subtítulo de slide</a:t>
            </a:r>
          </a:p>
        </p:txBody>
      </p:sp>
      <p:sp>
        <p:nvSpPr>
          <p:cNvPr id="260" name="Marcador de Posição do Texto 259">
            <a:extLst>
              <a:ext uri="{FF2B5EF4-FFF2-40B4-BE49-F238E27FC236}">
                <a16:creationId xmlns:a16="http://schemas.microsoft.com/office/drawing/2014/main" id="{C36F4646-D6DD-01CC-CB52-B09412A65A60}"/>
              </a:ext>
            </a:extLst>
          </p:cNvPr>
          <p:cNvSpPr>
            <a:spLocks noGrp="1"/>
          </p:cNvSpPr>
          <p:nvPr>
            <p:ph type="body" sz="quarter" idx="52"/>
          </p:nvPr>
        </p:nvSpPr>
        <p:spPr/>
        <p:txBody>
          <a:bodyPr/>
          <a:lstStyle/>
          <a:p>
            <a:r>
              <a:rPr lang="pt-PT" dirty="0"/>
              <a:t>Texto</a:t>
            </a:r>
            <a:br>
              <a:rPr lang="pt-PT" dirty="0"/>
            </a:br>
            <a:r>
              <a:rPr lang="pt-PT" dirty="0"/>
              <a:t>Destacado</a:t>
            </a:r>
          </a:p>
        </p:txBody>
      </p:sp>
      <p:sp>
        <p:nvSpPr>
          <p:cNvPr id="261" name="Marcador de Posição do Texto 260">
            <a:extLst>
              <a:ext uri="{FF2B5EF4-FFF2-40B4-BE49-F238E27FC236}">
                <a16:creationId xmlns:a16="http://schemas.microsoft.com/office/drawing/2014/main" id="{45816288-D40D-47FF-94B7-4F17DCCE03FB}"/>
              </a:ext>
            </a:extLst>
          </p:cNvPr>
          <p:cNvSpPr>
            <a:spLocks noGrp="1"/>
          </p:cNvSpPr>
          <p:nvPr>
            <p:ph type="body" sz="quarter" idx="53"/>
          </p:nvPr>
        </p:nvSpPr>
        <p:spPr/>
        <p:txBody>
          <a:bodyPr/>
          <a:lstStyle/>
          <a:p>
            <a:r>
              <a:rPr lang="pt-PT" dirty="0" err="1"/>
              <a:t>Lorem</a:t>
            </a:r>
            <a:r>
              <a:rPr lang="pt-PT" dirty="0"/>
              <a:t> </a:t>
            </a:r>
            <a:r>
              <a:rPr lang="pt-PT" dirty="0" err="1"/>
              <a:t>ipsum</a:t>
            </a:r>
            <a:br>
              <a:rPr lang="pt-PT" dirty="0"/>
            </a:br>
            <a:r>
              <a:rPr lang="pt-PT" dirty="0" err="1"/>
              <a:t>dolor</a:t>
            </a:r>
            <a:r>
              <a:rPr lang="pt-PT" dirty="0"/>
              <a:t>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endParaRPr lang="pt-PT" dirty="0"/>
          </a:p>
        </p:txBody>
      </p:sp>
      <p:sp>
        <p:nvSpPr>
          <p:cNvPr id="259" name="Marcador de Posição do Texto 258">
            <a:extLst>
              <a:ext uri="{FF2B5EF4-FFF2-40B4-BE49-F238E27FC236}">
                <a16:creationId xmlns:a16="http://schemas.microsoft.com/office/drawing/2014/main" id="{4D5A69DD-D586-8489-7882-69F5C1978A0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pt-PT" dirty="0"/>
              <a:t>Lorem ipsum dolor sit amet, consectetuer adipiscing elit. Maecenas porttitor congue massa. Fusce posuere, magna sed pulvinar ultricies, purus lectus malesuada libero, sit amet commodo magna eros quis urna.</a:t>
            </a:r>
          </a:p>
        </p:txBody>
      </p:sp>
      <p:grpSp>
        <p:nvGrpSpPr>
          <p:cNvPr id="258" name="Agrupar 257">
            <a:extLst>
              <a:ext uri="{FF2B5EF4-FFF2-40B4-BE49-F238E27FC236}">
                <a16:creationId xmlns:a16="http://schemas.microsoft.com/office/drawing/2014/main" id="{63176AA4-F361-5A30-8079-8DEF1F5792F3}"/>
              </a:ext>
            </a:extLst>
          </p:cNvPr>
          <p:cNvGrpSpPr/>
          <p:nvPr/>
        </p:nvGrpSpPr>
        <p:grpSpPr>
          <a:xfrm>
            <a:off x="2508190" y="1489288"/>
            <a:ext cx="9112309" cy="5291088"/>
            <a:chOff x="1632154" y="1598949"/>
            <a:chExt cx="9112309" cy="5291088"/>
          </a:xfrm>
        </p:grpSpPr>
        <p:sp>
          <p:nvSpPr>
            <p:cNvPr id="28" name="Forma livre: Forma 27">
              <a:extLst>
                <a:ext uri="{FF2B5EF4-FFF2-40B4-BE49-F238E27FC236}">
                  <a16:creationId xmlns:a16="http://schemas.microsoft.com/office/drawing/2014/main" id="{116F7B9F-6EDD-1FFA-CE54-F324E2FB69A9}"/>
                </a:ext>
              </a:extLst>
            </p:cNvPr>
            <p:cNvSpPr/>
            <p:nvPr/>
          </p:nvSpPr>
          <p:spPr>
            <a:xfrm>
              <a:off x="3583673" y="4963938"/>
              <a:ext cx="55219" cy="35017"/>
            </a:xfrm>
            <a:custGeom>
              <a:avLst/>
              <a:gdLst>
                <a:gd name="connsiteX0" fmla="*/ 51153 w 53434"/>
                <a:gd name="connsiteY0" fmla="*/ 25577 h 33885"/>
                <a:gd name="connsiteX1" fmla="*/ 46918 w 53434"/>
                <a:gd name="connsiteY1" fmla="*/ 29487 h 33885"/>
                <a:gd name="connsiteX2" fmla="*/ 47407 w 53434"/>
                <a:gd name="connsiteY2" fmla="*/ 33885 h 33885"/>
                <a:gd name="connsiteX3" fmla="*/ 53434 w 53434"/>
                <a:gd name="connsiteY3" fmla="*/ 28998 h 33885"/>
                <a:gd name="connsiteX4" fmla="*/ 52945 w 53434"/>
                <a:gd name="connsiteY4" fmla="*/ 25577 h 33885"/>
                <a:gd name="connsiteX5" fmla="*/ 51153 w 53434"/>
                <a:gd name="connsiteY5" fmla="*/ 25577 h 33885"/>
                <a:gd name="connsiteX6" fmla="*/ 28346 w 53434"/>
                <a:gd name="connsiteY6" fmla="*/ 20689 h 33885"/>
                <a:gd name="connsiteX7" fmla="*/ 32256 w 53434"/>
                <a:gd name="connsiteY7" fmla="*/ 18734 h 33885"/>
                <a:gd name="connsiteX8" fmla="*/ 36166 w 53434"/>
                <a:gd name="connsiteY8" fmla="*/ 20689 h 33885"/>
                <a:gd name="connsiteX9" fmla="*/ 32256 w 53434"/>
                <a:gd name="connsiteY9" fmla="*/ 24436 h 33885"/>
                <a:gd name="connsiteX10" fmla="*/ 28346 w 53434"/>
                <a:gd name="connsiteY10" fmla="*/ 20689 h 33885"/>
                <a:gd name="connsiteX11" fmla="*/ 28346 w 53434"/>
                <a:gd name="connsiteY11" fmla="*/ 20689 h 33885"/>
                <a:gd name="connsiteX12" fmla="*/ 21178 w 53434"/>
                <a:gd name="connsiteY12" fmla="*/ 8308 h 33885"/>
                <a:gd name="connsiteX13" fmla="*/ 19549 w 53434"/>
                <a:gd name="connsiteY13" fmla="*/ 12218 h 33885"/>
                <a:gd name="connsiteX14" fmla="*/ 23948 w 53434"/>
                <a:gd name="connsiteY14" fmla="*/ 13033 h 33885"/>
                <a:gd name="connsiteX15" fmla="*/ 21178 w 53434"/>
                <a:gd name="connsiteY15" fmla="*/ 8308 h 33885"/>
                <a:gd name="connsiteX16" fmla="*/ 21178 w 53434"/>
                <a:gd name="connsiteY16" fmla="*/ 8308 h 33885"/>
                <a:gd name="connsiteX17" fmla="*/ 1792 w 53434"/>
                <a:gd name="connsiteY17" fmla="*/ 14173 h 33885"/>
                <a:gd name="connsiteX18" fmla="*/ 6191 w 53434"/>
                <a:gd name="connsiteY18" fmla="*/ 15476 h 33885"/>
                <a:gd name="connsiteX19" fmla="*/ 6191 w 53434"/>
                <a:gd name="connsiteY19" fmla="*/ 20038 h 33885"/>
                <a:gd name="connsiteX20" fmla="*/ 1303 w 53434"/>
                <a:gd name="connsiteY20" fmla="*/ 19712 h 33885"/>
                <a:gd name="connsiteX21" fmla="*/ 0 w 53434"/>
                <a:gd name="connsiteY21" fmla="*/ 16128 h 33885"/>
                <a:gd name="connsiteX22" fmla="*/ 1792 w 53434"/>
                <a:gd name="connsiteY22" fmla="*/ 14173 h 33885"/>
                <a:gd name="connsiteX23" fmla="*/ 1792 w 53434"/>
                <a:gd name="connsiteY23" fmla="*/ 14173 h 33885"/>
                <a:gd name="connsiteX24" fmla="*/ 4073 w 53434"/>
                <a:gd name="connsiteY24" fmla="*/ 6516 h 33885"/>
                <a:gd name="connsiteX25" fmla="*/ 7820 w 53434"/>
                <a:gd name="connsiteY25" fmla="*/ 7494 h 33885"/>
                <a:gd name="connsiteX26" fmla="*/ 8308 w 53434"/>
                <a:gd name="connsiteY26" fmla="*/ 13684 h 33885"/>
                <a:gd name="connsiteX27" fmla="*/ 13033 w 53434"/>
                <a:gd name="connsiteY27" fmla="*/ 21504 h 33885"/>
                <a:gd name="connsiteX28" fmla="*/ 8797 w 53434"/>
                <a:gd name="connsiteY28" fmla="*/ 24110 h 33885"/>
                <a:gd name="connsiteX29" fmla="*/ 6191 w 53434"/>
                <a:gd name="connsiteY29" fmla="*/ 29812 h 33885"/>
                <a:gd name="connsiteX30" fmla="*/ 7820 w 53434"/>
                <a:gd name="connsiteY30" fmla="*/ 32093 h 33885"/>
                <a:gd name="connsiteX31" fmla="*/ 16780 w 53434"/>
                <a:gd name="connsiteY31" fmla="*/ 29975 h 33885"/>
                <a:gd name="connsiteX32" fmla="*/ 18572 w 53434"/>
                <a:gd name="connsiteY32" fmla="*/ 24599 h 33885"/>
                <a:gd name="connsiteX33" fmla="*/ 14825 w 53434"/>
                <a:gd name="connsiteY33" fmla="*/ 18897 h 33885"/>
                <a:gd name="connsiteX34" fmla="*/ 14825 w 53434"/>
                <a:gd name="connsiteY34" fmla="*/ 15476 h 33885"/>
                <a:gd name="connsiteX35" fmla="*/ 12055 w 53434"/>
                <a:gd name="connsiteY35" fmla="*/ 10589 h 33885"/>
                <a:gd name="connsiteX36" fmla="*/ 12055 w 53434"/>
                <a:gd name="connsiteY36" fmla="*/ 3747 h 33885"/>
                <a:gd name="connsiteX37" fmla="*/ 7820 w 53434"/>
                <a:gd name="connsiteY37" fmla="*/ 0 h 33885"/>
                <a:gd name="connsiteX38" fmla="*/ 3258 w 53434"/>
                <a:gd name="connsiteY38" fmla="*/ 2932 h 33885"/>
                <a:gd name="connsiteX39" fmla="*/ 3747 w 53434"/>
                <a:gd name="connsiteY39" fmla="*/ 6516 h 338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</a:cxnLst>
              <a:rect l="l" t="t" r="r" b="b"/>
              <a:pathLst>
                <a:path w="53434" h="33885">
                  <a:moveTo>
                    <a:pt x="51153" y="25577"/>
                  </a:moveTo>
                  <a:lnTo>
                    <a:pt x="46918" y="29487"/>
                  </a:lnTo>
                  <a:lnTo>
                    <a:pt x="47407" y="33885"/>
                  </a:lnTo>
                  <a:lnTo>
                    <a:pt x="53434" y="28998"/>
                  </a:lnTo>
                  <a:lnTo>
                    <a:pt x="52945" y="25577"/>
                  </a:lnTo>
                  <a:lnTo>
                    <a:pt x="51153" y="25577"/>
                  </a:lnTo>
                  <a:close/>
                  <a:moveTo>
                    <a:pt x="28346" y="20689"/>
                  </a:moveTo>
                  <a:lnTo>
                    <a:pt x="32256" y="18734"/>
                  </a:lnTo>
                  <a:lnTo>
                    <a:pt x="36166" y="20689"/>
                  </a:lnTo>
                  <a:lnTo>
                    <a:pt x="32256" y="24436"/>
                  </a:lnTo>
                  <a:lnTo>
                    <a:pt x="28346" y="20689"/>
                  </a:lnTo>
                  <a:lnTo>
                    <a:pt x="28346" y="20689"/>
                  </a:lnTo>
                  <a:close/>
                  <a:moveTo>
                    <a:pt x="21178" y="8308"/>
                  </a:moveTo>
                  <a:lnTo>
                    <a:pt x="19549" y="12218"/>
                  </a:lnTo>
                  <a:lnTo>
                    <a:pt x="23948" y="13033"/>
                  </a:lnTo>
                  <a:lnTo>
                    <a:pt x="21178" y="8308"/>
                  </a:lnTo>
                  <a:lnTo>
                    <a:pt x="21178" y="8308"/>
                  </a:lnTo>
                  <a:close/>
                  <a:moveTo>
                    <a:pt x="1792" y="14173"/>
                  </a:moveTo>
                  <a:lnTo>
                    <a:pt x="6191" y="15476"/>
                  </a:lnTo>
                  <a:lnTo>
                    <a:pt x="6191" y="20038"/>
                  </a:lnTo>
                  <a:lnTo>
                    <a:pt x="1303" y="19712"/>
                  </a:lnTo>
                  <a:lnTo>
                    <a:pt x="0" y="16128"/>
                  </a:lnTo>
                  <a:lnTo>
                    <a:pt x="1792" y="14173"/>
                  </a:lnTo>
                  <a:lnTo>
                    <a:pt x="1792" y="14173"/>
                  </a:lnTo>
                  <a:close/>
                  <a:moveTo>
                    <a:pt x="4073" y="6516"/>
                  </a:moveTo>
                  <a:lnTo>
                    <a:pt x="7820" y="7494"/>
                  </a:lnTo>
                  <a:lnTo>
                    <a:pt x="8308" y="13684"/>
                  </a:lnTo>
                  <a:lnTo>
                    <a:pt x="13033" y="21504"/>
                  </a:lnTo>
                  <a:lnTo>
                    <a:pt x="8797" y="24110"/>
                  </a:lnTo>
                  <a:lnTo>
                    <a:pt x="6191" y="29812"/>
                  </a:lnTo>
                  <a:lnTo>
                    <a:pt x="7820" y="32093"/>
                  </a:lnTo>
                  <a:lnTo>
                    <a:pt x="16780" y="29975"/>
                  </a:lnTo>
                  <a:lnTo>
                    <a:pt x="18572" y="24599"/>
                  </a:lnTo>
                  <a:lnTo>
                    <a:pt x="14825" y="18897"/>
                  </a:lnTo>
                  <a:lnTo>
                    <a:pt x="14825" y="15476"/>
                  </a:lnTo>
                  <a:lnTo>
                    <a:pt x="12055" y="10589"/>
                  </a:lnTo>
                  <a:lnTo>
                    <a:pt x="12055" y="3747"/>
                  </a:lnTo>
                  <a:cubicBezTo>
                    <a:pt x="12055" y="3747"/>
                    <a:pt x="7820" y="0"/>
                    <a:pt x="7820" y="0"/>
                  </a:cubicBezTo>
                  <a:lnTo>
                    <a:pt x="3258" y="2932"/>
                  </a:lnTo>
                  <a:lnTo>
                    <a:pt x="3747" y="6516"/>
                  </a:lnTo>
                  <a:close/>
                </a:path>
              </a:pathLst>
            </a:custGeom>
            <a:solidFill>
              <a:schemeClr val="bg2"/>
            </a:solidFill>
            <a:ln w="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9" name="Forma livre: Forma 28">
              <a:extLst>
                <a:ext uri="{FF2B5EF4-FFF2-40B4-BE49-F238E27FC236}">
                  <a16:creationId xmlns:a16="http://schemas.microsoft.com/office/drawing/2014/main" id="{725D9A18-37BC-F687-AD7B-277F0286DD0F}"/>
                </a:ext>
              </a:extLst>
            </p:cNvPr>
            <p:cNvSpPr/>
            <p:nvPr/>
          </p:nvSpPr>
          <p:spPr>
            <a:xfrm>
              <a:off x="4532833" y="6496938"/>
              <a:ext cx="609429" cy="110269"/>
            </a:xfrm>
            <a:custGeom>
              <a:avLst/>
              <a:gdLst>
                <a:gd name="connsiteX0" fmla="*/ 577839 w 589731"/>
                <a:gd name="connsiteY0" fmla="*/ 105402 h 106705"/>
                <a:gd name="connsiteX1" fmla="*/ 576047 w 589731"/>
                <a:gd name="connsiteY1" fmla="*/ 98886 h 106705"/>
                <a:gd name="connsiteX2" fmla="*/ 572137 w 589731"/>
                <a:gd name="connsiteY2" fmla="*/ 96768 h 106705"/>
                <a:gd name="connsiteX3" fmla="*/ 571159 w 589731"/>
                <a:gd name="connsiteY3" fmla="*/ 92369 h 106705"/>
                <a:gd name="connsiteX4" fmla="*/ 567087 w 589731"/>
                <a:gd name="connsiteY4" fmla="*/ 90741 h 106705"/>
                <a:gd name="connsiteX5" fmla="*/ 565132 w 589731"/>
                <a:gd name="connsiteY5" fmla="*/ 87645 h 106705"/>
                <a:gd name="connsiteX6" fmla="*/ 560082 w 589731"/>
                <a:gd name="connsiteY6" fmla="*/ 86342 h 106705"/>
                <a:gd name="connsiteX7" fmla="*/ 560082 w 589731"/>
                <a:gd name="connsiteY7" fmla="*/ 85039 h 106705"/>
                <a:gd name="connsiteX8" fmla="*/ 566109 w 589731"/>
                <a:gd name="connsiteY8" fmla="*/ 84876 h 106705"/>
                <a:gd name="connsiteX9" fmla="*/ 571811 w 589731"/>
                <a:gd name="connsiteY9" fmla="*/ 86830 h 106705"/>
                <a:gd name="connsiteX10" fmla="*/ 572137 w 589731"/>
                <a:gd name="connsiteY10" fmla="*/ 88460 h 106705"/>
                <a:gd name="connsiteX11" fmla="*/ 574743 w 589731"/>
                <a:gd name="connsiteY11" fmla="*/ 89600 h 106705"/>
                <a:gd name="connsiteX12" fmla="*/ 579631 w 589731"/>
                <a:gd name="connsiteY12" fmla="*/ 93510 h 106705"/>
                <a:gd name="connsiteX13" fmla="*/ 581423 w 589731"/>
                <a:gd name="connsiteY13" fmla="*/ 93836 h 106705"/>
                <a:gd name="connsiteX14" fmla="*/ 582726 w 589731"/>
                <a:gd name="connsiteY14" fmla="*/ 99212 h 106705"/>
                <a:gd name="connsiteX15" fmla="*/ 586473 w 589731"/>
                <a:gd name="connsiteY15" fmla="*/ 100678 h 106705"/>
                <a:gd name="connsiteX16" fmla="*/ 589731 w 589731"/>
                <a:gd name="connsiteY16" fmla="*/ 101493 h 106705"/>
                <a:gd name="connsiteX17" fmla="*/ 587776 w 589731"/>
                <a:gd name="connsiteY17" fmla="*/ 103936 h 106705"/>
                <a:gd name="connsiteX18" fmla="*/ 584029 w 589731"/>
                <a:gd name="connsiteY18" fmla="*/ 103936 h 106705"/>
                <a:gd name="connsiteX19" fmla="*/ 581912 w 589731"/>
                <a:gd name="connsiteY19" fmla="*/ 106054 h 106705"/>
                <a:gd name="connsiteX20" fmla="*/ 579305 w 589731"/>
                <a:gd name="connsiteY20" fmla="*/ 106705 h 106705"/>
                <a:gd name="connsiteX21" fmla="*/ 578002 w 589731"/>
                <a:gd name="connsiteY21" fmla="*/ 105565 h 106705"/>
                <a:gd name="connsiteX22" fmla="*/ 578002 w 589731"/>
                <a:gd name="connsiteY22" fmla="*/ 105565 h 106705"/>
                <a:gd name="connsiteX23" fmla="*/ 26717 w 589731"/>
                <a:gd name="connsiteY23" fmla="*/ 977 h 106705"/>
                <a:gd name="connsiteX24" fmla="*/ 33396 w 589731"/>
                <a:gd name="connsiteY24" fmla="*/ 0 h 106705"/>
                <a:gd name="connsiteX25" fmla="*/ 36492 w 589731"/>
                <a:gd name="connsiteY25" fmla="*/ 3584 h 106705"/>
                <a:gd name="connsiteX26" fmla="*/ 26717 w 589731"/>
                <a:gd name="connsiteY26" fmla="*/ 977 h 106705"/>
                <a:gd name="connsiteX27" fmla="*/ 26717 w 589731"/>
                <a:gd name="connsiteY27" fmla="*/ 977 h 106705"/>
                <a:gd name="connsiteX28" fmla="*/ 18246 w 589731"/>
                <a:gd name="connsiteY28" fmla="*/ 2932 h 106705"/>
                <a:gd name="connsiteX29" fmla="*/ 20527 w 589731"/>
                <a:gd name="connsiteY29" fmla="*/ 6679 h 106705"/>
                <a:gd name="connsiteX30" fmla="*/ 24436 w 589731"/>
                <a:gd name="connsiteY30" fmla="*/ 5376 h 106705"/>
                <a:gd name="connsiteX31" fmla="*/ 18246 w 589731"/>
                <a:gd name="connsiteY31" fmla="*/ 2932 h 106705"/>
                <a:gd name="connsiteX32" fmla="*/ 18246 w 589731"/>
                <a:gd name="connsiteY32" fmla="*/ 2932 h 106705"/>
                <a:gd name="connsiteX33" fmla="*/ 0 w 589731"/>
                <a:gd name="connsiteY33" fmla="*/ 24925 h 106705"/>
                <a:gd name="connsiteX34" fmla="*/ 2607 w 589731"/>
                <a:gd name="connsiteY34" fmla="*/ 22970 h 106705"/>
                <a:gd name="connsiteX35" fmla="*/ 5865 w 589731"/>
                <a:gd name="connsiteY35" fmla="*/ 25088 h 106705"/>
                <a:gd name="connsiteX36" fmla="*/ 8960 w 589731"/>
                <a:gd name="connsiteY36" fmla="*/ 25577 h 106705"/>
                <a:gd name="connsiteX37" fmla="*/ 2444 w 589731"/>
                <a:gd name="connsiteY37" fmla="*/ 28183 h 106705"/>
                <a:gd name="connsiteX38" fmla="*/ 0 w 589731"/>
                <a:gd name="connsiteY38" fmla="*/ 24925 h 106705"/>
                <a:gd name="connsiteX39" fmla="*/ 0 w 589731"/>
                <a:gd name="connsiteY39" fmla="*/ 24925 h 106705"/>
                <a:gd name="connsiteX40" fmla="*/ 36655 w 589731"/>
                <a:gd name="connsiteY40" fmla="*/ 32745 h 106705"/>
                <a:gd name="connsiteX41" fmla="*/ 40239 w 589731"/>
                <a:gd name="connsiteY41" fmla="*/ 33722 h 106705"/>
                <a:gd name="connsiteX42" fmla="*/ 43985 w 589731"/>
                <a:gd name="connsiteY42" fmla="*/ 39750 h 106705"/>
                <a:gd name="connsiteX43" fmla="*/ 47407 w 589731"/>
                <a:gd name="connsiteY43" fmla="*/ 40402 h 106705"/>
                <a:gd name="connsiteX44" fmla="*/ 47407 w 589731"/>
                <a:gd name="connsiteY44" fmla="*/ 38609 h 106705"/>
                <a:gd name="connsiteX45" fmla="*/ 44474 w 589731"/>
                <a:gd name="connsiteY45" fmla="*/ 34048 h 106705"/>
                <a:gd name="connsiteX46" fmla="*/ 46103 w 589731"/>
                <a:gd name="connsiteY46" fmla="*/ 32419 h 106705"/>
                <a:gd name="connsiteX47" fmla="*/ 50502 w 589731"/>
                <a:gd name="connsiteY47" fmla="*/ 35188 h 106705"/>
                <a:gd name="connsiteX48" fmla="*/ 52783 w 589731"/>
                <a:gd name="connsiteY48" fmla="*/ 34211 h 106705"/>
                <a:gd name="connsiteX49" fmla="*/ 50665 w 589731"/>
                <a:gd name="connsiteY49" fmla="*/ 31604 h 106705"/>
                <a:gd name="connsiteX50" fmla="*/ 50339 w 589731"/>
                <a:gd name="connsiteY50" fmla="*/ 28346 h 106705"/>
                <a:gd name="connsiteX51" fmla="*/ 55389 w 589731"/>
                <a:gd name="connsiteY51" fmla="*/ 29323 h 106705"/>
                <a:gd name="connsiteX52" fmla="*/ 60114 w 589731"/>
                <a:gd name="connsiteY52" fmla="*/ 28183 h 106705"/>
                <a:gd name="connsiteX53" fmla="*/ 60114 w 589731"/>
                <a:gd name="connsiteY53" fmla="*/ 26880 h 106705"/>
                <a:gd name="connsiteX54" fmla="*/ 56692 w 589731"/>
                <a:gd name="connsiteY54" fmla="*/ 26880 h 106705"/>
                <a:gd name="connsiteX55" fmla="*/ 54086 w 589731"/>
                <a:gd name="connsiteY55" fmla="*/ 24599 h 106705"/>
                <a:gd name="connsiteX56" fmla="*/ 56367 w 589731"/>
                <a:gd name="connsiteY56" fmla="*/ 22970 h 106705"/>
                <a:gd name="connsiteX57" fmla="*/ 60439 w 589731"/>
                <a:gd name="connsiteY57" fmla="*/ 24273 h 106705"/>
                <a:gd name="connsiteX58" fmla="*/ 66467 w 589731"/>
                <a:gd name="connsiteY58" fmla="*/ 23133 h 106705"/>
                <a:gd name="connsiteX59" fmla="*/ 71028 w 589731"/>
                <a:gd name="connsiteY59" fmla="*/ 19223 h 106705"/>
                <a:gd name="connsiteX60" fmla="*/ 75753 w 589731"/>
                <a:gd name="connsiteY60" fmla="*/ 17920 h 106705"/>
                <a:gd name="connsiteX61" fmla="*/ 75101 w 589731"/>
                <a:gd name="connsiteY61" fmla="*/ 14987 h 106705"/>
                <a:gd name="connsiteX62" fmla="*/ 72495 w 589731"/>
                <a:gd name="connsiteY62" fmla="*/ 14010 h 106705"/>
                <a:gd name="connsiteX63" fmla="*/ 71354 w 589731"/>
                <a:gd name="connsiteY63" fmla="*/ 12870 h 106705"/>
                <a:gd name="connsiteX64" fmla="*/ 73798 w 589731"/>
                <a:gd name="connsiteY64" fmla="*/ 10915 h 106705"/>
                <a:gd name="connsiteX65" fmla="*/ 77382 w 589731"/>
                <a:gd name="connsiteY65" fmla="*/ 10915 h 106705"/>
                <a:gd name="connsiteX66" fmla="*/ 75590 w 589731"/>
                <a:gd name="connsiteY66" fmla="*/ 8471 h 106705"/>
                <a:gd name="connsiteX67" fmla="*/ 69399 w 589731"/>
                <a:gd name="connsiteY67" fmla="*/ 6679 h 106705"/>
                <a:gd name="connsiteX68" fmla="*/ 65652 w 589731"/>
                <a:gd name="connsiteY68" fmla="*/ 7982 h 106705"/>
                <a:gd name="connsiteX69" fmla="*/ 67118 w 589731"/>
                <a:gd name="connsiteY69" fmla="*/ 10915 h 106705"/>
                <a:gd name="connsiteX70" fmla="*/ 64023 w 589731"/>
                <a:gd name="connsiteY70" fmla="*/ 12544 h 106705"/>
                <a:gd name="connsiteX71" fmla="*/ 60439 w 589731"/>
                <a:gd name="connsiteY71" fmla="*/ 7494 h 106705"/>
                <a:gd name="connsiteX72" fmla="*/ 60439 w 589731"/>
                <a:gd name="connsiteY72" fmla="*/ 3747 h 106705"/>
                <a:gd name="connsiteX73" fmla="*/ 52783 w 589731"/>
                <a:gd name="connsiteY73" fmla="*/ 2280 h 106705"/>
                <a:gd name="connsiteX74" fmla="*/ 52131 w 589731"/>
                <a:gd name="connsiteY74" fmla="*/ 6353 h 106705"/>
                <a:gd name="connsiteX75" fmla="*/ 48547 w 589731"/>
                <a:gd name="connsiteY75" fmla="*/ 7982 h 106705"/>
                <a:gd name="connsiteX76" fmla="*/ 50013 w 589731"/>
                <a:gd name="connsiteY76" fmla="*/ 11404 h 106705"/>
                <a:gd name="connsiteX77" fmla="*/ 48384 w 589731"/>
                <a:gd name="connsiteY77" fmla="*/ 13684 h 106705"/>
                <a:gd name="connsiteX78" fmla="*/ 53109 w 589731"/>
                <a:gd name="connsiteY78" fmla="*/ 19875 h 106705"/>
                <a:gd name="connsiteX79" fmla="*/ 52131 w 589731"/>
                <a:gd name="connsiteY79" fmla="*/ 21830 h 106705"/>
                <a:gd name="connsiteX80" fmla="*/ 49199 w 589731"/>
                <a:gd name="connsiteY80" fmla="*/ 20201 h 106705"/>
                <a:gd name="connsiteX81" fmla="*/ 45289 w 589731"/>
                <a:gd name="connsiteY81" fmla="*/ 21015 h 106705"/>
                <a:gd name="connsiteX82" fmla="*/ 36980 w 589731"/>
                <a:gd name="connsiteY82" fmla="*/ 32907 h 106705"/>
                <a:gd name="connsiteX83" fmla="*/ 36980 w 589731"/>
                <a:gd name="connsiteY83" fmla="*/ 32907 h 106705"/>
                <a:gd name="connsiteX84" fmla="*/ 30138 w 589731"/>
                <a:gd name="connsiteY84" fmla="*/ 7168 h 106705"/>
                <a:gd name="connsiteX85" fmla="*/ 33559 w 589731"/>
                <a:gd name="connsiteY85" fmla="*/ 10589 h 106705"/>
                <a:gd name="connsiteX86" fmla="*/ 36329 w 589731"/>
                <a:gd name="connsiteY86" fmla="*/ 10589 h 106705"/>
                <a:gd name="connsiteX87" fmla="*/ 38121 w 589731"/>
                <a:gd name="connsiteY87" fmla="*/ 7331 h 106705"/>
                <a:gd name="connsiteX88" fmla="*/ 41542 w 589731"/>
                <a:gd name="connsiteY88" fmla="*/ 6191 h 106705"/>
                <a:gd name="connsiteX89" fmla="*/ 43985 w 589731"/>
                <a:gd name="connsiteY89" fmla="*/ 9937 h 106705"/>
                <a:gd name="connsiteX90" fmla="*/ 41379 w 589731"/>
                <a:gd name="connsiteY90" fmla="*/ 15802 h 106705"/>
                <a:gd name="connsiteX91" fmla="*/ 34863 w 589731"/>
                <a:gd name="connsiteY91" fmla="*/ 20527 h 106705"/>
                <a:gd name="connsiteX92" fmla="*/ 34863 w 589731"/>
                <a:gd name="connsiteY92" fmla="*/ 26066 h 106705"/>
                <a:gd name="connsiteX93" fmla="*/ 29161 w 589731"/>
                <a:gd name="connsiteY93" fmla="*/ 28835 h 106705"/>
                <a:gd name="connsiteX94" fmla="*/ 21667 w 589731"/>
                <a:gd name="connsiteY94" fmla="*/ 28020 h 106705"/>
                <a:gd name="connsiteX95" fmla="*/ 17268 w 589731"/>
                <a:gd name="connsiteY95" fmla="*/ 30627 h 106705"/>
                <a:gd name="connsiteX96" fmla="*/ 22807 w 589731"/>
                <a:gd name="connsiteY96" fmla="*/ 33234 h 106705"/>
                <a:gd name="connsiteX97" fmla="*/ 19875 w 589731"/>
                <a:gd name="connsiteY97" fmla="*/ 37958 h 106705"/>
                <a:gd name="connsiteX98" fmla="*/ 14825 w 589731"/>
                <a:gd name="connsiteY98" fmla="*/ 34211 h 106705"/>
                <a:gd name="connsiteX99" fmla="*/ 12055 w 589731"/>
                <a:gd name="connsiteY99" fmla="*/ 37143 h 106705"/>
                <a:gd name="connsiteX100" fmla="*/ 6517 w 589731"/>
                <a:gd name="connsiteY100" fmla="*/ 34211 h 106705"/>
                <a:gd name="connsiteX101" fmla="*/ 6517 w 589731"/>
                <a:gd name="connsiteY101" fmla="*/ 31767 h 106705"/>
                <a:gd name="connsiteX102" fmla="*/ 10263 w 589731"/>
                <a:gd name="connsiteY102" fmla="*/ 31930 h 106705"/>
                <a:gd name="connsiteX103" fmla="*/ 15314 w 589731"/>
                <a:gd name="connsiteY103" fmla="*/ 26717 h 106705"/>
                <a:gd name="connsiteX104" fmla="*/ 14336 w 589731"/>
                <a:gd name="connsiteY104" fmla="*/ 23622 h 106705"/>
                <a:gd name="connsiteX105" fmla="*/ 17757 w 589731"/>
                <a:gd name="connsiteY105" fmla="*/ 21341 h 106705"/>
                <a:gd name="connsiteX106" fmla="*/ 23459 w 589731"/>
                <a:gd name="connsiteY106" fmla="*/ 21341 h 106705"/>
                <a:gd name="connsiteX107" fmla="*/ 23459 w 589731"/>
                <a:gd name="connsiteY107" fmla="*/ 18898 h 106705"/>
                <a:gd name="connsiteX108" fmla="*/ 17757 w 589731"/>
                <a:gd name="connsiteY108" fmla="*/ 18246 h 106705"/>
                <a:gd name="connsiteX109" fmla="*/ 11729 w 589731"/>
                <a:gd name="connsiteY109" fmla="*/ 9937 h 106705"/>
                <a:gd name="connsiteX110" fmla="*/ 13521 w 589731"/>
                <a:gd name="connsiteY110" fmla="*/ 7657 h 106705"/>
                <a:gd name="connsiteX111" fmla="*/ 18572 w 589731"/>
                <a:gd name="connsiteY111" fmla="*/ 11893 h 106705"/>
                <a:gd name="connsiteX112" fmla="*/ 23459 w 589731"/>
                <a:gd name="connsiteY112" fmla="*/ 12707 h 106705"/>
                <a:gd name="connsiteX113" fmla="*/ 25251 w 589731"/>
                <a:gd name="connsiteY113" fmla="*/ 7331 h 106705"/>
                <a:gd name="connsiteX114" fmla="*/ 29812 w 589731"/>
                <a:gd name="connsiteY114" fmla="*/ 6842 h 1067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</a:cxnLst>
              <a:rect l="l" t="t" r="r" b="b"/>
              <a:pathLst>
                <a:path w="589731" h="106705">
                  <a:moveTo>
                    <a:pt x="577839" y="105402"/>
                  </a:moveTo>
                  <a:lnTo>
                    <a:pt x="576047" y="98886"/>
                  </a:lnTo>
                  <a:lnTo>
                    <a:pt x="572137" y="96768"/>
                  </a:lnTo>
                  <a:lnTo>
                    <a:pt x="571159" y="92369"/>
                  </a:lnTo>
                  <a:lnTo>
                    <a:pt x="567087" y="90741"/>
                  </a:lnTo>
                  <a:lnTo>
                    <a:pt x="565132" y="87645"/>
                  </a:lnTo>
                  <a:lnTo>
                    <a:pt x="560082" y="86342"/>
                  </a:lnTo>
                  <a:lnTo>
                    <a:pt x="560082" y="85039"/>
                  </a:lnTo>
                  <a:cubicBezTo>
                    <a:pt x="560082" y="85039"/>
                    <a:pt x="566109" y="84876"/>
                    <a:pt x="566109" y="84876"/>
                  </a:cubicBezTo>
                  <a:lnTo>
                    <a:pt x="571811" y="86830"/>
                  </a:lnTo>
                  <a:lnTo>
                    <a:pt x="572137" y="88460"/>
                  </a:lnTo>
                  <a:cubicBezTo>
                    <a:pt x="572137" y="88460"/>
                    <a:pt x="574418" y="89111"/>
                    <a:pt x="574743" y="89600"/>
                  </a:cubicBezTo>
                  <a:cubicBezTo>
                    <a:pt x="575232" y="89926"/>
                    <a:pt x="579631" y="93510"/>
                    <a:pt x="579631" y="93510"/>
                  </a:cubicBezTo>
                  <a:lnTo>
                    <a:pt x="581423" y="93836"/>
                  </a:lnTo>
                  <a:lnTo>
                    <a:pt x="582726" y="99212"/>
                  </a:lnTo>
                  <a:lnTo>
                    <a:pt x="586473" y="100678"/>
                  </a:lnTo>
                  <a:lnTo>
                    <a:pt x="589731" y="101493"/>
                  </a:lnTo>
                  <a:lnTo>
                    <a:pt x="587776" y="103936"/>
                  </a:lnTo>
                  <a:lnTo>
                    <a:pt x="584029" y="103936"/>
                  </a:lnTo>
                  <a:cubicBezTo>
                    <a:pt x="584029" y="103936"/>
                    <a:pt x="581912" y="106054"/>
                    <a:pt x="581912" y="106054"/>
                  </a:cubicBezTo>
                  <a:lnTo>
                    <a:pt x="579305" y="106705"/>
                  </a:lnTo>
                  <a:lnTo>
                    <a:pt x="578002" y="105565"/>
                  </a:lnTo>
                  <a:lnTo>
                    <a:pt x="578002" y="105565"/>
                  </a:lnTo>
                  <a:close/>
                  <a:moveTo>
                    <a:pt x="26717" y="977"/>
                  </a:moveTo>
                  <a:lnTo>
                    <a:pt x="33396" y="0"/>
                  </a:lnTo>
                  <a:lnTo>
                    <a:pt x="36492" y="3584"/>
                  </a:lnTo>
                  <a:lnTo>
                    <a:pt x="26717" y="977"/>
                  </a:lnTo>
                  <a:lnTo>
                    <a:pt x="26717" y="977"/>
                  </a:lnTo>
                  <a:close/>
                  <a:moveTo>
                    <a:pt x="18246" y="2932"/>
                  </a:moveTo>
                  <a:lnTo>
                    <a:pt x="20527" y="6679"/>
                  </a:lnTo>
                  <a:lnTo>
                    <a:pt x="24436" y="5376"/>
                  </a:lnTo>
                  <a:lnTo>
                    <a:pt x="18246" y="2932"/>
                  </a:lnTo>
                  <a:lnTo>
                    <a:pt x="18246" y="2932"/>
                  </a:lnTo>
                  <a:close/>
                  <a:moveTo>
                    <a:pt x="0" y="24925"/>
                  </a:moveTo>
                  <a:lnTo>
                    <a:pt x="2607" y="22970"/>
                  </a:lnTo>
                  <a:lnTo>
                    <a:pt x="5865" y="25088"/>
                  </a:lnTo>
                  <a:lnTo>
                    <a:pt x="8960" y="25577"/>
                  </a:lnTo>
                  <a:lnTo>
                    <a:pt x="2444" y="28183"/>
                  </a:lnTo>
                  <a:lnTo>
                    <a:pt x="0" y="24925"/>
                  </a:lnTo>
                  <a:lnTo>
                    <a:pt x="0" y="24925"/>
                  </a:lnTo>
                  <a:close/>
                  <a:moveTo>
                    <a:pt x="36655" y="32745"/>
                  </a:moveTo>
                  <a:lnTo>
                    <a:pt x="40239" y="33722"/>
                  </a:lnTo>
                  <a:lnTo>
                    <a:pt x="43985" y="39750"/>
                  </a:lnTo>
                  <a:lnTo>
                    <a:pt x="47407" y="40402"/>
                  </a:lnTo>
                  <a:lnTo>
                    <a:pt x="47407" y="38609"/>
                  </a:lnTo>
                  <a:cubicBezTo>
                    <a:pt x="47407" y="38609"/>
                    <a:pt x="44474" y="34048"/>
                    <a:pt x="44474" y="34048"/>
                  </a:cubicBezTo>
                  <a:lnTo>
                    <a:pt x="46103" y="32419"/>
                  </a:lnTo>
                  <a:lnTo>
                    <a:pt x="50502" y="35188"/>
                  </a:lnTo>
                  <a:lnTo>
                    <a:pt x="52783" y="34211"/>
                  </a:lnTo>
                  <a:lnTo>
                    <a:pt x="50665" y="31604"/>
                  </a:lnTo>
                  <a:lnTo>
                    <a:pt x="50339" y="28346"/>
                  </a:lnTo>
                  <a:lnTo>
                    <a:pt x="55389" y="29323"/>
                  </a:lnTo>
                  <a:lnTo>
                    <a:pt x="60114" y="28183"/>
                  </a:lnTo>
                  <a:lnTo>
                    <a:pt x="60114" y="26880"/>
                  </a:lnTo>
                  <a:cubicBezTo>
                    <a:pt x="60114" y="26880"/>
                    <a:pt x="56692" y="26880"/>
                    <a:pt x="56692" y="26880"/>
                  </a:cubicBezTo>
                  <a:lnTo>
                    <a:pt x="54086" y="24599"/>
                  </a:lnTo>
                  <a:lnTo>
                    <a:pt x="56367" y="22970"/>
                  </a:lnTo>
                  <a:lnTo>
                    <a:pt x="60439" y="24273"/>
                  </a:lnTo>
                  <a:lnTo>
                    <a:pt x="66467" y="23133"/>
                  </a:lnTo>
                  <a:lnTo>
                    <a:pt x="71028" y="19223"/>
                  </a:lnTo>
                  <a:lnTo>
                    <a:pt x="75753" y="17920"/>
                  </a:lnTo>
                  <a:lnTo>
                    <a:pt x="75101" y="14987"/>
                  </a:lnTo>
                  <a:lnTo>
                    <a:pt x="72495" y="14010"/>
                  </a:lnTo>
                  <a:lnTo>
                    <a:pt x="71354" y="12870"/>
                  </a:lnTo>
                  <a:lnTo>
                    <a:pt x="73798" y="10915"/>
                  </a:lnTo>
                  <a:lnTo>
                    <a:pt x="77382" y="10915"/>
                  </a:lnTo>
                  <a:cubicBezTo>
                    <a:pt x="77382" y="10915"/>
                    <a:pt x="75590" y="8471"/>
                    <a:pt x="75590" y="8471"/>
                  </a:cubicBezTo>
                  <a:lnTo>
                    <a:pt x="69399" y="6679"/>
                  </a:lnTo>
                  <a:lnTo>
                    <a:pt x="65652" y="7982"/>
                  </a:lnTo>
                  <a:lnTo>
                    <a:pt x="67118" y="10915"/>
                  </a:lnTo>
                  <a:lnTo>
                    <a:pt x="64023" y="12544"/>
                  </a:lnTo>
                  <a:lnTo>
                    <a:pt x="60439" y="7494"/>
                  </a:lnTo>
                  <a:lnTo>
                    <a:pt x="60439" y="3747"/>
                  </a:lnTo>
                  <a:cubicBezTo>
                    <a:pt x="60439" y="3747"/>
                    <a:pt x="52783" y="2280"/>
                    <a:pt x="52783" y="2280"/>
                  </a:cubicBezTo>
                  <a:lnTo>
                    <a:pt x="52131" y="6353"/>
                  </a:lnTo>
                  <a:lnTo>
                    <a:pt x="48547" y="7982"/>
                  </a:lnTo>
                  <a:lnTo>
                    <a:pt x="50013" y="11404"/>
                  </a:lnTo>
                  <a:lnTo>
                    <a:pt x="48384" y="13684"/>
                  </a:lnTo>
                  <a:lnTo>
                    <a:pt x="53109" y="19875"/>
                  </a:lnTo>
                  <a:lnTo>
                    <a:pt x="52131" y="21830"/>
                  </a:lnTo>
                  <a:lnTo>
                    <a:pt x="49199" y="20201"/>
                  </a:lnTo>
                  <a:lnTo>
                    <a:pt x="45289" y="21015"/>
                  </a:lnTo>
                  <a:lnTo>
                    <a:pt x="36980" y="32907"/>
                  </a:lnTo>
                  <a:lnTo>
                    <a:pt x="36980" y="32907"/>
                  </a:lnTo>
                  <a:close/>
                  <a:moveTo>
                    <a:pt x="30138" y="7168"/>
                  </a:moveTo>
                  <a:lnTo>
                    <a:pt x="33559" y="10589"/>
                  </a:lnTo>
                  <a:lnTo>
                    <a:pt x="36329" y="10589"/>
                  </a:lnTo>
                  <a:cubicBezTo>
                    <a:pt x="36329" y="10589"/>
                    <a:pt x="38121" y="7331"/>
                    <a:pt x="38121" y="7331"/>
                  </a:cubicBezTo>
                  <a:lnTo>
                    <a:pt x="41542" y="6191"/>
                  </a:lnTo>
                  <a:lnTo>
                    <a:pt x="43985" y="9937"/>
                  </a:lnTo>
                  <a:lnTo>
                    <a:pt x="41379" y="15802"/>
                  </a:lnTo>
                  <a:lnTo>
                    <a:pt x="34863" y="20527"/>
                  </a:lnTo>
                  <a:lnTo>
                    <a:pt x="34863" y="26066"/>
                  </a:lnTo>
                  <a:cubicBezTo>
                    <a:pt x="34863" y="26066"/>
                    <a:pt x="29161" y="28835"/>
                    <a:pt x="29161" y="28835"/>
                  </a:cubicBezTo>
                  <a:lnTo>
                    <a:pt x="21667" y="28020"/>
                  </a:lnTo>
                  <a:lnTo>
                    <a:pt x="17268" y="30627"/>
                  </a:lnTo>
                  <a:lnTo>
                    <a:pt x="22807" y="33234"/>
                  </a:lnTo>
                  <a:lnTo>
                    <a:pt x="19875" y="37958"/>
                  </a:lnTo>
                  <a:lnTo>
                    <a:pt x="14825" y="34211"/>
                  </a:lnTo>
                  <a:lnTo>
                    <a:pt x="12055" y="37143"/>
                  </a:lnTo>
                  <a:lnTo>
                    <a:pt x="6517" y="34211"/>
                  </a:lnTo>
                  <a:lnTo>
                    <a:pt x="6517" y="31767"/>
                  </a:lnTo>
                  <a:cubicBezTo>
                    <a:pt x="6517" y="31767"/>
                    <a:pt x="10263" y="31930"/>
                    <a:pt x="10263" y="31930"/>
                  </a:cubicBezTo>
                  <a:lnTo>
                    <a:pt x="15314" y="26717"/>
                  </a:lnTo>
                  <a:lnTo>
                    <a:pt x="14336" y="23622"/>
                  </a:lnTo>
                  <a:lnTo>
                    <a:pt x="17757" y="21341"/>
                  </a:lnTo>
                  <a:lnTo>
                    <a:pt x="23459" y="21341"/>
                  </a:lnTo>
                  <a:lnTo>
                    <a:pt x="23459" y="18898"/>
                  </a:lnTo>
                  <a:lnTo>
                    <a:pt x="17757" y="18246"/>
                  </a:lnTo>
                  <a:lnTo>
                    <a:pt x="11729" y="9937"/>
                  </a:lnTo>
                  <a:lnTo>
                    <a:pt x="13521" y="7657"/>
                  </a:lnTo>
                  <a:lnTo>
                    <a:pt x="18572" y="11893"/>
                  </a:lnTo>
                  <a:lnTo>
                    <a:pt x="23459" y="12707"/>
                  </a:lnTo>
                  <a:lnTo>
                    <a:pt x="25251" y="7331"/>
                  </a:lnTo>
                  <a:lnTo>
                    <a:pt x="29812" y="6842"/>
                  </a:lnTo>
                  <a:close/>
                </a:path>
              </a:pathLst>
            </a:custGeom>
            <a:solidFill>
              <a:schemeClr val="bg2"/>
            </a:solidFill>
            <a:ln w="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0" name="Forma livre: Forma 29">
              <a:extLst>
                <a:ext uri="{FF2B5EF4-FFF2-40B4-BE49-F238E27FC236}">
                  <a16:creationId xmlns:a16="http://schemas.microsoft.com/office/drawing/2014/main" id="{E98B6ABA-138D-BFA1-847A-B2FF9C1CD816}"/>
                </a:ext>
              </a:extLst>
            </p:cNvPr>
            <p:cNvSpPr/>
            <p:nvPr/>
          </p:nvSpPr>
          <p:spPr>
            <a:xfrm>
              <a:off x="4054886" y="4819494"/>
              <a:ext cx="1034513" cy="1085524"/>
            </a:xfrm>
            <a:custGeom>
              <a:avLst/>
              <a:gdLst>
                <a:gd name="connsiteX0" fmla="*/ 585007 w 1001076"/>
                <a:gd name="connsiteY0" fmla="*/ 155252 h 1050438"/>
                <a:gd name="connsiteX1" fmla="*/ 586962 w 1001076"/>
                <a:gd name="connsiteY1" fmla="*/ 152646 h 1050438"/>
                <a:gd name="connsiteX2" fmla="*/ 590546 w 1001076"/>
                <a:gd name="connsiteY2" fmla="*/ 150365 h 1050438"/>
                <a:gd name="connsiteX3" fmla="*/ 591686 w 1001076"/>
                <a:gd name="connsiteY3" fmla="*/ 151506 h 1050438"/>
                <a:gd name="connsiteX4" fmla="*/ 590220 w 1001076"/>
                <a:gd name="connsiteY4" fmla="*/ 154764 h 1050438"/>
                <a:gd name="connsiteX5" fmla="*/ 586473 w 1001076"/>
                <a:gd name="connsiteY5" fmla="*/ 155415 h 1050438"/>
                <a:gd name="connsiteX6" fmla="*/ 585007 w 1001076"/>
                <a:gd name="connsiteY6" fmla="*/ 155090 h 1050438"/>
                <a:gd name="connsiteX7" fmla="*/ 585007 w 1001076"/>
                <a:gd name="connsiteY7" fmla="*/ 155090 h 1050438"/>
                <a:gd name="connsiteX8" fmla="*/ 580445 w 1001076"/>
                <a:gd name="connsiteY8" fmla="*/ 155090 h 1050438"/>
                <a:gd name="connsiteX9" fmla="*/ 582400 w 1001076"/>
                <a:gd name="connsiteY9" fmla="*/ 154601 h 1050438"/>
                <a:gd name="connsiteX10" fmla="*/ 583215 w 1001076"/>
                <a:gd name="connsiteY10" fmla="*/ 152809 h 1050438"/>
                <a:gd name="connsiteX11" fmla="*/ 588917 w 1001076"/>
                <a:gd name="connsiteY11" fmla="*/ 147433 h 1050438"/>
                <a:gd name="connsiteX12" fmla="*/ 591523 w 1001076"/>
                <a:gd name="connsiteY12" fmla="*/ 147107 h 1050438"/>
                <a:gd name="connsiteX13" fmla="*/ 595922 w 1001076"/>
                <a:gd name="connsiteY13" fmla="*/ 142546 h 1050438"/>
                <a:gd name="connsiteX14" fmla="*/ 594781 w 1001076"/>
                <a:gd name="connsiteY14" fmla="*/ 140753 h 1050438"/>
                <a:gd name="connsiteX15" fmla="*/ 592989 w 1001076"/>
                <a:gd name="connsiteY15" fmla="*/ 141242 h 1050438"/>
                <a:gd name="connsiteX16" fmla="*/ 590709 w 1001076"/>
                <a:gd name="connsiteY16" fmla="*/ 140916 h 1050438"/>
                <a:gd name="connsiteX17" fmla="*/ 588265 w 1001076"/>
                <a:gd name="connsiteY17" fmla="*/ 141894 h 1050438"/>
                <a:gd name="connsiteX18" fmla="*/ 583541 w 1001076"/>
                <a:gd name="connsiteY18" fmla="*/ 146781 h 1050438"/>
                <a:gd name="connsiteX19" fmla="*/ 580608 w 1001076"/>
                <a:gd name="connsiteY19" fmla="*/ 154927 h 1050438"/>
                <a:gd name="connsiteX20" fmla="*/ 580608 w 1001076"/>
                <a:gd name="connsiteY20" fmla="*/ 154927 h 1050438"/>
                <a:gd name="connsiteX21" fmla="*/ 602438 w 1001076"/>
                <a:gd name="connsiteY21" fmla="*/ 136844 h 1050438"/>
                <a:gd name="connsiteX22" fmla="*/ 601786 w 1001076"/>
                <a:gd name="connsiteY22" fmla="*/ 134726 h 1050438"/>
                <a:gd name="connsiteX23" fmla="*/ 598691 w 1001076"/>
                <a:gd name="connsiteY23" fmla="*/ 133260 h 1050438"/>
                <a:gd name="connsiteX24" fmla="*/ 598202 w 1001076"/>
                <a:gd name="connsiteY24" fmla="*/ 136192 h 1050438"/>
                <a:gd name="connsiteX25" fmla="*/ 599669 w 1001076"/>
                <a:gd name="connsiteY25" fmla="*/ 138473 h 1050438"/>
                <a:gd name="connsiteX26" fmla="*/ 602275 w 1001076"/>
                <a:gd name="connsiteY26" fmla="*/ 139287 h 1050438"/>
                <a:gd name="connsiteX27" fmla="*/ 602275 w 1001076"/>
                <a:gd name="connsiteY27" fmla="*/ 136844 h 1050438"/>
                <a:gd name="connsiteX28" fmla="*/ 602438 w 1001076"/>
                <a:gd name="connsiteY28" fmla="*/ 136844 h 1050438"/>
                <a:gd name="connsiteX29" fmla="*/ 602438 w 1001076"/>
                <a:gd name="connsiteY29" fmla="*/ 131631 h 1050438"/>
                <a:gd name="connsiteX30" fmla="*/ 601461 w 1001076"/>
                <a:gd name="connsiteY30" fmla="*/ 127069 h 1050438"/>
                <a:gd name="connsiteX31" fmla="*/ 604393 w 1001076"/>
                <a:gd name="connsiteY31" fmla="*/ 123811 h 1050438"/>
                <a:gd name="connsiteX32" fmla="*/ 606999 w 1001076"/>
                <a:gd name="connsiteY32" fmla="*/ 122508 h 1050438"/>
                <a:gd name="connsiteX33" fmla="*/ 610421 w 1001076"/>
                <a:gd name="connsiteY33" fmla="*/ 119901 h 1050438"/>
                <a:gd name="connsiteX34" fmla="*/ 612701 w 1001076"/>
                <a:gd name="connsiteY34" fmla="*/ 120227 h 1050438"/>
                <a:gd name="connsiteX35" fmla="*/ 610583 w 1001076"/>
                <a:gd name="connsiteY35" fmla="*/ 123811 h 1050438"/>
                <a:gd name="connsiteX36" fmla="*/ 607651 w 1001076"/>
                <a:gd name="connsiteY36" fmla="*/ 124788 h 1050438"/>
                <a:gd name="connsiteX37" fmla="*/ 605208 w 1001076"/>
                <a:gd name="connsiteY37" fmla="*/ 128698 h 1050438"/>
                <a:gd name="connsiteX38" fmla="*/ 602438 w 1001076"/>
                <a:gd name="connsiteY38" fmla="*/ 131631 h 1050438"/>
                <a:gd name="connsiteX39" fmla="*/ 602438 w 1001076"/>
                <a:gd name="connsiteY39" fmla="*/ 131631 h 1050438"/>
                <a:gd name="connsiteX40" fmla="*/ 604393 w 1001076"/>
                <a:gd name="connsiteY40" fmla="*/ 135052 h 1050438"/>
                <a:gd name="connsiteX41" fmla="*/ 606674 w 1001076"/>
                <a:gd name="connsiteY41" fmla="*/ 136355 h 1050438"/>
                <a:gd name="connsiteX42" fmla="*/ 613027 w 1001076"/>
                <a:gd name="connsiteY42" fmla="*/ 136355 h 1050438"/>
                <a:gd name="connsiteX43" fmla="*/ 614982 w 1001076"/>
                <a:gd name="connsiteY43" fmla="*/ 137821 h 1050438"/>
                <a:gd name="connsiteX44" fmla="*/ 618240 w 1001076"/>
                <a:gd name="connsiteY44" fmla="*/ 136192 h 1050438"/>
                <a:gd name="connsiteX45" fmla="*/ 619218 w 1001076"/>
                <a:gd name="connsiteY45" fmla="*/ 132934 h 1050438"/>
                <a:gd name="connsiteX46" fmla="*/ 616285 w 1001076"/>
                <a:gd name="connsiteY46" fmla="*/ 130653 h 1050438"/>
                <a:gd name="connsiteX47" fmla="*/ 609117 w 1001076"/>
                <a:gd name="connsiteY47" fmla="*/ 132445 h 1050438"/>
                <a:gd name="connsiteX48" fmla="*/ 605370 w 1001076"/>
                <a:gd name="connsiteY48" fmla="*/ 132771 h 1050438"/>
                <a:gd name="connsiteX49" fmla="*/ 604393 w 1001076"/>
                <a:gd name="connsiteY49" fmla="*/ 135052 h 1050438"/>
                <a:gd name="connsiteX50" fmla="*/ 604393 w 1001076"/>
                <a:gd name="connsiteY50" fmla="*/ 135052 h 1050438"/>
                <a:gd name="connsiteX51" fmla="*/ 618729 w 1001076"/>
                <a:gd name="connsiteY51" fmla="*/ 141242 h 1050438"/>
                <a:gd name="connsiteX52" fmla="*/ 622639 w 1001076"/>
                <a:gd name="connsiteY52" fmla="*/ 139613 h 1050438"/>
                <a:gd name="connsiteX53" fmla="*/ 623779 w 1001076"/>
                <a:gd name="connsiteY53" fmla="*/ 137332 h 1050438"/>
                <a:gd name="connsiteX54" fmla="*/ 627363 w 1001076"/>
                <a:gd name="connsiteY54" fmla="*/ 137332 h 1050438"/>
                <a:gd name="connsiteX55" fmla="*/ 630296 w 1001076"/>
                <a:gd name="connsiteY55" fmla="*/ 139287 h 1050438"/>
                <a:gd name="connsiteX56" fmla="*/ 628504 w 1001076"/>
                <a:gd name="connsiteY56" fmla="*/ 142220 h 1050438"/>
                <a:gd name="connsiteX57" fmla="*/ 622802 w 1001076"/>
                <a:gd name="connsiteY57" fmla="*/ 142546 h 1050438"/>
                <a:gd name="connsiteX58" fmla="*/ 619055 w 1001076"/>
                <a:gd name="connsiteY58" fmla="*/ 141079 h 1050438"/>
                <a:gd name="connsiteX59" fmla="*/ 619055 w 1001076"/>
                <a:gd name="connsiteY59" fmla="*/ 141079 h 1050438"/>
                <a:gd name="connsiteX60" fmla="*/ 602764 w 1001076"/>
                <a:gd name="connsiteY60" fmla="*/ 87971 h 1050438"/>
                <a:gd name="connsiteX61" fmla="*/ 600157 w 1001076"/>
                <a:gd name="connsiteY61" fmla="*/ 84061 h 1050438"/>
                <a:gd name="connsiteX62" fmla="*/ 598202 w 1001076"/>
                <a:gd name="connsiteY62" fmla="*/ 77545 h 1050438"/>
                <a:gd name="connsiteX63" fmla="*/ 598854 w 1001076"/>
                <a:gd name="connsiteY63" fmla="*/ 75753 h 1050438"/>
                <a:gd name="connsiteX64" fmla="*/ 602438 w 1001076"/>
                <a:gd name="connsiteY64" fmla="*/ 78196 h 1050438"/>
                <a:gd name="connsiteX65" fmla="*/ 606185 w 1001076"/>
                <a:gd name="connsiteY65" fmla="*/ 84876 h 1050438"/>
                <a:gd name="connsiteX66" fmla="*/ 605696 w 1001076"/>
                <a:gd name="connsiteY66" fmla="*/ 88297 h 1050438"/>
                <a:gd name="connsiteX67" fmla="*/ 602927 w 1001076"/>
                <a:gd name="connsiteY67" fmla="*/ 87971 h 1050438"/>
                <a:gd name="connsiteX68" fmla="*/ 602927 w 1001076"/>
                <a:gd name="connsiteY68" fmla="*/ 87971 h 1050438"/>
                <a:gd name="connsiteX69" fmla="*/ 580120 w 1001076"/>
                <a:gd name="connsiteY69" fmla="*/ 37306 h 1050438"/>
                <a:gd name="connsiteX70" fmla="*/ 578002 w 1001076"/>
                <a:gd name="connsiteY70" fmla="*/ 35351 h 1050438"/>
                <a:gd name="connsiteX71" fmla="*/ 577187 w 1001076"/>
                <a:gd name="connsiteY71" fmla="*/ 30301 h 1050438"/>
                <a:gd name="connsiteX72" fmla="*/ 574092 w 1001076"/>
                <a:gd name="connsiteY72" fmla="*/ 24273 h 1050438"/>
                <a:gd name="connsiteX73" fmla="*/ 572789 w 1001076"/>
                <a:gd name="connsiteY73" fmla="*/ 24925 h 1050438"/>
                <a:gd name="connsiteX74" fmla="*/ 573115 w 1001076"/>
                <a:gd name="connsiteY74" fmla="*/ 28998 h 1050438"/>
                <a:gd name="connsiteX75" fmla="*/ 571159 w 1001076"/>
                <a:gd name="connsiteY75" fmla="*/ 32093 h 1050438"/>
                <a:gd name="connsiteX76" fmla="*/ 565295 w 1001076"/>
                <a:gd name="connsiteY76" fmla="*/ 36003 h 1050438"/>
                <a:gd name="connsiteX77" fmla="*/ 565295 w 1001076"/>
                <a:gd name="connsiteY77" fmla="*/ 36003 h 1050438"/>
                <a:gd name="connsiteX78" fmla="*/ 564969 w 1001076"/>
                <a:gd name="connsiteY78" fmla="*/ 36166 h 1050438"/>
                <a:gd name="connsiteX79" fmla="*/ 563014 w 1001076"/>
                <a:gd name="connsiteY79" fmla="*/ 39098 h 1050438"/>
                <a:gd name="connsiteX80" fmla="*/ 556661 w 1001076"/>
                <a:gd name="connsiteY80" fmla="*/ 46918 h 1050438"/>
                <a:gd name="connsiteX81" fmla="*/ 549981 w 1001076"/>
                <a:gd name="connsiteY81" fmla="*/ 55552 h 1050438"/>
                <a:gd name="connsiteX82" fmla="*/ 549981 w 1001076"/>
                <a:gd name="connsiteY82" fmla="*/ 60114 h 1050438"/>
                <a:gd name="connsiteX83" fmla="*/ 544931 w 1001076"/>
                <a:gd name="connsiteY83" fmla="*/ 70703 h 1050438"/>
                <a:gd name="connsiteX84" fmla="*/ 540858 w 1001076"/>
                <a:gd name="connsiteY84" fmla="*/ 77382 h 1050438"/>
                <a:gd name="connsiteX85" fmla="*/ 537763 w 1001076"/>
                <a:gd name="connsiteY85" fmla="*/ 83572 h 1050438"/>
                <a:gd name="connsiteX86" fmla="*/ 533365 w 1001076"/>
                <a:gd name="connsiteY86" fmla="*/ 84387 h 1050438"/>
                <a:gd name="connsiteX87" fmla="*/ 530758 w 1001076"/>
                <a:gd name="connsiteY87" fmla="*/ 86342 h 1050438"/>
                <a:gd name="connsiteX88" fmla="*/ 529781 w 1001076"/>
                <a:gd name="connsiteY88" fmla="*/ 90577 h 1050438"/>
                <a:gd name="connsiteX89" fmla="*/ 525219 w 1001076"/>
                <a:gd name="connsiteY89" fmla="*/ 93836 h 1050438"/>
                <a:gd name="connsiteX90" fmla="*/ 522124 w 1001076"/>
                <a:gd name="connsiteY90" fmla="*/ 92858 h 1050438"/>
                <a:gd name="connsiteX91" fmla="*/ 522124 w 1001076"/>
                <a:gd name="connsiteY91" fmla="*/ 86179 h 1050438"/>
                <a:gd name="connsiteX92" fmla="*/ 520169 w 1001076"/>
                <a:gd name="connsiteY92" fmla="*/ 85364 h 1050438"/>
                <a:gd name="connsiteX93" fmla="*/ 519517 w 1001076"/>
                <a:gd name="connsiteY93" fmla="*/ 83247 h 1050438"/>
                <a:gd name="connsiteX94" fmla="*/ 516585 w 1001076"/>
                <a:gd name="connsiteY94" fmla="*/ 82921 h 1050438"/>
                <a:gd name="connsiteX95" fmla="*/ 513001 w 1001076"/>
                <a:gd name="connsiteY95" fmla="*/ 84387 h 1050438"/>
                <a:gd name="connsiteX96" fmla="*/ 510232 w 1001076"/>
                <a:gd name="connsiteY96" fmla="*/ 87482 h 1050438"/>
                <a:gd name="connsiteX97" fmla="*/ 505833 w 1001076"/>
                <a:gd name="connsiteY97" fmla="*/ 86668 h 1050438"/>
                <a:gd name="connsiteX98" fmla="*/ 502249 w 1001076"/>
                <a:gd name="connsiteY98" fmla="*/ 82758 h 1050438"/>
                <a:gd name="connsiteX99" fmla="*/ 502249 w 1001076"/>
                <a:gd name="connsiteY99" fmla="*/ 80314 h 1050438"/>
                <a:gd name="connsiteX100" fmla="*/ 500946 w 1001076"/>
                <a:gd name="connsiteY100" fmla="*/ 79174 h 1050438"/>
                <a:gd name="connsiteX101" fmla="*/ 499317 w 1001076"/>
                <a:gd name="connsiteY101" fmla="*/ 74938 h 1050438"/>
                <a:gd name="connsiteX102" fmla="*/ 498339 w 1001076"/>
                <a:gd name="connsiteY102" fmla="*/ 72495 h 1050438"/>
                <a:gd name="connsiteX103" fmla="*/ 494918 w 1001076"/>
                <a:gd name="connsiteY103" fmla="*/ 71680 h 1050438"/>
                <a:gd name="connsiteX104" fmla="*/ 489868 w 1001076"/>
                <a:gd name="connsiteY104" fmla="*/ 66956 h 1050438"/>
                <a:gd name="connsiteX105" fmla="*/ 483189 w 1001076"/>
                <a:gd name="connsiteY105" fmla="*/ 66630 h 1050438"/>
                <a:gd name="connsiteX106" fmla="*/ 478301 w 1001076"/>
                <a:gd name="connsiteY106" fmla="*/ 68911 h 1050438"/>
                <a:gd name="connsiteX107" fmla="*/ 467712 w 1001076"/>
                <a:gd name="connsiteY107" fmla="*/ 69399 h 1050438"/>
                <a:gd name="connsiteX108" fmla="*/ 462010 w 1001076"/>
                <a:gd name="connsiteY108" fmla="*/ 67933 h 1050438"/>
                <a:gd name="connsiteX109" fmla="*/ 456960 w 1001076"/>
                <a:gd name="connsiteY109" fmla="*/ 71191 h 1050438"/>
                <a:gd name="connsiteX110" fmla="*/ 456146 w 1001076"/>
                <a:gd name="connsiteY110" fmla="*/ 75753 h 1050438"/>
                <a:gd name="connsiteX111" fmla="*/ 460870 w 1001076"/>
                <a:gd name="connsiteY111" fmla="*/ 80314 h 1050438"/>
                <a:gd name="connsiteX112" fmla="*/ 462010 w 1001076"/>
                <a:gd name="connsiteY112" fmla="*/ 83247 h 1050438"/>
                <a:gd name="connsiteX113" fmla="*/ 464454 w 1001076"/>
                <a:gd name="connsiteY113" fmla="*/ 88785 h 1050438"/>
                <a:gd name="connsiteX114" fmla="*/ 463477 w 1001076"/>
                <a:gd name="connsiteY114" fmla="*/ 90740 h 1050438"/>
                <a:gd name="connsiteX115" fmla="*/ 459078 w 1001076"/>
                <a:gd name="connsiteY115" fmla="*/ 90740 h 1050438"/>
                <a:gd name="connsiteX116" fmla="*/ 452562 w 1001076"/>
                <a:gd name="connsiteY116" fmla="*/ 89111 h 1050438"/>
                <a:gd name="connsiteX117" fmla="*/ 450933 w 1001076"/>
                <a:gd name="connsiteY117" fmla="*/ 87808 h 1050438"/>
                <a:gd name="connsiteX118" fmla="*/ 448815 w 1001076"/>
                <a:gd name="connsiteY118" fmla="*/ 87808 h 1050438"/>
                <a:gd name="connsiteX119" fmla="*/ 448326 w 1001076"/>
                <a:gd name="connsiteY119" fmla="*/ 87645 h 1050438"/>
                <a:gd name="connsiteX120" fmla="*/ 448326 w 1001076"/>
                <a:gd name="connsiteY120" fmla="*/ 87645 h 1050438"/>
                <a:gd name="connsiteX121" fmla="*/ 440018 w 1001076"/>
                <a:gd name="connsiteY121" fmla="*/ 87645 h 1050438"/>
                <a:gd name="connsiteX122" fmla="*/ 435456 w 1001076"/>
                <a:gd name="connsiteY122" fmla="*/ 88460 h 1050438"/>
                <a:gd name="connsiteX123" fmla="*/ 433501 w 1001076"/>
                <a:gd name="connsiteY123" fmla="*/ 86179 h 1050438"/>
                <a:gd name="connsiteX124" fmla="*/ 426008 w 1001076"/>
                <a:gd name="connsiteY124" fmla="*/ 86505 h 1050438"/>
                <a:gd name="connsiteX125" fmla="*/ 420632 w 1001076"/>
                <a:gd name="connsiteY125" fmla="*/ 88785 h 1050438"/>
                <a:gd name="connsiteX126" fmla="*/ 417699 w 1001076"/>
                <a:gd name="connsiteY126" fmla="*/ 96931 h 1050438"/>
                <a:gd name="connsiteX127" fmla="*/ 407273 w 1001076"/>
                <a:gd name="connsiteY127" fmla="*/ 96605 h 1050438"/>
                <a:gd name="connsiteX128" fmla="*/ 401897 w 1001076"/>
                <a:gd name="connsiteY128" fmla="*/ 98234 h 1050438"/>
                <a:gd name="connsiteX129" fmla="*/ 401082 w 1001076"/>
                <a:gd name="connsiteY129" fmla="*/ 100678 h 1050438"/>
                <a:gd name="connsiteX130" fmla="*/ 397661 w 1001076"/>
                <a:gd name="connsiteY130" fmla="*/ 104914 h 1050438"/>
                <a:gd name="connsiteX131" fmla="*/ 391797 w 1001076"/>
                <a:gd name="connsiteY131" fmla="*/ 105402 h 1050438"/>
                <a:gd name="connsiteX132" fmla="*/ 390982 w 1001076"/>
                <a:gd name="connsiteY132" fmla="*/ 103773 h 1050438"/>
                <a:gd name="connsiteX133" fmla="*/ 387561 w 1001076"/>
                <a:gd name="connsiteY133" fmla="*/ 104750 h 1050438"/>
                <a:gd name="connsiteX134" fmla="*/ 384466 w 1001076"/>
                <a:gd name="connsiteY134" fmla="*/ 108823 h 1050438"/>
                <a:gd name="connsiteX135" fmla="*/ 380393 w 1001076"/>
                <a:gd name="connsiteY135" fmla="*/ 107194 h 1050438"/>
                <a:gd name="connsiteX136" fmla="*/ 370292 w 1001076"/>
                <a:gd name="connsiteY136" fmla="*/ 98560 h 1050438"/>
                <a:gd name="connsiteX137" fmla="*/ 366546 w 1001076"/>
                <a:gd name="connsiteY137" fmla="*/ 93999 h 1050438"/>
                <a:gd name="connsiteX138" fmla="*/ 366546 w 1001076"/>
                <a:gd name="connsiteY138" fmla="*/ 90252 h 1050438"/>
                <a:gd name="connsiteX139" fmla="*/ 360844 w 1001076"/>
                <a:gd name="connsiteY139" fmla="*/ 84713 h 1050438"/>
                <a:gd name="connsiteX140" fmla="*/ 356282 w 1001076"/>
                <a:gd name="connsiteY140" fmla="*/ 79988 h 1050438"/>
                <a:gd name="connsiteX141" fmla="*/ 355794 w 1001076"/>
                <a:gd name="connsiteY141" fmla="*/ 74775 h 1050438"/>
                <a:gd name="connsiteX142" fmla="*/ 356934 w 1001076"/>
                <a:gd name="connsiteY142" fmla="*/ 71354 h 1050438"/>
                <a:gd name="connsiteX143" fmla="*/ 355631 w 1001076"/>
                <a:gd name="connsiteY143" fmla="*/ 68748 h 1050438"/>
                <a:gd name="connsiteX144" fmla="*/ 356282 w 1001076"/>
                <a:gd name="connsiteY144" fmla="*/ 64186 h 1050438"/>
                <a:gd name="connsiteX145" fmla="*/ 358074 w 1001076"/>
                <a:gd name="connsiteY145" fmla="*/ 60439 h 1050438"/>
                <a:gd name="connsiteX146" fmla="*/ 357749 w 1001076"/>
                <a:gd name="connsiteY146" fmla="*/ 54900 h 1050438"/>
                <a:gd name="connsiteX147" fmla="*/ 362799 w 1001076"/>
                <a:gd name="connsiteY147" fmla="*/ 46266 h 1050438"/>
                <a:gd name="connsiteX148" fmla="*/ 364428 w 1001076"/>
                <a:gd name="connsiteY148" fmla="*/ 39261 h 1050438"/>
                <a:gd name="connsiteX149" fmla="*/ 368989 w 1001076"/>
                <a:gd name="connsiteY149" fmla="*/ 33559 h 1050438"/>
                <a:gd name="connsiteX150" fmla="*/ 368989 w 1001076"/>
                <a:gd name="connsiteY150" fmla="*/ 30790 h 1050438"/>
                <a:gd name="connsiteX151" fmla="*/ 363939 w 1001076"/>
                <a:gd name="connsiteY151" fmla="*/ 31116 h 1050438"/>
                <a:gd name="connsiteX152" fmla="*/ 361495 w 1001076"/>
                <a:gd name="connsiteY152" fmla="*/ 27369 h 1050438"/>
                <a:gd name="connsiteX153" fmla="*/ 359866 w 1001076"/>
                <a:gd name="connsiteY153" fmla="*/ 23622 h 1050438"/>
                <a:gd name="connsiteX154" fmla="*/ 354490 w 1001076"/>
                <a:gd name="connsiteY154" fmla="*/ 23948 h 1050438"/>
                <a:gd name="connsiteX155" fmla="*/ 350092 w 1001076"/>
                <a:gd name="connsiteY155" fmla="*/ 21667 h 1050438"/>
                <a:gd name="connsiteX156" fmla="*/ 352373 w 1001076"/>
                <a:gd name="connsiteY156" fmla="*/ 18572 h 1050438"/>
                <a:gd name="connsiteX157" fmla="*/ 355468 w 1001076"/>
                <a:gd name="connsiteY157" fmla="*/ 13521 h 1050438"/>
                <a:gd name="connsiteX158" fmla="*/ 355468 w 1001076"/>
                <a:gd name="connsiteY158" fmla="*/ 6679 h 1050438"/>
                <a:gd name="connsiteX159" fmla="*/ 351232 w 1001076"/>
                <a:gd name="connsiteY159" fmla="*/ 1303 h 1050438"/>
                <a:gd name="connsiteX160" fmla="*/ 345530 w 1001076"/>
                <a:gd name="connsiteY160" fmla="*/ 815 h 1050438"/>
                <a:gd name="connsiteX161" fmla="*/ 342761 w 1001076"/>
                <a:gd name="connsiteY161" fmla="*/ 2607 h 1050438"/>
                <a:gd name="connsiteX162" fmla="*/ 340806 w 1001076"/>
                <a:gd name="connsiteY162" fmla="*/ 326 h 1050438"/>
                <a:gd name="connsiteX163" fmla="*/ 338199 w 1001076"/>
                <a:gd name="connsiteY163" fmla="*/ 0 h 1050438"/>
                <a:gd name="connsiteX164" fmla="*/ 338688 w 1001076"/>
                <a:gd name="connsiteY164" fmla="*/ 5376 h 1050438"/>
                <a:gd name="connsiteX165" fmla="*/ 336244 w 1001076"/>
                <a:gd name="connsiteY165" fmla="*/ 11404 h 1050438"/>
                <a:gd name="connsiteX166" fmla="*/ 323049 w 1001076"/>
                <a:gd name="connsiteY166" fmla="*/ 20852 h 1050438"/>
                <a:gd name="connsiteX167" fmla="*/ 314741 w 1001076"/>
                <a:gd name="connsiteY167" fmla="*/ 21504 h 1050438"/>
                <a:gd name="connsiteX168" fmla="*/ 303337 w 1001076"/>
                <a:gd name="connsiteY168" fmla="*/ 26228 h 1050438"/>
                <a:gd name="connsiteX169" fmla="*/ 299101 w 1001076"/>
                <a:gd name="connsiteY169" fmla="*/ 24273 h 1050438"/>
                <a:gd name="connsiteX170" fmla="*/ 291933 w 1001076"/>
                <a:gd name="connsiteY170" fmla="*/ 24925 h 1050438"/>
                <a:gd name="connsiteX171" fmla="*/ 283625 w 1001076"/>
                <a:gd name="connsiteY171" fmla="*/ 32256 h 1050438"/>
                <a:gd name="connsiteX172" fmla="*/ 275479 w 1001076"/>
                <a:gd name="connsiteY172" fmla="*/ 35025 h 1050438"/>
                <a:gd name="connsiteX173" fmla="*/ 272710 w 1001076"/>
                <a:gd name="connsiteY173" fmla="*/ 33233 h 1050438"/>
                <a:gd name="connsiteX174" fmla="*/ 261306 w 1001076"/>
                <a:gd name="connsiteY174" fmla="*/ 34699 h 1050438"/>
                <a:gd name="connsiteX175" fmla="*/ 252509 w 1001076"/>
                <a:gd name="connsiteY175" fmla="*/ 35188 h 1050438"/>
                <a:gd name="connsiteX176" fmla="*/ 244527 w 1001076"/>
                <a:gd name="connsiteY176" fmla="*/ 30790 h 1050438"/>
                <a:gd name="connsiteX177" fmla="*/ 236544 w 1001076"/>
                <a:gd name="connsiteY177" fmla="*/ 29487 h 1050438"/>
                <a:gd name="connsiteX178" fmla="*/ 229213 w 1001076"/>
                <a:gd name="connsiteY178" fmla="*/ 27206 h 1050438"/>
                <a:gd name="connsiteX179" fmla="*/ 232471 w 1001076"/>
                <a:gd name="connsiteY179" fmla="*/ 33396 h 1050438"/>
                <a:gd name="connsiteX180" fmla="*/ 237847 w 1001076"/>
                <a:gd name="connsiteY180" fmla="*/ 35351 h 1050438"/>
                <a:gd name="connsiteX181" fmla="*/ 243386 w 1001076"/>
                <a:gd name="connsiteY181" fmla="*/ 40564 h 1050438"/>
                <a:gd name="connsiteX182" fmla="*/ 245178 w 1001076"/>
                <a:gd name="connsiteY182" fmla="*/ 45289 h 1050438"/>
                <a:gd name="connsiteX183" fmla="*/ 238010 w 1001076"/>
                <a:gd name="connsiteY183" fmla="*/ 56366 h 1050438"/>
                <a:gd name="connsiteX184" fmla="*/ 240780 w 1001076"/>
                <a:gd name="connsiteY184" fmla="*/ 61580 h 1050438"/>
                <a:gd name="connsiteX185" fmla="*/ 239151 w 1001076"/>
                <a:gd name="connsiteY185" fmla="*/ 70051 h 1050438"/>
                <a:gd name="connsiteX186" fmla="*/ 250880 w 1001076"/>
                <a:gd name="connsiteY186" fmla="*/ 73961 h 1050438"/>
                <a:gd name="connsiteX187" fmla="*/ 259026 w 1001076"/>
                <a:gd name="connsiteY187" fmla="*/ 72983 h 1050438"/>
                <a:gd name="connsiteX188" fmla="*/ 267171 w 1001076"/>
                <a:gd name="connsiteY188" fmla="*/ 74612 h 1050438"/>
                <a:gd name="connsiteX189" fmla="*/ 267497 w 1001076"/>
                <a:gd name="connsiteY189" fmla="*/ 79825 h 1050438"/>
                <a:gd name="connsiteX190" fmla="*/ 261632 w 1001076"/>
                <a:gd name="connsiteY190" fmla="*/ 82595 h 1050438"/>
                <a:gd name="connsiteX191" fmla="*/ 249577 w 1001076"/>
                <a:gd name="connsiteY191" fmla="*/ 85039 h 1050438"/>
                <a:gd name="connsiteX192" fmla="*/ 245341 w 1001076"/>
                <a:gd name="connsiteY192" fmla="*/ 89600 h 1050438"/>
                <a:gd name="connsiteX193" fmla="*/ 242898 w 1001076"/>
                <a:gd name="connsiteY193" fmla="*/ 96279 h 1050438"/>
                <a:gd name="connsiteX194" fmla="*/ 229865 w 1001076"/>
                <a:gd name="connsiteY194" fmla="*/ 103122 h 1050438"/>
                <a:gd name="connsiteX195" fmla="*/ 225629 w 1001076"/>
                <a:gd name="connsiteY195" fmla="*/ 108172 h 1050438"/>
                <a:gd name="connsiteX196" fmla="*/ 216832 w 1001076"/>
                <a:gd name="connsiteY196" fmla="*/ 113873 h 1050438"/>
                <a:gd name="connsiteX197" fmla="*/ 210804 w 1001076"/>
                <a:gd name="connsiteY197" fmla="*/ 121041 h 1050438"/>
                <a:gd name="connsiteX198" fmla="*/ 200378 w 1001076"/>
                <a:gd name="connsiteY198" fmla="*/ 121530 h 1050438"/>
                <a:gd name="connsiteX199" fmla="*/ 194514 w 1001076"/>
                <a:gd name="connsiteY199" fmla="*/ 120716 h 1050438"/>
                <a:gd name="connsiteX200" fmla="*/ 184413 w 1001076"/>
                <a:gd name="connsiteY200" fmla="*/ 112896 h 1050438"/>
                <a:gd name="connsiteX201" fmla="*/ 174639 w 1001076"/>
                <a:gd name="connsiteY201" fmla="*/ 106217 h 1050438"/>
                <a:gd name="connsiteX202" fmla="*/ 167959 w 1001076"/>
                <a:gd name="connsiteY202" fmla="*/ 107031 h 1050438"/>
                <a:gd name="connsiteX203" fmla="*/ 167959 w 1001076"/>
                <a:gd name="connsiteY203" fmla="*/ 100026 h 1050438"/>
                <a:gd name="connsiteX204" fmla="*/ 167145 w 1001076"/>
                <a:gd name="connsiteY204" fmla="*/ 94324 h 1050438"/>
                <a:gd name="connsiteX205" fmla="*/ 162909 w 1001076"/>
                <a:gd name="connsiteY205" fmla="*/ 89111 h 1050438"/>
                <a:gd name="connsiteX206" fmla="*/ 161443 w 1001076"/>
                <a:gd name="connsiteY206" fmla="*/ 85201 h 1050438"/>
                <a:gd name="connsiteX207" fmla="*/ 154438 w 1001076"/>
                <a:gd name="connsiteY207" fmla="*/ 86993 h 1050438"/>
                <a:gd name="connsiteX208" fmla="*/ 149388 w 1001076"/>
                <a:gd name="connsiteY208" fmla="*/ 92532 h 1050438"/>
                <a:gd name="connsiteX209" fmla="*/ 146130 w 1001076"/>
                <a:gd name="connsiteY209" fmla="*/ 93021 h 1050438"/>
                <a:gd name="connsiteX210" fmla="*/ 143360 w 1001076"/>
                <a:gd name="connsiteY210" fmla="*/ 90415 h 1050438"/>
                <a:gd name="connsiteX211" fmla="*/ 138310 w 1001076"/>
                <a:gd name="connsiteY211" fmla="*/ 90415 h 1050438"/>
                <a:gd name="connsiteX212" fmla="*/ 135215 w 1001076"/>
                <a:gd name="connsiteY212" fmla="*/ 93836 h 1050438"/>
                <a:gd name="connsiteX213" fmla="*/ 106217 w 1001076"/>
                <a:gd name="connsiteY213" fmla="*/ 93836 h 1050438"/>
                <a:gd name="connsiteX214" fmla="*/ 104588 w 1001076"/>
                <a:gd name="connsiteY214" fmla="*/ 102307 h 1050438"/>
                <a:gd name="connsiteX215" fmla="*/ 107031 w 1001076"/>
                <a:gd name="connsiteY215" fmla="*/ 108334 h 1050438"/>
                <a:gd name="connsiteX216" fmla="*/ 116806 w 1001076"/>
                <a:gd name="connsiteY216" fmla="*/ 110941 h 1050438"/>
                <a:gd name="connsiteX217" fmla="*/ 120553 w 1001076"/>
                <a:gd name="connsiteY217" fmla="*/ 117783 h 1050438"/>
                <a:gd name="connsiteX218" fmla="*/ 117783 w 1001076"/>
                <a:gd name="connsiteY218" fmla="*/ 120879 h 1050438"/>
                <a:gd name="connsiteX219" fmla="*/ 120716 w 1001076"/>
                <a:gd name="connsiteY219" fmla="*/ 123974 h 1050438"/>
                <a:gd name="connsiteX220" fmla="*/ 119412 w 1001076"/>
                <a:gd name="connsiteY220" fmla="*/ 128209 h 1050438"/>
                <a:gd name="connsiteX221" fmla="*/ 113385 w 1001076"/>
                <a:gd name="connsiteY221" fmla="*/ 124137 h 1050438"/>
                <a:gd name="connsiteX222" fmla="*/ 96279 w 1001076"/>
                <a:gd name="connsiteY222" fmla="*/ 130001 h 1050438"/>
                <a:gd name="connsiteX223" fmla="*/ 97094 w 1001076"/>
                <a:gd name="connsiteY223" fmla="*/ 144012 h 1050438"/>
                <a:gd name="connsiteX224" fmla="*/ 101492 w 1001076"/>
                <a:gd name="connsiteY224" fmla="*/ 149714 h 1050438"/>
                <a:gd name="connsiteX225" fmla="*/ 111104 w 1001076"/>
                <a:gd name="connsiteY225" fmla="*/ 157044 h 1050438"/>
                <a:gd name="connsiteX226" fmla="*/ 117295 w 1001076"/>
                <a:gd name="connsiteY226" fmla="*/ 168122 h 1050438"/>
                <a:gd name="connsiteX227" fmla="*/ 116969 w 1001076"/>
                <a:gd name="connsiteY227" fmla="*/ 176756 h 1050438"/>
                <a:gd name="connsiteX228" fmla="*/ 116969 w 1001076"/>
                <a:gd name="connsiteY228" fmla="*/ 180666 h 1050438"/>
                <a:gd name="connsiteX229" fmla="*/ 102470 w 1001076"/>
                <a:gd name="connsiteY229" fmla="*/ 234100 h 1050438"/>
                <a:gd name="connsiteX230" fmla="*/ 98234 w 1001076"/>
                <a:gd name="connsiteY230" fmla="*/ 248273 h 1050438"/>
                <a:gd name="connsiteX231" fmla="*/ 98886 w 1001076"/>
                <a:gd name="connsiteY231" fmla="*/ 250880 h 1050438"/>
                <a:gd name="connsiteX232" fmla="*/ 96605 w 1001076"/>
                <a:gd name="connsiteY232" fmla="*/ 254627 h 1050438"/>
                <a:gd name="connsiteX233" fmla="*/ 91066 w 1001076"/>
                <a:gd name="connsiteY233" fmla="*/ 253161 h 1050438"/>
                <a:gd name="connsiteX234" fmla="*/ 91555 w 1001076"/>
                <a:gd name="connsiteY234" fmla="*/ 251532 h 1050438"/>
                <a:gd name="connsiteX235" fmla="*/ 85853 w 1001076"/>
                <a:gd name="connsiteY235" fmla="*/ 247785 h 1050438"/>
                <a:gd name="connsiteX236" fmla="*/ 83898 w 1001076"/>
                <a:gd name="connsiteY236" fmla="*/ 248273 h 1050438"/>
                <a:gd name="connsiteX237" fmla="*/ 78848 w 1001076"/>
                <a:gd name="connsiteY237" fmla="*/ 248273 h 1050438"/>
                <a:gd name="connsiteX238" fmla="*/ 76567 w 1001076"/>
                <a:gd name="connsiteY238" fmla="*/ 247296 h 1050438"/>
                <a:gd name="connsiteX239" fmla="*/ 74775 w 1001076"/>
                <a:gd name="connsiteY239" fmla="*/ 251369 h 1050438"/>
                <a:gd name="connsiteX240" fmla="*/ 57344 w 1001076"/>
                <a:gd name="connsiteY240" fmla="*/ 257071 h 1050438"/>
                <a:gd name="connsiteX241" fmla="*/ 44311 w 1001076"/>
                <a:gd name="connsiteY241" fmla="*/ 259840 h 1050438"/>
                <a:gd name="connsiteX242" fmla="*/ 41053 w 1001076"/>
                <a:gd name="connsiteY242" fmla="*/ 263098 h 1050438"/>
                <a:gd name="connsiteX243" fmla="*/ 38121 w 1001076"/>
                <a:gd name="connsiteY243" fmla="*/ 264076 h 1050438"/>
                <a:gd name="connsiteX244" fmla="*/ 32745 w 1001076"/>
                <a:gd name="connsiteY244" fmla="*/ 269452 h 1050438"/>
                <a:gd name="connsiteX245" fmla="*/ 26717 w 1001076"/>
                <a:gd name="connsiteY245" fmla="*/ 272221 h 1050438"/>
                <a:gd name="connsiteX246" fmla="*/ 22156 w 1001076"/>
                <a:gd name="connsiteY246" fmla="*/ 275154 h 1050438"/>
                <a:gd name="connsiteX247" fmla="*/ 22970 w 1001076"/>
                <a:gd name="connsiteY247" fmla="*/ 281833 h 1050438"/>
                <a:gd name="connsiteX248" fmla="*/ 20364 w 1001076"/>
                <a:gd name="connsiteY248" fmla="*/ 285743 h 1050438"/>
                <a:gd name="connsiteX249" fmla="*/ 21504 w 1001076"/>
                <a:gd name="connsiteY249" fmla="*/ 289815 h 1050438"/>
                <a:gd name="connsiteX250" fmla="*/ 14499 w 1001076"/>
                <a:gd name="connsiteY250" fmla="*/ 296820 h 1050438"/>
                <a:gd name="connsiteX251" fmla="*/ 16943 w 1001076"/>
                <a:gd name="connsiteY251" fmla="*/ 305617 h 1050438"/>
                <a:gd name="connsiteX252" fmla="*/ 19386 w 1001076"/>
                <a:gd name="connsiteY252" fmla="*/ 310179 h 1050438"/>
                <a:gd name="connsiteX253" fmla="*/ 15151 w 1001076"/>
                <a:gd name="connsiteY253" fmla="*/ 314252 h 1050438"/>
                <a:gd name="connsiteX254" fmla="*/ 11404 w 1001076"/>
                <a:gd name="connsiteY254" fmla="*/ 313437 h 1050438"/>
                <a:gd name="connsiteX255" fmla="*/ 4236 w 1001076"/>
                <a:gd name="connsiteY255" fmla="*/ 317999 h 1050438"/>
                <a:gd name="connsiteX256" fmla="*/ 3910 w 1001076"/>
                <a:gd name="connsiteY256" fmla="*/ 323212 h 1050438"/>
                <a:gd name="connsiteX257" fmla="*/ 1303 w 1001076"/>
                <a:gd name="connsiteY257" fmla="*/ 325981 h 1050438"/>
                <a:gd name="connsiteX258" fmla="*/ 2932 w 1001076"/>
                <a:gd name="connsiteY258" fmla="*/ 329402 h 1050438"/>
                <a:gd name="connsiteX259" fmla="*/ 1955 w 1001076"/>
                <a:gd name="connsiteY259" fmla="*/ 335104 h 1050438"/>
                <a:gd name="connsiteX260" fmla="*/ 0 w 1001076"/>
                <a:gd name="connsiteY260" fmla="*/ 339828 h 1050438"/>
                <a:gd name="connsiteX261" fmla="*/ 1792 w 1001076"/>
                <a:gd name="connsiteY261" fmla="*/ 344064 h 1050438"/>
                <a:gd name="connsiteX262" fmla="*/ 489 w 1001076"/>
                <a:gd name="connsiteY262" fmla="*/ 347974 h 1050438"/>
                <a:gd name="connsiteX263" fmla="*/ 7494 w 1001076"/>
                <a:gd name="connsiteY263" fmla="*/ 354979 h 1050438"/>
                <a:gd name="connsiteX264" fmla="*/ 20038 w 1001076"/>
                <a:gd name="connsiteY264" fmla="*/ 375180 h 1050438"/>
                <a:gd name="connsiteX265" fmla="*/ 13521 w 1001076"/>
                <a:gd name="connsiteY265" fmla="*/ 383325 h 1050438"/>
                <a:gd name="connsiteX266" fmla="*/ 29324 w 1001076"/>
                <a:gd name="connsiteY266" fmla="*/ 382022 h 1050438"/>
                <a:gd name="connsiteX267" fmla="*/ 36817 w 1001076"/>
                <a:gd name="connsiteY267" fmla="*/ 383325 h 1050438"/>
                <a:gd name="connsiteX268" fmla="*/ 42356 w 1001076"/>
                <a:gd name="connsiteY268" fmla="*/ 391471 h 1050438"/>
                <a:gd name="connsiteX269" fmla="*/ 43985 w 1001076"/>
                <a:gd name="connsiteY269" fmla="*/ 398639 h 1050438"/>
                <a:gd name="connsiteX270" fmla="*/ 54900 w 1001076"/>
                <a:gd name="connsiteY270" fmla="*/ 399127 h 1050438"/>
                <a:gd name="connsiteX271" fmla="*/ 67933 w 1001076"/>
                <a:gd name="connsiteY271" fmla="*/ 399942 h 1050438"/>
                <a:gd name="connsiteX272" fmla="*/ 78685 w 1001076"/>
                <a:gd name="connsiteY272" fmla="*/ 390005 h 1050438"/>
                <a:gd name="connsiteX273" fmla="*/ 87808 w 1001076"/>
                <a:gd name="connsiteY273" fmla="*/ 384791 h 1050438"/>
                <a:gd name="connsiteX274" fmla="*/ 90415 w 1001076"/>
                <a:gd name="connsiteY274" fmla="*/ 387561 h 1050438"/>
                <a:gd name="connsiteX275" fmla="*/ 89274 w 1001076"/>
                <a:gd name="connsiteY275" fmla="*/ 393263 h 1050438"/>
                <a:gd name="connsiteX276" fmla="*/ 87482 w 1001076"/>
                <a:gd name="connsiteY276" fmla="*/ 395218 h 1050438"/>
                <a:gd name="connsiteX277" fmla="*/ 87482 w 1001076"/>
                <a:gd name="connsiteY277" fmla="*/ 404340 h 1050438"/>
                <a:gd name="connsiteX278" fmla="*/ 88623 w 1001076"/>
                <a:gd name="connsiteY278" fmla="*/ 419328 h 1050438"/>
                <a:gd name="connsiteX279" fmla="*/ 88949 w 1001076"/>
                <a:gd name="connsiteY279" fmla="*/ 425356 h 1050438"/>
                <a:gd name="connsiteX280" fmla="*/ 92044 w 1001076"/>
                <a:gd name="connsiteY280" fmla="*/ 428288 h 1050438"/>
                <a:gd name="connsiteX281" fmla="*/ 97094 w 1001076"/>
                <a:gd name="connsiteY281" fmla="*/ 427473 h 1050438"/>
                <a:gd name="connsiteX282" fmla="*/ 101981 w 1001076"/>
                <a:gd name="connsiteY282" fmla="*/ 426007 h 1050438"/>
                <a:gd name="connsiteX283" fmla="*/ 107520 w 1001076"/>
                <a:gd name="connsiteY283" fmla="*/ 425681 h 1050438"/>
                <a:gd name="connsiteX284" fmla="*/ 110290 w 1001076"/>
                <a:gd name="connsiteY284" fmla="*/ 425356 h 1050438"/>
                <a:gd name="connsiteX285" fmla="*/ 112896 w 1001076"/>
                <a:gd name="connsiteY285" fmla="*/ 426496 h 1050438"/>
                <a:gd name="connsiteX286" fmla="*/ 113548 w 1001076"/>
                <a:gd name="connsiteY286" fmla="*/ 426822 h 1050438"/>
                <a:gd name="connsiteX287" fmla="*/ 113548 w 1001076"/>
                <a:gd name="connsiteY287" fmla="*/ 426822 h 1050438"/>
                <a:gd name="connsiteX288" fmla="*/ 129839 w 1001076"/>
                <a:gd name="connsiteY288" fmla="*/ 426822 h 1050438"/>
                <a:gd name="connsiteX289" fmla="*/ 137169 w 1001076"/>
                <a:gd name="connsiteY289" fmla="*/ 427148 h 1050438"/>
                <a:gd name="connsiteX290" fmla="*/ 144500 w 1001076"/>
                <a:gd name="connsiteY290" fmla="*/ 423075 h 1050438"/>
                <a:gd name="connsiteX291" fmla="*/ 148573 w 1001076"/>
                <a:gd name="connsiteY291" fmla="*/ 423075 h 1050438"/>
                <a:gd name="connsiteX292" fmla="*/ 154112 w 1001076"/>
                <a:gd name="connsiteY292" fmla="*/ 418676 h 1050438"/>
                <a:gd name="connsiteX293" fmla="*/ 160466 w 1001076"/>
                <a:gd name="connsiteY293" fmla="*/ 418676 h 1050438"/>
                <a:gd name="connsiteX294" fmla="*/ 167796 w 1001076"/>
                <a:gd name="connsiteY294" fmla="*/ 416396 h 1050438"/>
                <a:gd name="connsiteX295" fmla="*/ 172195 w 1001076"/>
                <a:gd name="connsiteY295" fmla="*/ 404992 h 1050438"/>
                <a:gd name="connsiteX296" fmla="*/ 184413 w 1001076"/>
                <a:gd name="connsiteY296" fmla="*/ 397172 h 1050438"/>
                <a:gd name="connsiteX297" fmla="*/ 192884 w 1001076"/>
                <a:gd name="connsiteY297" fmla="*/ 395706 h 1050438"/>
                <a:gd name="connsiteX298" fmla="*/ 201030 w 1001076"/>
                <a:gd name="connsiteY298" fmla="*/ 391633 h 1050438"/>
                <a:gd name="connsiteX299" fmla="*/ 206569 w 1001076"/>
                <a:gd name="connsiteY299" fmla="*/ 391633 h 1050438"/>
                <a:gd name="connsiteX300" fmla="*/ 211782 w 1001076"/>
                <a:gd name="connsiteY300" fmla="*/ 395381 h 1050438"/>
                <a:gd name="connsiteX301" fmla="*/ 217647 w 1001076"/>
                <a:gd name="connsiteY301" fmla="*/ 391633 h 1050438"/>
                <a:gd name="connsiteX302" fmla="*/ 220579 w 1001076"/>
                <a:gd name="connsiteY302" fmla="*/ 394240 h 1050438"/>
                <a:gd name="connsiteX303" fmla="*/ 219765 w 1001076"/>
                <a:gd name="connsiteY303" fmla="*/ 400105 h 1050438"/>
                <a:gd name="connsiteX304" fmla="*/ 222697 w 1001076"/>
                <a:gd name="connsiteY304" fmla="*/ 409391 h 1050438"/>
                <a:gd name="connsiteX305" fmla="*/ 218624 w 1001076"/>
                <a:gd name="connsiteY305" fmla="*/ 416722 h 1050438"/>
                <a:gd name="connsiteX306" fmla="*/ 221882 w 1001076"/>
                <a:gd name="connsiteY306" fmla="*/ 428614 h 1050438"/>
                <a:gd name="connsiteX307" fmla="*/ 219601 w 1001076"/>
                <a:gd name="connsiteY307" fmla="*/ 433827 h 1050438"/>
                <a:gd name="connsiteX308" fmla="*/ 224000 w 1001076"/>
                <a:gd name="connsiteY308" fmla="*/ 443439 h 1050438"/>
                <a:gd name="connsiteX309" fmla="*/ 229865 w 1001076"/>
                <a:gd name="connsiteY309" fmla="*/ 446045 h 1050438"/>
                <a:gd name="connsiteX310" fmla="*/ 231657 w 1001076"/>
                <a:gd name="connsiteY310" fmla="*/ 453865 h 1050438"/>
                <a:gd name="connsiteX311" fmla="*/ 237522 w 1001076"/>
                <a:gd name="connsiteY311" fmla="*/ 456797 h 1050438"/>
                <a:gd name="connsiteX312" fmla="*/ 245667 w 1001076"/>
                <a:gd name="connsiteY312" fmla="*/ 462010 h 1050438"/>
                <a:gd name="connsiteX313" fmla="*/ 251206 w 1001076"/>
                <a:gd name="connsiteY313" fmla="*/ 467223 h 1050438"/>
                <a:gd name="connsiteX314" fmla="*/ 253487 w 1001076"/>
                <a:gd name="connsiteY314" fmla="*/ 464617 h 1050438"/>
                <a:gd name="connsiteX315" fmla="*/ 264239 w 1001076"/>
                <a:gd name="connsiteY315" fmla="*/ 462010 h 1050438"/>
                <a:gd name="connsiteX316" fmla="*/ 273036 w 1001076"/>
                <a:gd name="connsiteY316" fmla="*/ 470807 h 1050438"/>
                <a:gd name="connsiteX317" fmla="*/ 279715 w 1001076"/>
                <a:gd name="connsiteY317" fmla="*/ 469015 h 1050438"/>
                <a:gd name="connsiteX318" fmla="*/ 289001 w 1001076"/>
                <a:gd name="connsiteY318" fmla="*/ 478953 h 1050438"/>
                <a:gd name="connsiteX319" fmla="*/ 293074 w 1001076"/>
                <a:gd name="connsiteY319" fmla="*/ 478627 h 1050438"/>
                <a:gd name="connsiteX320" fmla="*/ 304151 w 1001076"/>
                <a:gd name="connsiteY320" fmla="*/ 482374 h 1050438"/>
                <a:gd name="connsiteX321" fmla="*/ 311157 w 1001076"/>
                <a:gd name="connsiteY321" fmla="*/ 484981 h 1050438"/>
                <a:gd name="connsiteX322" fmla="*/ 312623 w 1001076"/>
                <a:gd name="connsiteY322" fmla="*/ 492311 h 1050438"/>
                <a:gd name="connsiteX323" fmla="*/ 317836 w 1001076"/>
                <a:gd name="connsiteY323" fmla="*/ 493778 h 1050438"/>
                <a:gd name="connsiteX324" fmla="*/ 324515 w 1001076"/>
                <a:gd name="connsiteY324" fmla="*/ 497524 h 1050438"/>
                <a:gd name="connsiteX325" fmla="*/ 339340 w 1001076"/>
                <a:gd name="connsiteY325" fmla="*/ 496058 h 1050438"/>
                <a:gd name="connsiteX326" fmla="*/ 349603 w 1001076"/>
                <a:gd name="connsiteY326" fmla="*/ 501923 h 1050438"/>
                <a:gd name="connsiteX327" fmla="*/ 351884 w 1001076"/>
                <a:gd name="connsiteY327" fmla="*/ 506322 h 1050438"/>
                <a:gd name="connsiteX328" fmla="*/ 350418 w 1001076"/>
                <a:gd name="connsiteY328" fmla="*/ 518051 h 1050438"/>
                <a:gd name="connsiteX329" fmla="*/ 352698 w 1001076"/>
                <a:gd name="connsiteY329" fmla="*/ 527663 h 1050438"/>
                <a:gd name="connsiteX330" fmla="*/ 349766 w 1001076"/>
                <a:gd name="connsiteY330" fmla="*/ 533527 h 1050438"/>
                <a:gd name="connsiteX331" fmla="*/ 359378 w 1001076"/>
                <a:gd name="connsiteY331" fmla="*/ 549818 h 1050438"/>
                <a:gd name="connsiteX332" fmla="*/ 358563 w 1001076"/>
                <a:gd name="connsiteY332" fmla="*/ 561711 h 1050438"/>
                <a:gd name="connsiteX333" fmla="*/ 403526 w 1001076"/>
                <a:gd name="connsiteY333" fmla="*/ 562362 h 1050438"/>
                <a:gd name="connsiteX334" fmla="*/ 405807 w 1001076"/>
                <a:gd name="connsiteY334" fmla="*/ 578653 h 1050438"/>
                <a:gd name="connsiteX335" fmla="*/ 404992 w 1001076"/>
                <a:gd name="connsiteY335" fmla="*/ 588916 h 1050438"/>
                <a:gd name="connsiteX336" fmla="*/ 418351 w 1001076"/>
                <a:gd name="connsiteY336" fmla="*/ 591849 h 1050438"/>
                <a:gd name="connsiteX337" fmla="*/ 431709 w 1001076"/>
                <a:gd name="connsiteY337" fmla="*/ 615471 h 1050438"/>
                <a:gd name="connsiteX338" fmla="*/ 432524 w 1001076"/>
                <a:gd name="connsiteY338" fmla="*/ 628015 h 1050438"/>
                <a:gd name="connsiteX339" fmla="*/ 419980 w 1001076"/>
                <a:gd name="connsiteY339" fmla="*/ 653103 h 1050438"/>
                <a:gd name="connsiteX340" fmla="*/ 420794 w 1001076"/>
                <a:gd name="connsiteY340" fmla="*/ 656850 h 1050438"/>
                <a:gd name="connsiteX341" fmla="*/ 417373 w 1001076"/>
                <a:gd name="connsiteY341" fmla="*/ 661574 h 1050438"/>
                <a:gd name="connsiteX342" fmla="*/ 419654 w 1001076"/>
                <a:gd name="connsiteY342" fmla="*/ 664181 h 1050438"/>
                <a:gd name="connsiteX343" fmla="*/ 418188 w 1001076"/>
                <a:gd name="connsiteY343" fmla="*/ 669720 h 1050438"/>
                <a:gd name="connsiteX344" fmla="*/ 424541 w 1001076"/>
                <a:gd name="connsiteY344" fmla="*/ 674444 h 1050438"/>
                <a:gd name="connsiteX345" fmla="*/ 424867 w 1001076"/>
                <a:gd name="connsiteY345" fmla="*/ 682263 h 1050438"/>
                <a:gd name="connsiteX346" fmla="*/ 430080 w 1001076"/>
                <a:gd name="connsiteY346" fmla="*/ 689920 h 1050438"/>
                <a:gd name="connsiteX347" fmla="*/ 427474 w 1001076"/>
                <a:gd name="connsiteY347" fmla="*/ 705397 h 1050438"/>
                <a:gd name="connsiteX348" fmla="*/ 428940 w 1001076"/>
                <a:gd name="connsiteY348" fmla="*/ 711587 h 1050438"/>
                <a:gd name="connsiteX349" fmla="*/ 427148 w 1001076"/>
                <a:gd name="connsiteY349" fmla="*/ 717126 h 1050438"/>
                <a:gd name="connsiteX350" fmla="*/ 428940 w 1001076"/>
                <a:gd name="connsiteY350" fmla="*/ 722665 h 1050438"/>
                <a:gd name="connsiteX351" fmla="*/ 438551 w 1001076"/>
                <a:gd name="connsiteY351" fmla="*/ 722013 h 1050438"/>
                <a:gd name="connsiteX352" fmla="*/ 442624 w 1001076"/>
                <a:gd name="connsiteY352" fmla="*/ 723805 h 1050438"/>
                <a:gd name="connsiteX353" fmla="*/ 454517 w 1001076"/>
                <a:gd name="connsiteY353" fmla="*/ 722991 h 1050438"/>
                <a:gd name="connsiteX354" fmla="*/ 461848 w 1001076"/>
                <a:gd name="connsiteY354" fmla="*/ 725597 h 1050438"/>
                <a:gd name="connsiteX355" fmla="*/ 473577 w 1001076"/>
                <a:gd name="connsiteY355" fmla="*/ 720710 h 1050438"/>
                <a:gd name="connsiteX356" fmla="*/ 479930 w 1001076"/>
                <a:gd name="connsiteY356" fmla="*/ 725109 h 1050438"/>
                <a:gd name="connsiteX357" fmla="*/ 484655 w 1001076"/>
                <a:gd name="connsiteY357" fmla="*/ 726575 h 1050438"/>
                <a:gd name="connsiteX358" fmla="*/ 486447 w 1001076"/>
                <a:gd name="connsiteY358" fmla="*/ 732439 h 1050438"/>
                <a:gd name="connsiteX359" fmla="*/ 492963 w 1001076"/>
                <a:gd name="connsiteY359" fmla="*/ 760297 h 1050438"/>
                <a:gd name="connsiteX360" fmla="*/ 497362 w 1001076"/>
                <a:gd name="connsiteY360" fmla="*/ 770072 h 1050438"/>
                <a:gd name="connsiteX361" fmla="*/ 501923 w 1001076"/>
                <a:gd name="connsiteY361" fmla="*/ 771375 h 1050438"/>
                <a:gd name="connsiteX362" fmla="*/ 512024 w 1001076"/>
                <a:gd name="connsiteY362" fmla="*/ 765836 h 1050438"/>
                <a:gd name="connsiteX363" fmla="*/ 517725 w 1001076"/>
                <a:gd name="connsiteY363" fmla="*/ 768117 h 1050438"/>
                <a:gd name="connsiteX364" fmla="*/ 521635 w 1001076"/>
                <a:gd name="connsiteY364" fmla="*/ 771538 h 1050438"/>
                <a:gd name="connsiteX365" fmla="*/ 525382 w 1001076"/>
                <a:gd name="connsiteY365" fmla="*/ 772352 h 1050438"/>
                <a:gd name="connsiteX366" fmla="*/ 522938 w 1001076"/>
                <a:gd name="connsiteY366" fmla="*/ 776425 h 1050438"/>
                <a:gd name="connsiteX367" fmla="*/ 522287 w 1001076"/>
                <a:gd name="connsiteY367" fmla="*/ 800536 h 1050438"/>
                <a:gd name="connsiteX368" fmla="*/ 521309 w 1001076"/>
                <a:gd name="connsiteY368" fmla="*/ 803305 h 1050438"/>
                <a:gd name="connsiteX369" fmla="*/ 520658 w 1001076"/>
                <a:gd name="connsiteY369" fmla="*/ 804120 h 1050438"/>
                <a:gd name="connsiteX370" fmla="*/ 520658 w 1001076"/>
                <a:gd name="connsiteY370" fmla="*/ 807378 h 1050438"/>
                <a:gd name="connsiteX371" fmla="*/ 520006 w 1001076"/>
                <a:gd name="connsiteY371" fmla="*/ 809984 h 1050438"/>
                <a:gd name="connsiteX372" fmla="*/ 519680 w 1001076"/>
                <a:gd name="connsiteY372" fmla="*/ 813080 h 1050438"/>
                <a:gd name="connsiteX373" fmla="*/ 524079 w 1001076"/>
                <a:gd name="connsiteY373" fmla="*/ 810147 h 1050438"/>
                <a:gd name="connsiteX374" fmla="*/ 535808 w 1001076"/>
                <a:gd name="connsiteY374" fmla="*/ 811776 h 1050438"/>
                <a:gd name="connsiteX375" fmla="*/ 536134 w 1001076"/>
                <a:gd name="connsiteY375" fmla="*/ 816989 h 1050438"/>
                <a:gd name="connsiteX376" fmla="*/ 540858 w 1001076"/>
                <a:gd name="connsiteY376" fmla="*/ 827904 h 1050438"/>
                <a:gd name="connsiteX377" fmla="*/ 540533 w 1001076"/>
                <a:gd name="connsiteY377" fmla="*/ 836538 h 1050438"/>
                <a:gd name="connsiteX378" fmla="*/ 541673 w 1001076"/>
                <a:gd name="connsiteY378" fmla="*/ 846476 h 1050438"/>
                <a:gd name="connsiteX379" fmla="*/ 542650 w 1001076"/>
                <a:gd name="connsiteY379" fmla="*/ 855762 h 1050438"/>
                <a:gd name="connsiteX380" fmla="*/ 541184 w 1001076"/>
                <a:gd name="connsiteY380" fmla="*/ 859509 h 1050438"/>
                <a:gd name="connsiteX381" fmla="*/ 535971 w 1001076"/>
                <a:gd name="connsiteY381" fmla="*/ 859509 h 1050438"/>
                <a:gd name="connsiteX382" fmla="*/ 529781 w 1001076"/>
                <a:gd name="connsiteY382" fmla="*/ 862604 h 1050438"/>
                <a:gd name="connsiteX383" fmla="*/ 528803 w 1001076"/>
                <a:gd name="connsiteY383" fmla="*/ 864559 h 1050438"/>
                <a:gd name="connsiteX384" fmla="*/ 525056 w 1001076"/>
                <a:gd name="connsiteY384" fmla="*/ 867654 h 1050438"/>
                <a:gd name="connsiteX385" fmla="*/ 523427 w 1001076"/>
                <a:gd name="connsiteY385" fmla="*/ 866677 h 1050438"/>
                <a:gd name="connsiteX386" fmla="*/ 513001 w 1001076"/>
                <a:gd name="connsiteY386" fmla="*/ 873682 h 1050438"/>
                <a:gd name="connsiteX387" fmla="*/ 511046 w 1001076"/>
                <a:gd name="connsiteY387" fmla="*/ 876940 h 1050438"/>
                <a:gd name="connsiteX388" fmla="*/ 506973 w 1001076"/>
                <a:gd name="connsiteY388" fmla="*/ 878080 h 1050438"/>
                <a:gd name="connsiteX389" fmla="*/ 497362 w 1001076"/>
                <a:gd name="connsiteY389" fmla="*/ 886063 h 1050438"/>
                <a:gd name="connsiteX390" fmla="*/ 494266 w 1001076"/>
                <a:gd name="connsiteY390" fmla="*/ 887203 h 1050438"/>
                <a:gd name="connsiteX391" fmla="*/ 493941 w 1001076"/>
                <a:gd name="connsiteY391" fmla="*/ 893394 h 1050438"/>
                <a:gd name="connsiteX392" fmla="*/ 490519 w 1001076"/>
                <a:gd name="connsiteY392" fmla="*/ 894534 h 1050438"/>
                <a:gd name="connsiteX393" fmla="*/ 487424 w 1001076"/>
                <a:gd name="connsiteY393" fmla="*/ 894045 h 1050438"/>
                <a:gd name="connsiteX394" fmla="*/ 479279 w 1001076"/>
                <a:gd name="connsiteY394" fmla="*/ 903983 h 1050438"/>
                <a:gd name="connsiteX395" fmla="*/ 477813 w 1001076"/>
                <a:gd name="connsiteY395" fmla="*/ 907893 h 1050438"/>
                <a:gd name="connsiteX396" fmla="*/ 477813 w 1001076"/>
                <a:gd name="connsiteY396" fmla="*/ 913595 h 1050438"/>
                <a:gd name="connsiteX397" fmla="*/ 474391 w 1001076"/>
                <a:gd name="connsiteY397" fmla="*/ 914735 h 1050438"/>
                <a:gd name="connsiteX398" fmla="*/ 472437 w 1001076"/>
                <a:gd name="connsiteY398" fmla="*/ 917830 h 1050438"/>
                <a:gd name="connsiteX399" fmla="*/ 467224 w 1001076"/>
                <a:gd name="connsiteY399" fmla="*/ 927279 h 1050438"/>
                <a:gd name="connsiteX400" fmla="*/ 463477 w 1001076"/>
                <a:gd name="connsiteY400" fmla="*/ 931189 h 1050438"/>
                <a:gd name="connsiteX401" fmla="*/ 459241 w 1001076"/>
                <a:gd name="connsiteY401" fmla="*/ 938194 h 1050438"/>
                <a:gd name="connsiteX402" fmla="*/ 459241 w 1001076"/>
                <a:gd name="connsiteY402" fmla="*/ 940637 h 1050438"/>
                <a:gd name="connsiteX403" fmla="*/ 454517 w 1001076"/>
                <a:gd name="connsiteY403" fmla="*/ 943896 h 1050438"/>
                <a:gd name="connsiteX404" fmla="*/ 453865 w 1001076"/>
                <a:gd name="connsiteY404" fmla="*/ 946176 h 1050438"/>
                <a:gd name="connsiteX405" fmla="*/ 457612 w 1001076"/>
                <a:gd name="connsiteY405" fmla="*/ 946176 h 1050438"/>
                <a:gd name="connsiteX406" fmla="*/ 460381 w 1001076"/>
                <a:gd name="connsiteY406" fmla="*/ 947805 h 1050438"/>
                <a:gd name="connsiteX407" fmla="*/ 473251 w 1001076"/>
                <a:gd name="connsiteY407" fmla="*/ 943896 h 1050438"/>
                <a:gd name="connsiteX408" fmla="*/ 478627 w 1001076"/>
                <a:gd name="connsiteY408" fmla="*/ 947317 h 1050438"/>
                <a:gd name="connsiteX409" fmla="*/ 484492 w 1001076"/>
                <a:gd name="connsiteY409" fmla="*/ 955462 h 1050438"/>
                <a:gd name="connsiteX410" fmla="*/ 489705 w 1001076"/>
                <a:gd name="connsiteY410" fmla="*/ 957743 h 1050438"/>
                <a:gd name="connsiteX411" fmla="*/ 492800 w 1001076"/>
                <a:gd name="connsiteY411" fmla="*/ 964748 h 1050438"/>
                <a:gd name="connsiteX412" fmla="*/ 498828 w 1001076"/>
                <a:gd name="connsiteY412" fmla="*/ 974685 h 1050438"/>
                <a:gd name="connsiteX413" fmla="*/ 501760 w 1001076"/>
                <a:gd name="connsiteY413" fmla="*/ 974685 h 1050438"/>
                <a:gd name="connsiteX414" fmla="*/ 506810 w 1001076"/>
                <a:gd name="connsiteY414" fmla="*/ 969309 h 1050438"/>
                <a:gd name="connsiteX415" fmla="*/ 509417 w 1001076"/>
                <a:gd name="connsiteY415" fmla="*/ 969635 h 1050438"/>
                <a:gd name="connsiteX416" fmla="*/ 515282 w 1001076"/>
                <a:gd name="connsiteY416" fmla="*/ 979247 h 1050438"/>
                <a:gd name="connsiteX417" fmla="*/ 522287 w 1001076"/>
                <a:gd name="connsiteY417" fmla="*/ 982342 h 1050438"/>
                <a:gd name="connsiteX418" fmla="*/ 528315 w 1001076"/>
                <a:gd name="connsiteY418" fmla="*/ 983645 h 1050438"/>
                <a:gd name="connsiteX419" fmla="*/ 534179 w 1001076"/>
                <a:gd name="connsiteY419" fmla="*/ 989510 h 1050438"/>
                <a:gd name="connsiteX420" fmla="*/ 534505 w 1001076"/>
                <a:gd name="connsiteY420" fmla="*/ 996515 h 1050438"/>
                <a:gd name="connsiteX421" fmla="*/ 539555 w 1001076"/>
                <a:gd name="connsiteY421" fmla="*/ 995375 h 1050438"/>
                <a:gd name="connsiteX422" fmla="*/ 549493 w 1001076"/>
                <a:gd name="connsiteY422" fmla="*/ 999773 h 1050438"/>
                <a:gd name="connsiteX423" fmla="*/ 555357 w 1001076"/>
                <a:gd name="connsiteY423" fmla="*/ 1007104 h 1050438"/>
                <a:gd name="connsiteX424" fmla="*/ 561548 w 1001076"/>
                <a:gd name="connsiteY424" fmla="*/ 1016553 h 1050438"/>
                <a:gd name="connsiteX425" fmla="*/ 567250 w 1001076"/>
                <a:gd name="connsiteY425" fmla="*/ 1020626 h 1050438"/>
                <a:gd name="connsiteX426" fmla="*/ 566109 w 1001076"/>
                <a:gd name="connsiteY426" fmla="*/ 1027794 h 1050438"/>
                <a:gd name="connsiteX427" fmla="*/ 561385 w 1001076"/>
                <a:gd name="connsiteY427" fmla="*/ 1034473 h 1050438"/>
                <a:gd name="connsiteX428" fmla="*/ 563829 w 1001076"/>
                <a:gd name="connsiteY428" fmla="*/ 1042130 h 1050438"/>
                <a:gd name="connsiteX429" fmla="*/ 564806 w 1001076"/>
                <a:gd name="connsiteY429" fmla="*/ 1044085 h 1050438"/>
                <a:gd name="connsiteX430" fmla="*/ 565458 w 1001076"/>
                <a:gd name="connsiteY430" fmla="*/ 1045388 h 1050438"/>
                <a:gd name="connsiteX431" fmla="*/ 568390 w 1001076"/>
                <a:gd name="connsiteY431" fmla="*/ 1049298 h 1050438"/>
                <a:gd name="connsiteX432" fmla="*/ 569856 w 1001076"/>
                <a:gd name="connsiteY432" fmla="*/ 1050438 h 1050438"/>
                <a:gd name="connsiteX433" fmla="*/ 579468 w 1001076"/>
                <a:gd name="connsiteY433" fmla="*/ 1042455 h 1050438"/>
                <a:gd name="connsiteX434" fmla="*/ 582726 w 1001076"/>
                <a:gd name="connsiteY434" fmla="*/ 1034799 h 1050438"/>
                <a:gd name="connsiteX435" fmla="*/ 586962 w 1001076"/>
                <a:gd name="connsiteY435" fmla="*/ 1016879 h 1050438"/>
                <a:gd name="connsiteX436" fmla="*/ 590872 w 1001076"/>
                <a:gd name="connsiteY436" fmla="*/ 1004661 h 1050438"/>
                <a:gd name="connsiteX437" fmla="*/ 592501 w 1001076"/>
                <a:gd name="connsiteY437" fmla="*/ 1002217 h 1050438"/>
                <a:gd name="connsiteX438" fmla="*/ 590220 w 1001076"/>
                <a:gd name="connsiteY438" fmla="*/ 999447 h 1050438"/>
                <a:gd name="connsiteX439" fmla="*/ 586473 w 1001076"/>
                <a:gd name="connsiteY439" fmla="*/ 993420 h 1050438"/>
                <a:gd name="connsiteX440" fmla="*/ 588265 w 1001076"/>
                <a:gd name="connsiteY440" fmla="*/ 988207 h 1050438"/>
                <a:gd name="connsiteX441" fmla="*/ 592012 w 1001076"/>
                <a:gd name="connsiteY441" fmla="*/ 986415 h 1050438"/>
                <a:gd name="connsiteX442" fmla="*/ 592012 w 1001076"/>
                <a:gd name="connsiteY442" fmla="*/ 983157 h 1050438"/>
                <a:gd name="connsiteX443" fmla="*/ 596410 w 1001076"/>
                <a:gd name="connsiteY443" fmla="*/ 978432 h 1050438"/>
                <a:gd name="connsiteX444" fmla="*/ 596410 w 1001076"/>
                <a:gd name="connsiteY444" fmla="*/ 974685 h 1050438"/>
                <a:gd name="connsiteX445" fmla="*/ 599017 w 1001076"/>
                <a:gd name="connsiteY445" fmla="*/ 976640 h 1050438"/>
                <a:gd name="connsiteX446" fmla="*/ 602438 w 1001076"/>
                <a:gd name="connsiteY446" fmla="*/ 977129 h 1050438"/>
                <a:gd name="connsiteX447" fmla="*/ 606674 w 1001076"/>
                <a:gd name="connsiteY447" fmla="*/ 972079 h 1050438"/>
                <a:gd name="connsiteX448" fmla="*/ 607163 w 1001076"/>
                <a:gd name="connsiteY448" fmla="*/ 966866 h 1050438"/>
                <a:gd name="connsiteX449" fmla="*/ 608791 w 1001076"/>
                <a:gd name="connsiteY449" fmla="*/ 965237 h 1050438"/>
                <a:gd name="connsiteX450" fmla="*/ 609117 w 1001076"/>
                <a:gd name="connsiteY450" fmla="*/ 959372 h 1050438"/>
                <a:gd name="connsiteX451" fmla="*/ 610909 w 1001076"/>
                <a:gd name="connsiteY451" fmla="*/ 956928 h 1050438"/>
                <a:gd name="connsiteX452" fmla="*/ 613516 w 1001076"/>
                <a:gd name="connsiteY452" fmla="*/ 956928 h 1050438"/>
                <a:gd name="connsiteX453" fmla="*/ 615308 w 1001076"/>
                <a:gd name="connsiteY453" fmla="*/ 951878 h 1050438"/>
                <a:gd name="connsiteX454" fmla="*/ 614005 w 1001076"/>
                <a:gd name="connsiteY454" fmla="*/ 948131 h 1050438"/>
                <a:gd name="connsiteX455" fmla="*/ 611235 w 1001076"/>
                <a:gd name="connsiteY455" fmla="*/ 945199 h 1050438"/>
                <a:gd name="connsiteX456" fmla="*/ 611561 w 1001076"/>
                <a:gd name="connsiteY456" fmla="*/ 937542 h 1050438"/>
                <a:gd name="connsiteX457" fmla="*/ 609280 w 1001076"/>
                <a:gd name="connsiteY457" fmla="*/ 935587 h 1050438"/>
                <a:gd name="connsiteX458" fmla="*/ 611887 w 1001076"/>
                <a:gd name="connsiteY458" fmla="*/ 936239 h 1050438"/>
                <a:gd name="connsiteX459" fmla="*/ 614819 w 1001076"/>
                <a:gd name="connsiteY459" fmla="*/ 942266 h 1050438"/>
                <a:gd name="connsiteX460" fmla="*/ 620847 w 1001076"/>
                <a:gd name="connsiteY460" fmla="*/ 948946 h 1050438"/>
                <a:gd name="connsiteX461" fmla="*/ 623290 w 1001076"/>
                <a:gd name="connsiteY461" fmla="*/ 948946 h 1050438"/>
                <a:gd name="connsiteX462" fmla="*/ 625897 w 1001076"/>
                <a:gd name="connsiteY462" fmla="*/ 947480 h 1050438"/>
                <a:gd name="connsiteX463" fmla="*/ 627526 w 1001076"/>
                <a:gd name="connsiteY463" fmla="*/ 949109 h 1050438"/>
                <a:gd name="connsiteX464" fmla="*/ 628015 w 1001076"/>
                <a:gd name="connsiteY464" fmla="*/ 953507 h 1050438"/>
                <a:gd name="connsiteX465" fmla="*/ 626060 w 1001076"/>
                <a:gd name="connsiteY465" fmla="*/ 953996 h 1050438"/>
                <a:gd name="connsiteX466" fmla="*/ 623616 w 1001076"/>
                <a:gd name="connsiteY466" fmla="*/ 962793 h 1050438"/>
                <a:gd name="connsiteX467" fmla="*/ 617752 w 1001076"/>
                <a:gd name="connsiteY467" fmla="*/ 972893 h 1050438"/>
                <a:gd name="connsiteX468" fmla="*/ 612375 w 1001076"/>
                <a:gd name="connsiteY468" fmla="*/ 972893 h 1050438"/>
                <a:gd name="connsiteX469" fmla="*/ 611561 w 1001076"/>
                <a:gd name="connsiteY469" fmla="*/ 979573 h 1050438"/>
                <a:gd name="connsiteX470" fmla="*/ 609769 w 1001076"/>
                <a:gd name="connsiteY470" fmla="*/ 982994 h 1050438"/>
                <a:gd name="connsiteX471" fmla="*/ 608140 w 1001076"/>
                <a:gd name="connsiteY471" fmla="*/ 982505 h 1050438"/>
                <a:gd name="connsiteX472" fmla="*/ 602764 w 1001076"/>
                <a:gd name="connsiteY472" fmla="*/ 985437 h 1050438"/>
                <a:gd name="connsiteX473" fmla="*/ 598854 w 1001076"/>
                <a:gd name="connsiteY473" fmla="*/ 988696 h 1050438"/>
                <a:gd name="connsiteX474" fmla="*/ 598528 w 1001076"/>
                <a:gd name="connsiteY474" fmla="*/ 991465 h 1050438"/>
                <a:gd name="connsiteX475" fmla="*/ 594293 w 1001076"/>
                <a:gd name="connsiteY475" fmla="*/ 992117 h 1050438"/>
                <a:gd name="connsiteX476" fmla="*/ 592338 w 1001076"/>
                <a:gd name="connsiteY476" fmla="*/ 994072 h 1050438"/>
                <a:gd name="connsiteX477" fmla="*/ 592338 w 1001076"/>
                <a:gd name="connsiteY477" fmla="*/ 996841 h 1050438"/>
                <a:gd name="connsiteX478" fmla="*/ 597551 w 1001076"/>
                <a:gd name="connsiteY478" fmla="*/ 998307 h 1050438"/>
                <a:gd name="connsiteX479" fmla="*/ 613842 w 1001076"/>
                <a:gd name="connsiteY479" fmla="*/ 985600 h 1050438"/>
                <a:gd name="connsiteX480" fmla="*/ 622150 w 1001076"/>
                <a:gd name="connsiteY480" fmla="*/ 976152 h 1050438"/>
                <a:gd name="connsiteX481" fmla="*/ 634205 w 1001076"/>
                <a:gd name="connsiteY481" fmla="*/ 955788 h 1050438"/>
                <a:gd name="connsiteX482" fmla="*/ 638767 w 1001076"/>
                <a:gd name="connsiteY482" fmla="*/ 945525 h 1050438"/>
                <a:gd name="connsiteX483" fmla="*/ 643328 w 1001076"/>
                <a:gd name="connsiteY483" fmla="*/ 932329 h 1050438"/>
                <a:gd name="connsiteX484" fmla="*/ 654895 w 1001076"/>
                <a:gd name="connsiteY484" fmla="*/ 910173 h 1050438"/>
                <a:gd name="connsiteX485" fmla="*/ 666299 w 1001076"/>
                <a:gd name="connsiteY485" fmla="*/ 896489 h 1050438"/>
                <a:gd name="connsiteX486" fmla="*/ 668090 w 1001076"/>
                <a:gd name="connsiteY486" fmla="*/ 892416 h 1050438"/>
                <a:gd name="connsiteX487" fmla="*/ 666950 w 1001076"/>
                <a:gd name="connsiteY487" fmla="*/ 890950 h 1050438"/>
                <a:gd name="connsiteX488" fmla="*/ 667439 w 1001076"/>
                <a:gd name="connsiteY488" fmla="*/ 887529 h 1050438"/>
                <a:gd name="connsiteX489" fmla="*/ 669882 w 1001076"/>
                <a:gd name="connsiteY489" fmla="*/ 886877 h 1050438"/>
                <a:gd name="connsiteX490" fmla="*/ 671674 w 1001076"/>
                <a:gd name="connsiteY490" fmla="*/ 881176 h 1050438"/>
                <a:gd name="connsiteX491" fmla="*/ 674933 w 1001076"/>
                <a:gd name="connsiteY491" fmla="*/ 879221 h 1050438"/>
                <a:gd name="connsiteX492" fmla="*/ 673792 w 1001076"/>
                <a:gd name="connsiteY492" fmla="*/ 874659 h 1050438"/>
                <a:gd name="connsiteX493" fmla="*/ 674933 w 1001076"/>
                <a:gd name="connsiteY493" fmla="*/ 871401 h 1050438"/>
                <a:gd name="connsiteX494" fmla="*/ 673792 w 1001076"/>
                <a:gd name="connsiteY494" fmla="*/ 869935 h 1050438"/>
                <a:gd name="connsiteX495" fmla="*/ 671837 w 1001076"/>
                <a:gd name="connsiteY495" fmla="*/ 868306 h 1050438"/>
                <a:gd name="connsiteX496" fmla="*/ 672163 w 1001076"/>
                <a:gd name="connsiteY496" fmla="*/ 863093 h 1050438"/>
                <a:gd name="connsiteX497" fmla="*/ 667113 w 1001076"/>
                <a:gd name="connsiteY497" fmla="*/ 856088 h 1050438"/>
                <a:gd name="connsiteX498" fmla="*/ 667113 w 1001076"/>
                <a:gd name="connsiteY498" fmla="*/ 852992 h 1050438"/>
                <a:gd name="connsiteX499" fmla="*/ 668090 w 1001076"/>
                <a:gd name="connsiteY499" fmla="*/ 849897 h 1050438"/>
                <a:gd name="connsiteX500" fmla="*/ 667113 w 1001076"/>
                <a:gd name="connsiteY500" fmla="*/ 846639 h 1050438"/>
                <a:gd name="connsiteX501" fmla="*/ 665484 w 1001076"/>
                <a:gd name="connsiteY501" fmla="*/ 839308 h 1050438"/>
                <a:gd name="connsiteX502" fmla="*/ 662877 w 1001076"/>
                <a:gd name="connsiteY502" fmla="*/ 831488 h 1050438"/>
                <a:gd name="connsiteX503" fmla="*/ 664832 w 1001076"/>
                <a:gd name="connsiteY503" fmla="*/ 829696 h 1050438"/>
                <a:gd name="connsiteX504" fmla="*/ 671349 w 1001076"/>
                <a:gd name="connsiteY504" fmla="*/ 828393 h 1050438"/>
                <a:gd name="connsiteX505" fmla="*/ 669720 w 1001076"/>
                <a:gd name="connsiteY505" fmla="*/ 824157 h 1050438"/>
                <a:gd name="connsiteX506" fmla="*/ 666624 w 1001076"/>
                <a:gd name="connsiteY506" fmla="*/ 822365 h 1050438"/>
                <a:gd name="connsiteX507" fmla="*/ 672652 w 1001076"/>
                <a:gd name="connsiteY507" fmla="*/ 820899 h 1050438"/>
                <a:gd name="connsiteX508" fmla="*/ 672652 w 1001076"/>
                <a:gd name="connsiteY508" fmla="*/ 816012 h 1050438"/>
                <a:gd name="connsiteX509" fmla="*/ 666624 w 1001076"/>
                <a:gd name="connsiteY509" fmla="*/ 813242 h 1050438"/>
                <a:gd name="connsiteX510" fmla="*/ 671837 w 1001076"/>
                <a:gd name="connsiteY510" fmla="*/ 811776 h 1050438"/>
                <a:gd name="connsiteX511" fmla="*/ 675096 w 1001076"/>
                <a:gd name="connsiteY511" fmla="*/ 807052 h 1050438"/>
                <a:gd name="connsiteX512" fmla="*/ 677702 w 1001076"/>
                <a:gd name="connsiteY512" fmla="*/ 809007 h 1050438"/>
                <a:gd name="connsiteX513" fmla="*/ 685848 w 1001076"/>
                <a:gd name="connsiteY513" fmla="*/ 801513 h 1050438"/>
                <a:gd name="connsiteX514" fmla="*/ 690572 w 1001076"/>
                <a:gd name="connsiteY514" fmla="*/ 798418 h 1050438"/>
                <a:gd name="connsiteX515" fmla="*/ 690572 w 1001076"/>
                <a:gd name="connsiteY515" fmla="*/ 795811 h 1050438"/>
                <a:gd name="connsiteX516" fmla="*/ 697251 w 1001076"/>
                <a:gd name="connsiteY516" fmla="*/ 789946 h 1050438"/>
                <a:gd name="connsiteX517" fmla="*/ 705234 w 1001076"/>
                <a:gd name="connsiteY517" fmla="*/ 784733 h 1050438"/>
                <a:gd name="connsiteX518" fmla="*/ 715660 w 1001076"/>
                <a:gd name="connsiteY518" fmla="*/ 772678 h 1050438"/>
                <a:gd name="connsiteX519" fmla="*/ 724946 w 1001076"/>
                <a:gd name="connsiteY519" fmla="*/ 771538 h 1050438"/>
                <a:gd name="connsiteX520" fmla="*/ 729996 w 1001076"/>
                <a:gd name="connsiteY520" fmla="*/ 766813 h 1050438"/>
                <a:gd name="connsiteX521" fmla="*/ 735535 w 1001076"/>
                <a:gd name="connsiteY521" fmla="*/ 762415 h 1050438"/>
                <a:gd name="connsiteX522" fmla="*/ 740748 w 1001076"/>
                <a:gd name="connsiteY522" fmla="*/ 762415 h 1050438"/>
                <a:gd name="connsiteX523" fmla="*/ 744006 w 1001076"/>
                <a:gd name="connsiteY523" fmla="*/ 765184 h 1050438"/>
                <a:gd name="connsiteX524" fmla="*/ 747916 w 1001076"/>
                <a:gd name="connsiteY524" fmla="*/ 766162 h 1050438"/>
                <a:gd name="connsiteX525" fmla="*/ 747916 w 1001076"/>
                <a:gd name="connsiteY525" fmla="*/ 762415 h 1050438"/>
                <a:gd name="connsiteX526" fmla="*/ 751989 w 1001076"/>
                <a:gd name="connsiteY526" fmla="*/ 755572 h 1050438"/>
                <a:gd name="connsiteX527" fmla="*/ 762904 w 1001076"/>
                <a:gd name="connsiteY527" fmla="*/ 748730 h 1050438"/>
                <a:gd name="connsiteX528" fmla="*/ 767139 w 1001076"/>
                <a:gd name="connsiteY528" fmla="*/ 747427 h 1050438"/>
                <a:gd name="connsiteX529" fmla="*/ 767139 w 1001076"/>
                <a:gd name="connsiteY529" fmla="*/ 745472 h 1050438"/>
                <a:gd name="connsiteX530" fmla="*/ 764533 w 1001076"/>
                <a:gd name="connsiteY530" fmla="*/ 743843 h 1050438"/>
                <a:gd name="connsiteX531" fmla="*/ 761112 w 1001076"/>
                <a:gd name="connsiteY531" fmla="*/ 743029 h 1050438"/>
                <a:gd name="connsiteX532" fmla="*/ 759482 w 1001076"/>
                <a:gd name="connsiteY532" fmla="*/ 739933 h 1050438"/>
                <a:gd name="connsiteX533" fmla="*/ 763392 w 1001076"/>
                <a:gd name="connsiteY533" fmla="*/ 738956 h 1050438"/>
                <a:gd name="connsiteX534" fmla="*/ 770072 w 1001076"/>
                <a:gd name="connsiteY534" fmla="*/ 734883 h 1050438"/>
                <a:gd name="connsiteX535" fmla="*/ 773981 w 1001076"/>
                <a:gd name="connsiteY535" fmla="*/ 736023 h 1050438"/>
                <a:gd name="connsiteX536" fmla="*/ 778380 w 1001076"/>
                <a:gd name="connsiteY536" fmla="*/ 735698 h 1050438"/>
                <a:gd name="connsiteX537" fmla="*/ 781475 w 1001076"/>
                <a:gd name="connsiteY537" fmla="*/ 733254 h 1050438"/>
                <a:gd name="connsiteX538" fmla="*/ 785874 w 1001076"/>
                <a:gd name="connsiteY538" fmla="*/ 733580 h 1050438"/>
                <a:gd name="connsiteX539" fmla="*/ 785548 w 1001076"/>
                <a:gd name="connsiteY539" fmla="*/ 735535 h 1050438"/>
                <a:gd name="connsiteX540" fmla="*/ 779357 w 1001076"/>
                <a:gd name="connsiteY540" fmla="*/ 739119 h 1050438"/>
                <a:gd name="connsiteX541" fmla="*/ 772841 w 1001076"/>
                <a:gd name="connsiteY541" fmla="*/ 740422 h 1050438"/>
                <a:gd name="connsiteX542" fmla="*/ 771538 w 1001076"/>
                <a:gd name="connsiteY542" fmla="*/ 741888 h 1050438"/>
                <a:gd name="connsiteX543" fmla="*/ 773656 w 1001076"/>
                <a:gd name="connsiteY543" fmla="*/ 743517 h 1050438"/>
                <a:gd name="connsiteX544" fmla="*/ 783593 w 1001076"/>
                <a:gd name="connsiteY544" fmla="*/ 739771 h 1050438"/>
                <a:gd name="connsiteX545" fmla="*/ 795485 w 1001076"/>
                <a:gd name="connsiteY545" fmla="*/ 735046 h 1050438"/>
                <a:gd name="connsiteX546" fmla="*/ 794508 w 1001076"/>
                <a:gd name="connsiteY546" fmla="*/ 733091 h 1050438"/>
                <a:gd name="connsiteX547" fmla="*/ 797603 w 1001076"/>
                <a:gd name="connsiteY547" fmla="*/ 730485 h 1050438"/>
                <a:gd name="connsiteX548" fmla="*/ 800536 w 1001076"/>
                <a:gd name="connsiteY548" fmla="*/ 730973 h 1050438"/>
                <a:gd name="connsiteX549" fmla="*/ 799558 w 1001076"/>
                <a:gd name="connsiteY549" fmla="*/ 733906 h 1050438"/>
                <a:gd name="connsiteX550" fmla="*/ 800210 w 1001076"/>
                <a:gd name="connsiteY550" fmla="*/ 738304 h 1050438"/>
                <a:gd name="connsiteX551" fmla="*/ 807704 w 1001076"/>
                <a:gd name="connsiteY551" fmla="*/ 739445 h 1050438"/>
                <a:gd name="connsiteX552" fmla="*/ 811776 w 1001076"/>
                <a:gd name="connsiteY552" fmla="*/ 737164 h 1050438"/>
                <a:gd name="connsiteX553" fmla="*/ 818781 w 1001076"/>
                <a:gd name="connsiteY553" fmla="*/ 737164 h 1050438"/>
                <a:gd name="connsiteX554" fmla="*/ 827253 w 1001076"/>
                <a:gd name="connsiteY554" fmla="*/ 738141 h 1050438"/>
                <a:gd name="connsiteX555" fmla="*/ 832466 w 1001076"/>
                <a:gd name="connsiteY555" fmla="*/ 734720 h 1050438"/>
                <a:gd name="connsiteX556" fmla="*/ 832466 w 1001076"/>
                <a:gd name="connsiteY556" fmla="*/ 732114 h 1050438"/>
                <a:gd name="connsiteX557" fmla="*/ 831325 w 1001076"/>
                <a:gd name="connsiteY557" fmla="*/ 730810 h 1050438"/>
                <a:gd name="connsiteX558" fmla="*/ 832140 w 1001076"/>
                <a:gd name="connsiteY558" fmla="*/ 728204 h 1050438"/>
                <a:gd name="connsiteX559" fmla="*/ 843707 w 1001076"/>
                <a:gd name="connsiteY559" fmla="*/ 720384 h 1050438"/>
                <a:gd name="connsiteX560" fmla="*/ 853318 w 1001076"/>
                <a:gd name="connsiteY560" fmla="*/ 716963 h 1050438"/>
                <a:gd name="connsiteX561" fmla="*/ 858368 w 1001076"/>
                <a:gd name="connsiteY561" fmla="*/ 713868 h 1050438"/>
                <a:gd name="connsiteX562" fmla="*/ 859835 w 1001076"/>
                <a:gd name="connsiteY562" fmla="*/ 710772 h 1050438"/>
                <a:gd name="connsiteX563" fmla="*/ 858531 w 1001076"/>
                <a:gd name="connsiteY563" fmla="*/ 708818 h 1050438"/>
                <a:gd name="connsiteX564" fmla="*/ 854296 w 1001076"/>
                <a:gd name="connsiteY564" fmla="*/ 699043 h 1050438"/>
                <a:gd name="connsiteX565" fmla="*/ 857391 w 1001076"/>
                <a:gd name="connsiteY565" fmla="*/ 692364 h 1050438"/>
                <a:gd name="connsiteX566" fmla="*/ 860975 w 1001076"/>
                <a:gd name="connsiteY566" fmla="*/ 687965 h 1050438"/>
                <a:gd name="connsiteX567" fmla="*/ 860975 w 1001076"/>
                <a:gd name="connsiteY567" fmla="*/ 683078 h 1050438"/>
                <a:gd name="connsiteX568" fmla="*/ 863581 w 1001076"/>
                <a:gd name="connsiteY568" fmla="*/ 681123 h 1050438"/>
                <a:gd name="connsiteX569" fmla="*/ 867817 w 1001076"/>
                <a:gd name="connsiteY569" fmla="*/ 678191 h 1050438"/>
                <a:gd name="connsiteX570" fmla="*/ 868795 w 1001076"/>
                <a:gd name="connsiteY570" fmla="*/ 672978 h 1050438"/>
                <a:gd name="connsiteX571" fmla="*/ 867491 w 1001076"/>
                <a:gd name="connsiteY571" fmla="*/ 672326 h 1050438"/>
                <a:gd name="connsiteX572" fmla="*/ 874659 w 1001076"/>
                <a:gd name="connsiteY572" fmla="*/ 660759 h 1050438"/>
                <a:gd name="connsiteX573" fmla="*/ 884434 w 1001076"/>
                <a:gd name="connsiteY573" fmla="*/ 649356 h 1050438"/>
                <a:gd name="connsiteX574" fmla="*/ 884434 w 1001076"/>
                <a:gd name="connsiteY574" fmla="*/ 644143 h 1050438"/>
                <a:gd name="connsiteX575" fmla="*/ 882642 w 1001076"/>
                <a:gd name="connsiteY575" fmla="*/ 627852 h 1050438"/>
                <a:gd name="connsiteX576" fmla="*/ 881013 w 1001076"/>
                <a:gd name="connsiteY576" fmla="*/ 624756 h 1050438"/>
                <a:gd name="connsiteX577" fmla="*/ 884108 w 1001076"/>
                <a:gd name="connsiteY577" fmla="*/ 614982 h 1050438"/>
                <a:gd name="connsiteX578" fmla="*/ 886715 w 1001076"/>
                <a:gd name="connsiteY578" fmla="*/ 611072 h 1050438"/>
                <a:gd name="connsiteX579" fmla="*/ 887203 w 1001076"/>
                <a:gd name="connsiteY579" fmla="*/ 607814 h 1050438"/>
                <a:gd name="connsiteX580" fmla="*/ 894697 w 1001076"/>
                <a:gd name="connsiteY580" fmla="*/ 601786 h 1050438"/>
                <a:gd name="connsiteX581" fmla="*/ 895838 w 1001076"/>
                <a:gd name="connsiteY581" fmla="*/ 598854 h 1050438"/>
                <a:gd name="connsiteX582" fmla="*/ 893882 w 1001076"/>
                <a:gd name="connsiteY582" fmla="*/ 589405 h 1050438"/>
                <a:gd name="connsiteX583" fmla="*/ 897955 w 1001076"/>
                <a:gd name="connsiteY583" fmla="*/ 578002 h 1050438"/>
                <a:gd name="connsiteX584" fmla="*/ 896815 w 1001076"/>
                <a:gd name="connsiteY584" fmla="*/ 569205 h 1050438"/>
                <a:gd name="connsiteX585" fmla="*/ 898281 w 1001076"/>
                <a:gd name="connsiteY585" fmla="*/ 562525 h 1050438"/>
                <a:gd name="connsiteX586" fmla="*/ 897955 w 1001076"/>
                <a:gd name="connsiteY586" fmla="*/ 558778 h 1050438"/>
                <a:gd name="connsiteX587" fmla="*/ 900236 w 1001076"/>
                <a:gd name="connsiteY587" fmla="*/ 549167 h 1050438"/>
                <a:gd name="connsiteX588" fmla="*/ 897630 w 1001076"/>
                <a:gd name="connsiteY588" fmla="*/ 514467 h 1050438"/>
                <a:gd name="connsiteX589" fmla="*/ 897630 w 1001076"/>
                <a:gd name="connsiteY589" fmla="*/ 508114 h 1050438"/>
                <a:gd name="connsiteX590" fmla="*/ 899584 w 1001076"/>
                <a:gd name="connsiteY590" fmla="*/ 503389 h 1050438"/>
                <a:gd name="connsiteX591" fmla="*/ 899584 w 1001076"/>
                <a:gd name="connsiteY591" fmla="*/ 498828 h 1050438"/>
                <a:gd name="connsiteX592" fmla="*/ 897466 w 1001076"/>
                <a:gd name="connsiteY592" fmla="*/ 501272 h 1050438"/>
                <a:gd name="connsiteX593" fmla="*/ 893394 w 1001076"/>
                <a:gd name="connsiteY593" fmla="*/ 498339 h 1050438"/>
                <a:gd name="connsiteX594" fmla="*/ 893394 w 1001076"/>
                <a:gd name="connsiteY594" fmla="*/ 495407 h 1050438"/>
                <a:gd name="connsiteX595" fmla="*/ 897141 w 1001076"/>
                <a:gd name="connsiteY595" fmla="*/ 489705 h 1050438"/>
                <a:gd name="connsiteX596" fmla="*/ 896163 w 1001076"/>
                <a:gd name="connsiteY596" fmla="*/ 484003 h 1050438"/>
                <a:gd name="connsiteX597" fmla="*/ 897141 w 1001076"/>
                <a:gd name="connsiteY597" fmla="*/ 480093 h 1050438"/>
                <a:gd name="connsiteX598" fmla="*/ 900399 w 1001076"/>
                <a:gd name="connsiteY598" fmla="*/ 479116 h 1050438"/>
                <a:gd name="connsiteX599" fmla="*/ 901214 w 1001076"/>
                <a:gd name="connsiteY599" fmla="*/ 473088 h 1050438"/>
                <a:gd name="connsiteX600" fmla="*/ 897792 w 1001076"/>
                <a:gd name="connsiteY600" fmla="*/ 467386 h 1050438"/>
                <a:gd name="connsiteX601" fmla="*/ 890950 w 1001076"/>
                <a:gd name="connsiteY601" fmla="*/ 464291 h 1050438"/>
                <a:gd name="connsiteX602" fmla="*/ 892742 w 1001076"/>
                <a:gd name="connsiteY602" fmla="*/ 463476 h 1050438"/>
                <a:gd name="connsiteX603" fmla="*/ 893720 w 1001076"/>
                <a:gd name="connsiteY603" fmla="*/ 461359 h 1050438"/>
                <a:gd name="connsiteX604" fmla="*/ 895023 w 1001076"/>
                <a:gd name="connsiteY604" fmla="*/ 464128 h 1050438"/>
                <a:gd name="connsiteX605" fmla="*/ 899096 w 1001076"/>
                <a:gd name="connsiteY605" fmla="*/ 466572 h 1050438"/>
                <a:gd name="connsiteX606" fmla="*/ 902843 w 1001076"/>
                <a:gd name="connsiteY606" fmla="*/ 467875 h 1050438"/>
                <a:gd name="connsiteX607" fmla="*/ 904309 w 1001076"/>
                <a:gd name="connsiteY607" fmla="*/ 462336 h 1050438"/>
                <a:gd name="connsiteX608" fmla="*/ 907730 w 1001076"/>
                <a:gd name="connsiteY608" fmla="*/ 462336 h 1050438"/>
                <a:gd name="connsiteX609" fmla="*/ 909196 w 1001076"/>
                <a:gd name="connsiteY609" fmla="*/ 465594 h 1050438"/>
                <a:gd name="connsiteX610" fmla="*/ 911803 w 1001076"/>
                <a:gd name="connsiteY610" fmla="*/ 466898 h 1050438"/>
                <a:gd name="connsiteX611" fmla="*/ 909033 w 1001076"/>
                <a:gd name="connsiteY611" fmla="*/ 470807 h 1050438"/>
                <a:gd name="connsiteX612" fmla="*/ 905286 w 1001076"/>
                <a:gd name="connsiteY612" fmla="*/ 473577 h 1050438"/>
                <a:gd name="connsiteX613" fmla="*/ 904309 w 1001076"/>
                <a:gd name="connsiteY613" fmla="*/ 476672 h 1050438"/>
                <a:gd name="connsiteX614" fmla="*/ 906915 w 1001076"/>
                <a:gd name="connsiteY614" fmla="*/ 476672 h 1050438"/>
                <a:gd name="connsiteX615" fmla="*/ 911965 w 1001076"/>
                <a:gd name="connsiteY615" fmla="*/ 472273 h 1050438"/>
                <a:gd name="connsiteX616" fmla="*/ 918808 w 1001076"/>
                <a:gd name="connsiteY616" fmla="*/ 468853 h 1050438"/>
                <a:gd name="connsiteX617" fmla="*/ 927442 w 1001076"/>
                <a:gd name="connsiteY617" fmla="*/ 455657 h 1050438"/>
                <a:gd name="connsiteX618" fmla="*/ 931352 w 1001076"/>
                <a:gd name="connsiteY618" fmla="*/ 445882 h 1050438"/>
                <a:gd name="connsiteX619" fmla="*/ 932655 w 1001076"/>
                <a:gd name="connsiteY619" fmla="*/ 440018 h 1050438"/>
                <a:gd name="connsiteX620" fmla="*/ 935913 w 1001076"/>
                <a:gd name="connsiteY620" fmla="*/ 437085 h 1050438"/>
                <a:gd name="connsiteX621" fmla="*/ 939171 w 1001076"/>
                <a:gd name="connsiteY621" fmla="*/ 428288 h 1050438"/>
                <a:gd name="connsiteX622" fmla="*/ 942918 w 1001076"/>
                <a:gd name="connsiteY622" fmla="*/ 420794 h 1050438"/>
                <a:gd name="connsiteX623" fmla="*/ 956440 w 1001076"/>
                <a:gd name="connsiteY623" fmla="*/ 411508 h 1050438"/>
                <a:gd name="connsiteX624" fmla="*/ 958069 w 1001076"/>
                <a:gd name="connsiteY624" fmla="*/ 407110 h 1050438"/>
                <a:gd name="connsiteX625" fmla="*/ 962141 w 1001076"/>
                <a:gd name="connsiteY625" fmla="*/ 405807 h 1050438"/>
                <a:gd name="connsiteX626" fmla="*/ 965074 w 1001076"/>
                <a:gd name="connsiteY626" fmla="*/ 401082 h 1050438"/>
                <a:gd name="connsiteX627" fmla="*/ 976478 w 1001076"/>
                <a:gd name="connsiteY627" fmla="*/ 390819 h 1050438"/>
                <a:gd name="connsiteX628" fmla="*/ 986578 w 1001076"/>
                <a:gd name="connsiteY628" fmla="*/ 377135 h 1050438"/>
                <a:gd name="connsiteX629" fmla="*/ 989184 w 1001076"/>
                <a:gd name="connsiteY629" fmla="*/ 373388 h 1050438"/>
                <a:gd name="connsiteX630" fmla="*/ 995375 w 1001076"/>
                <a:gd name="connsiteY630" fmla="*/ 359540 h 1050438"/>
                <a:gd name="connsiteX631" fmla="*/ 997004 w 1001076"/>
                <a:gd name="connsiteY631" fmla="*/ 353513 h 1050438"/>
                <a:gd name="connsiteX632" fmla="*/ 1000099 w 1001076"/>
                <a:gd name="connsiteY632" fmla="*/ 349114 h 1050438"/>
                <a:gd name="connsiteX633" fmla="*/ 1000099 w 1001076"/>
                <a:gd name="connsiteY633" fmla="*/ 344716 h 1050438"/>
                <a:gd name="connsiteX634" fmla="*/ 996841 w 1001076"/>
                <a:gd name="connsiteY634" fmla="*/ 339665 h 1050438"/>
                <a:gd name="connsiteX635" fmla="*/ 998144 w 1001076"/>
                <a:gd name="connsiteY635" fmla="*/ 334452 h 1050438"/>
                <a:gd name="connsiteX636" fmla="*/ 1001077 w 1001076"/>
                <a:gd name="connsiteY636" fmla="*/ 331683 h 1050438"/>
                <a:gd name="connsiteX637" fmla="*/ 1000262 w 1001076"/>
                <a:gd name="connsiteY637" fmla="*/ 318976 h 1050438"/>
                <a:gd name="connsiteX638" fmla="*/ 997330 w 1001076"/>
                <a:gd name="connsiteY638" fmla="*/ 317184 h 1050438"/>
                <a:gd name="connsiteX639" fmla="*/ 996190 w 1001076"/>
                <a:gd name="connsiteY639" fmla="*/ 310994 h 1050438"/>
                <a:gd name="connsiteX640" fmla="*/ 987392 w 1001076"/>
                <a:gd name="connsiteY640" fmla="*/ 291444 h 1050438"/>
                <a:gd name="connsiteX641" fmla="*/ 987392 w 1001076"/>
                <a:gd name="connsiteY641" fmla="*/ 284765 h 1050438"/>
                <a:gd name="connsiteX642" fmla="*/ 985926 w 1001076"/>
                <a:gd name="connsiteY642" fmla="*/ 276620 h 1050438"/>
                <a:gd name="connsiteX643" fmla="*/ 969309 w 1001076"/>
                <a:gd name="connsiteY643" fmla="*/ 269289 h 1050438"/>
                <a:gd name="connsiteX644" fmla="*/ 959698 w 1001076"/>
                <a:gd name="connsiteY644" fmla="*/ 269615 h 1050438"/>
                <a:gd name="connsiteX645" fmla="*/ 952693 w 1001076"/>
                <a:gd name="connsiteY645" fmla="*/ 272547 h 1050438"/>
                <a:gd name="connsiteX646" fmla="*/ 947968 w 1001076"/>
                <a:gd name="connsiteY646" fmla="*/ 265868 h 1050438"/>
                <a:gd name="connsiteX647" fmla="*/ 942430 w 1001076"/>
                <a:gd name="connsiteY647" fmla="*/ 264727 h 1050438"/>
                <a:gd name="connsiteX648" fmla="*/ 936890 w 1001076"/>
                <a:gd name="connsiteY648" fmla="*/ 258537 h 1050438"/>
                <a:gd name="connsiteX649" fmla="*/ 929560 w 1001076"/>
                <a:gd name="connsiteY649" fmla="*/ 254790 h 1050438"/>
                <a:gd name="connsiteX650" fmla="*/ 924347 w 1001076"/>
                <a:gd name="connsiteY650" fmla="*/ 253975 h 1050438"/>
                <a:gd name="connsiteX651" fmla="*/ 912943 w 1001076"/>
                <a:gd name="connsiteY651" fmla="*/ 241757 h 1050438"/>
                <a:gd name="connsiteX652" fmla="*/ 903657 w 1001076"/>
                <a:gd name="connsiteY652" fmla="*/ 228887 h 1050438"/>
                <a:gd name="connsiteX653" fmla="*/ 899258 w 1001076"/>
                <a:gd name="connsiteY653" fmla="*/ 227747 h 1050438"/>
                <a:gd name="connsiteX654" fmla="*/ 892905 w 1001076"/>
                <a:gd name="connsiteY654" fmla="*/ 221882 h 1050438"/>
                <a:gd name="connsiteX655" fmla="*/ 887366 w 1001076"/>
                <a:gd name="connsiteY655" fmla="*/ 222208 h 1050438"/>
                <a:gd name="connsiteX656" fmla="*/ 871890 w 1001076"/>
                <a:gd name="connsiteY656" fmla="*/ 211130 h 1050438"/>
                <a:gd name="connsiteX657" fmla="*/ 864885 w 1001076"/>
                <a:gd name="connsiteY657" fmla="*/ 211130 h 1050438"/>
                <a:gd name="connsiteX658" fmla="*/ 857065 w 1001076"/>
                <a:gd name="connsiteY658" fmla="*/ 207872 h 1050438"/>
                <a:gd name="connsiteX659" fmla="*/ 852341 w 1001076"/>
                <a:gd name="connsiteY659" fmla="*/ 210479 h 1050438"/>
                <a:gd name="connsiteX660" fmla="*/ 845010 w 1001076"/>
                <a:gd name="connsiteY660" fmla="*/ 210479 h 1050438"/>
                <a:gd name="connsiteX661" fmla="*/ 840611 w 1001076"/>
                <a:gd name="connsiteY661" fmla="*/ 208198 h 1050438"/>
                <a:gd name="connsiteX662" fmla="*/ 835887 w 1001076"/>
                <a:gd name="connsiteY662" fmla="*/ 210479 h 1050438"/>
                <a:gd name="connsiteX663" fmla="*/ 833606 w 1001076"/>
                <a:gd name="connsiteY663" fmla="*/ 213737 h 1050438"/>
                <a:gd name="connsiteX664" fmla="*/ 830674 w 1001076"/>
                <a:gd name="connsiteY664" fmla="*/ 210804 h 1050438"/>
                <a:gd name="connsiteX665" fmla="*/ 823669 w 1001076"/>
                <a:gd name="connsiteY665" fmla="*/ 205591 h 1050438"/>
                <a:gd name="connsiteX666" fmla="*/ 822528 w 1001076"/>
                <a:gd name="connsiteY666" fmla="*/ 207872 h 1050438"/>
                <a:gd name="connsiteX667" fmla="*/ 819596 w 1001076"/>
                <a:gd name="connsiteY667" fmla="*/ 205265 h 1050438"/>
                <a:gd name="connsiteX668" fmla="*/ 818456 w 1001076"/>
                <a:gd name="connsiteY668" fmla="*/ 208524 h 1050438"/>
                <a:gd name="connsiteX669" fmla="*/ 818456 w 1001076"/>
                <a:gd name="connsiteY669" fmla="*/ 211130 h 1050438"/>
                <a:gd name="connsiteX670" fmla="*/ 814383 w 1001076"/>
                <a:gd name="connsiteY670" fmla="*/ 207872 h 1050438"/>
                <a:gd name="connsiteX671" fmla="*/ 813731 w 1001076"/>
                <a:gd name="connsiteY671" fmla="*/ 205265 h 1050438"/>
                <a:gd name="connsiteX672" fmla="*/ 810636 w 1001076"/>
                <a:gd name="connsiteY672" fmla="*/ 204451 h 1050438"/>
                <a:gd name="connsiteX673" fmla="*/ 811614 w 1001076"/>
                <a:gd name="connsiteY673" fmla="*/ 207057 h 1050438"/>
                <a:gd name="connsiteX674" fmla="*/ 810147 w 1001076"/>
                <a:gd name="connsiteY674" fmla="*/ 208035 h 1050438"/>
                <a:gd name="connsiteX675" fmla="*/ 802653 w 1001076"/>
                <a:gd name="connsiteY675" fmla="*/ 205103 h 1050438"/>
                <a:gd name="connsiteX676" fmla="*/ 800210 w 1001076"/>
                <a:gd name="connsiteY676" fmla="*/ 205591 h 1050438"/>
                <a:gd name="connsiteX677" fmla="*/ 793856 w 1001076"/>
                <a:gd name="connsiteY677" fmla="*/ 204451 h 1050438"/>
                <a:gd name="connsiteX678" fmla="*/ 779846 w 1001076"/>
                <a:gd name="connsiteY678" fmla="*/ 197772 h 1050438"/>
                <a:gd name="connsiteX679" fmla="*/ 774470 w 1001076"/>
                <a:gd name="connsiteY679" fmla="*/ 198098 h 1050438"/>
                <a:gd name="connsiteX680" fmla="*/ 774144 w 1001076"/>
                <a:gd name="connsiteY680" fmla="*/ 199727 h 1050438"/>
                <a:gd name="connsiteX681" fmla="*/ 775285 w 1001076"/>
                <a:gd name="connsiteY681" fmla="*/ 202659 h 1050438"/>
                <a:gd name="connsiteX682" fmla="*/ 774144 w 1001076"/>
                <a:gd name="connsiteY682" fmla="*/ 203962 h 1050438"/>
                <a:gd name="connsiteX683" fmla="*/ 771212 w 1001076"/>
                <a:gd name="connsiteY683" fmla="*/ 202333 h 1050438"/>
                <a:gd name="connsiteX684" fmla="*/ 769909 w 1001076"/>
                <a:gd name="connsiteY684" fmla="*/ 202985 h 1050438"/>
                <a:gd name="connsiteX685" fmla="*/ 769094 w 1001076"/>
                <a:gd name="connsiteY685" fmla="*/ 205103 h 1050438"/>
                <a:gd name="connsiteX686" fmla="*/ 764207 w 1001076"/>
                <a:gd name="connsiteY686" fmla="*/ 207383 h 1050438"/>
                <a:gd name="connsiteX687" fmla="*/ 762415 w 1001076"/>
                <a:gd name="connsiteY687" fmla="*/ 209990 h 1050438"/>
                <a:gd name="connsiteX688" fmla="*/ 761763 w 1001076"/>
                <a:gd name="connsiteY688" fmla="*/ 216017 h 1050438"/>
                <a:gd name="connsiteX689" fmla="*/ 759157 w 1001076"/>
                <a:gd name="connsiteY689" fmla="*/ 211619 h 1050438"/>
                <a:gd name="connsiteX690" fmla="*/ 757690 w 1001076"/>
                <a:gd name="connsiteY690" fmla="*/ 207709 h 1050438"/>
                <a:gd name="connsiteX691" fmla="*/ 755084 w 1001076"/>
                <a:gd name="connsiteY691" fmla="*/ 208849 h 1050438"/>
                <a:gd name="connsiteX692" fmla="*/ 755410 w 1001076"/>
                <a:gd name="connsiteY692" fmla="*/ 213574 h 1050438"/>
                <a:gd name="connsiteX693" fmla="*/ 751174 w 1001076"/>
                <a:gd name="connsiteY693" fmla="*/ 221719 h 1050438"/>
                <a:gd name="connsiteX694" fmla="*/ 751174 w 1001076"/>
                <a:gd name="connsiteY694" fmla="*/ 228562 h 1050438"/>
                <a:gd name="connsiteX695" fmla="*/ 749708 w 1001076"/>
                <a:gd name="connsiteY695" fmla="*/ 222045 h 1050438"/>
                <a:gd name="connsiteX696" fmla="*/ 751337 w 1001076"/>
                <a:gd name="connsiteY696" fmla="*/ 215529 h 1050438"/>
                <a:gd name="connsiteX697" fmla="*/ 750360 w 1001076"/>
                <a:gd name="connsiteY697" fmla="*/ 209827 h 1050438"/>
                <a:gd name="connsiteX698" fmla="*/ 752966 w 1001076"/>
                <a:gd name="connsiteY698" fmla="*/ 201519 h 1050438"/>
                <a:gd name="connsiteX699" fmla="*/ 755247 w 1001076"/>
                <a:gd name="connsiteY699" fmla="*/ 199564 h 1050438"/>
                <a:gd name="connsiteX700" fmla="*/ 753455 w 1001076"/>
                <a:gd name="connsiteY700" fmla="*/ 197935 h 1050438"/>
                <a:gd name="connsiteX701" fmla="*/ 749382 w 1001076"/>
                <a:gd name="connsiteY701" fmla="*/ 197935 h 1050438"/>
                <a:gd name="connsiteX702" fmla="*/ 754758 w 1001076"/>
                <a:gd name="connsiteY702" fmla="*/ 191744 h 1050438"/>
                <a:gd name="connsiteX703" fmla="*/ 747753 w 1001076"/>
                <a:gd name="connsiteY703" fmla="*/ 184250 h 1050438"/>
                <a:gd name="connsiteX704" fmla="*/ 743680 w 1001076"/>
                <a:gd name="connsiteY704" fmla="*/ 177734 h 1050438"/>
                <a:gd name="connsiteX705" fmla="*/ 739771 w 1001076"/>
                <a:gd name="connsiteY705" fmla="*/ 178060 h 1050438"/>
                <a:gd name="connsiteX706" fmla="*/ 734069 w 1001076"/>
                <a:gd name="connsiteY706" fmla="*/ 177082 h 1050438"/>
                <a:gd name="connsiteX707" fmla="*/ 730810 w 1001076"/>
                <a:gd name="connsiteY707" fmla="*/ 181318 h 1050438"/>
                <a:gd name="connsiteX708" fmla="*/ 727552 w 1001076"/>
                <a:gd name="connsiteY708" fmla="*/ 182947 h 1050438"/>
                <a:gd name="connsiteX709" fmla="*/ 725923 w 1001076"/>
                <a:gd name="connsiteY709" fmla="*/ 179037 h 1050438"/>
                <a:gd name="connsiteX710" fmla="*/ 723480 w 1001076"/>
                <a:gd name="connsiteY710" fmla="*/ 177571 h 1050438"/>
                <a:gd name="connsiteX711" fmla="*/ 722339 w 1001076"/>
                <a:gd name="connsiteY711" fmla="*/ 173824 h 1050438"/>
                <a:gd name="connsiteX712" fmla="*/ 719407 w 1001076"/>
                <a:gd name="connsiteY712" fmla="*/ 171380 h 1050438"/>
                <a:gd name="connsiteX713" fmla="*/ 715334 w 1001076"/>
                <a:gd name="connsiteY713" fmla="*/ 171706 h 1050438"/>
                <a:gd name="connsiteX714" fmla="*/ 713379 w 1001076"/>
                <a:gd name="connsiteY714" fmla="*/ 169100 h 1050438"/>
                <a:gd name="connsiteX715" fmla="*/ 709958 w 1001076"/>
                <a:gd name="connsiteY715" fmla="*/ 167796 h 1050438"/>
                <a:gd name="connsiteX716" fmla="*/ 708003 w 1001076"/>
                <a:gd name="connsiteY716" fmla="*/ 170403 h 1050438"/>
                <a:gd name="connsiteX717" fmla="*/ 708003 w 1001076"/>
                <a:gd name="connsiteY717" fmla="*/ 168122 h 1050438"/>
                <a:gd name="connsiteX718" fmla="*/ 705234 w 1001076"/>
                <a:gd name="connsiteY718" fmla="*/ 166493 h 1050438"/>
                <a:gd name="connsiteX719" fmla="*/ 703442 w 1001076"/>
                <a:gd name="connsiteY719" fmla="*/ 162746 h 1050438"/>
                <a:gd name="connsiteX720" fmla="*/ 700347 w 1001076"/>
                <a:gd name="connsiteY720" fmla="*/ 164049 h 1050438"/>
                <a:gd name="connsiteX721" fmla="*/ 694645 w 1001076"/>
                <a:gd name="connsiteY721" fmla="*/ 162420 h 1050438"/>
                <a:gd name="connsiteX722" fmla="*/ 687151 w 1001076"/>
                <a:gd name="connsiteY722" fmla="*/ 158022 h 1050438"/>
                <a:gd name="connsiteX723" fmla="*/ 684870 w 1001076"/>
                <a:gd name="connsiteY723" fmla="*/ 157696 h 1050438"/>
                <a:gd name="connsiteX724" fmla="*/ 683567 w 1001076"/>
                <a:gd name="connsiteY724" fmla="*/ 159977 h 1050438"/>
                <a:gd name="connsiteX725" fmla="*/ 679006 w 1001076"/>
                <a:gd name="connsiteY725" fmla="*/ 156881 h 1050438"/>
                <a:gd name="connsiteX726" fmla="*/ 675747 w 1001076"/>
                <a:gd name="connsiteY726" fmla="*/ 157207 h 1050438"/>
                <a:gd name="connsiteX727" fmla="*/ 675096 w 1001076"/>
                <a:gd name="connsiteY727" fmla="*/ 160303 h 1050438"/>
                <a:gd name="connsiteX728" fmla="*/ 672815 w 1001076"/>
                <a:gd name="connsiteY728" fmla="*/ 160303 h 1050438"/>
                <a:gd name="connsiteX729" fmla="*/ 671512 w 1001076"/>
                <a:gd name="connsiteY729" fmla="*/ 157044 h 1050438"/>
                <a:gd name="connsiteX730" fmla="*/ 665647 w 1001076"/>
                <a:gd name="connsiteY730" fmla="*/ 157044 h 1050438"/>
                <a:gd name="connsiteX731" fmla="*/ 660597 w 1001076"/>
                <a:gd name="connsiteY731" fmla="*/ 159651 h 1050438"/>
                <a:gd name="connsiteX732" fmla="*/ 657827 w 1001076"/>
                <a:gd name="connsiteY732" fmla="*/ 164701 h 1050438"/>
                <a:gd name="connsiteX733" fmla="*/ 658153 w 1001076"/>
                <a:gd name="connsiteY733" fmla="*/ 167633 h 1050438"/>
                <a:gd name="connsiteX734" fmla="*/ 652614 w 1001076"/>
                <a:gd name="connsiteY734" fmla="*/ 173172 h 1050438"/>
                <a:gd name="connsiteX735" fmla="*/ 645446 w 1001076"/>
                <a:gd name="connsiteY735" fmla="*/ 177408 h 1050438"/>
                <a:gd name="connsiteX736" fmla="*/ 636160 w 1001076"/>
                <a:gd name="connsiteY736" fmla="*/ 182784 h 1050438"/>
                <a:gd name="connsiteX737" fmla="*/ 631762 w 1001076"/>
                <a:gd name="connsiteY737" fmla="*/ 188323 h 1050438"/>
                <a:gd name="connsiteX738" fmla="*/ 628992 w 1001076"/>
                <a:gd name="connsiteY738" fmla="*/ 195491 h 1050438"/>
                <a:gd name="connsiteX739" fmla="*/ 627852 w 1001076"/>
                <a:gd name="connsiteY739" fmla="*/ 202496 h 1050438"/>
                <a:gd name="connsiteX740" fmla="*/ 625408 w 1001076"/>
                <a:gd name="connsiteY740" fmla="*/ 206243 h 1050438"/>
                <a:gd name="connsiteX741" fmla="*/ 621173 w 1001076"/>
                <a:gd name="connsiteY741" fmla="*/ 210641 h 1050438"/>
                <a:gd name="connsiteX742" fmla="*/ 621499 w 1001076"/>
                <a:gd name="connsiteY742" fmla="*/ 213737 h 1050438"/>
                <a:gd name="connsiteX743" fmla="*/ 622313 w 1001076"/>
                <a:gd name="connsiteY743" fmla="*/ 218950 h 1050438"/>
                <a:gd name="connsiteX744" fmla="*/ 621336 w 1001076"/>
                <a:gd name="connsiteY744" fmla="*/ 228562 h 1050438"/>
                <a:gd name="connsiteX745" fmla="*/ 619707 w 1001076"/>
                <a:gd name="connsiteY745" fmla="*/ 222697 h 1050438"/>
                <a:gd name="connsiteX746" fmla="*/ 616285 w 1001076"/>
                <a:gd name="connsiteY746" fmla="*/ 216995 h 1050438"/>
                <a:gd name="connsiteX747" fmla="*/ 616285 w 1001076"/>
                <a:gd name="connsiteY747" fmla="*/ 212759 h 1050438"/>
                <a:gd name="connsiteX748" fmla="*/ 620032 w 1001076"/>
                <a:gd name="connsiteY748" fmla="*/ 208361 h 1050438"/>
                <a:gd name="connsiteX749" fmla="*/ 624105 w 1001076"/>
                <a:gd name="connsiteY749" fmla="*/ 204940 h 1050438"/>
                <a:gd name="connsiteX750" fmla="*/ 623453 w 1001076"/>
                <a:gd name="connsiteY750" fmla="*/ 197935 h 1050438"/>
                <a:gd name="connsiteX751" fmla="*/ 625571 w 1001076"/>
                <a:gd name="connsiteY751" fmla="*/ 192070 h 1050438"/>
                <a:gd name="connsiteX752" fmla="*/ 625082 w 1001076"/>
                <a:gd name="connsiteY752" fmla="*/ 188974 h 1050438"/>
                <a:gd name="connsiteX753" fmla="*/ 621987 w 1001076"/>
                <a:gd name="connsiteY753" fmla="*/ 188974 h 1050438"/>
                <a:gd name="connsiteX754" fmla="*/ 615959 w 1001076"/>
                <a:gd name="connsiteY754" fmla="*/ 190930 h 1050438"/>
                <a:gd name="connsiteX755" fmla="*/ 609443 w 1001076"/>
                <a:gd name="connsiteY755" fmla="*/ 188974 h 1050438"/>
                <a:gd name="connsiteX756" fmla="*/ 603741 w 1001076"/>
                <a:gd name="connsiteY756" fmla="*/ 189300 h 1050438"/>
                <a:gd name="connsiteX757" fmla="*/ 599180 w 1001076"/>
                <a:gd name="connsiteY757" fmla="*/ 190441 h 1050438"/>
                <a:gd name="connsiteX758" fmla="*/ 595922 w 1001076"/>
                <a:gd name="connsiteY758" fmla="*/ 187671 h 1050438"/>
                <a:gd name="connsiteX759" fmla="*/ 599669 w 1001076"/>
                <a:gd name="connsiteY759" fmla="*/ 188160 h 1050438"/>
                <a:gd name="connsiteX760" fmla="*/ 604067 w 1001076"/>
                <a:gd name="connsiteY760" fmla="*/ 184902 h 1050438"/>
                <a:gd name="connsiteX761" fmla="*/ 608629 w 1001076"/>
                <a:gd name="connsiteY761" fmla="*/ 183924 h 1050438"/>
                <a:gd name="connsiteX762" fmla="*/ 616285 w 1001076"/>
                <a:gd name="connsiteY762" fmla="*/ 185390 h 1050438"/>
                <a:gd name="connsiteX763" fmla="*/ 620684 w 1001076"/>
                <a:gd name="connsiteY763" fmla="*/ 184413 h 1050438"/>
                <a:gd name="connsiteX764" fmla="*/ 624757 w 1001076"/>
                <a:gd name="connsiteY764" fmla="*/ 179363 h 1050438"/>
                <a:gd name="connsiteX765" fmla="*/ 626549 w 1001076"/>
                <a:gd name="connsiteY765" fmla="*/ 179363 h 1050438"/>
                <a:gd name="connsiteX766" fmla="*/ 628992 w 1001076"/>
                <a:gd name="connsiteY766" fmla="*/ 181155 h 1050438"/>
                <a:gd name="connsiteX767" fmla="*/ 631599 w 1001076"/>
                <a:gd name="connsiteY767" fmla="*/ 180340 h 1050438"/>
                <a:gd name="connsiteX768" fmla="*/ 635997 w 1001076"/>
                <a:gd name="connsiteY768" fmla="*/ 177734 h 1050438"/>
                <a:gd name="connsiteX769" fmla="*/ 643491 w 1001076"/>
                <a:gd name="connsiteY769" fmla="*/ 175127 h 1050438"/>
                <a:gd name="connsiteX770" fmla="*/ 643491 w 1001076"/>
                <a:gd name="connsiteY770" fmla="*/ 169263 h 1050438"/>
                <a:gd name="connsiteX771" fmla="*/ 650171 w 1001076"/>
                <a:gd name="connsiteY771" fmla="*/ 161443 h 1050438"/>
                <a:gd name="connsiteX772" fmla="*/ 650171 w 1001076"/>
                <a:gd name="connsiteY772" fmla="*/ 155904 h 1050438"/>
                <a:gd name="connsiteX773" fmla="*/ 652777 w 1001076"/>
                <a:gd name="connsiteY773" fmla="*/ 152157 h 1050438"/>
                <a:gd name="connsiteX774" fmla="*/ 653103 w 1001076"/>
                <a:gd name="connsiteY774" fmla="*/ 147758 h 1050438"/>
                <a:gd name="connsiteX775" fmla="*/ 646098 w 1001076"/>
                <a:gd name="connsiteY775" fmla="*/ 146292 h 1050438"/>
                <a:gd name="connsiteX776" fmla="*/ 640559 w 1001076"/>
                <a:gd name="connsiteY776" fmla="*/ 141894 h 1050438"/>
                <a:gd name="connsiteX777" fmla="*/ 635346 w 1001076"/>
                <a:gd name="connsiteY777" fmla="*/ 141894 h 1050438"/>
                <a:gd name="connsiteX778" fmla="*/ 628015 w 1001076"/>
                <a:gd name="connsiteY778" fmla="*/ 146292 h 1050438"/>
                <a:gd name="connsiteX779" fmla="*/ 621661 w 1001076"/>
                <a:gd name="connsiteY779" fmla="*/ 146618 h 1050438"/>
                <a:gd name="connsiteX780" fmla="*/ 612864 w 1001076"/>
                <a:gd name="connsiteY780" fmla="*/ 142871 h 1050438"/>
                <a:gd name="connsiteX781" fmla="*/ 603253 w 1001076"/>
                <a:gd name="connsiteY781" fmla="*/ 142057 h 1050438"/>
                <a:gd name="connsiteX782" fmla="*/ 596248 w 1001076"/>
                <a:gd name="connsiteY782" fmla="*/ 149388 h 1050438"/>
                <a:gd name="connsiteX783" fmla="*/ 596573 w 1001076"/>
                <a:gd name="connsiteY783" fmla="*/ 152320 h 1050438"/>
                <a:gd name="connsiteX784" fmla="*/ 598854 w 1001076"/>
                <a:gd name="connsiteY784" fmla="*/ 153949 h 1050438"/>
                <a:gd name="connsiteX785" fmla="*/ 600320 w 1001076"/>
                <a:gd name="connsiteY785" fmla="*/ 156393 h 1050438"/>
                <a:gd name="connsiteX786" fmla="*/ 596899 w 1001076"/>
                <a:gd name="connsiteY786" fmla="*/ 156719 h 1050438"/>
                <a:gd name="connsiteX787" fmla="*/ 594944 w 1001076"/>
                <a:gd name="connsiteY787" fmla="*/ 157859 h 1050438"/>
                <a:gd name="connsiteX788" fmla="*/ 593152 w 1001076"/>
                <a:gd name="connsiteY788" fmla="*/ 162257 h 1050438"/>
                <a:gd name="connsiteX789" fmla="*/ 591849 w 1001076"/>
                <a:gd name="connsiteY789" fmla="*/ 158348 h 1050438"/>
                <a:gd name="connsiteX790" fmla="*/ 589405 w 1001076"/>
                <a:gd name="connsiteY790" fmla="*/ 157370 h 1050438"/>
                <a:gd name="connsiteX791" fmla="*/ 583866 w 1001076"/>
                <a:gd name="connsiteY791" fmla="*/ 159651 h 1050438"/>
                <a:gd name="connsiteX792" fmla="*/ 578002 w 1001076"/>
                <a:gd name="connsiteY792" fmla="*/ 167959 h 1050438"/>
                <a:gd name="connsiteX793" fmla="*/ 570019 w 1001076"/>
                <a:gd name="connsiteY793" fmla="*/ 176919 h 1050438"/>
                <a:gd name="connsiteX794" fmla="*/ 575884 w 1001076"/>
                <a:gd name="connsiteY794" fmla="*/ 168611 h 1050438"/>
                <a:gd name="connsiteX795" fmla="*/ 575884 w 1001076"/>
                <a:gd name="connsiteY795" fmla="*/ 163235 h 1050438"/>
                <a:gd name="connsiteX796" fmla="*/ 577024 w 1001076"/>
                <a:gd name="connsiteY796" fmla="*/ 160303 h 1050438"/>
                <a:gd name="connsiteX797" fmla="*/ 577513 w 1001076"/>
                <a:gd name="connsiteY797" fmla="*/ 156556 h 1050438"/>
                <a:gd name="connsiteX798" fmla="*/ 574907 w 1001076"/>
                <a:gd name="connsiteY798" fmla="*/ 156556 h 1050438"/>
                <a:gd name="connsiteX799" fmla="*/ 569693 w 1001076"/>
                <a:gd name="connsiteY799" fmla="*/ 160791 h 1050438"/>
                <a:gd name="connsiteX800" fmla="*/ 567087 w 1001076"/>
                <a:gd name="connsiteY800" fmla="*/ 166656 h 1050438"/>
                <a:gd name="connsiteX801" fmla="*/ 564480 w 1001076"/>
                <a:gd name="connsiteY801" fmla="*/ 173335 h 1050438"/>
                <a:gd name="connsiteX802" fmla="*/ 560245 w 1001076"/>
                <a:gd name="connsiteY802" fmla="*/ 176105 h 1050438"/>
                <a:gd name="connsiteX803" fmla="*/ 564317 w 1001076"/>
                <a:gd name="connsiteY803" fmla="*/ 168448 h 1050438"/>
                <a:gd name="connsiteX804" fmla="*/ 565132 w 1001076"/>
                <a:gd name="connsiteY804" fmla="*/ 162420 h 1050438"/>
                <a:gd name="connsiteX805" fmla="*/ 574092 w 1001076"/>
                <a:gd name="connsiteY805" fmla="*/ 151180 h 1050438"/>
                <a:gd name="connsiteX806" fmla="*/ 576373 w 1001076"/>
                <a:gd name="connsiteY806" fmla="*/ 143686 h 1050438"/>
                <a:gd name="connsiteX807" fmla="*/ 579631 w 1001076"/>
                <a:gd name="connsiteY807" fmla="*/ 139124 h 1050438"/>
                <a:gd name="connsiteX808" fmla="*/ 584681 w 1001076"/>
                <a:gd name="connsiteY808" fmla="*/ 136355 h 1050438"/>
                <a:gd name="connsiteX809" fmla="*/ 590057 w 1001076"/>
                <a:gd name="connsiteY809" fmla="*/ 132445 h 1050438"/>
                <a:gd name="connsiteX810" fmla="*/ 593967 w 1001076"/>
                <a:gd name="connsiteY810" fmla="*/ 130816 h 1050438"/>
                <a:gd name="connsiteX811" fmla="*/ 598691 w 1001076"/>
                <a:gd name="connsiteY811" fmla="*/ 123648 h 1050438"/>
                <a:gd name="connsiteX812" fmla="*/ 610747 w 1001076"/>
                <a:gd name="connsiteY812" fmla="*/ 111430 h 1050438"/>
                <a:gd name="connsiteX813" fmla="*/ 611561 w 1001076"/>
                <a:gd name="connsiteY813" fmla="*/ 108498 h 1050438"/>
                <a:gd name="connsiteX814" fmla="*/ 614005 w 1001076"/>
                <a:gd name="connsiteY814" fmla="*/ 106706 h 1050438"/>
                <a:gd name="connsiteX815" fmla="*/ 611398 w 1001076"/>
                <a:gd name="connsiteY815" fmla="*/ 103447 h 1050438"/>
                <a:gd name="connsiteX816" fmla="*/ 612375 w 1001076"/>
                <a:gd name="connsiteY816" fmla="*/ 100026 h 1050438"/>
                <a:gd name="connsiteX817" fmla="*/ 614005 w 1001076"/>
                <a:gd name="connsiteY817" fmla="*/ 98560 h 1050438"/>
                <a:gd name="connsiteX818" fmla="*/ 614005 w 1001076"/>
                <a:gd name="connsiteY818" fmla="*/ 93510 h 1050438"/>
                <a:gd name="connsiteX819" fmla="*/ 609443 w 1001076"/>
                <a:gd name="connsiteY819" fmla="*/ 90089 h 1050438"/>
                <a:gd name="connsiteX820" fmla="*/ 604067 w 1001076"/>
                <a:gd name="connsiteY820" fmla="*/ 90415 h 1050438"/>
                <a:gd name="connsiteX821" fmla="*/ 602438 w 1001076"/>
                <a:gd name="connsiteY821" fmla="*/ 92207 h 1050438"/>
                <a:gd name="connsiteX822" fmla="*/ 599994 w 1001076"/>
                <a:gd name="connsiteY822" fmla="*/ 88134 h 1050438"/>
                <a:gd name="connsiteX823" fmla="*/ 596736 w 1001076"/>
                <a:gd name="connsiteY823" fmla="*/ 78522 h 1050438"/>
                <a:gd name="connsiteX824" fmla="*/ 591034 w 1001076"/>
                <a:gd name="connsiteY824" fmla="*/ 64349 h 1050438"/>
                <a:gd name="connsiteX825" fmla="*/ 585821 w 1001076"/>
                <a:gd name="connsiteY825" fmla="*/ 57018 h 1050438"/>
                <a:gd name="connsiteX826" fmla="*/ 582074 w 1001076"/>
                <a:gd name="connsiteY826" fmla="*/ 47244 h 1050438"/>
                <a:gd name="connsiteX827" fmla="*/ 582074 w 1001076"/>
                <a:gd name="connsiteY827" fmla="*/ 41868 h 1050438"/>
                <a:gd name="connsiteX828" fmla="*/ 580934 w 1001076"/>
                <a:gd name="connsiteY828" fmla="*/ 36491 h 10504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</a:cxnLst>
              <a:rect l="l" t="t" r="r" b="b"/>
              <a:pathLst>
                <a:path w="1001076" h="1050438">
                  <a:moveTo>
                    <a:pt x="585007" y="155252"/>
                  </a:moveTo>
                  <a:lnTo>
                    <a:pt x="586962" y="152646"/>
                  </a:lnTo>
                  <a:lnTo>
                    <a:pt x="590546" y="150365"/>
                  </a:lnTo>
                  <a:lnTo>
                    <a:pt x="591686" y="151506"/>
                  </a:lnTo>
                  <a:lnTo>
                    <a:pt x="590220" y="154764"/>
                  </a:lnTo>
                  <a:lnTo>
                    <a:pt x="586473" y="155415"/>
                  </a:lnTo>
                  <a:lnTo>
                    <a:pt x="585007" y="155090"/>
                  </a:lnTo>
                  <a:lnTo>
                    <a:pt x="585007" y="155090"/>
                  </a:lnTo>
                  <a:close/>
                  <a:moveTo>
                    <a:pt x="580445" y="155090"/>
                  </a:moveTo>
                  <a:lnTo>
                    <a:pt x="582400" y="154601"/>
                  </a:lnTo>
                  <a:lnTo>
                    <a:pt x="583215" y="152809"/>
                  </a:lnTo>
                  <a:lnTo>
                    <a:pt x="588917" y="147433"/>
                  </a:lnTo>
                  <a:lnTo>
                    <a:pt x="591523" y="147107"/>
                  </a:lnTo>
                  <a:lnTo>
                    <a:pt x="595922" y="142546"/>
                  </a:lnTo>
                  <a:lnTo>
                    <a:pt x="594781" y="140753"/>
                  </a:lnTo>
                  <a:lnTo>
                    <a:pt x="592989" y="141242"/>
                  </a:lnTo>
                  <a:lnTo>
                    <a:pt x="590709" y="140916"/>
                  </a:lnTo>
                  <a:lnTo>
                    <a:pt x="588265" y="141894"/>
                  </a:lnTo>
                  <a:lnTo>
                    <a:pt x="583541" y="146781"/>
                  </a:lnTo>
                  <a:lnTo>
                    <a:pt x="580608" y="154927"/>
                  </a:lnTo>
                  <a:lnTo>
                    <a:pt x="580608" y="154927"/>
                  </a:lnTo>
                  <a:close/>
                  <a:moveTo>
                    <a:pt x="602438" y="136844"/>
                  </a:moveTo>
                  <a:lnTo>
                    <a:pt x="601786" y="134726"/>
                  </a:lnTo>
                  <a:lnTo>
                    <a:pt x="598691" y="133260"/>
                  </a:lnTo>
                  <a:lnTo>
                    <a:pt x="598202" y="136192"/>
                  </a:lnTo>
                  <a:lnTo>
                    <a:pt x="599669" y="138473"/>
                  </a:lnTo>
                  <a:lnTo>
                    <a:pt x="602275" y="139287"/>
                  </a:lnTo>
                  <a:lnTo>
                    <a:pt x="602275" y="136844"/>
                  </a:lnTo>
                  <a:lnTo>
                    <a:pt x="602438" y="136844"/>
                  </a:lnTo>
                  <a:close/>
                  <a:moveTo>
                    <a:pt x="602438" y="131631"/>
                  </a:moveTo>
                  <a:lnTo>
                    <a:pt x="601461" y="127069"/>
                  </a:lnTo>
                  <a:lnTo>
                    <a:pt x="604393" y="123811"/>
                  </a:lnTo>
                  <a:lnTo>
                    <a:pt x="606999" y="122508"/>
                  </a:lnTo>
                  <a:lnTo>
                    <a:pt x="610421" y="119901"/>
                  </a:lnTo>
                  <a:lnTo>
                    <a:pt x="612701" y="120227"/>
                  </a:lnTo>
                  <a:lnTo>
                    <a:pt x="610583" y="123811"/>
                  </a:lnTo>
                  <a:lnTo>
                    <a:pt x="607651" y="124788"/>
                  </a:lnTo>
                  <a:lnTo>
                    <a:pt x="605208" y="128698"/>
                  </a:lnTo>
                  <a:lnTo>
                    <a:pt x="602438" y="131631"/>
                  </a:lnTo>
                  <a:lnTo>
                    <a:pt x="602438" y="131631"/>
                  </a:lnTo>
                  <a:close/>
                  <a:moveTo>
                    <a:pt x="604393" y="135052"/>
                  </a:moveTo>
                  <a:lnTo>
                    <a:pt x="606674" y="136355"/>
                  </a:lnTo>
                  <a:lnTo>
                    <a:pt x="613027" y="136355"/>
                  </a:lnTo>
                  <a:cubicBezTo>
                    <a:pt x="613027" y="136355"/>
                    <a:pt x="614982" y="137821"/>
                    <a:pt x="614982" y="137821"/>
                  </a:cubicBezTo>
                  <a:lnTo>
                    <a:pt x="618240" y="136192"/>
                  </a:lnTo>
                  <a:lnTo>
                    <a:pt x="619218" y="132934"/>
                  </a:lnTo>
                  <a:lnTo>
                    <a:pt x="616285" y="130653"/>
                  </a:lnTo>
                  <a:lnTo>
                    <a:pt x="609117" y="132445"/>
                  </a:lnTo>
                  <a:lnTo>
                    <a:pt x="605370" y="132771"/>
                  </a:lnTo>
                  <a:lnTo>
                    <a:pt x="604393" y="135052"/>
                  </a:lnTo>
                  <a:lnTo>
                    <a:pt x="604393" y="135052"/>
                  </a:lnTo>
                  <a:close/>
                  <a:moveTo>
                    <a:pt x="618729" y="141242"/>
                  </a:moveTo>
                  <a:lnTo>
                    <a:pt x="622639" y="139613"/>
                  </a:lnTo>
                  <a:lnTo>
                    <a:pt x="623779" y="137332"/>
                  </a:lnTo>
                  <a:lnTo>
                    <a:pt x="627363" y="137332"/>
                  </a:lnTo>
                  <a:cubicBezTo>
                    <a:pt x="627363" y="137332"/>
                    <a:pt x="630296" y="139287"/>
                    <a:pt x="630296" y="139287"/>
                  </a:cubicBezTo>
                  <a:lnTo>
                    <a:pt x="628504" y="142220"/>
                  </a:lnTo>
                  <a:lnTo>
                    <a:pt x="622802" y="142546"/>
                  </a:lnTo>
                  <a:lnTo>
                    <a:pt x="619055" y="141079"/>
                  </a:lnTo>
                  <a:lnTo>
                    <a:pt x="619055" y="141079"/>
                  </a:lnTo>
                  <a:close/>
                  <a:moveTo>
                    <a:pt x="602764" y="87971"/>
                  </a:moveTo>
                  <a:lnTo>
                    <a:pt x="600157" y="84061"/>
                  </a:lnTo>
                  <a:lnTo>
                    <a:pt x="598202" y="77545"/>
                  </a:lnTo>
                  <a:lnTo>
                    <a:pt x="598854" y="75753"/>
                  </a:lnTo>
                  <a:lnTo>
                    <a:pt x="602438" y="78196"/>
                  </a:lnTo>
                  <a:lnTo>
                    <a:pt x="606185" y="84876"/>
                  </a:lnTo>
                  <a:lnTo>
                    <a:pt x="605696" y="88297"/>
                  </a:lnTo>
                  <a:cubicBezTo>
                    <a:pt x="605696" y="88297"/>
                    <a:pt x="603253" y="87971"/>
                    <a:pt x="602927" y="87971"/>
                  </a:cubicBezTo>
                  <a:lnTo>
                    <a:pt x="602927" y="87971"/>
                  </a:lnTo>
                  <a:close/>
                  <a:moveTo>
                    <a:pt x="580120" y="37306"/>
                  </a:moveTo>
                  <a:lnTo>
                    <a:pt x="578002" y="35351"/>
                  </a:lnTo>
                  <a:lnTo>
                    <a:pt x="577187" y="30301"/>
                  </a:lnTo>
                  <a:lnTo>
                    <a:pt x="574092" y="24273"/>
                  </a:lnTo>
                  <a:lnTo>
                    <a:pt x="572789" y="24925"/>
                  </a:lnTo>
                  <a:lnTo>
                    <a:pt x="573115" y="28998"/>
                  </a:lnTo>
                  <a:lnTo>
                    <a:pt x="571159" y="32093"/>
                  </a:lnTo>
                  <a:lnTo>
                    <a:pt x="565295" y="36003"/>
                  </a:lnTo>
                  <a:lnTo>
                    <a:pt x="565295" y="36003"/>
                  </a:lnTo>
                  <a:cubicBezTo>
                    <a:pt x="565295" y="36003"/>
                    <a:pt x="564969" y="36166"/>
                    <a:pt x="564969" y="36166"/>
                  </a:cubicBezTo>
                  <a:lnTo>
                    <a:pt x="563014" y="39098"/>
                  </a:lnTo>
                  <a:lnTo>
                    <a:pt x="556661" y="46918"/>
                  </a:lnTo>
                  <a:lnTo>
                    <a:pt x="549981" y="55552"/>
                  </a:lnTo>
                  <a:lnTo>
                    <a:pt x="549981" y="60114"/>
                  </a:lnTo>
                  <a:cubicBezTo>
                    <a:pt x="549981" y="60114"/>
                    <a:pt x="544931" y="70703"/>
                    <a:pt x="544931" y="70703"/>
                  </a:cubicBezTo>
                  <a:lnTo>
                    <a:pt x="540858" y="77382"/>
                  </a:lnTo>
                  <a:lnTo>
                    <a:pt x="537763" y="83572"/>
                  </a:lnTo>
                  <a:lnTo>
                    <a:pt x="533365" y="84387"/>
                  </a:lnTo>
                  <a:lnTo>
                    <a:pt x="530758" y="86342"/>
                  </a:lnTo>
                  <a:lnTo>
                    <a:pt x="529781" y="90577"/>
                  </a:lnTo>
                  <a:lnTo>
                    <a:pt x="525219" y="93836"/>
                  </a:lnTo>
                  <a:lnTo>
                    <a:pt x="522124" y="92858"/>
                  </a:lnTo>
                  <a:lnTo>
                    <a:pt x="522124" y="86179"/>
                  </a:lnTo>
                  <a:cubicBezTo>
                    <a:pt x="522124" y="86179"/>
                    <a:pt x="520169" y="85364"/>
                    <a:pt x="520169" y="85364"/>
                  </a:cubicBezTo>
                  <a:lnTo>
                    <a:pt x="519517" y="83247"/>
                  </a:lnTo>
                  <a:lnTo>
                    <a:pt x="516585" y="82921"/>
                  </a:lnTo>
                  <a:lnTo>
                    <a:pt x="513001" y="84387"/>
                  </a:lnTo>
                  <a:lnTo>
                    <a:pt x="510232" y="87482"/>
                  </a:lnTo>
                  <a:lnTo>
                    <a:pt x="505833" y="86668"/>
                  </a:lnTo>
                  <a:lnTo>
                    <a:pt x="502249" y="82758"/>
                  </a:lnTo>
                  <a:lnTo>
                    <a:pt x="502249" y="80314"/>
                  </a:lnTo>
                  <a:cubicBezTo>
                    <a:pt x="502249" y="80314"/>
                    <a:pt x="500946" y="79174"/>
                    <a:pt x="500946" y="79174"/>
                  </a:cubicBezTo>
                  <a:lnTo>
                    <a:pt x="499317" y="74938"/>
                  </a:lnTo>
                  <a:lnTo>
                    <a:pt x="498339" y="72495"/>
                  </a:lnTo>
                  <a:lnTo>
                    <a:pt x="494918" y="71680"/>
                  </a:lnTo>
                  <a:lnTo>
                    <a:pt x="489868" y="66956"/>
                  </a:lnTo>
                  <a:lnTo>
                    <a:pt x="483189" y="66630"/>
                  </a:lnTo>
                  <a:lnTo>
                    <a:pt x="478301" y="68911"/>
                  </a:lnTo>
                  <a:lnTo>
                    <a:pt x="467712" y="69399"/>
                  </a:lnTo>
                  <a:lnTo>
                    <a:pt x="462010" y="67933"/>
                  </a:lnTo>
                  <a:lnTo>
                    <a:pt x="456960" y="71191"/>
                  </a:lnTo>
                  <a:lnTo>
                    <a:pt x="456146" y="75753"/>
                  </a:lnTo>
                  <a:lnTo>
                    <a:pt x="460870" y="80314"/>
                  </a:lnTo>
                  <a:lnTo>
                    <a:pt x="462010" y="83247"/>
                  </a:lnTo>
                  <a:lnTo>
                    <a:pt x="464454" y="88785"/>
                  </a:lnTo>
                  <a:lnTo>
                    <a:pt x="463477" y="90740"/>
                  </a:lnTo>
                  <a:lnTo>
                    <a:pt x="459078" y="90740"/>
                  </a:lnTo>
                  <a:cubicBezTo>
                    <a:pt x="459078" y="90740"/>
                    <a:pt x="452562" y="89111"/>
                    <a:pt x="452562" y="89111"/>
                  </a:cubicBezTo>
                  <a:lnTo>
                    <a:pt x="450933" y="87808"/>
                  </a:lnTo>
                  <a:lnTo>
                    <a:pt x="448815" y="87808"/>
                  </a:lnTo>
                  <a:cubicBezTo>
                    <a:pt x="448815" y="87808"/>
                    <a:pt x="448326" y="87645"/>
                    <a:pt x="448326" y="87645"/>
                  </a:cubicBezTo>
                  <a:lnTo>
                    <a:pt x="448326" y="87645"/>
                  </a:lnTo>
                  <a:cubicBezTo>
                    <a:pt x="448326" y="87645"/>
                    <a:pt x="440018" y="87645"/>
                    <a:pt x="440018" y="87645"/>
                  </a:cubicBezTo>
                  <a:lnTo>
                    <a:pt x="435456" y="88460"/>
                  </a:lnTo>
                  <a:lnTo>
                    <a:pt x="433501" y="86179"/>
                  </a:lnTo>
                  <a:lnTo>
                    <a:pt x="426008" y="86505"/>
                  </a:lnTo>
                  <a:lnTo>
                    <a:pt x="420632" y="88785"/>
                  </a:lnTo>
                  <a:lnTo>
                    <a:pt x="417699" y="96931"/>
                  </a:lnTo>
                  <a:lnTo>
                    <a:pt x="407273" y="96605"/>
                  </a:lnTo>
                  <a:lnTo>
                    <a:pt x="401897" y="98234"/>
                  </a:lnTo>
                  <a:lnTo>
                    <a:pt x="401082" y="100678"/>
                  </a:lnTo>
                  <a:lnTo>
                    <a:pt x="397661" y="104914"/>
                  </a:lnTo>
                  <a:lnTo>
                    <a:pt x="391797" y="105402"/>
                  </a:lnTo>
                  <a:lnTo>
                    <a:pt x="390982" y="103773"/>
                  </a:lnTo>
                  <a:lnTo>
                    <a:pt x="387561" y="104750"/>
                  </a:lnTo>
                  <a:lnTo>
                    <a:pt x="384466" y="108823"/>
                  </a:lnTo>
                  <a:lnTo>
                    <a:pt x="380393" y="107194"/>
                  </a:lnTo>
                  <a:lnTo>
                    <a:pt x="370292" y="98560"/>
                  </a:lnTo>
                  <a:lnTo>
                    <a:pt x="366546" y="93999"/>
                  </a:lnTo>
                  <a:lnTo>
                    <a:pt x="366546" y="90252"/>
                  </a:lnTo>
                  <a:cubicBezTo>
                    <a:pt x="366546" y="90252"/>
                    <a:pt x="360844" y="84713"/>
                    <a:pt x="360844" y="84713"/>
                  </a:cubicBezTo>
                  <a:lnTo>
                    <a:pt x="356282" y="79988"/>
                  </a:lnTo>
                  <a:lnTo>
                    <a:pt x="355794" y="74775"/>
                  </a:lnTo>
                  <a:lnTo>
                    <a:pt x="356934" y="71354"/>
                  </a:lnTo>
                  <a:lnTo>
                    <a:pt x="355631" y="68748"/>
                  </a:lnTo>
                  <a:lnTo>
                    <a:pt x="356282" y="64186"/>
                  </a:lnTo>
                  <a:lnTo>
                    <a:pt x="358074" y="60439"/>
                  </a:lnTo>
                  <a:lnTo>
                    <a:pt x="357749" y="54900"/>
                  </a:lnTo>
                  <a:lnTo>
                    <a:pt x="362799" y="46266"/>
                  </a:lnTo>
                  <a:lnTo>
                    <a:pt x="364428" y="39261"/>
                  </a:lnTo>
                  <a:lnTo>
                    <a:pt x="368989" y="33559"/>
                  </a:lnTo>
                  <a:lnTo>
                    <a:pt x="368989" y="30790"/>
                  </a:lnTo>
                  <a:cubicBezTo>
                    <a:pt x="368989" y="30790"/>
                    <a:pt x="363939" y="31116"/>
                    <a:pt x="363939" y="31116"/>
                  </a:cubicBezTo>
                  <a:lnTo>
                    <a:pt x="361495" y="27369"/>
                  </a:lnTo>
                  <a:lnTo>
                    <a:pt x="359866" y="23622"/>
                  </a:lnTo>
                  <a:lnTo>
                    <a:pt x="354490" y="23948"/>
                  </a:lnTo>
                  <a:lnTo>
                    <a:pt x="350092" y="21667"/>
                  </a:lnTo>
                  <a:lnTo>
                    <a:pt x="352373" y="18572"/>
                  </a:lnTo>
                  <a:lnTo>
                    <a:pt x="355468" y="13521"/>
                  </a:lnTo>
                  <a:lnTo>
                    <a:pt x="355468" y="6679"/>
                  </a:lnTo>
                  <a:lnTo>
                    <a:pt x="351232" y="1303"/>
                  </a:lnTo>
                  <a:lnTo>
                    <a:pt x="345530" y="815"/>
                  </a:lnTo>
                  <a:lnTo>
                    <a:pt x="342761" y="2607"/>
                  </a:lnTo>
                  <a:lnTo>
                    <a:pt x="340806" y="326"/>
                  </a:lnTo>
                  <a:lnTo>
                    <a:pt x="338199" y="0"/>
                  </a:lnTo>
                  <a:lnTo>
                    <a:pt x="338688" y="5376"/>
                  </a:lnTo>
                  <a:lnTo>
                    <a:pt x="336244" y="11404"/>
                  </a:lnTo>
                  <a:lnTo>
                    <a:pt x="323049" y="20852"/>
                  </a:lnTo>
                  <a:lnTo>
                    <a:pt x="314741" y="21504"/>
                  </a:lnTo>
                  <a:lnTo>
                    <a:pt x="303337" y="26228"/>
                  </a:lnTo>
                  <a:lnTo>
                    <a:pt x="299101" y="24273"/>
                  </a:lnTo>
                  <a:lnTo>
                    <a:pt x="291933" y="24925"/>
                  </a:lnTo>
                  <a:lnTo>
                    <a:pt x="283625" y="32256"/>
                  </a:lnTo>
                  <a:lnTo>
                    <a:pt x="275479" y="35025"/>
                  </a:lnTo>
                  <a:lnTo>
                    <a:pt x="272710" y="33233"/>
                  </a:lnTo>
                  <a:lnTo>
                    <a:pt x="261306" y="34699"/>
                  </a:lnTo>
                  <a:lnTo>
                    <a:pt x="252509" y="35188"/>
                  </a:lnTo>
                  <a:lnTo>
                    <a:pt x="244527" y="30790"/>
                  </a:lnTo>
                  <a:lnTo>
                    <a:pt x="236544" y="29487"/>
                  </a:lnTo>
                  <a:lnTo>
                    <a:pt x="229213" y="27206"/>
                  </a:lnTo>
                  <a:lnTo>
                    <a:pt x="232471" y="33396"/>
                  </a:lnTo>
                  <a:lnTo>
                    <a:pt x="237847" y="35351"/>
                  </a:lnTo>
                  <a:lnTo>
                    <a:pt x="243386" y="40564"/>
                  </a:lnTo>
                  <a:lnTo>
                    <a:pt x="245178" y="45289"/>
                  </a:lnTo>
                  <a:lnTo>
                    <a:pt x="238010" y="56366"/>
                  </a:lnTo>
                  <a:lnTo>
                    <a:pt x="240780" y="61580"/>
                  </a:lnTo>
                  <a:lnTo>
                    <a:pt x="239151" y="70051"/>
                  </a:lnTo>
                  <a:lnTo>
                    <a:pt x="250880" y="73961"/>
                  </a:lnTo>
                  <a:lnTo>
                    <a:pt x="259026" y="72983"/>
                  </a:lnTo>
                  <a:lnTo>
                    <a:pt x="267171" y="74612"/>
                  </a:lnTo>
                  <a:lnTo>
                    <a:pt x="267497" y="79825"/>
                  </a:lnTo>
                  <a:lnTo>
                    <a:pt x="261632" y="82595"/>
                  </a:lnTo>
                  <a:lnTo>
                    <a:pt x="249577" y="85039"/>
                  </a:lnTo>
                  <a:lnTo>
                    <a:pt x="245341" y="89600"/>
                  </a:lnTo>
                  <a:lnTo>
                    <a:pt x="242898" y="96279"/>
                  </a:lnTo>
                  <a:lnTo>
                    <a:pt x="229865" y="103122"/>
                  </a:lnTo>
                  <a:lnTo>
                    <a:pt x="225629" y="108172"/>
                  </a:lnTo>
                  <a:lnTo>
                    <a:pt x="216832" y="113873"/>
                  </a:lnTo>
                  <a:lnTo>
                    <a:pt x="210804" y="121041"/>
                  </a:lnTo>
                  <a:lnTo>
                    <a:pt x="200378" y="121530"/>
                  </a:lnTo>
                  <a:lnTo>
                    <a:pt x="194514" y="120716"/>
                  </a:lnTo>
                  <a:lnTo>
                    <a:pt x="184413" y="112896"/>
                  </a:lnTo>
                  <a:lnTo>
                    <a:pt x="174639" y="106217"/>
                  </a:lnTo>
                  <a:lnTo>
                    <a:pt x="167959" y="107031"/>
                  </a:lnTo>
                  <a:lnTo>
                    <a:pt x="167959" y="100026"/>
                  </a:lnTo>
                  <a:cubicBezTo>
                    <a:pt x="167959" y="100026"/>
                    <a:pt x="167145" y="94324"/>
                    <a:pt x="167145" y="94324"/>
                  </a:cubicBezTo>
                  <a:lnTo>
                    <a:pt x="162909" y="89111"/>
                  </a:lnTo>
                  <a:lnTo>
                    <a:pt x="161443" y="85201"/>
                  </a:lnTo>
                  <a:lnTo>
                    <a:pt x="154438" y="86993"/>
                  </a:lnTo>
                  <a:lnTo>
                    <a:pt x="149388" y="92532"/>
                  </a:lnTo>
                  <a:lnTo>
                    <a:pt x="146130" y="93021"/>
                  </a:lnTo>
                  <a:lnTo>
                    <a:pt x="143360" y="90415"/>
                  </a:lnTo>
                  <a:lnTo>
                    <a:pt x="138310" y="90415"/>
                  </a:lnTo>
                  <a:lnTo>
                    <a:pt x="135215" y="93836"/>
                  </a:lnTo>
                  <a:lnTo>
                    <a:pt x="106217" y="93836"/>
                  </a:lnTo>
                  <a:cubicBezTo>
                    <a:pt x="106217" y="93836"/>
                    <a:pt x="104588" y="102307"/>
                    <a:pt x="104588" y="102307"/>
                  </a:cubicBezTo>
                  <a:lnTo>
                    <a:pt x="107031" y="108334"/>
                  </a:lnTo>
                  <a:lnTo>
                    <a:pt x="116806" y="110941"/>
                  </a:lnTo>
                  <a:lnTo>
                    <a:pt x="120553" y="117783"/>
                  </a:lnTo>
                  <a:lnTo>
                    <a:pt x="117783" y="120879"/>
                  </a:lnTo>
                  <a:lnTo>
                    <a:pt x="120716" y="123974"/>
                  </a:lnTo>
                  <a:lnTo>
                    <a:pt x="119412" y="128209"/>
                  </a:lnTo>
                  <a:lnTo>
                    <a:pt x="113385" y="124137"/>
                  </a:lnTo>
                  <a:lnTo>
                    <a:pt x="96279" y="130001"/>
                  </a:lnTo>
                  <a:lnTo>
                    <a:pt x="97094" y="144012"/>
                  </a:lnTo>
                  <a:lnTo>
                    <a:pt x="101492" y="149714"/>
                  </a:lnTo>
                  <a:lnTo>
                    <a:pt x="111104" y="157044"/>
                  </a:lnTo>
                  <a:lnTo>
                    <a:pt x="117295" y="168122"/>
                  </a:lnTo>
                  <a:lnTo>
                    <a:pt x="116969" y="176756"/>
                  </a:lnTo>
                  <a:lnTo>
                    <a:pt x="116969" y="180666"/>
                  </a:lnTo>
                  <a:cubicBezTo>
                    <a:pt x="116969" y="180666"/>
                    <a:pt x="102470" y="234100"/>
                    <a:pt x="102470" y="234100"/>
                  </a:cubicBezTo>
                  <a:lnTo>
                    <a:pt x="98234" y="248273"/>
                  </a:lnTo>
                  <a:lnTo>
                    <a:pt x="98886" y="250880"/>
                  </a:lnTo>
                  <a:lnTo>
                    <a:pt x="96605" y="254627"/>
                  </a:lnTo>
                  <a:lnTo>
                    <a:pt x="91066" y="253161"/>
                  </a:lnTo>
                  <a:lnTo>
                    <a:pt x="91555" y="251532"/>
                  </a:lnTo>
                  <a:lnTo>
                    <a:pt x="85853" y="247785"/>
                  </a:lnTo>
                  <a:lnTo>
                    <a:pt x="83898" y="248273"/>
                  </a:lnTo>
                  <a:lnTo>
                    <a:pt x="78848" y="248273"/>
                  </a:lnTo>
                  <a:lnTo>
                    <a:pt x="76567" y="247296"/>
                  </a:lnTo>
                  <a:lnTo>
                    <a:pt x="74775" y="251369"/>
                  </a:lnTo>
                  <a:lnTo>
                    <a:pt x="57344" y="257071"/>
                  </a:lnTo>
                  <a:lnTo>
                    <a:pt x="44311" y="259840"/>
                  </a:lnTo>
                  <a:lnTo>
                    <a:pt x="41053" y="263098"/>
                  </a:lnTo>
                  <a:lnTo>
                    <a:pt x="38121" y="264076"/>
                  </a:lnTo>
                  <a:lnTo>
                    <a:pt x="32745" y="269452"/>
                  </a:lnTo>
                  <a:lnTo>
                    <a:pt x="26717" y="272221"/>
                  </a:lnTo>
                  <a:lnTo>
                    <a:pt x="22156" y="275154"/>
                  </a:lnTo>
                  <a:lnTo>
                    <a:pt x="22970" y="281833"/>
                  </a:lnTo>
                  <a:lnTo>
                    <a:pt x="20364" y="285743"/>
                  </a:lnTo>
                  <a:lnTo>
                    <a:pt x="21504" y="289815"/>
                  </a:lnTo>
                  <a:lnTo>
                    <a:pt x="14499" y="296820"/>
                  </a:lnTo>
                  <a:lnTo>
                    <a:pt x="16943" y="305617"/>
                  </a:lnTo>
                  <a:lnTo>
                    <a:pt x="19386" y="310179"/>
                  </a:lnTo>
                  <a:lnTo>
                    <a:pt x="15151" y="314252"/>
                  </a:lnTo>
                  <a:lnTo>
                    <a:pt x="11404" y="313437"/>
                  </a:lnTo>
                  <a:lnTo>
                    <a:pt x="4236" y="317999"/>
                  </a:lnTo>
                  <a:lnTo>
                    <a:pt x="3910" y="323212"/>
                  </a:lnTo>
                  <a:lnTo>
                    <a:pt x="1303" y="325981"/>
                  </a:lnTo>
                  <a:lnTo>
                    <a:pt x="2932" y="329402"/>
                  </a:lnTo>
                  <a:lnTo>
                    <a:pt x="1955" y="335104"/>
                  </a:lnTo>
                  <a:lnTo>
                    <a:pt x="0" y="339828"/>
                  </a:lnTo>
                  <a:lnTo>
                    <a:pt x="1792" y="344064"/>
                  </a:lnTo>
                  <a:lnTo>
                    <a:pt x="489" y="347974"/>
                  </a:lnTo>
                  <a:lnTo>
                    <a:pt x="7494" y="354979"/>
                  </a:lnTo>
                  <a:lnTo>
                    <a:pt x="20038" y="375180"/>
                  </a:lnTo>
                  <a:lnTo>
                    <a:pt x="13521" y="383325"/>
                  </a:lnTo>
                  <a:lnTo>
                    <a:pt x="29324" y="382022"/>
                  </a:lnTo>
                  <a:lnTo>
                    <a:pt x="36817" y="383325"/>
                  </a:lnTo>
                  <a:lnTo>
                    <a:pt x="42356" y="391471"/>
                  </a:lnTo>
                  <a:lnTo>
                    <a:pt x="43985" y="398639"/>
                  </a:lnTo>
                  <a:lnTo>
                    <a:pt x="54900" y="399127"/>
                  </a:lnTo>
                  <a:lnTo>
                    <a:pt x="67933" y="399942"/>
                  </a:lnTo>
                  <a:lnTo>
                    <a:pt x="78685" y="390005"/>
                  </a:lnTo>
                  <a:lnTo>
                    <a:pt x="87808" y="384791"/>
                  </a:lnTo>
                  <a:lnTo>
                    <a:pt x="90415" y="387561"/>
                  </a:lnTo>
                  <a:lnTo>
                    <a:pt x="89274" y="393263"/>
                  </a:lnTo>
                  <a:lnTo>
                    <a:pt x="87482" y="395218"/>
                  </a:lnTo>
                  <a:lnTo>
                    <a:pt x="87482" y="404340"/>
                  </a:lnTo>
                  <a:cubicBezTo>
                    <a:pt x="87482" y="404340"/>
                    <a:pt x="88623" y="419328"/>
                    <a:pt x="88623" y="419328"/>
                  </a:cubicBezTo>
                  <a:lnTo>
                    <a:pt x="88949" y="425356"/>
                  </a:lnTo>
                  <a:lnTo>
                    <a:pt x="92044" y="428288"/>
                  </a:lnTo>
                  <a:lnTo>
                    <a:pt x="97094" y="427473"/>
                  </a:lnTo>
                  <a:lnTo>
                    <a:pt x="101981" y="426007"/>
                  </a:lnTo>
                  <a:lnTo>
                    <a:pt x="107520" y="425681"/>
                  </a:lnTo>
                  <a:lnTo>
                    <a:pt x="110290" y="425356"/>
                  </a:lnTo>
                  <a:lnTo>
                    <a:pt x="112896" y="426496"/>
                  </a:lnTo>
                  <a:lnTo>
                    <a:pt x="113548" y="426822"/>
                  </a:lnTo>
                  <a:lnTo>
                    <a:pt x="113548" y="426822"/>
                  </a:lnTo>
                  <a:lnTo>
                    <a:pt x="129839" y="426822"/>
                  </a:lnTo>
                  <a:cubicBezTo>
                    <a:pt x="129839" y="426822"/>
                    <a:pt x="137169" y="427148"/>
                    <a:pt x="137169" y="427148"/>
                  </a:cubicBezTo>
                  <a:lnTo>
                    <a:pt x="144500" y="423075"/>
                  </a:lnTo>
                  <a:lnTo>
                    <a:pt x="148573" y="423075"/>
                  </a:lnTo>
                  <a:lnTo>
                    <a:pt x="154112" y="418676"/>
                  </a:lnTo>
                  <a:lnTo>
                    <a:pt x="160466" y="418676"/>
                  </a:lnTo>
                  <a:lnTo>
                    <a:pt x="167796" y="416396"/>
                  </a:lnTo>
                  <a:lnTo>
                    <a:pt x="172195" y="404992"/>
                  </a:lnTo>
                  <a:lnTo>
                    <a:pt x="184413" y="397172"/>
                  </a:lnTo>
                  <a:lnTo>
                    <a:pt x="192884" y="395706"/>
                  </a:lnTo>
                  <a:lnTo>
                    <a:pt x="201030" y="391633"/>
                  </a:lnTo>
                  <a:lnTo>
                    <a:pt x="206569" y="391633"/>
                  </a:lnTo>
                  <a:lnTo>
                    <a:pt x="211782" y="395381"/>
                  </a:lnTo>
                  <a:lnTo>
                    <a:pt x="217647" y="391633"/>
                  </a:lnTo>
                  <a:lnTo>
                    <a:pt x="220579" y="394240"/>
                  </a:lnTo>
                  <a:lnTo>
                    <a:pt x="219765" y="400105"/>
                  </a:lnTo>
                  <a:lnTo>
                    <a:pt x="222697" y="409391"/>
                  </a:lnTo>
                  <a:lnTo>
                    <a:pt x="218624" y="416722"/>
                  </a:lnTo>
                  <a:lnTo>
                    <a:pt x="221882" y="428614"/>
                  </a:lnTo>
                  <a:lnTo>
                    <a:pt x="219601" y="433827"/>
                  </a:lnTo>
                  <a:lnTo>
                    <a:pt x="224000" y="443439"/>
                  </a:lnTo>
                  <a:lnTo>
                    <a:pt x="229865" y="446045"/>
                  </a:lnTo>
                  <a:lnTo>
                    <a:pt x="231657" y="453865"/>
                  </a:lnTo>
                  <a:lnTo>
                    <a:pt x="237522" y="456797"/>
                  </a:lnTo>
                  <a:lnTo>
                    <a:pt x="245667" y="462010"/>
                  </a:lnTo>
                  <a:lnTo>
                    <a:pt x="251206" y="467223"/>
                  </a:lnTo>
                  <a:lnTo>
                    <a:pt x="253487" y="464617"/>
                  </a:lnTo>
                  <a:lnTo>
                    <a:pt x="264239" y="462010"/>
                  </a:lnTo>
                  <a:lnTo>
                    <a:pt x="273036" y="470807"/>
                  </a:lnTo>
                  <a:lnTo>
                    <a:pt x="279715" y="469015"/>
                  </a:lnTo>
                  <a:lnTo>
                    <a:pt x="289001" y="478953"/>
                  </a:lnTo>
                  <a:lnTo>
                    <a:pt x="293074" y="478627"/>
                  </a:lnTo>
                  <a:lnTo>
                    <a:pt x="304151" y="482374"/>
                  </a:lnTo>
                  <a:lnTo>
                    <a:pt x="311157" y="484981"/>
                  </a:lnTo>
                  <a:lnTo>
                    <a:pt x="312623" y="492311"/>
                  </a:lnTo>
                  <a:lnTo>
                    <a:pt x="317836" y="493778"/>
                  </a:lnTo>
                  <a:lnTo>
                    <a:pt x="324515" y="497524"/>
                  </a:lnTo>
                  <a:lnTo>
                    <a:pt x="339340" y="496058"/>
                  </a:lnTo>
                  <a:lnTo>
                    <a:pt x="349603" y="501923"/>
                  </a:lnTo>
                  <a:lnTo>
                    <a:pt x="351884" y="506322"/>
                  </a:lnTo>
                  <a:lnTo>
                    <a:pt x="350418" y="518051"/>
                  </a:lnTo>
                  <a:lnTo>
                    <a:pt x="352698" y="527663"/>
                  </a:lnTo>
                  <a:lnTo>
                    <a:pt x="349766" y="533527"/>
                  </a:lnTo>
                  <a:lnTo>
                    <a:pt x="359378" y="549818"/>
                  </a:lnTo>
                  <a:lnTo>
                    <a:pt x="358563" y="561711"/>
                  </a:lnTo>
                  <a:lnTo>
                    <a:pt x="403526" y="562362"/>
                  </a:lnTo>
                  <a:lnTo>
                    <a:pt x="405807" y="578653"/>
                  </a:lnTo>
                  <a:lnTo>
                    <a:pt x="404992" y="588916"/>
                  </a:lnTo>
                  <a:lnTo>
                    <a:pt x="418351" y="591849"/>
                  </a:lnTo>
                  <a:lnTo>
                    <a:pt x="431709" y="615471"/>
                  </a:lnTo>
                  <a:lnTo>
                    <a:pt x="432524" y="628015"/>
                  </a:lnTo>
                  <a:lnTo>
                    <a:pt x="419980" y="653103"/>
                  </a:lnTo>
                  <a:lnTo>
                    <a:pt x="420794" y="656850"/>
                  </a:lnTo>
                  <a:lnTo>
                    <a:pt x="417373" y="661574"/>
                  </a:lnTo>
                  <a:lnTo>
                    <a:pt x="419654" y="664181"/>
                  </a:lnTo>
                  <a:lnTo>
                    <a:pt x="418188" y="669720"/>
                  </a:lnTo>
                  <a:lnTo>
                    <a:pt x="424541" y="674444"/>
                  </a:lnTo>
                  <a:lnTo>
                    <a:pt x="424867" y="682263"/>
                  </a:lnTo>
                  <a:lnTo>
                    <a:pt x="430080" y="689920"/>
                  </a:lnTo>
                  <a:lnTo>
                    <a:pt x="427474" y="705397"/>
                  </a:lnTo>
                  <a:lnTo>
                    <a:pt x="428940" y="711587"/>
                  </a:lnTo>
                  <a:lnTo>
                    <a:pt x="427148" y="717126"/>
                  </a:lnTo>
                  <a:lnTo>
                    <a:pt x="428940" y="722665"/>
                  </a:lnTo>
                  <a:lnTo>
                    <a:pt x="438551" y="722013"/>
                  </a:lnTo>
                  <a:lnTo>
                    <a:pt x="442624" y="723805"/>
                  </a:lnTo>
                  <a:lnTo>
                    <a:pt x="454517" y="722991"/>
                  </a:lnTo>
                  <a:lnTo>
                    <a:pt x="461848" y="725597"/>
                  </a:lnTo>
                  <a:lnTo>
                    <a:pt x="473577" y="720710"/>
                  </a:lnTo>
                  <a:lnTo>
                    <a:pt x="479930" y="725109"/>
                  </a:lnTo>
                  <a:lnTo>
                    <a:pt x="484655" y="726575"/>
                  </a:lnTo>
                  <a:lnTo>
                    <a:pt x="486447" y="732439"/>
                  </a:lnTo>
                  <a:lnTo>
                    <a:pt x="492963" y="760297"/>
                  </a:lnTo>
                  <a:lnTo>
                    <a:pt x="497362" y="770072"/>
                  </a:lnTo>
                  <a:lnTo>
                    <a:pt x="501923" y="771375"/>
                  </a:lnTo>
                  <a:lnTo>
                    <a:pt x="512024" y="765836"/>
                  </a:lnTo>
                  <a:lnTo>
                    <a:pt x="517725" y="768117"/>
                  </a:lnTo>
                  <a:lnTo>
                    <a:pt x="521635" y="771538"/>
                  </a:lnTo>
                  <a:lnTo>
                    <a:pt x="525382" y="772352"/>
                  </a:lnTo>
                  <a:lnTo>
                    <a:pt x="522938" y="776425"/>
                  </a:lnTo>
                  <a:lnTo>
                    <a:pt x="522287" y="800536"/>
                  </a:lnTo>
                  <a:lnTo>
                    <a:pt x="521309" y="803305"/>
                  </a:lnTo>
                  <a:lnTo>
                    <a:pt x="520658" y="804120"/>
                  </a:lnTo>
                  <a:lnTo>
                    <a:pt x="520658" y="807378"/>
                  </a:lnTo>
                  <a:cubicBezTo>
                    <a:pt x="520658" y="807378"/>
                    <a:pt x="520006" y="809984"/>
                    <a:pt x="520006" y="809984"/>
                  </a:cubicBezTo>
                  <a:lnTo>
                    <a:pt x="519680" y="813080"/>
                  </a:lnTo>
                  <a:lnTo>
                    <a:pt x="524079" y="810147"/>
                  </a:lnTo>
                  <a:lnTo>
                    <a:pt x="535808" y="811776"/>
                  </a:lnTo>
                  <a:lnTo>
                    <a:pt x="536134" y="816989"/>
                  </a:lnTo>
                  <a:lnTo>
                    <a:pt x="540858" y="827904"/>
                  </a:lnTo>
                  <a:lnTo>
                    <a:pt x="540533" y="836538"/>
                  </a:lnTo>
                  <a:lnTo>
                    <a:pt x="541673" y="846476"/>
                  </a:lnTo>
                  <a:lnTo>
                    <a:pt x="542650" y="855762"/>
                  </a:lnTo>
                  <a:lnTo>
                    <a:pt x="541184" y="859509"/>
                  </a:lnTo>
                  <a:lnTo>
                    <a:pt x="535971" y="859509"/>
                  </a:lnTo>
                  <a:cubicBezTo>
                    <a:pt x="535971" y="859509"/>
                    <a:pt x="529781" y="862604"/>
                    <a:pt x="529781" y="862604"/>
                  </a:cubicBezTo>
                  <a:lnTo>
                    <a:pt x="528803" y="864559"/>
                  </a:lnTo>
                  <a:lnTo>
                    <a:pt x="525056" y="867654"/>
                  </a:lnTo>
                  <a:lnTo>
                    <a:pt x="523427" y="866677"/>
                  </a:lnTo>
                  <a:lnTo>
                    <a:pt x="513001" y="873682"/>
                  </a:lnTo>
                  <a:lnTo>
                    <a:pt x="511046" y="876940"/>
                  </a:lnTo>
                  <a:lnTo>
                    <a:pt x="506973" y="878080"/>
                  </a:lnTo>
                  <a:lnTo>
                    <a:pt x="497362" y="886063"/>
                  </a:lnTo>
                  <a:lnTo>
                    <a:pt x="494266" y="887203"/>
                  </a:lnTo>
                  <a:lnTo>
                    <a:pt x="493941" y="893394"/>
                  </a:lnTo>
                  <a:lnTo>
                    <a:pt x="490519" y="894534"/>
                  </a:lnTo>
                  <a:lnTo>
                    <a:pt x="487424" y="894045"/>
                  </a:lnTo>
                  <a:lnTo>
                    <a:pt x="479279" y="903983"/>
                  </a:lnTo>
                  <a:lnTo>
                    <a:pt x="477813" y="907893"/>
                  </a:lnTo>
                  <a:lnTo>
                    <a:pt x="477813" y="913595"/>
                  </a:lnTo>
                  <a:cubicBezTo>
                    <a:pt x="477813" y="913595"/>
                    <a:pt x="474391" y="914735"/>
                    <a:pt x="474391" y="914735"/>
                  </a:cubicBezTo>
                  <a:lnTo>
                    <a:pt x="472437" y="917830"/>
                  </a:lnTo>
                  <a:lnTo>
                    <a:pt x="467224" y="927279"/>
                  </a:lnTo>
                  <a:lnTo>
                    <a:pt x="463477" y="931189"/>
                  </a:lnTo>
                  <a:lnTo>
                    <a:pt x="459241" y="938194"/>
                  </a:lnTo>
                  <a:lnTo>
                    <a:pt x="459241" y="940637"/>
                  </a:lnTo>
                  <a:lnTo>
                    <a:pt x="454517" y="943896"/>
                  </a:lnTo>
                  <a:lnTo>
                    <a:pt x="453865" y="946176"/>
                  </a:lnTo>
                  <a:lnTo>
                    <a:pt x="457612" y="946176"/>
                  </a:lnTo>
                  <a:cubicBezTo>
                    <a:pt x="457612" y="946176"/>
                    <a:pt x="460381" y="947805"/>
                    <a:pt x="460381" y="947805"/>
                  </a:cubicBezTo>
                  <a:lnTo>
                    <a:pt x="473251" y="943896"/>
                  </a:lnTo>
                  <a:lnTo>
                    <a:pt x="478627" y="947317"/>
                  </a:lnTo>
                  <a:lnTo>
                    <a:pt x="484492" y="955462"/>
                  </a:lnTo>
                  <a:lnTo>
                    <a:pt x="489705" y="957743"/>
                  </a:lnTo>
                  <a:lnTo>
                    <a:pt x="492800" y="964748"/>
                  </a:lnTo>
                  <a:lnTo>
                    <a:pt x="498828" y="974685"/>
                  </a:lnTo>
                  <a:lnTo>
                    <a:pt x="501760" y="974685"/>
                  </a:lnTo>
                  <a:lnTo>
                    <a:pt x="506810" y="969309"/>
                  </a:lnTo>
                  <a:lnTo>
                    <a:pt x="509417" y="969635"/>
                  </a:lnTo>
                  <a:lnTo>
                    <a:pt x="515282" y="979247"/>
                  </a:lnTo>
                  <a:lnTo>
                    <a:pt x="522287" y="982342"/>
                  </a:lnTo>
                  <a:lnTo>
                    <a:pt x="528315" y="983645"/>
                  </a:lnTo>
                  <a:lnTo>
                    <a:pt x="534179" y="989510"/>
                  </a:lnTo>
                  <a:lnTo>
                    <a:pt x="534505" y="996515"/>
                  </a:lnTo>
                  <a:lnTo>
                    <a:pt x="539555" y="995375"/>
                  </a:lnTo>
                  <a:lnTo>
                    <a:pt x="549493" y="999773"/>
                  </a:lnTo>
                  <a:lnTo>
                    <a:pt x="555357" y="1007104"/>
                  </a:lnTo>
                  <a:lnTo>
                    <a:pt x="561548" y="1016553"/>
                  </a:lnTo>
                  <a:lnTo>
                    <a:pt x="567250" y="1020626"/>
                  </a:lnTo>
                  <a:lnTo>
                    <a:pt x="566109" y="1027794"/>
                  </a:lnTo>
                  <a:lnTo>
                    <a:pt x="561385" y="1034473"/>
                  </a:lnTo>
                  <a:lnTo>
                    <a:pt x="563829" y="1042130"/>
                  </a:lnTo>
                  <a:lnTo>
                    <a:pt x="564806" y="1044085"/>
                  </a:lnTo>
                  <a:lnTo>
                    <a:pt x="565458" y="1045388"/>
                  </a:lnTo>
                  <a:lnTo>
                    <a:pt x="568390" y="1049298"/>
                  </a:lnTo>
                  <a:lnTo>
                    <a:pt x="569856" y="1050438"/>
                  </a:lnTo>
                  <a:lnTo>
                    <a:pt x="579468" y="1042455"/>
                  </a:lnTo>
                  <a:lnTo>
                    <a:pt x="582726" y="1034799"/>
                  </a:lnTo>
                  <a:lnTo>
                    <a:pt x="586962" y="1016879"/>
                  </a:lnTo>
                  <a:lnTo>
                    <a:pt x="590872" y="1004661"/>
                  </a:lnTo>
                  <a:lnTo>
                    <a:pt x="592501" y="1002217"/>
                  </a:lnTo>
                  <a:lnTo>
                    <a:pt x="590220" y="999447"/>
                  </a:lnTo>
                  <a:lnTo>
                    <a:pt x="586473" y="993420"/>
                  </a:lnTo>
                  <a:lnTo>
                    <a:pt x="588265" y="988207"/>
                  </a:lnTo>
                  <a:lnTo>
                    <a:pt x="592012" y="986415"/>
                  </a:lnTo>
                  <a:lnTo>
                    <a:pt x="592012" y="983157"/>
                  </a:lnTo>
                  <a:cubicBezTo>
                    <a:pt x="592012" y="983157"/>
                    <a:pt x="596410" y="978432"/>
                    <a:pt x="596410" y="978432"/>
                  </a:cubicBezTo>
                  <a:lnTo>
                    <a:pt x="596410" y="974685"/>
                  </a:lnTo>
                  <a:lnTo>
                    <a:pt x="599017" y="976640"/>
                  </a:lnTo>
                  <a:lnTo>
                    <a:pt x="602438" y="977129"/>
                  </a:lnTo>
                  <a:lnTo>
                    <a:pt x="606674" y="972079"/>
                  </a:lnTo>
                  <a:lnTo>
                    <a:pt x="607163" y="966866"/>
                  </a:lnTo>
                  <a:lnTo>
                    <a:pt x="608791" y="965237"/>
                  </a:lnTo>
                  <a:lnTo>
                    <a:pt x="609117" y="959372"/>
                  </a:lnTo>
                  <a:lnTo>
                    <a:pt x="610909" y="956928"/>
                  </a:lnTo>
                  <a:lnTo>
                    <a:pt x="613516" y="956928"/>
                  </a:lnTo>
                  <a:lnTo>
                    <a:pt x="615308" y="951878"/>
                  </a:lnTo>
                  <a:lnTo>
                    <a:pt x="614005" y="948131"/>
                  </a:lnTo>
                  <a:lnTo>
                    <a:pt x="611235" y="945199"/>
                  </a:lnTo>
                  <a:lnTo>
                    <a:pt x="611561" y="937542"/>
                  </a:lnTo>
                  <a:lnTo>
                    <a:pt x="609280" y="935587"/>
                  </a:lnTo>
                  <a:lnTo>
                    <a:pt x="611887" y="936239"/>
                  </a:lnTo>
                  <a:lnTo>
                    <a:pt x="614819" y="942266"/>
                  </a:lnTo>
                  <a:lnTo>
                    <a:pt x="620847" y="948946"/>
                  </a:lnTo>
                  <a:lnTo>
                    <a:pt x="623290" y="948946"/>
                  </a:lnTo>
                  <a:lnTo>
                    <a:pt x="625897" y="947480"/>
                  </a:lnTo>
                  <a:lnTo>
                    <a:pt x="627526" y="949109"/>
                  </a:lnTo>
                  <a:lnTo>
                    <a:pt x="628015" y="953507"/>
                  </a:lnTo>
                  <a:lnTo>
                    <a:pt x="626060" y="953996"/>
                  </a:lnTo>
                  <a:lnTo>
                    <a:pt x="623616" y="962793"/>
                  </a:lnTo>
                  <a:lnTo>
                    <a:pt x="617752" y="972893"/>
                  </a:lnTo>
                  <a:lnTo>
                    <a:pt x="612375" y="972893"/>
                  </a:lnTo>
                  <a:cubicBezTo>
                    <a:pt x="612375" y="972893"/>
                    <a:pt x="611561" y="979573"/>
                    <a:pt x="611561" y="979573"/>
                  </a:cubicBezTo>
                  <a:lnTo>
                    <a:pt x="609769" y="982994"/>
                  </a:lnTo>
                  <a:lnTo>
                    <a:pt x="608140" y="982505"/>
                  </a:lnTo>
                  <a:lnTo>
                    <a:pt x="602764" y="985437"/>
                  </a:lnTo>
                  <a:lnTo>
                    <a:pt x="598854" y="988696"/>
                  </a:lnTo>
                  <a:lnTo>
                    <a:pt x="598528" y="991465"/>
                  </a:lnTo>
                  <a:lnTo>
                    <a:pt x="594293" y="992117"/>
                  </a:lnTo>
                  <a:lnTo>
                    <a:pt x="592338" y="994072"/>
                  </a:lnTo>
                  <a:lnTo>
                    <a:pt x="592338" y="996841"/>
                  </a:lnTo>
                  <a:cubicBezTo>
                    <a:pt x="592338" y="996841"/>
                    <a:pt x="597551" y="998307"/>
                    <a:pt x="597551" y="998307"/>
                  </a:cubicBezTo>
                  <a:lnTo>
                    <a:pt x="613842" y="985600"/>
                  </a:lnTo>
                  <a:lnTo>
                    <a:pt x="622150" y="976152"/>
                  </a:lnTo>
                  <a:lnTo>
                    <a:pt x="634205" y="955788"/>
                  </a:lnTo>
                  <a:lnTo>
                    <a:pt x="638767" y="945525"/>
                  </a:lnTo>
                  <a:lnTo>
                    <a:pt x="643328" y="932329"/>
                  </a:lnTo>
                  <a:lnTo>
                    <a:pt x="654895" y="910173"/>
                  </a:lnTo>
                  <a:lnTo>
                    <a:pt x="666299" y="896489"/>
                  </a:lnTo>
                  <a:lnTo>
                    <a:pt x="668090" y="892416"/>
                  </a:lnTo>
                  <a:lnTo>
                    <a:pt x="666950" y="890950"/>
                  </a:lnTo>
                  <a:lnTo>
                    <a:pt x="667439" y="887529"/>
                  </a:lnTo>
                  <a:lnTo>
                    <a:pt x="669882" y="886877"/>
                  </a:lnTo>
                  <a:lnTo>
                    <a:pt x="671674" y="881176"/>
                  </a:lnTo>
                  <a:lnTo>
                    <a:pt x="674933" y="879221"/>
                  </a:lnTo>
                  <a:lnTo>
                    <a:pt x="673792" y="874659"/>
                  </a:lnTo>
                  <a:lnTo>
                    <a:pt x="674933" y="871401"/>
                  </a:lnTo>
                  <a:lnTo>
                    <a:pt x="673792" y="869935"/>
                  </a:lnTo>
                  <a:lnTo>
                    <a:pt x="671837" y="868306"/>
                  </a:lnTo>
                  <a:lnTo>
                    <a:pt x="672163" y="863093"/>
                  </a:lnTo>
                  <a:lnTo>
                    <a:pt x="667113" y="856088"/>
                  </a:lnTo>
                  <a:lnTo>
                    <a:pt x="667113" y="852992"/>
                  </a:lnTo>
                  <a:lnTo>
                    <a:pt x="668090" y="849897"/>
                  </a:lnTo>
                  <a:lnTo>
                    <a:pt x="667113" y="846639"/>
                  </a:lnTo>
                  <a:lnTo>
                    <a:pt x="665484" y="839308"/>
                  </a:lnTo>
                  <a:lnTo>
                    <a:pt x="662877" y="831488"/>
                  </a:lnTo>
                  <a:lnTo>
                    <a:pt x="664832" y="829696"/>
                  </a:lnTo>
                  <a:lnTo>
                    <a:pt x="671349" y="828393"/>
                  </a:lnTo>
                  <a:lnTo>
                    <a:pt x="669720" y="824157"/>
                  </a:lnTo>
                  <a:lnTo>
                    <a:pt x="666624" y="822365"/>
                  </a:lnTo>
                  <a:lnTo>
                    <a:pt x="672652" y="820899"/>
                  </a:lnTo>
                  <a:lnTo>
                    <a:pt x="672652" y="816012"/>
                  </a:lnTo>
                  <a:cubicBezTo>
                    <a:pt x="672652" y="816012"/>
                    <a:pt x="666624" y="813242"/>
                    <a:pt x="666624" y="813242"/>
                  </a:cubicBezTo>
                  <a:lnTo>
                    <a:pt x="671837" y="811776"/>
                  </a:lnTo>
                  <a:lnTo>
                    <a:pt x="675096" y="807052"/>
                  </a:lnTo>
                  <a:lnTo>
                    <a:pt x="677702" y="809007"/>
                  </a:lnTo>
                  <a:lnTo>
                    <a:pt x="685848" y="801513"/>
                  </a:lnTo>
                  <a:lnTo>
                    <a:pt x="690572" y="798418"/>
                  </a:lnTo>
                  <a:lnTo>
                    <a:pt x="690572" y="795811"/>
                  </a:lnTo>
                  <a:cubicBezTo>
                    <a:pt x="690572" y="795811"/>
                    <a:pt x="697251" y="789946"/>
                    <a:pt x="697251" y="789946"/>
                  </a:cubicBezTo>
                  <a:lnTo>
                    <a:pt x="705234" y="784733"/>
                  </a:lnTo>
                  <a:lnTo>
                    <a:pt x="715660" y="772678"/>
                  </a:lnTo>
                  <a:lnTo>
                    <a:pt x="724946" y="771538"/>
                  </a:lnTo>
                  <a:lnTo>
                    <a:pt x="729996" y="766813"/>
                  </a:lnTo>
                  <a:lnTo>
                    <a:pt x="735535" y="762415"/>
                  </a:lnTo>
                  <a:lnTo>
                    <a:pt x="740748" y="762415"/>
                  </a:lnTo>
                  <a:lnTo>
                    <a:pt x="744006" y="765184"/>
                  </a:lnTo>
                  <a:lnTo>
                    <a:pt x="747916" y="766162"/>
                  </a:lnTo>
                  <a:lnTo>
                    <a:pt x="747916" y="762415"/>
                  </a:lnTo>
                  <a:cubicBezTo>
                    <a:pt x="747916" y="762415"/>
                    <a:pt x="751989" y="755572"/>
                    <a:pt x="751989" y="755572"/>
                  </a:cubicBezTo>
                  <a:lnTo>
                    <a:pt x="762904" y="748730"/>
                  </a:lnTo>
                  <a:lnTo>
                    <a:pt x="767139" y="747427"/>
                  </a:lnTo>
                  <a:lnTo>
                    <a:pt x="767139" y="745472"/>
                  </a:lnTo>
                  <a:lnTo>
                    <a:pt x="764533" y="743843"/>
                  </a:lnTo>
                  <a:lnTo>
                    <a:pt x="761112" y="743029"/>
                  </a:lnTo>
                  <a:lnTo>
                    <a:pt x="759482" y="739933"/>
                  </a:lnTo>
                  <a:lnTo>
                    <a:pt x="763392" y="738956"/>
                  </a:lnTo>
                  <a:lnTo>
                    <a:pt x="770072" y="734883"/>
                  </a:lnTo>
                  <a:lnTo>
                    <a:pt x="773981" y="736023"/>
                  </a:lnTo>
                  <a:lnTo>
                    <a:pt x="778380" y="735698"/>
                  </a:lnTo>
                  <a:lnTo>
                    <a:pt x="781475" y="733254"/>
                  </a:lnTo>
                  <a:lnTo>
                    <a:pt x="785874" y="733580"/>
                  </a:lnTo>
                  <a:lnTo>
                    <a:pt x="785548" y="735535"/>
                  </a:lnTo>
                  <a:lnTo>
                    <a:pt x="779357" y="739119"/>
                  </a:lnTo>
                  <a:lnTo>
                    <a:pt x="772841" y="740422"/>
                  </a:lnTo>
                  <a:lnTo>
                    <a:pt x="771538" y="741888"/>
                  </a:lnTo>
                  <a:lnTo>
                    <a:pt x="773656" y="743517"/>
                  </a:lnTo>
                  <a:lnTo>
                    <a:pt x="783593" y="739771"/>
                  </a:lnTo>
                  <a:lnTo>
                    <a:pt x="795485" y="735046"/>
                  </a:lnTo>
                  <a:lnTo>
                    <a:pt x="794508" y="733091"/>
                  </a:lnTo>
                  <a:lnTo>
                    <a:pt x="797603" y="730485"/>
                  </a:lnTo>
                  <a:lnTo>
                    <a:pt x="800536" y="730973"/>
                  </a:lnTo>
                  <a:lnTo>
                    <a:pt x="799558" y="733906"/>
                  </a:lnTo>
                  <a:cubicBezTo>
                    <a:pt x="799558" y="733906"/>
                    <a:pt x="799884" y="738141"/>
                    <a:pt x="800210" y="738304"/>
                  </a:cubicBezTo>
                  <a:cubicBezTo>
                    <a:pt x="800699" y="738467"/>
                    <a:pt x="807704" y="739445"/>
                    <a:pt x="807704" y="739445"/>
                  </a:cubicBezTo>
                  <a:lnTo>
                    <a:pt x="811776" y="737164"/>
                  </a:lnTo>
                  <a:lnTo>
                    <a:pt x="818781" y="737164"/>
                  </a:lnTo>
                  <a:lnTo>
                    <a:pt x="827253" y="738141"/>
                  </a:lnTo>
                  <a:lnTo>
                    <a:pt x="832466" y="734720"/>
                  </a:lnTo>
                  <a:lnTo>
                    <a:pt x="832466" y="732114"/>
                  </a:lnTo>
                  <a:cubicBezTo>
                    <a:pt x="832466" y="732114"/>
                    <a:pt x="831325" y="730810"/>
                    <a:pt x="831325" y="730810"/>
                  </a:cubicBezTo>
                  <a:lnTo>
                    <a:pt x="832140" y="728204"/>
                  </a:lnTo>
                  <a:lnTo>
                    <a:pt x="843707" y="720384"/>
                  </a:lnTo>
                  <a:lnTo>
                    <a:pt x="853318" y="716963"/>
                  </a:lnTo>
                  <a:lnTo>
                    <a:pt x="858368" y="713868"/>
                  </a:lnTo>
                  <a:lnTo>
                    <a:pt x="859835" y="710772"/>
                  </a:lnTo>
                  <a:lnTo>
                    <a:pt x="858531" y="708818"/>
                  </a:lnTo>
                  <a:lnTo>
                    <a:pt x="854296" y="699043"/>
                  </a:lnTo>
                  <a:lnTo>
                    <a:pt x="857391" y="692364"/>
                  </a:lnTo>
                  <a:lnTo>
                    <a:pt x="860975" y="687965"/>
                  </a:lnTo>
                  <a:lnTo>
                    <a:pt x="860975" y="683078"/>
                  </a:lnTo>
                  <a:cubicBezTo>
                    <a:pt x="860975" y="683078"/>
                    <a:pt x="863581" y="681123"/>
                    <a:pt x="863581" y="681123"/>
                  </a:cubicBezTo>
                  <a:lnTo>
                    <a:pt x="867817" y="678191"/>
                  </a:lnTo>
                  <a:lnTo>
                    <a:pt x="868795" y="672978"/>
                  </a:lnTo>
                  <a:lnTo>
                    <a:pt x="867491" y="672326"/>
                  </a:lnTo>
                  <a:lnTo>
                    <a:pt x="874659" y="660759"/>
                  </a:lnTo>
                  <a:lnTo>
                    <a:pt x="884434" y="649356"/>
                  </a:lnTo>
                  <a:lnTo>
                    <a:pt x="884434" y="644143"/>
                  </a:lnTo>
                  <a:cubicBezTo>
                    <a:pt x="884434" y="644143"/>
                    <a:pt x="882642" y="627852"/>
                    <a:pt x="882642" y="627852"/>
                  </a:cubicBezTo>
                  <a:lnTo>
                    <a:pt x="881013" y="624756"/>
                  </a:lnTo>
                  <a:lnTo>
                    <a:pt x="884108" y="614982"/>
                  </a:lnTo>
                  <a:lnTo>
                    <a:pt x="886715" y="611072"/>
                  </a:lnTo>
                  <a:lnTo>
                    <a:pt x="887203" y="607814"/>
                  </a:lnTo>
                  <a:lnTo>
                    <a:pt x="894697" y="601786"/>
                  </a:lnTo>
                  <a:lnTo>
                    <a:pt x="895838" y="598854"/>
                  </a:lnTo>
                  <a:lnTo>
                    <a:pt x="893882" y="589405"/>
                  </a:lnTo>
                  <a:lnTo>
                    <a:pt x="897955" y="578002"/>
                  </a:lnTo>
                  <a:lnTo>
                    <a:pt x="896815" y="569205"/>
                  </a:lnTo>
                  <a:lnTo>
                    <a:pt x="898281" y="562525"/>
                  </a:lnTo>
                  <a:lnTo>
                    <a:pt x="897955" y="558778"/>
                  </a:lnTo>
                  <a:lnTo>
                    <a:pt x="900236" y="549167"/>
                  </a:lnTo>
                  <a:lnTo>
                    <a:pt x="897630" y="514467"/>
                  </a:lnTo>
                  <a:lnTo>
                    <a:pt x="897630" y="508114"/>
                  </a:lnTo>
                  <a:cubicBezTo>
                    <a:pt x="897630" y="508114"/>
                    <a:pt x="899584" y="503389"/>
                    <a:pt x="899584" y="503389"/>
                  </a:cubicBezTo>
                  <a:lnTo>
                    <a:pt x="899584" y="498828"/>
                  </a:lnTo>
                  <a:cubicBezTo>
                    <a:pt x="899584" y="498828"/>
                    <a:pt x="897466" y="501272"/>
                    <a:pt x="897466" y="501272"/>
                  </a:cubicBezTo>
                  <a:lnTo>
                    <a:pt x="893394" y="498339"/>
                  </a:lnTo>
                  <a:lnTo>
                    <a:pt x="893394" y="495407"/>
                  </a:lnTo>
                  <a:lnTo>
                    <a:pt x="897141" y="489705"/>
                  </a:lnTo>
                  <a:lnTo>
                    <a:pt x="896163" y="484003"/>
                  </a:lnTo>
                  <a:lnTo>
                    <a:pt x="897141" y="480093"/>
                  </a:lnTo>
                  <a:lnTo>
                    <a:pt x="900399" y="479116"/>
                  </a:lnTo>
                  <a:lnTo>
                    <a:pt x="901214" y="473088"/>
                  </a:lnTo>
                  <a:lnTo>
                    <a:pt x="897792" y="467386"/>
                  </a:lnTo>
                  <a:lnTo>
                    <a:pt x="890950" y="464291"/>
                  </a:lnTo>
                  <a:lnTo>
                    <a:pt x="892742" y="463476"/>
                  </a:lnTo>
                  <a:lnTo>
                    <a:pt x="893720" y="461359"/>
                  </a:lnTo>
                  <a:lnTo>
                    <a:pt x="895023" y="464128"/>
                  </a:lnTo>
                  <a:lnTo>
                    <a:pt x="899096" y="466572"/>
                  </a:lnTo>
                  <a:lnTo>
                    <a:pt x="902843" y="467875"/>
                  </a:lnTo>
                  <a:lnTo>
                    <a:pt x="904309" y="462336"/>
                  </a:lnTo>
                  <a:lnTo>
                    <a:pt x="907730" y="462336"/>
                  </a:lnTo>
                  <a:cubicBezTo>
                    <a:pt x="907730" y="462336"/>
                    <a:pt x="909196" y="465594"/>
                    <a:pt x="909196" y="465594"/>
                  </a:cubicBezTo>
                  <a:lnTo>
                    <a:pt x="911803" y="466898"/>
                  </a:lnTo>
                  <a:lnTo>
                    <a:pt x="909033" y="470807"/>
                  </a:lnTo>
                  <a:lnTo>
                    <a:pt x="905286" y="473577"/>
                  </a:lnTo>
                  <a:lnTo>
                    <a:pt x="904309" y="476672"/>
                  </a:lnTo>
                  <a:lnTo>
                    <a:pt x="906915" y="476672"/>
                  </a:lnTo>
                  <a:cubicBezTo>
                    <a:pt x="906915" y="476672"/>
                    <a:pt x="911965" y="472273"/>
                    <a:pt x="911965" y="472273"/>
                  </a:cubicBezTo>
                  <a:lnTo>
                    <a:pt x="918808" y="468853"/>
                  </a:lnTo>
                  <a:lnTo>
                    <a:pt x="927442" y="455657"/>
                  </a:lnTo>
                  <a:lnTo>
                    <a:pt x="931352" y="445882"/>
                  </a:lnTo>
                  <a:lnTo>
                    <a:pt x="932655" y="440018"/>
                  </a:lnTo>
                  <a:lnTo>
                    <a:pt x="935913" y="437085"/>
                  </a:lnTo>
                  <a:lnTo>
                    <a:pt x="939171" y="428288"/>
                  </a:lnTo>
                  <a:lnTo>
                    <a:pt x="942918" y="420794"/>
                  </a:lnTo>
                  <a:lnTo>
                    <a:pt x="956440" y="411508"/>
                  </a:lnTo>
                  <a:lnTo>
                    <a:pt x="958069" y="407110"/>
                  </a:lnTo>
                  <a:lnTo>
                    <a:pt x="962141" y="405807"/>
                  </a:lnTo>
                  <a:lnTo>
                    <a:pt x="965074" y="401082"/>
                  </a:lnTo>
                  <a:lnTo>
                    <a:pt x="976478" y="390819"/>
                  </a:lnTo>
                  <a:lnTo>
                    <a:pt x="986578" y="377135"/>
                  </a:lnTo>
                  <a:lnTo>
                    <a:pt x="989184" y="373388"/>
                  </a:lnTo>
                  <a:lnTo>
                    <a:pt x="995375" y="359540"/>
                  </a:lnTo>
                  <a:lnTo>
                    <a:pt x="997004" y="353513"/>
                  </a:lnTo>
                  <a:lnTo>
                    <a:pt x="1000099" y="349114"/>
                  </a:lnTo>
                  <a:lnTo>
                    <a:pt x="1000099" y="344716"/>
                  </a:lnTo>
                  <a:lnTo>
                    <a:pt x="996841" y="339665"/>
                  </a:lnTo>
                  <a:lnTo>
                    <a:pt x="998144" y="334452"/>
                  </a:lnTo>
                  <a:lnTo>
                    <a:pt x="1001077" y="331683"/>
                  </a:lnTo>
                  <a:lnTo>
                    <a:pt x="1000262" y="318976"/>
                  </a:lnTo>
                  <a:lnTo>
                    <a:pt x="997330" y="317184"/>
                  </a:lnTo>
                  <a:lnTo>
                    <a:pt x="996190" y="310994"/>
                  </a:lnTo>
                  <a:lnTo>
                    <a:pt x="987392" y="291444"/>
                  </a:lnTo>
                  <a:lnTo>
                    <a:pt x="987392" y="284765"/>
                  </a:lnTo>
                  <a:lnTo>
                    <a:pt x="985926" y="276620"/>
                  </a:lnTo>
                  <a:lnTo>
                    <a:pt x="969309" y="269289"/>
                  </a:lnTo>
                  <a:lnTo>
                    <a:pt x="959698" y="269615"/>
                  </a:lnTo>
                  <a:lnTo>
                    <a:pt x="952693" y="272547"/>
                  </a:lnTo>
                  <a:lnTo>
                    <a:pt x="947968" y="265868"/>
                  </a:lnTo>
                  <a:lnTo>
                    <a:pt x="942430" y="264727"/>
                  </a:lnTo>
                  <a:lnTo>
                    <a:pt x="936890" y="258537"/>
                  </a:lnTo>
                  <a:lnTo>
                    <a:pt x="929560" y="254790"/>
                  </a:lnTo>
                  <a:lnTo>
                    <a:pt x="924347" y="253975"/>
                  </a:lnTo>
                  <a:lnTo>
                    <a:pt x="912943" y="241757"/>
                  </a:lnTo>
                  <a:lnTo>
                    <a:pt x="903657" y="228887"/>
                  </a:lnTo>
                  <a:lnTo>
                    <a:pt x="899258" y="227747"/>
                  </a:lnTo>
                  <a:lnTo>
                    <a:pt x="892905" y="221882"/>
                  </a:lnTo>
                  <a:lnTo>
                    <a:pt x="887366" y="222208"/>
                  </a:lnTo>
                  <a:lnTo>
                    <a:pt x="871890" y="211130"/>
                  </a:lnTo>
                  <a:lnTo>
                    <a:pt x="864885" y="211130"/>
                  </a:lnTo>
                  <a:lnTo>
                    <a:pt x="857065" y="207872"/>
                  </a:lnTo>
                  <a:lnTo>
                    <a:pt x="852341" y="210479"/>
                  </a:lnTo>
                  <a:lnTo>
                    <a:pt x="845010" y="210479"/>
                  </a:lnTo>
                  <a:lnTo>
                    <a:pt x="840611" y="208198"/>
                  </a:lnTo>
                  <a:lnTo>
                    <a:pt x="835887" y="210479"/>
                  </a:lnTo>
                  <a:lnTo>
                    <a:pt x="833606" y="213737"/>
                  </a:lnTo>
                  <a:lnTo>
                    <a:pt x="830674" y="210804"/>
                  </a:lnTo>
                  <a:lnTo>
                    <a:pt x="823669" y="205591"/>
                  </a:lnTo>
                  <a:lnTo>
                    <a:pt x="822528" y="207872"/>
                  </a:lnTo>
                  <a:lnTo>
                    <a:pt x="819596" y="205265"/>
                  </a:lnTo>
                  <a:lnTo>
                    <a:pt x="818456" y="208524"/>
                  </a:lnTo>
                  <a:lnTo>
                    <a:pt x="818456" y="211130"/>
                  </a:lnTo>
                  <a:lnTo>
                    <a:pt x="814383" y="207872"/>
                  </a:lnTo>
                  <a:lnTo>
                    <a:pt x="813731" y="205265"/>
                  </a:lnTo>
                  <a:lnTo>
                    <a:pt x="810636" y="204451"/>
                  </a:lnTo>
                  <a:lnTo>
                    <a:pt x="811614" y="207057"/>
                  </a:lnTo>
                  <a:lnTo>
                    <a:pt x="810147" y="208035"/>
                  </a:lnTo>
                  <a:lnTo>
                    <a:pt x="802653" y="205103"/>
                  </a:lnTo>
                  <a:lnTo>
                    <a:pt x="800210" y="205591"/>
                  </a:lnTo>
                  <a:lnTo>
                    <a:pt x="793856" y="204451"/>
                  </a:lnTo>
                  <a:lnTo>
                    <a:pt x="779846" y="197772"/>
                  </a:lnTo>
                  <a:lnTo>
                    <a:pt x="774470" y="198098"/>
                  </a:lnTo>
                  <a:lnTo>
                    <a:pt x="774144" y="199727"/>
                  </a:lnTo>
                  <a:lnTo>
                    <a:pt x="775285" y="202659"/>
                  </a:lnTo>
                  <a:lnTo>
                    <a:pt x="774144" y="203962"/>
                  </a:lnTo>
                  <a:lnTo>
                    <a:pt x="771212" y="202333"/>
                  </a:lnTo>
                  <a:lnTo>
                    <a:pt x="769909" y="202985"/>
                  </a:lnTo>
                  <a:lnTo>
                    <a:pt x="769094" y="205103"/>
                  </a:lnTo>
                  <a:lnTo>
                    <a:pt x="764207" y="207383"/>
                  </a:lnTo>
                  <a:lnTo>
                    <a:pt x="762415" y="209990"/>
                  </a:lnTo>
                  <a:lnTo>
                    <a:pt x="761763" y="216017"/>
                  </a:lnTo>
                  <a:lnTo>
                    <a:pt x="759157" y="211619"/>
                  </a:lnTo>
                  <a:lnTo>
                    <a:pt x="757690" y="207709"/>
                  </a:lnTo>
                  <a:lnTo>
                    <a:pt x="755084" y="208849"/>
                  </a:lnTo>
                  <a:lnTo>
                    <a:pt x="755410" y="213574"/>
                  </a:lnTo>
                  <a:lnTo>
                    <a:pt x="751174" y="221719"/>
                  </a:lnTo>
                  <a:lnTo>
                    <a:pt x="751174" y="228562"/>
                  </a:lnTo>
                  <a:lnTo>
                    <a:pt x="749708" y="222045"/>
                  </a:lnTo>
                  <a:lnTo>
                    <a:pt x="751337" y="215529"/>
                  </a:lnTo>
                  <a:lnTo>
                    <a:pt x="750360" y="209827"/>
                  </a:lnTo>
                  <a:lnTo>
                    <a:pt x="752966" y="201519"/>
                  </a:lnTo>
                  <a:lnTo>
                    <a:pt x="755247" y="199564"/>
                  </a:lnTo>
                  <a:lnTo>
                    <a:pt x="753455" y="197935"/>
                  </a:lnTo>
                  <a:lnTo>
                    <a:pt x="749382" y="197935"/>
                  </a:lnTo>
                  <a:cubicBezTo>
                    <a:pt x="749382" y="197935"/>
                    <a:pt x="754758" y="191744"/>
                    <a:pt x="754758" y="191744"/>
                  </a:cubicBezTo>
                  <a:lnTo>
                    <a:pt x="747753" y="184250"/>
                  </a:lnTo>
                  <a:lnTo>
                    <a:pt x="743680" y="177734"/>
                  </a:lnTo>
                  <a:lnTo>
                    <a:pt x="739771" y="178060"/>
                  </a:lnTo>
                  <a:lnTo>
                    <a:pt x="734069" y="177082"/>
                  </a:lnTo>
                  <a:lnTo>
                    <a:pt x="730810" y="181318"/>
                  </a:lnTo>
                  <a:lnTo>
                    <a:pt x="727552" y="182947"/>
                  </a:lnTo>
                  <a:lnTo>
                    <a:pt x="725923" y="179037"/>
                  </a:lnTo>
                  <a:lnTo>
                    <a:pt x="723480" y="177571"/>
                  </a:lnTo>
                  <a:lnTo>
                    <a:pt x="722339" y="173824"/>
                  </a:lnTo>
                  <a:lnTo>
                    <a:pt x="719407" y="171380"/>
                  </a:lnTo>
                  <a:lnTo>
                    <a:pt x="715334" y="171706"/>
                  </a:lnTo>
                  <a:lnTo>
                    <a:pt x="713379" y="169100"/>
                  </a:lnTo>
                  <a:lnTo>
                    <a:pt x="709958" y="167796"/>
                  </a:lnTo>
                  <a:lnTo>
                    <a:pt x="708003" y="170403"/>
                  </a:lnTo>
                  <a:lnTo>
                    <a:pt x="708003" y="168122"/>
                  </a:lnTo>
                  <a:lnTo>
                    <a:pt x="705234" y="166493"/>
                  </a:lnTo>
                  <a:lnTo>
                    <a:pt x="703442" y="162746"/>
                  </a:lnTo>
                  <a:lnTo>
                    <a:pt x="700347" y="164049"/>
                  </a:lnTo>
                  <a:lnTo>
                    <a:pt x="694645" y="162420"/>
                  </a:lnTo>
                  <a:lnTo>
                    <a:pt x="687151" y="158022"/>
                  </a:lnTo>
                  <a:lnTo>
                    <a:pt x="684870" y="157696"/>
                  </a:lnTo>
                  <a:lnTo>
                    <a:pt x="683567" y="159977"/>
                  </a:lnTo>
                  <a:lnTo>
                    <a:pt x="679006" y="156881"/>
                  </a:lnTo>
                  <a:lnTo>
                    <a:pt x="675747" y="157207"/>
                  </a:lnTo>
                  <a:lnTo>
                    <a:pt x="675096" y="160303"/>
                  </a:lnTo>
                  <a:lnTo>
                    <a:pt x="672815" y="160303"/>
                  </a:lnTo>
                  <a:cubicBezTo>
                    <a:pt x="672815" y="160303"/>
                    <a:pt x="671512" y="157044"/>
                    <a:pt x="671512" y="157044"/>
                  </a:cubicBezTo>
                  <a:lnTo>
                    <a:pt x="665647" y="157044"/>
                  </a:lnTo>
                  <a:cubicBezTo>
                    <a:pt x="665647" y="157044"/>
                    <a:pt x="660597" y="159651"/>
                    <a:pt x="660597" y="159651"/>
                  </a:cubicBezTo>
                  <a:lnTo>
                    <a:pt x="657827" y="164701"/>
                  </a:lnTo>
                  <a:lnTo>
                    <a:pt x="658153" y="167633"/>
                  </a:lnTo>
                  <a:lnTo>
                    <a:pt x="652614" y="173172"/>
                  </a:lnTo>
                  <a:lnTo>
                    <a:pt x="645446" y="177408"/>
                  </a:lnTo>
                  <a:lnTo>
                    <a:pt x="636160" y="182784"/>
                  </a:lnTo>
                  <a:lnTo>
                    <a:pt x="631762" y="188323"/>
                  </a:lnTo>
                  <a:lnTo>
                    <a:pt x="628992" y="195491"/>
                  </a:lnTo>
                  <a:lnTo>
                    <a:pt x="627852" y="202496"/>
                  </a:lnTo>
                  <a:lnTo>
                    <a:pt x="625408" y="206243"/>
                  </a:lnTo>
                  <a:lnTo>
                    <a:pt x="621173" y="210641"/>
                  </a:lnTo>
                  <a:lnTo>
                    <a:pt x="621499" y="213737"/>
                  </a:lnTo>
                  <a:lnTo>
                    <a:pt x="622313" y="218950"/>
                  </a:lnTo>
                  <a:lnTo>
                    <a:pt x="621336" y="228562"/>
                  </a:lnTo>
                  <a:lnTo>
                    <a:pt x="619707" y="222697"/>
                  </a:lnTo>
                  <a:lnTo>
                    <a:pt x="616285" y="216995"/>
                  </a:lnTo>
                  <a:lnTo>
                    <a:pt x="616285" y="212759"/>
                  </a:lnTo>
                  <a:cubicBezTo>
                    <a:pt x="616285" y="212759"/>
                    <a:pt x="620032" y="208361"/>
                    <a:pt x="620032" y="208361"/>
                  </a:cubicBezTo>
                  <a:lnTo>
                    <a:pt x="624105" y="204940"/>
                  </a:lnTo>
                  <a:lnTo>
                    <a:pt x="623453" y="197935"/>
                  </a:lnTo>
                  <a:lnTo>
                    <a:pt x="625571" y="192070"/>
                  </a:lnTo>
                  <a:lnTo>
                    <a:pt x="625082" y="188974"/>
                  </a:lnTo>
                  <a:lnTo>
                    <a:pt x="621987" y="188974"/>
                  </a:lnTo>
                  <a:cubicBezTo>
                    <a:pt x="621987" y="188974"/>
                    <a:pt x="615959" y="190930"/>
                    <a:pt x="615959" y="190930"/>
                  </a:cubicBezTo>
                  <a:lnTo>
                    <a:pt x="609443" y="188974"/>
                  </a:lnTo>
                  <a:lnTo>
                    <a:pt x="603741" y="189300"/>
                  </a:lnTo>
                  <a:lnTo>
                    <a:pt x="599180" y="190441"/>
                  </a:lnTo>
                  <a:lnTo>
                    <a:pt x="595922" y="187671"/>
                  </a:lnTo>
                  <a:lnTo>
                    <a:pt x="599669" y="188160"/>
                  </a:lnTo>
                  <a:lnTo>
                    <a:pt x="604067" y="184902"/>
                  </a:lnTo>
                  <a:lnTo>
                    <a:pt x="608629" y="183924"/>
                  </a:lnTo>
                  <a:lnTo>
                    <a:pt x="616285" y="185390"/>
                  </a:lnTo>
                  <a:lnTo>
                    <a:pt x="620684" y="184413"/>
                  </a:lnTo>
                  <a:lnTo>
                    <a:pt x="624757" y="179363"/>
                  </a:lnTo>
                  <a:lnTo>
                    <a:pt x="626549" y="179363"/>
                  </a:lnTo>
                  <a:cubicBezTo>
                    <a:pt x="626549" y="179363"/>
                    <a:pt x="628992" y="181155"/>
                    <a:pt x="628992" y="181155"/>
                  </a:cubicBezTo>
                  <a:lnTo>
                    <a:pt x="631599" y="180340"/>
                  </a:lnTo>
                  <a:lnTo>
                    <a:pt x="635997" y="177734"/>
                  </a:lnTo>
                  <a:lnTo>
                    <a:pt x="643491" y="175127"/>
                  </a:lnTo>
                  <a:lnTo>
                    <a:pt x="643491" y="169263"/>
                  </a:lnTo>
                  <a:lnTo>
                    <a:pt x="650171" y="161443"/>
                  </a:lnTo>
                  <a:lnTo>
                    <a:pt x="650171" y="155904"/>
                  </a:lnTo>
                  <a:lnTo>
                    <a:pt x="652777" y="152157"/>
                  </a:lnTo>
                  <a:lnTo>
                    <a:pt x="653103" y="147758"/>
                  </a:lnTo>
                  <a:lnTo>
                    <a:pt x="646098" y="146292"/>
                  </a:lnTo>
                  <a:lnTo>
                    <a:pt x="640559" y="141894"/>
                  </a:lnTo>
                  <a:lnTo>
                    <a:pt x="635346" y="141894"/>
                  </a:lnTo>
                  <a:lnTo>
                    <a:pt x="628015" y="146292"/>
                  </a:lnTo>
                  <a:lnTo>
                    <a:pt x="621661" y="146618"/>
                  </a:lnTo>
                  <a:lnTo>
                    <a:pt x="612864" y="142871"/>
                  </a:lnTo>
                  <a:lnTo>
                    <a:pt x="603253" y="142057"/>
                  </a:lnTo>
                  <a:lnTo>
                    <a:pt x="596248" y="149388"/>
                  </a:lnTo>
                  <a:lnTo>
                    <a:pt x="596573" y="152320"/>
                  </a:lnTo>
                  <a:lnTo>
                    <a:pt x="598854" y="153949"/>
                  </a:lnTo>
                  <a:lnTo>
                    <a:pt x="600320" y="156393"/>
                  </a:lnTo>
                  <a:lnTo>
                    <a:pt x="596899" y="156719"/>
                  </a:lnTo>
                  <a:lnTo>
                    <a:pt x="594944" y="157859"/>
                  </a:lnTo>
                  <a:lnTo>
                    <a:pt x="593152" y="162257"/>
                  </a:lnTo>
                  <a:lnTo>
                    <a:pt x="591849" y="158348"/>
                  </a:lnTo>
                  <a:lnTo>
                    <a:pt x="589405" y="157370"/>
                  </a:lnTo>
                  <a:lnTo>
                    <a:pt x="583866" y="159651"/>
                  </a:lnTo>
                  <a:lnTo>
                    <a:pt x="578002" y="167959"/>
                  </a:lnTo>
                  <a:lnTo>
                    <a:pt x="570019" y="176919"/>
                  </a:lnTo>
                  <a:lnTo>
                    <a:pt x="575884" y="168611"/>
                  </a:lnTo>
                  <a:lnTo>
                    <a:pt x="575884" y="163235"/>
                  </a:lnTo>
                  <a:cubicBezTo>
                    <a:pt x="575884" y="163235"/>
                    <a:pt x="577024" y="160303"/>
                    <a:pt x="577024" y="160303"/>
                  </a:cubicBezTo>
                  <a:lnTo>
                    <a:pt x="577513" y="156556"/>
                  </a:lnTo>
                  <a:lnTo>
                    <a:pt x="574907" y="156556"/>
                  </a:lnTo>
                  <a:lnTo>
                    <a:pt x="569693" y="160791"/>
                  </a:lnTo>
                  <a:lnTo>
                    <a:pt x="567087" y="166656"/>
                  </a:lnTo>
                  <a:lnTo>
                    <a:pt x="564480" y="173335"/>
                  </a:lnTo>
                  <a:lnTo>
                    <a:pt x="560245" y="176105"/>
                  </a:lnTo>
                  <a:lnTo>
                    <a:pt x="564317" y="168448"/>
                  </a:lnTo>
                  <a:lnTo>
                    <a:pt x="565132" y="162420"/>
                  </a:lnTo>
                  <a:lnTo>
                    <a:pt x="574092" y="151180"/>
                  </a:lnTo>
                  <a:lnTo>
                    <a:pt x="576373" y="143686"/>
                  </a:lnTo>
                  <a:lnTo>
                    <a:pt x="579631" y="139124"/>
                  </a:lnTo>
                  <a:lnTo>
                    <a:pt x="584681" y="136355"/>
                  </a:lnTo>
                  <a:lnTo>
                    <a:pt x="590057" y="132445"/>
                  </a:lnTo>
                  <a:lnTo>
                    <a:pt x="593967" y="130816"/>
                  </a:lnTo>
                  <a:lnTo>
                    <a:pt x="598691" y="123648"/>
                  </a:lnTo>
                  <a:lnTo>
                    <a:pt x="610747" y="111430"/>
                  </a:lnTo>
                  <a:lnTo>
                    <a:pt x="611561" y="108498"/>
                  </a:lnTo>
                  <a:lnTo>
                    <a:pt x="614005" y="106706"/>
                  </a:lnTo>
                  <a:lnTo>
                    <a:pt x="611398" y="103447"/>
                  </a:lnTo>
                  <a:lnTo>
                    <a:pt x="612375" y="100026"/>
                  </a:lnTo>
                  <a:lnTo>
                    <a:pt x="614005" y="98560"/>
                  </a:lnTo>
                  <a:lnTo>
                    <a:pt x="614005" y="93510"/>
                  </a:lnTo>
                  <a:cubicBezTo>
                    <a:pt x="614005" y="93510"/>
                    <a:pt x="609443" y="90089"/>
                    <a:pt x="609443" y="90089"/>
                  </a:cubicBezTo>
                  <a:lnTo>
                    <a:pt x="604067" y="90415"/>
                  </a:lnTo>
                  <a:lnTo>
                    <a:pt x="602438" y="92207"/>
                  </a:lnTo>
                  <a:lnTo>
                    <a:pt x="599994" y="88134"/>
                  </a:lnTo>
                  <a:lnTo>
                    <a:pt x="596736" y="78522"/>
                  </a:lnTo>
                  <a:lnTo>
                    <a:pt x="591034" y="64349"/>
                  </a:lnTo>
                  <a:lnTo>
                    <a:pt x="585821" y="57018"/>
                  </a:lnTo>
                  <a:lnTo>
                    <a:pt x="582074" y="47244"/>
                  </a:lnTo>
                  <a:lnTo>
                    <a:pt x="582074" y="41868"/>
                  </a:lnTo>
                  <a:cubicBezTo>
                    <a:pt x="582074" y="41868"/>
                    <a:pt x="580934" y="36491"/>
                    <a:pt x="580934" y="36491"/>
                  </a:cubicBezTo>
                  <a:close/>
                </a:path>
              </a:pathLst>
            </a:custGeom>
            <a:solidFill>
              <a:schemeClr val="bg2"/>
            </a:solidFill>
            <a:ln w="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1" name="Forma livre: Forma 30">
              <a:extLst>
                <a:ext uri="{FF2B5EF4-FFF2-40B4-BE49-F238E27FC236}">
                  <a16:creationId xmlns:a16="http://schemas.microsoft.com/office/drawing/2014/main" id="{A0B5A440-3772-083E-F390-1502756A674E}"/>
                </a:ext>
              </a:extLst>
            </p:cNvPr>
            <p:cNvSpPr/>
            <p:nvPr/>
          </p:nvSpPr>
          <p:spPr>
            <a:xfrm>
              <a:off x="4569028" y="4808888"/>
              <a:ext cx="74410" cy="107744"/>
            </a:xfrm>
            <a:custGeom>
              <a:avLst/>
              <a:gdLst>
                <a:gd name="connsiteX0" fmla="*/ 977 w 72005"/>
                <a:gd name="connsiteY0" fmla="*/ 82758 h 104262"/>
                <a:gd name="connsiteX1" fmla="*/ 1792 w 72005"/>
                <a:gd name="connsiteY1" fmla="*/ 85039 h 104262"/>
                <a:gd name="connsiteX2" fmla="*/ 3421 w 72005"/>
                <a:gd name="connsiteY2" fmla="*/ 89274 h 104262"/>
                <a:gd name="connsiteX3" fmla="*/ 4887 w 72005"/>
                <a:gd name="connsiteY3" fmla="*/ 90415 h 104262"/>
                <a:gd name="connsiteX4" fmla="*/ 4724 w 72005"/>
                <a:gd name="connsiteY4" fmla="*/ 93021 h 104262"/>
                <a:gd name="connsiteX5" fmla="*/ 8308 w 72005"/>
                <a:gd name="connsiteY5" fmla="*/ 96931 h 104262"/>
                <a:gd name="connsiteX6" fmla="*/ 12707 w 72005"/>
                <a:gd name="connsiteY6" fmla="*/ 97583 h 104262"/>
                <a:gd name="connsiteX7" fmla="*/ 15476 w 72005"/>
                <a:gd name="connsiteY7" fmla="*/ 94650 h 104262"/>
                <a:gd name="connsiteX8" fmla="*/ 19060 w 72005"/>
                <a:gd name="connsiteY8" fmla="*/ 93184 h 104262"/>
                <a:gd name="connsiteX9" fmla="*/ 21830 w 72005"/>
                <a:gd name="connsiteY9" fmla="*/ 93510 h 104262"/>
                <a:gd name="connsiteX10" fmla="*/ 22481 w 72005"/>
                <a:gd name="connsiteY10" fmla="*/ 95628 h 104262"/>
                <a:gd name="connsiteX11" fmla="*/ 24436 w 72005"/>
                <a:gd name="connsiteY11" fmla="*/ 96442 h 104262"/>
                <a:gd name="connsiteX12" fmla="*/ 24599 w 72005"/>
                <a:gd name="connsiteY12" fmla="*/ 103284 h 104262"/>
                <a:gd name="connsiteX13" fmla="*/ 27695 w 72005"/>
                <a:gd name="connsiteY13" fmla="*/ 104262 h 104262"/>
                <a:gd name="connsiteX14" fmla="*/ 32093 w 72005"/>
                <a:gd name="connsiteY14" fmla="*/ 100841 h 104262"/>
                <a:gd name="connsiteX15" fmla="*/ 33233 w 72005"/>
                <a:gd name="connsiteY15" fmla="*/ 96768 h 104262"/>
                <a:gd name="connsiteX16" fmla="*/ 35840 w 72005"/>
                <a:gd name="connsiteY16" fmla="*/ 94813 h 104262"/>
                <a:gd name="connsiteX17" fmla="*/ 40238 w 72005"/>
                <a:gd name="connsiteY17" fmla="*/ 93999 h 104262"/>
                <a:gd name="connsiteX18" fmla="*/ 43334 w 72005"/>
                <a:gd name="connsiteY18" fmla="*/ 87808 h 104262"/>
                <a:gd name="connsiteX19" fmla="*/ 47569 w 72005"/>
                <a:gd name="connsiteY19" fmla="*/ 81129 h 104262"/>
                <a:gd name="connsiteX20" fmla="*/ 52457 w 72005"/>
                <a:gd name="connsiteY20" fmla="*/ 70540 h 104262"/>
                <a:gd name="connsiteX21" fmla="*/ 52620 w 72005"/>
                <a:gd name="connsiteY21" fmla="*/ 65815 h 104262"/>
                <a:gd name="connsiteX22" fmla="*/ 59136 w 72005"/>
                <a:gd name="connsiteY22" fmla="*/ 57344 h 104262"/>
                <a:gd name="connsiteX23" fmla="*/ 65489 w 72005"/>
                <a:gd name="connsiteY23" fmla="*/ 49525 h 104262"/>
                <a:gd name="connsiteX24" fmla="*/ 67444 w 72005"/>
                <a:gd name="connsiteY24" fmla="*/ 46592 h 104262"/>
                <a:gd name="connsiteX25" fmla="*/ 67770 w 72005"/>
                <a:gd name="connsiteY25" fmla="*/ 46266 h 104262"/>
                <a:gd name="connsiteX26" fmla="*/ 72006 w 72005"/>
                <a:gd name="connsiteY26" fmla="*/ 40401 h 104262"/>
                <a:gd name="connsiteX27" fmla="*/ 71680 w 72005"/>
                <a:gd name="connsiteY27" fmla="*/ 34048 h 104262"/>
                <a:gd name="connsiteX28" fmla="*/ 67118 w 72005"/>
                <a:gd name="connsiteY28" fmla="*/ 28835 h 104262"/>
                <a:gd name="connsiteX29" fmla="*/ 64838 w 72005"/>
                <a:gd name="connsiteY29" fmla="*/ 31279 h 104262"/>
                <a:gd name="connsiteX30" fmla="*/ 61742 w 72005"/>
                <a:gd name="connsiteY30" fmla="*/ 28509 h 104262"/>
                <a:gd name="connsiteX31" fmla="*/ 61254 w 72005"/>
                <a:gd name="connsiteY31" fmla="*/ 24436 h 104262"/>
                <a:gd name="connsiteX32" fmla="*/ 52131 w 72005"/>
                <a:gd name="connsiteY32" fmla="*/ 14988 h 104262"/>
                <a:gd name="connsiteX33" fmla="*/ 49850 w 72005"/>
                <a:gd name="connsiteY33" fmla="*/ 14010 h 104262"/>
                <a:gd name="connsiteX34" fmla="*/ 43822 w 72005"/>
                <a:gd name="connsiteY34" fmla="*/ 8308 h 104262"/>
                <a:gd name="connsiteX35" fmla="*/ 29487 w 72005"/>
                <a:gd name="connsiteY35" fmla="*/ 4725 h 104262"/>
                <a:gd name="connsiteX36" fmla="*/ 23133 w 72005"/>
                <a:gd name="connsiteY36" fmla="*/ 815 h 104262"/>
                <a:gd name="connsiteX37" fmla="*/ 15476 w 72005"/>
                <a:gd name="connsiteY37" fmla="*/ 0 h 104262"/>
                <a:gd name="connsiteX38" fmla="*/ 10915 w 72005"/>
                <a:gd name="connsiteY38" fmla="*/ 3421 h 104262"/>
                <a:gd name="connsiteX39" fmla="*/ 6353 w 72005"/>
                <a:gd name="connsiteY39" fmla="*/ 6028 h 104262"/>
                <a:gd name="connsiteX40" fmla="*/ 6353 w 72005"/>
                <a:gd name="connsiteY40" fmla="*/ 5865 h 104262"/>
                <a:gd name="connsiteX41" fmla="*/ 6028 w 72005"/>
                <a:gd name="connsiteY41" fmla="*/ 6191 h 104262"/>
                <a:gd name="connsiteX42" fmla="*/ 4073 w 72005"/>
                <a:gd name="connsiteY42" fmla="*/ 8308 h 104262"/>
                <a:gd name="connsiteX43" fmla="*/ 0 w 72005"/>
                <a:gd name="connsiteY43" fmla="*/ 13847 h 104262"/>
                <a:gd name="connsiteX44" fmla="*/ 652 w 72005"/>
                <a:gd name="connsiteY44" fmla="*/ 20852 h 104262"/>
                <a:gd name="connsiteX45" fmla="*/ 2444 w 72005"/>
                <a:gd name="connsiteY45" fmla="*/ 25902 h 104262"/>
                <a:gd name="connsiteX46" fmla="*/ 1792 w 72005"/>
                <a:gd name="connsiteY46" fmla="*/ 31604 h 104262"/>
                <a:gd name="connsiteX47" fmla="*/ 1792 w 72005"/>
                <a:gd name="connsiteY47" fmla="*/ 35840 h 104262"/>
                <a:gd name="connsiteX48" fmla="*/ 6516 w 72005"/>
                <a:gd name="connsiteY48" fmla="*/ 38609 h 104262"/>
                <a:gd name="connsiteX49" fmla="*/ 8471 w 72005"/>
                <a:gd name="connsiteY49" fmla="*/ 42682 h 104262"/>
                <a:gd name="connsiteX50" fmla="*/ 11404 w 72005"/>
                <a:gd name="connsiteY50" fmla="*/ 47407 h 104262"/>
                <a:gd name="connsiteX51" fmla="*/ 12381 w 72005"/>
                <a:gd name="connsiteY51" fmla="*/ 52620 h 104262"/>
                <a:gd name="connsiteX52" fmla="*/ 13358 w 72005"/>
                <a:gd name="connsiteY52" fmla="*/ 54900 h 104262"/>
                <a:gd name="connsiteX53" fmla="*/ 12544 w 72005"/>
                <a:gd name="connsiteY53" fmla="*/ 59462 h 104262"/>
                <a:gd name="connsiteX54" fmla="*/ 8471 w 72005"/>
                <a:gd name="connsiteY54" fmla="*/ 63372 h 104262"/>
                <a:gd name="connsiteX55" fmla="*/ 8960 w 72005"/>
                <a:gd name="connsiteY55" fmla="*/ 69888 h 104262"/>
                <a:gd name="connsiteX56" fmla="*/ 10752 w 72005"/>
                <a:gd name="connsiteY56" fmla="*/ 73146 h 104262"/>
                <a:gd name="connsiteX57" fmla="*/ 8471 w 72005"/>
                <a:gd name="connsiteY57" fmla="*/ 78848 h 104262"/>
                <a:gd name="connsiteX58" fmla="*/ 2281 w 72005"/>
                <a:gd name="connsiteY58" fmla="*/ 82921 h 104262"/>
                <a:gd name="connsiteX59" fmla="*/ 977 w 72005"/>
                <a:gd name="connsiteY59" fmla="*/ 82758 h 1042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</a:cxnLst>
              <a:rect l="l" t="t" r="r" b="b"/>
              <a:pathLst>
                <a:path w="72005" h="104262">
                  <a:moveTo>
                    <a:pt x="977" y="82758"/>
                  </a:moveTo>
                  <a:lnTo>
                    <a:pt x="1792" y="85039"/>
                  </a:lnTo>
                  <a:lnTo>
                    <a:pt x="3421" y="89274"/>
                  </a:lnTo>
                  <a:lnTo>
                    <a:pt x="4887" y="90415"/>
                  </a:lnTo>
                  <a:lnTo>
                    <a:pt x="4724" y="93021"/>
                  </a:lnTo>
                  <a:lnTo>
                    <a:pt x="8308" y="96931"/>
                  </a:lnTo>
                  <a:lnTo>
                    <a:pt x="12707" y="97583"/>
                  </a:lnTo>
                  <a:lnTo>
                    <a:pt x="15476" y="94650"/>
                  </a:lnTo>
                  <a:lnTo>
                    <a:pt x="19060" y="93184"/>
                  </a:lnTo>
                  <a:lnTo>
                    <a:pt x="21830" y="93510"/>
                  </a:lnTo>
                  <a:lnTo>
                    <a:pt x="22481" y="95628"/>
                  </a:lnTo>
                  <a:lnTo>
                    <a:pt x="24436" y="96442"/>
                  </a:lnTo>
                  <a:lnTo>
                    <a:pt x="24599" y="103284"/>
                  </a:lnTo>
                  <a:lnTo>
                    <a:pt x="27695" y="104262"/>
                  </a:lnTo>
                  <a:lnTo>
                    <a:pt x="32093" y="100841"/>
                  </a:lnTo>
                  <a:lnTo>
                    <a:pt x="33233" y="96768"/>
                  </a:lnTo>
                  <a:lnTo>
                    <a:pt x="35840" y="94813"/>
                  </a:lnTo>
                  <a:lnTo>
                    <a:pt x="40238" y="93999"/>
                  </a:lnTo>
                  <a:lnTo>
                    <a:pt x="43334" y="87808"/>
                  </a:lnTo>
                  <a:lnTo>
                    <a:pt x="47569" y="81129"/>
                  </a:lnTo>
                  <a:lnTo>
                    <a:pt x="52457" y="70540"/>
                  </a:lnTo>
                  <a:lnTo>
                    <a:pt x="52620" y="65815"/>
                  </a:lnTo>
                  <a:lnTo>
                    <a:pt x="59136" y="57344"/>
                  </a:lnTo>
                  <a:lnTo>
                    <a:pt x="65489" y="49525"/>
                  </a:lnTo>
                  <a:lnTo>
                    <a:pt x="67444" y="46592"/>
                  </a:lnTo>
                  <a:lnTo>
                    <a:pt x="67770" y="46266"/>
                  </a:lnTo>
                  <a:lnTo>
                    <a:pt x="72006" y="40401"/>
                  </a:lnTo>
                  <a:lnTo>
                    <a:pt x="71680" y="34048"/>
                  </a:lnTo>
                  <a:lnTo>
                    <a:pt x="67118" y="28835"/>
                  </a:lnTo>
                  <a:lnTo>
                    <a:pt x="64838" y="31279"/>
                  </a:lnTo>
                  <a:lnTo>
                    <a:pt x="61742" y="28509"/>
                  </a:lnTo>
                  <a:lnTo>
                    <a:pt x="61254" y="24436"/>
                  </a:lnTo>
                  <a:lnTo>
                    <a:pt x="52131" y="14988"/>
                  </a:lnTo>
                  <a:lnTo>
                    <a:pt x="49850" y="14010"/>
                  </a:lnTo>
                  <a:lnTo>
                    <a:pt x="43822" y="8308"/>
                  </a:lnTo>
                  <a:lnTo>
                    <a:pt x="29487" y="4725"/>
                  </a:lnTo>
                  <a:lnTo>
                    <a:pt x="23133" y="815"/>
                  </a:lnTo>
                  <a:lnTo>
                    <a:pt x="15476" y="0"/>
                  </a:lnTo>
                  <a:lnTo>
                    <a:pt x="10915" y="3421"/>
                  </a:lnTo>
                  <a:lnTo>
                    <a:pt x="6353" y="6028"/>
                  </a:lnTo>
                  <a:lnTo>
                    <a:pt x="6353" y="5865"/>
                  </a:lnTo>
                  <a:lnTo>
                    <a:pt x="6028" y="6191"/>
                  </a:lnTo>
                  <a:lnTo>
                    <a:pt x="4073" y="8308"/>
                  </a:lnTo>
                  <a:lnTo>
                    <a:pt x="0" y="13847"/>
                  </a:lnTo>
                  <a:lnTo>
                    <a:pt x="652" y="20852"/>
                  </a:lnTo>
                  <a:lnTo>
                    <a:pt x="2444" y="25902"/>
                  </a:lnTo>
                  <a:lnTo>
                    <a:pt x="1792" y="31604"/>
                  </a:lnTo>
                  <a:lnTo>
                    <a:pt x="1792" y="35840"/>
                  </a:lnTo>
                  <a:lnTo>
                    <a:pt x="6516" y="38609"/>
                  </a:lnTo>
                  <a:lnTo>
                    <a:pt x="8471" y="42682"/>
                  </a:lnTo>
                  <a:lnTo>
                    <a:pt x="11404" y="47407"/>
                  </a:lnTo>
                  <a:lnTo>
                    <a:pt x="12381" y="52620"/>
                  </a:lnTo>
                  <a:lnTo>
                    <a:pt x="13358" y="54900"/>
                  </a:lnTo>
                  <a:lnTo>
                    <a:pt x="12544" y="59462"/>
                  </a:lnTo>
                  <a:lnTo>
                    <a:pt x="8471" y="63372"/>
                  </a:lnTo>
                  <a:lnTo>
                    <a:pt x="8960" y="69888"/>
                  </a:lnTo>
                  <a:lnTo>
                    <a:pt x="10752" y="73146"/>
                  </a:lnTo>
                  <a:lnTo>
                    <a:pt x="8471" y="78848"/>
                  </a:lnTo>
                  <a:lnTo>
                    <a:pt x="2281" y="82921"/>
                  </a:lnTo>
                  <a:lnTo>
                    <a:pt x="977" y="82758"/>
                  </a:lnTo>
                  <a:close/>
                </a:path>
              </a:pathLst>
            </a:custGeom>
            <a:solidFill>
              <a:schemeClr val="bg2"/>
            </a:solidFill>
            <a:ln w="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2" name="Forma livre: Forma 31">
              <a:extLst>
                <a:ext uri="{FF2B5EF4-FFF2-40B4-BE49-F238E27FC236}">
                  <a16:creationId xmlns:a16="http://schemas.microsoft.com/office/drawing/2014/main" id="{039F3518-2DAB-787B-BFF4-CE83DC9683DF}"/>
                </a:ext>
              </a:extLst>
            </p:cNvPr>
            <p:cNvSpPr/>
            <p:nvPr/>
          </p:nvSpPr>
          <p:spPr>
            <a:xfrm>
              <a:off x="4476267" y="4797103"/>
              <a:ext cx="106565" cy="116498"/>
            </a:xfrm>
            <a:custGeom>
              <a:avLst/>
              <a:gdLst>
                <a:gd name="connsiteX0" fmla="*/ 40890 w 103121"/>
                <a:gd name="connsiteY0" fmla="*/ 109638 h 112733"/>
                <a:gd name="connsiteX1" fmla="*/ 41379 w 103121"/>
                <a:gd name="connsiteY1" fmla="*/ 109638 h 112733"/>
                <a:gd name="connsiteX2" fmla="*/ 43497 w 103121"/>
                <a:gd name="connsiteY2" fmla="*/ 109801 h 112733"/>
                <a:gd name="connsiteX3" fmla="*/ 45126 w 103121"/>
                <a:gd name="connsiteY3" fmla="*/ 110941 h 112733"/>
                <a:gd name="connsiteX4" fmla="*/ 51642 w 103121"/>
                <a:gd name="connsiteY4" fmla="*/ 112733 h 112733"/>
                <a:gd name="connsiteX5" fmla="*/ 55878 w 103121"/>
                <a:gd name="connsiteY5" fmla="*/ 112570 h 112733"/>
                <a:gd name="connsiteX6" fmla="*/ 56855 w 103121"/>
                <a:gd name="connsiteY6" fmla="*/ 110615 h 112733"/>
                <a:gd name="connsiteX7" fmla="*/ 54412 w 103121"/>
                <a:gd name="connsiteY7" fmla="*/ 105076 h 112733"/>
                <a:gd name="connsiteX8" fmla="*/ 53271 w 103121"/>
                <a:gd name="connsiteY8" fmla="*/ 102144 h 112733"/>
                <a:gd name="connsiteX9" fmla="*/ 48547 w 103121"/>
                <a:gd name="connsiteY9" fmla="*/ 97583 h 112733"/>
                <a:gd name="connsiteX10" fmla="*/ 49361 w 103121"/>
                <a:gd name="connsiteY10" fmla="*/ 92858 h 112733"/>
                <a:gd name="connsiteX11" fmla="*/ 54412 w 103121"/>
                <a:gd name="connsiteY11" fmla="*/ 89600 h 112733"/>
                <a:gd name="connsiteX12" fmla="*/ 60114 w 103121"/>
                <a:gd name="connsiteY12" fmla="*/ 91066 h 112733"/>
                <a:gd name="connsiteX13" fmla="*/ 70703 w 103121"/>
                <a:gd name="connsiteY13" fmla="*/ 90577 h 112733"/>
                <a:gd name="connsiteX14" fmla="*/ 75590 w 103121"/>
                <a:gd name="connsiteY14" fmla="*/ 88297 h 112733"/>
                <a:gd name="connsiteX15" fmla="*/ 82269 w 103121"/>
                <a:gd name="connsiteY15" fmla="*/ 88623 h 112733"/>
                <a:gd name="connsiteX16" fmla="*/ 87156 w 103121"/>
                <a:gd name="connsiteY16" fmla="*/ 93347 h 112733"/>
                <a:gd name="connsiteX17" fmla="*/ 92044 w 103121"/>
                <a:gd name="connsiteY17" fmla="*/ 94324 h 112733"/>
                <a:gd name="connsiteX18" fmla="*/ 98234 w 103121"/>
                <a:gd name="connsiteY18" fmla="*/ 90252 h 112733"/>
                <a:gd name="connsiteX19" fmla="*/ 100515 w 103121"/>
                <a:gd name="connsiteY19" fmla="*/ 84550 h 112733"/>
                <a:gd name="connsiteX20" fmla="*/ 98723 w 103121"/>
                <a:gd name="connsiteY20" fmla="*/ 81292 h 112733"/>
                <a:gd name="connsiteX21" fmla="*/ 98234 w 103121"/>
                <a:gd name="connsiteY21" fmla="*/ 74775 h 112733"/>
                <a:gd name="connsiteX22" fmla="*/ 102307 w 103121"/>
                <a:gd name="connsiteY22" fmla="*/ 70866 h 112733"/>
                <a:gd name="connsiteX23" fmla="*/ 103122 w 103121"/>
                <a:gd name="connsiteY23" fmla="*/ 66304 h 112733"/>
                <a:gd name="connsiteX24" fmla="*/ 102144 w 103121"/>
                <a:gd name="connsiteY24" fmla="*/ 64023 h 112733"/>
                <a:gd name="connsiteX25" fmla="*/ 101167 w 103121"/>
                <a:gd name="connsiteY25" fmla="*/ 58810 h 112733"/>
                <a:gd name="connsiteX26" fmla="*/ 98234 w 103121"/>
                <a:gd name="connsiteY26" fmla="*/ 54086 h 112733"/>
                <a:gd name="connsiteX27" fmla="*/ 96279 w 103121"/>
                <a:gd name="connsiteY27" fmla="*/ 50013 h 112733"/>
                <a:gd name="connsiteX28" fmla="*/ 91555 w 103121"/>
                <a:gd name="connsiteY28" fmla="*/ 47244 h 112733"/>
                <a:gd name="connsiteX29" fmla="*/ 91555 w 103121"/>
                <a:gd name="connsiteY29" fmla="*/ 43008 h 112733"/>
                <a:gd name="connsiteX30" fmla="*/ 92207 w 103121"/>
                <a:gd name="connsiteY30" fmla="*/ 37306 h 112733"/>
                <a:gd name="connsiteX31" fmla="*/ 90415 w 103121"/>
                <a:gd name="connsiteY31" fmla="*/ 32256 h 112733"/>
                <a:gd name="connsiteX32" fmla="*/ 89763 w 103121"/>
                <a:gd name="connsiteY32" fmla="*/ 25251 h 112733"/>
                <a:gd name="connsiteX33" fmla="*/ 93836 w 103121"/>
                <a:gd name="connsiteY33" fmla="*/ 19712 h 112733"/>
                <a:gd name="connsiteX34" fmla="*/ 95791 w 103121"/>
                <a:gd name="connsiteY34" fmla="*/ 17594 h 112733"/>
                <a:gd name="connsiteX35" fmla="*/ 96117 w 103121"/>
                <a:gd name="connsiteY35" fmla="*/ 17268 h 112733"/>
                <a:gd name="connsiteX36" fmla="*/ 101004 w 103121"/>
                <a:gd name="connsiteY36" fmla="*/ 11241 h 112733"/>
                <a:gd name="connsiteX37" fmla="*/ 100678 w 103121"/>
                <a:gd name="connsiteY37" fmla="*/ 7820 h 112733"/>
                <a:gd name="connsiteX38" fmla="*/ 95302 w 103121"/>
                <a:gd name="connsiteY38" fmla="*/ 5376 h 112733"/>
                <a:gd name="connsiteX39" fmla="*/ 86505 w 103121"/>
                <a:gd name="connsiteY39" fmla="*/ 3910 h 112733"/>
                <a:gd name="connsiteX40" fmla="*/ 76404 w 103121"/>
                <a:gd name="connsiteY40" fmla="*/ 0 h 112733"/>
                <a:gd name="connsiteX41" fmla="*/ 72983 w 103121"/>
                <a:gd name="connsiteY41" fmla="*/ 489 h 112733"/>
                <a:gd name="connsiteX42" fmla="*/ 68422 w 103121"/>
                <a:gd name="connsiteY42" fmla="*/ 2444 h 112733"/>
                <a:gd name="connsiteX43" fmla="*/ 60439 w 103121"/>
                <a:gd name="connsiteY43" fmla="*/ 1629 h 112733"/>
                <a:gd name="connsiteX44" fmla="*/ 50502 w 103121"/>
                <a:gd name="connsiteY44" fmla="*/ 3747 h 112733"/>
                <a:gd name="connsiteX45" fmla="*/ 42193 w 103121"/>
                <a:gd name="connsiteY45" fmla="*/ 1303 h 112733"/>
                <a:gd name="connsiteX46" fmla="*/ 30953 w 103121"/>
                <a:gd name="connsiteY46" fmla="*/ 1466 h 112733"/>
                <a:gd name="connsiteX47" fmla="*/ 24599 w 103121"/>
                <a:gd name="connsiteY47" fmla="*/ 3910 h 112733"/>
                <a:gd name="connsiteX48" fmla="*/ 23459 w 103121"/>
                <a:gd name="connsiteY48" fmla="*/ 9775 h 112733"/>
                <a:gd name="connsiteX49" fmla="*/ 23459 w 103121"/>
                <a:gd name="connsiteY49" fmla="*/ 10426 h 112733"/>
                <a:gd name="connsiteX50" fmla="*/ 22156 w 103121"/>
                <a:gd name="connsiteY50" fmla="*/ 15476 h 112733"/>
                <a:gd name="connsiteX51" fmla="*/ 22319 w 103121"/>
                <a:gd name="connsiteY51" fmla="*/ 19060 h 112733"/>
                <a:gd name="connsiteX52" fmla="*/ 18735 w 103121"/>
                <a:gd name="connsiteY52" fmla="*/ 23296 h 112733"/>
                <a:gd name="connsiteX53" fmla="*/ 14173 w 103121"/>
                <a:gd name="connsiteY53" fmla="*/ 25740 h 112733"/>
                <a:gd name="connsiteX54" fmla="*/ 7983 w 103121"/>
                <a:gd name="connsiteY54" fmla="*/ 25902 h 112733"/>
                <a:gd name="connsiteX55" fmla="*/ 4561 w 103121"/>
                <a:gd name="connsiteY55" fmla="*/ 32093 h 112733"/>
                <a:gd name="connsiteX56" fmla="*/ 4399 w 103121"/>
                <a:gd name="connsiteY56" fmla="*/ 37632 h 112733"/>
                <a:gd name="connsiteX57" fmla="*/ 0 w 103121"/>
                <a:gd name="connsiteY57" fmla="*/ 48384 h 112733"/>
                <a:gd name="connsiteX58" fmla="*/ 489 w 103121"/>
                <a:gd name="connsiteY58" fmla="*/ 51479 h 112733"/>
                <a:gd name="connsiteX59" fmla="*/ 5050 w 103121"/>
                <a:gd name="connsiteY59" fmla="*/ 53923 h 112733"/>
                <a:gd name="connsiteX60" fmla="*/ 8145 w 103121"/>
                <a:gd name="connsiteY60" fmla="*/ 57507 h 112733"/>
                <a:gd name="connsiteX61" fmla="*/ 8960 w 103121"/>
                <a:gd name="connsiteY61" fmla="*/ 60114 h 112733"/>
                <a:gd name="connsiteX62" fmla="*/ 11892 w 103121"/>
                <a:gd name="connsiteY62" fmla="*/ 64023 h 112733"/>
                <a:gd name="connsiteX63" fmla="*/ 12218 w 103121"/>
                <a:gd name="connsiteY63" fmla="*/ 67444 h 112733"/>
                <a:gd name="connsiteX64" fmla="*/ 15151 w 103121"/>
                <a:gd name="connsiteY64" fmla="*/ 69888 h 112733"/>
                <a:gd name="connsiteX65" fmla="*/ 18409 w 103121"/>
                <a:gd name="connsiteY65" fmla="*/ 70214 h 112733"/>
                <a:gd name="connsiteX66" fmla="*/ 20364 w 103121"/>
                <a:gd name="connsiteY66" fmla="*/ 71680 h 112733"/>
                <a:gd name="connsiteX67" fmla="*/ 21341 w 103121"/>
                <a:gd name="connsiteY67" fmla="*/ 75590 h 112733"/>
                <a:gd name="connsiteX68" fmla="*/ 23459 w 103121"/>
                <a:gd name="connsiteY68" fmla="*/ 83247 h 112733"/>
                <a:gd name="connsiteX69" fmla="*/ 23296 w 103121"/>
                <a:gd name="connsiteY69" fmla="*/ 88297 h 112733"/>
                <a:gd name="connsiteX70" fmla="*/ 25902 w 103121"/>
                <a:gd name="connsiteY70" fmla="*/ 90415 h 112733"/>
                <a:gd name="connsiteX71" fmla="*/ 29975 w 103121"/>
                <a:gd name="connsiteY71" fmla="*/ 95139 h 112733"/>
                <a:gd name="connsiteX72" fmla="*/ 30627 w 103121"/>
                <a:gd name="connsiteY72" fmla="*/ 99700 h 112733"/>
                <a:gd name="connsiteX73" fmla="*/ 35840 w 103121"/>
                <a:gd name="connsiteY73" fmla="*/ 101655 h 112733"/>
                <a:gd name="connsiteX74" fmla="*/ 35840 w 103121"/>
                <a:gd name="connsiteY74" fmla="*/ 103773 h 112733"/>
                <a:gd name="connsiteX75" fmla="*/ 37306 w 103121"/>
                <a:gd name="connsiteY75" fmla="*/ 107031 h 112733"/>
                <a:gd name="connsiteX76" fmla="*/ 40890 w 103121"/>
                <a:gd name="connsiteY76" fmla="*/ 109638 h 1127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</a:cxnLst>
              <a:rect l="l" t="t" r="r" b="b"/>
              <a:pathLst>
                <a:path w="103121" h="112733">
                  <a:moveTo>
                    <a:pt x="40890" y="109638"/>
                  </a:moveTo>
                  <a:lnTo>
                    <a:pt x="41379" y="109638"/>
                  </a:lnTo>
                  <a:lnTo>
                    <a:pt x="43497" y="109801"/>
                  </a:lnTo>
                  <a:lnTo>
                    <a:pt x="45126" y="110941"/>
                  </a:lnTo>
                  <a:lnTo>
                    <a:pt x="51642" y="112733"/>
                  </a:lnTo>
                  <a:lnTo>
                    <a:pt x="55878" y="112570"/>
                  </a:lnTo>
                  <a:lnTo>
                    <a:pt x="56855" y="110615"/>
                  </a:lnTo>
                  <a:lnTo>
                    <a:pt x="54412" y="105076"/>
                  </a:lnTo>
                  <a:lnTo>
                    <a:pt x="53271" y="102144"/>
                  </a:lnTo>
                  <a:lnTo>
                    <a:pt x="48547" y="97583"/>
                  </a:lnTo>
                  <a:lnTo>
                    <a:pt x="49361" y="92858"/>
                  </a:lnTo>
                  <a:lnTo>
                    <a:pt x="54412" y="89600"/>
                  </a:lnTo>
                  <a:lnTo>
                    <a:pt x="60114" y="91066"/>
                  </a:lnTo>
                  <a:lnTo>
                    <a:pt x="70703" y="90577"/>
                  </a:lnTo>
                  <a:lnTo>
                    <a:pt x="75590" y="88297"/>
                  </a:lnTo>
                  <a:lnTo>
                    <a:pt x="82269" y="88623"/>
                  </a:lnTo>
                  <a:lnTo>
                    <a:pt x="87156" y="93347"/>
                  </a:lnTo>
                  <a:lnTo>
                    <a:pt x="92044" y="94324"/>
                  </a:lnTo>
                  <a:lnTo>
                    <a:pt x="98234" y="90252"/>
                  </a:lnTo>
                  <a:lnTo>
                    <a:pt x="100515" y="84550"/>
                  </a:lnTo>
                  <a:lnTo>
                    <a:pt x="98723" y="81292"/>
                  </a:lnTo>
                  <a:lnTo>
                    <a:pt x="98234" y="74775"/>
                  </a:lnTo>
                  <a:lnTo>
                    <a:pt x="102307" y="70866"/>
                  </a:lnTo>
                  <a:lnTo>
                    <a:pt x="103122" y="66304"/>
                  </a:lnTo>
                  <a:lnTo>
                    <a:pt x="102144" y="64023"/>
                  </a:lnTo>
                  <a:lnTo>
                    <a:pt x="101167" y="58810"/>
                  </a:lnTo>
                  <a:lnTo>
                    <a:pt x="98234" y="54086"/>
                  </a:lnTo>
                  <a:lnTo>
                    <a:pt x="96279" y="50013"/>
                  </a:lnTo>
                  <a:lnTo>
                    <a:pt x="91555" y="47244"/>
                  </a:lnTo>
                  <a:lnTo>
                    <a:pt x="91555" y="43008"/>
                  </a:lnTo>
                  <a:lnTo>
                    <a:pt x="92207" y="37306"/>
                  </a:lnTo>
                  <a:lnTo>
                    <a:pt x="90415" y="32256"/>
                  </a:lnTo>
                  <a:lnTo>
                    <a:pt x="89763" y="25251"/>
                  </a:lnTo>
                  <a:lnTo>
                    <a:pt x="93836" y="19712"/>
                  </a:lnTo>
                  <a:lnTo>
                    <a:pt x="95791" y="17594"/>
                  </a:lnTo>
                  <a:lnTo>
                    <a:pt x="96117" y="17268"/>
                  </a:lnTo>
                  <a:lnTo>
                    <a:pt x="101004" y="11241"/>
                  </a:lnTo>
                  <a:lnTo>
                    <a:pt x="100678" y="7820"/>
                  </a:lnTo>
                  <a:lnTo>
                    <a:pt x="95302" y="5376"/>
                  </a:lnTo>
                  <a:lnTo>
                    <a:pt x="86505" y="3910"/>
                  </a:lnTo>
                  <a:lnTo>
                    <a:pt x="76404" y="0"/>
                  </a:lnTo>
                  <a:lnTo>
                    <a:pt x="72983" y="489"/>
                  </a:lnTo>
                  <a:lnTo>
                    <a:pt x="68422" y="2444"/>
                  </a:lnTo>
                  <a:lnTo>
                    <a:pt x="60439" y="1629"/>
                  </a:lnTo>
                  <a:lnTo>
                    <a:pt x="50502" y="3747"/>
                  </a:lnTo>
                  <a:lnTo>
                    <a:pt x="42193" y="1303"/>
                  </a:lnTo>
                  <a:lnTo>
                    <a:pt x="30953" y="1466"/>
                  </a:lnTo>
                  <a:lnTo>
                    <a:pt x="24599" y="3910"/>
                  </a:lnTo>
                  <a:lnTo>
                    <a:pt x="23459" y="9775"/>
                  </a:lnTo>
                  <a:lnTo>
                    <a:pt x="23459" y="10426"/>
                  </a:lnTo>
                  <a:lnTo>
                    <a:pt x="22156" y="15476"/>
                  </a:lnTo>
                  <a:lnTo>
                    <a:pt x="22319" y="19060"/>
                  </a:lnTo>
                  <a:lnTo>
                    <a:pt x="18735" y="23296"/>
                  </a:lnTo>
                  <a:lnTo>
                    <a:pt x="14173" y="25740"/>
                  </a:lnTo>
                  <a:lnTo>
                    <a:pt x="7983" y="25902"/>
                  </a:lnTo>
                  <a:lnTo>
                    <a:pt x="4561" y="32093"/>
                  </a:lnTo>
                  <a:lnTo>
                    <a:pt x="4399" y="37632"/>
                  </a:lnTo>
                  <a:lnTo>
                    <a:pt x="0" y="48384"/>
                  </a:lnTo>
                  <a:lnTo>
                    <a:pt x="489" y="51479"/>
                  </a:lnTo>
                  <a:lnTo>
                    <a:pt x="5050" y="53923"/>
                  </a:lnTo>
                  <a:lnTo>
                    <a:pt x="8145" y="57507"/>
                  </a:lnTo>
                  <a:lnTo>
                    <a:pt x="8960" y="60114"/>
                  </a:lnTo>
                  <a:lnTo>
                    <a:pt x="11892" y="64023"/>
                  </a:lnTo>
                  <a:lnTo>
                    <a:pt x="12218" y="67444"/>
                  </a:lnTo>
                  <a:lnTo>
                    <a:pt x="15151" y="69888"/>
                  </a:lnTo>
                  <a:lnTo>
                    <a:pt x="18409" y="70214"/>
                  </a:lnTo>
                  <a:lnTo>
                    <a:pt x="20364" y="71680"/>
                  </a:lnTo>
                  <a:lnTo>
                    <a:pt x="21341" y="75590"/>
                  </a:lnTo>
                  <a:lnTo>
                    <a:pt x="23459" y="83247"/>
                  </a:lnTo>
                  <a:lnTo>
                    <a:pt x="23296" y="88297"/>
                  </a:lnTo>
                  <a:lnTo>
                    <a:pt x="25902" y="90415"/>
                  </a:lnTo>
                  <a:lnTo>
                    <a:pt x="29975" y="95139"/>
                  </a:lnTo>
                  <a:lnTo>
                    <a:pt x="30627" y="99700"/>
                  </a:lnTo>
                  <a:lnTo>
                    <a:pt x="35840" y="101655"/>
                  </a:lnTo>
                  <a:lnTo>
                    <a:pt x="35840" y="103773"/>
                  </a:lnTo>
                  <a:lnTo>
                    <a:pt x="37306" y="107031"/>
                  </a:lnTo>
                  <a:lnTo>
                    <a:pt x="40890" y="109638"/>
                  </a:lnTo>
                  <a:close/>
                </a:path>
              </a:pathLst>
            </a:custGeom>
            <a:solidFill>
              <a:schemeClr val="bg2"/>
            </a:solidFill>
            <a:ln w="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3" name="Forma livre: Forma 32">
              <a:extLst>
                <a:ext uri="{FF2B5EF4-FFF2-40B4-BE49-F238E27FC236}">
                  <a16:creationId xmlns:a16="http://schemas.microsoft.com/office/drawing/2014/main" id="{F1916BB5-BB08-8AEB-B162-26443D7C5F89}"/>
                </a:ext>
              </a:extLst>
            </p:cNvPr>
            <p:cNvSpPr/>
            <p:nvPr/>
          </p:nvSpPr>
          <p:spPr>
            <a:xfrm>
              <a:off x="4385526" y="4732120"/>
              <a:ext cx="133165" cy="200000"/>
            </a:xfrm>
            <a:custGeom>
              <a:avLst/>
              <a:gdLst>
                <a:gd name="connsiteX0" fmla="*/ 18572 w 128861"/>
                <a:gd name="connsiteY0" fmla="*/ 85039 h 193536"/>
                <a:gd name="connsiteX1" fmla="*/ 21178 w 128861"/>
                <a:gd name="connsiteY1" fmla="*/ 85364 h 193536"/>
                <a:gd name="connsiteX2" fmla="*/ 23133 w 128861"/>
                <a:gd name="connsiteY2" fmla="*/ 87645 h 193536"/>
                <a:gd name="connsiteX3" fmla="*/ 25902 w 128861"/>
                <a:gd name="connsiteY3" fmla="*/ 85690 h 193536"/>
                <a:gd name="connsiteX4" fmla="*/ 31604 w 128861"/>
                <a:gd name="connsiteY4" fmla="*/ 86342 h 193536"/>
                <a:gd name="connsiteX5" fmla="*/ 35840 w 128861"/>
                <a:gd name="connsiteY5" fmla="*/ 91718 h 193536"/>
                <a:gd name="connsiteX6" fmla="*/ 35840 w 128861"/>
                <a:gd name="connsiteY6" fmla="*/ 98560 h 193536"/>
                <a:gd name="connsiteX7" fmla="*/ 32745 w 128861"/>
                <a:gd name="connsiteY7" fmla="*/ 103447 h 193536"/>
                <a:gd name="connsiteX8" fmla="*/ 30464 w 128861"/>
                <a:gd name="connsiteY8" fmla="*/ 106542 h 193536"/>
                <a:gd name="connsiteX9" fmla="*/ 34863 w 128861"/>
                <a:gd name="connsiteY9" fmla="*/ 108823 h 193536"/>
                <a:gd name="connsiteX10" fmla="*/ 40239 w 128861"/>
                <a:gd name="connsiteY10" fmla="*/ 108498 h 193536"/>
                <a:gd name="connsiteX11" fmla="*/ 41868 w 128861"/>
                <a:gd name="connsiteY11" fmla="*/ 112082 h 193536"/>
                <a:gd name="connsiteX12" fmla="*/ 44311 w 128861"/>
                <a:gd name="connsiteY12" fmla="*/ 115828 h 193536"/>
                <a:gd name="connsiteX13" fmla="*/ 49036 w 128861"/>
                <a:gd name="connsiteY13" fmla="*/ 115503 h 193536"/>
                <a:gd name="connsiteX14" fmla="*/ 49361 w 128861"/>
                <a:gd name="connsiteY14" fmla="*/ 118272 h 193536"/>
                <a:gd name="connsiteX15" fmla="*/ 44637 w 128861"/>
                <a:gd name="connsiteY15" fmla="*/ 123974 h 193536"/>
                <a:gd name="connsiteX16" fmla="*/ 43008 w 128861"/>
                <a:gd name="connsiteY16" fmla="*/ 130979 h 193536"/>
                <a:gd name="connsiteX17" fmla="*/ 38121 w 128861"/>
                <a:gd name="connsiteY17" fmla="*/ 139613 h 193536"/>
                <a:gd name="connsiteX18" fmla="*/ 38447 w 128861"/>
                <a:gd name="connsiteY18" fmla="*/ 145152 h 193536"/>
                <a:gd name="connsiteX19" fmla="*/ 36655 w 128861"/>
                <a:gd name="connsiteY19" fmla="*/ 148736 h 193536"/>
                <a:gd name="connsiteX20" fmla="*/ 35840 w 128861"/>
                <a:gd name="connsiteY20" fmla="*/ 153460 h 193536"/>
                <a:gd name="connsiteX21" fmla="*/ 37143 w 128861"/>
                <a:gd name="connsiteY21" fmla="*/ 155904 h 193536"/>
                <a:gd name="connsiteX22" fmla="*/ 36003 w 128861"/>
                <a:gd name="connsiteY22" fmla="*/ 159488 h 193536"/>
                <a:gd name="connsiteX23" fmla="*/ 36655 w 128861"/>
                <a:gd name="connsiteY23" fmla="*/ 164701 h 193536"/>
                <a:gd name="connsiteX24" fmla="*/ 41216 w 128861"/>
                <a:gd name="connsiteY24" fmla="*/ 169425 h 193536"/>
                <a:gd name="connsiteX25" fmla="*/ 46755 w 128861"/>
                <a:gd name="connsiteY25" fmla="*/ 174965 h 193536"/>
                <a:gd name="connsiteX26" fmla="*/ 46918 w 128861"/>
                <a:gd name="connsiteY26" fmla="*/ 178549 h 193536"/>
                <a:gd name="connsiteX27" fmla="*/ 50665 w 128861"/>
                <a:gd name="connsiteY27" fmla="*/ 183273 h 193536"/>
                <a:gd name="connsiteX28" fmla="*/ 60765 w 128861"/>
                <a:gd name="connsiteY28" fmla="*/ 191907 h 193536"/>
                <a:gd name="connsiteX29" fmla="*/ 64838 w 128861"/>
                <a:gd name="connsiteY29" fmla="*/ 193536 h 193536"/>
                <a:gd name="connsiteX30" fmla="*/ 67933 w 128861"/>
                <a:gd name="connsiteY30" fmla="*/ 189463 h 193536"/>
                <a:gd name="connsiteX31" fmla="*/ 71354 w 128861"/>
                <a:gd name="connsiteY31" fmla="*/ 188649 h 193536"/>
                <a:gd name="connsiteX32" fmla="*/ 72169 w 128861"/>
                <a:gd name="connsiteY32" fmla="*/ 190278 h 193536"/>
                <a:gd name="connsiteX33" fmla="*/ 78034 w 128861"/>
                <a:gd name="connsiteY33" fmla="*/ 189626 h 193536"/>
                <a:gd name="connsiteX34" fmla="*/ 81618 w 128861"/>
                <a:gd name="connsiteY34" fmla="*/ 185391 h 193536"/>
                <a:gd name="connsiteX35" fmla="*/ 82269 w 128861"/>
                <a:gd name="connsiteY35" fmla="*/ 183110 h 193536"/>
                <a:gd name="connsiteX36" fmla="*/ 87645 w 128861"/>
                <a:gd name="connsiteY36" fmla="*/ 181318 h 193536"/>
                <a:gd name="connsiteX37" fmla="*/ 98071 w 128861"/>
                <a:gd name="connsiteY37" fmla="*/ 181807 h 193536"/>
                <a:gd name="connsiteX38" fmla="*/ 101004 w 128861"/>
                <a:gd name="connsiteY38" fmla="*/ 173661 h 193536"/>
                <a:gd name="connsiteX39" fmla="*/ 106380 w 128861"/>
                <a:gd name="connsiteY39" fmla="*/ 171380 h 193536"/>
                <a:gd name="connsiteX40" fmla="*/ 114036 w 128861"/>
                <a:gd name="connsiteY40" fmla="*/ 171055 h 193536"/>
                <a:gd name="connsiteX41" fmla="*/ 115991 w 128861"/>
                <a:gd name="connsiteY41" fmla="*/ 173335 h 193536"/>
                <a:gd name="connsiteX42" fmla="*/ 120553 w 128861"/>
                <a:gd name="connsiteY42" fmla="*/ 172521 h 193536"/>
                <a:gd name="connsiteX43" fmla="*/ 128861 w 128861"/>
                <a:gd name="connsiteY43" fmla="*/ 172521 h 193536"/>
                <a:gd name="connsiteX44" fmla="*/ 125114 w 128861"/>
                <a:gd name="connsiteY44" fmla="*/ 169914 h 193536"/>
                <a:gd name="connsiteX45" fmla="*/ 123648 w 128861"/>
                <a:gd name="connsiteY45" fmla="*/ 166656 h 193536"/>
                <a:gd name="connsiteX46" fmla="*/ 123648 w 128861"/>
                <a:gd name="connsiteY46" fmla="*/ 164538 h 193536"/>
                <a:gd name="connsiteX47" fmla="*/ 118435 w 128861"/>
                <a:gd name="connsiteY47" fmla="*/ 162583 h 193536"/>
                <a:gd name="connsiteX48" fmla="*/ 117783 w 128861"/>
                <a:gd name="connsiteY48" fmla="*/ 158022 h 193536"/>
                <a:gd name="connsiteX49" fmla="*/ 113711 w 128861"/>
                <a:gd name="connsiteY49" fmla="*/ 153298 h 193536"/>
                <a:gd name="connsiteX50" fmla="*/ 111104 w 128861"/>
                <a:gd name="connsiteY50" fmla="*/ 151180 h 193536"/>
                <a:gd name="connsiteX51" fmla="*/ 111267 w 128861"/>
                <a:gd name="connsiteY51" fmla="*/ 146130 h 193536"/>
                <a:gd name="connsiteX52" fmla="*/ 109149 w 128861"/>
                <a:gd name="connsiteY52" fmla="*/ 138473 h 193536"/>
                <a:gd name="connsiteX53" fmla="*/ 108172 w 128861"/>
                <a:gd name="connsiteY53" fmla="*/ 134563 h 193536"/>
                <a:gd name="connsiteX54" fmla="*/ 106217 w 128861"/>
                <a:gd name="connsiteY54" fmla="*/ 133097 h 193536"/>
                <a:gd name="connsiteX55" fmla="*/ 102959 w 128861"/>
                <a:gd name="connsiteY55" fmla="*/ 132771 h 193536"/>
                <a:gd name="connsiteX56" fmla="*/ 100026 w 128861"/>
                <a:gd name="connsiteY56" fmla="*/ 130327 h 193536"/>
                <a:gd name="connsiteX57" fmla="*/ 99700 w 128861"/>
                <a:gd name="connsiteY57" fmla="*/ 126906 h 193536"/>
                <a:gd name="connsiteX58" fmla="*/ 96768 w 128861"/>
                <a:gd name="connsiteY58" fmla="*/ 122996 h 193536"/>
                <a:gd name="connsiteX59" fmla="*/ 95953 w 128861"/>
                <a:gd name="connsiteY59" fmla="*/ 120390 h 193536"/>
                <a:gd name="connsiteX60" fmla="*/ 92858 w 128861"/>
                <a:gd name="connsiteY60" fmla="*/ 116806 h 193536"/>
                <a:gd name="connsiteX61" fmla="*/ 88297 w 128861"/>
                <a:gd name="connsiteY61" fmla="*/ 114362 h 193536"/>
                <a:gd name="connsiteX62" fmla="*/ 87808 w 128861"/>
                <a:gd name="connsiteY62" fmla="*/ 111267 h 193536"/>
                <a:gd name="connsiteX63" fmla="*/ 92207 w 128861"/>
                <a:gd name="connsiteY63" fmla="*/ 100515 h 193536"/>
                <a:gd name="connsiteX64" fmla="*/ 92369 w 128861"/>
                <a:gd name="connsiteY64" fmla="*/ 94976 h 193536"/>
                <a:gd name="connsiteX65" fmla="*/ 95791 w 128861"/>
                <a:gd name="connsiteY65" fmla="*/ 88785 h 193536"/>
                <a:gd name="connsiteX66" fmla="*/ 101981 w 128861"/>
                <a:gd name="connsiteY66" fmla="*/ 88623 h 193536"/>
                <a:gd name="connsiteX67" fmla="*/ 106543 w 128861"/>
                <a:gd name="connsiteY67" fmla="*/ 86179 h 193536"/>
                <a:gd name="connsiteX68" fmla="*/ 110127 w 128861"/>
                <a:gd name="connsiteY68" fmla="*/ 81943 h 193536"/>
                <a:gd name="connsiteX69" fmla="*/ 109964 w 128861"/>
                <a:gd name="connsiteY69" fmla="*/ 78359 h 193536"/>
                <a:gd name="connsiteX70" fmla="*/ 111267 w 128861"/>
                <a:gd name="connsiteY70" fmla="*/ 73309 h 193536"/>
                <a:gd name="connsiteX71" fmla="*/ 111267 w 128861"/>
                <a:gd name="connsiteY71" fmla="*/ 72658 h 193536"/>
                <a:gd name="connsiteX72" fmla="*/ 111267 w 128861"/>
                <a:gd name="connsiteY72" fmla="*/ 72658 h 193536"/>
                <a:gd name="connsiteX73" fmla="*/ 109801 w 128861"/>
                <a:gd name="connsiteY73" fmla="*/ 67607 h 193536"/>
                <a:gd name="connsiteX74" fmla="*/ 109801 w 128861"/>
                <a:gd name="connsiteY74" fmla="*/ 61254 h 193536"/>
                <a:gd name="connsiteX75" fmla="*/ 108172 w 128861"/>
                <a:gd name="connsiteY75" fmla="*/ 57344 h 193536"/>
                <a:gd name="connsiteX76" fmla="*/ 98560 w 128861"/>
                <a:gd name="connsiteY76" fmla="*/ 54900 h 193536"/>
                <a:gd name="connsiteX77" fmla="*/ 90252 w 128861"/>
                <a:gd name="connsiteY77" fmla="*/ 46103 h 193536"/>
                <a:gd name="connsiteX78" fmla="*/ 85527 w 128861"/>
                <a:gd name="connsiteY78" fmla="*/ 42519 h 193536"/>
                <a:gd name="connsiteX79" fmla="*/ 82432 w 128861"/>
                <a:gd name="connsiteY79" fmla="*/ 44148 h 193536"/>
                <a:gd name="connsiteX80" fmla="*/ 77219 w 128861"/>
                <a:gd name="connsiteY80" fmla="*/ 45777 h 193536"/>
                <a:gd name="connsiteX81" fmla="*/ 73798 w 128861"/>
                <a:gd name="connsiteY81" fmla="*/ 49850 h 193536"/>
                <a:gd name="connsiteX82" fmla="*/ 72658 w 128861"/>
                <a:gd name="connsiteY82" fmla="*/ 54575 h 193536"/>
                <a:gd name="connsiteX83" fmla="*/ 71680 w 128861"/>
                <a:gd name="connsiteY83" fmla="*/ 48547 h 193536"/>
                <a:gd name="connsiteX84" fmla="*/ 72820 w 128861"/>
                <a:gd name="connsiteY84" fmla="*/ 40564 h 193536"/>
                <a:gd name="connsiteX85" fmla="*/ 74450 w 128861"/>
                <a:gd name="connsiteY85" fmla="*/ 36003 h 193536"/>
                <a:gd name="connsiteX86" fmla="*/ 71843 w 128861"/>
                <a:gd name="connsiteY86" fmla="*/ 27532 h 193536"/>
                <a:gd name="connsiteX87" fmla="*/ 68096 w 128861"/>
                <a:gd name="connsiteY87" fmla="*/ 24599 h 193536"/>
                <a:gd name="connsiteX88" fmla="*/ 57996 w 128861"/>
                <a:gd name="connsiteY88" fmla="*/ 18409 h 193536"/>
                <a:gd name="connsiteX89" fmla="*/ 51317 w 128861"/>
                <a:gd name="connsiteY89" fmla="*/ 10752 h 193536"/>
                <a:gd name="connsiteX90" fmla="*/ 50665 w 128861"/>
                <a:gd name="connsiteY90" fmla="*/ 6679 h 193536"/>
                <a:gd name="connsiteX91" fmla="*/ 45777 w 128861"/>
                <a:gd name="connsiteY91" fmla="*/ 1955 h 193536"/>
                <a:gd name="connsiteX92" fmla="*/ 41053 w 128861"/>
                <a:gd name="connsiteY92" fmla="*/ 977 h 193536"/>
                <a:gd name="connsiteX93" fmla="*/ 39587 w 128861"/>
                <a:gd name="connsiteY93" fmla="*/ 0 h 193536"/>
                <a:gd name="connsiteX94" fmla="*/ 38772 w 128861"/>
                <a:gd name="connsiteY94" fmla="*/ 2444 h 193536"/>
                <a:gd name="connsiteX95" fmla="*/ 31279 w 128861"/>
                <a:gd name="connsiteY95" fmla="*/ 11567 h 193536"/>
                <a:gd name="connsiteX96" fmla="*/ 25902 w 128861"/>
                <a:gd name="connsiteY96" fmla="*/ 15639 h 193536"/>
                <a:gd name="connsiteX97" fmla="*/ 21993 w 128861"/>
                <a:gd name="connsiteY97" fmla="*/ 15150 h 193536"/>
                <a:gd name="connsiteX98" fmla="*/ 14988 w 128861"/>
                <a:gd name="connsiteY98" fmla="*/ 23459 h 193536"/>
                <a:gd name="connsiteX99" fmla="*/ 17106 w 128861"/>
                <a:gd name="connsiteY99" fmla="*/ 27043 h 193536"/>
                <a:gd name="connsiteX100" fmla="*/ 18898 w 128861"/>
                <a:gd name="connsiteY100" fmla="*/ 32582 h 193536"/>
                <a:gd name="connsiteX101" fmla="*/ 25740 w 128861"/>
                <a:gd name="connsiteY101" fmla="*/ 32908 h 193536"/>
                <a:gd name="connsiteX102" fmla="*/ 29975 w 128861"/>
                <a:gd name="connsiteY102" fmla="*/ 36166 h 193536"/>
                <a:gd name="connsiteX103" fmla="*/ 29975 w 128861"/>
                <a:gd name="connsiteY103" fmla="*/ 42356 h 193536"/>
                <a:gd name="connsiteX104" fmla="*/ 21667 w 128861"/>
                <a:gd name="connsiteY104" fmla="*/ 45940 h 193536"/>
                <a:gd name="connsiteX105" fmla="*/ 17268 w 128861"/>
                <a:gd name="connsiteY105" fmla="*/ 44311 h 193536"/>
                <a:gd name="connsiteX106" fmla="*/ 13684 w 128861"/>
                <a:gd name="connsiteY106" fmla="*/ 46103 h 193536"/>
                <a:gd name="connsiteX107" fmla="*/ 9612 w 128861"/>
                <a:gd name="connsiteY107" fmla="*/ 44311 h 193536"/>
                <a:gd name="connsiteX108" fmla="*/ 6191 w 128861"/>
                <a:gd name="connsiteY108" fmla="*/ 48384 h 193536"/>
                <a:gd name="connsiteX109" fmla="*/ 5050 w 128861"/>
                <a:gd name="connsiteY109" fmla="*/ 56041 h 193536"/>
                <a:gd name="connsiteX110" fmla="*/ 0 w 128861"/>
                <a:gd name="connsiteY110" fmla="*/ 60928 h 193536"/>
                <a:gd name="connsiteX111" fmla="*/ 2281 w 128861"/>
                <a:gd name="connsiteY111" fmla="*/ 67282 h 193536"/>
                <a:gd name="connsiteX112" fmla="*/ 8960 w 128861"/>
                <a:gd name="connsiteY112" fmla="*/ 76567 h 193536"/>
                <a:gd name="connsiteX113" fmla="*/ 18572 w 128861"/>
                <a:gd name="connsiteY113" fmla="*/ 84550 h 193536"/>
                <a:gd name="connsiteX114" fmla="*/ 18572 w 128861"/>
                <a:gd name="connsiteY114" fmla="*/ 85039 h 1935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</a:cxnLst>
              <a:rect l="l" t="t" r="r" b="b"/>
              <a:pathLst>
                <a:path w="128861" h="193536">
                  <a:moveTo>
                    <a:pt x="18572" y="85039"/>
                  </a:moveTo>
                  <a:lnTo>
                    <a:pt x="21178" y="85364"/>
                  </a:lnTo>
                  <a:lnTo>
                    <a:pt x="23133" y="87645"/>
                  </a:lnTo>
                  <a:lnTo>
                    <a:pt x="25902" y="85690"/>
                  </a:lnTo>
                  <a:lnTo>
                    <a:pt x="31604" y="86342"/>
                  </a:lnTo>
                  <a:lnTo>
                    <a:pt x="35840" y="91718"/>
                  </a:lnTo>
                  <a:lnTo>
                    <a:pt x="35840" y="98560"/>
                  </a:lnTo>
                  <a:lnTo>
                    <a:pt x="32745" y="103447"/>
                  </a:lnTo>
                  <a:lnTo>
                    <a:pt x="30464" y="106542"/>
                  </a:lnTo>
                  <a:lnTo>
                    <a:pt x="34863" y="108823"/>
                  </a:lnTo>
                  <a:lnTo>
                    <a:pt x="40239" y="108498"/>
                  </a:lnTo>
                  <a:lnTo>
                    <a:pt x="41868" y="112082"/>
                  </a:lnTo>
                  <a:lnTo>
                    <a:pt x="44311" y="115828"/>
                  </a:lnTo>
                  <a:lnTo>
                    <a:pt x="49036" y="115503"/>
                  </a:lnTo>
                  <a:lnTo>
                    <a:pt x="49361" y="118272"/>
                  </a:lnTo>
                  <a:lnTo>
                    <a:pt x="44637" y="123974"/>
                  </a:lnTo>
                  <a:lnTo>
                    <a:pt x="43008" y="130979"/>
                  </a:lnTo>
                  <a:lnTo>
                    <a:pt x="38121" y="139613"/>
                  </a:lnTo>
                  <a:lnTo>
                    <a:pt x="38447" y="145152"/>
                  </a:lnTo>
                  <a:lnTo>
                    <a:pt x="36655" y="148736"/>
                  </a:lnTo>
                  <a:lnTo>
                    <a:pt x="35840" y="153460"/>
                  </a:lnTo>
                  <a:lnTo>
                    <a:pt x="37143" y="155904"/>
                  </a:lnTo>
                  <a:lnTo>
                    <a:pt x="36003" y="159488"/>
                  </a:lnTo>
                  <a:lnTo>
                    <a:pt x="36655" y="164701"/>
                  </a:lnTo>
                  <a:lnTo>
                    <a:pt x="41216" y="169425"/>
                  </a:lnTo>
                  <a:lnTo>
                    <a:pt x="46755" y="174965"/>
                  </a:lnTo>
                  <a:lnTo>
                    <a:pt x="46918" y="178549"/>
                  </a:lnTo>
                  <a:lnTo>
                    <a:pt x="50665" y="183273"/>
                  </a:lnTo>
                  <a:lnTo>
                    <a:pt x="60765" y="191907"/>
                  </a:lnTo>
                  <a:lnTo>
                    <a:pt x="64838" y="193536"/>
                  </a:lnTo>
                  <a:lnTo>
                    <a:pt x="67933" y="189463"/>
                  </a:lnTo>
                  <a:lnTo>
                    <a:pt x="71354" y="188649"/>
                  </a:lnTo>
                  <a:lnTo>
                    <a:pt x="72169" y="190278"/>
                  </a:lnTo>
                  <a:lnTo>
                    <a:pt x="78034" y="189626"/>
                  </a:lnTo>
                  <a:lnTo>
                    <a:pt x="81618" y="185391"/>
                  </a:lnTo>
                  <a:lnTo>
                    <a:pt x="82269" y="183110"/>
                  </a:lnTo>
                  <a:lnTo>
                    <a:pt x="87645" y="181318"/>
                  </a:lnTo>
                  <a:lnTo>
                    <a:pt x="98071" y="181807"/>
                  </a:lnTo>
                  <a:lnTo>
                    <a:pt x="101004" y="173661"/>
                  </a:lnTo>
                  <a:lnTo>
                    <a:pt x="106380" y="171380"/>
                  </a:lnTo>
                  <a:lnTo>
                    <a:pt x="114036" y="171055"/>
                  </a:lnTo>
                  <a:lnTo>
                    <a:pt x="115991" y="173335"/>
                  </a:lnTo>
                  <a:lnTo>
                    <a:pt x="120553" y="172521"/>
                  </a:lnTo>
                  <a:lnTo>
                    <a:pt x="128861" y="172521"/>
                  </a:lnTo>
                  <a:lnTo>
                    <a:pt x="125114" y="169914"/>
                  </a:lnTo>
                  <a:lnTo>
                    <a:pt x="123648" y="166656"/>
                  </a:lnTo>
                  <a:lnTo>
                    <a:pt x="123648" y="164538"/>
                  </a:lnTo>
                  <a:lnTo>
                    <a:pt x="118435" y="162583"/>
                  </a:lnTo>
                  <a:lnTo>
                    <a:pt x="117783" y="158022"/>
                  </a:lnTo>
                  <a:lnTo>
                    <a:pt x="113711" y="153298"/>
                  </a:lnTo>
                  <a:lnTo>
                    <a:pt x="111104" y="151180"/>
                  </a:lnTo>
                  <a:lnTo>
                    <a:pt x="111267" y="146130"/>
                  </a:lnTo>
                  <a:lnTo>
                    <a:pt x="109149" y="138473"/>
                  </a:lnTo>
                  <a:lnTo>
                    <a:pt x="108172" y="134563"/>
                  </a:lnTo>
                  <a:lnTo>
                    <a:pt x="106217" y="133097"/>
                  </a:lnTo>
                  <a:lnTo>
                    <a:pt x="102959" y="132771"/>
                  </a:lnTo>
                  <a:lnTo>
                    <a:pt x="100026" y="130327"/>
                  </a:lnTo>
                  <a:lnTo>
                    <a:pt x="99700" y="126906"/>
                  </a:lnTo>
                  <a:lnTo>
                    <a:pt x="96768" y="122996"/>
                  </a:lnTo>
                  <a:lnTo>
                    <a:pt x="95953" y="120390"/>
                  </a:lnTo>
                  <a:lnTo>
                    <a:pt x="92858" y="116806"/>
                  </a:lnTo>
                  <a:lnTo>
                    <a:pt x="88297" y="114362"/>
                  </a:lnTo>
                  <a:lnTo>
                    <a:pt x="87808" y="111267"/>
                  </a:lnTo>
                  <a:lnTo>
                    <a:pt x="92207" y="100515"/>
                  </a:lnTo>
                  <a:lnTo>
                    <a:pt x="92369" y="94976"/>
                  </a:lnTo>
                  <a:lnTo>
                    <a:pt x="95791" y="88785"/>
                  </a:lnTo>
                  <a:lnTo>
                    <a:pt x="101981" y="88623"/>
                  </a:lnTo>
                  <a:lnTo>
                    <a:pt x="106543" y="86179"/>
                  </a:lnTo>
                  <a:lnTo>
                    <a:pt x="110127" y="81943"/>
                  </a:lnTo>
                  <a:lnTo>
                    <a:pt x="109964" y="78359"/>
                  </a:lnTo>
                  <a:lnTo>
                    <a:pt x="111267" y="73309"/>
                  </a:lnTo>
                  <a:lnTo>
                    <a:pt x="111267" y="72658"/>
                  </a:lnTo>
                  <a:lnTo>
                    <a:pt x="111267" y="72658"/>
                  </a:lnTo>
                  <a:lnTo>
                    <a:pt x="109801" y="67607"/>
                  </a:lnTo>
                  <a:lnTo>
                    <a:pt x="109801" y="61254"/>
                  </a:lnTo>
                  <a:lnTo>
                    <a:pt x="108172" y="57344"/>
                  </a:lnTo>
                  <a:lnTo>
                    <a:pt x="98560" y="54900"/>
                  </a:lnTo>
                  <a:lnTo>
                    <a:pt x="90252" y="46103"/>
                  </a:lnTo>
                  <a:lnTo>
                    <a:pt x="85527" y="42519"/>
                  </a:lnTo>
                  <a:lnTo>
                    <a:pt x="82432" y="44148"/>
                  </a:lnTo>
                  <a:lnTo>
                    <a:pt x="77219" y="45777"/>
                  </a:lnTo>
                  <a:lnTo>
                    <a:pt x="73798" y="49850"/>
                  </a:lnTo>
                  <a:lnTo>
                    <a:pt x="72658" y="54575"/>
                  </a:lnTo>
                  <a:lnTo>
                    <a:pt x="71680" y="48547"/>
                  </a:lnTo>
                  <a:lnTo>
                    <a:pt x="72820" y="40564"/>
                  </a:lnTo>
                  <a:lnTo>
                    <a:pt x="74450" y="36003"/>
                  </a:lnTo>
                  <a:lnTo>
                    <a:pt x="71843" y="27532"/>
                  </a:lnTo>
                  <a:lnTo>
                    <a:pt x="68096" y="24599"/>
                  </a:lnTo>
                  <a:lnTo>
                    <a:pt x="57996" y="18409"/>
                  </a:lnTo>
                  <a:lnTo>
                    <a:pt x="51317" y="10752"/>
                  </a:lnTo>
                  <a:lnTo>
                    <a:pt x="50665" y="6679"/>
                  </a:lnTo>
                  <a:lnTo>
                    <a:pt x="45777" y="1955"/>
                  </a:lnTo>
                  <a:lnTo>
                    <a:pt x="41053" y="977"/>
                  </a:lnTo>
                  <a:lnTo>
                    <a:pt x="39587" y="0"/>
                  </a:lnTo>
                  <a:lnTo>
                    <a:pt x="38772" y="2444"/>
                  </a:lnTo>
                  <a:lnTo>
                    <a:pt x="31279" y="11567"/>
                  </a:lnTo>
                  <a:lnTo>
                    <a:pt x="25902" y="15639"/>
                  </a:lnTo>
                  <a:lnTo>
                    <a:pt x="21993" y="15150"/>
                  </a:lnTo>
                  <a:lnTo>
                    <a:pt x="14988" y="23459"/>
                  </a:lnTo>
                  <a:lnTo>
                    <a:pt x="17106" y="27043"/>
                  </a:lnTo>
                  <a:lnTo>
                    <a:pt x="18898" y="32582"/>
                  </a:lnTo>
                  <a:lnTo>
                    <a:pt x="25740" y="32908"/>
                  </a:lnTo>
                  <a:lnTo>
                    <a:pt x="29975" y="36166"/>
                  </a:lnTo>
                  <a:lnTo>
                    <a:pt x="29975" y="42356"/>
                  </a:lnTo>
                  <a:lnTo>
                    <a:pt x="21667" y="45940"/>
                  </a:lnTo>
                  <a:lnTo>
                    <a:pt x="17268" y="44311"/>
                  </a:lnTo>
                  <a:lnTo>
                    <a:pt x="13684" y="46103"/>
                  </a:lnTo>
                  <a:lnTo>
                    <a:pt x="9612" y="44311"/>
                  </a:lnTo>
                  <a:lnTo>
                    <a:pt x="6191" y="48384"/>
                  </a:lnTo>
                  <a:lnTo>
                    <a:pt x="5050" y="56041"/>
                  </a:lnTo>
                  <a:lnTo>
                    <a:pt x="0" y="60928"/>
                  </a:lnTo>
                  <a:lnTo>
                    <a:pt x="2281" y="67282"/>
                  </a:lnTo>
                  <a:lnTo>
                    <a:pt x="8960" y="76567"/>
                  </a:lnTo>
                  <a:lnTo>
                    <a:pt x="18572" y="84550"/>
                  </a:lnTo>
                  <a:lnTo>
                    <a:pt x="18572" y="85039"/>
                  </a:lnTo>
                  <a:close/>
                </a:path>
              </a:pathLst>
            </a:custGeom>
            <a:solidFill>
              <a:schemeClr val="bg2"/>
            </a:solidFill>
            <a:ln w="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4" name="Forma livre: Forma 33">
              <a:extLst>
                <a:ext uri="{FF2B5EF4-FFF2-40B4-BE49-F238E27FC236}">
                  <a16:creationId xmlns:a16="http://schemas.microsoft.com/office/drawing/2014/main" id="{351D9775-4ABA-831E-B024-91E34282BD9A}"/>
                </a:ext>
              </a:extLst>
            </p:cNvPr>
            <p:cNvSpPr/>
            <p:nvPr/>
          </p:nvSpPr>
          <p:spPr>
            <a:xfrm>
              <a:off x="4074078" y="4620503"/>
              <a:ext cx="352357" cy="325253"/>
            </a:xfrm>
            <a:custGeom>
              <a:avLst/>
              <a:gdLst>
                <a:gd name="connsiteX0" fmla="*/ 156393 w 340968"/>
                <a:gd name="connsiteY0" fmla="*/ 299427 h 314740"/>
                <a:gd name="connsiteX1" fmla="*/ 166167 w 340968"/>
                <a:gd name="connsiteY1" fmla="*/ 306106 h 314740"/>
                <a:gd name="connsiteX2" fmla="*/ 176268 w 340968"/>
                <a:gd name="connsiteY2" fmla="*/ 313926 h 314740"/>
                <a:gd name="connsiteX3" fmla="*/ 182133 w 340968"/>
                <a:gd name="connsiteY3" fmla="*/ 314741 h 314740"/>
                <a:gd name="connsiteX4" fmla="*/ 192559 w 340968"/>
                <a:gd name="connsiteY4" fmla="*/ 314252 h 314740"/>
                <a:gd name="connsiteX5" fmla="*/ 198586 w 340968"/>
                <a:gd name="connsiteY5" fmla="*/ 307084 h 314740"/>
                <a:gd name="connsiteX6" fmla="*/ 207383 w 340968"/>
                <a:gd name="connsiteY6" fmla="*/ 301382 h 314740"/>
                <a:gd name="connsiteX7" fmla="*/ 211619 w 340968"/>
                <a:gd name="connsiteY7" fmla="*/ 296332 h 314740"/>
                <a:gd name="connsiteX8" fmla="*/ 224652 w 340968"/>
                <a:gd name="connsiteY8" fmla="*/ 289490 h 314740"/>
                <a:gd name="connsiteX9" fmla="*/ 227095 w 340968"/>
                <a:gd name="connsiteY9" fmla="*/ 282810 h 314740"/>
                <a:gd name="connsiteX10" fmla="*/ 231331 w 340968"/>
                <a:gd name="connsiteY10" fmla="*/ 278249 h 314740"/>
                <a:gd name="connsiteX11" fmla="*/ 243386 w 340968"/>
                <a:gd name="connsiteY11" fmla="*/ 275805 h 314740"/>
                <a:gd name="connsiteX12" fmla="*/ 249251 w 340968"/>
                <a:gd name="connsiteY12" fmla="*/ 273036 h 314740"/>
                <a:gd name="connsiteX13" fmla="*/ 248925 w 340968"/>
                <a:gd name="connsiteY13" fmla="*/ 267823 h 314740"/>
                <a:gd name="connsiteX14" fmla="*/ 240780 w 340968"/>
                <a:gd name="connsiteY14" fmla="*/ 266194 h 314740"/>
                <a:gd name="connsiteX15" fmla="*/ 232634 w 340968"/>
                <a:gd name="connsiteY15" fmla="*/ 267171 h 314740"/>
                <a:gd name="connsiteX16" fmla="*/ 220905 w 340968"/>
                <a:gd name="connsiteY16" fmla="*/ 263261 h 314740"/>
                <a:gd name="connsiteX17" fmla="*/ 222534 w 340968"/>
                <a:gd name="connsiteY17" fmla="*/ 254790 h 314740"/>
                <a:gd name="connsiteX18" fmla="*/ 219765 w 340968"/>
                <a:gd name="connsiteY18" fmla="*/ 249577 h 314740"/>
                <a:gd name="connsiteX19" fmla="*/ 226933 w 340968"/>
                <a:gd name="connsiteY19" fmla="*/ 238499 h 314740"/>
                <a:gd name="connsiteX20" fmla="*/ 225141 w 340968"/>
                <a:gd name="connsiteY20" fmla="*/ 233775 h 314740"/>
                <a:gd name="connsiteX21" fmla="*/ 219601 w 340968"/>
                <a:gd name="connsiteY21" fmla="*/ 228562 h 314740"/>
                <a:gd name="connsiteX22" fmla="*/ 214226 w 340968"/>
                <a:gd name="connsiteY22" fmla="*/ 226607 h 314740"/>
                <a:gd name="connsiteX23" fmla="*/ 210967 w 340968"/>
                <a:gd name="connsiteY23" fmla="*/ 220416 h 314740"/>
                <a:gd name="connsiteX24" fmla="*/ 218298 w 340968"/>
                <a:gd name="connsiteY24" fmla="*/ 222697 h 314740"/>
                <a:gd name="connsiteX25" fmla="*/ 226281 w 340968"/>
                <a:gd name="connsiteY25" fmla="*/ 224000 h 314740"/>
                <a:gd name="connsiteX26" fmla="*/ 234263 w 340968"/>
                <a:gd name="connsiteY26" fmla="*/ 228399 h 314740"/>
                <a:gd name="connsiteX27" fmla="*/ 243060 w 340968"/>
                <a:gd name="connsiteY27" fmla="*/ 227910 h 314740"/>
                <a:gd name="connsiteX28" fmla="*/ 254464 w 340968"/>
                <a:gd name="connsiteY28" fmla="*/ 226444 h 314740"/>
                <a:gd name="connsiteX29" fmla="*/ 257234 w 340968"/>
                <a:gd name="connsiteY29" fmla="*/ 228236 h 314740"/>
                <a:gd name="connsiteX30" fmla="*/ 265379 w 340968"/>
                <a:gd name="connsiteY30" fmla="*/ 225466 h 314740"/>
                <a:gd name="connsiteX31" fmla="*/ 273687 w 340968"/>
                <a:gd name="connsiteY31" fmla="*/ 218135 h 314740"/>
                <a:gd name="connsiteX32" fmla="*/ 280855 w 340968"/>
                <a:gd name="connsiteY32" fmla="*/ 217484 h 314740"/>
                <a:gd name="connsiteX33" fmla="*/ 285091 w 340968"/>
                <a:gd name="connsiteY33" fmla="*/ 219439 h 314740"/>
                <a:gd name="connsiteX34" fmla="*/ 296495 w 340968"/>
                <a:gd name="connsiteY34" fmla="*/ 214714 h 314740"/>
                <a:gd name="connsiteX35" fmla="*/ 304803 w 340968"/>
                <a:gd name="connsiteY35" fmla="*/ 214063 h 314740"/>
                <a:gd name="connsiteX36" fmla="*/ 317999 w 340968"/>
                <a:gd name="connsiteY36" fmla="*/ 204614 h 314740"/>
                <a:gd name="connsiteX37" fmla="*/ 320442 w 340968"/>
                <a:gd name="connsiteY37" fmla="*/ 198586 h 314740"/>
                <a:gd name="connsiteX38" fmla="*/ 319954 w 340968"/>
                <a:gd name="connsiteY38" fmla="*/ 192722 h 314740"/>
                <a:gd name="connsiteX39" fmla="*/ 310342 w 340968"/>
                <a:gd name="connsiteY39" fmla="*/ 184739 h 314740"/>
                <a:gd name="connsiteX40" fmla="*/ 303663 w 340968"/>
                <a:gd name="connsiteY40" fmla="*/ 175453 h 314740"/>
                <a:gd name="connsiteX41" fmla="*/ 301219 w 340968"/>
                <a:gd name="connsiteY41" fmla="*/ 168937 h 314740"/>
                <a:gd name="connsiteX42" fmla="*/ 306432 w 340968"/>
                <a:gd name="connsiteY42" fmla="*/ 164212 h 314740"/>
                <a:gd name="connsiteX43" fmla="*/ 307573 w 340968"/>
                <a:gd name="connsiteY43" fmla="*/ 156556 h 314740"/>
                <a:gd name="connsiteX44" fmla="*/ 310994 w 340968"/>
                <a:gd name="connsiteY44" fmla="*/ 152483 h 314740"/>
                <a:gd name="connsiteX45" fmla="*/ 315066 w 340968"/>
                <a:gd name="connsiteY45" fmla="*/ 154275 h 314740"/>
                <a:gd name="connsiteX46" fmla="*/ 318487 w 340968"/>
                <a:gd name="connsiteY46" fmla="*/ 152483 h 314740"/>
                <a:gd name="connsiteX47" fmla="*/ 322886 w 340968"/>
                <a:gd name="connsiteY47" fmla="*/ 154112 h 314740"/>
                <a:gd name="connsiteX48" fmla="*/ 331194 w 340968"/>
                <a:gd name="connsiteY48" fmla="*/ 150365 h 314740"/>
                <a:gd name="connsiteX49" fmla="*/ 331194 w 340968"/>
                <a:gd name="connsiteY49" fmla="*/ 144338 h 314740"/>
                <a:gd name="connsiteX50" fmla="*/ 326959 w 340968"/>
                <a:gd name="connsiteY50" fmla="*/ 141079 h 314740"/>
                <a:gd name="connsiteX51" fmla="*/ 320117 w 340968"/>
                <a:gd name="connsiteY51" fmla="*/ 140753 h 314740"/>
                <a:gd name="connsiteX52" fmla="*/ 318325 w 340968"/>
                <a:gd name="connsiteY52" fmla="*/ 135215 h 314740"/>
                <a:gd name="connsiteX53" fmla="*/ 316370 w 340968"/>
                <a:gd name="connsiteY53" fmla="*/ 131794 h 314740"/>
                <a:gd name="connsiteX54" fmla="*/ 323375 w 340968"/>
                <a:gd name="connsiteY54" fmla="*/ 123485 h 314740"/>
                <a:gd name="connsiteX55" fmla="*/ 327284 w 340968"/>
                <a:gd name="connsiteY55" fmla="*/ 123811 h 314740"/>
                <a:gd name="connsiteX56" fmla="*/ 332660 w 340968"/>
                <a:gd name="connsiteY56" fmla="*/ 119738 h 314740"/>
                <a:gd name="connsiteX57" fmla="*/ 340154 w 340968"/>
                <a:gd name="connsiteY57" fmla="*/ 110778 h 314740"/>
                <a:gd name="connsiteX58" fmla="*/ 340969 w 340968"/>
                <a:gd name="connsiteY58" fmla="*/ 108335 h 314740"/>
                <a:gd name="connsiteX59" fmla="*/ 339666 w 340968"/>
                <a:gd name="connsiteY59" fmla="*/ 107520 h 314740"/>
                <a:gd name="connsiteX60" fmla="*/ 329891 w 340968"/>
                <a:gd name="connsiteY60" fmla="*/ 103122 h 314740"/>
                <a:gd name="connsiteX61" fmla="*/ 326470 w 340968"/>
                <a:gd name="connsiteY61" fmla="*/ 103122 h 314740"/>
                <a:gd name="connsiteX62" fmla="*/ 323049 w 340968"/>
                <a:gd name="connsiteY62" fmla="*/ 104425 h 314740"/>
                <a:gd name="connsiteX63" fmla="*/ 317836 w 340968"/>
                <a:gd name="connsiteY63" fmla="*/ 103285 h 314740"/>
                <a:gd name="connsiteX64" fmla="*/ 314903 w 340968"/>
                <a:gd name="connsiteY64" fmla="*/ 103285 h 314740"/>
                <a:gd name="connsiteX65" fmla="*/ 310831 w 340968"/>
                <a:gd name="connsiteY65" fmla="*/ 105239 h 314740"/>
                <a:gd name="connsiteX66" fmla="*/ 302685 w 340968"/>
                <a:gd name="connsiteY66" fmla="*/ 106543 h 314740"/>
                <a:gd name="connsiteX67" fmla="*/ 296658 w 340968"/>
                <a:gd name="connsiteY67" fmla="*/ 105891 h 314740"/>
                <a:gd name="connsiteX68" fmla="*/ 293562 w 340968"/>
                <a:gd name="connsiteY68" fmla="*/ 105565 h 314740"/>
                <a:gd name="connsiteX69" fmla="*/ 298938 w 340968"/>
                <a:gd name="connsiteY69" fmla="*/ 104588 h 314740"/>
                <a:gd name="connsiteX70" fmla="*/ 301871 w 340968"/>
                <a:gd name="connsiteY70" fmla="*/ 104914 h 314740"/>
                <a:gd name="connsiteX71" fmla="*/ 305618 w 340968"/>
                <a:gd name="connsiteY71" fmla="*/ 102470 h 314740"/>
                <a:gd name="connsiteX72" fmla="*/ 307898 w 340968"/>
                <a:gd name="connsiteY72" fmla="*/ 98397 h 314740"/>
                <a:gd name="connsiteX73" fmla="*/ 313274 w 340968"/>
                <a:gd name="connsiteY73" fmla="*/ 94325 h 314740"/>
                <a:gd name="connsiteX74" fmla="*/ 314415 w 340968"/>
                <a:gd name="connsiteY74" fmla="*/ 91718 h 314740"/>
                <a:gd name="connsiteX75" fmla="*/ 310994 w 340968"/>
                <a:gd name="connsiteY75" fmla="*/ 89274 h 314740"/>
                <a:gd name="connsiteX76" fmla="*/ 311319 w 340968"/>
                <a:gd name="connsiteY76" fmla="*/ 87645 h 314740"/>
                <a:gd name="connsiteX77" fmla="*/ 309853 w 340968"/>
                <a:gd name="connsiteY77" fmla="*/ 83572 h 314740"/>
                <a:gd name="connsiteX78" fmla="*/ 302848 w 340968"/>
                <a:gd name="connsiteY78" fmla="*/ 79826 h 314740"/>
                <a:gd name="connsiteX79" fmla="*/ 294377 w 340968"/>
                <a:gd name="connsiteY79" fmla="*/ 77545 h 314740"/>
                <a:gd name="connsiteX80" fmla="*/ 291770 w 340968"/>
                <a:gd name="connsiteY80" fmla="*/ 74938 h 314740"/>
                <a:gd name="connsiteX81" fmla="*/ 288675 w 340968"/>
                <a:gd name="connsiteY81" fmla="*/ 72983 h 314740"/>
                <a:gd name="connsiteX82" fmla="*/ 283625 w 340968"/>
                <a:gd name="connsiteY82" fmla="*/ 72983 h 314740"/>
                <a:gd name="connsiteX83" fmla="*/ 281996 w 340968"/>
                <a:gd name="connsiteY83" fmla="*/ 70377 h 314740"/>
                <a:gd name="connsiteX84" fmla="*/ 276783 w 340968"/>
                <a:gd name="connsiteY84" fmla="*/ 68096 h 314740"/>
                <a:gd name="connsiteX85" fmla="*/ 274013 w 340968"/>
                <a:gd name="connsiteY85" fmla="*/ 68096 h 314740"/>
                <a:gd name="connsiteX86" fmla="*/ 274176 w 340968"/>
                <a:gd name="connsiteY86" fmla="*/ 72495 h 314740"/>
                <a:gd name="connsiteX87" fmla="*/ 270918 w 340968"/>
                <a:gd name="connsiteY87" fmla="*/ 68096 h 314740"/>
                <a:gd name="connsiteX88" fmla="*/ 268963 w 340968"/>
                <a:gd name="connsiteY88" fmla="*/ 63046 h 314740"/>
                <a:gd name="connsiteX89" fmla="*/ 263750 w 340968"/>
                <a:gd name="connsiteY89" fmla="*/ 60439 h 314740"/>
                <a:gd name="connsiteX90" fmla="*/ 262284 w 340968"/>
                <a:gd name="connsiteY90" fmla="*/ 57670 h 314740"/>
                <a:gd name="connsiteX91" fmla="*/ 265053 w 340968"/>
                <a:gd name="connsiteY91" fmla="*/ 55389 h 314740"/>
                <a:gd name="connsiteX92" fmla="*/ 276457 w 340968"/>
                <a:gd name="connsiteY92" fmla="*/ 55715 h 314740"/>
                <a:gd name="connsiteX93" fmla="*/ 280692 w 340968"/>
                <a:gd name="connsiteY93" fmla="*/ 52945 h 314740"/>
                <a:gd name="connsiteX94" fmla="*/ 287860 w 340968"/>
                <a:gd name="connsiteY94" fmla="*/ 52294 h 314740"/>
                <a:gd name="connsiteX95" fmla="*/ 288675 w 340968"/>
                <a:gd name="connsiteY95" fmla="*/ 48058 h 314740"/>
                <a:gd name="connsiteX96" fmla="*/ 281996 w 340968"/>
                <a:gd name="connsiteY96" fmla="*/ 49361 h 314740"/>
                <a:gd name="connsiteX97" fmla="*/ 270592 w 340968"/>
                <a:gd name="connsiteY97" fmla="*/ 46918 h 314740"/>
                <a:gd name="connsiteX98" fmla="*/ 262284 w 340968"/>
                <a:gd name="connsiteY98" fmla="*/ 48058 h 314740"/>
                <a:gd name="connsiteX99" fmla="*/ 256745 w 340968"/>
                <a:gd name="connsiteY99" fmla="*/ 47733 h 314740"/>
                <a:gd name="connsiteX100" fmla="*/ 245504 w 340968"/>
                <a:gd name="connsiteY100" fmla="*/ 51805 h 314740"/>
                <a:gd name="connsiteX101" fmla="*/ 241594 w 340968"/>
                <a:gd name="connsiteY101" fmla="*/ 50176 h 314740"/>
                <a:gd name="connsiteX102" fmla="*/ 237033 w 340968"/>
                <a:gd name="connsiteY102" fmla="*/ 50665 h 314740"/>
                <a:gd name="connsiteX103" fmla="*/ 227584 w 340968"/>
                <a:gd name="connsiteY103" fmla="*/ 57344 h 314740"/>
                <a:gd name="connsiteX104" fmla="*/ 222860 w 340968"/>
                <a:gd name="connsiteY104" fmla="*/ 58485 h 314740"/>
                <a:gd name="connsiteX105" fmla="*/ 217158 w 340968"/>
                <a:gd name="connsiteY105" fmla="*/ 61417 h 314740"/>
                <a:gd name="connsiteX106" fmla="*/ 214877 w 340968"/>
                <a:gd name="connsiteY106" fmla="*/ 64186 h 314740"/>
                <a:gd name="connsiteX107" fmla="*/ 207383 w 340968"/>
                <a:gd name="connsiteY107" fmla="*/ 65164 h 314740"/>
                <a:gd name="connsiteX108" fmla="*/ 204940 w 340968"/>
                <a:gd name="connsiteY108" fmla="*/ 66630 h 314740"/>
                <a:gd name="connsiteX109" fmla="*/ 201030 w 340968"/>
                <a:gd name="connsiteY109" fmla="*/ 65327 h 314740"/>
                <a:gd name="connsiteX110" fmla="*/ 189789 w 340968"/>
                <a:gd name="connsiteY110" fmla="*/ 57833 h 314740"/>
                <a:gd name="connsiteX111" fmla="*/ 187509 w 340968"/>
                <a:gd name="connsiteY111" fmla="*/ 53271 h 314740"/>
                <a:gd name="connsiteX112" fmla="*/ 184250 w 340968"/>
                <a:gd name="connsiteY112" fmla="*/ 52783 h 314740"/>
                <a:gd name="connsiteX113" fmla="*/ 171706 w 340968"/>
                <a:gd name="connsiteY113" fmla="*/ 53760 h 314740"/>
                <a:gd name="connsiteX114" fmla="*/ 147596 w 340968"/>
                <a:gd name="connsiteY114" fmla="*/ 57833 h 314740"/>
                <a:gd name="connsiteX115" fmla="*/ 135866 w 340968"/>
                <a:gd name="connsiteY115" fmla="*/ 57833 h 314740"/>
                <a:gd name="connsiteX116" fmla="*/ 131305 w 340968"/>
                <a:gd name="connsiteY116" fmla="*/ 55389 h 314740"/>
                <a:gd name="connsiteX117" fmla="*/ 129513 w 340968"/>
                <a:gd name="connsiteY117" fmla="*/ 51642 h 314740"/>
                <a:gd name="connsiteX118" fmla="*/ 129513 w 340968"/>
                <a:gd name="connsiteY118" fmla="*/ 47244 h 314740"/>
                <a:gd name="connsiteX119" fmla="*/ 132445 w 340968"/>
                <a:gd name="connsiteY119" fmla="*/ 47244 h 314740"/>
                <a:gd name="connsiteX120" fmla="*/ 131957 w 340968"/>
                <a:gd name="connsiteY120" fmla="*/ 41868 h 314740"/>
                <a:gd name="connsiteX121" fmla="*/ 126743 w 340968"/>
                <a:gd name="connsiteY121" fmla="*/ 34863 h 314740"/>
                <a:gd name="connsiteX122" fmla="*/ 122019 w 340968"/>
                <a:gd name="connsiteY122" fmla="*/ 33559 h 314740"/>
                <a:gd name="connsiteX123" fmla="*/ 109801 w 340968"/>
                <a:gd name="connsiteY123" fmla="*/ 34537 h 314740"/>
                <a:gd name="connsiteX124" fmla="*/ 104262 w 340968"/>
                <a:gd name="connsiteY124" fmla="*/ 31442 h 314740"/>
                <a:gd name="connsiteX125" fmla="*/ 100189 w 340968"/>
                <a:gd name="connsiteY125" fmla="*/ 31442 h 314740"/>
                <a:gd name="connsiteX126" fmla="*/ 96931 w 340968"/>
                <a:gd name="connsiteY126" fmla="*/ 32419 h 314740"/>
                <a:gd name="connsiteX127" fmla="*/ 92695 w 340968"/>
                <a:gd name="connsiteY127" fmla="*/ 25577 h 314740"/>
                <a:gd name="connsiteX128" fmla="*/ 92695 w 340968"/>
                <a:gd name="connsiteY128" fmla="*/ 18735 h 314740"/>
                <a:gd name="connsiteX129" fmla="*/ 90903 w 340968"/>
                <a:gd name="connsiteY129" fmla="*/ 10263 h 314740"/>
                <a:gd name="connsiteX130" fmla="*/ 88460 w 340968"/>
                <a:gd name="connsiteY130" fmla="*/ 9286 h 314740"/>
                <a:gd name="connsiteX131" fmla="*/ 81292 w 340968"/>
                <a:gd name="connsiteY131" fmla="*/ 12218 h 314740"/>
                <a:gd name="connsiteX132" fmla="*/ 74287 w 340968"/>
                <a:gd name="connsiteY132" fmla="*/ 20527 h 314740"/>
                <a:gd name="connsiteX133" fmla="*/ 75916 w 340968"/>
                <a:gd name="connsiteY133" fmla="*/ 26066 h 314740"/>
                <a:gd name="connsiteX134" fmla="*/ 78359 w 340968"/>
                <a:gd name="connsiteY134" fmla="*/ 28183 h 314740"/>
                <a:gd name="connsiteX135" fmla="*/ 83084 w 340968"/>
                <a:gd name="connsiteY135" fmla="*/ 25577 h 314740"/>
                <a:gd name="connsiteX136" fmla="*/ 87645 w 340968"/>
                <a:gd name="connsiteY136" fmla="*/ 25903 h 314740"/>
                <a:gd name="connsiteX137" fmla="*/ 91718 w 340968"/>
                <a:gd name="connsiteY137" fmla="*/ 30301 h 314740"/>
                <a:gd name="connsiteX138" fmla="*/ 90903 w 340968"/>
                <a:gd name="connsiteY138" fmla="*/ 33396 h 314740"/>
                <a:gd name="connsiteX139" fmla="*/ 86505 w 340968"/>
                <a:gd name="connsiteY139" fmla="*/ 34700 h 314740"/>
                <a:gd name="connsiteX140" fmla="*/ 81292 w 340968"/>
                <a:gd name="connsiteY140" fmla="*/ 32256 h 314740"/>
                <a:gd name="connsiteX141" fmla="*/ 78848 w 340968"/>
                <a:gd name="connsiteY141" fmla="*/ 30627 h 314740"/>
                <a:gd name="connsiteX142" fmla="*/ 77708 w 340968"/>
                <a:gd name="connsiteY142" fmla="*/ 32093 h 314740"/>
                <a:gd name="connsiteX143" fmla="*/ 77708 w 340968"/>
                <a:gd name="connsiteY143" fmla="*/ 34048 h 314740"/>
                <a:gd name="connsiteX144" fmla="*/ 71680 w 340968"/>
                <a:gd name="connsiteY144" fmla="*/ 37143 h 314740"/>
                <a:gd name="connsiteX145" fmla="*/ 60439 w 340968"/>
                <a:gd name="connsiteY145" fmla="*/ 39098 h 314740"/>
                <a:gd name="connsiteX146" fmla="*/ 49199 w 340968"/>
                <a:gd name="connsiteY146" fmla="*/ 43823 h 314740"/>
                <a:gd name="connsiteX147" fmla="*/ 45777 w 340968"/>
                <a:gd name="connsiteY147" fmla="*/ 48221 h 314740"/>
                <a:gd name="connsiteX148" fmla="*/ 45777 w 340968"/>
                <a:gd name="connsiteY148" fmla="*/ 52457 h 314740"/>
                <a:gd name="connsiteX149" fmla="*/ 48710 w 340968"/>
                <a:gd name="connsiteY149" fmla="*/ 57833 h 314740"/>
                <a:gd name="connsiteX150" fmla="*/ 48710 w 340968"/>
                <a:gd name="connsiteY150" fmla="*/ 68096 h 314740"/>
                <a:gd name="connsiteX151" fmla="*/ 49850 w 340968"/>
                <a:gd name="connsiteY151" fmla="*/ 75101 h 314740"/>
                <a:gd name="connsiteX152" fmla="*/ 52131 w 340968"/>
                <a:gd name="connsiteY152" fmla="*/ 80966 h 314740"/>
                <a:gd name="connsiteX153" fmla="*/ 48384 w 340968"/>
                <a:gd name="connsiteY153" fmla="*/ 88785 h 314740"/>
                <a:gd name="connsiteX154" fmla="*/ 39587 w 340968"/>
                <a:gd name="connsiteY154" fmla="*/ 93999 h 314740"/>
                <a:gd name="connsiteX155" fmla="*/ 35188 w 340968"/>
                <a:gd name="connsiteY155" fmla="*/ 93347 h 314740"/>
                <a:gd name="connsiteX156" fmla="*/ 35188 w 340968"/>
                <a:gd name="connsiteY156" fmla="*/ 86016 h 314740"/>
                <a:gd name="connsiteX157" fmla="*/ 29975 w 340968"/>
                <a:gd name="connsiteY157" fmla="*/ 80151 h 314740"/>
                <a:gd name="connsiteX158" fmla="*/ 28509 w 340968"/>
                <a:gd name="connsiteY158" fmla="*/ 74938 h 314740"/>
                <a:gd name="connsiteX159" fmla="*/ 33234 w 340968"/>
                <a:gd name="connsiteY159" fmla="*/ 70866 h 314740"/>
                <a:gd name="connsiteX160" fmla="*/ 33559 w 340968"/>
                <a:gd name="connsiteY160" fmla="*/ 67933 h 314740"/>
                <a:gd name="connsiteX161" fmla="*/ 43171 w 340968"/>
                <a:gd name="connsiteY161" fmla="*/ 58322 h 314740"/>
                <a:gd name="connsiteX162" fmla="*/ 43171 w 340968"/>
                <a:gd name="connsiteY162" fmla="*/ 50176 h 314740"/>
                <a:gd name="connsiteX163" fmla="*/ 40076 w 340968"/>
                <a:gd name="connsiteY163" fmla="*/ 44800 h 314740"/>
                <a:gd name="connsiteX164" fmla="*/ 40401 w 340968"/>
                <a:gd name="connsiteY164" fmla="*/ 42356 h 314740"/>
                <a:gd name="connsiteX165" fmla="*/ 40401 w 340968"/>
                <a:gd name="connsiteY165" fmla="*/ 39261 h 314740"/>
                <a:gd name="connsiteX166" fmla="*/ 36166 w 340968"/>
                <a:gd name="connsiteY166" fmla="*/ 36329 h 314740"/>
                <a:gd name="connsiteX167" fmla="*/ 34211 w 340968"/>
                <a:gd name="connsiteY167" fmla="*/ 32093 h 314740"/>
                <a:gd name="connsiteX168" fmla="*/ 35514 w 340968"/>
                <a:gd name="connsiteY168" fmla="*/ 28672 h 314740"/>
                <a:gd name="connsiteX169" fmla="*/ 41379 w 340968"/>
                <a:gd name="connsiteY169" fmla="*/ 26066 h 314740"/>
                <a:gd name="connsiteX170" fmla="*/ 47407 w 340968"/>
                <a:gd name="connsiteY170" fmla="*/ 24599 h 314740"/>
                <a:gd name="connsiteX171" fmla="*/ 52783 w 340968"/>
                <a:gd name="connsiteY171" fmla="*/ 18409 h 314740"/>
                <a:gd name="connsiteX172" fmla="*/ 50013 w 340968"/>
                <a:gd name="connsiteY172" fmla="*/ 18409 h 314740"/>
                <a:gd name="connsiteX173" fmla="*/ 48873 w 340968"/>
                <a:gd name="connsiteY173" fmla="*/ 19223 h 314740"/>
                <a:gd name="connsiteX174" fmla="*/ 35840 w 340968"/>
                <a:gd name="connsiteY174" fmla="*/ 24274 h 314740"/>
                <a:gd name="connsiteX175" fmla="*/ 28183 w 340968"/>
                <a:gd name="connsiteY175" fmla="*/ 36166 h 314740"/>
                <a:gd name="connsiteX176" fmla="*/ 25740 w 340968"/>
                <a:gd name="connsiteY176" fmla="*/ 39098 h 314740"/>
                <a:gd name="connsiteX177" fmla="*/ 21341 w 340968"/>
                <a:gd name="connsiteY177" fmla="*/ 40239 h 314740"/>
                <a:gd name="connsiteX178" fmla="*/ 17268 w 340968"/>
                <a:gd name="connsiteY178" fmla="*/ 46103 h 314740"/>
                <a:gd name="connsiteX179" fmla="*/ 13196 w 340968"/>
                <a:gd name="connsiteY179" fmla="*/ 49525 h 314740"/>
                <a:gd name="connsiteX180" fmla="*/ 5050 w 340968"/>
                <a:gd name="connsiteY180" fmla="*/ 61091 h 314740"/>
                <a:gd name="connsiteX181" fmla="*/ 3584 w 340968"/>
                <a:gd name="connsiteY181" fmla="*/ 66304 h 314740"/>
                <a:gd name="connsiteX182" fmla="*/ 5213 w 340968"/>
                <a:gd name="connsiteY182" fmla="*/ 70703 h 314740"/>
                <a:gd name="connsiteX183" fmla="*/ 4399 w 340968"/>
                <a:gd name="connsiteY183" fmla="*/ 79174 h 314740"/>
                <a:gd name="connsiteX184" fmla="*/ 489 w 340968"/>
                <a:gd name="connsiteY184" fmla="*/ 87482 h 314740"/>
                <a:gd name="connsiteX185" fmla="*/ 0 w 340968"/>
                <a:gd name="connsiteY185" fmla="*/ 90089 h 314740"/>
                <a:gd name="connsiteX186" fmla="*/ 3258 w 340968"/>
                <a:gd name="connsiteY186" fmla="*/ 89763 h 314740"/>
                <a:gd name="connsiteX187" fmla="*/ 7657 w 340968"/>
                <a:gd name="connsiteY187" fmla="*/ 89763 h 314740"/>
                <a:gd name="connsiteX188" fmla="*/ 17757 w 340968"/>
                <a:gd name="connsiteY188" fmla="*/ 108498 h 314740"/>
                <a:gd name="connsiteX189" fmla="*/ 22318 w 340968"/>
                <a:gd name="connsiteY189" fmla="*/ 115340 h 314740"/>
                <a:gd name="connsiteX190" fmla="*/ 23622 w 340968"/>
                <a:gd name="connsiteY190" fmla="*/ 120064 h 314740"/>
                <a:gd name="connsiteX191" fmla="*/ 21015 w 340968"/>
                <a:gd name="connsiteY191" fmla="*/ 125603 h 314740"/>
                <a:gd name="connsiteX192" fmla="*/ 21341 w 340968"/>
                <a:gd name="connsiteY192" fmla="*/ 129187 h 314740"/>
                <a:gd name="connsiteX193" fmla="*/ 19549 w 340968"/>
                <a:gd name="connsiteY193" fmla="*/ 132119 h 314740"/>
                <a:gd name="connsiteX194" fmla="*/ 19875 w 340968"/>
                <a:gd name="connsiteY194" fmla="*/ 135866 h 314740"/>
                <a:gd name="connsiteX195" fmla="*/ 25740 w 340968"/>
                <a:gd name="connsiteY195" fmla="*/ 140753 h 314740"/>
                <a:gd name="connsiteX196" fmla="*/ 32908 w 340968"/>
                <a:gd name="connsiteY196" fmla="*/ 143849 h 314740"/>
                <a:gd name="connsiteX197" fmla="*/ 37469 w 340968"/>
                <a:gd name="connsiteY197" fmla="*/ 144338 h 314740"/>
                <a:gd name="connsiteX198" fmla="*/ 42845 w 340968"/>
                <a:gd name="connsiteY198" fmla="*/ 146944 h 314740"/>
                <a:gd name="connsiteX199" fmla="*/ 46918 w 340968"/>
                <a:gd name="connsiteY199" fmla="*/ 144826 h 314740"/>
                <a:gd name="connsiteX200" fmla="*/ 53434 w 340968"/>
                <a:gd name="connsiteY200" fmla="*/ 144826 h 314740"/>
                <a:gd name="connsiteX201" fmla="*/ 59625 w 340968"/>
                <a:gd name="connsiteY201" fmla="*/ 146781 h 314740"/>
                <a:gd name="connsiteX202" fmla="*/ 61417 w 340968"/>
                <a:gd name="connsiteY202" fmla="*/ 145152 h 314740"/>
                <a:gd name="connsiteX203" fmla="*/ 68748 w 340968"/>
                <a:gd name="connsiteY203" fmla="*/ 143849 h 314740"/>
                <a:gd name="connsiteX204" fmla="*/ 76893 w 340968"/>
                <a:gd name="connsiteY204" fmla="*/ 145478 h 314740"/>
                <a:gd name="connsiteX205" fmla="*/ 81455 w 340968"/>
                <a:gd name="connsiteY205" fmla="*/ 147433 h 314740"/>
                <a:gd name="connsiteX206" fmla="*/ 100678 w 340968"/>
                <a:gd name="connsiteY206" fmla="*/ 166493 h 314740"/>
                <a:gd name="connsiteX207" fmla="*/ 107683 w 340968"/>
                <a:gd name="connsiteY207" fmla="*/ 165027 h 314740"/>
                <a:gd name="connsiteX208" fmla="*/ 109475 w 340968"/>
                <a:gd name="connsiteY208" fmla="*/ 166656 h 314740"/>
                <a:gd name="connsiteX209" fmla="*/ 111430 w 340968"/>
                <a:gd name="connsiteY209" fmla="*/ 165842 h 314740"/>
                <a:gd name="connsiteX210" fmla="*/ 116643 w 340968"/>
                <a:gd name="connsiteY210" fmla="*/ 167471 h 314740"/>
                <a:gd name="connsiteX211" fmla="*/ 119901 w 340968"/>
                <a:gd name="connsiteY211" fmla="*/ 169263 h 314740"/>
                <a:gd name="connsiteX212" fmla="*/ 124626 w 340968"/>
                <a:gd name="connsiteY212" fmla="*/ 166656 h 314740"/>
                <a:gd name="connsiteX213" fmla="*/ 129676 w 340968"/>
                <a:gd name="connsiteY213" fmla="*/ 166656 h 314740"/>
                <a:gd name="connsiteX214" fmla="*/ 136681 w 340968"/>
                <a:gd name="connsiteY214" fmla="*/ 167145 h 314740"/>
                <a:gd name="connsiteX215" fmla="*/ 137984 w 340968"/>
                <a:gd name="connsiteY215" fmla="*/ 165679 h 314740"/>
                <a:gd name="connsiteX216" fmla="*/ 142383 w 340968"/>
                <a:gd name="connsiteY216" fmla="*/ 165679 h 314740"/>
                <a:gd name="connsiteX217" fmla="*/ 146455 w 340968"/>
                <a:gd name="connsiteY217" fmla="*/ 167634 h 314740"/>
                <a:gd name="connsiteX218" fmla="*/ 148084 w 340968"/>
                <a:gd name="connsiteY218" fmla="*/ 177571 h 314740"/>
                <a:gd name="connsiteX219" fmla="*/ 146130 w 340968"/>
                <a:gd name="connsiteY219" fmla="*/ 181644 h 314740"/>
                <a:gd name="connsiteX220" fmla="*/ 146130 w 340968"/>
                <a:gd name="connsiteY220" fmla="*/ 186205 h 314740"/>
                <a:gd name="connsiteX221" fmla="*/ 144500 w 340968"/>
                <a:gd name="connsiteY221" fmla="*/ 189301 h 314740"/>
                <a:gd name="connsiteX222" fmla="*/ 138473 w 340968"/>
                <a:gd name="connsiteY222" fmla="*/ 191093 h 314740"/>
                <a:gd name="connsiteX223" fmla="*/ 135541 w 340968"/>
                <a:gd name="connsiteY223" fmla="*/ 194676 h 314740"/>
                <a:gd name="connsiteX224" fmla="*/ 137007 w 340968"/>
                <a:gd name="connsiteY224" fmla="*/ 203800 h 314740"/>
                <a:gd name="connsiteX225" fmla="*/ 137495 w 340968"/>
                <a:gd name="connsiteY225" fmla="*/ 207058 h 314740"/>
                <a:gd name="connsiteX226" fmla="*/ 135541 w 340968"/>
                <a:gd name="connsiteY226" fmla="*/ 213411 h 314740"/>
                <a:gd name="connsiteX227" fmla="*/ 135541 w 340968"/>
                <a:gd name="connsiteY227" fmla="*/ 221557 h 314740"/>
                <a:gd name="connsiteX228" fmla="*/ 138473 w 340968"/>
                <a:gd name="connsiteY228" fmla="*/ 225629 h 314740"/>
                <a:gd name="connsiteX229" fmla="*/ 138473 w 340968"/>
                <a:gd name="connsiteY229" fmla="*/ 228562 h 314740"/>
                <a:gd name="connsiteX230" fmla="*/ 144175 w 340968"/>
                <a:gd name="connsiteY230" fmla="*/ 242246 h 314740"/>
                <a:gd name="connsiteX231" fmla="*/ 135866 w 340968"/>
                <a:gd name="connsiteY231" fmla="*/ 257397 h 314740"/>
                <a:gd name="connsiteX232" fmla="*/ 136681 w 340968"/>
                <a:gd name="connsiteY232" fmla="*/ 261143 h 314740"/>
                <a:gd name="connsiteX233" fmla="*/ 139450 w 340968"/>
                <a:gd name="connsiteY233" fmla="*/ 262121 h 314740"/>
                <a:gd name="connsiteX234" fmla="*/ 141894 w 340968"/>
                <a:gd name="connsiteY234" fmla="*/ 260329 h 314740"/>
                <a:gd name="connsiteX235" fmla="*/ 143034 w 340968"/>
                <a:gd name="connsiteY235" fmla="*/ 261469 h 314740"/>
                <a:gd name="connsiteX236" fmla="*/ 144175 w 340968"/>
                <a:gd name="connsiteY236" fmla="*/ 265542 h 314740"/>
                <a:gd name="connsiteX237" fmla="*/ 146618 w 340968"/>
                <a:gd name="connsiteY237" fmla="*/ 267008 h 314740"/>
                <a:gd name="connsiteX238" fmla="*/ 149225 w 340968"/>
                <a:gd name="connsiteY238" fmla="*/ 272058 h 314740"/>
                <a:gd name="connsiteX239" fmla="*/ 147759 w 340968"/>
                <a:gd name="connsiteY239" fmla="*/ 274991 h 314740"/>
                <a:gd name="connsiteX240" fmla="*/ 150691 w 340968"/>
                <a:gd name="connsiteY240" fmla="*/ 281507 h 314740"/>
                <a:gd name="connsiteX241" fmla="*/ 155741 w 340968"/>
                <a:gd name="connsiteY241" fmla="*/ 294377 h 314740"/>
                <a:gd name="connsiteX242" fmla="*/ 156230 w 340968"/>
                <a:gd name="connsiteY242" fmla="*/ 299264 h 314740"/>
                <a:gd name="connsiteX243" fmla="*/ 155904 w 340968"/>
                <a:gd name="connsiteY243" fmla="*/ 299264 h 314740"/>
                <a:gd name="connsiteX244" fmla="*/ 122508 w 340968"/>
                <a:gd name="connsiteY244" fmla="*/ 7820 h 314740"/>
                <a:gd name="connsiteX245" fmla="*/ 127558 w 340968"/>
                <a:gd name="connsiteY245" fmla="*/ 7494 h 314740"/>
                <a:gd name="connsiteX246" fmla="*/ 132282 w 340968"/>
                <a:gd name="connsiteY246" fmla="*/ 12218 h 314740"/>
                <a:gd name="connsiteX247" fmla="*/ 131142 w 340968"/>
                <a:gd name="connsiteY247" fmla="*/ 16454 h 314740"/>
                <a:gd name="connsiteX248" fmla="*/ 128209 w 340968"/>
                <a:gd name="connsiteY248" fmla="*/ 12544 h 314740"/>
                <a:gd name="connsiteX249" fmla="*/ 124788 w 340968"/>
                <a:gd name="connsiteY249" fmla="*/ 12055 h 314740"/>
                <a:gd name="connsiteX250" fmla="*/ 122508 w 340968"/>
                <a:gd name="connsiteY250" fmla="*/ 7820 h 314740"/>
                <a:gd name="connsiteX251" fmla="*/ 122508 w 340968"/>
                <a:gd name="connsiteY251" fmla="*/ 7820 h 314740"/>
                <a:gd name="connsiteX252" fmla="*/ 105565 w 340968"/>
                <a:gd name="connsiteY252" fmla="*/ 5539 h 314740"/>
                <a:gd name="connsiteX253" fmla="*/ 110290 w 340968"/>
                <a:gd name="connsiteY253" fmla="*/ 11078 h 314740"/>
                <a:gd name="connsiteX254" fmla="*/ 114688 w 340968"/>
                <a:gd name="connsiteY254" fmla="*/ 11567 h 314740"/>
                <a:gd name="connsiteX255" fmla="*/ 112082 w 340968"/>
                <a:gd name="connsiteY255" fmla="*/ 14336 h 314740"/>
                <a:gd name="connsiteX256" fmla="*/ 106380 w 340968"/>
                <a:gd name="connsiteY256" fmla="*/ 13033 h 314740"/>
                <a:gd name="connsiteX257" fmla="*/ 103936 w 340968"/>
                <a:gd name="connsiteY257" fmla="*/ 7983 h 314740"/>
                <a:gd name="connsiteX258" fmla="*/ 105402 w 340968"/>
                <a:gd name="connsiteY258" fmla="*/ 5376 h 314740"/>
                <a:gd name="connsiteX259" fmla="*/ 105402 w 340968"/>
                <a:gd name="connsiteY259" fmla="*/ 5376 h 314740"/>
                <a:gd name="connsiteX260" fmla="*/ 81129 w 340968"/>
                <a:gd name="connsiteY260" fmla="*/ 0 h 314740"/>
                <a:gd name="connsiteX261" fmla="*/ 84387 w 340968"/>
                <a:gd name="connsiteY261" fmla="*/ 4561 h 314740"/>
                <a:gd name="connsiteX262" fmla="*/ 89437 w 340968"/>
                <a:gd name="connsiteY262" fmla="*/ 4561 h 314740"/>
                <a:gd name="connsiteX263" fmla="*/ 85039 w 340968"/>
                <a:gd name="connsiteY263" fmla="*/ 326 h 314740"/>
                <a:gd name="connsiteX264" fmla="*/ 81129 w 340968"/>
                <a:gd name="connsiteY264" fmla="*/ 0 h 314740"/>
                <a:gd name="connsiteX265" fmla="*/ 81129 w 340968"/>
                <a:gd name="connsiteY265" fmla="*/ 0 h 314740"/>
                <a:gd name="connsiteX266" fmla="*/ 225303 w 340968"/>
                <a:gd name="connsiteY266" fmla="*/ 43497 h 314740"/>
                <a:gd name="connsiteX267" fmla="*/ 230517 w 340968"/>
                <a:gd name="connsiteY267" fmla="*/ 39587 h 314740"/>
                <a:gd name="connsiteX268" fmla="*/ 232960 w 340968"/>
                <a:gd name="connsiteY268" fmla="*/ 42845 h 314740"/>
                <a:gd name="connsiteX269" fmla="*/ 240617 w 340968"/>
                <a:gd name="connsiteY269" fmla="*/ 37143 h 314740"/>
                <a:gd name="connsiteX270" fmla="*/ 242898 w 340968"/>
                <a:gd name="connsiteY270" fmla="*/ 40564 h 314740"/>
                <a:gd name="connsiteX271" fmla="*/ 238825 w 340968"/>
                <a:gd name="connsiteY271" fmla="*/ 45615 h 314740"/>
                <a:gd name="connsiteX272" fmla="*/ 233612 w 340968"/>
                <a:gd name="connsiteY272" fmla="*/ 44311 h 314740"/>
                <a:gd name="connsiteX273" fmla="*/ 227910 w 340968"/>
                <a:gd name="connsiteY273" fmla="*/ 45452 h 314740"/>
                <a:gd name="connsiteX274" fmla="*/ 225141 w 340968"/>
                <a:gd name="connsiteY274" fmla="*/ 43497 h 3147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</a:cxnLst>
              <a:rect l="l" t="t" r="r" b="b"/>
              <a:pathLst>
                <a:path w="340968" h="314740">
                  <a:moveTo>
                    <a:pt x="156393" y="299427"/>
                  </a:moveTo>
                  <a:lnTo>
                    <a:pt x="166167" y="306106"/>
                  </a:lnTo>
                  <a:lnTo>
                    <a:pt x="176268" y="313926"/>
                  </a:lnTo>
                  <a:lnTo>
                    <a:pt x="182133" y="314741"/>
                  </a:lnTo>
                  <a:lnTo>
                    <a:pt x="192559" y="314252"/>
                  </a:lnTo>
                  <a:lnTo>
                    <a:pt x="198586" y="307084"/>
                  </a:lnTo>
                  <a:lnTo>
                    <a:pt x="207383" y="301382"/>
                  </a:lnTo>
                  <a:lnTo>
                    <a:pt x="211619" y="296332"/>
                  </a:lnTo>
                  <a:lnTo>
                    <a:pt x="224652" y="289490"/>
                  </a:lnTo>
                  <a:lnTo>
                    <a:pt x="227095" y="282810"/>
                  </a:lnTo>
                  <a:lnTo>
                    <a:pt x="231331" y="278249"/>
                  </a:lnTo>
                  <a:lnTo>
                    <a:pt x="243386" y="275805"/>
                  </a:lnTo>
                  <a:lnTo>
                    <a:pt x="249251" y="273036"/>
                  </a:lnTo>
                  <a:lnTo>
                    <a:pt x="248925" y="267823"/>
                  </a:lnTo>
                  <a:lnTo>
                    <a:pt x="240780" y="266194"/>
                  </a:lnTo>
                  <a:lnTo>
                    <a:pt x="232634" y="267171"/>
                  </a:lnTo>
                  <a:lnTo>
                    <a:pt x="220905" y="263261"/>
                  </a:lnTo>
                  <a:lnTo>
                    <a:pt x="222534" y="254790"/>
                  </a:lnTo>
                  <a:lnTo>
                    <a:pt x="219765" y="249577"/>
                  </a:lnTo>
                  <a:lnTo>
                    <a:pt x="226933" y="238499"/>
                  </a:lnTo>
                  <a:lnTo>
                    <a:pt x="225141" y="233775"/>
                  </a:lnTo>
                  <a:lnTo>
                    <a:pt x="219601" y="228562"/>
                  </a:lnTo>
                  <a:lnTo>
                    <a:pt x="214226" y="226607"/>
                  </a:lnTo>
                  <a:lnTo>
                    <a:pt x="210967" y="220416"/>
                  </a:lnTo>
                  <a:lnTo>
                    <a:pt x="218298" y="222697"/>
                  </a:lnTo>
                  <a:lnTo>
                    <a:pt x="226281" y="224000"/>
                  </a:lnTo>
                  <a:lnTo>
                    <a:pt x="234263" y="228399"/>
                  </a:lnTo>
                  <a:lnTo>
                    <a:pt x="243060" y="227910"/>
                  </a:lnTo>
                  <a:lnTo>
                    <a:pt x="254464" y="226444"/>
                  </a:lnTo>
                  <a:lnTo>
                    <a:pt x="257234" y="228236"/>
                  </a:lnTo>
                  <a:lnTo>
                    <a:pt x="265379" y="225466"/>
                  </a:lnTo>
                  <a:lnTo>
                    <a:pt x="273687" y="218135"/>
                  </a:lnTo>
                  <a:lnTo>
                    <a:pt x="280855" y="217484"/>
                  </a:lnTo>
                  <a:lnTo>
                    <a:pt x="285091" y="219439"/>
                  </a:lnTo>
                  <a:lnTo>
                    <a:pt x="296495" y="214714"/>
                  </a:lnTo>
                  <a:lnTo>
                    <a:pt x="304803" y="214063"/>
                  </a:lnTo>
                  <a:lnTo>
                    <a:pt x="317999" y="204614"/>
                  </a:lnTo>
                  <a:lnTo>
                    <a:pt x="320442" y="198586"/>
                  </a:lnTo>
                  <a:lnTo>
                    <a:pt x="319954" y="192722"/>
                  </a:lnTo>
                  <a:lnTo>
                    <a:pt x="310342" y="184739"/>
                  </a:lnTo>
                  <a:lnTo>
                    <a:pt x="303663" y="175453"/>
                  </a:lnTo>
                  <a:lnTo>
                    <a:pt x="301219" y="168937"/>
                  </a:lnTo>
                  <a:lnTo>
                    <a:pt x="306432" y="164212"/>
                  </a:lnTo>
                  <a:lnTo>
                    <a:pt x="307573" y="156556"/>
                  </a:lnTo>
                  <a:lnTo>
                    <a:pt x="310994" y="152483"/>
                  </a:lnTo>
                  <a:lnTo>
                    <a:pt x="315066" y="154275"/>
                  </a:lnTo>
                  <a:lnTo>
                    <a:pt x="318487" y="152483"/>
                  </a:lnTo>
                  <a:lnTo>
                    <a:pt x="322886" y="154112"/>
                  </a:lnTo>
                  <a:lnTo>
                    <a:pt x="331194" y="150365"/>
                  </a:lnTo>
                  <a:lnTo>
                    <a:pt x="331194" y="144338"/>
                  </a:lnTo>
                  <a:lnTo>
                    <a:pt x="326959" y="141079"/>
                  </a:lnTo>
                  <a:lnTo>
                    <a:pt x="320117" y="140753"/>
                  </a:lnTo>
                  <a:lnTo>
                    <a:pt x="318325" y="135215"/>
                  </a:lnTo>
                  <a:lnTo>
                    <a:pt x="316370" y="131794"/>
                  </a:lnTo>
                  <a:lnTo>
                    <a:pt x="323375" y="123485"/>
                  </a:lnTo>
                  <a:lnTo>
                    <a:pt x="327284" y="123811"/>
                  </a:lnTo>
                  <a:lnTo>
                    <a:pt x="332660" y="119738"/>
                  </a:lnTo>
                  <a:lnTo>
                    <a:pt x="340154" y="110778"/>
                  </a:lnTo>
                  <a:lnTo>
                    <a:pt x="340969" y="108335"/>
                  </a:lnTo>
                  <a:lnTo>
                    <a:pt x="339666" y="107520"/>
                  </a:lnTo>
                  <a:lnTo>
                    <a:pt x="329891" y="103122"/>
                  </a:lnTo>
                  <a:lnTo>
                    <a:pt x="326470" y="103122"/>
                  </a:lnTo>
                  <a:cubicBezTo>
                    <a:pt x="326470" y="103122"/>
                    <a:pt x="323049" y="104425"/>
                    <a:pt x="323049" y="104425"/>
                  </a:cubicBezTo>
                  <a:lnTo>
                    <a:pt x="317836" y="103285"/>
                  </a:lnTo>
                  <a:lnTo>
                    <a:pt x="314903" y="103285"/>
                  </a:lnTo>
                  <a:cubicBezTo>
                    <a:pt x="314903" y="103285"/>
                    <a:pt x="310831" y="105239"/>
                    <a:pt x="310831" y="105239"/>
                  </a:cubicBezTo>
                  <a:lnTo>
                    <a:pt x="302685" y="106543"/>
                  </a:lnTo>
                  <a:lnTo>
                    <a:pt x="296658" y="105891"/>
                  </a:lnTo>
                  <a:lnTo>
                    <a:pt x="293562" y="105565"/>
                  </a:lnTo>
                  <a:lnTo>
                    <a:pt x="298938" y="104588"/>
                  </a:lnTo>
                  <a:lnTo>
                    <a:pt x="301871" y="104914"/>
                  </a:lnTo>
                  <a:lnTo>
                    <a:pt x="305618" y="102470"/>
                  </a:lnTo>
                  <a:lnTo>
                    <a:pt x="307898" y="98397"/>
                  </a:lnTo>
                  <a:lnTo>
                    <a:pt x="313274" y="94325"/>
                  </a:lnTo>
                  <a:lnTo>
                    <a:pt x="314415" y="91718"/>
                  </a:lnTo>
                  <a:lnTo>
                    <a:pt x="310994" y="89274"/>
                  </a:lnTo>
                  <a:lnTo>
                    <a:pt x="311319" y="87645"/>
                  </a:lnTo>
                  <a:lnTo>
                    <a:pt x="309853" y="83572"/>
                  </a:lnTo>
                  <a:lnTo>
                    <a:pt x="302848" y="79826"/>
                  </a:lnTo>
                  <a:lnTo>
                    <a:pt x="294377" y="77545"/>
                  </a:lnTo>
                  <a:lnTo>
                    <a:pt x="291770" y="74938"/>
                  </a:lnTo>
                  <a:lnTo>
                    <a:pt x="288675" y="72983"/>
                  </a:lnTo>
                  <a:lnTo>
                    <a:pt x="283625" y="72983"/>
                  </a:lnTo>
                  <a:cubicBezTo>
                    <a:pt x="283625" y="72983"/>
                    <a:pt x="281996" y="70377"/>
                    <a:pt x="281996" y="70377"/>
                  </a:cubicBezTo>
                  <a:lnTo>
                    <a:pt x="276783" y="68096"/>
                  </a:lnTo>
                  <a:lnTo>
                    <a:pt x="274013" y="68096"/>
                  </a:lnTo>
                  <a:cubicBezTo>
                    <a:pt x="274013" y="68096"/>
                    <a:pt x="274176" y="72495"/>
                    <a:pt x="274176" y="72495"/>
                  </a:cubicBezTo>
                  <a:lnTo>
                    <a:pt x="270918" y="68096"/>
                  </a:lnTo>
                  <a:lnTo>
                    <a:pt x="268963" y="63046"/>
                  </a:lnTo>
                  <a:lnTo>
                    <a:pt x="263750" y="60439"/>
                  </a:lnTo>
                  <a:lnTo>
                    <a:pt x="262284" y="57670"/>
                  </a:lnTo>
                  <a:lnTo>
                    <a:pt x="265053" y="55389"/>
                  </a:lnTo>
                  <a:lnTo>
                    <a:pt x="276457" y="55715"/>
                  </a:lnTo>
                  <a:lnTo>
                    <a:pt x="280692" y="52945"/>
                  </a:lnTo>
                  <a:lnTo>
                    <a:pt x="287860" y="52294"/>
                  </a:lnTo>
                  <a:lnTo>
                    <a:pt x="288675" y="48058"/>
                  </a:lnTo>
                  <a:lnTo>
                    <a:pt x="281996" y="49361"/>
                  </a:lnTo>
                  <a:lnTo>
                    <a:pt x="270592" y="46918"/>
                  </a:lnTo>
                  <a:lnTo>
                    <a:pt x="262284" y="48058"/>
                  </a:lnTo>
                  <a:lnTo>
                    <a:pt x="256745" y="47733"/>
                  </a:lnTo>
                  <a:lnTo>
                    <a:pt x="245504" y="51805"/>
                  </a:lnTo>
                  <a:lnTo>
                    <a:pt x="241594" y="50176"/>
                  </a:lnTo>
                  <a:lnTo>
                    <a:pt x="237033" y="50665"/>
                  </a:lnTo>
                  <a:lnTo>
                    <a:pt x="227584" y="57344"/>
                  </a:lnTo>
                  <a:lnTo>
                    <a:pt x="222860" y="58485"/>
                  </a:lnTo>
                  <a:lnTo>
                    <a:pt x="217158" y="61417"/>
                  </a:lnTo>
                  <a:lnTo>
                    <a:pt x="214877" y="64186"/>
                  </a:lnTo>
                  <a:lnTo>
                    <a:pt x="207383" y="65164"/>
                  </a:lnTo>
                  <a:lnTo>
                    <a:pt x="204940" y="66630"/>
                  </a:lnTo>
                  <a:lnTo>
                    <a:pt x="201030" y="65327"/>
                  </a:lnTo>
                  <a:lnTo>
                    <a:pt x="189789" y="57833"/>
                  </a:lnTo>
                  <a:lnTo>
                    <a:pt x="187509" y="53271"/>
                  </a:lnTo>
                  <a:lnTo>
                    <a:pt x="184250" y="52783"/>
                  </a:lnTo>
                  <a:lnTo>
                    <a:pt x="171706" y="53760"/>
                  </a:lnTo>
                  <a:lnTo>
                    <a:pt x="147596" y="57833"/>
                  </a:lnTo>
                  <a:lnTo>
                    <a:pt x="135866" y="57833"/>
                  </a:lnTo>
                  <a:lnTo>
                    <a:pt x="131305" y="55389"/>
                  </a:lnTo>
                  <a:lnTo>
                    <a:pt x="129513" y="51642"/>
                  </a:lnTo>
                  <a:lnTo>
                    <a:pt x="129513" y="47244"/>
                  </a:lnTo>
                  <a:lnTo>
                    <a:pt x="132445" y="47244"/>
                  </a:lnTo>
                  <a:cubicBezTo>
                    <a:pt x="132445" y="47244"/>
                    <a:pt x="131957" y="41868"/>
                    <a:pt x="131957" y="41868"/>
                  </a:cubicBezTo>
                  <a:lnTo>
                    <a:pt x="126743" y="34863"/>
                  </a:lnTo>
                  <a:lnTo>
                    <a:pt x="122019" y="33559"/>
                  </a:lnTo>
                  <a:lnTo>
                    <a:pt x="109801" y="34537"/>
                  </a:lnTo>
                  <a:lnTo>
                    <a:pt x="104262" y="31442"/>
                  </a:lnTo>
                  <a:lnTo>
                    <a:pt x="100189" y="31442"/>
                  </a:lnTo>
                  <a:cubicBezTo>
                    <a:pt x="100189" y="31442"/>
                    <a:pt x="96931" y="32419"/>
                    <a:pt x="96931" y="32419"/>
                  </a:cubicBezTo>
                  <a:lnTo>
                    <a:pt x="92695" y="25577"/>
                  </a:lnTo>
                  <a:lnTo>
                    <a:pt x="92695" y="18735"/>
                  </a:lnTo>
                  <a:lnTo>
                    <a:pt x="90903" y="10263"/>
                  </a:lnTo>
                  <a:lnTo>
                    <a:pt x="88460" y="9286"/>
                  </a:lnTo>
                  <a:lnTo>
                    <a:pt x="81292" y="12218"/>
                  </a:lnTo>
                  <a:lnTo>
                    <a:pt x="74287" y="20527"/>
                  </a:lnTo>
                  <a:lnTo>
                    <a:pt x="75916" y="26066"/>
                  </a:lnTo>
                  <a:lnTo>
                    <a:pt x="78359" y="28183"/>
                  </a:lnTo>
                  <a:lnTo>
                    <a:pt x="83084" y="25577"/>
                  </a:lnTo>
                  <a:lnTo>
                    <a:pt x="87645" y="25903"/>
                  </a:lnTo>
                  <a:lnTo>
                    <a:pt x="91718" y="30301"/>
                  </a:lnTo>
                  <a:lnTo>
                    <a:pt x="90903" y="33396"/>
                  </a:lnTo>
                  <a:lnTo>
                    <a:pt x="86505" y="34700"/>
                  </a:lnTo>
                  <a:lnTo>
                    <a:pt x="81292" y="32256"/>
                  </a:lnTo>
                  <a:lnTo>
                    <a:pt x="78848" y="30627"/>
                  </a:lnTo>
                  <a:lnTo>
                    <a:pt x="77708" y="32093"/>
                  </a:lnTo>
                  <a:lnTo>
                    <a:pt x="77708" y="34048"/>
                  </a:lnTo>
                  <a:cubicBezTo>
                    <a:pt x="77708" y="34048"/>
                    <a:pt x="71680" y="37143"/>
                    <a:pt x="71680" y="37143"/>
                  </a:cubicBezTo>
                  <a:lnTo>
                    <a:pt x="60439" y="39098"/>
                  </a:lnTo>
                  <a:lnTo>
                    <a:pt x="49199" y="43823"/>
                  </a:lnTo>
                  <a:lnTo>
                    <a:pt x="45777" y="48221"/>
                  </a:lnTo>
                  <a:lnTo>
                    <a:pt x="45777" y="52457"/>
                  </a:lnTo>
                  <a:lnTo>
                    <a:pt x="48710" y="57833"/>
                  </a:lnTo>
                  <a:lnTo>
                    <a:pt x="48710" y="68096"/>
                  </a:lnTo>
                  <a:lnTo>
                    <a:pt x="49850" y="75101"/>
                  </a:lnTo>
                  <a:lnTo>
                    <a:pt x="52131" y="80966"/>
                  </a:lnTo>
                  <a:lnTo>
                    <a:pt x="48384" y="88785"/>
                  </a:lnTo>
                  <a:lnTo>
                    <a:pt x="39587" y="93999"/>
                  </a:lnTo>
                  <a:lnTo>
                    <a:pt x="35188" y="93347"/>
                  </a:lnTo>
                  <a:lnTo>
                    <a:pt x="35188" y="86016"/>
                  </a:lnTo>
                  <a:lnTo>
                    <a:pt x="29975" y="80151"/>
                  </a:lnTo>
                  <a:lnTo>
                    <a:pt x="28509" y="74938"/>
                  </a:lnTo>
                  <a:lnTo>
                    <a:pt x="33234" y="70866"/>
                  </a:lnTo>
                  <a:lnTo>
                    <a:pt x="33559" y="67933"/>
                  </a:lnTo>
                  <a:lnTo>
                    <a:pt x="43171" y="58322"/>
                  </a:lnTo>
                  <a:lnTo>
                    <a:pt x="43171" y="50176"/>
                  </a:lnTo>
                  <a:lnTo>
                    <a:pt x="40076" y="44800"/>
                  </a:lnTo>
                  <a:lnTo>
                    <a:pt x="40401" y="42356"/>
                  </a:lnTo>
                  <a:lnTo>
                    <a:pt x="40401" y="39261"/>
                  </a:lnTo>
                  <a:cubicBezTo>
                    <a:pt x="40401" y="39261"/>
                    <a:pt x="36166" y="36329"/>
                    <a:pt x="36166" y="36329"/>
                  </a:cubicBezTo>
                  <a:lnTo>
                    <a:pt x="34211" y="32093"/>
                  </a:lnTo>
                  <a:lnTo>
                    <a:pt x="35514" y="28672"/>
                  </a:lnTo>
                  <a:lnTo>
                    <a:pt x="41379" y="26066"/>
                  </a:lnTo>
                  <a:lnTo>
                    <a:pt x="47407" y="24599"/>
                  </a:lnTo>
                  <a:lnTo>
                    <a:pt x="52783" y="18409"/>
                  </a:lnTo>
                  <a:lnTo>
                    <a:pt x="50013" y="18409"/>
                  </a:lnTo>
                  <a:cubicBezTo>
                    <a:pt x="50013" y="18409"/>
                    <a:pt x="48873" y="19223"/>
                    <a:pt x="48873" y="19223"/>
                  </a:cubicBezTo>
                  <a:lnTo>
                    <a:pt x="35840" y="24274"/>
                  </a:lnTo>
                  <a:lnTo>
                    <a:pt x="28183" y="36166"/>
                  </a:lnTo>
                  <a:lnTo>
                    <a:pt x="25740" y="39098"/>
                  </a:lnTo>
                  <a:lnTo>
                    <a:pt x="21341" y="40239"/>
                  </a:lnTo>
                  <a:lnTo>
                    <a:pt x="17268" y="46103"/>
                  </a:lnTo>
                  <a:lnTo>
                    <a:pt x="13196" y="49525"/>
                  </a:lnTo>
                  <a:lnTo>
                    <a:pt x="5050" y="61091"/>
                  </a:lnTo>
                  <a:lnTo>
                    <a:pt x="3584" y="66304"/>
                  </a:lnTo>
                  <a:lnTo>
                    <a:pt x="5213" y="70703"/>
                  </a:lnTo>
                  <a:lnTo>
                    <a:pt x="4399" y="79174"/>
                  </a:lnTo>
                  <a:lnTo>
                    <a:pt x="489" y="87482"/>
                  </a:lnTo>
                  <a:lnTo>
                    <a:pt x="0" y="90089"/>
                  </a:lnTo>
                  <a:lnTo>
                    <a:pt x="3258" y="89763"/>
                  </a:lnTo>
                  <a:lnTo>
                    <a:pt x="7657" y="89763"/>
                  </a:lnTo>
                  <a:cubicBezTo>
                    <a:pt x="7657" y="89763"/>
                    <a:pt x="17757" y="108498"/>
                    <a:pt x="17757" y="108498"/>
                  </a:cubicBezTo>
                  <a:lnTo>
                    <a:pt x="22318" y="115340"/>
                  </a:lnTo>
                  <a:lnTo>
                    <a:pt x="23622" y="120064"/>
                  </a:lnTo>
                  <a:lnTo>
                    <a:pt x="21015" y="125603"/>
                  </a:lnTo>
                  <a:lnTo>
                    <a:pt x="21341" y="129187"/>
                  </a:lnTo>
                  <a:lnTo>
                    <a:pt x="19549" y="132119"/>
                  </a:lnTo>
                  <a:lnTo>
                    <a:pt x="19875" y="135866"/>
                  </a:lnTo>
                  <a:lnTo>
                    <a:pt x="25740" y="140753"/>
                  </a:lnTo>
                  <a:lnTo>
                    <a:pt x="32908" y="143849"/>
                  </a:lnTo>
                  <a:lnTo>
                    <a:pt x="37469" y="144338"/>
                  </a:lnTo>
                  <a:lnTo>
                    <a:pt x="42845" y="146944"/>
                  </a:lnTo>
                  <a:lnTo>
                    <a:pt x="46918" y="144826"/>
                  </a:lnTo>
                  <a:lnTo>
                    <a:pt x="53434" y="144826"/>
                  </a:lnTo>
                  <a:cubicBezTo>
                    <a:pt x="53434" y="144826"/>
                    <a:pt x="59625" y="146781"/>
                    <a:pt x="59625" y="146781"/>
                  </a:cubicBezTo>
                  <a:lnTo>
                    <a:pt x="61417" y="145152"/>
                  </a:lnTo>
                  <a:lnTo>
                    <a:pt x="68748" y="143849"/>
                  </a:lnTo>
                  <a:lnTo>
                    <a:pt x="76893" y="145478"/>
                  </a:lnTo>
                  <a:lnTo>
                    <a:pt x="81455" y="147433"/>
                  </a:lnTo>
                  <a:lnTo>
                    <a:pt x="100678" y="166493"/>
                  </a:lnTo>
                  <a:lnTo>
                    <a:pt x="107683" y="165027"/>
                  </a:lnTo>
                  <a:lnTo>
                    <a:pt x="109475" y="166656"/>
                  </a:lnTo>
                  <a:lnTo>
                    <a:pt x="111430" y="165842"/>
                  </a:lnTo>
                  <a:lnTo>
                    <a:pt x="116643" y="167471"/>
                  </a:lnTo>
                  <a:lnTo>
                    <a:pt x="119901" y="169263"/>
                  </a:lnTo>
                  <a:lnTo>
                    <a:pt x="124626" y="166656"/>
                  </a:lnTo>
                  <a:lnTo>
                    <a:pt x="129676" y="166656"/>
                  </a:lnTo>
                  <a:cubicBezTo>
                    <a:pt x="129676" y="166656"/>
                    <a:pt x="136681" y="167145"/>
                    <a:pt x="136681" y="167145"/>
                  </a:cubicBezTo>
                  <a:lnTo>
                    <a:pt x="137984" y="165679"/>
                  </a:lnTo>
                  <a:lnTo>
                    <a:pt x="142383" y="165679"/>
                  </a:lnTo>
                  <a:cubicBezTo>
                    <a:pt x="142383" y="165679"/>
                    <a:pt x="146455" y="167634"/>
                    <a:pt x="146455" y="167634"/>
                  </a:cubicBezTo>
                  <a:lnTo>
                    <a:pt x="148084" y="177571"/>
                  </a:lnTo>
                  <a:lnTo>
                    <a:pt x="146130" y="181644"/>
                  </a:lnTo>
                  <a:lnTo>
                    <a:pt x="146130" y="186205"/>
                  </a:lnTo>
                  <a:lnTo>
                    <a:pt x="144500" y="189301"/>
                  </a:lnTo>
                  <a:lnTo>
                    <a:pt x="138473" y="191093"/>
                  </a:lnTo>
                  <a:lnTo>
                    <a:pt x="135541" y="194676"/>
                  </a:lnTo>
                  <a:lnTo>
                    <a:pt x="137007" y="203800"/>
                  </a:lnTo>
                  <a:lnTo>
                    <a:pt x="137495" y="207058"/>
                  </a:lnTo>
                  <a:lnTo>
                    <a:pt x="135541" y="213411"/>
                  </a:lnTo>
                  <a:lnTo>
                    <a:pt x="135541" y="221557"/>
                  </a:lnTo>
                  <a:cubicBezTo>
                    <a:pt x="135541" y="221557"/>
                    <a:pt x="138473" y="225629"/>
                    <a:pt x="138473" y="225629"/>
                  </a:cubicBezTo>
                  <a:lnTo>
                    <a:pt x="138473" y="228562"/>
                  </a:lnTo>
                  <a:cubicBezTo>
                    <a:pt x="138473" y="228562"/>
                    <a:pt x="144175" y="242246"/>
                    <a:pt x="144175" y="242246"/>
                  </a:cubicBezTo>
                  <a:lnTo>
                    <a:pt x="135866" y="257397"/>
                  </a:lnTo>
                  <a:lnTo>
                    <a:pt x="136681" y="261143"/>
                  </a:lnTo>
                  <a:lnTo>
                    <a:pt x="139450" y="262121"/>
                  </a:lnTo>
                  <a:lnTo>
                    <a:pt x="141894" y="260329"/>
                  </a:lnTo>
                  <a:lnTo>
                    <a:pt x="143034" y="261469"/>
                  </a:lnTo>
                  <a:lnTo>
                    <a:pt x="144175" y="265542"/>
                  </a:lnTo>
                  <a:lnTo>
                    <a:pt x="146618" y="267008"/>
                  </a:lnTo>
                  <a:lnTo>
                    <a:pt x="149225" y="272058"/>
                  </a:lnTo>
                  <a:lnTo>
                    <a:pt x="147759" y="274991"/>
                  </a:lnTo>
                  <a:lnTo>
                    <a:pt x="150691" y="281507"/>
                  </a:lnTo>
                  <a:lnTo>
                    <a:pt x="155741" y="294377"/>
                  </a:lnTo>
                  <a:lnTo>
                    <a:pt x="156230" y="299264"/>
                  </a:lnTo>
                  <a:lnTo>
                    <a:pt x="155904" y="299264"/>
                  </a:lnTo>
                  <a:close/>
                  <a:moveTo>
                    <a:pt x="122508" y="7820"/>
                  </a:moveTo>
                  <a:lnTo>
                    <a:pt x="127558" y="7494"/>
                  </a:lnTo>
                  <a:lnTo>
                    <a:pt x="132282" y="12218"/>
                  </a:lnTo>
                  <a:lnTo>
                    <a:pt x="131142" y="16454"/>
                  </a:lnTo>
                  <a:lnTo>
                    <a:pt x="128209" y="12544"/>
                  </a:lnTo>
                  <a:lnTo>
                    <a:pt x="124788" y="12055"/>
                  </a:lnTo>
                  <a:lnTo>
                    <a:pt x="122508" y="7820"/>
                  </a:lnTo>
                  <a:lnTo>
                    <a:pt x="122508" y="7820"/>
                  </a:lnTo>
                  <a:close/>
                  <a:moveTo>
                    <a:pt x="105565" y="5539"/>
                  </a:moveTo>
                  <a:lnTo>
                    <a:pt x="110290" y="11078"/>
                  </a:lnTo>
                  <a:lnTo>
                    <a:pt x="114688" y="11567"/>
                  </a:lnTo>
                  <a:lnTo>
                    <a:pt x="112082" y="14336"/>
                  </a:lnTo>
                  <a:lnTo>
                    <a:pt x="106380" y="13033"/>
                  </a:lnTo>
                  <a:lnTo>
                    <a:pt x="103936" y="7983"/>
                  </a:lnTo>
                  <a:lnTo>
                    <a:pt x="105402" y="5376"/>
                  </a:lnTo>
                  <a:lnTo>
                    <a:pt x="105402" y="5376"/>
                  </a:lnTo>
                  <a:close/>
                  <a:moveTo>
                    <a:pt x="81129" y="0"/>
                  </a:moveTo>
                  <a:lnTo>
                    <a:pt x="84387" y="4561"/>
                  </a:lnTo>
                  <a:lnTo>
                    <a:pt x="89437" y="4561"/>
                  </a:lnTo>
                  <a:cubicBezTo>
                    <a:pt x="89437" y="4561"/>
                    <a:pt x="85039" y="326"/>
                    <a:pt x="85039" y="326"/>
                  </a:cubicBezTo>
                  <a:lnTo>
                    <a:pt x="81129" y="0"/>
                  </a:lnTo>
                  <a:lnTo>
                    <a:pt x="81129" y="0"/>
                  </a:lnTo>
                  <a:close/>
                  <a:moveTo>
                    <a:pt x="225303" y="43497"/>
                  </a:moveTo>
                  <a:lnTo>
                    <a:pt x="230517" y="39587"/>
                  </a:lnTo>
                  <a:lnTo>
                    <a:pt x="232960" y="42845"/>
                  </a:lnTo>
                  <a:lnTo>
                    <a:pt x="240617" y="37143"/>
                  </a:lnTo>
                  <a:lnTo>
                    <a:pt x="242898" y="40564"/>
                  </a:lnTo>
                  <a:lnTo>
                    <a:pt x="238825" y="45615"/>
                  </a:lnTo>
                  <a:lnTo>
                    <a:pt x="233612" y="44311"/>
                  </a:lnTo>
                  <a:lnTo>
                    <a:pt x="227910" y="45452"/>
                  </a:lnTo>
                  <a:cubicBezTo>
                    <a:pt x="227910" y="45452"/>
                    <a:pt x="225303" y="43497"/>
                    <a:pt x="225141" y="43497"/>
                  </a:cubicBezTo>
                  <a:close/>
                </a:path>
              </a:pathLst>
            </a:custGeom>
            <a:solidFill>
              <a:schemeClr val="bg2"/>
            </a:solidFill>
            <a:ln w="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5" name="Forma livre: Forma 34">
              <a:extLst>
                <a:ext uri="{FF2B5EF4-FFF2-40B4-BE49-F238E27FC236}">
                  <a16:creationId xmlns:a16="http://schemas.microsoft.com/office/drawing/2014/main" id="{26E0364D-7241-4C4A-981D-63EBA04666D0}"/>
                </a:ext>
              </a:extLst>
            </p:cNvPr>
            <p:cNvSpPr/>
            <p:nvPr/>
          </p:nvSpPr>
          <p:spPr>
            <a:xfrm>
              <a:off x="3918859" y="4624207"/>
              <a:ext cx="317171" cy="452862"/>
            </a:xfrm>
            <a:custGeom>
              <a:avLst/>
              <a:gdLst>
                <a:gd name="connsiteX0" fmla="*/ 230028 w 306920"/>
                <a:gd name="connsiteY0" fmla="*/ 438226 h 438225"/>
                <a:gd name="connsiteX1" fmla="*/ 234263 w 306920"/>
                <a:gd name="connsiteY1" fmla="*/ 424052 h 438225"/>
                <a:gd name="connsiteX2" fmla="*/ 248600 w 306920"/>
                <a:gd name="connsiteY2" fmla="*/ 370781 h 438225"/>
                <a:gd name="connsiteX3" fmla="*/ 248762 w 306920"/>
                <a:gd name="connsiteY3" fmla="*/ 366871 h 438225"/>
                <a:gd name="connsiteX4" fmla="*/ 249251 w 306920"/>
                <a:gd name="connsiteY4" fmla="*/ 358237 h 438225"/>
                <a:gd name="connsiteX5" fmla="*/ 242898 w 306920"/>
                <a:gd name="connsiteY5" fmla="*/ 347159 h 438225"/>
                <a:gd name="connsiteX6" fmla="*/ 233286 w 306920"/>
                <a:gd name="connsiteY6" fmla="*/ 339828 h 438225"/>
                <a:gd name="connsiteX7" fmla="*/ 228887 w 306920"/>
                <a:gd name="connsiteY7" fmla="*/ 334127 h 438225"/>
                <a:gd name="connsiteX8" fmla="*/ 228236 w 306920"/>
                <a:gd name="connsiteY8" fmla="*/ 320117 h 438225"/>
                <a:gd name="connsiteX9" fmla="*/ 245341 w 306920"/>
                <a:gd name="connsiteY9" fmla="*/ 314252 h 438225"/>
                <a:gd name="connsiteX10" fmla="*/ 251369 w 306920"/>
                <a:gd name="connsiteY10" fmla="*/ 318325 h 438225"/>
                <a:gd name="connsiteX11" fmla="*/ 252672 w 306920"/>
                <a:gd name="connsiteY11" fmla="*/ 314089 h 438225"/>
                <a:gd name="connsiteX12" fmla="*/ 249740 w 306920"/>
                <a:gd name="connsiteY12" fmla="*/ 310831 h 438225"/>
                <a:gd name="connsiteX13" fmla="*/ 252509 w 306920"/>
                <a:gd name="connsiteY13" fmla="*/ 307735 h 438225"/>
                <a:gd name="connsiteX14" fmla="*/ 248762 w 306920"/>
                <a:gd name="connsiteY14" fmla="*/ 300893 h 438225"/>
                <a:gd name="connsiteX15" fmla="*/ 238988 w 306920"/>
                <a:gd name="connsiteY15" fmla="*/ 298287 h 438225"/>
                <a:gd name="connsiteX16" fmla="*/ 236707 w 306920"/>
                <a:gd name="connsiteY16" fmla="*/ 292259 h 438225"/>
                <a:gd name="connsiteX17" fmla="*/ 238336 w 306920"/>
                <a:gd name="connsiteY17" fmla="*/ 283951 h 438225"/>
                <a:gd name="connsiteX18" fmla="*/ 267171 w 306920"/>
                <a:gd name="connsiteY18" fmla="*/ 283788 h 438225"/>
                <a:gd name="connsiteX19" fmla="*/ 270429 w 306920"/>
                <a:gd name="connsiteY19" fmla="*/ 280367 h 438225"/>
                <a:gd name="connsiteX20" fmla="*/ 275317 w 306920"/>
                <a:gd name="connsiteY20" fmla="*/ 280367 h 438225"/>
                <a:gd name="connsiteX21" fmla="*/ 278086 w 306920"/>
                <a:gd name="connsiteY21" fmla="*/ 282810 h 438225"/>
                <a:gd name="connsiteX22" fmla="*/ 281507 w 306920"/>
                <a:gd name="connsiteY22" fmla="*/ 282322 h 438225"/>
                <a:gd name="connsiteX23" fmla="*/ 286394 w 306920"/>
                <a:gd name="connsiteY23" fmla="*/ 276783 h 438225"/>
                <a:gd name="connsiteX24" fmla="*/ 293400 w 306920"/>
                <a:gd name="connsiteY24" fmla="*/ 274991 h 438225"/>
                <a:gd name="connsiteX25" fmla="*/ 294866 w 306920"/>
                <a:gd name="connsiteY25" fmla="*/ 278901 h 438225"/>
                <a:gd name="connsiteX26" fmla="*/ 299101 w 306920"/>
                <a:gd name="connsiteY26" fmla="*/ 284114 h 438225"/>
                <a:gd name="connsiteX27" fmla="*/ 300079 w 306920"/>
                <a:gd name="connsiteY27" fmla="*/ 289652 h 438225"/>
                <a:gd name="connsiteX28" fmla="*/ 299916 w 306920"/>
                <a:gd name="connsiteY28" fmla="*/ 296658 h 438225"/>
                <a:gd name="connsiteX29" fmla="*/ 306921 w 306920"/>
                <a:gd name="connsiteY29" fmla="*/ 295843 h 438225"/>
                <a:gd name="connsiteX30" fmla="*/ 306432 w 306920"/>
                <a:gd name="connsiteY30" fmla="*/ 290956 h 438225"/>
                <a:gd name="connsiteX31" fmla="*/ 301382 w 306920"/>
                <a:gd name="connsiteY31" fmla="*/ 278086 h 438225"/>
                <a:gd name="connsiteX32" fmla="*/ 298450 w 306920"/>
                <a:gd name="connsiteY32" fmla="*/ 271570 h 438225"/>
                <a:gd name="connsiteX33" fmla="*/ 299753 w 306920"/>
                <a:gd name="connsiteY33" fmla="*/ 268637 h 438225"/>
                <a:gd name="connsiteX34" fmla="*/ 297146 w 306920"/>
                <a:gd name="connsiteY34" fmla="*/ 263587 h 438225"/>
                <a:gd name="connsiteX35" fmla="*/ 294703 w 306920"/>
                <a:gd name="connsiteY35" fmla="*/ 262121 h 438225"/>
                <a:gd name="connsiteX36" fmla="*/ 293562 w 306920"/>
                <a:gd name="connsiteY36" fmla="*/ 258048 h 438225"/>
                <a:gd name="connsiteX37" fmla="*/ 292422 w 306920"/>
                <a:gd name="connsiteY37" fmla="*/ 256908 h 438225"/>
                <a:gd name="connsiteX38" fmla="*/ 289978 w 306920"/>
                <a:gd name="connsiteY38" fmla="*/ 258700 h 438225"/>
                <a:gd name="connsiteX39" fmla="*/ 287209 w 306920"/>
                <a:gd name="connsiteY39" fmla="*/ 257722 h 438225"/>
                <a:gd name="connsiteX40" fmla="*/ 286394 w 306920"/>
                <a:gd name="connsiteY40" fmla="*/ 254138 h 438225"/>
                <a:gd name="connsiteX41" fmla="*/ 294703 w 306920"/>
                <a:gd name="connsiteY41" fmla="*/ 238988 h 438225"/>
                <a:gd name="connsiteX42" fmla="*/ 289164 w 306920"/>
                <a:gd name="connsiteY42" fmla="*/ 225303 h 438225"/>
                <a:gd name="connsiteX43" fmla="*/ 289001 w 306920"/>
                <a:gd name="connsiteY43" fmla="*/ 222371 h 438225"/>
                <a:gd name="connsiteX44" fmla="*/ 286232 w 306920"/>
                <a:gd name="connsiteY44" fmla="*/ 218461 h 438225"/>
                <a:gd name="connsiteX45" fmla="*/ 286068 w 306920"/>
                <a:gd name="connsiteY45" fmla="*/ 210316 h 438225"/>
                <a:gd name="connsiteX46" fmla="*/ 288024 w 306920"/>
                <a:gd name="connsiteY46" fmla="*/ 203962 h 438225"/>
                <a:gd name="connsiteX47" fmla="*/ 287372 w 306920"/>
                <a:gd name="connsiteY47" fmla="*/ 200541 h 438225"/>
                <a:gd name="connsiteX48" fmla="*/ 285906 w 306920"/>
                <a:gd name="connsiteY48" fmla="*/ 191418 h 438225"/>
                <a:gd name="connsiteX49" fmla="*/ 288838 w 306920"/>
                <a:gd name="connsiteY49" fmla="*/ 187834 h 438225"/>
                <a:gd name="connsiteX50" fmla="*/ 294866 w 306920"/>
                <a:gd name="connsiteY50" fmla="*/ 186042 h 438225"/>
                <a:gd name="connsiteX51" fmla="*/ 296495 w 306920"/>
                <a:gd name="connsiteY51" fmla="*/ 182947 h 438225"/>
                <a:gd name="connsiteX52" fmla="*/ 296495 w 306920"/>
                <a:gd name="connsiteY52" fmla="*/ 178385 h 438225"/>
                <a:gd name="connsiteX53" fmla="*/ 298613 w 306920"/>
                <a:gd name="connsiteY53" fmla="*/ 174313 h 438225"/>
                <a:gd name="connsiteX54" fmla="*/ 296984 w 306920"/>
                <a:gd name="connsiteY54" fmla="*/ 164375 h 438225"/>
                <a:gd name="connsiteX55" fmla="*/ 292911 w 306920"/>
                <a:gd name="connsiteY55" fmla="*/ 162258 h 438225"/>
                <a:gd name="connsiteX56" fmla="*/ 288512 w 306920"/>
                <a:gd name="connsiteY56" fmla="*/ 162420 h 438225"/>
                <a:gd name="connsiteX57" fmla="*/ 287209 w 306920"/>
                <a:gd name="connsiteY57" fmla="*/ 163887 h 438225"/>
                <a:gd name="connsiteX58" fmla="*/ 280204 w 306920"/>
                <a:gd name="connsiteY58" fmla="*/ 163235 h 438225"/>
                <a:gd name="connsiteX59" fmla="*/ 274991 w 306920"/>
                <a:gd name="connsiteY59" fmla="*/ 163235 h 438225"/>
                <a:gd name="connsiteX60" fmla="*/ 270266 w 306920"/>
                <a:gd name="connsiteY60" fmla="*/ 166004 h 438225"/>
                <a:gd name="connsiteX61" fmla="*/ 267008 w 306920"/>
                <a:gd name="connsiteY61" fmla="*/ 164212 h 438225"/>
                <a:gd name="connsiteX62" fmla="*/ 261795 w 306920"/>
                <a:gd name="connsiteY62" fmla="*/ 162583 h 438225"/>
                <a:gd name="connsiteX63" fmla="*/ 259677 w 306920"/>
                <a:gd name="connsiteY63" fmla="*/ 163235 h 438225"/>
                <a:gd name="connsiteX64" fmla="*/ 257885 w 306920"/>
                <a:gd name="connsiteY64" fmla="*/ 161769 h 438225"/>
                <a:gd name="connsiteX65" fmla="*/ 250880 w 306920"/>
                <a:gd name="connsiteY65" fmla="*/ 163235 h 438225"/>
                <a:gd name="connsiteX66" fmla="*/ 231657 w 306920"/>
                <a:gd name="connsiteY66" fmla="*/ 144175 h 438225"/>
                <a:gd name="connsiteX67" fmla="*/ 226933 w 306920"/>
                <a:gd name="connsiteY67" fmla="*/ 142220 h 438225"/>
                <a:gd name="connsiteX68" fmla="*/ 218787 w 306920"/>
                <a:gd name="connsiteY68" fmla="*/ 140591 h 438225"/>
                <a:gd name="connsiteX69" fmla="*/ 211456 w 306920"/>
                <a:gd name="connsiteY69" fmla="*/ 141894 h 438225"/>
                <a:gd name="connsiteX70" fmla="*/ 209664 w 306920"/>
                <a:gd name="connsiteY70" fmla="*/ 143523 h 438225"/>
                <a:gd name="connsiteX71" fmla="*/ 203474 w 306920"/>
                <a:gd name="connsiteY71" fmla="*/ 141731 h 438225"/>
                <a:gd name="connsiteX72" fmla="*/ 196957 w 306920"/>
                <a:gd name="connsiteY72" fmla="*/ 141405 h 438225"/>
                <a:gd name="connsiteX73" fmla="*/ 192722 w 306920"/>
                <a:gd name="connsiteY73" fmla="*/ 143686 h 438225"/>
                <a:gd name="connsiteX74" fmla="*/ 187346 w 306920"/>
                <a:gd name="connsiteY74" fmla="*/ 141079 h 438225"/>
                <a:gd name="connsiteX75" fmla="*/ 182784 w 306920"/>
                <a:gd name="connsiteY75" fmla="*/ 140428 h 438225"/>
                <a:gd name="connsiteX76" fmla="*/ 175616 w 306920"/>
                <a:gd name="connsiteY76" fmla="*/ 137333 h 438225"/>
                <a:gd name="connsiteX77" fmla="*/ 169914 w 306920"/>
                <a:gd name="connsiteY77" fmla="*/ 132445 h 438225"/>
                <a:gd name="connsiteX78" fmla="*/ 169588 w 306920"/>
                <a:gd name="connsiteY78" fmla="*/ 128861 h 438225"/>
                <a:gd name="connsiteX79" fmla="*/ 171381 w 306920"/>
                <a:gd name="connsiteY79" fmla="*/ 125929 h 438225"/>
                <a:gd name="connsiteX80" fmla="*/ 170892 w 306920"/>
                <a:gd name="connsiteY80" fmla="*/ 122345 h 438225"/>
                <a:gd name="connsiteX81" fmla="*/ 173498 w 306920"/>
                <a:gd name="connsiteY81" fmla="*/ 116806 h 438225"/>
                <a:gd name="connsiteX82" fmla="*/ 172195 w 306920"/>
                <a:gd name="connsiteY82" fmla="*/ 111919 h 438225"/>
                <a:gd name="connsiteX83" fmla="*/ 167634 w 306920"/>
                <a:gd name="connsiteY83" fmla="*/ 105076 h 438225"/>
                <a:gd name="connsiteX84" fmla="*/ 157533 w 306920"/>
                <a:gd name="connsiteY84" fmla="*/ 86668 h 438225"/>
                <a:gd name="connsiteX85" fmla="*/ 153135 w 306920"/>
                <a:gd name="connsiteY85" fmla="*/ 86505 h 438225"/>
                <a:gd name="connsiteX86" fmla="*/ 149876 w 306920"/>
                <a:gd name="connsiteY86" fmla="*/ 86831 h 438225"/>
                <a:gd name="connsiteX87" fmla="*/ 150365 w 306920"/>
                <a:gd name="connsiteY87" fmla="*/ 84224 h 438225"/>
                <a:gd name="connsiteX88" fmla="*/ 154275 w 306920"/>
                <a:gd name="connsiteY88" fmla="*/ 75916 h 438225"/>
                <a:gd name="connsiteX89" fmla="*/ 155090 w 306920"/>
                <a:gd name="connsiteY89" fmla="*/ 67444 h 438225"/>
                <a:gd name="connsiteX90" fmla="*/ 153298 w 306920"/>
                <a:gd name="connsiteY90" fmla="*/ 63046 h 438225"/>
                <a:gd name="connsiteX91" fmla="*/ 154927 w 306920"/>
                <a:gd name="connsiteY91" fmla="*/ 57833 h 438225"/>
                <a:gd name="connsiteX92" fmla="*/ 162909 w 306920"/>
                <a:gd name="connsiteY92" fmla="*/ 46266 h 438225"/>
                <a:gd name="connsiteX93" fmla="*/ 166982 w 306920"/>
                <a:gd name="connsiteY93" fmla="*/ 42845 h 438225"/>
                <a:gd name="connsiteX94" fmla="*/ 171055 w 306920"/>
                <a:gd name="connsiteY94" fmla="*/ 36818 h 438225"/>
                <a:gd name="connsiteX95" fmla="*/ 175453 w 306920"/>
                <a:gd name="connsiteY95" fmla="*/ 35840 h 438225"/>
                <a:gd name="connsiteX96" fmla="*/ 177897 w 306920"/>
                <a:gd name="connsiteY96" fmla="*/ 32908 h 438225"/>
                <a:gd name="connsiteX97" fmla="*/ 185554 w 306920"/>
                <a:gd name="connsiteY97" fmla="*/ 21015 h 438225"/>
                <a:gd name="connsiteX98" fmla="*/ 198586 w 306920"/>
                <a:gd name="connsiteY98" fmla="*/ 15965 h 438225"/>
                <a:gd name="connsiteX99" fmla="*/ 199890 w 306920"/>
                <a:gd name="connsiteY99" fmla="*/ 14988 h 438225"/>
                <a:gd name="connsiteX100" fmla="*/ 202659 w 306920"/>
                <a:gd name="connsiteY100" fmla="*/ 14988 h 438225"/>
                <a:gd name="connsiteX101" fmla="*/ 203311 w 306920"/>
                <a:gd name="connsiteY101" fmla="*/ 14173 h 438225"/>
                <a:gd name="connsiteX102" fmla="*/ 206406 w 306920"/>
                <a:gd name="connsiteY102" fmla="*/ 12055 h 438225"/>
                <a:gd name="connsiteX103" fmla="*/ 207384 w 306920"/>
                <a:gd name="connsiteY103" fmla="*/ 9123 h 438225"/>
                <a:gd name="connsiteX104" fmla="*/ 204451 w 306920"/>
                <a:gd name="connsiteY104" fmla="*/ 5213 h 438225"/>
                <a:gd name="connsiteX105" fmla="*/ 195328 w 306920"/>
                <a:gd name="connsiteY105" fmla="*/ 326 h 438225"/>
                <a:gd name="connsiteX106" fmla="*/ 191581 w 306920"/>
                <a:gd name="connsiteY106" fmla="*/ 0 h 438225"/>
                <a:gd name="connsiteX107" fmla="*/ 190278 w 306920"/>
                <a:gd name="connsiteY107" fmla="*/ 2281 h 438225"/>
                <a:gd name="connsiteX108" fmla="*/ 189952 w 306920"/>
                <a:gd name="connsiteY108" fmla="*/ 4725 h 438225"/>
                <a:gd name="connsiteX109" fmla="*/ 186042 w 306920"/>
                <a:gd name="connsiteY109" fmla="*/ 5213 h 438225"/>
                <a:gd name="connsiteX110" fmla="*/ 184087 w 306920"/>
                <a:gd name="connsiteY110" fmla="*/ 6842 h 438225"/>
                <a:gd name="connsiteX111" fmla="*/ 179852 w 306920"/>
                <a:gd name="connsiteY111" fmla="*/ 6353 h 438225"/>
                <a:gd name="connsiteX112" fmla="*/ 176105 w 306920"/>
                <a:gd name="connsiteY112" fmla="*/ 7820 h 438225"/>
                <a:gd name="connsiteX113" fmla="*/ 174150 w 306920"/>
                <a:gd name="connsiteY113" fmla="*/ 10263 h 438225"/>
                <a:gd name="connsiteX114" fmla="*/ 176268 w 306920"/>
                <a:gd name="connsiteY114" fmla="*/ 12707 h 438225"/>
                <a:gd name="connsiteX115" fmla="*/ 174639 w 306920"/>
                <a:gd name="connsiteY115" fmla="*/ 15151 h 438225"/>
                <a:gd name="connsiteX116" fmla="*/ 167959 w 306920"/>
                <a:gd name="connsiteY116" fmla="*/ 18409 h 438225"/>
                <a:gd name="connsiteX117" fmla="*/ 159162 w 306920"/>
                <a:gd name="connsiteY117" fmla="*/ 23785 h 438225"/>
                <a:gd name="connsiteX118" fmla="*/ 153298 w 306920"/>
                <a:gd name="connsiteY118" fmla="*/ 28020 h 438225"/>
                <a:gd name="connsiteX119" fmla="*/ 146455 w 306920"/>
                <a:gd name="connsiteY119" fmla="*/ 29487 h 438225"/>
                <a:gd name="connsiteX120" fmla="*/ 138961 w 306920"/>
                <a:gd name="connsiteY120" fmla="*/ 30138 h 438225"/>
                <a:gd name="connsiteX121" fmla="*/ 130653 w 306920"/>
                <a:gd name="connsiteY121" fmla="*/ 29161 h 438225"/>
                <a:gd name="connsiteX122" fmla="*/ 125440 w 306920"/>
                <a:gd name="connsiteY122" fmla="*/ 31930 h 438225"/>
                <a:gd name="connsiteX123" fmla="*/ 125766 w 306920"/>
                <a:gd name="connsiteY123" fmla="*/ 35026 h 438225"/>
                <a:gd name="connsiteX124" fmla="*/ 127558 w 306920"/>
                <a:gd name="connsiteY124" fmla="*/ 39098 h 438225"/>
                <a:gd name="connsiteX125" fmla="*/ 126906 w 306920"/>
                <a:gd name="connsiteY125" fmla="*/ 43171 h 438225"/>
                <a:gd name="connsiteX126" fmla="*/ 122996 w 306920"/>
                <a:gd name="connsiteY126" fmla="*/ 46755 h 438225"/>
                <a:gd name="connsiteX127" fmla="*/ 120390 w 306920"/>
                <a:gd name="connsiteY127" fmla="*/ 45615 h 438225"/>
                <a:gd name="connsiteX128" fmla="*/ 121367 w 306920"/>
                <a:gd name="connsiteY128" fmla="*/ 41542 h 438225"/>
                <a:gd name="connsiteX129" fmla="*/ 120879 w 306920"/>
                <a:gd name="connsiteY129" fmla="*/ 40239 h 438225"/>
                <a:gd name="connsiteX130" fmla="*/ 124463 w 306920"/>
                <a:gd name="connsiteY130" fmla="*/ 38935 h 438225"/>
                <a:gd name="connsiteX131" fmla="*/ 119250 w 306920"/>
                <a:gd name="connsiteY131" fmla="*/ 38447 h 438225"/>
                <a:gd name="connsiteX132" fmla="*/ 112733 w 306920"/>
                <a:gd name="connsiteY132" fmla="*/ 35677 h 438225"/>
                <a:gd name="connsiteX133" fmla="*/ 109475 w 306920"/>
                <a:gd name="connsiteY133" fmla="*/ 35840 h 438225"/>
                <a:gd name="connsiteX134" fmla="*/ 101004 w 306920"/>
                <a:gd name="connsiteY134" fmla="*/ 40890 h 438225"/>
                <a:gd name="connsiteX135" fmla="*/ 98886 w 306920"/>
                <a:gd name="connsiteY135" fmla="*/ 44474 h 438225"/>
                <a:gd name="connsiteX136" fmla="*/ 93184 w 306920"/>
                <a:gd name="connsiteY136" fmla="*/ 51153 h 438225"/>
                <a:gd name="connsiteX137" fmla="*/ 86342 w 306920"/>
                <a:gd name="connsiteY137" fmla="*/ 64023 h 438225"/>
                <a:gd name="connsiteX138" fmla="*/ 85527 w 306920"/>
                <a:gd name="connsiteY138" fmla="*/ 67607 h 438225"/>
                <a:gd name="connsiteX139" fmla="*/ 87482 w 306920"/>
                <a:gd name="connsiteY139" fmla="*/ 66793 h 438225"/>
                <a:gd name="connsiteX140" fmla="*/ 89274 w 306920"/>
                <a:gd name="connsiteY140" fmla="*/ 68748 h 438225"/>
                <a:gd name="connsiteX141" fmla="*/ 90089 w 306920"/>
                <a:gd name="connsiteY141" fmla="*/ 72983 h 438225"/>
                <a:gd name="connsiteX142" fmla="*/ 88623 w 306920"/>
                <a:gd name="connsiteY142" fmla="*/ 77708 h 438225"/>
                <a:gd name="connsiteX143" fmla="*/ 84876 w 306920"/>
                <a:gd name="connsiteY143" fmla="*/ 79500 h 438225"/>
                <a:gd name="connsiteX144" fmla="*/ 80151 w 306920"/>
                <a:gd name="connsiteY144" fmla="*/ 79826 h 438225"/>
                <a:gd name="connsiteX145" fmla="*/ 76404 w 306920"/>
                <a:gd name="connsiteY145" fmla="*/ 81943 h 438225"/>
                <a:gd name="connsiteX146" fmla="*/ 69888 w 306920"/>
                <a:gd name="connsiteY146" fmla="*/ 88297 h 438225"/>
                <a:gd name="connsiteX147" fmla="*/ 67119 w 306920"/>
                <a:gd name="connsiteY147" fmla="*/ 89763 h 438225"/>
                <a:gd name="connsiteX148" fmla="*/ 62068 w 306920"/>
                <a:gd name="connsiteY148" fmla="*/ 97094 h 438225"/>
                <a:gd name="connsiteX149" fmla="*/ 59136 w 306920"/>
                <a:gd name="connsiteY149" fmla="*/ 97583 h 438225"/>
                <a:gd name="connsiteX150" fmla="*/ 54901 w 306920"/>
                <a:gd name="connsiteY150" fmla="*/ 97745 h 438225"/>
                <a:gd name="connsiteX151" fmla="*/ 56367 w 306920"/>
                <a:gd name="connsiteY151" fmla="*/ 102470 h 438225"/>
                <a:gd name="connsiteX152" fmla="*/ 60765 w 306920"/>
                <a:gd name="connsiteY152" fmla="*/ 107520 h 438225"/>
                <a:gd name="connsiteX153" fmla="*/ 60765 w 306920"/>
                <a:gd name="connsiteY153" fmla="*/ 113711 h 438225"/>
                <a:gd name="connsiteX154" fmla="*/ 58159 w 306920"/>
                <a:gd name="connsiteY154" fmla="*/ 119250 h 438225"/>
                <a:gd name="connsiteX155" fmla="*/ 55389 w 306920"/>
                <a:gd name="connsiteY155" fmla="*/ 119087 h 438225"/>
                <a:gd name="connsiteX156" fmla="*/ 50828 w 306920"/>
                <a:gd name="connsiteY156" fmla="*/ 115177 h 438225"/>
                <a:gd name="connsiteX157" fmla="*/ 51317 w 306920"/>
                <a:gd name="connsiteY157" fmla="*/ 113385 h 438225"/>
                <a:gd name="connsiteX158" fmla="*/ 53109 w 306920"/>
                <a:gd name="connsiteY158" fmla="*/ 110452 h 438225"/>
                <a:gd name="connsiteX159" fmla="*/ 49199 w 306920"/>
                <a:gd name="connsiteY159" fmla="*/ 108823 h 438225"/>
                <a:gd name="connsiteX160" fmla="*/ 47569 w 306920"/>
                <a:gd name="connsiteY160" fmla="*/ 103936 h 438225"/>
                <a:gd name="connsiteX161" fmla="*/ 41868 w 306920"/>
                <a:gd name="connsiteY161" fmla="*/ 99049 h 438225"/>
                <a:gd name="connsiteX162" fmla="*/ 40727 w 306920"/>
                <a:gd name="connsiteY162" fmla="*/ 103447 h 438225"/>
                <a:gd name="connsiteX163" fmla="*/ 41542 w 306920"/>
                <a:gd name="connsiteY163" fmla="*/ 106868 h 438225"/>
                <a:gd name="connsiteX164" fmla="*/ 43985 w 306920"/>
                <a:gd name="connsiteY164" fmla="*/ 113222 h 438225"/>
                <a:gd name="connsiteX165" fmla="*/ 40239 w 306920"/>
                <a:gd name="connsiteY165" fmla="*/ 119738 h 438225"/>
                <a:gd name="connsiteX166" fmla="*/ 38447 w 306920"/>
                <a:gd name="connsiteY166" fmla="*/ 125929 h 438225"/>
                <a:gd name="connsiteX167" fmla="*/ 35351 w 306920"/>
                <a:gd name="connsiteY167" fmla="*/ 128372 h 438225"/>
                <a:gd name="connsiteX168" fmla="*/ 32908 w 306920"/>
                <a:gd name="connsiteY168" fmla="*/ 128698 h 438225"/>
                <a:gd name="connsiteX169" fmla="*/ 29487 w 306920"/>
                <a:gd name="connsiteY169" fmla="*/ 136355 h 438225"/>
                <a:gd name="connsiteX170" fmla="*/ 30627 w 306920"/>
                <a:gd name="connsiteY170" fmla="*/ 137333 h 438225"/>
                <a:gd name="connsiteX171" fmla="*/ 31767 w 306920"/>
                <a:gd name="connsiteY171" fmla="*/ 143197 h 438225"/>
                <a:gd name="connsiteX172" fmla="*/ 32093 w 306920"/>
                <a:gd name="connsiteY172" fmla="*/ 149062 h 438225"/>
                <a:gd name="connsiteX173" fmla="*/ 37306 w 306920"/>
                <a:gd name="connsiteY173" fmla="*/ 155252 h 438225"/>
                <a:gd name="connsiteX174" fmla="*/ 39098 w 306920"/>
                <a:gd name="connsiteY174" fmla="*/ 155090 h 438225"/>
                <a:gd name="connsiteX175" fmla="*/ 41705 w 306920"/>
                <a:gd name="connsiteY175" fmla="*/ 153786 h 438225"/>
                <a:gd name="connsiteX176" fmla="*/ 43008 w 306920"/>
                <a:gd name="connsiteY176" fmla="*/ 156067 h 438225"/>
                <a:gd name="connsiteX177" fmla="*/ 43660 w 306920"/>
                <a:gd name="connsiteY177" fmla="*/ 161769 h 438225"/>
                <a:gd name="connsiteX178" fmla="*/ 40564 w 306920"/>
                <a:gd name="connsiteY178" fmla="*/ 165190 h 438225"/>
                <a:gd name="connsiteX179" fmla="*/ 40402 w 306920"/>
                <a:gd name="connsiteY179" fmla="*/ 167471 h 438225"/>
                <a:gd name="connsiteX180" fmla="*/ 43497 w 306920"/>
                <a:gd name="connsiteY180" fmla="*/ 170729 h 438225"/>
                <a:gd name="connsiteX181" fmla="*/ 43497 w 306920"/>
                <a:gd name="connsiteY181" fmla="*/ 177897 h 438225"/>
                <a:gd name="connsiteX182" fmla="*/ 40239 w 306920"/>
                <a:gd name="connsiteY182" fmla="*/ 180341 h 438225"/>
                <a:gd name="connsiteX183" fmla="*/ 38121 w 306920"/>
                <a:gd name="connsiteY183" fmla="*/ 184087 h 438225"/>
                <a:gd name="connsiteX184" fmla="*/ 40239 w 306920"/>
                <a:gd name="connsiteY184" fmla="*/ 184902 h 438225"/>
                <a:gd name="connsiteX185" fmla="*/ 42193 w 306920"/>
                <a:gd name="connsiteY185" fmla="*/ 189626 h 438225"/>
                <a:gd name="connsiteX186" fmla="*/ 41542 w 306920"/>
                <a:gd name="connsiteY186" fmla="*/ 198260 h 438225"/>
                <a:gd name="connsiteX187" fmla="*/ 42031 w 306920"/>
                <a:gd name="connsiteY187" fmla="*/ 210153 h 438225"/>
                <a:gd name="connsiteX188" fmla="*/ 38447 w 306920"/>
                <a:gd name="connsiteY188" fmla="*/ 214388 h 438225"/>
                <a:gd name="connsiteX189" fmla="*/ 37958 w 306920"/>
                <a:gd name="connsiteY189" fmla="*/ 217973 h 438225"/>
                <a:gd name="connsiteX190" fmla="*/ 40890 w 306920"/>
                <a:gd name="connsiteY190" fmla="*/ 222208 h 438225"/>
                <a:gd name="connsiteX191" fmla="*/ 45452 w 306920"/>
                <a:gd name="connsiteY191" fmla="*/ 220253 h 438225"/>
                <a:gd name="connsiteX192" fmla="*/ 44800 w 306920"/>
                <a:gd name="connsiteY192" fmla="*/ 223185 h 438225"/>
                <a:gd name="connsiteX193" fmla="*/ 47407 w 306920"/>
                <a:gd name="connsiteY193" fmla="*/ 226770 h 438225"/>
                <a:gd name="connsiteX194" fmla="*/ 50013 w 306920"/>
                <a:gd name="connsiteY194" fmla="*/ 226607 h 438225"/>
                <a:gd name="connsiteX195" fmla="*/ 50339 w 306920"/>
                <a:gd name="connsiteY195" fmla="*/ 228887 h 438225"/>
                <a:gd name="connsiteX196" fmla="*/ 47733 w 306920"/>
                <a:gd name="connsiteY196" fmla="*/ 232146 h 438225"/>
                <a:gd name="connsiteX197" fmla="*/ 45452 w 306920"/>
                <a:gd name="connsiteY197" fmla="*/ 237847 h 438225"/>
                <a:gd name="connsiteX198" fmla="*/ 35840 w 306920"/>
                <a:gd name="connsiteY198" fmla="*/ 247459 h 438225"/>
                <a:gd name="connsiteX199" fmla="*/ 33396 w 306920"/>
                <a:gd name="connsiteY199" fmla="*/ 252835 h 438225"/>
                <a:gd name="connsiteX200" fmla="*/ 26066 w 306920"/>
                <a:gd name="connsiteY200" fmla="*/ 259840 h 438225"/>
                <a:gd name="connsiteX201" fmla="*/ 16617 w 306920"/>
                <a:gd name="connsiteY201" fmla="*/ 261958 h 438225"/>
                <a:gd name="connsiteX202" fmla="*/ 9123 w 306920"/>
                <a:gd name="connsiteY202" fmla="*/ 267497 h 438225"/>
                <a:gd name="connsiteX203" fmla="*/ 2118 w 306920"/>
                <a:gd name="connsiteY203" fmla="*/ 278249 h 438225"/>
                <a:gd name="connsiteX204" fmla="*/ 1140 w 306920"/>
                <a:gd name="connsiteY204" fmla="*/ 286720 h 438225"/>
                <a:gd name="connsiteX205" fmla="*/ 0 w 306920"/>
                <a:gd name="connsiteY205" fmla="*/ 291444 h 438225"/>
                <a:gd name="connsiteX206" fmla="*/ 7331 w 306920"/>
                <a:gd name="connsiteY206" fmla="*/ 294214 h 438225"/>
                <a:gd name="connsiteX207" fmla="*/ 15802 w 306920"/>
                <a:gd name="connsiteY207" fmla="*/ 299916 h 438225"/>
                <a:gd name="connsiteX208" fmla="*/ 27206 w 306920"/>
                <a:gd name="connsiteY208" fmla="*/ 307410 h 438225"/>
                <a:gd name="connsiteX209" fmla="*/ 31767 w 306920"/>
                <a:gd name="connsiteY209" fmla="*/ 307573 h 438225"/>
                <a:gd name="connsiteX210" fmla="*/ 37795 w 306920"/>
                <a:gd name="connsiteY210" fmla="*/ 313763 h 438225"/>
                <a:gd name="connsiteX211" fmla="*/ 36818 w 306920"/>
                <a:gd name="connsiteY211" fmla="*/ 317673 h 438225"/>
                <a:gd name="connsiteX212" fmla="*/ 37795 w 306920"/>
                <a:gd name="connsiteY212" fmla="*/ 320931 h 438225"/>
                <a:gd name="connsiteX213" fmla="*/ 45615 w 306920"/>
                <a:gd name="connsiteY213" fmla="*/ 321583 h 438225"/>
                <a:gd name="connsiteX214" fmla="*/ 54575 w 306920"/>
                <a:gd name="connsiteY214" fmla="*/ 325981 h 438225"/>
                <a:gd name="connsiteX215" fmla="*/ 57670 w 306920"/>
                <a:gd name="connsiteY215" fmla="*/ 328099 h 438225"/>
                <a:gd name="connsiteX216" fmla="*/ 65815 w 306920"/>
                <a:gd name="connsiteY216" fmla="*/ 329891 h 438225"/>
                <a:gd name="connsiteX217" fmla="*/ 69074 w 306920"/>
                <a:gd name="connsiteY217" fmla="*/ 327122 h 438225"/>
                <a:gd name="connsiteX218" fmla="*/ 68748 w 306920"/>
                <a:gd name="connsiteY218" fmla="*/ 321746 h 438225"/>
                <a:gd name="connsiteX219" fmla="*/ 72495 w 306920"/>
                <a:gd name="connsiteY219" fmla="*/ 318813 h 438225"/>
                <a:gd name="connsiteX220" fmla="*/ 74287 w 306920"/>
                <a:gd name="connsiteY220" fmla="*/ 318813 h 438225"/>
                <a:gd name="connsiteX221" fmla="*/ 81943 w 306920"/>
                <a:gd name="connsiteY221" fmla="*/ 321583 h 438225"/>
                <a:gd name="connsiteX222" fmla="*/ 86016 w 306920"/>
                <a:gd name="connsiteY222" fmla="*/ 323863 h 438225"/>
                <a:gd name="connsiteX223" fmla="*/ 86993 w 306920"/>
                <a:gd name="connsiteY223" fmla="*/ 327122 h 438225"/>
                <a:gd name="connsiteX224" fmla="*/ 90577 w 306920"/>
                <a:gd name="connsiteY224" fmla="*/ 329076 h 438225"/>
                <a:gd name="connsiteX225" fmla="*/ 91066 w 306920"/>
                <a:gd name="connsiteY225" fmla="*/ 329402 h 438225"/>
                <a:gd name="connsiteX226" fmla="*/ 92858 w 306920"/>
                <a:gd name="connsiteY226" fmla="*/ 329240 h 438225"/>
                <a:gd name="connsiteX227" fmla="*/ 95953 w 306920"/>
                <a:gd name="connsiteY227" fmla="*/ 332335 h 438225"/>
                <a:gd name="connsiteX228" fmla="*/ 105076 w 306920"/>
                <a:gd name="connsiteY228" fmla="*/ 334452 h 438225"/>
                <a:gd name="connsiteX229" fmla="*/ 110778 w 306920"/>
                <a:gd name="connsiteY229" fmla="*/ 335756 h 438225"/>
                <a:gd name="connsiteX230" fmla="*/ 112244 w 306920"/>
                <a:gd name="connsiteY230" fmla="*/ 338525 h 438225"/>
                <a:gd name="connsiteX231" fmla="*/ 118435 w 306920"/>
                <a:gd name="connsiteY231" fmla="*/ 345693 h 438225"/>
                <a:gd name="connsiteX232" fmla="*/ 118924 w 306920"/>
                <a:gd name="connsiteY232" fmla="*/ 350418 h 438225"/>
                <a:gd name="connsiteX233" fmla="*/ 123159 w 306920"/>
                <a:gd name="connsiteY233" fmla="*/ 358400 h 438225"/>
                <a:gd name="connsiteX234" fmla="*/ 126418 w 306920"/>
                <a:gd name="connsiteY234" fmla="*/ 358400 h 438225"/>
                <a:gd name="connsiteX235" fmla="*/ 138636 w 306920"/>
                <a:gd name="connsiteY235" fmla="*/ 362473 h 438225"/>
                <a:gd name="connsiteX236" fmla="*/ 143849 w 306920"/>
                <a:gd name="connsiteY236" fmla="*/ 369967 h 438225"/>
                <a:gd name="connsiteX237" fmla="*/ 143523 w 306920"/>
                <a:gd name="connsiteY237" fmla="*/ 376157 h 438225"/>
                <a:gd name="connsiteX238" fmla="*/ 145478 w 306920"/>
                <a:gd name="connsiteY238" fmla="*/ 376646 h 438225"/>
                <a:gd name="connsiteX239" fmla="*/ 149714 w 306920"/>
                <a:gd name="connsiteY239" fmla="*/ 378764 h 438225"/>
                <a:gd name="connsiteX240" fmla="*/ 151831 w 306920"/>
                <a:gd name="connsiteY240" fmla="*/ 385117 h 438225"/>
                <a:gd name="connsiteX241" fmla="*/ 150202 w 306920"/>
                <a:gd name="connsiteY241" fmla="*/ 387724 h 438225"/>
                <a:gd name="connsiteX242" fmla="*/ 151668 w 306920"/>
                <a:gd name="connsiteY242" fmla="*/ 391471 h 438225"/>
                <a:gd name="connsiteX243" fmla="*/ 156556 w 306920"/>
                <a:gd name="connsiteY243" fmla="*/ 393426 h 438225"/>
                <a:gd name="connsiteX244" fmla="*/ 161769 w 306920"/>
                <a:gd name="connsiteY244" fmla="*/ 392122 h 438225"/>
                <a:gd name="connsiteX245" fmla="*/ 166330 w 306920"/>
                <a:gd name="connsiteY245" fmla="*/ 393263 h 438225"/>
                <a:gd name="connsiteX246" fmla="*/ 172521 w 306920"/>
                <a:gd name="connsiteY246" fmla="*/ 393100 h 438225"/>
                <a:gd name="connsiteX247" fmla="*/ 175127 w 306920"/>
                <a:gd name="connsiteY247" fmla="*/ 390819 h 438225"/>
                <a:gd name="connsiteX248" fmla="*/ 183273 w 306920"/>
                <a:gd name="connsiteY248" fmla="*/ 387235 h 438225"/>
                <a:gd name="connsiteX249" fmla="*/ 190278 w 306920"/>
                <a:gd name="connsiteY249" fmla="*/ 388375 h 438225"/>
                <a:gd name="connsiteX250" fmla="*/ 196306 w 306920"/>
                <a:gd name="connsiteY250" fmla="*/ 391471 h 438225"/>
                <a:gd name="connsiteX251" fmla="*/ 205103 w 306920"/>
                <a:gd name="connsiteY251" fmla="*/ 387561 h 438225"/>
                <a:gd name="connsiteX252" fmla="*/ 209827 w 306920"/>
                <a:gd name="connsiteY252" fmla="*/ 387561 h 438225"/>
                <a:gd name="connsiteX253" fmla="*/ 211782 w 306920"/>
                <a:gd name="connsiteY253" fmla="*/ 390493 h 438225"/>
                <a:gd name="connsiteX254" fmla="*/ 214714 w 306920"/>
                <a:gd name="connsiteY254" fmla="*/ 390330 h 438225"/>
                <a:gd name="connsiteX255" fmla="*/ 220416 w 306920"/>
                <a:gd name="connsiteY255" fmla="*/ 393100 h 438225"/>
                <a:gd name="connsiteX256" fmla="*/ 223023 w 306920"/>
                <a:gd name="connsiteY256" fmla="*/ 396521 h 438225"/>
                <a:gd name="connsiteX257" fmla="*/ 228073 w 306920"/>
                <a:gd name="connsiteY257" fmla="*/ 394892 h 438225"/>
                <a:gd name="connsiteX258" fmla="*/ 228399 w 306920"/>
                <a:gd name="connsiteY258" fmla="*/ 398476 h 438225"/>
                <a:gd name="connsiteX259" fmla="*/ 211782 w 306920"/>
                <a:gd name="connsiteY259" fmla="*/ 426333 h 438225"/>
                <a:gd name="connsiteX260" fmla="*/ 212759 w 306920"/>
                <a:gd name="connsiteY260" fmla="*/ 429592 h 438225"/>
                <a:gd name="connsiteX261" fmla="*/ 218461 w 306920"/>
                <a:gd name="connsiteY261" fmla="*/ 428940 h 438225"/>
                <a:gd name="connsiteX262" fmla="*/ 224815 w 306920"/>
                <a:gd name="connsiteY262" fmla="*/ 428451 h 438225"/>
                <a:gd name="connsiteX263" fmla="*/ 228725 w 306920"/>
                <a:gd name="connsiteY263" fmla="*/ 432687 h 438225"/>
                <a:gd name="connsiteX264" fmla="*/ 230028 w 306920"/>
                <a:gd name="connsiteY264" fmla="*/ 438226 h 4382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</a:cxnLst>
              <a:rect l="l" t="t" r="r" b="b"/>
              <a:pathLst>
                <a:path w="306920" h="438225">
                  <a:moveTo>
                    <a:pt x="230028" y="438226"/>
                  </a:moveTo>
                  <a:lnTo>
                    <a:pt x="234263" y="424052"/>
                  </a:lnTo>
                  <a:lnTo>
                    <a:pt x="248600" y="370781"/>
                  </a:lnTo>
                  <a:lnTo>
                    <a:pt x="248762" y="366871"/>
                  </a:lnTo>
                  <a:lnTo>
                    <a:pt x="249251" y="358237"/>
                  </a:lnTo>
                  <a:lnTo>
                    <a:pt x="242898" y="347159"/>
                  </a:lnTo>
                  <a:lnTo>
                    <a:pt x="233286" y="339828"/>
                  </a:lnTo>
                  <a:lnTo>
                    <a:pt x="228887" y="334127"/>
                  </a:lnTo>
                  <a:lnTo>
                    <a:pt x="228236" y="320117"/>
                  </a:lnTo>
                  <a:lnTo>
                    <a:pt x="245341" y="314252"/>
                  </a:lnTo>
                  <a:lnTo>
                    <a:pt x="251369" y="318325"/>
                  </a:lnTo>
                  <a:lnTo>
                    <a:pt x="252672" y="314089"/>
                  </a:lnTo>
                  <a:lnTo>
                    <a:pt x="249740" y="310831"/>
                  </a:lnTo>
                  <a:lnTo>
                    <a:pt x="252509" y="307735"/>
                  </a:lnTo>
                  <a:lnTo>
                    <a:pt x="248762" y="300893"/>
                  </a:lnTo>
                  <a:lnTo>
                    <a:pt x="238988" y="298287"/>
                  </a:lnTo>
                  <a:lnTo>
                    <a:pt x="236707" y="292259"/>
                  </a:lnTo>
                  <a:lnTo>
                    <a:pt x="238336" y="283951"/>
                  </a:lnTo>
                  <a:lnTo>
                    <a:pt x="267171" y="283788"/>
                  </a:lnTo>
                  <a:lnTo>
                    <a:pt x="270429" y="280367"/>
                  </a:lnTo>
                  <a:lnTo>
                    <a:pt x="275317" y="280367"/>
                  </a:lnTo>
                  <a:lnTo>
                    <a:pt x="278086" y="282810"/>
                  </a:lnTo>
                  <a:lnTo>
                    <a:pt x="281507" y="282322"/>
                  </a:lnTo>
                  <a:lnTo>
                    <a:pt x="286394" y="276783"/>
                  </a:lnTo>
                  <a:lnTo>
                    <a:pt x="293400" y="274991"/>
                  </a:lnTo>
                  <a:lnTo>
                    <a:pt x="294866" y="278901"/>
                  </a:lnTo>
                  <a:lnTo>
                    <a:pt x="299101" y="284114"/>
                  </a:lnTo>
                  <a:lnTo>
                    <a:pt x="300079" y="289652"/>
                  </a:lnTo>
                  <a:lnTo>
                    <a:pt x="299916" y="296658"/>
                  </a:lnTo>
                  <a:lnTo>
                    <a:pt x="306921" y="295843"/>
                  </a:lnTo>
                  <a:lnTo>
                    <a:pt x="306432" y="290956"/>
                  </a:lnTo>
                  <a:lnTo>
                    <a:pt x="301382" y="278086"/>
                  </a:lnTo>
                  <a:lnTo>
                    <a:pt x="298450" y="271570"/>
                  </a:lnTo>
                  <a:lnTo>
                    <a:pt x="299753" y="268637"/>
                  </a:lnTo>
                  <a:lnTo>
                    <a:pt x="297146" y="263587"/>
                  </a:lnTo>
                  <a:lnTo>
                    <a:pt x="294703" y="262121"/>
                  </a:lnTo>
                  <a:lnTo>
                    <a:pt x="293562" y="258048"/>
                  </a:lnTo>
                  <a:lnTo>
                    <a:pt x="292422" y="256908"/>
                  </a:lnTo>
                  <a:lnTo>
                    <a:pt x="289978" y="258700"/>
                  </a:lnTo>
                  <a:lnTo>
                    <a:pt x="287209" y="257722"/>
                  </a:lnTo>
                  <a:lnTo>
                    <a:pt x="286394" y="254138"/>
                  </a:lnTo>
                  <a:lnTo>
                    <a:pt x="294703" y="238988"/>
                  </a:lnTo>
                  <a:lnTo>
                    <a:pt x="289164" y="225303"/>
                  </a:lnTo>
                  <a:lnTo>
                    <a:pt x="289001" y="222371"/>
                  </a:lnTo>
                  <a:lnTo>
                    <a:pt x="286232" y="218461"/>
                  </a:lnTo>
                  <a:lnTo>
                    <a:pt x="286068" y="210316"/>
                  </a:lnTo>
                  <a:lnTo>
                    <a:pt x="288024" y="203962"/>
                  </a:lnTo>
                  <a:lnTo>
                    <a:pt x="287372" y="200541"/>
                  </a:lnTo>
                  <a:lnTo>
                    <a:pt x="285906" y="191418"/>
                  </a:lnTo>
                  <a:lnTo>
                    <a:pt x="288838" y="187834"/>
                  </a:lnTo>
                  <a:lnTo>
                    <a:pt x="294866" y="186042"/>
                  </a:lnTo>
                  <a:lnTo>
                    <a:pt x="296495" y="182947"/>
                  </a:lnTo>
                  <a:lnTo>
                    <a:pt x="296495" y="178385"/>
                  </a:lnTo>
                  <a:lnTo>
                    <a:pt x="298613" y="174313"/>
                  </a:lnTo>
                  <a:lnTo>
                    <a:pt x="296984" y="164375"/>
                  </a:lnTo>
                  <a:lnTo>
                    <a:pt x="292911" y="162258"/>
                  </a:lnTo>
                  <a:lnTo>
                    <a:pt x="288512" y="162420"/>
                  </a:lnTo>
                  <a:lnTo>
                    <a:pt x="287209" y="163887"/>
                  </a:lnTo>
                  <a:lnTo>
                    <a:pt x="280204" y="163235"/>
                  </a:lnTo>
                  <a:lnTo>
                    <a:pt x="274991" y="163235"/>
                  </a:lnTo>
                  <a:lnTo>
                    <a:pt x="270266" y="166004"/>
                  </a:lnTo>
                  <a:lnTo>
                    <a:pt x="267008" y="164212"/>
                  </a:lnTo>
                  <a:lnTo>
                    <a:pt x="261795" y="162583"/>
                  </a:lnTo>
                  <a:lnTo>
                    <a:pt x="259677" y="163235"/>
                  </a:lnTo>
                  <a:lnTo>
                    <a:pt x="257885" y="161769"/>
                  </a:lnTo>
                  <a:lnTo>
                    <a:pt x="250880" y="163235"/>
                  </a:lnTo>
                  <a:lnTo>
                    <a:pt x="231657" y="144175"/>
                  </a:lnTo>
                  <a:lnTo>
                    <a:pt x="226933" y="142220"/>
                  </a:lnTo>
                  <a:lnTo>
                    <a:pt x="218787" y="140591"/>
                  </a:lnTo>
                  <a:lnTo>
                    <a:pt x="211456" y="141894"/>
                  </a:lnTo>
                  <a:lnTo>
                    <a:pt x="209664" y="143523"/>
                  </a:lnTo>
                  <a:lnTo>
                    <a:pt x="203474" y="141731"/>
                  </a:lnTo>
                  <a:lnTo>
                    <a:pt x="196957" y="141405"/>
                  </a:lnTo>
                  <a:lnTo>
                    <a:pt x="192722" y="143686"/>
                  </a:lnTo>
                  <a:lnTo>
                    <a:pt x="187346" y="141079"/>
                  </a:lnTo>
                  <a:lnTo>
                    <a:pt x="182784" y="140428"/>
                  </a:lnTo>
                  <a:lnTo>
                    <a:pt x="175616" y="137333"/>
                  </a:lnTo>
                  <a:lnTo>
                    <a:pt x="169914" y="132445"/>
                  </a:lnTo>
                  <a:lnTo>
                    <a:pt x="169588" y="128861"/>
                  </a:lnTo>
                  <a:lnTo>
                    <a:pt x="171381" y="125929"/>
                  </a:lnTo>
                  <a:lnTo>
                    <a:pt x="170892" y="122345"/>
                  </a:lnTo>
                  <a:lnTo>
                    <a:pt x="173498" y="116806"/>
                  </a:lnTo>
                  <a:lnTo>
                    <a:pt x="172195" y="111919"/>
                  </a:lnTo>
                  <a:lnTo>
                    <a:pt x="167634" y="105076"/>
                  </a:lnTo>
                  <a:lnTo>
                    <a:pt x="157533" y="86668"/>
                  </a:lnTo>
                  <a:lnTo>
                    <a:pt x="153135" y="86505"/>
                  </a:lnTo>
                  <a:lnTo>
                    <a:pt x="149876" y="86831"/>
                  </a:lnTo>
                  <a:lnTo>
                    <a:pt x="150365" y="84224"/>
                  </a:lnTo>
                  <a:lnTo>
                    <a:pt x="154275" y="75916"/>
                  </a:lnTo>
                  <a:lnTo>
                    <a:pt x="155090" y="67444"/>
                  </a:lnTo>
                  <a:lnTo>
                    <a:pt x="153298" y="63046"/>
                  </a:lnTo>
                  <a:lnTo>
                    <a:pt x="154927" y="57833"/>
                  </a:lnTo>
                  <a:lnTo>
                    <a:pt x="162909" y="46266"/>
                  </a:lnTo>
                  <a:lnTo>
                    <a:pt x="166982" y="42845"/>
                  </a:lnTo>
                  <a:lnTo>
                    <a:pt x="171055" y="36818"/>
                  </a:lnTo>
                  <a:lnTo>
                    <a:pt x="175453" y="35840"/>
                  </a:lnTo>
                  <a:lnTo>
                    <a:pt x="177897" y="32908"/>
                  </a:lnTo>
                  <a:lnTo>
                    <a:pt x="185554" y="21015"/>
                  </a:lnTo>
                  <a:lnTo>
                    <a:pt x="198586" y="15965"/>
                  </a:lnTo>
                  <a:lnTo>
                    <a:pt x="199890" y="14988"/>
                  </a:lnTo>
                  <a:lnTo>
                    <a:pt x="202659" y="14988"/>
                  </a:lnTo>
                  <a:lnTo>
                    <a:pt x="203311" y="14173"/>
                  </a:lnTo>
                  <a:lnTo>
                    <a:pt x="206406" y="12055"/>
                  </a:lnTo>
                  <a:lnTo>
                    <a:pt x="207384" y="9123"/>
                  </a:lnTo>
                  <a:lnTo>
                    <a:pt x="204451" y="5213"/>
                  </a:lnTo>
                  <a:lnTo>
                    <a:pt x="195328" y="326"/>
                  </a:lnTo>
                  <a:lnTo>
                    <a:pt x="191581" y="0"/>
                  </a:lnTo>
                  <a:lnTo>
                    <a:pt x="190278" y="2281"/>
                  </a:lnTo>
                  <a:lnTo>
                    <a:pt x="189952" y="4725"/>
                  </a:lnTo>
                  <a:lnTo>
                    <a:pt x="186042" y="5213"/>
                  </a:lnTo>
                  <a:lnTo>
                    <a:pt x="184087" y="6842"/>
                  </a:lnTo>
                  <a:lnTo>
                    <a:pt x="179852" y="6353"/>
                  </a:lnTo>
                  <a:lnTo>
                    <a:pt x="176105" y="7820"/>
                  </a:lnTo>
                  <a:lnTo>
                    <a:pt x="174150" y="10263"/>
                  </a:lnTo>
                  <a:lnTo>
                    <a:pt x="176268" y="12707"/>
                  </a:lnTo>
                  <a:lnTo>
                    <a:pt x="174639" y="15151"/>
                  </a:lnTo>
                  <a:lnTo>
                    <a:pt x="167959" y="18409"/>
                  </a:lnTo>
                  <a:lnTo>
                    <a:pt x="159162" y="23785"/>
                  </a:lnTo>
                  <a:lnTo>
                    <a:pt x="153298" y="28020"/>
                  </a:lnTo>
                  <a:lnTo>
                    <a:pt x="146455" y="29487"/>
                  </a:lnTo>
                  <a:lnTo>
                    <a:pt x="138961" y="30138"/>
                  </a:lnTo>
                  <a:lnTo>
                    <a:pt x="130653" y="29161"/>
                  </a:lnTo>
                  <a:lnTo>
                    <a:pt x="125440" y="31930"/>
                  </a:lnTo>
                  <a:lnTo>
                    <a:pt x="125766" y="35026"/>
                  </a:lnTo>
                  <a:lnTo>
                    <a:pt x="127558" y="39098"/>
                  </a:lnTo>
                  <a:lnTo>
                    <a:pt x="126906" y="43171"/>
                  </a:lnTo>
                  <a:lnTo>
                    <a:pt x="122996" y="46755"/>
                  </a:lnTo>
                  <a:lnTo>
                    <a:pt x="120390" y="45615"/>
                  </a:lnTo>
                  <a:lnTo>
                    <a:pt x="121367" y="41542"/>
                  </a:lnTo>
                  <a:lnTo>
                    <a:pt x="120879" y="40239"/>
                  </a:lnTo>
                  <a:lnTo>
                    <a:pt x="124463" y="38935"/>
                  </a:lnTo>
                  <a:lnTo>
                    <a:pt x="119250" y="38447"/>
                  </a:lnTo>
                  <a:lnTo>
                    <a:pt x="112733" y="35677"/>
                  </a:lnTo>
                  <a:lnTo>
                    <a:pt x="109475" y="35840"/>
                  </a:lnTo>
                  <a:lnTo>
                    <a:pt x="101004" y="40890"/>
                  </a:lnTo>
                  <a:lnTo>
                    <a:pt x="98886" y="44474"/>
                  </a:lnTo>
                  <a:lnTo>
                    <a:pt x="93184" y="51153"/>
                  </a:lnTo>
                  <a:lnTo>
                    <a:pt x="86342" y="64023"/>
                  </a:lnTo>
                  <a:lnTo>
                    <a:pt x="85527" y="67607"/>
                  </a:lnTo>
                  <a:lnTo>
                    <a:pt x="87482" y="66793"/>
                  </a:lnTo>
                  <a:lnTo>
                    <a:pt x="89274" y="68748"/>
                  </a:lnTo>
                  <a:lnTo>
                    <a:pt x="90089" y="72983"/>
                  </a:lnTo>
                  <a:lnTo>
                    <a:pt x="88623" y="77708"/>
                  </a:lnTo>
                  <a:lnTo>
                    <a:pt x="84876" y="79500"/>
                  </a:lnTo>
                  <a:lnTo>
                    <a:pt x="80151" y="79826"/>
                  </a:lnTo>
                  <a:lnTo>
                    <a:pt x="76404" y="81943"/>
                  </a:lnTo>
                  <a:lnTo>
                    <a:pt x="69888" y="88297"/>
                  </a:lnTo>
                  <a:lnTo>
                    <a:pt x="67119" y="89763"/>
                  </a:lnTo>
                  <a:lnTo>
                    <a:pt x="62068" y="97094"/>
                  </a:lnTo>
                  <a:lnTo>
                    <a:pt x="59136" y="97583"/>
                  </a:lnTo>
                  <a:lnTo>
                    <a:pt x="54901" y="97745"/>
                  </a:lnTo>
                  <a:lnTo>
                    <a:pt x="56367" y="102470"/>
                  </a:lnTo>
                  <a:lnTo>
                    <a:pt x="60765" y="107520"/>
                  </a:lnTo>
                  <a:lnTo>
                    <a:pt x="60765" y="113711"/>
                  </a:lnTo>
                  <a:lnTo>
                    <a:pt x="58159" y="119250"/>
                  </a:lnTo>
                  <a:lnTo>
                    <a:pt x="55389" y="119087"/>
                  </a:lnTo>
                  <a:lnTo>
                    <a:pt x="50828" y="115177"/>
                  </a:lnTo>
                  <a:lnTo>
                    <a:pt x="51317" y="113385"/>
                  </a:lnTo>
                  <a:lnTo>
                    <a:pt x="53109" y="110452"/>
                  </a:lnTo>
                  <a:lnTo>
                    <a:pt x="49199" y="108823"/>
                  </a:lnTo>
                  <a:lnTo>
                    <a:pt x="47569" y="103936"/>
                  </a:lnTo>
                  <a:lnTo>
                    <a:pt x="41868" y="99049"/>
                  </a:lnTo>
                  <a:lnTo>
                    <a:pt x="40727" y="103447"/>
                  </a:lnTo>
                  <a:lnTo>
                    <a:pt x="41542" y="106868"/>
                  </a:lnTo>
                  <a:lnTo>
                    <a:pt x="43985" y="113222"/>
                  </a:lnTo>
                  <a:lnTo>
                    <a:pt x="40239" y="119738"/>
                  </a:lnTo>
                  <a:lnTo>
                    <a:pt x="38447" y="125929"/>
                  </a:lnTo>
                  <a:lnTo>
                    <a:pt x="35351" y="128372"/>
                  </a:lnTo>
                  <a:lnTo>
                    <a:pt x="32908" y="128698"/>
                  </a:lnTo>
                  <a:lnTo>
                    <a:pt x="29487" y="136355"/>
                  </a:lnTo>
                  <a:lnTo>
                    <a:pt x="30627" y="137333"/>
                  </a:lnTo>
                  <a:lnTo>
                    <a:pt x="31767" y="143197"/>
                  </a:lnTo>
                  <a:lnTo>
                    <a:pt x="32093" y="149062"/>
                  </a:lnTo>
                  <a:lnTo>
                    <a:pt x="37306" y="155252"/>
                  </a:lnTo>
                  <a:lnTo>
                    <a:pt x="39098" y="155090"/>
                  </a:lnTo>
                  <a:lnTo>
                    <a:pt x="41705" y="153786"/>
                  </a:lnTo>
                  <a:lnTo>
                    <a:pt x="43008" y="156067"/>
                  </a:lnTo>
                  <a:lnTo>
                    <a:pt x="43660" y="161769"/>
                  </a:lnTo>
                  <a:lnTo>
                    <a:pt x="40564" y="165190"/>
                  </a:lnTo>
                  <a:lnTo>
                    <a:pt x="40402" y="167471"/>
                  </a:lnTo>
                  <a:lnTo>
                    <a:pt x="43497" y="170729"/>
                  </a:lnTo>
                  <a:lnTo>
                    <a:pt x="43497" y="177897"/>
                  </a:lnTo>
                  <a:lnTo>
                    <a:pt x="40239" y="180341"/>
                  </a:lnTo>
                  <a:lnTo>
                    <a:pt x="38121" y="184087"/>
                  </a:lnTo>
                  <a:lnTo>
                    <a:pt x="40239" y="184902"/>
                  </a:lnTo>
                  <a:lnTo>
                    <a:pt x="42193" y="189626"/>
                  </a:lnTo>
                  <a:lnTo>
                    <a:pt x="41542" y="198260"/>
                  </a:lnTo>
                  <a:lnTo>
                    <a:pt x="42031" y="210153"/>
                  </a:lnTo>
                  <a:lnTo>
                    <a:pt x="38447" y="214388"/>
                  </a:lnTo>
                  <a:lnTo>
                    <a:pt x="37958" y="217973"/>
                  </a:lnTo>
                  <a:lnTo>
                    <a:pt x="40890" y="222208"/>
                  </a:lnTo>
                  <a:lnTo>
                    <a:pt x="45452" y="220253"/>
                  </a:lnTo>
                  <a:lnTo>
                    <a:pt x="44800" y="223185"/>
                  </a:lnTo>
                  <a:lnTo>
                    <a:pt x="47407" y="226770"/>
                  </a:lnTo>
                  <a:lnTo>
                    <a:pt x="50013" y="226607"/>
                  </a:lnTo>
                  <a:lnTo>
                    <a:pt x="50339" y="228887"/>
                  </a:lnTo>
                  <a:lnTo>
                    <a:pt x="47733" y="232146"/>
                  </a:lnTo>
                  <a:lnTo>
                    <a:pt x="45452" y="237847"/>
                  </a:lnTo>
                  <a:lnTo>
                    <a:pt x="35840" y="247459"/>
                  </a:lnTo>
                  <a:lnTo>
                    <a:pt x="33396" y="252835"/>
                  </a:lnTo>
                  <a:lnTo>
                    <a:pt x="26066" y="259840"/>
                  </a:lnTo>
                  <a:lnTo>
                    <a:pt x="16617" y="261958"/>
                  </a:lnTo>
                  <a:lnTo>
                    <a:pt x="9123" y="267497"/>
                  </a:lnTo>
                  <a:lnTo>
                    <a:pt x="2118" y="278249"/>
                  </a:lnTo>
                  <a:lnTo>
                    <a:pt x="1140" y="286720"/>
                  </a:lnTo>
                  <a:lnTo>
                    <a:pt x="0" y="291444"/>
                  </a:lnTo>
                  <a:lnTo>
                    <a:pt x="7331" y="294214"/>
                  </a:lnTo>
                  <a:lnTo>
                    <a:pt x="15802" y="299916"/>
                  </a:lnTo>
                  <a:lnTo>
                    <a:pt x="27206" y="307410"/>
                  </a:lnTo>
                  <a:lnTo>
                    <a:pt x="31767" y="307573"/>
                  </a:lnTo>
                  <a:lnTo>
                    <a:pt x="37795" y="313763"/>
                  </a:lnTo>
                  <a:lnTo>
                    <a:pt x="36818" y="317673"/>
                  </a:lnTo>
                  <a:lnTo>
                    <a:pt x="37795" y="320931"/>
                  </a:lnTo>
                  <a:lnTo>
                    <a:pt x="45615" y="321583"/>
                  </a:lnTo>
                  <a:lnTo>
                    <a:pt x="54575" y="325981"/>
                  </a:lnTo>
                  <a:lnTo>
                    <a:pt x="57670" y="328099"/>
                  </a:lnTo>
                  <a:lnTo>
                    <a:pt x="65815" y="329891"/>
                  </a:lnTo>
                  <a:lnTo>
                    <a:pt x="69074" y="327122"/>
                  </a:lnTo>
                  <a:lnTo>
                    <a:pt x="68748" y="321746"/>
                  </a:lnTo>
                  <a:lnTo>
                    <a:pt x="72495" y="318813"/>
                  </a:lnTo>
                  <a:lnTo>
                    <a:pt x="74287" y="318813"/>
                  </a:lnTo>
                  <a:lnTo>
                    <a:pt x="81943" y="321583"/>
                  </a:lnTo>
                  <a:lnTo>
                    <a:pt x="86016" y="323863"/>
                  </a:lnTo>
                  <a:lnTo>
                    <a:pt x="86993" y="327122"/>
                  </a:lnTo>
                  <a:lnTo>
                    <a:pt x="90577" y="329076"/>
                  </a:lnTo>
                  <a:lnTo>
                    <a:pt x="91066" y="329402"/>
                  </a:lnTo>
                  <a:lnTo>
                    <a:pt x="92858" y="329240"/>
                  </a:lnTo>
                  <a:lnTo>
                    <a:pt x="95953" y="332335"/>
                  </a:lnTo>
                  <a:lnTo>
                    <a:pt x="105076" y="334452"/>
                  </a:lnTo>
                  <a:lnTo>
                    <a:pt x="110778" y="335756"/>
                  </a:lnTo>
                  <a:lnTo>
                    <a:pt x="112244" y="338525"/>
                  </a:lnTo>
                  <a:lnTo>
                    <a:pt x="118435" y="345693"/>
                  </a:lnTo>
                  <a:lnTo>
                    <a:pt x="118924" y="350418"/>
                  </a:lnTo>
                  <a:lnTo>
                    <a:pt x="123159" y="358400"/>
                  </a:lnTo>
                  <a:lnTo>
                    <a:pt x="126418" y="358400"/>
                  </a:lnTo>
                  <a:lnTo>
                    <a:pt x="138636" y="362473"/>
                  </a:lnTo>
                  <a:lnTo>
                    <a:pt x="143849" y="369967"/>
                  </a:lnTo>
                  <a:lnTo>
                    <a:pt x="143523" y="376157"/>
                  </a:lnTo>
                  <a:lnTo>
                    <a:pt x="145478" y="376646"/>
                  </a:lnTo>
                  <a:lnTo>
                    <a:pt x="149714" y="378764"/>
                  </a:lnTo>
                  <a:lnTo>
                    <a:pt x="151831" y="385117"/>
                  </a:lnTo>
                  <a:lnTo>
                    <a:pt x="150202" y="387724"/>
                  </a:lnTo>
                  <a:lnTo>
                    <a:pt x="151668" y="391471"/>
                  </a:lnTo>
                  <a:lnTo>
                    <a:pt x="156556" y="393426"/>
                  </a:lnTo>
                  <a:lnTo>
                    <a:pt x="161769" y="392122"/>
                  </a:lnTo>
                  <a:lnTo>
                    <a:pt x="166330" y="393263"/>
                  </a:lnTo>
                  <a:lnTo>
                    <a:pt x="172521" y="393100"/>
                  </a:lnTo>
                  <a:lnTo>
                    <a:pt x="175127" y="390819"/>
                  </a:lnTo>
                  <a:lnTo>
                    <a:pt x="183273" y="387235"/>
                  </a:lnTo>
                  <a:lnTo>
                    <a:pt x="190278" y="388375"/>
                  </a:lnTo>
                  <a:lnTo>
                    <a:pt x="196306" y="391471"/>
                  </a:lnTo>
                  <a:lnTo>
                    <a:pt x="205103" y="387561"/>
                  </a:lnTo>
                  <a:lnTo>
                    <a:pt x="209827" y="387561"/>
                  </a:lnTo>
                  <a:lnTo>
                    <a:pt x="211782" y="390493"/>
                  </a:lnTo>
                  <a:lnTo>
                    <a:pt x="214714" y="390330"/>
                  </a:lnTo>
                  <a:lnTo>
                    <a:pt x="220416" y="393100"/>
                  </a:lnTo>
                  <a:lnTo>
                    <a:pt x="223023" y="396521"/>
                  </a:lnTo>
                  <a:lnTo>
                    <a:pt x="228073" y="394892"/>
                  </a:lnTo>
                  <a:lnTo>
                    <a:pt x="228399" y="398476"/>
                  </a:lnTo>
                  <a:lnTo>
                    <a:pt x="211782" y="426333"/>
                  </a:lnTo>
                  <a:lnTo>
                    <a:pt x="212759" y="429592"/>
                  </a:lnTo>
                  <a:lnTo>
                    <a:pt x="218461" y="428940"/>
                  </a:lnTo>
                  <a:lnTo>
                    <a:pt x="224815" y="428451"/>
                  </a:lnTo>
                  <a:lnTo>
                    <a:pt x="228725" y="432687"/>
                  </a:lnTo>
                  <a:lnTo>
                    <a:pt x="230028" y="438226"/>
                  </a:lnTo>
                  <a:close/>
                </a:path>
              </a:pathLst>
            </a:custGeom>
            <a:solidFill>
              <a:schemeClr val="bg2"/>
            </a:solidFill>
            <a:ln w="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6" name="Forma livre: Forma 35">
              <a:extLst>
                <a:ext uri="{FF2B5EF4-FFF2-40B4-BE49-F238E27FC236}">
                  <a16:creationId xmlns:a16="http://schemas.microsoft.com/office/drawing/2014/main" id="{627F85FE-04FC-2D27-42ED-937F42F4860F}"/>
                </a:ext>
              </a:extLst>
            </p:cNvPr>
            <p:cNvSpPr/>
            <p:nvPr/>
          </p:nvSpPr>
          <p:spPr>
            <a:xfrm>
              <a:off x="3863303" y="4925386"/>
              <a:ext cx="156902" cy="171717"/>
            </a:xfrm>
            <a:custGeom>
              <a:avLst/>
              <a:gdLst>
                <a:gd name="connsiteX0" fmla="*/ 144826 w 151831"/>
                <a:gd name="connsiteY0" fmla="*/ 37958 h 166167"/>
                <a:gd name="connsiteX1" fmla="*/ 144175 w 151831"/>
                <a:gd name="connsiteY1" fmla="*/ 37632 h 166167"/>
                <a:gd name="connsiteX2" fmla="*/ 140754 w 151831"/>
                <a:gd name="connsiteY2" fmla="*/ 35677 h 166167"/>
                <a:gd name="connsiteX3" fmla="*/ 139613 w 151831"/>
                <a:gd name="connsiteY3" fmla="*/ 32419 h 166167"/>
                <a:gd name="connsiteX4" fmla="*/ 135541 w 151831"/>
                <a:gd name="connsiteY4" fmla="*/ 30138 h 166167"/>
                <a:gd name="connsiteX5" fmla="*/ 127884 w 151831"/>
                <a:gd name="connsiteY5" fmla="*/ 27369 h 166167"/>
                <a:gd name="connsiteX6" fmla="*/ 126092 w 151831"/>
                <a:gd name="connsiteY6" fmla="*/ 27369 h 166167"/>
                <a:gd name="connsiteX7" fmla="*/ 122345 w 151831"/>
                <a:gd name="connsiteY7" fmla="*/ 30301 h 166167"/>
                <a:gd name="connsiteX8" fmla="*/ 122671 w 151831"/>
                <a:gd name="connsiteY8" fmla="*/ 35514 h 166167"/>
                <a:gd name="connsiteX9" fmla="*/ 119576 w 151831"/>
                <a:gd name="connsiteY9" fmla="*/ 38447 h 166167"/>
                <a:gd name="connsiteX10" fmla="*/ 111430 w 151831"/>
                <a:gd name="connsiteY10" fmla="*/ 36655 h 166167"/>
                <a:gd name="connsiteX11" fmla="*/ 108335 w 151831"/>
                <a:gd name="connsiteY11" fmla="*/ 34537 h 166167"/>
                <a:gd name="connsiteX12" fmla="*/ 99375 w 151831"/>
                <a:gd name="connsiteY12" fmla="*/ 30138 h 166167"/>
                <a:gd name="connsiteX13" fmla="*/ 91555 w 151831"/>
                <a:gd name="connsiteY13" fmla="*/ 29487 h 166167"/>
                <a:gd name="connsiteX14" fmla="*/ 90578 w 151831"/>
                <a:gd name="connsiteY14" fmla="*/ 26228 h 166167"/>
                <a:gd name="connsiteX15" fmla="*/ 91555 w 151831"/>
                <a:gd name="connsiteY15" fmla="*/ 22482 h 166167"/>
                <a:gd name="connsiteX16" fmla="*/ 85527 w 151831"/>
                <a:gd name="connsiteY16" fmla="*/ 16128 h 166167"/>
                <a:gd name="connsiteX17" fmla="*/ 80966 w 151831"/>
                <a:gd name="connsiteY17" fmla="*/ 16128 h 166167"/>
                <a:gd name="connsiteX18" fmla="*/ 69562 w 151831"/>
                <a:gd name="connsiteY18" fmla="*/ 8471 h 166167"/>
                <a:gd name="connsiteX19" fmla="*/ 61091 w 151831"/>
                <a:gd name="connsiteY19" fmla="*/ 2769 h 166167"/>
                <a:gd name="connsiteX20" fmla="*/ 53597 w 151831"/>
                <a:gd name="connsiteY20" fmla="*/ 0 h 166167"/>
                <a:gd name="connsiteX21" fmla="*/ 52131 w 151831"/>
                <a:gd name="connsiteY21" fmla="*/ 6028 h 166167"/>
                <a:gd name="connsiteX22" fmla="*/ 44800 w 151831"/>
                <a:gd name="connsiteY22" fmla="*/ 6353 h 166167"/>
                <a:gd name="connsiteX23" fmla="*/ 32582 w 151831"/>
                <a:gd name="connsiteY23" fmla="*/ 14825 h 166167"/>
                <a:gd name="connsiteX24" fmla="*/ 26228 w 151831"/>
                <a:gd name="connsiteY24" fmla="*/ 15151 h 166167"/>
                <a:gd name="connsiteX25" fmla="*/ 19549 w 151831"/>
                <a:gd name="connsiteY25" fmla="*/ 18409 h 166167"/>
                <a:gd name="connsiteX26" fmla="*/ 22807 w 151831"/>
                <a:gd name="connsiteY26" fmla="*/ 24274 h 166167"/>
                <a:gd name="connsiteX27" fmla="*/ 23133 w 151831"/>
                <a:gd name="connsiteY27" fmla="*/ 28020 h 166167"/>
                <a:gd name="connsiteX28" fmla="*/ 25414 w 151831"/>
                <a:gd name="connsiteY28" fmla="*/ 31767 h 166167"/>
                <a:gd name="connsiteX29" fmla="*/ 23948 w 151831"/>
                <a:gd name="connsiteY29" fmla="*/ 38772 h 166167"/>
                <a:gd name="connsiteX30" fmla="*/ 14336 w 151831"/>
                <a:gd name="connsiteY30" fmla="*/ 49036 h 166167"/>
                <a:gd name="connsiteX31" fmla="*/ 13521 w 151831"/>
                <a:gd name="connsiteY31" fmla="*/ 53434 h 166167"/>
                <a:gd name="connsiteX32" fmla="*/ 15802 w 151831"/>
                <a:gd name="connsiteY32" fmla="*/ 56367 h 166167"/>
                <a:gd name="connsiteX33" fmla="*/ 11078 w 151831"/>
                <a:gd name="connsiteY33" fmla="*/ 63372 h 166167"/>
                <a:gd name="connsiteX34" fmla="*/ 5539 w 151831"/>
                <a:gd name="connsiteY34" fmla="*/ 64023 h 166167"/>
                <a:gd name="connsiteX35" fmla="*/ 1140 w 151831"/>
                <a:gd name="connsiteY35" fmla="*/ 70214 h 166167"/>
                <a:gd name="connsiteX36" fmla="*/ 2932 w 151831"/>
                <a:gd name="connsiteY36" fmla="*/ 74287 h 166167"/>
                <a:gd name="connsiteX37" fmla="*/ 4887 w 151831"/>
                <a:gd name="connsiteY37" fmla="*/ 79500 h 166167"/>
                <a:gd name="connsiteX38" fmla="*/ 4399 w 151831"/>
                <a:gd name="connsiteY38" fmla="*/ 83572 h 166167"/>
                <a:gd name="connsiteX39" fmla="*/ 5376 w 151831"/>
                <a:gd name="connsiteY39" fmla="*/ 91066 h 166167"/>
                <a:gd name="connsiteX40" fmla="*/ 2607 w 151831"/>
                <a:gd name="connsiteY40" fmla="*/ 95791 h 166167"/>
                <a:gd name="connsiteX41" fmla="*/ 0 w 151831"/>
                <a:gd name="connsiteY41" fmla="*/ 98234 h 166167"/>
                <a:gd name="connsiteX42" fmla="*/ 2932 w 151831"/>
                <a:gd name="connsiteY42" fmla="*/ 102144 h 166167"/>
                <a:gd name="connsiteX43" fmla="*/ 8471 w 151831"/>
                <a:gd name="connsiteY43" fmla="*/ 104425 h 166167"/>
                <a:gd name="connsiteX44" fmla="*/ 13685 w 151831"/>
                <a:gd name="connsiteY44" fmla="*/ 109801 h 166167"/>
                <a:gd name="connsiteX45" fmla="*/ 17920 w 151831"/>
                <a:gd name="connsiteY45" fmla="*/ 112570 h 166167"/>
                <a:gd name="connsiteX46" fmla="*/ 19875 w 151831"/>
                <a:gd name="connsiteY46" fmla="*/ 111104 h 166167"/>
                <a:gd name="connsiteX47" fmla="*/ 22156 w 151831"/>
                <a:gd name="connsiteY47" fmla="*/ 105076 h 166167"/>
                <a:gd name="connsiteX48" fmla="*/ 23785 w 151831"/>
                <a:gd name="connsiteY48" fmla="*/ 101981 h 166167"/>
                <a:gd name="connsiteX49" fmla="*/ 27532 w 151831"/>
                <a:gd name="connsiteY49" fmla="*/ 98234 h 166167"/>
                <a:gd name="connsiteX50" fmla="*/ 27532 w 151831"/>
                <a:gd name="connsiteY50" fmla="*/ 102633 h 166167"/>
                <a:gd name="connsiteX51" fmla="*/ 28183 w 151831"/>
                <a:gd name="connsiteY51" fmla="*/ 106543 h 166167"/>
                <a:gd name="connsiteX52" fmla="*/ 29161 w 151831"/>
                <a:gd name="connsiteY52" fmla="*/ 104099 h 166167"/>
                <a:gd name="connsiteX53" fmla="*/ 28835 w 151831"/>
                <a:gd name="connsiteY53" fmla="*/ 100026 h 166167"/>
                <a:gd name="connsiteX54" fmla="*/ 30464 w 151831"/>
                <a:gd name="connsiteY54" fmla="*/ 100352 h 166167"/>
                <a:gd name="connsiteX55" fmla="*/ 32093 w 151831"/>
                <a:gd name="connsiteY55" fmla="*/ 107031 h 166167"/>
                <a:gd name="connsiteX56" fmla="*/ 30790 w 151831"/>
                <a:gd name="connsiteY56" fmla="*/ 114199 h 166167"/>
                <a:gd name="connsiteX57" fmla="*/ 31442 w 151831"/>
                <a:gd name="connsiteY57" fmla="*/ 118109 h 166167"/>
                <a:gd name="connsiteX58" fmla="*/ 28835 w 151831"/>
                <a:gd name="connsiteY58" fmla="*/ 124626 h 166167"/>
                <a:gd name="connsiteX59" fmla="*/ 22156 w 151831"/>
                <a:gd name="connsiteY59" fmla="*/ 130164 h 166167"/>
                <a:gd name="connsiteX60" fmla="*/ 24436 w 151831"/>
                <a:gd name="connsiteY60" fmla="*/ 131305 h 166167"/>
                <a:gd name="connsiteX61" fmla="*/ 26717 w 151831"/>
                <a:gd name="connsiteY61" fmla="*/ 138310 h 166167"/>
                <a:gd name="connsiteX62" fmla="*/ 21341 w 151831"/>
                <a:gd name="connsiteY62" fmla="*/ 141079 h 166167"/>
                <a:gd name="connsiteX63" fmla="*/ 17106 w 151831"/>
                <a:gd name="connsiteY63" fmla="*/ 145804 h 166167"/>
                <a:gd name="connsiteX64" fmla="*/ 17920 w 151831"/>
                <a:gd name="connsiteY64" fmla="*/ 150854 h 166167"/>
                <a:gd name="connsiteX65" fmla="*/ 23133 w 151831"/>
                <a:gd name="connsiteY65" fmla="*/ 150854 h 166167"/>
                <a:gd name="connsiteX66" fmla="*/ 28835 w 151831"/>
                <a:gd name="connsiteY66" fmla="*/ 148410 h 166167"/>
                <a:gd name="connsiteX67" fmla="*/ 31279 w 151831"/>
                <a:gd name="connsiteY67" fmla="*/ 152320 h 166167"/>
                <a:gd name="connsiteX68" fmla="*/ 39098 w 151831"/>
                <a:gd name="connsiteY68" fmla="*/ 153949 h 166167"/>
                <a:gd name="connsiteX69" fmla="*/ 43660 w 151831"/>
                <a:gd name="connsiteY69" fmla="*/ 155741 h 166167"/>
                <a:gd name="connsiteX70" fmla="*/ 50991 w 151831"/>
                <a:gd name="connsiteY70" fmla="*/ 166167 h 166167"/>
                <a:gd name="connsiteX71" fmla="*/ 54249 w 151831"/>
                <a:gd name="connsiteY71" fmla="*/ 166167 h 166167"/>
                <a:gd name="connsiteX72" fmla="*/ 58973 w 151831"/>
                <a:gd name="connsiteY72" fmla="*/ 161117 h 166167"/>
                <a:gd name="connsiteX73" fmla="*/ 78848 w 151831"/>
                <a:gd name="connsiteY73" fmla="*/ 119901 h 166167"/>
                <a:gd name="connsiteX74" fmla="*/ 82595 w 151831"/>
                <a:gd name="connsiteY74" fmla="*/ 116643 h 166167"/>
                <a:gd name="connsiteX75" fmla="*/ 108823 w 151831"/>
                <a:gd name="connsiteY75" fmla="*/ 108009 h 166167"/>
                <a:gd name="connsiteX76" fmla="*/ 119901 w 151831"/>
                <a:gd name="connsiteY76" fmla="*/ 100352 h 166167"/>
                <a:gd name="connsiteX77" fmla="*/ 137658 w 151831"/>
                <a:gd name="connsiteY77" fmla="*/ 84061 h 166167"/>
                <a:gd name="connsiteX78" fmla="*/ 144826 w 151831"/>
                <a:gd name="connsiteY78" fmla="*/ 67282 h 166167"/>
                <a:gd name="connsiteX79" fmla="*/ 149388 w 151831"/>
                <a:gd name="connsiteY79" fmla="*/ 66956 h 166167"/>
                <a:gd name="connsiteX80" fmla="*/ 150528 w 151831"/>
                <a:gd name="connsiteY80" fmla="*/ 64675 h 166167"/>
                <a:gd name="connsiteX81" fmla="*/ 151831 w 151831"/>
                <a:gd name="connsiteY81" fmla="*/ 58810 h 166167"/>
                <a:gd name="connsiteX82" fmla="*/ 151343 w 151831"/>
                <a:gd name="connsiteY82" fmla="*/ 53923 h 166167"/>
                <a:gd name="connsiteX83" fmla="*/ 146130 w 151831"/>
                <a:gd name="connsiteY83" fmla="*/ 43985 h 166167"/>
                <a:gd name="connsiteX84" fmla="*/ 146130 w 151831"/>
                <a:gd name="connsiteY84" fmla="*/ 41379 h 166167"/>
                <a:gd name="connsiteX85" fmla="*/ 145152 w 151831"/>
                <a:gd name="connsiteY85" fmla="*/ 37632 h 166167"/>
                <a:gd name="connsiteX86" fmla="*/ 145152 w 151831"/>
                <a:gd name="connsiteY86" fmla="*/ 37632 h 166167"/>
                <a:gd name="connsiteX87" fmla="*/ 18083 w 151831"/>
                <a:gd name="connsiteY87" fmla="*/ 120553 h 166167"/>
                <a:gd name="connsiteX88" fmla="*/ 17757 w 151831"/>
                <a:gd name="connsiteY88" fmla="*/ 118761 h 166167"/>
                <a:gd name="connsiteX89" fmla="*/ 20527 w 151831"/>
                <a:gd name="connsiteY89" fmla="*/ 114199 h 166167"/>
                <a:gd name="connsiteX90" fmla="*/ 25088 w 151831"/>
                <a:gd name="connsiteY90" fmla="*/ 110127 h 166167"/>
                <a:gd name="connsiteX91" fmla="*/ 25414 w 151831"/>
                <a:gd name="connsiteY91" fmla="*/ 111430 h 166167"/>
                <a:gd name="connsiteX92" fmla="*/ 24111 w 151831"/>
                <a:gd name="connsiteY92" fmla="*/ 114851 h 166167"/>
                <a:gd name="connsiteX93" fmla="*/ 24436 w 151831"/>
                <a:gd name="connsiteY93" fmla="*/ 117946 h 166167"/>
                <a:gd name="connsiteX94" fmla="*/ 22482 w 151831"/>
                <a:gd name="connsiteY94" fmla="*/ 121693 h 166167"/>
                <a:gd name="connsiteX95" fmla="*/ 19549 w 151831"/>
                <a:gd name="connsiteY95" fmla="*/ 122671 h 166167"/>
                <a:gd name="connsiteX96" fmla="*/ 17920 w 151831"/>
                <a:gd name="connsiteY96" fmla="*/ 120716 h 1661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</a:cxnLst>
              <a:rect l="l" t="t" r="r" b="b"/>
              <a:pathLst>
                <a:path w="151831" h="166167">
                  <a:moveTo>
                    <a:pt x="144826" y="37958"/>
                  </a:moveTo>
                  <a:lnTo>
                    <a:pt x="144175" y="37632"/>
                  </a:lnTo>
                  <a:lnTo>
                    <a:pt x="140754" y="35677"/>
                  </a:lnTo>
                  <a:lnTo>
                    <a:pt x="139613" y="32419"/>
                  </a:lnTo>
                  <a:lnTo>
                    <a:pt x="135541" y="30138"/>
                  </a:lnTo>
                  <a:lnTo>
                    <a:pt x="127884" y="27369"/>
                  </a:lnTo>
                  <a:lnTo>
                    <a:pt x="126092" y="27369"/>
                  </a:lnTo>
                  <a:cubicBezTo>
                    <a:pt x="126092" y="27369"/>
                    <a:pt x="122345" y="30301"/>
                    <a:pt x="122345" y="30301"/>
                  </a:cubicBezTo>
                  <a:lnTo>
                    <a:pt x="122671" y="35514"/>
                  </a:lnTo>
                  <a:lnTo>
                    <a:pt x="119576" y="38447"/>
                  </a:lnTo>
                  <a:lnTo>
                    <a:pt x="111430" y="36655"/>
                  </a:lnTo>
                  <a:lnTo>
                    <a:pt x="108335" y="34537"/>
                  </a:lnTo>
                  <a:lnTo>
                    <a:pt x="99375" y="30138"/>
                  </a:lnTo>
                  <a:lnTo>
                    <a:pt x="91555" y="29487"/>
                  </a:lnTo>
                  <a:lnTo>
                    <a:pt x="90578" y="26228"/>
                  </a:lnTo>
                  <a:lnTo>
                    <a:pt x="91555" y="22482"/>
                  </a:lnTo>
                  <a:lnTo>
                    <a:pt x="85527" y="16128"/>
                  </a:lnTo>
                  <a:lnTo>
                    <a:pt x="80966" y="16128"/>
                  </a:lnTo>
                  <a:cubicBezTo>
                    <a:pt x="80966" y="16128"/>
                    <a:pt x="69562" y="8471"/>
                    <a:pt x="69562" y="8471"/>
                  </a:cubicBezTo>
                  <a:lnTo>
                    <a:pt x="61091" y="2769"/>
                  </a:lnTo>
                  <a:lnTo>
                    <a:pt x="53597" y="0"/>
                  </a:lnTo>
                  <a:lnTo>
                    <a:pt x="52131" y="6028"/>
                  </a:lnTo>
                  <a:lnTo>
                    <a:pt x="44800" y="6353"/>
                  </a:lnTo>
                  <a:lnTo>
                    <a:pt x="32582" y="14825"/>
                  </a:lnTo>
                  <a:lnTo>
                    <a:pt x="26228" y="15151"/>
                  </a:lnTo>
                  <a:lnTo>
                    <a:pt x="19549" y="18409"/>
                  </a:lnTo>
                  <a:lnTo>
                    <a:pt x="22807" y="24274"/>
                  </a:lnTo>
                  <a:lnTo>
                    <a:pt x="23133" y="28020"/>
                  </a:lnTo>
                  <a:lnTo>
                    <a:pt x="25414" y="31767"/>
                  </a:lnTo>
                  <a:lnTo>
                    <a:pt x="23948" y="38772"/>
                  </a:lnTo>
                  <a:lnTo>
                    <a:pt x="14336" y="49036"/>
                  </a:lnTo>
                  <a:lnTo>
                    <a:pt x="13521" y="53434"/>
                  </a:lnTo>
                  <a:lnTo>
                    <a:pt x="15802" y="56367"/>
                  </a:lnTo>
                  <a:lnTo>
                    <a:pt x="11078" y="63372"/>
                  </a:lnTo>
                  <a:lnTo>
                    <a:pt x="5539" y="64023"/>
                  </a:lnTo>
                  <a:lnTo>
                    <a:pt x="1140" y="70214"/>
                  </a:lnTo>
                  <a:lnTo>
                    <a:pt x="2932" y="74287"/>
                  </a:lnTo>
                  <a:lnTo>
                    <a:pt x="4887" y="79500"/>
                  </a:lnTo>
                  <a:lnTo>
                    <a:pt x="4399" y="83572"/>
                  </a:lnTo>
                  <a:lnTo>
                    <a:pt x="5376" y="91066"/>
                  </a:lnTo>
                  <a:lnTo>
                    <a:pt x="2607" y="95791"/>
                  </a:lnTo>
                  <a:lnTo>
                    <a:pt x="0" y="98234"/>
                  </a:lnTo>
                  <a:lnTo>
                    <a:pt x="2932" y="102144"/>
                  </a:lnTo>
                  <a:lnTo>
                    <a:pt x="8471" y="104425"/>
                  </a:lnTo>
                  <a:lnTo>
                    <a:pt x="13685" y="109801"/>
                  </a:lnTo>
                  <a:lnTo>
                    <a:pt x="17920" y="112570"/>
                  </a:lnTo>
                  <a:lnTo>
                    <a:pt x="19875" y="111104"/>
                  </a:lnTo>
                  <a:lnTo>
                    <a:pt x="22156" y="105076"/>
                  </a:lnTo>
                  <a:lnTo>
                    <a:pt x="23785" y="101981"/>
                  </a:lnTo>
                  <a:lnTo>
                    <a:pt x="27532" y="98234"/>
                  </a:lnTo>
                  <a:lnTo>
                    <a:pt x="27532" y="102633"/>
                  </a:lnTo>
                  <a:cubicBezTo>
                    <a:pt x="27532" y="102633"/>
                    <a:pt x="28183" y="106543"/>
                    <a:pt x="28183" y="106543"/>
                  </a:cubicBezTo>
                  <a:lnTo>
                    <a:pt x="29161" y="104099"/>
                  </a:lnTo>
                  <a:lnTo>
                    <a:pt x="28835" y="100026"/>
                  </a:lnTo>
                  <a:lnTo>
                    <a:pt x="30464" y="100352"/>
                  </a:lnTo>
                  <a:lnTo>
                    <a:pt x="32093" y="107031"/>
                  </a:lnTo>
                  <a:lnTo>
                    <a:pt x="30790" y="114199"/>
                  </a:lnTo>
                  <a:lnTo>
                    <a:pt x="31442" y="118109"/>
                  </a:lnTo>
                  <a:lnTo>
                    <a:pt x="28835" y="124626"/>
                  </a:lnTo>
                  <a:lnTo>
                    <a:pt x="22156" y="130164"/>
                  </a:lnTo>
                  <a:lnTo>
                    <a:pt x="24436" y="131305"/>
                  </a:lnTo>
                  <a:lnTo>
                    <a:pt x="26717" y="138310"/>
                  </a:lnTo>
                  <a:lnTo>
                    <a:pt x="21341" y="141079"/>
                  </a:lnTo>
                  <a:lnTo>
                    <a:pt x="17106" y="145804"/>
                  </a:lnTo>
                  <a:lnTo>
                    <a:pt x="17920" y="150854"/>
                  </a:lnTo>
                  <a:lnTo>
                    <a:pt x="23133" y="150854"/>
                  </a:lnTo>
                  <a:cubicBezTo>
                    <a:pt x="23133" y="150854"/>
                    <a:pt x="28835" y="148410"/>
                    <a:pt x="28835" y="148410"/>
                  </a:cubicBezTo>
                  <a:lnTo>
                    <a:pt x="31279" y="152320"/>
                  </a:lnTo>
                  <a:lnTo>
                    <a:pt x="39098" y="153949"/>
                  </a:lnTo>
                  <a:lnTo>
                    <a:pt x="43660" y="155741"/>
                  </a:lnTo>
                  <a:lnTo>
                    <a:pt x="50991" y="166167"/>
                  </a:lnTo>
                  <a:lnTo>
                    <a:pt x="54249" y="166167"/>
                  </a:lnTo>
                  <a:lnTo>
                    <a:pt x="58973" y="161117"/>
                  </a:lnTo>
                  <a:lnTo>
                    <a:pt x="78848" y="119901"/>
                  </a:lnTo>
                  <a:lnTo>
                    <a:pt x="82595" y="116643"/>
                  </a:lnTo>
                  <a:lnTo>
                    <a:pt x="108823" y="108009"/>
                  </a:lnTo>
                  <a:lnTo>
                    <a:pt x="119901" y="100352"/>
                  </a:lnTo>
                  <a:lnTo>
                    <a:pt x="137658" y="84061"/>
                  </a:lnTo>
                  <a:lnTo>
                    <a:pt x="144826" y="67282"/>
                  </a:lnTo>
                  <a:lnTo>
                    <a:pt x="149388" y="66956"/>
                  </a:lnTo>
                  <a:lnTo>
                    <a:pt x="150528" y="64675"/>
                  </a:lnTo>
                  <a:lnTo>
                    <a:pt x="151831" y="58810"/>
                  </a:lnTo>
                  <a:lnTo>
                    <a:pt x="151343" y="53923"/>
                  </a:lnTo>
                  <a:lnTo>
                    <a:pt x="146130" y="43985"/>
                  </a:lnTo>
                  <a:lnTo>
                    <a:pt x="146130" y="41379"/>
                  </a:lnTo>
                  <a:cubicBezTo>
                    <a:pt x="146130" y="41379"/>
                    <a:pt x="145152" y="37632"/>
                    <a:pt x="145152" y="37632"/>
                  </a:cubicBezTo>
                  <a:lnTo>
                    <a:pt x="145152" y="37632"/>
                  </a:lnTo>
                  <a:close/>
                  <a:moveTo>
                    <a:pt x="18083" y="120553"/>
                  </a:moveTo>
                  <a:lnTo>
                    <a:pt x="17757" y="118761"/>
                  </a:lnTo>
                  <a:lnTo>
                    <a:pt x="20527" y="114199"/>
                  </a:lnTo>
                  <a:lnTo>
                    <a:pt x="25088" y="110127"/>
                  </a:lnTo>
                  <a:lnTo>
                    <a:pt x="25414" y="111430"/>
                  </a:lnTo>
                  <a:lnTo>
                    <a:pt x="24111" y="114851"/>
                  </a:lnTo>
                  <a:lnTo>
                    <a:pt x="24436" y="117946"/>
                  </a:lnTo>
                  <a:lnTo>
                    <a:pt x="22482" y="121693"/>
                  </a:lnTo>
                  <a:lnTo>
                    <a:pt x="19549" y="122671"/>
                  </a:lnTo>
                  <a:lnTo>
                    <a:pt x="17920" y="120716"/>
                  </a:lnTo>
                  <a:close/>
                </a:path>
              </a:pathLst>
            </a:custGeom>
            <a:solidFill>
              <a:schemeClr val="bg2"/>
            </a:solidFill>
            <a:ln w="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7" name="Forma livre: Forma 36">
              <a:extLst>
                <a:ext uri="{FF2B5EF4-FFF2-40B4-BE49-F238E27FC236}">
                  <a16:creationId xmlns:a16="http://schemas.microsoft.com/office/drawing/2014/main" id="{703C7008-10E1-4E92-D444-DA80D72437A3}"/>
                </a:ext>
              </a:extLst>
            </p:cNvPr>
            <p:cNvSpPr/>
            <p:nvPr/>
          </p:nvSpPr>
          <p:spPr>
            <a:xfrm>
              <a:off x="3855222" y="4964444"/>
              <a:ext cx="341751" cy="503031"/>
            </a:xfrm>
            <a:custGeom>
              <a:avLst/>
              <a:gdLst>
                <a:gd name="connsiteX0" fmla="*/ 306921 w 330705"/>
                <a:gd name="connsiteY0" fmla="*/ 287698 h 486772"/>
                <a:gd name="connsiteX1" fmla="*/ 306106 w 330705"/>
                <a:gd name="connsiteY1" fmla="*/ 287372 h 486772"/>
                <a:gd name="connsiteX2" fmla="*/ 303663 w 330705"/>
                <a:gd name="connsiteY2" fmla="*/ 286231 h 486772"/>
                <a:gd name="connsiteX3" fmla="*/ 300730 w 330705"/>
                <a:gd name="connsiteY3" fmla="*/ 286557 h 486772"/>
                <a:gd name="connsiteX4" fmla="*/ 295354 w 330705"/>
                <a:gd name="connsiteY4" fmla="*/ 286883 h 486772"/>
                <a:gd name="connsiteX5" fmla="*/ 290467 w 330705"/>
                <a:gd name="connsiteY5" fmla="*/ 288349 h 486772"/>
                <a:gd name="connsiteX6" fmla="*/ 285254 w 330705"/>
                <a:gd name="connsiteY6" fmla="*/ 289164 h 486772"/>
                <a:gd name="connsiteX7" fmla="*/ 282159 w 330705"/>
                <a:gd name="connsiteY7" fmla="*/ 286231 h 486772"/>
                <a:gd name="connsiteX8" fmla="*/ 281833 w 330705"/>
                <a:gd name="connsiteY8" fmla="*/ 280204 h 486772"/>
                <a:gd name="connsiteX9" fmla="*/ 280530 w 330705"/>
                <a:gd name="connsiteY9" fmla="*/ 265053 h 486772"/>
                <a:gd name="connsiteX10" fmla="*/ 280692 w 330705"/>
                <a:gd name="connsiteY10" fmla="*/ 255930 h 486772"/>
                <a:gd name="connsiteX11" fmla="*/ 282484 w 330705"/>
                <a:gd name="connsiteY11" fmla="*/ 253975 h 486772"/>
                <a:gd name="connsiteX12" fmla="*/ 283788 w 330705"/>
                <a:gd name="connsiteY12" fmla="*/ 248436 h 486772"/>
                <a:gd name="connsiteX13" fmla="*/ 281181 w 330705"/>
                <a:gd name="connsiteY13" fmla="*/ 245667 h 486772"/>
                <a:gd name="connsiteX14" fmla="*/ 272058 w 330705"/>
                <a:gd name="connsiteY14" fmla="*/ 250880 h 486772"/>
                <a:gd name="connsiteX15" fmla="*/ 261306 w 330705"/>
                <a:gd name="connsiteY15" fmla="*/ 260817 h 486772"/>
                <a:gd name="connsiteX16" fmla="*/ 248274 w 330705"/>
                <a:gd name="connsiteY16" fmla="*/ 259840 h 486772"/>
                <a:gd name="connsiteX17" fmla="*/ 237196 w 330705"/>
                <a:gd name="connsiteY17" fmla="*/ 259514 h 486772"/>
                <a:gd name="connsiteX18" fmla="*/ 235567 w 330705"/>
                <a:gd name="connsiteY18" fmla="*/ 252346 h 486772"/>
                <a:gd name="connsiteX19" fmla="*/ 230028 w 330705"/>
                <a:gd name="connsiteY19" fmla="*/ 244201 h 486772"/>
                <a:gd name="connsiteX20" fmla="*/ 222534 w 330705"/>
                <a:gd name="connsiteY20" fmla="*/ 242898 h 486772"/>
                <a:gd name="connsiteX21" fmla="*/ 206732 w 330705"/>
                <a:gd name="connsiteY21" fmla="*/ 244201 h 486772"/>
                <a:gd name="connsiteX22" fmla="*/ 213085 w 330705"/>
                <a:gd name="connsiteY22" fmla="*/ 236055 h 486772"/>
                <a:gd name="connsiteX23" fmla="*/ 200541 w 330705"/>
                <a:gd name="connsiteY23" fmla="*/ 215855 h 486772"/>
                <a:gd name="connsiteX24" fmla="*/ 193536 w 330705"/>
                <a:gd name="connsiteY24" fmla="*/ 208849 h 486772"/>
                <a:gd name="connsiteX25" fmla="*/ 194839 w 330705"/>
                <a:gd name="connsiteY25" fmla="*/ 204940 h 486772"/>
                <a:gd name="connsiteX26" fmla="*/ 193047 w 330705"/>
                <a:gd name="connsiteY26" fmla="*/ 200704 h 486772"/>
                <a:gd name="connsiteX27" fmla="*/ 195002 w 330705"/>
                <a:gd name="connsiteY27" fmla="*/ 195980 h 486772"/>
                <a:gd name="connsiteX28" fmla="*/ 195980 w 330705"/>
                <a:gd name="connsiteY28" fmla="*/ 190278 h 486772"/>
                <a:gd name="connsiteX29" fmla="*/ 194351 w 330705"/>
                <a:gd name="connsiteY29" fmla="*/ 186694 h 486772"/>
                <a:gd name="connsiteX30" fmla="*/ 196957 w 330705"/>
                <a:gd name="connsiteY30" fmla="*/ 183924 h 486772"/>
                <a:gd name="connsiteX31" fmla="*/ 197283 w 330705"/>
                <a:gd name="connsiteY31" fmla="*/ 178874 h 486772"/>
                <a:gd name="connsiteX32" fmla="*/ 204451 w 330705"/>
                <a:gd name="connsiteY32" fmla="*/ 174150 h 486772"/>
                <a:gd name="connsiteX33" fmla="*/ 208198 w 330705"/>
                <a:gd name="connsiteY33" fmla="*/ 174964 h 486772"/>
                <a:gd name="connsiteX34" fmla="*/ 212434 w 330705"/>
                <a:gd name="connsiteY34" fmla="*/ 170892 h 486772"/>
                <a:gd name="connsiteX35" fmla="*/ 209990 w 330705"/>
                <a:gd name="connsiteY35" fmla="*/ 166330 h 486772"/>
                <a:gd name="connsiteX36" fmla="*/ 207546 w 330705"/>
                <a:gd name="connsiteY36" fmla="*/ 157370 h 486772"/>
                <a:gd name="connsiteX37" fmla="*/ 214551 w 330705"/>
                <a:gd name="connsiteY37" fmla="*/ 150365 h 486772"/>
                <a:gd name="connsiteX38" fmla="*/ 213411 w 330705"/>
                <a:gd name="connsiteY38" fmla="*/ 146455 h 486772"/>
                <a:gd name="connsiteX39" fmla="*/ 216018 w 330705"/>
                <a:gd name="connsiteY39" fmla="*/ 142546 h 486772"/>
                <a:gd name="connsiteX40" fmla="*/ 215366 w 330705"/>
                <a:gd name="connsiteY40" fmla="*/ 135866 h 486772"/>
                <a:gd name="connsiteX41" fmla="*/ 219927 w 330705"/>
                <a:gd name="connsiteY41" fmla="*/ 132934 h 486772"/>
                <a:gd name="connsiteX42" fmla="*/ 225955 w 330705"/>
                <a:gd name="connsiteY42" fmla="*/ 130164 h 486772"/>
                <a:gd name="connsiteX43" fmla="*/ 231331 w 330705"/>
                <a:gd name="connsiteY43" fmla="*/ 124788 h 486772"/>
                <a:gd name="connsiteX44" fmla="*/ 234263 w 330705"/>
                <a:gd name="connsiteY44" fmla="*/ 123811 h 486772"/>
                <a:gd name="connsiteX45" fmla="*/ 237684 w 330705"/>
                <a:gd name="connsiteY45" fmla="*/ 120553 h 486772"/>
                <a:gd name="connsiteX46" fmla="*/ 250717 w 330705"/>
                <a:gd name="connsiteY46" fmla="*/ 117783 h 486772"/>
                <a:gd name="connsiteX47" fmla="*/ 268149 w 330705"/>
                <a:gd name="connsiteY47" fmla="*/ 112081 h 486772"/>
                <a:gd name="connsiteX48" fmla="*/ 270103 w 330705"/>
                <a:gd name="connsiteY48" fmla="*/ 108009 h 486772"/>
                <a:gd name="connsiteX49" fmla="*/ 272221 w 330705"/>
                <a:gd name="connsiteY49" fmla="*/ 108986 h 486772"/>
                <a:gd name="connsiteX50" fmla="*/ 277271 w 330705"/>
                <a:gd name="connsiteY50" fmla="*/ 108986 h 486772"/>
                <a:gd name="connsiteX51" fmla="*/ 279226 w 330705"/>
                <a:gd name="connsiteY51" fmla="*/ 108334 h 486772"/>
                <a:gd name="connsiteX52" fmla="*/ 284928 w 330705"/>
                <a:gd name="connsiteY52" fmla="*/ 112081 h 486772"/>
                <a:gd name="connsiteX53" fmla="*/ 284440 w 330705"/>
                <a:gd name="connsiteY53" fmla="*/ 113711 h 486772"/>
                <a:gd name="connsiteX54" fmla="*/ 289978 w 330705"/>
                <a:gd name="connsiteY54" fmla="*/ 115177 h 486772"/>
                <a:gd name="connsiteX55" fmla="*/ 292096 w 330705"/>
                <a:gd name="connsiteY55" fmla="*/ 111593 h 486772"/>
                <a:gd name="connsiteX56" fmla="*/ 290304 w 330705"/>
                <a:gd name="connsiteY56" fmla="*/ 103447 h 486772"/>
                <a:gd name="connsiteX57" fmla="*/ 286394 w 330705"/>
                <a:gd name="connsiteY57" fmla="*/ 99212 h 486772"/>
                <a:gd name="connsiteX58" fmla="*/ 280041 w 330705"/>
                <a:gd name="connsiteY58" fmla="*/ 99700 h 486772"/>
                <a:gd name="connsiteX59" fmla="*/ 274339 w 330705"/>
                <a:gd name="connsiteY59" fmla="*/ 100352 h 486772"/>
                <a:gd name="connsiteX60" fmla="*/ 273362 w 330705"/>
                <a:gd name="connsiteY60" fmla="*/ 97094 h 486772"/>
                <a:gd name="connsiteX61" fmla="*/ 289978 w 330705"/>
                <a:gd name="connsiteY61" fmla="*/ 69236 h 486772"/>
                <a:gd name="connsiteX62" fmla="*/ 289652 w 330705"/>
                <a:gd name="connsiteY62" fmla="*/ 65652 h 486772"/>
                <a:gd name="connsiteX63" fmla="*/ 284602 w 330705"/>
                <a:gd name="connsiteY63" fmla="*/ 67281 h 486772"/>
                <a:gd name="connsiteX64" fmla="*/ 281996 w 330705"/>
                <a:gd name="connsiteY64" fmla="*/ 63860 h 486772"/>
                <a:gd name="connsiteX65" fmla="*/ 276294 w 330705"/>
                <a:gd name="connsiteY65" fmla="*/ 61091 h 486772"/>
                <a:gd name="connsiteX66" fmla="*/ 273362 w 330705"/>
                <a:gd name="connsiteY66" fmla="*/ 61254 h 486772"/>
                <a:gd name="connsiteX67" fmla="*/ 271407 w 330705"/>
                <a:gd name="connsiteY67" fmla="*/ 58322 h 486772"/>
                <a:gd name="connsiteX68" fmla="*/ 266682 w 330705"/>
                <a:gd name="connsiteY68" fmla="*/ 58322 h 486772"/>
                <a:gd name="connsiteX69" fmla="*/ 257885 w 330705"/>
                <a:gd name="connsiteY69" fmla="*/ 62231 h 486772"/>
                <a:gd name="connsiteX70" fmla="*/ 251858 w 330705"/>
                <a:gd name="connsiteY70" fmla="*/ 59136 h 486772"/>
                <a:gd name="connsiteX71" fmla="*/ 244852 w 330705"/>
                <a:gd name="connsiteY71" fmla="*/ 57996 h 486772"/>
                <a:gd name="connsiteX72" fmla="*/ 236707 w 330705"/>
                <a:gd name="connsiteY72" fmla="*/ 61580 h 486772"/>
                <a:gd name="connsiteX73" fmla="*/ 234100 w 330705"/>
                <a:gd name="connsiteY73" fmla="*/ 63860 h 486772"/>
                <a:gd name="connsiteX74" fmla="*/ 227910 w 330705"/>
                <a:gd name="connsiteY74" fmla="*/ 64023 h 486772"/>
                <a:gd name="connsiteX75" fmla="*/ 223349 w 330705"/>
                <a:gd name="connsiteY75" fmla="*/ 62883 h 486772"/>
                <a:gd name="connsiteX76" fmla="*/ 218135 w 330705"/>
                <a:gd name="connsiteY76" fmla="*/ 64186 h 486772"/>
                <a:gd name="connsiteX77" fmla="*/ 213248 w 330705"/>
                <a:gd name="connsiteY77" fmla="*/ 62231 h 486772"/>
                <a:gd name="connsiteX78" fmla="*/ 211782 w 330705"/>
                <a:gd name="connsiteY78" fmla="*/ 58484 h 486772"/>
                <a:gd name="connsiteX79" fmla="*/ 213411 w 330705"/>
                <a:gd name="connsiteY79" fmla="*/ 55878 h 486772"/>
                <a:gd name="connsiteX80" fmla="*/ 211293 w 330705"/>
                <a:gd name="connsiteY80" fmla="*/ 49524 h 486772"/>
                <a:gd name="connsiteX81" fmla="*/ 207058 w 330705"/>
                <a:gd name="connsiteY81" fmla="*/ 47407 h 486772"/>
                <a:gd name="connsiteX82" fmla="*/ 205103 w 330705"/>
                <a:gd name="connsiteY82" fmla="*/ 46918 h 486772"/>
                <a:gd name="connsiteX83" fmla="*/ 205428 w 330705"/>
                <a:gd name="connsiteY83" fmla="*/ 40727 h 486772"/>
                <a:gd name="connsiteX84" fmla="*/ 200215 w 330705"/>
                <a:gd name="connsiteY84" fmla="*/ 33233 h 486772"/>
                <a:gd name="connsiteX85" fmla="*/ 187997 w 330705"/>
                <a:gd name="connsiteY85" fmla="*/ 29161 h 486772"/>
                <a:gd name="connsiteX86" fmla="*/ 184739 w 330705"/>
                <a:gd name="connsiteY86" fmla="*/ 29161 h 486772"/>
                <a:gd name="connsiteX87" fmla="*/ 180503 w 330705"/>
                <a:gd name="connsiteY87" fmla="*/ 21178 h 486772"/>
                <a:gd name="connsiteX88" fmla="*/ 180015 w 330705"/>
                <a:gd name="connsiteY88" fmla="*/ 16454 h 486772"/>
                <a:gd name="connsiteX89" fmla="*/ 173824 w 330705"/>
                <a:gd name="connsiteY89" fmla="*/ 9286 h 486772"/>
                <a:gd name="connsiteX90" fmla="*/ 172358 w 330705"/>
                <a:gd name="connsiteY90" fmla="*/ 6516 h 486772"/>
                <a:gd name="connsiteX91" fmla="*/ 166656 w 330705"/>
                <a:gd name="connsiteY91" fmla="*/ 5213 h 486772"/>
                <a:gd name="connsiteX92" fmla="*/ 157533 w 330705"/>
                <a:gd name="connsiteY92" fmla="*/ 3095 h 486772"/>
                <a:gd name="connsiteX93" fmla="*/ 154438 w 330705"/>
                <a:gd name="connsiteY93" fmla="*/ 0 h 486772"/>
                <a:gd name="connsiteX94" fmla="*/ 152646 w 330705"/>
                <a:gd name="connsiteY94" fmla="*/ 163 h 486772"/>
                <a:gd name="connsiteX95" fmla="*/ 153949 w 330705"/>
                <a:gd name="connsiteY95" fmla="*/ 4073 h 486772"/>
                <a:gd name="connsiteX96" fmla="*/ 153623 w 330705"/>
                <a:gd name="connsiteY96" fmla="*/ 6679 h 486772"/>
                <a:gd name="connsiteX97" fmla="*/ 158999 w 330705"/>
                <a:gd name="connsiteY97" fmla="*/ 16617 h 486772"/>
                <a:gd name="connsiteX98" fmla="*/ 159488 w 330705"/>
                <a:gd name="connsiteY98" fmla="*/ 21504 h 486772"/>
                <a:gd name="connsiteX99" fmla="*/ 158185 w 330705"/>
                <a:gd name="connsiteY99" fmla="*/ 27369 h 486772"/>
                <a:gd name="connsiteX100" fmla="*/ 157044 w 330705"/>
                <a:gd name="connsiteY100" fmla="*/ 29649 h 486772"/>
                <a:gd name="connsiteX101" fmla="*/ 152646 w 330705"/>
                <a:gd name="connsiteY101" fmla="*/ 29975 h 486772"/>
                <a:gd name="connsiteX102" fmla="*/ 145478 w 330705"/>
                <a:gd name="connsiteY102" fmla="*/ 46755 h 486772"/>
                <a:gd name="connsiteX103" fmla="*/ 127721 w 330705"/>
                <a:gd name="connsiteY103" fmla="*/ 62883 h 486772"/>
                <a:gd name="connsiteX104" fmla="*/ 116806 w 330705"/>
                <a:gd name="connsiteY104" fmla="*/ 70703 h 486772"/>
                <a:gd name="connsiteX105" fmla="*/ 90577 w 330705"/>
                <a:gd name="connsiteY105" fmla="*/ 79337 h 486772"/>
                <a:gd name="connsiteX106" fmla="*/ 86831 w 330705"/>
                <a:gd name="connsiteY106" fmla="*/ 82595 h 486772"/>
                <a:gd name="connsiteX107" fmla="*/ 66956 w 330705"/>
                <a:gd name="connsiteY107" fmla="*/ 123811 h 486772"/>
                <a:gd name="connsiteX108" fmla="*/ 62231 w 330705"/>
                <a:gd name="connsiteY108" fmla="*/ 128861 h 486772"/>
                <a:gd name="connsiteX109" fmla="*/ 58810 w 330705"/>
                <a:gd name="connsiteY109" fmla="*/ 128861 h 486772"/>
                <a:gd name="connsiteX110" fmla="*/ 51479 w 330705"/>
                <a:gd name="connsiteY110" fmla="*/ 118435 h 486772"/>
                <a:gd name="connsiteX111" fmla="*/ 46918 w 330705"/>
                <a:gd name="connsiteY111" fmla="*/ 116480 h 486772"/>
                <a:gd name="connsiteX112" fmla="*/ 39098 w 330705"/>
                <a:gd name="connsiteY112" fmla="*/ 114851 h 486772"/>
                <a:gd name="connsiteX113" fmla="*/ 36818 w 330705"/>
                <a:gd name="connsiteY113" fmla="*/ 110941 h 486772"/>
                <a:gd name="connsiteX114" fmla="*/ 31116 w 330705"/>
                <a:gd name="connsiteY114" fmla="*/ 113548 h 486772"/>
                <a:gd name="connsiteX115" fmla="*/ 25902 w 330705"/>
                <a:gd name="connsiteY115" fmla="*/ 113385 h 486772"/>
                <a:gd name="connsiteX116" fmla="*/ 25088 w 330705"/>
                <a:gd name="connsiteY116" fmla="*/ 108334 h 486772"/>
                <a:gd name="connsiteX117" fmla="*/ 29324 w 330705"/>
                <a:gd name="connsiteY117" fmla="*/ 103610 h 486772"/>
                <a:gd name="connsiteX118" fmla="*/ 34700 w 330705"/>
                <a:gd name="connsiteY118" fmla="*/ 100841 h 486772"/>
                <a:gd name="connsiteX119" fmla="*/ 32582 w 330705"/>
                <a:gd name="connsiteY119" fmla="*/ 93836 h 486772"/>
                <a:gd name="connsiteX120" fmla="*/ 30138 w 330705"/>
                <a:gd name="connsiteY120" fmla="*/ 92695 h 486772"/>
                <a:gd name="connsiteX121" fmla="*/ 29812 w 330705"/>
                <a:gd name="connsiteY121" fmla="*/ 92858 h 486772"/>
                <a:gd name="connsiteX122" fmla="*/ 17268 w 330705"/>
                <a:gd name="connsiteY122" fmla="*/ 98397 h 486772"/>
                <a:gd name="connsiteX123" fmla="*/ 12707 w 330705"/>
                <a:gd name="connsiteY123" fmla="*/ 102633 h 486772"/>
                <a:gd name="connsiteX124" fmla="*/ 3910 w 330705"/>
                <a:gd name="connsiteY124" fmla="*/ 111430 h 486772"/>
                <a:gd name="connsiteX125" fmla="*/ 2118 w 330705"/>
                <a:gd name="connsiteY125" fmla="*/ 117783 h 486772"/>
                <a:gd name="connsiteX126" fmla="*/ 0 w 330705"/>
                <a:gd name="connsiteY126" fmla="*/ 122833 h 486772"/>
                <a:gd name="connsiteX127" fmla="*/ 652 w 330705"/>
                <a:gd name="connsiteY127" fmla="*/ 125114 h 486772"/>
                <a:gd name="connsiteX128" fmla="*/ 4561 w 330705"/>
                <a:gd name="connsiteY128" fmla="*/ 128535 h 486772"/>
                <a:gd name="connsiteX129" fmla="*/ 5213 w 330705"/>
                <a:gd name="connsiteY129" fmla="*/ 132119 h 486772"/>
                <a:gd name="connsiteX130" fmla="*/ 2118 w 330705"/>
                <a:gd name="connsiteY130" fmla="*/ 134400 h 486772"/>
                <a:gd name="connsiteX131" fmla="*/ 2118 w 330705"/>
                <a:gd name="connsiteY131" fmla="*/ 137169 h 486772"/>
                <a:gd name="connsiteX132" fmla="*/ 7005 w 330705"/>
                <a:gd name="connsiteY132" fmla="*/ 141568 h 486772"/>
                <a:gd name="connsiteX133" fmla="*/ 10915 w 330705"/>
                <a:gd name="connsiteY133" fmla="*/ 148736 h 486772"/>
                <a:gd name="connsiteX134" fmla="*/ 10263 w 330705"/>
                <a:gd name="connsiteY134" fmla="*/ 153786 h 486772"/>
                <a:gd name="connsiteX135" fmla="*/ 6517 w 330705"/>
                <a:gd name="connsiteY135" fmla="*/ 153949 h 486772"/>
                <a:gd name="connsiteX136" fmla="*/ 2444 w 330705"/>
                <a:gd name="connsiteY136" fmla="*/ 155741 h 486772"/>
                <a:gd name="connsiteX137" fmla="*/ 977 w 330705"/>
                <a:gd name="connsiteY137" fmla="*/ 159651 h 486772"/>
                <a:gd name="connsiteX138" fmla="*/ 5213 w 330705"/>
                <a:gd name="connsiteY138" fmla="*/ 163724 h 486772"/>
                <a:gd name="connsiteX139" fmla="*/ 10263 w 330705"/>
                <a:gd name="connsiteY139" fmla="*/ 165679 h 486772"/>
                <a:gd name="connsiteX140" fmla="*/ 17920 w 330705"/>
                <a:gd name="connsiteY140" fmla="*/ 172195 h 486772"/>
                <a:gd name="connsiteX141" fmla="*/ 24925 w 330705"/>
                <a:gd name="connsiteY141" fmla="*/ 173009 h 486772"/>
                <a:gd name="connsiteX142" fmla="*/ 35351 w 330705"/>
                <a:gd name="connsiteY142" fmla="*/ 180015 h 486772"/>
                <a:gd name="connsiteX143" fmla="*/ 40564 w 330705"/>
                <a:gd name="connsiteY143" fmla="*/ 181318 h 486772"/>
                <a:gd name="connsiteX144" fmla="*/ 41868 w 330705"/>
                <a:gd name="connsiteY144" fmla="*/ 185554 h 486772"/>
                <a:gd name="connsiteX145" fmla="*/ 47569 w 330705"/>
                <a:gd name="connsiteY145" fmla="*/ 193699 h 486772"/>
                <a:gd name="connsiteX146" fmla="*/ 48221 w 330705"/>
                <a:gd name="connsiteY146" fmla="*/ 200704 h 486772"/>
                <a:gd name="connsiteX147" fmla="*/ 51317 w 330705"/>
                <a:gd name="connsiteY147" fmla="*/ 205917 h 486772"/>
                <a:gd name="connsiteX148" fmla="*/ 61580 w 330705"/>
                <a:gd name="connsiteY148" fmla="*/ 211293 h 486772"/>
                <a:gd name="connsiteX149" fmla="*/ 66141 w 330705"/>
                <a:gd name="connsiteY149" fmla="*/ 218787 h 486772"/>
                <a:gd name="connsiteX150" fmla="*/ 67607 w 330705"/>
                <a:gd name="connsiteY150" fmla="*/ 226118 h 486772"/>
                <a:gd name="connsiteX151" fmla="*/ 70540 w 330705"/>
                <a:gd name="connsiteY151" fmla="*/ 231168 h 486772"/>
                <a:gd name="connsiteX152" fmla="*/ 71517 w 330705"/>
                <a:gd name="connsiteY152" fmla="*/ 239476 h 486772"/>
                <a:gd name="connsiteX153" fmla="*/ 74938 w 330705"/>
                <a:gd name="connsiteY153" fmla="*/ 245178 h 486772"/>
                <a:gd name="connsiteX154" fmla="*/ 79011 w 330705"/>
                <a:gd name="connsiteY154" fmla="*/ 247459 h 486772"/>
                <a:gd name="connsiteX155" fmla="*/ 83735 w 330705"/>
                <a:gd name="connsiteY155" fmla="*/ 255767 h 486772"/>
                <a:gd name="connsiteX156" fmla="*/ 84550 w 330705"/>
                <a:gd name="connsiteY156" fmla="*/ 261958 h 486772"/>
                <a:gd name="connsiteX157" fmla="*/ 83084 w 330705"/>
                <a:gd name="connsiteY157" fmla="*/ 263913 h 486772"/>
                <a:gd name="connsiteX158" fmla="*/ 87156 w 330705"/>
                <a:gd name="connsiteY158" fmla="*/ 272710 h 486772"/>
                <a:gd name="connsiteX159" fmla="*/ 95302 w 330705"/>
                <a:gd name="connsiteY159" fmla="*/ 282973 h 486772"/>
                <a:gd name="connsiteX160" fmla="*/ 98397 w 330705"/>
                <a:gd name="connsiteY160" fmla="*/ 288186 h 486772"/>
                <a:gd name="connsiteX161" fmla="*/ 97094 w 330705"/>
                <a:gd name="connsiteY161" fmla="*/ 292422 h 486772"/>
                <a:gd name="connsiteX162" fmla="*/ 98071 w 330705"/>
                <a:gd name="connsiteY162" fmla="*/ 296006 h 486772"/>
                <a:gd name="connsiteX163" fmla="*/ 101330 w 330705"/>
                <a:gd name="connsiteY163" fmla="*/ 297146 h 486772"/>
                <a:gd name="connsiteX164" fmla="*/ 109964 w 330705"/>
                <a:gd name="connsiteY164" fmla="*/ 304803 h 486772"/>
                <a:gd name="connsiteX165" fmla="*/ 112244 w 330705"/>
                <a:gd name="connsiteY165" fmla="*/ 309364 h 486772"/>
                <a:gd name="connsiteX166" fmla="*/ 113222 w 330705"/>
                <a:gd name="connsiteY166" fmla="*/ 316532 h 486772"/>
                <a:gd name="connsiteX167" fmla="*/ 115503 w 330705"/>
                <a:gd name="connsiteY167" fmla="*/ 319790 h 486772"/>
                <a:gd name="connsiteX168" fmla="*/ 122182 w 330705"/>
                <a:gd name="connsiteY168" fmla="*/ 322071 h 486772"/>
                <a:gd name="connsiteX169" fmla="*/ 123485 w 330705"/>
                <a:gd name="connsiteY169" fmla="*/ 328262 h 486772"/>
                <a:gd name="connsiteX170" fmla="*/ 130816 w 330705"/>
                <a:gd name="connsiteY170" fmla="*/ 339991 h 486772"/>
                <a:gd name="connsiteX171" fmla="*/ 132608 w 330705"/>
                <a:gd name="connsiteY171" fmla="*/ 345856 h 486772"/>
                <a:gd name="connsiteX172" fmla="*/ 141079 w 330705"/>
                <a:gd name="connsiteY172" fmla="*/ 357911 h 486772"/>
                <a:gd name="connsiteX173" fmla="*/ 141405 w 330705"/>
                <a:gd name="connsiteY173" fmla="*/ 362636 h 486772"/>
                <a:gd name="connsiteX174" fmla="*/ 139125 w 330705"/>
                <a:gd name="connsiteY174" fmla="*/ 363613 h 486772"/>
                <a:gd name="connsiteX175" fmla="*/ 136681 w 330705"/>
                <a:gd name="connsiteY175" fmla="*/ 361984 h 486772"/>
                <a:gd name="connsiteX176" fmla="*/ 136518 w 330705"/>
                <a:gd name="connsiteY176" fmla="*/ 364428 h 486772"/>
                <a:gd name="connsiteX177" fmla="*/ 137495 w 330705"/>
                <a:gd name="connsiteY177" fmla="*/ 368826 h 486772"/>
                <a:gd name="connsiteX178" fmla="*/ 137495 w 330705"/>
                <a:gd name="connsiteY178" fmla="*/ 372573 h 486772"/>
                <a:gd name="connsiteX179" fmla="*/ 140428 w 330705"/>
                <a:gd name="connsiteY179" fmla="*/ 372084 h 486772"/>
                <a:gd name="connsiteX180" fmla="*/ 143686 w 330705"/>
                <a:gd name="connsiteY180" fmla="*/ 374202 h 486772"/>
                <a:gd name="connsiteX181" fmla="*/ 144500 w 330705"/>
                <a:gd name="connsiteY181" fmla="*/ 377623 h 486772"/>
                <a:gd name="connsiteX182" fmla="*/ 143360 w 330705"/>
                <a:gd name="connsiteY182" fmla="*/ 380230 h 486772"/>
                <a:gd name="connsiteX183" fmla="*/ 151831 w 330705"/>
                <a:gd name="connsiteY183" fmla="*/ 386095 h 486772"/>
                <a:gd name="connsiteX184" fmla="*/ 159977 w 330705"/>
                <a:gd name="connsiteY184" fmla="*/ 390167 h 486772"/>
                <a:gd name="connsiteX185" fmla="*/ 160303 w 330705"/>
                <a:gd name="connsiteY185" fmla="*/ 393589 h 486772"/>
                <a:gd name="connsiteX186" fmla="*/ 164212 w 330705"/>
                <a:gd name="connsiteY186" fmla="*/ 398476 h 486772"/>
                <a:gd name="connsiteX187" fmla="*/ 168937 w 330705"/>
                <a:gd name="connsiteY187" fmla="*/ 398964 h 486772"/>
                <a:gd name="connsiteX188" fmla="*/ 170892 w 330705"/>
                <a:gd name="connsiteY188" fmla="*/ 401408 h 486772"/>
                <a:gd name="connsiteX189" fmla="*/ 172684 w 330705"/>
                <a:gd name="connsiteY189" fmla="*/ 405644 h 486772"/>
                <a:gd name="connsiteX190" fmla="*/ 175942 w 330705"/>
                <a:gd name="connsiteY190" fmla="*/ 407762 h 486772"/>
                <a:gd name="connsiteX191" fmla="*/ 183762 w 330705"/>
                <a:gd name="connsiteY191" fmla="*/ 407436 h 486772"/>
                <a:gd name="connsiteX192" fmla="*/ 186205 w 330705"/>
                <a:gd name="connsiteY192" fmla="*/ 404340 h 486772"/>
                <a:gd name="connsiteX193" fmla="*/ 184739 w 330705"/>
                <a:gd name="connsiteY193" fmla="*/ 408739 h 486772"/>
                <a:gd name="connsiteX194" fmla="*/ 189138 w 330705"/>
                <a:gd name="connsiteY194" fmla="*/ 413789 h 486772"/>
                <a:gd name="connsiteX195" fmla="*/ 197283 w 330705"/>
                <a:gd name="connsiteY195" fmla="*/ 418188 h 486772"/>
                <a:gd name="connsiteX196" fmla="*/ 201030 w 330705"/>
                <a:gd name="connsiteY196" fmla="*/ 421609 h 486772"/>
                <a:gd name="connsiteX197" fmla="*/ 201682 w 330705"/>
                <a:gd name="connsiteY197" fmla="*/ 425356 h 486772"/>
                <a:gd name="connsiteX198" fmla="*/ 205591 w 330705"/>
                <a:gd name="connsiteY198" fmla="*/ 427962 h 486772"/>
                <a:gd name="connsiteX199" fmla="*/ 211782 w 330705"/>
                <a:gd name="connsiteY199" fmla="*/ 430243 h 486772"/>
                <a:gd name="connsiteX200" fmla="*/ 213900 w 330705"/>
                <a:gd name="connsiteY200" fmla="*/ 429265 h 486772"/>
                <a:gd name="connsiteX201" fmla="*/ 218298 w 330705"/>
                <a:gd name="connsiteY201" fmla="*/ 430569 h 486772"/>
                <a:gd name="connsiteX202" fmla="*/ 228073 w 330705"/>
                <a:gd name="connsiteY202" fmla="*/ 436597 h 486772"/>
                <a:gd name="connsiteX203" fmla="*/ 234915 w 330705"/>
                <a:gd name="connsiteY203" fmla="*/ 439203 h 486772"/>
                <a:gd name="connsiteX204" fmla="*/ 239639 w 330705"/>
                <a:gd name="connsiteY204" fmla="*/ 439366 h 486772"/>
                <a:gd name="connsiteX205" fmla="*/ 241920 w 330705"/>
                <a:gd name="connsiteY205" fmla="*/ 440669 h 486772"/>
                <a:gd name="connsiteX206" fmla="*/ 243386 w 330705"/>
                <a:gd name="connsiteY206" fmla="*/ 444090 h 486772"/>
                <a:gd name="connsiteX207" fmla="*/ 250391 w 330705"/>
                <a:gd name="connsiteY207" fmla="*/ 449140 h 486772"/>
                <a:gd name="connsiteX208" fmla="*/ 254301 w 330705"/>
                <a:gd name="connsiteY208" fmla="*/ 451584 h 486772"/>
                <a:gd name="connsiteX209" fmla="*/ 259840 w 330705"/>
                <a:gd name="connsiteY209" fmla="*/ 456634 h 486772"/>
                <a:gd name="connsiteX210" fmla="*/ 263261 w 330705"/>
                <a:gd name="connsiteY210" fmla="*/ 458100 h 486772"/>
                <a:gd name="connsiteX211" fmla="*/ 264890 w 330705"/>
                <a:gd name="connsiteY211" fmla="*/ 461359 h 486772"/>
                <a:gd name="connsiteX212" fmla="*/ 264565 w 330705"/>
                <a:gd name="connsiteY212" fmla="*/ 463965 h 486772"/>
                <a:gd name="connsiteX213" fmla="*/ 264565 w 330705"/>
                <a:gd name="connsiteY213" fmla="*/ 467549 h 486772"/>
                <a:gd name="connsiteX214" fmla="*/ 270429 w 330705"/>
                <a:gd name="connsiteY214" fmla="*/ 468853 h 486772"/>
                <a:gd name="connsiteX215" fmla="*/ 276294 w 330705"/>
                <a:gd name="connsiteY215" fmla="*/ 471296 h 486772"/>
                <a:gd name="connsiteX216" fmla="*/ 283299 w 330705"/>
                <a:gd name="connsiteY216" fmla="*/ 478464 h 486772"/>
                <a:gd name="connsiteX217" fmla="*/ 289816 w 330705"/>
                <a:gd name="connsiteY217" fmla="*/ 484492 h 486772"/>
                <a:gd name="connsiteX218" fmla="*/ 294214 w 330705"/>
                <a:gd name="connsiteY218" fmla="*/ 485958 h 486772"/>
                <a:gd name="connsiteX219" fmla="*/ 295191 w 330705"/>
                <a:gd name="connsiteY219" fmla="*/ 486772 h 486772"/>
                <a:gd name="connsiteX220" fmla="*/ 301545 w 330705"/>
                <a:gd name="connsiteY220" fmla="*/ 483677 h 486772"/>
                <a:gd name="connsiteX221" fmla="*/ 307084 w 330705"/>
                <a:gd name="connsiteY221" fmla="*/ 480093 h 486772"/>
                <a:gd name="connsiteX222" fmla="*/ 310342 w 330705"/>
                <a:gd name="connsiteY222" fmla="*/ 480745 h 486772"/>
                <a:gd name="connsiteX223" fmla="*/ 315392 w 330705"/>
                <a:gd name="connsiteY223" fmla="*/ 477649 h 486772"/>
                <a:gd name="connsiteX224" fmla="*/ 317184 w 330705"/>
                <a:gd name="connsiteY224" fmla="*/ 473414 h 486772"/>
                <a:gd name="connsiteX225" fmla="*/ 312623 w 330705"/>
                <a:gd name="connsiteY225" fmla="*/ 469015 h 486772"/>
                <a:gd name="connsiteX226" fmla="*/ 314252 w 330705"/>
                <a:gd name="connsiteY226" fmla="*/ 464617 h 486772"/>
                <a:gd name="connsiteX227" fmla="*/ 316858 w 330705"/>
                <a:gd name="connsiteY227" fmla="*/ 460381 h 486772"/>
                <a:gd name="connsiteX228" fmla="*/ 320442 w 330705"/>
                <a:gd name="connsiteY228" fmla="*/ 461196 h 486772"/>
                <a:gd name="connsiteX229" fmla="*/ 319791 w 330705"/>
                <a:gd name="connsiteY229" fmla="*/ 457938 h 486772"/>
                <a:gd name="connsiteX230" fmla="*/ 316695 w 330705"/>
                <a:gd name="connsiteY230" fmla="*/ 457449 h 486772"/>
                <a:gd name="connsiteX231" fmla="*/ 314415 w 330705"/>
                <a:gd name="connsiteY231" fmla="*/ 455005 h 486772"/>
                <a:gd name="connsiteX232" fmla="*/ 318325 w 330705"/>
                <a:gd name="connsiteY232" fmla="*/ 446697 h 486772"/>
                <a:gd name="connsiteX233" fmla="*/ 324026 w 330705"/>
                <a:gd name="connsiteY233" fmla="*/ 442787 h 486772"/>
                <a:gd name="connsiteX234" fmla="*/ 329240 w 330705"/>
                <a:gd name="connsiteY234" fmla="*/ 435945 h 486772"/>
                <a:gd name="connsiteX235" fmla="*/ 329728 w 330705"/>
                <a:gd name="connsiteY235" fmla="*/ 429917 h 486772"/>
                <a:gd name="connsiteX236" fmla="*/ 322397 w 330705"/>
                <a:gd name="connsiteY236" fmla="*/ 412975 h 486772"/>
                <a:gd name="connsiteX237" fmla="*/ 325004 w 330705"/>
                <a:gd name="connsiteY237" fmla="*/ 408902 h 486772"/>
                <a:gd name="connsiteX238" fmla="*/ 324352 w 330705"/>
                <a:gd name="connsiteY238" fmla="*/ 402548 h 486772"/>
                <a:gd name="connsiteX239" fmla="*/ 322723 w 330705"/>
                <a:gd name="connsiteY239" fmla="*/ 399127 h 486772"/>
                <a:gd name="connsiteX240" fmla="*/ 321583 w 330705"/>
                <a:gd name="connsiteY240" fmla="*/ 393751 h 486772"/>
                <a:gd name="connsiteX241" fmla="*/ 324841 w 330705"/>
                <a:gd name="connsiteY241" fmla="*/ 390330 h 486772"/>
                <a:gd name="connsiteX242" fmla="*/ 326633 w 330705"/>
                <a:gd name="connsiteY242" fmla="*/ 381533 h 486772"/>
                <a:gd name="connsiteX243" fmla="*/ 325818 w 330705"/>
                <a:gd name="connsiteY243" fmla="*/ 365079 h 486772"/>
                <a:gd name="connsiteX244" fmla="*/ 323538 w 330705"/>
                <a:gd name="connsiteY244" fmla="*/ 357911 h 486772"/>
                <a:gd name="connsiteX245" fmla="*/ 326633 w 330705"/>
                <a:gd name="connsiteY245" fmla="*/ 349766 h 486772"/>
                <a:gd name="connsiteX246" fmla="*/ 326470 w 330705"/>
                <a:gd name="connsiteY246" fmla="*/ 332172 h 486772"/>
                <a:gd name="connsiteX247" fmla="*/ 330706 w 330705"/>
                <a:gd name="connsiteY247" fmla="*/ 325167 h 486772"/>
                <a:gd name="connsiteX248" fmla="*/ 330543 w 330705"/>
                <a:gd name="connsiteY248" fmla="*/ 321420 h 486772"/>
                <a:gd name="connsiteX249" fmla="*/ 306921 w 330705"/>
                <a:gd name="connsiteY249" fmla="*/ 287698 h 4867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</a:cxnLst>
              <a:rect l="l" t="t" r="r" b="b"/>
              <a:pathLst>
                <a:path w="330705" h="486772">
                  <a:moveTo>
                    <a:pt x="306921" y="287698"/>
                  </a:moveTo>
                  <a:lnTo>
                    <a:pt x="306106" y="287372"/>
                  </a:lnTo>
                  <a:lnTo>
                    <a:pt x="303663" y="286231"/>
                  </a:lnTo>
                  <a:lnTo>
                    <a:pt x="300730" y="286557"/>
                  </a:lnTo>
                  <a:lnTo>
                    <a:pt x="295354" y="286883"/>
                  </a:lnTo>
                  <a:lnTo>
                    <a:pt x="290467" y="288349"/>
                  </a:lnTo>
                  <a:lnTo>
                    <a:pt x="285254" y="289164"/>
                  </a:lnTo>
                  <a:lnTo>
                    <a:pt x="282159" y="286231"/>
                  </a:lnTo>
                  <a:lnTo>
                    <a:pt x="281833" y="280204"/>
                  </a:lnTo>
                  <a:lnTo>
                    <a:pt x="280530" y="265053"/>
                  </a:lnTo>
                  <a:lnTo>
                    <a:pt x="280692" y="255930"/>
                  </a:lnTo>
                  <a:lnTo>
                    <a:pt x="282484" y="253975"/>
                  </a:lnTo>
                  <a:lnTo>
                    <a:pt x="283788" y="248436"/>
                  </a:lnTo>
                  <a:lnTo>
                    <a:pt x="281181" y="245667"/>
                  </a:lnTo>
                  <a:lnTo>
                    <a:pt x="272058" y="250880"/>
                  </a:lnTo>
                  <a:lnTo>
                    <a:pt x="261306" y="260817"/>
                  </a:lnTo>
                  <a:lnTo>
                    <a:pt x="248274" y="259840"/>
                  </a:lnTo>
                  <a:lnTo>
                    <a:pt x="237196" y="259514"/>
                  </a:lnTo>
                  <a:lnTo>
                    <a:pt x="235567" y="252346"/>
                  </a:lnTo>
                  <a:lnTo>
                    <a:pt x="230028" y="244201"/>
                  </a:lnTo>
                  <a:lnTo>
                    <a:pt x="222534" y="242898"/>
                  </a:lnTo>
                  <a:lnTo>
                    <a:pt x="206732" y="244201"/>
                  </a:lnTo>
                  <a:lnTo>
                    <a:pt x="213085" y="236055"/>
                  </a:lnTo>
                  <a:lnTo>
                    <a:pt x="200541" y="215855"/>
                  </a:lnTo>
                  <a:lnTo>
                    <a:pt x="193536" y="208849"/>
                  </a:lnTo>
                  <a:lnTo>
                    <a:pt x="194839" y="204940"/>
                  </a:lnTo>
                  <a:lnTo>
                    <a:pt x="193047" y="200704"/>
                  </a:lnTo>
                  <a:lnTo>
                    <a:pt x="195002" y="195980"/>
                  </a:lnTo>
                  <a:lnTo>
                    <a:pt x="195980" y="190278"/>
                  </a:lnTo>
                  <a:lnTo>
                    <a:pt x="194351" y="186694"/>
                  </a:lnTo>
                  <a:lnTo>
                    <a:pt x="196957" y="183924"/>
                  </a:lnTo>
                  <a:lnTo>
                    <a:pt x="197283" y="178874"/>
                  </a:lnTo>
                  <a:lnTo>
                    <a:pt x="204451" y="174150"/>
                  </a:lnTo>
                  <a:lnTo>
                    <a:pt x="208198" y="174964"/>
                  </a:lnTo>
                  <a:lnTo>
                    <a:pt x="212434" y="170892"/>
                  </a:lnTo>
                  <a:lnTo>
                    <a:pt x="209990" y="166330"/>
                  </a:lnTo>
                  <a:lnTo>
                    <a:pt x="207546" y="157370"/>
                  </a:lnTo>
                  <a:lnTo>
                    <a:pt x="214551" y="150365"/>
                  </a:lnTo>
                  <a:lnTo>
                    <a:pt x="213411" y="146455"/>
                  </a:lnTo>
                  <a:lnTo>
                    <a:pt x="216018" y="142546"/>
                  </a:lnTo>
                  <a:lnTo>
                    <a:pt x="215366" y="135866"/>
                  </a:lnTo>
                  <a:lnTo>
                    <a:pt x="219927" y="132934"/>
                  </a:lnTo>
                  <a:lnTo>
                    <a:pt x="225955" y="130164"/>
                  </a:lnTo>
                  <a:lnTo>
                    <a:pt x="231331" y="124788"/>
                  </a:lnTo>
                  <a:lnTo>
                    <a:pt x="234263" y="123811"/>
                  </a:lnTo>
                  <a:lnTo>
                    <a:pt x="237684" y="120553"/>
                  </a:lnTo>
                  <a:lnTo>
                    <a:pt x="250717" y="117783"/>
                  </a:lnTo>
                  <a:lnTo>
                    <a:pt x="268149" y="112081"/>
                  </a:lnTo>
                  <a:lnTo>
                    <a:pt x="270103" y="108009"/>
                  </a:lnTo>
                  <a:lnTo>
                    <a:pt x="272221" y="108986"/>
                  </a:lnTo>
                  <a:lnTo>
                    <a:pt x="277271" y="108986"/>
                  </a:lnTo>
                  <a:lnTo>
                    <a:pt x="279226" y="108334"/>
                  </a:lnTo>
                  <a:lnTo>
                    <a:pt x="284928" y="112081"/>
                  </a:lnTo>
                  <a:lnTo>
                    <a:pt x="284440" y="113711"/>
                  </a:lnTo>
                  <a:lnTo>
                    <a:pt x="289978" y="115177"/>
                  </a:lnTo>
                  <a:lnTo>
                    <a:pt x="292096" y="111593"/>
                  </a:lnTo>
                  <a:lnTo>
                    <a:pt x="290304" y="103447"/>
                  </a:lnTo>
                  <a:lnTo>
                    <a:pt x="286394" y="99212"/>
                  </a:lnTo>
                  <a:lnTo>
                    <a:pt x="280041" y="99700"/>
                  </a:lnTo>
                  <a:lnTo>
                    <a:pt x="274339" y="100352"/>
                  </a:lnTo>
                  <a:lnTo>
                    <a:pt x="273362" y="97094"/>
                  </a:lnTo>
                  <a:lnTo>
                    <a:pt x="289978" y="69236"/>
                  </a:lnTo>
                  <a:lnTo>
                    <a:pt x="289652" y="65652"/>
                  </a:lnTo>
                  <a:lnTo>
                    <a:pt x="284602" y="67281"/>
                  </a:lnTo>
                  <a:lnTo>
                    <a:pt x="281996" y="63860"/>
                  </a:lnTo>
                  <a:lnTo>
                    <a:pt x="276294" y="61091"/>
                  </a:lnTo>
                  <a:lnTo>
                    <a:pt x="273362" y="61254"/>
                  </a:lnTo>
                  <a:lnTo>
                    <a:pt x="271407" y="58322"/>
                  </a:lnTo>
                  <a:lnTo>
                    <a:pt x="266682" y="58322"/>
                  </a:lnTo>
                  <a:lnTo>
                    <a:pt x="257885" y="62231"/>
                  </a:lnTo>
                  <a:lnTo>
                    <a:pt x="251858" y="59136"/>
                  </a:lnTo>
                  <a:lnTo>
                    <a:pt x="244852" y="57996"/>
                  </a:lnTo>
                  <a:lnTo>
                    <a:pt x="236707" y="61580"/>
                  </a:lnTo>
                  <a:lnTo>
                    <a:pt x="234100" y="63860"/>
                  </a:lnTo>
                  <a:lnTo>
                    <a:pt x="227910" y="64023"/>
                  </a:lnTo>
                  <a:lnTo>
                    <a:pt x="223349" y="62883"/>
                  </a:lnTo>
                  <a:lnTo>
                    <a:pt x="218135" y="64186"/>
                  </a:lnTo>
                  <a:lnTo>
                    <a:pt x="213248" y="62231"/>
                  </a:lnTo>
                  <a:lnTo>
                    <a:pt x="211782" y="58484"/>
                  </a:lnTo>
                  <a:lnTo>
                    <a:pt x="213411" y="55878"/>
                  </a:lnTo>
                  <a:lnTo>
                    <a:pt x="211293" y="49524"/>
                  </a:lnTo>
                  <a:lnTo>
                    <a:pt x="207058" y="47407"/>
                  </a:lnTo>
                  <a:lnTo>
                    <a:pt x="205103" y="46918"/>
                  </a:lnTo>
                  <a:lnTo>
                    <a:pt x="205428" y="40727"/>
                  </a:lnTo>
                  <a:lnTo>
                    <a:pt x="200215" y="33233"/>
                  </a:lnTo>
                  <a:lnTo>
                    <a:pt x="187997" y="29161"/>
                  </a:lnTo>
                  <a:lnTo>
                    <a:pt x="184739" y="29161"/>
                  </a:lnTo>
                  <a:lnTo>
                    <a:pt x="180503" y="21178"/>
                  </a:lnTo>
                  <a:lnTo>
                    <a:pt x="180015" y="16454"/>
                  </a:lnTo>
                  <a:lnTo>
                    <a:pt x="173824" y="9286"/>
                  </a:lnTo>
                  <a:lnTo>
                    <a:pt x="172358" y="6516"/>
                  </a:lnTo>
                  <a:lnTo>
                    <a:pt x="166656" y="5213"/>
                  </a:lnTo>
                  <a:lnTo>
                    <a:pt x="157533" y="3095"/>
                  </a:lnTo>
                  <a:lnTo>
                    <a:pt x="154438" y="0"/>
                  </a:lnTo>
                  <a:lnTo>
                    <a:pt x="152646" y="163"/>
                  </a:lnTo>
                  <a:lnTo>
                    <a:pt x="153949" y="4073"/>
                  </a:lnTo>
                  <a:lnTo>
                    <a:pt x="153623" y="6679"/>
                  </a:lnTo>
                  <a:lnTo>
                    <a:pt x="158999" y="16617"/>
                  </a:lnTo>
                  <a:lnTo>
                    <a:pt x="159488" y="21504"/>
                  </a:lnTo>
                  <a:lnTo>
                    <a:pt x="158185" y="27369"/>
                  </a:lnTo>
                  <a:lnTo>
                    <a:pt x="157044" y="29649"/>
                  </a:lnTo>
                  <a:lnTo>
                    <a:pt x="152646" y="29975"/>
                  </a:lnTo>
                  <a:lnTo>
                    <a:pt x="145478" y="46755"/>
                  </a:lnTo>
                  <a:lnTo>
                    <a:pt x="127721" y="62883"/>
                  </a:lnTo>
                  <a:lnTo>
                    <a:pt x="116806" y="70703"/>
                  </a:lnTo>
                  <a:lnTo>
                    <a:pt x="90577" y="79337"/>
                  </a:lnTo>
                  <a:lnTo>
                    <a:pt x="86831" y="82595"/>
                  </a:lnTo>
                  <a:lnTo>
                    <a:pt x="66956" y="123811"/>
                  </a:lnTo>
                  <a:lnTo>
                    <a:pt x="62231" y="128861"/>
                  </a:lnTo>
                  <a:lnTo>
                    <a:pt x="58810" y="128861"/>
                  </a:lnTo>
                  <a:lnTo>
                    <a:pt x="51479" y="118435"/>
                  </a:lnTo>
                  <a:lnTo>
                    <a:pt x="46918" y="116480"/>
                  </a:lnTo>
                  <a:lnTo>
                    <a:pt x="39098" y="114851"/>
                  </a:lnTo>
                  <a:lnTo>
                    <a:pt x="36818" y="110941"/>
                  </a:lnTo>
                  <a:lnTo>
                    <a:pt x="31116" y="113548"/>
                  </a:lnTo>
                  <a:lnTo>
                    <a:pt x="25902" y="113385"/>
                  </a:lnTo>
                  <a:lnTo>
                    <a:pt x="25088" y="108334"/>
                  </a:lnTo>
                  <a:lnTo>
                    <a:pt x="29324" y="103610"/>
                  </a:lnTo>
                  <a:lnTo>
                    <a:pt x="34700" y="100841"/>
                  </a:lnTo>
                  <a:lnTo>
                    <a:pt x="32582" y="93836"/>
                  </a:lnTo>
                  <a:lnTo>
                    <a:pt x="30138" y="92695"/>
                  </a:lnTo>
                  <a:lnTo>
                    <a:pt x="29812" y="92858"/>
                  </a:lnTo>
                  <a:lnTo>
                    <a:pt x="17268" y="98397"/>
                  </a:lnTo>
                  <a:lnTo>
                    <a:pt x="12707" y="102633"/>
                  </a:lnTo>
                  <a:lnTo>
                    <a:pt x="3910" y="111430"/>
                  </a:lnTo>
                  <a:lnTo>
                    <a:pt x="2118" y="117783"/>
                  </a:lnTo>
                  <a:lnTo>
                    <a:pt x="0" y="122833"/>
                  </a:lnTo>
                  <a:lnTo>
                    <a:pt x="652" y="125114"/>
                  </a:lnTo>
                  <a:lnTo>
                    <a:pt x="4561" y="128535"/>
                  </a:lnTo>
                  <a:lnTo>
                    <a:pt x="5213" y="132119"/>
                  </a:lnTo>
                  <a:lnTo>
                    <a:pt x="2118" y="134400"/>
                  </a:lnTo>
                  <a:lnTo>
                    <a:pt x="2118" y="137169"/>
                  </a:lnTo>
                  <a:lnTo>
                    <a:pt x="7005" y="141568"/>
                  </a:lnTo>
                  <a:lnTo>
                    <a:pt x="10915" y="148736"/>
                  </a:lnTo>
                  <a:lnTo>
                    <a:pt x="10263" y="153786"/>
                  </a:lnTo>
                  <a:lnTo>
                    <a:pt x="6517" y="153949"/>
                  </a:lnTo>
                  <a:lnTo>
                    <a:pt x="2444" y="155741"/>
                  </a:lnTo>
                  <a:lnTo>
                    <a:pt x="977" y="159651"/>
                  </a:lnTo>
                  <a:lnTo>
                    <a:pt x="5213" y="163724"/>
                  </a:lnTo>
                  <a:lnTo>
                    <a:pt x="10263" y="165679"/>
                  </a:lnTo>
                  <a:lnTo>
                    <a:pt x="17920" y="172195"/>
                  </a:lnTo>
                  <a:lnTo>
                    <a:pt x="24925" y="173009"/>
                  </a:lnTo>
                  <a:lnTo>
                    <a:pt x="35351" y="180015"/>
                  </a:lnTo>
                  <a:lnTo>
                    <a:pt x="40564" y="181318"/>
                  </a:lnTo>
                  <a:lnTo>
                    <a:pt x="41868" y="185554"/>
                  </a:lnTo>
                  <a:lnTo>
                    <a:pt x="47569" y="193699"/>
                  </a:lnTo>
                  <a:lnTo>
                    <a:pt x="48221" y="200704"/>
                  </a:lnTo>
                  <a:lnTo>
                    <a:pt x="51317" y="205917"/>
                  </a:lnTo>
                  <a:lnTo>
                    <a:pt x="61580" y="211293"/>
                  </a:lnTo>
                  <a:lnTo>
                    <a:pt x="66141" y="218787"/>
                  </a:lnTo>
                  <a:lnTo>
                    <a:pt x="67607" y="226118"/>
                  </a:lnTo>
                  <a:lnTo>
                    <a:pt x="70540" y="231168"/>
                  </a:lnTo>
                  <a:lnTo>
                    <a:pt x="71517" y="239476"/>
                  </a:lnTo>
                  <a:lnTo>
                    <a:pt x="74938" y="245178"/>
                  </a:lnTo>
                  <a:lnTo>
                    <a:pt x="79011" y="247459"/>
                  </a:lnTo>
                  <a:lnTo>
                    <a:pt x="83735" y="255767"/>
                  </a:lnTo>
                  <a:lnTo>
                    <a:pt x="84550" y="261958"/>
                  </a:lnTo>
                  <a:lnTo>
                    <a:pt x="83084" y="263913"/>
                  </a:lnTo>
                  <a:lnTo>
                    <a:pt x="87156" y="272710"/>
                  </a:lnTo>
                  <a:lnTo>
                    <a:pt x="95302" y="282973"/>
                  </a:lnTo>
                  <a:lnTo>
                    <a:pt x="98397" y="288186"/>
                  </a:lnTo>
                  <a:lnTo>
                    <a:pt x="97094" y="292422"/>
                  </a:lnTo>
                  <a:lnTo>
                    <a:pt x="98071" y="296006"/>
                  </a:lnTo>
                  <a:lnTo>
                    <a:pt x="101330" y="297146"/>
                  </a:lnTo>
                  <a:lnTo>
                    <a:pt x="109964" y="304803"/>
                  </a:lnTo>
                  <a:lnTo>
                    <a:pt x="112244" y="309364"/>
                  </a:lnTo>
                  <a:lnTo>
                    <a:pt x="113222" y="316532"/>
                  </a:lnTo>
                  <a:lnTo>
                    <a:pt x="115503" y="319790"/>
                  </a:lnTo>
                  <a:lnTo>
                    <a:pt x="122182" y="322071"/>
                  </a:lnTo>
                  <a:lnTo>
                    <a:pt x="123485" y="328262"/>
                  </a:lnTo>
                  <a:lnTo>
                    <a:pt x="130816" y="339991"/>
                  </a:lnTo>
                  <a:lnTo>
                    <a:pt x="132608" y="345856"/>
                  </a:lnTo>
                  <a:lnTo>
                    <a:pt x="141079" y="357911"/>
                  </a:lnTo>
                  <a:lnTo>
                    <a:pt x="141405" y="362636"/>
                  </a:lnTo>
                  <a:lnTo>
                    <a:pt x="139125" y="363613"/>
                  </a:lnTo>
                  <a:lnTo>
                    <a:pt x="136681" y="361984"/>
                  </a:lnTo>
                  <a:lnTo>
                    <a:pt x="136518" y="364428"/>
                  </a:lnTo>
                  <a:lnTo>
                    <a:pt x="137495" y="368826"/>
                  </a:lnTo>
                  <a:lnTo>
                    <a:pt x="137495" y="372573"/>
                  </a:lnTo>
                  <a:lnTo>
                    <a:pt x="140428" y="372084"/>
                  </a:lnTo>
                  <a:lnTo>
                    <a:pt x="143686" y="374202"/>
                  </a:lnTo>
                  <a:lnTo>
                    <a:pt x="144500" y="377623"/>
                  </a:lnTo>
                  <a:lnTo>
                    <a:pt x="143360" y="380230"/>
                  </a:lnTo>
                  <a:lnTo>
                    <a:pt x="151831" y="386095"/>
                  </a:lnTo>
                  <a:lnTo>
                    <a:pt x="159977" y="390167"/>
                  </a:lnTo>
                  <a:lnTo>
                    <a:pt x="160303" y="393589"/>
                  </a:lnTo>
                  <a:lnTo>
                    <a:pt x="164212" y="398476"/>
                  </a:lnTo>
                  <a:lnTo>
                    <a:pt x="168937" y="398964"/>
                  </a:lnTo>
                  <a:lnTo>
                    <a:pt x="170892" y="401408"/>
                  </a:lnTo>
                  <a:lnTo>
                    <a:pt x="172684" y="405644"/>
                  </a:lnTo>
                  <a:lnTo>
                    <a:pt x="175942" y="407762"/>
                  </a:lnTo>
                  <a:lnTo>
                    <a:pt x="183762" y="407436"/>
                  </a:lnTo>
                  <a:lnTo>
                    <a:pt x="186205" y="404340"/>
                  </a:lnTo>
                  <a:lnTo>
                    <a:pt x="184739" y="408739"/>
                  </a:lnTo>
                  <a:lnTo>
                    <a:pt x="189138" y="413789"/>
                  </a:lnTo>
                  <a:lnTo>
                    <a:pt x="197283" y="418188"/>
                  </a:lnTo>
                  <a:lnTo>
                    <a:pt x="201030" y="421609"/>
                  </a:lnTo>
                  <a:lnTo>
                    <a:pt x="201682" y="425356"/>
                  </a:lnTo>
                  <a:lnTo>
                    <a:pt x="205591" y="427962"/>
                  </a:lnTo>
                  <a:lnTo>
                    <a:pt x="211782" y="430243"/>
                  </a:lnTo>
                  <a:lnTo>
                    <a:pt x="213900" y="429265"/>
                  </a:lnTo>
                  <a:lnTo>
                    <a:pt x="218298" y="430569"/>
                  </a:lnTo>
                  <a:lnTo>
                    <a:pt x="228073" y="436597"/>
                  </a:lnTo>
                  <a:lnTo>
                    <a:pt x="234915" y="439203"/>
                  </a:lnTo>
                  <a:lnTo>
                    <a:pt x="239639" y="439366"/>
                  </a:lnTo>
                  <a:lnTo>
                    <a:pt x="241920" y="440669"/>
                  </a:lnTo>
                  <a:lnTo>
                    <a:pt x="243386" y="444090"/>
                  </a:lnTo>
                  <a:lnTo>
                    <a:pt x="250391" y="449140"/>
                  </a:lnTo>
                  <a:lnTo>
                    <a:pt x="254301" y="451584"/>
                  </a:lnTo>
                  <a:lnTo>
                    <a:pt x="259840" y="456634"/>
                  </a:lnTo>
                  <a:lnTo>
                    <a:pt x="263261" y="458100"/>
                  </a:lnTo>
                  <a:lnTo>
                    <a:pt x="264890" y="461359"/>
                  </a:lnTo>
                  <a:lnTo>
                    <a:pt x="264565" y="463965"/>
                  </a:lnTo>
                  <a:lnTo>
                    <a:pt x="264565" y="467549"/>
                  </a:lnTo>
                  <a:lnTo>
                    <a:pt x="270429" y="468853"/>
                  </a:lnTo>
                  <a:lnTo>
                    <a:pt x="276294" y="471296"/>
                  </a:lnTo>
                  <a:lnTo>
                    <a:pt x="283299" y="478464"/>
                  </a:lnTo>
                  <a:lnTo>
                    <a:pt x="289816" y="484492"/>
                  </a:lnTo>
                  <a:lnTo>
                    <a:pt x="294214" y="485958"/>
                  </a:lnTo>
                  <a:lnTo>
                    <a:pt x="295191" y="486772"/>
                  </a:lnTo>
                  <a:lnTo>
                    <a:pt x="301545" y="483677"/>
                  </a:lnTo>
                  <a:lnTo>
                    <a:pt x="307084" y="480093"/>
                  </a:lnTo>
                  <a:lnTo>
                    <a:pt x="310342" y="480745"/>
                  </a:lnTo>
                  <a:lnTo>
                    <a:pt x="315392" y="477649"/>
                  </a:lnTo>
                  <a:lnTo>
                    <a:pt x="317184" y="473414"/>
                  </a:lnTo>
                  <a:lnTo>
                    <a:pt x="312623" y="469015"/>
                  </a:lnTo>
                  <a:lnTo>
                    <a:pt x="314252" y="464617"/>
                  </a:lnTo>
                  <a:lnTo>
                    <a:pt x="316858" y="460381"/>
                  </a:lnTo>
                  <a:lnTo>
                    <a:pt x="320442" y="461196"/>
                  </a:lnTo>
                  <a:lnTo>
                    <a:pt x="319791" y="457938"/>
                  </a:lnTo>
                  <a:lnTo>
                    <a:pt x="316695" y="457449"/>
                  </a:lnTo>
                  <a:lnTo>
                    <a:pt x="314415" y="455005"/>
                  </a:lnTo>
                  <a:lnTo>
                    <a:pt x="318325" y="446697"/>
                  </a:lnTo>
                  <a:lnTo>
                    <a:pt x="324026" y="442787"/>
                  </a:lnTo>
                  <a:lnTo>
                    <a:pt x="329240" y="435945"/>
                  </a:lnTo>
                  <a:lnTo>
                    <a:pt x="329728" y="429917"/>
                  </a:lnTo>
                  <a:lnTo>
                    <a:pt x="322397" y="412975"/>
                  </a:lnTo>
                  <a:lnTo>
                    <a:pt x="325004" y="408902"/>
                  </a:lnTo>
                  <a:lnTo>
                    <a:pt x="324352" y="402548"/>
                  </a:lnTo>
                  <a:lnTo>
                    <a:pt x="322723" y="399127"/>
                  </a:lnTo>
                  <a:lnTo>
                    <a:pt x="321583" y="393751"/>
                  </a:lnTo>
                  <a:lnTo>
                    <a:pt x="324841" y="390330"/>
                  </a:lnTo>
                  <a:lnTo>
                    <a:pt x="326633" y="381533"/>
                  </a:lnTo>
                  <a:lnTo>
                    <a:pt x="325818" y="365079"/>
                  </a:lnTo>
                  <a:lnTo>
                    <a:pt x="323538" y="357911"/>
                  </a:lnTo>
                  <a:lnTo>
                    <a:pt x="326633" y="349766"/>
                  </a:lnTo>
                  <a:lnTo>
                    <a:pt x="326470" y="332172"/>
                  </a:lnTo>
                  <a:lnTo>
                    <a:pt x="330706" y="325167"/>
                  </a:lnTo>
                  <a:lnTo>
                    <a:pt x="330543" y="321420"/>
                  </a:lnTo>
                  <a:lnTo>
                    <a:pt x="306921" y="287698"/>
                  </a:lnTo>
                  <a:close/>
                </a:path>
              </a:pathLst>
            </a:custGeom>
            <a:solidFill>
              <a:schemeClr val="bg2"/>
            </a:solidFill>
            <a:ln w="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8" name="Forma livre: Forma 37">
              <a:extLst>
                <a:ext uri="{FF2B5EF4-FFF2-40B4-BE49-F238E27FC236}">
                  <a16:creationId xmlns:a16="http://schemas.microsoft.com/office/drawing/2014/main" id="{4C9A9CC0-9823-A24B-017E-D59DDE7EA180}"/>
                </a:ext>
              </a:extLst>
            </p:cNvPr>
            <p:cNvSpPr/>
            <p:nvPr/>
          </p:nvSpPr>
          <p:spPr>
            <a:xfrm>
              <a:off x="4172394" y="5225555"/>
              <a:ext cx="329462" cy="368351"/>
            </a:xfrm>
            <a:custGeom>
              <a:avLst/>
              <a:gdLst>
                <a:gd name="connsiteX0" fmla="*/ 303663 w 318813"/>
                <a:gd name="connsiteY0" fmla="*/ 269615 h 356445"/>
                <a:gd name="connsiteX1" fmla="*/ 307084 w 318813"/>
                <a:gd name="connsiteY1" fmla="*/ 264890 h 356445"/>
                <a:gd name="connsiteX2" fmla="*/ 306269 w 318813"/>
                <a:gd name="connsiteY2" fmla="*/ 261143 h 356445"/>
                <a:gd name="connsiteX3" fmla="*/ 318813 w 318813"/>
                <a:gd name="connsiteY3" fmla="*/ 236055 h 356445"/>
                <a:gd name="connsiteX4" fmla="*/ 318162 w 318813"/>
                <a:gd name="connsiteY4" fmla="*/ 223511 h 356445"/>
                <a:gd name="connsiteX5" fmla="*/ 304803 w 318813"/>
                <a:gd name="connsiteY5" fmla="*/ 199890 h 356445"/>
                <a:gd name="connsiteX6" fmla="*/ 291608 w 318813"/>
                <a:gd name="connsiteY6" fmla="*/ 196957 h 356445"/>
                <a:gd name="connsiteX7" fmla="*/ 292259 w 318813"/>
                <a:gd name="connsiteY7" fmla="*/ 186694 h 356445"/>
                <a:gd name="connsiteX8" fmla="*/ 289978 w 318813"/>
                <a:gd name="connsiteY8" fmla="*/ 170403 h 356445"/>
                <a:gd name="connsiteX9" fmla="*/ 245016 w 318813"/>
                <a:gd name="connsiteY9" fmla="*/ 169751 h 356445"/>
                <a:gd name="connsiteX10" fmla="*/ 245830 w 318813"/>
                <a:gd name="connsiteY10" fmla="*/ 157859 h 356445"/>
                <a:gd name="connsiteX11" fmla="*/ 236218 w 318813"/>
                <a:gd name="connsiteY11" fmla="*/ 141568 h 356445"/>
                <a:gd name="connsiteX12" fmla="*/ 239151 w 318813"/>
                <a:gd name="connsiteY12" fmla="*/ 135703 h 356445"/>
                <a:gd name="connsiteX13" fmla="*/ 236870 w 318813"/>
                <a:gd name="connsiteY13" fmla="*/ 126092 h 356445"/>
                <a:gd name="connsiteX14" fmla="*/ 238336 w 318813"/>
                <a:gd name="connsiteY14" fmla="*/ 114362 h 356445"/>
                <a:gd name="connsiteX15" fmla="*/ 236218 w 318813"/>
                <a:gd name="connsiteY15" fmla="*/ 109964 h 356445"/>
                <a:gd name="connsiteX16" fmla="*/ 225792 w 318813"/>
                <a:gd name="connsiteY16" fmla="*/ 103936 h 356445"/>
                <a:gd name="connsiteX17" fmla="*/ 211130 w 318813"/>
                <a:gd name="connsiteY17" fmla="*/ 105565 h 356445"/>
                <a:gd name="connsiteX18" fmla="*/ 204451 w 318813"/>
                <a:gd name="connsiteY18" fmla="*/ 101818 h 356445"/>
                <a:gd name="connsiteX19" fmla="*/ 199238 w 318813"/>
                <a:gd name="connsiteY19" fmla="*/ 100352 h 356445"/>
                <a:gd name="connsiteX20" fmla="*/ 197772 w 318813"/>
                <a:gd name="connsiteY20" fmla="*/ 92858 h 356445"/>
                <a:gd name="connsiteX21" fmla="*/ 190767 w 318813"/>
                <a:gd name="connsiteY21" fmla="*/ 90415 h 356445"/>
                <a:gd name="connsiteX22" fmla="*/ 179689 w 318813"/>
                <a:gd name="connsiteY22" fmla="*/ 86668 h 356445"/>
                <a:gd name="connsiteX23" fmla="*/ 175616 w 318813"/>
                <a:gd name="connsiteY23" fmla="*/ 86993 h 356445"/>
                <a:gd name="connsiteX24" fmla="*/ 166493 w 318813"/>
                <a:gd name="connsiteY24" fmla="*/ 77056 h 356445"/>
                <a:gd name="connsiteX25" fmla="*/ 159814 w 318813"/>
                <a:gd name="connsiteY25" fmla="*/ 78848 h 356445"/>
                <a:gd name="connsiteX26" fmla="*/ 150854 w 318813"/>
                <a:gd name="connsiteY26" fmla="*/ 70051 h 356445"/>
                <a:gd name="connsiteX27" fmla="*/ 140265 w 318813"/>
                <a:gd name="connsiteY27" fmla="*/ 72658 h 356445"/>
                <a:gd name="connsiteX28" fmla="*/ 137984 w 318813"/>
                <a:gd name="connsiteY28" fmla="*/ 75264 h 356445"/>
                <a:gd name="connsiteX29" fmla="*/ 132445 w 318813"/>
                <a:gd name="connsiteY29" fmla="*/ 70051 h 356445"/>
                <a:gd name="connsiteX30" fmla="*/ 124300 w 318813"/>
                <a:gd name="connsiteY30" fmla="*/ 64838 h 356445"/>
                <a:gd name="connsiteX31" fmla="*/ 118435 w 318813"/>
                <a:gd name="connsiteY31" fmla="*/ 61906 h 356445"/>
                <a:gd name="connsiteX32" fmla="*/ 116643 w 318813"/>
                <a:gd name="connsiteY32" fmla="*/ 54249 h 356445"/>
                <a:gd name="connsiteX33" fmla="*/ 110615 w 318813"/>
                <a:gd name="connsiteY33" fmla="*/ 51642 h 356445"/>
                <a:gd name="connsiteX34" fmla="*/ 106217 w 318813"/>
                <a:gd name="connsiteY34" fmla="*/ 42031 h 356445"/>
                <a:gd name="connsiteX35" fmla="*/ 108498 w 318813"/>
                <a:gd name="connsiteY35" fmla="*/ 36817 h 356445"/>
                <a:gd name="connsiteX36" fmla="*/ 105239 w 318813"/>
                <a:gd name="connsiteY36" fmla="*/ 25088 h 356445"/>
                <a:gd name="connsiteX37" fmla="*/ 109149 w 318813"/>
                <a:gd name="connsiteY37" fmla="*/ 17594 h 356445"/>
                <a:gd name="connsiteX38" fmla="*/ 106217 w 318813"/>
                <a:gd name="connsiteY38" fmla="*/ 8471 h 356445"/>
                <a:gd name="connsiteX39" fmla="*/ 107031 w 318813"/>
                <a:gd name="connsiteY39" fmla="*/ 2444 h 356445"/>
                <a:gd name="connsiteX40" fmla="*/ 104099 w 318813"/>
                <a:gd name="connsiteY40" fmla="*/ 0 h 356445"/>
                <a:gd name="connsiteX41" fmla="*/ 98071 w 318813"/>
                <a:gd name="connsiteY41" fmla="*/ 3584 h 356445"/>
                <a:gd name="connsiteX42" fmla="*/ 93021 w 318813"/>
                <a:gd name="connsiteY42" fmla="*/ 0 h 356445"/>
                <a:gd name="connsiteX43" fmla="*/ 87482 w 318813"/>
                <a:gd name="connsiteY43" fmla="*/ 0 h 356445"/>
                <a:gd name="connsiteX44" fmla="*/ 79337 w 318813"/>
                <a:gd name="connsiteY44" fmla="*/ 3910 h 356445"/>
                <a:gd name="connsiteX45" fmla="*/ 70866 w 318813"/>
                <a:gd name="connsiteY45" fmla="*/ 5539 h 356445"/>
                <a:gd name="connsiteX46" fmla="*/ 58647 w 318813"/>
                <a:gd name="connsiteY46" fmla="*/ 13196 h 356445"/>
                <a:gd name="connsiteX47" fmla="*/ 54249 w 318813"/>
                <a:gd name="connsiteY47" fmla="*/ 24599 h 356445"/>
                <a:gd name="connsiteX48" fmla="*/ 46918 w 318813"/>
                <a:gd name="connsiteY48" fmla="*/ 26880 h 356445"/>
                <a:gd name="connsiteX49" fmla="*/ 40564 w 318813"/>
                <a:gd name="connsiteY49" fmla="*/ 26880 h 356445"/>
                <a:gd name="connsiteX50" fmla="*/ 35026 w 318813"/>
                <a:gd name="connsiteY50" fmla="*/ 31279 h 356445"/>
                <a:gd name="connsiteX51" fmla="*/ 30953 w 318813"/>
                <a:gd name="connsiteY51" fmla="*/ 31279 h 356445"/>
                <a:gd name="connsiteX52" fmla="*/ 23622 w 318813"/>
                <a:gd name="connsiteY52" fmla="*/ 35351 h 356445"/>
                <a:gd name="connsiteX53" fmla="*/ 16291 w 318813"/>
                <a:gd name="connsiteY53" fmla="*/ 35026 h 356445"/>
                <a:gd name="connsiteX54" fmla="*/ 0 w 318813"/>
                <a:gd name="connsiteY54" fmla="*/ 35026 h 356445"/>
                <a:gd name="connsiteX55" fmla="*/ 23622 w 318813"/>
                <a:gd name="connsiteY55" fmla="*/ 68748 h 356445"/>
                <a:gd name="connsiteX56" fmla="*/ 23785 w 318813"/>
                <a:gd name="connsiteY56" fmla="*/ 72495 h 356445"/>
                <a:gd name="connsiteX57" fmla="*/ 19549 w 318813"/>
                <a:gd name="connsiteY57" fmla="*/ 79500 h 356445"/>
                <a:gd name="connsiteX58" fmla="*/ 19712 w 318813"/>
                <a:gd name="connsiteY58" fmla="*/ 97094 h 356445"/>
                <a:gd name="connsiteX59" fmla="*/ 16617 w 318813"/>
                <a:gd name="connsiteY59" fmla="*/ 105239 h 356445"/>
                <a:gd name="connsiteX60" fmla="*/ 18898 w 318813"/>
                <a:gd name="connsiteY60" fmla="*/ 112407 h 356445"/>
                <a:gd name="connsiteX61" fmla="*/ 19712 w 318813"/>
                <a:gd name="connsiteY61" fmla="*/ 128861 h 356445"/>
                <a:gd name="connsiteX62" fmla="*/ 17920 w 318813"/>
                <a:gd name="connsiteY62" fmla="*/ 137658 h 356445"/>
                <a:gd name="connsiteX63" fmla="*/ 14662 w 318813"/>
                <a:gd name="connsiteY63" fmla="*/ 141079 h 356445"/>
                <a:gd name="connsiteX64" fmla="*/ 15802 w 318813"/>
                <a:gd name="connsiteY64" fmla="*/ 146455 h 356445"/>
                <a:gd name="connsiteX65" fmla="*/ 17431 w 318813"/>
                <a:gd name="connsiteY65" fmla="*/ 149876 h 356445"/>
                <a:gd name="connsiteX66" fmla="*/ 18083 w 318813"/>
                <a:gd name="connsiteY66" fmla="*/ 156230 h 356445"/>
                <a:gd name="connsiteX67" fmla="*/ 15477 w 318813"/>
                <a:gd name="connsiteY67" fmla="*/ 160303 h 356445"/>
                <a:gd name="connsiteX68" fmla="*/ 22807 w 318813"/>
                <a:gd name="connsiteY68" fmla="*/ 177245 h 356445"/>
                <a:gd name="connsiteX69" fmla="*/ 22319 w 318813"/>
                <a:gd name="connsiteY69" fmla="*/ 183273 h 356445"/>
                <a:gd name="connsiteX70" fmla="*/ 17106 w 318813"/>
                <a:gd name="connsiteY70" fmla="*/ 190115 h 356445"/>
                <a:gd name="connsiteX71" fmla="*/ 11404 w 318813"/>
                <a:gd name="connsiteY71" fmla="*/ 194025 h 356445"/>
                <a:gd name="connsiteX72" fmla="*/ 7494 w 318813"/>
                <a:gd name="connsiteY72" fmla="*/ 202333 h 356445"/>
                <a:gd name="connsiteX73" fmla="*/ 9775 w 318813"/>
                <a:gd name="connsiteY73" fmla="*/ 204777 h 356445"/>
                <a:gd name="connsiteX74" fmla="*/ 12870 w 318813"/>
                <a:gd name="connsiteY74" fmla="*/ 205266 h 356445"/>
                <a:gd name="connsiteX75" fmla="*/ 13521 w 318813"/>
                <a:gd name="connsiteY75" fmla="*/ 208524 h 356445"/>
                <a:gd name="connsiteX76" fmla="*/ 14662 w 318813"/>
                <a:gd name="connsiteY76" fmla="*/ 208850 h 356445"/>
                <a:gd name="connsiteX77" fmla="*/ 15314 w 318813"/>
                <a:gd name="connsiteY77" fmla="*/ 215203 h 356445"/>
                <a:gd name="connsiteX78" fmla="*/ 20364 w 318813"/>
                <a:gd name="connsiteY78" fmla="*/ 219765 h 356445"/>
                <a:gd name="connsiteX79" fmla="*/ 23133 w 318813"/>
                <a:gd name="connsiteY79" fmla="*/ 222371 h 356445"/>
                <a:gd name="connsiteX80" fmla="*/ 23948 w 318813"/>
                <a:gd name="connsiteY80" fmla="*/ 227258 h 356445"/>
                <a:gd name="connsiteX81" fmla="*/ 22807 w 318813"/>
                <a:gd name="connsiteY81" fmla="*/ 232146 h 356445"/>
                <a:gd name="connsiteX82" fmla="*/ 23785 w 318813"/>
                <a:gd name="connsiteY82" fmla="*/ 234915 h 356445"/>
                <a:gd name="connsiteX83" fmla="*/ 25088 w 318813"/>
                <a:gd name="connsiteY83" fmla="*/ 243549 h 356445"/>
                <a:gd name="connsiteX84" fmla="*/ 29161 w 318813"/>
                <a:gd name="connsiteY84" fmla="*/ 249251 h 356445"/>
                <a:gd name="connsiteX85" fmla="*/ 40727 w 318813"/>
                <a:gd name="connsiteY85" fmla="*/ 258700 h 356445"/>
                <a:gd name="connsiteX86" fmla="*/ 41705 w 318813"/>
                <a:gd name="connsiteY86" fmla="*/ 262773 h 356445"/>
                <a:gd name="connsiteX87" fmla="*/ 38772 w 318813"/>
                <a:gd name="connsiteY87" fmla="*/ 270103 h 356445"/>
                <a:gd name="connsiteX88" fmla="*/ 40564 w 318813"/>
                <a:gd name="connsiteY88" fmla="*/ 275317 h 356445"/>
                <a:gd name="connsiteX89" fmla="*/ 34374 w 318813"/>
                <a:gd name="connsiteY89" fmla="*/ 288838 h 356445"/>
                <a:gd name="connsiteX90" fmla="*/ 37958 w 318813"/>
                <a:gd name="connsiteY90" fmla="*/ 294051 h 356445"/>
                <a:gd name="connsiteX91" fmla="*/ 50502 w 318813"/>
                <a:gd name="connsiteY91" fmla="*/ 305943 h 356445"/>
                <a:gd name="connsiteX92" fmla="*/ 69399 w 318813"/>
                <a:gd name="connsiteY92" fmla="*/ 356445 h 356445"/>
                <a:gd name="connsiteX93" fmla="*/ 76404 w 318813"/>
                <a:gd name="connsiteY93" fmla="*/ 356445 h 356445"/>
                <a:gd name="connsiteX94" fmla="*/ 78196 w 318813"/>
                <a:gd name="connsiteY94" fmla="*/ 353187 h 356445"/>
                <a:gd name="connsiteX95" fmla="*/ 82269 w 318813"/>
                <a:gd name="connsiteY95" fmla="*/ 352373 h 356445"/>
                <a:gd name="connsiteX96" fmla="*/ 82269 w 318813"/>
                <a:gd name="connsiteY96" fmla="*/ 352373 h 356445"/>
                <a:gd name="connsiteX97" fmla="*/ 85527 w 318813"/>
                <a:gd name="connsiteY97" fmla="*/ 348300 h 356445"/>
                <a:gd name="connsiteX98" fmla="*/ 90089 w 318813"/>
                <a:gd name="connsiteY98" fmla="*/ 339177 h 356445"/>
                <a:gd name="connsiteX99" fmla="*/ 100026 w 318813"/>
                <a:gd name="connsiteY99" fmla="*/ 328751 h 356445"/>
                <a:gd name="connsiteX100" fmla="*/ 106706 w 318813"/>
                <a:gd name="connsiteY100" fmla="*/ 326470 h 356445"/>
                <a:gd name="connsiteX101" fmla="*/ 112896 w 318813"/>
                <a:gd name="connsiteY101" fmla="*/ 332009 h 356445"/>
                <a:gd name="connsiteX102" fmla="*/ 120227 w 318813"/>
                <a:gd name="connsiteY102" fmla="*/ 331357 h 356445"/>
                <a:gd name="connsiteX103" fmla="*/ 124788 w 318813"/>
                <a:gd name="connsiteY103" fmla="*/ 330217 h 356445"/>
                <a:gd name="connsiteX104" fmla="*/ 130327 w 318813"/>
                <a:gd name="connsiteY104" fmla="*/ 331683 h 356445"/>
                <a:gd name="connsiteX105" fmla="*/ 139450 w 318813"/>
                <a:gd name="connsiteY105" fmla="*/ 329891 h 356445"/>
                <a:gd name="connsiteX106" fmla="*/ 144338 w 318813"/>
                <a:gd name="connsiteY106" fmla="*/ 330543 h 356445"/>
                <a:gd name="connsiteX107" fmla="*/ 145315 w 318813"/>
                <a:gd name="connsiteY107" fmla="*/ 337222 h 356445"/>
                <a:gd name="connsiteX108" fmla="*/ 149062 w 318813"/>
                <a:gd name="connsiteY108" fmla="*/ 347974 h 356445"/>
                <a:gd name="connsiteX109" fmla="*/ 150854 w 318813"/>
                <a:gd name="connsiteY109" fmla="*/ 350906 h 356445"/>
                <a:gd name="connsiteX110" fmla="*/ 153135 w 318813"/>
                <a:gd name="connsiteY110" fmla="*/ 347974 h 356445"/>
                <a:gd name="connsiteX111" fmla="*/ 152809 w 318813"/>
                <a:gd name="connsiteY111" fmla="*/ 343087 h 356445"/>
                <a:gd name="connsiteX112" fmla="*/ 155741 w 318813"/>
                <a:gd name="connsiteY112" fmla="*/ 338362 h 356445"/>
                <a:gd name="connsiteX113" fmla="*/ 155741 w 318813"/>
                <a:gd name="connsiteY113" fmla="*/ 333638 h 356445"/>
                <a:gd name="connsiteX114" fmla="*/ 159814 w 318813"/>
                <a:gd name="connsiteY114" fmla="*/ 327610 h 356445"/>
                <a:gd name="connsiteX115" fmla="*/ 174476 w 318813"/>
                <a:gd name="connsiteY115" fmla="*/ 327610 h 356445"/>
                <a:gd name="connsiteX116" fmla="*/ 187509 w 318813"/>
                <a:gd name="connsiteY116" fmla="*/ 328099 h 356445"/>
                <a:gd name="connsiteX117" fmla="*/ 192233 w 318813"/>
                <a:gd name="connsiteY117" fmla="*/ 332498 h 356445"/>
                <a:gd name="connsiteX118" fmla="*/ 194351 w 318813"/>
                <a:gd name="connsiteY118" fmla="*/ 323863 h 356445"/>
                <a:gd name="connsiteX119" fmla="*/ 201193 w 318813"/>
                <a:gd name="connsiteY119" fmla="*/ 310016 h 356445"/>
                <a:gd name="connsiteX120" fmla="*/ 201682 w 318813"/>
                <a:gd name="connsiteY120" fmla="*/ 303174 h 356445"/>
                <a:gd name="connsiteX121" fmla="*/ 200867 w 318813"/>
                <a:gd name="connsiteY121" fmla="*/ 296169 h 356445"/>
                <a:gd name="connsiteX122" fmla="*/ 198261 w 318813"/>
                <a:gd name="connsiteY122" fmla="*/ 292096 h 356445"/>
                <a:gd name="connsiteX123" fmla="*/ 206406 w 318813"/>
                <a:gd name="connsiteY123" fmla="*/ 280041 h 356445"/>
                <a:gd name="connsiteX124" fmla="*/ 209664 w 318813"/>
                <a:gd name="connsiteY124" fmla="*/ 270429 h 356445"/>
                <a:gd name="connsiteX125" fmla="*/ 209664 w 318813"/>
                <a:gd name="connsiteY125" fmla="*/ 266193 h 356445"/>
                <a:gd name="connsiteX126" fmla="*/ 215529 w 318813"/>
                <a:gd name="connsiteY126" fmla="*/ 262447 h 356445"/>
                <a:gd name="connsiteX127" fmla="*/ 250554 w 318813"/>
                <a:gd name="connsiteY127" fmla="*/ 252672 h 356445"/>
                <a:gd name="connsiteX128" fmla="*/ 279715 w 318813"/>
                <a:gd name="connsiteY128" fmla="*/ 253161 h 356445"/>
                <a:gd name="connsiteX129" fmla="*/ 296658 w 318813"/>
                <a:gd name="connsiteY129" fmla="*/ 265705 h 356445"/>
                <a:gd name="connsiteX130" fmla="*/ 300730 w 318813"/>
                <a:gd name="connsiteY130" fmla="*/ 266357 h 356445"/>
                <a:gd name="connsiteX131" fmla="*/ 303663 w 318813"/>
                <a:gd name="connsiteY131" fmla="*/ 269615 h 3564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</a:cxnLst>
              <a:rect l="l" t="t" r="r" b="b"/>
              <a:pathLst>
                <a:path w="318813" h="356445">
                  <a:moveTo>
                    <a:pt x="303663" y="269615"/>
                  </a:moveTo>
                  <a:lnTo>
                    <a:pt x="307084" y="264890"/>
                  </a:lnTo>
                  <a:lnTo>
                    <a:pt x="306269" y="261143"/>
                  </a:lnTo>
                  <a:lnTo>
                    <a:pt x="318813" y="236055"/>
                  </a:lnTo>
                  <a:lnTo>
                    <a:pt x="318162" y="223511"/>
                  </a:lnTo>
                  <a:lnTo>
                    <a:pt x="304803" y="199890"/>
                  </a:lnTo>
                  <a:lnTo>
                    <a:pt x="291608" y="196957"/>
                  </a:lnTo>
                  <a:lnTo>
                    <a:pt x="292259" y="186694"/>
                  </a:lnTo>
                  <a:lnTo>
                    <a:pt x="289978" y="170403"/>
                  </a:lnTo>
                  <a:lnTo>
                    <a:pt x="245016" y="169751"/>
                  </a:lnTo>
                  <a:lnTo>
                    <a:pt x="245830" y="157859"/>
                  </a:lnTo>
                  <a:lnTo>
                    <a:pt x="236218" y="141568"/>
                  </a:lnTo>
                  <a:lnTo>
                    <a:pt x="239151" y="135703"/>
                  </a:lnTo>
                  <a:lnTo>
                    <a:pt x="236870" y="126092"/>
                  </a:lnTo>
                  <a:lnTo>
                    <a:pt x="238336" y="114362"/>
                  </a:lnTo>
                  <a:lnTo>
                    <a:pt x="236218" y="109964"/>
                  </a:lnTo>
                  <a:lnTo>
                    <a:pt x="225792" y="103936"/>
                  </a:lnTo>
                  <a:lnTo>
                    <a:pt x="211130" y="105565"/>
                  </a:lnTo>
                  <a:lnTo>
                    <a:pt x="204451" y="101818"/>
                  </a:lnTo>
                  <a:lnTo>
                    <a:pt x="199238" y="100352"/>
                  </a:lnTo>
                  <a:lnTo>
                    <a:pt x="197772" y="92858"/>
                  </a:lnTo>
                  <a:lnTo>
                    <a:pt x="190767" y="90415"/>
                  </a:lnTo>
                  <a:lnTo>
                    <a:pt x="179689" y="86668"/>
                  </a:lnTo>
                  <a:lnTo>
                    <a:pt x="175616" y="86993"/>
                  </a:lnTo>
                  <a:lnTo>
                    <a:pt x="166493" y="77056"/>
                  </a:lnTo>
                  <a:lnTo>
                    <a:pt x="159814" y="78848"/>
                  </a:lnTo>
                  <a:lnTo>
                    <a:pt x="150854" y="70051"/>
                  </a:lnTo>
                  <a:lnTo>
                    <a:pt x="140265" y="72658"/>
                  </a:lnTo>
                  <a:lnTo>
                    <a:pt x="137984" y="75264"/>
                  </a:lnTo>
                  <a:lnTo>
                    <a:pt x="132445" y="70051"/>
                  </a:lnTo>
                  <a:lnTo>
                    <a:pt x="124300" y="64838"/>
                  </a:lnTo>
                  <a:lnTo>
                    <a:pt x="118435" y="61906"/>
                  </a:lnTo>
                  <a:lnTo>
                    <a:pt x="116643" y="54249"/>
                  </a:lnTo>
                  <a:lnTo>
                    <a:pt x="110615" y="51642"/>
                  </a:lnTo>
                  <a:lnTo>
                    <a:pt x="106217" y="42031"/>
                  </a:lnTo>
                  <a:lnTo>
                    <a:pt x="108498" y="36817"/>
                  </a:lnTo>
                  <a:lnTo>
                    <a:pt x="105239" y="25088"/>
                  </a:lnTo>
                  <a:lnTo>
                    <a:pt x="109149" y="17594"/>
                  </a:lnTo>
                  <a:lnTo>
                    <a:pt x="106217" y="8471"/>
                  </a:lnTo>
                  <a:lnTo>
                    <a:pt x="107031" y="2444"/>
                  </a:lnTo>
                  <a:lnTo>
                    <a:pt x="104099" y="0"/>
                  </a:lnTo>
                  <a:lnTo>
                    <a:pt x="98071" y="3584"/>
                  </a:lnTo>
                  <a:lnTo>
                    <a:pt x="93021" y="0"/>
                  </a:lnTo>
                  <a:lnTo>
                    <a:pt x="87482" y="0"/>
                  </a:lnTo>
                  <a:lnTo>
                    <a:pt x="79337" y="3910"/>
                  </a:lnTo>
                  <a:lnTo>
                    <a:pt x="70866" y="5539"/>
                  </a:lnTo>
                  <a:lnTo>
                    <a:pt x="58647" y="13196"/>
                  </a:lnTo>
                  <a:lnTo>
                    <a:pt x="54249" y="24599"/>
                  </a:lnTo>
                  <a:lnTo>
                    <a:pt x="46918" y="26880"/>
                  </a:lnTo>
                  <a:lnTo>
                    <a:pt x="40564" y="26880"/>
                  </a:lnTo>
                  <a:lnTo>
                    <a:pt x="35026" y="31279"/>
                  </a:lnTo>
                  <a:lnTo>
                    <a:pt x="30953" y="31279"/>
                  </a:lnTo>
                  <a:lnTo>
                    <a:pt x="23622" y="35351"/>
                  </a:lnTo>
                  <a:lnTo>
                    <a:pt x="16291" y="35026"/>
                  </a:lnTo>
                  <a:lnTo>
                    <a:pt x="0" y="35026"/>
                  </a:lnTo>
                  <a:lnTo>
                    <a:pt x="23622" y="68748"/>
                  </a:lnTo>
                  <a:lnTo>
                    <a:pt x="23785" y="72495"/>
                  </a:lnTo>
                  <a:lnTo>
                    <a:pt x="19549" y="79500"/>
                  </a:lnTo>
                  <a:lnTo>
                    <a:pt x="19712" y="97094"/>
                  </a:lnTo>
                  <a:lnTo>
                    <a:pt x="16617" y="105239"/>
                  </a:lnTo>
                  <a:lnTo>
                    <a:pt x="18898" y="112407"/>
                  </a:lnTo>
                  <a:lnTo>
                    <a:pt x="19712" y="128861"/>
                  </a:lnTo>
                  <a:lnTo>
                    <a:pt x="17920" y="137658"/>
                  </a:lnTo>
                  <a:lnTo>
                    <a:pt x="14662" y="141079"/>
                  </a:lnTo>
                  <a:lnTo>
                    <a:pt x="15802" y="146455"/>
                  </a:lnTo>
                  <a:lnTo>
                    <a:pt x="17431" y="149876"/>
                  </a:lnTo>
                  <a:lnTo>
                    <a:pt x="18083" y="156230"/>
                  </a:lnTo>
                  <a:lnTo>
                    <a:pt x="15477" y="160303"/>
                  </a:lnTo>
                  <a:lnTo>
                    <a:pt x="22807" y="177245"/>
                  </a:lnTo>
                  <a:lnTo>
                    <a:pt x="22319" y="183273"/>
                  </a:lnTo>
                  <a:lnTo>
                    <a:pt x="17106" y="190115"/>
                  </a:lnTo>
                  <a:lnTo>
                    <a:pt x="11404" y="194025"/>
                  </a:lnTo>
                  <a:lnTo>
                    <a:pt x="7494" y="202333"/>
                  </a:lnTo>
                  <a:lnTo>
                    <a:pt x="9775" y="204777"/>
                  </a:lnTo>
                  <a:lnTo>
                    <a:pt x="12870" y="205266"/>
                  </a:lnTo>
                  <a:lnTo>
                    <a:pt x="13521" y="208524"/>
                  </a:lnTo>
                  <a:lnTo>
                    <a:pt x="14662" y="208850"/>
                  </a:lnTo>
                  <a:lnTo>
                    <a:pt x="15314" y="215203"/>
                  </a:lnTo>
                  <a:lnTo>
                    <a:pt x="20364" y="219765"/>
                  </a:lnTo>
                  <a:lnTo>
                    <a:pt x="23133" y="222371"/>
                  </a:lnTo>
                  <a:lnTo>
                    <a:pt x="23948" y="227258"/>
                  </a:lnTo>
                  <a:lnTo>
                    <a:pt x="22807" y="232146"/>
                  </a:lnTo>
                  <a:lnTo>
                    <a:pt x="23785" y="234915"/>
                  </a:lnTo>
                  <a:lnTo>
                    <a:pt x="25088" y="243549"/>
                  </a:lnTo>
                  <a:lnTo>
                    <a:pt x="29161" y="249251"/>
                  </a:lnTo>
                  <a:lnTo>
                    <a:pt x="40727" y="258700"/>
                  </a:lnTo>
                  <a:lnTo>
                    <a:pt x="41705" y="262773"/>
                  </a:lnTo>
                  <a:lnTo>
                    <a:pt x="38772" y="270103"/>
                  </a:lnTo>
                  <a:lnTo>
                    <a:pt x="40564" y="275317"/>
                  </a:lnTo>
                  <a:lnTo>
                    <a:pt x="34374" y="288838"/>
                  </a:lnTo>
                  <a:lnTo>
                    <a:pt x="37958" y="294051"/>
                  </a:lnTo>
                  <a:lnTo>
                    <a:pt x="50502" y="305943"/>
                  </a:lnTo>
                  <a:lnTo>
                    <a:pt x="69399" y="356445"/>
                  </a:lnTo>
                  <a:lnTo>
                    <a:pt x="76404" y="356445"/>
                  </a:lnTo>
                  <a:lnTo>
                    <a:pt x="78196" y="353187"/>
                  </a:lnTo>
                  <a:lnTo>
                    <a:pt x="82269" y="352373"/>
                  </a:lnTo>
                  <a:lnTo>
                    <a:pt x="82269" y="352373"/>
                  </a:lnTo>
                  <a:lnTo>
                    <a:pt x="85527" y="348300"/>
                  </a:lnTo>
                  <a:lnTo>
                    <a:pt x="90089" y="339177"/>
                  </a:lnTo>
                  <a:lnTo>
                    <a:pt x="100026" y="328751"/>
                  </a:lnTo>
                  <a:lnTo>
                    <a:pt x="106706" y="326470"/>
                  </a:lnTo>
                  <a:lnTo>
                    <a:pt x="112896" y="332009"/>
                  </a:lnTo>
                  <a:lnTo>
                    <a:pt x="120227" y="331357"/>
                  </a:lnTo>
                  <a:lnTo>
                    <a:pt x="124788" y="330217"/>
                  </a:lnTo>
                  <a:lnTo>
                    <a:pt x="130327" y="331683"/>
                  </a:lnTo>
                  <a:lnTo>
                    <a:pt x="139450" y="329891"/>
                  </a:lnTo>
                  <a:lnTo>
                    <a:pt x="144338" y="330543"/>
                  </a:lnTo>
                  <a:lnTo>
                    <a:pt x="145315" y="337222"/>
                  </a:lnTo>
                  <a:lnTo>
                    <a:pt x="149062" y="347974"/>
                  </a:lnTo>
                  <a:lnTo>
                    <a:pt x="150854" y="350906"/>
                  </a:lnTo>
                  <a:lnTo>
                    <a:pt x="153135" y="347974"/>
                  </a:lnTo>
                  <a:lnTo>
                    <a:pt x="152809" y="343087"/>
                  </a:lnTo>
                  <a:lnTo>
                    <a:pt x="155741" y="338362"/>
                  </a:lnTo>
                  <a:lnTo>
                    <a:pt x="155741" y="333638"/>
                  </a:lnTo>
                  <a:lnTo>
                    <a:pt x="159814" y="327610"/>
                  </a:lnTo>
                  <a:lnTo>
                    <a:pt x="174476" y="327610"/>
                  </a:lnTo>
                  <a:lnTo>
                    <a:pt x="187509" y="328099"/>
                  </a:lnTo>
                  <a:lnTo>
                    <a:pt x="192233" y="332498"/>
                  </a:lnTo>
                  <a:lnTo>
                    <a:pt x="194351" y="323863"/>
                  </a:lnTo>
                  <a:lnTo>
                    <a:pt x="201193" y="310016"/>
                  </a:lnTo>
                  <a:lnTo>
                    <a:pt x="201682" y="303174"/>
                  </a:lnTo>
                  <a:lnTo>
                    <a:pt x="200867" y="296169"/>
                  </a:lnTo>
                  <a:lnTo>
                    <a:pt x="198261" y="292096"/>
                  </a:lnTo>
                  <a:lnTo>
                    <a:pt x="206406" y="280041"/>
                  </a:lnTo>
                  <a:lnTo>
                    <a:pt x="209664" y="270429"/>
                  </a:lnTo>
                  <a:lnTo>
                    <a:pt x="209664" y="266193"/>
                  </a:lnTo>
                  <a:lnTo>
                    <a:pt x="215529" y="262447"/>
                  </a:lnTo>
                  <a:lnTo>
                    <a:pt x="250554" y="252672"/>
                  </a:lnTo>
                  <a:lnTo>
                    <a:pt x="279715" y="253161"/>
                  </a:lnTo>
                  <a:lnTo>
                    <a:pt x="296658" y="265705"/>
                  </a:lnTo>
                  <a:lnTo>
                    <a:pt x="300730" y="266357"/>
                  </a:lnTo>
                  <a:lnTo>
                    <a:pt x="303663" y="269615"/>
                  </a:lnTo>
                  <a:close/>
                </a:path>
              </a:pathLst>
            </a:custGeom>
            <a:solidFill>
              <a:schemeClr val="bg2"/>
            </a:solidFill>
            <a:ln w="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9" name="Forma livre: Forma 38">
              <a:extLst>
                <a:ext uri="{FF2B5EF4-FFF2-40B4-BE49-F238E27FC236}">
                  <a16:creationId xmlns:a16="http://schemas.microsoft.com/office/drawing/2014/main" id="{507A1A2B-65C3-69D0-7390-60010D99EC48}"/>
                </a:ext>
              </a:extLst>
            </p:cNvPr>
            <p:cNvSpPr/>
            <p:nvPr/>
          </p:nvSpPr>
          <p:spPr>
            <a:xfrm>
              <a:off x="4371048" y="5486667"/>
              <a:ext cx="226767" cy="239058"/>
            </a:xfrm>
            <a:custGeom>
              <a:avLst/>
              <a:gdLst>
                <a:gd name="connsiteX0" fmla="*/ 0 w 219438"/>
                <a:gd name="connsiteY0" fmla="*/ 79826 h 231331"/>
                <a:gd name="connsiteX1" fmla="*/ 2118 w 219438"/>
                <a:gd name="connsiteY1" fmla="*/ 71191 h 231331"/>
                <a:gd name="connsiteX2" fmla="*/ 8960 w 219438"/>
                <a:gd name="connsiteY2" fmla="*/ 57344 h 231331"/>
                <a:gd name="connsiteX3" fmla="*/ 9449 w 219438"/>
                <a:gd name="connsiteY3" fmla="*/ 50502 h 231331"/>
                <a:gd name="connsiteX4" fmla="*/ 8634 w 219438"/>
                <a:gd name="connsiteY4" fmla="*/ 43497 h 231331"/>
                <a:gd name="connsiteX5" fmla="*/ 6028 w 219438"/>
                <a:gd name="connsiteY5" fmla="*/ 39424 h 231331"/>
                <a:gd name="connsiteX6" fmla="*/ 14173 w 219438"/>
                <a:gd name="connsiteY6" fmla="*/ 27369 h 231331"/>
                <a:gd name="connsiteX7" fmla="*/ 17431 w 219438"/>
                <a:gd name="connsiteY7" fmla="*/ 17757 h 231331"/>
                <a:gd name="connsiteX8" fmla="*/ 17431 w 219438"/>
                <a:gd name="connsiteY8" fmla="*/ 13521 h 231331"/>
                <a:gd name="connsiteX9" fmla="*/ 23296 w 219438"/>
                <a:gd name="connsiteY9" fmla="*/ 9775 h 231331"/>
                <a:gd name="connsiteX10" fmla="*/ 58322 w 219438"/>
                <a:gd name="connsiteY10" fmla="*/ 0 h 231331"/>
                <a:gd name="connsiteX11" fmla="*/ 87482 w 219438"/>
                <a:gd name="connsiteY11" fmla="*/ 489 h 231331"/>
                <a:gd name="connsiteX12" fmla="*/ 104425 w 219438"/>
                <a:gd name="connsiteY12" fmla="*/ 13033 h 231331"/>
                <a:gd name="connsiteX13" fmla="*/ 108498 w 219438"/>
                <a:gd name="connsiteY13" fmla="*/ 13685 h 231331"/>
                <a:gd name="connsiteX14" fmla="*/ 113711 w 219438"/>
                <a:gd name="connsiteY14" fmla="*/ 19549 h 231331"/>
                <a:gd name="connsiteX15" fmla="*/ 112244 w 219438"/>
                <a:gd name="connsiteY15" fmla="*/ 25088 h 231331"/>
                <a:gd name="connsiteX16" fmla="*/ 118435 w 219438"/>
                <a:gd name="connsiteY16" fmla="*/ 29975 h 231331"/>
                <a:gd name="connsiteX17" fmla="*/ 118924 w 219438"/>
                <a:gd name="connsiteY17" fmla="*/ 37632 h 231331"/>
                <a:gd name="connsiteX18" fmla="*/ 123974 w 219438"/>
                <a:gd name="connsiteY18" fmla="*/ 45452 h 231331"/>
                <a:gd name="connsiteX19" fmla="*/ 121367 w 219438"/>
                <a:gd name="connsiteY19" fmla="*/ 60928 h 231331"/>
                <a:gd name="connsiteX20" fmla="*/ 122996 w 219438"/>
                <a:gd name="connsiteY20" fmla="*/ 67282 h 231331"/>
                <a:gd name="connsiteX21" fmla="*/ 121042 w 219438"/>
                <a:gd name="connsiteY21" fmla="*/ 72820 h 231331"/>
                <a:gd name="connsiteX22" fmla="*/ 122996 w 219438"/>
                <a:gd name="connsiteY22" fmla="*/ 78360 h 231331"/>
                <a:gd name="connsiteX23" fmla="*/ 132445 w 219438"/>
                <a:gd name="connsiteY23" fmla="*/ 77545 h 231331"/>
                <a:gd name="connsiteX24" fmla="*/ 136518 w 219438"/>
                <a:gd name="connsiteY24" fmla="*/ 79337 h 231331"/>
                <a:gd name="connsiteX25" fmla="*/ 148410 w 219438"/>
                <a:gd name="connsiteY25" fmla="*/ 78685 h 231331"/>
                <a:gd name="connsiteX26" fmla="*/ 155741 w 219438"/>
                <a:gd name="connsiteY26" fmla="*/ 81292 h 231331"/>
                <a:gd name="connsiteX27" fmla="*/ 167634 w 219438"/>
                <a:gd name="connsiteY27" fmla="*/ 76404 h 231331"/>
                <a:gd name="connsiteX28" fmla="*/ 173824 w 219438"/>
                <a:gd name="connsiteY28" fmla="*/ 80966 h 231331"/>
                <a:gd name="connsiteX29" fmla="*/ 178711 w 219438"/>
                <a:gd name="connsiteY29" fmla="*/ 82432 h 231331"/>
                <a:gd name="connsiteX30" fmla="*/ 180503 w 219438"/>
                <a:gd name="connsiteY30" fmla="*/ 88297 h 231331"/>
                <a:gd name="connsiteX31" fmla="*/ 187020 w 219438"/>
                <a:gd name="connsiteY31" fmla="*/ 115991 h 231331"/>
                <a:gd name="connsiteX32" fmla="*/ 191418 w 219438"/>
                <a:gd name="connsiteY32" fmla="*/ 125766 h 231331"/>
                <a:gd name="connsiteX33" fmla="*/ 195980 w 219438"/>
                <a:gd name="connsiteY33" fmla="*/ 127069 h 231331"/>
                <a:gd name="connsiteX34" fmla="*/ 206080 w 219438"/>
                <a:gd name="connsiteY34" fmla="*/ 121530 h 231331"/>
                <a:gd name="connsiteX35" fmla="*/ 211782 w 219438"/>
                <a:gd name="connsiteY35" fmla="*/ 123811 h 231331"/>
                <a:gd name="connsiteX36" fmla="*/ 215692 w 219438"/>
                <a:gd name="connsiteY36" fmla="*/ 127232 h 231331"/>
                <a:gd name="connsiteX37" fmla="*/ 219439 w 219438"/>
                <a:gd name="connsiteY37" fmla="*/ 128047 h 231331"/>
                <a:gd name="connsiteX38" fmla="*/ 216832 w 219438"/>
                <a:gd name="connsiteY38" fmla="*/ 132119 h 231331"/>
                <a:gd name="connsiteX39" fmla="*/ 216181 w 219438"/>
                <a:gd name="connsiteY39" fmla="*/ 156230 h 231331"/>
                <a:gd name="connsiteX40" fmla="*/ 215203 w 219438"/>
                <a:gd name="connsiteY40" fmla="*/ 158999 h 231331"/>
                <a:gd name="connsiteX41" fmla="*/ 214551 w 219438"/>
                <a:gd name="connsiteY41" fmla="*/ 159977 h 231331"/>
                <a:gd name="connsiteX42" fmla="*/ 214551 w 219438"/>
                <a:gd name="connsiteY42" fmla="*/ 163072 h 231331"/>
                <a:gd name="connsiteX43" fmla="*/ 213900 w 219438"/>
                <a:gd name="connsiteY43" fmla="*/ 165842 h 231331"/>
                <a:gd name="connsiteX44" fmla="*/ 213574 w 219438"/>
                <a:gd name="connsiteY44" fmla="*/ 168937 h 231331"/>
                <a:gd name="connsiteX45" fmla="*/ 212271 w 219438"/>
                <a:gd name="connsiteY45" fmla="*/ 169914 h 231331"/>
                <a:gd name="connsiteX46" fmla="*/ 211619 w 219438"/>
                <a:gd name="connsiteY46" fmla="*/ 177082 h 231331"/>
                <a:gd name="connsiteX47" fmla="*/ 212596 w 219438"/>
                <a:gd name="connsiteY47" fmla="*/ 179526 h 231331"/>
                <a:gd name="connsiteX48" fmla="*/ 211945 w 219438"/>
                <a:gd name="connsiteY48" fmla="*/ 188975 h 231331"/>
                <a:gd name="connsiteX49" fmla="*/ 207383 w 219438"/>
                <a:gd name="connsiteY49" fmla="*/ 192885 h 231331"/>
                <a:gd name="connsiteX50" fmla="*/ 203962 w 219438"/>
                <a:gd name="connsiteY50" fmla="*/ 199075 h 231331"/>
                <a:gd name="connsiteX51" fmla="*/ 202170 w 219438"/>
                <a:gd name="connsiteY51" fmla="*/ 204614 h 231331"/>
                <a:gd name="connsiteX52" fmla="*/ 190604 w 219438"/>
                <a:gd name="connsiteY52" fmla="*/ 212760 h 231331"/>
                <a:gd name="connsiteX53" fmla="*/ 188649 w 219438"/>
                <a:gd name="connsiteY53" fmla="*/ 219439 h 231331"/>
                <a:gd name="connsiteX54" fmla="*/ 183925 w 219438"/>
                <a:gd name="connsiteY54" fmla="*/ 225141 h 231331"/>
                <a:gd name="connsiteX55" fmla="*/ 178549 w 219438"/>
                <a:gd name="connsiteY55" fmla="*/ 223511 h 231331"/>
                <a:gd name="connsiteX56" fmla="*/ 176105 w 219438"/>
                <a:gd name="connsiteY56" fmla="*/ 224815 h 231331"/>
                <a:gd name="connsiteX57" fmla="*/ 170892 w 219438"/>
                <a:gd name="connsiteY57" fmla="*/ 231331 h 231331"/>
                <a:gd name="connsiteX58" fmla="*/ 168285 w 219438"/>
                <a:gd name="connsiteY58" fmla="*/ 228562 h 231331"/>
                <a:gd name="connsiteX59" fmla="*/ 165027 w 219438"/>
                <a:gd name="connsiteY59" fmla="*/ 228562 h 231331"/>
                <a:gd name="connsiteX60" fmla="*/ 159162 w 219438"/>
                <a:gd name="connsiteY60" fmla="*/ 231168 h 231331"/>
                <a:gd name="connsiteX61" fmla="*/ 148410 w 219438"/>
                <a:gd name="connsiteY61" fmla="*/ 224815 h 231331"/>
                <a:gd name="connsiteX62" fmla="*/ 133097 w 219438"/>
                <a:gd name="connsiteY62" fmla="*/ 220090 h 231331"/>
                <a:gd name="connsiteX63" fmla="*/ 115014 w 219438"/>
                <a:gd name="connsiteY63" fmla="*/ 222860 h 231331"/>
                <a:gd name="connsiteX64" fmla="*/ 110615 w 219438"/>
                <a:gd name="connsiteY64" fmla="*/ 223023 h 231331"/>
                <a:gd name="connsiteX65" fmla="*/ 112082 w 219438"/>
                <a:gd name="connsiteY65" fmla="*/ 217321 h 231331"/>
                <a:gd name="connsiteX66" fmla="*/ 120064 w 219438"/>
                <a:gd name="connsiteY66" fmla="*/ 209338 h 231331"/>
                <a:gd name="connsiteX67" fmla="*/ 123811 w 219438"/>
                <a:gd name="connsiteY67" fmla="*/ 199401 h 231331"/>
                <a:gd name="connsiteX68" fmla="*/ 122345 w 219438"/>
                <a:gd name="connsiteY68" fmla="*/ 194025 h 231331"/>
                <a:gd name="connsiteX69" fmla="*/ 124788 w 219438"/>
                <a:gd name="connsiteY69" fmla="*/ 189789 h 231331"/>
                <a:gd name="connsiteX70" fmla="*/ 129350 w 219438"/>
                <a:gd name="connsiteY70" fmla="*/ 186368 h 231331"/>
                <a:gd name="connsiteX71" fmla="*/ 133097 w 219438"/>
                <a:gd name="connsiteY71" fmla="*/ 180341 h 231331"/>
                <a:gd name="connsiteX72" fmla="*/ 134726 w 219438"/>
                <a:gd name="connsiteY72" fmla="*/ 174802 h 231331"/>
                <a:gd name="connsiteX73" fmla="*/ 131793 w 219438"/>
                <a:gd name="connsiteY73" fmla="*/ 168611 h 231331"/>
                <a:gd name="connsiteX74" fmla="*/ 124300 w 219438"/>
                <a:gd name="connsiteY74" fmla="*/ 162258 h 231331"/>
                <a:gd name="connsiteX75" fmla="*/ 118272 w 219438"/>
                <a:gd name="connsiteY75" fmla="*/ 155415 h 231331"/>
                <a:gd name="connsiteX76" fmla="*/ 102959 w 219438"/>
                <a:gd name="connsiteY76" fmla="*/ 153461 h 231331"/>
                <a:gd name="connsiteX77" fmla="*/ 91555 w 219438"/>
                <a:gd name="connsiteY77" fmla="*/ 147759 h 231331"/>
                <a:gd name="connsiteX78" fmla="*/ 80314 w 219438"/>
                <a:gd name="connsiteY78" fmla="*/ 137984 h 231331"/>
                <a:gd name="connsiteX79" fmla="*/ 75753 w 219438"/>
                <a:gd name="connsiteY79" fmla="*/ 137007 h 231331"/>
                <a:gd name="connsiteX80" fmla="*/ 65652 w 219438"/>
                <a:gd name="connsiteY80" fmla="*/ 131794 h 231331"/>
                <a:gd name="connsiteX81" fmla="*/ 50176 w 219438"/>
                <a:gd name="connsiteY81" fmla="*/ 128047 h 231331"/>
                <a:gd name="connsiteX82" fmla="*/ 46103 w 219438"/>
                <a:gd name="connsiteY82" fmla="*/ 121530 h 231331"/>
                <a:gd name="connsiteX83" fmla="*/ 39913 w 219438"/>
                <a:gd name="connsiteY83" fmla="*/ 115991 h 231331"/>
                <a:gd name="connsiteX84" fmla="*/ 33559 w 219438"/>
                <a:gd name="connsiteY84" fmla="*/ 115177 h 231331"/>
                <a:gd name="connsiteX85" fmla="*/ 17757 w 219438"/>
                <a:gd name="connsiteY85" fmla="*/ 99375 h 231331"/>
                <a:gd name="connsiteX86" fmla="*/ 11404 w 219438"/>
                <a:gd name="connsiteY86" fmla="*/ 87808 h 231331"/>
                <a:gd name="connsiteX87" fmla="*/ 6679 w 219438"/>
                <a:gd name="connsiteY87" fmla="*/ 86831 h 231331"/>
                <a:gd name="connsiteX88" fmla="*/ 815 w 219438"/>
                <a:gd name="connsiteY88" fmla="*/ 80477 h 231331"/>
                <a:gd name="connsiteX89" fmla="*/ 0 w 219438"/>
                <a:gd name="connsiteY89" fmla="*/ 79826 h 2313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</a:cxnLst>
              <a:rect l="l" t="t" r="r" b="b"/>
              <a:pathLst>
                <a:path w="219438" h="231331">
                  <a:moveTo>
                    <a:pt x="0" y="79826"/>
                  </a:moveTo>
                  <a:lnTo>
                    <a:pt x="2118" y="71191"/>
                  </a:lnTo>
                  <a:lnTo>
                    <a:pt x="8960" y="57344"/>
                  </a:lnTo>
                  <a:lnTo>
                    <a:pt x="9449" y="50502"/>
                  </a:lnTo>
                  <a:lnTo>
                    <a:pt x="8634" y="43497"/>
                  </a:lnTo>
                  <a:lnTo>
                    <a:pt x="6028" y="39424"/>
                  </a:lnTo>
                  <a:lnTo>
                    <a:pt x="14173" y="27369"/>
                  </a:lnTo>
                  <a:lnTo>
                    <a:pt x="17431" y="17757"/>
                  </a:lnTo>
                  <a:lnTo>
                    <a:pt x="17431" y="13521"/>
                  </a:lnTo>
                  <a:lnTo>
                    <a:pt x="23296" y="9775"/>
                  </a:lnTo>
                  <a:lnTo>
                    <a:pt x="58322" y="0"/>
                  </a:lnTo>
                  <a:lnTo>
                    <a:pt x="87482" y="489"/>
                  </a:lnTo>
                  <a:lnTo>
                    <a:pt x="104425" y="13033"/>
                  </a:lnTo>
                  <a:lnTo>
                    <a:pt x="108498" y="13685"/>
                  </a:lnTo>
                  <a:lnTo>
                    <a:pt x="113711" y="19549"/>
                  </a:lnTo>
                  <a:lnTo>
                    <a:pt x="112244" y="25088"/>
                  </a:lnTo>
                  <a:lnTo>
                    <a:pt x="118435" y="29975"/>
                  </a:lnTo>
                  <a:lnTo>
                    <a:pt x="118924" y="37632"/>
                  </a:lnTo>
                  <a:lnTo>
                    <a:pt x="123974" y="45452"/>
                  </a:lnTo>
                  <a:lnTo>
                    <a:pt x="121367" y="60928"/>
                  </a:lnTo>
                  <a:lnTo>
                    <a:pt x="122996" y="67282"/>
                  </a:lnTo>
                  <a:lnTo>
                    <a:pt x="121042" y="72820"/>
                  </a:lnTo>
                  <a:lnTo>
                    <a:pt x="122996" y="78360"/>
                  </a:lnTo>
                  <a:lnTo>
                    <a:pt x="132445" y="77545"/>
                  </a:lnTo>
                  <a:lnTo>
                    <a:pt x="136518" y="79337"/>
                  </a:lnTo>
                  <a:lnTo>
                    <a:pt x="148410" y="78685"/>
                  </a:lnTo>
                  <a:lnTo>
                    <a:pt x="155741" y="81292"/>
                  </a:lnTo>
                  <a:lnTo>
                    <a:pt x="167634" y="76404"/>
                  </a:lnTo>
                  <a:lnTo>
                    <a:pt x="173824" y="80966"/>
                  </a:lnTo>
                  <a:lnTo>
                    <a:pt x="178711" y="82432"/>
                  </a:lnTo>
                  <a:lnTo>
                    <a:pt x="180503" y="88297"/>
                  </a:lnTo>
                  <a:lnTo>
                    <a:pt x="187020" y="115991"/>
                  </a:lnTo>
                  <a:lnTo>
                    <a:pt x="191418" y="125766"/>
                  </a:lnTo>
                  <a:lnTo>
                    <a:pt x="195980" y="127069"/>
                  </a:lnTo>
                  <a:lnTo>
                    <a:pt x="206080" y="121530"/>
                  </a:lnTo>
                  <a:lnTo>
                    <a:pt x="211782" y="123811"/>
                  </a:lnTo>
                  <a:lnTo>
                    <a:pt x="215692" y="127232"/>
                  </a:lnTo>
                  <a:lnTo>
                    <a:pt x="219439" y="128047"/>
                  </a:lnTo>
                  <a:lnTo>
                    <a:pt x="216832" y="132119"/>
                  </a:lnTo>
                  <a:lnTo>
                    <a:pt x="216181" y="156230"/>
                  </a:lnTo>
                  <a:lnTo>
                    <a:pt x="215203" y="158999"/>
                  </a:lnTo>
                  <a:lnTo>
                    <a:pt x="214551" y="159977"/>
                  </a:lnTo>
                  <a:lnTo>
                    <a:pt x="214551" y="163072"/>
                  </a:lnTo>
                  <a:lnTo>
                    <a:pt x="213900" y="165842"/>
                  </a:lnTo>
                  <a:lnTo>
                    <a:pt x="213574" y="168937"/>
                  </a:lnTo>
                  <a:lnTo>
                    <a:pt x="212271" y="169914"/>
                  </a:lnTo>
                  <a:lnTo>
                    <a:pt x="211619" y="177082"/>
                  </a:lnTo>
                  <a:lnTo>
                    <a:pt x="212596" y="179526"/>
                  </a:lnTo>
                  <a:lnTo>
                    <a:pt x="211945" y="188975"/>
                  </a:lnTo>
                  <a:lnTo>
                    <a:pt x="207383" y="192885"/>
                  </a:lnTo>
                  <a:lnTo>
                    <a:pt x="203962" y="199075"/>
                  </a:lnTo>
                  <a:lnTo>
                    <a:pt x="202170" y="204614"/>
                  </a:lnTo>
                  <a:lnTo>
                    <a:pt x="190604" y="212760"/>
                  </a:lnTo>
                  <a:lnTo>
                    <a:pt x="188649" y="219439"/>
                  </a:lnTo>
                  <a:lnTo>
                    <a:pt x="183925" y="225141"/>
                  </a:lnTo>
                  <a:lnTo>
                    <a:pt x="178549" y="223511"/>
                  </a:lnTo>
                  <a:lnTo>
                    <a:pt x="176105" y="224815"/>
                  </a:lnTo>
                  <a:lnTo>
                    <a:pt x="170892" y="231331"/>
                  </a:lnTo>
                  <a:lnTo>
                    <a:pt x="168285" y="228562"/>
                  </a:lnTo>
                  <a:lnTo>
                    <a:pt x="165027" y="228562"/>
                  </a:lnTo>
                  <a:lnTo>
                    <a:pt x="159162" y="231168"/>
                  </a:lnTo>
                  <a:lnTo>
                    <a:pt x="148410" y="224815"/>
                  </a:lnTo>
                  <a:lnTo>
                    <a:pt x="133097" y="220090"/>
                  </a:lnTo>
                  <a:lnTo>
                    <a:pt x="115014" y="222860"/>
                  </a:lnTo>
                  <a:lnTo>
                    <a:pt x="110615" y="223023"/>
                  </a:lnTo>
                  <a:lnTo>
                    <a:pt x="112082" y="217321"/>
                  </a:lnTo>
                  <a:lnTo>
                    <a:pt x="120064" y="209338"/>
                  </a:lnTo>
                  <a:lnTo>
                    <a:pt x="123811" y="199401"/>
                  </a:lnTo>
                  <a:lnTo>
                    <a:pt x="122345" y="194025"/>
                  </a:lnTo>
                  <a:lnTo>
                    <a:pt x="124788" y="189789"/>
                  </a:lnTo>
                  <a:lnTo>
                    <a:pt x="129350" y="186368"/>
                  </a:lnTo>
                  <a:lnTo>
                    <a:pt x="133097" y="180341"/>
                  </a:lnTo>
                  <a:lnTo>
                    <a:pt x="134726" y="174802"/>
                  </a:lnTo>
                  <a:lnTo>
                    <a:pt x="131793" y="168611"/>
                  </a:lnTo>
                  <a:lnTo>
                    <a:pt x="124300" y="162258"/>
                  </a:lnTo>
                  <a:lnTo>
                    <a:pt x="118272" y="155415"/>
                  </a:lnTo>
                  <a:lnTo>
                    <a:pt x="102959" y="153461"/>
                  </a:lnTo>
                  <a:lnTo>
                    <a:pt x="91555" y="147759"/>
                  </a:lnTo>
                  <a:lnTo>
                    <a:pt x="80314" y="137984"/>
                  </a:lnTo>
                  <a:lnTo>
                    <a:pt x="75753" y="137007"/>
                  </a:lnTo>
                  <a:lnTo>
                    <a:pt x="65652" y="131794"/>
                  </a:lnTo>
                  <a:lnTo>
                    <a:pt x="50176" y="128047"/>
                  </a:lnTo>
                  <a:lnTo>
                    <a:pt x="46103" y="121530"/>
                  </a:lnTo>
                  <a:lnTo>
                    <a:pt x="39913" y="115991"/>
                  </a:lnTo>
                  <a:lnTo>
                    <a:pt x="33559" y="115177"/>
                  </a:lnTo>
                  <a:lnTo>
                    <a:pt x="17757" y="99375"/>
                  </a:lnTo>
                  <a:lnTo>
                    <a:pt x="11404" y="87808"/>
                  </a:lnTo>
                  <a:lnTo>
                    <a:pt x="6679" y="86831"/>
                  </a:lnTo>
                  <a:lnTo>
                    <a:pt x="815" y="80477"/>
                  </a:lnTo>
                  <a:lnTo>
                    <a:pt x="0" y="79826"/>
                  </a:lnTo>
                  <a:close/>
                </a:path>
              </a:pathLst>
            </a:custGeom>
            <a:solidFill>
              <a:schemeClr val="bg2"/>
            </a:solidFill>
            <a:ln w="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0" name="Forma livre: Forma 39">
              <a:extLst>
                <a:ext uri="{FF2B5EF4-FFF2-40B4-BE49-F238E27FC236}">
                  <a16:creationId xmlns:a16="http://schemas.microsoft.com/office/drawing/2014/main" id="{7B5CD5A7-F098-63CD-A56F-4C9F4C70ED06}"/>
                </a:ext>
              </a:extLst>
            </p:cNvPr>
            <p:cNvSpPr/>
            <p:nvPr/>
          </p:nvSpPr>
          <p:spPr>
            <a:xfrm>
              <a:off x="4509265" y="5796263"/>
              <a:ext cx="134343" cy="152020"/>
            </a:xfrm>
            <a:custGeom>
              <a:avLst/>
              <a:gdLst>
                <a:gd name="connsiteX0" fmla="*/ 13847 w 130001"/>
                <a:gd name="connsiteY0" fmla="*/ 2281 h 147106"/>
                <a:gd name="connsiteX1" fmla="*/ 17594 w 130001"/>
                <a:gd name="connsiteY1" fmla="*/ 2444 h 147106"/>
                <a:gd name="connsiteX2" fmla="*/ 20364 w 130001"/>
                <a:gd name="connsiteY2" fmla="*/ 3910 h 147106"/>
                <a:gd name="connsiteX3" fmla="*/ 33233 w 130001"/>
                <a:gd name="connsiteY3" fmla="*/ 0 h 147106"/>
                <a:gd name="connsiteX4" fmla="*/ 38609 w 130001"/>
                <a:gd name="connsiteY4" fmla="*/ 3421 h 147106"/>
                <a:gd name="connsiteX5" fmla="*/ 44474 w 130001"/>
                <a:gd name="connsiteY5" fmla="*/ 11566 h 147106"/>
                <a:gd name="connsiteX6" fmla="*/ 49687 w 130001"/>
                <a:gd name="connsiteY6" fmla="*/ 13847 h 147106"/>
                <a:gd name="connsiteX7" fmla="*/ 52782 w 130001"/>
                <a:gd name="connsiteY7" fmla="*/ 20852 h 147106"/>
                <a:gd name="connsiteX8" fmla="*/ 58973 w 130001"/>
                <a:gd name="connsiteY8" fmla="*/ 30790 h 147106"/>
                <a:gd name="connsiteX9" fmla="*/ 61906 w 130001"/>
                <a:gd name="connsiteY9" fmla="*/ 30790 h 147106"/>
                <a:gd name="connsiteX10" fmla="*/ 66793 w 130001"/>
                <a:gd name="connsiteY10" fmla="*/ 25414 h 147106"/>
                <a:gd name="connsiteX11" fmla="*/ 69399 w 130001"/>
                <a:gd name="connsiteY11" fmla="*/ 25739 h 147106"/>
                <a:gd name="connsiteX12" fmla="*/ 75264 w 130001"/>
                <a:gd name="connsiteY12" fmla="*/ 35351 h 147106"/>
                <a:gd name="connsiteX13" fmla="*/ 82269 w 130001"/>
                <a:gd name="connsiteY13" fmla="*/ 38446 h 147106"/>
                <a:gd name="connsiteX14" fmla="*/ 88460 w 130001"/>
                <a:gd name="connsiteY14" fmla="*/ 39750 h 147106"/>
                <a:gd name="connsiteX15" fmla="*/ 94324 w 130001"/>
                <a:gd name="connsiteY15" fmla="*/ 45614 h 147106"/>
                <a:gd name="connsiteX16" fmla="*/ 94650 w 130001"/>
                <a:gd name="connsiteY16" fmla="*/ 52620 h 147106"/>
                <a:gd name="connsiteX17" fmla="*/ 99700 w 130001"/>
                <a:gd name="connsiteY17" fmla="*/ 51642 h 147106"/>
                <a:gd name="connsiteX18" fmla="*/ 109638 w 130001"/>
                <a:gd name="connsiteY18" fmla="*/ 56041 h 147106"/>
                <a:gd name="connsiteX19" fmla="*/ 115503 w 130001"/>
                <a:gd name="connsiteY19" fmla="*/ 63372 h 147106"/>
                <a:gd name="connsiteX20" fmla="*/ 121693 w 130001"/>
                <a:gd name="connsiteY20" fmla="*/ 72820 h 147106"/>
                <a:gd name="connsiteX21" fmla="*/ 127395 w 130001"/>
                <a:gd name="connsiteY21" fmla="*/ 76730 h 147106"/>
                <a:gd name="connsiteX22" fmla="*/ 126417 w 130001"/>
                <a:gd name="connsiteY22" fmla="*/ 84061 h 147106"/>
                <a:gd name="connsiteX23" fmla="*/ 121530 w 130001"/>
                <a:gd name="connsiteY23" fmla="*/ 90577 h 147106"/>
                <a:gd name="connsiteX24" fmla="*/ 123974 w 130001"/>
                <a:gd name="connsiteY24" fmla="*/ 98397 h 147106"/>
                <a:gd name="connsiteX25" fmla="*/ 124951 w 130001"/>
                <a:gd name="connsiteY25" fmla="*/ 100352 h 147106"/>
                <a:gd name="connsiteX26" fmla="*/ 125603 w 130001"/>
                <a:gd name="connsiteY26" fmla="*/ 101492 h 147106"/>
                <a:gd name="connsiteX27" fmla="*/ 128535 w 130001"/>
                <a:gd name="connsiteY27" fmla="*/ 105565 h 147106"/>
                <a:gd name="connsiteX28" fmla="*/ 130001 w 130001"/>
                <a:gd name="connsiteY28" fmla="*/ 106705 h 147106"/>
                <a:gd name="connsiteX29" fmla="*/ 127884 w 130001"/>
                <a:gd name="connsiteY29" fmla="*/ 108498 h 147106"/>
                <a:gd name="connsiteX30" fmla="*/ 123811 w 130001"/>
                <a:gd name="connsiteY30" fmla="*/ 113222 h 147106"/>
                <a:gd name="connsiteX31" fmla="*/ 123811 w 130001"/>
                <a:gd name="connsiteY31" fmla="*/ 120390 h 147106"/>
                <a:gd name="connsiteX32" fmla="*/ 118924 w 130001"/>
                <a:gd name="connsiteY32" fmla="*/ 124951 h 147106"/>
                <a:gd name="connsiteX33" fmla="*/ 116317 w 130001"/>
                <a:gd name="connsiteY33" fmla="*/ 129024 h 147106"/>
                <a:gd name="connsiteX34" fmla="*/ 117295 w 130001"/>
                <a:gd name="connsiteY34" fmla="*/ 129839 h 147106"/>
                <a:gd name="connsiteX35" fmla="*/ 115665 w 130001"/>
                <a:gd name="connsiteY35" fmla="*/ 132445 h 147106"/>
                <a:gd name="connsiteX36" fmla="*/ 109475 w 130001"/>
                <a:gd name="connsiteY36" fmla="*/ 139613 h 147106"/>
                <a:gd name="connsiteX37" fmla="*/ 100026 w 130001"/>
                <a:gd name="connsiteY37" fmla="*/ 143197 h 147106"/>
                <a:gd name="connsiteX38" fmla="*/ 97908 w 130001"/>
                <a:gd name="connsiteY38" fmla="*/ 141242 h 147106"/>
                <a:gd name="connsiteX39" fmla="*/ 96605 w 130001"/>
                <a:gd name="connsiteY39" fmla="*/ 142219 h 147106"/>
                <a:gd name="connsiteX40" fmla="*/ 95953 w 130001"/>
                <a:gd name="connsiteY40" fmla="*/ 145315 h 147106"/>
                <a:gd name="connsiteX41" fmla="*/ 93347 w 130001"/>
                <a:gd name="connsiteY41" fmla="*/ 147107 h 147106"/>
                <a:gd name="connsiteX42" fmla="*/ 89600 w 130001"/>
                <a:gd name="connsiteY42" fmla="*/ 146781 h 147106"/>
                <a:gd name="connsiteX43" fmla="*/ 85853 w 130001"/>
                <a:gd name="connsiteY43" fmla="*/ 145315 h 147106"/>
                <a:gd name="connsiteX44" fmla="*/ 83084 w 130001"/>
                <a:gd name="connsiteY44" fmla="*/ 145803 h 147106"/>
                <a:gd name="connsiteX45" fmla="*/ 79988 w 130001"/>
                <a:gd name="connsiteY45" fmla="*/ 143849 h 147106"/>
                <a:gd name="connsiteX46" fmla="*/ 74775 w 130001"/>
                <a:gd name="connsiteY46" fmla="*/ 142057 h 147106"/>
                <a:gd name="connsiteX47" fmla="*/ 67607 w 130001"/>
                <a:gd name="connsiteY47" fmla="*/ 143360 h 147106"/>
                <a:gd name="connsiteX48" fmla="*/ 62068 w 130001"/>
                <a:gd name="connsiteY48" fmla="*/ 146781 h 147106"/>
                <a:gd name="connsiteX49" fmla="*/ 56855 w 130001"/>
                <a:gd name="connsiteY49" fmla="*/ 146618 h 147106"/>
                <a:gd name="connsiteX50" fmla="*/ 57018 w 130001"/>
                <a:gd name="connsiteY50" fmla="*/ 143849 h 147106"/>
                <a:gd name="connsiteX51" fmla="*/ 57833 w 130001"/>
                <a:gd name="connsiteY51" fmla="*/ 142057 h 147106"/>
                <a:gd name="connsiteX52" fmla="*/ 56529 w 130001"/>
                <a:gd name="connsiteY52" fmla="*/ 140753 h 147106"/>
                <a:gd name="connsiteX53" fmla="*/ 52457 w 130001"/>
                <a:gd name="connsiteY53" fmla="*/ 140428 h 147106"/>
                <a:gd name="connsiteX54" fmla="*/ 48710 w 130001"/>
                <a:gd name="connsiteY54" fmla="*/ 139776 h 147106"/>
                <a:gd name="connsiteX55" fmla="*/ 42519 w 130001"/>
                <a:gd name="connsiteY55" fmla="*/ 135541 h 147106"/>
                <a:gd name="connsiteX56" fmla="*/ 35840 w 130001"/>
                <a:gd name="connsiteY56" fmla="*/ 135051 h 147106"/>
                <a:gd name="connsiteX57" fmla="*/ 24599 w 130001"/>
                <a:gd name="connsiteY57" fmla="*/ 136192 h 147106"/>
                <a:gd name="connsiteX58" fmla="*/ 20852 w 130001"/>
                <a:gd name="connsiteY58" fmla="*/ 135214 h 147106"/>
                <a:gd name="connsiteX59" fmla="*/ 13684 w 130001"/>
                <a:gd name="connsiteY59" fmla="*/ 128209 h 147106"/>
                <a:gd name="connsiteX60" fmla="*/ 11078 w 130001"/>
                <a:gd name="connsiteY60" fmla="*/ 127558 h 147106"/>
                <a:gd name="connsiteX61" fmla="*/ 3747 w 130001"/>
                <a:gd name="connsiteY61" fmla="*/ 117132 h 147106"/>
                <a:gd name="connsiteX62" fmla="*/ 163 w 130001"/>
                <a:gd name="connsiteY62" fmla="*/ 108171 h 147106"/>
                <a:gd name="connsiteX63" fmla="*/ 0 w 130001"/>
                <a:gd name="connsiteY63" fmla="*/ 96768 h 147106"/>
                <a:gd name="connsiteX64" fmla="*/ 0 w 130001"/>
                <a:gd name="connsiteY64" fmla="*/ 96279 h 147106"/>
                <a:gd name="connsiteX65" fmla="*/ 977 w 130001"/>
                <a:gd name="connsiteY65" fmla="*/ 94650 h 147106"/>
                <a:gd name="connsiteX66" fmla="*/ 4724 w 130001"/>
                <a:gd name="connsiteY66" fmla="*/ 91066 h 147106"/>
                <a:gd name="connsiteX67" fmla="*/ 6353 w 130001"/>
                <a:gd name="connsiteY67" fmla="*/ 87319 h 147106"/>
                <a:gd name="connsiteX68" fmla="*/ 4236 w 130001"/>
                <a:gd name="connsiteY68" fmla="*/ 79011 h 147106"/>
                <a:gd name="connsiteX69" fmla="*/ 2932 w 130001"/>
                <a:gd name="connsiteY69" fmla="*/ 67607 h 147106"/>
                <a:gd name="connsiteX70" fmla="*/ 4724 w 130001"/>
                <a:gd name="connsiteY70" fmla="*/ 64838 h 147106"/>
                <a:gd name="connsiteX71" fmla="*/ 2118 w 130001"/>
                <a:gd name="connsiteY71" fmla="*/ 56855 h 147106"/>
                <a:gd name="connsiteX72" fmla="*/ 5213 w 130001"/>
                <a:gd name="connsiteY72" fmla="*/ 51316 h 147106"/>
                <a:gd name="connsiteX73" fmla="*/ 4724 w 130001"/>
                <a:gd name="connsiteY73" fmla="*/ 46918 h 147106"/>
                <a:gd name="connsiteX74" fmla="*/ 6516 w 130001"/>
                <a:gd name="connsiteY74" fmla="*/ 42845 h 147106"/>
                <a:gd name="connsiteX75" fmla="*/ 7494 w 130001"/>
                <a:gd name="connsiteY75" fmla="*/ 31441 h 147106"/>
                <a:gd name="connsiteX76" fmla="*/ 6028 w 130001"/>
                <a:gd name="connsiteY76" fmla="*/ 27206 h 147106"/>
                <a:gd name="connsiteX77" fmla="*/ 7982 w 130001"/>
                <a:gd name="connsiteY77" fmla="*/ 23296 h 147106"/>
                <a:gd name="connsiteX78" fmla="*/ 6353 w 130001"/>
                <a:gd name="connsiteY78" fmla="*/ 15313 h 147106"/>
                <a:gd name="connsiteX79" fmla="*/ 11078 w 130001"/>
                <a:gd name="connsiteY79" fmla="*/ 9449 h 147106"/>
                <a:gd name="connsiteX80" fmla="*/ 13358 w 130001"/>
                <a:gd name="connsiteY80" fmla="*/ 3584 h 147106"/>
                <a:gd name="connsiteX81" fmla="*/ 13847 w 130001"/>
                <a:gd name="connsiteY81" fmla="*/ 2281 h 1471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</a:cxnLst>
              <a:rect l="l" t="t" r="r" b="b"/>
              <a:pathLst>
                <a:path w="130001" h="147106">
                  <a:moveTo>
                    <a:pt x="13847" y="2281"/>
                  </a:moveTo>
                  <a:lnTo>
                    <a:pt x="17594" y="2444"/>
                  </a:lnTo>
                  <a:lnTo>
                    <a:pt x="20364" y="3910"/>
                  </a:lnTo>
                  <a:lnTo>
                    <a:pt x="33233" y="0"/>
                  </a:lnTo>
                  <a:lnTo>
                    <a:pt x="38609" y="3421"/>
                  </a:lnTo>
                  <a:lnTo>
                    <a:pt x="44474" y="11566"/>
                  </a:lnTo>
                  <a:lnTo>
                    <a:pt x="49687" y="13847"/>
                  </a:lnTo>
                  <a:lnTo>
                    <a:pt x="52782" y="20852"/>
                  </a:lnTo>
                  <a:lnTo>
                    <a:pt x="58973" y="30790"/>
                  </a:lnTo>
                  <a:lnTo>
                    <a:pt x="61906" y="30790"/>
                  </a:lnTo>
                  <a:lnTo>
                    <a:pt x="66793" y="25414"/>
                  </a:lnTo>
                  <a:lnTo>
                    <a:pt x="69399" y="25739"/>
                  </a:lnTo>
                  <a:lnTo>
                    <a:pt x="75264" y="35351"/>
                  </a:lnTo>
                  <a:lnTo>
                    <a:pt x="82269" y="38446"/>
                  </a:lnTo>
                  <a:lnTo>
                    <a:pt x="88460" y="39750"/>
                  </a:lnTo>
                  <a:lnTo>
                    <a:pt x="94324" y="45614"/>
                  </a:lnTo>
                  <a:lnTo>
                    <a:pt x="94650" y="52620"/>
                  </a:lnTo>
                  <a:lnTo>
                    <a:pt x="99700" y="51642"/>
                  </a:lnTo>
                  <a:lnTo>
                    <a:pt x="109638" y="56041"/>
                  </a:lnTo>
                  <a:lnTo>
                    <a:pt x="115503" y="63372"/>
                  </a:lnTo>
                  <a:lnTo>
                    <a:pt x="121693" y="72820"/>
                  </a:lnTo>
                  <a:lnTo>
                    <a:pt x="127395" y="76730"/>
                  </a:lnTo>
                  <a:lnTo>
                    <a:pt x="126417" y="84061"/>
                  </a:lnTo>
                  <a:lnTo>
                    <a:pt x="121530" y="90577"/>
                  </a:lnTo>
                  <a:lnTo>
                    <a:pt x="123974" y="98397"/>
                  </a:lnTo>
                  <a:lnTo>
                    <a:pt x="124951" y="100352"/>
                  </a:lnTo>
                  <a:lnTo>
                    <a:pt x="125603" y="101492"/>
                  </a:lnTo>
                  <a:lnTo>
                    <a:pt x="128535" y="105565"/>
                  </a:lnTo>
                  <a:lnTo>
                    <a:pt x="130001" y="106705"/>
                  </a:lnTo>
                  <a:lnTo>
                    <a:pt x="127884" y="108498"/>
                  </a:lnTo>
                  <a:lnTo>
                    <a:pt x="123811" y="113222"/>
                  </a:lnTo>
                  <a:lnTo>
                    <a:pt x="123811" y="120390"/>
                  </a:lnTo>
                  <a:lnTo>
                    <a:pt x="118924" y="124951"/>
                  </a:lnTo>
                  <a:lnTo>
                    <a:pt x="116317" y="129024"/>
                  </a:lnTo>
                  <a:lnTo>
                    <a:pt x="117295" y="129839"/>
                  </a:lnTo>
                  <a:lnTo>
                    <a:pt x="115665" y="132445"/>
                  </a:lnTo>
                  <a:lnTo>
                    <a:pt x="109475" y="139613"/>
                  </a:lnTo>
                  <a:lnTo>
                    <a:pt x="100026" y="143197"/>
                  </a:lnTo>
                  <a:lnTo>
                    <a:pt x="97908" y="141242"/>
                  </a:lnTo>
                  <a:lnTo>
                    <a:pt x="96605" y="142219"/>
                  </a:lnTo>
                  <a:lnTo>
                    <a:pt x="95953" y="145315"/>
                  </a:lnTo>
                  <a:lnTo>
                    <a:pt x="93347" y="147107"/>
                  </a:lnTo>
                  <a:lnTo>
                    <a:pt x="89600" y="146781"/>
                  </a:lnTo>
                  <a:lnTo>
                    <a:pt x="85853" y="145315"/>
                  </a:lnTo>
                  <a:lnTo>
                    <a:pt x="83084" y="145803"/>
                  </a:lnTo>
                  <a:lnTo>
                    <a:pt x="79988" y="143849"/>
                  </a:lnTo>
                  <a:lnTo>
                    <a:pt x="74775" y="142057"/>
                  </a:lnTo>
                  <a:lnTo>
                    <a:pt x="67607" y="143360"/>
                  </a:lnTo>
                  <a:lnTo>
                    <a:pt x="62068" y="146781"/>
                  </a:lnTo>
                  <a:lnTo>
                    <a:pt x="56855" y="146618"/>
                  </a:lnTo>
                  <a:lnTo>
                    <a:pt x="57018" y="143849"/>
                  </a:lnTo>
                  <a:lnTo>
                    <a:pt x="57833" y="142057"/>
                  </a:lnTo>
                  <a:lnTo>
                    <a:pt x="56529" y="140753"/>
                  </a:lnTo>
                  <a:lnTo>
                    <a:pt x="52457" y="140428"/>
                  </a:lnTo>
                  <a:lnTo>
                    <a:pt x="48710" y="139776"/>
                  </a:lnTo>
                  <a:lnTo>
                    <a:pt x="42519" y="135541"/>
                  </a:lnTo>
                  <a:lnTo>
                    <a:pt x="35840" y="135051"/>
                  </a:lnTo>
                  <a:lnTo>
                    <a:pt x="24599" y="136192"/>
                  </a:lnTo>
                  <a:lnTo>
                    <a:pt x="20852" y="135214"/>
                  </a:lnTo>
                  <a:lnTo>
                    <a:pt x="13684" y="128209"/>
                  </a:lnTo>
                  <a:lnTo>
                    <a:pt x="11078" y="127558"/>
                  </a:lnTo>
                  <a:lnTo>
                    <a:pt x="3747" y="117132"/>
                  </a:lnTo>
                  <a:lnTo>
                    <a:pt x="163" y="108171"/>
                  </a:lnTo>
                  <a:lnTo>
                    <a:pt x="0" y="96768"/>
                  </a:lnTo>
                  <a:lnTo>
                    <a:pt x="0" y="96279"/>
                  </a:lnTo>
                  <a:lnTo>
                    <a:pt x="977" y="94650"/>
                  </a:lnTo>
                  <a:lnTo>
                    <a:pt x="4724" y="91066"/>
                  </a:lnTo>
                  <a:lnTo>
                    <a:pt x="6353" y="87319"/>
                  </a:lnTo>
                  <a:lnTo>
                    <a:pt x="4236" y="79011"/>
                  </a:lnTo>
                  <a:lnTo>
                    <a:pt x="2932" y="67607"/>
                  </a:lnTo>
                  <a:lnTo>
                    <a:pt x="4724" y="64838"/>
                  </a:lnTo>
                  <a:lnTo>
                    <a:pt x="2118" y="56855"/>
                  </a:lnTo>
                  <a:lnTo>
                    <a:pt x="5213" y="51316"/>
                  </a:lnTo>
                  <a:lnTo>
                    <a:pt x="4724" y="46918"/>
                  </a:lnTo>
                  <a:lnTo>
                    <a:pt x="6516" y="42845"/>
                  </a:lnTo>
                  <a:lnTo>
                    <a:pt x="7494" y="31441"/>
                  </a:lnTo>
                  <a:lnTo>
                    <a:pt x="6028" y="27206"/>
                  </a:lnTo>
                  <a:lnTo>
                    <a:pt x="7982" y="23296"/>
                  </a:lnTo>
                  <a:lnTo>
                    <a:pt x="6353" y="15313"/>
                  </a:lnTo>
                  <a:lnTo>
                    <a:pt x="11078" y="9449"/>
                  </a:lnTo>
                  <a:lnTo>
                    <a:pt x="13358" y="3584"/>
                  </a:lnTo>
                  <a:lnTo>
                    <a:pt x="13847" y="2281"/>
                  </a:lnTo>
                  <a:close/>
                </a:path>
              </a:pathLst>
            </a:custGeom>
            <a:solidFill>
              <a:schemeClr val="bg2"/>
            </a:solidFill>
            <a:ln w="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1" name="Forma livre: Forma 40">
              <a:extLst>
                <a:ext uri="{FF2B5EF4-FFF2-40B4-BE49-F238E27FC236}">
                  <a16:creationId xmlns:a16="http://schemas.microsoft.com/office/drawing/2014/main" id="{4CFF9C6B-0497-217F-B3F4-13D3114D8769}"/>
                </a:ext>
              </a:extLst>
            </p:cNvPr>
            <p:cNvSpPr/>
            <p:nvPr/>
          </p:nvSpPr>
          <p:spPr>
            <a:xfrm>
              <a:off x="4192428" y="5562930"/>
              <a:ext cx="422391" cy="1095793"/>
            </a:xfrm>
            <a:custGeom>
              <a:avLst/>
              <a:gdLst>
                <a:gd name="connsiteX0" fmla="*/ 62883 w 408739"/>
                <a:gd name="connsiteY0" fmla="*/ 25902 h 1060375"/>
                <a:gd name="connsiteX1" fmla="*/ 66141 w 408739"/>
                <a:gd name="connsiteY1" fmla="*/ 21830 h 1060375"/>
                <a:gd name="connsiteX2" fmla="*/ 70540 w 408739"/>
                <a:gd name="connsiteY2" fmla="*/ 12544 h 1060375"/>
                <a:gd name="connsiteX3" fmla="*/ 80477 w 408739"/>
                <a:gd name="connsiteY3" fmla="*/ 2281 h 1060375"/>
                <a:gd name="connsiteX4" fmla="*/ 87156 w 408739"/>
                <a:gd name="connsiteY4" fmla="*/ 0 h 1060375"/>
                <a:gd name="connsiteX5" fmla="*/ 93510 w 408739"/>
                <a:gd name="connsiteY5" fmla="*/ 5539 h 1060375"/>
                <a:gd name="connsiteX6" fmla="*/ 100841 w 408739"/>
                <a:gd name="connsiteY6" fmla="*/ 4724 h 1060375"/>
                <a:gd name="connsiteX7" fmla="*/ 105239 w 408739"/>
                <a:gd name="connsiteY7" fmla="*/ 3584 h 1060375"/>
                <a:gd name="connsiteX8" fmla="*/ 110778 w 408739"/>
                <a:gd name="connsiteY8" fmla="*/ 5050 h 1060375"/>
                <a:gd name="connsiteX9" fmla="*/ 120064 w 408739"/>
                <a:gd name="connsiteY9" fmla="*/ 3258 h 1060375"/>
                <a:gd name="connsiteX10" fmla="*/ 124788 w 408739"/>
                <a:gd name="connsiteY10" fmla="*/ 3910 h 1060375"/>
                <a:gd name="connsiteX11" fmla="*/ 125929 w 408739"/>
                <a:gd name="connsiteY11" fmla="*/ 10589 h 1060375"/>
                <a:gd name="connsiteX12" fmla="*/ 129676 w 408739"/>
                <a:gd name="connsiteY12" fmla="*/ 21341 h 1060375"/>
                <a:gd name="connsiteX13" fmla="*/ 131468 w 408739"/>
                <a:gd name="connsiteY13" fmla="*/ 24273 h 1060375"/>
                <a:gd name="connsiteX14" fmla="*/ 133749 w 408739"/>
                <a:gd name="connsiteY14" fmla="*/ 21341 h 1060375"/>
                <a:gd name="connsiteX15" fmla="*/ 133423 w 408739"/>
                <a:gd name="connsiteY15" fmla="*/ 16617 h 1060375"/>
                <a:gd name="connsiteX16" fmla="*/ 136355 w 408739"/>
                <a:gd name="connsiteY16" fmla="*/ 11729 h 1060375"/>
                <a:gd name="connsiteX17" fmla="*/ 136355 w 408739"/>
                <a:gd name="connsiteY17" fmla="*/ 7005 h 1060375"/>
                <a:gd name="connsiteX18" fmla="*/ 140428 w 408739"/>
                <a:gd name="connsiteY18" fmla="*/ 1140 h 1060375"/>
                <a:gd name="connsiteX19" fmla="*/ 155252 w 408739"/>
                <a:gd name="connsiteY19" fmla="*/ 1140 h 1060375"/>
                <a:gd name="connsiteX20" fmla="*/ 168122 w 408739"/>
                <a:gd name="connsiteY20" fmla="*/ 1466 h 1060375"/>
                <a:gd name="connsiteX21" fmla="*/ 173661 w 408739"/>
                <a:gd name="connsiteY21" fmla="*/ 6679 h 1060375"/>
                <a:gd name="connsiteX22" fmla="*/ 179526 w 408739"/>
                <a:gd name="connsiteY22" fmla="*/ 12870 h 1060375"/>
                <a:gd name="connsiteX23" fmla="*/ 184250 w 408739"/>
                <a:gd name="connsiteY23" fmla="*/ 14010 h 1060375"/>
                <a:gd name="connsiteX24" fmla="*/ 190604 w 408739"/>
                <a:gd name="connsiteY24" fmla="*/ 25414 h 1060375"/>
                <a:gd name="connsiteX25" fmla="*/ 206406 w 408739"/>
                <a:gd name="connsiteY25" fmla="*/ 41216 h 1060375"/>
                <a:gd name="connsiteX26" fmla="*/ 212596 w 408739"/>
                <a:gd name="connsiteY26" fmla="*/ 42030 h 1060375"/>
                <a:gd name="connsiteX27" fmla="*/ 218950 w 408739"/>
                <a:gd name="connsiteY27" fmla="*/ 47569 h 1060375"/>
                <a:gd name="connsiteX28" fmla="*/ 223023 w 408739"/>
                <a:gd name="connsiteY28" fmla="*/ 54249 h 1060375"/>
                <a:gd name="connsiteX29" fmla="*/ 238499 w 408739"/>
                <a:gd name="connsiteY29" fmla="*/ 57996 h 1060375"/>
                <a:gd name="connsiteX30" fmla="*/ 248436 w 408739"/>
                <a:gd name="connsiteY30" fmla="*/ 63209 h 1060375"/>
                <a:gd name="connsiteX31" fmla="*/ 252998 w 408739"/>
                <a:gd name="connsiteY31" fmla="*/ 64186 h 1060375"/>
                <a:gd name="connsiteX32" fmla="*/ 264239 w 408739"/>
                <a:gd name="connsiteY32" fmla="*/ 73961 h 1060375"/>
                <a:gd name="connsiteX33" fmla="*/ 275642 w 408739"/>
                <a:gd name="connsiteY33" fmla="*/ 79663 h 1060375"/>
                <a:gd name="connsiteX34" fmla="*/ 290956 w 408739"/>
                <a:gd name="connsiteY34" fmla="*/ 81617 h 1060375"/>
                <a:gd name="connsiteX35" fmla="*/ 296984 w 408739"/>
                <a:gd name="connsiteY35" fmla="*/ 88460 h 1060375"/>
                <a:gd name="connsiteX36" fmla="*/ 304477 w 408739"/>
                <a:gd name="connsiteY36" fmla="*/ 94650 h 1060375"/>
                <a:gd name="connsiteX37" fmla="*/ 307410 w 408739"/>
                <a:gd name="connsiteY37" fmla="*/ 100841 h 1060375"/>
                <a:gd name="connsiteX38" fmla="*/ 305781 w 408739"/>
                <a:gd name="connsiteY38" fmla="*/ 106380 h 1060375"/>
                <a:gd name="connsiteX39" fmla="*/ 301871 w 408739"/>
                <a:gd name="connsiteY39" fmla="*/ 112407 h 1060375"/>
                <a:gd name="connsiteX40" fmla="*/ 297472 w 408739"/>
                <a:gd name="connsiteY40" fmla="*/ 115665 h 1060375"/>
                <a:gd name="connsiteX41" fmla="*/ 294866 w 408739"/>
                <a:gd name="connsiteY41" fmla="*/ 119901 h 1060375"/>
                <a:gd name="connsiteX42" fmla="*/ 296332 w 408739"/>
                <a:gd name="connsiteY42" fmla="*/ 125277 h 1060375"/>
                <a:gd name="connsiteX43" fmla="*/ 292585 w 408739"/>
                <a:gd name="connsiteY43" fmla="*/ 135214 h 1060375"/>
                <a:gd name="connsiteX44" fmla="*/ 284602 w 408739"/>
                <a:gd name="connsiteY44" fmla="*/ 143360 h 1060375"/>
                <a:gd name="connsiteX45" fmla="*/ 283136 w 408739"/>
                <a:gd name="connsiteY45" fmla="*/ 149062 h 1060375"/>
                <a:gd name="connsiteX46" fmla="*/ 287535 w 408739"/>
                <a:gd name="connsiteY46" fmla="*/ 149062 h 1060375"/>
                <a:gd name="connsiteX47" fmla="*/ 305618 w 408739"/>
                <a:gd name="connsiteY47" fmla="*/ 146129 h 1060375"/>
                <a:gd name="connsiteX48" fmla="*/ 320931 w 408739"/>
                <a:gd name="connsiteY48" fmla="*/ 150691 h 1060375"/>
                <a:gd name="connsiteX49" fmla="*/ 331683 w 408739"/>
                <a:gd name="connsiteY49" fmla="*/ 157207 h 1060375"/>
                <a:gd name="connsiteX50" fmla="*/ 337548 w 408739"/>
                <a:gd name="connsiteY50" fmla="*/ 154601 h 1060375"/>
                <a:gd name="connsiteX51" fmla="*/ 340806 w 408739"/>
                <a:gd name="connsiteY51" fmla="*/ 154601 h 1060375"/>
                <a:gd name="connsiteX52" fmla="*/ 343413 w 408739"/>
                <a:gd name="connsiteY52" fmla="*/ 157370 h 1060375"/>
                <a:gd name="connsiteX53" fmla="*/ 348626 w 408739"/>
                <a:gd name="connsiteY53" fmla="*/ 150691 h 1060375"/>
                <a:gd name="connsiteX54" fmla="*/ 351069 w 408739"/>
                <a:gd name="connsiteY54" fmla="*/ 149388 h 1060375"/>
                <a:gd name="connsiteX55" fmla="*/ 356608 w 408739"/>
                <a:gd name="connsiteY55" fmla="*/ 151017 h 1060375"/>
                <a:gd name="connsiteX56" fmla="*/ 361170 w 408739"/>
                <a:gd name="connsiteY56" fmla="*/ 145315 h 1060375"/>
                <a:gd name="connsiteX57" fmla="*/ 363125 w 408739"/>
                <a:gd name="connsiteY57" fmla="*/ 138636 h 1060375"/>
                <a:gd name="connsiteX58" fmla="*/ 374691 w 408739"/>
                <a:gd name="connsiteY58" fmla="*/ 130490 h 1060375"/>
                <a:gd name="connsiteX59" fmla="*/ 376320 w 408739"/>
                <a:gd name="connsiteY59" fmla="*/ 124951 h 1060375"/>
                <a:gd name="connsiteX60" fmla="*/ 379741 w 408739"/>
                <a:gd name="connsiteY60" fmla="*/ 118761 h 1060375"/>
                <a:gd name="connsiteX61" fmla="*/ 384303 w 408739"/>
                <a:gd name="connsiteY61" fmla="*/ 114851 h 1060375"/>
                <a:gd name="connsiteX62" fmla="*/ 384792 w 408739"/>
                <a:gd name="connsiteY62" fmla="*/ 105402 h 1060375"/>
                <a:gd name="connsiteX63" fmla="*/ 383814 w 408739"/>
                <a:gd name="connsiteY63" fmla="*/ 102796 h 1060375"/>
                <a:gd name="connsiteX64" fmla="*/ 384303 w 408739"/>
                <a:gd name="connsiteY64" fmla="*/ 95628 h 1060375"/>
                <a:gd name="connsiteX65" fmla="*/ 390167 w 408739"/>
                <a:gd name="connsiteY65" fmla="*/ 91718 h 1060375"/>
                <a:gd name="connsiteX66" fmla="*/ 401897 w 408739"/>
                <a:gd name="connsiteY66" fmla="*/ 93347 h 1060375"/>
                <a:gd name="connsiteX67" fmla="*/ 402223 w 408739"/>
                <a:gd name="connsiteY67" fmla="*/ 98560 h 1060375"/>
                <a:gd name="connsiteX68" fmla="*/ 406947 w 408739"/>
                <a:gd name="connsiteY68" fmla="*/ 109475 h 1060375"/>
                <a:gd name="connsiteX69" fmla="*/ 406621 w 408739"/>
                <a:gd name="connsiteY69" fmla="*/ 118109 h 1060375"/>
                <a:gd name="connsiteX70" fmla="*/ 407762 w 408739"/>
                <a:gd name="connsiteY70" fmla="*/ 128047 h 1060375"/>
                <a:gd name="connsiteX71" fmla="*/ 408739 w 408739"/>
                <a:gd name="connsiteY71" fmla="*/ 137332 h 1060375"/>
                <a:gd name="connsiteX72" fmla="*/ 407273 w 408739"/>
                <a:gd name="connsiteY72" fmla="*/ 141079 h 1060375"/>
                <a:gd name="connsiteX73" fmla="*/ 402060 w 408739"/>
                <a:gd name="connsiteY73" fmla="*/ 141079 h 1060375"/>
                <a:gd name="connsiteX74" fmla="*/ 395869 w 408739"/>
                <a:gd name="connsiteY74" fmla="*/ 144174 h 1060375"/>
                <a:gd name="connsiteX75" fmla="*/ 394892 w 408739"/>
                <a:gd name="connsiteY75" fmla="*/ 146129 h 1060375"/>
                <a:gd name="connsiteX76" fmla="*/ 391145 w 408739"/>
                <a:gd name="connsiteY76" fmla="*/ 149225 h 1060375"/>
                <a:gd name="connsiteX77" fmla="*/ 389516 w 408739"/>
                <a:gd name="connsiteY77" fmla="*/ 148247 h 1060375"/>
                <a:gd name="connsiteX78" fmla="*/ 379090 w 408739"/>
                <a:gd name="connsiteY78" fmla="*/ 155252 h 1060375"/>
                <a:gd name="connsiteX79" fmla="*/ 377135 w 408739"/>
                <a:gd name="connsiteY79" fmla="*/ 158511 h 1060375"/>
                <a:gd name="connsiteX80" fmla="*/ 373062 w 408739"/>
                <a:gd name="connsiteY80" fmla="*/ 159651 h 1060375"/>
                <a:gd name="connsiteX81" fmla="*/ 363450 w 408739"/>
                <a:gd name="connsiteY81" fmla="*/ 167633 h 1060375"/>
                <a:gd name="connsiteX82" fmla="*/ 360355 w 408739"/>
                <a:gd name="connsiteY82" fmla="*/ 168774 h 1060375"/>
                <a:gd name="connsiteX83" fmla="*/ 360029 w 408739"/>
                <a:gd name="connsiteY83" fmla="*/ 174964 h 1060375"/>
                <a:gd name="connsiteX84" fmla="*/ 356608 w 408739"/>
                <a:gd name="connsiteY84" fmla="*/ 176105 h 1060375"/>
                <a:gd name="connsiteX85" fmla="*/ 353513 w 408739"/>
                <a:gd name="connsiteY85" fmla="*/ 175616 h 1060375"/>
                <a:gd name="connsiteX86" fmla="*/ 345367 w 408739"/>
                <a:gd name="connsiteY86" fmla="*/ 185554 h 1060375"/>
                <a:gd name="connsiteX87" fmla="*/ 343901 w 408739"/>
                <a:gd name="connsiteY87" fmla="*/ 189463 h 1060375"/>
                <a:gd name="connsiteX88" fmla="*/ 343901 w 408739"/>
                <a:gd name="connsiteY88" fmla="*/ 195165 h 1060375"/>
                <a:gd name="connsiteX89" fmla="*/ 340480 w 408739"/>
                <a:gd name="connsiteY89" fmla="*/ 196305 h 1060375"/>
                <a:gd name="connsiteX90" fmla="*/ 338525 w 408739"/>
                <a:gd name="connsiteY90" fmla="*/ 199401 h 1060375"/>
                <a:gd name="connsiteX91" fmla="*/ 333312 w 408739"/>
                <a:gd name="connsiteY91" fmla="*/ 208849 h 1060375"/>
                <a:gd name="connsiteX92" fmla="*/ 329565 w 408739"/>
                <a:gd name="connsiteY92" fmla="*/ 212759 h 1060375"/>
                <a:gd name="connsiteX93" fmla="*/ 325330 w 408739"/>
                <a:gd name="connsiteY93" fmla="*/ 219764 h 1060375"/>
                <a:gd name="connsiteX94" fmla="*/ 325330 w 408739"/>
                <a:gd name="connsiteY94" fmla="*/ 222208 h 1060375"/>
                <a:gd name="connsiteX95" fmla="*/ 320605 w 408739"/>
                <a:gd name="connsiteY95" fmla="*/ 225466 h 1060375"/>
                <a:gd name="connsiteX96" fmla="*/ 319465 w 408739"/>
                <a:gd name="connsiteY96" fmla="*/ 229213 h 1060375"/>
                <a:gd name="connsiteX97" fmla="*/ 317021 w 408739"/>
                <a:gd name="connsiteY97" fmla="*/ 234915 h 1060375"/>
                <a:gd name="connsiteX98" fmla="*/ 312460 w 408739"/>
                <a:gd name="connsiteY98" fmla="*/ 240780 h 1060375"/>
                <a:gd name="connsiteX99" fmla="*/ 314089 w 408739"/>
                <a:gd name="connsiteY99" fmla="*/ 248925 h 1060375"/>
                <a:gd name="connsiteX100" fmla="*/ 312134 w 408739"/>
                <a:gd name="connsiteY100" fmla="*/ 252835 h 1060375"/>
                <a:gd name="connsiteX101" fmla="*/ 313600 w 408739"/>
                <a:gd name="connsiteY101" fmla="*/ 257071 h 1060375"/>
                <a:gd name="connsiteX102" fmla="*/ 312623 w 408739"/>
                <a:gd name="connsiteY102" fmla="*/ 268474 h 1060375"/>
                <a:gd name="connsiteX103" fmla="*/ 310831 w 408739"/>
                <a:gd name="connsiteY103" fmla="*/ 272547 h 1060375"/>
                <a:gd name="connsiteX104" fmla="*/ 311319 w 408739"/>
                <a:gd name="connsiteY104" fmla="*/ 276946 h 1060375"/>
                <a:gd name="connsiteX105" fmla="*/ 308224 w 408739"/>
                <a:gd name="connsiteY105" fmla="*/ 282484 h 1060375"/>
                <a:gd name="connsiteX106" fmla="*/ 310831 w 408739"/>
                <a:gd name="connsiteY106" fmla="*/ 290467 h 1060375"/>
                <a:gd name="connsiteX107" fmla="*/ 309039 w 408739"/>
                <a:gd name="connsiteY107" fmla="*/ 293236 h 1060375"/>
                <a:gd name="connsiteX108" fmla="*/ 310342 w 408739"/>
                <a:gd name="connsiteY108" fmla="*/ 304640 h 1060375"/>
                <a:gd name="connsiteX109" fmla="*/ 312623 w 408739"/>
                <a:gd name="connsiteY109" fmla="*/ 312948 h 1060375"/>
                <a:gd name="connsiteX110" fmla="*/ 310994 w 408739"/>
                <a:gd name="connsiteY110" fmla="*/ 316695 h 1060375"/>
                <a:gd name="connsiteX111" fmla="*/ 307247 w 408739"/>
                <a:gd name="connsiteY111" fmla="*/ 320279 h 1060375"/>
                <a:gd name="connsiteX112" fmla="*/ 306269 w 408739"/>
                <a:gd name="connsiteY112" fmla="*/ 321908 h 1060375"/>
                <a:gd name="connsiteX113" fmla="*/ 306269 w 408739"/>
                <a:gd name="connsiteY113" fmla="*/ 322397 h 1060375"/>
                <a:gd name="connsiteX114" fmla="*/ 306269 w 408739"/>
                <a:gd name="connsiteY114" fmla="*/ 322397 h 1060375"/>
                <a:gd name="connsiteX115" fmla="*/ 304966 w 408739"/>
                <a:gd name="connsiteY115" fmla="*/ 332824 h 1060375"/>
                <a:gd name="connsiteX116" fmla="*/ 306758 w 408739"/>
                <a:gd name="connsiteY116" fmla="*/ 342109 h 1060375"/>
                <a:gd name="connsiteX117" fmla="*/ 305781 w 408739"/>
                <a:gd name="connsiteY117" fmla="*/ 345042 h 1060375"/>
                <a:gd name="connsiteX118" fmla="*/ 309039 w 408739"/>
                <a:gd name="connsiteY118" fmla="*/ 348463 h 1060375"/>
                <a:gd name="connsiteX119" fmla="*/ 309039 w 408739"/>
                <a:gd name="connsiteY119" fmla="*/ 352861 h 1060375"/>
                <a:gd name="connsiteX120" fmla="*/ 307573 w 408739"/>
                <a:gd name="connsiteY120" fmla="*/ 354490 h 1060375"/>
                <a:gd name="connsiteX121" fmla="*/ 310179 w 408739"/>
                <a:gd name="connsiteY121" fmla="*/ 359052 h 1060375"/>
                <a:gd name="connsiteX122" fmla="*/ 320931 w 408739"/>
                <a:gd name="connsiteY122" fmla="*/ 367360 h 1060375"/>
                <a:gd name="connsiteX123" fmla="*/ 331683 w 408739"/>
                <a:gd name="connsiteY123" fmla="*/ 371433 h 1060375"/>
                <a:gd name="connsiteX124" fmla="*/ 344879 w 408739"/>
                <a:gd name="connsiteY124" fmla="*/ 381696 h 1060375"/>
                <a:gd name="connsiteX125" fmla="*/ 347811 w 408739"/>
                <a:gd name="connsiteY125" fmla="*/ 385443 h 1060375"/>
                <a:gd name="connsiteX126" fmla="*/ 347485 w 408739"/>
                <a:gd name="connsiteY126" fmla="*/ 390656 h 1060375"/>
                <a:gd name="connsiteX127" fmla="*/ 341295 w 408739"/>
                <a:gd name="connsiteY127" fmla="*/ 403200 h 1060375"/>
                <a:gd name="connsiteX128" fmla="*/ 340969 w 408739"/>
                <a:gd name="connsiteY128" fmla="*/ 406947 h 1060375"/>
                <a:gd name="connsiteX129" fmla="*/ 344879 w 408739"/>
                <a:gd name="connsiteY129" fmla="*/ 414278 h 1060375"/>
                <a:gd name="connsiteX130" fmla="*/ 351558 w 408739"/>
                <a:gd name="connsiteY130" fmla="*/ 418676 h 1060375"/>
                <a:gd name="connsiteX131" fmla="*/ 357097 w 408739"/>
                <a:gd name="connsiteY131" fmla="*/ 418676 h 1060375"/>
                <a:gd name="connsiteX132" fmla="*/ 360355 w 408739"/>
                <a:gd name="connsiteY132" fmla="*/ 415418 h 1060375"/>
                <a:gd name="connsiteX133" fmla="*/ 361658 w 408739"/>
                <a:gd name="connsiteY133" fmla="*/ 415418 h 1060375"/>
                <a:gd name="connsiteX134" fmla="*/ 362799 w 408739"/>
                <a:gd name="connsiteY134" fmla="*/ 419817 h 1060375"/>
                <a:gd name="connsiteX135" fmla="*/ 362799 w 408739"/>
                <a:gd name="connsiteY135" fmla="*/ 430732 h 1060375"/>
                <a:gd name="connsiteX136" fmla="*/ 361658 w 408739"/>
                <a:gd name="connsiteY136" fmla="*/ 435619 h 1060375"/>
                <a:gd name="connsiteX137" fmla="*/ 356608 w 408739"/>
                <a:gd name="connsiteY137" fmla="*/ 443765 h 1060375"/>
                <a:gd name="connsiteX138" fmla="*/ 354816 w 408739"/>
                <a:gd name="connsiteY138" fmla="*/ 451910 h 1060375"/>
                <a:gd name="connsiteX139" fmla="*/ 353024 w 408739"/>
                <a:gd name="connsiteY139" fmla="*/ 454516 h 1060375"/>
                <a:gd name="connsiteX140" fmla="*/ 352210 w 408739"/>
                <a:gd name="connsiteY140" fmla="*/ 451747 h 1060375"/>
                <a:gd name="connsiteX141" fmla="*/ 350418 w 408739"/>
                <a:gd name="connsiteY141" fmla="*/ 453376 h 1060375"/>
                <a:gd name="connsiteX142" fmla="*/ 347811 w 408739"/>
                <a:gd name="connsiteY142" fmla="*/ 461359 h 1060375"/>
                <a:gd name="connsiteX143" fmla="*/ 349277 w 408739"/>
                <a:gd name="connsiteY143" fmla="*/ 467224 h 1060375"/>
                <a:gd name="connsiteX144" fmla="*/ 347322 w 408739"/>
                <a:gd name="connsiteY144" fmla="*/ 472111 h 1060375"/>
                <a:gd name="connsiteX145" fmla="*/ 333312 w 408739"/>
                <a:gd name="connsiteY145" fmla="*/ 480745 h 1060375"/>
                <a:gd name="connsiteX146" fmla="*/ 322397 w 408739"/>
                <a:gd name="connsiteY146" fmla="*/ 484492 h 1060375"/>
                <a:gd name="connsiteX147" fmla="*/ 320442 w 408739"/>
                <a:gd name="connsiteY147" fmla="*/ 481722 h 1060375"/>
                <a:gd name="connsiteX148" fmla="*/ 319628 w 408739"/>
                <a:gd name="connsiteY148" fmla="*/ 484981 h 1060375"/>
                <a:gd name="connsiteX149" fmla="*/ 303989 w 408739"/>
                <a:gd name="connsiteY149" fmla="*/ 491497 h 1060375"/>
                <a:gd name="connsiteX150" fmla="*/ 286068 w 408739"/>
                <a:gd name="connsiteY150" fmla="*/ 496058 h 1060375"/>
                <a:gd name="connsiteX151" fmla="*/ 275317 w 408739"/>
                <a:gd name="connsiteY151" fmla="*/ 496547 h 1060375"/>
                <a:gd name="connsiteX152" fmla="*/ 266845 w 408739"/>
                <a:gd name="connsiteY152" fmla="*/ 495243 h 1060375"/>
                <a:gd name="connsiteX153" fmla="*/ 258863 w 408739"/>
                <a:gd name="connsiteY153" fmla="*/ 496710 h 1060375"/>
                <a:gd name="connsiteX154" fmla="*/ 253812 w 408739"/>
                <a:gd name="connsiteY154" fmla="*/ 496710 h 1060375"/>
                <a:gd name="connsiteX155" fmla="*/ 248111 w 408739"/>
                <a:gd name="connsiteY155" fmla="*/ 492963 h 1060375"/>
                <a:gd name="connsiteX156" fmla="*/ 240943 w 408739"/>
                <a:gd name="connsiteY156" fmla="*/ 490519 h 1060375"/>
                <a:gd name="connsiteX157" fmla="*/ 237522 w 408739"/>
                <a:gd name="connsiteY157" fmla="*/ 490519 h 1060375"/>
                <a:gd name="connsiteX158" fmla="*/ 235241 w 408739"/>
                <a:gd name="connsiteY158" fmla="*/ 487587 h 1060375"/>
                <a:gd name="connsiteX159" fmla="*/ 233612 w 408739"/>
                <a:gd name="connsiteY159" fmla="*/ 489216 h 1060375"/>
                <a:gd name="connsiteX160" fmla="*/ 233612 w 408739"/>
                <a:gd name="connsiteY160" fmla="*/ 493452 h 1060375"/>
                <a:gd name="connsiteX161" fmla="*/ 234915 w 408739"/>
                <a:gd name="connsiteY161" fmla="*/ 496384 h 1060375"/>
                <a:gd name="connsiteX162" fmla="*/ 234915 w 408739"/>
                <a:gd name="connsiteY162" fmla="*/ 505344 h 1060375"/>
                <a:gd name="connsiteX163" fmla="*/ 237359 w 408739"/>
                <a:gd name="connsiteY163" fmla="*/ 508765 h 1060375"/>
                <a:gd name="connsiteX164" fmla="*/ 236870 w 408739"/>
                <a:gd name="connsiteY164" fmla="*/ 511534 h 1060375"/>
                <a:gd name="connsiteX165" fmla="*/ 241106 w 408739"/>
                <a:gd name="connsiteY165" fmla="*/ 511861 h 1060375"/>
                <a:gd name="connsiteX166" fmla="*/ 242083 w 408739"/>
                <a:gd name="connsiteY166" fmla="*/ 516259 h 1060375"/>
                <a:gd name="connsiteX167" fmla="*/ 241431 w 408739"/>
                <a:gd name="connsiteY167" fmla="*/ 519517 h 1060375"/>
                <a:gd name="connsiteX168" fmla="*/ 239639 w 408739"/>
                <a:gd name="connsiteY168" fmla="*/ 520006 h 1060375"/>
                <a:gd name="connsiteX169" fmla="*/ 239639 w 408739"/>
                <a:gd name="connsiteY169" fmla="*/ 521635 h 1060375"/>
                <a:gd name="connsiteX170" fmla="*/ 235241 w 408739"/>
                <a:gd name="connsiteY170" fmla="*/ 526197 h 1060375"/>
                <a:gd name="connsiteX171" fmla="*/ 236381 w 408739"/>
                <a:gd name="connsiteY171" fmla="*/ 528640 h 1060375"/>
                <a:gd name="connsiteX172" fmla="*/ 234589 w 408739"/>
                <a:gd name="connsiteY172" fmla="*/ 532061 h 1060375"/>
                <a:gd name="connsiteX173" fmla="*/ 234589 w 408739"/>
                <a:gd name="connsiteY173" fmla="*/ 536623 h 1060375"/>
                <a:gd name="connsiteX174" fmla="*/ 237684 w 408739"/>
                <a:gd name="connsiteY174" fmla="*/ 541999 h 1060375"/>
                <a:gd name="connsiteX175" fmla="*/ 242083 w 408739"/>
                <a:gd name="connsiteY175" fmla="*/ 543302 h 1060375"/>
                <a:gd name="connsiteX176" fmla="*/ 240617 w 408739"/>
                <a:gd name="connsiteY176" fmla="*/ 547538 h 1060375"/>
                <a:gd name="connsiteX177" fmla="*/ 239151 w 408739"/>
                <a:gd name="connsiteY177" fmla="*/ 550307 h 1060375"/>
                <a:gd name="connsiteX178" fmla="*/ 240454 w 408739"/>
                <a:gd name="connsiteY178" fmla="*/ 554054 h 1060375"/>
                <a:gd name="connsiteX179" fmla="*/ 239314 w 408739"/>
                <a:gd name="connsiteY179" fmla="*/ 558778 h 1060375"/>
                <a:gd name="connsiteX180" fmla="*/ 233449 w 408739"/>
                <a:gd name="connsiteY180" fmla="*/ 563014 h 1060375"/>
                <a:gd name="connsiteX181" fmla="*/ 234263 w 408739"/>
                <a:gd name="connsiteY181" fmla="*/ 564643 h 1060375"/>
                <a:gd name="connsiteX182" fmla="*/ 225629 w 408739"/>
                <a:gd name="connsiteY182" fmla="*/ 570508 h 1060375"/>
                <a:gd name="connsiteX183" fmla="*/ 211293 w 408739"/>
                <a:gd name="connsiteY183" fmla="*/ 570508 h 1060375"/>
                <a:gd name="connsiteX184" fmla="*/ 203474 w 408739"/>
                <a:gd name="connsiteY184" fmla="*/ 568879 h 1060375"/>
                <a:gd name="connsiteX185" fmla="*/ 194514 w 408739"/>
                <a:gd name="connsiteY185" fmla="*/ 561385 h 1060375"/>
                <a:gd name="connsiteX186" fmla="*/ 184739 w 408739"/>
                <a:gd name="connsiteY186" fmla="*/ 558290 h 1060375"/>
                <a:gd name="connsiteX187" fmla="*/ 179037 w 408739"/>
                <a:gd name="connsiteY187" fmla="*/ 558778 h 1060375"/>
                <a:gd name="connsiteX188" fmla="*/ 177571 w 408739"/>
                <a:gd name="connsiteY188" fmla="*/ 557801 h 1060375"/>
                <a:gd name="connsiteX189" fmla="*/ 179200 w 408739"/>
                <a:gd name="connsiteY189" fmla="*/ 554868 h 1060375"/>
                <a:gd name="connsiteX190" fmla="*/ 175290 w 408739"/>
                <a:gd name="connsiteY190" fmla="*/ 554868 h 1060375"/>
                <a:gd name="connsiteX191" fmla="*/ 170077 w 408739"/>
                <a:gd name="connsiteY191" fmla="*/ 560245 h 1060375"/>
                <a:gd name="connsiteX192" fmla="*/ 170077 w 408739"/>
                <a:gd name="connsiteY192" fmla="*/ 569204 h 1060375"/>
                <a:gd name="connsiteX193" fmla="*/ 175453 w 408739"/>
                <a:gd name="connsiteY193" fmla="*/ 574255 h 1060375"/>
                <a:gd name="connsiteX194" fmla="*/ 177408 w 408739"/>
                <a:gd name="connsiteY194" fmla="*/ 583540 h 1060375"/>
                <a:gd name="connsiteX195" fmla="*/ 177408 w 408739"/>
                <a:gd name="connsiteY195" fmla="*/ 595759 h 1060375"/>
                <a:gd name="connsiteX196" fmla="*/ 178874 w 408739"/>
                <a:gd name="connsiteY196" fmla="*/ 600320 h 1060375"/>
                <a:gd name="connsiteX197" fmla="*/ 184739 w 408739"/>
                <a:gd name="connsiteY197" fmla="*/ 603578 h 1060375"/>
                <a:gd name="connsiteX198" fmla="*/ 192396 w 408739"/>
                <a:gd name="connsiteY198" fmla="*/ 603090 h 1060375"/>
                <a:gd name="connsiteX199" fmla="*/ 195165 w 408739"/>
                <a:gd name="connsiteY199" fmla="*/ 604556 h 1060375"/>
                <a:gd name="connsiteX200" fmla="*/ 192233 w 408739"/>
                <a:gd name="connsiteY200" fmla="*/ 606185 h 1060375"/>
                <a:gd name="connsiteX201" fmla="*/ 189789 w 408739"/>
                <a:gd name="connsiteY201" fmla="*/ 608629 h 1060375"/>
                <a:gd name="connsiteX202" fmla="*/ 193699 w 408739"/>
                <a:gd name="connsiteY202" fmla="*/ 610095 h 1060375"/>
                <a:gd name="connsiteX203" fmla="*/ 202333 w 408739"/>
                <a:gd name="connsiteY203" fmla="*/ 607488 h 1060375"/>
                <a:gd name="connsiteX204" fmla="*/ 202659 w 408739"/>
                <a:gd name="connsiteY204" fmla="*/ 604718 h 1060375"/>
                <a:gd name="connsiteX205" fmla="*/ 198423 w 408739"/>
                <a:gd name="connsiteY205" fmla="*/ 603578 h 1060375"/>
                <a:gd name="connsiteX206" fmla="*/ 196957 w 408739"/>
                <a:gd name="connsiteY206" fmla="*/ 602438 h 1060375"/>
                <a:gd name="connsiteX207" fmla="*/ 199401 w 408739"/>
                <a:gd name="connsiteY207" fmla="*/ 600483 h 1060375"/>
                <a:gd name="connsiteX208" fmla="*/ 203311 w 408739"/>
                <a:gd name="connsiteY208" fmla="*/ 600483 h 1060375"/>
                <a:gd name="connsiteX209" fmla="*/ 208361 w 408739"/>
                <a:gd name="connsiteY209" fmla="*/ 597062 h 1060375"/>
                <a:gd name="connsiteX210" fmla="*/ 212271 w 408739"/>
                <a:gd name="connsiteY210" fmla="*/ 597388 h 1060375"/>
                <a:gd name="connsiteX211" fmla="*/ 215692 w 408739"/>
                <a:gd name="connsiteY211" fmla="*/ 603252 h 1060375"/>
                <a:gd name="connsiteX212" fmla="*/ 214551 w 408739"/>
                <a:gd name="connsiteY212" fmla="*/ 607814 h 1060375"/>
                <a:gd name="connsiteX213" fmla="*/ 212596 w 408739"/>
                <a:gd name="connsiteY213" fmla="*/ 608791 h 1060375"/>
                <a:gd name="connsiteX214" fmla="*/ 215855 w 408739"/>
                <a:gd name="connsiteY214" fmla="*/ 612864 h 1060375"/>
                <a:gd name="connsiteX215" fmla="*/ 218298 w 408739"/>
                <a:gd name="connsiteY215" fmla="*/ 618240 h 1060375"/>
                <a:gd name="connsiteX216" fmla="*/ 216832 w 408739"/>
                <a:gd name="connsiteY216" fmla="*/ 623290 h 1060375"/>
                <a:gd name="connsiteX217" fmla="*/ 206895 w 408739"/>
                <a:gd name="connsiteY217" fmla="*/ 628992 h 1060375"/>
                <a:gd name="connsiteX218" fmla="*/ 203148 w 408739"/>
                <a:gd name="connsiteY218" fmla="*/ 627689 h 1060375"/>
                <a:gd name="connsiteX219" fmla="*/ 201193 w 408739"/>
                <a:gd name="connsiteY219" fmla="*/ 622639 h 1060375"/>
                <a:gd name="connsiteX220" fmla="*/ 202170 w 408739"/>
                <a:gd name="connsiteY220" fmla="*/ 620358 h 1060375"/>
                <a:gd name="connsiteX221" fmla="*/ 202170 w 408739"/>
                <a:gd name="connsiteY221" fmla="*/ 617425 h 1060375"/>
                <a:gd name="connsiteX222" fmla="*/ 195980 w 408739"/>
                <a:gd name="connsiteY222" fmla="*/ 614167 h 1060375"/>
                <a:gd name="connsiteX223" fmla="*/ 189138 w 408739"/>
                <a:gd name="connsiteY223" fmla="*/ 616774 h 1060375"/>
                <a:gd name="connsiteX224" fmla="*/ 184576 w 408739"/>
                <a:gd name="connsiteY224" fmla="*/ 620195 h 1060375"/>
                <a:gd name="connsiteX225" fmla="*/ 183599 w 408739"/>
                <a:gd name="connsiteY225" fmla="*/ 622965 h 1060375"/>
                <a:gd name="connsiteX226" fmla="*/ 185879 w 408739"/>
                <a:gd name="connsiteY226" fmla="*/ 626711 h 1060375"/>
                <a:gd name="connsiteX227" fmla="*/ 191093 w 408739"/>
                <a:gd name="connsiteY227" fmla="*/ 626711 h 1060375"/>
                <a:gd name="connsiteX228" fmla="*/ 198586 w 408739"/>
                <a:gd name="connsiteY228" fmla="*/ 629155 h 1060375"/>
                <a:gd name="connsiteX229" fmla="*/ 198586 w 408739"/>
                <a:gd name="connsiteY229" fmla="*/ 631761 h 1060375"/>
                <a:gd name="connsiteX230" fmla="*/ 193210 w 408739"/>
                <a:gd name="connsiteY230" fmla="*/ 636975 h 1060375"/>
                <a:gd name="connsiteX231" fmla="*/ 185228 w 408739"/>
                <a:gd name="connsiteY231" fmla="*/ 639907 h 1060375"/>
                <a:gd name="connsiteX232" fmla="*/ 182295 w 408739"/>
                <a:gd name="connsiteY232" fmla="*/ 643165 h 1060375"/>
                <a:gd name="connsiteX233" fmla="*/ 184087 w 408739"/>
                <a:gd name="connsiteY233" fmla="*/ 645120 h 1060375"/>
                <a:gd name="connsiteX234" fmla="*/ 182133 w 408739"/>
                <a:gd name="connsiteY234" fmla="*/ 650170 h 1060375"/>
                <a:gd name="connsiteX235" fmla="*/ 178060 w 408739"/>
                <a:gd name="connsiteY235" fmla="*/ 654406 h 1060375"/>
                <a:gd name="connsiteX236" fmla="*/ 179689 w 408739"/>
                <a:gd name="connsiteY236" fmla="*/ 660922 h 1060375"/>
                <a:gd name="connsiteX237" fmla="*/ 181481 w 408739"/>
                <a:gd name="connsiteY237" fmla="*/ 663692 h 1060375"/>
                <a:gd name="connsiteX238" fmla="*/ 181481 w 408739"/>
                <a:gd name="connsiteY238" fmla="*/ 667113 h 1060375"/>
                <a:gd name="connsiteX239" fmla="*/ 180503 w 408739"/>
                <a:gd name="connsiteY239" fmla="*/ 670208 h 1060375"/>
                <a:gd name="connsiteX240" fmla="*/ 186531 w 408739"/>
                <a:gd name="connsiteY240" fmla="*/ 676888 h 1060375"/>
                <a:gd name="connsiteX241" fmla="*/ 186531 w 408739"/>
                <a:gd name="connsiteY241" fmla="*/ 679331 h 1060375"/>
                <a:gd name="connsiteX242" fmla="*/ 183925 w 408739"/>
                <a:gd name="connsiteY242" fmla="*/ 682752 h 1060375"/>
                <a:gd name="connsiteX243" fmla="*/ 185228 w 408739"/>
                <a:gd name="connsiteY243" fmla="*/ 684218 h 1060375"/>
                <a:gd name="connsiteX244" fmla="*/ 178223 w 408739"/>
                <a:gd name="connsiteY244" fmla="*/ 688780 h 1060375"/>
                <a:gd name="connsiteX245" fmla="*/ 177245 w 408739"/>
                <a:gd name="connsiteY245" fmla="*/ 692690 h 1060375"/>
                <a:gd name="connsiteX246" fmla="*/ 176431 w 408739"/>
                <a:gd name="connsiteY246" fmla="*/ 694970 h 1060375"/>
                <a:gd name="connsiteX247" fmla="*/ 181481 w 408739"/>
                <a:gd name="connsiteY247" fmla="*/ 696763 h 1060375"/>
                <a:gd name="connsiteX248" fmla="*/ 183925 w 408739"/>
                <a:gd name="connsiteY248" fmla="*/ 699206 h 1060375"/>
                <a:gd name="connsiteX249" fmla="*/ 183599 w 408739"/>
                <a:gd name="connsiteY249" fmla="*/ 701487 h 1060375"/>
                <a:gd name="connsiteX250" fmla="*/ 175453 w 408739"/>
                <a:gd name="connsiteY250" fmla="*/ 702953 h 1060375"/>
                <a:gd name="connsiteX251" fmla="*/ 170892 w 408739"/>
                <a:gd name="connsiteY251" fmla="*/ 702301 h 1060375"/>
                <a:gd name="connsiteX252" fmla="*/ 163561 w 408739"/>
                <a:gd name="connsiteY252" fmla="*/ 703442 h 1060375"/>
                <a:gd name="connsiteX253" fmla="*/ 158836 w 408739"/>
                <a:gd name="connsiteY253" fmla="*/ 708655 h 1060375"/>
                <a:gd name="connsiteX254" fmla="*/ 153135 w 408739"/>
                <a:gd name="connsiteY254" fmla="*/ 709469 h 1060375"/>
                <a:gd name="connsiteX255" fmla="*/ 148899 w 408739"/>
                <a:gd name="connsiteY255" fmla="*/ 714356 h 1060375"/>
                <a:gd name="connsiteX256" fmla="*/ 145641 w 408739"/>
                <a:gd name="connsiteY256" fmla="*/ 715171 h 1060375"/>
                <a:gd name="connsiteX257" fmla="*/ 143849 w 408739"/>
                <a:gd name="connsiteY257" fmla="*/ 721199 h 1060375"/>
                <a:gd name="connsiteX258" fmla="*/ 141894 w 408739"/>
                <a:gd name="connsiteY258" fmla="*/ 725597 h 1060375"/>
                <a:gd name="connsiteX259" fmla="*/ 136192 w 408739"/>
                <a:gd name="connsiteY259" fmla="*/ 729670 h 1060375"/>
                <a:gd name="connsiteX260" fmla="*/ 135866 w 408739"/>
                <a:gd name="connsiteY260" fmla="*/ 732765 h 1060375"/>
                <a:gd name="connsiteX261" fmla="*/ 138961 w 408739"/>
                <a:gd name="connsiteY261" fmla="*/ 737001 h 1060375"/>
                <a:gd name="connsiteX262" fmla="*/ 138961 w 408739"/>
                <a:gd name="connsiteY262" fmla="*/ 742540 h 1060375"/>
                <a:gd name="connsiteX263" fmla="*/ 144501 w 408739"/>
                <a:gd name="connsiteY263" fmla="*/ 751825 h 1060375"/>
                <a:gd name="connsiteX264" fmla="*/ 149714 w 408739"/>
                <a:gd name="connsiteY264" fmla="*/ 756061 h 1060375"/>
                <a:gd name="connsiteX265" fmla="*/ 153135 w 408739"/>
                <a:gd name="connsiteY265" fmla="*/ 757202 h 1060375"/>
                <a:gd name="connsiteX266" fmla="*/ 159977 w 408739"/>
                <a:gd name="connsiteY266" fmla="*/ 763066 h 1060375"/>
                <a:gd name="connsiteX267" fmla="*/ 170077 w 408739"/>
                <a:gd name="connsiteY267" fmla="*/ 772515 h 1060375"/>
                <a:gd name="connsiteX268" fmla="*/ 178549 w 408739"/>
                <a:gd name="connsiteY268" fmla="*/ 771863 h 1060375"/>
                <a:gd name="connsiteX269" fmla="*/ 183110 w 408739"/>
                <a:gd name="connsiteY269" fmla="*/ 771863 h 1060375"/>
                <a:gd name="connsiteX270" fmla="*/ 185391 w 408739"/>
                <a:gd name="connsiteY270" fmla="*/ 770886 h 1060375"/>
                <a:gd name="connsiteX271" fmla="*/ 189463 w 408739"/>
                <a:gd name="connsiteY271" fmla="*/ 772189 h 1060375"/>
                <a:gd name="connsiteX272" fmla="*/ 191093 w 408739"/>
                <a:gd name="connsiteY272" fmla="*/ 774959 h 1060375"/>
                <a:gd name="connsiteX273" fmla="*/ 189301 w 408739"/>
                <a:gd name="connsiteY273" fmla="*/ 776914 h 1060375"/>
                <a:gd name="connsiteX274" fmla="*/ 189301 w 408739"/>
                <a:gd name="connsiteY274" fmla="*/ 779683 h 1060375"/>
                <a:gd name="connsiteX275" fmla="*/ 192233 w 408739"/>
                <a:gd name="connsiteY275" fmla="*/ 785711 h 1060375"/>
                <a:gd name="connsiteX276" fmla="*/ 192233 w 408739"/>
                <a:gd name="connsiteY276" fmla="*/ 789783 h 1060375"/>
                <a:gd name="connsiteX277" fmla="*/ 187834 w 408739"/>
                <a:gd name="connsiteY277" fmla="*/ 794019 h 1060375"/>
                <a:gd name="connsiteX278" fmla="*/ 190767 w 408739"/>
                <a:gd name="connsiteY278" fmla="*/ 794019 h 1060375"/>
                <a:gd name="connsiteX279" fmla="*/ 195328 w 408739"/>
                <a:gd name="connsiteY279" fmla="*/ 798255 h 1060375"/>
                <a:gd name="connsiteX280" fmla="*/ 192233 w 408739"/>
                <a:gd name="connsiteY280" fmla="*/ 800536 h 1060375"/>
                <a:gd name="connsiteX281" fmla="*/ 191744 w 408739"/>
                <a:gd name="connsiteY281" fmla="*/ 803793 h 1060375"/>
                <a:gd name="connsiteX282" fmla="*/ 192722 w 408739"/>
                <a:gd name="connsiteY282" fmla="*/ 805586 h 1060375"/>
                <a:gd name="connsiteX283" fmla="*/ 188649 w 408739"/>
                <a:gd name="connsiteY283" fmla="*/ 810147 h 1060375"/>
                <a:gd name="connsiteX284" fmla="*/ 184576 w 408739"/>
                <a:gd name="connsiteY284" fmla="*/ 812102 h 1060375"/>
                <a:gd name="connsiteX285" fmla="*/ 183599 w 408739"/>
                <a:gd name="connsiteY285" fmla="*/ 816175 h 1060375"/>
                <a:gd name="connsiteX286" fmla="*/ 180992 w 408739"/>
                <a:gd name="connsiteY286" fmla="*/ 817152 h 1060375"/>
                <a:gd name="connsiteX287" fmla="*/ 177245 w 408739"/>
                <a:gd name="connsiteY287" fmla="*/ 822040 h 1060375"/>
                <a:gd name="connsiteX288" fmla="*/ 175453 w 408739"/>
                <a:gd name="connsiteY288" fmla="*/ 827904 h 1060375"/>
                <a:gd name="connsiteX289" fmla="*/ 170403 w 408739"/>
                <a:gd name="connsiteY289" fmla="*/ 828230 h 1060375"/>
                <a:gd name="connsiteX290" fmla="*/ 164538 w 408739"/>
                <a:gd name="connsiteY290" fmla="*/ 833932 h 1060375"/>
                <a:gd name="connsiteX291" fmla="*/ 163398 w 408739"/>
                <a:gd name="connsiteY291" fmla="*/ 839634 h 1060375"/>
                <a:gd name="connsiteX292" fmla="*/ 161606 w 408739"/>
                <a:gd name="connsiteY292" fmla="*/ 845172 h 1060375"/>
                <a:gd name="connsiteX293" fmla="*/ 157207 w 408739"/>
                <a:gd name="connsiteY293" fmla="*/ 849408 h 1060375"/>
                <a:gd name="connsiteX294" fmla="*/ 156067 w 408739"/>
                <a:gd name="connsiteY294" fmla="*/ 852666 h 1060375"/>
                <a:gd name="connsiteX295" fmla="*/ 158511 w 408739"/>
                <a:gd name="connsiteY295" fmla="*/ 850874 h 1060375"/>
                <a:gd name="connsiteX296" fmla="*/ 162420 w 408739"/>
                <a:gd name="connsiteY296" fmla="*/ 851852 h 1060375"/>
                <a:gd name="connsiteX297" fmla="*/ 164050 w 408739"/>
                <a:gd name="connsiteY297" fmla="*/ 859672 h 1060375"/>
                <a:gd name="connsiteX298" fmla="*/ 162584 w 408739"/>
                <a:gd name="connsiteY298" fmla="*/ 863744 h 1060375"/>
                <a:gd name="connsiteX299" fmla="*/ 158022 w 408739"/>
                <a:gd name="connsiteY299" fmla="*/ 869120 h 1060375"/>
                <a:gd name="connsiteX300" fmla="*/ 157207 w 408739"/>
                <a:gd name="connsiteY300" fmla="*/ 873193 h 1060375"/>
                <a:gd name="connsiteX301" fmla="*/ 151831 w 408739"/>
                <a:gd name="connsiteY301" fmla="*/ 877591 h 1060375"/>
                <a:gd name="connsiteX302" fmla="*/ 147922 w 408739"/>
                <a:gd name="connsiteY302" fmla="*/ 876288 h 1060375"/>
                <a:gd name="connsiteX303" fmla="*/ 144663 w 408739"/>
                <a:gd name="connsiteY303" fmla="*/ 872541 h 1060375"/>
                <a:gd name="connsiteX304" fmla="*/ 141405 w 408739"/>
                <a:gd name="connsiteY304" fmla="*/ 870749 h 1060375"/>
                <a:gd name="connsiteX305" fmla="*/ 143849 w 408739"/>
                <a:gd name="connsiteY305" fmla="*/ 873845 h 1060375"/>
                <a:gd name="connsiteX306" fmla="*/ 143849 w 408739"/>
                <a:gd name="connsiteY306" fmla="*/ 878406 h 1060375"/>
                <a:gd name="connsiteX307" fmla="*/ 145641 w 408739"/>
                <a:gd name="connsiteY307" fmla="*/ 880361 h 1060375"/>
                <a:gd name="connsiteX308" fmla="*/ 143360 w 408739"/>
                <a:gd name="connsiteY308" fmla="*/ 884434 h 1060375"/>
                <a:gd name="connsiteX309" fmla="*/ 137169 w 408739"/>
                <a:gd name="connsiteY309" fmla="*/ 889647 h 1060375"/>
                <a:gd name="connsiteX310" fmla="*/ 134237 w 408739"/>
                <a:gd name="connsiteY310" fmla="*/ 898118 h 1060375"/>
                <a:gd name="connsiteX311" fmla="*/ 135215 w 408739"/>
                <a:gd name="connsiteY311" fmla="*/ 905612 h 1060375"/>
                <a:gd name="connsiteX312" fmla="*/ 140265 w 408739"/>
                <a:gd name="connsiteY312" fmla="*/ 913431 h 1060375"/>
                <a:gd name="connsiteX313" fmla="*/ 144501 w 408739"/>
                <a:gd name="connsiteY313" fmla="*/ 925161 h 1060375"/>
                <a:gd name="connsiteX314" fmla="*/ 144501 w 408739"/>
                <a:gd name="connsiteY314" fmla="*/ 928908 h 1060375"/>
                <a:gd name="connsiteX315" fmla="*/ 145967 w 408739"/>
                <a:gd name="connsiteY315" fmla="*/ 929559 h 1060375"/>
                <a:gd name="connsiteX316" fmla="*/ 144989 w 408739"/>
                <a:gd name="connsiteY316" fmla="*/ 932818 h 1060375"/>
                <a:gd name="connsiteX317" fmla="*/ 141079 w 408739"/>
                <a:gd name="connsiteY317" fmla="*/ 935098 h 1060375"/>
                <a:gd name="connsiteX318" fmla="*/ 143849 w 408739"/>
                <a:gd name="connsiteY318" fmla="*/ 937868 h 1060375"/>
                <a:gd name="connsiteX319" fmla="*/ 146781 w 408739"/>
                <a:gd name="connsiteY319" fmla="*/ 936890 h 1060375"/>
                <a:gd name="connsiteX320" fmla="*/ 151180 w 408739"/>
                <a:gd name="connsiteY320" fmla="*/ 941126 h 1060375"/>
                <a:gd name="connsiteX321" fmla="*/ 152157 w 408739"/>
                <a:gd name="connsiteY321" fmla="*/ 946176 h 1060375"/>
                <a:gd name="connsiteX322" fmla="*/ 160792 w 408739"/>
                <a:gd name="connsiteY322" fmla="*/ 951552 h 1060375"/>
                <a:gd name="connsiteX323" fmla="*/ 166004 w 408739"/>
                <a:gd name="connsiteY323" fmla="*/ 955625 h 1060375"/>
                <a:gd name="connsiteX324" fmla="*/ 166493 w 408739"/>
                <a:gd name="connsiteY324" fmla="*/ 960349 h 1060375"/>
                <a:gd name="connsiteX325" fmla="*/ 164212 w 408739"/>
                <a:gd name="connsiteY325" fmla="*/ 960349 h 1060375"/>
                <a:gd name="connsiteX326" fmla="*/ 158348 w 408739"/>
                <a:gd name="connsiteY326" fmla="*/ 957417 h 1060375"/>
                <a:gd name="connsiteX327" fmla="*/ 151343 w 408739"/>
                <a:gd name="connsiteY327" fmla="*/ 951063 h 1060375"/>
                <a:gd name="connsiteX328" fmla="*/ 145804 w 408739"/>
                <a:gd name="connsiteY328" fmla="*/ 950249 h 1060375"/>
                <a:gd name="connsiteX329" fmla="*/ 144012 w 408739"/>
                <a:gd name="connsiteY329" fmla="*/ 948131 h 1060375"/>
                <a:gd name="connsiteX330" fmla="*/ 110941 w 408739"/>
                <a:gd name="connsiteY330" fmla="*/ 948131 h 1060375"/>
                <a:gd name="connsiteX331" fmla="*/ 92533 w 408739"/>
                <a:gd name="connsiteY331" fmla="*/ 951227 h 1060375"/>
                <a:gd name="connsiteX332" fmla="*/ 88297 w 408739"/>
                <a:gd name="connsiteY332" fmla="*/ 948783 h 1060375"/>
                <a:gd name="connsiteX333" fmla="*/ 75916 w 408739"/>
                <a:gd name="connsiteY333" fmla="*/ 947806 h 1060375"/>
                <a:gd name="connsiteX334" fmla="*/ 71843 w 408739"/>
                <a:gd name="connsiteY334" fmla="*/ 937053 h 1060375"/>
                <a:gd name="connsiteX335" fmla="*/ 69236 w 408739"/>
                <a:gd name="connsiteY335" fmla="*/ 928093 h 1060375"/>
                <a:gd name="connsiteX336" fmla="*/ 63698 w 408739"/>
                <a:gd name="connsiteY336" fmla="*/ 923043 h 1060375"/>
                <a:gd name="connsiteX337" fmla="*/ 62068 w 408739"/>
                <a:gd name="connsiteY337" fmla="*/ 908381 h 1060375"/>
                <a:gd name="connsiteX338" fmla="*/ 62068 w 408739"/>
                <a:gd name="connsiteY338" fmla="*/ 901539 h 1060375"/>
                <a:gd name="connsiteX339" fmla="*/ 56693 w 408739"/>
                <a:gd name="connsiteY339" fmla="*/ 901539 h 1060375"/>
                <a:gd name="connsiteX340" fmla="*/ 48547 w 408739"/>
                <a:gd name="connsiteY340" fmla="*/ 905775 h 1060375"/>
                <a:gd name="connsiteX341" fmla="*/ 44148 w 408739"/>
                <a:gd name="connsiteY341" fmla="*/ 910825 h 1060375"/>
                <a:gd name="connsiteX342" fmla="*/ 38935 w 408739"/>
                <a:gd name="connsiteY342" fmla="*/ 910825 h 1060375"/>
                <a:gd name="connsiteX343" fmla="*/ 27695 w 408739"/>
                <a:gd name="connsiteY343" fmla="*/ 888343 h 1060375"/>
                <a:gd name="connsiteX344" fmla="*/ 26228 w 408739"/>
                <a:gd name="connsiteY344" fmla="*/ 880198 h 1060375"/>
                <a:gd name="connsiteX345" fmla="*/ 29487 w 408739"/>
                <a:gd name="connsiteY345" fmla="*/ 857391 h 1060375"/>
                <a:gd name="connsiteX346" fmla="*/ 34863 w 408739"/>
                <a:gd name="connsiteY346" fmla="*/ 849571 h 1060375"/>
                <a:gd name="connsiteX347" fmla="*/ 43660 w 408739"/>
                <a:gd name="connsiteY347" fmla="*/ 840285 h 1060375"/>
                <a:gd name="connsiteX348" fmla="*/ 46266 w 408739"/>
                <a:gd name="connsiteY348" fmla="*/ 827252 h 1060375"/>
                <a:gd name="connsiteX349" fmla="*/ 43660 w 408739"/>
                <a:gd name="connsiteY349" fmla="*/ 813731 h 1060375"/>
                <a:gd name="connsiteX350" fmla="*/ 40402 w 408739"/>
                <a:gd name="connsiteY350" fmla="*/ 803793 h 1060375"/>
                <a:gd name="connsiteX351" fmla="*/ 42356 w 408739"/>
                <a:gd name="connsiteY351" fmla="*/ 792227 h 1060375"/>
                <a:gd name="connsiteX352" fmla="*/ 47569 w 408739"/>
                <a:gd name="connsiteY352" fmla="*/ 786363 h 1060375"/>
                <a:gd name="connsiteX353" fmla="*/ 42519 w 408739"/>
                <a:gd name="connsiteY353" fmla="*/ 774307 h 1060375"/>
                <a:gd name="connsiteX354" fmla="*/ 43334 w 408739"/>
                <a:gd name="connsiteY354" fmla="*/ 768442 h 1060375"/>
                <a:gd name="connsiteX355" fmla="*/ 47895 w 408739"/>
                <a:gd name="connsiteY355" fmla="*/ 763718 h 1060375"/>
                <a:gd name="connsiteX356" fmla="*/ 44963 w 408739"/>
                <a:gd name="connsiteY356" fmla="*/ 752803 h 1060375"/>
                <a:gd name="connsiteX357" fmla="*/ 43008 w 408739"/>
                <a:gd name="connsiteY357" fmla="*/ 738630 h 1060375"/>
                <a:gd name="connsiteX358" fmla="*/ 39750 w 408739"/>
                <a:gd name="connsiteY358" fmla="*/ 731951 h 1060375"/>
                <a:gd name="connsiteX359" fmla="*/ 40239 w 408739"/>
                <a:gd name="connsiteY359" fmla="*/ 726900 h 1060375"/>
                <a:gd name="connsiteX360" fmla="*/ 46755 w 408739"/>
                <a:gd name="connsiteY360" fmla="*/ 721199 h 1060375"/>
                <a:gd name="connsiteX361" fmla="*/ 46755 w 408739"/>
                <a:gd name="connsiteY361" fmla="*/ 715334 h 1060375"/>
                <a:gd name="connsiteX362" fmla="*/ 41379 w 408739"/>
                <a:gd name="connsiteY362" fmla="*/ 705885 h 1060375"/>
                <a:gd name="connsiteX363" fmla="*/ 32908 w 408739"/>
                <a:gd name="connsiteY363" fmla="*/ 700020 h 1060375"/>
                <a:gd name="connsiteX364" fmla="*/ 27532 w 408739"/>
                <a:gd name="connsiteY364" fmla="*/ 700020 h 1060375"/>
                <a:gd name="connsiteX365" fmla="*/ 25902 w 408739"/>
                <a:gd name="connsiteY365" fmla="*/ 701487 h 1060375"/>
                <a:gd name="connsiteX366" fmla="*/ 22807 w 408739"/>
                <a:gd name="connsiteY366" fmla="*/ 698391 h 1060375"/>
                <a:gd name="connsiteX367" fmla="*/ 24599 w 408739"/>
                <a:gd name="connsiteY367" fmla="*/ 693993 h 1060375"/>
                <a:gd name="connsiteX368" fmla="*/ 36166 w 408739"/>
                <a:gd name="connsiteY368" fmla="*/ 693993 h 1060375"/>
                <a:gd name="connsiteX369" fmla="*/ 41868 w 408739"/>
                <a:gd name="connsiteY369" fmla="*/ 687477 h 1060375"/>
                <a:gd name="connsiteX370" fmla="*/ 41542 w 408739"/>
                <a:gd name="connsiteY370" fmla="*/ 681286 h 1060375"/>
                <a:gd name="connsiteX371" fmla="*/ 38121 w 408739"/>
                <a:gd name="connsiteY371" fmla="*/ 679820 h 1060375"/>
                <a:gd name="connsiteX372" fmla="*/ 34211 w 408739"/>
                <a:gd name="connsiteY372" fmla="*/ 682589 h 1060375"/>
                <a:gd name="connsiteX373" fmla="*/ 29487 w 408739"/>
                <a:gd name="connsiteY373" fmla="*/ 681612 h 1060375"/>
                <a:gd name="connsiteX374" fmla="*/ 27043 w 408739"/>
                <a:gd name="connsiteY374" fmla="*/ 669882 h 1060375"/>
                <a:gd name="connsiteX375" fmla="*/ 22319 w 408739"/>
                <a:gd name="connsiteY375" fmla="*/ 659619 h 1060375"/>
                <a:gd name="connsiteX376" fmla="*/ 21993 w 408739"/>
                <a:gd name="connsiteY376" fmla="*/ 652288 h 1060375"/>
                <a:gd name="connsiteX377" fmla="*/ 22482 w 408739"/>
                <a:gd name="connsiteY377" fmla="*/ 643654 h 1060375"/>
                <a:gd name="connsiteX378" fmla="*/ 14336 w 408739"/>
                <a:gd name="connsiteY378" fmla="*/ 640884 h 1060375"/>
                <a:gd name="connsiteX379" fmla="*/ 11893 w 408739"/>
                <a:gd name="connsiteY379" fmla="*/ 633391 h 1060375"/>
                <a:gd name="connsiteX380" fmla="*/ 10752 w 408739"/>
                <a:gd name="connsiteY380" fmla="*/ 613842 h 1060375"/>
                <a:gd name="connsiteX381" fmla="*/ 16291 w 408739"/>
                <a:gd name="connsiteY381" fmla="*/ 610095 h 1060375"/>
                <a:gd name="connsiteX382" fmla="*/ 17920 w 408739"/>
                <a:gd name="connsiteY382" fmla="*/ 603415 h 1060375"/>
                <a:gd name="connsiteX383" fmla="*/ 15151 w 408739"/>
                <a:gd name="connsiteY383" fmla="*/ 598202 h 1060375"/>
                <a:gd name="connsiteX384" fmla="*/ 10426 w 408739"/>
                <a:gd name="connsiteY384" fmla="*/ 595759 h 1060375"/>
                <a:gd name="connsiteX385" fmla="*/ 8145 w 408739"/>
                <a:gd name="connsiteY385" fmla="*/ 583704 h 1060375"/>
                <a:gd name="connsiteX386" fmla="*/ 7168 w 408739"/>
                <a:gd name="connsiteY386" fmla="*/ 566924 h 1060375"/>
                <a:gd name="connsiteX387" fmla="*/ 8797 w 408739"/>
                <a:gd name="connsiteY387" fmla="*/ 547700 h 1060375"/>
                <a:gd name="connsiteX388" fmla="*/ 4073 w 408739"/>
                <a:gd name="connsiteY388" fmla="*/ 539718 h 1060375"/>
                <a:gd name="connsiteX389" fmla="*/ 2932 w 408739"/>
                <a:gd name="connsiteY389" fmla="*/ 530921 h 1060375"/>
                <a:gd name="connsiteX390" fmla="*/ 12381 w 408739"/>
                <a:gd name="connsiteY390" fmla="*/ 518377 h 1060375"/>
                <a:gd name="connsiteX391" fmla="*/ 13847 w 408739"/>
                <a:gd name="connsiteY391" fmla="*/ 504367 h 1060375"/>
                <a:gd name="connsiteX392" fmla="*/ 20690 w 408739"/>
                <a:gd name="connsiteY392" fmla="*/ 501108 h 1060375"/>
                <a:gd name="connsiteX393" fmla="*/ 24436 w 408739"/>
                <a:gd name="connsiteY393" fmla="*/ 496710 h 1060375"/>
                <a:gd name="connsiteX394" fmla="*/ 9123 w 408739"/>
                <a:gd name="connsiteY394" fmla="*/ 466734 h 1060375"/>
                <a:gd name="connsiteX395" fmla="*/ 10915 w 408739"/>
                <a:gd name="connsiteY395" fmla="*/ 456797 h 1060375"/>
                <a:gd name="connsiteX396" fmla="*/ 10915 w 408739"/>
                <a:gd name="connsiteY396" fmla="*/ 431709 h 1060375"/>
                <a:gd name="connsiteX397" fmla="*/ 16128 w 408739"/>
                <a:gd name="connsiteY397" fmla="*/ 420957 h 1060375"/>
                <a:gd name="connsiteX398" fmla="*/ 22156 w 408739"/>
                <a:gd name="connsiteY398" fmla="*/ 414767 h 1060375"/>
                <a:gd name="connsiteX399" fmla="*/ 20852 w 408739"/>
                <a:gd name="connsiteY399" fmla="*/ 405481 h 1060375"/>
                <a:gd name="connsiteX400" fmla="*/ 15639 w 408739"/>
                <a:gd name="connsiteY400" fmla="*/ 396847 h 1060375"/>
                <a:gd name="connsiteX401" fmla="*/ 12218 w 408739"/>
                <a:gd name="connsiteY401" fmla="*/ 393914 h 1060375"/>
                <a:gd name="connsiteX402" fmla="*/ 18083 w 408739"/>
                <a:gd name="connsiteY402" fmla="*/ 385280 h 1060375"/>
                <a:gd name="connsiteX403" fmla="*/ 16617 w 408739"/>
                <a:gd name="connsiteY403" fmla="*/ 375180 h 1060375"/>
                <a:gd name="connsiteX404" fmla="*/ 20852 w 408739"/>
                <a:gd name="connsiteY404" fmla="*/ 364916 h 1060375"/>
                <a:gd name="connsiteX405" fmla="*/ 25902 w 408739"/>
                <a:gd name="connsiteY405" fmla="*/ 363287 h 1060375"/>
                <a:gd name="connsiteX406" fmla="*/ 27206 w 408739"/>
                <a:gd name="connsiteY406" fmla="*/ 351069 h 1060375"/>
                <a:gd name="connsiteX407" fmla="*/ 24925 w 408739"/>
                <a:gd name="connsiteY407" fmla="*/ 331357 h 1060375"/>
                <a:gd name="connsiteX408" fmla="*/ 21178 w 408739"/>
                <a:gd name="connsiteY408" fmla="*/ 327936 h 1060375"/>
                <a:gd name="connsiteX409" fmla="*/ 18083 w 408739"/>
                <a:gd name="connsiteY409" fmla="*/ 312948 h 1060375"/>
                <a:gd name="connsiteX410" fmla="*/ 14010 w 408739"/>
                <a:gd name="connsiteY410" fmla="*/ 305129 h 1060375"/>
                <a:gd name="connsiteX411" fmla="*/ 8145 w 408739"/>
                <a:gd name="connsiteY411" fmla="*/ 295680 h 1060375"/>
                <a:gd name="connsiteX412" fmla="*/ 7168 w 408739"/>
                <a:gd name="connsiteY412" fmla="*/ 290956 h 1060375"/>
                <a:gd name="connsiteX413" fmla="*/ 2607 w 408739"/>
                <a:gd name="connsiteY413" fmla="*/ 284765 h 1060375"/>
                <a:gd name="connsiteX414" fmla="*/ 0 w 408739"/>
                <a:gd name="connsiteY414" fmla="*/ 272221 h 1060375"/>
                <a:gd name="connsiteX415" fmla="*/ 1303 w 408739"/>
                <a:gd name="connsiteY415" fmla="*/ 262447 h 1060375"/>
                <a:gd name="connsiteX416" fmla="*/ 8471 w 408739"/>
                <a:gd name="connsiteY416" fmla="*/ 259188 h 1060375"/>
                <a:gd name="connsiteX417" fmla="*/ 8471 w 408739"/>
                <a:gd name="connsiteY417" fmla="*/ 246481 h 1060375"/>
                <a:gd name="connsiteX418" fmla="*/ 12707 w 408739"/>
                <a:gd name="connsiteY418" fmla="*/ 241268 h 1060375"/>
                <a:gd name="connsiteX419" fmla="*/ 13033 w 408739"/>
                <a:gd name="connsiteY419" fmla="*/ 230028 h 1060375"/>
                <a:gd name="connsiteX420" fmla="*/ 8471 w 408739"/>
                <a:gd name="connsiteY420" fmla="*/ 221556 h 1060375"/>
                <a:gd name="connsiteX421" fmla="*/ 7657 w 408739"/>
                <a:gd name="connsiteY421" fmla="*/ 205591 h 1060375"/>
                <a:gd name="connsiteX422" fmla="*/ 11241 w 408739"/>
                <a:gd name="connsiteY422" fmla="*/ 202007 h 1060375"/>
                <a:gd name="connsiteX423" fmla="*/ 13033 w 408739"/>
                <a:gd name="connsiteY423" fmla="*/ 183110 h 1060375"/>
                <a:gd name="connsiteX424" fmla="*/ 17757 w 408739"/>
                <a:gd name="connsiteY424" fmla="*/ 176593 h 1060375"/>
                <a:gd name="connsiteX425" fmla="*/ 24599 w 408739"/>
                <a:gd name="connsiteY425" fmla="*/ 159488 h 1060375"/>
                <a:gd name="connsiteX426" fmla="*/ 31279 w 408739"/>
                <a:gd name="connsiteY426" fmla="*/ 152646 h 1060375"/>
                <a:gd name="connsiteX427" fmla="*/ 36329 w 408739"/>
                <a:gd name="connsiteY427" fmla="*/ 150039 h 1060375"/>
                <a:gd name="connsiteX428" fmla="*/ 40239 w 408739"/>
                <a:gd name="connsiteY428" fmla="*/ 145478 h 1060375"/>
                <a:gd name="connsiteX429" fmla="*/ 37795 w 408739"/>
                <a:gd name="connsiteY429" fmla="*/ 142871 h 1060375"/>
                <a:gd name="connsiteX430" fmla="*/ 37469 w 408739"/>
                <a:gd name="connsiteY430" fmla="*/ 135703 h 1060375"/>
                <a:gd name="connsiteX431" fmla="*/ 35677 w 408739"/>
                <a:gd name="connsiteY431" fmla="*/ 131956 h 1060375"/>
                <a:gd name="connsiteX432" fmla="*/ 32582 w 408739"/>
                <a:gd name="connsiteY432" fmla="*/ 129350 h 1060375"/>
                <a:gd name="connsiteX433" fmla="*/ 33722 w 408739"/>
                <a:gd name="connsiteY433" fmla="*/ 124300 h 1060375"/>
                <a:gd name="connsiteX434" fmla="*/ 38284 w 408739"/>
                <a:gd name="connsiteY434" fmla="*/ 120879 h 1060375"/>
                <a:gd name="connsiteX435" fmla="*/ 38284 w 408739"/>
                <a:gd name="connsiteY435" fmla="*/ 114362 h 1060375"/>
                <a:gd name="connsiteX436" fmla="*/ 32745 w 408739"/>
                <a:gd name="connsiteY436" fmla="*/ 107357 h 1060375"/>
                <a:gd name="connsiteX437" fmla="*/ 31279 w 408739"/>
                <a:gd name="connsiteY437" fmla="*/ 98723 h 1060375"/>
                <a:gd name="connsiteX438" fmla="*/ 34374 w 408739"/>
                <a:gd name="connsiteY438" fmla="*/ 93184 h 1060375"/>
                <a:gd name="connsiteX439" fmla="*/ 33071 w 408739"/>
                <a:gd name="connsiteY439" fmla="*/ 88622 h 1060375"/>
                <a:gd name="connsiteX440" fmla="*/ 27695 w 408739"/>
                <a:gd name="connsiteY440" fmla="*/ 84224 h 1060375"/>
                <a:gd name="connsiteX441" fmla="*/ 29650 w 408739"/>
                <a:gd name="connsiteY441" fmla="*/ 77545 h 1060375"/>
                <a:gd name="connsiteX442" fmla="*/ 60276 w 408739"/>
                <a:gd name="connsiteY442" fmla="*/ 61254 h 1060375"/>
                <a:gd name="connsiteX443" fmla="*/ 66956 w 408739"/>
                <a:gd name="connsiteY443" fmla="*/ 32256 h 1060375"/>
                <a:gd name="connsiteX444" fmla="*/ 63535 w 408739"/>
                <a:gd name="connsiteY444" fmla="*/ 25414 h 1060375"/>
                <a:gd name="connsiteX445" fmla="*/ 63535 w 408739"/>
                <a:gd name="connsiteY445" fmla="*/ 25414 h 1060375"/>
                <a:gd name="connsiteX446" fmla="*/ 273036 w 408739"/>
                <a:gd name="connsiteY446" fmla="*/ 1047668 h 1060375"/>
                <a:gd name="connsiteX447" fmla="*/ 277109 w 408739"/>
                <a:gd name="connsiteY447" fmla="*/ 1051252 h 1060375"/>
                <a:gd name="connsiteX448" fmla="*/ 282810 w 408739"/>
                <a:gd name="connsiteY448" fmla="*/ 1047668 h 1060375"/>
                <a:gd name="connsiteX449" fmla="*/ 288024 w 408739"/>
                <a:gd name="connsiteY449" fmla="*/ 1046365 h 1060375"/>
                <a:gd name="connsiteX450" fmla="*/ 292585 w 408739"/>
                <a:gd name="connsiteY450" fmla="*/ 1041967 h 1060375"/>
                <a:gd name="connsiteX451" fmla="*/ 286720 w 408739"/>
                <a:gd name="connsiteY451" fmla="*/ 1041641 h 1060375"/>
                <a:gd name="connsiteX452" fmla="*/ 283136 w 408739"/>
                <a:gd name="connsiteY452" fmla="*/ 1045225 h 1060375"/>
                <a:gd name="connsiteX453" fmla="*/ 276294 w 408739"/>
                <a:gd name="connsiteY453" fmla="*/ 1045551 h 1060375"/>
                <a:gd name="connsiteX454" fmla="*/ 273199 w 408739"/>
                <a:gd name="connsiteY454" fmla="*/ 1047506 h 1060375"/>
                <a:gd name="connsiteX455" fmla="*/ 273199 w 408739"/>
                <a:gd name="connsiteY455" fmla="*/ 1047506 h 1060375"/>
                <a:gd name="connsiteX456" fmla="*/ 158348 w 408739"/>
                <a:gd name="connsiteY456" fmla="*/ 966214 h 1060375"/>
                <a:gd name="connsiteX457" fmla="*/ 159325 w 408739"/>
                <a:gd name="connsiteY457" fmla="*/ 965725 h 1060375"/>
                <a:gd name="connsiteX458" fmla="*/ 163235 w 408739"/>
                <a:gd name="connsiteY458" fmla="*/ 971427 h 1060375"/>
                <a:gd name="connsiteX459" fmla="*/ 171543 w 408739"/>
                <a:gd name="connsiteY459" fmla="*/ 979736 h 1060375"/>
                <a:gd name="connsiteX460" fmla="*/ 174150 w 408739"/>
                <a:gd name="connsiteY460" fmla="*/ 992279 h 1060375"/>
                <a:gd name="connsiteX461" fmla="*/ 171381 w 408739"/>
                <a:gd name="connsiteY461" fmla="*/ 989510 h 1060375"/>
                <a:gd name="connsiteX462" fmla="*/ 167471 w 408739"/>
                <a:gd name="connsiteY462" fmla="*/ 991139 h 1060375"/>
                <a:gd name="connsiteX463" fmla="*/ 165679 w 408739"/>
                <a:gd name="connsiteY463" fmla="*/ 995212 h 1060375"/>
                <a:gd name="connsiteX464" fmla="*/ 158348 w 408739"/>
                <a:gd name="connsiteY464" fmla="*/ 966214 h 1060375"/>
                <a:gd name="connsiteX465" fmla="*/ 158348 w 408739"/>
                <a:gd name="connsiteY465" fmla="*/ 966214 h 1060375"/>
                <a:gd name="connsiteX466" fmla="*/ 166004 w 408739"/>
                <a:gd name="connsiteY466" fmla="*/ 996515 h 1060375"/>
                <a:gd name="connsiteX467" fmla="*/ 171543 w 408739"/>
                <a:gd name="connsiteY467" fmla="*/ 998633 h 1060375"/>
                <a:gd name="connsiteX468" fmla="*/ 177734 w 408739"/>
                <a:gd name="connsiteY468" fmla="*/ 997493 h 1060375"/>
                <a:gd name="connsiteX469" fmla="*/ 180503 w 408739"/>
                <a:gd name="connsiteY469" fmla="*/ 1002543 h 1060375"/>
                <a:gd name="connsiteX470" fmla="*/ 183436 w 408739"/>
                <a:gd name="connsiteY470" fmla="*/ 1011014 h 1060375"/>
                <a:gd name="connsiteX471" fmla="*/ 190115 w 408739"/>
                <a:gd name="connsiteY471" fmla="*/ 1011991 h 1060375"/>
                <a:gd name="connsiteX472" fmla="*/ 196631 w 408739"/>
                <a:gd name="connsiteY472" fmla="*/ 1017368 h 1060375"/>
                <a:gd name="connsiteX473" fmla="*/ 196957 w 408739"/>
                <a:gd name="connsiteY473" fmla="*/ 1023232 h 1060375"/>
                <a:gd name="connsiteX474" fmla="*/ 202496 w 408739"/>
                <a:gd name="connsiteY474" fmla="*/ 1025024 h 1060375"/>
                <a:gd name="connsiteX475" fmla="*/ 222371 w 408739"/>
                <a:gd name="connsiteY475" fmla="*/ 1031541 h 1060375"/>
                <a:gd name="connsiteX476" fmla="*/ 224815 w 408739"/>
                <a:gd name="connsiteY476" fmla="*/ 1034310 h 1060375"/>
                <a:gd name="connsiteX477" fmla="*/ 232146 w 408739"/>
                <a:gd name="connsiteY477" fmla="*/ 1036591 h 1060375"/>
                <a:gd name="connsiteX478" fmla="*/ 238336 w 408739"/>
                <a:gd name="connsiteY478" fmla="*/ 1042293 h 1060375"/>
                <a:gd name="connsiteX479" fmla="*/ 243712 w 408739"/>
                <a:gd name="connsiteY479" fmla="*/ 1042781 h 1060375"/>
                <a:gd name="connsiteX480" fmla="*/ 253161 w 408739"/>
                <a:gd name="connsiteY480" fmla="*/ 1040500 h 1060375"/>
                <a:gd name="connsiteX481" fmla="*/ 257559 w 408739"/>
                <a:gd name="connsiteY481" fmla="*/ 1042130 h 1060375"/>
                <a:gd name="connsiteX482" fmla="*/ 258537 w 408739"/>
                <a:gd name="connsiteY482" fmla="*/ 1046528 h 1060375"/>
                <a:gd name="connsiteX483" fmla="*/ 252020 w 408739"/>
                <a:gd name="connsiteY483" fmla="*/ 1050275 h 1060375"/>
                <a:gd name="connsiteX484" fmla="*/ 249577 w 408739"/>
                <a:gd name="connsiteY484" fmla="*/ 1048320 h 1060375"/>
                <a:gd name="connsiteX485" fmla="*/ 244038 w 408739"/>
                <a:gd name="connsiteY485" fmla="*/ 1049949 h 1060375"/>
                <a:gd name="connsiteX486" fmla="*/ 242898 w 408739"/>
                <a:gd name="connsiteY486" fmla="*/ 1054348 h 1060375"/>
                <a:gd name="connsiteX487" fmla="*/ 238336 w 408739"/>
                <a:gd name="connsiteY487" fmla="*/ 1058909 h 1060375"/>
                <a:gd name="connsiteX488" fmla="*/ 232634 w 408739"/>
                <a:gd name="connsiteY488" fmla="*/ 1060375 h 1060375"/>
                <a:gd name="connsiteX489" fmla="*/ 226770 w 408739"/>
                <a:gd name="connsiteY489" fmla="*/ 1058421 h 1060375"/>
                <a:gd name="connsiteX490" fmla="*/ 221068 w 408739"/>
                <a:gd name="connsiteY490" fmla="*/ 1055325 h 1060375"/>
                <a:gd name="connsiteX491" fmla="*/ 210642 w 408739"/>
                <a:gd name="connsiteY491" fmla="*/ 1054185 h 1060375"/>
                <a:gd name="connsiteX492" fmla="*/ 203311 w 408739"/>
                <a:gd name="connsiteY492" fmla="*/ 1054674 h 1060375"/>
                <a:gd name="connsiteX493" fmla="*/ 192559 w 408739"/>
                <a:gd name="connsiteY493" fmla="*/ 1053697 h 1060375"/>
                <a:gd name="connsiteX494" fmla="*/ 183925 w 408739"/>
                <a:gd name="connsiteY494" fmla="*/ 1056629 h 1060375"/>
                <a:gd name="connsiteX495" fmla="*/ 181155 w 408739"/>
                <a:gd name="connsiteY495" fmla="*/ 1056629 h 1060375"/>
                <a:gd name="connsiteX496" fmla="*/ 178711 w 408739"/>
                <a:gd name="connsiteY496" fmla="*/ 1047017 h 1060375"/>
                <a:gd name="connsiteX497" fmla="*/ 190930 w 408739"/>
                <a:gd name="connsiteY497" fmla="*/ 1046528 h 1060375"/>
                <a:gd name="connsiteX498" fmla="*/ 197772 w 408739"/>
                <a:gd name="connsiteY498" fmla="*/ 1044084 h 1060375"/>
                <a:gd name="connsiteX499" fmla="*/ 202008 w 408739"/>
                <a:gd name="connsiteY499" fmla="*/ 1043270 h 1060375"/>
                <a:gd name="connsiteX500" fmla="*/ 202822 w 408739"/>
                <a:gd name="connsiteY500" fmla="*/ 1041641 h 1060375"/>
                <a:gd name="connsiteX501" fmla="*/ 195980 w 408739"/>
                <a:gd name="connsiteY501" fmla="*/ 1042944 h 1060375"/>
                <a:gd name="connsiteX502" fmla="*/ 188975 w 408739"/>
                <a:gd name="connsiteY502" fmla="*/ 1042944 h 1060375"/>
                <a:gd name="connsiteX503" fmla="*/ 179852 w 408739"/>
                <a:gd name="connsiteY503" fmla="*/ 1044736 h 1060375"/>
                <a:gd name="connsiteX504" fmla="*/ 178060 w 408739"/>
                <a:gd name="connsiteY504" fmla="*/ 1044247 h 1060375"/>
                <a:gd name="connsiteX505" fmla="*/ 166004 w 408739"/>
                <a:gd name="connsiteY505" fmla="*/ 996515 h 10603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</a:cxnLst>
              <a:rect l="l" t="t" r="r" b="b"/>
              <a:pathLst>
                <a:path w="408739" h="1060375">
                  <a:moveTo>
                    <a:pt x="62883" y="25902"/>
                  </a:moveTo>
                  <a:lnTo>
                    <a:pt x="66141" y="21830"/>
                  </a:lnTo>
                  <a:lnTo>
                    <a:pt x="70540" y="12544"/>
                  </a:lnTo>
                  <a:lnTo>
                    <a:pt x="80477" y="2281"/>
                  </a:lnTo>
                  <a:lnTo>
                    <a:pt x="87156" y="0"/>
                  </a:lnTo>
                  <a:lnTo>
                    <a:pt x="93510" y="5539"/>
                  </a:lnTo>
                  <a:lnTo>
                    <a:pt x="100841" y="4724"/>
                  </a:lnTo>
                  <a:lnTo>
                    <a:pt x="105239" y="3584"/>
                  </a:lnTo>
                  <a:lnTo>
                    <a:pt x="110778" y="5050"/>
                  </a:lnTo>
                  <a:lnTo>
                    <a:pt x="120064" y="3258"/>
                  </a:lnTo>
                  <a:lnTo>
                    <a:pt x="124788" y="3910"/>
                  </a:lnTo>
                  <a:lnTo>
                    <a:pt x="125929" y="10589"/>
                  </a:lnTo>
                  <a:lnTo>
                    <a:pt x="129676" y="21341"/>
                  </a:lnTo>
                  <a:lnTo>
                    <a:pt x="131468" y="24273"/>
                  </a:lnTo>
                  <a:lnTo>
                    <a:pt x="133749" y="21341"/>
                  </a:lnTo>
                  <a:lnTo>
                    <a:pt x="133423" y="16617"/>
                  </a:lnTo>
                  <a:lnTo>
                    <a:pt x="136355" y="11729"/>
                  </a:lnTo>
                  <a:lnTo>
                    <a:pt x="136355" y="7005"/>
                  </a:lnTo>
                  <a:lnTo>
                    <a:pt x="140428" y="1140"/>
                  </a:lnTo>
                  <a:lnTo>
                    <a:pt x="155252" y="1140"/>
                  </a:lnTo>
                  <a:lnTo>
                    <a:pt x="168122" y="1466"/>
                  </a:lnTo>
                  <a:lnTo>
                    <a:pt x="173661" y="6679"/>
                  </a:lnTo>
                  <a:lnTo>
                    <a:pt x="179526" y="12870"/>
                  </a:lnTo>
                  <a:lnTo>
                    <a:pt x="184250" y="14010"/>
                  </a:lnTo>
                  <a:lnTo>
                    <a:pt x="190604" y="25414"/>
                  </a:lnTo>
                  <a:lnTo>
                    <a:pt x="206406" y="41216"/>
                  </a:lnTo>
                  <a:lnTo>
                    <a:pt x="212596" y="42030"/>
                  </a:lnTo>
                  <a:lnTo>
                    <a:pt x="218950" y="47569"/>
                  </a:lnTo>
                  <a:lnTo>
                    <a:pt x="223023" y="54249"/>
                  </a:lnTo>
                  <a:lnTo>
                    <a:pt x="238499" y="57996"/>
                  </a:lnTo>
                  <a:lnTo>
                    <a:pt x="248436" y="63209"/>
                  </a:lnTo>
                  <a:lnTo>
                    <a:pt x="252998" y="64186"/>
                  </a:lnTo>
                  <a:lnTo>
                    <a:pt x="264239" y="73961"/>
                  </a:lnTo>
                  <a:lnTo>
                    <a:pt x="275642" y="79663"/>
                  </a:lnTo>
                  <a:lnTo>
                    <a:pt x="290956" y="81617"/>
                  </a:lnTo>
                  <a:lnTo>
                    <a:pt x="296984" y="88460"/>
                  </a:lnTo>
                  <a:lnTo>
                    <a:pt x="304477" y="94650"/>
                  </a:lnTo>
                  <a:lnTo>
                    <a:pt x="307410" y="100841"/>
                  </a:lnTo>
                  <a:lnTo>
                    <a:pt x="305781" y="106380"/>
                  </a:lnTo>
                  <a:lnTo>
                    <a:pt x="301871" y="112407"/>
                  </a:lnTo>
                  <a:lnTo>
                    <a:pt x="297472" y="115665"/>
                  </a:lnTo>
                  <a:lnTo>
                    <a:pt x="294866" y="119901"/>
                  </a:lnTo>
                  <a:lnTo>
                    <a:pt x="296332" y="125277"/>
                  </a:lnTo>
                  <a:lnTo>
                    <a:pt x="292585" y="135214"/>
                  </a:lnTo>
                  <a:lnTo>
                    <a:pt x="284602" y="143360"/>
                  </a:lnTo>
                  <a:lnTo>
                    <a:pt x="283136" y="149062"/>
                  </a:lnTo>
                  <a:lnTo>
                    <a:pt x="287535" y="149062"/>
                  </a:lnTo>
                  <a:cubicBezTo>
                    <a:pt x="287535" y="149062"/>
                    <a:pt x="305618" y="146129"/>
                    <a:pt x="305618" y="146129"/>
                  </a:cubicBezTo>
                  <a:lnTo>
                    <a:pt x="320931" y="150691"/>
                  </a:lnTo>
                  <a:lnTo>
                    <a:pt x="331683" y="157207"/>
                  </a:lnTo>
                  <a:lnTo>
                    <a:pt x="337548" y="154601"/>
                  </a:lnTo>
                  <a:lnTo>
                    <a:pt x="340806" y="154601"/>
                  </a:lnTo>
                  <a:lnTo>
                    <a:pt x="343413" y="157370"/>
                  </a:lnTo>
                  <a:lnTo>
                    <a:pt x="348626" y="150691"/>
                  </a:lnTo>
                  <a:lnTo>
                    <a:pt x="351069" y="149388"/>
                  </a:lnTo>
                  <a:lnTo>
                    <a:pt x="356608" y="151017"/>
                  </a:lnTo>
                  <a:lnTo>
                    <a:pt x="361170" y="145315"/>
                  </a:lnTo>
                  <a:lnTo>
                    <a:pt x="363125" y="138636"/>
                  </a:lnTo>
                  <a:lnTo>
                    <a:pt x="374691" y="130490"/>
                  </a:lnTo>
                  <a:lnTo>
                    <a:pt x="376320" y="124951"/>
                  </a:lnTo>
                  <a:lnTo>
                    <a:pt x="379741" y="118761"/>
                  </a:lnTo>
                  <a:lnTo>
                    <a:pt x="384303" y="114851"/>
                  </a:lnTo>
                  <a:lnTo>
                    <a:pt x="384792" y="105402"/>
                  </a:lnTo>
                  <a:lnTo>
                    <a:pt x="383814" y="102796"/>
                  </a:lnTo>
                  <a:lnTo>
                    <a:pt x="384303" y="95628"/>
                  </a:lnTo>
                  <a:lnTo>
                    <a:pt x="390167" y="91718"/>
                  </a:lnTo>
                  <a:lnTo>
                    <a:pt x="401897" y="93347"/>
                  </a:lnTo>
                  <a:lnTo>
                    <a:pt x="402223" y="98560"/>
                  </a:lnTo>
                  <a:lnTo>
                    <a:pt x="406947" y="109475"/>
                  </a:lnTo>
                  <a:lnTo>
                    <a:pt x="406621" y="118109"/>
                  </a:lnTo>
                  <a:lnTo>
                    <a:pt x="407762" y="128047"/>
                  </a:lnTo>
                  <a:lnTo>
                    <a:pt x="408739" y="137332"/>
                  </a:lnTo>
                  <a:lnTo>
                    <a:pt x="407273" y="141079"/>
                  </a:lnTo>
                  <a:lnTo>
                    <a:pt x="402060" y="141079"/>
                  </a:lnTo>
                  <a:cubicBezTo>
                    <a:pt x="402060" y="141079"/>
                    <a:pt x="395869" y="144174"/>
                    <a:pt x="395869" y="144174"/>
                  </a:cubicBezTo>
                  <a:lnTo>
                    <a:pt x="394892" y="146129"/>
                  </a:lnTo>
                  <a:lnTo>
                    <a:pt x="391145" y="149225"/>
                  </a:lnTo>
                  <a:lnTo>
                    <a:pt x="389516" y="148247"/>
                  </a:lnTo>
                  <a:lnTo>
                    <a:pt x="379090" y="155252"/>
                  </a:lnTo>
                  <a:lnTo>
                    <a:pt x="377135" y="158511"/>
                  </a:lnTo>
                  <a:lnTo>
                    <a:pt x="373062" y="159651"/>
                  </a:lnTo>
                  <a:lnTo>
                    <a:pt x="363450" y="167633"/>
                  </a:lnTo>
                  <a:lnTo>
                    <a:pt x="360355" y="168774"/>
                  </a:lnTo>
                  <a:lnTo>
                    <a:pt x="360029" y="174964"/>
                  </a:lnTo>
                  <a:lnTo>
                    <a:pt x="356608" y="176105"/>
                  </a:lnTo>
                  <a:lnTo>
                    <a:pt x="353513" y="175616"/>
                  </a:lnTo>
                  <a:lnTo>
                    <a:pt x="345367" y="185554"/>
                  </a:lnTo>
                  <a:lnTo>
                    <a:pt x="343901" y="189463"/>
                  </a:lnTo>
                  <a:lnTo>
                    <a:pt x="343901" y="195165"/>
                  </a:lnTo>
                  <a:cubicBezTo>
                    <a:pt x="343901" y="195165"/>
                    <a:pt x="340480" y="196305"/>
                    <a:pt x="340480" y="196305"/>
                  </a:cubicBezTo>
                  <a:lnTo>
                    <a:pt x="338525" y="199401"/>
                  </a:lnTo>
                  <a:lnTo>
                    <a:pt x="333312" y="208849"/>
                  </a:lnTo>
                  <a:lnTo>
                    <a:pt x="329565" y="212759"/>
                  </a:lnTo>
                  <a:lnTo>
                    <a:pt x="325330" y="219764"/>
                  </a:lnTo>
                  <a:lnTo>
                    <a:pt x="325330" y="222208"/>
                  </a:lnTo>
                  <a:lnTo>
                    <a:pt x="320605" y="225466"/>
                  </a:lnTo>
                  <a:lnTo>
                    <a:pt x="319465" y="229213"/>
                  </a:lnTo>
                  <a:lnTo>
                    <a:pt x="317021" y="234915"/>
                  </a:lnTo>
                  <a:lnTo>
                    <a:pt x="312460" y="240780"/>
                  </a:lnTo>
                  <a:lnTo>
                    <a:pt x="314089" y="248925"/>
                  </a:lnTo>
                  <a:lnTo>
                    <a:pt x="312134" y="252835"/>
                  </a:lnTo>
                  <a:lnTo>
                    <a:pt x="313600" y="257071"/>
                  </a:lnTo>
                  <a:lnTo>
                    <a:pt x="312623" y="268474"/>
                  </a:lnTo>
                  <a:lnTo>
                    <a:pt x="310831" y="272547"/>
                  </a:lnTo>
                  <a:lnTo>
                    <a:pt x="311319" y="276946"/>
                  </a:lnTo>
                  <a:lnTo>
                    <a:pt x="308224" y="282484"/>
                  </a:lnTo>
                  <a:lnTo>
                    <a:pt x="310831" y="290467"/>
                  </a:lnTo>
                  <a:lnTo>
                    <a:pt x="309039" y="293236"/>
                  </a:lnTo>
                  <a:lnTo>
                    <a:pt x="310342" y="304640"/>
                  </a:lnTo>
                  <a:lnTo>
                    <a:pt x="312623" y="312948"/>
                  </a:lnTo>
                  <a:lnTo>
                    <a:pt x="310994" y="316695"/>
                  </a:lnTo>
                  <a:lnTo>
                    <a:pt x="307247" y="320279"/>
                  </a:lnTo>
                  <a:lnTo>
                    <a:pt x="306269" y="321908"/>
                  </a:lnTo>
                  <a:lnTo>
                    <a:pt x="306269" y="322397"/>
                  </a:lnTo>
                  <a:cubicBezTo>
                    <a:pt x="306269" y="322397"/>
                    <a:pt x="306269" y="322397"/>
                    <a:pt x="306269" y="322397"/>
                  </a:cubicBezTo>
                  <a:lnTo>
                    <a:pt x="304966" y="332824"/>
                  </a:lnTo>
                  <a:lnTo>
                    <a:pt x="306758" y="342109"/>
                  </a:lnTo>
                  <a:lnTo>
                    <a:pt x="305781" y="345042"/>
                  </a:lnTo>
                  <a:lnTo>
                    <a:pt x="309039" y="348463"/>
                  </a:lnTo>
                  <a:lnTo>
                    <a:pt x="309039" y="352861"/>
                  </a:lnTo>
                  <a:cubicBezTo>
                    <a:pt x="309039" y="352861"/>
                    <a:pt x="307573" y="354490"/>
                    <a:pt x="307573" y="354490"/>
                  </a:cubicBezTo>
                  <a:lnTo>
                    <a:pt x="310179" y="359052"/>
                  </a:lnTo>
                  <a:lnTo>
                    <a:pt x="320931" y="367360"/>
                  </a:lnTo>
                  <a:lnTo>
                    <a:pt x="331683" y="371433"/>
                  </a:lnTo>
                  <a:lnTo>
                    <a:pt x="344879" y="381696"/>
                  </a:lnTo>
                  <a:lnTo>
                    <a:pt x="347811" y="385443"/>
                  </a:lnTo>
                  <a:lnTo>
                    <a:pt x="347485" y="390656"/>
                  </a:lnTo>
                  <a:lnTo>
                    <a:pt x="341295" y="403200"/>
                  </a:lnTo>
                  <a:lnTo>
                    <a:pt x="340969" y="406947"/>
                  </a:lnTo>
                  <a:lnTo>
                    <a:pt x="344879" y="414278"/>
                  </a:lnTo>
                  <a:lnTo>
                    <a:pt x="351558" y="418676"/>
                  </a:lnTo>
                  <a:lnTo>
                    <a:pt x="357097" y="418676"/>
                  </a:lnTo>
                  <a:cubicBezTo>
                    <a:pt x="357097" y="418676"/>
                    <a:pt x="360355" y="415418"/>
                    <a:pt x="360355" y="415418"/>
                  </a:cubicBezTo>
                  <a:lnTo>
                    <a:pt x="361658" y="415418"/>
                  </a:lnTo>
                  <a:cubicBezTo>
                    <a:pt x="361658" y="415418"/>
                    <a:pt x="362799" y="419817"/>
                    <a:pt x="362799" y="419817"/>
                  </a:cubicBezTo>
                  <a:lnTo>
                    <a:pt x="362799" y="430732"/>
                  </a:lnTo>
                  <a:lnTo>
                    <a:pt x="361658" y="435619"/>
                  </a:lnTo>
                  <a:lnTo>
                    <a:pt x="356608" y="443765"/>
                  </a:lnTo>
                  <a:lnTo>
                    <a:pt x="354816" y="451910"/>
                  </a:lnTo>
                  <a:lnTo>
                    <a:pt x="353024" y="454516"/>
                  </a:lnTo>
                  <a:lnTo>
                    <a:pt x="352210" y="451747"/>
                  </a:lnTo>
                  <a:lnTo>
                    <a:pt x="350418" y="453376"/>
                  </a:lnTo>
                  <a:lnTo>
                    <a:pt x="347811" y="461359"/>
                  </a:lnTo>
                  <a:lnTo>
                    <a:pt x="349277" y="467224"/>
                  </a:lnTo>
                  <a:lnTo>
                    <a:pt x="347322" y="472111"/>
                  </a:lnTo>
                  <a:lnTo>
                    <a:pt x="333312" y="480745"/>
                  </a:lnTo>
                  <a:lnTo>
                    <a:pt x="322397" y="484492"/>
                  </a:lnTo>
                  <a:lnTo>
                    <a:pt x="320442" y="481722"/>
                  </a:lnTo>
                  <a:lnTo>
                    <a:pt x="319628" y="484981"/>
                  </a:lnTo>
                  <a:lnTo>
                    <a:pt x="303989" y="491497"/>
                  </a:lnTo>
                  <a:lnTo>
                    <a:pt x="286068" y="496058"/>
                  </a:lnTo>
                  <a:lnTo>
                    <a:pt x="275317" y="496547"/>
                  </a:lnTo>
                  <a:lnTo>
                    <a:pt x="266845" y="495243"/>
                  </a:lnTo>
                  <a:lnTo>
                    <a:pt x="258863" y="496710"/>
                  </a:lnTo>
                  <a:lnTo>
                    <a:pt x="253812" y="496710"/>
                  </a:lnTo>
                  <a:lnTo>
                    <a:pt x="248111" y="492963"/>
                  </a:lnTo>
                  <a:lnTo>
                    <a:pt x="240943" y="490519"/>
                  </a:lnTo>
                  <a:lnTo>
                    <a:pt x="237522" y="490519"/>
                  </a:lnTo>
                  <a:lnTo>
                    <a:pt x="235241" y="487587"/>
                  </a:lnTo>
                  <a:lnTo>
                    <a:pt x="233612" y="489216"/>
                  </a:lnTo>
                  <a:lnTo>
                    <a:pt x="233612" y="493452"/>
                  </a:lnTo>
                  <a:lnTo>
                    <a:pt x="234915" y="496384"/>
                  </a:lnTo>
                  <a:lnTo>
                    <a:pt x="234915" y="505344"/>
                  </a:lnTo>
                  <a:lnTo>
                    <a:pt x="237359" y="508765"/>
                  </a:lnTo>
                  <a:lnTo>
                    <a:pt x="236870" y="511534"/>
                  </a:lnTo>
                  <a:lnTo>
                    <a:pt x="241106" y="511861"/>
                  </a:lnTo>
                  <a:lnTo>
                    <a:pt x="242083" y="516259"/>
                  </a:lnTo>
                  <a:lnTo>
                    <a:pt x="241431" y="519517"/>
                  </a:lnTo>
                  <a:lnTo>
                    <a:pt x="239639" y="520006"/>
                  </a:lnTo>
                  <a:lnTo>
                    <a:pt x="239639" y="521635"/>
                  </a:lnTo>
                  <a:cubicBezTo>
                    <a:pt x="239639" y="521635"/>
                    <a:pt x="235241" y="526197"/>
                    <a:pt x="235241" y="526197"/>
                  </a:cubicBezTo>
                  <a:lnTo>
                    <a:pt x="236381" y="528640"/>
                  </a:lnTo>
                  <a:lnTo>
                    <a:pt x="234589" y="532061"/>
                  </a:lnTo>
                  <a:lnTo>
                    <a:pt x="234589" y="536623"/>
                  </a:lnTo>
                  <a:lnTo>
                    <a:pt x="237684" y="541999"/>
                  </a:lnTo>
                  <a:lnTo>
                    <a:pt x="242083" y="543302"/>
                  </a:lnTo>
                  <a:lnTo>
                    <a:pt x="240617" y="547538"/>
                  </a:lnTo>
                  <a:lnTo>
                    <a:pt x="239151" y="550307"/>
                  </a:lnTo>
                  <a:lnTo>
                    <a:pt x="240454" y="554054"/>
                  </a:lnTo>
                  <a:lnTo>
                    <a:pt x="239314" y="558778"/>
                  </a:lnTo>
                  <a:lnTo>
                    <a:pt x="233449" y="563014"/>
                  </a:lnTo>
                  <a:lnTo>
                    <a:pt x="234263" y="564643"/>
                  </a:lnTo>
                  <a:lnTo>
                    <a:pt x="225629" y="570508"/>
                  </a:lnTo>
                  <a:lnTo>
                    <a:pt x="211293" y="570508"/>
                  </a:lnTo>
                  <a:cubicBezTo>
                    <a:pt x="211293" y="570508"/>
                    <a:pt x="203474" y="568879"/>
                    <a:pt x="203474" y="568879"/>
                  </a:cubicBezTo>
                  <a:lnTo>
                    <a:pt x="194514" y="561385"/>
                  </a:lnTo>
                  <a:lnTo>
                    <a:pt x="184739" y="558290"/>
                  </a:lnTo>
                  <a:lnTo>
                    <a:pt x="179037" y="558778"/>
                  </a:lnTo>
                  <a:lnTo>
                    <a:pt x="177571" y="557801"/>
                  </a:lnTo>
                  <a:lnTo>
                    <a:pt x="179200" y="554868"/>
                  </a:lnTo>
                  <a:lnTo>
                    <a:pt x="175290" y="554868"/>
                  </a:lnTo>
                  <a:cubicBezTo>
                    <a:pt x="175290" y="554868"/>
                    <a:pt x="170077" y="560245"/>
                    <a:pt x="170077" y="560245"/>
                  </a:cubicBezTo>
                  <a:lnTo>
                    <a:pt x="170077" y="569204"/>
                  </a:lnTo>
                  <a:cubicBezTo>
                    <a:pt x="170077" y="569204"/>
                    <a:pt x="175453" y="574255"/>
                    <a:pt x="175453" y="574255"/>
                  </a:cubicBezTo>
                  <a:lnTo>
                    <a:pt x="177408" y="583540"/>
                  </a:lnTo>
                  <a:lnTo>
                    <a:pt x="177408" y="595759"/>
                  </a:lnTo>
                  <a:cubicBezTo>
                    <a:pt x="177408" y="595759"/>
                    <a:pt x="178874" y="600320"/>
                    <a:pt x="178874" y="600320"/>
                  </a:cubicBezTo>
                  <a:lnTo>
                    <a:pt x="184739" y="603578"/>
                  </a:lnTo>
                  <a:lnTo>
                    <a:pt x="192396" y="603090"/>
                  </a:lnTo>
                  <a:lnTo>
                    <a:pt x="195165" y="604556"/>
                  </a:lnTo>
                  <a:lnTo>
                    <a:pt x="192233" y="606185"/>
                  </a:lnTo>
                  <a:lnTo>
                    <a:pt x="189789" y="608629"/>
                  </a:lnTo>
                  <a:lnTo>
                    <a:pt x="193699" y="610095"/>
                  </a:lnTo>
                  <a:lnTo>
                    <a:pt x="202333" y="607488"/>
                  </a:lnTo>
                  <a:lnTo>
                    <a:pt x="202659" y="604718"/>
                  </a:lnTo>
                  <a:lnTo>
                    <a:pt x="198423" y="603578"/>
                  </a:lnTo>
                  <a:lnTo>
                    <a:pt x="196957" y="602438"/>
                  </a:lnTo>
                  <a:lnTo>
                    <a:pt x="199401" y="600483"/>
                  </a:lnTo>
                  <a:lnTo>
                    <a:pt x="203311" y="600483"/>
                  </a:lnTo>
                  <a:cubicBezTo>
                    <a:pt x="203311" y="600483"/>
                    <a:pt x="208361" y="597062"/>
                    <a:pt x="208361" y="597062"/>
                  </a:cubicBezTo>
                  <a:lnTo>
                    <a:pt x="212271" y="597388"/>
                  </a:lnTo>
                  <a:lnTo>
                    <a:pt x="215692" y="603252"/>
                  </a:lnTo>
                  <a:lnTo>
                    <a:pt x="214551" y="607814"/>
                  </a:lnTo>
                  <a:lnTo>
                    <a:pt x="212596" y="608791"/>
                  </a:lnTo>
                  <a:lnTo>
                    <a:pt x="215855" y="612864"/>
                  </a:lnTo>
                  <a:lnTo>
                    <a:pt x="218298" y="618240"/>
                  </a:lnTo>
                  <a:lnTo>
                    <a:pt x="216832" y="623290"/>
                  </a:lnTo>
                  <a:lnTo>
                    <a:pt x="206895" y="628992"/>
                  </a:lnTo>
                  <a:lnTo>
                    <a:pt x="203148" y="627689"/>
                  </a:lnTo>
                  <a:lnTo>
                    <a:pt x="201193" y="622639"/>
                  </a:lnTo>
                  <a:lnTo>
                    <a:pt x="202170" y="620358"/>
                  </a:lnTo>
                  <a:lnTo>
                    <a:pt x="202170" y="617425"/>
                  </a:lnTo>
                  <a:lnTo>
                    <a:pt x="195980" y="614167"/>
                  </a:lnTo>
                  <a:lnTo>
                    <a:pt x="189138" y="616774"/>
                  </a:lnTo>
                  <a:lnTo>
                    <a:pt x="184576" y="620195"/>
                  </a:lnTo>
                  <a:lnTo>
                    <a:pt x="183599" y="622965"/>
                  </a:lnTo>
                  <a:lnTo>
                    <a:pt x="185879" y="626711"/>
                  </a:lnTo>
                  <a:lnTo>
                    <a:pt x="191093" y="626711"/>
                  </a:lnTo>
                  <a:cubicBezTo>
                    <a:pt x="191093" y="626711"/>
                    <a:pt x="198586" y="629155"/>
                    <a:pt x="198586" y="629155"/>
                  </a:cubicBezTo>
                  <a:lnTo>
                    <a:pt x="198586" y="631761"/>
                  </a:lnTo>
                  <a:cubicBezTo>
                    <a:pt x="198586" y="631761"/>
                    <a:pt x="193210" y="636975"/>
                    <a:pt x="193210" y="636975"/>
                  </a:cubicBezTo>
                  <a:lnTo>
                    <a:pt x="185228" y="639907"/>
                  </a:lnTo>
                  <a:lnTo>
                    <a:pt x="182295" y="643165"/>
                  </a:lnTo>
                  <a:lnTo>
                    <a:pt x="184087" y="645120"/>
                  </a:lnTo>
                  <a:lnTo>
                    <a:pt x="182133" y="650170"/>
                  </a:lnTo>
                  <a:lnTo>
                    <a:pt x="178060" y="654406"/>
                  </a:lnTo>
                  <a:lnTo>
                    <a:pt x="179689" y="660922"/>
                  </a:lnTo>
                  <a:lnTo>
                    <a:pt x="181481" y="663692"/>
                  </a:lnTo>
                  <a:lnTo>
                    <a:pt x="181481" y="667113"/>
                  </a:lnTo>
                  <a:lnTo>
                    <a:pt x="180503" y="670208"/>
                  </a:lnTo>
                  <a:lnTo>
                    <a:pt x="186531" y="676888"/>
                  </a:lnTo>
                  <a:lnTo>
                    <a:pt x="186531" y="679331"/>
                  </a:lnTo>
                  <a:cubicBezTo>
                    <a:pt x="186531" y="679331"/>
                    <a:pt x="183925" y="682752"/>
                    <a:pt x="183925" y="682752"/>
                  </a:cubicBezTo>
                  <a:lnTo>
                    <a:pt x="185228" y="684218"/>
                  </a:lnTo>
                  <a:lnTo>
                    <a:pt x="178223" y="688780"/>
                  </a:lnTo>
                  <a:lnTo>
                    <a:pt x="177245" y="692690"/>
                  </a:lnTo>
                  <a:lnTo>
                    <a:pt x="176431" y="694970"/>
                  </a:lnTo>
                  <a:lnTo>
                    <a:pt x="181481" y="696763"/>
                  </a:lnTo>
                  <a:lnTo>
                    <a:pt x="183925" y="699206"/>
                  </a:lnTo>
                  <a:lnTo>
                    <a:pt x="183599" y="701487"/>
                  </a:lnTo>
                  <a:lnTo>
                    <a:pt x="175453" y="702953"/>
                  </a:lnTo>
                  <a:lnTo>
                    <a:pt x="170892" y="702301"/>
                  </a:lnTo>
                  <a:lnTo>
                    <a:pt x="163561" y="703442"/>
                  </a:lnTo>
                  <a:lnTo>
                    <a:pt x="158836" y="708655"/>
                  </a:lnTo>
                  <a:lnTo>
                    <a:pt x="153135" y="709469"/>
                  </a:lnTo>
                  <a:lnTo>
                    <a:pt x="148899" y="714356"/>
                  </a:lnTo>
                  <a:lnTo>
                    <a:pt x="145641" y="715171"/>
                  </a:lnTo>
                  <a:lnTo>
                    <a:pt x="143849" y="721199"/>
                  </a:lnTo>
                  <a:lnTo>
                    <a:pt x="141894" y="725597"/>
                  </a:lnTo>
                  <a:lnTo>
                    <a:pt x="136192" y="729670"/>
                  </a:lnTo>
                  <a:lnTo>
                    <a:pt x="135866" y="732765"/>
                  </a:lnTo>
                  <a:lnTo>
                    <a:pt x="138961" y="737001"/>
                  </a:lnTo>
                  <a:lnTo>
                    <a:pt x="138961" y="742540"/>
                  </a:lnTo>
                  <a:lnTo>
                    <a:pt x="144501" y="751825"/>
                  </a:lnTo>
                  <a:lnTo>
                    <a:pt x="149714" y="756061"/>
                  </a:lnTo>
                  <a:lnTo>
                    <a:pt x="153135" y="757202"/>
                  </a:lnTo>
                  <a:lnTo>
                    <a:pt x="159977" y="763066"/>
                  </a:lnTo>
                  <a:lnTo>
                    <a:pt x="170077" y="772515"/>
                  </a:lnTo>
                  <a:lnTo>
                    <a:pt x="178549" y="771863"/>
                  </a:lnTo>
                  <a:lnTo>
                    <a:pt x="183110" y="771863"/>
                  </a:lnTo>
                  <a:cubicBezTo>
                    <a:pt x="183110" y="771863"/>
                    <a:pt x="185391" y="770886"/>
                    <a:pt x="185391" y="770886"/>
                  </a:cubicBezTo>
                  <a:lnTo>
                    <a:pt x="189463" y="772189"/>
                  </a:lnTo>
                  <a:lnTo>
                    <a:pt x="191093" y="774959"/>
                  </a:lnTo>
                  <a:lnTo>
                    <a:pt x="189301" y="776914"/>
                  </a:lnTo>
                  <a:lnTo>
                    <a:pt x="189301" y="779683"/>
                  </a:lnTo>
                  <a:lnTo>
                    <a:pt x="192233" y="785711"/>
                  </a:lnTo>
                  <a:lnTo>
                    <a:pt x="192233" y="789783"/>
                  </a:lnTo>
                  <a:lnTo>
                    <a:pt x="187834" y="794019"/>
                  </a:lnTo>
                  <a:lnTo>
                    <a:pt x="190767" y="794019"/>
                  </a:lnTo>
                  <a:lnTo>
                    <a:pt x="195328" y="798255"/>
                  </a:lnTo>
                  <a:lnTo>
                    <a:pt x="192233" y="800536"/>
                  </a:lnTo>
                  <a:lnTo>
                    <a:pt x="191744" y="803793"/>
                  </a:lnTo>
                  <a:lnTo>
                    <a:pt x="192722" y="805586"/>
                  </a:lnTo>
                  <a:lnTo>
                    <a:pt x="188649" y="810147"/>
                  </a:lnTo>
                  <a:lnTo>
                    <a:pt x="184576" y="812102"/>
                  </a:lnTo>
                  <a:lnTo>
                    <a:pt x="183599" y="816175"/>
                  </a:lnTo>
                  <a:lnTo>
                    <a:pt x="180992" y="817152"/>
                  </a:lnTo>
                  <a:lnTo>
                    <a:pt x="177245" y="822040"/>
                  </a:lnTo>
                  <a:lnTo>
                    <a:pt x="175453" y="827904"/>
                  </a:lnTo>
                  <a:lnTo>
                    <a:pt x="170403" y="828230"/>
                  </a:lnTo>
                  <a:lnTo>
                    <a:pt x="164538" y="833932"/>
                  </a:lnTo>
                  <a:lnTo>
                    <a:pt x="163398" y="839634"/>
                  </a:lnTo>
                  <a:lnTo>
                    <a:pt x="161606" y="845172"/>
                  </a:lnTo>
                  <a:lnTo>
                    <a:pt x="157207" y="849408"/>
                  </a:lnTo>
                  <a:lnTo>
                    <a:pt x="156067" y="852666"/>
                  </a:lnTo>
                  <a:lnTo>
                    <a:pt x="158511" y="850874"/>
                  </a:lnTo>
                  <a:lnTo>
                    <a:pt x="162420" y="851852"/>
                  </a:lnTo>
                  <a:lnTo>
                    <a:pt x="164050" y="859672"/>
                  </a:lnTo>
                  <a:lnTo>
                    <a:pt x="162584" y="863744"/>
                  </a:lnTo>
                  <a:lnTo>
                    <a:pt x="158022" y="869120"/>
                  </a:lnTo>
                  <a:lnTo>
                    <a:pt x="157207" y="873193"/>
                  </a:lnTo>
                  <a:lnTo>
                    <a:pt x="151831" y="877591"/>
                  </a:lnTo>
                  <a:lnTo>
                    <a:pt x="147922" y="876288"/>
                  </a:lnTo>
                  <a:lnTo>
                    <a:pt x="144663" y="872541"/>
                  </a:lnTo>
                  <a:lnTo>
                    <a:pt x="141405" y="870749"/>
                  </a:lnTo>
                  <a:lnTo>
                    <a:pt x="143849" y="873845"/>
                  </a:lnTo>
                  <a:lnTo>
                    <a:pt x="143849" y="878406"/>
                  </a:lnTo>
                  <a:lnTo>
                    <a:pt x="145641" y="880361"/>
                  </a:lnTo>
                  <a:lnTo>
                    <a:pt x="143360" y="884434"/>
                  </a:lnTo>
                  <a:lnTo>
                    <a:pt x="137169" y="889647"/>
                  </a:lnTo>
                  <a:lnTo>
                    <a:pt x="134237" y="898118"/>
                  </a:lnTo>
                  <a:lnTo>
                    <a:pt x="135215" y="905612"/>
                  </a:lnTo>
                  <a:lnTo>
                    <a:pt x="140265" y="913431"/>
                  </a:lnTo>
                  <a:lnTo>
                    <a:pt x="144501" y="925161"/>
                  </a:lnTo>
                  <a:lnTo>
                    <a:pt x="144501" y="928908"/>
                  </a:lnTo>
                  <a:lnTo>
                    <a:pt x="145967" y="929559"/>
                  </a:lnTo>
                  <a:lnTo>
                    <a:pt x="144989" y="932818"/>
                  </a:lnTo>
                  <a:lnTo>
                    <a:pt x="141079" y="935098"/>
                  </a:lnTo>
                  <a:lnTo>
                    <a:pt x="143849" y="937868"/>
                  </a:lnTo>
                  <a:lnTo>
                    <a:pt x="146781" y="936890"/>
                  </a:lnTo>
                  <a:lnTo>
                    <a:pt x="151180" y="941126"/>
                  </a:lnTo>
                  <a:lnTo>
                    <a:pt x="152157" y="946176"/>
                  </a:lnTo>
                  <a:lnTo>
                    <a:pt x="160792" y="951552"/>
                  </a:lnTo>
                  <a:lnTo>
                    <a:pt x="166004" y="955625"/>
                  </a:lnTo>
                  <a:lnTo>
                    <a:pt x="166493" y="960349"/>
                  </a:lnTo>
                  <a:lnTo>
                    <a:pt x="164212" y="960349"/>
                  </a:lnTo>
                  <a:cubicBezTo>
                    <a:pt x="164212" y="960349"/>
                    <a:pt x="158348" y="957417"/>
                    <a:pt x="158348" y="957417"/>
                  </a:cubicBezTo>
                  <a:lnTo>
                    <a:pt x="151343" y="951063"/>
                  </a:lnTo>
                  <a:lnTo>
                    <a:pt x="145804" y="950249"/>
                  </a:lnTo>
                  <a:lnTo>
                    <a:pt x="144012" y="948131"/>
                  </a:lnTo>
                  <a:lnTo>
                    <a:pt x="110941" y="948131"/>
                  </a:lnTo>
                  <a:cubicBezTo>
                    <a:pt x="110941" y="948131"/>
                    <a:pt x="92533" y="951227"/>
                    <a:pt x="92533" y="951227"/>
                  </a:cubicBezTo>
                  <a:lnTo>
                    <a:pt x="88297" y="948783"/>
                  </a:lnTo>
                  <a:lnTo>
                    <a:pt x="75916" y="947806"/>
                  </a:lnTo>
                  <a:lnTo>
                    <a:pt x="71843" y="937053"/>
                  </a:lnTo>
                  <a:lnTo>
                    <a:pt x="69236" y="928093"/>
                  </a:lnTo>
                  <a:lnTo>
                    <a:pt x="63698" y="923043"/>
                  </a:lnTo>
                  <a:lnTo>
                    <a:pt x="62068" y="908381"/>
                  </a:lnTo>
                  <a:lnTo>
                    <a:pt x="62068" y="901539"/>
                  </a:lnTo>
                  <a:lnTo>
                    <a:pt x="56693" y="901539"/>
                  </a:lnTo>
                  <a:cubicBezTo>
                    <a:pt x="56693" y="901539"/>
                    <a:pt x="48547" y="905775"/>
                    <a:pt x="48547" y="905775"/>
                  </a:cubicBezTo>
                  <a:lnTo>
                    <a:pt x="44148" y="910825"/>
                  </a:lnTo>
                  <a:lnTo>
                    <a:pt x="38935" y="910825"/>
                  </a:lnTo>
                  <a:cubicBezTo>
                    <a:pt x="38935" y="910825"/>
                    <a:pt x="27695" y="888343"/>
                    <a:pt x="27695" y="888343"/>
                  </a:cubicBezTo>
                  <a:lnTo>
                    <a:pt x="26228" y="880198"/>
                  </a:lnTo>
                  <a:lnTo>
                    <a:pt x="29487" y="857391"/>
                  </a:lnTo>
                  <a:lnTo>
                    <a:pt x="34863" y="849571"/>
                  </a:lnTo>
                  <a:lnTo>
                    <a:pt x="43660" y="840285"/>
                  </a:lnTo>
                  <a:lnTo>
                    <a:pt x="46266" y="827252"/>
                  </a:lnTo>
                  <a:lnTo>
                    <a:pt x="43660" y="813731"/>
                  </a:lnTo>
                  <a:lnTo>
                    <a:pt x="40402" y="803793"/>
                  </a:lnTo>
                  <a:lnTo>
                    <a:pt x="42356" y="792227"/>
                  </a:lnTo>
                  <a:lnTo>
                    <a:pt x="47569" y="786363"/>
                  </a:lnTo>
                  <a:lnTo>
                    <a:pt x="42519" y="774307"/>
                  </a:lnTo>
                  <a:lnTo>
                    <a:pt x="43334" y="768442"/>
                  </a:lnTo>
                  <a:lnTo>
                    <a:pt x="47895" y="763718"/>
                  </a:lnTo>
                  <a:lnTo>
                    <a:pt x="44963" y="752803"/>
                  </a:lnTo>
                  <a:lnTo>
                    <a:pt x="43008" y="738630"/>
                  </a:lnTo>
                  <a:lnTo>
                    <a:pt x="39750" y="731951"/>
                  </a:lnTo>
                  <a:lnTo>
                    <a:pt x="40239" y="726900"/>
                  </a:lnTo>
                  <a:lnTo>
                    <a:pt x="46755" y="721199"/>
                  </a:lnTo>
                  <a:lnTo>
                    <a:pt x="46755" y="715334"/>
                  </a:lnTo>
                  <a:cubicBezTo>
                    <a:pt x="46755" y="715334"/>
                    <a:pt x="41379" y="705885"/>
                    <a:pt x="41379" y="705885"/>
                  </a:cubicBezTo>
                  <a:lnTo>
                    <a:pt x="32908" y="700020"/>
                  </a:lnTo>
                  <a:lnTo>
                    <a:pt x="27532" y="700020"/>
                  </a:lnTo>
                  <a:lnTo>
                    <a:pt x="25902" y="701487"/>
                  </a:lnTo>
                  <a:lnTo>
                    <a:pt x="22807" y="698391"/>
                  </a:lnTo>
                  <a:lnTo>
                    <a:pt x="24599" y="693993"/>
                  </a:lnTo>
                  <a:lnTo>
                    <a:pt x="36166" y="693993"/>
                  </a:lnTo>
                  <a:cubicBezTo>
                    <a:pt x="36166" y="693993"/>
                    <a:pt x="41868" y="687477"/>
                    <a:pt x="41868" y="687477"/>
                  </a:cubicBezTo>
                  <a:lnTo>
                    <a:pt x="41542" y="681286"/>
                  </a:lnTo>
                  <a:lnTo>
                    <a:pt x="38121" y="679820"/>
                  </a:lnTo>
                  <a:lnTo>
                    <a:pt x="34211" y="682589"/>
                  </a:lnTo>
                  <a:lnTo>
                    <a:pt x="29487" y="681612"/>
                  </a:lnTo>
                  <a:lnTo>
                    <a:pt x="27043" y="669882"/>
                  </a:lnTo>
                  <a:lnTo>
                    <a:pt x="22319" y="659619"/>
                  </a:lnTo>
                  <a:lnTo>
                    <a:pt x="21993" y="652288"/>
                  </a:lnTo>
                  <a:lnTo>
                    <a:pt x="22482" y="643654"/>
                  </a:lnTo>
                  <a:lnTo>
                    <a:pt x="14336" y="640884"/>
                  </a:lnTo>
                  <a:lnTo>
                    <a:pt x="11893" y="633391"/>
                  </a:lnTo>
                  <a:lnTo>
                    <a:pt x="10752" y="613842"/>
                  </a:lnTo>
                  <a:lnTo>
                    <a:pt x="16291" y="610095"/>
                  </a:lnTo>
                  <a:lnTo>
                    <a:pt x="17920" y="603415"/>
                  </a:lnTo>
                  <a:lnTo>
                    <a:pt x="15151" y="598202"/>
                  </a:lnTo>
                  <a:lnTo>
                    <a:pt x="10426" y="595759"/>
                  </a:lnTo>
                  <a:lnTo>
                    <a:pt x="8145" y="583704"/>
                  </a:lnTo>
                  <a:lnTo>
                    <a:pt x="7168" y="566924"/>
                  </a:lnTo>
                  <a:lnTo>
                    <a:pt x="8797" y="547700"/>
                  </a:lnTo>
                  <a:lnTo>
                    <a:pt x="4073" y="539718"/>
                  </a:lnTo>
                  <a:lnTo>
                    <a:pt x="2932" y="530921"/>
                  </a:lnTo>
                  <a:lnTo>
                    <a:pt x="12381" y="518377"/>
                  </a:lnTo>
                  <a:lnTo>
                    <a:pt x="13847" y="504367"/>
                  </a:lnTo>
                  <a:lnTo>
                    <a:pt x="20690" y="501108"/>
                  </a:lnTo>
                  <a:lnTo>
                    <a:pt x="24436" y="496710"/>
                  </a:lnTo>
                  <a:lnTo>
                    <a:pt x="9123" y="466734"/>
                  </a:lnTo>
                  <a:lnTo>
                    <a:pt x="10915" y="456797"/>
                  </a:lnTo>
                  <a:lnTo>
                    <a:pt x="10915" y="431709"/>
                  </a:lnTo>
                  <a:cubicBezTo>
                    <a:pt x="10915" y="431709"/>
                    <a:pt x="16128" y="420957"/>
                    <a:pt x="16128" y="420957"/>
                  </a:cubicBezTo>
                  <a:lnTo>
                    <a:pt x="22156" y="414767"/>
                  </a:lnTo>
                  <a:lnTo>
                    <a:pt x="20852" y="405481"/>
                  </a:lnTo>
                  <a:lnTo>
                    <a:pt x="15639" y="396847"/>
                  </a:lnTo>
                  <a:lnTo>
                    <a:pt x="12218" y="393914"/>
                  </a:lnTo>
                  <a:lnTo>
                    <a:pt x="18083" y="385280"/>
                  </a:lnTo>
                  <a:lnTo>
                    <a:pt x="16617" y="375180"/>
                  </a:lnTo>
                  <a:lnTo>
                    <a:pt x="20852" y="364916"/>
                  </a:lnTo>
                  <a:lnTo>
                    <a:pt x="25902" y="363287"/>
                  </a:lnTo>
                  <a:lnTo>
                    <a:pt x="27206" y="351069"/>
                  </a:lnTo>
                  <a:lnTo>
                    <a:pt x="24925" y="331357"/>
                  </a:lnTo>
                  <a:lnTo>
                    <a:pt x="21178" y="327936"/>
                  </a:lnTo>
                  <a:lnTo>
                    <a:pt x="18083" y="312948"/>
                  </a:lnTo>
                  <a:lnTo>
                    <a:pt x="14010" y="305129"/>
                  </a:lnTo>
                  <a:lnTo>
                    <a:pt x="8145" y="295680"/>
                  </a:lnTo>
                  <a:lnTo>
                    <a:pt x="7168" y="290956"/>
                  </a:lnTo>
                  <a:lnTo>
                    <a:pt x="2607" y="284765"/>
                  </a:lnTo>
                  <a:lnTo>
                    <a:pt x="0" y="272221"/>
                  </a:lnTo>
                  <a:lnTo>
                    <a:pt x="1303" y="262447"/>
                  </a:lnTo>
                  <a:lnTo>
                    <a:pt x="8471" y="259188"/>
                  </a:lnTo>
                  <a:lnTo>
                    <a:pt x="8471" y="246481"/>
                  </a:lnTo>
                  <a:cubicBezTo>
                    <a:pt x="8471" y="246481"/>
                    <a:pt x="12707" y="241268"/>
                    <a:pt x="12707" y="241268"/>
                  </a:cubicBezTo>
                  <a:lnTo>
                    <a:pt x="13033" y="230028"/>
                  </a:lnTo>
                  <a:lnTo>
                    <a:pt x="8471" y="221556"/>
                  </a:lnTo>
                  <a:lnTo>
                    <a:pt x="7657" y="205591"/>
                  </a:lnTo>
                  <a:lnTo>
                    <a:pt x="11241" y="202007"/>
                  </a:lnTo>
                  <a:lnTo>
                    <a:pt x="13033" y="183110"/>
                  </a:lnTo>
                  <a:lnTo>
                    <a:pt x="17757" y="176593"/>
                  </a:lnTo>
                  <a:lnTo>
                    <a:pt x="24599" y="159488"/>
                  </a:lnTo>
                  <a:lnTo>
                    <a:pt x="31279" y="152646"/>
                  </a:lnTo>
                  <a:lnTo>
                    <a:pt x="36329" y="150039"/>
                  </a:lnTo>
                  <a:lnTo>
                    <a:pt x="40239" y="145478"/>
                  </a:lnTo>
                  <a:lnTo>
                    <a:pt x="37795" y="142871"/>
                  </a:lnTo>
                  <a:lnTo>
                    <a:pt x="37469" y="135703"/>
                  </a:lnTo>
                  <a:lnTo>
                    <a:pt x="35677" y="131956"/>
                  </a:lnTo>
                  <a:lnTo>
                    <a:pt x="32582" y="129350"/>
                  </a:lnTo>
                  <a:lnTo>
                    <a:pt x="33722" y="124300"/>
                  </a:lnTo>
                  <a:lnTo>
                    <a:pt x="38284" y="120879"/>
                  </a:lnTo>
                  <a:lnTo>
                    <a:pt x="38284" y="114362"/>
                  </a:lnTo>
                  <a:lnTo>
                    <a:pt x="32745" y="107357"/>
                  </a:lnTo>
                  <a:lnTo>
                    <a:pt x="31279" y="98723"/>
                  </a:lnTo>
                  <a:lnTo>
                    <a:pt x="34374" y="93184"/>
                  </a:lnTo>
                  <a:lnTo>
                    <a:pt x="33071" y="88622"/>
                  </a:lnTo>
                  <a:lnTo>
                    <a:pt x="27695" y="84224"/>
                  </a:lnTo>
                  <a:lnTo>
                    <a:pt x="29650" y="77545"/>
                  </a:lnTo>
                  <a:lnTo>
                    <a:pt x="60276" y="61254"/>
                  </a:lnTo>
                  <a:lnTo>
                    <a:pt x="66956" y="32256"/>
                  </a:lnTo>
                  <a:lnTo>
                    <a:pt x="63535" y="25414"/>
                  </a:lnTo>
                  <a:lnTo>
                    <a:pt x="63535" y="25414"/>
                  </a:lnTo>
                  <a:close/>
                  <a:moveTo>
                    <a:pt x="273036" y="1047668"/>
                  </a:moveTo>
                  <a:lnTo>
                    <a:pt x="277109" y="1051252"/>
                  </a:lnTo>
                  <a:lnTo>
                    <a:pt x="282810" y="1047668"/>
                  </a:lnTo>
                  <a:lnTo>
                    <a:pt x="288024" y="1046365"/>
                  </a:lnTo>
                  <a:lnTo>
                    <a:pt x="292585" y="1041967"/>
                  </a:lnTo>
                  <a:lnTo>
                    <a:pt x="286720" y="1041641"/>
                  </a:lnTo>
                  <a:lnTo>
                    <a:pt x="283136" y="1045225"/>
                  </a:lnTo>
                  <a:lnTo>
                    <a:pt x="276294" y="1045551"/>
                  </a:lnTo>
                  <a:lnTo>
                    <a:pt x="273199" y="1047506"/>
                  </a:lnTo>
                  <a:lnTo>
                    <a:pt x="273199" y="1047506"/>
                  </a:lnTo>
                  <a:close/>
                  <a:moveTo>
                    <a:pt x="158348" y="966214"/>
                  </a:moveTo>
                  <a:lnTo>
                    <a:pt x="159325" y="965725"/>
                  </a:lnTo>
                  <a:lnTo>
                    <a:pt x="163235" y="971427"/>
                  </a:lnTo>
                  <a:lnTo>
                    <a:pt x="171543" y="979736"/>
                  </a:lnTo>
                  <a:lnTo>
                    <a:pt x="174150" y="992279"/>
                  </a:lnTo>
                  <a:lnTo>
                    <a:pt x="171381" y="989510"/>
                  </a:lnTo>
                  <a:lnTo>
                    <a:pt x="167471" y="991139"/>
                  </a:lnTo>
                  <a:lnTo>
                    <a:pt x="165679" y="995212"/>
                  </a:lnTo>
                  <a:lnTo>
                    <a:pt x="158348" y="966214"/>
                  </a:lnTo>
                  <a:lnTo>
                    <a:pt x="158348" y="966214"/>
                  </a:lnTo>
                  <a:close/>
                  <a:moveTo>
                    <a:pt x="166004" y="996515"/>
                  </a:moveTo>
                  <a:lnTo>
                    <a:pt x="171543" y="998633"/>
                  </a:lnTo>
                  <a:lnTo>
                    <a:pt x="177734" y="997493"/>
                  </a:lnTo>
                  <a:lnTo>
                    <a:pt x="180503" y="1002543"/>
                  </a:lnTo>
                  <a:lnTo>
                    <a:pt x="183436" y="1011014"/>
                  </a:lnTo>
                  <a:lnTo>
                    <a:pt x="190115" y="1011991"/>
                  </a:lnTo>
                  <a:lnTo>
                    <a:pt x="196631" y="1017368"/>
                  </a:lnTo>
                  <a:lnTo>
                    <a:pt x="196957" y="1023232"/>
                  </a:lnTo>
                  <a:lnTo>
                    <a:pt x="202496" y="1025024"/>
                  </a:lnTo>
                  <a:lnTo>
                    <a:pt x="222371" y="1031541"/>
                  </a:lnTo>
                  <a:lnTo>
                    <a:pt x="224815" y="1034310"/>
                  </a:lnTo>
                  <a:lnTo>
                    <a:pt x="232146" y="1036591"/>
                  </a:lnTo>
                  <a:lnTo>
                    <a:pt x="238336" y="1042293"/>
                  </a:lnTo>
                  <a:lnTo>
                    <a:pt x="243712" y="1042781"/>
                  </a:lnTo>
                  <a:lnTo>
                    <a:pt x="253161" y="1040500"/>
                  </a:lnTo>
                  <a:lnTo>
                    <a:pt x="257559" y="1042130"/>
                  </a:lnTo>
                  <a:lnTo>
                    <a:pt x="258537" y="1046528"/>
                  </a:lnTo>
                  <a:lnTo>
                    <a:pt x="252020" y="1050275"/>
                  </a:lnTo>
                  <a:lnTo>
                    <a:pt x="249577" y="1048320"/>
                  </a:lnTo>
                  <a:lnTo>
                    <a:pt x="244038" y="1049949"/>
                  </a:lnTo>
                  <a:lnTo>
                    <a:pt x="242898" y="1054348"/>
                  </a:lnTo>
                  <a:lnTo>
                    <a:pt x="238336" y="1058909"/>
                  </a:lnTo>
                  <a:lnTo>
                    <a:pt x="232634" y="1060375"/>
                  </a:lnTo>
                  <a:lnTo>
                    <a:pt x="226770" y="1058421"/>
                  </a:lnTo>
                  <a:lnTo>
                    <a:pt x="221068" y="1055325"/>
                  </a:lnTo>
                  <a:lnTo>
                    <a:pt x="210642" y="1054185"/>
                  </a:lnTo>
                  <a:lnTo>
                    <a:pt x="203311" y="1054674"/>
                  </a:lnTo>
                  <a:lnTo>
                    <a:pt x="192559" y="1053697"/>
                  </a:lnTo>
                  <a:lnTo>
                    <a:pt x="183925" y="1056629"/>
                  </a:lnTo>
                  <a:lnTo>
                    <a:pt x="181155" y="1056629"/>
                  </a:lnTo>
                  <a:lnTo>
                    <a:pt x="178711" y="1047017"/>
                  </a:lnTo>
                  <a:lnTo>
                    <a:pt x="190930" y="1046528"/>
                  </a:lnTo>
                  <a:lnTo>
                    <a:pt x="197772" y="1044084"/>
                  </a:lnTo>
                  <a:lnTo>
                    <a:pt x="202008" y="1043270"/>
                  </a:lnTo>
                  <a:lnTo>
                    <a:pt x="202822" y="1041641"/>
                  </a:lnTo>
                  <a:lnTo>
                    <a:pt x="195980" y="1042944"/>
                  </a:lnTo>
                  <a:lnTo>
                    <a:pt x="188975" y="1042944"/>
                  </a:lnTo>
                  <a:lnTo>
                    <a:pt x="179852" y="1044736"/>
                  </a:lnTo>
                  <a:lnTo>
                    <a:pt x="178060" y="1044247"/>
                  </a:lnTo>
                  <a:lnTo>
                    <a:pt x="166004" y="996515"/>
                  </a:lnTo>
                  <a:close/>
                </a:path>
              </a:pathLst>
            </a:custGeom>
            <a:solidFill>
              <a:schemeClr val="bg2"/>
            </a:solidFill>
            <a:ln w="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2" name="Forma livre: Forma 41">
              <a:extLst>
                <a:ext uri="{FF2B5EF4-FFF2-40B4-BE49-F238E27FC236}">
                  <a16:creationId xmlns:a16="http://schemas.microsoft.com/office/drawing/2014/main" id="{3669AAEA-9E6E-7B92-AD91-B93F3416FB07}"/>
                </a:ext>
              </a:extLst>
            </p:cNvPr>
            <p:cNvSpPr/>
            <p:nvPr/>
          </p:nvSpPr>
          <p:spPr>
            <a:xfrm>
              <a:off x="4133170" y="5439361"/>
              <a:ext cx="287710" cy="1255389"/>
            </a:xfrm>
            <a:custGeom>
              <a:avLst/>
              <a:gdLst>
                <a:gd name="connsiteX0" fmla="*/ 238499 w 278411"/>
                <a:gd name="connsiteY0" fmla="*/ 1176204 h 1214813"/>
                <a:gd name="connsiteX1" fmla="*/ 236055 w 278411"/>
                <a:gd name="connsiteY1" fmla="*/ 1166593 h 1214813"/>
                <a:gd name="connsiteX2" fmla="*/ 233123 w 278411"/>
                <a:gd name="connsiteY2" fmla="*/ 1166593 h 1214813"/>
                <a:gd name="connsiteX3" fmla="*/ 228398 w 278411"/>
                <a:gd name="connsiteY3" fmla="*/ 1163497 h 1214813"/>
                <a:gd name="connsiteX4" fmla="*/ 219601 w 278411"/>
                <a:gd name="connsiteY4" fmla="*/ 1160239 h 1214813"/>
                <a:gd name="connsiteX5" fmla="*/ 206732 w 278411"/>
                <a:gd name="connsiteY5" fmla="*/ 1156329 h 1214813"/>
                <a:gd name="connsiteX6" fmla="*/ 200867 w 278411"/>
                <a:gd name="connsiteY6" fmla="*/ 1154375 h 1214813"/>
                <a:gd name="connsiteX7" fmla="*/ 200541 w 278411"/>
                <a:gd name="connsiteY7" fmla="*/ 1156329 h 1214813"/>
                <a:gd name="connsiteX8" fmla="*/ 202170 w 278411"/>
                <a:gd name="connsiteY8" fmla="*/ 1158610 h 1214813"/>
                <a:gd name="connsiteX9" fmla="*/ 200215 w 278411"/>
                <a:gd name="connsiteY9" fmla="*/ 1160239 h 1214813"/>
                <a:gd name="connsiteX10" fmla="*/ 198097 w 278411"/>
                <a:gd name="connsiteY10" fmla="*/ 1159425 h 1214813"/>
                <a:gd name="connsiteX11" fmla="*/ 189463 w 278411"/>
                <a:gd name="connsiteY11" fmla="*/ 1155841 h 1214813"/>
                <a:gd name="connsiteX12" fmla="*/ 184739 w 278411"/>
                <a:gd name="connsiteY12" fmla="*/ 1153397 h 1214813"/>
                <a:gd name="connsiteX13" fmla="*/ 183598 w 278411"/>
                <a:gd name="connsiteY13" fmla="*/ 1154537 h 1214813"/>
                <a:gd name="connsiteX14" fmla="*/ 185554 w 278411"/>
                <a:gd name="connsiteY14" fmla="*/ 1156981 h 1214813"/>
                <a:gd name="connsiteX15" fmla="*/ 196631 w 278411"/>
                <a:gd name="connsiteY15" fmla="*/ 1162194 h 1214813"/>
                <a:gd name="connsiteX16" fmla="*/ 197283 w 278411"/>
                <a:gd name="connsiteY16" fmla="*/ 1164149 h 1214813"/>
                <a:gd name="connsiteX17" fmla="*/ 194025 w 278411"/>
                <a:gd name="connsiteY17" fmla="*/ 1164149 h 1214813"/>
                <a:gd name="connsiteX18" fmla="*/ 193047 w 278411"/>
                <a:gd name="connsiteY18" fmla="*/ 1164637 h 1214813"/>
                <a:gd name="connsiteX19" fmla="*/ 193047 w 278411"/>
                <a:gd name="connsiteY19" fmla="*/ 1166755 h 1214813"/>
                <a:gd name="connsiteX20" fmla="*/ 190929 w 278411"/>
                <a:gd name="connsiteY20" fmla="*/ 1167081 h 1214813"/>
                <a:gd name="connsiteX21" fmla="*/ 189463 w 278411"/>
                <a:gd name="connsiteY21" fmla="*/ 1164149 h 1214813"/>
                <a:gd name="connsiteX22" fmla="*/ 184250 w 278411"/>
                <a:gd name="connsiteY22" fmla="*/ 1160891 h 1214813"/>
                <a:gd name="connsiteX23" fmla="*/ 182621 w 278411"/>
                <a:gd name="connsiteY23" fmla="*/ 1162194 h 1214813"/>
                <a:gd name="connsiteX24" fmla="*/ 183110 w 278411"/>
                <a:gd name="connsiteY24" fmla="*/ 1165615 h 1214813"/>
                <a:gd name="connsiteX25" fmla="*/ 180014 w 278411"/>
                <a:gd name="connsiteY25" fmla="*/ 1166104 h 1214813"/>
                <a:gd name="connsiteX26" fmla="*/ 171543 w 278411"/>
                <a:gd name="connsiteY26" fmla="*/ 1166755 h 1214813"/>
                <a:gd name="connsiteX27" fmla="*/ 169751 w 278411"/>
                <a:gd name="connsiteY27" fmla="*/ 1167896 h 1214813"/>
                <a:gd name="connsiteX28" fmla="*/ 171543 w 278411"/>
                <a:gd name="connsiteY28" fmla="*/ 1169688 h 1214813"/>
                <a:gd name="connsiteX29" fmla="*/ 170729 w 278411"/>
                <a:gd name="connsiteY29" fmla="*/ 1170991 h 1214813"/>
                <a:gd name="connsiteX30" fmla="*/ 166656 w 278411"/>
                <a:gd name="connsiteY30" fmla="*/ 1170177 h 1214813"/>
                <a:gd name="connsiteX31" fmla="*/ 161769 w 278411"/>
                <a:gd name="connsiteY31" fmla="*/ 1171480 h 1214813"/>
                <a:gd name="connsiteX32" fmla="*/ 162583 w 278411"/>
                <a:gd name="connsiteY32" fmla="*/ 1174249 h 1214813"/>
                <a:gd name="connsiteX33" fmla="*/ 168285 w 278411"/>
                <a:gd name="connsiteY33" fmla="*/ 1175227 h 1214813"/>
                <a:gd name="connsiteX34" fmla="*/ 172846 w 278411"/>
                <a:gd name="connsiteY34" fmla="*/ 1175227 h 1214813"/>
                <a:gd name="connsiteX35" fmla="*/ 174150 w 278411"/>
                <a:gd name="connsiteY35" fmla="*/ 1172620 h 1214813"/>
                <a:gd name="connsiteX36" fmla="*/ 175616 w 278411"/>
                <a:gd name="connsiteY36" fmla="*/ 1171643 h 1214813"/>
                <a:gd name="connsiteX37" fmla="*/ 178711 w 278411"/>
                <a:gd name="connsiteY37" fmla="*/ 1172946 h 1214813"/>
                <a:gd name="connsiteX38" fmla="*/ 183598 w 278411"/>
                <a:gd name="connsiteY38" fmla="*/ 1176204 h 1214813"/>
                <a:gd name="connsiteX39" fmla="*/ 186042 w 278411"/>
                <a:gd name="connsiteY39" fmla="*/ 1175064 h 1214813"/>
                <a:gd name="connsiteX40" fmla="*/ 187508 w 278411"/>
                <a:gd name="connsiteY40" fmla="*/ 1176856 h 1214813"/>
                <a:gd name="connsiteX41" fmla="*/ 187508 w 278411"/>
                <a:gd name="connsiteY41" fmla="*/ 1179788 h 1214813"/>
                <a:gd name="connsiteX42" fmla="*/ 190766 w 278411"/>
                <a:gd name="connsiteY42" fmla="*/ 1181743 h 1214813"/>
                <a:gd name="connsiteX43" fmla="*/ 187020 w 278411"/>
                <a:gd name="connsiteY43" fmla="*/ 1183535 h 1214813"/>
                <a:gd name="connsiteX44" fmla="*/ 184739 w 278411"/>
                <a:gd name="connsiteY44" fmla="*/ 1188096 h 1214813"/>
                <a:gd name="connsiteX45" fmla="*/ 187671 w 278411"/>
                <a:gd name="connsiteY45" fmla="*/ 1191355 h 1214813"/>
                <a:gd name="connsiteX46" fmla="*/ 190929 w 278411"/>
                <a:gd name="connsiteY46" fmla="*/ 1191355 h 1214813"/>
                <a:gd name="connsiteX47" fmla="*/ 193862 w 278411"/>
                <a:gd name="connsiteY47" fmla="*/ 1192495 h 1214813"/>
                <a:gd name="connsiteX48" fmla="*/ 198097 w 278411"/>
                <a:gd name="connsiteY48" fmla="*/ 1196730 h 1214813"/>
                <a:gd name="connsiteX49" fmla="*/ 201030 w 278411"/>
                <a:gd name="connsiteY49" fmla="*/ 1196730 h 1214813"/>
                <a:gd name="connsiteX50" fmla="*/ 201681 w 278411"/>
                <a:gd name="connsiteY50" fmla="*/ 1195102 h 1214813"/>
                <a:gd name="connsiteX51" fmla="*/ 198586 w 278411"/>
                <a:gd name="connsiteY51" fmla="*/ 1192821 h 1214813"/>
                <a:gd name="connsiteX52" fmla="*/ 193536 w 278411"/>
                <a:gd name="connsiteY52" fmla="*/ 1189889 h 1214813"/>
                <a:gd name="connsiteX53" fmla="*/ 192884 w 278411"/>
                <a:gd name="connsiteY53" fmla="*/ 1187282 h 1214813"/>
                <a:gd name="connsiteX54" fmla="*/ 194188 w 278411"/>
                <a:gd name="connsiteY54" fmla="*/ 1186956 h 1214813"/>
                <a:gd name="connsiteX55" fmla="*/ 197935 w 278411"/>
                <a:gd name="connsiteY55" fmla="*/ 1188585 h 1214813"/>
                <a:gd name="connsiteX56" fmla="*/ 200867 w 278411"/>
                <a:gd name="connsiteY56" fmla="*/ 1186468 h 1214813"/>
                <a:gd name="connsiteX57" fmla="*/ 201681 w 278411"/>
                <a:gd name="connsiteY57" fmla="*/ 1184187 h 1214813"/>
                <a:gd name="connsiteX58" fmla="*/ 198260 w 278411"/>
                <a:gd name="connsiteY58" fmla="*/ 1183372 h 1214813"/>
                <a:gd name="connsiteX59" fmla="*/ 195491 w 278411"/>
                <a:gd name="connsiteY59" fmla="*/ 1181580 h 1214813"/>
                <a:gd name="connsiteX60" fmla="*/ 206406 w 278411"/>
                <a:gd name="connsiteY60" fmla="*/ 1177345 h 1214813"/>
                <a:gd name="connsiteX61" fmla="*/ 210804 w 278411"/>
                <a:gd name="connsiteY61" fmla="*/ 1175064 h 1214813"/>
                <a:gd name="connsiteX62" fmla="*/ 231005 w 278411"/>
                <a:gd name="connsiteY62" fmla="*/ 1180277 h 1214813"/>
                <a:gd name="connsiteX63" fmla="*/ 233612 w 278411"/>
                <a:gd name="connsiteY63" fmla="*/ 1178648 h 1214813"/>
                <a:gd name="connsiteX64" fmla="*/ 233123 w 278411"/>
                <a:gd name="connsiteY64" fmla="*/ 1175878 h 1214813"/>
                <a:gd name="connsiteX65" fmla="*/ 238988 w 278411"/>
                <a:gd name="connsiteY65" fmla="*/ 1175878 h 1214813"/>
                <a:gd name="connsiteX66" fmla="*/ 235404 w 278411"/>
                <a:gd name="connsiteY66" fmla="*/ 1163823 h 1214813"/>
                <a:gd name="connsiteX67" fmla="*/ 229539 w 278411"/>
                <a:gd name="connsiteY67" fmla="*/ 1162357 h 1214813"/>
                <a:gd name="connsiteX68" fmla="*/ 217321 w 278411"/>
                <a:gd name="connsiteY68" fmla="*/ 1154211 h 1214813"/>
                <a:gd name="connsiteX69" fmla="*/ 208687 w 278411"/>
                <a:gd name="connsiteY69" fmla="*/ 1151116 h 1214813"/>
                <a:gd name="connsiteX70" fmla="*/ 204451 w 278411"/>
                <a:gd name="connsiteY70" fmla="*/ 1151605 h 1214813"/>
                <a:gd name="connsiteX71" fmla="*/ 198912 w 278411"/>
                <a:gd name="connsiteY71" fmla="*/ 1148184 h 1214813"/>
                <a:gd name="connsiteX72" fmla="*/ 194351 w 278411"/>
                <a:gd name="connsiteY72" fmla="*/ 1143622 h 1214813"/>
                <a:gd name="connsiteX73" fmla="*/ 193536 w 278411"/>
                <a:gd name="connsiteY73" fmla="*/ 1141341 h 1214813"/>
                <a:gd name="connsiteX74" fmla="*/ 193536 w 278411"/>
                <a:gd name="connsiteY74" fmla="*/ 1139061 h 1214813"/>
                <a:gd name="connsiteX75" fmla="*/ 201519 w 278411"/>
                <a:gd name="connsiteY75" fmla="*/ 1135151 h 1214813"/>
                <a:gd name="connsiteX76" fmla="*/ 202496 w 278411"/>
                <a:gd name="connsiteY76" fmla="*/ 1132545 h 1214813"/>
                <a:gd name="connsiteX77" fmla="*/ 207546 w 278411"/>
                <a:gd name="connsiteY77" fmla="*/ 1131078 h 1214813"/>
                <a:gd name="connsiteX78" fmla="*/ 210967 w 278411"/>
                <a:gd name="connsiteY78" fmla="*/ 1125214 h 1214813"/>
                <a:gd name="connsiteX79" fmla="*/ 209501 w 278411"/>
                <a:gd name="connsiteY79" fmla="*/ 1120978 h 1214813"/>
                <a:gd name="connsiteX80" fmla="*/ 203962 w 278411"/>
                <a:gd name="connsiteY80" fmla="*/ 1120978 h 1214813"/>
                <a:gd name="connsiteX81" fmla="*/ 196631 w 278411"/>
                <a:gd name="connsiteY81" fmla="*/ 1124888 h 1214813"/>
                <a:gd name="connsiteX82" fmla="*/ 192884 w 278411"/>
                <a:gd name="connsiteY82" fmla="*/ 1129123 h 1214813"/>
                <a:gd name="connsiteX83" fmla="*/ 189137 w 278411"/>
                <a:gd name="connsiteY83" fmla="*/ 1129123 h 1214813"/>
                <a:gd name="connsiteX84" fmla="*/ 184087 w 278411"/>
                <a:gd name="connsiteY84" fmla="*/ 1123096 h 1214813"/>
                <a:gd name="connsiteX85" fmla="*/ 183762 w 278411"/>
                <a:gd name="connsiteY85" fmla="*/ 1117231 h 1214813"/>
                <a:gd name="connsiteX86" fmla="*/ 182295 w 278411"/>
                <a:gd name="connsiteY86" fmla="*/ 1114136 h 1214813"/>
                <a:gd name="connsiteX87" fmla="*/ 186531 w 278411"/>
                <a:gd name="connsiteY87" fmla="*/ 1109900 h 1214813"/>
                <a:gd name="connsiteX88" fmla="*/ 187346 w 278411"/>
                <a:gd name="connsiteY88" fmla="*/ 1106153 h 1214813"/>
                <a:gd name="connsiteX89" fmla="*/ 183436 w 278411"/>
                <a:gd name="connsiteY89" fmla="*/ 1106642 h 1214813"/>
                <a:gd name="connsiteX90" fmla="*/ 180340 w 278411"/>
                <a:gd name="connsiteY90" fmla="*/ 1104198 h 1214813"/>
                <a:gd name="connsiteX91" fmla="*/ 183436 w 278411"/>
                <a:gd name="connsiteY91" fmla="*/ 1099800 h 1214813"/>
                <a:gd name="connsiteX92" fmla="*/ 186531 w 278411"/>
                <a:gd name="connsiteY92" fmla="*/ 1100777 h 1214813"/>
                <a:gd name="connsiteX93" fmla="*/ 191744 w 278411"/>
                <a:gd name="connsiteY93" fmla="*/ 1103710 h 1214813"/>
                <a:gd name="connsiteX94" fmla="*/ 193047 w 278411"/>
                <a:gd name="connsiteY94" fmla="*/ 1101429 h 1214813"/>
                <a:gd name="connsiteX95" fmla="*/ 197446 w 278411"/>
                <a:gd name="connsiteY95" fmla="*/ 1097193 h 1214813"/>
                <a:gd name="connsiteX96" fmla="*/ 198097 w 278411"/>
                <a:gd name="connsiteY96" fmla="*/ 1093935 h 1214813"/>
                <a:gd name="connsiteX97" fmla="*/ 196957 w 278411"/>
                <a:gd name="connsiteY97" fmla="*/ 1089862 h 1214813"/>
                <a:gd name="connsiteX98" fmla="*/ 198912 w 278411"/>
                <a:gd name="connsiteY98" fmla="*/ 1085952 h 1214813"/>
                <a:gd name="connsiteX99" fmla="*/ 202659 w 278411"/>
                <a:gd name="connsiteY99" fmla="*/ 1086930 h 1214813"/>
                <a:gd name="connsiteX100" fmla="*/ 206569 w 278411"/>
                <a:gd name="connsiteY100" fmla="*/ 1090677 h 1214813"/>
                <a:gd name="connsiteX101" fmla="*/ 208849 w 278411"/>
                <a:gd name="connsiteY101" fmla="*/ 1088885 h 1214813"/>
                <a:gd name="connsiteX102" fmla="*/ 215855 w 278411"/>
                <a:gd name="connsiteY102" fmla="*/ 1085952 h 1214813"/>
                <a:gd name="connsiteX103" fmla="*/ 223185 w 278411"/>
                <a:gd name="connsiteY103" fmla="*/ 1114950 h 1214813"/>
                <a:gd name="connsiteX104" fmla="*/ 222860 w 278411"/>
                <a:gd name="connsiteY104" fmla="*/ 1115928 h 1214813"/>
                <a:gd name="connsiteX105" fmla="*/ 223511 w 278411"/>
                <a:gd name="connsiteY105" fmla="*/ 1116254 h 1214813"/>
                <a:gd name="connsiteX106" fmla="*/ 235567 w 278411"/>
                <a:gd name="connsiteY106" fmla="*/ 1163986 h 1214813"/>
                <a:gd name="connsiteX107" fmla="*/ 235567 w 278411"/>
                <a:gd name="connsiteY107" fmla="*/ 1163986 h 1214813"/>
                <a:gd name="connsiteX108" fmla="*/ 215203 w 278411"/>
                <a:gd name="connsiteY108" fmla="*/ 1077318 h 1214813"/>
                <a:gd name="connsiteX109" fmla="*/ 208198 w 278411"/>
                <a:gd name="connsiteY109" fmla="*/ 1070965 h 1214813"/>
                <a:gd name="connsiteX110" fmla="*/ 202659 w 278411"/>
                <a:gd name="connsiteY110" fmla="*/ 1070150 h 1214813"/>
                <a:gd name="connsiteX111" fmla="*/ 200867 w 278411"/>
                <a:gd name="connsiteY111" fmla="*/ 1068032 h 1214813"/>
                <a:gd name="connsiteX112" fmla="*/ 167796 w 278411"/>
                <a:gd name="connsiteY112" fmla="*/ 1068032 h 1214813"/>
                <a:gd name="connsiteX113" fmla="*/ 149388 w 278411"/>
                <a:gd name="connsiteY113" fmla="*/ 1071128 h 1214813"/>
                <a:gd name="connsiteX114" fmla="*/ 145152 w 278411"/>
                <a:gd name="connsiteY114" fmla="*/ 1068684 h 1214813"/>
                <a:gd name="connsiteX115" fmla="*/ 132771 w 278411"/>
                <a:gd name="connsiteY115" fmla="*/ 1067707 h 1214813"/>
                <a:gd name="connsiteX116" fmla="*/ 128698 w 278411"/>
                <a:gd name="connsiteY116" fmla="*/ 1056955 h 1214813"/>
                <a:gd name="connsiteX117" fmla="*/ 126092 w 278411"/>
                <a:gd name="connsiteY117" fmla="*/ 1047995 h 1214813"/>
                <a:gd name="connsiteX118" fmla="*/ 120553 w 278411"/>
                <a:gd name="connsiteY118" fmla="*/ 1042945 h 1214813"/>
                <a:gd name="connsiteX119" fmla="*/ 118923 w 278411"/>
                <a:gd name="connsiteY119" fmla="*/ 1028282 h 1214813"/>
                <a:gd name="connsiteX120" fmla="*/ 118923 w 278411"/>
                <a:gd name="connsiteY120" fmla="*/ 1021441 h 1214813"/>
                <a:gd name="connsiteX121" fmla="*/ 113547 w 278411"/>
                <a:gd name="connsiteY121" fmla="*/ 1021441 h 1214813"/>
                <a:gd name="connsiteX122" fmla="*/ 105402 w 278411"/>
                <a:gd name="connsiteY122" fmla="*/ 1025676 h 1214813"/>
                <a:gd name="connsiteX123" fmla="*/ 101004 w 278411"/>
                <a:gd name="connsiteY123" fmla="*/ 1030726 h 1214813"/>
                <a:gd name="connsiteX124" fmla="*/ 95790 w 278411"/>
                <a:gd name="connsiteY124" fmla="*/ 1030726 h 1214813"/>
                <a:gd name="connsiteX125" fmla="*/ 84550 w 278411"/>
                <a:gd name="connsiteY125" fmla="*/ 1008245 h 1214813"/>
                <a:gd name="connsiteX126" fmla="*/ 83084 w 278411"/>
                <a:gd name="connsiteY126" fmla="*/ 1000099 h 1214813"/>
                <a:gd name="connsiteX127" fmla="*/ 86342 w 278411"/>
                <a:gd name="connsiteY127" fmla="*/ 977292 h 1214813"/>
                <a:gd name="connsiteX128" fmla="*/ 91718 w 278411"/>
                <a:gd name="connsiteY128" fmla="*/ 969472 h 1214813"/>
                <a:gd name="connsiteX129" fmla="*/ 100515 w 278411"/>
                <a:gd name="connsiteY129" fmla="*/ 960187 h 1214813"/>
                <a:gd name="connsiteX130" fmla="*/ 103121 w 278411"/>
                <a:gd name="connsiteY130" fmla="*/ 947154 h 1214813"/>
                <a:gd name="connsiteX131" fmla="*/ 100515 w 278411"/>
                <a:gd name="connsiteY131" fmla="*/ 933632 h 1214813"/>
                <a:gd name="connsiteX132" fmla="*/ 97257 w 278411"/>
                <a:gd name="connsiteY132" fmla="*/ 923695 h 1214813"/>
                <a:gd name="connsiteX133" fmla="*/ 99212 w 278411"/>
                <a:gd name="connsiteY133" fmla="*/ 912128 h 1214813"/>
                <a:gd name="connsiteX134" fmla="*/ 104425 w 278411"/>
                <a:gd name="connsiteY134" fmla="*/ 906264 h 1214813"/>
                <a:gd name="connsiteX135" fmla="*/ 99374 w 278411"/>
                <a:gd name="connsiteY135" fmla="*/ 894209 h 1214813"/>
                <a:gd name="connsiteX136" fmla="*/ 100189 w 278411"/>
                <a:gd name="connsiteY136" fmla="*/ 888344 h 1214813"/>
                <a:gd name="connsiteX137" fmla="*/ 104750 w 278411"/>
                <a:gd name="connsiteY137" fmla="*/ 883619 h 1214813"/>
                <a:gd name="connsiteX138" fmla="*/ 101818 w 278411"/>
                <a:gd name="connsiteY138" fmla="*/ 872704 h 1214813"/>
                <a:gd name="connsiteX139" fmla="*/ 99863 w 278411"/>
                <a:gd name="connsiteY139" fmla="*/ 858531 h 1214813"/>
                <a:gd name="connsiteX140" fmla="*/ 96605 w 278411"/>
                <a:gd name="connsiteY140" fmla="*/ 851852 h 1214813"/>
                <a:gd name="connsiteX141" fmla="*/ 97094 w 278411"/>
                <a:gd name="connsiteY141" fmla="*/ 846802 h 1214813"/>
                <a:gd name="connsiteX142" fmla="*/ 103610 w 278411"/>
                <a:gd name="connsiteY142" fmla="*/ 841100 h 1214813"/>
                <a:gd name="connsiteX143" fmla="*/ 103610 w 278411"/>
                <a:gd name="connsiteY143" fmla="*/ 835236 h 1214813"/>
                <a:gd name="connsiteX144" fmla="*/ 98234 w 278411"/>
                <a:gd name="connsiteY144" fmla="*/ 825787 h 1214813"/>
                <a:gd name="connsiteX145" fmla="*/ 89763 w 278411"/>
                <a:gd name="connsiteY145" fmla="*/ 819922 h 1214813"/>
                <a:gd name="connsiteX146" fmla="*/ 84387 w 278411"/>
                <a:gd name="connsiteY146" fmla="*/ 819922 h 1214813"/>
                <a:gd name="connsiteX147" fmla="*/ 82758 w 278411"/>
                <a:gd name="connsiteY147" fmla="*/ 821388 h 1214813"/>
                <a:gd name="connsiteX148" fmla="*/ 79663 w 278411"/>
                <a:gd name="connsiteY148" fmla="*/ 818293 h 1214813"/>
                <a:gd name="connsiteX149" fmla="*/ 81455 w 278411"/>
                <a:gd name="connsiteY149" fmla="*/ 813894 h 1214813"/>
                <a:gd name="connsiteX150" fmla="*/ 93021 w 278411"/>
                <a:gd name="connsiteY150" fmla="*/ 813894 h 1214813"/>
                <a:gd name="connsiteX151" fmla="*/ 98723 w 278411"/>
                <a:gd name="connsiteY151" fmla="*/ 807378 h 1214813"/>
                <a:gd name="connsiteX152" fmla="*/ 98397 w 278411"/>
                <a:gd name="connsiteY152" fmla="*/ 801187 h 1214813"/>
                <a:gd name="connsiteX153" fmla="*/ 94976 w 278411"/>
                <a:gd name="connsiteY153" fmla="*/ 799721 h 1214813"/>
                <a:gd name="connsiteX154" fmla="*/ 91066 w 278411"/>
                <a:gd name="connsiteY154" fmla="*/ 802491 h 1214813"/>
                <a:gd name="connsiteX155" fmla="*/ 86342 w 278411"/>
                <a:gd name="connsiteY155" fmla="*/ 801513 h 1214813"/>
                <a:gd name="connsiteX156" fmla="*/ 83898 w 278411"/>
                <a:gd name="connsiteY156" fmla="*/ 789784 h 1214813"/>
                <a:gd name="connsiteX157" fmla="*/ 79174 w 278411"/>
                <a:gd name="connsiteY157" fmla="*/ 779520 h 1214813"/>
                <a:gd name="connsiteX158" fmla="*/ 78848 w 278411"/>
                <a:gd name="connsiteY158" fmla="*/ 772189 h 1214813"/>
                <a:gd name="connsiteX159" fmla="*/ 79337 w 278411"/>
                <a:gd name="connsiteY159" fmla="*/ 763555 h 1214813"/>
                <a:gd name="connsiteX160" fmla="*/ 71191 w 278411"/>
                <a:gd name="connsiteY160" fmla="*/ 760786 h 1214813"/>
                <a:gd name="connsiteX161" fmla="*/ 68747 w 278411"/>
                <a:gd name="connsiteY161" fmla="*/ 753292 h 1214813"/>
                <a:gd name="connsiteX162" fmla="*/ 67607 w 278411"/>
                <a:gd name="connsiteY162" fmla="*/ 733743 h 1214813"/>
                <a:gd name="connsiteX163" fmla="*/ 73146 w 278411"/>
                <a:gd name="connsiteY163" fmla="*/ 729996 h 1214813"/>
                <a:gd name="connsiteX164" fmla="*/ 74775 w 278411"/>
                <a:gd name="connsiteY164" fmla="*/ 723317 h 1214813"/>
                <a:gd name="connsiteX165" fmla="*/ 72006 w 278411"/>
                <a:gd name="connsiteY165" fmla="*/ 718104 h 1214813"/>
                <a:gd name="connsiteX166" fmla="*/ 67281 w 278411"/>
                <a:gd name="connsiteY166" fmla="*/ 715660 h 1214813"/>
                <a:gd name="connsiteX167" fmla="*/ 65001 w 278411"/>
                <a:gd name="connsiteY167" fmla="*/ 703605 h 1214813"/>
                <a:gd name="connsiteX168" fmla="*/ 64023 w 278411"/>
                <a:gd name="connsiteY168" fmla="*/ 686825 h 1214813"/>
                <a:gd name="connsiteX169" fmla="*/ 65652 w 278411"/>
                <a:gd name="connsiteY169" fmla="*/ 667602 h 1214813"/>
                <a:gd name="connsiteX170" fmla="*/ 60928 w 278411"/>
                <a:gd name="connsiteY170" fmla="*/ 659619 h 1214813"/>
                <a:gd name="connsiteX171" fmla="*/ 59788 w 278411"/>
                <a:gd name="connsiteY171" fmla="*/ 650822 h 1214813"/>
                <a:gd name="connsiteX172" fmla="*/ 69236 w 278411"/>
                <a:gd name="connsiteY172" fmla="*/ 638278 h 1214813"/>
                <a:gd name="connsiteX173" fmla="*/ 70703 w 278411"/>
                <a:gd name="connsiteY173" fmla="*/ 624268 h 1214813"/>
                <a:gd name="connsiteX174" fmla="*/ 77545 w 278411"/>
                <a:gd name="connsiteY174" fmla="*/ 621010 h 1214813"/>
                <a:gd name="connsiteX175" fmla="*/ 81292 w 278411"/>
                <a:gd name="connsiteY175" fmla="*/ 616611 h 1214813"/>
                <a:gd name="connsiteX176" fmla="*/ 65978 w 278411"/>
                <a:gd name="connsiteY176" fmla="*/ 586636 h 1214813"/>
                <a:gd name="connsiteX177" fmla="*/ 67770 w 278411"/>
                <a:gd name="connsiteY177" fmla="*/ 576698 h 1214813"/>
                <a:gd name="connsiteX178" fmla="*/ 67770 w 278411"/>
                <a:gd name="connsiteY178" fmla="*/ 551611 h 1214813"/>
                <a:gd name="connsiteX179" fmla="*/ 72983 w 278411"/>
                <a:gd name="connsiteY179" fmla="*/ 540859 h 1214813"/>
                <a:gd name="connsiteX180" fmla="*/ 79011 w 278411"/>
                <a:gd name="connsiteY180" fmla="*/ 534668 h 1214813"/>
                <a:gd name="connsiteX181" fmla="*/ 77707 w 278411"/>
                <a:gd name="connsiteY181" fmla="*/ 525382 h 1214813"/>
                <a:gd name="connsiteX182" fmla="*/ 72495 w 278411"/>
                <a:gd name="connsiteY182" fmla="*/ 516748 h 1214813"/>
                <a:gd name="connsiteX183" fmla="*/ 69073 w 278411"/>
                <a:gd name="connsiteY183" fmla="*/ 513816 h 1214813"/>
                <a:gd name="connsiteX184" fmla="*/ 74938 w 278411"/>
                <a:gd name="connsiteY184" fmla="*/ 505181 h 1214813"/>
                <a:gd name="connsiteX185" fmla="*/ 73472 w 278411"/>
                <a:gd name="connsiteY185" fmla="*/ 495081 h 1214813"/>
                <a:gd name="connsiteX186" fmla="*/ 77707 w 278411"/>
                <a:gd name="connsiteY186" fmla="*/ 484818 h 1214813"/>
                <a:gd name="connsiteX187" fmla="*/ 82758 w 278411"/>
                <a:gd name="connsiteY187" fmla="*/ 483189 h 1214813"/>
                <a:gd name="connsiteX188" fmla="*/ 84061 w 278411"/>
                <a:gd name="connsiteY188" fmla="*/ 470970 h 1214813"/>
                <a:gd name="connsiteX189" fmla="*/ 81780 w 278411"/>
                <a:gd name="connsiteY189" fmla="*/ 451259 h 1214813"/>
                <a:gd name="connsiteX190" fmla="*/ 78033 w 278411"/>
                <a:gd name="connsiteY190" fmla="*/ 447837 h 1214813"/>
                <a:gd name="connsiteX191" fmla="*/ 74938 w 278411"/>
                <a:gd name="connsiteY191" fmla="*/ 432850 h 1214813"/>
                <a:gd name="connsiteX192" fmla="*/ 70865 w 278411"/>
                <a:gd name="connsiteY192" fmla="*/ 425030 h 1214813"/>
                <a:gd name="connsiteX193" fmla="*/ 65001 w 278411"/>
                <a:gd name="connsiteY193" fmla="*/ 415581 h 1214813"/>
                <a:gd name="connsiteX194" fmla="*/ 64023 w 278411"/>
                <a:gd name="connsiteY194" fmla="*/ 410857 h 1214813"/>
                <a:gd name="connsiteX195" fmla="*/ 59462 w 278411"/>
                <a:gd name="connsiteY195" fmla="*/ 404667 h 1214813"/>
                <a:gd name="connsiteX196" fmla="*/ 56855 w 278411"/>
                <a:gd name="connsiteY196" fmla="*/ 392122 h 1214813"/>
                <a:gd name="connsiteX197" fmla="*/ 58158 w 278411"/>
                <a:gd name="connsiteY197" fmla="*/ 382348 h 1214813"/>
                <a:gd name="connsiteX198" fmla="*/ 65326 w 278411"/>
                <a:gd name="connsiteY198" fmla="*/ 379090 h 1214813"/>
                <a:gd name="connsiteX199" fmla="*/ 65326 w 278411"/>
                <a:gd name="connsiteY199" fmla="*/ 366383 h 1214813"/>
                <a:gd name="connsiteX200" fmla="*/ 69562 w 278411"/>
                <a:gd name="connsiteY200" fmla="*/ 361170 h 1214813"/>
                <a:gd name="connsiteX201" fmla="*/ 69888 w 278411"/>
                <a:gd name="connsiteY201" fmla="*/ 349929 h 1214813"/>
                <a:gd name="connsiteX202" fmla="*/ 65326 w 278411"/>
                <a:gd name="connsiteY202" fmla="*/ 341458 h 1214813"/>
                <a:gd name="connsiteX203" fmla="*/ 64512 w 278411"/>
                <a:gd name="connsiteY203" fmla="*/ 325493 h 1214813"/>
                <a:gd name="connsiteX204" fmla="*/ 68096 w 278411"/>
                <a:gd name="connsiteY204" fmla="*/ 321909 h 1214813"/>
                <a:gd name="connsiteX205" fmla="*/ 69888 w 278411"/>
                <a:gd name="connsiteY205" fmla="*/ 303011 h 1214813"/>
                <a:gd name="connsiteX206" fmla="*/ 74612 w 278411"/>
                <a:gd name="connsiteY206" fmla="*/ 296495 h 1214813"/>
                <a:gd name="connsiteX207" fmla="*/ 81455 w 278411"/>
                <a:gd name="connsiteY207" fmla="*/ 279389 h 1214813"/>
                <a:gd name="connsiteX208" fmla="*/ 88134 w 278411"/>
                <a:gd name="connsiteY208" fmla="*/ 272547 h 1214813"/>
                <a:gd name="connsiteX209" fmla="*/ 93184 w 278411"/>
                <a:gd name="connsiteY209" fmla="*/ 269941 h 1214813"/>
                <a:gd name="connsiteX210" fmla="*/ 97094 w 278411"/>
                <a:gd name="connsiteY210" fmla="*/ 265379 h 1214813"/>
                <a:gd name="connsiteX211" fmla="*/ 94650 w 278411"/>
                <a:gd name="connsiteY211" fmla="*/ 262773 h 1214813"/>
                <a:gd name="connsiteX212" fmla="*/ 94324 w 278411"/>
                <a:gd name="connsiteY212" fmla="*/ 255604 h 1214813"/>
                <a:gd name="connsiteX213" fmla="*/ 92532 w 278411"/>
                <a:gd name="connsiteY213" fmla="*/ 251858 h 1214813"/>
                <a:gd name="connsiteX214" fmla="*/ 89437 w 278411"/>
                <a:gd name="connsiteY214" fmla="*/ 249251 h 1214813"/>
                <a:gd name="connsiteX215" fmla="*/ 90577 w 278411"/>
                <a:gd name="connsiteY215" fmla="*/ 244201 h 1214813"/>
                <a:gd name="connsiteX216" fmla="*/ 95139 w 278411"/>
                <a:gd name="connsiteY216" fmla="*/ 240780 h 1214813"/>
                <a:gd name="connsiteX217" fmla="*/ 95139 w 278411"/>
                <a:gd name="connsiteY217" fmla="*/ 234263 h 1214813"/>
                <a:gd name="connsiteX218" fmla="*/ 89600 w 278411"/>
                <a:gd name="connsiteY218" fmla="*/ 227258 h 1214813"/>
                <a:gd name="connsiteX219" fmla="*/ 88134 w 278411"/>
                <a:gd name="connsiteY219" fmla="*/ 218624 h 1214813"/>
                <a:gd name="connsiteX220" fmla="*/ 91229 w 278411"/>
                <a:gd name="connsiteY220" fmla="*/ 213085 h 1214813"/>
                <a:gd name="connsiteX221" fmla="*/ 89926 w 278411"/>
                <a:gd name="connsiteY221" fmla="*/ 208524 h 1214813"/>
                <a:gd name="connsiteX222" fmla="*/ 84550 w 278411"/>
                <a:gd name="connsiteY222" fmla="*/ 204125 h 1214813"/>
                <a:gd name="connsiteX223" fmla="*/ 86505 w 278411"/>
                <a:gd name="connsiteY223" fmla="*/ 197446 h 1214813"/>
                <a:gd name="connsiteX224" fmla="*/ 117131 w 278411"/>
                <a:gd name="connsiteY224" fmla="*/ 181155 h 1214813"/>
                <a:gd name="connsiteX225" fmla="*/ 123811 w 278411"/>
                <a:gd name="connsiteY225" fmla="*/ 152157 h 1214813"/>
                <a:gd name="connsiteX226" fmla="*/ 120390 w 278411"/>
                <a:gd name="connsiteY226" fmla="*/ 145152 h 1214813"/>
                <a:gd name="connsiteX227" fmla="*/ 116317 w 278411"/>
                <a:gd name="connsiteY227" fmla="*/ 145804 h 1214813"/>
                <a:gd name="connsiteX228" fmla="*/ 114525 w 278411"/>
                <a:gd name="connsiteY228" fmla="*/ 149062 h 1214813"/>
                <a:gd name="connsiteX229" fmla="*/ 107520 w 278411"/>
                <a:gd name="connsiteY229" fmla="*/ 149062 h 1214813"/>
                <a:gd name="connsiteX230" fmla="*/ 88622 w 278411"/>
                <a:gd name="connsiteY230" fmla="*/ 98560 h 1214813"/>
                <a:gd name="connsiteX231" fmla="*/ 76079 w 278411"/>
                <a:gd name="connsiteY231" fmla="*/ 86668 h 1214813"/>
                <a:gd name="connsiteX232" fmla="*/ 72331 w 278411"/>
                <a:gd name="connsiteY232" fmla="*/ 81455 h 1214813"/>
                <a:gd name="connsiteX233" fmla="*/ 78685 w 278411"/>
                <a:gd name="connsiteY233" fmla="*/ 67770 h 1214813"/>
                <a:gd name="connsiteX234" fmla="*/ 76893 w 278411"/>
                <a:gd name="connsiteY234" fmla="*/ 62557 h 1214813"/>
                <a:gd name="connsiteX235" fmla="*/ 79825 w 278411"/>
                <a:gd name="connsiteY235" fmla="*/ 55226 h 1214813"/>
                <a:gd name="connsiteX236" fmla="*/ 78848 w 278411"/>
                <a:gd name="connsiteY236" fmla="*/ 51153 h 1214813"/>
                <a:gd name="connsiteX237" fmla="*/ 67281 w 278411"/>
                <a:gd name="connsiteY237" fmla="*/ 41705 h 1214813"/>
                <a:gd name="connsiteX238" fmla="*/ 63209 w 278411"/>
                <a:gd name="connsiteY238" fmla="*/ 36003 h 1214813"/>
                <a:gd name="connsiteX239" fmla="*/ 61905 w 278411"/>
                <a:gd name="connsiteY239" fmla="*/ 27369 h 1214813"/>
                <a:gd name="connsiteX240" fmla="*/ 60928 w 278411"/>
                <a:gd name="connsiteY240" fmla="*/ 24599 h 1214813"/>
                <a:gd name="connsiteX241" fmla="*/ 62068 w 278411"/>
                <a:gd name="connsiteY241" fmla="*/ 19549 h 1214813"/>
                <a:gd name="connsiteX242" fmla="*/ 61417 w 278411"/>
                <a:gd name="connsiteY242" fmla="*/ 14825 h 1214813"/>
                <a:gd name="connsiteX243" fmla="*/ 58647 w 278411"/>
                <a:gd name="connsiteY243" fmla="*/ 12218 h 1214813"/>
                <a:gd name="connsiteX244" fmla="*/ 53434 w 278411"/>
                <a:gd name="connsiteY244" fmla="*/ 7657 h 1214813"/>
                <a:gd name="connsiteX245" fmla="*/ 52945 w 278411"/>
                <a:gd name="connsiteY245" fmla="*/ 1140 h 1214813"/>
                <a:gd name="connsiteX246" fmla="*/ 48221 w 278411"/>
                <a:gd name="connsiteY246" fmla="*/ 0 h 1214813"/>
                <a:gd name="connsiteX247" fmla="*/ 45614 w 278411"/>
                <a:gd name="connsiteY247" fmla="*/ 4236 h 1214813"/>
                <a:gd name="connsiteX248" fmla="*/ 43985 w 278411"/>
                <a:gd name="connsiteY248" fmla="*/ 8634 h 1214813"/>
                <a:gd name="connsiteX249" fmla="*/ 48547 w 278411"/>
                <a:gd name="connsiteY249" fmla="*/ 13033 h 1214813"/>
                <a:gd name="connsiteX250" fmla="*/ 46755 w 278411"/>
                <a:gd name="connsiteY250" fmla="*/ 17268 h 1214813"/>
                <a:gd name="connsiteX251" fmla="*/ 41705 w 278411"/>
                <a:gd name="connsiteY251" fmla="*/ 20364 h 1214813"/>
                <a:gd name="connsiteX252" fmla="*/ 38446 w 278411"/>
                <a:gd name="connsiteY252" fmla="*/ 19549 h 1214813"/>
                <a:gd name="connsiteX253" fmla="*/ 32907 w 278411"/>
                <a:gd name="connsiteY253" fmla="*/ 23296 h 1214813"/>
                <a:gd name="connsiteX254" fmla="*/ 26554 w 278411"/>
                <a:gd name="connsiteY254" fmla="*/ 26391 h 1214813"/>
                <a:gd name="connsiteX255" fmla="*/ 28672 w 278411"/>
                <a:gd name="connsiteY255" fmla="*/ 28509 h 1214813"/>
                <a:gd name="connsiteX256" fmla="*/ 29161 w 278411"/>
                <a:gd name="connsiteY256" fmla="*/ 35677 h 1214813"/>
                <a:gd name="connsiteX257" fmla="*/ 28509 w 278411"/>
                <a:gd name="connsiteY257" fmla="*/ 41053 h 1214813"/>
                <a:gd name="connsiteX258" fmla="*/ 29649 w 278411"/>
                <a:gd name="connsiteY258" fmla="*/ 48221 h 1214813"/>
                <a:gd name="connsiteX259" fmla="*/ 33722 w 278411"/>
                <a:gd name="connsiteY259" fmla="*/ 67282 h 1214813"/>
                <a:gd name="connsiteX260" fmla="*/ 33722 w 278411"/>
                <a:gd name="connsiteY260" fmla="*/ 74450 h 1214813"/>
                <a:gd name="connsiteX261" fmla="*/ 32256 w 278411"/>
                <a:gd name="connsiteY261" fmla="*/ 79663 h 1214813"/>
                <a:gd name="connsiteX262" fmla="*/ 29487 w 278411"/>
                <a:gd name="connsiteY262" fmla="*/ 82595 h 1214813"/>
                <a:gd name="connsiteX263" fmla="*/ 31441 w 278411"/>
                <a:gd name="connsiteY263" fmla="*/ 92369 h 1214813"/>
                <a:gd name="connsiteX264" fmla="*/ 34537 w 278411"/>
                <a:gd name="connsiteY264" fmla="*/ 101981 h 1214813"/>
                <a:gd name="connsiteX265" fmla="*/ 37795 w 278411"/>
                <a:gd name="connsiteY265" fmla="*/ 110127 h 1214813"/>
                <a:gd name="connsiteX266" fmla="*/ 37795 w 278411"/>
                <a:gd name="connsiteY266" fmla="*/ 123322 h 1214813"/>
                <a:gd name="connsiteX267" fmla="*/ 36329 w 278411"/>
                <a:gd name="connsiteY267" fmla="*/ 127069 h 1214813"/>
                <a:gd name="connsiteX268" fmla="*/ 35188 w 278411"/>
                <a:gd name="connsiteY268" fmla="*/ 129513 h 1214813"/>
                <a:gd name="connsiteX269" fmla="*/ 36166 w 278411"/>
                <a:gd name="connsiteY269" fmla="*/ 147596 h 1214813"/>
                <a:gd name="connsiteX270" fmla="*/ 36166 w 278411"/>
                <a:gd name="connsiteY270" fmla="*/ 151994 h 1214813"/>
                <a:gd name="connsiteX271" fmla="*/ 32419 w 278411"/>
                <a:gd name="connsiteY271" fmla="*/ 154275 h 1214813"/>
                <a:gd name="connsiteX272" fmla="*/ 28998 w 278411"/>
                <a:gd name="connsiteY272" fmla="*/ 156719 h 1214813"/>
                <a:gd name="connsiteX273" fmla="*/ 29487 w 278411"/>
                <a:gd name="connsiteY273" fmla="*/ 166819 h 1214813"/>
                <a:gd name="connsiteX274" fmla="*/ 31115 w 278411"/>
                <a:gd name="connsiteY274" fmla="*/ 169426 h 1214813"/>
                <a:gd name="connsiteX275" fmla="*/ 34374 w 278411"/>
                <a:gd name="connsiteY275" fmla="*/ 166982 h 1214813"/>
                <a:gd name="connsiteX276" fmla="*/ 36329 w 278411"/>
                <a:gd name="connsiteY276" fmla="*/ 168774 h 1214813"/>
                <a:gd name="connsiteX277" fmla="*/ 33233 w 278411"/>
                <a:gd name="connsiteY277" fmla="*/ 171706 h 1214813"/>
                <a:gd name="connsiteX278" fmla="*/ 33233 w 278411"/>
                <a:gd name="connsiteY278" fmla="*/ 198423 h 1214813"/>
                <a:gd name="connsiteX279" fmla="*/ 37143 w 278411"/>
                <a:gd name="connsiteY279" fmla="*/ 208524 h 1214813"/>
                <a:gd name="connsiteX280" fmla="*/ 37958 w 278411"/>
                <a:gd name="connsiteY280" fmla="*/ 216506 h 1214813"/>
                <a:gd name="connsiteX281" fmla="*/ 36980 w 278411"/>
                <a:gd name="connsiteY281" fmla="*/ 223186 h 1214813"/>
                <a:gd name="connsiteX282" fmla="*/ 32745 w 278411"/>
                <a:gd name="connsiteY282" fmla="*/ 230028 h 1214813"/>
                <a:gd name="connsiteX283" fmla="*/ 32745 w 278411"/>
                <a:gd name="connsiteY283" fmla="*/ 236707 h 1214813"/>
                <a:gd name="connsiteX284" fmla="*/ 37469 w 278411"/>
                <a:gd name="connsiteY284" fmla="*/ 245341 h 1214813"/>
                <a:gd name="connsiteX285" fmla="*/ 36329 w 278411"/>
                <a:gd name="connsiteY285" fmla="*/ 250717 h 1214813"/>
                <a:gd name="connsiteX286" fmla="*/ 35840 w 278411"/>
                <a:gd name="connsiteY286" fmla="*/ 263587 h 1214813"/>
                <a:gd name="connsiteX287" fmla="*/ 33071 w 278411"/>
                <a:gd name="connsiteY287" fmla="*/ 268311 h 1214813"/>
                <a:gd name="connsiteX288" fmla="*/ 33071 w 278411"/>
                <a:gd name="connsiteY288" fmla="*/ 275317 h 1214813"/>
                <a:gd name="connsiteX289" fmla="*/ 34374 w 278411"/>
                <a:gd name="connsiteY289" fmla="*/ 279063 h 1214813"/>
                <a:gd name="connsiteX290" fmla="*/ 34374 w 278411"/>
                <a:gd name="connsiteY290" fmla="*/ 282159 h 1214813"/>
                <a:gd name="connsiteX291" fmla="*/ 30138 w 278411"/>
                <a:gd name="connsiteY291" fmla="*/ 288675 h 1214813"/>
                <a:gd name="connsiteX292" fmla="*/ 29812 w 278411"/>
                <a:gd name="connsiteY292" fmla="*/ 295354 h 1214813"/>
                <a:gd name="connsiteX293" fmla="*/ 27206 w 278411"/>
                <a:gd name="connsiteY293" fmla="*/ 299590 h 1214813"/>
                <a:gd name="connsiteX294" fmla="*/ 28672 w 278411"/>
                <a:gd name="connsiteY294" fmla="*/ 307735 h 1214813"/>
                <a:gd name="connsiteX295" fmla="*/ 27695 w 278411"/>
                <a:gd name="connsiteY295" fmla="*/ 311157 h 1214813"/>
                <a:gd name="connsiteX296" fmla="*/ 23459 w 278411"/>
                <a:gd name="connsiteY296" fmla="*/ 320768 h 1214813"/>
                <a:gd name="connsiteX297" fmla="*/ 23459 w 278411"/>
                <a:gd name="connsiteY297" fmla="*/ 324841 h 1214813"/>
                <a:gd name="connsiteX298" fmla="*/ 28020 w 278411"/>
                <a:gd name="connsiteY298" fmla="*/ 332009 h 1214813"/>
                <a:gd name="connsiteX299" fmla="*/ 28998 w 278411"/>
                <a:gd name="connsiteY299" fmla="*/ 339340 h 1214813"/>
                <a:gd name="connsiteX300" fmla="*/ 31930 w 278411"/>
                <a:gd name="connsiteY300" fmla="*/ 343901 h 1214813"/>
                <a:gd name="connsiteX301" fmla="*/ 28183 w 278411"/>
                <a:gd name="connsiteY301" fmla="*/ 346508 h 1214813"/>
                <a:gd name="connsiteX302" fmla="*/ 25902 w 278411"/>
                <a:gd name="connsiteY302" fmla="*/ 352210 h 1214813"/>
                <a:gd name="connsiteX303" fmla="*/ 29323 w 278411"/>
                <a:gd name="connsiteY303" fmla="*/ 356608 h 1214813"/>
                <a:gd name="connsiteX304" fmla="*/ 25577 w 278411"/>
                <a:gd name="connsiteY304" fmla="*/ 361007 h 1214813"/>
                <a:gd name="connsiteX305" fmla="*/ 22155 w 278411"/>
                <a:gd name="connsiteY305" fmla="*/ 362473 h 1214813"/>
                <a:gd name="connsiteX306" fmla="*/ 22155 w 278411"/>
                <a:gd name="connsiteY306" fmla="*/ 369152 h 1214813"/>
                <a:gd name="connsiteX307" fmla="*/ 23133 w 278411"/>
                <a:gd name="connsiteY307" fmla="*/ 374854 h 1214813"/>
                <a:gd name="connsiteX308" fmla="*/ 23622 w 278411"/>
                <a:gd name="connsiteY308" fmla="*/ 380230 h 1214813"/>
                <a:gd name="connsiteX309" fmla="*/ 29487 w 278411"/>
                <a:gd name="connsiteY309" fmla="*/ 395543 h 1214813"/>
                <a:gd name="connsiteX310" fmla="*/ 29487 w 278411"/>
                <a:gd name="connsiteY310" fmla="*/ 404015 h 1214813"/>
                <a:gd name="connsiteX311" fmla="*/ 27043 w 278411"/>
                <a:gd name="connsiteY311" fmla="*/ 406784 h 1214813"/>
                <a:gd name="connsiteX312" fmla="*/ 27531 w 278411"/>
                <a:gd name="connsiteY312" fmla="*/ 411346 h 1214813"/>
                <a:gd name="connsiteX313" fmla="*/ 32907 w 278411"/>
                <a:gd name="connsiteY313" fmla="*/ 419002 h 1214813"/>
                <a:gd name="connsiteX314" fmla="*/ 33233 w 278411"/>
                <a:gd name="connsiteY314" fmla="*/ 427962 h 1214813"/>
                <a:gd name="connsiteX315" fmla="*/ 31604 w 278411"/>
                <a:gd name="connsiteY315" fmla="*/ 434153 h 1214813"/>
                <a:gd name="connsiteX316" fmla="*/ 31604 w 278411"/>
                <a:gd name="connsiteY316" fmla="*/ 436759 h 1214813"/>
                <a:gd name="connsiteX317" fmla="*/ 33071 w 278411"/>
                <a:gd name="connsiteY317" fmla="*/ 441158 h 1214813"/>
                <a:gd name="connsiteX318" fmla="*/ 32256 w 278411"/>
                <a:gd name="connsiteY318" fmla="*/ 445068 h 1214813"/>
                <a:gd name="connsiteX319" fmla="*/ 30953 w 278411"/>
                <a:gd name="connsiteY319" fmla="*/ 449467 h 1214813"/>
                <a:gd name="connsiteX320" fmla="*/ 32419 w 278411"/>
                <a:gd name="connsiteY320" fmla="*/ 452073 h 1214813"/>
                <a:gd name="connsiteX321" fmla="*/ 38121 w 278411"/>
                <a:gd name="connsiteY321" fmla="*/ 460055 h 1214813"/>
                <a:gd name="connsiteX322" fmla="*/ 38935 w 278411"/>
                <a:gd name="connsiteY322" fmla="*/ 464454 h 1214813"/>
                <a:gd name="connsiteX323" fmla="*/ 36166 w 278411"/>
                <a:gd name="connsiteY323" fmla="*/ 468853 h 1214813"/>
                <a:gd name="connsiteX324" fmla="*/ 32256 w 278411"/>
                <a:gd name="connsiteY324" fmla="*/ 471296 h 1214813"/>
                <a:gd name="connsiteX325" fmla="*/ 28835 w 278411"/>
                <a:gd name="connsiteY325" fmla="*/ 478464 h 1214813"/>
                <a:gd name="connsiteX326" fmla="*/ 28835 w 278411"/>
                <a:gd name="connsiteY326" fmla="*/ 480745 h 1214813"/>
                <a:gd name="connsiteX327" fmla="*/ 30790 w 278411"/>
                <a:gd name="connsiteY327" fmla="*/ 483189 h 1214813"/>
                <a:gd name="connsiteX328" fmla="*/ 28998 w 278411"/>
                <a:gd name="connsiteY328" fmla="*/ 489216 h 1214813"/>
                <a:gd name="connsiteX329" fmla="*/ 26065 w 278411"/>
                <a:gd name="connsiteY329" fmla="*/ 492475 h 1214813"/>
                <a:gd name="connsiteX330" fmla="*/ 26065 w 278411"/>
                <a:gd name="connsiteY330" fmla="*/ 496710 h 1214813"/>
                <a:gd name="connsiteX331" fmla="*/ 25251 w 278411"/>
                <a:gd name="connsiteY331" fmla="*/ 504367 h 1214813"/>
                <a:gd name="connsiteX332" fmla="*/ 22970 w 278411"/>
                <a:gd name="connsiteY332" fmla="*/ 508602 h 1214813"/>
                <a:gd name="connsiteX333" fmla="*/ 23296 w 278411"/>
                <a:gd name="connsiteY333" fmla="*/ 513164 h 1214813"/>
                <a:gd name="connsiteX334" fmla="*/ 21993 w 278411"/>
                <a:gd name="connsiteY334" fmla="*/ 515445 h 1214813"/>
                <a:gd name="connsiteX335" fmla="*/ 21504 w 278411"/>
                <a:gd name="connsiteY335" fmla="*/ 521635 h 1214813"/>
                <a:gd name="connsiteX336" fmla="*/ 18572 w 278411"/>
                <a:gd name="connsiteY336" fmla="*/ 524730 h 1214813"/>
                <a:gd name="connsiteX337" fmla="*/ 18897 w 278411"/>
                <a:gd name="connsiteY337" fmla="*/ 527500 h 1214813"/>
                <a:gd name="connsiteX338" fmla="*/ 20689 w 278411"/>
                <a:gd name="connsiteY338" fmla="*/ 530432 h 1214813"/>
                <a:gd name="connsiteX339" fmla="*/ 17594 w 278411"/>
                <a:gd name="connsiteY339" fmla="*/ 534994 h 1214813"/>
                <a:gd name="connsiteX340" fmla="*/ 17594 w 278411"/>
                <a:gd name="connsiteY340" fmla="*/ 541999 h 1214813"/>
                <a:gd name="connsiteX341" fmla="*/ 16780 w 278411"/>
                <a:gd name="connsiteY341" fmla="*/ 546234 h 1214813"/>
                <a:gd name="connsiteX342" fmla="*/ 13358 w 278411"/>
                <a:gd name="connsiteY342" fmla="*/ 548678 h 1214813"/>
                <a:gd name="connsiteX343" fmla="*/ 13358 w 278411"/>
                <a:gd name="connsiteY343" fmla="*/ 553402 h 1214813"/>
                <a:gd name="connsiteX344" fmla="*/ 11729 w 278411"/>
                <a:gd name="connsiteY344" fmla="*/ 556498 h 1214813"/>
                <a:gd name="connsiteX345" fmla="*/ 11404 w 278411"/>
                <a:gd name="connsiteY345" fmla="*/ 560245 h 1214813"/>
                <a:gd name="connsiteX346" fmla="*/ 13033 w 278411"/>
                <a:gd name="connsiteY346" fmla="*/ 564480 h 1214813"/>
                <a:gd name="connsiteX347" fmla="*/ 13033 w 278411"/>
                <a:gd name="connsiteY347" fmla="*/ 569693 h 1214813"/>
                <a:gd name="connsiteX348" fmla="*/ 10263 w 278411"/>
                <a:gd name="connsiteY348" fmla="*/ 573929 h 1214813"/>
                <a:gd name="connsiteX349" fmla="*/ 7331 w 278411"/>
                <a:gd name="connsiteY349" fmla="*/ 574255 h 1214813"/>
                <a:gd name="connsiteX350" fmla="*/ 4236 w 278411"/>
                <a:gd name="connsiteY350" fmla="*/ 571811 h 1214813"/>
                <a:gd name="connsiteX351" fmla="*/ 489 w 278411"/>
                <a:gd name="connsiteY351" fmla="*/ 572789 h 1214813"/>
                <a:gd name="connsiteX352" fmla="*/ 0 w 278411"/>
                <a:gd name="connsiteY352" fmla="*/ 575884 h 1214813"/>
                <a:gd name="connsiteX353" fmla="*/ 977 w 278411"/>
                <a:gd name="connsiteY353" fmla="*/ 581423 h 1214813"/>
                <a:gd name="connsiteX354" fmla="*/ 977 w 278411"/>
                <a:gd name="connsiteY354" fmla="*/ 589243 h 1214813"/>
                <a:gd name="connsiteX355" fmla="*/ 4724 w 278411"/>
                <a:gd name="connsiteY355" fmla="*/ 594455 h 1214813"/>
                <a:gd name="connsiteX356" fmla="*/ 10263 w 278411"/>
                <a:gd name="connsiteY356" fmla="*/ 599017 h 1214813"/>
                <a:gd name="connsiteX357" fmla="*/ 10915 w 278411"/>
                <a:gd name="connsiteY357" fmla="*/ 604393 h 1214813"/>
                <a:gd name="connsiteX358" fmla="*/ 9937 w 278411"/>
                <a:gd name="connsiteY358" fmla="*/ 611235 h 1214813"/>
                <a:gd name="connsiteX359" fmla="*/ 17920 w 278411"/>
                <a:gd name="connsiteY359" fmla="*/ 624757 h 1214813"/>
                <a:gd name="connsiteX360" fmla="*/ 19223 w 278411"/>
                <a:gd name="connsiteY360" fmla="*/ 628504 h 1214813"/>
                <a:gd name="connsiteX361" fmla="*/ 22318 w 278411"/>
                <a:gd name="connsiteY361" fmla="*/ 631436 h 1214813"/>
                <a:gd name="connsiteX362" fmla="*/ 22318 w 278411"/>
                <a:gd name="connsiteY362" fmla="*/ 640070 h 1214813"/>
                <a:gd name="connsiteX363" fmla="*/ 20038 w 278411"/>
                <a:gd name="connsiteY363" fmla="*/ 651311 h 1214813"/>
                <a:gd name="connsiteX364" fmla="*/ 18083 w 278411"/>
                <a:gd name="connsiteY364" fmla="*/ 652940 h 1214813"/>
                <a:gd name="connsiteX365" fmla="*/ 19060 w 278411"/>
                <a:gd name="connsiteY365" fmla="*/ 656361 h 1214813"/>
                <a:gd name="connsiteX366" fmla="*/ 18083 w 278411"/>
                <a:gd name="connsiteY366" fmla="*/ 659619 h 1214813"/>
                <a:gd name="connsiteX367" fmla="*/ 16291 w 278411"/>
                <a:gd name="connsiteY367" fmla="*/ 658479 h 1214813"/>
                <a:gd name="connsiteX368" fmla="*/ 13521 w 278411"/>
                <a:gd name="connsiteY368" fmla="*/ 658805 h 1214813"/>
                <a:gd name="connsiteX369" fmla="*/ 11892 w 278411"/>
                <a:gd name="connsiteY369" fmla="*/ 663366 h 1214813"/>
                <a:gd name="connsiteX370" fmla="*/ 13196 w 278411"/>
                <a:gd name="connsiteY370" fmla="*/ 668091 h 1214813"/>
                <a:gd name="connsiteX371" fmla="*/ 16454 w 278411"/>
                <a:gd name="connsiteY371" fmla="*/ 670860 h 1214813"/>
                <a:gd name="connsiteX372" fmla="*/ 13684 w 278411"/>
                <a:gd name="connsiteY372" fmla="*/ 681286 h 1214813"/>
                <a:gd name="connsiteX373" fmla="*/ 14662 w 278411"/>
                <a:gd name="connsiteY373" fmla="*/ 685848 h 1214813"/>
                <a:gd name="connsiteX374" fmla="*/ 12218 w 278411"/>
                <a:gd name="connsiteY374" fmla="*/ 688780 h 1214813"/>
                <a:gd name="connsiteX375" fmla="*/ 14988 w 278411"/>
                <a:gd name="connsiteY375" fmla="*/ 691223 h 1214813"/>
                <a:gd name="connsiteX376" fmla="*/ 13847 w 278411"/>
                <a:gd name="connsiteY376" fmla="*/ 694645 h 1214813"/>
                <a:gd name="connsiteX377" fmla="*/ 12707 w 278411"/>
                <a:gd name="connsiteY377" fmla="*/ 696274 h 1214813"/>
                <a:gd name="connsiteX378" fmla="*/ 14336 w 278411"/>
                <a:gd name="connsiteY378" fmla="*/ 698880 h 1214813"/>
                <a:gd name="connsiteX379" fmla="*/ 22318 w 278411"/>
                <a:gd name="connsiteY379" fmla="*/ 711261 h 1214813"/>
                <a:gd name="connsiteX380" fmla="*/ 24762 w 278411"/>
                <a:gd name="connsiteY380" fmla="*/ 713705 h 1214813"/>
                <a:gd name="connsiteX381" fmla="*/ 26554 w 278411"/>
                <a:gd name="connsiteY381" fmla="*/ 717615 h 1214813"/>
                <a:gd name="connsiteX382" fmla="*/ 33885 w 278411"/>
                <a:gd name="connsiteY382" fmla="*/ 720710 h 1214813"/>
                <a:gd name="connsiteX383" fmla="*/ 41053 w 278411"/>
                <a:gd name="connsiteY383" fmla="*/ 718918 h 1214813"/>
                <a:gd name="connsiteX384" fmla="*/ 41379 w 278411"/>
                <a:gd name="connsiteY384" fmla="*/ 711750 h 1214813"/>
                <a:gd name="connsiteX385" fmla="*/ 42519 w 278411"/>
                <a:gd name="connsiteY385" fmla="*/ 710284 h 1214813"/>
                <a:gd name="connsiteX386" fmla="*/ 47081 w 278411"/>
                <a:gd name="connsiteY386" fmla="*/ 710284 h 1214813"/>
                <a:gd name="connsiteX387" fmla="*/ 50990 w 278411"/>
                <a:gd name="connsiteY387" fmla="*/ 715008 h 1214813"/>
                <a:gd name="connsiteX388" fmla="*/ 52620 w 278411"/>
                <a:gd name="connsiteY388" fmla="*/ 713868 h 1214813"/>
                <a:gd name="connsiteX389" fmla="*/ 55878 w 278411"/>
                <a:gd name="connsiteY389" fmla="*/ 713379 h 1214813"/>
                <a:gd name="connsiteX390" fmla="*/ 53271 w 278411"/>
                <a:gd name="connsiteY390" fmla="*/ 717289 h 1214813"/>
                <a:gd name="connsiteX391" fmla="*/ 47732 w 278411"/>
                <a:gd name="connsiteY391" fmla="*/ 722339 h 1214813"/>
                <a:gd name="connsiteX392" fmla="*/ 47732 w 278411"/>
                <a:gd name="connsiteY392" fmla="*/ 725597 h 1214813"/>
                <a:gd name="connsiteX393" fmla="*/ 51968 w 278411"/>
                <a:gd name="connsiteY393" fmla="*/ 727389 h 1214813"/>
                <a:gd name="connsiteX394" fmla="*/ 54900 w 278411"/>
                <a:gd name="connsiteY394" fmla="*/ 725597 h 1214813"/>
                <a:gd name="connsiteX395" fmla="*/ 55389 w 278411"/>
                <a:gd name="connsiteY395" fmla="*/ 729507 h 1214813"/>
                <a:gd name="connsiteX396" fmla="*/ 55878 w 278411"/>
                <a:gd name="connsiteY396" fmla="*/ 738304 h 1214813"/>
                <a:gd name="connsiteX397" fmla="*/ 58321 w 278411"/>
                <a:gd name="connsiteY397" fmla="*/ 741237 h 1214813"/>
                <a:gd name="connsiteX398" fmla="*/ 57018 w 278411"/>
                <a:gd name="connsiteY398" fmla="*/ 742540 h 1214813"/>
                <a:gd name="connsiteX399" fmla="*/ 54574 w 278411"/>
                <a:gd name="connsiteY399" fmla="*/ 739934 h 1214813"/>
                <a:gd name="connsiteX400" fmla="*/ 52782 w 278411"/>
                <a:gd name="connsiteY400" fmla="*/ 735698 h 1214813"/>
                <a:gd name="connsiteX401" fmla="*/ 49850 w 278411"/>
                <a:gd name="connsiteY401" fmla="*/ 734395 h 1214813"/>
                <a:gd name="connsiteX402" fmla="*/ 48384 w 278411"/>
                <a:gd name="connsiteY402" fmla="*/ 737001 h 1214813"/>
                <a:gd name="connsiteX403" fmla="*/ 48710 w 278411"/>
                <a:gd name="connsiteY403" fmla="*/ 739607 h 1214813"/>
                <a:gd name="connsiteX404" fmla="*/ 53434 w 278411"/>
                <a:gd name="connsiteY404" fmla="*/ 743029 h 1214813"/>
                <a:gd name="connsiteX405" fmla="*/ 54412 w 278411"/>
                <a:gd name="connsiteY405" fmla="*/ 745635 h 1214813"/>
                <a:gd name="connsiteX406" fmla="*/ 51153 w 278411"/>
                <a:gd name="connsiteY406" fmla="*/ 746775 h 1214813"/>
                <a:gd name="connsiteX407" fmla="*/ 48873 w 278411"/>
                <a:gd name="connsiteY407" fmla="*/ 748568 h 1214813"/>
                <a:gd name="connsiteX408" fmla="*/ 49198 w 278411"/>
                <a:gd name="connsiteY408" fmla="*/ 754758 h 1214813"/>
                <a:gd name="connsiteX409" fmla="*/ 53434 w 278411"/>
                <a:gd name="connsiteY409" fmla="*/ 758831 h 1214813"/>
                <a:gd name="connsiteX410" fmla="*/ 49524 w 278411"/>
                <a:gd name="connsiteY410" fmla="*/ 763229 h 1214813"/>
                <a:gd name="connsiteX411" fmla="*/ 49198 w 278411"/>
                <a:gd name="connsiteY411" fmla="*/ 766650 h 1214813"/>
                <a:gd name="connsiteX412" fmla="*/ 50990 w 278411"/>
                <a:gd name="connsiteY412" fmla="*/ 768117 h 1214813"/>
                <a:gd name="connsiteX413" fmla="*/ 46592 w 278411"/>
                <a:gd name="connsiteY413" fmla="*/ 772841 h 1214813"/>
                <a:gd name="connsiteX414" fmla="*/ 47406 w 278411"/>
                <a:gd name="connsiteY414" fmla="*/ 775448 h 1214813"/>
                <a:gd name="connsiteX415" fmla="*/ 52945 w 278411"/>
                <a:gd name="connsiteY415" fmla="*/ 778869 h 1214813"/>
                <a:gd name="connsiteX416" fmla="*/ 51479 w 278411"/>
                <a:gd name="connsiteY416" fmla="*/ 783104 h 1214813"/>
                <a:gd name="connsiteX417" fmla="*/ 50502 w 278411"/>
                <a:gd name="connsiteY417" fmla="*/ 789295 h 1214813"/>
                <a:gd name="connsiteX418" fmla="*/ 47406 w 278411"/>
                <a:gd name="connsiteY418" fmla="*/ 793205 h 1214813"/>
                <a:gd name="connsiteX419" fmla="*/ 47406 w 278411"/>
                <a:gd name="connsiteY419" fmla="*/ 796300 h 1214813"/>
                <a:gd name="connsiteX420" fmla="*/ 49850 w 278411"/>
                <a:gd name="connsiteY420" fmla="*/ 798907 h 1214813"/>
                <a:gd name="connsiteX421" fmla="*/ 54900 w 278411"/>
                <a:gd name="connsiteY421" fmla="*/ 798907 h 1214813"/>
                <a:gd name="connsiteX422" fmla="*/ 57996 w 278411"/>
                <a:gd name="connsiteY422" fmla="*/ 802164 h 1214813"/>
                <a:gd name="connsiteX423" fmla="*/ 58484 w 278411"/>
                <a:gd name="connsiteY423" fmla="*/ 806075 h 1214813"/>
                <a:gd name="connsiteX424" fmla="*/ 62883 w 278411"/>
                <a:gd name="connsiteY424" fmla="*/ 806726 h 1214813"/>
                <a:gd name="connsiteX425" fmla="*/ 64838 w 278411"/>
                <a:gd name="connsiteY425" fmla="*/ 809821 h 1214813"/>
                <a:gd name="connsiteX426" fmla="*/ 64349 w 278411"/>
                <a:gd name="connsiteY426" fmla="*/ 817967 h 1214813"/>
                <a:gd name="connsiteX427" fmla="*/ 60602 w 278411"/>
                <a:gd name="connsiteY427" fmla="*/ 823506 h 1214813"/>
                <a:gd name="connsiteX428" fmla="*/ 53923 w 278411"/>
                <a:gd name="connsiteY428" fmla="*/ 827579 h 1214813"/>
                <a:gd name="connsiteX429" fmla="*/ 50990 w 278411"/>
                <a:gd name="connsiteY429" fmla="*/ 827579 h 1214813"/>
                <a:gd name="connsiteX430" fmla="*/ 50502 w 278411"/>
                <a:gd name="connsiteY430" fmla="*/ 832466 h 1214813"/>
                <a:gd name="connsiteX431" fmla="*/ 52457 w 278411"/>
                <a:gd name="connsiteY431" fmla="*/ 838005 h 1214813"/>
                <a:gd name="connsiteX432" fmla="*/ 50665 w 278411"/>
                <a:gd name="connsiteY432" fmla="*/ 840448 h 1214813"/>
                <a:gd name="connsiteX433" fmla="*/ 50665 w 278411"/>
                <a:gd name="connsiteY433" fmla="*/ 843544 h 1214813"/>
                <a:gd name="connsiteX434" fmla="*/ 52945 w 278411"/>
                <a:gd name="connsiteY434" fmla="*/ 844847 h 1214813"/>
                <a:gd name="connsiteX435" fmla="*/ 49198 w 278411"/>
                <a:gd name="connsiteY435" fmla="*/ 849245 h 1214813"/>
                <a:gd name="connsiteX436" fmla="*/ 46429 w 278411"/>
                <a:gd name="connsiteY436" fmla="*/ 857228 h 1214813"/>
                <a:gd name="connsiteX437" fmla="*/ 46429 w 278411"/>
                <a:gd name="connsiteY437" fmla="*/ 862930 h 1214813"/>
                <a:gd name="connsiteX438" fmla="*/ 49036 w 278411"/>
                <a:gd name="connsiteY438" fmla="*/ 864233 h 1214813"/>
                <a:gd name="connsiteX439" fmla="*/ 47732 w 278411"/>
                <a:gd name="connsiteY439" fmla="*/ 867166 h 1214813"/>
                <a:gd name="connsiteX440" fmla="*/ 47406 w 278411"/>
                <a:gd name="connsiteY440" fmla="*/ 876777 h 1214813"/>
                <a:gd name="connsiteX441" fmla="*/ 43985 w 278411"/>
                <a:gd name="connsiteY441" fmla="*/ 878569 h 1214813"/>
                <a:gd name="connsiteX442" fmla="*/ 43008 w 278411"/>
                <a:gd name="connsiteY442" fmla="*/ 883456 h 1214813"/>
                <a:gd name="connsiteX443" fmla="*/ 41216 w 278411"/>
                <a:gd name="connsiteY443" fmla="*/ 880524 h 1214813"/>
                <a:gd name="connsiteX444" fmla="*/ 43008 w 278411"/>
                <a:gd name="connsiteY444" fmla="*/ 878080 h 1214813"/>
                <a:gd name="connsiteX445" fmla="*/ 44474 w 278411"/>
                <a:gd name="connsiteY445" fmla="*/ 869935 h 1214813"/>
                <a:gd name="connsiteX446" fmla="*/ 43822 w 278411"/>
                <a:gd name="connsiteY446" fmla="*/ 865699 h 1214813"/>
                <a:gd name="connsiteX447" fmla="*/ 44800 w 278411"/>
                <a:gd name="connsiteY447" fmla="*/ 863093 h 1214813"/>
                <a:gd name="connsiteX448" fmla="*/ 42519 w 278411"/>
                <a:gd name="connsiteY448" fmla="*/ 862278 h 1214813"/>
                <a:gd name="connsiteX449" fmla="*/ 35840 w 278411"/>
                <a:gd name="connsiteY449" fmla="*/ 864559 h 1214813"/>
                <a:gd name="connsiteX450" fmla="*/ 31115 w 278411"/>
                <a:gd name="connsiteY450" fmla="*/ 867817 h 1214813"/>
                <a:gd name="connsiteX451" fmla="*/ 28346 w 278411"/>
                <a:gd name="connsiteY451" fmla="*/ 867491 h 1214813"/>
                <a:gd name="connsiteX452" fmla="*/ 28346 w 278411"/>
                <a:gd name="connsiteY452" fmla="*/ 865211 h 1214813"/>
                <a:gd name="connsiteX453" fmla="*/ 33071 w 278411"/>
                <a:gd name="connsiteY453" fmla="*/ 863582 h 1214813"/>
                <a:gd name="connsiteX454" fmla="*/ 36003 w 278411"/>
                <a:gd name="connsiteY454" fmla="*/ 861301 h 1214813"/>
                <a:gd name="connsiteX455" fmla="*/ 36003 w 278411"/>
                <a:gd name="connsiteY455" fmla="*/ 854296 h 1214813"/>
                <a:gd name="connsiteX456" fmla="*/ 34211 w 278411"/>
                <a:gd name="connsiteY456" fmla="*/ 852993 h 1214813"/>
                <a:gd name="connsiteX457" fmla="*/ 28998 w 278411"/>
                <a:gd name="connsiteY457" fmla="*/ 854784 h 1214813"/>
                <a:gd name="connsiteX458" fmla="*/ 20038 w 278411"/>
                <a:gd name="connsiteY458" fmla="*/ 855110 h 1214813"/>
                <a:gd name="connsiteX459" fmla="*/ 17105 w 278411"/>
                <a:gd name="connsiteY459" fmla="*/ 854133 h 1214813"/>
                <a:gd name="connsiteX460" fmla="*/ 13684 w 278411"/>
                <a:gd name="connsiteY460" fmla="*/ 855110 h 1214813"/>
                <a:gd name="connsiteX461" fmla="*/ 13684 w 278411"/>
                <a:gd name="connsiteY461" fmla="*/ 858043 h 1214813"/>
                <a:gd name="connsiteX462" fmla="*/ 16128 w 278411"/>
                <a:gd name="connsiteY462" fmla="*/ 863418 h 1214813"/>
                <a:gd name="connsiteX463" fmla="*/ 17920 w 278411"/>
                <a:gd name="connsiteY463" fmla="*/ 863418 h 1214813"/>
                <a:gd name="connsiteX464" fmla="*/ 19060 w 278411"/>
                <a:gd name="connsiteY464" fmla="*/ 867654 h 1214813"/>
                <a:gd name="connsiteX465" fmla="*/ 15965 w 278411"/>
                <a:gd name="connsiteY465" fmla="*/ 868143 h 1214813"/>
                <a:gd name="connsiteX466" fmla="*/ 14336 w 278411"/>
                <a:gd name="connsiteY466" fmla="*/ 872867 h 1214813"/>
                <a:gd name="connsiteX467" fmla="*/ 10915 w 278411"/>
                <a:gd name="connsiteY467" fmla="*/ 875474 h 1214813"/>
                <a:gd name="connsiteX468" fmla="*/ 9123 w 278411"/>
                <a:gd name="connsiteY468" fmla="*/ 879709 h 1214813"/>
                <a:gd name="connsiteX469" fmla="*/ 2444 w 278411"/>
                <a:gd name="connsiteY469" fmla="*/ 883456 h 1214813"/>
                <a:gd name="connsiteX470" fmla="*/ 2118 w 278411"/>
                <a:gd name="connsiteY470" fmla="*/ 887366 h 1214813"/>
                <a:gd name="connsiteX471" fmla="*/ 9123 w 278411"/>
                <a:gd name="connsiteY471" fmla="*/ 895023 h 1214813"/>
                <a:gd name="connsiteX472" fmla="*/ 13033 w 278411"/>
                <a:gd name="connsiteY472" fmla="*/ 895512 h 1214813"/>
                <a:gd name="connsiteX473" fmla="*/ 15476 w 278411"/>
                <a:gd name="connsiteY473" fmla="*/ 892905 h 1214813"/>
                <a:gd name="connsiteX474" fmla="*/ 15150 w 278411"/>
                <a:gd name="connsiteY474" fmla="*/ 889810 h 1214813"/>
                <a:gd name="connsiteX475" fmla="*/ 10589 w 278411"/>
                <a:gd name="connsiteY475" fmla="*/ 888507 h 1214813"/>
                <a:gd name="connsiteX476" fmla="*/ 10100 w 278411"/>
                <a:gd name="connsiteY476" fmla="*/ 885900 h 1214813"/>
                <a:gd name="connsiteX477" fmla="*/ 12544 w 278411"/>
                <a:gd name="connsiteY477" fmla="*/ 881176 h 1214813"/>
                <a:gd name="connsiteX478" fmla="*/ 19060 w 278411"/>
                <a:gd name="connsiteY478" fmla="*/ 880687 h 1214813"/>
                <a:gd name="connsiteX479" fmla="*/ 20364 w 278411"/>
                <a:gd name="connsiteY479" fmla="*/ 879058 h 1214813"/>
                <a:gd name="connsiteX480" fmla="*/ 21504 w 278411"/>
                <a:gd name="connsiteY480" fmla="*/ 884923 h 1214813"/>
                <a:gd name="connsiteX481" fmla="*/ 26228 w 278411"/>
                <a:gd name="connsiteY481" fmla="*/ 888018 h 1214813"/>
                <a:gd name="connsiteX482" fmla="*/ 31930 w 278411"/>
                <a:gd name="connsiteY482" fmla="*/ 888018 h 1214813"/>
                <a:gd name="connsiteX483" fmla="*/ 34374 w 278411"/>
                <a:gd name="connsiteY483" fmla="*/ 885248 h 1214813"/>
                <a:gd name="connsiteX484" fmla="*/ 37469 w 278411"/>
                <a:gd name="connsiteY484" fmla="*/ 886552 h 1214813"/>
                <a:gd name="connsiteX485" fmla="*/ 39261 w 278411"/>
                <a:gd name="connsiteY485" fmla="*/ 889484 h 1214813"/>
                <a:gd name="connsiteX486" fmla="*/ 45940 w 278411"/>
                <a:gd name="connsiteY486" fmla="*/ 892742 h 1214813"/>
                <a:gd name="connsiteX487" fmla="*/ 48547 w 278411"/>
                <a:gd name="connsiteY487" fmla="*/ 895675 h 1214813"/>
                <a:gd name="connsiteX488" fmla="*/ 45777 w 278411"/>
                <a:gd name="connsiteY488" fmla="*/ 896163 h 1214813"/>
                <a:gd name="connsiteX489" fmla="*/ 44474 w 278411"/>
                <a:gd name="connsiteY489" fmla="*/ 898770 h 1214813"/>
                <a:gd name="connsiteX490" fmla="*/ 46755 w 278411"/>
                <a:gd name="connsiteY490" fmla="*/ 901702 h 1214813"/>
                <a:gd name="connsiteX491" fmla="*/ 43822 w 278411"/>
                <a:gd name="connsiteY491" fmla="*/ 903983 h 1214813"/>
                <a:gd name="connsiteX492" fmla="*/ 41542 w 278411"/>
                <a:gd name="connsiteY492" fmla="*/ 907404 h 1214813"/>
                <a:gd name="connsiteX493" fmla="*/ 43497 w 278411"/>
                <a:gd name="connsiteY493" fmla="*/ 910336 h 1214813"/>
                <a:gd name="connsiteX494" fmla="*/ 48058 w 278411"/>
                <a:gd name="connsiteY494" fmla="*/ 913269 h 1214813"/>
                <a:gd name="connsiteX495" fmla="*/ 47244 w 278411"/>
                <a:gd name="connsiteY495" fmla="*/ 914735 h 1214813"/>
                <a:gd name="connsiteX496" fmla="*/ 42682 w 278411"/>
                <a:gd name="connsiteY496" fmla="*/ 912780 h 1214813"/>
                <a:gd name="connsiteX497" fmla="*/ 41053 w 278411"/>
                <a:gd name="connsiteY497" fmla="*/ 910336 h 1214813"/>
                <a:gd name="connsiteX498" fmla="*/ 38284 w 278411"/>
                <a:gd name="connsiteY498" fmla="*/ 910662 h 1214813"/>
                <a:gd name="connsiteX499" fmla="*/ 37958 w 278411"/>
                <a:gd name="connsiteY499" fmla="*/ 914735 h 1214813"/>
                <a:gd name="connsiteX500" fmla="*/ 41868 w 278411"/>
                <a:gd name="connsiteY500" fmla="*/ 918156 h 1214813"/>
                <a:gd name="connsiteX501" fmla="*/ 43497 w 278411"/>
                <a:gd name="connsiteY501" fmla="*/ 921577 h 1214813"/>
                <a:gd name="connsiteX502" fmla="*/ 50339 w 278411"/>
                <a:gd name="connsiteY502" fmla="*/ 922718 h 1214813"/>
                <a:gd name="connsiteX503" fmla="*/ 57181 w 278411"/>
                <a:gd name="connsiteY503" fmla="*/ 919296 h 1214813"/>
                <a:gd name="connsiteX504" fmla="*/ 59950 w 278411"/>
                <a:gd name="connsiteY504" fmla="*/ 922066 h 1214813"/>
                <a:gd name="connsiteX505" fmla="*/ 62557 w 278411"/>
                <a:gd name="connsiteY505" fmla="*/ 922066 h 1214813"/>
                <a:gd name="connsiteX506" fmla="*/ 66793 w 278411"/>
                <a:gd name="connsiteY506" fmla="*/ 920111 h 1214813"/>
                <a:gd name="connsiteX507" fmla="*/ 65001 w 278411"/>
                <a:gd name="connsiteY507" fmla="*/ 923369 h 1214813"/>
                <a:gd name="connsiteX508" fmla="*/ 65978 w 278411"/>
                <a:gd name="connsiteY508" fmla="*/ 925161 h 1214813"/>
                <a:gd name="connsiteX509" fmla="*/ 64349 w 278411"/>
                <a:gd name="connsiteY509" fmla="*/ 926302 h 1214813"/>
                <a:gd name="connsiteX510" fmla="*/ 59788 w 278411"/>
                <a:gd name="connsiteY510" fmla="*/ 926302 h 1214813"/>
                <a:gd name="connsiteX511" fmla="*/ 58484 w 278411"/>
                <a:gd name="connsiteY511" fmla="*/ 928257 h 1214813"/>
                <a:gd name="connsiteX512" fmla="*/ 55063 w 278411"/>
                <a:gd name="connsiteY512" fmla="*/ 925487 h 1214813"/>
                <a:gd name="connsiteX513" fmla="*/ 47244 w 278411"/>
                <a:gd name="connsiteY513" fmla="*/ 927442 h 1214813"/>
                <a:gd name="connsiteX514" fmla="*/ 45452 w 278411"/>
                <a:gd name="connsiteY514" fmla="*/ 931189 h 1214813"/>
                <a:gd name="connsiteX515" fmla="*/ 46429 w 278411"/>
                <a:gd name="connsiteY515" fmla="*/ 933795 h 1214813"/>
                <a:gd name="connsiteX516" fmla="*/ 51479 w 278411"/>
                <a:gd name="connsiteY516" fmla="*/ 936891 h 1214813"/>
                <a:gd name="connsiteX517" fmla="*/ 52457 w 278411"/>
                <a:gd name="connsiteY517" fmla="*/ 941126 h 1214813"/>
                <a:gd name="connsiteX518" fmla="*/ 56855 w 278411"/>
                <a:gd name="connsiteY518" fmla="*/ 942266 h 1214813"/>
                <a:gd name="connsiteX519" fmla="*/ 60602 w 278411"/>
                <a:gd name="connsiteY519" fmla="*/ 940312 h 1214813"/>
                <a:gd name="connsiteX520" fmla="*/ 60113 w 278411"/>
                <a:gd name="connsiteY520" fmla="*/ 943081 h 1214813"/>
                <a:gd name="connsiteX521" fmla="*/ 56204 w 278411"/>
                <a:gd name="connsiteY521" fmla="*/ 946828 h 1214813"/>
                <a:gd name="connsiteX522" fmla="*/ 56204 w 278411"/>
                <a:gd name="connsiteY522" fmla="*/ 949434 h 1214813"/>
                <a:gd name="connsiteX523" fmla="*/ 57181 w 278411"/>
                <a:gd name="connsiteY523" fmla="*/ 951715 h 1214813"/>
                <a:gd name="connsiteX524" fmla="*/ 55715 w 278411"/>
                <a:gd name="connsiteY524" fmla="*/ 954648 h 1214813"/>
                <a:gd name="connsiteX525" fmla="*/ 52945 w 278411"/>
                <a:gd name="connsiteY525" fmla="*/ 954648 h 1214813"/>
                <a:gd name="connsiteX526" fmla="*/ 52620 w 278411"/>
                <a:gd name="connsiteY526" fmla="*/ 958069 h 1214813"/>
                <a:gd name="connsiteX527" fmla="*/ 55552 w 278411"/>
                <a:gd name="connsiteY527" fmla="*/ 970450 h 1214813"/>
                <a:gd name="connsiteX528" fmla="*/ 58321 w 278411"/>
                <a:gd name="connsiteY528" fmla="*/ 973871 h 1214813"/>
                <a:gd name="connsiteX529" fmla="*/ 58321 w 278411"/>
                <a:gd name="connsiteY529" fmla="*/ 979573 h 1214813"/>
                <a:gd name="connsiteX530" fmla="*/ 61091 w 278411"/>
                <a:gd name="connsiteY530" fmla="*/ 984460 h 1214813"/>
                <a:gd name="connsiteX531" fmla="*/ 65164 w 278411"/>
                <a:gd name="connsiteY531" fmla="*/ 986089 h 1214813"/>
                <a:gd name="connsiteX532" fmla="*/ 65164 w 278411"/>
                <a:gd name="connsiteY532" fmla="*/ 977618 h 1214813"/>
                <a:gd name="connsiteX533" fmla="*/ 67770 w 278411"/>
                <a:gd name="connsiteY533" fmla="*/ 968006 h 1214813"/>
                <a:gd name="connsiteX534" fmla="*/ 71191 w 278411"/>
                <a:gd name="connsiteY534" fmla="*/ 965563 h 1214813"/>
                <a:gd name="connsiteX535" fmla="*/ 72495 w 278411"/>
                <a:gd name="connsiteY535" fmla="*/ 967843 h 1214813"/>
                <a:gd name="connsiteX536" fmla="*/ 70051 w 278411"/>
                <a:gd name="connsiteY536" fmla="*/ 967843 h 1214813"/>
                <a:gd name="connsiteX537" fmla="*/ 67118 w 278411"/>
                <a:gd name="connsiteY537" fmla="*/ 978758 h 1214813"/>
                <a:gd name="connsiteX538" fmla="*/ 67444 w 278411"/>
                <a:gd name="connsiteY538" fmla="*/ 981528 h 1214813"/>
                <a:gd name="connsiteX539" fmla="*/ 71354 w 278411"/>
                <a:gd name="connsiteY539" fmla="*/ 984134 h 1214813"/>
                <a:gd name="connsiteX540" fmla="*/ 74612 w 278411"/>
                <a:gd name="connsiteY540" fmla="*/ 984134 h 1214813"/>
                <a:gd name="connsiteX541" fmla="*/ 73309 w 278411"/>
                <a:gd name="connsiteY541" fmla="*/ 985275 h 1214813"/>
                <a:gd name="connsiteX542" fmla="*/ 67444 w 278411"/>
                <a:gd name="connsiteY542" fmla="*/ 986578 h 1214813"/>
                <a:gd name="connsiteX543" fmla="*/ 63046 w 278411"/>
                <a:gd name="connsiteY543" fmla="*/ 990650 h 1214813"/>
                <a:gd name="connsiteX544" fmla="*/ 63697 w 278411"/>
                <a:gd name="connsiteY544" fmla="*/ 993257 h 1214813"/>
                <a:gd name="connsiteX545" fmla="*/ 62557 w 278411"/>
                <a:gd name="connsiteY545" fmla="*/ 997819 h 1214813"/>
                <a:gd name="connsiteX546" fmla="*/ 62557 w 278411"/>
                <a:gd name="connsiteY546" fmla="*/ 1002217 h 1214813"/>
                <a:gd name="connsiteX547" fmla="*/ 59950 w 278411"/>
                <a:gd name="connsiteY547" fmla="*/ 1004009 h 1214813"/>
                <a:gd name="connsiteX548" fmla="*/ 57996 w 278411"/>
                <a:gd name="connsiteY548" fmla="*/ 1008408 h 1214813"/>
                <a:gd name="connsiteX549" fmla="*/ 58321 w 278411"/>
                <a:gd name="connsiteY549" fmla="*/ 1011666 h 1214813"/>
                <a:gd name="connsiteX550" fmla="*/ 65326 w 278411"/>
                <a:gd name="connsiteY550" fmla="*/ 1016879 h 1214813"/>
                <a:gd name="connsiteX551" fmla="*/ 75101 w 278411"/>
                <a:gd name="connsiteY551" fmla="*/ 1018834 h 1214813"/>
                <a:gd name="connsiteX552" fmla="*/ 79011 w 278411"/>
                <a:gd name="connsiteY552" fmla="*/ 1021766 h 1214813"/>
                <a:gd name="connsiteX553" fmla="*/ 78359 w 278411"/>
                <a:gd name="connsiteY553" fmla="*/ 1024210 h 1214813"/>
                <a:gd name="connsiteX554" fmla="*/ 76079 w 278411"/>
                <a:gd name="connsiteY554" fmla="*/ 1024210 h 1214813"/>
                <a:gd name="connsiteX555" fmla="*/ 77545 w 278411"/>
                <a:gd name="connsiteY555" fmla="*/ 1029097 h 1214813"/>
                <a:gd name="connsiteX556" fmla="*/ 79337 w 278411"/>
                <a:gd name="connsiteY556" fmla="*/ 1031704 h 1214813"/>
                <a:gd name="connsiteX557" fmla="*/ 83409 w 278411"/>
                <a:gd name="connsiteY557" fmla="*/ 1027142 h 1214813"/>
                <a:gd name="connsiteX558" fmla="*/ 83409 w 278411"/>
                <a:gd name="connsiteY558" fmla="*/ 1031052 h 1214813"/>
                <a:gd name="connsiteX559" fmla="*/ 82106 w 278411"/>
                <a:gd name="connsiteY559" fmla="*/ 1034147 h 1214813"/>
                <a:gd name="connsiteX560" fmla="*/ 78033 w 278411"/>
                <a:gd name="connsiteY560" fmla="*/ 1035614 h 1214813"/>
                <a:gd name="connsiteX561" fmla="*/ 75101 w 278411"/>
                <a:gd name="connsiteY561" fmla="*/ 1039686 h 1214813"/>
                <a:gd name="connsiteX562" fmla="*/ 77707 w 278411"/>
                <a:gd name="connsiteY562" fmla="*/ 1041315 h 1214813"/>
                <a:gd name="connsiteX563" fmla="*/ 81455 w 278411"/>
                <a:gd name="connsiteY563" fmla="*/ 1041315 h 1214813"/>
                <a:gd name="connsiteX564" fmla="*/ 81455 w 278411"/>
                <a:gd name="connsiteY564" fmla="*/ 1044411 h 1214813"/>
                <a:gd name="connsiteX565" fmla="*/ 85364 w 278411"/>
                <a:gd name="connsiteY565" fmla="*/ 1048972 h 1214813"/>
                <a:gd name="connsiteX566" fmla="*/ 87808 w 278411"/>
                <a:gd name="connsiteY566" fmla="*/ 1048972 h 1214813"/>
                <a:gd name="connsiteX567" fmla="*/ 90740 w 278411"/>
                <a:gd name="connsiteY567" fmla="*/ 1045877 h 1214813"/>
                <a:gd name="connsiteX568" fmla="*/ 90252 w 278411"/>
                <a:gd name="connsiteY568" fmla="*/ 1050764 h 1214813"/>
                <a:gd name="connsiteX569" fmla="*/ 91718 w 278411"/>
                <a:gd name="connsiteY569" fmla="*/ 1055652 h 1214813"/>
                <a:gd name="connsiteX570" fmla="*/ 89274 w 278411"/>
                <a:gd name="connsiteY570" fmla="*/ 1055652 h 1214813"/>
                <a:gd name="connsiteX571" fmla="*/ 86993 w 278411"/>
                <a:gd name="connsiteY571" fmla="*/ 1053859 h 1214813"/>
                <a:gd name="connsiteX572" fmla="*/ 84550 w 278411"/>
                <a:gd name="connsiteY572" fmla="*/ 1054185 h 1214813"/>
                <a:gd name="connsiteX573" fmla="*/ 83409 w 278411"/>
                <a:gd name="connsiteY573" fmla="*/ 1057118 h 1214813"/>
                <a:gd name="connsiteX574" fmla="*/ 87971 w 278411"/>
                <a:gd name="connsiteY574" fmla="*/ 1062657 h 1214813"/>
                <a:gd name="connsiteX575" fmla="*/ 89600 w 278411"/>
                <a:gd name="connsiteY575" fmla="*/ 1063145 h 1214813"/>
                <a:gd name="connsiteX576" fmla="*/ 91229 w 278411"/>
                <a:gd name="connsiteY576" fmla="*/ 1068521 h 1214813"/>
                <a:gd name="connsiteX577" fmla="*/ 93510 w 278411"/>
                <a:gd name="connsiteY577" fmla="*/ 1071454 h 1214813"/>
                <a:gd name="connsiteX578" fmla="*/ 97908 w 278411"/>
                <a:gd name="connsiteY578" fmla="*/ 1075527 h 1214813"/>
                <a:gd name="connsiteX579" fmla="*/ 101329 w 278411"/>
                <a:gd name="connsiteY579" fmla="*/ 1075037 h 1214813"/>
                <a:gd name="connsiteX580" fmla="*/ 98886 w 278411"/>
                <a:gd name="connsiteY580" fmla="*/ 1068195 h 1214813"/>
                <a:gd name="connsiteX581" fmla="*/ 100026 w 278411"/>
                <a:gd name="connsiteY581" fmla="*/ 1065263 h 1214813"/>
                <a:gd name="connsiteX582" fmla="*/ 98723 w 278411"/>
                <a:gd name="connsiteY582" fmla="*/ 1061353 h 1214813"/>
                <a:gd name="connsiteX583" fmla="*/ 102958 w 278411"/>
                <a:gd name="connsiteY583" fmla="*/ 1064286 h 1214813"/>
                <a:gd name="connsiteX584" fmla="*/ 103773 w 278411"/>
                <a:gd name="connsiteY584" fmla="*/ 1068358 h 1214813"/>
                <a:gd name="connsiteX585" fmla="*/ 106705 w 278411"/>
                <a:gd name="connsiteY585" fmla="*/ 1072431 h 1214813"/>
                <a:gd name="connsiteX586" fmla="*/ 108497 w 278411"/>
                <a:gd name="connsiteY586" fmla="*/ 1067381 h 1214813"/>
                <a:gd name="connsiteX587" fmla="*/ 111593 w 278411"/>
                <a:gd name="connsiteY587" fmla="*/ 1064286 h 1214813"/>
                <a:gd name="connsiteX588" fmla="*/ 111593 w 278411"/>
                <a:gd name="connsiteY588" fmla="*/ 1061027 h 1214813"/>
                <a:gd name="connsiteX589" fmla="*/ 108172 w 278411"/>
                <a:gd name="connsiteY589" fmla="*/ 1059887 h 1214813"/>
                <a:gd name="connsiteX590" fmla="*/ 102144 w 278411"/>
                <a:gd name="connsiteY590" fmla="*/ 1058909 h 1214813"/>
                <a:gd name="connsiteX591" fmla="*/ 102144 w 278411"/>
                <a:gd name="connsiteY591" fmla="*/ 1056955 h 1214813"/>
                <a:gd name="connsiteX592" fmla="*/ 106054 w 278411"/>
                <a:gd name="connsiteY592" fmla="*/ 1056955 h 1214813"/>
                <a:gd name="connsiteX593" fmla="*/ 114199 w 278411"/>
                <a:gd name="connsiteY593" fmla="*/ 1059398 h 1214813"/>
                <a:gd name="connsiteX594" fmla="*/ 115503 w 278411"/>
                <a:gd name="connsiteY594" fmla="*/ 1061190 h 1214813"/>
                <a:gd name="connsiteX595" fmla="*/ 120715 w 278411"/>
                <a:gd name="connsiteY595" fmla="*/ 1061190 h 1214813"/>
                <a:gd name="connsiteX596" fmla="*/ 119412 w 278411"/>
                <a:gd name="connsiteY596" fmla="*/ 1057118 h 1214813"/>
                <a:gd name="connsiteX597" fmla="*/ 114362 w 278411"/>
                <a:gd name="connsiteY597" fmla="*/ 1054511 h 1214813"/>
                <a:gd name="connsiteX598" fmla="*/ 105402 w 278411"/>
                <a:gd name="connsiteY598" fmla="*/ 1054022 h 1214813"/>
                <a:gd name="connsiteX599" fmla="*/ 105076 w 278411"/>
                <a:gd name="connsiteY599" fmla="*/ 1051905 h 1214813"/>
                <a:gd name="connsiteX600" fmla="*/ 107846 w 278411"/>
                <a:gd name="connsiteY600" fmla="*/ 1050764 h 1214813"/>
                <a:gd name="connsiteX601" fmla="*/ 115828 w 278411"/>
                <a:gd name="connsiteY601" fmla="*/ 1053696 h 1214813"/>
                <a:gd name="connsiteX602" fmla="*/ 123974 w 278411"/>
                <a:gd name="connsiteY602" fmla="*/ 1058258 h 1214813"/>
                <a:gd name="connsiteX603" fmla="*/ 125277 w 278411"/>
                <a:gd name="connsiteY603" fmla="*/ 1064286 h 1214813"/>
                <a:gd name="connsiteX604" fmla="*/ 122019 w 278411"/>
                <a:gd name="connsiteY604" fmla="*/ 1068032 h 1214813"/>
                <a:gd name="connsiteX605" fmla="*/ 122019 w 278411"/>
                <a:gd name="connsiteY605" fmla="*/ 1071943 h 1214813"/>
                <a:gd name="connsiteX606" fmla="*/ 125114 w 278411"/>
                <a:gd name="connsiteY606" fmla="*/ 1078784 h 1214813"/>
                <a:gd name="connsiteX607" fmla="*/ 124788 w 278411"/>
                <a:gd name="connsiteY607" fmla="*/ 1082532 h 1214813"/>
                <a:gd name="connsiteX608" fmla="*/ 121041 w 278411"/>
                <a:gd name="connsiteY608" fmla="*/ 1085301 h 1214813"/>
                <a:gd name="connsiteX609" fmla="*/ 122833 w 278411"/>
                <a:gd name="connsiteY609" fmla="*/ 1079436 h 1214813"/>
                <a:gd name="connsiteX610" fmla="*/ 119412 w 278411"/>
                <a:gd name="connsiteY610" fmla="*/ 1071128 h 1214813"/>
                <a:gd name="connsiteX611" fmla="*/ 115991 w 278411"/>
                <a:gd name="connsiteY611" fmla="*/ 1068195 h 1214813"/>
                <a:gd name="connsiteX612" fmla="*/ 114036 w 278411"/>
                <a:gd name="connsiteY612" fmla="*/ 1071291 h 1214813"/>
                <a:gd name="connsiteX613" fmla="*/ 113711 w 278411"/>
                <a:gd name="connsiteY613" fmla="*/ 1075363 h 1214813"/>
                <a:gd name="connsiteX614" fmla="*/ 115991 w 278411"/>
                <a:gd name="connsiteY614" fmla="*/ 1078459 h 1214813"/>
                <a:gd name="connsiteX615" fmla="*/ 114036 w 278411"/>
                <a:gd name="connsiteY615" fmla="*/ 1082368 h 1214813"/>
                <a:gd name="connsiteX616" fmla="*/ 112407 w 278411"/>
                <a:gd name="connsiteY616" fmla="*/ 1080414 h 1214813"/>
                <a:gd name="connsiteX617" fmla="*/ 111267 w 278411"/>
                <a:gd name="connsiteY617" fmla="*/ 1076178 h 1214813"/>
                <a:gd name="connsiteX618" fmla="*/ 108497 w 278411"/>
                <a:gd name="connsiteY618" fmla="*/ 1076178 h 1214813"/>
                <a:gd name="connsiteX619" fmla="*/ 104588 w 278411"/>
                <a:gd name="connsiteY619" fmla="*/ 1078947 h 1214813"/>
                <a:gd name="connsiteX620" fmla="*/ 98886 w 278411"/>
                <a:gd name="connsiteY620" fmla="*/ 1078947 h 1214813"/>
                <a:gd name="connsiteX621" fmla="*/ 94161 w 278411"/>
                <a:gd name="connsiteY621" fmla="*/ 1080739 h 1214813"/>
                <a:gd name="connsiteX622" fmla="*/ 98560 w 278411"/>
                <a:gd name="connsiteY622" fmla="*/ 1083998 h 1214813"/>
                <a:gd name="connsiteX623" fmla="*/ 98886 w 278411"/>
                <a:gd name="connsiteY623" fmla="*/ 1090025 h 1214813"/>
                <a:gd name="connsiteX624" fmla="*/ 101004 w 278411"/>
                <a:gd name="connsiteY624" fmla="*/ 1093935 h 1214813"/>
                <a:gd name="connsiteX625" fmla="*/ 101818 w 278411"/>
                <a:gd name="connsiteY625" fmla="*/ 1097030 h 1214813"/>
                <a:gd name="connsiteX626" fmla="*/ 100189 w 278411"/>
                <a:gd name="connsiteY626" fmla="*/ 1099637 h 1214813"/>
                <a:gd name="connsiteX627" fmla="*/ 101004 w 278411"/>
                <a:gd name="connsiteY627" fmla="*/ 1101266 h 1214813"/>
                <a:gd name="connsiteX628" fmla="*/ 104425 w 278411"/>
                <a:gd name="connsiteY628" fmla="*/ 1101918 h 1214813"/>
                <a:gd name="connsiteX629" fmla="*/ 106380 w 278411"/>
                <a:gd name="connsiteY629" fmla="*/ 1098008 h 1214813"/>
                <a:gd name="connsiteX630" fmla="*/ 108660 w 278411"/>
                <a:gd name="connsiteY630" fmla="*/ 1099474 h 1214813"/>
                <a:gd name="connsiteX631" fmla="*/ 112570 w 278411"/>
                <a:gd name="connsiteY631" fmla="*/ 1100777 h 1214813"/>
                <a:gd name="connsiteX632" fmla="*/ 112570 w 278411"/>
                <a:gd name="connsiteY632" fmla="*/ 1102243 h 1214813"/>
                <a:gd name="connsiteX633" fmla="*/ 108986 w 278411"/>
                <a:gd name="connsiteY633" fmla="*/ 1103546 h 1214813"/>
                <a:gd name="connsiteX634" fmla="*/ 105402 w 278411"/>
                <a:gd name="connsiteY634" fmla="*/ 1106642 h 1214813"/>
                <a:gd name="connsiteX635" fmla="*/ 106380 w 278411"/>
                <a:gd name="connsiteY635" fmla="*/ 1109411 h 1214813"/>
                <a:gd name="connsiteX636" fmla="*/ 112407 w 278411"/>
                <a:gd name="connsiteY636" fmla="*/ 1109900 h 1214813"/>
                <a:gd name="connsiteX637" fmla="*/ 119412 w 278411"/>
                <a:gd name="connsiteY637" fmla="*/ 1113810 h 1214813"/>
                <a:gd name="connsiteX638" fmla="*/ 121856 w 278411"/>
                <a:gd name="connsiteY638" fmla="*/ 1112832 h 1214813"/>
                <a:gd name="connsiteX639" fmla="*/ 123974 w 278411"/>
                <a:gd name="connsiteY639" fmla="*/ 1109737 h 1214813"/>
                <a:gd name="connsiteX640" fmla="*/ 122019 w 278411"/>
                <a:gd name="connsiteY640" fmla="*/ 1104524 h 1214813"/>
                <a:gd name="connsiteX641" fmla="*/ 123322 w 278411"/>
                <a:gd name="connsiteY641" fmla="*/ 1100614 h 1214813"/>
                <a:gd name="connsiteX642" fmla="*/ 121856 w 278411"/>
                <a:gd name="connsiteY642" fmla="*/ 1096705 h 1214813"/>
                <a:gd name="connsiteX643" fmla="*/ 119901 w 278411"/>
                <a:gd name="connsiteY643" fmla="*/ 1097845 h 1214813"/>
                <a:gd name="connsiteX644" fmla="*/ 116154 w 278411"/>
                <a:gd name="connsiteY644" fmla="*/ 1097356 h 1214813"/>
                <a:gd name="connsiteX645" fmla="*/ 117457 w 278411"/>
                <a:gd name="connsiteY645" fmla="*/ 1095890 h 1214813"/>
                <a:gd name="connsiteX646" fmla="*/ 120390 w 278411"/>
                <a:gd name="connsiteY646" fmla="*/ 1093935 h 1214813"/>
                <a:gd name="connsiteX647" fmla="*/ 120390 w 278411"/>
                <a:gd name="connsiteY647" fmla="*/ 1091003 h 1214813"/>
                <a:gd name="connsiteX648" fmla="*/ 122508 w 278411"/>
                <a:gd name="connsiteY648" fmla="*/ 1089862 h 1214813"/>
                <a:gd name="connsiteX649" fmla="*/ 128209 w 278411"/>
                <a:gd name="connsiteY649" fmla="*/ 1091817 h 1214813"/>
                <a:gd name="connsiteX650" fmla="*/ 130653 w 278411"/>
                <a:gd name="connsiteY650" fmla="*/ 1090188 h 1214813"/>
                <a:gd name="connsiteX651" fmla="*/ 131630 w 278411"/>
                <a:gd name="connsiteY651" fmla="*/ 1092957 h 1214813"/>
                <a:gd name="connsiteX652" fmla="*/ 134237 w 278411"/>
                <a:gd name="connsiteY652" fmla="*/ 1094098 h 1214813"/>
                <a:gd name="connsiteX653" fmla="*/ 135377 w 278411"/>
                <a:gd name="connsiteY653" fmla="*/ 1091654 h 1214813"/>
                <a:gd name="connsiteX654" fmla="*/ 140428 w 278411"/>
                <a:gd name="connsiteY654" fmla="*/ 1090514 h 1214813"/>
                <a:gd name="connsiteX655" fmla="*/ 144826 w 278411"/>
                <a:gd name="connsiteY655" fmla="*/ 1091980 h 1214813"/>
                <a:gd name="connsiteX656" fmla="*/ 149876 w 278411"/>
                <a:gd name="connsiteY656" fmla="*/ 1091491 h 1214813"/>
                <a:gd name="connsiteX657" fmla="*/ 154275 w 278411"/>
                <a:gd name="connsiteY657" fmla="*/ 1091817 h 1214813"/>
                <a:gd name="connsiteX658" fmla="*/ 154764 w 278411"/>
                <a:gd name="connsiteY658" fmla="*/ 1093609 h 1214813"/>
                <a:gd name="connsiteX659" fmla="*/ 151994 w 278411"/>
                <a:gd name="connsiteY659" fmla="*/ 1094912 h 1214813"/>
                <a:gd name="connsiteX660" fmla="*/ 149713 w 278411"/>
                <a:gd name="connsiteY660" fmla="*/ 1098171 h 1214813"/>
                <a:gd name="connsiteX661" fmla="*/ 146781 w 278411"/>
                <a:gd name="connsiteY661" fmla="*/ 1097519 h 1214813"/>
                <a:gd name="connsiteX662" fmla="*/ 143686 w 278411"/>
                <a:gd name="connsiteY662" fmla="*/ 1095075 h 1214813"/>
                <a:gd name="connsiteX663" fmla="*/ 140428 w 278411"/>
                <a:gd name="connsiteY663" fmla="*/ 1096053 h 1214813"/>
                <a:gd name="connsiteX664" fmla="*/ 132445 w 278411"/>
                <a:gd name="connsiteY664" fmla="*/ 1103058 h 1214813"/>
                <a:gd name="connsiteX665" fmla="*/ 130653 w 278411"/>
                <a:gd name="connsiteY665" fmla="*/ 1103384 h 1214813"/>
                <a:gd name="connsiteX666" fmla="*/ 128372 w 278411"/>
                <a:gd name="connsiteY666" fmla="*/ 1102895 h 1214813"/>
                <a:gd name="connsiteX667" fmla="*/ 125277 w 278411"/>
                <a:gd name="connsiteY667" fmla="*/ 1106153 h 1214813"/>
                <a:gd name="connsiteX668" fmla="*/ 126092 w 278411"/>
                <a:gd name="connsiteY668" fmla="*/ 1109248 h 1214813"/>
                <a:gd name="connsiteX669" fmla="*/ 124463 w 278411"/>
                <a:gd name="connsiteY669" fmla="*/ 1112507 h 1214813"/>
                <a:gd name="connsiteX670" fmla="*/ 123159 w 278411"/>
                <a:gd name="connsiteY670" fmla="*/ 1114462 h 1214813"/>
                <a:gd name="connsiteX671" fmla="*/ 123159 w 278411"/>
                <a:gd name="connsiteY671" fmla="*/ 1116416 h 1214813"/>
                <a:gd name="connsiteX672" fmla="*/ 125440 w 278411"/>
                <a:gd name="connsiteY672" fmla="*/ 1117720 h 1214813"/>
                <a:gd name="connsiteX673" fmla="*/ 123648 w 278411"/>
                <a:gd name="connsiteY673" fmla="*/ 1120000 h 1214813"/>
                <a:gd name="connsiteX674" fmla="*/ 123648 w 278411"/>
                <a:gd name="connsiteY674" fmla="*/ 1121955 h 1214813"/>
                <a:gd name="connsiteX675" fmla="*/ 131142 w 278411"/>
                <a:gd name="connsiteY675" fmla="*/ 1124399 h 1214813"/>
                <a:gd name="connsiteX676" fmla="*/ 136518 w 278411"/>
                <a:gd name="connsiteY676" fmla="*/ 1129123 h 1214813"/>
                <a:gd name="connsiteX677" fmla="*/ 138147 w 278411"/>
                <a:gd name="connsiteY677" fmla="*/ 1129123 h 1214813"/>
                <a:gd name="connsiteX678" fmla="*/ 139124 w 278411"/>
                <a:gd name="connsiteY678" fmla="*/ 1126843 h 1214813"/>
                <a:gd name="connsiteX679" fmla="*/ 137984 w 278411"/>
                <a:gd name="connsiteY679" fmla="*/ 1122933 h 1214813"/>
                <a:gd name="connsiteX680" fmla="*/ 140916 w 278411"/>
                <a:gd name="connsiteY680" fmla="*/ 1119349 h 1214813"/>
                <a:gd name="connsiteX681" fmla="*/ 144174 w 278411"/>
                <a:gd name="connsiteY681" fmla="*/ 1118534 h 1214813"/>
                <a:gd name="connsiteX682" fmla="*/ 144663 w 278411"/>
                <a:gd name="connsiteY682" fmla="*/ 1116579 h 1214813"/>
                <a:gd name="connsiteX683" fmla="*/ 140754 w 278411"/>
                <a:gd name="connsiteY683" fmla="*/ 1112181 h 1214813"/>
                <a:gd name="connsiteX684" fmla="*/ 147433 w 278411"/>
                <a:gd name="connsiteY684" fmla="*/ 1110878 h 1214813"/>
                <a:gd name="connsiteX685" fmla="*/ 151505 w 278411"/>
                <a:gd name="connsiteY685" fmla="*/ 1107130 h 1214813"/>
                <a:gd name="connsiteX686" fmla="*/ 155904 w 278411"/>
                <a:gd name="connsiteY686" fmla="*/ 1100777 h 1214813"/>
                <a:gd name="connsiteX687" fmla="*/ 158999 w 278411"/>
                <a:gd name="connsiteY687" fmla="*/ 1098822 h 1214813"/>
                <a:gd name="connsiteX688" fmla="*/ 159814 w 278411"/>
                <a:gd name="connsiteY688" fmla="*/ 1100125 h 1214813"/>
                <a:gd name="connsiteX689" fmla="*/ 163398 w 278411"/>
                <a:gd name="connsiteY689" fmla="*/ 1102080 h 1214813"/>
                <a:gd name="connsiteX690" fmla="*/ 166330 w 278411"/>
                <a:gd name="connsiteY690" fmla="*/ 1102080 h 1214813"/>
                <a:gd name="connsiteX691" fmla="*/ 166982 w 278411"/>
                <a:gd name="connsiteY691" fmla="*/ 1103221 h 1214813"/>
                <a:gd name="connsiteX692" fmla="*/ 163561 w 278411"/>
                <a:gd name="connsiteY692" fmla="*/ 1104687 h 1214813"/>
                <a:gd name="connsiteX693" fmla="*/ 161117 w 278411"/>
                <a:gd name="connsiteY693" fmla="*/ 1108923 h 1214813"/>
                <a:gd name="connsiteX694" fmla="*/ 160303 w 278411"/>
                <a:gd name="connsiteY694" fmla="*/ 1112018 h 1214813"/>
                <a:gd name="connsiteX695" fmla="*/ 155904 w 278411"/>
                <a:gd name="connsiteY695" fmla="*/ 1116416 h 1214813"/>
                <a:gd name="connsiteX696" fmla="*/ 155904 w 278411"/>
                <a:gd name="connsiteY696" fmla="*/ 1121630 h 1214813"/>
                <a:gd name="connsiteX697" fmla="*/ 157370 w 278411"/>
                <a:gd name="connsiteY697" fmla="*/ 1125051 h 1214813"/>
                <a:gd name="connsiteX698" fmla="*/ 154764 w 278411"/>
                <a:gd name="connsiteY698" fmla="*/ 1127983 h 1214813"/>
                <a:gd name="connsiteX699" fmla="*/ 150691 w 278411"/>
                <a:gd name="connsiteY699" fmla="*/ 1129775 h 1214813"/>
                <a:gd name="connsiteX700" fmla="*/ 150691 w 278411"/>
                <a:gd name="connsiteY700" fmla="*/ 1127657 h 1214813"/>
                <a:gd name="connsiteX701" fmla="*/ 152972 w 278411"/>
                <a:gd name="connsiteY701" fmla="*/ 1126028 h 1214813"/>
                <a:gd name="connsiteX702" fmla="*/ 152972 w 278411"/>
                <a:gd name="connsiteY702" fmla="*/ 1119675 h 1214813"/>
                <a:gd name="connsiteX703" fmla="*/ 151342 w 278411"/>
                <a:gd name="connsiteY703" fmla="*/ 1118697 h 1214813"/>
                <a:gd name="connsiteX704" fmla="*/ 148899 w 278411"/>
                <a:gd name="connsiteY704" fmla="*/ 1120489 h 1214813"/>
                <a:gd name="connsiteX705" fmla="*/ 148084 w 278411"/>
                <a:gd name="connsiteY705" fmla="*/ 1123748 h 1214813"/>
                <a:gd name="connsiteX706" fmla="*/ 146292 w 278411"/>
                <a:gd name="connsiteY706" fmla="*/ 1123096 h 1214813"/>
                <a:gd name="connsiteX707" fmla="*/ 143360 w 278411"/>
                <a:gd name="connsiteY707" fmla="*/ 1123421 h 1214813"/>
                <a:gd name="connsiteX708" fmla="*/ 141405 w 278411"/>
                <a:gd name="connsiteY708" fmla="*/ 1125865 h 1214813"/>
                <a:gd name="connsiteX709" fmla="*/ 144012 w 278411"/>
                <a:gd name="connsiteY709" fmla="*/ 1130101 h 1214813"/>
                <a:gd name="connsiteX710" fmla="*/ 152157 w 278411"/>
                <a:gd name="connsiteY710" fmla="*/ 1138084 h 1214813"/>
                <a:gd name="connsiteX711" fmla="*/ 159488 w 278411"/>
                <a:gd name="connsiteY711" fmla="*/ 1139224 h 1214813"/>
                <a:gd name="connsiteX712" fmla="*/ 164212 w 278411"/>
                <a:gd name="connsiteY712" fmla="*/ 1141830 h 1214813"/>
                <a:gd name="connsiteX713" fmla="*/ 167308 w 278411"/>
                <a:gd name="connsiteY713" fmla="*/ 1141830 h 1214813"/>
                <a:gd name="connsiteX714" fmla="*/ 170566 w 278411"/>
                <a:gd name="connsiteY714" fmla="*/ 1143459 h 1214813"/>
                <a:gd name="connsiteX715" fmla="*/ 172846 w 278411"/>
                <a:gd name="connsiteY715" fmla="*/ 1141016 h 1214813"/>
                <a:gd name="connsiteX716" fmla="*/ 175942 w 278411"/>
                <a:gd name="connsiteY716" fmla="*/ 1135314 h 1214813"/>
                <a:gd name="connsiteX717" fmla="*/ 173335 w 278411"/>
                <a:gd name="connsiteY717" fmla="*/ 1127494 h 1214813"/>
                <a:gd name="connsiteX718" fmla="*/ 174150 w 278411"/>
                <a:gd name="connsiteY718" fmla="*/ 1123748 h 1214813"/>
                <a:gd name="connsiteX719" fmla="*/ 173824 w 278411"/>
                <a:gd name="connsiteY719" fmla="*/ 1120489 h 1214813"/>
                <a:gd name="connsiteX720" fmla="*/ 174638 w 278411"/>
                <a:gd name="connsiteY720" fmla="*/ 1113810 h 1214813"/>
                <a:gd name="connsiteX721" fmla="*/ 175127 w 278411"/>
                <a:gd name="connsiteY721" fmla="*/ 1106153 h 1214813"/>
                <a:gd name="connsiteX722" fmla="*/ 173824 w 278411"/>
                <a:gd name="connsiteY722" fmla="*/ 1100940 h 1214813"/>
                <a:gd name="connsiteX723" fmla="*/ 174638 w 278411"/>
                <a:gd name="connsiteY723" fmla="*/ 1097519 h 1214813"/>
                <a:gd name="connsiteX724" fmla="*/ 180829 w 278411"/>
                <a:gd name="connsiteY724" fmla="*/ 1093772 h 1214813"/>
                <a:gd name="connsiteX725" fmla="*/ 186694 w 278411"/>
                <a:gd name="connsiteY725" fmla="*/ 1086767 h 1214813"/>
                <a:gd name="connsiteX726" fmla="*/ 190115 w 278411"/>
                <a:gd name="connsiteY726" fmla="*/ 1085301 h 1214813"/>
                <a:gd name="connsiteX727" fmla="*/ 195328 w 278411"/>
                <a:gd name="connsiteY727" fmla="*/ 1085301 h 1214813"/>
                <a:gd name="connsiteX728" fmla="*/ 197283 w 278411"/>
                <a:gd name="connsiteY728" fmla="*/ 1083346 h 1214813"/>
                <a:gd name="connsiteX729" fmla="*/ 196794 w 278411"/>
                <a:gd name="connsiteY729" fmla="*/ 1076830 h 1214813"/>
                <a:gd name="connsiteX730" fmla="*/ 199727 w 278411"/>
                <a:gd name="connsiteY730" fmla="*/ 1074060 h 1214813"/>
                <a:gd name="connsiteX731" fmla="*/ 205428 w 278411"/>
                <a:gd name="connsiteY731" fmla="*/ 1072594 h 1214813"/>
                <a:gd name="connsiteX732" fmla="*/ 212108 w 278411"/>
                <a:gd name="connsiteY732" fmla="*/ 1076504 h 1214813"/>
                <a:gd name="connsiteX733" fmla="*/ 215203 w 278411"/>
                <a:gd name="connsiteY733" fmla="*/ 1074712 h 1214813"/>
                <a:gd name="connsiteX734" fmla="*/ 216017 w 278411"/>
                <a:gd name="connsiteY734" fmla="*/ 1075037 h 1214813"/>
                <a:gd name="connsiteX735" fmla="*/ 216017 w 278411"/>
                <a:gd name="connsiteY735" fmla="*/ 1075037 h 1214813"/>
                <a:gd name="connsiteX736" fmla="*/ 266194 w 278411"/>
                <a:gd name="connsiteY736" fmla="*/ 1213184 h 1214813"/>
                <a:gd name="connsiteX737" fmla="*/ 268474 w 278411"/>
                <a:gd name="connsiteY737" fmla="*/ 1214814 h 1214813"/>
                <a:gd name="connsiteX738" fmla="*/ 272058 w 278411"/>
                <a:gd name="connsiteY738" fmla="*/ 1211230 h 1214813"/>
                <a:gd name="connsiteX739" fmla="*/ 269614 w 278411"/>
                <a:gd name="connsiteY739" fmla="*/ 1211230 h 1214813"/>
                <a:gd name="connsiteX740" fmla="*/ 266356 w 278411"/>
                <a:gd name="connsiteY740" fmla="*/ 1213184 h 1214813"/>
                <a:gd name="connsiteX741" fmla="*/ 266356 w 278411"/>
                <a:gd name="connsiteY741" fmla="*/ 1213184 h 1214813"/>
                <a:gd name="connsiteX742" fmla="*/ 34863 w 278411"/>
                <a:gd name="connsiteY742" fmla="*/ 749219 h 1214813"/>
                <a:gd name="connsiteX743" fmla="*/ 29812 w 278411"/>
                <a:gd name="connsiteY743" fmla="*/ 746450 h 1214813"/>
                <a:gd name="connsiteX744" fmla="*/ 26880 w 278411"/>
                <a:gd name="connsiteY744" fmla="*/ 746450 h 1214813"/>
                <a:gd name="connsiteX745" fmla="*/ 27206 w 278411"/>
                <a:gd name="connsiteY745" fmla="*/ 749545 h 1214813"/>
                <a:gd name="connsiteX746" fmla="*/ 32907 w 278411"/>
                <a:gd name="connsiteY746" fmla="*/ 755247 h 1214813"/>
                <a:gd name="connsiteX747" fmla="*/ 30627 w 278411"/>
                <a:gd name="connsiteY747" fmla="*/ 757528 h 1214813"/>
                <a:gd name="connsiteX748" fmla="*/ 36166 w 278411"/>
                <a:gd name="connsiteY748" fmla="*/ 762741 h 1214813"/>
                <a:gd name="connsiteX749" fmla="*/ 35188 w 278411"/>
                <a:gd name="connsiteY749" fmla="*/ 763718 h 1214813"/>
                <a:gd name="connsiteX750" fmla="*/ 30138 w 278411"/>
                <a:gd name="connsiteY750" fmla="*/ 762089 h 1214813"/>
                <a:gd name="connsiteX751" fmla="*/ 28020 w 278411"/>
                <a:gd name="connsiteY751" fmla="*/ 765836 h 1214813"/>
                <a:gd name="connsiteX752" fmla="*/ 28509 w 278411"/>
                <a:gd name="connsiteY752" fmla="*/ 771049 h 1214813"/>
                <a:gd name="connsiteX753" fmla="*/ 28509 w 278411"/>
                <a:gd name="connsiteY753" fmla="*/ 773330 h 1214813"/>
                <a:gd name="connsiteX754" fmla="*/ 19875 w 278411"/>
                <a:gd name="connsiteY754" fmla="*/ 774145 h 1214813"/>
                <a:gd name="connsiteX755" fmla="*/ 14010 w 278411"/>
                <a:gd name="connsiteY755" fmla="*/ 771701 h 1214813"/>
                <a:gd name="connsiteX756" fmla="*/ 16617 w 278411"/>
                <a:gd name="connsiteY756" fmla="*/ 765999 h 1214813"/>
                <a:gd name="connsiteX757" fmla="*/ 15639 w 278411"/>
                <a:gd name="connsiteY757" fmla="*/ 750360 h 1214813"/>
                <a:gd name="connsiteX758" fmla="*/ 13521 w 278411"/>
                <a:gd name="connsiteY758" fmla="*/ 744006 h 1214813"/>
                <a:gd name="connsiteX759" fmla="*/ 12055 w 278411"/>
                <a:gd name="connsiteY759" fmla="*/ 742703 h 1214813"/>
                <a:gd name="connsiteX760" fmla="*/ 10752 w 278411"/>
                <a:gd name="connsiteY760" fmla="*/ 739607 h 1214813"/>
                <a:gd name="connsiteX761" fmla="*/ 11892 w 278411"/>
                <a:gd name="connsiteY761" fmla="*/ 735698 h 1214813"/>
                <a:gd name="connsiteX762" fmla="*/ 14825 w 278411"/>
                <a:gd name="connsiteY762" fmla="*/ 733417 h 1214813"/>
                <a:gd name="connsiteX763" fmla="*/ 15150 w 278411"/>
                <a:gd name="connsiteY763" fmla="*/ 729507 h 1214813"/>
                <a:gd name="connsiteX764" fmla="*/ 13358 w 278411"/>
                <a:gd name="connsiteY764" fmla="*/ 727064 h 1214813"/>
                <a:gd name="connsiteX765" fmla="*/ 13358 w 278411"/>
                <a:gd name="connsiteY765" fmla="*/ 724294 h 1214813"/>
                <a:gd name="connsiteX766" fmla="*/ 17105 w 278411"/>
                <a:gd name="connsiteY766" fmla="*/ 720873 h 1214813"/>
                <a:gd name="connsiteX767" fmla="*/ 22807 w 278411"/>
                <a:gd name="connsiteY767" fmla="*/ 720873 h 1214813"/>
                <a:gd name="connsiteX768" fmla="*/ 27531 w 278411"/>
                <a:gd name="connsiteY768" fmla="*/ 723154 h 1214813"/>
                <a:gd name="connsiteX769" fmla="*/ 31930 w 278411"/>
                <a:gd name="connsiteY769" fmla="*/ 729507 h 1214813"/>
                <a:gd name="connsiteX770" fmla="*/ 31604 w 278411"/>
                <a:gd name="connsiteY770" fmla="*/ 736350 h 1214813"/>
                <a:gd name="connsiteX771" fmla="*/ 32745 w 278411"/>
                <a:gd name="connsiteY771" fmla="*/ 738304 h 1214813"/>
                <a:gd name="connsiteX772" fmla="*/ 32745 w 278411"/>
                <a:gd name="connsiteY772" fmla="*/ 743355 h 1214813"/>
                <a:gd name="connsiteX773" fmla="*/ 27043 w 278411"/>
                <a:gd name="connsiteY773" fmla="*/ 741725 h 1214813"/>
                <a:gd name="connsiteX774" fmla="*/ 33071 w 278411"/>
                <a:gd name="connsiteY774" fmla="*/ 746124 h 1214813"/>
                <a:gd name="connsiteX775" fmla="*/ 34863 w 278411"/>
                <a:gd name="connsiteY775" fmla="*/ 748568 h 1214813"/>
                <a:gd name="connsiteX776" fmla="*/ 34863 w 278411"/>
                <a:gd name="connsiteY776" fmla="*/ 749708 h 1214813"/>
                <a:gd name="connsiteX777" fmla="*/ 34699 w 278411"/>
                <a:gd name="connsiteY777" fmla="*/ 749708 h 1214813"/>
                <a:gd name="connsiteX778" fmla="*/ 38121 w 278411"/>
                <a:gd name="connsiteY778" fmla="*/ 736675 h 1214813"/>
                <a:gd name="connsiteX779" fmla="*/ 41868 w 278411"/>
                <a:gd name="connsiteY779" fmla="*/ 735046 h 1214813"/>
                <a:gd name="connsiteX780" fmla="*/ 44474 w 278411"/>
                <a:gd name="connsiteY780" fmla="*/ 737653 h 1214813"/>
                <a:gd name="connsiteX781" fmla="*/ 42682 w 278411"/>
                <a:gd name="connsiteY781" fmla="*/ 740422 h 1214813"/>
                <a:gd name="connsiteX782" fmla="*/ 38284 w 278411"/>
                <a:gd name="connsiteY782" fmla="*/ 736675 h 1214813"/>
                <a:gd name="connsiteX783" fmla="*/ 38284 w 278411"/>
                <a:gd name="connsiteY783" fmla="*/ 736675 h 1214813"/>
                <a:gd name="connsiteX784" fmla="*/ 8308 w 278411"/>
                <a:gd name="connsiteY784" fmla="*/ 784734 h 1214813"/>
                <a:gd name="connsiteX785" fmla="*/ 10263 w 278411"/>
                <a:gd name="connsiteY785" fmla="*/ 782453 h 1214813"/>
                <a:gd name="connsiteX786" fmla="*/ 14173 w 278411"/>
                <a:gd name="connsiteY786" fmla="*/ 782453 h 1214813"/>
                <a:gd name="connsiteX787" fmla="*/ 17431 w 278411"/>
                <a:gd name="connsiteY787" fmla="*/ 784896 h 1214813"/>
                <a:gd name="connsiteX788" fmla="*/ 11078 w 278411"/>
                <a:gd name="connsiteY788" fmla="*/ 787340 h 1214813"/>
                <a:gd name="connsiteX789" fmla="*/ 8471 w 278411"/>
                <a:gd name="connsiteY789" fmla="*/ 784734 h 1214813"/>
                <a:gd name="connsiteX790" fmla="*/ 8471 w 278411"/>
                <a:gd name="connsiteY790" fmla="*/ 784734 h 1214813"/>
                <a:gd name="connsiteX791" fmla="*/ 43660 w 278411"/>
                <a:gd name="connsiteY791" fmla="*/ 790109 h 1214813"/>
                <a:gd name="connsiteX792" fmla="*/ 48221 w 278411"/>
                <a:gd name="connsiteY792" fmla="*/ 787014 h 1214813"/>
                <a:gd name="connsiteX793" fmla="*/ 48221 w 278411"/>
                <a:gd name="connsiteY793" fmla="*/ 790436 h 1214813"/>
                <a:gd name="connsiteX794" fmla="*/ 45289 w 278411"/>
                <a:gd name="connsiteY794" fmla="*/ 793205 h 1214813"/>
                <a:gd name="connsiteX795" fmla="*/ 43660 w 278411"/>
                <a:gd name="connsiteY795" fmla="*/ 790109 h 1214813"/>
                <a:gd name="connsiteX796" fmla="*/ 43660 w 278411"/>
                <a:gd name="connsiteY796" fmla="*/ 790109 h 1214813"/>
                <a:gd name="connsiteX797" fmla="*/ 36003 w 278411"/>
                <a:gd name="connsiteY797" fmla="*/ 789458 h 1214813"/>
                <a:gd name="connsiteX798" fmla="*/ 39750 w 278411"/>
                <a:gd name="connsiteY798" fmla="*/ 790598 h 1214813"/>
                <a:gd name="connsiteX799" fmla="*/ 40401 w 278411"/>
                <a:gd name="connsiteY799" fmla="*/ 795648 h 1214813"/>
                <a:gd name="connsiteX800" fmla="*/ 37143 w 278411"/>
                <a:gd name="connsiteY800" fmla="*/ 797440 h 1214813"/>
                <a:gd name="connsiteX801" fmla="*/ 36817 w 278411"/>
                <a:gd name="connsiteY801" fmla="*/ 794345 h 1214813"/>
                <a:gd name="connsiteX802" fmla="*/ 33559 w 278411"/>
                <a:gd name="connsiteY802" fmla="*/ 791575 h 1214813"/>
                <a:gd name="connsiteX803" fmla="*/ 36166 w 278411"/>
                <a:gd name="connsiteY803" fmla="*/ 789295 h 1214813"/>
                <a:gd name="connsiteX804" fmla="*/ 36166 w 278411"/>
                <a:gd name="connsiteY804" fmla="*/ 789295 h 1214813"/>
                <a:gd name="connsiteX805" fmla="*/ 24273 w 278411"/>
                <a:gd name="connsiteY805" fmla="*/ 788318 h 1214813"/>
                <a:gd name="connsiteX806" fmla="*/ 25414 w 278411"/>
                <a:gd name="connsiteY806" fmla="*/ 786363 h 1214813"/>
                <a:gd name="connsiteX807" fmla="*/ 32093 w 278411"/>
                <a:gd name="connsiteY807" fmla="*/ 787991 h 1214813"/>
                <a:gd name="connsiteX808" fmla="*/ 27043 w 278411"/>
                <a:gd name="connsiteY808" fmla="*/ 791250 h 1214813"/>
                <a:gd name="connsiteX809" fmla="*/ 24110 w 278411"/>
                <a:gd name="connsiteY809" fmla="*/ 788480 h 1214813"/>
                <a:gd name="connsiteX810" fmla="*/ 24110 w 278411"/>
                <a:gd name="connsiteY810" fmla="*/ 788480 h 1214813"/>
                <a:gd name="connsiteX811" fmla="*/ 26228 w 278411"/>
                <a:gd name="connsiteY811" fmla="*/ 797766 h 1214813"/>
                <a:gd name="connsiteX812" fmla="*/ 27206 w 278411"/>
                <a:gd name="connsiteY812" fmla="*/ 796463 h 1214813"/>
                <a:gd name="connsiteX813" fmla="*/ 29487 w 278411"/>
                <a:gd name="connsiteY813" fmla="*/ 798092 h 1214813"/>
                <a:gd name="connsiteX814" fmla="*/ 28509 w 278411"/>
                <a:gd name="connsiteY814" fmla="*/ 800698 h 1214813"/>
                <a:gd name="connsiteX815" fmla="*/ 26228 w 278411"/>
                <a:gd name="connsiteY815" fmla="*/ 797766 h 1214813"/>
                <a:gd name="connsiteX816" fmla="*/ 26228 w 278411"/>
                <a:gd name="connsiteY816" fmla="*/ 797766 h 1214813"/>
                <a:gd name="connsiteX817" fmla="*/ 19549 w 278411"/>
                <a:gd name="connsiteY817" fmla="*/ 804120 h 1214813"/>
                <a:gd name="connsiteX818" fmla="*/ 21341 w 278411"/>
                <a:gd name="connsiteY818" fmla="*/ 800698 h 1214813"/>
                <a:gd name="connsiteX819" fmla="*/ 25088 w 278411"/>
                <a:gd name="connsiteY819" fmla="*/ 800698 h 1214813"/>
                <a:gd name="connsiteX820" fmla="*/ 27695 w 278411"/>
                <a:gd name="connsiteY820" fmla="*/ 803631 h 1214813"/>
                <a:gd name="connsiteX821" fmla="*/ 27206 w 278411"/>
                <a:gd name="connsiteY821" fmla="*/ 805749 h 1214813"/>
                <a:gd name="connsiteX822" fmla="*/ 23296 w 278411"/>
                <a:gd name="connsiteY822" fmla="*/ 807378 h 1214813"/>
                <a:gd name="connsiteX823" fmla="*/ 20526 w 278411"/>
                <a:gd name="connsiteY823" fmla="*/ 806726 h 1214813"/>
                <a:gd name="connsiteX824" fmla="*/ 19712 w 278411"/>
                <a:gd name="connsiteY824" fmla="*/ 804282 h 1214813"/>
                <a:gd name="connsiteX825" fmla="*/ 19712 w 278411"/>
                <a:gd name="connsiteY825" fmla="*/ 804282 h 1214813"/>
                <a:gd name="connsiteX826" fmla="*/ 15476 w 278411"/>
                <a:gd name="connsiteY826" fmla="*/ 812591 h 1214813"/>
                <a:gd name="connsiteX827" fmla="*/ 18083 w 278411"/>
                <a:gd name="connsiteY827" fmla="*/ 815361 h 1214813"/>
                <a:gd name="connsiteX828" fmla="*/ 14825 w 278411"/>
                <a:gd name="connsiteY828" fmla="*/ 817804 h 1214813"/>
                <a:gd name="connsiteX829" fmla="*/ 12870 w 278411"/>
                <a:gd name="connsiteY829" fmla="*/ 815849 h 1214813"/>
                <a:gd name="connsiteX830" fmla="*/ 15313 w 278411"/>
                <a:gd name="connsiteY830" fmla="*/ 812754 h 1214813"/>
                <a:gd name="connsiteX831" fmla="*/ 15313 w 278411"/>
                <a:gd name="connsiteY831" fmla="*/ 812754 h 1214813"/>
                <a:gd name="connsiteX832" fmla="*/ 39913 w 278411"/>
                <a:gd name="connsiteY832" fmla="*/ 811125 h 1214813"/>
                <a:gd name="connsiteX833" fmla="*/ 41379 w 278411"/>
                <a:gd name="connsiteY833" fmla="*/ 816827 h 1214813"/>
                <a:gd name="connsiteX834" fmla="*/ 37632 w 278411"/>
                <a:gd name="connsiteY834" fmla="*/ 816501 h 1214813"/>
                <a:gd name="connsiteX835" fmla="*/ 39913 w 278411"/>
                <a:gd name="connsiteY835" fmla="*/ 811125 h 1214813"/>
                <a:gd name="connsiteX836" fmla="*/ 39913 w 278411"/>
                <a:gd name="connsiteY836" fmla="*/ 811125 h 1214813"/>
                <a:gd name="connsiteX837" fmla="*/ 30953 w 278411"/>
                <a:gd name="connsiteY837" fmla="*/ 809170 h 1214813"/>
                <a:gd name="connsiteX838" fmla="*/ 36003 w 278411"/>
                <a:gd name="connsiteY838" fmla="*/ 807378 h 1214813"/>
                <a:gd name="connsiteX839" fmla="*/ 36003 w 278411"/>
                <a:gd name="connsiteY839" fmla="*/ 814057 h 1214813"/>
                <a:gd name="connsiteX840" fmla="*/ 30953 w 278411"/>
                <a:gd name="connsiteY840" fmla="*/ 809333 h 1214813"/>
                <a:gd name="connsiteX841" fmla="*/ 30953 w 278411"/>
                <a:gd name="connsiteY841" fmla="*/ 809333 h 1214813"/>
                <a:gd name="connsiteX842" fmla="*/ 20364 w 278411"/>
                <a:gd name="connsiteY842" fmla="*/ 849082 h 1214813"/>
                <a:gd name="connsiteX843" fmla="*/ 22644 w 278411"/>
                <a:gd name="connsiteY843" fmla="*/ 849082 h 1214813"/>
                <a:gd name="connsiteX844" fmla="*/ 23459 w 278411"/>
                <a:gd name="connsiteY844" fmla="*/ 853318 h 1214813"/>
                <a:gd name="connsiteX845" fmla="*/ 20689 w 278411"/>
                <a:gd name="connsiteY845" fmla="*/ 853318 h 1214813"/>
                <a:gd name="connsiteX846" fmla="*/ 20526 w 278411"/>
                <a:gd name="connsiteY846" fmla="*/ 849082 h 1214813"/>
                <a:gd name="connsiteX847" fmla="*/ 20526 w 278411"/>
                <a:gd name="connsiteY847" fmla="*/ 849082 h 1214813"/>
                <a:gd name="connsiteX848" fmla="*/ 20689 w 278411"/>
                <a:gd name="connsiteY848" fmla="*/ 815849 h 1214813"/>
                <a:gd name="connsiteX849" fmla="*/ 21015 w 278411"/>
                <a:gd name="connsiteY849" fmla="*/ 811777 h 1214813"/>
                <a:gd name="connsiteX850" fmla="*/ 19875 w 278411"/>
                <a:gd name="connsiteY850" fmla="*/ 808681 h 1214813"/>
                <a:gd name="connsiteX851" fmla="*/ 25088 w 278411"/>
                <a:gd name="connsiteY851" fmla="*/ 808681 h 1214813"/>
                <a:gd name="connsiteX852" fmla="*/ 27695 w 278411"/>
                <a:gd name="connsiteY852" fmla="*/ 813894 h 1214813"/>
                <a:gd name="connsiteX853" fmla="*/ 23785 w 278411"/>
                <a:gd name="connsiteY853" fmla="*/ 814709 h 1214813"/>
                <a:gd name="connsiteX854" fmla="*/ 20689 w 278411"/>
                <a:gd name="connsiteY854" fmla="*/ 816012 h 1214813"/>
                <a:gd name="connsiteX855" fmla="*/ 20689 w 278411"/>
                <a:gd name="connsiteY855" fmla="*/ 816012 h 1214813"/>
                <a:gd name="connsiteX856" fmla="*/ 10263 w 278411"/>
                <a:gd name="connsiteY856" fmla="*/ 824320 h 1214813"/>
                <a:gd name="connsiteX857" fmla="*/ 3747 w 278411"/>
                <a:gd name="connsiteY857" fmla="*/ 821551 h 1214813"/>
                <a:gd name="connsiteX858" fmla="*/ 4236 w 278411"/>
                <a:gd name="connsiteY858" fmla="*/ 818293 h 1214813"/>
                <a:gd name="connsiteX859" fmla="*/ 8960 w 278411"/>
                <a:gd name="connsiteY859" fmla="*/ 818293 h 1214813"/>
                <a:gd name="connsiteX860" fmla="*/ 11729 w 278411"/>
                <a:gd name="connsiteY860" fmla="*/ 821225 h 1214813"/>
                <a:gd name="connsiteX861" fmla="*/ 10100 w 278411"/>
                <a:gd name="connsiteY861" fmla="*/ 824320 h 1214813"/>
                <a:gd name="connsiteX862" fmla="*/ 10100 w 278411"/>
                <a:gd name="connsiteY862" fmla="*/ 824320 h 1214813"/>
                <a:gd name="connsiteX863" fmla="*/ 28509 w 278411"/>
                <a:gd name="connsiteY863" fmla="*/ 841263 h 1214813"/>
                <a:gd name="connsiteX864" fmla="*/ 32745 w 278411"/>
                <a:gd name="connsiteY864" fmla="*/ 840937 h 1214813"/>
                <a:gd name="connsiteX865" fmla="*/ 32745 w 278411"/>
                <a:gd name="connsiteY865" fmla="*/ 845661 h 1214813"/>
                <a:gd name="connsiteX866" fmla="*/ 28509 w 278411"/>
                <a:gd name="connsiteY866" fmla="*/ 841263 h 1214813"/>
                <a:gd name="connsiteX867" fmla="*/ 28509 w 278411"/>
                <a:gd name="connsiteY867" fmla="*/ 841263 h 1214813"/>
                <a:gd name="connsiteX868" fmla="*/ 35025 w 278411"/>
                <a:gd name="connsiteY868" fmla="*/ 847291 h 1214813"/>
                <a:gd name="connsiteX869" fmla="*/ 40238 w 278411"/>
                <a:gd name="connsiteY869" fmla="*/ 847291 h 1214813"/>
                <a:gd name="connsiteX870" fmla="*/ 37469 w 278411"/>
                <a:gd name="connsiteY870" fmla="*/ 850386 h 1214813"/>
                <a:gd name="connsiteX871" fmla="*/ 35025 w 278411"/>
                <a:gd name="connsiteY871" fmla="*/ 847291 h 1214813"/>
                <a:gd name="connsiteX872" fmla="*/ 35025 w 278411"/>
                <a:gd name="connsiteY872" fmla="*/ 847291 h 1214813"/>
                <a:gd name="connsiteX873" fmla="*/ 44311 w 278411"/>
                <a:gd name="connsiteY873" fmla="*/ 802654 h 1214813"/>
                <a:gd name="connsiteX874" fmla="*/ 46266 w 278411"/>
                <a:gd name="connsiteY874" fmla="*/ 801350 h 1214813"/>
                <a:gd name="connsiteX875" fmla="*/ 50665 w 278411"/>
                <a:gd name="connsiteY875" fmla="*/ 804771 h 1214813"/>
                <a:gd name="connsiteX876" fmla="*/ 45452 w 278411"/>
                <a:gd name="connsiteY876" fmla="*/ 805097 h 1214813"/>
                <a:gd name="connsiteX877" fmla="*/ 44148 w 278411"/>
                <a:gd name="connsiteY877" fmla="*/ 802491 h 1214813"/>
                <a:gd name="connsiteX878" fmla="*/ 44148 w 278411"/>
                <a:gd name="connsiteY878" fmla="*/ 802491 h 1214813"/>
                <a:gd name="connsiteX879" fmla="*/ 52620 w 278411"/>
                <a:gd name="connsiteY879" fmla="*/ 806726 h 1214813"/>
                <a:gd name="connsiteX880" fmla="*/ 57344 w 278411"/>
                <a:gd name="connsiteY880" fmla="*/ 807704 h 1214813"/>
                <a:gd name="connsiteX881" fmla="*/ 58484 w 278411"/>
                <a:gd name="connsiteY881" fmla="*/ 811450 h 1214813"/>
                <a:gd name="connsiteX882" fmla="*/ 62557 w 278411"/>
                <a:gd name="connsiteY882" fmla="*/ 815849 h 1214813"/>
                <a:gd name="connsiteX883" fmla="*/ 59788 w 278411"/>
                <a:gd name="connsiteY883" fmla="*/ 819922 h 1214813"/>
                <a:gd name="connsiteX884" fmla="*/ 58321 w 278411"/>
                <a:gd name="connsiteY884" fmla="*/ 823343 h 1214813"/>
                <a:gd name="connsiteX885" fmla="*/ 55063 w 278411"/>
                <a:gd name="connsiteY885" fmla="*/ 823995 h 1214813"/>
                <a:gd name="connsiteX886" fmla="*/ 52620 w 278411"/>
                <a:gd name="connsiteY886" fmla="*/ 822691 h 1214813"/>
                <a:gd name="connsiteX887" fmla="*/ 50013 w 278411"/>
                <a:gd name="connsiteY887" fmla="*/ 822202 h 1214813"/>
                <a:gd name="connsiteX888" fmla="*/ 46266 w 278411"/>
                <a:gd name="connsiteY888" fmla="*/ 826112 h 1214813"/>
                <a:gd name="connsiteX889" fmla="*/ 45940 w 278411"/>
                <a:gd name="connsiteY889" fmla="*/ 820411 h 1214813"/>
                <a:gd name="connsiteX890" fmla="*/ 44963 w 278411"/>
                <a:gd name="connsiteY890" fmla="*/ 816338 h 1214813"/>
                <a:gd name="connsiteX891" fmla="*/ 47406 w 278411"/>
                <a:gd name="connsiteY891" fmla="*/ 808844 h 1214813"/>
                <a:gd name="connsiteX892" fmla="*/ 52620 w 278411"/>
                <a:gd name="connsiteY892" fmla="*/ 806889 h 1214813"/>
                <a:gd name="connsiteX893" fmla="*/ 52620 w 278411"/>
                <a:gd name="connsiteY893" fmla="*/ 806889 h 1214813"/>
                <a:gd name="connsiteX894" fmla="*/ 23947 w 278411"/>
                <a:gd name="connsiteY894" fmla="*/ 821877 h 1214813"/>
                <a:gd name="connsiteX895" fmla="*/ 25251 w 278411"/>
                <a:gd name="connsiteY895" fmla="*/ 817804 h 1214813"/>
                <a:gd name="connsiteX896" fmla="*/ 36003 w 278411"/>
                <a:gd name="connsiteY896" fmla="*/ 817804 h 1214813"/>
                <a:gd name="connsiteX897" fmla="*/ 33559 w 278411"/>
                <a:gd name="connsiteY897" fmla="*/ 820573 h 1214813"/>
                <a:gd name="connsiteX898" fmla="*/ 27043 w 278411"/>
                <a:gd name="connsiteY898" fmla="*/ 821877 h 1214813"/>
                <a:gd name="connsiteX899" fmla="*/ 26065 w 278411"/>
                <a:gd name="connsiteY899" fmla="*/ 823832 h 1214813"/>
                <a:gd name="connsiteX900" fmla="*/ 23785 w 278411"/>
                <a:gd name="connsiteY900" fmla="*/ 821877 h 1214813"/>
                <a:gd name="connsiteX901" fmla="*/ 23785 w 278411"/>
                <a:gd name="connsiteY901" fmla="*/ 821877 h 1214813"/>
                <a:gd name="connsiteX902" fmla="*/ 29975 w 278411"/>
                <a:gd name="connsiteY902" fmla="*/ 831652 h 1214813"/>
                <a:gd name="connsiteX903" fmla="*/ 27531 w 278411"/>
                <a:gd name="connsiteY903" fmla="*/ 829371 h 1214813"/>
                <a:gd name="connsiteX904" fmla="*/ 33233 w 278411"/>
                <a:gd name="connsiteY904" fmla="*/ 827579 h 1214813"/>
                <a:gd name="connsiteX905" fmla="*/ 36980 w 278411"/>
                <a:gd name="connsiteY905" fmla="*/ 827253 h 1214813"/>
                <a:gd name="connsiteX906" fmla="*/ 36655 w 278411"/>
                <a:gd name="connsiteY906" fmla="*/ 831488 h 1214813"/>
                <a:gd name="connsiteX907" fmla="*/ 29975 w 278411"/>
                <a:gd name="connsiteY907" fmla="*/ 831488 h 1214813"/>
                <a:gd name="connsiteX908" fmla="*/ 31930 w 278411"/>
                <a:gd name="connsiteY908" fmla="*/ 835236 h 1214813"/>
                <a:gd name="connsiteX909" fmla="*/ 36329 w 278411"/>
                <a:gd name="connsiteY909" fmla="*/ 832629 h 1214813"/>
                <a:gd name="connsiteX910" fmla="*/ 41868 w 278411"/>
                <a:gd name="connsiteY910" fmla="*/ 832629 h 1214813"/>
                <a:gd name="connsiteX911" fmla="*/ 42356 w 278411"/>
                <a:gd name="connsiteY911" fmla="*/ 840774 h 1214813"/>
                <a:gd name="connsiteX912" fmla="*/ 39587 w 278411"/>
                <a:gd name="connsiteY912" fmla="*/ 844684 h 1214813"/>
                <a:gd name="connsiteX913" fmla="*/ 36329 w 278411"/>
                <a:gd name="connsiteY913" fmla="*/ 843055 h 1214813"/>
                <a:gd name="connsiteX914" fmla="*/ 34699 w 278411"/>
                <a:gd name="connsiteY914" fmla="*/ 837516 h 1214813"/>
                <a:gd name="connsiteX915" fmla="*/ 31930 w 278411"/>
                <a:gd name="connsiteY915" fmla="*/ 835236 h 1214813"/>
                <a:gd name="connsiteX916" fmla="*/ 31930 w 278411"/>
                <a:gd name="connsiteY916" fmla="*/ 835236 h 1214813"/>
                <a:gd name="connsiteX917" fmla="*/ 24762 w 278411"/>
                <a:gd name="connsiteY917" fmla="*/ 848920 h 1214813"/>
                <a:gd name="connsiteX918" fmla="*/ 26717 w 278411"/>
                <a:gd name="connsiteY918" fmla="*/ 845987 h 1214813"/>
                <a:gd name="connsiteX919" fmla="*/ 28183 w 278411"/>
                <a:gd name="connsiteY919" fmla="*/ 848268 h 1214813"/>
                <a:gd name="connsiteX920" fmla="*/ 32582 w 278411"/>
                <a:gd name="connsiteY920" fmla="*/ 849245 h 1214813"/>
                <a:gd name="connsiteX921" fmla="*/ 34537 w 278411"/>
                <a:gd name="connsiteY921" fmla="*/ 853318 h 1214813"/>
                <a:gd name="connsiteX922" fmla="*/ 29323 w 278411"/>
                <a:gd name="connsiteY922" fmla="*/ 854459 h 1214813"/>
                <a:gd name="connsiteX923" fmla="*/ 24599 w 278411"/>
                <a:gd name="connsiteY923" fmla="*/ 849082 h 1214813"/>
                <a:gd name="connsiteX924" fmla="*/ 24599 w 278411"/>
                <a:gd name="connsiteY924" fmla="*/ 849082 h 1214813"/>
                <a:gd name="connsiteX925" fmla="*/ 38121 w 278411"/>
                <a:gd name="connsiteY925" fmla="*/ 947968 h 1214813"/>
                <a:gd name="connsiteX926" fmla="*/ 41216 w 278411"/>
                <a:gd name="connsiteY926" fmla="*/ 945199 h 1214813"/>
                <a:gd name="connsiteX927" fmla="*/ 38772 w 278411"/>
                <a:gd name="connsiteY927" fmla="*/ 943244 h 1214813"/>
                <a:gd name="connsiteX928" fmla="*/ 37632 w 278411"/>
                <a:gd name="connsiteY928" fmla="*/ 945036 h 1214813"/>
                <a:gd name="connsiteX929" fmla="*/ 31604 w 278411"/>
                <a:gd name="connsiteY929" fmla="*/ 935750 h 1214813"/>
                <a:gd name="connsiteX930" fmla="*/ 26880 w 278411"/>
                <a:gd name="connsiteY930" fmla="*/ 931677 h 1214813"/>
                <a:gd name="connsiteX931" fmla="*/ 28835 w 278411"/>
                <a:gd name="connsiteY931" fmla="*/ 928745 h 1214813"/>
                <a:gd name="connsiteX932" fmla="*/ 33233 w 278411"/>
                <a:gd name="connsiteY932" fmla="*/ 928257 h 1214813"/>
                <a:gd name="connsiteX933" fmla="*/ 37306 w 278411"/>
                <a:gd name="connsiteY933" fmla="*/ 925813 h 1214813"/>
                <a:gd name="connsiteX934" fmla="*/ 37795 w 278411"/>
                <a:gd name="connsiteY934" fmla="*/ 933958 h 1214813"/>
                <a:gd name="connsiteX935" fmla="*/ 42519 w 278411"/>
                <a:gd name="connsiteY935" fmla="*/ 935913 h 1214813"/>
                <a:gd name="connsiteX936" fmla="*/ 42845 w 278411"/>
                <a:gd name="connsiteY936" fmla="*/ 941452 h 1214813"/>
                <a:gd name="connsiteX937" fmla="*/ 46918 w 278411"/>
                <a:gd name="connsiteY937" fmla="*/ 945199 h 1214813"/>
                <a:gd name="connsiteX938" fmla="*/ 49524 w 278411"/>
                <a:gd name="connsiteY938" fmla="*/ 953670 h 1214813"/>
                <a:gd name="connsiteX939" fmla="*/ 44148 w 278411"/>
                <a:gd name="connsiteY939" fmla="*/ 953182 h 1214813"/>
                <a:gd name="connsiteX940" fmla="*/ 39098 w 278411"/>
                <a:gd name="connsiteY940" fmla="*/ 953670 h 1214813"/>
                <a:gd name="connsiteX941" fmla="*/ 37795 w 278411"/>
                <a:gd name="connsiteY941" fmla="*/ 947968 h 1214813"/>
                <a:gd name="connsiteX942" fmla="*/ 37795 w 278411"/>
                <a:gd name="connsiteY942" fmla="*/ 947968 h 1214813"/>
                <a:gd name="connsiteX943" fmla="*/ 19386 w 278411"/>
                <a:gd name="connsiteY943" fmla="*/ 938194 h 1214813"/>
                <a:gd name="connsiteX944" fmla="*/ 19386 w 278411"/>
                <a:gd name="connsiteY944" fmla="*/ 935098 h 1214813"/>
                <a:gd name="connsiteX945" fmla="*/ 21178 w 278411"/>
                <a:gd name="connsiteY945" fmla="*/ 933307 h 1214813"/>
                <a:gd name="connsiteX946" fmla="*/ 25414 w 278411"/>
                <a:gd name="connsiteY946" fmla="*/ 934447 h 1214813"/>
                <a:gd name="connsiteX947" fmla="*/ 32093 w 278411"/>
                <a:gd name="connsiteY947" fmla="*/ 944873 h 1214813"/>
                <a:gd name="connsiteX948" fmla="*/ 36491 w 278411"/>
                <a:gd name="connsiteY948" fmla="*/ 951389 h 1214813"/>
                <a:gd name="connsiteX949" fmla="*/ 36166 w 278411"/>
                <a:gd name="connsiteY949" fmla="*/ 956928 h 1214813"/>
                <a:gd name="connsiteX950" fmla="*/ 34537 w 278411"/>
                <a:gd name="connsiteY950" fmla="*/ 959698 h 1214813"/>
                <a:gd name="connsiteX951" fmla="*/ 30464 w 278411"/>
                <a:gd name="connsiteY951" fmla="*/ 957254 h 1214813"/>
                <a:gd name="connsiteX952" fmla="*/ 28509 w 278411"/>
                <a:gd name="connsiteY952" fmla="*/ 949761 h 1214813"/>
                <a:gd name="connsiteX953" fmla="*/ 28998 w 278411"/>
                <a:gd name="connsiteY953" fmla="*/ 947805 h 1214813"/>
                <a:gd name="connsiteX954" fmla="*/ 25739 w 278411"/>
                <a:gd name="connsiteY954" fmla="*/ 945199 h 1214813"/>
                <a:gd name="connsiteX955" fmla="*/ 20526 w 278411"/>
                <a:gd name="connsiteY955" fmla="*/ 944221 h 1214813"/>
                <a:gd name="connsiteX956" fmla="*/ 19386 w 278411"/>
                <a:gd name="connsiteY956" fmla="*/ 938194 h 1214813"/>
                <a:gd name="connsiteX957" fmla="*/ 19386 w 278411"/>
                <a:gd name="connsiteY957" fmla="*/ 938194 h 1214813"/>
                <a:gd name="connsiteX958" fmla="*/ 20201 w 278411"/>
                <a:gd name="connsiteY958" fmla="*/ 946828 h 1214813"/>
                <a:gd name="connsiteX959" fmla="*/ 22155 w 278411"/>
                <a:gd name="connsiteY959" fmla="*/ 947317 h 1214813"/>
                <a:gd name="connsiteX960" fmla="*/ 25739 w 278411"/>
                <a:gd name="connsiteY960" fmla="*/ 948946 h 1214813"/>
                <a:gd name="connsiteX961" fmla="*/ 27369 w 278411"/>
                <a:gd name="connsiteY961" fmla="*/ 953996 h 1214813"/>
                <a:gd name="connsiteX962" fmla="*/ 26391 w 278411"/>
                <a:gd name="connsiteY962" fmla="*/ 957743 h 1214813"/>
                <a:gd name="connsiteX963" fmla="*/ 23459 w 278411"/>
                <a:gd name="connsiteY963" fmla="*/ 958232 h 1214813"/>
                <a:gd name="connsiteX964" fmla="*/ 23133 w 278411"/>
                <a:gd name="connsiteY964" fmla="*/ 955951 h 1214813"/>
                <a:gd name="connsiteX965" fmla="*/ 20364 w 278411"/>
                <a:gd name="connsiteY965" fmla="*/ 953833 h 1214813"/>
                <a:gd name="connsiteX966" fmla="*/ 20364 w 278411"/>
                <a:gd name="connsiteY966" fmla="*/ 946828 h 1214813"/>
                <a:gd name="connsiteX967" fmla="*/ 20201 w 278411"/>
                <a:gd name="connsiteY967" fmla="*/ 946828 h 1214813"/>
                <a:gd name="connsiteX968" fmla="*/ 29812 w 278411"/>
                <a:gd name="connsiteY968" fmla="*/ 977129 h 1214813"/>
                <a:gd name="connsiteX969" fmla="*/ 27857 w 278411"/>
                <a:gd name="connsiteY969" fmla="*/ 975989 h 1214813"/>
                <a:gd name="connsiteX970" fmla="*/ 28183 w 278411"/>
                <a:gd name="connsiteY970" fmla="*/ 972079 h 1214813"/>
                <a:gd name="connsiteX971" fmla="*/ 25577 w 278411"/>
                <a:gd name="connsiteY971" fmla="*/ 963445 h 1214813"/>
                <a:gd name="connsiteX972" fmla="*/ 28346 w 278411"/>
                <a:gd name="connsiteY972" fmla="*/ 960838 h 1214813"/>
                <a:gd name="connsiteX973" fmla="*/ 29323 w 278411"/>
                <a:gd name="connsiteY973" fmla="*/ 962304 h 1214813"/>
                <a:gd name="connsiteX974" fmla="*/ 35188 w 278411"/>
                <a:gd name="connsiteY974" fmla="*/ 964911 h 1214813"/>
                <a:gd name="connsiteX975" fmla="*/ 37143 w 278411"/>
                <a:gd name="connsiteY975" fmla="*/ 969146 h 1214813"/>
                <a:gd name="connsiteX976" fmla="*/ 34211 w 278411"/>
                <a:gd name="connsiteY976" fmla="*/ 970287 h 1214813"/>
                <a:gd name="connsiteX977" fmla="*/ 29812 w 278411"/>
                <a:gd name="connsiteY977" fmla="*/ 977129 h 1214813"/>
                <a:gd name="connsiteX978" fmla="*/ 29812 w 278411"/>
                <a:gd name="connsiteY978" fmla="*/ 977129 h 1214813"/>
                <a:gd name="connsiteX979" fmla="*/ 36655 w 278411"/>
                <a:gd name="connsiteY979" fmla="*/ 996352 h 1214813"/>
                <a:gd name="connsiteX980" fmla="*/ 33396 w 278411"/>
                <a:gd name="connsiteY980" fmla="*/ 998633 h 1214813"/>
                <a:gd name="connsiteX981" fmla="*/ 30790 w 278411"/>
                <a:gd name="connsiteY981" fmla="*/ 995864 h 1214813"/>
                <a:gd name="connsiteX982" fmla="*/ 31767 w 278411"/>
                <a:gd name="connsiteY982" fmla="*/ 992931 h 1214813"/>
                <a:gd name="connsiteX983" fmla="*/ 29323 w 278411"/>
                <a:gd name="connsiteY983" fmla="*/ 989999 h 1214813"/>
                <a:gd name="connsiteX984" fmla="*/ 34863 w 278411"/>
                <a:gd name="connsiteY984" fmla="*/ 986904 h 1214813"/>
                <a:gd name="connsiteX985" fmla="*/ 37958 w 278411"/>
                <a:gd name="connsiteY985" fmla="*/ 991954 h 1214813"/>
                <a:gd name="connsiteX986" fmla="*/ 36817 w 278411"/>
                <a:gd name="connsiteY986" fmla="*/ 996189 h 1214813"/>
                <a:gd name="connsiteX987" fmla="*/ 36817 w 278411"/>
                <a:gd name="connsiteY987" fmla="*/ 996189 h 1214813"/>
                <a:gd name="connsiteX988" fmla="*/ 49361 w 278411"/>
                <a:gd name="connsiteY988" fmla="*/ 994072 h 1214813"/>
                <a:gd name="connsiteX989" fmla="*/ 48058 w 278411"/>
                <a:gd name="connsiteY989" fmla="*/ 999285 h 1214813"/>
                <a:gd name="connsiteX990" fmla="*/ 45614 w 278411"/>
                <a:gd name="connsiteY990" fmla="*/ 1000914 h 1214813"/>
                <a:gd name="connsiteX991" fmla="*/ 41216 w 278411"/>
                <a:gd name="connsiteY991" fmla="*/ 996841 h 1214813"/>
                <a:gd name="connsiteX992" fmla="*/ 39587 w 278411"/>
                <a:gd name="connsiteY992" fmla="*/ 990814 h 1214813"/>
                <a:gd name="connsiteX993" fmla="*/ 34374 w 278411"/>
                <a:gd name="connsiteY993" fmla="*/ 980713 h 1214813"/>
                <a:gd name="connsiteX994" fmla="*/ 39587 w 278411"/>
                <a:gd name="connsiteY994" fmla="*/ 979736 h 1214813"/>
                <a:gd name="connsiteX995" fmla="*/ 43334 w 278411"/>
                <a:gd name="connsiteY995" fmla="*/ 976641 h 1214813"/>
                <a:gd name="connsiteX996" fmla="*/ 43660 w 278411"/>
                <a:gd name="connsiteY996" fmla="*/ 973219 h 1214813"/>
                <a:gd name="connsiteX997" fmla="*/ 41705 w 278411"/>
                <a:gd name="connsiteY997" fmla="*/ 976152 h 1214813"/>
                <a:gd name="connsiteX998" fmla="*/ 39424 w 278411"/>
                <a:gd name="connsiteY998" fmla="*/ 976152 h 1214813"/>
                <a:gd name="connsiteX999" fmla="*/ 38609 w 278411"/>
                <a:gd name="connsiteY999" fmla="*/ 973545 h 1214813"/>
                <a:gd name="connsiteX1000" fmla="*/ 40076 w 278411"/>
                <a:gd name="connsiteY1000" fmla="*/ 969146 h 1214813"/>
                <a:gd name="connsiteX1001" fmla="*/ 37143 w 278411"/>
                <a:gd name="connsiteY1001" fmla="*/ 966052 h 1214813"/>
                <a:gd name="connsiteX1002" fmla="*/ 37143 w 278411"/>
                <a:gd name="connsiteY1002" fmla="*/ 960350 h 1214813"/>
                <a:gd name="connsiteX1003" fmla="*/ 39750 w 278411"/>
                <a:gd name="connsiteY1003" fmla="*/ 957906 h 1214813"/>
                <a:gd name="connsiteX1004" fmla="*/ 46918 w 278411"/>
                <a:gd name="connsiteY1004" fmla="*/ 957906 h 1214813"/>
                <a:gd name="connsiteX1005" fmla="*/ 50176 w 278411"/>
                <a:gd name="connsiteY1005" fmla="*/ 960350 h 1214813"/>
                <a:gd name="connsiteX1006" fmla="*/ 52782 w 278411"/>
                <a:gd name="connsiteY1006" fmla="*/ 971590 h 1214813"/>
                <a:gd name="connsiteX1007" fmla="*/ 55715 w 278411"/>
                <a:gd name="connsiteY1007" fmla="*/ 977129 h 1214813"/>
                <a:gd name="connsiteX1008" fmla="*/ 56529 w 278411"/>
                <a:gd name="connsiteY1008" fmla="*/ 986578 h 1214813"/>
                <a:gd name="connsiteX1009" fmla="*/ 55389 w 278411"/>
                <a:gd name="connsiteY1009" fmla="*/ 988370 h 1214813"/>
                <a:gd name="connsiteX1010" fmla="*/ 58158 w 278411"/>
                <a:gd name="connsiteY1010" fmla="*/ 995375 h 1214813"/>
                <a:gd name="connsiteX1011" fmla="*/ 58158 w 278411"/>
                <a:gd name="connsiteY1011" fmla="*/ 1003195 h 1214813"/>
                <a:gd name="connsiteX1012" fmla="*/ 54412 w 278411"/>
                <a:gd name="connsiteY1012" fmla="*/ 1005964 h 1214813"/>
                <a:gd name="connsiteX1013" fmla="*/ 51642 w 278411"/>
                <a:gd name="connsiteY1013" fmla="*/ 1004335 h 1214813"/>
                <a:gd name="connsiteX1014" fmla="*/ 50665 w 278411"/>
                <a:gd name="connsiteY1014" fmla="*/ 998796 h 1214813"/>
                <a:gd name="connsiteX1015" fmla="*/ 49198 w 278411"/>
                <a:gd name="connsiteY1015" fmla="*/ 994398 h 1214813"/>
                <a:gd name="connsiteX1016" fmla="*/ 49198 w 278411"/>
                <a:gd name="connsiteY1016" fmla="*/ 994398 h 1214813"/>
                <a:gd name="connsiteX1017" fmla="*/ 45452 w 278411"/>
                <a:gd name="connsiteY1017" fmla="*/ 1020137 h 1214813"/>
                <a:gd name="connsiteX1018" fmla="*/ 44148 w 278411"/>
                <a:gd name="connsiteY1018" fmla="*/ 1016227 h 1214813"/>
                <a:gd name="connsiteX1019" fmla="*/ 41053 w 278411"/>
                <a:gd name="connsiteY1019" fmla="*/ 1013946 h 1214813"/>
                <a:gd name="connsiteX1020" fmla="*/ 43008 w 278411"/>
                <a:gd name="connsiteY1020" fmla="*/ 1011340 h 1214813"/>
                <a:gd name="connsiteX1021" fmla="*/ 43008 w 278411"/>
                <a:gd name="connsiteY1021" fmla="*/ 1008408 h 1214813"/>
                <a:gd name="connsiteX1022" fmla="*/ 44311 w 278411"/>
                <a:gd name="connsiteY1022" fmla="*/ 1007268 h 1214813"/>
                <a:gd name="connsiteX1023" fmla="*/ 46755 w 278411"/>
                <a:gd name="connsiteY1023" fmla="*/ 1008408 h 1214813"/>
                <a:gd name="connsiteX1024" fmla="*/ 52457 w 278411"/>
                <a:gd name="connsiteY1024" fmla="*/ 1009222 h 1214813"/>
                <a:gd name="connsiteX1025" fmla="*/ 50339 w 278411"/>
                <a:gd name="connsiteY1025" fmla="*/ 1013458 h 1214813"/>
                <a:gd name="connsiteX1026" fmla="*/ 50339 w 278411"/>
                <a:gd name="connsiteY1026" fmla="*/ 1017857 h 1214813"/>
                <a:gd name="connsiteX1027" fmla="*/ 47732 w 278411"/>
                <a:gd name="connsiteY1027" fmla="*/ 1020137 h 1214813"/>
                <a:gd name="connsiteX1028" fmla="*/ 45452 w 278411"/>
                <a:gd name="connsiteY1028" fmla="*/ 1020137 h 1214813"/>
                <a:gd name="connsiteX1029" fmla="*/ 42356 w 278411"/>
                <a:gd name="connsiteY1029" fmla="*/ 1027631 h 1214813"/>
                <a:gd name="connsiteX1030" fmla="*/ 42356 w 278411"/>
                <a:gd name="connsiteY1030" fmla="*/ 1023395 h 1214813"/>
                <a:gd name="connsiteX1031" fmla="*/ 48221 w 278411"/>
                <a:gd name="connsiteY1031" fmla="*/ 1023395 h 1214813"/>
                <a:gd name="connsiteX1032" fmla="*/ 44963 w 278411"/>
                <a:gd name="connsiteY1032" fmla="*/ 1025839 h 1214813"/>
                <a:gd name="connsiteX1033" fmla="*/ 42356 w 278411"/>
                <a:gd name="connsiteY1033" fmla="*/ 1027631 h 1214813"/>
                <a:gd name="connsiteX1034" fmla="*/ 42356 w 278411"/>
                <a:gd name="connsiteY1034" fmla="*/ 1027631 h 1214813"/>
                <a:gd name="connsiteX1035" fmla="*/ 52457 w 278411"/>
                <a:gd name="connsiteY1035" fmla="*/ 1024862 h 1214813"/>
                <a:gd name="connsiteX1036" fmla="*/ 53923 w 278411"/>
                <a:gd name="connsiteY1036" fmla="*/ 1027631 h 1214813"/>
                <a:gd name="connsiteX1037" fmla="*/ 53923 w 278411"/>
                <a:gd name="connsiteY1037" fmla="*/ 1032030 h 1214813"/>
                <a:gd name="connsiteX1038" fmla="*/ 52620 w 278411"/>
                <a:gd name="connsiteY1038" fmla="*/ 1033821 h 1214813"/>
                <a:gd name="connsiteX1039" fmla="*/ 51153 w 278411"/>
                <a:gd name="connsiteY1039" fmla="*/ 1028446 h 1214813"/>
                <a:gd name="connsiteX1040" fmla="*/ 52457 w 278411"/>
                <a:gd name="connsiteY1040" fmla="*/ 1024698 h 1214813"/>
                <a:gd name="connsiteX1041" fmla="*/ 52457 w 278411"/>
                <a:gd name="connsiteY1041" fmla="*/ 1024698 h 1214813"/>
                <a:gd name="connsiteX1042" fmla="*/ 56204 w 278411"/>
                <a:gd name="connsiteY1042" fmla="*/ 1022255 h 1214813"/>
                <a:gd name="connsiteX1043" fmla="*/ 56529 w 278411"/>
                <a:gd name="connsiteY1043" fmla="*/ 1020463 h 1214813"/>
                <a:gd name="connsiteX1044" fmla="*/ 58647 w 278411"/>
                <a:gd name="connsiteY1044" fmla="*/ 1020463 h 1214813"/>
                <a:gd name="connsiteX1045" fmla="*/ 62068 w 278411"/>
                <a:gd name="connsiteY1045" fmla="*/ 1023232 h 1214813"/>
                <a:gd name="connsiteX1046" fmla="*/ 65326 w 278411"/>
                <a:gd name="connsiteY1046" fmla="*/ 1023232 h 1214813"/>
                <a:gd name="connsiteX1047" fmla="*/ 69725 w 278411"/>
                <a:gd name="connsiteY1047" fmla="*/ 1030400 h 1214813"/>
                <a:gd name="connsiteX1048" fmla="*/ 71517 w 278411"/>
                <a:gd name="connsiteY1048" fmla="*/ 1035777 h 1214813"/>
                <a:gd name="connsiteX1049" fmla="*/ 65164 w 278411"/>
                <a:gd name="connsiteY1049" fmla="*/ 1030075 h 1214813"/>
                <a:gd name="connsiteX1050" fmla="*/ 60602 w 278411"/>
                <a:gd name="connsiteY1050" fmla="*/ 1028282 h 1214813"/>
                <a:gd name="connsiteX1051" fmla="*/ 56366 w 278411"/>
                <a:gd name="connsiteY1051" fmla="*/ 1022092 h 1214813"/>
                <a:gd name="connsiteX1052" fmla="*/ 56366 w 278411"/>
                <a:gd name="connsiteY1052" fmla="*/ 1022092 h 1214813"/>
                <a:gd name="connsiteX1053" fmla="*/ 56041 w 278411"/>
                <a:gd name="connsiteY1053" fmla="*/ 1030889 h 1214813"/>
                <a:gd name="connsiteX1054" fmla="*/ 58484 w 278411"/>
                <a:gd name="connsiteY1054" fmla="*/ 1030237 h 1214813"/>
                <a:gd name="connsiteX1055" fmla="*/ 63860 w 278411"/>
                <a:gd name="connsiteY1055" fmla="*/ 1033170 h 1214813"/>
                <a:gd name="connsiteX1056" fmla="*/ 69073 w 278411"/>
                <a:gd name="connsiteY1056" fmla="*/ 1040827 h 1214813"/>
                <a:gd name="connsiteX1057" fmla="*/ 67118 w 278411"/>
                <a:gd name="connsiteY1057" fmla="*/ 1044085 h 1214813"/>
                <a:gd name="connsiteX1058" fmla="*/ 62720 w 278411"/>
                <a:gd name="connsiteY1058" fmla="*/ 1044085 h 1214813"/>
                <a:gd name="connsiteX1059" fmla="*/ 57344 w 278411"/>
                <a:gd name="connsiteY1059" fmla="*/ 1037405 h 1214813"/>
                <a:gd name="connsiteX1060" fmla="*/ 56041 w 278411"/>
                <a:gd name="connsiteY1060" fmla="*/ 1030889 h 1214813"/>
                <a:gd name="connsiteX1061" fmla="*/ 56041 w 278411"/>
                <a:gd name="connsiteY1061" fmla="*/ 1030889 h 1214813"/>
                <a:gd name="connsiteX1062" fmla="*/ 60928 w 278411"/>
                <a:gd name="connsiteY1062" fmla="*/ 1056140 h 1214813"/>
                <a:gd name="connsiteX1063" fmla="*/ 53760 w 278411"/>
                <a:gd name="connsiteY1063" fmla="*/ 1057606 h 1214813"/>
                <a:gd name="connsiteX1064" fmla="*/ 51479 w 278411"/>
                <a:gd name="connsiteY1064" fmla="*/ 1055977 h 1214813"/>
                <a:gd name="connsiteX1065" fmla="*/ 53760 w 278411"/>
                <a:gd name="connsiteY1065" fmla="*/ 1053696 h 1214813"/>
                <a:gd name="connsiteX1066" fmla="*/ 56204 w 278411"/>
                <a:gd name="connsiteY1066" fmla="*/ 1048484 h 1214813"/>
                <a:gd name="connsiteX1067" fmla="*/ 53597 w 278411"/>
                <a:gd name="connsiteY1067" fmla="*/ 1044248 h 1214813"/>
                <a:gd name="connsiteX1068" fmla="*/ 56855 w 278411"/>
                <a:gd name="connsiteY1068" fmla="*/ 1043433 h 1214813"/>
                <a:gd name="connsiteX1069" fmla="*/ 60439 w 278411"/>
                <a:gd name="connsiteY1069" fmla="*/ 1046691 h 1214813"/>
                <a:gd name="connsiteX1070" fmla="*/ 63697 w 278411"/>
                <a:gd name="connsiteY1070" fmla="*/ 1046366 h 1214813"/>
                <a:gd name="connsiteX1071" fmla="*/ 70865 w 278411"/>
                <a:gd name="connsiteY1071" fmla="*/ 1051253 h 1214813"/>
                <a:gd name="connsiteX1072" fmla="*/ 70865 w 278411"/>
                <a:gd name="connsiteY1072" fmla="*/ 1054022 h 1214813"/>
                <a:gd name="connsiteX1073" fmla="*/ 66793 w 278411"/>
                <a:gd name="connsiteY1073" fmla="*/ 1054185 h 1214813"/>
                <a:gd name="connsiteX1074" fmla="*/ 66304 w 278411"/>
                <a:gd name="connsiteY1074" fmla="*/ 1055814 h 1214813"/>
                <a:gd name="connsiteX1075" fmla="*/ 61091 w 278411"/>
                <a:gd name="connsiteY1075" fmla="*/ 1056303 h 1214813"/>
                <a:gd name="connsiteX1076" fmla="*/ 61091 w 278411"/>
                <a:gd name="connsiteY1076" fmla="*/ 1056303 h 1214813"/>
                <a:gd name="connsiteX1077" fmla="*/ 67118 w 278411"/>
                <a:gd name="connsiteY1077" fmla="*/ 1077481 h 1214813"/>
                <a:gd name="connsiteX1078" fmla="*/ 64023 w 278411"/>
                <a:gd name="connsiteY1078" fmla="*/ 1076830 h 1214813"/>
                <a:gd name="connsiteX1079" fmla="*/ 61580 w 278411"/>
                <a:gd name="connsiteY1079" fmla="*/ 1075200 h 1214813"/>
                <a:gd name="connsiteX1080" fmla="*/ 60113 w 278411"/>
                <a:gd name="connsiteY1080" fmla="*/ 1071454 h 1214813"/>
                <a:gd name="connsiteX1081" fmla="*/ 61417 w 278411"/>
                <a:gd name="connsiteY1081" fmla="*/ 1068847 h 1214813"/>
                <a:gd name="connsiteX1082" fmla="*/ 63534 w 278411"/>
                <a:gd name="connsiteY1082" fmla="*/ 1067055 h 1214813"/>
                <a:gd name="connsiteX1083" fmla="*/ 62231 w 278411"/>
                <a:gd name="connsiteY1083" fmla="*/ 1065914 h 1214813"/>
                <a:gd name="connsiteX1084" fmla="*/ 61254 w 278411"/>
                <a:gd name="connsiteY1084" fmla="*/ 1063960 h 1214813"/>
                <a:gd name="connsiteX1085" fmla="*/ 65326 w 278411"/>
                <a:gd name="connsiteY1085" fmla="*/ 1063471 h 1214813"/>
                <a:gd name="connsiteX1086" fmla="*/ 67118 w 278411"/>
                <a:gd name="connsiteY1086" fmla="*/ 1066729 h 1214813"/>
                <a:gd name="connsiteX1087" fmla="*/ 67118 w 278411"/>
                <a:gd name="connsiteY1087" fmla="*/ 1071616 h 1214813"/>
                <a:gd name="connsiteX1088" fmla="*/ 64349 w 278411"/>
                <a:gd name="connsiteY1088" fmla="*/ 1073571 h 1214813"/>
                <a:gd name="connsiteX1089" fmla="*/ 66955 w 278411"/>
                <a:gd name="connsiteY1089" fmla="*/ 1077481 h 1214813"/>
                <a:gd name="connsiteX1090" fmla="*/ 66955 w 278411"/>
                <a:gd name="connsiteY1090" fmla="*/ 1077481 h 1214813"/>
                <a:gd name="connsiteX1091" fmla="*/ 68096 w 278411"/>
                <a:gd name="connsiteY1091" fmla="*/ 1069173 h 1214813"/>
                <a:gd name="connsiteX1092" fmla="*/ 69073 w 278411"/>
                <a:gd name="connsiteY1092" fmla="*/ 1066566 h 1214813"/>
                <a:gd name="connsiteX1093" fmla="*/ 70703 w 278411"/>
                <a:gd name="connsiteY1093" fmla="*/ 1065589 h 1214813"/>
                <a:gd name="connsiteX1094" fmla="*/ 72820 w 278411"/>
                <a:gd name="connsiteY1094" fmla="*/ 1067870 h 1214813"/>
                <a:gd name="connsiteX1095" fmla="*/ 75427 w 278411"/>
                <a:gd name="connsiteY1095" fmla="*/ 1070476 h 1214813"/>
                <a:gd name="connsiteX1096" fmla="*/ 75427 w 278411"/>
                <a:gd name="connsiteY1096" fmla="*/ 1075037 h 1214813"/>
                <a:gd name="connsiteX1097" fmla="*/ 72495 w 278411"/>
                <a:gd name="connsiteY1097" fmla="*/ 1076993 h 1214813"/>
                <a:gd name="connsiteX1098" fmla="*/ 70377 w 278411"/>
                <a:gd name="connsiteY1098" fmla="*/ 1076504 h 1214813"/>
                <a:gd name="connsiteX1099" fmla="*/ 69888 w 278411"/>
                <a:gd name="connsiteY1099" fmla="*/ 1074386 h 1214813"/>
                <a:gd name="connsiteX1100" fmla="*/ 68911 w 278411"/>
                <a:gd name="connsiteY1100" fmla="*/ 1072920 h 1214813"/>
                <a:gd name="connsiteX1101" fmla="*/ 67933 w 278411"/>
                <a:gd name="connsiteY1101" fmla="*/ 1069173 h 1214813"/>
                <a:gd name="connsiteX1102" fmla="*/ 67933 w 278411"/>
                <a:gd name="connsiteY1102" fmla="*/ 1069173 h 1214813"/>
                <a:gd name="connsiteX1103" fmla="*/ 76730 w 278411"/>
                <a:gd name="connsiteY1103" fmla="*/ 1071454 h 1214813"/>
                <a:gd name="connsiteX1104" fmla="*/ 81943 w 278411"/>
                <a:gd name="connsiteY1104" fmla="*/ 1074060 h 1214813"/>
                <a:gd name="connsiteX1105" fmla="*/ 83084 w 278411"/>
                <a:gd name="connsiteY1105" fmla="*/ 1076993 h 1214813"/>
                <a:gd name="connsiteX1106" fmla="*/ 81780 w 278411"/>
                <a:gd name="connsiteY1106" fmla="*/ 1076993 h 1214813"/>
                <a:gd name="connsiteX1107" fmla="*/ 77871 w 278411"/>
                <a:gd name="connsiteY1107" fmla="*/ 1074386 h 1214813"/>
                <a:gd name="connsiteX1108" fmla="*/ 76893 w 278411"/>
                <a:gd name="connsiteY1108" fmla="*/ 1071454 h 1214813"/>
                <a:gd name="connsiteX1109" fmla="*/ 76893 w 278411"/>
                <a:gd name="connsiteY1109" fmla="*/ 1071454 h 1214813"/>
                <a:gd name="connsiteX1110" fmla="*/ 74775 w 278411"/>
                <a:gd name="connsiteY1110" fmla="*/ 1088559 h 1214813"/>
                <a:gd name="connsiteX1111" fmla="*/ 72331 w 278411"/>
                <a:gd name="connsiteY1111" fmla="*/ 1089862 h 1214813"/>
                <a:gd name="connsiteX1112" fmla="*/ 71517 w 278411"/>
                <a:gd name="connsiteY1112" fmla="*/ 1088070 h 1214813"/>
                <a:gd name="connsiteX1113" fmla="*/ 73309 w 278411"/>
                <a:gd name="connsiteY1113" fmla="*/ 1086116 h 1214813"/>
                <a:gd name="connsiteX1114" fmla="*/ 73309 w 278411"/>
                <a:gd name="connsiteY1114" fmla="*/ 1081065 h 1214813"/>
                <a:gd name="connsiteX1115" fmla="*/ 75590 w 278411"/>
                <a:gd name="connsiteY1115" fmla="*/ 1080251 h 1214813"/>
                <a:gd name="connsiteX1116" fmla="*/ 76893 w 278411"/>
                <a:gd name="connsiteY1116" fmla="*/ 1082694 h 1214813"/>
                <a:gd name="connsiteX1117" fmla="*/ 74612 w 278411"/>
                <a:gd name="connsiteY1117" fmla="*/ 1088396 h 1214813"/>
                <a:gd name="connsiteX1118" fmla="*/ 74612 w 278411"/>
                <a:gd name="connsiteY1118" fmla="*/ 1088396 h 1214813"/>
                <a:gd name="connsiteX1119" fmla="*/ 89274 w 278411"/>
                <a:gd name="connsiteY1119" fmla="*/ 1075363 h 1214813"/>
                <a:gd name="connsiteX1120" fmla="*/ 83246 w 278411"/>
                <a:gd name="connsiteY1120" fmla="*/ 1072431 h 1214813"/>
                <a:gd name="connsiteX1121" fmla="*/ 80314 w 278411"/>
                <a:gd name="connsiteY1121" fmla="*/ 1069173 h 1214813"/>
                <a:gd name="connsiteX1122" fmla="*/ 80314 w 278411"/>
                <a:gd name="connsiteY1122" fmla="*/ 1061516 h 1214813"/>
                <a:gd name="connsiteX1123" fmla="*/ 82269 w 278411"/>
                <a:gd name="connsiteY1123" fmla="*/ 1061516 h 1214813"/>
                <a:gd name="connsiteX1124" fmla="*/ 85038 w 278411"/>
                <a:gd name="connsiteY1124" fmla="*/ 1067707 h 1214813"/>
                <a:gd name="connsiteX1125" fmla="*/ 89437 w 278411"/>
                <a:gd name="connsiteY1125" fmla="*/ 1072431 h 1214813"/>
                <a:gd name="connsiteX1126" fmla="*/ 90740 w 278411"/>
                <a:gd name="connsiteY1126" fmla="*/ 1075363 h 1214813"/>
                <a:gd name="connsiteX1127" fmla="*/ 89111 w 278411"/>
                <a:gd name="connsiteY1127" fmla="*/ 1075363 h 1214813"/>
                <a:gd name="connsiteX1128" fmla="*/ 88460 w 278411"/>
                <a:gd name="connsiteY1128" fmla="*/ 1083020 h 1214813"/>
                <a:gd name="connsiteX1129" fmla="*/ 84550 w 278411"/>
                <a:gd name="connsiteY1129" fmla="*/ 1079110 h 1214813"/>
                <a:gd name="connsiteX1130" fmla="*/ 86179 w 278411"/>
                <a:gd name="connsiteY1130" fmla="*/ 1077970 h 1214813"/>
                <a:gd name="connsiteX1131" fmla="*/ 89600 w 278411"/>
                <a:gd name="connsiteY1131" fmla="*/ 1078784 h 1214813"/>
                <a:gd name="connsiteX1132" fmla="*/ 90577 w 278411"/>
                <a:gd name="connsiteY1132" fmla="*/ 1082694 h 1214813"/>
                <a:gd name="connsiteX1133" fmla="*/ 88460 w 278411"/>
                <a:gd name="connsiteY1133" fmla="*/ 1083020 h 1214813"/>
                <a:gd name="connsiteX1134" fmla="*/ 88460 w 278411"/>
                <a:gd name="connsiteY1134" fmla="*/ 1083020 h 1214813"/>
                <a:gd name="connsiteX1135" fmla="*/ 90903 w 278411"/>
                <a:gd name="connsiteY1135" fmla="*/ 1092795 h 1214813"/>
                <a:gd name="connsiteX1136" fmla="*/ 85201 w 278411"/>
                <a:gd name="connsiteY1136" fmla="*/ 1086767 h 1214813"/>
                <a:gd name="connsiteX1137" fmla="*/ 83409 w 278411"/>
                <a:gd name="connsiteY1137" fmla="*/ 1083672 h 1214813"/>
                <a:gd name="connsiteX1138" fmla="*/ 84713 w 278411"/>
                <a:gd name="connsiteY1138" fmla="*/ 1081880 h 1214813"/>
                <a:gd name="connsiteX1139" fmla="*/ 92858 w 278411"/>
                <a:gd name="connsiteY1139" fmla="*/ 1088233 h 1214813"/>
                <a:gd name="connsiteX1140" fmla="*/ 92858 w 278411"/>
                <a:gd name="connsiteY1140" fmla="*/ 1091980 h 1214813"/>
                <a:gd name="connsiteX1141" fmla="*/ 90740 w 278411"/>
                <a:gd name="connsiteY1141" fmla="*/ 1092632 h 1214813"/>
                <a:gd name="connsiteX1142" fmla="*/ 90740 w 278411"/>
                <a:gd name="connsiteY1142" fmla="*/ 1092632 h 1214813"/>
                <a:gd name="connsiteX1143" fmla="*/ 96605 w 278411"/>
                <a:gd name="connsiteY1143" fmla="*/ 1104524 h 1214813"/>
                <a:gd name="connsiteX1144" fmla="*/ 94324 w 278411"/>
                <a:gd name="connsiteY1144" fmla="*/ 1103384 h 1214813"/>
                <a:gd name="connsiteX1145" fmla="*/ 91718 w 278411"/>
                <a:gd name="connsiteY1145" fmla="*/ 1101103 h 1214813"/>
                <a:gd name="connsiteX1146" fmla="*/ 90903 w 278411"/>
                <a:gd name="connsiteY1146" fmla="*/ 1098496 h 1214813"/>
                <a:gd name="connsiteX1147" fmla="*/ 86016 w 278411"/>
                <a:gd name="connsiteY1147" fmla="*/ 1098822 h 1214813"/>
                <a:gd name="connsiteX1148" fmla="*/ 84061 w 278411"/>
                <a:gd name="connsiteY1148" fmla="*/ 1097193 h 1214813"/>
                <a:gd name="connsiteX1149" fmla="*/ 87971 w 278411"/>
                <a:gd name="connsiteY1149" fmla="*/ 1095727 h 1214813"/>
                <a:gd name="connsiteX1150" fmla="*/ 91555 w 278411"/>
                <a:gd name="connsiteY1150" fmla="*/ 1096541 h 1214813"/>
                <a:gd name="connsiteX1151" fmla="*/ 97582 w 278411"/>
                <a:gd name="connsiteY1151" fmla="*/ 1095564 h 1214813"/>
                <a:gd name="connsiteX1152" fmla="*/ 99212 w 278411"/>
                <a:gd name="connsiteY1152" fmla="*/ 1100452 h 1214813"/>
                <a:gd name="connsiteX1153" fmla="*/ 96605 w 278411"/>
                <a:gd name="connsiteY1153" fmla="*/ 1104687 h 1214813"/>
                <a:gd name="connsiteX1154" fmla="*/ 96605 w 278411"/>
                <a:gd name="connsiteY1154" fmla="*/ 1104687 h 1214813"/>
                <a:gd name="connsiteX1155" fmla="*/ 111919 w 278411"/>
                <a:gd name="connsiteY1155" fmla="*/ 1130264 h 1214813"/>
                <a:gd name="connsiteX1156" fmla="*/ 105076 w 278411"/>
                <a:gd name="connsiteY1156" fmla="*/ 1127657 h 1214813"/>
                <a:gd name="connsiteX1157" fmla="*/ 103121 w 278411"/>
                <a:gd name="connsiteY1157" fmla="*/ 1128798 h 1214813"/>
                <a:gd name="connsiteX1158" fmla="*/ 99212 w 278411"/>
                <a:gd name="connsiteY1158" fmla="*/ 1128798 h 1214813"/>
                <a:gd name="connsiteX1159" fmla="*/ 96768 w 278411"/>
                <a:gd name="connsiteY1159" fmla="*/ 1125051 h 1214813"/>
                <a:gd name="connsiteX1160" fmla="*/ 89600 w 278411"/>
                <a:gd name="connsiteY1160" fmla="*/ 1121955 h 1214813"/>
                <a:gd name="connsiteX1161" fmla="*/ 84387 w 278411"/>
                <a:gd name="connsiteY1161" fmla="*/ 1121304 h 1214813"/>
                <a:gd name="connsiteX1162" fmla="*/ 81129 w 278411"/>
                <a:gd name="connsiteY1162" fmla="*/ 1115113 h 1214813"/>
                <a:gd name="connsiteX1163" fmla="*/ 79988 w 278411"/>
                <a:gd name="connsiteY1163" fmla="*/ 1110226 h 1214813"/>
                <a:gd name="connsiteX1164" fmla="*/ 81292 w 278411"/>
                <a:gd name="connsiteY1164" fmla="*/ 1107782 h 1214813"/>
                <a:gd name="connsiteX1165" fmla="*/ 84224 w 278411"/>
                <a:gd name="connsiteY1165" fmla="*/ 1109737 h 1214813"/>
                <a:gd name="connsiteX1166" fmla="*/ 89600 w 278411"/>
                <a:gd name="connsiteY1166" fmla="*/ 1116091 h 1214813"/>
                <a:gd name="connsiteX1167" fmla="*/ 93184 w 278411"/>
                <a:gd name="connsiteY1167" fmla="*/ 1118209 h 1214813"/>
                <a:gd name="connsiteX1168" fmla="*/ 97420 w 278411"/>
                <a:gd name="connsiteY1168" fmla="*/ 1118209 h 1214813"/>
                <a:gd name="connsiteX1169" fmla="*/ 101818 w 278411"/>
                <a:gd name="connsiteY1169" fmla="*/ 1120000 h 1214813"/>
                <a:gd name="connsiteX1170" fmla="*/ 105891 w 278411"/>
                <a:gd name="connsiteY1170" fmla="*/ 1122281 h 1214813"/>
                <a:gd name="connsiteX1171" fmla="*/ 111755 w 278411"/>
                <a:gd name="connsiteY1171" fmla="*/ 1122281 h 1214813"/>
                <a:gd name="connsiteX1172" fmla="*/ 114036 w 278411"/>
                <a:gd name="connsiteY1172" fmla="*/ 1124725 h 1214813"/>
                <a:gd name="connsiteX1173" fmla="*/ 119087 w 278411"/>
                <a:gd name="connsiteY1173" fmla="*/ 1128309 h 1214813"/>
                <a:gd name="connsiteX1174" fmla="*/ 121204 w 278411"/>
                <a:gd name="connsiteY1174" fmla="*/ 1128635 h 1214813"/>
                <a:gd name="connsiteX1175" fmla="*/ 122671 w 278411"/>
                <a:gd name="connsiteY1175" fmla="*/ 1130589 h 1214813"/>
                <a:gd name="connsiteX1176" fmla="*/ 121856 w 278411"/>
                <a:gd name="connsiteY1176" fmla="*/ 1132219 h 1214813"/>
                <a:gd name="connsiteX1177" fmla="*/ 116806 w 278411"/>
                <a:gd name="connsiteY1177" fmla="*/ 1132219 h 1214813"/>
                <a:gd name="connsiteX1178" fmla="*/ 112244 w 278411"/>
                <a:gd name="connsiteY1178" fmla="*/ 1130427 h 1214813"/>
                <a:gd name="connsiteX1179" fmla="*/ 112244 w 278411"/>
                <a:gd name="connsiteY1179" fmla="*/ 1130427 h 1214813"/>
                <a:gd name="connsiteX1180" fmla="*/ 95465 w 278411"/>
                <a:gd name="connsiteY1180" fmla="*/ 1132382 h 1214813"/>
                <a:gd name="connsiteX1181" fmla="*/ 98723 w 278411"/>
                <a:gd name="connsiteY1181" fmla="*/ 1135640 h 1214813"/>
                <a:gd name="connsiteX1182" fmla="*/ 93347 w 278411"/>
                <a:gd name="connsiteY1182" fmla="*/ 1134011 h 1214813"/>
                <a:gd name="connsiteX1183" fmla="*/ 95628 w 278411"/>
                <a:gd name="connsiteY1183" fmla="*/ 1132219 h 1214813"/>
                <a:gd name="connsiteX1184" fmla="*/ 95628 w 278411"/>
                <a:gd name="connsiteY1184" fmla="*/ 1132219 h 1214813"/>
                <a:gd name="connsiteX1185" fmla="*/ 130653 w 278411"/>
                <a:gd name="connsiteY1185" fmla="*/ 1155514 h 1214813"/>
                <a:gd name="connsiteX1186" fmla="*/ 132771 w 278411"/>
                <a:gd name="connsiteY1186" fmla="*/ 1157144 h 1214813"/>
                <a:gd name="connsiteX1187" fmla="*/ 134726 w 278411"/>
                <a:gd name="connsiteY1187" fmla="*/ 1155352 h 1214813"/>
                <a:gd name="connsiteX1188" fmla="*/ 132119 w 278411"/>
                <a:gd name="connsiteY1188" fmla="*/ 1152745 h 1214813"/>
                <a:gd name="connsiteX1189" fmla="*/ 129513 w 278411"/>
                <a:gd name="connsiteY1189" fmla="*/ 1154700 h 1214813"/>
                <a:gd name="connsiteX1190" fmla="*/ 130816 w 278411"/>
                <a:gd name="connsiteY1190" fmla="*/ 1155514 h 1214813"/>
                <a:gd name="connsiteX1191" fmla="*/ 130816 w 278411"/>
                <a:gd name="connsiteY1191" fmla="*/ 1155514 h 1214813"/>
                <a:gd name="connsiteX1192" fmla="*/ 143686 w 278411"/>
                <a:gd name="connsiteY1192" fmla="*/ 1157795 h 1214813"/>
                <a:gd name="connsiteX1193" fmla="*/ 140102 w 278411"/>
                <a:gd name="connsiteY1193" fmla="*/ 1159425 h 1214813"/>
                <a:gd name="connsiteX1194" fmla="*/ 137006 w 278411"/>
                <a:gd name="connsiteY1194" fmla="*/ 1156166 h 1214813"/>
                <a:gd name="connsiteX1195" fmla="*/ 136518 w 278411"/>
                <a:gd name="connsiteY1195" fmla="*/ 1152745 h 1214813"/>
                <a:gd name="connsiteX1196" fmla="*/ 133911 w 278411"/>
                <a:gd name="connsiteY1196" fmla="*/ 1151116 h 1214813"/>
                <a:gd name="connsiteX1197" fmla="*/ 128209 w 278411"/>
                <a:gd name="connsiteY1197" fmla="*/ 1152257 h 1214813"/>
                <a:gd name="connsiteX1198" fmla="*/ 124463 w 278411"/>
                <a:gd name="connsiteY1198" fmla="*/ 1151605 h 1214813"/>
                <a:gd name="connsiteX1199" fmla="*/ 119412 w 278411"/>
                <a:gd name="connsiteY1199" fmla="*/ 1145577 h 1214813"/>
                <a:gd name="connsiteX1200" fmla="*/ 114688 w 278411"/>
                <a:gd name="connsiteY1200" fmla="*/ 1144437 h 1214813"/>
                <a:gd name="connsiteX1201" fmla="*/ 112896 w 278411"/>
                <a:gd name="connsiteY1201" fmla="*/ 1139875 h 1214813"/>
                <a:gd name="connsiteX1202" fmla="*/ 108172 w 278411"/>
                <a:gd name="connsiteY1202" fmla="*/ 1137269 h 1214813"/>
                <a:gd name="connsiteX1203" fmla="*/ 107846 w 278411"/>
                <a:gd name="connsiteY1203" fmla="*/ 1134662 h 1214813"/>
                <a:gd name="connsiteX1204" fmla="*/ 109475 w 278411"/>
                <a:gd name="connsiteY1204" fmla="*/ 1132707 h 1214813"/>
                <a:gd name="connsiteX1205" fmla="*/ 113385 w 278411"/>
                <a:gd name="connsiteY1205" fmla="*/ 1132382 h 1214813"/>
                <a:gd name="connsiteX1206" fmla="*/ 115991 w 278411"/>
                <a:gd name="connsiteY1206" fmla="*/ 1134825 h 1214813"/>
                <a:gd name="connsiteX1207" fmla="*/ 118435 w 278411"/>
                <a:gd name="connsiteY1207" fmla="*/ 1135966 h 1214813"/>
                <a:gd name="connsiteX1208" fmla="*/ 122996 w 278411"/>
                <a:gd name="connsiteY1208" fmla="*/ 1134173 h 1214813"/>
                <a:gd name="connsiteX1209" fmla="*/ 128372 w 278411"/>
                <a:gd name="connsiteY1209" fmla="*/ 1133848 h 1214813"/>
                <a:gd name="connsiteX1210" fmla="*/ 135540 w 278411"/>
                <a:gd name="connsiteY1210" fmla="*/ 1138898 h 1214813"/>
                <a:gd name="connsiteX1211" fmla="*/ 138636 w 278411"/>
                <a:gd name="connsiteY1211" fmla="*/ 1140201 h 1214813"/>
                <a:gd name="connsiteX1212" fmla="*/ 139776 w 278411"/>
                <a:gd name="connsiteY1212" fmla="*/ 1143134 h 1214813"/>
                <a:gd name="connsiteX1213" fmla="*/ 144989 w 278411"/>
                <a:gd name="connsiteY1213" fmla="*/ 1141505 h 1214813"/>
                <a:gd name="connsiteX1214" fmla="*/ 148573 w 278411"/>
                <a:gd name="connsiteY1214" fmla="*/ 1142971 h 1214813"/>
                <a:gd name="connsiteX1215" fmla="*/ 150365 w 278411"/>
                <a:gd name="connsiteY1215" fmla="*/ 1146718 h 1214813"/>
                <a:gd name="connsiteX1216" fmla="*/ 146618 w 278411"/>
                <a:gd name="connsiteY1216" fmla="*/ 1146392 h 1214813"/>
                <a:gd name="connsiteX1217" fmla="*/ 144174 w 278411"/>
                <a:gd name="connsiteY1217" fmla="*/ 1147532 h 1214813"/>
                <a:gd name="connsiteX1218" fmla="*/ 146129 w 278411"/>
                <a:gd name="connsiteY1218" fmla="*/ 1149161 h 1214813"/>
                <a:gd name="connsiteX1219" fmla="*/ 146455 w 278411"/>
                <a:gd name="connsiteY1219" fmla="*/ 1151768 h 1214813"/>
                <a:gd name="connsiteX1220" fmla="*/ 142546 w 278411"/>
                <a:gd name="connsiteY1220" fmla="*/ 1155514 h 1214813"/>
                <a:gd name="connsiteX1221" fmla="*/ 143849 w 278411"/>
                <a:gd name="connsiteY1221" fmla="*/ 1157959 h 1214813"/>
                <a:gd name="connsiteX1222" fmla="*/ 143849 w 278411"/>
                <a:gd name="connsiteY1222" fmla="*/ 1157959 h 1214813"/>
                <a:gd name="connsiteX1223" fmla="*/ 149713 w 278411"/>
                <a:gd name="connsiteY1223" fmla="*/ 1156329 h 1214813"/>
                <a:gd name="connsiteX1224" fmla="*/ 146781 w 278411"/>
                <a:gd name="connsiteY1224" fmla="*/ 1159750 h 1214813"/>
                <a:gd name="connsiteX1225" fmla="*/ 146781 w 278411"/>
                <a:gd name="connsiteY1225" fmla="*/ 1163009 h 1214813"/>
                <a:gd name="connsiteX1226" fmla="*/ 150202 w 278411"/>
                <a:gd name="connsiteY1226" fmla="*/ 1161868 h 1214813"/>
                <a:gd name="connsiteX1227" fmla="*/ 152646 w 278411"/>
                <a:gd name="connsiteY1227" fmla="*/ 1158121 h 1214813"/>
                <a:gd name="connsiteX1228" fmla="*/ 153623 w 278411"/>
                <a:gd name="connsiteY1228" fmla="*/ 1156655 h 1214813"/>
                <a:gd name="connsiteX1229" fmla="*/ 151180 w 278411"/>
                <a:gd name="connsiteY1229" fmla="*/ 1155678 h 1214813"/>
                <a:gd name="connsiteX1230" fmla="*/ 149713 w 278411"/>
                <a:gd name="connsiteY1230" fmla="*/ 1156329 h 1214813"/>
                <a:gd name="connsiteX1231" fmla="*/ 149713 w 278411"/>
                <a:gd name="connsiteY1231" fmla="*/ 1156329 h 1214813"/>
                <a:gd name="connsiteX1232" fmla="*/ 178385 w 278411"/>
                <a:gd name="connsiteY1232" fmla="*/ 1151930 h 1214813"/>
                <a:gd name="connsiteX1233" fmla="*/ 176430 w 278411"/>
                <a:gd name="connsiteY1233" fmla="*/ 1155841 h 1214813"/>
                <a:gd name="connsiteX1234" fmla="*/ 177734 w 278411"/>
                <a:gd name="connsiteY1234" fmla="*/ 1158773 h 1214813"/>
                <a:gd name="connsiteX1235" fmla="*/ 174638 w 278411"/>
                <a:gd name="connsiteY1235" fmla="*/ 1161054 h 1214813"/>
                <a:gd name="connsiteX1236" fmla="*/ 170566 w 278411"/>
                <a:gd name="connsiteY1236" fmla="*/ 1159913 h 1214813"/>
                <a:gd name="connsiteX1237" fmla="*/ 168937 w 278411"/>
                <a:gd name="connsiteY1237" fmla="*/ 1157470 h 1214813"/>
                <a:gd name="connsiteX1238" fmla="*/ 166819 w 278411"/>
                <a:gd name="connsiteY1238" fmla="*/ 1159425 h 1214813"/>
                <a:gd name="connsiteX1239" fmla="*/ 163887 w 278411"/>
                <a:gd name="connsiteY1239" fmla="*/ 1156655 h 1214813"/>
                <a:gd name="connsiteX1240" fmla="*/ 159325 w 278411"/>
                <a:gd name="connsiteY1240" fmla="*/ 1156003 h 1214813"/>
                <a:gd name="connsiteX1241" fmla="*/ 157044 w 278411"/>
                <a:gd name="connsiteY1241" fmla="*/ 1158284 h 1214813"/>
                <a:gd name="connsiteX1242" fmla="*/ 154764 w 278411"/>
                <a:gd name="connsiteY1242" fmla="*/ 1154211 h 1214813"/>
                <a:gd name="connsiteX1243" fmla="*/ 151831 w 278411"/>
                <a:gd name="connsiteY1243" fmla="*/ 1152582 h 1214813"/>
                <a:gd name="connsiteX1244" fmla="*/ 151831 w 278411"/>
                <a:gd name="connsiteY1244" fmla="*/ 1150139 h 1214813"/>
                <a:gd name="connsiteX1245" fmla="*/ 158673 w 278411"/>
                <a:gd name="connsiteY1245" fmla="*/ 1149487 h 1214813"/>
                <a:gd name="connsiteX1246" fmla="*/ 160465 w 278411"/>
                <a:gd name="connsiteY1246" fmla="*/ 1147858 h 1214813"/>
                <a:gd name="connsiteX1247" fmla="*/ 169425 w 278411"/>
                <a:gd name="connsiteY1247" fmla="*/ 1150302 h 1214813"/>
                <a:gd name="connsiteX1248" fmla="*/ 171706 w 278411"/>
                <a:gd name="connsiteY1248" fmla="*/ 1153560 h 1214813"/>
                <a:gd name="connsiteX1249" fmla="*/ 173987 w 278411"/>
                <a:gd name="connsiteY1249" fmla="*/ 1151279 h 1214813"/>
                <a:gd name="connsiteX1250" fmla="*/ 176430 w 278411"/>
                <a:gd name="connsiteY1250" fmla="*/ 1150790 h 1214813"/>
                <a:gd name="connsiteX1251" fmla="*/ 178385 w 278411"/>
                <a:gd name="connsiteY1251" fmla="*/ 1152094 h 1214813"/>
                <a:gd name="connsiteX1252" fmla="*/ 178385 w 278411"/>
                <a:gd name="connsiteY1252" fmla="*/ 1152094 h 1214813"/>
                <a:gd name="connsiteX1253" fmla="*/ 192721 w 278411"/>
                <a:gd name="connsiteY1253" fmla="*/ 1150302 h 1214813"/>
                <a:gd name="connsiteX1254" fmla="*/ 187182 w 278411"/>
                <a:gd name="connsiteY1254" fmla="*/ 1146066 h 1214813"/>
                <a:gd name="connsiteX1255" fmla="*/ 190441 w 278411"/>
                <a:gd name="connsiteY1255" fmla="*/ 1142808 h 1214813"/>
                <a:gd name="connsiteX1256" fmla="*/ 188160 w 278411"/>
                <a:gd name="connsiteY1256" fmla="*/ 1139875 h 1214813"/>
                <a:gd name="connsiteX1257" fmla="*/ 188649 w 278411"/>
                <a:gd name="connsiteY1257" fmla="*/ 1138084 h 1214813"/>
                <a:gd name="connsiteX1258" fmla="*/ 185554 w 278411"/>
                <a:gd name="connsiteY1258" fmla="*/ 1133196 h 1214813"/>
                <a:gd name="connsiteX1259" fmla="*/ 184576 w 278411"/>
                <a:gd name="connsiteY1259" fmla="*/ 1127820 h 1214813"/>
                <a:gd name="connsiteX1260" fmla="*/ 181481 w 278411"/>
                <a:gd name="connsiteY1260" fmla="*/ 1126028 h 1214813"/>
                <a:gd name="connsiteX1261" fmla="*/ 180666 w 278411"/>
                <a:gd name="connsiteY1261" fmla="*/ 1131078 h 1214813"/>
                <a:gd name="connsiteX1262" fmla="*/ 178874 w 278411"/>
                <a:gd name="connsiteY1262" fmla="*/ 1135966 h 1214813"/>
                <a:gd name="connsiteX1263" fmla="*/ 181155 w 278411"/>
                <a:gd name="connsiteY1263" fmla="*/ 1140364 h 1214813"/>
                <a:gd name="connsiteX1264" fmla="*/ 179363 w 278411"/>
                <a:gd name="connsiteY1264" fmla="*/ 1143459 h 1214813"/>
                <a:gd name="connsiteX1265" fmla="*/ 179363 w 278411"/>
                <a:gd name="connsiteY1265" fmla="*/ 1147206 h 1214813"/>
                <a:gd name="connsiteX1266" fmla="*/ 183924 w 278411"/>
                <a:gd name="connsiteY1266" fmla="*/ 1149813 h 1214813"/>
                <a:gd name="connsiteX1267" fmla="*/ 188812 w 278411"/>
                <a:gd name="connsiteY1267" fmla="*/ 1151116 h 1214813"/>
                <a:gd name="connsiteX1268" fmla="*/ 190604 w 278411"/>
                <a:gd name="connsiteY1268" fmla="*/ 1152745 h 1214813"/>
                <a:gd name="connsiteX1269" fmla="*/ 192396 w 278411"/>
                <a:gd name="connsiteY1269" fmla="*/ 1150464 h 1214813"/>
                <a:gd name="connsiteX1270" fmla="*/ 192396 w 278411"/>
                <a:gd name="connsiteY1270" fmla="*/ 1150464 h 1214813"/>
                <a:gd name="connsiteX1271" fmla="*/ 173661 w 278411"/>
                <a:gd name="connsiteY1271" fmla="*/ 1188259 h 1214813"/>
                <a:gd name="connsiteX1272" fmla="*/ 177734 w 278411"/>
                <a:gd name="connsiteY1272" fmla="*/ 1186305 h 1214813"/>
                <a:gd name="connsiteX1273" fmla="*/ 179852 w 278411"/>
                <a:gd name="connsiteY1273" fmla="*/ 1188096 h 1214813"/>
                <a:gd name="connsiteX1274" fmla="*/ 176919 w 278411"/>
                <a:gd name="connsiteY1274" fmla="*/ 1191355 h 1214813"/>
                <a:gd name="connsiteX1275" fmla="*/ 173661 w 278411"/>
                <a:gd name="connsiteY1275" fmla="*/ 1188259 h 1214813"/>
                <a:gd name="connsiteX1276" fmla="*/ 173661 w 278411"/>
                <a:gd name="connsiteY1276" fmla="*/ 1188259 h 1214813"/>
                <a:gd name="connsiteX1277" fmla="*/ 175290 w 278411"/>
                <a:gd name="connsiteY1277" fmla="*/ 1183535 h 1214813"/>
                <a:gd name="connsiteX1278" fmla="*/ 173661 w 278411"/>
                <a:gd name="connsiteY1278" fmla="*/ 1181906 h 1214813"/>
                <a:gd name="connsiteX1279" fmla="*/ 174964 w 278411"/>
                <a:gd name="connsiteY1279" fmla="*/ 1178811 h 1214813"/>
                <a:gd name="connsiteX1280" fmla="*/ 178548 w 278411"/>
                <a:gd name="connsiteY1280" fmla="*/ 1180603 h 1214813"/>
                <a:gd name="connsiteX1281" fmla="*/ 178222 w 278411"/>
                <a:gd name="connsiteY1281" fmla="*/ 1183535 h 1214813"/>
                <a:gd name="connsiteX1282" fmla="*/ 175290 w 278411"/>
                <a:gd name="connsiteY1282" fmla="*/ 1183535 h 1214813"/>
                <a:gd name="connsiteX1283" fmla="*/ 275154 w 278411"/>
                <a:gd name="connsiteY1283" fmla="*/ 1210415 h 1214813"/>
                <a:gd name="connsiteX1284" fmla="*/ 272710 w 278411"/>
                <a:gd name="connsiteY1284" fmla="*/ 1207809 h 1214813"/>
                <a:gd name="connsiteX1285" fmla="*/ 275642 w 278411"/>
                <a:gd name="connsiteY1285" fmla="*/ 1204062 h 1214813"/>
                <a:gd name="connsiteX1286" fmla="*/ 274339 w 278411"/>
                <a:gd name="connsiteY1286" fmla="*/ 1201292 h 1214813"/>
                <a:gd name="connsiteX1287" fmla="*/ 277597 w 278411"/>
                <a:gd name="connsiteY1287" fmla="*/ 1202432 h 1214813"/>
                <a:gd name="connsiteX1288" fmla="*/ 278412 w 278411"/>
                <a:gd name="connsiteY1288" fmla="*/ 1206343 h 1214813"/>
                <a:gd name="connsiteX1289" fmla="*/ 278412 w 278411"/>
                <a:gd name="connsiteY1289" fmla="*/ 1210578 h 1214813"/>
                <a:gd name="connsiteX1290" fmla="*/ 275316 w 278411"/>
                <a:gd name="connsiteY1290" fmla="*/ 1210415 h 1214813"/>
                <a:gd name="connsiteX1291" fmla="*/ 275316 w 278411"/>
                <a:gd name="connsiteY1291" fmla="*/ 1210415 h 1214813"/>
                <a:gd name="connsiteX1292" fmla="*/ 211945 w 278411"/>
                <a:gd name="connsiteY1292" fmla="*/ 1184838 h 1214813"/>
                <a:gd name="connsiteX1293" fmla="*/ 215692 w 278411"/>
                <a:gd name="connsiteY1293" fmla="*/ 1183046 h 1214813"/>
                <a:gd name="connsiteX1294" fmla="*/ 219764 w 278411"/>
                <a:gd name="connsiteY1294" fmla="*/ 1183046 h 1214813"/>
                <a:gd name="connsiteX1295" fmla="*/ 222371 w 278411"/>
                <a:gd name="connsiteY1295" fmla="*/ 1182557 h 1214813"/>
                <a:gd name="connsiteX1296" fmla="*/ 228236 w 278411"/>
                <a:gd name="connsiteY1296" fmla="*/ 1183535 h 1214813"/>
                <a:gd name="connsiteX1297" fmla="*/ 240617 w 278411"/>
                <a:gd name="connsiteY1297" fmla="*/ 1180766 h 1214813"/>
                <a:gd name="connsiteX1298" fmla="*/ 247296 w 278411"/>
                <a:gd name="connsiteY1298" fmla="*/ 1177833 h 1214813"/>
                <a:gd name="connsiteX1299" fmla="*/ 255279 w 278411"/>
                <a:gd name="connsiteY1299" fmla="*/ 1178648 h 1214813"/>
                <a:gd name="connsiteX1300" fmla="*/ 261469 w 278411"/>
                <a:gd name="connsiteY1300" fmla="*/ 1178159 h 1214813"/>
                <a:gd name="connsiteX1301" fmla="*/ 268800 w 278411"/>
                <a:gd name="connsiteY1301" fmla="*/ 1178159 h 1214813"/>
                <a:gd name="connsiteX1302" fmla="*/ 273524 w 278411"/>
                <a:gd name="connsiteY1302" fmla="*/ 1179300 h 1214813"/>
                <a:gd name="connsiteX1303" fmla="*/ 274502 w 278411"/>
                <a:gd name="connsiteY1303" fmla="*/ 1183698 h 1214813"/>
                <a:gd name="connsiteX1304" fmla="*/ 277108 w 278411"/>
                <a:gd name="connsiteY1304" fmla="*/ 1186305 h 1214813"/>
                <a:gd name="connsiteX1305" fmla="*/ 274502 w 278411"/>
                <a:gd name="connsiteY1305" fmla="*/ 1188911 h 1214813"/>
                <a:gd name="connsiteX1306" fmla="*/ 270592 w 278411"/>
                <a:gd name="connsiteY1306" fmla="*/ 1191518 h 1214813"/>
                <a:gd name="connsiteX1307" fmla="*/ 268148 w 278411"/>
                <a:gd name="connsiteY1307" fmla="*/ 1188422 h 1214813"/>
                <a:gd name="connsiteX1308" fmla="*/ 265379 w 278411"/>
                <a:gd name="connsiteY1308" fmla="*/ 1187119 h 1214813"/>
                <a:gd name="connsiteX1309" fmla="*/ 260655 w 278411"/>
                <a:gd name="connsiteY1309" fmla="*/ 1190377 h 1214813"/>
                <a:gd name="connsiteX1310" fmla="*/ 254790 w 278411"/>
                <a:gd name="connsiteY1310" fmla="*/ 1190703 h 1214813"/>
                <a:gd name="connsiteX1311" fmla="*/ 252509 w 278411"/>
                <a:gd name="connsiteY1311" fmla="*/ 1187608 h 1214813"/>
                <a:gd name="connsiteX1312" fmla="*/ 250228 w 278411"/>
                <a:gd name="connsiteY1312" fmla="*/ 1182884 h 1214813"/>
                <a:gd name="connsiteX1313" fmla="*/ 246319 w 278411"/>
                <a:gd name="connsiteY1313" fmla="*/ 1182884 h 1214813"/>
                <a:gd name="connsiteX1314" fmla="*/ 242409 w 278411"/>
                <a:gd name="connsiteY1314" fmla="*/ 1186793 h 1214813"/>
                <a:gd name="connsiteX1315" fmla="*/ 239476 w 278411"/>
                <a:gd name="connsiteY1315" fmla="*/ 1186793 h 1214813"/>
                <a:gd name="connsiteX1316" fmla="*/ 233449 w 278411"/>
                <a:gd name="connsiteY1316" fmla="*/ 1187771 h 1214813"/>
                <a:gd name="connsiteX1317" fmla="*/ 238173 w 278411"/>
                <a:gd name="connsiteY1317" fmla="*/ 1191518 h 1214813"/>
                <a:gd name="connsiteX1318" fmla="*/ 239476 w 278411"/>
                <a:gd name="connsiteY1318" fmla="*/ 1191029 h 1214813"/>
                <a:gd name="connsiteX1319" fmla="*/ 245504 w 278411"/>
                <a:gd name="connsiteY1319" fmla="*/ 1192332 h 1214813"/>
                <a:gd name="connsiteX1320" fmla="*/ 247785 w 278411"/>
                <a:gd name="connsiteY1320" fmla="*/ 1194124 h 1214813"/>
                <a:gd name="connsiteX1321" fmla="*/ 246155 w 278411"/>
                <a:gd name="connsiteY1321" fmla="*/ 1195916 h 1214813"/>
                <a:gd name="connsiteX1322" fmla="*/ 250391 w 278411"/>
                <a:gd name="connsiteY1322" fmla="*/ 1197545 h 1214813"/>
                <a:gd name="connsiteX1323" fmla="*/ 255767 w 278411"/>
                <a:gd name="connsiteY1323" fmla="*/ 1202107 h 1214813"/>
                <a:gd name="connsiteX1324" fmla="*/ 255767 w 278411"/>
                <a:gd name="connsiteY1324" fmla="*/ 1206668 h 1214813"/>
                <a:gd name="connsiteX1325" fmla="*/ 253812 w 278411"/>
                <a:gd name="connsiteY1325" fmla="*/ 1206343 h 1214813"/>
                <a:gd name="connsiteX1326" fmla="*/ 248111 w 278411"/>
                <a:gd name="connsiteY1326" fmla="*/ 1201129 h 1214813"/>
                <a:gd name="connsiteX1327" fmla="*/ 244364 w 278411"/>
                <a:gd name="connsiteY1327" fmla="*/ 1200152 h 1214813"/>
                <a:gd name="connsiteX1328" fmla="*/ 240454 w 278411"/>
                <a:gd name="connsiteY1328" fmla="*/ 1202107 h 1214813"/>
                <a:gd name="connsiteX1329" fmla="*/ 236707 w 278411"/>
                <a:gd name="connsiteY1329" fmla="*/ 1199500 h 1214813"/>
                <a:gd name="connsiteX1330" fmla="*/ 235078 w 278411"/>
                <a:gd name="connsiteY1330" fmla="*/ 1194939 h 1214813"/>
                <a:gd name="connsiteX1331" fmla="*/ 229702 w 278411"/>
                <a:gd name="connsiteY1331" fmla="*/ 1195427 h 1214813"/>
                <a:gd name="connsiteX1332" fmla="*/ 229213 w 278411"/>
                <a:gd name="connsiteY1332" fmla="*/ 1197871 h 1214813"/>
                <a:gd name="connsiteX1333" fmla="*/ 233123 w 278411"/>
                <a:gd name="connsiteY1333" fmla="*/ 1200152 h 1214813"/>
                <a:gd name="connsiteX1334" fmla="*/ 232634 w 278411"/>
                <a:gd name="connsiteY1334" fmla="*/ 1204062 h 1214813"/>
                <a:gd name="connsiteX1335" fmla="*/ 230354 w 278411"/>
                <a:gd name="connsiteY1335" fmla="*/ 1204062 h 1214813"/>
                <a:gd name="connsiteX1336" fmla="*/ 224489 w 278411"/>
                <a:gd name="connsiteY1336" fmla="*/ 1201455 h 1214813"/>
                <a:gd name="connsiteX1337" fmla="*/ 221230 w 278411"/>
                <a:gd name="connsiteY1337" fmla="*/ 1202921 h 1214813"/>
                <a:gd name="connsiteX1338" fmla="*/ 219927 w 278411"/>
                <a:gd name="connsiteY1338" fmla="*/ 1200315 h 1214813"/>
                <a:gd name="connsiteX1339" fmla="*/ 216506 w 278411"/>
                <a:gd name="connsiteY1339" fmla="*/ 1199011 h 1214813"/>
                <a:gd name="connsiteX1340" fmla="*/ 218135 w 278411"/>
                <a:gd name="connsiteY1340" fmla="*/ 1195102 h 1214813"/>
                <a:gd name="connsiteX1341" fmla="*/ 214388 w 278411"/>
                <a:gd name="connsiteY1341" fmla="*/ 1198197 h 1214813"/>
                <a:gd name="connsiteX1342" fmla="*/ 210316 w 278411"/>
                <a:gd name="connsiteY1342" fmla="*/ 1195264 h 1214813"/>
                <a:gd name="connsiteX1343" fmla="*/ 210316 w 278411"/>
                <a:gd name="connsiteY1343" fmla="*/ 1192984 h 1214813"/>
                <a:gd name="connsiteX1344" fmla="*/ 214551 w 278411"/>
                <a:gd name="connsiteY1344" fmla="*/ 1191029 h 1214813"/>
                <a:gd name="connsiteX1345" fmla="*/ 221882 w 278411"/>
                <a:gd name="connsiteY1345" fmla="*/ 1188259 h 1214813"/>
                <a:gd name="connsiteX1346" fmla="*/ 217809 w 278411"/>
                <a:gd name="connsiteY1346" fmla="*/ 1186305 h 1214813"/>
                <a:gd name="connsiteX1347" fmla="*/ 214714 w 278411"/>
                <a:gd name="connsiteY1347" fmla="*/ 1187771 h 1214813"/>
                <a:gd name="connsiteX1348" fmla="*/ 211945 w 278411"/>
                <a:gd name="connsiteY1348" fmla="*/ 1185164 h 12148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  <a:cxn ang="0">
                  <a:pos x="connsiteX1317" y="connsiteY1317"/>
                </a:cxn>
                <a:cxn ang="0">
                  <a:pos x="connsiteX1318" y="connsiteY1318"/>
                </a:cxn>
                <a:cxn ang="0">
                  <a:pos x="connsiteX1319" y="connsiteY1319"/>
                </a:cxn>
                <a:cxn ang="0">
                  <a:pos x="connsiteX1320" y="connsiteY1320"/>
                </a:cxn>
                <a:cxn ang="0">
                  <a:pos x="connsiteX1321" y="connsiteY1321"/>
                </a:cxn>
                <a:cxn ang="0">
                  <a:pos x="connsiteX1322" y="connsiteY1322"/>
                </a:cxn>
                <a:cxn ang="0">
                  <a:pos x="connsiteX1323" y="connsiteY1323"/>
                </a:cxn>
                <a:cxn ang="0">
                  <a:pos x="connsiteX1324" y="connsiteY1324"/>
                </a:cxn>
                <a:cxn ang="0">
                  <a:pos x="connsiteX1325" y="connsiteY1325"/>
                </a:cxn>
                <a:cxn ang="0">
                  <a:pos x="connsiteX1326" y="connsiteY1326"/>
                </a:cxn>
                <a:cxn ang="0">
                  <a:pos x="connsiteX1327" y="connsiteY1327"/>
                </a:cxn>
                <a:cxn ang="0">
                  <a:pos x="connsiteX1328" y="connsiteY1328"/>
                </a:cxn>
                <a:cxn ang="0">
                  <a:pos x="connsiteX1329" y="connsiteY1329"/>
                </a:cxn>
                <a:cxn ang="0">
                  <a:pos x="connsiteX1330" y="connsiteY1330"/>
                </a:cxn>
                <a:cxn ang="0">
                  <a:pos x="connsiteX1331" y="connsiteY1331"/>
                </a:cxn>
                <a:cxn ang="0">
                  <a:pos x="connsiteX1332" y="connsiteY1332"/>
                </a:cxn>
                <a:cxn ang="0">
                  <a:pos x="connsiteX1333" y="connsiteY1333"/>
                </a:cxn>
                <a:cxn ang="0">
                  <a:pos x="connsiteX1334" y="connsiteY1334"/>
                </a:cxn>
                <a:cxn ang="0">
                  <a:pos x="connsiteX1335" y="connsiteY1335"/>
                </a:cxn>
                <a:cxn ang="0">
                  <a:pos x="connsiteX1336" y="connsiteY1336"/>
                </a:cxn>
                <a:cxn ang="0">
                  <a:pos x="connsiteX1337" y="connsiteY1337"/>
                </a:cxn>
                <a:cxn ang="0">
                  <a:pos x="connsiteX1338" y="connsiteY1338"/>
                </a:cxn>
                <a:cxn ang="0">
                  <a:pos x="connsiteX1339" y="connsiteY1339"/>
                </a:cxn>
                <a:cxn ang="0">
                  <a:pos x="connsiteX1340" y="connsiteY1340"/>
                </a:cxn>
                <a:cxn ang="0">
                  <a:pos x="connsiteX1341" y="connsiteY1341"/>
                </a:cxn>
                <a:cxn ang="0">
                  <a:pos x="connsiteX1342" y="connsiteY1342"/>
                </a:cxn>
                <a:cxn ang="0">
                  <a:pos x="connsiteX1343" y="connsiteY1343"/>
                </a:cxn>
                <a:cxn ang="0">
                  <a:pos x="connsiteX1344" y="connsiteY1344"/>
                </a:cxn>
                <a:cxn ang="0">
                  <a:pos x="connsiteX1345" y="connsiteY1345"/>
                </a:cxn>
                <a:cxn ang="0">
                  <a:pos x="connsiteX1346" y="connsiteY1346"/>
                </a:cxn>
                <a:cxn ang="0">
                  <a:pos x="connsiteX1347" y="connsiteY1347"/>
                </a:cxn>
                <a:cxn ang="0">
                  <a:pos x="connsiteX1348" y="connsiteY1348"/>
                </a:cxn>
              </a:cxnLst>
              <a:rect l="l" t="t" r="r" b="b"/>
              <a:pathLst>
                <a:path w="278411" h="1214813">
                  <a:moveTo>
                    <a:pt x="238499" y="1176204"/>
                  </a:moveTo>
                  <a:lnTo>
                    <a:pt x="236055" y="1166593"/>
                  </a:lnTo>
                  <a:lnTo>
                    <a:pt x="233123" y="1166593"/>
                  </a:lnTo>
                  <a:cubicBezTo>
                    <a:pt x="233123" y="1166593"/>
                    <a:pt x="228398" y="1163497"/>
                    <a:pt x="228398" y="1163497"/>
                  </a:cubicBezTo>
                  <a:lnTo>
                    <a:pt x="219601" y="1160239"/>
                  </a:lnTo>
                  <a:lnTo>
                    <a:pt x="206732" y="1156329"/>
                  </a:lnTo>
                  <a:lnTo>
                    <a:pt x="200867" y="1154375"/>
                  </a:lnTo>
                  <a:lnTo>
                    <a:pt x="200541" y="1156329"/>
                  </a:lnTo>
                  <a:lnTo>
                    <a:pt x="202170" y="1158610"/>
                  </a:lnTo>
                  <a:lnTo>
                    <a:pt x="200215" y="1160239"/>
                  </a:lnTo>
                  <a:lnTo>
                    <a:pt x="198097" y="1159425"/>
                  </a:lnTo>
                  <a:lnTo>
                    <a:pt x="189463" y="1155841"/>
                  </a:lnTo>
                  <a:lnTo>
                    <a:pt x="184739" y="1153397"/>
                  </a:lnTo>
                  <a:lnTo>
                    <a:pt x="183598" y="1154537"/>
                  </a:lnTo>
                  <a:lnTo>
                    <a:pt x="185554" y="1156981"/>
                  </a:lnTo>
                  <a:lnTo>
                    <a:pt x="196631" y="1162194"/>
                  </a:lnTo>
                  <a:lnTo>
                    <a:pt x="197283" y="1164149"/>
                  </a:lnTo>
                  <a:lnTo>
                    <a:pt x="194025" y="1164149"/>
                  </a:lnTo>
                  <a:lnTo>
                    <a:pt x="193047" y="1164637"/>
                  </a:lnTo>
                  <a:lnTo>
                    <a:pt x="193047" y="1166755"/>
                  </a:lnTo>
                  <a:cubicBezTo>
                    <a:pt x="193047" y="1166755"/>
                    <a:pt x="190929" y="1167081"/>
                    <a:pt x="190929" y="1167081"/>
                  </a:cubicBezTo>
                  <a:lnTo>
                    <a:pt x="189463" y="1164149"/>
                  </a:lnTo>
                  <a:lnTo>
                    <a:pt x="184250" y="1160891"/>
                  </a:lnTo>
                  <a:lnTo>
                    <a:pt x="182621" y="1162194"/>
                  </a:lnTo>
                  <a:lnTo>
                    <a:pt x="183110" y="1165615"/>
                  </a:lnTo>
                  <a:lnTo>
                    <a:pt x="180014" y="1166104"/>
                  </a:lnTo>
                  <a:lnTo>
                    <a:pt x="171543" y="1166755"/>
                  </a:lnTo>
                  <a:lnTo>
                    <a:pt x="169751" y="1167896"/>
                  </a:lnTo>
                  <a:lnTo>
                    <a:pt x="171543" y="1169688"/>
                  </a:lnTo>
                  <a:lnTo>
                    <a:pt x="170729" y="1170991"/>
                  </a:lnTo>
                  <a:lnTo>
                    <a:pt x="166656" y="1170177"/>
                  </a:lnTo>
                  <a:lnTo>
                    <a:pt x="161769" y="1171480"/>
                  </a:lnTo>
                  <a:lnTo>
                    <a:pt x="162583" y="1174249"/>
                  </a:lnTo>
                  <a:lnTo>
                    <a:pt x="168285" y="1175227"/>
                  </a:lnTo>
                  <a:lnTo>
                    <a:pt x="172846" y="1175227"/>
                  </a:lnTo>
                  <a:cubicBezTo>
                    <a:pt x="172846" y="1175227"/>
                    <a:pt x="174150" y="1172620"/>
                    <a:pt x="174150" y="1172620"/>
                  </a:cubicBezTo>
                  <a:lnTo>
                    <a:pt x="175616" y="1171643"/>
                  </a:lnTo>
                  <a:lnTo>
                    <a:pt x="178711" y="1172946"/>
                  </a:lnTo>
                  <a:lnTo>
                    <a:pt x="183598" y="1176204"/>
                  </a:lnTo>
                  <a:lnTo>
                    <a:pt x="186042" y="1175064"/>
                  </a:lnTo>
                  <a:lnTo>
                    <a:pt x="187508" y="1176856"/>
                  </a:lnTo>
                  <a:lnTo>
                    <a:pt x="187508" y="1179788"/>
                  </a:lnTo>
                  <a:lnTo>
                    <a:pt x="190766" y="1181743"/>
                  </a:lnTo>
                  <a:lnTo>
                    <a:pt x="187020" y="1183535"/>
                  </a:lnTo>
                  <a:lnTo>
                    <a:pt x="184739" y="1188096"/>
                  </a:lnTo>
                  <a:lnTo>
                    <a:pt x="187671" y="1191355"/>
                  </a:lnTo>
                  <a:lnTo>
                    <a:pt x="190929" y="1191355"/>
                  </a:lnTo>
                  <a:cubicBezTo>
                    <a:pt x="190929" y="1191355"/>
                    <a:pt x="193862" y="1192495"/>
                    <a:pt x="193862" y="1192495"/>
                  </a:cubicBezTo>
                  <a:lnTo>
                    <a:pt x="198097" y="1196730"/>
                  </a:lnTo>
                  <a:lnTo>
                    <a:pt x="201030" y="1196730"/>
                  </a:lnTo>
                  <a:lnTo>
                    <a:pt x="201681" y="1195102"/>
                  </a:lnTo>
                  <a:lnTo>
                    <a:pt x="198586" y="1192821"/>
                  </a:lnTo>
                  <a:lnTo>
                    <a:pt x="193536" y="1189889"/>
                  </a:lnTo>
                  <a:lnTo>
                    <a:pt x="192884" y="1187282"/>
                  </a:lnTo>
                  <a:lnTo>
                    <a:pt x="194188" y="1186956"/>
                  </a:lnTo>
                  <a:lnTo>
                    <a:pt x="197935" y="1188585"/>
                  </a:lnTo>
                  <a:lnTo>
                    <a:pt x="200867" y="1186468"/>
                  </a:lnTo>
                  <a:lnTo>
                    <a:pt x="201681" y="1184187"/>
                  </a:lnTo>
                  <a:lnTo>
                    <a:pt x="198260" y="1183372"/>
                  </a:lnTo>
                  <a:lnTo>
                    <a:pt x="195491" y="1181580"/>
                  </a:lnTo>
                  <a:lnTo>
                    <a:pt x="206406" y="1177345"/>
                  </a:lnTo>
                  <a:lnTo>
                    <a:pt x="210804" y="1175064"/>
                  </a:lnTo>
                  <a:lnTo>
                    <a:pt x="231005" y="1180277"/>
                  </a:lnTo>
                  <a:lnTo>
                    <a:pt x="233612" y="1178648"/>
                  </a:lnTo>
                  <a:lnTo>
                    <a:pt x="233123" y="1175878"/>
                  </a:lnTo>
                  <a:lnTo>
                    <a:pt x="238988" y="1175878"/>
                  </a:lnTo>
                  <a:close/>
                  <a:moveTo>
                    <a:pt x="235404" y="1163823"/>
                  </a:moveTo>
                  <a:lnTo>
                    <a:pt x="229539" y="1162357"/>
                  </a:lnTo>
                  <a:lnTo>
                    <a:pt x="217321" y="1154211"/>
                  </a:lnTo>
                  <a:lnTo>
                    <a:pt x="208687" y="1151116"/>
                  </a:lnTo>
                  <a:lnTo>
                    <a:pt x="204451" y="1151605"/>
                  </a:lnTo>
                  <a:lnTo>
                    <a:pt x="198912" y="1148184"/>
                  </a:lnTo>
                  <a:lnTo>
                    <a:pt x="194351" y="1143622"/>
                  </a:lnTo>
                  <a:lnTo>
                    <a:pt x="193536" y="1141341"/>
                  </a:lnTo>
                  <a:lnTo>
                    <a:pt x="193536" y="1139061"/>
                  </a:lnTo>
                  <a:lnTo>
                    <a:pt x="201519" y="1135151"/>
                  </a:lnTo>
                  <a:lnTo>
                    <a:pt x="202496" y="1132545"/>
                  </a:lnTo>
                  <a:lnTo>
                    <a:pt x="207546" y="1131078"/>
                  </a:lnTo>
                  <a:lnTo>
                    <a:pt x="210967" y="1125214"/>
                  </a:lnTo>
                  <a:lnTo>
                    <a:pt x="209501" y="1120978"/>
                  </a:lnTo>
                  <a:lnTo>
                    <a:pt x="203962" y="1120978"/>
                  </a:lnTo>
                  <a:cubicBezTo>
                    <a:pt x="203962" y="1120978"/>
                    <a:pt x="196631" y="1124888"/>
                    <a:pt x="196631" y="1124888"/>
                  </a:cubicBezTo>
                  <a:lnTo>
                    <a:pt x="192884" y="1129123"/>
                  </a:lnTo>
                  <a:lnTo>
                    <a:pt x="189137" y="1129123"/>
                  </a:lnTo>
                  <a:cubicBezTo>
                    <a:pt x="189137" y="1129123"/>
                    <a:pt x="184087" y="1123096"/>
                    <a:pt x="184087" y="1123096"/>
                  </a:cubicBezTo>
                  <a:lnTo>
                    <a:pt x="183762" y="1117231"/>
                  </a:lnTo>
                  <a:lnTo>
                    <a:pt x="182295" y="1114136"/>
                  </a:lnTo>
                  <a:lnTo>
                    <a:pt x="186531" y="1109900"/>
                  </a:lnTo>
                  <a:lnTo>
                    <a:pt x="187346" y="1106153"/>
                  </a:lnTo>
                  <a:lnTo>
                    <a:pt x="183436" y="1106642"/>
                  </a:lnTo>
                  <a:lnTo>
                    <a:pt x="180340" y="1104198"/>
                  </a:lnTo>
                  <a:lnTo>
                    <a:pt x="183436" y="1099800"/>
                  </a:lnTo>
                  <a:lnTo>
                    <a:pt x="186531" y="1100777"/>
                  </a:lnTo>
                  <a:lnTo>
                    <a:pt x="191744" y="1103710"/>
                  </a:lnTo>
                  <a:lnTo>
                    <a:pt x="193047" y="1101429"/>
                  </a:lnTo>
                  <a:lnTo>
                    <a:pt x="197446" y="1097193"/>
                  </a:lnTo>
                  <a:lnTo>
                    <a:pt x="198097" y="1093935"/>
                  </a:lnTo>
                  <a:lnTo>
                    <a:pt x="196957" y="1089862"/>
                  </a:lnTo>
                  <a:lnTo>
                    <a:pt x="198912" y="1085952"/>
                  </a:lnTo>
                  <a:lnTo>
                    <a:pt x="202659" y="1086930"/>
                  </a:lnTo>
                  <a:lnTo>
                    <a:pt x="206569" y="1090677"/>
                  </a:lnTo>
                  <a:lnTo>
                    <a:pt x="208849" y="1088885"/>
                  </a:lnTo>
                  <a:lnTo>
                    <a:pt x="215855" y="1085952"/>
                  </a:lnTo>
                  <a:lnTo>
                    <a:pt x="223185" y="1114950"/>
                  </a:lnTo>
                  <a:lnTo>
                    <a:pt x="222860" y="1115928"/>
                  </a:lnTo>
                  <a:lnTo>
                    <a:pt x="223511" y="1116254"/>
                  </a:lnTo>
                  <a:lnTo>
                    <a:pt x="235567" y="1163986"/>
                  </a:lnTo>
                  <a:lnTo>
                    <a:pt x="235567" y="1163986"/>
                  </a:lnTo>
                  <a:close/>
                  <a:moveTo>
                    <a:pt x="215203" y="1077318"/>
                  </a:moveTo>
                  <a:lnTo>
                    <a:pt x="208198" y="1070965"/>
                  </a:lnTo>
                  <a:lnTo>
                    <a:pt x="202659" y="1070150"/>
                  </a:lnTo>
                  <a:lnTo>
                    <a:pt x="200867" y="1068032"/>
                  </a:lnTo>
                  <a:lnTo>
                    <a:pt x="167796" y="1068032"/>
                  </a:lnTo>
                  <a:cubicBezTo>
                    <a:pt x="167796" y="1068032"/>
                    <a:pt x="149388" y="1071128"/>
                    <a:pt x="149388" y="1071128"/>
                  </a:cubicBezTo>
                  <a:lnTo>
                    <a:pt x="145152" y="1068684"/>
                  </a:lnTo>
                  <a:lnTo>
                    <a:pt x="132771" y="1067707"/>
                  </a:lnTo>
                  <a:lnTo>
                    <a:pt x="128698" y="1056955"/>
                  </a:lnTo>
                  <a:lnTo>
                    <a:pt x="126092" y="1047995"/>
                  </a:lnTo>
                  <a:lnTo>
                    <a:pt x="120553" y="1042945"/>
                  </a:lnTo>
                  <a:lnTo>
                    <a:pt x="118923" y="1028282"/>
                  </a:lnTo>
                  <a:lnTo>
                    <a:pt x="118923" y="1021441"/>
                  </a:lnTo>
                  <a:lnTo>
                    <a:pt x="113547" y="1021441"/>
                  </a:lnTo>
                  <a:cubicBezTo>
                    <a:pt x="113547" y="1021441"/>
                    <a:pt x="105402" y="1025676"/>
                    <a:pt x="105402" y="1025676"/>
                  </a:cubicBezTo>
                  <a:lnTo>
                    <a:pt x="101004" y="1030726"/>
                  </a:lnTo>
                  <a:lnTo>
                    <a:pt x="95790" y="1030726"/>
                  </a:lnTo>
                  <a:cubicBezTo>
                    <a:pt x="95790" y="1030726"/>
                    <a:pt x="84550" y="1008245"/>
                    <a:pt x="84550" y="1008245"/>
                  </a:cubicBezTo>
                  <a:lnTo>
                    <a:pt x="83084" y="1000099"/>
                  </a:lnTo>
                  <a:lnTo>
                    <a:pt x="86342" y="977292"/>
                  </a:lnTo>
                  <a:lnTo>
                    <a:pt x="91718" y="969472"/>
                  </a:lnTo>
                  <a:lnTo>
                    <a:pt x="100515" y="960187"/>
                  </a:lnTo>
                  <a:lnTo>
                    <a:pt x="103121" y="947154"/>
                  </a:lnTo>
                  <a:lnTo>
                    <a:pt x="100515" y="933632"/>
                  </a:lnTo>
                  <a:lnTo>
                    <a:pt x="97257" y="923695"/>
                  </a:lnTo>
                  <a:lnTo>
                    <a:pt x="99212" y="912128"/>
                  </a:lnTo>
                  <a:lnTo>
                    <a:pt x="104425" y="906264"/>
                  </a:lnTo>
                  <a:lnTo>
                    <a:pt x="99374" y="894209"/>
                  </a:lnTo>
                  <a:lnTo>
                    <a:pt x="100189" y="888344"/>
                  </a:lnTo>
                  <a:lnTo>
                    <a:pt x="104750" y="883619"/>
                  </a:lnTo>
                  <a:lnTo>
                    <a:pt x="101818" y="872704"/>
                  </a:lnTo>
                  <a:lnTo>
                    <a:pt x="99863" y="858531"/>
                  </a:lnTo>
                  <a:lnTo>
                    <a:pt x="96605" y="851852"/>
                  </a:lnTo>
                  <a:lnTo>
                    <a:pt x="97094" y="846802"/>
                  </a:lnTo>
                  <a:lnTo>
                    <a:pt x="103610" y="841100"/>
                  </a:lnTo>
                  <a:lnTo>
                    <a:pt x="103610" y="835236"/>
                  </a:lnTo>
                  <a:cubicBezTo>
                    <a:pt x="103610" y="835236"/>
                    <a:pt x="98234" y="825787"/>
                    <a:pt x="98234" y="825787"/>
                  </a:cubicBezTo>
                  <a:lnTo>
                    <a:pt x="89763" y="819922"/>
                  </a:lnTo>
                  <a:lnTo>
                    <a:pt x="84387" y="819922"/>
                  </a:lnTo>
                  <a:lnTo>
                    <a:pt x="82758" y="821388"/>
                  </a:lnTo>
                  <a:lnTo>
                    <a:pt x="79663" y="818293"/>
                  </a:lnTo>
                  <a:lnTo>
                    <a:pt x="81455" y="813894"/>
                  </a:lnTo>
                  <a:lnTo>
                    <a:pt x="93021" y="813894"/>
                  </a:lnTo>
                  <a:cubicBezTo>
                    <a:pt x="93021" y="813894"/>
                    <a:pt x="98723" y="807378"/>
                    <a:pt x="98723" y="807378"/>
                  </a:cubicBezTo>
                  <a:lnTo>
                    <a:pt x="98397" y="801187"/>
                  </a:lnTo>
                  <a:lnTo>
                    <a:pt x="94976" y="799721"/>
                  </a:lnTo>
                  <a:lnTo>
                    <a:pt x="91066" y="802491"/>
                  </a:lnTo>
                  <a:lnTo>
                    <a:pt x="86342" y="801513"/>
                  </a:lnTo>
                  <a:lnTo>
                    <a:pt x="83898" y="789784"/>
                  </a:lnTo>
                  <a:lnTo>
                    <a:pt x="79174" y="779520"/>
                  </a:lnTo>
                  <a:lnTo>
                    <a:pt x="78848" y="772189"/>
                  </a:lnTo>
                  <a:lnTo>
                    <a:pt x="79337" y="763555"/>
                  </a:lnTo>
                  <a:lnTo>
                    <a:pt x="71191" y="760786"/>
                  </a:lnTo>
                  <a:lnTo>
                    <a:pt x="68747" y="753292"/>
                  </a:lnTo>
                  <a:lnTo>
                    <a:pt x="67607" y="733743"/>
                  </a:lnTo>
                  <a:lnTo>
                    <a:pt x="73146" y="729996"/>
                  </a:lnTo>
                  <a:lnTo>
                    <a:pt x="74775" y="723317"/>
                  </a:lnTo>
                  <a:lnTo>
                    <a:pt x="72006" y="718104"/>
                  </a:lnTo>
                  <a:lnTo>
                    <a:pt x="67281" y="715660"/>
                  </a:lnTo>
                  <a:lnTo>
                    <a:pt x="65001" y="703605"/>
                  </a:lnTo>
                  <a:lnTo>
                    <a:pt x="64023" y="686825"/>
                  </a:lnTo>
                  <a:lnTo>
                    <a:pt x="65652" y="667602"/>
                  </a:lnTo>
                  <a:lnTo>
                    <a:pt x="60928" y="659619"/>
                  </a:lnTo>
                  <a:lnTo>
                    <a:pt x="59788" y="650822"/>
                  </a:lnTo>
                  <a:lnTo>
                    <a:pt x="69236" y="638278"/>
                  </a:lnTo>
                  <a:lnTo>
                    <a:pt x="70703" y="624268"/>
                  </a:lnTo>
                  <a:lnTo>
                    <a:pt x="77545" y="621010"/>
                  </a:lnTo>
                  <a:lnTo>
                    <a:pt x="81292" y="616611"/>
                  </a:lnTo>
                  <a:lnTo>
                    <a:pt x="65978" y="586636"/>
                  </a:lnTo>
                  <a:lnTo>
                    <a:pt x="67770" y="576698"/>
                  </a:lnTo>
                  <a:lnTo>
                    <a:pt x="67770" y="551611"/>
                  </a:lnTo>
                  <a:cubicBezTo>
                    <a:pt x="67770" y="551611"/>
                    <a:pt x="72983" y="540859"/>
                    <a:pt x="72983" y="540859"/>
                  </a:cubicBezTo>
                  <a:lnTo>
                    <a:pt x="79011" y="534668"/>
                  </a:lnTo>
                  <a:lnTo>
                    <a:pt x="77707" y="525382"/>
                  </a:lnTo>
                  <a:lnTo>
                    <a:pt x="72495" y="516748"/>
                  </a:lnTo>
                  <a:lnTo>
                    <a:pt x="69073" y="513816"/>
                  </a:lnTo>
                  <a:lnTo>
                    <a:pt x="74938" y="505181"/>
                  </a:lnTo>
                  <a:lnTo>
                    <a:pt x="73472" y="495081"/>
                  </a:lnTo>
                  <a:lnTo>
                    <a:pt x="77707" y="484818"/>
                  </a:lnTo>
                  <a:lnTo>
                    <a:pt x="82758" y="483189"/>
                  </a:lnTo>
                  <a:lnTo>
                    <a:pt x="84061" y="470970"/>
                  </a:lnTo>
                  <a:lnTo>
                    <a:pt x="81780" y="451259"/>
                  </a:lnTo>
                  <a:lnTo>
                    <a:pt x="78033" y="447837"/>
                  </a:lnTo>
                  <a:lnTo>
                    <a:pt x="74938" y="432850"/>
                  </a:lnTo>
                  <a:lnTo>
                    <a:pt x="70865" y="425030"/>
                  </a:lnTo>
                  <a:lnTo>
                    <a:pt x="65001" y="415581"/>
                  </a:lnTo>
                  <a:lnTo>
                    <a:pt x="64023" y="410857"/>
                  </a:lnTo>
                  <a:lnTo>
                    <a:pt x="59462" y="404667"/>
                  </a:lnTo>
                  <a:lnTo>
                    <a:pt x="56855" y="392122"/>
                  </a:lnTo>
                  <a:lnTo>
                    <a:pt x="58158" y="382348"/>
                  </a:lnTo>
                  <a:lnTo>
                    <a:pt x="65326" y="379090"/>
                  </a:lnTo>
                  <a:lnTo>
                    <a:pt x="65326" y="366383"/>
                  </a:lnTo>
                  <a:cubicBezTo>
                    <a:pt x="65326" y="366383"/>
                    <a:pt x="69562" y="361170"/>
                    <a:pt x="69562" y="361170"/>
                  </a:cubicBezTo>
                  <a:lnTo>
                    <a:pt x="69888" y="349929"/>
                  </a:lnTo>
                  <a:lnTo>
                    <a:pt x="65326" y="341458"/>
                  </a:lnTo>
                  <a:lnTo>
                    <a:pt x="64512" y="325493"/>
                  </a:lnTo>
                  <a:lnTo>
                    <a:pt x="68096" y="321909"/>
                  </a:lnTo>
                  <a:lnTo>
                    <a:pt x="69888" y="303011"/>
                  </a:lnTo>
                  <a:lnTo>
                    <a:pt x="74612" y="296495"/>
                  </a:lnTo>
                  <a:lnTo>
                    <a:pt x="81455" y="279389"/>
                  </a:lnTo>
                  <a:lnTo>
                    <a:pt x="88134" y="272547"/>
                  </a:lnTo>
                  <a:lnTo>
                    <a:pt x="93184" y="269941"/>
                  </a:lnTo>
                  <a:lnTo>
                    <a:pt x="97094" y="265379"/>
                  </a:lnTo>
                  <a:lnTo>
                    <a:pt x="94650" y="262773"/>
                  </a:lnTo>
                  <a:lnTo>
                    <a:pt x="94324" y="255604"/>
                  </a:lnTo>
                  <a:lnTo>
                    <a:pt x="92532" y="251858"/>
                  </a:lnTo>
                  <a:lnTo>
                    <a:pt x="89437" y="249251"/>
                  </a:lnTo>
                  <a:lnTo>
                    <a:pt x="90577" y="244201"/>
                  </a:lnTo>
                  <a:lnTo>
                    <a:pt x="95139" y="240780"/>
                  </a:lnTo>
                  <a:lnTo>
                    <a:pt x="95139" y="234263"/>
                  </a:lnTo>
                  <a:lnTo>
                    <a:pt x="89600" y="227258"/>
                  </a:lnTo>
                  <a:lnTo>
                    <a:pt x="88134" y="218624"/>
                  </a:lnTo>
                  <a:lnTo>
                    <a:pt x="91229" y="213085"/>
                  </a:lnTo>
                  <a:lnTo>
                    <a:pt x="89926" y="208524"/>
                  </a:lnTo>
                  <a:lnTo>
                    <a:pt x="84550" y="204125"/>
                  </a:lnTo>
                  <a:lnTo>
                    <a:pt x="86505" y="197446"/>
                  </a:lnTo>
                  <a:lnTo>
                    <a:pt x="117131" y="181155"/>
                  </a:lnTo>
                  <a:lnTo>
                    <a:pt x="123811" y="152157"/>
                  </a:lnTo>
                  <a:lnTo>
                    <a:pt x="120390" y="145152"/>
                  </a:lnTo>
                  <a:lnTo>
                    <a:pt x="116317" y="145804"/>
                  </a:lnTo>
                  <a:lnTo>
                    <a:pt x="114525" y="149062"/>
                  </a:lnTo>
                  <a:lnTo>
                    <a:pt x="107520" y="149062"/>
                  </a:lnTo>
                  <a:lnTo>
                    <a:pt x="88622" y="98560"/>
                  </a:lnTo>
                  <a:lnTo>
                    <a:pt x="76079" y="86668"/>
                  </a:lnTo>
                  <a:lnTo>
                    <a:pt x="72331" y="81455"/>
                  </a:lnTo>
                  <a:lnTo>
                    <a:pt x="78685" y="67770"/>
                  </a:lnTo>
                  <a:lnTo>
                    <a:pt x="76893" y="62557"/>
                  </a:lnTo>
                  <a:lnTo>
                    <a:pt x="79825" y="55226"/>
                  </a:lnTo>
                  <a:lnTo>
                    <a:pt x="78848" y="51153"/>
                  </a:lnTo>
                  <a:lnTo>
                    <a:pt x="67281" y="41705"/>
                  </a:lnTo>
                  <a:lnTo>
                    <a:pt x="63209" y="36003"/>
                  </a:lnTo>
                  <a:lnTo>
                    <a:pt x="61905" y="27369"/>
                  </a:lnTo>
                  <a:lnTo>
                    <a:pt x="60928" y="24599"/>
                  </a:lnTo>
                  <a:lnTo>
                    <a:pt x="62068" y="19549"/>
                  </a:lnTo>
                  <a:lnTo>
                    <a:pt x="61417" y="14825"/>
                  </a:lnTo>
                  <a:lnTo>
                    <a:pt x="58647" y="12218"/>
                  </a:lnTo>
                  <a:lnTo>
                    <a:pt x="53434" y="7657"/>
                  </a:lnTo>
                  <a:lnTo>
                    <a:pt x="52945" y="1140"/>
                  </a:lnTo>
                  <a:lnTo>
                    <a:pt x="48221" y="0"/>
                  </a:lnTo>
                  <a:lnTo>
                    <a:pt x="45614" y="4236"/>
                  </a:lnTo>
                  <a:lnTo>
                    <a:pt x="43985" y="8634"/>
                  </a:lnTo>
                  <a:lnTo>
                    <a:pt x="48547" y="13033"/>
                  </a:lnTo>
                  <a:lnTo>
                    <a:pt x="46755" y="17268"/>
                  </a:lnTo>
                  <a:lnTo>
                    <a:pt x="41705" y="20364"/>
                  </a:lnTo>
                  <a:lnTo>
                    <a:pt x="38446" y="19549"/>
                  </a:lnTo>
                  <a:lnTo>
                    <a:pt x="32907" y="23296"/>
                  </a:lnTo>
                  <a:lnTo>
                    <a:pt x="26554" y="26391"/>
                  </a:lnTo>
                  <a:lnTo>
                    <a:pt x="28672" y="28509"/>
                  </a:lnTo>
                  <a:lnTo>
                    <a:pt x="29161" y="35677"/>
                  </a:lnTo>
                  <a:lnTo>
                    <a:pt x="28509" y="41053"/>
                  </a:lnTo>
                  <a:lnTo>
                    <a:pt x="29649" y="48221"/>
                  </a:lnTo>
                  <a:lnTo>
                    <a:pt x="33722" y="67282"/>
                  </a:lnTo>
                  <a:lnTo>
                    <a:pt x="33722" y="74450"/>
                  </a:lnTo>
                  <a:lnTo>
                    <a:pt x="32256" y="79663"/>
                  </a:lnTo>
                  <a:lnTo>
                    <a:pt x="29487" y="82595"/>
                  </a:lnTo>
                  <a:lnTo>
                    <a:pt x="31441" y="92369"/>
                  </a:lnTo>
                  <a:lnTo>
                    <a:pt x="34537" y="101981"/>
                  </a:lnTo>
                  <a:lnTo>
                    <a:pt x="37795" y="110127"/>
                  </a:lnTo>
                  <a:lnTo>
                    <a:pt x="37795" y="123322"/>
                  </a:lnTo>
                  <a:lnTo>
                    <a:pt x="36329" y="127069"/>
                  </a:lnTo>
                  <a:lnTo>
                    <a:pt x="35188" y="129513"/>
                  </a:lnTo>
                  <a:lnTo>
                    <a:pt x="36166" y="147596"/>
                  </a:lnTo>
                  <a:lnTo>
                    <a:pt x="36166" y="151994"/>
                  </a:lnTo>
                  <a:lnTo>
                    <a:pt x="32419" y="154275"/>
                  </a:lnTo>
                  <a:lnTo>
                    <a:pt x="28998" y="156719"/>
                  </a:lnTo>
                  <a:lnTo>
                    <a:pt x="29487" y="166819"/>
                  </a:lnTo>
                  <a:lnTo>
                    <a:pt x="31115" y="169426"/>
                  </a:lnTo>
                  <a:lnTo>
                    <a:pt x="34374" y="166982"/>
                  </a:lnTo>
                  <a:lnTo>
                    <a:pt x="36329" y="168774"/>
                  </a:lnTo>
                  <a:lnTo>
                    <a:pt x="33233" y="171706"/>
                  </a:lnTo>
                  <a:lnTo>
                    <a:pt x="33233" y="198423"/>
                  </a:lnTo>
                  <a:cubicBezTo>
                    <a:pt x="33233" y="198423"/>
                    <a:pt x="37143" y="208524"/>
                    <a:pt x="37143" y="208524"/>
                  </a:cubicBezTo>
                  <a:lnTo>
                    <a:pt x="37958" y="216506"/>
                  </a:lnTo>
                  <a:lnTo>
                    <a:pt x="36980" y="223186"/>
                  </a:lnTo>
                  <a:lnTo>
                    <a:pt x="32745" y="230028"/>
                  </a:lnTo>
                  <a:lnTo>
                    <a:pt x="32745" y="236707"/>
                  </a:lnTo>
                  <a:lnTo>
                    <a:pt x="37469" y="245341"/>
                  </a:lnTo>
                  <a:lnTo>
                    <a:pt x="36329" y="250717"/>
                  </a:lnTo>
                  <a:lnTo>
                    <a:pt x="35840" y="263587"/>
                  </a:lnTo>
                  <a:lnTo>
                    <a:pt x="33071" y="268311"/>
                  </a:lnTo>
                  <a:lnTo>
                    <a:pt x="33071" y="275317"/>
                  </a:lnTo>
                  <a:lnTo>
                    <a:pt x="34374" y="279063"/>
                  </a:lnTo>
                  <a:lnTo>
                    <a:pt x="34374" y="282159"/>
                  </a:lnTo>
                  <a:lnTo>
                    <a:pt x="30138" y="288675"/>
                  </a:lnTo>
                  <a:lnTo>
                    <a:pt x="29812" y="295354"/>
                  </a:lnTo>
                  <a:lnTo>
                    <a:pt x="27206" y="299590"/>
                  </a:lnTo>
                  <a:lnTo>
                    <a:pt x="28672" y="307735"/>
                  </a:lnTo>
                  <a:lnTo>
                    <a:pt x="27695" y="311157"/>
                  </a:lnTo>
                  <a:lnTo>
                    <a:pt x="23459" y="320768"/>
                  </a:lnTo>
                  <a:lnTo>
                    <a:pt x="23459" y="324841"/>
                  </a:lnTo>
                  <a:lnTo>
                    <a:pt x="28020" y="332009"/>
                  </a:lnTo>
                  <a:lnTo>
                    <a:pt x="28998" y="339340"/>
                  </a:lnTo>
                  <a:lnTo>
                    <a:pt x="31930" y="343901"/>
                  </a:lnTo>
                  <a:lnTo>
                    <a:pt x="28183" y="346508"/>
                  </a:lnTo>
                  <a:lnTo>
                    <a:pt x="25902" y="352210"/>
                  </a:lnTo>
                  <a:lnTo>
                    <a:pt x="29323" y="356608"/>
                  </a:lnTo>
                  <a:lnTo>
                    <a:pt x="25577" y="361007"/>
                  </a:lnTo>
                  <a:lnTo>
                    <a:pt x="22155" y="362473"/>
                  </a:lnTo>
                  <a:lnTo>
                    <a:pt x="22155" y="369152"/>
                  </a:lnTo>
                  <a:cubicBezTo>
                    <a:pt x="22155" y="369152"/>
                    <a:pt x="23133" y="374854"/>
                    <a:pt x="23133" y="374854"/>
                  </a:cubicBezTo>
                  <a:lnTo>
                    <a:pt x="23622" y="380230"/>
                  </a:lnTo>
                  <a:lnTo>
                    <a:pt x="29487" y="395543"/>
                  </a:lnTo>
                  <a:lnTo>
                    <a:pt x="29487" y="404015"/>
                  </a:lnTo>
                  <a:lnTo>
                    <a:pt x="27043" y="406784"/>
                  </a:lnTo>
                  <a:lnTo>
                    <a:pt x="27531" y="411346"/>
                  </a:lnTo>
                  <a:lnTo>
                    <a:pt x="32907" y="419002"/>
                  </a:lnTo>
                  <a:lnTo>
                    <a:pt x="33233" y="427962"/>
                  </a:lnTo>
                  <a:lnTo>
                    <a:pt x="31604" y="434153"/>
                  </a:lnTo>
                  <a:lnTo>
                    <a:pt x="31604" y="436759"/>
                  </a:lnTo>
                  <a:cubicBezTo>
                    <a:pt x="31604" y="436759"/>
                    <a:pt x="33071" y="441158"/>
                    <a:pt x="33071" y="441158"/>
                  </a:cubicBezTo>
                  <a:lnTo>
                    <a:pt x="32256" y="445068"/>
                  </a:lnTo>
                  <a:lnTo>
                    <a:pt x="30953" y="449467"/>
                  </a:lnTo>
                  <a:lnTo>
                    <a:pt x="32419" y="452073"/>
                  </a:lnTo>
                  <a:lnTo>
                    <a:pt x="38121" y="460055"/>
                  </a:lnTo>
                  <a:lnTo>
                    <a:pt x="38935" y="464454"/>
                  </a:lnTo>
                  <a:lnTo>
                    <a:pt x="36166" y="468853"/>
                  </a:lnTo>
                  <a:lnTo>
                    <a:pt x="32256" y="471296"/>
                  </a:lnTo>
                  <a:lnTo>
                    <a:pt x="28835" y="478464"/>
                  </a:lnTo>
                  <a:lnTo>
                    <a:pt x="28835" y="480745"/>
                  </a:lnTo>
                  <a:lnTo>
                    <a:pt x="30790" y="483189"/>
                  </a:lnTo>
                  <a:lnTo>
                    <a:pt x="28998" y="489216"/>
                  </a:lnTo>
                  <a:lnTo>
                    <a:pt x="26065" y="492475"/>
                  </a:lnTo>
                  <a:lnTo>
                    <a:pt x="26065" y="496710"/>
                  </a:lnTo>
                  <a:lnTo>
                    <a:pt x="25251" y="504367"/>
                  </a:lnTo>
                  <a:lnTo>
                    <a:pt x="22970" y="508602"/>
                  </a:lnTo>
                  <a:lnTo>
                    <a:pt x="23296" y="513164"/>
                  </a:lnTo>
                  <a:lnTo>
                    <a:pt x="21993" y="515445"/>
                  </a:lnTo>
                  <a:lnTo>
                    <a:pt x="21504" y="521635"/>
                  </a:lnTo>
                  <a:lnTo>
                    <a:pt x="18572" y="524730"/>
                  </a:lnTo>
                  <a:lnTo>
                    <a:pt x="18897" y="527500"/>
                  </a:lnTo>
                  <a:lnTo>
                    <a:pt x="20689" y="530432"/>
                  </a:lnTo>
                  <a:lnTo>
                    <a:pt x="17594" y="534994"/>
                  </a:lnTo>
                  <a:lnTo>
                    <a:pt x="17594" y="541999"/>
                  </a:lnTo>
                  <a:cubicBezTo>
                    <a:pt x="17594" y="541999"/>
                    <a:pt x="16780" y="546234"/>
                    <a:pt x="16780" y="546234"/>
                  </a:cubicBezTo>
                  <a:lnTo>
                    <a:pt x="13358" y="548678"/>
                  </a:lnTo>
                  <a:lnTo>
                    <a:pt x="13358" y="553402"/>
                  </a:lnTo>
                  <a:lnTo>
                    <a:pt x="11729" y="556498"/>
                  </a:lnTo>
                  <a:lnTo>
                    <a:pt x="11404" y="560245"/>
                  </a:lnTo>
                  <a:lnTo>
                    <a:pt x="13033" y="564480"/>
                  </a:lnTo>
                  <a:lnTo>
                    <a:pt x="13033" y="569693"/>
                  </a:lnTo>
                  <a:cubicBezTo>
                    <a:pt x="13033" y="569693"/>
                    <a:pt x="10263" y="573929"/>
                    <a:pt x="10263" y="573929"/>
                  </a:cubicBezTo>
                  <a:lnTo>
                    <a:pt x="7331" y="574255"/>
                  </a:lnTo>
                  <a:lnTo>
                    <a:pt x="4236" y="571811"/>
                  </a:lnTo>
                  <a:lnTo>
                    <a:pt x="489" y="572789"/>
                  </a:lnTo>
                  <a:lnTo>
                    <a:pt x="0" y="575884"/>
                  </a:lnTo>
                  <a:lnTo>
                    <a:pt x="977" y="581423"/>
                  </a:lnTo>
                  <a:lnTo>
                    <a:pt x="977" y="589243"/>
                  </a:lnTo>
                  <a:cubicBezTo>
                    <a:pt x="977" y="589243"/>
                    <a:pt x="4724" y="594455"/>
                    <a:pt x="4724" y="594455"/>
                  </a:cubicBezTo>
                  <a:lnTo>
                    <a:pt x="10263" y="599017"/>
                  </a:lnTo>
                  <a:lnTo>
                    <a:pt x="10915" y="604393"/>
                  </a:lnTo>
                  <a:lnTo>
                    <a:pt x="9937" y="611235"/>
                  </a:lnTo>
                  <a:lnTo>
                    <a:pt x="17920" y="624757"/>
                  </a:lnTo>
                  <a:lnTo>
                    <a:pt x="19223" y="628504"/>
                  </a:lnTo>
                  <a:lnTo>
                    <a:pt x="22318" y="631436"/>
                  </a:lnTo>
                  <a:lnTo>
                    <a:pt x="22318" y="640070"/>
                  </a:lnTo>
                  <a:lnTo>
                    <a:pt x="20038" y="651311"/>
                  </a:lnTo>
                  <a:lnTo>
                    <a:pt x="18083" y="652940"/>
                  </a:lnTo>
                  <a:lnTo>
                    <a:pt x="19060" y="656361"/>
                  </a:lnTo>
                  <a:lnTo>
                    <a:pt x="18083" y="659619"/>
                  </a:lnTo>
                  <a:lnTo>
                    <a:pt x="16291" y="658479"/>
                  </a:lnTo>
                  <a:lnTo>
                    <a:pt x="13521" y="658805"/>
                  </a:lnTo>
                  <a:lnTo>
                    <a:pt x="11892" y="663366"/>
                  </a:lnTo>
                  <a:lnTo>
                    <a:pt x="13196" y="668091"/>
                  </a:lnTo>
                  <a:lnTo>
                    <a:pt x="16454" y="670860"/>
                  </a:lnTo>
                  <a:lnTo>
                    <a:pt x="13684" y="681286"/>
                  </a:lnTo>
                  <a:lnTo>
                    <a:pt x="14662" y="685848"/>
                  </a:lnTo>
                  <a:lnTo>
                    <a:pt x="12218" y="688780"/>
                  </a:lnTo>
                  <a:lnTo>
                    <a:pt x="14988" y="691223"/>
                  </a:lnTo>
                  <a:lnTo>
                    <a:pt x="13847" y="694645"/>
                  </a:lnTo>
                  <a:lnTo>
                    <a:pt x="12707" y="696274"/>
                  </a:lnTo>
                  <a:lnTo>
                    <a:pt x="14336" y="698880"/>
                  </a:lnTo>
                  <a:lnTo>
                    <a:pt x="22318" y="711261"/>
                  </a:lnTo>
                  <a:lnTo>
                    <a:pt x="24762" y="713705"/>
                  </a:lnTo>
                  <a:lnTo>
                    <a:pt x="26554" y="717615"/>
                  </a:lnTo>
                  <a:lnTo>
                    <a:pt x="33885" y="720710"/>
                  </a:lnTo>
                  <a:lnTo>
                    <a:pt x="41053" y="718918"/>
                  </a:lnTo>
                  <a:lnTo>
                    <a:pt x="41379" y="711750"/>
                  </a:lnTo>
                  <a:lnTo>
                    <a:pt x="42519" y="710284"/>
                  </a:lnTo>
                  <a:lnTo>
                    <a:pt x="47081" y="710284"/>
                  </a:lnTo>
                  <a:cubicBezTo>
                    <a:pt x="47081" y="710284"/>
                    <a:pt x="50990" y="715008"/>
                    <a:pt x="50990" y="715008"/>
                  </a:cubicBezTo>
                  <a:lnTo>
                    <a:pt x="52620" y="713868"/>
                  </a:lnTo>
                  <a:lnTo>
                    <a:pt x="55878" y="713379"/>
                  </a:lnTo>
                  <a:lnTo>
                    <a:pt x="53271" y="717289"/>
                  </a:lnTo>
                  <a:lnTo>
                    <a:pt x="47732" y="722339"/>
                  </a:lnTo>
                  <a:lnTo>
                    <a:pt x="47732" y="725597"/>
                  </a:lnTo>
                  <a:lnTo>
                    <a:pt x="51968" y="727389"/>
                  </a:lnTo>
                  <a:lnTo>
                    <a:pt x="54900" y="725597"/>
                  </a:lnTo>
                  <a:lnTo>
                    <a:pt x="55389" y="729507"/>
                  </a:lnTo>
                  <a:lnTo>
                    <a:pt x="55878" y="738304"/>
                  </a:lnTo>
                  <a:lnTo>
                    <a:pt x="58321" y="741237"/>
                  </a:lnTo>
                  <a:lnTo>
                    <a:pt x="57018" y="742540"/>
                  </a:lnTo>
                  <a:lnTo>
                    <a:pt x="54574" y="739934"/>
                  </a:lnTo>
                  <a:lnTo>
                    <a:pt x="52782" y="735698"/>
                  </a:lnTo>
                  <a:lnTo>
                    <a:pt x="49850" y="734395"/>
                  </a:lnTo>
                  <a:lnTo>
                    <a:pt x="48384" y="737001"/>
                  </a:lnTo>
                  <a:lnTo>
                    <a:pt x="48710" y="739607"/>
                  </a:lnTo>
                  <a:lnTo>
                    <a:pt x="53434" y="743029"/>
                  </a:lnTo>
                  <a:lnTo>
                    <a:pt x="54412" y="745635"/>
                  </a:lnTo>
                  <a:lnTo>
                    <a:pt x="51153" y="746775"/>
                  </a:lnTo>
                  <a:lnTo>
                    <a:pt x="48873" y="748568"/>
                  </a:lnTo>
                  <a:lnTo>
                    <a:pt x="49198" y="754758"/>
                  </a:lnTo>
                  <a:lnTo>
                    <a:pt x="53434" y="758831"/>
                  </a:lnTo>
                  <a:lnTo>
                    <a:pt x="49524" y="763229"/>
                  </a:lnTo>
                  <a:lnTo>
                    <a:pt x="49198" y="766650"/>
                  </a:lnTo>
                  <a:lnTo>
                    <a:pt x="50990" y="768117"/>
                  </a:lnTo>
                  <a:lnTo>
                    <a:pt x="46592" y="772841"/>
                  </a:lnTo>
                  <a:lnTo>
                    <a:pt x="47406" y="775448"/>
                  </a:lnTo>
                  <a:lnTo>
                    <a:pt x="52945" y="778869"/>
                  </a:lnTo>
                  <a:lnTo>
                    <a:pt x="51479" y="783104"/>
                  </a:lnTo>
                  <a:lnTo>
                    <a:pt x="50502" y="789295"/>
                  </a:lnTo>
                  <a:lnTo>
                    <a:pt x="47406" y="793205"/>
                  </a:lnTo>
                  <a:lnTo>
                    <a:pt x="47406" y="796300"/>
                  </a:lnTo>
                  <a:cubicBezTo>
                    <a:pt x="47406" y="796300"/>
                    <a:pt x="49850" y="798907"/>
                    <a:pt x="49850" y="798907"/>
                  </a:cubicBezTo>
                  <a:lnTo>
                    <a:pt x="54900" y="798907"/>
                  </a:lnTo>
                  <a:cubicBezTo>
                    <a:pt x="54900" y="798907"/>
                    <a:pt x="57996" y="802164"/>
                    <a:pt x="57996" y="802164"/>
                  </a:cubicBezTo>
                  <a:lnTo>
                    <a:pt x="58484" y="806075"/>
                  </a:lnTo>
                  <a:lnTo>
                    <a:pt x="62883" y="806726"/>
                  </a:lnTo>
                  <a:lnTo>
                    <a:pt x="64838" y="809821"/>
                  </a:lnTo>
                  <a:lnTo>
                    <a:pt x="64349" y="817967"/>
                  </a:lnTo>
                  <a:lnTo>
                    <a:pt x="60602" y="823506"/>
                  </a:lnTo>
                  <a:lnTo>
                    <a:pt x="53923" y="827579"/>
                  </a:lnTo>
                  <a:lnTo>
                    <a:pt x="50990" y="827579"/>
                  </a:lnTo>
                  <a:lnTo>
                    <a:pt x="50502" y="832466"/>
                  </a:lnTo>
                  <a:lnTo>
                    <a:pt x="52457" y="838005"/>
                  </a:lnTo>
                  <a:lnTo>
                    <a:pt x="50665" y="840448"/>
                  </a:lnTo>
                  <a:lnTo>
                    <a:pt x="50665" y="843544"/>
                  </a:lnTo>
                  <a:cubicBezTo>
                    <a:pt x="50665" y="843544"/>
                    <a:pt x="52945" y="844847"/>
                    <a:pt x="52945" y="844847"/>
                  </a:cubicBezTo>
                  <a:lnTo>
                    <a:pt x="49198" y="849245"/>
                  </a:lnTo>
                  <a:lnTo>
                    <a:pt x="46429" y="857228"/>
                  </a:lnTo>
                  <a:lnTo>
                    <a:pt x="46429" y="862930"/>
                  </a:lnTo>
                  <a:cubicBezTo>
                    <a:pt x="46429" y="862930"/>
                    <a:pt x="49036" y="864233"/>
                    <a:pt x="49036" y="864233"/>
                  </a:cubicBezTo>
                  <a:lnTo>
                    <a:pt x="47732" y="867166"/>
                  </a:lnTo>
                  <a:lnTo>
                    <a:pt x="47406" y="876777"/>
                  </a:lnTo>
                  <a:lnTo>
                    <a:pt x="43985" y="878569"/>
                  </a:lnTo>
                  <a:lnTo>
                    <a:pt x="43008" y="883456"/>
                  </a:lnTo>
                  <a:lnTo>
                    <a:pt x="41216" y="880524"/>
                  </a:lnTo>
                  <a:lnTo>
                    <a:pt x="43008" y="878080"/>
                  </a:lnTo>
                  <a:lnTo>
                    <a:pt x="44474" y="869935"/>
                  </a:lnTo>
                  <a:lnTo>
                    <a:pt x="43822" y="865699"/>
                  </a:lnTo>
                  <a:lnTo>
                    <a:pt x="44800" y="863093"/>
                  </a:lnTo>
                  <a:lnTo>
                    <a:pt x="42519" y="862278"/>
                  </a:lnTo>
                  <a:lnTo>
                    <a:pt x="35840" y="864559"/>
                  </a:lnTo>
                  <a:lnTo>
                    <a:pt x="31115" y="867817"/>
                  </a:lnTo>
                  <a:lnTo>
                    <a:pt x="28346" y="867491"/>
                  </a:lnTo>
                  <a:lnTo>
                    <a:pt x="28346" y="865211"/>
                  </a:lnTo>
                  <a:cubicBezTo>
                    <a:pt x="28346" y="865211"/>
                    <a:pt x="33071" y="863582"/>
                    <a:pt x="33071" y="863582"/>
                  </a:cubicBezTo>
                  <a:lnTo>
                    <a:pt x="36003" y="861301"/>
                  </a:lnTo>
                  <a:lnTo>
                    <a:pt x="36003" y="854296"/>
                  </a:lnTo>
                  <a:lnTo>
                    <a:pt x="34211" y="852993"/>
                  </a:lnTo>
                  <a:lnTo>
                    <a:pt x="28998" y="854784"/>
                  </a:lnTo>
                  <a:lnTo>
                    <a:pt x="20038" y="855110"/>
                  </a:lnTo>
                  <a:lnTo>
                    <a:pt x="17105" y="854133"/>
                  </a:lnTo>
                  <a:lnTo>
                    <a:pt x="13684" y="855110"/>
                  </a:lnTo>
                  <a:lnTo>
                    <a:pt x="13684" y="858043"/>
                  </a:lnTo>
                  <a:cubicBezTo>
                    <a:pt x="13684" y="858043"/>
                    <a:pt x="16128" y="863418"/>
                    <a:pt x="16128" y="863418"/>
                  </a:cubicBezTo>
                  <a:lnTo>
                    <a:pt x="17920" y="863418"/>
                  </a:lnTo>
                  <a:cubicBezTo>
                    <a:pt x="17920" y="863418"/>
                    <a:pt x="19060" y="867654"/>
                    <a:pt x="19060" y="867654"/>
                  </a:cubicBezTo>
                  <a:lnTo>
                    <a:pt x="15965" y="868143"/>
                  </a:lnTo>
                  <a:lnTo>
                    <a:pt x="14336" y="872867"/>
                  </a:lnTo>
                  <a:lnTo>
                    <a:pt x="10915" y="875474"/>
                  </a:lnTo>
                  <a:lnTo>
                    <a:pt x="9123" y="879709"/>
                  </a:lnTo>
                  <a:lnTo>
                    <a:pt x="2444" y="883456"/>
                  </a:lnTo>
                  <a:lnTo>
                    <a:pt x="2118" y="887366"/>
                  </a:lnTo>
                  <a:lnTo>
                    <a:pt x="9123" y="895023"/>
                  </a:lnTo>
                  <a:lnTo>
                    <a:pt x="13033" y="895512"/>
                  </a:lnTo>
                  <a:lnTo>
                    <a:pt x="15476" y="892905"/>
                  </a:lnTo>
                  <a:lnTo>
                    <a:pt x="15150" y="889810"/>
                  </a:lnTo>
                  <a:lnTo>
                    <a:pt x="10589" y="888507"/>
                  </a:lnTo>
                  <a:lnTo>
                    <a:pt x="10100" y="885900"/>
                  </a:lnTo>
                  <a:lnTo>
                    <a:pt x="12544" y="881176"/>
                  </a:lnTo>
                  <a:lnTo>
                    <a:pt x="19060" y="880687"/>
                  </a:lnTo>
                  <a:lnTo>
                    <a:pt x="20364" y="879058"/>
                  </a:lnTo>
                  <a:lnTo>
                    <a:pt x="21504" y="884923"/>
                  </a:lnTo>
                  <a:lnTo>
                    <a:pt x="26228" y="888018"/>
                  </a:lnTo>
                  <a:lnTo>
                    <a:pt x="31930" y="888018"/>
                  </a:lnTo>
                  <a:cubicBezTo>
                    <a:pt x="31930" y="888018"/>
                    <a:pt x="34374" y="885248"/>
                    <a:pt x="34374" y="885248"/>
                  </a:cubicBezTo>
                  <a:lnTo>
                    <a:pt x="37469" y="886552"/>
                  </a:lnTo>
                  <a:lnTo>
                    <a:pt x="39261" y="889484"/>
                  </a:lnTo>
                  <a:lnTo>
                    <a:pt x="45940" y="892742"/>
                  </a:lnTo>
                  <a:lnTo>
                    <a:pt x="48547" y="895675"/>
                  </a:lnTo>
                  <a:lnTo>
                    <a:pt x="45777" y="896163"/>
                  </a:lnTo>
                  <a:lnTo>
                    <a:pt x="44474" y="898770"/>
                  </a:lnTo>
                  <a:lnTo>
                    <a:pt x="46755" y="901702"/>
                  </a:lnTo>
                  <a:lnTo>
                    <a:pt x="43822" y="903983"/>
                  </a:lnTo>
                  <a:lnTo>
                    <a:pt x="41542" y="907404"/>
                  </a:lnTo>
                  <a:lnTo>
                    <a:pt x="43497" y="910336"/>
                  </a:lnTo>
                  <a:lnTo>
                    <a:pt x="48058" y="913269"/>
                  </a:lnTo>
                  <a:lnTo>
                    <a:pt x="47244" y="914735"/>
                  </a:lnTo>
                  <a:lnTo>
                    <a:pt x="42682" y="912780"/>
                  </a:lnTo>
                  <a:lnTo>
                    <a:pt x="41053" y="910336"/>
                  </a:lnTo>
                  <a:lnTo>
                    <a:pt x="38284" y="910662"/>
                  </a:lnTo>
                  <a:lnTo>
                    <a:pt x="37958" y="914735"/>
                  </a:lnTo>
                  <a:lnTo>
                    <a:pt x="41868" y="918156"/>
                  </a:lnTo>
                  <a:lnTo>
                    <a:pt x="43497" y="921577"/>
                  </a:lnTo>
                  <a:lnTo>
                    <a:pt x="50339" y="922718"/>
                  </a:lnTo>
                  <a:lnTo>
                    <a:pt x="57181" y="919296"/>
                  </a:lnTo>
                  <a:lnTo>
                    <a:pt x="59950" y="922066"/>
                  </a:lnTo>
                  <a:lnTo>
                    <a:pt x="62557" y="922066"/>
                  </a:lnTo>
                  <a:cubicBezTo>
                    <a:pt x="62557" y="922066"/>
                    <a:pt x="66793" y="920111"/>
                    <a:pt x="66793" y="920111"/>
                  </a:cubicBezTo>
                  <a:lnTo>
                    <a:pt x="65001" y="923369"/>
                  </a:lnTo>
                  <a:lnTo>
                    <a:pt x="65978" y="925161"/>
                  </a:lnTo>
                  <a:lnTo>
                    <a:pt x="64349" y="926302"/>
                  </a:lnTo>
                  <a:lnTo>
                    <a:pt x="59788" y="926302"/>
                  </a:lnTo>
                  <a:cubicBezTo>
                    <a:pt x="59788" y="926302"/>
                    <a:pt x="58484" y="928257"/>
                    <a:pt x="58484" y="928257"/>
                  </a:cubicBezTo>
                  <a:lnTo>
                    <a:pt x="55063" y="925487"/>
                  </a:lnTo>
                  <a:lnTo>
                    <a:pt x="47244" y="927442"/>
                  </a:lnTo>
                  <a:lnTo>
                    <a:pt x="45452" y="931189"/>
                  </a:lnTo>
                  <a:lnTo>
                    <a:pt x="46429" y="933795"/>
                  </a:lnTo>
                  <a:lnTo>
                    <a:pt x="51479" y="936891"/>
                  </a:lnTo>
                  <a:lnTo>
                    <a:pt x="52457" y="941126"/>
                  </a:lnTo>
                  <a:lnTo>
                    <a:pt x="56855" y="942266"/>
                  </a:lnTo>
                  <a:lnTo>
                    <a:pt x="60602" y="940312"/>
                  </a:lnTo>
                  <a:lnTo>
                    <a:pt x="60113" y="943081"/>
                  </a:lnTo>
                  <a:lnTo>
                    <a:pt x="56204" y="946828"/>
                  </a:lnTo>
                  <a:lnTo>
                    <a:pt x="56204" y="949434"/>
                  </a:lnTo>
                  <a:cubicBezTo>
                    <a:pt x="56204" y="949434"/>
                    <a:pt x="57181" y="951715"/>
                    <a:pt x="57181" y="951715"/>
                  </a:cubicBezTo>
                  <a:lnTo>
                    <a:pt x="55715" y="954648"/>
                  </a:lnTo>
                  <a:lnTo>
                    <a:pt x="52945" y="954648"/>
                  </a:lnTo>
                  <a:cubicBezTo>
                    <a:pt x="52945" y="954648"/>
                    <a:pt x="52620" y="958069"/>
                    <a:pt x="52620" y="958069"/>
                  </a:cubicBezTo>
                  <a:lnTo>
                    <a:pt x="55552" y="970450"/>
                  </a:lnTo>
                  <a:lnTo>
                    <a:pt x="58321" y="973871"/>
                  </a:lnTo>
                  <a:lnTo>
                    <a:pt x="58321" y="979573"/>
                  </a:lnTo>
                  <a:cubicBezTo>
                    <a:pt x="58321" y="979573"/>
                    <a:pt x="61091" y="984460"/>
                    <a:pt x="61091" y="984460"/>
                  </a:cubicBezTo>
                  <a:lnTo>
                    <a:pt x="65164" y="986089"/>
                  </a:lnTo>
                  <a:lnTo>
                    <a:pt x="65164" y="977618"/>
                  </a:lnTo>
                  <a:lnTo>
                    <a:pt x="67770" y="968006"/>
                  </a:lnTo>
                  <a:lnTo>
                    <a:pt x="71191" y="965563"/>
                  </a:lnTo>
                  <a:lnTo>
                    <a:pt x="72495" y="967843"/>
                  </a:lnTo>
                  <a:lnTo>
                    <a:pt x="70051" y="967843"/>
                  </a:lnTo>
                  <a:cubicBezTo>
                    <a:pt x="70051" y="967843"/>
                    <a:pt x="67118" y="978758"/>
                    <a:pt x="67118" y="978758"/>
                  </a:cubicBezTo>
                  <a:lnTo>
                    <a:pt x="67444" y="981528"/>
                  </a:lnTo>
                  <a:lnTo>
                    <a:pt x="71354" y="984134"/>
                  </a:lnTo>
                  <a:lnTo>
                    <a:pt x="74612" y="984134"/>
                  </a:lnTo>
                  <a:cubicBezTo>
                    <a:pt x="74612" y="984134"/>
                    <a:pt x="73309" y="985275"/>
                    <a:pt x="73309" y="985275"/>
                  </a:cubicBezTo>
                  <a:lnTo>
                    <a:pt x="67444" y="986578"/>
                  </a:lnTo>
                  <a:lnTo>
                    <a:pt x="63046" y="990650"/>
                  </a:lnTo>
                  <a:lnTo>
                    <a:pt x="63697" y="993257"/>
                  </a:lnTo>
                  <a:lnTo>
                    <a:pt x="62557" y="997819"/>
                  </a:lnTo>
                  <a:lnTo>
                    <a:pt x="62557" y="1002217"/>
                  </a:lnTo>
                  <a:lnTo>
                    <a:pt x="59950" y="1004009"/>
                  </a:lnTo>
                  <a:lnTo>
                    <a:pt x="57996" y="1008408"/>
                  </a:lnTo>
                  <a:lnTo>
                    <a:pt x="58321" y="1011666"/>
                  </a:lnTo>
                  <a:lnTo>
                    <a:pt x="65326" y="1016879"/>
                  </a:lnTo>
                  <a:lnTo>
                    <a:pt x="75101" y="1018834"/>
                  </a:lnTo>
                  <a:lnTo>
                    <a:pt x="79011" y="1021766"/>
                  </a:lnTo>
                  <a:lnTo>
                    <a:pt x="78359" y="1024210"/>
                  </a:lnTo>
                  <a:lnTo>
                    <a:pt x="76079" y="1024210"/>
                  </a:lnTo>
                  <a:cubicBezTo>
                    <a:pt x="76079" y="1024210"/>
                    <a:pt x="77545" y="1029097"/>
                    <a:pt x="77545" y="1029097"/>
                  </a:cubicBezTo>
                  <a:lnTo>
                    <a:pt x="79337" y="1031704"/>
                  </a:lnTo>
                  <a:lnTo>
                    <a:pt x="83409" y="1027142"/>
                  </a:lnTo>
                  <a:lnTo>
                    <a:pt x="83409" y="1031052"/>
                  </a:lnTo>
                  <a:cubicBezTo>
                    <a:pt x="83409" y="1031052"/>
                    <a:pt x="82106" y="1034147"/>
                    <a:pt x="82106" y="1034147"/>
                  </a:cubicBezTo>
                  <a:lnTo>
                    <a:pt x="78033" y="1035614"/>
                  </a:lnTo>
                  <a:lnTo>
                    <a:pt x="75101" y="1039686"/>
                  </a:lnTo>
                  <a:lnTo>
                    <a:pt x="77707" y="1041315"/>
                  </a:lnTo>
                  <a:lnTo>
                    <a:pt x="81455" y="1041315"/>
                  </a:lnTo>
                  <a:lnTo>
                    <a:pt x="81455" y="1044411"/>
                  </a:lnTo>
                  <a:lnTo>
                    <a:pt x="85364" y="1048972"/>
                  </a:lnTo>
                  <a:lnTo>
                    <a:pt x="87808" y="1048972"/>
                  </a:lnTo>
                  <a:cubicBezTo>
                    <a:pt x="87808" y="1048972"/>
                    <a:pt x="90740" y="1045877"/>
                    <a:pt x="90740" y="1045877"/>
                  </a:cubicBezTo>
                  <a:lnTo>
                    <a:pt x="90252" y="1050764"/>
                  </a:lnTo>
                  <a:lnTo>
                    <a:pt x="91718" y="1055652"/>
                  </a:lnTo>
                  <a:lnTo>
                    <a:pt x="89274" y="1055652"/>
                  </a:lnTo>
                  <a:cubicBezTo>
                    <a:pt x="89274" y="1055652"/>
                    <a:pt x="86993" y="1053859"/>
                    <a:pt x="86993" y="1053859"/>
                  </a:cubicBezTo>
                  <a:lnTo>
                    <a:pt x="84550" y="1054185"/>
                  </a:lnTo>
                  <a:lnTo>
                    <a:pt x="83409" y="1057118"/>
                  </a:lnTo>
                  <a:lnTo>
                    <a:pt x="87971" y="1062657"/>
                  </a:lnTo>
                  <a:lnTo>
                    <a:pt x="89600" y="1063145"/>
                  </a:lnTo>
                  <a:lnTo>
                    <a:pt x="91229" y="1068521"/>
                  </a:lnTo>
                  <a:lnTo>
                    <a:pt x="93510" y="1071454"/>
                  </a:lnTo>
                  <a:lnTo>
                    <a:pt x="97908" y="1075527"/>
                  </a:lnTo>
                  <a:lnTo>
                    <a:pt x="101329" y="1075037"/>
                  </a:lnTo>
                  <a:lnTo>
                    <a:pt x="98886" y="1068195"/>
                  </a:lnTo>
                  <a:lnTo>
                    <a:pt x="100026" y="1065263"/>
                  </a:lnTo>
                  <a:lnTo>
                    <a:pt x="98723" y="1061353"/>
                  </a:lnTo>
                  <a:lnTo>
                    <a:pt x="102958" y="1064286"/>
                  </a:lnTo>
                  <a:lnTo>
                    <a:pt x="103773" y="1068358"/>
                  </a:lnTo>
                  <a:lnTo>
                    <a:pt x="106705" y="1072431"/>
                  </a:lnTo>
                  <a:lnTo>
                    <a:pt x="108497" y="1067381"/>
                  </a:lnTo>
                  <a:lnTo>
                    <a:pt x="111593" y="1064286"/>
                  </a:lnTo>
                  <a:lnTo>
                    <a:pt x="111593" y="1061027"/>
                  </a:lnTo>
                  <a:cubicBezTo>
                    <a:pt x="111593" y="1061027"/>
                    <a:pt x="108172" y="1059887"/>
                    <a:pt x="108172" y="1059887"/>
                  </a:cubicBezTo>
                  <a:lnTo>
                    <a:pt x="102144" y="1058909"/>
                  </a:lnTo>
                  <a:lnTo>
                    <a:pt x="102144" y="1056955"/>
                  </a:lnTo>
                  <a:lnTo>
                    <a:pt x="106054" y="1056955"/>
                  </a:lnTo>
                  <a:lnTo>
                    <a:pt x="114199" y="1059398"/>
                  </a:lnTo>
                  <a:lnTo>
                    <a:pt x="115503" y="1061190"/>
                  </a:lnTo>
                  <a:lnTo>
                    <a:pt x="120715" y="1061190"/>
                  </a:lnTo>
                  <a:cubicBezTo>
                    <a:pt x="120715" y="1061190"/>
                    <a:pt x="119412" y="1057118"/>
                    <a:pt x="119412" y="1057118"/>
                  </a:cubicBezTo>
                  <a:lnTo>
                    <a:pt x="114362" y="1054511"/>
                  </a:lnTo>
                  <a:lnTo>
                    <a:pt x="105402" y="1054022"/>
                  </a:lnTo>
                  <a:lnTo>
                    <a:pt x="105076" y="1051905"/>
                  </a:lnTo>
                  <a:lnTo>
                    <a:pt x="107846" y="1050764"/>
                  </a:lnTo>
                  <a:lnTo>
                    <a:pt x="115828" y="1053696"/>
                  </a:lnTo>
                  <a:lnTo>
                    <a:pt x="123974" y="1058258"/>
                  </a:lnTo>
                  <a:lnTo>
                    <a:pt x="125277" y="1064286"/>
                  </a:lnTo>
                  <a:lnTo>
                    <a:pt x="122019" y="1068032"/>
                  </a:lnTo>
                  <a:lnTo>
                    <a:pt x="122019" y="1071943"/>
                  </a:lnTo>
                  <a:cubicBezTo>
                    <a:pt x="122019" y="1071943"/>
                    <a:pt x="125114" y="1078784"/>
                    <a:pt x="125114" y="1078784"/>
                  </a:cubicBezTo>
                  <a:lnTo>
                    <a:pt x="124788" y="1082532"/>
                  </a:lnTo>
                  <a:lnTo>
                    <a:pt x="121041" y="1085301"/>
                  </a:lnTo>
                  <a:lnTo>
                    <a:pt x="122833" y="1079436"/>
                  </a:lnTo>
                  <a:lnTo>
                    <a:pt x="119412" y="1071128"/>
                  </a:lnTo>
                  <a:lnTo>
                    <a:pt x="115991" y="1068195"/>
                  </a:lnTo>
                  <a:lnTo>
                    <a:pt x="114036" y="1071291"/>
                  </a:lnTo>
                  <a:lnTo>
                    <a:pt x="113711" y="1075363"/>
                  </a:lnTo>
                  <a:lnTo>
                    <a:pt x="115991" y="1078459"/>
                  </a:lnTo>
                  <a:lnTo>
                    <a:pt x="114036" y="1082368"/>
                  </a:lnTo>
                  <a:lnTo>
                    <a:pt x="112407" y="1080414"/>
                  </a:lnTo>
                  <a:lnTo>
                    <a:pt x="111267" y="1076178"/>
                  </a:lnTo>
                  <a:lnTo>
                    <a:pt x="108497" y="1076178"/>
                  </a:lnTo>
                  <a:lnTo>
                    <a:pt x="104588" y="1078947"/>
                  </a:lnTo>
                  <a:lnTo>
                    <a:pt x="98886" y="1078947"/>
                  </a:lnTo>
                  <a:lnTo>
                    <a:pt x="94161" y="1080739"/>
                  </a:lnTo>
                  <a:lnTo>
                    <a:pt x="98560" y="1083998"/>
                  </a:lnTo>
                  <a:lnTo>
                    <a:pt x="98886" y="1090025"/>
                  </a:lnTo>
                  <a:lnTo>
                    <a:pt x="101004" y="1093935"/>
                  </a:lnTo>
                  <a:lnTo>
                    <a:pt x="101818" y="1097030"/>
                  </a:lnTo>
                  <a:lnTo>
                    <a:pt x="100189" y="1099637"/>
                  </a:lnTo>
                  <a:lnTo>
                    <a:pt x="101004" y="1101266"/>
                  </a:lnTo>
                  <a:lnTo>
                    <a:pt x="104425" y="1101918"/>
                  </a:lnTo>
                  <a:lnTo>
                    <a:pt x="106380" y="1098008"/>
                  </a:lnTo>
                  <a:lnTo>
                    <a:pt x="108660" y="1099474"/>
                  </a:lnTo>
                  <a:lnTo>
                    <a:pt x="112570" y="1100777"/>
                  </a:lnTo>
                  <a:lnTo>
                    <a:pt x="112570" y="1102243"/>
                  </a:lnTo>
                  <a:lnTo>
                    <a:pt x="108986" y="1103546"/>
                  </a:lnTo>
                  <a:lnTo>
                    <a:pt x="105402" y="1106642"/>
                  </a:lnTo>
                  <a:lnTo>
                    <a:pt x="106380" y="1109411"/>
                  </a:lnTo>
                  <a:lnTo>
                    <a:pt x="112407" y="1109900"/>
                  </a:lnTo>
                  <a:lnTo>
                    <a:pt x="119412" y="1113810"/>
                  </a:lnTo>
                  <a:lnTo>
                    <a:pt x="121856" y="1112832"/>
                  </a:lnTo>
                  <a:lnTo>
                    <a:pt x="123974" y="1109737"/>
                  </a:lnTo>
                  <a:lnTo>
                    <a:pt x="122019" y="1104524"/>
                  </a:lnTo>
                  <a:lnTo>
                    <a:pt x="123322" y="1100614"/>
                  </a:lnTo>
                  <a:lnTo>
                    <a:pt x="121856" y="1096705"/>
                  </a:lnTo>
                  <a:lnTo>
                    <a:pt x="119901" y="1097845"/>
                  </a:lnTo>
                  <a:lnTo>
                    <a:pt x="116154" y="1097356"/>
                  </a:lnTo>
                  <a:lnTo>
                    <a:pt x="117457" y="1095890"/>
                  </a:lnTo>
                  <a:lnTo>
                    <a:pt x="120390" y="1093935"/>
                  </a:lnTo>
                  <a:lnTo>
                    <a:pt x="120390" y="1091003"/>
                  </a:lnTo>
                  <a:cubicBezTo>
                    <a:pt x="120390" y="1091003"/>
                    <a:pt x="122508" y="1089862"/>
                    <a:pt x="122508" y="1089862"/>
                  </a:cubicBezTo>
                  <a:lnTo>
                    <a:pt x="128209" y="1091817"/>
                  </a:lnTo>
                  <a:lnTo>
                    <a:pt x="130653" y="1090188"/>
                  </a:lnTo>
                  <a:lnTo>
                    <a:pt x="131630" y="1092957"/>
                  </a:lnTo>
                  <a:lnTo>
                    <a:pt x="134237" y="1094098"/>
                  </a:lnTo>
                  <a:lnTo>
                    <a:pt x="135377" y="1091654"/>
                  </a:lnTo>
                  <a:lnTo>
                    <a:pt x="140428" y="1090514"/>
                  </a:lnTo>
                  <a:lnTo>
                    <a:pt x="144826" y="1091980"/>
                  </a:lnTo>
                  <a:lnTo>
                    <a:pt x="149876" y="1091491"/>
                  </a:lnTo>
                  <a:lnTo>
                    <a:pt x="154275" y="1091817"/>
                  </a:lnTo>
                  <a:lnTo>
                    <a:pt x="154764" y="1093609"/>
                  </a:lnTo>
                  <a:lnTo>
                    <a:pt x="151994" y="1094912"/>
                  </a:lnTo>
                  <a:lnTo>
                    <a:pt x="149713" y="1098171"/>
                  </a:lnTo>
                  <a:lnTo>
                    <a:pt x="146781" y="1097519"/>
                  </a:lnTo>
                  <a:lnTo>
                    <a:pt x="143686" y="1095075"/>
                  </a:lnTo>
                  <a:lnTo>
                    <a:pt x="140428" y="1096053"/>
                  </a:lnTo>
                  <a:lnTo>
                    <a:pt x="132445" y="1103058"/>
                  </a:lnTo>
                  <a:lnTo>
                    <a:pt x="130653" y="1103384"/>
                  </a:lnTo>
                  <a:lnTo>
                    <a:pt x="128372" y="1102895"/>
                  </a:lnTo>
                  <a:lnTo>
                    <a:pt x="125277" y="1106153"/>
                  </a:lnTo>
                  <a:lnTo>
                    <a:pt x="126092" y="1109248"/>
                  </a:lnTo>
                  <a:lnTo>
                    <a:pt x="124463" y="1112507"/>
                  </a:lnTo>
                  <a:lnTo>
                    <a:pt x="123159" y="1114462"/>
                  </a:lnTo>
                  <a:lnTo>
                    <a:pt x="123159" y="1116416"/>
                  </a:lnTo>
                  <a:cubicBezTo>
                    <a:pt x="123159" y="1116416"/>
                    <a:pt x="125440" y="1117720"/>
                    <a:pt x="125440" y="1117720"/>
                  </a:cubicBezTo>
                  <a:lnTo>
                    <a:pt x="123648" y="1120000"/>
                  </a:lnTo>
                  <a:lnTo>
                    <a:pt x="123648" y="1121955"/>
                  </a:lnTo>
                  <a:lnTo>
                    <a:pt x="131142" y="1124399"/>
                  </a:lnTo>
                  <a:lnTo>
                    <a:pt x="136518" y="1129123"/>
                  </a:lnTo>
                  <a:lnTo>
                    <a:pt x="138147" y="1129123"/>
                  </a:lnTo>
                  <a:cubicBezTo>
                    <a:pt x="138147" y="1129123"/>
                    <a:pt x="139124" y="1126843"/>
                    <a:pt x="139124" y="1126843"/>
                  </a:cubicBezTo>
                  <a:lnTo>
                    <a:pt x="137984" y="1122933"/>
                  </a:lnTo>
                  <a:lnTo>
                    <a:pt x="140916" y="1119349"/>
                  </a:lnTo>
                  <a:lnTo>
                    <a:pt x="144174" y="1118534"/>
                  </a:lnTo>
                  <a:lnTo>
                    <a:pt x="144663" y="1116579"/>
                  </a:lnTo>
                  <a:lnTo>
                    <a:pt x="140754" y="1112181"/>
                  </a:lnTo>
                  <a:lnTo>
                    <a:pt x="147433" y="1110878"/>
                  </a:lnTo>
                  <a:lnTo>
                    <a:pt x="151505" y="1107130"/>
                  </a:lnTo>
                  <a:lnTo>
                    <a:pt x="155904" y="1100777"/>
                  </a:lnTo>
                  <a:lnTo>
                    <a:pt x="158999" y="1098822"/>
                  </a:lnTo>
                  <a:lnTo>
                    <a:pt x="159814" y="1100125"/>
                  </a:lnTo>
                  <a:lnTo>
                    <a:pt x="163398" y="1102080"/>
                  </a:lnTo>
                  <a:lnTo>
                    <a:pt x="166330" y="1102080"/>
                  </a:lnTo>
                  <a:cubicBezTo>
                    <a:pt x="166330" y="1102080"/>
                    <a:pt x="166982" y="1103221"/>
                    <a:pt x="166982" y="1103221"/>
                  </a:cubicBezTo>
                  <a:lnTo>
                    <a:pt x="163561" y="1104687"/>
                  </a:lnTo>
                  <a:lnTo>
                    <a:pt x="161117" y="1108923"/>
                  </a:lnTo>
                  <a:lnTo>
                    <a:pt x="160303" y="1112018"/>
                  </a:lnTo>
                  <a:lnTo>
                    <a:pt x="155904" y="1116416"/>
                  </a:lnTo>
                  <a:lnTo>
                    <a:pt x="155904" y="1121630"/>
                  </a:lnTo>
                  <a:lnTo>
                    <a:pt x="157370" y="1125051"/>
                  </a:lnTo>
                  <a:lnTo>
                    <a:pt x="154764" y="1127983"/>
                  </a:lnTo>
                  <a:lnTo>
                    <a:pt x="150691" y="1129775"/>
                  </a:lnTo>
                  <a:lnTo>
                    <a:pt x="150691" y="1127657"/>
                  </a:lnTo>
                  <a:cubicBezTo>
                    <a:pt x="150691" y="1127657"/>
                    <a:pt x="152972" y="1126028"/>
                    <a:pt x="152972" y="1126028"/>
                  </a:cubicBezTo>
                  <a:lnTo>
                    <a:pt x="152972" y="1119675"/>
                  </a:lnTo>
                  <a:cubicBezTo>
                    <a:pt x="152972" y="1119675"/>
                    <a:pt x="151342" y="1118697"/>
                    <a:pt x="151342" y="1118697"/>
                  </a:cubicBezTo>
                  <a:lnTo>
                    <a:pt x="148899" y="1120489"/>
                  </a:lnTo>
                  <a:lnTo>
                    <a:pt x="148084" y="1123748"/>
                  </a:lnTo>
                  <a:lnTo>
                    <a:pt x="146292" y="1123096"/>
                  </a:lnTo>
                  <a:lnTo>
                    <a:pt x="143360" y="1123421"/>
                  </a:lnTo>
                  <a:lnTo>
                    <a:pt x="141405" y="1125865"/>
                  </a:lnTo>
                  <a:lnTo>
                    <a:pt x="144012" y="1130101"/>
                  </a:lnTo>
                  <a:lnTo>
                    <a:pt x="152157" y="1138084"/>
                  </a:lnTo>
                  <a:lnTo>
                    <a:pt x="159488" y="1139224"/>
                  </a:lnTo>
                  <a:lnTo>
                    <a:pt x="164212" y="1141830"/>
                  </a:lnTo>
                  <a:lnTo>
                    <a:pt x="167308" y="1141830"/>
                  </a:lnTo>
                  <a:cubicBezTo>
                    <a:pt x="167308" y="1141830"/>
                    <a:pt x="170566" y="1143459"/>
                    <a:pt x="170566" y="1143459"/>
                  </a:cubicBezTo>
                  <a:lnTo>
                    <a:pt x="172846" y="1141016"/>
                  </a:lnTo>
                  <a:lnTo>
                    <a:pt x="175942" y="1135314"/>
                  </a:lnTo>
                  <a:lnTo>
                    <a:pt x="173335" y="1127494"/>
                  </a:lnTo>
                  <a:lnTo>
                    <a:pt x="174150" y="1123748"/>
                  </a:lnTo>
                  <a:lnTo>
                    <a:pt x="173824" y="1120489"/>
                  </a:lnTo>
                  <a:lnTo>
                    <a:pt x="174638" y="1113810"/>
                  </a:lnTo>
                  <a:lnTo>
                    <a:pt x="175127" y="1106153"/>
                  </a:lnTo>
                  <a:lnTo>
                    <a:pt x="173824" y="1100940"/>
                  </a:lnTo>
                  <a:lnTo>
                    <a:pt x="174638" y="1097519"/>
                  </a:lnTo>
                  <a:lnTo>
                    <a:pt x="180829" y="1093772"/>
                  </a:lnTo>
                  <a:lnTo>
                    <a:pt x="186694" y="1086767"/>
                  </a:lnTo>
                  <a:lnTo>
                    <a:pt x="190115" y="1085301"/>
                  </a:lnTo>
                  <a:lnTo>
                    <a:pt x="195328" y="1085301"/>
                  </a:lnTo>
                  <a:lnTo>
                    <a:pt x="197283" y="1083346"/>
                  </a:lnTo>
                  <a:lnTo>
                    <a:pt x="196794" y="1076830"/>
                  </a:lnTo>
                  <a:lnTo>
                    <a:pt x="199727" y="1074060"/>
                  </a:lnTo>
                  <a:lnTo>
                    <a:pt x="205428" y="1072594"/>
                  </a:lnTo>
                  <a:lnTo>
                    <a:pt x="212108" y="1076504"/>
                  </a:lnTo>
                  <a:lnTo>
                    <a:pt x="215203" y="1074712"/>
                  </a:lnTo>
                  <a:lnTo>
                    <a:pt x="216017" y="1075037"/>
                  </a:lnTo>
                  <a:lnTo>
                    <a:pt x="216017" y="1075037"/>
                  </a:lnTo>
                  <a:close/>
                  <a:moveTo>
                    <a:pt x="266194" y="1213184"/>
                  </a:moveTo>
                  <a:lnTo>
                    <a:pt x="268474" y="1214814"/>
                  </a:lnTo>
                  <a:lnTo>
                    <a:pt x="272058" y="1211230"/>
                  </a:lnTo>
                  <a:lnTo>
                    <a:pt x="269614" y="1211230"/>
                  </a:lnTo>
                  <a:cubicBezTo>
                    <a:pt x="269614" y="1211230"/>
                    <a:pt x="266519" y="1213510"/>
                    <a:pt x="266356" y="1213184"/>
                  </a:cubicBezTo>
                  <a:lnTo>
                    <a:pt x="266356" y="1213184"/>
                  </a:lnTo>
                  <a:close/>
                  <a:moveTo>
                    <a:pt x="34863" y="749219"/>
                  </a:moveTo>
                  <a:lnTo>
                    <a:pt x="29812" y="746450"/>
                  </a:lnTo>
                  <a:lnTo>
                    <a:pt x="26880" y="746450"/>
                  </a:lnTo>
                  <a:cubicBezTo>
                    <a:pt x="26880" y="746450"/>
                    <a:pt x="27206" y="749545"/>
                    <a:pt x="27206" y="749545"/>
                  </a:cubicBezTo>
                  <a:lnTo>
                    <a:pt x="32907" y="755247"/>
                  </a:lnTo>
                  <a:lnTo>
                    <a:pt x="30627" y="757528"/>
                  </a:lnTo>
                  <a:lnTo>
                    <a:pt x="36166" y="762741"/>
                  </a:lnTo>
                  <a:lnTo>
                    <a:pt x="35188" y="763718"/>
                  </a:lnTo>
                  <a:lnTo>
                    <a:pt x="30138" y="762089"/>
                  </a:lnTo>
                  <a:lnTo>
                    <a:pt x="28020" y="765836"/>
                  </a:lnTo>
                  <a:lnTo>
                    <a:pt x="28509" y="771049"/>
                  </a:lnTo>
                  <a:lnTo>
                    <a:pt x="28509" y="773330"/>
                  </a:lnTo>
                  <a:cubicBezTo>
                    <a:pt x="28509" y="773330"/>
                    <a:pt x="19875" y="774145"/>
                    <a:pt x="19875" y="774145"/>
                  </a:cubicBezTo>
                  <a:lnTo>
                    <a:pt x="14010" y="771701"/>
                  </a:lnTo>
                  <a:lnTo>
                    <a:pt x="16617" y="765999"/>
                  </a:lnTo>
                  <a:lnTo>
                    <a:pt x="15639" y="750360"/>
                  </a:lnTo>
                  <a:lnTo>
                    <a:pt x="13521" y="744006"/>
                  </a:lnTo>
                  <a:lnTo>
                    <a:pt x="12055" y="742703"/>
                  </a:lnTo>
                  <a:lnTo>
                    <a:pt x="10752" y="739607"/>
                  </a:lnTo>
                  <a:lnTo>
                    <a:pt x="11892" y="735698"/>
                  </a:lnTo>
                  <a:lnTo>
                    <a:pt x="14825" y="733417"/>
                  </a:lnTo>
                  <a:lnTo>
                    <a:pt x="15150" y="729507"/>
                  </a:lnTo>
                  <a:lnTo>
                    <a:pt x="13358" y="727064"/>
                  </a:lnTo>
                  <a:lnTo>
                    <a:pt x="13358" y="724294"/>
                  </a:lnTo>
                  <a:cubicBezTo>
                    <a:pt x="13358" y="724294"/>
                    <a:pt x="17105" y="720873"/>
                    <a:pt x="17105" y="720873"/>
                  </a:cubicBezTo>
                  <a:lnTo>
                    <a:pt x="22807" y="720873"/>
                  </a:lnTo>
                  <a:cubicBezTo>
                    <a:pt x="22807" y="720873"/>
                    <a:pt x="27531" y="723154"/>
                    <a:pt x="27531" y="723154"/>
                  </a:cubicBezTo>
                  <a:lnTo>
                    <a:pt x="31930" y="729507"/>
                  </a:lnTo>
                  <a:lnTo>
                    <a:pt x="31604" y="736350"/>
                  </a:lnTo>
                  <a:lnTo>
                    <a:pt x="32745" y="738304"/>
                  </a:lnTo>
                  <a:lnTo>
                    <a:pt x="32745" y="743355"/>
                  </a:lnTo>
                  <a:cubicBezTo>
                    <a:pt x="32745" y="743355"/>
                    <a:pt x="27043" y="741725"/>
                    <a:pt x="27043" y="741725"/>
                  </a:cubicBezTo>
                  <a:lnTo>
                    <a:pt x="33071" y="746124"/>
                  </a:lnTo>
                  <a:lnTo>
                    <a:pt x="34863" y="748568"/>
                  </a:lnTo>
                  <a:lnTo>
                    <a:pt x="34863" y="749708"/>
                  </a:lnTo>
                  <a:lnTo>
                    <a:pt x="34699" y="749708"/>
                  </a:lnTo>
                  <a:close/>
                  <a:moveTo>
                    <a:pt x="38121" y="736675"/>
                  </a:moveTo>
                  <a:lnTo>
                    <a:pt x="41868" y="735046"/>
                  </a:lnTo>
                  <a:lnTo>
                    <a:pt x="44474" y="737653"/>
                  </a:lnTo>
                  <a:lnTo>
                    <a:pt x="42682" y="740422"/>
                  </a:lnTo>
                  <a:lnTo>
                    <a:pt x="38284" y="736675"/>
                  </a:lnTo>
                  <a:lnTo>
                    <a:pt x="38284" y="736675"/>
                  </a:lnTo>
                  <a:close/>
                  <a:moveTo>
                    <a:pt x="8308" y="784734"/>
                  </a:moveTo>
                  <a:lnTo>
                    <a:pt x="10263" y="782453"/>
                  </a:lnTo>
                  <a:lnTo>
                    <a:pt x="14173" y="782453"/>
                  </a:lnTo>
                  <a:lnTo>
                    <a:pt x="17431" y="784896"/>
                  </a:lnTo>
                  <a:lnTo>
                    <a:pt x="11078" y="787340"/>
                  </a:lnTo>
                  <a:lnTo>
                    <a:pt x="8471" y="784734"/>
                  </a:lnTo>
                  <a:lnTo>
                    <a:pt x="8471" y="784734"/>
                  </a:lnTo>
                  <a:close/>
                  <a:moveTo>
                    <a:pt x="43660" y="790109"/>
                  </a:moveTo>
                  <a:lnTo>
                    <a:pt x="48221" y="787014"/>
                  </a:lnTo>
                  <a:lnTo>
                    <a:pt x="48221" y="790436"/>
                  </a:lnTo>
                  <a:lnTo>
                    <a:pt x="45289" y="793205"/>
                  </a:lnTo>
                  <a:lnTo>
                    <a:pt x="43660" y="790109"/>
                  </a:lnTo>
                  <a:lnTo>
                    <a:pt x="43660" y="790109"/>
                  </a:lnTo>
                  <a:close/>
                  <a:moveTo>
                    <a:pt x="36003" y="789458"/>
                  </a:moveTo>
                  <a:lnTo>
                    <a:pt x="39750" y="790598"/>
                  </a:lnTo>
                  <a:lnTo>
                    <a:pt x="40401" y="795648"/>
                  </a:lnTo>
                  <a:lnTo>
                    <a:pt x="37143" y="797440"/>
                  </a:lnTo>
                  <a:lnTo>
                    <a:pt x="36817" y="794345"/>
                  </a:lnTo>
                  <a:lnTo>
                    <a:pt x="33559" y="791575"/>
                  </a:lnTo>
                  <a:lnTo>
                    <a:pt x="36166" y="789295"/>
                  </a:lnTo>
                  <a:lnTo>
                    <a:pt x="36166" y="789295"/>
                  </a:lnTo>
                  <a:close/>
                  <a:moveTo>
                    <a:pt x="24273" y="788318"/>
                  </a:moveTo>
                  <a:lnTo>
                    <a:pt x="25414" y="786363"/>
                  </a:lnTo>
                  <a:lnTo>
                    <a:pt x="32093" y="787991"/>
                  </a:lnTo>
                  <a:lnTo>
                    <a:pt x="27043" y="791250"/>
                  </a:lnTo>
                  <a:lnTo>
                    <a:pt x="24110" y="788480"/>
                  </a:lnTo>
                  <a:lnTo>
                    <a:pt x="24110" y="788480"/>
                  </a:lnTo>
                  <a:close/>
                  <a:moveTo>
                    <a:pt x="26228" y="797766"/>
                  </a:moveTo>
                  <a:lnTo>
                    <a:pt x="27206" y="796463"/>
                  </a:lnTo>
                  <a:lnTo>
                    <a:pt x="29487" y="798092"/>
                  </a:lnTo>
                  <a:lnTo>
                    <a:pt x="28509" y="800698"/>
                  </a:lnTo>
                  <a:lnTo>
                    <a:pt x="26228" y="797766"/>
                  </a:lnTo>
                  <a:lnTo>
                    <a:pt x="26228" y="797766"/>
                  </a:lnTo>
                  <a:close/>
                  <a:moveTo>
                    <a:pt x="19549" y="804120"/>
                  </a:moveTo>
                  <a:lnTo>
                    <a:pt x="21341" y="800698"/>
                  </a:lnTo>
                  <a:lnTo>
                    <a:pt x="25088" y="800698"/>
                  </a:lnTo>
                  <a:cubicBezTo>
                    <a:pt x="25088" y="800698"/>
                    <a:pt x="27695" y="803631"/>
                    <a:pt x="27695" y="803631"/>
                  </a:cubicBezTo>
                  <a:lnTo>
                    <a:pt x="27206" y="805749"/>
                  </a:lnTo>
                  <a:lnTo>
                    <a:pt x="23296" y="807378"/>
                  </a:lnTo>
                  <a:lnTo>
                    <a:pt x="20526" y="806726"/>
                  </a:lnTo>
                  <a:lnTo>
                    <a:pt x="19712" y="804282"/>
                  </a:lnTo>
                  <a:lnTo>
                    <a:pt x="19712" y="804282"/>
                  </a:lnTo>
                  <a:close/>
                  <a:moveTo>
                    <a:pt x="15476" y="812591"/>
                  </a:moveTo>
                  <a:lnTo>
                    <a:pt x="18083" y="815361"/>
                  </a:lnTo>
                  <a:lnTo>
                    <a:pt x="14825" y="817804"/>
                  </a:lnTo>
                  <a:lnTo>
                    <a:pt x="12870" y="815849"/>
                  </a:lnTo>
                  <a:lnTo>
                    <a:pt x="15313" y="812754"/>
                  </a:lnTo>
                  <a:lnTo>
                    <a:pt x="15313" y="812754"/>
                  </a:lnTo>
                  <a:close/>
                  <a:moveTo>
                    <a:pt x="39913" y="811125"/>
                  </a:moveTo>
                  <a:lnTo>
                    <a:pt x="41379" y="816827"/>
                  </a:lnTo>
                  <a:lnTo>
                    <a:pt x="37632" y="816501"/>
                  </a:lnTo>
                  <a:lnTo>
                    <a:pt x="39913" y="811125"/>
                  </a:lnTo>
                  <a:lnTo>
                    <a:pt x="39913" y="811125"/>
                  </a:lnTo>
                  <a:close/>
                  <a:moveTo>
                    <a:pt x="30953" y="809170"/>
                  </a:moveTo>
                  <a:lnTo>
                    <a:pt x="36003" y="807378"/>
                  </a:lnTo>
                  <a:lnTo>
                    <a:pt x="36003" y="814057"/>
                  </a:lnTo>
                  <a:lnTo>
                    <a:pt x="30953" y="809333"/>
                  </a:lnTo>
                  <a:lnTo>
                    <a:pt x="30953" y="809333"/>
                  </a:lnTo>
                  <a:close/>
                  <a:moveTo>
                    <a:pt x="20364" y="849082"/>
                  </a:moveTo>
                  <a:lnTo>
                    <a:pt x="22644" y="849082"/>
                  </a:lnTo>
                  <a:cubicBezTo>
                    <a:pt x="22644" y="849082"/>
                    <a:pt x="23459" y="853318"/>
                    <a:pt x="23459" y="853318"/>
                  </a:cubicBezTo>
                  <a:lnTo>
                    <a:pt x="20689" y="853318"/>
                  </a:lnTo>
                  <a:cubicBezTo>
                    <a:pt x="20689" y="853318"/>
                    <a:pt x="20526" y="849082"/>
                    <a:pt x="20526" y="849082"/>
                  </a:cubicBezTo>
                  <a:lnTo>
                    <a:pt x="20526" y="849082"/>
                  </a:lnTo>
                  <a:close/>
                  <a:moveTo>
                    <a:pt x="20689" y="815849"/>
                  </a:moveTo>
                  <a:lnTo>
                    <a:pt x="21015" y="811777"/>
                  </a:lnTo>
                  <a:lnTo>
                    <a:pt x="19875" y="808681"/>
                  </a:lnTo>
                  <a:lnTo>
                    <a:pt x="25088" y="808681"/>
                  </a:lnTo>
                  <a:cubicBezTo>
                    <a:pt x="25088" y="808681"/>
                    <a:pt x="27695" y="813894"/>
                    <a:pt x="27695" y="813894"/>
                  </a:cubicBezTo>
                  <a:lnTo>
                    <a:pt x="23785" y="814709"/>
                  </a:lnTo>
                  <a:lnTo>
                    <a:pt x="20689" y="816012"/>
                  </a:lnTo>
                  <a:lnTo>
                    <a:pt x="20689" y="816012"/>
                  </a:lnTo>
                  <a:close/>
                  <a:moveTo>
                    <a:pt x="10263" y="824320"/>
                  </a:moveTo>
                  <a:lnTo>
                    <a:pt x="3747" y="821551"/>
                  </a:lnTo>
                  <a:lnTo>
                    <a:pt x="4236" y="818293"/>
                  </a:lnTo>
                  <a:lnTo>
                    <a:pt x="8960" y="818293"/>
                  </a:lnTo>
                  <a:lnTo>
                    <a:pt x="11729" y="821225"/>
                  </a:lnTo>
                  <a:lnTo>
                    <a:pt x="10100" y="824320"/>
                  </a:lnTo>
                  <a:lnTo>
                    <a:pt x="10100" y="824320"/>
                  </a:lnTo>
                  <a:close/>
                  <a:moveTo>
                    <a:pt x="28509" y="841263"/>
                  </a:moveTo>
                  <a:lnTo>
                    <a:pt x="32745" y="840937"/>
                  </a:lnTo>
                  <a:lnTo>
                    <a:pt x="32745" y="845661"/>
                  </a:lnTo>
                  <a:cubicBezTo>
                    <a:pt x="32745" y="845661"/>
                    <a:pt x="28509" y="841263"/>
                    <a:pt x="28509" y="841263"/>
                  </a:cubicBezTo>
                  <a:lnTo>
                    <a:pt x="28509" y="841263"/>
                  </a:lnTo>
                  <a:close/>
                  <a:moveTo>
                    <a:pt x="35025" y="847291"/>
                  </a:moveTo>
                  <a:lnTo>
                    <a:pt x="40238" y="847291"/>
                  </a:lnTo>
                  <a:cubicBezTo>
                    <a:pt x="40238" y="847291"/>
                    <a:pt x="37469" y="850386"/>
                    <a:pt x="37469" y="850386"/>
                  </a:cubicBezTo>
                  <a:lnTo>
                    <a:pt x="35025" y="847291"/>
                  </a:lnTo>
                  <a:lnTo>
                    <a:pt x="35025" y="847291"/>
                  </a:lnTo>
                  <a:close/>
                  <a:moveTo>
                    <a:pt x="44311" y="802654"/>
                  </a:moveTo>
                  <a:lnTo>
                    <a:pt x="46266" y="801350"/>
                  </a:lnTo>
                  <a:lnTo>
                    <a:pt x="50665" y="804771"/>
                  </a:lnTo>
                  <a:lnTo>
                    <a:pt x="45452" y="805097"/>
                  </a:lnTo>
                  <a:lnTo>
                    <a:pt x="44148" y="802491"/>
                  </a:lnTo>
                  <a:lnTo>
                    <a:pt x="44148" y="802491"/>
                  </a:lnTo>
                  <a:close/>
                  <a:moveTo>
                    <a:pt x="52620" y="806726"/>
                  </a:moveTo>
                  <a:lnTo>
                    <a:pt x="57344" y="807704"/>
                  </a:lnTo>
                  <a:lnTo>
                    <a:pt x="58484" y="811450"/>
                  </a:lnTo>
                  <a:lnTo>
                    <a:pt x="62557" y="815849"/>
                  </a:lnTo>
                  <a:lnTo>
                    <a:pt x="59788" y="819922"/>
                  </a:lnTo>
                  <a:lnTo>
                    <a:pt x="58321" y="823343"/>
                  </a:lnTo>
                  <a:lnTo>
                    <a:pt x="55063" y="823995"/>
                  </a:lnTo>
                  <a:lnTo>
                    <a:pt x="52620" y="822691"/>
                  </a:lnTo>
                  <a:lnTo>
                    <a:pt x="50013" y="822202"/>
                  </a:lnTo>
                  <a:lnTo>
                    <a:pt x="46266" y="826112"/>
                  </a:lnTo>
                  <a:lnTo>
                    <a:pt x="45940" y="820411"/>
                  </a:lnTo>
                  <a:lnTo>
                    <a:pt x="44963" y="816338"/>
                  </a:lnTo>
                  <a:lnTo>
                    <a:pt x="47406" y="808844"/>
                  </a:lnTo>
                  <a:lnTo>
                    <a:pt x="52620" y="806889"/>
                  </a:lnTo>
                  <a:lnTo>
                    <a:pt x="52620" y="806889"/>
                  </a:lnTo>
                  <a:close/>
                  <a:moveTo>
                    <a:pt x="23947" y="821877"/>
                  </a:moveTo>
                  <a:lnTo>
                    <a:pt x="25251" y="817804"/>
                  </a:lnTo>
                  <a:lnTo>
                    <a:pt x="36003" y="817804"/>
                  </a:lnTo>
                  <a:cubicBezTo>
                    <a:pt x="36003" y="817804"/>
                    <a:pt x="33559" y="820573"/>
                    <a:pt x="33559" y="820573"/>
                  </a:cubicBezTo>
                  <a:lnTo>
                    <a:pt x="27043" y="821877"/>
                  </a:lnTo>
                  <a:lnTo>
                    <a:pt x="26065" y="823832"/>
                  </a:lnTo>
                  <a:cubicBezTo>
                    <a:pt x="26065" y="823832"/>
                    <a:pt x="23785" y="822039"/>
                    <a:pt x="23785" y="821877"/>
                  </a:cubicBezTo>
                  <a:lnTo>
                    <a:pt x="23785" y="821877"/>
                  </a:lnTo>
                  <a:close/>
                  <a:moveTo>
                    <a:pt x="29975" y="831652"/>
                  </a:moveTo>
                  <a:lnTo>
                    <a:pt x="27531" y="829371"/>
                  </a:lnTo>
                  <a:lnTo>
                    <a:pt x="33233" y="827579"/>
                  </a:lnTo>
                  <a:lnTo>
                    <a:pt x="36980" y="827253"/>
                  </a:lnTo>
                  <a:lnTo>
                    <a:pt x="36655" y="831488"/>
                  </a:lnTo>
                  <a:lnTo>
                    <a:pt x="29975" y="831488"/>
                  </a:lnTo>
                  <a:close/>
                  <a:moveTo>
                    <a:pt x="31930" y="835236"/>
                  </a:moveTo>
                  <a:lnTo>
                    <a:pt x="36329" y="832629"/>
                  </a:lnTo>
                  <a:lnTo>
                    <a:pt x="41868" y="832629"/>
                  </a:lnTo>
                  <a:lnTo>
                    <a:pt x="42356" y="840774"/>
                  </a:lnTo>
                  <a:lnTo>
                    <a:pt x="39587" y="844684"/>
                  </a:lnTo>
                  <a:lnTo>
                    <a:pt x="36329" y="843055"/>
                  </a:lnTo>
                  <a:lnTo>
                    <a:pt x="34699" y="837516"/>
                  </a:lnTo>
                  <a:lnTo>
                    <a:pt x="31930" y="835236"/>
                  </a:lnTo>
                  <a:lnTo>
                    <a:pt x="31930" y="835236"/>
                  </a:lnTo>
                  <a:close/>
                  <a:moveTo>
                    <a:pt x="24762" y="848920"/>
                  </a:moveTo>
                  <a:lnTo>
                    <a:pt x="26717" y="845987"/>
                  </a:lnTo>
                  <a:lnTo>
                    <a:pt x="28183" y="848268"/>
                  </a:lnTo>
                  <a:lnTo>
                    <a:pt x="32582" y="849245"/>
                  </a:lnTo>
                  <a:lnTo>
                    <a:pt x="34537" y="853318"/>
                  </a:lnTo>
                  <a:lnTo>
                    <a:pt x="29323" y="854459"/>
                  </a:lnTo>
                  <a:lnTo>
                    <a:pt x="24599" y="849082"/>
                  </a:lnTo>
                  <a:lnTo>
                    <a:pt x="24599" y="849082"/>
                  </a:lnTo>
                  <a:close/>
                  <a:moveTo>
                    <a:pt x="38121" y="947968"/>
                  </a:moveTo>
                  <a:lnTo>
                    <a:pt x="41216" y="945199"/>
                  </a:lnTo>
                  <a:lnTo>
                    <a:pt x="38772" y="943244"/>
                  </a:lnTo>
                  <a:lnTo>
                    <a:pt x="37632" y="945036"/>
                  </a:lnTo>
                  <a:lnTo>
                    <a:pt x="31604" y="935750"/>
                  </a:lnTo>
                  <a:lnTo>
                    <a:pt x="26880" y="931677"/>
                  </a:lnTo>
                  <a:lnTo>
                    <a:pt x="28835" y="928745"/>
                  </a:lnTo>
                  <a:lnTo>
                    <a:pt x="33233" y="928257"/>
                  </a:lnTo>
                  <a:lnTo>
                    <a:pt x="37306" y="925813"/>
                  </a:lnTo>
                  <a:lnTo>
                    <a:pt x="37795" y="933958"/>
                  </a:lnTo>
                  <a:lnTo>
                    <a:pt x="42519" y="935913"/>
                  </a:lnTo>
                  <a:lnTo>
                    <a:pt x="42845" y="941452"/>
                  </a:lnTo>
                  <a:lnTo>
                    <a:pt x="46918" y="945199"/>
                  </a:lnTo>
                  <a:lnTo>
                    <a:pt x="49524" y="953670"/>
                  </a:lnTo>
                  <a:lnTo>
                    <a:pt x="44148" y="953182"/>
                  </a:lnTo>
                  <a:lnTo>
                    <a:pt x="39098" y="953670"/>
                  </a:lnTo>
                  <a:lnTo>
                    <a:pt x="37795" y="947968"/>
                  </a:lnTo>
                  <a:lnTo>
                    <a:pt x="37795" y="947968"/>
                  </a:lnTo>
                  <a:close/>
                  <a:moveTo>
                    <a:pt x="19386" y="938194"/>
                  </a:moveTo>
                  <a:lnTo>
                    <a:pt x="19386" y="935098"/>
                  </a:lnTo>
                  <a:cubicBezTo>
                    <a:pt x="19386" y="935098"/>
                    <a:pt x="21178" y="933307"/>
                    <a:pt x="21178" y="933307"/>
                  </a:cubicBezTo>
                  <a:lnTo>
                    <a:pt x="25414" y="934447"/>
                  </a:lnTo>
                  <a:lnTo>
                    <a:pt x="32093" y="944873"/>
                  </a:lnTo>
                  <a:lnTo>
                    <a:pt x="36491" y="951389"/>
                  </a:lnTo>
                  <a:lnTo>
                    <a:pt x="36166" y="956928"/>
                  </a:lnTo>
                  <a:lnTo>
                    <a:pt x="34537" y="959698"/>
                  </a:lnTo>
                  <a:lnTo>
                    <a:pt x="30464" y="957254"/>
                  </a:lnTo>
                  <a:lnTo>
                    <a:pt x="28509" y="949761"/>
                  </a:lnTo>
                  <a:lnTo>
                    <a:pt x="28998" y="947805"/>
                  </a:lnTo>
                  <a:lnTo>
                    <a:pt x="25739" y="945199"/>
                  </a:lnTo>
                  <a:lnTo>
                    <a:pt x="20526" y="944221"/>
                  </a:lnTo>
                  <a:lnTo>
                    <a:pt x="19386" y="938194"/>
                  </a:lnTo>
                  <a:lnTo>
                    <a:pt x="19386" y="938194"/>
                  </a:lnTo>
                  <a:close/>
                  <a:moveTo>
                    <a:pt x="20201" y="946828"/>
                  </a:moveTo>
                  <a:lnTo>
                    <a:pt x="22155" y="947317"/>
                  </a:lnTo>
                  <a:lnTo>
                    <a:pt x="25739" y="948946"/>
                  </a:lnTo>
                  <a:lnTo>
                    <a:pt x="27369" y="953996"/>
                  </a:lnTo>
                  <a:lnTo>
                    <a:pt x="26391" y="957743"/>
                  </a:lnTo>
                  <a:lnTo>
                    <a:pt x="23459" y="958232"/>
                  </a:lnTo>
                  <a:lnTo>
                    <a:pt x="23133" y="955951"/>
                  </a:lnTo>
                  <a:lnTo>
                    <a:pt x="20364" y="953833"/>
                  </a:lnTo>
                  <a:lnTo>
                    <a:pt x="20364" y="946828"/>
                  </a:lnTo>
                  <a:lnTo>
                    <a:pt x="20201" y="946828"/>
                  </a:lnTo>
                  <a:close/>
                  <a:moveTo>
                    <a:pt x="29812" y="977129"/>
                  </a:moveTo>
                  <a:lnTo>
                    <a:pt x="27857" y="975989"/>
                  </a:lnTo>
                  <a:lnTo>
                    <a:pt x="28183" y="972079"/>
                  </a:lnTo>
                  <a:lnTo>
                    <a:pt x="25577" y="963445"/>
                  </a:lnTo>
                  <a:lnTo>
                    <a:pt x="28346" y="960838"/>
                  </a:lnTo>
                  <a:lnTo>
                    <a:pt x="29323" y="962304"/>
                  </a:lnTo>
                  <a:lnTo>
                    <a:pt x="35188" y="964911"/>
                  </a:lnTo>
                  <a:lnTo>
                    <a:pt x="37143" y="969146"/>
                  </a:lnTo>
                  <a:lnTo>
                    <a:pt x="34211" y="970287"/>
                  </a:lnTo>
                  <a:lnTo>
                    <a:pt x="29812" y="977129"/>
                  </a:lnTo>
                  <a:lnTo>
                    <a:pt x="29812" y="977129"/>
                  </a:lnTo>
                  <a:close/>
                  <a:moveTo>
                    <a:pt x="36655" y="996352"/>
                  </a:moveTo>
                  <a:lnTo>
                    <a:pt x="33396" y="998633"/>
                  </a:lnTo>
                  <a:lnTo>
                    <a:pt x="30790" y="995864"/>
                  </a:lnTo>
                  <a:lnTo>
                    <a:pt x="31767" y="992931"/>
                  </a:lnTo>
                  <a:lnTo>
                    <a:pt x="29323" y="989999"/>
                  </a:lnTo>
                  <a:lnTo>
                    <a:pt x="34863" y="986904"/>
                  </a:lnTo>
                  <a:lnTo>
                    <a:pt x="37958" y="991954"/>
                  </a:lnTo>
                  <a:lnTo>
                    <a:pt x="36817" y="996189"/>
                  </a:lnTo>
                  <a:lnTo>
                    <a:pt x="36817" y="996189"/>
                  </a:lnTo>
                  <a:close/>
                  <a:moveTo>
                    <a:pt x="49361" y="994072"/>
                  </a:moveTo>
                  <a:lnTo>
                    <a:pt x="48058" y="999285"/>
                  </a:lnTo>
                  <a:lnTo>
                    <a:pt x="45614" y="1000914"/>
                  </a:lnTo>
                  <a:lnTo>
                    <a:pt x="41216" y="996841"/>
                  </a:lnTo>
                  <a:lnTo>
                    <a:pt x="39587" y="990814"/>
                  </a:lnTo>
                  <a:lnTo>
                    <a:pt x="34374" y="980713"/>
                  </a:lnTo>
                  <a:lnTo>
                    <a:pt x="39587" y="979736"/>
                  </a:lnTo>
                  <a:lnTo>
                    <a:pt x="43334" y="976641"/>
                  </a:lnTo>
                  <a:lnTo>
                    <a:pt x="43660" y="973219"/>
                  </a:lnTo>
                  <a:lnTo>
                    <a:pt x="41705" y="976152"/>
                  </a:lnTo>
                  <a:lnTo>
                    <a:pt x="39424" y="976152"/>
                  </a:lnTo>
                  <a:cubicBezTo>
                    <a:pt x="39424" y="976152"/>
                    <a:pt x="38609" y="973545"/>
                    <a:pt x="38609" y="973545"/>
                  </a:cubicBezTo>
                  <a:lnTo>
                    <a:pt x="40076" y="969146"/>
                  </a:lnTo>
                  <a:lnTo>
                    <a:pt x="37143" y="966052"/>
                  </a:lnTo>
                  <a:lnTo>
                    <a:pt x="37143" y="960350"/>
                  </a:lnTo>
                  <a:cubicBezTo>
                    <a:pt x="37143" y="960350"/>
                    <a:pt x="39750" y="957906"/>
                    <a:pt x="39750" y="957906"/>
                  </a:cubicBezTo>
                  <a:lnTo>
                    <a:pt x="46918" y="957906"/>
                  </a:lnTo>
                  <a:lnTo>
                    <a:pt x="50176" y="960350"/>
                  </a:lnTo>
                  <a:lnTo>
                    <a:pt x="52782" y="971590"/>
                  </a:lnTo>
                  <a:lnTo>
                    <a:pt x="55715" y="977129"/>
                  </a:lnTo>
                  <a:lnTo>
                    <a:pt x="56529" y="986578"/>
                  </a:lnTo>
                  <a:lnTo>
                    <a:pt x="55389" y="988370"/>
                  </a:lnTo>
                  <a:lnTo>
                    <a:pt x="58158" y="995375"/>
                  </a:lnTo>
                  <a:lnTo>
                    <a:pt x="58158" y="1003195"/>
                  </a:lnTo>
                  <a:cubicBezTo>
                    <a:pt x="58158" y="1003195"/>
                    <a:pt x="54412" y="1005964"/>
                    <a:pt x="54412" y="1005964"/>
                  </a:cubicBezTo>
                  <a:lnTo>
                    <a:pt x="51642" y="1004335"/>
                  </a:lnTo>
                  <a:lnTo>
                    <a:pt x="50665" y="998796"/>
                  </a:lnTo>
                  <a:lnTo>
                    <a:pt x="49198" y="994398"/>
                  </a:lnTo>
                  <a:lnTo>
                    <a:pt x="49198" y="994398"/>
                  </a:lnTo>
                  <a:close/>
                  <a:moveTo>
                    <a:pt x="45452" y="1020137"/>
                  </a:moveTo>
                  <a:lnTo>
                    <a:pt x="44148" y="1016227"/>
                  </a:lnTo>
                  <a:lnTo>
                    <a:pt x="41053" y="1013946"/>
                  </a:lnTo>
                  <a:lnTo>
                    <a:pt x="43008" y="1011340"/>
                  </a:lnTo>
                  <a:lnTo>
                    <a:pt x="43008" y="1008408"/>
                  </a:lnTo>
                  <a:cubicBezTo>
                    <a:pt x="43008" y="1008408"/>
                    <a:pt x="44311" y="1007268"/>
                    <a:pt x="44311" y="1007268"/>
                  </a:cubicBezTo>
                  <a:lnTo>
                    <a:pt x="46755" y="1008408"/>
                  </a:lnTo>
                  <a:lnTo>
                    <a:pt x="52457" y="1009222"/>
                  </a:lnTo>
                  <a:lnTo>
                    <a:pt x="50339" y="1013458"/>
                  </a:lnTo>
                  <a:lnTo>
                    <a:pt x="50339" y="1017857"/>
                  </a:lnTo>
                  <a:cubicBezTo>
                    <a:pt x="50339" y="1017857"/>
                    <a:pt x="47732" y="1020137"/>
                    <a:pt x="47732" y="1020137"/>
                  </a:cubicBezTo>
                  <a:lnTo>
                    <a:pt x="45452" y="1020137"/>
                  </a:lnTo>
                  <a:close/>
                  <a:moveTo>
                    <a:pt x="42356" y="1027631"/>
                  </a:moveTo>
                  <a:lnTo>
                    <a:pt x="42356" y="1023395"/>
                  </a:lnTo>
                  <a:lnTo>
                    <a:pt x="48221" y="1023395"/>
                  </a:lnTo>
                  <a:lnTo>
                    <a:pt x="44963" y="1025839"/>
                  </a:lnTo>
                  <a:lnTo>
                    <a:pt x="42356" y="1027631"/>
                  </a:lnTo>
                  <a:lnTo>
                    <a:pt x="42356" y="1027631"/>
                  </a:lnTo>
                  <a:close/>
                  <a:moveTo>
                    <a:pt x="52457" y="1024862"/>
                  </a:moveTo>
                  <a:lnTo>
                    <a:pt x="53923" y="1027631"/>
                  </a:lnTo>
                  <a:lnTo>
                    <a:pt x="53923" y="1032030"/>
                  </a:lnTo>
                  <a:lnTo>
                    <a:pt x="52620" y="1033821"/>
                  </a:lnTo>
                  <a:lnTo>
                    <a:pt x="51153" y="1028446"/>
                  </a:lnTo>
                  <a:lnTo>
                    <a:pt x="52457" y="1024698"/>
                  </a:lnTo>
                  <a:lnTo>
                    <a:pt x="52457" y="1024698"/>
                  </a:lnTo>
                  <a:close/>
                  <a:moveTo>
                    <a:pt x="56204" y="1022255"/>
                  </a:moveTo>
                  <a:lnTo>
                    <a:pt x="56529" y="1020463"/>
                  </a:lnTo>
                  <a:lnTo>
                    <a:pt x="58647" y="1020463"/>
                  </a:lnTo>
                  <a:cubicBezTo>
                    <a:pt x="58647" y="1020463"/>
                    <a:pt x="62068" y="1023232"/>
                    <a:pt x="62068" y="1023232"/>
                  </a:cubicBezTo>
                  <a:lnTo>
                    <a:pt x="65326" y="1023232"/>
                  </a:lnTo>
                  <a:cubicBezTo>
                    <a:pt x="65326" y="1023232"/>
                    <a:pt x="69725" y="1030400"/>
                    <a:pt x="69725" y="1030400"/>
                  </a:cubicBezTo>
                  <a:lnTo>
                    <a:pt x="71517" y="1035777"/>
                  </a:lnTo>
                  <a:lnTo>
                    <a:pt x="65164" y="1030075"/>
                  </a:lnTo>
                  <a:lnTo>
                    <a:pt x="60602" y="1028282"/>
                  </a:lnTo>
                  <a:lnTo>
                    <a:pt x="56366" y="1022092"/>
                  </a:lnTo>
                  <a:lnTo>
                    <a:pt x="56366" y="1022092"/>
                  </a:lnTo>
                  <a:close/>
                  <a:moveTo>
                    <a:pt x="56041" y="1030889"/>
                  </a:moveTo>
                  <a:lnTo>
                    <a:pt x="58484" y="1030237"/>
                  </a:lnTo>
                  <a:lnTo>
                    <a:pt x="63860" y="1033170"/>
                  </a:lnTo>
                  <a:lnTo>
                    <a:pt x="69073" y="1040827"/>
                  </a:lnTo>
                  <a:lnTo>
                    <a:pt x="67118" y="1044085"/>
                  </a:lnTo>
                  <a:lnTo>
                    <a:pt x="62720" y="1044085"/>
                  </a:lnTo>
                  <a:cubicBezTo>
                    <a:pt x="62720" y="1044085"/>
                    <a:pt x="57344" y="1037405"/>
                    <a:pt x="57344" y="1037405"/>
                  </a:cubicBezTo>
                  <a:lnTo>
                    <a:pt x="56041" y="1030889"/>
                  </a:lnTo>
                  <a:lnTo>
                    <a:pt x="56041" y="1030889"/>
                  </a:lnTo>
                  <a:close/>
                  <a:moveTo>
                    <a:pt x="60928" y="1056140"/>
                  </a:moveTo>
                  <a:lnTo>
                    <a:pt x="53760" y="1057606"/>
                  </a:lnTo>
                  <a:lnTo>
                    <a:pt x="51479" y="1055977"/>
                  </a:lnTo>
                  <a:lnTo>
                    <a:pt x="53760" y="1053696"/>
                  </a:lnTo>
                  <a:lnTo>
                    <a:pt x="56204" y="1048484"/>
                  </a:lnTo>
                  <a:lnTo>
                    <a:pt x="53597" y="1044248"/>
                  </a:lnTo>
                  <a:lnTo>
                    <a:pt x="56855" y="1043433"/>
                  </a:lnTo>
                  <a:lnTo>
                    <a:pt x="60439" y="1046691"/>
                  </a:lnTo>
                  <a:lnTo>
                    <a:pt x="63697" y="1046366"/>
                  </a:lnTo>
                  <a:lnTo>
                    <a:pt x="70865" y="1051253"/>
                  </a:lnTo>
                  <a:lnTo>
                    <a:pt x="70865" y="1054022"/>
                  </a:lnTo>
                  <a:cubicBezTo>
                    <a:pt x="70865" y="1054022"/>
                    <a:pt x="66793" y="1054185"/>
                    <a:pt x="66793" y="1054185"/>
                  </a:cubicBezTo>
                  <a:lnTo>
                    <a:pt x="66304" y="1055814"/>
                  </a:lnTo>
                  <a:lnTo>
                    <a:pt x="61091" y="1056303"/>
                  </a:lnTo>
                  <a:lnTo>
                    <a:pt x="61091" y="1056303"/>
                  </a:lnTo>
                  <a:close/>
                  <a:moveTo>
                    <a:pt x="67118" y="1077481"/>
                  </a:moveTo>
                  <a:lnTo>
                    <a:pt x="64023" y="1076830"/>
                  </a:lnTo>
                  <a:lnTo>
                    <a:pt x="61580" y="1075200"/>
                  </a:lnTo>
                  <a:lnTo>
                    <a:pt x="60113" y="1071454"/>
                  </a:lnTo>
                  <a:lnTo>
                    <a:pt x="61417" y="1068847"/>
                  </a:lnTo>
                  <a:lnTo>
                    <a:pt x="63534" y="1067055"/>
                  </a:lnTo>
                  <a:lnTo>
                    <a:pt x="62231" y="1065914"/>
                  </a:lnTo>
                  <a:lnTo>
                    <a:pt x="61254" y="1063960"/>
                  </a:lnTo>
                  <a:lnTo>
                    <a:pt x="65326" y="1063471"/>
                  </a:lnTo>
                  <a:lnTo>
                    <a:pt x="67118" y="1066729"/>
                  </a:lnTo>
                  <a:lnTo>
                    <a:pt x="67118" y="1071616"/>
                  </a:lnTo>
                  <a:cubicBezTo>
                    <a:pt x="67118" y="1071616"/>
                    <a:pt x="64349" y="1073571"/>
                    <a:pt x="64349" y="1073571"/>
                  </a:cubicBezTo>
                  <a:lnTo>
                    <a:pt x="66955" y="1077481"/>
                  </a:lnTo>
                  <a:lnTo>
                    <a:pt x="66955" y="1077481"/>
                  </a:lnTo>
                  <a:close/>
                  <a:moveTo>
                    <a:pt x="68096" y="1069173"/>
                  </a:moveTo>
                  <a:lnTo>
                    <a:pt x="69073" y="1066566"/>
                  </a:lnTo>
                  <a:lnTo>
                    <a:pt x="70703" y="1065589"/>
                  </a:lnTo>
                  <a:lnTo>
                    <a:pt x="72820" y="1067870"/>
                  </a:lnTo>
                  <a:lnTo>
                    <a:pt x="75427" y="1070476"/>
                  </a:lnTo>
                  <a:lnTo>
                    <a:pt x="75427" y="1075037"/>
                  </a:lnTo>
                  <a:cubicBezTo>
                    <a:pt x="75427" y="1075037"/>
                    <a:pt x="72495" y="1076993"/>
                    <a:pt x="72495" y="1076993"/>
                  </a:cubicBezTo>
                  <a:lnTo>
                    <a:pt x="70377" y="1076504"/>
                  </a:lnTo>
                  <a:lnTo>
                    <a:pt x="69888" y="1074386"/>
                  </a:lnTo>
                  <a:lnTo>
                    <a:pt x="68911" y="1072920"/>
                  </a:lnTo>
                  <a:lnTo>
                    <a:pt x="67933" y="1069173"/>
                  </a:lnTo>
                  <a:lnTo>
                    <a:pt x="67933" y="1069173"/>
                  </a:lnTo>
                  <a:close/>
                  <a:moveTo>
                    <a:pt x="76730" y="1071454"/>
                  </a:moveTo>
                  <a:lnTo>
                    <a:pt x="81943" y="1074060"/>
                  </a:lnTo>
                  <a:lnTo>
                    <a:pt x="83084" y="1076993"/>
                  </a:lnTo>
                  <a:lnTo>
                    <a:pt x="81780" y="1076993"/>
                  </a:lnTo>
                  <a:cubicBezTo>
                    <a:pt x="81780" y="1076993"/>
                    <a:pt x="77871" y="1074386"/>
                    <a:pt x="77871" y="1074386"/>
                  </a:cubicBezTo>
                  <a:lnTo>
                    <a:pt x="76893" y="1071454"/>
                  </a:lnTo>
                  <a:lnTo>
                    <a:pt x="76893" y="1071454"/>
                  </a:lnTo>
                  <a:close/>
                  <a:moveTo>
                    <a:pt x="74775" y="1088559"/>
                  </a:moveTo>
                  <a:lnTo>
                    <a:pt x="72331" y="1089862"/>
                  </a:lnTo>
                  <a:lnTo>
                    <a:pt x="71517" y="1088070"/>
                  </a:lnTo>
                  <a:lnTo>
                    <a:pt x="73309" y="1086116"/>
                  </a:lnTo>
                  <a:lnTo>
                    <a:pt x="73309" y="1081065"/>
                  </a:lnTo>
                  <a:cubicBezTo>
                    <a:pt x="73309" y="1081065"/>
                    <a:pt x="75590" y="1080251"/>
                    <a:pt x="75590" y="1080251"/>
                  </a:cubicBezTo>
                  <a:lnTo>
                    <a:pt x="76893" y="1082694"/>
                  </a:lnTo>
                  <a:lnTo>
                    <a:pt x="74612" y="1088396"/>
                  </a:lnTo>
                  <a:lnTo>
                    <a:pt x="74612" y="1088396"/>
                  </a:lnTo>
                  <a:close/>
                  <a:moveTo>
                    <a:pt x="89274" y="1075363"/>
                  </a:moveTo>
                  <a:lnTo>
                    <a:pt x="83246" y="1072431"/>
                  </a:lnTo>
                  <a:lnTo>
                    <a:pt x="80314" y="1069173"/>
                  </a:lnTo>
                  <a:lnTo>
                    <a:pt x="80314" y="1061516"/>
                  </a:lnTo>
                  <a:cubicBezTo>
                    <a:pt x="80314" y="1061516"/>
                    <a:pt x="82269" y="1061516"/>
                    <a:pt x="82269" y="1061516"/>
                  </a:cubicBezTo>
                  <a:lnTo>
                    <a:pt x="85038" y="1067707"/>
                  </a:lnTo>
                  <a:lnTo>
                    <a:pt x="89437" y="1072431"/>
                  </a:lnTo>
                  <a:lnTo>
                    <a:pt x="90740" y="1075363"/>
                  </a:lnTo>
                  <a:lnTo>
                    <a:pt x="89111" y="1075363"/>
                  </a:lnTo>
                  <a:close/>
                  <a:moveTo>
                    <a:pt x="88460" y="1083020"/>
                  </a:moveTo>
                  <a:lnTo>
                    <a:pt x="84550" y="1079110"/>
                  </a:lnTo>
                  <a:lnTo>
                    <a:pt x="86179" y="1077970"/>
                  </a:lnTo>
                  <a:lnTo>
                    <a:pt x="89600" y="1078784"/>
                  </a:lnTo>
                  <a:lnTo>
                    <a:pt x="90577" y="1082694"/>
                  </a:lnTo>
                  <a:lnTo>
                    <a:pt x="88460" y="1083020"/>
                  </a:lnTo>
                  <a:lnTo>
                    <a:pt x="88460" y="1083020"/>
                  </a:lnTo>
                  <a:close/>
                  <a:moveTo>
                    <a:pt x="90903" y="1092795"/>
                  </a:moveTo>
                  <a:lnTo>
                    <a:pt x="85201" y="1086767"/>
                  </a:lnTo>
                  <a:lnTo>
                    <a:pt x="83409" y="1083672"/>
                  </a:lnTo>
                  <a:lnTo>
                    <a:pt x="84713" y="1081880"/>
                  </a:lnTo>
                  <a:lnTo>
                    <a:pt x="92858" y="1088233"/>
                  </a:lnTo>
                  <a:lnTo>
                    <a:pt x="92858" y="1091980"/>
                  </a:lnTo>
                  <a:cubicBezTo>
                    <a:pt x="92858" y="1091980"/>
                    <a:pt x="90740" y="1092632"/>
                    <a:pt x="90740" y="1092632"/>
                  </a:cubicBezTo>
                  <a:lnTo>
                    <a:pt x="90740" y="1092632"/>
                  </a:lnTo>
                  <a:close/>
                  <a:moveTo>
                    <a:pt x="96605" y="1104524"/>
                  </a:moveTo>
                  <a:lnTo>
                    <a:pt x="94324" y="1103384"/>
                  </a:lnTo>
                  <a:lnTo>
                    <a:pt x="91718" y="1101103"/>
                  </a:lnTo>
                  <a:lnTo>
                    <a:pt x="90903" y="1098496"/>
                  </a:lnTo>
                  <a:lnTo>
                    <a:pt x="86016" y="1098822"/>
                  </a:lnTo>
                  <a:lnTo>
                    <a:pt x="84061" y="1097193"/>
                  </a:lnTo>
                  <a:lnTo>
                    <a:pt x="87971" y="1095727"/>
                  </a:lnTo>
                  <a:lnTo>
                    <a:pt x="91555" y="1096541"/>
                  </a:lnTo>
                  <a:lnTo>
                    <a:pt x="97582" y="1095564"/>
                  </a:lnTo>
                  <a:lnTo>
                    <a:pt x="99212" y="1100452"/>
                  </a:lnTo>
                  <a:lnTo>
                    <a:pt x="96605" y="1104687"/>
                  </a:lnTo>
                  <a:lnTo>
                    <a:pt x="96605" y="1104687"/>
                  </a:lnTo>
                  <a:close/>
                  <a:moveTo>
                    <a:pt x="111919" y="1130264"/>
                  </a:moveTo>
                  <a:lnTo>
                    <a:pt x="105076" y="1127657"/>
                  </a:lnTo>
                  <a:lnTo>
                    <a:pt x="103121" y="1128798"/>
                  </a:lnTo>
                  <a:lnTo>
                    <a:pt x="99212" y="1128798"/>
                  </a:lnTo>
                  <a:lnTo>
                    <a:pt x="96768" y="1125051"/>
                  </a:lnTo>
                  <a:lnTo>
                    <a:pt x="89600" y="1121955"/>
                  </a:lnTo>
                  <a:lnTo>
                    <a:pt x="84387" y="1121304"/>
                  </a:lnTo>
                  <a:lnTo>
                    <a:pt x="81129" y="1115113"/>
                  </a:lnTo>
                  <a:lnTo>
                    <a:pt x="79988" y="1110226"/>
                  </a:lnTo>
                  <a:lnTo>
                    <a:pt x="81292" y="1107782"/>
                  </a:lnTo>
                  <a:lnTo>
                    <a:pt x="84224" y="1109737"/>
                  </a:lnTo>
                  <a:lnTo>
                    <a:pt x="89600" y="1116091"/>
                  </a:lnTo>
                  <a:lnTo>
                    <a:pt x="93184" y="1118209"/>
                  </a:lnTo>
                  <a:lnTo>
                    <a:pt x="97420" y="1118209"/>
                  </a:lnTo>
                  <a:cubicBezTo>
                    <a:pt x="97420" y="1118209"/>
                    <a:pt x="101818" y="1120000"/>
                    <a:pt x="101818" y="1120000"/>
                  </a:cubicBezTo>
                  <a:lnTo>
                    <a:pt x="105891" y="1122281"/>
                  </a:lnTo>
                  <a:lnTo>
                    <a:pt x="111755" y="1122281"/>
                  </a:lnTo>
                  <a:lnTo>
                    <a:pt x="114036" y="1124725"/>
                  </a:lnTo>
                  <a:lnTo>
                    <a:pt x="119087" y="1128309"/>
                  </a:lnTo>
                  <a:lnTo>
                    <a:pt x="121204" y="1128635"/>
                  </a:lnTo>
                  <a:lnTo>
                    <a:pt x="122671" y="1130589"/>
                  </a:lnTo>
                  <a:lnTo>
                    <a:pt x="121856" y="1132219"/>
                  </a:lnTo>
                  <a:lnTo>
                    <a:pt x="116806" y="1132219"/>
                  </a:lnTo>
                  <a:lnTo>
                    <a:pt x="112244" y="1130427"/>
                  </a:lnTo>
                  <a:lnTo>
                    <a:pt x="112244" y="1130427"/>
                  </a:lnTo>
                  <a:close/>
                  <a:moveTo>
                    <a:pt x="95465" y="1132382"/>
                  </a:moveTo>
                  <a:cubicBezTo>
                    <a:pt x="95465" y="1132382"/>
                    <a:pt x="98723" y="1135640"/>
                    <a:pt x="98723" y="1135640"/>
                  </a:cubicBezTo>
                  <a:lnTo>
                    <a:pt x="93347" y="1134011"/>
                  </a:lnTo>
                  <a:lnTo>
                    <a:pt x="95628" y="1132219"/>
                  </a:lnTo>
                  <a:lnTo>
                    <a:pt x="95628" y="1132219"/>
                  </a:lnTo>
                  <a:close/>
                  <a:moveTo>
                    <a:pt x="130653" y="1155514"/>
                  </a:moveTo>
                  <a:lnTo>
                    <a:pt x="132771" y="1157144"/>
                  </a:lnTo>
                  <a:lnTo>
                    <a:pt x="134726" y="1155352"/>
                  </a:lnTo>
                  <a:lnTo>
                    <a:pt x="132119" y="1152745"/>
                  </a:lnTo>
                  <a:lnTo>
                    <a:pt x="129513" y="1154700"/>
                  </a:lnTo>
                  <a:lnTo>
                    <a:pt x="130816" y="1155514"/>
                  </a:lnTo>
                  <a:lnTo>
                    <a:pt x="130816" y="1155514"/>
                  </a:lnTo>
                  <a:close/>
                  <a:moveTo>
                    <a:pt x="143686" y="1157795"/>
                  </a:moveTo>
                  <a:lnTo>
                    <a:pt x="140102" y="1159425"/>
                  </a:lnTo>
                  <a:lnTo>
                    <a:pt x="137006" y="1156166"/>
                  </a:lnTo>
                  <a:lnTo>
                    <a:pt x="136518" y="1152745"/>
                  </a:lnTo>
                  <a:lnTo>
                    <a:pt x="133911" y="1151116"/>
                  </a:lnTo>
                  <a:lnTo>
                    <a:pt x="128209" y="1152257"/>
                  </a:lnTo>
                  <a:lnTo>
                    <a:pt x="124463" y="1151605"/>
                  </a:lnTo>
                  <a:lnTo>
                    <a:pt x="119412" y="1145577"/>
                  </a:lnTo>
                  <a:lnTo>
                    <a:pt x="114688" y="1144437"/>
                  </a:lnTo>
                  <a:lnTo>
                    <a:pt x="112896" y="1139875"/>
                  </a:lnTo>
                  <a:lnTo>
                    <a:pt x="108172" y="1137269"/>
                  </a:lnTo>
                  <a:lnTo>
                    <a:pt x="107846" y="1134662"/>
                  </a:lnTo>
                  <a:lnTo>
                    <a:pt x="109475" y="1132707"/>
                  </a:lnTo>
                  <a:lnTo>
                    <a:pt x="113385" y="1132382"/>
                  </a:lnTo>
                  <a:lnTo>
                    <a:pt x="115991" y="1134825"/>
                  </a:lnTo>
                  <a:lnTo>
                    <a:pt x="118435" y="1135966"/>
                  </a:lnTo>
                  <a:lnTo>
                    <a:pt x="122996" y="1134173"/>
                  </a:lnTo>
                  <a:lnTo>
                    <a:pt x="128372" y="1133848"/>
                  </a:lnTo>
                  <a:lnTo>
                    <a:pt x="135540" y="1138898"/>
                  </a:lnTo>
                  <a:lnTo>
                    <a:pt x="138636" y="1140201"/>
                  </a:lnTo>
                  <a:lnTo>
                    <a:pt x="139776" y="1143134"/>
                  </a:lnTo>
                  <a:lnTo>
                    <a:pt x="144989" y="1141505"/>
                  </a:lnTo>
                  <a:lnTo>
                    <a:pt x="148573" y="1142971"/>
                  </a:lnTo>
                  <a:lnTo>
                    <a:pt x="150365" y="1146718"/>
                  </a:lnTo>
                  <a:lnTo>
                    <a:pt x="146618" y="1146392"/>
                  </a:lnTo>
                  <a:lnTo>
                    <a:pt x="144174" y="1147532"/>
                  </a:lnTo>
                  <a:lnTo>
                    <a:pt x="146129" y="1149161"/>
                  </a:lnTo>
                  <a:lnTo>
                    <a:pt x="146455" y="1151768"/>
                  </a:lnTo>
                  <a:lnTo>
                    <a:pt x="142546" y="1155514"/>
                  </a:lnTo>
                  <a:lnTo>
                    <a:pt x="143849" y="1157959"/>
                  </a:lnTo>
                  <a:lnTo>
                    <a:pt x="143849" y="1157959"/>
                  </a:lnTo>
                  <a:close/>
                  <a:moveTo>
                    <a:pt x="149713" y="1156329"/>
                  </a:moveTo>
                  <a:lnTo>
                    <a:pt x="146781" y="1159750"/>
                  </a:lnTo>
                  <a:lnTo>
                    <a:pt x="146781" y="1163009"/>
                  </a:lnTo>
                  <a:cubicBezTo>
                    <a:pt x="146781" y="1163009"/>
                    <a:pt x="150202" y="1161868"/>
                    <a:pt x="150202" y="1161868"/>
                  </a:cubicBezTo>
                  <a:lnTo>
                    <a:pt x="152646" y="1158121"/>
                  </a:lnTo>
                  <a:lnTo>
                    <a:pt x="153623" y="1156655"/>
                  </a:lnTo>
                  <a:lnTo>
                    <a:pt x="151180" y="1155678"/>
                  </a:lnTo>
                  <a:lnTo>
                    <a:pt x="149713" y="1156329"/>
                  </a:lnTo>
                  <a:lnTo>
                    <a:pt x="149713" y="1156329"/>
                  </a:lnTo>
                  <a:close/>
                  <a:moveTo>
                    <a:pt x="178385" y="1151930"/>
                  </a:moveTo>
                  <a:lnTo>
                    <a:pt x="176430" y="1155841"/>
                  </a:lnTo>
                  <a:lnTo>
                    <a:pt x="177734" y="1158773"/>
                  </a:lnTo>
                  <a:lnTo>
                    <a:pt x="174638" y="1161054"/>
                  </a:lnTo>
                  <a:lnTo>
                    <a:pt x="170566" y="1159913"/>
                  </a:lnTo>
                  <a:lnTo>
                    <a:pt x="168937" y="1157470"/>
                  </a:lnTo>
                  <a:lnTo>
                    <a:pt x="166819" y="1159425"/>
                  </a:lnTo>
                  <a:lnTo>
                    <a:pt x="163887" y="1156655"/>
                  </a:lnTo>
                  <a:lnTo>
                    <a:pt x="159325" y="1156003"/>
                  </a:lnTo>
                  <a:lnTo>
                    <a:pt x="157044" y="1158284"/>
                  </a:lnTo>
                  <a:lnTo>
                    <a:pt x="154764" y="1154211"/>
                  </a:lnTo>
                  <a:lnTo>
                    <a:pt x="151831" y="1152582"/>
                  </a:lnTo>
                  <a:lnTo>
                    <a:pt x="151831" y="1150139"/>
                  </a:lnTo>
                  <a:cubicBezTo>
                    <a:pt x="151831" y="1150139"/>
                    <a:pt x="158673" y="1149487"/>
                    <a:pt x="158673" y="1149487"/>
                  </a:cubicBezTo>
                  <a:lnTo>
                    <a:pt x="160465" y="1147858"/>
                  </a:lnTo>
                  <a:lnTo>
                    <a:pt x="169425" y="1150302"/>
                  </a:lnTo>
                  <a:lnTo>
                    <a:pt x="171706" y="1153560"/>
                  </a:lnTo>
                  <a:lnTo>
                    <a:pt x="173987" y="1151279"/>
                  </a:lnTo>
                  <a:lnTo>
                    <a:pt x="176430" y="1150790"/>
                  </a:lnTo>
                  <a:lnTo>
                    <a:pt x="178385" y="1152094"/>
                  </a:lnTo>
                  <a:lnTo>
                    <a:pt x="178385" y="1152094"/>
                  </a:lnTo>
                  <a:close/>
                  <a:moveTo>
                    <a:pt x="192721" y="1150302"/>
                  </a:moveTo>
                  <a:lnTo>
                    <a:pt x="187182" y="1146066"/>
                  </a:lnTo>
                  <a:lnTo>
                    <a:pt x="190441" y="1142808"/>
                  </a:lnTo>
                  <a:lnTo>
                    <a:pt x="188160" y="1139875"/>
                  </a:lnTo>
                  <a:lnTo>
                    <a:pt x="188649" y="1138084"/>
                  </a:lnTo>
                  <a:lnTo>
                    <a:pt x="185554" y="1133196"/>
                  </a:lnTo>
                  <a:lnTo>
                    <a:pt x="184576" y="1127820"/>
                  </a:lnTo>
                  <a:lnTo>
                    <a:pt x="181481" y="1126028"/>
                  </a:lnTo>
                  <a:lnTo>
                    <a:pt x="180666" y="1131078"/>
                  </a:lnTo>
                  <a:lnTo>
                    <a:pt x="178874" y="1135966"/>
                  </a:lnTo>
                  <a:lnTo>
                    <a:pt x="181155" y="1140364"/>
                  </a:lnTo>
                  <a:lnTo>
                    <a:pt x="179363" y="1143459"/>
                  </a:lnTo>
                  <a:lnTo>
                    <a:pt x="179363" y="1147206"/>
                  </a:lnTo>
                  <a:lnTo>
                    <a:pt x="183924" y="1149813"/>
                  </a:lnTo>
                  <a:lnTo>
                    <a:pt x="188812" y="1151116"/>
                  </a:lnTo>
                  <a:lnTo>
                    <a:pt x="190604" y="1152745"/>
                  </a:lnTo>
                  <a:lnTo>
                    <a:pt x="192396" y="1150464"/>
                  </a:lnTo>
                  <a:lnTo>
                    <a:pt x="192396" y="1150464"/>
                  </a:lnTo>
                  <a:close/>
                  <a:moveTo>
                    <a:pt x="173661" y="1188259"/>
                  </a:moveTo>
                  <a:lnTo>
                    <a:pt x="177734" y="1186305"/>
                  </a:lnTo>
                  <a:lnTo>
                    <a:pt x="179852" y="1188096"/>
                  </a:lnTo>
                  <a:lnTo>
                    <a:pt x="176919" y="1191355"/>
                  </a:lnTo>
                  <a:lnTo>
                    <a:pt x="173661" y="1188259"/>
                  </a:lnTo>
                  <a:lnTo>
                    <a:pt x="173661" y="1188259"/>
                  </a:lnTo>
                  <a:close/>
                  <a:moveTo>
                    <a:pt x="175290" y="1183535"/>
                  </a:moveTo>
                  <a:lnTo>
                    <a:pt x="173661" y="1181906"/>
                  </a:lnTo>
                  <a:lnTo>
                    <a:pt x="174964" y="1178811"/>
                  </a:lnTo>
                  <a:lnTo>
                    <a:pt x="178548" y="1180603"/>
                  </a:lnTo>
                  <a:lnTo>
                    <a:pt x="178222" y="1183535"/>
                  </a:lnTo>
                  <a:lnTo>
                    <a:pt x="175290" y="1183535"/>
                  </a:lnTo>
                  <a:close/>
                  <a:moveTo>
                    <a:pt x="275154" y="1210415"/>
                  </a:moveTo>
                  <a:lnTo>
                    <a:pt x="272710" y="1207809"/>
                  </a:lnTo>
                  <a:lnTo>
                    <a:pt x="275642" y="1204062"/>
                  </a:lnTo>
                  <a:lnTo>
                    <a:pt x="274339" y="1201292"/>
                  </a:lnTo>
                  <a:lnTo>
                    <a:pt x="277597" y="1202432"/>
                  </a:lnTo>
                  <a:lnTo>
                    <a:pt x="278412" y="1206343"/>
                  </a:lnTo>
                  <a:lnTo>
                    <a:pt x="278412" y="1210578"/>
                  </a:lnTo>
                  <a:cubicBezTo>
                    <a:pt x="278412" y="1210578"/>
                    <a:pt x="275316" y="1210415"/>
                    <a:pt x="275316" y="1210415"/>
                  </a:cubicBezTo>
                  <a:lnTo>
                    <a:pt x="275316" y="1210415"/>
                  </a:lnTo>
                  <a:close/>
                  <a:moveTo>
                    <a:pt x="211945" y="1184838"/>
                  </a:moveTo>
                  <a:lnTo>
                    <a:pt x="215692" y="1183046"/>
                  </a:lnTo>
                  <a:lnTo>
                    <a:pt x="219764" y="1183046"/>
                  </a:lnTo>
                  <a:lnTo>
                    <a:pt x="222371" y="1182557"/>
                  </a:lnTo>
                  <a:lnTo>
                    <a:pt x="228236" y="1183535"/>
                  </a:lnTo>
                  <a:lnTo>
                    <a:pt x="240617" y="1180766"/>
                  </a:lnTo>
                  <a:lnTo>
                    <a:pt x="247296" y="1177833"/>
                  </a:lnTo>
                  <a:lnTo>
                    <a:pt x="255279" y="1178648"/>
                  </a:lnTo>
                  <a:lnTo>
                    <a:pt x="261469" y="1178159"/>
                  </a:lnTo>
                  <a:lnTo>
                    <a:pt x="268800" y="1178159"/>
                  </a:lnTo>
                  <a:cubicBezTo>
                    <a:pt x="268800" y="1178159"/>
                    <a:pt x="273524" y="1179300"/>
                    <a:pt x="273524" y="1179300"/>
                  </a:cubicBezTo>
                  <a:lnTo>
                    <a:pt x="274502" y="1183698"/>
                  </a:lnTo>
                  <a:lnTo>
                    <a:pt x="277108" y="1186305"/>
                  </a:lnTo>
                  <a:lnTo>
                    <a:pt x="274502" y="1188911"/>
                  </a:lnTo>
                  <a:lnTo>
                    <a:pt x="270592" y="1191518"/>
                  </a:lnTo>
                  <a:lnTo>
                    <a:pt x="268148" y="1188422"/>
                  </a:lnTo>
                  <a:lnTo>
                    <a:pt x="265379" y="1187119"/>
                  </a:lnTo>
                  <a:lnTo>
                    <a:pt x="260655" y="1190377"/>
                  </a:lnTo>
                  <a:lnTo>
                    <a:pt x="254790" y="1190703"/>
                  </a:lnTo>
                  <a:lnTo>
                    <a:pt x="252509" y="1187608"/>
                  </a:lnTo>
                  <a:lnTo>
                    <a:pt x="250228" y="1182884"/>
                  </a:lnTo>
                  <a:lnTo>
                    <a:pt x="246319" y="1182884"/>
                  </a:lnTo>
                  <a:cubicBezTo>
                    <a:pt x="246319" y="1182884"/>
                    <a:pt x="242409" y="1186793"/>
                    <a:pt x="242409" y="1186793"/>
                  </a:cubicBezTo>
                  <a:lnTo>
                    <a:pt x="239476" y="1186793"/>
                  </a:lnTo>
                  <a:lnTo>
                    <a:pt x="233449" y="1187771"/>
                  </a:lnTo>
                  <a:lnTo>
                    <a:pt x="238173" y="1191518"/>
                  </a:lnTo>
                  <a:lnTo>
                    <a:pt x="239476" y="1191029"/>
                  </a:lnTo>
                  <a:lnTo>
                    <a:pt x="245504" y="1192332"/>
                  </a:lnTo>
                  <a:lnTo>
                    <a:pt x="247785" y="1194124"/>
                  </a:lnTo>
                  <a:lnTo>
                    <a:pt x="246155" y="1195916"/>
                  </a:lnTo>
                  <a:lnTo>
                    <a:pt x="250391" y="1197545"/>
                  </a:lnTo>
                  <a:lnTo>
                    <a:pt x="255767" y="1202107"/>
                  </a:lnTo>
                  <a:lnTo>
                    <a:pt x="255767" y="1206668"/>
                  </a:lnTo>
                  <a:lnTo>
                    <a:pt x="253812" y="1206343"/>
                  </a:lnTo>
                  <a:lnTo>
                    <a:pt x="248111" y="1201129"/>
                  </a:lnTo>
                  <a:lnTo>
                    <a:pt x="244364" y="1200152"/>
                  </a:lnTo>
                  <a:lnTo>
                    <a:pt x="240454" y="1202107"/>
                  </a:lnTo>
                  <a:lnTo>
                    <a:pt x="236707" y="1199500"/>
                  </a:lnTo>
                  <a:lnTo>
                    <a:pt x="235078" y="1194939"/>
                  </a:lnTo>
                  <a:lnTo>
                    <a:pt x="229702" y="1195427"/>
                  </a:lnTo>
                  <a:lnTo>
                    <a:pt x="229213" y="1197871"/>
                  </a:lnTo>
                  <a:lnTo>
                    <a:pt x="233123" y="1200152"/>
                  </a:lnTo>
                  <a:lnTo>
                    <a:pt x="232634" y="1204062"/>
                  </a:lnTo>
                  <a:lnTo>
                    <a:pt x="230354" y="1204062"/>
                  </a:lnTo>
                  <a:cubicBezTo>
                    <a:pt x="230354" y="1204062"/>
                    <a:pt x="224489" y="1201455"/>
                    <a:pt x="224489" y="1201455"/>
                  </a:cubicBezTo>
                  <a:lnTo>
                    <a:pt x="221230" y="1202921"/>
                  </a:lnTo>
                  <a:lnTo>
                    <a:pt x="219927" y="1200315"/>
                  </a:lnTo>
                  <a:lnTo>
                    <a:pt x="216506" y="1199011"/>
                  </a:lnTo>
                  <a:lnTo>
                    <a:pt x="218135" y="1195102"/>
                  </a:lnTo>
                  <a:lnTo>
                    <a:pt x="214388" y="1198197"/>
                  </a:lnTo>
                  <a:lnTo>
                    <a:pt x="210316" y="1195264"/>
                  </a:lnTo>
                  <a:lnTo>
                    <a:pt x="210316" y="1192984"/>
                  </a:lnTo>
                  <a:cubicBezTo>
                    <a:pt x="210316" y="1192984"/>
                    <a:pt x="214551" y="1191029"/>
                    <a:pt x="214551" y="1191029"/>
                  </a:cubicBezTo>
                  <a:lnTo>
                    <a:pt x="221882" y="1188259"/>
                  </a:lnTo>
                  <a:lnTo>
                    <a:pt x="217809" y="1186305"/>
                  </a:lnTo>
                  <a:lnTo>
                    <a:pt x="214714" y="1187771"/>
                  </a:lnTo>
                  <a:lnTo>
                    <a:pt x="211945" y="1185164"/>
                  </a:lnTo>
                  <a:close/>
                </a:path>
              </a:pathLst>
            </a:custGeom>
            <a:solidFill>
              <a:schemeClr val="bg2"/>
            </a:solidFill>
            <a:ln w="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4" name="Forma livre: Forma 43">
              <a:extLst>
                <a:ext uri="{FF2B5EF4-FFF2-40B4-BE49-F238E27FC236}">
                  <a16:creationId xmlns:a16="http://schemas.microsoft.com/office/drawing/2014/main" id="{B90A2D83-B2FB-E9CB-CAEA-90775D2492EB}"/>
                </a:ext>
              </a:extLst>
            </p:cNvPr>
            <p:cNvSpPr/>
            <p:nvPr/>
          </p:nvSpPr>
          <p:spPr>
            <a:xfrm>
              <a:off x="1802356" y="4326564"/>
              <a:ext cx="140573" cy="103871"/>
            </a:xfrm>
            <a:custGeom>
              <a:avLst/>
              <a:gdLst>
                <a:gd name="connsiteX0" fmla="*/ 1955 w 136029"/>
                <a:gd name="connsiteY0" fmla="*/ 11892 h 100514"/>
                <a:gd name="connsiteX1" fmla="*/ 5050 w 136029"/>
                <a:gd name="connsiteY1" fmla="*/ 7494 h 100514"/>
                <a:gd name="connsiteX2" fmla="*/ 1792 w 136029"/>
                <a:gd name="connsiteY2" fmla="*/ 6353 h 100514"/>
                <a:gd name="connsiteX3" fmla="*/ 0 w 136029"/>
                <a:gd name="connsiteY3" fmla="*/ 9774 h 100514"/>
                <a:gd name="connsiteX4" fmla="*/ 1955 w 136029"/>
                <a:gd name="connsiteY4" fmla="*/ 11729 h 100514"/>
                <a:gd name="connsiteX5" fmla="*/ 1955 w 136029"/>
                <a:gd name="connsiteY5" fmla="*/ 11729 h 100514"/>
                <a:gd name="connsiteX6" fmla="*/ 25577 w 136029"/>
                <a:gd name="connsiteY6" fmla="*/ 7494 h 100514"/>
                <a:gd name="connsiteX7" fmla="*/ 28020 w 136029"/>
                <a:gd name="connsiteY7" fmla="*/ 2444 h 100514"/>
                <a:gd name="connsiteX8" fmla="*/ 26717 w 136029"/>
                <a:gd name="connsiteY8" fmla="*/ 0 h 100514"/>
                <a:gd name="connsiteX9" fmla="*/ 21015 w 136029"/>
                <a:gd name="connsiteY9" fmla="*/ 0 h 100514"/>
                <a:gd name="connsiteX10" fmla="*/ 17594 w 136029"/>
                <a:gd name="connsiteY10" fmla="*/ 5213 h 100514"/>
                <a:gd name="connsiteX11" fmla="*/ 21667 w 136029"/>
                <a:gd name="connsiteY11" fmla="*/ 8145 h 100514"/>
                <a:gd name="connsiteX12" fmla="*/ 25740 w 136029"/>
                <a:gd name="connsiteY12" fmla="*/ 7331 h 100514"/>
                <a:gd name="connsiteX13" fmla="*/ 25740 w 136029"/>
                <a:gd name="connsiteY13" fmla="*/ 7331 h 100514"/>
                <a:gd name="connsiteX14" fmla="*/ 66630 w 136029"/>
                <a:gd name="connsiteY14" fmla="*/ 25414 h 100514"/>
                <a:gd name="connsiteX15" fmla="*/ 62394 w 136029"/>
                <a:gd name="connsiteY15" fmla="*/ 22481 h 100514"/>
                <a:gd name="connsiteX16" fmla="*/ 59462 w 136029"/>
                <a:gd name="connsiteY16" fmla="*/ 16617 h 100514"/>
                <a:gd name="connsiteX17" fmla="*/ 55389 w 136029"/>
                <a:gd name="connsiteY17" fmla="*/ 17594 h 100514"/>
                <a:gd name="connsiteX18" fmla="*/ 54412 w 136029"/>
                <a:gd name="connsiteY18" fmla="*/ 21015 h 100514"/>
                <a:gd name="connsiteX19" fmla="*/ 59462 w 136029"/>
                <a:gd name="connsiteY19" fmla="*/ 28020 h 100514"/>
                <a:gd name="connsiteX20" fmla="*/ 65652 w 136029"/>
                <a:gd name="connsiteY20" fmla="*/ 28509 h 100514"/>
                <a:gd name="connsiteX21" fmla="*/ 66630 w 136029"/>
                <a:gd name="connsiteY21" fmla="*/ 25414 h 100514"/>
                <a:gd name="connsiteX22" fmla="*/ 66630 w 136029"/>
                <a:gd name="connsiteY22" fmla="*/ 25414 h 100514"/>
                <a:gd name="connsiteX23" fmla="*/ 88948 w 136029"/>
                <a:gd name="connsiteY23" fmla="*/ 34374 h 100514"/>
                <a:gd name="connsiteX24" fmla="*/ 84550 w 136029"/>
                <a:gd name="connsiteY24" fmla="*/ 32907 h 100514"/>
                <a:gd name="connsiteX25" fmla="*/ 81780 w 136029"/>
                <a:gd name="connsiteY25" fmla="*/ 34048 h 100514"/>
                <a:gd name="connsiteX26" fmla="*/ 78196 w 136029"/>
                <a:gd name="connsiteY26" fmla="*/ 31767 h 100514"/>
                <a:gd name="connsiteX27" fmla="*/ 84387 w 136029"/>
                <a:gd name="connsiteY27" fmla="*/ 31767 h 100514"/>
                <a:gd name="connsiteX28" fmla="*/ 91066 w 136029"/>
                <a:gd name="connsiteY28" fmla="*/ 30464 h 100514"/>
                <a:gd name="connsiteX29" fmla="*/ 88785 w 136029"/>
                <a:gd name="connsiteY29" fmla="*/ 34374 h 100514"/>
                <a:gd name="connsiteX30" fmla="*/ 88785 w 136029"/>
                <a:gd name="connsiteY30" fmla="*/ 34374 h 100514"/>
                <a:gd name="connsiteX31" fmla="*/ 99375 w 136029"/>
                <a:gd name="connsiteY31" fmla="*/ 47081 h 100514"/>
                <a:gd name="connsiteX32" fmla="*/ 94650 w 136029"/>
                <a:gd name="connsiteY32" fmla="*/ 42845 h 100514"/>
                <a:gd name="connsiteX33" fmla="*/ 90089 w 136029"/>
                <a:gd name="connsiteY33" fmla="*/ 39424 h 100514"/>
                <a:gd name="connsiteX34" fmla="*/ 90089 w 136029"/>
                <a:gd name="connsiteY34" fmla="*/ 36655 h 100514"/>
                <a:gd name="connsiteX35" fmla="*/ 93347 w 136029"/>
                <a:gd name="connsiteY35" fmla="*/ 36003 h 100514"/>
                <a:gd name="connsiteX36" fmla="*/ 96768 w 136029"/>
                <a:gd name="connsiteY36" fmla="*/ 38772 h 100514"/>
                <a:gd name="connsiteX37" fmla="*/ 103610 w 136029"/>
                <a:gd name="connsiteY37" fmla="*/ 39587 h 100514"/>
                <a:gd name="connsiteX38" fmla="*/ 107031 w 136029"/>
                <a:gd name="connsiteY38" fmla="*/ 44311 h 100514"/>
                <a:gd name="connsiteX39" fmla="*/ 104099 w 136029"/>
                <a:gd name="connsiteY39" fmla="*/ 47406 h 100514"/>
                <a:gd name="connsiteX40" fmla="*/ 99375 w 136029"/>
                <a:gd name="connsiteY40" fmla="*/ 47406 h 100514"/>
                <a:gd name="connsiteX41" fmla="*/ 105891 w 136029"/>
                <a:gd name="connsiteY41" fmla="*/ 78522 h 100514"/>
                <a:gd name="connsiteX42" fmla="*/ 108986 w 136029"/>
                <a:gd name="connsiteY42" fmla="*/ 84061 h 100514"/>
                <a:gd name="connsiteX43" fmla="*/ 108009 w 136029"/>
                <a:gd name="connsiteY43" fmla="*/ 96605 h 100514"/>
                <a:gd name="connsiteX44" fmla="*/ 114036 w 136029"/>
                <a:gd name="connsiteY44" fmla="*/ 100515 h 100514"/>
                <a:gd name="connsiteX45" fmla="*/ 123811 w 136029"/>
                <a:gd name="connsiteY45" fmla="*/ 89437 h 100514"/>
                <a:gd name="connsiteX46" fmla="*/ 134074 w 136029"/>
                <a:gd name="connsiteY46" fmla="*/ 85364 h 100514"/>
                <a:gd name="connsiteX47" fmla="*/ 136029 w 136029"/>
                <a:gd name="connsiteY47" fmla="*/ 81455 h 100514"/>
                <a:gd name="connsiteX48" fmla="*/ 131305 w 136029"/>
                <a:gd name="connsiteY48" fmla="*/ 77545 h 100514"/>
                <a:gd name="connsiteX49" fmla="*/ 128372 w 136029"/>
                <a:gd name="connsiteY49" fmla="*/ 77545 h 100514"/>
                <a:gd name="connsiteX50" fmla="*/ 130164 w 136029"/>
                <a:gd name="connsiteY50" fmla="*/ 73146 h 100514"/>
                <a:gd name="connsiteX51" fmla="*/ 125440 w 136029"/>
                <a:gd name="connsiteY51" fmla="*/ 67281 h 100514"/>
                <a:gd name="connsiteX52" fmla="*/ 119575 w 136029"/>
                <a:gd name="connsiteY52" fmla="*/ 67607 h 100514"/>
                <a:gd name="connsiteX53" fmla="*/ 117620 w 136029"/>
                <a:gd name="connsiteY53" fmla="*/ 63534 h 100514"/>
                <a:gd name="connsiteX54" fmla="*/ 111593 w 136029"/>
                <a:gd name="connsiteY54" fmla="*/ 59462 h 100514"/>
                <a:gd name="connsiteX55" fmla="*/ 109149 w 136029"/>
                <a:gd name="connsiteY55" fmla="*/ 60928 h 100514"/>
                <a:gd name="connsiteX56" fmla="*/ 110289 w 136029"/>
                <a:gd name="connsiteY56" fmla="*/ 64675 h 100514"/>
                <a:gd name="connsiteX57" fmla="*/ 108335 w 136029"/>
                <a:gd name="connsiteY57" fmla="*/ 71517 h 100514"/>
                <a:gd name="connsiteX58" fmla="*/ 105891 w 136029"/>
                <a:gd name="connsiteY58" fmla="*/ 74449 h 100514"/>
                <a:gd name="connsiteX59" fmla="*/ 105891 w 136029"/>
                <a:gd name="connsiteY59" fmla="*/ 78522 h 1005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</a:cxnLst>
              <a:rect l="l" t="t" r="r" b="b"/>
              <a:pathLst>
                <a:path w="136029" h="100514">
                  <a:moveTo>
                    <a:pt x="1955" y="11892"/>
                  </a:moveTo>
                  <a:lnTo>
                    <a:pt x="5050" y="7494"/>
                  </a:lnTo>
                  <a:lnTo>
                    <a:pt x="1792" y="6353"/>
                  </a:lnTo>
                  <a:lnTo>
                    <a:pt x="0" y="9774"/>
                  </a:lnTo>
                  <a:lnTo>
                    <a:pt x="1955" y="11729"/>
                  </a:lnTo>
                  <a:lnTo>
                    <a:pt x="1955" y="11729"/>
                  </a:lnTo>
                  <a:close/>
                  <a:moveTo>
                    <a:pt x="25577" y="7494"/>
                  </a:moveTo>
                  <a:lnTo>
                    <a:pt x="28020" y="2444"/>
                  </a:lnTo>
                  <a:lnTo>
                    <a:pt x="26717" y="0"/>
                  </a:lnTo>
                  <a:lnTo>
                    <a:pt x="21015" y="0"/>
                  </a:lnTo>
                  <a:lnTo>
                    <a:pt x="17594" y="5213"/>
                  </a:lnTo>
                  <a:lnTo>
                    <a:pt x="21667" y="8145"/>
                  </a:lnTo>
                  <a:lnTo>
                    <a:pt x="25740" y="7331"/>
                  </a:lnTo>
                  <a:lnTo>
                    <a:pt x="25740" y="7331"/>
                  </a:lnTo>
                  <a:close/>
                  <a:moveTo>
                    <a:pt x="66630" y="25414"/>
                  </a:moveTo>
                  <a:lnTo>
                    <a:pt x="62394" y="22481"/>
                  </a:lnTo>
                  <a:lnTo>
                    <a:pt x="59462" y="16617"/>
                  </a:lnTo>
                  <a:lnTo>
                    <a:pt x="55389" y="17594"/>
                  </a:lnTo>
                  <a:lnTo>
                    <a:pt x="54412" y="21015"/>
                  </a:lnTo>
                  <a:lnTo>
                    <a:pt x="59462" y="28020"/>
                  </a:lnTo>
                  <a:lnTo>
                    <a:pt x="65652" y="28509"/>
                  </a:lnTo>
                  <a:lnTo>
                    <a:pt x="66630" y="25414"/>
                  </a:lnTo>
                  <a:lnTo>
                    <a:pt x="66630" y="25414"/>
                  </a:lnTo>
                  <a:close/>
                  <a:moveTo>
                    <a:pt x="88948" y="34374"/>
                  </a:moveTo>
                  <a:lnTo>
                    <a:pt x="84550" y="32907"/>
                  </a:lnTo>
                  <a:lnTo>
                    <a:pt x="81780" y="34048"/>
                  </a:lnTo>
                  <a:lnTo>
                    <a:pt x="78196" y="31767"/>
                  </a:lnTo>
                  <a:lnTo>
                    <a:pt x="84387" y="31767"/>
                  </a:lnTo>
                  <a:cubicBezTo>
                    <a:pt x="84387" y="31767"/>
                    <a:pt x="91066" y="30464"/>
                    <a:pt x="91066" y="30464"/>
                  </a:cubicBezTo>
                  <a:lnTo>
                    <a:pt x="88785" y="34374"/>
                  </a:lnTo>
                  <a:lnTo>
                    <a:pt x="88785" y="34374"/>
                  </a:lnTo>
                  <a:close/>
                  <a:moveTo>
                    <a:pt x="99375" y="47081"/>
                  </a:moveTo>
                  <a:lnTo>
                    <a:pt x="94650" y="42845"/>
                  </a:lnTo>
                  <a:lnTo>
                    <a:pt x="90089" y="39424"/>
                  </a:lnTo>
                  <a:lnTo>
                    <a:pt x="90089" y="36655"/>
                  </a:lnTo>
                  <a:lnTo>
                    <a:pt x="93347" y="36003"/>
                  </a:lnTo>
                  <a:lnTo>
                    <a:pt x="96768" y="38772"/>
                  </a:lnTo>
                  <a:lnTo>
                    <a:pt x="103610" y="39587"/>
                  </a:lnTo>
                  <a:lnTo>
                    <a:pt x="107031" y="44311"/>
                  </a:lnTo>
                  <a:lnTo>
                    <a:pt x="104099" y="47406"/>
                  </a:lnTo>
                  <a:lnTo>
                    <a:pt x="99375" y="47406"/>
                  </a:lnTo>
                  <a:close/>
                  <a:moveTo>
                    <a:pt x="105891" y="78522"/>
                  </a:moveTo>
                  <a:lnTo>
                    <a:pt x="108986" y="84061"/>
                  </a:lnTo>
                  <a:lnTo>
                    <a:pt x="108009" y="96605"/>
                  </a:lnTo>
                  <a:lnTo>
                    <a:pt x="114036" y="100515"/>
                  </a:lnTo>
                  <a:lnTo>
                    <a:pt x="123811" y="89437"/>
                  </a:lnTo>
                  <a:lnTo>
                    <a:pt x="134074" y="85364"/>
                  </a:lnTo>
                  <a:lnTo>
                    <a:pt x="136029" y="81455"/>
                  </a:lnTo>
                  <a:lnTo>
                    <a:pt x="131305" y="77545"/>
                  </a:lnTo>
                  <a:lnTo>
                    <a:pt x="128372" y="77545"/>
                  </a:lnTo>
                  <a:lnTo>
                    <a:pt x="130164" y="73146"/>
                  </a:lnTo>
                  <a:lnTo>
                    <a:pt x="125440" y="67281"/>
                  </a:lnTo>
                  <a:lnTo>
                    <a:pt x="119575" y="67607"/>
                  </a:lnTo>
                  <a:lnTo>
                    <a:pt x="117620" y="63534"/>
                  </a:lnTo>
                  <a:lnTo>
                    <a:pt x="111593" y="59462"/>
                  </a:lnTo>
                  <a:lnTo>
                    <a:pt x="109149" y="60928"/>
                  </a:lnTo>
                  <a:lnTo>
                    <a:pt x="110289" y="64675"/>
                  </a:lnTo>
                  <a:lnTo>
                    <a:pt x="108335" y="71517"/>
                  </a:lnTo>
                  <a:lnTo>
                    <a:pt x="105891" y="74449"/>
                  </a:lnTo>
                  <a:lnTo>
                    <a:pt x="105891" y="78522"/>
                  </a:lnTo>
                  <a:close/>
                </a:path>
              </a:pathLst>
            </a:custGeom>
            <a:solidFill>
              <a:schemeClr val="bg2"/>
            </a:solidFill>
            <a:ln w="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5" name="Forma livre: Forma 44">
              <a:extLst>
                <a:ext uri="{FF2B5EF4-FFF2-40B4-BE49-F238E27FC236}">
                  <a16:creationId xmlns:a16="http://schemas.microsoft.com/office/drawing/2014/main" id="{951CDC39-F958-A5A4-B307-8777B3D158F1}"/>
                </a:ext>
              </a:extLst>
            </p:cNvPr>
            <p:cNvSpPr/>
            <p:nvPr/>
          </p:nvSpPr>
          <p:spPr>
            <a:xfrm>
              <a:off x="4301856" y="4463938"/>
              <a:ext cx="82997" cy="34175"/>
            </a:xfrm>
            <a:custGeom>
              <a:avLst/>
              <a:gdLst>
                <a:gd name="connsiteX0" fmla="*/ 72495 w 80314"/>
                <a:gd name="connsiteY0" fmla="*/ 26066 h 33070"/>
                <a:gd name="connsiteX1" fmla="*/ 80314 w 80314"/>
                <a:gd name="connsiteY1" fmla="*/ 31116 h 33070"/>
                <a:gd name="connsiteX2" fmla="*/ 74612 w 80314"/>
                <a:gd name="connsiteY2" fmla="*/ 33071 h 33070"/>
                <a:gd name="connsiteX3" fmla="*/ 72169 w 80314"/>
                <a:gd name="connsiteY3" fmla="*/ 30301 h 33070"/>
                <a:gd name="connsiteX4" fmla="*/ 72495 w 80314"/>
                <a:gd name="connsiteY4" fmla="*/ 26066 h 33070"/>
                <a:gd name="connsiteX5" fmla="*/ 72495 w 80314"/>
                <a:gd name="connsiteY5" fmla="*/ 26066 h 33070"/>
                <a:gd name="connsiteX6" fmla="*/ 76242 w 80314"/>
                <a:gd name="connsiteY6" fmla="*/ 11078 h 33070"/>
                <a:gd name="connsiteX7" fmla="*/ 72495 w 80314"/>
                <a:gd name="connsiteY7" fmla="*/ 15802 h 33070"/>
                <a:gd name="connsiteX8" fmla="*/ 76893 w 80314"/>
                <a:gd name="connsiteY8" fmla="*/ 19875 h 33070"/>
                <a:gd name="connsiteX9" fmla="*/ 78196 w 80314"/>
                <a:gd name="connsiteY9" fmla="*/ 15313 h 33070"/>
                <a:gd name="connsiteX10" fmla="*/ 76242 w 80314"/>
                <a:gd name="connsiteY10" fmla="*/ 11078 h 33070"/>
                <a:gd name="connsiteX11" fmla="*/ 76242 w 80314"/>
                <a:gd name="connsiteY11" fmla="*/ 11078 h 33070"/>
                <a:gd name="connsiteX12" fmla="*/ 51317 w 80314"/>
                <a:gd name="connsiteY12" fmla="*/ 19712 h 33070"/>
                <a:gd name="connsiteX13" fmla="*/ 47569 w 80314"/>
                <a:gd name="connsiteY13" fmla="*/ 22319 h 33070"/>
                <a:gd name="connsiteX14" fmla="*/ 50339 w 80314"/>
                <a:gd name="connsiteY14" fmla="*/ 26228 h 33070"/>
                <a:gd name="connsiteX15" fmla="*/ 55715 w 80314"/>
                <a:gd name="connsiteY15" fmla="*/ 27043 h 33070"/>
                <a:gd name="connsiteX16" fmla="*/ 51317 w 80314"/>
                <a:gd name="connsiteY16" fmla="*/ 19875 h 33070"/>
                <a:gd name="connsiteX17" fmla="*/ 51317 w 80314"/>
                <a:gd name="connsiteY17" fmla="*/ 19875 h 33070"/>
                <a:gd name="connsiteX18" fmla="*/ 39098 w 80314"/>
                <a:gd name="connsiteY18" fmla="*/ 3095 h 33070"/>
                <a:gd name="connsiteX19" fmla="*/ 43334 w 80314"/>
                <a:gd name="connsiteY19" fmla="*/ 0 h 33070"/>
                <a:gd name="connsiteX20" fmla="*/ 50013 w 80314"/>
                <a:gd name="connsiteY20" fmla="*/ 0 h 33070"/>
                <a:gd name="connsiteX21" fmla="*/ 46103 w 80314"/>
                <a:gd name="connsiteY21" fmla="*/ 4236 h 33070"/>
                <a:gd name="connsiteX22" fmla="*/ 46103 w 80314"/>
                <a:gd name="connsiteY22" fmla="*/ 9775 h 33070"/>
                <a:gd name="connsiteX23" fmla="*/ 39913 w 80314"/>
                <a:gd name="connsiteY23" fmla="*/ 5539 h 33070"/>
                <a:gd name="connsiteX24" fmla="*/ 39098 w 80314"/>
                <a:gd name="connsiteY24" fmla="*/ 3095 h 33070"/>
                <a:gd name="connsiteX25" fmla="*/ 39098 w 80314"/>
                <a:gd name="connsiteY25" fmla="*/ 3095 h 33070"/>
                <a:gd name="connsiteX26" fmla="*/ 5376 w 80314"/>
                <a:gd name="connsiteY26" fmla="*/ 10752 h 33070"/>
                <a:gd name="connsiteX27" fmla="*/ 8145 w 80314"/>
                <a:gd name="connsiteY27" fmla="*/ 13521 h 33070"/>
                <a:gd name="connsiteX28" fmla="*/ 0 w 80314"/>
                <a:gd name="connsiteY28" fmla="*/ 14662 h 33070"/>
                <a:gd name="connsiteX29" fmla="*/ 5376 w 80314"/>
                <a:gd name="connsiteY29" fmla="*/ 10752 h 330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80314" h="33070">
                  <a:moveTo>
                    <a:pt x="72495" y="26066"/>
                  </a:moveTo>
                  <a:lnTo>
                    <a:pt x="80314" y="31116"/>
                  </a:lnTo>
                  <a:lnTo>
                    <a:pt x="74612" y="33071"/>
                  </a:lnTo>
                  <a:lnTo>
                    <a:pt x="72169" y="30301"/>
                  </a:lnTo>
                  <a:lnTo>
                    <a:pt x="72495" y="26066"/>
                  </a:lnTo>
                  <a:lnTo>
                    <a:pt x="72495" y="26066"/>
                  </a:lnTo>
                  <a:close/>
                  <a:moveTo>
                    <a:pt x="76242" y="11078"/>
                  </a:moveTo>
                  <a:lnTo>
                    <a:pt x="72495" y="15802"/>
                  </a:lnTo>
                  <a:lnTo>
                    <a:pt x="76893" y="19875"/>
                  </a:lnTo>
                  <a:lnTo>
                    <a:pt x="78196" y="15313"/>
                  </a:lnTo>
                  <a:lnTo>
                    <a:pt x="76242" y="11078"/>
                  </a:lnTo>
                  <a:lnTo>
                    <a:pt x="76242" y="11078"/>
                  </a:lnTo>
                  <a:close/>
                  <a:moveTo>
                    <a:pt x="51317" y="19712"/>
                  </a:moveTo>
                  <a:lnTo>
                    <a:pt x="47569" y="22319"/>
                  </a:lnTo>
                  <a:lnTo>
                    <a:pt x="50339" y="26228"/>
                  </a:lnTo>
                  <a:lnTo>
                    <a:pt x="55715" y="27043"/>
                  </a:lnTo>
                  <a:lnTo>
                    <a:pt x="51317" y="19875"/>
                  </a:lnTo>
                  <a:lnTo>
                    <a:pt x="51317" y="19875"/>
                  </a:lnTo>
                  <a:close/>
                  <a:moveTo>
                    <a:pt x="39098" y="3095"/>
                  </a:moveTo>
                  <a:lnTo>
                    <a:pt x="43334" y="0"/>
                  </a:lnTo>
                  <a:lnTo>
                    <a:pt x="50013" y="0"/>
                  </a:lnTo>
                  <a:cubicBezTo>
                    <a:pt x="50013" y="0"/>
                    <a:pt x="46103" y="4236"/>
                    <a:pt x="46103" y="4236"/>
                  </a:cubicBezTo>
                  <a:lnTo>
                    <a:pt x="46103" y="9775"/>
                  </a:lnTo>
                  <a:cubicBezTo>
                    <a:pt x="46103" y="9775"/>
                    <a:pt x="39913" y="5539"/>
                    <a:pt x="39913" y="5539"/>
                  </a:cubicBezTo>
                  <a:lnTo>
                    <a:pt x="39098" y="3095"/>
                  </a:lnTo>
                  <a:lnTo>
                    <a:pt x="39098" y="3095"/>
                  </a:lnTo>
                  <a:close/>
                  <a:moveTo>
                    <a:pt x="5376" y="10752"/>
                  </a:moveTo>
                  <a:lnTo>
                    <a:pt x="8145" y="13521"/>
                  </a:lnTo>
                  <a:lnTo>
                    <a:pt x="0" y="14662"/>
                  </a:lnTo>
                  <a:lnTo>
                    <a:pt x="5376" y="10752"/>
                  </a:lnTo>
                  <a:close/>
                </a:path>
              </a:pathLst>
            </a:custGeom>
            <a:solidFill>
              <a:schemeClr val="bg2"/>
            </a:solidFill>
            <a:ln w="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6" name="Forma livre: Forma 45">
              <a:extLst>
                <a:ext uri="{FF2B5EF4-FFF2-40B4-BE49-F238E27FC236}">
                  <a16:creationId xmlns:a16="http://schemas.microsoft.com/office/drawing/2014/main" id="{1B732105-179C-E49D-3AE9-17813E8F70CB}"/>
                </a:ext>
              </a:extLst>
            </p:cNvPr>
            <p:cNvSpPr/>
            <p:nvPr/>
          </p:nvSpPr>
          <p:spPr>
            <a:xfrm>
              <a:off x="4238894" y="4457541"/>
              <a:ext cx="57071" cy="18518"/>
            </a:xfrm>
            <a:custGeom>
              <a:avLst/>
              <a:gdLst>
                <a:gd name="connsiteX0" fmla="*/ 43822 w 55226"/>
                <a:gd name="connsiteY0" fmla="*/ 14825 h 17919"/>
                <a:gd name="connsiteX1" fmla="*/ 48058 w 55226"/>
                <a:gd name="connsiteY1" fmla="*/ 10752 h 17919"/>
                <a:gd name="connsiteX2" fmla="*/ 55226 w 55226"/>
                <a:gd name="connsiteY2" fmla="*/ 12707 h 17919"/>
                <a:gd name="connsiteX3" fmla="*/ 53271 w 55226"/>
                <a:gd name="connsiteY3" fmla="*/ 14336 h 17919"/>
                <a:gd name="connsiteX4" fmla="*/ 43822 w 55226"/>
                <a:gd name="connsiteY4" fmla="*/ 14825 h 17919"/>
                <a:gd name="connsiteX5" fmla="*/ 43822 w 55226"/>
                <a:gd name="connsiteY5" fmla="*/ 14825 h 17919"/>
                <a:gd name="connsiteX6" fmla="*/ 38772 w 55226"/>
                <a:gd name="connsiteY6" fmla="*/ 1629 h 17919"/>
                <a:gd name="connsiteX7" fmla="*/ 35677 w 55226"/>
                <a:gd name="connsiteY7" fmla="*/ 163 h 17919"/>
                <a:gd name="connsiteX8" fmla="*/ 25251 w 55226"/>
                <a:gd name="connsiteY8" fmla="*/ 1629 h 17919"/>
                <a:gd name="connsiteX9" fmla="*/ 6679 w 55226"/>
                <a:gd name="connsiteY9" fmla="*/ 0 h 17919"/>
                <a:gd name="connsiteX10" fmla="*/ 4724 w 55226"/>
                <a:gd name="connsiteY10" fmla="*/ 3747 h 17919"/>
                <a:gd name="connsiteX11" fmla="*/ 326 w 55226"/>
                <a:gd name="connsiteY11" fmla="*/ 6028 h 17919"/>
                <a:gd name="connsiteX12" fmla="*/ 814 w 55226"/>
                <a:gd name="connsiteY12" fmla="*/ 9449 h 17919"/>
                <a:gd name="connsiteX13" fmla="*/ 0 w 55226"/>
                <a:gd name="connsiteY13" fmla="*/ 12055 h 17919"/>
                <a:gd name="connsiteX14" fmla="*/ 2281 w 55226"/>
                <a:gd name="connsiteY14" fmla="*/ 16291 h 17919"/>
                <a:gd name="connsiteX15" fmla="*/ 14499 w 55226"/>
                <a:gd name="connsiteY15" fmla="*/ 16780 h 17919"/>
                <a:gd name="connsiteX16" fmla="*/ 17757 w 55226"/>
                <a:gd name="connsiteY16" fmla="*/ 17920 h 17919"/>
                <a:gd name="connsiteX17" fmla="*/ 26554 w 55226"/>
                <a:gd name="connsiteY17" fmla="*/ 15639 h 17919"/>
                <a:gd name="connsiteX18" fmla="*/ 29812 w 55226"/>
                <a:gd name="connsiteY18" fmla="*/ 17268 h 17919"/>
                <a:gd name="connsiteX19" fmla="*/ 38284 w 55226"/>
                <a:gd name="connsiteY19" fmla="*/ 13358 h 17919"/>
                <a:gd name="connsiteX20" fmla="*/ 44963 w 55226"/>
                <a:gd name="connsiteY20" fmla="*/ 6190 h 17919"/>
                <a:gd name="connsiteX21" fmla="*/ 40239 w 55226"/>
                <a:gd name="connsiteY21" fmla="*/ 4724 h 17919"/>
                <a:gd name="connsiteX22" fmla="*/ 38935 w 55226"/>
                <a:gd name="connsiteY22" fmla="*/ 1629 h 179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55226" h="17919">
                  <a:moveTo>
                    <a:pt x="43822" y="14825"/>
                  </a:moveTo>
                  <a:lnTo>
                    <a:pt x="48058" y="10752"/>
                  </a:lnTo>
                  <a:lnTo>
                    <a:pt x="55226" y="12707"/>
                  </a:lnTo>
                  <a:lnTo>
                    <a:pt x="53271" y="14336"/>
                  </a:lnTo>
                  <a:lnTo>
                    <a:pt x="43822" y="14825"/>
                  </a:lnTo>
                  <a:lnTo>
                    <a:pt x="43822" y="14825"/>
                  </a:lnTo>
                  <a:close/>
                  <a:moveTo>
                    <a:pt x="38772" y="1629"/>
                  </a:moveTo>
                  <a:lnTo>
                    <a:pt x="35677" y="163"/>
                  </a:lnTo>
                  <a:lnTo>
                    <a:pt x="25251" y="1629"/>
                  </a:lnTo>
                  <a:lnTo>
                    <a:pt x="6679" y="0"/>
                  </a:lnTo>
                  <a:lnTo>
                    <a:pt x="4724" y="3747"/>
                  </a:lnTo>
                  <a:lnTo>
                    <a:pt x="326" y="6028"/>
                  </a:lnTo>
                  <a:lnTo>
                    <a:pt x="814" y="9449"/>
                  </a:lnTo>
                  <a:lnTo>
                    <a:pt x="0" y="12055"/>
                  </a:lnTo>
                  <a:lnTo>
                    <a:pt x="2281" y="16291"/>
                  </a:lnTo>
                  <a:lnTo>
                    <a:pt x="14499" y="16780"/>
                  </a:lnTo>
                  <a:lnTo>
                    <a:pt x="17757" y="17920"/>
                  </a:lnTo>
                  <a:lnTo>
                    <a:pt x="26554" y="15639"/>
                  </a:lnTo>
                  <a:lnTo>
                    <a:pt x="29812" y="17268"/>
                  </a:lnTo>
                  <a:lnTo>
                    <a:pt x="38284" y="13358"/>
                  </a:lnTo>
                  <a:lnTo>
                    <a:pt x="44963" y="6190"/>
                  </a:lnTo>
                  <a:lnTo>
                    <a:pt x="40239" y="4724"/>
                  </a:lnTo>
                  <a:lnTo>
                    <a:pt x="38935" y="1629"/>
                  </a:lnTo>
                  <a:close/>
                </a:path>
              </a:pathLst>
            </a:custGeom>
            <a:solidFill>
              <a:schemeClr val="bg2"/>
            </a:solidFill>
            <a:ln w="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7" name="Forma livre: Forma 46">
              <a:extLst>
                <a:ext uri="{FF2B5EF4-FFF2-40B4-BE49-F238E27FC236}">
                  <a16:creationId xmlns:a16="http://schemas.microsoft.com/office/drawing/2014/main" id="{3C116B42-5458-8834-7607-40621B2F612C}"/>
                </a:ext>
              </a:extLst>
            </p:cNvPr>
            <p:cNvSpPr/>
            <p:nvPr/>
          </p:nvSpPr>
          <p:spPr>
            <a:xfrm>
              <a:off x="4113472" y="4416968"/>
              <a:ext cx="102188" cy="68013"/>
            </a:xfrm>
            <a:custGeom>
              <a:avLst/>
              <a:gdLst>
                <a:gd name="connsiteX0" fmla="*/ 87971 w 98885"/>
                <a:gd name="connsiteY0" fmla="*/ 46266 h 65815"/>
                <a:gd name="connsiteX1" fmla="*/ 90903 w 98885"/>
                <a:gd name="connsiteY1" fmla="*/ 49361 h 65815"/>
                <a:gd name="connsiteX2" fmla="*/ 95139 w 98885"/>
                <a:gd name="connsiteY2" fmla="*/ 49850 h 65815"/>
                <a:gd name="connsiteX3" fmla="*/ 91881 w 98885"/>
                <a:gd name="connsiteY3" fmla="*/ 52131 h 65815"/>
                <a:gd name="connsiteX4" fmla="*/ 88297 w 98885"/>
                <a:gd name="connsiteY4" fmla="*/ 50665 h 65815"/>
                <a:gd name="connsiteX5" fmla="*/ 86342 w 98885"/>
                <a:gd name="connsiteY5" fmla="*/ 47081 h 65815"/>
                <a:gd name="connsiteX6" fmla="*/ 87971 w 98885"/>
                <a:gd name="connsiteY6" fmla="*/ 46266 h 65815"/>
                <a:gd name="connsiteX7" fmla="*/ 87971 w 98885"/>
                <a:gd name="connsiteY7" fmla="*/ 46266 h 65815"/>
                <a:gd name="connsiteX8" fmla="*/ 10426 w 98885"/>
                <a:gd name="connsiteY8" fmla="*/ 6679 h 65815"/>
                <a:gd name="connsiteX9" fmla="*/ 11241 w 98885"/>
                <a:gd name="connsiteY9" fmla="*/ 9286 h 65815"/>
                <a:gd name="connsiteX10" fmla="*/ 8634 w 98885"/>
                <a:gd name="connsiteY10" fmla="*/ 14010 h 65815"/>
                <a:gd name="connsiteX11" fmla="*/ 10589 w 98885"/>
                <a:gd name="connsiteY11" fmla="*/ 18083 h 65815"/>
                <a:gd name="connsiteX12" fmla="*/ 8960 w 98885"/>
                <a:gd name="connsiteY12" fmla="*/ 23622 h 65815"/>
                <a:gd name="connsiteX13" fmla="*/ 4887 w 98885"/>
                <a:gd name="connsiteY13" fmla="*/ 25577 h 65815"/>
                <a:gd name="connsiteX14" fmla="*/ 4073 w 98885"/>
                <a:gd name="connsiteY14" fmla="*/ 27532 h 65815"/>
                <a:gd name="connsiteX15" fmla="*/ 6517 w 98885"/>
                <a:gd name="connsiteY15" fmla="*/ 32908 h 65815"/>
                <a:gd name="connsiteX16" fmla="*/ 6517 w 98885"/>
                <a:gd name="connsiteY16" fmla="*/ 37143 h 65815"/>
                <a:gd name="connsiteX17" fmla="*/ 6028 w 98885"/>
                <a:gd name="connsiteY17" fmla="*/ 40239 h 65815"/>
                <a:gd name="connsiteX18" fmla="*/ 0 w 98885"/>
                <a:gd name="connsiteY18" fmla="*/ 46755 h 65815"/>
                <a:gd name="connsiteX19" fmla="*/ 489 w 98885"/>
                <a:gd name="connsiteY19" fmla="*/ 49524 h 65815"/>
                <a:gd name="connsiteX20" fmla="*/ 3258 w 98885"/>
                <a:gd name="connsiteY20" fmla="*/ 49524 h 65815"/>
                <a:gd name="connsiteX21" fmla="*/ 6028 w 98885"/>
                <a:gd name="connsiteY21" fmla="*/ 55552 h 65815"/>
                <a:gd name="connsiteX22" fmla="*/ 4399 w 98885"/>
                <a:gd name="connsiteY22" fmla="*/ 59788 h 65815"/>
                <a:gd name="connsiteX23" fmla="*/ 8960 w 98885"/>
                <a:gd name="connsiteY23" fmla="*/ 61580 h 65815"/>
                <a:gd name="connsiteX24" fmla="*/ 10263 w 98885"/>
                <a:gd name="connsiteY24" fmla="*/ 64186 h 65815"/>
                <a:gd name="connsiteX25" fmla="*/ 13521 w 98885"/>
                <a:gd name="connsiteY25" fmla="*/ 65815 h 65815"/>
                <a:gd name="connsiteX26" fmla="*/ 16617 w 98885"/>
                <a:gd name="connsiteY26" fmla="*/ 58322 h 65815"/>
                <a:gd name="connsiteX27" fmla="*/ 22807 w 98885"/>
                <a:gd name="connsiteY27" fmla="*/ 50013 h 65815"/>
                <a:gd name="connsiteX28" fmla="*/ 22156 w 98885"/>
                <a:gd name="connsiteY28" fmla="*/ 47407 h 65815"/>
                <a:gd name="connsiteX29" fmla="*/ 24436 w 98885"/>
                <a:gd name="connsiteY29" fmla="*/ 43660 h 65815"/>
                <a:gd name="connsiteX30" fmla="*/ 27369 w 98885"/>
                <a:gd name="connsiteY30" fmla="*/ 46429 h 65815"/>
                <a:gd name="connsiteX31" fmla="*/ 30953 w 98885"/>
                <a:gd name="connsiteY31" fmla="*/ 46755 h 65815"/>
                <a:gd name="connsiteX32" fmla="*/ 34048 w 98885"/>
                <a:gd name="connsiteY32" fmla="*/ 40564 h 65815"/>
                <a:gd name="connsiteX33" fmla="*/ 37795 w 98885"/>
                <a:gd name="connsiteY33" fmla="*/ 42845 h 65815"/>
                <a:gd name="connsiteX34" fmla="*/ 38121 w 98885"/>
                <a:gd name="connsiteY34" fmla="*/ 47733 h 65815"/>
                <a:gd name="connsiteX35" fmla="*/ 41053 w 98885"/>
                <a:gd name="connsiteY35" fmla="*/ 49524 h 65815"/>
                <a:gd name="connsiteX36" fmla="*/ 47895 w 98885"/>
                <a:gd name="connsiteY36" fmla="*/ 47733 h 65815"/>
                <a:gd name="connsiteX37" fmla="*/ 54737 w 98885"/>
                <a:gd name="connsiteY37" fmla="*/ 41542 h 65815"/>
                <a:gd name="connsiteX38" fmla="*/ 62069 w 98885"/>
                <a:gd name="connsiteY38" fmla="*/ 40239 h 65815"/>
                <a:gd name="connsiteX39" fmla="*/ 70051 w 98885"/>
                <a:gd name="connsiteY39" fmla="*/ 41379 h 65815"/>
                <a:gd name="connsiteX40" fmla="*/ 75101 w 98885"/>
                <a:gd name="connsiteY40" fmla="*/ 39587 h 65815"/>
                <a:gd name="connsiteX41" fmla="*/ 78848 w 98885"/>
                <a:gd name="connsiteY41" fmla="*/ 42519 h 65815"/>
                <a:gd name="connsiteX42" fmla="*/ 84713 w 98885"/>
                <a:gd name="connsiteY42" fmla="*/ 42845 h 65815"/>
                <a:gd name="connsiteX43" fmla="*/ 91881 w 98885"/>
                <a:gd name="connsiteY43" fmla="*/ 44637 h 65815"/>
                <a:gd name="connsiteX44" fmla="*/ 93347 w 98885"/>
                <a:gd name="connsiteY44" fmla="*/ 40564 h 65815"/>
                <a:gd name="connsiteX45" fmla="*/ 96442 w 98885"/>
                <a:gd name="connsiteY45" fmla="*/ 40564 h 65815"/>
                <a:gd name="connsiteX46" fmla="*/ 98886 w 98885"/>
                <a:gd name="connsiteY46" fmla="*/ 36492 h 65815"/>
                <a:gd name="connsiteX47" fmla="*/ 96605 w 98885"/>
                <a:gd name="connsiteY47" fmla="*/ 32745 h 65815"/>
                <a:gd name="connsiteX48" fmla="*/ 86342 w 98885"/>
                <a:gd name="connsiteY48" fmla="*/ 26880 h 65815"/>
                <a:gd name="connsiteX49" fmla="*/ 82432 w 98885"/>
                <a:gd name="connsiteY49" fmla="*/ 26880 h 65815"/>
                <a:gd name="connsiteX50" fmla="*/ 76242 w 98885"/>
                <a:gd name="connsiteY50" fmla="*/ 24925 h 65815"/>
                <a:gd name="connsiteX51" fmla="*/ 72006 w 98885"/>
                <a:gd name="connsiteY51" fmla="*/ 24925 h 65815"/>
                <a:gd name="connsiteX52" fmla="*/ 65164 w 98885"/>
                <a:gd name="connsiteY52" fmla="*/ 21830 h 65815"/>
                <a:gd name="connsiteX53" fmla="*/ 57996 w 98885"/>
                <a:gd name="connsiteY53" fmla="*/ 17594 h 65815"/>
                <a:gd name="connsiteX54" fmla="*/ 52945 w 98885"/>
                <a:gd name="connsiteY54" fmla="*/ 17594 h 65815"/>
                <a:gd name="connsiteX55" fmla="*/ 56367 w 98885"/>
                <a:gd name="connsiteY55" fmla="*/ 16291 h 65815"/>
                <a:gd name="connsiteX56" fmla="*/ 63535 w 98885"/>
                <a:gd name="connsiteY56" fmla="*/ 18246 h 65815"/>
                <a:gd name="connsiteX57" fmla="*/ 74612 w 98885"/>
                <a:gd name="connsiteY57" fmla="*/ 19386 h 65815"/>
                <a:gd name="connsiteX58" fmla="*/ 79011 w 98885"/>
                <a:gd name="connsiteY58" fmla="*/ 17757 h 65815"/>
                <a:gd name="connsiteX59" fmla="*/ 75753 w 98885"/>
                <a:gd name="connsiteY59" fmla="*/ 15151 h 65815"/>
                <a:gd name="connsiteX60" fmla="*/ 72820 w 98885"/>
                <a:gd name="connsiteY60" fmla="*/ 15639 h 65815"/>
                <a:gd name="connsiteX61" fmla="*/ 64512 w 98885"/>
                <a:gd name="connsiteY61" fmla="*/ 14010 h 65815"/>
                <a:gd name="connsiteX62" fmla="*/ 60439 w 98885"/>
                <a:gd name="connsiteY62" fmla="*/ 6028 h 65815"/>
                <a:gd name="connsiteX63" fmla="*/ 55878 w 98885"/>
                <a:gd name="connsiteY63" fmla="*/ 6028 h 65815"/>
                <a:gd name="connsiteX64" fmla="*/ 53597 w 98885"/>
                <a:gd name="connsiteY64" fmla="*/ 7005 h 65815"/>
                <a:gd name="connsiteX65" fmla="*/ 50339 w 98885"/>
                <a:gd name="connsiteY65" fmla="*/ 4561 h 65815"/>
                <a:gd name="connsiteX66" fmla="*/ 28998 w 98885"/>
                <a:gd name="connsiteY66" fmla="*/ 0 h 65815"/>
                <a:gd name="connsiteX67" fmla="*/ 26554 w 98885"/>
                <a:gd name="connsiteY67" fmla="*/ 1466 h 65815"/>
                <a:gd name="connsiteX68" fmla="*/ 21830 w 98885"/>
                <a:gd name="connsiteY68" fmla="*/ 163 h 65815"/>
                <a:gd name="connsiteX69" fmla="*/ 13359 w 98885"/>
                <a:gd name="connsiteY69" fmla="*/ 1629 h 65815"/>
                <a:gd name="connsiteX70" fmla="*/ 10589 w 98885"/>
                <a:gd name="connsiteY70" fmla="*/ 6516 h 658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</a:cxnLst>
              <a:rect l="l" t="t" r="r" b="b"/>
              <a:pathLst>
                <a:path w="98885" h="65815">
                  <a:moveTo>
                    <a:pt x="87971" y="46266"/>
                  </a:moveTo>
                  <a:lnTo>
                    <a:pt x="90903" y="49361"/>
                  </a:lnTo>
                  <a:lnTo>
                    <a:pt x="95139" y="49850"/>
                  </a:lnTo>
                  <a:lnTo>
                    <a:pt x="91881" y="52131"/>
                  </a:lnTo>
                  <a:lnTo>
                    <a:pt x="88297" y="50665"/>
                  </a:lnTo>
                  <a:lnTo>
                    <a:pt x="86342" y="47081"/>
                  </a:lnTo>
                  <a:lnTo>
                    <a:pt x="87971" y="46266"/>
                  </a:lnTo>
                  <a:lnTo>
                    <a:pt x="87971" y="46266"/>
                  </a:lnTo>
                  <a:close/>
                  <a:moveTo>
                    <a:pt x="10426" y="6679"/>
                  </a:moveTo>
                  <a:lnTo>
                    <a:pt x="11241" y="9286"/>
                  </a:lnTo>
                  <a:lnTo>
                    <a:pt x="8634" y="14010"/>
                  </a:lnTo>
                  <a:lnTo>
                    <a:pt x="10589" y="18083"/>
                  </a:lnTo>
                  <a:lnTo>
                    <a:pt x="8960" y="23622"/>
                  </a:lnTo>
                  <a:lnTo>
                    <a:pt x="4887" y="25577"/>
                  </a:lnTo>
                  <a:lnTo>
                    <a:pt x="4073" y="27532"/>
                  </a:lnTo>
                  <a:lnTo>
                    <a:pt x="6517" y="32908"/>
                  </a:lnTo>
                  <a:lnTo>
                    <a:pt x="6517" y="37143"/>
                  </a:lnTo>
                  <a:cubicBezTo>
                    <a:pt x="6517" y="37143"/>
                    <a:pt x="6028" y="40239"/>
                    <a:pt x="6028" y="40239"/>
                  </a:cubicBezTo>
                  <a:lnTo>
                    <a:pt x="0" y="46755"/>
                  </a:lnTo>
                  <a:lnTo>
                    <a:pt x="489" y="49524"/>
                  </a:lnTo>
                  <a:lnTo>
                    <a:pt x="3258" y="49524"/>
                  </a:lnTo>
                  <a:cubicBezTo>
                    <a:pt x="3258" y="49524"/>
                    <a:pt x="6028" y="55552"/>
                    <a:pt x="6028" y="55552"/>
                  </a:cubicBezTo>
                  <a:lnTo>
                    <a:pt x="4399" y="59788"/>
                  </a:lnTo>
                  <a:lnTo>
                    <a:pt x="8960" y="61580"/>
                  </a:lnTo>
                  <a:lnTo>
                    <a:pt x="10263" y="64186"/>
                  </a:lnTo>
                  <a:lnTo>
                    <a:pt x="13521" y="65815"/>
                  </a:lnTo>
                  <a:lnTo>
                    <a:pt x="16617" y="58322"/>
                  </a:lnTo>
                  <a:lnTo>
                    <a:pt x="22807" y="50013"/>
                  </a:lnTo>
                  <a:lnTo>
                    <a:pt x="22156" y="47407"/>
                  </a:lnTo>
                  <a:lnTo>
                    <a:pt x="24436" y="43660"/>
                  </a:lnTo>
                  <a:lnTo>
                    <a:pt x="27369" y="46429"/>
                  </a:lnTo>
                  <a:lnTo>
                    <a:pt x="30953" y="46755"/>
                  </a:lnTo>
                  <a:lnTo>
                    <a:pt x="34048" y="40564"/>
                  </a:lnTo>
                  <a:lnTo>
                    <a:pt x="37795" y="42845"/>
                  </a:lnTo>
                  <a:lnTo>
                    <a:pt x="38121" y="47733"/>
                  </a:lnTo>
                  <a:lnTo>
                    <a:pt x="41053" y="49524"/>
                  </a:lnTo>
                  <a:lnTo>
                    <a:pt x="47895" y="47733"/>
                  </a:lnTo>
                  <a:lnTo>
                    <a:pt x="54737" y="41542"/>
                  </a:lnTo>
                  <a:lnTo>
                    <a:pt x="62069" y="40239"/>
                  </a:lnTo>
                  <a:lnTo>
                    <a:pt x="70051" y="41379"/>
                  </a:lnTo>
                  <a:lnTo>
                    <a:pt x="75101" y="39587"/>
                  </a:lnTo>
                  <a:lnTo>
                    <a:pt x="78848" y="42519"/>
                  </a:lnTo>
                  <a:lnTo>
                    <a:pt x="84713" y="42845"/>
                  </a:lnTo>
                  <a:lnTo>
                    <a:pt x="91881" y="44637"/>
                  </a:lnTo>
                  <a:lnTo>
                    <a:pt x="93347" y="40564"/>
                  </a:lnTo>
                  <a:lnTo>
                    <a:pt x="96442" y="40564"/>
                  </a:lnTo>
                  <a:lnTo>
                    <a:pt x="98886" y="36492"/>
                  </a:lnTo>
                  <a:lnTo>
                    <a:pt x="96605" y="32745"/>
                  </a:lnTo>
                  <a:lnTo>
                    <a:pt x="86342" y="26880"/>
                  </a:lnTo>
                  <a:lnTo>
                    <a:pt x="82432" y="26880"/>
                  </a:lnTo>
                  <a:lnTo>
                    <a:pt x="76242" y="24925"/>
                  </a:lnTo>
                  <a:lnTo>
                    <a:pt x="72006" y="24925"/>
                  </a:lnTo>
                  <a:cubicBezTo>
                    <a:pt x="72006" y="24925"/>
                    <a:pt x="65164" y="21830"/>
                    <a:pt x="65164" y="21830"/>
                  </a:cubicBezTo>
                  <a:lnTo>
                    <a:pt x="57996" y="17594"/>
                  </a:lnTo>
                  <a:lnTo>
                    <a:pt x="52945" y="17594"/>
                  </a:lnTo>
                  <a:lnTo>
                    <a:pt x="56367" y="16291"/>
                  </a:lnTo>
                  <a:lnTo>
                    <a:pt x="63535" y="18246"/>
                  </a:lnTo>
                  <a:lnTo>
                    <a:pt x="74612" y="19386"/>
                  </a:lnTo>
                  <a:lnTo>
                    <a:pt x="79011" y="17757"/>
                  </a:lnTo>
                  <a:lnTo>
                    <a:pt x="75753" y="15151"/>
                  </a:lnTo>
                  <a:lnTo>
                    <a:pt x="72820" y="15639"/>
                  </a:lnTo>
                  <a:lnTo>
                    <a:pt x="64512" y="14010"/>
                  </a:lnTo>
                  <a:lnTo>
                    <a:pt x="60439" y="6028"/>
                  </a:lnTo>
                  <a:lnTo>
                    <a:pt x="55878" y="6028"/>
                  </a:lnTo>
                  <a:lnTo>
                    <a:pt x="53597" y="7005"/>
                  </a:lnTo>
                  <a:lnTo>
                    <a:pt x="50339" y="4561"/>
                  </a:lnTo>
                  <a:lnTo>
                    <a:pt x="28998" y="0"/>
                  </a:lnTo>
                  <a:lnTo>
                    <a:pt x="26554" y="1466"/>
                  </a:lnTo>
                  <a:lnTo>
                    <a:pt x="21830" y="163"/>
                  </a:lnTo>
                  <a:lnTo>
                    <a:pt x="13359" y="1629"/>
                  </a:lnTo>
                  <a:lnTo>
                    <a:pt x="10589" y="6516"/>
                  </a:lnTo>
                  <a:close/>
                </a:path>
              </a:pathLst>
            </a:custGeom>
            <a:solidFill>
              <a:schemeClr val="bg2"/>
            </a:solidFill>
            <a:ln w="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8" name="Forma livre: Forma 47">
              <a:extLst>
                <a:ext uri="{FF2B5EF4-FFF2-40B4-BE49-F238E27FC236}">
                  <a16:creationId xmlns:a16="http://schemas.microsoft.com/office/drawing/2014/main" id="{4EE6CC2E-DECE-C849-C84C-C50EF4AEEAE2}"/>
                </a:ext>
              </a:extLst>
            </p:cNvPr>
            <p:cNvSpPr/>
            <p:nvPr/>
          </p:nvSpPr>
          <p:spPr>
            <a:xfrm>
              <a:off x="4671891" y="1677064"/>
              <a:ext cx="1119699" cy="1434009"/>
            </a:xfrm>
            <a:custGeom>
              <a:avLst/>
              <a:gdLst>
                <a:gd name="connsiteX0" fmla="*/ 321420 w 1083508"/>
                <a:gd name="connsiteY0" fmla="*/ 1374139 h 1387660"/>
                <a:gd name="connsiteX1" fmla="*/ 309853 w 1083508"/>
                <a:gd name="connsiteY1" fmla="*/ 1368111 h 1387660"/>
                <a:gd name="connsiteX2" fmla="*/ 303337 w 1083508"/>
                <a:gd name="connsiteY2" fmla="*/ 1368111 h 1387660"/>
                <a:gd name="connsiteX3" fmla="*/ 302848 w 1083508"/>
                <a:gd name="connsiteY3" fmla="*/ 1365993 h 1387660"/>
                <a:gd name="connsiteX4" fmla="*/ 303663 w 1083508"/>
                <a:gd name="connsiteY4" fmla="*/ 1361920 h 1387660"/>
                <a:gd name="connsiteX5" fmla="*/ 305129 w 1083508"/>
                <a:gd name="connsiteY5" fmla="*/ 1361920 h 1387660"/>
                <a:gd name="connsiteX6" fmla="*/ 304803 w 1083508"/>
                <a:gd name="connsiteY6" fmla="*/ 1359477 h 1387660"/>
                <a:gd name="connsiteX7" fmla="*/ 302522 w 1083508"/>
                <a:gd name="connsiteY7" fmla="*/ 1359151 h 1387660"/>
                <a:gd name="connsiteX8" fmla="*/ 300241 w 1083508"/>
                <a:gd name="connsiteY8" fmla="*/ 1362083 h 1387660"/>
                <a:gd name="connsiteX9" fmla="*/ 298449 w 1083508"/>
                <a:gd name="connsiteY9" fmla="*/ 1362409 h 1387660"/>
                <a:gd name="connsiteX10" fmla="*/ 298449 w 1083508"/>
                <a:gd name="connsiteY10" fmla="*/ 1368926 h 1387660"/>
                <a:gd name="connsiteX11" fmla="*/ 294865 w 1083508"/>
                <a:gd name="connsiteY11" fmla="*/ 1367296 h 1387660"/>
                <a:gd name="connsiteX12" fmla="*/ 293073 w 1083508"/>
                <a:gd name="connsiteY12" fmla="*/ 1367296 h 1387660"/>
                <a:gd name="connsiteX13" fmla="*/ 292096 w 1083508"/>
                <a:gd name="connsiteY13" fmla="*/ 1369740 h 1387660"/>
                <a:gd name="connsiteX14" fmla="*/ 292096 w 1083508"/>
                <a:gd name="connsiteY14" fmla="*/ 1373324 h 1387660"/>
                <a:gd name="connsiteX15" fmla="*/ 290467 w 1083508"/>
                <a:gd name="connsiteY15" fmla="*/ 1375279 h 1387660"/>
                <a:gd name="connsiteX16" fmla="*/ 287860 w 1083508"/>
                <a:gd name="connsiteY16" fmla="*/ 1373976 h 1387660"/>
                <a:gd name="connsiteX17" fmla="*/ 289327 w 1083508"/>
                <a:gd name="connsiteY17" fmla="*/ 1369414 h 1387660"/>
                <a:gd name="connsiteX18" fmla="*/ 291119 w 1083508"/>
                <a:gd name="connsiteY18" fmla="*/ 1366319 h 1387660"/>
                <a:gd name="connsiteX19" fmla="*/ 290793 w 1083508"/>
                <a:gd name="connsiteY19" fmla="*/ 1362409 h 1387660"/>
                <a:gd name="connsiteX20" fmla="*/ 295517 w 1083508"/>
                <a:gd name="connsiteY20" fmla="*/ 1355893 h 1387660"/>
                <a:gd name="connsiteX21" fmla="*/ 294703 w 1083508"/>
                <a:gd name="connsiteY21" fmla="*/ 1354915 h 1387660"/>
                <a:gd name="connsiteX22" fmla="*/ 291281 w 1083508"/>
                <a:gd name="connsiteY22" fmla="*/ 1357196 h 1387660"/>
                <a:gd name="connsiteX23" fmla="*/ 287860 w 1083508"/>
                <a:gd name="connsiteY23" fmla="*/ 1365993 h 1387660"/>
                <a:gd name="connsiteX24" fmla="*/ 283625 w 1083508"/>
                <a:gd name="connsiteY24" fmla="*/ 1369577 h 1387660"/>
                <a:gd name="connsiteX25" fmla="*/ 281996 w 1083508"/>
                <a:gd name="connsiteY25" fmla="*/ 1368600 h 1387660"/>
                <a:gd name="connsiteX26" fmla="*/ 282484 w 1083508"/>
                <a:gd name="connsiteY26" fmla="*/ 1365342 h 1387660"/>
                <a:gd name="connsiteX27" fmla="*/ 287046 w 1083508"/>
                <a:gd name="connsiteY27" fmla="*/ 1361432 h 1387660"/>
                <a:gd name="connsiteX28" fmla="*/ 287860 w 1083508"/>
                <a:gd name="connsiteY28" fmla="*/ 1356382 h 1387660"/>
                <a:gd name="connsiteX29" fmla="*/ 290793 w 1083508"/>
                <a:gd name="connsiteY29" fmla="*/ 1351657 h 1387660"/>
                <a:gd name="connsiteX30" fmla="*/ 287697 w 1083508"/>
                <a:gd name="connsiteY30" fmla="*/ 1352635 h 1387660"/>
                <a:gd name="connsiteX31" fmla="*/ 285743 w 1083508"/>
                <a:gd name="connsiteY31" fmla="*/ 1352635 h 1387660"/>
                <a:gd name="connsiteX32" fmla="*/ 283788 w 1083508"/>
                <a:gd name="connsiteY32" fmla="*/ 1356707 h 1387660"/>
                <a:gd name="connsiteX33" fmla="*/ 280204 w 1083508"/>
                <a:gd name="connsiteY33" fmla="*/ 1357685 h 1387660"/>
                <a:gd name="connsiteX34" fmla="*/ 279226 w 1083508"/>
                <a:gd name="connsiteY34" fmla="*/ 1356056 h 1387660"/>
                <a:gd name="connsiteX35" fmla="*/ 280692 w 1083508"/>
                <a:gd name="connsiteY35" fmla="*/ 1352146 h 1387660"/>
                <a:gd name="connsiteX36" fmla="*/ 284113 w 1083508"/>
                <a:gd name="connsiteY36" fmla="*/ 1349051 h 1387660"/>
                <a:gd name="connsiteX37" fmla="*/ 282973 w 1083508"/>
                <a:gd name="connsiteY37" fmla="*/ 1347910 h 1387660"/>
                <a:gd name="connsiteX38" fmla="*/ 280692 w 1083508"/>
                <a:gd name="connsiteY38" fmla="*/ 1348399 h 1387660"/>
                <a:gd name="connsiteX39" fmla="*/ 279063 w 1083508"/>
                <a:gd name="connsiteY39" fmla="*/ 1351006 h 1387660"/>
                <a:gd name="connsiteX40" fmla="*/ 276131 w 1083508"/>
                <a:gd name="connsiteY40" fmla="*/ 1352798 h 1387660"/>
                <a:gd name="connsiteX41" fmla="*/ 274990 w 1083508"/>
                <a:gd name="connsiteY41" fmla="*/ 1356056 h 1387660"/>
                <a:gd name="connsiteX42" fmla="*/ 273362 w 1083508"/>
                <a:gd name="connsiteY42" fmla="*/ 1351657 h 1387660"/>
                <a:gd name="connsiteX43" fmla="*/ 273036 w 1083508"/>
                <a:gd name="connsiteY43" fmla="*/ 1350028 h 1387660"/>
                <a:gd name="connsiteX44" fmla="*/ 271406 w 1083508"/>
                <a:gd name="connsiteY44" fmla="*/ 1350028 h 1387660"/>
                <a:gd name="connsiteX45" fmla="*/ 268800 w 1083508"/>
                <a:gd name="connsiteY45" fmla="*/ 1352472 h 1387660"/>
                <a:gd name="connsiteX46" fmla="*/ 266845 w 1083508"/>
                <a:gd name="connsiteY46" fmla="*/ 1352472 h 1387660"/>
                <a:gd name="connsiteX47" fmla="*/ 267497 w 1083508"/>
                <a:gd name="connsiteY47" fmla="*/ 1350191 h 1387660"/>
                <a:gd name="connsiteX48" fmla="*/ 274665 w 1083508"/>
                <a:gd name="connsiteY48" fmla="*/ 1345141 h 1387660"/>
                <a:gd name="connsiteX49" fmla="*/ 274990 w 1083508"/>
                <a:gd name="connsiteY49" fmla="*/ 1340905 h 1387660"/>
                <a:gd name="connsiteX50" fmla="*/ 278086 w 1083508"/>
                <a:gd name="connsiteY50" fmla="*/ 1339928 h 1387660"/>
                <a:gd name="connsiteX51" fmla="*/ 283136 w 1083508"/>
                <a:gd name="connsiteY51" fmla="*/ 1335855 h 1387660"/>
                <a:gd name="connsiteX52" fmla="*/ 282484 w 1083508"/>
                <a:gd name="connsiteY52" fmla="*/ 1334715 h 1387660"/>
                <a:gd name="connsiteX53" fmla="*/ 277108 w 1083508"/>
                <a:gd name="connsiteY53" fmla="*/ 1338462 h 1387660"/>
                <a:gd name="connsiteX54" fmla="*/ 272710 w 1083508"/>
                <a:gd name="connsiteY54" fmla="*/ 1340091 h 1387660"/>
                <a:gd name="connsiteX55" fmla="*/ 271732 w 1083508"/>
                <a:gd name="connsiteY55" fmla="*/ 1338950 h 1387660"/>
                <a:gd name="connsiteX56" fmla="*/ 273036 w 1083508"/>
                <a:gd name="connsiteY56" fmla="*/ 1337647 h 1387660"/>
                <a:gd name="connsiteX57" fmla="*/ 277271 w 1083508"/>
                <a:gd name="connsiteY57" fmla="*/ 1336507 h 1387660"/>
                <a:gd name="connsiteX58" fmla="*/ 281181 w 1083508"/>
                <a:gd name="connsiteY58" fmla="*/ 1333249 h 1387660"/>
                <a:gd name="connsiteX59" fmla="*/ 285091 w 1083508"/>
                <a:gd name="connsiteY59" fmla="*/ 1330968 h 1387660"/>
                <a:gd name="connsiteX60" fmla="*/ 288512 w 1083508"/>
                <a:gd name="connsiteY60" fmla="*/ 1329827 h 1387660"/>
                <a:gd name="connsiteX61" fmla="*/ 288512 w 1083508"/>
                <a:gd name="connsiteY61" fmla="*/ 1325592 h 1387660"/>
                <a:gd name="connsiteX62" fmla="*/ 287046 w 1083508"/>
                <a:gd name="connsiteY62" fmla="*/ 1322334 h 1387660"/>
                <a:gd name="connsiteX63" fmla="*/ 284928 w 1083508"/>
                <a:gd name="connsiteY63" fmla="*/ 1322334 h 1387660"/>
                <a:gd name="connsiteX64" fmla="*/ 280204 w 1083508"/>
                <a:gd name="connsiteY64" fmla="*/ 1328850 h 1387660"/>
                <a:gd name="connsiteX65" fmla="*/ 272547 w 1083508"/>
                <a:gd name="connsiteY65" fmla="*/ 1333737 h 1387660"/>
                <a:gd name="connsiteX66" fmla="*/ 267008 w 1083508"/>
                <a:gd name="connsiteY66" fmla="*/ 1335529 h 1387660"/>
                <a:gd name="connsiteX67" fmla="*/ 266194 w 1083508"/>
                <a:gd name="connsiteY67" fmla="*/ 1333900 h 1387660"/>
                <a:gd name="connsiteX68" fmla="*/ 268637 w 1083508"/>
                <a:gd name="connsiteY68" fmla="*/ 1331945 h 1387660"/>
                <a:gd name="connsiteX69" fmla="*/ 271570 w 1083508"/>
                <a:gd name="connsiteY69" fmla="*/ 1330968 h 1387660"/>
                <a:gd name="connsiteX70" fmla="*/ 275316 w 1083508"/>
                <a:gd name="connsiteY70" fmla="*/ 1327221 h 1387660"/>
                <a:gd name="connsiteX71" fmla="*/ 275805 w 1083508"/>
                <a:gd name="connsiteY71" fmla="*/ 1322334 h 1387660"/>
                <a:gd name="connsiteX72" fmla="*/ 273687 w 1083508"/>
                <a:gd name="connsiteY72" fmla="*/ 1318424 h 1387660"/>
                <a:gd name="connsiteX73" fmla="*/ 271406 w 1083508"/>
                <a:gd name="connsiteY73" fmla="*/ 1317283 h 1387660"/>
                <a:gd name="connsiteX74" fmla="*/ 269126 w 1083508"/>
                <a:gd name="connsiteY74" fmla="*/ 1318587 h 1387660"/>
                <a:gd name="connsiteX75" fmla="*/ 269126 w 1083508"/>
                <a:gd name="connsiteY75" fmla="*/ 1321356 h 1387660"/>
                <a:gd name="connsiteX76" fmla="*/ 271081 w 1083508"/>
                <a:gd name="connsiteY76" fmla="*/ 1323474 h 1387660"/>
                <a:gd name="connsiteX77" fmla="*/ 270592 w 1083508"/>
                <a:gd name="connsiteY77" fmla="*/ 1325755 h 1387660"/>
                <a:gd name="connsiteX78" fmla="*/ 267822 w 1083508"/>
                <a:gd name="connsiteY78" fmla="*/ 1328198 h 1387660"/>
                <a:gd name="connsiteX79" fmla="*/ 264564 w 1083508"/>
                <a:gd name="connsiteY79" fmla="*/ 1326732 h 1387660"/>
                <a:gd name="connsiteX80" fmla="*/ 261143 w 1083508"/>
                <a:gd name="connsiteY80" fmla="*/ 1327547 h 1387660"/>
                <a:gd name="connsiteX81" fmla="*/ 258048 w 1083508"/>
                <a:gd name="connsiteY81" fmla="*/ 1327547 h 1387660"/>
                <a:gd name="connsiteX82" fmla="*/ 255279 w 1083508"/>
                <a:gd name="connsiteY82" fmla="*/ 1329339 h 1387660"/>
                <a:gd name="connsiteX83" fmla="*/ 253324 w 1083508"/>
                <a:gd name="connsiteY83" fmla="*/ 1332923 h 1387660"/>
                <a:gd name="connsiteX84" fmla="*/ 250880 w 1083508"/>
                <a:gd name="connsiteY84" fmla="*/ 1333900 h 1387660"/>
                <a:gd name="connsiteX85" fmla="*/ 247948 w 1083508"/>
                <a:gd name="connsiteY85" fmla="*/ 1333086 h 1387660"/>
                <a:gd name="connsiteX86" fmla="*/ 245667 w 1083508"/>
                <a:gd name="connsiteY86" fmla="*/ 1330968 h 1387660"/>
                <a:gd name="connsiteX87" fmla="*/ 241757 w 1083508"/>
                <a:gd name="connsiteY87" fmla="*/ 1331619 h 1387660"/>
                <a:gd name="connsiteX88" fmla="*/ 238825 w 1083508"/>
                <a:gd name="connsiteY88" fmla="*/ 1334389 h 1387660"/>
                <a:gd name="connsiteX89" fmla="*/ 235892 w 1083508"/>
                <a:gd name="connsiteY89" fmla="*/ 1332760 h 1387660"/>
                <a:gd name="connsiteX90" fmla="*/ 233612 w 1083508"/>
                <a:gd name="connsiteY90" fmla="*/ 1334063 h 1387660"/>
                <a:gd name="connsiteX91" fmla="*/ 233612 w 1083508"/>
                <a:gd name="connsiteY91" fmla="*/ 1336181 h 1387660"/>
                <a:gd name="connsiteX92" fmla="*/ 234589 w 1083508"/>
                <a:gd name="connsiteY92" fmla="*/ 1338462 h 1387660"/>
                <a:gd name="connsiteX93" fmla="*/ 232634 w 1083508"/>
                <a:gd name="connsiteY93" fmla="*/ 1339602 h 1387660"/>
                <a:gd name="connsiteX94" fmla="*/ 225303 w 1083508"/>
                <a:gd name="connsiteY94" fmla="*/ 1337973 h 1387660"/>
                <a:gd name="connsiteX95" fmla="*/ 224489 w 1083508"/>
                <a:gd name="connsiteY95" fmla="*/ 1335366 h 1387660"/>
                <a:gd name="connsiteX96" fmla="*/ 226770 w 1083508"/>
                <a:gd name="connsiteY96" fmla="*/ 1332108 h 1387660"/>
                <a:gd name="connsiteX97" fmla="*/ 230516 w 1083508"/>
                <a:gd name="connsiteY97" fmla="*/ 1331619 h 1387660"/>
                <a:gd name="connsiteX98" fmla="*/ 233286 w 1083508"/>
                <a:gd name="connsiteY98" fmla="*/ 1329176 h 1387660"/>
                <a:gd name="connsiteX99" fmla="*/ 232797 w 1083508"/>
                <a:gd name="connsiteY99" fmla="*/ 1327547 h 1387660"/>
                <a:gd name="connsiteX100" fmla="*/ 228887 w 1083508"/>
                <a:gd name="connsiteY100" fmla="*/ 1325755 h 1387660"/>
                <a:gd name="connsiteX101" fmla="*/ 228887 w 1083508"/>
                <a:gd name="connsiteY101" fmla="*/ 1320704 h 1387660"/>
                <a:gd name="connsiteX102" fmla="*/ 225140 w 1083508"/>
                <a:gd name="connsiteY102" fmla="*/ 1317609 h 1387660"/>
                <a:gd name="connsiteX103" fmla="*/ 224000 w 1083508"/>
                <a:gd name="connsiteY103" fmla="*/ 1316143 h 1387660"/>
                <a:gd name="connsiteX104" fmla="*/ 221393 w 1083508"/>
                <a:gd name="connsiteY104" fmla="*/ 1317120 h 1387660"/>
                <a:gd name="connsiteX105" fmla="*/ 215366 w 1083508"/>
                <a:gd name="connsiteY105" fmla="*/ 1321682 h 1387660"/>
                <a:gd name="connsiteX106" fmla="*/ 211782 w 1083508"/>
                <a:gd name="connsiteY106" fmla="*/ 1320216 h 1387660"/>
                <a:gd name="connsiteX107" fmla="*/ 210641 w 1083508"/>
                <a:gd name="connsiteY107" fmla="*/ 1316632 h 1387660"/>
                <a:gd name="connsiteX108" fmla="*/ 214388 w 1083508"/>
                <a:gd name="connsiteY108" fmla="*/ 1313211 h 1387660"/>
                <a:gd name="connsiteX109" fmla="*/ 212759 w 1083508"/>
                <a:gd name="connsiteY109" fmla="*/ 1311093 h 1387660"/>
                <a:gd name="connsiteX110" fmla="*/ 209501 w 1083508"/>
                <a:gd name="connsiteY110" fmla="*/ 1311093 h 1387660"/>
                <a:gd name="connsiteX111" fmla="*/ 209827 w 1083508"/>
                <a:gd name="connsiteY111" fmla="*/ 1309301 h 1387660"/>
                <a:gd name="connsiteX112" fmla="*/ 215203 w 1083508"/>
                <a:gd name="connsiteY112" fmla="*/ 1306694 h 1387660"/>
                <a:gd name="connsiteX113" fmla="*/ 218624 w 1083508"/>
                <a:gd name="connsiteY113" fmla="*/ 1306694 h 1387660"/>
                <a:gd name="connsiteX114" fmla="*/ 220253 w 1083508"/>
                <a:gd name="connsiteY114" fmla="*/ 1304739 h 1387660"/>
                <a:gd name="connsiteX115" fmla="*/ 219276 w 1083508"/>
                <a:gd name="connsiteY115" fmla="*/ 1302296 h 1387660"/>
                <a:gd name="connsiteX116" fmla="*/ 216180 w 1083508"/>
                <a:gd name="connsiteY116" fmla="*/ 1301970 h 1387660"/>
                <a:gd name="connsiteX117" fmla="*/ 211456 w 1083508"/>
                <a:gd name="connsiteY117" fmla="*/ 1303436 h 1387660"/>
                <a:gd name="connsiteX118" fmla="*/ 207872 w 1083508"/>
                <a:gd name="connsiteY118" fmla="*/ 1306043 h 1387660"/>
                <a:gd name="connsiteX119" fmla="*/ 202007 w 1083508"/>
                <a:gd name="connsiteY119" fmla="*/ 1307672 h 1387660"/>
                <a:gd name="connsiteX120" fmla="*/ 198586 w 1083508"/>
                <a:gd name="connsiteY120" fmla="*/ 1305391 h 1387660"/>
                <a:gd name="connsiteX121" fmla="*/ 199238 w 1083508"/>
                <a:gd name="connsiteY121" fmla="*/ 1302947 h 1387660"/>
                <a:gd name="connsiteX122" fmla="*/ 202985 w 1083508"/>
                <a:gd name="connsiteY122" fmla="*/ 1301807 h 1387660"/>
                <a:gd name="connsiteX123" fmla="*/ 205591 w 1083508"/>
                <a:gd name="connsiteY123" fmla="*/ 1299689 h 1387660"/>
                <a:gd name="connsiteX124" fmla="*/ 205591 w 1083508"/>
                <a:gd name="connsiteY124" fmla="*/ 1295454 h 1387660"/>
                <a:gd name="connsiteX125" fmla="*/ 210804 w 1083508"/>
                <a:gd name="connsiteY125" fmla="*/ 1293173 h 1387660"/>
                <a:gd name="connsiteX126" fmla="*/ 212759 w 1083508"/>
                <a:gd name="connsiteY126" fmla="*/ 1291218 h 1387660"/>
                <a:gd name="connsiteX127" fmla="*/ 211782 w 1083508"/>
                <a:gd name="connsiteY127" fmla="*/ 1289752 h 1387660"/>
                <a:gd name="connsiteX128" fmla="*/ 207057 w 1083508"/>
                <a:gd name="connsiteY128" fmla="*/ 1288611 h 1387660"/>
                <a:gd name="connsiteX129" fmla="*/ 204451 w 1083508"/>
                <a:gd name="connsiteY129" fmla="*/ 1290892 h 1387660"/>
                <a:gd name="connsiteX130" fmla="*/ 200704 w 1083508"/>
                <a:gd name="connsiteY130" fmla="*/ 1292684 h 1387660"/>
                <a:gd name="connsiteX131" fmla="*/ 197772 w 1083508"/>
                <a:gd name="connsiteY131" fmla="*/ 1290240 h 1387660"/>
                <a:gd name="connsiteX132" fmla="*/ 200052 w 1083508"/>
                <a:gd name="connsiteY132" fmla="*/ 1287634 h 1387660"/>
                <a:gd name="connsiteX133" fmla="*/ 203311 w 1083508"/>
                <a:gd name="connsiteY133" fmla="*/ 1286819 h 1387660"/>
                <a:gd name="connsiteX134" fmla="*/ 206406 w 1083508"/>
                <a:gd name="connsiteY134" fmla="*/ 1287308 h 1387660"/>
                <a:gd name="connsiteX135" fmla="*/ 208361 w 1083508"/>
                <a:gd name="connsiteY135" fmla="*/ 1284702 h 1387660"/>
                <a:gd name="connsiteX136" fmla="*/ 211619 w 1083508"/>
                <a:gd name="connsiteY136" fmla="*/ 1282258 h 1387660"/>
                <a:gd name="connsiteX137" fmla="*/ 210967 w 1083508"/>
                <a:gd name="connsiteY137" fmla="*/ 1279814 h 1387660"/>
                <a:gd name="connsiteX138" fmla="*/ 212759 w 1083508"/>
                <a:gd name="connsiteY138" fmla="*/ 1277534 h 1387660"/>
                <a:gd name="connsiteX139" fmla="*/ 211130 w 1083508"/>
                <a:gd name="connsiteY139" fmla="*/ 1276067 h 1387660"/>
                <a:gd name="connsiteX140" fmla="*/ 204940 w 1083508"/>
                <a:gd name="connsiteY140" fmla="*/ 1278348 h 1387660"/>
                <a:gd name="connsiteX141" fmla="*/ 203473 w 1083508"/>
                <a:gd name="connsiteY141" fmla="*/ 1280303 h 1387660"/>
                <a:gd name="connsiteX142" fmla="*/ 201519 w 1083508"/>
                <a:gd name="connsiteY142" fmla="*/ 1282584 h 1387660"/>
                <a:gd name="connsiteX143" fmla="*/ 196957 w 1083508"/>
                <a:gd name="connsiteY143" fmla="*/ 1283072 h 1387660"/>
                <a:gd name="connsiteX144" fmla="*/ 198423 w 1083508"/>
                <a:gd name="connsiteY144" fmla="*/ 1280955 h 1387660"/>
                <a:gd name="connsiteX145" fmla="*/ 201844 w 1083508"/>
                <a:gd name="connsiteY145" fmla="*/ 1279000 h 1387660"/>
                <a:gd name="connsiteX146" fmla="*/ 202496 w 1083508"/>
                <a:gd name="connsiteY146" fmla="*/ 1275742 h 1387660"/>
                <a:gd name="connsiteX147" fmla="*/ 200541 w 1083508"/>
                <a:gd name="connsiteY147" fmla="*/ 1273950 h 1387660"/>
                <a:gd name="connsiteX148" fmla="*/ 203147 w 1083508"/>
                <a:gd name="connsiteY148" fmla="*/ 1271995 h 1387660"/>
                <a:gd name="connsiteX149" fmla="*/ 203147 w 1083508"/>
                <a:gd name="connsiteY149" fmla="*/ 1270040 h 1387660"/>
                <a:gd name="connsiteX150" fmla="*/ 200867 w 1083508"/>
                <a:gd name="connsiteY150" fmla="*/ 1268736 h 1387660"/>
                <a:gd name="connsiteX151" fmla="*/ 197120 w 1083508"/>
                <a:gd name="connsiteY151" fmla="*/ 1268736 h 1387660"/>
                <a:gd name="connsiteX152" fmla="*/ 197120 w 1083508"/>
                <a:gd name="connsiteY152" fmla="*/ 1267596 h 1387660"/>
                <a:gd name="connsiteX153" fmla="*/ 198912 w 1083508"/>
                <a:gd name="connsiteY153" fmla="*/ 1265478 h 1387660"/>
                <a:gd name="connsiteX154" fmla="*/ 198097 w 1083508"/>
                <a:gd name="connsiteY154" fmla="*/ 1262220 h 1387660"/>
                <a:gd name="connsiteX155" fmla="*/ 195002 w 1083508"/>
                <a:gd name="connsiteY155" fmla="*/ 1261406 h 1387660"/>
                <a:gd name="connsiteX156" fmla="*/ 193210 w 1083508"/>
                <a:gd name="connsiteY156" fmla="*/ 1263035 h 1387660"/>
                <a:gd name="connsiteX157" fmla="*/ 189463 w 1083508"/>
                <a:gd name="connsiteY157" fmla="*/ 1263361 h 1387660"/>
                <a:gd name="connsiteX158" fmla="*/ 188974 w 1083508"/>
                <a:gd name="connsiteY158" fmla="*/ 1261894 h 1387660"/>
                <a:gd name="connsiteX159" fmla="*/ 191255 w 1083508"/>
                <a:gd name="connsiteY159" fmla="*/ 1257984 h 1387660"/>
                <a:gd name="connsiteX160" fmla="*/ 193862 w 1083508"/>
                <a:gd name="connsiteY160" fmla="*/ 1254889 h 1387660"/>
                <a:gd name="connsiteX161" fmla="*/ 195491 w 1083508"/>
                <a:gd name="connsiteY161" fmla="*/ 1254889 h 1387660"/>
                <a:gd name="connsiteX162" fmla="*/ 200052 w 1083508"/>
                <a:gd name="connsiteY162" fmla="*/ 1249024 h 1387660"/>
                <a:gd name="connsiteX163" fmla="*/ 197772 w 1083508"/>
                <a:gd name="connsiteY163" fmla="*/ 1246581 h 1387660"/>
                <a:gd name="connsiteX164" fmla="*/ 198423 w 1083508"/>
                <a:gd name="connsiteY164" fmla="*/ 1243974 h 1387660"/>
                <a:gd name="connsiteX165" fmla="*/ 200052 w 1083508"/>
                <a:gd name="connsiteY165" fmla="*/ 1241694 h 1387660"/>
                <a:gd name="connsiteX166" fmla="*/ 198260 w 1083508"/>
                <a:gd name="connsiteY166" fmla="*/ 1240227 h 1387660"/>
                <a:gd name="connsiteX167" fmla="*/ 196631 w 1083508"/>
                <a:gd name="connsiteY167" fmla="*/ 1241042 h 1387660"/>
                <a:gd name="connsiteX168" fmla="*/ 195817 w 1083508"/>
                <a:gd name="connsiteY168" fmla="*/ 1243160 h 1387660"/>
                <a:gd name="connsiteX169" fmla="*/ 193536 w 1083508"/>
                <a:gd name="connsiteY169" fmla="*/ 1239576 h 1387660"/>
                <a:gd name="connsiteX170" fmla="*/ 190278 w 1083508"/>
                <a:gd name="connsiteY170" fmla="*/ 1240064 h 1387660"/>
                <a:gd name="connsiteX171" fmla="*/ 189137 w 1083508"/>
                <a:gd name="connsiteY171" fmla="*/ 1241694 h 1387660"/>
                <a:gd name="connsiteX172" fmla="*/ 187182 w 1083508"/>
                <a:gd name="connsiteY172" fmla="*/ 1241694 h 1387660"/>
                <a:gd name="connsiteX173" fmla="*/ 185065 w 1083508"/>
                <a:gd name="connsiteY173" fmla="*/ 1236643 h 1387660"/>
                <a:gd name="connsiteX174" fmla="*/ 186042 w 1083508"/>
                <a:gd name="connsiteY174" fmla="*/ 1234037 h 1387660"/>
                <a:gd name="connsiteX175" fmla="*/ 192721 w 1083508"/>
                <a:gd name="connsiteY175" fmla="*/ 1231756 h 1387660"/>
                <a:gd name="connsiteX176" fmla="*/ 193210 w 1083508"/>
                <a:gd name="connsiteY176" fmla="*/ 1229964 h 1387660"/>
                <a:gd name="connsiteX177" fmla="*/ 189463 w 1083508"/>
                <a:gd name="connsiteY177" fmla="*/ 1228009 h 1387660"/>
                <a:gd name="connsiteX178" fmla="*/ 185716 w 1083508"/>
                <a:gd name="connsiteY178" fmla="*/ 1228009 h 1387660"/>
                <a:gd name="connsiteX179" fmla="*/ 181969 w 1083508"/>
                <a:gd name="connsiteY179" fmla="*/ 1230290 h 1387660"/>
                <a:gd name="connsiteX180" fmla="*/ 179363 w 1083508"/>
                <a:gd name="connsiteY180" fmla="*/ 1230290 h 1387660"/>
                <a:gd name="connsiteX181" fmla="*/ 177897 w 1083508"/>
                <a:gd name="connsiteY181" fmla="*/ 1227683 h 1387660"/>
                <a:gd name="connsiteX182" fmla="*/ 178874 w 1083508"/>
                <a:gd name="connsiteY182" fmla="*/ 1224914 h 1387660"/>
                <a:gd name="connsiteX183" fmla="*/ 182458 w 1083508"/>
                <a:gd name="connsiteY183" fmla="*/ 1223936 h 1387660"/>
                <a:gd name="connsiteX184" fmla="*/ 186368 w 1083508"/>
                <a:gd name="connsiteY184" fmla="*/ 1225077 h 1387660"/>
                <a:gd name="connsiteX185" fmla="*/ 192721 w 1083508"/>
                <a:gd name="connsiteY185" fmla="*/ 1223936 h 1387660"/>
                <a:gd name="connsiteX186" fmla="*/ 194676 w 1083508"/>
                <a:gd name="connsiteY186" fmla="*/ 1221982 h 1387660"/>
                <a:gd name="connsiteX187" fmla="*/ 192396 w 1083508"/>
                <a:gd name="connsiteY187" fmla="*/ 1221656 h 1387660"/>
                <a:gd name="connsiteX188" fmla="*/ 190115 w 1083508"/>
                <a:gd name="connsiteY188" fmla="*/ 1220515 h 1387660"/>
                <a:gd name="connsiteX189" fmla="*/ 184413 w 1083508"/>
                <a:gd name="connsiteY189" fmla="*/ 1220841 h 1387660"/>
                <a:gd name="connsiteX190" fmla="*/ 182295 w 1083508"/>
                <a:gd name="connsiteY190" fmla="*/ 1222307 h 1387660"/>
                <a:gd name="connsiteX191" fmla="*/ 179689 w 1083508"/>
                <a:gd name="connsiteY191" fmla="*/ 1221819 h 1387660"/>
                <a:gd name="connsiteX192" fmla="*/ 176919 w 1083508"/>
                <a:gd name="connsiteY192" fmla="*/ 1219375 h 1387660"/>
                <a:gd name="connsiteX193" fmla="*/ 181806 w 1083508"/>
                <a:gd name="connsiteY193" fmla="*/ 1216280 h 1387660"/>
                <a:gd name="connsiteX194" fmla="*/ 187834 w 1083508"/>
                <a:gd name="connsiteY194" fmla="*/ 1215954 h 1387660"/>
                <a:gd name="connsiteX195" fmla="*/ 190115 w 1083508"/>
                <a:gd name="connsiteY195" fmla="*/ 1214651 h 1387660"/>
                <a:gd name="connsiteX196" fmla="*/ 188160 w 1083508"/>
                <a:gd name="connsiteY196" fmla="*/ 1213836 h 1387660"/>
                <a:gd name="connsiteX197" fmla="*/ 185065 w 1083508"/>
                <a:gd name="connsiteY197" fmla="*/ 1213836 h 1387660"/>
                <a:gd name="connsiteX198" fmla="*/ 182132 w 1083508"/>
                <a:gd name="connsiteY198" fmla="*/ 1211392 h 1387660"/>
                <a:gd name="connsiteX199" fmla="*/ 183924 w 1083508"/>
                <a:gd name="connsiteY199" fmla="*/ 1210904 h 1387660"/>
                <a:gd name="connsiteX200" fmla="*/ 187508 w 1083508"/>
                <a:gd name="connsiteY200" fmla="*/ 1211555 h 1387660"/>
                <a:gd name="connsiteX201" fmla="*/ 189789 w 1083508"/>
                <a:gd name="connsiteY201" fmla="*/ 1212696 h 1387660"/>
                <a:gd name="connsiteX202" fmla="*/ 195165 w 1083508"/>
                <a:gd name="connsiteY202" fmla="*/ 1210415 h 1387660"/>
                <a:gd name="connsiteX203" fmla="*/ 197446 w 1083508"/>
                <a:gd name="connsiteY203" fmla="*/ 1208297 h 1387660"/>
                <a:gd name="connsiteX204" fmla="*/ 196305 w 1083508"/>
                <a:gd name="connsiteY204" fmla="*/ 1206994 h 1387660"/>
                <a:gd name="connsiteX205" fmla="*/ 193862 w 1083508"/>
                <a:gd name="connsiteY205" fmla="*/ 1207808 h 1387660"/>
                <a:gd name="connsiteX206" fmla="*/ 190929 w 1083508"/>
                <a:gd name="connsiteY206" fmla="*/ 1208949 h 1387660"/>
                <a:gd name="connsiteX207" fmla="*/ 187997 w 1083508"/>
                <a:gd name="connsiteY207" fmla="*/ 1208623 h 1387660"/>
                <a:gd name="connsiteX208" fmla="*/ 186042 w 1083508"/>
                <a:gd name="connsiteY208" fmla="*/ 1207645 h 1387660"/>
                <a:gd name="connsiteX209" fmla="*/ 182132 w 1083508"/>
                <a:gd name="connsiteY209" fmla="*/ 1208134 h 1387660"/>
                <a:gd name="connsiteX210" fmla="*/ 180503 w 1083508"/>
                <a:gd name="connsiteY210" fmla="*/ 1211067 h 1387660"/>
                <a:gd name="connsiteX211" fmla="*/ 177734 w 1083508"/>
                <a:gd name="connsiteY211" fmla="*/ 1212859 h 1387660"/>
                <a:gd name="connsiteX212" fmla="*/ 174150 w 1083508"/>
                <a:gd name="connsiteY212" fmla="*/ 1210252 h 1387660"/>
                <a:gd name="connsiteX213" fmla="*/ 173498 w 1083508"/>
                <a:gd name="connsiteY213" fmla="*/ 1207320 h 1387660"/>
                <a:gd name="connsiteX214" fmla="*/ 176105 w 1083508"/>
                <a:gd name="connsiteY214" fmla="*/ 1203573 h 1387660"/>
                <a:gd name="connsiteX215" fmla="*/ 181155 w 1083508"/>
                <a:gd name="connsiteY215" fmla="*/ 1203084 h 1387660"/>
                <a:gd name="connsiteX216" fmla="*/ 185228 w 1083508"/>
                <a:gd name="connsiteY216" fmla="*/ 1200478 h 1387660"/>
                <a:gd name="connsiteX217" fmla="*/ 184087 w 1083508"/>
                <a:gd name="connsiteY217" fmla="*/ 1199500 h 1387660"/>
                <a:gd name="connsiteX218" fmla="*/ 179363 w 1083508"/>
                <a:gd name="connsiteY218" fmla="*/ 1200315 h 1387660"/>
                <a:gd name="connsiteX219" fmla="*/ 174964 w 1083508"/>
                <a:gd name="connsiteY219" fmla="*/ 1199663 h 1387660"/>
                <a:gd name="connsiteX220" fmla="*/ 173987 w 1083508"/>
                <a:gd name="connsiteY220" fmla="*/ 1196079 h 1387660"/>
                <a:gd name="connsiteX221" fmla="*/ 175127 w 1083508"/>
                <a:gd name="connsiteY221" fmla="*/ 1192495 h 1387660"/>
                <a:gd name="connsiteX222" fmla="*/ 179526 w 1083508"/>
                <a:gd name="connsiteY222" fmla="*/ 1191518 h 1387660"/>
                <a:gd name="connsiteX223" fmla="*/ 189300 w 1083508"/>
                <a:gd name="connsiteY223" fmla="*/ 1192006 h 1387660"/>
                <a:gd name="connsiteX224" fmla="*/ 195002 w 1083508"/>
                <a:gd name="connsiteY224" fmla="*/ 1190377 h 1387660"/>
                <a:gd name="connsiteX225" fmla="*/ 201030 w 1083508"/>
                <a:gd name="connsiteY225" fmla="*/ 1190377 h 1387660"/>
                <a:gd name="connsiteX226" fmla="*/ 204940 w 1083508"/>
                <a:gd name="connsiteY226" fmla="*/ 1187119 h 1387660"/>
                <a:gd name="connsiteX227" fmla="*/ 205754 w 1083508"/>
                <a:gd name="connsiteY227" fmla="*/ 1185979 h 1387660"/>
                <a:gd name="connsiteX228" fmla="*/ 201681 w 1083508"/>
                <a:gd name="connsiteY228" fmla="*/ 1185979 h 1387660"/>
                <a:gd name="connsiteX229" fmla="*/ 197772 w 1083508"/>
                <a:gd name="connsiteY229" fmla="*/ 1184838 h 1387660"/>
                <a:gd name="connsiteX230" fmla="*/ 193373 w 1083508"/>
                <a:gd name="connsiteY230" fmla="*/ 1187608 h 1387660"/>
                <a:gd name="connsiteX231" fmla="*/ 186205 w 1083508"/>
                <a:gd name="connsiteY231" fmla="*/ 1188748 h 1387660"/>
                <a:gd name="connsiteX232" fmla="*/ 182621 w 1083508"/>
                <a:gd name="connsiteY232" fmla="*/ 1190214 h 1387660"/>
                <a:gd name="connsiteX233" fmla="*/ 178222 w 1083508"/>
                <a:gd name="connsiteY233" fmla="*/ 1190214 h 1387660"/>
                <a:gd name="connsiteX234" fmla="*/ 175942 w 1083508"/>
                <a:gd name="connsiteY234" fmla="*/ 1188585 h 1387660"/>
                <a:gd name="connsiteX235" fmla="*/ 176919 w 1083508"/>
                <a:gd name="connsiteY235" fmla="*/ 1187445 h 1387660"/>
                <a:gd name="connsiteX236" fmla="*/ 185065 w 1083508"/>
                <a:gd name="connsiteY236" fmla="*/ 1187771 h 1387660"/>
                <a:gd name="connsiteX237" fmla="*/ 188649 w 1083508"/>
                <a:gd name="connsiteY237" fmla="*/ 1185653 h 1387660"/>
                <a:gd name="connsiteX238" fmla="*/ 193047 w 1083508"/>
                <a:gd name="connsiteY238" fmla="*/ 1179462 h 1387660"/>
                <a:gd name="connsiteX239" fmla="*/ 197120 w 1083508"/>
                <a:gd name="connsiteY239" fmla="*/ 1178974 h 1387660"/>
                <a:gd name="connsiteX240" fmla="*/ 198912 w 1083508"/>
                <a:gd name="connsiteY240" fmla="*/ 1179951 h 1387660"/>
                <a:gd name="connsiteX241" fmla="*/ 202659 w 1083508"/>
                <a:gd name="connsiteY241" fmla="*/ 1182883 h 1387660"/>
                <a:gd name="connsiteX242" fmla="*/ 205265 w 1083508"/>
                <a:gd name="connsiteY242" fmla="*/ 1182883 h 1387660"/>
                <a:gd name="connsiteX243" fmla="*/ 206243 w 1083508"/>
                <a:gd name="connsiteY243" fmla="*/ 1181091 h 1387660"/>
                <a:gd name="connsiteX244" fmla="*/ 203962 w 1083508"/>
                <a:gd name="connsiteY244" fmla="*/ 1180440 h 1387660"/>
                <a:gd name="connsiteX245" fmla="*/ 200052 w 1083508"/>
                <a:gd name="connsiteY245" fmla="*/ 1176041 h 1387660"/>
                <a:gd name="connsiteX246" fmla="*/ 197935 w 1083508"/>
                <a:gd name="connsiteY246" fmla="*/ 1176041 h 1387660"/>
                <a:gd name="connsiteX247" fmla="*/ 195980 w 1083508"/>
                <a:gd name="connsiteY247" fmla="*/ 1173923 h 1387660"/>
                <a:gd name="connsiteX248" fmla="*/ 196794 w 1083508"/>
                <a:gd name="connsiteY248" fmla="*/ 1171968 h 1387660"/>
                <a:gd name="connsiteX249" fmla="*/ 199889 w 1083508"/>
                <a:gd name="connsiteY249" fmla="*/ 1171968 h 1387660"/>
                <a:gd name="connsiteX250" fmla="*/ 201681 w 1083508"/>
                <a:gd name="connsiteY250" fmla="*/ 1170176 h 1387660"/>
                <a:gd name="connsiteX251" fmla="*/ 203473 w 1083508"/>
                <a:gd name="connsiteY251" fmla="*/ 1170665 h 1387660"/>
                <a:gd name="connsiteX252" fmla="*/ 205428 w 1083508"/>
                <a:gd name="connsiteY252" fmla="*/ 1174086 h 1387660"/>
                <a:gd name="connsiteX253" fmla="*/ 209501 w 1083508"/>
                <a:gd name="connsiteY253" fmla="*/ 1178974 h 1387660"/>
                <a:gd name="connsiteX254" fmla="*/ 212433 w 1083508"/>
                <a:gd name="connsiteY254" fmla="*/ 1180603 h 1387660"/>
                <a:gd name="connsiteX255" fmla="*/ 213737 w 1083508"/>
                <a:gd name="connsiteY255" fmla="*/ 1179951 h 1387660"/>
                <a:gd name="connsiteX256" fmla="*/ 211782 w 1083508"/>
                <a:gd name="connsiteY256" fmla="*/ 1176041 h 1387660"/>
                <a:gd name="connsiteX257" fmla="*/ 209338 w 1083508"/>
                <a:gd name="connsiteY257" fmla="*/ 1174412 h 1387660"/>
                <a:gd name="connsiteX258" fmla="*/ 209012 w 1083508"/>
                <a:gd name="connsiteY258" fmla="*/ 1166267 h 1387660"/>
                <a:gd name="connsiteX259" fmla="*/ 212108 w 1083508"/>
                <a:gd name="connsiteY259" fmla="*/ 1163334 h 1387660"/>
                <a:gd name="connsiteX260" fmla="*/ 212108 w 1083508"/>
                <a:gd name="connsiteY260" fmla="*/ 1161705 h 1387660"/>
                <a:gd name="connsiteX261" fmla="*/ 209175 w 1083508"/>
                <a:gd name="connsiteY261" fmla="*/ 1161379 h 1387660"/>
                <a:gd name="connsiteX262" fmla="*/ 206569 w 1083508"/>
                <a:gd name="connsiteY262" fmla="*/ 1163986 h 1387660"/>
                <a:gd name="connsiteX263" fmla="*/ 204288 w 1083508"/>
                <a:gd name="connsiteY263" fmla="*/ 1164312 h 1387660"/>
                <a:gd name="connsiteX264" fmla="*/ 201681 w 1083508"/>
                <a:gd name="connsiteY264" fmla="*/ 1161054 h 1387660"/>
                <a:gd name="connsiteX265" fmla="*/ 200541 w 1083508"/>
                <a:gd name="connsiteY265" fmla="*/ 1163171 h 1387660"/>
                <a:gd name="connsiteX266" fmla="*/ 194676 w 1083508"/>
                <a:gd name="connsiteY266" fmla="*/ 1169036 h 1387660"/>
                <a:gd name="connsiteX267" fmla="*/ 191092 w 1083508"/>
                <a:gd name="connsiteY267" fmla="*/ 1170502 h 1387660"/>
                <a:gd name="connsiteX268" fmla="*/ 189463 w 1083508"/>
                <a:gd name="connsiteY268" fmla="*/ 1169362 h 1387660"/>
                <a:gd name="connsiteX269" fmla="*/ 189952 w 1083508"/>
                <a:gd name="connsiteY269" fmla="*/ 1166918 h 1387660"/>
                <a:gd name="connsiteX270" fmla="*/ 192233 w 1083508"/>
                <a:gd name="connsiteY270" fmla="*/ 1165126 h 1387660"/>
                <a:gd name="connsiteX271" fmla="*/ 191744 w 1083508"/>
                <a:gd name="connsiteY271" fmla="*/ 1164312 h 1387660"/>
                <a:gd name="connsiteX272" fmla="*/ 188649 w 1083508"/>
                <a:gd name="connsiteY272" fmla="*/ 1165778 h 1387660"/>
                <a:gd name="connsiteX273" fmla="*/ 186205 w 1083508"/>
                <a:gd name="connsiteY273" fmla="*/ 1169036 h 1387660"/>
                <a:gd name="connsiteX274" fmla="*/ 184413 w 1083508"/>
                <a:gd name="connsiteY274" fmla="*/ 1169525 h 1387660"/>
                <a:gd name="connsiteX275" fmla="*/ 178711 w 1083508"/>
                <a:gd name="connsiteY275" fmla="*/ 1174901 h 1387660"/>
                <a:gd name="connsiteX276" fmla="*/ 176268 w 1083508"/>
                <a:gd name="connsiteY276" fmla="*/ 1175878 h 1387660"/>
                <a:gd name="connsiteX277" fmla="*/ 172521 w 1083508"/>
                <a:gd name="connsiteY277" fmla="*/ 1182720 h 1387660"/>
                <a:gd name="connsiteX278" fmla="*/ 170729 w 1083508"/>
                <a:gd name="connsiteY278" fmla="*/ 1182720 h 1387660"/>
                <a:gd name="connsiteX279" fmla="*/ 169100 w 1083508"/>
                <a:gd name="connsiteY279" fmla="*/ 1176856 h 1387660"/>
                <a:gd name="connsiteX280" fmla="*/ 169914 w 1083508"/>
                <a:gd name="connsiteY280" fmla="*/ 1172294 h 1387660"/>
                <a:gd name="connsiteX281" fmla="*/ 171869 w 1083508"/>
                <a:gd name="connsiteY281" fmla="*/ 1169688 h 1387660"/>
                <a:gd name="connsiteX282" fmla="*/ 168774 w 1083508"/>
                <a:gd name="connsiteY282" fmla="*/ 1166918 h 1387660"/>
                <a:gd name="connsiteX283" fmla="*/ 169425 w 1083508"/>
                <a:gd name="connsiteY283" fmla="*/ 1163334 h 1387660"/>
                <a:gd name="connsiteX284" fmla="*/ 169425 w 1083508"/>
                <a:gd name="connsiteY284" fmla="*/ 1160402 h 1387660"/>
                <a:gd name="connsiteX285" fmla="*/ 173172 w 1083508"/>
                <a:gd name="connsiteY285" fmla="*/ 1158610 h 1387660"/>
                <a:gd name="connsiteX286" fmla="*/ 180340 w 1083508"/>
                <a:gd name="connsiteY286" fmla="*/ 1156166 h 1387660"/>
                <a:gd name="connsiteX287" fmla="*/ 183762 w 1083508"/>
                <a:gd name="connsiteY287" fmla="*/ 1156492 h 1387660"/>
                <a:gd name="connsiteX288" fmla="*/ 187834 w 1083508"/>
                <a:gd name="connsiteY288" fmla="*/ 1152745 h 1387660"/>
                <a:gd name="connsiteX289" fmla="*/ 189300 w 1083508"/>
                <a:gd name="connsiteY289" fmla="*/ 1151768 h 1387660"/>
                <a:gd name="connsiteX290" fmla="*/ 187508 w 1083508"/>
                <a:gd name="connsiteY290" fmla="*/ 1149650 h 1387660"/>
                <a:gd name="connsiteX291" fmla="*/ 184902 w 1083508"/>
                <a:gd name="connsiteY291" fmla="*/ 1149650 h 1387660"/>
                <a:gd name="connsiteX292" fmla="*/ 182295 w 1083508"/>
                <a:gd name="connsiteY292" fmla="*/ 1151931 h 1387660"/>
                <a:gd name="connsiteX293" fmla="*/ 179363 w 1083508"/>
                <a:gd name="connsiteY293" fmla="*/ 1151116 h 1387660"/>
                <a:gd name="connsiteX294" fmla="*/ 178060 w 1083508"/>
                <a:gd name="connsiteY294" fmla="*/ 1154211 h 1387660"/>
                <a:gd name="connsiteX295" fmla="*/ 175127 w 1083508"/>
                <a:gd name="connsiteY295" fmla="*/ 1156329 h 1387660"/>
                <a:gd name="connsiteX296" fmla="*/ 171543 w 1083508"/>
                <a:gd name="connsiteY296" fmla="*/ 1156003 h 1387660"/>
                <a:gd name="connsiteX297" fmla="*/ 169588 w 1083508"/>
                <a:gd name="connsiteY297" fmla="*/ 1152745 h 1387660"/>
                <a:gd name="connsiteX298" fmla="*/ 169263 w 1083508"/>
                <a:gd name="connsiteY298" fmla="*/ 1146229 h 1387660"/>
                <a:gd name="connsiteX299" fmla="*/ 172358 w 1083508"/>
                <a:gd name="connsiteY299" fmla="*/ 1143948 h 1387660"/>
                <a:gd name="connsiteX300" fmla="*/ 172846 w 1083508"/>
                <a:gd name="connsiteY300" fmla="*/ 1140527 h 1387660"/>
                <a:gd name="connsiteX301" fmla="*/ 171217 w 1083508"/>
                <a:gd name="connsiteY301" fmla="*/ 1136291 h 1387660"/>
                <a:gd name="connsiteX302" fmla="*/ 169751 w 1083508"/>
                <a:gd name="connsiteY302" fmla="*/ 1136291 h 1387660"/>
                <a:gd name="connsiteX303" fmla="*/ 167308 w 1083508"/>
                <a:gd name="connsiteY303" fmla="*/ 1139061 h 1387660"/>
                <a:gd name="connsiteX304" fmla="*/ 164538 w 1083508"/>
                <a:gd name="connsiteY304" fmla="*/ 1138572 h 1387660"/>
                <a:gd name="connsiteX305" fmla="*/ 163887 w 1083508"/>
                <a:gd name="connsiteY305" fmla="*/ 1135477 h 1387660"/>
                <a:gd name="connsiteX306" fmla="*/ 166982 w 1083508"/>
                <a:gd name="connsiteY306" fmla="*/ 1132382 h 1387660"/>
                <a:gd name="connsiteX307" fmla="*/ 172032 w 1083508"/>
                <a:gd name="connsiteY307" fmla="*/ 1132056 h 1387660"/>
                <a:gd name="connsiteX308" fmla="*/ 175127 w 1083508"/>
                <a:gd name="connsiteY308" fmla="*/ 1129449 h 1387660"/>
                <a:gd name="connsiteX309" fmla="*/ 181155 w 1083508"/>
                <a:gd name="connsiteY309" fmla="*/ 1128146 h 1387660"/>
                <a:gd name="connsiteX310" fmla="*/ 183598 w 1083508"/>
                <a:gd name="connsiteY310" fmla="*/ 1125702 h 1387660"/>
                <a:gd name="connsiteX311" fmla="*/ 186368 w 1083508"/>
                <a:gd name="connsiteY311" fmla="*/ 1124562 h 1387660"/>
                <a:gd name="connsiteX312" fmla="*/ 187508 w 1083508"/>
                <a:gd name="connsiteY312" fmla="*/ 1120163 h 1387660"/>
                <a:gd name="connsiteX313" fmla="*/ 189300 w 1083508"/>
                <a:gd name="connsiteY313" fmla="*/ 1119349 h 1387660"/>
                <a:gd name="connsiteX314" fmla="*/ 190929 w 1083508"/>
                <a:gd name="connsiteY314" fmla="*/ 1121141 h 1387660"/>
                <a:gd name="connsiteX315" fmla="*/ 192884 w 1083508"/>
                <a:gd name="connsiteY315" fmla="*/ 1119023 h 1387660"/>
                <a:gd name="connsiteX316" fmla="*/ 201030 w 1083508"/>
                <a:gd name="connsiteY316" fmla="*/ 1118534 h 1387660"/>
                <a:gd name="connsiteX317" fmla="*/ 203311 w 1083508"/>
                <a:gd name="connsiteY317" fmla="*/ 1120163 h 1387660"/>
                <a:gd name="connsiteX318" fmla="*/ 206895 w 1083508"/>
                <a:gd name="connsiteY318" fmla="*/ 1120163 h 1387660"/>
                <a:gd name="connsiteX319" fmla="*/ 205754 w 1083508"/>
                <a:gd name="connsiteY319" fmla="*/ 1117231 h 1387660"/>
                <a:gd name="connsiteX320" fmla="*/ 201355 w 1083508"/>
                <a:gd name="connsiteY320" fmla="*/ 1116091 h 1387660"/>
                <a:gd name="connsiteX321" fmla="*/ 200215 w 1083508"/>
                <a:gd name="connsiteY321" fmla="*/ 1112995 h 1387660"/>
                <a:gd name="connsiteX322" fmla="*/ 197609 w 1083508"/>
                <a:gd name="connsiteY322" fmla="*/ 1112507 h 1387660"/>
                <a:gd name="connsiteX323" fmla="*/ 187834 w 1083508"/>
                <a:gd name="connsiteY323" fmla="*/ 1117883 h 1387660"/>
                <a:gd name="connsiteX324" fmla="*/ 184902 w 1083508"/>
                <a:gd name="connsiteY324" fmla="*/ 1117883 h 1387660"/>
                <a:gd name="connsiteX325" fmla="*/ 182458 w 1083508"/>
                <a:gd name="connsiteY325" fmla="*/ 1119512 h 1387660"/>
                <a:gd name="connsiteX326" fmla="*/ 181481 w 1083508"/>
                <a:gd name="connsiteY326" fmla="*/ 1123259 h 1387660"/>
                <a:gd name="connsiteX327" fmla="*/ 178874 w 1083508"/>
                <a:gd name="connsiteY327" fmla="*/ 1125051 h 1387660"/>
                <a:gd name="connsiteX328" fmla="*/ 174638 w 1083508"/>
                <a:gd name="connsiteY328" fmla="*/ 1126028 h 1387660"/>
                <a:gd name="connsiteX329" fmla="*/ 171380 w 1083508"/>
                <a:gd name="connsiteY329" fmla="*/ 1129775 h 1387660"/>
                <a:gd name="connsiteX330" fmla="*/ 169425 w 1083508"/>
                <a:gd name="connsiteY330" fmla="*/ 1129775 h 1387660"/>
                <a:gd name="connsiteX331" fmla="*/ 168285 w 1083508"/>
                <a:gd name="connsiteY331" fmla="*/ 1127657 h 1387660"/>
                <a:gd name="connsiteX332" fmla="*/ 169100 w 1083508"/>
                <a:gd name="connsiteY332" fmla="*/ 1125051 h 1387660"/>
                <a:gd name="connsiteX333" fmla="*/ 166004 w 1083508"/>
                <a:gd name="connsiteY333" fmla="*/ 1124236 h 1387660"/>
                <a:gd name="connsiteX334" fmla="*/ 166493 w 1083508"/>
                <a:gd name="connsiteY334" fmla="*/ 1122281 h 1387660"/>
                <a:gd name="connsiteX335" fmla="*/ 169588 w 1083508"/>
                <a:gd name="connsiteY335" fmla="*/ 1118697 h 1387660"/>
                <a:gd name="connsiteX336" fmla="*/ 165516 w 1083508"/>
                <a:gd name="connsiteY336" fmla="*/ 1116091 h 1387660"/>
                <a:gd name="connsiteX337" fmla="*/ 163398 w 1083508"/>
                <a:gd name="connsiteY337" fmla="*/ 1116091 h 1387660"/>
                <a:gd name="connsiteX338" fmla="*/ 159814 w 1083508"/>
                <a:gd name="connsiteY338" fmla="*/ 1113484 h 1387660"/>
                <a:gd name="connsiteX339" fmla="*/ 160465 w 1083508"/>
                <a:gd name="connsiteY339" fmla="*/ 1112018 h 1387660"/>
                <a:gd name="connsiteX340" fmla="*/ 166330 w 1083508"/>
                <a:gd name="connsiteY340" fmla="*/ 1109574 h 1387660"/>
                <a:gd name="connsiteX341" fmla="*/ 168937 w 1083508"/>
                <a:gd name="connsiteY341" fmla="*/ 1106642 h 1387660"/>
                <a:gd name="connsiteX342" fmla="*/ 171380 w 1083508"/>
                <a:gd name="connsiteY342" fmla="*/ 1105827 h 1387660"/>
                <a:gd name="connsiteX343" fmla="*/ 173172 w 1083508"/>
                <a:gd name="connsiteY343" fmla="*/ 1107782 h 1387660"/>
                <a:gd name="connsiteX344" fmla="*/ 177245 w 1083508"/>
                <a:gd name="connsiteY344" fmla="*/ 1108271 h 1387660"/>
                <a:gd name="connsiteX345" fmla="*/ 181155 w 1083508"/>
                <a:gd name="connsiteY345" fmla="*/ 1106805 h 1387660"/>
                <a:gd name="connsiteX346" fmla="*/ 185065 w 1083508"/>
                <a:gd name="connsiteY346" fmla="*/ 1103709 h 1387660"/>
                <a:gd name="connsiteX347" fmla="*/ 188323 w 1083508"/>
                <a:gd name="connsiteY347" fmla="*/ 1104035 h 1387660"/>
                <a:gd name="connsiteX348" fmla="*/ 189463 w 1083508"/>
                <a:gd name="connsiteY348" fmla="*/ 1101103 h 1387660"/>
                <a:gd name="connsiteX349" fmla="*/ 188486 w 1083508"/>
                <a:gd name="connsiteY349" fmla="*/ 1099800 h 1387660"/>
                <a:gd name="connsiteX350" fmla="*/ 185065 w 1083508"/>
                <a:gd name="connsiteY350" fmla="*/ 1099311 h 1387660"/>
                <a:gd name="connsiteX351" fmla="*/ 180340 w 1083508"/>
                <a:gd name="connsiteY351" fmla="*/ 1102243 h 1387660"/>
                <a:gd name="connsiteX352" fmla="*/ 176919 w 1083508"/>
                <a:gd name="connsiteY352" fmla="*/ 1104687 h 1387660"/>
                <a:gd name="connsiteX353" fmla="*/ 174801 w 1083508"/>
                <a:gd name="connsiteY353" fmla="*/ 1104361 h 1387660"/>
                <a:gd name="connsiteX354" fmla="*/ 171543 w 1083508"/>
                <a:gd name="connsiteY354" fmla="*/ 1100777 h 1387660"/>
                <a:gd name="connsiteX355" fmla="*/ 169588 w 1083508"/>
                <a:gd name="connsiteY355" fmla="*/ 1100777 h 1387660"/>
                <a:gd name="connsiteX356" fmla="*/ 167633 w 1083508"/>
                <a:gd name="connsiteY356" fmla="*/ 1103221 h 1387660"/>
                <a:gd name="connsiteX357" fmla="*/ 162583 w 1083508"/>
                <a:gd name="connsiteY357" fmla="*/ 1106153 h 1387660"/>
                <a:gd name="connsiteX358" fmla="*/ 162909 w 1083508"/>
                <a:gd name="connsiteY358" fmla="*/ 1104035 h 1387660"/>
                <a:gd name="connsiteX359" fmla="*/ 160303 w 1083508"/>
                <a:gd name="connsiteY359" fmla="*/ 1103384 h 1387660"/>
                <a:gd name="connsiteX360" fmla="*/ 158022 w 1083508"/>
                <a:gd name="connsiteY360" fmla="*/ 1104361 h 1387660"/>
                <a:gd name="connsiteX361" fmla="*/ 154601 w 1083508"/>
                <a:gd name="connsiteY361" fmla="*/ 1103872 h 1387660"/>
                <a:gd name="connsiteX362" fmla="*/ 155741 w 1083508"/>
                <a:gd name="connsiteY362" fmla="*/ 1102080 h 1387660"/>
                <a:gd name="connsiteX363" fmla="*/ 158836 w 1083508"/>
                <a:gd name="connsiteY363" fmla="*/ 1101103 h 1387660"/>
                <a:gd name="connsiteX364" fmla="*/ 165841 w 1083508"/>
                <a:gd name="connsiteY364" fmla="*/ 1098659 h 1387660"/>
                <a:gd name="connsiteX365" fmla="*/ 172846 w 1083508"/>
                <a:gd name="connsiteY365" fmla="*/ 1094261 h 1387660"/>
                <a:gd name="connsiteX366" fmla="*/ 176430 w 1083508"/>
                <a:gd name="connsiteY366" fmla="*/ 1092958 h 1387660"/>
                <a:gd name="connsiteX367" fmla="*/ 183762 w 1083508"/>
                <a:gd name="connsiteY367" fmla="*/ 1091491 h 1387660"/>
                <a:gd name="connsiteX368" fmla="*/ 187671 w 1083508"/>
                <a:gd name="connsiteY368" fmla="*/ 1086930 h 1387660"/>
                <a:gd name="connsiteX369" fmla="*/ 195817 w 1083508"/>
                <a:gd name="connsiteY369" fmla="*/ 1078133 h 1387660"/>
                <a:gd name="connsiteX370" fmla="*/ 203799 w 1083508"/>
                <a:gd name="connsiteY370" fmla="*/ 1074223 h 1387660"/>
                <a:gd name="connsiteX371" fmla="*/ 210316 w 1083508"/>
                <a:gd name="connsiteY371" fmla="*/ 1071942 h 1387660"/>
                <a:gd name="connsiteX372" fmla="*/ 213900 w 1083508"/>
                <a:gd name="connsiteY372" fmla="*/ 1071942 h 1387660"/>
                <a:gd name="connsiteX373" fmla="*/ 216017 w 1083508"/>
                <a:gd name="connsiteY373" fmla="*/ 1070150 h 1387660"/>
                <a:gd name="connsiteX374" fmla="*/ 215692 w 1083508"/>
                <a:gd name="connsiteY374" fmla="*/ 1068358 h 1387660"/>
                <a:gd name="connsiteX375" fmla="*/ 212108 w 1083508"/>
                <a:gd name="connsiteY375" fmla="*/ 1067218 h 1387660"/>
                <a:gd name="connsiteX376" fmla="*/ 206080 w 1083508"/>
                <a:gd name="connsiteY376" fmla="*/ 1069010 h 1387660"/>
                <a:gd name="connsiteX377" fmla="*/ 193210 w 1083508"/>
                <a:gd name="connsiteY377" fmla="*/ 1075037 h 1387660"/>
                <a:gd name="connsiteX378" fmla="*/ 187508 w 1083508"/>
                <a:gd name="connsiteY378" fmla="*/ 1080902 h 1387660"/>
                <a:gd name="connsiteX379" fmla="*/ 183598 w 1083508"/>
                <a:gd name="connsiteY379" fmla="*/ 1086767 h 1387660"/>
                <a:gd name="connsiteX380" fmla="*/ 178874 w 1083508"/>
                <a:gd name="connsiteY380" fmla="*/ 1089048 h 1387660"/>
                <a:gd name="connsiteX381" fmla="*/ 170403 w 1083508"/>
                <a:gd name="connsiteY381" fmla="*/ 1091003 h 1387660"/>
                <a:gd name="connsiteX382" fmla="*/ 167796 w 1083508"/>
                <a:gd name="connsiteY382" fmla="*/ 1092795 h 1387660"/>
                <a:gd name="connsiteX383" fmla="*/ 157859 w 1083508"/>
                <a:gd name="connsiteY383" fmla="*/ 1097030 h 1387660"/>
                <a:gd name="connsiteX384" fmla="*/ 154275 w 1083508"/>
                <a:gd name="connsiteY384" fmla="*/ 1097030 h 1387660"/>
                <a:gd name="connsiteX385" fmla="*/ 153460 w 1083508"/>
                <a:gd name="connsiteY385" fmla="*/ 1094749 h 1387660"/>
                <a:gd name="connsiteX386" fmla="*/ 154927 w 1083508"/>
                <a:gd name="connsiteY386" fmla="*/ 1092632 h 1387660"/>
                <a:gd name="connsiteX387" fmla="*/ 154927 w 1083508"/>
                <a:gd name="connsiteY387" fmla="*/ 1083835 h 1387660"/>
                <a:gd name="connsiteX388" fmla="*/ 157533 w 1083508"/>
                <a:gd name="connsiteY388" fmla="*/ 1080576 h 1387660"/>
                <a:gd name="connsiteX389" fmla="*/ 160139 w 1083508"/>
                <a:gd name="connsiteY389" fmla="*/ 1080576 h 1387660"/>
                <a:gd name="connsiteX390" fmla="*/ 164049 w 1083508"/>
                <a:gd name="connsiteY390" fmla="*/ 1083183 h 1387660"/>
                <a:gd name="connsiteX391" fmla="*/ 166819 w 1083508"/>
                <a:gd name="connsiteY391" fmla="*/ 1082205 h 1387660"/>
                <a:gd name="connsiteX392" fmla="*/ 172521 w 1083508"/>
                <a:gd name="connsiteY392" fmla="*/ 1082205 h 1387660"/>
                <a:gd name="connsiteX393" fmla="*/ 177082 w 1083508"/>
                <a:gd name="connsiteY393" fmla="*/ 1081880 h 1387660"/>
                <a:gd name="connsiteX394" fmla="*/ 175779 w 1083508"/>
                <a:gd name="connsiteY394" fmla="*/ 1080088 h 1387660"/>
                <a:gd name="connsiteX395" fmla="*/ 172521 w 1083508"/>
                <a:gd name="connsiteY395" fmla="*/ 1077970 h 1387660"/>
                <a:gd name="connsiteX396" fmla="*/ 168122 w 1083508"/>
                <a:gd name="connsiteY396" fmla="*/ 1077970 h 1387660"/>
                <a:gd name="connsiteX397" fmla="*/ 165190 w 1083508"/>
                <a:gd name="connsiteY397" fmla="*/ 1079599 h 1387660"/>
                <a:gd name="connsiteX398" fmla="*/ 162257 w 1083508"/>
                <a:gd name="connsiteY398" fmla="*/ 1078947 h 1387660"/>
                <a:gd name="connsiteX399" fmla="*/ 160791 w 1083508"/>
                <a:gd name="connsiteY399" fmla="*/ 1075363 h 1387660"/>
                <a:gd name="connsiteX400" fmla="*/ 161280 w 1083508"/>
                <a:gd name="connsiteY400" fmla="*/ 1073083 h 1387660"/>
                <a:gd name="connsiteX401" fmla="*/ 165841 w 1083508"/>
                <a:gd name="connsiteY401" fmla="*/ 1072268 h 1387660"/>
                <a:gd name="connsiteX402" fmla="*/ 170240 w 1083508"/>
                <a:gd name="connsiteY402" fmla="*/ 1074875 h 1387660"/>
                <a:gd name="connsiteX403" fmla="*/ 173987 w 1083508"/>
                <a:gd name="connsiteY403" fmla="*/ 1075200 h 1387660"/>
                <a:gd name="connsiteX404" fmla="*/ 178874 w 1083508"/>
                <a:gd name="connsiteY404" fmla="*/ 1073245 h 1387660"/>
                <a:gd name="connsiteX405" fmla="*/ 178060 w 1083508"/>
                <a:gd name="connsiteY405" fmla="*/ 1071779 h 1387660"/>
                <a:gd name="connsiteX406" fmla="*/ 174638 w 1083508"/>
                <a:gd name="connsiteY406" fmla="*/ 1070639 h 1387660"/>
                <a:gd name="connsiteX407" fmla="*/ 172846 w 1083508"/>
                <a:gd name="connsiteY407" fmla="*/ 1071128 h 1387660"/>
                <a:gd name="connsiteX408" fmla="*/ 171543 w 1083508"/>
                <a:gd name="connsiteY408" fmla="*/ 1070150 h 1387660"/>
                <a:gd name="connsiteX409" fmla="*/ 171869 w 1083508"/>
                <a:gd name="connsiteY409" fmla="*/ 1067707 h 1387660"/>
                <a:gd name="connsiteX410" fmla="*/ 176105 w 1083508"/>
                <a:gd name="connsiteY410" fmla="*/ 1066403 h 1387660"/>
                <a:gd name="connsiteX411" fmla="*/ 177571 w 1083508"/>
                <a:gd name="connsiteY411" fmla="*/ 1067381 h 1387660"/>
                <a:gd name="connsiteX412" fmla="*/ 179200 w 1083508"/>
                <a:gd name="connsiteY412" fmla="*/ 1066403 h 1387660"/>
                <a:gd name="connsiteX413" fmla="*/ 182947 w 1083508"/>
                <a:gd name="connsiteY413" fmla="*/ 1067870 h 1387660"/>
                <a:gd name="connsiteX414" fmla="*/ 184902 w 1083508"/>
                <a:gd name="connsiteY414" fmla="*/ 1066729 h 1387660"/>
                <a:gd name="connsiteX415" fmla="*/ 184087 w 1083508"/>
                <a:gd name="connsiteY415" fmla="*/ 1063471 h 1387660"/>
                <a:gd name="connsiteX416" fmla="*/ 184087 w 1083508"/>
                <a:gd name="connsiteY416" fmla="*/ 1060376 h 1387660"/>
                <a:gd name="connsiteX417" fmla="*/ 183273 w 1083508"/>
                <a:gd name="connsiteY417" fmla="*/ 1059398 h 1387660"/>
                <a:gd name="connsiteX418" fmla="*/ 180340 w 1083508"/>
                <a:gd name="connsiteY418" fmla="*/ 1059072 h 1387660"/>
                <a:gd name="connsiteX419" fmla="*/ 178548 w 1083508"/>
                <a:gd name="connsiteY419" fmla="*/ 1060701 h 1387660"/>
                <a:gd name="connsiteX420" fmla="*/ 174638 w 1083508"/>
                <a:gd name="connsiteY420" fmla="*/ 1061190 h 1387660"/>
                <a:gd name="connsiteX421" fmla="*/ 163398 w 1083508"/>
                <a:gd name="connsiteY421" fmla="*/ 1057606 h 1387660"/>
                <a:gd name="connsiteX422" fmla="*/ 158673 w 1083508"/>
                <a:gd name="connsiteY422" fmla="*/ 1057280 h 1387660"/>
                <a:gd name="connsiteX423" fmla="*/ 156230 w 1083508"/>
                <a:gd name="connsiteY423" fmla="*/ 1055163 h 1387660"/>
                <a:gd name="connsiteX424" fmla="*/ 156555 w 1083508"/>
                <a:gd name="connsiteY424" fmla="*/ 1053533 h 1387660"/>
                <a:gd name="connsiteX425" fmla="*/ 161443 w 1083508"/>
                <a:gd name="connsiteY425" fmla="*/ 1053533 h 1387660"/>
                <a:gd name="connsiteX426" fmla="*/ 164701 w 1083508"/>
                <a:gd name="connsiteY426" fmla="*/ 1054511 h 1387660"/>
                <a:gd name="connsiteX427" fmla="*/ 166656 w 1083508"/>
                <a:gd name="connsiteY427" fmla="*/ 1053371 h 1387660"/>
                <a:gd name="connsiteX428" fmla="*/ 165353 w 1083508"/>
                <a:gd name="connsiteY428" fmla="*/ 1052230 h 1387660"/>
                <a:gd name="connsiteX429" fmla="*/ 161280 w 1083508"/>
                <a:gd name="connsiteY429" fmla="*/ 1052230 h 1387660"/>
                <a:gd name="connsiteX430" fmla="*/ 159651 w 1083508"/>
                <a:gd name="connsiteY430" fmla="*/ 1050438 h 1387660"/>
                <a:gd name="connsiteX431" fmla="*/ 159651 w 1083508"/>
                <a:gd name="connsiteY431" fmla="*/ 1047995 h 1387660"/>
                <a:gd name="connsiteX432" fmla="*/ 166819 w 1083508"/>
                <a:gd name="connsiteY432" fmla="*/ 1047995 h 1387660"/>
                <a:gd name="connsiteX433" fmla="*/ 168285 w 1083508"/>
                <a:gd name="connsiteY433" fmla="*/ 1046366 h 1387660"/>
                <a:gd name="connsiteX434" fmla="*/ 173335 w 1083508"/>
                <a:gd name="connsiteY434" fmla="*/ 1046366 h 1387660"/>
                <a:gd name="connsiteX435" fmla="*/ 189789 w 1083508"/>
                <a:gd name="connsiteY435" fmla="*/ 1047180 h 1387660"/>
                <a:gd name="connsiteX436" fmla="*/ 193210 w 1083508"/>
                <a:gd name="connsiteY436" fmla="*/ 1046203 h 1387660"/>
                <a:gd name="connsiteX437" fmla="*/ 199238 w 1083508"/>
                <a:gd name="connsiteY437" fmla="*/ 1047017 h 1387660"/>
                <a:gd name="connsiteX438" fmla="*/ 201681 w 1083508"/>
                <a:gd name="connsiteY438" fmla="*/ 1046040 h 1387660"/>
                <a:gd name="connsiteX439" fmla="*/ 201193 w 1083508"/>
                <a:gd name="connsiteY439" fmla="*/ 1043922 h 1387660"/>
                <a:gd name="connsiteX440" fmla="*/ 195002 w 1083508"/>
                <a:gd name="connsiteY440" fmla="*/ 1041315 h 1387660"/>
                <a:gd name="connsiteX441" fmla="*/ 187671 w 1083508"/>
                <a:gd name="connsiteY441" fmla="*/ 1041315 h 1387660"/>
                <a:gd name="connsiteX442" fmla="*/ 179037 w 1083508"/>
                <a:gd name="connsiteY442" fmla="*/ 1043270 h 1387660"/>
                <a:gd name="connsiteX443" fmla="*/ 174150 w 1083508"/>
                <a:gd name="connsiteY443" fmla="*/ 1043596 h 1387660"/>
                <a:gd name="connsiteX444" fmla="*/ 173172 w 1083508"/>
                <a:gd name="connsiteY444" fmla="*/ 1042456 h 1387660"/>
                <a:gd name="connsiteX445" fmla="*/ 170566 w 1083508"/>
                <a:gd name="connsiteY445" fmla="*/ 1041641 h 1387660"/>
                <a:gd name="connsiteX446" fmla="*/ 165516 w 1083508"/>
                <a:gd name="connsiteY446" fmla="*/ 1042944 h 1387660"/>
                <a:gd name="connsiteX447" fmla="*/ 162095 w 1083508"/>
                <a:gd name="connsiteY447" fmla="*/ 1045388 h 1387660"/>
                <a:gd name="connsiteX448" fmla="*/ 160954 w 1083508"/>
                <a:gd name="connsiteY448" fmla="*/ 1044411 h 1387660"/>
                <a:gd name="connsiteX449" fmla="*/ 161443 w 1083508"/>
                <a:gd name="connsiteY449" fmla="*/ 1040827 h 1387660"/>
                <a:gd name="connsiteX450" fmla="*/ 164049 w 1083508"/>
                <a:gd name="connsiteY450" fmla="*/ 1036591 h 1387660"/>
                <a:gd name="connsiteX451" fmla="*/ 168448 w 1083508"/>
                <a:gd name="connsiteY451" fmla="*/ 1034636 h 1387660"/>
                <a:gd name="connsiteX452" fmla="*/ 171869 w 1083508"/>
                <a:gd name="connsiteY452" fmla="*/ 1032355 h 1387660"/>
                <a:gd name="connsiteX453" fmla="*/ 176593 w 1083508"/>
                <a:gd name="connsiteY453" fmla="*/ 1030075 h 1387660"/>
                <a:gd name="connsiteX454" fmla="*/ 178385 w 1083508"/>
                <a:gd name="connsiteY454" fmla="*/ 1025839 h 1387660"/>
                <a:gd name="connsiteX455" fmla="*/ 182621 w 1083508"/>
                <a:gd name="connsiteY455" fmla="*/ 1022744 h 1387660"/>
                <a:gd name="connsiteX456" fmla="*/ 185228 w 1083508"/>
                <a:gd name="connsiteY456" fmla="*/ 1022255 h 1387660"/>
                <a:gd name="connsiteX457" fmla="*/ 186531 w 1083508"/>
                <a:gd name="connsiteY457" fmla="*/ 1023884 h 1387660"/>
                <a:gd name="connsiteX458" fmla="*/ 190929 w 1083508"/>
                <a:gd name="connsiteY458" fmla="*/ 1023884 h 1387660"/>
                <a:gd name="connsiteX459" fmla="*/ 194025 w 1083508"/>
                <a:gd name="connsiteY459" fmla="*/ 1022418 h 1387660"/>
                <a:gd name="connsiteX460" fmla="*/ 196957 w 1083508"/>
                <a:gd name="connsiteY460" fmla="*/ 1022418 h 1387660"/>
                <a:gd name="connsiteX461" fmla="*/ 198260 w 1083508"/>
                <a:gd name="connsiteY461" fmla="*/ 1023884 h 1387660"/>
                <a:gd name="connsiteX462" fmla="*/ 203636 w 1083508"/>
                <a:gd name="connsiteY462" fmla="*/ 1025839 h 1387660"/>
                <a:gd name="connsiteX463" fmla="*/ 208361 w 1083508"/>
                <a:gd name="connsiteY463" fmla="*/ 1030237 h 1387660"/>
                <a:gd name="connsiteX464" fmla="*/ 212922 w 1083508"/>
                <a:gd name="connsiteY464" fmla="*/ 1029749 h 1387660"/>
                <a:gd name="connsiteX465" fmla="*/ 218135 w 1083508"/>
                <a:gd name="connsiteY465" fmla="*/ 1031704 h 1387660"/>
                <a:gd name="connsiteX466" fmla="*/ 223348 w 1083508"/>
                <a:gd name="connsiteY466" fmla="*/ 1037243 h 1387660"/>
                <a:gd name="connsiteX467" fmla="*/ 228562 w 1083508"/>
                <a:gd name="connsiteY467" fmla="*/ 1040175 h 1387660"/>
                <a:gd name="connsiteX468" fmla="*/ 235404 w 1083508"/>
                <a:gd name="connsiteY468" fmla="*/ 1042456 h 1387660"/>
                <a:gd name="connsiteX469" fmla="*/ 238336 w 1083508"/>
                <a:gd name="connsiteY469" fmla="*/ 1040827 h 1387660"/>
                <a:gd name="connsiteX470" fmla="*/ 240617 w 1083508"/>
                <a:gd name="connsiteY470" fmla="*/ 1040827 h 1387660"/>
                <a:gd name="connsiteX471" fmla="*/ 241594 w 1083508"/>
                <a:gd name="connsiteY471" fmla="*/ 1039523 h 1387660"/>
                <a:gd name="connsiteX472" fmla="*/ 240780 w 1083508"/>
                <a:gd name="connsiteY472" fmla="*/ 1037080 h 1387660"/>
                <a:gd name="connsiteX473" fmla="*/ 236544 w 1083508"/>
                <a:gd name="connsiteY473" fmla="*/ 1038057 h 1387660"/>
                <a:gd name="connsiteX474" fmla="*/ 234915 w 1083508"/>
                <a:gd name="connsiteY474" fmla="*/ 1039686 h 1387660"/>
                <a:gd name="connsiteX475" fmla="*/ 231331 w 1083508"/>
                <a:gd name="connsiteY475" fmla="*/ 1039035 h 1387660"/>
                <a:gd name="connsiteX476" fmla="*/ 225792 w 1083508"/>
                <a:gd name="connsiteY476" fmla="*/ 1035288 h 1387660"/>
                <a:gd name="connsiteX477" fmla="*/ 221068 w 1083508"/>
                <a:gd name="connsiteY477" fmla="*/ 1028445 h 1387660"/>
                <a:gd name="connsiteX478" fmla="*/ 221393 w 1083508"/>
                <a:gd name="connsiteY478" fmla="*/ 1026491 h 1387660"/>
                <a:gd name="connsiteX479" fmla="*/ 224000 w 1083508"/>
                <a:gd name="connsiteY479" fmla="*/ 1026491 h 1387660"/>
                <a:gd name="connsiteX480" fmla="*/ 231494 w 1083508"/>
                <a:gd name="connsiteY480" fmla="*/ 1026491 h 1387660"/>
                <a:gd name="connsiteX481" fmla="*/ 238010 w 1083508"/>
                <a:gd name="connsiteY481" fmla="*/ 1024047 h 1387660"/>
                <a:gd name="connsiteX482" fmla="*/ 240291 w 1083508"/>
                <a:gd name="connsiteY482" fmla="*/ 1021440 h 1387660"/>
                <a:gd name="connsiteX483" fmla="*/ 239151 w 1083508"/>
                <a:gd name="connsiteY483" fmla="*/ 1018997 h 1387660"/>
                <a:gd name="connsiteX484" fmla="*/ 233123 w 1083508"/>
                <a:gd name="connsiteY484" fmla="*/ 1017531 h 1387660"/>
                <a:gd name="connsiteX485" fmla="*/ 230679 w 1083508"/>
                <a:gd name="connsiteY485" fmla="*/ 1018345 h 1387660"/>
                <a:gd name="connsiteX486" fmla="*/ 230679 w 1083508"/>
                <a:gd name="connsiteY486" fmla="*/ 1020300 h 1387660"/>
                <a:gd name="connsiteX487" fmla="*/ 232146 w 1083508"/>
                <a:gd name="connsiteY487" fmla="*/ 1022092 h 1387660"/>
                <a:gd name="connsiteX488" fmla="*/ 230679 w 1083508"/>
                <a:gd name="connsiteY488" fmla="*/ 1022744 h 1387660"/>
                <a:gd name="connsiteX489" fmla="*/ 224163 w 1083508"/>
                <a:gd name="connsiteY489" fmla="*/ 1023069 h 1387660"/>
                <a:gd name="connsiteX490" fmla="*/ 221230 w 1083508"/>
                <a:gd name="connsiteY490" fmla="*/ 1021277 h 1387660"/>
                <a:gd name="connsiteX491" fmla="*/ 220416 w 1083508"/>
                <a:gd name="connsiteY491" fmla="*/ 1018019 h 1387660"/>
                <a:gd name="connsiteX492" fmla="*/ 223022 w 1083508"/>
                <a:gd name="connsiteY492" fmla="*/ 1017042 h 1387660"/>
                <a:gd name="connsiteX493" fmla="*/ 225466 w 1083508"/>
                <a:gd name="connsiteY493" fmla="*/ 1017368 h 1387660"/>
                <a:gd name="connsiteX494" fmla="*/ 226606 w 1083508"/>
                <a:gd name="connsiteY494" fmla="*/ 1015413 h 1387660"/>
                <a:gd name="connsiteX495" fmla="*/ 224652 w 1083508"/>
                <a:gd name="connsiteY495" fmla="*/ 1012643 h 1387660"/>
                <a:gd name="connsiteX496" fmla="*/ 221882 w 1083508"/>
                <a:gd name="connsiteY496" fmla="*/ 1012643 h 1387660"/>
                <a:gd name="connsiteX497" fmla="*/ 220905 w 1083508"/>
                <a:gd name="connsiteY497" fmla="*/ 1013784 h 1387660"/>
                <a:gd name="connsiteX498" fmla="*/ 218135 w 1083508"/>
                <a:gd name="connsiteY498" fmla="*/ 1013295 h 1387660"/>
                <a:gd name="connsiteX499" fmla="*/ 215855 w 1083508"/>
                <a:gd name="connsiteY499" fmla="*/ 1013295 h 1387660"/>
                <a:gd name="connsiteX500" fmla="*/ 215855 w 1083508"/>
                <a:gd name="connsiteY500" fmla="*/ 1015413 h 1387660"/>
                <a:gd name="connsiteX501" fmla="*/ 216995 w 1083508"/>
                <a:gd name="connsiteY501" fmla="*/ 1018019 h 1387660"/>
                <a:gd name="connsiteX502" fmla="*/ 216995 w 1083508"/>
                <a:gd name="connsiteY502" fmla="*/ 1021440 h 1387660"/>
                <a:gd name="connsiteX503" fmla="*/ 214225 w 1083508"/>
                <a:gd name="connsiteY503" fmla="*/ 1024536 h 1387660"/>
                <a:gd name="connsiteX504" fmla="*/ 210479 w 1083508"/>
                <a:gd name="connsiteY504" fmla="*/ 1026491 h 1387660"/>
                <a:gd name="connsiteX505" fmla="*/ 208035 w 1083508"/>
                <a:gd name="connsiteY505" fmla="*/ 1025350 h 1387660"/>
                <a:gd name="connsiteX506" fmla="*/ 203147 w 1083508"/>
                <a:gd name="connsiteY506" fmla="*/ 1019485 h 1387660"/>
                <a:gd name="connsiteX507" fmla="*/ 199075 w 1083508"/>
                <a:gd name="connsiteY507" fmla="*/ 1019485 h 1387660"/>
                <a:gd name="connsiteX508" fmla="*/ 196468 w 1083508"/>
                <a:gd name="connsiteY508" fmla="*/ 1017693 h 1387660"/>
                <a:gd name="connsiteX509" fmla="*/ 195980 w 1083508"/>
                <a:gd name="connsiteY509" fmla="*/ 1015250 h 1387660"/>
                <a:gd name="connsiteX510" fmla="*/ 194351 w 1083508"/>
                <a:gd name="connsiteY510" fmla="*/ 1015576 h 1387660"/>
                <a:gd name="connsiteX511" fmla="*/ 192396 w 1083508"/>
                <a:gd name="connsiteY511" fmla="*/ 1017856 h 1387660"/>
                <a:gd name="connsiteX512" fmla="*/ 186205 w 1083508"/>
                <a:gd name="connsiteY512" fmla="*/ 1018834 h 1387660"/>
                <a:gd name="connsiteX513" fmla="*/ 182295 w 1083508"/>
                <a:gd name="connsiteY513" fmla="*/ 1018834 h 1387660"/>
                <a:gd name="connsiteX514" fmla="*/ 179037 w 1083508"/>
                <a:gd name="connsiteY514" fmla="*/ 1021766 h 1387660"/>
                <a:gd name="connsiteX515" fmla="*/ 174150 w 1083508"/>
                <a:gd name="connsiteY515" fmla="*/ 1027305 h 1387660"/>
                <a:gd name="connsiteX516" fmla="*/ 170566 w 1083508"/>
                <a:gd name="connsiteY516" fmla="*/ 1028445 h 1387660"/>
                <a:gd name="connsiteX517" fmla="*/ 168774 w 1083508"/>
                <a:gd name="connsiteY517" fmla="*/ 1027468 h 1387660"/>
                <a:gd name="connsiteX518" fmla="*/ 168774 w 1083508"/>
                <a:gd name="connsiteY518" fmla="*/ 1025350 h 1387660"/>
                <a:gd name="connsiteX519" fmla="*/ 174313 w 1083508"/>
                <a:gd name="connsiteY519" fmla="*/ 1018508 h 1387660"/>
                <a:gd name="connsiteX520" fmla="*/ 176593 w 1083508"/>
                <a:gd name="connsiteY520" fmla="*/ 1017693 h 1387660"/>
                <a:gd name="connsiteX521" fmla="*/ 178385 w 1083508"/>
                <a:gd name="connsiteY521" fmla="*/ 1015739 h 1387660"/>
                <a:gd name="connsiteX522" fmla="*/ 178385 w 1083508"/>
                <a:gd name="connsiteY522" fmla="*/ 1013784 h 1387660"/>
                <a:gd name="connsiteX523" fmla="*/ 180014 w 1083508"/>
                <a:gd name="connsiteY523" fmla="*/ 1013458 h 1387660"/>
                <a:gd name="connsiteX524" fmla="*/ 182784 w 1083508"/>
                <a:gd name="connsiteY524" fmla="*/ 1011014 h 1387660"/>
                <a:gd name="connsiteX525" fmla="*/ 182784 w 1083508"/>
                <a:gd name="connsiteY525" fmla="*/ 1008571 h 1387660"/>
                <a:gd name="connsiteX526" fmla="*/ 184413 w 1083508"/>
                <a:gd name="connsiteY526" fmla="*/ 1005475 h 1387660"/>
                <a:gd name="connsiteX527" fmla="*/ 186368 w 1083508"/>
                <a:gd name="connsiteY527" fmla="*/ 1005801 h 1387660"/>
                <a:gd name="connsiteX528" fmla="*/ 190278 w 1083508"/>
                <a:gd name="connsiteY528" fmla="*/ 1008733 h 1387660"/>
                <a:gd name="connsiteX529" fmla="*/ 195165 w 1083508"/>
                <a:gd name="connsiteY529" fmla="*/ 1010851 h 1387660"/>
                <a:gd name="connsiteX530" fmla="*/ 202333 w 1083508"/>
                <a:gd name="connsiteY530" fmla="*/ 1010851 h 1387660"/>
                <a:gd name="connsiteX531" fmla="*/ 201519 w 1083508"/>
                <a:gd name="connsiteY531" fmla="*/ 1009059 h 1387660"/>
                <a:gd name="connsiteX532" fmla="*/ 198260 w 1083508"/>
                <a:gd name="connsiteY532" fmla="*/ 1008245 h 1387660"/>
                <a:gd name="connsiteX533" fmla="*/ 195817 w 1083508"/>
                <a:gd name="connsiteY533" fmla="*/ 1008245 h 1387660"/>
                <a:gd name="connsiteX534" fmla="*/ 193047 w 1083508"/>
                <a:gd name="connsiteY534" fmla="*/ 1006453 h 1387660"/>
                <a:gd name="connsiteX535" fmla="*/ 186694 w 1083508"/>
                <a:gd name="connsiteY535" fmla="*/ 1000751 h 1387660"/>
                <a:gd name="connsiteX536" fmla="*/ 185716 w 1083508"/>
                <a:gd name="connsiteY536" fmla="*/ 997004 h 1387660"/>
                <a:gd name="connsiteX537" fmla="*/ 182784 w 1083508"/>
                <a:gd name="connsiteY537" fmla="*/ 995701 h 1387660"/>
                <a:gd name="connsiteX538" fmla="*/ 182132 w 1083508"/>
                <a:gd name="connsiteY538" fmla="*/ 993746 h 1387660"/>
                <a:gd name="connsiteX539" fmla="*/ 184250 w 1083508"/>
                <a:gd name="connsiteY539" fmla="*/ 992768 h 1387660"/>
                <a:gd name="connsiteX540" fmla="*/ 189952 w 1083508"/>
                <a:gd name="connsiteY540" fmla="*/ 994560 h 1387660"/>
                <a:gd name="connsiteX541" fmla="*/ 194676 w 1083508"/>
                <a:gd name="connsiteY541" fmla="*/ 1000914 h 1387660"/>
                <a:gd name="connsiteX542" fmla="*/ 199401 w 1083508"/>
                <a:gd name="connsiteY542" fmla="*/ 1005149 h 1387660"/>
                <a:gd name="connsiteX543" fmla="*/ 200052 w 1083508"/>
                <a:gd name="connsiteY543" fmla="*/ 1003846 h 1387660"/>
                <a:gd name="connsiteX544" fmla="*/ 198423 w 1083508"/>
                <a:gd name="connsiteY544" fmla="*/ 1000588 h 1387660"/>
                <a:gd name="connsiteX545" fmla="*/ 197283 w 1083508"/>
                <a:gd name="connsiteY545" fmla="*/ 996352 h 1387660"/>
                <a:gd name="connsiteX546" fmla="*/ 198749 w 1083508"/>
                <a:gd name="connsiteY546" fmla="*/ 996841 h 1387660"/>
                <a:gd name="connsiteX547" fmla="*/ 201355 w 1083508"/>
                <a:gd name="connsiteY547" fmla="*/ 999936 h 1387660"/>
                <a:gd name="connsiteX548" fmla="*/ 202659 w 1083508"/>
                <a:gd name="connsiteY548" fmla="*/ 1003032 h 1387660"/>
                <a:gd name="connsiteX549" fmla="*/ 211456 w 1083508"/>
                <a:gd name="connsiteY549" fmla="*/ 1008245 h 1387660"/>
                <a:gd name="connsiteX550" fmla="*/ 214714 w 1083508"/>
                <a:gd name="connsiteY550" fmla="*/ 1007593 h 1387660"/>
                <a:gd name="connsiteX551" fmla="*/ 216669 w 1083508"/>
                <a:gd name="connsiteY551" fmla="*/ 1006453 h 1387660"/>
                <a:gd name="connsiteX552" fmla="*/ 221393 w 1083508"/>
                <a:gd name="connsiteY552" fmla="*/ 1006453 h 1387660"/>
                <a:gd name="connsiteX553" fmla="*/ 223674 w 1083508"/>
                <a:gd name="connsiteY553" fmla="*/ 1008571 h 1387660"/>
                <a:gd name="connsiteX554" fmla="*/ 228887 w 1083508"/>
                <a:gd name="connsiteY554" fmla="*/ 1011829 h 1387660"/>
                <a:gd name="connsiteX555" fmla="*/ 233286 w 1083508"/>
                <a:gd name="connsiteY555" fmla="*/ 1013784 h 1387660"/>
                <a:gd name="connsiteX556" fmla="*/ 234100 w 1083508"/>
                <a:gd name="connsiteY556" fmla="*/ 1014924 h 1387660"/>
                <a:gd name="connsiteX557" fmla="*/ 237684 w 1083508"/>
                <a:gd name="connsiteY557" fmla="*/ 1014924 h 1387660"/>
                <a:gd name="connsiteX558" fmla="*/ 237684 w 1083508"/>
                <a:gd name="connsiteY558" fmla="*/ 1013295 h 1387660"/>
                <a:gd name="connsiteX559" fmla="*/ 233286 w 1083508"/>
                <a:gd name="connsiteY559" fmla="*/ 1009385 h 1387660"/>
                <a:gd name="connsiteX560" fmla="*/ 223022 w 1083508"/>
                <a:gd name="connsiteY560" fmla="*/ 1001240 h 1387660"/>
                <a:gd name="connsiteX561" fmla="*/ 222045 w 1083508"/>
                <a:gd name="connsiteY561" fmla="*/ 998959 h 1387660"/>
                <a:gd name="connsiteX562" fmla="*/ 222534 w 1083508"/>
                <a:gd name="connsiteY562" fmla="*/ 997167 h 1387660"/>
                <a:gd name="connsiteX563" fmla="*/ 228398 w 1083508"/>
                <a:gd name="connsiteY563" fmla="*/ 995049 h 1387660"/>
                <a:gd name="connsiteX564" fmla="*/ 228887 w 1083508"/>
                <a:gd name="connsiteY564" fmla="*/ 992117 h 1387660"/>
                <a:gd name="connsiteX565" fmla="*/ 230516 w 1083508"/>
                <a:gd name="connsiteY565" fmla="*/ 988858 h 1387660"/>
                <a:gd name="connsiteX566" fmla="*/ 232471 w 1083508"/>
                <a:gd name="connsiteY566" fmla="*/ 987718 h 1387660"/>
                <a:gd name="connsiteX567" fmla="*/ 232471 w 1083508"/>
                <a:gd name="connsiteY567" fmla="*/ 986741 h 1387660"/>
                <a:gd name="connsiteX568" fmla="*/ 229050 w 1083508"/>
                <a:gd name="connsiteY568" fmla="*/ 986252 h 1387660"/>
                <a:gd name="connsiteX569" fmla="*/ 225792 w 1083508"/>
                <a:gd name="connsiteY569" fmla="*/ 987555 h 1387660"/>
                <a:gd name="connsiteX570" fmla="*/ 219113 w 1083508"/>
                <a:gd name="connsiteY570" fmla="*/ 987555 h 1387660"/>
                <a:gd name="connsiteX571" fmla="*/ 217321 w 1083508"/>
                <a:gd name="connsiteY571" fmla="*/ 989347 h 1387660"/>
                <a:gd name="connsiteX572" fmla="*/ 218461 w 1083508"/>
                <a:gd name="connsiteY572" fmla="*/ 990813 h 1387660"/>
                <a:gd name="connsiteX573" fmla="*/ 222208 w 1083508"/>
                <a:gd name="connsiteY573" fmla="*/ 993746 h 1387660"/>
                <a:gd name="connsiteX574" fmla="*/ 220579 w 1083508"/>
                <a:gd name="connsiteY574" fmla="*/ 995375 h 1387660"/>
                <a:gd name="connsiteX575" fmla="*/ 214714 w 1083508"/>
                <a:gd name="connsiteY575" fmla="*/ 995375 h 1387660"/>
                <a:gd name="connsiteX576" fmla="*/ 212759 w 1083508"/>
                <a:gd name="connsiteY576" fmla="*/ 996189 h 1387660"/>
                <a:gd name="connsiteX577" fmla="*/ 208849 w 1083508"/>
                <a:gd name="connsiteY577" fmla="*/ 995212 h 1387660"/>
                <a:gd name="connsiteX578" fmla="*/ 204288 w 1083508"/>
                <a:gd name="connsiteY578" fmla="*/ 996515 h 1387660"/>
                <a:gd name="connsiteX579" fmla="*/ 202007 w 1083508"/>
                <a:gd name="connsiteY579" fmla="*/ 993257 h 1387660"/>
                <a:gd name="connsiteX580" fmla="*/ 198260 w 1083508"/>
                <a:gd name="connsiteY580" fmla="*/ 991628 h 1387660"/>
                <a:gd name="connsiteX581" fmla="*/ 197283 w 1083508"/>
                <a:gd name="connsiteY581" fmla="*/ 989510 h 1387660"/>
                <a:gd name="connsiteX582" fmla="*/ 199889 w 1083508"/>
                <a:gd name="connsiteY582" fmla="*/ 987881 h 1387660"/>
                <a:gd name="connsiteX583" fmla="*/ 201844 w 1083508"/>
                <a:gd name="connsiteY583" fmla="*/ 985926 h 1387660"/>
                <a:gd name="connsiteX584" fmla="*/ 199075 w 1083508"/>
                <a:gd name="connsiteY584" fmla="*/ 985926 h 1387660"/>
                <a:gd name="connsiteX585" fmla="*/ 194188 w 1083508"/>
                <a:gd name="connsiteY585" fmla="*/ 987067 h 1387660"/>
                <a:gd name="connsiteX586" fmla="*/ 193210 w 1083508"/>
                <a:gd name="connsiteY586" fmla="*/ 986089 h 1387660"/>
                <a:gd name="connsiteX587" fmla="*/ 199401 w 1083508"/>
                <a:gd name="connsiteY587" fmla="*/ 984460 h 1387660"/>
                <a:gd name="connsiteX588" fmla="*/ 206080 w 1083508"/>
                <a:gd name="connsiteY588" fmla="*/ 981365 h 1387660"/>
                <a:gd name="connsiteX589" fmla="*/ 209012 w 1083508"/>
                <a:gd name="connsiteY589" fmla="*/ 979736 h 1387660"/>
                <a:gd name="connsiteX590" fmla="*/ 214714 w 1083508"/>
                <a:gd name="connsiteY590" fmla="*/ 980061 h 1387660"/>
                <a:gd name="connsiteX591" fmla="*/ 216343 w 1083508"/>
                <a:gd name="connsiteY591" fmla="*/ 981365 h 1387660"/>
                <a:gd name="connsiteX592" fmla="*/ 220579 w 1083508"/>
                <a:gd name="connsiteY592" fmla="*/ 980713 h 1387660"/>
                <a:gd name="connsiteX593" fmla="*/ 224978 w 1083508"/>
                <a:gd name="connsiteY593" fmla="*/ 980713 h 1387660"/>
                <a:gd name="connsiteX594" fmla="*/ 230516 w 1083508"/>
                <a:gd name="connsiteY594" fmla="*/ 981365 h 1387660"/>
                <a:gd name="connsiteX595" fmla="*/ 230516 w 1083508"/>
                <a:gd name="connsiteY595" fmla="*/ 978758 h 1387660"/>
                <a:gd name="connsiteX596" fmla="*/ 233123 w 1083508"/>
                <a:gd name="connsiteY596" fmla="*/ 977455 h 1387660"/>
                <a:gd name="connsiteX597" fmla="*/ 234915 w 1083508"/>
                <a:gd name="connsiteY597" fmla="*/ 975337 h 1387660"/>
                <a:gd name="connsiteX598" fmla="*/ 238173 w 1083508"/>
                <a:gd name="connsiteY598" fmla="*/ 973219 h 1387660"/>
                <a:gd name="connsiteX599" fmla="*/ 239639 w 1083508"/>
                <a:gd name="connsiteY599" fmla="*/ 970613 h 1387660"/>
                <a:gd name="connsiteX600" fmla="*/ 238499 w 1083508"/>
                <a:gd name="connsiteY600" fmla="*/ 970124 h 1387660"/>
                <a:gd name="connsiteX601" fmla="*/ 234752 w 1083508"/>
                <a:gd name="connsiteY601" fmla="*/ 972893 h 1387660"/>
                <a:gd name="connsiteX602" fmla="*/ 232471 w 1083508"/>
                <a:gd name="connsiteY602" fmla="*/ 972893 h 1387660"/>
                <a:gd name="connsiteX603" fmla="*/ 231331 w 1083508"/>
                <a:gd name="connsiteY603" fmla="*/ 970776 h 1387660"/>
                <a:gd name="connsiteX604" fmla="*/ 233774 w 1083508"/>
                <a:gd name="connsiteY604" fmla="*/ 966866 h 1387660"/>
                <a:gd name="connsiteX605" fmla="*/ 236707 w 1083508"/>
                <a:gd name="connsiteY605" fmla="*/ 957417 h 1387660"/>
                <a:gd name="connsiteX606" fmla="*/ 236218 w 1083508"/>
                <a:gd name="connsiteY606" fmla="*/ 952856 h 1387660"/>
                <a:gd name="connsiteX607" fmla="*/ 238173 w 1083508"/>
                <a:gd name="connsiteY607" fmla="*/ 951878 h 1387660"/>
                <a:gd name="connsiteX608" fmla="*/ 239802 w 1083508"/>
                <a:gd name="connsiteY608" fmla="*/ 953019 h 1387660"/>
                <a:gd name="connsiteX609" fmla="*/ 242246 w 1083508"/>
                <a:gd name="connsiteY609" fmla="*/ 957580 h 1387660"/>
                <a:gd name="connsiteX610" fmla="*/ 241268 w 1083508"/>
                <a:gd name="connsiteY610" fmla="*/ 959046 h 1387660"/>
                <a:gd name="connsiteX611" fmla="*/ 241268 w 1083508"/>
                <a:gd name="connsiteY611" fmla="*/ 961327 h 1387660"/>
                <a:gd name="connsiteX612" fmla="*/ 245504 w 1083508"/>
                <a:gd name="connsiteY612" fmla="*/ 962141 h 1387660"/>
                <a:gd name="connsiteX613" fmla="*/ 248762 w 1083508"/>
                <a:gd name="connsiteY613" fmla="*/ 962141 h 1387660"/>
                <a:gd name="connsiteX614" fmla="*/ 250554 w 1083508"/>
                <a:gd name="connsiteY614" fmla="*/ 963933 h 1387660"/>
                <a:gd name="connsiteX615" fmla="*/ 253487 w 1083508"/>
                <a:gd name="connsiteY615" fmla="*/ 963933 h 1387660"/>
                <a:gd name="connsiteX616" fmla="*/ 254301 w 1083508"/>
                <a:gd name="connsiteY616" fmla="*/ 962793 h 1387660"/>
                <a:gd name="connsiteX617" fmla="*/ 256419 w 1083508"/>
                <a:gd name="connsiteY617" fmla="*/ 963608 h 1387660"/>
                <a:gd name="connsiteX618" fmla="*/ 258700 w 1083508"/>
                <a:gd name="connsiteY618" fmla="*/ 963608 h 1387660"/>
                <a:gd name="connsiteX619" fmla="*/ 258211 w 1083508"/>
                <a:gd name="connsiteY619" fmla="*/ 960838 h 1387660"/>
                <a:gd name="connsiteX620" fmla="*/ 255279 w 1083508"/>
                <a:gd name="connsiteY620" fmla="*/ 959046 h 1387660"/>
                <a:gd name="connsiteX621" fmla="*/ 249088 w 1083508"/>
                <a:gd name="connsiteY621" fmla="*/ 958557 h 1387660"/>
                <a:gd name="connsiteX622" fmla="*/ 249088 w 1083508"/>
                <a:gd name="connsiteY622" fmla="*/ 957091 h 1387660"/>
                <a:gd name="connsiteX623" fmla="*/ 252998 w 1083508"/>
                <a:gd name="connsiteY623" fmla="*/ 956440 h 1387660"/>
                <a:gd name="connsiteX624" fmla="*/ 258048 w 1083508"/>
                <a:gd name="connsiteY624" fmla="*/ 955462 h 1387660"/>
                <a:gd name="connsiteX625" fmla="*/ 257722 w 1083508"/>
                <a:gd name="connsiteY625" fmla="*/ 953507 h 1387660"/>
                <a:gd name="connsiteX626" fmla="*/ 255441 w 1083508"/>
                <a:gd name="connsiteY626" fmla="*/ 952204 h 1387660"/>
                <a:gd name="connsiteX627" fmla="*/ 252998 w 1083508"/>
                <a:gd name="connsiteY627" fmla="*/ 952204 h 1387660"/>
                <a:gd name="connsiteX628" fmla="*/ 251695 w 1083508"/>
                <a:gd name="connsiteY628" fmla="*/ 949923 h 1387660"/>
                <a:gd name="connsiteX629" fmla="*/ 250065 w 1083508"/>
                <a:gd name="connsiteY629" fmla="*/ 949109 h 1387660"/>
                <a:gd name="connsiteX630" fmla="*/ 248111 w 1083508"/>
                <a:gd name="connsiteY630" fmla="*/ 950412 h 1387660"/>
                <a:gd name="connsiteX631" fmla="*/ 245830 w 1083508"/>
                <a:gd name="connsiteY631" fmla="*/ 950086 h 1387660"/>
                <a:gd name="connsiteX632" fmla="*/ 241757 w 1083508"/>
                <a:gd name="connsiteY632" fmla="*/ 949434 h 1387660"/>
                <a:gd name="connsiteX633" fmla="*/ 241757 w 1083508"/>
                <a:gd name="connsiteY633" fmla="*/ 947154 h 1387660"/>
                <a:gd name="connsiteX634" fmla="*/ 244201 w 1083508"/>
                <a:gd name="connsiteY634" fmla="*/ 944547 h 1387660"/>
                <a:gd name="connsiteX635" fmla="*/ 246481 w 1083508"/>
                <a:gd name="connsiteY635" fmla="*/ 944547 h 1387660"/>
                <a:gd name="connsiteX636" fmla="*/ 250228 w 1083508"/>
                <a:gd name="connsiteY636" fmla="*/ 938845 h 1387660"/>
                <a:gd name="connsiteX637" fmla="*/ 252835 w 1083508"/>
                <a:gd name="connsiteY637" fmla="*/ 936891 h 1387660"/>
                <a:gd name="connsiteX638" fmla="*/ 253975 w 1083508"/>
                <a:gd name="connsiteY638" fmla="*/ 937542 h 1387660"/>
                <a:gd name="connsiteX639" fmla="*/ 256908 w 1083508"/>
                <a:gd name="connsiteY639" fmla="*/ 936891 h 1387660"/>
                <a:gd name="connsiteX640" fmla="*/ 260003 w 1083508"/>
                <a:gd name="connsiteY640" fmla="*/ 936891 h 1387660"/>
                <a:gd name="connsiteX641" fmla="*/ 259351 w 1083508"/>
                <a:gd name="connsiteY641" fmla="*/ 934610 h 1387660"/>
                <a:gd name="connsiteX642" fmla="*/ 256419 w 1083508"/>
                <a:gd name="connsiteY642" fmla="*/ 933632 h 1387660"/>
                <a:gd name="connsiteX643" fmla="*/ 252183 w 1083508"/>
                <a:gd name="connsiteY643" fmla="*/ 933632 h 1387660"/>
                <a:gd name="connsiteX644" fmla="*/ 250880 w 1083508"/>
                <a:gd name="connsiteY644" fmla="*/ 932166 h 1387660"/>
                <a:gd name="connsiteX645" fmla="*/ 252509 w 1083508"/>
                <a:gd name="connsiteY645" fmla="*/ 930374 h 1387660"/>
                <a:gd name="connsiteX646" fmla="*/ 257233 w 1083508"/>
                <a:gd name="connsiteY646" fmla="*/ 928256 h 1387660"/>
                <a:gd name="connsiteX647" fmla="*/ 259351 w 1083508"/>
                <a:gd name="connsiteY647" fmla="*/ 925487 h 1387660"/>
                <a:gd name="connsiteX648" fmla="*/ 262772 w 1083508"/>
                <a:gd name="connsiteY648" fmla="*/ 924184 h 1387660"/>
                <a:gd name="connsiteX649" fmla="*/ 262772 w 1083508"/>
                <a:gd name="connsiteY649" fmla="*/ 922555 h 1387660"/>
                <a:gd name="connsiteX650" fmla="*/ 266194 w 1083508"/>
                <a:gd name="connsiteY650" fmla="*/ 920600 h 1387660"/>
                <a:gd name="connsiteX651" fmla="*/ 263750 w 1083508"/>
                <a:gd name="connsiteY651" fmla="*/ 917667 h 1387660"/>
                <a:gd name="connsiteX652" fmla="*/ 260817 w 1083508"/>
                <a:gd name="connsiteY652" fmla="*/ 917667 h 1387660"/>
                <a:gd name="connsiteX653" fmla="*/ 260817 w 1083508"/>
                <a:gd name="connsiteY653" fmla="*/ 915387 h 1387660"/>
                <a:gd name="connsiteX654" fmla="*/ 264076 w 1083508"/>
                <a:gd name="connsiteY654" fmla="*/ 914246 h 1387660"/>
                <a:gd name="connsiteX655" fmla="*/ 267334 w 1083508"/>
                <a:gd name="connsiteY655" fmla="*/ 914246 h 1387660"/>
                <a:gd name="connsiteX656" fmla="*/ 266845 w 1083508"/>
                <a:gd name="connsiteY656" fmla="*/ 910988 h 1387660"/>
                <a:gd name="connsiteX657" fmla="*/ 264238 w 1083508"/>
                <a:gd name="connsiteY657" fmla="*/ 909848 h 1387660"/>
                <a:gd name="connsiteX658" fmla="*/ 259840 w 1083508"/>
                <a:gd name="connsiteY658" fmla="*/ 910173 h 1387660"/>
                <a:gd name="connsiteX659" fmla="*/ 255767 w 1083508"/>
                <a:gd name="connsiteY659" fmla="*/ 913269 h 1387660"/>
                <a:gd name="connsiteX660" fmla="*/ 251369 w 1083508"/>
                <a:gd name="connsiteY660" fmla="*/ 913269 h 1387660"/>
                <a:gd name="connsiteX661" fmla="*/ 248599 w 1083508"/>
                <a:gd name="connsiteY661" fmla="*/ 910173 h 1387660"/>
                <a:gd name="connsiteX662" fmla="*/ 245830 w 1083508"/>
                <a:gd name="connsiteY662" fmla="*/ 911803 h 1387660"/>
                <a:gd name="connsiteX663" fmla="*/ 241757 w 1083508"/>
                <a:gd name="connsiteY663" fmla="*/ 911803 h 1387660"/>
                <a:gd name="connsiteX664" fmla="*/ 239313 w 1083508"/>
                <a:gd name="connsiteY664" fmla="*/ 908870 h 1387660"/>
                <a:gd name="connsiteX665" fmla="*/ 236870 w 1083508"/>
                <a:gd name="connsiteY665" fmla="*/ 910011 h 1387660"/>
                <a:gd name="connsiteX666" fmla="*/ 232797 w 1083508"/>
                <a:gd name="connsiteY666" fmla="*/ 909359 h 1387660"/>
                <a:gd name="connsiteX667" fmla="*/ 229702 w 1083508"/>
                <a:gd name="connsiteY667" fmla="*/ 905612 h 1387660"/>
                <a:gd name="connsiteX668" fmla="*/ 225629 w 1083508"/>
                <a:gd name="connsiteY668" fmla="*/ 905612 h 1387660"/>
                <a:gd name="connsiteX669" fmla="*/ 222697 w 1083508"/>
                <a:gd name="connsiteY669" fmla="*/ 903983 h 1387660"/>
                <a:gd name="connsiteX670" fmla="*/ 222697 w 1083508"/>
                <a:gd name="connsiteY670" fmla="*/ 901539 h 1387660"/>
                <a:gd name="connsiteX671" fmla="*/ 220742 w 1083508"/>
                <a:gd name="connsiteY671" fmla="*/ 896815 h 1387660"/>
                <a:gd name="connsiteX672" fmla="*/ 215203 w 1083508"/>
                <a:gd name="connsiteY672" fmla="*/ 893394 h 1387660"/>
                <a:gd name="connsiteX673" fmla="*/ 206243 w 1083508"/>
                <a:gd name="connsiteY673" fmla="*/ 889321 h 1387660"/>
                <a:gd name="connsiteX674" fmla="*/ 199238 w 1083508"/>
                <a:gd name="connsiteY674" fmla="*/ 886877 h 1387660"/>
                <a:gd name="connsiteX675" fmla="*/ 194513 w 1083508"/>
                <a:gd name="connsiteY675" fmla="*/ 882153 h 1387660"/>
                <a:gd name="connsiteX676" fmla="*/ 195002 w 1083508"/>
                <a:gd name="connsiteY676" fmla="*/ 879221 h 1387660"/>
                <a:gd name="connsiteX677" fmla="*/ 193047 w 1083508"/>
                <a:gd name="connsiteY677" fmla="*/ 873356 h 1387660"/>
                <a:gd name="connsiteX678" fmla="*/ 190115 w 1083508"/>
                <a:gd name="connsiteY678" fmla="*/ 869446 h 1387660"/>
                <a:gd name="connsiteX679" fmla="*/ 187671 w 1083508"/>
                <a:gd name="connsiteY679" fmla="*/ 867491 h 1387660"/>
                <a:gd name="connsiteX680" fmla="*/ 187671 w 1083508"/>
                <a:gd name="connsiteY680" fmla="*/ 864885 h 1387660"/>
                <a:gd name="connsiteX681" fmla="*/ 193047 w 1083508"/>
                <a:gd name="connsiteY681" fmla="*/ 860160 h 1387660"/>
                <a:gd name="connsiteX682" fmla="*/ 197772 w 1083508"/>
                <a:gd name="connsiteY682" fmla="*/ 859672 h 1387660"/>
                <a:gd name="connsiteX683" fmla="*/ 200052 w 1083508"/>
                <a:gd name="connsiteY683" fmla="*/ 858531 h 1387660"/>
                <a:gd name="connsiteX684" fmla="*/ 203147 w 1083508"/>
                <a:gd name="connsiteY684" fmla="*/ 859834 h 1387660"/>
                <a:gd name="connsiteX685" fmla="*/ 207709 w 1083508"/>
                <a:gd name="connsiteY685" fmla="*/ 860323 h 1387660"/>
                <a:gd name="connsiteX686" fmla="*/ 212271 w 1083508"/>
                <a:gd name="connsiteY686" fmla="*/ 864396 h 1387660"/>
                <a:gd name="connsiteX687" fmla="*/ 217321 w 1083508"/>
                <a:gd name="connsiteY687" fmla="*/ 865210 h 1387660"/>
                <a:gd name="connsiteX688" fmla="*/ 220742 w 1083508"/>
                <a:gd name="connsiteY688" fmla="*/ 865536 h 1387660"/>
                <a:gd name="connsiteX689" fmla="*/ 222697 w 1083508"/>
                <a:gd name="connsiteY689" fmla="*/ 867165 h 1387660"/>
                <a:gd name="connsiteX690" fmla="*/ 227258 w 1083508"/>
                <a:gd name="connsiteY690" fmla="*/ 867491 h 1387660"/>
                <a:gd name="connsiteX691" fmla="*/ 231331 w 1083508"/>
                <a:gd name="connsiteY691" fmla="*/ 869120 h 1387660"/>
                <a:gd name="connsiteX692" fmla="*/ 234263 w 1083508"/>
                <a:gd name="connsiteY692" fmla="*/ 870912 h 1387660"/>
                <a:gd name="connsiteX693" fmla="*/ 237521 w 1083508"/>
                <a:gd name="connsiteY693" fmla="*/ 871564 h 1387660"/>
                <a:gd name="connsiteX694" fmla="*/ 239965 w 1083508"/>
                <a:gd name="connsiteY694" fmla="*/ 874659 h 1387660"/>
                <a:gd name="connsiteX695" fmla="*/ 243060 w 1083508"/>
                <a:gd name="connsiteY695" fmla="*/ 884434 h 1387660"/>
                <a:gd name="connsiteX696" fmla="*/ 246644 w 1083508"/>
                <a:gd name="connsiteY696" fmla="*/ 888669 h 1387660"/>
                <a:gd name="connsiteX697" fmla="*/ 251206 w 1083508"/>
                <a:gd name="connsiteY697" fmla="*/ 891765 h 1387660"/>
                <a:gd name="connsiteX698" fmla="*/ 255116 w 1083508"/>
                <a:gd name="connsiteY698" fmla="*/ 895186 h 1387660"/>
                <a:gd name="connsiteX699" fmla="*/ 259840 w 1083508"/>
                <a:gd name="connsiteY699" fmla="*/ 896978 h 1387660"/>
                <a:gd name="connsiteX700" fmla="*/ 262284 w 1083508"/>
                <a:gd name="connsiteY700" fmla="*/ 896000 h 1387660"/>
                <a:gd name="connsiteX701" fmla="*/ 264890 w 1083508"/>
                <a:gd name="connsiteY701" fmla="*/ 892253 h 1387660"/>
                <a:gd name="connsiteX702" fmla="*/ 263587 w 1083508"/>
                <a:gd name="connsiteY702" fmla="*/ 891276 h 1387660"/>
                <a:gd name="connsiteX703" fmla="*/ 260980 w 1083508"/>
                <a:gd name="connsiteY703" fmla="*/ 892742 h 1387660"/>
                <a:gd name="connsiteX704" fmla="*/ 258700 w 1083508"/>
                <a:gd name="connsiteY704" fmla="*/ 893068 h 1387660"/>
                <a:gd name="connsiteX705" fmla="*/ 255767 w 1083508"/>
                <a:gd name="connsiteY705" fmla="*/ 890624 h 1387660"/>
                <a:gd name="connsiteX706" fmla="*/ 250717 w 1083508"/>
                <a:gd name="connsiteY706" fmla="*/ 884597 h 1387660"/>
                <a:gd name="connsiteX707" fmla="*/ 251043 w 1083508"/>
                <a:gd name="connsiteY707" fmla="*/ 882642 h 1387660"/>
                <a:gd name="connsiteX708" fmla="*/ 252020 w 1083508"/>
                <a:gd name="connsiteY708" fmla="*/ 882316 h 1387660"/>
                <a:gd name="connsiteX709" fmla="*/ 256582 w 1083508"/>
                <a:gd name="connsiteY709" fmla="*/ 886877 h 1387660"/>
                <a:gd name="connsiteX710" fmla="*/ 259025 w 1083508"/>
                <a:gd name="connsiteY710" fmla="*/ 886877 h 1387660"/>
                <a:gd name="connsiteX711" fmla="*/ 259351 w 1083508"/>
                <a:gd name="connsiteY711" fmla="*/ 884922 h 1387660"/>
                <a:gd name="connsiteX712" fmla="*/ 262284 w 1083508"/>
                <a:gd name="connsiteY712" fmla="*/ 884597 h 1387660"/>
                <a:gd name="connsiteX713" fmla="*/ 262772 w 1083508"/>
                <a:gd name="connsiteY713" fmla="*/ 882479 h 1387660"/>
                <a:gd name="connsiteX714" fmla="*/ 256419 w 1083508"/>
                <a:gd name="connsiteY714" fmla="*/ 878243 h 1387660"/>
                <a:gd name="connsiteX715" fmla="*/ 250717 w 1083508"/>
                <a:gd name="connsiteY715" fmla="*/ 873519 h 1387660"/>
                <a:gd name="connsiteX716" fmla="*/ 249414 w 1083508"/>
                <a:gd name="connsiteY716" fmla="*/ 870424 h 1387660"/>
                <a:gd name="connsiteX717" fmla="*/ 250228 w 1083508"/>
                <a:gd name="connsiteY717" fmla="*/ 868632 h 1387660"/>
                <a:gd name="connsiteX718" fmla="*/ 251857 w 1083508"/>
                <a:gd name="connsiteY718" fmla="*/ 869120 h 1387660"/>
                <a:gd name="connsiteX719" fmla="*/ 255116 w 1083508"/>
                <a:gd name="connsiteY719" fmla="*/ 873519 h 1387660"/>
                <a:gd name="connsiteX720" fmla="*/ 258048 w 1083508"/>
                <a:gd name="connsiteY720" fmla="*/ 873519 h 1387660"/>
                <a:gd name="connsiteX721" fmla="*/ 255930 w 1083508"/>
                <a:gd name="connsiteY721" fmla="*/ 869120 h 1387660"/>
                <a:gd name="connsiteX722" fmla="*/ 250880 w 1083508"/>
                <a:gd name="connsiteY722" fmla="*/ 863907 h 1387660"/>
                <a:gd name="connsiteX723" fmla="*/ 246644 w 1083508"/>
                <a:gd name="connsiteY723" fmla="*/ 860812 h 1387660"/>
                <a:gd name="connsiteX724" fmla="*/ 245341 w 1083508"/>
                <a:gd name="connsiteY724" fmla="*/ 857717 h 1387660"/>
                <a:gd name="connsiteX725" fmla="*/ 246481 w 1083508"/>
                <a:gd name="connsiteY725" fmla="*/ 855925 h 1387660"/>
                <a:gd name="connsiteX726" fmla="*/ 251369 w 1083508"/>
                <a:gd name="connsiteY726" fmla="*/ 857717 h 1387660"/>
                <a:gd name="connsiteX727" fmla="*/ 260817 w 1083508"/>
                <a:gd name="connsiteY727" fmla="*/ 860812 h 1387660"/>
                <a:gd name="connsiteX728" fmla="*/ 263587 w 1083508"/>
                <a:gd name="connsiteY728" fmla="*/ 859672 h 1387660"/>
                <a:gd name="connsiteX729" fmla="*/ 264076 w 1083508"/>
                <a:gd name="connsiteY729" fmla="*/ 856739 h 1387660"/>
                <a:gd name="connsiteX730" fmla="*/ 260329 w 1083508"/>
                <a:gd name="connsiteY730" fmla="*/ 852015 h 1387660"/>
                <a:gd name="connsiteX731" fmla="*/ 258048 w 1083508"/>
                <a:gd name="connsiteY731" fmla="*/ 852015 h 1387660"/>
                <a:gd name="connsiteX732" fmla="*/ 254953 w 1083508"/>
                <a:gd name="connsiteY732" fmla="*/ 853644 h 1387660"/>
                <a:gd name="connsiteX733" fmla="*/ 251369 w 1083508"/>
                <a:gd name="connsiteY733" fmla="*/ 854133 h 1387660"/>
                <a:gd name="connsiteX734" fmla="*/ 246481 w 1083508"/>
                <a:gd name="connsiteY734" fmla="*/ 853644 h 1387660"/>
                <a:gd name="connsiteX735" fmla="*/ 245504 w 1083508"/>
                <a:gd name="connsiteY735" fmla="*/ 851363 h 1387660"/>
                <a:gd name="connsiteX736" fmla="*/ 247133 w 1083508"/>
                <a:gd name="connsiteY736" fmla="*/ 848920 h 1387660"/>
                <a:gd name="connsiteX737" fmla="*/ 252835 w 1083508"/>
                <a:gd name="connsiteY737" fmla="*/ 845987 h 1387660"/>
                <a:gd name="connsiteX738" fmla="*/ 254790 w 1083508"/>
                <a:gd name="connsiteY738" fmla="*/ 846639 h 1387660"/>
                <a:gd name="connsiteX739" fmla="*/ 258537 w 1083508"/>
                <a:gd name="connsiteY739" fmla="*/ 848920 h 1387660"/>
                <a:gd name="connsiteX740" fmla="*/ 259188 w 1083508"/>
                <a:gd name="connsiteY740" fmla="*/ 846802 h 1387660"/>
                <a:gd name="connsiteX741" fmla="*/ 258700 w 1083508"/>
                <a:gd name="connsiteY741" fmla="*/ 844195 h 1387660"/>
                <a:gd name="connsiteX742" fmla="*/ 255767 w 1083508"/>
                <a:gd name="connsiteY742" fmla="*/ 840774 h 1387660"/>
                <a:gd name="connsiteX743" fmla="*/ 253812 w 1083508"/>
                <a:gd name="connsiteY743" fmla="*/ 841263 h 1387660"/>
                <a:gd name="connsiteX744" fmla="*/ 252346 w 1083508"/>
                <a:gd name="connsiteY744" fmla="*/ 842729 h 1387660"/>
                <a:gd name="connsiteX745" fmla="*/ 249088 w 1083508"/>
                <a:gd name="connsiteY745" fmla="*/ 842729 h 1387660"/>
                <a:gd name="connsiteX746" fmla="*/ 247133 w 1083508"/>
                <a:gd name="connsiteY746" fmla="*/ 844358 h 1387660"/>
                <a:gd name="connsiteX747" fmla="*/ 240291 w 1083508"/>
                <a:gd name="connsiteY747" fmla="*/ 850060 h 1387660"/>
                <a:gd name="connsiteX748" fmla="*/ 238010 w 1083508"/>
                <a:gd name="connsiteY748" fmla="*/ 850060 h 1387660"/>
                <a:gd name="connsiteX749" fmla="*/ 238010 w 1083508"/>
                <a:gd name="connsiteY749" fmla="*/ 848105 h 1387660"/>
                <a:gd name="connsiteX750" fmla="*/ 240617 w 1083508"/>
                <a:gd name="connsiteY750" fmla="*/ 845824 h 1387660"/>
                <a:gd name="connsiteX751" fmla="*/ 242083 w 1083508"/>
                <a:gd name="connsiteY751" fmla="*/ 842240 h 1387660"/>
                <a:gd name="connsiteX752" fmla="*/ 245015 w 1083508"/>
                <a:gd name="connsiteY752" fmla="*/ 838168 h 1387660"/>
                <a:gd name="connsiteX753" fmla="*/ 247296 w 1083508"/>
                <a:gd name="connsiteY753" fmla="*/ 838168 h 1387660"/>
                <a:gd name="connsiteX754" fmla="*/ 250228 w 1083508"/>
                <a:gd name="connsiteY754" fmla="*/ 838168 h 1387660"/>
                <a:gd name="connsiteX755" fmla="*/ 253649 w 1083508"/>
                <a:gd name="connsiteY755" fmla="*/ 835561 h 1387660"/>
                <a:gd name="connsiteX756" fmla="*/ 256908 w 1083508"/>
                <a:gd name="connsiteY756" fmla="*/ 834746 h 1387660"/>
                <a:gd name="connsiteX757" fmla="*/ 258537 w 1083508"/>
                <a:gd name="connsiteY757" fmla="*/ 832954 h 1387660"/>
                <a:gd name="connsiteX758" fmla="*/ 257559 w 1083508"/>
                <a:gd name="connsiteY758" fmla="*/ 831977 h 1387660"/>
                <a:gd name="connsiteX759" fmla="*/ 251695 w 1083508"/>
                <a:gd name="connsiteY759" fmla="*/ 831651 h 1387660"/>
                <a:gd name="connsiteX760" fmla="*/ 248273 w 1083508"/>
                <a:gd name="connsiteY760" fmla="*/ 834421 h 1387660"/>
                <a:gd name="connsiteX761" fmla="*/ 245504 w 1083508"/>
                <a:gd name="connsiteY761" fmla="*/ 835072 h 1387660"/>
                <a:gd name="connsiteX762" fmla="*/ 242735 w 1083508"/>
                <a:gd name="connsiteY762" fmla="*/ 834095 h 1387660"/>
                <a:gd name="connsiteX763" fmla="*/ 237196 w 1083508"/>
                <a:gd name="connsiteY763" fmla="*/ 834746 h 1387660"/>
                <a:gd name="connsiteX764" fmla="*/ 235567 w 1083508"/>
                <a:gd name="connsiteY764" fmla="*/ 833606 h 1387660"/>
                <a:gd name="connsiteX765" fmla="*/ 235567 w 1083508"/>
                <a:gd name="connsiteY765" fmla="*/ 830674 h 1387660"/>
                <a:gd name="connsiteX766" fmla="*/ 238173 w 1083508"/>
                <a:gd name="connsiteY766" fmla="*/ 828882 h 1387660"/>
                <a:gd name="connsiteX767" fmla="*/ 241268 w 1083508"/>
                <a:gd name="connsiteY767" fmla="*/ 826275 h 1387660"/>
                <a:gd name="connsiteX768" fmla="*/ 247459 w 1083508"/>
                <a:gd name="connsiteY768" fmla="*/ 825787 h 1387660"/>
                <a:gd name="connsiteX769" fmla="*/ 255604 w 1083508"/>
                <a:gd name="connsiteY769" fmla="*/ 823832 h 1387660"/>
                <a:gd name="connsiteX770" fmla="*/ 261306 w 1083508"/>
                <a:gd name="connsiteY770" fmla="*/ 820736 h 1387660"/>
                <a:gd name="connsiteX771" fmla="*/ 261795 w 1083508"/>
                <a:gd name="connsiteY771" fmla="*/ 818781 h 1387660"/>
                <a:gd name="connsiteX772" fmla="*/ 260166 w 1083508"/>
                <a:gd name="connsiteY772" fmla="*/ 817804 h 1387660"/>
                <a:gd name="connsiteX773" fmla="*/ 257722 w 1083508"/>
                <a:gd name="connsiteY773" fmla="*/ 817804 h 1387660"/>
                <a:gd name="connsiteX774" fmla="*/ 253975 w 1083508"/>
                <a:gd name="connsiteY774" fmla="*/ 820085 h 1387660"/>
                <a:gd name="connsiteX775" fmla="*/ 249740 w 1083508"/>
                <a:gd name="connsiteY775" fmla="*/ 821551 h 1387660"/>
                <a:gd name="connsiteX776" fmla="*/ 246644 w 1083508"/>
                <a:gd name="connsiteY776" fmla="*/ 820573 h 1387660"/>
                <a:gd name="connsiteX777" fmla="*/ 244527 w 1083508"/>
                <a:gd name="connsiteY777" fmla="*/ 817315 h 1387660"/>
                <a:gd name="connsiteX778" fmla="*/ 242409 w 1083508"/>
                <a:gd name="connsiteY778" fmla="*/ 816175 h 1387660"/>
                <a:gd name="connsiteX779" fmla="*/ 238499 w 1083508"/>
                <a:gd name="connsiteY779" fmla="*/ 816501 h 1387660"/>
                <a:gd name="connsiteX780" fmla="*/ 236707 w 1083508"/>
                <a:gd name="connsiteY780" fmla="*/ 815360 h 1387660"/>
                <a:gd name="connsiteX781" fmla="*/ 236707 w 1083508"/>
                <a:gd name="connsiteY781" fmla="*/ 813568 h 1387660"/>
                <a:gd name="connsiteX782" fmla="*/ 240291 w 1083508"/>
                <a:gd name="connsiteY782" fmla="*/ 810473 h 1387660"/>
                <a:gd name="connsiteX783" fmla="*/ 242246 w 1083508"/>
                <a:gd name="connsiteY783" fmla="*/ 805097 h 1387660"/>
                <a:gd name="connsiteX784" fmla="*/ 244527 w 1083508"/>
                <a:gd name="connsiteY784" fmla="*/ 802979 h 1387660"/>
                <a:gd name="connsiteX785" fmla="*/ 248111 w 1083508"/>
                <a:gd name="connsiteY785" fmla="*/ 801024 h 1387660"/>
                <a:gd name="connsiteX786" fmla="*/ 247785 w 1083508"/>
                <a:gd name="connsiteY786" fmla="*/ 799558 h 1387660"/>
                <a:gd name="connsiteX787" fmla="*/ 245993 w 1083508"/>
                <a:gd name="connsiteY787" fmla="*/ 799558 h 1387660"/>
                <a:gd name="connsiteX788" fmla="*/ 241920 w 1083508"/>
                <a:gd name="connsiteY788" fmla="*/ 801350 h 1387660"/>
                <a:gd name="connsiteX789" fmla="*/ 237359 w 1083508"/>
                <a:gd name="connsiteY789" fmla="*/ 807541 h 1387660"/>
                <a:gd name="connsiteX790" fmla="*/ 237359 w 1083508"/>
                <a:gd name="connsiteY790" fmla="*/ 809821 h 1387660"/>
                <a:gd name="connsiteX791" fmla="*/ 233286 w 1083508"/>
                <a:gd name="connsiteY791" fmla="*/ 812428 h 1387660"/>
                <a:gd name="connsiteX792" fmla="*/ 232146 w 1083508"/>
                <a:gd name="connsiteY792" fmla="*/ 813894 h 1387660"/>
                <a:gd name="connsiteX793" fmla="*/ 230190 w 1083508"/>
                <a:gd name="connsiteY793" fmla="*/ 813894 h 1387660"/>
                <a:gd name="connsiteX794" fmla="*/ 230516 w 1083508"/>
                <a:gd name="connsiteY794" fmla="*/ 809658 h 1387660"/>
                <a:gd name="connsiteX795" fmla="*/ 231820 w 1083508"/>
                <a:gd name="connsiteY795" fmla="*/ 803631 h 1387660"/>
                <a:gd name="connsiteX796" fmla="*/ 231820 w 1083508"/>
                <a:gd name="connsiteY796" fmla="*/ 797603 h 1387660"/>
                <a:gd name="connsiteX797" fmla="*/ 229539 w 1083508"/>
                <a:gd name="connsiteY797" fmla="*/ 792390 h 1387660"/>
                <a:gd name="connsiteX798" fmla="*/ 228887 w 1083508"/>
                <a:gd name="connsiteY798" fmla="*/ 787340 h 1387660"/>
                <a:gd name="connsiteX799" fmla="*/ 230516 w 1083508"/>
                <a:gd name="connsiteY799" fmla="*/ 783593 h 1387660"/>
                <a:gd name="connsiteX800" fmla="*/ 230190 w 1083508"/>
                <a:gd name="connsiteY800" fmla="*/ 779846 h 1387660"/>
                <a:gd name="connsiteX801" fmla="*/ 228887 w 1083508"/>
                <a:gd name="connsiteY801" fmla="*/ 780172 h 1387660"/>
                <a:gd name="connsiteX802" fmla="*/ 227910 w 1083508"/>
                <a:gd name="connsiteY802" fmla="*/ 782127 h 1387660"/>
                <a:gd name="connsiteX803" fmla="*/ 226281 w 1083508"/>
                <a:gd name="connsiteY803" fmla="*/ 790924 h 1387660"/>
                <a:gd name="connsiteX804" fmla="*/ 227747 w 1083508"/>
                <a:gd name="connsiteY804" fmla="*/ 794834 h 1387660"/>
                <a:gd name="connsiteX805" fmla="*/ 229539 w 1083508"/>
                <a:gd name="connsiteY805" fmla="*/ 799395 h 1387660"/>
                <a:gd name="connsiteX806" fmla="*/ 229213 w 1083508"/>
                <a:gd name="connsiteY806" fmla="*/ 804120 h 1387660"/>
                <a:gd name="connsiteX807" fmla="*/ 228887 w 1083508"/>
                <a:gd name="connsiteY807" fmla="*/ 811125 h 1387660"/>
                <a:gd name="connsiteX808" fmla="*/ 227095 w 1083508"/>
                <a:gd name="connsiteY808" fmla="*/ 814383 h 1387660"/>
                <a:gd name="connsiteX809" fmla="*/ 224814 w 1083508"/>
                <a:gd name="connsiteY809" fmla="*/ 814872 h 1387660"/>
                <a:gd name="connsiteX810" fmla="*/ 221882 w 1083508"/>
                <a:gd name="connsiteY810" fmla="*/ 811939 h 1387660"/>
                <a:gd name="connsiteX811" fmla="*/ 219764 w 1083508"/>
                <a:gd name="connsiteY811" fmla="*/ 808844 h 1387660"/>
                <a:gd name="connsiteX812" fmla="*/ 218950 w 1083508"/>
                <a:gd name="connsiteY812" fmla="*/ 815686 h 1387660"/>
                <a:gd name="connsiteX813" fmla="*/ 218461 w 1083508"/>
                <a:gd name="connsiteY813" fmla="*/ 817478 h 1387660"/>
                <a:gd name="connsiteX814" fmla="*/ 216180 w 1083508"/>
                <a:gd name="connsiteY814" fmla="*/ 816989 h 1387660"/>
                <a:gd name="connsiteX815" fmla="*/ 213737 w 1083508"/>
                <a:gd name="connsiteY815" fmla="*/ 816989 h 1387660"/>
                <a:gd name="connsiteX816" fmla="*/ 216017 w 1083508"/>
                <a:gd name="connsiteY816" fmla="*/ 818781 h 1387660"/>
                <a:gd name="connsiteX817" fmla="*/ 216995 w 1083508"/>
                <a:gd name="connsiteY817" fmla="*/ 822040 h 1387660"/>
                <a:gd name="connsiteX818" fmla="*/ 215855 w 1083508"/>
                <a:gd name="connsiteY818" fmla="*/ 826275 h 1387660"/>
                <a:gd name="connsiteX819" fmla="*/ 213737 w 1083508"/>
                <a:gd name="connsiteY819" fmla="*/ 829208 h 1387660"/>
                <a:gd name="connsiteX820" fmla="*/ 209664 w 1083508"/>
                <a:gd name="connsiteY820" fmla="*/ 829859 h 1387660"/>
                <a:gd name="connsiteX821" fmla="*/ 207383 w 1083508"/>
                <a:gd name="connsiteY821" fmla="*/ 829370 h 1387660"/>
                <a:gd name="connsiteX822" fmla="*/ 206080 w 1083508"/>
                <a:gd name="connsiteY822" fmla="*/ 830837 h 1387660"/>
                <a:gd name="connsiteX823" fmla="*/ 202496 w 1083508"/>
                <a:gd name="connsiteY823" fmla="*/ 833443 h 1387660"/>
                <a:gd name="connsiteX824" fmla="*/ 196143 w 1083508"/>
                <a:gd name="connsiteY824" fmla="*/ 833443 h 1387660"/>
                <a:gd name="connsiteX825" fmla="*/ 193699 w 1083508"/>
                <a:gd name="connsiteY825" fmla="*/ 830837 h 1387660"/>
                <a:gd name="connsiteX826" fmla="*/ 194025 w 1083508"/>
                <a:gd name="connsiteY826" fmla="*/ 827253 h 1387660"/>
                <a:gd name="connsiteX827" fmla="*/ 192884 w 1083508"/>
                <a:gd name="connsiteY827" fmla="*/ 824483 h 1387660"/>
                <a:gd name="connsiteX828" fmla="*/ 190929 w 1083508"/>
                <a:gd name="connsiteY828" fmla="*/ 822691 h 1387660"/>
                <a:gd name="connsiteX829" fmla="*/ 188649 w 1083508"/>
                <a:gd name="connsiteY829" fmla="*/ 822691 h 1387660"/>
                <a:gd name="connsiteX830" fmla="*/ 187834 w 1083508"/>
                <a:gd name="connsiteY830" fmla="*/ 825787 h 1387660"/>
                <a:gd name="connsiteX831" fmla="*/ 186368 w 1083508"/>
                <a:gd name="connsiteY831" fmla="*/ 825787 h 1387660"/>
                <a:gd name="connsiteX832" fmla="*/ 184576 w 1083508"/>
                <a:gd name="connsiteY832" fmla="*/ 819922 h 1387660"/>
                <a:gd name="connsiteX833" fmla="*/ 185716 w 1083508"/>
                <a:gd name="connsiteY833" fmla="*/ 816175 h 1387660"/>
                <a:gd name="connsiteX834" fmla="*/ 184739 w 1083508"/>
                <a:gd name="connsiteY834" fmla="*/ 813568 h 1387660"/>
                <a:gd name="connsiteX835" fmla="*/ 183110 w 1083508"/>
                <a:gd name="connsiteY835" fmla="*/ 811939 h 1387660"/>
                <a:gd name="connsiteX836" fmla="*/ 183110 w 1083508"/>
                <a:gd name="connsiteY836" fmla="*/ 809170 h 1387660"/>
                <a:gd name="connsiteX837" fmla="*/ 187834 w 1083508"/>
                <a:gd name="connsiteY837" fmla="*/ 806400 h 1387660"/>
                <a:gd name="connsiteX838" fmla="*/ 191907 w 1083508"/>
                <a:gd name="connsiteY838" fmla="*/ 806400 h 1387660"/>
                <a:gd name="connsiteX839" fmla="*/ 193373 w 1083508"/>
                <a:gd name="connsiteY839" fmla="*/ 807541 h 1387660"/>
                <a:gd name="connsiteX840" fmla="*/ 195654 w 1083508"/>
                <a:gd name="connsiteY840" fmla="*/ 803631 h 1387660"/>
                <a:gd name="connsiteX841" fmla="*/ 198260 w 1083508"/>
                <a:gd name="connsiteY841" fmla="*/ 802653 h 1387660"/>
                <a:gd name="connsiteX842" fmla="*/ 205591 w 1083508"/>
                <a:gd name="connsiteY842" fmla="*/ 801839 h 1387660"/>
                <a:gd name="connsiteX843" fmla="*/ 208035 w 1083508"/>
                <a:gd name="connsiteY843" fmla="*/ 802490 h 1387660"/>
                <a:gd name="connsiteX844" fmla="*/ 213737 w 1083508"/>
                <a:gd name="connsiteY844" fmla="*/ 796463 h 1387660"/>
                <a:gd name="connsiteX845" fmla="*/ 217809 w 1083508"/>
                <a:gd name="connsiteY845" fmla="*/ 789295 h 1387660"/>
                <a:gd name="connsiteX846" fmla="*/ 217809 w 1083508"/>
                <a:gd name="connsiteY846" fmla="*/ 787177 h 1387660"/>
                <a:gd name="connsiteX847" fmla="*/ 216506 w 1083508"/>
                <a:gd name="connsiteY847" fmla="*/ 786688 h 1387660"/>
                <a:gd name="connsiteX848" fmla="*/ 213900 w 1083508"/>
                <a:gd name="connsiteY848" fmla="*/ 788480 h 1387660"/>
                <a:gd name="connsiteX849" fmla="*/ 211456 w 1083508"/>
                <a:gd name="connsiteY849" fmla="*/ 792879 h 1387660"/>
                <a:gd name="connsiteX850" fmla="*/ 207383 w 1083508"/>
                <a:gd name="connsiteY850" fmla="*/ 797766 h 1387660"/>
                <a:gd name="connsiteX851" fmla="*/ 202170 w 1083508"/>
                <a:gd name="connsiteY851" fmla="*/ 799395 h 1387660"/>
                <a:gd name="connsiteX852" fmla="*/ 196305 w 1083508"/>
                <a:gd name="connsiteY852" fmla="*/ 798092 h 1387660"/>
                <a:gd name="connsiteX853" fmla="*/ 192721 w 1083508"/>
                <a:gd name="connsiteY853" fmla="*/ 794997 h 1387660"/>
                <a:gd name="connsiteX854" fmla="*/ 192721 w 1083508"/>
                <a:gd name="connsiteY854" fmla="*/ 792227 h 1387660"/>
                <a:gd name="connsiteX855" fmla="*/ 197283 w 1083508"/>
                <a:gd name="connsiteY855" fmla="*/ 789621 h 1387660"/>
                <a:gd name="connsiteX856" fmla="*/ 202496 w 1083508"/>
                <a:gd name="connsiteY856" fmla="*/ 784733 h 1387660"/>
                <a:gd name="connsiteX857" fmla="*/ 205754 w 1083508"/>
                <a:gd name="connsiteY857" fmla="*/ 784245 h 1387660"/>
                <a:gd name="connsiteX858" fmla="*/ 206732 w 1083508"/>
                <a:gd name="connsiteY858" fmla="*/ 782616 h 1387660"/>
                <a:gd name="connsiteX859" fmla="*/ 206732 w 1083508"/>
                <a:gd name="connsiteY859" fmla="*/ 779520 h 1387660"/>
                <a:gd name="connsiteX860" fmla="*/ 207709 w 1083508"/>
                <a:gd name="connsiteY860" fmla="*/ 777891 h 1387660"/>
                <a:gd name="connsiteX861" fmla="*/ 210316 w 1083508"/>
                <a:gd name="connsiteY861" fmla="*/ 777402 h 1387660"/>
                <a:gd name="connsiteX862" fmla="*/ 212271 w 1083508"/>
                <a:gd name="connsiteY862" fmla="*/ 775610 h 1387660"/>
                <a:gd name="connsiteX863" fmla="*/ 210804 w 1083508"/>
                <a:gd name="connsiteY863" fmla="*/ 774144 h 1387660"/>
                <a:gd name="connsiteX864" fmla="*/ 210479 w 1083508"/>
                <a:gd name="connsiteY864" fmla="*/ 772026 h 1387660"/>
                <a:gd name="connsiteX865" fmla="*/ 209501 w 1083508"/>
                <a:gd name="connsiteY865" fmla="*/ 771049 h 1387660"/>
                <a:gd name="connsiteX866" fmla="*/ 208035 w 1083508"/>
                <a:gd name="connsiteY866" fmla="*/ 771701 h 1387660"/>
                <a:gd name="connsiteX867" fmla="*/ 205754 w 1083508"/>
                <a:gd name="connsiteY867" fmla="*/ 773656 h 1387660"/>
                <a:gd name="connsiteX868" fmla="*/ 199075 w 1083508"/>
                <a:gd name="connsiteY868" fmla="*/ 772841 h 1387660"/>
                <a:gd name="connsiteX869" fmla="*/ 197283 w 1083508"/>
                <a:gd name="connsiteY869" fmla="*/ 773330 h 1387660"/>
                <a:gd name="connsiteX870" fmla="*/ 196143 w 1083508"/>
                <a:gd name="connsiteY870" fmla="*/ 771701 h 1387660"/>
                <a:gd name="connsiteX871" fmla="*/ 197283 w 1083508"/>
                <a:gd name="connsiteY871" fmla="*/ 768605 h 1387660"/>
                <a:gd name="connsiteX872" fmla="*/ 202496 w 1083508"/>
                <a:gd name="connsiteY872" fmla="*/ 765347 h 1387660"/>
                <a:gd name="connsiteX873" fmla="*/ 205103 w 1083508"/>
                <a:gd name="connsiteY873" fmla="*/ 765347 h 1387660"/>
                <a:gd name="connsiteX874" fmla="*/ 208035 w 1083508"/>
                <a:gd name="connsiteY874" fmla="*/ 767791 h 1387660"/>
                <a:gd name="connsiteX875" fmla="*/ 211293 w 1083508"/>
                <a:gd name="connsiteY875" fmla="*/ 767302 h 1387660"/>
                <a:gd name="connsiteX876" fmla="*/ 216180 w 1083508"/>
                <a:gd name="connsiteY876" fmla="*/ 765184 h 1387660"/>
                <a:gd name="connsiteX877" fmla="*/ 219276 w 1083508"/>
                <a:gd name="connsiteY877" fmla="*/ 758342 h 1387660"/>
                <a:gd name="connsiteX878" fmla="*/ 217484 w 1083508"/>
                <a:gd name="connsiteY878" fmla="*/ 756061 h 1387660"/>
                <a:gd name="connsiteX879" fmla="*/ 218135 w 1083508"/>
                <a:gd name="connsiteY879" fmla="*/ 752477 h 1387660"/>
                <a:gd name="connsiteX880" fmla="*/ 223185 w 1083508"/>
                <a:gd name="connsiteY880" fmla="*/ 747753 h 1387660"/>
                <a:gd name="connsiteX881" fmla="*/ 221719 w 1083508"/>
                <a:gd name="connsiteY881" fmla="*/ 742540 h 1387660"/>
                <a:gd name="connsiteX882" fmla="*/ 222208 w 1083508"/>
                <a:gd name="connsiteY882" fmla="*/ 737327 h 1387660"/>
                <a:gd name="connsiteX883" fmla="*/ 221230 w 1083508"/>
                <a:gd name="connsiteY883" fmla="*/ 735046 h 1387660"/>
                <a:gd name="connsiteX884" fmla="*/ 218135 w 1083508"/>
                <a:gd name="connsiteY884" fmla="*/ 733906 h 1387660"/>
                <a:gd name="connsiteX885" fmla="*/ 215529 w 1083508"/>
                <a:gd name="connsiteY885" fmla="*/ 733906 h 1387660"/>
                <a:gd name="connsiteX886" fmla="*/ 212922 w 1083508"/>
                <a:gd name="connsiteY886" fmla="*/ 731136 h 1387660"/>
                <a:gd name="connsiteX887" fmla="*/ 209338 w 1083508"/>
                <a:gd name="connsiteY887" fmla="*/ 731136 h 1387660"/>
                <a:gd name="connsiteX888" fmla="*/ 206243 w 1083508"/>
                <a:gd name="connsiteY888" fmla="*/ 729670 h 1387660"/>
                <a:gd name="connsiteX889" fmla="*/ 206569 w 1083508"/>
                <a:gd name="connsiteY889" fmla="*/ 727389 h 1387660"/>
                <a:gd name="connsiteX890" fmla="*/ 208524 w 1083508"/>
                <a:gd name="connsiteY890" fmla="*/ 726575 h 1387660"/>
                <a:gd name="connsiteX891" fmla="*/ 212271 w 1083508"/>
                <a:gd name="connsiteY891" fmla="*/ 727226 h 1387660"/>
                <a:gd name="connsiteX892" fmla="*/ 214225 w 1083508"/>
                <a:gd name="connsiteY892" fmla="*/ 725760 h 1387660"/>
                <a:gd name="connsiteX893" fmla="*/ 217484 w 1083508"/>
                <a:gd name="connsiteY893" fmla="*/ 722339 h 1387660"/>
                <a:gd name="connsiteX894" fmla="*/ 217484 w 1083508"/>
                <a:gd name="connsiteY894" fmla="*/ 718755 h 1387660"/>
                <a:gd name="connsiteX895" fmla="*/ 220253 w 1083508"/>
                <a:gd name="connsiteY895" fmla="*/ 715823 h 1387660"/>
                <a:gd name="connsiteX896" fmla="*/ 220253 w 1083508"/>
                <a:gd name="connsiteY896" fmla="*/ 712890 h 1387660"/>
                <a:gd name="connsiteX897" fmla="*/ 218298 w 1083508"/>
                <a:gd name="connsiteY897" fmla="*/ 710936 h 1387660"/>
                <a:gd name="connsiteX898" fmla="*/ 215040 w 1083508"/>
                <a:gd name="connsiteY898" fmla="*/ 710447 h 1387660"/>
                <a:gd name="connsiteX899" fmla="*/ 213737 w 1083508"/>
                <a:gd name="connsiteY899" fmla="*/ 708329 h 1387660"/>
                <a:gd name="connsiteX900" fmla="*/ 212922 w 1083508"/>
                <a:gd name="connsiteY900" fmla="*/ 705234 h 1387660"/>
                <a:gd name="connsiteX901" fmla="*/ 215529 w 1083508"/>
                <a:gd name="connsiteY901" fmla="*/ 703116 h 1387660"/>
                <a:gd name="connsiteX902" fmla="*/ 216506 w 1083508"/>
                <a:gd name="connsiteY902" fmla="*/ 703605 h 1387660"/>
                <a:gd name="connsiteX903" fmla="*/ 216506 w 1083508"/>
                <a:gd name="connsiteY903" fmla="*/ 701650 h 1387660"/>
                <a:gd name="connsiteX904" fmla="*/ 213900 w 1083508"/>
                <a:gd name="connsiteY904" fmla="*/ 697414 h 1387660"/>
                <a:gd name="connsiteX905" fmla="*/ 212759 w 1083508"/>
                <a:gd name="connsiteY905" fmla="*/ 692038 h 1387660"/>
                <a:gd name="connsiteX906" fmla="*/ 214714 w 1083508"/>
                <a:gd name="connsiteY906" fmla="*/ 691061 h 1387660"/>
                <a:gd name="connsiteX907" fmla="*/ 216995 w 1083508"/>
                <a:gd name="connsiteY907" fmla="*/ 693993 h 1387660"/>
                <a:gd name="connsiteX908" fmla="*/ 216995 w 1083508"/>
                <a:gd name="connsiteY908" fmla="*/ 692364 h 1387660"/>
                <a:gd name="connsiteX909" fmla="*/ 215529 w 1083508"/>
                <a:gd name="connsiteY909" fmla="*/ 689269 h 1387660"/>
                <a:gd name="connsiteX910" fmla="*/ 215529 w 1083508"/>
                <a:gd name="connsiteY910" fmla="*/ 686825 h 1387660"/>
                <a:gd name="connsiteX911" fmla="*/ 217809 w 1083508"/>
                <a:gd name="connsiteY911" fmla="*/ 682426 h 1387660"/>
                <a:gd name="connsiteX912" fmla="*/ 216832 w 1083508"/>
                <a:gd name="connsiteY912" fmla="*/ 677865 h 1387660"/>
                <a:gd name="connsiteX913" fmla="*/ 214551 w 1083508"/>
                <a:gd name="connsiteY913" fmla="*/ 673792 h 1387660"/>
                <a:gd name="connsiteX914" fmla="*/ 215040 w 1083508"/>
                <a:gd name="connsiteY914" fmla="*/ 670860 h 1387660"/>
                <a:gd name="connsiteX915" fmla="*/ 213900 w 1083508"/>
                <a:gd name="connsiteY915" fmla="*/ 667765 h 1387660"/>
                <a:gd name="connsiteX916" fmla="*/ 215529 w 1083508"/>
                <a:gd name="connsiteY916" fmla="*/ 664995 h 1387660"/>
                <a:gd name="connsiteX917" fmla="*/ 217158 w 1083508"/>
                <a:gd name="connsiteY917" fmla="*/ 659456 h 1387660"/>
                <a:gd name="connsiteX918" fmla="*/ 215366 w 1083508"/>
                <a:gd name="connsiteY918" fmla="*/ 659130 h 1387660"/>
                <a:gd name="connsiteX919" fmla="*/ 212922 w 1083508"/>
                <a:gd name="connsiteY919" fmla="*/ 659456 h 1387660"/>
                <a:gd name="connsiteX920" fmla="*/ 208524 w 1083508"/>
                <a:gd name="connsiteY920" fmla="*/ 663855 h 1387660"/>
                <a:gd name="connsiteX921" fmla="*/ 205917 w 1083508"/>
                <a:gd name="connsiteY921" fmla="*/ 664181 h 1387660"/>
                <a:gd name="connsiteX922" fmla="*/ 203962 w 1083508"/>
                <a:gd name="connsiteY922" fmla="*/ 666135 h 1387660"/>
                <a:gd name="connsiteX923" fmla="*/ 201519 w 1083508"/>
                <a:gd name="connsiteY923" fmla="*/ 667113 h 1387660"/>
                <a:gd name="connsiteX924" fmla="*/ 199238 w 1083508"/>
                <a:gd name="connsiteY924" fmla="*/ 665973 h 1387660"/>
                <a:gd name="connsiteX925" fmla="*/ 200704 w 1083508"/>
                <a:gd name="connsiteY925" fmla="*/ 663692 h 1387660"/>
                <a:gd name="connsiteX926" fmla="*/ 205265 w 1083508"/>
                <a:gd name="connsiteY926" fmla="*/ 660434 h 1387660"/>
                <a:gd name="connsiteX927" fmla="*/ 207872 w 1083508"/>
                <a:gd name="connsiteY927" fmla="*/ 660434 h 1387660"/>
                <a:gd name="connsiteX928" fmla="*/ 210479 w 1083508"/>
                <a:gd name="connsiteY928" fmla="*/ 657013 h 1387660"/>
                <a:gd name="connsiteX929" fmla="*/ 211619 w 1083508"/>
                <a:gd name="connsiteY929" fmla="*/ 653103 h 1387660"/>
                <a:gd name="connsiteX930" fmla="*/ 215529 w 1083508"/>
                <a:gd name="connsiteY930" fmla="*/ 650008 h 1387660"/>
                <a:gd name="connsiteX931" fmla="*/ 219601 w 1083508"/>
                <a:gd name="connsiteY931" fmla="*/ 648378 h 1387660"/>
                <a:gd name="connsiteX932" fmla="*/ 220905 w 1083508"/>
                <a:gd name="connsiteY932" fmla="*/ 644794 h 1387660"/>
                <a:gd name="connsiteX933" fmla="*/ 220416 w 1083508"/>
                <a:gd name="connsiteY933" fmla="*/ 641373 h 1387660"/>
                <a:gd name="connsiteX934" fmla="*/ 218135 w 1083508"/>
                <a:gd name="connsiteY934" fmla="*/ 638441 h 1387660"/>
                <a:gd name="connsiteX935" fmla="*/ 215040 w 1083508"/>
                <a:gd name="connsiteY935" fmla="*/ 634368 h 1387660"/>
                <a:gd name="connsiteX936" fmla="*/ 213900 w 1083508"/>
                <a:gd name="connsiteY936" fmla="*/ 630296 h 1387660"/>
                <a:gd name="connsiteX937" fmla="*/ 212759 w 1083508"/>
                <a:gd name="connsiteY937" fmla="*/ 629318 h 1387660"/>
                <a:gd name="connsiteX938" fmla="*/ 210804 w 1083508"/>
                <a:gd name="connsiteY938" fmla="*/ 629318 h 1387660"/>
                <a:gd name="connsiteX939" fmla="*/ 208198 w 1083508"/>
                <a:gd name="connsiteY939" fmla="*/ 625734 h 1387660"/>
                <a:gd name="connsiteX940" fmla="*/ 208198 w 1083508"/>
                <a:gd name="connsiteY940" fmla="*/ 622150 h 1387660"/>
                <a:gd name="connsiteX941" fmla="*/ 209827 w 1083508"/>
                <a:gd name="connsiteY941" fmla="*/ 620358 h 1387660"/>
                <a:gd name="connsiteX942" fmla="*/ 208849 w 1083508"/>
                <a:gd name="connsiteY942" fmla="*/ 618077 h 1387660"/>
                <a:gd name="connsiteX943" fmla="*/ 208849 w 1083508"/>
                <a:gd name="connsiteY943" fmla="*/ 613516 h 1387660"/>
                <a:gd name="connsiteX944" fmla="*/ 207057 w 1083508"/>
                <a:gd name="connsiteY944" fmla="*/ 609606 h 1387660"/>
                <a:gd name="connsiteX945" fmla="*/ 198423 w 1083508"/>
                <a:gd name="connsiteY945" fmla="*/ 602275 h 1387660"/>
                <a:gd name="connsiteX946" fmla="*/ 198423 w 1083508"/>
                <a:gd name="connsiteY946" fmla="*/ 600483 h 1387660"/>
                <a:gd name="connsiteX947" fmla="*/ 196305 w 1083508"/>
                <a:gd name="connsiteY947" fmla="*/ 597225 h 1387660"/>
                <a:gd name="connsiteX948" fmla="*/ 194351 w 1083508"/>
                <a:gd name="connsiteY948" fmla="*/ 595270 h 1387660"/>
                <a:gd name="connsiteX949" fmla="*/ 194351 w 1083508"/>
                <a:gd name="connsiteY949" fmla="*/ 593315 h 1387660"/>
                <a:gd name="connsiteX950" fmla="*/ 196143 w 1083508"/>
                <a:gd name="connsiteY950" fmla="*/ 592338 h 1387660"/>
                <a:gd name="connsiteX951" fmla="*/ 201193 w 1083508"/>
                <a:gd name="connsiteY951" fmla="*/ 587939 h 1387660"/>
                <a:gd name="connsiteX952" fmla="*/ 204125 w 1083508"/>
                <a:gd name="connsiteY952" fmla="*/ 586310 h 1387660"/>
                <a:gd name="connsiteX953" fmla="*/ 205591 w 1083508"/>
                <a:gd name="connsiteY953" fmla="*/ 583541 h 1387660"/>
                <a:gd name="connsiteX954" fmla="*/ 204451 w 1083508"/>
                <a:gd name="connsiteY954" fmla="*/ 582237 h 1387660"/>
                <a:gd name="connsiteX955" fmla="*/ 200378 w 1083508"/>
                <a:gd name="connsiteY955" fmla="*/ 582237 h 1387660"/>
                <a:gd name="connsiteX956" fmla="*/ 200378 w 1083508"/>
                <a:gd name="connsiteY956" fmla="*/ 580771 h 1387660"/>
                <a:gd name="connsiteX957" fmla="*/ 203311 w 1083508"/>
                <a:gd name="connsiteY957" fmla="*/ 578490 h 1387660"/>
                <a:gd name="connsiteX958" fmla="*/ 205591 w 1083508"/>
                <a:gd name="connsiteY958" fmla="*/ 573766 h 1387660"/>
                <a:gd name="connsiteX959" fmla="*/ 208035 w 1083508"/>
                <a:gd name="connsiteY959" fmla="*/ 570997 h 1387660"/>
                <a:gd name="connsiteX960" fmla="*/ 208035 w 1083508"/>
                <a:gd name="connsiteY960" fmla="*/ 568553 h 1387660"/>
                <a:gd name="connsiteX961" fmla="*/ 207057 w 1083508"/>
                <a:gd name="connsiteY961" fmla="*/ 567413 h 1387660"/>
                <a:gd name="connsiteX962" fmla="*/ 208687 w 1083508"/>
                <a:gd name="connsiteY962" fmla="*/ 564154 h 1387660"/>
                <a:gd name="connsiteX963" fmla="*/ 206569 w 1083508"/>
                <a:gd name="connsiteY963" fmla="*/ 561711 h 1387660"/>
                <a:gd name="connsiteX964" fmla="*/ 204125 w 1083508"/>
                <a:gd name="connsiteY964" fmla="*/ 560896 h 1387660"/>
                <a:gd name="connsiteX965" fmla="*/ 200215 w 1083508"/>
                <a:gd name="connsiteY965" fmla="*/ 556009 h 1387660"/>
                <a:gd name="connsiteX966" fmla="*/ 194676 w 1083508"/>
                <a:gd name="connsiteY966" fmla="*/ 551610 h 1387660"/>
                <a:gd name="connsiteX967" fmla="*/ 193210 w 1083508"/>
                <a:gd name="connsiteY967" fmla="*/ 547701 h 1387660"/>
                <a:gd name="connsiteX968" fmla="*/ 190929 w 1083508"/>
                <a:gd name="connsiteY968" fmla="*/ 546071 h 1387660"/>
                <a:gd name="connsiteX969" fmla="*/ 189137 w 1083508"/>
                <a:gd name="connsiteY969" fmla="*/ 546560 h 1387660"/>
                <a:gd name="connsiteX970" fmla="*/ 188649 w 1083508"/>
                <a:gd name="connsiteY970" fmla="*/ 548841 h 1387660"/>
                <a:gd name="connsiteX971" fmla="*/ 186531 w 1083508"/>
                <a:gd name="connsiteY971" fmla="*/ 549167 h 1387660"/>
                <a:gd name="connsiteX972" fmla="*/ 185228 w 1083508"/>
                <a:gd name="connsiteY972" fmla="*/ 548026 h 1387660"/>
                <a:gd name="connsiteX973" fmla="*/ 184250 w 1083508"/>
                <a:gd name="connsiteY973" fmla="*/ 544279 h 1387660"/>
                <a:gd name="connsiteX974" fmla="*/ 181644 w 1083508"/>
                <a:gd name="connsiteY974" fmla="*/ 541836 h 1387660"/>
                <a:gd name="connsiteX975" fmla="*/ 178060 w 1083508"/>
                <a:gd name="connsiteY975" fmla="*/ 539392 h 1387660"/>
                <a:gd name="connsiteX976" fmla="*/ 175616 w 1083508"/>
                <a:gd name="connsiteY976" fmla="*/ 536460 h 1387660"/>
                <a:gd name="connsiteX977" fmla="*/ 173498 w 1083508"/>
                <a:gd name="connsiteY977" fmla="*/ 535645 h 1387660"/>
                <a:gd name="connsiteX978" fmla="*/ 172358 w 1083508"/>
                <a:gd name="connsiteY978" fmla="*/ 536786 h 1387660"/>
                <a:gd name="connsiteX979" fmla="*/ 170240 w 1083508"/>
                <a:gd name="connsiteY979" fmla="*/ 537274 h 1387660"/>
                <a:gd name="connsiteX980" fmla="*/ 169914 w 1083508"/>
                <a:gd name="connsiteY980" fmla="*/ 535645 h 1387660"/>
                <a:gd name="connsiteX981" fmla="*/ 170729 w 1083508"/>
                <a:gd name="connsiteY981" fmla="*/ 531247 h 1387660"/>
                <a:gd name="connsiteX982" fmla="*/ 164864 w 1083508"/>
                <a:gd name="connsiteY982" fmla="*/ 526685 h 1387660"/>
                <a:gd name="connsiteX983" fmla="*/ 160303 w 1083508"/>
                <a:gd name="connsiteY983" fmla="*/ 521961 h 1387660"/>
                <a:gd name="connsiteX984" fmla="*/ 158511 w 1083508"/>
                <a:gd name="connsiteY984" fmla="*/ 521961 h 1387660"/>
                <a:gd name="connsiteX985" fmla="*/ 155904 w 1083508"/>
                <a:gd name="connsiteY985" fmla="*/ 524893 h 1387660"/>
                <a:gd name="connsiteX986" fmla="*/ 151831 w 1083508"/>
                <a:gd name="connsiteY986" fmla="*/ 523264 h 1387660"/>
                <a:gd name="connsiteX987" fmla="*/ 144826 w 1083508"/>
                <a:gd name="connsiteY987" fmla="*/ 517237 h 1387660"/>
                <a:gd name="connsiteX988" fmla="*/ 139124 w 1083508"/>
                <a:gd name="connsiteY988" fmla="*/ 515445 h 1387660"/>
                <a:gd name="connsiteX989" fmla="*/ 135703 w 1083508"/>
                <a:gd name="connsiteY989" fmla="*/ 511698 h 1387660"/>
                <a:gd name="connsiteX990" fmla="*/ 131305 w 1083508"/>
                <a:gd name="connsiteY990" fmla="*/ 510069 h 1387660"/>
                <a:gd name="connsiteX991" fmla="*/ 125929 w 1083508"/>
                <a:gd name="connsiteY991" fmla="*/ 510883 h 1387660"/>
                <a:gd name="connsiteX992" fmla="*/ 122671 w 1083508"/>
                <a:gd name="connsiteY992" fmla="*/ 513978 h 1387660"/>
                <a:gd name="connsiteX993" fmla="*/ 119901 w 1083508"/>
                <a:gd name="connsiteY993" fmla="*/ 519191 h 1387660"/>
                <a:gd name="connsiteX994" fmla="*/ 115339 w 1083508"/>
                <a:gd name="connsiteY994" fmla="*/ 522450 h 1387660"/>
                <a:gd name="connsiteX995" fmla="*/ 113385 w 1083508"/>
                <a:gd name="connsiteY995" fmla="*/ 525056 h 1387660"/>
                <a:gd name="connsiteX996" fmla="*/ 113385 w 1083508"/>
                <a:gd name="connsiteY996" fmla="*/ 520495 h 1387660"/>
                <a:gd name="connsiteX997" fmla="*/ 115665 w 1083508"/>
                <a:gd name="connsiteY997" fmla="*/ 516259 h 1387660"/>
                <a:gd name="connsiteX998" fmla="*/ 115177 w 1083508"/>
                <a:gd name="connsiteY998" fmla="*/ 511698 h 1387660"/>
                <a:gd name="connsiteX999" fmla="*/ 113711 w 1083508"/>
                <a:gd name="connsiteY999" fmla="*/ 510069 h 1387660"/>
                <a:gd name="connsiteX1000" fmla="*/ 108986 w 1083508"/>
                <a:gd name="connsiteY1000" fmla="*/ 510069 h 1387660"/>
                <a:gd name="connsiteX1001" fmla="*/ 106380 w 1083508"/>
                <a:gd name="connsiteY1001" fmla="*/ 513164 h 1387660"/>
                <a:gd name="connsiteX1002" fmla="*/ 106380 w 1083508"/>
                <a:gd name="connsiteY1002" fmla="*/ 516259 h 1387660"/>
                <a:gd name="connsiteX1003" fmla="*/ 102633 w 1083508"/>
                <a:gd name="connsiteY1003" fmla="*/ 518540 h 1387660"/>
                <a:gd name="connsiteX1004" fmla="*/ 100026 w 1083508"/>
                <a:gd name="connsiteY1004" fmla="*/ 516911 h 1387660"/>
                <a:gd name="connsiteX1005" fmla="*/ 97094 w 1083508"/>
                <a:gd name="connsiteY1005" fmla="*/ 510720 h 1387660"/>
                <a:gd name="connsiteX1006" fmla="*/ 94161 w 1083508"/>
                <a:gd name="connsiteY1006" fmla="*/ 509580 h 1387660"/>
                <a:gd name="connsiteX1007" fmla="*/ 93510 w 1083508"/>
                <a:gd name="connsiteY1007" fmla="*/ 512675 h 1387660"/>
                <a:gd name="connsiteX1008" fmla="*/ 91066 w 1083508"/>
                <a:gd name="connsiteY1008" fmla="*/ 521309 h 1387660"/>
                <a:gd name="connsiteX1009" fmla="*/ 89274 w 1083508"/>
                <a:gd name="connsiteY1009" fmla="*/ 522613 h 1387660"/>
                <a:gd name="connsiteX1010" fmla="*/ 85853 w 1083508"/>
                <a:gd name="connsiteY1010" fmla="*/ 521309 h 1387660"/>
                <a:gd name="connsiteX1011" fmla="*/ 85364 w 1083508"/>
                <a:gd name="connsiteY1011" fmla="*/ 516259 h 1387660"/>
                <a:gd name="connsiteX1012" fmla="*/ 87645 w 1083508"/>
                <a:gd name="connsiteY1012" fmla="*/ 511698 h 1387660"/>
                <a:gd name="connsiteX1013" fmla="*/ 91555 w 1083508"/>
                <a:gd name="connsiteY1013" fmla="*/ 508765 h 1387660"/>
                <a:gd name="connsiteX1014" fmla="*/ 90577 w 1083508"/>
                <a:gd name="connsiteY1014" fmla="*/ 506810 h 1387660"/>
                <a:gd name="connsiteX1015" fmla="*/ 87319 w 1083508"/>
                <a:gd name="connsiteY1015" fmla="*/ 507299 h 1387660"/>
                <a:gd name="connsiteX1016" fmla="*/ 85853 w 1083508"/>
                <a:gd name="connsiteY1016" fmla="*/ 505833 h 1387660"/>
                <a:gd name="connsiteX1017" fmla="*/ 81129 w 1083508"/>
                <a:gd name="connsiteY1017" fmla="*/ 508928 h 1387660"/>
                <a:gd name="connsiteX1018" fmla="*/ 77707 w 1083508"/>
                <a:gd name="connsiteY1018" fmla="*/ 508928 h 1387660"/>
                <a:gd name="connsiteX1019" fmla="*/ 76404 w 1083508"/>
                <a:gd name="connsiteY1019" fmla="*/ 511861 h 1387660"/>
                <a:gd name="connsiteX1020" fmla="*/ 74938 w 1083508"/>
                <a:gd name="connsiteY1020" fmla="*/ 513001 h 1387660"/>
                <a:gd name="connsiteX1021" fmla="*/ 73961 w 1083508"/>
                <a:gd name="connsiteY1021" fmla="*/ 510394 h 1387660"/>
                <a:gd name="connsiteX1022" fmla="*/ 73961 w 1083508"/>
                <a:gd name="connsiteY1022" fmla="*/ 507462 h 1387660"/>
                <a:gd name="connsiteX1023" fmla="*/ 72169 w 1083508"/>
                <a:gd name="connsiteY1023" fmla="*/ 502738 h 1387660"/>
                <a:gd name="connsiteX1024" fmla="*/ 71028 w 1083508"/>
                <a:gd name="connsiteY1024" fmla="*/ 498502 h 1387660"/>
                <a:gd name="connsiteX1025" fmla="*/ 69399 w 1083508"/>
                <a:gd name="connsiteY1025" fmla="*/ 498502 h 1387660"/>
                <a:gd name="connsiteX1026" fmla="*/ 66955 w 1083508"/>
                <a:gd name="connsiteY1026" fmla="*/ 499479 h 1387660"/>
                <a:gd name="connsiteX1027" fmla="*/ 66467 w 1083508"/>
                <a:gd name="connsiteY1027" fmla="*/ 502575 h 1387660"/>
                <a:gd name="connsiteX1028" fmla="*/ 65164 w 1083508"/>
                <a:gd name="connsiteY1028" fmla="*/ 507788 h 1387660"/>
                <a:gd name="connsiteX1029" fmla="*/ 62883 w 1083508"/>
                <a:gd name="connsiteY1029" fmla="*/ 509743 h 1387660"/>
                <a:gd name="connsiteX1030" fmla="*/ 62883 w 1083508"/>
                <a:gd name="connsiteY1030" fmla="*/ 513490 h 1387660"/>
                <a:gd name="connsiteX1031" fmla="*/ 63860 w 1083508"/>
                <a:gd name="connsiteY1031" fmla="*/ 520332 h 1387660"/>
                <a:gd name="connsiteX1032" fmla="*/ 63534 w 1083508"/>
                <a:gd name="connsiteY1032" fmla="*/ 523427 h 1387660"/>
                <a:gd name="connsiteX1033" fmla="*/ 62394 w 1083508"/>
                <a:gd name="connsiteY1033" fmla="*/ 525056 h 1387660"/>
                <a:gd name="connsiteX1034" fmla="*/ 58647 w 1083508"/>
                <a:gd name="connsiteY1034" fmla="*/ 522775 h 1387660"/>
                <a:gd name="connsiteX1035" fmla="*/ 54412 w 1083508"/>
                <a:gd name="connsiteY1035" fmla="*/ 518377 h 1387660"/>
                <a:gd name="connsiteX1036" fmla="*/ 49198 w 1083508"/>
                <a:gd name="connsiteY1036" fmla="*/ 516096 h 1387660"/>
                <a:gd name="connsiteX1037" fmla="*/ 44474 w 1083508"/>
                <a:gd name="connsiteY1037" fmla="*/ 512675 h 1387660"/>
                <a:gd name="connsiteX1038" fmla="*/ 40401 w 1083508"/>
                <a:gd name="connsiteY1038" fmla="*/ 508277 h 1387660"/>
                <a:gd name="connsiteX1039" fmla="*/ 37306 w 1083508"/>
                <a:gd name="connsiteY1039" fmla="*/ 506485 h 1387660"/>
                <a:gd name="connsiteX1040" fmla="*/ 37306 w 1083508"/>
                <a:gd name="connsiteY1040" fmla="*/ 505181 h 1387660"/>
                <a:gd name="connsiteX1041" fmla="*/ 39261 w 1083508"/>
                <a:gd name="connsiteY1041" fmla="*/ 503715 h 1387660"/>
                <a:gd name="connsiteX1042" fmla="*/ 33885 w 1083508"/>
                <a:gd name="connsiteY1042" fmla="*/ 501923 h 1387660"/>
                <a:gd name="connsiteX1043" fmla="*/ 30464 w 1083508"/>
                <a:gd name="connsiteY1043" fmla="*/ 494103 h 1387660"/>
                <a:gd name="connsiteX1044" fmla="*/ 27857 w 1083508"/>
                <a:gd name="connsiteY1044" fmla="*/ 490682 h 1387660"/>
                <a:gd name="connsiteX1045" fmla="*/ 23785 w 1083508"/>
                <a:gd name="connsiteY1045" fmla="*/ 486121 h 1387660"/>
                <a:gd name="connsiteX1046" fmla="*/ 23785 w 1083508"/>
                <a:gd name="connsiteY1046" fmla="*/ 480582 h 1387660"/>
                <a:gd name="connsiteX1047" fmla="*/ 26228 w 1083508"/>
                <a:gd name="connsiteY1047" fmla="*/ 477813 h 1387660"/>
                <a:gd name="connsiteX1048" fmla="*/ 33071 w 1083508"/>
                <a:gd name="connsiteY1048" fmla="*/ 477487 h 1387660"/>
                <a:gd name="connsiteX1049" fmla="*/ 35840 w 1083508"/>
                <a:gd name="connsiteY1049" fmla="*/ 474554 h 1387660"/>
                <a:gd name="connsiteX1050" fmla="*/ 39913 w 1083508"/>
                <a:gd name="connsiteY1050" fmla="*/ 473414 h 1387660"/>
                <a:gd name="connsiteX1051" fmla="*/ 46592 w 1083508"/>
                <a:gd name="connsiteY1051" fmla="*/ 473414 h 1387660"/>
                <a:gd name="connsiteX1052" fmla="*/ 48221 w 1083508"/>
                <a:gd name="connsiteY1052" fmla="*/ 475043 h 1387660"/>
                <a:gd name="connsiteX1053" fmla="*/ 51479 w 1083508"/>
                <a:gd name="connsiteY1053" fmla="*/ 472599 h 1387660"/>
                <a:gd name="connsiteX1054" fmla="*/ 53434 w 1083508"/>
                <a:gd name="connsiteY1054" fmla="*/ 469504 h 1387660"/>
                <a:gd name="connsiteX1055" fmla="*/ 53434 w 1083508"/>
                <a:gd name="connsiteY1055" fmla="*/ 467061 h 1387660"/>
                <a:gd name="connsiteX1056" fmla="*/ 48058 w 1083508"/>
                <a:gd name="connsiteY1056" fmla="*/ 467549 h 1387660"/>
                <a:gd name="connsiteX1057" fmla="*/ 41379 w 1083508"/>
                <a:gd name="connsiteY1057" fmla="*/ 464128 h 1387660"/>
                <a:gd name="connsiteX1058" fmla="*/ 38935 w 1083508"/>
                <a:gd name="connsiteY1058" fmla="*/ 464128 h 1387660"/>
                <a:gd name="connsiteX1059" fmla="*/ 37143 w 1083508"/>
                <a:gd name="connsiteY1059" fmla="*/ 466735 h 1387660"/>
                <a:gd name="connsiteX1060" fmla="*/ 29649 w 1083508"/>
                <a:gd name="connsiteY1060" fmla="*/ 459404 h 1387660"/>
                <a:gd name="connsiteX1061" fmla="*/ 28835 w 1083508"/>
                <a:gd name="connsiteY1061" fmla="*/ 452725 h 1387660"/>
                <a:gd name="connsiteX1062" fmla="*/ 31767 w 1083508"/>
                <a:gd name="connsiteY1062" fmla="*/ 450118 h 1387660"/>
                <a:gd name="connsiteX1063" fmla="*/ 35514 w 1083508"/>
                <a:gd name="connsiteY1063" fmla="*/ 448163 h 1387660"/>
                <a:gd name="connsiteX1064" fmla="*/ 37469 w 1083508"/>
                <a:gd name="connsiteY1064" fmla="*/ 442298 h 1387660"/>
                <a:gd name="connsiteX1065" fmla="*/ 39424 w 1083508"/>
                <a:gd name="connsiteY1065" fmla="*/ 439692 h 1387660"/>
                <a:gd name="connsiteX1066" fmla="*/ 36166 w 1083508"/>
                <a:gd name="connsiteY1066" fmla="*/ 439692 h 1387660"/>
                <a:gd name="connsiteX1067" fmla="*/ 33722 w 1083508"/>
                <a:gd name="connsiteY1067" fmla="*/ 441321 h 1387660"/>
                <a:gd name="connsiteX1068" fmla="*/ 30627 w 1083508"/>
                <a:gd name="connsiteY1068" fmla="*/ 447186 h 1387660"/>
                <a:gd name="connsiteX1069" fmla="*/ 27857 w 1083508"/>
                <a:gd name="connsiteY1069" fmla="*/ 447186 h 1387660"/>
                <a:gd name="connsiteX1070" fmla="*/ 25902 w 1083508"/>
                <a:gd name="connsiteY1070" fmla="*/ 448652 h 1387660"/>
                <a:gd name="connsiteX1071" fmla="*/ 22970 w 1083508"/>
                <a:gd name="connsiteY1071" fmla="*/ 452073 h 1387660"/>
                <a:gd name="connsiteX1072" fmla="*/ 17594 w 1083508"/>
                <a:gd name="connsiteY1072" fmla="*/ 449792 h 1387660"/>
                <a:gd name="connsiteX1073" fmla="*/ 16128 w 1083508"/>
                <a:gd name="connsiteY1073" fmla="*/ 445231 h 1387660"/>
                <a:gd name="connsiteX1074" fmla="*/ 17431 w 1083508"/>
                <a:gd name="connsiteY1074" fmla="*/ 441321 h 1387660"/>
                <a:gd name="connsiteX1075" fmla="*/ 20526 w 1083508"/>
                <a:gd name="connsiteY1075" fmla="*/ 439366 h 1387660"/>
                <a:gd name="connsiteX1076" fmla="*/ 19060 w 1083508"/>
                <a:gd name="connsiteY1076" fmla="*/ 437737 h 1387660"/>
                <a:gd name="connsiteX1077" fmla="*/ 16291 w 1083508"/>
                <a:gd name="connsiteY1077" fmla="*/ 437737 h 1387660"/>
                <a:gd name="connsiteX1078" fmla="*/ 14499 w 1083508"/>
                <a:gd name="connsiteY1078" fmla="*/ 439040 h 1387660"/>
                <a:gd name="connsiteX1079" fmla="*/ 14499 w 1083508"/>
                <a:gd name="connsiteY1079" fmla="*/ 431709 h 1387660"/>
                <a:gd name="connsiteX1080" fmla="*/ 16454 w 1083508"/>
                <a:gd name="connsiteY1080" fmla="*/ 428614 h 1387660"/>
                <a:gd name="connsiteX1081" fmla="*/ 18409 w 1083508"/>
                <a:gd name="connsiteY1081" fmla="*/ 428614 h 1387660"/>
                <a:gd name="connsiteX1082" fmla="*/ 20201 w 1083508"/>
                <a:gd name="connsiteY1082" fmla="*/ 426170 h 1387660"/>
                <a:gd name="connsiteX1083" fmla="*/ 23459 w 1083508"/>
                <a:gd name="connsiteY1083" fmla="*/ 426496 h 1387660"/>
                <a:gd name="connsiteX1084" fmla="*/ 26065 w 1083508"/>
                <a:gd name="connsiteY1084" fmla="*/ 428777 h 1387660"/>
                <a:gd name="connsiteX1085" fmla="*/ 25739 w 1083508"/>
                <a:gd name="connsiteY1085" fmla="*/ 423075 h 1387660"/>
                <a:gd name="connsiteX1086" fmla="*/ 34211 w 1083508"/>
                <a:gd name="connsiteY1086" fmla="*/ 419980 h 1387660"/>
                <a:gd name="connsiteX1087" fmla="*/ 42682 w 1083508"/>
                <a:gd name="connsiteY1087" fmla="*/ 421935 h 1387660"/>
                <a:gd name="connsiteX1088" fmla="*/ 48384 w 1083508"/>
                <a:gd name="connsiteY1088" fmla="*/ 426007 h 1387660"/>
                <a:gd name="connsiteX1089" fmla="*/ 57344 w 1083508"/>
                <a:gd name="connsiteY1089" fmla="*/ 426333 h 1387660"/>
                <a:gd name="connsiteX1090" fmla="*/ 66141 w 1083508"/>
                <a:gd name="connsiteY1090" fmla="*/ 430732 h 1387660"/>
                <a:gd name="connsiteX1091" fmla="*/ 73309 w 1083508"/>
                <a:gd name="connsiteY1091" fmla="*/ 431058 h 1387660"/>
                <a:gd name="connsiteX1092" fmla="*/ 77056 w 1083508"/>
                <a:gd name="connsiteY1092" fmla="*/ 432850 h 1387660"/>
                <a:gd name="connsiteX1093" fmla="*/ 86179 w 1083508"/>
                <a:gd name="connsiteY1093" fmla="*/ 438226 h 1387660"/>
                <a:gd name="connsiteX1094" fmla="*/ 89600 w 1083508"/>
                <a:gd name="connsiteY1094" fmla="*/ 438226 h 1387660"/>
                <a:gd name="connsiteX1095" fmla="*/ 92369 w 1083508"/>
                <a:gd name="connsiteY1095" fmla="*/ 438714 h 1387660"/>
                <a:gd name="connsiteX1096" fmla="*/ 98234 w 1083508"/>
                <a:gd name="connsiteY1096" fmla="*/ 436434 h 1387660"/>
                <a:gd name="connsiteX1097" fmla="*/ 94161 w 1083508"/>
                <a:gd name="connsiteY1097" fmla="*/ 435456 h 1387660"/>
                <a:gd name="connsiteX1098" fmla="*/ 89763 w 1083508"/>
                <a:gd name="connsiteY1098" fmla="*/ 435456 h 1387660"/>
                <a:gd name="connsiteX1099" fmla="*/ 81780 w 1083508"/>
                <a:gd name="connsiteY1099" fmla="*/ 431709 h 1387660"/>
                <a:gd name="connsiteX1100" fmla="*/ 75264 w 1083508"/>
                <a:gd name="connsiteY1100" fmla="*/ 426496 h 1387660"/>
                <a:gd name="connsiteX1101" fmla="*/ 69888 w 1083508"/>
                <a:gd name="connsiteY1101" fmla="*/ 425845 h 1387660"/>
                <a:gd name="connsiteX1102" fmla="*/ 62720 w 1083508"/>
                <a:gd name="connsiteY1102" fmla="*/ 424704 h 1387660"/>
                <a:gd name="connsiteX1103" fmla="*/ 57996 w 1083508"/>
                <a:gd name="connsiteY1103" fmla="*/ 420794 h 1387660"/>
                <a:gd name="connsiteX1104" fmla="*/ 58484 w 1083508"/>
                <a:gd name="connsiteY1104" fmla="*/ 418351 h 1387660"/>
                <a:gd name="connsiteX1105" fmla="*/ 67444 w 1083508"/>
                <a:gd name="connsiteY1105" fmla="*/ 416396 h 1387660"/>
                <a:gd name="connsiteX1106" fmla="*/ 74123 w 1083508"/>
                <a:gd name="connsiteY1106" fmla="*/ 417210 h 1387660"/>
                <a:gd name="connsiteX1107" fmla="*/ 84550 w 1083508"/>
                <a:gd name="connsiteY1107" fmla="*/ 417536 h 1387660"/>
                <a:gd name="connsiteX1108" fmla="*/ 92532 w 1083508"/>
                <a:gd name="connsiteY1108" fmla="*/ 420631 h 1387660"/>
                <a:gd name="connsiteX1109" fmla="*/ 95953 w 1083508"/>
                <a:gd name="connsiteY1109" fmla="*/ 424541 h 1387660"/>
                <a:gd name="connsiteX1110" fmla="*/ 99049 w 1083508"/>
                <a:gd name="connsiteY1110" fmla="*/ 425519 h 1387660"/>
                <a:gd name="connsiteX1111" fmla="*/ 100678 w 1083508"/>
                <a:gd name="connsiteY1111" fmla="*/ 427148 h 1387660"/>
                <a:gd name="connsiteX1112" fmla="*/ 104588 w 1083508"/>
                <a:gd name="connsiteY1112" fmla="*/ 429429 h 1387660"/>
                <a:gd name="connsiteX1113" fmla="*/ 104588 w 1083508"/>
                <a:gd name="connsiteY1113" fmla="*/ 426985 h 1387660"/>
                <a:gd name="connsiteX1114" fmla="*/ 103284 w 1083508"/>
                <a:gd name="connsiteY1114" fmla="*/ 424704 h 1387660"/>
                <a:gd name="connsiteX1115" fmla="*/ 102958 w 1083508"/>
                <a:gd name="connsiteY1115" fmla="*/ 421120 h 1387660"/>
                <a:gd name="connsiteX1116" fmla="*/ 108660 w 1083508"/>
                <a:gd name="connsiteY1116" fmla="*/ 417373 h 1387660"/>
                <a:gd name="connsiteX1117" fmla="*/ 110452 w 1083508"/>
                <a:gd name="connsiteY1117" fmla="*/ 417047 h 1387660"/>
                <a:gd name="connsiteX1118" fmla="*/ 109801 w 1083508"/>
                <a:gd name="connsiteY1118" fmla="*/ 409879 h 1387660"/>
                <a:gd name="connsiteX1119" fmla="*/ 106868 w 1083508"/>
                <a:gd name="connsiteY1119" fmla="*/ 408739 h 1387660"/>
                <a:gd name="connsiteX1120" fmla="*/ 104425 w 1083508"/>
                <a:gd name="connsiteY1120" fmla="*/ 408739 h 1387660"/>
                <a:gd name="connsiteX1121" fmla="*/ 102307 w 1083508"/>
                <a:gd name="connsiteY1121" fmla="*/ 406947 h 1387660"/>
                <a:gd name="connsiteX1122" fmla="*/ 102633 w 1083508"/>
                <a:gd name="connsiteY1122" fmla="*/ 403689 h 1387660"/>
                <a:gd name="connsiteX1123" fmla="*/ 99212 w 1083508"/>
                <a:gd name="connsiteY1123" fmla="*/ 402549 h 1387660"/>
                <a:gd name="connsiteX1124" fmla="*/ 96442 w 1083508"/>
                <a:gd name="connsiteY1124" fmla="*/ 403363 h 1387660"/>
                <a:gd name="connsiteX1125" fmla="*/ 91881 w 1083508"/>
                <a:gd name="connsiteY1125" fmla="*/ 406947 h 1387660"/>
                <a:gd name="connsiteX1126" fmla="*/ 86668 w 1083508"/>
                <a:gd name="connsiteY1126" fmla="*/ 407436 h 1387660"/>
                <a:gd name="connsiteX1127" fmla="*/ 79174 w 1083508"/>
                <a:gd name="connsiteY1127" fmla="*/ 405970 h 1387660"/>
                <a:gd name="connsiteX1128" fmla="*/ 74938 w 1083508"/>
                <a:gd name="connsiteY1128" fmla="*/ 403526 h 1387660"/>
                <a:gd name="connsiteX1129" fmla="*/ 75264 w 1083508"/>
                <a:gd name="connsiteY1129" fmla="*/ 401408 h 1387660"/>
                <a:gd name="connsiteX1130" fmla="*/ 74123 w 1083508"/>
                <a:gd name="connsiteY1130" fmla="*/ 399942 h 1387660"/>
                <a:gd name="connsiteX1131" fmla="*/ 70377 w 1083508"/>
                <a:gd name="connsiteY1131" fmla="*/ 394892 h 1387660"/>
                <a:gd name="connsiteX1132" fmla="*/ 67933 w 1083508"/>
                <a:gd name="connsiteY1132" fmla="*/ 394892 h 1387660"/>
                <a:gd name="connsiteX1133" fmla="*/ 66630 w 1083508"/>
                <a:gd name="connsiteY1133" fmla="*/ 396358 h 1387660"/>
                <a:gd name="connsiteX1134" fmla="*/ 67444 w 1083508"/>
                <a:gd name="connsiteY1134" fmla="*/ 398313 h 1387660"/>
                <a:gd name="connsiteX1135" fmla="*/ 69725 w 1083508"/>
                <a:gd name="connsiteY1135" fmla="*/ 400594 h 1387660"/>
                <a:gd name="connsiteX1136" fmla="*/ 68747 w 1083508"/>
                <a:gd name="connsiteY1136" fmla="*/ 406133 h 1387660"/>
                <a:gd name="connsiteX1137" fmla="*/ 66955 w 1083508"/>
                <a:gd name="connsiteY1137" fmla="*/ 408413 h 1387660"/>
                <a:gd name="connsiteX1138" fmla="*/ 59950 w 1083508"/>
                <a:gd name="connsiteY1138" fmla="*/ 408739 h 1387660"/>
                <a:gd name="connsiteX1139" fmla="*/ 53923 w 1083508"/>
                <a:gd name="connsiteY1139" fmla="*/ 406784 h 1387660"/>
                <a:gd name="connsiteX1140" fmla="*/ 45777 w 1083508"/>
                <a:gd name="connsiteY1140" fmla="*/ 398639 h 1387660"/>
                <a:gd name="connsiteX1141" fmla="*/ 46755 w 1083508"/>
                <a:gd name="connsiteY1141" fmla="*/ 396847 h 1387660"/>
                <a:gd name="connsiteX1142" fmla="*/ 51968 w 1083508"/>
                <a:gd name="connsiteY1142" fmla="*/ 394729 h 1387660"/>
                <a:gd name="connsiteX1143" fmla="*/ 60113 w 1083508"/>
                <a:gd name="connsiteY1143" fmla="*/ 391145 h 1387660"/>
                <a:gd name="connsiteX1144" fmla="*/ 59788 w 1083508"/>
                <a:gd name="connsiteY1144" fmla="*/ 389516 h 1387660"/>
                <a:gd name="connsiteX1145" fmla="*/ 57833 w 1083508"/>
                <a:gd name="connsiteY1145" fmla="*/ 388701 h 1387660"/>
                <a:gd name="connsiteX1146" fmla="*/ 51805 w 1083508"/>
                <a:gd name="connsiteY1146" fmla="*/ 390656 h 1387660"/>
                <a:gd name="connsiteX1147" fmla="*/ 47895 w 1083508"/>
                <a:gd name="connsiteY1147" fmla="*/ 392937 h 1387660"/>
                <a:gd name="connsiteX1148" fmla="*/ 43497 w 1083508"/>
                <a:gd name="connsiteY1148" fmla="*/ 391471 h 1387660"/>
                <a:gd name="connsiteX1149" fmla="*/ 42519 w 1083508"/>
                <a:gd name="connsiteY1149" fmla="*/ 388212 h 1387660"/>
                <a:gd name="connsiteX1150" fmla="*/ 44148 w 1083508"/>
                <a:gd name="connsiteY1150" fmla="*/ 386258 h 1387660"/>
                <a:gd name="connsiteX1151" fmla="*/ 49036 w 1083508"/>
                <a:gd name="connsiteY1151" fmla="*/ 384629 h 1387660"/>
                <a:gd name="connsiteX1152" fmla="*/ 53271 w 1083508"/>
                <a:gd name="connsiteY1152" fmla="*/ 382022 h 1387660"/>
                <a:gd name="connsiteX1153" fmla="*/ 56529 w 1083508"/>
                <a:gd name="connsiteY1153" fmla="*/ 376483 h 1387660"/>
                <a:gd name="connsiteX1154" fmla="*/ 55715 w 1083508"/>
                <a:gd name="connsiteY1154" fmla="*/ 373714 h 1387660"/>
                <a:gd name="connsiteX1155" fmla="*/ 53108 w 1083508"/>
                <a:gd name="connsiteY1155" fmla="*/ 372736 h 1387660"/>
                <a:gd name="connsiteX1156" fmla="*/ 51805 w 1083508"/>
                <a:gd name="connsiteY1156" fmla="*/ 373877 h 1387660"/>
                <a:gd name="connsiteX1157" fmla="*/ 49850 w 1083508"/>
                <a:gd name="connsiteY1157" fmla="*/ 376646 h 1387660"/>
                <a:gd name="connsiteX1158" fmla="*/ 44963 w 1083508"/>
                <a:gd name="connsiteY1158" fmla="*/ 379904 h 1387660"/>
                <a:gd name="connsiteX1159" fmla="*/ 39098 w 1083508"/>
                <a:gd name="connsiteY1159" fmla="*/ 380882 h 1387660"/>
                <a:gd name="connsiteX1160" fmla="*/ 34863 w 1083508"/>
                <a:gd name="connsiteY1160" fmla="*/ 380230 h 1387660"/>
                <a:gd name="connsiteX1161" fmla="*/ 32907 w 1083508"/>
                <a:gd name="connsiteY1161" fmla="*/ 376809 h 1387660"/>
                <a:gd name="connsiteX1162" fmla="*/ 34048 w 1083508"/>
                <a:gd name="connsiteY1162" fmla="*/ 374039 h 1387660"/>
                <a:gd name="connsiteX1163" fmla="*/ 36655 w 1083508"/>
                <a:gd name="connsiteY1163" fmla="*/ 371596 h 1387660"/>
                <a:gd name="connsiteX1164" fmla="*/ 38935 w 1083508"/>
                <a:gd name="connsiteY1164" fmla="*/ 369641 h 1387660"/>
                <a:gd name="connsiteX1165" fmla="*/ 37632 w 1083508"/>
                <a:gd name="connsiteY1165" fmla="*/ 367686 h 1387660"/>
                <a:gd name="connsiteX1166" fmla="*/ 35677 w 1083508"/>
                <a:gd name="connsiteY1166" fmla="*/ 366546 h 1387660"/>
                <a:gd name="connsiteX1167" fmla="*/ 31441 w 1083508"/>
                <a:gd name="connsiteY1167" fmla="*/ 366220 h 1387660"/>
                <a:gd name="connsiteX1168" fmla="*/ 29161 w 1083508"/>
                <a:gd name="connsiteY1168" fmla="*/ 364102 h 1387660"/>
                <a:gd name="connsiteX1169" fmla="*/ 24273 w 1083508"/>
                <a:gd name="connsiteY1169" fmla="*/ 354002 h 1387660"/>
                <a:gd name="connsiteX1170" fmla="*/ 21341 w 1083508"/>
                <a:gd name="connsiteY1170" fmla="*/ 351232 h 1387660"/>
                <a:gd name="connsiteX1171" fmla="*/ 16780 w 1083508"/>
                <a:gd name="connsiteY1171" fmla="*/ 348951 h 1387660"/>
                <a:gd name="connsiteX1172" fmla="*/ 14988 w 1083508"/>
                <a:gd name="connsiteY1172" fmla="*/ 346182 h 1387660"/>
                <a:gd name="connsiteX1173" fmla="*/ 18083 w 1083508"/>
                <a:gd name="connsiteY1173" fmla="*/ 345204 h 1387660"/>
                <a:gd name="connsiteX1174" fmla="*/ 22481 w 1083508"/>
                <a:gd name="connsiteY1174" fmla="*/ 342761 h 1387660"/>
                <a:gd name="connsiteX1175" fmla="*/ 24925 w 1083508"/>
                <a:gd name="connsiteY1175" fmla="*/ 339340 h 1387660"/>
                <a:gd name="connsiteX1176" fmla="*/ 26554 w 1083508"/>
                <a:gd name="connsiteY1176" fmla="*/ 337711 h 1387660"/>
                <a:gd name="connsiteX1177" fmla="*/ 27857 w 1083508"/>
                <a:gd name="connsiteY1177" fmla="*/ 338688 h 1387660"/>
                <a:gd name="connsiteX1178" fmla="*/ 30953 w 1083508"/>
                <a:gd name="connsiteY1178" fmla="*/ 338688 h 1387660"/>
                <a:gd name="connsiteX1179" fmla="*/ 30627 w 1083508"/>
                <a:gd name="connsiteY1179" fmla="*/ 336407 h 1387660"/>
                <a:gd name="connsiteX1180" fmla="*/ 27857 w 1083508"/>
                <a:gd name="connsiteY1180" fmla="*/ 334941 h 1387660"/>
                <a:gd name="connsiteX1181" fmla="*/ 23785 w 1083508"/>
                <a:gd name="connsiteY1181" fmla="*/ 334615 h 1387660"/>
                <a:gd name="connsiteX1182" fmla="*/ 21993 w 1083508"/>
                <a:gd name="connsiteY1182" fmla="*/ 331683 h 1387660"/>
                <a:gd name="connsiteX1183" fmla="*/ 23622 w 1083508"/>
                <a:gd name="connsiteY1183" fmla="*/ 329728 h 1387660"/>
                <a:gd name="connsiteX1184" fmla="*/ 27695 w 1083508"/>
                <a:gd name="connsiteY1184" fmla="*/ 329728 h 1387660"/>
                <a:gd name="connsiteX1185" fmla="*/ 35677 w 1083508"/>
                <a:gd name="connsiteY1185" fmla="*/ 326796 h 1387660"/>
                <a:gd name="connsiteX1186" fmla="*/ 36166 w 1083508"/>
                <a:gd name="connsiteY1186" fmla="*/ 324189 h 1387660"/>
                <a:gd name="connsiteX1187" fmla="*/ 35677 w 1083508"/>
                <a:gd name="connsiteY1187" fmla="*/ 321420 h 1387660"/>
                <a:gd name="connsiteX1188" fmla="*/ 39587 w 1083508"/>
                <a:gd name="connsiteY1188" fmla="*/ 320279 h 1387660"/>
                <a:gd name="connsiteX1189" fmla="*/ 42519 w 1083508"/>
                <a:gd name="connsiteY1189" fmla="*/ 318324 h 1387660"/>
                <a:gd name="connsiteX1190" fmla="*/ 45777 w 1083508"/>
                <a:gd name="connsiteY1190" fmla="*/ 318324 h 1387660"/>
                <a:gd name="connsiteX1191" fmla="*/ 48058 w 1083508"/>
                <a:gd name="connsiteY1191" fmla="*/ 319302 h 1387660"/>
                <a:gd name="connsiteX1192" fmla="*/ 51805 w 1083508"/>
                <a:gd name="connsiteY1192" fmla="*/ 318813 h 1387660"/>
                <a:gd name="connsiteX1193" fmla="*/ 55063 w 1083508"/>
                <a:gd name="connsiteY1193" fmla="*/ 316858 h 1387660"/>
                <a:gd name="connsiteX1194" fmla="*/ 57996 w 1083508"/>
                <a:gd name="connsiteY1194" fmla="*/ 316858 h 1387660"/>
                <a:gd name="connsiteX1195" fmla="*/ 61580 w 1083508"/>
                <a:gd name="connsiteY1195" fmla="*/ 317673 h 1387660"/>
                <a:gd name="connsiteX1196" fmla="*/ 61580 w 1083508"/>
                <a:gd name="connsiteY1196" fmla="*/ 319302 h 1387660"/>
                <a:gd name="connsiteX1197" fmla="*/ 63209 w 1083508"/>
                <a:gd name="connsiteY1197" fmla="*/ 319954 h 1387660"/>
                <a:gd name="connsiteX1198" fmla="*/ 66467 w 1083508"/>
                <a:gd name="connsiteY1198" fmla="*/ 319139 h 1387660"/>
                <a:gd name="connsiteX1199" fmla="*/ 67933 w 1083508"/>
                <a:gd name="connsiteY1199" fmla="*/ 316370 h 1387660"/>
                <a:gd name="connsiteX1200" fmla="*/ 71191 w 1083508"/>
                <a:gd name="connsiteY1200" fmla="*/ 314089 h 1387660"/>
                <a:gd name="connsiteX1201" fmla="*/ 74612 w 1083508"/>
                <a:gd name="connsiteY1201" fmla="*/ 314903 h 1387660"/>
                <a:gd name="connsiteX1202" fmla="*/ 75915 w 1083508"/>
                <a:gd name="connsiteY1202" fmla="*/ 314903 h 1387660"/>
                <a:gd name="connsiteX1203" fmla="*/ 78848 w 1083508"/>
                <a:gd name="connsiteY1203" fmla="*/ 313111 h 1387660"/>
                <a:gd name="connsiteX1204" fmla="*/ 84550 w 1083508"/>
                <a:gd name="connsiteY1204" fmla="*/ 313111 h 1387660"/>
                <a:gd name="connsiteX1205" fmla="*/ 103447 w 1083508"/>
                <a:gd name="connsiteY1205" fmla="*/ 308224 h 1387660"/>
                <a:gd name="connsiteX1206" fmla="*/ 107357 w 1083508"/>
                <a:gd name="connsiteY1206" fmla="*/ 308224 h 1387660"/>
                <a:gd name="connsiteX1207" fmla="*/ 108986 w 1083508"/>
                <a:gd name="connsiteY1207" fmla="*/ 310179 h 1387660"/>
                <a:gd name="connsiteX1208" fmla="*/ 110289 w 1083508"/>
                <a:gd name="connsiteY1208" fmla="*/ 307572 h 1387660"/>
                <a:gd name="connsiteX1209" fmla="*/ 108172 w 1083508"/>
                <a:gd name="connsiteY1209" fmla="*/ 305292 h 1387660"/>
                <a:gd name="connsiteX1210" fmla="*/ 109638 w 1083508"/>
                <a:gd name="connsiteY1210" fmla="*/ 302359 h 1387660"/>
                <a:gd name="connsiteX1211" fmla="*/ 116154 w 1083508"/>
                <a:gd name="connsiteY1211" fmla="*/ 299264 h 1387660"/>
                <a:gd name="connsiteX1212" fmla="*/ 124137 w 1083508"/>
                <a:gd name="connsiteY1212" fmla="*/ 299264 h 1387660"/>
                <a:gd name="connsiteX1213" fmla="*/ 129350 w 1083508"/>
                <a:gd name="connsiteY1213" fmla="*/ 298287 h 1387660"/>
                <a:gd name="connsiteX1214" fmla="*/ 132282 w 1083508"/>
                <a:gd name="connsiteY1214" fmla="*/ 299916 h 1387660"/>
                <a:gd name="connsiteX1215" fmla="*/ 136844 w 1083508"/>
                <a:gd name="connsiteY1215" fmla="*/ 300893 h 1387660"/>
                <a:gd name="connsiteX1216" fmla="*/ 141405 w 1083508"/>
                <a:gd name="connsiteY1216" fmla="*/ 298124 h 1387660"/>
                <a:gd name="connsiteX1217" fmla="*/ 146944 w 1083508"/>
                <a:gd name="connsiteY1217" fmla="*/ 297309 h 1387660"/>
                <a:gd name="connsiteX1218" fmla="*/ 153135 w 1083508"/>
                <a:gd name="connsiteY1218" fmla="*/ 298450 h 1387660"/>
                <a:gd name="connsiteX1219" fmla="*/ 154927 w 1083508"/>
                <a:gd name="connsiteY1219" fmla="*/ 300893 h 1387660"/>
                <a:gd name="connsiteX1220" fmla="*/ 159325 w 1083508"/>
                <a:gd name="connsiteY1220" fmla="*/ 301545 h 1387660"/>
                <a:gd name="connsiteX1221" fmla="*/ 161769 w 1083508"/>
                <a:gd name="connsiteY1221" fmla="*/ 303500 h 1387660"/>
                <a:gd name="connsiteX1222" fmla="*/ 166982 w 1083508"/>
                <a:gd name="connsiteY1222" fmla="*/ 307084 h 1387660"/>
                <a:gd name="connsiteX1223" fmla="*/ 170729 w 1083508"/>
                <a:gd name="connsiteY1223" fmla="*/ 307084 h 1387660"/>
                <a:gd name="connsiteX1224" fmla="*/ 173824 w 1083508"/>
                <a:gd name="connsiteY1224" fmla="*/ 305618 h 1387660"/>
                <a:gd name="connsiteX1225" fmla="*/ 174150 w 1083508"/>
                <a:gd name="connsiteY1225" fmla="*/ 303826 h 1387660"/>
                <a:gd name="connsiteX1226" fmla="*/ 178385 w 1083508"/>
                <a:gd name="connsiteY1226" fmla="*/ 299427 h 1387660"/>
                <a:gd name="connsiteX1227" fmla="*/ 181644 w 1083508"/>
                <a:gd name="connsiteY1227" fmla="*/ 294214 h 1387660"/>
                <a:gd name="connsiteX1228" fmla="*/ 185716 w 1083508"/>
                <a:gd name="connsiteY1228" fmla="*/ 288186 h 1387660"/>
                <a:gd name="connsiteX1229" fmla="*/ 191581 w 1083508"/>
                <a:gd name="connsiteY1229" fmla="*/ 286231 h 1387660"/>
                <a:gd name="connsiteX1230" fmla="*/ 193373 w 1083508"/>
                <a:gd name="connsiteY1230" fmla="*/ 282973 h 1387660"/>
                <a:gd name="connsiteX1231" fmla="*/ 197772 w 1083508"/>
                <a:gd name="connsiteY1231" fmla="*/ 275968 h 1387660"/>
                <a:gd name="connsiteX1232" fmla="*/ 201844 w 1083508"/>
                <a:gd name="connsiteY1232" fmla="*/ 274828 h 1387660"/>
                <a:gd name="connsiteX1233" fmla="*/ 203473 w 1083508"/>
                <a:gd name="connsiteY1233" fmla="*/ 269778 h 1387660"/>
                <a:gd name="connsiteX1234" fmla="*/ 200052 w 1083508"/>
                <a:gd name="connsiteY1234" fmla="*/ 267986 h 1387660"/>
                <a:gd name="connsiteX1235" fmla="*/ 200052 w 1083508"/>
                <a:gd name="connsiteY1235" fmla="*/ 263750 h 1387660"/>
                <a:gd name="connsiteX1236" fmla="*/ 203799 w 1083508"/>
                <a:gd name="connsiteY1236" fmla="*/ 259026 h 1387660"/>
                <a:gd name="connsiteX1237" fmla="*/ 208361 w 1083508"/>
                <a:gd name="connsiteY1237" fmla="*/ 258700 h 1387660"/>
                <a:gd name="connsiteX1238" fmla="*/ 214388 w 1083508"/>
                <a:gd name="connsiteY1238" fmla="*/ 259026 h 1387660"/>
                <a:gd name="connsiteX1239" fmla="*/ 219764 w 1083508"/>
                <a:gd name="connsiteY1239" fmla="*/ 255442 h 1387660"/>
                <a:gd name="connsiteX1240" fmla="*/ 221068 w 1083508"/>
                <a:gd name="connsiteY1240" fmla="*/ 251695 h 1387660"/>
                <a:gd name="connsiteX1241" fmla="*/ 219764 w 1083508"/>
                <a:gd name="connsiteY1241" fmla="*/ 250391 h 1387660"/>
                <a:gd name="connsiteX1242" fmla="*/ 214225 w 1083508"/>
                <a:gd name="connsiteY1242" fmla="*/ 250391 h 1387660"/>
                <a:gd name="connsiteX1243" fmla="*/ 209990 w 1083508"/>
                <a:gd name="connsiteY1243" fmla="*/ 247459 h 1387660"/>
                <a:gd name="connsiteX1244" fmla="*/ 209501 w 1083508"/>
                <a:gd name="connsiteY1244" fmla="*/ 244690 h 1387660"/>
                <a:gd name="connsiteX1245" fmla="*/ 210479 w 1083508"/>
                <a:gd name="connsiteY1245" fmla="*/ 241920 h 1387660"/>
                <a:gd name="connsiteX1246" fmla="*/ 214714 w 1083508"/>
                <a:gd name="connsiteY1246" fmla="*/ 240780 h 1387660"/>
                <a:gd name="connsiteX1247" fmla="*/ 221230 w 1083508"/>
                <a:gd name="connsiteY1247" fmla="*/ 242083 h 1387660"/>
                <a:gd name="connsiteX1248" fmla="*/ 226444 w 1083508"/>
                <a:gd name="connsiteY1248" fmla="*/ 238988 h 1387660"/>
                <a:gd name="connsiteX1249" fmla="*/ 232634 w 1083508"/>
                <a:gd name="connsiteY1249" fmla="*/ 236381 h 1387660"/>
                <a:gd name="connsiteX1250" fmla="*/ 233449 w 1083508"/>
                <a:gd name="connsiteY1250" fmla="*/ 233612 h 1387660"/>
                <a:gd name="connsiteX1251" fmla="*/ 232471 w 1083508"/>
                <a:gd name="connsiteY1251" fmla="*/ 232471 h 1387660"/>
                <a:gd name="connsiteX1252" fmla="*/ 232471 w 1083508"/>
                <a:gd name="connsiteY1252" fmla="*/ 227910 h 1387660"/>
                <a:gd name="connsiteX1253" fmla="*/ 230842 w 1083508"/>
                <a:gd name="connsiteY1253" fmla="*/ 227910 h 1387660"/>
                <a:gd name="connsiteX1254" fmla="*/ 227584 w 1083508"/>
                <a:gd name="connsiteY1254" fmla="*/ 231005 h 1387660"/>
                <a:gd name="connsiteX1255" fmla="*/ 227584 w 1083508"/>
                <a:gd name="connsiteY1255" fmla="*/ 235404 h 1387660"/>
                <a:gd name="connsiteX1256" fmla="*/ 224652 w 1083508"/>
                <a:gd name="connsiteY1256" fmla="*/ 236870 h 1387660"/>
                <a:gd name="connsiteX1257" fmla="*/ 216832 w 1083508"/>
                <a:gd name="connsiteY1257" fmla="*/ 236870 h 1387660"/>
                <a:gd name="connsiteX1258" fmla="*/ 212596 w 1083508"/>
                <a:gd name="connsiteY1258" fmla="*/ 235404 h 1387660"/>
                <a:gd name="connsiteX1259" fmla="*/ 210153 w 1083508"/>
                <a:gd name="connsiteY1259" fmla="*/ 235730 h 1387660"/>
                <a:gd name="connsiteX1260" fmla="*/ 205428 w 1083508"/>
                <a:gd name="connsiteY1260" fmla="*/ 239639 h 1387660"/>
                <a:gd name="connsiteX1261" fmla="*/ 201519 w 1083508"/>
                <a:gd name="connsiteY1261" fmla="*/ 239639 h 1387660"/>
                <a:gd name="connsiteX1262" fmla="*/ 199889 w 1083508"/>
                <a:gd name="connsiteY1262" fmla="*/ 236870 h 1387660"/>
                <a:gd name="connsiteX1263" fmla="*/ 195328 w 1083508"/>
                <a:gd name="connsiteY1263" fmla="*/ 233449 h 1387660"/>
                <a:gd name="connsiteX1264" fmla="*/ 192558 w 1083508"/>
                <a:gd name="connsiteY1264" fmla="*/ 233938 h 1387660"/>
                <a:gd name="connsiteX1265" fmla="*/ 189952 w 1083508"/>
                <a:gd name="connsiteY1265" fmla="*/ 236381 h 1387660"/>
                <a:gd name="connsiteX1266" fmla="*/ 187508 w 1083508"/>
                <a:gd name="connsiteY1266" fmla="*/ 236055 h 1387660"/>
                <a:gd name="connsiteX1267" fmla="*/ 184576 w 1083508"/>
                <a:gd name="connsiteY1267" fmla="*/ 234100 h 1387660"/>
                <a:gd name="connsiteX1268" fmla="*/ 181644 w 1083508"/>
                <a:gd name="connsiteY1268" fmla="*/ 234589 h 1387660"/>
                <a:gd name="connsiteX1269" fmla="*/ 179363 w 1083508"/>
                <a:gd name="connsiteY1269" fmla="*/ 233938 h 1387660"/>
                <a:gd name="connsiteX1270" fmla="*/ 179363 w 1083508"/>
                <a:gd name="connsiteY1270" fmla="*/ 228236 h 1387660"/>
                <a:gd name="connsiteX1271" fmla="*/ 178222 w 1083508"/>
                <a:gd name="connsiteY1271" fmla="*/ 227258 h 1387660"/>
                <a:gd name="connsiteX1272" fmla="*/ 177734 w 1083508"/>
                <a:gd name="connsiteY1272" fmla="*/ 224489 h 1387660"/>
                <a:gd name="connsiteX1273" fmla="*/ 178874 w 1083508"/>
                <a:gd name="connsiteY1273" fmla="*/ 221394 h 1387660"/>
                <a:gd name="connsiteX1274" fmla="*/ 182295 w 1083508"/>
                <a:gd name="connsiteY1274" fmla="*/ 219764 h 1387660"/>
                <a:gd name="connsiteX1275" fmla="*/ 185065 w 1083508"/>
                <a:gd name="connsiteY1275" fmla="*/ 216343 h 1387660"/>
                <a:gd name="connsiteX1276" fmla="*/ 186857 w 1083508"/>
                <a:gd name="connsiteY1276" fmla="*/ 213737 h 1387660"/>
                <a:gd name="connsiteX1277" fmla="*/ 189463 w 1083508"/>
                <a:gd name="connsiteY1277" fmla="*/ 212596 h 1387660"/>
                <a:gd name="connsiteX1278" fmla="*/ 190115 w 1083508"/>
                <a:gd name="connsiteY1278" fmla="*/ 209990 h 1387660"/>
                <a:gd name="connsiteX1279" fmla="*/ 188323 w 1083508"/>
                <a:gd name="connsiteY1279" fmla="*/ 208035 h 1387660"/>
                <a:gd name="connsiteX1280" fmla="*/ 187834 w 1083508"/>
                <a:gd name="connsiteY1280" fmla="*/ 204940 h 1387660"/>
                <a:gd name="connsiteX1281" fmla="*/ 189463 w 1083508"/>
                <a:gd name="connsiteY1281" fmla="*/ 202822 h 1387660"/>
                <a:gd name="connsiteX1282" fmla="*/ 193210 w 1083508"/>
                <a:gd name="connsiteY1282" fmla="*/ 202496 h 1387660"/>
                <a:gd name="connsiteX1283" fmla="*/ 197772 w 1083508"/>
                <a:gd name="connsiteY1283" fmla="*/ 200215 h 1387660"/>
                <a:gd name="connsiteX1284" fmla="*/ 200378 w 1083508"/>
                <a:gd name="connsiteY1284" fmla="*/ 197772 h 1387660"/>
                <a:gd name="connsiteX1285" fmla="*/ 200867 w 1083508"/>
                <a:gd name="connsiteY1285" fmla="*/ 194839 h 1387660"/>
                <a:gd name="connsiteX1286" fmla="*/ 208687 w 1083508"/>
                <a:gd name="connsiteY1286" fmla="*/ 192396 h 1387660"/>
                <a:gd name="connsiteX1287" fmla="*/ 211293 w 1083508"/>
                <a:gd name="connsiteY1287" fmla="*/ 188812 h 1387660"/>
                <a:gd name="connsiteX1288" fmla="*/ 214714 w 1083508"/>
                <a:gd name="connsiteY1288" fmla="*/ 187183 h 1387660"/>
                <a:gd name="connsiteX1289" fmla="*/ 222045 w 1083508"/>
                <a:gd name="connsiteY1289" fmla="*/ 187508 h 1387660"/>
                <a:gd name="connsiteX1290" fmla="*/ 225140 w 1083508"/>
                <a:gd name="connsiteY1290" fmla="*/ 186531 h 1387660"/>
                <a:gd name="connsiteX1291" fmla="*/ 224163 w 1083508"/>
                <a:gd name="connsiteY1291" fmla="*/ 185391 h 1387660"/>
                <a:gd name="connsiteX1292" fmla="*/ 221230 w 1083508"/>
                <a:gd name="connsiteY1292" fmla="*/ 184413 h 1387660"/>
                <a:gd name="connsiteX1293" fmla="*/ 221556 w 1083508"/>
                <a:gd name="connsiteY1293" fmla="*/ 181970 h 1387660"/>
                <a:gd name="connsiteX1294" fmla="*/ 224163 w 1083508"/>
                <a:gd name="connsiteY1294" fmla="*/ 180992 h 1387660"/>
                <a:gd name="connsiteX1295" fmla="*/ 228887 w 1083508"/>
                <a:gd name="connsiteY1295" fmla="*/ 180992 h 1387660"/>
                <a:gd name="connsiteX1296" fmla="*/ 229702 w 1083508"/>
                <a:gd name="connsiteY1296" fmla="*/ 183110 h 1387660"/>
                <a:gd name="connsiteX1297" fmla="*/ 231820 w 1083508"/>
                <a:gd name="connsiteY1297" fmla="*/ 182295 h 1387660"/>
                <a:gd name="connsiteX1298" fmla="*/ 237684 w 1083508"/>
                <a:gd name="connsiteY1298" fmla="*/ 175779 h 1387660"/>
                <a:gd name="connsiteX1299" fmla="*/ 237359 w 1083508"/>
                <a:gd name="connsiteY1299" fmla="*/ 172521 h 1387660"/>
                <a:gd name="connsiteX1300" fmla="*/ 238988 w 1083508"/>
                <a:gd name="connsiteY1300" fmla="*/ 168611 h 1387660"/>
                <a:gd name="connsiteX1301" fmla="*/ 244038 w 1083508"/>
                <a:gd name="connsiteY1301" fmla="*/ 165516 h 1387660"/>
                <a:gd name="connsiteX1302" fmla="*/ 247785 w 1083508"/>
                <a:gd name="connsiteY1302" fmla="*/ 164538 h 1387660"/>
                <a:gd name="connsiteX1303" fmla="*/ 251206 w 1083508"/>
                <a:gd name="connsiteY1303" fmla="*/ 160303 h 1387660"/>
                <a:gd name="connsiteX1304" fmla="*/ 254790 w 1083508"/>
                <a:gd name="connsiteY1304" fmla="*/ 159977 h 1387660"/>
                <a:gd name="connsiteX1305" fmla="*/ 257233 w 1083508"/>
                <a:gd name="connsiteY1305" fmla="*/ 158836 h 1387660"/>
                <a:gd name="connsiteX1306" fmla="*/ 258700 w 1083508"/>
                <a:gd name="connsiteY1306" fmla="*/ 160466 h 1387660"/>
                <a:gd name="connsiteX1307" fmla="*/ 260003 w 1083508"/>
                <a:gd name="connsiteY1307" fmla="*/ 165516 h 1387660"/>
                <a:gd name="connsiteX1308" fmla="*/ 259677 w 1083508"/>
                <a:gd name="connsiteY1308" fmla="*/ 174313 h 1387660"/>
                <a:gd name="connsiteX1309" fmla="*/ 260980 w 1083508"/>
                <a:gd name="connsiteY1309" fmla="*/ 178060 h 1387660"/>
                <a:gd name="connsiteX1310" fmla="*/ 260980 w 1083508"/>
                <a:gd name="connsiteY1310" fmla="*/ 185065 h 1387660"/>
                <a:gd name="connsiteX1311" fmla="*/ 260003 w 1083508"/>
                <a:gd name="connsiteY1311" fmla="*/ 194839 h 1387660"/>
                <a:gd name="connsiteX1312" fmla="*/ 261958 w 1083508"/>
                <a:gd name="connsiteY1312" fmla="*/ 194351 h 1387660"/>
                <a:gd name="connsiteX1313" fmla="*/ 263913 w 1083508"/>
                <a:gd name="connsiteY1313" fmla="*/ 191255 h 1387660"/>
                <a:gd name="connsiteX1314" fmla="*/ 265053 w 1083508"/>
                <a:gd name="connsiteY1314" fmla="*/ 183110 h 1387660"/>
                <a:gd name="connsiteX1315" fmla="*/ 263098 w 1083508"/>
                <a:gd name="connsiteY1315" fmla="*/ 175942 h 1387660"/>
                <a:gd name="connsiteX1316" fmla="*/ 263098 w 1083508"/>
                <a:gd name="connsiteY1316" fmla="*/ 171380 h 1387660"/>
                <a:gd name="connsiteX1317" fmla="*/ 263750 w 1083508"/>
                <a:gd name="connsiteY1317" fmla="*/ 167796 h 1387660"/>
                <a:gd name="connsiteX1318" fmla="*/ 263424 w 1083508"/>
                <a:gd name="connsiteY1318" fmla="*/ 161280 h 1387660"/>
                <a:gd name="connsiteX1319" fmla="*/ 266030 w 1083508"/>
                <a:gd name="connsiteY1319" fmla="*/ 159651 h 1387660"/>
                <a:gd name="connsiteX1320" fmla="*/ 268963 w 1083508"/>
                <a:gd name="connsiteY1320" fmla="*/ 159651 h 1387660"/>
                <a:gd name="connsiteX1321" fmla="*/ 270103 w 1083508"/>
                <a:gd name="connsiteY1321" fmla="*/ 157370 h 1387660"/>
                <a:gd name="connsiteX1322" fmla="*/ 272547 w 1083508"/>
                <a:gd name="connsiteY1322" fmla="*/ 155415 h 1387660"/>
                <a:gd name="connsiteX1323" fmla="*/ 274339 w 1083508"/>
                <a:gd name="connsiteY1323" fmla="*/ 155415 h 1387660"/>
                <a:gd name="connsiteX1324" fmla="*/ 275154 w 1083508"/>
                <a:gd name="connsiteY1324" fmla="*/ 158511 h 1387660"/>
                <a:gd name="connsiteX1325" fmla="*/ 276620 w 1083508"/>
                <a:gd name="connsiteY1325" fmla="*/ 160791 h 1387660"/>
                <a:gd name="connsiteX1326" fmla="*/ 278900 w 1083508"/>
                <a:gd name="connsiteY1326" fmla="*/ 160791 h 1387660"/>
                <a:gd name="connsiteX1327" fmla="*/ 280692 w 1083508"/>
                <a:gd name="connsiteY1327" fmla="*/ 162095 h 1387660"/>
                <a:gd name="connsiteX1328" fmla="*/ 280367 w 1083508"/>
                <a:gd name="connsiteY1328" fmla="*/ 165516 h 1387660"/>
                <a:gd name="connsiteX1329" fmla="*/ 281344 w 1083508"/>
                <a:gd name="connsiteY1329" fmla="*/ 168122 h 1387660"/>
                <a:gd name="connsiteX1330" fmla="*/ 285417 w 1083508"/>
                <a:gd name="connsiteY1330" fmla="*/ 170403 h 1387660"/>
                <a:gd name="connsiteX1331" fmla="*/ 292748 w 1083508"/>
                <a:gd name="connsiteY1331" fmla="*/ 169588 h 1387660"/>
                <a:gd name="connsiteX1332" fmla="*/ 294377 w 1083508"/>
                <a:gd name="connsiteY1332" fmla="*/ 168448 h 1387660"/>
                <a:gd name="connsiteX1333" fmla="*/ 298124 w 1083508"/>
                <a:gd name="connsiteY1333" fmla="*/ 168448 h 1387660"/>
                <a:gd name="connsiteX1334" fmla="*/ 298938 w 1083508"/>
                <a:gd name="connsiteY1334" fmla="*/ 166004 h 1387660"/>
                <a:gd name="connsiteX1335" fmla="*/ 297635 w 1083508"/>
                <a:gd name="connsiteY1335" fmla="*/ 162909 h 1387660"/>
                <a:gd name="connsiteX1336" fmla="*/ 298938 w 1083508"/>
                <a:gd name="connsiteY1336" fmla="*/ 159977 h 1387660"/>
                <a:gd name="connsiteX1337" fmla="*/ 301382 w 1083508"/>
                <a:gd name="connsiteY1337" fmla="*/ 158022 h 1387660"/>
                <a:gd name="connsiteX1338" fmla="*/ 302359 w 1083508"/>
                <a:gd name="connsiteY1338" fmla="*/ 153298 h 1387660"/>
                <a:gd name="connsiteX1339" fmla="*/ 303500 w 1083508"/>
                <a:gd name="connsiteY1339" fmla="*/ 151506 h 1387660"/>
                <a:gd name="connsiteX1340" fmla="*/ 308061 w 1083508"/>
                <a:gd name="connsiteY1340" fmla="*/ 151180 h 1387660"/>
                <a:gd name="connsiteX1341" fmla="*/ 315066 w 1083508"/>
                <a:gd name="connsiteY1341" fmla="*/ 147107 h 1387660"/>
                <a:gd name="connsiteX1342" fmla="*/ 317347 w 1083508"/>
                <a:gd name="connsiteY1342" fmla="*/ 142871 h 1387660"/>
                <a:gd name="connsiteX1343" fmla="*/ 317021 w 1083508"/>
                <a:gd name="connsiteY1343" fmla="*/ 136681 h 1387660"/>
                <a:gd name="connsiteX1344" fmla="*/ 314578 w 1083508"/>
                <a:gd name="connsiteY1344" fmla="*/ 135703 h 1387660"/>
                <a:gd name="connsiteX1345" fmla="*/ 312622 w 1083508"/>
                <a:gd name="connsiteY1345" fmla="*/ 135703 h 1387660"/>
                <a:gd name="connsiteX1346" fmla="*/ 311971 w 1083508"/>
                <a:gd name="connsiteY1346" fmla="*/ 133748 h 1387660"/>
                <a:gd name="connsiteX1347" fmla="*/ 312786 w 1083508"/>
                <a:gd name="connsiteY1347" fmla="*/ 131305 h 1387660"/>
                <a:gd name="connsiteX1348" fmla="*/ 316370 w 1083508"/>
                <a:gd name="connsiteY1348" fmla="*/ 126743 h 1387660"/>
                <a:gd name="connsiteX1349" fmla="*/ 317184 w 1083508"/>
                <a:gd name="connsiteY1349" fmla="*/ 121367 h 1387660"/>
                <a:gd name="connsiteX1350" fmla="*/ 316370 w 1083508"/>
                <a:gd name="connsiteY1350" fmla="*/ 117132 h 1387660"/>
                <a:gd name="connsiteX1351" fmla="*/ 317998 w 1083508"/>
                <a:gd name="connsiteY1351" fmla="*/ 110941 h 1387660"/>
                <a:gd name="connsiteX1352" fmla="*/ 321257 w 1083508"/>
                <a:gd name="connsiteY1352" fmla="*/ 108172 h 1387660"/>
                <a:gd name="connsiteX1353" fmla="*/ 328099 w 1083508"/>
                <a:gd name="connsiteY1353" fmla="*/ 106705 h 1387660"/>
                <a:gd name="connsiteX1354" fmla="*/ 334127 w 1083508"/>
                <a:gd name="connsiteY1354" fmla="*/ 103773 h 1387660"/>
                <a:gd name="connsiteX1355" fmla="*/ 340154 w 1083508"/>
                <a:gd name="connsiteY1355" fmla="*/ 101655 h 1387660"/>
                <a:gd name="connsiteX1356" fmla="*/ 341946 w 1083508"/>
                <a:gd name="connsiteY1356" fmla="*/ 102796 h 1387660"/>
                <a:gd name="connsiteX1357" fmla="*/ 342761 w 1083508"/>
                <a:gd name="connsiteY1357" fmla="*/ 105565 h 1387660"/>
                <a:gd name="connsiteX1358" fmla="*/ 342435 w 1083508"/>
                <a:gd name="connsiteY1358" fmla="*/ 109801 h 1387660"/>
                <a:gd name="connsiteX1359" fmla="*/ 347485 w 1083508"/>
                <a:gd name="connsiteY1359" fmla="*/ 116806 h 1387660"/>
                <a:gd name="connsiteX1360" fmla="*/ 347811 w 1083508"/>
                <a:gd name="connsiteY1360" fmla="*/ 121041 h 1387660"/>
                <a:gd name="connsiteX1361" fmla="*/ 346996 w 1083508"/>
                <a:gd name="connsiteY1361" fmla="*/ 130164 h 1387660"/>
                <a:gd name="connsiteX1362" fmla="*/ 346996 w 1083508"/>
                <a:gd name="connsiteY1362" fmla="*/ 139613 h 1387660"/>
                <a:gd name="connsiteX1363" fmla="*/ 349440 w 1083508"/>
                <a:gd name="connsiteY1363" fmla="*/ 141568 h 1387660"/>
                <a:gd name="connsiteX1364" fmla="*/ 355468 w 1083508"/>
                <a:gd name="connsiteY1364" fmla="*/ 147759 h 1387660"/>
                <a:gd name="connsiteX1365" fmla="*/ 357911 w 1083508"/>
                <a:gd name="connsiteY1365" fmla="*/ 152157 h 1387660"/>
                <a:gd name="connsiteX1366" fmla="*/ 360192 w 1083508"/>
                <a:gd name="connsiteY1366" fmla="*/ 154112 h 1387660"/>
                <a:gd name="connsiteX1367" fmla="*/ 361170 w 1083508"/>
                <a:gd name="connsiteY1367" fmla="*/ 152483 h 1387660"/>
                <a:gd name="connsiteX1368" fmla="*/ 360029 w 1083508"/>
                <a:gd name="connsiteY1368" fmla="*/ 143523 h 1387660"/>
                <a:gd name="connsiteX1369" fmla="*/ 360029 w 1083508"/>
                <a:gd name="connsiteY1369" fmla="*/ 138962 h 1387660"/>
                <a:gd name="connsiteX1370" fmla="*/ 354164 w 1083508"/>
                <a:gd name="connsiteY1370" fmla="*/ 130653 h 1387660"/>
                <a:gd name="connsiteX1371" fmla="*/ 353513 w 1083508"/>
                <a:gd name="connsiteY1371" fmla="*/ 123648 h 1387660"/>
                <a:gd name="connsiteX1372" fmla="*/ 356445 w 1083508"/>
                <a:gd name="connsiteY1372" fmla="*/ 116643 h 1387660"/>
                <a:gd name="connsiteX1373" fmla="*/ 357260 w 1083508"/>
                <a:gd name="connsiteY1373" fmla="*/ 112570 h 1387660"/>
                <a:gd name="connsiteX1374" fmla="*/ 355956 w 1083508"/>
                <a:gd name="connsiteY1374" fmla="*/ 110289 h 1387660"/>
                <a:gd name="connsiteX1375" fmla="*/ 353838 w 1083508"/>
                <a:gd name="connsiteY1375" fmla="*/ 105728 h 1387660"/>
                <a:gd name="connsiteX1376" fmla="*/ 353838 w 1083508"/>
                <a:gd name="connsiteY1376" fmla="*/ 101818 h 1387660"/>
                <a:gd name="connsiteX1377" fmla="*/ 351558 w 1083508"/>
                <a:gd name="connsiteY1377" fmla="*/ 98234 h 1387660"/>
                <a:gd name="connsiteX1378" fmla="*/ 352698 w 1083508"/>
                <a:gd name="connsiteY1378" fmla="*/ 95791 h 1387660"/>
                <a:gd name="connsiteX1379" fmla="*/ 357260 w 1083508"/>
                <a:gd name="connsiteY1379" fmla="*/ 92207 h 1387660"/>
                <a:gd name="connsiteX1380" fmla="*/ 362147 w 1083508"/>
                <a:gd name="connsiteY1380" fmla="*/ 91881 h 1387660"/>
                <a:gd name="connsiteX1381" fmla="*/ 365405 w 1083508"/>
                <a:gd name="connsiteY1381" fmla="*/ 93021 h 1387660"/>
                <a:gd name="connsiteX1382" fmla="*/ 369152 w 1083508"/>
                <a:gd name="connsiteY1382" fmla="*/ 91392 h 1387660"/>
                <a:gd name="connsiteX1383" fmla="*/ 373062 w 1083508"/>
                <a:gd name="connsiteY1383" fmla="*/ 91066 h 1387660"/>
                <a:gd name="connsiteX1384" fmla="*/ 379578 w 1083508"/>
                <a:gd name="connsiteY1384" fmla="*/ 93184 h 1387660"/>
                <a:gd name="connsiteX1385" fmla="*/ 390167 w 1083508"/>
                <a:gd name="connsiteY1385" fmla="*/ 92695 h 1387660"/>
                <a:gd name="connsiteX1386" fmla="*/ 399453 w 1083508"/>
                <a:gd name="connsiteY1386" fmla="*/ 88948 h 1387660"/>
                <a:gd name="connsiteX1387" fmla="*/ 409065 w 1083508"/>
                <a:gd name="connsiteY1387" fmla="*/ 88623 h 1387660"/>
                <a:gd name="connsiteX1388" fmla="*/ 411997 w 1083508"/>
                <a:gd name="connsiteY1388" fmla="*/ 91392 h 1387660"/>
                <a:gd name="connsiteX1389" fmla="*/ 412975 w 1083508"/>
                <a:gd name="connsiteY1389" fmla="*/ 95953 h 1387660"/>
                <a:gd name="connsiteX1390" fmla="*/ 412975 w 1083508"/>
                <a:gd name="connsiteY1390" fmla="*/ 100189 h 1387660"/>
                <a:gd name="connsiteX1391" fmla="*/ 412812 w 1083508"/>
                <a:gd name="connsiteY1391" fmla="*/ 101981 h 1387660"/>
                <a:gd name="connsiteX1392" fmla="*/ 417047 w 1083508"/>
                <a:gd name="connsiteY1392" fmla="*/ 101655 h 1387660"/>
                <a:gd name="connsiteX1393" fmla="*/ 419328 w 1083508"/>
                <a:gd name="connsiteY1393" fmla="*/ 97583 h 1387660"/>
                <a:gd name="connsiteX1394" fmla="*/ 416721 w 1083508"/>
                <a:gd name="connsiteY1394" fmla="*/ 94650 h 1387660"/>
                <a:gd name="connsiteX1395" fmla="*/ 417210 w 1083508"/>
                <a:gd name="connsiteY1395" fmla="*/ 90252 h 1387660"/>
                <a:gd name="connsiteX1396" fmla="*/ 424215 w 1083508"/>
                <a:gd name="connsiteY1396" fmla="*/ 84387 h 1387660"/>
                <a:gd name="connsiteX1397" fmla="*/ 428125 w 1083508"/>
                <a:gd name="connsiteY1397" fmla="*/ 86016 h 1387660"/>
                <a:gd name="connsiteX1398" fmla="*/ 431383 w 1083508"/>
                <a:gd name="connsiteY1398" fmla="*/ 89111 h 1387660"/>
                <a:gd name="connsiteX1399" fmla="*/ 432524 w 1083508"/>
                <a:gd name="connsiteY1399" fmla="*/ 95139 h 1387660"/>
                <a:gd name="connsiteX1400" fmla="*/ 434967 w 1083508"/>
                <a:gd name="connsiteY1400" fmla="*/ 97583 h 1387660"/>
                <a:gd name="connsiteX1401" fmla="*/ 435945 w 1083508"/>
                <a:gd name="connsiteY1401" fmla="*/ 93673 h 1387660"/>
                <a:gd name="connsiteX1402" fmla="*/ 435945 w 1083508"/>
                <a:gd name="connsiteY1402" fmla="*/ 86831 h 1387660"/>
                <a:gd name="connsiteX1403" fmla="*/ 432198 w 1083508"/>
                <a:gd name="connsiteY1403" fmla="*/ 83572 h 1387660"/>
                <a:gd name="connsiteX1404" fmla="*/ 431057 w 1083508"/>
                <a:gd name="connsiteY1404" fmla="*/ 80314 h 1387660"/>
                <a:gd name="connsiteX1405" fmla="*/ 432850 w 1083508"/>
                <a:gd name="connsiteY1405" fmla="*/ 78685 h 1387660"/>
                <a:gd name="connsiteX1406" fmla="*/ 436922 w 1083508"/>
                <a:gd name="connsiteY1406" fmla="*/ 79500 h 1387660"/>
                <a:gd name="connsiteX1407" fmla="*/ 441321 w 1083508"/>
                <a:gd name="connsiteY1407" fmla="*/ 81292 h 1387660"/>
                <a:gd name="connsiteX1408" fmla="*/ 445556 w 1083508"/>
                <a:gd name="connsiteY1408" fmla="*/ 78359 h 1387660"/>
                <a:gd name="connsiteX1409" fmla="*/ 450118 w 1083508"/>
                <a:gd name="connsiteY1409" fmla="*/ 77219 h 1387660"/>
                <a:gd name="connsiteX1410" fmla="*/ 457449 w 1083508"/>
                <a:gd name="connsiteY1410" fmla="*/ 78196 h 1387660"/>
                <a:gd name="connsiteX1411" fmla="*/ 458752 w 1083508"/>
                <a:gd name="connsiteY1411" fmla="*/ 81292 h 1387660"/>
                <a:gd name="connsiteX1412" fmla="*/ 457937 w 1083508"/>
                <a:gd name="connsiteY1412" fmla="*/ 93347 h 1387660"/>
                <a:gd name="connsiteX1413" fmla="*/ 455657 w 1083508"/>
                <a:gd name="connsiteY1413" fmla="*/ 100189 h 1387660"/>
                <a:gd name="connsiteX1414" fmla="*/ 455657 w 1083508"/>
                <a:gd name="connsiteY1414" fmla="*/ 104751 h 1387660"/>
                <a:gd name="connsiteX1415" fmla="*/ 452236 w 1083508"/>
                <a:gd name="connsiteY1415" fmla="*/ 112896 h 1387660"/>
                <a:gd name="connsiteX1416" fmla="*/ 449955 w 1083508"/>
                <a:gd name="connsiteY1416" fmla="*/ 117620 h 1387660"/>
                <a:gd name="connsiteX1417" fmla="*/ 449955 w 1083508"/>
                <a:gd name="connsiteY1417" fmla="*/ 121204 h 1387660"/>
                <a:gd name="connsiteX1418" fmla="*/ 448489 w 1083508"/>
                <a:gd name="connsiteY1418" fmla="*/ 124463 h 1387660"/>
                <a:gd name="connsiteX1419" fmla="*/ 445231 w 1083508"/>
                <a:gd name="connsiteY1419" fmla="*/ 125603 h 1387660"/>
                <a:gd name="connsiteX1420" fmla="*/ 443764 w 1083508"/>
                <a:gd name="connsiteY1420" fmla="*/ 128047 h 1387660"/>
                <a:gd name="connsiteX1421" fmla="*/ 446534 w 1083508"/>
                <a:gd name="connsiteY1421" fmla="*/ 130490 h 1387660"/>
                <a:gd name="connsiteX1422" fmla="*/ 447023 w 1083508"/>
                <a:gd name="connsiteY1422" fmla="*/ 133260 h 1387660"/>
                <a:gd name="connsiteX1423" fmla="*/ 445394 w 1083508"/>
                <a:gd name="connsiteY1423" fmla="*/ 137332 h 1387660"/>
                <a:gd name="connsiteX1424" fmla="*/ 441484 w 1083508"/>
                <a:gd name="connsiteY1424" fmla="*/ 141242 h 1387660"/>
                <a:gd name="connsiteX1425" fmla="*/ 439040 w 1083508"/>
                <a:gd name="connsiteY1425" fmla="*/ 147107 h 1387660"/>
                <a:gd name="connsiteX1426" fmla="*/ 434316 w 1083508"/>
                <a:gd name="connsiteY1426" fmla="*/ 149714 h 1387660"/>
                <a:gd name="connsiteX1427" fmla="*/ 432524 w 1083508"/>
                <a:gd name="connsiteY1427" fmla="*/ 152320 h 1387660"/>
                <a:gd name="connsiteX1428" fmla="*/ 431709 w 1083508"/>
                <a:gd name="connsiteY1428" fmla="*/ 157370 h 1387660"/>
                <a:gd name="connsiteX1429" fmla="*/ 428777 w 1083508"/>
                <a:gd name="connsiteY1429" fmla="*/ 162258 h 1387660"/>
                <a:gd name="connsiteX1430" fmla="*/ 427637 w 1083508"/>
                <a:gd name="connsiteY1430" fmla="*/ 166982 h 1387660"/>
                <a:gd name="connsiteX1431" fmla="*/ 428614 w 1083508"/>
                <a:gd name="connsiteY1431" fmla="*/ 168774 h 1387660"/>
                <a:gd name="connsiteX1432" fmla="*/ 431546 w 1083508"/>
                <a:gd name="connsiteY1432" fmla="*/ 168448 h 1387660"/>
                <a:gd name="connsiteX1433" fmla="*/ 435130 w 1083508"/>
                <a:gd name="connsiteY1433" fmla="*/ 162909 h 1387660"/>
                <a:gd name="connsiteX1434" fmla="*/ 437737 w 1083508"/>
                <a:gd name="connsiteY1434" fmla="*/ 160628 h 1387660"/>
                <a:gd name="connsiteX1435" fmla="*/ 437737 w 1083508"/>
                <a:gd name="connsiteY1435" fmla="*/ 157859 h 1387660"/>
                <a:gd name="connsiteX1436" fmla="*/ 441484 w 1083508"/>
                <a:gd name="connsiteY1436" fmla="*/ 153949 h 1387660"/>
                <a:gd name="connsiteX1437" fmla="*/ 446045 w 1083508"/>
                <a:gd name="connsiteY1437" fmla="*/ 146944 h 1387660"/>
                <a:gd name="connsiteX1438" fmla="*/ 448163 w 1083508"/>
                <a:gd name="connsiteY1438" fmla="*/ 142546 h 1387660"/>
                <a:gd name="connsiteX1439" fmla="*/ 451258 w 1083508"/>
                <a:gd name="connsiteY1439" fmla="*/ 141242 h 1387660"/>
                <a:gd name="connsiteX1440" fmla="*/ 453539 w 1083508"/>
                <a:gd name="connsiteY1440" fmla="*/ 139287 h 1387660"/>
                <a:gd name="connsiteX1441" fmla="*/ 455168 w 1083508"/>
                <a:gd name="connsiteY1441" fmla="*/ 135703 h 1387660"/>
                <a:gd name="connsiteX1442" fmla="*/ 455168 w 1083508"/>
                <a:gd name="connsiteY1442" fmla="*/ 132282 h 1387660"/>
                <a:gd name="connsiteX1443" fmla="*/ 458100 w 1083508"/>
                <a:gd name="connsiteY1443" fmla="*/ 130002 h 1387660"/>
                <a:gd name="connsiteX1444" fmla="*/ 459729 w 1083508"/>
                <a:gd name="connsiteY1444" fmla="*/ 125440 h 1387660"/>
                <a:gd name="connsiteX1445" fmla="*/ 462825 w 1083508"/>
                <a:gd name="connsiteY1445" fmla="*/ 122182 h 1387660"/>
                <a:gd name="connsiteX1446" fmla="*/ 464617 w 1083508"/>
                <a:gd name="connsiteY1446" fmla="*/ 125766 h 1387660"/>
                <a:gd name="connsiteX1447" fmla="*/ 464617 w 1083508"/>
                <a:gd name="connsiteY1447" fmla="*/ 129676 h 1387660"/>
                <a:gd name="connsiteX1448" fmla="*/ 467549 w 1083508"/>
                <a:gd name="connsiteY1448" fmla="*/ 132771 h 1387660"/>
                <a:gd name="connsiteX1449" fmla="*/ 468853 w 1083508"/>
                <a:gd name="connsiteY1449" fmla="*/ 136844 h 1387660"/>
                <a:gd name="connsiteX1450" fmla="*/ 469830 w 1083508"/>
                <a:gd name="connsiteY1450" fmla="*/ 142871 h 1387660"/>
                <a:gd name="connsiteX1451" fmla="*/ 473740 w 1083508"/>
                <a:gd name="connsiteY1451" fmla="*/ 148084 h 1387660"/>
                <a:gd name="connsiteX1452" fmla="*/ 474228 w 1083508"/>
                <a:gd name="connsiteY1452" fmla="*/ 154764 h 1387660"/>
                <a:gd name="connsiteX1453" fmla="*/ 476835 w 1083508"/>
                <a:gd name="connsiteY1453" fmla="*/ 156719 h 1387660"/>
                <a:gd name="connsiteX1454" fmla="*/ 480256 w 1083508"/>
                <a:gd name="connsiteY1454" fmla="*/ 157044 h 1387660"/>
                <a:gd name="connsiteX1455" fmla="*/ 481885 w 1083508"/>
                <a:gd name="connsiteY1455" fmla="*/ 158511 h 1387660"/>
                <a:gd name="connsiteX1456" fmla="*/ 484003 w 1083508"/>
                <a:gd name="connsiteY1456" fmla="*/ 158185 h 1387660"/>
                <a:gd name="connsiteX1457" fmla="*/ 484818 w 1083508"/>
                <a:gd name="connsiteY1457" fmla="*/ 156393 h 1387660"/>
                <a:gd name="connsiteX1458" fmla="*/ 485958 w 1083508"/>
                <a:gd name="connsiteY1458" fmla="*/ 154112 h 1387660"/>
                <a:gd name="connsiteX1459" fmla="*/ 485469 w 1083508"/>
                <a:gd name="connsiteY1459" fmla="*/ 151668 h 1387660"/>
                <a:gd name="connsiteX1460" fmla="*/ 482211 w 1083508"/>
                <a:gd name="connsiteY1460" fmla="*/ 148736 h 1387660"/>
                <a:gd name="connsiteX1461" fmla="*/ 481234 w 1083508"/>
                <a:gd name="connsiteY1461" fmla="*/ 145478 h 1387660"/>
                <a:gd name="connsiteX1462" fmla="*/ 482048 w 1083508"/>
                <a:gd name="connsiteY1462" fmla="*/ 144338 h 1387660"/>
                <a:gd name="connsiteX1463" fmla="*/ 484329 w 1083508"/>
                <a:gd name="connsiteY1463" fmla="*/ 144338 h 1387660"/>
                <a:gd name="connsiteX1464" fmla="*/ 487913 w 1083508"/>
                <a:gd name="connsiteY1464" fmla="*/ 147270 h 1387660"/>
                <a:gd name="connsiteX1465" fmla="*/ 493289 w 1083508"/>
                <a:gd name="connsiteY1465" fmla="*/ 147922 h 1387660"/>
                <a:gd name="connsiteX1466" fmla="*/ 496384 w 1083508"/>
                <a:gd name="connsiteY1466" fmla="*/ 149551 h 1387660"/>
                <a:gd name="connsiteX1467" fmla="*/ 497199 w 1083508"/>
                <a:gd name="connsiteY1467" fmla="*/ 151017 h 1387660"/>
                <a:gd name="connsiteX1468" fmla="*/ 500946 w 1083508"/>
                <a:gd name="connsiteY1468" fmla="*/ 151831 h 1387660"/>
                <a:gd name="connsiteX1469" fmla="*/ 502900 w 1083508"/>
                <a:gd name="connsiteY1469" fmla="*/ 149876 h 1387660"/>
                <a:gd name="connsiteX1470" fmla="*/ 504692 w 1083508"/>
                <a:gd name="connsiteY1470" fmla="*/ 150691 h 1387660"/>
                <a:gd name="connsiteX1471" fmla="*/ 506485 w 1083508"/>
                <a:gd name="connsiteY1471" fmla="*/ 152483 h 1387660"/>
                <a:gd name="connsiteX1472" fmla="*/ 508602 w 1083508"/>
                <a:gd name="connsiteY1472" fmla="*/ 151180 h 1387660"/>
                <a:gd name="connsiteX1473" fmla="*/ 508277 w 1083508"/>
                <a:gd name="connsiteY1473" fmla="*/ 142383 h 1387660"/>
                <a:gd name="connsiteX1474" fmla="*/ 507299 w 1083508"/>
                <a:gd name="connsiteY1474" fmla="*/ 137984 h 1387660"/>
                <a:gd name="connsiteX1475" fmla="*/ 509091 w 1083508"/>
                <a:gd name="connsiteY1475" fmla="*/ 130979 h 1387660"/>
                <a:gd name="connsiteX1476" fmla="*/ 510069 w 1083508"/>
                <a:gd name="connsiteY1476" fmla="*/ 123974 h 1387660"/>
                <a:gd name="connsiteX1477" fmla="*/ 507788 w 1083508"/>
                <a:gd name="connsiteY1477" fmla="*/ 121041 h 1387660"/>
                <a:gd name="connsiteX1478" fmla="*/ 506321 w 1083508"/>
                <a:gd name="connsiteY1478" fmla="*/ 114362 h 1387660"/>
                <a:gd name="connsiteX1479" fmla="*/ 506647 w 1083508"/>
                <a:gd name="connsiteY1479" fmla="*/ 108660 h 1387660"/>
                <a:gd name="connsiteX1480" fmla="*/ 510394 w 1083508"/>
                <a:gd name="connsiteY1480" fmla="*/ 99537 h 1387660"/>
                <a:gd name="connsiteX1481" fmla="*/ 511046 w 1083508"/>
                <a:gd name="connsiteY1481" fmla="*/ 96279 h 1387660"/>
                <a:gd name="connsiteX1482" fmla="*/ 510069 w 1083508"/>
                <a:gd name="connsiteY1482" fmla="*/ 93347 h 1387660"/>
                <a:gd name="connsiteX1483" fmla="*/ 511372 w 1083508"/>
                <a:gd name="connsiteY1483" fmla="*/ 90903 h 1387660"/>
                <a:gd name="connsiteX1484" fmla="*/ 511372 w 1083508"/>
                <a:gd name="connsiteY1484" fmla="*/ 84550 h 1387660"/>
                <a:gd name="connsiteX1485" fmla="*/ 513978 w 1083508"/>
                <a:gd name="connsiteY1485" fmla="*/ 81943 h 1387660"/>
                <a:gd name="connsiteX1486" fmla="*/ 518051 w 1083508"/>
                <a:gd name="connsiteY1486" fmla="*/ 81129 h 1387660"/>
                <a:gd name="connsiteX1487" fmla="*/ 520983 w 1083508"/>
                <a:gd name="connsiteY1487" fmla="*/ 83409 h 1387660"/>
                <a:gd name="connsiteX1488" fmla="*/ 525056 w 1083508"/>
                <a:gd name="connsiteY1488" fmla="*/ 84224 h 1387660"/>
                <a:gd name="connsiteX1489" fmla="*/ 528314 w 1083508"/>
                <a:gd name="connsiteY1489" fmla="*/ 85201 h 1387660"/>
                <a:gd name="connsiteX1490" fmla="*/ 529780 w 1083508"/>
                <a:gd name="connsiteY1490" fmla="*/ 88460 h 1387660"/>
                <a:gd name="connsiteX1491" fmla="*/ 533528 w 1083508"/>
                <a:gd name="connsiteY1491" fmla="*/ 90577 h 1387660"/>
                <a:gd name="connsiteX1492" fmla="*/ 535808 w 1083508"/>
                <a:gd name="connsiteY1492" fmla="*/ 95139 h 1387660"/>
                <a:gd name="connsiteX1493" fmla="*/ 540044 w 1083508"/>
                <a:gd name="connsiteY1493" fmla="*/ 105239 h 1387660"/>
                <a:gd name="connsiteX1494" fmla="*/ 540044 w 1083508"/>
                <a:gd name="connsiteY1494" fmla="*/ 109801 h 1387660"/>
                <a:gd name="connsiteX1495" fmla="*/ 545094 w 1083508"/>
                <a:gd name="connsiteY1495" fmla="*/ 117132 h 1387660"/>
                <a:gd name="connsiteX1496" fmla="*/ 548026 w 1083508"/>
                <a:gd name="connsiteY1496" fmla="*/ 122834 h 1387660"/>
                <a:gd name="connsiteX1497" fmla="*/ 549004 w 1083508"/>
                <a:gd name="connsiteY1497" fmla="*/ 134889 h 1387660"/>
                <a:gd name="connsiteX1498" fmla="*/ 548352 w 1083508"/>
                <a:gd name="connsiteY1498" fmla="*/ 137332 h 1387660"/>
                <a:gd name="connsiteX1499" fmla="*/ 545909 w 1083508"/>
                <a:gd name="connsiteY1499" fmla="*/ 140102 h 1387660"/>
                <a:gd name="connsiteX1500" fmla="*/ 545583 w 1083508"/>
                <a:gd name="connsiteY1500" fmla="*/ 144012 h 1387660"/>
                <a:gd name="connsiteX1501" fmla="*/ 546560 w 1083508"/>
                <a:gd name="connsiteY1501" fmla="*/ 149225 h 1387660"/>
                <a:gd name="connsiteX1502" fmla="*/ 549004 w 1083508"/>
                <a:gd name="connsiteY1502" fmla="*/ 151506 h 1387660"/>
                <a:gd name="connsiteX1503" fmla="*/ 552262 w 1083508"/>
                <a:gd name="connsiteY1503" fmla="*/ 159977 h 1387660"/>
                <a:gd name="connsiteX1504" fmla="*/ 551285 w 1083508"/>
                <a:gd name="connsiteY1504" fmla="*/ 165516 h 1387660"/>
                <a:gd name="connsiteX1505" fmla="*/ 551773 w 1083508"/>
                <a:gd name="connsiteY1505" fmla="*/ 170077 h 1387660"/>
                <a:gd name="connsiteX1506" fmla="*/ 553891 w 1083508"/>
                <a:gd name="connsiteY1506" fmla="*/ 173824 h 1387660"/>
                <a:gd name="connsiteX1507" fmla="*/ 558127 w 1083508"/>
                <a:gd name="connsiteY1507" fmla="*/ 174150 h 1387660"/>
                <a:gd name="connsiteX1508" fmla="*/ 563503 w 1083508"/>
                <a:gd name="connsiteY1508" fmla="*/ 178223 h 1387660"/>
                <a:gd name="connsiteX1509" fmla="*/ 567575 w 1083508"/>
                <a:gd name="connsiteY1509" fmla="*/ 178223 h 1387660"/>
                <a:gd name="connsiteX1510" fmla="*/ 572951 w 1083508"/>
                <a:gd name="connsiteY1510" fmla="*/ 176268 h 1387660"/>
                <a:gd name="connsiteX1511" fmla="*/ 576698 w 1083508"/>
                <a:gd name="connsiteY1511" fmla="*/ 169751 h 1387660"/>
                <a:gd name="connsiteX1512" fmla="*/ 578979 w 1083508"/>
                <a:gd name="connsiteY1512" fmla="*/ 167145 h 1387660"/>
                <a:gd name="connsiteX1513" fmla="*/ 579794 w 1083508"/>
                <a:gd name="connsiteY1513" fmla="*/ 168122 h 1387660"/>
                <a:gd name="connsiteX1514" fmla="*/ 579468 w 1083508"/>
                <a:gd name="connsiteY1514" fmla="*/ 172521 h 1387660"/>
                <a:gd name="connsiteX1515" fmla="*/ 580445 w 1083508"/>
                <a:gd name="connsiteY1515" fmla="*/ 175127 h 1387660"/>
                <a:gd name="connsiteX1516" fmla="*/ 582563 w 1083508"/>
                <a:gd name="connsiteY1516" fmla="*/ 175127 h 1387660"/>
                <a:gd name="connsiteX1517" fmla="*/ 585495 w 1083508"/>
                <a:gd name="connsiteY1517" fmla="*/ 173661 h 1387660"/>
                <a:gd name="connsiteX1518" fmla="*/ 588754 w 1083508"/>
                <a:gd name="connsiteY1518" fmla="*/ 175290 h 1387660"/>
                <a:gd name="connsiteX1519" fmla="*/ 590057 w 1083508"/>
                <a:gd name="connsiteY1519" fmla="*/ 177897 h 1387660"/>
                <a:gd name="connsiteX1520" fmla="*/ 589731 w 1083508"/>
                <a:gd name="connsiteY1520" fmla="*/ 181155 h 1387660"/>
                <a:gd name="connsiteX1521" fmla="*/ 591686 w 1083508"/>
                <a:gd name="connsiteY1521" fmla="*/ 183924 h 1387660"/>
                <a:gd name="connsiteX1522" fmla="*/ 595270 w 1083508"/>
                <a:gd name="connsiteY1522" fmla="*/ 183924 h 1387660"/>
                <a:gd name="connsiteX1523" fmla="*/ 598039 w 1083508"/>
                <a:gd name="connsiteY1523" fmla="*/ 184902 h 1387660"/>
                <a:gd name="connsiteX1524" fmla="*/ 603090 w 1083508"/>
                <a:gd name="connsiteY1524" fmla="*/ 184902 h 1387660"/>
                <a:gd name="connsiteX1525" fmla="*/ 604393 w 1083508"/>
                <a:gd name="connsiteY1525" fmla="*/ 183273 h 1387660"/>
                <a:gd name="connsiteX1526" fmla="*/ 602764 w 1083508"/>
                <a:gd name="connsiteY1526" fmla="*/ 182132 h 1387660"/>
                <a:gd name="connsiteX1527" fmla="*/ 598039 w 1083508"/>
                <a:gd name="connsiteY1527" fmla="*/ 179363 h 1387660"/>
                <a:gd name="connsiteX1528" fmla="*/ 596410 w 1083508"/>
                <a:gd name="connsiteY1528" fmla="*/ 176105 h 1387660"/>
                <a:gd name="connsiteX1529" fmla="*/ 596410 w 1083508"/>
                <a:gd name="connsiteY1529" fmla="*/ 173661 h 1387660"/>
                <a:gd name="connsiteX1530" fmla="*/ 592989 w 1083508"/>
                <a:gd name="connsiteY1530" fmla="*/ 173335 h 1387660"/>
                <a:gd name="connsiteX1531" fmla="*/ 591197 w 1083508"/>
                <a:gd name="connsiteY1531" fmla="*/ 171218 h 1387660"/>
                <a:gd name="connsiteX1532" fmla="*/ 591197 w 1083508"/>
                <a:gd name="connsiteY1532" fmla="*/ 166167 h 1387660"/>
                <a:gd name="connsiteX1533" fmla="*/ 589242 w 1083508"/>
                <a:gd name="connsiteY1533" fmla="*/ 162420 h 1387660"/>
                <a:gd name="connsiteX1534" fmla="*/ 584029 w 1083508"/>
                <a:gd name="connsiteY1534" fmla="*/ 158348 h 1387660"/>
                <a:gd name="connsiteX1535" fmla="*/ 584029 w 1083508"/>
                <a:gd name="connsiteY1535" fmla="*/ 155252 h 1387660"/>
                <a:gd name="connsiteX1536" fmla="*/ 582400 w 1083508"/>
                <a:gd name="connsiteY1536" fmla="*/ 148899 h 1387660"/>
                <a:gd name="connsiteX1537" fmla="*/ 579468 w 1083508"/>
                <a:gd name="connsiteY1537" fmla="*/ 144500 h 1387660"/>
                <a:gd name="connsiteX1538" fmla="*/ 579468 w 1083508"/>
                <a:gd name="connsiteY1538" fmla="*/ 141405 h 1387660"/>
                <a:gd name="connsiteX1539" fmla="*/ 580771 w 1083508"/>
                <a:gd name="connsiteY1539" fmla="*/ 134726 h 1387660"/>
                <a:gd name="connsiteX1540" fmla="*/ 579631 w 1083508"/>
                <a:gd name="connsiteY1540" fmla="*/ 130164 h 1387660"/>
                <a:gd name="connsiteX1541" fmla="*/ 575884 w 1083508"/>
                <a:gd name="connsiteY1541" fmla="*/ 123648 h 1387660"/>
                <a:gd name="connsiteX1542" fmla="*/ 575884 w 1083508"/>
                <a:gd name="connsiteY1542" fmla="*/ 119087 h 1387660"/>
                <a:gd name="connsiteX1543" fmla="*/ 577024 w 1083508"/>
                <a:gd name="connsiteY1543" fmla="*/ 116806 h 1387660"/>
                <a:gd name="connsiteX1544" fmla="*/ 575721 w 1083508"/>
                <a:gd name="connsiteY1544" fmla="*/ 110127 h 1387660"/>
                <a:gd name="connsiteX1545" fmla="*/ 574092 w 1083508"/>
                <a:gd name="connsiteY1545" fmla="*/ 107683 h 1387660"/>
                <a:gd name="connsiteX1546" fmla="*/ 574743 w 1083508"/>
                <a:gd name="connsiteY1546" fmla="*/ 102307 h 1387660"/>
                <a:gd name="connsiteX1547" fmla="*/ 571974 w 1083508"/>
                <a:gd name="connsiteY1547" fmla="*/ 95791 h 1387660"/>
                <a:gd name="connsiteX1548" fmla="*/ 569530 w 1083508"/>
                <a:gd name="connsiteY1548" fmla="*/ 90740 h 1387660"/>
                <a:gd name="connsiteX1549" fmla="*/ 571485 w 1083508"/>
                <a:gd name="connsiteY1549" fmla="*/ 86831 h 1387660"/>
                <a:gd name="connsiteX1550" fmla="*/ 569042 w 1083508"/>
                <a:gd name="connsiteY1550" fmla="*/ 81455 h 1387660"/>
                <a:gd name="connsiteX1551" fmla="*/ 568553 w 1083508"/>
                <a:gd name="connsiteY1551" fmla="*/ 76404 h 1387660"/>
                <a:gd name="connsiteX1552" fmla="*/ 570345 w 1083508"/>
                <a:gd name="connsiteY1552" fmla="*/ 73961 h 1387660"/>
                <a:gd name="connsiteX1553" fmla="*/ 578816 w 1083508"/>
                <a:gd name="connsiteY1553" fmla="*/ 75427 h 1387660"/>
                <a:gd name="connsiteX1554" fmla="*/ 580608 w 1083508"/>
                <a:gd name="connsiteY1554" fmla="*/ 78685 h 1387660"/>
                <a:gd name="connsiteX1555" fmla="*/ 583052 w 1083508"/>
                <a:gd name="connsiteY1555" fmla="*/ 78685 h 1387660"/>
                <a:gd name="connsiteX1556" fmla="*/ 584844 w 1083508"/>
                <a:gd name="connsiteY1556" fmla="*/ 76079 h 1387660"/>
                <a:gd name="connsiteX1557" fmla="*/ 587287 w 1083508"/>
                <a:gd name="connsiteY1557" fmla="*/ 76079 h 1387660"/>
                <a:gd name="connsiteX1558" fmla="*/ 595270 w 1083508"/>
                <a:gd name="connsiteY1558" fmla="*/ 85364 h 1387660"/>
                <a:gd name="connsiteX1559" fmla="*/ 602275 w 1083508"/>
                <a:gd name="connsiteY1559" fmla="*/ 89111 h 1387660"/>
                <a:gd name="connsiteX1560" fmla="*/ 605045 w 1083508"/>
                <a:gd name="connsiteY1560" fmla="*/ 87156 h 1387660"/>
                <a:gd name="connsiteX1561" fmla="*/ 605370 w 1083508"/>
                <a:gd name="connsiteY1561" fmla="*/ 81943 h 1387660"/>
                <a:gd name="connsiteX1562" fmla="*/ 603090 w 1083508"/>
                <a:gd name="connsiteY1562" fmla="*/ 79663 h 1387660"/>
                <a:gd name="connsiteX1563" fmla="*/ 605533 w 1083508"/>
                <a:gd name="connsiteY1563" fmla="*/ 72169 h 1387660"/>
                <a:gd name="connsiteX1564" fmla="*/ 608303 w 1083508"/>
                <a:gd name="connsiteY1564" fmla="*/ 72169 h 1387660"/>
                <a:gd name="connsiteX1565" fmla="*/ 612375 w 1083508"/>
                <a:gd name="connsiteY1565" fmla="*/ 73472 h 1387660"/>
                <a:gd name="connsiteX1566" fmla="*/ 617914 w 1083508"/>
                <a:gd name="connsiteY1566" fmla="*/ 72332 h 1387660"/>
                <a:gd name="connsiteX1567" fmla="*/ 622313 w 1083508"/>
                <a:gd name="connsiteY1567" fmla="*/ 69562 h 1387660"/>
                <a:gd name="connsiteX1568" fmla="*/ 627037 w 1083508"/>
                <a:gd name="connsiteY1568" fmla="*/ 70703 h 1387660"/>
                <a:gd name="connsiteX1569" fmla="*/ 630458 w 1083508"/>
                <a:gd name="connsiteY1569" fmla="*/ 73309 h 1387660"/>
                <a:gd name="connsiteX1570" fmla="*/ 634368 w 1083508"/>
                <a:gd name="connsiteY1570" fmla="*/ 74449 h 1387660"/>
                <a:gd name="connsiteX1571" fmla="*/ 636812 w 1083508"/>
                <a:gd name="connsiteY1571" fmla="*/ 76730 h 1387660"/>
                <a:gd name="connsiteX1572" fmla="*/ 639418 w 1083508"/>
                <a:gd name="connsiteY1572" fmla="*/ 84061 h 1387660"/>
                <a:gd name="connsiteX1573" fmla="*/ 639418 w 1083508"/>
                <a:gd name="connsiteY1573" fmla="*/ 87156 h 1387660"/>
                <a:gd name="connsiteX1574" fmla="*/ 644143 w 1083508"/>
                <a:gd name="connsiteY1574" fmla="*/ 92369 h 1387660"/>
                <a:gd name="connsiteX1575" fmla="*/ 644143 w 1083508"/>
                <a:gd name="connsiteY1575" fmla="*/ 97094 h 1387660"/>
                <a:gd name="connsiteX1576" fmla="*/ 642351 w 1083508"/>
                <a:gd name="connsiteY1576" fmla="*/ 101167 h 1387660"/>
                <a:gd name="connsiteX1577" fmla="*/ 645120 w 1083508"/>
                <a:gd name="connsiteY1577" fmla="*/ 110615 h 1387660"/>
                <a:gd name="connsiteX1578" fmla="*/ 645120 w 1083508"/>
                <a:gd name="connsiteY1578" fmla="*/ 116154 h 1387660"/>
                <a:gd name="connsiteX1579" fmla="*/ 646586 w 1083508"/>
                <a:gd name="connsiteY1579" fmla="*/ 119412 h 1387660"/>
                <a:gd name="connsiteX1580" fmla="*/ 650496 w 1083508"/>
                <a:gd name="connsiteY1580" fmla="*/ 122019 h 1387660"/>
                <a:gd name="connsiteX1581" fmla="*/ 657175 w 1083508"/>
                <a:gd name="connsiteY1581" fmla="*/ 122019 h 1387660"/>
                <a:gd name="connsiteX1582" fmla="*/ 663692 w 1083508"/>
                <a:gd name="connsiteY1582" fmla="*/ 125766 h 1387660"/>
                <a:gd name="connsiteX1583" fmla="*/ 669556 w 1083508"/>
                <a:gd name="connsiteY1583" fmla="*/ 130164 h 1387660"/>
                <a:gd name="connsiteX1584" fmla="*/ 668253 w 1083508"/>
                <a:gd name="connsiteY1584" fmla="*/ 126417 h 1387660"/>
                <a:gd name="connsiteX1585" fmla="*/ 668253 w 1083508"/>
                <a:gd name="connsiteY1585" fmla="*/ 124625 h 1387660"/>
                <a:gd name="connsiteX1586" fmla="*/ 662714 w 1083508"/>
                <a:gd name="connsiteY1586" fmla="*/ 121530 h 1387660"/>
                <a:gd name="connsiteX1587" fmla="*/ 659782 w 1083508"/>
                <a:gd name="connsiteY1587" fmla="*/ 117783 h 1387660"/>
                <a:gd name="connsiteX1588" fmla="*/ 655872 w 1083508"/>
                <a:gd name="connsiteY1588" fmla="*/ 117783 h 1387660"/>
                <a:gd name="connsiteX1589" fmla="*/ 650822 w 1083508"/>
                <a:gd name="connsiteY1589" fmla="*/ 114688 h 1387660"/>
                <a:gd name="connsiteX1590" fmla="*/ 650007 w 1083508"/>
                <a:gd name="connsiteY1590" fmla="*/ 111593 h 1387660"/>
                <a:gd name="connsiteX1591" fmla="*/ 650007 w 1083508"/>
                <a:gd name="connsiteY1591" fmla="*/ 105891 h 1387660"/>
                <a:gd name="connsiteX1592" fmla="*/ 647075 w 1083508"/>
                <a:gd name="connsiteY1592" fmla="*/ 100678 h 1387660"/>
                <a:gd name="connsiteX1593" fmla="*/ 647075 w 1083508"/>
                <a:gd name="connsiteY1593" fmla="*/ 97257 h 1387660"/>
                <a:gd name="connsiteX1594" fmla="*/ 649519 w 1083508"/>
                <a:gd name="connsiteY1594" fmla="*/ 90252 h 1387660"/>
                <a:gd name="connsiteX1595" fmla="*/ 648867 w 1083508"/>
                <a:gd name="connsiteY1595" fmla="*/ 84876 h 1387660"/>
                <a:gd name="connsiteX1596" fmla="*/ 648867 w 1083508"/>
                <a:gd name="connsiteY1596" fmla="*/ 81455 h 1387660"/>
                <a:gd name="connsiteX1597" fmla="*/ 650170 w 1083508"/>
                <a:gd name="connsiteY1597" fmla="*/ 79174 h 1387660"/>
                <a:gd name="connsiteX1598" fmla="*/ 647727 w 1083508"/>
                <a:gd name="connsiteY1598" fmla="*/ 75753 h 1387660"/>
                <a:gd name="connsiteX1599" fmla="*/ 643491 w 1083508"/>
                <a:gd name="connsiteY1599" fmla="*/ 73798 h 1387660"/>
                <a:gd name="connsiteX1600" fmla="*/ 637952 w 1083508"/>
                <a:gd name="connsiteY1600" fmla="*/ 66467 h 1387660"/>
                <a:gd name="connsiteX1601" fmla="*/ 634857 w 1083508"/>
                <a:gd name="connsiteY1601" fmla="*/ 65978 h 1387660"/>
                <a:gd name="connsiteX1602" fmla="*/ 630133 w 1083508"/>
                <a:gd name="connsiteY1602" fmla="*/ 65978 h 1387660"/>
                <a:gd name="connsiteX1603" fmla="*/ 626223 w 1083508"/>
                <a:gd name="connsiteY1603" fmla="*/ 67770 h 1387660"/>
                <a:gd name="connsiteX1604" fmla="*/ 623128 w 1083508"/>
                <a:gd name="connsiteY1604" fmla="*/ 68748 h 1387660"/>
                <a:gd name="connsiteX1605" fmla="*/ 617752 w 1083508"/>
                <a:gd name="connsiteY1605" fmla="*/ 65327 h 1387660"/>
                <a:gd name="connsiteX1606" fmla="*/ 617752 w 1083508"/>
                <a:gd name="connsiteY1606" fmla="*/ 59462 h 1387660"/>
                <a:gd name="connsiteX1607" fmla="*/ 620032 w 1083508"/>
                <a:gd name="connsiteY1607" fmla="*/ 54086 h 1387660"/>
                <a:gd name="connsiteX1608" fmla="*/ 624105 w 1083508"/>
                <a:gd name="connsiteY1608" fmla="*/ 53597 h 1387660"/>
                <a:gd name="connsiteX1609" fmla="*/ 624105 w 1083508"/>
                <a:gd name="connsiteY1609" fmla="*/ 51153 h 1387660"/>
                <a:gd name="connsiteX1610" fmla="*/ 617426 w 1083508"/>
                <a:gd name="connsiteY1610" fmla="*/ 45940 h 1387660"/>
                <a:gd name="connsiteX1611" fmla="*/ 616285 w 1083508"/>
                <a:gd name="connsiteY1611" fmla="*/ 40564 h 1387660"/>
                <a:gd name="connsiteX1612" fmla="*/ 617426 w 1083508"/>
                <a:gd name="connsiteY1612" fmla="*/ 36492 h 1387660"/>
                <a:gd name="connsiteX1613" fmla="*/ 618566 w 1083508"/>
                <a:gd name="connsiteY1613" fmla="*/ 32419 h 1387660"/>
                <a:gd name="connsiteX1614" fmla="*/ 620847 w 1083508"/>
                <a:gd name="connsiteY1614" fmla="*/ 32419 h 1387660"/>
                <a:gd name="connsiteX1615" fmla="*/ 624756 w 1083508"/>
                <a:gd name="connsiteY1615" fmla="*/ 36329 h 1387660"/>
                <a:gd name="connsiteX1616" fmla="*/ 627526 w 1083508"/>
                <a:gd name="connsiteY1616" fmla="*/ 41542 h 1387660"/>
                <a:gd name="connsiteX1617" fmla="*/ 629155 w 1083508"/>
                <a:gd name="connsiteY1617" fmla="*/ 41216 h 1387660"/>
                <a:gd name="connsiteX1618" fmla="*/ 633879 w 1083508"/>
                <a:gd name="connsiteY1618" fmla="*/ 33885 h 1387660"/>
                <a:gd name="connsiteX1619" fmla="*/ 637789 w 1083508"/>
                <a:gd name="connsiteY1619" fmla="*/ 32419 h 1387660"/>
                <a:gd name="connsiteX1620" fmla="*/ 642514 w 1083508"/>
                <a:gd name="connsiteY1620" fmla="*/ 29975 h 1387660"/>
                <a:gd name="connsiteX1621" fmla="*/ 643654 w 1083508"/>
                <a:gd name="connsiteY1621" fmla="*/ 26717 h 1387660"/>
                <a:gd name="connsiteX1622" fmla="*/ 647890 w 1083508"/>
                <a:gd name="connsiteY1622" fmla="*/ 21993 h 1387660"/>
                <a:gd name="connsiteX1623" fmla="*/ 652940 w 1083508"/>
                <a:gd name="connsiteY1623" fmla="*/ 21178 h 1387660"/>
                <a:gd name="connsiteX1624" fmla="*/ 649193 w 1083508"/>
                <a:gd name="connsiteY1624" fmla="*/ 24111 h 1387660"/>
                <a:gd name="connsiteX1625" fmla="*/ 647890 w 1083508"/>
                <a:gd name="connsiteY1625" fmla="*/ 27532 h 1387660"/>
                <a:gd name="connsiteX1626" fmla="*/ 648867 w 1083508"/>
                <a:gd name="connsiteY1626" fmla="*/ 29161 h 1387660"/>
                <a:gd name="connsiteX1627" fmla="*/ 652777 w 1083508"/>
                <a:gd name="connsiteY1627" fmla="*/ 27206 h 1387660"/>
                <a:gd name="connsiteX1628" fmla="*/ 657338 w 1083508"/>
                <a:gd name="connsiteY1628" fmla="*/ 27206 h 1387660"/>
                <a:gd name="connsiteX1629" fmla="*/ 658967 w 1083508"/>
                <a:gd name="connsiteY1629" fmla="*/ 29161 h 1387660"/>
                <a:gd name="connsiteX1630" fmla="*/ 659782 w 1083508"/>
                <a:gd name="connsiteY1630" fmla="*/ 33071 h 1387660"/>
                <a:gd name="connsiteX1631" fmla="*/ 663040 w 1083508"/>
                <a:gd name="connsiteY1631" fmla="*/ 35677 h 1387660"/>
                <a:gd name="connsiteX1632" fmla="*/ 662714 w 1083508"/>
                <a:gd name="connsiteY1632" fmla="*/ 38284 h 1387660"/>
                <a:gd name="connsiteX1633" fmla="*/ 660271 w 1083508"/>
                <a:gd name="connsiteY1633" fmla="*/ 42031 h 1387660"/>
                <a:gd name="connsiteX1634" fmla="*/ 662063 w 1083508"/>
                <a:gd name="connsiteY1634" fmla="*/ 45126 h 1387660"/>
                <a:gd name="connsiteX1635" fmla="*/ 664018 w 1083508"/>
                <a:gd name="connsiteY1635" fmla="*/ 41868 h 1387660"/>
                <a:gd name="connsiteX1636" fmla="*/ 667439 w 1083508"/>
                <a:gd name="connsiteY1636" fmla="*/ 36166 h 1387660"/>
                <a:gd name="connsiteX1637" fmla="*/ 672652 w 1083508"/>
                <a:gd name="connsiteY1637" fmla="*/ 38447 h 1387660"/>
                <a:gd name="connsiteX1638" fmla="*/ 676562 w 1083508"/>
                <a:gd name="connsiteY1638" fmla="*/ 42682 h 1387660"/>
                <a:gd name="connsiteX1639" fmla="*/ 676562 w 1083508"/>
                <a:gd name="connsiteY1639" fmla="*/ 46429 h 1387660"/>
                <a:gd name="connsiteX1640" fmla="*/ 679820 w 1083508"/>
                <a:gd name="connsiteY1640" fmla="*/ 52945 h 1387660"/>
                <a:gd name="connsiteX1641" fmla="*/ 681612 w 1083508"/>
                <a:gd name="connsiteY1641" fmla="*/ 59136 h 1387660"/>
                <a:gd name="connsiteX1642" fmla="*/ 681612 w 1083508"/>
                <a:gd name="connsiteY1642" fmla="*/ 66304 h 1387660"/>
                <a:gd name="connsiteX1643" fmla="*/ 684544 w 1083508"/>
                <a:gd name="connsiteY1643" fmla="*/ 62557 h 1387660"/>
                <a:gd name="connsiteX1644" fmla="*/ 684870 w 1083508"/>
                <a:gd name="connsiteY1644" fmla="*/ 56367 h 1387660"/>
                <a:gd name="connsiteX1645" fmla="*/ 682915 w 1083508"/>
                <a:gd name="connsiteY1645" fmla="*/ 52620 h 1387660"/>
                <a:gd name="connsiteX1646" fmla="*/ 681449 w 1083508"/>
                <a:gd name="connsiteY1646" fmla="*/ 49687 h 1387660"/>
                <a:gd name="connsiteX1647" fmla="*/ 681449 w 1083508"/>
                <a:gd name="connsiteY1647" fmla="*/ 44963 h 1387660"/>
                <a:gd name="connsiteX1648" fmla="*/ 680146 w 1083508"/>
                <a:gd name="connsiteY1648" fmla="*/ 42682 h 1387660"/>
                <a:gd name="connsiteX1649" fmla="*/ 681286 w 1083508"/>
                <a:gd name="connsiteY1649" fmla="*/ 40890 h 1387660"/>
                <a:gd name="connsiteX1650" fmla="*/ 684218 w 1083508"/>
                <a:gd name="connsiteY1650" fmla="*/ 43334 h 1387660"/>
                <a:gd name="connsiteX1651" fmla="*/ 691712 w 1083508"/>
                <a:gd name="connsiteY1651" fmla="*/ 49199 h 1387660"/>
                <a:gd name="connsiteX1652" fmla="*/ 696762 w 1083508"/>
                <a:gd name="connsiteY1652" fmla="*/ 56855 h 1387660"/>
                <a:gd name="connsiteX1653" fmla="*/ 702790 w 1083508"/>
                <a:gd name="connsiteY1653" fmla="*/ 59951 h 1387660"/>
                <a:gd name="connsiteX1654" fmla="*/ 708655 w 1083508"/>
                <a:gd name="connsiteY1654" fmla="*/ 61091 h 1387660"/>
                <a:gd name="connsiteX1655" fmla="*/ 708655 w 1083508"/>
                <a:gd name="connsiteY1655" fmla="*/ 59299 h 1387660"/>
                <a:gd name="connsiteX1656" fmla="*/ 705722 w 1083508"/>
                <a:gd name="connsiteY1656" fmla="*/ 56855 h 1387660"/>
                <a:gd name="connsiteX1657" fmla="*/ 700020 w 1083508"/>
                <a:gd name="connsiteY1657" fmla="*/ 54575 h 1387660"/>
                <a:gd name="connsiteX1658" fmla="*/ 696111 w 1083508"/>
                <a:gd name="connsiteY1658" fmla="*/ 47569 h 1387660"/>
                <a:gd name="connsiteX1659" fmla="*/ 695133 w 1083508"/>
                <a:gd name="connsiteY1659" fmla="*/ 40890 h 1387660"/>
                <a:gd name="connsiteX1660" fmla="*/ 696437 w 1083508"/>
                <a:gd name="connsiteY1660" fmla="*/ 34211 h 1387660"/>
                <a:gd name="connsiteX1661" fmla="*/ 701161 w 1083508"/>
                <a:gd name="connsiteY1661" fmla="*/ 33722 h 1387660"/>
                <a:gd name="connsiteX1662" fmla="*/ 705885 w 1083508"/>
                <a:gd name="connsiteY1662" fmla="*/ 34048 h 1387660"/>
                <a:gd name="connsiteX1663" fmla="*/ 712564 w 1083508"/>
                <a:gd name="connsiteY1663" fmla="*/ 37958 h 1387660"/>
                <a:gd name="connsiteX1664" fmla="*/ 717615 w 1083508"/>
                <a:gd name="connsiteY1664" fmla="*/ 37958 h 1387660"/>
                <a:gd name="connsiteX1665" fmla="*/ 719407 w 1083508"/>
                <a:gd name="connsiteY1665" fmla="*/ 35840 h 1387660"/>
                <a:gd name="connsiteX1666" fmla="*/ 717778 w 1083508"/>
                <a:gd name="connsiteY1666" fmla="*/ 33233 h 1387660"/>
                <a:gd name="connsiteX1667" fmla="*/ 714357 w 1083508"/>
                <a:gd name="connsiteY1667" fmla="*/ 32093 h 1387660"/>
                <a:gd name="connsiteX1668" fmla="*/ 714357 w 1083508"/>
                <a:gd name="connsiteY1668" fmla="*/ 29649 h 1387660"/>
                <a:gd name="connsiteX1669" fmla="*/ 718429 w 1083508"/>
                <a:gd name="connsiteY1669" fmla="*/ 24111 h 1387660"/>
                <a:gd name="connsiteX1670" fmla="*/ 722176 w 1083508"/>
                <a:gd name="connsiteY1670" fmla="*/ 20852 h 1387660"/>
                <a:gd name="connsiteX1671" fmla="*/ 720710 w 1083508"/>
                <a:gd name="connsiteY1671" fmla="*/ 18572 h 1387660"/>
                <a:gd name="connsiteX1672" fmla="*/ 718918 w 1083508"/>
                <a:gd name="connsiteY1672" fmla="*/ 15476 h 1387660"/>
                <a:gd name="connsiteX1673" fmla="*/ 720384 w 1083508"/>
                <a:gd name="connsiteY1673" fmla="*/ 10915 h 1387660"/>
                <a:gd name="connsiteX1674" fmla="*/ 723479 w 1083508"/>
                <a:gd name="connsiteY1674" fmla="*/ 10100 h 1387660"/>
                <a:gd name="connsiteX1675" fmla="*/ 726738 w 1083508"/>
                <a:gd name="connsiteY1675" fmla="*/ 11078 h 1387660"/>
                <a:gd name="connsiteX1676" fmla="*/ 729018 w 1083508"/>
                <a:gd name="connsiteY1676" fmla="*/ 8308 h 1387660"/>
                <a:gd name="connsiteX1677" fmla="*/ 729996 w 1083508"/>
                <a:gd name="connsiteY1677" fmla="*/ 3258 h 1387660"/>
                <a:gd name="connsiteX1678" fmla="*/ 731625 w 1083508"/>
                <a:gd name="connsiteY1678" fmla="*/ 1303 h 1387660"/>
                <a:gd name="connsiteX1679" fmla="*/ 734557 w 1083508"/>
                <a:gd name="connsiteY1679" fmla="*/ 2281 h 1387660"/>
                <a:gd name="connsiteX1680" fmla="*/ 736675 w 1083508"/>
                <a:gd name="connsiteY1680" fmla="*/ 4073 h 1387660"/>
                <a:gd name="connsiteX1681" fmla="*/ 738467 w 1083508"/>
                <a:gd name="connsiteY1681" fmla="*/ 4561 h 1387660"/>
                <a:gd name="connsiteX1682" fmla="*/ 740748 w 1083508"/>
                <a:gd name="connsiteY1682" fmla="*/ 8145 h 1387660"/>
                <a:gd name="connsiteX1683" fmla="*/ 742377 w 1083508"/>
                <a:gd name="connsiteY1683" fmla="*/ 14010 h 1387660"/>
                <a:gd name="connsiteX1684" fmla="*/ 744820 w 1083508"/>
                <a:gd name="connsiteY1684" fmla="*/ 15802 h 1387660"/>
                <a:gd name="connsiteX1685" fmla="*/ 747427 w 1083508"/>
                <a:gd name="connsiteY1685" fmla="*/ 14010 h 1387660"/>
                <a:gd name="connsiteX1686" fmla="*/ 747427 w 1083508"/>
                <a:gd name="connsiteY1686" fmla="*/ 10752 h 1387660"/>
                <a:gd name="connsiteX1687" fmla="*/ 745798 w 1083508"/>
                <a:gd name="connsiteY1687" fmla="*/ 6516 h 1387660"/>
                <a:gd name="connsiteX1688" fmla="*/ 745798 w 1083508"/>
                <a:gd name="connsiteY1688" fmla="*/ 3095 h 1387660"/>
                <a:gd name="connsiteX1689" fmla="*/ 747753 w 1083508"/>
                <a:gd name="connsiteY1689" fmla="*/ 815 h 1387660"/>
                <a:gd name="connsiteX1690" fmla="*/ 751011 w 1083508"/>
                <a:gd name="connsiteY1690" fmla="*/ 0 h 1387660"/>
                <a:gd name="connsiteX1691" fmla="*/ 756713 w 1083508"/>
                <a:gd name="connsiteY1691" fmla="*/ 1303 h 1387660"/>
                <a:gd name="connsiteX1692" fmla="*/ 764858 w 1083508"/>
                <a:gd name="connsiteY1692" fmla="*/ 652 h 1387660"/>
                <a:gd name="connsiteX1693" fmla="*/ 768768 w 1083508"/>
                <a:gd name="connsiteY1693" fmla="*/ 2607 h 1387660"/>
                <a:gd name="connsiteX1694" fmla="*/ 769909 w 1083508"/>
                <a:gd name="connsiteY1694" fmla="*/ 4236 h 1387660"/>
                <a:gd name="connsiteX1695" fmla="*/ 771863 w 1083508"/>
                <a:gd name="connsiteY1695" fmla="*/ 3910 h 1387660"/>
                <a:gd name="connsiteX1696" fmla="*/ 774959 w 1083508"/>
                <a:gd name="connsiteY1696" fmla="*/ 1629 h 1387660"/>
                <a:gd name="connsiteX1697" fmla="*/ 779683 w 1083508"/>
                <a:gd name="connsiteY1697" fmla="*/ 3584 h 1387660"/>
                <a:gd name="connsiteX1698" fmla="*/ 788643 w 1083508"/>
                <a:gd name="connsiteY1698" fmla="*/ 3910 h 1387660"/>
                <a:gd name="connsiteX1699" fmla="*/ 791087 w 1083508"/>
                <a:gd name="connsiteY1699" fmla="*/ 6191 h 1387660"/>
                <a:gd name="connsiteX1700" fmla="*/ 794182 w 1083508"/>
                <a:gd name="connsiteY1700" fmla="*/ 6191 h 1387660"/>
                <a:gd name="connsiteX1701" fmla="*/ 797440 w 1083508"/>
                <a:gd name="connsiteY1701" fmla="*/ 4561 h 1387660"/>
                <a:gd name="connsiteX1702" fmla="*/ 800210 w 1083508"/>
                <a:gd name="connsiteY1702" fmla="*/ 6516 h 1387660"/>
                <a:gd name="connsiteX1703" fmla="*/ 801676 w 1083508"/>
                <a:gd name="connsiteY1703" fmla="*/ 9612 h 1387660"/>
                <a:gd name="connsiteX1704" fmla="*/ 808518 w 1083508"/>
                <a:gd name="connsiteY1704" fmla="*/ 14499 h 1387660"/>
                <a:gd name="connsiteX1705" fmla="*/ 811450 w 1083508"/>
                <a:gd name="connsiteY1705" fmla="*/ 13196 h 1387660"/>
                <a:gd name="connsiteX1706" fmla="*/ 811776 w 1083508"/>
                <a:gd name="connsiteY1706" fmla="*/ 11567 h 1387660"/>
                <a:gd name="connsiteX1707" fmla="*/ 814220 w 1083508"/>
                <a:gd name="connsiteY1707" fmla="*/ 11241 h 1387660"/>
                <a:gd name="connsiteX1708" fmla="*/ 822202 w 1083508"/>
                <a:gd name="connsiteY1708" fmla="*/ 16291 h 1387660"/>
                <a:gd name="connsiteX1709" fmla="*/ 825298 w 1083508"/>
                <a:gd name="connsiteY1709" fmla="*/ 16291 h 1387660"/>
                <a:gd name="connsiteX1710" fmla="*/ 830674 w 1083508"/>
                <a:gd name="connsiteY1710" fmla="*/ 21504 h 1387660"/>
                <a:gd name="connsiteX1711" fmla="*/ 840611 w 1083508"/>
                <a:gd name="connsiteY1711" fmla="*/ 22156 h 1387660"/>
                <a:gd name="connsiteX1712" fmla="*/ 843381 w 1083508"/>
                <a:gd name="connsiteY1712" fmla="*/ 23948 h 1387660"/>
                <a:gd name="connsiteX1713" fmla="*/ 849082 w 1083508"/>
                <a:gd name="connsiteY1713" fmla="*/ 22807 h 1387660"/>
                <a:gd name="connsiteX1714" fmla="*/ 850874 w 1083508"/>
                <a:gd name="connsiteY1714" fmla="*/ 24599 h 1387660"/>
                <a:gd name="connsiteX1715" fmla="*/ 852829 w 1083508"/>
                <a:gd name="connsiteY1715" fmla="*/ 27206 h 1387660"/>
                <a:gd name="connsiteX1716" fmla="*/ 857717 w 1083508"/>
                <a:gd name="connsiteY1716" fmla="*/ 25577 h 1387660"/>
                <a:gd name="connsiteX1717" fmla="*/ 861952 w 1083508"/>
                <a:gd name="connsiteY1717" fmla="*/ 26554 h 1387660"/>
                <a:gd name="connsiteX1718" fmla="*/ 865862 w 1083508"/>
                <a:gd name="connsiteY1718" fmla="*/ 30301 h 1387660"/>
                <a:gd name="connsiteX1719" fmla="*/ 873845 w 1083508"/>
                <a:gd name="connsiteY1719" fmla="*/ 32582 h 1387660"/>
                <a:gd name="connsiteX1720" fmla="*/ 879058 w 1083508"/>
                <a:gd name="connsiteY1720" fmla="*/ 36329 h 1387660"/>
                <a:gd name="connsiteX1721" fmla="*/ 881338 w 1083508"/>
                <a:gd name="connsiteY1721" fmla="*/ 41053 h 1387660"/>
                <a:gd name="connsiteX1722" fmla="*/ 885248 w 1083508"/>
                <a:gd name="connsiteY1722" fmla="*/ 43171 h 1387660"/>
                <a:gd name="connsiteX1723" fmla="*/ 892416 w 1083508"/>
                <a:gd name="connsiteY1723" fmla="*/ 47732 h 1387660"/>
                <a:gd name="connsiteX1724" fmla="*/ 892090 w 1083508"/>
                <a:gd name="connsiteY1724" fmla="*/ 50502 h 1387660"/>
                <a:gd name="connsiteX1725" fmla="*/ 889321 w 1083508"/>
                <a:gd name="connsiteY1725" fmla="*/ 54412 h 1387660"/>
                <a:gd name="connsiteX1726" fmla="*/ 885085 w 1083508"/>
                <a:gd name="connsiteY1726" fmla="*/ 54086 h 1387660"/>
                <a:gd name="connsiteX1727" fmla="*/ 881013 w 1083508"/>
                <a:gd name="connsiteY1727" fmla="*/ 53271 h 1387660"/>
                <a:gd name="connsiteX1728" fmla="*/ 877592 w 1083508"/>
                <a:gd name="connsiteY1728" fmla="*/ 55389 h 1387660"/>
                <a:gd name="connsiteX1729" fmla="*/ 874822 w 1083508"/>
                <a:gd name="connsiteY1729" fmla="*/ 58484 h 1387660"/>
                <a:gd name="connsiteX1730" fmla="*/ 870749 w 1083508"/>
                <a:gd name="connsiteY1730" fmla="*/ 58484 h 1387660"/>
                <a:gd name="connsiteX1731" fmla="*/ 868957 w 1083508"/>
                <a:gd name="connsiteY1731" fmla="*/ 57996 h 1387660"/>
                <a:gd name="connsiteX1732" fmla="*/ 864233 w 1083508"/>
                <a:gd name="connsiteY1732" fmla="*/ 59462 h 1387660"/>
                <a:gd name="connsiteX1733" fmla="*/ 858857 w 1083508"/>
                <a:gd name="connsiteY1733" fmla="*/ 59136 h 1387660"/>
                <a:gd name="connsiteX1734" fmla="*/ 849082 w 1083508"/>
                <a:gd name="connsiteY1734" fmla="*/ 54575 h 1387660"/>
                <a:gd name="connsiteX1735" fmla="*/ 844358 w 1083508"/>
                <a:gd name="connsiteY1735" fmla="*/ 53108 h 1387660"/>
                <a:gd name="connsiteX1736" fmla="*/ 841263 w 1083508"/>
                <a:gd name="connsiteY1736" fmla="*/ 53108 h 1387660"/>
                <a:gd name="connsiteX1737" fmla="*/ 837027 w 1083508"/>
                <a:gd name="connsiteY1737" fmla="*/ 51479 h 1387660"/>
                <a:gd name="connsiteX1738" fmla="*/ 831488 w 1083508"/>
                <a:gd name="connsiteY1738" fmla="*/ 51479 h 1387660"/>
                <a:gd name="connsiteX1739" fmla="*/ 829045 w 1083508"/>
                <a:gd name="connsiteY1739" fmla="*/ 53434 h 1387660"/>
                <a:gd name="connsiteX1740" fmla="*/ 825786 w 1083508"/>
                <a:gd name="connsiteY1740" fmla="*/ 53434 h 1387660"/>
                <a:gd name="connsiteX1741" fmla="*/ 823994 w 1083508"/>
                <a:gd name="connsiteY1741" fmla="*/ 51642 h 1387660"/>
                <a:gd name="connsiteX1742" fmla="*/ 818781 w 1083508"/>
                <a:gd name="connsiteY1742" fmla="*/ 51642 h 1387660"/>
                <a:gd name="connsiteX1743" fmla="*/ 811287 w 1083508"/>
                <a:gd name="connsiteY1743" fmla="*/ 55389 h 1387660"/>
                <a:gd name="connsiteX1744" fmla="*/ 807866 w 1083508"/>
                <a:gd name="connsiteY1744" fmla="*/ 56855 h 1387660"/>
                <a:gd name="connsiteX1745" fmla="*/ 803468 w 1083508"/>
                <a:gd name="connsiteY1745" fmla="*/ 55226 h 1387660"/>
                <a:gd name="connsiteX1746" fmla="*/ 799558 w 1083508"/>
                <a:gd name="connsiteY1746" fmla="*/ 55226 h 1387660"/>
                <a:gd name="connsiteX1747" fmla="*/ 793530 w 1083508"/>
                <a:gd name="connsiteY1747" fmla="*/ 58159 h 1387660"/>
                <a:gd name="connsiteX1748" fmla="*/ 786688 w 1083508"/>
                <a:gd name="connsiteY1748" fmla="*/ 57670 h 1387660"/>
                <a:gd name="connsiteX1749" fmla="*/ 783919 w 1083508"/>
                <a:gd name="connsiteY1749" fmla="*/ 54086 h 1387660"/>
                <a:gd name="connsiteX1750" fmla="*/ 783430 w 1083508"/>
                <a:gd name="connsiteY1750" fmla="*/ 49036 h 1387660"/>
                <a:gd name="connsiteX1751" fmla="*/ 786037 w 1083508"/>
                <a:gd name="connsiteY1751" fmla="*/ 47407 h 1387660"/>
                <a:gd name="connsiteX1752" fmla="*/ 788480 w 1083508"/>
                <a:gd name="connsiteY1752" fmla="*/ 47081 h 1387660"/>
                <a:gd name="connsiteX1753" fmla="*/ 789458 w 1083508"/>
                <a:gd name="connsiteY1753" fmla="*/ 44311 h 1387660"/>
                <a:gd name="connsiteX1754" fmla="*/ 787992 w 1083508"/>
                <a:gd name="connsiteY1754" fmla="*/ 42519 h 1387660"/>
                <a:gd name="connsiteX1755" fmla="*/ 784245 w 1083508"/>
                <a:gd name="connsiteY1755" fmla="*/ 42031 h 1387660"/>
                <a:gd name="connsiteX1756" fmla="*/ 780498 w 1083508"/>
                <a:gd name="connsiteY1756" fmla="*/ 43008 h 1387660"/>
                <a:gd name="connsiteX1757" fmla="*/ 775936 w 1083508"/>
                <a:gd name="connsiteY1757" fmla="*/ 46918 h 1387660"/>
                <a:gd name="connsiteX1758" fmla="*/ 776425 w 1083508"/>
                <a:gd name="connsiteY1758" fmla="*/ 51316 h 1387660"/>
                <a:gd name="connsiteX1759" fmla="*/ 779357 w 1083508"/>
                <a:gd name="connsiteY1759" fmla="*/ 55226 h 1387660"/>
                <a:gd name="connsiteX1760" fmla="*/ 782290 w 1083508"/>
                <a:gd name="connsiteY1760" fmla="*/ 55715 h 1387660"/>
                <a:gd name="connsiteX1761" fmla="*/ 781149 w 1083508"/>
                <a:gd name="connsiteY1761" fmla="*/ 58647 h 1387660"/>
                <a:gd name="connsiteX1762" fmla="*/ 777565 w 1083508"/>
                <a:gd name="connsiteY1762" fmla="*/ 61254 h 1387660"/>
                <a:gd name="connsiteX1763" fmla="*/ 774959 w 1083508"/>
                <a:gd name="connsiteY1763" fmla="*/ 60765 h 1387660"/>
                <a:gd name="connsiteX1764" fmla="*/ 771212 w 1083508"/>
                <a:gd name="connsiteY1764" fmla="*/ 60765 h 1387660"/>
                <a:gd name="connsiteX1765" fmla="*/ 765510 w 1083508"/>
                <a:gd name="connsiteY1765" fmla="*/ 61091 h 1387660"/>
                <a:gd name="connsiteX1766" fmla="*/ 764044 w 1083508"/>
                <a:gd name="connsiteY1766" fmla="*/ 62557 h 1387660"/>
                <a:gd name="connsiteX1767" fmla="*/ 758994 w 1083508"/>
                <a:gd name="connsiteY1767" fmla="*/ 63046 h 1387660"/>
                <a:gd name="connsiteX1768" fmla="*/ 753618 w 1083508"/>
                <a:gd name="connsiteY1768" fmla="*/ 61580 h 1387660"/>
                <a:gd name="connsiteX1769" fmla="*/ 747101 w 1083508"/>
                <a:gd name="connsiteY1769" fmla="*/ 61580 h 1387660"/>
                <a:gd name="connsiteX1770" fmla="*/ 740748 w 1083508"/>
                <a:gd name="connsiteY1770" fmla="*/ 64675 h 1387660"/>
                <a:gd name="connsiteX1771" fmla="*/ 731299 w 1083508"/>
                <a:gd name="connsiteY1771" fmla="*/ 70540 h 1387660"/>
                <a:gd name="connsiteX1772" fmla="*/ 730485 w 1083508"/>
                <a:gd name="connsiteY1772" fmla="*/ 74287 h 1387660"/>
                <a:gd name="connsiteX1773" fmla="*/ 730810 w 1083508"/>
                <a:gd name="connsiteY1773" fmla="*/ 80803 h 1387660"/>
                <a:gd name="connsiteX1774" fmla="*/ 728693 w 1083508"/>
                <a:gd name="connsiteY1774" fmla="*/ 84713 h 1387660"/>
                <a:gd name="connsiteX1775" fmla="*/ 728367 w 1083508"/>
                <a:gd name="connsiteY1775" fmla="*/ 87645 h 1387660"/>
                <a:gd name="connsiteX1776" fmla="*/ 729670 w 1083508"/>
                <a:gd name="connsiteY1776" fmla="*/ 89437 h 1387660"/>
                <a:gd name="connsiteX1777" fmla="*/ 733417 w 1083508"/>
                <a:gd name="connsiteY1777" fmla="*/ 87971 h 1387660"/>
                <a:gd name="connsiteX1778" fmla="*/ 733743 w 1083508"/>
                <a:gd name="connsiteY1778" fmla="*/ 83247 h 1387660"/>
                <a:gd name="connsiteX1779" fmla="*/ 734883 w 1083508"/>
                <a:gd name="connsiteY1779" fmla="*/ 80314 h 1387660"/>
                <a:gd name="connsiteX1780" fmla="*/ 734883 w 1083508"/>
                <a:gd name="connsiteY1780" fmla="*/ 78359 h 1387660"/>
                <a:gd name="connsiteX1781" fmla="*/ 737490 w 1083508"/>
                <a:gd name="connsiteY1781" fmla="*/ 76079 h 1387660"/>
                <a:gd name="connsiteX1782" fmla="*/ 742703 w 1083508"/>
                <a:gd name="connsiteY1782" fmla="*/ 76079 h 1387660"/>
                <a:gd name="connsiteX1783" fmla="*/ 745798 w 1083508"/>
                <a:gd name="connsiteY1783" fmla="*/ 75264 h 1387660"/>
                <a:gd name="connsiteX1784" fmla="*/ 746776 w 1083508"/>
                <a:gd name="connsiteY1784" fmla="*/ 76893 h 1387660"/>
                <a:gd name="connsiteX1785" fmla="*/ 745635 w 1083508"/>
                <a:gd name="connsiteY1785" fmla="*/ 80151 h 1387660"/>
                <a:gd name="connsiteX1786" fmla="*/ 743843 w 1083508"/>
                <a:gd name="connsiteY1786" fmla="*/ 84550 h 1387660"/>
                <a:gd name="connsiteX1787" fmla="*/ 744332 w 1083508"/>
                <a:gd name="connsiteY1787" fmla="*/ 86342 h 1387660"/>
                <a:gd name="connsiteX1788" fmla="*/ 745798 w 1083508"/>
                <a:gd name="connsiteY1788" fmla="*/ 86342 h 1387660"/>
                <a:gd name="connsiteX1789" fmla="*/ 748242 w 1083508"/>
                <a:gd name="connsiteY1789" fmla="*/ 83084 h 1387660"/>
                <a:gd name="connsiteX1790" fmla="*/ 750034 w 1083508"/>
                <a:gd name="connsiteY1790" fmla="*/ 75753 h 1387660"/>
                <a:gd name="connsiteX1791" fmla="*/ 753455 w 1083508"/>
                <a:gd name="connsiteY1791" fmla="*/ 71028 h 1387660"/>
                <a:gd name="connsiteX1792" fmla="*/ 758831 w 1083508"/>
                <a:gd name="connsiteY1792" fmla="*/ 68259 h 1387660"/>
                <a:gd name="connsiteX1793" fmla="*/ 761926 w 1083508"/>
                <a:gd name="connsiteY1793" fmla="*/ 68748 h 1387660"/>
                <a:gd name="connsiteX1794" fmla="*/ 768279 w 1083508"/>
                <a:gd name="connsiteY1794" fmla="*/ 68259 h 1387660"/>
                <a:gd name="connsiteX1795" fmla="*/ 772841 w 1083508"/>
                <a:gd name="connsiteY1795" fmla="*/ 68259 h 1387660"/>
                <a:gd name="connsiteX1796" fmla="*/ 776425 w 1083508"/>
                <a:gd name="connsiteY1796" fmla="*/ 66793 h 1387660"/>
                <a:gd name="connsiteX1797" fmla="*/ 778217 w 1083508"/>
                <a:gd name="connsiteY1797" fmla="*/ 67607 h 1387660"/>
                <a:gd name="connsiteX1798" fmla="*/ 779683 w 1083508"/>
                <a:gd name="connsiteY1798" fmla="*/ 70703 h 1387660"/>
                <a:gd name="connsiteX1799" fmla="*/ 782615 w 1083508"/>
                <a:gd name="connsiteY1799" fmla="*/ 77056 h 1387660"/>
                <a:gd name="connsiteX1800" fmla="*/ 784896 w 1083508"/>
                <a:gd name="connsiteY1800" fmla="*/ 78685 h 1387660"/>
                <a:gd name="connsiteX1801" fmla="*/ 786851 w 1083508"/>
                <a:gd name="connsiteY1801" fmla="*/ 78359 h 1387660"/>
                <a:gd name="connsiteX1802" fmla="*/ 786851 w 1083508"/>
                <a:gd name="connsiteY1802" fmla="*/ 75264 h 1387660"/>
                <a:gd name="connsiteX1803" fmla="*/ 785222 w 1083508"/>
                <a:gd name="connsiteY1803" fmla="*/ 69236 h 1387660"/>
                <a:gd name="connsiteX1804" fmla="*/ 786851 w 1083508"/>
                <a:gd name="connsiteY1804" fmla="*/ 67933 h 1387660"/>
                <a:gd name="connsiteX1805" fmla="*/ 792390 w 1083508"/>
                <a:gd name="connsiteY1805" fmla="*/ 66956 h 1387660"/>
                <a:gd name="connsiteX1806" fmla="*/ 796463 w 1083508"/>
                <a:gd name="connsiteY1806" fmla="*/ 67770 h 1387660"/>
                <a:gd name="connsiteX1807" fmla="*/ 802490 w 1083508"/>
                <a:gd name="connsiteY1807" fmla="*/ 66630 h 1387660"/>
                <a:gd name="connsiteX1808" fmla="*/ 808844 w 1083508"/>
                <a:gd name="connsiteY1808" fmla="*/ 65978 h 1387660"/>
                <a:gd name="connsiteX1809" fmla="*/ 816012 w 1083508"/>
                <a:gd name="connsiteY1809" fmla="*/ 63372 h 1387660"/>
                <a:gd name="connsiteX1810" fmla="*/ 820899 w 1083508"/>
                <a:gd name="connsiteY1810" fmla="*/ 61743 h 1387660"/>
                <a:gd name="connsiteX1811" fmla="*/ 830022 w 1083508"/>
                <a:gd name="connsiteY1811" fmla="*/ 60928 h 1387660"/>
                <a:gd name="connsiteX1812" fmla="*/ 836864 w 1083508"/>
                <a:gd name="connsiteY1812" fmla="*/ 62231 h 1387660"/>
                <a:gd name="connsiteX1813" fmla="*/ 841914 w 1083508"/>
                <a:gd name="connsiteY1813" fmla="*/ 65164 h 1387660"/>
                <a:gd name="connsiteX1814" fmla="*/ 846476 w 1083508"/>
                <a:gd name="connsiteY1814" fmla="*/ 66304 h 1387660"/>
                <a:gd name="connsiteX1815" fmla="*/ 850060 w 1083508"/>
                <a:gd name="connsiteY1815" fmla="*/ 68096 h 1387660"/>
                <a:gd name="connsiteX1816" fmla="*/ 854784 w 1083508"/>
                <a:gd name="connsiteY1816" fmla="*/ 69236 h 1387660"/>
                <a:gd name="connsiteX1817" fmla="*/ 858531 w 1083508"/>
                <a:gd name="connsiteY1817" fmla="*/ 72006 h 1387660"/>
                <a:gd name="connsiteX1818" fmla="*/ 861463 w 1083508"/>
                <a:gd name="connsiteY1818" fmla="*/ 73146 h 1387660"/>
                <a:gd name="connsiteX1819" fmla="*/ 864396 w 1083508"/>
                <a:gd name="connsiteY1819" fmla="*/ 71680 h 1387660"/>
                <a:gd name="connsiteX1820" fmla="*/ 868143 w 1083508"/>
                <a:gd name="connsiteY1820" fmla="*/ 70703 h 1387660"/>
                <a:gd name="connsiteX1821" fmla="*/ 870424 w 1083508"/>
                <a:gd name="connsiteY1821" fmla="*/ 72006 h 1387660"/>
                <a:gd name="connsiteX1822" fmla="*/ 872216 w 1083508"/>
                <a:gd name="connsiteY1822" fmla="*/ 74612 h 1387660"/>
                <a:gd name="connsiteX1823" fmla="*/ 874659 w 1083508"/>
                <a:gd name="connsiteY1823" fmla="*/ 74287 h 1387660"/>
                <a:gd name="connsiteX1824" fmla="*/ 878895 w 1083508"/>
                <a:gd name="connsiteY1824" fmla="*/ 70540 h 1387660"/>
                <a:gd name="connsiteX1825" fmla="*/ 882153 w 1083508"/>
                <a:gd name="connsiteY1825" fmla="*/ 70540 h 1387660"/>
                <a:gd name="connsiteX1826" fmla="*/ 886714 w 1083508"/>
                <a:gd name="connsiteY1826" fmla="*/ 71028 h 1387660"/>
                <a:gd name="connsiteX1827" fmla="*/ 893394 w 1083508"/>
                <a:gd name="connsiteY1827" fmla="*/ 67281 h 1387660"/>
                <a:gd name="connsiteX1828" fmla="*/ 897141 w 1083508"/>
                <a:gd name="connsiteY1828" fmla="*/ 63372 h 1387660"/>
                <a:gd name="connsiteX1829" fmla="*/ 899747 w 1083508"/>
                <a:gd name="connsiteY1829" fmla="*/ 62720 h 1387660"/>
                <a:gd name="connsiteX1830" fmla="*/ 901865 w 1083508"/>
                <a:gd name="connsiteY1830" fmla="*/ 63860 h 1387660"/>
                <a:gd name="connsiteX1831" fmla="*/ 905286 w 1083508"/>
                <a:gd name="connsiteY1831" fmla="*/ 68096 h 1387660"/>
                <a:gd name="connsiteX1832" fmla="*/ 909522 w 1083508"/>
                <a:gd name="connsiteY1832" fmla="*/ 71028 h 1387660"/>
                <a:gd name="connsiteX1833" fmla="*/ 909522 w 1083508"/>
                <a:gd name="connsiteY1833" fmla="*/ 72657 h 1387660"/>
                <a:gd name="connsiteX1834" fmla="*/ 907241 w 1083508"/>
                <a:gd name="connsiteY1834" fmla="*/ 75264 h 1387660"/>
                <a:gd name="connsiteX1835" fmla="*/ 906915 w 1083508"/>
                <a:gd name="connsiteY1835" fmla="*/ 77545 h 1387660"/>
                <a:gd name="connsiteX1836" fmla="*/ 909359 w 1083508"/>
                <a:gd name="connsiteY1836" fmla="*/ 79174 h 1387660"/>
                <a:gd name="connsiteX1837" fmla="*/ 910499 w 1083508"/>
                <a:gd name="connsiteY1837" fmla="*/ 81129 h 1387660"/>
                <a:gd name="connsiteX1838" fmla="*/ 910499 w 1083508"/>
                <a:gd name="connsiteY1838" fmla="*/ 84387 h 1387660"/>
                <a:gd name="connsiteX1839" fmla="*/ 903657 w 1083508"/>
                <a:gd name="connsiteY1839" fmla="*/ 90252 h 1387660"/>
                <a:gd name="connsiteX1840" fmla="*/ 896163 w 1083508"/>
                <a:gd name="connsiteY1840" fmla="*/ 92532 h 1387660"/>
                <a:gd name="connsiteX1841" fmla="*/ 892253 w 1083508"/>
                <a:gd name="connsiteY1841" fmla="*/ 91392 h 1387660"/>
                <a:gd name="connsiteX1842" fmla="*/ 888181 w 1083508"/>
                <a:gd name="connsiteY1842" fmla="*/ 88948 h 1387660"/>
                <a:gd name="connsiteX1843" fmla="*/ 885411 w 1083508"/>
                <a:gd name="connsiteY1843" fmla="*/ 86016 h 1387660"/>
                <a:gd name="connsiteX1844" fmla="*/ 883782 w 1083508"/>
                <a:gd name="connsiteY1844" fmla="*/ 87482 h 1387660"/>
                <a:gd name="connsiteX1845" fmla="*/ 884108 w 1083508"/>
                <a:gd name="connsiteY1845" fmla="*/ 90740 h 1387660"/>
                <a:gd name="connsiteX1846" fmla="*/ 888506 w 1083508"/>
                <a:gd name="connsiteY1846" fmla="*/ 94487 h 1387660"/>
                <a:gd name="connsiteX1847" fmla="*/ 888995 w 1083508"/>
                <a:gd name="connsiteY1847" fmla="*/ 96442 h 1387660"/>
                <a:gd name="connsiteX1848" fmla="*/ 888181 w 1083508"/>
                <a:gd name="connsiteY1848" fmla="*/ 97583 h 1387660"/>
                <a:gd name="connsiteX1849" fmla="*/ 883456 w 1083508"/>
                <a:gd name="connsiteY1849" fmla="*/ 95953 h 1387660"/>
                <a:gd name="connsiteX1850" fmla="*/ 880850 w 1083508"/>
                <a:gd name="connsiteY1850" fmla="*/ 93184 h 1387660"/>
                <a:gd name="connsiteX1851" fmla="*/ 878243 w 1083508"/>
                <a:gd name="connsiteY1851" fmla="*/ 93184 h 1387660"/>
                <a:gd name="connsiteX1852" fmla="*/ 878080 w 1083508"/>
                <a:gd name="connsiteY1852" fmla="*/ 96279 h 1387660"/>
                <a:gd name="connsiteX1853" fmla="*/ 880035 w 1083508"/>
                <a:gd name="connsiteY1853" fmla="*/ 99375 h 1387660"/>
                <a:gd name="connsiteX1854" fmla="*/ 883782 w 1083508"/>
                <a:gd name="connsiteY1854" fmla="*/ 100841 h 1387660"/>
                <a:gd name="connsiteX1855" fmla="*/ 888832 w 1083508"/>
                <a:gd name="connsiteY1855" fmla="*/ 101329 h 1387660"/>
                <a:gd name="connsiteX1856" fmla="*/ 894045 w 1083508"/>
                <a:gd name="connsiteY1856" fmla="*/ 103610 h 1387660"/>
                <a:gd name="connsiteX1857" fmla="*/ 897955 w 1083508"/>
                <a:gd name="connsiteY1857" fmla="*/ 102959 h 1387660"/>
                <a:gd name="connsiteX1858" fmla="*/ 905449 w 1083508"/>
                <a:gd name="connsiteY1858" fmla="*/ 99375 h 1387660"/>
                <a:gd name="connsiteX1859" fmla="*/ 908219 w 1083508"/>
                <a:gd name="connsiteY1859" fmla="*/ 99375 h 1387660"/>
                <a:gd name="connsiteX1860" fmla="*/ 910173 w 1083508"/>
                <a:gd name="connsiteY1860" fmla="*/ 101329 h 1387660"/>
                <a:gd name="connsiteX1861" fmla="*/ 910499 w 1083508"/>
                <a:gd name="connsiteY1861" fmla="*/ 99375 h 1387660"/>
                <a:gd name="connsiteX1862" fmla="*/ 910499 w 1083508"/>
                <a:gd name="connsiteY1862" fmla="*/ 96116 h 1387660"/>
                <a:gd name="connsiteX1863" fmla="*/ 914572 w 1083508"/>
                <a:gd name="connsiteY1863" fmla="*/ 95302 h 1387660"/>
                <a:gd name="connsiteX1864" fmla="*/ 925161 w 1083508"/>
                <a:gd name="connsiteY1864" fmla="*/ 95628 h 1387660"/>
                <a:gd name="connsiteX1865" fmla="*/ 927768 w 1083508"/>
                <a:gd name="connsiteY1865" fmla="*/ 97420 h 1387660"/>
                <a:gd name="connsiteX1866" fmla="*/ 928582 w 1083508"/>
                <a:gd name="connsiteY1866" fmla="*/ 100352 h 1387660"/>
                <a:gd name="connsiteX1867" fmla="*/ 931026 w 1083508"/>
                <a:gd name="connsiteY1867" fmla="*/ 101818 h 1387660"/>
                <a:gd name="connsiteX1868" fmla="*/ 933958 w 1083508"/>
                <a:gd name="connsiteY1868" fmla="*/ 101004 h 1387660"/>
                <a:gd name="connsiteX1869" fmla="*/ 935261 w 1083508"/>
                <a:gd name="connsiteY1869" fmla="*/ 99537 h 1387660"/>
                <a:gd name="connsiteX1870" fmla="*/ 937705 w 1083508"/>
                <a:gd name="connsiteY1870" fmla="*/ 100515 h 1387660"/>
                <a:gd name="connsiteX1871" fmla="*/ 938845 w 1083508"/>
                <a:gd name="connsiteY1871" fmla="*/ 103936 h 1387660"/>
                <a:gd name="connsiteX1872" fmla="*/ 941941 w 1083508"/>
                <a:gd name="connsiteY1872" fmla="*/ 106868 h 1387660"/>
                <a:gd name="connsiteX1873" fmla="*/ 948783 w 1083508"/>
                <a:gd name="connsiteY1873" fmla="*/ 108009 h 1387660"/>
                <a:gd name="connsiteX1874" fmla="*/ 951389 w 1083508"/>
                <a:gd name="connsiteY1874" fmla="*/ 110452 h 1387660"/>
                <a:gd name="connsiteX1875" fmla="*/ 952041 w 1083508"/>
                <a:gd name="connsiteY1875" fmla="*/ 113385 h 1387660"/>
                <a:gd name="connsiteX1876" fmla="*/ 956928 w 1083508"/>
                <a:gd name="connsiteY1876" fmla="*/ 117620 h 1387660"/>
                <a:gd name="connsiteX1877" fmla="*/ 962956 w 1083508"/>
                <a:gd name="connsiteY1877" fmla="*/ 120064 h 1387660"/>
                <a:gd name="connsiteX1878" fmla="*/ 967843 w 1083508"/>
                <a:gd name="connsiteY1878" fmla="*/ 123974 h 1387660"/>
                <a:gd name="connsiteX1879" fmla="*/ 968658 w 1083508"/>
                <a:gd name="connsiteY1879" fmla="*/ 126255 h 1387660"/>
                <a:gd name="connsiteX1880" fmla="*/ 968658 w 1083508"/>
                <a:gd name="connsiteY1880" fmla="*/ 130979 h 1387660"/>
                <a:gd name="connsiteX1881" fmla="*/ 966703 w 1083508"/>
                <a:gd name="connsiteY1881" fmla="*/ 132445 h 1387660"/>
                <a:gd name="connsiteX1882" fmla="*/ 966051 w 1083508"/>
                <a:gd name="connsiteY1882" fmla="*/ 135052 h 1387660"/>
                <a:gd name="connsiteX1883" fmla="*/ 966051 w 1083508"/>
                <a:gd name="connsiteY1883" fmla="*/ 138473 h 1387660"/>
                <a:gd name="connsiteX1884" fmla="*/ 962956 w 1083508"/>
                <a:gd name="connsiteY1884" fmla="*/ 140102 h 1387660"/>
                <a:gd name="connsiteX1885" fmla="*/ 958232 w 1083508"/>
                <a:gd name="connsiteY1885" fmla="*/ 143686 h 1387660"/>
                <a:gd name="connsiteX1886" fmla="*/ 954485 w 1083508"/>
                <a:gd name="connsiteY1886" fmla="*/ 144663 h 1387660"/>
                <a:gd name="connsiteX1887" fmla="*/ 952367 w 1083508"/>
                <a:gd name="connsiteY1887" fmla="*/ 143686 h 1387660"/>
                <a:gd name="connsiteX1888" fmla="*/ 950575 w 1083508"/>
                <a:gd name="connsiteY1888" fmla="*/ 144663 h 1387660"/>
                <a:gd name="connsiteX1889" fmla="*/ 950575 w 1083508"/>
                <a:gd name="connsiteY1889" fmla="*/ 147107 h 1387660"/>
                <a:gd name="connsiteX1890" fmla="*/ 949271 w 1083508"/>
                <a:gd name="connsiteY1890" fmla="*/ 148899 h 1387660"/>
                <a:gd name="connsiteX1891" fmla="*/ 944873 w 1083508"/>
                <a:gd name="connsiteY1891" fmla="*/ 151668 h 1387660"/>
                <a:gd name="connsiteX1892" fmla="*/ 936076 w 1083508"/>
                <a:gd name="connsiteY1892" fmla="*/ 155415 h 1387660"/>
                <a:gd name="connsiteX1893" fmla="*/ 929560 w 1083508"/>
                <a:gd name="connsiteY1893" fmla="*/ 155741 h 1387660"/>
                <a:gd name="connsiteX1894" fmla="*/ 927605 w 1083508"/>
                <a:gd name="connsiteY1894" fmla="*/ 156719 h 1387660"/>
                <a:gd name="connsiteX1895" fmla="*/ 923858 w 1083508"/>
                <a:gd name="connsiteY1895" fmla="*/ 156719 h 1387660"/>
                <a:gd name="connsiteX1896" fmla="*/ 921251 w 1083508"/>
                <a:gd name="connsiteY1896" fmla="*/ 153786 h 1387660"/>
                <a:gd name="connsiteX1897" fmla="*/ 919296 w 1083508"/>
                <a:gd name="connsiteY1897" fmla="*/ 151994 h 1387660"/>
                <a:gd name="connsiteX1898" fmla="*/ 917667 w 1083508"/>
                <a:gd name="connsiteY1898" fmla="*/ 152646 h 1387660"/>
                <a:gd name="connsiteX1899" fmla="*/ 917667 w 1083508"/>
                <a:gd name="connsiteY1899" fmla="*/ 155252 h 1387660"/>
                <a:gd name="connsiteX1900" fmla="*/ 920274 w 1083508"/>
                <a:gd name="connsiteY1900" fmla="*/ 156719 h 1387660"/>
                <a:gd name="connsiteX1901" fmla="*/ 919785 w 1083508"/>
                <a:gd name="connsiteY1901" fmla="*/ 158511 h 1387660"/>
                <a:gd name="connsiteX1902" fmla="*/ 915224 w 1083508"/>
                <a:gd name="connsiteY1902" fmla="*/ 158511 h 1387660"/>
                <a:gd name="connsiteX1903" fmla="*/ 910662 w 1083508"/>
                <a:gd name="connsiteY1903" fmla="*/ 157207 h 1387660"/>
                <a:gd name="connsiteX1904" fmla="*/ 906752 w 1083508"/>
                <a:gd name="connsiteY1904" fmla="*/ 159488 h 1387660"/>
                <a:gd name="connsiteX1905" fmla="*/ 904797 w 1083508"/>
                <a:gd name="connsiteY1905" fmla="*/ 159488 h 1387660"/>
                <a:gd name="connsiteX1906" fmla="*/ 901702 w 1083508"/>
                <a:gd name="connsiteY1906" fmla="*/ 157370 h 1387660"/>
                <a:gd name="connsiteX1907" fmla="*/ 896652 w 1083508"/>
                <a:gd name="connsiteY1907" fmla="*/ 157370 h 1387660"/>
                <a:gd name="connsiteX1908" fmla="*/ 893394 w 1083508"/>
                <a:gd name="connsiteY1908" fmla="*/ 159814 h 1387660"/>
                <a:gd name="connsiteX1909" fmla="*/ 886877 w 1083508"/>
                <a:gd name="connsiteY1909" fmla="*/ 162583 h 1387660"/>
                <a:gd name="connsiteX1910" fmla="*/ 883130 w 1083508"/>
                <a:gd name="connsiteY1910" fmla="*/ 162583 h 1387660"/>
                <a:gd name="connsiteX1911" fmla="*/ 880687 w 1083508"/>
                <a:gd name="connsiteY1911" fmla="*/ 160791 h 1387660"/>
                <a:gd name="connsiteX1912" fmla="*/ 876777 w 1083508"/>
                <a:gd name="connsiteY1912" fmla="*/ 160791 h 1387660"/>
                <a:gd name="connsiteX1913" fmla="*/ 872704 w 1083508"/>
                <a:gd name="connsiteY1913" fmla="*/ 159325 h 1387660"/>
                <a:gd name="connsiteX1914" fmla="*/ 869283 w 1083508"/>
                <a:gd name="connsiteY1914" fmla="*/ 158999 h 1387660"/>
                <a:gd name="connsiteX1915" fmla="*/ 867328 w 1083508"/>
                <a:gd name="connsiteY1915" fmla="*/ 160791 h 1387660"/>
                <a:gd name="connsiteX1916" fmla="*/ 862115 w 1083508"/>
                <a:gd name="connsiteY1916" fmla="*/ 161769 h 1387660"/>
                <a:gd name="connsiteX1917" fmla="*/ 858694 w 1083508"/>
                <a:gd name="connsiteY1917" fmla="*/ 160628 h 1387660"/>
                <a:gd name="connsiteX1918" fmla="*/ 852666 w 1083508"/>
                <a:gd name="connsiteY1918" fmla="*/ 156230 h 1387660"/>
                <a:gd name="connsiteX1919" fmla="*/ 850223 w 1083508"/>
                <a:gd name="connsiteY1919" fmla="*/ 156230 h 1387660"/>
                <a:gd name="connsiteX1920" fmla="*/ 848919 w 1083508"/>
                <a:gd name="connsiteY1920" fmla="*/ 155415 h 1387660"/>
                <a:gd name="connsiteX1921" fmla="*/ 841914 w 1083508"/>
                <a:gd name="connsiteY1921" fmla="*/ 155415 h 1387660"/>
                <a:gd name="connsiteX1922" fmla="*/ 838004 w 1083508"/>
                <a:gd name="connsiteY1922" fmla="*/ 153460 h 1387660"/>
                <a:gd name="connsiteX1923" fmla="*/ 834909 w 1083508"/>
                <a:gd name="connsiteY1923" fmla="*/ 152646 h 1387660"/>
                <a:gd name="connsiteX1924" fmla="*/ 830022 w 1083508"/>
                <a:gd name="connsiteY1924" fmla="*/ 153786 h 1387660"/>
                <a:gd name="connsiteX1925" fmla="*/ 825786 w 1083508"/>
                <a:gd name="connsiteY1925" fmla="*/ 153460 h 1387660"/>
                <a:gd name="connsiteX1926" fmla="*/ 821225 w 1083508"/>
                <a:gd name="connsiteY1926" fmla="*/ 151831 h 1387660"/>
                <a:gd name="connsiteX1927" fmla="*/ 817967 w 1083508"/>
                <a:gd name="connsiteY1927" fmla="*/ 152646 h 1387660"/>
                <a:gd name="connsiteX1928" fmla="*/ 815034 w 1083508"/>
                <a:gd name="connsiteY1928" fmla="*/ 155578 h 1387660"/>
                <a:gd name="connsiteX1929" fmla="*/ 811125 w 1083508"/>
                <a:gd name="connsiteY1929" fmla="*/ 156719 h 1387660"/>
                <a:gd name="connsiteX1930" fmla="*/ 805586 w 1083508"/>
                <a:gd name="connsiteY1930" fmla="*/ 156067 h 1387660"/>
                <a:gd name="connsiteX1931" fmla="*/ 801350 w 1083508"/>
                <a:gd name="connsiteY1931" fmla="*/ 158511 h 1387660"/>
                <a:gd name="connsiteX1932" fmla="*/ 800536 w 1083508"/>
                <a:gd name="connsiteY1932" fmla="*/ 159977 h 1387660"/>
                <a:gd name="connsiteX1933" fmla="*/ 798906 w 1083508"/>
                <a:gd name="connsiteY1933" fmla="*/ 159977 h 1387660"/>
                <a:gd name="connsiteX1934" fmla="*/ 797929 w 1083508"/>
                <a:gd name="connsiteY1934" fmla="*/ 155578 h 1387660"/>
                <a:gd name="connsiteX1935" fmla="*/ 795322 w 1083508"/>
                <a:gd name="connsiteY1935" fmla="*/ 154275 h 1387660"/>
                <a:gd name="connsiteX1936" fmla="*/ 791576 w 1083508"/>
                <a:gd name="connsiteY1936" fmla="*/ 154275 h 1387660"/>
                <a:gd name="connsiteX1937" fmla="*/ 789946 w 1083508"/>
                <a:gd name="connsiteY1937" fmla="*/ 153460 h 1387660"/>
                <a:gd name="connsiteX1938" fmla="*/ 786362 w 1083508"/>
                <a:gd name="connsiteY1938" fmla="*/ 153460 h 1387660"/>
                <a:gd name="connsiteX1939" fmla="*/ 785874 w 1083508"/>
                <a:gd name="connsiteY1939" fmla="*/ 155415 h 1387660"/>
                <a:gd name="connsiteX1940" fmla="*/ 787503 w 1083508"/>
                <a:gd name="connsiteY1940" fmla="*/ 155741 h 1387660"/>
                <a:gd name="connsiteX1941" fmla="*/ 792716 w 1083508"/>
                <a:gd name="connsiteY1941" fmla="*/ 155741 h 1387660"/>
                <a:gd name="connsiteX1942" fmla="*/ 794996 w 1083508"/>
                <a:gd name="connsiteY1942" fmla="*/ 157696 h 1387660"/>
                <a:gd name="connsiteX1943" fmla="*/ 796137 w 1083508"/>
                <a:gd name="connsiteY1943" fmla="*/ 160140 h 1387660"/>
                <a:gd name="connsiteX1944" fmla="*/ 794834 w 1083508"/>
                <a:gd name="connsiteY1944" fmla="*/ 163235 h 1387660"/>
                <a:gd name="connsiteX1945" fmla="*/ 791576 w 1083508"/>
                <a:gd name="connsiteY1945" fmla="*/ 165190 h 1387660"/>
                <a:gd name="connsiteX1946" fmla="*/ 789132 w 1083508"/>
                <a:gd name="connsiteY1946" fmla="*/ 164701 h 1387660"/>
                <a:gd name="connsiteX1947" fmla="*/ 785222 w 1083508"/>
                <a:gd name="connsiteY1947" fmla="*/ 165027 h 1387660"/>
                <a:gd name="connsiteX1948" fmla="*/ 781312 w 1083508"/>
                <a:gd name="connsiteY1948" fmla="*/ 167308 h 1387660"/>
                <a:gd name="connsiteX1949" fmla="*/ 776262 w 1083508"/>
                <a:gd name="connsiteY1949" fmla="*/ 169426 h 1387660"/>
                <a:gd name="connsiteX1950" fmla="*/ 769257 w 1083508"/>
                <a:gd name="connsiteY1950" fmla="*/ 170077 h 1387660"/>
                <a:gd name="connsiteX1951" fmla="*/ 765673 w 1083508"/>
                <a:gd name="connsiteY1951" fmla="*/ 171706 h 1387660"/>
                <a:gd name="connsiteX1952" fmla="*/ 763881 w 1083508"/>
                <a:gd name="connsiteY1952" fmla="*/ 174313 h 1387660"/>
                <a:gd name="connsiteX1953" fmla="*/ 760297 w 1083508"/>
                <a:gd name="connsiteY1953" fmla="*/ 175127 h 1387660"/>
                <a:gd name="connsiteX1954" fmla="*/ 755736 w 1083508"/>
                <a:gd name="connsiteY1954" fmla="*/ 175127 h 1387660"/>
                <a:gd name="connsiteX1955" fmla="*/ 750522 w 1083508"/>
                <a:gd name="connsiteY1955" fmla="*/ 178060 h 1387660"/>
                <a:gd name="connsiteX1956" fmla="*/ 746938 w 1083508"/>
                <a:gd name="connsiteY1956" fmla="*/ 178548 h 1387660"/>
                <a:gd name="connsiteX1957" fmla="*/ 744495 w 1083508"/>
                <a:gd name="connsiteY1957" fmla="*/ 181644 h 1387660"/>
                <a:gd name="connsiteX1958" fmla="*/ 744495 w 1083508"/>
                <a:gd name="connsiteY1958" fmla="*/ 185554 h 1387660"/>
                <a:gd name="connsiteX1959" fmla="*/ 746938 w 1083508"/>
                <a:gd name="connsiteY1959" fmla="*/ 187997 h 1387660"/>
                <a:gd name="connsiteX1960" fmla="*/ 747753 w 1083508"/>
                <a:gd name="connsiteY1960" fmla="*/ 191092 h 1387660"/>
                <a:gd name="connsiteX1961" fmla="*/ 747753 w 1083508"/>
                <a:gd name="connsiteY1961" fmla="*/ 195002 h 1387660"/>
                <a:gd name="connsiteX1962" fmla="*/ 749708 w 1083508"/>
                <a:gd name="connsiteY1962" fmla="*/ 198260 h 1387660"/>
                <a:gd name="connsiteX1963" fmla="*/ 752314 w 1083508"/>
                <a:gd name="connsiteY1963" fmla="*/ 198260 h 1387660"/>
                <a:gd name="connsiteX1964" fmla="*/ 754269 w 1083508"/>
                <a:gd name="connsiteY1964" fmla="*/ 195165 h 1387660"/>
                <a:gd name="connsiteX1965" fmla="*/ 754758 w 1083508"/>
                <a:gd name="connsiteY1965" fmla="*/ 191418 h 1387660"/>
                <a:gd name="connsiteX1966" fmla="*/ 758016 w 1083508"/>
                <a:gd name="connsiteY1966" fmla="*/ 188323 h 1387660"/>
                <a:gd name="connsiteX1967" fmla="*/ 762252 w 1083508"/>
                <a:gd name="connsiteY1967" fmla="*/ 187508 h 1387660"/>
                <a:gd name="connsiteX1968" fmla="*/ 765836 w 1083508"/>
                <a:gd name="connsiteY1968" fmla="*/ 185554 h 1387660"/>
                <a:gd name="connsiteX1969" fmla="*/ 770234 w 1083508"/>
                <a:gd name="connsiteY1969" fmla="*/ 184902 h 1387660"/>
                <a:gd name="connsiteX1970" fmla="*/ 774470 w 1083508"/>
                <a:gd name="connsiteY1970" fmla="*/ 184902 h 1387660"/>
                <a:gd name="connsiteX1971" fmla="*/ 776425 w 1083508"/>
                <a:gd name="connsiteY1971" fmla="*/ 182621 h 1387660"/>
                <a:gd name="connsiteX1972" fmla="*/ 779520 w 1083508"/>
                <a:gd name="connsiteY1972" fmla="*/ 179526 h 1387660"/>
                <a:gd name="connsiteX1973" fmla="*/ 786037 w 1083508"/>
                <a:gd name="connsiteY1973" fmla="*/ 177734 h 1387660"/>
                <a:gd name="connsiteX1974" fmla="*/ 796300 w 1083508"/>
                <a:gd name="connsiteY1974" fmla="*/ 173987 h 1387660"/>
                <a:gd name="connsiteX1975" fmla="*/ 799721 w 1083508"/>
                <a:gd name="connsiteY1975" fmla="*/ 174313 h 1387660"/>
                <a:gd name="connsiteX1976" fmla="*/ 799721 w 1083508"/>
                <a:gd name="connsiteY1976" fmla="*/ 175453 h 1387660"/>
                <a:gd name="connsiteX1977" fmla="*/ 799069 w 1083508"/>
                <a:gd name="connsiteY1977" fmla="*/ 179037 h 1387660"/>
                <a:gd name="connsiteX1978" fmla="*/ 800373 w 1083508"/>
                <a:gd name="connsiteY1978" fmla="*/ 179363 h 1387660"/>
                <a:gd name="connsiteX1979" fmla="*/ 803957 w 1083508"/>
                <a:gd name="connsiteY1979" fmla="*/ 176431 h 1387660"/>
                <a:gd name="connsiteX1980" fmla="*/ 804445 w 1083508"/>
                <a:gd name="connsiteY1980" fmla="*/ 172358 h 1387660"/>
                <a:gd name="connsiteX1981" fmla="*/ 807378 w 1083508"/>
                <a:gd name="connsiteY1981" fmla="*/ 167634 h 1387660"/>
                <a:gd name="connsiteX1982" fmla="*/ 810310 w 1083508"/>
                <a:gd name="connsiteY1982" fmla="*/ 167308 h 1387660"/>
                <a:gd name="connsiteX1983" fmla="*/ 815034 w 1083508"/>
                <a:gd name="connsiteY1983" fmla="*/ 168122 h 1387660"/>
                <a:gd name="connsiteX1984" fmla="*/ 817967 w 1083508"/>
                <a:gd name="connsiteY1984" fmla="*/ 169100 h 1387660"/>
                <a:gd name="connsiteX1985" fmla="*/ 823343 w 1083508"/>
                <a:gd name="connsiteY1985" fmla="*/ 167959 h 1387660"/>
                <a:gd name="connsiteX1986" fmla="*/ 829859 w 1083508"/>
                <a:gd name="connsiteY1986" fmla="*/ 167959 h 1387660"/>
                <a:gd name="connsiteX1987" fmla="*/ 834420 w 1083508"/>
                <a:gd name="connsiteY1987" fmla="*/ 170403 h 1387660"/>
                <a:gd name="connsiteX1988" fmla="*/ 840122 w 1083508"/>
                <a:gd name="connsiteY1988" fmla="*/ 171218 h 1387660"/>
                <a:gd name="connsiteX1989" fmla="*/ 851526 w 1083508"/>
                <a:gd name="connsiteY1989" fmla="*/ 169914 h 1387660"/>
                <a:gd name="connsiteX1990" fmla="*/ 855436 w 1083508"/>
                <a:gd name="connsiteY1990" fmla="*/ 170892 h 1387660"/>
                <a:gd name="connsiteX1991" fmla="*/ 860486 w 1083508"/>
                <a:gd name="connsiteY1991" fmla="*/ 173335 h 1387660"/>
                <a:gd name="connsiteX1992" fmla="*/ 868306 w 1083508"/>
                <a:gd name="connsiteY1992" fmla="*/ 175127 h 1387660"/>
                <a:gd name="connsiteX1993" fmla="*/ 877754 w 1083508"/>
                <a:gd name="connsiteY1993" fmla="*/ 175616 h 1387660"/>
                <a:gd name="connsiteX1994" fmla="*/ 881827 w 1083508"/>
                <a:gd name="connsiteY1994" fmla="*/ 175616 h 1387660"/>
                <a:gd name="connsiteX1995" fmla="*/ 882316 w 1083508"/>
                <a:gd name="connsiteY1995" fmla="*/ 178060 h 1387660"/>
                <a:gd name="connsiteX1996" fmla="*/ 884108 w 1083508"/>
                <a:gd name="connsiteY1996" fmla="*/ 179852 h 1387660"/>
                <a:gd name="connsiteX1997" fmla="*/ 883456 w 1083508"/>
                <a:gd name="connsiteY1997" fmla="*/ 182458 h 1387660"/>
                <a:gd name="connsiteX1998" fmla="*/ 880198 w 1083508"/>
                <a:gd name="connsiteY1998" fmla="*/ 184902 h 1387660"/>
                <a:gd name="connsiteX1999" fmla="*/ 879546 w 1083508"/>
                <a:gd name="connsiteY1999" fmla="*/ 188649 h 1387660"/>
                <a:gd name="connsiteX2000" fmla="*/ 876777 w 1083508"/>
                <a:gd name="connsiteY2000" fmla="*/ 193699 h 1387660"/>
                <a:gd name="connsiteX2001" fmla="*/ 873845 w 1083508"/>
                <a:gd name="connsiteY2001" fmla="*/ 194839 h 1387660"/>
                <a:gd name="connsiteX2002" fmla="*/ 861627 w 1083508"/>
                <a:gd name="connsiteY2002" fmla="*/ 196468 h 1387660"/>
                <a:gd name="connsiteX2003" fmla="*/ 855925 w 1083508"/>
                <a:gd name="connsiteY2003" fmla="*/ 198749 h 1387660"/>
                <a:gd name="connsiteX2004" fmla="*/ 853644 w 1083508"/>
                <a:gd name="connsiteY2004" fmla="*/ 198749 h 1387660"/>
                <a:gd name="connsiteX2005" fmla="*/ 851689 w 1083508"/>
                <a:gd name="connsiteY2005" fmla="*/ 197935 h 1387660"/>
                <a:gd name="connsiteX2006" fmla="*/ 850549 w 1083508"/>
                <a:gd name="connsiteY2006" fmla="*/ 198260 h 1387660"/>
                <a:gd name="connsiteX2007" fmla="*/ 849245 w 1083508"/>
                <a:gd name="connsiteY2007" fmla="*/ 202007 h 1387660"/>
                <a:gd name="connsiteX2008" fmla="*/ 849571 w 1083508"/>
                <a:gd name="connsiteY2008" fmla="*/ 205266 h 1387660"/>
                <a:gd name="connsiteX2009" fmla="*/ 848431 w 1083508"/>
                <a:gd name="connsiteY2009" fmla="*/ 209012 h 1387660"/>
                <a:gd name="connsiteX2010" fmla="*/ 848919 w 1083508"/>
                <a:gd name="connsiteY2010" fmla="*/ 211945 h 1387660"/>
                <a:gd name="connsiteX2011" fmla="*/ 850874 w 1083508"/>
                <a:gd name="connsiteY2011" fmla="*/ 212759 h 1387660"/>
                <a:gd name="connsiteX2012" fmla="*/ 856413 w 1083508"/>
                <a:gd name="connsiteY2012" fmla="*/ 210642 h 1387660"/>
                <a:gd name="connsiteX2013" fmla="*/ 863581 w 1083508"/>
                <a:gd name="connsiteY2013" fmla="*/ 209012 h 1387660"/>
                <a:gd name="connsiteX2014" fmla="*/ 868306 w 1083508"/>
                <a:gd name="connsiteY2014" fmla="*/ 206732 h 1387660"/>
                <a:gd name="connsiteX2015" fmla="*/ 877103 w 1083508"/>
                <a:gd name="connsiteY2015" fmla="*/ 206569 h 1387660"/>
                <a:gd name="connsiteX2016" fmla="*/ 885737 w 1083508"/>
                <a:gd name="connsiteY2016" fmla="*/ 209501 h 1387660"/>
                <a:gd name="connsiteX2017" fmla="*/ 888669 w 1083508"/>
                <a:gd name="connsiteY2017" fmla="*/ 209501 h 1387660"/>
                <a:gd name="connsiteX2018" fmla="*/ 892416 w 1083508"/>
                <a:gd name="connsiteY2018" fmla="*/ 211945 h 1387660"/>
                <a:gd name="connsiteX2019" fmla="*/ 894371 w 1083508"/>
                <a:gd name="connsiteY2019" fmla="*/ 210316 h 1387660"/>
                <a:gd name="connsiteX2020" fmla="*/ 896326 w 1083508"/>
                <a:gd name="connsiteY2020" fmla="*/ 207709 h 1387660"/>
                <a:gd name="connsiteX2021" fmla="*/ 897792 w 1083508"/>
                <a:gd name="connsiteY2021" fmla="*/ 207383 h 1387660"/>
                <a:gd name="connsiteX2022" fmla="*/ 900725 w 1083508"/>
                <a:gd name="connsiteY2022" fmla="*/ 208198 h 1387660"/>
                <a:gd name="connsiteX2023" fmla="*/ 903331 w 1083508"/>
                <a:gd name="connsiteY2023" fmla="*/ 210479 h 1387660"/>
                <a:gd name="connsiteX2024" fmla="*/ 907730 w 1083508"/>
                <a:gd name="connsiteY2024" fmla="*/ 204940 h 1387660"/>
                <a:gd name="connsiteX2025" fmla="*/ 909685 w 1083508"/>
                <a:gd name="connsiteY2025" fmla="*/ 197772 h 1387660"/>
                <a:gd name="connsiteX2026" fmla="*/ 910010 w 1083508"/>
                <a:gd name="connsiteY2026" fmla="*/ 190767 h 1387660"/>
                <a:gd name="connsiteX2027" fmla="*/ 911477 w 1083508"/>
                <a:gd name="connsiteY2027" fmla="*/ 187997 h 1387660"/>
                <a:gd name="connsiteX2028" fmla="*/ 910499 w 1083508"/>
                <a:gd name="connsiteY2028" fmla="*/ 185879 h 1387660"/>
                <a:gd name="connsiteX2029" fmla="*/ 911314 w 1083508"/>
                <a:gd name="connsiteY2029" fmla="*/ 182132 h 1387660"/>
                <a:gd name="connsiteX2030" fmla="*/ 915061 w 1083508"/>
                <a:gd name="connsiteY2030" fmla="*/ 179852 h 1387660"/>
                <a:gd name="connsiteX2031" fmla="*/ 920600 w 1083508"/>
                <a:gd name="connsiteY2031" fmla="*/ 179852 h 1387660"/>
                <a:gd name="connsiteX2032" fmla="*/ 926464 w 1083508"/>
                <a:gd name="connsiteY2032" fmla="*/ 181644 h 1387660"/>
                <a:gd name="connsiteX2033" fmla="*/ 932981 w 1083508"/>
                <a:gd name="connsiteY2033" fmla="*/ 181644 h 1387660"/>
                <a:gd name="connsiteX2034" fmla="*/ 938357 w 1083508"/>
                <a:gd name="connsiteY2034" fmla="*/ 180178 h 1387660"/>
                <a:gd name="connsiteX2035" fmla="*/ 941778 w 1083508"/>
                <a:gd name="connsiteY2035" fmla="*/ 181155 h 1387660"/>
                <a:gd name="connsiteX2036" fmla="*/ 942755 w 1083508"/>
                <a:gd name="connsiteY2036" fmla="*/ 186042 h 1387660"/>
                <a:gd name="connsiteX2037" fmla="*/ 942429 w 1083508"/>
                <a:gd name="connsiteY2037" fmla="*/ 194514 h 1387660"/>
                <a:gd name="connsiteX2038" fmla="*/ 942755 w 1083508"/>
                <a:gd name="connsiteY2038" fmla="*/ 200541 h 1387660"/>
                <a:gd name="connsiteX2039" fmla="*/ 938194 w 1083508"/>
                <a:gd name="connsiteY2039" fmla="*/ 206243 h 1387660"/>
                <a:gd name="connsiteX2040" fmla="*/ 934447 w 1083508"/>
                <a:gd name="connsiteY2040" fmla="*/ 214226 h 1387660"/>
                <a:gd name="connsiteX2041" fmla="*/ 933469 w 1083508"/>
                <a:gd name="connsiteY2041" fmla="*/ 220253 h 1387660"/>
                <a:gd name="connsiteX2042" fmla="*/ 931352 w 1083508"/>
                <a:gd name="connsiteY2042" fmla="*/ 224652 h 1387660"/>
                <a:gd name="connsiteX2043" fmla="*/ 917016 w 1083508"/>
                <a:gd name="connsiteY2043" fmla="*/ 237522 h 1387660"/>
                <a:gd name="connsiteX2044" fmla="*/ 914083 w 1083508"/>
                <a:gd name="connsiteY2044" fmla="*/ 237522 h 1387660"/>
                <a:gd name="connsiteX2045" fmla="*/ 912780 w 1083508"/>
                <a:gd name="connsiteY2045" fmla="*/ 236544 h 1387660"/>
                <a:gd name="connsiteX2046" fmla="*/ 908707 w 1083508"/>
                <a:gd name="connsiteY2046" fmla="*/ 238173 h 1387660"/>
                <a:gd name="connsiteX2047" fmla="*/ 905612 w 1083508"/>
                <a:gd name="connsiteY2047" fmla="*/ 241594 h 1387660"/>
                <a:gd name="connsiteX2048" fmla="*/ 902517 w 1083508"/>
                <a:gd name="connsiteY2048" fmla="*/ 240128 h 1387660"/>
                <a:gd name="connsiteX2049" fmla="*/ 900725 w 1083508"/>
                <a:gd name="connsiteY2049" fmla="*/ 240780 h 1387660"/>
                <a:gd name="connsiteX2050" fmla="*/ 897303 w 1083508"/>
                <a:gd name="connsiteY2050" fmla="*/ 246319 h 1387660"/>
                <a:gd name="connsiteX2051" fmla="*/ 896978 w 1083508"/>
                <a:gd name="connsiteY2051" fmla="*/ 249740 h 1387660"/>
                <a:gd name="connsiteX2052" fmla="*/ 892742 w 1083508"/>
                <a:gd name="connsiteY2052" fmla="*/ 251695 h 1387660"/>
                <a:gd name="connsiteX2053" fmla="*/ 889647 w 1083508"/>
                <a:gd name="connsiteY2053" fmla="*/ 255442 h 1387660"/>
                <a:gd name="connsiteX2054" fmla="*/ 886877 w 1083508"/>
                <a:gd name="connsiteY2054" fmla="*/ 254627 h 1387660"/>
                <a:gd name="connsiteX2055" fmla="*/ 885900 w 1083508"/>
                <a:gd name="connsiteY2055" fmla="*/ 252998 h 1387660"/>
                <a:gd name="connsiteX2056" fmla="*/ 884434 w 1083508"/>
                <a:gd name="connsiteY2056" fmla="*/ 255442 h 1387660"/>
                <a:gd name="connsiteX2057" fmla="*/ 885085 w 1083508"/>
                <a:gd name="connsiteY2057" fmla="*/ 258537 h 1387660"/>
                <a:gd name="connsiteX2058" fmla="*/ 883293 w 1083508"/>
                <a:gd name="connsiteY2058" fmla="*/ 262284 h 1387660"/>
                <a:gd name="connsiteX2059" fmla="*/ 878895 w 1083508"/>
                <a:gd name="connsiteY2059" fmla="*/ 268800 h 1387660"/>
                <a:gd name="connsiteX2060" fmla="*/ 874496 w 1083508"/>
                <a:gd name="connsiteY2060" fmla="*/ 271407 h 1387660"/>
                <a:gd name="connsiteX2061" fmla="*/ 872704 w 1083508"/>
                <a:gd name="connsiteY2061" fmla="*/ 274665 h 1387660"/>
                <a:gd name="connsiteX2062" fmla="*/ 865862 w 1083508"/>
                <a:gd name="connsiteY2062" fmla="*/ 280530 h 1387660"/>
                <a:gd name="connsiteX2063" fmla="*/ 860812 w 1083508"/>
                <a:gd name="connsiteY2063" fmla="*/ 285091 h 1387660"/>
                <a:gd name="connsiteX2064" fmla="*/ 857065 w 1083508"/>
                <a:gd name="connsiteY2064" fmla="*/ 286068 h 1387660"/>
                <a:gd name="connsiteX2065" fmla="*/ 850874 w 1083508"/>
                <a:gd name="connsiteY2065" fmla="*/ 290793 h 1387660"/>
                <a:gd name="connsiteX2066" fmla="*/ 849734 w 1083508"/>
                <a:gd name="connsiteY2066" fmla="*/ 293236 h 1387660"/>
                <a:gd name="connsiteX2067" fmla="*/ 845661 w 1083508"/>
                <a:gd name="connsiteY2067" fmla="*/ 293236 h 1387660"/>
                <a:gd name="connsiteX2068" fmla="*/ 845661 w 1083508"/>
                <a:gd name="connsiteY2068" fmla="*/ 297798 h 1387660"/>
                <a:gd name="connsiteX2069" fmla="*/ 845987 w 1083508"/>
                <a:gd name="connsiteY2069" fmla="*/ 302034 h 1387660"/>
                <a:gd name="connsiteX2070" fmla="*/ 843706 w 1083508"/>
                <a:gd name="connsiteY2070" fmla="*/ 307572 h 1387660"/>
                <a:gd name="connsiteX2071" fmla="*/ 844847 w 1083508"/>
                <a:gd name="connsiteY2071" fmla="*/ 310016 h 1387660"/>
                <a:gd name="connsiteX2072" fmla="*/ 846313 w 1083508"/>
                <a:gd name="connsiteY2072" fmla="*/ 307410 h 1387660"/>
                <a:gd name="connsiteX2073" fmla="*/ 847290 w 1083508"/>
                <a:gd name="connsiteY2073" fmla="*/ 303663 h 1387660"/>
                <a:gd name="connsiteX2074" fmla="*/ 852015 w 1083508"/>
                <a:gd name="connsiteY2074" fmla="*/ 298124 h 1387660"/>
                <a:gd name="connsiteX2075" fmla="*/ 855436 w 1083508"/>
                <a:gd name="connsiteY2075" fmla="*/ 292748 h 1387660"/>
                <a:gd name="connsiteX2076" fmla="*/ 860486 w 1083508"/>
                <a:gd name="connsiteY2076" fmla="*/ 289490 h 1387660"/>
                <a:gd name="connsiteX2077" fmla="*/ 862115 w 1083508"/>
                <a:gd name="connsiteY2077" fmla="*/ 289490 h 1387660"/>
                <a:gd name="connsiteX2078" fmla="*/ 863419 w 1083508"/>
                <a:gd name="connsiteY2078" fmla="*/ 291444 h 1387660"/>
                <a:gd name="connsiteX2079" fmla="*/ 867491 w 1083508"/>
                <a:gd name="connsiteY2079" fmla="*/ 286720 h 1387660"/>
                <a:gd name="connsiteX2080" fmla="*/ 876288 w 1083508"/>
                <a:gd name="connsiteY2080" fmla="*/ 279878 h 1387660"/>
                <a:gd name="connsiteX2081" fmla="*/ 879058 w 1083508"/>
                <a:gd name="connsiteY2081" fmla="*/ 279226 h 1387660"/>
                <a:gd name="connsiteX2082" fmla="*/ 879872 w 1083508"/>
                <a:gd name="connsiteY2082" fmla="*/ 274991 h 1387660"/>
                <a:gd name="connsiteX2083" fmla="*/ 888506 w 1083508"/>
                <a:gd name="connsiteY2083" fmla="*/ 267986 h 1387660"/>
                <a:gd name="connsiteX2084" fmla="*/ 894208 w 1083508"/>
                <a:gd name="connsiteY2084" fmla="*/ 262121 h 1387660"/>
                <a:gd name="connsiteX2085" fmla="*/ 897955 w 1083508"/>
                <a:gd name="connsiteY2085" fmla="*/ 260329 h 1387660"/>
                <a:gd name="connsiteX2086" fmla="*/ 900887 w 1083508"/>
                <a:gd name="connsiteY2086" fmla="*/ 261143 h 1387660"/>
                <a:gd name="connsiteX2087" fmla="*/ 905449 w 1083508"/>
                <a:gd name="connsiteY2087" fmla="*/ 261143 h 1387660"/>
                <a:gd name="connsiteX2088" fmla="*/ 908544 w 1083508"/>
                <a:gd name="connsiteY2088" fmla="*/ 258211 h 1387660"/>
                <a:gd name="connsiteX2089" fmla="*/ 909033 w 1083508"/>
                <a:gd name="connsiteY2089" fmla="*/ 255767 h 1387660"/>
                <a:gd name="connsiteX2090" fmla="*/ 914246 w 1083508"/>
                <a:gd name="connsiteY2090" fmla="*/ 255767 h 1387660"/>
                <a:gd name="connsiteX2091" fmla="*/ 921251 w 1083508"/>
                <a:gd name="connsiteY2091" fmla="*/ 255604 h 1387660"/>
                <a:gd name="connsiteX2092" fmla="*/ 928093 w 1083508"/>
                <a:gd name="connsiteY2092" fmla="*/ 251858 h 1387660"/>
                <a:gd name="connsiteX2093" fmla="*/ 932492 w 1083508"/>
                <a:gd name="connsiteY2093" fmla="*/ 247296 h 1387660"/>
                <a:gd name="connsiteX2094" fmla="*/ 936728 w 1083508"/>
                <a:gd name="connsiteY2094" fmla="*/ 247296 h 1387660"/>
                <a:gd name="connsiteX2095" fmla="*/ 940963 w 1083508"/>
                <a:gd name="connsiteY2095" fmla="*/ 244201 h 1387660"/>
                <a:gd name="connsiteX2096" fmla="*/ 943733 w 1083508"/>
                <a:gd name="connsiteY2096" fmla="*/ 241594 h 1387660"/>
                <a:gd name="connsiteX2097" fmla="*/ 947154 w 1083508"/>
                <a:gd name="connsiteY2097" fmla="*/ 241106 h 1387660"/>
                <a:gd name="connsiteX2098" fmla="*/ 950738 w 1083508"/>
                <a:gd name="connsiteY2098" fmla="*/ 237359 h 1387660"/>
                <a:gd name="connsiteX2099" fmla="*/ 957580 w 1083508"/>
                <a:gd name="connsiteY2099" fmla="*/ 230842 h 1387660"/>
                <a:gd name="connsiteX2100" fmla="*/ 959209 w 1083508"/>
                <a:gd name="connsiteY2100" fmla="*/ 225629 h 1387660"/>
                <a:gd name="connsiteX2101" fmla="*/ 959209 w 1083508"/>
                <a:gd name="connsiteY2101" fmla="*/ 222371 h 1387660"/>
                <a:gd name="connsiteX2102" fmla="*/ 962141 w 1083508"/>
                <a:gd name="connsiteY2102" fmla="*/ 219113 h 1387660"/>
                <a:gd name="connsiteX2103" fmla="*/ 963770 w 1083508"/>
                <a:gd name="connsiteY2103" fmla="*/ 216506 h 1387660"/>
                <a:gd name="connsiteX2104" fmla="*/ 966377 w 1083508"/>
                <a:gd name="connsiteY2104" fmla="*/ 214877 h 1387660"/>
                <a:gd name="connsiteX2105" fmla="*/ 966377 w 1083508"/>
                <a:gd name="connsiteY2105" fmla="*/ 217810 h 1387660"/>
                <a:gd name="connsiteX2106" fmla="*/ 968169 w 1083508"/>
                <a:gd name="connsiteY2106" fmla="*/ 221231 h 1387660"/>
                <a:gd name="connsiteX2107" fmla="*/ 968169 w 1083508"/>
                <a:gd name="connsiteY2107" fmla="*/ 224652 h 1387660"/>
                <a:gd name="connsiteX2108" fmla="*/ 967029 w 1083508"/>
                <a:gd name="connsiteY2108" fmla="*/ 228073 h 1387660"/>
                <a:gd name="connsiteX2109" fmla="*/ 968984 w 1083508"/>
                <a:gd name="connsiteY2109" fmla="*/ 231331 h 1387660"/>
                <a:gd name="connsiteX2110" fmla="*/ 969961 w 1083508"/>
                <a:gd name="connsiteY2110" fmla="*/ 236870 h 1387660"/>
                <a:gd name="connsiteX2111" fmla="*/ 968821 w 1083508"/>
                <a:gd name="connsiteY2111" fmla="*/ 239151 h 1387660"/>
                <a:gd name="connsiteX2112" fmla="*/ 968821 w 1083508"/>
                <a:gd name="connsiteY2112" fmla="*/ 242246 h 1387660"/>
                <a:gd name="connsiteX2113" fmla="*/ 970450 w 1083508"/>
                <a:gd name="connsiteY2113" fmla="*/ 239639 h 1387660"/>
                <a:gd name="connsiteX2114" fmla="*/ 971916 w 1083508"/>
                <a:gd name="connsiteY2114" fmla="*/ 235404 h 1387660"/>
                <a:gd name="connsiteX2115" fmla="*/ 973871 w 1083508"/>
                <a:gd name="connsiteY2115" fmla="*/ 231820 h 1387660"/>
                <a:gd name="connsiteX2116" fmla="*/ 972730 w 1083508"/>
                <a:gd name="connsiteY2116" fmla="*/ 230191 h 1387660"/>
                <a:gd name="connsiteX2117" fmla="*/ 972730 w 1083508"/>
                <a:gd name="connsiteY2117" fmla="*/ 225955 h 1387660"/>
                <a:gd name="connsiteX2118" fmla="*/ 974685 w 1083508"/>
                <a:gd name="connsiteY2118" fmla="*/ 223674 h 1387660"/>
                <a:gd name="connsiteX2119" fmla="*/ 976640 w 1083508"/>
                <a:gd name="connsiteY2119" fmla="*/ 224815 h 1387660"/>
                <a:gd name="connsiteX2120" fmla="*/ 976966 w 1083508"/>
                <a:gd name="connsiteY2120" fmla="*/ 228236 h 1387660"/>
                <a:gd name="connsiteX2121" fmla="*/ 979736 w 1083508"/>
                <a:gd name="connsiteY2121" fmla="*/ 231168 h 1387660"/>
                <a:gd name="connsiteX2122" fmla="*/ 984134 w 1083508"/>
                <a:gd name="connsiteY2122" fmla="*/ 231168 h 1387660"/>
                <a:gd name="connsiteX2123" fmla="*/ 989021 w 1083508"/>
                <a:gd name="connsiteY2123" fmla="*/ 228887 h 1387660"/>
                <a:gd name="connsiteX2124" fmla="*/ 990162 w 1083508"/>
                <a:gd name="connsiteY2124" fmla="*/ 225955 h 1387660"/>
                <a:gd name="connsiteX2125" fmla="*/ 988695 w 1083508"/>
                <a:gd name="connsiteY2125" fmla="*/ 224000 h 1387660"/>
                <a:gd name="connsiteX2126" fmla="*/ 988695 w 1083508"/>
                <a:gd name="connsiteY2126" fmla="*/ 221394 h 1387660"/>
                <a:gd name="connsiteX2127" fmla="*/ 991465 w 1083508"/>
                <a:gd name="connsiteY2127" fmla="*/ 221394 h 1387660"/>
                <a:gd name="connsiteX2128" fmla="*/ 993257 w 1083508"/>
                <a:gd name="connsiteY2128" fmla="*/ 218135 h 1387660"/>
                <a:gd name="connsiteX2129" fmla="*/ 993746 w 1083508"/>
                <a:gd name="connsiteY2129" fmla="*/ 213085 h 1387660"/>
                <a:gd name="connsiteX2130" fmla="*/ 992931 w 1083508"/>
                <a:gd name="connsiteY2130" fmla="*/ 209175 h 1387660"/>
                <a:gd name="connsiteX2131" fmla="*/ 994397 w 1083508"/>
                <a:gd name="connsiteY2131" fmla="*/ 206243 h 1387660"/>
                <a:gd name="connsiteX2132" fmla="*/ 997330 w 1083508"/>
                <a:gd name="connsiteY2132" fmla="*/ 205428 h 1387660"/>
                <a:gd name="connsiteX2133" fmla="*/ 998470 w 1083508"/>
                <a:gd name="connsiteY2133" fmla="*/ 207546 h 1387660"/>
                <a:gd name="connsiteX2134" fmla="*/ 1003032 w 1083508"/>
                <a:gd name="connsiteY2134" fmla="*/ 209827 h 1387660"/>
                <a:gd name="connsiteX2135" fmla="*/ 1008082 w 1083508"/>
                <a:gd name="connsiteY2135" fmla="*/ 207709 h 1387660"/>
                <a:gd name="connsiteX2136" fmla="*/ 1010525 w 1083508"/>
                <a:gd name="connsiteY2136" fmla="*/ 204777 h 1387660"/>
                <a:gd name="connsiteX2137" fmla="*/ 1017368 w 1083508"/>
                <a:gd name="connsiteY2137" fmla="*/ 202496 h 1387660"/>
                <a:gd name="connsiteX2138" fmla="*/ 1023395 w 1083508"/>
                <a:gd name="connsiteY2138" fmla="*/ 202496 h 1387660"/>
                <a:gd name="connsiteX2139" fmla="*/ 1026328 w 1083508"/>
                <a:gd name="connsiteY2139" fmla="*/ 201356 h 1387660"/>
                <a:gd name="connsiteX2140" fmla="*/ 1032355 w 1083508"/>
                <a:gd name="connsiteY2140" fmla="*/ 202985 h 1387660"/>
                <a:gd name="connsiteX2141" fmla="*/ 1039035 w 1083508"/>
                <a:gd name="connsiteY2141" fmla="*/ 206243 h 1387660"/>
                <a:gd name="connsiteX2142" fmla="*/ 1046202 w 1083508"/>
                <a:gd name="connsiteY2142" fmla="*/ 208524 h 1387660"/>
                <a:gd name="connsiteX2143" fmla="*/ 1051416 w 1083508"/>
                <a:gd name="connsiteY2143" fmla="*/ 209012 h 1387660"/>
                <a:gd name="connsiteX2144" fmla="*/ 1055814 w 1083508"/>
                <a:gd name="connsiteY2144" fmla="*/ 211130 h 1387660"/>
                <a:gd name="connsiteX2145" fmla="*/ 1058746 w 1083508"/>
                <a:gd name="connsiteY2145" fmla="*/ 214388 h 1387660"/>
                <a:gd name="connsiteX2146" fmla="*/ 1061516 w 1083508"/>
                <a:gd name="connsiteY2146" fmla="*/ 214877 h 1387660"/>
                <a:gd name="connsiteX2147" fmla="*/ 1066566 w 1083508"/>
                <a:gd name="connsiteY2147" fmla="*/ 217158 h 1387660"/>
                <a:gd name="connsiteX2148" fmla="*/ 1068358 w 1083508"/>
                <a:gd name="connsiteY2148" fmla="*/ 221068 h 1387660"/>
                <a:gd name="connsiteX2149" fmla="*/ 1068847 w 1083508"/>
                <a:gd name="connsiteY2149" fmla="*/ 223674 h 1387660"/>
                <a:gd name="connsiteX2150" fmla="*/ 1076341 w 1083508"/>
                <a:gd name="connsiteY2150" fmla="*/ 230028 h 1387660"/>
                <a:gd name="connsiteX2151" fmla="*/ 1077644 w 1083508"/>
                <a:gd name="connsiteY2151" fmla="*/ 233123 h 1387660"/>
                <a:gd name="connsiteX2152" fmla="*/ 1081228 w 1083508"/>
                <a:gd name="connsiteY2152" fmla="*/ 236707 h 1387660"/>
                <a:gd name="connsiteX2153" fmla="*/ 1083509 w 1083508"/>
                <a:gd name="connsiteY2153" fmla="*/ 243875 h 1387660"/>
                <a:gd name="connsiteX2154" fmla="*/ 1083020 w 1083508"/>
                <a:gd name="connsiteY2154" fmla="*/ 249414 h 1387660"/>
                <a:gd name="connsiteX2155" fmla="*/ 1081065 w 1083508"/>
                <a:gd name="connsiteY2155" fmla="*/ 252672 h 1387660"/>
                <a:gd name="connsiteX2156" fmla="*/ 1076178 w 1083508"/>
                <a:gd name="connsiteY2156" fmla="*/ 254464 h 1387660"/>
                <a:gd name="connsiteX2157" fmla="*/ 1072105 w 1083508"/>
                <a:gd name="connsiteY2157" fmla="*/ 257722 h 1387660"/>
                <a:gd name="connsiteX2158" fmla="*/ 1070802 w 1083508"/>
                <a:gd name="connsiteY2158" fmla="*/ 260166 h 1387660"/>
                <a:gd name="connsiteX2159" fmla="*/ 1067869 w 1083508"/>
                <a:gd name="connsiteY2159" fmla="*/ 261306 h 1387660"/>
                <a:gd name="connsiteX2160" fmla="*/ 1063471 w 1083508"/>
                <a:gd name="connsiteY2160" fmla="*/ 264402 h 1387660"/>
                <a:gd name="connsiteX2161" fmla="*/ 1058258 w 1083508"/>
                <a:gd name="connsiteY2161" fmla="*/ 271732 h 1387660"/>
                <a:gd name="connsiteX2162" fmla="*/ 1055814 w 1083508"/>
                <a:gd name="connsiteY2162" fmla="*/ 275154 h 1387660"/>
                <a:gd name="connsiteX2163" fmla="*/ 1053859 w 1083508"/>
                <a:gd name="connsiteY2163" fmla="*/ 275968 h 1387660"/>
                <a:gd name="connsiteX2164" fmla="*/ 1050275 w 1083508"/>
                <a:gd name="connsiteY2164" fmla="*/ 274828 h 1387660"/>
                <a:gd name="connsiteX2165" fmla="*/ 1043270 w 1083508"/>
                <a:gd name="connsiteY2165" fmla="*/ 270592 h 1387660"/>
                <a:gd name="connsiteX2166" fmla="*/ 1040501 w 1083508"/>
                <a:gd name="connsiteY2166" fmla="*/ 270592 h 1387660"/>
                <a:gd name="connsiteX2167" fmla="*/ 1036917 w 1083508"/>
                <a:gd name="connsiteY2167" fmla="*/ 273362 h 1387660"/>
                <a:gd name="connsiteX2168" fmla="*/ 1034310 w 1083508"/>
                <a:gd name="connsiteY2168" fmla="*/ 277760 h 1387660"/>
                <a:gd name="connsiteX2169" fmla="*/ 1034310 w 1083508"/>
                <a:gd name="connsiteY2169" fmla="*/ 279715 h 1387660"/>
                <a:gd name="connsiteX2170" fmla="*/ 1036102 w 1083508"/>
                <a:gd name="connsiteY2170" fmla="*/ 281181 h 1387660"/>
                <a:gd name="connsiteX2171" fmla="*/ 1036102 w 1083508"/>
                <a:gd name="connsiteY2171" fmla="*/ 283788 h 1387660"/>
                <a:gd name="connsiteX2172" fmla="*/ 1039035 w 1083508"/>
                <a:gd name="connsiteY2172" fmla="*/ 287698 h 1387660"/>
                <a:gd name="connsiteX2173" fmla="*/ 1040827 w 1083508"/>
                <a:gd name="connsiteY2173" fmla="*/ 289164 h 1387660"/>
                <a:gd name="connsiteX2174" fmla="*/ 1040827 w 1083508"/>
                <a:gd name="connsiteY2174" fmla="*/ 292096 h 1387660"/>
                <a:gd name="connsiteX2175" fmla="*/ 1039197 w 1083508"/>
                <a:gd name="connsiteY2175" fmla="*/ 295028 h 1387660"/>
                <a:gd name="connsiteX2176" fmla="*/ 1035451 w 1083508"/>
                <a:gd name="connsiteY2176" fmla="*/ 294703 h 1387660"/>
                <a:gd name="connsiteX2177" fmla="*/ 1032355 w 1083508"/>
                <a:gd name="connsiteY2177" fmla="*/ 295028 h 1387660"/>
                <a:gd name="connsiteX2178" fmla="*/ 1024698 w 1083508"/>
                <a:gd name="connsiteY2178" fmla="*/ 298938 h 1387660"/>
                <a:gd name="connsiteX2179" fmla="*/ 1020137 w 1083508"/>
                <a:gd name="connsiteY2179" fmla="*/ 302522 h 1387660"/>
                <a:gd name="connsiteX2180" fmla="*/ 1015901 w 1083508"/>
                <a:gd name="connsiteY2180" fmla="*/ 302522 h 1387660"/>
                <a:gd name="connsiteX2181" fmla="*/ 1012480 w 1083508"/>
                <a:gd name="connsiteY2181" fmla="*/ 303011 h 1387660"/>
                <a:gd name="connsiteX2182" fmla="*/ 1009548 w 1083508"/>
                <a:gd name="connsiteY2182" fmla="*/ 300893 h 1387660"/>
                <a:gd name="connsiteX2183" fmla="*/ 1005475 w 1083508"/>
                <a:gd name="connsiteY2183" fmla="*/ 299264 h 1387660"/>
                <a:gd name="connsiteX2184" fmla="*/ 1001240 w 1083508"/>
                <a:gd name="connsiteY2184" fmla="*/ 298938 h 1387660"/>
                <a:gd name="connsiteX2185" fmla="*/ 999285 w 1083508"/>
                <a:gd name="connsiteY2185" fmla="*/ 297472 h 1387660"/>
                <a:gd name="connsiteX2186" fmla="*/ 996352 w 1083508"/>
                <a:gd name="connsiteY2186" fmla="*/ 296820 h 1387660"/>
                <a:gd name="connsiteX2187" fmla="*/ 995701 w 1083508"/>
                <a:gd name="connsiteY2187" fmla="*/ 295843 h 1387660"/>
                <a:gd name="connsiteX2188" fmla="*/ 993420 w 1083508"/>
                <a:gd name="connsiteY2188" fmla="*/ 295517 h 1387660"/>
                <a:gd name="connsiteX2189" fmla="*/ 991791 w 1083508"/>
                <a:gd name="connsiteY2189" fmla="*/ 296332 h 1387660"/>
                <a:gd name="connsiteX2190" fmla="*/ 990813 w 1083508"/>
                <a:gd name="connsiteY2190" fmla="*/ 298287 h 1387660"/>
                <a:gd name="connsiteX2191" fmla="*/ 988859 w 1083508"/>
                <a:gd name="connsiteY2191" fmla="*/ 298287 h 1387660"/>
                <a:gd name="connsiteX2192" fmla="*/ 985763 w 1083508"/>
                <a:gd name="connsiteY2192" fmla="*/ 297798 h 1387660"/>
                <a:gd name="connsiteX2193" fmla="*/ 983971 w 1083508"/>
                <a:gd name="connsiteY2193" fmla="*/ 298938 h 1387660"/>
                <a:gd name="connsiteX2194" fmla="*/ 981690 w 1083508"/>
                <a:gd name="connsiteY2194" fmla="*/ 301708 h 1387660"/>
                <a:gd name="connsiteX2195" fmla="*/ 979084 w 1083508"/>
                <a:gd name="connsiteY2195" fmla="*/ 301708 h 1387660"/>
                <a:gd name="connsiteX2196" fmla="*/ 976477 w 1083508"/>
                <a:gd name="connsiteY2196" fmla="*/ 301219 h 1387660"/>
                <a:gd name="connsiteX2197" fmla="*/ 974034 w 1083508"/>
                <a:gd name="connsiteY2197" fmla="*/ 303011 h 1387660"/>
                <a:gd name="connsiteX2198" fmla="*/ 971427 w 1083508"/>
                <a:gd name="connsiteY2198" fmla="*/ 303988 h 1387660"/>
                <a:gd name="connsiteX2199" fmla="*/ 967029 w 1083508"/>
                <a:gd name="connsiteY2199" fmla="*/ 303174 h 1387660"/>
                <a:gd name="connsiteX2200" fmla="*/ 962956 w 1083508"/>
                <a:gd name="connsiteY2200" fmla="*/ 301545 h 1387660"/>
                <a:gd name="connsiteX2201" fmla="*/ 957580 w 1083508"/>
                <a:gd name="connsiteY2201" fmla="*/ 302685 h 1387660"/>
                <a:gd name="connsiteX2202" fmla="*/ 953507 w 1083508"/>
                <a:gd name="connsiteY2202" fmla="*/ 305455 h 1387660"/>
                <a:gd name="connsiteX2203" fmla="*/ 949271 w 1083508"/>
                <a:gd name="connsiteY2203" fmla="*/ 304477 h 1387660"/>
                <a:gd name="connsiteX2204" fmla="*/ 945199 w 1083508"/>
                <a:gd name="connsiteY2204" fmla="*/ 304966 h 1387660"/>
                <a:gd name="connsiteX2205" fmla="*/ 949435 w 1083508"/>
                <a:gd name="connsiteY2205" fmla="*/ 306758 h 1387660"/>
                <a:gd name="connsiteX2206" fmla="*/ 953181 w 1083508"/>
                <a:gd name="connsiteY2206" fmla="*/ 306758 h 1387660"/>
                <a:gd name="connsiteX2207" fmla="*/ 963119 w 1083508"/>
                <a:gd name="connsiteY2207" fmla="*/ 306432 h 1387660"/>
                <a:gd name="connsiteX2208" fmla="*/ 966214 w 1083508"/>
                <a:gd name="connsiteY2208" fmla="*/ 304803 h 1387660"/>
                <a:gd name="connsiteX2209" fmla="*/ 969961 w 1083508"/>
                <a:gd name="connsiteY2209" fmla="*/ 304803 h 1387660"/>
                <a:gd name="connsiteX2210" fmla="*/ 974034 w 1083508"/>
                <a:gd name="connsiteY2210" fmla="*/ 307247 h 1387660"/>
                <a:gd name="connsiteX2211" fmla="*/ 979736 w 1083508"/>
                <a:gd name="connsiteY2211" fmla="*/ 308550 h 1387660"/>
                <a:gd name="connsiteX2212" fmla="*/ 989999 w 1083508"/>
                <a:gd name="connsiteY2212" fmla="*/ 308224 h 1387660"/>
                <a:gd name="connsiteX2213" fmla="*/ 993583 w 1083508"/>
                <a:gd name="connsiteY2213" fmla="*/ 311156 h 1387660"/>
                <a:gd name="connsiteX2214" fmla="*/ 995538 w 1083508"/>
                <a:gd name="connsiteY2214" fmla="*/ 311156 h 1387660"/>
                <a:gd name="connsiteX2215" fmla="*/ 998470 w 1083508"/>
                <a:gd name="connsiteY2215" fmla="*/ 307898 h 1387660"/>
                <a:gd name="connsiteX2216" fmla="*/ 1002380 w 1083508"/>
                <a:gd name="connsiteY2216" fmla="*/ 307410 h 1387660"/>
                <a:gd name="connsiteX2217" fmla="*/ 1005149 w 1083508"/>
                <a:gd name="connsiteY2217" fmla="*/ 308550 h 1387660"/>
                <a:gd name="connsiteX2218" fmla="*/ 1006941 w 1083508"/>
                <a:gd name="connsiteY2218" fmla="*/ 311156 h 1387660"/>
                <a:gd name="connsiteX2219" fmla="*/ 1011503 w 1083508"/>
                <a:gd name="connsiteY2219" fmla="*/ 312623 h 1387660"/>
                <a:gd name="connsiteX2220" fmla="*/ 1013946 w 1083508"/>
                <a:gd name="connsiteY2220" fmla="*/ 315881 h 1387660"/>
                <a:gd name="connsiteX2221" fmla="*/ 1013946 w 1083508"/>
                <a:gd name="connsiteY2221" fmla="*/ 319302 h 1387660"/>
                <a:gd name="connsiteX2222" fmla="*/ 1010200 w 1083508"/>
                <a:gd name="connsiteY2222" fmla="*/ 323049 h 1387660"/>
                <a:gd name="connsiteX2223" fmla="*/ 1006290 w 1083508"/>
                <a:gd name="connsiteY2223" fmla="*/ 323700 h 1387660"/>
                <a:gd name="connsiteX2224" fmla="*/ 1004335 w 1083508"/>
                <a:gd name="connsiteY2224" fmla="*/ 323700 h 1387660"/>
                <a:gd name="connsiteX2225" fmla="*/ 1005312 w 1083508"/>
                <a:gd name="connsiteY2225" fmla="*/ 326144 h 1387660"/>
                <a:gd name="connsiteX2226" fmla="*/ 1004986 w 1083508"/>
                <a:gd name="connsiteY2226" fmla="*/ 329891 h 1387660"/>
                <a:gd name="connsiteX2227" fmla="*/ 1000751 w 1083508"/>
                <a:gd name="connsiteY2227" fmla="*/ 332498 h 1387660"/>
                <a:gd name="connsiteX2228" fmla="*/ 991465 w 1083508"/>
                <a:gd name="connsiteY2228" fmla="*/ 334941 h 1387660"/>
                <a:gd name="connsiteX2229" fmla="*/ 987067 w 1083508"/>
                <a:gd name="connsiteY2229" fmla="*/ 333964 h 1387660"/>
                <a:gd name="connsiteX2230" fmla="*/ 982342 w 1083508"/>
                <a:gd name="connsiteY2230" fmla="*/ 335430 h 1387660"/>
                <a:gd name="connsiteX2231" fmla="*/ 973219 w 1083508"/>
                <a:gd name="connsiteY2231" fmla="*/ 334941 h 1387660"/>
                <a:gd name="connsiteX2232" fmla="*/ 970287 w 1083508"/>
                <a:gd name="connsiteY2232" fmla="*/ 332009 h 1387660"/>
                <a:gd name="connsiteX2233" fmla="*/ 960349 w 1083508"/>
                <a:gd name="connsiteY2233" fmla="*/ 324352 h 1387660"/>
                <a:gd name="connsiteX2234" fmla="*/ 953996 w 1083508"/>
                <a:gd name="connsiteY2234" fmla="*/ 323538 h 1387660"/>
                <a:gd name="connsiteX2235" fmla="*/ 950249 w 1083508"/>
                <a:gd name="connsiteY2235" fmla="*/ 323538 h 1387660"/>
                <a:gd name="connsiteX2236" fmla="*/ 946013 w 1083508"/>
                <a:gd name="connsiteY2236" fmla="*/ 327122 h 1387660"/>
                <a:gd name="connsiteX2237" fmla="*/ 942918 w 1083508"/>
                <a:gd name="connsiteY2237" fmla="*/ 333149 h 1387660"/>
                <a:gd name="connsiteX2238" fmla="*/ 937705 w 1083508"/>
                <a:gd name="connsiteY2238" fmla="*/ 336244 h 1387660"/>
                <a:gd name="connsiteX2239" fmla="*/ 935587 w 1083508"/>
                <a:gd name="connsiteY2239" fmla="*/ 338851 h 1387660"/>
                <a:gd name="connsiteX2240" fmla="*/ 932166 w 1083508"/>
                <a:gd name="connsiteY2240" fmla="*/ 339503 h 1387660"/>
                <a:gd name="connsiteX2241" fmla="*/ 934773 w 1083508"/>
                <a:gd name="connsiteY2241" fmla="*/ 340969 h 1387660"/>
                <a:gd name="connsiteX2242" fmla="*/ 938357 w 1083508"/>
                <a:gd name="connsiteY2242" fmla="*/ 341295 h 1387660"/>
                <a:gd name="connsiteX2243" fmla="*/ 939334 w 1083508"/>
                <a:gd name="connsiteY2243" fmla="*/ 343901 h 1387660"/>
                <a:gd name="connsiteX2244" fmla="*/ 939334 w 1083508"/>
                <a:gd name="connsiteY2244" fmla="*/ 348137 h 1387660"/>
                <a:gd name="connsiteX2245" fmla="*/ 937542 w 1083508"/>
                <a:gd name="connsiteY2245" fmla="*/ 349603 h 1387660"/>
                <a:gd name="connsiteX2246" fmla="*/ 934284 w 1083508"/>
                <a:gd name="connsiteY2246" fmla="*/ 349603 h 1387660"/>
                <a:gd name="connsiteX2247" fmla="*/ 934284 w 1083508"/>
                <a:gd name="connsiteY2247" fmla="*/ 352047 h 1387660"/>
                <a:gd name="connsiteX2248" fmla="*/ 936239 w 1083508"/>
                <a:gd name="connsiteY2248" fmla="*/ 354653 h 1387660"/>
                <a:gd name="connsiteX2249" fmla="*/ 940800 w 1083508"/>
                <a:gd name="connsiteY2249" fmla="*/ 356445 h 1387660"/>
                <a:gd name="connsiteX2250" fmla="*/ 943407 w 1083508"/>
                <a:gd name="connsiteY2250" fmla="*/ 355631 h 1387660"/>
                <a:gd name="connsiteX2251" fmla="*/ 944710 w 1083508"/>
                <a:gd name="connsiteY2251" fmla="*/ 353187 h 1387660"/>
                <a:gd name="connsiteX2252" fmla="*/ 949923 w 1083508"/>
                <a:gd name="connsiteY2252" fmla="*/ 350255 h 1387660"/>
                <a:gd name="connsiteX2253" fmla="*/ 953344 w 1083508"/>
                <a:gd name="connsiteY2253" fmla="*/ 346019 h 1387660"/>
                <a:gd name="connsiteX2254" fmla="*/ 959046 w 1083508"/>
                <a:gd name="connsiteY2254" fmla="*/ 343575 h 1387660"/>
                <a:gd name="connsiteX2255" fmla="*/ 966377 w 1083508"/>
                <a:gd name="connsiteY2255" fmla="*/ 341621 h 1387660"/>
                <a:gd name="connsiteX2256" fmla="*/ 973056 w 1083508"/>
                <a:gd name="connsiteY2256" fmla="*/ 339340 h 1387660"/>
                <a:gd name="connsiteX2257" fmla="*/ 976803 w 1083508"/>
                <a:gd name="connsiteY2257" fmla="*/ 338688 h 1387660"/>
                <a:gd name="connsiteX2258" fmla="*/ 979084 w 1083508"/>
                <a:gd name="connsiteY2258" fmla="*/ 340480 h 1387660"/>
                <a:gd name="connsiteX2259" fmla="*/ 981202 w 1083508"/>
                <a:gd name="connsiteY2259" fmla="*/ 342272 h 1387660"/>
                <a:gd name="connsiteX2260" fmla="*/ 985926 w 1083508"/>
                <a:gd name="connsiteY2260" fmla="*/ 343575 h 1387660"/>
                <a:gd name="connsiteX2261" fmla="*/ 989021 w 1083508"/>
                <a:gd name="connsiteY2261" fmla="*/ 346182 h 1387660"/>
                <a:gd name="connsiteX2262" fmla="*/ 989673 w 1083508"/>
                <a:gd name="connsiteY2262" fmla="*/ 348137 h 1387660"/>
                <a:gd name="connsiteX2263" fmla="*/ 988207 w 1083508"/>
                <a:gd name="connsiteY2263" fmla="*/ 349766 h 1387660"/>
                <a:gd name="connsiteX2264" fmla="*/ 982505 w 1083508"/>
                <a:gd name="connsiteY2264" fmla="*/ 354816 h 1387660"/>
                <a:gd name="connsiteX2265" fmla="*/ 979736 w 1083508"/>
                <a:gd name="connsiteY2265" fmla="*/ 360681 h 1387660"/>
                <a:gd name="connsiteX2266" fmla="*/ 976152 w 1083508"/>
                <a:gd name="connsiteY2266" fmla="*/ 364591 h 1387660"/>
                <a:gd name="connsiteX2267" fmla="*/ 974360 w 1083508"/>
                <a:gd name="connsiteY2267" fmla="*/ 368826 h 1387660"/>
                <a:gd name="connsiteX2268" fmla="*/ 967192 w 1083508"/>
                <a:gd name="connsiteY2268" fmla="*/ 374365 h 1387660"/>
                <a:gd name="connsiteX2269" fmla="*/ 963119 w 1083508"/>
                <a:gd name="connsiteY2269" fmla="*/ 381045 h 1387660"/>
                <a:gd name="connsiteX2270" fmla="*/ 954973 w 1083508"/>
                <a:gd name="connsiteY2270" fmla="*/ 392448 h 1387660"/>
                <a:gd name="connsiteX2271" fmla="*/ 951715 w 1083508"/>
                <a:gd name="connsiteY2271" fmla="*/ 397824 h 1387660"/>
                <a:gd name="connsiteX2272" fmla="*/ 948131 w 1083508"/>
                <a:gd name="connsiteY2272" fmla="*/ 401082 h 1387660"/>
                <a:gd name="connsiteX2273" fmla="*/ 948131 w 1083508"/>
                <a:gd name="connsiteY2273" fmla="*/ 407762 h 1387660"/>
                <a:gd name="connsiteX2274" fmla="*/ 946665 w 1083508"/>
                <a:gd name="connsiteY2274" fmla="*/ 413138 h 1387660"/>
                <a:gd name="connsiteX2275" fmla="*/ 946339 w 1083508"/>
                <a:gd name="connsiteY2275" fmla="*/ 416396 h 1387660"/>
                <a:gd name="connsiteX2276" fmla="*/ 943081 w 1083508"/>
                <a:gd name="connsiteY2276" fmla="*/ 420143 h 1387660"/>
                <a:gd name="connsiteX2277" fmla="*/ 943081 w 1083508"/>
                <a:gd name="connsiteY2277" fmla="*/ 426822 h 1387660"/>
                <a:gd name="connsiteX2278" fmla="*/ 940637 w 1083508"/>
                <a:gd name="connsiteY2278" fmla="*/ 433990 h 1387660"/>
                <a:gd name="connsiteX2279" fmla="*/ 938194 w 1083508"/>
                <a:gd name="connsiteY2279" fmla="*/ 442787 h 1387660"/>
                <a:gd name="connsiteX2280" fmla="*/ 940474 w 1083508"/>
                <a:gd name="connsiteY2280" fmla="*/ 446045 h 1387660"/>
                <a:gd name="connsiteX2281" fmla="*/ 941126 w 1083508"/>
                <a:gd name="connsiteY2281" fmla="*/ 451258 h 1387660"/>
                <a:gd name="connsiteX2282" fmla="*/ 939823 w 1083508"/>
                <a:gd name="connsiteY2282" fmla="*/ 458426 h 1387660"/>
                <a:gd name="connsiteX2283" fmla="*/ 936076 w 1083508"/>
                <a:gd name="connsiteY2283" fmla="*/ 461033 h 1387660"/>
                <a:gd name="connsiteX2284" fmla="*/ 933144 w 1083508"/>
                <a:gd name="connsiteY2284" fmla="*/ 464128 h 1387660"/>
                <a:gd name="connsiteX2285" fmla="*/ 934284 w 1083508"/>
                <a:gd name="connsiteY2285" fmla="*/ 469993 h 1387660"/>
                <a:gd name="connsiteX2286" fmla="*/ 933469 w 1083508"/>
                <a:gd name="connsiteY2286" fmla="*/ 472599 h 1387660"/>
                <a:gd name="connsiteX2287" fmla="*/ 930863 w 1083508"/>
                <a:gd name="connsiteY2287" fmla="*/ 476183 h 1387660"/>
                <a:gd name="connsiteX2288" fmla="*/ 930048 w 1083508"/>
                <a:gd name="connsiteY2288" fmla="*/ 482048 h 1387660"/>
                <a:gd name="connsiteX2289" fmla="*/ 928093 w 1083508"/>
                <a:gd name="connsiteY2289" fmla="*/ 487750 h 1387660"/>
                <a:gd name="connsiteX2290" fmla="*/ 923858 w 1083508"/>
                <a:gd name="connsiteY2290" fmla="*/ 491497 h 1387660"/>
                <a:gd name="connsiteX2291" fmla="*/ 920437 w 1083508"/>
                <a:gd name="connsiteY2291" fmla="*/ 490682 h 1387660"/>
                <a:gd name="connsiteX2292" fmla="*/ 919459 w 1083508"/>
                <a:gd name="connsiteY2292" fmla="*/ 487587 h 1387660"/>
                <a:gd name="connsiteX2293" fmla="*/ 919459 w 1083508"/>
                <a:gd name="connsiteY2293" fmla="*/ 484655 h 1387660"/>
                <a:gd name="connsiteX2294" fmla="*/ 916364 w 1083508"/>
                <a:gd name="connsiteY2294" fmla="*/ 482700 h 1387660"/>
                <a:gd name="connsiteX2295" fmla="*/ 914409 w 1083508"/>
                <a:gd name="connsiteY2295" fmla="*/ 482211 h 1387660"/>
                <a:gd name="connsiteX2296" fmla="*/ 918156 w 1083508"/>
                <a:gd name="connsiteY2296" fmla="*/ 479767 h 1387660"/>
                <a:gd name="connsiteX2297" fmla="*/ 916364 w 1083508"/>
                <a:gd name="connsiteY2297" fmla="*/ 477487 h 1387660"/>
                <a:gd name="connsiteX2298" fmla="*/ 913269 w 1083508"/>
                <a:gd name="connsiteY2298" fmla="*/ 476346 h 1387660"/>
                <a:gd name="connsiteX2299" fmla="*/ 910825 w 1083508"/>
                <a:gd name="connsiteY2299" fmla="*/ 477813 h 1387660"/>
                <a:gd name="connsiteX2300" fmla="*/ 908055 w 1083508"/>
                <a:gd name="connsiteY2300" fmla="*/ 477813 h 1387660"/>
                <a:gd name="connsiteX2301" fmla="*/ 906101 w 1083508"/>
                <a:gd name="connsiteY2301" fmla="*/ 480093 h 1387660"/>
                <a:gd name="connsiteX2302" fmla="*/ 906589 w 1083508"/>
                <a:gd name="connsiteY2302" fmla="*/ 482048 h 1387660"/>
                <a:gd name="connsiteX2303" fmla="*/ 908219 w 1083508"/>
                <a:gd name="connsiteY2303" fmla="*/ 483189 h 1387660"/>
                <a:gd name="connsiteX2304" fmla="*/ 907730 w 1083508"/>
                <a:gd name="connsiteY2304" fmla="*/ 485958 h 1387660"/>
                <a:gd name="connsiteX2305" fmla="*/ 905612 w 1083508"/>
                <a:gd name="connsiteY2305" fmla="*/ 487750 h 1387660"/>
                <a:gd name="connsiteX2306" fmla="*/ 905612 w 1083508"/>
                <a:gd name="connsiteY2306" fmla="*/ 490357 h 1387660"/>
                <a:gd name="connsiteX2307" fmla="*/ 908707 w 1083508"/>
                <a:gd name="connsiteY2307" fmla="*/ 493289 h 1387660"/>
                <a:gd name="connsiteX2308" fmla="*/ 911965 w 1083508"/>
                <a:gd name="connsiteY2308" fmla="*/ 494755 h 1387660"/>
                <a:gd name="connsiteX2309" fmla="*/ 914572 w 1083508"/>
                <a:gd name="connsiteY2309" fmla="*/ 498339 h 1387660"/>
                <a:gd name="connsiteX2310" fmla="*/ 917016 w 1083508"/>
                <a:gd name="connsiteY2310" fmla="*/ 501434 h 1387660"/>
                <a:gd name="connsiteX2311" fmla="*/ 918482 w 1083508"/>
                <a:gd name="connsiteY2311" fmla="*/ 507299 h 1387660"/>
                <a:gd name="connsiteX2312" fmla="*/ 923043 w 1083508"/>
                <a:gd name="connsiteY2312" fmla="*/ 508928 h 1387660"/>
                <a:gd name="connsiteX2313" fmla="*/ 927116 w 1083508"/>
                <a:gd name="connsiteY2313" fmla="*/ 510883 h 1387660"/>
                <a:gd name="connsiteX2314" fmla="*/ 932166 w 1083508"/>
                <a:gd name="connsiteY2314" fmla="*/ 515607 h 1387660"/>
                <a:gd name="connsiteX2315" fmla="*/ 934447 w 1083508"/>
                <a:gd name="connsiteY2315" fmla="*/ 521961 h 1387660"/>
                <a:gd name="connsiteX2316" fmla="*/ 932655 w 1083508"/>
                <a:gd name="connsiteY2316" fmla="*/ 524730 h 1387660"/>
                <a:gd name="connsiteX2317" fmla="*/ 929722 w 1083508"/>
                <a:gd name="connsiteY2317" fmla="*/ 525382 h 1387660"/>
                <a:gd name="connsiteX2318" fmla="*/ 925976 w 1083508"/>
                <a:gd name="connsiteY2318" fmla="*/ 522775 h 1387660"/>
                <a:gd name="connsiteX2319" fmla="*/ 920600 w 1083508"/>
                <a:gd name="connsiteY2319" fmla="*/ 517237 h 1387660"/>
                <a:gd name="connsiteX2320" fmla="*/ 919948 w 1083508"/>
                <a:gd name="connsiteY2320" fmla="*/ 514467 h 1387660"/>
                <a:gd name="connsiteX2321" fmla="*/ 917178 w 1083508"/>
                <a:gd name="connsiteY2321" fmla="*/ 513490 h 1387660"/>
                <a:gd name="connsiteX2322" fmla="*/ 915549 w 1083508"/>
                <a:gd name="connsiteY2322" fmla="*/ 511861 h 1387660"/>
                <a:gd name="connsiteX2323" fmla="*/ 913594 w 1083508"/>
                <a:gd name="connsiteY2323" fmla="*/ 513490 h 1387660"/>
                <a:gd name="connsiteX2324" fmla="*/ 912780 w 1083508"/>
                <a:gd name="connsiteY2324" fmla="*/ 515445 h 1387660"/>
                <a:gd name="connsiteX2325" fmla="*/ 913920 w 1083508"/>
                <a:gd name="connsiteY2325" fmla="*/ 518703 h 1387660"/>
                <a:gd name="connsiteX2326" fmla="*/ 916201 w 1083508"/>
                <a:gd name="connsiteY2326" fmla="*/ 521961 h 1387660"/>
                <a:gd name="connsiteX2327" fmla="*/ 916201 w 1083508"/>
                <a:gd name="connsiteY2327" fmla="*/ 524242 h 1387660"/>
                <a:gd name="connsiteX2328" fmla="*/ 912780 w 1083508"/>
                <a:gd name="connsiteY2328" fmla="*/ 523427 h 1387660"/>
                <a:gd name="connsiteX2329" fmla="*/ 911640 w 1083508"/>
                <a:gd name="connsiteY2329" fmla="*/ 522613 h 1387660"/>
                <a:gd name="connsiteX2330" fmla="*/ 910499 w 1083508"/>
                <a:gd name="connsiteY2330" fmla="*/ 524242 h 1387660"/>
                <a:gd name="connsiteX2331" fmla="*/ 911802 w 1083508"/>
                <a:gd name="connsiteY2331" fmla="*/ 526197 h 1387660"/>
                <a:gd name="connsiteX2332" fmla="*/ 915061 w 1083508"/>
                <a:gd name="connsiteY2332" fmla="*/ 528477 h 1387660"/>
                <a:gd name="connsiteX2333" fmla="*/ 914735 w 1083508"/>
                <a:gd name="connsiteY2333" fmla="*/ 530106 h 1387660"/>
                <a:gd name="connsiteX2334" fmla="*/ 912943 w 1083508"/>
                <a:gd name="connsiteY2334" fmla="*/ 531084 h 1387660"/>
                <a:gd name="connsiteX2335" fmla="*/ 914572 w 1083508"/>
                <a:gd name="connsiteY2335" fmla="*/ 532876 h 1387660"/>
                <a:gd name="connsiteX2336" fmla="*/ 917667 w 1083508"/>
                <a:gd name="connsiteY2336" fmla="*/ 532387 h 1387660"/>
                <a:gd name="connsiteX2337" fmla="*/ 922228 w 1083508"/>
                <a:gd name="connsiteY2337" fmla="*/ 534016 h 1387660"/>
                <a:gd name="connsiteX2338" fmla="*/ 923858 w 1083508"/>
                <a:gd name="connsiteY2338" fmla="*/ 536134 h 1387660"/>
                <a:gd name="connsiteX2339" fmla="*/ 923858 w 1083508"/>
                <a:gd name="connsiteY2339" fmla="*/ 539881 h 1387660"/>
                <a:gd name="connsiteX2340" fmla="*/ 923043 w 1083508"/>
                <a:gd name="connsiteY2340" fmla="*/ 541673 h 1387660"/>
                <a:gd name="connsiteX2341" fmla="*/ 924835 w 1083508"/>
                <a:gd name="connsiteY2341" fmla="*/ 543465 h 1387660"/>
                <a:gd name="connsiteX2342" fmla="*/ 927768 w 1083508"/>
                <a:gd name="connsiteY2342" fmla="*/ 542325 h 1387660"/>
                <a:gd name="connsiteX2343" fmla="*/ 932329 w 1083508"/>
                <a:gd name="connsiteY2343" fmla="*/ 537437 h 1387660"/>
                <a:gd name="connsiteX2344" fmla="*/ 934284 w 1083508"/>
                <a:gd name="connsiteY2344" fmla="*/ 534179 h 1387660"/>
                <a:gd name="connsiteX2345" fmla="*/ 936076 w 1083508"/>
                <a:gd name="connsiteY2345" fmla="*/ 533365 h 1387660"/>
                <a:gd name="connsiteX2346" fmla="*/ 936402 w 1083508"/>
                <a:gd name="connsiteY2346" fmla="*/ 535319 h 1387660"/>
                <a:gd name="connsiteX2347" fmla="*/ 937705 w 1083508"/>
                <a:gd name="connsiteY2347" fmla="*/ 537437 h 1387660"/>
                <a:gd name="connsiteX2348" fmla="*/ 939660 w 1083508"/>
                <a:gd name="connsiteY2348" fmla="*/ 537437 h 1387660"/>
                <a:gd name="connsiteX2349" fmla="*/ 942592 w 1083508"/>
                <a:gd name="connsiteY2349" fmla="*/ 539881 h 1387660"/>
                <a:gd name="connsiteX2350" fmla="*/ 946502 w 1083508"/>
                <a:gd name="connsiteY2350" fmla="*/ 541673 h 1387660"/>
                <a:gd name="connsiteX2351" fmla="*/ 947805 w 1083508"/>
                <a:gd name="connsiteY2351" fmla="*/ 545746 h 1387660"/>
                <a:gd name="connsiteX2352" fmla="*/ 947479 w 1083508"/>
                <a:gd name="connsiteY2352" fmla="*/ 549330 h 1387660"/>
                <a:gd name="connsiteX2353" fmla="*/ 945851 w 1083508"/>
                <a:gd name="connsiteY2353" fmla="*/ 551285 h 1387660"/>
                <a:gd name="connsiteX2354" fmla="*/ 945199 w 1083508"/>
                <a:gd name="connsiteY2354" fmla="*/ 557964 h 1387660"/>
                <a:gd name="connsiteX2355" fmla="*/ 943895 w 1083508"/>
                <a:gd name="connsiteY2355" fmla="*/ 563829 h 1387660"/>
                <a:gd name="connsiteX2356" fmla="*/ 944384 w 1083508"/>
                <a:gd name="connsiteY2356" fmla="*/ 566272 h 1387660"/>
                <a:gd name="connsiteX2357" fmla="*/ 942429 w 1083508"/>
                <a:gd name="connsiteY2357" fmla="*/ 572952 h 1387660"/>
                <a:gd name="connsiteX2358" fmla="*/ 939986 w 1083508"/>
                <a:gd name="connsiteY2358" fmla="*/ 576047 h 1387660"/>
                <a:gd name="connsiteX2359" fmla="*/ 939334 w 1083508"/>
                <a:gd name="connsiteY2359" fmla="*/ 580445 h 1387660"/>
                <a:gd name="connsiteX2360" fmla="*/ 938357 w 1083508"/>
                <a:gd name="connsiteY2360" fmla="*/ 582726 h 1387660"/>
                <a:gd name="connsiteX2361" fmla="*/ 936728 w 1083508"/>
                <a:gd name="connsiteY2361" fmla="*/ 581586 h 1387660"/>
                <a:gd name="connsiteX2362" fmla="*/ 934284 w 1083508"/>
                <a:gd name="connsiteY2362" fmla="*/ 577839 h 1387660"/>
                <a:gd name="connsiteX2363" fmla="*/ 929071 w 1083508"/>
                <a:gd name="connsiteY2363" fmla="*/ 576047 h 1387660"/>
                <a:gd name="connsiteX2364" fmla="*/ 926627 w 1083508"/>
                <a:gd name="connsiteY2364" fmla="*/ 572789 h 1387660"/>
                <a:gd name="connsiteX2365" fmla="*/ 924346 w 1083508"/>
                <a:gd name="connsiteY2365" fmla="*/ 571974 h 1387660"/>
                <a:gd name="connsiteX2366" fmla="*/ 922717 w 1083508"/>
                <a:gd name="connsiteY2366" fmla="*/ 572789 h 1387660"/>
                <a:gd name="connsiteX2367" fmla="*/ 918808 w 1083508"/>
                <a:gd name="connsiteY2367" fmla="*/ 571811 h 1387660"/>
                <a:gd name="connsiteX2368" fmla="*/ 917830 w 1083508"/>
                <a:gd name="connsiteY2368" fmla="*/ 569693 h 1387660"/>
                <a:gd name="connsiteX2369" fmla="*/ 918645 w 1083508"/>
                <a:gd name="connsiteY2369" fmla="*/ 566435 h 1387660"/>
                <a:gd name="connsiteX2370" fmla="*/ 916038 w 1083508"/>
                <a:gd name="connsiteY2370" fmla="*/ 563177 h 1387660"/>
                <a:gd name="connsiteX2371" fmla="*/ 913757 w 1083508"/>
                <a:gd name="connsiteY2371" fmla="*/ 562525 h 1387660"/>
                <a:gd name="connsiteX2372" fmla="*/ 911965 w 1083508"/>
                <a:gd name="connsiteY2372" fmla="*/ 563666 h 1387660"/>
                <a:gd name="connsiteX2373" fmla="*/ 909522 w 1083508"/>
                <a:gd name="connsiteY2373" fmla="*/ 562688 h 1387660"/>
                <a:gd name="connsiteX2374" fmla="*/ 906263 w 1083508"/>
                <a:gd name="connsiteY2374" fmla="*/ 559104 h 1387660"/>
                <a:gd name="connsiteX2375" fmla="*/ 901702 w 1083508"/>
                <a:gd name="connsiteY2375" fmla="*/ 558778 h 1387660"/>
                <a:gd name="connsiteX2376" fmla="*/ 898118 w 1083508"/>
                <a:gd name="connsiteY2376" fmla="*/ 560245 h 1387660"/>
                <a:gd name="connsiteX2377" fmla="*/ 899421 w 1083508"/>
                <a:gd name="connsiteY2377" fmla="*/ 561874 h 1387660"/>
                <a:gd name="connsiteX2378" fmla="*/ 899747 w 1083508"/>
                <a:gd name="connsiteY2378" fmla="*/ 564480 h 1387660"/>
                <a:gd name="connsiteX2379" fmla="*/ 897303 w 1083508"/>
                <a:gd name="connsiteY2379" fmla="*/ 564480 h 1387660"/>
                <a:gd name="connsiteX2380" fmla="*/ 895349 w 1083508"/>
                <a:gd name="connsiteY2380" fmla="*/ 563177 h 1387660"/>
                <a:gd name="connsiteX2381" fmla="*/ 890624 w 1083508"/>
                <a:gd name="connsiteY2381" fmla="*/ 562851 h 1387660"/>
                <a:gd name="connsiteX2382" fmla="*/ 887366 w 1083508"/>
                <a:gd name="connsiteY2382" fmla="*/ 564154 h 1387660"/>
                <a:gd name="connsiteX2383" fmla="*/ 888506 w 1083508"/>
                <a:gd name="connsiteY2383" fmla="*/ 565295 h 1387660"/>
                <a:gd name="connsiteX2384" fmla="*/ 891765 w 1083508"/>
                <a:gd name="connsiteY2384" fmla="*/ 565295 h 1387660"/>
                <a:gd name="connsiteX2385" fmla="*/ 896163 w 1083508"/>
                <a:gd name="connsiteY2385" fmla="*/ 566435 h 1387660"/>
                <a:gd name="connsiteX2386" fmla="*/ 897466 w 1083508"/>
                <a:gd name="connsiteY2386" fmla="*/ 567901 h 1387660"/>
                <a:gd name="connsiteX2387" fmla="*/ 897141 w 1083508"/>
                <a:gd name="connsiteY2387" fmla="*/ 569367 h 1387660"/>
                <a:gd name="connsiteX2388" fmla="*/ 893719 w 1083508"/>
                <a:gd name="connsiteY2388" fmla="*/ 570345 h 1387660"/>
                <a:gd name="connsiteX2389" fmla="*/ 887692 w 1083508"/>
                <a:gd name="connsiteY2389" fmla="*/ 575884 h 1387660"/>
                <a:gd name="connsiteX2390" fmla="*/ 883782 w 1083508"/>
                <a:gd name="connsiteY2390" fmla="*/ 578979 h 1387660"/>
                <a:gd name="connsiteX2391" fmla="*/ 881013 w 1083508"/>
                <a:gd name="connsiteY2391" fmla="*/ 578327 h 1387660"/>
                <a:gd name="connsiteX2392" fmla="*/ 879220 w 1083508"/>
                <a:gd name="connsiteY2392" fmla="*/ 575721 h 1387660"/>
                <a:gd name="connsiteX2393" fmla="*/ 879220 w 1083508"/>
                <a:gd name="connsiteY2393" fmla="*/ 572463 h 1387660"/>
                <a:gd name="connsiteX2394" fmla="*/ 878243 w 1083508"/>
                <a:gd name="connsiteY2394" fmla="*/ 571160 h 1387660"/>
                <a:gd name="connsiteX2395" fmla="*/ 875637 w 1083508"/>
                <a:gd name="connsiteY2395" fmla="*/ 572300 h 1387660"/>
                <a:gd name="connsiteX2396" fmla="*/ 875962 w 1083508"/>
                <a:gd name="connsiteY2396" fmla="*/ 575884 h 1387660"/>
                <a:gd name="connsiteX2397" fmla="*/ 876940 w 1083508"/>
                <a:gd name="connsiteY2397" fmla="*/ 578979 h 1387660"/>
                <a:gd name="connsiteX2398" fmla="*/ 875148 w 1083508"/>
                <a:gd name="connsiteY2398" fmla="*/ 581260 h 1387660"/>
                <a:gd name="connsiteX2399" fmla="*/ 876451 w 1083508"/>
                <a:gd name="connsiteY2399" fmla="*/ 583541 h 1387660"/>
                <a:gd name="connsiteX2400" fmla="*/ 877103 w 1083508"/>
                <a:gd name="connsiteY2400" fmla="*/ 586473 h 1387660"/>
                <a:gd name="connsiteX2401" fmla="*/ 875311 w 1083508"/>
                <a:gd name="connsiteY2401" fmla="*/ 588754 h 1387660"/>
                <a:gd name="connsiteX2402" fmla="*/ 876777 w 1083508"/>
                <a:gd name="connsiteY2402" fmla="*/ 590383 h 1387660"/>
                <a:gd name="connsiteX2403" fmla="*/ 876777 w 1083508"/>
                <a:gd name="connsiteY2403" fmla="*/ 593152 h 1387660"/>
                <a:gd name="connsiteX2404" fmla="*/ 875148 w 1083508"/>
                <a:gd name="connsiteY2404" fmla="*/ 594130 h 1387660"/>
                <a:gd name="connsiteX2405" fmla="*/ 870261 w 1083508"/>
                <a:gd name="connsiteY2405" fmla="*/ 592501 h 1387660"/>
                <a:gd name="connsiteX2406" fmla="*/ 867654 w 1083508"/>
                <a:gd name="connsiteY2406" fmla="*/ 592501 h 1387660"/>
                <a:gd name="connsiteX2407" fmla="*/ 866351 w 1083508"/>
                <a:gd name="connsiteY2407" fmla="*/ 594944 h 1387660"/>
                <a:gd name="connsiteX2408" fmla="*/ 869283 w 1083508"/>
                <a:gd name="connsiteY2408" fmla="*/ 597062 h 1387660"/>
                <a:gd name="connsiteX2409" fmla="*/ 872378 w 1083508"/>
                <a:gd name="connsiteY2409" fmla="*/ 597062 h 1387660"/>
                <a:gd name="connsiteX2410" fmla="*/ 878732 w 1083508"/>
                <a:gd name="connsiteY2410" fmla="*/ 596736 h 1387660"/>
                <a:gd name="connsiteX2411" fmla="*/ 879546 w 1083508"/>
                <a:gd name="connsiteY2411" fmla="*/ 598528 h 1387660"/>
                <a:gd name="connsiteX2412" fmla="*/ 879058 w 1083508"/>
                <a:gd name="connsiteY2412" fmla="*/ 601786 h 1387660"/>
                <a:gd name="connsiteX2413" fmla="*/ 879058 w 1083508"/>
                <a:gd name="connsiteY2413" fmla="*/ 606348 h 1387660"/>
                <a:gd name="connsiteX2414" fmla="*/ 880687 w 1083508"/>
                <a:gd name="connsiteY2414" fmla="*/ 606837 h 1387660"/>
                <a:gd name="connsiteX2415" fmla="*/ 882316 w 1083508"/>
                <a:gd name="connsiteY2415" fmla="*/ 604556 h 1387660"/>
                <a:gd name="connsiteX2416" fmla="*/ 887366 w 1083508"/>
                <a:gd name="connsiteY2416" fmla="*/ 603578 h 1387660"/>
                <a:gd name="connsiteX2417" fmla="*/ 891765 w 1083508"/>
                <a:gd name="connsiteY2417" fmla="*/ 604882 h 1387660"/>
                <a:gd name="connsiteX2418" fmla="*/ 894045 w 1083508"/>
                <a:gd name="connsiteY2418" fmla="*/ 606837 h 1387660"/>
                <a:gd name="connsiteX2419" fmla="*/ 899421 w 1083508"/>
                <a:gd name="connsiteY2419" fmla="*/ 607162 h 1387660"/>
                <a:gd name="connsiteX2420" fmla="*/ 903168 w 1083508"/>
                <a:gd name="connsiteY2420" fmla="*/ 608140 h 1387660"/>
                <a:gd name="connsiteX2421" fmla="*/ 906101 w 1083508"/>
                <a:gd name="connsiteY2421" fmla="*/ 607162 h 1387660"/>
                <a:gd name="connsiteX2422" fmla="*/ 908219 w 1083508"/>
                <a:gd name="connsiteY2422" fmla="*/ 605533 h 1387660"/>
                <a:gd name="connsiteX2423" fmla="*/ 910010 w 1083508"/>
                <a:gd name="connsiteY2423" fmla="*/ 606511 h 1387660"/>
                <a:gd name="connsiteX2424" fmla="*/ 910010 w 1083508"/>
                <a:gd name="connsiteY2424" fmla="*/ 609280 h 1387660"/>
                <a:gd name="connsiteX2425" fmla="*/ 910336 w 1083508"/>
                <a:gd name="connsiteY2425" fmla="*/ 614168 h 1387660"/>
                <a:gd name="connsiteX2426" fmla="*/ 910825 w 1083508"/>
                <a:gd name="connsiteY2426" fmla="*/ 616937 h 1387660"/>
                <a:gd name="connsiteX2427" fmla="*/ 909847 w 1083508"/>
                <a:gd name="connsiteY2427" fmla="*/ 618566 h 1387660"/>
                <a:gd name="connsiteX2428" fmla="*/ 907078 w 1083508"/>
                <a:gd name="connsiteY2428" fmla="*/ 620195 h 1387660"/>
                <a:gd name="connsiteX2429" fmla="*/ 904960 w 1083508"/>
                <a:gd name="connsiteY2429" fmla="*/ 618729 h 1387660"/>
                <a:gd name="connsiteX2430" fmla="*/ 901702 w 1083508"/>
                <a:gd name="connsiteY2430" fmla="*/ 617589 h 1387660"/>
                <a:gd name="connsiteX2431" fmla="*/ 898444 w 1083508"/>
                <a:gd name="connsiteY2431" fmla="*/ 619218 h 1387660"/>
                <a:gd name="connsiteX2432" fmla="*/ 895674 w 1083508"/>
                <a:gd name="connsiteY2432" fmla="*/ 620195 h 1387660"/>
                <a:gd name="connsiteX2433" fmla="*/ 893231 w 1083508"/>
                <a:gd name="connsiteY2433" fmla="*/ 618077 h 1387660"/>
                <a:gd name="connsiteX2434" fmla="*/ 886552 w 1083508"/>
                <a:gd name="connsiteY2434" fmla="*/ 619055 h 1387660"/>
                <a:gd name="connsiteX2435" fmla="*/ 881176 w 1083508"/>
                <a:gd name="connsiteY2435" fmla="*/ 620195 h 1387660"/>
                <a:gd name="connsiteX2436" fmla="*/ 878569 w 1083508"/>
                <a:gd name="connsiteY2436" fmla="*/ 619381 h 1387660"/>
                <a:gd name="connsiteX2437" fmla="*/ 877592 w 1083508"/>
                <a:gd name="connsiteY2437" fmla="*/ 617589 h 1387660"/>
                <a:gd name="connsiteX2438" fmla="*/ 876777 w 1083508"/>
                <a:gd name="connsiteY2438" fmla="*/ 619869 h 1387660"/>
                <a:gd name="connsiteX2439" fmla="*/ 877754 w 1083508"/>
                <a:gd name="connsiteY2439" fmla="*/ 621010 h 1387660"/>
                <a:gd name="connsiteX2440" fmla="*/ 878732 w 1083508"/>
                <a:gd name="connsiteY2440" fmla="*/ 622965 h 1387660"/>
                <a:gd name="connsiteX2441" fmla="*/ 881664 w 1083508"/>
                <a:gd name="connsiteY2441" fmla="*/ 622965 h 1387660"/>
                <a:gd name="connsiteX2442" fmla="*/ 885411 w 1083508"/>
                <a:gd name="connsiteY2442" fmla="*/ 621987 h 1387660"/>
                <a:gd name="connsiteX2443" fmla="*/ 893557 w 1083508"/>
                <a:gd name="connsiteY2443" fmla="*/ 621987 h 1387660"/>
                <a:gd name="connsiteX2444" fmla="*/ 896978 w 1083508"/>
                <a:gd name="connsiteY2444" fmla="*/ 623942 h 1387660"/>
                <a:gd name="connsiteX2445" fmla="*/ 899584 w 1083508"/>
                <a:gd name="connsiteY2445" fmla="*/ 626874 h 1387660"/>
                <a:gd name="connsiteX2446" fmla="*/ 902679 w 1083508"/>
                <a:gd name="connsiteY2446" fmla="*/ 626874 h 1387660"/>
                <a:gd name="connsiteX2447" fmla="*/ 906263 w 1083508"/>
                <a:gd name="connsiteY2447" fmla="*/ 628015 h 1387660"/>
                <a:gd name="connsiteX2448" fmla="*/ 908870 w 1083508"/>
                <a:gd name="connsiteY2448" fmla="*/ 630947 h 1387660"/>
                <a:gd name="connsiteX2449" fmla="*/ 911477 w 1083508"/>
                <a:gd name="connsiteY2449" fmla="*/ 635183 h 1387660"/>
                <a:gd name="connsiteX2450" fmla="*/ 915224 w 1083508"/>
                <a:gd name="connsiteY2450" fmla="*/ 639093 h 1387660"/>
                <a:gd name="connsiteX2451" fmla="*/ 916038 w 1083508"/>
                <a:gd name="connsiteY2451" fmla="*/ 641373 h 1387660"/>
                <a:gd name="connsiteX2452" fmla="*/ 914898 w 1083508"/>
                <a:gd name="connsiteY2452" fmla="*/ 641373 h 1387660"/>
                <a:gd name="connsiteX2453" fmla="*/ 911802 w 1083508"/>
                <a:gd name="connsiteY2453" fmla="*/ 640722 h 1387660"/>
                <a:gd name="connsiteX2454" fmla="*/ 910010 w 1083508"/>
                <a:gd name="connsiteY2454" fmla="*/ 639581 h 1387660"/>
                <a:gd name="connsiteX2455" fmla="*/ 909522 w 1083508"/>
                <a:gd name="connsiteY2455" fmla="*/ 641210 h 1387660"/>
                <a:gd name="connsiteX2456" fmla="*/ 909196 w 1083508"/>
                <a:gd name="connsiteY2456" fmla="*/ 643817 h 1387660"/>
                <a:gd name="connsiteX2457" fmla="*/ 911151 w 1083508"/>
                <a:gd name="connsiteY2457" fmla="*/ 647564 h 1387660"/>
                <a:gd name="connsiteX2458" fmla="*/ 911477 w 1083508"/>
                <a:gd name="connsiteY2458" fmla="*/ 653429 h 1387660"/>
                <a:gd name="connsiteX2459" fmla="*/ 910988 w 1083508"/>
                <a:gd name="connsiteY2459" fmla="*/ 655709 h 1387660"/>
                <a:gd name="connsiteX2460" fmla="*/ 911965 w 1083508"/>
                <a:gd name="connsiteY2460" fmla="*/ 660108 h 1387660"/>
                <a:gd name="connsiteX2461" fmla="*/ 911151 w 1083508"/>
                <a:gd name="connsiteY2461" fmla="*/ 662877 h 1387660"/>
                <a:gd name="connsiteX2462" fmla="*/ 909685 w 1083508"/>
                <a:gd name="connsiteY2462" fmla="*/ 665647 h 1387660"/>
                <a:gd name="connsiteX2463" fmla="*/ 907078 w 1083508"/>
                <a:gd name="connsiteY2463" fmla="*/ 673792 h 1387660"/>
                <a:gd name="connsiteX2464" fmla="*/ 904146 w 1083508"/>
                <a:gd name="connsiteY2464" fmla="*/ 676887 h 1387660"/>
                <a:gd name="connsiteX2465" fmla="*/ 901539 w 1083508"/>
                <a:gd name="connsiteY2465" fmla="*/ 677213 h 1387660"/>
                <a:gd name="connsiteX2466" fmla="*/ 899095 w 1083508"/>
                <a:gd name="connsiteY2466" fmla="*/ 675096 h 1387660"/>
                <a:gd name="connsiteX2467" fmla="*/ 897141 w 1083508"/>
                <a:gd name="connsiteY2467" fmla="*/ 671023 h 1387660"/>
                <a:gd name="connsiteX2468" fmla="*/ 900236 w 1083508"/>
                <a:gd name="connsiteY2468" fmla="*/ 668416 h 1387660"/>
                <a:gd name="connsiteX2469" fmla="*/ 899095 w 1083508"/>
                <a:gd name="connsiteY2469" fmla="*/ 666135 h 1387660"/>
                <a:gd name="connsiteX2470" fmla="*/ 896489 w 1083508"/>
                <a:gd name="connsiteY2470" fmla="*/ 665321 h 1387660"/>
                <a:gd name="connsiteX2471" fmla="*/ 894534 w 1083508"/>
                <a:gd name="connsiteY2471" fmla="*/ 666461 h 1387660"/>
                <a:gd name="connsiteX2472" fmla="*/ 891602 w 1083508"/>
                <a:gd name="connsiteY2472" fmla="*/ 665810 h 1387660"/>
                <a:gd name="connsiteX2473" fmla="*/ 885900 w 1083508"/>
                <a:gd name="connsiteY2473" fmla="*/ 659130 h 1387660"/>
                <a:gd name="connsiteX2474" fmla="*/ 881176 w 1083508"/>
                <a:gd name="connsiteY2474" fmla="*/ 655546 h 1387660"/>
                <a:gd name="connsiteX2475" fmla="*/ 876777 w 1083508"/>
                <a:gd name="connsiteY2475" fmla="*/ 651637 h 1387660"/>
                <a:gd name="connsiteX2476" fmla="*/ 876777 w 1083508"/>
                <a:gd name="connsiteY2476" fmla="*/ 648867 h 1387660"/>
                <a:gd name="connsiteX2477" fmla="*/ 874822 w 1083508"/>
                <a:gd name="connsiteY2477" fmla="*/ 644794 h 1387660"/>
                <a:gd name="connsiteX2478" fmla="*/ 868957 w 1083508"/>
                <a:gd name="connsiteY2478" fmla="*/ 638278 h 1387660"/>
                <a:gd name="connsiteX2479" fmla="*/ 866514 w 1083508"/>
                <a:gd name="connsiteY2479" fmla="*/ 636812 h 1387660"/>
                <a:gd name="connsiteX2480" fmla="*/ 865536 w 1083508"/>
                <a:gd name="connsiteY2480" fmla="*/ 636812 h 1387660"/>
                <a:gd name="connsiteX2481" fmla="*/ 865210 w 1083508"/>
                <a:gd name="connsiteY2481" fmla="*/ 638441 h 1387660"/>
                <a:gd name="connsiteX2482" fmla="*/ 866351 w 1083508"/>
                <a:gd name="connsiteY2482" fmla="*/ 640396 h 1387660"/>
                <a:gd name="connsiteX2483" fmla="*/ 870586 w 1083508"/>
                <a:gd name="connsiteY2483" fmla="*/ 645120 h 1387660"/>
                <a:gd name="connsiteX2484" fmla="*/ 870586 w 1083508"/>
                <a:gd name="connsiteY2484" fmla="*/ 647727 h 1387660"/>
                <a:gd name="connsiteX2485" fmla="*/ 869446 w 1083508"/>
                <a:gd name="connsiteY2485" fmla="*/ 649682 h 1387660"/>
                <a:gd name="connsiteX2486" fmla="*/ 863581 w 1083508"/>
                <a:gd name="connsiteY2486" fmla="*/ 649356 h 1387660"/>
                <a:gd name="connsiteX2487" fmla="*/ 860649 w 1083508"/>
                <a:gd name="connsiteY2487" fmla="*/ 646749 h 1387660"/>
                <a:gd name="connsiteX2488" fmla="*/ 858205 w 1083508"/>
                <a:gd name="connsiteY2488" fmla="*/ 642188 h 1387660"/>
                <a:gd name="connsiteX2489" fmla="*/ 856250 w 1083508"/>
                <a:gd name="connsiteY2489" fmla="*/ 639581 h 1387660"/>
                <a:gd name="connsiteX2490" fmla="*/ 855925 w 1083508"/>
                <a:gd name="connsiteY2490" fmla="*/ 642514 h 1387660"/>
                <a:gd name="connsiteX2491" fmla="*/ 856250 w 1083508"/>
                <a:gd name="connsiteY2491" fmla="*/ 645609 h 1387660"/>
                <a:gd name="connsiteX2492" fmla="*/ 860160 w 1083508"/>
                <a:gd name="connsiteY2492" fmla="*/ 650333 h 1387660"/>
                <a:gd name="connsiteX2493" fmla="*/ 867491 w 1083508"/>
                <a:gd name="connsiteY2493" fmla="*/ 653429 h 1387660"/>
                <a:gd name="connsiteX2494" fmla="*/ 874008 w 1083508"/>
                <a:gd name="connsiteY2494" fmla="*/ 653429 h 1387660"/>
                <a:gd name="connsiteX2495" fmla="*/ 880850 w 1083508"/>
                <a:gd name="connsiteY2495" fmla="*/ 658968 h 1387660"/>
                <a:gd name="connsiteX2496" fmla="*/ 890136 w 1083508"/>
                <a:gd name="connsiteY2496" fmla="*/ 668416 h 1387660"/>
                <a:gd name="connsiteX2497" fmla="*/ 891113 w 1083508"/>
                <a:gd name="connsiteY2497" fmla="*/ 671186 h 1387660"/>
                <a:gd name="connsiteX2498" fmla="*/ 889810 w 1083508"/>
                <a:gd name="connsiteY2498" fmla="*/ 673466 h 1387660"/>
                <a:gd name="connsiteX2499" fmla="*/ 887529 w 1083508"/>
                <a:gd name="connsiteY2499" fmla="*/ 673141 h 1387660"/>
                <a:gd name="connsiteX2500" fmla="*/ 884597 w 1083508"/>
                <a:gd name="connsiteY2500" fmla="*/ 671186 h 1387660"/>
                <a:gd name="connsiteX2501" fmla="*/ 880198 w 1083508"/>
                <a:gd name="connsiteY2501" fmla="*/ 671186 h 1387660"/>
                <a:gd name="connsiteX2502" fmla="*/ 877103 w 1083508"/>
                <a:gd name="connsiteY2502" fmla="*/ 672978 h 1387660"/>
                <a:gd name="connsiteX2503" fmla="*/ 872541 w 1083508"/>
                <a:gd name="connsiteY2503" fmla="*/ 677376 h 1387660"/>
                <a:gd name="connsiteX2504" fmla="*/ 869446 w 1083508"/>
                <a:gd name="connsiteY2504" fmla="*/ 677702 h 1387660"/>
                <a:gd name="connsiteX2505" fmla="*/ 865536 w 1083508"/>
                <a:gd name="connsiteY2505" fmla="*/ 675910 h 1387660"/>
                <a:gd name="connsiteX2506" fmla="*/ 864233 w 1083508"/>
                <a:gd name="connsiteY2506" fmla="*/ 672652 h 1387660"/>
                <a:gd name="connsiteX2507" fmla="*/ 865210 w 1083508"/>
                <a:gd name="connsiteY2507" fmla="*/ 670860 h 1387660"/>
                <a:gd name="connsiteX2508" fmla="*/ 864233 w 1083508"/>
                <a:gd name="connsiteY2508" fmla="*/ 669068 h 1387660"/>
                <a:gd name="connsiteX2509" fmla="*/ 860975 w 1083508"/>
                <a:gd name="connsiteY2509" fmla="*/ 666624 h 1387660"/>
                <a:gd name="connsiteX2510" fmla="*/ 860975 w 1083508"/>
                <a:gd name="connsiteY2510" fmla="*/ 669720 h 1387660"/>
                <a:gd name="connsiteX2511" fmla="*/ 862604 w 1083508"/>
                <a:gd name="connsiteY2511" fmla="*/ 672326 h 1387660"/>
                <a:gd name="connsiteX2512" fmla="*/ 863581 w 1083508"/>
                <a:gd name="connsiteY2512" fmla="*/ 677376 h 1387660"/>
                <a:gd name="connsiteX2513" fmla="*/ 864885 w 1083508"/>
                <a:gd name="connsiteY2513" fmla="*/ 680309 h 1387660"/>
                <a:gd name="connsiteX2514" fmla="*/ 869446 w 1083508"/>
                <a:gd name="connsiteY2514" fmla="*/ 681286 h 1387660"/>
                <a:gd name="connsiteX2515" fmla="*/ 874496 w 1083508"/>
                <a:gd name="connsiteY2515" fmla="*/ 680309 h 1387660"/>
                <a:gd name="connsiteX2516" fmla="*/ 878569 w 1083508"/>
                <a:gd name="connsiteY2516" fmla="*/ 675258 h 1387660"/>
                <a:gd name="connsiteX2517" fmla="*/ 881176 w 1083508"/>
                <a:gd name="connsiteY2517" fmla="*/ 674933 h 1387660"/>
                <a:gd name="connsiteX2518" fmla="*/ 887040 w 1083508"/>
                <a:gd name="connsiteY2518" fmla="*/ 677865 h 1387660"/>
                <a:gd name="connsiteX2519" fmla="*/ 886714 w 1083508"/>
                <a:gd name="connsiteY2519" fmla="*/ 681123 h 1387660"/>
                <a:gd name="connsiteX2520" fmla="*/ 885737 w 1083508"/>
                <a:gd name="connsiteY2520" fmla="*/ 682589 h 1387660"/>
                <a:gd name="connsiteX2521" fmla="*/ 884597 w 1083508"/>
                <a:gd name="connsiteY2521" fmla="*/ 691061 h 1387660"/>
                <a:gd name="connsiteX2522" fmla="*/ 882805 w 1083508"/>
                <a:gd name="connsiteY2522" fmla="*/ 693993 h 1387660"/>
                <a:gd name="connsiteX2523" fmla="*/ 880361 w 1083508"/>
                <a:gd name="connsiteY2523" fmla="*/ 693993 h 1387660"/>
                <a:gd name="connsiteX2524" fmla="*/ 880687 w 1083508"/>
                <a:gd name="connsiteY2524" fmla="*/ 696274 h 1387660"/>
                <a:gd name="connsiteX2525" fmla="*/ 882805 w 1083508"/>
                <a:gd name="connsiteY2525" fmla="*/ 698229 h 1387660"/>
                <a:gd name="connsiteX2526" fmla="*/ 885411 w 1083508"/>
                <a:gd name="connsiteY2526" fmla="*/ 696600 h 1387660"/>
                <a:gd name="connsiteX2527" fmla="*/ 890787 w 1083508"/>
                <a:gd name="connsiteY2527" fmla="*/ 697740 h 1387660"/>
                <a:gd name="connsiteX2528" fmla="*/ 894534 w 1083508"/>
                <a:gd name="connsiteY2528" fmla="*/ 702301 h 1387660"/>
                <a:gd name="connsiteX2529" fmla="*/ 900236 w 1083508"/>
                <a:gd name="connsiteY2529" fmla="*/ 705234 h 1387660"/>
                <a:gd name="connsiteX2530" fmla="*/ 901865 w 1083508"/>
                <a:gd name="connsiteY2530" fmla="*/ 703442 h 1387660"/>
                <a:gd name="connsiteX2531" fmla="*/ 905286 w 1083508"/>
                <a:gd name="connsiteY2531" fmla="*/ 701487 h 1387660"/>
                <a:gd name="connsiteX2532" fmla="*/ 909847 w 1083508"/>
                <a:gd name="connsiteY2532" fmla="*/ 702138 h 1387660"/>
                <a:gd name="connsiteX2533" fmla="*/ 910173 w 1083508"/>
                <a:gd name="connsiteY2533" fmla="*/ 704093 h 1387660"/>
                <a:gd name="connsiteX2534" fmla="*/ 908381 w 1083508"/>
                <a:gd name="connsiteY2534" fmla="*/ 707026 h 1387660"/>
                <a:gd name="connsiteX2535" fmla="*/ 909033 w 1083508"/>
                <a:gd name="connsiteY2535" fmla="*/ 711098 h 1387660"/>
                <a:gd name="connsiteX2536" fmla="*/ 911151 w 1083508"/>
                <a:gd name="connsiteY2536" fmla="*/ 714031 h 1387660"/>
                <a:gd name="connsiteX2537" fmla="*/ 909359 w 1083508"/>
                <a:gd name="connsiteY2537" fmla="*/ 718266 h 1387660"/>
                <a:gd name="connsiteX2538" fmla="*/ 904797 w 1083508"/>
                <a:gd name="connsiteY2538" fmla="*/ 725434 h 1387660"/>
                <a:gd name="connsiteX2539" fmla="*/ 899095 w 1083508"/>
                <a:gd name="connsiteY2539" fmla="*/ 728367 h 1387660"/>
                <a:gd name="connsiteX2540" fmla="*/ 896652 w 1083508"/>
                <a:gd name="connsiteY2540" fmla="*/ 727389 h 1387660"/>
                <a:gd name="connsiteX2541" fmla="*/ 896000 w 1083508"/>
                <a:gd name="connsiteY2541" fmla="*/ 724294 h 1387660"/>
                <a:gd name="connsiteX2542" fmla="*/ 893231 w 1083508"/>
                <a:gd name="connsiteY2542" fmla="*/ 722502 h 1387660"/>
                <a:gd name="connsiteX2543" fmla="*/ 891602 w 1083508"/>
                <a:gd name="connsiteY2543" fmla="*/ 718755 h 1387660"/>
                <a:gd name="connsiteX2544" fmla="*/ 891602 w 1083508"/>
                <a:gd name="connsiteY2544" fmla="*/ 715008 h 1387660"/>
                <a:gd name="connsiteX2545" fmla="*/ 886226 w 1083508"/>
                <a:gd name="connsiteY2545" fmla="*/ 710936 h 1387660"/>
                <a:gd name="connsiteX2546" fmla="*/ 882153 w 1083508"/>
                <a:gd name="connsiteY2546" fmla="*/ 709632 h 1387660"/>
                <a:gd name="connsiteX2547" fmla="*/ 878243 w 1083508"/>
                <a:gd name="connsiteY2547" fmla="*/ 706863 h 1387660"/>
                <a:gd name="connsiteX2548" fmla="*/ 874659 w 1083508"/>
                <a:gd name="connsiteY2548" fmla="*/ 706211 h 1387660"/>
                <a:gd name="connsiteX2549" fmla="*/ 871401 w 1083508"/>
                <a:gd name="connsiteY2549" fmla="*/ 708492 h 1387660"/>
                <a:gd name="connsiteX2550" fmla="*/ 867980 w 1083508"/>
                <a:gd name="connsiteY2550" fmla="*/ 708492 h 1387660"/>
                <a:gd name="connsiteX2551" fmla="*/ 866188 w 1083508"/>
                <a:gd name="connsiteY2551" fmla="*/ 707189 h 1387660"/>
                <a:gd name="connsiteX2552" fmla="*/ 864396 w 1083508"/>
                <a:gd name="connsiteY2552" fmla="*/ 703605 h 1387660"/>
                <a:gd name="connsiteX2553" fmla="*/ 861789 w 1083508"/>
                <a:gd name="connsiteY2553" fmla="*/ 700672 h 1387660"/>
                <a:gd name="connsiteX2554" fmla="*/ 859997 w 1083508"/>
                <a:gd name="connsiteY2554" fmla="*/ 700672 h 1387660"/>
                <a:gd name="connsiteX2555" fmla="*/ 859997 w 1083508"/>
                <a:gd name="connsiteY2555" fmla="*/ 702627 h 1387660"/>
                <a:gd name="connsiteX2556" fmla="*/ 861463 w 1083508"/>
                <a:gd name="connsiteY2556" fmla="*/ 705560 h 1387660"/>
                <a:gd name="connsiteX2557" fmla="*/ 861952 w 1083508"/>
                <a:gd name="connsiteY2557" fmla="*/ 710936 h 1387660"/>
                <a:gd name="connsiteX2558" fmla="*/ 860323 w 1083508"/>
                <a:gd name="connsiteY2558" fmla="*/ 714357 h 1387660"/>
                <a:gd name="connsiteX2559" fmla="*/ 857391 w 1083508"/>
                <a:gd name="connsiteY2559" fmla="*/ 716149 h 1387660"/>
                <a:gd name="connsiteX2560" fmla="*/ 853644 w 1083508"/>
                <a:gd name="connsiteY2560" fmla="*/ 716149 h 1387660"/>
                <a:gd name="connsiteX2561" fmla="*/ 851363 w 1083508"/>
                <a:gd name="connsiteY2561" fmla="*/ 717289 h 1387660"/>
                <a:gd name="connsiteX2562" fmla="*/ 853970 w 1083508"/>
                <a:gd name="connsiteY2562" fmla="*/ 718266 h 1387660"/>
                <a:gd name="connsiteX2563" fmla="*/ 855599 w 1083508"/>
                <a:gd name="connsiteY2563" fmla="*/ 720384 h 1387660"/>
                <a:gd name="connsiteX2564" fmla="*/ 855599 w 1083508"/>
                <a:gd name="connsiteY2564" fmla="*/ 723317 h 1387660"/>
                <a:gd name="connsiteX2565" fmla="*/ 851852 w 1083508"/>
                <a:gd name="connsiteY2565" fmla="*/ 728693 h 1387660"/>
                <a:gd name="connsiteX2566" fmla="*/ 849245 w 1083508"/>
                <a:gd name="connsiteY2566" fmla="*/ 730159 h 1387660"/>
                <a:gd name="connsiteX2567" fmla="*/ 848919 w 1083508"/>
                <a:gd name="connsiteY2567" fmla="*/ 731625 h 1387660"/>
                <a:gd name="connsiteX2568" fmla="*/ 850060 w 1083508"/>
                <a:gd name="connsiteY2568" fmla="*/ 733580 h 1387660"/>
                <a:gd name="connsiteX2569" fmla="*/ 852503 w 1083508"/>
                <a:gd name="connsiteY2569" fmla="*/ 735209 h 1387660"/>
                <a:gd name="connsiteX2570" fmla="*/ 854133 w 1083508"/>
                <a:gd name="connsiteY2570" fmla="*/ 740585 h 1387660"/>
                <a:gd name="connsiteX2571" fmla="*/ 856902 w 1083508"/>
                <a:gd name="connsiteY2571" fmla="*/ 742051 h 1387660"/>
                <a:gd name="connsiteX2572" fmla="*/ 857879 w 1083508"/>
                <a:gd name="connsiteY2572" fmla="*/ 746938 h 1387660"/>
                <a:gd name="connsiteX2573" fmla="*/ 856739 w 1083508"/>
                <a:gd name="connsiteY2573" fmla="*/ 752803 h 1387660"/>
                <a:gd name="connsiteX2574" fmla="*/ 857554 w 1083508"/>
                <a:gd name="connsiteY2574" fmla="*/ 754595 h 1387660"/>
                <a:gd name="connsiteX2575" fmla="*/ 859020 w 1083508"/>
                <a:gd name="connsiteY2575" fmla="*/ 750522 h 1387660"/>
                <a:gd name="connsiteX2576" fmla="*/ 860812 w 1083508"/>
                <a:gd name="connsiteY2576" fmla="*/ 747427 h 1387660"/>
                <a:gd name="connsiteX2577" fmla="*/ 860323 w 1083508"/>
                <a:gd name="connsiteY2577" fmla="*/ 743843 h 1387660"/>
                <a:gd name="connsiteX2578" fmla="*/ 858531 w 1083508"/>
                <a:gd name="connsiteY2578" fmla="*/ 742214 h 1387660"/>
                <a:gd name="connsiteX2579" fmla="*/ 858531 w 1083508"/>
                <a:gd name="connsiteY2579" fmla="*/ 737653 h 1387660"/>
                <a:gd name="connsiteX2580" fmla="*/ 860323 w 1083508"/>
                <a:gd name="connsiteY2580" fmla="*/ 734069 h 1387660"/>
                <a:gd name="connsiteX2581" fmla="*/ 861952 w 1083508"/>
                <a:gd name="connsiteY2581" fmla="*/ 734069 h 1387660"/>
                <a:gd name="connsiteX2582" fmla="*/ 863581 w 1083508"/>
                <a:gd name="connsiteY2582" fmla="*/ 737327 h 1387660"/>
                <a:gd name="connsiteX2583" fmla="*/ 865862 w 1083508"/>
                <a:gd name="connsiteY2583" fmla="*/ 739282 h 1387660"/>
                <a:gd name="connsiteX2584" fmla="*/ 867817 w 1083508"/>
                <a:gd name="connsiteY2584" fmla="*/ 742703 h 1387660"/>
                <a:gd name="connsiteX2585" fmla="*/ 871075 w 1083508"/>
                <a:gd name="connsiteY2585" fmla="*/ 745309 h 1387660"/>
                <a:gd name="connsiteX2586" fmla="*/ 872704 w 1083508"/>
                <a:gd name="connsiteY2586" fmla="*/ 744169 h 1387660"/>
                <a:gd name="connsiteX2587" fmla="*/ 874822 w 1083508"/>
                <a:gd name="connsiteY2587" fmla="*/ 744169 h 1387660"/>
                <a:gd name="connsiteX2588" fmla="*/ 876451 w 1083508"/>
                <a:gd name="connsiteY2588" fmla="*/ 745472 h 1387660"/>
                <a:gd name="connsiteX2589" fmla="*/ 877754 w 1083508"/>
                <a:gd name="connsiteY2589" fmla="*/ 744006 h 1387660"/>
                <a:gd name="connsiteX2590" fmla="*/ 881827 w 1083508"/>
                <a:gd name="connsiteY2590" fmla="*/ 742540 h 1387660"/>
                <a:gd name="connsiteX2591" fmla="*/ 885411 w 1083508"/>
                <a:gd name="connsiteY2591" fmla="*/ 743192 h 1387660"/>
                <a:gd name="connsiteX2592" fmla="*/ 886552 w 1083508"/>
                <a:gd name="connsiteY2592" fmla="*/ 745309 h 1387660"/>
                <a:gd name="connsiteX2593" fmla="*/ 886552 w 1083508"/>
                <a:gd name="connsiteY2593" fmla="*/ 748730 h 1387660"/>
                <a:gd name="connsiteX2594" fmla="*/ 882968 w 1083508"/>
                <a:gd name="connsiteY2594" fmla="*/ 754595 h 1387660"/>
                <a:gd name="connsiteX2595" fmla="*/ 881176 w 1083508"/>
                <a:gd name="connsiteY2595" fmla="*/ 758016 h 1387660"/>
                <a:gd name="connsiteX2596" fmla="*/ 881176 w 1083508"/>
                <a:gd name="connsiteY2596" fmla="*/ 762578 h 1387660"/>
                <a:gd name="connsiteX2597" fmla="*/ 880524 w 1083508"/>
                <a:gd name="connsiteY2597" fmla="*/ 768442 h 1387660"/>
                <a:gd name="connsiteX2598" fmla="*/ 879220 w 1083508"/>
                <a:gd name="connsiteY2598" fmla="*/ 770234 h 1387660"/>
                <a:gd name="connsiteX2599" fmla="*/ 874659 w 1083508"/>
                <a:gd name="connsiteY2599" fmla="*/ 769746 h 1387660"/>
                <a:gd name="connsiteX2600" fmla="*/ 869935 w 1083508"/>
                <a:gd name="connsiteY2600" fmla="*/ 771212 h 1387660"/>
                <a:gd name="connsiteX2601" fmla="*/ 866351 w 1083508"/>
                <a:gd name="connsiteY2601" fmla="*/ 770234 h 1387660"/>
                <a:gd name="connsiteX2602" fmla="*/ 863255 w 1083508"/>
                <a:gd name="connsiteY2602" fmla="*/ 768768 h 1387660"/>
                <a:gd name="connsiteX2603" fmla="*/ 860649 w 1083508"/>
                <a:gd name="connsiteY2603" fmla="*/ 768768 h 1387660"/>
                <a:gd name="connsiteX2604" fmla="*/ 857717 w 1083508"/>
                <a:gd name="connsiteY2604" fmla="*/ 771212 h 1387660"/>
                <a:gd name="connsiteX2605" fmla="*/ 857717 w 1083508"/>
                <a:gd name="connsiteY2605" fmla="*/ 774307 h 1387660"/>
                <a:gd name="connsiteX2606" fmla="*/ 855273 w 1083508"/>
                <a:gd name="connsiteY2606" fmla="*/ 776262 h 1387660"/>
                <a:gd name="connsiteX2607" fmla="*/ 852015 w 1083508"/>
                <a:gd name="connsiteY2607" fmla="*/ 776751 h 1387660"/>
                <a:gd name="connsiteX2608" fmla="*/ 850060 w 1083508"/>
                <a:gd name="connsiteY2608" fmla="*/ 776751 h 1387660"/>
                <a:gd name="connsiteX2609" fmla="*/ 848105 w 1083508"/>
                <a:gd name="connsiteY2609" fmla="*/ 779846 h 1387660"/>
                <a:gd name="connsiteX2610" fmla="*/ 847453 w 1083508"/>
                <a:gd name="connsiteY2610" fmla="*/ 781964 h 1387660"/>
                <a:gd name="connsiteX2611" fmla="*/ 844195 w 1083508"/>
                <a:gd name="connsiteY2611" fmla="*/ 782778 h 1387660"/>
                <a:gd name="connsiteX2612" fmla="*/ 841589 w 1083508"/>
                <a:gd name="connsiteY2612" fmla="*/ 781964 h 1387660"/>
                <a:gd name="connsiteX2613" fmla="*/ 837516 w 1083508"/>
                <a:gd name="connsiteY2613" fmla="*/ 778869 h 1387660"/>
                <a:gd name="connsiteX2614" fmla="*/ 830511 w 1083508"/>
                <a:gd name="connsiteY2614" fmla="*/ 774959 h 1387660"/>
                <a:gd name="connsiteX2615" fmla="*/ 826275 w 1083508"/>
                <a:gd name="connsiteY2615" fmla="*/ 770397 h 1387660"/>
                <a:gd name="connsiteX2616" fmla="*/ 816012 w 1083508"/>
                <a:gd name="connsiteY2616" fmla="*/ 760786 h 1387660"/>
                <a:gd name="connsiteX2617" fmla="*/ 814220 w 1083508"/>
                <a:gd name="connsiteY2617" fmla="*/ 756876 h 1387660"/>
                <a:gd name="connsiteX2618" fmla="*/ 814220 w 1083508"/>
                <a:gd name="connsiteY2618" fmla="*/ 754106 h 1387660"/>
                <a:gd name="connsiteX2619" fmla="*/ 815849 w 1083508"/>
                <a:gd name="connsiteY2619" fmla="*/ 752640 h 1387660"/>
                <a:gd name="connsiteX2620" fmla="*/ 818455 w 1083508"/>
                <a:gd name="connsiteY2620" fmla="*/ 752640 h 1387660"/>
                <a:gd name="connsiteX2621" fmla="*/ 819596 w 1083508"/>
                <a:gd name="connsiteY2621" fmla="*/ 753618 h 1387660"/>
                <a:gd name="connsiteX2622" fmla="*/ 822202 w 1083508"/>
                <a:gd name="connsiteY2622" fmla="*/ 755084 h 1387660"/>
                <a:gd name="connsiteX2623" fmla="*/ 830837 w 1083508"/>
                <a:gd name="connsiteY2623" fmla="*/ 759320 h 1387660"/>
                <a:gd name="connsiteX2624" fmla="*/ 835561 w 1083508"/>
                <a:gd name="connsiteY2624" fmla="*/ 763718 h 1387660"/>
                <a:gd name="connsiteX2625" fmla="*/ 837190 w 1083508"/>
                <a:gd name="connsiteY2625" fmla="*/ 762904 h 1387660"/>
                <a:gd name="connsiteX2626" fmla="*/ 843869 w 1083508"/>
                <a:gd name="connsiteY2626" fmla="*/ 761763 h 1387660"/>
                <a:gd name="connsiteX2627" fmla="*/ 844358 w 1083508"/>
                <a:gd name="connsiteY2627" fmla="*/ 759482 h 1387660"/>
                <a:gd name="connsiteX2628" fmla="*/ 842403 w 1083508"/>
                <a:gd name="connsiteY2628" fmla="*/ 757853 h 1387660"/>
                <a:gd name="connsiteX2629" fmla="*/ 840448 w 1083508"/>
                <a:gd name="connsiteY2629" fmla="*/ 758342 h 1387660"/>
                <a:gd name="connsiteX2630" fmla="*/ 838004 w 1083508"/>
                <a:gd name="connsiteY2630" fmla="*/ 759808 h 1387660"/>
                <a:gd name="connsiteX2631" fmla="*/ 833932 w 1083508"/>
                <a:gd name="connsiteY2631" fmla="*/ 758179 h 1387660"/>
                <a:gd name="connsiteX2632" fmla="*/ 826438 w 1083508"/>
                <a:gd name="connsiteY2632" fmla="*/ 752966 h 1387660"/>
                <a:gd name="connsiteX2633" fmla="*/ 818293 w 1083508"/>
                <a:gd name="connsiteY2633" fmla="*/ 749545 h 1387660"/>
                <a:gd name="connsiteX2634" fmla="*/ 815360 w 1083508"/>
                <a:gd name="connsiteY2634" fmla="*/ 749219 h 1387660"/>
                <a:gd name="connsiteX2635" fmla="*/ 814220 w 1083508"/>
                <a:gd name="connsiteY2635" fmla="*/ 747264 h 1387660"/>
                <a:gd name="connsiteX2636" fmla="*/ 814220 w 1083508"/>
                <a:gd name="connsiteY2636" fmla="*/ 744332 h 1387660"/>
                <a:gd name="connsiteX2637" fmla="*/ 812265 w 1083508"/>
                <a:gd name="connsiteY2637" fmla="*/ 743354 h 1387660"/>
                <a:gd name="connsiteX2638" fmla="*/ 810147 w 1083508"/>
                <a:gd name="connsiteY2638" fmla="*/ 743680 h 1387660"/>
                <a:gd name="connsiteX2639" fmla="*/ 808192 w 1083508"/>
                <a:gd name="connsiteY2639" fmla="*/ 746124 h 1387660"/>
                <a:gd name="connsiteX2640" fmla="*/ 807703 w 1083508"/>
                <a:gd name="connsiteY2640" fmla="*/ 750360 h 1387660"/>
                <a:gd name="connsiteX2641" fmla="*/ 806726 w 1083508"/>
                <a:gd name="connsiteY2641" fmla="*/ 758016 h 1387660"/>
                <a:gd name="connsiteX2642" fmla="*/ 806726 w 1083508"/>
                <a:gd name="connsiteY2642" fmla="*/ 761274 h 1387660"/>
                <a:gd name="connsiteX2643" fmla="*/ 806074 w 1083508"/>
                <a:gd name="connsiteY2643" fmla="*/ 763229 h 1387660"/>
                <a:gd name="connsiteX2644" fmla="*/ 804934 w 1083508"/>
                <a:gd name="connsiteY2644" fmla="*/ 762252 h 1387660"/>
                <a:gd name="connsiteX2645" fmla="*/ 796789 w 1083508"/>
                <a:gd name="connsiteY2645" fmla="*/ 752966 h 1387660"/>
                <a:gd name="connsiteX2646" fmla="*/ 791576 w 1083508"/>
                <a:gd name="connsiteY2646" fmla="*/ 744006 h 1387660"/>
                <a:gd name="connsiteX2647" fmla="*/ 789620 w 1083508"/>
                <a:gd name="connsiteY2647" fmla="*/ 741237 h 1387660"/>
                <a:gd name="connsiteX2648" fmla="*/ 789132 w 1083508"/>
                <a:gd name="connsiteY2648" fmla="*/ 738956 h 1387660"/>
                <a:gd name="connsiteX2649" fmla="*/ 787340 w 1083508"/>
                <a:gd name="connsiteY2649" fmla="*/ 737001 h 1387660"/>
                <a:gd name="connsiteX2650" fmla="*/ 785548 w 1083508"/>
                <a:gd name="connsiteY2650" fmla="*/ 737001 h 1387660"/>
                <a:gd name="connsiteX2651" fmla="*/ 784896 w 1083508"/>
                <a:gd name="connsiteY2651" fmla="*/ 738141 h 1387660"/>
                <a:gd name="connsiteX2652" fmla="*/ 784896 w 1083508"/>
                <a:gd name="connsiteY2652" fmla="*/ 740585 h 1387660"/>
                <a:gd name="connsiteX2653" fmla="*/ 788969 w 1083508"/>
                <a:gd name="connsiteY2653" fmla="*/ 743029 h 1387660"/>
                <a:gd name="connsiteX2654" fmla="*/ 794345 w 1083508"/>
                <a:gd name="connsiteY2654" fmla="*/ 752477 h 1387660"/>
                <a:gd name="connsiteX2655" fmla="*/ 794834 w 1083508"/>
                <a:gd name="connsiteY2655" fmla="*/ 755084 h 1387660"/>
                <a:gd name="connsiteX2656" fmla="*/ 798092 w 1083508"/>
                <a:gd name="connsiteY2656" fmla="*/ 758179 h 1387660"/>
                <a:gd name="connsiteX2657" fmla="*/ 799232 w 1083508"/>
                <a:gd name="connsiteY2657" fmla="*/ 760623 h 1387660"/>
                <a:gd name="connsiteX2658" fmla="*/ 798744 w 1083508"/>
                <a:gd name="connsiteY2658" fmla="*/ 763229 h 1387660"/>
                <a:gd name="connsiteX2659" fmla="*/ 796137 w 1083508"/>
                <a:gd name="connsiteY2659" fmla="*/ 763229 h 1387660"/>
                <a:gd name="connsiteX2660" fmla="*/ 792227 w 1083508"/>
                <a:gd name="connsiteY2660" fmla="*/ 764696 h 1387660"/>
                <a:gd name="connsiteX2661" fmla="*/ 789295 w 1083508"/>
                <a:gd name="connsiteY2661" fmla="*/ 767302 h 1387660"/>
                <a:gd name="connsiteX2662" fmla="*/ 787340 w 1083508"/>
                <a:gd name="connsiteY2662" fmla="*/ 769909 h 1387660"/>
                <a:gd name="connsiteX2663" fmla="*/ 783593 w 1083508"/>
                <a:gd name="connsiteY2663" fmla="*/ 770886 h 1387660"/>
                <a:gd name="connsiteX2664" fmla="*/ 780498 w 1083508"/>
                <a:gd name="connsiteY2664" fmla="*/ 772841 h 1387660"/>
                <a:gd name="connsiteX2665" fmla="*/ 776262 w 1083508"/>
                <a:gd name="connsiteY2665" fmla="*/ 774144 h 1387660"/>
                <a:gd name="connsiteX2666" fmla="*/ 772515 w 1083508"/>
                <a:gd name="connsiteY2666" fmla="*/ 774144 h 1387660"/>
                <a:gd name="connsiteX2667" fmla="*/ 769257 w 1083508"/>
                <a:gd name="connsiteY2667" fmla="*/ 770723 h 1387660"/>
                <a:gd name="connsiteX2668" fmla="*/ 766976 w 1083508"/>
                <a:gd name="connsiteY2668" fmla="*/ 770723 h 1387660"/>
                <a:gd name="connsiteX2669" fmla="*/ 764207 w 1083508"/>
                <a:gd name="connsiteY2669" fmla="*/ 769257 h 1387660"/>
                <a:gd name="connsiteX2670" fmla="*/ 763392 w 1083508"/>
                <a:gd name="connsiteY2670" fmla="*/ 767302 h 1387660"/>
                <a:gd name="connsiteX2671" fmla="*/ 757853 w 1083508"/>
                <a:gd name="connsiteY2671" fmla="*/ 762904 h 1387660"/>
                <a:gd name="connsiteX2672" fmla="*/ 754921 w 1083508"/>
                <a:gd name="connsiteY2672" fmla="*/ 760949 h 1387660"/>
                <a:gd name="connsiteX2673" fmla="*/ 754921 w 1083508"/>
                <a:gd name="connsiteY2673" fmla="*/ 758342 h 1387660"/>
                <a:gd name="connsiteX2674" fmla="*/ 753944 w 1083508"/>
                <a:gd name="connsiteY2674" fmla="*/ 755736 h 1387660"/>
                <a:gd name="connsiteX2675" fmla="*/ 752152 w 1083508"/>
                <a:gd name="connsiteY2675" fmla="*/ 754921 h 1387660"/>
                <a:gd name="connsiteX2676" fmla="*/ 751337 w 1083508"/>
                <a:gd name="connsiteY2676" fmla="*/ 756224 h 1387660"/>
                <a:gd name="connsiteX2677" fmla="*/ 750848 w 1083508"/>
                <a:gd name="connsiteY2677" fmla="*/ 760297 h 1387660"/>
                <a:gd name="connsiteX2678" fmla="*/ 752640 w 1083508"/>
                <a:gd name="connsiteY2678" fmla="*/ 763555 h 1387660"/>
                <a:gd name="connsiteX2679" fmla="*/ 756713 w 1083508"/>
                <a:gd name="connsiteY2679" fmla="*/ 765673 h 1387660"/>
                <a:gd name="connsiteX2680" fmla="*/ 761111 w 1083508"/>
                <a:gd name="connsiteY2680" fmla="*/ 769257 h 1387660"/>
                <a:gd name="connsiteX2681" fmla="*/ 763718 w 1083508"/>
                <a:gd name="connsiteY2681" fmla="*/ 773493 h 1387660"/>
                <a:gd name="connsiteX2682" fmla="*/ 764044 w 1083508"/>
                <a:gd name="connsiteY2682" fmla="*/ 775773 h 1387660"/>
                <a:gd name="connsiteX2683" fmla="*/ 761437 w 1083508"/>
                <a:gd name="connsiteY2683" fmla="*/ 777728 h 1387660"/>
                <a:gd name="connsiteX2684" fmla="*/ 753944 w 1083508"/>
                <a:gd name="connsiteY2684" fmla="*/ 777728 h 1387660"/>
                <a:gd name="connsiteX2685" fmla="*/ 748568 w 1083508"/>
                <a:gd name="connsiteY2685" fmla="*/ 776588 h 1387660"/>
                <a:gd name="connsiteX2686" fmla="*/ 744495 w 1083508"/>
                <a:gd name="connsiteY2686" fmla="*/ 777891 h 1387660"/>
                <a:gd name="connsiteX2687" fmla="*/ 741562 w 1083508"/>
                <a:gd name="connsiteY2687" fmla="*/ 780498 h 1387660"/>
                <a:gd name="connsiteX2688" fmla="*/ 742540 w 1083508"/>
                <a:gd name="connsiteY2688" fmla="*/ 782290 h 1387660"/>
                <a:gd name="connsiteX2689" fmla="*/ 744169 w 1083508"/>
                <a:gd name="connsiteY2689" fmla="*/ 782616 h 1387660"/>
                <a:gd name="connsiteX2690" fmla="*/ 745961 w 1083508"/>
                <a:gd name="connsiteY2690" fmla="*/ 785222 h 1387660"/>
                <a:gd name="connsiteX2691" fmla="*/ 747916 w 1083508"/>
                <a:gd name="connsiteY2691" fmla="*/ 786037 h 1387660"/>
                <a:gd name="connsiteX2692" fmla="*/ 749219 w 1083508"/>
                <a:gd name="connsiteY2692" fmla="*/ 783756 h 1387660"/>
                <a:gd name="connsiteX2693" fmla="*/ 750034 w 1083508"/>
                <a:gd name="connsiteY2693" fmla="*/ 780824 h 1387660"/>
                <a:gd name="connsiteX2694" fmla="*/ 754595 w 1083508"/>
                <a:gd name="connsiteY2694" fmla="*/ 780824 h 1387660"/>
                <a:gd name="connsiteX2695" fmla="*/ 758179 w 1083508"/>
                <a:gd name="connsiteY2695" fmla="*/ 781801 h 1387660"/>
                <a:gd name="connsiteX2696" fmla="*/ 761763 w 1083508"/>
                <a:gd name="connsiteY2696" fmla="*/ 783267 h 1387660"/>
                <a:gd name="connsiteX2697" fmla="*/ 765021 w 1083508"/>
                <a:gd name="connsiteY2697" fmla="*/ 781312 h 1387660"/>
                <a:gd name="connsiteX2698" fmla="*/ 765673 w 1083508"/>
                <a:gd name="connsiteY2698" fmla="*/ 778380 h 1387660"/>
                <a:gd name="connsiteX2699" fmla="*/ 768768 w 1083508"/>
                <a:gd name="connsiteY2699" fmla="*/ 777565 h 1387660"/>
                <a:gd name="connsiteX2700" fmla="*/ 773493 w 1083508"/>
                <a:gd name="connsiteY2700" fmla="*/ 778217 h 1387660"/>
                <a:gd name="connsiteX2701" fmla="*/ 778054 w 1083508"/>
                <a:gd name="connsiteY2701" fmla="*/ 778217 h 1387660"/>
                <a:gd name="connsiteX2702" fmla="*/ 779846 w 1083508"/>
                <a:gd name="connsiteY2702" fmla="*/ 779846 h 1387660"/>
                <a:gd name="connsiteX2703" fmla="*/ 783104 w 1083508"/>
                <a:gd name="connsiteY2703" fmla="*/ 781964 h 1387660"/>
                <a:gd name="connsiteX2704" fmla="*/ 788643 w 1083508"/>
                <a:gd name="connsiteY2704" fmla="*/ 783267 h 1387660"/>
                <a:gd name="connsiteX2705" fmla="*/ 791901 w 1083508"/>
                <a:gd name="connsiteY2705" fmla="*/ 785222 h 1387660"/>
                <a:gd name="connsiteX2706" fmla="*/ 793042 w 1083508"/>
                <a:gd name="connsiteY2706" fmla="*/ 788480 h 1387660"/>
                <a:gd name="connsiteX2707" fmla="*/ 792064 w 1083508"/>
                <a:gd name="connsiteY2707" fmla="*/ 791250 h 1387660"/>
                <a:gd name="connsiteX2708" fmla="*/ 789784 w 1083508"/>
                <a:gd name="connsiteY2708" fmla="*/ 791901 h 1387660"/>
                <a:gd name="connsiteX2709" fmla="*/ 787340 w 1083508"/>
                <a:gd name="connsiteY2709" fmla="*/ 795160 h 1387660"/>
                <a:gd name="connsiteX2710" fmla="*/ 783104 w 1083508"/>
                <a:gd name="connsiteY2710" fmla="*/ 794671 h 1387660"/>
                <a:gd name="connsiteX2711" fmla="*/ 779520 w 1083508"/>
                <a:gd name="connsiteY2711" fmla="*/ 795160 h 1387660"/>
                <a:gd name="connsiteX2712" fmla="*/ 775285 w 1083508"/>
                <a:gd name="connsiteY2712" fmla="*/ 798581 h 1387660"/>
                <a:gd name="connsiteX2713" fmla="*/ 771701 w 1083508"/>
                <a:gd name="connsiteY2713" fmla="*/ 800210 h 1387660"/>
                <a:gd name="connsiteX2714" fmla="*/ 767954 w 1083508"/>
                <a:gd name="connsiteY2714" fmla="*/ 799395 h 1387660"/>
                <a:gd name="connsiteX2715" fmla="*/ 763392 w 1083508"/>
                <a:gd name="connsiteY2715" fmla="*/ 794671 h 1387660"/>
                <a:gd name="connsiteX2716" fmla="*/ 760786 w 1083508"/>
                <a:gd name="connsiteY2716" fmla="*/ 793368 h 1387660"/>
                <a:gd name="connsiteX2717" fmla="*/ 758505 w 1083508"/>
                <a:gd name="connsiteY2717" fmla="*/ 793693 h 1387660"/>
                <a:gd name="connsiteX2718" fmla="*/ 756550 w 1083508"/>
                <a:gd name="connsiteY2718" fmla="*/ 795974 h 1387660"/>
                <a:gd name="connsiteX2719" fmla="*/ 753618 w 1083508"/>
                <a:gd name="connsiteY2719" fmla="*/ 796463 h 1387660"/>
                <a:gd name="connsiteX2720" fmla="*/ 752314 w 1083508"/>
                <a:gd name="connsiteY2720" fmla="*/ 795648 h 1387660"/>
                <a:gd name="connsiteX2721" fmla="*/ 749871 w 1083508"/>
                <a:gd name="connsiteY2721" fmla="*/ 795974 h 1387660"/>
                <a:gd name="connsiteX2722" fmla="*/ 749871 w 1083508"/>
                <a:gd name="connsiteY2722" fmla="*/ 797603 h 1387660"/>
                <a:gd name="connsiteX2723" fmla="*/ 752640 w 1083508"/>
                <a:gd name="connsiteY2723" fmla="*/ 798092 h 1387660"/>
                <a:gd name="connsiteX2724" fmla="*/ 757202 w 1083508"/>
                <a:gd name="connsiteY2724" fmla="*/ 798092 h 1387660"/>
                <a:gd name="connsiteX2725" fmla="*/ 759482 w 1083508"/>
                <a:gd name="connsiteY2725" fmla="*/ 796626 h 1387660"/>
                <a:gd name="connsiteX2726" fmla="*/ 762089 w 1083508"/>
                <a:gd name="connsiteY2726" fmla="*/ 797440 h 1387660"/>
                <a:gd name="connsiteX2727" fmla="*/ 763229 w 1083508"/>
                <a:gd name="connsiteY2727" fmla="*/ 799395 h 1387660"/>
                <a:gd name="connsiteX2728" fmla="*/ 761926 w 1083508"/>
                <a:gd name="connsiteY2728" fmla="*/ 801350 h 1387660"/>
                <a:gd name="connsiteX2729" fmla="*/ 757528 w 1083508"/>
                <a:gd name="connsiteY2729" fmla="*/ 802165 h 1387660"/>
                <a:gd name="connsiteX2730" fmla="*/ 752966 w 1083508"/>
                <a:gd name="connsiteY2730" fmla="*/ 804445 h 1387660"/>
                <a:gd name="connsiteX2731" fmla="*/ 752152 w 1083508"/>
                <a:gd name="connsiteY2731" fmla="*/ 805912 h 1387660"/>
                <a:gd name="connsiteX2732" fmla="*/ 754269 w 1083508"/>
                <a:gd name="connsiteY2732" fmla="*/ 806400 h 1387660"/>
                <a:gd name="connsiteX2733" fmla="*/ 756713 w 1083508"/>
                <a:gd name="connsiteY2733" fmla="*/ 804934 h 1387660"/>
                <a:gd name="connsiteX2734" fmla="*/ 762252 w 1083508"/>
                <a:gd name="connsiteY2734" fmla="*/ 803468 h 1387660"/>
                <a:gd name="connsiteX2735" fmla="*/ 764207 w 1083508"/>
                <a:gd name="connsiteY2735" fmla="*/ 803468 h 1387660"/>
                <a:gd name="connsiteX2736" fmla="*/ 765510 w 1083508"/>
                <a:gd name="connsiteY2736" fmla="*/ 805749 h 1387660"/>
                <a:gd name="connsiteX2737" fmla="*/ 765510 w 1083508"/>
                <a:gd name="connsiteY2737" fmla="*/ 808844 h 1387660"/>
                <a:gd name="connsiteX2738" fmla="*/ 766650 w 1083508"/>
                <a:gd name="connsiteY2738" fmla="*/ 809007 h 1387660"/>
                <a:gd name="connsiteX2739" fmla="*/ 769420 w 1083508"/>
                <a:gd name="connsiteY2739" fmla="*/ 805097 h 1387660"/>
                <a:gd name="connsiteX2740" fmla="*/ 772678 w 1083508"/>
                <a:gd name="connsiteY2740" fmla="*/ 804445 h 1387660"/>
                <a:gd name="connsiteX2741" fmla="*/ 774959 w 1083508"/>
                <a:gd name="connsiteY2741" fmla="*/ 804445 h 1387660"/>
                <a:gd name="connsiteX2742" fmla="*/ 779357 w 1083508"/>
                <a:gd name="connsiteY2742" fmla="*/ 800536 h 1387660"/>
                <a:gd name="connsiteX2743" fmla="*/ 781149 w 1083508"/>
                <a:gd name="connsiteY2743" fmla="*/ 800536 h 1387660"/>
                <a:gd name="connsiteX2744" fmla="*/ 783430 w 1083508"/>
                <a:gd name="connsiteY2744" fmla="*/ 801839 h 1387660"/>
                <a:gd name="connsiteX2745" fmla="*/ 789620 w 1083508"/>
                <a:gd name="connsiteY2745" fmla="*/ 806237 h 1387660"/>
                <a:gd name="connsiteX2746" fmla="*/ 791901 w 1083508"/>
                <a:gd name="connsiteY2746" fmla="*/ 806237 h 1387660"/>
                <a:gd name="connsiteX2747" fmla="*/ 793368 w 1083508"/>
                <a:gd name="connsiteY2747" fmla="*/ 807052 h 1387660"/>
                <a:gd name="connsiteX2748" fmla="*/ 794182 w 1083508"/>
                <a:gd name="connsiteY2748" fmla="*/ 810310 h 1387660"/>
                <a:gd name="connsiteX2749" fmla="*/ 793204 w 1083508"/>
                <a:gd name="connsiteY2749" fmla="*/ 818130 h 1387660"/>
                <a:gd name="connsiteX2750" fmla="*/ 790598 w 1083508"/>
                <a:gd name="connsiteY2750" fmla="*/ 821225 h 1387660"/>
                <a:gd name="connsiteX2751" fmla="*/ 785385 w 1083508"/>
                <a:gd name="connsiteY2751" fmla="*/ 822040 h 1387660"/>
                <a:gd name="connsiteX2752" fmla="*/ 781312 w 1083508"/>
                <a:gd name="connsiteY2752" fmla="*/ 821551 h 1387660"/>
                <a:gd name="connsiteX2753" fmla="*/ 777728 w 1083508"/>
                <a:gd name="connsiteY2753" fmla="*/ 819922 h 1387660"/>
                <a:gd name="connsiteX2754" fmla="*/ 769257 w 1083508"/>
                <a:gd name="connsiteY2754" fmla="*/ 819922 h 1387660"/>
                <a:gd name="connsiteX2755" fmla="*/ 767465 w 1083508"/>
                <a:gd name="connsiteY2755" fmla="*/ 819433 h 1387660"/>
                <a:gd name="connsiteX2756" fmla="*/ 764044 w 1083508"/>
                <a:gd name="connsiteY2756" fmla="*/ 822528 h 1387660"/>
                <a:gd name="connsiteX2757" fmla="*/ 765510 w 1083508"/>
                <a:gd name="connsiteY2757" fmla="*/ 823343 h 1387660"/>
                <a:gd name="connsiteX2758" fmla="*/ 770397 w 1083508"/>
                <a:gd name="connsiteY2758" fmla="*/ 822202 h 1387660"/>
                <a:gd name="connsiteX2759" fmla="*/ 775447 w 1083508"/>
                <a:gd name="connsiteY2759" fmla="*/ 822202 h 1387660"/>
                <a:gd name="connsiteX2760" fmla="*/ 782615 w 1083508"/>
                <a:gd name="connsiteY2760" fmla="*/ 824646 h 1387660"/>
                <a:gd name="connsiteX2761" fmla="*/ 783756 w 1083508"/>
                <a:gd name="connsiteY2761" fmla="*/ 827741 h 1387660"/>
                <a:gd name="connsiteX2762" fmla="*/ 783267 w 1083508"/>
                <a:gd name="connsiteY2762" fmla="*/ 830022 h 1387660"/>
                <a:gd name="connsiteX2763" fmla="*/ 787177 w 1083508"/>
                <a:gd name="connsiteY2763" fmla="*/ 825787 h 1387660"/>
                <a:gd name="connsiteX2764" fmla="*/ 791412 w 1083508"/>
                <a:gd name="connsiteY2764" fmla="*/ 824809 h 1387660"/>
                <a:gd name="connsiteX2765" fmla="*/ 796137 w 1083508"/>
                <a:gd name="connsiteY2765" fmla="*/ 824809 h 1387660"/>
                <a:gd name="connsiteX2766" fmla="*/ 800536 w 1083508"/>
                <a:gd name="connsiteY2766" fmla="*/ 827090 h 1387660"/>
                <a:gd name="connsiteX2767" fmla="*/ 801839 w 1083508"/>
                <a:gd name="connsiteY2767" fmla="*/ 829208 h 1387660"/>
                <a:gd name="connsiteX2768" fmla="*/ 809495 w 1083508"/>
                <a:gd name="connsiteY2768" fmla="*/ 835072 h 1387660"/>
                <a:gd name="connsiteX2769" fmla="*/ 810636 w 1083508"/>
                <a:gd name="connsiteY2769" fmla="*/ 836864 h 1387660"/>
                <a:gd name="connsiteX2770" fmla="*/ 811125 w 1083508"/>
                <a:gd name="connsiteY2770" fmla="*/ 839145 h 1387660"/>
                <a:gd name="connsiteX2771" fmla="*/ 813894 w 1083508"/>
                <a:gd name="connsiteY2771" fmla="*/ 839145 h 1387660"/>
                <a:gd name="connsiteX2772" fmla="*/ 815523 w 1083508"/>
                <a:gd name="connsiteY2772" fmla="*/ 840448 h 1387660"/>
                <a:gd name="connsiteX2773" fmla="*/ 817315 w 1083508"/>
                <a:gd name="connsiteY2773" fmla="*/ 840448 h 1387660"/>
                <a:gd name="connsiteX2774" fmla="*/ 820899 w 1083508"/>
                <a:gd name="connsiteY2774" fmla="*/ 843869 h 1387660"/>
                <a:gd name="connsiteX2775" fmla="*/ 823506 w 1083508"/>
                <a:gd name="connsiteY2775" fmla="*/ 845010 h 1387660"/>
                <a:gd name="connsiteX2776" fmla="*/ 824646 w 1083508"/>
                <a:gd name="connsiteY2776" fmla="*/ 848105 h 1387660"/>
                <a:gd name="connsiteX2777" fmla="*/ 826601 w 1083508"/>
                <a:gd name="connsiteY2777" fmla="*/ 850386 h 1387660"/>
                <a:gd name="connsiteX2778" fmla="*/ 828393 w 1083508"/>
                <a:gd name="connsiteY2778" fmla="*/ 850386 h 1387660"/>
                <a:gd name="connsiteX2779" fmla="*/ 830022 w 1083508"/>
                <a:gd name="connsiteY2779" fmla="*/ 853155 h 1387660"/>
                <a:gd name="connsiteX2780" fmla="*/ 831977 w 1083508"/>
                <a:gd name="connsiteY2780" fmla="*/ 854947 h 1387660"/>
                <a:gd name="connsiteX2781" fmla="*/ 831651 w 1083508"/>
                <a:gd name="connsiteY2781" fmla="*/ 856413 h 1387660"/>
                <a:gd name="connsiteX2782" fmla="*/ 829370 w 1083508"/>
                <a:gd name="connsiteY2782" fmla="*/ 861464 h 1387660"/>
                <a:gd name="connsiteX2783" fmla="*/ 826601 w 1083508"/>
                <a:gd name="connsiteY2783" fmla="*/ 863256 h 1387660"/>
                <a:gd name="connsiteX2784" fmla="*/ 824646 w 1083508"/>
                <a:gd name="connsiteY2784" fmla="*/ 866351 h 1387660"/>
                <a:gd name="connsiteX2785" fmla="*/ 823669 w 1083508"/>
                <a:gd name="connsiteY2785" fmla="*/ 869772 h 1387660"/>
                <a:gd name="connsiteX2786" fmla="*/ 823669 w 1083508"/>
                <a:gd name="connsiteY2786" fmla="*/ 870912 h 1387660"/>
                <a:gd name="connsiteX2787" fmla="*/ 827253 w 1083508"/>
                <a:gd name="connsiteY2787" fmla="*/ 867165 h 1387660"/>
                <a:gd name="connsiteX2788" fmla="*/ 831325 w 1083508"/>
                <a:gd name="connsiteY2788" fmla="*/ 863744 h 1387660"/>
                <a:gd name="connsiteX2789" fmla="*/ 833932 w 1083508"/>
                <a:gd name="connsiteY2789" fmla="*/ 862604 h 1387660"/>
                <a:gd name="connsiteX2790" fmla="*/ 835235 w 1083508"/>
                <a:gd name="connsiteY2790" fmla="*/ 863418 h 1387660"/>
                <a:gd name="connsiteX2791" fmla="*/ 833769 w 1083508"/>
                <a:gd name="connsiteY2791" fmla="*/ 866188 h 1387660"/>
                <a:gd name="connsiteX2792" fmla="*/ 832140 w 1083508"/>
                <a:gd name="connsiteY2792" fmla="*/ 870424 h 1387660"/>
                <a:gd name="connsiteX2793" fmla="*/ 833769 w 1083508"/>
                <a:gd name="connsiteY2793" fmla="*/ 869120 h 1387660"/>
                <a:gd name="connsiteX2794" fmla="*/ 835072 w 1083508"/>
                <a:gd name="connsiteY2794" fmla="*/ 866514 h 1387660"/>
                <a:gd name="connsiteX2795" fmla="*/ 836864 w 1083508"/>
                <a:gd name="connsiteY2795" fmla="*/ 864559 h 1387660"/>
                <a:gd name="connsiteX2796" fmla="*/ 839960 w 1083508"/>
                <a:gd name="connsiteY2796" fmla="*/ 865048 h 1387660"/>
                <a:gd name="connsiteX2797" fmla="*/ 842403 w 1083508"/>
                <a:gd name="connsiteY2797" fmla="*/ 867491 h 1387660"/>
                <a:gd name="connsiteX2798" fmla="*/ 840774 w 1083508"/>
                <a:gd name="connsiteY2798" fmla="*/ 870749 h 1387660"/>
                <a:gd name="connsiteX2799" fmla="*/ 837027 w 1083508"/>
                <a:gd name="connsiteY2799" fmla="*/ 873193 h 1387660"/>
                <a:gd name="connsiteX2800" fmla="*/ 833280 w 1083508"/>
                <a:gd name="connsiteY2800" fmla="*/ 876288 h 1387660"/>
                <a:gd name="connsiteX2801" fmla="*/ 832140 w 1083508"/>
                <a:gd name="connsiteY2801" fmla="*/ 879547 h 1387660"/>
                <a:gd name="connsiteX2802" fmla="*/ 832140 w 1083508"/>
                <a:gd name="connsiteY2802" fmla="*/ 882479 h 1387660"/>
                <a:gd name="connsiteX2803" fmla="*/ 833443 w 1083508"/>
                <a:gd name="connsiteY2803" fmla="*/ 884271 h 1387660"/>
                <a:gd name="connsiteX2804" fmla="*/ 833117 w 1083508"/>
                <a:gd name="connsiteY2804" fmla="*/ 886714 h 1387660"/>
                <a:gd name="connsiteX2805" fmla="*/ 831814 w 1083508"/>
                <a:gd name="connsiteY2805" fmla="*/ 892253 h 1387660"/>
                <a:gd name="connsiteX2806" fmla="*/ 832140 w 1083508"/>
                <a:gd name="connsiteY2806" fmla="*/ 894045 h 1387660"/>
                <a:gd name="connsiteX2807" fmla="*/ 834420 w 1083508"/>
                <a:gd name="connsiteY2807" fmla="*/ 893394 h 1387660"/>
                <a:gd name="connsiteX2808" fmla="*/ 835398 w 1083508"/>
                <a:gd name="connsiteY2808" fmla="*/ 887040 h 1387660"/>
                <a:gd name="connsiteX2809" fmla="*/ 838656 w 1083508"/>
                <a:gd name="connsiteY2809" fmla="*/ 881827 h 1387660"/>
                <a:gd name="connsiteX2810" fmla="*/ 842566 w 1083508"/>
                <a:gd name="connsiteY2810" fmla="*/ 879872 h 1387660"/>
                <a:gd name="connsiteX2811" fmla="*/ 844358 w 1083508"/>
                <a:gd name="connsiteY2811" fmla="*/ 879872 h 1387660"/>
                <a:gd name="connsiteX2812" fmla="*/ 844358 w 1083508"/>
                <a:gd name="connsiteY2812" fmla="*/ 881664 h 1387660"/>
                <a:gd name="connsiteX2813" fmla="*/ 841914 w 1083508"/>
                <a:gd name="connsiteY2813" fmla="*/ 886226 h 1387660"/>
                <a:gd name="connsiteX2814" fmla="*/ 840122 w 1083508"/>
                <a:gd name="connsiteY2814" fmla="*/ 890136 h 1387660"/>
                <a:gd name="connsiteX2815" fmla="*/ 840774 w 1083508"/>
                <a:gd name="connsiteY2815" fmla="*/ 892091 h 1387660"/>
                <a:gd name="connsiteX2816" fmla="*/ 843381 w 1083508"/>
                <a:gd name="connsiteY2816" fmla="*/ 890950 h 1387660"/>
                <a:gd name="connsiteX2817" fmla="*/ 844847 w 1083508"/>
                <a:gd name="connsiteY2817" fmla="*/ 892742 h 1387660"/>
                <a:gd name="connsiteX2818" fmla="*/ 844358 w 1083508"/>
                <a:gd name="connsiteY2818" fmla="*/ 897304 h 1387660"/>
                <a:gd name="connsiteX2819" fmla="*/ 842077 w 1083508"/>
                <a:gd name="connsiteY2819" fmla="*/ 899584 h 1387660"/>
                <a:gd name="connsiteX2820" fmla="*/ 837679 w 1083508"/>
                <a:gd name="connsiteY2820" fmla="*/ 900236 h 1387660"/>
                <a:gd name="connsiteX2821" fmla="*/ 836538 w 1083508"/>
                <a:gd name="connsiteY2821" fmla="*/ 902191 h 1387660"/>
                <a:gd name="connsiteX2822" fmla="*/ 836538 w 1083508"/>
                <a:gd name="connsiteY2822" fmla="*/ 904309 h 1387660"/>
                <a:gd name="connsiteX2823" fmla="*/ 841752 w 1083508"/>
                <a:gd name="connsiteY2823" fmla="*/ 902517 h 1387660"/>
                <a:gd name="connsiteX2824" fmla="*/ 842892 w 1083508"/>
                <a:gd name="connsiteY2824" fmla="*/ 903983 h 1387660"/>
                <a:gd name="connsiteX2825" fmla="*/ 842240 w 1083508"/>
                <a:gd name="connsiteY2825" fmla="*/ 906426 h 1387660"/>
                <a:gd name="connsiteX2826" fmla="*/ 840937 w 1083508"/>
                <a:gd name="connsiteY2826" fmla="*/ 909359 h 1387660"/>
                <a:gd name="connsiteX2827" fmla="*/ 843055 w 1083508"/>
                <a:gd name="connsiteY2827" fmla="*/ 909685 h 1387660"/>
                <a:gd name="connsiteX2828" fmla="*/ 844684 w 1083508"/>
                <a:gd name="connsiteY2828" fmla="*/ 912291 h 1387660"/>
                <a:gd name="connsiteX2829" fmla="*/ 843706 w 1083508"/>
                <a:gd name="connsiteY2829" fmla="*/ 914083 h 1387660"/>
                <a:gd name="connsiteX2830" fmla="*/ 843706 w 1083508"/>
                <a:gd name="connsiteY2830" fmla="*/ 918970 h 1387660"/>
                <a:gd name="connsiteX2831" fmla="*/ 842403 w 1083508"/>
                <a:gd name="connsiteY2831" fmla="*/ 921903 h 1387660"/>
                <a:gd name="connsiteX2832" fmla="*/ 842403 w 1083508"/>
                <a:gd name="connsiteY2832" fmla="*/ 929722 h 1387660"/>
                <a:gd name="connsiteX2833" fmla="*/ 842892 w 1083508"/>
                <a:gd name="connsiteY2833" fmla="*/ 932981 h 1387660"/>
                <a:gd name="connsiteX2834" fmla="*/ 842566 w 1083508"/>
                <a:gd name="connsiteY2834" fmla="*/ 936565 h 1387660"/>
                <a:gd name="connsiteX2835" fmla="*/ 840122 w 1083508"/>
                <a:gd name="connsiteY2835" fmla="*/ 938357 h 1387660"/>
                <a:gd name="connsiteX2836" fmla="*/ 837353 w 1083508"/>
                <a:gd name="connsiteY2836" fmla="*/ 938031 h 1387660"/>
                <a:gd name="connsiteX2837" fmla="*/ 835561 w 1083508"/>
                <a:gd name="connsiteY2837" fmla="*/ 938520 h 1387660"/>
                <a:gd name="connsiteX2838" fmla="*/ 834584 w 1083508"/>
                <a:gd name="connsiteY2838" fmla="*/ 937053 h 1387660"/>
                <a:gd name="connsiteX2839" fmla="*/ 835724 w 1083508"/>
                <a:gd name="connsiteY2839" fmla="*/ 934610 h 1387660"/>
                <a:gd name="connsiteX2840" fmla="*/ 834420 w 1083508"/>
                <a:gd name="connsiteY2840" fmla="*/ 932329 h 1387660"/>
                <a:gd name="connsiteX2841" fmla="*/ 832140 w 1083508"/>
                <a:gd name="connsiteY2841" fmla="*/ 930700 h 1387660"/>
                <a:gd name="connsiteX2842" fmla="*/ 829208 w 1083508"/>
                <a:gd name="connsiteY2842" fmla="*/ 931840 h 1387660"/>
                <a:gd name="connsiteX2843" fmla="*/ 827416 w 1083508"/>
                <a:gd name="connsiteY2843" fmla="*/ 933469 h 1387660"/>
                <a:gd name="connsiteX2844" fmla="*/ 824972 w 1083508"/>
                <a:gd name="connsiteY2844" fmla="*/ 932492 h 1387660"/>
                <a:gd name="connsiteX2845" fmla="*/ 825298 w 1083508"/>
                <a:gd name="connsiteY2845" fmla="*/ 929234 h 1387660"/>
                <a:gd name="connsiteX2846" fmla="*/ 827578 w 1083508"/>
                <a:gd name="connsiteY2846" fmla="*/ 925324 h 1387660"/>
                <a:gd name="connsiteX2847" fmla="*/ 825786 w 1083508"/>
                <a:gd name="connsiteY2847" fmla="*/ 920763 h 1387660"/>
                <a:gd name="connsiteX2848" fmla="*/ 825786 w 1083508"/>
                <a:gd name="connsiteY2848" fmla="*/ 917178 h 1387660"/>
                <a:gd name="connsiteX2849" fmla="*/ 826927 w 1083508"/>
                <a:gd name="connsiteY2849" fmla="*/ 913269 h 1387660"/>
                <a:gd name="connsiteX2850" fmla="*/ 825461 w 1083508"/>
                <a:gd name="connsiteY2850" fmla="*/ 911151 h 1387660"/>
                <a:gd name="connsiteX2851" fmla="*/ 823994 w 1083508"/>
                <a:gd name="connsiteY2851" fmla="*/ 911151 h 1387660"/>
                <a:gd name="connsiteX2852" fmla="*/ 822691 w 1083508"/>
                <a:gd name="connsiteY2852" fmla="*/ 913757 h 1387660"/>
                <a:gd name="connsiteX2853" fmla="*/ 821714 w 1083508"/>
                <a:gd name="connsiteY2853" fmla="*/ 918645 h 1387660"/>
                <a:gd name="connsiteX2854" fmla="*/ 822039 w 1083508"/>
                <a:gd name="connsiteY2854" fmla="*/ 924998 h 1387660"/>
                <a:gd name="connsiteX2855" fmla="*/ 821551 w 1083508"/>
                <a:gd name="connsiteY2855" fmla="*/ 930863 h 1387660"/>
                <a:gd name="connsiteX2856" fmla="*/ 821551 w 1083508"/>
                <a:gd name="connsiteY2856" fmla="*/ 933958 h 1387660"/>
                <a:gd name="connsiteX2857" fmla="*/ 819922 w 1083508"/>
                <a:gd name="connsiteY2857" fmla="*/ 935099 h 1387660"/>
                <a:gd name="connsiteX2858" fmla="*/ 816827 w 1083508"/>
                <a:gd name="connsiteY2858" fmla="*/ 935099 h 1387660"/>
                <a:gd name="connsiteX2859" fmla="*/ 813568 w 1083508"/>
                <a:gd name="connsiteY2859" fmla="*/ 935750 h 1387660"/>
                <a:gd name="connsiteX2860" fmla="*/ 810310 w 1083508"/>
                <a:gd name="connsiteY2860" fmla="*/ 936891 h 1387660"/>
                <a:gd name="connsiteX2861" fmla="*/ 807703 w 1083508"/>
                <a:gd name="connsiteY2861" fmla="*/ 934447 h 1387660"/>
                <a:gd name="connsiteX2862" fmla="*/ 801676 w 1083508"/>
                <a:gd name="connsiteY2862" fmla="*/ 929722 h 1387660"/>
                <a:gd name="connsiteX2863" fmla="*/ 797766 w 1083508"/>
                <a:gd name="connsiteY2863" fmla="*/ 922066 h 1387660"/>
                <a:gd name="connsiteX2864" fmla="*/ 794345 w 1083508"/>
                <a:gd name="connsiteY2864" fmla="*/ 918156 h 1387660"/>
                <a:gd name="connsiteX2865" fmla="*/ 792064 w 1083508"/>
                <a:gd name="connsiteY2865" fmla="*/ 915387 h 1387660"/>
                <a:gd name="connsiteX2866" fmla="*/ 790761 w 1083508"/>
                <a:gd name="connsiteY2866" fmla="*/ 907078 h 1387660"/>
                <a:gd name="connsiteX2867" fmla="*/ 788480 w 1083508"/>
                <a:gd name="connsiteY2867" fmla="*/ 903005 h 1387660"/>
                <a:gd name="connsiteX2868" fmla="*/ 785711 w 1083508"/>
                <a:gd name="connsiteY2868" fmla="*/ 899747 h 1387660"/>
                <a:gd name="connsiteX2869" fmla="*/ 784733 w 1083508"/>
                <a:gd name="connsiteY2869" fmla="*/ 894045 h 1387660"/>
                <a:gd name="connsiteX2870" fmla="*/ 785548 w 1083508"/>
                <a:gd name="connsiteY2870" fmla="*/ 888995 h 1387660"/>
                <a:gd name="connsiteX2871" fmla="*/ 787177 w 1083508"/>
                <a:gd name="connsiteY2871" fmla="*/ 885574 h 1387660"/>
                <a:gd name="connsiteX2872" fmla="*/ 785874 w 1083508"/>
                <a:gd name="connsiteY2872" fmla="*/ 883130 h 1387660"/>
                <a:gd name="connsiteX2873" fmla="*/ 784407 w 1083508"/>
                <a:gd name="connsiteY2873" fmla="*/ 883130 h 1387660"/>
                <a:gd name="connsiteX2874" fmla="*/ 779357 w 1083508"/>
                <a:gd name="connsiteY2874" fmla="*/ 884597 h 1387660"/>
                <a:gd name="connsiteX2875" fmla="*/ 777728 w 1083508"/>
                <a:gd name="connsiteY2875" fmla="*/ 886552 h 1387660"/>
                <a:gd name="connsiteX2876" fmla="*/ 774470 w 1083508"/>
                <a:gd name="connsiteY2876" fmla="*/ 883945 h 1387660"/>
                <a:gd name="connsiteX2877" fmla="*/ 766162 w 1083508"/>
                <a:gd name="connsiteY2877" fmla="*/ 873030 h 1387660"/>
                <a:gd name="connsiteX2878" fmla="*/ 765673 w 1083508"/>
                <a:gd name="connsiteY2878" fmla="*/ 869120 h 1387660"/>
                <a:gd name="connsiteX2879" fmla="*/ 763881 w 1083508"/>
                <a:gd name="connsiteY2879" fmla="*/ 867165 h 1387660"/>
                <a:gd name="connsiteX2880" fmla="*/ 760786 w 1083508"/>
                <a:gd name="connsiteY2880" fmla="*/ 868795 h 1387660"/>
                <a:gd name="connsiteX2881" fmla="*/ 756061 w 1083508"/>
                <a:gd name="connsiteY2881" fmla="*/ 869609 h 1387660"/>
                <a:gd name="connsiteX2882" fmla="*/ 751988 w 1083508"/>
                <a:gd name="connsiteY2882" fmla="*/ 867817 h 1387660"/>
                <a:gd name="connsiteX2883" fmla="*/ 750196 w 1083508"/>
                <a:gd name="connsiteY2883" fmla="*/ 868957 h 1387660"/>
                <a:gd name="connsiteX2884" fmla="*/ 747264 w 1083508"/>
                <a:gd name="connsiteY2884" fmla="*/ 870424 h 1387660"/>
                <a:gd name="connsiteX2885" fmla="*/ 744984 w 1083508"/>
                <a:gd name="connsiteY2885" fmla="*/ 869120 h 1387660"/>
                <a:gd name="connsiteX2886" fmla="*/ 741725 w 1083508"/>
                <a:gd name="connsiteY2886" fmla="*/ 865210 h 1387660"/>
                <a:gd name="connsiteX2887" fmla="*/ 741725 w 1083508"/>
                <a:gd name="connsiteY2887" fmla="*/ 862767 h 1387660"/>
                <a:gd name="connsiteX2888" fmla="*/ 735861 w 1083508"/>
                <a:gd name="connsiteY2888" fmla="*/ 857391 h 1387660"/>
                <a:gd name="connsiteX2889" fmla="*/ 735861 w 1083508"/>
                <a:gd name="connsiteY2889" fmla="*/ 854784 h 1387660"/>
                <a:gd name="connsiteX2890" fmla="*/ 733417 w 1083508"/>
                <a:gd name="connsiteY2890" fmla="*/ 852015 h 1387660"/>
                <a:gd name="connsiteX2891" fmla="*/ 731788 w 1083508"/>
                <a:gd name="connsiteY2891" fmla="*/ 846476 h 1387660"/>
                <a:gd name="connsiteX2892" fmla="*/ 729344 w 1083508"/>
                <a:gd name="connsiteY2892" fmla="*/ 843544 h 1387660"/>
                <a:gd name="connsiteX2893" fmla="*/ 727878 w 1083508"/>
                <a:gd name="connsiteY2893" fmla="*/ 845987 h 1387660"/>
                <a:gd name="connsiteX2894" fmla="*/ 728367 w 1083508"/>
                <a:gd name="connsiteY2894" fmla="*/ 850223 h 1387660"/>
                <a:gd name="connsiteX2895" fmla="*/ 728367 w 1083508"/>
                <a:gd name="connsiteY2895" fmla="*/ 852178 h 1387660"/>
                <a:gd name="connsiteX2896" fmla="*/ 723317 w 1083508"/>
                <a:gd name="connsiteY2896" fmla="*/ 854621 h 1387660"/>
                <a:gd name="connsiteX2897" fmla="*/ 721687 w 1083508"/>
                <a:gd name="connsiteY2897" fmla="*/ 856251 h 1387660"/>
                <a:gd name="connsiteX2898" fmla="*/ 726086 w 1083508"/>
                <a:gd name="connsiteY2898" fmla="*/ 856576 h 1387660"/>
                <a:gd name="connsiteX2899" fmla="*/ 728693 w 1083508"/>
                <a:gd name="connsiteY2899" fmla="*/ 858205 h 1387660"/>
                <a:gd name="connsiteX2900" fmla="*/ 731788 w 1083508"/>
                <a:gd name="connsiteY2900" fmla="*/ 862767 h 1387660"/>
                <a:gd name="connsiteX2901" fmla="*/ 734394 w 1083508"/>
                <a:gd name="connsiteY2901" fmla="*/ 866677 h 1387660"/>
                <a:gd name="connsiteX2902" fmla="*/ 733254 w 1083508"/>
                <a:gd name="connsiteY2902" fmla="*/ 868957 h 1387660"/>
                <a:gd name="connsiteX2903" fmla="*/ 727878 w 1083508"/>
                <a:gd name="connsiteY2903" fmla="*/ 868469 h 1387660"/>
                <a:gd name="connsiteX2904" fmla="*/ 725434 w 1083508"/>
                <a:gd name="connsiteY2904" fmla="*/ 870749 h 1387660"/>
                <a:gd name="connsiteX2905" fmla="*/ 722013 w 1083508"/>
                <a:gd name="connsiteY2905" fmla="*/ 872704 h 1387660"/>
                <a:gd name="connsiteX2906" fmla="*/ 719081 w 1083508"/>
                <a:gd name="connsiteY2906" fmla="*/ 870098 h 1387660"/>
                <a:gd name="connsiteX2907" fmla="*/ 719407 w 1083508"/>
                <a:gd name="connsiteY2907" fmla="*/ 873030 h 1387660"/>
                <a:gd name="connsiteX2908" fmla="*/ 722502 w 1083508"/>
                <a:gd name="connsiteY2908" fmla="*/ 875311 h 1387660"/>
                <a:gd name="connsiteX2909" fmla="*/ 725760 w 1083508"/>
                <a:gd name="connsiteY2909" fmla="*/ 874985 h 1387660"/>
                <a:gd name="connsiteX2910" fmla="*/ 730485 w 1083508"/>
                <a:gd name="connsiteY2910" fmla="*/ 870912 h 1387660"/>
                <a:gd name="connsiteX2911" fmla="*/ 733417 w 1083508"/>
                <a:gd name="connsiteY2911" fmla="*/ 870912 h 1387660"/>
                <a:gd name="connsiteX2912" fmla="*/ 738630 w 1083508"/>
                <a:gd name="connsiteY2912" fmla="*/ 868957 h 1387660"/>
                <a:gd name="connsiteX2913" fmla="*/ 739933 w 1083508"/>
                <a:gd name="connsiteY2913" fmla="*/ 870587 h 1387660"/>
                <a:gd name="connsiteX2914" fmla="*/ 739933 w 1083508"/>
                <a:gd name="connsiteY2914" fmla="*/ 873682 h 1387660"/>
                <a:gd name="connsiteX2915" fmla="*/ 741725 w 1083508"/>
                <a:gd name="connsiteY2915" fmla="*/ 875962 h 1387660"/>
                <a:gd name="connsiteX2916" fmla="*/ 746938 w 1083508"/>
                <a:gd name="connsiteY2916" fmla="*/ 873519 h 1387660"/>
                <a:gd name="connsiteX2917" fmla="*/ 748893 w 1083508"/>
                <a:gd name="connsiteY2917" fmla="*/ 873845 h 1387660"/>
                <a:gd name="connsiteX2918" fmla="*/ 760134 w 1083508"/>
                <a:gd name="connsiteY2918" fmla="*/ 877266 h 1387660"/>
                <a:gd name="connsiteX2919" fmla="*/ 764533 w 1083508"/>
                <a:gd name="connsiteY2919" fmla="*/ 879547 h 1387660"/>
                <a:gd name="connsiteX2920" fmla="*/ 766976 w 1083508"/>
                <a:gd name="connsiteY2920" fmla="*/ 879547 h 1387660"/>
                <a:gd name="connsiteX2921" fmla="*/ 768279 w 1083508"/>
                <a:gd name="connsiteY2921" fmla="*/ 882805 h 1387660"/>
                <a:gd name="connsiteX2922" fmla="*/ 770723 w 1083508"/>
                <a:gd name="connsiteY2922" fmla="*/ 888018 h 1387660"/>
                <a:gd name="connsiteX2923" fmla="*/ 768768 w 1083508"/>
                <a:gd name="connsiteY2923" fmla="*/ 892253 h 1387660"/>
                <a:gd name="connsiteX2924" fmla="*/ 765510 w 1083508"/>
                <a:gd name="connsiteY2924" fmla="*/ 893720 h 1387660"/>
                <a:gd name="connsiteX2925" fmla="*/ 762903 w 1083508"/>
                <a:gd name="connsiteY2925" fmla="*/ 896815 h 1387660"/>
                <a:gd name="connsiteX2926" fmla="*/ 759971 w 1083508"/>
                <a:gd name="connsiteY2926" fmla="*/ 898281 h 1387660"/>
                <a:gd name="connsiteX2927" fmla="*/ 756387 w 1083508"/>
                <a:gd name="connsiteY2927" fmla="*/ 898281 h 1387660"/>
                <a:gd name="connsiteX2928" fmla="*/ 744006 w 1083508"/>
                <a:gd name="connsiteY2928" fmla="*/ 904472 h 1387660"/>
                <a:gd name="connsiteX2929" fmla="*/ 737653 w 1083508"/>
                <a:gd name="connsiteY2929" fmla="*/ 904797 h 1387660"/>
                <a:gd name="connsiteX2930" fmla="*/ 733254 w 1083508"/>
                <a:gd name="connsiteY2930" fmla="*/ 906426 h 1387660"/>
                <a:gd name="connsiteX2931" fmla="*/ 730159 w 1083508"/>
                <a:gd name="connsiteY2931" fmla="*/ 904146 h 1387660"/>
                <a:gd name="connsiteX2932" fmla="*/ 727552 w 1083508"/>
                <a:gd name="connsiteY2932" fmla="*/ 899584 h 1387660"/>
                <a:gd name="connsiteX2933" fmla="*/ 727552 w 1083508"/>
                <a:gd name="connsiteY2933" fmla="*/ 896489 h 1387660"/>
                <a:gd name="connsiteX2934" fmla="*/ 726249 w 1083508"/>
                <a:gd name="connsiteY2934" fmla="*/ 894534 h 1387660"/>
                <a:gd name="connsiteX2935" fmla="*/ 723479 w 1083508"/>
                <a:gd name="connsiteY2935" fmla="*/ 893557 h 1387660"/>
                <a:gd name="connsiteX2936" fmla="*/ 723479 w 1083508"/>
                <a:gd name="connsiteY2936" fmla="*/ 898281 h 1387660"/>
                <a:gd name="connsiteX2937" fmla="*/ 724620 w 1083508"/>
                <a:gd name="connsiteY2937" fmla="*/ 899910 h 1387660"/>
                <a:gd name="connsiteX2938" fmla="*/ 725434 w 1083508"/>
                <a:gd name="connsiteY2938" fmla="*/ 902517 h 1387660"/>
                <a:gd name="connsiteX2939" fmla="*/ 723805 w 1083508"/>
                <a:gd name="connsiteY2939" fmla="*/ 903983 h 1387660"/>
                <a:gd name="connsiteX2940" fmla="*/ 720058 w 1083508"/>
                <a:gd name="connsiteY2940" fmla="*/ 903168 h 1387660"/>
                <a:gd name="connsiteX2941" fmla="*/ 719570 w 1083508"/>
                <a:gd name="connsiteY2941" fmla="*/ 902028 h 1387660"/>
                <a:gd name="connsiteX2942" fmla="*/ 717778 w 1083508"/>
                <a:gd name="connsiteY2942" fmla="*/ 901539 h 1387660"/>
                <a:gd name="connsiteX2943" fmla="*/ 714194 w 1083508"/>
                <a:gd name="connsiteY2943" fmla="*/ 903820 h 1387660"/>
                <a:gd name="connsiteX2944" fmla="*/ 715171 w 1083508"/>
                <a:gd name="connsiteY2944" fmla="*/ 905449 h 1387660"/>
                <a:gd name="connsiteX2945" fmla="*/ 719244 w 1083508"/>
                <a:gd name="connsiteY2945" fmla="*/ 906426 h 1387660"/>
                <a:gd name="connsiteX2946" fmla="*/ 721362 w 1083508"/>
                <a:gd name="connsiteY2946" fmla="*/ 908707 h 1387660"/>
                <a:gd name="connsiteX2947" fmla="*/ 722013 w 1083508"/>
                <a:gd name="connsiteY2947" fmla="*/ 911477 h 1387660"/>
                <a:gd name="connsiteX2948" fmla="*/ 719733 w 1083508"/>
                <a:gd name="connsiteY2948" fmla="*/ 914409 h 1387660"/>
                <a:gd name="connsiteX2949" fmla="*/ 717778 w 1083508"/>
                <a:gd name="connsiteY2949" fmla="*/ 915712 h 1387660"/>
                <a:gd name="connsiteX2950" fmla="*/ 714845 w 1083508"/>
                <a:gd name="connsiteY2950" fmla="*/ 915712 h 1387660"/>
                <a:gd name="connsiteX2951" fmla="*/ 713379 w 1083508"/>
                <a:gd name="connsiteY2951" fmla="*/ 917667 h 1387660"/>
                <a:gd name="connsiteX2952" fmla="*/ 713379 w 1083508"/>
                <a:gd name="connsiteY2952" fmla="*/ 921088 h 1387660"/>
                <a:gd name="connsiteX2953" fmla="*/ 710284 w 1083508"/>
                <a:gd name="connsiteY2953" fmla="*/ 923369 h 1387660"/>
                <a:gd name="connsiteX2954" fmla="*/ 701487 w 1083508"/>
                <a:gd name="connsiteY2954" fmla="*/ 927442 h 1387660"/>
                <a:gd name="connsiteX2955" fmla="*/ 697088 w 1083508"/>
                <a:gd name="connsiteY2955" fmla="*/ 926953 h 1387660"/>
                <a:gd name="connsiteX2956" fmla="*/ 694156 w 1083508"/>
                <a:gd name="connsiteY2956" fmla="*/ 926627 h 1387660"/>
                <a:gd name="connsiteX2957" fmla="*/ 690083 w 1083508"/>
                <a:gd name="connsiteY2957" fmla="*/ 930537 h 1387660"/>
                <a:gd name="connsiteX2958" fmla="*/ 688454 w 1083508"/>
                <a:gd name="connsiteY2958" fmla="*/ 933632 h 1387660"/>
                <a:gd name="connsiteX2959" fmla="*/ 689594 w 1083508"/>
                <a:gd name="connsiteY2959" fmla="*/ 934773 h 1387660"/>
                <a:gd name="connsiteX2960" fmla="*/ 698066 w 1083508"/>
                <a:gd name="connsiteY2960" fmla="*/ 930700 h 1387660"/>
                <a:gd name="connsiteX2961" fmla="*/ 703930 w 1083508"/>
                <a:gd name="connsiteY2961" fmla="*/ 930700 h 1387660"/>
                <a:gd name="connsiteX2962" fmla="*/ 708003 w 1083508"/>
                <a:gd name="connsiteY2962" fmla="*/ 929397 h 1387660"/>
                <a:gd name="connsiteX2963" fmla="*/ 710610 w 1083508"/>
                <a:gd name="connsiteY2963" fmla="*/ 930537 h 1387660"/>
                <a:gd name="connsiteX2964" fmla="*/ 712239 w 1083508"/>
                <a:gd name="connsiteY2964" fmla="*/ 932655 h 1387660"/>
                <a:gd name="connsiteX2965" fmla="*/ 717615 w 1083508"/>
                <a:gd name="connsiteY2965" fmla="*/ 933795 h 1387660"/>
                <a:gd name="connsiteX2966" fmla="*/ 721687 w 1083508"/>
                <a:gd name="connsiteY2966" fmla="*/ 933795 h 1387660"/>
                <a:gd name="connsiteX2967" fmla="*/ 726738 w 1083508"/>
                <a:gd name="connsiteY2967" fmla="*/ 932166 h 1387660"/>
                <a:gd name="connsiteX2968" fmla="*/ 734231 w 1083508"/>
                <a:gd name="connsiteY2968" fmla="*/ 932166 h 1387660"/>
                <a:gd name="connsiteX2969" fmla="*/ 737815 w 1083508"/>
                <a:gd name="connsiteY2969" fmla="*/ 933958 h 1387660"/>
                <a:gd name="connsiteX2970" fmla="*/ 742214 w 1083508"/>
                <a:gd name="connsiteY2970" fmla="*/ 932981 h 1387660"/>
                <a:gd name="connsiteX2971" fmla="*/ 744332 w 1083508"/>
                <a:gd name="connsiteY2971" fmla="*/ 933307 h 1387660"/>
                <a:gd name="connsiteX2972" fmla="*/ 745635 w 1083508"/>
                <a:gd name="connsiteY2972" fmla="*/ 935099 h 1387660"/>
                <a:gd name="connsiteX2973" fmla="*/ 747916 w 1083508"/>
                <a:gd name="connsiteY2973" fmla="*/ 935099 h 1387660"/>
                <a:gd name="connsiteX2974" fmla="*/ 749219 w 1083508"/>
                <a:gd name="connsiteY2974" fmla="*/ 937705 h 1387660"/>
                <a:gd name="connsiteX2975" fmla="*/ 747753 w 1083508"/>
                <a:gd name="connsiteY2975" fmla="*/ 939986 h 1387660"/>
                <a:gd name="connsiteX2976" fmla="*/ 743680 w 1083508"/>
                <a:gd name="connsiteY2976" fmla="*/ 941126 h 1387660"/>
                <a:gd name="connsiteX2977" fmla="*/ 738630 w 1083508"/>
                <a:gd name="connsiteY2977" fmla="*/ 939660 h 1387660"/>
                <a:gd name="connsiteX2978" fmla="*/ 734557 w 1083508"/>
                <a:gd name="connsiteY2978" fmla="*/ 940149 h 1387660"/>
                <a:gd name="connsiteX2979" fmla="*/ 730810 w 1083508"/>
                <a:gd name="connsiteY2979" fmla="*/ 943733 h 1387660"/>
                <a:gd name="connsiteX2980" fmla="*/ 724946 w 1083508"/>
                <a:gd name="connsiteY2980" fmla="*/ 944384 h 1387660"/>
                <a:gd name="connsiteX2981" fmla="*/ 721036 w 1083508"/>
                <a:gd name="connsiteY2981" fmla="*/ 946502 h 1387660"/>
                <a:gd name="connsiteX2982" fmla="*/ 717778 w 1083508"/>
                <a:gd name="connsiteY2982" fmla="*/ 945199 h 1387660"/>
                <a:gd name="connsiteX2983" fmla="*/ 715008 w 1083508"/>
                <a:gd name="connsiteY2983" fmla="*/ 942755 h 1387660"/>
                <a:gd name="connsiteX2984" fmla="*/ 710447 w 1083508"/>
                <a:gd name="connsiteY2984" fmla="*/ 943244 h 1387660"/>
                <a:gd name="connsiteX2985" fmla="*/ 707677 w 1083508"/>
                <a:gd name="connsiteY2985" fmla="*/ 946339 h 1387660"/>
                <a:gd name="connsiteX2986" fmla="*/ 709632 w 1083508"/>
                <a:gd name="connsiteY2986" fmla="*/ 948294 h 1387660"/>
                <a:gd name="connsiteX2987" fmla="*/ 712239 w 1083508"/>
                <a:gd name="connsiteY2987" fmla="*/ 947154 h 1387660"/>
                <a:gd name="connsiteX2988" fmla="*/ 715334 w 1083508"/>
                <a:gd name="connsiteY2988" fmla="*/ 948783 h 1387660"/>
                <a:gd name="connsiteX2989" fmla="*/ 723805 w 1083508"/>
                <a:gd name="connsiteY2989" fmla="*/ 948783 h 1387660"/>
                <a:gd name="connsiteX2990" fmla="*/ 726086 w 1083508"/>
                <a:gd name="connsiteY2990" fmla="*/ 950412 h 1387660"/>
                <a:gd name="connsiteX2991" fmla="*/ 728367 w 1083508"/>
                <a:gd name="connsiteY2991" fmla="*/ 953344 h 1387660"/>
                <a:gd name="connsiteX2992" fmla="*/ 730159 w 1083508"/>
                <a:gd name="connsiteY2992" fmla="*/ 950086 h 1387660"/>
                <a:gd name="connsiteX2993" fmla="*/ 736512 w 1083508"/>
                <a:gd name="connsiteY2993" fmla="*/ 944384 h 1387660"/>
                <a:gd name="connsiteX2994" fmla="*/ 740096 w 1083508"/>
                <a:gd name="connsiteY2994" fmla="*/ 944710 h 1387660"/>
                <a:gd name="connsiteX2995" fmla="*/ 743191 w 1083508"/>
                <a:gd name="connsiteY2995" fmla="*/ 943244 h 1387660"/>
                <a:gd name="connsiteX2996" fmla="*/ 746124 w 1083508"/>
                <a:gd name="connsiteY2996" fmla="*/ 944384 h 1387660"/>
                <a:gd name="connsiteX2997" fmla="*/ 748079 w 1083508"/>
                <a:gd name="connsiteY2997" fmla="*/ 946013 h 1387660"/>
                <a:gd name="connsiteX2998" fmla="*/ 751011 w 1083508"/>
                <a:gd name="connsiteY2998" fmla="*/ 944873 h 1387660"/>
                <a:gd name="connsiteX2999" fmla="*/ 757853 w 1083508"/>
                <a:gd name="connsiteY2999" fmla="*/ 944873 h 1387660"/>
                <a:gd name="connsiteX3000" fmla="*/ 761274 w 1083508"/>
                <a:gd name="connsiteY3000" fmla="*/ 942918 h 1387660"/>
                <a:gd name="connsiteX3001" fmla="*/ 768279 w 1083508"/>
                <a:gd name="connsiteY3001" fmla="*/ 937705 h 1387660"/>
                <a:gd name="connsiteX3002" fmla="*/ 770723 w 1083508"/>
                <a:gd name="connsiteY3002" fmla="*/ 935424 h 1387660"/>
                <a:gd name="connsiteX3003" fmla="*/ 771212 w 1083508"/>
                <a:gd name="connsiteY3003" fmla="*/ 936891 h 1387660"/>
                <a:gd name="connsiteX3004" fmla="*/ 770397 w 1083508"/>
                <a:gd name="connsiteY3004" fmla="*/ 939334 h 1387660"/>
                <a:gd name="connsiteX3005" fmla="*/ 771538 w 1083508"/>
                <a:gd name="connsiteY3005" fmla="*/ 940312 h 1387660"/>
                <a:gd name="connsiteX3006" fmla="*/ 774633 w 1083508"/>
                <a:gd name="connsiteY3006" fmla="*/ 937542 h 1387660"/>
                <a:gd name="connsiteX3007" fmla="*/ 776425 w 1083508"/>
                <a:gd name="connsiteY3007" fmla="*/ 937542 h 1387660"/>
                <a:gd name="connsiteX3008" fmla="*/ 778217 w 1083508"/>
                <a:gd name="connsiteY3008" fmla="*/ 939823 h 1387660"/>
                <a:gd name="connsiteX3009" fmla="*/ 784896 w 1083508"/>
                <a:gd name="connsiteY3009" fmla="*/ 945199 h 1387660"/>
                <a:gd name="connsiteX3010" fmla="*/ 792064 w 1083508"/>
                <a:gd name="connsiteY3010" fmla="*/ 946176 h 1387660"/>
                <a:gd name="connsiteX3011" fmla="*/ 797766 w 1083508"/>
                <a:gd name="connsiteY3011" fmla="*/ 948783 h 1387660"/>
                <a:gd name="connsiteX3012" fmla="*/ 804119 w 1083508"/>
                <a:gd name="connsiteY3012" fmla="*/ 950249 h 1387660"/>
                <a:gd name="connsiteX3013" fmla="*/ 807703 w 1083508"/>
                <a:gd name="connsiteY3013" fmla="*/ 950249 h 1387660"/>
                <a:gd name="connsiteX3014" fmla="*/ 814709 w 1083508"/>
                <a:gd name="connsiteY3014" fmla="*/ 950412 h 1387660"/>
                <a:gd name="connsiteX3015" fmla="*/ 816501 w 1083508"/>
                <a:gd name="connsiteY3015" fmla="*/ 951389 h 1387660"/>
                <a:gd name="connsiteX3016" fmla="*/ 822365 w 1083508"/>
                <a:gd name="connsiteY3016" fmla="*/ 951878 h 1387660"/>
                <a:gd name="connsiteX3017" fmla="*/ 828719 w 1083508"/>
                <a:gd name="connsiteY3017" fmla="*/ 949597 h 1387660"/>
                <a:gd name="connsiteX3018" fmla="*/ 828719 w 1083508"/>
                <a:gd name="connsiteY3018" fmla="*/ 950901 h 1387660"/>
                <a:gd name="connsiteX3019" fmla="*/ 826275 w 1083508"/>
                <a:gd name="connsiteY3019" fmla="*/ 955299 h 1387660"/>
                <a:gd name="connsiteX3020" fmla="*/ 821551 w 1083508"/>
                <a:gd name="connsiteY3020" fmla="*/ 958395 h 1387660"/>
                <a:gd name="connsiteX3021" fmla="*/ 816175 w 1083508"/>
                <a:gd name="connsiteY3021" fmla="*/ 959372 h 1387660"/>
                <a:gd name="connsiteX3022" fmla="*/ 813894 w 1083508"/>
                <a:gd name="connsiteY3022" fmla="*/ 958557 h 1387660"/>
                <a:gd name="connsiteX3023" fmla="*/ 809984 w 1083508"/>
                <a:gd name="connsiteY3023" fmla="*/ 961327 h 1387660"/>
                <a:gd name="connsiteX3024" fmla="*/ 809984 w 1083508"/>
                <a:gd name="connsiteY3024" fmla="*/ 963445 h 1387660"/>
                <a:gd name="connsiteX3025" fmla="*/ 812591 w 1083508"/>
                <a:gd name="connsiteY3025" fmla="*/ 965237 h 1387660"/>
                <a:gd name="connsiteX3026" fmla="*/ 813079 w 1083508"/>
                <a:gd name="connsiteY3026" fmla="*/ 967517 h 1387660"/>
                <a:gd name="connsiteX3027" fmla="*/ 811450 w 1083508"/>
                <a:gd name="connsiteY3027" fmla="*/ 968658 h 1387660"/>
                <a:gd name="connsiteX3028" fmla="*/ 809007 w 1083508"/>
                <a:gd name="connsiteY3028" fmla="*/ 968006 h 1387660"/>
                <a:gd name="connsiteX3029" fmla="*/ 807215 w 1083508"/>
                <a:gd name="connsiteY3029" fmla="*/ 966051 h 1387660"/>
                <a:gd name="connsiteX3030" fmla="*/ 805097 w 1083508"/>
                <a:gd name="connsiteY3030" fmla="*/ 965237 h 1387660"/>
                <a:gd name="connsiteX3031" fmla="*/ 803957 w 1083508"/>
                <a:gd name="connsiteY3031" fmla="*/ 968006 h 1387660"/>
                <a:gd name="connsiteX3032" fmla="*/ 803142 w 1083508"/>
                <a:gd name="connsiteY3032" fmla="*/ 970124 h 1387660"/>
                <a:gd name="connsiteX3033" fmla="*/ 800861 w 1083508"/>
                <a:gd name="connsiteY3033" fmla="*/ 968658 h 1387660"/>
                <a:gd name="connsiteX3034" fmla="*/ 796300 w 1083508"/>
                <a:gd name="connsiteY3034" fmla="*/ 968658 h 1387660"/>
                <a:gd name="connsiteX3035" fmla="*/ 795322 w 1083508"/>
                <a:gd name="connsiteY3035" fmla="*/ 970124 h 1387660"/>
                <a:gd name="connsiteX3036" fmla="*/ 795811 w 1083508"/>
                <a:gd name="connsiteY3036" fmla="*/ 972568 h 1387660"/>
                <a:gd name="connsiteX3037" fmla="*/ 797114 w 1083508"/>
                <a:gd name="connsiteY3037" fmla="*/ 973545 h 1387660"/>
                <a:gd name="connsiteX3038" fmla="*/ 797114 w 1083508"/>
                <a:gd name="connsiteY3038" fmla="*/ 976477 h 1387660"/>
                <a:gd name="connsiteX3039" fmla="*/ 794671 w 1083508"/>
                <a:gd name="connsiteY3039" fmla="*/ 978432 h 1387660"/>
                <a:gd name="connsiteX3040" fmla="*/ 791412 w 1083508"/>
                <a:gd name="connsiteY3040" fmla="*/ 979410 h 1387660"/>
                <a:gd name="connsiteX3041" fmla="*/ 789620 w 1083508"/>
                <a:gd name="connsiteY3041" fmla="*/ 977618 h 1387660"/>
                <a:gd name="connsiteX3042" fmla="*/ 787828 w 1083508"/>
                <a:gd name="connsiteY3042" fmla="*/ 976152 h 1387660"/>
                <a:gd name="connsiteX3043" fmla="*/ 786688 w 1083508"/>
                <a:gd name="connsiteY3043" fmla="*/ 977455 h 1387660"/>
                <a:gd name="connsiteX3044" fmla="*/ 787340 w 1083508"/>
                <a:gd name="connsiteY3044" fmla="*/ 979736 h 1387660"/>
                <a:gd name="connsiteX3045" fmla="*/ 787340 w 1083508"/>
                <a:gd name="connsiteY3045" fmla="*/ 983320 h 1387660"/>
                <a:gd name="connsiteX3046" fmla="*/ 784407 w 1083508"/>
                <a:gd name="connsiteY3046" fmla="*/ 983320 h 1387660"/>
                <a:gd name="connsiteX3047" fmla="*/ 782290 w 1083508"/>
                <a:gd name="connsiteY3047" fmla="*/ 984297 h 1387660"/>
                <a:gd name="connsiteX3048" fmla="*/ 779846 w 1083508"/>
                <a:gd name="connsiteY3048" fmla="*/ 986741 h 1387660"/>
                <a:gd name="connsiteX3049" fmla="*/ 776425 w 1083508"/>
                <a:gd name="connsiteY3049" fmla="*/ 985112 h 1387660"/>
                <a:gd name="connsiteX3050" fmla="*/ 775610 w 1083508"/>
                <a:gd name="connsiteY3050" fmla="*/ 983157 h 1387660"/>
                <a:gd name="connsiteX3051" fmla="*/ 773655 w 1083508"/>
                <a:gd name="connsiteY3051" fmla="*/ 983157 h 1387660"/>
                <a:gd name="connsiteX3052" fmla="*/ 773655 w 1083508"/>
                <a:gd name="connsiteY3052" fmla="*/ 986741 h 1387660"/>
                <a:gd name="connsiteX3053" fmla="*/ 774633 w 1083508"/>
                <a:gd name="connsiteY3053" fmla="*/ 990162 h 1387660"/>
                <a:gd name="connsiteX3054" fmla="*/ 772189 w 1083508"/>
                <a:gd name="connsiteY3054" fmla="*/ 994235 h 1387660"/>
                <a:gd name="connsiteX3055" fmla="*/ 769094 w 1083508"/>
                <a:gd name="connsiteY3055" fmla="*/ 992605 h 1387660"/>
                <a:gd name="connsiteX3056" fmla="*/ 768117 w 1083508"/>
                <a:gd name="connsiteY3056" fmla="*/ 989999 h 1387660"/>
                <a:gd name="connsiteX3057" fmla="*/ 765021 w 1083508"/>
                <a:gd name="connsiteY3057" fmla="*/ 991465 h 1387660"/>
                <a:gd name="connsiteX3058" fmla="*/ 764533 w 1083508"/>
                <a:gd name="connsiteY3058" fmla="*/ 993420 h 1387660"/>
                <a:gd name="connsiteX3059" fmla="*/ 766487 w 1083508"/>
                <a:gd name="connsiteY3059" fmla="*/ 995049 h 1387660"/>
                <a:gd name="connsiteX3060" fmla="*/ 766487 w 1083508"/>
                <a:gd name="connsiteY3060" fmla="*/ 998307 h 1387660"/>
                <a:gd name="connsiteX3061" fmla="*/ 761274 w 1083508"/>
                <a:gd name="connsiteY3061" fmla="*/ 1001565 h 1387660"/>
                <a:gd name="connsiteX3062" fmla="*/ 759319 w 1083508"/>
                <a:gd name="connsiteY3062" fmla="*/ 1000914 h 1387660"/>
                <a:gd name="connsiteX3063" fmla="*/ 758179 w 1083508"/>
                <a:gd name="connsiteY3063" fmla="*/ 998633 h 1387660"/>
                <a:gd name="connsiteX3064" fmla="*/ 755084 w 1083508"/>
                <a:gd name="connsiteY3064" fmla="*/ 996841 h 1387660"/>
                <a:gd name="connsiteX3065" fmla="*/ 752966 w 1083508"/>
                <a:gd name="connsiteY3065" fmla="*/ 997167 h 1387660"/>
                <a:gd name="connsiteX3066" fmla="*/ 752966 w 1083508"/>
                <a:gd name="connsiteY3066" fmla="*/ 999611 h 1387660"/>
                <a:gd name="connsiteX3067" fmla="*/ 754595 w 1083508"/>
                <a:gd name="connsiteY3067" fmla="*/ 1003195 h 1387660"/>
                <a:gd name="connsiteX3068" fmla="*/ 754595 w 1083508"/>
                <a:gd name="connsiteY3068" fmla="*/ 1005475 h 1387660"/>
                <a:gd name="connsiteX3069" fmla="*/ 752152 w 1083508"/>
                <a:gd name="connsiteY3069" fmla="*/ 1006941 h 1387660"/>
                <a:gd name="connsiteX3070" fmla="*/ 747753 w 1083508"/>
                <a:gd name="connsiteY3070" fmla="*/ 1008082 h 1387660"/>
                <a:gd name="connsiteX3071" fmla="*/ 746450 w 1083508"/>
                <a:gd name="connsiteY3071" fmla="*/ 1010200 h 1387660"/>
                <a:gd name="connsiteX3072" fmla="*/ 741399 w 1083508"/>
                <a:gd name="connsiteY3072" fmla="*/ 1010525 h 1387660"/>
                <a:gd name="connsiteX3073" fmla="*/ 738467 w 1083508"/>
                <a:gd name="connsiteY3073" fmla="*/ 1013458 h 1387660"/>
                <a:gd name="connsiteX3074" fmla="*/ 737001 w 1083508"/>
                <a:gd name="connsiteY3074" fmla="*/ 1016716 h 1387660"/>
                <a:gd name="connsiteX3075" fmla="*/ 735046 w 1083508"/>
                <a:gd name="connsiteY3075" fmla="*/ 1016716 h 1387660"/>
                <a:gd name="connsiteX3076" fmla="*/ 733417 w 1083508"/>
                <a:gd name="connsiteY3076" fmla="*/ 1013784 h 1387660"/>
                <a:gd name="connsiteX3077" fmla="*/ 730485 w 1083508"/>
                <a:gd name="connsiteY3077" fmla="*/ 1013784 h 1387660"/>
                <a:gd name="connsiteX3078" fmla="*/ 726086 w 1083508"/>
                <a:gd name="connsiteY3078" fmla="*/ 1016390 h 1387660"/>
                <a:gd name="connsiteX3079" fmla="*/ 722502 w 1083508"/>
                <a:gd name="connsiteY3079" fmla="*/ 1016390 h 1387660"/>
                <a:gd name="connsiteX3080" fmla="*/ 720710 w 1083508"/>
                <a:gd name="connsiteY3080" fmla="*/ 1017531 h 1387660"/>
                <a:gd name="connsiteX3081" fmla="*/ 719081 w 1083508"/>
                <a:gd name="connsiteY3081" fmla="*/ 1020626 h 1387660"/>
                <a:gd name="connsiteX3082" fmla="*/ 716149 w 1083508"/>
                <a:gd name="connsiteY3082" fmla="*/ 1020952 h 1387660"/>
                <a:gd name="connsiteX3083" fmla="*/ 713542 w 1083508"/>
                <a:gd name="connsiteY3083" fmla="*/ 1019811 h 1387660"/>
                <a:gd name="connsiteX3084" fmla="*/ 712239 w 1083508"/>
                <a:gd name="connsiteY3084" fmla="*/ 1018019 h 1387660"/>
                <a:gd name="connsiteX3085" fmla="*/ 710610 w 1083508"/>
                <a:gd name="connsiteY3085" fmla="*/ 1018019 h 1387660"/>
                <a:gd name="connsiteX3086" fmla="*/ 708003 w 1083508"/>
                <a:gd name="connsiteY3086" fmla="*/ 1023069 h 1387660"/>
                <a:gd name="connsiteX3087" fmla="*/ 706211 w 1083508"/>
                <a:gd name="connsiteY3087" fmla="*/ 1021929 h 1387660"/>
                <a:gd name="connsiteX3088" fmla="*/ 703930 w 1083508"/>
                <a:gd name="connsiteY3088" fmla="*/ 1018671 h 1387660"/>
                <a:gd name="connsiteX3089" fmla="*/ 702464 w 1083508"/>
                <a:gd name="connsiteY3089" fmla="*/ 1018671 h 1387660"/>
                <a:gd name="connsiteX3090" fmla="*/ 701324 w 1083508"/>
                <a:gd name="connsiteY3090" fmla="*/ 1022255 h 1387660"/>
                <a:gd name="connsiteX3091" fmla="*/ 699043 w 1083508"/>
                <a:gd name="connsiteY3091" fmla="*/ 1024536 h 1387660"/>
                <a:gd name="connsiteX3092" fmla="*/ 696599 w 1083508"/>
                <a:gd name="connsiteY3092" fmla="*/ 1023232 h 1387660"/>
                <a:gd name="connsiteX3093" fmla="*/ 696111 w 1083508"/>
                <a:gd name="connsiteY3093" fmla="*/ 1021277 h 1387660"/>
                <a:gd name="connsiteX3094" fmla="*/ 694645 w 1083508"/>
                <a:gd name="connsiteY3094" fmla="*/ 1020952 h 1387660"/>
                <a:gd name="connsiteX3095" fmla="*/ 694645 w 1083508"/>
                <a:gd name="connsiteY3095" fmla="*/ 1023721 h 1387660"/>
                <a:gd name="connsiteX3096" fmla="*/ 693015 w 1083508"/>
                <a:gd name="connsiteY3096" fmla="*/ 1024699 h 1387660"/>
                <a:gd name="connsiteX3097" fmla="*/ 689106 w 1083508"/>
                <a:gd name="connsiteY3097" fmla="*/ 1024373 h 1387660"/>
                <a:gd name="connsiteX3098" fmla="*/ 686336 w 1083508"/>
                <a:gd name="connsiteY3098" fmla="*/ 1025187 h 1387660"/>
                <a:gd name="connsiteX3099" fmla="*/ 686662 w 1083508"/>
                <a:gd name="connsiteY3099" fmla="*/ 1027468 h 1387660"/>
                <a:gd name="connsiteX3100" fmla="*/ 685847 w 1083508"/>
                <a:gd name="connsiteY3100" fmla="*/ 1029749 h 1387660"/>
                <a:gd name="connsiteX3101" fmla="*/ 682752 w 1083508"/>
                <a:gd name="connsiteY3101" fmla="*/ 1029749 h 1387660"/>
                <a:gd name="connsiteX3102" fmla="*/ 681449 w 1083508"/>
                <a:gd name="connsiteY3102" fmla="*/ 1028445 h 1387660"/>
                <a:gd name="connsiteX3103" fmla="*/ 679494 w 1083508"/>
                <a:gd name="connsiteY3103" fmla="*/ 1028934 h 1387660"/>
                <a:gd name="connsiteX3104" fmla="*/ 679168 w 1083508"/>
                <a:gd name="connsiteY3104" fmla="*/ 1031541 h 1387660"/>
                <a:gd name="connsiteX3105" fmla="*/ 677376 w 1083508"/>
                <a:gd name="connsiteY3105" fmla="*/ 1031541 h 1387660"/>
                <a:gd name="connsiteX3106" fmla="*/ 676073 w 1083508"/>
                <a:gd name="connsiteY3106" fmla="*/ 1029749 h 1387660"/>
                <a:gd name="connsiteX3107" fmla="*/ 674770 w 1083508"/>
                <a:gd name="connsiteY3107" fmla="*/ 1030075 h 1387660"/>
                <a:gd name="connsiteX3108" fmla="*/ 674281 w 1083508"/>
                <a:gd name="connsiteY3108" fmla="*/ 1034310 h 1387660"/>
                <a:gd name="connsiteX3109" fmla="*/ 671674 w 1083508"/>
                <a:gd name="connsiteY3109" fmla="*/ 1035288 h 1387660"/>
                <a:gd name="connsiteX3110" fmla="*/ 669882 w 1083508"/>
                <a:gd name="connsiteY3110" fmla="*/ 1037405 h 1387660"/>
                <a:gd name="connsiteX3111" fmla="*/ 667439 w 1083508"/>
                <a:gd name="connsiteY3111" fmla="*/ 1037731 h 1387660"/>
                <a:gd name="connsiteX3112" fmla="*/ 666136 w 1083508"/>
                <a:gd name="connsiteY3112" fmla="*/ 1035288 h 1387660"/>
                <a:gd name="connsiteX3113" fmla="*/ 661085 w 1083508"/>
                <a:gd name="connsiteY3113" fmla="*/ 1029423 h 1387660"/>
                <a:gd name="connsiteX3114" fmla="*/ 659130 w 1083508"/>
                <a:gd name="connsiteY3114" fmla="*/ 1028445 h 1387660"/>
                <a:gd name="connsiteX3115" fmla="*/ 656524 w 1083508"/>
                <a:gd name="connsiteY3115" fmla="*/ 1029749 h 1387660"/>
                <a:gd name="connsiteX3116" fmla="*/ 656524 w 1083508"/>
                <a:gd name="connsiteY3116" fmla="*/ 1031541 h 1387660"/>
                <a:gd name="connsiteX3117" fmla="*/ 654243 w 1083508"/>
                <a:gd name="connsiteY3117" fmla="*/ 1031867 h 1387660"/>
                <a:gd name="connsiteX3118" fmla="*/ 653266 w 1083508"/>
                <a:gd name="connsiteY3118" fmla="*/ 1035125 h 1387660"/>
                <a:gd name="connsiteX3119" fmla="*/ 650007 w 1083508"/>
                <a:gd name="connsiteY3119" fmla="*/ 1037405 h 1387660"/>
                <a:gd name="connsiteX3120" fmla="*/ 647238 w 1083508"/>
                <a:gd name="connsiteY3120" fmla="*/ 1037405 h 1387660"/>
                <a:gd name="connsiteX3121" fmla="*/ 645772 w 1083508"/>
                <a:gd name="connsiteY3121" fmla="*/ 1036265 h 1387660"/>
                <a:gd name="connsiteX3122" fmla="*/ 643980 w 1083508"/>
                <a:gd name="connsiteY3122" fmla="*/ 1038872 h 1387660"/>
                <a:gd name="connsiteX3123" fmla="*/ 639907 w 1083508"/>
                <a:gd name="connsiteY3123" fmla="*/ 1039360 h 1387660"/>
                <a:gd name="connsiteX3124" fmla="*/ 635997 w 1083508"/>
                <a:gd name="connsiteY3124" fmla="*/ 1038872 h 1387660"/>
                <a:gd name="connsiteX3125" fmla="*/ 633717 w 1083508"/>
                <a:gd name="connsiteY3125" fmla="*/ 1035613 h 1387660"/>
                <a:gd name="connsiteX3126" fmla="*/ 631436 w 1083508"/>
                <a:gd name="connsiteY3126" fmla="*/ 1035613 h 1387660"/>
                <a:gd name="connsiteX3127" fmla="*/ 629807 w 1083508"/>
                <a:gd name="connsiteY3127" fmla="*/ 1038057 h 1387660"/>
                <a:gd name="connsiteX3128" fmla="*/ 629318 w 1083508"/>
                <a:gd name="connsiteY3128" fmla="*/ 1040012 h 1387660"/>
                <a:gd name="connsiteX3129" fmla="*/ 626711 w 1083508"/>
                <a:gd name="connsiteY3129" fmla="*/ 1039523 h 1387660"/>
                <a:gd name="connsiteX3130" fmla="*/ 623128 w 1083508"/>
                <a:gd name="connsiteY3130" fmla="*/ 1037243 h 1387660"/>
                <a:gd name="connsiteX3131" fmla="*/ 621498 w 1083508"/>
                <a:gd name="connsiteY3131" fmla="*/ 1033333 h 1387660"/>
                <a:gd name="connsiteX3132" fmla="*/ 622639 w 1083508"/>
                <a:gd name="connsiteY3132" fmla="*/ 1029749 h 1387660"/>
                <a:gd name="connsiteX3133" fmla="*/ 620521 w 1083508"/>
                <a:gd name="connsiteY3133" fmla="*/ 1027957 h 1387660"/>
                <a:gd name="connsiteX3134" fmla="*/ 617914 w 1083508"/>
                <a:gd name="connsiteY3134" fmla="*/ 1027142 h 1387660"/>
                <a:gd name="connsiteX3135" fmla="*/ 615471 w 1083508"/>
                <a:gd name="connsiteY3135" fmla="*/ 1022255 h 1387660"/>
                <a:gd name="connsiteX3136" fmla="*/ 615471 w 1083508"/>
                <a:gd name="connsiteY3136" fmla="*/ 1018671 h 1387660"/>
                <a:gd name="connsiteX3137" fmla="*/ 613516 w 1083508"/>
                <a:gd name="connsiteY3137" fmla="*/ 1015413 h 1387660"/>
                <a:gd name="connsiteX3138" fmla="*/ 612050 w 1083508"/>
                <a:gd name="connsiteY3138" fmla="*/ 1010525 h 1387660"/>
                <a:gd name="connsiteX3139" fmla="*/ 610258 w 1083508"/>
                <a:gd name="connsiteY3139" fmla="*/ 1008896 h 1387660"/>
                <a:gd name="connsiteX3140" fmla="*/ 607977 w 1083508"/>
                <a:gd name="connsiteY3140" fmla="*/ 1009385 h 1387660"/>
                <a:gd name="connsiteX3141" fmla="*/ 607488 w 1083508"/>
                <a:gd name="connsiteY3141" fmla="*/ 1013132 h 1387660"/>
                <a:gd name="connsiteX3142" fmla="*/ 608628 w 1083508"/>
                <a:gd name="connsiteY3142" fmla="*/ 1015250 h 1387660"/>
                <a:gd name="connsiteX3143" fmla="*/ 610258 w 1083508"/>
                <a:gd name="connsiteY3143" fmla="*/ 1019485 h 1387660"/>
                <a:gd name="connsiteX3144" fmla="*/ 612538 w 1083508"/>
                <a:gd name="connsiteY3144" fmla="*/ 1021603 h 1387660"/>
                <a:gd name="connsiteX3145" fmla="*/ 613842 w 1083508"/>
                <a:gd name="connsiteY3145" fmla="*/ 1024862 h 1387660"/>
                <a:gd name="connsiteX3146" fmla="*/ 613842 w 1083508"/>
                <a:gd name="connsiteY3146" fmla="*/ 1029749 h 1387660"/>
                <a:gd name="connsiteX3147" fmla="*/ 612375 w 1083508"/>
                <a:gd name="connsiteY3147" fmla="*/ 1033007 h 1387660"/>
                <a:gd name="connsiteX3148" fmla="*/ 613516 w 1083508"/>
                <a:gd name="connsiteY3148" fmla="*/ 1033984 h 1387660"/>
                <a:gd name="connsiteX3149" fmla="*/ 616122 w 1083508"/>
                <a:gd name="connsiteY3149" fmla="*/ 1034310 h 1387660"/>
                <a:gd name="connsiteX3150" fmla="*/ 617100 w 1083508"/>
                <a:gd name="connsiteY3150" fmla="*/ 1039686 h 1387660"/>
                <a:gd name="connsiteX3151" fmla="*/ 615959 w 1083508"/>
                <a:gd name="connsiteY3151" fmla="*/ 1045714 h 1387660"/>
                <a:gd name="connsiteX3152" fmla="*/ 613353 w 1083508"/>
                <a:gd name="connsiteY3152" fmla="*/ 1048972 h 1387660"/>
                <a:gd name="connsiteX3153" fmla="*/ 610258 w 1083508"/>
                <a:gd name="connsiteY3153" fmla="*/ 1050275 h 1387660"/>
                <a:gd name="connsiteX3154" fmla="*/ 608791 w 1083508"/>
                <a:gd name="connsiteY3154" fmla="*/ 1048646 h 1387660"/>
                <a:gd name="connsiteX3155" fmla="*/ 606837 w 1083508"/>
                <a:gd name="connsiteY3155" fmla="*/ 1048646 h 1387660"/>
                <a:gd name="connsiteX3156" fmla="*/ 603090 w 1083508"/>
                <a:gd name="connsiteY3156" fmla="*/ 1050601 h 1387660"/>
                <a:gd name="connsiteX3157" fmla="*/ 599506 w 1083508"/>
                <a:gd name="connsiteY3157" fmla="*/ 1055488 h 1387660"/>
                <a:gd name="connsiteX3158" fmla="*/ 597551 w 1083508"/>
                <a:gd name="connsiteY3158" fmla="*/ 1056466 h 1387660"/>
                <a:gd name="connsiteX3159" fmla="*/ 594293 w 1083508"/>
                <a:gd name="connsiteY3159" fmla="*/ 1056140 h 1387660"/>
                <a:gd name="connsiteX3160" fmla="*/ 593152 w 1083508"/>
                <a:gd name="connsiteY3160" fmla="*/ 1057932 h 1387660"/>
                <a:gd name="connsiteX3161" fmla="*/ 593641 w 1083508"/>
                <a:gd name="connsiteY3161" fmla="*/ 1059072 h 1387660"/>
                <a:gd name="connsiteX3162" fmla="*/ 593641 w 1083508"/>
                <a:gd name="connsiteY3162" fmla="*/ 1062005 h 1387660"/>
                <a:gd name="connsiteX3163" fmla="*/ 590383 w 1083508"/>
                <a:gd name="connsiteY3163" fmla="*/ 1063960 h 1387660"/>
                <a:gd name="connsiteX3164" fmla="*/ 587125 w 1083508"/>
                <a:gd name="connsiteY3164" fmla="*/ 1064286 h 1387660"/>
                <a:gd name="connsiteX3165" fmla="*/ 586310 w 1083508"/>
                <a:gd name="connsiteY3165" fmla="*/ 1067381 h 1387660"/>
                <a:gd name="connsiteX3166" fmla="*/ 586310 w 1083508"/>
                <a:gd name="connsiteY3166" fmla="*/ 1070150 h 1387660"/>
                <a:gd name="connsiteX3167" fmla="*/ 585984 w 1083508"/>
                <a:gd name="connsiteY3167" fmla="*/ 1072757 h 1387660"/>
                <a:gd name="connsiteX3168" fmla="*/ 583378 w 1083508"/>
                <a:gd name="connsiteY3168" fmla="*/ 1070150 h 1387660"/>
                <a:gd name="connsiteX3169" fmla="*/ 581097 w 1083508"/>
                <a:gd name="connsiteY3169" fmla="*/ 1069336 h 1387660"/>
                <a:gd name="connsiteX3170" fmla="*/ 583052 w 1083508"/>
                <a:gd name="connsiteY3170" fmla="*/ 1071616 h 1387660"/>
                <a:gd name="connsiteX3171" fmla="*/ 583703 w 1083508"/>
                <a:gd name="connsiteY3171" fmla="*/ 1073571 h 1387660"/>
                <a:gd name="connsiteX3172" fmla="*/ 582726 w 1083508"/>
                <a:gd name="connsiteY3172" fmla="*/ 1076667 h 1387660"/>
                <a:gd name="connsiteX3173" fmla="*/ 580934 w 1083508"/>
                <a:gd name="connsiteY3173" fmla="*/ 1076667 h 1387660"/>
                <a:gd name="connsiteX3174" fmla="*/ 578979 w 1083508"/>
                <a:gd name="connsiteY3174" fmla="*/ 1075526 h 1387660"/>
                <a:gd name="connsiteX3175" fmla="*/ 576536 w 1083508"/>
                <a:gd name="connsiteY3175" fmla="*/ 1074549 h 1387660"/>
                <a:gd name="connsiteX3176" fmla="*/ 576047 w 1083508"/>
                <a:gd name="connsiteY3176" fmla="*/ 1075689 h 1387660"/>
                <a:gd name="connsiteX3177" fmla="*/ 576861 w 1083508"/>
                <a:gd name="connsiteY3177" fmla="*/ 1077644 h 1387660"/>
                <a:gd name="connsiteX3178" fmla="*/ 577676 w 1083508"/>
                <a:gd name="connsiteY3178" fmla="*/ 1080088 h 1387660"/>
                <a:gd name="connsiteX3179" fmla="*/ 575395 w 1083508"/>
                <a:gd name="connsiteY3179" fmla="*/ 1083020 h 1387660"/>
                <a:gd name="connsiteX3180" fmla="*/ 571322 w 1083508"/>
                <a:gd name="connsiteY3180" fmla="*/ 1084323 h 1387660"/>
                <a:gd name="connsiteX3181" fmla="*/ 565620 w 1083508"/>
                <a:gd name="connsiteY3181" fmla="*/ 1090514 h 1387660"/>
                <a:gd name="connsiteX3182" fmla="*/ 565132 w 1083508"/>
                <a:gd name="connsiteY3182" fmla="*/ 1093772 h 1387660"/>
                <a:gd name="connsiteX3183" fmla="*/ 565783 w 1083508"/>
                <a:gd name="connsiteY3183" fmla="*/ 1097030 h 1387660"/>
                <a:gd name="connsiteX3184" fmla="*/ 564480 w 1083508"/>
                <a:gd name="connsiteY3184" fmla="*/ 1100614 h 1387660"/>
                <a:gd name="connsiteX3185" fmla="*/ 560896 w 1083508"/>
                <a:gd name="connsiteY3185" fmla="*/ 1105013 h 1387660"/>
                <a:gd name="connsiteX3186" fmla="*/ 558290 w 1083508"/>
                <a:gd name="connsiteY3186" fmla="*/ 1106642 h 1387660"/>
                <a:gd name="connsiteX3187" fmla="*/ 556986 w 1083508"/>
                <a:gd name="connsiteY3187" fmla="*/ 1105664 h 1387660"/>
                <a:gd name="connsiteX3188" fmla="*/ 555846 w 1083508"/>
                <a:gd name="connsiteY3188" fmla="*/ 1103709 h 1387660"/>
                <a:gd name="connsiteX3189" fmla="*/ 556823 w 1083508"/>
                <a:gd name="connsiteY3189" fmla="*/ 1101592 h 1387660"/>
                <a:gd name="connsiteX3190" fmla="*/ 554543 w 1083508"/>
                <a:gd name="connsiteY3190" fmla="*/ 1102732 h 1387660"/>
                <a:gd name="connsiteX3191" fmla="*/ 552913 w 1083508"/>
                <a:gd name="connsiteY3191" fmla="*/ 1104687 h 1387660"/>
                <a:gd name="connsiteX3192" fmla="*/ 552262 w 1083508"/>
                <a:gd name="connsiteY3192" fmla="*/ 1108271 h 1387660"/>
                <a:gd name="connsiteX3193" fmla="*/ 552262 w 1083508"/>
                <a:gd name="connsiteY3193" fmla="*/ 1109737 h 1387660"/>
                <a:gd name="connsiteX3194" fmla="*/ 551610 w 1083508"/>
                <a:gd name="connsiteY3194" fmla="*/ 1111366 h 1387660"/>
                <a:gd name="connsiteX3195" fmla="*/ 545257 w 1083508"/>
                <a:gd name="connsiteY3195" fmla="*/ 1117394 h 1387660"/>
                <a:gd name="connsiteX3196" fmla="*/ 542650 w 1083508"/>
                <a:gd name="connsiteY3196" fmla="*/ 1118697 h 1387660"/>
                <a:gd name="connsiteX3197" fmla="*/ 541347 w 1083508"/>
                <a:gd name="connsiteY3197" fmla="*/ 1117720 h 1387660"/>
                <a:gd name="connsiteX3198" fmla="*/ 541347 w 1083508"/>
                <a:gd name="connsiteY3198" fmla="*/ 1114787 h 1387660"/>
                <a:gd name="connsiteX3199" fmla="*/ 539718 w 1083508"/>
                <a:gd name="connsiteY3199" fmla="*/ 1112832 h 1387660"/>
                <a:gd name="connsiteX3200" fmla="*/ 537437 w 1083508"/>
                <a:gd name="connsiteY3200" fmla="*/ 1113321 h 1387660"/>
                <a:gd name="connsiteX3201" fmla="*/ 537437 w 1083508"/>
                <a:gd name="connsiteY3201" fmla="*/ 1116254 h 1387660"/>
                <a:gd name="connsiteX3202" fmla="*/ 535156 w 1083508"/>
                <a:gd name="connsiteY3202" fmla="*/ 1116254 h 1387660"/>
                <a:gd name="connsiteX3203" fmla="*/ 530432 w 1083508"/>
                <a:gd name="connsiteY3203" fmla="*/ 1113810 h 1387660"/>
                <a:gd name="connsiteX3204" fmla="*/ 528966 w 1083508"/>
                <a:gd name="connsiteY3204" fmla="*/ 1111529 h 1387660"/>
                <a:gd name="connsiteX3205" fmla="*/ 527011 w 1083508"/>
                <a:gd name="connsiteY3205" fmla="*/ 1111040 h 1387660"/>
                <a:gd name="connsiteX3206" fmla="*/ 526034 w 1083508"/>
                <a:gd name="connsiteY3206" fmla="*/ 1111855 h 1387660"/>
                <a:gd name="connsiteX3207" fmla="*/ 527826 w 1083508"/>
                <a:gd name="connsiteY3207" fmla="*/ 1114462 h 1387660"/>
                <a:gd name="connsiteX3208" fmla="*/ 529780 w 1083508"/>
                <a:gd name="connsiteY3208" fmla="*/ 1115439 h 1387660"/>
                <a:gd name="connsiteX3209" fmla="*/ 532061 w 1083508"/>
                <a:gd name="connsiteY3209" fmla="*/ 1119349 h 1387660"/>
                <a:gd name="connsiteX3210" fmla="*/ 532061 w 1083508"/>
                <a:gd name="connsiteY3210" fmla="*/ 1122607 h 1387660"/>
                <a:gd name="connsiteX3211" fmla="*/ 529455 w 1083508"/>
                <a:gd name="connsiteY3211" fmla="*/ 1124236 h 1387660"/>
                <a:gd name="connsiteX3212" fmla="*/ 527500 w 1083508"/>
                <a:gd name="connsiteY3212" fmla="*/ 1124236 h 1387660"/>
                <a:gd name="connsiteX3213" fmla="*/ 520983 w 1083508"/>
                <a:gd name="connsiteY3213" fmla="*/ 1128472 h 1387660"/>
                <a:gd name="connsiteX3214" fmla="*/ 517074 w 1083508"/>
                <a:gd name="connsiteY3214" fmla="*/ 1132707 h 1387660"/>
                <a:gd name="connsiteX3215" fmla="*/ 513653 w 1083508"/>
                <a:gd name="connsiteY3215" fmla="*/ 1133033 h 1387660"/>
                <a:gd name="connsiteX3216" fmla="*/ 511046 w 1083508"/>
                <a:gd name="connsiteY3216" fmla="*/ 1131241 h 1387660"/>
                <a:gd name="connsiteX3217" fmla="*/ 511372 w 1083508"/>
                <a:gd name="connsiteY3217" fmla="*/ 1128798 h 1387660"/>
                <a:gd name="connsiteX3218" fmla="*/ 512349 w 1083508"/>
                <a:gd name="connsiteY3218" fmla="*/ 1126517 h 1387660"/>
                <a:gd name="connsiteX3219" fmla="*/ 511046 w 1083508"/>
                <a:gd name="connsiteY3219" fmla="*/ 1125539 h 1387660"/>
                <a:gd name="connsiteX3220" fmla="*/ 509417 w 1083508"/>
                <a:gd name="connsiteY3220" fmla="*/ 1125539 h 1387660"/>
                <a:gd name="connsiteX3221" fmla="*/ 507951 w 1083508"/>
                <a:gd name="connsiteY3221" fmla="*/ 1128309 h 1387660"/>
                <a:gd name="connsiteX3222" fmla="*/ 508439 w 1083508"/>
                <a:gd name="connsiteY3222" fmla="*/ 1130590 h 1387660"/>
                <a:gd name="connsiteX3223" fmla="*/ 507788 w 1083508"/>
                <a:gd name="connsiteY3223" fmla="*/ 1133033 h 1387660"/>
                <a:gd name="connsiteX3224" fmla="*/ 504855 w 1083508"/>
                <a:gd name="connsiteY3224" fmla="*/ 1133033 h 1387660"/>
                <a:gd name="connsiteX3225" fmla="*/ 501108 w 1083508"/>
                <a:gd name="connsiteY3225" fmla="*/ 1134825 h 1387660"/>
                <a:gd name="connsiteX3226" fmla="*/ 497524 w 1083508"/>
                <a:gd name="connsiteY3226" fmla="*/ 1133522 h 1387660"/>
                <a:gd name="connsiteX3227" fmla="*/ 495244 w 1083508"/>
                <a:gd name="connsiteY3227" fmla="*/ 1129123 h 1387660"/>
                <a:gd name="connsiteX3228" fmla="*/ 495570 w 1083508"/>
                <a:gd name="connsiteY3228" fmla="*/ 1126191 h 1387660"/>
                <a:gd name="connsiteX3229" fmla="*/ 496873 w 1083508"/>
                <a:gd name="connsiteY3229" fmla="*/ 1122933 h 1387660"/>
                <a:gd name="connsiteX3230" fmla="*/ 495732 w 1083508"/>
                <a:gd name="connsiteY3230" fmla="*/ 1120489 h 1387660"/>
                <a:gd name="connsiteX3231" fmla="*/ 494429 w 1083508"/>
                <a:gd name="connsiteY3231" fmla="*/ 1120489 h 1387660"/>
                <a:gd name="connsiteX3232" fmla="*/ 493452 w 1083508"/>
                <a:gd name="connsiteY3232" fmla="*/ 1125539 h 1387660"/>
                <a:gd name="connsiteX3233" fmla="*/ 492311 w 1083508"/>
                <a:gd name="connsiteY3233" fmla="*/ 1129449 h 1387660"/>
                <a:gd name="connsiteX3234" fmla="*/ 492311 w 1083508"/>
                <a:gd name="connsiteY3234" fmla="*/ 1132056 h 1387660"/>
                <a:gd name="connsiteX3235" fmla="*/ 491334 w 1083508"/>
                <a:gd name="connsiteY3235" fmla="*/ 1134988 h 1387660"/>
                <a:gd name="connsiteX3236" fmla="*/ 489379 w 1083508"/>
                <a:gd name="connsiteY3236" fmla="*/ 1134011 h 1387660"/>
                <a:gd name="connsiteX3237" fmla="*/ 483677 w 1083508"/>
                <a:gd name="connsiteY3237" fmla="*/ 1127168 h 1387660"/>
                <a:gd name="connsiteX3238" fmla="*/ 483677 w 1083508"/>
                <a:gd name="connsiteY3238" fmla="*/ 1123421 h 1387660"/>
                <a:gd name="connsiteX3239" fmla="*/ 485632 w 1083508"/>
                <a:gd name="connsiteY3239" fmla="*/ 1118534 h 1387660"/>
                <a:gd name="connsiteX3240" fmla="*/ 488890 w 1083508"/>
                <a:gd name="connsiteY3240" fmla="*/ 1115602 h 1387660"/>
                <a:gd name="connsiteX3241" fmla="*/ 491823 w 1083508"/>
                <a:gd name="connsiteY3241" fmla="*/ 1113321 h 1387660"/>
                <a:gd name="connsiteX3242" fmla="*/ 489868 w 1083508"/>
                <a:gd name="connsiteY3242" fmla="*/ 1111692 h 1387660"/>
                <a:gd name="connsiteX3243" fmla="*/ 485795 w 1083508"/>
                <a:gd name="connsiteY3243" fmla="*/ 1110715 h 1387660"/>
                <a:gd name="connsiteX3244" fmla="*/ 483026 w 1083508"/>
                <a:gd name="connsiteY3244" fmla="*/ 1107456 h 1387660"/>
                <a:gd name="connsiteX3245" fmla="*/ 483026 w 1083508"/>
                <a:gd name="connsiteY3245" fmla="*/ 1106153 h 1387660"/>
                <a:gd name="connsiteX3246" fmla="*/ 481885 w 1083508"/>
                <a:gd name="connsiteY3246" fmla="*/ 1105502 h 1387660"/>
                <a:gd name="connsiteX3247" fmla="*/ 479604 w 1083508"/>
                <a:gd name="connsiteY3247" fmla="*/ 1106479 h 1387660"/>
                <a:gd name="connsiteX3248" fmla="*/ 477812 w 1083508"/>
                <a:gd name="connsiteY3248" fmla="*/ 1109248 h 1387660"/>
                <a:gd name="connsiteX3249" fmla="*/ 478138 w 1083508"/>
                <a:gd name="connsiteY3249" fmla="*/ 1111203 h 1387660"/>
                <a:gd name="connsiteX3250" fmla="*/ 481234 w 1083508"/>
                <a:gd name="connsiteY3250" fmla="*/ 1114624 h 1387660"/>
                <a:gd name="connsiteX3251" fmla="*/ 480419 w 1083508"/>
                <a:gd name="connsiteY3251" fmla="*/ 1117231 h 1387660"/>
                <a:gd name="connsiteX3252" fmla="*/ 478464 w 1083508"/>
                <a:gd name="connsiteY3252" fmla="*/ 1120326 h 1387660"/>
                <a:gd name="connsiteX3253" fmla="*/ 477650 w 1083508"/>
                <a:gd name="connsiteY3253" fmla="*/ 1123910 h 1387660"/>
                <a:gd name="connsiteX3254" fmla="*/ 474065 w 1083508"/>
                <a:gd name="connsiteY3254" fmla="*/ 1127657 h 1387660"/>
                <a:gd name="connsiteX3255" fmla="*/ 471785 w 1083508"/>
                <a:gd name="connsiteY3255" fmla="*/ 1127657 h 1387660"/>
                <a:gd name="connsiteX3256" fmla="*/ 470970 w 1083508"/>
                <a:gd name="connsiteY3256" fmla="*/ 1123584 h 1387660"/>
                <a:gd name="connsiteX3257" fmla="*/ 469341 w 1083508"/>
                <a:gd name="connsiteY3257" fmla="*/ 1122607 h 1387660"/>
                <a:gd name="connsiteX3258" fmla="*/ 467061 w 1083508"/>
                <a:gd name="connsiteY3258" fmla="*/ 1125213 h 1387660"/>
                <a:gd name="connsiteX3259" fmla="*/ 467712 w 1083508"/>
                <a:gd name="connsiteY3259" fmla="*/ 1128309 h 1387660"/>
                <a:gd name="connsiteX3260" fmla="*/ 470319 w 1083508"/>
                <a:gd name="connsiteY3260" fmla="*/ 1133685 h 1387660"/>
                <a:gd name="connsiteX3261" fmla="*/ 472762 w 1083508"/>
                <a:gd name="connsiteY3261" fmla="*/ 1136780 h 1387660"/>
                <a:gd name="connsiteX3262" fmla="*/ 472273 w 1083508"/>
                <a:gd name="connsiteY3262" fmla="*/ 1138735 h 1387660"/>
                <a:gd name="connsiteX3263" fmla="*/ 470807 w 1083508"/>
                <a:gd name="connsiteY3263" fmla="*/ 1139549 h 1387660"/>
                <a:gd name="connsiteX3264" fmla="*/ 469830 w 1083508"/>
                <a:gd name="connsiteY3264" fmla="*/ 1142645 h 1387660"/>
                <a:gd name="connsiteX3265" fmla="*/ 466572 w 1083508"/>
                <a:gd name="connsiteY3265" fmla="*/ 1144925 h 1387660"/>
                <a:gd name="connsiteX3266" fmla="*/ 462988 w 1083508"/>
                <a:gd name="connsiteY3266" fmla="*/ 1144600 h 1387660"/>
                <a:gd name="connsiteX3267" fmla="*/ 461196 w 1083508"/>
                <a:gd name="connsiteY3267" fmla="*/ 1142645 h 1387660"/>
                <a:gd name="connsiteX3268" fmla="*/ 459241 w 1083508"/>
                <a:gd name="connsiteY3268" fmla="*/ 1143459 h 1387660"/>
                <a:gd name="connsiteX3269" fmla="*/ 457123 w 1083508"/>
                <a:gd name="connsiteY3269" fmla="*/ 1146066 h 1387660"/>
                <a:gd name="connsiteX3270" fmla="*/ 453213 w 1083508"/>
                <a:gd name="connsiteY3270" fmla="*/ 1147858 h 1387660"/>
                <a:gd name="connsiteX3271" fmla="*/ 451584 w 1083508"/>
                <a:gd name="connsiteY3271" fmla="*/ 1146229 h 1387660"/>
                <a:gd name="connsiteX3272" fmla="*/ 449955 w 1083508"/>
                <a:gd name="connsiteY3272" fmla="*/ 1141830 h 1387660"/>
                <a:gd name="connsiteX3273" fmla="*/ 448652 w 1083508"/>
                <a:gd name="connsiteY3273" fmla="*/ 1139224 h 1387660"/>
                <a:gd name="connsiteX3274" fmla="*/ 447023 w 1083508"/>
                <a:gd name="connsiteY3274" fmla="*/ 1139224 h 1387660"/>
                <a:gd name="connsiteX3275" fmla="*/ 446697 w 1083508"/>
                <a:gd name="connsiteY3275" fmla="*/ 1141341 h 1387660"/>
                <a:gd name="connsiteX3276" fmla="*/ 446697 w 1083508"/>
                <a:gd name="connsiteY3276" fmla="*/ 1143622 h 1387660"/>
                <a:gd name="connsiteX3277" fmla="*/ 444253 w 1083508"/>
                <a:gd name="connsiteY3277" fmla="*/ 1146392 h 1387660"/>
                <a:gd name="connsiteX3278" fmla="*/ 441158 w 1083508"/>
                <a:gd name="connsiteY3278" fmla="*/ 1145903 h 1387660"/>
                <a:gd name="connsiteX3279" fmla="*/ 439366 w 1083508"/>
                <a:gd name="connsiteY3279" fmla="*/ 1142156 h 1387660"/>
                <a:gd name="connsiteX3280" fmla="*/ 437737 w 1083508"/>
                <a:gd name="connsiteY3280" fmla="*/ 1139549 h 1387660"/>
                <a:gd name="connsiteX3281" fmla="*/ 436108 w 1083508"/>
                <a:gd name="connsiteY3281" fmla="*/ 1140201 h 1387660"/>
                <a:gd name="connsiteX3282" fmla="*/ 434804 w 1083508"/>
                <a:gd name="connsiteY3282" fmla="*/ 1142319 h 1387660"/>
                <a:gd name="connsiteX3283" fmla="*/ 432035 w 1083508"/>
                <a:gd name="connsiteY3283" fmla="*/ 1142319 h 1387660"/>
                <a:gd name="connsiteX3284" fmla="*/ 430080 w 1083508"/>
                <a:gd name="connsiteY3284" fmla="*/ 1143948 h 1387660"/>
                <a:gd name="connsiteX3285" fmla="*/ 430569 w 1083508"/>
                <a:gd name="connsiteY3285" fmla="*/ 1145740 h 1387660"/>
                <a:gd name="connsiteX3286" fmla="*/ 431709 w 1083508"/>
                <a:gd name="connsiteY3286" fmla="*/ 1149324 h 1387660"/>
                <a:gd name="connsiteX3287" fmla="*/ 431709 w 1083508"/>
                <a:gd name="connsiteY3287" fmla="*/ 1155026 h 1387660"/>
                <a:gd name="connsiteX3288" fmla="*/ 429265 w 1083508"/>
                <a:gd name="connsiteY3288" fmla="*/ 1160728 h 1387660"/>
                <a:gd name="connsiteX3289" fmla="*/ 424704 w 1083508"/>
                <a:gd name="connsiteY3289" fmla="*/ 1166267 h 1387660"/>
                <a:gd name="connsiteX3290" fmla="*/ 421772 w 1083508"/>
                <a:gd name="connsiteY3290" fmla="*/ 1166592 h 1387660"/>
                <a:gd name="connsiteX3291" fmla="*/ 419817 w 1083508"/>
                <a:gd name="connsiteY3291" fmla="*/ 1164963 h 1387660"/>
                <a:gd name="connsiteX3292" fmla="*/ 418188 w 1083508"/>
                <a:gd name="connsiteY3292" fmla="*/ 1159587 h 1387660"/>
                <a:gd name="connsiteX3293" fmla="*/ 415581 w 1083508"/>
                <a:gd name="connsiteY3293" fmla="*/ 1158121 h 1387660"/>
                <a:gd name="connsiteX3294" fmla="*/ 413300 w 1083508"/>
                <a:gd name="connsiteY3294" fmla="*/ 1159262 h 1387660"/>
                <a:gd name="connsiteX3295" fmla="*/ 412975 w 1083508"/>
                <a:gd name="connsiteY3295" fmla="*/ 1161542 h 1387660"/>
                <a:gd name="connsiteX3296" fmla="*/ 408902 w 1083508"/>
                <a:gd name="connsiteY3296" fmla="*/ 1159913 h 1387660"/>
                <a:gd name="connsiteX3297" fmla="*/ 407762 w 1083508"/>
                <a:gd name="connsiteY3297" fmla="*/ 1156981 h 1387660"/>
                <a:gd name="connsiteX3298" fmla="*/ 406132 w 1083508"/>
                <a:gd name="connsiteY3298" fmla="*/ 1156166 h 1387660"/>
                <a:gd name="connsiteX3299" fmla="*/ 405481 w 1083508"/>
                <a:gd name="connsiteY3299" fmla="*/ 1158121 h 1387660"/>
                <a:gd name="connsiteX3300" fmla="*/ 405481 w 1083508"/>
                <a:gd name="connsiteY3300" fmla="*/ 1160076 h 1387660"/>
                <a:gd name="connsiteX3301" fmla="*/ 406947 w 1083508"/>
                <a:gd name="connsiteY3301" fmla="*/ 1164475 h 1387660"/>
                <a:gd name="connsiteX3302" fmla="*/ 404992 w 1083508"/>
                <a:gd name="connsiteY3302" fmla="*/ 1166918 h 1387660"/>
                <a:gd name="connsiteX3303" fmla="*/ 404992 w 1083508"/>
                <a:gd name="connsiteY3303" fmla="*/ 1168873 h 1387660"/>
                <a:gd name="connsiteX3304" fmla="*/ 406295 w 1083508"/>
                <a:gd name="connsiteY3304" fmla="*/ 1172457 h 1387660"/>
                <a:gd name="connsiteX3305" fmla="*/ 408902 w 1083508"/>
                <a:gd name="connsiteY3305" fmla="*/ 1174901 h 1387660"/>
                <a:gd name="connsiteX3306" fmla="*/ 410368 w 1083508"/>
                <a:gd name="connsiteY3306" fmla="*/ 1180114 h 1387660"/>
                <a:gd name="connsiteX3307" fmla="*/ 411346 w 1083508"/>
                <a:gd name="connsiteY3307" fmla="*/ 1187282 h 1387660"/>
                <a:gd name="connsiteX3308" fmla="*/ 410368 w 1083508"/>
                <a:gd name="connsiteY3308" fmla="*/ 1191518 h 1387660"/>
                <a:gd name="connsiteX3309" fmla="*/ 407110 w 1083508"/>
                <a:gd name="connsiteY3309" fmla="*/ 1189237 h 1387660"/>
                <a:gd name="connsiteX3310" fmla="*/ 405155 w 1083508"/>
                <a:gd name="connsiteY3310" fmla="*/ 1189237 h 1387660"/>
                <a:gd name="connsiteX3311" fmla="*/ 403852 w 1083508"/>
                <a:gd name="connsiteY3311" fmla="*/ 1191843 h 1387660"/>
                <a:gd name="connsiteX3312" fmla="*/ 399942 w 1083508"/>
                <a:gd name="connsiteY3312" fmla="*/ 1192169 h 1387660"/>
                <a:gd name="connsiteX3313" fmla="*/ 395055 w 1083508"/>
                <a:gd name="connsiteY3313" fmla="*/ 1190866 h 1387660"/>
                <a:gd name="connsiteX3314" fmla="*/ 390493 w 1083508"/>
                <a:gd name="connsiteY3314" fmla="*/ 1191192 h 1387660"/>
                <a:gd name="connsiteX3315" fmla="*/ 388538 w 1083508"/>
                <a:gd name="connsiteY3315" fmla="*/ 1193635 h 1387660"/>
                <a:gd name="connsiteX3316" fmla="*/ 389516 w 1083508"/>
                <a:gd name="connsiteY3316" fmla="*/ 1195264 h 1387660"/>
                <a:gd name="connsiteX3317" fmla="*/ 395218 w 1083508"/>
                <a:gd name="connsiteY3317" fmla="*/ 1198523 h 1387660"/>
                <a:gd name="connsiteX3318" fmla="*/ 398964 w 1083508"/>
                <a:gd name="connsiteY3318" fmla="*/ 1198849 h 1387660"/>
                <a:gd name="connsiteX3319" fmla="*/ 401571 w 1083508"/>
                <a:gd name="connsiteY3319" fmla="*/ 1200966 h 1387660"/>
                <a:gd name="connsiteX3320" fmla="*/ 403363 w 1083508"/>
                <a:gd name="connsiteY3320" fmla="*/ 1202758 h 1387660"/>
                <a:gd name="connsiteX3321" fmla="*/ 405318 w 1083508"/>
                <a:gd name="connsiteY3321" fmla="*/ 1201781 h 1387660"/>
                <a:gd name="connsiteX3322" fmla="*/ 408087 w 1083508"/>
                <a:gd name="connsiteY3322" fmla="*/ 1202107 h 1387660"/>
                <a:gd name="connsiteX3323" fmla="*/ 408087 w 1083508"/>
                <a:gd name="connsiteY3323" fmla="*/ 1204387 h 1387660"/>
                <a:gd name="connsiteX3324" fmla="*/ 406947 w 1083508"/>
                <a:gd name="connsiteY3324" fmla="*/ 1207971 h 1387660"/>
                <a:gd name="connsiteX3325" fmla="*/ 404340 w 1083508"/>
                <a:gd name="connsiteY3325" fmla="*/ 1208460 h 1387660"/>
                <a:gd name="connsiteX3326" fmla="*/ 401897 w 1083508"/>
                <a:gd name="connsiteY3326" fmla="*/ 1208460 h 1387660"/>
                <a:gd name="connsiteX3327" fmla="*/ 401897 w 1083508"/>
                <a:gd name="connsiteY3327" fmla="*/ 1210089 h 1387660"/>
                <a:gd name="connsiteX3328" fmla="*/ 404178 w 1083508"/>
                <a:gd name="connsiteY3328" fmla="*/ 1211230 h 1387660"/>
                <a:gd name="connsiteX3329" fmla="*/ 405318 w 1083508"/>
                <a:gd name="connsiteY3329" fmla="*/ 1213836 h 1387660"/>
                <a:gd name="connsiteX3330" fmla="*/ 404829 w 1083508"/>
                <a:gd name="connsiteY3330" fmla="*/ 1217909 h 1387660"/>
                <a:gd name="connsiteX3331" fmla="*/ 404829 w 1083508"/>
                <a:gd name="connsiteY3331" fmla="*/ 1220515 h 1387660"/>
                <a:gd name="connsiteX3332" fmla="*/ 403852 w 1083508"/>
                <a:gd name="connsiteY3332" fmla="*/ 1222307 h 1387660"/>
                <a:gd name="connsiteX3333" fmla="*/ 401897 w 1083508"/>
                <a:gd name="connsiteY3333" fmla="*/ 1223122 h 1387660"/>
                <a:gd name="connsiteX3334" fmla="*/ 398964 w 1083508"/>
                <a:gd name="connsiteY3334" fmla="*/ 1221982 h 1387660"/>
                <a:gd name="connsiteX3335" fmla="*/ 395543 w 1083508"/>
                <a:gd name="connsiteY3335" fmla="*/ 1217420 h 1387660"/>
                <a:gd name="connsiteX3336" fmla="*/ 393100 w 1083508"/>
                <a:gd name="connsiteY3336" fmla="*/ 1217420 h 1387660"/>
                <a:gd name="connsiteX3337" fmla="*/ 390982 w 1083508"/>
                <a:gd name="connsiteY3337" fmla="*/ 1216443 h 1387660"/>
                <a:gd name="connsiteX3338" fmla="*/ 388049 w 1083508"/>
                <a:gd name="connsiteY3338" fmla="*/ 1213347 h 1387660"/>
                <a:gd name="connsiteX3339" fmla="*/ 385117 w 1083508"/>
                <a:gd name="connsiteY3339" fmla="*/ 1213347 h 1387660"/>
                <a:gd name="connsiteX3340" fmla="*/ 384140 w 1083508"/>
                <a:gd name="connsiteY3340" fmla="*/ 1214814 h 1387660"/>
                <a:gd name="connsiteX3341" fmla="*/ 383325 w 1083508"/>
                <a:gd name="connsiteY3341" fmla="*/ 1217420 h 1387660"/>
                <a:gd name="connsiteX3342" fmla="*/ 387398 w 1083508"/>
                <a:gd name="connsiteY3342" fmla="*/ 1218072 h 1387660"/>
                <a:gd name="connsiteX3343" fmla="*/ 389679 w 1083508"/>
                <a:gd name="connsiteY3343" fmla="*/ 1218560 h 1387660"/>
                <a:gd name="connsiteX3344" fmla="*/ 394403 w 1083508"/>
                <a:gd name="connsiteY3344" fmla="*/ 1221330 h 1387660"/>
                <a:gd name="connsiteX3345" fmla="*/ 397987 w 1083508"/>
                <a:gd name="connsiteY3345" fmla="*/ 1223611 h 1387660"/>
                <a:gd name="connsiteX3346" fmla="*/ 401245 w 1083508"/>
                <a:gd name="connsiteY3346" fmla="*/ 1224914 h 1387660"/>
                <a:gd name="connsiteX3347" fmla="*/ 402223 w 1083508"/>
                <a:gd name="connsiteY3347" fmla="*/ 1226380 h 1387660"/>
                <a:gd name="connsiteX3348" fmla="*/ 400919 w 1083508"/>
                <a:gd name="connsiteY3348" fmla="*/ 1230127 h 1387660"/>
                <a:gd name="connsiteX3349" fmla="*/ 397172 w 1083508"/>
                <a:gd name="connsiteY3349" fmla="*/ 1231756 h 1387660"/>
                <a:gd name="connsiteX3350" fmla="*/ 394077 w 1083508"/>
                <a:gd name="connsiteY3350" fmla="*/ 1231430 h 1387660"/>
                <a:gd name="connsiteX3351" fmla="*/ 392122 w 1083508"/>
                <a:gd name="connsiteY3351" fmla="*/ 1232896 h 1387660"/>
                <a:gd name="connsiteX3352" fmla="*/ 389027 w 1083508"/>
                <a:gd name="connsiteY3352" fmla="*/ 1232408 h 1387660"/>
                <a:gd name="connsiteX3353" fmla="*/ 383814 w 1083508"/>
                <a:gd name="connsiteY3353" fmla="*/ 1227846 h 1387660"/>
                <a:gd name="connsiteX3354" fmla="*/ 382185 w 1083508"/>
                <a:gd name="connsiteY3354" fmla="*/ 1225403 h 1387660"/>
                <a:gd name="connsiteX3355" fmla="*/ 379578 w 1083508"/>
                <a:gd name="connsiteY3355" fmla="*/ 1225077 h 1387660"/>
                <a:gd name="connsiteX3356" fmla="*/ 378112 w 1083508"/>
                <a:gd name="connsiteY3356" fmla="*/ 1226869 h 1387660"/>
                <a:gd name="connsiteX3357" fmla="*/ 376320 w 1083508"/>
                <a:gd name="connsiteY3357" fmla="*/ 1228824 h 1387660"/>
                <a:gd name="connsiteX3358" fmla="*/ 376646 w 1083508"/>
                <a:gd name="connsiteY3358" fmla="*/ 1232734 h 1387660"/>
                <a:gd name="connsiteX3359" fmla="*/ 379741 w 1083508"/>
                <a:gd name="connsiteY3359" fmla="*/ 1235503 h 1387660"/>
                <a:gd name="connsiteX3360" fmla="*/ 384791 w 1083508"/>
                <a:gd name="connsiteY3360" fmla="*/ 1238110 h 1387660"/>
                <a:gd name="connsiteX3361" fmla="*/ 385769 w 1083508"/>
                <a:gd name="connsiteY3361" fmla="*/ 1240390 h 1387660"/>
                <a:gd name="connsiteX3362" fmla="*/ 385769 w 1083508"/>
                <a:gd name="connsiteY3362" fmla="*/ 1242671 h 1387660"/>
                <a:gd name="connsiteX3363" fmla="*/ 384303 w 1083508"/>
                <a:gd name="connsiteY3363" fmla="*/ 1244300 h 1387660"/>
                <a:gd name="connsiteX3364" fmla="*/ 381207 w 1083508"/>
                <a:gd name="connsiteY3364" fmla="*/ 1241205 h 1387660"/>
                <a:gd name="connsiteX3365" fmla="*/ 378275 w 1083508"/>
                <a:gd name="connsiteY3365" fmla="*/ 1240390 h 1387660"/>
                <a:gd name="connsiteX3366" fmla="*/ 373876 w 1083508"/>
                <a:gd name="connsiteY3366" fmla="*/ 1237784 h 1387660"/>
                <a:gd name="connsiteX3367" fmla="*/ 371596 w 1083508"/>
                <a:gd name="connsiteY3367" fmla="*/ 1235014 h 1387660"/>
                <a:gd name="connsiteX3368" fmla="*/ 370292 w 1083508"/>
                <a:gd name="connsiteY3368" fmla="*/ 1235014 h 1387660"/>
                <a:gd name="connsiteX3369" fmla="*/ 371107 w 1083508"/>
                <a:gd name="connsiteY3369" fmla="*/ 1239087 h 1387660"/>
                <a:gd name="connsiteX3370" fmla="*/ 374365 w 1083508"/>
                <a:gd name="connsiteY3370" fmla="*/ 1241694 h 1387660"/>
                <a:gd name="connsiteX3371" fmla="*/ 379578 w 1083508"/>
                <a:gd name="connsiteY3371" fmla="*/ 1244300 h 1387660"/>
                <a:gd name="connsiteX3372" fmla="*/ 380556 w 1083508"/>
                <a:gd name="connsiteY3372" fmla="*/ 1246255 h 1387660"/>
                <a:gd name="connsiteX3373" fmla="*/ 380556 w 1083508"/>
                <a:gd name="connsiteY3373" fmla="*/ 1248210 h 1387660"/>
                <a:gd name="connsiteX3374" fmla="*/ 378764 w 1083508"/>
                <a:gd name="connsiteY3374" fmla="*/ 1249513 h 1387660"/>
                <a:gd name="connsiteX3375" fmla="*/ 373551 w 1083508"/>
                <a:gd name="connsiteY3375" fmla="*/ 1249187 h 1387660"/>
                <a:gd name="connsiteX3376" fmla="*/ 370944 w 1083508"/>
                <a:gd name="connsiteY3376" fmla="*/ 1246255 h 1387660"/>
                <a:gd name="connsiteX3377" fmla="*/ 370455 w 1083508"/>
                <a:gd name="connsiteY3377" fmla="*/ 1242997 h 1387660"/>
                <a:gd name="connsiteX3378" fmla="*/ 368012 w 1083508"/>
                <a:gd name="connsiteY3378" fmla="*/ 1240716 h 1387660"/>
                <a:gd name="connsiteX3379" fmla="*/ 366383 w 1083508"/>
                <a:gd name="connsiteY3379" fmla="*/ 1240716 h 1387660"/>
                <a:gd name="connsiteX3380" fmla="*/ 364428 w 1083508"/>
                <a:gd name="connsiteY3380" fmla="*/ 1242997 h 1387660"/>
                <a:gd name="connsiteX3381" fmla="*/ 364428 w 1083508"/>
                <a:gd name="connsiteY3381" fmla="*/ 1245278 h 1387660"/>
                <a:gd name="connsiteX3382" fmla="*/ 366708 w 1083508"/>
                <a:gd name="connsiteY3382" fmla="*/ 1248047 h 1387660"/>
                <a:gd name="connsiteX3383" fmla="*/ 367197 w 1083508"/>
                <a:gd name="connsiteY3383" fmla="*/ 1250979 h 1387660"/>
                <a:gd name="connsiteX3384" fmla="*/ 366871 w 1083508"/>
                <a:gd name="connsiteY3384" fmla="*/ 1251957 h 1387660"/>
                <a:gd name="connsiteX3385" fmla="*/ 368175 w 1083508"/>
                <a:gd name="connsiteY3385" fmla="*/ 1253097 h 1387660"/>
                <a:gd name="connsiteX3386" fmla="*/ 375343 w 1083508"/>
                <a:gd name="connsiteY3386" fmla="*/ 1253586 h 1387660"/>
                <a:gd name="connsiteX3387" fmla="*/ 378438 w 1083508"/>
                <a:gd name="connsiteY3387" fmla="*/ 1254726 h 1387660"/>
                <a:gd name="connsiteX3388" fmla="*/ 379252 w 1083508"/>
                <a:gd name="connsiteY3388" fmla="*/ 1257496 h 1387660"/>
                <a:gd name="connsiteX3389" fmla="*/ 378112 w 1083508"/>
                <a:gd name="connsiteY3389" fmla="*/ 1258473 h 1387660"/>
                <a:gd name="connsiteX3390" fmla="*/ 375994 w 1083508"/>
                <a:gd name="connsiteY3390" fmla="*/ 1260754 h 1387660"/>
                <a:gd name="connsiteX3391" fmla="*/ 374365 w 1083508"/>
                <a:gd name="connsiteY3391" fmla="*/ 1263035 h 1387660"/>
                <a:gd name="connsiteX3392" fmla="*/ 371596 w 1083508"/>
                <a:gd name="connsiteY3392" fmla="*/ 1263361 h 1387660"/>
                <a:gd name="connsiteX3393" fmla="*/ 368989 w 1083508"/>
                <a:gd name="connsiteY3393" fmla="*/ 1261568 h 1387660"/>
                <a:gd name="connsiteX3394" fmla="*/ 366220 w 1083508"/>
                <a:gd name="connsiteY3394" fmla="*/ 1261568 h 1387660"/>
                <a:gd name="connsiteX3395" fmla="*/ 361658 w 1083508"/>
                <a:gd name="connsiteY3395" fmla="*/ 1259776 h 1387660"/>
                <a:gd name="connsiteX3396" fmla="*/ 361658 w 1083508"/>
                <a:gd name="connsiteY3396" fmla="*/ 1257333 h 1387660"/>
                <a:gd name="connsiteX3397" fmla="*/ 361821 w 1083508"/>
                <a:gd name="connsiteY3397" fmla="*/ 1256030 h 1387660"/>
                <a:gd name="connsiteX3398" fmla="*/ 359214 w 1083508"/>
                <a:gd name="connsiteY3398" fmla="*/ 1254400 h 1387660"/>
                <a:gd name="connsiteX3399" fmla="*/ 357911 w 1083508"/>
                <a:gd name="connsiteY3399" fmla="*/ 1254726 h 1387660"/>
                <a:gd name="connsiteX3400" fmla="*/ 357911 w 1083508"/>
                <a:gd name="connsiteY3400" fmla="*/ 1258636 h 1387660"/>
                <a:gd name="connsiteX3401" fmla="*/ 356934 w 1083508"/>
                <a:gd name="connsiteY3401" fmla="*/ 1261243 h 1387660"/>
                <a:gd name="connsiteX3402" fmla="*/ 354816 w 1083508"/>
                <a:gd name="connsiteY3402" fmla="*/ 1264501 h 1387660"/>
                <a:gd name="connsiteX3403" fmla="*/ 350743 w 1083508"/>
                <a:gd name="connsiteY3403" fmla="*/ 1264501 h 1387660"/>
                <a:gd name="connsiteX3404" fmla="*/ 348463 w 1083508"/>
                <a:gd name="connsiteY3404" fmla="*/ 1262546 h 1387660"/>
                <a:gd name="connsiteX3405" fmla="*/ 345856 w 1083508"/>
                <a:gd name="connsiteY3405" fmla="*/ 1260917 h 1387660"/>
                <a:gd name="connsiteX3406" fmla="*/ 343412 w 1083508"/>
                <a:gd name="connsiteY3406" fmla="*/ 1260917 h 1387660"/>
                <a:gd name="connsiteX3407" fmla="*/ 343412 w 1083508"/>
                <a:gd name="connsiteY3407" fmla="*/ 1263686 h 1387660"/>
                <a:gd name="connsiteX3408" fmla="*/ 345367 w 1083508"/>
                <a:gd name="connsiteY3408" fmla="*/ 1265315 h 1387660"/>
                <a:gd name="connsiteX3409" fmla="*/ 352698 w 1083508"/>
                <a:gd name="connsiteY3409" fmla="*/ 1268574 h 1387660"/>
                <a:gd name="connsiteX3410" fmla="*/ 358400 w 1083508"/>
                <a:gd name="connsiteY3410" fmla="*/ 1269877 h 1387660"/>
                <a:gd name="connsiteX3411" fmla="*/ 360681 w 1083508"/>
                <a:gd name="connsiteY3411" fmla="*/ 1274112 h 1387660"/>
                <a:gd name="connsiteX3412" fmla="*/ 362310 w 1083508"/>
                <a:gd name="connsiteY3412" fmla="*/ 1279977 h 1387660"/>
                <a:gd name="connsiteX3413" fmla="*/ 360681 w 1083508"/>
                <a:gd name="connsiteY3413" fmla="*/ 1280792 h 1387660"/>
                <a:gd name="connsiteX3414" fmla="*/ 357422 w 1083508"/>
                <a:gd name="connsiteY3414" fmla="*/ 1280792 h 1387660"/>
                <a:gd name="connsiteX3415" fmla="*/ 354164 w 1083508"/>
                <a:gd name="connsiteY3415" fmla="*/ 1277696 h 1387660"/>
                <a:gd name="connsiteX3416" fmla="*/ 348463 w 1083508"/>
                <a:gd name="connsiteY3416" fmla="*/ 1273135 h 1387660"/>
                <a:gd name="connsiteX3417" fmla="*/ 345856 w 1083508"/>
                <a:gd name="connsiteY3417" fmla="*/ 1271669 h 1387660"/>
                <a:gd name="connsiteX3418" fmla="*/ 342924 w 1083508"/>
                <a:gd name="connsiteY3418" fmla="*/ 1271995 h 1387660"/>
                <a:gd name="connsiteX3419" fmla="*/ 342924 w 1083508"/>
                <a:gd name="connsiteY3419" fmla="*/ 1273624 h 1387660"/>
                <a:gd name="connsiteX3420" fmla="*/ 345367 w 1083508"/>
                <a:gd name="connsiteY3420" fmla="*/ 1275579 h 1387660"/>
                <a:gd name="connsiteX3421" fmla="*/ 349603 w 1083508"/>
                <a:gd name="connsiteY3421" fmla="*/ 1276719 h 1387660"/>
                <a:gd name="connsiteX3422" fmla="*/ 354979 w 1083508"/>
                <a:gd name="connsiteY3422" fmla="*/ 1281606 h 1387660"/>
                <a:gd name="connsiteX3423" fmla="*/ 358074 w 1083508"/>
                <a:gd name="connsiteY3423" fmla="*/ 1285679 h 1387660"/>
                <a:gd name="connsiteX3424" fmla="*/ 357586 w 1083508"/>
                <a:gd name="connsiteY3424" fmla="*/ 1288286 h 1387660"/>
                <a:gd name="connsiteX3425" fmla="*/ 356445 w 1083508"/>
                <a:gd name="connsiteY3425" fmla="*/ 1292684 h 1387660"/>
                <a:gd name="connsiteX3426" fmla="*/ 357586 w 1083508"/>
                <a:gd name="connsiteY3426" fmla="*/ 1294639 h 1387660"/>
                <a:gd name="connsiteX3427" fmla="*/ 357586 w 1083508"/>
                <a:gd name="connsiteY3427" fmla="*/ 1296594 h 1387660"/>
                <a:gd name="connsiteX3428" fmla="*/ 354979 w 1083508"/>
                <a:gd name="connsiteY3428" fmla="*/ 1298875 h 1387660"/>
                <a:gd name="connsiteX3429" fmla="*/ 354653 w 1083508"/>
                <a:gd name="connsiteY3429" fmla="*/ 1301155 h 1387660"/>
                <a:gd name="connsiteX3430" fmla="*/ 353350 w 1083508"/>
                <a:gd name="connsiteY3430" fmla="*/ 1305065 h 1387660"/>
                <a:gd name="connsiteX3431" fmla="*/ 350580 w 1083508"/>
                <a:gd name="connsiteY3431" fmla="*/ 1305065 h 1387660"/>
                <a:gd name="connsiteX3432" fmla="*/ 347811 w 1083508"/>
                <a:gd name="connsiteY3432" fmla="*/ 1303273 h 1387660"/>
                <a:gd name="connsiteX3433" fmla="*/ 343901 w 1083508"/>
                <a:gd name="connsiteY3433" fmla="*/ 1302784 h 1387660"/>
                <a:gd name="connsiteX3434" fmla="*/ 340969 w 1083508"/>
                <a:gd name="connsiteY3434" fmla="*/ 1300830 h 1387660"/>
                <a:gd name="connsiteX3435" fmla="*/ 338688 w 1083508"/>
                <a:gd name="connsiteY3435" fmla="*/ 1300830 h 1387660"/>
                <a:gd name="connsiteX3436" fmla="*/ 339828 w 1083508"/>
                <a:gd name="connsiteY3436" fmla="*/ 1303110 h 1387660"/>
                <a:gd name="connsiteX3437" fmla="*/ 343575 w 1083508"/>
                <a:gd name="connsiteY3437" fmla="*/ 1305391 h 1387660"/>
                <a:gd name="connsiteX3438" fmla="*/ 348625 w 1083508"/>
                <a:gd name="connsiteY3438" fmla="*/ 1306206 h 1387660"/>
                <a:gd name="connsiteX3439" fmla="*/ 348625 w 1083508"/>
                <a:gd name="connsiteY3439" fmla="*/ 1307346 h 1387660"/>
                <a:gd name="connsiteX3440" fmla="*/ 345693 w 1083508"/>
                <a:gd name="connsiteY3440" fmla="*/ 1311256 h 1387660"/>
                <a:gd name="connsiteX3441" fmla="*/ 342761 w 1083508"/>
                <a:gd name="connsiteY3441" fmla="*/ 1310604 h 1387660"/>
                <a:gd name="connsiteX3442" fmla="*/ 341132 w 1083508"/>
                <a:gd name="connsiteY3442" fmla="*/ 1308812 h 1387660"/>
                <a:gd name="connsiteX3443" fmla="*/ 339340 w 1083508"/>
                <a:gd name="connsiteY3443" fmla="*/ 1309464 h 1387660"/>
                <a:gd name="connsiteX3444" fmla="*/ 338851 w 1083508"/>
                <a:gd name="connsiteY3444" fmla="*/ 1310930 h 1387660"/>
                <a:gd name="connsiteX3445" fmla="*/ 342272 w 1083508"/>
                <a:gd name="connsiteY3445" fmla="*/ 1312722 h 1387660"/>
                <a:gd name="connsiteX3446" fmla="*/ 344064 w 1083508"/>
                <a:gd name="connsiteY3446" fmla="*/ 1313862 h 1387660"/>
                <a:gd name="connsiteX3447" fmla="*/ 344064 w 1083508"/>
                <a:gd name="connsiteY3447" fmla="*/ 1316143 h 1387660"/>
                <a:gd name="connsiteX3448" fmla="*/ 341783 w 1083508"/>
                <a:gd name="connsiteY3448" fmla="*/ 1318750 h 1387660"/>
                <a:gd name="connsiteX3449" fmla="*/ 338525 w 1083508"/>
                <a:gd name="connsiteY3449" fmla="*/ 1320379 h 1387660"/>
                <a:gd name="connsiteX3450" fmla="*/ 337059 w 1083508"/>
                <a:gd name="connsiteY3450" fmla="*/ 1318261 h 1387660"/>
                <a:gd name="connsiteX3451" fmla="*/ 334778 w 1083508"/>
                <a:gd name="connsiteY3451" fmla="*/ 1316958 h 1387660"/>
                <a:gd name="connsiteX3452" fmla="*/ 332009 w 1083508"/>
                <a:gd name="connsiteY3452" fmla="*/ 1316958 h 1387660"/>
                <a:gd name="connsiteX3453" fmla="*/ 332986 w 1083508"/>
                <a:gd name="connsiteY3453" fmla="*/ 1319238 h 1387660"/>
                <a:gd name="connsiteX3454" fmla="*/ 336081 w 1083508"/>
                <a:gd name="connsiteY3454" fmla="*/ 1320704 h 1387660"/>
                <a:gd name="connsiteX3455" fmla="*/ 339340 w 1083508"/>
                <a:gd name="connsiteY3455" fmla="*/ 1322985 h 1387660"/>
                <a:gd name="connsiteX3456" fmla="*/ 338851 w 1083508"/>
                <a:gd name="connsiteY3456" fmla="*/ 1326732 h 1387660"/>
                <a:gd name="connsiteX3457" fmla="*/ 335756 w 1083508"/>
                <a:gd name="connsiteY3457" fmla="*/ 1328687 h 1387660"/>
                <a:gd name="connsiteX3458" fmla="*/ 329239 w 1083508"/>
                <a:gd name="connsiteY3458" fmla="*/ 1328198 h 1387660"/>
                <a:gd name="connsiteX3459" fmla="*/ 326144 w 1083508"/>
                <a:gd name="connsiteY3459" fmla="*/ 1326569 h 1387660"/>
                <a:gd name="connsiteX3460" fmla="*/ 324352 w 1083508"/>
                <a:gd name="connsiteY3460" fmla="*/ 1326569 h 1387660"/>
                <a:gd name="connsiteX3461" fmla="*/ 324352 w 1083508"/>
                <a:gd name="connsiteY3461" fmla="*/ 1328035 h 1387660"/>
                <a:gd name="connsiteX3462" fmla="*/ 328262 w 1083508"/>
                <a:gd name="connsiteY3462" fmla="*/ 1329827 h 1387660"/>
                <a:gd name="connsiteX3463" fmla="*/ 336896 w 1083508"/>
                <a:gd name="connsiteY3463" fmla="*/ 1330642 h 1387660"/>
                <a:gd name="connsiteX3464" fmla="*/ 340969 w 1083508"/>
                <a:gd name="connsiteY3464" fmla="*/ 1332271 h 1387660"/>
                <a:gd name="connsiteX3465" fmla="*/ 342109 w 1083508"/>
                <a:gd name="connsiteY3465" fmla="*/ 1334552 h 1387660"/>
                <a:gd name="connsiteX3466" fmla="*/ 341457 w 1083508"/>
                <a:gd name="connsiteY3466" fmla="*/ 1336344 h 1387660"/>
                <a:gd name="connsiteX3467" fmla="*/ 337548 w 1083508"/>
                <a:gd name="connsiteY3467" fmla="*/ 1338136 h 1387660"/>
                <a:gd name="connsiteX3468" fmla="*/ 331031 w 1083508"/>
                <a:gd name="connsiteY3468" fmla="*/ 1339439 h 1387660"/>
                <a:gd name="connsiteX3469" fmla="*/ 326307 w 1083508"/>
                <a:gd name="connsiteY3469" fmla="*/ 1338136 h 1387660"/>
                <a:gd name="connsiteX3470" fmla="*/ 322397 w 1083508"/>
                <a:gd name="connsiteY3470" fmla="*/ 1336507 h 1387660"/>
                <a:gd name="connsiteX3471" fmla="*/ 321420 w 1083508"/>
                <a:gd name="connsiteY3471" fmla="*/ 1337321 h 1387660"/>
                <a:gd name="connsiteX3472" fmla="*/ 323212 w 1083508"/>
                <a:gd name="connsiteY3472" fmla="*/ 1340091 h 1387660"/>
                <a:gd name="connsiteX3473" fmla="*/ 328262 w 1083508"/>
                <a:gd name="connsiteY3473" fmla="*/ 1341231 h 1387660"/>
                <a:gd name="connsiteX3474" fmla="*/ 329239 w 1083508"/>
                <a:gd name="connsiteY3474" fmla="*/ 1342697 h 1387660"/>
                <a:gd name="connsiteX3475" fmla="*/ 328588 w 1083508"/>
                <a:gd name="connsiteY3475" fmla="*/ 1343675 h 1387660"/>
                <a:gd name="connsiteX3476" fmla="*/ 326633 w 1083508"/>
                <a:gd name="connsiteY3476" fmla="*/ 1343675 h 1387660"/>
                <a:gd name="connsiteX3477" fmla="*/ 326144 w 1083508"/>
                <a:gd name="connsiteY3477" fmla="*/ 1344815 h 1387660"/>
                <a:gd name="connsiteX3478" fmla="*/ 330054 w 1083508"/>
                <a:gd name="connsiteY3478" fmla="*/ 1345955 h 1387660"/>
                <a:gd name="connsiteX3479" fmla="*/ 333964 w 1083508"/>
                <a:gd name="connsiteY3479" fmla="*/ 1347747 h 1387660"/>
                <a:gd name="connsiteX3480" fmla="*/ 334452 w 1083508"/>
                <a:gd name="connsiteY3480" fmla="*/ 1349377 h 1387660"/>
                <a:gd name="connsiteX3481" fmla="*/ 331520 w 1083508"/>
                <a:gd name="connsiteY3481" fmla="*/ 1351169 h 1387660"/>
                <a:gd name="connsiteX3482" fmla="*/ 327936 w 1083508"/>
                <a:gd name="connsiteY3482" fmla="*/ 1351169 h 1387660"/>
                <a:gd name="connsiteX3483" fmla="*/ 325818 w 1083508"/>
                <a:gd name="connsiteY3483" fmla="*/ 1350843 h 1387660"/>
                <a:gd name="connsiteX3484" fmla="*/ 325492 w 1083508"/>
                <a:gd name="connsiteY3484" fmla="*/ 1352635 h 1387660"/>
                <a:gd name="connsiteX3485" fmla="*/ 328262 w 1083508"/>
                <a:gd name="connsiteY3485" fmla="*/ 1353612 h 1387660"/>
                <a:gd name="connsiteX3486" fmla="*/ 332823 w 1083508"/>
                <a:gd name="connsiteY3486" fmla="*/ 1353123 h 1387660"/>
                <a:gd name="connsiteX3487" fmla="*/ 336081 w 1083508"/>
                <a:gd name="connsiteY3487" fmla="*/ 1353775 h 1387660"/>
                <a:gd name="connsiteX3488" fmla="*/ 335267 w 1083508"/>
                <a:gd name="connsiteY3488" fmla="*/ 1355730 h 1387660"/>
                <a:gd name="connsiteX3489" fmla="*/ 332009 w 1083508"/>
                <a:gd name="connsiteY3489" fmla="*/ 1358011 h 1387660"/>
                <a:gd name="connsiteX3490" fmla="*/ 327610 w 1083508"/>
                <a:gd name="connsiteY3490" fmla="*/ 1359803 h 1387660"/>
                <a:gd name="connsiteX3491" fmla="*/ 324678 w 1083508"/>
                <a:gd name="connsiteY3491" fmla="*/ 1359803 h 1387660"/>
                <a:gd name="connsiteX3492" fmla="*/ 321420 w 1083508"/>
                <a:gd name="connsiteY3492" fmla="*/ 1357359 h 1387660"/>
                <a:gd name="connsiteX3493" fmla="*/ 317673 w 1083508"/>
                <a:gd name="connsiteY3493" fmla="*/ 1353775 h 1387660"/>
                <a:gd name="connsiteX3494" fmla="*/ 316532 w 1083508"/>
                <a:gd name="connsiteY3494" fmla="*/ 1351331 h 1387660"/>
                <a:gd name="connsiteX3495" fmla="*/ 315066 w 1083508"/>
                <a:gd name="connsiteY3495" fmla="*/ 1351331 h 1387660"/>
                <a:gd name="connsiteX3496" fmla="*/ 313274 w 1083508"/>
                <a:gd name="connsiteY3496" fmla="*/ 1352472 h 1387660"/>
                <a:gd name="connsiteX3497" fmla="*/ 309364 w 1083508"/>
                <a:gd name="connsiteY3497" fmla="*/ 1351494 h 1387660"/>
                <a:gd name="connsiteX3498" fmla="*/ 308061 w 1083508"/>
                <a:gd name="connsiteY3498" fmla="*/ 1352635 h 1387660"/>
                <a:gd name="connsiteX3499" fmla="*/ 309364 w 1083508"/>
                <a:gd name="connsiteY3499" fmla="*/ 1354590 h 1387660"/>
                <a:gd name="connsiteX3500" fmla="*/ 317347 w 1083508"/>
                <a:gd name="connsiteY3500" fmla="*/ 1358174 h 1387660"/>
                <a:gd name="connsiteX3501" fmla="*/ 321746 w 1083508"/>
                <a:gd name="connsiteY3501" fmla="*/ 1360943 h 1387660"/>
                <a:gd name="connsiteX3502" fmla="*/ 321746 w 1083508"/>
                <a:gd name="connsiteY3502" fmla="*/ 1363224 h 1387660"/>
                <a:gd name="connsiteX3503" fmla="*/ 320116 w 1083508"/>
                <a:gd name="connsiteY3503" fmla="*/ 1364853 h 1387660"/>
                <a:gd name="connsiteX3504" fmla="*/ 320442 w 1083508"/>
                <a:gd name="connsiteY3504" fmla="*/ 1366971 h 1387660"/>
                <a:gd name="connsiteX3505" fmla="*/ 322071 w 1083508"/>
                <a:gd name="connsiteY3505" fmla="*/ 1366156 h 1387660"/>
                <a:gd name="connsiteX3506" fmla="*/ 325492 w 1083508"/>
                <a:gd name="connsiteY3506" fmla="*/ 1366156 h 1387660"/>
                <a:gd name="connsiteX3507" fmla="*/ 326959 w 1083508"/>
                <a:gd name="connsiteY3507" fmla="*/ 1367459 h 1387660"/>
                <a:gd name="connsiteX3508" fmla="*/ 329076 w 1083508"/>
                <a:gd name="connsiteY3508" fmla="*/ 1368437 h 1387660"/>
                <a:gd name="connsiteX3509" fmla="*/ 329076 w 1083508"/>
                <a:gd name="connsiteY3509" fmla="*/ 1370229 h 1387660"/>
                <a:gd name="connsiteX3510" fmla="*/ 326633 w 1083508"/>
                <a:gd name="connsiteY3510" fmla="*/ 1371043 h 1387660"/>
                <a:gd name="connsiteX3511" fmla="*/ 323700 w 1083508"/>
                <a:gd name="connsiteY3511" fmla="*/ 1373324 h 1387660"/>
                <a:gd name="connsiteX3512" fmla="*/ 323700 w 1083508"/>
                <a:gd name="connsiteY3512" fmla="*/ 1375116 h 1387660"/>
                <a:gd name="connsiteX3513" fmla="*/ 322234 w 1083508"/>
                <a:gd name="connsiteY3513" fmla="*/ 1375116 h 1387660"/>
                <a:gd name="connsiteX3514" fmla="*/ 316044 w 1083508"/>
                <a:gd name="connsiteY3514" fmla="*/ 1375605 h 1387660"/>
                <a:gd name="connsiteX3515" fmla="*/ 307898 w 1083508"/>
                <a:gd name="connsiteY3515" fmla="*/ 1370881 h 1387660"/>
                <a:gd name="connsiteX3516" fmla="*/ 304314 w 1083508"/>
                <a:gd name="connsiteY3516" fmla="*/ 1370392 h 1387660"/>
                <a:gd name="connsiteX3517" fmla="*/ 304314 w 1083508"/>
                <a:gd name="connsiteY3517" fmla="*/ 1371858 h 1387660"/>
                <a:gd name="connsiteX3518" fmla="*/ 309527 w 1083508"/>
                <a:gd name="connsiteY3518" fmla="*/ 1377397 h 1387660"/>
                <a:gd name="connsiteX3519" fmla="*/ 312460 w 1083508"/>
                <a:gd name="connsiteY3519" fmla="*/ 1377397 h 1387660"/>
                <a:gd name="connsiteX3520" fmla="*/ 316206 w 1083508"/>
                <a:gd name="connsiteY3520" fmla="*/ 1375605 h 1387660"/>
                <a:gd name="connsiteX3521" fmla="*/ 316206 w 1083508"/>
                <a:gd name="connsiteY3521" fmla="*/ 1375605 h 1387660"/>
                <a:gd name="connsiteX3522" fmla="*/ 715660 w 1083508"/>
                <a:gd name="connsiteY3522" fmla="*/ 927930 h 1387660"/>
                <a:gd name="connsiteX3523" fmla="*/ 716637 w 1083508"/>
                <a:gd name="connsiteY3523" fmla="*/ 930374 h 1387660"/>
                <a:gd name="connsiteX3524" fmla="*/ 722665 w 1083508"/>
                <a:gd name="connsiteY3524" fmla="*/ 929397 h 1387660"/>
                <a:gd name="connsiteX3525" fmla="*/ 733906 w 1083508"/>
                <a:gd name="connsiteY3525" fmla="*/ 926953 h 1387660"/>
                <a:gd name="connsiteX3526" fmla="*/ 744984 w 1083508"/>
                <a:gd name="connsiteY3526" fmla="*/ 929397 h 1387660"/>
                <a:gd name="connsiteX3527" fmla="*/ 748242 w 1083508"/>
                <a:gd name="connsiteY3527" fmla="*/ 925813 h 1387660"/>
                <a:gd name="connsiteX3528" fmla="*/ 752966 w 1083508"/>
                <a:gd name="connsiteY3528" fmla="*/ 924672 h 1387660"/>
                <a:gd name="connsiteX3529" fmla="*/ 758505 w 1083508"/>
                <a:gd name="connsiteY3529" fmla="*/ 927930 h 1387660"/>
                <a:gd name="connsiteX3530" fmla="*/ 764370 w 1083508"/>
                <a:gd name="connsiteY3530" fmla="*/ 925650 h 1387660"/>
                <a:gd name="connsiteX3531" fmla="*/ 767139 w 1083508"/>
                <a:gd name="connsiteY3531" fmla="*/ 926464 h 1387660"/>
                <a:gd name="connsiteX3532" fmla="*/ 773167 w 1083508"/>
                <a:gd name="connsiteY3532" fmla="*/ 921903 h 1387660"/>
                <a:gd name="connsiteX3533" fmla="*/ 773655 w 1083508"/>
                <a:gd name="connsiteY3533" fmla="*/ 908056 h 1387660"/>
                <a:gd name="connsiteX3534" fmla="*/ 769909 w 1083508"/>
                <a:gd name="connsiteY3534" fmla="*/ 904797 h 1387660"/>
                <a:gd name="connsiteX3535" fmla="*/ 767954 w 1083508"/>
                <a:gd name="connsiteY3535" fmla="*/ 900073 h 1387660"/>
                <a:gd name="connsiteX3536" fmla="*/ 763881 w 1083508"/>
                <a:gd name="connsiteY3536" fmla="*/ 900073 h 1387660"/>
                <a:gd name="connsiteX3537" fmla="*/ 748893 w 1083508"/>
                <a:gd name="connsiteY3537" fmla="*/ 906752 h 1387660"/>
                <a:gd name="connsiteX3538" fmla="*/ 735046 w 1083508"/>
                <a:gd name="connsiteY3538" fmla="*/ 908381 h 1387660"/>
                <a:gd name="connsiteX3539" fmla="*/ 731299 w 1083508"/>
                <a:gd name="connsiteY3539" fmla="*/ 912617 h 1387660"/>
                <a:gd name="connsiteX3540" fmla="*/ 726249 w 1083508"/>
                <a:gd name="connsiteY3540" fmla="*/ 915061 h 1387660"/>
                <a:gd name="connsiteX3541" fmla="*/ 723317 w 1083508"/>
                <a:gd name="connsiteY3541" fmla="*/ 920274 h 1387660"/>
                <a:gd name="connsiteX3542" fmla="*/ 717778 w 1083508"/>
                <a:gd name="connsiteY3542" fmla="*/ 921251 h 1387660"/>
                <a:gd name="connsiteX3543" fmla="*/ 717126 w 1083508"/>
                <a:gd name="connsiteY3543" fmla="*/ 924509 h 1387660"/>
                <a:gd name="connsiteX3544" fmla="*/ 715334 w 1083508"/>
                <a:gd name="connsiteY3544" fmla="*/ 928093 h 1387660"/>
                <a:gd name="connsiteX3545" fmla="*/ 715334 w 1083508"/>
                <a:gd name="connsiteY3545" fmla="*/ 928093 h 1387660"/>
                <a:gd name="connsiteX3546" fmla="*/ 333475 w 1083508"/>
                <a:gd name="connsiteY3546" fmla="*/ 1341720 h 1387660"/>
                <a:gd name="connsiteX3547" fmla="*/ 337059 w 1083508"/>
                <a:gd name="connsiteY3547" fmla="*/ 1344000 h 1387660"/>
                <a:gd name="connsiteX3548" fmla="*/ 339014 w 1083508"/>
                <a:gd name="connsiteY3548" fmla="*/ 1342860 h 1387660"/>
                <a:gd name="connsiteX3549" fmla="*/ 338037 w 1083508"/>
                <a:gd name="connsiteY3549" fmla="*/ 1340579 h 1387660"/>
                <a:gd name="connsiteX3550" fmla="*/ 335593 w 1083508"/>
                <a:gd name="connsiteY3550" fmla="*/ 1340579 h 1387660"/>
                <a:gd name="connsiteX3551" fmla="*/ 333475 w 1083508"/>
                <a:gd name="connsiteY3551" fmla="*/ 1341720 h 1387660"/>
                <a:gd name="connsiteX3552" fmla="*/ 333475 w 1083508"/>
                <a:gd name="connsiteY3552" fmla="*/ 1341720 h 1387660"/>
                <a:gd name="connsiteX3553" fmla="*/ 359214 w 1083508"/>
                <a:gd name="connsiteY3553" fmla="*/ 1290403 h 1387660"/>
                <a:gd name="connsiteX3554" fmla="*/ 360029 w 1083508"/>
                <a:gd name="connsiteY3554" fmla="*/ 1291870 h 1387660"/>
                <a:gd name="connsiteX3555" fmla="*/ 360681 w 1083508"/>
                <a:gd name="connsiteY3555" fmla="*/ 1290078 h 1387660"/>
                <a:gd name="connsiteX3556" fmla="*/ 359214 w 1083508"/>
                <a:gd name="connsiteY3556" fmla="*/ 1290078 h 1387660"/>
                <a:gd name="connsiteX3557" fmla="*/ 361821 w 1083508"/>
                <a:gd name="connsiteY3557" fmla="*/ 1283887 h 1387660"/>
                <a:gd name="connsiteX3558" fmla="*/ 361332 w 1083508"/>
                <a:gd name="connsiteY3558" fmla="*/ 1286657 h 1387660"/>
                <a:gd name="connsiteX3559" fmla="*/ 362962 w 1083508"/>
                <a:gd name="connsiteY3559" fmla="*/ 1285679 h 1387660"/>
                <a:gd name="connsiteX3560" fmla="*/ 362962 w 1083508"/>
                <a:gd name="connsiteY3560" fmla="*/ 1283072 h 1387660"/>
                <a:gd name="connsiteX3561" fmla="*/ 361658 w 1083508"/>
                <a:gd name="connsiteY3561" fmla="*/ 1283887 h 1387660"/>
                <a:gd name="connsiteX3562" fmla="*/ 361658 w 1083508"/>
                <a:gd name="connsiteY3562" fmla="*/ 1283887 h 1387660"/>
                <a:gd name="connsiteX3563" fmla="*/ 363939 w 1083508"/>
                <a:gd name="connsiteY3563" fmla="*/ 1275253 h 1387660"/>
                <a:gd name="connsiteX3564" fmla="*/ 364428 w 1083508"/>
                <a:gd name="connsiteY3564" fmla="*/ 1276719 h 1387660"/>
                <a:gd name="connsiteX3565" fmla="*/ 365568 w 1083508"/>
                <a:gd name="connsiteY3565" fmla="*/ 1276719 h 1387660"/>
                <a:gd name="connsiteX3566" fmla="*/ 366220 w 1083508"/>
                <a:gd name="connsiteY3566" fmla="*/ 1274601 h 1387660"/>
                <a:gd name="connsiteX3567" fmla="*/ 364591 w 1083508"/>
                <a:gd name="connsiteY3567" fmla="*/ 1274601 h 1387660"/>
                <a:gd name="connsiteX3568" fmla="*/ 363939 w 1083508"/>
                <a:gd name="connsiteY3568" fmla="*/ 1275416 h 1387660"/>
                <a:gd name="connsiteX3569" fmla="*/ 363939 w 1083508"/>
                <a:gd name="connsiteY3569" fmla="*/ 1275416 h 1387660"/>
                <a:gd name="connsiteX3570" fmla="*/ 359540 w 1083508"/>
                <a:gd name="connsiteY3570" fmla="*/ 1264501 h 1387660"/>
                <a:gd name="connsiteX3571" fmla="*/ 360844 w 1083508"/>
                <a:gd name="connsiteY3571" fmla="*/ 1267433 h 1387660"/>
                <a:gd name="connsiteX3572" fmla="*/ 363939 w 1083508"/>
                <a:gd name="connsiteY3572" fmla="*/ 1267922 h 1387660"/>
                <a:gd name="connsiteX3573" fmla="*/ 365242 w 1083508"/>
                <a:gd name="connsiteY3573" fmla="*/ 1269388 h 1387660"/>
                <a:gd name="connsiteX3574" fmla="*/ 370618 w 1083508"/>
                <a:gd name="connsiteY3574" fmla="*/ 1269388 h 1387660"/>
                <a:gd name="connsiteX3575" fmla="*/ 371107 w 1083508"/>
                <a:gd name="connsiteY3575" fmla="*/ 1267596 h 1387660"/>
                <a:gd name="connsiteX3576" fmla="*/ 368826 w 1083508"/>
                <a:gd name="connsiteY3576" fmla="*/ 1265641 h 1387660"/>
                <a:gd name="connsiteX3577" fmla="*/ 364428 w 1083508"/>
                <a:gd name="connsiteY3577" fmla="*/ 1265641 h 1387660"/>
                <a:gd name="connsiteX3578" fmla="*/ 361821 w 1083508"/>
                <a:gd name="connsiteY3578" fmla="*/ 1263361 h 1387660"/>
                <a:gd name="connsiteX3579" fmla="*/ 359540 w 1083508"/>
                <a:gd name="connsiteY3579" fmla="*/ 1264338 h 1387660"/>
                <a:gd name="connsiteX3580" fmla="*/ 359540 w 1083508"/>
                <a:gd name="connsiteY3580" fmla="*/ 1264338 h 1387660"/>
                <a:gd name="connsiteX3581" fmla="*/ 381370 w 1083508"/>
                <a:gd name="connsiteY3581" fmla="*/ 1261568 h 1387660"/>
                <a:gd name="connsiteX3582" fmla="*/ 383325 w 1083508"/>
                <a:gd name="connsiteY3582" fmla="*/ 1259288 h 1387660"/>
                <a:gd name="connsiteX3583" fmla="*/ 382837 w 1083508"/>
                <a:gd name="connsiteY3583" fmla="*/ 1256192 h 1387660"/>
                <a:gd name="connsiteX3584" fmla="*/ 381370 w 1083508"/>
                <a:gd name="connsiteY3584" fmla="*/ 1257659 h 1387660"/>
                <a:gd name="connsiteX3585" fmla="*/ 381370 w 1083508"/>
                <a:gd name="connsiteY3585" fmla="*/ 1261568 h 1387660"/>
                <a:gd name="connsiteX3586" fmla="*/ 381370 w 1083508"/>
                <a:gd name="connsiteY3586" fmla="*/ 1261568 h 1387660"/>
                <a:gd name="connsiteX3587" fmla="*/ 379089 w 1083508"/>
                <a:gd name="connsiteY3587" fmla="*/ 1229801 h 1387660"/>
                <a:gd name="connsiteX3588" fmla="*/ 379089 w 1083508"/>
                <a:gd name="connsiteY3588" fmla="*/ 1231430 h 1387660"/>
                <a:gd name="connsiteX3589" fmla="*/ 382999 w 1083508"/>
                <a:gd name="connsiteY3589" fmla="*/ 1235666 h 1387660"/>
                <a:gd name="connsiteX3590" fmla="*/ 388049 w 1083508"/>
                <a:gd name="connsiteY3590" fmla="*/ 1238272 h 1387660"/>
                <a:gd name="connsiteX3591" fmla="*/ 388864 w 1083508"/>
                <a:gd name="connsiteY3591" fmla="*/ 1239576 h 1387660"/>
                <a:gd name="connsiteX3592" fmla="*/ 390493 w 1083508"/>
                <a:gd name="connsiteY3592" fmla="*/ 1238435 h 1387660"/>
                <a:gd name="connsiteX3593" fmla="*/ 388538 w 1083508"/>
                <a:gd name="connsiteY3593" fmla="*/ 1234851 h 1387660"/>
                <a:gd name="connsiteX3594" fmla="*/ 382999 w 1083508"/>
                <a:gd name="connsiteY3594" fmla="*/ 1232734 h 1387660"/>
                <a:gd name="connsiteX3595" fmla="*/ 380881 w 1083508"/>
                <a:gd name="connsiteY3595" fmla="*/ 1229801 h 1387660"/>
                <a:gd name="connsiteX3596" fmla="*/ 378927 w 1083508"/>
                <a:gd name="connsiteY3596" fmla="*/ 1229801 h 1387660"/>
                <a:gd name="connsiteX3597" fmla="*/ 411508 w 1083508"/>
                <a:gd name="connsiteY3597" fmla="*/ 1171480 h 1387660"/>
                <a:gd name="connsiteX3598" fmla="*/ 412323 w 1083508"/>
                <a:gd name="connsiteY3598" fmla="*/ 1175390 h 1387660"/>
                <a:gd name="connsiteX3599" fmla="*/ 414604 w 1083508"/>
                <a:gd name="connsiteY3599" fmla="*/ 1178974 h 1387660"/>
                <a:gd name="connsiteX3600" fmla="*/ 414115 w 1083508"/>
                <a:gd name="connsiteY3600" fmla="*/ 1185001 h 1387660"/>
                <a:gd name="connsiteX3601" fmla="*/ 415907 w 1083508"/>
                <a:gd name="connsiteY3601" fmla="*/ 1188911 h 1387660"/>
                <a:gd name="connsiteX3602" fmla="*/ 418513 w 1083508"/>
                <a:gd name="connsiteY3602" fmla="*/ 1189563 h 1387660"/>
                <a:gd name="connsiteX3603" fmla="*/ 417699 w 1083508"/>
                <a:gd name="connsiteY3603" fmla="*/ 1184187 h 1387660"/>
                <a:gd name="connsiteX3604" fmla="*/ 418351 w 1083508"/>
                <a:gd name="connsiteY3604" fmla="*/ 1178974 h 1387660"/>
                <a:gd name="connsiteX3605" fmla="*/ 416233 w 1083508"/>
                <a:gd name="connsiteY3605" fmla="*/ 1176530 h 1387660"/>
                <a:gd name="connsiteX3606" fmla="*/ 414441 w 1083508"/>
                <a:gd name="connsiteY3606" fmla="*/ 1171806 h 1387660"/>
                <a:gd name="connsiteX3607" fmla="*/ 412649 w 1083508"/>
                <a:gd name="connsiteY3607" fmla="*/ 1169851 h 1387660"/>
                <a:gd name="connsiteX3608" fmla="*/ 411671 w 1083508"/>
                <a:gd name="connsiteY3608" fmla="*/ 1171806 h 1387660"/>
                <a:gd name="connsiteX3609" fmla="*/ 411671 w 1083508"/>
                <a:gd name="connsiteY3609" fmla="*/ 1171806 h 1387660"/>
                <a:gd name="connsiteX3610" fmla="*/ 435456 w 1083508"/>
                <a:gd name="connsiteY3610" fmla="*/ 1156003 h 1387660"/>
                <a:gd name="connsiteX3611" fmla="*/ 436271 w 1083508"/>
                <a:gd name="connsiteY3611" fmla="*/ 1158447 h 1387660"/>
                <a:gd name="connsiteX3612" fmla="*/ 438714 w 1083508"/>
                <a:gd name="connsiteY3612" fmla="*/ 1159913 h 1387660"/>
                <a:gd name="connsiteX3613" fmla="*/ 439203 w 1083508"/>
                <a:gd name="connsiteY3613" fmla="*/ 1157958 h 1387660"/>
                <a:gd name="connsiteX3614" fmla="*/ 437248 w 1083508"/>
                <a:gd name="connsiteY3614" fmla="*/ 1156003 h 1387660"/>
                <a:gd name="connsiteX3615" fmla="*/ 435456 w 1083508"/>
                <a:gd name="connsiteY3615" fmla="*/ 1156003 h 1387660"/>
                <a:gd name="connsiteX3616" fmla="*/ 442787 w 1083508"/>
                <a:gd name="connsiteY3616" fmla="*/ 1150139 h 1387660"/>
                <a:gd name="connsiteX3617" fmla="*/ 444253 w 1083508"/>
                <a:gd name="connsiteY3617" fmla="*/ 1152094 h 1387660"/>
                <a:gd name="connsiteX3618" fmla="*/ 444742 w 1083508"/>
                <a:gd name="connsiteY3618" fmla="*/ 1150139 h 1387660"/>
                <a:gd name="connsiteX3619" fmla="*/ 442950 w 1083508"/>
                <a:gd name="connsiteY3619" fmla="*/ 1148510 h 1387660"/>
                <a:gd name="connsiteX3620" fmla="*/ 442950 w 1083508"/>
                <a:gd name="connsiteY3620" fmla="*/ 1149976 h 1387660"/>
                <a:gd name="connsiteX3621" fmla="*/ 442950 w 1083508"/>
                <a:gd name="connsiteY3621" fmla="*/ 1149976 h 1387660"/>
                <a:gd name="connsiteX3622" fmla="*/ 483514 w 1083508"/>
                <a:gd name="connsiteY3622" fmla="*/ 1146392 h 1387660"/>
                <a:gd name="connsiteX3623" fmla="*/ 486121 w 1083508"/>
                <a:gd name="connsiteY3623" fmla="*/ 1143948 h 1387660"/>
                <a:gd name="connsiteX3624" fmla="*/ 490031 w 1083508"/>
                <a:gd name="connsiteY3624" fmla="*/ 1144274 h 1387660"/>
                <a:gd name="connsiteX3625" fmla="*/ 490845 w 1083508"/>
                <a:gd name="connsiteY3625" fmla="*/ 1141667 h 1387660"/>
                <a:gd name="connsiteX3626" fmla="*/ 487750 w 1083508"/>
                <a:gd name="connsiteY3626" fmla="*/ 1135966 h 1387660"/>
                <a:gd name="connsiteX3627" fmla="*/ 485795 w 1083508"/>
                <a:gd name="connsiteY3627" fmla="*/ 1134988 h 1387660"/>
                <a:gd name="connsiteX3628" fmla="*/ 484492 w 1083508"/>
                <a:gd name="connsiteY3628" fmla="*/ 1132056 h 1387660"/>
                <a:gd name="connsiteX3629" fmla="*/ 481559 w 1083508"/>
                <a:gd name="connsiteY3629" fmla="*/ 1132056 h 1387660"/>
                <a:gd name="connsiteX3630" fmla="*/ 478301 w 1083508"/>
                <a:gd name="connsiteY3630" fmla="*/ 1135803 h 1387660"/>
                <a:gd name="connsiteX3631" fmla="*/ 477812 w 1083508"/>
                <a:gd name="connsiteY3631" fmla="*/ 1138572 h 1387660"/>
                <a:gd name="connsiteX3632" fmla="*/ 476835 w 1083508"/>
                <a:gd name="connsiteY3632" fmla="*/ 1141179 h 1387660"/>
                <a:gd name="connsiteX3633" fmla="*/ 479930 w 1083508"/>
                <a:gd name="connsiteY3633" fmla="*/ 1143785 h 1387660"/>
                <a:gd name="connsiteX3634" fmla="*/ 480908 w 1083508"/>
                <a:gd name="connsiteY3634" fmla="*/ 1146066 h 1387660"/>
                <a:gd name="connsiteX3635" fmla="*/ 483351 w 1083508"/>
                <a:gd name="connsiteY3635" fmla="*/ 1146066 h 1387660"/>
                <a:gd name="connsiteX3636" fmla="*/ 499479 w 1083508"/>
                <a:gd name="connsiteY3636" fmla="*/ 1144111 h 1387660"/>
                <a:gd name="connsiteX3637" fmla="*/ 498013 w 1083508"/>
                <a:gd name="connsiteY3637" fmla="*/ 1141179 h 1387660"/>
                <a:gd name="connsiteX3638" fmla="*/ 499316 w 1083508"/>
                <a:gd name="connsiteY3638" fmla="*/ 1138735 h 1387660"/>
                <a:gd name="connsiteX3639" fmla="*/ 496710 w 1083508"/>
                <a:gd name="connsiteY3639" fmla="*/ 1140690 h 1387660"/>
                <a:gd name="connsiteX3640" fmla="*/ 496710 w 1083508"/>
                <a:gd name="connsiteY3640" fmla="*/ 1143622 h 1387660"/>
                <a:gd name="connsiteX3641" fmla="*/ 498502 w 1083508"/>
                <a:gd name="connsiteY3641" fmla="*/ 1145414 h 1387660"/>
                <a:gd name="connsiteX3642" fmla="*/ 499316 w 1083508"/>
                <a:gd name="connsiteY3642" fmla="*/ 1144274 h 1387660"/>
                <a:gd name="connsiteX3643" fmla="*/ 499316 w 1083508"/>
                <a:gd name="connsiteY3643" fmla="*/ 1144274 h 1387660"/>
                <a:gd name="connsiteX3644" fmla="*/ 801676 w 1083508"/>
                <a:gd name="connsiteY3644" fmla="*/ 975011 h 1387660"/>
                <a:gd name="connsiteX3645" fmla="*/ 803631 w 1083508"/>
                <a:gd name="connsiteY3645" fmla="*/ 975337 h 1387660"/>
                <a:gd name="connsiteX3646" fmla="*/ 806400 w 1083508"/>
                <a:gd name="connsiteY3646" fmla="*/ 973708 h 1387660"/>
                <a:gd name="connsiteX3647" fmla="*/ 805749 w 1083508"/>
                <a:gd name="connsiteY3647" fmla="*/ 971427 h 1387660"/>
                <a:gd name="connsiteX3648" fmla="*/ 802002 w 1083508"/>
                <a:gd name="connsiteY3648" fmla="*/ 973056 h 1387660"/>
                <a:gd name="connsiteX3649" fmla="*/ 801676 w 1083508"/>
                <a:gd name="connsiteY3649" fmla="*/ 975011 h 1387660"/>
                <a:gd name="connsiteX3650" fmla="*/ 801676 w 1083508"/>
                <a:gd name="connsiteY3650" fmla="*/ 975011 h 1387660"/>
                <a:gd name="connsiteX3651" fmla="*/ 748242 w 1083508"/>
                <a:gd name="connsiteY3651" fmla="*/ 931026 h 1387660"/>
                <a:gd name="connsiteX3652" fmla="*/ 750685 w 1083508"/>
                <a:gd name="connsiteY3652" fmla="*/ 932166 h 1387660"/>
                <a:gd name="connsiteX3653" fmla="*/ 754106 w 1083508"/>
                <a:gd name="connsiteY3653" fmla="*/ 931352 h 1387660"/>
                <a:gd name="connsiteX3654" fmla="*/ 754106 w 1083508"/>
                <a:gd name="connsiteY3654" fmla="*/ 929397 h 1387660"/>
                <a:gd name="connsiteX3655" fmla="*/ 750196 w 1083508"/>
                <a:gd name="connsiteY3655" fmla="*/ 928745 h 1387660"/>
                <a:gd name="connsiteX3656" fmla="*/ 748242 w 1083508"/>
                <a:gd name="connsiteY3656" fmla="*/ 930863 h 1387660"/>
                <a:gd name="connsiteX3657" fmla="*/ 748242 w 1083508"/>
                <a:gd name="connsiteY3657" fmla="*/ 930863 h 1387660"/>
                <a:gd name="connsiteX3658" fmla="*/ 725597 w 1083508"/>
                <a:gd name="connsiteY3658" fmla="*/ 910499 h 1387660"/>
                <a:gd name="connsiteX3659" fmla="*/ 727226 w 1083508"/>
                <a:gd name="connsiteY3659" fmla="*/ 911151 h 1387660"/>
                <a:gd name="connsiteX3660" fmla="*/ 729996 w 1083508"/>
                <a:gd name="connsiteY3660" fmla="*/ 910336 h 1387660"/>
                <a:gd name="connsiteX3661" fmla="*/ 731299 w 1083508"/>
                <a:gd name="connsiteY3661" fmla="*/ 907730 h 1387660"/>
                <a:gd name="connsiteX3662" fmla="*/ 728041 w 1083508"/>
                <a:gd name="connsiteY3662" fmla="*/ 908218 h 1387660"/>
                <a:gd name="connsiteX3663" fmla="*/ 725597 w 1083508"/>
                <a:gd name="connsiteY3663" fmla="*/ 910499 h 1387660"/>
                <a:gd name="connsiteX3664" fmla="*/ 725597 w 1083508"/>
                <a:gd name="connsiteY3664" fmla="*/ 910499 h 1387660"/>
                <a:gd name="connsiteX3665" fmla="*/ 771701 w 1083508"/>
                <a:gd name="connsiteY3665" fmla="*/ 897629 h 1387660"/>
                <a:gd name="connsiteX3666" fmla="*/ 771701 w 1083508"/>
                <a:gd name="connsiteY3666" fmla="*/ 900725 h 1387660"/>
                <a:gd name="connsiteX3667" fmla="*/ 773818 w 1083508"/>
                <a:gd name="connsiteY3667" fmla="*/ 902680 h 1387660"/>
                <a:gd name="connsiteX3668" fmla="*/ 774959 w 1083508"/>
                <a:gd name="connsiteY3668" fmla="*/ 900888 h 1387660"/>
                <a:gd name="connsiteX3669" fmla="*/ 774470 w 1083508"/>
                <a:gd name="connsiteY3669" fmla="*/ 897466 h 1387660"/>
                <a:gd name="connsiteX3670" fmla="*/ 772189 w 1083508"/>
                <a:gd name="connsiteY3670" fmla="*/ 896000 h 1387660"/>
                <a:gd name="connsiteX3671" fmla="*/ 771538 w 1083508"/>
                <a:gd name="connsiteY3671" fmla="*/ 897629 h 1387660"/>
                <a:gd name="connsiteX3672" fmla="*/ 771538 w 1083508"/>
                <a:gd name="connsiteY3672" fmla="*/ 897629 h 1387660"/>
                <a:gd name="connsiteX3673" fmla="*/ 802328 w 1083508"/>
                <a:gd name="connsiteY3673" fmla="*/ 800698 h 1387660"/>
                <a:gd name="connsiteX3674" fmla="*/ 802328 w 1083508"/>
                <a:gd name="connsiteY3674" fmla="*/ 803957 h 1387660"/>
                <a:gd name="connsiteX3675" fmla="*/ 803468 w 1083508"/>
                <a:gd name="connsiteY3675" fmla="*/ 805586 h 1387660"/>
                <a:gd name="connsiteX3676" fmla="*/ 803142 w 1083508"/>
                <a:gd name="connsiteY3676" fmla="*/ 809333 h 1387660"/>
                <a:gd name="connsiteX3677" fmla="*/ 806563 w 1083508"/>
                <a:gd name="connsiteY3677" fmla="*/ 815686 h 1387660"/>
                <a:gd name="connsiteX3678" fmla="*/ 808844 w 1083508"/>
                <a:gd name="connsiteY3678" fmla="*/ 821062 h 1387660"/>
                <a:gd name="connsiteX3679" fmla="*/ 815360 w 1083508"/>
                <a:gd name="connsiteY3679" fmla="*/ 822854 h 1387660"/>
                <a:gd name="connsiteX3680" fmla="*/ 821062 w 1083508"/>
                <a:gd name="connsiteY3680" fmla="*/ 827578 h 1387660"/>
                <a:gd name="connsiteX3681" fmla="*/ 824972 w 1083508"/>
                <a:gd name="connsiteY3681" fmla="*/ 833117 h 1387660"/>
                <a:gd name="connsiteX3682" fmla="*/ 829859 w 1083508"/>
                <a:gd name="connsiteY3682" fmla="*/ 835561 h 1387660"/>
                <a:gd name="connsiteX3683" fmla="*/ 832792 w 1083508"/>
                <a:gd name="connsiteY3683" fmla="*/ 835887 h 1387660"/>
                <a:gd name="connsiteX3684" fmla="*/ 833932 w 1083508"/>
                <a:gd name="connsiteY3684" fmla="*/ 838656 h 1387660"/>
                <a:gd name="connsiteX3685" fmla="*/ 839145 w 1083508"/>
                <a:gd name="connsiteY3685" fmla="*/ 840611 h 1387660"/>
                <a:gd name="connsiteX3686" fmla="*/ 840285 w 1083508"/>
                <a:gd name="connsiteY3686" fmla="*/ 838819 h 1387660"/>
                <a:gd name="connsiteX3687" fmla="*/ 840285 w 1083508"/>
                <a:gd name="connsiteY3687" fmla="*/ 835724 h 1387660"/>
                <a:gd name="connsiteX3688" fmla="*/ 842892 w 1083508"/>
                <a:gd name="connsiteY3688" fmla="*/ 833606 h 1387660"/>
                <a:gd name="connsiteX3689" fmla="*/ 839308 w 1083508"/>
                <a:gd name="connsiteY3689" fmla="*/ 828556 h 1387660"/>
                <a:gd name="connsiteX3690" fmla="*/ 833932 w 1083508"/>
                <a:gd name="connsiteY3690" fmla="*/ 826601 h 1387660"/>
                <a:gd name="connsiteX3691" fmla="*/ 831977 w 1083508"/>
                <a:gd name="connsiteY3691" fmla="*/ 826601 h 1387660"/>
                <a:gd name="connsiteX3692" fmla="*/ 829370 w 1083508"/>
                <a:gd name="connsiteY3692" fmla="*/ 823343 h 1387660"/>
                <a:gd name="connsiteX3693" fmla="*/ 831000 w 1083508"/>
                <a:gd name="connsiteY3693" fmla="*/ 821877 h 1387660"/>
                <a:gd name="connsiteX3694" fmla="*/ 832628 w 1083508"/>
                <a:gd name="connsiteY3694" fmla="*/ 819596 h 1387660"/>
                <a:gd name="connsiteX3695" fmla="*/ 835398 w 1083508"/>
                <a:gd name="connsiteY3695" fmla="*/ 820410 h 1387660"/>
                <a:gd name="connsiteX3696" fmla="*/ 839471 w 1083508"/>
                <a:gd name="connsiteY3696" fmla="*/ 823506 h 1387660"/>
                <a:gd name="connsiteX3697" fmla="*/ 844847 w 1083508"/>
                <a:gd name="connsiteY3697" fmla="*/ 824157 h 1387660"/>
                <a:gd name="connsiteX3698" fmla="*/ 846639 w 1083508"/>
                <a:gd name="connsiteY3698" fmla="*/ 825787 h 1387660"/>
                <a:gd name="connsiteX3699" fmla="*/ 847942 w 1083508"/>
                <a:gd name="connsiteY3699" fmla="*/ 824157 h 1387660"/>
                <a:gd name="connsiteX3700" fmla="*/ 845661 w 1083508"/>
                <a:gd name="connsiteY3700" fmla="*/ 819270 h 1387660"/>
                <a:gd name="connsiteX3701" fmla="*/ 833443 w 1083508"/>
                <a:gd name="connsiteY3701" fmla="*/ 813568 h 1387660"/>
                <a:gd name="connsiteX3702" fmla="*/ 829533 w 1083508"/>
                <a:gd name="connsiteY3702" fmla="*/ 806400 h 1387660"/>
                <a:gd name="connsiteX3703" fmla="*/ 827090 w 1083508"/>
                <a:gd name="connsiteY3703" fmla="*/ 805097 h 1387660"/>
                <a:gd name="connsiteX3704" fmla="*/ 822691 w 1083508"/>
                <a:gd name="connsiteY3704" fmla="*/ 805097 h 1387660"/>
                <a:gd name="connsiteX3705" fmla="*/ 816338 w 1083508"/>
                <a:gd name="connsiteY3705" fmla="*/ 801187 h 1387660"/>
                <a:gd name="connsiteX3706" fmla="*/ 812428 w 1083508"/>
                <a:gd name="connsiteY3706" fmla="*/ 801187 h 1387660"/>
                <a:gd name="connsiteX3707" fmla="*/ 810147 w 1083508"/>
                <a:gd name="connsiteY3707" fmla="*/ 800210 h 1387660"/>
                <a:gd name="connsiteX3708" fmla="*/ 804445 w 1083508"/>
                <a:gd name="connsiteY3708" fmla="*/ 799395 h 1387660"/>
                <a:gd name="connsiteX3709" fmla="*/ 802328 w 1083508"/>
                <a:gd name="connsiteY3709" fmla="*/ 801187 h 1387660"/>
                <a:gd name="connsiteX3710" fmla="*/ 802328 w 1083508"/>
                <a:gd name="connsiteY3710" fmla="*/ 801187 h 1387660"/>
                <a:gd name="connsiteX3711" fmla="*/ 790924 w 1083508"/>
                <a:gd name="connsiteY3711" fmla="*/ 803142 h 1387660"/>
                <a:gd name="connsiteX3712" fmla="*/ 793368 w 1083508"/>
                <a:gd name="connsiteY3712" fmla="*/ 801513 h 1387660"/>
                <a:gd name="connsiteX3713" fmla="*/ 792879 w 1083508"/>
                <a:gd name="connsiteY3713" fmla="*/ 798418 h 1387660"/>
                <a:gd name="connsiteX3714" fmla="*/ 795322 w 1083508"/>
                <a:gd name="connsiteY3714" fmla="*/ 795322 h 1387660"/>
                <a:gd name="connsiteX3715" fmla="*/ 788806 w 1083508"/>
                <a:gd name="connsiteY3715" fmla="*/ 798255 h 1387660"/>
                <a:gd name="connsiteX3716" fmla="*/ 788480 w 1083508"/>
                <a:gd name="connsiteY3716" fmla="*/ 801350 h 1387660"/>
                <a:gd name="connsiteX3717" fmla="*/ 790924 w 1083508"/>
                <a:gd name="connsiteY3717" fmla="*/ 803142 h 1387660"/>
                <a:gd name="connsiteX3718" fmla="*/ 790924 w 1083508"/>
                <a:gd name="connsiteY3718" fmla="*/ 803142 h 1387660"/>
                <a:gd name="connsiteX3719" fmla="*/ 801839 w 1083508"/>
                <a:gd name="connsiteY3719" fmla="*/ 793693 h 1387660"/>
                <a:gd name="connsiteX3720" fmla="*/ 804934 w 1083508"/>
                <a:gd name="connsiteY3720" fmla="*/ 796300 h 1387660"/>
                <a:gd name="connsiteX3721" fmla="*/ 813079 w 1083508"/>
                <a:gd name="connsiteY3721" fmla="*/ 796300 h 1387660"/>
                <a:gd name="connsiteX3722" fmla="*/ 817804 w 1083508"/>
                <a:gd name="connsiteY3722" fmla="*/ 799069 h 1387660"/>
                <a:gd name="connsiteX3723" fmla="*/ 824483 w 1083508"/>
                <a:gd name="connsiteY3723" fmla="*/ 800210 h 1387660"/>
                <a:gd name="connsiteX3724" fmla="*/ 830185 w 1083508"/>
                <a:gd name="connsiteY3724" fmla="*/ 803305 h 1387660"/>
                <a:gd name="connsiteX3725" fmla="*/ 834095 w 1083508"/>
                <a:gd name="connsiteY3725" fmla="*/ 802979 h 1387660"/>
                <a:gd name="connsiteX3726" fmla="*/ 836050 w 1083508"/>
                <a:gd name="connsiteY3726" fmla="*/ 803957 h 1387660"/>
                <a:gd name="connsiteX3727" fmla="*/ 836050 w 1083508"/>
                <a:gd name="connsiteY3727" fmla="*/ 806889 h 1387660"/>
                <a:gd name="connsiteX3728" fmla="*/ 839145 w 1083508"/>
                <a:gd name="connsiteY3728" fmla="*/ 809007 h 1387660"/>
                <a:gd name="connsiteX3729" fmla="*/ 843869 w 1083508"/>
                <a:gd name="connsiteY3729" fmla="*/ 808681 h 1387660"/>
                <a:gd name="connsiteX3730" fmla="*/ 846802 w 1083508"/>
                <a:gd name="connsiteY3730" fmla="*/ 809821 h 1387660"/>
                <a:gd name="connsiteX3731" fmla="*/ 850386 w 1083508"/>
                <a:gd name="connsiteY3731" fmla="*/ 808844 h 1387660"/>
                <a:gd name="connsiteX3732" fmla="*/ 850386 w 1083508"/>
                <a:gd name="connsiteY3732" fmla="*/ 806074 h 1387660"/>
                <a:gd name="connsiteX3733" fmla="*/ 849082 w 1083508"/>
                <a:gd name="connsiteY3733" fmla="*/ 803794 h 1387660"/>
                <a:gd name="connsiteX3734" fmla="*/ 850223 w 1083508"/>
                <a:gd name="connsiteY3734" fmla="*/ 800210 h 1387660"/>
                <a:gd name="connsiteX3735" fmla="*/ 852341 w 1083508"/>
                <a:gd name="connsiteY3735" fmla="*/ 799232 h 1387660"/>
                <a:gd name="connsiteX3736" fmla="*/ 846313 w 1083508"/>
                <a:gd name="connsiteY3736" fmla="*/ 794671 h 1387660"/>
                <a:gd name="connsiteX3737" fmla="*/ 842240 w 1083508"/>
                <a:gd name="connsiteY3737" fmla="*/ 793856 h 1387660"/>
                <a:gd name="connsiteX3738" fmla="*/ 835887 w 1083508"/>
                <a:gd name="connsiteY3738" fmla="*/ 789946 h 1387660"/>
                <a:gd name="connsiteX3739" fmla="*/ 830022 w 1083508"/>
                <a:gd name="connsiteY3739" fmla="*/ 789946 h 1387660"/>
                <a:gd name="connsiteX3740" fmla="*/ 821225 w 1083508"/>
                <a:gd name="connsiteY3740" fmla="*/ 792227 h 1387660"/>
                <a:gd name="connsiteX3741" fmla="*/ 816012 w 1083508"/>
                <a:gd name="connsiteY3741" fmla="*/ 790435 h 1387660"/>
                <a:gd name="connsiteX3742" fmla="*/ 808518 w 1083508"/>
                <a:gd name="connsiteY3742" fmla="*/ 791250 h 1387660"/>
                <a:gd name="connsiteX3743" fmla="*/ 804119 w 1083508"/>
                <a:gd name="connsiteY3743" fmla="*/ 791250 h 1387660"/>
                <a:gd name="connsiteX3744" fmla="*/ 802165 w 1083508"/>
                <a:gd name="connsiteY3744" fmla="*/ 793205 h 1387660"/>
                <a:gd name="connsiteX3745" fmla="*/ 802165 w 1083508"/>
                <a:gd name="connsiteY3745" fmla="*/ 793205 h 1387660"/>
                <a:gd name="connsiteX3746" fmla="*/ 781638 w 1083508"/>
                <a:gd name="connsiteY3746" fmla="*/ 776262 h 1387660"/>
                <a:gd name="connsiteX3747" fmla="*/ 785059 w 1083508"/>
                <a:gd name="connsiteY3747" fmla="*/ 779683 h 1387660"/>
                <a:gd name="connsiteX3748" fmla="*/ 791901 w 1083508"/>
                <a:gd name="connsiteY3748" fmla="*/ 780661 h 1387660"/>
                <a:gd name="connsiteX3749" fmla="*/ 797603 w 1083508"/>
                <a:gd name="connsiteY3749" fmla="*/ 786688 h 1387660"/>
                <a:gd name="connsiteX3750" fmla="*/ 804608 w 1083508"/>
                <a:gd name="connsiteY3750" fmla="*/ 789458 h 1387660"/>
                <a:gd name="connsiteX3751" fmla="*/ 814871 w 1083508"/>
                <a:gd name="connsiteY3751" fmla="*/ 788317 h 1387660"/>
                <a:gd name="connsiteX3752" fmla="*/ 829533 w 1083508"/>
                <a:gd name="connsiteY3752" fmla="*/ 789295 h 1387660"/>
                <a:gd name="connsiteX3753" fmla="*/ 835724 w 1083508"/>
                <a:gd name="connsiteY3753" fmla="*/ 787829 h 1387660"/>
                <a:gd name="connsiteX3754" fmla="*/ 835724 w 1083508"/>
                <a:gd name="connsiteY3754" fmla="*/ 785548 h 1387660"/>
                <a:gd name="connsiteX3755" fmla="*/ 829696 w 1083508"/>
                <a:gd name="connsiteY3755" fmla="*/ 784408 h 1387660"/>
                <a:gd name="connsiteX3756" fmla="*/ 817478 w 1083508"/>
                <a:gd name="connsiteY3756" fmla="*/ 784896 h 1387660"/>
                <a:gd name="connsiteX3757" fmla="*/ 812591 w 1083508"/>
                <a:gd name="connsiteY3757" fmla="*/ 782941 h 1387660"/>
                <a:gd name="connsiteX3758" fmla="*/ 805749 w 1083508"/>
                <a:gd name="connsiteY3758" fmla="*/ 779194 h 1387660"/>
                <a:gd name="connsiteX3759" fmla="*/ 800698 w 1083508"/>
                <a:gd name="connsiteY3759" fmla="*/ 778543 h 1387660"/>
                <a:gd name="connsiteX3760" fmla="*/ 798418 w 1083508"/>
                <a:gd name="connsiteY3760" fmla="*/ 775610 h 1387660"/>
                <a:gd name="connsiteX3761" fmla="*/ 800698 w 1083508"/>
                <a:gd name="connsiteY3761" fmla="*/ 773818 h 1387660"/>
                <a:gd name="connsiteX3762" fmla="*/ 804282 w 1083508"/>
                <a:gd name="connsiteY3762" fmla="*/ 773818 h 1387660"/>
                <a:gd name="connsiteX3763" fmla="*/ 812102 w 1083508"/>
                <a:gd name="connsiteY3763" fmla="*/ 779683 h 1387660"/>
                <a:gd name="connsiteX3764" fmla="*/ 821388 w 1083508"/>
                <a:gd name="connsiteY3764" fmla="*/ 781312 h 1387660"/>
                <a:gd name="connsiteX3765" fmla="*/ 824157 w 1083508"/>
                <a:gd name="connsiteY3765" fmla="*/ 780986 h 1387660"/>
                <a:gd name="connsiteX3766" fmla="*/ 821551 w 1083508"/>
                <a:gd name="connsiteY3766" fmla="*/ 778054 h 1387660"/>
                <a:gd name="connsiteX3767" fmla="*/ 810799 w 1083508"/>
                <a:gd name="connsiteY3767" fmla="*/ 770397 h 1387660"/>
                <a:gd name="connsiteX3768" fmla="*/ 795485 w 1083508"/>
                <a:gd name="connsiteY3768" fmla="*/ 767628 h 1387660"/>
                <a:gd name="connsiteX3769" fmla="*/ 791738 w 1083508"/>
                <a:gd name="connsiteY3769" fmla="*/ 768768 h 1387660"/>
                <a:gd name="connsiteX3770" fmla="*/ 791738 w 1083508"/>
                <a:gd name="connsiteY3770" fmla="*/ 771701 h 1387660"/>
                <a:gd name="connsiteX3771" fmla="*/ 784896 w 1083508"/>
                <a:gd name="connsiteY3771" fmla="*/ 773981 h 1387660"/>
                <a:gd name="connsiteX3772" fmla="*/ 781964 w 1083508"/>
                <a:gd name="connsiteY3772" fmla="*/ 776588 h 1387660"/>
                <a:gd name="connsiteX3773" fmla="*/ 781964 w 1083508"/>
                <a:gd name="connsiteY3773" fmla="*/ 776588 h 1387660"/>
                <a:gd name="connsiteX3774" fmla="*/ 860160 w 1083508"/>
                <a:gd name="connsiteY3774" fmla="*/ 788969 h 1387660"/>
                <a:gd name="connsiteX3775" fmla="*/ 862441 w 1083508"/>
                <a:gd name="connsiteY3775" fmla="*/ 790435 h 1387660"/>
                <a:gd name="connsiteX3776" fmla="*/ 865047 w 1083508"/>
                <a:gd name="connsiteY3776" fmla="*/ 788806 h 1387660"/>
                <a:gd name="connsiteX3777" fmla="*/ 864722 w 1083508"/>
                <a:gd name="connsiteY3777" fmla="*/ 785874 h 1387660"/>
                <a:gd name="connsiteX3778" fmla="*/ 861463 w 1083508"/>
                <a:gd name="connsiteY3778" fmla="*/ 786851 h 1387660"/>
                <a:gd name="connsiteX3779" fmla="*/ 860160 w 1083508"/>
                <a:gd name="connsiteY3779" fmla="*/ 788806 h 1387660"/>
                <a:gd name="connsiteX3780" fmla="*/ 860160 w 1083508"/>
                <a:gd name="connsiteY3780" fmla="*/ 788806 h 1387660"/>
                <a:gd name="connsiteX3781" fmla="*/ 864559 w 1083508"/>
                <a:gd name="connsiteY3781" fmla="*/ 712565 h 1387660"/>
                <a:gd name="connsiteX3782" fmla="*/ 860486 w 1083508"/>
                <a:gd name="connsiteY3782" fmla="*/ 719733 h 1387660"/>
                <a:gd name="connsiteX3783" fmla="*/ 860486 w 1083508"/>
                <a:gd name="connsiteY3783" fmla="*/ 723968 h 1387660"/>
                <a:gd name="connsiteX3784" fmla="*/ 864233 w 1083508"/>
                <a:gd name="connsiteY3784" fmla="*/ 726412 h 1387660"/>
                <a:gd name="connsiteX3785" fmla="*/ 867980 w 1083508"/>
                <a:gd name="connsiteY3785" fmla="*/ 727715 h 1387660"/>
                <a:gd name="connsiteX3786" fmla="*/ 872704 w 1083508"/>
                <a:gd name="connsiteY3786" fmla="*/ 732277 h 1387660"/>
                <a:gd name="connsiteX3787" fmla="*/ 876125 w 1083508"/>
                <a:gd name="connsiteY3787" fmla="*/ 732277 h 1387660"/>
                <a:gd name="connsiteX3788" fmla="*/ 881827 w 1083508"/>
                <a:gd name="connsiteY3788" fmla="*/ 733091 h 1387660"/>
                <a:gd name="connsiteX3789" fmla="*/ 886063 w 1083508"/>
                <a:gd name="connsiteY3789" fmla="*/ 730485 h 1387660"/>
                <a:gd name="connsiteX3790" fmla="*/ 887040 w 1083508"/>
                <a:gd name="connsiteY3790" fmla="*/ 725760 h 1387660"/>
                <a:gd name="connsiteX3791" fmla="*/ 888832 w 1083508"/>
                <a:gd name="connsiteY3791" fmla="*/ 722665 h 1387660"/>
                <a:gd name="connsiteX3792" fmla="*/ 888832 w 1083508"/>
                <a:gd name="connsiteY3792" fmla="*/ 716149 h 1387660"/>
                <a:gd name="connsiteX3793" fmla="*/ 878243 w 1083508"/>
                <a:gd name="connsiteY3793" fmla="*/ 710121 h 1387660"/>
                <a:gd name="connsiteX3794" fmla="*/ 871401 w 1083508"/>
                <a:gd name="connsiteY3794" fmla="*/ 711424 h 1387660"/>
                <a:gd name="connsiteX3795" fmla="*/ 864396 w 1083508"/>
                <a:gd name="connsiteY3795" fmla="*/ 712728 h 1387660"/>
                <a:gd name="connsiteX3796" fmla="*/ 864396 w 1083508"/>
                <a:gd name="connsiteY3796" fmla="*/ 712728 h 1387660"/>
                <a:gd name="connsiteX3797" fmla="*/ 912617 w 1083508"/>
                <a:gd name="connsiteY3797" fmla="*/ 708166 h 1387660"/>
                <a:gd name="connsiteX3798" fmla="*/ 915224 w 1083508"/>
                <a:gd name="connsiteY3798" fmla="*/ 708655 h 1387660"/>
                <a:gd name="connsiteX3799" fmla="*/ 918808 w 1083508"/>
                <a:gd name="connsiteY3799" fmla="*/ 704745 h 1387660"/>
                <a:gd name="connsiteX3800" fmla="*/ 918808 w 1083508"/>
                <a:gd name="connsiteY3800" fmla="*/ 701976 h 1387660"/>
                <a:gd name="connsiteX3801" fmla="*/ 915875 w 1083508"/>
                <a:gd name="connsiteY3801" fmla="*/ 702138 h 1387660"/>
                <a:gd name="connsiteX3802" fmla="*/ 912780 w 1083508"/>
                <a:gd name="connsiteY3802" fmla="*/ 704419 h 1387660"/>
                <a:gd name="connsiteX3803" fmla="*/ 912780 w 1083508"/>
                <a:gd name="connsiteY3803" fmla="*/ 708166 h 1387660"/>
                <a:gd name="connsiteX3804" fmla="*/ 912617 w 1083508"/>
                <a:gd name="connsiteY3804" fmla="*/ 708166 h 1387660"/>
                <a:gd name="connsiteX3805" fmla="*/ 891439 w 1083508"/>
                <a:gd name="connsiteY3805" fmla="*/ 679657 h 1387660"/>
                <a:gd name="connsiteX3806" fmla="*/ 889647 w 1083508"/>
                <a:gd name="connsiteY3806" fmla="*/ 682915 h 1387660"/>
                <a:gd name="connsiteX3807" fmla="*/ 889647 w 1083508"/>
                <a:gd name="connsiteY3807" fmla="*/ 689432 h 1387660"/>
                <a:gd name="connsiteX3808" fmla="*/ 891276 w 1083508"/>
                <a:gd name="connsiteY3808" fmla="*/ 693667 h 1387660"/>
                <a:gd name="connsiteX3809" fmla="*/ 895349 w 1083508"/>
                <a:gd name="connsiteY3809" fmla="*/ 696762 h 1387660"/>
                <a:gd name="connsiteX3810" fmla="*/ 897792 w 1083508"/>
                <a:gd name="connsiteY3810" fmla="*/ 694970 h 1387660"/>
                <a:gd name="connsiteX3811" fmla="*/ 898118 w 1083508"/>
                <a:gd name="connsiteY3811" fmla="*/ 690735 h 1387660"/>
                <a:gd name="connsiteX3812" fmla="*/ 900236 w 1083508"/>
                <a:gd name="connsiteY3812" fmla="*/ 688128 h 1387660"/>
                <a:gd name="connsiteX3813" fmla="*/ 899584 w 1083508"/>
                <a:gd name="connsiteY3813" fmla="*/ 683567 h 1387660"/>
                <a:gd name="connsiteX3814" fmla="*/ 894860 w 1083508"/>
                <a:gd name="connsiteY3814" fmla="*/ 680309 h 1387660"/>
                <a:gd name="connsiteX3815" fmla="*/ 891602 w 1083508"/>
                <a:gd name="connsiteY3815" fmla="*/ 679820 h 1387660"/>
                <a:gd name="connsiteX3816" fmla="*/ 891602 w 1083508"/>
                <a:gd name="connsiteY3816" fmla="*/ 679820 h 1387660"/>
                <a:gd name="connsiteX3817" fmla="*/ 922554 w 1083508"/>
                <a:gd name="connsiteY3817" fmla="*/ 660108 h 1387660"/>
                <a:gd name="connsiteX3818" fmla="*/ 922554 w 1083508"/>
                <a:gd name="connsiteY3818" fmla="*/ 670860 h 1387660"/>
                <a:gd name="connsiteX3819" fmla="*/ 920762 w 1083508"/>
                <a:gd name="connsiteY3819" fmla="*/ 676399 h 1387660"/>
                <a:gd name="connsiteX3820" fmla="*/ 922392 w 1083508"/>
                <a:gd name="connsiteY3820" fmla="*/ 680797 h 1387660"/>
                <a:gd name="connsiteX3821" fmla="*/ 926790 w 1083508"/>
                <a:gd name="connsiteY3821" fmla="*/ 684544 h 1387660"/>
                <a:gd name="connsiteX3822" fmla="*/ 932166 w 1083508"/>
                <a:gd name="connsiteY3822" fmla="*/ 683404 h 1387660"/>
                <a:gd name="connsiteX3823" fmla="*/ 937542 w 1083508"/>
                <a:gd name="connsiteY3823" fmla="*/ 683404 h 1387660"/>
                <a:gd name="connsiteX3824" fmla="*/ 939497 w 1083508"/>
                <a:gd name="connsiteY3824" fmla="*/ 681775 h 1387660"/>
                <a:gd name="connsiteX3825" fmla="*/ 940474 w 1083508"/>
                <a:gd name="connsiteY3825" fmla="*/ 685196 h 1387660"/>
                <a:gd name="connsiteX3826" fmla="*/ 944059 w 1083508"/>
                <a:gd name="connsiteY3826" fmla="*/ 686825 h 1387660"/>
                <a:gd name="connsiteX3827" fmla="*/ 946502 w 1083508"/>
                <a:gd name="connsiteY3827" fmla="*/ 681612 h 1387660"/>
                <a:gd name="connsiteX3828" fmla="*/ 948783 w 1083508"/>
                <a:gd name="connsiteY3828" fmla="*/ 680146 h 1387660"/>
                <a:gd name="connsiteX3829" fmla="*/ 948783 w 1083508"/>
                <a:gd name="connsiteY3829" fmla="*/ 672815 h 1387660"/>
                <a:gd name="connsiteX3830" fmla="*/ 945687 w 1083508"/>
                <a:gd name="connsiteY3830" fmla="*/ 670860 h 1387660"/>
                <a:gd name="connsiteX3831" fmla="*/ 944384 w 1083508"/>
                <a:gd name="connsiteY3831" fmla="*/ 674118 h 1387660"/>
                <a:gd name="connsiteX3832" fmla="*/ 944384 w 1083508"/>
                <a:gd name="connsiteY3832" fmla="*/ 677213 h 1387660"/>
                <a:gd name="connsiteX3833" fmla="*/ 941289 w 1083508"/>
                <a:gd name="connsiteY3833" fmla="*/ 675421 h 1387660"/>
                <a:gd name="connsiteX3834" fmla="*/ 938194 w 1083508"/>
                <a:gd name="connsiteY3834" fmla="*/ 670371 h 1387660"/>
                <a:gd name="connsiteX3835" fmla="*/ 938519 w 1083508"/>
                <a:gd name="connsiteY3835" fmla="*/ 667113 h 1387660"/>
                <a:gd name="connsiteX3836" fmla="*/ 935261 w 1083508"/>
                <a:gd name="connsiteY3836" fmla="*/ 663040 h 1387660"/>
                <a:gd name="connsiteX3837" fmla="*/ 937705 w 1083508"/>
                <a:gd name="connsiteY3837" fmla="*/ 660760 h 1387660"/>
                <a:gd name="connsiteX3838" fmla="*/ 940149 w 1083508"/>
                <a:gd name="connsiteY3838" fmla="*/ 660760 h 1387660"/>
                <a:gd name="connsiteX3839" fmla="*/ 940474 w 1083508"/>
                <a:gd name="connsiteY3839" fmla="*/ 656687 h 1387660"/>
                <a:gd name="connsiteX3840" fmla="*/ 937216 w 1083508"/>
                <a:gd name="connsiteY3840" fmla="*/ 655058 h 1387660"/>
                <a:gd name="connsiteX3841" fmla="*/ 932818 w 1083508"/>
                <a:gd name="connsiteY3841" fmla="*/ 659130 h 1387660"/>
                <a:gd name="connsiteX3842" fmla="*/ 928908 w 1083508"/>
                <a:gd name="connsiteY3842" fmla="*/ 658153 h 1387660"/>
                <a:gd name="connsiteX3843" fmla="*/ 927116 w 1083508"/>
                <a:gd name="connsiteY3843" fmla="*/ 659456 h 1387660"/>
                <a:gd name="connsiteX3844" fmla="*/ 923043 w 1083508"/>
                <a:gd name="connsiteY3844" fmla="*/ 659945 h 1387660"/>
                <a:gd name="connsiteX3845" fmla="*/ 923043 w 1083508"/>
                <a:gd name="connsiteY3845" fmla="*/ 659945 h 1387660"/>
                <a:gd name="connsiteX3846" fmla="*/ 929071 w 1083508"/>
                <a:gd name="connsiteY3846" fmla="*/ 578816 h 1387660"/>
                <a:gd name="connsiteX3847" fmla="*/ 925324 w 1083508"/>
                <a:gd name="connsiteY3847" fmla="*/ 581912 h 1387660"/>
                <a:gd name="connsiteX3848" fmla="*/ 925813 w 1083508"/>
                <a:gd name="connsiteY3848" fmla="*/ 583866 h 1387660"/>
                <a:gd name="connsiteX3849" fmla="*/ 928582 w 1083508"/>
                <a:gd name="connsiteY3849" fmla="*/ 586310 h 1387660"/>
                <a:gd name="connsiteX3850" fmla="*/ 929234 w 1083508"/>
                <a:gd name="connsiteY3850" fmla="*/ 589242 h 1387660"/>
                <a:gd name="connsiteX3851" fmla="*/ 926953 w 1083508"/>
                <a:gd name="connsiteY3851" fmla="*/ 591686 h 1387660"/>
                <a:gd name="connsiteX3852" fmla="*/ 926953 w 1083508"/>
                <a:gd name="connsiteY3852" fmla="*/ 598365 h 1387660"/>
                <a:gd name="connsiteX3853" fmla="*/ 929885 w 1083508"/>
                <a:gd name="connsiteY3853" fmla="*/ 604067 h 1387660"/>
                <a:gd name="connsiteX3854" fmla="*/ 930211 w 1083508"/>
                <a:gd name="connsiteY3854" fmla="*/ 612050 h 1387660"/>
                <a:gd name="connsiteX3855" fmla="*/ 928582 w 1083508"/>
                <a:gd name="connsiteY3855" fmla="*/ 617426 h 1387660"/>
                <a:gd name="connsiteX3856" fmla="*/ 928582 w 1083508"/>
                <a:gd name="connsiteY3856" fmla="*/ 623127 h 1387660"/>
                <a:gd name="connsiteX3857" fmla="*/ 930211 w 1083508"/>
                <a:gd name="connsiteY3857" fmla="*/ 625571 h 1387660"/>
                <a:gd name="connsiteX3858" fmla="*/ 932166 w 1083508"/>
                <a:gd name="connsiteY3858" fmla="*/ 622965 h 1387660"/>
                <a:gd name="connsiteX3859" fmla="*/ 932981 w 1083508"/>
                <a:gd name="connsiteY3859" fmla="*/ 615797 h 1387660"/>
                <a:gd name="connsiteX3860" fmla="*/ 935261 w 1083508"/>
                <a:gd name="connsiteY3860" fmla="*/ 613353 h 1387660"/>
                <a:gd name="connsiteX3861" fmla="*/ 934610 w 1083508"/>
                <a:gd name="connsiteY3861" fmla="*/ 606185 h 1387660"/>
                <a:gd name="connsiteX3862" fmla="*/ 931514 w 1083508"/>
                <a:gd name="connsiteY3862" fmla="*/ 600646 h 1387660"/>
                <a:gd name="connsiteX3863" fmla="*/ 930700 w 1083508"/>
                <a:gd name="connsiteY3863" fmla="*/ 590709 h 1387660"/>
                <a:gd name="connsiteX3864" fmla="*/ 932329 w 1083508"/>
                <a:gd name="connsiteY3864" fmla="*/ 585333 h 1387660"/>
                <a:gd name="connsiteX3865" fmla="*/ 931352 w 1083508"/>
                <a:gd name="connsiteY3865" fmla="*/ 581260 h 1387660"/>
                <a:gd name="connsiteX3866" fmla="*/ 928908 w 1083508"/>
                <a:gd name="connsiteY3866" fmla="*/ 578653 h 1387660"/>
                <a:gd name="connsiteX3867" fmla="*/ 928908 w 1083508"/>
                <a:gd name="connsiteY3867" fmla="*/ 578653 h 1387660"/>
                <a:gd name="connsiteX3868" fmla="*/ 890787 w 1083508"/>
                <a:gd name="connsiteY3868" fmla="*/ 591197 h 1387660"/>
                <a:gd name="connsiteX3869" fmla="*/ 889321 w 1083508"/>
                <a:gd name="connsiteY3869" fmla="*/ 594781 h 1387660"/>
                <a:gd name="connsiteX3870" fmla="*/ 891276 w 1083508"/>
                <a:gd name="connsiteY3870" fmla="*/ 596248 h 1387660"/>
                <a:gd name="connsiteX3871" fmla="*/ 896326 w 1083508"/>
                <a:gd name="connsiteY3871" fmla="*/ 596248 h 1387660"/>
                <a:gd name="connsiteX3872" fmla="*/ 899095 w 1083508"/>
                <a:gd name="connsiteY3872" fmla="*/ 593152 h 1387660"/>
                <a:gd name="connsiteX3873" fmla="*/ 896815 w 1083508"/>
                <a:gd name="connsiteY3873" fmla="*/ 590220 h 1387660"/>
                <a:gd name="connsiteX3874" fmla="*/ 892579 w 1083508"/>
                <a:gd name="connsiteY3874" fmla="*/ 589405 h 1387660"/>
                <a:gd name="connsiteX3875" fmla="*/ 890787 w 1083508"/>
                <a:gd name="connsiteY3875" fmla="*/ 591197 h 1387660"/>
                <a:gd name="connsiteX3876" fmla="*/ 890787 w 1083508"/>
                <a:gd name="connsiteY3876" fmla="*/ 591197 h 1387660"/>
                <a:gd name="connsiteX3877" fmla="*/ 884597 w 1083508"/>
                <a:gd name="connsiteY3877" fmla="*/ 582889 h 1387660"/>
                <a:gd name="connsiteX3878" fmla="*/ 887040 w 1083508"/>
                <a:gd name="connsiteY3878" fmla="*/ 586473 h 1387660"/>
                <a:gd name="connsiteX3879" fmla="*/ 889973 w 1083508"/>
                <a:gd name="connsiteY3879" fmla="*/ 585007 h 1387660"/>
                <a:gd name="connsiteX3880" fmla="*/ 888181 w 1083508"/>
                <a:gd name="connsiteY3880" fmla="*/ 581423 h 1387660"/>
                <a:gd name="connsiteX3881" fmla="*/ 885900 w 1083508"/>
                <a:gd name="connsiteY3881" fmla="*/ 581423 h 1387660"/>
                <a:gd name="connsiteX3882" fmla="*/ 884760 w 1083508"/>
                <a:gd name="connsiteY3882" fmla="*/ 582889 h 1387660"/>
                <a:gd name="connsiteX3883" fmla="*/ 884760 w 1083508"/>
                <a:gd name="connsiteY3883" fmla="*/ 582889 h 1387660"/>
                <a:gd name="connsiteX3884" fmla="*/ 917830 w 1083508"/>
                <a:gd name="connsiteY3884" fmla="*/ 498828 h 1387660"/>
                <a:gd name="connsiteX3885" fmla="*/ 921414 w 1083508"/>
                <a:gd name="connsiteY3885" fmla="*/ 504855 h 1387660"/>
                <a:gd name="connsiteX3886" fmla="*/ 925161 w 1083508"/>
                <a:gd name="connsiteY3886" fmla="*/ 507136 h 1387660"/>
                <a:gd name="connsiteX3887" fmla="*/ 928256 w 1083508"/>
                <a:gd name="connsiteY3887" fmla="*/ 507462 h 1387660"/>
                <a:gd name="connsiteX3888" fmla="*/ 928256 w 1083508"/>
                <a:gd name="connsiteY3888" fmla="*/ 504367 h 1387660"/>
                <a:gd name="connsiteX3889" fmla="*/ 924509 w 1083508"/>
                <a:gd name="connsiteY3889" fmla="*/ 502412 h 1387660"/>
                <a:gd name="connsiteX3890" fmla="*/ 920925 w 1083508"/>
                <a:gd name="connsiteY3890" fmla="*/ 497687 h 1387660"/>
                <a:gd name="connsiteX3891" fmla="*/ 918808 w 1083508"/>
                <a:gd name="connsiteY3891" fmla="*/ 497362 h 1387660"/>
                <a:gd name="connsiteX3892" fmla="*/ 917830 w 1083508"/>
                <a:gd name="connsiteY3892" fmla="*/ 498828 h 1387660"/>
                <a:gd name="connsiteX3893" fmla="*/ 917830 w 1083508"/>
                <a:gd name="connsiteY3893" fmla="*/ 498828 h 1387660"/>
                <a:gd name="connsiteX3894" fmla="*/ 950086 w 1083508"/>
                <a:gd name="connsiteY3894" fmla="*/ 518540 h 1387660"/>
                <a:gd name="connsiteX3895" fmla="*/ 951063 w 1083508"/>
                <a:gd name="connsiteY3895" fmla="*/ 521309 h 1387660"/>
                <a:gd name="connsiteX3896" fmla="*/ 954810 w 1083508"/>
                <a:gd name="connsiteY3896" fmla="*/ 521309 h 1387660"/>
                <a:gd name="connsiteX3897" fmla="*/ 956440 w 1083508"/>
                <a:gd name="connsiteY3897" fmla="*/ 518377 h 1387660"/>
                <a:gd name="connsiteX3898" fmla="*/ 955625 w 1083508"/>
                <a:gd name="connsiteY3898" fmla="*/ 515607 h 1387660"/>
                <a:gd name="connsiteX3899" fmla="*/ 956440 w 1083508"/>
                <a:gd name="connsiteY3899" fmla="*/ 510883 h 1387660"/>
                <a:gd name="connsiteX3900" fmla="*/ 958557 w 1083508"/>
                <a:gd name="connsiteY3900" fmla="*/ 507951 h 1387660"/>
                <a:gd name="connsiteX3901" fmla="*/ 958232 w 1083508"/>
                <a:gd name="connsiteY3901" fmla="*/ 502738 h 1387660"/>
                <a:gd name="connsiteX3902" fmla="*/ 953181 w 1083508"/>
                <a:gd name="connsiteY3902" fmla="*/ 509254 h 1387660"/>
                <a:gd name="connsiteX3903" fmla="*/ 952855 w 1083508"/>
                <a:gd name="connsiteY3903" fmla="*/ 514304 h 1387660"/>
                <a:gd name="connsiteX3904" fmla="*/ 950249 w 1083508"/>
                <a:gd name="connsiteY3904" fmla="*/ 518703 h 1387660"/>
                <a:gd name="connsiteX3905" fmla="*/ 950249 w 1083508"/>
                <a:gd name="connsiteY3905" fmla="*/ 518703 h 1387660"/>
                <a:gd name="connsiteX3906" fmla="*/ 935587 w 1083508"/>
                <a:gd name="connsiteY3906" fmla="*/ 489216 h 1387660"/>
                <a:gd name="connsiteX3907" fmla="*/ 936728 w 1083508"/>
                <a:gd name="connsiteY3907" fmla="*/ 490194 h 1387660"/>
                <a:gd name="connsiteX3908" fmla="*/ 938845 w 1083508"/>
                <a:gd name="connsiteY3908" fmla="*/ 489053 h 1387660"/>
                <a:gd name="connsiteX3909" fmla="*/ 940311 w 1083508"/>
                <a:gd name="connsiteY3909" fmla="*/ 483840 h 1387660"/>
                <a:gd name="connsiteX3910" fmla="*/ 939986 w 1083508"/>
                <a:gd name="connsiteY3910" fmla="*/ 480745 h 1387660"/>
                <a:gd name="connsiteX3911" fmla="*/ 938357 w 1083508"/>
                <a:gd name="connsiteY3911" fmla="*/ 482537 h 1387660"/>
                <a:gd name="connsiteX3912" fmla="*/ 935587 w 1083508"/>
                <a:gd name="connsiteY3912" fmla="*/ 489216 h 1387660"/>
                <a:gd name="connsiteX3913" fmla="*/ 935587 w 1083508"/>
                <a:gd name="connsiteY3913" fmla="*/ 489216 h 1387660"/>
                <a:gd name="connsiteX3914" fmla="*/ 938519 w 1083508"/>
                <a:gd name="connsiteY3914" fmla="*/ 470807 h 1387660"/>
                <a:gd name="connsiteX3915" fmla="*/ 937542 w 1083508"/>
                <a:gd name="connsiteY3915" fmla="*/ 472599 h 1387660"/>
                <a:gd name="connsiteX3916" fmla="*/ 939497 w 1083508"/>
                <a:gd name="connsiteY3916" fmla="*/ 474229 h 1387660"/>
                <a:gd name="connsiteX3917" fmla="*/ 940637 w 1083508"/>
                <a:gd name="connsiteY3917" fmla="*/ 473088 h 1387660"/>
                <a:gd name="connsiteX3918" fmla="*/ 940963 w 1083508"/>
                <a:gd name="connsiteY3918" fmla="*/ 470807 h 1387660"/>
                <a:gd name="connsiteX3919" fmla="*/ 938519 w 1083508"/>
                <a:gd name="connsiteY3919" fmla="*/ 470807 h 1387660"/>
                <a:gd name="connsiteX3920" fmla="*/ 960675 w 1083508"/>
                <a:gd name="connsiteY3920" fmla="*/ 415907 h 1387660"/>
                <a:gd name="connsiteX3921" fmla="*/ 963119 w 1083508"/>
                <a:gd name="connsiteY3921" fmla="*/ 420306 h 1387660"/>
                <a:gd name="connsiteX3922" fmla="*/ 963119 w 1083508"/>
                <a:gd name="connsiteY3922" fmla="*/ 422586 h 1387660"/>
                <a:gd name="connsiteX3923" fmla="*/ 967843 w 1083508"/>
                <a:gd name="connsiteY3923" fmla="*/ 419328 h 1387660"/>
                <a:gd name="connsiteX3924" fmla="*/ 969798 w 1083508"/>
                <a:gd name="connsiteY3924" fmla="*/ 412812 h 1387660"/>
                <a:gd name="connsiteX3925" fmla="*/ 969472 w 1083508"/>
                <a:gd name="connsiteY3925" fmla="*/ 407436 h 1387660"/>
                <a:gd name="connsiteX3926" fmla="*/ 970776 w 1083508"/>
                <a:gd name="connsiteY3926" fmla="*/ 403689 h 1387660"/>
                <a:gd name="connsiteX3927" fmla="*/ 968495 w 1083508"/>
                <a:gd name="connsiteY3927" fmla="*/ 402060 h 1387660"/>
                <a:gd name="connsiteX3928" fmla="*/ 965237 w 1083508"/>
                <a:gd name="connsiteY3928" fmla="*/ 404340 h 1387660"/>
                <a:gd name="connsiteX3929" fmla="*/ 963933 w 1083508"/>
                <a:gd name="connsiteY3929" fmla="*/ 408576 h 1387660"/>
                <a:gd name="connsiteX3930" fmla="*/ 960675 w 1083508"/>
                <a:gd name="connsiteY3930" fmla="*/ 415907 h 1387660"/>
                <a:gd name="connsiteX3931" fmla="*/ 960675 w 1083508"/>
                <a:gd name="connsiteY3931" fmla="*/ 415907 h 1387660"/>
                <a:gd name="connsiteX3932" fmla="*/ 946013 w 1083508"/>
                <a:gd name="connsiteY3932" fmla="*/ 341295 h 1387660"/>
                <a:gd name="connsiteX3933" fmla="*/ 947968 w 1083508"/>
                <a:gd name="connsiteY3933" fmla="*/ 341295 h 1387660"/>
                <a:gd name="connsiteX3934" fmla="*/ 949760 w 1083508"/>
                <a:gd name="connsiteY3934" fmla="*/ 339014 h 1387660"/>
                <a:gd name="connsiteX3935" fmla="*/ 955951 w 1083508"/>
                <a:gd name="connsiteY3935" fmla="*/ 339503 h 1387660"/>
                <a:gd name="connsiteX3936" fmla="*/ 959535 w 1083508"/>
                <a:gd name="connsiteY3936" fmla="*/ 335593 h 1387660"/>
                <a:gd name="connsiteX3937" fmla="*/ 959535 w 1083508"/>
                <a:gd name="connsiteY3937" fmla="*/ 329891 h 1387660"/>
                <a:gd name="connsiteX3938" fmla="*/ 956114 w 1083508"/>
                <a:gd name="connsiteY3938" fmla="*/ 326307 h 1387660"/>
                <a:gd name="connsiteX3939" fmla="*/ 947805 w 1083508"/>
                <a:gd name="connsiteY3939" fmla="*/ 329891 h 1387660"/>
                <a:gd name="connsiteX3940" fmla="*/ 945851 w 1083508"/>
                <a:gd name="connsiteY3940" fmla="*/ 336896 h 1387660"/>
                <a:gd name="connsiteX3941" fmla="*/ 946176 w 1083508"/>
                <a:gd name="connsiteY3941" fmla="*/ 341458 h 1387660"/>
                <a:gd name="connsiteX3942" fmla="*/ 946176 w 1083508"/>
                <a:gd name="connsiteY3942" fmla="*/ 341458 h 1387660"/>
                <a:gd name="connsiteX3943" fmla="*/ 997981 w 1083508"/>
                <a:gd name="connsiteY3943" fmla="*/ 199890 h 1387660"/>
                <a:gd name="connsiteX3944" fmla="*/ 1000425 w 1083508"/>
                <a:gd name="connsiteY3944" fmla="*/ 197935 h 1387660"/>
                <a:gd name="connsiteX3945" fmla="*/ 1001402 w 1083508"/>
                <a:gd name="connsiteY3945" fmla="*/ 192559 h 1387660"/>
                <a:gd name="connsiteX3946" fmla="*/ 1000588 w 1083508"/>
                <a:gd name="connsiteY3946" fmla="*/ 184413 h 1387660"/>
                <a:gd name="connsiteX3947" fmla="*/ 1001402 w 1083508"/>
                <a:gd name="connsiteY3947" fmla="*/ 181481 h 1387660"/>
                <a:gd name="connsiteX3948" fmla="*/ 1000588 w 1083508"/>
                <a:gd name="connsiteY3948" fmla="*/ 176594 h 1387660"/>
                <a:gd name="connsiteX3949" fmla="*/ 996515 w 1083508"/>
                <a:gd name="connsiteY3949" fmla="*/ 178548 h 1387660"/>
                <a:gd name="connsiteX3950" fmla="*/ 996027 w 1083508"/>
                <a:gd name="connsiteY3950" fmla="*/ 181644 h 1387660"/>
                <a:gd name="connsiteX3951" fmla="*/ 997167 w 1083508"/>
                <a:gd name="connsiteY3951" fmla="*/ 183273 h 1387660"/>
                <a:gd name="connsiteX3952" fmla="*/ 997167 w 1083508"/>
                <a:gd name="connsiteY3952" fmla="*/ 187834 h 1387660"/>
                <a:gd name="connsiteX3953" fmla="*/ 995375 w 1083508"/>
                <a:gd name="connsiteY3953" fmla="*/ 192396 h 1387660"/>
                <a:gd name="connsiteX3954" fmla="*/ 997819 w 1083508"/>
                <a:gd name="connsiteY3954" fmla="*/ 199727 h 1387660"/>
                <a:gd name="connsiteX3955" fmla="*/ 997819 w 1083508"/>
                <a:gd name="connsiteY3955" fmla="*/ 199727 h 1387660"/>
                <a:gd name="connsiteX3956" fmla="*/ 982994 w 1083508"/>
                <a:gd name="connsiteY3956" fmla="*/ 216343 h 1387660"/>
                <a:gd name="connsiteX3957" fmla="*/ 985111 w 1083508"/>
                <a:gd name="connsiteY3957" fmla="*/ 216995 h 1387660"/>
                <a:gd name="connsiteX3958" fmla="*/ 986252 w 1083508"/>
                <a:gd name="connsiteY3958" fmla="*/ 213411 h 1387660"/>
                <a:gd name="connsiteX3959" fmla="*/ 986252 w 1083508"/>
                <a:gd name="connsiteY3959" fmla="*/ 204777 h 1387660"/>
                <a:gd name="connsiteX3960" fmla="*/ 984623 w 1083508"/>
                <a:gd name="connsiteY3960" fmla="*/ 202659 h 1387660"/>
                <a:gd name="connsiteX3961" fmla="*/ 981528 w 1083508"/>
                <a:gd name="connsiteY3961" fmla="*/ 205103 h 1387660"/>
                <a:gd name="connsiteX3962" fmla="*/ 980224 w 1083508"/>
                <a:gd name="connsiteY3962" fmla="*/ 209990 h 1387660"/>
                <a:gd name="connsiteX3963" fmla="*/ 982831 w 1083508"/>
                <a:gd name="connsiteY3963" fmla="*/ 216343 h 1387660"/>
                <a:gd name="connsiteX3964" fmla="*/ 982831 w 1083508"/>
                <a:gd name="connsiteY3964" fmla="*/ 216343 h 1387660"/>
                <a:gd name="connsiteX3965" fmla="*/ 974034 w 1083508"/>
                <a:gd name="connsiteY3965" fmla="*/ 201682 h 1387660"/>
                <a:gd name="connsiteX3966" fmla="*/ 975663 w 1083508"/>
                <a:gd name="connsiteY3966" fmla="*/ 203311 h 1387660"/>
                <a:gd name="connsiteX3967" fmla="*/ 979410 w 1083508"/>
                <a:gd name="connsiteY3967" fmla="*/ 199727 h 1387660"/>
                <a:gd name="connsiteX3968" fmla="*/ 980061 w 1083508"/>
                <a:gd name="connsiteY3968" fmla="*/ 194025 h 1387660"/>
                <a:gd name="connsiteX3969" fmla="*/ 981365 w 1083508"/>
                <a:gd name="connsiteY3969" fmla="*/ 192233 h 1387660"/>
                <a:gd name="connsiteX3970" fmla="*/ 981690 w 1083508"/>
                <a:gd name="connsiteY3970" fmla="*/ 187508 h 1387660"/>
                <a:gd name="connsiteX3971" fmla="*/ 979573 w 1083508"/>
                <a:gd name="connsiteY3971" fmla="*/ 185391 h 1387660"/>
                <a:gd name="connsiteX3972" fmla="*/ 975989 w 1083508"/>
                <a:gd name="connsiteY3972" fmla="*/ 186531 h 1387660"/>
                <a:gd name="connsiteX3973" fmla="*/ 972893 w 1083508"/>
                <a:gd name="connsiteY3973" fmla="*/ 191744 h 1387660"/>
                <a:gd name="connsiteX3974" fmla="*/ 974034 w 1083508"/>
                <a:gd name="connsiteY3974" fmla="*/ 195491 h 1387660"/>
                <a:gd name="connsiteX3975" fmla="*/ 973708 w 1083508"/>
                <a:gd name="connsiteY3975" fmla="*/ 201519 h 1387660"/>
                <a:gd name="connsiteX3976" fmla="*/ 973708 w 1083508"/>
                <a:gd name="connsiteY3976" fmla="*/ 201519 h 1387660"/>
                <a:gd name="connsiteX3977" fmla="*/ 705560 w 1083508"/>
                <a:gd name="connsiteY3977" fmla="*/ 13359 h 1387660"/>
                <a:gd name="connsiteX3978" fmla="*/ 707352 w 1083508"/>
                <a:gd name="connsiteY3978" fmla="*/ 13847 h 1387660"/>
                <a:gd name="connsiteX3979" fmla="*/ 708818 w 1083508"/>
                <a:gd name="connsiteY3979" fmla="*/ 12055 h 1387660"/>
                <a:gd name="connsiteX3980" fmla="*/ 709795 w 1083508"/>
                <a:gd name="connsiteY3980" fmla="*/ 7494 h 1387660"/>
                <a:gd name="connsiteX3981" fmla="*/ 707840 w 1083508"/>
                <a:gd name="connsiteY3981" fmla="*/ 4399 h 1387660"/>
                <a:gd name="connsiteX3982" fmla="*/ 705071 w 1083508"/>
                <a:gd name="connsiteY3982" fmla="*/ 4399 h 1387660"/>
                <a:gd name="connsiteX3983" fmla="*/ 703442 w 1083508"/>
                <a:gd name="connsiteY3983" fmla="*/ 8634 h 1387660"/>
                <a:gd name="connsiteX3984" fmla="*/ 705396 w 1083508"/>
                <a:gd name="connsiteY3984" fmla="*/ 13196 h 1387660"/>
                <a:gd name="connsiteX3985" fmla="*/ 705396 w 1083508"/>
                <a:gd name="connsiteY3985" fmla="*/ 13196 h 1387660"/>
                <a:gd name="connsiteX3986" fmla="*/ 706211 w 1083508"/>
                <a:gd name="connsiteY3986" fmla="*/ 22644 h 1387660"/>
                <a:gd name="connsiteX3987" fmla="*/ 707352 w 1083508"/>
                <a:gd name="connsiteY3987" fmla="*/ 24436 h 1387660"/>
                <a:gd name="connsiteX3988" fmla="*/ 710936 w 1083508"/>
                <a:gd name="connsiteY3988" fmla="*/ 24436 h 1387660"/>
                <a:gd name="connsiteX3989" fmla="*/ 713379 w 1083508"/>
                <a:gd name="connsiteY3989" fmla="*/ 20689 h 1387660"/>
                <a:gd name="connsiteX3990" fmla="*/ 713379 w 1083508"/>
                <a:gd name="connsiteY3990" fmla="*/ 16617 h 1387660"/>
                <a:gd name="connsiteX3991" fmla="*/ 710284 w 1083508"/>
                <a:gd name="connsiteY3991" fmla="*/ 16617 h 1387660"/>
                <a:gd name="connsiteX3992" fmla="*/ 706374 w 1083508"/>
                <a:gd name="connsiteY3992" fmla="*/ 19223 h 1387660"/>
                <a:gd name="connsiteX3993" fmla="*/ 706374 w 1083508"/>
                <a:gd name="connsiteY3993" fmla="*/ 22644 h 1387660"/>
                <a:gd name="connsiteX3994" fmla="*/ 706374 w 1083508"/>
                <a:gd name="connsiteY3994" fmla="*/ 22644 h 1387660"/>
                <a:gd name="connsiteX3995" fmla="*/ 685033 w 1083508"/>
                <a:gd name="connsiteY3995" fmla="*/ 23296 h 1387660"/>
                <a:gd name="connsiteX3996" fmla="*/ 688128 w 1083508"/>
                <a:gd name="connsiteY3996" fmla="*/ 28672 h 1387660"/>
                <a:gd name="connsiteX3997" fmla="*/ 689431 w 1083508"/>
                <a:gd name="connsiteY3997" fmla="*/ 32256 h 1387660"/>
                <a:gd name="connsiteX3998" fmla="*/ 692853 w 1083508"/>
                <a:gd name="connsiteY3998" fmla="*/ 32256 h 1387660"/>
                <a:gd name="connsiteX3999" fmla="*/ 695459 w 1083508"/>
                <a:gd name="connsiteY3999" fmla="*/ 28509 h 1387660"/>
                <a:gd name="connsiteX4000" fmla="*/ 698066 w 1083508"/>
                <a:gd name="connsiteY4000" fmla="*/ 26880 h 1387660"/>
                <a:gd name="connsiteX4001" fmla="*/ 691223 w 1083508"/>
                <a:gd name="connsiteY4001" fmla="*/ 20527 h 1387660"/>
                <a:gd name="connsiteX4002" fmla="*/ 690409 w 1083508"/>
                <a:gd name="connsiteY4002" fmla="*/ 16617 h 1387660"/>
                <a:gd name="connsiteX4003" fmla="*/ 687802 w 1083508"/>
                <a:gd name="connsiteY4003" fmla="*/ 13847 h 1387660"/>
                <a:gd name="connsiteX4004" fmla="*/ 686173 w 1083508"/>
                <a:gd name="connsiteY4004" fmla="*/ 15639 h 1387660"/>
                <a:gd name="connsiteX4005" fmla="*/ 685196 w 1083508"/>
                <a:gd name="connsiteY4005" fmla="*/ 19223 h 1387660"/>
                <a:gd name="connsiteX4006" fmla="*/ 683730 w 1083508"/>
                <a:gd name="connsiteY4006" fmla="*/ 20364 h 1387660"/>
                <a:gd name="connsiteX4007" fmla="*/ 685033 w 1083508"/>
                <a:gd name="connsiteY4007" fmla="*/ 23133 h 1387660"/>
                <a:gd name="connsiteX4008" fmla="*/ 685033 w 1083508"/>
                <a:gd name="connsiteY4008" fmla="*/ 23133 h 1387660"/>
                <a:gd name="connsiteX4009" fmla="*/ 671674 w 1083508"/>
                <a:gd name="connsiteY4009" fmla="*/ 28346 h 1387660"/>
                <a:gd name="connsiteX4010" fmla="*/ 671674 w 1083508"/>
                <a:gd name="connsiteY4010" fmla="*/ 31441 h 1387660"/>
                <a:gd name="connsiteX4011" fmla="*/ 674118 w 1083508"/>
                <a:gd name="connsiteY4011" fmla="*/ 32582 h 1387660"/>
                <a:gd name="connsiteX4012" fmla="*/ 676562 w 1083508"/>
                <a:gd name="connsiteY4012" fmla="*/ 31441 h 1387660"/>
                <a:gd name="connsiteX4013" fmla="*/ 676562 w 1083508"/>
                <a:gd name="connsiteY4013" fmla="*/ 29161 h 1387660"/>
                <a:gd name="connsiteX4014" fmla="*/ 672815 w 1083508"/>
                <a:gd name="connsiteY4014" fmla="*/ 26880 h 1387660"/>
                <a:gd name="connsiteX4015" fmla="*/ 671674 w 1083508"/>
                <a:gd name="connsiteY4015" fmla="*/ 28346 h 1387660"/>
                <a:gd name="connsiteX4016" fmla="*/ 671674 w 1083508"/>
                <a:gd name="connsiteY4016" fmla="*/ 28346 h 1387660"/>
                <a:gd name="connsiteX4017" fmla="*/ 594944 w 1083508"/>
                <a:gd name="connsiteY4017" fmla="*/ 48384 h 1387660"/>
                <a:gd name="connsiteX4018" fmla="*/ 596573 w 1083508"/>
                <a:gd name="connsiteY4018" fmla="*/ 53108 h 1387660"/>
                <a:gd name="connsiteX4019" fmla="*/ 600972 w 1083508"/>
                <a:gd name="connsiteY4019" fmla="*/ 55063 h 1387660"/>
                <a:gd name="connsiteX4020" fmla="*/ 606837 w 1083508"/>
                <a:gd name="connsiteY4020" fmla="*/ 61417 h 1387660"/>
                <a:gd name="connsiteX4021" fmla="*/ 610909 w 1083508"/>
                <a:gd name="connsiteY4021" fmla="*/ 62394 h 1387660"/>
                <a:gd name="connsiteX4022" fmla="*/ 612701 w 1083508"/>
                <a:gd name="connsiteY4022" fmla="*/ 56692 h 1387660"/>
                <a:gd name="connsiteX4023" fmla="*/ 612701 w 1083508"/>
                <a:gd name="connsiteY4023" fmla="*/ 51316 h 1387660"/>
                <a:gd name="connsiteX4024" fmla="*/ 614330 w 1083508"/>
                <a:gd name="connsiteY4024" fmla="*/ 49850 h 1387660"/>
                <a:gd name="connsiteX4025" fmla="*/ 614004 w 1083508"/>
                <a:gd name="connsiteY4025" fmla="*/ 46592 h 1387660"/>
                <a:gd name="connsiteX4026" fmla="*/ 610583 w 1083508"/>
                <a:gd name="connsiteY4026" fmla="*/ 45940 h 1387660"/>
                <a:gd name="connsiteX4027" fmla="*/ 606348 w 1083508"/>
                <a:gd name="connsiteY4027" fmla="*/ 39750 h 1387660"/>
                <a:gd name="connsiteX4028" fmla="*/ 603090 w 1083508"/>
                <a:gd name="connsiteY4028" fmla="*/ 39098 h 1387660"/>
                <a:gd name="connsiteX4029" fmla="*/ 600809 w 1083508"/>
                <a:gd name="connsiteY4029" fmla="*/ 41542 h 1387660"/>
                <a:gd name="connsiteX4030" fmla="*/ 601623 w 1083508"/>
                <a:gd name="connsiteY4030" fmla="*/ 45940 h 1387660"/>
                <a:gd name="connsiteX4031" fmla="*/ 602764 w 1083508"/>
                <a:gd name="connsiteY4031" fmla="*/ 48384 h 1387660"/>
                <a:gd name="connsiteX4032" fmla="*/ 600646 w 1083508"/>
                <a:gd name="connsiteY4032" fmla="*/ 50828 h 1387660"/>
                <a:gd name="connsiteX4033" fmla="*/ 598039 w 1083508"/>
                <a:gd name="connsiteY4033" fmla="*/ 47732 h 1387660"/>
                <a:gd name="connsiteX4034" fmla="*/ 595107 w 1083508"/>
                <a:gd name="connsiteY4034" fmla="*/ 48221 h 1387660"/>
                <a:gd name="connsiteX4035" fmla="*/ 595107 w 1083508"/>
                <a:gd name="connsiteY4035" fmla="*/ 48221 h 1387660"/>
                <a:gd name="connsiteX4036" fmla="*/ 590057 w 1083508"/>
                <a:gd name="connsiteY4036" fmla="*/ 52457 h 1387660"/>
                <a:gd name="connsiteX4037" fmla="*/ 593152 w 1083508"/>
                <a:gd name="connsiteY4037" fmla="*/ 59951 h 1387660"/>
                <a:gd name="connsiteX4038" fmla="*/ 595433 w 1083508"/>
                <a:gd name="connsiteY4038" fmla="*/ 60765 h 1387660"/>
                <a:gd name="connsiteX4039" fmla="*/ 595759 w 1083508"/>
                <a:gd name="connsiteY4039" fmla="*/ 54575 h 1387660"/>
                <a:gd name="connsiteX4040" fmla="*/ 591686 w 1083508"/>
                <a:gd name="connsiteY4040" fmla="*/ 51479 h 1387660"/>
                <a:gd name="connsiteX4041" fmla="*/ 590057 w 1083508"/>
                <a:gd name="connsiteY4041" fmla="*/ 52620 h 1387660"/>
                <a:gd name="connsiteX4042" fmla="*/ 590057 w 1083508"/>
                <a:gd name="connsiteY4042" fmla="*/ 52620 h 1387660"/>
                <a:gd name="connsiteX4043" fmla="*/ 565295 w 1083508"/>
                <a:gd name="connsiteY4043" fmla="*/ 51479 h 1387660"/>
                <a:gd name="connsiteX4044" fmla="*/ 566272 w 1083508"/>
                <a:gd name="connsiteY4044" fmla="*/ 55226 h 1387660"/>
                <a:gd name="connsiteX4045" fmla="*/ 572300 w 1083508"/>
                <a:gd name="connsiteY4045" fmla="*/ 55878 h 1387660"/>
                <a:gd name="connsiteX4046" fmla="*/ 574255 w 1083508"/>
                <a:gd name="connsiteY4046" fmla="*/ 57996 h 1387660"/>
                <a:gd name="connsiteX4047" fmla="*/ 578164 w 1083508"/>
                <a:gd name="connsiteY4047" fmla="*/ 57996 h 1387660"/>
                <a:gd name="connsiteX4048" fmla="*/ 578164 w 1083508"/>
                <a:gd name="connsiteY4048" fmla="*/ 55552 h 1387660"/>
                <a:gd name="connsiteX4049" fmla="*/ 575232 w 1083508"/>
                <a:gd name="connsiteY4049" fmla="*/ 52945 h 1387660"/>
                <a:gd name="connsiteX4050" fmla="*/ 572626 w 1083508"/>
                <a:gd name="connsiteY4050" fmla="*/ 52131 h 1387660"/>
                <a:gd name="connsiteX4051" fmla="*/ 572137 w 1083508"/>
                <a:gd name="connsiteY4051" fmla="*/ 47895 h 1387660"/>
                <a:gd name="connsiteX4052" fmla="*/ 569042 w 1083508"/>
                <a:gd name="connsiteY4052" fmla="*/ 46103 h 1387660"/>
                <a:gd name="connsiteX4053" fmla="*/ 565458 w 1083508"/>
                <a:gd name="connsiteY4053" fmla="*/ 49199 h 1387660"/>
                <a:gd name="connsiteX4054" fmla="*/ 565132 w 1083508"/>
                <a:gd name="connsiteY4054" fmla="*/ 51642 h 1387660"/>
                <a:gd name="connsiteX4055" fmla="*/ 565132 w 1083508"/>
                <a:gd name="connsiteY4055" fmla="*/ 51642 h 1387660"/>
                <a:gd name="connsiteX4056" fmla="*/ 550144 w 1083508"/>
                <a:gd name="connsiteY4056" fmla="*/ 99212 h 1387660"/>
                <a:gd name="connsiteX4057" fmla="*/ 552425 w 1083508"/>
                <a:gd name="connsiteY4057" fmla="*/ 100026 h 1387660"/>
                <a:gd name="connsiteX4058" fmla="*/ 555520 w 1083508"/>
                <a:gd name="connsiteY4058" fmla="*/ 99049 h 1387660"/>
                <a:gd name="connsiteX4059" fmla="*/ 556498 w 1083508"/>
                <a:gd name="connsiteY4059" fmla="*/ 95465 h 1387660"/>
                <a:gd name="connsiteX4060" fmla="*/ 553891 w 1083508"/>
                <a:gd name="connsiteY4060" fmla="*/ 90903 h 1387660"/>
                <a:gd name="connsiteX4061" fmla="*/ 551936 w 1083508"/>
                <a:gd name="connsiteY4061" fmla="*/ 85039 h 1387660"/>
                <a:gd name="connsiteX4062" fmla="*/ 548352 w 1083508"/>
                <a:gd name="connsiteY4062" fmla="*/ 81455 h 1387660"/>
                <a:gd name="connsiteX4063" fmla="*/ 545746 w 1083508"/>
                <a:gd name="connsiteY4063" fmla="*/ 81943 h 1387660"/>
                <a:gd name="connsiteX4064" fmla="*/ 545257 w 1083508"/>
                <a:gd name="connsiteY4064" fmla="*/ 86179 h 1387660"/>
                <a:gd name="connsiteX4065" fmla="*/ 547701 w 1083508"/>
                <a:gd name="connsiteY4065" fmla="*/ 90089 h 1387660"/>
                <a:gd name="connsiteX4066" fmla="*/ 547701 w 1083508"/>
                <a:gd name="connsiteY4066" fmla="*/ 96442 h 1387660"/>
                <a:gd name="connsiteX4067" fmla="*/ 550144 w 1083508"/>
                <a:gd name="connsiteY4067" fmla="*/ 99375 h 1387660"/>
                <a:gd name="connsiteX4068" fmla="*/ 550144 w 1083508"/>
                <a:gd name="connsiteY4068" fmla="*/ 99375 h 1387660"/>
                <a:gd name="connsiteX4069" fmla="*/ 557149 w 1083508"/>
                <a:gd name="connsiteY4069" fmla="*/ 148084 h 1387660"/>
                <a:gd name="connsiteX4070" fmla="*/ 564154 w 1083508"/>
                <a:gd name="connsiteY4070" fmla="*/ 147596 h 1387660"/>
                <a:gd name="connsiteX4071" fmla="*/ 565783 w 1083508"/>
                <a:gd name="connsiteY4071" fmla="*/ 144989 h 1387660"/>
                <a:gd name="connsiteX4072" fmla="*/ 565132 w 1083508"/>
                <a:gd name="connsiteY4072" fmla="*/ 140428 h 1387660"/>
                <a:gd name="connsiteX4073" fmla="*/ 561711 w 1083508"/>
                <a:gd name="connsiteY4073" fmla="*/ 138310 h 1387660"/>
                <a:gd name="connsiteX4074" fmla="*/ 561711 w 1083508"/>
                <a:gd name="connsiteY4074" fmla="*/ 134563 h 1387660"/>
                <a:gd name="connsiteX4075" fmla="*/ 559267 w 1083508"/>
                <a:gd name="connsiteY4075" fmla="*/ 132771 h 1387660"/>
                <a:gd name="connsiteX4076" fmla="*/ 554705 w 1083508"/>
                <a:gd name="connsiteY4076" fmla="*/ 133748 h 1387660"/>
                <a:gd name="connsiteX4077" fmla="*/ 552262 w 1083508"/>
                <a:gd name="connsiteY4077" fmla="*/ 138636 h 1387660"/>
                <a:gd name="connsiteX4078" fmla="*/ 552588 w 1083508"/>
                <a:gd name="connsiteY4078" fmla="*/ 142220 h 1387660"/>
                <a:gd name="connsiteX4079" fmla="*/ 555520 w 1083508"/>
                <a:gd name="connsiteY4079" fmla="*/ 147270 h 1387660"/>
                <a:gd name="connsiteX4080" fmla="*/ 557312 w 1083508"/>
                <a:gd name="connsiteY4080" fmla="*/ 148084 h 1387660"/>
                <a:gd name="connsiteX4081" fmla="*/ 557312 w 1083508"/>
                <a:gd name="connsiteY4081" fmla="*/ 148084 h 1387660"/>
                <a:gd name="connsiteX4082" fmla="*/ 556986 w 1083508"/>
                <a:gd name="connsiteY4082" fmla="*/ 153786 h 1387660"/>
                <a:gd name="connsiteX4083" fmla="*/ 556498 w 1083508"/>
                <a:gd name="connsiteY4083" fmla="*/ 158348 h 1387660"/>
                <a:gd name="connsiteX4084" fmla="*/ 557475 w 1083508"/>
                <a:gd name="connsiteY4084" fmla="*/ 161769 h 1387660"/>
                <a:gd name="connsiteX4085" fmla="*/ 556661 w 1083508"/>
                <a:gd name="connsiteY4085" fmla="*/ 166819 h 1387660"/>
                <a:gd name="connsiteX4086" fmla="*/ 564317 w 1083508"/>
                <a:gd name="connsiteY4086" fmla="*/ 172358 h 1387660"/>
                <a:gd name="connsiteX4087" fmla="*/ 567250 w 1083508"/>
                <a:gd name="connsiteY4087" fmla="*/ 169751 h 1387660"/>
                <a:gd name="connsiteX4088" fmla="*/ 566761 w 1083508"/>
                <a:gd name="connsiteY4088" fmla="*/ 158348 h 1387660"/>
                <a:gd name="connsiteX4089" fmla="*/ 563340 w 1083508"/>
                <a:gd name="connsiteY4089" fmla="*/ 153949 h 1387660"/>
                <a:gd name="connsiteX4090" fmla="*/ 560082 w 1083508"/>
                <a:gd name="connsiteY4090" fmla="*/ 152972 h 1387660"/>
                <a:gd name="connsiteX4091" fmla="*/ 557149 w 1083508"/>
                <a:gd name="connsiteY4091" fmla="*/ 154112 h 1387660"/>
                <a:gd name="connsiteX4092" fmla="*/ 557149 w 1083508"/>
                <a:gd name="connsiteY4092" fmla="*/ 154112 h 1387660"/>
                <a:gd name="connsiteX4093" fmla="*/ 485958 w 1083508"/>
                <a:gd name="connsiteY4093" fmla="*/ 105239 h 1387660"/>
                <a:gd name="connsiteX4094" fmla="*/ 487261 w 1083508"/>
                <a:gd name="connsiteY4094" fmla="*/ 103121 h 1387660"/>
                <a:gd name="connsiteX4095" fmla="*/ 485958 w 1083508"/>
                <a:gd name="connsiteY4095" fmla="*/ 101492 h 1387660"/>
                <a:gd name="connsiteX4096" fmla="*/ 485958 w 1083508"/>
                <a:gd name="connsiteY4096" fmla="*/ 97745 h 1387660"/>
                <a:gd name="connsiteX4097" fmla="*/ 484980 w 1083508"/>
                <a:gd name="connsiteY4097" fmla="*/ 95302 h 1387660"/>
                <a:gd name="connsiteX4098" fmla="*/ 482700 w 1083508"/>
                <a:gd name="connsiteY4098" fmla="*/ 96768 h 1387660"/>
                <a:gd name="connsiteX4099" fmla="*/ 482700 w 1083508"/>
                <a:gd name="connsiteY4099" fmla="*/ 100678 h 1387660"/>
                <a:gd name="connsiteX4100" fmla="*/ 486121 w 1083508"/>
                <a:gd name="connsiteY4100" fmla="*/ 105076 h 1387660"/>
                <a:gd name="connsiteX4101" fmla="*/ 486121 w 1083508"/>
                <a:gd name="connsiteY4101" fmla="*/ 105076 h 1387660"/>
                <a:gd name="connsiteX4102" fmla="*/ 475206 w 1083508"/>
                <a:gd name="connsiteY4102" fmla="*/ 136844 h 1387660"/>
                <a:gd name="connsiteX4103" fmla="*/ 477650 w 1083508"/>
                <a:gd name="connsiteY4103" fmla="*/ 138799 h 1387660"/>
                <a:gd name="connsiteX4104" fmla="*/ 479604 w 1083508"/>
                <a:gd name="connsiteY4104" fmla="*/ 133260 h 1387660"/>
                <a:gd name="connsiteX4105" fmla="*/ 479116 w 1083508"/>
                <a:gd name="connsiteY4105" fmla="*/ 127232 h 1387660"/>
                <a:gd name="connsiteX4106" fmla="*/ 473251 w 1083508"/>
                <a:gd name="connsiteY4106" fmla="*/ 121041 h 1387660"/>
                <a:gd name="connsiteX4107" fmla="*/ 472925 w 1083508"/>
                <a:gd name="connsiteY4107" fmla="*/ 112733 h 1387660"/>
                <a:gd name="connsiteX4108" fmla="*/ 475369 w 1083508"/>
                <a:gd name="connsiteY4108" fmla="*/ 105565 h 1387660"/>
                <a:gd name="connsiteX4109" fmla="*/ 476020 w 1083508"/>
                <a:gd name="connsiteY4109" fmla="*/ 97908 h 1387660"/>
                <a:gd name="connsiteX4110" fmla="*/ 473414 w 1083508"/>
                <a:gd name="connsiteY4110" fmla="*/ 92532 h 1387660"/>
                <a:gd name="connsiteX4111" fmla="*/ 473414 w 1083508"/>
                <a:gd name="connsiteY4111" fmla="*/ 84713 h 1387660"/>
                <a:gd name="connsiteX4112" fmla="*/ 471948 w 1083508"/>
                <a:gd name="connsiteY4112" fmla="*/ 81292 h 1387660"/>
                <a:gd name="connsiteX4113" fmla="*/ 466572 w 1083508"/>
                <a:gd name="connsiteY4113" fmla="*/ 86342 h 1387660"/>
                <a:gd name="connsiteX4114" fmla="*/ 466572 w 1083508"/>
                <a:gd name="connsiteY4114" fmla="*/ 99212 h 1387660"/>
                <a:gd name="connsiteX4115" fmla="*/ 464291 w 1083508"/>
                <a:gd name="connsiteY4115" fmla="*/ 103936 h 1387660"/>
                <a:gd name="connsiteX4116" fmla="*/ 464291 w 1083508"/>
                <a:gd name="connsiteY4116" fmla="*/ 110127 h 1387660"/>
                <a:gd name="connsiteX4117" fmla="*/ 469667 w 1083508"/>
                <a:gd name="connsiteY4117" fmla="*/ 121041 h 1387660"/>
                <a:gd name="connsiteX4118" fmla="*/ 470807 w 1083508"/>
                <a:gd name="connsiteY4118" fmla="*/ 128861 h 1387660"/>
                <a:gd name="connsiteX4119" fmla="*/ 475206 w 1083508"/>
                <a:gd name="connsiteY4119" fmla="*/ 137007 h 1387660"/>
                <a:gd name="connsiteX4120" fmla="*/ 475206 w 1083508"/>
                <a:gd name="connsiteY4120" fmla="*/ 137007 h 1387660"/>
                <a:gd name="connsiteX4121" fmla="*/ 199075 w 1083508"/>
                <a:gd name="connsiteY4121" fmla="*/ 178548 h 1387660"/>
                <a:gd name="connsiteX4122" fmla="*/ 201844 w 1083508"/>
                <a:gd name="connsiteY4122" fmla="*/ 181155 h 1387660"/>
                <a:gd name="connsiteX4123" fmla="*/ 202496 w 1083508"/>
                <a:gd name="connsiteY4123" fmla="*/ 184902 h 1387660"/>
                <a:gd name="connsiteX4124" fmla="*/ 206569 w 1083508"/>
                <a:gd name="connsiteY4124" fmla="*/ 186694 h 1387660"/>
                <a:gd name="connsiteX4125" fmla="*/ 207057 w 1083508"/>
                <a:gd name="connsiteY4125" fmla="*/ 181318 h 1387660"/>
                <a:gd name="connsiteX4126" fmla="*/ 203636 w 1083508"/>
                <a:gd name="connsiteY4126" fmla="*/ 177897 h 1387660"/>
                <a:gd name="connsiteX4127" fmla="*/ 199075 w 1083508"/>
                <a:gd name="connsiteY4127" fmla="*/ 178548 h 1387660"/>
                <a:gd name="connsiteX4128" fmla="*/ 199075 w 1083508"/>
                <a:gd name="connsiteY4128" fmla="*/ 178548 h 1387660"/>
                <a:gd name="connsiteX4129" fmla="*/ 24925 w 1083508"/>
                <a:gd name="connsiteY4129" fmla="*/ 401245 h 1387660"/>
                <a:gd name="connsiteX4130" fmla="*/ 27857 w 1083508"/>
                <a:gd name="connsiteY4130" fmla="*/ 405644 h 1387660"/>
                <a:gd name="connsiteX4131" fmla="*/ 35025 w 1083508"/>
                <a:gd name="connsiteY4131" fmla="*/ 406458 h 1387660"/>
                <a:gd name="connsiteX4132" fmla="*/ 39098 w 1083508"/>
                <a:gd name="connsiteY4132" fmla="*/ 408250 h 1387660"/>
                <a:gd name="connsiteX4133" fmla="*/ 43171 w 1083508"/>
                <a:gd name="connsiteY4133" fmla="*/ 408250 h 1387660"/>
                <a:gd name="connsiteX4134" fmla="*/ 40401 w 1083508"/>
                <a:gd name="connsiteY4134" fmla="*/ 404015 h 1387660"/>
                <a:gd name="connsiteX4135" fmla="*/ 37469 w 1083508"/>
                <a:gd name="connsiteY4135" fmla="*/ 404015 h 1387660"/>
                <a:gd name="connsiteX4136" fmla="*/ 33396 w 1083508"/>
                <a:gd name="connsiteY4136" fmla="*/ 398964 h 1387660"/>
                <a:gd name="connsiteX4137" fmla="*/ 28835 w 1083508"/>
                <a:gd name="connsiteY4137" fmla="*/ 400105 h 1387660"/>
                <a:gd name="connsiteX4138" fmla="*/ 25577 w 1083508"/>
                <a:gd name="connsiteY4138" fmla="*/ 398964 h 1387660"/>
                <a:gd name="connsiteX4139" fmla="*/ 25088 w 1083508"/>
                <a:gd name="connsiteY4139" fmla="*/ 401245 h 1387660"/>
                <a:gd name="connsiteX4140" fmla="*/ 25088 w 1083508"/>
                <a:gd name="connsiteY4140" fmla="*/ 401245 h 1387660"/>
                <a:gd name="connsiteX4141" fmla="*/ 0 w 1083508"/>
                <a:gd name="connsiteY4141" fmla="*/ 401897 h 1387660"/>
                <a:gd name="connsiteX4142" fmla="*/ 5050 w 1083508"/>
                <a:gd name="connsiteY4142" fmla="*/ 407762 h 1387660"/>
                <a:gd name="connsiteX4143" fmla="*/ 10915 w 1083508"/>
                <a:gd name="connsiteY4143" fmla="*/ 407762 h 1387660"/>
                <a:gd name="connsiteX4144" fmla="*/ 15313 w 1083508"/>
                <a:gd name="connsiteY4144" fmla="*/ 410531 h 1387660"/>
                <a:gd name="connsiteX4145" fmla="*/ 21178 w 1083508"/>
                <a:gd name="connsiteY4145" fmla="*/ 407273 h 1387660"/>
                <a:gd name="connsiteX4146" fmla="*/ 15150 w 1083508"/>
                <a:gd name="connsiteY4146" fmla="*/ 401897 h 1387660"/>
                <a:gd name="connsiteX4147" fmla="*/ 7982 w 1083508"/>
                <a:gd name="connsiteY4147" fmla="*/ 399127 h 1387660"/>
                <a:gd name="connsiteX4148" fmla="*/ 1955 w 1083508"/>
                <a:gd name="connsiteY4148" fmla="*/ 399616 h 1387660"/>
                <a:gd name="connsiteX4149" fmla="*/ 163 w 1083508"/>
                <a:gd name="connsiteY4149" fmla="*/ 401897 h 1387660"/>
                <a:gd name="connsiteX4150" fmla="*/ 163 w 1083508"/>
                <a:gd name="connsiteY4150" fmla="*/ 401897 h 1387660"/>
                <a:gd name="connsiteX4151" fmla="*/ 195980 w 1083508"/>
                <a:gd name="connsiteY4151" fmla="*/ 614168 h 1387660"/>
                <a:gd name="connsiteX4152" fmla="*/ 195165 w 1083508"/>
                <a:gd name="connsiteY4152" fmla="*/ 617426 h 1387660"/>
                <a:gd name="connsiteX4153" fmla="*/ 196957 w 1083508"/>
                <a:gd name="connsiteY4153" fmla="*/ 618566 h 1387660"/>
                <a:gd name="connsiteX4154" fmla="*/ 199401 w 1083508"/>
                <a:gd name="connsiteY4154" fmla="*/ 615308 h 1387660"/>
                <a:gd name="connsiteX4155" fmla="*/ 197609 w 1083508"/>
                <a:gd name="connsiteY4155" fmla="*/ 613516 h 1387660"/>
                <a:gd name="connsiteX4156" fmla="*/ 195980 w 1083508"/>
                <a:gd name="connsiteY4156" fmla="*/ 614168 h 1387660"/>
                <a:gd name="connsiteX4157" fmla="*/ 195980 w 1083508"/>
                <a:gd name="connsiteY4157" fmla="*/ 614168 h 1387660"/>
                <a:gd name="connsiteX4158" fmla="*/ 196305 w 1083508"/>
                <a:gd name="connsiteY4158" fmla="*/ 636486 h 1387660"/>
                <a:gd name="connsiteX4159" fmla="*/ 200052 w 1083508"/>
                <a:gd name="connsiteY4159" fmla="*/ 637138 h 1387660"/>
                <a:gd name="connsiteX4160" fmla="*/ 202496 w 1083508"/>
                <a:gd name="connsiteY4160" fmla="*/ 638441 h 1387660"/>
                <a:gd name="connsiteX4161" fmla="*/ 211130 w 1083508"/>
                <a:gd name="connsiteY4161" fmla="*/ 637952 h 1387660"/>
                <a:gd name="connsiteX4162" fmla="*/ 214714 w 1083508"/>
                <a:gd name="connsiteY4162" fmla="*/ 639907 h 1387660"/>
                <a:gd name="connsiteX4163" fmla="*/ 216017 w 1083508"/>
                <a:gd name="connsiteY4163" fmla="*/ 641862 h 1387660"/>
                <a:gd name="connsiteX4164" fmla="*/ 217321 w 1083508"/>
                <a:gd name="connsiteY4164" fmla="*/ 638278 h 1387660"/>
                <a:gd name="connsiteX4165" fmla="*/ 213737 w 1083508"/>
                <a:gd name="connsiteY4165" fmla="*/ 634531 h 1387660"/>
                <a:gd name="connsiteX4166" fmla="*/ 207383 w 1083508"/>
                <a:gd name="connsiteY4166" fmla="*/ 633228 h 1387660"/>
                <a:gd name="connsiteX4167" fmla="*/ 205265 w 1083508"/>
                <a:gd name="connsiteY4167" fmla="*/ 634857 h 1387660"/>
                <a:gd name="connsiteX4168" fmla="*/ 200541 w 1083508"/>
                <a:gd name="connsiteY4168" fmla="*/ 631762 h 1387660"/>
                <a:gd name="connsiteX4169" fmla="*/ 197446 w 1083508"/>
                <a:gd name="connsiteY4169" fmla="*/ 631762 h 1387660"/>
                <a:gd name="connsiteX4170" fmla="*/ 195328 w 1083508"/>
                <a:gd name="connsiteY4170" fmla="*/ 634042 h 1387660"/>
                <a:gd name="connsiteX4171" fmla="*/ 196143 w 1083508"/>
                <a:gd name="connsiteY4171" fmla="*/ 636323 h 1387660"/>
                <a:gd name="connsiteX4172" fmla="*/ 196143 w 1083508"/>
                <a:gd name="connsiteY4172" fmla="*/ 636323 h 1387660"/>
                <a:gd name="connsiteX4173" fmla="*/ 202985 w 1083508"/>
                <a:gd name="connsiteY4173" fmla="*/ 643817 h 1387660"/>
                <a:gd name="connsiteX4174" fmla="*/ 204288 w 1083508"/>
                <a:gd name="connsiteY4174" fmla="*/ 645446 h 1387660"/>
                <a:gd name="connsiteX4175" fmla="*/ 205917 w 1083508"/>
                <a:gd name="connsiteY4175" fmla="*/ 645446 h 1387660"/>
                <a:gd name="connsiteX4176" fmla="*/ 205265 w 1083508"/>
                <a:gd name="connsiteY4176" fmla="*/ 643328 h 1387660"/>
                <a:gd name="connsiteX4177" fmla="*/ 202822 w 1083508"/>
                <a:gd name="connsiteY4177" fmla="*/ 643817 h 1387660"/>
                <a:gd name="connsiteX4178" fmla="*/ 202822 w 1083508"/>
                <a:gd name="connsiteY4178" fmla="*/ 643817 h 1387660"/>
                <a:gd name="connsiteX4179" fmla="*/ 204288 w 1083508"/>
                <a:gd name="connsiteY4179" fmla="*/ 676725 h 1387660"/>
                <a:gd name="connsiteX4180" fmla="*/ 205591 w 1083508"/>
                <a:gd name="connsiteY4180" fmla="*/ 679331 h 1387660"/>
                <a:gd name="connsiteX4181" fmla="*/ 209338 w 1083508"/>
                <a:gd name="connsiteY4181" fmla="*/ 679331 h 1387660"/>
                <a:gd name="connsiteX4182" fmla="*/ 211293 w 1083508"/>
                <a:gd name="connsiteY4182" fmla="*/ 682264 h 1387660"/>
                <a:gd name="connsiteX4183" fmla="*/ 214225 w 1083508"/>
                <a:gd name="connsiteY4183" fmla="*/ 680634 h 1387660"/>
                <a:gd name="connsiteX4184" fmla="*/ 212759 w 1083508"/>
                <a:gd name="connsiteY4184" fmla="*/ 677539 h 1387660"/>
                <a:gd name="connsiteX4185" fmla="*/ 208035 w 1083508"/>
                <a:gd name="connsiteY4185" fmla="*/ 674607 h 1387660"/>
                <a:gd name="connsiteX4186" fmla="*/ 205265 w 1083508"/>
                <a:gd name="connsiteY4186" fmla="*/ 675096 h 1387660"/>
                <a:gd name="connsiteX4187" fmla="*/ 204288 w 1083508"/>
                <a:gd name="connsiteY4187" fmla="*/ 676725 h 1387660"/>
                <a:gd name="connsiteX4188" fmla="*/ 204288 w 1083508"/>
                <a:gd name="connsiteY4188" fmla="*/ 676725 h 1387660"/>
                <a:gd name="connsiteX4189" fmla="*/ 199238 w 1083508"/>
                <a:gd name="connsiteY4189" fmla="*/ 688780 h 1387660"/>
                <a:gd name="connsiteX4190" fmla="*/ 200378 w 1083508"/>
                <a:gd name="connsiteY4190" fmla="*/ 691061 h 1387660"/>
                <a:gd name="connsiteX4191" fmla="*/ 204125 w 1083508"/>
                <a:gd name="connsiteY4191" fmla="*/ 691875 h 1387660"/>
                <a:gd name="connsiteX4192" fmla="*/ 207383 w 1083508"/>
                <a:gd name="connsiteY4192" fmla="*/ 689269 h 1387660"/>
                <a:gd name="connsiteX4193" fmla="*/ 202170 w 1083508"/>
                <a:gd name="connsiteY4193" fmla="*/ 688291 h 1387660"/>
                <a:gd name="connsiteX4194" fmla="*/ 200378 w 1083508"/>
                <a:gd name="connsiteY4194" fmla="*/ 687314 h 1387660"/>
                <a:gd name="connsiteX4195" fmla="*/ 199238 w 1083508"/>
                <a:gd name="connsiteY4195" fmla="*/ 688780 h 1387660"/>
                <a:gd name="connsiteX4196" fmla="*/ 199238 w 1083508"/>
                <a:gd name="connsiteY4196" fmla="*/ 688780 h 1387660"/>
                <a:gd name="connsiteX4197" fmla="*/ 206080 w 1083508"/>
                <a:gd name="connsiteY4197" fmla="*/ 709144 h 1387660"/>
                <a:gd name="connsiteX4198" fmla="*/ 208035 w 1083508"/>
                <a:gd name="connsiteY4198" fmla="*/ 709469 h 1387660"/>
                <a:gd name="connsiteX4199" fmla="*/ 209338 w 1083508"/>
                <a:gd name="connsiteY4199" fmla="*/ 707840 h 1387660"/>
                <a:gd name="connsiteX4200" fmla="*/ 207709 w 1083508"/>
                <a:gd name="connsiteY4200" fmla="*/ 704745 h 1387660"/>
                <a:gd name="connsiteX4201" fmla="*/ 206569 w 1083508"/>
                <a:gd name="connsiteY4201" fmla="*/ 701650 h 1387660"/>
                <a:gd name="connsiteX4202" fmla="*/ 205917 w 1083508"/>
                <a:gd name="connsiteY4202" fmla="*/ 703768 h 1387660"/>
                <a:gd name="connsiteX4203" fmla="*/ 205917 w 1083508"/>
                <a:gd name="connsiteY4203" fmla="*/ 709144 h 1387660"/>
                <a:gd name="connsiteX4204" fmla="*/ 205917 w 1083508"/>
                <a:gd name="connsiteY4204" fmla="*/ 709144 h 1387660"/>
                <a:gd name="connsiteX4205" fmla="*/ 212922 w 1083508"/>
                <a:gd name="connsiteY4205" fmla="*/ 714682 h 1387660"/>
                <a:gd name="connsiteX4206" fmla="*/ 213737 w 1083508"/>
                <a:gd name="connsiteY4206" fmla="*/ 716312 h 1387660"/>
                <a:gd name="connsiteX4207" fmla="*/ 214714 w 1083508"/>
                <a:gd name="connsiteY4207" fmla="*/ 716312 h 1387660"/>
                <a:gd name="connsiteX4208" fmla="*/ 214225 w 1083508"/>
                <a:gd name="connsiteY4208" fmla="*/ 715008 h 1387660"/>
                <a:gd name="connsiteX4209" fmla="*/ 212922 w 1083508"/>
                <a:gd name="connsiteY4209" fmla="*/ 714682 h 1387660"/>
                <a:gd name="connsiteX4210" fmla="*/ 212922 w 1083508"/>
                <a:gd name="connsiteY4210" fmla="*/ 714682 h 1387660"/>
                <a:gd name="connsiteX4211" fmla="*/ 198097 w 1083508"/>
                <a:gd name="connsiteY4211" fmla="*/ 717941 h 1387660"/>
                <a:gd name="connsiteX4212" fmla="*/ 199889 w 1083508"/>
                <a:gd name="connsiteY4212" fmla="*/ 716149 h 1387660"/>
                <a:gd name="connsiteX4213" fmla="*/ 198912 w 1083508"/>
                <a:gd name="connsiteY4213" fmla="*/ 714194 h 1387660"/>
                <a:gd name="connsiteX4214" fmla="*/ 197609 w 1083508"/>
                <a:gd name="connsiteY4214" fmla="*/ 716474 h 1387660"/>
                <a:gd name="connsiteX4215" fmla="*/ 198097 w 1083508"/>
                <a:gd name="connsiteY4215" fmla="*/ 717941 h 1387660"/>
                <a:gd name="connsiteX4216" fmla="*/ 198097 w 1083508"/>
                <a:gd name="connsiteY4216" fmla="*/ 717941 h 1387660"/>
                <a:gd name="connsiteX4217" fmla="*/ 204777 w 1083508"/>
                <a:gd name="connsiteY4217" fmla="*/ 716474 h 1387660"/>
                <a:gd name="connsiteX4218" fmla="*/ 206406 w 1083508"/>
                <a:gd name="connsiteY4218" fmla="*/ 717452 h 1387660"/>
                <a:gd name="connsiteX4219" fmla="*/ 207709 w 1083508"/>
                <a:gd name="connsiteY4219" fmla="*/ 715986 h 1387660"/>
                <a:gd name="connsiteX4220" fmla="*/ 205591 w 1083508"/>
                <a:gd name="connsiteY4220" fmla="*/ 714845 h 1387660"/>
                <a:gd name="connsiteX4221" fmla="*/ 204777 w 1083508"/>
                <a:gd name="connsiteY4221" fmla="*/ 716637 h 1387660"/>
                <a:gd name="connsiteX4222" fmla="*/ 204777 w 1083508"/>
                <a:gd name="connsiteY4222" fmla="*/ 716637 h 1387660"/>
                <a:gd name="connsiteX4223" fmla="*/ 202822 w 1083508"/>
                <a:gd name="connsiteY4223" fmla="*/ 723154 h 1387660"/>
                <a:gd name="connsiteX4224" fmla="*/ 205265 w 1083508"/>
                <a:gd name="connsiteY4224" fmla="*/ 722013 h 1387660"/>
                <a:gd name="connsiteX4225" fmla="*/ 205591 w 1083508"/>
                <a:gd name="connsiteY4225" fmla="*/ 720384 h 1387660"/>
                <a:gd name="connsiteX4226" fmla="*/ 203473 w 1083508"/>
                <a:gd name="connsiteY4226" fmla="*/ 720384 h 1387660"/>
                <a:gd name="connsiteX4227" fmla="*/ 202822 w 1083508"/>
                <a:gd name="connsiteY4227" fmla="*/ 722991 h 1387660"/>
                <a:gd name="connsiteX4228" fmla="*/ 202822 w 1083508"/>
                <a:gd name="connsiteY4228" fmla="*/ 722991 h 1387660"/>
                <a:gd name="connsiteX4229" fmla="*/ 206243 w 1083508"/>
                <a:gd name="connsiteY4229" fmla="*/ 731788 h 1387660"/>
                <a:gd name="connsiteX4230" fmla="*/ 207220 w 1083508"/>
                <a:gd name="connsiteY4230" fmla="*/ 730159 h 1387660"/>
                <a:gd name="connsiteX4231" fmla="*/ 204940 w 1083508"/>
                <a:gd name="connsiteY4231" fmla="*/ 730159 h 1387660"/>
                <a:gd name="connsiteX4232" fmla="*/ 201681 w 1083508"/>
                <a:gd name="connsiteY4232" fmla="*/ 729833 h 1387660"/>
                <a:gd name="connsiteX4233" fmla="*/ 202496 w 1083508"/>
                <a:gd name="connsiteY4233" fmla="*/ 731951 h 1387660"/>
                <a:gd name="connsiteX4234" fmla="*/ 206243 w 1083508"/>
                <a:gd name="connsiteY4234" fmla="*/ 731951 h 1387660"/>
                <a:gd name="connsiteX4235" fmla="*/ 210153 w 1083508"/>
                <a:gd name="connsiteY4235" fmla="*/ 735861 h 1387660"/>
                <a:gd name="connsiteX4236" fmla="*/ 212596 w 1083508"/>
                <a:gd name="connsiteY4236" fmla="*/ 735861 h 1387660"/>
                <a:gd name="connsiteX4237" fmla="*/ 213737 w 1083508"/>
                <a:gd name="connsiteY4237" fmla="*/ 733254 h 1387660"/>
                <a:gd name="connsiteX4238" fmla="*/ 211293 w 1083508"/>
                <a:gd name="connsiteY4238" fmla="*/ 731951 h 1387660"/>
                <a:gd name="connsiteX4239" fmla="*/ 208035 w 1083508"/>
                <a:gd name="connsiteY4239" fmla="*/ 734557 h 1387660"/>
                <a:gd name="connsiteX4240" fmla="*/ 210316 w 1083508"/>
                <a:gd name="connsiteY4240" fmla="*/ 735698 h 1387660"/>
                <a:gd name="connsiteX4241" fmla="*/ 210316 w 1083508"/>
                <a:gd name="connsiteY4241" fmla="*/ 735698 h 1387660"/>
                <a:gd name="connsiteX4242" fmla="*/ 194351 w 1083508"/>
                <a:gd name="connsiteY4242" fmla="*/ 748730 h 1387660"/>
                <a:gd name="connsiteX4243" fmla="*/ 198260 w 1083508"/>
                <a:gd name="connsiteY4243" fmla="*/ 746938 h 1387660"/>
                <a:gd name="connsiteX4244" fmla="*/ 199889 w 1083508"/>
                <a:gd name="connsiteY4244" fmla="*/ 746938 h 1387660"/>
                <a:gd name="connsiteX4245" fmla="*/ 199564 w 1083508"/>
                <a:gd name="connsiteY4245" fmla="*/ 744658 h 1387660"/>
                <a:gd name="connsiteX4246" fmla="*/ 194513 w 1083508"/>
                <a:gd name="connsiteY4246" fmla="*/ 744658 h 1387660"/>
                <a:gd name="connsiteX4247" fmla="*/ 192558 w 1083508"/>
                <a:gd name="connsiteY4247" fmla="*/ 747101 h 1387660"/>
                <a:gd name="connsiteX4248" fmla="*/ 194351 w 1083508"/>
                <a:gd name="connsiteY4248" fmla="*/ 748730 h 1387660"/>
                <a:gd name="connsiteX4249" fmla="*/ 194351 w 1083508"/>
                <a:gd name="connsiteY4249" fmla="*/ 748730 h 1387660"/>
                <a:gd name="connsiteX4250" fmla="*/ 202170 w 1083508"/>
                <a:gd name="connsiteY4250" fmla="*/ 757202 h 1387660"/>
                <a:gd name="connsiteX4251" fmla="*/ 210479 w 1083508"/>
                <a:gd name="connsiteY4251" fmla="*/ 750685 h 1387660"/>
                <a:gd name="connsiteX4252" fmla="*/ 215040 w 1083508"/>
                <a:gd name="connsiteY4252" fmla="*/ 746613 h 1387660"/>
                <a:gd name="connsiteX4253" fmla="*/ 214714 w 1083508"/>
                <a:gd name="connsiteY4253" fmla="*/ 744006 h 1387660"/>
                <a:gd name="connsiteX4254" fmla="*/ 210641 w 1083508"/>
                <a:gd name="connsiteY4254" fmla="*/ 744006 h 1387660"/>
                <a:gd name="connsiteX4255" fmla="*/ 206243 w 1083508"/>
                <a:gd name="connsiteY4255" fmla="*/ 747916 h 1387660"/>
                <a:gd name="connsiteX4256" fmla="*/ 202985 w 1083508"/>
                <a:gd name="connsiteY4256" fmla="*/ 748242 h 1387660"/>
                <a:gd name="connsiteX4257" fmla="*/ 201193 w 1083508"/>
                <a:gd name="connsiteY4257" fmla="*/ 751337 h 1387660"/>
                <a:gd name="connsiteX4258" fmla="*/ 199238 w 1083508"/>
                <a:gd name="connsiteY4258" fmla="*/ 752803 h 1387660"/>
                <a:gd name="connsiteX4259" fmla="*/ 199727 w 1083508"/>
                <a:gd name="connsiteY4259" fmla="*/ 755736 h 1387660"/>
                <a:gd name="connsiteX4260" fmla="*/ 199727 w 1083508"/>
                <a:gd name="connsiteY4260" fmla="*/ 758016 h 1387660"/>
                <a:gd name="connsiteX4261" fmla="*/ 201030 w 1083508"/>
                <a:gd name="connsiteY4261" fmla="*/ 758179 h 1387660"/>
                <a:gd name="connsiteX4262" fmla="*/ 202170 w 1083508"/>
                <a:gd name="connsiteY4262" fmla="*/ 757202 h 1387660"/>
                <a:gd name="connsiteX4263" fmla="*/ 202170 w 1083508"/>
                <a:gd name="connsiteY4263" fmla="*/ 757202 h 1387660"/>
                <a:gd name="connsiteX4264" fmla="*/ 210641 w 1083508"/>
                <a:gd name="connsiteY4264" fmla="*/ 755573 h 1387660"/>
                <a:gd name="connsiteX4265" fmla="*/ 211945 w 1083508"/>
                <a:gd name="connsiteY4265" fmla="*/ 755573 h 1387660"/>
                <a:gd name="connsiteX4266" fmla="*/ 214063 w 1083508"/>
                <a:gd name="connsiteY4266" fmla="*/ 754106 h 1387660"/>
                <a:gd name="connsiteX4267" fmla="*/ 214388 w 1083508"/>
                <a:gd name="connsiteY4267" fmla="*/ 752152 h 1387660"/>
                <a:gd name="connsiteX4268" fmla="*/ 210641 w 1083508"/>
                <a:gd name="connsiteY4268" fmla="*/ 755410 h 1387660"/>
                <a:gd name="connsiteX4269" fmla="*/ 210641 w 1083508"/>
                <a:gd name="connsiteY4269" fmla="*/ 755410 h 1387660"/>
                <a:gd name="connsiteX4270" fmla="*/ 207220 w 1083508"/>
                <a:gd name="connsiteY4270" fmla="*/ 760786 h 1387660"/>
                <a:gd name="connsiteX4271" fmla="*/ 210153 w 1083508"/>
                <a:gd name="connsiteY4271" fmla="*/ 760134 h 1387660"/>
                <a:gd name="connsiteX4272" fmla="*/ 209338 w 1083508"/>
                <a:gd name="connsiteY4272" fmla="*/ 757690 h 1387660"/>
                <a:gd name="connsiteX4273" fmla="*/ 206895 w 1083508"/>
                <a:gd name="connsiteY4273" fmla="*/ 758994 h 1387660"/>
                <a:gd name="connsiteX4274" fmla="*/ 207220 w 1083508"/>
                <a:gd name="connsiteY4274" fmla="*/ 760786 h 1387660"/>
                <a:gd name="connsiteX4275" fmla="*/ 207220 w 1083508"/>
                <a:gd name="connsiteY4275" fmla="*/ 760786 h 1387660"/>
                <a:gd name="connsiteX4276" fmla="*/ 200215 w 1083508"/>
                <a:gd name="connsiteY4276" fmla="*/ 763392 h 1387660"/>
                <a:gd name="connsiteX4277" fmla="*/ 202659 w 1083508"/>
                <a:gd name="connsiteY4277" fmla="*/ 760786 h 1387660"/>
                <a:gd name="connsiteX4278" fmla="*/ 200541 w 1083508"/>
                <a:gd name="connsiteY4278" fmla="*/ 759320 h 1387660"/>
                <a:gd name="connsiteX4279" fmla="*/ 198749 w 1083508"/>
                <a:gd name="connsiteY4279" fmla="*/ 760460 h 1387660"/>
                <a:gd name="connsiteX4280" fmla="*/ 198749 w 1083508"/>
                <a:gd name="connsiteY4280" fmla="*/ 762741 h 1387660"/>
                <a:gd name="connsiteX4281" fmla="*/ 200215 w 1083508"/>
                <a:gd name="connsiteY4281" fmla="*/ 763229 h 1387660"/>
                <a:gd name="connsiteX4282" fmla="*/ 200215 w 1083508"/>
                <a:gd name="connsiteY4282" fmla="*/ 763229 h 1387660"/>
                <a:gd name="connsiteX4283" fmla="*/ 191581 w 1083508"/>
                <a:gd name="connsiteY4283" fmla="*/ 780335 h 1387660"/>
                <a:gd name="connsiteX4284" fmla="*/ 191581 w 1083508"/>
                <a:gd name="connsiteY4284" fmla="*/ 784408 h 1387660"/>
                <a:gd name="connsiteX4285" fmla="*/ 194839 w 1083508"/>
                <a:gd name="connsiteY4285" fmla="*/ 784245 h 1387660"/>
                <a:gd name="connsiteX4286" fmla="*/ 198423 w 1083508"/>
                <a:gd name="connsiteY4286" fmla="*/ 779683 h 1387660"/>
                <a:gd name="connsiteX4287" fmla="*/ 203473 w 1083508"/>
                <a:gd name="connsiteY4287" fmla="*/ 778054 h 1387660"/>
                <a:gd name="connsiteX4288" fmla="*/ 204614 w 1083508"/>
                <a:gd name="connsiteY4288" fmla="*/ 775448 h 1387660"/>
                <a:gd name="connsiteX4289" fmla="*/ 202659 w 1083508"/>
                <a:gd name="connsiteY4289" fmla="*/ 774307 h 1387660"/>
                <a:gd name="connsiteX4290" fmla="*/ 200215 w 1083508"/>
                <a:gd name="connsiteY4290" fmla="*/ 775773 h 1387660"/>
                <a:gd name="connsiteX4291" fmla="*/ 195002 w 1083508"/>
                <a:gd name="connsiteY4291" fmla="*/ 776262 h 1387660"/>
                <a:gd name="connsiteX4292" fmla="*/ 193862 w 1083508"/>
                <a:gd name="connsiteY4292" fmla="*/ 779357 h 1387660"/>
                <a:gd name="connsiteX4293" fmla="*/ 191744 w 1083508"/>
                <a:gd name="connsiteY4293" fmla="*/ 780498 h 1387660"/>
                <a:gd name="connsiteX4294" fmla="*/ 191744 w 1083508"/>
                <a:gd name="connsiteY4294" fmla="*/ 780498 h 1387660"/>
                <a:gd name="connsiteX4295" fmla="*/ 187834 w 1083508"/>
                <a:gd name="connsiteY4295" fmla="*/ 795485 h 1387660"/>
                <a:gd name="connsiteX4296" fmla="*/ 189137 w 1083508"/>
                <a:gd name="connsiteY4296" fmla="*/ 799721 h 1387660"/>
                <a:gd name="connsiteX4297" fmla="*/ 191744 w 1083508"/>
                <a:gd name="connsiteY4297" fmla="*/ 800698 h 1387660"/>
                <a:gd name="connsiteX4298" fmla="*/ 193536 w 1083508"/>
                <a:gd name="connsiteY4298" fmla="*/ 798255 h 1387660"/>
                <a:gd name="connsiteX4299" fmla="*/ 190115 w 1083508"/>
                <a:gd name="connsiteY4299" fmla="*/ 794997 h 1387660"/>
                <a:gd name="connsiteX4300" fmla="*/ 187834 w 1083508"/>
                <a:gd name="connsiteY4300" fmla="*/ 795485 h 1387660"/>
                <a:gd name="connsiteX4301" fmla="*/ 187834 w 1083508"/>
                <a:gd name="connsiteY4301" fmla="*/ 795485 h 1387660"/>
                <a:gd name="connsiteX4302" fmla="*/ 300079 w 1083508"/>
                <a:gd name="connsiteY4302" fmla="*/ 1386683 h 1387660"/>
                <a:gd name="connsiteX4303" fmla="*/ 303663 w 1083508"/>
                <a:gd name="connsiteY4303" fmla="*/ 1382447 h 1387660"/>
                <a:gd name="connsiteX4304" fmla="*/ 307410 w 1083508"/>
                <a:gd name="connsiteY4304" fmla="*/ 1382121 h 1387660"/>
                <a:gd name="connsiteX4305" fmla="*/ 309038 w 1083508"/>
                <a:gd name="connsiteY4305" fmla="*/ 1383587 h 1387660"/>
                <a:gd name="connsiteX4306" fmla="*/ 307410 w 1083508"/>
                <a:gd name="connsiteY4306" fmla="*/ 1386194 h 1387660"/>
                <a:gd name="connsiteX4307" fmla="*/ 304151 w 1083508"/>
                <a:gd name="connsiteY4307" fmla="*/ 1386194 h 1387660"/>
                <a:gd name="connsiteX4308" fmla="*/ 302196 w 1083508"/>
                <a:gd name="connsiteY4308" fmla="*/ 1387660 h 1387660"/>
                <a:gd name="connsiteX4309" fmla="*/ 300241 w 1083508"/>
                <a:gd name="connsiteY4309" fmla="*/ 1386683 h 1387660"/>
                <a:gd name="connsiteX4310" fmla="*/ 300241 w 1083508"/>
                <a:gd name="connsiteY4310" fmla="*/ 1386683 h 1387660"/>
                <a:gd name="connsiteX4311" fmla="*/ 273198 w 1083508"/>
                <a:gd name="connsiteY4311" fmla="*/ 1370555 h 1387660"/>
                <a:gd name="connsiteX4312" fmla="*/ 275154 w 1083508"/>
                <a:gd name="connsiteY4312" fmla="*/ 1370555 h 1387660"/>
                <a:gd name="connsiteX4313" fmla="*/ 275154 w 1083508"/>
                <a:gd name="connsiteY4313" fmla="*/ 1368763 h 1387660"/>
                <a:gd name="connsiteX4314" fmla="*/ 277760 w 1083508"/>
                <a:gd name="connsiteY4314" fmla="*/ 1365179 h 1387660"/>
                <a:gd name="connsiteX4315" fmla="*/ 277760 w 1083508"/>
                <a:gd name="connsiteY4315" fmla="*/ 1361920 h 1387660"/>
                <a:gd name="connsiteX4316" fmla="*/ 275316 w 1083508"/>
                <a:gd name="connsiteY4316" fmla="*/ 1361920 h 1387660"/>
                <a:gd name="connsiteX4317" fmla="*/ 274339 w 1083508"/>
                <a:gd name="connsiteY4317" fmla="*/ 1364038 h 1387660"/>
                <a:gd name="connsiteX4318" fmla="*/ 272221 w 1083508"/>
                <a:gd name="connsiteY4318" fmla="*/ 1365993 h 1387660"/>
                <a:gd name="connsiteX4319" fmla="*/ 273036 w 1083508"/>
                <a:gd name="connsiteY4319" fmla="*/ 1370718 h 1387660"/>
                <a:gd name="connsiteX4320" fmla="*/ 273036 w 1083508"/>
                <a:gd name="connsiteY4320" fmla="*/ 1370718 h 1387660"/>
                <a:gd name="connsiteX4321" fmla="*/ 254138 w 1083508"/>
                <a:gd name="connsiteY4321" fmla="*/ 1337158 h 1387660"/>
                <a:gd name="connsiteX4322" fmla="*/ 255279 w 1083508"/>
                <a:gd name="connsiteY4322" fmla="*/ 1338136 h 1387660"/>
                <a:gd name="connsiteX4323" fmla="*/ 258374 w 1083508"/>
                <a:gd name="connsiteY4323" fmla="*/ 1338136 h 1387660"/>
                <a:gd name="connsiteX4324" fmla="*/ 261469 w 1083508"/>
                <a:gd name="connsiteY4324" fmla="*/ 1336181 h 1387660"/>
                <a:gd name="connsiteX4325" fmla="*/ 260817 w 1083508"/>
                <a:gd name="connsiteY4325" fmla="*/ 1334552 h 1387660"/>
                <a:gd name="connsiteX4326" fmla="*/ 257071 w 1083508"/>
                <a:gd name="connsiteY4326" fmla="*/ 1334552 h 1387660"/>
                <a:gd name="connsiteX4327" fmla="*/ 254138 w 1083508"/>
                <a:gd name="connsiteY4327" fmla="*/ 1337158 h 1387660"/>
                <a:gd name="connsiteX4328" fmla="*/ 254138 w 1083508"/>
                <a:gd name="connsiteY4328" fmla="*/ 1337158 h 1387660"/>
                <a:gd name="connsiteX4329" fmla="*/ 244364 w 1083508"/>
                <a:gd name="connsiteY4329" fmla="*/ 1335855 h 1387660"/>
                <a:gd name="connsiteX4330" fmla="*/ 245015 w 1083508"/>
                <a:gd name="connsiteY4330" fmla="*/ 1338787 h 1387660"/>
                <a:gd name="connsiteX4331" fmla="*/ 248111 w 1083508"/>
                <a:gd name="connsiteY4331" fmla="*/ 1338787 h 1387660"/>
                <a:gd name="connsiteX4332" fmla="*/ 248436 w 1083508"/>
                <a:gd name="connsiteY4332" fmla="*/ 1336181 h 1387660"/>
                <a:gd name="connsiteX4333" fmla="*/ 246319 w 1083508"/>
                <a:gd name="connsiteY4333" fmla="*/ 1334715 h 1387660"/>
                <a:gd name="connsiteX4334" fmla="*/ 244364 w 1083508"/>
                <a:gd name="connsiteY4334" fmla="*/ 1335855 h 1387660"/>
                <a:gd name="connsiteX4335" fmla="*/ 244364 w 1083508"/>
                <a:gd name="connsiteY4335" fmla="*/ 1335855 h 1387660"/>
                <a:gd name="connsiteX4336" fmla="*/ 216832 w 1083508"/>
                <a:gd name="connsiteY4336" fmla="*/ 1338950 h 1387660"/>
                <a:gd name="connsiteX4337" fmla="*/ 217321 w 1083508"/>
                <a:gd name="connsiteY4337" fmla="*/ 1340742 h 1387660"/>
                <a:gd name="connsiteX4338" fmla="*/ 219276 w 1083508"/>
                <a:gd name="connsiteY4338" fmla="*/ 1341231 h 1387660"/>
                <a:gd name="connsiteX4339" fmla="*/ 220416 w 1083508"/>
                <a:gd name="connsiteY4339" fmla="*/ 1343838 h 1387660"/>
                <a:gd name="connsiteX4340" fmla="*/ 224000 w 1083508"/>
                <a:gd name="connsiteY4340" fmla="*/ 1342208 h 1387660"/>
                <a:gd name="connsiteX4341" fmla="*/ 222371 w 1083508"/>
                <a:gd name="connsiteY4341" fmla="*/ 1338462 h 1387660"/>
                <a:gd name="connsiteX4342" fmla="*/ 218624 w 1083508"/>
                <a:gd name="connsiteY4342" fmla="*/ 1337484 h 1387660"/>
                <a:gd name="connsiteX4343" fmla="*/ 216669 w 1083508"/>
                <a:gd name="connsiteY4343" fmla="*/ 1338950 h 1387660"/>
                <a:gd name="connsiteX4344" fmla="*/ 216669 w 1083508"/>
                <a:gd name="connsiteY4344" fmla="*/ 1338950 h 1387660"/>
                <a:gd name="connsiteX4345" fmla="*/ 181318 w 1083508"/>
                <a:gd name="connsiteY4345" fmla="*/ 1182558 h 1387660"/>
                <a:gd name="connsiteX4346" fmla="*/ 183436 w 1083508"/>
                <a:gd name="connsiteY4346" fmla="*/ 1182232 h 1387660"/>
                <a:gd name="connsiteX4347" fmla="*/ 187346 w 1083508"/>
                <a:gd name="connsiteY4347" fmla="*/ 1178974 h 1387660"/>
                <a:gd name="connsiteX4348" fmla="*/ 191092 w 1083508"/>
                <a:gd name="connsiteY4348" fmla="*/ 1173760 h 1387660"/>
                <a:gd name="connsiteX4349" fmla="*/ 188812 w 1083508"/>
                <a:gd name="connsiteY4349" fmla="*/ 1174575 h 1387660"/>
                <a:gd name="connsiteX4350" fmla="*/ 186368 w 1083508"/>
                <a:gd name="connsiteY4350" fmla="*/ 1177507 h 1387660"/>
                <a:gd name="connsiteX4351" fmla="*/ 181155 w 1083508"/>
                <a:gd name="connsiteY4351" fmla="*/ 1182558 h 1387660"/>
                <a:gd name="connsiteX4352" fmla="*/ 181155 w 1083508"/>
                <a:gd name="connsiteY4352" fmla="*/ 1182558 h 1387660"/>
                <a:gd name="connsiteX4353" fmla="*/ 181155 w 1083508"/>
                <a:gd name="connsiteY4353" fmla="*/ 1177019 h 1387660"/>
                <a:gd name="connsiteX4354" fmla="*/ 181155 w 1083508"/>
                <a:gd name="connsiteY4354" fmla="*/ 1178485 h 1387660"/>
                <a:gd name="connsiteX4355" fmla="*/ 182784 w 1083508"/>
                <a:gd name="connsiteY4355" fmla="*/ 1177833 h 1387660"/>
                <a:gd name="connsiteX4356" fmla="*/ 185390 w 1083508"/>
                <a:gd name="connsiteY4356" fmla="*/ 1175715 h 1387660"/>
                <a:gd name="connsiteX4357" fmla="*/ 187182 w 1083508"/>
                <a:gd name="connsiteY4357" fmla="*/ 1172783 h 1387660"/>
                <a:gd name="connsiteX4358" fmla="*/ 185390 w 1083508"/>
                <a:gd name="connsiteY4358" fmla="*/ 1172783 h 1387660"/>
                <a:gd name="connsiteX4359" fmla="*/ 181155 w 1083508"/>
                <a:gd name="connsiteY4359" fmla="*/ 1177182 h 1387660"/>
                <a:gd name="connsiteX4360" fmla="*/ 181155 w 1083508"/>
                <a:gd name="connsiteY4360" fmla="*/ 1177182 h 1387660"/>
                <a:gd name="connsiteX4361" fmla="*/ 159651 w 1083508"/>
                <a:gd name="connsiteY4361" fmla="*/ 1124562 h 1387660"/>
                <a:gd name="connsiteX4362" fmla="*/ 157696 w 1083508"/>
                <a:gd name="connsiteY4362" fmla="*/ 1127494 h 1387660"/>
                <a:gd name="connsiteX4363" fmla="*/ 159325 w 1083508"/>
                <a:gd name="connsiteY4363" fmla="*/ 1127820 h 1387660"/>
                <a:gd name="connsiteX4364" fmla="*/ 163561 w 1083508"/>
                <a:gd name="connsiteY4364" fmla="*/ 1126680 h 1387660"/>
                <a:gd name="connsiteX4365" fmla="*/ 162746 w 1083508"/>
                <a:gd name="connsiteY4365" fmla="*/ 1124725 h 1387660"/>
                <a:gd name="connsiteX4366" fmla="*/ 160954 w 1083508"/>
                <a:gd name="connsiteY4366" fmla="*/ 1124236 h 1387660"/>
                <a:gd name="connsiteX4367" fmla="*/ 159651 w 1083508"/>
                <a:gd name="connsiteY4367" fmla="*/ 1124725 h 1387660"/>
                <a:gd name="connsiteX4368" fmla="*/ 159651 w 1083508"/>
                <a:gd name="connsiteY4368" fmla="*/ 1124725 h 1387660"/>
                <a:gd name="connsiteX4369" fmla="*/ 157044 w 1083508"/>
                <a:gd name="connsiteY4369" fmla="*/ 1118371 h 1387660"/>
                <a:gd name="connsiteX4370" fmla="*/ 158673 w 1083508"/>
                <a:gd name="connsiteY4370" fmla="*/ 1120978 h 1387660"/>
                <a:gd name="connsiteX4371" fmla="*/ 162420 w 1083508"/>
                <a:gd name="connsiteY4371" fmla="*/ 1121467 h 1387660"/>
                <a:gd name="connsiteX4372" fmla="*/ 162420 w 1083508"/>
                <a:gd name="connsiteY4372" fmla="*/ 1117720 h 1387660"/>
                <a:gd name="connsiteX4373" fmla="*/ 160139 w 1083508"/>
                <a:gd name="connsiteY4373" fmla="*/ 1116742 h 1387660"/>
                <a:gd name="connsiteX4374" fmla="*/ 157044 w 1083508"/>
                <a:gd name="connsiteY4374" fmla="*/ 1118208 h 1387660"/>
                <a:gd name="connsiteX4375" fmla="*/ 157044 w 1083508"/>
                <a:gd name="connsiteY4375" fmla="*/ 1118208 h 1387660"/>
                <a:gd name="connsiteX4376" fmla="*/ 160303 w 1083508"/>
                <a:gd name="connsiteY4376" fmla="*/ 1068358 h 1387660"/>
                <a:gd name="connsiteX4377" fmla="*/ 164864 w 1083508"/>
                <a:gd name="connsiteY4377" fmla="*/ 1069499 h 1387660"/>
                <a:gd name="connsiteX4378" fmla="*/ 166656 w 1083508"/>
                <a:gd name="connsiteY4378" fmla="*/ 1067381 h 1387660"/>
                <a:gd name="connsiteX4379" fmla="*/ 164212 w 1083508"/>
                <a:gd name="connsiteY4379" fmla="*/ 1066403 h 1387660"/>
                <a:gd name="connsiteX4380" fmla="*/ 160303 w 1083508"/>
                <a:gd name="connsiteY4380" fmla="*/ 1068358 h 1387660"/>
                <a:gd name="connsiteX4381" fmla="*/ 160303 w 1083508"/>
                <a:gd name="connsiteY4381" fmla="*/ 1068358 h 1387660"/>
                <a:gd name="connsiteX4382" fmla="*/ 162746 w 1083508"/>
                <a:gd name="connsiteY4382" fmla="*/ 1063308 h 1387660"/>
                <a:gd name="connsiteX4383" fmla="*/ 165027 w 1083508"/>
                <a:gd name="connsiteY4383" fmla="*/ 1064448 h 1387660"/>
                <a:gd name="connsiteX4384" fmla="*/ 168774 w 1083508"/>
                <a:gd name="connsiteY4384" fmla="*/ 1064448 h 1387660"/>
                <a:gd name="connsiteX4385" fmla="*/ 171706 w 1083508"/>
                <a:gd name="connsiteY4385" fmla="*/ 1062656 h 1387660"/>
                <a:gd name="connsiteX4386" fmla="*/ 166982 w 1083508"/>
                <a:gd name="connsiteY4386" fmla="*/ 1061027 h 1387660"/>
                <a:gd name="connsiteX4387" fmla="*/ 163561 w 1083508"/>
                <a:gd name="connsiteY4387" fmla="*/ 1062005 h 1387660"/>
                <a:gd name="connsiteX4388" fmla="*/ 162909 w 1083508"/>
                <a:gd name="connsiteY4388" fmla="*/ 1063145 h 1387660"/>
                <a:gd name="connsiteX4389" fmla="*/ 162909 w 1083508"/>
                <a:gd name="connsiteY4389" fmla="*/ 1063145 h 1387660"/>
                <a:gd name="connsiteX4390" fmla="*/ 153460 w 1083508"/>
                <a:gd name="connsiteY4390" fmla="*/ 1061190 h 1387660"/>
                <a:gd name="connsiteX4391" fmla="*/ 154601 w 1083508"/>
                <a:gd name="connsiteY4391" fmla="*/ 1063960 h 1387660"/>
                <a:gd name="connsiteX4392" fmla="*/ 156881 w 1083508"/>
                <a:gd name="connsiteY4392" fmla="*/ 1062819 h 1387660"/>
                <a:gd name="connsiteX4393" fmla="*/ 156230 w 1083508"/>
                <a:gd name="connsiteY4393" fmla="*/ 1061027 h 1387660"/>
                <a:gd name="connsiteX4394" fmla="*/ 154601 w 1083508"/>
                <a:gd name="connsiteY4394" fmla="*/ 1060701 h 1387660"/>
                <a:gd name="connsiteX4395" fmla="*/ 153460 w 1083508"/>
                <a:gd name="connsiteY4395" fmla="*/ 1061190 h 1387660"/>
                <a:gd name="connsiteX4396" fmla="*/ 153460 w 1083508"/>
                <a:gd name="connsiteY4396" fmla="*/ 1061190 h 1387660"/>
                <a:gd name="connsiteX4397" fmla="*/ 166656 w 1083508"/>
                <a:gd name="connsiteY4397" fmla="*/ 1017531 h 1387660"/>
                <a:gd name="connsiteX4398" fmla="*/ 165516 w 1083508"/>
                <a:gd name="connsiteY4398" fmla="*/ 1018997 h 1387660"/>
                <a:gd name="connsiteX4399" fmla="*/ 166819 w 1083508"/>
                <a:gd name="connsiteY4399" fmla="*/ 1020300 h 1387660"/>
                <a:gd name="connsiteX4400" fmla="*/ 169100 w 1083508"/>
                <a:gd name="connsiteY4400" fmla="*/ 1019811 h 1387660"/>
                <a:gd name="connsiteX4401" fmla="*/ 172032 w 1083508"/>
                <a:gd name="connsiteY4401" fmla="*/ 1016553 h 1387660"/>
                <a:gd name="connsiteX4402" fmla="*/ 172358 w 1083508"/>
                <a:gd name="connsiteY4402" fmla="*/ 1014435 h 1387660"/>
                <a:gd name="connsiteX4403" fmla="*/ 169914 w 1083508"/>
                <a:gd name="connsiteY4403" fmla="*/ 1014435 h 1387660"/>
                <a:gd name="connsiteX4404" fmla="*/ 166656 w 1083508"/>
                <a:gd name="connsiteY4404" fmla="*/ 1017531 h 1387660"/>
                <a:gd name="connsiteX4405" fmla="*/ 166656 w 1083508"/>
                <a:gd name="connsiteY4405" fmla="*/ 1017531 h 1387660"/>
                <a:gd name="connsiteX4406" fmla="*/ 207872 w 1083508"/>
                <a:gd name="connsiteY4406" fmla="*/ 999936 h 1387660"/>
                <a:gd name="connsiteX4407" fmla="*/ 211293 w 1083508"/>
                <a:gd name="connsiteY4407" fmla="*/ 1001728 h 1387660"/>
                <a:gd name="connsiteX4408" fmla="*/ 218135 w 1083508"/>
                <a:gd name="connsiteY4408" fmla="*/ 1000751 h 1387660"/>
                <a:gd name="connsiteX4409" fmla="*/ 217646 w 1083508"/>
                <a:gd name="connsiteY4409" fmla="*/ 998307 h 1387660"/>
                <a:gd name="connsiteX4410" fmla="*/ 211782 w 1083508"/>
                <a:gd name="connsiteY4410" fmla="*/ 996841 h 1387660"/>
                <a:gd name="connsiteX4411" fmla="*/ 208035 w 1083508"/>
                <a:gd name="connsiteY4411" fmla="*/ 997981 h 1387660"/>
                <a:gd name="connsiteX4412" fmla="*/ 208035 w 1083508"/>
                <a:gd name="connsiteY4412" fmla="*/ 999936 h 1387660"/>
                <a:gd name="connsiteX4413" fmla="*/ 208035 w 1083508"/>
                <a:gd name="connsiteY4413" fmla="*/ 999936 h 1387660"/>
                <a:gd name="connsiteX4414" fmla="*/ 191418 w 1083508"/>
                <a:gd name="connsiteY4414" fmla="*/ 976640 h 1387660"/>
                <a:gd name="connsiteX4415" fmla="*/ 190929 w 1083508"/>
                <a:gd name="connsiteY4415" fmla="*/ 978595 h 1387660"/>
                <a:gd name="connsiteX4416" fmla="*/ 192396 w 1083508"/>
                <a:gd name="connsiteY4416" fmla="*/ 980387 h 1387660"/>
                <a:gd name="connsiteX4417" fmla="*/ 199727 w 1083508"/>
                <a:gd name="connsiteY4417" fmla="*/ 979084 h 1387660"/>
                <a:gd name="connsiteX4418" fmla="*/ 198749 w 1083508"/>
                <a:gd name="connsiteY4418" fmla="*/ 976315 h 1387660"/>
                <a:gd name="connsiteX4419" fmla="*/ 194351 w 1083508"/>
                <a:gd name="connsiteY4419" fmla="*/ 975989 h 1387660"/>
                <a:gd name="connsiteX4420" fmla="*/ 191418 w 1083508"/>
                <a:gd name="connsiteY4420" fmla="*/ 976477 h 1387660"/>
                <a:gd name="connsiteX4421" fmla="*/ 191418 w 1083508"/>
                <a:gd name="connsiteY4421" fmla="*/ 976477 h 1387660"/>
                <a:gd name="connsiteX4422" fmla="*/ 211619 w 1083508"/>
                <a:gd name="connsiteY4422" fmla="*/ 974848 h 1387660"/>
                <a:gd name="connsiteX4423" fmla="*/ 212922 w 1083508"/>
                <a:gd name="connsiteY4423" fmla="*/ 977129 h 1387660"/>
                <a:gd name="connsiteX4424" fmla="*/ 217158 w 1083508"/>
                <a:gd name="connsiteY4424" fmla="*/ 977129 h 1387660"/>
                <a:gd name="connsiteX4425" fmla="*/ 219927 w 1083508"/>
                <a:gd name="connsiteY4425" fmla="*/ 975337 h 1387660"/>
                <a:gd name="connsiteX4426" fmla="*/ 215529 w 1083508"/>
                <a:gd name="connsiteY4426" fmla="*/ 973708 h 1387660"/>
                <a:gd name="connsiteX4427" fmla="*/ 211456 w 1083508"/>
                <a:gd name="connsiteY4427" fmla="*/ 974848 h 1387660"/>
                <a:gd name="connsiteX4428" fmla="*/ 211456 w 1083508"/>
                <a:gd name="connsiteY4428" fmla="*/ 974848 h 1387660"/>
                <a:gd name="connsiteX4429" fmla="*/ 200052 w 1083508"/>
                <a:gd name="connsiteY4429" fmla="*/ 971427 h 1387660"/>
                <a:gd name="connsiteX4430" fmla="*/ 206080 w 1083508"/>
                <a:gd name="connsiteY4430" fmla="*/ 974034 h 1387660"/>
                <a:gd name="connsiteX4431" fmla="*/ 209501 w 1083508"/>
                <a:gd name="connsiteY4431" fmla="*/ 973545 h 1387660"/>
                <a:gd name="connsiteX4432" fmla="*/ 212759 w 1083508"/>
                <a:gd name="connsiteY4432" fmla="*/ 971101 h 1387660"/>
                <a:gd name="connsiteX4433" fmla="*/ 209827 w 1083508"/>
                <a:gd name="connsiteY4433" fmla="*/ 969472 h 1387660"/>
                <a:gd name="connsiteX4434" fmla="*/ 204777 w 1083508"/>
                <a:gd name="connsiteY4434" fmla="*/ 968332 h 1387660"/>
                <a:gd name="connsiteX4435" fmla="*/ 200378 w 1083508"/>
                <a:gd name="connsiteY4435" fmla="*/ 969961 h 1387660"/>
                <a:gd name="connsiteX4436" fmla="*/ 199889 w 1083508"/>
                <a:gd name="connsiteY4436" fmla="*/ 971590 h 1387660"/>
                <a:gd name="connsiteX4437" fmla="*/ 199889 w 1083508"/>
                <a:gd name="connsiteY4437" fmla="*/ 971590 h 1387660"/>
                <a:gd name="connsiteX4438" fmla="*/ 245015 w 1083508"/>
                <a:gd name="connsiteY4438" fmla="*/ 871890 h 1387660"/>
                <a:gd name="connsiteX4439" fmla="*/ 245993 w 1083508"/>
                <a:gd name="connsiteY4439" fmla="*/ 875800 h 1387660"/>
                <a:gd name="connsiteX4440" fmla="*/ 248273 w 1083508"/>
                <a:gd name="connsiteY4440" fmla="*/ 878080 h 1387660"/>
                <a:gd name="connsiteX4441" fmla="*/ 249577 w 1083508"/>
                <a:gd name="connsiteY4441" fmla="*/ 875474 h 1387660"/>
                <a:gd name="connsiteX4442" fmla="*/ 247459 w 1083508"/>
                <a:gd name="connsiteY4442" fmla="*/ 872867 h 1387660"/>
                <a:gd name="connsiteX4443" fmla="*/ 245015 w 1083508"/>
                <a:gd name="connsiteY4443" fmla="*/ 872053 h 1387660"/>
                <a:gd name="connsiteX4444" fmla="*/ 245015 w 1083508"/>
                <a:gd name="connsiteY4444" fmla="*/ 872053 h 1387660"/>
                <a:gd name="connsiteX4445" fmla="*/ 241920 w 1083508"/>
                <a:gd name="connsiteY4445" fmla="*/ 859834 h 1387660"/>
                <a:gd name="connsiteX4446" fmla="*/ 240617 w 1083508"/>
                <a:gd name="connsiteY4446" fmla="*/ 862441 h 1387660"/>
                <a:gd name="connsiteX4447" fmla="*/ 245667 w 1083508"/>
                <a:gd name="connsiteY4447" fmla="*/ 866025 h 1387660"/>
                <a:gd name="connsiteX4448" fmla="*/ 248111 w 1083508"/>
                <a:gd name="connsiteY4448" fmla="*/ 865536 h 1387660"/>
                <a:gd name="connsiteX4449" fmla="*/ 246481 w 1083508"/>
                <a:gd name="connsiteY4449" fmla="*/ 861138 h 1387660"/>
                <a:gd name="connsiteX4450" fmla="*/ 241920 w 1083508"/>
                <a:gd name="connsiteY4450" fmla="*/ 859834 h 1387660"/>
                <a:gd name="connsiteX4451" fmla="*/ 241920 w 1083508"/>
                <a:gd name="connsiteY4451" fmla="*/ 859834 h 1387660"/>
                <a:gd name="connsiteX4452" fmla="*/ 227747 w 1083508"/>
                <a:gd name="connsiteY4452" fmla="*/ 825624 h 1387660"/>
                <a:gd name="connsiteX4453" fmla="*/ 231168 w 1083508"/>
                <a:gd name="connsiteY4453" fmla="*/ 825624 h 1387660"/>
                <a:gd name="connsiteX4454" fmla="*/ 234915 w 1083508"/>
                <a:gd name="connsiteY4454" fmla="*/ 821877 h 1387660"/>
                <a:gd name="connsiteX4455" fmla="*/ 238662 w 1083508"/>
                <a:gd name="connsiteY4455" fmla="*/ 820410 h 1387660"/>
                <a:gd name="connsiteX4456" fmla="*/ 238662 w 1083508"/>
                <a:gd name="connsiteY4456" fmla="*/ 818456 h 1387660"/>
                <a:gd name="connsiteX4457" fmla="*/ 234752 w 1083508"/>
                <a:gd name="connsiteY4457" fmla="*/ 818293 h 1387660"/>
                <a:gd name="connsiteX4458" fmla="*/ 231331 w 1083508"/>
                <a:gd name="connsiteY4458" fmla="*/ 816012 h 1387660"/>
                <a:gd name="connsiteX4459" fmla="*/ 227747 w 1083508"/>
                <a:gd name="connsiteY4459" fmla="*/ 818293 h 1387660"/>
                <a:gd name="connsiteX4460" fmla="*/ 226606 w 1083508"/>
                <a:gd name="connsiteY4460" fmla="*/ 822040 h 1387660"/>
                <a:gd name="connsiteX4461" fmla="*/ 227747 w 1083508"/>
                <a:gd name="connsiteY4461" fmla="*/ 825624 h 1387660"/>
                <a:gd name="connsiteX4462" fmla="*/ 227747 w 1083508"/>
                <a:gd name="connsiteY4462" fmla="*/ 825624 h 1387660"/>
                <a:gd name="connsiteX4463" fmla="*/ 228073 w 1083508"/>
                <a:gd name="connsiteY4463" fmla="*/ 845010 h 1387660"/>
                <a:gd name="connsiteX4464" fmla="*/ 230354 w 1083508"/>
                <a:gd name="connsiteY4464" fmla="*/ 846802 h 1387660"/>
                <a:gd name="connsiteX4465" fmla="*/ 234915 w 1083508"/>
                <a:gd name="connsiteY4465" fmla="*/ 846313 h 1387660"/>
                <a:gd name="connsiteX4466" fmla="*/ 238662 w 1083508"/>
                <a:gd name="connsiteY4466" fmla="*/ 842077 h 1387660"/>
                <a:gd name="connsiteX4467" fmla="*/ 238010 w 1083508"/>
                <a:gd name="connsiteY4467" fmla="*/ 836864 h 1387660"/>
                <a:gd name="connsiteX4468" fmla="*/ 233286 w 1083508"/>
                <a:gd name="connsiteY4468" fmla="*/ 834909 h 1387660"/>
                <a:gd name="connsiteX4469" fmla="*/ 230028 w 1083508"/>
                <a:gd name="connsiteY4469" fmla="*/ 836376 h 1387660"/>
                <a:gd name="connsiteX4470" fmla="*/ 228236 w 1083508"/>
                <a:gd name="connsiteY4470" fmla="*/ 844847 h 1387660"/>
                <a:gd name="connsiteX4471" fmla="*/ 228236 w 1083508"/>
                <a:gd name="connsiteY4471" fmla="*/ 844847 h 1387660"/>
                <a:gd name="connsiteX4472" fmla="*/ 212108 w 1083508"/>
                <a:gd name="connsiteY4472" fmla="*/ 846150 h 1387660"/>
                <a:gd name="connsiteX4473" fmla="*/ 216343 w 1083508"/>
                <a:gd name="connsiteY4473" fmla="*/ 848431 h 1387660"/>
                <a:gd name="connsiteX4474" fmla="*/ 219601 w 1083508"/>
                <a:gd name="connsiteY4474" fmla="*/ 844358 h 1387660"/>
                <a:gd name="connsiteX4475" fmla="*/ 219113 w 1083508"/>
                <a:gd name="connsiteY4475" fmla="*/ 841426 h 1387660"/>
                <a:gd name="connsiteX4476" fmla="*/ 220579 w 1083508"/>
                <a:gd name="connsiteY4476" fmla="*/ 834258 h 1387660"/>
                <a:gd name="connsiteX4477" fmla="*/ 213900 w 1083508"/>
                <a:gd name="connsiteY4477" fmla="*/ 837516 h 1387660"/>
                <a:gd name="connsiteX4478" fmla="*/ 211945 w 1083508"/>
                <a:gd name="connsiteY4478" fmla="*/ 840937 h 1387660"/>
                <a:gd name="connsiteX4479" fmla="*/ 212271 w 1083508"/>
                <a:gd name="connsiteY4479" fmla="*/ 846150 h 1387660"/>
                <a:gd name="connsiteX4480" fmla="*/ 212271 w 1083508"/>
                <a:gd name="connsiteY4480" fmla="*/ 846150 h 1387660"/>
                <a:gd name="connsiteX4481" fmla="*/ 181481 w 1083508"/>
                <a:gd name="connsiteY4481" fmla="*/ 870424 h 1387660"/>
                <a:gd name="connsiteX4482" fmla="*/ 179852 w 1083508"/>
                <a:gd name="connsiteY4482" fmla="*/ 872867 h 1387660"/>
                <a:gd name="connsiteX4483" fmla="*/ 182295 w 1083508"/>
                <a:gd name="connsiteY4483" fmla="*/ 877103 h 1387660"/>
                <a:gd name="connsiteX4484" fmla="*/ 185716 w 1083508"/>
                <a:gd name="connsiteY4484" fmla="*/ 878080 h 1387660"/>
                <a:gd name="connsiteX4485" fmla="*/ 186857 w 1083508"/>
                <a:gd name="connsiteY4485" fmla="*/ 875474 h 1387660"/>
                <a:gd name="connsiteX4486" fmla="*/ 183924 w 1083508"/>
                <a:gd name="connsiteY4486" fmla="*/ 870261 h 1387660"/>
                <a:gd name="connsiteX4487" fmla="*/ 181318 w 1083508"/>
                <a:gd name="connsiteY4487" fmla="*/ 870261 h 1387660"/>
                <a:gd name="connsiteX4488" fmla="*/ 241268 w 1083508"/>
                <a:gd name="connsiteY4488" fmla="*/ 918970 h 1387660"/>
                <a:gd name="connsiteX4489" fmla="*/ 241268 w 1083508"/>
                <a:gd name="connsiteY4489" fmla="*/ 920600 h 1387660"/>
                <a:gd name="connsiteX4490" fmla="*/ 243875 w 1083508"/>
                <a:gd name="connsiteY4490" fmla="*/ 920111 h 1387660"/>
                <a:gd name="connsiteX4491" fmla="*/ 244201 w 1083508"/>
                <a:gd name="connsiteY4491" fmla="*/ 923206 h 1387660"/>
                <a:gd name="connsiteX4492" fmla="*/ 242735 w 1083508"/>
                <a:gd name="connsiteY4492" fmla="*/ 928256 h 1387660"/>
                <a:gd name="connsiteX4493" fmla="*/ 244527 w 1083508"/>
                <a:gd name="connsiteY4493" fmla="*/ 930374 h 1387660"/>
                <a:gd name="connsiteX4494" fmla="*/ 247785 w 1083508"/>
                <a:gd name="connsiteY4494" fmla="*/ 927930 h 1387660"/>
                <a:gd name="connsiteX4495" fmla="*/ 249577 w 1083508"/>
                <a:gd name="connsiteY4495" fmla="*/ 920600 h 1387660"/>
                <a:gd name="connsiteX4496" fmla="*/ 253324 w 1083508"/>
                <a:gd name="connsiteY4496" fmla="*/ 917016 h 1387660"/>
                <a:gd name="connsiteX4497" fmla="*/ 252020 w 1083508"/>
                <a:gd name="connsiteY4497" fmla="*/ 915224 h 1387660"/>
                <a:gd name="connsiteX4498" fmla="*/ 249414 w 1083508"/>
                <a:gd name="connsiteY4498" fmla="*/ 915875 h 1387660"/>
                <a:gd name="connsiteX4499" fmla="*/ 244852 w 1083508"/>
                <a:gd name="connsiteY4499" fmla="*/ 915387 h 1387660"/>
                <a:gd name="connsiteX4500" fmla="*/ 241105 w 1083508"/>
                <a:gd name="connsiteY4500" fmla="*/ 918808 h 1387660"/>
                <a:gd name="connsiteX4501" fmla="*/ 241105 w 1083508"/>
                <a:gd name="connsiteY4501" fmla="*/ 918808 h 1387660"/>
                <a:gd name="connsiteX4502" fmla="*/ 180829 w 1083508"/>
                <a:gd name="connsiteY4502" fmla="*/ 935587 h 1387660"/>
                <a:gd name="connsiteX4503" fmla="*/ 183598 w 1083508"/>
                <a:gd name="connsiteY4503" fmla="*/ 937542 h 1387660"/>
                <a:gd name="connsiteX4504" fmla="*/ 191092 w 1083508"/>
                <a:gd name="connsiteY4504" fmla="*/ 938520 h 1387660"/>
                <a:gd name="connsiteX4505" fmla="*/ 192396 w 1083508"/>
                <a:gd name="connsiteY4505" fmla="*/ 942267 h 1387660"/>
                <a:gd name="connsiteX4506" fmla="*/ 196957 w 1083508"/>
                <a:gd name="connsiteY4506" fmla="*/ 943244 h 1387660"/>
                <a:gd name="connsiteX4507" fmla="*/ 200052 w 1083508"/>
                <a:gd name="connsiteY4507" fmla="*/ 940800 h 1387660"/>
                <a:gd name="connsiteX4508" fmla="*/ 213737 w 1083508"/>
                <a:gd name="connsiteY4508" fmla="*/ 938357 h 1387660"/>
                <a:gd name="connsiteX4509" fmla="*/ 221556 w 1083508"/>
                <a:gd name="connsiteY4509" fmla="*/ 938357 h 1387660"/>
                <a:gd name="connsiteX4510" fmla="*/ 230354 w 1083508"/>
                <a:gd name="connsiteY4510" fmla="*/ 930537 h 1387660"/>
                <a:gd name="connsiteX4511" fmla="*/ 228887 w 1083508"/>
                <a:gd name="connsiteY4511" fmla="*/ 923043 h 1387660"/>
                <a:gd name="connsiteX4512" fmla="*/ 225955 w 1083508"/>
                <a:gd name="connsiteY4512" fmla="*/ 916527 h 1387660"/>
                <a:gd name="connsiteX4513" fmla="*/ 220905 w 1083508"/>
                <a:gd name="connsiteY4513" fmla="*/ 916201 h 1387660"/>
                <a:gd name="connsiteX4514" fmla="*/ 216180 w 1083508"/>
                <a:gd name="connsiteY4514" fmla="*/ 913920 h 1387660"/>
                <a:gd name="connsiteX4515" fmla="*/ 212922 w 1083508"/>
                <a:gd name="connsiteY4515" fmla="*/ 901702 h 1387660"/>
                <a:gd name="connsiteX4516" fmla="*/ 208198 w 1083508"/>
                <a:gd name="connsiteY4516" fmla="*/ 893394 h 1387660"/>
                <a:gd name="connsiteX4517" fmla="*/ 200215 w 1083508"/>
                <a:gd name="connsiteY4517" fmla="*/ 891602 h 1387660"/>
                <a:gd name="connsiteX4518" fmla="*/ 195491 w 1083508"/>
                <a:gd name="connsiteY4518" fmla="*/ 886226 h 1387660"/>
                <a:gd name="connsiteX4519" fmla="*/ 187997 w 1083508"/>
                <a:gd name="connsiteY4519" fmla="*/ 885411 h 1387660"/>
                <a:gd name="connsiteX4520" fmla="*/ 182458 w 1083508"/>
                <a:gd name="connsiteY4520" fmla="*/ 883130 h 1387660"/>
                <a:gd name="connsiteX4521" fmla="*/ 182132 w 1083508"/>
                <a:gd name="connsiteY4521" fmla="*/ 886226 h 1387660"/>
                <a:gd name="connsiteX4522" fmla="*/ 176268 w 1083508"/>
                <a:gd name="connsiteY4522" fmla="*/ 891765 h 1387660"/>
                <a:gd name="connsiteX4523" fmla="*/ 176268 w 1083508"/>
                <a:gd name="connsiteY4523" fmla="*/ 897955 h 1387660"/>
                <a:gd name="connsiteX4524" fmla="*/ 181806 w 1083508"/>
                <a:gd name="connsiteY4524" fmla="*/ 901051 h 1387660"/>
                <a:gd name="connsiteX4525" fmla="*/ 184087 w 1083508"/>
                <a:gd name="connsiteY4525" fmla="*/ 905775 h 1387660"/>
                <a:gd name="connsiteX4526" fmla="*/ 179363 w 1083508"/>
                <a:gd name="connsiteY4526" fmla="*/ 902843 h 1387660"/>
                <a:gd name="connsiteX4527" fmla="*/ 175127 w 1083508"/>
                <a:gd name="connsiteY4527" fmla="*/ 904634 h 1387660"/>
                <a:gd name="connsiteX4528" fmla="*/ 175127 w 1083508"/>
                <a:gd name="connsiteY4528" fmla="*/ 908544 h 1387660"/>
                <a:gd name="connsiteX4529" fmla="*/ 173498 w 1083508"/>
                <a:gd name="connsiteY4529" fmla="*/ 912454 h 1387660"/>
                <a:gd name="connsiteX4530" fmla="*/ 180340 w 1083508"/>
                <a:gd name="connsiteY4530" fmla="*/ 916364 h 1387660"/>
                <a:gd name="connsiteX4531" fmla="*/ 175942 w 1083508"/>
                <a:gd name="connsiteY4531" fmla="*/ 917667 h 1387660"/>
                <a:gd name="connsiteX4532" fmla="*/ 174476 w 1083508"/>
                <a:gd name="connsiteY4532" fmla="*/ 919459 h 1387660"/>
                <a:gd name="connsiteX4533" fmla="*/ 176430 w 1083508"/>
                <a:gd name="connsiteY4533" fmla="*/ 923695 h 1387660"/>
                <a:gd name="connsiteX4534" fmla="*/ 188649 w 1083508"/>
                <a:gd name="connsiteY4534" fmla="*/ 926627 h 1387660"/>
                <a:gd name="connsiteX4535" fmla="*/ 190441 w 1083508"/>
                <a:gd name="connsiteY4535" fmla="*/ 929071 h 1387660"/>
                <a:gd name="connsiteX4536" fmla="*/ 193699 w 1083508"/>
                <a:gd name="connsiteY4536" fmla="*/ 930211 h 1387660"/>
                <a:gd name="connsiteX4537" fmla="*/ 201681 w 1083508"/>
                <a:gd name="connsiteY4537" fmla="*/ 925161 h 1387660"/>
                <a:gd name="connsiteX4538" fmla="*/ 195980 w 1083508"/>
                <a:gd name="connsiteY4538" fmla="*/ 932329 h 1387660"/>
                <a:gd name="connsiteX4539" fmla="*/ 191744 w 1083508"/>
                <a:gd name="connsiteY4539" fmla="*/ 932329 h 1387660"/>
                <a:gd name="connsiteX4540" fmla="*/ 184576 w 1083508"/>
                <a:gd name="connsiteY4540" fmla="*/ 929722 h 1387660"/>
                <a:gd name="connsiteX4541" fmla="*/ 181644 w 1083508"/>
                <a:gd name="connsiteY4541" fmla="*/ 930537 h 1387660"/>
                <a:gd name="connsiteX4542" fmla="*/ 181318 w 1083508"/>
                <a:gd name="connsiteY4542" fmla="*/ 935099 h 13876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  <a:cxn ang="0">
                  <a:pos x="connsiteX1317" y="connsiteY1317"/>
                </a:cxn>
                <a:cxn ang="0">
                  <a:pos x="connsiteX1318" y="connsiteY1318"/>
                </a:cxn>
                <a:cxn ang="0">
                  <a:pos x="connsiteX1319" y="connsiteY1319"/>
                </a:cxn>
                <a:cxn ang="0">
                  <a:pos x="connsiteX1320" y="connsiteY1320"/>
                </a:cxn>
                <a:cxn ang="0">
                  <a:pos x="connsiteX1321" y="connsiteY1321"/>
                </a:cxn>
                <a:cxn ang="0">
                  <a:pos x="connsiteX1322" y="connsiteY1322"/>
                </a:cxn>
                <a:cxn ang="0">
                  <a:pos x="connsiteX1323" y="connsiteY1323"/>
                </a:cxn>
                <a:cxn ang="0">
                  <a:pos x="connsiteX1324" y="connsiteY1324"/>
                </a:cxn>
                <a:cxn ang="0">
                  <a:pos x="connsiteX1325" y="connsiteY1325"/>
                </a:cxn>
                <a:cxn ang="0">
                  <a:pos x="connsiteX1326" y="connsiteY1326"/>
                </a:cxn>
                <a:cxn ang="0">
                  <a:pos x="connsiteX1327" y="connsiteY1327"/>
                </a:cxn>
                <a:cxn ang="0">
                  <a:pos x="connsiteX1328" y="connsiteY1328"/>
                </a:cxn>
                <a:cxn ang="0">
                  <a:pos x="connsiteX1329" y="connsiteY1329"/>
                </a:cxn>
                <a:cxn ang="0">
                  <a:pos x="connsiteX1330" y="connsiteY1330"/>
                </a:cxn>
                <a:cxn ang="0">
                  <a:pos x="connsiteX1331" y="connsiteY1331"/>
                </a:cxn>
                <a:cxn ang="0">
                  <a:pos x="connsiteX1332" y="connsiteY1332"/>
                </a:cxn>
                <a:cxn ang="0">
                  <a:pos x="connsiteX1333" y="connsiteY1333"/>
                </a:cxn>
                <a:cxn ang="0">
                  <a:pos x="connsiteX1334" y="connsiteY1334"/>
                </a:cxn>
                <a:cxn ang="0">
                  <a:pos x="connsiteX1335" y="connsiteY1335"/>
                </a:cxn>
                <a:cxn ang="0">
                  <a:pos x="connsiteX1336" y="connsiteY1336"/>
                </a:cxn>
                <a:cxn ang="0">
                  <a:pos x="connsiteX1337" y="connsiteY1337"/>
                </a:cxn>
                <a:cxn ang="0">
                  <a:pos x="connsiteX1338" y="connsiteY1338"/>
                </a:cxn>
                <a:cxn ang="0">
                  <a:pos x="connsiteX1339" y="connsiteY1339"/>
                </a:cxn>
                <a:cxn ang="0">
                  <a:pos x="connsiteX1340" y="connsiteY1340"/>
                </a:cxn>
                <a:cxn ang="0">
                  <a:pos x="connsiteX1341" y="connsiteY1341"/>
                </a:cxn>
                <a:cxn ang="0">
                  <a:pos x="connsiteX1342" y="connsiteY1342"/>
                </a:cxn>
                <a:cxn ang="0">
                  <a:pos x="connsiteX1343" y="connsiteY1343"/>
                </a:cxn>
                <a:cxn ang="0">
                  <a:pos x="connsiteX1344" y="connsiteY1344"/>
                </a:cxn>
                <a:cxn ang="0">
                  <a:pos x="connsiteX1345" y="connsiteY1345"/>
                </a:cxn>
                <a:cxn ang="0">
                  <a:pos x="connsiteX1346" y="connsiteY1346"/>
                </a:cxn>
                <a:cxn ang="0">
                  <a:pos x="connsiteX1347" y="connsiteY1347"/>
                </a:cxn>
                <a:cxn ang="0">
                  <a:pos x="connsiteX1348" y="connsiteY1348"/>
                </a:cxn>
                <a:cxn ang="0">
                  <a:pos x="connsiteX1349" y="connsiteY1349"/>
                </a:cxn>
                <a:cxn ang="0">
                  <a:pos x="connsiteX1350" y="connsiteY1350"/>
                </a:cxn>
                <a:cxn ang="0">
                  <a:pos x="connsiteX1351" y="connsiteY1351"/>
                </a:cxn>
                <a:cxn ang="0">
                  <a:pos x="connsiteX1352" y="connsiteY1352"/>
                </a:cxn>
                <a:cxn ang="0">
                  <a:pos x="connsiteX1353" y="connsiteY1353"/>
                </a:cxn>
                <a:cxn ang="0">
                  <a:pos x="connsiteX1354" y="connsiteY1354"/>
                </a:cxn>
                <a:cxn ang="0">
                  <a:pos x="connsiteX1355" y="connsiteY1355"/>
                </a:cxn>
                <a:cxn ang="0">
                  <a:pos x="connsiteX1356" y="connsiteY1356"/>
                </a:cxn>
                <a:cxn ang="0">
                  <a:pos x="connsiteX1357" y="connsiteY1357"/>
                </a:cxn>
                <a:cxn ang="0">
                  <a:pos x="connsiteX1358" y="connsiteY1358"/>
                </a:cxn>
                <a:cxn ang="0">
                  <a:pos x="connsiteX1359" y="connsiteY1359"/>
                </a:cxn>
                <a:cxn ang="0">
                  <a:pos x="connsiteX1360" y="connsiteY1360"/>
                </a:cxn>
                <a:cxn ang="0">
                  <a:pos x="connsiteX1361" y="connsiteY1361"/>
                </a:cxn>
                <a:cxn ang="0">
                  <a:pos x="connsiteX1362" y="connsiteY1362"/>
                </a:cxn>
                <a:cxn ang="0">
                  <a:pos x="connsiteX1363" y="connsiteY1363"/>
                </a:cxn>
                <a:cxn ang="0">
                  <a:pos x="connsiteX1364" y="connsiteY1364"/>
                </a:cxn>
                <a:cxn ang="0">
                  <a:pos x="connsiteX1365" y="connsiteY1365"/>
                </a:cxn>
                <a:cxn ang="0">
                  <a:pos x="connsiteX1366" y="connsiteY1366"/>
                </a:cxn>
                <a:cxn ang="0">
                  <a:pos x="connsiteX1367" y="connsiteY1367"/>
                </a:cxn>
                <a:cxn ang="0">
                  <a:pos x="connsiteX1368" y="connsiteY1368"/>
                </a:cxn>
                <a:cxn ang="0">
                  <a:pos x="connsiteX1369" y="connsiteY1369"/>
                </a:cxn>
                <a:cxn ang="0">
                  <a:pos x="connsiteX1370" y="connsiteY1370"/>
                </a:cxn>
                <a:cxn ang="0">
                  <a:pos x="connsiteX1371" y="connsiteY1371"/>
                </a:cxn>
                <a:cxn ang="0">
                  <a:pos x="connsiteX1372" y="connsiteY1372"/>
                </a:cxn>
                <a:cxn ang="0">
                  <a:pos x="connsiteX1373" y="connsiteY1373"/>
                </a:cxn>
                <a:cxn ang="0">
                  <a:pos x="connsiteX1374" y="connsiteY1374"/>
                </a:cxn>
                <a:cxn ang="0">
                  <a:pos x="connsiteX1375" y="connsiteY1375"/>
                </a:cxn>
                <a:cxn ang="0">
                  <a:pos x="connsiteX1376" y="connsiteY1376"/>
                </a:cxn>
                <a:cxn ang="0">
                  <a:pos x="connsiteX1377" y="connsiteY1377"/>
                </a:cxn>
                <a:cxn ang="0">
                  <a:pos x="connsiteX1378" y="connsiteY1378"/>
                </a:cxn>
                <a:cxn ang="0">
                  <a:pos x="connsiteX1379" y="connsiteY1379"/>
                </a:cxn>
                <a:cxn ang="0">
                  <a:pos x="connsiteX1380" y="connsiteY1380"/>
                </a:cxn>
                <a:cxn ang="0">
                  <a:pos x="connsiteX1381" y="connsiteY1381"/>
                </a:cxn>
                <a:cxn ang="0">
                  <a:pos x="connsiteX1382" y="connsiteY1382"/>
                </a:cxn>
                <a:cxn ang="0">
                  <a:pos x="connsiteX1383" y="connsiteY1383"/>
                </a:cxn>
                <a:cxn ang="0">
                  <a:pos x="connsiteX1384" y="connsiteY1384"/>
                </a:cxn>
                <a:cxn ang="0">
                  <a:pos x="connsiteX1385" y="connsiteY1385"/>
                </a:cxn>
                <a:cxn ang="0">
                  <a:pos x="connsiteX1386" y="connsiteY1386"/>
                </a:cxn>
                <a:cxn ang="0">
                  <a:pos x="connsiteX1387" y="connsiteY1387"/>
                </a:cxn>
                <a:cxn ang="0">
                  <a:pos x="connsiteX1388" y="connsiteY1388"/>
                </a:cxn>
                <a:cxn ang="0">
                  <a:pos x="connsiteX1389" y="connsiteY1389"/>
                </a:cxn>
                <a:cxn ang="0">
                  <a:pos x="connsiteX1390" y="connsiteY1390"/>
                </a:cxn>
                <a:cxn ang="0">
                  <a:pos x="connsiteX1391" y="connsiteY1391"/>
                </a:cxn>
                <a:cxn ang="0">
                  <a:pos x="connsiteX1392" y="connsiteY1392"/>
                </a:cxn>
                <a:cxn ang="0">
                  <a:pos x="connsiteX1393" y="connsiteY1393"/>
                </a:cxn>
                <a:cxn ang="0">
                  <a:pos x="connsiteX1394" y="connsiteY1394"/>
                </a:cxn>
                <a:cxn ang="0">
                  <a:pos x="connsiteX1395" y="connsiteY1395"/>
                </a:cxn>
                <a:cxn ang="0">
                  <a:pos x="connsiteX1396" y="connsiteY1396"/>
                </a:cxn>
                <a:cxn ang="0">
                  <a:pos x="connsiteX1397" y="connsiteY1397"/>
                </a:cxn>
                <a:cxn ang="0">
                  <a:pos x="connsiteX1398" y="connsiteY1398"/>
                </a:cxn>
                <a:cxn ang="0">
                  <a:pos x="connsiteX1399" y="connsiteY1399"/>
                </a:cxn>
                <a:cxn ang="0">
                  <a:pos x="connsiteX1400" y="connsiteY1400"/>
                </a:cxn>
                <a:cxn ang="0">
                  <a:pos x="connsiteX1401" y="connsiteY1401"/>
                </a:cxn>
                <a:cxn ang="0">
                  <a:pos x="connsiteX1402" y="connsiteY1402"/>
                </a:cxn>
                <a:cxn ang="0">
                  <a:pos x="connsiteX1403" y="connsiteY1403"/>
                </a:cxn>
                <a:cxn ang="0">
                  <a:pos x="connsiteX1404" y="connsiteY1404"/>
                </a:cxn>
                <a:cxn ang="0">
                  <a:pos x="connsiteX1405" y="connsiteY1405"/>
                </a:cxn>
                <a:cxn ang="0">
                  <a:pos x="connsiteX1406" y="connsiteY1406"/>
                </a:cxn>
                <a:cxn ang="0">
                  <a:pos x="connsiteX1407" y="connsiteY1407"/>
                </a:cxn>
                <a:cxn ang="0">
                  <a:pos x="connsiteX1408" y="connsiteY1408"/>
                </a:cxn>
                <a:cxn ang="0">
                  <a:pos x="connsiteX1409" y="connsiteY1409"/>
                </a:cxn>
                <a:cxn ang="0">
                  <a:pos x="connsiteX1410" y="connsiteY1410"/>
                </a:cxn>
                <a:cxn ang="0">
                  <a:pos x="connsiteX1411" y="connsiteY1411"/>
                </a:cxn>
                <a:cxn ang="0">
                  <a:pos x="connsiteX1412" y="connsiteY1412"/>
                </a:cxn>
                <a:cxn ang="0">
                  <a:pos x="connsiteX1413" y="connsiteY1413"/>
                </a:cxn>
                <a:cxn ang="0">
                  <a:pos x="connsiteX1414" y="connsiteY1414"/>
                </a:cxn>
                <a:cxn ang="0">
                  <a:pos x="connsiteX1415" y="connsiteY1415"/>
                </a:cxn>
                <a:cxn ang="0">
                  <a:pos x="connsiteX1416" y="connsiteY1416"/>
                </a:cxn>
                <a:cxn ang="0">
                  <a:pos x="connsiteX1417" y="connsiteY1417"/>
                </a:cxn>
                <a:cxn ang="0">
                  <a:pos x="connsiteX1418" y="connsiteY1418"/>
                </a:cxn>
                <a:cxn ang="0">
                  <a:pos x="connsiteX1419" y="connsiteY1419"/>
                </a:cxn>
                <a:cxn ang="0">
                  <a:pos x="connsiteX1420" y="connsiteY1420"/>
                </a:cxn>
                <a:cxn ang="0">
                  <a:pos x="connsiteX1421" y="connsiteY1421"/>
                </a:cxn>
                <a:cxn ang="0">
                  <a:pos x="connsiteX1422" y="connsiteY1422"/>
                </a:cxn>
                <a:cxn ang="0">
                  <a:pos x="connsiteX1423" y="connsiteY1423"/>
                </a:cxn>
                <a:cxn ang="0">
                  <a:pos x="connsiteX1424" y="connsiteY1424"/>
                </a:cxn>
                <a:cxn ang="0">
                  <a:pos x="connsiteX1425" y="connsiteY1425"/>
                </a:cxn>
                <a:cxn ang="0">
                  <a:pos x="connsiteX1426" y="connsiteY1426"/>
                </a:cxn>
                <a:cxn ang="0">
                  <a:pos x="connsiteX1427" y="connsiteY1427"/>
                </a:cxn>
                <a:cxn ang="0">
                  <a:pos x="connsiteX1428" y="connsiteY1428"/>
                </a:cxn>
                <a:cxn ang="0">
                  <a:pos x="connsiteX1429" y="connsiteY1429"/>
                </a:cxn>
                <a:cxn ang="0">
                  <a:pos x="connsiteX1430" y="connsiteY1430"/>
                </a:cxn>
                <a:cxn ang="0">
                  <a:pos x="connsiteX1431" y="connsiteY1431"/>
                </a:cxn>
                <a:cxn ang="0">
                  <a:pos x="connsiteX1432" y="connsiteY1432"/>
                </a:cxn>
                <a:cxn ang="0">
                  <a:pos x="connsiteX1433" y="connsiteY1433"/>
                </a:cxn>
                <a:cxn ang="0">
                  <a:pos x="connsiteX1434" y="connsiteY1434"/>
                </a:cxn>
                <a:cxn ang="0">
                  <a:pos x="connsiteX1435" y="connsiteY1435"/>
                </a:cxn>
                <a:cxn ang="0">
                  <a:pos x="connsiteX1436" y="connsiteY1436"/>
                </a:cxn>
                <a:cxn ang="0">
                  <a:pos x="connsiteX1437" y="connsiteY1437"/>
                </a:cxn>
                <a:cxn ang="0">
                  <a:pos x="connsiteX1438" y="connsiteY1438"/>
                </a:cxn>
                <a:cxn ang="0">
                  <a:pos x="connsiteX1439" y="connsiteY1439"/>
                </a:cxn>
                <a:cxn ang="0">
                  <a:pos x="connsiteX1440" y="connsiteY1440"/>
                </a:cxn>
                <a:cxn ang="0">
                  <a:pos x="connsiteX1441" y="connsiteY1441"/>
                </a:cxn>
                <a:cxn ang="0">
                  <a:pos x="connsiteX1442" y="connsiteY1442"/>
                </a:cxn>
                <a:cxn ang="0">
                  <a:pos x="connsiteX1443" y="connsiteY1443"/>
                </a:cxn>
                <a:cxn ang="0">
                  <a:pos x="connsiteX1444" y="connsiteY1444"/>
                </a:cxn>
                <a:cxn ang="0">
                  <a:pos x="connsiteX1445" y="connsiteY1445"/>
                </a:cxn>
                <a:cxn ang="0">
                  <a:pos x="connsiteX1446" y="connsiteY1446"/>
                </a:cxn>
                <a:cxn ang="0">
                  <a:pos x="connsiteX1447" y="connsiteY1447"/>
                </a:cxn>
                <a:cxn ang="0">
                  <a:pos x="connsiteX1448" y="connsiteY1448"/>
                </a:cxn>
                <a:cxn ang="0">
                  <a:pos x="connsiteX1449" y="connsiteY1449"/>
                </a:cxn>
                <a:cxn ang="0">
                  <a:pos x="connsiteX1450" y="connsiteY1450"/>
                </a:cxn>
                <a:cxn ang="0">
                  <a:pos x="connsiteX1451" y="connsiteY1451"/>
                </a:cxn>
                <a:cxn ang="0">
                  <a:pos x="connsiteX1452" y="connsiteY1452"/>
                </a:cxn>
                <a:cxn ang="0">
                  <a:pos x="connsiteX1453" y="connsiteY1453"/>
                </a:cxn>
                <a:cxn ang="0">
                  <a:pos x="connsiteX1454" y="connsiteY1454"/>
                </a:cxn>
                <a:cxn ang="0">
                  <a:pos x="connsiteX1455" y="connsiteY1455"/>
                </a:cxn>
                <a:cxn ang="0">
                  <a:pos x="connsiteX1456" y="connsiteY1456"/>
                </a:cxn>
                <a:cxn ang="0">
                  <a:pos x="connsiteX1457" y="connsiteY1457"/>
                </a:cxn>
                <a:cxn ang="0">
                  <a:pos x="connsiteX1458" y="connsiteY1458"/>
                </a:cxn>
                <a:cxn ang="0">
                  <a:pos x="connsiteX1459" y="connsiteY1459"/>
                </a:cxn>
                <a:cxn ang="0">
                  <a:pos x="connsiteX1460" y="connsiteY1460"/>
                </a:cxn>
                <a:cxn ang="0">
                  <a:pos x="connsiteX1461" y="connsiteY1461"/>
                </a:cxn>
                <a:cxn ang="0">
                  <a:pos x="connsiteX1462" y="connsiteY1462"/>
                </a:cxn>
                <a:cxn ang="0">
                  <a:pos x="connsiteX1463" y="connsiteY1463"/>
                </a:cxn>
                <a:cxn ang="0">
                  <a:pos x="connsiteX1464" y="connsiteY1464"/>
                </a:cxn>
                <a:cxn ang="0">
                  <a:pos x="connsiteX1465" y="connsiteY1465"/>
                </a:cxn>
                <a:cxn ang="0">
                  <a:pos x="connsiteX1466" y="connsiteY1466"/>
                </a:cxn>
                <a:cxn ang="0">
                  <a:pos x="connsiteX1467" y="connsiteY1467"/>
                </a:cxn>
                <a:cxn ang="0">
                  <a:pos x="connsiteX1468" y="connsiteY1468"/>
                </a:cxn>
                <a:cxn ang="0">
                  <a:pos x="connsiteX1469" y="connsiteY1469"/>
                </a:cxn>
                <a:cxn ang="0">
                  <a:pos x="connsiteX1470" y="connsiteY1470"/>
                </a:cxn>
                <a:cxn ang="0">
                  <a:pos x="connsiteX1471" y="connsiteY1471"/>
                </a:cxn>
                <a:cxn ang="0">
                  <a:pos x="connsiteX1472" y="connsiteY1472"/>
                </a:cxn>
                <a:cxn ang="0">
                  <a:pos x="connsiteX1473" y="connsiteY1473"/>
                </a:cxn>
                <a:cxn ang="0">
                  <a:pos x="connsiteX1474" y="connsiteY1474"/>
                </a:cxn>
                <a:cxn ang="0">
                  <a:pos x="connsiteX1475" y="connsiteY1475"/>
                </a:cxn>
                <a:cxn ang="0">
                  <a:pos x="connsiteX1476" y="connsiteY1476"/>
                </a:cxn>
                <a:cxn ang="0">
                  <a:pos x="connsiteX1477" y="connsiteY1477"/>
                </a:cxn>
                <a:cxn ang="0">
                  <a:pos x="connsiteX1478" y="connsiteY1478"/>
                </a:cxn>
                <a:cxn ang="0">
                  <a:pos x="connsiteX1479" y="connsiteY1479"/>
                </a:cxn>
                <a:cxn ang="0">
                  <a:pos x="connsiteX1480" y="connsiteY1480"/>
                </a:cxn>
                <a:cxn ang="0">
                  <a:pos x="connsiteX1481" y="connsiteY1481"/>
                </a:cxn>
                <a:cxn ang="0">
                  <a:pos x="connsiteX1482" y="connsiteY1482"/>
                </a:cxn>
                <a:cxn ang="0">
                  <a:pos x="connsiteX1483" y="connsiteY1483"/>
                </a:cxn>
                <a:cxn ang="0">
                  <a:pos x="connsiteX1484" y="connsiteY1484"/>
                </a:cxn>
                <a:cxn ang="0">
                  <a:pos x="connsiteX1485" y="connsiteY1485"/>
                </a:cxn>
                <a:cxn ang="0">
                  <a:pos x="connsiteX1486" y="connsiteY1486"/>
                </a:cxn>
                <a:cxn ang="0">
                  <a:pos x="connsiteX1487" y="connsiteY1487"/>
                </a:cxn>
                <a:cxn ang="0">
                  <a:pos x="connsiteX1488" y="connsiteY1488"/>
                </a:cxn>
                <a:cxn ang="0">
                  <a:pos x="connsiteX1489" y="connsiteY1489"/>
                </a:cxn>
                <a:cxn ang="0">
                  <a:pos x="connsiteX1490" y="connsiteY1490"/>
                </a:cxn>
                <a:cxn ang="0">
                  <a:pos x="connsiteX1491" y="connsiteY1491"/>
                </a:cxn>
                <a:cxn ang="0">
                  <a:pos x="connsiteX1492" y="connsiteY1492"/>
                </a:cxn>
                <a:cxn ang="0">
                  <a:pos x="connsiteX1493" y="connsiteY1493"/>
                </a:cxn>
                <a:cxn ang="0">
                  <a:pos x="connsiteX1494" y="connsiteY1494"/>
                </a:cxn>
                <a:cxn ang="0">
                  <a:pos x="connsiteX1495" y="connsiteY1495"/>
                </a:cxn>
                <a:cxn ang="0">
                  <a:pos x="connsiteX1496" y="connsiteY1496"/>
                </a:cxn>
                <a:cxn ang="0">
                  <a:pos x="connsiteX1497" y="connsiteY1497"/>
                </a:cxn>
                <a:cxn ang="0">
                  <a:pos x="connsiteX1498" y="connsiteY1498"/>
                </a:cxn>
                <a:cxn ang="0">
                  <a:pos x="connsiteX1499" y="connsiteY1499"/>
                </a:cxn>
                <a:cxn ang="0">
                  <a:pos x="connsiteX1500" y="connsiteY1500"/>
                </a:cxn>
                <a:cxn ang="0">
                  <a:pos x="connsiteX1501" y="connsiteY1501"/>
                </a:cxn>
                <a:cxn ang="0">
                  <a:pos x="connsiteX1502" y="connsiteY1502"/>
                </a:cxn>
                <a:cxn ang="0">
                  <a:pos x="connsiteX1503" y="connsiteY1503"/>
                </a:cxn>
                <a:cxn ang="0">
                  <a:pos x="connsiteX1504" y="connsiteY1504"/>
                </a:cxn>
                <a:cxn ang="0">
                  <a:pos x="connsiteX1505" y="connsiteY1505"/>
                </a:cxn>
                <a:cxn ang="0">
                  <a:pos x="connsiteX1506" y="connsiteY1506"/>
                </a:cxn>
                <a:cxn ang="0">
                  <a:pos x="connsiteX1507" y="connsiteY1507"/>
                </a:cxn>
                <a:cxn ang="0">
                  <a:pos x="connsiteX1508" y="connsiteY1508"/>
                </a:cxn>
                <a:cxn ang="0">
                  <a:pos x="connsiteX1509" y="connsiteY1509"/>
                </a:cxn>
                <a:cxn ang="0">
                  <a:pos x="connsiteX1510" y="connsiteY1510"/>
                </a:cxn>
                <a:cxn ang="0">
                  <a:pos x="connsiteX1511" y="connsiteY1511"/>
                </a:cxn>
                <a:cxn ang="0">
                  <a:pos x="connsiteX1512" y="connsiteY1512"/>
                </a:cxn>
                <a:cxn ang="0">
                  <a:pos x="connsiteX1513" y="connsiteY1513"/>
                </a:cxn>
                <a:cxn ang="0">
                  <a:pos x="connsiteX1514" y="connsiteY1514"/>
                </a:cxn>
                <a:cxn ang="0">
                  <a:pos x="connsiteX1515" y="connsiteY1515"/>
                </a:cxn>
                <a:cxn ang="0">
                  <a:pos x="connsiteX1516" y="connsiteY1516"/>
                </a:cxn>
                <a:cxn ang="0">
                  <a:pos x="connsiteX1517" y="connsiteY1517"/>
                </a:cxn>
                <a:cxn ang="0">
                  <a:pos x="connsiteX1518" y="connsiteY1518"/>
                </a:cxn>
                <a:cxn ang="0">
                  <a:pos x="connsiteX1519" y="connsiteY1519"/>
                </a:cxn>
                <a:cxn ang="0">
                  <a:pos x="connsiteX1520" y="connsiteY1520"/>
                </a:cxn>
                <a:cxn ang="0">
                  <a:pos x="connsiteX1521" y="connsiteY1521"/>
                </a:cxn>
                <a:cxn ang="0">
                  <a:pos x="connsiteX1522" y="connsiteY1522"/>
                </a:cxn>
                <a:cxn ang="0">
                  <a:pos x="connsiteX1523" y="connsiteY1523"/>
                </a:cxn>
                <a:cxn ang="0">
                  <a:pos x="connsiteX1524" y="connsiteY1524"/>
                </a:cxn>
                <a:cxn ang="0">
                  <a:pos x="connsiteX1525" y="connsiteY1525"/>
                </a:cxn>
                <a:cxn ang="0">
                  <a:pos x="connsiteX1526" y="connsiteY1526"/>
                </a:cxn>
                <a:cxn ang="0">
                  <a:pos x="connsiteX1527" y="connsiteY1527"/>
                </a:cxn>
                <a:cxn ang="0">
                  <a:pos x="connsiteX1528" y="connsiteY1528"/>
                </a:cxn>
                <a:cxn ang="0">
                  <a:pos x="connsiteX1529" y="connsiteY1529"/>
                </a:cxn>
                <a:cxn ang="0">
                  <a:pos x="connsiteX1530" y="connsiteY1530"/>
                </a:cxn>
                <a:cxn ang="0">
                  <a:pos x="connsiteX1531" y="connsiteY1531"/>
                </a:cxn>
                <a:cxn ang="0">
                  <a:pos x="connsiteX1532" y="connsiteY1532"/>
                </a:cxn>
                <a:cxn ang="0">
                  <a:pos x="connsiteX1533" y="connsiteY1533"/>
                </a:cxn>
                <a:cxn ang="0">
                  <a:pos x="connsiteX1534" y="connsiteY1534"/>
                </a:cxn>
                <a:cxn ang="0">
                  <a:pos x="connsiteX1535" y="connsiteY1535"/>
                </a:cxn>
                <a:cxn ang="0">
                  <a:pos x="connsiteX1536" y="connsiteY1536"/>
                </a:cxn>
                <a:cxn ang="0">
                  <a:pos x="connsiteX1537" y="connsiteY1537"/>
                </a:cxn>
                <a:cxn ang="0">
                  <a:pos x="connsiteX1538" y="connsiteY1538"/>
                </a:cxn>
                <a:cxn ang="0">
                  <a:pos x="connsiteX1539" y="connsiteY1539"/>
                </a:cxn>
                <a:cxn ang="0">
                  <a:pos x="connsiteX1540" y="connsiteY1540"/>
                </a:cxn>
                <a:cxn ang="0">
                  <a:pos x="connsiteX1541" y="connsiteY1541"/>
                </a:cxn>
                <a:cxn ang="0">
                  <a:pos x="connsiteX1542" y="connsiteY1542"/>
                </a:cxn>
                <a:cxn ang="0">
                  <a:pos x="connsiteX1543" y="connsiteY1543"/>
                </a:cxn>
                <a:cxn ang="0">
                  <a:pos x="connsiteX1544" y="connsiteY1544"/>
                </a:cxn>
                <a:cxn ang="0">
                  <a:pos x="connsiteX1545" y="connsiteY1545"/>
                </a:cxn>
                <a:cxn ang="0">
                  <a:pos x="connsiteX1546" y="connsiteY1546"/>
                </a:cxn>
                <a:cxn ang="0">
                  <a:pos x="connsiteX1547" y="connsiteY1547"/>
                </a:cxn>
                <a:cxn ang="0">
                  <a:pos x="connsiteX1548" y="connsiteY1548"/>
                </a:cxn>
                <a:cxn ang="0">
                  <a:pos x="connsiteX1549" y="connsiteY1549"/>
                </a:cxn>
                <a:cxn ang="0">
                  <a:pos x="connsiteX1550" y="connsiteY1550"/>
                </a:cxn>
                <a:cxn ang="0">
                  <a:pos x="connsiteX1551" y="connsiteY1551"/>
                </a:cxn>
                <a:cxn ang="0">
                  <a:pos x="connsiteX1552" y="connsiteY1552"/>
                </a:cxn>
                <a:cxn ang="0">
                  <a:pos x="connsiteX1553" y="connsiteY1553"/>
                </a:cxn>
                <a:cxn ang="0">
                  <a:pos x="connsiteX1554" y="connsiteY1554"/>
                </a:cxn>
                <a:cxn ang="0">
                  <a:pos x="connsiteX1555" y="connsiteY1555"/>
                </a:cxn>
                <a:cxn ang="0">
                  <a:pos x="connsiteX1556" y="connsiteY1556"/>
                </a:cxn>
                <a:cxn ang="0">
                  <a:pos x="connsiteX1557" y="connsiteY1557"/>
                </a:cxn>
                <a:cxn ang="0">
                  <a:pos x="connsiteX1558" y="connsiteY1558"/>
                </a:cxn>
                <a:cxn ang="0">
                  <a:pos x="connsiteX1559" y="connsiteY1559"/>
                </a:cxn>
                <a:cxn ang="0">
                  <a:pos x="connsiteX1560" y="connsiteY1560"/>
                </a:cxn>
                <a:cxn ang="0">
                  <a:pos x="connsiteX1561" y="connsiteY1561"/>
                </a:cxn>
                <a:cxn ang="0">
                  <a:pos x="connsiteX1562" y="connsiteY1562"/>
                </a:cxn>
                <a:cxn ang="0">
                  <a:pos x="connsiteX1563" y="connsiteY1563"/>
                </a:cxn>
                <a:cxn ang="0">
                  <a:pos x="connsiteX1564" y="connsiteY1564"/>
                </a:cxn>
                <a:cxn ang="0">
                  <a:pos x="connsiteX1565" y="connsiteY1565"/>
                </a:cxn>
                <a:cxn ang="0">
                  <a:pos x="connsiteX1566" y="connsiteY1566"/>
                </a:cxn>
                <a:cxn ang="0">
                  <a:pos x="connsiteX1567" y="connsiteY1567"/>
                </a:cxn>
                <a:cxn ang="0">
                  <a:pos x="connsiteX1568" y="connsiteY1568"/>
                </a:cxn>
                <a:cxn ang="0">
                  <a:pos x="connsiteX1569" y="connsiteY1569"/>
                </a:cxn>
                <a:cxn ang="0">
                  <a:pos x="connsiteX1570" y="connsiteY1570"/>
                </a:cxn>
                <a:cxn ang="0">
                  <a:pos x="connsiteX1571" y="connsiteY1571"/>
                </a:cxn>
                <a:cxn ang="0">
                  <a:pos x="connsiteX1572" y="connsiteY1572"/>
                </a:cxn>
                <a:cxn ang="0">
                  <a:pos x="connsiteX1573" y="connsiteY1573"/>
                </a:cxn>
                <a:cxn ang="0">
                  <a:pos x="connsiteX1574" y="connsiteY1574"/>
                </a:cxn>
                <a:cxn ang="0">
                  <a:pos x="connsiteX1575" y="connsiteY1575"/>
                </a:cxn>
                <a:cxn ang="0">
                  <a:pos x="connsiteX1576" y="connsiteY1576"/>
                </a:cxn>
                <a:cxn ang="0">
                  <a:pos x="connsiteX1577" y="connsiteY1577"/>
                </a:cxn>
                <a:cxn ang="0">
                  <a:pos x="connsiteX1578" y="connsiteY1578"/>
                </a:cxn>
                <a:cxn ang="0">
                  <a:pos x="connsiteX1579" y="connsiteY1579"/>
                </a:cxn>
                <a:cxn ang="0">
                  <a:pos x="connsiteX1580" y="connsiteY1580"/>
                </a:cxn>
                <a:cxn ang="0">
                  <a:pos x="connsiteX1581" y="connsiteY1581"/>
                </a:cxn>
                <a:cxn ang="0">
                  <a:pos x="connsiteX1582" y="connsiteY1582"/>
                </a:cxn>
                <a:cxn ang="0">
                  <a:pos x="connsiteX1583" y="connsiteY1583"/>
                </a:cxn>
                <a:cxn ang="0">
                  <a:pos x="connsiteX1584" y="connsiteY1584"/>
                </a:cxn>
                <a:cxn ang="0">
                  <a:pos x="connsiteX1585" y="connsiteY1585"/>
                </a:cxn>
                <a:cxn ang="0">
                  <a:pos x="connsiteX1586" y="connsiteY1586"/>
                </a:cxn>
                <a:cxn ang="0">
                  <a:pos x="connsiteX1587" y="connsiteY1587"/>
                </a:cxn>
                <a:cxn ang="0">
                  <a:pos x="connsiteX1588" y="connsiteY1588"/>
                </a:cxn>
                <a:cxn ang="0">
                  <a:pos x="connsiteX1589" y="connsiteY1589"/>
                </a:cxn>
                <a:cxn ang="0">
                  <a:pos x="connsiteX1590" y="connsiteY1590"/>
                </a:cxn>
                <a:cxn ang="0">
                  <a:pos x="connsiteX1591" y="connsiteY1591"/>
                </a:cxn>
                <a:cxn ang="0">
                  <a:pos x="connsiteX1592" y="connsiteY1592"/>
                </a:cxn>
                <a:cxn ang="0">
                  <a:pos x="connsiteX1593" y="connsiteY1593"/>
                </a:cxn>
                <a:cxn ang="0">
                  <a:pos x="connsiteX1594" y="connsiteY1594"/>
                </a:cxn>
                <a:cxn ang="0">
                  <a:pos x="connsiteX1595" y="connsiteY1595"/>
                </a:cxn>
                <a:cxn ang="0">
                  <a:pos x="connsiteX1596" y="connsiteY1596"/>
                </a:cxn>
                <a:cxn ang="0">
                  <a:pos x="connsiteX1597" y="connsiteY1597"/>
                </a:cxn>
                <a:cxn ang="0">
                  <a:pos x="connsiteX1598" y="connsiteY1598"/>
                </a:cxn>
                <a:cxn ang="0">
                  <a:pos x="connsiteX1599" y="connsiteY1599"/>
                </a:cxn>
                <a:cxn ang="0">
                  <a:pos x="connsiteX1600" y="connsiteY1600"/>
                </a:cxn>
                <a:cxn ang="0">
                  <a:pos x="connsiteX1601" y="connsiteY1601"/>
                </a:cxn>
                <a:cxn ang="0">
                  <a:pos x="connsiteX1602" y="connsiteY1602"/>
                </a:cxn>
                <a:cxn ang="0">
                  <a:pos x="connsiteX1603" y="connsiteY1603"/>
                </a:cxn>
                <a:cxn ang="0">
                  <a:pos x="connsiteX1604" y="connsiteY1604"/>
                </a:cxn>
                <a:cxn ang="0">
                  <a:pos x="connsiteX1605" y="connsiteY1605"/>
                </a:cxn>
                <a:cxn ang="0">
                  <a:pos x="connsiteX1606" y="connsiteY1606"/>
                </a:cxn>
                <a:cxn ang="0">
                  <a:pos x="connsiteX1607" y="connsiteY1607"/>
                </a:cxn>
                <a:cxn ang="0">
                  <a:pos x="connsiteX1608" y="connsiteY1608"/>
                </a:cxn>
                <a:cxn ang="0">
                  <a:pos x="connsiteX1609" y="connsiteY1609"/>
                </a:cxn>
                <a:cxn ang="0">
                  <a:pos x="connsiteX1610" y="connsiteY1610"/>
                </a:cxn>
                <a:cxn ang="0">
                  <a:pos x="connsiteX1611" y="connsiteY1611"/>
                </a:cxn>
                <a:cxn ang="0">
                  <a:pos x="connsiteX1612" y="connsiteY1612"/>
                </a:cxn>
                <a:cxn ang="0">
                  <a:pos x="connsiteX1613" y="connsiteY1613"/>
                </a:cxn>
                <a:cxn ang="0">
                  <a:pos x="connsiteX1614" y="connsiteY1614"/>
                </a:cxn>
                <a:cxn ang="0">
                  <a:pos x="connsiteX1615" y="connsiteY1615"/>
                </a:cxn>
                <a:cxn ang="0">
                  <a:pos x="connsiteX1616" y="connsiteY1616"/>
                </a:cxn>
                <a:cxn ang="0">
                  <a:pos x="connsiteX1617" y="connsiteY1617"/>
                </a:cxn>
                <a:cxn ang="0">
                  <a:pos x="connsiteX1618" y="connsiteY1618"/>
                </a:cxn>
                <a:cxn ang="0">
                  <a:pos x="connsiteX1619" y="connsiteY1619"/>
                </a:cxn>
                <a:cxn ang="0">
                  <a:pos x="connsiteX1620" y="connsiteY1620"/>
                </a:cxn>
                <a:cxn ang="0">
                  <a:pos x="connsiteX1621" y="connsiteY1621"/>
                </a:cxn>
                <a:cxn ang="0">
                  <a:pos x="connsiteX1622" y="connsiteY1622"/>
                </a:cxn>
                <a:cxn ang="0">
                  <a:pos x="connsiteX1623" y="connsiteY1623"/>
                </a:cxn>
                <a:cxn ang="0">
                  <a:pos x="connsiteX1624" y="connsiteY1624"/>
                </a:cxn>
                <a:cxn ang="0">
                  <a:pos x="connsiteX1625" y="connsiteY1625"/>
                </a:cxn>
                <a:cxn ang="0">
                  <a:pos x="connsiteX1626" y="connsiteY1626"/>
                </a:cxn>
                <a:cxn ang="0">
                  <a:pos x="connsiteX1627" y="connsiteY1627"/>
                </a:cxn>
                <a:cxn ang="0">
                  <a:pos x="connsiteX1628" y="connsiteY1628"/>
                </a:cxn>
                <a:cxn ang="0">
                  <a:pos x="connsiteX1629" y="connsiteY1629"/>
                </a:cxn>
                <a:cxn ang="0">
                  <a:pos x="connsiteX1630" y="connsiteY1630"/>
                </a:cxn>
                <a:cxn ang="0">
                  <a:pos x="connsiteX1631" y="connsiteY1631"/>
                </a:cxn>
                <a:cxn ang="0">
                  <a:pos x="connsiteX1632" y="connsiteY1632"/>
                </a:cxn>
                <a:cxn ang="0">
                  <a:pos x="connsiteX1633" y="connsiteY1633"/>
                </a:cxn>
                <a:cxn ang="0">
                  <a:pos x="connsiteX1634" y="connsiteY1634"/>
                </a:cxn>
                <a:cxn ang="0">
                  <a:pos x="connsiteX1635" y="connsiteY1635"/>
                </a:cxn>
                <a:cxn ang="0">
                  <a:pos x="connsiteX1636" y="connsiteY1636"/>
                </a:cxn>
                <a:cxn ang="0">
                  <a:pos x="connsiteX1637" y="connsiteY1637"/>
                </a:cxn>
                <a:cxn ang="0">
                  <a:pos x="connsiteX1638" y="connsiteY1638"/>
                </a:cxn>
                <a:cxn ang="0">
                  <a:pos x="connsiteX1639" y="connsiteY1639"/>
                </a:cxn>
                <a:cxn ang="0">
                  <a:pos x="connsiteX1640" y="connsiteY1640"/>
                </a:cxn>
                <a:cxn ang="0">
                  <a:pos x="connsiteX1641" y="connsiteY1641"/>
                </a:cxn>
                <a:cxn ang="0">
                  <a:pos x="connsiteX1642" y="connsiteY1642"/>
                </a:cxn>
                <a:cxn ang="0">
                  <a:pos x="connsiteX1643" y="connsiteY1643"/>
                </a:cxn>
                <a:cxn ang="0">
                  <a:pos x="connsiteX1644" y="connsiteY1644"/>
                </a:cxn>
                <a:cxn ang="0">
                  <a:pos x="connsiteX1645" y="connsiteY1645"/>
                </a:cxn>
                <a:cxn ang="0">
                  <a:pos x="connsiteX1646" y="connsiteY1646"/>
                </a:cxn>
                <a:cxn ang="0">
                  <a:pos x="connsiteX1647" y="connsiteY1647"/>
                </a:cxn>
                <a:cxn ang="0">
                  <a:pos x="connsiteX1648" y="connsiteY1648"/>
                </a:cxn>
                <a:cxn ang="0">
                  <a:pos x="connsiteX1649" y="connsiteY1649"/>
                </a:cxn>
                <a:cxn ang="0">
                  <a:pos x="connsiteX1650" y="connsiteY1650"/>
                </a:cxn>
                <a:cxn ang="0">
                  <a:pos x="connsiteX1651" y="connsiteY1651"/>
                </a:cxn>
                <a:cxn ang="0">
                  <a:pos x="connsiteX1652" y="connsiteY1652"/>
                </a:cxn>
                <a:cxn ang="0">
                  <a:pos x="connsiteX1653" y="connsiteY1653"/>
                </a:cxn>
                <a:cxn ang="0">
                  <a:pos x="connsiteX1654" y="connsiteY1654"/>
                </a:cxn>
                <a:cxn ang="0">
                  <a:pos x="connsiteX1655" y="connsiteY1655"/>
                </a:cxn>
                <a:cxn ang="0">
                  <a:pos x="connsiteX1656" y="connsiteY1656"/>
                </a:cxn>
                <a:cxn ang="0">
                  <a:pos x="connsiteX1657" y="connsiteY1657"/>
                </a:cxn>
                <a:cxn ang="0">
                  <a:pos x="connsiteX1658" y="connsiteY1658"/>
                </a:cxn>
                <a:cxn ang="0">
                  <a:pos x="connsiteX1659" y="connsiteY1659"/>
                </a:cxn>
                <a:cxn ang="0">
                  <a:pos x="connsiteX1660" y="connsiteY1660"/>
                </a:cxn>
                <a:cxn ang="0">
                  <a:pos x="connsiteX1661" y="connsiteY1661"/>
                </a:cxn>
                <a:cxn ang="0">
                  <a:pos x="connsiteX1662" y="connsiteY1662"/>
                </a:cxn>
                <a:cxn ang="0">
                  <a:pos x="connsiteX1663" y="connsiteY1663"/>
                </a:cxn>
                <a:cxn ang="0">
                  <a:pos x="connsiteX1664" y="connsiteY1664"/>
                </a:cxn>
                <a:cxn ang="0">
                  <a:pos x="connsiteX1665" y="connsiteY1665"/>
                </a:cxn>
                <a:cxn ang="0">
                  <a:pos x="connsiteX1666" y="connsiteY1666"/>
                </a:cxn>
                <a:cxn ang="0">
                  <a:pos x="connsiteX1667" y="connsiteY1667"/>
                </a:cxn>
                <a:cxn ang="0">
                  <a:pos x="connsiteX1668" y="connsiteY1668"/>
                </a:cxn>
                <a:cxn ang="0">
                  <a:pos x="connsiteX1669" y="connsiteY1669"/>
                </a:cxn>
                <a:cxn ang="0">
                  <a:pos x="connsiteX1670" y="connsiteY1670"/>
                </a:cxn>
                <a:cxn ang="0">
                  <a:pos x="connsiteX1671" y="connsiteY1671"/>
                </a:cxn>
                <a:cxn ang="0">
                  <a:pos x="connsiteX1672" y="connsiteY1672"/>
                </a:cxn>
                <a:cxn ang="0">
                  <a:pos x="connsiteX1673" y="connsiteY1673"/>
                </a:cxn>
                <a:cxn ang="0">
                  <a:pos x="connsiteX1674" y="connsiteY1674"/>
                </a:cxn>
                <a:cxn ang="0">
                  <a:pos x="connsiteX1675" y="connsiteY1675"/>
                </a:cxn>
                <a:cxn ang="0">
                  <a:pos x="connsiteX1676" y="connsiteY1676"/>
                </a:cxn>
                <a:cxn ang="0">
                  <a:pos x="connsiteX1677" y="connsiteY1677"/>
                </a:cxn>
                <a:cxn ang="0">
                  <a:pos x="connsiteX1678" y="connsiteY1678"/>
                </a:cxn>
                <a:cxn ang="0">
                  <a:pos x="connsiteX1679" y="connsiteY1679"/>
                </a:cxn>
                <a:cxn ang="0">
                  <a:pos x="connsiteX1680" y="connsiteY1680"/>
                </a:cxn>
                <a:cxn ang="0">
                  <a:pos x="connsiteX1681" y="connsiteY1681"/>
                </a:cxn>
                <a:cxn ang="0">
                  <a:pos x="connsiteX1682" y="connsiteY1682"/>
                </a:cxn>
                <a:cxn ang="0">
                  <a:pos x="connsiteX1683" y="connsiteY1683"/>
                </a:cxn>
                <a:cxn ang="0">
                  <a:pos x="connsiteX1684" y="connsiteY1684"/>
                </a:cxn>
                <a:cxn ang="0">
                  <a:pos x="connsiteX1685" y="connsiteY1685"/>
                </a:cxn>
                <a:cxn ang="0">
                  <a:pos x="connsiteX1686" y="connsiteY1686"/>
                </a:cxn>
                <a:cxn ang="0">
                  <a:pos x="connsiteX1687" y="connsiteY1687"/>
                </a:cxn>
                <a:cxn ang="0">
                  <a:pos x="connsiteX1688" y="connsiteY1688"/>
                </a:cxn>
                <a:cxn ang="0">
                  <a:pos x="connsiteX1689" y="connsiteY1689"/>
                </a:cxn>
                <a:cxn ang="0">
                  <a:pos x="connsiteX1690" y="connsiteY1690"/>
                </a:cxn>
                <a:cxn ang="0">
                  <a:pos x="connsiteX1691" y="connsiteY1691"/>
                </a:cxn>
                <a:cxn ang="0">
                  <a:pos x="connsiteX1692" y="connsiteY1692"/>
                </a:cxn>
                <a:cxn ang="0">
                  <a:pos x="connsiteX1693" y="connsiteY1693"/>
                </a:cxn>
                <a:cxn ang="0">
                  <a:pos x="connsiteX1694" y="connsiteY1694"/>
                </a:cxn>
                <a:cxn ang="0">
                  <a:pos x="connsiteX1695" y="connsiteY1695"/>
                </a:cxn>
                <a:cxn ang="0">
                  <a:pos x="connsiteX1696" y="connsiteY1696"/>
                </a:cxn>
                <a:cxn ang="0">
                  <a:pos x="connsiteX1697" y="connsiteY1697"/>
                </a:cxn>
                <a:cxn ang="0">
                  <a:pos x="connsiteX1698" y="connsiteY1698"/>
                </a:cxn>
                <a:cxn ang="0">
                  <a:pos x="connsiteX1699" y="connsiteY1699"/>
                </a:cxn>
                <a:cxn ang="0">
                  <a:pos x="connsiteX1700" y="connsiteY1700"/>
                </a:cxn>
                <a:cxn ang="0">
                  <a:pos x="connsiteX1701" y="connsiteY1701"/>
                </a:cxn>
                <a:cxn ang="0">
                  <a:pos x="connsiteX1702" y="connsiteY1702"/>
                </a:cxn>
                <a:cxn ang="0">
                  <a:pos x="connsiteX1703" y="connsiteY1703"/>
                </a:cxn>
                <a:cxn ang="0">
                  <a:pos x="connsiteX1704" y="connsiteY1704"/>
                </a:cxn>
                <a:cxn ang="0">
                  <a:pos x="connsiteX1705" y="connsiteY1705"/>
                </a:cxn>
                <a:cxn ang="0">
                  <a:pos x="connsiteX1706" y="connsiteY1706"/>
                </a:cxn>
                <a:cxn ang="0">
                  <a:pos x="connsiteX1707" y="connsiteY1707"/>
                </a:cxn>
                <a:cxn ang="0">
                  <a:pos x="connsiteX1708" y="connsiteY1708"/>
                </a:cxn>
                <a:cxn ang="0">
                  <a:pos x="connsiteX1709" y="connsiteY1709"/>
                </a:cxn>
                <a:cxn ang="0">
                  <a:pos x="connsiteX1710" y="connsiteY1710"/>
                </a:cxn>
                <a:cxn ang="0">
                  <a:pos x="connsiteX1711" y="connsiteY1711"/>
                </a:cxn>
                <a:cxn ang="0">
                  <a:pos x="connsiteX1712" y="connsiteY1712"/>
                </a:cxn>
                <a:cxn ang="0">
                  <a:pos x="connsiteX1713" y="connsiteY1713"/>
                </a:cxn>
                <a:cxn ang="0">
                  <a:pos x="connsiteX1714" y="connsiteY1714"/>
                </a:cxn>
                <a:cxn ang="0">
                  <a:pos x="connsiteX1715" y="connsiteY1715"/>
                </a:cxn>
                <a:cxn ang="0">
                  <a:pos x="connsiteX1716" y="connsiteY1716"/>
                </a:cxn>
                <a:cxn ang="0">
                  <a:pos x="connsiteX1717" y="connsiteY1717"/>
                </a:cxn>
                <a:cxn ang="0">
                  <a:pos x="connsiteX1718" y="connsiteY1718"/>
                </a:cxn>
                <a:cxn ang="0">
                  <a:pos x="connsiteX1719" y="connsiteY1719"/>
                </a:cxn>
                <a:cxn ang="0">
                  <a:pos x="connsiteX1720" y="connsiteY1720"/>
                </a:cxn>
                <a:cxn ang="0">
                  <a:pos x="connsiteX1721" y="connsiteY1721"/>
                </a:cxn>
                <a:cxn ang="0">
                  <a:pos x="connsiteX1722" y="connsiteY1722"/>
                </a:cxn>
                <a:cxn ang="0">
                  <a:pos x="connsiteX1723" y="connsiteY1723"/>
                </a:cxn>
                <a:cxn ang="0">
                  <a:pos x="connsiteX1724" y="connsiteY1724"/>
                </a:cxn>
                <a:cxn ang="0">
                  <a:pos x="connsiteX1725" y="connsiteY1725"/>
                </a:cxn>
                <a:cxn ang="0">
                  <a:pos x="connsiteX1726" y="connsiteY1726"/>
                </a:cxn>
                <a:cxn ang="0">
                  <a:pos x="connsiteX1727" y="connsiteY1727"/>
                </a:cxn>
                <a:cxn ang="0">
                  <a:pos x="connsiteX1728" y="connsiteY1728"/>
                </a:cxn>
                <a:cxn ang="0">
                  <a:pos x="connsiteX1729" y="connsiteY1729"/>
                </a:cxn>
                <a:cxn ang="0">
                  <a:pos x="connsiteX1730" y="connsiteY1730"/>
                </a:cxn>
                <a:cxn ang="0">
                  <a:pos x="connsiteX1731" y="connsiteY1731"/>
                </a:cxn>
                <a:cxn ang="0">
                  <a:pos x="connsiteX1732" y="connsiteY1732"/>
                </a:cxn>
                <a:cxn ang="0">
                  <a:pos x="connsiteX1733" y="connsiteY1733"/>
                </a:cxn>
                <a:cxn ang="0">
                  <a:pos x="connsiteX1734" y="connsiteY1734"/>
                </a:cxn>
                <a:cxn ang="0">
                  <a:pos x="connsiteX1735" y="connsiteY1735"/>
                </a:cxn>
                <a:cxn ang="0">
                  <a:pos x="connsiteX1736" y="connsiteY1736"/>
                </a:cxn>
                <a:cxn ang="0">
                  <a:pos x="connsiteX1737" y="connsiteY1737"/>
                </a:cxn>
                <a:cxn ang="0">
                  <a:pos x="connsiteX1738" y="connsiteY1738"/>
                </a:cxn>
                <a:cxn ang="0">
                  <a:pos x="connsiteX1739" y="connsiteY1739"/>
                </a:cxn>
                <a:cxn ang="0">
                  <a:pos x="connsiteX1740" y="connsiteY1740"/>
                </a:cxn>
                <a:cxn ang="0">
                  <a:pos x="connsiteX1741" y="connsiteY1741"/>
                </a:cxn>
                <a:cxn ang="0">
                  <a:pos x="connsiteX1742" y="connsiteY1742"/>
                </a:cxn>
                <a:cxn ang="0">
                  <a:pos x="connsiteX1743" y="connsiteY1743"/>
                </a:cxn>
                <a:cxn ang="0">
                  <a:pos x="connsiteX1744" y="connsiteY1744"/>
                </a:cxn>
                <a:cxn ang="0">
                  <a:pos x="connsiteX1745" y="connsiteY1745"/>
                </a:cxn>
                <a:cxn ang="0">
                  <a:pos x="connsiteX1746" y="connsiteY1746"/>
                </a:cxn>
                <a:cxn ang="0">
                  <a:pos x="connsiteX1747" y="connsiteY1747"/>
                </a:cxn>
                <a:cxn ang="0">
                  <a:pos x="connsiteX1748" y="connsiteY1748"/>
                </a:cxn>
                <a:cxn ang="0">
                  <a:pos x="connsiteX1749" y="connsiteY1749"/>
                </a:cxn>
                <a:cxn ang="0">
                  <a:pos x="connsiteX1750" y="connsiteY1750"/>
                </a:cxn>
                <a:cxn ang="0">
                  <a:pos x="connsiteX1751" y="connsiteY1751"/>
                </a:cxn>
                <a:cxn ang="0">
                  <a:pos x="connsiteX1752" y="connsiteY1752"/>
                </a:cxn>
                <a:cxn ang="0">
                  <a:pos x="connsiteX1753" y="connsiteY1753"/>
                </a:cxn>
                <a:cxn ang="0">
                  <a:pos x="connsiteX1754" y="connsiteY1754"/>
                </a:cxn>
                <a:cxn ang="0">
                  <a:pos x="connsiteX1755" y="connsiteY1755"/>
                </a:cxn>
                <a:cxn ang="0">
                  <a:pos x="connsiteX1756" y="connsiteY1756"/>
                </a:cxn>
                <a:cxn ang="0">
                  <a:pos x="connsiteX1757" y="connsiteY1757"/>
                </a:cxn>
                <a:cxn ang="0">
                  <a:pos x="connsiteX1758" y="connsiteY1758"/>
                </a:cxn>
                <a:cxn ang="0">
                  <a:pos x="connsiteX1759" y="connsiteY1759"/>
                </a:cxn>
                <a:cxn ang="0">
                  <a:pos x="connsiteX1760" y="connsiteY1760"/>
                </a:cxn>
                <a:cxn ang="0">
                  <a:pos x="connsiteX1761" y="connsiteY1761"/>
                </a:cxn>
                <a:cxn ang="0">
                  <a:pos x="connsiteX1762" y="connsiteY1762"/>
                </a:cxn>
                <a:cxn ang="0">
                  <a:pos x="connsiteX1763" y="connsiteY1763"/>
                </a:cxn>
                <a:cxn ang="0">
                  <a:pos x="connsiteX1764" y="connsiteY1764"/>
                </a:cxn>
                <a:cxn ang="0">
                  <a:pos x="connsiteX1765" y="connsiteY1765"/>
                </a:cxn>
                <a:cxn ang="0">
                  <a:pos x="connsiteX1766" y="connsiteY1766"/>
                </a:cxn>
                <a:cxn ang="0">
                  <a:pos x="connsiteX1767" y="connsiteY1767"/>
                </a:cxn>
                <a:cxn ang="0">
                  <a:pos x="connsiteX1768" y="connsiteY1768"/>
                </a:cxn>
                <a:cxn ang="0">
                  <a:pos x="connsiteX1769" y="connsiteY1769"/>
                </a:cxn>
                <a:cxn ang="0">
                  <a:pos x="connsiteX1770" y="connsiteY1770"/>
                </a:cxn>
                <a:cxn ang="0">
                  <a:pos x="connsiteX1771" y="connsiteY1771"/>
                </a:cxn>
                <a:cxn ang="0">
                  <a:pos x="connsiteX1772" y="connsiteY1772"/>
                </a:cxn>
                <a:cxn ang="0">
                  <a:pos x="connsiteX1773" y="connsiteY1773"/>
                </a:cxn>
                <a:cxn ang="0">
                  <a:pos x="connsiteX1774" y="connsiteY1774"/>
                </a:cxn>
                <a:cxn ang="0">
                  <a:pos x="connsiteX1775" y="connsiteY1775"/>
                </a:cxn>
                <a:cxn ang="0">
                  <a:pos x="connsiteX1776" y="connsiteY1776"/>
                </a:cxn>
                <a:cxn ang="0">
                  <a:pos x="connsiteX1777" y="connsiteY1777"/>
                </a:cxn>
                <a:cxn ang="0">
                  <a:pos x="connsiteX1778" y="connsiteY1778"/>
                </a:cxn>
                <a:cxn ang="0">
                  <a:pos x="connsiteX1779" y="connsiteY1779"/>
                </a:cxn>
                <a:cxn ang="0">
                  <a:pos x="connsiteX1780" y="connsiteY1780"/>
                </a:cxn>
                <a:cxn ang="0">
                  <a:pos x="connsiteX1781" y="connsiteY1781"/>
                </a:cxn>
                <a:cxn ang="0">
                  <a:pos x="connsiteX1782" y="connsiteY1782"/>
                </a:cxn>
                <a:cxn ang="0">
                  <a:pos x="connsiteX1783" y="connsiteY1783"/>
                </a:cxn>
                <a:cxn ang="0">
                  <a:pos x="connsiteX1784" y="connsiteY1784"/>
                </a:cxn>
                <a:cxn ang="0">
                  <a:pos x="connsiteX1785" y="connsiteY1785"/>
                </a:cxn>
                <a:cxn ang="0">
                  <a:pos x="connsiteX1786" y="connsiteY1786"/>
                </a:cxn>
                <a:cxn ang="0">
                  <a:pos x="connsiteX1787" y="connsiteY1787"/>
                </a:cxn>
                <a:cxn ang="0">
                  <a:pos x="connsiteX1788" y="connsiteY1788"/>
                </a:cxn>
                <a:cxn ang="0">
                  <a:pos x="connsiteX1789" y="connsiteY1789"/>
                </a:cxn>
                <a:cxn ang="0">
                  <a:pos x="connsiteX1790" y="connsiteY1790"/>
                </a:cxn>
                <a:cxn ang="0">
                  <a:pos x="connsiteX1791" y="connsiteY1791"/>
                </a:cxn>
                <a:cxn ang="0">
                  <a:pos x="connsiteX1792" y="connsiteY1792"/>
                </a:cxn>
                <a:cxn ang="0">
                  <a:pos x="connsiteX1793" y="connsiteY1793"/>
                </a:cxn>
                <a:cxn ang="0">
                  <a:pos x="connsiteX1794" y="connsiteY1794"/>
                </a:cxn>
                <a:cxn ang="0">
                  <a:pos x="connsiteX1795" y="connsiteY1795"/>
                </a:cxn>
                <a:cxn ang="0">
                  <a:pos x="connsiteX1796" y="connsiteY1796"/>
                </a:cxn>
                <a:cxn ang="0">
                  <a:pos x="connsiteX1797" y="connsiteY1797"/>
                </a:cxn>
                <a:cxn ang="0">
                  <a:pos x="connsiteX1798" y="connsiteY1798"/>
                </a:cxn>
                <a:cxn ang="0">
                  <a:pos x="connsiteX1799" y="connsiteY1799"/>
                </a:cxn>
                <a:cxn ang="0">
                  <a:pos x="connsiteX1800" y="connsiteY1800"/>
                </a:cxn>
                <a:cxn ang="0">
                  <a:pos x="connsiteX1801" y="connsiteY1801"/>
                </a:cxn>
                <a:cxn ang="0">
                  <a:pos x="connsiteX1802" y="connsiteY1802"/>
                </a:cxn>
                <a:cxn ang="0">
                  <a:pos x="connsiteX1803" y="connsiteY1803"/>
                </a:cxn>
                <a:cxn ang="0">
                  <a:pos x="connsiteX1804" y="connsiteY1804"/>
                </a:cxn>
                <a:cxn ang="0">
                  <a:pos x="connsiteX1805" y="connsiteY1805"/>
                </a:cxn>
                <a:cxn ang="0">
                  <a:pos x="connsiteX1806" y="connsiteY1806"/>
                </a:cxn>
                <a:cxn ang="0">
                  <a:pos x="connsiteX1807" y="connsiteY1807"/>
                </a:cxn>
                <a:cxn ang="0">
                  <a:pos x="connsiteX1808" y="connsiteY1808"/>
                </a:cxn>
                <a:cxn ang="0">
                  <a:pos x="connsiteX1809" y="connsiteY1809"/>
                </a:cxn>
                <a:cxn ang="0">
                  <a:pos x="connsiteX1810" y="connsiteY1810"/>
                </a:cxn>
                <a:cxn ang="0">
                  <a:pos x="connsiteX1811" y="connsiteY1811"/>
                </a:cxn>
                <a:cxn ang="0">
                  <a:pos x="connsiteX1812" y="connsiteY1812"/>
                </a:cxn>
                <a:cxn ang="0">
                  <a:pos x="connsiteX1813" y="connsiteY1813"/>
                </a:cxn>
                <a:cxn ang="0">
                  <a:pos x="connsiteX1814" y="connsiteY1814"/>
                </a:cxn>
                <a:cxn ang="0">
                  <a:pos x="connsiteX1815" y="connsiteY1815"/>
                </a:cxn>
                <a:cxn ang="0">
                  <a:pos x="connsiteX1816" y="connsiteY1816"/>
                </a:cxn>
                <a:cxn ang="0">
                  <a:pos x="connsiteX1817" y="connsiteY1817"/>
                </a:cxn>
                <a:cxn ang="0">
                  <a:pos x="connsiteX1818" y="connsiteY1818"/>
                </a:cxn>
                <a:cxn ang="0">
                  <a:pos x="connsiteX1819" y="connsiteY1819"/>
                </a:cxn>
                <a:cxn ang="0">
                  <a:pos x="connsiteX1820" y="connsiteY1820"/>
                </a:cxn>
                <a:cxn ang="0">
                  <a:pos x="connsiteX1821" y="connsiteY1821"/>
                </a:cxn>
                <a:cxn ang="0">
                  <a:pos x="connsiteX1822" y="connsiteY1822"/>
                </a:cxn>
                <a:cxn ang="0">
                  <a:pos x="connsiteX1823" y="connsiteY1823"/>
                </a:cxn>
                <a:cxn ang="0">
                  <a:pos x="connsiteX1824" y="connsiteY1824"/>
                </a:cxn>
                <a:cxn ang="0">
                  <a:pos x="connsiteX1825" y="connsiteY1825"/>
                </a:cxn>
                <a:cxn ang="0">
                  <a:pos x="connsiteX1826" y="connsiteY1826"/>
                </a:cxn>
                <a:cxn ang="0">
                  <a:pos x="connsiteX1827" y="connsiteY1827"/>
                </a:cxn>
                <a:cxn ang="0">
                  <a:pos x="connsiteX1828" y="connsiteY1828"/>
                </a:cxn>
                <a:cxn ang="0">
                  <a:pos x="connsiteX1829" y="connsiteY1829"/>
                </a:cxn>
                <a:cxn ang="0">
                  <a:pos x="connsiteX1830" y="connsiteY1830"/>
                </a:cxn>
                <a:cxn ang="0">
                  <a:pos x="connsiteX1831" y="connsiteY1831"/>
                </a:cxn>
                <a:cxn ang="0">
                  <a:pos x="connsiteX1832" y="connsiteY1832"/>
                </a:cxn>
                <a:cxn ang="0">
                  <a:pos x="connsiteX1833" y="connsiteY1833"/>
                </a:cxn>
                <a:cxn ang="0">
                  <a:pos x="connsiteX1834" y="connsiteY1834"/>
                </a:cxn>
                <a:cxn ang="0">
                  <a:pos x="connsiteX1835" y="connsiteY1835"/>
                </a:cxn>
                <a:cxn ang="0">
                  <a:pos x="connsiteX1836" y="connsiteY1836"/>
                </a:cxn>
                <a:cxn ang="0">
                  <a:pos x="connsiteX1837" y="connsiteY1837"/>
                </a:cxn>
                <a:cxn ang="0">
                  <a:pos x="connsiteX1838" y="connsiteY1838"/>
                </a:cxn>
                <a:cxn ang="0">
                  <a:pos x="connsiteX1839" y="connsiteY1839"/>
                </a:cxn>
                <a:cxn ang="0">
                  <a:pos x="connsiteX1840" y="connsiteY1840"/>
                </a:cxn>
                <a:cxn ang="0">
                  <a:pos x="connsiteX1841" y="connsiteY1841"/>
                </a:cxn>
                <a:cxn ang="0">
                  <a:pos x="connsiteX1842" y="connsiteY1842"/>
                </a:cxn>
                <a:cxn ang="0">
                  <a:pos x="connsiteX1843" y="connsiteY1843"/>
                </a:cxn>
                <a:cxn ang="0">
                  <a:pos x="connsiteX1844" y="connsiteY1844"/>
                </a:cxn>
                <a:cxn ang="0">
                  <a:pos x="connsiteX1845" y="connsiteY1845"/>
                </a:cxn>
                <a:cxn ang="0">
                  <a:pos x="connsiteX1846" y="connsiteY1846"/>
                </a:cxn>
                <a:cxn ang="0">
                  <a:pos x="connsiteX1847" y="connsiteY1847"/>
                </a:cxn>
                <a:cxn ang="0">
                  <a:pos x="connsiteX1848" y="connsiteY1848"/>
                </a:cxn>
                <a:cxn ang="0">
                  <a:pos x="connsiteX1849" y="connsiteY1849"/>
                </a:cxn>
                <a:cxn ang="0">
                  <a:pos x="connsiteX1850" y="connsiteY1850"/>
                </a:cxn>
                <a:cxn ang="0">
                  <a:pos x="connsiteX1851" y="connsiteY1851"/>
                </a:cxn>
                <a:cxn ang="0">
                  <a:pos x="connsiteX1852" y="connsiteY1852"/>
                </a:cxn>
                <a:cxn ang="0">
                  <a:pos x="connsiteX1853" y="connsiteY1853"/>
                </a:cxn>
                <a:cxn ang="0">
                  <a:pos x="connsiteX1854" y="connsiteY1854"/>
                </a:cxn>
                <a:cxn ang="0">
                  <a:pos x="connsiteX1855" y="connsiteY1855"/>
                </a:cxn>
                <a:cxn ang="0">
                  <a:pos x="connsiteX1856" y="connsiteY1856"/>
                </a:cxn>
                <a:cxn ang="0">
                  <a:pos x="connsiteX1857" y="connsiteY1857"/>
                </a:cxn>
                <a:cxn ang="0">
                  <a:pos x="connsiteX1858" y="connsiteY1858"/>
                </a:cxn>
                <a:cxn ang="0">
                  <a:pos x="connsiteX1859" y="connsiteY1859"/>
                </a:cxn>
                <a:cxn ang="0">
                  <a:pos x="connsiteX1860" y="connsiteY1860"/>
                </a:cxn>
                <a:cxn ang="0">
                  <a:pos x="connsiteX1861" y="connsiteY1861"/>
                </a:cxn>
                <a:cxn ang="0">
                  <a:pos x="connsiteX1862" y="connsiteY1862"/>
                </a:cxn>
                <a:cxn ang="0">
                  <a:pos x="connsiteX1863" y="connsiteY1863"/>
                </a:cxn>
                <a:cxn ang="0">
                  <a:pos x="connsiteX1864" y="connsiteY1864"/>
                </a:cxn>
                <a:cxn ang="0">
                  <a:pos x="connsiteX1865" y="connsiteY1865"/>
                </a:cxn>
                <a:cxn ang="0">
                  <a:pos x="connsiteX1866" y="connsiteY1866"/>
                </a:cxn>
                <a:cxn ang="0">
                  <a:pos x="connsiteX1867" y="connsiteY1867"/>
                </a:cxn>
                <a:cxn ang="0">
                  <a:pos x="connsiteX1868" y="connsiteY1868"/>
                </a:cxn>
                <a:cxn ang="0">
                  <a:pos x="connsiteX1869" y="connsiteY1869"/>
                </a:cxn>
                <a:cxn ang="0">
                  <a:pos x="connsiteX1870" y="connsiteY1870"/>
                </a:cxn>
                <a:cxn ang="0">
                  <a:pos x="connsiteX1871" y="connsiteY1871"/>
                </a:cxn>
                <a:cxn ang="0">
                  <a:pos x="connsiteX1872" y="connsiteY1872"/>
                </a:cxn>
                <a:cxn ang="0">
                  <a:pos x="connsiteX1873" y="connsiteY1873"/>
                </a:cxn>
                <a:cxn ang="0">
                  <a:pos x="connsiteX1874" y="connsiteY1874"/>
                </a:cxn>
                <a:cxn ang="0">
                  <a:pos x="connsiteX1875" y="connsiteY1875"/>
                </a:cxn>
                <a:cxn ang="0">
                  <a:pos x="connsiteX1876" y="connsiteY1876"/>
                </a:cxn>
                <a:cxn ang="0">
                  <a:pos x="connsiteX1877" y="connsiteY1877"/>
                </a:cxn>
                <a:cxn ang="0">
                  <a:pos x="connsiteX1878" y="connsiteY1878"/>
                </a:cxn>
                <a:cxn ang="0">
                  <a:pos x="connsiteX1879" y="connsiteY1879"/>
                </a:cxn>
                <a:cxn ang="0">
                  <a:pos x="connsiteX1880" y="connsiteY1880"/>
                </a:cxn>
                <a:cxn ang="0">
                  <a:pos x="connsiteX1881" y="connsiteY1881"/>
                </a:cxn>
                <a:cxn ang="0">
                  <a:pos x="connsiteX1882" y="connsiteY1882"/>
                </a:cxn>
                <a:cxn ang="0">
                  <a:pos x="connsiteX1883" y="connsiteY1883"/>
                </a:cxn>
                <a:cxn ang="0">
                  <a:pos x="connsiteX1884" y="connsiteY1884"/>
                </a:cxn>
                <a:cxn ang="0">
                  <a:pos x="connsiteX1885" y="connsiteY1885"/>
                </a:cxn>
                <a:cxn ang="0">
                  <a:pos x="connsiteX1886" y="connsiteY1886"/>
                </a:cxn>
                <a:cxn ang="0">
                  <a:pos x="connsiteX1887" y="connsiteY1887"/>
                </a:cxn>
                <a:cxn ang="0">
                  <a:pos x="connsiteX1888" y="connsiteY1888"/>
                </a:cxn>
                <a:cxn ang="0">
                  <a:pos x="connsiteX1889" y="connsiteY1889"/>
                </a:cxn>
                <a:cxn ang="0">
                  <a:pos x="connsiteX1890" y="connsiteY1890"/>
                </a:cxn>
                <a:cxn ang="0">
                  <a:pos x="connsiteX1891" y="connsiteY1891"/>
                </a:cxn>
                <a:cxn ang="0">
                  <a:pos x="connsiteX1892" y="connsiteY1892"/>
                </a:cxn>
                <a:cxn ang="0">
                  <a:pos x="connsiteX1893" y="connsiteY1893"/>
                </a:cxn>
                <a:cxn ang="0">
                  <a:pos x="connsiteX1894" y="connsiteY1894"/>
                </a:cxn>
                <a:cxn ang="0">
                  <a:pos x="connsiteX1895" y="connsiteY1895"/>
                </a:cxn>
                <a:cxn ang="0">
                  <a:pos x="connsiteX1896" y="connsiteY1896"/>
                </a:cxn>
                <a:cxn ang="0">
                  <a:pos x="connsiteX1897" y="connsiteY1897"/>
                </a:cxn>
                <a:cxn ang="0">
                  <a:pos x="connsiteX1898" y="connsiteY1898"/>
                </a:cxn>
                <a:cxn ang="0">
                  <a:pos x="connsiteX1899" y="connsiteY1899"/>
                </a:cxn>
                <a:cxn ang="0">
                  <a:pos x="connsiteX1900" y="connsiteY1900"/>
                </a:cxn>
                <a:cxn ang="0">
                  <a:pos x="connsiteX1901" y="connsiteY1901"/>
                </a:cxn>
                <a:cxn ang="0">
                  <a:pos x="connsiteX1902" y="connsiteY1902"/>
                </a:cxn>
                <a:cxn ang="0">
                  <a:pos x="connsiteX1903" y="connsiteY1903"/>
                </a:cxn>
                <a:cxn ang="0">
                  <a:pos x="connsiteX1904" y="connsiteY1904"/>
                </a:cxn>
                <a:cxn ang="0">
                  <a:pos x="connsiteX1905" y="connsiteY1905"/>
                </a:cxn>
                <a:cxn ang="0">
                  <a:pos x="connsiteX1906" y="connsiteY1906"/>
                </a:cxn>
                <a:cxn ang="0">
                  <a:pos x="connsiteX1907" y="connsiteY1907"/>
                </a:cxn>
                <a:cxn ang="0">
                  <a:pos x="connsiteX1908" y="connsiteY1908"/>
                </a:cxn>
                <a:cxn ang="0">
                  <a:pos x="connsiteX1909" y="connsiteY1909"/>
                </a:cxn>
                <a:cxn ang="0">
                  <a:pos x="connsiteX1910" y="connsiteY1910"/>
                </a:cxn>
                <a:cxn ang="0">
                  <a:pos x="connsiteX1911" y="connsiteY1911"/>
                </a:cxn>
                <a:cxn ang="0">
                  <a:pos x="connsiteX1912" y="connsiteY1912"/>
                </a:cxn>
                <a:cxn ang="0">
                  <a:pos x="connsiteX1913" y="connsiteY1913"/>
                </a:cxn>
                <a:cxn ang="0">
                  <a:pos x="connsiteX1914" y="connsiteY1914"/>
                </a:cxn>
                <a:cxn ang="0">
                  <a:pos x="connsiteX1915" y="connsiteY1915"/>
                </a:cxn>
                <a:cxn ang="0">
                  <a:pos x="connsiteX1916" y="connsiteY1916"/>
                </a:cxn>
                <a:cxn ang="0">
                  <a:pos x="connsiteX1917" y="connsiteY1917"/>
                </a:cxn>
                <a:cxn ang="0">
                  <a:pos x="connsiteX1918" y="connsiteY1918"/>
                </a:cxn>
                <a:cxn ang="0">
                  <a:pos x="connsiteX1919" y="connsiteY1919"/>
                </a:cxn>
                <a:cxn ang="0">
                  <a:pos x="connsiteX1920" y="connsiteY1920"/>
                </a:cxn>
                <a:cxn ang="0">
                  <a:pos x="connsiteX1921" y="connsiteY1921"/>
                </a:cxn>
                <a:cxn ang="0">
                  <a:pos x="connsiteX1922" y="connsiteY1922"/>
                </a:cxn>
                <a:cxn ang="0">
                  <a:pos x="connsiteX1923" y="connsiteY1923"/>
                </a:cxn>
                <a:cxn ang="0">
                  <a:pos x="connsiteX1924" y="connsiteY1924"/>
                </a:cxn>
                <a:cxn ang="0">
                  <a:pos x="connsiteX1925" y="connsiteY1925"/>
                </a:cxn>
                <a:cxn ang="0">
                  <a:pos x="connsiteX1926" y="connsiteY1926"/>
                </a:cxn>
                <a:cxn ang="0">
                  <a:pos x="connsiteX1927" y="connsiteY1927"/>
                </a:cxn>
                <a:cxn ang="0">
                  <a:pos x="connsiteX1928" y="connsiteY1928"/>
                </a:cxn>
                <a:cxn ang="0">
                  <a:pos x="connsiteX1929" y="connsiteY1929"/>
                </a:cxn>
                <a:cxn ang="0">
                  <a:pos x="connsiteX1930" y="connsiteY1930"/>
                </a:cxn>
                <a:cxn ang="0">
                  <a:pos x="connsiteX1931" y="connsiteY1931"/>
                </a:cxn>
                <a:cxn ang="0">
                  <a:pos x="connsiteX1932" y="connsiteY1932"/>
                </a:cxn>
                <a:cxn ang="0">
                  <a:pos x="connsiteX1933" y="connsiteY1933"/>
                </a:cxn>
                <a:cxn ang="0">
                  <a:pos x="connsiteX1934" y="connsiteY1934"/>
                </a:cxn>
                <a:cxn ang="0">
                  <a:pos x="connsiteX1935" y="connsiteY1935"/>
                </a:cxn>
                <a:cxn ang="0">
                  <a:pos x="connsiteX1936" y="connsiteY1936"/>
                </a:cxn>
                <a:cxn ang="0">
                  <a:pos x="connsiteX1937" y="connsiteY1937"/>
                </a:cxn>
                <a:cxn ang="0">
                  <a:pos x="connsiteX1938" y="connsiteY1938"/>
                </a:cxn>
                <a:cxn ang="0">
                  <a:pos x="connsiteX1939" y="connsiteY1939"/>
                </a:cxn>
                <a:cxn ang="0">
                  <a:pos x="connsiteX1940" y="connsiteY1940"/>
                </a:cxn>
                <a:cxn ang="0">
                  <a:pos x="connsiteX1941" y="connsiteY1941"/>
                </a:cxn>
                <a:cxn ang="0">
                  <a:pos x="connsiteX1942" y="connsiteY1942"/>
                </a:cxn>
                <a:cxn ang="0">
                  <a:pos x="connsiteX1943" y="connsiteY1943"/>
                </a:cxn>
                <a:cxn ang="0">
                  <a:pos x="connsiteX1944" y="connsiteY1944"/>
                </a:cxn>
                <a:cxn ang="0">
                  <a:pos x="connsiteX1945" y="connsiteY1945"/>
                </a:cxn>
                <a:cxn ang="0">
                  <a:pos x="connsiteX1946" y="connsiteY1946"/>
                </a:cxn>
                <a:cxn ang="0">
                  <a:pos x="connsiteX1947" y="connsiteY1947"/>
                </a:cxn>
                <a:cxn ang="0">
                  <a:pos x="connsiteX1948" y="connsiteY1948"/>
                </a:cxn>
                <a:cxn ang="0">
                  <a:pos x="connsiteX1949" y="connsiteY1949"/>
                </a:cxn>
                <a:cxn ang="0">
                  <a:pos x="connsiteX1950" y="connsiteY1950"/>
                </a:cxn>
                <a:cxn ang="0">
                  <a:pos x="connsiteX1951" y="connsiteY1951"/>
                </a:cxn>
                <a:cxn ang="0">
                  <a:pos x="connsiteX1952" y="connsiteY1952"/>
                </a:cxn>
                <a:cxn ang="0">
                  <a:pos x="connsiteX1953" y="connsiteY1953"/>
                </a:cxn>
                <a:cxn ang="0">
                  <a:pos x="connsiteX1954" y="connsiteY1954"/>
                </a:cxn>
                <a:cxn ang="0">
                  <a:pos x="connsiteX1955" y="connsiteY1955"/>
                </a:cxn>
                <a:cxn ang="0">
                  <a:pos x="connsiteX1956" y="connsiteY1956"/>
                </a:cxn>
                <a:cxn ang="0">
                  <a:pos x="connsiteX1957" y="connsiteY1957"/>
                </a:cxn>
                <a:cxn ang="0">
                  <a:pos x="connsiteX1958" y="connsiteY1958"/>
                </a:cxn>
                <a:cxn ang="0">
                  <a:pos x="connsiteX1959" y="connsiteY1959"/>
                </a:cxn>
                <a:cxn ang="0">
                  <a:pos x="connsiteX1960" y="connsiteY1960"/>
                </a:cxn>
                <a:cxn ang="0">
                  <a:pos x="connsiteX1961" y="connsiteY1961"/>
                </a:cxn>
                <a:cxn ang="0">
                  <a:pos x="connsiteX1962" y="connsiteY1962"/>
                </a:cxn>
                <a:cxn ang="0">
                  <a:pos x="connsiteX1963" y="connsiteY1963"/>
                </a:cxn>
                <a:cxn ang="0">
                  <a:pos x="connsiteX1964" y="connsiteY1964"/>
                </a:cxn>
                <a:cxn ang="0">
                  <a:pos x="connsiteX1965" y="connsiteY1965"/>
                </a:cxn>
                <a:cxn ang="0">
                  <a:pos x="connsiteX1966" y="connsiteY1966"/>
                </a:cxn>
                <a:cxn ang="0">
                  <a:pos x="connsiteX1967" y="connsiteY1967"/>
                </a:cxn>
                <a:cxn ang="0">
                  <a:pos x="connsiteX1968" y="connsiteY1968"/>
                </a:cxn>
                <a:cxn ang="0">
                  <a:pos x="connsiteX1969" y="connsiteY1969"/>
                </a:cxn>
                <a:cxn ang="0">
                  <a:pos x="connsiteX1970" y="connsiteY1970"/>
                </a:cxn>
                <a:cxn ang="0">
                  <a:pos x="connsiteX1971" y="connsiteY1971"/>
                </a:cxn>
                <a:cxn ang="0">
                  <a:pos x="connsiteX1972" y="connsiteY1972"/>
                </a:cxn>
                <a:cxn ang="0">
                  <a:pos x="connsiteX1973" y="connsiteY1973"/>
                </a:cxn>
                <a:cxn ang="0">
                  <a:pos x="connsiteX1974" y="connsiteY1974"/>
                </a:cxn>
                <a:cxn ang="0">
                  <a:pos x="connsiteX1975" y="connsiteY1975"/>
                </a:cxn>
                <a:cxn ang="0">
                  <a:pos x="connsiteX1976" y="connsiteY1976"/>
                </a:cxn>
                <a:cxn ang="0">
                  <a:pos x="connsiteX1977" y="connsiteY1977"/>
                </a:cxn>
                <a:cxn ang="0">
                  <a:pos x="connsiteX1978" y="connsiteY1978"/>
                </a:cxn>
                <a:cxn ang="0">
                  <a:pos x="connsiteX1979" y="connsiteY1979"/>
                </a:cxn>
                <a:cxn ang="0">
                  <a:pos x="connsiteX1980" y="connsiteY1980"/>
                </a:cxn>
                <a:cxn ang="0">
                  <a:pos x="connsiteX1981" y="connsiteY1981"/>
                </a:cxn>
                <a:cxn ang="0">
                  <a:pos x="connsiteX1982" y="connsiteY1982"/>
                </a:cxn>
                <a:cxn ang="0">
                  <a:pos x="connsiteX1983" y="connsiteY1983"/>
                </a:cxn>
                <a:cxn ang="0">
                  <a:pos x="connsiteX1984" y="connsiteY1984"/>
                </a:cxn>
                <a:cxn ang="0">
                  <a:pos x="connsiteX1985" y="connsiteY1985"/>
                </a:cxn>
                <a:cxn ang="0">
                  <a:pos x="connsiteX1986" y="connsiteY1986"/>
                </a:cxn>
                <a:cxn ang="0">
                  <a:pos x="connsiteX1987" y="connsiteY1987"/>
                </a:cxn>
                <a:cxn ang="0">
                  <a:pos x="connsiteX1988" y="connsiteY1988"/>
                </a:cxn>
                <a:cxn ang="0">
                  <a:pos x="connsiteX1989" y="connsiteY1989"/>
                </a:cxn>
                <a:cxn ang="0">
                  <a:pos x="connsiteX1990" y="connsiteY1990"/>
                </a:cxn>
                <a:cxn ang="0">
                  <a:pos x="connsiteX1991" y="connsiteY1991"/>
                </a:cxn>
                <a:cxn ang="0">
                  <a:pos x="connsiteX1992" y="connsiteY1992"/>
                </a:cxn>
                <a:cxn ang="0">
                  <a:pos x="connsiteX1993" y="connsiteY1993"/>
                </a:cxn>
                <a:cxn ang="0">
                  <a:pos x="connsiteX1994" y="connsiteY1994"/>
                </a:cxn>
                <a:cxn ang="0">
                  <a:pos x="connsiteX1995" y="connsiteY1995"/>
                </a:cxn>
                <a:cxn ang="0">
                  <a:pos x="connsiteX1996" y="connsiteY1996"/>
                </a:cxn>
                <a:cxn ang="0">
                  <a:pos x="connsiteX1997" y="connsiteY1997"/>
                </a:cxn>
                <a:cxn ang="0">
                  <a:pos x="connsiteX1998" y="connsiteY1998"/>
                </a:cxn>
                <a:cxn ang="0">
                  <a:pos x="connsiteX1999" y="connsiteY1999"/>
                </a:cxn>
                <a:cxn ang="0">
                  <a:pos x="connsiteX2000" y="connsiteY2000"/>
                </a:cxn>
                <a:cxn ang="0">
                  <a:pos x="connsiteX2001" y="connsiteY2001"/>
                </a:cxn>
                <a:cxn ang="0">
                  <a:pos x="connsiteX2002" y="connsiteY2002"/>
                </a:cxn>
                <a:cxn ang="0">
                  <a:pos x="connsiteX2003" y="connsiteY2003"/>
                </a:cxn>
                <a:cxn ang="0">
                  <a:pos x="connsiteX2004" y="connsiteY2004"/>
                </a:cxn>
                <a:cxn ang="0">
                  <a:pos x="connsiteX2005" y="connsiteY2005"/>
                </a:cxn>
                <a:cxn ang="0">
                  <a:pos x="connsiteX2006" y="connsiteY2006"/>
                </a:cxn>
                <a:cxn ang="0">
                  <a:pos x="connsiteX2007" y="connsiteY2007"/>
                </a:cxn>
                <a:cxn ang="0">
                  <a:pos x="connsiteX2008" y="connsiteY2008"/>
                </a:cxn>
                <a:cxn ang="0">
                  <a:pos x="connsiteX2009" y="connsiteY2009"/>
                </a:cxn>
                <a:cxn ang="0">
                  <a:pos x="connsiteX2010" y="connsiteY2010"/>
                </a:cxn>
                <a:cxn ang="0">
                  <a:pos x="connsiteX2011" y="connsiteY2011"/>
                </a:cxn>
                <a:cxn ang="0">
                  <a:pos x="connsiteX2012" y="connsiteY2012"/>
                </a:cxn>
                <a:cxn ang="0">
                  <a:pos x="connsiteX2013" y="connsiteY2013"/>
                </a:cxn>
                <a:cxn ang="0">
                  <a:pos x="connsiteX2014" y="connsiteY2014"/>
                </a:cxn>
                <a:cxn ang="0">
                  <a:pos x="connsiteX2015" y="connsiteY2015"/>
                </a:cxn>
                <a:cxn ang="0">
                  <a:pos x="connsiteX2016" y="connsiteY2016"/>
                </a:cxn>
                <a:cxn ang="0">
                  <a:pos x="connsiteX2017" y="connsiteY2017"/>
                </a:cxn>
                <a:cxn ang="0">
                  <a:pos x="connsiteX2018" y="connsiteY2018"/>
                </a:cxn>
                <a:cxn ang="0">
                  <a:pos x="connsiteX2019" y="connsiteY2019"/>
                </a:cxn>
                <a:cxn ang="0">
                  <a:pos x="connsiteX2020" y="connsiteY2020"/>
                </a:cxn>
                <a:cxn ang="0">
                  <a:pos x="connsiteX2021" y="connsiteY2021"/>
                </a:cxn>
                <a:cxn ang="0">
                  <a:pos x="connsiteX2022" y="connsiteY2022"/>
                </a:cxn>
                <a:cxn ang="0">
                  <a:pos x="connsiteX2023" y="connsiteY2023"/>
                </a:cxn>
                <a:cxn ang="0">
                  <a:pos x="connsiteX2024" y="connsiteY2024"/>
                </a:cxn>
                <a:cxn ang="0">
                  <a:pos x="connsiteX2025" y="connsiteY2025"/>
                </a:cxn>
                <a:cxn ang="0">
                  <a:pos x="connsiteX2026" y="connsiteY2026"/>
                </a:cxn>
                <a:cxn ang="0">
                  <a:pos x="connsiteX2027" y="connsiteY2027"/>
                </a:cxn>
                <a:cxn ang="0">
                  <a:pos x="connsiteX2028" y="connsiteY2028"/>
                </a:cxn>
                <a:cxn ang="0">
                  <a:pos x="connsiteX2029" y="connsiteY2029"/>
                </a:cxn>
                <a:cxn ang="0">
                  <a:pos x="connsiteX2030" y="connsiteY2030"/>
                </a:cxn>
                <a:cxn ang="0">
                  <a:pos x="connsiteX2031" y="connsiteY2031"/>
                </a:cxn>
                <a:cxn ang="0">
                  <a:pos x="connsiteX2032" y="connsiteY2032"/>
                </a:cxn>
                <a:cxn ang="0">
                  <a:pos x="connsiteX2033" y="connsiteY2033"/>
                </a:cxn>
                <a:cxn ang="0">
                  <a:pos x="connsiteX2034" y="connsiteY2034"/>
                </a:cxn>
                <a:cxn ang="0">
                  <a:pos x="connsiteX2035" y="connsiteY2035"/>
                </a:cxn>
                <a:cxn ang="0">
                  <a:pos x="connsiteX2036" y="connsiteY2036"/>
                </a:cxn>
                <a:cxn ang="0">
                  <a:pos x="connsiteX2037" y="connsiteY2037"/>
                </a:cxn>
                <a:cxn ang="0">
                  <a:pos x="connsiteX2038" y="connsiteY2038"/>
                </a:cxn>
                <a:cxn ang="0">
                  <a:pos x="connsiteX2039" y="connsiteY2039"/>
                </a:cxn>
                <a:cxn ang="0">
                  <a:pos x="connsiteX2040" y="connsiteY2040"/>
                </a:cxn>
                <a:cxn ang="0">
                  <a:pos x="connsiteX2041" y="connsiteY2041"/>
                </a:cxn>
                <a:cxn ang="0">
                  <a:pos x="connsiteX2042" y="connsiteY2042"/>
                </a:cxn>
                <a:cxn ang="0">
                  <a:pos x="connsiteX2043" y="connsiteY2043"/>
                </a:cxn>
                <a:cxn ang="0">
                  <a:pos x="connsiteX2044" y="connsiteY2044"/>
                </a:cxn>
                <a:cxn ang="0">
                  <a:pos x="connsiteX2045" y="connsiteY2045"/>
                </a:cxn>
                <a:cxn ang="0">
                  <a:pos x="connsiteX2046" y="connsiteY2046"/>
                </a:cxn>
                <a:cxn ang="0">
                  <a:pos x="connsiteX2047" y="connsiteY2047"/>
                </a:cxn>
                <a:cxn ang="0">
                  <a:pos x="connsiteX2048" y="connsiteY2048"/>
                </a:cxn>
                <a:cxn ang="0">
                  <a:pos x="connsiteX2049" y="connsiteY2049"/>
                </a:cxn>
                <a:cxn ang="0">
                  <a:pos x="connsiteX2050" y="connsiteY2050"/>
                </a:cxn>
                <a:cxn ang="0">
                  <a:pos x="connsiteX2051" y="connsiteY2051"/>
                </a:cxn>
                <a:cxn ang="0">
                  <a:pos x="connsiteX2052" y="connsiteY2052"/>
                </a:cxn>
                <a:cxn ang="0">
                  <a:pos x="connsiteX2053" y="connsiteY2053"/>
                </a:cxn>
                <a:cxn ang="0">
                  <a:pos x="connsiteX2054" y="connsiteY2054"/>
                </a:cxn>
                <a:cxn ang="0">
                  <a:pos x="connsiteX2055" y="connsiteY2055"/>
                </a:cxn>
                <a:cxn ang="0">
                  <a:pos x="connsiteX2056" y="connsiteY2056"/>
                </a:cxn>
                <a:cxn ang="0">
                  <a:pos x="connsiteX2057" y="connsiteY2057"/>
                </a:cxn>
                <a:cxn ang="0">
                  <a:pos x="connsiteX2058" y="connsiteY2058"/>
                </a:cxn>
                <a:cxn ang="0">
                  <a:pos x="connsiteX2059" y="connsiteY2059"/>
                </a:cxn>
                <a:cxn ang="0">
                  <a:pos x="connsiteX2060" y="connsiteY2060"/>
                </a:cxn>
                <a:cxn ang="0">
                  <a:pos x="connsiteX2061" y="connsiteY2061"/>
                </a:cxn>
                <a:cxn ang="0">
                  <a:pos x="connsiteX2062" y="connsiteY2062"/>
                </a:cxn>
                <a:cxn ang="0">
                  <a:pos x="connsiteX2063" y="connsiteY2063"/>
                </a:cxn>
                <a:cxn ang="0">
                  <a:pos x="connsiteX2064" y="connsiteY2064"/>
                </a:cxn>
                <a:cxn ang="0">
                  <a:pos x="connsiteX2065" y="connsiteY2065"/>
                </a:cxn>
                <a:cxn ang="0">
                  <a:pos x="connsiteX2066" y="connsiteY2066"/>
                </a:cxn>
                <a:cxn ang="0">
                  <a:pos x="connsiteX2067" y="connsiteY2067"/>
                </a:cxn>
                <a:cxn ang="0">
                  <a:pos x="connsiteX2068" y="connsiteY2068"/>
                </a:cxn>
                <a:cxn ang="0">
                  <a:pos x="connsiteX2069" y="connsiteY2069"/>
                </a:cxn>
                <a:cxn ang="0">
                  <a:pos x="connsiteX2070" y="connsiteY2070"/>
                </a:cxn>
                <a:cxn ang="0">
                  <a:pos x="connsiteX2071" y="connsiteY2071"/>
                </a:cxn>
                <a:cxn ang="0">
                  <a:pos x="connsiteX2072" y="connsiteY2072"/>
                </a:cxn>
                <a:cxn ang="0">
                  <a:pos x="connsiteX2073" y="connsiteY2073"/>
                </a:cxn>
                <a:cxn ang="0">
                  <a:pos x="connsiteX2074" y="connsiteY2074"/>
                </a:cxn>
                <a:cxn ang="0">
                  <a:pos x="connsiteX2075" y="connsiteY2075"/>
                </a:cxn>
                <a:cxn ang="0">
                  <a:pos x="connsiteX2076" y="connsiteY2076"/>
                </a:cxn>
                <a:cxn ang="0">
                  <a:pos x="connsiteX2077" y="connsiteY2077"/>
                </a:cxn>
                <a:cxn ang="0">
                  <a:pos x="connsiteX2078" y="connsiteY2078"/>
                </a:cxn>
                <a:cxn ang="0">
                  <a:pos x="connsiteX2079" y="connsiteY2079"/>
                </a:cxn>
                <a:cxn ang="0">
                  <a:pos x="connsiteX2080" y="connsiteY2080"/>
                </a:cxn>
                <a:cxn ang="0">
                  <a:pos x="connsiteX2081" y="connsiteY2081"/>
                </a:cxn>
                <a:cxn ang="0">
                  <a:pos x="connsiteX2082" y="connsiteY2082"/>
                </a:cxn>
                <a:cxn ang="0">
                  <a:pos x="connsiteX2083" y="connsiteY2083"/>
                </a:cxn>
                <a:cxn ang="0">
                  <a:pos x="connsiteX2084" y="connsiteY2084"/>
                </a:cxn>
                <a:cxn ang="0">
                  <a:pos x="connsiteX2085" y="connsiteY2085"/>
                </a:cxn>
                <a:cxn ang="0">
                  <a:pos x="connsiteX2086" y="connsiteY2086"/>
                </a:cxn>
                <a:cxn ang="0">
                  <a:pos x="connsiteX2087" y="connsiteY2087"/>
                </a:cxn>
                <a:cxn ang="0">
                  <a:pos x="connsiteX2088" y="connsiteY2088"/>
                </a:cxn>
                <a:cxn ang="0">
                  <a:pos x="connsiteX2089" y="connsiteY2089"/>
                </a:cxn>
                <a:cxn ang="0">
                  <a:pos x="connsiteX2090" y="connsiteY2090"/>
                </a:cxn>
                <a:cxn ang="0">
                  <a:pos x="connsiteX2091" y="connsiteY2091"/>
                </a:cxn>
                <a:cxn ang="0">
                  <a:pos x="connsiteX2092" y="connsiteY2092"/>
                </a:cxn>
                <a:cxn ang="0">
                  <a:pos x="connsiteX2093" y="connsiteY2093"/>
                </a:cxn>
                <a:cxn ang="0">
                  <a:pos x="connsiteX2094" y="connsiteY2094"/>
                </a:cxn>
                <a:cxn ang="0">
                  <a:pos x="connsiteX2095" y="connsiteY2095"/>
                </a:cxn>
                <a:cxn ang="0">
                  <a:pos x="connsiteX2096" y="connsiteY2096"/>
                </a:cxn>
                <a:cxn ang="0">
                  <a:pos x="connsiteX2097" y="connsiteY2097"/>
                </a:cxn>
                <a:cxn ang="0">
                  <a:pos x="connsiteX2098" y="connsiteY2098"/>
                </a:cxn>
                <a:cxn ang="0">
                  <a:pos x="connsiteX2099" y="connsiteY2099"/>
                </a:cxn>
                <a:cxn ang="0">
                  <a:pos x="connsiteX2100" y="connsiteY2100"/>
                </a:cxn>
                <a:cxn ang="0">
                  <a:pos x="connsiteX2101" y="connsiteY2101"/>
                </a:cxn>
                <a:cxn ang="0">
                  <a:pos x="connsiteX2102" y="connsiteY2102"/>
                </a:cxn>
                <a:cxn ang="0">
                  <a:pos x="connsiteX2103" y="connsiteY2103"/>
                </a:cxn>
                <a:cxn ang="0">
                  <a:pos x="connsiteX2104" y="connsiteY2104"/>
                </a:cxn>
                <a:cxn ang="0">
                  <a:pos x="connsiteX2105" y="connsiteY2105"/>
                </a:cxn>
                <a:cxn ang="0">
                  <a:pos x="connsiteX2106" y="connsiteY2106"/>
                </a:cxn>
                <a:cxn ang="0">
                  <a:pos x="connsiteX2107" y="connsiteY2107"/>
                </a:cxn>
                <a:cxn ang="0">
                  <a:pos x="connsiteX2108" y="connsiteY2108"/>
                </a:cxn>
                <a:cxn ang="0">
                  <a:pos x="connsiteX2109" y="connsiteY2109"/>
                </a:cxn>
                <a:cxn ang="0">
                  <a:pos x="connsiteX2110" y="connsiteY2110"/>
                </a:cxn>
                <a:cxn ang="0">
                  <a:pos x="connsiteX2111" y="connsiteY2111"/>
                </a:cxn>
                <a:cxn ang="0">
                  <a:pos x="connsiteX2112" y="connsiteY2112"/>
                </a:cxn>
                <a:cxn ang="0">
                  <a:pos x="connsiteX2113" y="connsiteY2113"/>
                </a:cxn>
                <a:cxn ang="0">
                  <a:pos x="connsiteX2114" y="connsiteY2114"/>
                </a:cxn>
                <a:cxn ang="0">
                  <a:pos x="connsiteX2115" y="connsiteY2115"/>
                </a:cxn>
                <a:cxn ang="0">
                  <a:pos x="connsiteX2116" y="connsiteY2116"/>
                </a:cxn>
                <a:cxn ang="0">
                  <a:pos x="connsiteX2117" y="connsiteY2117"/>
                </a:cxn>
                <a:cxn ang="0">
                  <a:pos x="connsiteX2118" y="connsiteY2118"/>
                </a:cxn>
                <a:cxn ang="0">
                  <a:pos x="connsiteX2119" y="connsiteY2119"/>
                </a:cxn>
                <a:cxn ang="0">
                  <a:pos x="connsiteX2120" y="connsiteY2120"/>
                </a:cxn>
                <a:cxn ang="0">
                  <a:pos x="connsiteX2121" y="connsiteY2121"/>
                </a:cxn>
                <a:cxn ang="0">
                  <a:pos x="connsiteX2122" y="connsiteY2122"/>
                </a:cxn>
                <a:cxn ang="0">
                  <a:pos x="connsiteX2123" y="connsiteY2123"/>
                </a:cxn>
                <a:cxn ang="0">
                  <a:pos x="connsiteX2124" y="connsiteY2124"/>
                </a:cxn>
                <a:cxn ang="0">
                  <a:pos x="connsiteX2125" y="connsiteY2125"/>
                </a:cxn>
                <a:cxn ang="0">
                  <a:pos x="connsiteX2126" y="connsiteY2126"/>
                </a:cxn>
                <a:cxn ang="0">
                  <a:pos x="connsiteX2127" y="connsiteY2127"/>
                </a:cxn>
                <a:cxn ang="0">
                  <a:pos x="connsiteX2128" y="connsiteY2128"/>
                </a:cxn>
                <a:cxn ang="0">
                  <a:pos x="connsiteX2129" y="connsiteY2129"/>
                </a:cxn>
                <a:cxn ang="0">
                  <a:pos x="connsiteX2130" y="connsiteY2130"/>
                </a:cxn>
                <a:cxn ang="0">
                  <a:pos x="connsiteX2131" y="connsiteY2131"/>
                </a:cxn>
                <a:cxn ang="0">
                  <a:pos x="connsiteX2132" y="connsiteY2132"/>
                </a:cxn>
                <a:cxn ang="0">
                  <a:pos x="connsiteX2133" y="connsiteY2133"/>
                </a:cxn>
                <a:cxn ang="0">
                  <a:pos x="connsiteX2134" y="connsiteY2134"/>
                </a:cxn>
                <a:cxn ang="0">
                  <a:pos x="connsiteX2135" y="connsiteY2135"/>
                </a:cxn>
                <a:cxn ang="0">
                  <a:pos x="connsiteX2136" y="connsiteY2136"/>
                </a:cxn>
                <a:cxn ang="0">
                  <a:pos x="connsiteX2137" y="connsiteY2137"/>
                </a:cxn>
                <a:cxn ang="0">
                  <a:pos x="connsiteX2138" y="connsiteY2138"/>
                </a:cxn>
                <a:cxn ang="0">
                  <a:pos x="connsiteX2139" y="connsiteY2139"/>
                </a:cxn>
                <a:cxn ang="0">
                  <a:pos x="connsiteX2140" y="connsiteY2140"/>
                </a:cxn>
                <a:cxn ang="0">
                  <a:pos x="connsiteX2141" y="connsiteY2141"/>
                </a:cxn>
                <a:cxn ang="0">
                  <a:pos x="connsiteX2142" y="connsiteY2142"/>
                </a:cxn>
                <a:cxn ang="0">
                  <a:pos x="connsiteX2143" y="connsiteY2143"/>
                </a:cxn>
                <a:cxn ang="0">
                  <a:pos x="connsiteX2144" y="connsiteY2144"/>
                </a:cxn>
                <a:cxn ang="0">
                  <a:pos x="connsiteX2145" y="connsiteY2145"/>
                </a:cxn>
                <a:cxn ang="0">
                  <a:pos x="connsiteX2146" y="connsiteY2146"/>
                </a:cxn>
                <a:cxn ang="0">
                  <a:pos x="connsiteX2147" y="connsiteY2147"/>
                </a:cxn>
                <a:cxn ang="0">
                  <a:pos x="connsiteX2148" y="connsiteY2148"/>
                </a:cxn>
                <a:cxn ang="0">
                  <a:pos x="connsiteX2149" y="connsiteY2149"/>
                </a:cxn>
                <a:cxn ang="0">
                  <a:pos x="connsiteX2150" y="connsiteY2150"/>
                </a:cxn>
                <a:cxn ang="0">
                  <a:pos x="connsiteX2151" y="connsiteY2151"/>
                </a:cxn>
                <a:cxn ang="0">
                  <a:pos x="connsiteX2152" y="connsiteY2152"/>
                </a:cxn>
                <a:cxn ang="0">
                  <a:pos x="connsiteX2153" y="connsiteY2153"/>
                </a:cxn>
                <a:cxn ang="0">
                  <a:pos x="connsiteX2154" y="connsiteY2154"/>
                </a:cxn>
                <a:cxn ang="0">
                  <a:pos x="connsiteX2155" y="connsiteY2155"/>
                </a:cxn>
                <a:cxn ang="0">
                  <a:pos x="connsiteX2156" y="connsiteY2156"/>
                </a:cxn>
                <a:cxn ang="0">
                  <a:pos x="connsiteX2157" y="connsiteY2157"/>
                </a:cxn>
                <a:cxn ang="0">
                  <a:pos x="connsiteX2158" y="connsiteY2158"/>
                </a:cxn>
                <a:cxn ang="0">
                  <a:pos x="connsiteX2159" y="connsiteY2159"/>
                </a:cxn>
                <a:cxn ang="0">
                  <a:pos x="connsiteX2160" y="connsiteY2160"/>
                </a:cxn>
                <a:cxn ang="0">
                  <a:pos x="connsiteX2161" y="connsiteY2161"/>
                </a:cxn>
                <a:cxn ang="0">
                  <a:pos x="connsiteX2162" y="connsiteY2162"/>
                </a:cxn>
                <a:cxn ang="0">
                  <a:pos x="connsiteX2163" y="connsiteY2163"/>
                </a:cxn>
                <a:cxn ang="0">
                  <a:pos x="connsiteX2164" y="connsiteY2164"/>
                </a:cxn>
                <a:cxn ang="0">
                  <a:pos x="connsiteX2165" y="connsiteY2165"/>
                </a:cxn>
                <a:cxn ang="0">
                  <a:pos x="connsiteX2166" y="connsiteY2166"/>
                </a:cxn>
                <a:cxn ang="0">
                  <a:pos x="connsiteX2167" y="connsiteY2167"/>
                </a:cxn>
                <a:cxn ang="0">
                  <a:pos x="connsiteX2168" y="connsiteY2168"/>
                </a:cxn>
                <a:cxn ang="0">
                  <a:pos x="connsiteX2169" y="connsiteY2169"/>
                </a:cxn>
                <a:cxn ang="0">
                  <a:pos x="connsiteX2170" y="connsiteY2170"/>
                </a:cxn>
                <a:cxn ang="0">
                  <a:pos x="connsiteX2171" y="connsiteY2171"/>
                </a:cxn>
                <a:cxn ang="0">
                  <a:pos x="connsiteX2172" y="connsiteY2172"/>
                </a:cxn>
                <a:cxn ang="0">
                  <a:pos x="connsiteX2173" y="connsiteY2173"/>
                </a:cxn>
                <a:cxn ang="0">
                  <a:pos x="connsiteX2174" y="connsiteY2174"/>
                </a:cxn>
                <a:cxn ang="0">
                  <a:pos x="connsiteX2175" y="connsiteY2175"/>
                </a:cxn>
                <a:cxn ang="0">
                  <a:pos x="connsiteX2176" y="connsiteY2176"/>
                </a:cxn>
                <a:cxn ang="0">
                  <a:pos x="connsiteX2177" y="connsiteY2177"/>
                </a:cxn>
                <a:cxn ang="0">
                  <a:pos x="connsiteX2178" y="connsiteY2178"/>
                </a:cxn>
                <a:cxn ang="0">
                  <a:pos x="connsiteX2179" y="connsiteY2179"/>
                </a:cxn>
                <a:cxn ang="0">
                  <a:pos x="connsiteX2180" y="connsiteY2180"/>
                </a:cxn>
                <a:cxn ang="0">
                  <a:pos x="connsiteX2181" y="connsiteY2181"/>
                </a:cxn>
                <a:cxn ang="0">
                  <a:pos x="connsiteX2182" y="connsiteY2182"/>
                </a:cxn>
                <a:cxn ang="0">
                  <a:pos x="connsiteX2183" y="connsiteY2183"/>
                </a:cxn>
                <a:cxn ang="0">
                  <a:pos x="connsiteX2184" y="connsiteY2184"/>
                </a:cxn>
                <a:cxn ang="0">
                  <a:pos x="connsiteX2185" y="connsiteY2185"/>
                </a:cxn>
                <a:cxn ang="0">
                  <a:pos x="connsiteX2186" y="connsiteY2186"/>
                </a:cxn>
                <a:cxn ang="0">
                  <a:pos x="connsiteX2187" y="connsiteY2187"/>
                </a:cxn>
                <a:cxn ang="0">
                  <a:pos x="connsiteX2188" y="connsiteY2188"/>
                </a:cxn>
                <a:cxn ang="0">
                  <a:pos x="connsiteX2189" y="connsiteY2189"/>
                </a:cxn>
                <a:cxn ang="0">
                  <a:pos x="connsiteX2190" y="connsiteY2190"/>
                </a:cxn>
                <a:cxn ang="0">
                  <a:pos x="connsiteX2191" y="connsiteY2191"/>
                </a:cxn>
                <a:cxn ang="0">
                  <a:pos x="connsiteX2192" y="connsiteY2192"/>
                </a:cxn>
                <a:cxn ang="0">
                  <a:pos x="connsiteX2193" y="connsiteY2193"/>
                </a:cxn>
                <a:cxn ang="0">
                  <a:pos x="connsiteX2194" y="connsiteY2194"/>
                </a:cxn>
                <a:cxn ang="0">
                  <a:pos x="connsiteX2195" y="connsiteY2195"/>
                </a:cxn>
                <a:cxn ang="0">
                  <a:pos x="connsiteX2196" y="connsiteY2196"/>
                </a:cxn>
                <a:cxn ang="0">
                  <a:pos x="connsiteX2197" y="connsiteY2197"/>
                </a:cxn>
                <a:cxn ang="0">
                  <a:pos x="connsiteX2198" y="connsiteY2198"/>
                </a:cxn>
                <a:cxn ang="0">
                  <a:pos x="connsiteX2199" y="connsiteY2199"/>
                </a:cxn>
                <a:cxn ang="0">
                  <a:pos x="connsiteX2200" y="connsiteY2200"/>
                </a:cxn>
                <a:cxn ang="0">
                  <a:pos x="connsiteX2201" y="connsiteY2201"/>
                </a:cxn>
                <a:cxn ang="0">
                  <a:pos x="connsiteX2202" y="connsiteY2202"/>
                </a:cxn>
                <a:cxn ang="0">
                  <a:pos x="connsiteX2203" y="connsiteY2203"/>
                </a:cxn>
                <a:cxn ang="0">
                  <a:pos x="connsiteX2204" y="connsiteY2204"/>
                </a:cxn>
                <a:cxn ang="0">
                  <a:pos x="connsiteX2205" y="connsiteY2205"/>
                </a:cxn>
                <a:cxn ang="0">
                  <a:pos x="connsiteX2206" y="connsiteY2206"/>
                </a:cxn>
                <a:cxn ang="0">
                  <a:pos x="connsiteX2207" y="connsiteY2207"/>
                </a:cxn>
                <a:cxn ang="0">
                  <a:pos x="connsiteX2208" y="connsiteY2208"/>
                </a:cxn>
                <a:cxn ang="0">
                  <a:pos x="connsiteX2209" y="connsiteY2209"/>
                </a:cxn>
                <a:cxn ang="0">
                  <a:pos x="connsiteX2210" y="connsiteY2210"/>
                </a:cxn>
                <a:cxn ang="0">
                  <a:pos x="connsiteX2211" y="connsiteY2211"/>
                </a:cxn>
                <a:cxn ang="0">
                  <a:pos x="connsiteX2212" y="connsiteY2212"/>
                </a:cxn>
                <a:cxn ang="0">
                  <a:pos x="connsiteX2213" y="connsiteY2213"/>
                </a:cxn>
                <a:cxn ang="0">
                  <a:pos x="connsiteX2214" y="connsiteY2214"/>
                </a:cxn>
                <a:cxn ang="0">
                  <a:pos x="connsiteX2215" y="connsiteY2215"/>
                </a:cxn>
                <a:cxn ang="0">
                  <a:pos x="connsiteX2216" y="connsiteY2216"/>
                </a:cxn>
                <a:cxn ang="0">
                  <a:pos x="connsiteX2217" y="connsiteY2217"/>
                </a:cxn>
                <a:cxn ang="0">
                  <a:pos x="connsiteX2218" y="connsiteY2218"/>
                </a:cxn>
                <a:cxn ang="0">
                  <a:pos x="connsiteX2219" y="connsiteY2219"/>
                </a:cxn>
                <a:cxn ang="0">
                  <a:pos x="connsiteX2220" y="connsiteY2220"/>
                </a:cxn>
                <a:cxn ang="0">
                  <a:pos x="connsiteX2221" y="connsiteY2221"/>
                </a:cxn>
                <a:cxn ang="0">
                  <a:pos x="connsiteX2222" y="connsiteY2222"/>
                </a:cxn>
                <a:cxn ang="0">
                  <a:pos x="connsiteX2223" y="connsiteY2223"/>
                </a:cxn>
                <a:cxn ang="0">
                  <a:pos x="connsiteX2224" y="connsiteY2224"/>
                </a:cxn>
                <a:cxn ang="0">
                  <a:pos x="connsiteX2225" y="connsiteY2225"/>
                </a:cxn>
                <a:cxn ang="0">
                  <a:pos x="connsiteX2226" y="connsiteY2226"/>
                </a:cxn>
                <a:cxn ang="0">
                  <a:pos x="connsiteX2227" y="connsiteY2227"/>
                </a:cxn>
                <a:cxn ang="0">
                  <a:pos x="connsiteX2228" y="connsiteY2228"/>
                </a:cxn>
                <a:cxn ang="0">
                  <a:pos x="connsiteX2229" y="connsiteY2229"/>
                </a:cxn>
                <a:cxn ang="0">
                  <a:pos x="connsiteX2230" y="connsiteY2230"/>
                </a:cxn>
                <a:cxn ang="0">
                  <a:pos x="connsiteX2231" y="connsiteY2231"/>
                </a:cxn>
                <a:cxn ang="0">
                  <a:pos x="connsiteX2232" y="connsiteY2232"/>
                </a:cxn>
                <a:cxn ang="0">
                  <a:pos x="connsiteX2233" y="connsiteY2233"/>
                </a:cxn>
                <a:cxn ang="0">
                  <a:pos x="connsiteX2234" y="connsiteY2234"/>
                </a:cxn>
                <a:cxn ang="0">
                  <a:pos x="connsiteX2235" y="connsiteY2235"/>
                </a:cxn>
                <a:cxn ang="0">
                  <a:pos x="connsiteX2236" y="connsiteY2236"/>
                </a:cxn>
                <a:cxn ang="0">
                  <a:pos x="connsiteX2237" y="connsiteY2237"/>
                </a:cxn>
                <a:cxn ang="0">
                  <a:pos x="connsiteX2238" y="connsiteY2238"/>
                </a:cxn>
                <a:cxn ang="0">
                  <a:pos x="connsiteX2239" y="connsiteY2239"/>
                </a:cxn>
                <a:cxn ang="0">
                  <a:pos x="connsiteX2240" y="connsiteY2240"/>
                </a:cxn>
                <a:cxn ang="0">
                  <a:pos x="connsiteX2241" y="connsiteY2241"/>
                </a:cxn>
                <a:cxn ang="0">
                  <a:pos x="connsiteX2242" y="connsiteY2242"/>
                </a:cxn>
                <a:cxn ang="0">
                  <a:pos x="connsiteX2243" y="connsiteY2243"/>
                </a:cxn>
                <a:cxn ang="0">
                  <a:pos x="connsiteX2244" y="connsiteY2244"/>
                </a:cxn>
                <a:cxn ang="0">
                  <a:pos x="connsiteX2245" y="connsiteY2245"/>
                </a:cxn>
                <a:cxn ang="0">
                  <a:pos x="connsiteX2246" y="connsiteY2246"/>
                </a:cxn>
                <a:cxn ang="0">
                  <a:pos x="connsiteX2247" y="connsiteY2247"/>
                </a:cxn>
                <a:cxn ang="0">
                  <a:pos x="connsiteX2248" y="connsiteY2248"/>
                </a:cxn>
                <a:cxn ang="0">
                  <a:pos x="connsiteX2249" y="connsiteY2249"/>
                </a:cxn>
                <a:cxn ang="0">
                  <a:pos x="connsiteX2250" y="connsiteY2250"/>
                </a:cxn>
                <a:cxn ang="0">
                  <a:pos x="connsiteX2251" y="connsiteY2251"/>
                </a:cxn>
                <a:cxn ang="0">
                  <a:pos x="connsiteX2252" y="connsiteY2252"/>
                </a:cxn>
                <a:cxn ang="0">
                  <a:pos x="connsiteX2253" y="connsiteY2253"/>
                </a:cxn>
                <a:cxn ang="0">
                  <a:pos x="connsiteX2254" y="connsiteY2254"/>
                </a:cxn>
                <a:cxn ang="0">
                  <a:pos x="connsiteX2255" y="connsiteY2255"/>
                </a:cxn>
                <a:cxn ang="0">
                  <a:pos x="connsiteX2256" y="connsiteY2256"/>
                </a:cxn>
                <a:cxn ang="0">
                  <a:pos x="connsiteX2257" y="connsiteY2257"/>
                </a:cxn>
                <a:cxn ang="0">
                  <a:pos x="connsiteX2258" y="connsiteY2258"/>
                </a:cxn>
                <a:cxn ang="0">
                  <a:pos x="connsiteX2259" y="connsiteY2259"/>
                </a:cxn>
                <a:cxn ang="0">
                  <a:pos x="connsiteX2260" y="connsiteY2260"/>
                </a:cxn>
                <a:cxn ang="0">
                  <a:pos x="connsiteX2261" y="connsiteY2261"/>
                </a:cxn>
                <a:cxn ang="0">
                  <a:pos x="connsiteX2262" y="connsiteY2262"/>
                </a:cxn>
                <a:cxn ang="0">
                  <a:pos x="connsiteX2263" y="connsiteY2263"/>
                </a:cxn>
                <a:cxn ang="0">
                  <a:pos x="connsiteX2264" y="connsiteY2264"/>
                </a:cxn>
                <a:cxn ang="0">
                  <a:pos x="connsiteX2265" y="connsiteY2265"/>
                </a:cxn>
                <a:cxn ang="0">
                  <a:pos x="connsiteX2266" y="connsiteY2266"/>
                </a:cxn>
                <a:cxn ang="0">
                  <a:pos x="connsiteX2267" y="connsiteY2267"/>
                </a:cxn>
                <a:cxn ang="0">
                  <a:pos x="connsiteX2268" y="connsiteY2268"/>
                </a:cxn>
                <a:cxn ang="0">
                  <a:pos x="connsiteX2269" y="connsiteY2269"/>
                </a:cxn>
                <a:cxn ang="0">
                  <a:pos x="connsiteX2270" y="connsiteY2270"/>
                </a:cxn>
                <a:cxn ang="0">
                  <a:pos x="connsiteX2271" y="connsiteY2271"/>
                </a:cxn>
                <a:cxn ang="0">
                  <a:pos x="connsiteX2272" y="connsiteY2272"/>
                </a:cxn>
                <a:cxn ang="0">
                  <a:pos x="connsiteX2273" y="connsiteY2273"/>
                </a:cxn>
                <a:cxn ang="0">
                  <a:pos x="connsiteX2274" y="connsiteY2274"/>
                </a:cxn>
                <a:cxn ang="0">
                  <a:pos x="connsiteX2275" y="connsiteY2275"/>
                </a:cxn>
                <a:cxn ang="0">
                  <a:pos x="connsiteX2276" y="connsiteY2276"/>
                </a:cxn>
                <a:cxn ang="0">
                  <a:pos x="connsiteX2277" y="connsiteY2277"/>
                </a:cxn>
                <a:cxn ang="0">
                  <a:pos x="connsiteX2278" y="connsiteY2278"/>
                </a:cxn>
                <a:cxn ang="0">
                  <a:pos x="connsiteX2279" y="connsiteY2279"/>
                </a:cxn>
                <a:cxn ang="0">
                  <a:pos x="connsiteX2280" y="connsiteY2280"/>
                </a:cxn>
                <a:cxn ang="0">
                  <a:pos x="connsiteX2281" y="connsiteY2281"/>
                </a:cxn>
                <a:cxn ang="0">
                  <a:pos x="connsiteX2282" y="connsiteY2282"/>
                </a:cxn>
                <a:cxn ang="0">
                  <a:pos x="connsiteX2283" y="connsiteY2283"/>
                </a:cxn>
                <a:cxn ang="0">
                  <a:pos x="connsiteX2284" y="connsiteY2284"/>
                </a:cxn>
                <a:cxn ang="0">
                  <a:pos x="connsiteX2285" y="connsiteY2285"/>
                </a:cxn>
                <a:cxn ang="0">
                  <a:pos x="connsiteX2286" y="connsiteY2286"/>
                </a:cxn>
                <a:cxn ang="0">
                  <a:pos x="connsiteX2287" y="connsiteY2287"/>
                </a:cxn>
                <a:cxn ang="0">
                  <a:pos x="connsiteX2288" y="connsiteY2288"/>
                </a:cxn>
                <a:cxn ang="0">
                  <a:pos x="connsiteX2289" y="connsiteY2289"/>
                </a:cxn>
                <a:cxn ang="0">
                  <a:pos x="connsiteX2290" y="connsiteY2290"/>
                </a:cxn>
                <a:cxn ang="0">
                  <a:pos x="connsiteX2291" y="connsiteY2291"/>
                </a:cxn>
                <a:cxn ang="0">
                  <a:pos x="connsiteX2292" y="connsiteY2292"/>
                </a:cxn>
                <a:cxn ang="0">
                  <a:pos x="connsiteX2293" y="connsiteY2293"/>
                </a:cxn>
                <a:cxn ang="0">
                  <a:pos x="connsiteX2294" y="connsiteY2294"/>
                </a:cxn>
                <a:cxn ang="0">
                  <a:pos x="connsiteX2295" y="connsiteY2295"/>
                </a:cxn>
                <a:cxn ang="0">
                  <a:pos x="connsiteX2296" y="connsiteY2296"/>
                </a:cxn>
                <a:cxn ang="0">
                  <a:pos x="connsiteX2297" y="connsiteY2297"/>
                </a:cxn>
                <a:cxn ang="0">
                  <a:pos x="connsiteX2298" y="connsiteY2298"/>
                </a:cxn>
                <a:cxn ang="0">
                  <a:pos x="connsiteX2299" y="connsiteY2299"/>
                </a:cxn>
                <a:cxn ang="0">
                  <a:pos x="connsiteX2300" y="connsiteY2300"/>
                </a:cxn>
                <a:cxn ang="0">
                  <a:pos x="connsiteX2301" y="connsiteY2301"/>
                </a:cxn>
                <a:cxn ang="0">
                  <a:pos x="connsiteX2302" y="connsiteY2302"/>
                </a:cxn>
                <a:cxn ang="0">
                  <a:pos x="connsiteX2303" y="connsiteY2303"/>
                </a:cxn>
                <a:cxn ang="0">
                  <a:pos x="connsiteX2304" y="connsiteY2304"/>
                </a:cxn>
                <a:cxn ang="0">
                  <a:pos x="connsiteX2305" y="connsiteY2305"/>
                </a:cxn>
                <a:cxn ang="0">
                  <a:pos x="connsiteX2306" y="connsiteY2306"/>
                </a:cxn>
                <a:cxn ang="0">
                  <a:pos x="connsiteX2307" y="connsiteY2307"/>
                </a:cxn>
                <a:cxn ang="0">
                  <a:pos x="connsiteX2308" y="connsiteY2308"/>
                </a:cxn>
                <a:cxn ang="0">
                  <a:pos x="connsiteX2309" y="connsiteY2309"/>
                </a:cxn>
                <a:cxn ang="0">
                  <a:pos x="connsiteX2310" y="connsiteY2310"/>
                </a:cxn>
                <a:cxn ang="0">
                  <a:pos x="connsiteX2311" y="connsiteY2311"/>
                </a:cxn>
                <a:cxn ang="0">
                  <a:pos x="connsiteX2312" y="connsiteY2312"/>
                </a:cxn>
                <a:cxn ang="0">
                  <a:pos x="connsiteX2313" y="connsiteY2313"/>
                </a:cxn>
                <a:cxn ang="0">
                  <a:pos x="connsiteX2314" y="connsiteY2314"/>
                </a:cxn>
                <a:cxn ang="0">
                  <a:pos x="connsiteX2315" y="connsiteY2315"/>
                </a:cxn>
                <a:cxn ang="0">
                  <a:pos x="connsiteX2316" y="connsiteY2316"/>
                </a:cxn>
                <a:cxn ang="0">
                  <a:pos x="connsiteX2317" y="connsiteY2317"/>
                </a:cxn>
                <a:cxn ang="0">
                  <a:pos x="connsiteX2318" y="connsiteY2318"/>
                </a:cxn>
                <a:cxn ang="0">
                  <a:pos x="connsiteX2319" y="connsiteY2319"/>
                </a:cxn>
                <a:cxn ang="0">
                  <a:pos x="connsiteX2320" y="connsiteY2320"/>
                </a:cxn>
                <a:cxn ang="0">
                  <a:pos x="connsiteX2321" y="connsiteY2321"/>
                </a:cxn>
                <a:cxn ang="0">
                  <a:pos x="connsiteX2322" y="connsiteY2322"/>
                </a:cxn>
                <a:cxn ang="0">
                  <a:pos x="connsiteX2323" y="connsiteY2323"/>
                </a:cxn>
                <a:cxn ang="0">
                  <a:pos x="connsiteX2324" y="connsiteY2324"/>
                </a:cxn>
                <a:cxn ang="0">
                  <a:pos x="connsiteX2325" y="connsiteY2325"/>
                </a:cxn>
                <a:cxn ang="0">
                  <a:pos x="connsiteX2326" y="connsiteY2326"/>
                </a:cxn>
                <a:cxn ang="0">
                  <a:pos x="connsiteX2327" y="connsiteY2327"/>
                </a:cxn>
                <a:cxn ang="0">
                  <a:pos x="connsiteX2328" y="connsiteY2328"/>
                </a:cxn>
                <a:cxn ang="0">
                  <a:pos x="connsiteX2329" y="connsiteY2329"/>
                </a:cxn>
                <a:cxn ang="0">
                  <a:pos x="connsiteX2330" y="connsiteY2330"/>
                </a:cxn>
                <a:cxn ang="0">
                  <a:pos x="connsiteX2331" y="connsiteY2331"/>
                </a:cxn>
                <a:cxn ang="0">
                  <a:pos x="connsiteX2332" y="connsiteY2332"/>
                </a:cxn>
                <a:cxn ang="0">
                  <a:pos x="connsiteX2333" y="connsiteY2333"/>
                </a:cxn>
                <a:cxn ang="0">
                  <a:pos x="connsiteX2334" y="connsiteY2334"/>
                </a:cxn>
                <a:cxn ang="0">
                  <a:pos x="connsiteX2335" y="connsiteY2335"/>
                </a:cxn>
                <a:cxn ang="0">
                  <a:pos x="connsiteX2336" y="connsiteY2336"/>
                </a:cxn>
                <a:cxn ang="0">
                  <a:pos x="connsiteX2337" y="connsiteY2337"/>
                </a:cxn>
                <a:cxn ang="0">
                  <a:pos x="connsiteX2338" y="connsiteY2338"/>
                </a:cxn>
                <a:cxn ang="0">
                  <a:pos x="connsiteX2339" y="connsiteY2339"/>
                </a:cxn>
                <a:cxn ang="0">
                  <a:pos x="connsiteX2340" y="connsiteY2340"/>
                </a:cxn>
                <a:cxn ang="0">
                  <a:pos x="connsiteX2341" y="connsiteY2341"/>
                </a:cxn>
                <a:cxn ang="0">
                  <a:pos x="connsiteX2342" y="connsiteY2342"/>
                </a:cxn>
                <a:cxn ang="0">
                  <a:pos x="connsiteX2343" y="connsiteY2343"/>
                </a:cxn>
                <a:cxn ang="0">
                  <a:pos x="connsiteX2344" y="connsiteY2344"/>
                </a:cxn>
                <a:cxn ang="0">
                  <a:pos x="connsiteX2345" y="connsiteY2345"/>
                </a:cxn>
                <a:cxn ang="0">
                  <a:pos x="connsiteX2346" y="connsiteY2346"/>
                </a:cxn>
                <a:cxn ang="0">
                  <a:pos x="connsiteX2347" y="connsiteY2347"/>
                </a:cxn>
                <a:cxn ang="0">
                  <a:pos x="connsiteX2348" y="connsiteY2348"/>
                </a:cxn>
                <a:cxn ang="0">
                  <a:pos x="connsiteX2349" y="connsiteY2349"/>
                </a:cxn>
                <a:cxn ang="0">
                  <a:pos x="connsiteX2350" y="connsiteY2350"/>
                </a:cxn>
                <a:cxn ang="0">
                  <a:pos x="connsiteX2351" y="connsiteY2351"/>
                </a:cxn>
                <a:cxn ang="0">
                  <a:pos x="connsiteX2352" y="connsiteY2352"/>
                </a:cxn>
                <a:cxn ang="0">
                  <a:pos x="connsiteX2353" y="connsiteY2353"/>
                </a:cxn>
                <a:cxn ang="0">
                  <a:pos x="connsiteX2354" y="connsiteY2354"/>
                </a:cxn>
                <a:cxn ang="0">
                  <a:pos x="connsiteX2355" y="connsiteY2355"/>
                </a:cxn>
                <a:cxn ang="0">
                  <a:pos x="connsiteX2356" y="connsiteY2356"/>
                </a:cxn>
                <a:cxn ang="0">
                  <a:pos x="connsiteX2357" y="connsiteY2357"/>
                </a:cxn>
                <a:cxn ang="0">
                  <a:pos x="connsiteX2358" y="connsiteY2358"/>
                </a:cxn>
                <a:cxn ang="0">
                  <a:pos x="connsiteX2359" y="connsiteY2359"/>
                </a:cxn>
                <a:cxn ang="0">
                  <a:pos x="connsiteX2360" y="connsiteY2360"/>
                </a:cxn>
                <a:cxn ang="0">
                  <a:pos x="connsiteX2361" y="connsiteY2361"/>
                </a:cxn>
                <a:cxn ang="0">
                  <a:pos x="connsiteX2362" y="connsiteY2362"/>
                </a:cxn>
                <a:cxn ang="0">
                  <a:pos x="connsiteX2363" y="connsiteY2363"/>
                </a:cxn>
                <a:cxn ang="0">
                  <a:pos x="connsiteX2364" y="connsiteY2364"/>
                </a:cxn>
                <a:cxn ang="0">
                  <a:pos x="connsiteX2365" y="connsiteY2365"/>
                </a:cxn>
                <a:cxn ang="0">
                  <a:pos x="connsiteX2366" y="connsiteY2366"/>
                </a:cxn>
                <a:cxn ang="0">
                  <a:pos x="connsiteX2367" y="connsiteY2367"/>
                </a:cxn>
                <a:cxn ang="0">
                  <a:pos x="connsiteX2368" y="connsiteY2368"/>
                </a:cxn>
                <a:cxn ang="0">
                  <a:pos x="connsiteX2369" y="connsiteY2369"/>
                </a:cxn>
                <a:cxn ang="0">
                  <a:pos x="connsiteX2370" y="connsiteY2370"/>
                </a:cxn>
                <a:cxn ang="0">
                  <a:pos x="connsiteX2371" y="connsiteY2371"/>
                </a:cxn>
                <a:cxn ang="0">
                  <a:pos x="connsiteX2372" y="connsiteY2372"/>
                </a:cxn>
                <a:cxn ang="0">
                  <a:pos x="connsiteX2373" y="connsiteY2373"/>
                </a:cxn>
                <a:cxn ang="0">
                  <a:pos x="connsiteX2374" y="connsiteY2374"/>
                </a:cxn>
                <a:cxn ang="0">
                  <a:pos x="connsiteX2375" y="connsiteY2375"/>
                </a:cxn>
                <a:cxn ang="0">
                  <a:pos x="connsiteX2376" y="connsiteY2376"/>
                </a:cxn>
                <a:cxn ang="0">
                  <a:pos x="connsiteX2377" y="connsiteY2377"/>
                </a:cxn>
                <a:cxn ang="0">
                  <a:pos x="connsiteX2378" y="connsiteY2378"/>
                </a:cxn>
                <a:cxn ang="0">
                  <a:pos x="connsiteX2379" y="connsiteY2379"/>
                </a:cxn>
                <a:cxn ang="0">
                  <a:pos x="connsiteX2380" y="connsiteY2380"/>
                </a:cxn>
                <a:cxn ang="0">
                  <a:pos x="connsiteX2381" y="connsiteY2381"/>
                </a:cxn>
                <a:cxn ang="0">
                  <a:pos x="connsiteX2382" y="connsiteY2382"/>
                </a:cxn>
                <a:cxn ang="0">
                  <a:pos x="connsiteX2383" y="connsiteY2383"/>
                </a:cxn>
                <a:cxn ang="0">
                  <a:pos x="connsiteX2384" y="connsiteY2384"/>
                </a:cxn>
                <a:cxn ang="0">
                  <a:pos x="connsiteX2385" y="connsiteY2385"/>
                </a:cxn>
                <a:cxn ang="0">
                  <a:pos x="connsiteX2386" y="connsiteY2386"/>
                </a:cxn>
                <a:cxn ang="0">
                  <a:pos x="connsiteX2387" y="connsiteY2387"/>
                </a:cxn>
                <a:cxn ang="0">
                  <a:pos x="connsiteX2388" y="connsiteY2388"/>
                </a:cxn>
                <a:cxn ang="0">
                  <a:pos x="connsiteX2389" y="connsiteY2389"/>
                </a:cxn>
                <a:cxn ang="0">
                  <a:pos x="connsiteX2390" y="connsiteY2390"/>
                </a:cxn>
                <a:cxn ang="0">
                  <a:pos x="connsiteX2391" y="connsiteY2391"/>
                </a:cxn>
                <a:cxn ang="0">
                  <a:pos x="connsiteX2392" y="connsiteY2392"/>
                </a:cxn>
                <a:cxn ang="0">
                  <a:pos x="connsiteX2393" y="connsiteY2393"/>
                </a:cxn>
                <a:cxn ang="0">
                  <a:pos x="connsiteX2394" y="connsiteY2394"/>
                </a:cxn>
                <a:cxn ang="0">
                  <a:pos x="connsiteX2395" y="connsiteY2395"/>
                </a:cxn>
                <a:cxn ang="0">
                  <a:pos x="connsiteX2396" y="connsiteY2396"/>
                </a:cxn>
                <a:cxn ang="0">
                  <a:pos x="connsiteX2397" y="connsiteY2397"/>
                </a:cxn>
                <a:cxn ang="0">
                  <a:pos x="connsiteX2398" y="connsiteY2398"/>
                </a:cxn>
                <a:cxn ang="0">
                  <a:pos x="connsiteX2399" y="connsiteY2399"/>
                </a:cxn>
                <a:cxn ang="0">
                  <a:pos x="connsiteX2400" y="connsiteY2400"/>
                </a:cxn>
                <a:cxn ang="0">
                  <a:pos x="connsiteX2401" y="connsiteY2401"/>
                </a:cxn>
                <a:cxn ang="0">
                  <a:pos x="connsiteX2402" y="connsiteY2402"/>
                </a:cxn>
                <a:cxn ang="0">
                  <a:pos x="connsiteX2403" y="connsiteY2403"/>
                </a:cxn>
                <a:cxn ang="0">
                  <a:pos x="connsiteX2404" y="connsiteY2404"/>
                </a:cxn>
                <a:cxn ang="0">
                  <a:pos x="connsiteX2405" y="connsiteY2405"/>
                </a:cxn>
                <a:cxn ang="0">
                  <a:pos x="connsiteX2406" y="connsiteY2406"/>
                </a:cxn>
                <a:cxn ang="0">
                  <a:pos x="connsiteX2407" y="connsiteY2407"/>
                </a:cxn>
                <a:cxn ang="0">
                  <a:pos x="connsiteX2408" y="connsiteY2408"/>
                </a:cxn>
                <a:cxn ang="0">
                  <a:pos x="connsiteX2409" y="connsiteY2409"/>
                </a:cxn>
                <a:cxn ang="0">
                  <a:pos x="connsiteX2410" y="connsiteY2410"/>
                </a:cxn>
                <a:cxn ang="0">
                  <a:pos x="connsiteX2411" y="connsiteY2411"/>
                </a:cxn>
                <a:cxn ang="0">
                  <a:pos x="connsiteX2412" y="connsiteY2412"/>
                </a:cxn>
                <a:cxn ang="0">
                  <a:pos x="connsiteX2413" y="connsiteY2413"/>
                </a:cxn>
                <a:cxn ang="0">
                  <a:pos x="connsiteX2414" y="connsiteY2414"/>
                </a:cxn>
                <a:cxn ang="0">
                  <a:pos x="connsiteX2415" y="connsiteY2415"/>
                </a:cxn>
                <a:cxn ang="0">
                  <a:pos x="connsiteX2416" y="connsiteY2416"/>
                </a:cxn>
                <a:cxn ang="0">
                  <a:pos x="connsiteX2417" y="connsiteY2417"/>
                </a:cxn>
                <a:cxn ang="0">
                  <a:pos x="connsiteX2418" y="connsiteY2418"/>
                </a:cxn>
                <a:cxn ang="0">
                  <a:pos x="connsiteX2419" y="connsiteY2419"/>
                </a:cxn>
                <a:cxn ang="0">
                  <a:pos x="connsiteX2420" y="connsiteY2420"/>
                </a:cxn>
                <a:cxn ang="0">
                  <a:pos x="connsiteX2421" y="connsiteY2421"/>
                </a:cxn>
                <a:cxn ang="0">
                  <a:pos x="connsiteX2422" y="connsiteY2422"/>
                </a:cxn>
                <a:cxn ang="0">
                  <a:pos x="connsiteX2423" y="connsiteY2423"/>
                </a:cxn>
                <a:cxn ang="0">
                  <a:pos x="connsiteX2424" y="connsiteY2424"/>
                </a:cxn>
                <a:cxn ang="0">
                  <a:pos x="connsiteX2425" y="connsiteY2425"/>
                </a:cxn>
                <a:cxn ang="0">
                  <a:pos x="connsiteX2426" y="connsiteY2426"/>
                </a:cxn>
                <a:cxn ang="0">
                  <a:pos x="connsiteX2427" y="connsiteY2427"/>
                </a:cxn>
                <a:cxn ang="0">
                  <a:pos x="connsiteX2428" y="connsiteY2428"/>
                </a:cxn>
                <a:cxn ang="0">
                  <a:pos x="connsiteX2429" y="connsiteY2429"/>
                </a:cxn>
                <a:cxn ang="0">
                  <a:pos x="connsiteX2430" y="connsiteY2430"/>
                </a:cxn>
                <a:cxn ang="0">
                  <a:pos x="connsiteX2431" y="connsiteY2431"/>
                </a:cxn>
                <a:cxn ang="0">
                  <a:pos x="connsiteX2432" y="connsiteY2432"/>
                </a:cxn>
                <a:cxn ang="0">
                  <a:pos x="connsiteX2433" y="connsiteY2433"/>
                </a:cxn>
                <a:cxn ang="0">
                  <a:pos x="connsiteX2434" y="connsiteY2434"/>
                </a:cxn>
                <a:cxn ang="0">
                  <a:pos x="connsiteX2435" y="connsiteY2435"/>
                </a:cxn>
                <a:cxn ang="0">
                  <a:pos x="connsiteX2436" y="connsiteY2436"/>
                </a:cxn>
                <a:cxn ang="0">
                  <a:pos x="connsiteX2437" y="connsiteY2437"/>
                </a:cxn>
                <a:cxn ang="0">
                  <a:pos x="connsiteX2438" y="connsiteY2438"/>
                </a:cxn>
                <a:cxn ang="0">
                  <a:pos x="connsiteX2439" y="connsiteY2439"/>
                </a:cxn>
                <a:cxn ang="0">
                  <a:pos x="connsiteX2440" y="connsiteY2440"/>
                </a:cxn>
                <a:cxn ang="0">
                  <a:pos x="connsiteX2441" y="connsiteY2441"/>
                </a:cxn>
                <a:cxn ang="0">
                  <a:pos x="connsiteX2442" y="connsiteY2442"/>
                </a:cxn>
                <a:cxn ang="0">
                  <a:pos x="connsiteX2443" y="connsiteY2443"/>
                </a:cxn>
                <a:cxn ang="0">
                  <a:pos x="connsiteX2444" y="connsiteY2444"/>
                </a:cxn>
                <a:cxn ang="0">
                  <a:pos x="connsiteX2445" y="connsiteY2445"/>
                </a:cxn>
                <a:cxn ang="0">
                  <a:pos x="connsiteX2446" y="connsiteY2446"/>
                </a:cxn>
                <a:cxn ang="0">
                  <a:pos x="connsiteX2447" y="connsiteY2447"/>
                </a:cxn>
                <a:cxn ang="0">
                  <a:pos x="connsiteX2448" y="connsiteY2448"/>
                </a:cxn>
                <a:cxn ang="0">
                  <a:pos x="connsiteX2449" y="connsiteY2449"/>
                </a:cxn>
                <a:cxn ang="0">
                  <a:pos x="connsiteX2450" y="connsiteY2450"/>
                </a:cxn>
                <a:cxn ang="0">
                  <a:pos x="connsiteX2451" y="connsiteY2451"/>
                </a:cxn>
                <a:cxn ang="0">
                  <a:pos x="connsiteX2452" y="connsiteY2452"/>
                </a:cxn>
                <a:cxn ang="0">
                  <a:pos x="connsiteX2453" y="connsiteY2453"/>
                </a:cxn>
                <a:cxn ang="0">
                  <a:pos x="connsiteX2454" y="connsiteY2454"/>
                </a:cxn>
                <a:cxn ang="0">
                  <a:pos x="connsiteX2455" y="connsiteY2455"/>
                </a:cxn>
                <a:cxn ang="0">
                  <a:pos x="connsiteX2456" y="connsiteY2456"/>
                </a:cxn>
                <a:cxn ang="0">
                  <a:pos x="connsiteX2457" y="connsiteY2457"/>
                </a:cxn>
                <a:cxn ang="0">
                  <a:pos x="connsiteX2458" y="connsiteY2458"/>
                </a:cxn>
                <a:cxn ang="0">
                  <a:pos x="connsiteX2459" y="connsiteY2459"/>
                </a:cxn>
                <a:cxn ang="0">
                  <a:pos x="connsiteX2460" y="connsiteY2460"/>
                </a:cxn>
                <a:cxn ang="0">
                  <a:pos x="connsiteX2461" y="connsiteY2461"/>
                </a:cxn>
                <a:cxn ang="0">
                  <a:pos x="connsiteX2462" y="connsiteY2462"/>
                </a:cxn>
                <a:cxn ang="0">
                  <a:pos x="connsiteX2463" y="connsiteY2463"/>
                </a:cxn>
                <a:cxn ang="0">
                  <a:pos x="connsiteX2464" y="connsiteY2464"/>
                </a:cxn>
                <a:cxn ang="0">
                  <a:pos x="connsiteX2465" y="connsiteY2465"/>
                </a:cxn>
                <a:cxn ang="0">
                  <a:pos x="connsiteX2466" y="connsiteY2466"/>
                </a:cxn>
                <a:cxn ang="0">
                  <a:pos x="connsiteX2467" y="connsiteY2467"/>
                </a:cxn>
                <a:cxn ang="0">
                  <a:pos x="connsiteX2468" y="connsiteY2468"/>
                </a:cxn>
                <a:cxn ang="0">
                  <a:pos x="connsiteX2469" y="connsiteY2469"/>
                </a:cxn>
                <a:cxn ang="0">
                  <a:pos x="connsiteX2470" y="connsiteY2470"/>
                </a:cxn>
                <a:cxn ang="0">
                  <a:pos x="connsiteX2471" y="connsiteY2471"/>
                </a:cxn>
                <a:cxn ang="0">
                  <a:pos x="connsiteX2472" y="connsiteY2472"/>
                </a:cxn>
                <a:cxn ang="0">
                  <a:pos x="connsiteX2473" y="connsiteY2473"/>
                </a:cxn>
                <a:cxn ang="0">
                  <a:pos x="connsiteX2474" y="connsiteY2474"/>
                </a:cxn>
                <a:cxn ang="0">
                  <a:pos x="connsiteX2475" y="connsiteY2475"/>
                </a:cxn>
                <a:cxn ang="0">
                  <a:pos x="connsiteX2476" y="connsiteY2476"/>
                </a:cxn>
                <a:cxn ang="0">
                  <a:pos x="connsiteX2477" y="connsiteY2477"/>
                </a:cxn>
                <a:cxn ang="0">
                  <a:pos x="connsiteX2478" y="connsiteY2478"/>
                </a:cxn>
                <a:cxn ang="0">
                  <a:pos x="connsiteX2479" y="connsiteY2479"/>
                </a:cxn>
                <a:cxn ang="0">
                  <a:pos x="connsiteX2480" y="connsiteY2480"/>
                </a:cxn>
                <a:cxn ang="0">
                  <a:pos x="connsiteX2481" y="connsiteY2481"/>
                </a:cxn>
                <a:cxn ang="0">
                  <a:pos x="connsiteX2482" y="connsiteY2482"/>
                </a:cxn>
                <a:cxn ang="0">
                  <a:pos x="connsiteX2483" y="connsiteY2483"/>
                </a:cxn>
                <a:cxn ang="0">
                  <a:pos x="connsiteX2484" y="connsiteY2484"/>
                </a:cxn>
                <a:cxn ang="0">
                  <a:pos x="connsiteX2485" y="connsiteY2485"/>
                </a:cxn>
                <a:cxn ang="0">
                  <a:pos x="connsiteX2486" y="connsiteY2486"/>
                </a:cxn>
                <a:cxn ang="0">
                  <a:pos x="connsiteX2487" y="connsiteY2487"/>
                </a:cxn>
                <a:cxn ang="0">
                  <a:pos x="connsiteX2488" y="connsiteY2488"/>
                </a:cxn>
                <a:cxn ang="0">
                  <a:pos x="connsiteX2489" y="connsiteY2489"/>
                </a:cxn>
                <a:cxn ang="0">
                  <a:pos x="connsiteX2490" y="connsiteY2490"/>
                </a:cxn>
                <a:cxn ang="0">
                  <a:pos x="connsiteX2491" y="connsiteY2491"/>
                </a:cxn>
                <a:cxn ang="0">
                  <a:pos x="connsiteX2492" y="connsiteY2492"/>
                </a:cxn>
                <a:cxn ang="0">
                  <a:pos x="connsiteX2493" y="connsiteY2493"/>
                </a:cxn>
                <a:cxn ang="0">
                  <a:pos x="connsiteX2494" y="connsiteY2494"/>
                </a:cxn>
                <a:cxn ang="0">
                  <a:pos x="connsiteX2495" y="connsiteY2495"/>
                </a:cxn>
                <a:cxn ang="0">
                  <a:pos x="connsiteX2496" y="connsiteY2496"/>
                </a:cxn>
                <a:cxn ang="0">
                  <a:pos x="connsiteX2497" y="connsiteY2497"/>
                </a:cxn>
                <a:cxn ang="0">
                  <a:pos x="connsiteX2498" y="connsiteY2498"/>
                </a:cxn>
                <a:cxn ang="0">
                  <a:pos x="connsiteX2499" y="connsiteY2499"/>
                </a:cxn>
                <a:cxn ang="0">
                  <a:pos x="connsiteX2500" y="connsiteY2500"/>
                </a:cxn>
                <a:cxn ang="0">
                  <a:pos x="connsiteX2501" y="connsiteY2501"/>
                </a:cxn>
                <a:cxn ang="0">
                  <a:pos x="connsiteX2502" y="connsiteY2502"/>
                </a:cxn>
                <a:cxn ang="0">
                  <a:pos x="connsiteX2503" y="connsiteY2503"/>
                </a:cxn>
                <a:cxn ang="0">
                  <a:pos x="connsiteX2504" y="connsiteY2504"/>
                </a:cxn>
                <a:cxn ang="0">
                  <a:pos x="connsiteX2505" y="connsiteY2505"/>
                </a:cxn>
                <a:cxn ang="0">
                  <a:pos x="connsiteX2506" y="connsiteY2506"/>
                </a:cxn>
                <a:cxn ang="0">
                  <a:pos x="connsiteX2507" y="connsiteY2507"/>
                </a:cxn>
                <a:cxn ang="0">
                  <a:pos x="connsiteX2508" y="connsiteY2508"/>
                </a:cxn>
                <a:cxn ang="0">
                  <a:pos x="connsiteX2509" y="connsiteY2509"/>
                </a:cxn>
                <a:cxn ang="0">
                  <a:pos x="connsiteX2510" y="connsiteY2510"/>
                </a:cxn>
                <a:cxn ang="0">
                  <a:pos x="connsiteX2511" y="connsiteY2511"/>
                </a:cxn>
                <a:cxn ang="0">
                  <a:pos x="connsiteX2512" y="connsiteY2512"/>
                </a:cxn>
                <a:cxn ang="0">
                  <a:pos x="connsiteX2513" y="connsiteY2513"/>
                </a:cxn>
                <a:cxn ang="0">
                  <a:pos x="connsiteX2514" y="connsiteY2514"/>
                </a:cxn>
                <a:cxn ang="0">
                  <a:pos x="connsiteX2515" y="connsiteY2515"/>
                </a:cxn>
                <a:cxn ang="0">
                  <a:pos x="connsiteX2516" y="connsiteY2516"/>
                </a:cxn>
                <a:cxn ang="0">
                  <a:pos x="connsiteX2517" y="connsiteY2517"/>
                </a:cxn>
                <a:cxn ang="0">
                  <a:pos x="connsiteX2518" y="connsiteY2518"/>
                </a:cxn>
                <a:cxn ang="0">
                  <a:pos x="connsiteX2519" y="connsiteY2519"/>
                </a:cxn>
                <a:cxn ang="0">
                  <a:pos x="connsiteX2520" y="connsiteY2520"/>
                </a:cxn>
                <a:cxn ang="0">
                  <a:pos x="connsiteX2521" y="connsiteY2521"/>
                </a:cxn>
                <a:cxn ang="0">
                  <a:pos x="connsiteX2522" y="connsiteY2522"/>
                </a:cxn>
                <a:cxn ang="0">
                  <a:pos x="connsiteX2523" y="connsiteY2523"/>
                </a:cxn>
                <a:cxn ang="0">
                  <a:pos x="connsiteX2524" y="connsiteY2524"/>
                </a:cxn>
                <a:cxn ang="0">
                  <a:pos x="connsiteX2525" y="connsiteY2525"/>
                </a:cxn>
                <a:cxn ang="0">
                  <a:pos x="connsiteX2526" y="connsiteY2526"/>
                </a:cxn>
                <a:cxn ang="0">
                  <a:pos x="connsiteX2527" y="connsiteY2527"/>
                </a:cxn>
                <a:cxn ang="0">
                  <a:pos x="connsiteX2528" y="connsiteY2528"/>
                </a:cxn>
                <a:cxn ang="0">
                  <a:pos x="connsiteX2529" y="connsiteY2529"/>
                </a:cxn>
                <a:cxn ang="0">
                  <a:pos x="connsiteX2530" y="connsiteY2530"/>
                </a:cxn>
                <a:cxn ang="0">
                  <a:pos x="connsiteX2531" y="connsiteY2531"/>
                </a:cxn>
                <a:cxn ang="0">
                  <a:pos x="connsiteX2532" y="connsiteY2532"/>
                </a:cxn>
                <a:cxn ang="0">
                  <a:pos x="connsiteX2533" y="connsiteY2533"/>
                </a:cxn>
                <a:cxn ang="0">
                  <a:pos x="connsiteX2534" y="connsiteY2534"/>
                </a:cxn>
                <a:cxn ang="0">
                  <a:pos x="connsiteX2535" y="connsiteY2535"/>
                </a:cxn>
                <a:cxn ang="0">
                  <a:pos x="connsiteX2536" y="connsiteY2536"/>
                </a:cxn>
                <a:cxn ang="0">
                  <a:pos x="connsiteX2537" y="connsiteY2537"/>
                </a:cxn>
                <a:cxn ang="0">
                  <a:pos x="connsiteX2538" y="connsiteY2538"/>
                </a:cxn>
                <a:cxn ang="0">
                  <a:pos x="connsiteX2539" y="connsiteY2539"/>
                </a:cxn>
                <a:cxn ang="0">
                  <a:pos x="connsiteX2540" y="connsiteY2540"/>
                </a:cxn>
                <a:cxn ang="0">
                  <a:pos x="connsiteX2541" y="connsiteY2541"/>
                </a:cxn>
                <a:cxn ang="0">
                  <a:pos x="connsiteX2542" y="connsiteY2542"/>
                </a:cxn>
                <a:cxn ang="0">
                  <a:pos x="connsiteX2543" y="connsiteY2543"/>
                </a:cxn>
                <a:cxn ang="0">
                  <a:pos x="connsiteX2544" y="connsiteY2544"/>
                </a:cxn>
                <a:cxn ang="0">
                  <a:pos x="connsiteX2545" y="connsiteY2545"/>
                </a:cxn>
                <a:cxn ang="0">
                  <a:pos x="connsiteX2546" y="connsiteY2546"/>
                </a:cxn>
                <a:cxn ang="0">
                  <a:pos x="connsiteX2547" y="connsiteY2547"/>
                </a:cxn>
                <a:cxn ang="0">
                  <a:pos x="connsiteX2548" y="connsiteY2548"/>
                </a:cxn>
                <a:cxn ang="0">
                  <a:pos x="connsiteX2549" y="connsiteY2549"/>
                </a:cxn>
                <a:cxn ang="0">
                  <a:pos x="connsiteX2550" y="connsiteY2550"/>
                </a:cxn>
                <a:cxn ang="0">
                  <a:pos x="connsiteX2551" y="connsiteY2551"/>
                </a:cxn>
                <a:cxn ang="0">
                  <a:pos x="connsiteX2552" y="connsiteY2552"/>
                </a:cxn>
                <a:cxn ang="0">
                  <a:pos x="connsiteX2553" y="connsiteY2553"/>
                </a:cxn>
                <a:cxn ang="0">
                  <a:pos x="connsiteX2554" y="connsiteY2554"/>
                </a:cxn>
                <a:cxn ang="0">
                  <a:pos x="connsiteX2555" y="connsiteY2555"/>
                </a:cxn>
                <a:cxn ang="0">
                  <a:pos x="connsiteX2556" y="connsiteY2556"/>
                </a:cxn>
                <a:cxn ang="0">
                  <a:pos x="connsiteX2557" y="connsiteY2557"/>
                </a:cxn>
                <a:cxn ang="0">
                  <a:pos x="connsiteX2558" y="connsiteY2558"/>
                </a:cxn>
                <a:cxn ang="0">
                  <a:pos x="connsiteX2559" y="connsiteY2559"/>
                </a:cxn>
                <a:cxn ang="0">
                  <a:pos x="connsiteX2560" y="connsiteY2560"/>
                </a:cxn>
                <a:cxn ang="0">
                  <a:pos x="connsiteX2561" y="connsiteY2561"/>
                </a:cxn>
                <a:cxn ang="0">
                  <a:pos x="connsiteX2562" y="connsiteY2562"/>
                </a:cxn>
                <a:cxn ang="0">
                  <a:pos x="connsiteX2563" y="connsiteY2563"/>
                </a:cxn>
                <a:cxn ang="0">
                  <a:pos x="connsiteX2564" y="connsiteY2564"/>
                </a:cxn>
                <a:cxn ang="0">
                  <a:pos x="connsiteX2565" y="connsiteY2565"/>
                </a:cxn>
                <a:cxn ang="0">
                  <a:pos x="connsiteX2566" y="connsiteY2566"/>
                </a:cxn>
                <a:cxn ang="0">
                  <a:pos x="connsiteX2567" y="connsiteY2567"/>
                </a:cxn>
                <a:cxn ang="0">
                  <a:pos x="connsiteX2568" y="connsiteY2568"/>
                </a:cxn>
                <a:cxn ang="0">
                  <a:pos x="connsiteX2569" y="connsiteY2569"/>
                </a:cxn>
                <a:cxn ang="0">
                  <a:pos x="connsiteX2570" y="connsiteY2570"/>
                </a:cxn>
                <a:cxn ang="0">
                  <a:pos x="connsiteX2571" y="connsiteY2571"/>
                </a:cxn>
                <a:cxn ang="0">
                  <a:pos x="connsiteX2572" y="connsiteY2572"/>
                </a:cxn>
                <a:cxn ang="0">
                  <a:pos x="connsiteX2573" y="connsiteY2573"/>
                </a:cxn>
                <a:cxn ang="0">
                  <a:pos x="connsiteX2574" y="connsiteY2574"/>
                </a:cxn>
                <a:cxn ang="0">
                  <a:pos x="connsiteX2575" y="connsiteY2575"/>
                </a:cxn>
                <a:cxn ang="0">
                  <a:pos x="connsiteX2576" y="connsiteY2576"/>
                </a:cxn>
                <a:cxn ang="0">
                  <a:pos x="connsiteX2577" y="connsiteY2577"/>
                </a:cxn>
                <a:cxn ang="0">
                  <a:pos x="connsiteX2578" y="connsiteY2578"/>
                </a:cxn>
                <a:cxn ang="0">
                  <a:pos x="connsiteX2579" y="connsiteY2579"/>
                </a:cxn>
                <a:cxn ang="0">
                  <a:pos x="connsiteX2580" y="connsiteY2580"/>
                </a:cxn>
                <a:cxn ang="0">
                  <a:pos x="connsiteX2581" y="connsiteY2581"/>
                </a:cxn>
                <a:cxn ang="0">
                  <a:pos x="connsiteX2582" y="connsiteY2582"/>
                </a:cxn>
                <a:cxn ang="0">
                  <a:pos x="connsiteX2583" y="connsiteY2583"/>
                </a:cxn>
                <a:cxn ang="0">
                  <a:pos x="connsiteX2584" y="connsiteY2584"/>
                </a:cxn>
                <a:cxn ang="0">
                  <a:pos x="connsiteX2585" y="connsiteY2585"/>
                </a:cxn>
                <a:cxn ang="0">
                  <a:pos x="connsiteX2586" y="connsiteY2586"/>
                </a:cxn>
                <a:cxn ang="0">
                  <a:pos x="connsiteX2587" y="connsiteY2587"/>
                </a:cxn>
                <a:cxn ang="0">
                  <a:pos x="connsiteX2588" y="connsiteY2588"/>
                </a:cxn>
                <a:cxn ang="0">
                  <a:pos x="connsiteX2589" y="connsiteY2589"/>
                </a:cxn>
                <a:cxn ang="0">
                  <a:pos x="connsiteX2590" y="connsiteY2590"/>
                </a:cxn>
                <a:cxn ang="0">
                  <a:pos x="connsiteX2591" y="connsiteY2591"/>
                </a:cxn>
                <a:cxn ang="0">
                  <a:pos x="connsiteX2592" y="connsiteY2592"/>
                </a:cxn>
                <a:cxn ang="0">
                  <a:pos x="connsiteX2593" y="connsiteY2593"/>
                </a:cxn>
                <a:cxn ang="0">
                  <a:pos x="connsiteX2594" y="connsiteY2594"/>
                </a:cxn>
                <a:cxn ang="0">
                  <a:pos x="connsiteX2595" y="connsiteY2595"/>
                </a:cxn>
                <a:cxn ang="0">
                  <a:pos x="connsiteX2596" y="connsiteY2596"/>
                </a:cxn>
                <a:cxn ang="0">
                  <a:pos x="connsiteX2597" y="connsiteY2597"/>
                </a:cxn>
                <a:cxn ang="0">
                  <a:pos x="connsiteX2598" y="connsiteY2598"/>
                </a:cxn>
                <a:cxn ang="0">
                  <a:pos x="connsiteX2599" y="connsiteY2599"/>
                </a:cxn>
                <a:cxn ang="0">
                  <a:pos x="connsiteX2600" y="connsiteY2600"/>
                </a:cxn>
                <a:cxn ang="0">
                  <a:pos x="connsiteX2601" y="connsiteY2601"/>
                </a:cxn>
                <a:cxn ang="0">
                  <a:pos x="connsiteX2602" y="connsiteY2602"/>
                </a:cxn>
                <a:cxn ang="0">
                  <a:pos x="connsiteX2603" y="connsiteY2603"/>
                </a:cxn>
                <a:cxn ang="0">
                  <a:pos x="connsiteX2604" y="connsiteY2604"/>
                </a:cxn>
                <a:cxn ang="0">
                  <a:pos x="connsiteX2605" y="connsiteY2605"/>
                </a:cxn>
                <a:cxn ang="0">
                  <a:pos x="connsiteX2606" y="connsiteY2606"/>
                </a:cxn>
                <a:cxn ang="0">
                  <a:pos x="connsiteX2607" y="connsiteY2607"/>
                </a:cxn>
                <a:cxn ang="0">
                  <a:pos x="connsiteX2608" y="connsiteY2608"/>
                </a:cxn>
                <a:cxn ang="0">
                  <a:pos x="connsiteX2609" y="connsiteY2609"/>
                </a:cxn>
                <a:cxn ang="0">
                  <a:pos x="connsiteX2610" y="connsiteY2610"/>
                </a:cxn>
                <a:cxn ang="0">
                  <a:pos x="connsiteX2611" y="connsiteY2611"/>
                </a:cxn>
                <a:cxn ang="0">
                  <a:pos x="connsiteX2612" y="connsiteY2612"/>
                </a:cxn>
                <a:cxn ang="0">
                  <a:pos x="connsiteX2613" y="connsiteY2613"/>
                </a:cxn>
                <a:cxn ang="0">
                  <a:pos x="connsiteX2614" y="connsiteY2614"/>
                </a:cxn>
                <a:cxn ang="0">
                  <a:pos x="connsiteX2615" y="connsiteY2615"/>
                </a:cxn>
                <a:cxn ang="0">
                  <a:pos x="connsiteX2616" y="connsiteY2616"/>
                </a:cxn>
                <a:cxn ang="0">
                  <a:pos x="connsiteX2617" y="connsiteY2617"/>
                </a:cxn>
                <a:cxn ang="0">
                  <a:pos x="connsiteX2618" y="connsiteY2618"/>
                </a:cxn>
                <a:cxn ang="0">
                  <a:pos x="connsiteX2619" y="connsiteY2619"/>
                </a:cxn>
                <a:cxn ang="0">
                  <a:pos x="connsiteX2620" y="connsiteY2620"/>
                </a:cxn>
                <a:cxn ang="0">
                  <a:pos x="connsiteX2621" y="connsiteY2621"/>
                </a:cxn>
                <a:cxn ang="0">
                  <a:pos x="connsiteX2622" y="connsiteY2622"/>
                </a:cxn>
                <a:cxn ang="0">
                  <a:pos x="connsiteX2623" y="connsiteY2623"/>
                </a:cxn>
                <a:cxn ang="0">
                  <a:pos x="connsiteX2624" y="connsiteY2624"/>
                </a:cxn>
                <a:cxn ang="0">
                  <a:pos x="connsiteX2625" y="connsiteY2625"/>
                </a:cxn>
                <a:cxn ang="0">
                  <a:pos x="connsiteX2626" y="connsiteY2626"/>
                </a:cxn>
                <a:cxn ang="0">
                  <a:pos x="connsiteX2627" y="connsiteY2627"/>
                </a:cxn>
                <a:cxn ang="0">
                  <a:pos x="connsiteX2628" y="connsiteY2628"/>
                </a:cxn>
                <a:cxn ang="0">
                  <a:pos x="connsiteX2629" y="connsiteY2629"/>
                </a:cxn>
                <a:cxn ang="0">
                  <a:pos x="connsiteX2630" y="connsiteY2630"/>
                </a:cxn>
                <a:cxn ang="0">
                  <a:pos x="connsiteX2631" y="connsiteY2631"/>
                </a:cxn>
                <a:cxn ang="0">
                  <a:pos x="connsiteX2632" y="connsiteY2632"/>
                </a:cxn>
                <a:cxn ang="0">
                  <a:pos x="connsiteX2633" y="connsiteY2633"/>
                </a:cxn>
                <a:cxn ang="0">
                  <a:pos x="connsiteX2634" y="connsiteY2634"/>
                </a:cxn>
                <a:cxn ang="0">
                  <a:pos x="connsiteX2635" y="connsiteY2635"/>
                </a:cxn>
                <a:cxn ang="0">
                  <a:pos x="connsiteX2636" y="connsiteY2636"/>
                </a:cxn>
                <a:cxn ang="0">
                  <a:pos x="connsiteX2637" y="connsiteY2637"/>
                </a:cxn>
                <a:cxn ang="0">
                  <a:pos x="connsiteX2638" y="connsiteY2638"/>
                </a:cxn>
                <a:cxn ang="0">
                  <a:pos x="connsiteX2639" y="connsiteY2639"/>
                </a:cxn>
                <a:cxn ang="0">
                  <a:pos x="connsiteX2640" y="connsiteY2640"/>
                </a:cxn>
                <a:cxn ang="0">
                  <a:pos x="connsiteX2641" y="connsiteY2641"/>
                </a:cxn>
                <a:cxn ang="0">
                  <a:pos x="connsiteX2642" y="connsiteY2642"/>
                </a:cxn>
                <a:cxn ang="0">
                  <a:pos x="connsiteX2643" y="connsiteY2643"/>
                </a:cxn>
                <a:cxn ang="0">
                  <a:pos x="connsiteX2644" y="connsiteY2644"/>
                </a:cxn>
                <a:cxn ang="0">
                  <a:pos x="connsiteX2645" y="connsiteY2645"/>
                </a:cxn>
                <a:cxn ang="0">
                  <a:pos x="connsiteX2646" y="connsiteY2646"/>
                </a:cxn>
                <a:cxn ang="0">
                  <a:pos x="connsiteX2647" y="connsiteY2647"/>
                </a:cxn>
                <a:cxn ang="0">
                  <a:pos x="connsiteX2648" y="connsiteY2648"/>
                </a:cxn>
                <a:cxn ang="0">
                  <a:pos x="connsiteX2649" y="connsiteY2649"/>
                </a:cxn>
                <a:cxn ang="0">
                  <a:pos x="connsiteX2650" y="connsiteY2650"/>
                </a:cxn>
                <a:cxn ang="0">
                  <a:pos x="connsiteX2651" y="connsiteY2651"/>
                </a:cxn>
                <a:cxn ang="0">
                  <a:pos x="connsiteX2652" y="connsiteY2652"/>
                </a:cxn>
                <a:cxn ang="0">
                  <a:pos x="connsiteX2653" y="connsiteY2653"/>
                </a:cxn>
                <a:cxn ang="0">
                  <a:pos x="connsiteX2654" y="connsiteY2654"/>
                </a:cxn>
                <a:cxn ang="0">
                  <a:pos x="connsiteX2655" y="connsiteY2655"/>
                </a:cxn>
                <a:cxn ang="0">
                  <a:pos x="connsiteX2656" y="connsiteY2656"/>
                </a:cxn>
                <a:cxn ang="0">
                  <a:pos x="connsiteX2657" y="connsiteY2657"/>
                </a:cxn>
                <a:cxn ang="0">
                  <a:pos x="connsiteX2658" y="connsiteY2658"/>
                </a:cxn>
                <a:cxn ang="0">
                  <a:pos x="connsiteX2659" y="connsiteY2659"/>
                </a:cxn>
                <a:cxn ang="0">
                  <a:pos x="connsiteX2660" y="connsiteY2660"/>
                </a:cxn>
                <a:cxn ang="0">
                  <a:pos x="connsiteX2661" y="connsiteY2661"/>
                </a:cxn>
                <a:cxn ang="0">
                  <a:pos x="connsiteX2662" y="connsiteY2662"/>
                </a:cxn>
                <a:cxn ang="0">
                  <a:pos x="connsiteX2663" y="connsiteY2663"/>
                </a:cxn>
                <a:cxn ang="0">
                  <a:pos x="connsiteX2664" y="connsiteY2664"/>
                </a:cxn>
                <a:cxn ang="0">
                  <a:pos x="connsiteX2665" y="connsiteY2665"/>
                </a:cxn>
                <a:cxn ang="0">
                  <a:pos x="connsiteX2666" y="connsiteY2666"/>
                </a:cxn>
                <a:cxn ang="0">
                  <a:pos x="connsiteX2667" y="connsiteY2667"/>
                </a:cxn>
                <a:cxn ang="0">
                  <a:pos x="connsiteX2668" y="connsiteY2668"/>
                </a:cxn>
                <a:cxn ang="0">
                  <a:pos x="connsiteX2669" y="connsiteY2669"/>
                </a:cxn>
                <a:cxn ang="0">
                  <a:pos x="connsiteX2670" y="connsiteY2670"/>
                </a:cxn>
                <a:cxn ang="0">
                  <a:pos x="connsiteX2671" y="connsiteY2671"/>
                </a:cxn>
                <a:cxn ang="0">
                  <a:pos x="connsiteX2672" y="connsiteY2672"/>
                </a:cxn>
                <a:cxn ang="0">
                  <a:pos x="connsiteX2673" y="connsiteY2673"/>
                </a:cxn>
                <a:cxn ang="0">
                  <a:pos x="connsiteX2674" y="connsiteY2674"/>
                </a:cxn>
                <a:cxn ang="0">
                  <a:pos x="connsiteX2675" y="connsiteY2675"/>
                </a:cxn>
                <a:cxn ang="0">
                  <a:pos x="connsiteX2676" y="connsiteY2676"/>
                </a:cxn>
                <a:cxn ang="0">
                  <a:pos x="connsiteX2677" y="connsiteY2677"/>
                </a:cxn>
                <a:cxn ang="0">
                  <a:pos x="connsiteX2678" y="connsiteY2678"/>
                </a:cxn>
                <a:cxn ang="0">
                  <a:pos x="connsiteX2679" y="connsiteY2679"/>
                </a:cxn>
                <a:cxn ang="0">
                  <a:pos x="connsiteX2680" y="connsiteY2680"/>
                </a:cxn>
                <a:cxn ang="0">
                  <a:pos x="connsiteX2681" y="connsiteY2681"/>
                </a:cxn>
                <a:cxn ang="0">
                  <a:pos x="connsiteX2682" y="connsiteY2682"/>
                </a:cxn>
                <a:cxn ang="0">
                  <a:pos x="connsiteX2683" y="connsiteY2683"/>
                </a:cxn>
                <a:cxn ang="0">
                  <a:pos x="connsiteX2684" y="connsiteY2684"/>
                </a:cxn>
                <a:cxn ang="0">
                  <a:pos x="connsiteX2685" y="connsiteY2685"/>
                </a:cxn>
                <a:cxn ang="0">
                  <a:pos x="connsiteX2686" y="connsiteY2686"/>
                </a:cxn>
                <a:cxn ang="0">
                  <a:pos x="connsiteX2687" y="connsiteY2687"/>
                </a:cxn>
                <a:cxn ang="0">
                  <a:pos x="connsiteX2688" y="connsiteY2688"/>
                </a:cxn>
                <a:cxn ang="0">
                  <a:pos x="connsiteX2689" y="connsiteY2689"/>
                </a:cxn>
                <a:cxn ang="0">
                  <a:pos x="connsiteX2690" y="connsiteY2690"/>
                </a:cxn>
                <a:cxn ang="0">
                  <a:pos x="connsiteX2691" y="connsiteY2691"/>
                </a:cxn>
                <a:cxn ang="0">
                  <a:pos x="connsiteX2692" y="connsiteY2692"/>
                </a:cxn>
                <a:cxn ang="0">
                  <a:pos x="connsiteX2693" y="connsiteY2693"/>
                </a:cxn>
                <a:cxn ang="0">
                  <a:pos x="connsiteX2694" y="connsiteY2694"/>
                </a:cxn>
                <a:cxn ang="0">
                  <a:pos x="connsiteX2695" y="connsiteY2695"/>
                </a:cxn>
                <a:cxn ang="0">
                  <a:pos x="connsiteX2696" y="connsiteY2696"/>
                </a:cxn>
                <a:cxn ang="0">
                  <a:pos x="connsiteX2697" y="connsiteY2697"/>
                </a:cxn>
                <a:cxn ang="0">
                  <a:pos x="connsiteX2698" y="connsiteY2698"/>
                </a:cxn>
                <a:cxn ang="0">
                  <a:pos x="connsiteX2699" y="connsiteY2699"/>
                </a:cxn>
                <a:cxn ang="0">
                  <a:pos x="connsiteX2700" y="connsiteY2700"/>
                </a:cxn>
                <a:cxn ang="0">
                  <a:pos x="connsiteX2701" y="connsiteY2701"/>
                </a:cxn>
                <a:cxn ang="0">
                  <a:pos x="connsiteX2702" y="connsiteY2702"/>
                </a:cxn>
                <a:cxn ang="0">
                  <a:pos x="connsiteX2703" y="connsiteY2703"/>
                </a:cxn>
                <a:cxn ang="0">
                  <a:pos x="connsiteX2704" y="connsiteY2704"/>
                </a:cxn>
                <a:cxn ang="0">
                  <a:pos x="connsiteX2705" y="connsiteY2705"/>
                </a:cxn>
                <a:cxn ang="0">
                  <a:pos x="connsiteX2706" y="connsiteY2706"/>
                </a:cxn>
                <a:cxn ang="0">
                  <a:pos x="connsiteX2707" y="connsiteY2707"/>
                </a:cxn>
                <a:cxn ang="0">
                  <a:pos x="connsiteX2708" y="connsiteY2708"/>
                </a:cxn>
                <a:cxn ang="0">
                  <a:pos x="connsiteX2709" y="connsiteY2709"/>
                </a:cxn>
                <a:cxn ang="0">
                  <a:pos x="connsiteX2710" y="connsiteY2710"/>
                </a:cxn>
                <a:cxn ang="0">
                  <a:pos x="connsiteX2711" y="connsiteY2711"/>
                </a:cxn>
                <a:cxn ang="0">
                  <a:pos x="connsiteX2712" y="connsiteY2712"/>
                </a:cxn>
                <a:cxn ang="0">
                  <a:pos x="connsiteX2713" y="connsiteY2713"/>
                </a:cxn>
                <a:cxn ang="0">
                  <a:pos x="connsiteX2714" y="connsiteY2714"/>
                </a:cxn>
                <a:cxn ang="0">
                  <a:pos x="connsiteX2715" y="connsiteY2715"/>
                </a:cxn>
                <a:cxn ang="0">
                  <a:pos x="connsiteX2716" y="connsiteY2716"/>
                </a:cxn>
                <a:cxn ang="0">
                  <a:pos x="connsiteX2717" y="connsiteY2717"/>
                </a:cxn>
                <a:cxn ang="0">
                  <a:pos x="connsiteX2718" y="connsiteY2718"/>
                </a:cxn>
                <a:cxn ang="0">
                  <a:pos x="connsiteX2719" y="connsiteY2719"/>
                </a:cxn>
                <a:cxn ang="0">
                  <a:pos x="connsiteX2720" y="connsiteY2720"/>
                </a:cxn>
                <a:cxn ang="0">
                  <a:pos x="connsiteX2721" y="connsiteY2721"/>
                </a:cxn>
                <a:cxn ang="0">
                  <a:pos x="connsiteX2722" y="connsiteY2722"/>
                </a:cxn>
                <a:cxn ang="0">
                  <a:pos x="connsiteX2723" y="connsiteY2723"/>
                </a:cxn>
                <a:cxn ang="0">
                  <a:pos x="connsiteX2724" y="connsiteY2724"/>
                </a:cxn>
                <a:cxn ang="0">
                  <a:pos x="connsiteX2725" y="connsiteY2725"/>
                </a:cxn>
                <a:cxn ang="0">
                  <a:pos x="connsiteX2726" y="connsiteY2726"/>
                </a:cxn>
                <a:cxn ang="0">
                  <a:pos x="connsiteX2727" y="connsiteY2727"/>
                </a:cxn>
                <a:cxn ang="0">
                  <a:pos x="connsiteX2728" y="connsiteY2728"/>
                </a:cxn>
                <a:cxn ang="0">
                  <a:pos x="connsiteX2729" y="connsiteY2729"/>
                </a:cxn>
                <a:cxn ang="0">
                  <a:pos x="connsiteX2730" y="connsiteY2730"/>
                </a:cxn>
                <a:cxn ang="0">
                  <a:pos x="connsiteX2731" y="connsiteY2731"/>
                </a:cxn>
                <a:cxn ang="0">
                  <a:pos x="connsiteX2732" y="connsiteY2732"/>
                </a:cxn>
                <a:cxn ang="0">
                  <a:pos x="connsiteX2733" y="connsiteY2733"/>
                </a:cxn>
                <a:cxn ang="0">
                  <a:pos x="connsiteX2734" y="connsiteY2734"/>
                </a:cxn>
                <a:cxn ang="0">
                  <a:pos x="connsiteX2735" y="connsiteY2735"/>
                </a:cxn>
                <a:cxn ang="0">
                  <a:pos x="connsiteX2736" y="connsiteY2736"/>
                </a:cxn>
                <a:cxn ang="0">
                  <a:pos x="connsiteX2737" y="connsiteY2737"/>
                </a:cxn>
                <a:cxn ang="0">
                  <a:pos x="connsiteX2738" y="connsiteY2738"/>
                </a:cxn>
                <a:cxn ang="0">
                  <a:pos x="connsiteX2739" y="connsiteY2739"/>
                </a:cxn>
                <a:cxn ang="0">
                  <a:pos x="connsiteX2740" y="connsiteY2740"/>
                </a:cxn>
                <a:cxn ang="0">
                  <a:pos x="connsiteX2741" y="connsiteY2741"/>
                </a:cxn>
                <a:cxn ang="0">
                  <a:pos x="connsiteX2742" y="connsiteY2742"/>
                </a:cxn>
                <a:cxn ang="0">
                  <a:pos x="connsiteX2743" y="connsiteY2743"/>
                </a:cxn>
                <a:cxn ang="0">
                  <a:pos x="connsiteX2744" y="connsiteY2744"/>
                </a:cxn>
                <a:cxn ang="0">
                  <a:pos x="connsiteX2745" y="connsiteY2745"/>
                </a:cxn>
                <a:cxn ang="0">
                  <a:pos x="connsiteX2746" y="connsiteY2746"/>
                </a:cxn>
                <a:cxn ang="0">
                  <a:pos x="connsiteX2747" y="connsiteY2747"/>
                </a:cxn>
                <a:cxn ang="0">
                  <a:pos x="connsiteX2748" y="connsiteY2748"/>
                </a:cxn>
                <a:cxn ang="0">
                  <a:pos x="connsiteX2749" y="connsiteY2749"/>
                </a:cxn>
                <a:cxn ang="0">
                  <a:pos x="connsiteX2750" y="connsiteY2750"/>
                </a:cxn>
                <a:cxn ang="0">
                  <a:pos x="connsiteX2751" y="connsiteY2751"/>
                </a:cxn>
                <a:cxn ang="0">
                  <a:pos x="connsiteX2752" y="connsiteY2752"/>
                </a:cxn>
                <a:cxn ang="0">
                  <a:pos x="connsiteX2753" y="connsiteY2753"/>
                </a:cxn>
                <a:cxn ang="0">
                  <a:pos x="connsiteX2754" y="connsiteY2754"/>
                </a:cxn>
                <a:cxn ang="0">
                  <a:pos x="connsiteX2755" y="connsiteY2755"/>
                </a:cxn>
                <a:cxn ang="0">
                  <a:pos x="connsiteX2756" y="connsiteY2756"/>
                </a:cxn>
                <a:cxn ang="0">
                  <a:pos x="connsiteX2757" y="connsiteY2757"/>
                </a:cxn>
                <a:cxn ang="0">
                  <a:pos x="connsiteX2758" y="connsiteY2758"/>
                </a:cxn>
                <a:cxn ang="0">
                  <a:pos x="connsiteX2759" y="connsiteY2759"/>
                </a:cxn>
                <a:cxn ang="0">
                  <a:pos x="connsiteX2760" y="connsiteY2760"/>
                </a:cxn>
                <a:cxn ang="0">
                  <a:pos x="connsiteX2761" y="connsiteY2761"/>
                </a:cxn>
                <a:cxn ang="0">
                  <a:pos x="connsiteX2762" y="connsiteY2762"/>
                </a:cxn>
                <a:cxn ang="0">
                  <a:pos x="connsiteX2763" y="connsiteY2763"/>
                </a:cxn>
                <a:cxn ang="0">
                  <a:pos x="connsiteX2764" y="connsiteY2764"/>
                </a:cxn>
                <a:cxn ang="0">
                  <a:pos x="connsiteX2765" y="connsiteY2765"/>
                </a:cxn>
                <a:cxn ang="0">
                  <a:pos x="connsiteX2766" y="connsiteY2766"/>
                </a:cxn>
                <a:cxn ang="0">
                  <a:pos x="connsiteX2767" y="connsiteY2767"/>
                </a:cxn>
                <a:cxn ang="0">
                  <a:pos x="connsiteX2768" y="connsiteY2768"/>
                </a:cxn>
                <a:cxn ang="0">
                  <a:pos x="connsiteX2769" y="connsiteY2769"/>
                </a:cxn>
                <a:cxn ang="0">
                  <a:pos x="connsiteX2770" y="connsiteY2770"/>
                </a:cxn>
                <a:cxn ang="0">
                  <a:pos x="connsiteX2771" y="connsiteY2771"/>
                </a:cxn>
                <a:cxn ang="0">
                  <a:pos x="connsiteX2772" y="connsiteY2772"/>
                </a:cxn>
                <a:cxn ang="0">
                  <a:pos x="connsiteX2773" y="connsiteY2773"/>
                </a:cxn>
                <a:cxn ang="0">
                  <a:pos x="connsiteX2774" y="connsiteY2774"/>
                </a:cxn>
                <a:cxn ang="0">
                  <a:pos x="connsiteX2775" y="connsiteY2775"/>
                </a:cxn>
                <a:cxn ang="0">
                  <a:pos x="connsiteX2776" y="connsiteY2776"/>
                </a:cxn>
                <a:cxn ang="0">
                  <a:pos x="connsiteX2777" y="connsiteY2777"/>
                </a:cxn>
                <a:cxn ang="0">
                  <a:pos x="connsiteX2778" y="connsiteY2778"/>
                </a:cxn>
                <a:cxn ang="0">
                  <a:pos x="connsiteX2779" y="connsiteY2779"/>
                </a:cxn>
                <a:cxn ang="0">
                  <a:pos x="connsiteX2780" y="connsiteY2780"/>
                </a:cxn>
                <a:cxn ang="0">
                  <a:pos x="connsiteX2781" y="connsiteY2781"/>
                </a:cxn>
                <a:cxn ang="0">
                  <a:pos x="connsiteX2782" y="connsiteY2782"/>
                </a:cxn>
                <a:cxn ang="0">
                  <a:pos x="connsiteX2783" y="connsiteY2783"/>
                </a:cxn>
                <a:cxn ang="0">
                  <a:pos x="connsiteX2784" y="connsiteY2784"/>
                </a:cxn>
                <a:cxn ang="0">
                  <a:pos x="connsiteX2785" y="connsiteY2785"/>
                </a:cxn>
                <a:cxn ang="0">
                  <a:pos x="connsiteX2786" y="connsiteY2786"/>
                </a:cxn>
                <a:cxn ang="0">
                  <a:pos x="connsiteX2787" y="connsiteY2787"/>
                </a:cxn>
                <a:cxn ang="0">
                  <a:pos x="connsiteX2788" y="connsiteY2788"/>
                </a:cxn>
                <a:cxn ang="0">
                  <a:pos x="connsiteX2789" y="connsiteY2789"/>
                </a:cxn>
                <a:cxn ang="0">
                  <a:pos x="connsiteX2790" y="connsiteY2790"/>
                </a:cxn>
                <a:cxn ang="0">
                  <a:pos x="connsiteX2791" y="connsiteY2791"/>
                </a:cxn>
                <a:cxn ang="0">
                  <a:pos x="connsiteX2792" y="connsiteY2792"/>
                </a:cxn>
                <a:cxn ang="0">
                  <a:pos x="connsiteX2793" y="connsiteY2793"/>
                </a:cxn>
                <a:cxn ang="0">
                  <a:pos x="connsiteX2794" y="connsiteY2794"/>
                </a:cxn>
                <a:cxn ang="0">
                  <a:pos x="connsiteX2795" y="connsiteY2795"/>
                </a:cxn>
                <a:cxn ang="0">
                  <a:pos x="connsiteX2796" y="connsiteY2796"/>
                </a:cxn>
                <a:cxn ang="0">
                  <a:pos x="connsiteX2797" y="connsiteY2797"/>
                </a:cxn>
                <a:cxn ang="0">
                  <a:pos x="connsiteX2798" y="connsiteY2798"/>
                </a:cxn>
                <a:cxn ang="0">
                  <a:pos x="connsiteX2799" y="connsiteY2799"/>
                </a:cxn>
                <a:cxn ang="0">
                  <a:pos x="connsiteX2800" y="connsiteY2800"/>
                </a:cxn>
                <a:cxn ang="0">
                  <a:pos x="connsiteX2801" y="connsiteY2801"/>
                </a:cxn>
                <a:cxn ang="0">
                  <a:pos x="connsiteX2802" y="connsiteY2802"/>
                </a:cxn>
                <a:cxn ang="0">
                  <a:pos x="connsiteX2803" y="connsiteY2803"/>
                </a:cxn>
                <a:cxn ang="0">
                  <a:pos x="connsiteX2804" y="connsiteY2804"/>
                </a:cxn>
                <a:cxn ang="0">
                  <a:pos x="connsiteX2805" y="connsiteY2805"/>
                </a:cxn>
                <a:cxn ang="0">
                  <a:pos x="connsiteX2806" y="connsiteY2806"/>
                </a:cxn>
                <a:cxn ang="0">
                  <a:pos x="connsiteX2807" y="connsiteY2807"/>
                </a:cxn>
                <a:cxn ang="0">
                  <a:pos x="connsiteX2808" y="connsiteY2808"/>
                </a:cxn>
                <a:cxn ang="0">
                  <a:pos x="connsiteX2809" y="connsiteY2809"/>
                </a:cxn>
                <a:cxn ang="0">
                  <a:pos x="connsiteX2810" y="connsiteY2810"/>
                </a:cxn>
                <a:cxn ang="0">
                  <a:pos x="connsiteX2811" y="connsiteY2811"/>
                </a:cxn>
                <a:cxn ang="0">
                  <a:pos x="connsiteX2812" y="connsiteY2812"/>
                </a:cxn>
                <a:cxn ang="0">
                  <a:pos x="connsiteX2813" y="connsiteY2813"/>
                </a:cxn>
                <a:cxn ang="0">
                  <a:pos x="connsiteX2814" y="connsiteY2814"/>
                </a:cxn>
                <a:cxn ang="0">
                  <a:pos x="connsiteX2815" y="connsiteY2815"/>
                </a:cxn>
                <a:cxn ang="0">
                  <a:pos x="connsiteX2816" y="connsiteY2816"/>
                </a:cxn>
                <a:cxn ang="0">
                  <a:pos x="connsiteX2817" y="connsiteY2817"/>
                </a:cxn>
                <a:cxn ang="0">
                  <a:pos x="connsiteX2818" y="connsiteY2818"/>
                </a:cxn>
                <a:cxn ang="0">
                  <a:pos x="connsiteX2819" y="connsiteY2819"/>
                </a:cxn>
                <a:cxn ang="0">
                  <a:pos x="connsiteX2820" y="connsiteY2820"/>
                </a:cxn>
                <a:cxn ang="0">
                  <a:pos x="connsiteX2821" y="connsiteY2821"/>
                </a:cxn>
                <a:cxn ang="0">
                  <a:pos x="connsiteX2822" y="connsiteY2822"/>
                </a:cxn>
                <a:cxn ang="0">
                  <a:pos x="connsiteX2823" y="connsiteY2823"/>
                </a:cxn>
                <a:cxn ang="0">
                  <a:pos x="connsiteX2824" y="connsiteY2824"/>
                </a:cxn>
                <a:cxn ang="0">
                  <a:pos x="connsiteX2825" y="connsiteY2825"/>
                </a:cxn>
                <a:cxn ang="0">
                  <a:pos x="connsiteX2826" y="connsiteY2826"/>
                </a:cxn>
                <a:cxn ang="0">
                  <a:pos x="connsiteX2827" y="connsiteY2827"/>
                </a:cxn>
                <a:cxn ang="0">
                  <a:pos x="connsiteX2828" y="connsiteY2828"/>
                </a:cxn>
                <a:cxn ang="0">
                  <a:pos x="connsiteX2829" y="connsiteY2829"/>
                </a:cxn>
                <a:cxn ang="0">
                  <a:pos x="connsiteX2830" y="connsiteY2830"/>
                </a:cxn>
                <a:cxn ang="0">
                  <a:pos x="connsiteX2831" y="connsiteY2831"/>
                </a:cxn>
                <a:cxn ang="0">
                  <a:pos x="connsiteX2832" y="connsiteY2832"/>
                </a:cxn>
                <a:cxn ang="0">
                  <a:pos x="connsiteX2833" y="connsiteY2833"/>
                </a:cxn>
                <a:cxn ang="0">
                  <a:pos x="connsiteX2834" y="connsiteY2834"/>
                </a:cxn>
                <a:cxn ang="0">
                  <a:pos x="connsiteX2835" y="connsiteY2835"/>
                </a:cxn>
                <a:cxn ang="0">
                  <a:pos x="connsiteX2836" y="connsiteY2836"/>
                </a:cxn>
                <a:cxn ang="0">
                  <a:pos x="connsiteX2837" y="connsiteY2837"/>
                </a:cxn>
                <a:cxn ang="0">
                  <a:pos x="connsiteX2838" y="connsiteY2838"/>
                </a:cxn>
                <a:cxn ang="0">
                  <a:pos x="connsiteX2839" y="connsiteY2839"/>
                </a:cxn>
                <a:cxn ang="0">
                  <a:pos x="connsiteX2840" y="connsiteY2840"/>
                </a:cxn>
                <a:cxn ang="0">
                  <a:pos x="connsiteX2841" y="connsiteY2841"/>
                </a:cxn>
                <a:cxn ang="0">
                  <a:pos x="connsiteX2842" y="connsiteY2842"/>
                </a:cxn>
                <a:cxn ang="0">
                  <a:pos x="connsiteX2843" y="connsiteY2843"/>
                </a:cxn>
                <a:cxn ang="0">
                  <a:pos x="connsiteX2844" y="connsiteY2844"/>
                </a:cxn>
                <a:cxn ang="0">
                  <a:pos x="connsiteX2845" y="connsiteY2845"/>
                </a:cxn>
                <a:cxn ang="0">
                  <a:pos x="connsiteX2846" y="connsiteY2846"/>
                </a:cxn>
                <a:cxn ang="0">
                  <a:pos x="connsiteX2847" y="connsiteY2847"/>
                </a:cxn>
                <a:cxn ang="0">
                  <a:pos x="connsiteX2848" y="connsiteY2848"/>
                </a:cxn>
                <a:cxn ang="0">
                  <a:pos x="connsiteX2849" y="connsiteY2849"/>
                </a:cxn>
                <a:cxn ang="0">
                  <a:pos x="connsiteX2850" y="connsiteY2850"/>
                </a:cxn>
                <a:cxn ang="0">
                  <a:pos x="connsiteX2851" y="connsiteY2851"/>
                </a:cxn>
                <a:cxn ang="0">
                  <a:pos x="connsiteX2852" y="connsiteY2852"/>
                </a:cxn>
                <a:cxn ang="0">
                  <a:pos x="connsiteX2853" y="connsiteY2853"/>
                </a:cxn>
                <a:cxn ang="0">
                  <a:pos x="connsiteX2854" y="connsiteY2854"/>
                </a:cxn>
                <a:cxn ang="0">
                  <a:pos x="connsiteX2855" y="connsiteY2855"/>
                </a:cxn>
                <a:cxn ang="0">
                  <a:pos x="connsiteX2856" y="connsiteY2856"/>
                </a:cxn>
                <a:cxn ang="0">
                  <a:pos x="connsiteX2857" y="connsiteY2857"/>
                </a:cxn>
                <a:cxn ang="0">
                  <a:pos x="connsiteX2858" y="connsiteY2858"/>
                </a:cxn>
                <a:cxn ang="0">
                  <a:pos x="connsiteX2859" y="connsiteY2859"/>
                </a:cxn>
                <a:cxn ang="0">
                  <a:pos x="connsiteX2860" y="connsiteY2860"/>
                </a:cxn>
                <a:cxn ang="0">
                  <a:pos x="connsiteX2861" y="connsiteY2861"/>
                </a:cxn>
                <a:cxn ang="0">
                  <a:pos x="connsiteX2862" y="connsiteY2862"/>
                </a:cxn>
                <a:cxn ang="0">
                  <a:pos x="connsiteX2863" y="connsiteY2863"/>
                </a:cxn>
                <a:cxn ang="0">
                  <a:pos x="connsiteX2864" y="connsiteY2864"/>
                </a:cxn>
                <a:cxn ang="0">
                  <a:pos x="connsiteX2865" y="connsiteY2865"/>
                </a:cxn>
                <a:cxn ang="0">
                  <a:pos x="connsiteX2866" y="connsiteY2866"/>
                </a:cxn>
                <a:cxn ang="0">
                  <a:pos x="connsiteX2867" y="connsiteY2867"/>
                </a:cxn>
                <a:cxn ang="0">
                  <a:pos x="connsiteX2868" y="connsiteY2868"/>
                </a:cxn>
                <a:cxn ang="0">
                  <a:pos x="connsiteX2869" y="connsiteY2869"/>
                </a:cxn>
                <a:cxn ang="0">
                  <a:pos x="connsiteX2870" y="connsiteY2870"/>
                </a:cxn>
                <a:cxn ang="0">
                  <a:pos x="connsiteX2871" y="connsiteY2871"/>
                </a:cxn>
                <a:cxn ang="0">
                  <a:pos x="connsiteX2872" y="connsiteY2872"/>
                </a:cxn>
                <a:cxn ang="0">
                  <a:pos x="connsiteX2873" y="connsiteY2873"/>
                </a:cxn>
                <a:cxn ang="0">
                  <a:pos x="connsiteX2874" y="connsiteY2874"/>
                </a:cxn>
                <a:cxn ang="0">
                  <a:pos x="connsiteX2875" y="connsiteY2875"/>
                </a:cxn>
                <a:cxn ang="0">
                  <a:pos x="connsiteX2876" y="connsiteY2876"/>
                </a:cxn>
                <a:cxn ang="0">
                  <a:pos x="connsiteX2877" y="connsiteY2877"/>
                </a:cxn>
                <a:cxn ang="0">
                  <a:pos x="connsiteX2878" y="connsiteY2878"/>
                </a:cxn>
                <a:cxn ang="0">
                  <a:pos x="connsiteX2879" y="connsiteY2879"/>
                </a:cxn>
                <a:cxn ang="0">
                  <a:pos x="connsiteX2880" y="connsiteY2880"/>
                </a:cxn>
                <a:cxn ang="0">
                  <a:pos x="connsiteX2881" y="connsiteY2881"/>
                </a:cxn>
                <a:cxn ang="0">
                  <a:pos x="connsiteX2882" y="connsiteY2882"/>
                </a:cxn>
                <a:cxn ang="0">
                  <a:pos x="connsiteX2883" y="connsiteY2883"/>
                </a:cxn>
                <a:cxn ang="0">
                  <a:pos x="connsiteX2884" y="connsiteY2884"/>
                </a:cxn>
                <a:cxn ang="0">
                  <a:pos x="connsiteX2885" y="connsiteY2885"/>
                </a:cxn>
                <a:cxn ang="0">
                  <a:pos x="connsiteX2886" y="connsiteY2886"/>
                </a:cxn>
                <a:cxn ang="0">
                  <a:pos x="connsiteX2887" y="connsiteY2887"/>
                </a:cxn>
                <a:cxn ang="0">
                  <a:pos x="connsiteX2888" y="connsiteY2888"/>
                </a:cxn>
                <a:cxn ang="0">
                  <a:pos x="connsiteX2889" y="connsiteY2889"/>
                </a:cxn>
                <a:cxn ang="0">
                  <a:pos x="connsiteX2890" y="connsiteY2890"/>
                </a:cxn>
                <a:cxn ang="0">
                  <a:pos x="connsiteX2891" y="connsiteY2891"/>
                </a:cxn>
                <a:cxn ang="0">
                  <a:pos x="connsiteX2892" y="connsiteY2892"/>
                </a:cxn>
                <a:cxn ang="0">
                  <a:pos x="connsiteX2893" y="connsiteY2893"/>
                </a:cxn>
                <a:cxn ang="0">
                  <a:pos x="connsiteX2894" y="connsiteY2894"/>
                </a:cxn>
                <a:cxn ang="0">
                  <a:pos x="connsiteX2895" y="connsiteY2895"/>
                </a:cxn>
                <a:cxn ang="0">
                  <a:pos x="connsiteX2896" y="connsiteY2896"/>
                </a:cxn>
                <a:cxn ang="0">
                  <a:pos x="connsiteX2897" y="connsiteY2897"/>
                </a:cxn>
                <a:cxn ang="0">
                  <a:pos x="connsiteX2898" y="connsiteY2898"/>
                </a:cxn>
                <a:cxn ang="0">
                  <a:pos x="connsiteX2899" y="connsiteY2899"/>
                </a:cxn>
                <a:cxn ang="0">
                  <a:pos x="connsiteX2900" y="connsiteY2900"/>
                </a:cxn>
                <a:cxn ang="0">
                  <a:pos x="connsiteX2901" y="connsiteY2901"/>
                </a:cxn>
                <a:cxn ang="0">
                  <a:pos x="connsiteX2902" y="connsiteY2902"/>
                </a:cxn>
                <a:cxn ang="0">
                  <a:pos x="connsiteX2903" y="connsiteY2903"/>
                </a:cxn>
                <a:cxn ang="0">
                  <a:pos x="connsiteX2904" y="connsiteY2904"/>
                </a:cxn>
                <a:cxn ang="0">
                  <a:pos x="connsiteX2905" y="connsiteY2905"/>
                </a:cxn>
                <a:cxn ang="0">
                  <a:pos x="connsiteX2906" y="connsiteY2906"/>
                </a:cxn>
                <a:cxn ang="0">
                  <a:pos x="connsiteX2907" y="connsiteY2907"/>
                </a:cxn>
                <a:cxn ang="0">
                  <a:pos x="connsiteX2908" y="connsiteY2908"/>
                </a:cxn>
                <a:cxn ang="0">
                  <a:pos x="connsiteX2909" y="connsiteY2909"/>
                </a:cxn>
                <a:cxn ang="0">
                  <a:pos x="connsiteX2910" y="connsiteY2910"/>
                </a:cxn>
                <a:cxn ang="0">
                  <a:pos x="connsiteX2911" y="connsiteY2911"/>
                </a:cxn>
                <a:cxn ang="0">
                  <a:pos x="connsiteX2912" y="connsiteY2912"/>
                </a:cxn>
                <a:cxn ang="0">
                  <a:pos x="connsiteX2913" y="connsiteY2913"/>
                </a:cxn>
                <a:cxn ang="0">
                  <a:pos x="connsiteX2914" y="connsiteY2914"/>
                </a:cxn>
                <a:cxn ang="0">
                  <a:pos x="connsiteX2915" y="connsiteY2915"/>
                </a:cxn>
                <a:cxn ang="0">
                  <a:pos x="connsiteX2916" y="connsiteY2916"/>
                </a:cxn>
                <a:cxn ang="0">
                  <a:pos x="connsiteX2917" y="connsiteY2917"/>
                </a:cxn>
                <a:cxn ang="0">
                  <a:pos x="connsiteX2918" y="connsiteY2918"/>
                </a:cxn>
                <a:cxn ang="0">
                  <a:pos x="connsiteX2919" y="connsiteY2919"/>
                </a:cxn>
                <a:cxn ang="0">
                  <a:pos x="connsiteX2920" y="connsiteY2920"/>
                </a:cxn>
                <a:cxn ang="0">
                  <a:pos x="connsiteX2921" y="connsiteY2921"/>
                </a:cxn>
                <a:cxn ang="0">
                  <a:pos x="connsiteX2922" y="connsiteY2922"/>
                </a:cxn>
                <a:cxn ang="0">
                  <a:pos x="connsiteX2923" y="connsiteY2923"/>
                </a:cxn>
                <a:cxn ang="0">
                  <a:pos x="connsiteX2924" y="connsiteY2924"/>
                </a:cxn>
                <a:cxn ang="0">
                  <a:pos x="connsiteX2925" y="connsiteY2925"/>
                </a:cxn>
                <a:cxn ang="0">
                  <a:pos x="connsiteX2926" y="connsiteY2926"/>
                </a:cxn>
                <a:cxn ang="0">
                  <a:pos x="connsiteX2927" y="connsiteY2927"/>
                </a:cxn>
                <a:cxn ang="0">
                  <a:pos x="connsiteX2928" y="connsiteY2928"/>
                </a:cxn>
                <a:cxn ang="0">
                  <a:pos x="connsiteX2929" y="connsiteY2929"/>
                </a:cxn>
                <a:cxn ang="0">
                  <a:pos x="connsiteX2930" y="connsiteY2930"/>
                </a:cxn>
                <a:cxn ang="0">
                  <a:pos x="connsiteX2931" y="connsiteY2931"/>
                </a:cxn>
                <a:cxn ang="0">
                  <a:pos x="connsiteX2932" y="connsiteY2932"/>
                </a:cxn>
                <a:cxn ang="0">
                  <a:pos x="connsiteX2933" y="connsiteY2933"/>
                </a:cxn>
                <a:cxn ang="0">
                  <a:pos x="connsiteX2934" y="connsiteY2934"/>
                </a:cxn>
                <a:cxn ang="0">
                  <a:pos x="connsiteX2935" y="connsiteY2935"/>
                </a:cxn>
                <a:cxn ang="0">
                  <a:pos x="connsiteX2936" y="connsiteY2936"/>
                </a:cxn>
                <a:cxn ang="0">
                  <a:pos x="connsiteX2937" y="connsiteY2937"/>
                </a:cxn>
                <a:cxn ang="0">
                  <a:pos x="connsiteX2938" y="connsiteY2938"/>
                </a:cxn>
                <a:cxn ang="0">
                  <a:pos x="connsiteX2939" y="connsiteY2939"/>
                </a:cxn>
                <a:cxn ang="0">
                  <a:pos x="connsiteX2940" y="connsiteY2940"/>
                </a:cxn>
                <a:cxn ang="0">
                  <a:pos x="connsiteX2941" y="connsiteY2941"/>
                </a:cxn>
                <a:cxn ang="0">
                  <a:pos x="connsiteX2942" y="connsiteY2942"/>
                </a:cxn>
                <a:cxn ang="0">
                  <a:pos x="connsiteX2943" y="connsiteY2943"/>
                </a:cxn>
                <a:cxn ang="0">
                  <a:pos x="connsiteX2944" y="connsiteY2944"/>
                </a:cxn>
                <a:cxn ang="0">
                  <a:pos x="connsiteX2945" y="connsiteY2945"/>
                </a:cxn>
                <a:cxn ang="0">
                  <a:pos x="connsiteX2946" y="connsiteY2946"/>
                </a:cxn>
                <a:cxn ang="0">
                  <a:pos x="connsiteX2947" y="connsiteY2947"/>
                </a:cxn>
                <a:cxn ang="0">
                  <a:pos x="connsiteX2948" y="connsiteY2948"/>
                </a:cxn>
                <a:cxn ang="0">
                  <a:pos x="connsiteX2949" y="connsiteY2949"/>
                </a:cxn>
                <a:cxn ang="0">
                  <a:pos x="connsiteX2950" y="connsiteY2950"/>
                </a:cxn>
                <a:cxn ang="0">
                  <a:pos x="connsiteX2951" y="connsiteY2951"/>
                </a:cxn>
                <a:cxn ang="0">
                  <a:pos x="connsiteX2952" y="connsiteY2952"/>
                </a:cxn>
                <a:cxn ang="0">
                  <a:pos x="connsiteX2953" y="connsiteY2953"/>
                </a:cxn>
                <a:cxn ang="0">
                  <a:pos x="connsiteX2954" y="connsiteY2954"/>
                </a:cxn>
                <a:cxn ang="0">
                  <a:pos x="connsiteX2955" y="connsiteY2955"/>
                </a:cxn>
                <a:cxn ang="0">
                  <a:pos x="connsiteX2956" y="connsiteY2956"/>
                </a:cxn>
                <a:cxn ang="0">
                  <a:pos x="connsiteX2957" y="connsiteY2957"/>
                </a:cxn>
                <a:cxn ang="0">
                  <a:pos x="connsiteX2958" y="connsiteY2958"/>
                </a:cxn>
                <a:cxn ang="0">
                  <a:pos x="connsiteX2959" y="connsiteY2959"/>
                </a:cxn>
                <a:cxn ang="0">
                  <a:pos x="connsiteX2960" y="connsiteY2960"/>
                </a:cxn>
                <a:cxn ang="0">
                  <a:pos x="connsiteX2961" y="connsiteY2961"/>
                </a:cxn>
                <a:cxn ang="0">
                  <a:pos x="connsiteX2962" y="connsiteY2962"/>
                </a:cxn>
                <a:cxn ang="0">
                  <a:pos x="connsiteX2963" y="connsiteY2963"/>
                </a:cxn>
                <a:cxn ang="0">
                  <a:pos x="connsiteX2964" y="connsiteY2964"/>
                </a:cxn>
                <a:cxn ang="0">
                  <a:pos x="connsiteX2965" y="connsiteY2965"/>
                </a:cxn>
                <a:cxn ang="0">
                  <a:pos x="connsiteX2966" y="connsiteY2966"/>
                </a:cxn>
                <a:cxn ang="0">
                  <a:pos x="connsiteX2967" y="connsiteY2967"/>
                </a:cxn>
                <a:cxn ang="0">
                  <a:pos x="connsiteX2968" y="connsiteY2968"/>
                </a:cxn>
                <a:cxn ang="0">
                  <a:pos x="connsiteX2969" y="connsiteY2969"/>
                </a:cxn>
                <a:cxn ang="0">
                  <a:pos x="connsiteX2970" y="connsiteY2970"/>
                </a:cxn>
                <a:cxn ang="0">
                  <a:pos x="connsiteX2971" y="connsiteY2971"/>
                </a:cxn>
                <a:cxn ang="0">
                  <a:pos x="connsiteX2972" y="connsiteY2972"/>
                </a:cxn>
                <a:cxn ang="0">
                  <a:pos x="connsiteX2973" y="connsiteY2973"/>
                </a:cxn>
                <a:cxn ang="0">
                  <a:pos x="connsiteX2974" y="connsiteY2974"/>
                </a:cxn>
                <a:cxn ang="0">
                  <a:pos x="connsiteX2975" y="connsiteY2975"/>
                </a:cxn>
                <a:cxn ang="0">
                  <a:pos x="connsiteX2976" y="connsiteY2976"/>
                </a:cxn>
                <a:cxn ang="0">
                  <a:pos x="connsiteX2977" y="connsiteY2977"/>
                </a:cxn>
                <a:cxn ang="0">
                  <a:pos x="connsiteX2978" y="connsiteY2978"/>
                </a:cxn>
                <a:cxn ang="0">
                  <a:pos x="connsiteX2979" y="connsiteY2979"/>
                </a:cxn>
                <a:cxn ang="0">
                  <a:pos x="connsiteX2980" y="connsiteY2980"/>
                </a:cxn>
                <a:cxn ang="0">
                  <a:pos x="connsiteX2981" y="connsiteY2981"/>
                </a:cxn>
                <a:cxn ang="0">
                  <a:pos x="connsiteX2982" y="connsiteY2982"/>
                </a:cxn>
                <a:cxn ang="0">
                  <a:pos x="connsiteX2983" y="connsiteY2983"/>
                </a:cxn>
                <a:cxn ang="0">
                  <a:pos x="connsiteX2984" y="connsiteY2984"/>
                </a:cxn>
                <a:cxn ang="0">
                  <a:pos x="connsiteX2985" y="connsiteY2985"/>
                </a:cxn>
                <a:cxn ang="0">
                  <a:pos x="connsiteX2986" y="connsiteY2986"/>
                </a:cxn>
                <a:cxn ang="0">
                  <a:pos x="connsiteX2987" y="connsiteY2987"/>
                </a:cxn>
                <a:cxn ang="0">
                  <a:pos x="connsiteX2988" y="connsiteY2988"/>
                </a:cxn>
                <a:cxn ang="0">
                  <a:pos x="connsiteX2989" y="connsiteY2989"/>
                </a:cxn>
                <a:cxn ang="0">
                  <a:pos x="connsiteX2990" y="connsiteY2990"/>
                </a:cxn>
                <a:cxn ang="0">
                  <a:pos x="connsiteX2991" y="connsiteY2991"/>
                </a:cxn>
                <a:cxn ang="0">
                  <a:pos x="connsiteX2992" y="connsiteY2992"/>
                </a:cxn>
                <a:cxn ang="0">
                  <a:pos x="connsiteX2993" y="connsiteY2993"/>
                </a:cxn>
                <a:cxn ang="0">
                  <a:pos x="connsiteX2994" y="connsiteY2994"/>
                </a:cxn>
                <a:cxn ang="0">
                  <a:pos x="connsiteX2995" y="connsiteY2995"/>
                </a:cxn>
                <a:cxn ang="0">
                  <a:pos x="connsiteX2996" y="connsiteY2996"/>
                </a:cxn>
                <a:cxn ang="0">
                  <a:pos x="connsiteX2997" y="connsiteY2997"/>
                </a:cxn>
                <a:cxn ang="0">
                  <a:pos x="connsiteX2998" y="connsiteY2998"/>
                </a:cxn>
                <a:cxn ang="0">
                  <a:pos x="connsiteX2999" y="connsiteY2999"/>
                </a:cxn>
                <a:cxn ang="0">
                  <a:pos x="connsiteX3000" y="connsiteY3000"/>
                </a:cxn>
                <a:cxn ang="0">
                  <a:pos x="connsiteX3001" y="connsiteY3001"/>
                </a:cxn>
                <a:cxn ang="0">
                  <a:pos x="connsiteX3002" y="connsiteY3002"/>
                </a:cxn>
                <a:cxn ang="0">
                  <a:pos x="connsiteX3003" y="connsiteY3003"/>
                </a:cxn>
                <a:cxn ang="0">
                  <a:pos x="connsiteX3004" y="connsiteY3004"/>
                </a:cxn>
                <a:cxn ang="0">
                  <a:pos x="connsiteX3005" y="connsiteY3005"/>
                </a:cxn>
                <a:cxn ang="0">
                  <a:pos x="connsiteX3006" y="connsiteY3006"/>
                </a:cxn>
                <a:cxn ang="0">
                  <a:pos x="connsiteX3007" y="connsiteY3007"/>
                </a:cxn>
                <a:cxn ang="0">
                  <a:pos x="connsiteX3008" y="connsiteY3008"/>
                </a:cxn>
                <a:cxn ang="0">
                  <a:pos x="connsiteX3009" y="connsiteY3009"/>
                </a:cxn>
                <a:cxn ang="0">
                  <a:pos x="connsiteX3010" y="connsiteY3010"/>
                </a:cxn>
                <a:cxn ang="0">
                  <a:pos x="connsiteX3011" y="connsiteY3011"/>
                </a:cxn>
                <a:cxn ang="0">
                  <a:pos x="connsiteX3012" y="connsiteY3012"/>
                </a:cxn>
                <a:cxn ang="0">
                  <a:pos x="connsiteX3013" y="connsiteY3013"/>
                </a:cxn>
                <a:cxn ang="0">
                  <a:pos x="connsiteX3014" y="connsiteY3014"/>
                </a:cxn>
                <a:cxn ang="0">
                  <a:pos x="connsiteX3015" y="connsiteY3015"/>
                </a:cxn>
                <a:cxn ang="0">
                  <a:pos x="connsiteX3016" y="connsiteY3016"/>
                </a:cxn>
                <a:cxn ang="0">
                  <a:pos x="connsiteX3017" y="connsiteY3017"/>
                </a:cxn>
                <a:cxn ang="0">
                  <a:pos x="connsiteX3018" y="connsiteY3018"/>
                </a:cxn>
                <a:cxn ang="0">
                  <a:pos x="connsiteX3019" y="connsiteY3019"/>
                </a:cxn>
                <a:cxn ang="0">
                  <a:pos x="connsiteX3020" y="connsiteY3020"/>
                </a:cxn>
                <a:cxn ang="0">
                  <a:pos x="connsiteX3021" y="connsiteY3021"/>
                </a:cxn>
                <a:cxn ang="0">
                  <a:pos x="connsiteX3022" y="connsiteY3022"/>
                </a:cxn>
                <a:cxn ang="0">
                  <a:pos x="connsiteX3023" y="connsiteY3023"/>
                </a:cxn>
                <a:cxn ang="0">
                  <a:pos x="connsiteX3024" y="connsiteY3024"/>
                </a:cxn>
                <a:cxn ang="0">
                  <a:pos x="connsiteX3025" y="connsiteY3025"/>
                </a:cxn>
                <a:cxn ang="0">
                  <a:pos x="connsiteX3026" y="connsiteY3026"/>
                </a:cxn>
                <a:cxn ang="0">
                  <a:pos x="connsiteX3027" y="connsiteY3027"/>
                </a:cxn>
                <a:cxn ang="0">
                  <a:pos x="connsiteX3028" y="connsiteY3028"/>
                </a:cxn>
                <a:cxn ang="0">
                  <a:pos x="connsiteX3029" y="connsiteY3029"/>
                </a:cxn>
                <a:cxn ang="0">
                  <a:pos x="connsiteX3030" y="connsiteY3030"/>
                </a:cxn>
                <a:cxn ang="0">
                  <a:pos x="connsiteX3031" y="connsiteY3031"/>
                </a:cxn>
                <a:cxn ang="0">
                  <a:pos x="connsiteX3032" y="connsiteY3032"/>
                </a:cxn>
                <a:cxn ang="0">
                  <a:pos x="connsiteX3033" y="connsiteY3033"/>
                </a:cxn>
                <a:cxn ang="0">
                  <a:pos x="connsiteX3034" y="connsiteY3034"/>
                </a:cxn>
                <a:cxn ang="0">
                  <a:pos x="connsiteX3035" y="connsiteY3035"/>
                </a:cxn>
                <a:cxn ang="0">
                  <a:pos x="connsiteX3036" y="connsiteY3036"/>
                </a:cxn>
                <a:cxn ang="0">
                  <a:pos x="connsiteX3037" y="connsiteY3037"/>
                </a:cxn>
                <a:cxn ang="0">
                  <a:pos x="connsiteX3038" y="connsiteY3038"/>
                </a:cxn>
                <a:cxn ang="0">
                  <a:pos x="connsiteX3039" y="connsiteY3039"/>
                </a:cxn>
                <a:cxn ang="0">
                  <a:pos x="connsiteX3040" y="connsiteY3040"/>
                </a:cxn>
                <a:cxn ang="0">
                  <a:pos x="connsiteX3041" y="connsiteY3041"/>
                </a:cxn>
                <a:cxn ang="0">
                  <a:pos x="connsiteX3042" y="connsiteY3042"/>
                </a:cxn>
                <a:cxn ang="0">
                  <a:pos x="connsiteX3043" y="connsiteY3043"/>
                </a:cxn>
                <a:cxn ang="0">
                  <a:pos x="connsiteX3044" y="connsiteY3044"/>
                </a:cxn>
                <a:cxn ang="0">
                  <a:pos x="connsiteX3045" y="connsiteY3045"/>
                </a:cxn>
                <a:cxn ang="0">
                  <a:pos x="connsiteX3046" y="connsiteY3046"/>
                </a:cxn>
                <a:cxn ang="0">
                  <a:pos x="connsiteX3047" y="connsiteY3047"/>
                </a:cxn>
                <a:cxn ang="0">
                  <a:pos x="connsiteX3048" y="connsiteY3048"/>
                </a:cxn>
                <a:cxn ang="0">
                  <a:pos x="connsiteX3049" y="connsiteY3049"/>
                </a:cxn>
                <a:cxn ang="0">
                  <a:pos x="connsiteX3050" y="connsiteY3050"/>
                </a:cxn>
                <a:cxn ang="0">
                  <a:pos x="connsiteX3051" y="connsiteY3051"/>
                </a:cxn>
                <a:cxn ang="0">
                  <a:pos x="connsiteX3052" y="connsiteY3052"/>
                </a:cxn>
                <a:cxn ang="0">
                  <a:pos x="connsiteX3053" y="connsiteY3053"/>
                </a:cxn>
                <a:cxn ang="0">
                  <a:pos x="connsiteX3054" y="connsiteY3054"/>
                </a:cxn>
                <a:cxn ang="0">
                  <a:pos x="connsiteX3055" y="connsiteY3055"/>
                </a:cxn>
                <a:cxn ang="0">
                  <a:pos x="connsiteX3056" y="connsiteY3056"/>
                </a:cxn>
                <a:cxn ang="0">
                  <a:pos x="connsiteX3057" y="connsiteY3057"/>
                </a:cxn>
                <a:cxn ang="0">
                  <a:pos x="connsiteX3058" y="connsiteY3058"/>
                </a:cxn>
                <a:cxn ang="0">
                  <a:pos x="connsiteX3059" y="connsiteY3059"/>
                </a:cxn>
                <a:cxn ang="0">
                  <a:pos x="connsiteX3060" y="connsiteY3060"/>
                </a:cxn>
                <a:cxn ang="0">
                  <a:pos x="connsiteX3061" y="connsiteY3061"/>
                </a:cxn>
                <a:cxn ang="0">
                  <a:pos x="connsiteX3062" y="connsiteY3062"/>
                </a:cxn>
                <a:cxn ang="0">
                  <a:pos x="connsiteX3063" y="connsiteY3063"/>
                </a:cxn>
                <a:cxn ang="0">
                  <a:pos x="connsiteX3064" y="connsiteY3064"/>
                </a:cxn>
                <a:cxn ang="0">
                  <a:pos x="connsiteX3065" y="connsiteY3065"/>
                </a:cxn>
                <a:cxn ang="0">
                  <a:pos x="connsiteX3066" y="connsiteY3066"/>
                </a:cxn>
                <a:cxn ang="0">
                  <a:pos x="connsiteX3067" y="connsiteY3067"/>
                </a:cxn>
                <a:cxn ang="0">
                  <a:pos x="connsiteX3068" y="connsiteY3068"/>
                </a:cxn>
                <a:cxn ang="0">
                  <a:pos x="connsiteX3069" y="connsiteY3069"/>
                </a:cxn>
                <a:cxn ang="0">
                  <a:pos x="connsiteX3070" y="connsiteY3070"/>
                </a:cxn>
                <a:cxn ang="0">
                  <a:pos x="connsiteX3071" y="connsiteY3071"/>
                </a:cxn>
                <a:cxn ang="0">
                  <a:pos x="connsiteX3072" y="connsiteY3072"/>
                </a:cxn>
                <a:cxn ang="0">
                  <a:pos x="connsiteX3073" y="connsiteY3073"/>
                </a:cxn>
                <a:cxn ang="0">
                  <a:pos x="connsiteX3074" y="connsiteY3074"/>
                </a:cxn>
                <a:cxn ang="0">
                  <a:pos x="connsiteX3075" y="connsiteY3075"/>
                </a:cxn>
                <a:cxn ang="0">
                  <a:pos x="connsiteX3076" y="connsiteY3076"/>
                </a:cxn>
                <a:cxn ang="0">
                  <a:pos x="connsiteX3077" y="connsiteY3077"/>
                </a:cxn>
                <a:cxn ang="0">
                  <a:pos x="connsiteX3078" y="connsiteY3078"/>
                </a:cxn>
                <a:cxn ang="0">
                  <a:pos x="connsiteX3079" y="connsiteY3079"/>
                </a:cxn>
                <a:cxn ang="0">
                  <a:pos x="connsiteX3080" y="connsiteY3080"/>
                </a:cxn>
                <a:cxn ang="0">
                  <a:pos x="connsiteX3081" y="connsiteY3081"/>
                </a:cxn>
                <a:cxn ang="0">
                  <a:pos x="connsiteX3082" y="connsiteY3082"/>
                </a:cxn>
                <a:cxn ang="0">
                  <a:pos x="connsiteX3083" y="connsiteY3083"/>
                </a:cxn>
                <a:cxn ang="0">
                  <a:pos x="connsiteX3084" y="connsiteY3084"/>
                </a:cxn>
                <a:cxn ang="0">
                  <a:pos x="connsiteX3085" y="connsiteY3085"/>
                </a:cxn>
                <a:cxn ang="0">
                  <a:pos x="connsiteX3086" y="connsiteY3086"/>
                </a:cxn>
                <a:cxn ang="0">
                  <a:pos x="connsiteX3087" y="connsiteY3087"/>
                </a:cxn>
                <a:cxn ang="0">
                  <a:pos x="connsiteX3088" y="connsiteY3088"/>
                </a:cxn>
                <a:cxn ang="0">
                  <a:pos x="connsiteX3089" y="connsiteY3089"/>
                </a:cxn>
                <a:cxn ang="0">
                  <a:pos x="connsiteX3090" y="connsiteY3090"/>
                </a:cxn>
                <a:cxn ang="0">
                  <a:pos x="connsiteX3091" y="connsiteY3091"/>
                </a:cxn>
                <a:cxn ang="0">
                  <a:pos x="connsiteX3092" y="connsiteY3092"/>
                </a:cxn>
                <a:cxn ang="0">
                  <a:pos x="connsiteX3093" y="connsiteY3093"/>
                </a:cxn>
                <a:cxn ang="0">
                  <a:pos x="connsiteX3094" y="connsiteY3094"/>
                </a:cxn>
                <a:cxn ang="0">
                  <a:pos x="connsiteX3095" y="connsiteY3095"/>
                </a:cxn>
                <a:cxn ang="0">
                  <a:pos x="connsiteX3096" y="connsiteY3096"/>
                </a:cxn>
                <a:cxn ang="0">
                  <a:pos x="connsiteX3097" y="connsiteY3097"/>
                </a:cxn>
                <a:cxn ang="0">
                  <a:pos x="connsiteX3098" y="connsiteY3098"/>
                </a:cxn>
                <a:cxn ang="0">
                  <a:pos x="connsiteX3099" y="connsiteY3099"/>
                </a:cxn>
                <a:cxn ang="0">
                  <a:pos x="connsiteX3100" y="connsiteY3100"/>
                </a:cxn>
                <a:cxn ang="0">
                  <a:pos x="connsiteX3101" y="connsiteY3101"/>
                </a:cxn>
                <a:cxn ang="0">
                  <a:pos x="connsiteX3102" y="connsiteY3102"/>
                </a:cxn>
                <a:cxn ang="0">
                  <a:pos x="connsiteX3103" y="connsiteY3103"/>
                </a:cxn>
                <a:cxn ang="0">
                  <a:pos x="connsiteX3104" y="connsiteY3104"/>
                </a:cxn>
                <a:cxn ang="0">
                  <a:pos x="connsiteX3105" y="connsiteY3105"/>
                </a:cxn>
                <a:cxn ang="0">
                  <a:pos x="connsiteX3106" y="connsiteY3106"/>
                </a:cxn>
                <a:cxn ang="0">
                  <a:pos x="connsiteX3107" y="connsiteY3107"/>
                </a:cxn>
                <a:cxn ang="0">
                  <a:pos x="connsiteX3108" y="connsiteY3108"/>
                </a:cxn>
                <a:cxn ang="0">
                  <a:pos x="connsiteX3109" y="connsiteY3109"/>
                </a:cxn>
                <a:cxn ang="0">
                  <a:pos x="connsiteX3110" y="connsiteY3110"/>
                </a:cxn>
                <a:cxn ang="0">
                  <a:pos x="connsiteX3111" y="connsiteY3111"/>
                </a:cxn>
                <a:cxn ang="0">
                  <a:pos x="connsiteX3112" y="connsiteY3112"/>
                </a:cxn>
                <a:cxn ang="0">
                  <a:pos x="connsiteX3113" y="connsiteY3113"/>
                </a:cxn>
                <a:cxn ang="0">
                  <a:pos x="connsiteX3114" y="connsiteY3114"/>
                </a:cxn>
                <a:cxn ang="0">
                  <a:pos x="connsiteX3115" y="connsiteY3115"/>
                </a:cxn>
                <a:cxn ang="0">
                  <a:pos x="connsiteX3116" y="connsiteY3116"/>
                </a:cxn>
                <a:cxn ang="0">
                  <a:pos x="connsiteX3117" y="connsiteY3117"/>
                </a:cxn>
                <a:cxn ang="0">
                  <a:pos x="connsiteX3118" y="connsiteY3118"/>
                </a:cxn>
                <a:cxn ang="0">
                  <a:pos x="connsiteX3119" y="connsiteY3119"/>
                </a:cxn>
                <a:cxn ang="0">
                  <a:pos x="connsiteX3120" y="connsiteY3120"/>
                </a:cxn>
                <a:cxn ang="0">
                  <a:pos x="connsiteX3121" y="connsiteY3121"/>
                </a:cxn>
                <a:cxn ang="0">
                  <a:pos x="connsiteX3122" y="connsiteY3122"/>
                </a:cxn>
                <a:cxn ang="0">
                  <a:pos x="connsiteX3123" y="connsiteY3123"/>
                </a:cxn>
                <a:cxn ang="0">
                  <a:pos x="connsiteX3124" y="connsiteY3124"/>
                </a:cxn>
                <a:cxn ang="0">
                  <a:pos x="connsiteX3125" y="connsiteY3125"/>
                </a:cxn>
                <a:cxn ang="0">
                  <a:pos x="connsiteX3126" y="connsiteY3126"/>
                </a:cxn>
                <a:cxn ang="0">
                  <a:pos x="connsiteX3127" y="connsiteY3127"/>
                </a:cxn>
                <a:cxn ang="0">
                  <a:pos x="connsiteX3128" y="connsiteY3128"/>
                </a:cxn>
                <a:cxn ang="0">
                  <a:pos x="connsiteX3129" y="connsiteY3129"/>
                </a:cxn>
                <a:cxn ang="0">
                  <a:pos x="connsiteX3130" y="connsiteY3130"/>
                </a:cxn>
                <a:cxn ang="0">
                  <a:pos x="connsiteX3131" y="connsiteY3131"/>
                </a:cxn>
                <a:cxn ang="0">
                  <a:pos x="connsiteX3132" y="connsiteY3132"/>
                </a:cxn>
                <a:cxn ang="0">
                  <a:pos x="connsiteX3133" y="connsiteY3133"/>
                </a:cxn>
                <a:cxn ang="0">
                  <a:pos x="connsiteX3134" y="connsiteY3134"/>
                </a:cxn>
                <a:cxn ang="0">
                  <a:pos x="connsiteX3135" y="connsiteY3135"/>
                </a:cxn>
                <a:cxn ang="0">
                  <a:pos x="connsiteX3136" y="connsiteY3136"/>
                </a:cxn>
                <a:cxn ang="0">
                  <a:pos x="connsiteX3137" y="connsiteY3137"/>
                </a:cxn>
                <a:cxn ang="0">
                  <a:pos x="connsiteX3138" y="connsiteY3138"/>
                </a:cxn>
                <a:cxn ang="0">
                  <a:pos x="connsiteX3139" y="connsiteY3139"/>
                </a:cxn>
                <a:cxn ang="0">
                  <a:pos x="connsiteX3140" y="connsiteY3140"/>
                </a:cxn>
                <a:cxn ang="0">
                  <a:pos x="connsiteX3141" y="connsiteY3141"/>
                </a:cxn>
                <a:cxn ang="0">
                  <a:pos x="connsiteX3142" y="connsiteY3142"/>
                </a:cxn>
                <a:cxn ang="0">
                  <a:pos x="connsiteX3143" y="connsiteY3143"/>
                </a:cxn>
                <a:cxn ang="0">
                  <a:pos x="connsiteX3144" y="connsiteY3144"/>
                </a:cxn>
                <a:cxn ang="0">
                  <a:pos x="connsiteX3145" y="connsiteY3145"/>
                </a:cxn>
                <a:cxn ang="0">
                  <a:pos x="connsiteX3146" y="connsiteY3146"/>
                </a:cxn>
                <a:cxn ang="0">
                  <a:pos x="connsiteX3147" y="connsiteY3147"/>
                </a:cxn>
                <a:cxn ang="0">
                  <a:pos x="connsiteX3148" y="connsiteY3148"/>
                </a:cxn>
                <a:cxn ang="0">
                  <a:pos x="connsiteX3149" y="connsiteY3149"/>
                </a:cxn>
                <a:cxn ang="0">
                  <a:pos x="connsiteX3150" y="connsiteY3150"/>
                </a:cxn>
                <a:cxn ang="0">
                  <a:pos x="connsiteX3151" y="connsiteY3151"/>
                </a:cxn>
                <a:cxn ang="0">
                  <a:pos x="connsiteX3152" y="connsiteY3152"/>
                </a:cxn>
                <a:cxn ang="0">
                  <a:pos x="connsiteX3153" y="connsiteY3153"/>
                </a:cxn>
                <a:cxn ang="0">
                  <a:pos x="connsiteX3154" y="connsiteY3154"/>
                </a:cxn>
                <a:cxn ang="0">
                  <a:pos x="connsiteX3155" y="connsiteY3155"/>
                </a:cxn>
                <a:cxn ang="0">
                  <a:pos x="connsiteX3156" y="connsiteY3156"/>
                </a:cxn>
                <a:cxn ang="0">
                  <a:pos x="connsiteX3157" y="connsiteY3157"/>
                </a:cxn>
                <a:cxn ang="0">
                  <a:pos x="connsiteX3158" y="connsiteY3158"/>
                </a:cxn>
                <a:cxn ang="0">
                  <a:pos x="connsiteX3159" y="connsiteY3159"/>
                </a:cxn>
                <a:cxn ang="0">
                  <a:pos x="connsiteX3160" y="connsiteY3160"/>
                </a:cxn>
                <a:cxn ang="0">
                  <a:pos x="connsiteX3161" y="connsiteY3161"/>
                </a:cxn>
                <a:cxn ang="0">
                  <a:pos x="connsiteX3162" y="connsiteY3162"/>
                </a:cxn>
                <a:cxn ang="0">
                  <a:pos x="connsiteX3163" y="connsiteY3163"/>
                </a:cxn>
                <a:cxn ang="0">
                  <a:pos x="connsiteX3164" y="connsiteY3164"/>
                </a:cxn>
                <a:cxn ang="0">
                  <a:pos x="connsiteX3165" y="connsiteY3165"/>
                </a:cxn>
                <a:cxn ang="0">
                  <a:pos x="connsiteX3166" y="connsiteY3166"/>
                </a:cxn>
                <a:cxn ang="0">
                  <a:pos x="connsiteX3167" y="connsiteY3167"/>
                </a:cxn>
                <a:cxn ang="0">
                  <a:pos x="connsiteX3168" y="connsiteY3168"/>
                </a:cxn>
                <a:cxn ang="0">
                  <a:pos x="connsiteX3169" y="connsiteY3169"/>
                </a:cxn>
                <a:cxn ang="0">
                  <a:pos x="connsiteX3170" y="connsiteY3170"/>
                </a:cxn>
                <a:cxn ang="0">
                  <a:pos x="connsiteX3171" y="connsiteY3171"/>
                </a:cxn>
                <a:cxn ang="0">
                  <a:pos x="connsiteX3172" y="connsiteY3172"/>
                </a:cxn>
                <a:cxn ang="0">
                  <a:pos x="connsiteX3173" y="connsiteY3173"/>
                </a:cxn>
                <a:cxn ang="0">
                  <a:pos x="connsiteX3174" y="connsiteY3174"/>
                </a:cxn>
                <a:cxn ang="0">
                  <a:pos x="connsiteX3175" y="connsiteY3175"/>
                </a:cxn>
                <a:cxn ang="0">
                  <a:pos x="connsiteX3176" y="connsiteY3176"/>
                </a:cxn>
                <a:cxn ang="0">
                  <a:pos x="connsiteX3177" y="connsiteY3177"/>
                </a:cxn>
                <a:cxn ang="0">
                  <a:pos x="connsiteX3178" y="connsiteY3178"/>
                </a:cxn>
                <a:cxn ang="0">
                  <a:pos x="connsiteX3179" y="connsiteY3179"/>
                </a:cxn>
                <a:cxn ang="0">
                  <a:pos x="connsiteX3180" y="connsiteY3180"/>
                </a:cxn>
                <a:cxn ang="0">
                  <a:pos x="connsiteX3181" y="connsiteY3181"/>
                </a:cxn>
                <a:cxn ang="0">
                  <a:pos x="connsiteX3182" y="connsiteY3182"/>
                </a:cxn>
                <a:cxn ang="0">
                  <a:pos x="connsiteX3183" y="connsiteY3183"/>
                </a:cxn>
                <a:cxn ang="0">
                  <a:pos x="connsiteX3184" y="connsiteY3184"/>
                </a:cxn>
                <a:cxn ang="0">
                  <a:pos x="connsiteX3185" y="connsiteY3185"/>
                </a:cxn>
                <a:cxn ang="0">
                  <a:pos x="connsiteX3186" y="connsiteY3186"/>
                </a:cxn>
                <a:cxn ang="0">
                  <a:pos x="connsiteX3187" y="connsiteY3187"/>
                </a:cxn>
                <a:cxn ang="0">
                  <a:pos x="connsiteX3188" y="connsiteY3188"/>
                </a:cxn>
                <a:cxn ang="0">
                  <a:pos x="connsiteX3189" y="connsiteY3189"/>
                </a:cxn>
                <a:cxn ang="0">
                  <a:pos x="connsiteX3190" y="connsiteY3190"/>
                </a:cxn>
                <a:cxn ang="0">
                  <a:pos x="connsiteX3191" y="connsiteY3191"/>
                </a:cxn>
                <a:cxn ang="0">
                  <a:pos x="connsiteX3192" y="connsiteY3192"/>
                </a:cxn>
                <a:cxn ang="0">
                  <a:pos x="connsiteX3193" y="connsiteY3193"/>
                </a:cxn>
                <a:cxn ang="0">
                  <a:pos x="connsiteX3194" y="connsiteY3194"/>
                </a:cxn>
                <a:cxn ang="0">
                  <a:pos x="connsiteX3195" y="connsiteY3195"/>
                </a:cxn>
                <a:cxn ang="0">
                  <a:pos x="connsiteX3196" y="connsiteY3196"/>
                </a:cxn>
                <a:cxn ang="0">
                  <a:pos x="connsiteX3197" y="connsiteY3197"/>
                </a:cxn>
                <a:cxn ang="0">
                  <a:pos x="connsiteX3198" y="connsiteY3198"/>
                </a:cxn>
                <a:cxn ang="0">
                  <a:pos x="connsiteX3199" y="connsiteY3199"/>
                </a:cxn>
                <a:cxn ang="0">
                  <a:pos x="connsiteX3200" y="connsiteY3200"/>
                </a:cxn>
                <a:cxn ang="0">
                  <a:pos x="connsiteX3201" y="connsiteY3201"/>
                </a:cxn>
                <a:cxn ang="0">
                  <a:pos x="connsiteX3202" y="connsiteY3202"/>
                </a:cxn>
                <a:cxn ang="0">
                  <a:pos x="connsiteX3203" y="connsiteY3203"/>
                </a:cxn>
                <a:cxn ang="0">
                  <a:pos x="connsiteX3204" y="connsiteY3204"/>
                </a:cxn>
                <a:cxn ang="0">
                  <a:pos x="connsiteX3205" y="connsiteY3205"/>
                </a:cxn>
                <a:cxn ang="0">
                  <a:pos x="connsiteX3206" y="connsiteY3206"/>
                </a:cxn>
                <a:cxn ang="0">
                  <a:pos x="connsiteX3207" y="connsiteY3207"/>
                </a:cxn>
                <a:cxn ang="0">
                  <a:pos x="connsiteX3208" y="connsiteY3208"/>
                </a:cxn>
                <a:cxn ang="0">
                  <a:pos x="connsiteX3209" y="connsiteY3209"/>
                </a:cxn>
                <a:cxn ang="0">
                  <a:pos x="connsiteX3210" y="connsiteY3210"/>
                </a:cxn>
                <a:cxn ang="0">
                  <a:pos x="connsiteX3211" y="connsiteY3211"/>
                </a:cxn>
                <a:cxn ang="0">
                  <a:pos x="connsiteX3212" y="connsiteY3212"/>
                </a:cxn>
                <a:cxn ang="0">
                  <a:pos x="connsiteX3213" y="connsiteY3213"/>
                </a:cxn>
                <a:cxn ang="0">
                  <a:pos x="connsiteX3214" y="connsiteY3214"/>
                </a:cxn>
                <a:cxn ang="0">
                  <a:pos x="connsiteX3215" y="connsiteY3215"/>
                </a:cxn>
                <a:cxn ang="0">
                  <a:pos x="connsiteX3216" y="connsiteY3216"/>
                </a:cxn>
                <a:cxn ang="0">
                  <a:pos x="connsiteX3217" y="connsiteY3217"/>
                </a:cxn>
                <a:cxn ang="0">
                  <a:pos x="connsiteX3218" y="connsiteY3218"/>
                </a:cxn>
                <a:cxn ang="0">
                  <a:pos x="connsiteX3219" y="connsiteY3219"/>
                </a:cxn>
                <a:cxn ang="0">
                  <a:pos x="connsiteX3220" y="connsiteY3220"/>
                </a:cxn>
                <a:cxn ang="0">
                  <a:pos x="connsiteX3221" y="connsiteY3221"/>
                </a:cxn>
                <a:cxn ang="0">
                  <a:pos x="connsiteX3222" y="connsiteY3222"/>
                </a:cxn>
                <a:cxn ang="0">
                  <a:pos x="connsiteX3223" y="connsiteY3223"/>
                </a:cxn>
                <a:cxn ang="0">
                  <a:pos x="connsiteX3224" y="connsiteY3224"/>
                </a:cxn>
                <a:cxn ang="0">
                  <a:pos x="connsiteX3225" y="connsiteY3225"/>
                </a:cxn>
                <a:cxn ang="0">
                  <a:pos x="connsiteX3226" y="connsiteY3226"/>
                </a:cxn>
                <a:cxn ang="0">
                  <a:pos x="connsiteX3227" y="connsiteY3227"/>
                </a:cxn>
                <a:cxn ang="0">
                  <a:pos x="connsiteX3228" y="connsiteY3228"/>
                </a:cxn>
                <a:cxn ang="0">
                  <a:pos x="connsiteX3229" y="connsiteY3229"/>
                </a:cxn>
                <a:cxn ang="0">
                  <a:pos x="connsiteX3230" y="connsiteY3230"/>
                </a:cxn>
                <a:cxn ang="0">
                  <a:pos x="connsiteX3231" y="connsiteY3231"/>
                </a:cxn>
                <a:cxn ang="0">
                  <a:pos x="connsiteX3232" y="connsiteY3232"/>
                </a:cxn>
                <a:cxn ang="0">
                  <a:pos x="connsiteX3233" y="connsiteY3233"/>
                </a:cxn>
                <a:cxn ang="0">
                  <a:pos x="connsiteX3234" y="connsiteY3234"/>
                </a:cxn>
                <a:cxn ang="0">
                  <a:pos x="connsiteX3235" y="connsiteY3235"/>
                </a:cxn>
                <a:cxn ang="0">
                  <a:pos x="connsiteX3236" y="connsiteY3236"/>
                </a:cxn>
                <a:cxn ang="0">
                  <a:pos x="connsiteX3237" y="connsiteY3237"/>
                </a:cxn>
                <a:cxn ang="0">
                  <a:pos x="connsiteX3238" y="connsiteY3238"/>
                </a:cxn>
                <a:cxn ang="0">
                  <a:pos x="connsiteX3239" y="connsiteY3239"/>
                </a:cxn>
                <a:cxn ang="0">
                  <a:pos x="connsiteX3240" y="connsiteY3240"/>
                </a:cxn>
                <a:cxn ang="0">
                  <a:pos x="connsiteX3241" y="connsiteY3241"/>
                </a:cxn>
                <a:cxn ang="0">
                  <a:pos x="connsiteX3242" y="connsiteY3242"/>
                </a:cxn>
                <a:cxn ang="0">
                  <a:pos x="connsiteX3243" y="connsiteY3243"/>
                </a:cxn>
                <a:cxn ang="0">
                  <a:pos x="connsiteX3244" y="connsiteY3244"/>
                </a:cxn>
                <a:cxn ang="0">
                  <a:pos x="connsiteX3245" y="connsiteY3245"/>
                </a:cxn>
                <a:cxn ang="0">
                  <a:pos x="connsiteX3246" y="connsiteY3246"/>
                </a:cxn>
                <a:cxn ang="0">
                  <a:pos x="connsiteX3247" y="connsiteY3247"/>
                </a:cxn>
                <a:cxn ang="0">
                  <a:pos x="connsiteX3248" y="connsiteY3248"/>
                </a:cxn>
                <a:cxn ang="0">
                  <a:pos x="connsiteX3249" y="connsiteY3249"/>
                </a:cxn>
                <a:cxn ang="0">
                  <a:pos x="connsiteX3250" y="connsiteY3250"/>
                </a:cxn>
                <a:cxn ang="0">
                  <a:pos x="connsiteX3251" y="connsiteY3251"/>
                </a:cxn>
                <a:cxn ang="0">
                  <a:pos x="connsiteX3252" y="connsiteY3252"/>
                </a:cxn>
                <a:cxn ang="0">
                  <a:pos x="connsiteX3253" y="connsiteY3253"/>
                </a:cxn>
                <a:cxn ang="0">
                  <a:pos x="connsiteX3254" y="connsiteY3254"/>
                </a:cxn>
                <a:cxn ang="0">
                  <a:pos x="connsiteX3255" y="connsiteY3255"/>
                </a:cxn>
                <a:cxn ang="0">
                  <a:pos x="connsiteX3256" y="connsiteY3256"/>
                </a:cxn>
                <a:cxn ang="0">
                  <a:pos x="connsiteX3257" y="connsiteY3257"/>
                </a:cxn>
                <a:cxn ang="0">
                  <a:pos x="connsiteX3258" y="connsiteY3258"/>
                </a:cxn>
                <a:cxn ang="0">
                  <a:pos x="connsiteX3259" y="connsiteY3259"/>
                </a:cxn>
                <a:cxn ang="0">
                  <a:pos x="connsiteX3260" y="connsiteY3260"/>
                </a:cxn>
                <a:cxn ang="0">
                  <a:pos x="connsiteX3261" y="connsiteY3261"/>
                </a:cxn>
                <a:cxn ang="0">
                  <a:pos x="connsiteX3262" y="connsiteY3262"/>
                </a:cxn>
                <a:cxn ang="0">
                  <a:pos x="connsiteX3263" y="connsiteY3263"/>
                </a:cxn>
                <a:cxn ang="0">
                  <a:pos x="connsiteX3264" y="connsiteY3264"/>
                </a:cxn>
                <a:cxn ang="0">
                  <a:pos x="connsiteX3265" y="connsiteY3265"/>
                </a:cxn>
                <a:cxn ang="0">
                  <a:pos x="connsiteX3266" y="connsiteY3266"/>
                </a:cxn>
                <a:cxn ang="0">
                  <a:pos x="connsiteX3267" y="connsiteY3267"/>
                </a:cxn>
                <a:cxn ang="0">
                  <a:pos x="connsiteX3268" y="connsiteY3268"/>
                </a:cxn>
                <a:cxn ang="0">
                  <a:pos x="connsiteX3269" y="connsiteY3269"/>
                </a:cxn>
                <a:cxn ang="0">
                  <a:pos x="connsiteX3270" y="connsiteY3270"/>
                </a:cxn>
                <a:cxn ang="0">
                  <a:pos x="connsiteX3271" y="connsiteY3271"/>
                </a:cxn>
                <a:cxn ang="0">
                  <a:pos x="connsiteX3272" y="connsiteY3272"/>
                </a:cxn>
                <a:cxn ang="0">
                  <a:pos x="connsiteX3273" y="connsiteY3273"/>
                </a:cxn>
                <a:cxn ang="0">
                  <a:pos x="connsiteX3274" y="connsiteY3274"/>
                </a:cxn>
                <a:cxn ang="0">
                  <a:pos x="connsiteX3275" y="connsiteY3275"/>
                </a:cxn>
                <a:cxn ang="0">
                  <a:pos x="connsiteX3276" y="connsiteY3276"/>
                </a:cxn>
                <a:cxn ang="0">
                  <a:pos x="connsiteX3277" y="connsiteY3277"/>
                </a:cxn>
                <a:cxn ang="0">
                  <a:pos x="connsiteX3278" y="connsiteY3278"/>
                </a:cxn>
                <a:cxn ang="0">
                  <a:pos x="connsiteX3279" y="connsiteY3279"/>
                </a:cxn>
                <a:cxn ang="0">
                  <a:pos x="connsiteX3280" y="connsiteY3280"/>
                </a:cxn>
                <a:cxn ang="0">
                  <a:pos x="connsiteX3281" y="connsiteY3281"/>
                </a:cxn>
                <a:cxn ang="0">
                  <a:pos x="connsiteX3282" y="connsiteY3282"/>
                </a:cxn>
                <a:cxn ang="0">
                  <a:pos x="connsiteX3283" y="connsiteY3283"/>
                </a:cxn>
                <a:cxn ang="0">
                  <a:pos x="connsiteX3284" y="connsiteY3284"/>
                </a:cxn>
                <a:cxn ang="0">
                  <a:pos x="connsiteX3285" y="connsiteY3285"/>
                </a:cxn>
                <a:cxn ang="0">
                  <a:pos x="connsiteX3286" y="connsiteY3286"/>
                </a:cxn>
                <a:cxn ang="0">
                  <a:pos x="connsiteX3287" y="connsiteY3287"/>
                </a:cxn>
                <a:cxn ang="0">
                  <a:pos x="connsiteX3288" y="connsiteY3288"/>
                </a:cxn>
                <a:cxn ang="0">
                  <a:pos x="connsiteX3289" y="connsiteY3289"/>
                </a:cxn>
                <a:cxn ang="0">
                  <a:pos x="connsiteX3290" y="connsiteY3290"/>
                </a:cxn>
                <a:cxn ang="0">
                  <a:pos x="connsiteX3291" y="connsiteY3291"/>
                </a:cxn>
                <a:cxn ang="0">
                  <a:pos x="connsiteX3292" y="connsiteY3292"/>
                </a:cxn>
                <a:cxn ang="0">
                  <a:pos x="connsiteX3293" y="connsiteY3293"/>
                </a:cxn>
                <a:cxn ang="0">
                  <a:pos x="connsiteX3294" y="connsiteY3294"/>
                </a:cxn>
                <a:cxn ang="0">
                  <a:pos x="connsiteX3295" y="connsiteY3295"/>
                </a:cxn>
                <a:cxn ang="0">
                  <a:pos x="connsiteX3296" y="connsiteY3296"/>
                </a:cxn>
                <a:cxn ang="0">
                  <a:pos x="connsiteX3297" y="connsiteY3297"/>
                </a:cxn>
                <a:cxn ang="0">
                  <a:pos x="connsiteX3298" y="connsiteY3298"/>
                </a:cxn>
                <a:cxn ang="0">
                  <a:pos x="connsiteX3299" y="connsiteY3299"/>
                </a:cxn>
                <a:cxn ang="0">
                  <a:pos x="connsiteX3300" y="connsiteY3300"/>
                </a:cxn>
                <a:cxn ang="0">
                  <a:pos x="connsiteX3301" y="connsiteY3301"/>
                </a:cxn>
                <a:cxn ang="0">
                  <a:pos x="connsiteX3302" y="connsiteY3302"/>
                </a:cxn>
                <a:cxn ang="0">
                  <a:pos x="connsiteX3303" y="connsiteY3303"/>
                </a:cxn>
                <a:cxn ang="0">
                  <a:pos x="connsiteX3304" y="connsiteY3304"/>
                </a:cxn>
                <a:cxn ang="0">
                  <a:pos x="connsiteX3305" y="connsiteY3305"/>
                </a:cxn>
                <a:cxn ang="0">
                  <a:pos x="connsiteX3306" y="connsiteY3306"/>
                </a:cxn>
                <a:cxn ang="0">
                  <a:pos x="connsiteX3307" y="connsiteY3307"/>
                </a:cxn>
                <a:cxn ang="0">
                  <a:pos x="connsiteX3308" y="connsiteY3308"/>
                </a:cxn>
                <a:cxn ang="0">
                  <a:pos x="connsiteX3309" y="connsiteY3309"/>
                </a:cxn>
                <a:cxn ang="0">
                  <a:pos x="connsiteX3310" y="connsiteY3310"/>
                </a:cxn>
                <a:cxn ang="0">
                  <a:pos x="connsiteX3311" y="connsiteY3311"/>
                </a:cxn>
                <a:cxn ang="0">
                  <a:pos x="connsiteX3312" y="connsiteY3312"/>
                </a:cxn>
                <a:cxn ang="0">
                  <a:pos x="connsiteX3313" y="connsiteY3313"/>
                </a:cxn>
                <a:cxn ang="0">
                  <a:pos x="connsiteX3314" y="connsiteY3314"/>
                </a:cxn>
                <a:cxn ang="0">
                  <a:pos x="connsiteX3315" y="connsiteY3315"/>
                </a:cxn>
                <a:cxn ang="0">
                  <a:pos x="connsiteX3316" y="connsiteY3316"/>
                </a:cxn>
                <a:cxn ang="0">
                  <a:pos x="connsiteX3317" y="connsiteY3317"/>
                </a:cxn>
                <a:cxn ang="0">
                  <a:pos x="connsiteX3318" y="connsiteY3318"/>
                </a:cxn>
                <a:cxn ang="0">
                  <a:pos x="connsiteX3319" y="connsiteY3319"/>
                </a:cxn>
                <a:cxn ang="0">
                  <a:pos x="connsiteX3320" y="connsiteY3320"/>
                </a:cxn>
                <a:cxn ang="0">
                  <a:pos x="connsiteX3321" y="connsiteY3321"/>
                </a:cxn>
                <a:cxn ang="0">
                  <a:pos x="connsiteX3322" y="connsiteY3322"/>
                </a:cxn>
                <a:cxn ang="0">
                  <a:pos x="connsiteX3323" y="connsiteY3323"/>
                </a:cxn>
                <a:cxn ang="0">
                  <a:pos x="connsiteX3324" y="connsiteY3324"/>
                </a:cxn>
                <a:cxn ang="0">
                  <a:pos x="connsiteX3325" y="connsiteY3325"/>
                </a:cxn>
                <a:cxn ang="0">
                  <a:pos x="connsiteX3326" y="connsiteY3326"/>
                </a:cxn>
                <a:cxn ang="0">
                  <a:pos x="connsiteX3327" y="connsiteY3327"/>
                </a:cxn>
                <a:cxn ang="0">
                  <a:pos x="connsiteX3328" y="connsiteY3328"/>
                </a:cxn>
                <a:cxn ang="0">
                  <a:pos x="connsiteX3329" y="connsiteY3329"/>
                </a:cxn>
                <a:cxn ang="0">
                  <a:pos x="connsiteX3330" y="connsiteY3330"/>
                </a:cxn>
                <a:cxn ang="0">
                  <a:pos x="connsiteX3331" y="connsiteY3331"/>
                </a:cxn>
                <a:cxn ang="0">
                  <a:pos x="connsiteX3332" y="connsiteY3332"/>
                </a:cxn>
                <a:cxn ang="0">
                  <a:pos x="connsiteX3333" y="connsiteY3333"/>
                </a:cxn>
                <a:cxn ang="0">
                  <a:pos x="connsiteX3334" y="connsiteY3334"/>
                </a:cxn>
                <a:cxn ang="0">
                  <a:pos x="connsiteX3335" y="connsiteY3335"/>
                </a:cxn>
                <a:cxn ang="0">
                  <a:pos x="connsiteX3336" y="connsiteY3336"/>
                </a:cxn>
                <a:cxn ang="0">
                  <a:pos x="connsiteX3337" y="connsiteY3337"/>
                </a:cxn>
                <a:cxn ang="0">
                  <a:pos x="connsiteX3338" y="connsiteY3338"/>
                </a:cxn>
                <a:cxn ang="0">
                  <a:pos x="connsiteX3339" y="connsiteY3339"/>
                </a:cxn>
                <a:cxn ang="0">
                  <a:pos x="connsiteX3340" y="connsiteY3340"/>
                </a:cxn>
                <a:cxn ang="0">
                  <a:pos x="connsiteX3341" y="connsiteY3341"/>
                </a:cxn>
                <a:cxn ang="0">
                  <a:pos x="connsiteX3342" y="connsiteY3342"/>
                </a:cxn>
                <a:cxn ang="0">
                  <a:pos x="connsiteX3343" y="connsiteY3343"/>
                </a:cxn>
                <a:cxn ang="0">
                  <a:pos x="connsiteX3344" y="connsiteY3344"/>
                </a:cxn>
                <a:cxn ang="0">
                  <a:pos x="connsiteX3345" y="connsiteY3345"/>
                </a:cxn>
                <a:cxn ang="0">
                  <a:pos x="connsiteX3346" y="connsiteY3346"/>
                </a:cxn>
                <a:cxn ang="0">
                  <a:pos x="connsiteX3347" y="connsiteY3347"/>
                </a:cxn>
                <a:cxn ang="0">
                  <a:pos x="connsiteX3348" y="connsiteY3348"/>
                </a:cxn>
                <a:cxn ang="0">
                  <a:pos x="connsiteX3349" y="connsiteY3349"/>
                </a:cxn>
                <a:cxn ang="0">
                  <a:pos x="connsiteX3350" y="connsiteY3350"/>
                </a:cxn>
                <a:cxn ang="0">
                  <a:pos x="connsiteX3351" y="connsiteY3351"/>
                </a:cxn>
                <a:cxn ang="0">
                  <a:pos x="connsiteX3352" y="connsiteY3352"/>
                </a:cxn>
                <a:cxn ang="0">
                  <a:pos x="connsiteX3353" y="connsiteY3353"/>
                </a:cxn>
                <a:cxn ang="0">
                  <a:pos x="connsiteX3354" y="connsiteY3354"/>
                </a:cxn>
                <a:cxn ang="0">
                  <a:pos x="connsiteX3355" y="connsiteY3355"/>
                </a:cxn>
                <a:cxn ang="0">
                  <a:pos x="connsiteX3356" y="connsiteY3356"/>
                </a:cxn>
                <a:cxn ang="0">
                  <a:pos x="connsiteX3357" y="connsiteY3357"/>
                </a:cxn>
                <a:cxn ang="0">
                  <a:pos x="connsiteX3358" y="connsiteY3358"/>
                </a:cxn>
                <a:cxn ang="0">
                  <a:pos x="connsiteX3359" y="connsiteY3359"/>
                </a:cxn>
                <a:cxn ang="0">
                  <a:pos x="connsiteX3360" y="connsiteY3360"/>
                </a:cxn>
                <a:cxn ang="0">
                  <a:pos x="connsiteX3361" y="connsiteY3361"/>
                </a:cxn>
                <a:cxn ang="0">
                  <a:pos x="connsiteX3362" y="connsiteY3362"/>
                </a:cxn>
                <a:cxn ang="0">
                  <a:pos x="connsiteX3363" y="connsiteY3363"/>
                </a:cxn>
                <a:cxn ang="0">
                  <a:pos x="connsiteX3364" y="connsiteY3364"/>
                </a:cxn>
                <a:cxn ang="0">
                  <a:pos x="connsiteX3365" y="connsiteY3365"/>
                </a:cxn>
                <a:cxn ang="0">
                  <a:pos x="connsiteX3366" y="connsiteY3366"/>
                </a:cxn>
                <a:cxn ang="0">
                  <a:pos x="connsiteX3367" y="connsiteY3367"/>
                </a:cxn>
                <a:cxn ang="0">
                  <a:pos x="connsiteX3368" y="connsiteY3368"/>
                </a:cxn>
                <a:cxn ang="0">
                  <a:pos x="connsiteX3369" y="connsiteY3369"/>
                </a:cxn>
                <a:cxn ang="0">
                  <a:pos x="connsiteX3370" y="connsiteY3370"/>
                </a:cxn>
                <a:cxn ang="0">
                  <a:pos x="connsiteX3371" y="connsiteY3371"/>
                </a:cxn>
                <a:cxn ang="0">
                  <a:pos x="connsiteX3372" y="connsiteY3372"/>
                </a:cxn>
                <a:cxn ang="0">
                  <a:pos x="connsiteX3373" y="connsiteY3373"/>
                </a:cxn>
                <a:cxn ang="0">
                  <a:pos x="connsiteX3374" y="connsiteY3374"/>
                </a:cxn>
                <a:cxn ang="0">
                  <a:pos x="connsiteX3375" y="connsiteY3375"/>
                </a:cxn>
                <a:cxn ang="0">
                  <a:pos x="connsiteX3376" y="connsiteY3376"/>
                </a:cxn>
                <a:cxn ang="0">
                  <a:pos x="connsiteX3377" y="connsiteY3377"/>
                </a:cxn>
                <a:cxn ang="0">
                  <a:pos x="connsiteX3378" y="connsiteY3378"/>
                </a:cxn>
                <a:cxn ang="0">
                  <a:pos x="connsiteX3379" y="connsiteY3379"/>
                </a:cxn>
                <a:cxn ang="0">
                  <a:pos x="connsiteX3380" y="connsiteY3380"/>
                </a:cxn>
                <a:cxn ang="0">
                  <a:pos x="connsiteX3381" y="connsiteY3381"/>
                </a:cxn>
                <a:cxn ang="0">
                  <a:pos x="connsiteX3382" y="connsiteY3382"/>
                </a:cxn>
                <a:cxn ang="0">
                  <a:pos x="connsiteX3383" y="connsiteY3383"/>
                </a:cxn>
                <a:cxn ang="0">
                  <a:pos x="connsiteX3384" y="connsiteY3384"/>
                </a:cxn>
                <a:cxn ang="0">
                  <a:pos x="connsiteX3385" y="connsiteY3385"/>
                </a:cxn>
                <a:cxn ang="0">
                  <a:pos x="connsiteX3386" y="connsiteY3386"/>
                </a:cxn>
                <a:cxn ang="0">
                  <a:pos x="connsiteX3387" y="connsiteY3387"/>
                </a:cxn>
                <a:cxn ang="0">
                  <a:pos x="connsiteX3388" y="connsiteY3388"/>
                </a:cxn>
                <a:cxn ang="0">
                  <a:pos x="connsiteX3389" y="connsiteY3389"/>
                </a:cxn>
                <a:cxn ang="0">
                  <a:pos x="connsiteX3390" y="connsiteY3390"/>
                </a:cxn>
                <a:cxn ang="0">
                  <a:pos x="connsiteX3391" y="connsiteY3391"/>
                </a:cxn>
                <a:cxn ang="0">
                  <a:pos x="connsiteX3392" y="connsiteY3392"/>
                </a:cxn>
                <a:cxn ang="0">
                  <a:pos x="connsiteX3393" y="connsiteY3393"/>
                </a:cxn>
                <a:cxn ang="0">
                  <a:pos x="connsiteX3394" y="connsiteY3394"/>
                </a:cxn>
                <a:cxn ang="0">
                  <a:pos x="connsiteX3395" y="connsiteY3395"/>
                </a:cxn>
                <a:cxn ang="0">
                  <a:pos x="connsiteX3396" y="connsiteY3396"/>
                </a:cxn>
                <a:cxn ang="0">
                  <a:pos x="connsiteX3397" y="connsiteY3397"/>
                </a:cxn>
                <a:cxn ang="0">
                  <a:pos x="connsiteX3398" y="connsiteY3398"/>
                </a:cxn>
                <a:cxn ang="0">
                  <a:pos x="connsiteX3399" y="connsiteY3399"/>
                </a:cxn>
                <a:cxn ang="0">
                  <a:pos x="connsiteX3400" y="connsiteY3400"/>
                </a:cxn>
                <a:cxn ang="0">
                  <a:pos x="connsiteX3401" y="connsiteY3401"/>
                </a:cxn>
                <a:cxn ang="0">
                  <a:pos x="connsiteX3402" y="connsiteY3402"/>
                </a:cxn>
                <a:cxn ang="0">
                  <a:pos x="connsiteX3403" y="connsiteY3403"/>
                </a:cxn>
                <a:cxn ang="0">
                  <a:pos x="connsiteX3404" y="connsiteY3404"/>
                </a:cxn>
                <a:cxn ang="0">
                  <a:pos x="connsiteX3405" y="connsiteY3405"/>
                </a:cxn>
                <a:cxn ang="0">
                  <a:pos x="connsiteX3406" y="connsiteY3406"/>
                </a:cxn>
                <a:cxn ang="0">
                  <a:pos x="connsiteX3407" y="connsiteY3407"/>
                </a:cxn>
                <a:cxn ang="0">
                  <a:pos x="connsiteX3408" y="connsiteY3408"/>
                </a:cxn>
                <a:cxn ang="0">
                  <a:pos x="connsiteX3409" y="connsiteY3409"/>
                </a:cxn>
                <a:cxn ang="0">
                  <a:pos x="connsiteX3410" y="connsiteY3410"/>
                </a:cxn>
                <a:cxn ang="0">
                  <a:pos x="connsiteX3411" y="connsiteY3411"/>
                </a:cxn>
                <a:cxn ang="0">
                  <a:pos x="connsiteX3412" y="connsiteY3412"/>
                </a:cxn>
                <a:cxn ang="0">
                  <a:pos x="connsiteX3413" y="connsiteY3413"/>
                </a:cxn>
                <a:cxn ang="0">
                  <a:pos x="connsiteX3414" y="connsiteY3414"/>
                </a:cxn>
                <a:cxn ang="0">
                  <a:pos x="connsiteX3415" y="connsiteY3415"/>
                </a:cxn>
                <a:cxn ang="0">
                  <a:pos x="connsiteX3416" y="connsiteY3416"/>
                </a:cxn>
                <a:cxn ang="0">
                  <a:pos x="connsiteX3417" y="connsiteY3417"/>
                </a:cxn>
                <a:cxn ang="0">
                  <a:pos x="connsiteX3418" y="connsiteY3418"/>
                </a:cxn>
                <a:cxn ang="0">
                  <a:pos x="connsiteX3419" y="connsiteY3419"/>
                </a:cxn>
                <a:cxn ang="0">
                  <a:pos x="connsiteX3420" y="connsiteY3420"/>
                </a:cxn>
                <a:cxn ang="0">
                  <a:pos x="connsiteX3421" y="connsiteY3421"/>
                </a:cxn>
                <a:cxn ang="0">
                  <a:pos x="connsiteX3422" y="connsiteY3422"/>
                </a:cxn>
                <a:cxn ang="0">
                  <a:pos x="connsiteX3423" y="connsiteY3423"/>
                </a:cxn>
                <a:cxn ang="0">
                  <a:pos x="connsiteX3424" y="connsiteY3424"/>
                </a:cxn>
                <a:cxn ang="0">
                  <a:pos x="connsiteX3425" y="connsiteY3425"/>
                </a:cxn>
                <a:cxn ang="0">
                  <a:pos x="connsiteX3426" y="connsiteY3426"/>
                </a:cxn>
                <a:cxn ang="0">
                  <a:pos x="connsiteX3427" y="connsiteY3427"/>
                </a:cxn>
                <a:cxn ang="0">
                  <a:pos x="connsiteX3428" y="connsiteY3428"/>
                </a:cxn>
                <a:cxn ang="0">
                  <a:pos x="connsiteX3429" y="connsiteY3429"/>
                </a:cxn>
                <a:cxn ang="0">
                  <a:pos x="connsiteX3430" y="connsiteY3430"/>
                </a:cxn>
                <a:cxn ang="0">
                  <a:pos x="connsiteX3431" y="connsiteY3431"/>
                </a:cxn>
                <a:cxn ang="0">
                  <a:pos x="connsiteX3432" y="connsiteY3432"/>
                </a:cxn>
                <a:cxn ang="0">
                  <a:pos x="connsiteX3433" y="connsiteY3433"/>
                </a:cxn>
                <a:cxn ang="0">
                  <a:pos x="connsiteX3434" y="connsiteY3434"/>
                </a:cxn>
                <a:cxn ang="0">
                  <a:pos x="connsiteX3435" y="connsiteY3435"/>
                </a:cxn>
                <a:cxn ang="0">
                  <a:pos x="connsiteX3436" y="connsiteY3436"/>
                </a:cxn>
                <a:cxn ang="0">
                  <a:pos x="connsiteX3437" y="connsiteY3437"/>
                </a:cxn>
                <a:cxn ang="0">
                  <a:pos x="connsiteX3438" y="connsiteY3438"/>
                </a:cxn>
                <a:cxn ang="0">
                  <a:pos x="connsiteX3439" y="connsiteY3439"/>
                </a:cxn>
                <a:cxn ang="0">
                  <a:pos x="connsiteX3440" y="connsiteY3440"/>
                </a:cxn>
                <a:cxn ang="0">
                  <a:pos x="connsiteX3441" y="connsiteY3441"/>
                </a:cxn>
                <a:cxn ang="0">
                  <a:pos x="connsiteX3442" y="connsiteY3442"/>
                </a:cxn>
                <a:cxn ang="0">
                  <a:pos x="connsiteX3443" y="connsiteY3443"/>
                </a:cxn>
                <a:cxn ang="0">
                  <a:pos x="connsiteX3444" y="connsiteY3444"/>
                </a:cxn>
                <a:cxn ang="0">
                  <a:pos x="connsiteX3445" y="connsiteY3445"/>
                </a:cxn>
                <a:cxn ang="0">
                  <a:pos x="connsiteX3446" y="connsiteY3446"/>
                </a:cxn>
                <a:cxn ang="0">
                  <a:pos x="connsiteX3447" y="connsiteY3447"/>
                </a:cxn>
                <a:cxn ang="0">
                  <a:pos x="connsiteX3448" y="connsiteY3448"/>
                </a:cxn>
                <a:cxn ang="0">
                  <a:pos x="connsiteX3449" y="connsiteY3449"/>
                </a:cxn>
                <a:cxn ang="0">
                  <a:pos x="connsiteX3450" y="connsiteY3450"/>
                </a:cxn>
                <a:cxn ang="0">
                  <a:pos x="connsiteX3451" y="connsiteY3451"/>
                </a:cxn>
                <a:cxn ang="0">
                  <a:pos x="connsiteX3452" y="connsiteY3452"/>
                </a:cxn>
                <a:cxn ang="0">
                  <a:pos x="connsiteX3453" y="connsiteY3453"/>
                </a:cxn>
                <a:cxn ang="0">
                  <a:pos x="connsiteX3454" y="connsiteY3454"/>
                </a:cxn>
                <a:cxn ang="0">
                  <a:pos x="connsiteX3455" y="connsiteY3455"/>
                </a:cxn>
                <a:cxn ang="0">
                  <a:pos x="connsiteX3456" y="connsiteY3456"/>
                </a:cxn>
                <a:cxn ang="0">
                  <a:pos x="connsiteX3457" y="connsiteY3457"/>
                </a:cxn>
                <a:cxn ang="0">
                  <a:pos x="connsiteX3458" y="connsiteY3458"/>
                </a:cxn>
                <a:cxn ang="0">
                  <a:pos x="connsiteX3459" y="connsiteY3459"/>
                </a:cxn>
                <a:cxn ang="0">
                  <a:pos x="connsiteX3460" y="connsiteY3460"/>
                </a:cxn>
                <a:cxn ang="0">
                  <a:pos x="connsiteX3461" y="connsiteY3461"/>
                </a:cxn>
                <a:cxn ang="0">
                  <a:pos x="connsiteX3462" y="connsiteY3462"/>
                </a:cxn>
                <a:cxn ang="0">
                  <a:pos x="connsiteX3463" y="connsiteY3463"/>
                </a:cxn>
                <a:cxn ang="0">
                  <a:pos x="connsiteX3464" y="connsiteY3464"/>
                </a:cxn>
                <a:cxn ang="0">
                  <a:pos x="connsiteX3465" y="connsiteY3465"/>
                </a:cxn>
                <a:cxn ang="0">
                  <a:pos x="connsiteX3466" y="connsiteY3466"/>
                </a:cxn>
                <a:cxn ang="0">
                  <a:pos x="connsiteX3467" y="connsiteY3467"/>
                </a:cxn>
                <a:cxn ang="0">
                  <a:pos x="connsiteX3468" y="connsiteY3468"/>
                </a:cxn>
                <a:cxn ang="0">
                  <a:pos x="connsiteX3469" y="connsiteY3469"/>
                </a:cxn>
                <a:cxn ang="0">
                  <a:pos x="connsiteX3470" y="connsiteY3470"/>
                </a:cxn>
                <a:cxn ang="0">
                  <a:pos x="connsiteX3471" y="connsiteY3471"/>
                </a:cxn>
                <a:cxn ang="0">
                  <a:pos x="connsiteX3472" y="connsiteY3472"/>
                </a:cxn>
                <a:cxn ang="0">
                  <a:pos x="connsiteX3473" y="connsiteY3473"/>
                </a:cxn>
                <a:cxn ang="0">
                  <a:pos x="connsiteX3474" y="connsiteY3474"/>
                </a:cxn>
                <a:cxn ang="0">
                  <a:pos x="connsiteX3475" y="connsiteY3475"/>
                </a:cxn>
                <a:cxn ang="0">
                  <a:pos x="connsiteX3476" y="connsiteY3476"/>
                </a:cxn>
                <a:cxn ang="0">
                  <a:pos x="connsiteX3477" y="connsiteY3477"/>
                </a:cxn>
                <a:cxn ang="0">
                  <a:pos x="connsiteX3478" y="connsiteY3478"/>
                </a:cxn>
                <a:cxn ang="0">
                  <a:pos x="connsiteX3479" y="connsiteY3479"/>
                </a:cxn>
                <a:cxn ang="0">
                  <a:pos x="connsiteX3480" y="connsiteY3480"/>
                </a:cxn>
                <a:cxn ang="0">
                  <a:pos x="connsiteX3481" y="connsiteY3481"/>
                </a:cxn>
                <a:cxn ang="0">
                  <a:pos x="connsiteX3482" y="connsiteY3482"/>
                </a:cxn>
                <a:cxn ang="0">
                  <a:pos x="connsiteX3483" y="connsiteY3483"/>
                </a:cxn>
                <a:cxn ang="0">
                  <a:pos x="connsiteX3484" y="connsiteY3484"/>
                </a:cxn>
                <a:cxn ang="0">
                  <a:pos x="connsiteX3485" y="connsiteY3485"/>
                </a:cxn>
                <a:cxn ang="0">
                  <a:pos x="connsiteX3486" y="connsiteY3486"/>
                </a:cxn>
                <a:cxn ang="0">
                  <a:pos x="connsiteX3487" y="connsiteY3487"/>
                </a:cxn>
                <a:cxn ang="0">
                  <a:pos x="connsiteX3488" y="connsiteY3488"/>
                </a:cxn>
                <a:cxn ang="0">
                  <a:pos x="connsiteX3489" y="connsiteY3489"/>
                </a:cxn>
                <a:cxn ang="0">
                  <a:pos x="connsiteX3490" y="connsiteY3490"/>
                </a:cxn>
                <a:cxn ang="0">
                  <a:pos x="connsiteX3491" y="connsiteY3491"/>
                </a:cxn>
                <a:cxn ang="0">
                  <a:pos x="connsiteX3492" y="connsiteY3492"/>
                </a:cxn>
                <a:cxn ang="0">
                  <a:pos x="connsiteX3493" y="connsiteY3493"/>
                </a:cxn>
                <a:cxn ang="0">
                  <a:pos x="connsiteX3494" y="connsiteY3494"/>
                </a:cxn>
                <a:cxn ang="0">
                  <a:pos x="connsiteX3495" y="connsiteY3495"/>
                </a:cxn>
                <a:cxn ang="0">
                  <a:pos x="connsiteX3496" y="connsiteY3496"/>
                </a:cxn>
                <a:cxn ang="0">
                  <a:pos x="connsiteX3497" y="connsiteY3497"/>
                </a:cxn>
                <a:cxn ang="0">
                  <a:pos x="connsiteX3498" y="connsiteY3498"/>
                </a:cxn>
                <a:cxn ang="0">
                  <a:pos x="connsiteX3499" y="connsiteY3499"/>
                </a:cxn>
                <a:cxn ang="0">
                  <a:pos x="connsiteX3500" y="connsiteY3500"/>
                </a:cxn>
                <a:cxn ang="0">
                  <a:pos x="connsiteX3501" y="connsiteY3501"/>
                </a:cxn>
                <a:cxn ang="0">
                  <a:pos x="connsiteX3502" y="connsiteY3502"/>
                </a:cxn>
                <a:cxn ang="0">
                  <a:pos x="connsiteX3503" y="connsiteY3503"/>
                </a:cxn>
                <a:cxn ang="0">
                  <a:pos x="connsiteX3504" y="connsiteY3504"/>
                </a:cxn>
                <a:cxn ang="0">
                  <a:pos x="connsiteX3505" y="connsiteY3505"/>
                </a:cxn>
                <a:cxn ang="0">
                  <a:pos x="connsiteX3506" y="connsiteY3506"/>
                </a:cxn>
                <a:cxn ang="0">
                  <a:pos x="connsiteX3507" y="connsiteY3507"/>
                </a:cxn>
                <a:cxn ang="0">
                  <a:pos x="connsiteX3508" y="connsiteY3508"/>
                </a:cxn>
                <a:cxn ang="0">
                  <a:pos x="connsiteX3509" y="connsiteY3509"/>
                </a:cxn>
                <a:cxn ang="0">
                  <a:pos x="connsiteX3510" y="connsiteY3510"/>
                </a:cxn>
                <a:cxn ang="0">
                  <a:pos x="connsiteX3511" y="connsiteY3511"/>
                </a:cxn>
                <a:cxn ang="0">
                  <a:pos x="connsiteX3512" y="connsiteY3512"/>
                </a:cxn>
                <a:cxn ang="0">
                  <a:pos x="connsiteX3513" y="connsiteY3513"/>
                </a:cxn>
                <a:cxn ang="0">
                  <a:pos x="connsiteX3514" y="connsiteY3514"/>
                </a:cxn>
                <a:cxn ang="0">
                  <a:pos x="connsiteX3515" y="connsiteY3515"/>
                </a:cxn>
                <a:cxn ang="0">
                  <a:pos x="connsiteX3516" y="connsiteY3516"/>
                </a:cxn>
                <a:cxn ang="0">
                  <a:pos x="connsiteX3517" y="connsiteY3517"/>
                </a:cxn>
                <a:cxn ang="0">
                  <a:pos x="connsiteX3518" y="connsiteY3518"/>
                </a:cxn>
                <a:cxn ang="0">
                  <a:pos x="connsiteX3519" y="connsiteY3519"/>
                </a:cxn>
                <a:cxn ang="0">
                  <a:pos x="connsiteX3520" y="connsiteY3520"/>
                </a:cxn>
                <a:cxn ang="0">
                  <a:pos x="connsiteX3521" y="connsiteY3521"/>
                </a:cxn>
                <a:cxn ang="0">
                  <a:pos x="connsiteX3522" y="connsiteY3522"/>
                </a:cxn>
                <a:cxn ang="0">
                  <a:pos x="connsiteX3523" y="connsiteY3523"/>
                </a:cxn>
                <a:cxn ang="0">
                  <a:pos x="connsiteX3524" y="connsiteY3524"/>
                </a:cxn>
                <a:cxn ang="0">
                  <a:pos x="connsiteX3525" y="connsiteY3525"/>
                </a:cxn>
                <a:cxn ang="0">
                  <a:pos x="connsiteX3526" y="connsiteY3526"/>
                </a:cxn>
                <a:cxn ang="0">
                  <a:pos x="connsiteX3527" y="connsiteY3527"/>
                </a:cxn>
                <a:cxn ang="0">
                  <a:pos x="connsiteX3528" y="connsiteY3528"/>
                </a:cxn>
                <a:cxn ang="0">
                  <a:pos x="connsiteX3529" y="connsiteY3529"/>
                </a:cxn>
                <a:cxn ang="0">
                  <a:pos x="connsiteX3530" y="connsiteY3530"/>
                </a:cxn>
                <a:cxn ang="0">
                  <a:pos x="connsiteX3531" y="connsiteY3531"/>
                </a:cxn>
                <a:cxn ang="0">
                  <a:pos x="connsiteX3532" y="connsiteY3532"/>
                </a:cxn>
                <a:cxn ang="0">
                  <a:pos x="connsiteX3533" y="connsiteY3533"/>
                </a:cxn>
                <a:cxn ang="0">
                  <a:pos x="connsiteX3534" y="connsiteY3534"/>
                </a:cxn>
                <a:cxn ang="0">
                  <a:pos x="connsiteX3535" y="connsiteY3535"/>
                </a:cxn>
                <a:cxn ang="0">
                  <a:pos x="connsiteX3536" y="connsiteY3536"/>
                </a:cxn>
                <a:cxn ang="0">
                  <a:pos x="connsiteX3537" y="connsiteY3537"/>
                </a:cxn>
                <a:cxn ang="0">
                  <a:pos x="connsiteX3538" y="connsiteY3538"/>
                </a:cxn>
                <a:cxn ang="0">
                  <a:pos x="connsiteX3539" y="connsiteY3539"/>
                </a:cxn>
                <a:cxn ang="0">
                  <a:pos x="connsiteX3540" y="connsiteY3540"/>
                </a:cxn>
                <a:cxn ang="0">
                  <a:pos x="connsiteX3541" y="connsiteY3541"/>
                </a:cxn>
                <a:cxn ang="0">
                  <a:pos x="connsiteX3542" y="connsiteY3542"/>
                </a:cxn>
                <a:cxn ang="0">
                  <a:pos x="connsiteX3543" y="connsiteY3543"/>
                </a:cxn>
                <a:cxn ang="0">
                  <a:pos x="connsiteX3544" y="connsiteY3544"/>
                </a:cxn>
                <a:cxn ang="0">
                  <a:pos x="connsiteX3545" y="connsiteY3545"/>
                </a:cxn>
                <a:cxn ang="0">
                  <a:pos x="connsiteX3546" y="connsiteY3546"/>
                </a:cxn>
                <a:cxn ang="0">
                  <a:pos x="connsiteX3547" y="connsiteY3547"/>
                </a:cxn>
                <a:cxn ang="0">
                  <a:pos x="connsiteX3548" y="connsiteY3548"/>
                </a:cxn>
                <a:cxn ang="0">
                  <a:pos x="connsiteX3549" y="connsiteY3549"/>
                </a:cxn>
                <a:cxn ang="0">
                  <a:pos x="connsiteX3550" y="connsiteY3550"/>
                </a:cxn>
                <a:cxn ang="0">
                  <a:pos x="connsiteX3551" y="connsiteY3551"/>
                </a:cxn>
                <a:cxn ang="0">
                  <a:pos x="connsiteX3552" y="connsiteY3552"/>
                </a:cxn>
                <a:cxn ang="0">
                  <a:pos x="connsiteX3553" y="connsiteY3553"/>
                </a:cxn>
                <a:cxn ang="0">
                  <a:pos x="connsiteX3554" y="connsiteY3554"/>
                </a:cxn>
                <a:cxn ang="0">
                  <a:pos x="connsiteX3555" y="connsiteY3555"/>
                </a:cxn>
                <a:cxn ang="0">
                  <a:pos x="connsiteX3556" y="connsiteY3556"/>
                </a:cxn>
                <a:cxn ang="0">
                  <a:pos x="connsiteX3557" y="connsiteY3557"/>
                </a:cxn>
                <a:cxn ang="0">
                  <a:pos x="connsiteX3558" y="connsiteY3558"/>
                </a:cxn>
                <a:cxn ang="0">
                  <a:pos x="connsiteX3559" y="connsiteY3559"/>
                </a:cxn>
                <a:cxn ang="0">
                  <a:pos x="connsiteX3560" y="connsiteY3560"/>
                </a:cxn>
                <a:cxn ang="0">
                  <a:pos x="connsiteX3561" y="connsiteY3561"/>
                </a:cxn>
                <a:cxn ang="0">
                  <a:pos x="connsiteX3562" y="connsiteY3562"/>
                </a:cxn>
                <a:cxn ang="0">
                  <a:pos x="connsiteX3563" y="connsiteY3563"/>
                </a:cxn>
                <a:cxn ang="0">
                  <a:pos x="connsiteX3564" y="connsiteY3564"/>
                </a:cxn>
                <a:cxn ang="0">
                  <a:pos x="connsiteX3565" y="connsiteY3565"/>
                </a:cxn>
                <a:cxn ang="0">
                  <a:pos x="connsiteX3566" y="connsiteY3566"/>
                </a:cxn>
                <a:cxn ang="0">
                  <a:pos x="connsiteX3567" y="connsiteY3567"/>
                </a:cxn>
                <a:cxn ang="0">
                  <a:pos x="connsiteX3568" y="connsiteY3568"/>
                </a:cxn>
                <a:cxn ang="0">
                  <a:pos x="connsiteX3569" y="connsiteY3569"/>
                </a:cxn>
                <a:cxn ang="0">
                  <a:pos x="connsiteX3570" y="connsiteY3570"/>
                </a:cxn>
                <a:cxn ang="0">
                  <a:pos x="connsiteX3571" y="connsiteY3571"/>
                </a:cxn>
                <a:cxn ang="0">
                  <a:pos x="connsiteX3572" y="connsiteY3572"/>
                </a:cxn>
                <a:cxn ang="0">
                  <a:pos x="connsiteX3573" y="connsiteY3573"/>
                </a:cxn>
                <a:cxn ang="0">
                  <a:pos x="connsiteX3574" y="connsiteY3574"/>
                </a:cxn>
                <a:cxn ang="0">
                  <a:pos x="connsiteX3575" y="connsiteY3575"/>
                </a:cxn>
                <a:cxn ang="0">
                  <a:pos x="connsiteX3576" y="connsiteY3576"/>
                </a:cxn>
                <a:cxn ang="0">
                  <a:pos x="connsiteX3577" y="connsiteY3577"/>
                </a:cxn>
                <a:cxn ang="0">
                  <a:pos x="connsiteX3578" y="connsiteY3578"/>
                </a:cxn>
                <a:cxn ang="0">
                  <a:pos x="connsiteX3579" y="connsiteY3579"/>
                </a:cxn>
                <a:cxn ang="0">
                  <a:pos x="connsiteX3580" y="connsiteY3580"/>
                </a:cxn>
                <a:cxn ang="0">
                  <a:pos x="connsiteX3581" y="connsiteY3581"/>
                </a:cxn>
                <a:cxn ang="0">
                  <a:pos x="connsiteX3582" y="connsiteY3582"/>
                </a:cxn>
                <a:cxn ang="0">
                  <a:pos x="connsiteX3583" y="connsiteY3583"/>
                </a:cxn>
                <a:cxn ang="0">
                  <a:pos x="connsiteX3584" y="connsiteY3584"/>
                </a:cxn>
                <a:cxn ang="0">
                  <a:pos x="connsiteX3585" y="connsiteY3585"/>
                </a:cxn>
                <a:cxn ang="0">
                  <a:pos x="connsiteX3586" y="connsiteY3586"/>
                </a:cxn>
                <a:cxn ang="0">
                  <a:pos x="connsiteX3587" y="connsiteY3587"/>
                </a:cxn>
                <a:cxn ang="0">
                  <a:pos x="connsiteX3588" y="connsiteY3588"/>
                </a:cxn>
                <a:cxn ang="0">
                  <a:pos x="connsiteX3589" y="connsiteY3589"/>
                </a:cxn>
                <a:cxn ang="0">
                  <a:pos x="connsiteX3590" y="connsiteY3590"/>
                </a:cxn>
                <a:cxn ang="0">
                  <a:pos x="connsiteX3591" y="connsiteY3591"/>
                </a:cxn>
                <a:cxn ang="0">
                  <a:pos x="connsiteX3592" y="connsiteY3592"/>
                </a:cxn>
                <a:cxn ang="0">
                  <a:pos x="connsiteX3593" y="connsiteY3593"/>
                </a:cxn>
                <a:cxn ang="0">
                  <a:pos x="connsiteX3594" y="connsiteY3594"/>
                </a:cxn>
                <a:cxn ang="0">
                  <a:pos x="connsiteX3595" y="connsiteY3595"/>
                </a:cxn>
                <a:cxn ang="0">
                  <a:pos x="connsiteX3596" y="connsiteY3596"/>
                </a:cxn>
                <a:cxn ang="0">
                  <a:pos x="connsiteX3597" y="connsiteY3597"/>
                </a:cxn>
                <a:cxn ang="0">
                  <a:pos x="connsiteX3598" y="connsiteY3598"/>
                </a:cxn>
                <a:cxn ang="0">
                  <a:pos x="connsiteX3599" y="connsiteY3599"/>
                </a:cxn>
                <a:cxn ang="0">
                  <a:pos x="connsiteX3600" y="connsiteY3600"/>
                </a:cxn>
                <a:cxn ang="0">
                  <a:pos x="connsiteX3601" y="connsiteY3601"/>
                </a:cxn>
                <a:cxn ang="0">
                  <a:pos x="connsiteX3602" y="connsiteY3602"/>
                </a:cxn>
                <a:cxn ang="0">
                  <a:pos x="connsiteX3603" y="connsiteY3603"/>
                </a:cxn>
                <a:cxn ang="0">
                  <a:pos x="connsiteX3604" y="connsiteY3604"/>
                </a:cxn>
                <a:cxn ang="0">
                  <a:pos x="connsiteX3605" y="connsiteY3605"/>
                </a:cxn>
                <a:cxn ang="0">
                  <a:pos x="connsiteX3606" y="connsiteY3606"/>
                </a:cxn>
                <a:cxn ang="0">
                  <a:pos x="connsiteX3607" y="connsiteY3607"/>
                </a:cxn>
                <a:cxn ang="0">
                  <a:pos x="connsiteX3608" y="connsiteY3608"/>
                </a:cxn>
                <a:cxn ang="0">
                  <a:pos x="connsiteX3609" y="connsiteY3609"/>
                </a:cxn>
                <a:cxn ang="0">
                  <a:pos x="connsiteX3610" y="connsiteY3610"/>
                </a:cxn>
                <a:cxn ang="0">
                  <a:pos x="connsiteX3611" y="connsiteY3611"/>
                </a:cxn>
                <a:cxn ang="0">
                  <a:pos x="connsiteX3612" y="connsiteY3612"/>
                </a:cxn>
                <a:cxn ang="0">
                  <a:pos x="connsiteX3613" y="connsiteY3613"/>
                </a:cxn>
                <a:cxn ang="0">
                  <a:pos x="connsiteX3614" y="connsiteY3614"/>
                </a:cxn>
                <a:cxn ang="0">
                  <a:pos x="connsiteX3615" y="connsiteY3615"/>
                </a:cxn>
                <a:cxn ang="0">
                  <a:pos x="connsiteX3616" y="connsiteY3616"/>
                </a:cxn>
                <a:cxn ang="0">
                  <a:pos x="connsiteX3617" y="connsiteY3617"/>
                </a:cxn>
                <a:cxn ang="0">
                  <a:pos x="connsiteX3618" y="connsiteY3618"/>
                </a:cxn>
                <a:cxn ang="0">
                  <a:pos x="connsiteX3619" y="connsiteY3619"/>
                </a:cxn>
                <a:cxn ang="0">
                  <a:pos x="connsiteX3620" y="connsiteY3620"/>
                </a:cxn>
                <a:cxn ang="0">
                  <a:pos x="connsiteX3621" y="connsiteY3621"/>
                </a:cxn>
                <a:cxn ang="0">
                  <a:pos x="connsiteX3622" y="connsiteY3622"/>
                </a:cxn>
                <a:cxn ang="0">
                  <a:pos x="connsiteX3623" y="connsiteY3623"/>
                </a:cxn>
                <a:cxn ang="0">
                  <a:pos x="connsiteX3624" y="connsiteY3624"/>
                </a:cxn>
                <a:cxn ang="0">
                  <a:pos x="connsiteX3625" y="connsiteY3625"/>
                </a:cxn>
                <a:cxn ang="0">
                  <a:pos x="connsiteX3626" y="connsiteY3626"/>
                </a:cxn>
                <a:cxn ang="0">
                  <a:pos x="connsiteX3627" y="connsiteY3627"/>
                </a:cxn>
                <a:cxn ang="0">
                  <a:pos x="connsiteX3628" y="connsiteY3628"/>
                </a:cxn>
                <a:cxn ang="0">
                  <a:pos x="connsiteX3629" y="connsiteY3629"/>
                </a:cxn>
                <a:cxn ang="0">
                  <a:pos x="connsiteX3630" y="connsiteY3630"/>
                </a:cxn>
                <a:cxn ang="0">
                  <a:pos x="connsiteX3631" y="connsiteY3631"/>
                </a:cxn>
                <a:cxn ang="0">
                  <a:pos x="connsiteX3632" y="connsiteY3632"/>
                </a:cxn>
                <a:cxn ang="0">
                  <a:pos x="connsiteX3633" y="connsiteY3633"/>
                </a:cxn>
                <a:cxn ang="0">
                  <a:pos x="connsiteX3634" y="connsiteY3634"/>
                </a:cxn>
                <a:cxn ang="0">
                  <a:pos x="connsiteX3635" y="connsiteY3635"/>
                </a:cxn>
                <a:cxn ang="0">
                  <a:pos x="connsiteX3636" y="connsiteY3636"/>
                </a:cxn>
                <a:cxn ang="0">
                  <a:pos x="connsiteX3637" y="connsiteY3637"/>
                </a:cxn>
                <a:cxn ang="0">
                  <a:pos x="connsiteX3638" y="connsiteY3638"/>
                </a:cxn>
                <a:cxn ang="0">
                  <a:pos x="connsiteX3639" y="connsiteY3639"/>
                </a:cxn>
                <a:cxn ang="0">
                  <a:pos x="connsiteX3640" y="connsiteY3640"/>
                </a:cxn>
                <a:cxn ang="0">
                  <a:pos x="connsiteX3641" y="connsiteY3641"/>
                </a:cxn>
                <a:cxn ang="0">
                  <a:pos x="connsiteX3642" y="connsiteY3642"/>
                </a:cxn>
                <a:cxn ang="0">
                  <a:pos x="connsiteX3643" y="connsiteY3643"/>
                </a:cxn>
                <a:cxn ang="0">
                  <a:pos x="connsiteX3644" y="connsiteY3644"/>
                </a:cxn>
                <a:cxn ang="0">
                  <a:pos x="connsiteX3645" y="connsiteY3645"/>
                </a:cxn>
                <a:cxn ang="0">
                  <a:pos x="connsiteX3646" y="connsiteY3646"/>
                </a:cxn>
                <a:cxn ang="0">
                  <a:pos x="connsiteX3647" y="connsiteY3647"/>
                </a:cxn>
                <a:cxn ang="0">
                  <a:pos x="connsiteX3648" y="connsiteY3648"/>
                </a:cxn>
                <a:cxn ang="0">
                  <a:pos x="connsiteX3649" y="connsiteY3649"/>
                </a:cxn>
                <a:cxn ang="0">
                  <a:pos x="connsiteX3650" y="connsiteY3650"/>
                </a:cxn>
                <a:cxn ang="0">
                  <a:pos x="connsiteX3651" y="connsiteY3651"/>
                </a:cxn>
                <a:cxn ang="0">
                  <a:pos x="connsiteX3652" y="connsiteY3652"/>
                </a:cxn>
                <a:cxn ang="0">
                  <a:pos x="connsiteX3653" y="connsiteY3653"/>
                </a:cxn>
                <a:cxn ang="0">
                  <a:pos x="connsiteX3654" y="connsiteY3654"/>
                </a:cxn>
                <a:cxn ang="0">
                  <a:pos x="connsiteX3655" y="connsiteY3655"/>
                </a:cxn>
                <a:cxn ang="0">
                  <a:pos x="connsiteX3656" y="connsiteY3656"/>
                </a:cxn>
                <a:cxn ang="0">
                  <a:pos x="connsiteX3657" y="connsiteY3657"/>
                </a:cxn>
                <a:cxn ang="0">
                  <a:pos x="connsiteX3658" y="connsiteY3658"/>
                </a:cxn>
                <a:cxn ang="0">
                  <a:pos x="connsiteX3659" y="connsiteY3659"/>
                </a:cxn>
                <a:cxn ang="0">
                  <a:pos x="connsiteX3660" y="connsiteY3660"/>
                </a:cxn>
                <a:cxn ang="0">
                  <a:pos x="connsiteX3661" y="connsiteY3661"/>
                </a:cxn>
                <a:cxn ang="0">
                  <a:pos x="connsiteX3662" y="connsiteY3662"/>
                </a:cxn>
                <a:cxn ang="0">
                  <a:pos x="connsiteX3663" y="connsiteY3663"/>
                </a:cxn>
                <a:cxn ang="0">
                  <a:pos x="connsiteX3664" y="connsiteY3664"/>
                </a:cxn>
                <a:cxn ang="0">
                  <a:pos x="connsiteX3665" y="connsiteY3665"/>
                </a:cxn>
                <a:cxn ang="0">
                  <a:pos x="connsiteX3666" y="connsiteY3666"/>
                </a:cxn>
                <a:cxn ang="0">
                  <a:pos x="connsiteX3667" y="connsiteY3667"/>
                </a:cxn>
                <a:cxn ang="0">
                  <a:pos x="connsiteX3668" y="connsiteY3668"/>
                </a:cxn>
                <a:cxn ang="0">
                  <a:pos x="connsiteX3669" y="connsiteY3669"/>
                </a:cxn>
                <a:cxn ang="0">
                  <a:pos x="connsiteX3670" y="connsiteY3670"/>
                </a:cxn>
                <a:cxn ang="0">
                  <a:pos x="connsiteX3671" y="connsiteY3671"/>
                </a:cxn>
                <a:cxn ang="0">
                  <a:pos x="connsiteX3672" y="connsiteY3672"/>
                </a:cxn>
                <a:cxn ang="0">
                  <a:pos x="connsiteX3673" y="connsiteY3673"/>
                </a:cxn>
                <a:cxn ang="0">
                  <a:pos x="connsiteX3674" y="connsiteY3674"/>
                </a:cxn>
                <a:cxn ang="0">
                  <a:pos x="connsiteX3675" y="connsiteY3675"/>
                </a:cxn>
                <a:cxn ang="0">
                  <a:pos x="connsiteX3676" y="connsiteY3676"/>
                </a:cxn>
                <a:cxn ang="0">
                  <a:pos x="connsiteX3677" y="connsiteY3677"/>
                </a:cxn>
                <a:cxn ang="0">
                  <a:pos x="connsiteX3678" y="connsiteY3678"/>
                </a:cxn>
                <a:cxn ang="0">
                  <a:pos x="connsiteX3679" y="connsiteY3679"/>
                </a:cxn>
                <a:cxn ang="0">
                  <a:pos x="connsiteX3680" y="connsiteY3680"/>
                </a:cxn>
                <a:cxn ang="0">
                  <a:pos x="connsiteX3681" y="connsiteY3681"/>
                </a:cxn>
                <a:cxn ang="0">
                  <a:pos x="connsiteX3682" y="connsiteY3682"/>
                </a:cxn>
                <a:cxn ang="0">
                  <a:pos x="connsiteX3683" y="connsiteY3683"/>
                </a:cxn>
                <a:cxn ang="0">
                  <a:pos x="connsiteX3684" y="connsiteY3684"/>
                </a:cxn>
                <a:cxn ang="0">
                  <a:pos x="connsiteX3685" y="connsiteY3685"/>
                </a:cxn>
                <a:cxn ang="0">
                  <a:pos x="connsiteX3686" y="connsiteY3686"/>
                </a:cxn>
                <a:cxn ang="0">
                  <a:pos x="connsiteX3687" y="connsiteY3687"/>
                </a:cxn>
                <a:cxn ang="0">
                  <a:pos x="connsiteX3688" y="connsiteY3688"/>
                </a:cxn>
                <a:cxn ang="0">
                  <a:pos x="connsiteX3689" y="connsiteY3689"/>
                </a:cxn>
                <a:cxn ang="0">
                  <a:pos x="connsiteX3690" y="connsiteY3690"/>
                </a:cxn>
                <a:cxn ang="0">
                  <a:pos x="connsiteX3691" y="connsiteY3691"/>
                </a:cxn>
                <a:cxn ang="0">
                  <a:pos x="connsiteX3692" y="connsiteY3692"/>
                </a:cxn>
                <a:cxn ang="0">
                  <a:pos x="connsiteX3693" y="connsiteY3693"/>
                </a:cxn>
                <a:cxn ang="0">
                  <a:pos x="connsiteX3694" y="connsiteY3694"/>
                </a:cxn>
                <a:cxn ang="0">
                  <a:pos x="connsiteX3695" y="connsiteY3695"/>
                </a:cxn>
                <a:cxn ang="0">
                  <a:pos x="connsiteX3696" y="connsiteY3696"/>
                </a:cxn>
                <a:cxn ang="0">
                  <a:pos x="connsiteX3697" y="connsiteY3697"/>
                </a:cxn>
                <a:cxn ang="0">
                  <a:pos x="connsiteX3698" y="connsiteY3698"/>
                </a:cxn>
                <a:cxn ang="0">
                  <a:pos x="connsiteX3699" y="connsiteY3699"/>
                </a:cxn>
                <a:cxn ang="0">
                  <a:pos x="connsiteX3700" y="connsiteY3700"/>
                </a:cxn>
                <a:cxn ang="0">
                  <a:pos x="connsiteX3701" y="connsiteY3701"/>
                </a:cxn>
                <a:cxn ang="0">
                  <a:pos x="connsiteX3702" y="connsiteY3702"/>
                </a:cxn>
                <a:cxn ang="0">
                  <a:pos x="connsiteX3703" y="connsiteY3703"/>
                </a:cxn>
                <a:cxn ang="0">
                  <a:pos x="connsiteX3704" y="connsiteY3704"/>
                </a:cxn>
                <a:cxn ang="0">
                  <a:pos x="connsiteX3705" y="connsiteY3705"/>
                </a:cxn>
                <a:cxn ang="0">
                  <a:pos x="connsiteX3706" y="connsiteY3706"/>
                </a:cxn>
                <a:cxn ang="0">
                  <a:pos x="connsiteX3707" y="connsiteY3707"/>
                </a:cxn>
                <a:cxn ang="0">
                  <a:pos x="connsiteX3708" y="connsiteY3708"/>
                </a:cxn>
                <a:cxn ang="0">
                  <a:pos x="connsiteX3709" y="connsiteY3709"/>
                </a:cxn>
                <a:cxn ang="0">
                  <a:pos x="connsiteX3710" y="connsiteY3710"/>
                </a:cxn>
                <a:cxn ang="0">
                  <a:pos x="connsiteX3711" y="connsiteY3711"/>
                </a:cxn>
                <a:cxn ang="0">
                  <a:pos x="connsiteX3712" y="connsiteY3712"/>
                </a:cxn>
                <a:cxn ang="0">
                  <a:pos x="connsiteX3713" y="connsiteY3713"/>
                </a:cxn>
                <a:cxn ang="0">
                  <a:pos x="connsiteX3714" y="connsiteY3714"/>
                </a:cxn>
                <a:cxn ang="0">
                  <a:pos x="connsiteX3715" y="connsiteY3715"/>
                </a:cxn>
                <a:cxn ang="0">
                  <a:pos x="connsiteX3716" y="connsiteY3716"/>
                </a:cxn>
                <a:cxn ang="0">
                  <a:pos x="connsiteX3717" y="connsiteY3717"/>
                </a:cxn>
                <a:cxn ang="0">
                  <a:pos x="connsiteX3718" y="connsiteY3718"/>
                </a:cxn>
                <a:cxn ang="0">
                  <a:pos x="connsiteX3719" y="connsiteY3719"/>
                </a:cxn>
                <a:cxn ang="0">
                  <a:pos x="connsiteX3720" y="connsiteY3720"/>
                </a:cxn>
                <a:cxn ang="0">
                  <a:pos x="connsiteX3721" y="connsiteY3721"/>
                </a:cxn>
                <a:cxn ang="0">
                  <a:pos x="connsiteX3722" y="connsiteY3722"/>
                </a:cxn>
                <a:cxn ang="0">
                  <a:pos x="connsiteX3723" y="connsiteY3723"/>
                </a:cxn>
                <a:cxn ang="0">
                  <a:pos x="connsiteX3724" y="connsiteY3724"/>
                </a:cxn>
                <a:cxn ang="0">
                  <a:pos x="connsiteX3725" y="connsiteY3725"/>
                </a:cxn>
                <a:cxn ang="0">
                  <a:pos x="connsiteX3726" y="connsiteY3726"/>
                </a:cxn>
                <a:cxn ang="0">
                  <a:pos x="connsiteX3727" y="connsiteY3727"/>
                </a:cxn>
                <a:cxn ang="0">
                  <a:pos x="connsiteX3728" y="connsiteY3728"/>
                </a:cxn>
                <a:cxn ang="0">
                  <a:pos x="connsiteX3729" y="connsiteY3729"/>
                </a:cxn>
                <a:cxn ang="0">
                  <a:pos x="connsiteX3730" y="connsiteY3730"/>
                </a:cxn>
                <a:cxn ang="0">
                  <a:pos x="connsiteX3731" y="connsiteY3731"/>
                </a:cxn>
                <a:cxn ang="0">
                  <a:pos x="connsiteX3732" y="connsiteY3732"/>
                </a:cxn>
                <a:cxn ang="0">
                  <a:pos x="connsiteX3733" y="connsiteY3733"/>
                </a:cxn>
                <a:cxn ang="0">
                  <a:pos x="connsiteX3734" y="connsiteY3734"/>
                </a:cxn>
                <a:cxn ang="0">
                  <a:pos x="connsiteX3735" y="connsiteY3735"/>
                </a:cxn>
                <a:cxn ang="0">
                  <a:pos x="connsiteX3736" y="connsiteY3736"/>
                </a:cxn>
                <a:cxn ang="0">
                  <a:pos x="connsiteX3737" y="connsiteY3737"/>
                </a:cxn>
                <a:cxn ang="0">
                  <a:pos x="connsiteX3738" y="connsiteY3738"/>
                </a:cxn>
                <a:cxn ang="0">
                  <a:pos x="connsiteX3739" y="connsiteY3739"/>
                </a:cxn>
                <a:cxn ang="0">
                  <a:pos x="connsiteX3740" y="connsiteY3740"/>
                </a:cxn>
                <a:cxn ang="0">
                  <a:pos x="connsiteX3741" y="connsiteY3741"/>
                </a:cxn>
                <a:cxn ang="0">
                  <a:pos x="connsiteX3742" y="connsiteY3742"/>
                </a:cxn>
                <a:cxn ang="0">
                  <a:pos x="connsiteX3743" y="connsiteY3743"/>
                </a:cxn>
                <a:cxn ang="0">
                  <a:pos x="connsiteX3744" y="connsiteY3744"/>
                </a:cxn>
                <a:cxn ang="0">
                  <a:pos x="connsiteX3745" y="connsiteY3745"/>
                </a:cxn>
                <a:cxn ang="0">
                  <a:pos x="connsiteX3746" y="connsiteY3746"/>
                </a:cxn>
                <a:cxn ang="0">
                  <a:pos x="connsiteX3747" y="connsiteY3747"/>
                </a:cxn>
                <a:cxn ang="0">
                  <a:pos x="connsiteX3748" y="connsiteY3748"/>
                </a:cxn>
                <a:cxn ang="0">
                  <a:pos x="connsiteX3749" y="connsiteY3749"/>
                </a:cxn>
                <a:cxn ang="0">
                  <a:pos x="connsiteX3750" y="connsiteY3750"/>
                </a:cxn>
                <a:cxn ang="0">
                  <a:pos x="connsiteX3751" y="connsiteY3751"/>
                </a:cxn>
                <a:cxn ang="0">
                  <a:pos x="connsiteX3752" y="connsiteY3752"/>
                </a:cxn>
                <a:cxn ang="0">
                  <a:pos x="connsiteX3753" y="connsiteY3753"/>
                </a:cxn>
                <a:cxn ang="0">
                  <a:pos x="connsiteX3754" y="connsiteY3754"/>
                </a:cxn>
                <a:cxn ang="0">
                  <a:pos x="connsiteX3755" y="connsiteY3755"/>
                </a:cxn>
                <a:cxn ang="0">
                  <a:pos x="connsiteX3756" y="connsiteY3756"/>
                </a:cxn>
                <a:cxn ang="0">
                  <a:pos x="connsiteX3757" y="connsiteY3757"/>
                </a:cxn>
                <a:cxn ang="0">
                  <a:pos x="connsiteX3758" y="connsiteY3758"/>
                </a:cxn>
                <a:cxn ang="0">
                  <a:pos x="connsiteX3759" y="connsiteY3759"/>
                </a:cxn>
                <a:cxn ang="0">
                  <a:pos x="connsiteX3760" y="connsiteY3760"/>
                </a:cxn>
                <a:cxn ang="0">
                  <a:pos x="connsiteX3761" y="connsiteY3761"/>
                </a:cxn>
                <a:cxn ang="0">
                  <a:pos x="connsiteX3762" y="connsiteY3762"/>
                </a:cxn>
                <a:cxn ang="0">
                  <a:pos x="connsiteX3763" y="connsiteY3763"/>
                </a:cxn>
                <a:cxn ang="0">
                  <a:pos x="connsiteX3764" y="connsiteY3764"/>
                </a:cxn>
                <a:cxn ang="0">
                  <a:pos x="connsiteX3765" y="connsiteY3765"/>
                </a:cxn>
                <a:cxn ang="0">
                  <a:pos x="connsiteX3766" y="connsiteY3766"/>
                </a:cxn>
                <a:cxn ang="0">
                  <a:pos x="connsiteX3767" y="connsiteY3767"/>
                </a:cxn>
                <a:cxn ang="0">
                  <a:pos x="connsiteX3768" y="connsiteY3768"/>
                </a:cxn>
                <a:cxn ang="0">
                  <a:pos x="connsiteX3769" y="connsiteY3769"/>
                </a:cxn>
                <a:cxn ang="0">
                  <a:pos x="connsiteX3770" y="connsiteY3770"/>
                </a:cxn>
                <a:cxn ang="0">
                  <a:pos x="connsiteX3771" y="connsiteY3771"/>
                </a:cxn>
                <a:cxn ang="0">
                  <a:pos x="connsiteX3772" y="connsiteY3772"/>
                </a:cxn>
                <a:cxn ang="0">
                  <a:pos x="connsiteX3773" y="connsiteY3773"/>
                </a:cxn>
                <a:cxn ang="0">
                  <a:pos x="connsiteX3774" y="connsiteY3774"/>
                </a:cxn>
                <a:cxn ang="0">
                  <a:pos x="connsiteX3775" y="connsiteY3775"/>
                </a:cxn>
                <a:cxn ang="0">
                  <a:pos x="connsiteX3776" y="connsiteY3776"/>
                </a:cxn>
                <a:cxn ang="0">
                  <a:pos x="connsiteX3777" y="connsiteY3777"/>
                </a:cxn>
                <a:cxn ang="0">
                  <a:pos x="connsiteX3778" y="connsiteY3778"/>
                </a:cxn>
                <a:cxn ang="0">
                  <a:pos x="connsiteX3779" y="connsiteY3779"/>
                </a:cxn>
                <a:cxn ang="0">
                  <a:pos x="connsiteX3780" y="connsiteY3780"/>
                </a:cxn>
                <a:cxn ang="0">
                  <a:pos x="connsiteX3781" y="connsiteY3781"/>
                </a:cxn>
                <a:cxn ang="0">
                  <a:pos x="connsiteX3782" y="connsiteY3782"/>
                </a:cxn>
                <a:cxn ang="0">
                  <a:pos x="connsiteX3783" y="connsiteY3783"/>
                </a:cxn>
                <a:cxn ang="0">
                  <a:pos x="connsiteX3784" y="connsiteY3784"/>
                </a:cxn>
                <a:cxn ang="0">
                  <a:pos x="connsiteX3785" y="connsiteY3785"/>
                </a:cxn>
                <a:cxn ang="0">
                  <a:pos x="connsiteX3786" y="connsiteY3786"/>
                </a:cxn>
                <a:cxn ang="0">
                  <a:pos x="connsiteX3787" y="connsiteY3787"/>
                </a:cxn>
                <a:cxn ang="0">
                  <a:pos x="connsiteX3788" y="connsiteY3788"/>
                </a:cxn>
                <a:cxn ang="0">
                  <a:pos x="connsiteX3789" y="connsiteY3789"/>
                </a:cxn>
                <a:cxn ang="0">
                  <a:pos x="connsiteX3790" y="connsiteY3790"/>
                </a:cxn>
                <a:cxn ang="0">
                  <a:pos x="connsiteX3791" y="connsiteY3791"/>
                </a:cxn>
                <a:cxn ang="0">
                  <a:pos x="connsiteX3792" y="connsiteY3792"/>
                </a:cxn>
                <a:cxn ang="0">
                  <a:pos x="connsiteX3793" y="connsiteY3793"/>
                </a:cxn>
                <a:cxn ang="0">
                  <a:pos x="connsiteX3794" y="connsiteY3794"/>
                </a:cxn>
                <a:cxn ang="0">
                  <a:pos x="connsiteX3795" y="connsiteY3795"/>
                </a:cxn>
                <a:cxn ang="0">
                  <a:pos x="connsiteX3796" y="connsiteY3796"/>
                </a:cxn>
                <a:cxn ang="0">
                  <a:pos x="connsiteX3797" y="connsiteY3797"/>
                </a:cxn>
                <a:cxn ang="0">
                  <a:pos x="connsiteX3798" y="connsiteY3798"/>
                </a:cxn>
                <a:cxn ang="0">
                  <a:pos x="connsiteX3799" y="connsiteY3799"/>
                </a:cxn>
                <a:cxn ang="0">
                  <a:pos x="connsiteX3800" y="connsiteY3800"/>
                </a:cxn>
                <a:cxn ang="0">
                  <a:pos x="connsiteX3801" y="connsiteY3801"/>
                </a:cxn>
                <a:cxn ang="0">
                  <a:pos x="connsiteX3802" y="connsiteY3802"/>
                </a:cxn>
                <a:cxn ang="0">
                  <a:pos x="connsiteX3803" y="connsiteY3803"/>
                </a:cxn>
                <a:cxn ang="0">
                  <a:pos x="connsiteX3804" y="connsiteY3804"/>
                </a:cxn>
                <a:cxn ang="0">
                  <a:pos x="connsiteX3805" y="connsiteY3805"/>
                </a:cxn>
                <a:cxn ang="0">
                  <a:pos x="connsiteX3806" y="connsiteY3806"/>
                </a:cxn>
                <a:cxn ang="0">
                  <a:pos x="connsiteX3807" y="connsiteY3807"/>
                </a:cxn>
                <a:cxn ang="0">
                  <a:pos x="connsiteX3808" y="connsiteY3808"/>
                </a:cxn>
                <a:cxn ang="0">
                  <a:pos x="connsiteX3809" y="connsiteY3809"/>
                </a:cxn>
                <a:cxn ang="0">
                  <a:pos x="connsiteX3810" y="connsiteY3810"/>
                </a:cxn>
                <a:cxn ang="0">
                  <a:pos x="connsiteX3811" y="connsiteY3811"/>
                </a:cxn>
                <a:cxn ang="0">
                  <a:pos x="connsiteX3812" y="connsiteY3812"/>
                </a:cxn>
                <a:cxn ang="0">
                  <a:pos x="connsiteX3813" y="connsiteY3813"/>
                </a:cxn>
                <a:cxn ang="0">
                  <a:pos x="connsiteX3814" y="connsiteY3814"/>
                </a:cxn>
                <a:cxn ang="0">
                  <a:pos x="connsiteX3815" y="connsiteY3815"/>
                </a:cxn>
                <a:cxn ang="0">
                  <a:pos x="connsiteX3816" y="connsiteY3816"/>
                </a:cxn>
                <a:cxn ang="0">
                  <a:pos x="connsiteX3817" y="connsiteY3817"/>
                </a:cxn>
                <a:cxn ang="0">
                  <a:pos x="connsiteX3818" y="connsiteY3818"/>
                </a:cxn>
                <a:cxn ang="0">
                  <a:pos x="connsiteX3819" y="connsiteY3819"/>
                </a:cxn>
                <a:cxn ang="0">
                  <a:pos x="connsiteX3820" y="connsiteY3820"/>
                </a:cxn>
                <a:cxn ang="0">
                  <a:pos x="connsiteX3821" y="connsiteY3821"/>
                </a:cxn>
                <a:cxn ang="0">
                  <a:pos x="connsiteX3822" y="connsiteY3822"/>
                </a:cxn>
                <a:cxn ang="0">
                  <a:pos x="connsiteX3823" y="connsiteY3823"/>
                </a:cxn>
                <a:cxn ang="0">
                  <a:pos x="connsiteX3824" y="connsiteY3824"/>
                </a:cxn>
                <a:cxn ang="0">
                  <a:pos x="connsiteX3825" y="connsiteY3825"/>
                </a:cxn>
                <a:cxn ang="0">
                  <a:pos x="connsiteX3826" y="connsiteY3826"/>
                </a:cxn>
                <a:cxn ang="0">
                  <a:pos x="connsiteX3827" y="connsiteY3827"/>
                </a:cxn>
                <a:cxn ang="0">
                  <a:pos x="connsiteX3828" y="connsiteY3828"/>
                </a:cxn>
                <a:cxn ang="0">
                  <a:pos x="connsiteX3829" y="connsiteY3829"/>
                </a:cxn>
                <a:cxn ang="0">
                  <a:pos x="connsiteX3830" y="connsiteY3830"/>
                </a:cxn>
                <a:cxn ang="0">
                  <a:pos x="connsiteX3831" y="connsiteY3831"/>
                </a:cxn>
                <a:cxn ang="0">
                  <a:pos x="connsiteX3832" y="connsiteY3832"/>
                </a:cxn>
                <a:cxn ang="0">
                  <a:pos x="connsiteX3833" y="connsiteY3833"/>
                </a:cxn>
                <a:cxn ang="0">
                  <a:pos x="connsiteX3834" y="connsiteY3834"/>
                </a:cxn>
                <a:cxn ang="0">
                  <a:pos x="connsiteX3835" y="connsiteY3835"/>
                </a:cxn>
                <a:cxn ang="0">
                  <a:pos x="connsiteX3836" y="connsiteY3836"/>
                </a:cxn>
                <a:cxn ang="0">
                  <a:pos x="connsiteX3837" y="connsiteY3837"/>
                </a:cxn>
                <a:cxn ang="0">
                  <a:pos x="connsiteX3838" y="connsiteY3838"/>
                </a:cxn>
                <a:cxn ang="0">
                  <a:pos x="connsiteX3839" y="connsiteY3839"/>
                </a:cxn>
                <a:cxn ang="0">
                  <a:pos x="connsiteX3840" y="connsiteY3840"/>
                </a:cxn>
                <a:cxn ang="0">
                  <a:pos x="connsiteX3841" y="connsiteY3841"/>
                </a:cxn>
                <a:cxn ang="0">
                  <a:pos x="connsiteX3842" y="connsiteY3842"/>
                </a:cxn>
                <a:cxn ang="0">
                  <a:pos x="connsiteX3843" y="connsiteY3843"/>
                </a:cxn>
                <a:cxn ang="0">
                  <a:pos x="connsiteX3844" y="connsiteY3844"/>
                </a:cxn>
                <a:cxn ang="0">
                  <a:pos x="connsiteX3845" y="connsiteY3845"/>
                </a:cxn>
                <a:cxn ang="0">
                  <a:pos x="connsiteX3846" y="connsiteY3846"/>
                </a:cxn>
                <a:cxn ang="0">
                  <a:pos x="connsiteX3847" y="connsiteY3847"/>
                </a:cxn>
                <a:cxn ang="0">
                  <a:pos x="connsiteX3848" y="connsiteY3848"/>
                </a:cxn>
                <a:cxn ang="0">
                  <a:pos x="connsiteX3849" y="connsiteY3849"/>
                </a:cxn>
                <a:cxn ang="0">
                  <a:pos x="connsiteX3850" y="connsiteY3850"/>
                </a:cxn>
                <a:cxn ang="0">
                  <a:pos x="connsiteX3851" y="connsiteY3851"/>
                </a:cxn>
                <a:cxn ang="0">
                  <a:pos x="connsiteX3852" y="connsiteY3852"/>
                </a:cxn>
                <a:cxn ang="0">
                  <a:pos x="connsiteX3853" y="connsiteY3853"/>
                </a:cxn>
                <a:cxn ang="0">
                  <a:pos x="connsiteX3854" y="connsiteY3854"/>
                </a:cxn>
                <a:cxn ang="0">
                  <a:pos x="connsiteX3855" y="connsiteY3855"/>
                </a:cxn>
                <a:cxn ang="0">
                  <a:pos x="connsiteX3856" y="connsiteY3856"/>
                </a:cxn>
                <a:cxn ang="0">
                  <a:pos x="connsiteX3857" y="connsiteY3857"/>
                </a:cxn>
                <a:cxn ang="0">
                  <a:pos x="connsiteX3858" y="connsiteY3858"/>
                </a:cxn>
                <a:cxn ang="0">
                  <a:pos x="connsiteX3859" y="connsiteY3859"/>
                </a:cxn>
                <a:cxn ang="0">
                  <a:pos x="connsiteX3860" y="connsiteY3860"/>
                </a:cxn>
                <a:cxn ang="0">
                  <a:pos x="connsiteX3861" y="connsiteY3861"/>
                </a:cxn>
                <a:cxn ang="0">
                  <a:pos x="connsiteX3862" y="connsiteY3862"/>
                </a:cxn>
                <a:cxn ang="0">
                  <a:pos x="connsiteX3863" y="connsiteY3863"/>
                </a:cxn>
                <a:cxn ang="0">
                  <a:pos x="connsiteX3864" y="connsiteY3864"/>
                </a:cxn>
                <a:cxn ang="0">
                  <a:pos x="connsiteX3865" y="connsiteY3865"/>
                </a:cxn>
                <a:cxn ang="0">
                  <a:pos x="connsiteX3866" y="connsiteY3866"/>
                </a:cxn>
                <a:cxn ang="0">
                  <a:pos x="connsiteX3867" y="connsiteY3867"/>
                </a:cxn>
                <a:cxn ang="0">
                  <a:pos x="connsiteX3868" y="connsiteY3868"/>
                </a:cxn>
                <a:cxn ang="0">
                  <a:pos x="connsiteX3869" y="connsiteY3869"/>
                </a:cxn>
                <a:cxn ang="0">
                  <a:pos x="connsiteX3870" y="connsiteY3870"/>
                </a:cxn>
                <a:cxn ang="0">
                  <a:pos x="connsiteX3871" y="connsiteY3871"/>
                </a:cxn>
                <a:cxn ang="0">
                  <a:pos x="connsiteX3872" y="connsiteY3872"/>
                </a:cxn>
                <a:cxn ang="0">
                  <a:pos x="connsiteX3873" y="connsiteY3873"/>
                </a:cxn>
                <a:cxn ang="0">
                  <a:pos x="connsiteX3874" y="connsiteY3874"/>
                </a:cxn>
                <a:cxn ang="0">
                  <a:pos x="connsiteX3875" y="connsiteY3875"/>
                </a:cxn>
                <a:cxn ang="0">
                  <a:pos x="connsiteX3876" y="connsiteY3876"/>
                </a:cxn>
                <a:cxn ang="0">
                  <a:pos x="connsiteX3877" y="connsiteY3877"/>
                </a:cxn>
                <a:cxn ang="0">
                  <a:pos x="connsiteX3878" y="connsiteY3878"/>
                </a:cxn>
                <a:cxn ang="0">
                  <a:pos x="connsiteX3879" y="connsiteY3879"/>
                </a:cxn>
                <a:cxn ang="0">
                  <a:pos x="connsiteX3880" y="connsiteY3880"/>
                </a:cxn>
                <a:cxn ang="0">
                  <a:pos x="connsiteX3881" y="connsiteY3881"/>
                </a:cxn>
                <a:cxn ang="0">
                  <a:pos x="connsiteX3882" y="connsiteY3882"/>
                </a:cxn>
                <a:cxn ang="0">
                  <a:pos x="connsiteX3883" y="connsiteY3883"/>
                </a:cxn>
                <a:cxn ang="0">
                  <a:pos x="connsiteX3884" y="connsiteY3884"/>
                </a:cxn>
                <a:cxn ang="0">
                  <a:pos x="connsiteX3885" y="connsiteY3885"/>
                </a:cxn>
                <a:cxn ang="0">
                  <a:pos x="connsiteX3886" y="connsiteY3886"/>
                </a:cxn>
                <a:cxn ang="0">
                  <a:pos x="connsiteX3887" y="connsiteY3887"/>
                </a:cxn>
                <a:cxn ang="0">
                  <a:pos x="connsiteX3888" y="connsiteY3888"/>
                </a:cxn>
                <a:cxn ang="0">
                  <a:pos x="connsiteX3889" y="connsiteY3889"/>
                </a:cxn>
                <a:cxn ang="0">
                  <a:pos x="connsiteX3890" y="connsiteY3890"/>
                </a:cxn>
                <a:cxn ang="0">
                  <a:pos x="connsiteX3891" y="connsiteY3891"/>
                </a:cxn>
                <a:cxn ang="0">
                  <a:pos x="connsiteX3892" y="connsiteY3892"/>
                </a:cxn>
                <a:cxn ang="0">
                  <a:pos x="connsiteX3893" y="connsiteY3893"/>
                </a:cxn>
                <a:cxn ang="0">
                  <a:pos x="connsiteX3894" y="connsiteY3894"/>
                </a:cxn>
                <a:cxn ang="0">
                  <a:pos x="connsiteX3895" y="connsiteY3895"/>
                </a:cxn>
                <a:cxn ang="0">
                  <a:pos x="connsiteX3896" y="connsiteY3896"/>
                </a:cxn>
                <a:cxn ang="0">
                  <a:pos x="connsiteX3897" y="connsiteY3897"/>
                </a:cxn>
                <a:cxn ang="0">
                  <a:pos x="connsiteX3898" y="connsiteY3898"/>
                </a:cxn>
                <a:cxn ang="0">
                  <a:pos x="connsiteX3899" y="connsiteY3899"/>
                </a:cxn>
                <a:cxn ang="0">
                  <a:pos x="connsiteX3900" y="connsiteY3900"/>
                </a:cxn>
                <a:cxn ang="0">
                  <a:pos x="connsiteX3901" y="connsiteY3901"/>
                </a:cxn>
                <a:cxn ang="0">
                  <a:pos x="connsiteX3902" y="connsiteY3902"/>
                </a:cxn>
                <a:cxn ang="0">
                  <a:pos x="connsiteX3903" y="connsiteY3903"/>
                </a:cxn>
                <a:cxn ang="0">
                  <a:pos x="connsiteX3904" y="connsiteY3904"/>
                </a:cxn>
                <a:cxn ang="0">
                  <a:pos x="connsiteX3905" y="connsiteY3905"/>
                </a:cxn>
                <a:cxn ang="0">
                  <a:pos x="connsiteX3906" y="connsiteY3906"/>
                </a:cxn>
                <a:cxn ang="0">
                  <a:pos x="connsiteX3907" y="connsiteY3907"/>
                </a:cxn>
                <a:cxn ang="0">
                  <a:pos x="connsiteX3908" y="connsiteY3908"/>
                </a:cxn>
                <a:cxn ang="0">
                  <a:pos x="connsiteX3909" y="connsiteY3909"/>
                </a:cxn>
                <a:cxn ang="0">
                  <a:pos x="connsiteX3910" y="connsiteY3910"/>
                </a:cxn>
                <a:cxn ang="0">
                  <a:pos x="connsiteX3911" y="connsiteY3911"/>
                </a:cxn>
                <a:cxn ang="0">
                  <a:pos x="connsiteX3912" y="connsiteY3912"/>
                </a:cxn>
                <a:cxn ang="0">
                  <a:pos x="connsiteX3913" y="connsiteY3913"/>
                </a:cxn>
                <a:cxn ang="0">
                  <a:pos x="connsiteX3914" y="connsiteY3914"/>
                </a:cxn>
                <a:cxn ang="0">
                  <a:pos x="connsiteX3915" y="connsiteY3915"/>
                </a:cxn>
                <a:cxn ang="0">
                  <a:pos x="connsiteX3916" y="connsiteY3916"/>
                </a:cxn>
                <a:cxn ang="0">
                  <a:pos x="connsiteX3917" y="connsiteY3917"/>
                </a:cxn>
                <a:cxn ang="0">
                  <a:pos x="connsiteX3918" y="connsiteY3918"/>
                </a:cxn>
                <a:cxn ang="0">
                  <a:pos x="connsiteX3919" y="connsiteY3919"/>
                </a:cxn>
                <a:cxn ang="0">
                  <a:pos x="connsiteX3920" y="connsiteY3920"/>
                </a:cxn>
                <a:cxn ang="0">
                  <a:pos x="connsiteX3921" y="connsiteY3921"/>
                </a:cxn>
                <a:cxn ang="0">
                  <a:pos x="connsiteX3922" y="connsiteY3922"/>
                </a:cxn>
                <a:cxn ang="0">
                  <a:pos x="connsiteX3923" y="connsiteY3923"/>
                </a:cxn>
                <a:cxn ang="0">
                  <a:pos x="connsiteX3924" y="connsiteY3924"/>
                </a:cxn>
                <a:cxn ang="0">
                  <a:pos x="connsiteX3925" y="connsiteY3925"/>
                </a:cxn>
                <a:cxn ang="0">
                  <a:pos x="connsiteX3926" y="connsiteY3926"/>
                </a:cxn>
                <a:cxn ang="0">
                  <a:pos x="connsiteX3927" y="connsiteY3927"/>
                </a:cxn>
                <a:cxn ang="0">
                  <a:pos x="connsiteX3928" y="connsiteY3928"/>
                </a:cxn>
                <a:cxn ang="0">
                  <a:pos x="connsiteX3929" y="connsiteY3929"/>
                </a:cxn>
                <a:cxn ang="0">
                  <a:pos x="connsiteX3930" y="connsiteY3930"/>
                </a:cxn>
                <a:cxn ang="0">
                  <a:pos x="connsiteX3931" y="connsiteY3931"/>
                </a:cxn>
                <a:cxn ang="0">
                  <a:pos x="connsiteX3932" y="connsiteY3932"/>
                </a:cxn>
                <a:cxn ang="0">
                  <a:pos x="connsiteX3933" y="connsiteY3933"/>
                </a:cxn>
                <a:cxn ang="0">
                  <a:pos x="connsiteX3934" y="connsiteY3934"/>
                </a:cxn>
                <a:cxn ang="0">
                  <a:pos x="connsiteX3935" y="connsiteY3935"/>
                </a:cxn>
                <a:cxn ang="0">
                  <a:pos x="connsiteX3936" y="connsiteY3936"/>
                </a:cxn>
                <a:cxn ang="0">
                  <a:pos x="connsiteX3937" y="connsiteY3937"/>
                </a:cxn>
                <a:cxn ang="0">
                  <a:pos x="connsiteX3938" y="connsiteY3938"/>
                </a:cxn>
                <a:cxn ang="0">
                  <a:pos x="connsiteX3939" y="connsiteY3939"/>
                </a:cxn>
                <a:cxn ang="0">
                  <a:pos x="connsiteX3940" y="connsiteY3940"/>
                </a:cxn>
                <a:cxn ang="0">
                  <a:pos x="connsiteX3941" y="connsiteY3941"/>
                </a:cxn>
                <a:cxn ang="0">
                  <a:pos x="connsiteX3942" y="connsiteY3942"/>
                </a:cxn>
                <a:cxn ang="0">
                  <a:pos x="connsiteX3943" y="connsiteY3943"/>
                </a:cxn>
                <a:cxn ang="0">
                  <a:pos x="connsiteX3944" y="connsiteY3944"/>
                </a:cxn>
                <a:cxn ang="0">
                  <a:pos x="connsiteX3945" y="connsiteY3945"/>
                </a:cxn>
                <a:cxn ang="0">
                  <a:pos x="connsiteX3946" y="connsiteY3946"/>
                </a:cxn>
                <a:cxn ang="0">
                  <a:pos x="connsiteX3947" y="connsiteY3947"/>
                </a:cxn>
                <a:cxn ang="0">
                  <a:pos x="connsiteX3948" y="connsiteY3948"/>
                </a:cxn>
                <a:cxn ang="0">
                  <a:pos x="connsiteX3949" y="connsiteY3949"/>
                </a:cxn>
                <a:cxn ang="0">
                  <a:pos x="connsiteX3950" y="connsiteY3950"/>
                </a:cxn>
                <a:cxn ang="0">
                  <a:pos x="connsiteX3951" y="connsiteY3951"/>
                </a:cxn>
                <a:cxn ang="0">
                  <a:pos x="connsiteX3952" y="connsiteY3952"/>
                </a:cxn>
                <a:cxn ang="0">
                  <a:pos x="connsiteX3953" y="connsiteY3953"/>
                </a:cxn>
                <a:cxn ang="0">
                  <a:pos x="connsiteX3954" y="connsiteY3954"/>
                </a:cxn>
                <a:cxn ang="0">
                  <a:pos x="connsiteX3955" y="connsiteY3955"/>
                </a:cxn>
                <a:cxn ang="0">
                  <a:pos x="connsiteX3956" y="connsiteY3956"/>
                </a:cxn>
                <a:cxn ang="0">
                  <a:pos x="connsiteX3957" y="connsiteY3957"/>
                </a:cxn>
                <a:cxn ang="0">
                  <a:pos x="connsiteX3958" y="connsiteY3958"/>
                </a:cxn>
                <a:cxn ang="0">
                  <a:pos x="connsiteX3959" y="connsiteY3959"/>
                </a:cxn>
                <a:cxn ang="0">
                  <a:pos x="connsiteX3960" y="connsiteY3960"/>
                </a:cxn>
                <a:cxn ang="0">
                  <a:pos x="connsiteX3961" y="connsiteY3961"/>
                </a:cxn>
                <a:cxn ang="0">
                  <a:pos x="connsiteX3962" y="connsiteY3962"/>
                </a:cxn>
                <a:cxn ang="0">
                  <a:pos x="connsiteX3963" y="connsiteY3963"/>
                </a:cxn>
                <a:cxn ang="0">
                  <a:pos x="connsiteX3964" y="connsiteY3964"/>
                </a:cxn>
                <a:cxn ang="0">
                  <a:pos x="connsiteX3965" y="connsiteY3965"/>
                </a:cxn>
                <a:cxn ang="0">
                  <a:pos x="connsiteX3966" y="connsiteY3966"/>
                </a:cxn>
                <a:cxn ang="0">
                  <a:pos x="connsiteX3967" y="connsiteY3967"/>
                </a:cxn>
                <a:cxn ang="0">
                  <a:pos x="connsiteX3968" y="connsiteY3968"/>
                </a:cxn>
                <a:cxn ang="0">
                  <a:pos x="connsiteX3969" y="connsiteY3969"/>
                </a:cxn>
                <a:cxn ang="0">
                  <a:pos x="connsiteX3970" y="connsiteY3970"/>
                </a:cxn>
                <a:cxn ang="0">
                  <a:pos x="connsiteX3971" y="connsiteY3971"/>
                </a:cxn>
                <a:cxn ang="0">
                  <a:pos x="connsiteX3972" y="connsiteY3972"/>
                </a:cxn>
                <a:cxn ang="0">
                  <a:pos x="connsiteX3973" y="connsiteY3973"/>
                </a:cxn>
                <a:cxn ang="0">
                  <a:pos x="connsiteX3974" y="connsiteY3974"/>
                </a:cxn>
                <a:cxn ang="0">
                  <a:pos x="connsiteX3975" y="connsiteY3975"/>
                </a:cxn>
                <a:cxn ang="0">
                  <a:pos x="connsiteX3976" y="connsiteY3976"/>
                </a:cxn>
                <a:cxn ang="0">
                  <a:pos x="connsiteX3977" y="connsiteY3977"/>
                </a:cxn>
                <a:cxn ang="0">
                  <a:pos x="connsiteX3978" y="connsiteY3978"/>
                </a:cxn>
                <a:cxn ang="0">
                  <a:pos x="connsiteX3979" y="connsiteY3979"/>
                </a:cxn>
                <a:cxn ang="0">
                  <a:pos x="connsiteX3980" y="connsiteY3980"/>
                </a:cxn>
                <a:cxn ang="0">
                  <a:pos x="connsiteX3981" y="connsiteY3981"/>
                </a:cxn>
                <a:cxn ang="0">
                  <a:pos x="connsiteX3982" y="connsiteY3982"/>
                </a:cxn>
                <a:cxn ang="0">
                  <a:pos x="connsiteX3983" y="connsiteY3983"/>
                </a:cxn>
                <a:cxn ang="0">
                  <a:pos x="connsiteX3984" y="connsiteY3984"/>
                </a:cxn>
                <a:cxn ang="0">
                  <a:pos x="connsiteX3985" y="connsiteY3985"/>
                </a:cxn>
                <a:cxn ang="0">
                  <a:pos x="connsiteX3986" y="connsiteY3986"/>
                </a:cxn>
                <a:cxn ang="0">
                  <a:pos x="connsiteX3987" y="connsiteY3987"/>
                </a:cxn>
                <a:cxn ang="0">
                  <a:pos x="connsiteX3988" y="connsiteY3988"/>
                </a:cxn>
                <a:cxn ang="0">
                  <a:pos x="connsiteX3989" y="connsiteY3989"/>
                </a:cxn>
                <a:cxn ang="0">
                  <a:pos x="connsiteX3990" y="connsiteY3990"/>
                </a:cxn>
                <a:cxn ang="0">
                  <a:pos x="connsiteX3991" y="connsiteY3991"/>
                </a:cxn>
                <a:cxn ang="0">
                  <a:pos x="connsiteX3992" y="connsiteY3992"/>
                </a:cxn>
                <a:cxn ang="0">
                  <a:pos x="connsiteX3993" y="connsiteY3993"/>
                </a:cxn>
                <a:cxn ang="0">
                  <a:pos x="connsiteX3994" y="connsiteY3994"/>
                </a:cxn>
                <a:cxn ang="0">
                  <a:pos x="connsiteX3995" y="connsiteY3995"/>
                </a:cxn>
                <a:cxn ang="0">
                  <a:pos x="connsiteX3996" y="connsiteY3996"/>
                </a:cxn>
                <a:cxn ang="0">
                  <a:pos x="connsiteX3997" y="connsiteY3997"/>
                </a:cxn>
                <a:cxn ang="0">
                  <a:pos x="connsiteX3998" y="connsiteY3998"/>
                </a:cxn>
                <a:cxn ang="0">
                  <a:pos x="connsiteX3999" y="connsiteY3999"/>
                </a:cxn>
                <a:cxn ang="0">
                  <a:pos x="connsiteX4000" y="connsiteY4000"/>
                </a:cxn>
                <a:cxn ang="0">
                  <a:pos x="connsiteX4001" y="connsiteY4001"/>
                </a:cxn>
                <a:cxn ang="0">
                  <a:pos x="connsiteX4002" y="connsiteY4002"/>
                </a:cxn>
                <a:cxn ang="0">
                  <a:pos x="connsiteX4003" y="connsiteY4003"/>
                </a:cxn>
                <a:cxn ang="0">
                  <a:pos x="connsiteX4004" y="connsiteY4004"/>
                </a:cxn>
                <a:cxn ang="0">
                  <a:pos x="connsiteX4005" y="connsiteY4005"/>
                </a:cxn>
                <a:cxn ang="0">
                  <a:pos x="connsiteX4006" y="connsiteY4006"/>
                </a:cxn>
                <a:cxn ang="0">
                  <a:pos x="connsiteX4007" y="connsiteY4007"/>
                </a:cxn>
                <a:cxn ang="0">
                  <a:pos x="connsiteX4008" y="connsiteY4008"/>
                </a:cxn>
                <a:cxn ang="0">
                  <a:pos x="connsiteX4009" y="connsiteY4009"/>
                </a:cxn>
                <a:cxn ang="0">
                  <a:pos x="connsiteX4010" y="connsiteY4010"/>
                </a:cxn>
                <a:cxn ang="0">
                  <a:pos x="connsiteX4011" y="connsiteY4011"/>
                </a:cxn>
                <a:cxn ang="0">
                  <a:pos x="connsiteX4012" y="connsiteY4012"/>
                </a:cxn>
                <a:cxn ang="0">
                  <a:pos x="connsiteX4013" y="connsiteY4013"/>
                </a:cxn>
                <a:cxn ang="0">
                  <a:pos x="connsiteX4014" y="connsiteY4014"/>
                </a:cxn>
                <a:cxn ang="0">
                  <a:pos x="connsiteX4015" y="connsiteY4015"/>
                </a:cxn>
                <a:cxn ang="0">
                  <a:pos x="connsiteX4016" y="connsiteY4016"/>
                </a:cxn>
                <a:cxn ang="0">
                  <a:pos x="connsiteX4017" y="connsiteY4017"/>
                </a:cxn>
                <a:cxn ang="0">
                  <a:pos x="connsiteX4018" y="connsiteY4018"/>
                </a:cxn>
                <a:cxn ang="0">
                  <a:pos x="connsiteX4019" y="connsiteY4019"/>
                </a:cxn>
                <a:cxn ang="0">
                  <a:pos x="connsiteX4020" y="connsiteY4020"/>
                </a:cxn>
                <a:cxn ang="0">
                  <a:pos x="connsiteX4021" y="connsiteY4021"/>
                </a:cxn>
                <a:cxn ang="0">
                  <a:pos x="connsiteX4022" y="connsiteY4022"/>
                </a:cxn>
                <a:cxn ang="0">
                  <a:pos x="connsiteX4023" y="connsiteY4023"/>
                </a:cxn>
                <a:cxn ang="0">
                  <a:pos x="connsiteX4024" y="connsiteY4024"/>
                </a:cxn>
                <a:cxn ang="0">
                  <a:pos x="connsiteX4025" y="connsiteY4025"/>
                </a:cxn>
                <a:cxn ang="0">
                  <a:pos x="connsiteX4026" y="connsiteY4026"/>
                </a:cxn>
                <a:cxn ang="0">
                  <a:pos x="connsiteX4027" y="connsiteY4027"/>
                </a:cxn>
                <a:cxn ang="0">
                  <a:pos x="connsiteX4028" y="connsiteY4028"/>
                </a:cxn>
                <a:cxn ang="0">
                  <a:pos x="connsiteX4029" y="connsiteY4029"/>
                </a:cxn>
                <a:cxn ang="0">
                  <a:pos x="connsiteX4030" y="connsiteY4030"/>
                </a:cxn>
                <a:cxn ang="0">
                  <a:pos x="connsiteX4031" y="connsiteY4031"/>
                </a:cxn>
                <a:cxn ang="0">
                  <a:pos x="connsiteX4032" y="connsiteY4032"/>
                </a:cxn>
                <a:cxn ang="0">
                  <a:pos x="connsiteX4033" y="connsiteY4033"/>
                </a:cxn>
                <a:cxn ang="0">
                  <a:pos x="connsiteX4034" y="connsiteY4034"/>
                </a:cxn>
                <a:cxn ang="0">
                  <a:pos x="connsiteX4035" y="connsiteY4035"/>
                </a:cxn>
                <a:cxn ang="0">
                  <a:pos x="connsiteX4036" y="connsiteY4036"/>
                </a:cxn>
                <a:cxn ang="0">
                  <a:pos x="connsiteX4037" y="connsiteY4037"/>
                </a:cxn>
                <a:cxn ang="0">
                  <a:pos x="connsiteX4038" y="connsiteY4038"/>
                </a:cxn>
                <a:cxn ang="0">
                  <a:pos x="connsiteX4039" y="connsiteY4039"/>
                </a:cxn>
                <a:cxn ang="0">
                  <a:pos x="connsiteX4040" y="connsiteY4040"/>
                </a:cxn>
                <a:cxn ang="0">
                  <a:pos x="connsiteX4041" y="connsiteY4041"/>
                </a:cxn>
                <a:cxn ang="0">
                  <a:pos x="connsiteX4042" y="connsiteY4042"/>
                </a:cxn>
                <a:cxn ang="0">
                  <a:pos x="connsiteX4043" y="connsiteY4043"/>
                </a:cxn>
                <a:cxn ang="0">
                  <a:pos x="connsiteX4044" y="connsiteY4044"/>
                </a:cxn>
                <a:cxn ang="0">
                  <a:pos x="connsiteX4045" y="connsiteY4045"/>
                </a:cxn>
                <a:cxn ang="0">
                  <a:pos x="connsiteX4046" y="connsiteY4046"/>
                </a:cxn>
                <a:cxn ang="0">
                  <a:pos x="connsiteX4047" y="connsiteY4047"/>
                </a:cxn>
                <a:cxn ang="0">
                  <a:pos x="connsiteX4048" y="connsiteY4048"/>
                </a:cxn>
                <a:cxn ang="0">
                  <a:pos x="connsiteX4049" y="connsiteY4049"/>
                </a:cxn>
                <a:cxn ang="0">
                  <a:pos x="connsiteX4050" y="connsiteY4050"/>
                </a:cxn>
                <a:cxn ang="0">
                  <a:pos x="connsiteX4051" y="connsiteY4051"/>
                </a:cxn>
                <a:cxn ang="0">
                  <a:pos x="connsiteX4052" y="connsiteY4052"/>
                </a:cxn>
                <a:cxn ang="0">
                  <a:pos x="connsiteX4053" y="connsiteY4053"/>
                </a:cxn>
                <a:cxn ang="0">
                  <a:pos x="connsiteX4054" y="connsiteY4054"/>
                </a:cxn>
                <a:cxn ang="0">
                  <a:pos x="connsiteX4055" y="connsiteY4055"/>
                </a:cxn>
                <a:cxn ang="0">
                  <a:pos x="connsiteX4056" y="connsiteY4056"/>
                </a:cxn>
                <a:cxn ang="0">
                  <a:pos x="connsiteX4057" y="connsiteY4057"/>
                </a:cxn>
                <a:cxn ang="0">
                  <a:pos x="connsiteX4058" y="connsiteY4058"/>
                </a:cxn>
                <a:cxn ang="0">
                  <a:pos x="connsiteX4059" y="connsiteY4059"/>
                </a:cxn>
                <a:cxn ang="0">
                  <a:pos x="connsiteX4060" y="connsiteY4060"/>
                </a:cxn>
                <a:cxn ang="0">
                  <a:pos x="connsiteX4061" y="connsiteY4061"/>
                </a:cxn>
                <a:cxn ang="0">
                  <a:pos x="connsiteX4062" y="connsiteY4062"/>
                </a:cxn>
                <a:cxn ang="0">
                  <a:pos x="connsiteX4063" y="connsiteY4063"/>
                </a:cxn>
                <a:cxn ang="0">
                  <a:pos x="connsiteX4064" y="connsiteY4064"/>
                </a:cxn>
                <a:cxn ang="0">
                  <a:pos x="connsiteX4065" y="connsiteY4065"/>
                </a:cxn>
                <a:cxn ang="0">
                  <a:pos x="connsiteX4066" y="connsiteY4066"/>
                </a:cxn>
                <a:cxn ang="0">
                  <a:pos x="connsiteX4067" y="connsiteY4067"/>
                </a:cxn>
                <a:cxn ang="0">
                  <a:pos x="connsiteX4068" y="connsiteY4068"/>
                </a:cxn>
                <a:cxn ang="0">
                  <a:pos x="connsiteX4069" y="connsiteY4069"/>
                </a:cxn>
                <a:cxn ang="0">
                  <a:pos x="connsiteX4070" y="connsiteY4070"/>
                </a:cxn>
                <a:cxn ang="0">
                  <a:pos x="connsiteX4071" y="connsiteY4071"/>
                </a:cxn>
                <a:cxn ang="0">
                  <a:pos x="connsiteX4072" y="connsiteY4072"/>
                </a:cxn>
                <a:cxn ang="0">
                  <a:pos x="connsiteX4073" y="connsiteY4073"/>
                </a:cxn>
                <a:cxn ang="0">
                  <a:pos x="connsiteX4074" y="connsiteY4074"/>
                </a:cxn>
                <a:cxn ang="0">
                  <a:pos x="connsiteX4075" y="connsiteY4075"/>
                </a:cxn>
                <a:cxn ang="0">
                  <a:pos x="connsiteX4076" y="connsiteY4076"/>
                </a:cxn>
                <a:cxn ang="0">
                  <a:pos x="connsiteX4077" y="connsiteY4077"/>
                </a:cxn>
                <a:cxn ang="0">
                  <a:pos x="connsiteX4078" y="connsiteY4078"/>
                </a:cxn>
                <a:cxn ang="0">
                  <a:pos x="connsiteX4079" y="connsiteY4079"/>
                </a:cxn>
                <a:cxn ang="0">
                  <a:pos x="connsiteX4080" y="connsiteY4080"/>
                </a:cxn>
                <a:cxn ang="0">
                  <a:pos x="connsiteX4081" y="connsiteY4081"/>
                </a:cxn>
                <a:cxn ang="0">
                  <a:pos x="connsiteX4082" y="connsiteY4082"/>
                </a:cxn>
                <a:cxn ang="0">
                  <a:pos x="connsiteX4083" y="connsiteY4083"/>
                </a:cxn>
                <a:cxn ang="0">
                  <a:pos x="connsiteX4084" y="connsiteY4084"/>
                </a:cxn>
                <a:cxn ang="0">
                  <a:pos x="connsiteX4085" y="connsiteY4085"/>
                </a:cxn>
                <a:cxn ang="0">
                  <a:pos x="connsiteX4086" y="connsiteY4086"/>
                </a:cxn>
                <a:cxn ang="0">
                  <a:pos x="connsiteX4087" y="connsiteY4087"/>
                </a:cxn>
                <a:cxn ang="0">
                  <a:pos x="connsiteX4088" y="connsiteY4088"/>
                </a:cxn>
                <a:cxn ang="0">
                  <a:pos x="connsiteX4089" y="connsiteY4089"/>
                </a:cxn>
                <a:cxn ang="0">
                  <a:pos x="connsiteX4090" y="connsiteY4090"/>
                </a:cxn>
                <a:cxn ang="0">
                  <a:pos x="connsiteX4091" y="connsiteY4091"/>
                </a:cxn>
                <a:cxn ang="0">
                  <a:pos x="connsiteX4092" y="connsiteY4092"/>
                </a:cxn>
                <a:cxn ang="0">
                  <a:pos x="connsiteX4093" y="connsiteY4093"/>
                </a:cxn>
                <a:cxn ang="0">
                  <a:pos x="connsiteX4094" y="connsiteY4094"/>
                </a:cxn>
                <a:cxn ang="0">
                  <a:pos x="connsiteX4095" y="connsiteY4095"/>
                </a:cxn>
                <a:cxn ang="0">
                  <a:pos x="connsiteX4096" y="connsiteY4096"/>
                </a:cxn>
                <a:cxn ang="0">
                  <a:pos x="connsiteX4097" y="connsiteY4097"/>
                </a:cxn>
                <a:cxn ang="0">
                  <a:pos x="connsiteX4098" y="connsiteY4098"/>
                </a:cxn>
                <a:cxn ang="0">
                  <a:pos x="connsiteX4099" y="connsiteY4099"/>
                </a:cxn>
                <a:cxn ang="0">
                  <a:pos x="connsiteX4100" y="connsiteY4100"/>
                </a:cxn>
                <a:cxn ang="0">
                  <a:pos x="connsiteX4101" y="connsiteY4101"/>
                </a:cxn>
                <a:cxn ang="0">
                  <a:pos x="connsiteX4102" y="connsiteY4102"/>
                </a:cxn>
                <a:cxn ang="0">
                  <a:pos x="connsiteX4103" y="connsiteY4103"/>
                </a:cxn>
                <a:cxn ang="0">
                  <a:pos x="connsiteX4104" y="connsiteY4104"/>
                </a:cxn>
                <a:cxn ang="0">
                  <a:pos x="connsiteX4105" y="connsiteY4105"/>
                </a:cxn>
                <a:cxn ang="0">
                  <a:pos x="connsiteX4106" y="connsiteY4106"/>
                </a:cxn>
                <a:cxn ang="0">
                  <a:pos x="connsiteX4107" y="connsiteY4107"/>
                </a:cxn>
                <a:cxn ang="0">
                  <a:pos x="connsiteX4108" y="connsiteY4108"/>
                </a:cxn>
                <a:cxn ang="0">
                  <a:pos x="connsiteX4109" y="connsiteY4109"/>
                </a:cxn>
                <a:cxn ang="0">
                  <a:pos x="connsiteX4110" y="connsiteY4110"/>
                </a:cxn>
                <a:cxn ang="0">
                  <a:pos x="connsiteX4111" y="connsiteY4111"/>
                </a:cxn>
                <a:cxn ang="0">
                  <a:pos x="connsiteX4112" y="connsiteY4112"/>
                </a:cxn>
                <a:cxn ang="0">
                  <a:pos x="connsiteX4113" y="connsiteY4113"/>
                </a:cxn>
                <a:cxn ang="0">
                  <a:pos x="connsiteX4114" y="connsiteY4114"/>
                </a:cxn>
                <a:cxn ang="0">
                  <a:pos x="connsiteX4115" y="connsiteY4115"/>
                </a:cxn>
                <a:cxn ang="0">
                  <a:pos x="connsiteX4116" y="connsiteY4116"/>
                </a:cxn>
                <a:cxn ang="0">
                  <a:pos x="connsiteX4117" y="connsiteY4117"/>
                </a:cxn>
                <a:cxn ang="0">
                  <a:pos x="connsiteX4118" y="connsiteY4118"/>
                </a:cxn>
                <a:cxn ang="0">
                  <a:pos x="connsiteX4119" y="connsiteY4119"/>
                </a:cxn>
                <a:cxn ang="0">
                  <a:pos x="connsiteX4120" y="connsiteY4120"/>
                </a:cxn>
                <a:cxn ang="0">
                  <a:pos x="connsiteX4121" y="connsiteY4121"/>
                </a:cxn>
                <a:cxn ang="0">
                  <a:pos x="connsiteX4122" y="connsiteY4122"/>
                </a:cxn>
                <a:cxn ang="0">
                  <a:pos x="connsiteX4123" y="connsiteY4123"/>
                </a:cxn>
                <a:cxn ang="0">
                  <a:pos x="connsiteX4124" y="connsiteY4124"/>
                </a:cxn>
                <a:cxn ang="0">
                  <a:pos x="connsiteX4125" y="connsiteY4125"/>
                </a:cxn>
                <a:cxn ang="0">
                  <a:pos x="connsiteX4126" y="connsiteY4126"/>
                </a:cxn>
                <a:cxn ang="0">
                  <a:pos x="connsiteX4127" y="connsiteY4127"/>
                </a:cxn>
                <a:cxn ang="0">
                  <a:pos x="connsiteX4128" y="connsiteY4128"/>
                </a:cxn>
                <a:cxn ang="0">
                  <a:pos x="connsiteX4129" y="connsiteY4129"/>
                </a:cxn>
                <a:cxn ang="0">
                  <a:pos x="connsiteX4130" y="connsiteY4130"/>
                </a:cxn>
                <a:cxn ang="0">
                  <a:pos x="connsiteX4131" y="connsiteY4131"/>
                </a:cxn>
                <a:cxn ang="0">
                  <a:pos x="connsiteX4132" y="connsiteY4132"/>
                </a:cxn>
                <a:cxn ang="0">
                  <a:pos x="connsiteX4133" y="connsiteY4133"/>
                </a:cxn>
                <a:cxn ang="0">
                  <a:pos x="connsiteX4134" y="connsiteY4134"/>
                </a:cxn>
                <a:cxn ang="0">
                  <a:pos x="connsiteX4135" y="connsiteY4135"/>
                </a:cxn>
                <a:cxn ang="0">
                  <a:pos x="connsiteX4136" y="connsiteY4136"/>
                </a:cxn>
                <a:cxn ang="0">
                  <a:pos x="connsiteX4137" y="connsiteY4137"/>
                </a:cxn>
                <a:cxn ang="0">
                  <a:pos x="connsiteX4138" y="connsiteY4138"/>
                </a:cxn>
                <a:cxn ang="0">
                  <a:pos x="connsiteX4139" y="connsiteY4139"/>
                </a:cxn>
                <a:cxn ang="0">
                  <a:pos x="connsiteX4140" y="connsiteY4140"/>
                </a:cxn>
                <a:cxn ang="0">
                  <a:pos x="connsiteX4141" y="connsiteY4141"/>
                </a:cxn>
                <a:cxn ang="0">
                  <a:pos x="connsiteX4142" y="connsiteY4142"/>
                </a:cxn>
                <a:cxn ang="0">
                  <a:pos x="connsiteX4143" y="connsiteY4143"/>
                </a:cxn>
                <a:cxn ang="0">
                  <a:pos x="connsiteX4144" y="connsiteY4144"/>
                </a:cxn>
                <a:cxn ang="0">
                  <a:pos x="connsiteX4145" y="connsiteY4145"/>
                </a:cxn>
                <a:cxn ang="0">
                  <a:pos x="connsiteX4146" y="connsiteY4146"/>
                </a:cxn>
                <a:cxn ang="0">
                  <a:pos x="connsiteX4147" y="connsiteY4147"/>
                </a:cxn>
                <a:cxn ang="0">
                  <a:pos x="connsiteX4148" y="connsiteY4148"/>
                </a:cxn>
                <a:cxn ang="0">
                  <a:pos x="connsiteX4149" y="connsiteY4149"/>
                </a:cxn>
                <a:cxn ang="0">
                  <a:pos x="connsiteX4150" y="connsiteY4150"/>
                </a:cxn>
                <a:cxn ang="0">
                  <a:pos x="connsiteX4151" y="connsiteY4151"/>
                </a:cxn>
                <a:cxn ang="0">
                  <a:pos x="connsiteX4152" y="connsiteY4152"/>
                </a:cxn>
                <a:cxn ang="0">
                  <a:pos x="connsiteX4153" y="connsiteY4153"/>
                </a:cxn>
                <a:cxn ang="0">
                  <a:pos x="connsiteX4154" y="connsiteY4154"/>
                </a:cxn>
                <a:cxn ang="0">
                  <a:pos x="connsiteX4155" y="connsiteY4155"/>
                </a:cxn>
                <a:cxn ang="0">
                  <a:pos x="connsiteX4156" y="connsiteY4156"/>
                </a:cxn>
                <a:cxn ang="0">
                  <a:pos x="connsiteX4157" y="connsiteY4157"/>
                </a:cxn>
                <a:cxn ang="0">
                  <a:pos x="connsiteX4158" y="connsiteY4158"/>
                </a:cxn>
                <a:cxn ang="0">
                  <a:pos x="connsiteX4159" y="connsiteY4159"/>
                </a:cxn>
                <a:cxn ang="0">
                  <a:pos x="connsiteX4160" y="connsiteY4160"/>
                </a:cxn>
                <a:cxn ang="0">
                  <a:pos x="connsiteX4161" y="connsiteY4161"/>
                </a:cxn>
                <a:cxn ang="0">
                  <a:pos x="connsiteX4162" y="connsiteY4162"/>
                </a:cxn>
                <a:cxn ang="0">
                  <a:pos x="connsiteX4163" y="connsiteY4163"/>
                </a:cxn>
                <a:cxn ang="0">
                  <a:pos x="connsiteX4164" y="connsiteY4164"/>
                </a:cxn>
                <a:cxn ang="0">
                  <a:pos x="connsiteX4165" y="connsiteY4165"/>
                </a:cxn>
                <a:cxn ang="0">
                  <a:pos x="connsiteX4166" y="connsiteY4166"/>
                </a:cxn>
                <a:cxn ang="0">
                  <a:pos x="connsiteX4167" y="connsiteY4167"/>
                </a:cxn>
                <a:cxn ang="0">
                  <a:pos x="connsiteX4168" y="connsiteY4168"/>
                </a:cxn>
                <a:cxn ang="0">
                  <a:pos x="connsiteX4169" y="connsiteY4169"/>
                </a:cxn>
                <a:cxn ang="0">
                  <a:pos x="connsiteX4170" y="connsiteY4170"/>
                </a:cxn>
                <a:cxn ang="0">
                  <a:pos x="connsiteX4171" y="connsiteY4171"/>
                </a:cxn>
                <a:cxn ang="0">
                  <a:pos x="connsiteX4172" y="connsiteY4172"/>
                </a:cxn>
                <a:cxn ang="0">
                  <a:pos x="connsiteX4173" y="connsiteY4173"/>
                </a:cxn>
                <a:cxn ang="0">
                  <a:pos x="connsiteX4174" y="connsiteY4174"/>
                </a:cxn>
                <a:cxn ang="0">
                  <a:pos x="connsiteX4175" y="connsiteY4175"/>
                </a:cxn>
                <a:cxn ang="0">
                  <a:pos x="connsiteX4176" y="connsiteY4176"/>
                </a:cxn>
                <a:cxn ang="0">
                  <a:pos x="connsiteX4177" y="connsiteY4177"/>
                </a:cxn>
                <a:cxn ang="0">
                  <a:pos x="connsiteX4178" y="connsiteY4178"/>
                </a:cxn>
                <a:cxn ang="0">
                  <a:pos x="connsiteX4179" y="connsiteY4179"/>
                </a:cxn>
                <a:cxn ang="0">
                  <a:pos x="connsiteX4180" y="connsiteY4180"/>
                </a:cxn>
                <a:cxn ang="0">
                  <a:pos x="connsiteX4181" y="connsiteY4181"/>
                </a:cxn>
                <a:cxn ang="0">
                  <a:pos x="connsiteX4182" y="connsiteY4182"/>
                </a:cxn>
                <a:cxn ang="0">
                  <a:pos x="connsiteX4183" y="connsiteY4183"/>
                </a:cxn>
                <a:cxn ang="0">
                  <a:pos x="connsiteX4184" y="connsiteY4184"/>
                </a:cxn>
                <a:cxn ang="0">
                  <a:pos x="connsiteX4185" y="connsiteY4185"/>
                </a:cxn>
                <a:cxn ang="0">
                  <a:pos x="connsiteX4186" y="connsiteY4186"/>
                </a:cxn>
                <a:cxn ang="0">
                  <a:pos x="connsiteX4187" y="connsiteY4187"/>
                </a:cxn>
                <a:cxn ang="0">
                  <a:pos x="connsiteX4188" y="connsiteY4188"/>
                </a:cxn>
                <a:cxn ang="0">
                  <a:pos x="connsiteX4189" y="connsiteY4189"/>
                </a:cxn>
                <a:cxn ang="0">
                  <a:pos x="connsiteX4190" y="connsiteY4190"/>
                </a:cxn>
                <a:cxn ang="0">
                  <a:pos x="connsiteX4191" y="connsiteY4191"/>
                </a:cxn>
                <a:cxn ang="0">
                  <a:pos x="connsiteX4192" y="connsiteY4192"/>
                </a:cxn>
                <a:cxn ang="0">
                  <a:pos x="connsiteX4193" y="connsiteY4193"/>
                </a:cxn>
                <a:cxn ang="0">
                  <a:pos x="connsiteX4194" y="connsiteY4194"/>
                </a:cxn>
                <a:cxn ang="0">
                  <a:pos x="connsiteX4195" y="connsiteY4195"/>
                </a:cxn>
                <a:cxn ang="0">
                  <a:pos x="connsiteX4196" y="connsiteY4196"/>
                </a:cxn>
                <a:cxn ang="0">
                  <a:pos x="connsiteX4197" y="connsiteY4197"/>
                </a:cxn>
                <a:cxn ang="0">
                  <a:pos x="connsiteX4198" y="connsiteY4198"/>
                </a:cxn>
                <a:cxn ang="0">
                  <a:pos x="connsiteX4199" y="connsiteY4199"/>
                </a:cxn>
                <a:cxn ang="0">
                  <a:pos x="connsiteX4200" y="connsiteY4200"/>
                </a:cxn>
                <a:cxn ang="0">
                  <a:pos x="connsiteX4201" y="connsiteY4201"/>
                </a:cxn>
                <a:cxn ang="0">
                  <a:pos x="connsiteX4202" y="connsiteY4202"/>
                </a:cxn>
                <a:cxn ang="0">
                  <a:pos x="connsiteX4203" y="connsiteY4203"/>
                </a:cxn>
                <a:cxn ang="0">
                  <a:pos x="connsiteX4204" y="connsiteY4204"/>
                </a:cxn>
                <a:cxn ang="0">
                  <a:pos x="connsiteX4205" y="connsiteY4205"/>
                </a:cxn>
                <a:cxn ang="0">
                  <a:pos x="connsiteX4206" y="connsiteY4206"/>
                </a:cxn>
                <a:cxn ang="0">
                  <a:pos x="connsiteX4207" y="connsiteY4207"/>
                </a:cxn>
                <a:cxn ang="0">
                  <a:pos x="connsiteX4208" y="connsiteY4208"/>
                </a:cxn>
                <a:cxn ang="0">
                  <a:pos x="connsiteX4209" y="connsiteY4209"/>
                </a:cxn>
                <a:cxn ang="0">
                  <a:pos x="connsiteX4210" y="connsiteY4210"/>
                </a:cxn>
                <a:cxn ang="0">
                  <a:pos x="connsiteX4211" y="connsiteY4211"/>
                </a:cxn>
                <a:cxn ang="0">
                  <a:pos x="connsiteX4212" y="connsiteY4212"/>
                </a:cxn>
                <a:cxn ang="0">
                  <a:pos x="connsiteX4213" y="connsiteY4213"/>
                </a:cxn>
                <a:cxn ang="0">
                  <a:pos x="connsiteX4214" y="connsiteY4214"/>
                </a:cxn>
                <a:cxn ang="0">
                  <a:pos x="connsiteX4215" y="connsiteY4215"/>
                </a:cxn>
                <a:cxn ang="0">
                  <a:pos x="connsiteX4216" y="connsiteY4216"/>
                </a:cxn>
                <a:cxn ang="0">
                  <a:pos x="connsiteX4217" y="connsiteY4217"/>
                </a:cxn>
                <a:cxn ang="0">
                  <a:pos x="connsiteX4218" y="connsiteY4218"/>
                </a:cxn>
                <a:cxn ang="0">
                  <a:pos x="connsiteX4219" y="connsiteY4219"/>
                </a:cxn>
                <a:cxn ang="0">
                  <a:pos x="connsiteX4220" y="connsiteY4220"/>
                </a:cxn>
                <a:cxn ang="0">
                  <a:pos x="connsiteX4221" y="connsiteY4221"/>
                </a:cxn>
                <a:cxn ang="0">
                  <a:pos x="connsiteX4222" y="connsiteY4222"/>
                </a:cxn>
                <a:cxn ang="0">
                  <a:pos x="connsiteX4223" y="connsiteY4223"/>
                </a:cxn>
                <a:cxn ang="0">
                  <a:pos x="connsiteX4224" y="connsiteY4224"/>
                </a:cxn>
                <a:cxn ang="0">
                  <a:pos x="connsiteX4225" y="connsiteY4225"/>
                </a:cxn>
                <a:cxn ang="0">
                  <a:pos x="connsiteX4226" y="connsiteY4226"/>
                </a:cxn>
                <a:cxn ang="0">
                  <a:pos x="connsiteX4227" y="connsiteY4227"/>
                </a:cxn>
                <a:cxn ang="0">
                  <a:pos x="connsiteX4228" y="connsiteY4228"/>
                </a:cxn>
                <a:cxn ang="0">
                  <a:pos x="connsiteX4229" y="connsiteY4229"/>
                </a:cxn>
                <a:cxn ang="0">
                  <a:pos x="connsiteX4230" y="connsiteY4230"/>
                </a:cxn>
                <a:cxn ang="0">
                  <a:pos x="connsiteX4231" y="connsiteY4231"/>
                </a:cxn>
                <a:cxn ang="0">
                  <a:pos x="connsiteX4232" y="connsiteY4232"/>
                </a:cxn>
                <a:cxn ang="0">
                  <a:pos x="connsiteX4233" y="connsiteY4233"/>
                </a:cxn>
                <a:cxn ang="0">
                  <a:pos x="connsiteX4234" y="connsiteY4234"/>
                </a:cxn>
                <a:cxn ang="0">
                  <a:pos x="connsiteX4235" y="connsiteY4235"/>
                </a:cxn>
                <a:cxn ang="0">
                  <a:pos x="connsiteX4236" y="connsiteY4236"/>
                </a:cxn>
                <a:cxn ang="0">
                  <a:pos x="connsiteX4237" y="connsiteY4237"/>
                </a:cxn>
                <a:cxn ang="0">
                  <a:pos x="connsiteX4238" y="connsiteY4238"/>
                </a:cxn>
                <a:cxn ang="0">
                  <a:pos x="connsiteX4239" y="connsiteY4239"/>
                </a:cxn>
                <a:cxn ang="0">
                  <a:pos x="connsiteX4240" y="connsiteY4240"/>
                </a:cxn>
                <a:cxn ang="0">
                  <a:pos x="connsiteX4241" y="connsiteY4241"/>
                </a:cxn>
                <a:cxn ang="0">
                  <a:pos x="connsiteX4242" y="connsiteY4242"/>
                </a:cxn>
                <a:cxn ang="0">
                  <a:pos x="connsiteX4243" y="connsiteY4243"/>
                </a:cxn>
                <a:cxn ang="0">
                  <a:pos x="connsiteX4244" y="connsiteY4244"/>
                </a:cxn>
                <a:cxn ang="0">
                  <a:pos x="connsiteX4245" y="connsiteY4245"/>
                </a:cxn>
                <a:cxn ang="0">
                  <a:pos x="connsiteX4246" y="connsiteY4246"/>
                </a:cxn>
                <a:cxn ang="0">
                  <a:pos x="connsiteX4247" y="connsiteY4247"/>
                </a:cxn>
                <a:cxn ang="0">
                  <a:pos x="connsiteX4248" y="connsiteY4248"/>
                </a:cxn>
                <a:cxn ang="0">
                  <a:pos x="connsiteX4249" y="connsiteY4249"/>
                </a:cxn>
                <a:cxn ang="0">
                  <a:pos x="connsiteX4250" y="connsiteY4250"/>
                </a:cxn>
                <a:cxn ang="0">
                  <a:pos x="connsiteX4251" y="connsiteY4251"/>
                </a:cxn>
                <a:cxn ang="0">
                  <a:pos x="connsiteX4252" y="connsiteY4252"/>
                </a:cxn>
                <a:cxn ang="0">
                  <a:pos x="connsiteX4253" y="connsiteY4253"/>
                </a:cxn>
                <a:cxn ang="0">
                  <a:pos x="connsiteX4254" y="connsiteY4254"/>
                </a:cxn>
                <a:cxn ang="0">
                  <a:pos x="connsiteX4255" y="connsiteY4255"/>
                </a:cxn>
                <a:cxn ang="0">
                  <a:pos x="connsiteX4256" y="connsiteY4256"/>
                </a:cxn>
                <a:cxn ang="0">
                  <a:pos x="connsiteX4257" y="connsiteY4257"/>
                </a:cxn>
                <a:cxn ang="0">
                  <a:pos x="connsiteX4258" y="connsiteY4258"/>
                </a:cxn>
                <a:cxn ang="0">
                  <a:pos x="connsiteX4259" y="connsiteY4259"/>
                </a:cxn>
                <a:cxn ang="0">
                  <a:pos x="connsiteX4260" y="connsiteY4260"/>
                </a:cxn>
                <a:cxn ang="0">
                  <a:pos x="connsiteX4261" y="connsiteY4261"/>
                </a:cxn>
                <a:cxn ang="0">
                  <a:pos x="connsiteX4262" y="connsiteY4262"/>
                </a:cxn>
                <a:cxn ang="0">
                  <a:pos x="connsiteX4263" y="connsiteY4263"/>
                </a:cxn>
                <a:cxn ang="0">
                  <a:pos x="connsiteX4264" y="connsiteY4264"/>
                </a:cxn>
                <a:cxn ang="0">
                  <a:pos x="connsiteX4265" y="connsiteY4265"/>
                </a:cxn>
                <a:cxn ang="0">
                  <a:pos x="connsiteX4266" y="connsiteY4266"/>
                </a:cxn>
                <a:cxn ang="0">
                  <a:pos x="connsiteX4267" y="connsiteY4267"/>
                </a:cxn>
                <a:cxn ang="0">
                  <a:pos x="connsiteX4268" y="connsiteY4268"/>
                </a:cxn>
                <a:cxn ang="0">
                  <a:pos x="connsiteX4269" y="connsiteY4269"/>
                </a:cxn>
                <a:cxn ang="0">
                  <a:pos x="connsiteX4270" y="connsiteY4270"/>
                </a:cxn>
                <a:cxn ang="0">
                  <a:pos x="connsiteX4271" y="connsiteY4271"/>
                </a:cxn>
                <a:cxn ang="0">
                  <a:pos x="connsiteX4272" y="connsiteY4272"/>
                </a:cxn>
                <a:cxn ang="0">
                  <a:pos x="connsiteX4273" y="connsiteY4273"/>
                </a:cxn>
                <a:cxn ang="0">
                  <a:pos x="connsiteX4274" y="connsiteY4274"/>
                </a:cxn>
                <a:cxn ang="0">
                  <a:pos x="connsiteX4275" y="connsiteY4275"/>
                </a:cxn>
                <a:cxn ang="0">
                  <a:pos x="connsiteX4276" y="connsiteY4276"/>
                </a:cxn>
                <a:cxn ang="0">
                  <a:pos x="connsiteX4277" y="connsiteY4277"/>
                </a:cxn>
                <a:cxn ang="0">
                  <a:pos x="connsiteX4278" y="connsiteY4278"/>
                </a:cxn>
                <a:cxn ang="0">
                  <a:pos x="connsiteX4279" y="connsiteY4279"/>
                </a:cxn>
                <a:cxn ang="0">
                  <a:pos x="connsiteX4280" y="connsiteY4280"/>
                </a:cxn>
                <a:cxn ang="0">
                  <a:pos x="connsiteX4281" y="connsiteY4281"/>
                </a:cxn>
                <a:cxn ang="0">
                  <a:pos x="connsiteX4282" y="connsiteY4282"/>
                </a:cxn>
                <a:cxn ang="0">
                  <a:pos x="connsiteX4283" y="connsiteY4283"/>
                </a:cxn>
                <a:cxn ang="0">
                  <a:pos x="connsiteX4284" y="connsiteY4284"/>
                </a:cxn>
                <a:cxn ang="0">
                  <a:pos x="connsiteX4285" y="connsiteY4285"/>
                </a:cxn>
                <a:cxn ang="0">
                  <a:pos x="connsiteX4286" y="connsiteY4286"/>
                </a:cxn>
                <a:cxn ang="0">
                  <a:pos x="connsiteX4287" y="connsiteY4287"/>
                </a:cxn>
                <a:cxn ang="0">
                  <a:pos x="connsiteX4288" y="connsiteY4288"/>
                </a:cxn>
                <a:cxn ang="0">
                  <a:pos x="connsiteX4289" y="connsiteY4289"/>
                </a:cxn>
                <a:cxn ang="0">
                  <a:pos x="connsiteX4290" y="connsiteY4290"/>
                </a:cxn>
                <a:cxn ang="0">
                  <a:pos x="connsiteX4291" y="connsiteY4291"/>
                </a:cxn>
                <a:cxn ang="0">
                  <a:pos x="connsiteX4292" y="connsiteY4292"/>
                </a:cxn>
                <a:cxn ang="0">
                  <a:pos x="connsiteX4293" y="connsiteY4293"/>
                </a:cxn>
                <a:cxn ang="0">
                  <a:pos x="connsiteX4294" y="connsiteY4294"/>
                </a:cxn>
                <a:cxn ang="0">
                  <a:pos x="connsiteX4295" y="connsiteY4295"/>
                </a:cxn>
                <a:cxn ang="0">
                  <a:pos x="connsiteX4296" y="connsiteY4296"/>
                </a:cxn>
                <a:cxn ang="0">
                  <a:pos x="connsiteX4297" y="connsiteY4297"/>
                </a:cxn>
                <a:cxn ang="0">
                  <a:pos x="connsiteX4298" y="connsiteY4298"/>
                </a:cxn>
                <a:cxn ang="0">
                  <a:pos x="connsiteX4299" y="connsiteY4299"/>
                </a:cxn>
                <a:cxn ang="0">
                  <a:pos x="connsiteX4300" y="connsiteY4300"/>
                </a:cxn>
                <a:cxn ang="0">
                  <a:pos x="connsiteX4301" y="connsiteY4301"/>
                </a:cxn>
                <a:cxn ang="0">
                  <a:pos x="connsiteX4302" y="connsiteY4302"/>
                </a:cxn>
                <a:cxn ang="0">
                  <a:pos x="connsiteX4303" y="connsiteY4303"/>
                </a:cxn>
                <a:cxn ang="0">
                  <a:pos x="connsiteX4304" y="connsiteY4304"/>
                </a:cxn>
                <a:cxn ang="0">
                  <a:pos x="connsiteX4305" y="connsiteY4305"/>
                </a:cxn>
                <a:cxn ang="0">
                  <a:pos x="connsiteX4306" y="connsiteY4306"/>
                </a:cxn>
                <a:cxn ang="0">
                  <a:pos x="connsiteX4307" y="connsiteY4307"/>
                </a:cxn>
                <a:cxn ang="0">
                  <a:pos x="connsiteX4308" y="connsiteY4308"/>
                </a:cxn>
                <a:cxn ang="0">
                  <a:pos x="connsiteX4309" y="connsiteY4309"/>
                </a:cxn>
                <a:cxn ang="0">
                  <a:pos x="connsiteX4310" y="connsiteY4310"/>
                </a:cxn>
                <a:cxn ang="0">
                  <a:pos x="connsiteX4311" y="connsiteY4311"/>
                </a:cxn>
                <a:cxn ang="0">
                  <a:pos x="connsiteX4312" y="connsiteY4312"/>
                </a:cxn>
                <a:cxn ang="0">
                  <a:pos x="connsiteX4313" y="connsiteY4313"/>
                </a:cxn>
                <a:cxn ang="0">
                  <a:pos x="connsiteX4314" y="connsiteY4314"/>
                </a:cxn>
                <a:cxn ang="0">
                  <a:pos x="connsiteX4315" y="connsiteY4315"/>
                </a:cxn>
                <a:cxn ang="0">
                  <a:pos x="connsiteX4316" y="connsiteY4316"/>
                </a:cxn>
                <a:cxn ang="0">
                  <a:pos x="connsiteX4317" y="connsiteY4317"/>
                </a:cxn>
                <a:cxn ang="0">
                  <a:pos x="connsiteX4318" y="connsiteY4318"/>
                </a:cxn>
                <a:cxn ang="0">
                  <a:pos x="connsiteX4319" y="connsiteY4319"/>
                </a:cxn>
                <a:cxn ang="0">
                  <a:pos x="connsiteX4320" y="connsiteY4320"/>
                </a:cxn>
                <a:cxn ang="0">
                  <a:pos x="connsiteX4321" y="connsiteY4321"/>
                </a:cxn>
                <a:cxn ang="0">
                  <a:pos x="connsiteX4322" y="connsiteY4322"/>
                </a:cxn>
                <a:cxn ang="0">
                  <a:pos x="connsiteX4323" y="connsiteY4323"/>
                </a:cxn>
                <a:cxn ang="0">
                  <a:pos x="connsiteX4324" y="connsiteY4324"/>
                </a:cxn>
                <a:cxn ang="0">
                  <a:pos x="connsiteX4325" y="connsiteY4325"/>
                </a:cxn>
                <a:cxn ang="0">
                  <a:pos x="connsiteX4326" y="connsiteY4326"/>
                </a:cxn>
                <a:cxn ang="0">
                  <a:pos x="connsiteX4327" y="connsiteY4327"/>
                </a:cxn>
                <a:cxn ang="0">
                  <a:pos x="connsiteX4328" y="connsiteY4328"/>
                </a:cxn>
                <a:cxn ang="0">
                  <a:pos x="connsiteX4329" y="connsiteY4329"/>
                </a:cxn>
                <a:cxn ang="0">
                  <a:pos x="connsiteX4330" y="connsiteY4330"/>
                </a:cxn>
                <a:cxn ang="0">
                  <a:pos x="connsiteX4331" y="connsiteY4331"/>
                </a:cxn>
                <a:cxn ang="0">
                  <a:pos x="connsiteX4332" y="connsiteY4332"/>
                </a:cxn>
                <a:cxn ang="0">
                  <a:pos x="connsiteX4333" y="connsiteY4333"/>
                </a:cxn>
                <a:cxn ang="0">
                  <a:pos x="connsiteX4334" y="connsiteY4334"/>
                </a:cxn>
                <a:cxn ang="0">
                  <a:pos x="connsiteX4335" y="connsiteY4335"/>
                </a:cxn>
                <a:cxn ang="0">
                  <a:pos x="connsiteX4336" y="connsiteY4336"/>
                </a:cxn>
                <a:cxn ang="0">
                  <a:pos x="connsiteX4337" y="connsiteY4337"/>
                </a:cxn>
                <a:cxn ang="0">
                  <a:pos x="connsiteX4338" y="connsiteY4338"/>
                </a:cxn>
                <a:cxn ang="0">
                  <a:pos x="connsiteX4339" y="connsiteY4339"/>
                </a:cxn>
                <a:cxn ang="0">
                  <a:pos x="connsiteX4340" y="connsiteY4340"/>
                </a:cxn>
                <a:cxn ang="0">
                  <a:pos x="connsiteX4341" y="connsiteY4341"/>
                </a:cxn>
                <a:cxn ang="0">
                  <a:pos x="connsiteX4342" y="connsiteY4342"/>
                </a:cxn>
                <a:cxn ang="0">
                  <a:pos x="connsiteX4343" y="connsiteY4343"/>
                </a:cxn>
                <a:cxn ang="0">
                  <a:pos x="connsiteX4344" y="connsiteY4344"/>
                </a:cxn>
                <a:cxn ang="0">
                  <a:pos x="connsiteX4345" y="connsiteY4345"/>
                </a:cxn>
                <a:cxn ang="0">
                  <a:pos x="connsiteX4346" y="connsiteY4346"/>
                </a:cxn>
                <a:cxn ang="0">
                  <a:pos x="connsiteX4347" y="connsiteY4347"/>
                </a:cxn>
                <a:cxn ang="0">
                  <a:pos x="connsiteX4348" y="connsiteY4348"/>
                </a:cxn>
                <a:cxn ang="0">
                  <a:pos x="connsiteX4349" y="connsiteY4349"/>
                </a:cxn>
                <a:cxn ang="0">
                  <a:pos x="connsiteX4350" y="connsiteY4350"/>
                </a:cxn>
                <a:cxn ang="0">
                  <a:pos x="connsiteX4351" y="connsiteY4351"/>
                </a:cxn>
                <a:cxn ang="0">
                  <a:pos x="connsiteX4352" y="connsiteY4352"/>
                </a:cxn>
                <a:cxn ang="0">
                  <a:pos x="connsiteX4353" y="connsiteY4353"/>
                </a:cxn>
                <a:cxn ang="0">
                  <a:pos x="connsiteX4354" y="connsiteY4354"/>
                </a:cxn>
                <a:cxn ang="0">
                  <a:pos x="connsiteX4355" y="connsiteY4355"/>
                </a:cxn>
                <a:cxn ang="0">
                  <a:pos x="connsiteX4356" y="connsiteY4356"/>
                </a:cxn>
                <a:cxn ang="0">
                  <a:pos x="connsiteX4357" y="connsiteY4357"/>
                </a:cxn>
                <a:cxn ang="0">
                  <a:pos x="connsiteX4358" y="connsiteY4358"/>
                </a:cxn>
                <a:cxn ang="0">
                  <a:pos x="connsiteX4359" y="connsiteY4359"/>
                </a:cxn>
                <a:cxn ang="0">
                  <a:pos x="connsiteX4360" y="connsiteY4360"/>
                </a:cxn>
                <a:cxn ang="0">
                  <a:pos x="connsiteX4361" y="connsiteY4361"/>
                </a:cxn>
                <a:cxn ang="0">
                  <a:pos x="connsiteX4362" y="connsiteY4362"/>
                </a:cxn>
                <a:cxn ang="0">
                  <a:pos x="connsiteX4363" y="connsiteY4363"/>
                </a:cxn>
                <a:cxn ang="0">
                  <a:pos x="connsiteX4364" y="connsiteY4364"/>
                </a:cxn>
                <a:cxn ang="0">
                  <a:pos x="connsiteX4365" y="connsiteY4365"/>
                </a:cxn>
                <a:cxn ang="0">
                  <a:pos x="connsiteX4366" y="connsiteY4366"/>
                </a:cxn>
                <a:cxn ang="0">
                  <a:pos x="connsiteX4367" y="connsiteY4367"/>
                </a:cxn>
                <a:cxn ang="0">
                  <a:pos x="connsiteX4368" y="connsiteY4368"/>
                </a:cxn>
                <a:cxn ang="0">
                  <a:pos x="connsiteX4369" y="connsiteY4369"/>
                </a:cxn>
                <a:cxn ang="0">
                  <a:pos x="connsiteX4370" y="connsiteY4370"/>
                </a:cxn>
                <a:cxn ang="0">
                  <a:pos x="connsiteX4371" y="connsiteY4371"/>
                </a:cxn>
                <a:cxn ang="0">
                  <a:pos x="connsiteX4372" y="connsiteY4372"/>
                </a:cxn>
                <a:cxn ang="0">
                  <a:pos x="connsiteX4373" y="connsiteY4373"/>
                </a:cxn>
                <a:cxn ang="0">
                  <a:pos x="connsiteX4374" y="connsiteY4374"/>
                </a:cxn>
                <a:cxn ang="0">
                  <a:pos x="connsiteX4375" y="connsiteY4375"/>
                </a:cxn>
                <a:cxn ang="0">
                  <a:pos x="connsiteX4376" y="connsiteY4376"/>
                </a:cxn>
                <a:cxn ang="0">
                  <a:pos x="connsiteX4377" y="connsiteY4377"/>
                </a:cxn>
                <a:cxn ang="0">
                  <a:pos x="connsiteX4378" y="connsiteY4378"/>
                </a:cxn>
                <a:cxn ang="0">
                  <a:pos x="connsiteX4379" y="connsiteY4379"/>
                </a:cxn>
                <a:cxn ang="0">
                  <a:pos x="connsiteX4380" y="connsiteY4380"/>
                </a:cxn>
                <a:cxn ang="0">
                  <a:pos x="connsiteX4381" y="connsiteY4381"/>
                </a:cxn>
                <a:cxn ang="0">
                  <a:pos x="connsiteX4382" y="connsiteY4382"/>
                </a:cxn>
                <a:cxn ang="0">
                  <a:pos x="connsiteX4383" y="connsiteY4383"/>
                </a:cxn>
                <a:cxn ang="0">
                  <a:pos x="connsiteX4384" y="connsiteY4384"/>
                </a:cxn>
                <a:cxn ang="0">
                  <a:pos x="connsiteX4385" y="connsiteY4385"/>
                </a:cxn>
                <a:cxn ang="0">
                  <a:pos x="connsiteX4386" y="connsiteY4386"/>
                </a:cxn>
                <a:cxn ang="0">
                  <a:pos x="connsiteX4387" y="connsiteY4387"/>
                </a:cxn>
                <a:cxn ang="0">
                  <a:pos x="connsiteX4388" y="connsiteY4388"/>
                </a:cxn>
                <a:cxn ang="0">
                  <a:pos x="connsiteX4389" y="connsiteY4389"/>
                </a:cxn>
                <a:cxn ang="0">
                  <a:pos x="connsiteX4390" y="connsiteY4390"/>
                </a:cxn>
                <a:cxn ang="0">
                  <a:pos x="connsiteX4391" y="connsiteY4391"/>
                </a:cxn>
                <a:cxn ang="0">
                  <a:pos x="connsiteX4392" y="connsiteY4392"/>
                </a:cxn>
                <a:cxn ang="0">
                  <a:pos x="connsiteX4393" y="connsiteY4393"/>
                </a:cxn>
                <a:cxn ang="0">
                  <a:pos x="connsiteX4394" y="connsiteY4394"/>
                </a:cxn>
                <a:cxn ang="0">
                  <a:pos x="connsiteX4395" y="connsiteY4395"/>
                </a:cxn>
                <a:cxn ang="0">
                  <a:pos x="connsiteX4396" y="connsiteY4396"/>
                </a:cxn>
                <a:cxn ang="0">
                  <a:pos x="connsiteX4397" y="connsiteY4397"/>
                </a:cxn>
                <a:cxn ang="0">
                  <a:pos x="connsiteX4398" y="connsiteY4398"/>
                </a:cxn>
                <a:cxn ang="0">
                  <a:pos x="connsiteX4399" y="connsiteY4399"/>
                </a:cxn>
                <a:cxn ang="0">
                  <a:pos x="connsiteX4400" y="connsiteY4400"/>
                </a:cxn>
                <a:cxn ang="0">
                  <a:pos x="connsiteX4401" y="connsiteY4401"/>
                </a:cxn>
                <a:cxn ang="0">
                  <a:pos x="connsiteX4402" y="connsiteY4402"/>
                </a:cxn>
                <a:cxn ang="0">
                  <a:pos x="connsiteX4403" y="connsiteY4403"/>
                </a:cxn>
                <a:cxn ang="0">
                  <a:pos x="connsiteX4404" y="connsiteY4404"/>
                </a:cxn>
                <a:cxn ang="0">
                  <a:pos x="connsiteX4405" y="connsiteY4405"/>
                </a:cxn>
                <a:cxn ang="0">
                  <a:pos x="connsiteX4406" y="connsiteY4406"/>
                </a:cxn>
                <a:cxn ang="0">
                  <a:pos x="connsiteX4407" y="connsiteY4407"/>
                </a:cxn>
                <a:cxn ang="0">
                  <a:pos x="connsiteX4408" y="connsiteY4408"/>
                </a:cxn>
                <a:cxn ang="0">
                  <a:pos x="connsiteX4409" y="connsiteY4409"/>
                </a:cxn>
                <a:cxn ang="0">
                  <a:pos x="connsiteX4410" y="connsiteY4410"/>
                </a:cxn>
                <a:cxn ang="0">
                  <a:pos x="connsiteX4411" y="connsiteY4411"/>
                </a:cxn>
                <a:cxn ang="0">
                  <a:pos x="connsiteX4412" y="connsiteY4412"/>
                </a:cxn>
                <a:cxn ang="0">
                  <a:pos x="connsiteX4413" y="connsiteY4413"/>
                </a:cxn>
                <a:cxn ang="0">
                  <a:pos x="connsiteX4414" y="connsiteY4414"/>
                </a:cxn>
                <a:cxn ang="0">
                  <a:pos x="connsiteX4415" y="connsiteY4415"/>
                </a:cxn>
                <a:cxn ang="0">
                  <a:pos x="connsiteX4416" y="connsiteY4416"/>
                </a:cxn>
                <a:cxn ang="0">
                  <a:pos x="connsiteX4417" y="connsiteY4417"/>
                </a:cxn>
                <a:cxn ang="0">
                  <a:pos x="connsiteX4418" y="connsiteY4418"/>
                </a:cxn>
                <a:cxn ang="0">
                  <a:pos x="connsiteX4419" y="connsiteY4419"/>
                </a:cxn>
                <a:cxn ang="0">
                  <a:pos x="connsiteX4420" y="connsiteY4420"/>
                </a:cxn>
                <a:cxn ang="0">
                  <a:pos x="connsiteX4421" y="connsiteY4421"/>
                </a:cxn>
                <a:cxn ang="0">
                  <a:pos x="connsiteX4422" y="connsiteY4422"/>
                </a:cxn>
                <a:cxn ang="0">
                  <a:pos x="connsiteX4423" y="connsiteY4423"/>
                </a:cxn>
                <a:cxn ang="0">
                  <a:pos x="connsiteX4424" y="connsiteY4424"/>
                </a:cxn>
                <a:cxn ang="0">
                  <a:pos x="connsiteX4425" y="connsiteY4425"/>
                </a:cxn>
                <a:cxn ang="0">
                  <a:pos x="connsiteX4426" y="connsiteY4426"/>
                </a:cxn>
                <a:cxn ang="0">
                  <a:pos x="connsiteX4427" y="connsiteY4427"/>
                </a:cxn>
                <a:cxn ang="0">
                  <a:pos x="connsiteX4428" y="connsiteY4428"/>
                </a:cxn>
                <a:cxn ang="0">
                  <a:pos x="connsiteX4429" y="connsiteY4429"/>
                </a:cxn>
                <a:cxn ang="0">
                  <a:pos x="connsiteX4430" y="connsiteY4430"/>
                </a:cxn>
                <a:cxn ang="0">
                  <a:pos x="connsiteX4431" y="connsiteY4431"/>
                </a:cxn>
                <a:cxn ang="0">
                  <a:pos x="connsiteX4432" y="connsiteY4432"/>
                </a:cxn>
                <a:cxn ang="0">
                  <a:pos x="connsiteX4433" y="connsiteY4433"/>
                </a:cxn>
                <a:cxn ang="0">
                  <a:pos x="connsiteX4434" y="connsiteY4434"/>
                </a:cxn>
                <a:cxn ang="0">
                  <a:pos x="connsiteX4435" y="connsiteY4435"/>
                </a:cxn>
                <a:cxn ang="0">
                  <a:pos x="connsiteX4436" y="connsiteY4436"/>
                </a:cxn>
                <a:cxn ang="0">
                  <a:pos x="connsiteX4437" y="connsiteY4437"/>
                </a:cxn>
                <a:cxn ang="0">
                  <a:pos x="connsiteX4438" y="connsiteY4438"/>
                </a:cxn>
                <a:cxn ang="0">
                  <a:pos x="connsiteX4439" y="connsiteY4439"/>
                </a:cxn>
                <a:cxn ang="0">
                  <a:pos x="connsiteX4440" y="connsiteY4440"/>
                </a:cxn>
                <a:cxn ang="0">
                  <a:pos x="connsiteX4441" y="connsiteY4441"/>
                </a:cxn>
                <a:cxn ang="0">
                  <a:pos x="connsiteX4442" y="connsiteY4442"/>
                </a:cxn>
                <a:cxn ang="0">
                  <a:pos x="connsiteX4443" y="connsiteY4443"/>
                </a:cxn>
                <a:cxn ang="0">
                  <a:pos x="connsiteX4444" y="connsiteY4444"/>
                </a:cxn>
                <a:cxn ang="0">
                  <a:pos x="connsiteX4445" y="connsiteY4445"/>
                </a:cxn>
                <a:cxn ang="0">
                  <a:pos x="connsiteX4446" y="connsiteY4446"/>
                </a:cxn>
                <a:cxn ang="0">
                  <a:pos x="connsiteX4447" y="connsiteY4447"/>
                </a:cxn>
                <a:cxn ang="0">
                  <a:pos x="connsiteX4448" y="connsiteY4448"/>
                </a:cxn>
                <a:cxn ang="0">
                  <a:pos x="connsiteX4449" y="connsiteY4449"/>
                </a:cxn>
                <a:cxn ang="0">
                  <a:pos x="connsiteX4450" y="connsiteY4450"/>
                </a:cxn>
                <a:cxn ang="0">
                  <a:pos x="connsiteX4451" y="connsiteY4451"/>
                </a:cxn>
                <a:cxn ang="0">
                  <a:pos x="connsiteX4452" y="connsiteY4452"/>
                </a:cxn>
                <a:cxn ang="0">
                  <a:pos x="connsiteX4453" y="connsiteY4453"/>
                </a:cxn>
                <a:cxn ang="0">
                  <a:pos x="connsiteX4454" y="connsiteY4454"/>
                </a:cxn>
                <a:cxn ang="0">
                  <a:pos x="connsiteX4455" y="connsiteY4455"/>
                </a:cxn>
                <a:cxn ang="0">
                  <a:pos x="connsiteX4456" y="connsiteY4456"/>
                </a:cxn>
                <a:cxn ang="0">
                  <a:pos x="connsiteX4457" y="connsiteY4457"/>
                </a:cxn>
                <a:cxn ang="0">
                  <a:pos x="connsiteX4458" y="connsiteY4458"/>
                </a:cxn>
                <a:cxn ang="0">
                  <a:pos x="connsiteX4459" y="connsiteY4459"/>
                </a:cxn>
                <a:cxn ang="0">
                  <a:pos x="connsiteX4460" y="connsiteY4460"/>
                </a:cxn>
                <a:cxn ang="0">
                  <a:pos x="connsiteX4461" y="connsiteY4461"/>
                </a:cxn>
                <a:cxn ang="0">
                  <a:pos x="connsiteX4462" y="connsiteY4462"/>
                </a:cxn>
                <a:cxn ang="0">
                  <a:pos x="connsiteX4463" y="connsiteY4463"/>
                </a:cxn>
                <a:cxn ang="0">
                  <a:pos x="connsiteX4464" y="connsiteY4464"/>
                </a:cxn>
                <a:cxn ang="0">
                  <a:pos x="connsiteX4465" y="connsiteY4465"/>
                </a:cxn>
                <a:cxn ang="0">
                  <a:pos x="connsiteX4466" y="connsiteY4466"/>
                </a:cxn>
                <a:cxn ang="0">
                  <a:pos x="connsiteX4467" y="connsiteY4467"/>
                </a:cxn>
                <a:cxn ang="0">
                  <a:pos x="connsiteX4468" y="connsiteY4468"/>
                </a:cxn>
                <a:cxn ang="0">
                  <a:pos x="connsiteX4469" y="connsiteY4469"/>
                </a:cxn>
                <a:cxn ang="0">
                  <a:pos x="connsiteX4470" y="connsiteY4470"/>
                </a:cxn>
                <a:cxn ang="0">
                  <a:pos x="connsiteX4471" y="connsiteY4471"/>
                </a:cxn>
                <a:cxn ang="0">
                  <a:pos x="connsiteX4472" y="connsiteY4472"/>
                </a:cxn>
                <a:cxn ang="0">
                  <a:pos x="connsiteX4473" y="connsiteY4473"/>
                </a:cxn>
                <a:cxn ang="0">
                  <a:pos x="connsiteX4474" y="connsiteY4474"/>
                </a:cxn>
                <a:cxn ang="0">
                  <a:pos x="connsiteX4475" y="connsiteY4475"/>
                </a:cxn>
                <a:cxn ang="0">
                  <a:pos x="connsiteX4476" y="connsiteY4476"/>
                </a:cxn>
                <a:cxn ang="0">
                  <a:pos x="connsiteX4477" y="connsiteY4477"/>
                </a:cxn>
                <a:cxn ang="0">
                  <a:pos x="connsiteX4478" y="connsiteY4478"/>
                </a:cxn>
                <a:cxn ang="0">
                  <a:pos x="connsiteX4479" y="connsiteY4479"/>
                </a:cxn>
                <a:cxn ang="0">
                  <a:pos x="connsiteX4480" y="connsiteY4480"/>
                </a:cxn>
                <a:cxn ang="0">
                  <a:pos x="connsiteX4481" y="connsiteY4481"/>
                </a:cxn>
                <a:cxn ang="0">
                  <a:pos x="connsiteX4482" y="connsiteY4482"/>
                </a:cxn>
                <a:cxn ang="0">
                  <a:pos x="connsiteX4483" y="connsiteY4483"/>
                </a:cxn>
                <a:cxn ang="0">
                  <a:pos x="connsiteX4484" y="connsiteY4484"/>
                </a:cxn>
                <a:cxn ang="0">
                  <a:pos x="connsiteX4485" y="connsiteY4485"/>
                </a:cxn>
                <a:cxn ang="0">
                  <a:pos x="connsiteX4486" y="connsiteY4486"/>
                </a:cxn>
                <a:cxn ang="0">
                  <a:pos x="connsiteX4487" y="connsiteY4487"/>
                </a:cxn>
                <a:cxn ang="0">
                  <a:pos x="connsiteX4488" y="connsiteY4488"/>
                </a:cxn>
                <a:cxn ang="0">
                  <a:pos x="connsiteX4489" y="connsiteY4489"/>
                </a:cxn>
                <a:cxn ang="0">
                  <a:pos x="connsiteX4490" y="connsiteY4490"/>
                </a:cxn>
                <a:cxn ang="0">
                  <a:pos x="connsiteX4491" y="connsiteY4491"/>
                </a:cxn>
                <a:cxn ang="0">
                  <a:pos x="connsiteX4492" y="connsiteY4492"/>
                </a:cxn>
                <a:cxn ang="0">
                  <a:pos x="connsiteX4493" y="connsiteY4493"/>
                </a:cxn>
                <a:cxn ang="0">
                  <a:pos x="connsiteX4494" y="connsiteY4494"/>
                </a:cxn>
                <a:cxn ang="0">
                  <a:pos x="connsiteX4495" y="connsiteY4495"/>
                </a:cxn>
                <a:cxn ang="0">
                  <a:pos x="connsiteX4496" y="connsiteY4496"/>
                </a:cxn>
                <a:cxn ang="0">
                  <a:pos x="connsiteX4497" y="connsiteY4497"/>
                </a:cxn>
                <a:cxn ang="0">
                  <a:pos x="connsiteX4498" y="connsiteY4498"/>
                </a:cxn>
                <a:cxn ang="0">
                  <a:pos x="connsiteX4499" y="connsiteY4499"/>
                </a:cxn>
                <a:cxn ang="0">
                  <a:pos x="connsiteX4500" y="connsiteY4500"/>
                </a:cxn>
                <a:cxn ang="0">
                  <a:pos x="connsiteX4501" y="connsiteY4501"/>
                </a:cxn>
                <a:cxn ang="0">
                  <a:pos x="connsiteX4502" y="connsiteY4502"/>
                </a:cxn>
                <a:cxn ang="0">
                  <a:pos x="connsiteX4503" y="connsiteY4503"/>
                </a:cxn>
                <a:cxn ang="0">
                  <a:pos x="connsiteX4504" y="connsiteY4504"/>
                </a:cxn>
                <a:cxn ang="0">
                  <a:pos x="connsiteX4505" y="connsiteY4505"/>
                </a:cxn>
                <a:cxn ang="0">
                  <a:pos x="connsiteX4506" y="connsiteY4506"/>
                </a:cxn>
                <a:cxn ang="0">
                  <a:pos x="connsiteX4507" y="connsiteY4507"/>
                </a:cxn>
                <a:cxn ang="0">
                  <a:pos x="connsiteX4508" y="connsiteY4508"/>
                </a:cxn>
                <a:cxn ang="0">
                  <a:pos x="connsiteX4509" y="connsiteY4509"/>
                </a:cxn>
                <a:cxn ang="0">
                  <a:pos x="connsiteX4510" y="connsiteY4510"/>
                </a:cxn>
                <a:cxn ang="0">
                  <a:pos x="connsiteX4511" y="connsiteY4511"/>
                </a:cxn>
                <a:cxn ang="0">
                  <a:pos x="connsiteX4512" y="connsiteY4512"/>
                </a:cxn>
                <a:cxn ang="0">
                  <a:pos x="connsiteX4513" y="connsiteY4513"/>
                </a:cxn>
                <a:cxn ang="0">
                  <a:pos x="connsiteX4514" y="connsiteY4514"/>
                </a:cxn>
                <a:cxn ang="0">
                  <a:pos x="connsiteX4515" y="connsiteY4515"/>
                </a:cxn>
                <a:cxn ang="0">
                  <a:pos x="connsiteX4516" y="connsiteY4516"/>
                </a:cxn>
                <a:cxn ang="0">
                  <a:pos x="connsiteX4517" y="connsiteY4517"/>
                </a:cxn>
                <a:cxn ang="0">
                  <a:pos x="connsiteX4518" y="connsiteY4518"/>
                </a:cxn>
                <a:cxn ang="0">
                  <a:pos x="connsiteX4519" y="connsiteY4519"/>
                </a:cxn>
                <a:cxn ang="0">
                  <a:pos x="connsiteX4520" y="connsiteY4520"/>
                </a:cxn>
                <a:cxn ang="0">
                  <a:pos x="connsiteX4521" y="connsiteY4521"/>
                </a:cxn>
                <a:cxn ang="0">
                  <a:pos x="connsiteX4522" y="connsiteY4522"/>
                </a:cxn>
                <a:cxn ang="0">
                  <a:pos x="connsiteX4523" y="connsiteY4523"/>
                </a:cxn>
                <a:cxn ang="0">
                  <a:pos x="connsiteX4524" y="connsiteY4524"/>
                </a:cxn>
                <a:cxn ang="0">
                  <a:pos x="connsiteX4525" y="connsiteY4525"/>
                </a:cxn>
                <a:cxn ang="0">
                  <a:pos x="connsiteX4526" y="connsiteY4526"/>
                </a:cxn>
                <a:cxn ang="0">
                  <a:pos x="connsiteX4527" y="connsiteY4527"/>
                </a:cxn>
                <a:cxn ang="0">
                  <a:pos x="connsiteX4528" y="connsiteY4528"/>
                </a:cxn>
                <a:cxn ang="0">
                  <a:pos x="connsiteX4529" y="connsiteY4529"/>
                </a:cxn>
                <a:cxn ang="0">
                  <a:pos x="connsiteX4530" y="connsiteY4530"/>
                </a:cxn>
                <a:cxn ang="0">
                  <a:pos x="connsiteX4531" y="connsiteY4531"/>
                </a:cxn>
                <a:cxn ang="0">
                  <a:pos x="connsiteX4532" y="connsiteY4532"/>
                </a:cxn>
                <a:cxn ang="0">
                  <a:pos x="connsiteX4533" y="connsiteY4533"/>
                </a:cxn>
                <a:cxn ang="0">
                  <a:pos x="connsiteX4534" y="connsiteY4534"/>
                </a:cxn>
                <a:cxn ang="0">
                  <a:pos x="connsiteX4535" y="connsiteY4535"/>
                </a:cxn>
                <a:cxn ang="0">
                  <a:pos x="connsiteX4536" y="connsiteY4536"/>
                </a:cxn>
                <a:cxn ang="0">
                  <a:pos x="connsiteX4537" y="connsiteY4537"/>
                </a:cxn>
                <a:cxn ang="0">
                  <a:pos x="connsiteX4538" y="connsiteY4538"/>
                </a:cxn>
                <a:cxn ang="0">
                  <a:pos x="connsiteX4539" y="connsiteY4539"/>
                </a:cxn>
                <a:cxn ang="0">
                  <a:pos x="connsiteX4540" y="connsiteY4540"/>
                </a:cxn>
                <a:cxn ang="0">
                  <a:pos x="connsiteX4541" y="connsiteY4541"/>
                </a:cxn>
                <a:cxn ang="0">
                  <a:pos x="connsiteX4542" y="connsiteY4542"/>
                </a:cxn>
              </a:cxnLst>
              <a:rect l="l" t="t" r="r" b="b"/>
              <a:pathLst>
                <a:path w="1083508" h="1387660">
                  <a:moveTo>
                    <a:pt x="321420" y="1374139"/>
                  </a:moveTo>
                  <a:lnTo>
                    <a:pt x="309853" y="1368111"/>
                  </a:lnTo>
                  <a:lnTo>
                    <a:pt x="303337" y="1368111"/>
                  </a:lnTo>
                  <a:cubicBezTo>
                    <a:pt x="303337" y="1368111"/>
                    <a:pt x="302848" y="1365993"/>
                    <a:pt x="302848" y="1365993"/>
                  </a:cubicBezTo>
                  <a:lnTo>
                    <a:pt x="303663" y="1361920"/>
                  </a:lnTo>
                  <a:lnTo>
                    <a:pt x="305129" y="1361920"/>
                  </a:lnTo>
                  <a:cubicBezTo>
                    <a:pt x="305129" y="1361920"/>
                    <a:pt x="304803" y="1359477"/>
                    <a:pt x="304803" y="1359477"/>
                  </a:cubicBezTo>
                  <a:lnTo>
                    <a:pt x="302522" y="1359151"/>
                  </a:lnTo>
                  <a:lnTo>
                    <a:pt x="300241" y="1362083"/>
                  </a:lnTo>
                  <a:lnTo>
                    <a:pt x="298449" y="1362409"/>
                  </a:lnTo>
                  <a:lnTo>
                    <a:pt x="298449" y="1368926"/>
                  </a:lnTo>
                  <a:cubicBezTo>
                    <a:pt x="298449" y="1368926"/>
                    <a:pt x="294865" y="1367296"/>
                    <a:pt x="294865" y="1367296"/>
                  </a:cubicBezTo>
                  <a:lnTo>
                    <a:pt x="293073" y="1367296"/>
                  </a:lnTo>
                  <a:lnTo>
                    <a:pt x="292096" y="1369740"/>
                  </a:lnTo>
                  <a:lnTo>
                    <a:pt x="292096" y="1373324"/>
                  </a:lnTo>
                  <a:cubicBezTo>
                    <a:pt x="292096" y="1373324"/>
                    <a:pt x="290467" y="1375279"/>
                    <a:pt x="290467" y="1375279"/>
                  </a:cubicBezTo>
                  <a:lnTo>
                    <a:pt x="287860" y="1373976"/>
                  </a:lnTo>
                  <a:lnTo>
                    <a:pt x="289327" y="1369414"/>
                  </a:lnTo>
                  <a:lnTo>
                    <a:pt x="291119" y="1366319"/>
                  </a:lnTo>
                  <a:lnTo>
                    <a:pt x="290793" y="1362409"/>
                  </a:lnTo>
                  <a:lnTo>
                    <a:pt x="295517" y="1355893"/>
                  </a:lnTo>
                  <a:lnTo>
                    <a:pt x="294703" y="1354915"/>
                  </a:lnTo>
                  <a:lnTo>
                    <a:pt x="291281" y="1357196"/>
                  </a:lnTo>
                  <a:lnTo>
                    <a:pt x="287860" y="1365993"/>
                  </a:lnTo>
                  <a:lnTo>
                    <a:pt x="283625" y="1369577"/>
                  </a:lnTo>
                  <a:lnTo>
                    <a:pt x="281996" y="1368600"/>
                  </a:lnTo>
                  <a:lnTo>
                    <a:pt x="282484" y="1365342"/>
                  </a:lnTo>
                  <a:lnTo>
                    <a:pt x="287046" y="1361432"/>
                  </a:lnTo>
                  <a:lnTo>
                    <a:pt x="287860" y="1356382"/>
                  </a:lnTo>
                  <a:lnTo>
                    <a:pt x="290793" y="1351657"/>
                  </a:lnTo>
                  <a:lnTo>
                    <a:pt x="287697" y="1352635"/>
                  </a:lnTo>
                  <a:lnTo>
                    <a:pt x="285743" y="1352635"/>
                  </a:lnTo>
                  <a:cubicBezTo>
                    <a:pt x="285743" y="1352635"/>
                    <a:pt x="283788" y="1356707"/>
                    <a:pt x="283788" y="1356707"/>
                  </a:cubicBezTo>
                  <a:lnTo>
                    <a:pt x="280204" y="1357685"/>
                  </a:lnTo>
                  <a:lnTo>
                    <a:pt x="279226" y="1356056"/>
                  </a:lnTo>
                  <a:lnTo>
                    <a:pt x="280692" y="1352146"/>
                  </a:lnTo>
                  <a:lnTo>
                    <a:pt x="284113" y="1349051"/>
                  </a:lnTo>
                  <a:lnTo>
                    <a:pt x="282973" y="1347910"/>
                  </a:lnTo>
                  <a:lnTo>
                    <a:pt x="280692" y="1348399"/>
                  </a:lnTo>
                  <a:lnTo>
                    <a:pt x="279063" y="1351006"/>
                  </a:lnTo>
                  <a:lnTo>
                    <a:pt x="276131" y="1352798"/>
                  </a:lnTo>
                  <a:lnTo>
                    <a:pt x="274990" y="1356056"/>
                  </a:lnTo>
                  <a:lnTo>
                    <a:pt x="273362" y="1351657"/>
                  </a:lnTo>
                  <a:lnTo>
                    <a:pt x="273036" y="1350028"/>
                  </a:lnTo>
                  <a:lnTo>
                    <a:pt x="271406" y="1350028"/>
                  </a:lnTo>
                  <a:lnTo>
                    <a:pt x="268800" y="1352472"/>
                  </a:lnTo>
                  <a:lnTo>
                    <a:pt x="266845" y="1352472"/>
                  </a:lnTo>
                  <a:lnTo>
                    <a:pt x="267497" y="1350191"/>
                  </a:lnTo>
                  <a:lnTo>
                    <a:pt x="274665" y="1345141"/>
                  </a:lnTo>
                  <a:lnTo>
                    <a:pt x="274990" y="1340905"/>
                  </a:lnTo>
                  <a:lnTo>
                    <a:pt x="278086" y="1339928"/>
                  </a:lnTo>
                  <a:lnTo>
                    <a:pt x="283136" y="1335855"/>
                  </a:lnTo>
                  <a:lnTo>
                    <a:pt x="282484" y="1334715"/>
                  </a:lnTo>
                  <a:lnTo>
                    <a:pt x="277108" y="1338462"/>
                  </a:lnTo>
                  <a:lnTo>
                    <a:pt x="272710" y="1340091"/>
                  </a:lnTo>
                  <a:lnTo>
                    <a:pt x="271732" y="1338950"/>
                  </a:lnTo>
                  <a:lnTo>
                    <a:pt x="273036" y="1337647"/>
                  </a:lnTo>
                  <a:lnTo>
                    <a:pt x="277271" y="1336507"/>
                  </a:lnTo>
                  <a:lnTo>
                    <a:pt x="281181" y="1333249"/>
                  </a:lnTo>
                  <a:lnTo>
                    <a:pt x="285091" y="1330968"/>
                  </a:lnTo>
                  <a:lnTo>
                    <a:pt x="288512" y="1329827"/>
                  </a:lnTo>
                  <a:lnTo>
                    <a:pt x="288512" y="1325592"/>
                  </a:lnTo>
                  <a:cubicBezTo>
                    <a:pt x="288512" y="1325592"/>
                    <a:pt x="287046" y="1322334"/>
                    <a:pt x="287046" y="1322334"/>
                  </a:cubicBezTo>
                  <a:lnTo>
                    <a:pt x="284928" y="1322334"/>
                  </a:lnTo>
                  <a:lnTo>
                    <a:pt x="280204" y="1328850"/>
                  </a:lnTo>
                  <a:lnTo>
                    <a:pt x="272547" y="1333737"/>
                  </a:lnTo>
                  <a:lnTo>
                    <a:pt x="267008" y="1335529"/>
                  </a:lnTo>
                  <a:lnTo>
                    <a:pt x="266194" y="1333900"/>
                  </a:lnTo>
                  <a:lnTo>
                    <a:pt x="268637" y="1331945"/>
                  </a:lnTo>
                  <a:lnTo>
                    <a:pt x="271570" y="1330968"/>
                  </a:lnTo>
                  <a:lnTo>
                    <a:pt x="275316" y="1327221"/>
                  </a:lnTo>
                  <a:lnTo>
                    <a:pt x="275805" y="1322334"/>
                  </a:lnTo>
                  <a:lnTo>
                    <a:pt x="273687" y="1318424"/>
                  </a:lnTo>
                  <a:lnTo>
                    <a:pt x="271406" y="1317283"/>
                  </a:lnTo>
                  <a:lnTo>
                    <a:pt x="269126" y="1318587"/>
                  </a:lnTo>
                  <a:lnTo>
                    <a:pt x="269126" y="1321356"/>
                  </a:lnTo>
                  <a:lnTo>
                    <a:pt x="271081" y="1323474"/>
                  </a:lnTo>
                  <a:lnTo>
                    <a:pt x="270592" y="1325755"/>
                  </a:lnTo>
                  <a:lnTo>
                    <a:pt x="267822" y="1328198"/>
                  </a:lnTo>
                  <a:lnTo>
                    <a:pt x="264564" y="1326732"/>
                  </a:lnTo>
                  <a:lnTo>
                    <a:pt x="261143" y="1327547"/>
                  </a:lnTo>
                  <a:lnTo>
                    <a:pt x="258048" y="1327547"/>
                  </a:lnTo>
                  <a:cubicBezTo>
                    <a:pt x="258048" y="1327547"/>
                    <a:pt x="255279" y="1329339"/>
                    <a:pt x="255279" y="1329339"/>
                  </a:cubicBezTo>
                  <a:lnTo>
                    <a:pt x="253324" y="1332923"/>
                  </a:lnTo>
                  <a:lnTo>
                    <a:pt x="250880" y="1333900"/>
                  </a:lnTo>
                  <a:lnTo>
                    <a:pt x="247948" y="1333086"/>
                  </a:lnTo>
                  <a:lnTo>
                    <a:pt x="245667" y="1330968"/>
                  </a:lnTo>
                  <a:lnTo>
                    <a:pt x="241757" y="1331619"/>
                  </a:lnTo>
                  <a:lnTo>
                    <a:pt x="238825" y="1334389"/>
                  </a:lnTo>
                  <a:lnTo>
                    <a:pt x="235892" y="1332760"/>
                  </a:lnTo>
                  <a:lnTo>
                    <a:pt x="233612" y="1334063"/>
                  </a:lnTo>
                  <a:lnTo>
                    <a:pt x="233612" y="1336181"/>
                  </a:lnTo>
                  <a:cubicBezTo>
                    <a:pt x="233612" y="1336181"/>
                    <a:pt x="234589" y="1338462"/>
                    <a:pt x="234589" y="1338462"/>
                  </a:cubicBezTo>
                  <a:lnTo>
                    <a:pt x="232634" y="1339602"/>
                  </a:lnTo>
                  <a:lnTo>
                    <a:pt x="225303" y="1337973"/>
                  </a:lnTo>
                  <a:lnTo>
                    <a:pt x="224489" y="1335366"/>
                  </a:lnTo>
                  <a:lnTo>
                    <a:pt x="226770" y="1332108"/>
                  </a:lnTo>
                  <a:lnTo>
                    <a:pt x="230516" y="1331619"/>
                  </a:lnTo>
                  <a:lnTo>
                    <a:pt x="233286" y="1329176"/>
                  </a:lnTo>
                  <a:lnTo>
                    <a:pt x="232797" y="1327547"/>
                  </a:lnTo>
                  <a:lnTo>
                    <a:pt x="228887" y="1325755"/>
                  </a:lnTo>
                  <a:lnTo>
                    <a:pt x="228887" y="1320704"/>
                  </a:lnTo>
                  <a:cubicBezTo>
                    <a:pt x="228887" y="1320704"/>
                    <a:pt x="225140" y="1317609"/>
                    <a:pt x="225140" y="1317609"/>
                  </a:cubicBezTo>
                  <a:lnTo>
                    <a:pt x="224000" y="1316143"/>
                  </a:lnTo>
                  <a:lnTo>
                    <a:pt x="221393" y="1317120"/>
                  </a:lnTo>
                  <a:lnTo>
                    <a:pt x="215366" y="1321682"/>
                  </a:lnTo>
                  <a:lnTo>
                    <a:pt x="211782" y="1320216"/>
                  </a:lnTo>
                  <a:lnTo>
                    <a:pt x="210641" y="1316632"/>
                  </a:lnTo>
                  <a:lnTo>
                    <a:pt x="214388" y="1313211"/>
                  </a:lnTo>
                  <a:lnTo>
                    <a:pt x="212759" y="1311093"/>
                  </a:lnTo>
                  <a:lnTo>
                    <a:pt x="209501" y="1311093"/>
                  </a:lnTo>
                  <a:cubicBezTo>
                    <a:pt x="209501" y="1311093"/>
                    <a:pt x="209827" y="1309301"/>
                    <a:pt x="209827" y="1309301"/>
                  </a:cubicBezTo>
                  <a:lnTo>
                    <a:pt x="215203" y="1306694"/>
                  </a:lnTo>
                  <a:lnTo>
                    <a:pt x="218624" y="1306694"/>
                  </a:lnTo>
                  <a:lnTo>
                    <a:pt x="220253" y="1304739"/>
                  </a:lnTo>
                  <a:lnTo>
                    <a:pt x="219276" y="1302296"/>
                  </a:lnTo>
                  <a:lnTo>
                    <a:pt x="216180" y="1301970"/>
                  </a:lnTo>
                  <a:lnTo>
                    <a:pt x="211456" y="1303436"/>
                  </a:lnTo>
                  <a:lnTo>
                    <a:pt x="207872" y="1306043"/>
                  </a:lnTo>
                  <a:lnTo>
                    <a:pt x="202007" y="1307672"/>
                  </a:lnTo>
                  <a:lnTo>
                    <a:pt x="198586" y="1305391"/>
                  </a:lnTo>
                  <a:lnTo>
                    <a:pt x="199238" y="1302947"/>
                  </a:lnTo>
                  <a:lnTo>
                    <a:pt x="202985" y="1301807"/>
                  </a:lnTo>
                  <a:lnTo>
                    <a:pt x="205591" y="1299689"/>
                  </a:lnTo>
                  <a:lnTo>
                    <a:pt x="205591" y="1295454"/>
                  </a:lnTo>
                  <a:cubicBezTo>
                    <a:pt x="205591" y="1295454"/>
                    <a:pt x="210804" y="1293173"/>
                    <a:pt x="210804" y="1293173"/>
                  </a:cubicBezTo>
                  <a:lnTo>
                    <a:pt x="212759" y="1291218"/>
                  </a:lnTo>
                  <a:lnTo>
                    <a:pt x="211782" y="1289752"/>
                  </a:lnTo>
                  <a:lnTo>
                    <a:pt x="207057" y="1288611"/>
                  </a:lnTo>
                  <a:lnTo>
                    <a:pt x="204451" y="1290892"/>
                  </a:lnTo>
                  <a:lnTo>
                    <a:pt x="200704" y="1292684"/>
                  </a:lnTo>
                  <a:lnTo>
                    <a:pt x="197772" y="1290240"/>
                  </a:lnTo>
                  <a:lnTo>
                    <a:pt x="200052" y="1287634"/>
                  </a:lnTo>
                  <a:lnTo>
                    <a:pt x="203311" y="1286819"/>
                  </a:lnTo>
                  <a:lnTo>
                    <a:pt x="206406" y="1287308"/>
                  </a:lnTo>
                  <a:lnTo>
                    <a:pt x="208361" y="1284702"/>
                  </a:lnTo>
                  <a:lnTo>
                    <a:pt x="211619" y="1282258"/>
                  </a:lnTo>
                  <a:lnTo>
                    <a:pt x="210967" y="1279814"/>
                  </a:lnTo>
                  <a:lnTo>
                    <a:pt x="212759" y="1277534"/>
                  </a:lnTo>
                  <a:lnTo>
                    <a:pt x="211130" y="1276067"/>
                  </a:lnTo>
                  <a:lnTo>
                    <a:pt x="204940" y="1278348"/>
                  </a:lnTo>
                  <a:lnTo>
                    <a:pt x="203473" y="1280303"/>
                  </a:lnTo>
                  <a:lnTo>
                    <a:pt x="201519" y="1282584"/>
                  </a:lnTo>
                  <a:lnTo>
                    <a:pt x="196957" y="1283072"/>
                  </a:lnTo>
                  <a:lnTo>
                    <a:pt x="198423" y="1280955"/>
                  </a:lnTo>
                  <a:lnTo>
                    <a:pt x="201844" y="1279000"/>
                  </a:lnTo>
                  <a:lnTo>
                    <a:pt x="202496" y="1275742"/>
                  </a:lnTo>
                  <a:lnTo>
                    <a:pt x="200541" y="1273950"/>
                  </a:lnTo>
                  <a:lnTo>
                    <a:pt x="203147" y="1271995"/>
                  </a:lnTo>
                  <a:lnTo>
                    <a:pt x="203147" y="1270040"/>
                  </a:lnTo>
                  <a:cubicBezTo>
                    <a:pt x="203147" y="1270040"/>
                    <a:pt x="200867" y="1268736"/>
                    <a:pt x="200867" y="1268736"/>
                  </a:cubicBezTo>
                  <a:lnTo>
                    <a:pt x="197120" y="1268736"/>
                  </a:lnTo>
                  <a:lnTo>
                    <a:pt x="197120" y="1267596"/>
                  </a:lnTo>
                  <a:lnTo>
                    <a:pt x="198912" y="1265478"/>
                  </a:lnTo>
                  <a:lnTo>
                    <a:pt x="198097" y="1262220"/>
                  </a:lnTo>
                  <a:lnTo>
                    <a:pt x="195002" y="1261406"/>
                  </a:lnTo>
                  <a:lnTo>
                    <a:pt x="193210" y="1263035"/>
                  </a:lnTo>
                  <a:lnTo>
                    <a:pt x="189463" y="1263361"/>
                  </a:lnTo>
                  <a:lnTo>
                    <a:pt x="188974" y="1261894"/>
                  </a:lnTo>
                  <a:lnTo>
                    <a:pt x="191255" y="1257984"/>
                  </a:lnTo>
                  <a:lnTo>
                    <a:pt x="193862" y="1254889"/>
                  </a:lnTo>
                  <a:lnTo>
                    <a:pt x="195491" y="1254889"/>
                  </a:lnTo>
                  <a:cubicBezTo>
                    <a:pt x="195491" y="1254889"/>
                    <a:pt x="200052" y="1249024"/>
                    <a:pt x="200052" y="1249024"/>
                  </a:cubicBezTo>
                  <a:lnTo>
                    <a:pt x="197772" y="1246581"/>
                  </a:lnTo>
                  <a:lnTo>
                    <a:pt x="198423" y="1243974"/>
                  </a:lnTo>
                  <a:lnTo>
                    <a:pt x="200052" y="1241694"/>
                  </a:lnTo>
                  <a:lnTo>
                    <a:pt x="198260" y="1240227"/>
                  </a:lnTo>
                  <a:lnTo>
                    <a:pt x="196631" y="1241042"/>
                  </a:lnTo>
                  <a:lnTo>
                    <a:pt x="195817" y="1243160"/>
                  </a:lnTo>
                  <a:lnTo>
                    <a:pt x="193536" y="1239576"/>
                  </a:lnTo>
                  <a:lnTo>
                    <a:pt x="190278" y="1240064"/>
                  </a:lnTo>
                  <a:lnTo>
                    <a:pt x="189137" y="1241694"/>
                  </a:lnTo>
                  <a:lnTo>
                    <a:pt x="187182" y="1241694"/>
                  </a:lnTo>
                  <a:cubicBezTo>
                    <a:pt x="187182" y="1241694"/>
                    <a:pt x="185065" y="1236643"/>
                    <a:pt x="185065" y="1236643"/>
                  </a:cubicBezTo>
                  <a:lnTo>
                    <a:pt x="186042" y="1234037"/>
                  </a:lnTo>
                  <a:lnTo>
                    <a:pt x="192721" y="1231756"/>
                  </a:lnTo>
                  <a:lnTo>
                    <a:pt x="193210" y="1229964"/>
                  </a:lnTo>
                  <a:lnTo>
                    <a:pt x="189463" y="1228009"/>
                  </a:lnTo>
                  <a:lnTo>
                    <a:pt x="185716" y="1228009"/>
                  </a:lnTo>
                  <a:cubicBezTo>
                    <a:pt x="185716" y="1228009"/>
                    <a:pt x="181969" y="1230290"/>
                    <a:pt x="181969" y="1230290"/>
                  </a:cubicBezTo>
                  <a:lnTo>
                    <a:pt x="179363" y="1230290"/>
                  </a:lnTo>
                  <a:cubicBezTo>
                    <a:pt x="179363" y="1230290"/>
                    <a:pt x="177897" y="1227683"/>
                    <a:pt x="177897" y="1227683"/>
                  </a:cubicBezTo>
                  <a:lnTo>
                    <a:pt x="178874" y="1224914"/>
                  </a:lnTo>
                  <a:lnTo>
                    <a:pt x="182458" y="1223936"/>
                  </a:lnTo>
                  <a:lnTo>
                    <a:pt x="186368" y="1225077"/>
                  </a:lnTo>
                  <a:lnTo>
                    <a:pt x="192721" y="1223936"/>
                  </a:lnTo>
                  <a:lnTo>
                    <a:pt x="194676" y="1221982"/>
                  </a:lnTo>
                  <a:lnTo>
                    <a:pt x="192396" y="1221656"/>
                  </a:lnTo>
                  <a:lnTo>
                    <a:pt x="190115" y="1220515"/>
                  </a:lnTo>
                  <a:lnTo>
                    <a:pt x="184413" y="1220841"/>
                  </a:lnTo>
                  <a:lnTo>
                    <a:pt x="182295" y="1222307"/>
                  </a:lnTo>
                  <a:lnTo>
                    <a:pt x="179689" y="1221819"/>
                  </a:lnTo>
                  <a:lnTo>
                    <a:pt x="176919" y="1219375"/>
                  </a:lnTo>
                  <a:lnTo>
                    <a:pt x="181806" y="1216280"/>
                  </a:lnTo>
                  <a:lnTo>
                    <a:pt x="187834" y="1215954"/>
                  </a:lnTo>
                  <a:lnTo>
                    <a:pt x="190115" y="1214651"/>
                  </a:lnTo>
                  <a:lnTo>
                    <a:pt x="188160" y="1213836"/>
                  </a:lnTo>
                  <a:lnTo>
                    <a:pt x="185065" y="1213836"/>
                  </a:lnTo>
                  <a:cubicBezTo>
                    <a:pt x="185065" y="1213836"/>
                    <a:pt x="182132" y="1211392"/>
                    <a:pt x="182132" y="1211392"/>
                  </a:cubicBezTo>
                  <a:lnTo>
                    <a:pt x="183924" y="1210904"/>
                  </a:lnTo>
                  <a:lnTo>
                    <a:pt x="187508" y="1211555"/>
                  </a:lnTo>
                  <a:lnTo>
                    <a:pt x="189789" y="1212696"/>
                  </a:lnTo>
                  <a:lnTo>
                    <a:pt x="195165" y="1210415"/>
                  </a:lnTo>
                  <a:lnTo>
                    <a:pt x="197446" y="1208297"/>
                  </a:lnTo>
                  <a:lnTo>
                    <a:pt x="196305" y="1206994"/>
                  </a:lnTo>
                  <a:lnTo>
                    <a:pt x="193862" y="1207808"/>
                  </a:lnTo>
                  <a:lnTo>
                    <a:pt x="190929" y="1208949"/>
                  </a:lnTo>
                  <a:lnTo>
                    <a:pt x="187997" y="1208623"/>
                  </a:lnTo>
                  <a:lnTo>
                    <a:pt x="186042" y="1207645"/>
                  </a:lnTo>
                  <a:lnTo>
                    <a:pt x="182132" y="1208134"/>
                  </a:lnTo>
                  <a:lnTo>
                    <a:pt x="180503" y="1211067"/>
                  </a:lnTo>
                  <a:lnTo>
                    <a:pt x="177734" y="1212859"/>
                  </a:lnTo>
                  <a:lnTo>
                    <a:pt x="174150" y="1210252"/>
                  </a:lnTo>
                  <a:lnTo>
                    <a:pt x="173498" y="1207320"/>
                  </a:lnTo>
                  <a:lnTo>
                    <a:pt x="176105" y="1203573"/>
                  </a:lnTo>
                  <a:lnTo>
                    <a:pt x="181155" y="1203084"/>
                  </a:lnTo>
                  <a:lnTo>
                    <a:pt x="185228" y="1200478"/>
                  </a:lnTo>
                  <a:lnTo>
                    <a:pt x="184087" y="1199500"/>
                  </a:lnTo>
                  <a:lnTo>
                    <a:pt x="179363" y="1200315"/>
                  </a:lnTo>
                  <a:lnTo>
                    <a:pt x="174964" y="1199663"/>
                  </a:lnTo>
                  <a:lnTo>
                    <a:pt x="173987" y="1196079"/>
                  </a:lnTo>
                  <a:lnTo>
                    <a:pt x="175127" y="1192495"/>
                  </a:lnTo>
                  <a:lnTo>
                    <a:pt x="179526" y="1191518"/>
                  </a:lnTo>
                  <a:lnTo>
                    <a:pt x="189300" y="1192006"/>
                  </a:lnTo>
                  <a:lnTo>
                    <a:pt x="195002" y="1190377"/>
                  </a:lnTo>
                  <a:lnTo>
                    <a:pt x="201030" y="1190377"/>
                  </a:lnTo>
                  <a:cubicBezTo>
                    <a:pt x="201030" y="1190377"/>
                    <a:pt x="204940" y="1187119"/>
                    <a:pt x="204940" y="1187119"/>
                  </a:cubicBezTo>
                  <a:lnTo>
                    <a:pt x="205754" y="1185979"/>
                  </a:lnTo>
                  <a:lnTo>
                    <a:pt x="201681" y="1185979"/>
                  </a:lnTo>
                  <a:cubicBezTo>
                    <a:pt x="201681" y="1185979"/>
                    <a:pt x="197772" y="1184838"/>
                    <a:pt x="197772" y="1184838"/>
                  </a:cubicBezTo>
                  <a:lnTo>
                    <a:pt x="193373" y="1187608"/>
                  </a:lnTo>
                  <a:lnTo>
                    <a:pt x="186205" y="1188748"/>
                  </a:lnTo>
                  <a:lnTo>
                    <a:pt x="182621" y="1190214"/>
                  </a:lnTo>
                  <a:lnTo>
                    <a:pt x="178222" y="1190214"/>
                  </a:lnTo>
                  <a:lnTo>
                    <a:pt x="175942" y="1188585"/>
                  </a:lnTo>
                  <a:lnTo>
                    <a:pt x="176919" y="1187445"/>
                  </a:lnTo>
                  <a:lnTo>
                    <a:pt x="185065" y="1187771"/>
                  </a:lnTo>
                  <a:lnTo>
                    <a:pt x="188649" y="1185653"/>
                  </a:lnTo>
                  <a:lnTo>
                    <a:pt x="193047" y="1179462"/>
                  </a:lnTo>
                  <a:lnTo>
                    <a:pt x="197120" y="1178974"/>
                  </a:lnTo>
                  <a:lnTo>
                    <a:pt x="198912" y="1179951"/>
                  </a:lnTo>
                  <a:lnTo>
                    <a:pt x="202659" y="1182883"/>
                  </a:lnTo>
                  <a:lnTo>
                    <a:pt x="205265" y="1182883"/>
                  </a:lnTo>
                  <a:lnTo>
                    <a:pt x="206243" y="1181091"/>
                  </a:lnTo>
                  <a:lnTo>
                    <a:pt x="203962" y="1180440"/>
                  </a:lnTo>
                  <a:lnTo>
                    <a:pt x="200052" y="1176041"/>
                  </a:lnTo>
                  <a:lnTo>
                    <a:pt x="197935" y="1176041"/>
                  </a:lnTo>
                  <a:cubicBezTo>
                    <a:pt x="197935" y="1176041"/>
                    <a:pt x="195980" y="1173923"/>
                    <a:pt x="195980" y="1173923"/>
                  </a:cubicBezTo>
                  <a:lnTo>
                    <a:pt x="196794" y="1171968"/>
                  </a:lnTo>
                  <a:lnTo>
                    <a:pt x="199889" y="1171968"/>
                  </a:lnTo>
                  <a:cubicBezTo>
                    <a:pt x="199889" y="1171968"/>
                    <a:pt x="201681" y="1170176"/>
                    <a:pt x="201681" y="1170176"/>
                  </a:cubicBezTo>
                  <a:lnTo>
                    <a:pt x="203473" y="1170665"/>
                  </a:lnTo>
                  <a:lnTo>
                    <a:pt x="205428" y="1174086"/>
                  </a:lnTo>
                  <a:lnTo>
                    <a:pt x="209501" y="1178974"/>
                  </a:lnTo>
                  <a:lnTo>
                    <a:pt x="212433" y="1180603"/>
                  </a:lnTo>
                  <a:lnTo>
                    <a:pt x="213737" y="1179951"/>
                  </a:lnTo>
                  <a:lnTo>
                    <a:pt x="211782" y="1176041"/>
                  </a:lnTo>
                  <a:lnTo>
                    <a:pt x="209338" y="1174412"/>
                  </a:lnTo>
                  <a:lnTo>
                    <a:pt x="209012" y="1166267"/>
                  </a:lnTo>
                  <a:lnTo>
                    <a:pt x="212108" y="1163334"/>
                  </a:lnTo>
                  <a:lnTo>
                    <a:pt x="212108" y="1161705"/>
                  </a:lnTo>
                  <a:cubicBezTo>
                    <a:pt x="212108" y="1161705"/>
                    <a:pt x="209175" y="1161379"/>
                    <a:pt x="209175" y="1161379"/>
                  </a:cubicBezTo>
                  <a:lnTo>
                    <a:pt x="206569" y="1163986"/>
                  </a:lnTo>
                  <a:lnTo>
                    <a:pt x="204288" y="1164312"/>
                  </a:lnTo>
                  <a:lnTo>
                    <a:pt x="201681" y="1161054"/>
                  </a:lnTo>
                  <a:lnTo>
                    <a:pt x="200541" y="1163171"/>
                  </a:lnTo>
                  <a:lnTo>
                    <a:pt x="194676" y="1169036"/>
                  </a:lnTo>
                  <a:lnTo>
                    <a:pt x="191092" y="1170502"/>
                  </a:lnTo>
                  <a:lnTo>
                    <a:pt x="189463" y="1169362"/>
                  </a:lnTo>
                  <a:lnTo>
                    <a:pt x="189952" y="1166918"/>
                  </a:lnTo>
                  <a:lnTo>
                    <a:pt x="192233" y="1165126"/>
                  </a:lnTo>
                  <a:lnTo>
                    <a:pt x="191744" y="1164312"/>
                  </a:lnTo>
                  <a:lnTo>
                    <a:pt x="188649" y="1165778"/>
                  </a:lnTo>
                  <a:lnTo>
                    <a:pt x="186205" y="1169036"/>
                  </a:lnTo>
                  <a:lnTo>
                    <a:pt x="184413" y="1169525"/>
                  </a:lnTo>
                  <a:lnTo>
                    <a:pt x="178711" y="1174901"/>
                  </a:lnTo>
                  <a:lnTo>
                    <a:pt x="176268" y="1175878"/>
                  </a:lnTo>
                  <a:lnTo>
                    <a:pt x="172521" y="1182720"/>
                  </a:lnTo>
                  <a:lnTo>
                    <a:pt x="170729" y="1182720"/>
                  </a:lnTo>
                  <a:lnTo>
                    <a:pt x="169100" y="1176856"/>
                  </a:lnTo>
                  <a:lnTo>
                    <a:pt x="169914" y="1172294"/>
                  </a:lnTo>
                  <a:lnTo>
                    <a:pt x="171869" y="1169688"/>
                  </a:lnTo>
                  <a:lnTo>
                    <a:pt x="168774" y="1166918"/>
                  </a:lnTo>
                  <a:lnTo>
                    <a:pt x="169425" y="1163334"/>
                  </a:lnTo>
                  <a:lnTo>
                    <a:pt x="169425" y="1160402"/>
                  </a:lnTo>
                  <a:cubicBezTo>
                    <a:pt x="169425" y="1160402"/>
                    <a:pt x="173172" y="1158610"/>
                    <a:pt x="173172" y="1158610"/>
                  </a:cubicBezTo>
                  <a:lnTo>
                    <a:pt x="180340" y="1156166"/>
                  </a:lnTo>
                  <a:lnTo>
                    <a:pt x="183762" y="1156492"/>
                  </a:lnTo>
                  <a:lnTo>
                    <a:pt x="187834" y="1152745"/>
                  </a:lnTo>
                  <a:lnTo>
                    <a:pt x="189300" y="1151768"/>
                  </a:lnTo>
                  <a:lnTo>
                    <a:pt x="187508" y="1149650"/>
                  </a:lnTo>
                  <a:lnTo>
                    <a:pt x="184902" y="1149650"/>
                  </a:lnTo>
                  <a:lnTo>
                    <a:pt x="182295" y="1151931"/>
                  </a:lnTo>
                  <a:lnTo>
                    <a:pt x="179363" y="1151116"/>
                  </a:lnTo>
                  <a:lnTo>
                    <a:pt x="178060" y="1154211"/>
                  </a:lnTo>
                  <a:lnTo>
                    <a:pt x="175127" y="1156329"/>
                  </a:lnTo>
                  <a:lnTo>
                    <a:pt x="171543" y="1156003"/>
                  </a:lnTo>
                  <a:lnTo>
                    <a:pt x="169588" y="1152745"/>
                  </a:lnTo>
                  <a:lnTo>
                    <a:pt x="169263" y="1146229"/>
                  </a:lnTo>
                  <a:lnTo>
                    <a:pt x="172358" y="1143948"/>
                  </a:lnTo>
                  <a:lnTo>
                    <a:pt x="172846" y="1140527"/>
                  </a:lnTo>
                  <a:lnTo>
                    <a:pt x="171217" y="1136291"/>
                  </a:lnTo>
                  <a:lnTo>
                    <a:pt x="169751" y="1136291"/>
                  </a:lnTo>
                  <a:cubicBezTo>
                    <a:pt x="169751" y="1136291"/>
                    <a:pt x="167308" y="1139061"/>
                    <a:pt x="167308" y="1139061"/>
                  </a:cubicBezTo>
                  <a:lnTo>
                    <a:pt x="164538" y="1138572"/>
                  </a:lnTo>
                  <a:lnTo>
                    <a:pt x="163887" y="1135477"/>
                  </a:lnTo>
                  <a:lnTo>
                    <a:pt x="166982" y="1132382"/>
                  </a:lnTo>
                  <a:lnTo>
                    <a:pt x="172032" y="1132056"/>
                  </a:lnTo>
                  <a:lnTo>
                    <a:pt x="175127" y="1129449"/>
                  </a:lnTo>
                  <a:lnTo>
                    <a:pt x="181155" y="1128146"/>
                  </a:lnTo>
                  <a:lnTo>
                    <a:pt x="183598" y="1125702"/>
                  </a:lnTo>
                  <a:lnTo>
                    <a:pt x="186368" y="1124562"/>
                  </a:lnTo>
                  <a:lnTo>
                    <a:pt x="187508" y="1120163"/>
                  </a:lnTo>
                  <a:lnTo>
                    <a:pt x="189300" y="1119349"/>
                  </a:lnTo>
                  <a:lnTo>
                    <a:pt x="190929" y="1121141"/>
                  </a:lnTo>
                  <a:lnTo>
                    <a:pt x="192884" y="1119023"/>
                  </a:lnTo>
                  <a:lnTo>
                    <a:pt x="201030" y="1118534"/>
                  </a:lnTo>
                  <a:lnTo>
                    <a:pt x="203311" y="1120163"/>
                  </a:lnTo>
                  <a:lnTo>
                    <a:pt x="206895" y="1120163"/>
                  </a:lnTo>
                  <a:cubicBezTo>
                    <a:pt x="206895" y="1120163"/>
                    <a:pt x="205754" y="1117231"/>
                    <a:pt x="205754" y="1117231"/>
                  </a:cubicBezTo>
                  <a:lnTo>
                    <a:pt x="201355" y="1116091"/>
                  </a:lnTo>
                  <a:lnTo>
                    <a:pt x="200215" y="1112995"/>
                  </a:lnTo>
                  <a:lnTo>
                    <a:pt x="197609" y="1112507"/>
                  </a:lnTo>
                  <a:lnTo>
                    <a:pt x="187834" y="1117883"/>
                  </a:lnTo>
                  <a:lnTo>
                    <a:pt x="184902" y="1117883"/>
                  </a:lnTo>
                  <a:cubicBezTo>
                    <a:pt x="184902" y="1117883"/>
                    <a:pt x="182458" y="1119512"/>
                    <a:pt x="182458" y="1119512"/>
                  </a:cubicBezTo>
                  <a:lnTo>
                    <a:pt x="181481" y="1123259"/>
                  </a:lnTo>
                  <a:lnTo>
                    <a:pt x="178874" y="1125051"/>
                  </a:lnTo>
                  <a:lnTo>
                    <a:pt x="174638" y="1126028"/>
                  </a:lnTo>
                  <a:lnTo>
                    <a:pt x="171380" y="1129775"/>
                  </a:lnTo>
                  <a:lnTo>
                    <a:pt x="169425" y="1129775"/>
                  </a:lnTo>
                  <a:lnTo>
                    <a:pt x="168285" y="1127657"/>
                  </a:lnTo>
                  <a:lnTo>
                    <a:pt x="169100" y="1125051"/>
                  </a:lnTo>
                  <a:lnTo>
                    <a:pt x="166004" y="1124236"/>
                  </a:lnTo>
                  <a:lnTo>
                    <a:pt x="166493" y="1122281"/>
                  </a:lnTo>
                  <a:lnTo>
                    <a:pt x="169588" y="1118697"/>
                  </a:lnTo>
                  <a:lnTo>
                    <a:pt x="165516" y="1116091"/>
                  </a:lnTo>
                  <a:lnTo>
                    <a:pt x="163398" y="1116091"/>
                  </a:lnTo>
                  <a:lnTo>
                    <a:pt x="159814" y="1113484"/>
                  </a:lnTo>
                  <a:lnTo>
                    <a:pt x="160465" y="1112018"/>
                  </a:lnTo>
                  <a:lnTo>
                    <a:pt x="166330" y="1109574"/>
                  </a:lnTo>
                  <a:lnTo>
                    <a:pt x="168937" y="1106642"/>
                  </a:lnTo>
                  <a:lnTo>
                    <a:pt x="171380" y="1105827"/>
                  </a:lnTo>
                  <a:lnTo>
                    <a:pt x="173172" y="1107782"/>
                  </a:lnTo>
                  <a:lnTo>
                    <a:pt x="177245" y="1108271"/>
                  </a:lnTo>
                  <a:lnTo>
                    <a:pt x="181155" y="1106805"/>
                  </a:lnTo>
                  <a:lnTo>
                    <a:pt x="185065" y="1103709"/>
                  </a:lnTo>
                  <a:lnTo>
                    <a:pt x="188323" y="1104035"/>
                  </a:lnTo>
                  <a:lnTo>
                    <a:pt x="189463" y="1101103"/>
                  </a:lnTo>
                  <a:lnTo>
                    <a:pt x="188486" y="1099800"/>
                  </a:lnTo>
                  <a:lnTo>
                    <a:pt x="185065" y="1099311"/>
                  </a:lnTo>
                  <a:lnTo>
                    <a:pt x="180340" y="1102243"/>
                  </a:lnTo>
                  <a:lnTo>
                    <a:pt x="176919" y="1104687"/>
                  </a:lnTo>
                  <a:lnTo>
                    <a:pt x="174801" y="1104361"/>
                  </a:lnTo>
                  <a:lnTo>
                    <a:pt x="171543" y="1100777"/>
                  </a:lnTo>
                  <a:lnTo>
                    <a:pt x="169588" y="1100777"/>
                  </a:lnTo>
                  <a:cubicBezTo>
                    <a:pt x="169588" y="1100777"/>
                    <a:pt x="167633" y="1103221"/>
                    <a:pt x="167633" y="1103221"/>
                  </a:cubicBezTo>
                  <a:lnTo>
                    <a:pt x="162583" y="1106153"/>
                  </a:lnTo>
                  <a:lnTo>
                    <a:pt x="162909" y="1104035"/>
                  </a:lnTo>
                  <a:lnTo>
                    <a:pt x="160303" y="1103384"/>
                  </a:lnTo>
                  <a:lnTo>
                    <a:pt x="158022" y="1104361"/>
                  </a:lnTo>
                  <a:lnTo>
                    <a:pt x="154601" y="1103872"/>
                  </a:lnTo>
                  <a:lnTo>
                    <a:pt x="155741" y="1102080"/>
                  </a:lnTo>
                  <a:lnTo>
                    <a:pt x="158836" y="1101103"/>
                  </a:lnTo>
                  <a:lnTo>
                    <a:pt x="165841" y="1098659"/>
                  </a:lnTo>
                  <a:lnTo>
                    <a:pt x="172846" y="1094261"/>
                  </a:lnTo>
                  <a:lnTo>
                    <a:pt x="176430" y="1092958"/>
                  </a:lnTo>
                  <a:lnTo>
                    <a:pt x="183762" y="1091491"/>
                  </a:lnTo>
                  <a:lnTo>
                    <a:pt x="187671" y="1086930"/>
                  </a:lnTo>
                  <a:lnTo>
                    <a:pt x="195817" y="1078133"/>
                  </a:lnTo>
                  <a:lnTo>
                    <a:pt x="203799" y="1074223"/>
                  </a:lnTo>
                  <a:lnTo>
                    <a:pt x="210316" y="1071942"/>
                  </a:lnTo>
                  <a:lnTo>
                    <a:pt x="213900" y="1071942"/>
                  </a:lnTo>
                  <a:cubicBezTo>
                    <a:pt x="213900" y="1071942"/>
                    <a:pt x="216017" y="1070150"/>
                    <a:pt x="216017" y="1070150"/>
                  </a:cubicBezTo>
                  <a:lnTo>
                    <a:pt x="215692" y="1068358"/>
                  </a:lnTo>
                  <a:lnTo>
                    <a:pt x="212108" y="1067218"/>
                  </a:lnTo>
                  <a:lnTo>
                    <a:pt x="206080" y="1069010"/>
                  </a:lnTo>
                  <a:lnTo>
                    <a:pt x="193210" y="1075037"/>
                  </a:lnTo>
                  <a:lnTo>
                    <a:pt x="187508" y="1080902"/>
                  </a:lnTo>
                  <a:lnTo>
                    <a:pt x="183598" y="1086767"/>
                  </a:lnTo>
                  <a:lnTo>
                    <a:pt x="178874" y="1089048"/>
                  </a:lnTo>
                  <a:lnTo>
                    <a:pt x="170403" y="1091003"/>
                  </a:lnTo>
                  <a:lnTo>
                    <a:pt x="167796" y="1092795"/>
                  </a:lnTo>
                  <a:lnTo>
                    <a:pt x="157859" y="1097030"/>
                  </a:lnTo>
                  <a:lnTo>
                    <a:pt x="154275" y="1097030"/>
                  </a:lnTo>
                  <a:cubicBezTo>
                    <a:pt x="154275" y="1097030"/>
                    <a:pt x="153460" y="1094749"/>
                    <a:pt x="153460" y="1094749"/>
                  </a:cubicBezTo>
                  <a:lnTo>
                    <a:pt x="154927" y="1092632"/>
                  </a:lnTo>
                  <a:lnTo>
                    <a:pt x="154927" y="1083835"/>
                  </a:lnTo>
                  <a:cubicBezTo>
                    <a:pt x="154927" y="1083835"/>
                    <a:pt x="157533" y="1080576"/>
                    <a:pt x="157533" y="1080576"/>
                  </a:cubicBezTo>
                  <a:lnTo>
                    <a:pt x="160139" y="1080576"/>
                  </a:lnTo>
                  <a:lnTo>
                    <a:pt x="164049" y="1083183"/>
                  </a:lnTo>
                  <a:lnTo>
                    <a:pt x="166819" y="1082205"/>
                  </a:lnTo>
                  <a:lnTo>
                    <a:pt x="172521" y="1082205"/>
                  </a:lnTo>
                  <a:lnTo>
                    <a:pt x="177082" y="1081880"/>
                  </a:lnTo>
                  <a:lnTo>
                    <a:pt x="175779" y="1080088"/>
                  </a:lnTo>
                  <a:lnTo>
                    <a:pt x="172521" y="1077970"/>
                  </a:lnTo>
                  <a:lnTo>
                    <a:pt x="168122" y="1077970"/>
                  </a:lnTo>
                  <a:lnTo>
                    <a:pt x="165190" y="1079599"/>
                  </a:lnTo>
                  <a:lnTo>
                    <a:pt x="162257" y="1078947"/>
                  </a:lnTo>
                  <a:lnTo>
                    <a:pt x="160791" y="1075363"/>
                  </a:lnTo>
                  <a:lnTo>
                    <a:pt x="161280" y="1073083"/>
                  </a:lnTo>
                  <a:lnTo>
                    <a:pt x="165841" y="1072268"/>
                  </a:lnTo>
                  <a:lnTo>
                    <a:pt x="170240" y="1074875"/>
                  </a:lnTo>
                  <a:lnTo>
                    <a:pt x="173987" y="1075200"/>
                  </a:lnTo>
                  <a:lnTo>
                    <a:pt x="178874" y="1073245"/>
                  </a:lnTo>
                  <a:lnTo>
                    <a:pt x="178060" y="1071779"/>
                  </a:lnTo>
                  <a:lnTo>
                    <a:pt x="174638" y="1070639"/>
                  </a:lnTo>
                  <a:lnTo>
                    <a:pt x="172846" y="1071128"/>
                  </a:lnTo>
                  <a:lnTo>
                    <a:pt x="171543" y="1070150"/>
                  </a:lnTo>
                  <a:lnTo>
                    <a:pt x="171869" y="1067707"/>
                  </a:lnTo>
                  <a:lnTo>
                    <a:pt x="176105" y="1066403"/>
                  </a:lnTo>
                  <a:lnTo>
                    <a:pt x="177571" y="1067381"/>
                  </a:lnTo>
                  <a:lnTo>
                    <a:pt x="179200" y="1066403"/>
                  </a:lnTo>
                  <a:lnTo>
                    <a:pt x="182947" y="1067870"/>
                  </a:lnTo>
                  <a:lnTo>
                    <a:pt x="184902" y="1066729"/>
                  </a:lnTo>
                  <a:lnTo>
                    <a:pt x="184087" y="1063471"/>
                  </a:lnTo>
                  <a:lnTo>
                    <a:pt x="184087" y="1060376"/>
                  </a:lnTo>
                  <a:lnTo>
                    <a:pt x="183273" y="1059398"/>
                  </a:lnTo>
                  <a:lnTo>
                    <a:pt x="180340" y="1059072"/>
                  </a:lnTo>
                  <a:lnTo>
                    <a:pt x="178548" y="1060701"/>
                  </a:lnTo>
                  <a:lnTo>
                    <a:pt x="174638" y="1061190"/>
                  </a:lnTo>
                  <a:lnTo>
                    <a:pt x="163398" y="1057606"/>
                  </a:lnTo>
                  <a:lnTo>
                    <a:pt x="158673" y="1057280"/>
                  </a:lnTo>
                  <a:lnTo>
                    <a:pt x="156230" y="1055163"/>
                  </a:lnTo>
                  <a:lnTo>
                    <a:pt x="156555" y="1053533"/>
                  </a:lnTo>
                  <a:lnTo>
                    <a:pt x="161443" y="1053533"/>
                  </a:lnTo>
                  <a:cubicBezTo>
                    <a:pt x="161443" y="1053533"/>
                    <a:pt x="164701" y="1054511"/>
                    <a:pt x="164701" y="1054511"/>
                  </a:cubicBezTo>
                  <a:lnTo>
                    <a:pt x="166656" y="1053371"/>
                  </a:lnTo>
                  <a:lnTo>
                    <a:pt x="165353" y="1052230"/>
                  </a:lnTo>
                  <a:lnTo>
                    <a:pt x="161280" y="1052230"/>
                  </a:lnTo>
                  <a:cubicBezTo>
                    <a:pt x="161280" y="1052230"/>
                    <a:pt x="159651" y="1050438"/>
                    <a:pt x="159651" y="1050438"/>
                  </a:cubicBezTo>
                  <a:lnTo>
                    <a:pt x="159651" y="1047995"/>
                  </a:lnTo>
                  <a:cubicBezTo>
                    <a:pt x="159651" y="1047995"/>
                    <a:pt x="166819" y="1047995"/>
                    <a:pt x="166819" y="1047995"/>
                  </a:cubicBezTo>
                  <a:lnTo>
                    <a:pt x="168285" y="1046366"/>
                  </a:lnTo>
                  <a:lnTo>
                    <a:pt x="173335" y="1046366"/>
                  </a:lnTo>
                  <a:cubicBezTo>
                    <a:pt x="173335" y="1046366"/>
                    <a:pt x="189789" y="1047180"/>
                    <a:pt x="189789" y="1047180"/>
                  </a:cubicBezTo>
                  <a:lnTo>
                    <a:pt x="193210" y="1046203"/>
                  </a:lnTo>
                  <a:lnTo>
                    <a:pt x="199238" y="1047017"/>
                  </a:lnTo>
                  <a:lnTo>
                    <a:pt x="201681" y="1046040"/>
                  </a:lnTo>
                  <a:lnTo>
                    <a:pt x="201193" y="1043922"/>
                  </a:lnTo>
                  <a:lnTo>
                    <a:pt x="195002" y="1041315"/>
                  </a:lnTo>
                  <a:lnTo>
                    <a:pt x="187671" y="1041315"/>
                  </a:lnTo>
                  <a:cubicBezTo>
                    <a:pt x="187671" y="1041315"/>
                    <a:pt x="179037" y="1043270"/>
                    <a:pt x="179037" y="1043270"/>
                  </a:cubicBezTo>
                  <a:lnTo>
                    <a:pt x="174150" y="1043596"/>
                  </a:lnTo>
                  <a:lnTo>
                    <a:pt x="173172" y="1042456"/>
                  </a:lnTo>
                  <a:lnTo>
                    <a:pt x="170566" y="1041641"/>
                  </a:lnTo>
                  <a:lnTo>
                    <a:pt x="165516" y="1042944"/>
                  </a:lnTo>
                  <a:lnTo>
                    <a:pt x="162095" y="1045388"/>
                  </a:lnTo>
                  <a:lnTo>
                    <a:pt x="160954" y="1044411"/>
                  </a:lnTo>
                  <a:lnTo>
                    <a:pt x="161443" y="1040827"/>
                  </a:lnTo>
                  <a:lnTo>
                    <a:pt x="164049" y="1036591"/>
                  </a:lnTo>
                  <a:lnTo>
                    <a:pt x="168448" y="1034636"/>
                  </a:lnTo>
                  <a:lnTo>
                    <a:pt x="171869" y="1032355"/>
                  </a:lnTo>
                  <a:lnTo>
                    <a:pt x="176593" y="1030075"/>
                  </a:lnTo>
                  <a:lnTo>
                    <a:pt x="178385" y="1025839"/>
                  </a:lnTo>
                  <a:lnTo>
                    <a:pt x="182621" y="1022744"/>
                  </a:lnTo>
                  <a:lnTo>
                    <a:pt x="185228" y="1022255"/>
                  </a:lnTo>
                  <a:lnTo>
                    <a:pt x="186531" y="1023884"/>
                  </a:lnTo>
                  <a:lnTo>
                    <a:pt x="190929" y="1023884"/>
                  </a:lnTo>
                  <a:cubicBezTo>
                    <a:pt x="190929" y="1023884"/>
                    <a:pt x="194025" y="1022418"/>
                    <a:pt x="194025" y="1022418"/>
                  </a:cubicBezTo>
                  <a:lnTo>
                    <a:pt x="196957" y="1022418"/>
                  </a:lnTo>
                  <a:lnTo>
                    <a:pt x="198260" y="1023884"/>
                  </a:lnTo>
                  <a:lnTo>
                    <a:pt x="203636" y="1025839"/>
                  </a:lnTo>
                  <a:lnTo>
                    <a:pt x="208361" y="1030237"/>
                  </a:lnTo>
                  <a:lnTo>
                    <a:pt x="212922" y="1029749"/>
                  </a:lnTo>
                  <a:lnTo>
                    <a:pt x="218135" y="1031704"/>
                  </a:lnTo>
                  <a:lnTo>
                    <a:pt x="223348" y="1037243"/>
                  </a:lnTo>
                  <a:lnTo>
                    <a:pt x="228562" y="1040175"/>
                  </a:lnTo>
                  <a:lnTo>
                    <a:pt x="235404" y="1042456"/>
                  </a:lnTo>
                  <a:lnTo>
                    <a:pt x="238336" y="1040827"/>
                  </a:lnTo>
                  <a:lnTo>
                    <a:pt x="240617" y="1040827"/>
                  </a:lnTo>
                  <a:lnTo>
                    <a:pt x="241594" y="1039523"/>
                  </a:lnTo>
                  <a:lnTo>
                    <a:pt x="240780" y="1037080"/>
                  </a:lnTo>
                  <a:lnTo>
                    <a:pt x="236544" y="1038057"/>
                  </a:lnTo>
                  <a:lnTo>
                    <a:pt x="234915" y="1039686"/>
                  </a:lnTo>
                  <a:lnTo>
                    <a:pt x="231331" y="1039035"/>
                  </a:lnTo>
                  <a:lnTo>
                    <a:pt x="225792" y="1035288"/>
                  </a:lnTo>
                  <a:lnTo>
                    <a:pt x="221068" y="1028445"/>
                  </a:lnTo>
                  <a:lnTo>
                    <a:pt x="221393" y="1026491"/>
                  </a:lnTo>
                  <a:lnTo>
                    <a:pt x="224000" y="1026491"/>
                  </a:lnTo>
                  <a:cubicBezTo>
                    <a:pt x="224000" y="1026491"/>
                    <a:pt x="231494" y="1026491"/>
                    <a:pt x="231494" y="1026491"/>
                  </a:cubicBezTo>
                  <a:lnTo>
                    <a:pt x="238010" y="1024047"/>
                  </a:lnTo>
                  <a:lnTo>
                    <a:pt x="240291" y="1021440"/>
                  </a:lnTo>
                  <a:lnTo>
                    <a:pt x="239151" y="1018997"/>
                  </a:lnTo>
                  <a:lnTo>
                    <a:pt x="233123" y="1017531"/>
                  </a:lnTo>
                  <a:lnTo>
                    <a:pt x="230679" y="1018345"/>
                  </a:lnTo>
                  <a:lnTo>
                    <a:pt x="230679" y="1020300"/>
                  </a:lnTo>
                  <a:cubicBezTo>
                    <a:pt x="230679" y="1020300"/>
                    <a:pt x="232146" y="1022092"/>
                    <a:pt x="232146" y="1022092"/>
                  </a:cubicBezTo>
                  <a:lnTo>
                    <a:pt x="230679" y="1022744"/>
                  </a:lnTo>
                  <a:lnTo>
                    <a:pt x="224163" y="1023069"/>
                  </a:lnTo>
                  <a:lnTo>
                    <a:pt x="221230" y="1021277"/>
                  </a:lnTo>
                  <a:lnTo>
                    <a:pt x="220416" y="1018019"/>
                  </a:lnTo>
                  <a:lnTo>
                    <a:pt x="223022" y="1017042"/>
                  </a:lnTo>
                  <a:lnTo>
                    <a:pt x="225466" y="1017368"/>
                  </a:lnTo>
                  <a:lnTo>
                    <a:pt x="226606" y="1015413"/>
                  </a:lnTo>
                  <a:lnTo>
                    <a:pt x="224652" y="1012643"/>
                  </a:lnTo>
                  <a:lnTo>
                    <a:pt x="221882" y="1012643"/>
                  </a:lnTo>
                  <a:cubicBezTo>
                    <a:pt x="221882" y="1012643"/>
                    <a:pt x="220905" y="1013784"/>
                    <a:pt x="220905" y="1013784"/>
                  </a:cubicBezTo>
                  <a:lnTo>
                    <a:pt x="218135" y="1013295"/>
                  </a:lnTo>
                  <a:lnTo>
                    <a:pt x="215855" y="1013295"/>
                  </a:lnTo>
                  <a:cubicBezTo>
                    <a:pt x="215855" y="1013295"/>
                    <a:pt x="215855" y="1015413"/>
                    <a:pt x="215855" y="1015413"/>
                  </a:cubicBezTo>
                  <a:lnTo>
                    <a:pt x="216995" y="1018019"/>
                  </a:lnTo>
                  <a:lnTo>
                    <a:pt x="216995" y="1021440"/>
                  </a:lnTo>
                  <a:cubicBezTo>
                    <a:pt x="216995" y="1021440"/>
                    <a:pt x="214225" y="1024536"/>
                    <a:pt x="214225" y="1024536"/>
                  </a:cubicBezTo>
                  <a:lnTo>
                    <a:pt x="210479" y="1026491"/>
                  </a:lnTo>
                  <a:lnTo>
                    <a:pt x="208035" y="1025350"/>
                  </a:lnTo>
                  <a:lnTo>
                    <a:pt x="203147" y="1019485"/>
                  </a:lnTo>
                  <a:lnTo>
                    <a:pt x="199075" y="1019485"/>
                  </a:lnTo>
                  <a:cubicBezTo>
                    <a:pt x="199075" y="1019485"/>
                    <a:pt x="196468" y="1017693"/>
                    <a:pt x="196468" y="1017693"/>
                  </a:cubicBezTo>
                  <a:lnTo>
                    <a:pt x="195980" y="1015250"/>
                  </a:lnTo>
                  <a:lnTo>
                    <a:pt x="194351" y="1015576"/>
                  </a:lnTo>
                  <a:lnTo>
                    <a:pt x="192396" y="1017856"/>
                  </a:lnTo>
                  <a:lnTo>
                    <a:pt x="186205" y="1018834"/>
                  </a:lnTo>
                  <a:lnTo>
                    <a:pt x="182295" y="1018834"/>
                  </a:lnTo>
                  <a:cubicBezTo>
                    <a:pt x="182295" y="1018834"/>
                    <a:pt x="179037" y="1021766"/>
                    <a:pt x="179037" y="1021766"/>
                  </a:cubicBezTo>
                  <a:lnTo>
                    <a:pt x="174150" y="1027305"/>
                  </a:lnTo>
                  <a:lnTo>
                    <a:pt x="170566" y="1028445"/>
                  </a:lnTo>
                  <a:lnTo>
                    <a:pt x="168774" y="1027468"/>
                  </a:lnTo>
                  <a:lnTo>
                    <a:pt x="168774" y="1025350"/>
                  </a:lnTo>
                  <a:lnTo>
                    <a:pt x="174313" y="1018508"/>
                  </a:lnTo>
                  <a:lnTo>
                    <a:pt x="176593" y="1017693"/>
                  </a:lnTo>
                  <a:lnTo>
                    <a:pt x="178385" y="1015739"/>
                  </a:lnTo>
                  <a:lnTo>
                    <a:pt x="178385" y="1013784"/>
                  </a:lnTo>
                  <a:lnTo>
                    <a:pt x="180014" y="1013458"/>
                  </a:lnTo>
                  <a:lnTo>
                    <a:pt x="182784" y="1011014"/>
                  </a:lnTo>
                  <a:lnTo>
                    <a:pt x="182784" y="1008571"/>
                  </a:lnTo>
                  <a:lnTo>
                    <a:pt x="184413" y="1005475"/>
                  </a:lnTo>
                  <a:lnTo>
                    <a:pt x="186368" y="1005801"/>
                  </a:lnTo>
                  <a:lnTo>
                    <a:pt x="190278" y="1008733"/>
                  </a:lnTo>
                  <a:lnTo>
                    <a:pt x="195165" y="1010851"/>
                  </a:lnTo>
                  <a:lnTo>
                    <a:pt x="202333" y="1010851"/>
                  </a:lnTo>
                  <a:lnTo>
                    <a:pt x="201519" y="1009059"/>
                  </a:lnTo>
                  <a:lnTo>
                    <a:pt x="198260" y="1008245"/>
                  </a:lnTo>
                  <a:lnTo>
                    <a:pt x="195817" y="1008245"/>
                  </a:lnTo>
                  <a:cubicBezTo>
                    <a:pt x="195817" y="1008245"/>
                    <a:pt x="193047" y="1006453"/>
                    <a:pt x="193047" y="1006453"/>
                  </a:cubicBezTo>
                  <a:lnTo>
                    <a:pt x="186694" y="1000751"/>
                  </a:lnTo>
                  <a:lnTo>
                    <a:pt x="185716" y="997004"/>
                  </a:lnTo>
                  <a:lnTo>
                    <a:pt x="182784" y="995701"/>
                  </a:lnTo>
                  <a:lnTo>
                    <a:pt x="182132" y="993746"/>
                  </a:lnTo>
                  <a:lnTo>
                    <a:pt x="184250" y="992768"/>
                  </a:lnTo>
                  <a:lnTo>
                    <a:pt x="189952" y="994560"/>
                  </a:lnTo>
                  <a:lnTo>
                    <a:pt x="194676" y="1000914"/>
                  </a:lnTo>
                  <a:lnTo>
                    <a:pt x="199401" y="1005149"/>
                  </a:lnTo>
                  <a:lnTo>
                    <a:pt x="200052" y="1003846"/>
                  </a:lnTo>
                  <a:lnTo>
                    <a:pt x="198423" y="1000588"/>
                  </a:lnTo>
                  <a:lnTo>
                    <a:pt x="197283" y="996352"/>
                  </a:lnTo>
                  <a:lnTo>
                    <a:pt x="198749" y="996841"/>
                  </a:lnTo>
                  <a:lnTo>
                    <a:pt x="201355" y="999936"/>
                  </a:lnTo>
                  <a:lnTo>
                    <a:pt x="202659" y="1003032"/>
                  </a:lnTo>
                  <a:lnTo>
                    <a:pt x="211456" y="1008245"/>
                  </a:lnTo>
                  <a:lnTo>
                    <a:pt x="214714" y="1007593"/>
                  </a:lnTo>
                  <a:lnTo>
                    <a:pt x="216669" y="1006453"/>
                  </a:lnTo>
                  <a:lnTo>
                    <a:pt x="221393" y="1006453"/>
                  </a:lnTo>
                  <a:cubicBezTo>
                    <a:pt x="221393" y="1006453"/>
                    <a:pt x="223674" y="1008571"/>
                    <a:pt x="223674" y="1008571"/>
                  </a:cubicBezTo>
                  <a:lnTo>
                    <a:pt x="228887" y="1011829"/>
                  </a:lnTo>
                  <a:lnTo>
                    <a:pt x="233286" y="1013784"/>
                  </a:lnTo>
                  <a:lnTo>
                    <a:pt x="234100" y="1014924"/>
                  </a:lnTo>
                  <a:lnTo>
                    <a:pt x="237684" y="1014924"/>
                  </a:lnTo>
                  <a:lnTo>
                    <a:pt x="237684" y="1013295"/>
                  </a:lnTo>
                  <a:cubicBezTo>
                    <a:pt x="237684" y="1013295"/>
                    <a:pt x="233286" y="1009385"/>
                    <a:pt x="233286" y="1009385"/>
                  </a:cubicBezTo>
                  <a:lnTo>
                    <a:pt x="223022" y="1001240"/>
                  </a:lnTo>
                  <a:lnTo>
                    <a:pt x="222045" y="998959"/>
                  </a:lnTo>
                  <a:lnTo>
                    <a:pt x="222534" y="997167"/>
                  </a:lnTo>
                  <a:lnTo>
                    <a:pt x="228398" y="995049"/>
                  </a:lnTo>
                  <a:lnTo>
                    <a:pt x="228887" y="992117"/>
                  </a:lnTo>
                  <a:lnTo>
                    <a:pt x="230516" y="988858"/>
                  </a:lnTo>
                  <a:lnTo>
                    <a:pt x="232471" y="987718"/>
                  </a:lnTo>
                  <a:lnTo>
                    <a:pt x="232471" y="986741"/>
                  </a:lnTo>
                  <a:cubicBezTo>
                    <a:pt x="232471" y="986741"/>
                    <a:pt x="229050" y="986252"/>
                    <a:pt x="229050" y="986252"/>
                  </a:cubicBezTo>
                  <a:lnTo>
                    <a:pt x="225792" y="987555"/>
                  </a:lnTo>
                  <a:lnTo>
                    <a:pt x="219113" y="987555"/>
                  </a:lnTo>
                  <a:cubicBezTo>
                    <a:pt x="219113" y="987555"/>
                    <a:pt x="217321" y="989347"/>
                    <a:pt x="217321" y="989347"/>
                  </a:cubicBezTo>
                  <a:lnTo>
                    <a:pt x="218461" y="990813"/>
                  </a:lnTo>
                  <a:lnTo>
                    <a:pt x="222208" y="993746"/>
                  </a:lnTo>
                  <a:lnTo>
                    <a:pt x="220579" y="995375"/>
                  </a:lnTo>
                  <a:lnTo>
                    <a:pt x="214714" y="995375"/>
                  </a:lnTo>
                  <a:cubicBezTo>
                    <a:pt x="214714" y="995375"/>
                    <a:pt x="212759" y="996189"/>
                    <a:pt x="212759" y="996189"/>
                  </a:cubicBezTo>
                  <a:lnTo>
                    <a:pt x="208849" y="995212"/>
                  </a:lnTo>
                  <a:lnTo>
                    <a:pt x="204288" y="996515"/>
                  </a:lnTo>
                  <a:lnTo>
                    <a:pt x="202007" y="993257"/>
                  </a:lnTo>
                  <a:lnTo>
                    <a:pt x="198260" y="991628"/>
                  </a:lnTo>
                  <a:lnTo>
                    <a:pt x="197283" y="989510"/>
                  </a:lnTo>
                  <a:lnTo>
                    <a:pt x="199889" y="987881"/>
                  </a:lnTo>
                  <a:lnTo>
                    <a:pt x="201844" y="985926"/>
                  </a:lnTo>
                  <a:lnTo>
                    <a:pt x="199075" y="985926"/>
                  </a:lnTo>
                  <a:cubicBezTo>
                    <a:pt x="199075" y="985926"/>
                    <a:pt x="194188" y="987067"/>
                    <a:pt x="194188" y="987067"/>
                  </a:cubicBezTo>
                  <a:lnTo>
                    <a:pt x="193210" y="986089"/>
                  </a:lnTo>
                  <a:lnTo>
                    <a:pt x="199401" y="984460"/>
                  </a:lnTo>
                  <a:lnTo>
                    <a:pt x="206080" y="981365"/>
                  </a:lnTo>
                  <a:lnTo>
                    <a:pt x="209012" y="979736"/>
                  </a:lnTo>
                  <a:lnTo>
                    <a:pt x="214714" y="980061"/>
                  </a:lnTo>
                  <a:lnTo>
                    <a:pt x="216343" y="981365"/>
                  </a:lnTo>
                  <a:lnTo>
                    <a:pt x="220579" y="980713"/>
                  </a:lnTo>
                  <a:lnTo>
                    <a:pt x="224978" y="980713"/>
                  </a:lnTo>
                  <a:lnTo>
                    <a:pt x="230516" y="981365"/>
                  </a:lnTo>
                  <a:lnTo>
                    <a:pt x="230516" y="978758"/>
                  </a:lnTo>
                  <a:cubicBezTo>
                    <a:pt x="230516" y="978758"/>
                    <a:pt x="233123" y="977455"/>
                    <a:pt x="233123" y="977455"/>
                  </a:cubicBezTo>
                  <a:lnTo>
                    <a:pt x="234915" y="975337"/>
                  </a:lnTo>
                  <a:lnTo>
                    <a:pt x="238173" y="973219"/>
                  </a:lnTo>
                  <a:lnTo>
                    <a:pt x="239639" y="970613"/>
                  </a:lnTo>
                  <a:lnTo>
                    <a:pt x="238499" y="970124"/>
                  </a:lnTo>
                  <a:lnTo>
                    <a:pt x="234752" y="972893"/>
                  </a:lnTo>
                  <a:lnTo>
                    <a:pt x="232471" y="972893"/>
                  </a:lnTo>
                  <a:lnTo>
                    <a:pt x="231331" y="970776"/>
                  </a:lnTo>
                  <a:lnTo>
                    <a:pt x="233774" y="966866"/>
                  </a:lnTo>
                  <a:lnTo>
                    <a:pt x="236707" y="957417"/>
                  </a:lnTo>
                  <a:lnTo>
                    <a:pt x="236218" y="952856"/>
                  </a:lnTo>
                  <a:lnTo>
                    <a:pt x="238173" y="951878"/>
                  </a:lnTo>
                  <a:lnTo>
                    <a:pt x="239802" y="953019"/>
                  </a:lnTo>
                  <a:lnTo>
                    <a:pt x="242246" y="957580"/>
                  </a:lnTo>
                  <a:lnTo>
                    <a:pt x="241268" y="959046"/>
                  </a:lnTo>
                  <a:lnTo>
                    <a:pt x="241268" y="961327"/>
                  </a:lnTo>
                  <a:lnTo>
                    <a:pt x="245504" y="962141"/>
                  </a:lnTo>
                  <a:lnTo>
                    <a:pt x="248762" y="962141"/>
                  </a:lnTo>
                  <a:cubicBezTo>
                    <a:pt x="248762" y="962141"/>
                    <a:pt x="250554" y="963933"/>
                    <a:pt x="250554" y="963933"/>
                  </a:cubicBezTo>
                  <a:lnTo>
                    <a:pt x="253487" y="963933"/>
                  </a:lnTo>
                  <a:cubicBezTo>
                    <a:pt x="253487" y="963933"/>
                    <a:pt x="254301" y="962793"/>
                    <a:pt x="254301" y="962793"/>
                  </a:cubicBezTo>
                  <a:lnTo>
                    <a:pt x="256419" y="963608"/>
                  </a:lnTo>
                  <a:lnTo>
                    <a:pt x="258700" y="963608"/>
                  </a:lnTo>
                  <a:lnTo>
                    <a:pt x="258211" y="960838"/>
                  </a:lnTo>
                  <a:lnTo>
                    <a:pt x="255279" y="959046"/>
                  </a:lnTo>
                  <a:lnTo>
                    <a:pt x="249088" y="958557"/>
                  </a:lnTo>
                  <a:lnTo>
                    <a:pt x="249088" y="957091"/>
                  </a:lnTo>
                  <a:lnTo>
                    <a:pt x="252998" y="956440"/>
                  </a:lnTo>
                  <a:lnTo>
                    <a:pt x="258048" y="955462"/>
                  </a:lnTo>
                  <a:lnTo>
                    <a:pt x="257722" y="953507"/>
                  </a:lnTo>
                  <a:lnTo>
                    <a:pt x="255441" y="952204"/>
                  </a:lnTo>
                  <a:lnTo>
                    <a:pt x="252998" y="952204"/>
                  </a:lnTo>
                  <a:cubicBezTo>
                    <a:pt x="252998" y="952204"/>
                    <a:pt x="251695" y="949923"/>
                    <a:pt x="251695" y="949923"/>
                  </a:cubicBezTo>
                  <a:lnTo>
                    <a:pt x="250065" y="949109"/>
                  </a:lnTo>
                  <a:lnTo>
                    <a:pt x="248111" y="950412"/>
                  </a:lnTo>
                  <a:lnTo>
                    <a:pt x="245830" y="950086"/>
                  </a:lnTo>
                  <a:lnTo>
                    <a:pt x="241757" y="949434"/>
                  </a:lnTo>
                  <a:lnTo>
                    <a:pt x="241757" y="947154"/>
                  </a:lnTo>
                  <a:cubicBezTo>
                    <a:pt x="241757" y="947154"/>
                    <a:pt x="244201" y="944547"/>
                    <a:pt x="244201" y="944547"/>
                  </a:cubicBezTo>
                  <a:lnTo>
                    <a:pt x="246481" y="944547"/>
                  </a:lnTo>
                  <a:cubicBezTo>
                    <a:pt x="246481" y="944547"/>
                    <a:pt x="250228" y="938845"/>
                    <a:pt x="250228" y="938845"/>
                  </a:cubicBezTo>
                  <a:lnTo>
                    <a:pt x="252835" y="936891"/>
                  </a:lnTo>
                  <a:lnTo>
                    <a:pt x="253975" y="937542"/>
                  </a:lnTo>
                  <a:lnTo>
                    <a:pt x="256908" y="936891"/>
                  </a:lnTo>
                  <a:lnTo>
                    <a:pt x="260003" y="936891"/>
                  </a:lnTo>
                  <a:lnTo>
                    <a:pt x="259351" y="934610"/>
                  </a:lnTo>
                  <a:lnTo>
                    <a:pt x="256419" y="933632"/>
                  </a:lnTo>
                  <a:lnTo>
                    <a:pt x="252183" y="933632"/>
                  </a:lnTo>
                  <a:lnTo>
                    <a:pt x="250880" y="932166"/>
                  </a:lnTo>
                  <a:lnTo>
                    <a:pt x="252509" y="930374"/>
                  </a:lnTo>
                  <a:lnTo>
                    <a:pt x="257233" y="928256"/>
                  </a:lnTo>
                  <a:lnTo>
                    <a:pt x="259351" y="925487"/>
                  </a:lnTo>
                  <a:lnTo>
                    <a:pt x="262772" y="924184"/>
                  </a:lnTo>
                  <a:lnTo>
                    <a:pt x="262772" y="922555"/>
                  </a:lnTo>
                  <a:cubicBezTo>
                    <a:pt x="262772" y="922555"/>
                    <a:pt x="266194" y="920600"/>
                    <a:pt x="266194" y="920600"/>
                  </a:cubicBezTo>
                  <a:lnTo>
                    <a:pt x="263750" y="917667"/>
                  </a:lnTo>
                  <a:lnTo>
                    <a:pt x="260817" y="917667"/>
                  </a:lnTo>
                  <a:lnTo>
                    <a:pt x="260817" y="915387"/>
                  </a:lnTo>
                  <a:lnTo>
                    <a:pt x="264076" y="914246"/>
                  </a:lnTo>
                  <a:lnTo>
                    <a:pt x="267334" y="914246"/>
                  </a:lnTo>
                  <a:cubicBezTo>
                    <a:pt x="267334" y="914246"/>
                    <a:pt x="266845" y="910988"/>
                    <a:pt x="266845" y="910988"/>
                  </a:cubicBezTo>
                  <a:lnTo>
                    <a:pt x="264238" y="909848"/>
                  </a:lnTo>
                  <a:lnTo>
                    <a:pt x="259840" y="910173"/>
                  </a:lnTo>
                  <a:lnTo>
                    <a:pt x="255767" y="913269"/>
                  </a:lnTo>
                  <a:lnTo>
                    <a:pt x="251369" y="913269"/>
                  </a:lnTo>
                  <a:cubicBezTo>
                    <a:pt x="251369" y="913269"/>
                    <a:pt x="248599" y="910173"/>
                    <a:pt x="248599" y="910173"/>
                  </a:cubicBezTo>
                  <a:lnTo>
                    <a:pt x="245830" y="911803"/>
                  </a:lnTo>
                  <a:lnTo>
                    <a:pt x="241757" y="911803"/>
                  </a:lnTo>
                  <a:cubicBezTo>
                    <a:pt x="241757" y="911803"/>
                    <a:pt x="239313" y="908870"/>
                    <a:pt x="239313" y="908870"/>
                  </a:cubicBezTo>
                  <a:lnTo>
                    <a:pt x="236870" y="910011"/>
                  </a:lnTo>
                  <a:lnTo>
                    <a:pt x="232797" y="909359"/>
                  </a:lnTo>
                  <a:lnTo>
                    <a:pt x="229702" y="905612"/>
                  </a:lnTo>
                  <a:lnTo>
                    <a:pt x="225629" y="905612"/>
                  </a:lnTo>
                  <a:lnTo>
                    <a:pt x="222697" y="903983"/>
                  </a:lnTo>
                  <a:lnTo>
                    <a:pt x="222697" y="901539"/>
                  </a:lnTo>
                  <a:cubicBezTo>
                    <a:pt x="222697" y="901539"/>
                    <a:pt x="220742" y="896815"/>
                    <a:pt x="220742" y="896815"/>
                  </a:cubicBezTo>
                  <a:lnTo>
                    <a:pt x="215203" y="893394"/>
                  </a:lnTo>
                  <a:lnTo>
                    <a:pt x="206243" y="889321"/>
                  </a:lnTo>
                  <a:lnTo>
                    <a:pt x="199238" y="886877"/>
                  </a:lnTo>
                  <a:lnTo>
                    <a:pt x="194513" y="882153"/>
                  </a:lnTo>
                  <a:lnTo>
                    <a:pt x="195002" y="879221"/>
                  </a:lnTo>
                  <a:lnTo>
                    <a:pt x="193047" y="873356"/>
                  </a:lnTo>
                  <a:lnTo>
                    <a:pt x="190115" y="869446"/>
                  </a:lnTo>
                  <a:lnTo>
                    <a:pt x="187671" y="867491"/>
                  </a:lnTo>
                  <a:lnTo>
                    <a:pt x="187671" y="864885"/>
                  </a:lnTo>
                  <a:lnTo>
                    <a:pt x="193047" y="860160"/>
                  </a:lnTo>
                  <a:lnTo>
                    <a:pt x="197772" y="859672"/>
                  </a:lnTo>
                  <a:lnTo>
                    <a:pt x="200052" y="858531"/>
                  </a:lnTo>
                  <a:lnTo>
                    <a:pt x="203147" y="859834"/>
                  </a:lnTo>
                  <a:lnTo>
                    <a:pt x="207709" y="860323"/>
                  </a:lnTo>
                  <a:lnTo>
                    <a:pt x="212271" y="864396"/>
                  </a:lnTo>
                  <a:lnTo>
                    <a:pt x="217321" y="865210"/>
                  </a:lnTo>
                  <a:lnTo>
                    <a:pt x="220742" y="865536"/>
                  </a:lnTo>
                  <a:lnTo>
                    <a:pt x="222697" y="867165"/>
                  </a:lnTo>
                  <a:lnTo>
                    <a:pt x="227258" y="867491"/>
                  </a:lnTo>
                  <a:lnTo>
                    <a:pt x="231331" y="869120"/>
                  </a:lnTo>
                  <a:lnTo>
                    <a:pt x="234263" y="870912"/>
                  </a:lnTo>
                  <a:lnTo>
                    <a:pt x="237521" y="871564"/>
                  </a:lnTo>
                  <a:lnTo>
                    <a:pt x="239965" y="874659"/>
                  </a:lnTo>
                  <a:lnTo>
                    <a:pt x="243060" y="884434"/>
                  </a:lnTo>
                  <a:lnTo>
                    <a:pt x="246644" y="888669"/>
                  </a:lnTo>
                  <a:lnTo>
                    <a:pt x="251206" y="891765"/>
                  </a:lnTo>
                  <a:lnTo>
                    <a:pt x="255116" y="895186"/>
                  </a:lnTo>
                  <a:lnTo>
                    <a:pt x="259840" y="896978"/>
                  </a:lnTo>
                  <a:lnTo>
                    <a:pt x="262284" y="896000"/>
                  </a:lnTo>
                  <a:lnTo>
                    <a:pt x="264890" y="892253"/>
                  </a:lnTo>
                  <a:lnTo>
                    <a:pt x="263587" y="891276"/>
                  </a:lnTo>
                  <a:lnTo>
                    <a:pt x="260980" y="892742"/>
                  </a:lnTo>
                  <a:lnTo>
                    <a:pt x="258700" y="893068"/>
                  </a:lnTo>
                  <a:lnTo>
                    <a:pt x="255767" y="890624"/>
                  </a:lnTo>
                  <a:lnTo>
                    <a:pt x="250717" y="884597"/>
                  </a:lnTo>
                  <a:lnTo>
                    <a:pt x="251043" y="882642"/>
                  </a:lnTo>
                  <a:lnTo>
                    <a:pt x="252020" y="882316"/>
                  </a:lnTo>
                  <a:lnTo>
                    <a:pt x="256582" y="886877"/>
                  </a:lnTo>
                  <a:lnTo>
                    <a:pt x="259025" y="886877"/>
                  </a:lnTo>
                  <a:cubicBezTo>
                    <a:pt x="259025" y="886877"/>
                    <a:pt x="259351" y="884922"/>
                    <a:pt x="259351" y="884922"/>
                  </a:cubicBezTo>
                  <a:lnTo>
                    <a:pt x="262284" y="884597"/>
                  </a:lnTo>
                  <a:lnTo>
                    <a:pt x="262772" y="882479"/>
                  </a:lnTo>
                  <a:lnTo>
                    <a:pt x="256419" y="878243"/>
                  </a:lnTo>
                  <a:lnTo>
                    <a:pt x="250717" y="873519"/>
                  </a:lnTo>
                  <a:lnTo>
                    <a:pt x="249414" y="870424"/>
                  </a:lnTo>
                  <a:lnTo>
                    <a:pt x="250228" y="868632"/>
                  </a:lnTo>
                  <a:lnTo>
                    <a:pt x="251857" y="869120"/>
                  </a:lnTo>
                  <a:lnTo>
                    <a:pt x="255116" y="873519"/>
                  </a:lnTo>
                  <a:lnTo>
                    <a:pt x="258048" y="873519"/>
                  </a:lnTo>
                  <a:cubicBezTo>
                    <a:pt x="258048" y="873519"/>
                    <a:pt x="255930" y="869120"/>
                    <a:pt x="255930" y="869120"/>
                  </a:cubicBezTo>
                  <a:lnTo>
                    <a:pt x="250880" y="863907"/>
                  </a:lnTo>
                  <a:lnTo>
                    <a:pt x="246644" y="860812"/>
                  </a:lnTo>
                  <a:lnTo>
                    <a:pt x="245341" y="857717"/>
                  </a:lnTo>
                  <a:lnTo>
                    <a:pt x="246481" y="855925"/>
                  </a:lnTo>
                  <a:lnTo>
                    <a:pt x="251369" y="857717"/>
                  </a:lnTo>
                  <a:lnTo>
                    <a:pt x="260817" y="860812"/>
                  </a:lnTo>
                  <a:lnTo>
                    <a:pt x="263587" y="859672"/>
                  </a:lnTo>
                  <a:lnTo>
                    <a:pt x="264076" y="856739"/>
                  </a:lnTo>
                  <a:lnTo>
                    <a:pt x="260329" y="852015"/>
                  </a:lnTo>
                  <a:lnTo>
                    <a:pt x="258048" y="852015"/>
                  </a:lnTo>
                  <a:cubicBezTo>
                    <a:pt x="258048" y="852015"/>
                    <a:pt x="254953" y="853644"/>
                    <a:pt x="254953" y="853644"/>
                  </a:cubicBezTo>
                  <a:lnTo>
                    <a:pt x="251369" y="854133"/>
                  </a:lnTo>
                  <a:lnTo>
                    <a:pt x="246481" y="853644"/>
                  </a:lnTo>
                  <a:lnTo>
                    <a:pt x="245504" y="851363"/>
                  </a:lnTo>
                  <a:lnTo>
                    <a:pt x="247133" y="848920"/>
                  </a:lnTo>
                  <a:lnTo>
                    <a:pt x="252835" y="845987"/>
                  </a:lnTo>
                  <a:lnTo>
                    <a:pt x="254790" y="846639"/>
                  </a:lnTo>
                  <a:lnTo>
                    <a:pt x="258537" y="848920"/>
                  </a:lnTo>
                  <a:lnTo>
                    <a:pt x="259188" y="846802"/>
                  </a:lnTo>
                  <a:lnTo>
                    <a:pt x="258700" y="844195"/>
                  </a:lnTo>
                  <a:lnTo>
                    <a:pt x="255767" y="840774"/>
                  </a:lnTo>
                  <a:lnTo>
                    <a:pt x="253812" y="841263"/>
                  </a:lnTo>
                  <a:lnTo>
                    <a:pt x="252346" y="842729"/>
                  </a:lnTo>
                  <a:lnTo>
                    <a:pt x="249088" y="842729"/>
                  </a:lnTo>
                  <a:cubicBezTo>
                    <a:pt x="249088" y="842729"/>
                    <a:pt x="247133" y="844358"/>
                    <a:pt x="247133" y="844358"/>
                  </a:cubicBezTo>
                  <a:lnTo>
                    <a:pt x="240291" y="850060"/>
                  </a:lnTo>
                  <a:lnTo>
                    <a:pt x="238010" y="850060"/>
                  </a:lnTo>
                  <a:lnTo>
                    <a:pt x="238010" y="848105"/>
                  </a:lnTo>
                  <a:cubicBezTo>
                    <a:pt x="238010" y="848105"/>
                    <a:pt x="240617" y="845824"/>
                    <a:pt x="240617" y="845824"/>
                  </a:cubicBezTo>
                  <a:lnTo>
                    <a:pt x="242083" y="842240"/>
                  </a:lnTo>
                  <a:lnTo>
                    <a:pt x="245015" y="838168"/>
                  </a:lnTo>
                  <a:lnTo>
                    <a:pt x="247296" y="838168"/>
                  </a:lnTo>
                  <a:cubicBezTo>
                    <a:pt x="247296" y="838168"/>
                    <a:pt x="250228" y="838168"/>
                    <a:pt x="250228" y="838168"/>
                  </a:cubicBezTo>
                  <a:lnTo>
                    <a:pt x="253649" y="835561"/>
                  </a:lnTo>
                  <a:lnTo>
                    <a:pt x="256908" y="834746"/>
                  </a:lnTo>
                  <a:lnTo>
                    <a:pt x="258537" y="832954"/>
                  </a:lnTo>
                  <a:lnTo>
                    <a:pt x="257559" y="831977"/>
                  </a:lnTo>
                  <a:lnTo>
                    <a:pt x="251695" y="831651"/>
                  </a:lnTo>
                  <a:lnTo>
                    <a:pt x="248273" y="834421"/>
                  </a:lnTo>
                  <a:lnTo>
                    <a:pt x="245504" y="835072"/>
                  </a:lnTo>
                  <a:lnTo>
                    <a:pt x="242735" y="834095"/>
                  </a:lnTo>
                  <a:lnTo>
                    <a:pt x="237196" y="834746"/>
                  </a:lnTo>
                  <a:lnTo>
                    <a:pt x="235567" y="833606"/>
                  </a:lnTo>
                  <a:lnTo>
                    <a:pt x="235567" y="830674"/>
                  </a:lnTo>
                  <a:cubicBezTo>
                    <a:pt x="235567" y="830674"/>
                    <a:pt x="238173" y="828882"/>
                    <a:pt x="238173" y="828882"/>
                  </a:cubicBezTo>
                  <a:lnTo>
                    <a:pt x="241268" y="826275"/>
                  </a:lnTo>
                  <a:lnTo>
                    <a:pt x="247459" y="825787"/>
                  </a:lnTo>
                  <a:lnTo>
                    <a:pt x="255604" y="823832"/>
                  </a:lnTo>
                  <a:lnTo>
                    <a:pt x="261306" y="820736"/>
                  </a:lnTo>
                  <a:lnTo>
                    <a:pt x="261795" y="818781"/>
                  </a:lnTo>
                  <a:lnTo>
                    <a:pt x="260166" y="817804"/>
                  </a:lnTo>
                  <a:lnTo>
                    <a:pt x="257722" y="817804"/>
                  </a:lnTo>
                  <a:lnTo>
                    <a:pt x="253975" y="820085"/>
                  </a:lnTo>
                  <a:lnTo>
                    <a:pt x="249740" y="821551"/>
                  </a:lnTo>
                  <a:lnTo>
                    <a:pt x="246644" y="820573"/>
                  </a:lnTo>
                  <a:lnTo>
                    <a:pt x="244527" y="817315"/>
                  </a:lnTo>
                  <a:lnTo>
                    <a:pt x="242409" y="816175"/>
                  </a:lnTo>
                  <a:lnTo>
                    <a:pt x="238499" y="816501"/>
                  </a:lnTo>
                  <a:lnTo>
                    <a:pt x="236707" y="815360"/>
                  </a:lnTo>
                  <a:lnTo>
                    <a:pt x="236707" y="813568"/>
                  </a:lnTo>
                  <a:cubicBezTo>
                    <a:pt x="236707" y="813568"/>
                    <a:pt x="240291" y="810473"/>
                    <a:pt x="240291" y="810473"/>
                  </a:cubicBezTo>
                  <a:lnTo>
                    <a:pt x="242246" y="805097"/>
                  </a:lnTo>
                  <a:lnTo>
                    <a:pt x="244527" y="802979"/>
                  </a:lnTo>
                  <a:lnTo>
                    <a:pt x="248111" y="801024"/>
                  </a:lnTo>
                  <a:lnTo>
                    <a:pt x="247785" y="799558"/>
                  </a:lnTo>
                  <a:lnTo>
                    <a:pt x="245993" y="799558"/>
                  </a:lnTo>
                  <a:lnTo>
                    <a:pt x="241920" y="801350"/>
                  </a:lnTo>
                  <a:lnTo>
                    <a:pt x="237359" y="807541"/>
                  </a:lnTo>
                  <a:lnTo>
                    <a:pt x="237359" y="809821"/>
                  </a:lnTo>
                  <a:cubicBezTo>
                    <a:pt x="237359" y="809821"/>
                    <a:pt x="233286" y="812428"/>
                    <a:pt x="233286" y="812428"/>
                  </a:cubicBezTo>
                  <a:lnTo>
                    <a:pt x="232146" y="813894"/>
                  </a:lnTo>
                  <a:lnTo>
                    <a:pt x="230190" y="813894"/>
                  </a:lnTo>
                  <a:cubicBezTo>
                    <a:pt x="230190" y="813894"/>
                    <a:pt x="230516" y="809658"/>
                    <a:pt x="230516" y="809658"/>
                  </a:cubicBezTo>
                  <a:lnTo>
                    <a:pt x="231820" y="803631"/>
                  </a:lnTo>
                  <a:lnTo>
                    <a:pt x="231820" y="797603"/>
                  </a:lnTo>
                  <a:cubicBezTo>
                    <a:pt x="231820" y="797603"/>
                    <a:pt x="229539" y="792390"/>
                    <a:pt x="229539" y="792390"/>
                  </a:cubicBezTo>
                  <a:lnTo>
                    <a:pt x="228887" y="787340"/>
                  </a:lnTo>
                  <a:lnTo>
                    <a:pt x="230516" y="783593"/>
                  </a:lnTo>
                  <a:lnTo>
                    <a:pt x="230190" y="779846"/>
                  </a:lnTo>
                  <a:lnTo>
                    <a:pt x="228887" y="780172"/>
                  </a:lnTo>
                  <a:lnTo>
                    <a:pt x="227910" y="782127"/>
                  </a:lnTo>
                  <a:lnTo>
                    <a:pt x="226281" y="790924"/>
                  </a:lnTo>
                  <a:lnTo>
                    <a:pt x="227747" y="794834"/>
                  </a:lnTo>
                  <a:lnTo>
                    <a:pt x="229539" y="799395"/>
                  </a:lnTo>
                  <a:lnTo>
                    <a:pt x="229213" y="804120"/>
                  </a:lnTo>
                  <a:lnTo>
                    <a:pt x="228887" y="811125"/>
                  </a:lnTo>
                  <a:lnTo>
                    <a:pt x="227095" y="814383"/>
                  </a:lnTo>
                  <a:lnTo>
                    <a:pt x="224814" y="814872"/>
                  </a:lnTo>
                  <a:lnTo>
                    <a:pt x="221882" y="811939"/>
                  </a:lnTo>
                  <a:lnTo>
                    <a:pt x="219764" y="808844"/>
                  </a:lnTo>
                  <a:lnTo>
                    <a:pt x="218950" y="815686"/>
                  </a:lnTo>
                  <a:lnTo>
                    <a:pt x="218461" y="817478"/>
                  </a:lnTo>
                  <a:lnTo>
                    <a:pt x="216180" y="816989"/>
                  </a:lnTo>
                  <a:lnTo>
                    <a:pt x="213737" y="816989"/>
                  </a:lnTo>
                  <a:lnTo>
                    <a:pt x="216017" y="818781"/>
                  </a:lnTo>
                  <a:lnTo>
                    <a:pt x="216995" y="822040"/>
                  </a:lnTo>
                  <a:lnTo>
                    <a:pt x="215855" y="826275"/>
                  </a:lnTo>
                  <a:lnTo>
                    <a:pt x="213737" y="829208"/>
                  </a:lnTo>
                  <a:lnTo>
                    <a:pt x="209664" y="829859"/>
                  </a:lnTo>
                  <a:lnTo>
                    <a:pt x="207383" y="829370"/>
                  </a:lnTo>
                  <a:lnTo>
                    <a:pt x="206080" y="830837"/>
                  </a:lnTo>
                  <a:lnTo>
                    <a:pt x="202496" y="833443"/>
                  </a:lnTo>
                  <a:lnTo>
                    <a:pt x="196143" y="833443"/>
                  </a:lnTo>
                  <a:cubicBezTo>
                    <a:pt x="196143" y="833443"/>
                    <a:pt x="193699" y="830837"/>
                    <a:pt x="193699" y="830837"/>
                  </a:cubicBezTo>
                  <a:lnTo>
                    <a:pt x="194025" y="827253"/>
                  </a:lnTo>
                  <a:lnTo>
                    <a:pt x="192884" y="824483"/>
                  </a:lnTo>
                  <a:lnTo>
                    <a:pt x="190929" y="822691"/>
                  </a:lnTo>
                  <a:lnTo>
                    <a:pt x="188649" y="822691"/>
                  </a:lnTo>
                  <a:lnTo>
                    <a:pt x="187834" y="825787"/>
                  </a:lnTo>
                  <a:lnTo>
                    <a:pt x="186368" y="825787"/>
                  </a:lnTo>
                  <a:cubicBezTo>
                    <a:pt x="186368" y="825787"/>
                    <a:pt x="184576" y="819922"/>
                    <a:pt x="184576" y="819922"/>
                  </a:cubicBezTo>
                  <a:lnTo>
                    <a:pt x="185716" y="816175"/>
                  </a:lnTo>
                  <a:lnTo>
                    <a:pt x="184739" y="813568"/>
                  </a:lnTo>
                  <a:lnTo>
                    <a:pt x="183110" y="811939"/>
                  </a:lnTo>
                  <a:lnTo>
                    <a:pt x="183110" y="809170"/>
                  </a:lnTo>
                  <a:lnTo>
                    <a:pt x="187834" y="806400"/>
                  </a:lnTo>
                  <a:lnTo>
                    <a:pt x="191907" y="806400"/>
                  </a:lnTo>
                  <a:cubicBezTo>
                    <a:pt x="191907" y="806400"/>
                    <a:pt x="193373" y="807541"/>
                    <a:pt x="193373" y="807541"/>
                  </a:cubicBezTo>
                  <a:lnTo>
                    <a:pt x="195654" y="803631"/>
                  </a:lnTo>
                  <a:lnTo>
                    <a:pt x="198260" y="802653"/>
                  </a:lnTo>
                  <a:lnTo>
                    <a:pt x="205591" y="801839"/>
                  </a:lnTo>
                  <a:lnTo>
                    <a:pt x="208035" y="802490"/>
                  </a:lnTo>
                  <a:lnTo>
                    <a:pt x="213737" y="796463"/>
                  </a:lnTo>
                  <a:lnTo>
                    <a:pt x="217809" y="789295"/>
                  </a:lnTo>
                  <a:lnTo>
                    <a:pt x="217809" y="787177"/>
                  </a:lnTo>
                  <a:lnTo>
                    <a:pt x="216506" y="786688"/>
                  </a:lnTo>
                  <a:lnTo>
                    <a:pt x="213900" y="788480"/>
                  </a:lnTo>
                  <a:lnTo>
                    <a:pt x="211456" y="792879"/>
                  </a:lnTo>
                  <a:lnTo>
                    <a:pt x="207383" y="797766"/>
                  </a:lnTo>
                  <a:lnTo>
                    <a:pt x="202170" y="799395"/>
                  </a:lnTo>
                  <a:lnTo>
                    <a:pt x="196305" y="798092"/>
                  </a:lnTo>
                  <a:lnTo>
                    <a:pt x="192721" y="794997"/>
                  </a:lnTo>
                  <a:lnTo>
                    <a:pt x="192721" y="792227"/>
                  </a:lnTo>
                  <a:cubicBezTo>
                    <a:pt x="192721" y="792227"/>
                    <a:pt x="197283" y="789621"/>
                    <a:pt x="197283" y="789621"/>
                  </a:cubicBezTo>
                  <a:lnTo>
                    <a:pt x="202496" y="784733"/>
                  </a:lnTo>
                  <a:lnTo>
                    <a:pt x="205754" y="784245"/>
                  </a:lnTo>
                  <a:lnTo>
                    <a:pt x="206732" y="782616"/>
                  </a:lnTo>
                  <a:lnTo>
                    <a:pt x="206732" y="779520"/>
                  </a:lnTo>
                  <a:cubicBezTo>
                    <a:pt x="206732" y="779520"/>
                    <a:pt x="207709" y="777891"/>
                    <a:pt x="207709" y="777891"/>
                  </a:cubicBezTo>
                  <a:lnTo>
                    <a:pt x="210316" y="777402"/>
                  </a:lnTo>
                  <a:lnTo>
                    <a:pt x="212271" y="775610"/>
                  </a:lnTo>
                  <a:lnTo>
                    <a:pt x="210804" y="774144"/>
                  </a:lnTo>
                  <a:lnTo>
                    <a:pt x="210479" y="772026"/>
                  </a:lnTo>
                  <a:lnTo>
                    <a:pt x="209501" y="771049"/>
                  </a:lnTo>
                  <a:lnTo>
                    <a:pt x="208035" y="771701"/>
                  </a:lnTo>
                  <a:lnTo>
                    <a:pt x="205754" y="773656"/>
                  </a:lnTo>
                  <a:lnTo>
                    <a:pt x="199075" y="772841"/>
                  </a:lnTo>
                  <a:lnTo>
                    <a:pt x="197283" y="773330"/>
                  </a:lnTo>
                  <a:lnTo>
                    <a:pt x="196143" y="771701"/>
                  </a:lnTo>
                  <a:lnTo>
                    <a:pt x="197283" y="768605"/>
                  </a:lnTo>
                  <a:lnTo>
                    <a:pt x="202496" y="765347"/>
                  </a:lnTo>
                  <a:lnTo>
                    <a:pt x="205103" y="765347"/>
                  </a:lnTo>
                  <a:cubicBezTo>
                    <a:pt x="205103" y="765347"/>
                    <a:pt x="208035" y="767791"/>
                    <a:pt x="208035" y="767791"/>
                  </a:cubicBezTo>
                  <a:lnTo>
                    <a:pt x="211293" y="767302"/>
                  </a:lnTo>
                  <a:lnTo>
                    <a:pt x="216180" y="765184"/>
                  </a:lnTo>
                  <a:lnTo>
                    <a:pt x="219276" y="758342"/>
                  </a:lnTo>
                  <a:lnTo>
                    <a:pt x="217484" y="756061"/>
                  </a:lnTo>
                  <a:lnTo>
                    <a:pt x="218135" y="752477"/>
                  </a:lnTo>
                  <a:lnTo>
                    <a:pt x="223185" y="747753"/>
                  </a:lnTo>
                  <a:lnTo>
                    <a:pt x="221719" y="742540"/>
                  </a:lnTo>
                  <a:lnTo>
                    <a:pt x="222208" y="737327"/>
                  </a:lnTo>
                  <a:lnTo>
                    <a:pt x="221230" y="735046"/>
                  </a:lnTo>
                  <a:lnTo>
                    <a:pt x="218135" y="733906"/>
                  </a:lnTo>
                  <a:lnTo>
                    <a:pt x="215529" y="733906"/>
                  </a:lnTo>
                  <a:lnTo>
                    <a:pt x="212922" y="731136"/>
                  </a:lnTo>
                  <a:lnTo>
                    <a:pt x="209338" y="731136"/>
                  </a:lnTo>
                  <a:cubicBezTo>
                    <a:pt x="209338" y="731136"/>
                    <a:pt x="206243" y="729670"/>
                    <a:pt x="206243" y="729670"/>
                  </a:cubicBezTo>
                  <a:lnTo>
                    <a:pt x="206569" y="727389"/>
                  </a:lnTo>
                  <a:lnTo>
                    <a:pt x="208524" y="726575"/>
                  </a:lnTo>
                  <a:lnTo>
                    <a:pt x="212271" y="727226"/>
                  </a:lnTo>
                  <a:lnTo>
                    <a:pt x="214225" y="725760"/>
                  </a:lnTo>
                  <a:lnTo>
                    <a:pt x="217484" y="722339"/>
                  </a:lnTo>
                  <a:lnTo>
                    <a:pt x="217484" y="718755"/>
                  </a:lnTo>
                  <a:cubicBezTo>
                    <a:pt x="217484" y="718755"/>
                    <a:pt x="220253" y="715823"/>
                    <a:pt x="220253" y="715823"/>
                  </a:cubicBezTo>
                  <a:lnTo>
                    <a:pt x="220253" y="712890"/>
                  </a:lnTo>
                  <a:cubicBezTo>
                    <a:pt x="220253" y="712890"/>
                    <a:pt x="218298" y="710936"/>
                    <a:pt x="218298" y="710936"/>
                  </a:cubicBezTo>
                  <a:lnTo>
                    <a:pt x="215040" y="710447"/>
                  </a:lnTo>
                  <a:lnTo>
                    <a:pt x="213737" y="708329"/>
                  </a:lnTo>
                  <a:lnTo>
                    <a:pt x="212922" y="705234"/>
                  </a:lnTo>
                  <a:lnTo>
                    <a:pt x="215529" y="703116"/>
                  </a:lnTo>
                  <a:lnTo>
                    <a:pt x="216506" y="703605"/>
                  </a:lnTo>
                  <a:lnTo>
                    <a:pt x="216506" y="701650"/>
                  </a:lnTo>
                  <a:cubicBezTo>
                    <a:pt x="216506" y="701650"/>
                    <a:pt x="213900" y="697414"/>
                    <a:pt x="213900" y="697414"/>
                  </a:cubicBezTo>
                  <a:lnTo>
                    <a:pt x="212759" y="692038"/>
                  </a:lnTo>
                  <a:lnTo>
                    <a:pt x="214714" y="691061"/>
                  </a:lnTo>
                  <a:lnTo>
                    <a:pt x="216995" y="693993"/>
                  </a:lnTo>
                  <a:lnTo>
                    <a:pt x="216995" y="692364"/>
                  </a:lnTo>
                  <a:lnTo>
                    <a:pt x="215529" y="689269"/>
                  </a:lnTo>
                  <a:lnTo>
                    <a:pt x="215529" y="686825"/>
                  </a:lnTo>
                  <a:lnTo>
                    <a:pt x="217809" y="682426"/>
                  </a:lnTo>
                  <a:lnTo>
                    <a:pt x="216832" y="677865"/>
                  </a:lnTo>
                  <a:lnTo>
                    <a:pt x="214551" y="673792"/>
                  </a:lnTo>
                  <a:lnTo>
                    <a:pt x="215040" y="670860"/>
                  </a:lnTo>
                  <a:lnTo>
                    <a:pt x="213900" y="667765"/>
                  </a:lnTo>
                  <a:lnTo>
                    <a:pt x="215529" y="664995"/>
                  </a:lnTo>
                  <a:lnTo>
                    <a:pt x="217158" y="659456"/>
                  </a:lnTo>
                  <a:lnTo>
                    <a:pt x="215366" y="659130"/>
                  </a:lnTo>
                  <a:lnTo>
                    <a:pt x="212922" y="659456"/>
                  </a:lnTo>
                  <a:lnTo>
                    <a:pt x="208524" y="663855"/>
                  </a:lnTo>
                  <a:lnTo>
                    <a:pt x="205917" y="664181"/>
                  </a:lnTo>
                  <a:lnTo>
                    <a:pt x="203962" y="666135"/>
                  </a:lnTo>
                  <a:lnTo>
                    <a:pt x="201519" y="667113"/>
                  </a:lnTo>
                  <a:lnTo>
                    <a:pt x="199238" y="665973"/>
                  </a:lnTo>
                  <a:lnTo>
                    <a:pt x="200704" y="663692"/>
                  </a:lnTo>
                  <a:lnTo>
                    <a:pt x="205265" y="660434"/>
                  </a:lnTo>
                  <a:lnTo>
                    <a:pt x="207872" y="660434"/>
                  </a:lnTo>
                  <a:cubicBezTo>
                    <a:pt x="207872" y="660434"/>
                    <a:pt x="210479" y="657013"/>
                    <a:pt x="210479" y="657013"/>
                  </a:cubicBezTo>
                  <a:lnTo>
                    <a:pt x="211619" y="653103"/>
                  </a:lnTo>
                  <a:lnTo>
                    <a:pt x="215529" y="650008"/>
                  </a:lnTo>
                  <a:lnTo>
                    <a:pt x="219601" y="648378"/>
                  </a:lnTo>
                  <a:lnTo>
                    <a:pt x="220905" y="644794"/>
                  </a:lnTo>
                  <a:lnTo>
                    <a:pt x="220416" y="641373"/>
                  </a:lnTo>
                  <a:lnTo>
                    <a:pt x="218135" y="638441"/>
                  </a:lnTo>
                  <a:lnTo>
                    <a:pt x="215040" y="634368"/>
                  </a:lnTo>
                  <a:lnTo>
                    <a:pt x="213900" y="630296"/>
                  </a:lnTo>
                  <a:lnTo>
                    <a:pt x="212759" y="629318"/>
                  </a:lnTo>
                  <a:lnTo>
                    <a:pt x="210804" y="629318"/>
                  </a:lnTo>
                  <a:lnTo>
                    <a:pt x="208198" y="625734"/>
                  </a:lnTo>
                  <a:lnTo>
                    <a:pt x="208198" y="622150"/>
                  </a:lnTo>
                  <a:cubicBezTo>
                    <a:pt x="208198" y="622150"/>
                    <a:pt x="209827" y="620358"/>
                    <a:pt x="209827" y="620358"/>
                  </a:cubicBezTo>
                  <a:lnTo>
                    <a:pt x="208849" y="618077"/>
                  </a:lnTo>
                  <a:lnTo>
                    <a:pt x="208849" y="613516"/>
                  </a:lnTo>
                  <a:cubicBezTo>
                    <a:pt x="208849" y="613516"/>
                    <a:pt x="207057" y="609606"/>
                    <a:pt x="207057" y="609606"/>
                  </a:cubicBezTo>
                  <a:lnTo>
                    <a:pt x="198423" y="602275"/>
                  </a:lnTo>
                  <a:lnTo>
                    <a:pt x="198423" y="600483"/>
                  </a:lnTo>
                  <a:cubicBezTo>
                    <a:pt x="198423" y="600483"/>
                    <a:pt x="196305" y="597225"/>
                    <a:pt x="196305" y="597225"/>
                  </a:cubicBezTo>
                  <a:lnTo>
                    <a:pt x="194351" y="595270"/>
                  </a:lnTo>
                  <a:lnTo>
                    <a:pt x="194351" y="593315"/>
                  </a:lnTo>
                  <a:cubicBezTo>
                    <a:pt x="194351" y="593315"/>
                    <a:pt x="196143" y="592338"/>
                    <a:pt x="196143" y="592338"/>
                  </a:cubicBezTo>
                  <a:lnTo>
                    <a:pt x="201193" y="587939"/>
                  </a:lnTo>
                  <a:lnTo>
                    <a:pt x="204125" y="586310"/>
                  </a:lnTo>
                  <a:lnTo>
                    <a:pt x="205591" y="583541"/>
                  </a:lnTo>
                  <a:lnTo>
                    <a:pt x="204451" y="582237"/>
                  </a:lnTo>
                  <a:lnTo>
                    <a:pt x="200378" y="582237"/>
                  </a:lnTo>
                  <a:lnTo>
                    <a:pt x="200378" y="580771"/>
                  </a:lnTo>
                  <a:lnTo>
                    <a:pt x="203311" y="578490"/>
                  </a:lnTo>
                  <a:lnTo>
                    <a:pt x="205591" y="573766"/>
                  </a:lnTo>
                  <a:lnTo>
                    <a:pt x="208035" y="570997"/>
                  </a:lnTo>
                  <a:lnTo>
                    <a:pt x="208035" y="568553"/>
                  </a:lnTo>
                  <a:lnTo>
                    <a:pt x="207057" y="567413"/>
                  </a:lnTo>
                  <a:lnTo>
                    <a:pt x="208687" y="564154"/>
                  </a:lnTo>
                  <a:lnTo>
                    <a:pt x="206569" y="561711"/>
                  </a:lnTo>
                  <a:lnTo>
                    <a:pt x="204125" y="560896"/>
                  </a:lnTo>
                  <a:lnTo>
                    <a:pt x="200215" y="556009"/>
                  </a:lnTo>
                  <a:lnTo>
                    <a:pt x="194676" y="551610"/>
                  </a:lnTo>
                  <a:lnTo>
                    <a:pt x="193210" y="547701"/>
                  </a:lnTo>
                  <a:lnTo>
                    <a:pt x="190929" y="546071"/>
                  </a:lnTo>
                  <a:lnTo>
                    <a:pt x="189137" y="546560"/>
                  </a:lnTo>
                  <a:lnTo>
                    <a:pt x="188649" y="548841"/>
                  </a:lnTo>
                  <a:lnTo>
                    <a:pt x="186531" y="549167"/>
                  </a:lnTo>
                  <a:lnTo>
                    <a:pt x="185228" y="548026"/>
                  </a:lnTo>
                  <a:lnTo>
                    <a:pt x="184250" y="544279"/>
                  </a:lnTo>
                  <a:lnTo>
                    <a:pt x="181644" y="541836"/>
                  </a:lnTo>
                  <a:lnTo>
                    <a:pt x="178060" y="539392"/>
                  </a:lnTo>
                  <a:lnTo>
                    <a:pt x="175616" y="536460"/>
                  </a:lnTo>
                  <a:lnTo>
                    <a:pt x="173498" y="535645"/>
                  </a:lnTo>
                  <a:lnTo>
                    <a:pt x="172358" y="536786"/>
                  </a:lnTo>
                  <a:lnTo>
                    <a:pt x="170240" y="537274"/>
                  </a:lnTo>
                  <a:lnTo>
                    <a:pt x="169914" y="535645"/>
                  </a:lnTo>
                  <a:lnTo>
                    <a:pt x="170729" y="531247"/>
                  </a:lnTo>
                  <a:lnTo>
                    <a:pt x="164864" y="526685"/>
                  </a:lnTo>
                  <a:lnTo>
                    <a:pt x="160303" y="521961"/>
                  </a:lnTo>
                  <a:lnTo>
                    <a:pt x="158511" y="521961"/>
                  </a:lnTo>
                  <a:cubicBezTo>
                    <a:pt x="158511" y="521961"/>
                    <a:pt x="155904" y="524893"/>
                    <a:pt x="155904" y="524893"/>
                  </a:cubicBezTo>
                  <a:lnTo>
                    <a:pt x="151831" y="523264"/>
                  </a:lnTo>
                  <a:lnTo>
                    <a:pt x="144826" y="517237"/>
                  </a:lnTo>
                  <a:lnTo>
                    <a:pt x="139124" y="515445"/>
                  </a:lnTo>
                  <a:lnTo>
                    <a:pt x="135703" y="511698"/>
                  </a:lnTo>
                  <a:lnTo>
                    <a:pt x="131305" y="510069"/>
                  </a:lnTo>
                  <a:lnTo>
                    <a:pt x="125929" y="510883"/>
                  </a:lnTo>
                  <a:lnTo>
                    <a:pt x="122671" y="513978"/>
                  </a:lnTo>
                  <a:lnTo>
                    <a:pt x="119901" y="519191"/>
                  </a:lnTo>
                  <a:lnTo>
                    <a:pt x="115339" y="522450"/>
                  </a:lnTo>
                  <a:lnTo>
                    <a:pt x="113385" y="525056"/>
                  </a:lnTo>
                  <a:lnTo>
                    <a:pt x="113385" y="520495"/>
                  </a:lnTo>
                  <a:cubicBezTo>
                    <a:pt x="113385" y="520495"/>
                    <a:pt x="115665" y="516259"/>
                    <a:pt x="115665" y="516259"/>
                  </a:cubicBezTo>
                  <a:lnTo>
                    <a:pt x="115177" y="511698"/>
                  </a:lnTo>
                  <a:lnTo>
                    <a:pt x="113711" y="510069"/>
                  </a:lnTo>
                  <a:lnTo>
                    <a:pt x="108986" y="510069"/>
                  </a:lnTo>
                  <a:cubicBezTo>
                    <a:pt x="108986" y="510069"/>
                    <a:pt x="106380" y="513164"/>
                    <a:pt x="106380" y="513164"/>
                  </a:cubicBezTo>
                  <a:lnTo>
                    <a:pt x="106380" y="516259"/>
                  </a:lnTo>
                  <a:cubicBezTo>
                    <a:pt x="106380" y="516259"/>
                    <a:pt x="102633" y="518540"/>
                    <a:pt x="102633" y="518540"/>
                  </a:cubicBezTo>
                  <a:lnTo>
                    <a:pt x="100026" y="516911"/>
                  </a:lnTo>
                  <a:lnTo>
                    <a:pt x="97094" y="510720"/>
                  </a:lnTo>
                  <a:lnTo>
                    <a:pt x="94161" y="509580"/>
                  </a:lnTo>
                  <a:lnTo>
                    <a:pt x="93510" y="512675"/>
                  </a:lnTo>
                  <a:lnTo>
                    <a:pt x="91066" y="521309"/>
                  </a:lnTo>
                  <a:lnTo>
                    <a:pt x="89274" y="522613"/>
                  </a:lnTo>
                  <a:lnTo>
                    <a:pt x="85853" y="521309"/>
                  </a:lnTo>
                  <a:lnTo>
                    <a:pt x="85364" y="516259"/>
                  </a:lnTo>
                  <a:lnTo>
                    <a:pt x="87645" y="511698"/>
                  </a:lnTo>
                  <a:lnTo>
                    <a:pt x="91555" y="508765"/>
                  </a:lnTo>
                  <a:lnTo>
                    <a:pt x="90577" y="506810"/>
                  </a:lnTo>
                  <a:lnTo>
                    <a:pt x="87319" y="507299"/>
                  </a:lnTo>
                  <a:lnTo>
                    <a:pt x="85853" y="505833"/>
                  </a:lnTo>
                  <a:lnTo>
                    <a:pt x="81129" y="508928"/>
                  </a:lnTo>
                  <a:lnTo>
                    <a:pt x="77707" y="508928"/>
                  </a:lnTo>
                  <a:cubicBezTo>
                    <a:pt x="77707" y="508928"/>
                    <a:pt x="76404" y="511861"/>
                    <a:pt x="76404" y="511861"/>
                  </a:cubicBezTo>
                  <a:lnTo>
                    <a:pt x="74938" y="513001"/>
                  </a:lnTo>
                  <a:lnTo>
                    <a:pt x="73961" y="510394"/>
                  </a:lnTo>
                  <a:lnTo>
                    <a:pt x="73961" y="507462"/>
                  </a:lnTo>
                  <a:lnTo>
                    <a:pt x="72169" y="502738"/>
                  </a:lnTo>
                  <a:lnTo>
                    <a:pt x="71028" y="498502"/>
                  </a:lnTo>
                  <a:lnTo>
                    <a:pt x="69399" y="498502"/>
                  </a:lnTo>
                  <a:lnTo>
                    <a:pt x="66955" y="499479"/>
                  </a:lnTo>
                  <a:lnTo>
                    <a:pt x="66467" y="502575"/>
                  </a:lnTo>
                  <a:lnTo>
                    <a:pt x="65164" y="507788"/>
                  </a:lnTo>
                  <a:lnTo>
                    <a:pt x="62883" y="509743"/>
                  </a:lnTo>
                  <a:lnTo>
                    <a:pt x="62883" y="513490"/>
                  </a:lnTo>
                  <a:lnTo>
                    <a:pt x="63860" y="520332"/>
                  </a:lnTo>
                  <a:lnTo>
                    <a:pt x="63534" y="523427"/>
                  </a:lnTo>
                  <a:lnTo>
                    <a:pt x="62394" y="525056"/>
                  </a:lnTo>
                  <a:lnTo>
                    <a:pt x="58647" y="522775"/>
                  </a:lnTo>
                  <a:lnTo>
                    <a:pt x="54412" y="518377"/>
                  </a:lnTo>
                  <a:lnTo>
                    <a:pt x="49198" y="516096"/>
                  </a:lnTo>
                  <a:lnTo>
                    <a:pt x="44474" y="512675"/>
                  </a:lnTo>
                  <a:lnTo>
                    <a:pt x="40401" y="508277"/>
                  </a:lnTo>
                  <a:lnTo>
                    <a:pt x="37306" y="506485"/>
                  </a:lnTo>
                  <a:lnTo>
                    <a:pt x="37306" y="505181"/>
                  </a:lnTo>
                  <a:lnTo>
                    <a:pt x="39261" y="503715"/>
                  </a:lnTo>
                  <a:lnTo>
                    <a:pt x="33885" y="501923"/>
                  </a:lnTo>
                  <a:lnTo>
                    <a:pt x="30464" y="494103"/>
                  </a:lnTo>
                  <a:lnTo>
                    <a:pt x="27857" y="490682"/>
                  </a:lnTo>
                  <a:lnTo>
                    <a:pt x="23785" y="486121"/>
                  </a:lnTo>
                  <a:lnTo>
                    <a:pt x="23785" y="480582"/>
                  </a:lnTo>
                  <a:cubicBezTo>
                    <a:pt x="23785" y="480582"/>
                    <a:pt x="26228" y="477813"/>
                    <a:pt x="26228" y="477813"/>
                  </a:cubicBezTo>
                  <a:lnTo>
                    <a:pt x="33071" y="477487"/>
                  </a:lnTo>
                  <a:lnTo>
                    <a:pt x="35840" y="474554"/>
                  </a:lnTo>
                  <a:lnTo>
                    <a:pt x="39913" y="473414"/>
                  </a:lnTo>
                  <a:lnTo>
                    <a:pt x="46592" y="473414"/>
                  </a:lnTo>
                  <a:lnTo>
                    <a:pt x="48221" y="475043"/>
                  </a:lnTo>
                  <a:lnTo>
                    <a:pt x="51479" y="472599"/>
                  </a:lnTo>
                  <a:lnTo>
                    <a:pt x="53434" y="469504"/>
                  </a:lnTo>
                  <a:lnTo>
                    <a:pt x="53434" y="467061"/>
                  </a:lnTo>
                  <a:cubicBezTo>
                    <a:pt x="53434" y="467061"/>
                    <a:pt x="48058" y="467549"/>
                    <a:pt x="48058" y="467549"/>
                  </a:cubicBezTo>
                  <a:lnTo>
                    <a:pt x="41379" y="464128"/>
                  </a:lnTo>
                  <a:lnTo>
                    <a:pt x="38935" y="464128"/>
                  </a:lnTo>
                  <a:cubicBezTo>
                    <a:pt x="38935" y="464128"/>
                    <a:pt x="37143" y="466735"/>
                    <a:pt x="37143" y="466735"/>
                  </a:cubicBezTo>
                  <a:lnTo>
                    <a:pt x="29649" y="459404"/>
                  </a:lnTo>
                  <a:lnTo>
                    <a:pt x="28835" y="452725"/>
                  </a:lnTo>
                  <a:lnTo>
                    <a:pt x="31767" y="450118"/>
                  </a:lnTo>
                  <a:lnTo>
                    <a:pt x="35514" y="448163"/>
                  </a:lnTo>
                  <a:lnTo>
                    <a:pt x="37469" y="442298"/>
                  </a:lnTo>
                  <a:lnTo>
                    <a:pt x="39424" y="439692"/>
                  </a:lnTo>
                  <a:lnTo>
                    <a:pt x="36166" y="439692"/>
                  </a:lnTo>
                  <a:lnTo>
                    <a:pt x="33722" y="441321"/>
                  </a:lnTo>
                  <a:lnTo>
                    <a:pt x="30627" y="447186"/>
                  </a:lnTo>
                  <a:lnTo>
                    <a:pt x="27857" y="447186"/>
                  </a:lnTo>
                  <a:lnTo>
                    <a:pt x="25902" y="448652"/>
                  </a:lnTo>
                  <a:lnTo>
                    <a:pt x="22970" y="452073"/>
                  </a:lnTo>
                  <a:lnTo>
                    <a:pt x="17594" y="449792"/>
                  </a:lnTo>
                  <a:lnTo>
                    <a:pt x="16128" y="445231"/>
                  </a:lnTo>
                  <a:lnTo>
                    <a:pt x="17431" y="441321"/>
                  </a:lnTo>
                  <a:lnTo>
                    <a:pt x="20526" y="439366"/>
                  </a:lnTo>
                  <a:lnTo>
                    <a:pt x="19060" y="437737"/>
                  </a:lnTo>
                  <a:lnTo>
                    <a:pt x="16291" y="437737"/>
                  </a:lnTo>
                  <a:cubicBezTo>
                    <a:pt x="16291" y="437737"/>
                    <a:pt x="14499" y="439040"/>
                    <a:pt x="14499" y="439040"/>
                  </a:cubicBezTo>
                  <a:lnTo>
                    <a:pt x="14499" y="431709"/>
                  </a:lnTo>
                  <a:lnTo>
                    <a:pt x="16454" y="428614"/>
                  </a:lnTo>
                  <a:lnTo>
                    <a:pt x="18409" y="428614"/>
                  </a:lnTo>
                  <a:cubicBezTo>
                    <a:pt x="18409" y="428614"/>
                    <a:pt x="20201" y="426170"/>
                    <a:pt x="20201" y="426170"/>
                  </a:cubicBezTo>
                  <a:lnTo>
                    <a:pt x="23459" y="426496"/>
                  </a:lnTo>
                  <a:lnTo>
                    <a:pt x="26065" y="428777"/>
                  </a:lnTo>
                  <a:lnTo>
                    <a:pt x="25739" y="423075"/>
                  </a:lnTo>
                  <a:lnTo>
                    <a:pt x="34211" y="419980"/>
                  </a:lnTo>
                  <a:lnTo>
                    <a:pt x="42682" y="421935"/>
                  </a:lnTo>
                  <a:lnTo>
                    <a:pt x="48384" y="426007"/>
                  </a:lnTo>
                  <a:lnTo>
                    <a:pt x="57344" y="426333"/>
                  </a:lnTo>
                  <a:lnTo>
                    <a:pt x="66141" y="430732"/>
                  </a:lnTo>
                  <a:lnTo>
                    <a:pt x="73309" y="431058"/>
                  </a:lnTo>
                  <a:lnTo>
                    <a:pt x="77056" y="432850"/>
                  </a:lnTo>
                  <a:lnTo>
                    <a:pt x="86179" y="438226"/>
                  </a:lnTo>
                  <a:lnTo>
                    <a:pt x="89600" y="438226"/>
                  </a:lnTo>
                  <a:lnTo>
                    <a:pt x="92369" y="438714"/>
                  </a:lnTo>
                  <a:lnTo>
                    <a:pt x="98234" y="436434"/>
                  </a:lnTo>
                  <a:lnTo>
                    <a:pt x="94161" y="435456"/>
                  </a:lnTo>
                  <a:lnTo>
                    <a:pt x="89763" y="435456"/>
                  </a:lnTo>
                  <a:lnTo>
                    <a:pt x="81780" y="431709"/>
                  </a:lnTo>
                  <a:lnTo>
                    <a:pt x="75264" y="426496"/>
                  </a:lnTo>
                  <a:lnTo>
                    <a:pt x="69888" y="425845"/>
                  </a:lnTo>
                  <a:lnTo>
                    <a:pt x="62720" y="424704"/>
                  </a:lnTo>
                  <a:lnTo>
                    <a:pt x="57996" y="420794"/>
                  </a:lnTo>
                  <a:lnTo>
                    <a:pt x="58484" y="418351"/>
                  </a:lnTo>
                  <a:lnTo>
                    <a:pt x="67444" y="416396"/>
                  </a:lnTo>
                  <a:lnTo>
                    <a:pt x="74123" y="417210"/>
                  </a:lnTo>
                  <a:lnTo>
                    <a:pt x="84550" y="417536"/>
                  </a:lnTo>
                  <a:lnTo>
                    <a:pt x="92532" y="420631"/>
                  </a:lnTo>
                  <a:lnTo>
                    <a:pt x="95953" y="424541"/>
                  </a:lnTo>
                  <a:lnTo>
                    <a:pt x="99049" y="425519"/>
                  </a:lnTo>
                  <a:lnTo>
                    <a:pt x="100678" y="427148"/>
                  </a:lnTo>
                  <a:lnTo>
                    <a:pt x="104588" y="429429"/>
                  </a:lnTo>
                  <a:lnTo>
                    <a:pt x="104588" y="426985"/>
                  </a:lnTo>
                  <a:cubicBezTo>
                    <a:pt x="104588" y="426985"/>
                    <a:pt x="103284" y="424704"/>
                    <a:pt x="103284" y="424704"/>
                  </a:cubicBezTo>
                  <a:lnTo>
                    <a:pt x="102958" y="421120"/>
                  </a:lnTo>
                  <a:lnTo>
                    <a:pt x="108660" y="417373"/>
                  </a:lnTo>
                  <a:lnTo>
                    <a:pt x="110452" y="417047"/>
                  </a:lnTo>
                  <a:lnTo>
                    <a:pt x="109801" y="409879"/>
                  </a:lnTo>
                  <a:lnTo>
                    <a:pt x="106868" y="408739"/>
                  </a:lnTo>
                  <a:lnTo>
                    <a:pt x="104425" y="408739"/>
                  </a:lnTo>
                  <a:cubicBezTo>
                    <a:pt x="104425" y="408739"/>
                    <a:pt x="102307" y="406947"/>
                    <a:pt x="102307" y="406947"/>
                  </a:cubicBezTo>
                  <a:lnTo>
                    <a:pt x="102633" y="403689"/>
                  </a:lnTo>
                  <a:lnTo>
                    <a:pt x="99212" y="402549"/>
                  </a:lnTo>
                  <a:lnTo>
                    <a:pt x="96442" y="403363"/>
                  </a:lnTo>
                  <a:lnTo>
                    <a:pt x="91881" y="406947"/>
                  </a:lnTo>
                  <a:lnTo>
                    <a:pt x="86668" y="407436"/>
                  </a:lnTo>
                  <a:lnTo>
                    <a:pt x="79174" y="405970"/>
                  </a:lnTo>
                  <a:lnTo>
                    <a:pt x="74938" y="403526"/>
                  </a:lnTo>
                  <a:lnTo>
                    <a:pt x="75264" y="401408"/>
                  </a:lnTo>
                  <a:lnTo>
                    <a:pt x="74123" y="399942"/>
                  </a:lnTo>
                  <a:lnTo>
                    <a:pt x="70377" y="394892"/>
                  </a:lnTo>
                  <a:lnTo>
                    <a:pt x="67933" y="394892"/>
                  </a:lnTo>
                  <a:cubicBezTo>
                    <a:pt x="67933" y="394892"/>
                    <a:pt x="66630" y="396358"/>
                    <a:pt x="66630" y="396358"/>
                  </a:cubicBezTo>
                  <a:lnTo>
                    <a:pt x="67444" y="398313"/>
                  </a:lnTo>
                  <a:lnTo>
                    <a:pt x="69725" y="400594"/>
                  </a:lnTo>
                  <a:lnTo>
                    <a:pt x="68747" y="406133"/>
                  </a:lnTo>
                  <a:lnTo>
                    <a:pt x="66955" y="408413"/>
                  </a:lnTo>
                  <a:lnTo>
                    <a:pt x="59950" y="408739"/>
                  </a:lnTo>
                  <a:lnTo>
                    <a:pt x="53923" y="406784"/>
                  </a:lnTo>
                  <a:lnTo>
                    <a:pt x="45777" y="398639"/>
                  </a:lnTo>
                  <a:lnTo>
                    <a:pt x="46755" y="396847"/>
                  </a:lnTo>
                  <a:lnTo>
                    <a:pt x="51968" y="394729"/>
                  </a:lnTo>
                  <a:lnTo>
                    <a:pt x="60113" y="391145"/>
                  </a:lnTo>
                  <a:lnTo>
                    <a:pt x="59788" y="389516"/>
                  </a:lnTo>
                  <a:lnTo>
                    <a:pt x="57833" y="388701"/>
                  </a:lnTo>
                  <a:lnTo>
                    <a:pt x="51805" y="390656"/>
                  </a:lnTo>
                  <a:lnTo>
                    <a:pt x="47895" y="392937"/>
                  </a:lnTo>
                  <a:lnTo>
                    <a:pt x="43497" y="391471"/>
                  </a:lnTo>
                  <a:lnTo>
                    <a:pt x="42519" y="388212"/>
                  </a:lnTo>
                  <a:lnTo>
                    <a:pt x="44148" y="386258"/>
                  </a:lnTo>
                  <a:lnTo>
                    <a:pt x="49036" y="384629"/>
                  </a:lnTo>
                  <a:lnTo>
                    <a:pt x="53271" y="382022"/>
                  </a:lnTo>
                  <a:lnTo>
                    <a:pt x="56529" y="376483"/>
                  </a:lnTo>
                  <a:lnTo>
                    <a:pt x="55715" y="373714"/>
                  </a:lnTo>
                  <a:lnTo>
                    <a:pt x="53108" y="372736"/>
                  </a:lnTo>
                  <a:lnTo>
                    <a:pt x="51805" y="373877"/>
                  </a:lnTo>
                  <a:lnTo>
                    <a:pt x="49850" y="376646"/>
                  </a:lnTo>
                  <a:lnTo>
                    <a:pt x="44963" y="379904"/>
                  </a:lnTo>
                  <a:lnTo>
                    <a:pt x="39098" y="380882"/>
                  </a:lnTo>
                  <a:lnTo>
                    <a:pt x="34863" y="380230"/>
                  </a:lnTo>
                  <a:lnTo>
                    <a:pt x="32907" y="376809"/>
                  </a:lnTo>
                  <a:lnTo>
                    <a:pt x="34048" y="374039"/>
                  </a:lnTo>
                  <a:lnTo>
                    <a:pt x="36655" y="371596"/>
                  </a:lnTo>
                  <a:lnTo>
                    <a:pt x="38935" y="369641"/>
                  </a:lnTo>
                  <a:lnTo>
                    <a:pt x="37632" y="367686"/>
                  </a:lnTo>
                  <a:lnTo>
                    <a:pt x="35677" y="366546"/>
                  </a:lnTo>
                  <a:lnTo>
                    <a:pt x="31441" y="366220"/>
                  </a:lnTo>
                  <a:lnTo>
                    <a:pt x="29161" y="364102"/>
                  </a:lnTo>
                  <a:lnTo>
                    <a:pt x="24273" y="354002"/>
                  </a:lnTo>
                  <a:lnTo>
                    <a:pt x="21341" y="351232"/>
                  </a:lnTo>
                  <a:lnTo>
                    <a:pt x="16780" y="348951"/>
                  </a:lnTo>
                  <a:lnTo>
                    <a:pt x="14988" y="346182"/>
                  </a:lnTo>
                  <a:lnTo>
                    <a:pt x="18083" y="345204"/>
                  </a:lnTo>
                  <a:lnTo>
                    <a:pt x="22481" y="342761"/>
                  </a:lnTo>
                  <a:lnTo>
                    <a:pt x="24925" y="339340"/>
                  </a:lnTo>
                  <a:lnTo>
                    <a:pt x="26554" y="337711"/>
                  </a:lnTo>
                  <a:lnTo>
                    <a:pt x="27857" y="338688"/>
                  </a:lnTo>
                  <a:lnTo>
                    <a:pt x="30953" y="338688"/>
                  </a:lnTo>
                  <a:cubicBezTo>
                    <a:pt x="30953" y="338688"/>
                    <a:pt x="30627" y="336407"/>
                    <a:pt x="30627" y="336407"/>
                  </a:cubicBezTo>
                  <a:lnTo>
                    <a:pt x="27857" y="334941"/>
                  </a:lnTo>
                  <a:lnTo>
                    <a:pt x="23785" y="334615"/>
                  </a:lnTo>
                  <a:lnTo>
                    <a:pt x="21993" y="331683"/>
                  </a:lnTo>
                  <a:lnTo>
                    <a:pt x="23622" y="329728"/>
                  </a:lnTo>
                  <a:lnTo>
                    <a:pt x="27695" y="329728"/>
                  </a:lnTo>
                  <a:cubicBezTo>
                    <a:pt x="27695" y="329728"/>
                    <a:pt x="35677" y="326796"/>
                    <a:pt x="35677" y="326796"/>
                  </a:cubicBezTo>
                  <a:lnTo>
                    <a:pt x="36166" y="324189"/>
                  </a:lnTo>
                  <a:lnTo>
                    <a:pt x="35677" y="321420"/>
                  </a:lnTo>
                  <a:lnTo>
                    <a:pt x="39587" y="320279"/>
                  </a:lnTo>
                  <a:lnTo>
                    <a:pt x="42519" y="318324"/>
                  </a:lnTo>
                  <a:lnTo>
                    <a:pt x="45777" y="318324"/>
                  </a:lnTo>
                  <a:lnTo>
                    <a:pt x="48058" y="319302"/>
                  </a:lnTo>
                  <a:lnTo>
                    <a:pt x="51805" y="318813"/>
                  </a:lnTo>
                  <a:lnTo>
                    <a:pt x="55063" y="316858"/>
                  </a:lnTo>
                  <a:lnTo>
                    <a:pt x="57996" y="316858"/>
                  </a:lnTo>
                  <a:cubicBezTo>
                    <a:pt x="57996" y="316858"/>
                    <a:pt x="61580" y="317673"/>
                    <a:pt x="61580" y="317673"/>
                  </a:cubicBezTo>
                  <a:lnTo>
                    <a:pt x="61580" y="319302"/>
                  </a:lnTo>
                  <a:cubicBezTo>
                    <a:pt x="61580" y="319302"/>
                    <a:pt x="63209" y="319954"/>
                    <a:pt x="63209" y="319954"/>
                  </a:cubicBezTo>
                  <a:lnTo>
                    <a:pt x="66467" y="319139"/>
                  </a:lnTo>
                  <a:lnTo>
                    <a:pt x="67933" y="316370"/>
                  </a:lnTo>
                  <a:lnTo>
                    <a:pt x="71191" y="314089"/>
                  </a:lnTo>
                  <a:lnTo>
                    <a:pt x="74612" y="314903"/>
                  </a:lnTo>
                  <a:lnTo>
                    <a:pt x="75915" y="314903"/>
                  </a:lnTo>
                  <a:cubicBezTo>
                    <a:pt x="75915" y="314903"/>
                    <a:pt x="78848" y="313111"/>
                    <a:pt x="78848" y="313111"/>
                  </a:cubicBezTo>
                  <a:lnTo>
                    <a:pt x="84550" y="313111"/>
                  </a:lnTo>
                  <a:cubicBezTo>
                    <a:pt x="84550" y="313111"/>
                    <a:pt x="103447" y="308224"/>
                    <a:pt x="103447" y="308224"/>
                  </a:cubicBezTo>
                  <a:lnTo>
                    <a:pt x="107357" y="308224"/>
                  </a:lnTo>
                  <a:cubicBezTo>
                    <a:pt x="107357" y="308224"/>
                    <a:pt x="108986" y="310179"/>
                    <a:pt x="108986" y="310179"/>
                  </a:cubicBezTo>
                  <a:lnTo>
                    <a:pt x="110289" y="307572"/>
                  </a:lnTo>
                  <a:lnTo>
                    <a:pt x="108172" y="305292"/>
                  </a:lnTo>
                  <a:lnTo>
                    <a:pt x="109638" y="302359"/>
                  </a:lnTo>
                  <a:lnTo>
                    <a:pt x="116154" y="299264"/>
                  </a:lnTo>
                  <a:lnTo>
                    <a:pt x="124137" y="299264"/>
                  </a:lnTo>
                  <a:lnTo>
                    <a:pt x="129350" y="298287"/>
                  </a:lnTo>
                  <a:lnTo>
                    <a:pt x="132282" y="299916"/>
                  </a:lnTo>
                  <a:lnTo>
                    <a:pt x="136844" y="300893"/>
                  </a:lnTo>
                  <a:lnTo>
                    <a:pt x="141405" y="298124"/>
                  </a:lnTo>
                  <a:lnTo>
                    <a:pt x="146944" y="297309"/>
                  </a:lnTo>
                  <a:lnTo>
                    <a:pt x="153135" y="298450"/>
                  </a:lnTo>
                  <a:lnTo>
                    <a:pt x="154927" y="300893"/>
                  </a:lnTo>
                  <a:lnTo>
                    <a:pt x="159325" y="301545"/>
                  </a:lnTo>
                  <a:lnTo>
                    <a:pt x="161769" y="303500"/>
                  </a:lnTo>
                  <a:lnTo>
                    <a:pt x="166982" y="307084"/>
                  </a:lnTo>
                  <a:lnTo>
                    <a:pt x="170729" y="307084"/>
                  </a:lnTo>
                  <a:cubicBezTo>
                    <a:pt x="170729" y="307084"/>
                    <a:pt x="173824" y="305618"/>
                    <a:pt x="173824" y="305618"/>
                  </a:cubicBezTo>
                  <a:lnTo>
                    <a:pt x="174150" y="303826"/>
                  </a:lnTo>
                  <a:lnTo>
                    <a:pt x="178385" y="299427"/>
                  </a:lnTo>
                  <a:lnTo>
                    <a:pt x="181644" y="294214"/>
                  </a:lnTo>
                  <a:lnTo>
                    <a:pt x="185716" y="288186"/>
                  </a:lnTo>
                  <a:lnTo>
                    <a:pt x="191581" y="286231"/>
                  </a:lnTo>
                  <a:lnTo>
                    <a:pt x="193373" y="282973"/>
                  </a:lnTo>
                  <a:lnTo>
                    <a:pt x="197772" y="275968"/>
                  </a:lnTo>
                  <a:lnTo>
                    <a:pt x="201844" y="274828"/>
                  </a:lnTo>
                  <a:lnTo>
                    <a:pt x="203473" y="269778"/>
                  </a:lnTo>
                  <a:lnTo>
                    <a:pt x="200052" y="267986"/>
                  </a:lnTo>
                  <a:lnTo>
                    <a:pt x="200052" y="263750"/>
                  </a:lnTo>
                  <a:cubicBezTo>
                    <a:pt x="200052" y="263750"/>
                    <a:pt x="203799" y="259026"/>
                    <a:pt x="203799" y="259026"/>
                  </a:cubicBezTo>
                  <a:lnTo>
                    <a:pt x="208361" y="258700"/>
                  </a:lnTo>
                  <a:lnTo>
                    <a:pt x="214388" y="259026"/>
                  </a:lnTo>
                  <a:lnTo>
                    <a:pt x="219764" y="255442"/>
                  </a:lnTo>
                  <a:lnTo>
                    <a:pt x="221068" y="251695"/>
                  </a:lnTo>
                  <a:lnTo>
                    <a:pt x="219764" y="250391"/>
                  </a:lnTo>
                  <a:lnTo>
                    <a:pt x="214225" y="250391"/>
                  </a:lnTo>
                  <a:lnTo>
                    <a:pt x="209990" y="247459"/>
                  </a:lnTo>
                  <a:lnTo>
                    <a:pt x="209501" y="244690"/>
                  </a:lnTo>
                  <a:lnTo>
                    <a:pt x="210479" y="241920"/>
                  </a:lnTo>
                  <a:lnTo>
                    <a:pt x="214714" y="240780"/>
                  </a:lnTo>
                  <a:lnTo>
                    <a:pt x="221230" y="242083"/>
                  </a:lnTo>
                  <a:lnTo>
                    <a:pt x="226444" y="238988"/>
                  </a:lnTo>
                  <a:lnTo>
                    <a:pt x="232634" y="236381"/>
                  </a:lnTo>
                  <a:lnTo>
                    <a:pt x="233449" y="233612"/>
                  </a:lnTo>
                  <a:lnTo>
                    <a:pt x="232471" y="232471"/>
                  </a:lnTo>
                  <a:lnTo>
                    <a:pt x="232471" y="227910"/>
                  </a:lnTo>
                  <a:lnTo>
                    <a:pt x="230842" y="227910"/>
                  </a:lnTo>
                  <a:cubicBezTo>
                    <a:pt x="230842" y="227910"/>
                    <a:pt x="227584" y="231005"/>
                    <a:pt x="227584" y="231005"/>
                  </a:cubicBezTo>
                  <a:lnTo>
                    <a:pt x="227584" y="235404"/>
                  </a:lnTo>
                  <a:cubicBezTo>
                    <a:pt x="227584" y="235404"/>
                    <a:pt x="224652" y="236870"/>
                    <a:pt x="224652" y="236870"/>
                  </a:cubicBezTo>
                  <a:lnTo>
                    <a:pt x="216832" y="236870"/>
                  </a:lnTo>
                  <a:cubicBezTo>
                    <a:pt x="216832" y="236870"/>
                    <a:pt x="212596" y="235404"/>
                    <a:pt x="212596" y="235404"/>
                  </a:cubicBezTo>
                  <a:lnTo>
                    <a:pt x="210153" y="235730"/>
                  </a:lnTo>
                  <a:lnTo>
                    <a:pt x="205428" y="239639"/>
                  </a:lnTo>
                  <a:lnTo>
                    <a:pt x="201519" y="239639"/>
                  </a:lnTo>
                  <a:cubicBezTo>
                    <a:pt x="201519" y="239639"/>
                    <a:pt x="199889" y="236870"/>
                    <a:pt x="199889" y="236870"/>
                  </a:cubicBezTo>
                  <a:lnTo>
                    <a:pt x="195328" y="233449"/>
                  </a:lnTo>
                  <a:lnTo>
                    <a:pt x="192558" y="233938"/>
                  </a:lnTo>
                  <a:lnTo>
                    <a:pt x="189952" y="236381"/>
                  </a:lnTo>
                  <a:lnTo>
                    <a:pt x="187508" y="236055"/>
                  </a:lnTo>
                  <a:lnTo>
                    <a:pt x="184576" y="234100"/>
                  </a:lnTo>
                  <a:lnTo>
                    <a:pt x="181644" y="234589"/>
                  </a:lnTo>
                  <a:lnTo>
                    <a:pt x="179363" y="233938"/>
                  </a:lnTo>
                  <a:lnTo>
                    <a:pt x="179363" y="228236"/>
                  </a:lnTo>
                  <a:cubicBezTo>
                    <a:pt x="179363" y="228236"/>
                    <a:pt x="178222" y="227258"/>
                    <a:pt x="178222" y="227258"/>
                  </a:cubicBezTo>
                  <a:lnTo>
                    <a:pt x="177734" y="224489"/>
                  </a:lnTo>
                  <a:lnTo>
                    <a:pt x="178874" y="221394"/>
                  </a:lnTo>
                  <a:lnTo>
                    <a:pt x="182295" y="219764"/>
                  </a:lnTo>
                  <a:lnTo>
                    <a:pt x="185065" y="216343"/>
                  </a:lnTo>
                  <a:lnTo>
                    <a:pt x="186857" y="213737"/>
                  </a:lnTo>
                  <a:lnTo>
                    <a:pt x="189463" y="212596"/>
                  </a:lnTo>
                  <a:lnTo>
                    <a:pt x="190115" y="209990"/>
                  </a:lnTo>
                  <a:lnTo>
                    <a:pt x="188323" y="208035"/>
                  </a:lnTo>
                  <a:lnTo>
                    <a:pt x="187834" y="204940"/>
                  </a:lnTo>
                  <a:lnTo>
                    <a:pt x="189463" y="202822"/>
                  </a:lnTo>
                  <a:lnTo>
                    <a:pt x="193210" y="202496"/>
                  </a:lnTo>
                  <a:lnTo>
                    <a:pt x="197772" y="200215"/>
                  </a:lnTo>
                  <a:lnTo>
                    <a:pt x="200378" y="197772"/>
                  </a:lnTo>
                  <a:lnTo>
                    <a:pt x="200867" y="194839"/>
                  </a:lnTo>
                  <a:lnTo>
                    <a:pt x="208687" y="192396"/>
                  </a:lnTo>
                  <a:lnTo>
                    <a:pt x="211293" y="188812"/>
                  </a:lnTo>
                  <a:lnTo>
                    <a:pt x="214714" y="187183"/>
                  </a:lnTo>
                  <a:lnTo>
                    <a:pt x="222045" y="187508"/>
                  </a:lnTo>
                  <a:lnTo>
                    <a:pt x="225140" y="186531"/>
                  </a:lnTo>
                  <a:lnTo>
                    <a:pt x="224163" y="185391"/>
                  </a:lnTo>
                  <a:lnTo>
                    <a:pt x="221230" y="184413"/>
                  </a:lnTo>
                  <a:lnTo>
                    <a:pt x="221556" y="181970"/>
                  </a:lnTo>
                  <a:lnTo>
                    <a:pt x="224163" y="180992"/>
                  </a:lnTo>
                  <a:lnTo>
                    <a:pt x="228887" y="180992"/>
                  </a:lnTo>
                  <a:cubicBezTo>
                    <a:pt x="228887" y="180992"/>
                    <a:pt x="229702" y="183110"/>
                    <a:pt x="229702" y="183110"/>
                  </a:cubicBezTo>
                  <a:lnTo>
                    <a:pt x="231820" y="182295"/>
                  </a:lnTo>
                  <a:lnTo>
                    <a:pt x="237684" y="175779"/>
                  </a:lnTo>
                  <a:lnTo>
                    <a:pt x="237359" y="172521"/>
                  </a:lnTo>
                  <a:lnTo>
                    <a:pt x="238988" y="168611"/>
                  </a:lnTo>
                  <a:lnTo>
                    <a:pt x="244038" y="165516"/>
                  </a:lnTo>
                  <a:lnTo>
                    <a:pt x="247785" y="164538"/>
                  </a:lnTo>
                  <a:lnTo>
                    <a:pt x="251206" y="160303"/>
                  </a:lnTo>
                  <a:lnTo>
                    <a:pt x="254790" y="159977"/>
                  </a:lnTo>
                  <a:lnTo>
                    <a:pt x="257233" y="158836"/>
                  </a:lnTo>
                  <a:lnTo>
                    <a:pt x="258700" y="160466"/>
                  </a:lnTo>
                  <a:lnTo>
                    <a:pt x="260003" y="165516"/>
                  </a:lnTo>
                  <a:lnTo>
                    <a:pt x="259677" y="174313"/>
                  </a:lnTo>
                  <a:lnTo>
                    <a:pt x="260980" y="178060"/>
                  </a:lnTo>
                  <a:lnTo>
                    <a:pt x="260980" y="185065"/>
                  </a:lnTo>
                  <a:cubicBezTo>
                    <a:pt x="260980" y="185065"/>
                    <a:pt x="260003" y="194839"/>
                    <a:pt x="260003" y="194839"/>
                  </a:cubicBezTo>
                  <a:lnTo>
                    <a:pt x="261958" y="194351"/>
                  </a:lnTo>
                  <a:lnTo>
                    <a:pt x="263913" y="191255"/>
                  </a:lnTo>
                  <a:lnTo>
                    <a:pt x="265053" y="183110"/>
                  </a:lnTo>
                  <a:lnTo>
                    <a:pt x="263098" y="175942"/>
                  </a:lnTo>
                  <a:lnTo>
                    <a:pt x="263098" y="171380"/>
                  </a:lnTo>
                  <a:cubicBezTo>
                    <a:pt x="263098" y="171380"/>
                    <a:pt x="263750" y="167796"/>
                    <a:pt x="263750" y="167796"/>
                  </a:cubicBezTo>
                  <a:lnTo>
                    <a:pt x="263424" y="161280"/>
                  </a:lnTo>
                  <a:lnTo>
                    <a:pt x="266030" y="159651"/>
                  </a:lnTo>
                  <a:lnTo>
                    <a:pt x="268963" y="159651"/>
                  </a:lnTo>
                  <a:lnTo>
                    <a:pt x="270103" y="157370"/>
                  </a:lnTo>
                  <a:lnTo>
                    <a:pt x="272547" y="155415"/>
                  </a:lnTo>
                  <a:lnTo>
                    <a:pt x="274339" y="155415"/>
                  </a:lnTo>
                  <a:lnTo>
                    <a:pt x="275154" y="158511"/>
                  </a:lnTo>
                  <a:lnTo>
                    <a:pt x="276620" y="160791"/>
                  </a:lnTo>
                  <a:lnTo>
                    <a:pt x="278900" y="160791"/>
                  </a:lnTo>
                  <a:lnTo>
                    <a:pt x="280692" y="162095"/>
                  </a:lnTo>
                  <a:lnTo>
                    <a:pt x="280367" y="165516"/>
                  </a:lnTo>
                  <a:lnTo>
                    <a:pt x="281344" y="168122"/>
                  </a:lnTo>
                  <a:lnTo>
                    <a:pt x="285417" y="170403"/>
                  </a:lnTo>
                  <a:lnTo>
                    <a:pt x="292748" y="169588"/>
                  </a:lnTo>
                  <a:lnTo>
                    <a:pt x="294377" y="168448"/>
                  </a:lnTo>
                  <a:lnTo>
                    <a:pt x="298124" y="168448"/>
                  </a:lnTo>
                  <a:cubicBezTo>
                    <a:pt x="298124" y="168448"/>
                    <a:pt x="298938" y="166004"/>
                    <a:pt x="298938" y="166004"/>
                  </a:cubicBezTo>
                  <a:lnTo>
                    <a:pt x="297635" y="162909"/>
                  </a:lnTo>
                  <a:lnTo>
                    <a:pt x="298938" y="159977"/>
                  </a:lnTo>
                  <a:lnTo>
                    <a:pt x="301382" y="158022"/>
                  </a:lnTo>
                  <a:lnTo>
                    <a:pt x="302359" y="153298"/>
                  </a:lnTo>
                  <a:lnTo>
                    <a:pt x="303500" y="151506"/>
                  </a:lnTo>
                  <a:lnTo>
                    <a:pt x="308061" y="151180"/>
                  </a:lnTo>
                  <a:lnTo>
                    <a:pt x="315066" y="147107"/>
                  </a:lnTo>
                  <a:lnTo>
                    <a:pt x="317347" y="142871"/>
                  </a:lnTo>
                  <a:lnTo>
                    <a:pt x="317021" y="136681"/>
                  </a:lnTo>
                  <a:lnTo>
                    <a:pt x="314578" y="135703"/>
                  </a:lnTo>
                  <a:lnTo>
                    <a:pt x="312622" y="135703"/>
                  </a:lnTo>
                  <a:lnTo>
                    <a:pt x="311971" y="133748"/>
                  </a:lnTo>
                  <a:lnTo>
                    <a:pt x="312786" y="131305"/>
                  </a:lnTo>
                  <a:lnTo>
                    <a:pt x="316370" y="126743"/>
                  </a:lnTo>
                  <a:lnTo>
                    <a:pt x="317184" y="121367"/>
                  </a:lnTo>
                  <a:lnTo>
                    <a:pt x="316370" y="117132"/>
                  </a:lnTo>
                  <a:lnTo>
                    <a:pt x="317998" y="110941"/>
                  </a:lnTo>
                  <a:lnTo>
                    <a:pt x="321257" y="108172"/>
                  </a:lnTo>
                  <a:lnTo>
                    <a:pt x="328099" y="106705"/>
                  </a:lnTo>
                  <a:lnTo>
                    <a:pt x="334127" y="103773"/>
                  </a:lnTo>
                  <a:lnTo>
                    <a:pt x="340154" y="101655"/>
                  </a:lnTo>
                  <a:lnTo>
                    <a:pt x="341946" y="102796"/>
                  </a:lnTo>
                  <a:lnTo>
                    <a:pt x="342761" y="105565"/>
                  </a:lnTo>
                  <a:lnTo>
                    <a:pt x="342435" y="109801"/>
                  </a:lnTo>
                  <a:lnTo>
                    <a:pt x="347485" y="116806"/>
                  </a:lnTo>
                  <a:lnTo>
                    <a:pt x="347811" y="121041"/>
                  </a:lnTo>
                  <a:lnTo>
                    <a:pt x="346996" y="130164"/>
                  </a:lnTo>
                  <a:lnTo>
                    <a:pt x="346996" y="139613"/>
                  </a:lnTo>
                  <a:cubicBezTo>
                    <a:pt x="346996" y="139613"/>
                    <a:pt x="349440" y="141568"/>
                    <a:pt x="349440" y="141568"/>
                  </a:cubicBezTo>
                  <a:lnTo>
                    <a:pt x="355468" y="147759"/>
                  </a:lnTo>
                  <a:lnTo>
                    <a:pt x="357911" y="152157"/>
                  </a:lnTo>
                  <a:lnTo>
                    <a:pt x="360192" y="154112"/>
                  </a:lnTo>
                  <a:lnTo>
                    <a:pt x="361170" y="152483"/>
                  </a:lnTo>
                  <a:lnTo>
                    <a:pt x="360029" y="143523"/>
                  </a:lnTo>
                  <a:lnTo>
                    <a:pt x="360029" y="138962"/>
                  </a:lnTo>
                  <a:cubicBezTo>
                    <a:pt x="360029" y="138962"/>
                    <a:pt x="354164" y="130653"/>
                    <a:pt x="354164" y="130653"/>
                  </a:cubicBezTo>
                  <a:lnTo>
                    <a:pt x="353513" y="123648"/>
                  </a:lnTo>
                  <a:lnTo>
                    <a:pt x="356445" y="116643"/>
                  </a:lnTo>
                  <a:lnTo>
                    <a:pt x="357260" y="112570"/>
                  </a:lnTo>
                  <a:lnTo>
                    <a:pt x="355956" y="110289"/>
                  </a:lnTo>
                  <a:lnTo>
                    <a:pt x="353838" y="105728"/>
                  </a:lnTo>
                  <a:lnTo>
                    <a:pt x="353838" y="101818"/>
                  </a:lnTo>
                  <a:cubicBezTo>
                    <a:pt x="353838" y="101818"/>
                    <a:pt x="351558" y="98234"/>
                    <a:pt x="351558" y="98234"/>
                  </a:cubicBezTo>
                  <a:lnTo>
                    <a:pt x="352698" y="95791"/>
                  </a:lnTo>
                  <a:lnTo>
                    <a:pt x="357260" y="92207"/>
                  </a:lnTo>
                  <a:lnTo>
                    <a:pt x="362147" y="91881"/>
                  </a:lnTo>
                  <a:lnTo>
                    <a:pt x="365405" y="93021"/>
                  </a:lnTo>
                  <a:lnTo>
                    <a:pt x="369152" y="91392"/>
                  </a:lnTo>
                  <a:lnTo>
                    <a:pt x="373062" y="91066"/>
                  </a:lnTo>
                  <a:lnTo>
                    <a:pt x="379578" y="93184"/>
                  </a:lnTo>
                  <a:lnTo>
                    <a:pt x="390167" y="92695"/>
                  </a:lnTo>
                  <a:lnTo>
                    <a:pt x="399453" y="88948"/>
                  </a:lnTo>
                  <a:lnTo>
                    <a:pt x="409065" y="88623"/>
                  </a:lnTo>
                  <a:lnTo>
                    <a:pt x="411997" y="91392"/>
                  </a:lnTo>
                  <a:lnTo>
                    <a:pt x="412975" y="95953"/>
                  </a:lnTo>
                  <a:lnTo>
                    <a:pt x="412975" y="100189"/>
                  </a:lnTo>
                  <a:cubicBezTo>
                    <a:pt x="412975" y="100189"/>
                    <a:pt x="412812" y="101981"/>
                    <a:pt x="412812" y="101981"/>
                  </a:cubicBezTo>
                  <a:lnTo>
                    <a:pt x="417047" y="101655"/>
                  </a:lnTo>
                  <a:lnTo>
                    <a:pt x="419328" y="97583"/>
                  </a:lnTo>
                  <a:lnTo>
                    <a:pt x="416721" y="94650"/>
                  </a:lnTo>
                  <a:lnTo>
                    <a:pt x="417210" y="90252"/>
                  </a:lnTo>
                  <a:lnTo>
                    <a:pt x="424215" y="84387"/>
                  </a:lnTo>
                  <a:lnTo>
                    <a:pt x="428125" y="86016"/>
                  </a:lnTo>
                  <a:lnTo>
                    <a:pt x="431383" y="89111"/>
                  </a:lnTo>
                  <a:lnTo>
                    <a:pt x="432524" y="95139"/>
                  </a:lnTo>
                  <a:lnTo>
                    <a:pt x="434967" y="97583"/>
                  </a:lnTo>
                  <a:lnTo>
                    <a:pt x="435945" y="93673"/>
                  </a:lnTo>
                  <a:lnTo>
                    <a:pt x="435945" y="86831"/>
                  </a:lnTo>
                  <a:lnTo>
                    <a:pt x="432198" y="83572"/>
                  </a:lnTo>
                  <a:lnTo>
                    <a:pt x="431057" y="80314"/>
                  </a:lnTo>
                  <a:lnTo>
                    <a:pt x="432850" y="78685"/>
                  </a:lnTo>
                  <a:lnTo>
                    <a:pt x="436922" y="79500"/>
                  </a:lnTo>
                  <a:lnTo>
                    <a:pt x="441321" y="81292"/>
                  </a:lnTo>
                  <a:lnTo>
                    <a:pt x="445556" y="78359"/>
                  </a:lnTo>
                  <a:lnTo>
                    <a:pt x="450118" y="77219"/>
                  </a:lnTo>
                  <a:lnTo>
                    <a:pt x="457449" y="78196"/>
                  </a:lnTo>
                  <a:lnTo>
                    <a:pt x="458752" y="81292"/>
                  </a:lnTo>
                  <a:lnTo>
                    <a:pt x="457937" y="93347"/>
                  </a:lnTo>
                  <a:lnTo>
                    <a:pt x="455657" y="100189"/>
                  </a:lnTo>
                  <a:lnTo>
                    <a:pt x="455657" y="104751"/>
                  </a:lnTo>
                  <a:lnTo>
                    <a:pt x="452236" y="112896"/>
                  </a:lnTo>
                  <a:lnTo>
                    <a:pt x="449955" y="117620"/>
                  </a:lnTo>
                  <a:lnTo>
                    <a:pt x="449955" y="121204"/>
                  </a:lnTo>
                  <a:lnTo>
                    <a:pt x="448489" y="124463"/>
                  </a:lnTo>
                  <a:lnTo>
                    <a:pt x="445231" y="125603"/>
                  </a:lnTo>
                  <a:lnTo>
                    <a:pt x="443764" y="128047"/>
                  </a:lnTo>
                  <a:lnTo>
                    <a:pt x="446534" y="130490"/>
                  </a:lnTo>
                  <a:lnTo>
                    <a:pt x="447023" y="133260"/>
                  </a:lnTo>
                  <a:lnTo>
                    <a:pt x="445394" y="137332"/>
                  </a:lnTo>
                  <a:lnTo>
                    <a:pt x="441484" y="141242"/>
                  </a:lnTo>
                  <a:lnTo>
                    <a:pt x="439040" y="147107"/>
                  </a:lnTo>
                  <a:lnTo>
                    <a:pt x="434316" y="149714"/>
                  </a:lnTo>
                  <a:lnTo>
                    <a:pt x="432524" y="152320"/>
                  </a:lnTo>
                  <a:lnTo>
                    <a:pt x="431709" y="157370"/>
                  </a:lnTo>
                  <a:lnTo>
                    <a:pt x="428777" y="162258"/>
                  </a:lnTo>
                  <a:lnTo>
                    <a:pt x="427637" y="166982"/>
                  </a:lnTo>
                  <a:lnTo>
                    <a:pt x="428614" y="168774"/>
                  </a:lnTo>
                  <a:lnTo>
                    <a:pt x="431546" y="168448"/>
                  </a:lnTo>
                  <a:lnTo>
                    <a:pt x="435130" y="162909"/>
                  </a:lnTo>
                  <a:lnTo>
                    <a:pt x="437737" y="160628"/>
                  </a:lnTo>
                  <a:lnTo>
                    <a:pt x="437737" y="157859"/>
                  </a:lnTo>
                  <a:cubicBezTo>
                    <a:pt x="437737" y="157859"/>
                    <a:pt x="441484" y="153949"/>
                    <a:pt x="441484" y="153949"/>
                  </a:cubicBezTo>
                  <a:lnTo>
                    <a:pt x="446045" y="146944"/>
                  </a:lnTo>
                  <a:lnTo>
                    <a:pt x="448163" y="142546"/>
                  </a:lnTo>
                  <a:lnTo>
                    <a:pt x="451258" y="141242"/>
                  </a:lnTo>
                  <a:lnTo>
                    <a:pt x="453539" y="139287"/>
                  </a:lnTo>
                  <a:lnTo>
                    <a:pt x="455168" y="135703"/>
                  </a:lnTo>
                  <a:lnTo>
                    <a:pt x="455168" y="132282"/>
                  </a:lnTo>
                  <a:cubicBezTo>
                    <a:pt x="455168" y="132282"/>
                    <a:pt x="458100" y="130002"/>
                    <a:pt x="458100" y="130002"/>
                  </a:cubicBezTo>
                  <a:lnTo>
                    <a:pt x="459729" y="125440"/>
                  </a:lnTo>
                  <a:lnTo>
                    <a:pt x="462825" y="122182"/>
                  </a:lnTo>
                  <a:lnTo>
                    <a:pt x="464617" y="125766"/>
                  </a:lnTo>
                  <a:lnTo>
                    <a:pt x="464617" y="129676"/>
                  </a:lnTo>
                  <a:cubicBezTo>
                    <a:pt x="464617" y="129676"/>
                    <a:pt x="467549" y="132771"/>
                    <a:pt x="467549" y="132771"/>
                  </a:cubicBezTo>
                  <a:lnTo>
                    <a:pt x="468853" y="136844"/>
                  </a:lnTo>
                  <a:lnTo>
                    <a:pt x="469830" y="142871"/>
                  </a:lnTo>
                  <a:lnTo>
                    <a:pt x="473740" y="148084"/>
                  </a:lnTo>
                  <a:lnTo>
                    <a:pt x="474228" y="154764"/>
                  </a:lnTo>
                  <a:lnTo>
                    <a:pt x="476835" y="156719"/>
                  </a:lnTo>
                  <a:lnTo>
                    <a:pt x="480256" y="157044"/>
                  </a:lnTo>
                  <a:lnTo>
                    <a:pt x="481885" y="158511"/>
                  </a:lnTo>
                  <a:lnTo>
                    <a:pt x="484003" y="158185"/>
                  </a:lnTo>
                  <a:lnTo>
                    <a:pt x="484818" y="156393"/>
                  </a:lnTo>
                  <a:lnTo>
                    <a:pt x="485958" y="154112"/>
                  </a:lnTo>
                  <a:lnTo>
                    <a:pt x="485469" y="151668"/>
                  </a:lnTo>
                  <a:lnTo>
                    <a:pt x="482211" y="148736"/>
                  </a:lnTo>
                  <a:lnTo>
                    <a:pt x="481234" y="145478"/>
                  </a:lnTo>
                  <a:lnTo>
                    <a:pt x="482048" y="144338"/>
                  </a:lnTo>
                  <a:lnTo>
                    <a:pt x="484329" y="144338"/>
                  </a:lnTo>
                  <a:cubicBezTo>
                    <a:pt x="484329" y="144338"/>
                    <a:pt x="487913" y="147270"/>
                    <a:pt x="487913" y="147270"/>
                  </a:cubicBezTo>
                  <a:lnTo>
                    <a:pt x="493289" y="147922"/>
                  </a:lnTo>
                  <a:lnTo>
                    <a:pt x="496384" y="149551"/>
                  </a:lnTo>
                  <a:lnTo>
                    <a:pt x="497199" y="151017"/>
                  </a:lnTo>
                  <a:lnTo>
                    <a:pt x="500946" y="151831"/>
                  </a:lnTo>
                  <a:lnTo>
                    <a:pt x="502900" y="149876"/>
                  </a:lnTo>
                  <a:lnTo>
                    <a:pt x="504692" y="150691"/>
                  </a:lnTo>
                  <a:lnTo>
                    <a:pt x="506485" y="152483"/>
                  </a:lnTo>
                  <a:lnTo>
                    <a:pt x="508602" y="151180"/>
                  </a:lnTo>
                  <a:lnTo>
                    <a:pt x="508277" y="142383"/>
                  </a:lnTo>
                  <a:lnTo>
                    <a:pt x="507299" y="137984"/>
                  </a:lnTo>
                  <a:lnTo>
                    <a:pt x="509091" y="130979"/>
                  </a:lnTo>
                  <a:lnTo>
                    <a:pt x="510069" y="123974"/>
                  </a:lnTo>
                  <a:lnTo>
                    <a:pt x="507788" y="121041"/>
                  </a:lnTo>
                  <a:lnTo>
                    <a:pt x="506321" y="114362"/>
                  </a:lnTo>
                  <a:lnTo>
                    <a:pt x="506647" y="108660"/>
                  </a:lnTo>
                  <a:lnTo>
                    <a:pt x="510394" y="99537"/>
                  </a:lnTo>
                  <a:lnTo>
                    <a:pt x="511046" y="96279"/>
                  </a:lnTo>
                  <a:lnTo>
                    <a:pt x="510069" y="93347"/>
                  </a:lnTo>
                  <a:lnTo>
                    <a:pt x="511372" y="90903"/>
                  </a:lnTo>
                  <a:lnTo>
                    <a:pt x="511372" y="84550"/>
                  </a:lnTo>
                  <a:cubicBezTo>
                    <a:pt x="511372" y="84550"/>
                    <a:pt x="513978" y="81943"/>
                    <a:pt x="513978" y="81943"/>
                  </a:cubicBezTo>
                  <a:lnTo>
                    <a:pt x="518051" y="81129"/>
                  </a:lnTo>
                  <a:lnTo>
                    <a:pt x="520983" y="83409"/>
                  </a:lnTo>
                  <a:lnTo>
                    <a:pt x="525056" y="84224"/>
                  </a:lnTo>
                  <a:lnTo>
                    <a:pt x="528314" y="85201"/>
                  </a:lnTo>
                  <a:lnTo>
                    <a:pt x="529780" y="88460"/>
                  </a:lnTo>
                  <a:lnTo>
                    <a:pt x="533528" y="90577"/>
                  </a:lnTo>
                  <a:lnTo>
                    <a:pt x="535808" y="95139"/>
                  </a:lnTo>
                  <a:lnTo>
                    <a:pt x="540044" y="105239"/>
                  </a:lnTo>
                  <a:lnTo>
                    <a:pt x="540044" y="109801"/>
                  </a:lnTo>
                  <a:cubicBezTo>
                    <a:pt x="540044" y="109801"/>
                    <a:pt x="545094" y="117132"/>
                    <a:pt x="545094" y="117132"/>
                  </a:cubicBezTo>
                  <a:lnTo>
                    <a:pt x="548026" y="122834"/>
                  </a:lnTo>
                  <a:lnTo>
                    <a:pt x="549004" y="134889"/>
                  </a:lnTo>
                  <a:lnTo>
                    <a:pt x="548352" y="137332"/>
                  </a:lnTo>
                  <a:lnTo>
                    <a:pt x="545909" y="140102"/>
                  </a:lnTo>
                  <a:lnTo>
                    <a:pt x="545583" y="144012"/>
                  </a:lnTo>
                  <a:lnTo>
                    <a:pt x="546560" y="149225"/>
                  </a:lnTo>
                  <a:lnTo>
                    <a:pt x="549004" y="151506"/>
                  </a:lnTo>
                  <a:lnTo>
                    <a:pt x="552262" y="159977"/>
                  </a:lnTo>
                  <a:lnTo>
                    <a:pt x="551285" y="165516"/>
                  </a:lnTo>
                  <a:lnTo>
                    <a:pt x="551773" y="170077"/>
                  </a:lnTo>
                  <a:lnTo>
                    <a:pt x="553891" y="173824"/>
                  </a:lnTo>
                  <a:lnTo>
                    <a:pt x="558127" y="174150"/>
                  </a:lnTo>
                  <a:lnTo>
                    <a:pt x="563503" y="178223"/>
                  </a:lnTo>
                  <a:lnTo>
                    <a:pt x="567575" y="178223"/>
                  </a:lnTo>
                  <a:cubicBezTo>
                    <a:pt x="567575" y="178223"/>
                    <a:pt x="572951" y="176268"/>
                    <a:pt x="572951" y="176268"/>
                  </a:cubicBezTo>
                  <a:lnTo>
                    <a:pt x="576698" y="169751"/>
                  </a:lnTo>
                  <a:lnTo>
                    <a:pt x="578979" y="167145"/>
                  </a:lnTo>
                  <a:lnTo>
                    <a:pt x="579794" y="168122"/>
                  </a:lnTo>
                  <a:lnTo>
                    <a:pt x="579468" y="172521"/>
                  </a:lnTo>
                  <a:lnTo>
                    <a:pt x="580445" y="175127"/>
                  </a:lnTo>
                  <a:lnTo>
                    <a:pt x="582563" y="175127"/>
                  </a:lnTo>
                  <a:cubicBezTo>
                    <a:pt x="582563" y="175127"/>
                    <a:pt x="585495" y="173661"/>
                    <a:pt x="585495" y="173661"/>
                  </a:cubicBezTo>
                  <a:lnTo>
                    <a:pt x="588754" y="175290"/>
                  </a:lnTo>
                  <a:lnTo>
                    <a:pt x="590057" y="177897"/>
                  </a:lnTo>
                  <a:lnTo>
                    <a:pt x="589731" y="181155"/>
                  </a:lnTo>
                  <a:lnTo>
                    <a:pt x="591686" y="183924"/>
                  </a:lnTo>
                  <a:lnTo>
                    <a:pt x="595270" y="183924"/>
                  </a:lnTo>
                  <a:cubicBezTo>
                    <a:pt x="595270" y="183924"/>
                    <a:pt x="598039" y="184902"/>
                    <a:pt x="598039" y="184902"/>
                  </a:cubicBezTo>
                  <a:lnTo>
                    <a:pt x="603090" y="184902"/>
                  </a:lnTo>
                  <a:lnTo>
                    <a:pt x="604393" y="183273"/>
                  </a:lnTo>
                  <a:lnTo>
                    <a:pt x="602764" y="182132"/>
                  </a:lnTo>
                  <a:lnTo>
                    <a:pt x="598039" y="179363"/>
                  </a:lnTo>
                  <a:lnTo>
                    <a:pt x="596410" y="176105"/>
                  </a:lnTo>
                  <a:lnTo>
                    <a:pt x="596410" y="173661"/>
                  </a:lnTo>
                  <a:lnTo>
                    <a:pt x="592989" y="173335"/>
                  </a:lnTo>
                  <a:lnTo>
                    <a:pt x="591197" y="171218"/>
                  </a:lnTo>
                  <a:lnTo>
                    <a:pt x="591197" y="166167"/>
                  </a:lnTo>
                  <a:cubicBezTo>
                    <a:pt x="591197" y="166167"/>
                    <a:pt x="589242" y="162420"/>
                    <a:pt x="589242" y="162420"/>
                  </a:cubicBezTo>
                  <a:lnTo>
                    <a:pt x="584029" y="158348"/>
                  </a:lnTo>
                  <a:lnTo>
                    <a:pt x="584029" y="155252"/>
                  </a:lnTo>
                  <a:lnTo>
                    <a:pt x="582400" y="148899"/>
                  </a:lnTo>
                  <a:lnTo>
                    <a:pt x="579468" y="144500"/>
                  </a:lnTo>
                  <a:lnTo>
                    <a:pt x="579468" y="141405"/>
                  </a:lnTo>
                  <a:cubicBezTo>
                    <a:pt x="579468" y="141405"/>
                    <a:pt x="580771" y="134726"/>
                    <a:pt x="580771" y="134726"/>
                  </a:cubicBezTo>
                  <a:lnTo>
                    <a:pt x="579631" y="130164"/>
                  </a:lnTo>
                  <a:lnTo>
                    <a:pt x="575884" y="123648"/>
                  </a:lnTo>
                  <a:lnTo>
                    <a:pt x="575884" y="119087"/>
                  </a:lnTo>
                  <a:cubicBezTo>
                    <a:pt x="575884" y="119087"/>
                    <a:pt x="577024" y="116806"/>
                    <a:pt x="577024" y="116806"/>
                  </a:cubicBezTo>
                  <a:lnTo>
                    <a:pt x="575721" y="110127"/>
                  </a:lnTo>
                  <a:lnTo>
                    <a:pt x="574092" y="107683"/>
                  </a:lnTo>
                  <a:lnTo>
                    <a:pt x="574743" y="102307"/>
                  </a:lnTo>
                  <a:lnTo>
                    <a:pt x="571974" y="95791"/>
                  </a:lnTo>
                  <a:lnTo>
                    <a:pt x="569530" y="90740"/>
                  </a:lnTo>
                  <a:lnTo>
                    <a:pt x="571485" y="86831"/>
                  </a:lnTo>
                  <a:lnTo>
                    <a:pt x="569042" y="81455"/>
                  </a:lnTo>
                  <a:lnTo>
                    <a:pt x="568553" y="76404"/>
                  </a:lnTo>
                  <a:lnTo>
                    <a:pt x="570345" y="73961"/>
                  </a:lnTo>
                  <a:lnTo>
                    <a:pt x="578816" y="75427"/>
                  </a:lnTo>
                  <a:lnTo>
                    <a:pt x="580608" y="78685"/>
                  </a:lnTo>
                  <a:lnTo>
                    <a:pt x="583052" y="78685"/>
                  </a:lnTo>
                  <a:lnTo>
                    <a:pt x="584844" y="76079"/>
                  </a:lnTo>
                  <a:lnTo>
                    <a:pt x="587287" y="76079"/>
                  </a:lnTo>
                  <a:cubicBezTo>
                    <a:pt x="587287" y="76079"/>
                    <a:pt x="595270" y="85364"/>
                    <a:pt x="595270" y="85364"/>
                  </a:cubicBezTo>
                  <a:lnTo>
                    <a:pt x="602275" y="89111"/>
                  </a:lnTo>
                  <a:lnTo>
                    <a:pt x="605045" y="87156"/>
                  </a:lnTo>
                  <a:lnTo>
                    <a:pt x="605370" y="81943"/>
                  </a:lnTo>
                  <a:lnTo>
                    <a:pt x="603090" y="79663"/>
                  </a:lnTo>
                  <a:lnTo>
                    <a:pt x="605533" y="72169"/>
                  </a:lnTo>
                  <a:lnTo>
                    <a:pt x="608303" y="72169"/>
                  </a:lnTo>
                  <a:cubicBezTo>
                    <a:pt x="608303" y="72169"/>
                    <a:pt x="612375" y="73472"/>
                    <a:pt x="612375" y="73472"/>
                  </a:cubicBezTo>
                  <a:lnTo>
                    <a:pt x="617914" y="72332"/>
                  </a:lnTo>
                  <a:lnTo>
                    <a:pt x="622313" y="69562"/>
                  </a:lnTo>
                  <a:lnTo>
                    <a:pt x="627037" y="70703"/>
                  </a:lnTo>
                  <a:lnTo>
                    <a:pt x="630458" y="73309"/>
                  </a:lnTo>
                  <a:lnTo>
                    <a:pt x="634368" y="74449"/>
                  </a:lnTo>
                  <a:lnTo>
                    <a:pt x="636812" y="76730"/>
                  </a:lnTo>
                  <a:lnTo>
                    <a:pt x="639418" y="84061"/>
                  </a:lnTo>
                  <a:lnTo>
                    <a:pt x="639418" y="87156"/>
                  </a:lnTo>
                  <a:cubicBezTo>
                    <a:pt x="639418" y="87156"/>
                    <a:pt x="644143" y="92369"/>
                    <a:pt x="644143" y="92369"/>
                  </a:cubicBezTo>
                  <a:lnTo>
                    <a:pt x="644143" y="97094"/>
                  </a:lnTo>
                  <a:lnTo>
                    <a:pt x="642351" y="101167"/>
                  </a:lnTo>
                  <a:lnTo>
                    <a:pt x="645120" y="110615"/>
                  </a:lnTo>
                  <a:lnTo>
                    <a:pt x="645120" y="116154"/>
                  </a:lnTo>
                  <a:lnTo>
                    <a:pt x="646586" y="119412"/>
                  </a:lnTo>
                  <a:lnTo>
                    <a:pt x="650496" y="122019"/>
                  </a:lnTo>
                  <a:lnTo>
                    <a:pt x="657175" y="122019"/>
                  </a:lnTo>
                  <a:cubicBezTo>
                    <a:pt x="657175" y="122019"/>
                    <a:pt x="663692" y="125766"/>
                    <a:pt x="663692" y="125766"/>
                  </a:cubicBezTo>
                  <a:lnTo>
                    <a:pt x="669556" y="130164"/>
                  </a:lnTo>
                  <a:lnTo>
                    <a:pt x="668253" y="126417"/>
                  </a:lnTo>
                  <a:lnTo>
                    <a:pt x="668253" y="124625"/>
                  </a:lnTo>
                  <a:lnTo>
                    <a:pt x="662714" y="121530"/>
                  </a:lnTo>
                  <a:lnTo>
                    <a:pt x="659782" y="117783"/>
                  </a:lnTo>
                  <a:lnTo>
                    <a:pt x="655872" y="117783"/>
                  </a:lnTo>
                  <a:lnTo>
                    <a:pt x="650822" y="114688"/>
                  </a:lnTo>
                  <a:lnTo>
                    <a:pt x="650007" y="111593"/>
                  </a:lnTo>
                  <a:lnTo>
                    <a:pt x="650007" y="105891"/>
                  </a:lnTo>
                  <a:cubicBezTo>
                    <a:pt x="650007" y="105891"/>
                    <a:pt x="647075" y="100678"/>
                    <a:pt x="647075" y="100678"/>
                  </a:cubicBezTo>
                  <a:lnTo>
                    <a:pt x="647075" y="97257"/>
                  </a:lnTo>
                  <a:lnTo>
                    <a:pt x="649519" y="90252"/>
                  </a:lnTo>
                  <a:lnTo>
                    <a:pt x="648867" y="84876"/>
                  </a:lnTo>
                  <a:lnTo>
                    <a:pt x="648867" y="81455"/>
                  </a:lnTo>
                  <a:cubicBezTo>
                    <a:pt x="648867" y="81455"/>
                    <a:pt x="650170" y="79174"/>
                    <a:pt x="650170" y="79174"/>
                  </a:cubicBezTo>
                  <a:lnTo>
                    <a:pt x="647727" y="75753"/>
                  </a:lnTo>
                  <a:lnTo>
                    <a:pt x="643491" y="73798"/>
                  </a:lnTo>
                  <a:lnTo>
                    <a:pt x="637952" y="66467"/>
                  </a:lnTo>
                  <a:lnTo>
                    <a:pt x="634857" y="65978"/>
                  </a:lnTo>
                  <a:lnTo>
                    <a:pt x="630133" y="65978"/>
                  </a:lnTo>
                  <a:cubicBezTo>
                    <a:pt x="630133" y="65978"/>
                    <a:pt x="626223" y="67770"/>
                    <a:pt x="626223" y="67770"/>
                  </a:cubicBezTo>
                  <a:lnTo>
                    <a:pt x="623128" y="68748"/>
                  </a:lnTo>
                  <a:lnTo>
                    <a:pt x="617752" y="65327"/>
                  </a:lnTo>
                  <a:lnTo>
                    <a:pt x="617752" y="59462"/>
                  </a:lnTo>
                  <a:cubicBezTo>
                    <a:pt x="617752" y="59462"/>
                    <a:pt x="620032" y="54086"/>
                    <a:pt x="620032" y="54086"/>
                  </a:cubicBezTo>
                  <a:lnTo>
                    <a:pt x="624105" y="53597"/>
                  </a:lnTo>
                  <a:lnTo>
                    <a:pt x="624105" y="51153"/>
                  </a:lnTo>
                  <a:cubicBezTo>
                    <a:pt x="624105" y="51153"/>
                    <a:pt x="617426" y="45940"/>
                    <a:pt x="617426" y="45940"/>
                  </a:cubicBezTo>
                  <a:lnTo>
                    <a:pt x="616285" y="40564"/>
                  </a:lnTo>
                  <a:lnTo>
                    <a:pt x="617426" y="36492"/>
                  </a:lnTo>
                  <a:lnTo>
                    <a:pt x="618566" y="32419"/>
                  </a:lnTo>
                  <a:lnTo>
                    <a:pt x="620847" y="32419"/>
                  </a:lnTo>
                  <a:cubicBezTo>
                    <a:pt x="620847" y="32419"/>
                    <a:pt x="624756" y="36329"/>
                    <a:pt x="624756" y="36329"/>
                  </a:cubicBezTo>
                  <a:lnTo>
                    <a:pt x="627526" y="41542"/>
                  </a:lnTo>
                  <a:lnTo>
                    <a:pt x="629155" y="41216"/>
                  </a:lnTo>
                  <a:lnTo>
                    <a:pt x="633879" y="33885"/>
                  </a:lnTo>
                  <a:lnTo>
                    <a:pt x="637789" y="32419"/>
                  </a:lnTo>
                  <a:lnTo>
                    <a:pt x="642514" y="29975"/>
                  </a:lnTo>
                  <a:lnTo>
                    <a:pt x="643654" y="26717"/>
                  </a:lnTo>
                  <a:lnTo>
                    <a:pt x="647890" y="21993"/>
                  </a:lnTo>
                  <a:lnTo>
                    <a:pt x="652940" y="21178"/>
                  </a:lnTo>
                  <a:lnTo>
                    <a:pt x="649193" y="24111"/>
                  </a:lnTo>
                  <a:lnTo>
                    <a:pt x="647890" y="27532"/>
                  </a:lnTo>
                  <a:lnTo>
                    <a:pt x="648867" y="29161"/>
                  </a:lnTo>
                  <a:lnTo>
                    <a:pt x="652777" y="27206"/>
                  </a:lnTo>
                  <a:lnTo>
                    <a:pt x="657338" y="27206"/>
                  </a:lnTo>
                  <a:lnTo>
                    <a:pt x="658967" y="29161"/>
                  </a:lnTo>
                  <a:lnTo>
                    <a:pt x="659782" y="33071"/>
                  </a:lnTo>
                  <a:lnTo>
                    <a:pt x="663040" y="35677"/>
                  </a:lnTo>
                  <a:lnTo>
                    <a:pt x="662714" y="38284"/>
                  </a:lnTo>
                  <a:lnTo>
                    <a:pt x="660271" y="42031"/>
                  </a:lnTo>
                  <a:lnTo>
                    <a:pt x="662063" y="45126"/>
                  </a:lnTo>
                  <a:lnTo>
                    <a:pt x="664018" y="41868"/>
                  </a:lnTo>
                  <a:lnTo>
                    <a:pt x="667439" y="36166"/>
                  </a:lnTo>
                  <a:lnTo>
                    <a:pt x="672652" y="38447"/>
                  </a:lnTo>
                  <a:lnTo>
                    <a:pt x="676562" y="42682"/>
                  </a:lnTo>
                  <a:lnTo>
                    <a:pt x="676562" y="46429"/>
                  </a:lnTo>
                  <a:lnTo>
                    <a:pt x="679820" y="52945"/>
                  </a:lnTo>
                  <a:lnTo>
                    <a:pt x="681612" y="59136"/>
                  </a:lnTo>
                  <a:lnTo>
                    <a:pt x="681612" y="66304"/>
                  </a:lnTo>
                  <a:cubicBezTo>
                    <a:pt x="681612" y="66304"/>
                    <a:pt x="684544" y="62557"/>
                    <a:pt x="684544" y="62557"/>
                  </a:cubicBezTo>
                  <a:lnTo>
                    <a:pt x="684870" y="56367"/>
                  </a:lnTo>
                  <a:lnTo>
                    <a:pt x="682915" y="52620"/>
                  </a:lnTo>
                  <a:lnTo>
                    <a:pt x="681449" y="49687"/>
                  </a:lnTo>
                  <a:lnTo>
                    <a:pt x="681449" y="44963"/>
                  </a:lnTo>
                  <a:cubicBezTo>
                    <a:pt x="681449" y="44963"/>
                    <a:pt x="680146" y="42682"/>
                    <a:pt x="680146" y="42682"/>
                  </a:cubicBezTo>
                  <a:lnTo>
                    <a:pt x="681286" y="40890"/>
                  </a:lnTo>
                  <a:lnTo>
                    <a:pt x="684218" y="43334"/>
                  </a:lnTo>
                  <a:lnTo>
                    <a:pt x="691712" y="49199"/>
                  </a:lnTo>
                  <a:lnTo>
                    <a:pt x="696762" y="56855"/>
                  </a:lnTo>
                  <a:lnTo>
                    <a:pt x="702790" y="59951"/>
                  </a:lnTo>
                  <a:lnTo>
                    <a:pt x="708655" y="61091"/>
                  </a:lnTo>
                  <a:lnTo>
                    <a:pt x="708655" y="59299"/>
                  </a:lnTo>
                  <a:lnTo>
                    <a:pt x="705722" y="56855"/>
                  </a:lnTo>
                  <a:lnTo>
                    <a:pt x="700020" y="54575"/>
                  </a:lnTo>
                  <a:lnTo>
                    <a:pt x="696111" y="47569"/>
                  </a:lnTo>
                  <a:lnTo>
                    <a:pt x="695133" y="40890"/>
                  </a:lnTo>
                  <a:lnTo>
                    <a:pt x="696437" y="34211"/>
                  </a:lnTo>
                  <a:lnTo>
                    <a:pt x="701161" y="33722"/>
                  </a:lnTo>
                  <a:lnTo>
                    <a:pt x="705885" y="34048"/>
                  </a:lnTo>
                  <a:lnTo>
                    <a:pt x="712564" y="37958"/>
                  </a:lnTo>
                  <a:lnTo>
                    <a:pt x="717615" y="37958"/>
                  </a:lnTo>
                  <a:lnTo>
                    <a:pt x="719407" y="35840"/>
                  </a:lnTo>
                  <a:lnTo>
                    <a:pt x="717778" y="33233"/>
                  </a:lnTo>
                  <a:lnTo>
                    <a:pt x="714357" y="32093"/>
                  </a:lnTo>
                  <a:lnTo>
                    <a:pt x="714357" y="29649"/>
                  </a:lnTo>
                  <a:cubicBezTo>
                    <a:pt x="714357" y="29649"/>
                    <a:pt x="718429" y="24111"/>
                    <a:pt x="718429" y="24111"/>
                  </a:cubicBezTo>
                  <a:lnTo>
                    <a:pt x="722176" y="20852"/>
                  </a:lnTo>
                  <a:lnTo>
                    <a:pt x="720710" y="18572"/>
                  </a:lnTo>
                  <a:lnTo>
                    <a:pt x="718918" y="15476"/>
                  </a:lnTo>
                  <a:lnTo>
                    <a:pt x="720384" y="10915"/>
                  </a:lnTo>
                  <a:lnTo>
                    <a:pt x="723479" y="10100"/>
                  </a:lnTo>
                  <a:lnTo>
                    <a:pt x="726738" y="11078"/>
                  </a:lnTo>
                  <a:lnTo>
                    <a:pt x="729018" y="8308"/>
                  </a:lnTo>
                  <a:lnTo>
                    <a:pt x="729996" y="3258"/>
                  </a:lnTo>
                  <a:lnTo>
                    <a:pt x="731625" y="1303"/>
                  </a:lnTo>
                  <a:lnTo>
                    <a:pt x="734557" y="2281"/>
                  </a:lnTo>
                  <a:lnTo>
                    <a:pt x="736675" y="4073"/>
                  </a:lnTo>
                  <a:lnTo>
                    <a:pt x="738467" y="4561"/>
                  </a:lnTo>
                  <a:lnTo>
                    <a:pt x="740748" y="8145"/>
                  </a:lnTo>
                  <a:lnTo>
                    <a:pt x="742377" y="14010"/>
                  </a:lnTo>
                  <a:lnTo>
                    <a:pt x="744820" y="15802"/>
                  </a:lnTo>
                  <a:lnTo>
                    <a:pt x="747427" y="14010"/>
                  </a:lnTo>
                  <a:lnTo>
                    <a:pt x="747427" y="10752"/>
                  </a:lnTo>
                  <a:cubicBezTo>
                    <a:pt x="747427" y="10752"/>
                    <a:pt x="745798" y="6516"/>
                    <a:pt x="745798" y="6516"/>
                  </a:cubicBezTo>
                  <a:lnTo>
                    <a:pt x="745798" y="3095"/>
                  </a:lnTo>
                  <a:lnTo>
                    <a:pt x="747753" y="815"/>
                  </a:lnTo>
                  <a:lnTo>
                    <a:pt x="751011" y="0"/>
                  </a:lnTo>
                  <a:lnTo>
                    <a:pt x="756713" y="1303"/>
                  </a:lnTo>
                  <a:lnTo>
                    <a:pt x="764858" y="652"/>
                  </a:lnTo>
                  <a:lnTo>
                    <a:pt x="768768" y="2607"/>
                  </a:lnTo>
                  <a:lnTo>
                    <a:pt x="769909" y="4236"/>
                  </a:lnTo>
                  <a:lnTo>
                    <a:pt x="771863" y="3910"/>
                  </a:lnTo>
                  <a:lnTo>
                    <a:pt x="774959" y="1629"/>
                  </a:lnTo>
                  <a:lnTo>
                    <a:pt x="779683" y="3584"/>
                  </a:lnTo>
                  <a:lnTo>
                    <a:pt x="788643" y="3910"/>
                  </a:lnTo>
                  <a:lnTo>
                    <a:pt x="791087" y="6191"/>
                  </a:lnTo>
                  <a:lnTo>
                    <a:pt x="794182" y="6191"/>
                  </a:lnTo>
                  <a:cubicBezTo>
                    <a:pt x="794182" y="6191"/>
                    <a:pt x="797440" y="4561"/>
                    <a:pt x="797440" y="4561"/>
                  </a:cubicBezTo>
                  <a:lnTo>
                    <a:pt x="800210" y="6516"/>
                  </a:lnTo>
                  <a:lnTo>
                    <a:pt x="801676" y="9612"/>
                  </a:lnTo>
                  <a:lnTo>
                    <a:pt x="808518" y="14499"/>
                  </a:lnTo>
                  <a:lnTo>
                    <a:pt x="811450" y="13196"/>
                  </a:lnTo>
                  <a:lnTo>
                    <a:pt x="811776" y="11567"/>
                  </a:lnTo>
                  <a:lnTo>
                    <a:pt x="814220" y="11241"/>
                  </a:lnTo>
                  <a:lnTo>
                    <a:pt x="822202" y="16291"/>
                  </a:lnTo>
                  <a:lnTo>
                    <a:pt x="825298" y="16291"/>
                  </a:lnTo>
                  <a:lnTo>
                    <a:pt x="830674" y="21504"/>
                  </a:lnTo>
                  <a:lnTo>
                    <a:pt x="840611" y="22156"/>
                  </a:lnTo>
                  <a:lnTo>
                    <a:pt x="843381" y="23948"/>
                  </a:lnTo>
                  <a:lnTo>
                    <a:pt x="849082" y="22807"/>
                  </a:lnTo>
                  <a:lnTo>
                    <a:pt x="850874" y="24599"/>
                  </a:lnTo>
                  <a:lnTo>
                    <a:pt x="852829" y="27206"/>
                  </a:lnTo>
                  <a:lnTo>
                    <a:pt x="857717" y="25577"/>
                  </a:lnTo>
                  <a:lnTo>
                    <a:pt x="861952" y="26554"/>
                  </a:lnTo>
                  <a:lnTo>
                    <a:pt x="865862" y="30301"/>
                  </a:lnTo>
                  <a:lnTo>
                    <a:pt x="873845" y="32582"/>
                  </a:lnTo>
                  <a:lnTo>
                    <a:pt x="879058" y="36329"/>
                  </a:lnTo>
                  <a:lnTo>
                    <a:pt x="881338" y="41053"/>
                  </a:lnTo>
                  <a:lnTo>
                    <a:pt x="885248" y="43171"/>
                  </a:lnTo>
                  <a:lnTo>
                    <a:pt x="892416" y="47732"/>
                  </a:lnTo>
                  <a:lnTo>
                    <a:pt x="892090" y="50502"/>
                  </a:lnTo>
                  <a:lnTo>
                    <a:pt x="889321" y="54412"/>
                  </a:lnTo>
                  <a:lnTo>
                    <a:pt x="885085" y="54086"/>
                  </a:lnTo>
                  <a:lnTo>
                    <a:pt x="881013" y="53271"/>
                  </a:lnTo>
                  <a:lnTo>
                    <a:pt x="877592" y="55389"/>
                  </a:lnTo>
                  <a:lnTo>
                    <a:pt x="874822" y="58484"/>
                  </a:lnTo>
                  <a:lnTo>
                    <a:pt x="870749" y="58484"/>
                  </a:lnTo>
                  <a:lnTo>
                    <a:pt x="868957" y="57996"/>
                  </a:lnTo>
                  <a:lnTo>
                    <a:pt x="864233" y="59462"/>
                  </a:lnTo>
                  <a:lnTo>
                    <a:pt x="858857" y="59136"/>
                  </a:lnTo>
                  <a:lnTo>
                    <a:pt x="849082" y="54575"/>
                  </a:lnTo>
                  <a:lnTo>
                    <a:pt x="844358" y="53108"/>
                  </a:lnTo>
                  <a:lnTo>
                    <a:pt x="841263" y="53108"/>
                  </a:lnTo>
                  <a:cubicBezTo>
                    <a:pt x="841263" y="53108"/>
                    <a:pt x="837027" y="51479"/>
                    <a:pt x="837027" y="51479"/>
                  </a:cubicBezTo>
                  <a:lnTo>
                    <a:pt x="831488" y="51479"/>
                  </a:lnTo>
                  <a:cubicBezTo>
                    <a:pt x="831488" y="51479"/>
                    <a:pt x="829045" y="53434"/>
                    <a:pt x="829045" y="53434"/>
                  </a:cubicBezTo>
                  <a:lnTo>
                    <a:pt x="825786" y="53434"/>
                  </a:lnTo>
                  <a:cubicBezTo>
                    <a:pt x="825786" y="53434"/>
                    <a:pt x="823994" y="51642"/>
                    <a:pt x="823994" y="51642"/>
                  </a:cubicBezTo>
                  <a:lnTo>
                    <a:pt x="818781" y="51642"/>
                  </a:lnTo>
                  <a:cubicBezTo>
                    <a:pt x="818781" y="51642"/>
                    <a:pt x="811287" y="55389"/>
                    <a:pt x="811287" y="55389"/>
                  </a:cubicBezTo>
                  <a:lnTo>
                    <a:pt x="807866" y="56855"/>
                  </a:lnTo>
                  <a:lnTo>
                    <a:pt x="803468" y="55226"/>
                  </a:lnTo>
                  <a:lnTo>
                    <a:pt x="799558" y="55226"/>
                  </a:lnTo>
                  <a:cubicBezTo>
                    <a:pt x="799558" y="55226"/>
                    <a:pt x="793530" y="58159"/>
                    <a:pt x="793530" y="58159"/>
                  </a:cubicBezTo>
                  <a:lnTo>
                    <a:pt x="786688" y="57670"/>
                  </a:lnTo>
                  <a:lnTo>
                    <a:pt x="783919" y="54086"/>
                  </a:lnTo>
                  <a:lnTo>
                    <a:pt x="783430" y="49036"/>
                  </a:lnTo>
                  <a:lnTo>
                    <a:pt x="786037" y="47407"/>
                  </a:lnTo>
                  <a:lnTo>
                    <a:pt x="788480" y="47081"/>
                  </a:lnTo>
                  <a:lnTo>
                    <a:pt x="789458" y="44311"/>
                  </a:lnTo>
                  <a:lnTo>
                    <a:pt x="787992" y="42519"/>
                  </a:lnTo>
                  <a:lnTo>
                    <a:pt x="784245" y="42031"/>
                  </a:lnTo>
                  <a:lnTo>
                    <a:pt x="780498" y="43008"/>
                  </a:lnTo>
                  <a:lnTo>
                    <a:pt x="775936" y="46918"/>
                  </a:lnTo>
                  <a:lnTo>
                    <a:pt x="776425" y="51316"/>
                  </a:lnTo>
                  <a:lnTo>
                    <a:pt x="779357" y="55226"/>
                  </a:lnTo>
                  <a:lnTo>
                    <a:pt x="782290" y="55715"/>
                  </a:lnTo>
                  <a:lnTo>
                    <a:pt x="781149" y="58647"/>
                  </a:lnTo>
                  <a:lnTo>
                    <a:pt x="777565" y="61254"/>
                  </a:lnTo>
                  <a:lnTo>
                    <a:pt x="774959" y="60765"/>
                  </a:lnTo>
                  <a:lnTo>
                    <a:pt x="771212" y="60765"/>
                  </a:lnTo>
                  <a:lnTo>
                    <a:pt x="765510" y="61091"/>
                  </a:lnTo>
                  <a:lnTo>
                    <a:pt x="764044" y="62557"/>
                  </a:lnTo>
                  <a:lnTo>
                    <a:pt x="758994" y="63046"/>
                  </a:lnTo>
                  <a:lnTo>
                    <a:pt x="753618" y="61580"/>
                  </a:lnTo>
                  <a:lnTo>
                    <a:pt x="747101" y="61580"/>
                  </a:lnTo>
                  <a:cubicBezTo>
                    <a:pt x="747101" y="61580"/>
                    <a:pt x="740748" y="64675"/>
                    <a:pt x="740748" y="64675"/>
                  </a:cubicBezTo>
                  <a:lnTo>
                    <a:pt x="731299" y="70540"/>
                  </a:lnTo>
                  <a:lnTo>
                    <a:pt x="730485" y="74287"/>
                  </a:lnTo>
                  <a:lnTo>
                    <a:pt x="730810" y="80803"/>
                  </a:lnTo>
                  <a:lnTo>
                    <a:pt x="728693" y="84713"/>
                  </a:lnTo>
                  <a:lnTo>
                    <a:pt x="728367" y="87645"/>
                  </a:lnTo>
                  <a:lnTo>
                    <a:pt x="729670" y="89437"/>
                  </a:lnTo>
                  <a:lnTo>
                    <a:pt x="733417" y="87971"/>
                  </a:lnTo>
                  <a:lnTo>
                    <a:pt x="733743" y="83247"/>
                  </a:lnTo>
                  <a:lnTo>
                    <a:pt x="734883" y="80314"/>
                  </a:lnTo>
                  <a:lnTo>
                    <a:pt x="734883" y="78359"/>
                  </a:lnTo>
                  <a:lnTo>
                    <a:pt x="737490" y="76079"/>
                  </a:lnTo>
                  <a:lnTo>
                    <a:pt x="742703" y="76079"/>
                  </a:lnTo>
                  <a:cubicBezTo>
                    <a:pt x="742703" y="76079"/>
                    <a:pt x="745798" y="75264"/>
                    <a:pt x="745798" y="75264"/>
                  </a:cubicBezTo>
                  <a:lnTo>
                    <a:pt x="746776" y="76893"/>
                  </a:lnTo>
                  <a:lnTo>
                    <a:pt x="745635" y="80151"/>
                  </a:lnTo>
                  <a:lnTo>
                    <a:pt x="743843" y="84550"/>
                  </a:lnTo>
                  <a:lnTo>
                    <a:pt x="744332" y="86342"/>
                  </a:lnTo>
                  <a:lnTo>
                    <a:pt x="745798" y="86342"/>
                  </a:lnTo>
                  <a:cubicBezTo>
                    <a:pt x="745798" y="86342"/>
                    <a:pt x="748242" y="83084"/>
                    <a:pt x="748242" y="83084"/>
                  </a:cubicBezTo>
                  <a:lnTo>
                    <a:pt x="750034" y="75753"/>
                  </a:lnTo>
                  <a:cubicBezTo>
                    <a:pt x="750034" y="75753"/>
                    <a:pt x="753129" y="71517"/>
                    <a:pt x="753455" y="71028"/>
                  </a:cubicBezTo>
                  <a:cubicBezTo>
                    <a:pt x="753780" y="70540"/>
                    <a:pt x="758831" y="68259"/>
                    <a:pt x="758831" y="68259"/>
                  </a:cubicBezTo>
                  <a:lnTo>
                    <a:pt x="761926" y="68748"/>
                  </a:lnTo>
                  <a:lnTo>
                    <a:pt x="768279" y="68259"/>
                  </a:lnTo>
                  <a:lnTo>
                    <a:pt x="772841" y="68259"/>
                  </a:lnTo>
                  <a:cubicBezTo>
                    <a:pt x="772841" y="68259"/>
                    <a:pt x="776425" y="66793"/>
                    <a:pt x="776425" y="66793"/>
                  </a:cubicBezTo>
                  <a:lnTo>
                    <a:pt x="778217" y="67607"/>
                  </a:lnTo>
                  <a:lnTo>
                    <a:pt x="779683" y="70703"/>
                  </a:lnTo>
                  <a:lnTo>
                    <a:pt x="782615" y="77056"/>
                  </a:lnTo>
                  <a:lnTo>
                    <a:pt x="784896" y="78685"/>
                  </a:lnTo>
                  <a:lnTo>
                    <a:pt x="786851" y="78359"/>
                  </a:lnTo>
                  <a:lnTo>
                    <a:pt x="786851" y="75264"/>
                  </a:lnTo>
                  <a:cubicBezTo>
                    <a:pt x="786851" y="75264"/>
                    <a:pt x="785222" y="69236"/>
                    <a:pt x="785222" y="69236"/>
                  </a:cubicBezTo>
                  <a:lnTo>
                    <a:pt x="786851" y="67933"/>
                  </a:lnTo>
                  <a:lnTo>
                    <a:pt x="792390" y="66956"/>
                  </a:lnTo>
                  <a:lnTo>
                    <a:pt x="796463" y="67770"/>
                  </a:lnTo>
                  <a:lnTo>
                    <a:pt x="802490" y="66630"/>
                  </a:lnTo>
                  <a:lnTo>
                    <a:pt x="808844" y="65978"/>
                  </a:lnTo>
                  <a:lnTo>
                    <a:pt x="816012" y="63372"/>
                  </a:lnTo>
                  <a:lnTo>
                    <a:pt x="820899" y="61743"/>
                  </a:lnTo>
                  <a:lnTo>
                    <a:pt x="830022" y="60928"/>
                  </a:lnTo>
                  <a:lnTo>
                    <a:pt x="836864" y="62231"/>
                  </a:lnTo>
                  <a:lnTo>
                    <a:pt x="841914" y="65164"/>
                  </a:lnTo>
                  <a:lnTo>
                    <a:pt x="846476" y="66304"/>
                  </a:lnTo>
                  <a:lnTo>
                    <a:pt x="850060" y="68096"/>
                  </a:lnTo>
                  <a:lnTo>
                    <a:pt x="854784" y="69236"/>
                  </a:lnTo>
                  <a:lnTo>
                    <a:pt x="858531" y="72006"/>
                  </a:lnTo>
                  <a:lnTo>
                    <a:pt x="861463" y="73146"/>
                  </a:lnTo>
                  <a:lnTo>
                    <a:pt x="864396" y="71680"/>
                  </a:lnTo>
                  <a:lnTo>
                    <a:pt x="868143" y="70703"/>
                  </a:lnTo>
                  <a:lnTo>
                    <a:pt x="870424" y="72006"/>
                  </a:lnTo>
                  <a:lnTo>
                    <a:pt x="872216" y="74612"/>
                  </a:lnTo>
                  <a:lnTo>
                    <a:pt x="874659" y="74287"/>
                  </a:lnTo>
                  <a:lnTo>
                    <a:pt x="878895" y="70540"/>
                  </a:lnTo>
                  <a:lnTo>
                    <a:pt x="882153" y="70540"/>
                  </a:lnTo>
                  <a:lnTo>
                    <a:pt x="886714" y="71028"/>
                  </a:lnTo>
                  <a:lnTo>
                    <a:pt x="893394" y="67281"/>
                  </a:lnTo>
                  <a:lnTo>
                    <a:pt x="897141" y="63372"/>
                  </a:lnTo>
                  <a:lnTo>
                    <a:pt x="899747" y="62720"/>
                  </a:lnTo>
                  <a:lnTo>
                    <a:pt x="901865" y="63860"/>
                  </a:lnTo>
                  <a:lnTo>
                    <a:pt x="905286" y="68096"/>
                  </a:lnTo>
                  <a:lnTo>
                    <a:pt x="909522" y="71028"/>
                  </a:lnTo>
                  <a:lnTo>
                    <a:pt x="909522" y="72657"/>
                  </a:lnTo>
                  <a:lnTo>
                    <a:pt x="907241" y="75264"/>
                  </a:lnTo>
                  <a:lnTo>
                    <a:pt x="906915" y="77545"/>
                  </a:lnTo>
                  <a:lnTo>
                    <a:pt x="909359" y="79174"/>
                  </a:lnTo>
                  <a:lnTo>
                    <a:pt x="910499" y="81129"/>
                  </a:lnTo>
                  <a:lnTo>
                    <a:pt x="910499" y="84387"/>
                  </a:lnTo>
                  <a:lnTo>
                    <a:pt x="903657" y="90252"/>
                  </a:lnTo>
                  <a:lnTo>
                    <a:pt x="896163" y="92532"/>
                  </a:lnTo>
                  <a:lnTo>
                    <a:pt x="892253" y="91392"/>
                  </a:lnTo>
                  <a:lnTo>
                    <a:pt x="888181" y="88948"/>
                  </a:lnTo>
                  <a:lnTo>
                    <a:pt x="885411" y="86016"/>
                  </a:lnTo>
                  <a:lnTo>
                    <a:pt x="883782" y="87482"/>
                  </a:lnTo>
                  <a:lnTo>
                    <a:pt x="884108" y="90740"/>
                  </a:lnTo>
                  <a:lnTo>
                    <a:pt x="888506" y="94487"/>
                  </a:lnTo>
                  <a:lnTo>
                    <a:pt x="888995" y="96442"/>
                  </a:lnTo>
                  <a:lnTo>
                    <a:pt x="888181" y="97583"/>
                  </a:lnTo>
                  <a:lnTo>
                    <a:pt x="883456" y="95953"/>
                  </a:lnTo>
                  <a:lnTo>
                    <a:pt x="880850" y="93184"/>
                  </a:lnTo>
                  <a:lnTo>
                    <a:pt x="878243" y="93184"/>
                  </a:lnTo>
                  <a:cubicBezTo>
                    <a:pt x="878243" y="93184"/>
                    <a:pt x="878080" y="96279"/>
                    <a:pt x="878080" y="96279"/>
                  </a:cubicBezTo>
                  <a:lnTo>
                    <a:pt x="880035" y="99375"/>
                  </a:lnTo>
                  <a:lnTo>
                    <a:pt x="883782" y="100841"/>
                  </a:lnTo>
                  <a:lnTo>
                    <a:pt x="888832" y="101329"/>
                  </a:lnTo>
                  <a:lnTo>
                    <a:pt x="894045" y="103610"/>
                  </a:lnTo>
                  <a:lnTo>
                    <a:pt x="897955" y="102959"/>
                  </a:lnTo>
                  <a:lnTo>
                    <a:pt x="905449" y="99375"/>
                  </a:lnTo>
                  <a:lnTo>
                    <a:pt x="908219" y="99375"/>
                  </a:lnTo>
                  <a:lnTo>
                    <a:pt x="910173" y="101329"/>
                  </a:lnTo>
                  <a:lnTo>
                    <a:pt x="910499" y="99375"/>
                  </a:lnTo>
                  <a:lnTo>
                    <a:pt x="910499" y="96116"/>
                  </a:lnTo>
                  <a:cubicBezTo>
                    <a:pt x="910499" y="96116"/>
                    <a:pt x="914572" y="95302"/>
                    <a:pt x="914572" y="95302"/>
                  </a:cubicBezTo>
                  <a:lnTo>
                    <a:pt x="925161" y="95628"/>
                  </a:lnTo>
                  <a:lnTo>
                    <a:pt x="927768" y="97420"/>
                  </a:lnTo>
                  <a:lnTo>
                    <a:pt x="928582" y="100352"/>
                  </a:lnTo>
                  <a:lnTo>
                    <a:pt x="931026" y="101818"/>
                  </a:lnTo>
                  <a:lnTo>
                    <a:pt x="933958" y="101004"/>
                  </a:lnTo>
                  <a:lnTo>
                    <a:pt x="935261" y="99537"/>
                  </a:lnTo>
                  <a:lnTo>
                    <a:pt x="937705" y="100515"/>
                  </a:lnTo>
                  <a:lnTo>
                    <a:pt x="938845" y="103936"/>
                  </a:lnTo>
                  <a:lnTo>
                    <a:pt x="941941" y="106868"/>
                  </a:lnTo>
                  <a:lnTo>
                    <a:pt x="948783" y="108009"/>
                  </a:lnTo>
                  <a:lnTo>
                    <a:pt x="951389" y="110452"/>
                  </a:lnTo>
                  <a:lnTo>
                    <a:pt x="952041" y="113385"/>
                  </a:lnTo>
                  <a:lnTo>
                    <a:pt x="956928" y="117620"/>
                  </a:lnTo>
                  <a:lnTo>
                    <a:pt x="962956" y="120064"/>
                  </a:lnTo>
                  <a:lnTo>
                    <a:pt x="967843" y="123974"/>
                  </a:lnTo>
                  <a:lnTo>
                    <a:pt x="968658" y="126255"/>
                  </a:lnTo>
                  <a:lnTo>
                    <a:pt x="968658" y="130979"/>
                  </a:lnTo>
                  <a:lnTo>
                    <a:pt x="966703" y="132445"/>
                  </a:lnTo>
                  <a:lnTo>
                    <a:pt x="966051" y="135052"/>
                  </a:lnTo>
                  <a:lnTo>
                    <a:pt x="966051" y="138473"/>
                  </a:lnTo>
                  <a:cubicBezTo>
                    <a:pt x="966051" y="138473"/>
                    <a:pt x="962956" y="140102"/>
                    <a:pt x="962956" y="140102"/>
                  </a:cubicBezTo>
                  <a:lnTo>
                    <a:pt x="958232" y="143686"/>
                  </a:lnTo>
                  <a:lnTo>
                    <a:pt x="954485" y="144663"/>
                  </a:lnTo>
                  <a:lnTo>
                    <a:pt x="952367" y="143686"/>
                  </a:lnTo>
                  <a:lnTo>
                    <a:pt x="950575" y="144663"/>
                  </a:lnTo>
                  <a:lnTo>
                    <a:pt x="950575" y="147107"/>
                  </a:lnTo>
                  <a:cubicBezTo>
                    <a:pt x="950575" y="147107"/>
                    <a:pt x="949271" y="148899"/>
                    <a:pt x="949271" y="148899"/>
                  </a:cubicBezTo>
                  <a:lnTo>
                    <a:pt x="944873" y="151668"/>
                  </a:lnTo>
                  <a:lnTo>
                    <a:pt x="936076" y="155415"/>
                  </a:lnTo>
                  <a:lnTo>
                    <a:pt x="929560" y="155741"/>
                  </a:lnTo>
                  <a:lnTo>
                    <a:pt x="927605" y="156719"/>
                  </a:lnTo>
                  <a:lnTo>
                    <a:pt x="923858" y="156719"/>
                  </a:lnTo>
                  <a:lnTo>
                    <a:pt x="921251" y="153786"/>
                  </a:lnTo>
                  <a:lnTo>
                    <a:pt x="919296" y="151994"/>
                  </a:lnTo>
                  <a:lnTo>
                    <a:pt x="917667" y="152646"/>
                  </a:lnTo>
                  <a:lnTo>
                    <a:pt x="917667" y="155252"/>
                  </a:lnTo>
                  <a:lnTo>
                    <a:pt x="920274" y="156719"/>
                  </a:lnTo>
                  <a:lnTo>
                    <a:pt x="919785" y="158511"/>
                  </a:lnTo>
                  <a:lnTo>
                    <a:pt x="915224" y="158511"/>
                  </a:lnTo>
                  <a:lnTo>
                    <a:pt x="910662" y="157207"/>
                  </a:lnTo>
                  <a:lnTo>
                    <a:pt x="906752" y="159488"/>
                  </a:lnTo>
                  <a:lnTo>
                    <a:pt x="904797" y="159488"/>
                  </a:lnTo>
                  <a:lnTo>
                    <a:pt x="901702" y="157370"/>
                  </a:lnTo>
                  <a:lnTo>
                    <a:pt x="896652" y="157370"/>
                  </a:lnTo>
                  <a:cubicBezTo>
                    <a:pt x="896652" y="157370"/>
                    <a:pt x="893394" y="159814"/>
                    <a:pt x="893394" y="159814"/>
                  </a:cubicBezTo>
                  <a:lnTo>
                    <a:pt x="886877" y="162583"/>
                  </a:lnTo>
                  <a:lnTo>
                    <a:pt x="883130" y="162583"/>
                  </a:lnTo>
                  <a:cubicBezTo>
                    <a:pt x="883130" y="162583"/>
                    <a:pt x="880687" y="160791"/>
                    <a:pt x="880687" y="160791"/>
                  </a:cubicBezTo>
                  <a:lnTo>
                    <a:pt x="876777" y="160791"/>
                  </a:lnTo>
                  <a:cubicBezTo>
                    <a:pt x="876777" y="160791"/>
                    <a:pt x="872704" y="159325"/>
                    <a:pt x="872704" y="159325"/>
                  </a:cubicBezTo>
                  <a:lnTo>
                    <a:pt x="869283" y="158999"/>
                  </a:lnTo>
                  <a:lnTo>
                    <a:pt x="867328" y="160791"/>
                  </a:lnTo>
                  <a:lnTo>
                    <a:pt x="862115" y="161769"/>
                  </a:lnTo>
                  <a:lnTo>
                    <a:pt x="858694" y="160628"/>
                  </a:lnTo>
                  <a:lnTo>
                    <a:pt x="852666" y="156230"/>
                  </a:lnTo>
                  <a:lnTo>
                    <a:pt x="850223" y="156230"/>
                  </a:lnTo>
                  <a:cubicBezTo>
                    <a:pt x="850223" y="156230"/>
                    <a:pt x="848919" y="155415"/>
                    <a:pt x="848919" y="155415"/>
                  </a:cubicBezTo>
                  <a:lnTo>
                    <a:pt x="841914" y="155415"/>
                  </a:lnTo>
                  <a:cubicBezTo>
                    <a:pt x="841914" y="155415"/>
                    <a:pt x="838004" y="153460"/>
                    <a:pt x="838004" y="153460"/>
                  </a:cubicBezTo>
                  <a:lnTo>
                    <a:pt x="834909" y="152646"/>
                  </a:lnTo>
                  <a:lnTo>
                    <a:pt x="830022" y="153786"/>
                  </a:lnTo>
                  <a:lnTo>
                    <a:pt x="825786" y="153460"/>
                  </a:lnTo>
                  <a:lnTo>
                    <a:pt x="821225" y="151831"/>
                  </a:lnTo>
                  <a:lnTo>
                    <a:pt x="817967" y="152646"/>
                  </a:lnTo>
                  <a:lnTo>
                    <a:pt x="815034" y="155578"/>
                  </a:lnTo>
                  <a:lnTo>
                    <a:pt x="811125" y="156719"/>
                  </a:lnTo>
                  <a:lnTo>
                    <a:pt x="805586" y="156067"/>
                  </a:lnTo>
                  <a:lnTo>
                    <a:pt x="801350" y="158511"/>
                  </a:lnTo>
                  <a:lnTo>
                    <a:pt x="800536" y="159977"/>
                  </a:lnTo>
                  <a:lnTo>
                    <a:pt x="798906" y="159977"/>
                  </a:lnTo>
                  <a:cubicBezTo>
                    <a:pt x="798906" y="159977"/>
                    <a:pt x="797929" y="155578"/>
                    <a:pt x="797929" y="155578"/>
                  </a:cubicBezTo>
                  <a:lnTo>
                    <a:pt x="795322" y="154275"/>
                  </a:lnTo>
                  <a:lnTo>
                    <a:pt x="791576" y="154275"/>
                  </a:lnTo>
                  <a:cubicBezTo>
                    <a:pt x="791576" y="154275"/>
                    <a:pt x="789946" y="153460"/>
                    <a:pt x="789946" y="153460"/>
                  </a:cubicBezTo>
                  <a:lnTo>
                    <a:pt x="786362" y="153460"/>
                  </a:lnTo>
                  <a:cubicBezTo>
                    <a:pt x="786362" y="153460"/>
                    <a:pt x="785874" y="155415"/>
                    <a:pt x="785874" y="155415"/>
                  </a:cubicBezTo>
                  <a:lnTo>
                    <a:pt x="787503" y="155741"/>
                  </a:lnTo>
                  <a:lnTo>
                    <a:pt x="792716" y="155741"/>
                  </a:lnTo>
                  <a:cubicBezTo>
                    <a:pt x="792716" y="155741"/>
                    <a:pt x="794996" y="157696"/>
                    <a:pt x="794996" y="157696"/>
                  </a:cubicBezTo>
                  <a:lnTo>
                    <a:pt x="796137" y="160140"/>
                  </a:lnTo>
                  <a:lnTo>
                    <a:pt x="794834" y="163235"/>
                  </a:lnTo>
                  <a:lnTo>
                    <a:pt x="791576" y="165190"/>
                  </a:lnTo>
                  <a:lnTo>
                    <a:pt x="789132" y="164701"/>
                  </a:lnTo>
                  <a:lnTo>
                    <a:pt x="785222" y="165027"/>
                  </a:lnTo>
                  <a:lnTo>
                    <a:pt x="781312" y="167308"/>
                  </a:lnTo>
                  <a:lnTo>
                    <a:pt x="776262" y="169426"/>
                  </a:lnTo>
                  <a:lnTo>
                    <a:pt x="769257" y="170077"/>
                  </a:lnTo>
                  <a:lnTo>
                    <a:pt x="765673" y="171706"/>
                  </a:lnTo>
                  <a:lnTo>
                    <a:pt x="763881" y="174313"/>
                  </a:lnTo>
                  <a:lnTo>
                    <a:pt x="760297" y="175127"/>
                  </a:lnTo>
                  <a:lnTo>
                    <a:pt x="755736" y="175127"/>
                  </a:lnTo>
                  <a:cubicBezTo>
                    <a:pt x="755736" y="175127"/>
                    <a:pt x="750522" y="178060"/>
                    <a:pt x="750522" y="178060"/>
                  </a:cubicBezTo>
                  <a:lnTo>
                    <a:pt x="746938" y="178548"/>
                  </a:lnTo>
                  <a:lnTo>
                    <a:pt x="744495" y="181644"/>
                  </a:lnTo>
                  <a:lnTo>
                    <a:pt x="744495" y="185554"/>
                  </a:lnTo>
                  <a:cubicBezTo>
                    <a:pt x="744495" y="185554"/>
                    <a:pt x="746938" y="187997"/>
                    <a:pt x="746938" y="187997"/>
                  </a:cubicBezTo>
                  <a:lnTo>
                    <a:pt x="747753" y="191092"/>
                  </a:lnTo>
                  <a:lnTo>
                    <a:pt x="747753" y="195002"/>
                  </a:lnTo>
                  <a:lnTo>
                    <a:pt x="749708" y="198260"/>
                  </a:lnTo>
                  <a:lnTo>
                    <a:pt x="752314" y="198260"/>
                  </a:lnTo>
                  <a:cubicBezTo>
                    <a:pt x="752314" y="198260"/>
                    <a:pt x="754269" y="195165"/>
                    <a:pt x="754269" y="195165"/>
                  </a:cubicBezTo>
                  <a:lnTo>
                    <a:pt x="754758" y="191418"/>
                  </a:lnTo>
                  <a:lnTo>
                    <a:pt x="758016" y="188323"/>
                  </a:lnTo>
                  <a:lnTo>
                    <a:pt x="762252" y="187508"/>
                  </a:lnTo>
                  <a:lnTo>
                    <a:pt x="765836" y="185554"/>
                  </a:lnTo>
                  <a:lnTo>
                    <a:pt x="770234" y="184902"/>
                  </a:lnTo>
                  <a:lnTo>
                    <a:pt x="774470" y="184902"/>
                  </a:lnTo>
                  <a:cubicBezTo>
                    <a:pt x="774470" y="184902"/>
                    <a:pt x="776425" y="182621"/>
                    <a:pt x="776425" y="182621"/>
                  </a:cubicBezTo>
                  <a:lnTo>
                    <a:pt x="779520" y="179526"/>
                  </a:lnTo>
                  <a:lnTo>
                    <a:pt x="786037" y="177734"/>
                  </a:lnTo>
                  <a:lnTo>
                    <a:pt x="796300" y="173987"/>
                  </a:lnTo>
                  <a:lnTo>
                    <a:pt x="799721" y="174313"/>
                  </a:lnTo>
                  <a:lnTo>
                    <a:pt x="799721" y="175453"/>
                  </a:lnTo>
                  <a:lnTo>
                    <a:pt x="799069" y="179037"/>
                  </a:lnTo>
                  <a:lnTo>
                    <a:pt x="800373" y="179363"/>
                  </a:lnTo>
                  <a:lnTo>
                    <a:pt x="803957" y="176431"/>
                  </a:lnTo>
                  <a:lnTo>
                    <a:pt x="804445" y="172358"/>
                  </a:lnTo>
                  <a:lnTo>
                    <a:pt x="807378" y="167634"/>
                  </a:lnTo>
                  <a:lnTo>
                    <a:pt x="810310" y="167308"/>
                  </a:lnTo>
                  <a:lnTo>
                    <a:pt x="815034" y="168122"/>
                  </a:lnTo>
                  <a:lnTo>
                    <a:pt x="817967" y="169100"/>
                  </a:lnTo>
                  <a:lnTo>
                    <a:pt x="823343" y="167959"/>
                  </a:lnTo>
                  <a:lnTo>
                    <a:pt x="829859" y="167959"/>
                  </a:lnTo>
                  <a:lnTo>
                    <a:pt x="834420" y="170403"/>
                  </a:lnTo>
                  <a:lnTo>
                    <a:pt x="840122" y="171218"/>
                  </a:lnTo>
                  <a:lnTo>
                    <a:pt x="851526" y="169914"/>
                  </a:lnTo>
                  <a:lnTo>
                    <a:pt x="855436" y="170892"/>
                  </a:lnTo>
                  <a:lnTo>
                    <a:pt x="860486" y="173335"/>
                  </a:lnTo>
                  <a:lnTo>
                    <a:pt x="868306" y="175127"/>
                  </a:lnTo>
                  <a:lnTo>
                    <a:pt x="877754" y="175616"/>
                  </a:lnTo>
                  <a:lnTo>
                    <a:pt x="881827" y="175616"/>
                  </a:lnTo>
                  <a:cubicBezTo>
                    <a:pt x="881827" y="175616"/>
                    <a:pt x="882316" y="178060"/>
                    <a:pt x="882316" y="178060"/>
                  </a:cubicBezTo>
                  <a:lnTo>
                    <a:pt x="884108" y="179852"/>
                  </a:lnTo>
                  <a:lnTo>
                    <a:pt x="883456" y="182458"/>
                  </a:lnTo>
                  <a:lnTo>
                    <a:pt x="880198" y="184902"/>
                  </a:lnTo>
                  <a:lnTo>
                    <a:pt x="879546" y="188649"/>
                  </a:lnTo>
                  <a:lnTo>
                    <a:pt x="876777" y="193699"/>
                  </a:lnTo>
                  <a:lnTo>
                    <a:pt x="873845" y="194839"/>
                  </a:lnTo>
                  <a:lnTo>
                    <a:pt x="861627" y="196468"/>
                  </a:lnTo>
                  <a:lnTo>
                    <a:pt x="855925" y="198749"/>
                  </a:lnTo>
                  <a:lnTo>
                    <a:pt x="853644" y="198749"/>
                  </a:lnTo>
                  <a:cubicBezTo>
                    <a:pt x="853644" y="198749"/>
                    <a:pt x="851689" y="197935"/>
                    <a:pt x="851689" y="197935"/>
                  </a:cubicBezTo>
                  <a:lnTo>
                    <a:pt x="850549" y="198260"/>
                  </a:lnTo>
                  <a:lnTo>
                    <a:pt x="849245" y="202007"/>
                  </a:lnTo>
                  <a:lnTo>
                    <a:pt x="849571" y="205266"/>
                  </a:lnTo>
                  <a:lnTo>
                    <a:pt x="848431" y="209012"/>
                  </a:lnTo>
                  <a:lnTo>
                    <a:pt x="848919" y="211945"/>
                  </a:lnTo>
                  <a:lnTo>
                    <a:pt x="850874" y="212759"/>
                  </a:lnTo>
                  <a:lnTo>
                    <a:pt x="856413" y="210642"/>
                  </a:lnTo>
                  <a:lnTo>
                    <a:pt x="863581" y="209012"/>
                  </a:lnTo>
                  <a:lnTo>
                    <a:pt x="868306" y="206732"/>
                  </a:lnTo>
                  <a:cubicBezTo>
                    <a:pt x="868306" y="206732"/>
                    <a:pt x="876777" y="206406"/>
                    <a:pt x="877103" y="206569"/>
                  </a:cubicBezTo>
                  <a:cubicBezTo>
                    <a:pt x="877592" y="206569"/>
                    <a:pt x="885737" y="209501"/>
                    <a:pt x="885737" y="209501"/>
                  </a:cubicBezTo>
                  <a:lnTo>
                    <a:pt x="888669" y="209501"/>
                  </a:lnTo>
                  <a:lnTo>
                    <a:pt x="892416" y="211945"/>
                  </a:lnTo>
                  <a:lnTo>
                    <a:pt x="894371" y="210316"/>
                  </a:lnTo>
                  <a:lnTo>
                    <a:pt x="896326" y="207709"/>
                  </a:lnTo>
                  <a:lnTo>
                    <a:pt x="897792" y="207383"/>
                  </a:lnTo>
                  <a:lnTo>
                    <a:pt x="900725" y="208198"/>
                  </a:lnTo>
                  <a:lnTo>
                    <a:pt x="903331" y="210479"/>
                  </a:lnTo>
                  <a:lnTo>
                    <a:pt x="907730" y="204940"/>
                  </a:lnTo>
                  <a:lnTo>
                    <a:pt x="909685" y="197772"/>
                  </a:lnTo>
                  <a:lnTo>
                    <a:pt x="910010" y="190767"/>
                  </a:lnTo>
                  <a:lnTo>
                    <a:pt x="911477" y="187997"/>
                  </a:lnTo>
                  <a:lnTo>
                    <a:pt x="910499" y="185879"/>
                  </a:lnTo>
                  <a:lnTo>
                    <a:pt x="911314" y="182132"/>
                  </a:lnTo>
                  <a:lnTo>
                    <a:pt x="915061" y="179852"/>
                  </a:lnTo>
                  <a:lnTo>
                    <a:pt x="920600" y="179852"/>
                  </a:lnTo>
                  <a:cubicBezTo>
                    <a:pt x="920600" y="179852"/>
                    <a:pt x="926464" y="181644"/>
                    <a:pt x="926464" y="181644"/>
                  </a:cubicBezTo>
                  <a:lnTo>
                    <a:pt x="932981" y="181644"/>
                  </a:lnTo>
                  <a:cubicBezTo>
                    <a:pt x="932981" y="181644"/>
                    <a:pt x="938357" y="180178"/>
                    <a:pt x="938357" y="180178"/>
                  </a:cubicBezTo>
                  <a:lnTo>
                    <a:pt x="941778" y="181155"/>
                  </a:lnTo>
                  <a:lnTo>
                    <a:pt x="942755" y="186042"/>
                  </a:lnTo>
                  <a:lnTo>
                    <a:pt x="942429" y="194514"/>
                  </a:lnTo>
                  <a:lnTo>
                    <a:pt x="942755" y="200541"/>
                  </a:lnTo>
                  <a:lnTo>
                    <a:pt x="938194" y="206243"/>
                  </a:lnTo>
                  <a:lnTo>
                    <a:pt x="934447" y="214226"/>
                  </a:lnTo>
                  <a:lnTo>
                    <a:pt x="933469" y="220253"/>
                  </a:lnTo>
                  <a:lnTo>
                    <a:pt x="931352" y="224652"/>
                  </a:lnTo>
                  <a:lnTo>
                    <a:pt x="917016" y="237522"/>
                  </a:lnTo>
                  <a:lnTo>
                    <a:pt x="914083" y="237522"/>
                  </a:lnTo>
                  <a:lnTo>
                    <a:pt x="912780" y="236544"/>
                  </a:lnTo>
                  <a:lnTo>
                    <a:pt x="908707" y="238173"/>
                  </a:lnTo>
                  <a:lnTo>
                    <a:pt x="905612" y="241594"/>
                  </a:lnTo>
                  <a:lnTo>
                    <a:pt x="902517" y="240128"/>
                  </a:lnTo>
                  <a:lnTo>
                    <a:pt x="900725" y="240780"/>
                  </a:lnTo>
                  <a:lnTo>
                    <a:pt x="897303" y="246319"/>
                  </a:lnTo>
                  <a:lnTo>
                    <a:pt x="896978" y="249740"/>
                  </a:lnTo>
                  <a:lnTo>
                    <a:pt x="892742" y="251695"/>
                  </a:lnTo>
                  <a:lnTo>
                    <a:pt x="889647" y="255442"/>
                  </a:lnTo>
                  <a:lnTo>
                    <a:pt x="886877" y="254627"/>
                  </a:lnTo>
                  <a:lnTo>
                    <a:pt x="885900" y="252998"/>
                  </a:lnTo>
                  <a:lnTo>
                    <a:pt x="884434" y="255442"/>
                  </a:lnTo>
                  <a:lnTo>
                    <a:pt x="885085" y="258537"/>
                  </a:lnTo>
                  <a:lnTo>
                    <a:pt x="883293" y="262284"/>
                  </a:lnTo>
                  <a:lnTo>
                    <a:pt x="878895" y="268800"/>
                  </a:lnTo>
                  <a:lnTo>
                    <a:pt x="874496" y="271407"/>
                  </a:lnTo>
                  <a:lnTo>
                    <a:pt x="872704" y="274665"/>
                  </a:lnTo>
                  <a:lnTo>
                    <a:pt x="865862" y="280530"/>
                  </a:lnTo>
                  <a:lnTo>
                    <a:pt x="860812" y="285091"/>
                  </a:lnTo>
                  <a:lnTo>
                    <a:pt x="857065" y="286068"/>
                  </a:lnTo>
                  <a:lnTo>
                    <a:pt x="850874" y="290793"/>
                  </a:lnTo>
                  <a:lnTo>
                    <a:pt x="849734" y="293236"/>
                  </a:lnTo>
                  <a:lnTo>
                    <a:pt x="845661" y="293236"/>
                  </a:lnTo>
                  <a:lnTo>
                    <a:pt x="845661" y="297798"/>
                  </a:lnTo>
                  <a:lnTo>
                    <a:pt x="845987" y="302034"/>
                  </a:lnTo>
                  <a:lnTo>
                    <a:pt x="843706" y="307572"/>
                  </a:lnTo>
                  <a:lnTo>
                    <a:pt x="844847" y="310016"/>
                  </a:lnTo>
                  <a:lnTo>
                    <a:pt x="846313" y="307410"/>
                  </a:lnTo>
                  <a:lnTo>
                    <a:pt x="847290" y="303663"/>
                  </a:lnTo>
                  <a:lnTo>
                    <a:pt x="852015" y="298124"/>
                  </a:lnTo>
                  <a:lnTo>
                    <a:pt x="855436" y="292748"/>
                  </a:lnTo>
                  <a:lnTo>
                    <a:pt x="860486" y="289490"/>
                  </a:lnTo>
                  <a:lnTo>
                    <a:pt x="862115" y="289490"/>
                  </a:lnTo>
                  <a:lnTo>
                    <a:pt x="863419" y="291444"/>
                  </a:lnTo>
                  <a:lnTo>
                    <a:pt x="867491" y="286720"/>
                  </a:lnTo>
                  <a:lnTo>
                    <a:pt x="876288" y="279878"/>
                  </a:lnTo>
                  <a:lnTo>
                    <a:pt x="879058" y="279226"/>
                  </a:lnTo>
                  <a:lnTo>
                    <a:pt x="879872" y="274991"/>
                  </a:lnTo>
                  <a:lnTo>
                    <a:pt x="888506" y="267986"/>
                  </a:lnTo>
                  <a:lnTo>
                    <a:pt x="894208" y="262121"/>
                  </a:lnTo>
                  <a:lnTo>
                    <a:pt x="897955" y="260329"/>
                  </a:lnTo>
                  <a:lnTo>
                    <a:pt x="900887" y="261143"/>
                  </a:lnTo>
                  <a:lnTo>
                    <a:pt x="905449" y="261143"/>
                  </a:lnTo>
                  <a:cubicBezTo>
                    <a:pt x="905449" y="261143"/>
                    <a:pt x="908544" y="258211"/>
                    <a:pt x="908544" y="258211"/>
                  </a:cubicBezTo>
                  <a:lnTo>
                    <a:pt x="909033" y="255767"/>
                  </a:lnTo>
                  <a:lnTo>
                    <a:pt x="914246" y="255767"/>
                  </a:lnTo>
                  <a:cubicBezTo>
                    <a:pt x="914246" y="255767"/>
                    <a:pt x="921251" y="255604"/>
                    <a:pt x="921251" y="255604"/>
                  </a:cubicBezTo>
                  <a:lnTo>
                    <a:pt x="928093" y="251858"/>
                  </a:lnTo>
                  <a:lnTo>
                    <a:pt x="932492" y="247296"/>
                  </a:lnTo>
                  <a:lnTo>
                    <a:pt x="936728" y="247296"/>
                  </a:lnTo>
                  <a:lnTo>
                    <a:pt x="940963" y="244201"/>
                  </a:lnTo>
                  <a:lnTo>
                    <a:pt x="943733" y="241594"/>
                  </a:lnTo>
                  <a:lnTo>
                    <a:pt x="947154" y="241106"/>
                  </a:lnTo>
                  <a:lnTo>
                    <a:pt x="950738" y="237359"/>
                  </a:lnTo>
                  <a:lnTo>
                    <a:pt x="957580" y="230842"/>
                  </a:lnTo>
                  <a:lnTo>
                    <a:pt x="959209" y="225629"/>
                  </a:lnTo>
                  <a:lnTo>
                    <a:pt x="959209" y="222371"/>
                  </a:lnTo>
                  <a:lnTo>
                    <a:pt x="962141" y="219113"/>
                  </a:lnTo>
                  <a:lnTo>
                    <a:pt x="963770" y="216506"/>
                  </a:lnTo>
                  <a:lnTo>
                    <a:pt x="966377" y="214877"/>
                  </a:lnTo>
                  <a:lnTo>
                    <a:pt x="966377" y="217810"/>
                  </a:lnTo>
                  <a:cubicBezTo>
                    <a:pt x="966377" y="217810"/>
                    <a:pt x="968169" y="221231"/>
                    <a:pt x="968169" y="221231"/>
                  </a:cubicBezTo>
                  <a:lnTo>
                    <a:pt x="968169" y="224652"/>
                  </a:lnTo>
                  <a:lnTo>
                    <a:pt x="967029" y="228073"/>
                  </a:lnTo>
                  <a:lnTo>
                    <a:pt x="968984" y="231331"/>
                  </a:lnTo>
                  <a:lnTo>
                    <a:pt x="969961" y="236870"/>
                  </a:lnTo>
                  <a:lnTo>
                    <a:pt x="968821" y="239151"/>
                  </a:lnTo>
                  <a:lnTo>
                    <a:pt x="968821" y="242246"/>
                  </a:lnTo>
                  <a:cubicBezTo>
                    <a:pt x="968821" y="242246"/>
                    <a:pt x="970450" y="239639"/>
                    <a:pt x="970450" y="239639"/>
                  </a:cubicBezTo>
                  <a:lnTo>
                    <a:pt x="971916" y="235404"/>
                  </a:lnTo>
                  <a:lnTo>
                    <a:pt x="973871" y="231820"/>
                  </a:lnTo>
                  <a:lnTo>
                    <a:pt x="972730" y="230191"/>
                  </a:lnTo>
                  <a:lnTo>
                    <a:pt x="972730" y="225955"/>
                  </a:lnTo>
                  <a:lnTo>
                    <a:pt x="974685" y="223674"/>
                  </a:lnTo>
                  <a:lnTo>
                    <a:pt x="976640" y="224815"/>
                  </a:lnTo>
                  <a:lnTo>
                    <a:pt x="976966" y="228236"/>
                  </a:lnTo>
                  <a:lnTo>
                    <a:pt x="979736" y="231168"/>
                  </a:lnTo>
                  <a:lnTo>
                    <a:pt x="984134" y="231168"/>
                  </a:lnTo>
                  <a:lnTo>
                    <a:pt x="989021" y="228887"/>
                  </a:lnTo>
                  <a:lnTo>
                    <a:pt x="990162" y="225955"/>
                  </a:lnTo>
                  <a:lnTo>
                    <a:pt x="988695" y="224000"/>
                  </a:lnTo>
                  <a:lnTo>
                    <a:pt x="988695" y="221394"/>
                  </a:lnTo>
                  <a:lnTo>
                    <a:pt x="991465" y="221394"/>
                  </a:lnTo>
                  <a:lnTo>
                    <a:pt x="993257" y="218135"/>
                  </a:lnTo>
                  <a:lnTo>
                    <a:pt x="993746" y="213085"/>
                  </a:lnTo>
                  <a:lnTo>
                    <a:pt x="992931" y="209175"/>
                  </a:lnTo>
                  <a:lnTo>
                    <a:pt x="994397" y="206243"/>
                  </a:lnTo>
                  <a:lnTo>
                    <a:pt x="997330" y="205428"/>
                  </a:lnTo>
                  <a:lnTo>
                    <a:pt x="998470" y="207546"/>
                  </a:lnTo>
                  <a:lnTo>
                    <a:pt x="1003032" y="209827"/>
                  </a:lnTo>
                  <a:lnTo>
                    <a:pt x="1008082" y="207709"/>
                  </a:lnTo>
                  <a:lnTo>
                    <a:pt x="1010525" y="204777"/>
                  </a:lnTo>
                  <a:lnTo>
                    <a:pt x="1017368" y="202496"/>
                  </a:lnTo>
                  <a:lnTo>
                    <a:pt x="1023395" y="202496"/>
                  </a:lnTo>
                  <a:cubicBezTo>
                    <a:pt x="1023395" y="202496"/>
                    <a:pt x="1026328" y="201356"/>
                    <a:pt x="1026328" y="201356"/>
                  </a:cubicBezTo>
                  <a:lnTo>
                    <a:pt x="1032355" y="202985"/>
                  </a:lnTo>
                  <a:lnTo>
                    <a:pt x="1039035" y="206243"/>
                  </a:lnTo>
                  <a:lnTo>
                    <a:pt x="1046202" y="208524"/>
                  </a:lnTo>
                  <a:lnTo>
                    <a:pt x="1051416" y="209012"/>
                  </a:lnTo>
                  <a:lnTo>
                    <a:pt x="1055814" y="211130"/>
                  </a:lnTo>
                  <a:lnTo>
                    <a:pt x="1058746" y="214388"/>
                  </a:lnTo>
                  <a:lnTo>
                    <a:pt x="1061516" y="214877"/>
                  </a:lnTo>
                  <a:lnTo>
                    <a:pt x="1066566" y="217158"/>
                  </a:lnTo>
                  <a:lnTo>
                    <a:pt x="1068358" y="221068"/>
                  </a:lnTo>
                  <a:lnTo>
                    <a:pt x="1068847" y="223674"/>
                  </a:lnTo>
                  <a:lnTo>
                    <a:pt x="1076341" y="230028"/>
                  </a:lnTo>
                  <a:lnTo>
                    <a:pt x="1077644" y="233123"/>
                  </a:lnTo>
                  <a:lnTo>
                    <a:pt x="1081228" y="236707"/>
                  </a:lnTo>
                  <a:lnTo>
                    <a:pt x="1083509" y="243875"/>
                  </a:lnTo>
                  <a:lnTo>
                    <a:pt x="1083020" y="249414"/>
                  </a:lnTo>
                  <a:lnTo>
                    <a:pt x="1081065" y="252672"/>
                  </a:lnTo>
                  <a:lnTo>
                    <a:pt x="1076178" y="254464"/>
                  </a:lnTo>
                  <a:lnTo>
                    <a:pt x="1072105" y="257722"/>
                  </a:lnTo>
                  <a:lnTo>
                    <a:pt x="1070802" y="260166"/>
                  </a:lnTo>
                  <a:lnTo>
                    <a:pt x="1067869" y="261306"/>
                  </a:lnTo>
                  <a:lnTo>
                    <a:pt x="1063471" y="264402"/>
                  </a:lnTo>
                  <a:lnTo>
                    <a:pt x="1058258" y="271732"/>
                  </a:lnTo>
                  <a:lnTo>
                    <a:pt x="1055814" y="275154"/>
                  </a:lnTo>
                  <a:lnTo>
                    <a:pt x="1053859" y="275968"/>
                  </a:lnTo>
                  <a:lnTo>
                    <a:pt x="1050275" y="274828"/>
                  </a:lnTo>
                  <a:lnTo>
                    <a:pt x="1043270" y="270592"/>
                  </a:lnTo>
                  <a:lnTo>
                    <a:pt x="1040501" y="270592"/>
                  </a:lnTo>
                  <a:lnTo>
                    <a:pt x="1036917" y="273362"/>
                  </a:lnTo>
                  <a:lnTo>
                    <a:pt x="1034310" y="277760"/>
                  </a:lnTo>
                  <a:lnTo>
                    <a:pt x="1034310" y="279715"/>
                  </a:lnTo>
                  <a:cubicBezTo>
                    <a:pt x="1034310" y="279715"/>
                    <a:pt x="1036102" y="281181"/>
                    <a:pt x="1036102" y="281181"/>
                  </a:cubicBezTo>
                  <a:lnTo>
                    <a:pt x="1036102" y="283788"/>
                  </a:lnTo>
                  <a:cubicBezTo>
                    <a:pt x="1036102" y="283788"/>
                    <a:pt x="1039035" y="287698"/>
                    <a:pt x="1039035" y="287698"/>
                  </a:cubicBezTo>
                  <a:lnTo>
                    <a:pt x="1040827" y="289164"/>
                  </a:lnTo>
                  <a:lnTo>
                    <a:pt x="1040827" y="292096"/>
                  </a:lnTo>
                  <a:lnTo>
                    <a:pt x="1039197" y="295028"/>
                  </a:lnTo>
                  <a:lnTo>
                    <a:pt x="1035451" y="294703"/>
                  </a:lnTo>
                  <a:lnTo>
                    <a:pt x="1032355" y="295028"/>
                  </a:lnTo>
                  <a:lnTo>
                    <a:pt x="1024698" y="298938"/>
                  </a:lnTo>
                  <a:lnTo>
                    <a:pt x="1020137" y="302522"/>
                  </a:lnTo>
                  <a:lnTo>
                    <a:pt x="1015901" y="302522"/>
                  </a:lnTo>
                  <a:cubicBezTo>
                    <a:pt x="1015901" y="302522"/>
                    <a:pt x="1012480" y="303011"/>
                    <a:pt x="1012480" y="303011"/>
                  </a:cubicBezTo>
                  <a:lnTo>
                    <a:pt x="1009548" y="300893"/>
                  </a:lnTo>
                  <a:lnTo>
                    <a:pt x="1005475" y="299264"/>
                  </a:lnTo>
                  <a:lnTo>
                    <a:pt x="1001240" y="298938"/>
                  </a:lnTo>
                  <a:lnTo>
                    <a:pt x="999285" y="297472"/>
                  </a:lnTo>
                  <a:lnTo>
                    <a:pt x="996352" y="296820"/>
                  </a:lnTo>
                  <a:lnTo>
                    <a:pt x="995701" y="295843"/>
                  </a:lnTo>
                  <a:lnTo>
                    <a:pt x="993420" y="295517"/>
                  </a:lnTo>
                  <a:lnTo>
                    <a:pt x="991791" y="296332"/>
                  </a:lnTo>
                  <a:lnTo>
                    <a:pt x="990813" y="298287"/>
                  </a:lnTo>
                  <a:lnTo>
                    <a:pt x="988859" y="298287"/>
                  </a:lnTo>
                  <a:cubicBezTo>
                    <a:pt x="988859" y="298287"/>
                    <a:pt x="985763" y="297798"/>
                    <a:pt x="985763" y="297798"/>
                  </a:cubicBezTo>
                  <a:lnTo>
                    <a:pt x="983971" y="298938"/>
                  </a:lnTo>
                  <a:lnTo>
                    <a:pt x="981690" y="301708"/>
                  </a:lnTo>
                  <a:lnTo>
                    <a:pt x="979084" y="301708"/>
                  </a:lnTo>
                  <a:lnTo>
                    <a:pt x="976477" y="301219"/>
                  </a:lnTo>
                  <a:lnTo>
                    <a:pt x="974034" y="303011"/>
                  </a:lnTo>
                  <a:lnTo>
                    <a:pt x="971427" y="303988"/>
                  </a:lnTo>
                  <a:lnTo>
                    <a:pt x="967029" y="303174"/>
                  </a:lnTo>
                  <a:lnTo>
                    <a:pt x="962956" y="301545"/>
                  </a:lnTo>
                  <a:lnTo>
                    <a:pt x="957580" y="302685"/>
                  </a:lnTo>
                  <a:lnTo>
                    <a:pt x="953507" y="305455"/>
                  </a:lnTo>
                  <a:lnTo>
                    <a:pt x="949271" y="304477"/>
                  </a:lnTo>
                  <a:lnTo>
                    <a:pt x="945199" y="304966"/>
                  </a:lnTo>
                  <a:lnTo>
                    <a:pt x="949435" y="306758"/>
                  </a:lnTo>
                  <a:lnTo>
                    <a:pt x="953181" y="306758"/>
                  </a:lnTo>
                  <a:cubicBezTo>
                    <a:pt x="953181" y="306758"/>
                    <a:pt x="963119" y="306432"/>
                    <a:pt x="963119" y="306432"/>
                  </a:cubicBezTo>
                  <a:lnTo>
                    <a:pt x="966214" y="304803"/>
                  </a:lnTo>
                  <a:lnTo>
                    <a:pt x="969961" y="304803"/>
                  </a:lnTo>
                  <a:cubicBezTo>
                    <a:pt x="969961" y="304803"/>
                    <a:pt x="974034" y="307247"/>
                    <a:pt x="974034" y="307247"/>
                  </a:cubicBezTo>
                  <a:lnTo>
                    <a:pt x="979736" y="308550"/>
                  </a:lnTo>
                  <a:lnTo>
                    <a:pt x="989999" y="308224"/>
                  </a:lnTo>
                  <a:lnTo>
                    <a:pt x="993583" y="311156"/>
                  </a:lnTo>
                  <a:lnTo>
                    <a:pt x="995538" y="311156"/>
                  </a:lnTo>
                  <a:cubicBezTo>
                    <a:pt x="995538" y="311156"/>
                    <a:pt x="998470" y="307898"/>
                    <a:pt x="998470" y="307898"/>
                  </a:cubicBezTo>
                  <a:lnTo>
                    <a:pt x="1002380" y="307410"/>
                  </a:lnTo>
                  <a:lnTo>
                    <a:pt x="1005149" y="308550"/>
                  </a:lnTo>
                  <a:lnTo>
                    <a:pt x="1006941" y="311156"/>
                  </a:lnTo>
                  <a:lnTo>
                    <a:pt x="1011503" y="312623"/>
                  </a:lnTo>
                  <a:lnTo>
                    <a:pt x="1013946" y="315881"/>
                  </a:lnTo>
                  <a:lnTo>
                    <a:pt x="1013946" y="319302"/>
                  </a:lnTo>
                  <a:cubicBezTo>
                    <a:pt x="1013946" y="319302"/>
                    <a:pt x="1010200" y="323049"/>
                    <a:pt x="1010200" y="323049"/>
                  </a:cubicBezTo>
                  <a:lnTo>
                    <a:pt x="1006290" y="323700"/>
                  </a:lnTo>
                  <a:lnTo>
                    <a:pt x="1004335" y="323700"/>
                  </a:lnTo>
                  <a:lnTo>
                    <a:pt x="1005312" y="326144"/>
                  </a:lnTo>
                  <a:lnTo>
                    <a:pt x="1004986" y="329891"/>
                  </a:lnTo>
                  <a:lnTo>
                    <a:pt x="1000751" y="332498"/>
                  </a:lnTo>
                  <a:lnTo>
                    <a:pt x="991465" y="334941"/>
                  </a:lnTo>
                  <a:lnTo>
                    <a:pt x="987067" y="333964"/>
                  </a:lnTo>
                  <a:lnTo>
                    <a:pt x="982342" y="335430"/>
                  </a:lnTo>
                  <a:lnTo>
                    <a:pt x="973219" y="334941"/>
                  </a:lnTo>
                  <a:lnTo>
                    <a:pt x="970287" y="332009"/>
                  </a:lnTo>
                  <a:lnTo>
                    <a:pt x="960349" y="324352"/>
                  </a:lnTo>
                  <a:lnTo>
                    <a:pt x="953996" y="323538"/>
                  </a:lnTo>
                  <a:lnTo>
                    <a:pt x="950249" y="323538"/>
                  </a:lnTo>
                  <a:cubicBezTo>
                    <a:pt x="950249" y="323538"/>
                    <a:pt x="946013" y="327122"/>
                    <a:pt x="946013" y="327122"/>
                  </a:cubicBezTo>
                  <a:lnTo>
                    <a:pt x="942918" y="333149"/>
                  </a:lnTo>
                  <a:lnTo>
                    <a:pt x="937705" y="336244"/>
                  </a:lnTo>
                  <a:lnTo>
                    <a:pt x="935587" y="338851"/>
                  </a:lnTo>
                  <a:lnTo>
                    <a:pt x="932166" y="339503"/>
                  </a:lnTo>
                  <a:lnTo>
                    <a:pt x="934773" y="340969"/>
                  </a:lnTo>
                  <a:lnTo>
                    <a:pt x="938357" y="341295"/>
                  </a:lnTo>
                  <a:lnTo>
                    <a:pt x="939334" y="343901"/>
                  </a:lnTo>
                  <a:lnTo>
                    <a:pt x="939334" y="348137"/>
                  </a:lnTo>
                  <a:cubicBezTo>
                    <a:pt x="939334" y="348137"/>
                    <a:pt x="937542" y="349603"/>
                    <a:pt x="937542" y="349603"/>
                  </a:cubicBezTo>
                  <a:lnTo>
                    <a:pt x="934284" y="349603"/>
                  </a:lnTo>
                  <a:cubicBezTo>
                    <a:pt x="934284" y="349603"/>
                    <a:pt x="934284" y="352047"/>
                    <a:pt x="934284" y="352047"/>
                  </a:cubicBezTo>
                  <a:lnTo>
                    <a:pt x="936239" y="354653"/>
                  </a:lnTo>
                  <a:lnTo>
                    <a:pt x="940800" y="356445"/>
                  </a:lnTo>
                  <a:lnTo>
                    <a:pt x="943407" y="355631"/>
                  </a:lnTo>
                  <a:lnTo>
                    <a:pt x="944710" y="353187"/>
                  </a:lnTo>
                  <a:lnTo>
                    <a:pt x="949923" y="350255"/>
                  </a:lnTo>
                  <a:lnTo>
                    <a:pt x="953344" y="346019"/>
                  </a:lnTo>
                  <a:lnTo>
                    <a:pt x="959046" y="343575"/>
                  </a:lnTo>
                  <a:lnTo>
                    <a:pt x="966377" y="341621"/>
                  </a:lnTo>
                  <a:lnTo>
                    <a:pt x="973056" y="339340"/>
                  </a:lnTo>
                  <a:lnTo>
                    <a:pt x="976803" y="338688"/>
                  </a:lnTo>
                  <a:lnTo>
                    <a:pt x="979084" y="340480"/>
                  </a:lnTo>
                  <a:lnTo>
                    <a:pt x="981202" y="342272"/>
                  </a:lnTo>
                  <a:lnTo>
                    <a:pt x="985926" y="343575"/>
                  </a:lnTo>
                  <a:lnTo>
                    <a:pt x="989021" y="346182"/>
                  </a:lnTo>
                  <a:lnTo>
                    <a:pt x="989673" y="348137"/>
                  </a:lnTo>
                  <a:lnTo>
                    <a:pt x="988207" y="349766"/>
                  </a:lnTo>
                  <a:lnTo>
                    <a:pt x="982505" y="354816"/>
                  </a:lnTo>
                  <a:lnTo>
                    <a:pt x="979736" y="360681"/>
                  </a:lnTo>
                  <a:lnTo>
                    <a:pt x="976152" y="364591"/>
                  </a:lnTo>
                  <a:lnTo>
                    <a:pt x="974360" y="368826"/>
                  </a:lnTo>
                  <a:lnTo>
                    <a:pt x="967192" y="374365"/>
                  </a:lnTo>
                  <a:lnTo>
                    <a:pt x="963119" y="381045"/>
                  </a:lnTo>
                  <a:lnTo>
                    <a:pt x="954973" y="392448"/>
                  </a:lnTo>
                  <a:lnTo>
                    <a:pt x="951715" y="397824"/>
                  </a:lnTo>
                  <a:lnTo>
                    <a:pt x="948131" y="401082"/>
                  </a:lnTo>
                  <a:lnTo>
                    <a:pt x="948131" y="407762"/>
                  </a:lnTo>
                  <a:cubicBezTo>
                    <a:pt x="948131" y="407762"/>
                    <a:pt x="946665" y="413138"/>
                    <a:pt x="946665" y="413138"/>
                  </a:cubicBezTo>
                  <a:lnTo>
                    <a:pt x="946339" y="416396"/>
                  </a:lnTo>
                  <a:lnTo>
                    <a:pt x="943081" y="420143"/>
                  </a:lnTo>
                  <a:lnTo>
                    <a:pt x="943081" y="426822"/>
                  </a:lnTo>
                  <a:cubicBezTo>
                    <a:pt x="943081" y="426822"/>
                    <a:pt x="940637" y="433990"/>
                    <a:pt x="940637" y="433990"/>
                  </a:cubicBezTo>
                  <a:lnTo>
                    <a:pt x="938194" y="442787"/>
                  </a:lnTo>
                  <a:lnTo>
                    <a:pt x="940474" y="446045"/>
                  </a:lnTo>
                  <a:lnTo>
                    <a:pt x="941126" y="451258"/>
                  </a:lnTo>
                  <a:lnTo>
                    <a:pt x="939823" y="458426"/>
                  </a:lnTo>
                  <a:lnTo>
                    <a:pt x="936076" y="461033"/>
                  </a:lnTo>
                  <a:lnTo>
                    <a:pt x="933144" y="464128"/>
                  </a:lnTo>
                  <a:lnTo>
                    <a:pt x="934284" y="469993"/>
                  </a:lnTo>
                  <a:lnTo>
                    <a:pt x="933469" y="472599"/>
                  </a:lnTo>
                  <a:lnTo>
                    <a:pt x="930863" y="476183"/>
                  </a:lnTo>
                  <a:lnTo>
                    <a:pt x="930048" y="482048"/>
                  </a:lnTo>
                  <a:lnTo>
                    <a:pt x="928093" y="487750"/>
                  </a:lnTo>
                  <a:lnTo>
                    <a:pt x="923858" y="491497"/>
                  </a:lnTo>
                  <a:lnTo>
                    <a:pt x="920437" y="490682"/>
                  </a:lnTo>
                  <a:lnTo>
                    <a:pt x="919459" y="487587"/>
                  </a:lnTo>
                  <a:lnTo>
                    <a:pt x="919459" y="484655"/>
                  </a:lnTo>
                  <a:lnTo>
                    <a:pt x="916364" y="482700"/>
                  </a:lnTo>
                  <a:lnTo>
                    <a:pt x="914409" y="482211"/>
                  </a:lnTo>
                  <a:lnTo>
                    <a:pt x="918156" y="479767"/>
                  </a:lnTo>
                  <a:lnTo>
                    <a:pt x="916364" y="477487"/>
                  </a:lnTo>
                  <a:lnTo>
                    <a:pt x="913269" y="476346"/>
                  </a:lnTo>
                  <a:lnTo>
                    <a:pt x="910825" y="477813"/>
                  </a:lnTo>
                  <a:lnTo>
                    <a:pt x="908055" y="477813"/>
                  </a:lnTo>
                  <a:cubicBezTo>
                    <a:pt x="908055" y="477813"/>
                    <a:pt x="906101" y="480093"/>
                    <a:pt x="906101" y="480093"/>
                  </a:cubicBezTo>
                  <a:lnTo>
                    <a:pt x="906589" y="482048"/>
                  </a:lnTo>
                  <a:lnTo>
                    <a:pt x="908219" y="483189"/>
                  </a:lnTo>
                  <a:lnTo>
                    <a:pt x="907730" y="485958"/>
                  </a:lnTo>
                  <a:lnTo>
                    <a:pt x="905612" y="487750"/>
                  </a:lnTo>
                  <a:lnTo>
                    <a:pt x="905612" y="490357"/>
                  </a:lnTo>
                  <a:cubicBezTo>
                    <a:pt x="905612" y="490357"/>
                    <a:pt x="908707" y="493289"/>
                    <a:pt x="908707" y="493289"/>
                  </a:cubicBezTo>
                  <a:lnTo>
                    <a:pt x="911965" y="494755"/>
                  </a:lnTo>
                  <a:lnTo>
                    <a:pt x="914572" y="498339"/>
                  </a:lnTo>
                  <a:lnTo>
                    <a:pt x="917016" y="501434"/>
                  </a:lnTo>
                  <a:lnTo>
                    <a:pt x="918482" y="507299"/>
                  </a:lnTo>
                  <a:lnTo>
                    <a:pt x="923043" y="508928"/>
                  </a:lnTo>
                  <a:lnTo>
                    <a:pt x="927116" y="510883"/>
                  </a:lnTo>
                  <a:lnTo>
                    <a:pt x="932166" y="515607"/>
                  </a:lnTo>
                  <a:lnTo>
                    <a:pt x="934447" y="521961"/>
                  </a:lnTo>
                  <a:lnTo>
                    <a:pt x="932655" y="524730"/>
                  </a:lnTo>
                  <a:lnTo>
                    <a:pt x="929722" y="525382"/>
                  </a:lnTo>
                  <a:lnTo>
                    <a:pt x="925976" y="522775"/>
                  </a:lnTo>
                  <a:lnTo>
                    <a:pt x="920600" y="517237"/>
                  </a:lnTo>
                  <a:lnTo>
                    <a:pt x="919948" y="514467"/>
                  </a:lnTo>
                  <a:lnTo>
                    <a:pt x="917178" y="513490"/>
                  </a:lnTo>
                  <a:lnTo>
                    <a:pt x="915549" y="511861"/>
                  </a:lnTo>
                  <a:lnTo>
                    <a:pt x="913594" y="513490"/>
                  </a:lnTo>
                  <a:lnTo>
                    <a:pt x="912780" y="515445"/>
                  </a:lnTo>
                  <a:lnTo>
                    <a:pt x="913920" y="518703"/>
                  </a:lnTo>
                  <a:lnTo>
                    <a:pt x="916201" y="521961"/>
                  </a:lnTo>
                  <a:lnTo>
                    <a:pt x="916201" y="524242"/>
                  </a:lnTo>
                  <a:lnTo>
                    <a:pt x="912780" y="523427"/>
                  </a:lnTo>
                  <a:lnTo>
                    <a:pt x="911640" y="522613"/>
                  </a:lnTo>
                  <a:lnTo>
                    <a:pt x="910499" y="524242"/>
                  </a:lnTo>
                  <a:lnTo>
                    <a:pt x="911802" y="526197"/>
                  </a:lnTo>
                  <a:lnTo>
                    <a:pt x="915061" y="528477"/>
                  </a:lnTo>
                  <a:lnTo>
                    <a:pt x="914735" y="530106"/>
                  </a:lnTo>
                  <a:lnTo>
                    <a:pt x="912943" y="531084"/>
                  </a:lnTo>
                  <a:lnTo>
                    <a:pt x="914572" y="532876"/>
                  </a:lnTo>
                  <a:lnTo>
                    <a:pt x="917667" y="532387"/>
                  </a:lnTo>
                  <a:lnTo>
                    <a:pt x="922228" y="534016"/>
                  </a:lnTo>
                  <a:lnTo>
                    <a:pt x="923858" y="536134"/>
                  </a:lnTo>
                  <a:lnTo>
                    <a:pt x="923858" y="539881"/>
                  </a:lnTo>
                  <a:cubicBezTo>
                    <a:pt x="923858" y="539881"/>
                    <a:pt x="923043" y="541673"/>
                    <a:pt x="923043" y="541673"/>
                  </a:cubicBezTo>
                  <a:lnTo>
                    <a:pt x="924835" y="543465"/>
                  </a:lnTo>
                  <a:lnTo>
                    <a:pt x="927768" y="542325"/>
                  </a:lnTo>
                  <a:lnTo>
                    <a:pt x="932329" y="537437"/>
                  </a:lnTo>
                  <a:lnTo>
                    <a:pt x="934284" y="534179"/>
                  </a:lnTo>
                  <a:lnTo>
                    <a:pt x="936076" y="533365"/>
                  </a:lnTo>
                  <a:lnTo>
                    <a:pt x="936402" y="535319"/>
                  </a:lnTo>
                  <a:lnTo>
                    <a:pt x="937705" y="537437"/>
                  </a:lnTo>
                  <a:lnTo>
                    <a:pt x="939660" y="537437"/>
                  </a:lnTo>
                  <a:cubicBezTo>
                    <a:pt x="939660" y="537437"/>
                    <a:pt x="942592" y="539881"/>
                    <a:pt x="942592" y="539881"/>
                  </a:cubicBezTo>
                  <a:lnTo>
                    <a:pt x="946502" y="541673"/>
                  </a:lnTo>
                  <a:lnTo>
                    <a:pt x="947805" y="545746"/>
                  </a:lnTo>
                  <a:lnTo>
                    <a:pt x="947479" y="549330"/>
                  </a:lnTo>
                  <a:lnTo>
                    <a:pt x="945851" y="551285"/>
                  </a:lnTo>
                  <a:lnTo>
                    <a:pt x="945199" y="557964"/>
                  </a:lnTo>
                  <a:lnTo>
                    <a:pt x="943895" y="563829"/>
                  </a:lnTo>
                  <a:lnTo>
                    <a:pt x="944384" y="566272"/>
                  </a:lnTo>
                  <a:lnTo>
                    <a:pt x="942429" y="572952"/>
                  </a:lnTo>
                  <a:lnTo>
                    <a:pt x="939986" y="576047"/>
                  </a:lnTo>
                  <a:lnTo>
                    <a:pt x="939334" y="580445"/>
                  </a:lnTo>
                  <a:lnTo>
                    <a:pt x="938357" y="582726"/>
                  </a:lnTo>
                  <a:lnTo>
                    <a:pt x="936728" y="581586"/>
                  </a:lnTo>
                  <a:lnTo>
                    <a:pt x="934284" y="577839"/>
                  </a:lnTo>
                  <a:lnTo>
                    <a:pt x="929071" y="576047"/>
                  </a:lnTo>
                  <a:lnTo>
                    <a:pt x="926627" y="572789"/>
                  </a:lnTo>
                  <a:lnTo>
                    <a:pt x="924346" y="571974"/>
                  </a:lnTo>
                  <a:lnTo>
                    <a:pt x="922717" y="572789"/>
                  </a:lnTo>
                  <a:lnTo>
                    <a:pt x="918808" y="571811"/>
                  </a:lnTo>
                  <a:lnTo>
                    <a:pt x="917830" y="569693"/>
                  </a:lnTo>
                  <a:lnTo>
                    <a:pt x="918645" y="566435"/>
                  </a:lnTo>
                  <a:lnTo>
                    <a:pt x="916038" y="563177"/>
                  </a:lnTo>
                  <a:lnTo>
                    <a:pt x="913757" y="562525"/>
                  </a:lnTo>
                  <a:lnTo>
                    <a:pt x="911965" y="563666"/>
                  </a:lnTo>
                  <a:lnTo>
                    <a:pt x="909522" y="562688"/>
                  </a:lnTo>
                  <a:lnTo>
                    <a:pt x="906263" y="559104"/>
                  </a:lnTo>
                  <a:lnTo>
                    <a:pt x="901702" y="558778"/>
                  </a:lnTo>
                  <a:lnTo>
                    <a:pt x="898118" y="560245"/>
                  </a:lnTo>
                  <a:lnTo>
                    <a:pt x="899421" y="561874"/>
                  </a:lnTo>
                  <a:lnTo>
                    <a:pt x="899747" y="564480"/>
                  </a:lnTo>
                  <a:lnTo>
                    <a:pt x="897303" y="564480"/>
                  </a:lnTo>
                  <a:cubicBezTo>
                    <a:pt x="897303" y="564480"/>
                    <a:pt x="895349" y="563177"/>
                    <a:pt x="895349" y="563177"/>
                  </a:cubicBezTo>
                  <a:lnTo>
                    <a:pt x="890624" y="562851"/>
                  </a:lnTo>
                  <a:lnTo>
                    <a:pt x="887366" y="564154"/>
                  </a:lnTo>
                  <a:lnTo>
                    <a:pt x="888506" y="565295"/>
                  </a:lnTo>
                  <a:lnTo>
                    <a:pt x="891765" y="565295"/>
                  </a:lnTo>
                  <a:lnTo>
                    <a:pt x="896163" y="566435"/>
                  </a:lnTo>
                  <a:lnTo>
                    <a:pt x="897466" y="567901"/>
                  </a:lnTo>
                  <a:lnTo>
                    <a:pt x="897141" y="569367"/>
                  </a:lnTo>
                  <a:lnTo>
                    <a:pt x="893719" y="570345"/>
                  </a:lnTo>
                  <a:lnTo>
                    <a:pt x="887692" y="575884"/>
                  </a:lnTo>
                  <a:lnTo>
                    <a:pt x="883782" y="578979"/>
                  </a:lnTo>
                  <a:lnTo>
                    <a:pt x="881013" y="578327"/>
                  </a:lnTo>
                  <a:lnTo>
                    <a:pt x="879220" y="575721"/>
                  </a:lnTo>
                  <a:lnTo>
                    <a:pt x="879220" y="572463"/>
                  </a:lnTo>
                  <a:cubicBezTo>
                    <a:pt x="879220" y="572463"/>
                    <a:pt x="878243" y="571160"/>
                    <a:pt x="878243" y="571160"/>
                  </a:cubicBezTo>
                  <a:lnTo>
                    <a:pt x="875637" y="572300"/>
                  </a:lnTo>
                  <a:lnTo>
                    <a:pt x="875962" y="575884"/>
                  </a:lnTo>
                  <a:lnTo>
                    <a:pt x="876940" y="578979"/>
                  </a:lnTo>
                  <a:lnTo>
                    <a:pt x="875148" y="581260"/>
                  </a:lnTo>
                  <a:lnTo>
                    <a:pt x="876451" y="583541"/>
                  </a:lnTo>
                  <a:lnTo>
                    <a:pt x="877103" y="586473"/>
                  </a:lnTo>
                  <a:lnTo>
                    <a:pt x="875311" y="588754"/>
                  </a:lnTo>
                  <a:lnTo>
                    <a:pt x="876777" y="590383"/>
                  </a:lnTo>
                  <a:lnTo>
                    <a:pt x="876777" y="593152"/>
                  </a:lnTo>
                  <a:cubicBezTo>
                    <a:pt x="876777" y="593152"/>
                    <a:pt x="875148" y="594130"/>
                    <a:pt x="875148" y="594130"/>
                  </a:cubicBezTo>
                  <a:lnTo>
                    <a:pt x="870261" y="592501"/>
                  </a:lnTo>
                  <a:lnTo>
                    <a:pt x="867654" y="592501"/>
                  </a:lnTo>
                  <a:lnTo>
                    <a:pt x="866351" y="594944"/>
                  </a:lnTo>
                  <a:lnTo>
                    <a:pt x="869283" y="597062"/>
                  </a:lnTo>
                  <a:lnTo>
                    <a:pt x="872378" y="597062"/>
                  </a:lnTo>
                  <a:cubicBezTo>
                    <a:pt x="872378" y="597062"/>
                    <a:pt x="878732" y="596736"/>
                    <a:pt x="878732" y="596736"/>
                  </a:cubicBezTo>
                  <a:lnTo>
                    <a:pt x="879546" y="598528"/>
                  </a:lnTo>
                  <a:lnTo>
                    <a:pt x="879058" y="601786"/>
                  </a:lnTo>
                  <a:lnTo>
                    <a:pt x="879058" y="606348"/>
                  </a:lnTo>
                  <a:cubicBezTo>
                    <a:pt x="879058" y="606348"/>
                    <a:pt x="880687" y="606837"/>
                    <a:pt x="880687" y="606837"/>
                  </a:cubicBezTo>
                  <a:lnTo>
                    <a:pt x="882316" y="604556"/>
                  </a:lnTo>
                  <a:lnTo>
                    <a:pt x="887366" y="603578"/>
                  </a:lnTo>
                  <a:lnTo>
                    <a:pt x="891765" y="604882"/>
                  </a:lnTo>
                  <a:lnTo>
                    <a:pt x="894045" y="606837"/>
                  </a:lnTo>
                  <a:lnTo>
                    <a:pt x="899421" y="607162"/>
                  </a:lnTo>
                  <a:lnTo>
                    <a:pt x="903168" y="608140"/>
                  </a:lnTo>
                  <a:lnTo>
                    <a:pt x="906101" y="607162"/>
                  </a:lnTo>
                  <a:lnTo>
                    <a:pt x="908219" y="605533"/>
                  </a:lnTo>
                  <a:lnTo>
                    <a:pt x="910010" y="606511"/>
                  </a:lnTo>
                  <a:lnTo>
                    <a:pt x="910010" y="609280"/>
                  </a:lnTo>
                  <a:cubicBezTo>
                    <a:pt x="910010" y="609280"/>
                    <a:pt x="910336" y="614168"/>
                    <a:pt x="910336" y="614168"/>
                  </a:cubicBezTo>
                  <a:lnTo>
                    <a:pt x="910825" y="616937"/>
                  </a:lnTo>
                  <a:lnTo>
                    <a:pt x="909847" y="618566"/>
                  </a:lnTo>
                  <a:lnTo>
                    <a:pt x="907078" y="620195"/>
                  </a:lnTo>
                  <a:lnTo>
                    <a:pt x="904960" y="618729"/>
                  </a:lnTo>
                  <a:lnTo>
                    <a:pt x="901702" y="617589"/>
                  </a:lnTo>
                  <a:lnTo>
                    <a:pt x="898444" y="619218"/>
                  </a:lnTo>
                  <a:lnTo>
                    <a:pt x="895674" y="620195"/>
                  </a:lnTo>
                  <a:lnTo>
                    <a:pt x="893231" y="618077"/>
                  </a:lnTo>
                  <a:lnTo>
                    <a:pt x="886552" y="619055"/>
                  </a:lnTo>
                  <a:lnTo>
                    <a:pt x="881176" y="620195"/>
                  </a:lnTo>
                  <a:lnTo>
                    <a:pt x="878569" y="619381"/>
                  </a:lnTo>
                  <a:lnTo>
                    <a:pt x="877592" y="617589"/>
                  </a:lnTo>
                  <a:lnTo>
                    <a:pt x="876777" y="619869"/>
                  </a:lnTo>
                  <a:lnTo>
                    <a:pt x="877754" y="621010"/>
                  </a:lnTo>
                  <a:lnTo>
                    <a:pt x="878732" y="622965"/>
                  </a:lnTo>
                  <a:lnTo>
                    <a:pt x="881664" y="622965"/>
                  </a:lnTo>
                  <a:lnTo>
                    <a:pt x="885411" y="621987"/>
                  </a:lnTo>
                  <a:lnTo>
                    <a:pt x="893557" y="621987"/>
                  </a:lnTo>
                  <a:cubicBezTo>
                    <a:pt x="893557" y="621987"/>
                    <a:pt x="896978" y="623942"/>
                    <a:pt x="896978" y="623942"/>
                  </a:cubicBezTo>
                  <a:lnTo>
                    <a:pt x="899584" y="626874"/>
                  </a:lnTo>
                  <a:lnTo>
                    <a:pt x="902679" y="626874"/>
                  </a:lnTo>
                  <a:lnTo>
                    <a:pt x="906263" y="628015"/>
                  </a:lnTo>
                  <a:lnTo>
                    <a:pt x="908870" y="630947"/>
                  </a:lnTo>
                  <a:lnTo>
                    <a:pt x="911477" y="635183"/>
                  </a:lnTo>
                  <a:lnTo>
                    <a:pt x="915224" y="639093"/>
                  </a:lnTo>
                  <a:lnTo>
                    <a:pt x="916038" y="641373"/>
                  </a:lnTo>
                  <a:lnTo>
                    <a:pt x="914898" y="641373"/>
                  </a:lnTo>
                  <a:cubicBezTo>
                    <a:pt x="914898" y="641373"/>
                    <a:pt x="911802" y="640722"/>
                    <a:pt x="911802" y="640722"/>
                  </a:cubicBezTo>
                  <a:lnTo>
                    <a:pt x="910010" y="639581"/>
                  </a:lnTo>
                  <a:lnTo>
                    <a:pt x="909522" y="641210"/>
                  </a:lnTo>
                  <a:lnTo>
                    <a:pt x="909196" y="643817"/>
                  </a:lnTo>
                  <a:lnTo>
                    <a:pt x="911151" y="647564"/>
                  </a:lnTo>
                  <a:lnTo>
                    <a:pt x="911477" y="653429"/>
                  </a:lnTo>
                  <a:lnTo>
                    <a:pt x="910988" y="655709"/>
                  </a:lnTo>
                  <a:lnTo>
                    <a:pt x="911965" y="660108"/>
                  </a:lnTo>
                  <a:lnTo>
                    <a:pt x="911151" y="662877"/>
                  </a:lnTo>
                  <a:lnTo>
                    <a:pt x="909685" y="665647"/>
                  </a:lnTo>
                  <a:lnTo>
                    <a:pt x="907078" y="673792"/>
                  </a:lnTo>
                  <a:lnTo>
                    <a:pt x="904146" y="676887"/>
                  </a:lnTo>
                  <a:lnTo>
                    <a:pt x="901539" y="677213"/>
                  </a:lnTo>
                  <a:lnTo>
                    <a:pt x="899095" y="675096"/>
                  </a:lnTo>
                  <a:lnTo>
                    <a:pt x="897141" y="671023"/>
                  </a:lnTo>
                  <a:lnTo>
                    <a:pt x="900236" y="668416"/>
                  </a:lnTo>
                  <a:lnTo>
                    <a:pt x="899095" y="666135"/>
                  </a:lnTo>
                  <a:lnTo>
                    <a:pt x="896489" y="665321"/>
                  </a:lnTo>
                  <a:lnTo>
                    <a:pt x="894534" y="666461"/>
                  </a:lnTo>
                  <a:lnTo>
                    <a:pt x="891602" y="665810"/>
                  </a:lnTo>
                  <a:lnTo>
                    <a:pt x="885900" y="659130"/>
                  </a:lnTo>
                  <a:lnTo>
                    <a:pt x="881176" y="655546"/>
                  </a:lnTo>
                  <a:lnTo>
                    <a:pt x="876777" y="651637"/>
                  </a:lnTo>
                  <a:lnTo>
                    <a:pt x="876777" y="648867"/>
                  </a:lnTo>
                  <a:cubicBezTo>
                    <a:pt x="876777" y="648867"/>
                    <a:pt x="874822" y="644794"/>
                    <a:pt x="874822" y="644794"/>
                  </a:cubicBezTo>
                  <a:lnTo>
                    <a:pt x="868957" y="638278"/>
                  </a:lnTo>
                  <a:lnTo>
                    <a:pt x="866514" y="636812"/>
                  </a:lnTo>
                  <a:lnTo>
                    <a:pt x="865536" y="636812"/>
                  </a:lnTo>
                  <a:lnTo>
                    <a:pt x="865210" y="638441"/>
                  </a:lnTo>
                  <a:lnTo>
                    <a:pt x="866351" y="640396"/>
                  </a:lnTo>
                  <a:lnTo>
                    <a:pt x="870586" y="645120"/>
                  </a:lnTo>
                  <a:lnTo>
                    <a:pt x="870586" y="647727"/>
                  </a:lnTo>
                  <a:cubicBezTo>
                    <a:pt x="870586" y="647727"/>
                    <a:pt x="869446" y="649682"/>
                    <a:pt x="869446" y="649682"/>
                  </a:cubicBezTo>
                  <a:lnTo>
                    <a:pt x="863581" y="649356"/>
                  </a:lnTo>
                  <a:lnTo>
                    <a:pt x="860649" y="646749"/>
                  </a:lnTo>
                  <a:lnTo>
                    <a:pt x="858205" y="642188"/>
                  </a:lnTo>
                  <a:lnTo>
                    <a:pt x="856250" y="639581"/>
                  </a:lnTo>
                  <a:lnTo>
                    <a:pt x="855925" y="642514"/>
                  </a:lnTo>
                  <a:lnTo>
                    <a:pt x="856250" y="645609"/>
                  </a:lnTo>
                  <a:lnTo>
                    <a:pt x="860160" y="650333"/>
                  </a:lnTo>
                  <a:lnTo>
                    <a:pt x="867491" y="653429"/>
                  </a:lnTo>
                  <a:lnTo>
                    <a:pt x="874008" y="653429"/>
                  </a:lnTo>
                  <a:cubicBezTo>
                    <a:pt x="874008" y="653429"/>
                    <a:pt x="880850" y="658968"/>
                    <a:pt x="880850" y="658968"/>
                  </a:cubicBezTo>
                  <a:lnTo>
                    <a:pt x="890136" y="668416"/>
                  </a:lnTo>
                  <a:lnTo>
                    <a:pt x="891113" y="671186"/>
                  </a:lnTo>
                  <a:lnTo>
                    <a:pt x="889810" y="673466"/>
                  </a:lnTo>
                  <a:lnTo>
                    <a:pt x="887529" y="673141"/>
                  </a:lnTo>
                  <a:lnTo>
                    <a:pt x="884597" y="671186"/>
                  </a:lnTo>
                  <a:lnTo>
                    <a:pt x="880198" y="671186"/>
                  </a:lnTo>
                  <a:cubicBezTo>
                    <a:pt x="880198" y="671186"/>
                    <a:pt x="877103" y="672978"/>
                    <a:pt x="877103" y="672978"/>
                  </a:cubicBezTo>
                  <a:lnTo>
                    <a:pt x="872541" y="677376"/>
                  </a:lnTo>
                  <a:lnTo>
                    <a:pt x="869446" y="677702"/>
                  </a:lnTo>
                  <a:lnTo>
                    <a:pt x="865536" y="675910"/>
                  </a:lnTo>
                  <a:lnTo>
                    <a:pt x="864233" y="672652"/>
                  </a:lnTo>
                  <a:lnTo>
                    <a:pt x="865210" y="670860"/>
                  </a:lnTo>
                  <a:lnTo>
                    <a:pt x="864233" y="669068"/>
                  </a:lnTo>
                  <a:lnTo>
                    <a:pt x="860975" y="666624"/>
                  </a:lnTo>
                  <a:lnTo>
                    <a:pt x="860975" y="669720"/>
                  </a:lnTo>
                  <a:cubicBezTo>
                    <a:pt x="860975" y="669720"/>
                    <a:pt x="862604" y="672326"/>
                    <a:pt x="862604" y="672326"/>
                  </a:cubicBezTo>
                  <a:lnTo>
                    <a:pt x="863581" y="677376"/>
                  </a:lnTo>
                  <a:lnTo>
                    <a:pt x="864885" y="680309"/>
                  </a:lnTo>
                  <a:lnTo>
                    <a:pt x="869446" y="681286"/>
                  </a:lnTo>
                  <a:lnTo>
                    <a:pt x="874496" y="680309"/>
                  </a:lnTo>
                  <a:lnTo>
                    <a:pt x="878569" y="675258"/>
                  </a:lnTo>
                  <a:lnTo>
                    <a:pt x="881176" y="674933"/>
                  </a:lnTo>
                  <a:lnTo>
                    <a:pt x="887040" y="677865"/>
                  </a:lnTo>
                  <a:lnTo>
                    <a:pt x="886714" y="681123"/>
                  </a:lnTo>
                  <a:lnTo>
                    <a:pt x="885737" y="682589"/>
                  </a:lnTo>
                  <a:lnTo>
                    <a:pt x="884597" y="691061"/>
                  </a:lnTo>
                  <a:lnTo>
                    <a:pt x="882805" y="693993"/>
                  </a:lnTo>
                  <a:lnTo>
                    <a:pt x="880361" y="693993"/>
                  </a:lnTo>
                  <a:cubicBezTo>
                    <a:pt x="880361" y="693993"/>
                    <a:pt x="880687" y="696274"/>
                    <a:pt x="880687" y="696274"/>
                  </a:cubicBezTo>
                  <a:lnTo>
                    <a:pt x="882805" y="698229"/>
                  </a:lnTo>
                  <a:lnTo>
                    <a:pt x="885411" y="696600"/>
                  </a:lnTo>
                  <a:lnTo>
                    <a:pt x="890787" y="697740"/>
                  </a:lnTo>
                  <a:lnTo>
                    <a:pt x="894534" y="702301"/>
                  </a:lnTo>
                  <a:lnTo>
                    <a:pt x="900236" y="705234"/>
                  </a:lnTo>
                  <a:lnTo>
                    <a:pt x="901865" y="703442"/>
                  </a:lnTo>
                  <a:lnTo>
                    <a:pt x="905286" y="701487"/>
                  </a:lnTo>
                  <a:lnTo>
                    <a:pt x="909847" y="702138"/>
                  </a:lnTo>
                  <a:lnTo>
                    <a:pt x="910173" y="704093"/>
                  </a:lnTo>
                  <a:lnTo>
                    <a:pt x="908381" y="707026"/>
                  </a:lnTo>
                  <a:lnTo>
                    <a:pt x="909033" y="711098"/>
                  </a:lnTo>
                  <a:lnTo>
                    <a:pt x="911151" y="714031"/>
                  </a:lnTo>
                  <a:lnTo>
                    <a:pt x="909359" y="718266"/>
                  </a:lnTo>
                  <a:lnTo>
                    <a:pt x="904797" y="725434"/>
                  </a:lnTo>
                  <a:lnTo>
                    <a:pt x="899095" y="728367"/>
                  </a:lnTo>
                  <a:lnTo>
                    <a:pt x="896652" y="727389"/>
                  </a:lnTo>
                  <a:lnTo>
                    <a:pt x="896000" y="724294"/>
                  </a:lnTo>
                  <a:lnTo>
                    <a:pt x="893231" y="722502"/>
                  </a:lnTo>
                  <a:lnTo>
                    <a:pt x="891602" y="718755"/>
                  </a:lnTo>
                  <a:lnTo>
                    <a:pt x="891602" y="715008"/>
                  </a:lnTo>
                  <a:cubicBezTo>
                    <a:pt x="891602" y="715008"/>
                    <a:pt x="886226" y="710936"/>
                    <a:pt x="886226" y="710936"/>
                  </a:cubicBezTo>
                  <a:lnTo>
                    <a:pt x="882153" y="709632"/>
                  </a:lnTo>
                  <a:lnTo>
                    <a:pt x="878243" y="706863"/>
                  </a:lnTo>
                  <a:lnTo>
                    <a:pt x="874659" y="706211"/>
                  </a:lnTo>
                  <a:lnTo>
                    <a:pt x="871401" y="708492"/>
                  </a:lnTo>
                  <a:lnTo>
                    <a:pt x="867980" y="708492"/>
                  </a:lnTo>
                  <a:cubicBezTo>
                    <a:pt x="867980" y="708492"/>
                    <a:pt x="866188" y="707189"/>
                    <a:pt x="866188" y="707189"/>
                  </a:cubicBezTo>
                  <a:lnTo>
                    <a:pt x="864396" y="703605"/>
                  </a:lnTo>
                  <a:lnTo>
                    <a:pt x="861789" y="700672"/>
                  </a:lnTo>
                  <a:lnTo>
                    <a:pt x="859997" y="700672"/>
                  </a:lnTo>
                  <a:lnTo>
                    <a:pt x="859997" y="702627"/>
                  </a:lnTo>
                  <a:lnTo>
                    <a:pt x="861463" y="705560"/>
                  </a:lnTo>
                  <a:lnTo>
                    <a:pt x="861952" y="710936"/>
                  </a:lnTo>
                  <a:lnTo>
                    <a:pt x="860323" y="714357"/>
                  </a:lnTo>
                  <a:lnTo>
                    <a:pt x="857391" y="716149"/>
                  </a:lnTo>
                  <a:lnTo>
                    <a:pt x="853644" y="716149"/>
                  </a:lnTo>
                  <a:cubicBezTo>
                    <a:pt x="853644" y="716149"/>
                    <a:pt x="851363" y="717289"/>
                    <a:pt x="851363" y="717289"/>
                  </a:cubicBezTo>
                  <a:lnTo>
                    <a:pt x="853970" y="718266"/>
                  </a:lnTo>
                  <a:lnTo>
                    <a:pt x="855599" y="720384"/>
                  </a:lnTo>
                  <a:lnTo>
                    <a:pt x="855599" y="723317"/>
                  </a:lnTo>
                  <a:lnTo>
                    <a:pt x="851852" y="728693"/>
                  </a:lnTo>
                  <a:lnTo>
                    <a:pt x="849245" y="730159"/>
                  </a:lnTo>
                  <a:lnTo>
                    <a:pt x="848919" y="731625"/>
                  </a:lnTo>
                  <a:lnTo>
                    <a:pt x="850060" y="733580"/>
                  </a:lnTo>
                  <a:lnTo>
                    <a:pt x="852503" y="735209"/>
                  </a:lnTo>
                  <a:lnTo>
                    <a:pt x="854133" y="740585"/>
                  </a:lnTo>
                  <a:lnTo>
                    <a:pt x="856902" y="742051"/>
                  </a:lnTo>
                  <a:lnTo>
                    <a:pt x="857879" y="746938"/>
                  </a:lnTo>
                  <a:lnTo>
                    <a:pt x="856739" y="752803"/>
                  </a:lnTo>
                  <a:lnTo>
                    <a:pt x="857554" y="754595"/>
                  </a:lnTo>
                  <a:lnTo>
                    <a:pt x="859020" y="750522"/>
                  </a:lnTo>
                  <a:lnTo>
                    <a:pt x="860812" y="747427"/>
                  </a:lnTo>
                  <a:lnTo>
                    <a:pt x="860323" y="743843"/>
                  </a:lnTo>
                  <a:lnTo>
                    <a:pt x="858531" y="742214"/>
                  </a:lnTo>
                  <a:lnTo>
                    <a:pt x="858531" y="737653"/>
                  </a:lnTo>
                  <a:cubicBezTo>
                    <a:pt x="858531" y="737653"/>
                    <a:pt x="860323" y="734069"/>
                    <a:pt x="860323" y="734069"/>
                  </a:cubicBezTo>
                  <a:lnTo>
                    <a:pt x="861952" y="734069"/>
                  </a:lnTo>
                  <a:cubicBezTo>
                    <a:pt x="861952" y="734069"/>
                    <a:pt x="863581" y="737327"/>
                    <a:pt x="863581" y="737327"/>
                  </a:cubicBezTo>
                  <a:lnTo>
                    <a:pt x="865862" y="739282"/>
                  </a:lnTo>
                  <a:lnTo>
                    <a:pt x="867817" y="742703"/>
                  </a:lnTo>
                  <a:lnTo>
                    <a:pt x="871075" y="745309"/>
                  </a:lnTo>
                  <a:lnTo>
                    <a:pt x="872704" y="744169"/>
                  </a:lnTo>
                  <a:lnTo>
                    <a:pt x="874822" y="744169"/>
                  </a:lnTo>
                  <a:lnTo>
                    <a:pt x="876451" y="745472"/>
                  </a:lnTo>
                  <a:lnTo>
                    <a:pt x="877754" y="744006"/>
                  </a:lnTo>
                  <a:lnTo>
                    <a:pt x="881827" y="742540"/>
                  </a:lnTo>
                  <a:lnTo>
                    <a:pt x="885411" y="743192"/>
                  </a:lnTo>
                  <a:lnTo>
                    <a:pt x="886552" y="745309"/>
                  </a:lnTo>
                  <a:lnTo>
                    <a:pt x="886552" y="748730"/>
                  </a:lnTo>
                  <a:cubicBezTo>
                    <a:pt x="886552" y="748730"/>
                    <a:pt x="882968" y="754595"/>
                    <a:pt x="882968" y="754595"/>
                  </a:cubicBezTo>
                  <a:lnTo>
                    <a:pt x="881176" y="758016"/>
                  </a:lnTo>
                  <a:lnTo>
                    <a:pt x="881176" y="762578"/>
                  </a:lnTo>
                  <a:lnTo>
                    <a:pt x="880524" y="768442"/>
                  </a:lnTo>
                  <a:lnTo>
                    <a:pt x="879220" y="770234"/>
                  </a:lnTo>
                  <a:lnTo>
                    <a:pt x="874659" y="769746"/>
                  </a:lnTo>
                  <a:lnTo>
                    <a:pt x="869935" y="771212"/>
                  </a:lnTo>
                  <a:lnTo>
                    <a:pt x="866351" y="770234"/>
                  </a:lnTo>
                  <a:lnTo>
                    <a:pt x="863255" y="768768"/>
                  </a:lnTo>
                  <a:lnTo>
                    <a:pt x="860649" y="768768"/>
                  </a:lnTo>
                  <a:cubicBezTo>
                    <a:pt x="860649" y="768768"/>
                    <a:pt x="857717" y="771212"/>
                    <a:pt x="857717" y="771212"/>
                  </a:cubicBezTo>
                  <a:lnTo>
                    <a:pt x="857717" y="774307"/>
                  </a:lnTo>
                  <a:cubicBezTo>
                    <a:pt x="857717" y="774307"/>
                    <a:pt x="855273" y="776262"/>
                    <a:pt x="855273" y="776262"/>
                  </a:cubicBezTo>
                  <a:lnTo>
                    <a:pt x="852015" y="776751"/>
                  </a:lnTo>
                  <a:lnTo>
                    <a:pt x="850060" y="776751"/>
                  </a:lnTo>
                  <a:cubicBezTo>
                    <a:pt x="850060" y="776751"/>
                    <a:pt x="848105" y="779846"/>
                    <a:pt x="848105" y="779846"/>
                  </a:cubicBezTo>
                  <a:lnTo>
                    <a:pt x="847453" y="781964"/>
                  </a:lnTo>
                  <a:lnTo>
                    <a:pt x="844195" y="782778"/>
                  </a:lnTo>
                  <a:lnTo>
                    <a:pt x="841589" y="781964"/>
                  </a:lnTo>
                  <a:lnTo>
                    <a:pt x="837516" y="778869"/>
                  </a:lnTo>
                  <a:lnTo>
                    <a:pt x="830511" y="774959"/>
                  </a:lnTo>
                  <a:lnTo>
                    <a:pt x="826275" y="770397"/>
                  </a:lnTo>
                  <a:lnTo>
                    <a:pt x="816012" y="760786"/>
                  </a:lnTo>
                  <a:lnTo>
                    <a:pt x="814220" y="756876"/>
                  </a:lnTo>
                  <a:lnTo>
                    <a:pt x="814220" y="754106"/>
                  </a:lnTo>
                  <a:lnTo>
                    <a:pt x="815849" y="752640"/>
                  </a:lnTo>
                  <a:lnTo>
                    <a:pt x="818455" y="752640"/>
                  </a:lnTo>
                  <a:cubicBezTo>
                    <a:pt x="818455" y="752640"/>
                    <a:pt x="819596" y="753618"/>
                    <a:pt x="819596" y="753618"/>
                  </a:cubicBezTo>
                  <a:lnTo>
                    <a:pt x="822202" y="755084"/>
                  </a:lnTo>
                  <a:lnTo>
                    <a:pt x="830837" y="759320"/>
                  </a:lnTo>
                  <a:lnTo>
                    <a:pt x="835561" y="763718"/>
                  </a:lnTo>
                  <a:lnTo>
                    <a:pt x="837190" y="762904"/>
                  </a:lnTo>
                  <a:lnTo>
                    <a:pt x="843869" y="761763"/>
                  </a:lnTo>
                  <a:lnTo>
                    <a:pt x="844358" y="759482"/>
                  </a:lnTo>
                  <a:lnTo>
                    <a:pt x="842403" y="757853"/>
                  </a:lnTo>
                  <a:lnTo>
                    <a:pt x="840448" y="758342"/>
                  </a:lnTo>
                  <a:lnTo>
                    <a:pt x="838004" y="759808"/>
                  </a:lnTo>
                  <a:lnTo>
                    <a:pt x="833932" y="758179"/>
                  </a:lnTo>
                  <a:lnTo>
                    <a:pt x="826438" y="752966"/>
                  </a:lnTo>
                  <a:lnTo>
                    <a:pt x="818293" y="749545"/>
                  </a:lnTo>
                  <a:lnTo>
                    <a:pt x="815360" y="749219"/>
                  </a:lnTo>
                  <a:lnTo>
                    <a:pt x="814220" y="747264"/>
                  </a:lnTo>
                  <a:lnTo>
                    <a:pt x="814220" y="744332"/>
                  </a:lnTo>
                  <a:cubicBezTo>
                    <a:pt x="814220" y="744332"/>
                    <a:pt x="812265" y="743354"/>
                    <a:pt x="812265" y="743354"/>
                  </a:cubicBezTo>
                  <a:lnTo>
                    <a:pt x="810147" y="743680"/>
                  </a:lnTo>
                  <a:lnTo>
                    <a:pt x="808192" y="746124"/>
                  </a:lnTo>
                  <a:lnTo>
                    <a:pt x="807703" y="750360"/>
                  </a:lnTo>
                  <a:lnTo>
                    <a:pt x="806726" y="758016"/>
                  </a:lnTo>
                  <a:lnTo>
                    <a:pt x="806726" y="761274"/>
                  </a:lnTo>
                  <a:cubicBezTo>
                    <a:pt x="806726" y="761274"/>
                    <a:pt x="806074" y="763229"/>
                    <a:pt x="806074" y="763229"/>
                  </a:cubicBezTo>
                  <a:lnTo>
                    <a:pt x="804934" y="762252"/>
                  </a:lnTo>
                  <a:lnTo>
                    <a:pt x="796789" y="752966"/>
                  </a:lnTo>
                  <a:lnTo>
                    <a:pt x="791576" y="744006"/>
                  </a:lnTo>
                  <a:lnTo>
                    <a:pt x="789620" y="741237"/>
                  </a:lnTo>
                  <a:lnTo>
                    <a:pt x="789132" y="738956"/>
                  </a:lnTo>
                  <a:lnTo>
                    <a:pt x="787340" y="737001"/>
                  </a:lnTo>
                  <a:lnTo>
                    <a:pt x="785548" y="737001"/>
                  </a:lnTo>
                  <a:cubicBezTo>
                    <a:pt x="785548" y="737001"/>
                    <a:pt x="784896" y="738141"/>
                    <a:pt x="784896" y="738141"/>
                  </a:cubicBezTo>
                  <a:lnTo>
                    <a:pt x="784896" y="740585"/>
                  </a:lnTo>
                  <a:cubicBezTo>
                    <a:pt x="784896" y="740585"/>
                    <a:pt x="788969" y="743029"/>
                    <a:pt x="788969" y="743029"/>
                  </a:cubicBezTo>
                  <a:lnTo>
                    <a:pt x="794345" y="752477"/>
                  </a:lnTo>
                  <a:lnTo>
                    <a:pt x="794834" y="755084"/>
                  </a:lnTo>
                  <a:lnTo>
                    <a:pt x="798092" y="758179"/>
                  </a:lnTo>
                  <a:lnTo>
                    <a:pt x="799232" y="760623"/>
                  </a:lnTo>
                  <a:lnTo>
                    <a:pt x="798744" y="763229"/>
                  </a:lnTo>
                  <a:lnTo>
                    <a:pt x="796137" y="763229"/>
                  </a:lnTo>
                  <a:cubicBezTo>
                    <a:pt x="796137" y="763229"/>
                    <a:pt x="792227" y="764696"/>
                    <a:pt x="792227" y="764696"/>
                  </a:cubicBezTo>
                  <a:lnTo>
                    <a:pt x="789295" y="767302"/>
                  </a:lnTo>
                  <a:lnTo>
                    <a:pt x="787340" y="769909"/>
                  </a:lnTo>
                  <a:lnTo>
                    <a:pt x="783593" y="770886"/>
                  </a:lnTo>
                  <a:lnTo>
                    <a:pt x="780498" y="772841"/>
                  </a:lnTo>
                  <a:lnTo>
                    <a:pt x="776262" y="774144"/>
                  </a:lnTo>
                  <a:lnTo>
                    <a:pt x="772515" y="774144"/>
                  </a:lnTo>
                  <a:cubicBezTo>
                    <a:pt x="772515" y="774144"/>
                    <a:pt x="769257" y="770723"/>
                    <a:pt x="769257" y="770723"/>
                  </a:cubicBezTo>
                  <a:lnTo>
                    <a:pt x="766976" y="770723"/>
                  </a:lnTo>
                  <a:cubicBezTo>
                    <a:pt x="766976" y="770723"/>
                    <a:pt x="764207" y="769257"/>
                    <a:pt x="764207" y="769257"/>
                  </a:cubicBezTo>
                  <a:lnTo>
                    <a:pt x="763392" y="767302"/>
                  </a:lnTo>
                  <a:lnTo>
                    <a:pt x="757853" y="762904"/>
                  </a:lnTo>
                  <a:lnTo>
                    <a:pt x="754921" y="760949"/>
                  </a:lnTo>
                  <a:lnTo>
                    <a:pt x="754921" y="758342"/>
                  </a:lnTo>
                  <a:cubicBezTo>
                    <a:pt x="754921" y="758342"/>
                    <a:pt x="753944" y="755736"/>
                    <a:pt x="753944" y="755736"/>
                  </a:cubicBezTo>
                  <a:lnTo>
                    <a:pt x="752152" y="754921"/>
                  </a:lnTo>
                  <a:lnTo>
                    <a:pt x="751337" y="756224"/>
                  </a:lnTo>
                  <a:lnTo>
                    <a:pt x="750848" y="760297"/>
                  </a:lnTo>
                  <a:lnTo>
                    <a:pt x="752640" y="763555"/>
                  </a:lnTo>
                  <a:lnTo>
                    <a:pt x="756713" y="765673"/>
                  </a:lnTo>
                  <a:lnTo>
                    <a:pt x="761111" y="769257"/>
                  </a:lnTo>
                  <a:lnTo>
                    <a:pt x="763718" y="773493"/>
                  </a:lnTo>
                  <a:lnTo>
                    <a:pt x="764044" y="775773"/>
                  </a:lnTo>
                  <a:lnTo>
                    <a:pt x="761437" y="777728"/>
                  </a:lnTo>
                  <a:lnTo>
                    <a:pt x="753944" y="777728"/>
                  </a:lnTo>
                  <a:cubicBezTo>
                    <a:pt x="753944" y="777728"/>
                    <a:pt x="748568" y="776588"/>
                    <a:pt x="748568" y="776588"/>
                  </a:cubicBezTo>
                  <a:lnTo>
                    <a:pt x="744495" y="777891"/>
                  </a:lnTo>
                  <a:lnTo>
                    <a:pt x="741562" y="780498"/>
                  </a:lnTo>
                  <a:lnTo>
                    <a:pt x="742540" y="782290"/>
                  </a:lnTo>
                  <a:lnTo>
                    <a:pt x="744169" y="782616"/>
                  </a:lnTo>
                  <a:lnTo>
                    <a:pt x="745961" y="785222"/>
                  </a:lnTo>
                  <a:lnTo>
                    <a:pt x="747916" y="786037"/>
                  </a:lnTo>
                  <a:lnTo>
                    <a:pt x="749219" y="783756"/>
                  </a:lnTo>
                  <a:lnTo>
                    <a:pt x="750034" y="780824"/>
                  </a:lnTo>
                  <a:lnTo>
                    <a:pt x="754595" y="780824"/>
                  </a:lnTo>
                  <a:cubicBezTo>
                    <a:pt x="754595" y="780824"/>
                    <a:pt x="758016" y="781638"/>
                    <a:pt x="758179" y="781801"/>
                  </a:cubicBezTo>
                  <a:cubicBezTo>
                    <a:pt x="758342" y="781801"/>
                    <a:pt x="761763" y="783267"/>
                    <a:pt x="761763" y="783267"/>
                  </a:cubicBezTo>
                  <a:lnTo>
                    <a:pt x="765021" y="781312"/>
                  </a:lnTo>
                  <a:lnTo>
                    <a:pt x="765673" y="778380"/>
                  </a:lnTo>
                  <a:lnTo>
                    <a:pt x="768768" y="777565"/>
                  </a:lnTo>
                  <a:lnTo>
                    <a:pt x="773493" y="778217"/>
                  </a:lnTo>
                  <a:lnTo>
                    <a:pt x="778054" y="778217"/>
                  </a:lnTo>
                  <a:cubicBezTo>
                    <a:pt x="778054" y="778217"/>
                    <a:pt x="779846" y="779846"/>
                    <a:pt x="779846" y="779846"/>
                  </a:cubicBezTo>
                  <a:lnTo>
                    <a:pt x="783104" y="781964"/>
                  </a:lnTo>
                  <a:lnTo>
                    <a:pt x="788643" y="783267"/>
                  </a:lnTo>
                  <a:lnTo>
                    <a:pt x="791901" y="785222"/>
                  </a:lnTo>
                  <a:lnTo>
                    <a:pt x="793042" y="788480"/>
                  </a:lnTo>
                  <a:lnTo>
                    <a:pt x="792064" y="791250"/>
                  </a:lnTo>
                  <a:lnTo>
                    <a:pt x="789784" y="791901"/>
                  </a:lnTo>
                  <a:lnTo>
                    <a:pt x="787340" y="795160"/>
                  </a:lnTo>
                  <a:lnTo>
                    <a:pt x="783104" y="794671"/>
                  </a:lnTo>
                  <a:lnTo>
                    <a:pt x="779520" y="795160"/>
                  </a:lnTo>
                  <a:lnTo>
                    <a:pt x="775285" y="798581"/>
                  </a:lnTo>
                  <a:lnTo>
                    <a:pt x="771701" y="800210"/>
                  </a:lnTo>
                  <a:lnTo>
                    <a:pt x="767954" y="799395"/>
                  </a:lnTo>
                  <a:lnTo>
                    <a:pt x="763392" y="794671"/>
                  </a:lnTo>
                  <a:lnTo>
                    <a:pt x="760786" y="793368"/>
                  </a:lnTo>
                  <a:lnTo>
                    <a:pt x="758505" y="793693"/>
                  </a:lnTo>
                  <a:lnTo>
                    <a:pt x="756550" y="795974"/>
                  </a:lnTo>
                  <a:lnTo>
                    <a:pt x="753618" y="796463"/>
                  </a:lnTo>
                  <a:lnTo>
                    <a:pt x="752314" y="795648"/>
                  </a:lnTo>
                  <a:lnTo>
                    <a:pt x="749871" y="795974"/>
                  </a:lnTo>
                  <a:lnTo>
                    <a:pt x="749871" y="797603"/>
                  </a:lnTo>
                  <a:lnTo>
                    <a:pt x="752640" y="798092"/>
                  </a:lnTo>
                  <a:lnTo>
                    <a:pt x="757202" y="798092"/>
                  </a:lnTo>
                  <a:cubicBezTo>
                    <a:pt x="757202" y="798092"/>
                    <a:pt x="759482" y="796626"/>
                    <a:pt x="759482" y="796626"/>
                  </a:cubicBezTo>
                  <a:lnTo>
                    <a:pt x="762089" y="797440"/>
                  </a:lnTo>
                  <a:lnTo>
                    <a:pt x="763229" y="799395"/>
                  </a:lnTo>
                  <a:lnTo>
                    <a:pt x="761926" y="801350"/>
                  </a:lnTo>
                  <a:lnTo>
                    <a:pt x="757528" y="802165"/>
                  </a:lnTo>
                  <a:lnTo>
                    <a:pt x="752966" y="804445"/>
                  </a:lnTo>
                  <a:lnTo>
                    <a:pt x="752152" y="805912"/>
                  </a:lnTo>
                  <a:lnTo>
                    <a:pt x="754269" y="806400"/>
                  </a:lnTo>
                  <a:lnTo>
                    <a:pt x="756713" y="804934"/>
                  </a:lnTo>
                  <a:lnTo>
                    <a:pt x="762252" y="803468"/>
                  </a:lnTo>
                  <a:lnTo>
                    <a:pt x="764207" y="803468"/>
                  </a:lnTo>
                  <a:cubicBezTo>
                    <a:pt x="764207" y="803468"/>
                    <a:pt x="765510" y="805749"/>
                    <a:pt x="765510" y="805749"/>
                  </a:cubicBezTo>
                  <a:lnTo>
                    <a:pt x="765510" y="808844"/>
                  </a:lnTo>
                  <a:cubicBezTo>
                    <a:pt x="765510" y="808844"/>
                    <a:pt x="766650" y="809007"/>
                    <a:pt x="766650" y="809007"/>
                  </a:cubicBezTo>
                  <a:lnTo>
                    <a:pt x="769420" y="805097"/>
                  </a:lnTo>
                  <a:lnTo>
                    <a:pt x="772678" y="804445"/>
                  </a:lnTo>
                  <a:lnTo>
                    <a:pt x="774959" y="804445"/>
                  </a:lnTo>
                  <a:cubicBezTo>
                    <a:pt x="774959" y="804445"/>
                    <a:pt x="779357" y="800536"/>
                    <a:pt x="779357" y="800536"/>
                  </a:cubicBezTo>
                  <a:lnTo>
                    <a:pt x="781149" y="800536"/>
                  </a:lnTo>
                  <a:cubicBezTo>
                    <a:pt x="781149" y="800536"/>
                    <a:pt x="783430" y="801839"/>
                    <a:pt x="783430" y="801839"/>
                  </a:cubicBezTo>
                  <a:lnTo>
                    <a:pt x="789620" y="806237"/>
                  </a:lnTo>
                  <a:lnTo>
                    <a:pt x="791901" y="806237"/>
                  </a:lnTo>
                  <a:cubicBezTo>
                    <a:pt x="791901" y="806237"/>
                    <a:pt x="793368" y="807052"/>
                    <a:pt x="793368" y="807052"/>
                  </a:cubicBezTo>
                  <a:lnTo>
                    <a:pt x="794182" y="810310"/>
                  </a:lnTo>
                  <a:lnTo>
                    <a:pt x="793204" y="818130"/>
                  </a:lnTo>
                  <a:lnTo>
                    <a:pt x="790598" y="821225"/>
                  </a:lnTo>
                  <a:lnTo>
                    <a:pt x="785385" y="822040"/>
                  </a:lnTo>
                  <a:lnTo>
                    <a:pt x="781312" y="821551"/>
                  </a:lnTo>
                  <a:lnTo>
                    <a:pt x="777728" y="819922"/>
                  </a:lnTo>
                  <a:lnTo>
                    <a:pt x="769257" y="819922"/>
                  </a:lnTo>
                  <a:cubicBezTo>
                    <a:pt x="769257" y="819922"/>
                    <a:pt x="767465" y="819433"/>
                    <a:pt x="767465" y="819433"/>
                  </a:cubicBezTo>
                  <a:lnTo>
                    <a:pt x="764044" y="822528"/>
                  </a:lnTo>
                  <a:lnTo>
                    <a:pt x="765510" y="823343"/>
                  </a:lnTo>
                  <a:lnTo>
                    <a:pt x="770397" y="822202"/>
                  </a:lnTo>
                  <a:lnTo>
                    <a:pt x="775447" y="822202"/>
                  </a:lnTo>
                  <a:cubicBezTo>
                    <a:pt x="775447" y="822202"/>
                    <a:pt x="782615" y="824646"/>
                    <a:pt x="782615" y="824646"/>
                  </a:cubicBezTo>
                  <a:lnTo>
                    <a:pt x="783756" y="827741"/>
                  </a:lnTo>
                  <a:lnTo>
                    <a:pt x="783267" y="830022"/>
                  </a:lnTo>
                  <a:lnTo>
                    <a:pt x="787177" y="825787"/>
                  </a:lnTo>
                  <a:lnTo>
                    <a:pt x="791412" y="824809"/>
                  </a:lnTo>
                  <a:lnTo>
                    <a:pt x="796137" y="824809"/>
                  </a:lnTo>
                  <a:cubicBezTo>
                    <a:pt x="796137" y="824809"/>
                    <a:pt x="800536" y="827090"/>
                    <a:pt x="800536" y="827090"/>
                  </a:cubicBezTo>
                  <a:lnTo>
                    <a:pt x="801839" y="829208"/>
                  </a:lnTo>
                  <a:lnTo>
                    <a:pt x="809495" y="835072"/>
                  </a:lnTo>
                  <a:lnTo>
                    <a:pt x="810636" y="836864"/>
                  </a:lnTo>
                  <a:lnTo>
                    <a:pt x="811125" y="839145"/>
                  </a:lnTo>
                  <a:lnTo>
                    <a:pt x="813894" y="839145"/>
                  </a:lnTo>
                  <a:cubicBezTo>
                    <a:pt x="813894" y="839145"/>
                    <a:pt x="815523" y="840448"/>
                    <a:pt x="815523" y="840448"/>
                  </a:cubicBezTo>
                  <a:lnTo>
                    <a:pt x="817315" y="840448"/>
                  </a:lnTo>
                  <a:lnTo>
                    <a:pt x="820899" y="843869"/>
                  </a:lnTo>
                  <a:lnTo>
                    <a:pt x="823506" y="845010"/>
                  </a:lnTo>
                  <a:lnTo>
                    <a:pt x="824646" y="848105"/>
                  </a:lnTo>
                  <a:lnTo>
                    <a:pt x="826601" y="850386"/>
                  </a:lnTo>
                  <a:lnTo>
                    <a:pt x="828393" y="850386"/>
                  </a:lnTo>
                  <a:cubicBezTo>
                    <a:pt x="828393" y="850386"/>
                    <a:pt x="830022" y="853155"/>
                    <a:pt x="830022" y="853155"/>
                  </a:cubicBezTo>
                  <a:lnTo>
                    <a:pt x="831977" y="854947"/>
                  </a:lnTo>
                  <a:lnTo>
                    <a:pt x="831651" y="856413"/>
                  </a:lnTo>
                  <a:lnTo>
                    <a:pt x="829370" y="861464"/>
                  </a:lnTo>
                  <a:lnTo>
                    <a:pt x="826601" y="863256"/>
                  </a:lnTo>
                  <a:lnTo>
                    <a:pt x="824646" y="866351"/>
                  </a:lnTo>
                  <a:lnTo>
                    <a:pt x="823669" y="869772"/>
                  </a:lnTo>
                  <a:lnTo>
                    <a:pt x="823669" y="870912"/>
                  </a:lnTo>
                  <a:cubicBezTo>
                    <a:pt x="823669" y="870912"/>
                    <a:pt x="827253" y="867165"/>
                    <a:pt x="827253" y="867165"/>
                  </a:cubicBezTo>
                  <a:lnTo>
                    <a:pt x="831325" y="863744"/>
                  </a:lnTo>
                  <a:lnTo>
                    <a:pt x="833932" y="862604"/>
                  </a:lnTo>
                  <a:lnTo>
                    <a:pt x="835235" y="863418"/>
                  </a:lnTo>
                  <a:lnTo>
                    <a:pt x="833769" y="866188"/>
                  </a:lnTo>
                  <a:lnTo>
                    <a:pt x="832140" y="870424"/>
                  </a:lnTo>
                  <a:lnTo>
                    <a:pt x="833769" y="869120"/>
                  </a:lnTo>
                  <a:lnTo>
                    <a:pt x="835072" y="866514"/>
                  </a:lnTo>
                  <a:lnTo>
                    <a:pt x="836864" y="864559"/>
                  </a:lnTo>
                  <a:lnTo>
                    <a:pt x="839960" y="865048"/>
                  </a:lnTo>
                  <a:lnTo>
                    <a:pt x="842403" y="867491"/>
                  </a:lnTo>
                  <a:lnTo>
                    <a:pt x="840774" y="870749"/>
                  </a:lnTo>
                  <a:lnTo>
                    <a:pt x="837027" y="873193"/>
                  </a:lnTo>
                  <a:lnTo>
                    <a:pt x="833280" y="876288"/>
                  </a:lnTo>
                  <a:lnTo>
                    <a:pt x="832140" y="879547"/>
                  </a:lnTo>
                  <a:lnTo>
                    <a:pt x="832140" y="882479"/>
                  </a:lnTo>
                  <a:cubicBezTo>
                    <a:pt x="832140" y="882479"/>
                    <a:pt x="833443" y="884271"/>
                    <a:pt x="833443" y="884271"/>
                  </a:cubicBezTo>
                  <a:lnTo>
                    <a:pt x="833117" y="886714"/>
                  </a:lnTo>
                  <a:lnTo>
                    <a:pt x="831814" y="892253"/>
                  </a:lnTo>
                  <a:lnTo>
                    <a:pt x="832140" y="894045"/>
                  </a:lnTo>
                  <a:lnTo>
                    <a:pt x="834420" y="893394"/>
                  </a:lnTo>
                  <a:lnTo>
                    <a:pt x="835398" y="887040"/>
                  </a:lnTo>
                  <a:lnTo>
                    <a:pt x="838656" y="881827"/>
                  </a:lnTo>
                  <a:lnTo>
                    <a:pt x="842566" y="879872"/>
                  </a:lnTo>
                  <a:lnTo>
                    <a:pt x="844358" y="879872"/>
                  </a:lnTo>
                  <a:cubicBezTo>
                    <a:pt x="844358" y="879872"/>
                    <a:pt x="844358" y="881664"/>
                    <a:pt x="844358" y="881664"/>
                  </a:cubicBezTo>
                  <a:lnTo>
                    <a:pt x="841914" y="886226"/>
                  </a:lnTo>
                  <a:lnTo>
                    <a:pt x="840122" y="890136"/>
                  </a:lnTo>
                  <a:lnTo>
                    <a:pt x="840774" y="892091"/>
                  </a:lnTo>
                  <a:lnTo>
                    <a:pt x="843381" y="890950"/>
                  </a:lnTo>
                  <a:lnTo>
                    <a:pt x="844847" y="892742"/>
                  </a:lnTo>
                  <a:lnTo>
                    <a:pt x="844358" y="897304"/>
                  </a:lnTo>
                  <a:lnTo>
                    <a:pt x="842077" y="899584"/>
                  </a:lnTo>
                  <a:lnTo>
                    <a:pt x="837679" y="900236"/>
                  </a:lnTo>
                  <a:lnTo>
                    <a:pt x="836538" y="902191"/>
                  </a:lnTo>
                  <a:lnTo>
                    <a:pt x="836538" y="904309"/>
                  </a:lnTo>
                  <a:cubicBezTo>
                    <a:pt x="836538" y="904309"/>
                    <a:pt x="841752" y="902517"/>
                    <a:pt x="841752" y="902517"/>
                  </a:cubicBezTo>
                  <a:lnTo>
                    <a:pt x="842892" y="903983"/>
                  </a:lnTo>
                  <a:lnTo>
                    <a:pt x="842240" y="906426"/>
                  </a:lnTo>
                  <a:lnTo>
                    <a:pt x="840937" y="909359"/>
                  </a:lnTo>
                  <a:lnTo>
                    <a:pt x="843055" y="909685"/>
                  </a:lnTo>
                  <a:lnTo>
                    <a:pt x="844684" y="912291"/>
                  </a:lnTo>
                  <a:lnTo>
                    <a:pt x="843706" y="914083"/>
                  </a:lnTo>
                  <a:lnTo>
                    <a:pt x="843706" y="918970"/>
                  </a:lnTo>
                  <a:cubicBezTo>
                    <a:pt x="843706" y="918970"/>
                    <a:pt x="842403" y="921903"/>
                    <a:pt x="842403" y="921903"/>
                  </a:cubicBezTo>
                  <a:lnTo>
                    <a:pt x="842403" y="929722"/>
                  </a:lnTo>
                  <a:cubicBezTo>
                    <a:pt x="842403" y="929722"/>
                    <a:pt x="842892" y="932981"/>
                    <a:pt x="842892" y="932981"/>
                  </a:cubicBezTo>
                  <a:lnTo>
                    <a:pt x="842566" y="936565"/>
                  </a:lnTo>
                  <a:lnTo>
                    <a:pt x="840122" y="938357"/>
                  </a:lnTo>
                  <a:lnTo>
                    <a:pt x="837353" y="938031"/>
                  </a:lnTo>
                  <a:lnTo>
                    <a:pt x="835561" y="938520"/>
                  </a:lnTo>
                  <a:lnTo>
                    <a:pt x="834584" y="937053"/>
                  </a:lnTo>
                  <a:lnTo>
                    <a:pt x="835724" y="934610"/>
                  </a:lnTo>
                  <a:lnTo>
                    <a:pt x="834420" y="932329"/>
                  </a:lnTo>
                  <a:lnTo>
                    <a:pt x="832140" y="930700"/>
                  </a:lnTo>
                  <a:lnTo>
                    <a:pt x="829208" y="931840"/>
                  </a:lnTo>
                  <a:lnTo>
                    <a:pt x="827416" y="933469"/>
                  </a:lnTo>
                  <a:lnTo>
                    <a:pt x="824972" y="932492"/>
                  </a:lnTo>
                  <a:lnTo>
                    <a:pt x="825298" y="929234"/>
                  </a:lnTo>
                  <a:lnTo>
                    <a:pt x="827578" y="925324"/>
                  </a:lnTo>
                  <a:lnTo>
                    <a:pt x="825786" y="920763"/>
                  </a:lnTo>
                  <a:lnTo>
                    <a:pt x="825786" y="917178"/>
                  </a:lnTo>
                  <a:lnTo>
                    <a:pt x="826927" y="913269"/>
                  </a:lnTo>
                  <a:lnTo>
                    <a:pt x="825461" y="911151"/>
                  </a:lnTo>
                  <a:lnTo>
                    <a:pt x="823994" y="911151"/>
                  </a:lnTo>
                  <a:cubicBezTo>
                    <a:pt x="823994" y="911151"/>
                    <a:pt x="822691" y="913757"/>
                    <a:pt x="822691" y="913757"/>
                  </a:cubicBezTo>
                  <a:lnTo>
                    <a:pt x="821714" y="918645"/>
                  </a:lnTo>
                  <a:lnTo>
                    <a:pt x="822039" y="924998"/>
                  </a:lnTo>
                  <a:lnTo>
                    <a:pt x="821551" y="930863"/>
                  </a:lnTo>
                  <a:lnTo>
                    <a:pt x="821551" y="933958"/>
                  </a:lnTo>
                  <a:lnTo>
                    <a:pt x="819922" y="935099"/>
                  </a:lnTo>
                  <a:lnTo>
                    <a:pt x="816827" y="935099"/>
                  </a:lnTo>
                  <a:cubicBezTo>
                    <a:pt x="816827" y="935099"/>
                    <a:pt x="813568" y="935750"/>
                    <a:pt x="813568" y="935750"/>
                  </a:cubicBezTo>
                  <a:lnTo>
                    <a:pt x="810310" y="936891"/>
                  </a:lnTo>
                  <a:lnTo>
                    <a:pt x="807703" y="934447"/>
                  </a:lnTo>
                  <a:lnTo>
                    <a:pt x="801676" y="929722"/>
                  </a:lnTo>
                  <a:lnTo>
                    <a:pt x="797766" y="922066"/>
                  </a:lnTo>
                  <a:lnTo>
                    <a:pt x="794345" y="918156"/>
                  </a:lnTo>
                  <a:lnTo>
                    <a:pt x="792064" y="915387"/>
                  </a:lnTo>
                  <a:lnTo>
                    <a:pt x="790761" y="907078"/>
                  </a:lnTo>
                  <a:lnTo>
                    <a:pt x="788480" y="903005"/>
                  </a:lnTo>
                  <a:lnTo>
                    <a:pt x="785711" y="899747"/>
                  </a:lnTo>
                  <a:lnTo>
                    <a:pt x="784733" y="894045"/>
                  </a:lnTo>
                  <a:lnTo>
                    <a:pt x="785548" y="888995"/>
                  </a:lnTo>
                  <a:lnTo>
                    <a:pt x="787177" y="885574"/>
                  </a:lnTo>
                  <a:lnTo>
                    <a:pt x="785874" y="883130"/>
                  </a:lnTo>
                  <a:lnTo>
                    <a:pt x="784407" y="883130"/>
                  </a:lnTo>
                  <a:cubicBezTo>
                    <a:pt x="784407" y="883130"/>
                    <a:pt x="779357" y="884597"/>
                    <a:pt x="779357" y="884597"/>
                  </a:cubicBezTo>
                  <a:lnTo>
                    <a:pt x="777728" y="886552"/>
                  </a:lnTo>
                  <a:lnTo>
                    <a:pt x="774470" y="883945"/>
                  </a:lnTo>
                  <a:lnTo>
                    <a:pt x="766162" y="873030"/>
                  </a:lnTo>
                  <a:lnTo>
                    <a:pt x="765673" y="869120"/>
                  </a:lnTo>
                  <a:lnTo>
                    <a:pt x="763881" y="867165"/>
                  </a:lnTo>
                  <a:lnTo>
                    <a:pt x="760786" y="868795"/>
                  </a:lnTo>
                  <a:lnTo>
                    <a:pt x="756061" y="869609"/>
                  </a:lnTo>
                  <a:lnTo>
                    <a:pt x="751988" y="867817"/>
                  </a:lnTo>
                  <a:lnTo>
                    <a:pt x="750196" y="868957"/>
                  </a:lnTo>
                  <a:lnTo>
                    <a:pt x="747264" y="870424"/>
                  </a:lnTo>
                  <a:lnTo>
                    <a:pt x="744984" y="869120"/>
                  </a:lnTo>
                  <a:lnTo>
                    <a:pt x="741725" y="865210"/>
                  </a:lnTo>
                  <a:lnTo>
                    <a:pt x="741725" y="862767"/>
                  </a:lnTo>
                  <a:lnTo>
                    <a:pt x="735861" y="857391"/>
                  </a:lnTo>
                  <a:lnTo>
                    <a:pt x="735861" y="854784"/>
                  </a:lnTo>
                  <a:cubicBezTo>
                    <a:pt x="735861" y="854784"/>
                    <a:pt x="733417" y="852015"/>
                    <a:pt x="733417" y="852015"/>
                  </a:cubicBezTo>
                  <a:lnTo>
                    <a:pt x="731788" y="846476"/>
                  </a:lnTo>
                  <a:lnTo>
                    <a:pt x="729344" y="843544"/>
                  </a:lnTo>
                  <a:lnTo>
                    <a:pt x="727878" y="845987"/>
                  </a:lnTo>
                  <a:lnTo>
                    <a:pt x="728367" y="850223"/>
                  </a:lnTo>
                  <a:lnTo>
                    <a:pt x="728367" y="852178"/>
                  </a:lnTo>
                  <a:cubicBezTo>
                    <a:pt x="728367" y="852178"/>
                    <a:pt x="723317" y="854621"/>
                    <a:pt x="723317" y="854621"/>
                  </a:cubicBezTo>
                  <a:lnTo>
                    <a:pt x="721687" y="856251"/>
                  </a:lnTo>
                  <a:lnTo>
                    <a:pt x="726086" y="856576"/>
                  </a:lnTo>
                  <a:lnTo>
                    <a:pt x="728693" y="858205"/>
                  </a:lnTo>
                  <a:lnTo>
                    <a:pt x="731788" y="862767"/>
                  </a:lnTo>
                  <a:lnTo>
                    <a:pt x="734394" y="866677"/>
                  </a:lnTo>
                  <a:lnTo>
                    <a:pt x="733254" y="868957"/>
                  </a:lnTo>
                  <a:lnTo>
                    <a:pt x="727878" y="868469"/>
                  </a:lnTo>
                  <a:lnTo>
                    <a:pt x="725434" y="870749"/>
                  </a:lnTo>
                  <a:lnTo>
                    <a:pt x="722013" y="872704"/>
                  </a:lnTo>
                  <a:lnTo>
                    <a:pt x="719081" y="870098"/>
                  </a:lnTo>
                  <a:lnTo>
                    <a:pt x="719407" y="873030"/>
                  </a:lnTo>
                  <a:lnTo>
                    <a:pt x="722502" y="875311"/>
                  </a:lnTo>
                  <a:lnTo>
                    <a:pt x="725760" y="874985"/>
                  </a:lnTo>
                  <a:lnTo>
                    <a:pt x="730485" y="870912"/>
                  </a:lnTo>
                  <a:lnTo>
                    <a:pt x="733417" y="870912"/>
                  </a:lnTo>
                  <a:lnTo>
                    <a:pt x="738630" y="868957"/>
                  </a:lnTo>
                  <a:lnTo>
                    <a:pt x="739933" y="870587"/>
                  </a:lnTo>
                  <a:lnTo>
                    <a:pt x="739933" y="873682"/>
                  </a:lnTo>
                  <a:lnTo>
                    <a:pt x="741725" y="875962"/>
                  </a:lnTo>
                  <a:lnTo>
                    <a:pt x="746938" y="873519"/>
                  </a:lnTo>
                  <a:lnTo>
                    <a:pt x="748893" y="873845"/>
                  </a:lnTo>
                  <a:lnTo>
                    <a:pt x="760134" y="877266"/>
                  </a:lnTo>
                  <a:lnTo>
                    <a:pt x="764533" y="879547"/>
                  </a:lnTo>
                  <a:lnTo>
                    <a:pt x="766976" y="879547"/>
                  </a:lnTo>
                  <a:cubicBezTo>
                    <a:pt x="766976" y="879547"/>
                    <a:pt x="768279" y="882805"/>
                    <a:pt x="768279" y="882805"/>
                  </a:cubicBezTo>
                  <a:lnTo>
                    <a:pt x="770723" y="888018"/>
                  </a:lnTo>
                  <a:lnTo>
                    <a:pt x="768768" y="892253"/>
                  </a:lnTo>
                  <a:lnTo>
                    <a:pt x="765510" y="893720"/>
                  </a:lnTo>
                  <a:lnTo>
                    <a:pt x="762903" y="896815"/>
                  </a:lnTo>
                  <a:lnTo>
                    <a:pt x="759971" y="898281"/>
                  </a:lnTo>
                  <a:lnTo>
                    <a:pt x="756387" y="898281"/>
                  </a:lnTo>
                  <a:cubicBezTo>
                    <a:pt x="756387" y="898281"/>
                    <a:pt x="744006" y="904472"/>
                    <a:pt x="744006" y="904472"/>
                  </a:cubicBezTo>
                  <a:lnTo>
                    <a:pt x="737653" y="904797"/>
                  </a:lnTo>
                  <a:lnTo>
                    <a:pt x="733254" y="906426"/>
                  </a:lnTo>
                  <a:lnTo>
                    <a:pt x="730159" y="904146"/>
                  </a:lnTo>
                  <a:lnTo>
                    <a:pt x="727552" y="899584"/>
                  </a:lnTo>
                  <a:lnTo>
                    <a:pt x="727552" y="896489"/>
                  </a:lnTo>
                  <a:cubicBezTo>
                    <a:pt x="727552" y="896489"/>
                    <a:pt x="726249" y="894534"/>
                    <a:pt x="726249" y="894534"/>
                  </a:cubicBezTo>
                  <a:lnTo>
                    <a:pt x="723479" y="893557"/>
                  </a:lnTo>
                  <a:lnTo>
                    <a:pt x="723479" y="898281"/>
                  </a:lnTo>
                  <a:cubicBezTo>
                    <a:pt x="723479" y="898281"/>
                    <a:pt x="724620" y="899910"/>
                    <a:pt x="724620" y="899910"/>
                  </a:cubicBezTo>
                  <a:lnTo>
                    <a:pt x="725434" y="902517"/>
                  </a:lnTo>
                  <a:lnTo>
                    <a:pt x="723805" y="903983"/>
                  </a:lnTo>
                  <a:lnTo>
                    <a:pt x="720058" y="903168"/>
                  </a:lnTo>
                  <a:lnTo>
                    <a:pt x="719570" y="902028"/>
                  </a:lnTo>
                  <a:lnTo>
                    <a:pt x="717778" y="901539"/>
                  </a:lnTo>
                  <a:lnTo>
                    <a:pt x="714194" y="903820"/>
                  </a:lnTo>
                  <a:lnTo>
                    <a:pt x="715171" y="905449"/>
                  </a:lnTo>
                  <a:lnTo>
                    <a:pt x="719244" y="906426"/>
                  </a:lnTo>
                  <a:lnTo>
                    <a:pt x="721362" y="908707"/>
                  </a:lnTo>
                  <a:lnTo>
                    <a:pt x="722013" y="911477"/>
                  </a:lnTo>
                  <a:lnTo>
                    <a:pt x="719733" y="914409"/>
                  </a:lnTo>
                  <a:lnTo>
                    <a:pt x="717778" y="915712"/>
                  </a:lnTo>
                  <a:lnTo>
                    <a:pt x="714845" y="915712"/>
                  </a:lnTo>
                  <a:cubicBezTo>
                    <a:pt x="714845" y="915712"/>
                    <a:pt x="713379" y="917667"/>
                    <a:pt x="713379" y="917667"/>
                  </a:cubicBezTo>
                  <a:lnTo>
                    <a:pt x="713379" y="921088"/>
                  </a:lnTo>
                  <a:cubicBezTo>
                    <a:pt x="713379" y="921088"/>
                    <a:pt x="710284" y="923369"/>
                    <a:pt x="710284" y="923369"/>
                  </a:cubicBezTo>
                  <a:lnTo>
                    <a:pt x="701487" y="927442"/>
                  </a:lnTo>
                  <a:lnTo>
                    <a:pt x="697088" y="926953"/>
                  </a:lnTo>
                  <a:lnTo>
                    <a:pt x="694156" y="926627"/>
                  </a:lnTo>
                  <a:lnTo>
                    <a:pt x="690083" y="930537"/>
                  </a:lnTo>
                  <a:lnTo>
                    <a:pt x="688454" y="933632"/>
                  </a:lnTo>
                  <a:lnTo>
                    <a:pt x="689594" y="934773"/>
                  </a:lnTo>
                  <a:lnTo>
                    <a:pt x="698066" y="930700"/>
                  </a:lnTo>
                  <a:lnTo>
                    <a:pt x="703930" y="930700"/>
                  </a:lnTo>
                  <a:cubicBezTo>
                    <a:pt x="703930" y="930700"/>
                    <a:pt x="708003" y="929397"/>
                    <a:pt x="708003" y="929397"/>
                  </a:cubicBezTo>
                  <a:lnTo>
                    <a:pt x="710610" y="930537"/>
                  </a:lnTo>
                  <a:lnTo>
                    <a:pt x="712239" y="932655"/>
                  </a:lnTo>
                  <a:lnTo>
                    <a:pt x="717615" y="933795"/>
                  </a:lnTo>
                  <a:lnTo>
                    <a:pt x="721687" y="933795"/>
                  </a:lnTo>
                  <a:lnTo>
                    <a:pt x="726738" y="932166"/>
                  </a:lnTo>
                  <a:lnTo>
                    <a:pt x="734231" y="932166"/>
                  </a:lnTo>
                  <a:cubicBezTo>
                    <a:pt x="734231" y="932166"/>
                    <a:pt x="737815" y="933958"/>
                    <a:pt x="737815" y="933958"/>
                  </a:cubicBezTo>
                  <a:lnTo>
                    <a:pt x="742214" y="932981"/>
                  </a:lnTo>
                  <a:lnTo>
                    <a:pt x="744332" y="933307"/>
                  </a:lnTo>
                  <a:lnTo>
                    <a:pt x="745635" y="935099"/>
                  </a:lnTo>
                  <a:lnTo>
                    <a:pt x="747916" y="935099"/>
                  </a:lnTo>
                  <a:cubicBezTo>
                    <a:pt x="747916" y="935099"/>
                    <a:pt x="749219" y="937705"/>
                    <a:pt x="749219" y="937705"/>
                  </a:cubicBezTo>
                  <a:lnTo>
                    <a:pt x="747753" y="939986"/>
                  </a:lnTo>
                  <a:lnTo>
                    <a:pt x="743680" y="941126"/>
                  </a:lnTo>
                  <a:lnTo>
                    <a:pt x="738630" y="939660"/>
                  </a:lnTo>
                  <a:lnTo>
                    <a:pt x="734557" y="940149"/>
                  </a:lnTo>
                  <a:lnTo>
                    <a:pt x="730810" y="943733"/>
                  </a:lnTo>
                  <a:lnTo>
                    <a:pt x="724946" y="944384"/>
                  </a:lnTo>
                  <a:lnTo>
                    <a:pt x="721036" y="946502"/>
                  </a:lnTo>
                  <a:lnTo>
                    <a:pt x="717778" y="945199"/>
                  </a:lnTo>
                  <a:lnTo>
                    <a:pt x="715008" y="942755"/>
                  </a:lnTo>
                  <a:lnTo>
                    <a:pt x="710447" y="943244"/>
                  </a:lnTo>
                  <a:lnTo>
                    <a:pt x="707677" y="946339"/>
                  </a:lnTo>
                  <a:lnTo>
                    <a:pt x="709632" y="948294"/>
                  </a:lnTo>
                  <a:lnTo>
                    <a:pt x="712239" y="947154"/>
                  </a:lnTo>
                  <a:lnTo>
                    <a:pt x="715334" y="948783"/>
                  </a:lnTo>
                  <a:lnTo>
                    <a:pt x="723805" y="948783"/>
                  </a:lnTo>
                  <a:cubicBezTo>
                    <a:pt x="723805" y="948783"/>
                    <a:pt x="726086" y="950412"/>
                    <a:pt x="726086" y="950412"/>
                  </a:cubicBezTo>
                  <a:lnTo>
                    <a:pt x="728367" y="953344"/>
                  </a:lnTo>
                  <a:lnTo>
                    <a:pt x="730159" y="950086"/>
                  </a:lnTo>
                  <a:lnTo>
                    <a:pt x="736512" y="944384"/>
                  </a:lnTo>
                  <a:cubicBezTo>
                    <a:pt x="736512" y="944384"/>
                    <a:pt x="739607" y="944710"/>
                    <a:pt x="740096" y="944710"/>
                  </a:cubicBezTo>
                  <a:cubicBezTo>
                    <a:pt x="740585" y="944710"/>
                    <a:pt x="743191" y="943244"/>
                    <a:pt x="743191" y="943244"/>
                  </a:cubicBezTo>
                  <a:lnTo>
                    <a:pt x="746124" y="944384"/>
                  </a:lnTo>
                  <a:lnTo>
                    <a:pt x="748079" y="946013"/>
                  </a:lnTo>
                  <a:lnTo>
                    <a:pt x="751011" y="944873"/>
                  </a:lnTo>
                  <a:lnTo>
                    <a:pt x="757853" y="944873"/>
                  </a:lnTo>
                  <a:cubicBezTo>
                    <a:pt x="757853" y="944873"/>
                    <a:pt x="761274" y="942918"/>
                    <a:pt x="761274" y="942918"/>
                  </a:cubicBezTo>
                  <a:lnTo>
                    <a:pt x="768279" y="937705"/>
                  </a:lnTo>
                  <a:lnTo>
                    <a:pt x="770723" y="935424"/>
                  </a:lnTo>
                  <a:lnTo>
                    <a:pt x="771212" y="936891"/>
                  </a:lnTo>
                  <a:lnTo>
                    <a:pt x="770397" y="939334"/>
                  </a:lnTo>
                  <a:lnTo>
                    <a:pt x="771538" y="940312"/>
                  </a:lnTo>
                  <a:lnTo>
                    <a:pt x="774633" y="937542"/>
                  </a:lnTo>
                  <a:lnTo>
                    <a:pt x="776425" y="937542"/>
                  </a:lnTo>
                  <a:lnTo>
                    <a:pt x="778217" y="939823"/>
                  </a:lnTo>
                  <a:lnTo>
                    <a:pt x="784896" y="945199"/>
                  </a:lnTo>
                  <a:lnTo>
                    <a:pt x="792064" y="946176"/>
                  </a:lnTo>
                  <a:lnTo>
                    <a:pt x="797766" y="948783"/>
                  </a:lnTo>
                  <a:lnTo>
                    <a:pt x="804119" y="950249"/>
                  </a:lnTo>
                  <a:lnTo>
                    <a:pt x="807703" y="950249"/>
                  </a:lnTo>
                  <a:cubicBezTo>
                    <a:pt x="807703" y="950249"/>
                    <a:pt x="814709" y="950412"/>
                    <a:pt x="814709" y="950412"/>
                  </a:cubicBezTo>
                  <a:lnTo>
                    <a:pt x="816501" y="951389"/>
                  </a:lnTo>
                  <a:lnTo>
                    <a:pt x="822365" y="951878"/>
                  </a:lnTo>
                  <a:lnTo>
                    <a:pt x="828719" y="949597"/>
                  </a:lnTo>
                  <a:lnTo>
                    <a:pt x="828719" y="950901"/>
                  </a:lnTo>
                  <a:lnTo>
                    <a:pt x="826275" y="955299"/>
                  </a:lnTo>
                  <a:lnTo>
                    <a:pt x="821551" y="958395"/>
                  </a:lnTo>
                  <a:lnTo>
                    <a:pt x="816175" y="959372"/>
                  </a:lnTo>
                  <a:lnTo>
                    <a:pt x="813894" y="958557"/>
                  </a:lnTo>
                  <a:lnTo>
                    <a:pt x="809984" y="961327"/>
                  </a:lnTo>
                  <a:lnTo>
                    <a:pt x="809984" y="963445"/>
                  </a:lnTo>
                  <a:lnTo>
                    <a:pt x="812591" y="965237"/>
                  </a:lnTo>
                  <a:lnTo>
                    <a:pt x="813079" y="967517"/>
                  </a:lnTo>
                  <a:lnTo>
                    <a:pt x="811450" y="968658"/>
                  </a:lnTo>
                  <a:lnTo>
                    <a:pt x="809007" y="968006"/>
                  </a:lnTo>
                  <a:lnTo>
                    <a:pt x="807215" y="966051"/>
                  </a:lnTo>
                  <a:lnTo>
                    <a:pt x="805097" y="965237"/>
                  </a:lnTo>
                  <a:lnTo>
                    <a:pt x="803957" y="968006"/>
                  </a:lnTo>
                  <a:lnTo>
                    <a:pt x="803142" y="970124"/>
                  </a:lnTo>
                  <a:lnTo>
                    <a:pt x="800861" y="968658"/>
                  </a:lnTo>
                  <a:lnTo>
                    <a:pt x="796300" y="968658"/>
                  </a:lnTo>
                  <a:cubicBezTo>
                    <a:pt x="796300" y="968658"/>
                    <a:pt x="795322" y="970124"/>
                    <a:pt x="795322" y="970124"/>
                  </a:cubicBezTo>
                  <a:lnTo>
                    <a:pt x="795811" y="972568"/>
                  </a:lnTo>
                  <a:lnTo>
                    <a:pt x="797114" y="973545"/>
                  </a:lnTo>
                  <a:lnTo>
                    <a:pt x="797114" y="976477"/>
                  </a:lnTo>
                  <a:cubicBezTo>
                    <a:pt x="797114" y="976477"/>
                    <a:pt x="794671" y="978432"/>
                    <a:pt x="794671" y="978432"/>
                  </a:cubicBezTo>
                  <a:lnTo>
                    <a:pt x="791412" y="979410"/>
                  </a:lnTo>
                  <a:lnTo>
                    <a:pt x="789620" y="977618"/>
                  </a:lnTo>
                  <a:lnTo>
                    <a:pt x="787828" y="976152"/>
                  </a:lnTo>
                  <a:lnTo>
                    <a:pt x="786688" y="977455"/>
                  </a:lnTo>
                  <a:lnTo>
                    <a:pt x="787340" y="979736"/>
                  </a:lnTo>
                  <a:lnTo>
                    <a:pt x="787340" y="983320"/>
                  </a:lnTo>
                  <a:lnTo>
                    <a:pt x="784407" y="983320"/>
                  </a:lnTo>
                  <a:lnTo>
                    <a:pt x="782290" y="984297"/>
                  </a:lnTo>
                  <a:lnTo>
                    <a:pt x="779846" y="986741"/>
                  </a:lnTo>
                  <a:lnTo>
                    <a:pt x="776425" y="985112"/>
                  </a:lnTo>
                  <a:lnTo>
                    <a:pt x="775610" y="983157"/>
                  </a:lnTo>
                  <a:lnTo>
                    <a:pt x="773655" y="983157"/>
                  </a:lnTo>
                  <a:lnTo>
                    <a:pt x="773655" y="986741"/>
                  </a:lnTo>
                  <a:lnTo>
                    <a:pt x="774633" y="990162"/>
                  </a:lnTo>
                  <a:lnTo>
                    <a:pt x="772189" y="994235"/>
                  </a:lnTo>
                  <a:lnTo>
                    <a:pt x="769094" y="992605"/>
                  </a:lnTo>
                  <a:lnTo>
                    <a:pt x="768117" y="989999"/>
                  </a:lnTo>
                  <a:lnTo>
                    <a:pt x="765021" y="991465"/>
                  </a:lnTo>
                  <a:lnTo>
                    <a:pt x="764533" y="993420"/>
                  </a:lnTo>
                  <a:lnTo>
                    <a:pt x="766487" y="995049"/>
                  </a:lnTo>
                  <a:lnTo>
                    <a:pt x="766487" y="998307"/>
                  </a:lnTo>
                  <a:cubicBezTo>
                    <a:pt x="766487" y="998307"/>
                    <a:pt x="761274" y="1001565"/>
                    <a:pt x="761274" y="1001565"/>
                  </a:cubicBezTo>
                  <a:lnTo>
                    <a:pt x="759319" y="1000914"/>
                  </a:lnTo>
                  <a:lnTo>
                    <a:pt x="758179" y="998633"/>
                  </a:lnTo>
                  <a:lnTo>
                    <a:pt x="755084" y="996841"/>
                  </a:lnTo>
                  <a:lnTo>
                    <a:pt x="752966" y="997167"/>
                  </a:lnTo>
                  <a:lnTo>
                    <a:pt x="752966" y="999611"/>
                  </a:lnTo>
                  <a:cubicBezTo>
                    <a:pt x="752966" y="999611"/>
                    <a:pt x="754595" y="1003195"/>
                    <a:pt x="754595" y="1003195"/>
                  </a:cubicBezTo>
                  <a:lnTo>
                    <a:pt x="754595" y="1005475"/>
                  </a:lnTo>
                  <a:lnTo>
                    <a:pt x="752152" y="1006941"/>
                  </a:lnTo>
                  <a:lnTo>
                    <a:pt x="747753" y="1008082"/>
                  </a:lnTo>
                  <a:lnTo>
                    <a:pt x="746450" y="1010200"/>
                  </a:lnTo>
                  <a:lnTo>
                    <a:pt x="741399" y="1010525"/>
                  </a:lnTo>
                  <a:lnTo>
                    <a:pt x="738467" y="1013458"/>
                  </a:lnTo>
                  <a:lnTo>
                    <a:pt x="737001" y="1016716"/>
                  </a:lnTo>
                  <a:lnTo>
                    <a:pt x="735046" y="1016716"/>
                  </a:lnTo>
                  <a:lnTo>
                    <a:pt x="733417" y="1013784"/>
                  </a:lnTo>
                  <a:lnTo>
                    <a:pt x="730485" y="1013784"/>
                  </a:lnTo>
                  <a:cubicBezTo>
                    <a:pt x="730485" y="1013784"/>
                    <a:pt x="726086" y="1016390"/>
                    <a:pt x="726086" y="1016390"/>
                  </a:cubicBezTo>
                  <a:lnTo>
                    <a:pt x="722502" y="1016390"/>
                  </a:lnTo>
                  <a:lnTo>
                    <a:pt x="720710" y="1017531"/>
                  </a:lnTo>
                  <a:lnTo>
                    <a:pt x="719081" y="1020626"/>
                  </a:lnTo>
                  <a:lnTo>
                    <a:pt x="716149" y="1020952"/>
                  </a:lnTo>
                  <a:lnTo>
                    <a:pt x="713542" y="1019811"/>
                  </a:lnTo>
                  <a:lnTo>
                    <a:pt x="712239" y="1018019"/>
                  </a:lnTo>
                  <a:lnTo>
                    <a:pt x="710610" y="1018019"/>
                  </a:lnTo>
                  <a:cubicBezTo>
                    <a:pt x="710610" y="1018019"/>
                    <a:pt x="708003" y="1023069"/>
                    <a:pt x="708003" y="1023069"/>
                  </a:cubicBezTo>
                  <a:lnTo>
                    <a:pt x="706211" y="1021929"/>
                  </a:lnTo>
                  <a:lnTo>
                    <a:pt x="703930" y="1018671"/>
                  </a:lnTo>
                  <a:lnTo>
                    <a:pt x="702464" y="1018671"/>
                  </a:lnTo>
                  <a:cubicBezTo>
                    <a:pt x="702464" y="1018671"/>
                    <a:pt x="701324" y="1022255"/>
                    <a:pt x="701324" y="1022255"/>
                  </a:cubicBezTo>
                  <a:lnTo>
                    <a:pt x="699043" y="1024536"/>
                  </a:lnTo>
                  <a:lnTo>
                    <a:pt x="696599" y="1023232"/>
                  </a:lnTo>
                  <a:lnTo>
                    <a:pt x="696111" y="1021277"/>
                  </a:lnTo>
                  <a:lnTo>
                    <a:pt x="694645" y="1020952"/>
                  </a:lnTo>
                  <a:lnTo>
                    <a:pt x="694645" y="1023721"/>
                  </a:lnTo>
                  <a:cubicBezTo>
                    <a:pt x="694645" y="1023721"/>
                    <a:pt x="693015" y="1024699"/>
                    <a:pt x="693015" y="1024699"/>
                  </a:cubicBezTo>
                  <a:lnTo>
                    <a:pt x="689106" y="1024373"/>
                  </a:lnTo>
                  <a:lnTo>
                    <a:pt x="686336" y="1025187"/>
                  </a:lnTo>
                  <a:lnTo>
                    <a:pt x="686662" y="1027468"/>
                  </a:lnTo>
                  <a:lnTo>
                    <a:pt x="685847" y="1029749"/>
                  </a:lnTo>
                  <a:lnTo>
                    <a:pt x="682752" y="1029749"/>
                  </a:lnTo>
                  <a:cubicBezTo>
                    <a:pt x="682752" y="1029749"/>
                    <a:pt x="681449" y="1028445"/>
                    <a:pt x="681449" y="1028445"/>
                  </a:cubicBezTo>
                  <a:lnTo>
                    <a:pt x="679494" y="1028934"/>
                  </a:lnTo>
                  <a:lnTo>
                    <a:pt x="679168" y="1031541"/>
                  </a:lnTo>
                  <a:lnTo>
                    <a:pt x="677376" y="1031541"/>
                  </a:lnTo>
                  <a:cubicBezTo>
                    <a:pt x="677376" y="1031541"/>
                    <a:pt x="676073" y="1029749"/>
                    <a:pt x="676073" y="1029749"/>
                  </a:cubicBezTo>
                  <a:lnTo>
                    <a:pt x="674770" y="1030075"/>
                  </a:lnTo>
                  <a:lnTo>
                    <a:pt x="674281" y="1034310"/>
                  </a:lnTo>
                  <a:lnTo>
                    <a:pt x="671674" y="1035288"/>
                  </a:lnTo>
                  <a:lnTo>
                    <a:pt x="669882" y="1037405"/>
                  </a:lnTo>
                  <a:lnTo>
                    <a:pt x="667439" y="1037731"/>
                  </a:lnTo>
                  <a:lnTo>
                    <a:pt x="666136" y="1035288"/>
                  </a:lnTo>
                  <a:lnTo>
                    <a:pt x="661085" y="1029423"/>
                  </a:lnTo>
                  <a:lnTo>
                    <a:pt x="659130" y="1028445"/>
                  </a:lnTo>
                  <a:lnTo>
                    <a:pt x="656524" y="1029749"/>
                  </a:lnTo>
                  <a:lnTo>
                    <a:pt x="656524" y="1031541"/>
                  </a:lnTo>
                  <a:lnTo>
                    <a:pt x="654243" y="1031867"/>
                  </a:lnTo>
                  <a:lnTo>
                    <a:pt x="653266" y="1035125"/>
                  </a:lnTo>
                  <a:lnTo>
                    <a:pt x="650007" y="1037405"/>
                  </a:lnTo>
                  <a:lnTo>
                    <a:pt x="647238" y="1037405"/>
                  </a:lnTo>
                  <a:lnTo>
                    <a:pt x="645772" y="1036265"/>
                  </a:lnTo>
                  <a:lnTo>
                    <a:pt x="643980" y="1038872"/>
                  </a:lnTo>
                  <a:lnTo>
                    <a:pt x="639907" y="1039360"/>
                  </a:lnTo>
                  <a:lnTo>
                    <a:pt x="635997" y="1038872"/>
                  </a:lnTo>
                  <a:lnTo>
                    <a:pt x="633717" y="1035613"/>
                  </a:lnTo>
                  <a:lnTo>
                    <a:pt x="631436" y="1035613"/>
                  </a:lnTo>
                  <a:cubicBezTo>
                    <a:pt x="631436" y="1035613"/>
                    <a:pt x="629807" y="1038057"/>
                    <a:pt x="629807" y="1038057"/>
                  </a:cubicBezTo>
                  <a:lnTo>
                    <a:pt x="629318" y="1040012"/>
                  </a:lnTo>
                  <a:lnTo>
                    <a:pt x="626711" y="1039523"/>
                  </a:lnTo>
                  <a:lnTo>
                    <a:pt x="623128" y="1037243"/>
                  </a:lnTo>
                  <a:lnTo>
                    <a:pt x="621498" y="1033333"/>
                  </a:lnTo>
                  <a:lnTo>
                    <a:pt x="622639" y="1029749"/>
                  </a:lnTo>
                  <a:lnTo>
                    <a:pt x="620521" y="1027957"/>
                  </a:lnTo>
                  <a:lnTo>
                    <a:pt x="617914" y="1027142"/>
                  </a:lnTo>
                  <a:lnTo>
                    <a:pt x="615471" y="1022255"/>
                  </a:lnTo>
                  <a:lnTo>
                    <a:pt x="615471" y="1018671"/>
                  </a:lnTo>
                  <a:cubicBezTo>
                    <a:pt x="615471" y="1018671"/>
                    <a:pt x="613516" y="1015413"/>
                    <a:pt x="613516" y="1015413"/>
                  </a:cubicBezTo>
                  <a:lnTo>
                    <a:pt x="612050" y="1010525"/>
                  </a:lnTo>
                  <a:lnTo>
                    <a:pt x="610258" y="1008896"/>
                  </a:lnTo>
                  <a:lnTo>
                    <a:pt x="607977" y="1009385"/>
                  </a:lnTo>
                  <a:lnTo>
                    <a:pt x="607488" y="1013132"/>
                  </a:lnTo>
                  <a:lnTo>
                    <a:pt x="608628" y="1015250"/>
                  </a:lnTo>
                  <a:lnTo>
                    <a:pt x="610258" y="1019485"/>
                  </a:lnTo>
                  <a:lnTo>
                    <a:pt x="612538" y="1021603"/>
                  </a:lnTo>
                  <a:lnTo>
                    <a:pt x="613842" y="1024862"/>
                  </a:lnTo>
                  <a:lnTo>
                    <a:pt x="613842" y="1029749"/>
                  </a:lnTo>
                  <a:cubicBezTo>
                    <a:pt x="613842" y="1029749"/>
                    <a:pt x="612375" y="1033007"/>
                    <a:pt x="612375" y="1033007"/>
                  </a:cubicBezTo>
                  <a:lnTo>
                    <a:pt x="613516" y="1033984"/>
                  </a:lnTo>
                  <a:lnTo>
                    <a:pt x="616122" y="1034310"/>
                  </a:lnTo>
                  <a:lnTo>
                    <a:pt x="617100" y="1039686"/>
                  </a:lnTo>
                  <a:lnTo>
                    <a:pt x="615959" y="1045714"/>
                  </a:lnTo>
                  <a:lnTo>
                    <a:pt x="613353" y="1048972"/>
                  </a:lnTo>
                  <a:lnTo>
                    <a:pt x="610258" y="1050275"/>
                  </a:lnTo>
                  <a:lnTo>
                    <a:pt x="608791" y="1048646"/>
                  </a:lnTo>
                  <a:lnTo>
                    <a:pt x="606837" y="1048646"/>
                  </a:lnTo>
                  <a:cubicBezTo>
                    <a:pt x="606837" y="1048646"/>
                    <a:pt x="603090" y="1050601"/>
                    <a:pt x="603090" y="1050601"/>
                  </a:cubicBezTo>
                  <a:lnTo>
                    <a:pt x="599506" y="1055488"/>
                  </a:lnTo>
                  <a:lnTo>
                    <a:pt x="597551" y="1056466"/>
                  </a:lnTo>
                  <a:lnTo>
                    <a:pt x="594293" y="1056140"/>
                  </a:lnTo>
                  <a:lnTo>
                    <a:pt x="593152" y="1057932"/>
                  </a:lnTo>
                  <a:lnTo>
                    <a:pt x="593641" y="1059072"/>
                  </a:lnTo>
                  <a:lnTo>
                    <a:pt x="593641" y="1062005"/>
                  </a:lnTo>
                  <a:cubicBezTo>
                    <a:pt x="593641" y="1062005"/>
                    <a:pt x="590383" y="1063960"/>
                    <a:pt x="590383" y="1063960"/>
                  </a:cubicBezTo>
                  <a:lnTo>
                    <a:pt x="587125" y="1064286"/>
                  </a:lnTo>
                  <a:lnTo>
                    <a:pt x="586310" y="1067381"/>
                  </a:lnTo>
                  <a:lnTo>
                    <a:pt x="586310" y="1070150"/>
                  </a:lnTo>
                  <a:lnTo>
                    <a:pt x="585984" y="1072757"/>
                  </a:lnTo>
                  <a:lnTo>
                    <a:pt x="583378" y="1070150"/>
                  </a:lnTo>
                  <a:lnTo>
                    <a:pt x="581097" y="1069336"/>
                  </a:lnTo>
                  <a:lnTo>
                    <a:pt x="583052" y="1071616"/>
                  </a:lnTo>
                  <a:lnTo>
                    <a:pt x="583703" y="1073571"/>
                  </a:lnTo>
                  <a:lnTo>
                    <a:pt x="582726" y="1076667"/>
                  </a:lnTo>
                  <a:lnTo>
                    <a:pt x="580934" y="1076667"/>
                  </a:lnTo>
                  <a:cubicBezTo>
                    <a:pt x="580934" y="1076667"/>
                    <a:pt x="578979" y="1075526"/>
                    <a:pt x="578979" y="1075526"/>
                  </a:cubicBezTo>
                  <a:lnTo>
                    <a:pt x="576536" y="1074549"/>
                  </a:lnTo>
                  <a:lnTo>
                    <a:pt x="576047" y="1075689"/>
                  </a:lnTo>
                  <a:lnTo>
                    <a:pt x="576861" y="1077644"/>
                  </a:lnTo>
                  <a:lnTo>
                    <a:pt x="577676" y="1080088"/>
                  </a:lnTo>
                  <a:lnTo>
                    <a:pt x="575395" y="1083020"/>
                  </a:lnTo>
                  <a:lnTo>
                    <a:pt x="571322" y="1084323"/>
                  </a:lnTo>
                  <a:lnTo>
                    <a:pt x="565620" y="1090514"/>
                  </a:lnTo>
                  <a:lnTo>
                    <a:pt x="565132" y="1093772"/>
                  </a:lnTo>
                  <a:lnTo>
                    <a:pt x="565783" y="1097030"/>
                  </a:lnTo>
                  <a:lnTo>
                    <a:pt x="564480" y="1100614"/>
                  </a:lnTo>
                  <a:lnTo>
                    <a:pt x="560896" y="1105013"/>
                  </a:lnTo>
                  <a:lnTo>
                    <a:pt x="558290" y="1106642"/>
                  </a:lnTo>
                  <a:lnTo>
                    <a:pt x="556986" y="1105664"/>
                  </a:lnTo>
                  <a:lnTo>
                    <a:pt x="555846" y="1103709"/>
                  </a:lnTo>
                  <a:lnTo>
                    <a:pt x="556823" y="1101592"/>
                  </a:lnTo>
                  <a:lnTo>
                    <a:pt x="554543" y="1102732"/>
                  </a:lnTo>
                  <a:lnTo>
                    <a:pt x="552913" y="1104687"/>
                  </a:lnTo>
                  <a:lnTo>
                    <a:pt x="552262" y="1108271"/>
                  </a:lnTo>
                  <a:lnTo>
                    <a:pt x="552262" y="1109737"/>
                  </a:lnTo>
                  <a:cubicBezTo>
                    <a:pt x="552262" y="1109737"/>
                    <a:pt x="551610" y="1111366"/>
                    <a:pt x="551610" y="1111366"/>
                  </a:cubicBezTo>
                  <a:lnTo>
                    <a:pt x="545257" y="1117394"/>
                  </a:lnTo>
                  <a:lnTo>
                    <a:pt x="542650" y="1118697"/>
                  </a:lnTo>
                  <a:lnTo>
                    <a:pt x="541347" y="1117720"/>
                  </a:lnTo>
                  <a:lnTo>
                    <a:pt x="541347" y="1114787"/>
                  </a:lnTo>
                  <a:cubicBezTo>
                    <a:pt x="541347" y="1114787"/>
                    <a:pt x="539718" y="1112832"/>
                    <a:pt x="539718" y="1112832"/>
                  </a:cubicBezTo>
                  <a:lnTo>
                    <a:pt x="537437" y="1113321"/>
                  </a:lnTo>
                  <a:lnTo>
                    <a:pt x="537437" y="1116254"/>
                  </a:lnTo>
                  <a:lnTo>
                    <a:pt x="535156" y="1116254"/>
                  </a:lnTo>
                  <a:lnTo>
                    <a:pt x="530432" y="1113810"/>
                  </a:lnTo>
                  <a:lnTo>
                    <a:pt x="528966" y="1111529"/>
                  </a:lnTo>
                  <a:lnTo>
                    <a:pt x="527011" y="1111040"/>
                  </a:lnTo>
                  <a:lnTo>
                    <a:pt x="526034" y="1111855"/>
                  </a:lnTo>
                  <a:lnTo>
                    <a:pt x="527826" y="1114462"/>
                  </a:lnTo>
                  <a:lnTo>
                    <a:pt x="529780" y="1115439"/>
                  </a:lnTo>
                  <a:lnTo>
                    <a:pt x="532061" y="1119349"/>
                  </a:lnTo>
                  <a:lnTo>
                    <a:pt x="532061" y="1122607"/>
                  </a:lnTo>
                  <a:cubicBezTo>
                    <a:pt x="532061" y="1122607"/>
                    <a:pt x="529455" y="1124236"/>
                    <a:pt x="529455" y="1124236"/>
                  </a:cubicBezTo>
                  <a:lnTo>
                    <a:pt x="527500" y="1124236"/>
                  </a:lnTo>
                  <a:cubicBezTo>
                    <a:pt x="527500" y="1124236"/>
                    <a:pt x="520983" y="1128472"/>
                    <a:pt x="520983" y="1128472"/>
                  </a:cubicBezTo>
                  <a:lnTo>
                    <a:pt x="517074" y="1132707"/>
                  </a:lnTo>
                  <a:lnTo>
                    <a:pt x="513653" y="1133033"/>
                  </a:lnTo>
                  <a:lnTo>
                    <a:pt x="511046" y="1131241"/>
                  </a:lnTo>
                  <a:lnTo>
                    <a:pt x="511372" y="1128798"/>
                  </a:lnTo>
                  <a:lnTo>
                    <a:pt x="512349" y="1126517"/>
                  </a:lnTo>
                  <a:lnTo>
                    <a:pt x="511046" y="1125539"/>
                  </a:lnTo>
                  <a:lnTo>
                    <a:pt x="509417" y="1125539"/>
                  </a:lnTo>
                  <a:cubicBezTo>
                    <a:pt x="509417" y="1125539"/>
                    <a:pt x="507951" y="1128309"/>
                    <a:pt x="507951" y="1128309"/>
                  </a:cubicBezTo>
                  <a:lnTo>
                    <a:pt x="508439" y="1130590"/>
                  </a:lnTo>
                  <a:lnTo>
                    <a:pt x="507788" y="1133033"/>
                  </a:lnTo>
                  <a:lnTo>
                    <a:pt x="504855" y="1133033"/>
                  </a:lnTo>
                  <a:lnTo>
                    <a:pt x="501108" y="1134825"/>
                  </a:lnTo>
                  <a:lnTo>
                    <a:pt x="497524" y="1133522"/>
                  </a:lnTo>
                  <a:lnTo>
                    <a:pt x="495244" y="1129123"/>
                  </a:lnTo>
                  <a:lnTo>
                    <a:pt x="495570" y="1126191"/>
                  </a:lnTo>
                  <a:lnTo>
                    <a:pt x="496873" y="1122933"/>
                  </a:lnTo>
                  <a:lnTo>
                    <a:pt x="495732" y="1120489"/>
                  </a:lnTo>
                  <a:lnTo>
                    <a:pt x="494429" y="1120489"/>
                  </a:lnTo>
                  <a:cubicBezTo>
                    <a:pt x="494429" y="1120489"/>
                    <a:pt x="493452" y="1125539"/>
                    <a:pt x="493452" y="1125539"/>
                  </a:cubicBezTo>
                  <a:lnTo>
                    <a:pt x="492311" y="1129449"/>
                  </a:lnTo>
                  <a:lnTo>
                    <a:pt x="492311" y="1132056"/>
                  </a:lnTo>
                  <a:cubicBezTo>
                    <a:pt x="492311" y="1132056"/>
                    <a:pt x="491334" y="1134988"/>
                    <a:pt x="491334" y="1134988"/>
                  </a:cubicBezTo>
                  <a:lnTo>
                    <a:pt x="489379" y="1134011"/>
                  </a:lnTo>
                  <a:lnTo>
                    <a:pt x="483677" y="1127168"/>
                  </a:lnTo>
                  <a:lnTo>
                    <a:pt x="483677" y="1123421"/>
                  </a:lnTo>
                  <a:lnTo>
                    <a:pt x="485632" y="1118534"/>
                  </a:lnTo>
                  <a:lnTo>
                    <a:pt x="488890" y="1115602"/>
                  </a:lnTo>
                  <a:lnTo>
                    <a:pt x="491823" y="1113321"/>
                  </a:lnTo>
                  <a:lnTo>
                    <a:pt x="489868" y="1111692"/>
                  </a:lnTo>
                  <a:lnTo>
                    <a:pt x="485795" y="1110715"/>
                  </a:lnTo>
                  <a:lnTo>
                    <a:pt x="483026" y="1107456"/>
                  </a:lnTo>
                  <a:lnTo>
                    <a:pt x="483026" y="1106153"/>
                  </a:lnTo>
                  <a:lnTo>
                    <a:pt x="481885" y="1105502"/>
                  </a:lnTo>
                  <a:lnTo>
                    <a:pt x="479604" y="1106479"/>
                  </a:lnTo>
                  <a:lnTo>
                    <a:pt x="477812" y="1109248"/>
                  </a:lnTo>
                  <a:lnTo>
                    <a:pt x="478138" y="1111203"/>
                  </a:lnTo>
                  <a:lnTo>
                    <a:pt x="481234" y="1114624"/>
                  </a:lnTo>
                  <a:lnTo>
                    <a:pt x="480419" y="1117231"/>
                  </a:lnTo>
                  <a:lnTo>
                    <a:pt x="478464" y="1120326"/>
                  </a:lnTo>
                  <a:lnTo>
                    <a:pt x="477650" y="1123910"/>
                  </a:lnTo>
                  <a:lnTo>
                    <a:pt x="474065" y="1127657"/>
                  </a:lnTo>
                  <a:lnTo>
                    <a:pt x="471785" y="1127657"/>
                  </a:lnTo>
                  <a:cubicBezTo>
                    <a:pt x="471785" y="1127657"/>
                    <a:pt x="470970" y="1123584"/>
                    <a:pt x="470970" y="1123584"/>
                  </a:cubicBezTo>
                  <a:lnTo>
                    <a:pt x="469341" y="1122607"/>
                  </a:lnTo>
                  <a:lnTo>
                    <a:pt x="467061" y="1125213"/>
                  </a:lnTo>
                  <a:lnTo>
                    <a:pt x="467712" y="1128309"/>
                  </a:lnTo>
                  <a:lnTo>
                    <a:pt x="470319" y="1133685"/>
                  </a:lnTo>
                  <a:lnTo>
                    <a:pt x="472762" y="1136780"/>
                  </a:lnTo>
                  <a:lnTo>
                    <a:pt x="472273" y="1138735"/>
                  </a:lnTo>
                  <a:lnTo>
                    <a:pt x="470807" y="1139549"/>
                  </a:lnTo>
                  <a:lnTo>
                    <a:pt x="469830" y="1142645"/>
                  </a:lnTo>
                  <a:lnTo>
                    <a:pt x="466572" y="1144925"/>
                  </a:lnTo>
                  <a:lnTo>
                    <a:pt x="462988" y="1144600"/>
                  </a:lnTo>
                  <a:lnTo>
                    <a:pt x="461196" y="1142645"/>
                  </a:lnTo>
                  <a:lnTo>
                    <a:pt x="459241" y="1143459"/>
                  </a:lnTo>
                  <a:lnTo>
                    <a:pt x="457123" y="1146066"/>
                  </a:lnTo>
                  <a:lnTo>
                    <a:pt x="453213" y="1147858"/>
                  </a:lnTo>
                  <a:lnTo>
                    <a:pt x="451584" y="1146229"/>
                  </a:lnTo>
                  <a:lnTo>
                    <a:pt x="449955" y="1141830"/>
                  </a:lnTo>
                  <a:lnTo>
                    <a:pt x="448652" y="1139224"/>
                  </a:lnTo>
                  <a:lnTo>
                    <a:pt x="447023" y="1139224"/>
                  </a:lnTo>
                  <a:cubicBezTo>
                    <a:pt x="447023" y="1139224"/>
                    <a:pt x="446697" y="1141341"/>
                    <a:pt x="446697" y="1141341"/>
                  </a:cubicBezTo>
                  <a:lnTo>
                    <a:pt x="446697" y="1143622"/>
                  </a:lnTo>
                  <a:lnTo>
                    <a:pt x="444253" y="1146392"/>
                  </a:lnTo>
                  <a:lnTo>
                    <a:pt x="441158" y="1145903"/>
                  </a:lnTo>
                  <a:lnTo>
                    <a:pt x="439366" y="1142156"/>
                  </a:lnTo>
                  <a:lnTo>
                    <a:pt x="437737" y="1139549"/>
                  </a:lnTo>
                  <a:lnTo>
                    <a:pt x="436108" y="1140201"/>
                  </a:lnTo>
                  <a:lnTo>
                    <a:pt x="434804" y="1142319"/>
                  </a:lnTo>
                  <a:lnTo>
                    <a:pt x="432035" y="1142319"/>
                  </a:lnTo>
                  <a:cubicBezTo>
                    <a:pt x="432035" y="1142319"/>
                    <a:pt x="430080" y="1143948"/>
                    <a:pt x="430080" y="1143948"/>
                  </a:cubicBezTo>
                  <a:lnTo>
                    <a:pt x="430569" y="1145740"/>
                  </a:lnTo>
                  <a:lnTo>
                    <a:pt x="431709" y="1149324"/>
                  </a:lnTo>
                  <a:lnTo>
                    <a:pt x="431709" y="1155026"/>
                  </a:lnTo>
                  <a:lnTo>
                    <a:pt x="429265" y="1160728"/>
                  </a:lnTo>
                  <a:lnTo>
                    <a:pt x="424704" y="1166267"/>
                  </a:lnTo>
                  <a:lnTo>
                    <a:pt x="421772" y="1166592"/>
                  </a:lnTo>
                  <a:lnTo>
                    <a:pt x="419817" y="1164963"/>
                  </a:lnTo>
                  <a:lnTo>
                    <a:pt x="418188" y="1159587"/>
                  </a:lnTo>
                  <a:lnTo>
                    <a:pt x="415581" y="1158121"/>
                  </a:lnTo>
                  <a:lnTo>
                    <a:pt x="413300" y="1159262"/>
                  </a:lnTo>
                  <a:lnTo>
                    <a:pt x="412975" y="1161542"/>
                  </a:lnTo>
                  <a:lnTo>
                    <a:pt x="408902" y="1159913"/>
                  </a:lnTo>
                  <a:lnTo>
                    <a:pt x="407762" y="1156981"/>
                  </a:lnTo>
                  <a:lnTo>
                    <a:pt x="406132" y="1156166"/>
                  </a:lnTo>
                  <a:lnTo>
                    <a:pt x="405481" y="1158121"/>
                  </a:lnTo>
                  <a:lnTo>
                    <a:pt x="405481" y="1160076"/>
                  </a:lnTo>
                  <a:cubicBezTo>
                    <a:pt x="405481" y="1160076"/>
                    <a:pt x="406947" y="1164475"/>
                    <a:pt x="406947" y="1164475"/>
                  </a:cubicBezTo>
                  <a:lnTo>
                    <a:pt x="404992" y="1166918"/>
                  </a:lnTo>
                  <a:lnTo>
                    <a:pt x="404992" y="1168873"/>
                  </a:lnTo>
                  <a:lnTo>
                    <a:pt x="406295" y="1172457"/>
                  </a:lnTo>
                  <a:lnTo>
                    <a:pt x="408902" y="1174901"/>
                  </a:lnTo>
                  <a:lnTo>
                    <a:pt x="410368" y="1180114"/>
                  </a:lnTo>
                  <a:lnTo>
                    <a:pt x="411346" y="1187282"/>
                  </a:lnTo>
                  <a:lnTo>
                    <a:pt x="410368" y="1191518"/>
                  </a:lnTo>
                  <a:lnTo>
                    <a:pt x="407110" y="1189237"/>
                  </a:lnTo>
                  <a:lnTo>
                    <a:pt x="405155" y="1189237"/>
                  </a:lnTo>
                  <a:cubicBezTo>
                    <a:pt x="405155" y="1189237"/>
                    <a:pt x="403852" y="1191843"/>
                    <a:pt x="403852" y="1191843"/>
                  </a:cubicBezTo>
                  <a:lnTo>
                    <a:pt x="399942" y="1192169"/>
                  </a:lnTo>
                  <a:lnTo>
                    <a:pt x="395055" y="1190866"/>
                  </a:lnTo>
                  <a:lnTo>
                    <a:pt x="390493" y="1191192"/>
                  </a:lnTo>
                  <a:lnTo>
                    <a:pt x="388538" y="1193635"/>
                  </a:lnTo>
                  <a:lnTo>
                    <a:pt x="389516" y="1195264"/>
                  </a:lnTo>
                  <a:lnTo>
                    <a:pt x="395218" y="1198523"/>
                  </a:lnTo>
                  <a:lnTo>
                    <a:pt x="398964" y="1198849"/>
                  </a:lnTo>
                  <a:lnTo>
                    <a:pt x="401571" y="1200966"/>
                  </a:lnTo>
                  <a:lnTo>
                    <a:pt x="403363" y="1202758"/>
                  </a:lnTo>
                  <a:lnTo>
                    <a:pt x="405318" y="1201781"/>
                  </a:lnTo>
                  <a:lnTo>
                    <a:pt x="408087" y="1202107"/>
                  </a:lnTo>
                  <a:lnTo>
                    <a:pt x="408087" y="1204387"/>
                  </a:lnTo>
                  <a:lnTo>
                    <a:pt x="406947" y="1207971"/>
                  </a:lnTo>
                  <a:lnTo>
                    <a:pt x="404340" y="1208460"/>
                  </a:lnTo>
                  <a:lnTo>
                    <a:pt x="401897" y="1208460"/>
                  </a:lnTo>
                  <a:cubicBezTo>
                    <a:pt x="401897" y="1208460"/>
                    <a:pt x="401897" y="1210089"/>
                    <a:pt x="401897" y="1210089"/>
                  </a:cubicBezTo>
                  <a:lnTo>
                    <a:pt x="404178" y="1211230"/>
                  </a:lnTo>
                  <a:lnTo>
                    <a:pt x="405318" y="1213836"/>
                  </a:lnTo>
                  <a:lnTo>
                    <a:pt x="404829" y="1217909"/>
                  </a:lnTo>
                  <a:lnTo>
                    <a:pt x="404829" y="1220515"/>
                  </a:lnTo>
                  <a:cubicBezTo>
                    <a:pt x="404829" y="1220515"/>
                    <a:pt x="403852" y="1222307"/>
                    <a:pt x="403852" y="1222307"/>
                  </a:cubicBezTo>
                  <a:lnTo>
                    <a:pt x="401897" y="1223122"/>
                  </a:lnTo>
                  <a:lnTo>
                    <a:pt x="398964" y="1221982"/>
                  </a:lnTo>
                  <a:lnTo>
                    <a:pt x="395543" y="1217420"/>
                  </a:lnTo>
                  <a:lnTo>
                    <a:pt x="393100" y="1217420"/>
                  </a:lnTo>
                  <a:cubicBezTo>
                    <a:pt x="393100" y="1217420"/>
                    <a:pt x="390982" y="1216443"/>
                    <a:pt x="390982" y="1216443"/>
                  </a:cubicBezTo>
                  <a:lnTo>
                    <a:pt x="388049" y="1213347"/>
                  </a:lnTo>
                  <a:lnTo>
                    <a:pt x="385117" y="1213347"/>
                  </a:lnTo>
                  <a:cubicBezTo>
                    <a:pt x="385117" y="1213347"/>
                    <a:pt x="384140" y="1214814"/>
                    <a:pt x="384140" y="1214814"/>
                  </a:cubicBezTo>
                  <a:lnTo>
                    <a:pt x="383325" y="1217420"/>
                  </a:lnTo>
                  <a:lnTo>
                    <a:pt x="387398" y="1218072"/>
                  </a:lnTo>
                  <a:lnTo>
                    <a:pt x="389679" y="1218560"/>
                  </a:lnTo>
                  <a:lnTo>
                    <a:pt x="394403" y="1221330"/>
                  </a:lnTo>
                  <a:lnTo>
                    <a:pt x="397987" y="1223611"/>
                  </a:lnTo>
                  <a:lnTo>
                    <a:pt x="401245" y="1224914"/>
                  </a:lnTo>
                  <a:lnTo>
                    <a:pt x="402223" y="1226380"/>
                  </a:lnTo>
                  <a:lnTo>
                    <a:pt x="400919" y="1230127"/>
                  </a:lnTo>
                  <a:lnTo>
                    <a:pt x="397172" y="1231756"/>
                  </a:lnTo>
                  <a:lnTo>
                    <a:pt x="394077" y="1231430"/>
                  </a:lnTo>
                  <a:lnTo>
                    <a:pt x="392122" y="1232896"/>
                  </a:lnTo>
                  <a:lnTo>
                    <a:pt x="389027" y="1232408"/>
                  </a:lnTo>
                  <a:lnTo>
                    <a:pt x="383814" y="1227846"/>
                  </a:lnTo>
                  <a:lnTo>
                    <a:pt x="382185" y="1225403"/>
                  </a:lnTo>
                  <a:lnTo>
                    <a:pt x="379578" y="1225077"/>
                  </a:lnTo>
                  <a:lnTo>
                    <a:pt x="378112" y="1226869"/>
                  </a:lnTo>
                  <a:lnTo>
                    <a:pt x="376320" y="1228824"/>
                  </a:lnTo>
                  <a:lnTo>
                    <a:pt x="376646" y="1232734"/>
                  </a:lnTo>
                  <a:lnTo>
                    <a:pt x="379741" y="1235503"/>
                  </a:lnTo>
                  <a:lnTo>
                    <a:pt x="384791" y="1238110"/>
                  </a:lnTo>
                  <a:lnTo>
                    <a:pt x="385769" y="1240390"/>
                  </a:lnTo>
                  <a:lnTo>
                    <a:pt x="385769" y="1242671"/>
                  </a:lnTo>
                  <a:cubicBezTo>
                    <a:pt x="385769" y="1242671"/>
                    <a:pt x="384303" y="1244300"/>
                    <a:pt x="384303" y="1244300"/>
                  </a:cubicBezTo>
                  <a:lnTo>
                    <a:pt x="381207" y="1241205"/>
                  </a:lnTo>
                  <a:lnTo>
                    <a:pt x="378275" y="1240390"/>
                  </a:lnTo>
                  <a:lnTo>
                    <a:pt x="373876" y="1237784"/>
                  </a:lnTo>
                  <a:lnTo>
                    <a:pt x="371596" y="1235014"/>
                  </a:lnTo>
                  <a:lnTo>
                    <a:pt x="370292" y="1235014"/>
                  </a:lnTo>
                  <a:cubicBezTo>
                    <a:pt x="370292" y="1235014"/>
                    <a:pt x="371107" y="1239087"/>
                    <a:pt x="371107" y="1239087"/>
                  </a:cubicBezTo>
                  <a:lnTo>
                    <a:pt x="374365" y="1241694"/>
                  </a:lnTo>
                  <a:lnTo>
                    <a:pt x="379578" y="1244300"/>
                  </a:lnTo>
                  <a:lnTo>
                    <a:pt x="380556" y="1246255"/>
                  </a:lnTo>
                  <a:lnTo>
                    <a:pt x="380556" y="1248210"/>
                  </a:lnTo>
                  <a:lnTo>
                    <a:pt x="378764" y="1249513"/>
                  </a:lnTo>
                  <a:lnTo>
                    <a:pt x="373551" y="1249187"/>
                  </a:lnTo>
                  <a:lnTo>
                    <a:pt x="370944" y="1246255"/>
                  </a:lnTo>
                  <a:lnTo>
                    <a:pt x="370455" y="1242997"/>
                  </a:lnTo>
                  <a:lnTo>
                    <a:pt x="368012" y="1240716"/>
                  </a:lnTo>
                  <a:lnTo>
                    <a:pt x="366383" y="1240716"/>
                  </a:lnTo>
                  <a:cubicBezTo>
                    <a:pt x="366383" y="1240716"/>
                    <a:pt x="364428" y="1242997"/>
                    <a:pt x="364428" y="1242997"/>
                  </a:cubicBezTo>
                  <a:lnTo>
                    <a:pt x="364428" y="1245278"/>
                  </a:lnTo>
                  <a:cubicBezTo>
                    <a:pt x="364428" y="1245278"/>
                    <a:pt x="366708" y="1248047"/>
                    <a:pt x="366708" y="1248047"/>
                  </a:cubicBezTo>
                  <a:lnTo>
                    <a:pt x="367197" y="1250979"/>
                  </a:lnTo>
                  <a:lnTo>
                    <a:pt x="366871" y="1251957"/>
                  </a:lnTo>
                  <a:lnTo>
                    <a:pt x="368175" y="1253097"/>
                  </a:lnTo>
                  <a:lnTo>
                    <a:pt x="375343" y="1253586"/>
                  </a:lnTo>
                  <a:lnTo>
                    <a:pt x="378438" y="1254726"/>
                  </a:lnTo>
                  <a:lnTo>
                    <a:pt x="379252" y="1257496"/>
                  </a:lnTo>
                  <a:lnTo>
                    <a:pt x="378112" y="1258473"/>
                  </a:lnTo>
                  <a:lnTo>
                    <a:pt x="375994" y="1260754"/>
                  </a:lnTo>
                  <a:lnTo>
                    <a:pt x="374365" y="1263035"/>
                  </a:lnTo>
                  <a:lnTo>
                    <a:pt x="371596" y="1263361"/>
                  </a:lnTo>
                  <a:lnTo>
                    <a:pt x="368989" y="1261568"/>
                  </a:lnTo>
                  <a:lnTo>
                    <a:pt x="366220" y="1261568"/>
                  </a:lnTo>
                  <a:cubicBezTo>
                    <a:pt x="366220" y="1261568"/>
                    <a:pt x="361658" y="1259776"/>
                    <a:pt x="361658" y="1259776"/>
                  </a:cubicBezTo>
                  <a:lnTo>
                    <a:pt x="361658" y="1257333"/>
                  </a:lnTo>
                  <a:cubicBezTo>
                    <a:pt x="361658" y="1257333"/>
                    <a:pt x="361821" y="1256030"/>
                    <a:pt x="361821" y="1256030"/>
                  </a:cubicBezTo>
                  <a:lnTo>
                    <a:pt x="359214" y="1254400"/>
                  </a:lnTo>
                  <a:lnTo>
                    <a:pt x="357911" y="1254726"/>
                  </a:lnTo>
                  <a:lnTo>
                    <a:pt x="357911" y="1258636"/>
                  </a:lnTo>
                  <a:cubicBezTo>
                    <a:pt x="357911" y="1258636"/>
                    <a:pt x="356934" y="1261243"/>
                    <a:pt x="356934" y="1261243"/>
                  </a:cubicBezTo>
                  <a:lnTo>
                    <a:pt x="354816" y="1264501"/>
                  </a:lnTo>
                  <a:lnTo>
                    <a:pt x="350743" y="1264501"/>
                  </a:lnTo>
                  <a:cubicBezTo>
                    <a:pt x="350743" y="1264501"/>
                    <a:pt x="348463" y="1262546"/>
                    <a:pt x="348463" y="1262546"/>
                  </a:cubicBezTo>
                  <a:lnTo>
                    <a:pt x="345856" y="1260917"/>
                  </a:lnTo>
                  <a:lnTo>
                    <a:pt x="343412" y="1260917"/>
                  </a:lnTo>
                  <a:cubicBezTo>
                    <a:pt x="343412" y="1260917"/>
                    <a:pt x="343412" y="1263686"/>
                    <a:pt x="343412" y="1263686"/>
                  </a:cubicBezTo>
                  <a:lnTo>
                    <a:pt x="345367" y="1265315"/>
                  </a:lnTo>
                  <a:lnTo>
                    <a:pt x="352698" y="1268574"/>
                  </a:lnTo>
                  <a:lnTo>
                    <a:pt x="358400" y="1269877"/>
                  </a:lnTo>
                  <a:lnTo>
                    <a:pt x="360681" y="1274112"/>
                  </a:lnTo>
                  <a:lnTo>
                    <a:pt x="362310" y="1279977"/>
                  </a:lnTo>
                  <a:lnTo>
                    <a:pt x="360681" y="1280792"/>
                  </a:lnTo>
                  <a:lnTo>
                    <a:pt x="357422" y="1280792"/>
                  </a:lnTo>
                  <a:lnTo>
                    <a:pt x="354164" y="1277696"/>
                  </a:lnTo>
                  <a:lnTo>
                    <a:pt x="348463" y="1273135"/>
                  </a:lnTo>
                  <a:lnTo>
                    <a:pt x="345856" y="1271669"/>
                  </a:lnTo>
                  <a:lnTo>
                    <a:pt x="342924" y="1271995"/>
                  </a:lnTo>
                  <a:lnTo>
                    <a:pt x="342924" y="1273624"/>
                  </a:lnTo>
                  <a:lnTo>
                    <a:pt x="345367" y="1275579"/>
                  </a:lnTo>
                  <a:lnTo>
                    <a:pt x="349603" y="1276719"/>
                  </a:lnTo>
                  <a:lnTo>
                    <a:pt x="354979" y="1281606"/>
                  </a:lnTo>
                  <a:lnTo>
                    <a:pt x="358074" y="1285679"/>
                  </a:lnTo>
                  <a:lnTo>
                    <a:pt x="357586" y="1288286"/>
                  </a:lnTo>
                  <a:lnTo>
                    <a:pt x="356445" y="1292684"/>
                  </a:lnTo>
                  <a:lnTo>
                    <a:pt x="357586" y="1294639"/>
                  </a:lnTo>
                  <a:lnTo>
                    <a:pt x="357586" y="1296594"/>
                  </a:lnTo>
                  <a:cubicBezTo>
                    <a:pt x="357586" y="1296594"/>
                    <a:pt x="354979" y="1298875"/>
                    <a:pt x="354979" y="1298875"/>
                  </a:cubicBezTo>
                  <a:lnTo>
                    <a:pt x="354653" y="1301155"/>
                  </a:lnTo>
                  <a:lnTo>
                    <a:pt x="353350" y="1305065"/>
                  </a:lnTo>
                  <a:lnTo>
                    <a:pt x="350580" y="1305065"/>
                  </a:lnTo>
                  <a:lnTo>
                    <a:pt x="347811" y="1303273"/>
                  </a:lnTo>
                  <a:lnTo>
                    <a:pt x="343901" y="1302784"/>
                  </a:lnTo>
                  <a:lnTo>
                    <a:pt x="340969" y="1300830"/>
                  </a:lnTo>
                  <a:lnTo>
                    <a:pt x="338688" y="1300830"/>
                  </a:lnTo>
                  <a:cubicBezTo>
                    <a:pt x="338688" y="1300830"/>
                    <a:pt x="339828" y="1303110"/>
                    <a:pt x="339828" y="1303110"/>
                  </a:cubicBezTo>
                  <a:lnTo>
                    <a:pt x="343575" y="1305391"/>
                  </a:lnTo>
                  <a:lnTo>
                    <a:pt x="348625" y="1306206"/>
                  </a:lnTo>
                  <a:lnTo>
                    <a:pt x="348625" y="1307346"/>
                  </a:lnTo>
                  <a:cubicBezTo>
                    <a:pt x="348625" y="1307346"/>
                    <a:pt x="345693" y="1311256"/>
                    <a:pt x="345693" y="1311256"/>
                  </a:cubicBezTo>
                  <a:lnTo>
                    <a:pt x="342761" y="1310604"/>
                  </a:lnTo>
                  <a:lnTo>
                    <a:pt x="341132" y="1308812"/>
                  </a:lnTo>
                  <a:lnTo>
                    <a:pt x="339340" y="1309464"/>
                  </a:lnTo>
                  <a:lnTo>
                    <a:pt x="338851" y="1310930"/>
                  </a:lnTo>
                  <a:lnTo>
                    <a:pt x="342272" y="1312722"/>
                  </a:lnTo>
                  <a:lnTo>
                    <a:pt x="344064" y="1313862"/>
                  </a:lnTo>
                  <a:lnTo>
                    <a:pt x="344064" y="1316143"/>
                  </a:lnTo>
                  <a:lnTo>
                    <a:pt x="341783" y="1318750"/>
                  </a:lnTo>
                  <a:lnTo>
                    <a:pt x="338525" y="1320379"/>
                  </a:lnTo>
                  <a:lnTo>
                    <a:pt x="337059" y="1318261"/>
                  </a:lnTo>
                  <a:lnTo>
                    <a:pt x="334778" y="1316958"/>
                  </a:lnTo>
                  <a:lnTo>
                    <a:pt x="332009" y="1316958"/>
                  </a:lnTo>
                  <a:lnTo>
                    <a:pt x="332986" y="1319238"/>
                  </a:lnTo>
                  <a:lnTo>
                    <a:pt x="336081" y="1320704"/>
                  </a:lnTo>
                  <a:lnTo>
                    <a:pt x="339340" y="1322985"/>
                  </a:lnTo>
                  <a:lnTo>
                    <a:pt x="338851" y="1326732"/>
                  </a:lnTo>
                  <a:lnTo>
                    <a:pt x="335756" y="1328687"/>
                  </a:lnTo>
                  <a:lnTo>
                    <a:pt x="329239" y="1328198"/>
                  </a:lnTo>
                  <a:lnTo>
                    <a:pt x="326144" y="1326569"/>
                  </a:lnTo>
                  <a:lnTo>
                    <a:pt x="324352" y="1326569"/>
                  </a:lnTo>
                  <a:lnTo>
                    <a:pt x="324352" y="1328035"/>
                  </a:lnTo>
                  <a:lnTo>
                    <a:pt x="328262" y="1329827"/>
                  </a:lnTo>
                  <a:lnTo>
                    <a:pt x="336896" y="1330642"/>
                  </a:lnTo>
                  <a:lnTo>
                    <a:pt x="340969" y="1332271"/>
                  </a:lnTo>
                  <a:lnTo>
                    <a:pt x="342109" y="1334552"/>
                  </a:lnTo>
                  <a:lnTo>
                    <a:pt x="341457" y="1336344"/>
                  </a:lnTo>
                  <a:lnTo>
                    <a:pt x="337548" y="1338136"/>
                  </a:lnTo>
                  <a:lnTo>
                    <a:pt x="331031" y="1339439"/>
                  </a:lnTo>
                  <a:lnTo>
                    <a:pt x="326307" y="1338136"/>
                  </a:lnTo>
                  <a:lnTo>
                    <a:pt x="322397" y="1336507"/>
                  </a:lnTo>
                  <a:lnTo>
                    <a:pt x="321420" y="1337321"/>
                  </a:lnTo>
                  <a:lnTo>
                    <a:pt x="323212" y="1340091"/>
                  </a:lnTo>
                  <a:lnTo>
                    <a:pt x="328262" y="1341231"/>
                  </a:lnTo>
                  <a:lnTo>
                    <a:pt x="329239" y="1342697"/>
                  </a:lnTo>
                  <a:lnTo>
                    <a:pt x="328588" y="1343675"/>
                  </a:lnTo>
                  <a:lnTo>
                    <a:pt x="326633" y="1343675"/>
                  </a:lnTo>
                  <a:cubicBezTo>
                    <a:pt x="326633" y="1343675"/>
                    <a:pt x="326144" y="1344815"/>
                    <a:pt x="326144" y="1344815"/>
                  </a:cubicBezTo>
                  <a:lnTo>
                    <a:pt x="330054" y="1345955"/>
                  </a:lnTo>
                  <a:lnTo>
                    <a:pt x="333964" y="1347747"/>
                  </a:lnTo>
                  <a:lnTo>
                    <a:pt x="334452" y="1349377"/>
                  </a:lnTo>
                  <a:lnTo>
                    <a:pt x="331520" y="1351169"/>
                  </a:lnTo>
                  <a:lnTo>
                    <a:pt x="327936" y="1351169"/>
                  </a:lnTo>
                  <a:cubicBezTo>
                    <a:pt x="327936" y="1351169"/>
                    <a:pt x="325818" y="1350843"/>
                    <a:pt x="325818" y="1350843"/>
                  </a:cubicBezTo>
                  <a:lnTo>
                    <a:pt x="325492" y="1352635"/>
                  </a:lnTo>
                  <a:lnTo>
                    <a:pt x="328262" y="1353612"/>
                  </a:lnTo>
                  <a:lnTo>
                    <a:pt x="332823" y="1353123"/>
                  </a:lnTo>
                  <a:lnTo>
                    <a:pt x="336081" y="1353775"/>
                  </a:lnTo>
                  <a:lnTo>
                    <a:pt x="335267" y="1355730"/>
                  </a:lnTo>
                  <a:lnTo>
                    <a:pt x="332009" y="1358011"/>
                  </a:lnTo>
                  <a:lnTo>
                    <a:pt x="327610" y="1359803"/>
                  </a:lnTo>
                  <a:lnTo>
                    <a:pt x="324678" y="1359803"/>
                  </a:lnTo>
                  <a:cubicBezTo>
                    <a:pt x="324678" y="1359803"/>
                    <a:pt x="321420" y="1357359"/>
                    <a:pt x="321420" y="1357359"/>
                  </a:cubicBezTo>
                  <a:lnTo>
                    <a:pt x="317673" y="1353775"/>
                  </a:lnTo>
                  <a:lnTo>
                    <a:pt x="316532" y="1351331"/>
                  </a:lnTo>
                  <a:lnTo>
                    <a:pt x="315066" y="1351331"/>
                  </a:lnTo>
                  <a:lnTo>
                    <a:pt x="313274" y="1352472"/>
                  </a:lnTo>
                  <a:lnTo>
                    <a:pt x="309364" y="1351494"/>
                  </a:lnTo>
                  <a:lnTo>
                    <a:pt x="308061" y="1352635"/>
                  </a:lnTo>
                  <a:lnTo>
                    <a:pt x="309364" y="1354590"/>
                  </a:lnTo>
                  <a:lnTo>
                    <a:pt x="317347" y="1358174"/>
                  </a:lnTo>
                  <a:lnTo>
                    <a:pt x="321746" y="1360943"/>
                  </a:lnTo>
                  <a:lnTo>
                    <a:pt x="321746" y="1363224"/>
                  </a:lnTo>
                  <a:cubicBezTo>
                    <a:pt x="321746" y="1363224"/>
                    <a:pt x="320116" y="1364853"/>
                    <a:pt x="320116" y="1364853"/>
                  </a:cubicBezTo>
                  <a:lnTo>
                    <a:pt x="320442" y="1366971"/>
                  </a:lnTo>
                  <a:lnTo>
                    <a:pt x="322071" y="1366156"/>
                  </a:lnTo>
                  <a:lnTo>
                    <a:pt x="325492" y="1366156"/>
                  </a:lnTo>
                  <a:cubicBezTo>
                    <a:pt x="325492" y="1366156"/>
                    <a:pt x="326959" y="1367459"/>
                    <a:pt x="326959" y="1367459"/>
                  </a:cubicBezTo>
                  <a:lnTo>
                    <a:pt x="329076" y="1368437"/>
                  </a:lnTo>
                  <a:lnTo>
                    <a:pt x="329076" y="1370229"/>
                  </a:lnTo>
                  <a:cubicBezTo>
                    <a:pt x="329076" y="1370229"/>
                    <a:pt x="326633" y="1371043"/>
                    <a:pt x="326633" y="1371043"/>
                  </a:cubicBezTo>
                  <a:lnTo>
                    <a:pt x="323700" y="1373324"/>
                  </a:lnTo>
                  <a:lnTo>
                    <a:pt x="323700" y="1375116"/>
                  </a:lnTo>
                  <a:lnTo>
                    <a:pt x="322234" y="1375116"/>
                  </a:lnTo>
                  <a:close/>
                  <a:moveTo>
                    <a:pt x="316044" y="1375605"/>
                  </a:moveTo>
                  <a:lnTo>
                    <a:pt x="307898" y="1370881"/>
                  </a:lnTo>
                  <a:lnTo>
                    <a:pt x="304314" y="1370392"/>
                  </a:lnTo>
                  <a:lnTo>
                    <a:pt x="304314" y="1371858"/>
                  </a:lnTo>
                  <a:cubicBezTo>
                    <a:pt x="304314" y="1371858"/>
                    <a:pt x="309527" y="1377397"/>
                    <a:pt x="309527" y="1377397"/>
                  </a:cubicBezTo>
                  <a:lnTo>
                    <a:pt x="312460" y="1377397"/>
                  </a:lnTo>
                  <a:cubicBezTo>
                    <a:pt x="312460" y="1377397"/>
                    <a:pt x="316206" y="1375605"/>
                    <a:pt x="316206" y="1375605"/>
                  </a:cubicBezTo>
                  <a:lnTo>
                    <a:pt x="316206" y="1375605"/>
                  </a:lnTo>
                  <a:close/>
                  <a:moveTo>
                    <a:pt x="715660" y="927930"/>
                  </a:moveTo>
                  <a:lnTo>
                    <a:pt x="716637" y="930374"/>
                  </a:lnTo>
                  <a:lnTo>
                    <a:pt x="722665" y="929397"/>
                  </a:lnTo>
                  <a:lnTo>
                    <a:pt x="733906" y="926953"/>
                  </a:lnTo>
                  <a:lnTo>
                    <a:pt x="744984" y="929397"/>
                  </a:lnTo>
                  <a:lnTo>
                    <a:pt x="748242" y="925813"/>
                  </a:lnTo>
                  <a:lnTo>
                    <a:pt x="752966" y="924672"/>
                  </a:lnTo>
                  <a:lnTo>
                    <a:pt x="758505" y="927930"/>
                  </a:lnTo>
                  <a:lnTo>
                    <a:pt x="764370" y="925650"/>
                  </a:lnTo>
                  <a:lnTo>
                    <a:pt x="767139" y="926464"/>
                  </a:lnTo>
                  <a:lnTo>
                    <a:pt x="773167" y="921903"/>
                  </a:lnTo>
                  <a:lnTo>
                    <a:pt x="773655" y="908056"/>
                  </a:lnTo>
                  <a:lnTo>
                    <a:pt x="769909" y="904797"/>
                  </a:lnTo>
                  <a:lnTo>
                    <a:pt x="767954" y="900073"/>
                  </a:lnTo>
                  <a:lnTo>
                    <a:pt x="763881" y="900073"/>
                  </a:lnTo>
                  <a:cubicBezTo>
                    <a:pt x="763881" y="900073"/>
                    <a:pt x="748893" y="906752"/>
                    <a:pt x="748893" y="906752"/>
                  </a:cubicBezTo>
                  <a:lnTo>
                    <a:pt x="735046" y="908381"/>
                  </a:lnTo>
                  <a:lnTo>
                    <a:pt x="731299" y="912617"/>
                  </a:lnTo>
                  <a:lnTo>
                    <a:pt x="726249" y="915061"/>
                  </a:lnTo>
                  <a:lnTo>
                    <a:pt x="723317" y="920274"/>
                  </a:lnTo>
                  <a:lnTo>
                    <a:pt x="717778" y="921251"/>
                  </a:lnTo>
                  <a:lnTo>
                    <a:pt x="717126" y="924509"/>
                  </a:lnTo>
                  <a:lnTo>
                    <a:pt x="715334" y="928093"/>
                  </a:lnTo>
                  <a:lnTo>
                    <a:pt x="715334" y="928093"/>
                  </a:lnTo>
                  <a:close/>
                  <a:moveTo>
                    <a:pt x="333475" y="1341720"/>
                  </a:moveTo>
                  <a:lnTo>
                    <a:pt x="337059" y="1344000"/>
                  </a:lnTo>
                  <a:lnTo>
                    <a:pt x="339014" y="1342860"/>
                  </a:lnTo>
                  <a:lnTo>
                    <a:pt x="338037" y="1340579"/>
                  </a:lnTo>
                  <a:lnTo>
                    <a:pt x="335593" y="1340579"/>
                  </a:lnTo>
                  <a:cubicBezTo>
                    <a:pt x="335593" y="1340579"/>
                    <a:pt x="333475" y="1341720"/>
                    <a:pt x="333475" y="1341720"/>
                  </a:cubicBezTo>
                  <a:lnTo>
                    <a:pt x="333475" y="1341720"/>
                  </a:lnTo>
                  <a:close/>
                  <a:moveTo>
                    <a:pt x="359214" y="1290403"/>
                  </a:moveTo>
                  <a:lnTo>
                    <a:pt x="360029" y="1291870"/>
                  </a:lnTo>
                  <a:lnTo>
                    <a:pt x="360681" y="1290078"/>
                  </a:lnTo>
                  <a:lnTo>
                    <a:pt x="359214" y="1290078"/>
                  </a:lnTo>
                  <a:close/>
                  <a:moveTo>
                    <a:pt x="361821" y="1283887"/>
                  </a:moveTo>
                  <a:lnTo>
                    <a:pt x="361332" y="1286657"/>
                  </a:lnTo>
                  <a:lnTo>
                    <a:pt x="362962" y="1285679"/>
                  </a:lnTo>
                  <a:lnTo>
                    <a:pt x="362962" y="1283072"/>
                  </a:lnTo>
                  <a:cubicBezTo>
                    <a:pt x="362962" y="1283072"/>
                    <a:pt x="361658" y="1283887"/>
                    <a:pt x="361658" y="1283887"/>
                  </a:cubicBezTo>
                  <a:lnTo>
                    <a:pt x="361658" y="1283887"/>
                  </a:lnTo>
                  <a:close/>
                  <a:moveTo>
                    <a:pt x="363939" y="1275253"/>
                  </a:moveTo>
                  <a:lnTo>
                    <a:pt x="364428" y="1276719"/>
                  </a:lnTo>
                  <a:lnTo>
                    <a:pt x="365568" y="1276719"/>
                  </a:lnTo>
                  <a:cubicBezTo>
                    <a:pt x="365568" y="1276719"/>
                    <a:pt x="366220" y="1274601"/>
                    <a:pt x="366220" y="1274601"/>
                  </a:cubicBezTo>
                  <a:lnTo>
                    <a:pt x="364591" y="1274601"/>
                  </a:lnTo>
                  <a:cubicBezTo>
                    <a:pt x="364591" y="1274601"/>
                    <a:pt x="363939" y="1275416"/>
                    <a:pt x="363939" y="1275416"/>
                  </a:cubicBezTo>
                  <a:lnTo>
                    <a:pt x="363939" y="1275416"/>
                  </a:lnTo>
                  <a:close/>
                  <a:moveTo>
                    <a:pt x="359540" y="1264501"/>
                  </a:moveTo>
                  <a:lnTo>
                    <a:pt x="360844" y="1267433"/>
                  </a:lnTo>
                  <a:lnTo>
                    <a:pt x="363939" y="1267922"/>
                  </a:lnTo>
                  <a:lnTo>
                    <a:pt x="365242" y="1269388"/>
                  </a:lnTo>
                  <a:lnTo>
                    <a:pt x="370618" y="1269388"/>
                  </a:lnTo>
                  <a:cubicBezTo>
                    <a:pt x="370618" y="1269388"/>
                    <a:pt x="371107" y="1267596"/>
                    <a:pt x="371107" y="1267596"/>
                  </a:cubicBezTo>
                  <a:lnTo>
                    <a:pt x="368826" y="1265641"/>
                  </a:lnTo>
                  <a:lnTo>
                    <a:pt x="364428" y="1265641"/>
                  </a:lnTo>
                  <a:cubicBezTo>
                    <a:pt x="364428" y="1265641"/>
                    <a:pt x="361821" y="1263361"/>
                    <a:pt x="361821" y="1263361"/>
                  </a:cubicBezTo>
                  <a:lnTo>
                    <a:pt x="359540" y="1264338"/>
                  </a:lnTo>
                  <a:lnTo>
                    <a:pt x="359540" y="1264338"/>
                  </a:lnTo>
                  <a:close/>
                  <a:moveTo>
                    <a:pt x="381370" y="1261568"/>
                  </a:moveTo>
                  <a:lnTo>
                    <a:pt x="383325" y="1259288"/>
                  </a:lnTo>
                  <a:lnTo>
                    <a:pt x="382837" y="1256192"/>
                  </a:lnTo>
                  <a:lnTo>
                    <a:pt x="381370" y="1257659"/>
                  </a:lnTo>
                  <a:lnTo>
                    <a:pt x="381370" y="1261568"/>
                  </a:lnTo>
                  <a:lnTo>
                    <a:pt x="381370" y="1261568"/>
                  </a:lnTo>
                  <a:close/>
                  <a:moveTo>
                    <a:pt x="379089" y="1229801"/>
                  </a:moveTo>
                  <a:lnTo>
                    <a:pt x="379089" y="1231430"/>
                  </a:lnTo>
                  <a:cubicBezTo>
                    <a:pt x="379089" y="1231430"/>
                    <a:pt x="382999" y="1235666"/>
                    <a:pt x="382999" y="1235666"/>
                  </a:cubicBezTo>
                  <a:lnTo>
                    <a:pt x="388049" y="1238272"/>
                  </a:lnTo>
                  <a:lnTo>
                    <a:pt x="388864" y="1239576"/>
                  </a:lnTo>
                  <a:lnTo>
                    <a:pt x="390493" y="1238435"/>
                  </a:lnTo>
                  <a:lnTo>
                    <a:pt x="388538" y="1234851"/>
                  </a:lnTo>
                  <a:lnTo>
                    <a:pt x="382999" y="1232734"/>
                  </a:lnTo>
                  <a:lnTo>
                    <a:pt x="380881" y="1229801"/>
                  </a:lnTo>
                  <a:lnTo>
                    <a:pt x="378927" y="1229801"/>
                  </a:lnTo>
                  <a:close/>
                  <a:moveTo>
                    <a:pt x="411508" y="1171480"/>
                  </a:moveTo>
                  <a:lnTo>
                    <a:pt x="412323" y="1175390"/>
                  </a:lnTo>
                  <a:lnTo>
                    <a:pt x="414604" y="1178974"/>
                  </a:lnTo>
                  <a:lnTo>
                    <a:pt x="414115" y="1185001"/>
                  </a:lnTo>
                  <a:lnTo>
                    <a:pt x="415907" y="1188911"/>
                  </a:lnTo>
                  <a:lnTo>
                    <a:pt x="418513" y="1189563"/>
                  </a:lnTo>
                  <a:lnTo>
                    <a:pt x="417699" y="1184187"/>
                  </a:lnTo>
                  <a:lnTo>
                    <a:pt x="418351" y="1178974"/>
                  </a:lnTo>
                  <a:lnTo>
                    <a:pt x="416233" y="1176530"/>
                  </a:lnTo>
                  <a:lnTo>
                    <a:pt x="414441" y="1171806"/>
                  </a:lnTo>
                  <a:lnTo>
                    <a:pt x="412649" y="1169851"/>
                  </a:lnTo>
                  <a:lnTo>
                    <a:pt x="411671" y="1171806"/>
                  </a:lnTo>
                  <a:lnTo>
                    <a:pt x="411671" y="1171806"/>
                  </a:lnTo>
                  <a:close/>
                  <a:moveTo>
                    <a:pt x="435456" y="1156003"/>
                  </a:moveTo>
                  <a:lnTo>
                    <a:pt x="436271" y="1158447"/>
                  </a:lnTo>
                  <a:lnTo>
                    <a:pt x="438714" y="1159913"/>
                  </a:lnTo>
                  <a:lnTo>
                    <a:pt x="439203" y="1157958"/>
                  </a:lnTo>
                  <a:lnTo>
                    <a:pt x="437248" y="1156003"/>
                  </a:lnTo>
                  <a:lnTo>
                    <a:pt x="435456" y="1156003"/>
                  </a:lnTo>
                  <a:close/>
                  <a:moveTo>
                    <a:pt x="442787" y="1150139"/>
                  </a:moveTo>
                  <a:lnTo>
                    <a:pt x="444253" y="1152094"/>
                  </a:lnTo>
                  <a:lnTo>
                    <a:pt x="444742" y="1150139"/>
                  </a:lnTo>
                  <a:lnTo>
                    <a:pt x="442950" y="1148510"/>
                  </a:lnTo>
                  <a:lnTo>
                    <a:pt x="442950" y="1149976"/>
                  </a:lnTo>
                  <a:lnTo>
                    <a:pt x="442950" y="1149976"/>
                  </a:lnTo>
                  <a:close/>
                  <a:moveTo>
                    <a:pt x="483514" y="1146392"/>
                  </a:moveTo>
                  <a:lnTo>
                    <a:pt x="486121" y="1143948"/>
                  </a:lnTo>
                  <a:lnTo>
                    <a:pt x="490031" y="1144274"/>
                  </a:lnTo>
                  <a:lnTo>
                    <a:pt x="490845" y="1141667"/>
                  </a:lnTo>
                  <a:lnTo>
                    <a:pt x="487750" y="1135966"/>
                  </a:lnTo>
                  <a:lnTo>
                    <a:pt x="485795" y="1134988"/>
                  </a:lnTo>
                  <a:lnTo>
                    <a:pt x="484492" y="1132056"/>
                  </a:lnTo>
                  <a:lnTo>
                    <a:pt x="481559" y="1132056"/>
                  </a:lnTo>
                  <a:cubicBezTo>
                    <a:pt x="481559" y="1132056"/>
                    <a:pt x="478301" y="1135803"/>
                    <a:pt x="478301" y="1135803"/>
                  </a:cubicBezTo>
                  <a:lnTo>
                    <a:pt x="477812" y="1138572"/>
                  </a:lnTo>
                  <a:lnTo>
                    <a:pt x="476835" y="1141179"/>
                  </a:lnTo>
                  <a:lnTo>
                    <a:pt x="479930" y="1143785"/>
                  </a:lnTo>
                  <a:lnTo>
                    <a:pt x="480908" y="1146066"/>
                  </a:lnTo>
                  <a:lnTo>
                    <a:pt x="483351" y="1146066"/>
                  </a:lnTo>
                  <a:close/>
                  <a:moveTo>
                    <a:pt x="499479" y="1144111"/>
                  </a:moveTo>
                  <a:lnTo>
                    <a:pt x="498013" y="1141179"/>
                  </a:lnTo>
                  <a:lnTo>
                    <a:pt x="499316" y="1138735"/>
                  </a:lnTo>
                  <a:lnTo>
                    <a:pt x="496710" y="1140690"/>
                  </a:lnTo>
                  <a:lnTo>
                    <a:pt x="496710" y="1143622"/>
                  </a:lnTo>
                  <a:cubicBezTo>
                    <a:pt x="496710" y="1143622"/>
                    <a:pt x="498502" y="1145414"/>
                    <a:pt x="498502" y="1145414"/>
                  </a:cubicBezTo>
                  <a:lnTo>
                    <a:pt x="499316" y="1144274"/>
                  </a:lnTo>
                  <a:lnTo>
                    <a:pt x="499316" y="1144274"/>
                  </a:lnTo>
                  <a:close/>
                  <a:moveTo>
                    <a:pt x="801676" y="975011"/>
                  </a:moveTo>
                  <a:lnTo>
                    <a:pt x="803631" y="975337"/>
                  </a:lnTo>
                  <a:lnTo>
                    <a:pt x="806400" y="973708"/>
                  </a:lnTo>
                  <a:lnTo>
                    <a:pt x="805749" y="971427"/>
                  </a:lnTo>
                  <a:lnTo>
                    <a:pt x="802002" y="973056"/>
                  </a:lnTo>
                  <a:lnTo>
                    <a:pt x="801676" y="975011"/>
                  </a:lnTo>
                  <a:lnTo>
                    <a:pt x="801676" y="975011"/>
                  </a:lnTo>
                  <a:close/>
                  <a:moveTo>
                    <a:pt x="748242" y="931026"/>
                  </a:moveTo>
                  <a:lnTo>
                    <a:pt x="750685" y="932166"/>
                  </a:lnTo>
                  <a:lnTo>
                    <a:pt x="754106" y="931352"/>
                  </a:lnTo>
                  <a:lnTo>
                    <a:pt x="754106" y="929397"/>
                  </a:lnTo>
                  <a:lnTo>
                    <a:pt x="750196" y="928745"/>
                  </a:lnTo>
                  <a:cubicBezTo>
                    <a:pt x="750196" y="928745"/>
                    <a:pt x="748079" y="930863"/>
                    <a:pt x="748242" y="930863"/>
                  </a:cubicBezTo>
                  <a:lnTo>
                    <a:pt x="748242" y="930863"/>
                  </a:lnTo>
                  <a:close/>
                  <a:moveTo>
                    <a:pt x="725597" y="910499"/>
                  </a:moveTo>
                  <a:lnTo>
                    <a:pt x="727226" y="911151"/>
                  </a:lnTo>
                  <a:lnTo>
                    <a:pt x="729996" y="910336"/>
                  </a:lnTo>
                  <a:lnTo>
                    <a:pt x="731299" y="907730"/>
                  </a:lnTo>
                  <a:lnTo>
                    <a:pt x="728041" y="908218"/>
                  </a:lnTo>
                  <a:lnTo>
                    <a:pt x="725597" y="910499"/>
                  </a:lnTo>
                  <a:lnTo>
                    <a:pt x="725597" y="910499"/>
                  </a:lnTo>
                  <a:close/>
                  <a:moveTo>
                    <a:pt x="771701" y="897629"/>
                  </a:moveTo>
                  <a:lnTo>
                    <a:pt x="771701" y="900725"/>
                  </a:lnTo>
                  <a:cubicBezTo>
                    <a:pt x="771701" y="900725"/>
                    <a:pt x="773818" y="902680"/>
                    <a:pt x="773818" y="902680"/>
                  </a:cubicBezTo>
                  <a:lnTo>
                    <a:pt x="774959" y="900888"/>
                  </a:lnTo>
                  <a:lnTo>
                    <a:pt x="774470" y="897466"/>
                  </a:lnTo>
                  <a:lnTo>
                    <a:pt x="772189" y="896000"/>
                  </a:lnTo>
                  <a:lnTo>
                    <a:pt x="771538" y="897629"/>
                  </a:lnTo>
                  <a:lnTo>
                    <a:pt x="771538" y="897629"/>
                  </a:lnTo>
                  <a:close/>
                  <a:moveTo>
                    <a:pt x="802328" y="800698"/>
                  </a:moveTo>
                  <a:lnTo>
                    <a:pt x="802328" y="803957"/>
                  </a:lnTo>
                  <a:cubicBezTo>
                    <a:pt x="802328" y="803957"/>
                    <a:pt x="803468" y="805586"/>
                    <a:pt x="803468" y="805586"/>
                  </a:cubicBezTo>
                  <a:lnTo>
                    <a:pt x="803142" y="809333"/>
                  </a:lnTo>
                  <a:lnTo>
                    <a:pt x="806563" y="815686"/>
                  </a:lnTo>
                  <a:lnTo>
                    <a:pt x="808844" y="821062"/>
                  </a:lnTo>
                  <a:lnTo>
                    <a:pt x="815360" y="822854"/>
                  </a:lnTo>
                  <a:lnTo>
                    <a:pt x="821062" y="827578"/>
                  </a:lnTo>
                  <a:lnTo>
                    <a:pt x="824972" y="833117"/>
                  </a:lnTo>
                  <a:lnTo>
                    <a:pt x="829859" y="835561"/>
                  </a:lnTo>
                  <a:lnTo>
                    <a:pt x="832792" y="835887"/>
                  </a:lnTo>
                  <a:lnTo>
                    <a:pt x="833932" y="838656"/>
                  </a:lnTo>
                  <a:lnTo>
                    <a:pt x="839145" y="840611"/>
                  </a:lnTo>
                  <a:lnTo>
                    <a:pt x="840285" y="838819"/>
                  </a:lnTo>
                  <a:lnTo>
                    <a:pt x="840285" y="835724"/>
                  </a:lnTo>
                  <a:cubicBezTo>
                    <a:pt x="840285" y="835724"/>
                    <a:pt x="842892" y="833606"/>
                    <a:pt x="842892" y="833606"/>
                  </a:cubicBezTo>
                  <a:lnTo>
                    <a:pt x="839308" y="828556"/>
                  </a:lnTo>
                  <a:lnTo>
                    <a:pt x="833932" y="826601"/>
                  </a:lnTo>
                  <a:lnTo>
                    <a:pt x="831977" y="826601"/>
                  </a:lnTo>
                  <a:lnTo>
                    <a:pt x="829370" y="823343"/>
                  </a:lnTo>
                  <a:lnTo>
                    <a:pt x="831000" y="821877"/>
                  </a:lnTo>
                  <a:lnTo>
                    <a:pt x="832628" y="819596"/>
                  </a:lnTo>
                  <a:lnTo>
                    <a:pt x="835398" y="820410"/>
                  </a:lnTo>
                  <a:lnTo>
                    <a:pt x="839471" y="823506"/>
                  </a:lnTo>
                  <a:lnTo>
                    <a:pt x="844847" y="824157"/>
                  </a:lnTo>
                  <a:lnTo>
                    <a:pt x="846639" y="825787"/>
                  </a:lnTo>
                  <a:lnTo>
                    <a:pt x="847942" y="824157"/>
                  </a:lnTo>
                  <a:lnTo>
                    <a:pt x="845661" y="819270"/>
                  </a:lnTo>
                  <a:lnTo>
                    <a:pt x="833443" y="813568"/>
                  </a:lnTo>
                  <a:lnTo>
                    <a:pt x="829533" y="806400"/>
                  </a:lnTo>
                  <a:lnTo>
                    <a:pt x="827090" y="805097"/>
                  </a:lnTo>
                  <a:lnTo>
                    <a:pt x="822691" y="805097"/>
                  </a:lnTo>
                  <a:cubicBezTo>
                    <a:pt x="822691" y="805097"/>
                    <a:pt x="816338" y="801187"/>
                    <a:pt x="816338" y="801187"/>
                  </a:cubicBezTo>
                  <a:lnTo>
                    <a:pt x="812428" y="801187"/>
                  </a:lnTo>
                  <a:cubicBezTo>
                    <a:pt x="812428" y="801187"/>
                    <a:pt x="810147" y="800210"/>
                    <a:pt x="810147" y="800210"/>
                  </a:cubicBezTo>
                  <a:lnTo>
                    <a:pt x="804445" y="799395"/>
                  </a:lnTo>
                  <a:lnTo>
                    <a:pt x="802328" y="801187"/>
                  </a:lnTo>
                  <a:lnTo>
                    <a:pt x="802328" y="801187"/>
                  </a:lnTo>
                  <a:close/>
                  <a:moveTo>
                    <a:pt x="790924" y="803142"/>
                  </a:moveTo>
                  <a:lnTo>
                    <a:pt x="793368" y="801513"/>
                  </a:lnTo>
                  <a:lnTo>
                    <a:pt x="792879" y="798418"/>
                  </a:lnTo>
                  <a:lnTo>
                    <a:pt x="795322" y="795322"/>
                  </a:lnTo>
                  <a:lnTo>
                    <a:pt x="788806" y="798255"/>
                  </a:lnTo>
                  <a:lnTo>
                    <a:pt x="788480" y="801350"/>
                  </a:lnTo>
                  <a:lnTo>
                    <a:pt x="790924" y="803142"/>
                  </a:lnTo>
                  <a:lnTo>
                    <a:pt x="790924" y="803142"/>
                  </a:lnTo>
                  <a:close/>
                  <a:moveTo>
                    <a:pt x="801839" y="793693"/>
                  </a:moveTo>
                  <a:lnTo>
                    <a:pt x="804934" y="796300"/>
                  </a:lnTo>
                  <a:lnTo>
                    <a:pt x="813079" y="796300"/>
                  </a:lnTo>
                  <a:cubicBezTo>
                    <a:pt x="813079" y="796300"/>
                    <a:pt x="817804" y="799069"/>
                    <a:pt x="817804" y="799069"/>
                  </a:cubicBezTo>
                  <a:lnTo>
                    <a:pt x="824483" y="800210"/>
                  </a:lnTo>
                  <a:lnTo>
                    <a:pt x="830185" y="803305"/>
                  </a:lnTo>
                  <a:lnTo>
                    <a:pt x="834095" y="802979"/>
                  </a:lnTo>
                  <a:lnTo>
                    <a:pt x="836050" y="803957"/>
                  </a:lnTo>
                  <a:lnTo>
                    <a:pt x="836050" y="806889"/>
                  </a:lnTo>
                  <a:cubicBezTo>
                    <a:pt x="836050" y="806889"/>
                    <a:pt x="839145" y="809007"/>
                    <a:pt x="839145" y="809007"/>
                  </a:cubicBezTo>
                  <a:lnTo>
                    <a:pt x="843869" y="808681"/>
                  </a:lnTo>
                  <a:lnTo>
                    <a:pt x="846802" y="809821"/>
                  </a:lnTo>
                  <a:lnTo>
                    <a:pt x="850386" y="808844"/>
                  </a:lnTo>
                  <a:lnTo>
                    <a:pt x="850386" y="806074"/>
                  </a:lnTo>
                  <a:cubicBezTo>
                    <a:pt x="850386" y="806074"/>
                    <a:pt x="849082" y="803794"/>
                    <a:pt x="849082" y="803794"/>
                  </a:cubicBezTo>
                  <a:lnTo>
                    <a:pt x="850223" y="800210"/>
                  </a:lnTo>
                  <a:lnTo>
                    <a:pt x="852341" y="799232"/>
                  </a:lnTo>
                  <a:lnTo>
                    <a:pt x="846313" y="794671"/>
                  </a:lnTo>
                  <a:lnTo>
                    <a:pt x="842240" y="793856"/>
                  </a:lnTo>
                  <a:lnTo>
                    <a:pt x="835887" y="789946"/>
                  </a:lnTo>
                  <a:lnTo>
                    <a:pt x="830022" y="789946"/>
                  </a:lnTo>
                  <a:lnTo>
                    <a:pt x="821225" y="792227"/>
                  </a:lnTo>
                  <a:lnTo>
                    <a:pt x="816012" y="790435"/>
                  </a:lnTo>
                  <a:lnTo>
                    <a:pt x="808518" y="791250"/>
                  </a:lnTo>
                  <a:lnTo>
                    <a:pt x="804119" y="791250"/>
                  </a:lnTo>
                  <a:cubicBezTo>
                    <a:pt x="804119" y="791250"/>
                    <a:pt x="802165" y="793042"/>
                    <a:pt x="802165" y="793205"/>
                  </a:cubicBezTo>
                  <a:lnTo>
                    <a:pt x="802165" y="793205"/>
                  </a:lnTo>
                  <a:close/>
                  <a:moveTo>
                    <a:pt x="781638" y="776262"/>
                  </a:moveTo>
                  <a:lnTo>
                    <a:pt x="785059" y="779683"/>
                  </a:lnTo>
                  <a:lnTo>
                    <a:pt x="791901" y="780661"/>
                  </a:lnTo>
                  <a:lnTo>
                    <a:pt x="797603" y="786688"/>
                  </a:lnTo>
                  <a:lnTo>
                    <a:pt x="804608" y="789458"/>
                  </a:lnTo>
                  <a:lnTo>
                    <a:pt x="814871" y="788317"/>
                  </a:lnTo>
                  <a:lnTo>
                    <a:pt x="829533" y="789295"/>
                  </a:lnTo>
                  <a:lnTo>
                    <a:pt x="835724" y="787829"/>
                  </a:lnTo>
                  <a:lnTo>
                    <a:pt x="835724" y="785548"/>
                  </a:lnTo>
                  <a:cubicBezTo>
                    <a:pt x="835724" y="785548"/>
                    <a:pt x="829696" y="784408"/>
                    <a:pt x="829696" y="784408"/>
                  </a:cubicBezTo>
                  <a:lnTo>
                    <a:pt x="817478" y="784896"/>
                  </a:lnTo>
                  <a:lnTo>
                    <a:pt x="812591" y="782941"/>
                  </a:lnTo>
                  <a:lnTo>
                    <a:pt x="805749" y="779194"/>
                  </a:lnTo>
                  <a:lnTo>
                    <a:pt x="800698" y="778543"/>
                  </a:lnTo>
                  <a:lnTo>
                    <a:pt x="798418" y="775610"/>
                  </a:lnTo>
                  <a:lnTo>
                    <a:pt x="800698" y="773818"/>
                  </a:lnTo>
                  <a:lnTo>
                    <a:pt x="804282" y="773818"/>
                  </a:lnTo>
                  <a:cubicBezTo>
                    <a:pt x="804282" y="773818"/>
                    <a:pt x="812102" y="779683"/>
                    <a:pt x="812102" y="779683"/>
                  </a:cubicBezTo>
                  <a:lnTo>
                    <a:pt x="821388" y="781312"/>
                  </a:lnTo>
                  <a:lnTo>
                    <a:pt x="824157" y="780986"/>
                  </a:lnTo>
                  <a:lnTo>
                    <a:pt x="821551" y="778054"/>
                  </a:lnTo>
                  <a:lnTo>
                    <a:pt x="810799" y="770397"/>
                  </a:lnTo>
                  <a:lnTo>
                    <a:pt x="795485" y="767628"/>
                  </a:lnTo>
                  <a:lnTo>
                    <a:pt x="791738" y="768768"/>
                  </a:lnTo>
                  <a:lnTo>
                    <a:pt x="791738" y="771701"/>
                  </a:lnTo>
                  <a:cubicBezTo>
                    <a:pt x="791738" y="771701"/>
                    <a:pt x="784896" y="773981"/>
                    <a:pt x="784896" y="773981"/>
                  </a:cubicBezTo>
                  <a:lnTo>
                    <a:pt x="781964" y="776588"/>
                  </a:lnTo>
                  <a:lnTo>
                    <a:pt x="781964" y="776588"/>
                  </a:lnTo>
                  <a:close/>
                  <a:moveTo>
                    <a:pt x="860160" y="788969"/>
                  </a:moveTo>
                  <a:lnTo>
                    <a:pt x="862441" y="790435"/>
                  </a:lnTo>
                  <a:lnTo>
                    <a:pt x="865047" y="788806"/>
                  </a:lnTo>
                  <a:lnTo>
                    <a:pt x="864722" y="785874"/>
                  </a:lnTo>
                  <a:lnTo>
                    <a:pt x="861463" y="786851"/>
                  </a:lnTo>
                  <a:lnTo>
                    <a:pt x="860160" y="788806"/>
                  </a:lnTo>
                  <a:lnTo>
                    <a:pt x="860160" y="788806"/>
                  </a:lnTo>
                  <a:close/>
                  <a:moveTo>
                    <a:pt x="864559" y="712565"/>
                  </a:moveTo>
                  <a:lnTo>
                    <a:pt x="860486" y="719733"/>
                  </a:lnTo>
                  <a:lnTo>
                    <a:pt x="860486" y="723968"/>
                  </a:lnTo>
                  <a:cubicBezTo>
                    <a:pt x="860486" y="723968"/>
                    <a:pt x="864233" y="726412"/>
                    <a:pt x="864233" y="726412"/>
                  </a:cubicBezTo>
                  <a:lnTo>
                    <a:pt x="867980" y="727715"/>
                  </a:lnTo>
                  <a:lnTo>
                    <a:pt x="872704" y="732277"/>
                  </a:lnTo>
                  <a:lnTo>
                    <a:pt x="876125" y="732277"/>
                  </a:lnTo>
                  <a:lnTo>
                    <a:pt x="881827" y="733091"/>
                  </a:lnTo>
                  <a:lnTo>
                    <a:pt x="886063" y="730485"/>
                  </a:lnTo>
                  <a:lnTo>
                    <a:pt x="887040" y="725760"/>
                  </a:lnTo>
                  <a:lnTo>
                    <a:pt x="888832" y="722665"/>
                  </a:lnTo>
                  <a:lnTo>
                    <a:pt x="888832" y="716149"/>
                  </a:lnTo>
                  <a:cubicBezTo>
                    <a:pt x="888832" y="716149"/>
                    <a:pt x="878243" y="710121"/>
                    <a:pt x="878243" y="710121"/>
                  </a:cubicBezTo>
                  <a:lnTo>
                    <a:pt x="871401" y="711424"/>
                  </a:lnTo>
                  <a:lnTo>
                    <a:pt x="864396" y="712728"/>
                  </a:lnTo>
                  <a:lnTo>
                    <a:pt x="864396" y="712728"/>
                  </a:lnTo>
                  <a:close/>
                  <a:moveTo>
                    <a:pt x="912617" y="708166"/>
                  </a:moveTo>
                  <a:lnTo>
                    <a:pt x="915224" y="708655"/>
                  </a:lnTo>
                  <a:lnTo>
                    <a:pt x="918808" y="704745"/>
                  </a:lnTo>
                  <a:lnTo>
                    <a:pt x="918808" y="701976"/>
                  </a:lnTo>
                  <a:cubicBezTo>
                    <a:pt x="918808" y="701976"/>
                    <a:pt x="915875" y="702138"/>
                    <a:pt x="915875" y="702138"/>
                  </a:cubicBezTo>
                  <a:lnTo>
                    <a:pt x="912780" y="704419"/>
                  </a:lnTo>
                  <a:lnTo>
                    <a:pt x="912780" y="708166"/>
                  </a:lnTo>
                  <a:lnTo>
                    <a:pt x="912617" y="708166"/>
                  </a:lnTo>
                  <a:close/>
                  <a:moveTo>
                    <a:pt x="891439" y="679657"/>
                  </a:moveTo>
                  <a:lnTo>
                    <a:pt x="889647" y="682915"/>
                  </a:lnTo>
                  <a:lnTo>
                    <a:pt x="889647" y="689432"/>
                  </a:lnTo>
                  <a:cubicBezTo>
                    <a:pt x="889647" y="689432"/>
                    <a:pt x="891276" y="693667"/>
                    <a:pt x="891276" y="693667"/>
                  </a:cubicBezTo>
                  <a:lnTo>
                    <a:pt x="895349" y="696762"/>
                  </a:lnTo>
                  <a:lnTo>
                    <a:pt x="897792" y="694970"/>
                  </a:lnTo>
                  <a:lnTo>
                    <a:pt x="898118" y="690735"/>
                  </a:lnTo>
                  <a:lnTo>
                    <a:pt x="900236" y="688128"/>
                  </a:lnTo>
                  <a:lnTo>
                    <a:pt x="899584" y="683567"/>
                  </a:lnTo>
                  <a:lnTo>
                    <a:pt x="894860" y="680309"/>
                  </a:lnTo>
                  <a:lnTo>
                    <a:pt x="891602" y="679820"/>
                  </a:lnTo>
                  <a:lnTo>
                    <a:pt x="891602" y="679820"/>
                  </a:lnTo>
                  <a:close/>
                  <a:moveTo>
                    <a:pt x="922554" y="660108"/>
                  </a:moveTo>
                  <a:lnTo>
                    <a:pt x="922554" y="670860"/>
                  </a:lnTo>
                  <a:lnTo>
                    <a:pt x="920762" y="676399"/>
                  </a:lnTo>
                  <a:lnTo>
                    <a:pt x="922392" y="680797"/>
                  </a:lnTo>
                  <a:lnTo>
                    <a:pt x="926790" y="684544"/>
                  </a:lnTo>
                  <a:lnTo>
                    <a:pt x="932166" y="683404"/>
                  </a:lnTo>
                  <a:lnTo>
                    <a:pt x="937542" y="683404"/>
                  </a:lnTo>
                  <a:lnTo>
                    <a:pt x="939497" y="681775"/>
                  </a:lnTo>
                  <a:lnTo>
                    <a:pt x="940474" y="685196"/>
                  </a:lnTo>
                  <a:lnTo>
                    <a:pt x="944059" y="686825"/>
                  </a:lnTo>
                  <a:lnTo>
                    <a:pt x="946502" y="681612"/>
                  </a:lnTo>
                  <a:lnTo>
                    <a:pt x="948783" y="680146"/>
                  </a:lnTo>
                  <a:lnTo>
                    <a:pt x="948783" y="672815"/>
                  </a:lnTo>
                  <a:lnTo>
                    <a:pt x="945687" y="670860"/>
                  </a:lnTo>
                  <a:lnTo>
                    <a:pt x="944384" y="674118"/>
                  </a:lnTo>
                  <a:lnTo>
                    <a:pt x="944384" y="677213"/>
                  </a:lnTo>
                  <a:lnTo>
                    <a:pt x="941289" y="675421"/>
                  </a:lnTo>
                  <a:lnTo>
                    <a:pt x="938194" y="670371"/>
                  </a:lnTo>
                  <a:lnTo>
                    <a:pt x="938519" y="667113"/>
                  </a:lnTo>
                  <a:lnTo>
                    <a:pt x="935261" y="663040"/>
                  </a:lnTo>
                  <a:lnTo>
                    <a:pt x="937705" y="660760"/>
                  </a:lnTo>
                  <a:lnTo>
                    <a:pt x="940149" y="660760"/>
                  </a:lnTo>
                  <a:lnTo>
                    <a:pt x="940474" y="656687"/>
                  </a:lnTo>
                  <a:lnTo>
                    <a:pt x="937216" y="655058"/>
                  </a:lnTo>
                  <a:lnTo>
                    <a:pt x="932818" y="659130"/>
                  </a:lnTo>
                  <a:lnTo>
                    <a:pt x="928908" y="658153"/>
                  </a:lnTo>
                  <a:lnTo>
                    <a:pt x="927116" y="659456"/>
                  </a:lnTo>
                  <a:lnTo>
                    <a:pt x="923043" y="659945"/>
                  </a:lnTo>
                  <a:lnTo>
                    <a:pt x="923043" y="659945"/>
                  </a:lnTo>
                  <a:close/>
                  <a:moveTo>
                    <a:pt x="929071" y="578816"/>
                  </a:moveTo>
                  <a:lnTo>
                    <a:pt x="925324" y="581912"/>
                  </a:lnTo>
                  <a:lnTo>
                    <a:pt x="925813" y="583866"/>
                  </a:lnTo>
                  <a:lnTo>
                    <a:pt x="928582" y="586310"/>
                  </a:lnTo>
                  <a:lnTo>
                    <a:pt x="929234" y="589242"/>
                  </a:lnTo>
                  <a:lnTo>
                    <a:pt x="926953" y="591686"/>
                  </a:lnTo>
                  <a:lnTo>
                    <a:pt x="926953" y="598365"/>
                  </a:lnTo>
                  <a:cubicBezTo>
                    <a:pt x="926953" y="598365"/>
                    <a:pt x="929885" y="604067"/>
                    <a:pt x="929885" y="604067"/>
                  </a:cubicBezTo>
                  <a:lnTo>
                    <a:pt x="930211" y="612050"/>
                  </a:lnTo>
                  <a:lnTo>
                    <a:pt x="928582" y="617426"/>
                  </a:lnTo>
                  <a:lnTo>
                    <a:pt x="928582" y="623127"/>
                  </a:lnTo>
                  <a:cubicBezTo>
                    <a:pt x="928582" y="623127"/>
                    <a:pt x="930211" y="625571"/>
                    <a:pt x="930211" y="625571"/>
                  </a:cubicBezTo>
                  <a:lnTo>
                    <a:pt x="932166" y="622965"/>
                  </a:lnTo>
                  <a:lnTo>
                    <a:pt x="932981" y="615797"/>
                  </a:lnTo>
                  <a:lnTo>
                    <a:pt x="935261" y="613353"/>
                  </a:lnTo>
                  <a:lnTo>
                    <a:pt x="934610" y="606185"/>
                  </a:lnTo>
                  <a:lnTo>
                    <a:pt x="931514" y="600646"/>
                  </a:lnTo>
                  <a:lnTo>
                    <a:pt x="930700" y="590709"/>
                  </a:lnTo>
                  <a:lnTo>
                    <a:pt x="932329" y="585333"/>
                  </a:lnTo>
                  <a:lnTo>
                    <a:pt x="931352" y="581260"/>
                  </a:lnTo>
                  <a:lnTo>
                    <a:pt x="928908" y="578653"/>
                  </a:lnTo>
                  <a:lnTo>
                    <a:pt x="928908" y="578653"/>
                  </a:lnTo>
                  <a:close/>
                  <a:moveTo>
                    <a:pt x="890787" y="591197"/>
                  </a:moveTo>
                  <a:lnTo>
                    <a:pt x="889321" y="594781"/>
                  </a:lnTo>
                  <a:lnTo>
                    <a:pt x="891276" y="596248"/>
                  </a:lnTo>
                  <a:lnTo>
                    <a:pt x="896326" y="596248"/>
                  </a:lnTo>
                  <a:cubicBezTo>
                    <a:pt x="896326" y="596248"/>
                    <a:pt x="899095" y="593152"/>
                    <a:pt x="899095" y="593152"/>
                  </a:cubicBezTo>
                  <a:lnTo>
                    <a:pt x="896815" y="590220"/>
                  </a:lnTo>
                  <a:lnTo>
                    <a:pt x="892579" y="589405"/>
                  </a:lnTo>
                  <a:lnTo>
                    <a:pt x="890787" y="591197"/>
                  </a:lnTo>
                  <a:lnTo>
                    <a:pt x="890787" y="591197"/>
                  </a:lnTo>
                  <a:close/>
                  <a:moveTo>
                    <a:pt x="884597" y="582889"/>
                  </a:moveTo>
                  <a:lnTo>
                    <a:pt x="887040" y="586473"/>
                  </a:lnTo>
                  <a:lnTo>
                    <a:pt x="889973" y="585007"/>
                  </a:lnTo>
                  <a:lnTo>
                    <a:pt x="888181" y="581423"/>
                  </a:lnTo>
                  <a:lnTo>
                    <a:pt x="885900" y="581423"/>
                  </a:lnTo>
                  <a:cubicBezTo>
                    <a:pt x="885900" y="581423"/>
                    <a:pt x="884760" y="582889"/>
                    <a:pt x="884760" y="582889"/>
                  </a:cubicBezTo>
                  <a:lnTo>
                    <a:pt x="884760" y="582889"/>
                  </a:lnTo>
                  <a:close/>
                  <a:moveTo>
                    <a:pt x="917830" y="498828"/>
                  </a:moveTo>
                  <a:lnTo>
                    <a:pt x="921414" y="504855"/>
                  </a:lnTo>
                  <a:lnTo>
                    <a:pt x="925161" y="507136"/>
                  </a:lnTo>
                  <a:lnTo>
                    <a:pt x="928256" y="507462"/>
                  </a:lnTo>
                  <a:lnTo>
                    <a:pt x="928256" y="504367"/>
                  </a:lnTo>
                  <a:cubicBezTo>
                    <a:pt x="928256" y="504367"/>
                    <a:pt x="924509" y="502412"/>
                    <a:pt x="924509" y="502412"/>
                  </a:cubicBezTo>
                  <a:lnTo>
                    <a:pt x="920925" y="497687"/>
                  </a:lnTo>
                  <a:lnTo>
                    <a:pt x="918808" y="497362"/>
                  </a:lnTo>
                  <a:lnTo>
                    <a:pt x="917830" y="498828"/>
                  </a:lnTo>
                  <a:lnTo>
                    <a:pt x="917830" y="498828"/>
                  </a:lnTo>
                  <a:close/>
                  <a:moveTo>
                    <a:pt x="950086" y="518540"/>
                  </a:moveTo>
                  <a:cubicBezTo>
                    <a:pt x="950086" y="518540"/>
                    <a:pt x="951063" y="521309"/>
                    <a:pt x="951063" y="521309"/>
                  </a:cubicBezTo>
                  <a:lnTo>
                    <a:pt x="954810" y="521309"/>
                  </a:lnTo>
                  <a:cubicBezTo>
                    <a:pt x="954810" y="521309"/>
                    <a:pt x="956440" y="518377"/>
                    <a:pt x="956440" y="518377"/>
                  </a:cubicBezTo>
                  <a:lnTo>
                    <a:pt x="955625" y="515607"/>
                  </a:lnTo>
                  <a:lnTo>
                    <a:pt x="956440" y="510883"/>
                  </a:lnTo>
                  <a:lnTo>
                    <a:pt x="958557" y="507951"/>
                  </a:lnTo>
                  <a:lnTo>
                    <a:pt x="958232" y="502738"/>
                  </a:lnTo>
                  <a:lnTo>
                    <a:pt x="953181" y="509254"/>
                  </a:lnTo>
                  <a:lnTo>
                    <a:pt x="952855" y="514304"/>
                  </a:lnTo>
                  <a:lnTo>
                    <a:pt x="950249" y="518703"/>
                  </a:lnTo>
                  <a:lnTo>
                    <a:pt x="950249" y="518703"/>
                  </a:lnTo>
                  <a:close/>
                  <a:moveTo>
                    <a:pt x="935587" y="489216"/>
                  </a:moveTo>
                  <a:lnTo>
                    <a:pt x="936728" y="490194"/>
                  </a:lnTo>
                  <a:lnTo>
                    <a:pt x="938845" y="489053"/>
                  </a:lnTo>
                  <a:lnTo>
                    <a:pt x="940311" y="483840"/>
                  </a:lnTo>
                  <a:lnTo>
                    <a:pt x="939986" y="480745"/>
                  </a:lnTo>
                  <a:lnTo>
                    <a:pt x="938357" y="482537"/>
                  </a:lnTo>
                  <a:lnTo>
                    <a:pt x="935587" y="489216"/>
                  </a:lnTo>
                  <a:lnTo>
                    <a:pt x="935587" y="489216"/>
                  </a:lnTo>
                  <a:close/>
                  <a:moveTo>
                    <a:pt x="938519" y="470807"/>
                  </a:moveTo>
                  <a:lnTo>
                    <a:pt x="937542" y="472599"/>
                  </a:lnTo>
                  <a:lnTo>
                    <a:pt x="939497" y="474229"/>
                  </a:lnTo>
                  <a:lnTo>
                    <a:pt x="940637" y="473088"/>
                  </a:lnTo>
                  <a:lnTo>
                    <a:pt x="940963" y="470807"/>
                  </a:lnTo>
                  <a:lnTo>
                    <a:pt x="938519" y="470807"/>
                  </a:lnTo>
                  <a:close/>
                  <a:moveTo>
                    <a:pt x="960675" y="415907"/>
                  </a:moveTo>
                  <a:lnTo>
                    <a:pt x="963119" y="420306"/>
                  </a:lnTo>
                  <a:lnTo>
                    <a:pt x="963119" y="422586"/>
                  </a:lnTo>
                  <a:cubicBezTo>
                    <a:pt x="963119" y="422586"/>
                    <a:pt x="967843" y="419328"/>
                    <a:pt x="967843" y="419328"/>
                  </a:cubicBezTo>
                  <a:lnTo>
                    <a:pt x="969798" y="412812"/>
                  </a:lnTo>
                  <a:lnTo>
                    <a:pt x="969472" y="407436"/>
                  </a:lnTo>
                  <a:lnTo>
                    <a:pt x="970776" y="403689"/>
                  </a:lnTo>
                  <a:lnTo>
                    <a:pt x="968495" y="402060"/>
                  </a:lnTo>
                  <a:lnTo>
                    <a:pt x="965237" y="404340"/>
                  </a:lnTo>
                  <a:lnTo>
                    <a:pt x="963933" y="408576"/>
                  </a:lnTo>
                  <a:lnTo>
                    <a:pt x="960675" y="415907"/>
                  </a:lnTo>
                  <a:lnTo>
                    <a:pt x="960675" y="415907"/>
                  </a:lnTo>
                  <a:close/>
                  <a:moveTo>
                    <a:pt x="946013" y="341295"/>
                  </a:moveTo>
                  <a:lnTo>
                    <a:pt x="947968" y="341295"/>
                  </a:lnTo>
                  <a:cubicBezTo>
                    <a:pt x="947968" y="341295"/>
                    <a:pt x="949760" y="339014"/>
                    <a:pt x="949760" y="339014"/>
                  </a:cubicBezTo>
                  <a:lnTo>
                    <a:pt x="955951" y="339503"/>
                  </a:lnTo>
                  <a:lnTo>
                    <a:pt x="959535" y="335593"/>
                  </a:lnTo>
                  <a:lnTo>
                    <a:pt x="959535" y="329891"/>
                  </a:lnTo>
                  <a:cubicBezTo>
                    <a:pt x="959535" y="329891"/>
                    <a:pt x="956114" y="326307"/>
                    <a:pt x="956114" y="326307"/>
                  </a:cubicBezTo>
                  <a:lnTo>
                    <a:pt x="947805" y="329891"/>
                  </a:lnTo>
                  <a:lnTo>
                    <a:pt x="945851" y="336896"/>
                  </a:lnTo>
                  <a:lnTo>
                    <a:pt x="946176" y="341458"/>
                  </a:lnTo>
                  <a:lnTo>
                    <a:pt x="946176" y="341458"/>
                  </a:lnTo>
                  <a:close/>
                  <a:moveTo>
                    <a:pt x="997981" y="199890"/>
                  </a:moveTo>
                  <a:lnTo>
                    <a:pt x="1000425" y="197935"/>
                  </a:lnTo>
                  <a:lnTo>
                    <a:pt x="1001402" y="192559"/>
                  </a:lnTo>
                  <a:lnTo>
                    <a:pt x="1000588" y="184413"/>
                  </a:lnTo>
                  <a:lnTo>
                    <a:pt x="1001402" y="181481"/>
                  </a:lnTo>
                  <a:lnTo>
                    <a:pt x="1000588" y="176594"/>
                  </a:lnTo>
                  <a:lnTo>
                    <a:pt x="996515" y="178548"/>
                  </a:lnTo>
                  <a:lnTo>
                    <a:pt x="996027" y="181644"/>
                  </a:lnTo>
                  <a:lnTo>
                    <a:pt x="997167" y="183273"/>
                  </a:lnTo>
                  <a:lnTo>
                    <a:pt x="997167" y="187834"/>
                  </a:lnTo>
                  <a:cubicBezTo>
                    <a:pt x="997167" y="187834"/>
                    <a:pt x="995375" y="192396"/>
                    <a:pt x="995375" y="192396"/>
                  </a:cubicBezTo>
                  <a:lnTo>
                    <a:pt x="997819" y="199727"/>
                  </a:lnTo>
                  <a:lnTo>
                    <a:pt x="997819" y="199727"/>
                  </a:lnTo>
                  <a:close/>
                  <a:moveTo>
                    <a:pt x="982994" y="216343"/>
                  </a:moveTo>
                  <a:cubicBezTo>
                    <a:pt x="982994" y="216343"/>
                    <a:pt x="985111" y="216995"/>
                    <a:pt x="985111" y="216995"/>
                  </a:cubicBezTo>
                  <a:lnTo>
                    <a:pt x="986252" y="213411"/>
                  </a:lnTo>
                  <a:lnTo>
                    <a:pt x="986252" y="204777"/>
                  </a:lnTo>
                  <a:cubicBezTo>
                    <a:pt x="986252" y="204777"/>
                    <a:pt x="984623" y="202659"/>
                    <a:pt x="984623" y="202659"/>
                  </a:cubicBezTo>
                  <a:lnTo>
                    <a:pt x="981528" y="205103"/>
                  </a:lnTo>
                  <a:lnTo>
                    <a:pt x="980224" y="209990"/>
                  </a:lnTo>
                  <a:lnTo>
                    <a:pt x="982831" y="216343"/>
                  </a:lnTo>
                  <a:lnTo>
                    <a:pt x="982831" y="216343"/>
                  </a:lnTo>
                  <a:close/>
                  <a:moveTo>
                    <a:pt x="974034" y="201682"/>
                  </a:moveTo>
                  <a:lnTo>
                    <a:pt x="975663" y="203311"/>
                  </a:lnTo>
                  <a:lnTo>
                    <a:pt x="979410" y="199727"/>
                  </a:lnTo>
                  <a:lnTo>
                    <a:pt x="980061" y="194025"/>
                  </a:lnTo>
                  <a:lnTo>
                    <a:pt x="981365" y="192233"/>
                  </a:lnTo>
                  <a:lnTo>
                    <a:pt x="981690" y="187508"/>
                  </a:lnTo>
                  <a:lnTo>
                    <a:pt x="979573" y="185391"/>
                  </a:lnTo>
                  <a:lnTo>
                    <a:pt x="975989" y="186531"/>
                  </a:lnTo>
                  <a:lnTo>
                    <a:pt x="972893" y="191744"/>
                  </a:lnTo>
                  <a:lnTo>
                    <a:pt x="974034" y="195491"/>
                  </a:lnTo>
                  <a:lnTo>
                    <a:pt x="973708" y="201519"/>
                  </a:lnTo>
                  <a:lnTo>
                    <a:pt x="973708" y="201519"/>
                  </a:lnTo>
                  <a:close/>
                  <a:moveTo>
                    <a:pt x="705560" y="13359"/>
                  </a:moveTo>
                  <a:lnTo>
                    <a:pt x="707352" y="13847"/>
                  </a:lnTo>
                  <a:lnTo>
                    <a:pt x="708818" y="12055"/>
                  </a:lnTo>
                  <a:lnTo>
                    <a:pt x="709795" y="7494"/>
                  </a:lnTo>
                  <a:lnTo>
                    <a:pt x="707840" y="4399"/>
                  </a:lnTo>
                  <a:lnTo>
                    <a:pt x="705071" y="4399"/>
                  </a:lnTo>
                  <a:lnTo>
                    <a:pt x="703442" y="8634"/>
                  </a:lnTo>
                  <a:lnTo>
                    <a:pt x="705396" y="13196"/>
                  </a:lnTo>
                  <a:lnTo>
                    <a:pt x="705396" y="13196"/>
                  </a:lnTo>
                  <a:close/>
                  <a:moveTo>
                    <a:pt x="706211" y="22644"/>
                  </a:moveTo>
                  <a:lnTo>
                    <a:pt x="707352" y="24436"/>
                  </a:lnTo>
                  <a:lnTo>
                    <a:pt x="710936" y="24436"/>
                  </a:lnTo>
                  <a:cubicBezTo>
                    <a:pt x="710936" y="24436"/>
                    <a:pt x="713379" y="20689"/>
                    <a:pt x="713379" y="20689"/>
                  </a:cubicBezTo>
                  <a:lnTo>
                    <a:pt x="713379" y="16617"/>
                  </a:lnTo>
                  <a:lnTo>
                    <a:pt x="710284" y="16617"/>
                  </a:lnTo>
                  <a:cubicBezTo>
                    <a:pt x="710284" y="16617"/>
                    <a:pt x="706374" y="19223"/>
                    <a:pt x="706374" y="19223"/>
                  </a:cubicBezTo>
                  <a:lnTo>
                    <a:pt x="706374" y="22644"/>
                  </a:lnTo>
                  <a:lnTo>
                    <a:pt x="706374" y="22644"/>
                  </a:lnTo>
                  <a:close/>
                  <a:moveTo>
                    <a:pt x="685033" y="23296"/>
                  </a:moveTo>
                  <a:lnTo>
                    <a:pt x="688128" y="28672"/>
                  </a:lnTo>
                  <a:lnTo>
                    <a:pt x="689431" y="32256"/>
                  </a:lnTo>
                  <a:lnTo>
                    <a:pt x="692853" y="32256"/>
                  </a:lnTo>
                  <a:cubicBezTo>
                    <a:pt x="692853" y="32256"/>
                    <a:pt x="695459" y="28509"/>
                    <a:pt x="695459" y="28509"/>
                  </a:cubicBezTo>
                  <a:lnTo>
                    <a:pt x="698066" y="26880"/>
                  </a:lnTo>
                  <a:lnTo>
                    <a:pt x="691223" y="20527"/>
                  </a:lnTo>
                  <a:lnTo>
                    <a:pt x="690409" y="16617"/>
                  </a:lnTo>
                  <a:lnTo>
                    <a:pt x="687802" y="13847"/>
                  </a:lnTo>
                  <a:lnTo>
                    <a:pt x="686173" y="15639"/>
                  </a:lnTo>
                  <a:lnTo>
                    <a:pt x="685196" y="19223"/>
                  </a:lnTo>
                  <a:lnTo>
                    <a:pt x="683730" y="20364"/>
                  </a:lnTo>
                  <a:lnTo>
                    <a:pt x="685033" y="23133"/>
                  </a:lnTo>
                  <a:lnTo>
                    <a:pt x="685033" y="23133"/>
                  </a:lnTo>
                  <a:close/>
                  <a:moveTo>
                    <a:pt x="671674" y="28346"/>
                  </a:moveTo>
                  <a:lnTo>
                    <a:pt x="671674" y="31441"/>
                  </a:lnTo>
                  <a:cubicBezTo>
                    <a:pt x="671674" y="31441"/>
                    <a:pt x="674118" y="32582"/>
                    <a:pt x="674118" y="32582"/>
                  </a:cubicBezTo>
                  <a:lnTo>
                    <a:pt x="676562" y="31441"/>
                  </a:lnTo>
                  <a:lnTo>
                    <a:pt x="676562" y="29161"/>
                  </a:lnTo>
                  <a:cubicBezTo>
                    <a:pt x="676562" y="29161"/>
                    <a:pt x="672815" y="26880"/>
                    <a:pt x="672815" y="26880"/>
                  </a:cubicBezTo>
                  <a:lnTo>
                    <a:pt x="671674" y="28346"/>
                  </a:lnTo>
                  <a:lnTo>
                    <a:pt x="671674" y="28346"/>
                  </a:lnTo>
                  <a:close/>
                  <a:moveTo>
                    <a:pt x="594944" y="48384"/>
                  </a:moveTo>
                  <a:lnTo>
                    <a:pt x="596573" y="53108"/>
                  </a:lnTo>
                  <a:lnTo>
                    <a:pt x="600972" y="55063"/>
                  </a:lnTo>
                  <a:lnTo>
                    <a:pt x="606837" y="61417"/>
                  </a:lnTo>
                  <a:lnTo>
                    <a:pt x="610909" y="62394"/>
                  </a:lnTo>
                  <a:lnTo>
                    <a:pt x="612701" y="56692"/>
                  </a:lnTo>
                  <a:lnTo>
                    <a:pt x="612701" y="51316"/>
                  </a:lnTo>
                  <a:cubicBezTo>
                    <a:pt x="612701" y="51316"/>
                    <a:pt x="614330" y="49850"/>
                    <a:pt x="614330" y="49850"/>
                  </a:cubicBezTo>
                  <a:lnTo>
                    <a:pt x="614004" y="46592"/>
                  </a:lnTo>
                  <a:lnTo>
                    <a:pt x="610583" y="45940"/>
                  </a:lnTo>
                  <a:lnTo>
                    <a:pt x="606348" y="39750"/>
                  </a:lnTo>
                  <a:lnTo>
                    <a:pt x="603090" y="39098"/>
                  </a:lnTo>
                  <a:lnTo>
                    <a:pt x="600809" y="41542"/>
                  </a:lnTo>
                  <a:lnTo>
                    <a:pt x="601623" y="45940"/>
                  </a:lnTo>
                  <a:lnTo>
                    <a:pt x="602764" y="48384"/>
                  </a:lnTo>
                  <a:lnTo>
                    <a:pt x="600646" y="50828"/>
                  </a:lnTo>
                  <a:lnTo>
                    <a:pt x="598039" y="47732"/>
                  </a:lnTo>
                  <a:lnTo>
                    <a:pt x="595107" y="48221"/>
                  </a:lnTo>
                  <a:lnTo>
                    <a:pt x="595107" y="48221"/>
                  </a:lnTo>
                  <a:close/>
                  <a:moveTo>
                    <a:pt x="590057" y="52457"/>
                  </a:moveTo>
                  <a:lnTo>
                    <a:pt x="593152" y="59951"/>
                  </a:lnTo>
                  <a:lnTo>
                    <a:pt x="595433" y="60765"/>
                  </a:lnTo>
                  <a:lnTo>
                    <a:pt x="595759" y="54575"/>
                  </a:lnTo>
                  <a:lnTo>
                    <a:pt x="591686" y="51479"/>
                  </a:lnTo>
                  <a:lnTo>
                    <a:pt x="590057" y="52620"/>
                  </a:lnTo>
                  <a:lnTo>
                    <a:pt x="590057" y="52620"/>
                  </a:lnTo>
                  <a:close/>
                  <a:moveTo>
                    <a:pt x="565295" y="51479"/>
                  </a:moveTo>
                  <a:lnTo>
                    <a:pt x="566272" y="55226"/>
                  </a:lnTo>
                  <a:lnTo>
                    <a:pt x="572300" y="55878"/>
                  </a:lnTo>
                  <a:lnTo>
                    <a:pt x="574255" y="57996"/>
                  </a:lnTo>
                  <a:lnTo>
                    <a:pt x="578164" y="57996"/>
                  </a:lnTo>
                  <a:cubicBezTo>
                    <a:pt x="578164" y="57996"/>
                    <a:pt x="578164" y="55552"/>
                    <a:pt x="578164" y="55552"/>
                  </a:cubicBezTo>
                  <a:lnTo>
                    <a:pt x="575232" y="52945"/>
                  </a:lnTo>
                  <a:lnTo>
                    <a:pt x="572626" y="52131"/>
                  </a:lnTo>
                  <a:lnTo>
                    <a:pt x="572137" y="47895"/>
                  </a:lnTo>
                  <a:lnTo>
                    <a:pt x="569042" y="46103"/>
                  </a:lnTo>
                  <a:lnTo>
                    <a:pt x="565458" y="49199"/>
                  </a:lnTo>
                  <a:lnTo>
                    <a:pt x="565132" y="51642"/>
                  </a:lnTo>
                  <a:lnTo>
                    <a:pt x="565132" y="51642"/>
                  </a:lnTo>
                  <a:close/>
                  <a:moveTo>
                    <a:pt x="550144" y="99212"/>
                  </a:moveTo>
                  <a:lnTo>
                    <a:pt x="552425" y="100026"/>
                  </a:lnTo>
                  <a:lnTo>
                    <a:pt x="555520" y="99049"/>
                  </a:lnTo>
                  <a:lnTo>
                    <a:pt x="556498" y="95465"/>
                  </a:lnTo>
                  <a:lnTo>
                    <a:pt x="553891" y="90903"/>
                  </a:lnTo>
                  <a:lnTo>
                    <a:pt x="551936" y="85039"/>
                  </a:lnTo>
                  <a:lnTo>
                    <a:pt x="548352" y="81455"/>
                  </a:lnTo>
                  <a:lnTo>
                    <a:pt x="545746" y="81943"/>
                  </a:lnTo>
                  <a:lnTo>
                    <a:pt x="545257" y="86179"/>
                  </a:lnTo>
                  <a:lnTo>
                    <a:pt x="547701" y="90089"/>
                  </a:lnTo>
                  <a:lnTo>
                    <a:pt x="547701" y="96442"/>
                  </a:lnTo>
                  <a:cubicBezTo>
                    <a:pt x="547701" y="96442"/>
                    <a:pt x="550144" y="99375"/>
                    <a:pt x="550144" y="99375"/>
                  </a:cubicBezTo>
                  <a:lnTo>
                    <a:pt x="550144" y="99375"/>
                  </a:lnTo>
                  <a:close/>
                  <a:moveTo>
                    <a:pt x="557149" y="148084"/>
                  </a:moveTo>
                  <a:lnTo>
                    <a:pt x="564154" y="147596"/>
                  </a:lnTo>
                  <a:lnTo>
                    <a:pt x="565783" y="144989"/>
                  </a:lnTo>
                  <a:lnTo>
                    <a:pt x="565132" y="140428"/>
                  </a:lnTo>
                  <a:lnTo>
                    <a:pt x="561711" y="138310"/>
                  </a:lnTo>
                  <a:lnTo>
                    <a:pt x="561711" y="134563"/>
                  </a:lnTo>
                  <a:cubicBezTo>
                    <a:pt x="561711" y="134563"/>
                    <a:pt x="559267" y="132771"/>
                    <a:pt x="559267" y="132771"/>
                  </a:cubicBezTo>
                  <a:lnTo>
                    <a:pt x="554705" y="133748"/>
                  </a:lnTo>
                  <a:lnTo>
                    <a:pt x="552262" y="138636"/>
                  </a:lnTo>
                  <a:lnTo>
                    <a:pt x="552588" y="142220"/>
                  </a:lnTo>
                  <a:lnTo>
                    <a:pt x="555520" y="147270"/>
                  </a:lnTo>
                  <a:lnTo>
                    <a:pt x="557312" y="148084"/>
                  </a:lnTo>
                  <a:lnTo>
                    <a:pt x="557312" y="148084"/>
                  </a:lnTo>
                  <a:close/>
                  <a:moveTo>
                    <a:pt x="556986" y="153786"/>
                  </a:moveTo>
                  <a:lnTo>
                    <a:pt x="556498" y="158348"/>
                  </a:lnTo>
                  <a:lnTo>
                    <a:pt x="557475" y="161769"/>
                  </a:lnTo>
                  <a:lnTo>
                    <a:pt x="556661" y="166819"/>
                  </a:lnTo>
                  <a:lnTo>
                    <a:pt x="564317" y="172358"/>
                  </a:lnTo>
                  <a:lnTo>
                    <a:pt x="567250" y="169751"/>
                  </a:lnTo>
                  <a:lnTo>
                    <a:pt x="566761" y="158348"/>
                  </a:lnTo>
                  <a:lnTo>
                    <a:pt x="563340" y="153949"/>
                  </a:lnTo>
                  <a:lnTo>
                    <a:pt x="560082" y="152972"/>
                  </a:lnTo>
                  <a:lnTo>
                    <a:pt x="557149" y="154112"/>
                  </a:lnTo>
                  <a:lnTo>
                    <a:pt x="557149" y="154112"/>
                  </a:lnTo>
                  <a:close/>
                  <a:moveTo>
                    <a:pt x="485958" y="105239"/>
                  </a:moveTo>
                  <a:lnTo>
                    <a:pt x="487261" y="103121"/>
                  </a:lnTo>
                  <a:lnTo>
                    <a:pt x="485958" y="101492"/>
                  </a:lnTo>
                  <a:lnTo>
                    <a:pt x="485958" y="97745"/>
                  </a:lnTo>
                  <a:lnTo>
                    <a:pt x="484980" y="95302"/>
                  </a:lnTo>
                  <a:lnTo>
                    <a:pt x="482700" y="96768"/>
                  </a:lnTo>
                  <a:lnTo>
                    <a:pt x="482700" y="100678"/>
                  </a:lnTo>
                  <a:cubicBezTo>
                    <a:pt x="482700" y="100678"/>
                    <a:pt x="486121" y="105076"/>
                    <a:pt x="486121" y="105076"/>
                  </a:cubicBezTo>
                  <a:lnTo>
                    <a:pt x="486121" y="105076"/>
                  </a:lnTo>
                  <a:close/>
                  <a:moveTo>
                    <a:pt x="475206" y="136844"/>
                  </a:moveTo>
                  <a:lnTo>
                    <a:pt x="477650" y="138799"/>
                  </a:lnTo>
                  <a:lnTo>
                    <a:pt x="479604" y="133260"/>
                  </a:lnTo>
                  <a:lnTo>
                    <a:pt x="479116" y="127232"/>
                  </a:lnTo>
                  <a:lnTo>
                    <a:pt x="473251" y="121041"/>
                  </a:lnTo>
                  <a:lnTo>
                    <a:pt x="472925" y="112733"/>
                  </a:lnTo>
                  <a:lnTo>
                    <a:pt x="475369" y="105565"/>
                  </a:lnTo>
                  <a:lnTo>
                    <a:pt x="476020" y="97908"/>
                  </a:lnTo>
                  <a:lnTo>
                    <a:pt x="473414" y="92532"/>
                  </a:lnTo>
                  <a:lnTo>
                    <a:pt x="473414" y="84713"/>
                  </a:lnTo>
                  <a:lnTo>
                    <a:pt x="471948" y="81292"/>
                  </a:lnTo>
                  <a:lnTo>
                    <a:pt x="466572" y="86342"/>
                  </a:lnTo>
                  <a:lnTo>
                    <a:pt x="466572" y="99212"/>
                  </a:lnTo>
                  <a:cubicBezTo>
                    <a:pt x="466572" y="99212"/>
                    <a:pt x="464291" y="103936"/>
                    <a:pt x="464291" y="103936"/>
                  </a:cubicBezTo>
                  <a:lnTo>
                    <a:pt x="464291" y="110127"/>
                  </a:lnTo>
                  <a:lnTo>
                    <a:pt x="469667" y="121041"/>
                  </a:lnTo>
                  <a:lnTo>
                    <a:pt x="470807" y="128861"/>
                  </a:lnTo>
                  <a:lnTo>
                    <a:pt x="475206" y="137007"/>
                  </a:lnTo>
                  <a:lnTo>
                    <a:pt x="475206" y="137007"/>
                  </a:lnTo>
                  <a:close/>
                  <a:moveTo>
                    <a:pt x="199075" y="178548"/>
                  </a:moveTo>
                  <a:lnTo>
                    <a:pt x="201844" y="181155"/>
                  </a:lnTo>
                  <a:lnTo>
                    <a:pt x="202496" y="184902"/>
                  </a:lnTo>
                  <a:lnTo>
                    <a:pt x="206569" y="186694"/>
                  </a:lnTo>
                  <a:lnTo>
                    <a:pt x="207057" y="181318"/>
                  </a:lnTo>
                  <a:lnTo>
                    <a:pt x="203636" y="177897"/>
                  </a:lnTo>
                  <a:lnTo>
                    <a:pt x="199075" y="178548"/>
                  </a:lnTo>
                  <a:lnTo>
                    <a:pt x="199075" y="178548"/>
                  </a:lnTo>
                  <a:close/>
                  <a:moveTo>
                    <a:pt x="24925" y="401245"/>
                  </a:moveTo>
                  <a:lnTo>
                    <a:pt x="27857" y="405644"/>
                  </a:lnTo>
                  <a:lnTo>
                    <a:pt x="35025" y="406458"/>
                  </a:lnTo>
                  <a:lnTo>
                    <a:pt x="39098" y="408250"/>
                  </a:lnTo>
                  <a:lnTo>
                    <a:pt x="43171" y="408250"/>
                  </a:lnTo>
                  <a:lnTo>
                    <a:pt x="40401" y="404015"/>
                  </a:lnTo>
                  <a:lnTo>
                    <a:pt x="37469" y="404015"/>
                  </a:lnTo>
                  <a:lnTo>
                    <a:pt x="33396" y="398964"/>
                  </a:lnTo>
                  <a:lnTo>
                    <a:pt x="28835" y="400105"/>
                  </a:lnTo>
                  <a:lnTo>
                    <a:pt x="25577" y="398964"/>
                  </a:lnTo>
                  <a:lnTo>
                    <a:pt x="25088" y="401245"/>
                  </a:lnTo>
                  <a:lnTo>
                    <a:pt x="25088" y="401245"/>
                  </a:lnTo>
                  <a:close/>
                  <a:moveTo>
                    <a:pt x="0" y="401897"/>
                  </a:moveTo>
                  <a:lnTo>
                    <a:pt x="5050" y="407762"/>
                  </a:lnTo>
                  <a:lnTo>
                    <a:pt x="10915" y="407762"/>
                  </a:lnTo>
                  <a:cubicBezTo>
                    <a:pt x="10915" y="407762"/>
                    <a:pt x="15313" y="410531"/>
                    <a:pt x="15313" y="410531"/>
                  </a:cubicBezTo>
                  <a:lnTo>
                    <a:pt x="21178" y="407273"/>
                  </a:lnTo>
                  <a:lnTo>
                    <a:pt x="15150" y="401897"/>
                  </a:lnTo>
                  <a:lnTo>
                    <a:pt x="7982" y="399127"/>
                  </a:lnTo>
                  <a:lnTo>
                    <a:pt x="1955" y="399616"/>
                  </a:lnTo>
                  <a:lnTo>
                    <a:pt x="163" y="401897"/>
                  </a:lnTo>
                  <a:lnTo>
                    <a:pt x="163" y="401897"/>
                  </a:lnTo>
                  <a:close/>
                  <a:moveTo>
                    <a:pt x="195980" y="614168"/>
                  </a:moveTo>
                  <a:lnTo>
                    <a:pt x="195165" y="617426"/>
                  </a:lnTo>
                  <a:lnTo>
                    <a:pt x="196957" y="618566"/>
                  </a:lnTo>
                  <a:lnTo>
                    <a:pt x="199401" y="615308"/>
                  </a:lnTo>
                  <a:lnTo>
                    <a:pt x="197609" y="613516"/>
                  </a:lnTo>
                  <a:lnTo>
                    <a:pt x="195980" y="614168"/>
                  </a:lnTo>
                  <a:lnTo>
                    <a:pt x="195980" y="614168"/>
                  </a:lnTo>
                  <a:close/>
                  <a:moveTo>
                    <a:pt x="196305" y="636486"/>
                  </a:moveTo>
                  <a:lnTo>
                    <a:pt x="200052" y="637138"/>
                  </a:lnTo>
                  <a:lnTo>
                    <a:pt x="202496" y="638441"/>
                  </a:lnTo>
                  <a:lnTo>
                    <a:pt x="211130" y="637952"/>
                  </a:lnTo>
                  <a:lnTo>
                    <a:pt x="214714" y="639907"/>
                  </a:lnTo>
                  <a:lnTo>
                    <a:pt x="216017" y="641862"/>
                  </a:lnTo>
                  <a:lnTo>
                    <a:pt x="217321" y="638278"/>
                  </a:lnTo>
                  <a:lnTo>
                    <a:pt x="213737" y="634531"/>
                  </a:lnTo>
                  <a:lnTo>
                    <a:pt x="207383" y="633228"/>
                  </a:lnTo>
                  <a:lnTo>
                    <a:pt x="205265" y="634857"/>
                  </a:lnTo>
                  <a:lnTo>
                    <a:pt x="200541" y="631762"/>
                  </a:lnTo>
                  <a:lnTo>
                    <a:pt x="197446" y="631762"/>
                  </a:lnTo>
                  <a:cubicBezTo>
                    <a:pt x="197446" y="631762"/>
                    <a:pt x="195328" y="634042"/>
                    <a:pt x="195328" y="634042"/>
                  </a:cubicBezTo>
                  <a:lnTo>
                    <a:pt x="196143" y="636323"/>
                  </a:lnTo>
                  <a:lnTo>
                    <a:pt x="196143" y="636323"/>
                  </a:lnTo>
                  <a:close/>
                  <a:moveTo>
                    <a:pt x="202985" y="643817"/>
                  </a:moveTo>
                  <a:lnTo>
                    <a:pt x="204288" y="645446"/>
                  </a:lnTo>
                  <a:lnTo>
                    <a:pt x="205917" y="645446"/>
                  </a:lnTo>
                  <a:cubicBezTo>
                    <a:pt x="205917" y="645446"/>
                    <a:pt x="205265" y="643328"/>
                    <a:pt x="205265" y="643328"/>
                  </a:cubicBezTo>
                  <a:lnTo>
                    <a:pt x="202822" y="643817"/>
                  </a:lnTo>
                  <a:lnTo>
                    <a:pt x="202822" y="643817"/>
                  </a:lnTo>
                  <a:close/>
                  <a:moveTo>
                    <a:pt x="204288" y="676725"/>
                  </a:moveTo>
                  <a:lnTo>
                    <a:pt x="205591" y="679331"/>
                  </a:lnTo>
                  <a:lnTo>
                    <a:pt x="209338" y="679331"/>
                  </a:lnTo>
                  <a:lnTo>
                    <a:pt x="211293" y="682264"/>
                  </a:lnTo>
                  <a:lnTo>
                    <a:pt x="214225" y="680634"/>
                  </a:lnTo>
                  <a:lnTo>
                    <a:pt x="212759" y="677539"/>
                  </a:lnTo>
                  <a:lnTo>
                    <a:pt x="208035" y="674607"/>
                  </a:lnTo>
                  <a:lnTo>
                    <a:pt x="205265" y="675096"/>
                  </a:lnTo>
                  <a:lnTo>
                    <a:pt x="204288" y="676725"/>
                  </a:lnTo>
                  <a:lnTo>
                    <a:pt x="204288" y="676725"/>
                  </a:lnTo>
                  <a:close/>
                  <a:moveTo>
                    <a:pt x="199238" y="688780"/>
                  </a:moveTo>
                  <a:lnTo>
                    <a:pt x="200378" y="691061"/>
                  </a:lnTo>
                  <a:lnTo>
                    <a:pt x="204125" y="691875"/>
                  </a:lnTo>
                  <a:lnTo>
                    <a:pt x="207383" y="689269"/>
                  </a:lnTo>
                  <a:lnTo>
                    <a:pt x="202170" y="688291"/>
                  </a:lnTo>
                  <a:lnTo>
                    <a:pt x="200378" y="687314"/>
                  </a:lnTo>
                  <a:lnTo>
                    <a:pt x="199238" y="688780"/>
                  </a:lnTo>
                  <a:lnTo>
                    <a:pt x="199238" y="688780"/>
                  </a:lnTo>
                  <a:close/>
                  <a:moveTo>
                    <a:pt x="206080" y="709144"/>
                  </a:moveTo>
                  <a:lnTo>
                    <a:pt x="208035" y="709469"/>
                  </a:lnTo>
                  <a:lnTo>
                    <a:pt x="209338" y="707840"/>
                  </a:lnTo>
                  <a:lnTo>
                    <a:pt x="207709" y="704745"/>
                  </a:lnTo>
                  <a:lnTo>
                    <a:pt x="206569" y="701650"/>
                  </a:lnTo>
                  <a:lnTo>
                    <a:pt x="205917" y="703768"/>
                  </a:lnTo>
                  <a:lnTo>
                    <a:pt x="205917" y="709144"/>
                  </a:lnTo>
                  <a:lnTo>
                    <a:pt x="205917" y="709144"/>
                  </a:lnTo>
                  <a:close/>
                  <a:moveTo>
                    <a:pt x="212922" y="714682"/>
                  </a:moveTo>
                  <a:lnTo>
                    <a:pt x="213737" y="716312"/>
                  </a:lnTo>
                  <a:lnTo>
                    <a:pt x="214714" y="716312"/>
                  </a:lnTo>
                  <a:lnTo>
                    <a:pt x="214225" y="715008"/>
                  </a:lnTo>
                  <a:lnTo>
                    <a:pt x="212922" y="714682"/>
                  </a:lnTo>
                  <a:lnTo>
                    <a:pt x="212922" y="714682"/>
                  </a:lnTo>
                  <a:close/>
                  <a:moveTo>
                    <a:pt x="198097" y="717941"/>
                  </a:moveTo>
                  <a:lnTo>
                    <a:pt x="199889" y="716149"/>
                  </a:lnTo>
                  <a:lnTo>
                    <a:pt x="198912" y="714194"/>
                  </a:lnTo>
                  <a:lnTo>
                    <a:pt x="197609" y="716474"/>
                  </a:lnTo>
                  <a:lnTo>
                    <a:pt x="198097" y="717941"/>
                  </a:lnTo>
                  <a:lnTo>
                    <a:pt x="198097" y="717941"/>
                  </a:lnTo>
                  <a:close/>
                  <a:moveTo>
                    <a:pt x="204777" y="716474"/>
                  </a:moveTo>
                  <a:lnTo>
                    <a:pt x="206406" y="717452"/>
                  </a:lnTo>
                  <a:lnTo>
                    <a:pt x="207709" y="715986"/>
                  </a:lnTo>
                  <a:lnTo>
                    <a:pt x="205591" y="714845"/>
                  </a:lnTo>
                  <a:lnTo>
                    <a:pt x="204777" y="716637"/>
                  </a:lnTo>
                  <a:lnTo>
                    <a:pt x="204777" y="716637"/>
                  </a:lnTo>
                  <a:close/>
                  <a:moveTo>
                    <a:pt x="202822" y="723154"/>
                  </a:moveTo>
                  <a:lnTo>
                    <a:pt x="205265" y="722013"/>
                  </a:lnTo>
                  <a:lnTo>
                    <a:pt x="205591" y="720384"/>
                  </a:lnTo>
                  <a:lnTo>
                    <a:pt x="203473" y="720384"/>
                  </a:lnTo>
                  <a:cubicBezTo>
                    <a:pt x="203473" y="720384"/>
                    <a:pt x="202822" y="722991"/>
                    <a:pt x="202822" y="722991"/>
                  </a:cubicBezTo>
                  <a:lnTo>
                    <a:pt x="202822" y="722991"/>
                  </a:lnTo>
                  <a:close/>
                  <a:moveTo>
                    <a:pt x="206243" y="731788"/>
                  </a:moveTo>
                  <a:lnTo>
                    <a:pt x="207220" y="730159"/>
                  </a:lnTo>
                  <a:lnTo>
                    <a:pt x="204940" y="730159"/>
                  </a:lnTo>
                  <a:lnTo>
                    <a:pt x="201681" y="729833"/>
                  </a:lnTo>
                  <a:lnTo>
                    <a:pt x="202496" y="731951"/>
                  </a:lnTo>
                  <a:lnTo>
                    <a:pt x="206243" y="731951"/>
                  </a:lnTo>
                  <a:close/>
                  <a:moveTo>
                    <a:pt x="210153" y="735861"/>
                  </a:moveTo>
                  <a:lnTo>
                    <a:pt x="212596" y="735861"/>
                  </a:lnTo>
                  <a:cubicBezTo>
                    <a:pt x="212596" y="735861"/>
                    <a:pt x="213737" y="733254"/>
                    <a:pt x="213737" y="733254"/>
                  </a:cubicBezTo>
                  <a:lnTo>
                    <a:pt x="211293" y="731951"/>
                  </a:lnTo>
                  <a:lnTo>
                    <a:pt x="208035" y="734557"/>
                  </a:lnTo>
                  <a:cubicBezTo>
                    <a:pt x="208035" y="734557"/>
                    <a:pt x="209990" y="735861"/>
                    <a:pt x="210316" y="735698"/>
                  </a:cubicBezTo>
                  <a:lnTo>
                    <a:pt x="210316" y="735698"/>
                  </a:lnTo>
                  <a:close/>
                  <a:moveTo>
                    <a:pt x="194351" y="748730"/>
                  </a:moveTo>
                  <a:lnTo>
                    <a:pt x="198260" y="746938"/>
                  </a:lnTo>
                  <a:lnTo>
                    <a:pt x="199889" y="746938"/>
                  </a:lnTo>
                  <a:cubicBezTo>
                    <a:pt x="199889" y="746938"/>
                    <a:pt x="199564" y="744658"/>
                    <a:pt x="199564" y="744658"/>
                  </a:cubicBezTo>
                  <a:lnTo>
                    <a:pt x="194513" y="744658"/>
                  </a:lnTo>
                  <a:cubicBezTo>
                    <a:pt x="194513" y="744658"/>
                    <a:pt x="192558" y="747101"/>
                    <a:pt x="192558" y="747101"/>
                  </a:cubicBezTo>
                  <a:lnTo>
                    <a:pt x="194351" y="748730"/>
                  </a:lnTo>
                  <a:lnTo>
                    <a:pt x="194351" y="748730"/>
                  </a:lnTo>
                  <a:close/>
                  <a:moveTo>
                    <a:pt x="202170" y="757202"/>
                  </a:moveTo>
                  <a:lnTo>
                    <a:pt x="210479" y="750685"/>
                  </a:lnTo>
                  <a:lnTo>
                    <a:pt x="215040" y="746613"/>
                  </a:lnTo>
                  <a:lnTo>
                    <a:pt x="214714" y="744006"/>
                  </a:lnTo>
                  <a:lnTo>
                    <a:pt x="210641" y="744006"/>
                  </a:lnTo>
                  <a:lnTo>
                    <a:pt x="206243" y="747916"/>
                  </a:lnTo>
                  <a:lnTo>
                    <a:pt x="202985" y="748242"/>
                  </a:lnTo>
                  <a:lnTo>
                    <a:pt x="201193" y="751337"/>
                  </a:lnTo>
                  <a:lnTo>
                    <a:pt x="199238" y="752803"/>
                  </a:lnTo>
                  <a:lnTo>
                    <a:pt x="199727" y="755736"/>
                  </a:lnTo>
                  <a:lnTo>
                    <a:pt x="199727" y="758016"/>
                  </a:lnTo>
                  <a:cubicBezTo>
                    <a:pt x="199727" y="758016"/>
                    <a:pt x="201030" y="758179"/>
                    <a:pt x="201030" y="758179"/>
                  </a:cubicBezTo>
                  <a:lnTo>
                    <a:pt x="202170" y="757202"/>
                  </a:lnTo>
                  <a:lnTo>
                    <a:pt x="202170" y="757202"/>
                  </a:lnTo>
                  <a:close/>
                  <a:moveTo>
                    <a:pt x="210641" y="755573"/>
                  </a:moveTo>
                  <a:lnTo>
                    <a:pt x="211945" y="755573"/>
                  </a:lnTo>
                  <a:cubicBezTo>
                    <a:pt x="211945" y="755573"/>
                    <a:pt x="214063" y="754106"/>
                    <a:pt x="214063" y="754106"/>
                  </a:cubicBezTo>
                  <a:lnTo>
                    <a:pt x="214388" y="752152"/>
                  </a:lnTo>
                  <a:lnTo>
                    <a:pt x="210641" y="755410"/>
                  </a:lnTo>
                  <a:lnTo>
                    <a:pt x="210641" y="755410"/>
                  </a:lnTo>
                  <a:close/>
                  <a:moveTo>
                    <a:pt x="207220" y="760786"/>
                  </a:moveTo>
                  <a:lnTo>
                    <a:pt x="210153" y="760134"/>
                  </a:lnTo>
                  <a:lnTo>
                    <a:pt x="209338" y="757690"/>
                  </a:lnTo>
                  <a:lnTo>
                    <a:pt x="206895" y="758994"/>
                  </a:lnTo>
                  <a:lnTo>
                    <a:pt x="207220" y="760786"/>
                  </a:lnTo>
                  <a:lnTo>
                    <a:pt x="207220" y="760786"/>
                  </a:lnTo>
                  <a:close/>
                  <a:moveTo>
                    <a:pt x="200215" y="763392"/>
                  </a:moveTo>
                  <a:lnTo>
                    <a:pt x="202659" y="760786"/>
                  </a:lnTo>
                  <a:lnTo>
                    <a:pt x="200541" y="759320"/>
                  </a:lnTo>
                  <a:lnTo>
                    <a:pt x="198749" y="760460"/>
                  </a:lnTo>
                  <a:lnTo>
                    <a:pt x="198749" y="762741"/>
                  </a:lnTo>
                  <a:lnTo>
                    <a:pt x="200215" y="763229"/>
                  </a:lnTo>
                  <a:lnTo>
                    <a:pt x="200215" y="763229"/>
                  </a:lnTo>
                  <a:close/>
                  <a:moveTo>
                    <a:pt x="191581" y="780335"/>
                  </a:moveTo>
                  <a:lnTo>
                    <a:pt x="191581" y="784408"/>
                  </a:lnTo>
                  <a:cubicBezTo>
                    <a:pt x="191581" y="784408"/>
                    <a:pt x="194839" y="784245"/>
                    <a:pt x="194839" y="784245"/>
                  </a:cubicBezTo>
                  <a:lnTo>
                    <a:pt x="198423" y="779683"/>
                  </a:lnTo>
                  <a:lnTo>
                    <a:pt x="203473" y="778054"/>
                  </a:lnTo>
                  <a:lnTo>
                    <a:pt x="204614" y="775448"/>
                  </a:lnTo>
                  <a:lnTo>
                    <a:pt x="202659" y="774307"/>
                  </a:lnTo>
                  <a:lnTo>
                    <a:pt x="200215" y="775773"/>
                  </a:lnTo>
                  <a:lnTo>
                    <a:pt x="195002" y="776262"/>
                  </a:lnTo>
                  <a:lnTo>
                    <a:pt x="193862" y="779357"/>
                  </a:lnTo>
                  <a:cubicBezTo>
                    <a:pt x="193862" y="779357"/>
                    <a:pt x="191907" y="780661"/>
                    <a:pt x="191744" y="780498"/>
                  </a:cubicBezTo>
                  <a:lnTo>
                    <a:pt x="191744" y="780498"/>
                  </a:lnTo>
                  <a:close/>
                  <a:moveTo>
                    <a:pt x="187834" y="795485"/>
                  </a:moveTo>
                  <a:lnTo>
                    <a:pt x="189137" y="799721"/>
                  </a:lnTo>
                  <a:lnTo>
                    <a:pt x="191744" y="800698"/>
                  </a:lnTo>
                  <a:lnTo>
                    <a:pt x="193536" y="798255"/>
                  </a:lnTo>
                  <a:lnTo>
                    <a:pt x="190115" y="794997"/>
                  </a:lnTo>
                  <a:lnTo>
                    <a:pt x="187834" y="795485"/>
                  </a:lnTo>
                  <a:lnTo>
                    <a:pt x="187834" y="795485"/>
                  </a:lnTo>
                  <a:close/>
                  <a:moveTo>
                    <a:pt x="300079" y="1386683"/>
                  </a:moveTo>
                  <a:lnTo>
                    <a:pt x="303663" y="1382447"/>
                  </a:lnTo>
                  <a:lnTo>
                    <a:pt x="307410" y="1382121"/>
                  </a:lnTo>
                  <a:lnTo>
                    <a:pt x="309038" y="1383587"/>
                  </a:lnTo>
                  <a:lnTo>
                    <a:pt x="307410" y="1386194"/>
                  </a:lnTo>
                  <a:lnTo>
                    <a:pt x="304151" y="1386194"/>
                  </a:lnTo>
                  <a:cubicBezTo>
                    <a:pt x="304151" y="1386194"/>
                    <a:pt x="302196" y="1387660"/>
                    <a:pt x="302196" y="1387660"/>
                  </a:cubicBezTo>
                  <a:lnTo>
                    <a:pt x="300241" y="1386683"/>
                  </a:lnTo>
                  <a:lnTo>
                    <a:pt x="300241" y="1386683"/>
                  </a:lnTo>
                  <a:close/>
                  <a:moveTo>
                    <a:pt x="273198" y="1370555"/>
                  </a:moveTo>
                  <a:lnTo>
                    <a:pt x="275154" y="1370555"/>
                  </a:lnTo>
                  <a:lnTo>
                    <a:pt x="275154" y="1368763"/>
                  </a:lnTo>
                  <a:cubicBezTo>
                    <a:pt x="275154" y="1368763"/>
                    <a:pt x="277760" y="1365179"/>
                    <a:pt x="277760" y="1365179"/>
                  </a:cubicBezTo>
                  <a:lnTo>
                    <a:pt x="277760" y="1361920"/>
                  </a:lnTo>
                  <a:cubicBezTo>
                    <a:pt x="277760" y="1361920"/>
                    <a:pt x="275316" y="1361920"/>
                    <a:pt x="275316" y="1361920"/>
                  </a:cubicBezTo>
                  <a:lnTo>
                    <a:pt x="274339" y="1364038"/>
                  </a:lnTo>
                  <a:lnTo>
                    <a:pt x="272221" y="1365993"/>
                  </a:lnTo>
                  <a:lnTo>
                    <a:pt x="273036" y="1370718"/>
                  </a:lnTo>
                  <a:lnTo>
                    <a:pt x="273036" y="1370718"/>
                  </a:lnTo>
                  <a:close/>
                  <a:moveTo>
                    <a:pt x="254138" y="1337158"/>
                  </a:moveTo>
                  <a:lnTo>
                    <a:pt x="255279" y="1338136"/>
                  </a:lnTo>
                  <a:lnTo>
                    <a:pt x="258374" y="1338136"/>
                  </a:lnTo>
                  <a:cubicBezTo>
                    <a:pt x="258374" y="1338136"/>
                    <a:pt x="261469" y="1336181"/>
                    <a:pt x="261469" y="1336181"/>
                  </a:cubicBezTo>
                  <a:lnTo>
                    <a:pt x="260817" y="1334552"/>
                  </a:lnTo>
                  <a:lnTo>
                    <a:pt x="257071" y="1334552"/>
                  </a:lnTo>
                  <a:cubicBezTo>
                    <a:pt x="257071" y="1334552"/>
                    <a:pt x="254138" y="1337158"/>
                    <a:pt x="254138" y="1337158"/>
                  </a:cubicBezTo>
                  <a:lnTo>
                    <a:pt x="254138" y="1337158"/>
                  </a:lnTo>
                  <a:close/>
                  <a:moveTo>
                    <a:pt x="244364" y="1335855"/>
                  </a:moveTo>
                  <a:lnTo>
                    <a:pt x="245015" y="1338787"/>
                  </a:lnTo>
                  <a:lnTo>
                    <a:pt x="248111" y="1338787"/>
                  </a:lnTo>
                  <a:cubicBezTo>
                    <a:pt x="248111" y="1338787"/>
                    <a:pt x="248436" y="1336181"/>
                    <a:pt x="248436" y="1336181"/>
                  </a:cubicBezTo>
                  <a:lnTo>
                    <a:pt x="246319" y="1334715"/>
                  </a:lnTo>
                  <a:lnTo>
                    <a:pt x="244364" y="1335855"/>
                  </a:lnTo>
                  <a:lnTo>
                    <a:pt x="244364" y="1335855"/>
                  </a:lnTo>
                  <a:close/>
                  <a:moveTo>
                    <a:pt x="216832" y="1338950"/>
                  </a:moveTo>
                  <a:lnTo>
                    <a:pt x="217321" y="1340742"/>
                  </a:lnTo>
                  <a:lnTo>
                    <a:pt x="219276" y="1341231"/>
                  </a:lnTo>
                  <a:lnTo>
                    <a:pt x="220416" y="1343838"/>
                  </a:lnTo>
                  <a:lnTo>
                    <a:pt x="224000" y="1342208"/>
                  </a:lnTo>
                  <a:lnTo>
                    <a:pt x="222371" y="1338462"/>
                  </a:lnTo>
                  <a:lnTo>
                    <a:pt x="218624" y="1337484"/>
                  </a:lnTo>
                  <a:lnTo>
                    <a:pt x="216669" y="1338950"/>
                  </a:lnTo>
                  <a:lnTo>
                    <a:pt x="216669" y="1338950"/>
                  </a:lnTo>
                  <a:close/>
                  <a:moveTo>
                    <a:pt x="181318" y="1182558"/>
                  </a:moveTo>
                  <a:lnTo>
                    <a:pt x="183436" y="1182232"/>
                  </a:lnTo>
                  <a:lnTo>
                    <a:pt x="187346" y="1178974"/>
                  </a:lnTo>
                  <a:lnTo>
                    <a:pt x="191092" y="1173760"/>
                  </a:lnTo>
                  <a:lnTo>
                    <a:pt x="188812" y="1174575"/>
                  </a:lnTo>
                  <a:lnTo>
                    <a:pt x="186368" y="1177507"/>
                  </a:lnTo>
                  <a:lnTo>
                    <a:pt x="181155" y="1182558"/>
                  </a:lnTo>
                  <a:lnTo>
                    <a:pt x="181155" y="1182558"/>
                  </a:lnTo>
                  <a:close/>
                  <a:moveTo>
                    <a:pt x="181155" y="1177019"/>
                  </a:moveTo>
                  <a:cubicBezTo>
                    <a:pt x="181155" y="1177019"/>
                    <a:pt x="181155" y="1178485"/>
                    <a:pt x="181155" y="1178485"/>
                  </a:cubicBezTo>
                  <a:lnTo>
                    <a:pt x="182784" y="1177833"/>
                  </a:lnTo>
                  <a:lnTo>
                    <a:pt x="185390" y="1175715"/>
                  </a:lnTo>
                  <a:lnTo>
                    <a:pt x="187182" y="1172783"/>
                  </a:lnTo>
                  <a:lnTo>
                    <a:pt x="185390" y="1172783"/>
                  </a:lnTo>
                  <a:cubicBezTo>
                    <a:pt x="185390" y="1172783"/>
                    <a:pt x="181155" y="1177182"/>
                    <a:pt x="181155" y="1177182"/>
                  </a:cubicBezTo>
                  <a:lnTo>
                    <a:pt x="181155" y="1177182"/>
                  </a:lnTo>
                  <a:close/>
                  <a:moveTo>
                    <a:pt x="159651" y="1124562"/>
                  </a:moveTo>
                  <a:lnTo>
                    <a:pt x="157696" y="1127494"/>
                  </a:lnTo>
                  <a:lnTo>
                    <a:pt x="159325" y="1127820"/>
                  </a:lnTo>
                  <a:lnTo>
                    <a:pt x="163561" y="1126680"/>
                  </a:lnTo>
                  <a:lnTo>
                    <a:pt x="162746" y="1124725"/>
                  </a:lnTo>
                  <a:lnTo>
                    <a:pt x="160954" y="1124236"/>
                  </a:lnTo>
                  <a:lnTo>
                    <a:pt x="159651" y="1124725"/>
                  </a:lnTo>
                  <a:lnTo>
                    <a:pt x="159651" y="1124725"/>
                  </a:lnTo>
                  <a:close/>
                  <a:moveTo>
                    <a:pt x="157044" y="1118371"/>
                  </a:moveTo>
                  <a:lnTo>
                    <a:pt x="158673" y="1120978"/>
                  </a:lnTo>
                  <a:lnTo>
                    <a:pt x="162420" y="1121467"/>
                  </a:lnTo>
                  <a:lnTo>
                    <a:pt x="162420" y="1117720"/>
                  </a:lnTo>
                  <a:cubicBezTo>
                    <a:pt x="162420" y="1117720"/>
                    <a:pt x="160139" y="1116742"/>
                    <a:pt x="160139" y="1116742"/>
                  </a:cubicBezTo>
                  <a:lnTo>
                    <a:pt x="157044" y="1118208"/>
                  </a:lnTo>
                  <a:lnTo>
                    <a:pt x="157044" y="1118208"/>
                  </a:lnTo>
                  <a:close/>
                  <a:moveTo>
                    <a:pt x="160303" y="1068358"/>
                  </a:moveTo>
                  <a:lnTo>
                    <a:pt x="164864" y="1069499"/>
                  </a:lnTo>
                  <a:lnTo>
                    <a:pt x="166656" y="1067381"/>
                  </a:lnTo>
                  <a:lnTo>
                    <a:pt x="164212" y="1066403"/>
                  </a:lnTo>
                  <a:lnTo>
                    <a:pt x="160303" y="1068358"/>
                  </a:lnTo>
                  <a:lnTo>
                    <a:pt x="160303" y="1068358"/>
                  </a:lnTo>
                  <a:close/>
                  <a:moveTo>
                    <a:pt x="162746" y="1063308"/>
                  </a:moveTo>
                  <a:lnTo>
                    <a:pt x="165027" y="1064448"/>
                  </a:lnTo>
                  <a:lnTo>
                    <a:pt x="168774" y="1064448"/>
                  </a:lnTo>
                  <a:lnTo>
                    <a:pt x="171706" y="1062656"/>
                  </a:lnTo>
                  <a:lnTo>
                    <a:pt x="166982" y="1061027"/>
                  </a:lnTo>
                  <a:lnTo>
                    <a:pt x="163561" y="1062005"/>
                  </a:lnTo>
                  <a:lnTo>
                    <a:pt x="162909" y="1063145"/>
                  </a:lnTo>
                  <a:lnTo>
                    <a:pt x="162909" y="1063145"/>
                  </a:lnTo>
                  <a:close/>
                  <a:moveTo>
                    <a:pt x="153460" y="1061190"/>
                  </a:moveTo>
                  <a:lnTo>
                    <a:pt x="154601" y="1063960"/>
                  </a:lnTo>
                  <a:lnTo>
                    <a:pt x="156881" y="1062819"/>
                  </a:lnTo>
                  <a:lnTo>
                    <a:pt x="156230" y="1061027"/>
                  </a:lnTo>
                  <a:lnTo>
                    <a:pt x="154601" y="1060701"/>
                  </a:lnTo>
                  <a:lnTo>
                    <a:pt x="153460" y="1061190"/>
                  </a:lnTo>
                  <a:lnTo>
                    <a:pt x="153460" y="1061190"/>
                  </a:lnTo>
                  <a:close/>
                  <a:moveTo>
                    <a:pt x="166656" y="1017531"/>
                  </a:moveTo>
                  <a:lnTo>
                    <a:pt x="165516" y="1018997"/>
                  </a:lnTo>
                  <a:lnTo>
                    <a:pt x="166819" y="1020300"/>
                  </a:lnTo>
                  <a:lnTo>
                    <a:pt x="169100" y="1019811"/>
                  </a:lnTo>
                  <a:lnTo>
                    <a:pt x="172032" y="1016553"/>
                  </a:lnTo>
                  <a:lnTo>
                    <a:pt x="172358" y="1014435"/>
                  </a:lnTo>
                  <a:lnTo>
                    <a:pt x="169914" y="1014435"/>
                  </a:lnTo>
                  <a:cubicBezTo>
                    <a:pt x="169914" y="1014435"/>
                    <a:pt x="166656" y="1017531"/>
                    <a:pt x="166656" y="1017531"/>
                  </a:cubicBezTo>
                  <a:lnTo>
                    <a:pt x="166656" y="1017531"/>
                  </a:lnTo>
                  <a:close/>
                  <a:moveTo>
                    <a:pt x="207872" y="999936"/>
                  </a:moveTo>
                  <a:lnTo>
                    <a:pt x="211293" y="1001728"/>
                  </a:lnTo>
                  <a:lnTo>
                    <a:pt x="218135" y="1000751"/>
                  </a:lnTo>
                  <a:lnTo>
                    <a:pt x="217646" y="998307"/>
                  </a:lnTo>
                  <a:lnTo>
                    <a:pt x="211782" y="996841"/>
                  </a:lnTo>
                  <a:lnTo>
                    <a:pt x="208035" y="997981"/>
                  </a:lnTo>
                  <a:lnTo>
                    <a:pt x="208035" y="999936"/>
                  </a:lnTo>
                  <a:lnTo>
                    <a:pt x="208035" y="999936"/>
                  </a:lnTo>
                  <a:close/>
                  <a:moveTo>
                    <a:pt x="191418" y="976640"/>
                  </a:moveTo>
                  <a:lnTo>
                    <a:pt x="190929" y="978595"/>
                  </a:lnTo>
                  <a:lnTo>
                    <a:pt x="192396" y="980387"/>
                  </a:lnTo>
                  <a:lnTo>
                    <a:pt x="199727" y="979084"/>
                  </a:lnTo>
                  <a:lnTo>
                    <a:pt x="198749" y="976315"/>
                  </a:lnTo>
                  <a:lnTo>
                    <a:pt x="194351" y="975989"/>
                  </a:lnTo>
                  <a:lnTo>
                    <a:pt x="191418" y="976477"/>
                  </a:lnTo>
                  <a:lnTo>
                    <a:pt x="191418" y="976477"/>
                  </a:lnTo>
                  <a:close/>
                  <a:moveTo>
                    <a:pt x="211619" y="974848"/>
                  </a:moveTo>
                  <a:lnTo>
                    <a:pt x="212922" y="977129"/>
                  </a:lnTo>
                  <a:lnTo>
                    <a:pt x="217158" y="977129"/>
                  </a:lnTo>
                  <a:cubicBezTo>
                    <a:pt x="217158" y="977129"/>
                    <a:pt x="219927" y="975337"/>
                    <a:pt x="219927" y="975337"/>
                  </a:cubicBezTo>
                  <a:lnTo>
                    <a:pt x="215529" y="973708"/>
                  </a:lnTo>
                  <a:lnTo>
                    <a:pt x="211456" y="974848"/>
                  </a:lnTo>
                  <a:lnTo>
                    <a:pt x="211456" y="974848"/>
                  </a:lnTo>
                  <a:close/>
                  <a:moveTo>
                    <a:pt x="200052" y="971427"/>
                  </a:moveTo>
                  <a:lnTo>
                    <a:pt x="206080" y="974034"/>
                  </a:lnTo>
                  <a:lnTo>
                    <a:pt x="209501" y="973545"/>
                  </a:lnTo>
                  <a:lnTo>
                    <a:pt x="212759" y="971101"/>
                  </a:lnTo>
                  <a:lnTo>
                    <a:pt x="209827" y="969472"/>
                  </a:lnTo>
                  <a:lnTo>
                    <a:pt x="204777" y="968332"/>
                  </a:lnTo>
                  <a:lnTo>
                    <a:pt x="200378" y="969961"/>
                  </a:lnTo>
                  <a:lnTo>
                    <a:pt x="199889" y="971590"/>
                  </a:lnTo>
                  <a:lnTo>
                    <a:pt x="199889" y="971590"/>
                  </a:lnTo>
                  <a:close/>
                  <a:moveTo>
                    <a:pt x="245015" y="871890"/>
                  </a:moveTo>
                  <a:lnTo>
                    <a:pt x="245993" y="875800"/>
                  </a:lnTo>
                  <a:lnTo>
                    <a:pt x="248273" y="878080"/>
                  </a:lnTo>
                  <a:lnTo>
                    <a:pt x="249577" y="875474"/>
                  </a:lnTo>
                  <a:lnTo>
                    <a:pt x="247459" y="872867"/>
                  </a:lnTo>
                  <a:lnTo>
                    <a:pt x="245015" y="872053"/>
                  </a:lnTo>
                  <a:lnTo>
                    <a:pt x="245015" y="872053"/>
                  </a:lnTo>
                  <a:close/>
                  <a:moveTo>
                    <a:pt x="241920" y="859834"/>
                  </a:moveTo>
                  <a:lnTo>
                    <a:pt x="240617" y="862441"/>
                  </a:lnTo>
                  <a:lnTo>
                    <a:pt x="245667" y="866025"/>
                  </a:lnTo>
                  <a:lnTo>
                    <a:pt x="248111" y="865536"/>
                  </a:lnTo>
                  <a:lnTo>
                    <a:pt x="246481" y="861138"/>
                  </a:lnTo>
                  <a:cubicBezTo>
                    <a:pt x="246481" y="861138"/>
                    <a:pt x="242083" y="859834"/>
                    <a:pt x="241920" y="859834"/>
                  </a:cubicBezTo>
                  <a:lnTo>
                    <a:pt x="241920" y="859834"/>
                  </a:lnTo>
                  <a:close/>
                  <a:moveTo>
                    <a:pt x="227747" y="825624"/>
                  </a:moveTo>
                  <a:lnTo>
                    <a:pt x="231168" y="825624"/>
                  </a:lnTo>
                  <a:cubicBezTo>
                    <a:pt x="231168" y="825624"/>
                    <a:pt x="234915" y="821877"/>
                    <a:pt x="234915" y="821877"/>
                  </a:cubicBezTo>
                  <a:lnTo>
                    <a:pt x="238662" y="820410"/>
                  </a:lnTo>
                  <a:lnTo>
                    <a:pt x="238662" y="818456"/>
                  </a:lnTo>
                  <a:cubicBezTo>
                    <a:pt x="238662" y="818456"/>
                    <a:pt x="234752" y="818293"/>
                    <a:pt x="234752" y="818293"/>
                  </a:cubicBezTo>
                  <a:lnTo>
                    <a:pt x="231331" y="816012"/>
                  </a:lnTo>
                  <a:lnTo>
                    <a:pt x="227747" y="818293"/>
                  </a:lnTo>
                  <a:lnTo>
                    <a:pt x="226606" y="822040"/>
                  </a:lnTo>
                  <a:lnTo>
                    <a:pt x="227747" y="825624"/>
                  </a:lnTo>
                  <a:lnTo>
                    <a:pt x="227747" y="825624"/>
                  </a:lnTo>
                  <a:close/>
                  <a:moveTo>
                    <a:pt x="228073" y="845010"/>
                  </a:moveTo>
                  <a:lnTo>
                    <a:pt x="230354" y="846802"/>
                  </a:lnTo>
                  <a:lnTo>
                    <a:pt x="234915" y="846313"/>
                  </a:lnTo>
                  <a:lnTo>
                    <a:pt x="238662" y="842077"/>
                  </a:lnTo>
                  <a:lnTo>
                    <a:pt x="238010" y="836864"/>
                  </a:lnTo>
                  <a:lnTo>
                    <a:pt x="233286" y="834909"/>
                  </a:lnTo>
                  <a:lnTo>
                    <a:pt x="230028" y="836376"/>
                  </a:lnTo>
                  <a:lnTo>
                    <a:pt x="228236" y="844847"/>
                  </a:lnTo>
                  <a:lnTo>
                    <a:pt x="228236" y="844847"/>
                  </a:lnTo>
                  <a:close/>
                  <a:moveTo>
                    <a:pt x="212108" y="846150"/>
                  </a:moveTo>
                  <a:lnTo>
                    <a:pt x="216343" y="848431"/>
                  </a:lnTo>
                  <a:lnTo>
                    <a:pt x="219601" y="844358"/>
                  </a:lnTo>
                  <a:lnTo>
                    <a:pt x="219113" y="841426"/>
                  </a:lnTo>
                  <a:lnTo>
                    <a:pt x="220579" y="834258"/>
                  </a:lnTo>
                  <a:lnTo>
                    <a:pt x="213900" y="837516"/>
                  </a:lnTo>
                  <a:lnTo>
                    <a:pt x="211945" y="840937"/>
                  </a:lnTo>
                  <a:lnTo>
                    <a:pt x="212271" y="846150"/>
                  </a:lnTo>
                  <a:lnTo>
                    <a:pt x="212271" y="846150"/>
                  </a:lnTo>
                  <a:close/>
                  <a:moveTo>
                    <a:pt x="181481" y="870424"/>
                  </a:moveTo>
                  <a:lnTo>
                    <a:pt x="179852" y="872867"/>
                  </a:lnTo>
                  <a:lnTo>
                    <a:pt x="182295" y="877103"/>
                  </a:lnTo>
                  <a:lnTo>
                    <a:pt x="185716" y="878080"/>
                  </a:lnTo>
                  <a:lnTo>
                    <a:pt x="186857" y="875474"/>
                  </a:lnTo>
                  <a:lnTo>
                    <a:pt x="183924" y="870261"/>
                  </a:lnTo>
                  <a:lnTo>
                    <a:pt x="181318" y="870261"/>
                  </a:lnTo>
                  <a:close/>
                  <a:moveTo>
                    <a:pt x="241268" y="918970"/>
                  </a:moveTo>
                  <a:lnTo>
                    <a:pt x="241268" y="920600"/>
                  </a:lnTo>
                  <a:lnTo>
                    <a:pt x="243875" y="920111"/>
                  </a:lnTo>
                  <a:lnTo>
                    <a:pt x="244201" y="923206"/>
                  </a:lnTo>
                  <a:lnTo>
                    <a:pt x="242735" y="928256"/>
                  </a:lnTo>
                  <a:lnTo>
                    <a:pt x="244527" y="930374"/>
                  </a:lnTo>
                  <a:lnTo>
                    <a:pt x="247785" y="927930"/>
                  </a:lnTo>
                  <a:lnTo>
                    <a:pt x="249577" y="920600"/>
                  </a:lnTo>
                  <a:lnTo>
                    <a:pt x="253324" y="917016"/>
                  </a:lnTo>
                  <a:lnTo>
                    <a:pt x="252020" y="915224"/>
                  </a:lnTo>
                  <a:lnTo>
                    <a:pt x="249414" y="915875"/>
                  </a:lnTo>
                  <a:lnTo>
                    <a:pt x="244852" y="915387"/>
                  </a:lnTo>
                  <a:lnTo>
                    <a:pt x="241105" y="918808"/>
                  </a:lnTo>
                  <a:lnTo>
                    <a:pt x="241105" y="918808"/>
                  </a:lnTo>
                  <a:close/>
                  <a:moveTo>
                    <a:pt x="180829" y="935587"/>
                  </a:moveTo>
                  <a:lnTo>
                    <a:pt x="183598" y="937542"/>
                  </a:lnTo>
                  <a:lnTo>
                    <a:pt x="191092" y="938520"/>
                  </a:lnTo>
                  <a:lnTo>
                    <a:pt x="192396" y="942267"/>
                  </a:lnTo>
                  <a:lnTo>
                    <a:pt x="196957" y="943244"/>
                  </a:lnTo>
                  <a:lnTo>
                    <a:pt x="200052" y="940800"/>
                  </a:lnTo>
                  <a:lnTo>
                    <a:pt x="213737" y="938357"/>
                  </a:lnTo>
                  <a:lnTo>
                    <a:pt x="221556" y="938357"/>
                  </a:lnTo>
                  <a:lnTo>
                    <a:pt x="230354" y="930537"/>
                  </a:lnTo>
                  <a:lnTo>
                    <a:pt x="228887" y="923043"/>
                  </a:lnTo>
                  <a:lnTo>
                    <a:pt x="225955" y="916527"/>
                  </a:lnTo>
                  <a:lnTo>
                    <a:pt x="220905" y="916201"/>
                  </a:lnTo>
                  <a:lnTo>
                    <a:pt x="216180" y="913920"/>
                  </a:lnTo>
                  <a:lnTo>
                    <a:pt x="212922" y="901702"/>
                  </a:lnTo>
                  <a:lnTo>
                    <a:pt x="208198" y="893394"/>
                  </a:lnTo>
                  <a:lnTo>
                    <a:pt x="200215" y="891602"/>
                  </a:lnTo>
                  <a:lnTo>
                    <a:pt x="195491" y="886226"/>
                  </a:lnTo>
                  <a:lnTo>
                    <a:pt x="187997" y="885411"/>
                  </a:lnTo>
                  <a:lnTo>
                    <a:pt x="182458" y="883130"/>
                  </a:lnTo>
                  <a:lnTo>
                    <a:pt x="182132" y="886226"/>
                  </a:lnTo>
                  <a:lnTo>
                    <a:pt x="176268" y="891765"/>
                  </a:lnTo>
                  <a:lnTo>
                    <a:pt x="176268" y="897955"/>
                  </a:lnTo>
                  <a:lnTo>
                    <a:pt x="181806" y="901051"/>
                  </a:lnTo>
                  <a:lnTo>
                    <a:pt x="184087" y="905775"/>
                  </a:lnTo>
                  <a:lnTo>
                    <a:pt x="179363" y="902843"/>
                  </a:lnTo>
                  <a:lnTo>
                    <a:pt x="175127" y="904634"/>
                  </a:lnTo>
                  <a:lnTo>
                    <a:pt x="175127" y="908544"/>
                  </a:lnTo>
                  <a:lnTo>
                    <a:pt x="173498" y="912454"/>
                  </a:lnTo>
                  <a:lnTo>
                    <a:pt x="180340" y="916364"/>
                  </a:lnTo>
                  <a:lnTo>
                    <a:pt x="175942" y="917667"/>
                  </a:lnTo>
                  <a:lnTo>
                    <a:pt x="174476" y="919459"/>
                  </a:lnTo>
                  <a:lnTo>
                    <a:pt x="176430" y="923695"/>
                  </a:lnTo>
                  <a:lnTo>
                    <a:pt x="188649" y="926627"/>
                  </a:lnTo>
                  <a:lnTo>
                    <a:pt x="190441" y="929071"/>
                  </a:lnTo>
                  <a:lnTo>
                    <a:pt x="193699" y="930211"/>
                  </a:lnTo>
                  <a:lnTo>
                    <a:pt x="201681" y="925161"/>
                  </a:lnTo>
                  <a:lnTo>
                    <a:pt x="195980" y="932329"/>
                  </a:lnTo>
                  <a:lnTo>
                    <a:pt x="191744" y="932329"/>
                  </a:lnTo>
                  <a:cubicBezTo>
                    <a:pt x="191744" y="932329"/>
                    <a:pt x="184576" y="929722"/>
                    <a:pt x="184576" y="929722"/>
                  </a:cubicBezTo>
                  <a:lnTo>
                    <a:pt x="181644" y="930537"/>
                  </a:lnTo>
                  <a:lnTo>
                    <a:pt x="181318" y="935099"/>
                  </a:lnTo>
                  <a:close/>
                </a:path>
              </a:pathLst>
            </a:custGeom>
            <a:solidFill>
              <a:schemeClr val="bg2"/>
            </a:solidFill>
            <a:ln w="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9" name="Forma livre: Forma 48">
              <a:extLst>
                <a:ext uri="{FF2B5EF4-FFF2-40B4-BE49-F238E27FC236}">
                  <a16:creationId xmlns:a16="http://schemas.microsoft.com/office/drawing/2014/main" id="{E089A588-5024-6EBA-3919-9E68E0521F9E}"/>
                </a:ext>
              </a:extLst>
            </p:cNvPr>
            <p:cNvSpPr/>
            <p:nvPr/>
          </p:nvSpPr>
          <p:spPr>
            <a:xfrm>
              <a:off x="2748150" y="1598949"/>
              <a:ext cx="2296806" cy="2121384"/>
            </a:xfrm>
            <a:custGeom>
              <a:avLst/>
              <a:gdLst>
                <a:gd name="connsiteX0" fmla="*/ 1606447 w 2222569"/>
                <a:gd name="connsiteY0" fmla="*/ 360518 h 2052818"/>
                <a:gd name="connsiteX1" fmla="*/ 1609705 w 2222569"/>
                <a:gd name="connsiteY1" fmla="*/ 357586 h 2052818"/>
                <a:gd name="connsiteX2" fmla="*/ 1612638 w 2222569"/>
                <a:gd name="connsiteY2" fmla="*/ 352047 h 2052818"/>
                <a:gd name="connsiteX3" fmla="*/ 1620783 w 2222569"/>
                <a:gd name="connsiteY3" fmla="*/ 343575 h 2052818"/>
                <a:gd name="connsiteX4" fmla="*/ 1624530 w 2222569"/>
                <a:gd name="connsiteY4" fmla="*/ 330868 h 2052818"/>
                <a:gd name="connsiteX5" fmla="*/ 1627462 w 2222569"/>
                <a:gd name="connsiteY5" fmla="*/ 329076 h 2052818"/>
                <a:gd name="connsiteX6" fmla="*/ 1628440 w 2222569"/>
                <a:gd name="connsiteY6" fmla="*/ 333312 h 2052818"/>
                <a:gd name="connsiteX7" fmla="*/ 1625996 w 2222569"/>
                <a:gd name="connsiteY7" fmla="*/ 339340 h 2052818"/>
                <a:gd name="connsiteX8" fmla="*/ 1625996 w 2222569"/>
                <a:gd name="connsiteY8" fmla="*/ 342435 h 2052818"/>
                <a:gd name="connsiteX9" fmla="*/ 1630232 w 2222569"/>
                <a:gd name="connsiteY9" fmla="*/ 343412 h 2052818"/>
                <a:gd name="connsiteX10" fmla="*/ 1635608 w 2222569"/>
                <a:gd name="connsiteY10" fmla="*/ 338199 h 2052818"/>
                <a:gd name="connsiteX11" fmla="*/ 1640006 w 2222569"/>
                <a:gd name="connsiteY11" fmla="*/ 335104 h 2052818"/>
                <a:gd name="connsiteX12" fmla="*/ 1639518 w 2222569"/>
                <a:gd name="connsiteY12" fmla="*/ 329891 h 2052818"/>
                <a:gd name="connsiteX13" fmla="*/ 1634468 w 2222569"/>
                <a:gd name="connsiteY13" fmla="*/ 328751 h 2052818"/>
                <a:gd name="connsiteX14" fmla="*/ 1634468 w 2222569"/>
                <a:gd name="connsiteY14" fmla="*/ 327284 h 2052818"/>
                <a:gd name="connsiteX15" fmla="*/ 1640006 w 2222569"/>
                <a:gd name="connsiteY15" fmla="*/ 325004 h 2052818"/>
                <a:gd name="connsiteX16" fmla="*/ 1640006 w 2222569"/>
                <a:gd name="connsiteY16" fmla="*/ 317999 h 2052818"/>
                <a:gd name="connsiteX17" fmla="*/ 1638377 w 2222569"/>
                <a:gd name="connsiteY17" fmla="*/ 315229 h 2052818"/>
                <a:gd name="connsiteX18" fmla="*/ 1638377 w 2222569"/>
                <a:gd name="connsiteY18" fmla="*/ 310505 h 2052818"/>
                <a:gd name="connsiteX19" fmla="*/ 1644894 w 2222569"/>
                <a:gd name="connsiteY19" fmla="*/ 305292 h 2052818"/>
                <a:gd name="connsiteX20" fmla="*/ 1647175 w 2222569"/>
                <a:gd name="connsiteY20" fmla="*/ 296820 h 2052818"/>
                <a:gd name="connsiteX21" fmla="*/ 1652225 w 2222569"/>
                <a:gd name="connsiteY21" fmla="*/ 295191 h 2052818"/>
                <a:gd name="connsiteX22" fmla="*/ 1654668 w 2222569"/>
                <a:gd name="connsiteY22" fmla="*/ 291119 h 2052818"/>
                <a:gd name="connsiteX23" fmla="*/ 1654343 w 2222569"/>
                <a:gd name="connsiteY23" fmla="*/ 295680 h 2052818"/>
                <a:gd name="connsiteX24" fmla="*/ 1655320 w 2222569"/>
                <a:gd name="connsiteY24" fmla="*/ 298287 h 2052818"/>
                <a:gd name="connsiteX25" fmla="*/ 1651899 w 2222569"/>
                <a:gd name="connsiteY25" fmla="*/ 299590 h 2052818"/>
                <a:gd name="connsiteX26" fmla="*/ 1648478 w 2222569"/>
                <a:gd name="connsiteY26" fmla="*/ 307898 h 2052818"/>
                <a:gd name="connsiteX27" fmla="*/ 1644079 w 2222569"/>
                <a:gd name="connsiteY27" fmla="*/ 313600 h 2052818"/>
                <a:gd name="connsiteX28" fmla="*/ 1643102 w 2222569"/>
                <a:gd name="connsiteY28" fmla="*/ 320931 h 2052818"/>
                <a:gd name="connsiteX29" fmla="*/ 1645382 w 2222569"/>
                <a:gd name="connsiteY29" fmla="*/ 325330 h 2052818"/>
                <a:gd name="connsiteX30" fmla="*/ 1647011 w 2222569"/>
                <a:gd name="connsiteY30" fmla="*/ 331194 h 2052818"/>
                <a:gd name="connsiteX31" fmla="*/ 1649781 w 2222569"/>
                <a:gd name="connsiteY31" fmla="*/ 328262 h 2052818"/>
                <a:gd name="connsiteX32" fmla="*/ 1653691 w 2222569"/>
                <a:gd name="connsiteY32" fmla="*/ 319954 h 2052818"/>
                <a:gd name="connsiteX33" fmla="*/ 1663465 w 2222569"/>
                <a:gd name="connsiteY33" fmla="*/ 311808 h 2052818"/>
                <a:gd name="connsiteX34" fmla="*/ 1666561 w 2222569"/>
                <a:gd name="connsiteY34" fmla="*/ 306106 h 2052818"/>
                <a:gd name="connsiteX35" fmla="*/ 1666561 w 2222569"/>
                <a:gd name="connsiteY35" fmla="*/ 299590 h 2052818"/>
                <a:gd name="connsiteX36" fmla="*/ 1669819 w 2222569"/>
                <a:gd name="connsiteY36" fmla="*/ 294377 h 2052818"/>
                <a:gd name="connsiteX37" fmla="*/ 1673077 w 2222569"/>
                <a:gd name="connsiteY37" fmla="*/ 293074 h 2052818"/>
                <a:gd name="connsiteX38" fmla="*/ 1673566 w 2222569"/>
                <a:gd name="connsiteY38" fmla="*/ 296169 h 2052818"/>
                <a:gd name="connsiteX39" fmla="*/ 1672100 w 2222569"/>
                <a:gd name="connsiteY39" fmla="*/ 297798 h 2052818"/>
                <a:gd name="connsiteX40" fmla="*/ 1672100 w 2222569"/>
                <a:gd name="connsiteY40" fmla="*/ 303826 h 2052818"/>
                <a:gd name="connsiteX41" fmla="*/ 1676172 w 2222569"/>
                <a:gd name="connsiteY41" fmla="*/ 302196 h 2052818"/>
                <a:gd name="connsiteX42" fmla="*/ 1681548 w 2222569"/>
                <a:gd name="connsiteY42" fmla="*/ 295028 h 2052818"/>
                <a:gd name="connsiteX43" fmla="*/ 1686273 w 2222569"/>
                <a:gd name="connsiteY43" fmla="*/ 295028 h 2052818"/>
                <a:gd name="connsiteX44" fmla="*/ 1693441 w 2222569"/>
                <a:gd name="connsiteY44" fmla="*/ 295843 h 2052818"/>
                <a:gd name="connsiteX45" fmla="*/ 1701749 w 2222569"/>
                <a:gd name="connsiteY45" fmla="*/ 293074 h 2052818"/>
                <a:gd name="connsiteX46" fmla="*/ 1706148 w 2222569"/>
                <a:gd name="connsiteY46" fmla="*/ 292748 h 2052818"/>
                <a:gd name="connsiteX47" fmla="*/ 1709732 w 2222569"/>
                <a:gd name="connsiteY47" fmla="*/ 289164 h 2052818"/>
                <a:gd name="connsiteX48" fmla="*/ 1714456 w 2222569"/>
                <a:gd name="connsiteY48" fmla="*/ 287372 h 2052818"/>
                <a:gd name="connsiteX49" fmla="*/ 1716574 w 2222569"/>
                <a:gd name="connsiteY49" fmla="*/ 282810 h 2052818"/>
                <a:gd name="connsiteX50" fmla="*/ 1716574 w 2222569"/>
                <a:gd name="connsiteY50" fmla="*/ 279552 h 2052818"/>
                <a:gd name="connsiteX51" fmla="*/ 1717388 w 2222569"/>
                <a:gd name="connsiteY51" fmla="*/ 275805 h 2052818"/>
                <a:gd name="connsiteX52" fmla="*/ 1714130 w 2222569"/>
                <a:gd name="connsiteY52" fmla="*/ 272221 h 2052818"/>
                <a:gd name="connsiteX53" fmla="*/ 1716248 w 2222569"/>
                <a:gd name="connsiteY53" fmla="*/ 265868 h 2052818"/>
                <a:gd name="connsiteX54" fmla="*/ 1715922 w 2222569"/>
                <a:gd name="connsiteY54" fmla="*/ 253812 h 2052818"/>
                <a:gd name="connsiteX55" fmla="*/ 1713967 w 2222569"/>
                <a:gd name="connsiteY55" fmla="*/ 253812 h 2052818"/>
                <a:gd name="connsiteX56" fmla="*/ 1710872 w 2222569"/>
                <a:gd name="connsiteY56" fmla="*/ 261306 h 2052818"/>
                <a:gd name="connsiteX57" fmla="*/ 1704681 w 2222569"/>
                <a:gd name="connsiteY57" fmla="*/ 268148 h 2052818"/>
                <a:gd name="connsiteX58" fmla="*/ 1701912 w 2222569"/>
                <a:gd name="connsiteY58" fmla="*/ 268148 h 2052818"/>
                <a:gd name="connsiteX59" fmla="*/ 1701912 w 2222569"/>
                <a:gd name="connsiteY59" fmla="*/ 264890 h 2052818"/>
                <a:gd name="connsiteX60" fmla="*/ 1705822 w 2222569"/>
                <a:gd name="connsiteY60" fmla="*/ 260003 h 2052818"/>
                <a:gd name="connsiteX61" fmla="*/ 1711035 w 2222569"/>
                <a:gd name="connsiteY61" fmla="*/ 256908 h 2052818"/>
                <a:gd name="connsiteX62" fmla="*/ 1711524 w 2222569"/>
                <a:gd name="connsiteY62" fmla="*/ 252998 h 2052818"/>
                <a:gd name="connsiteX63" fmla="*/ 1705822 w 2222569"/>
                <a:gd name="connsiteY63" fmla="*/ 247785 h 2052818"/>
                <a:gd name="connsiteX64" fmla="*/ 1704844 w 2222569"/>
                <a:gd name="connsiteY64" fmla="*/ 244038 h 2052818"/>
                <a:gd name="connsiteX65" fmla="*/ 1702401 w 2222569"/>
                <a:gd name="connsiteY65" fmla="*/ 243712 h 2052818"/>
                <a:gd name="connsiteX66" fmla="*/ 1699794 w 2222569"/>
                <a:gd name="connsiteY66" fmla="*/ 245504 h 2052818"/>
                <a:gd name="connsiteX67" fmla="*/ 1698817 w 2222569"/>
                <a:gd name="connsiteY67" fmla="*/ 248762 h 2052818"/>
                <a:gd name="connsiteX68" fmla="*/ 1695721 w 2222569"/>
                <a:gd name="connsiteY68" fmla="*/ 246482 h 2052818"/>
                <a:gd name="connsiteX69" fmla="*/ 1691160 w 2222569"/>
                <a:gd name="connsiteY69" fmla="*/ 246807 h 2052818"/>
                <a:gd name="connsiteX70" fmla="*/ 1686924 w 2222569"/>
                <a:gd name="connsiteY70" fmla="*/ 249740 h 2052818"/>
                <a:gd name="connsiteX71" fmla="*/ 1683177 w 2222569"/>
                <a:gd name="connsiteY71" fmla="*/ 248925 h 2052818"/>
                <a:gd name="connsiteX72" fmla="*/ 1684806 w 2222569"/>
                <a:gd name="connsiteY72" fmla="*/ 246482 h 2052818"/>
                <a:gd name="connsiteX73" fmla="*/ 1696862 w 2222569"/>
                <a:gd name="connsiteY73" fmla="*/ 240943 h 2052818"/>
                <a:gd name="connsiteX74" fmla="*/ 1702075 w 2222569"/>
                <a:gd name="connsiteY74" fmla="*/ 239965 h 2052818"/>
                <a:gd name="connsiteX75" fmla="*/ 1710383 w 2222569"/>
                <a:gd name="connsiteY75" fmla="*/ 230842 h 2052818"/>
                <a:gd name="connsiteX76" fmla="*/ 1712990 w 2222569"/>
                <a:gd name="connsiteY76" fmla="*/ 228887 h 2052818"/>
                <a:gd name="connsiteX77" fmla="*/ 1718692 w 2222569"/>
                <a:gd name="connsiteY77" fmla="*/ 218787 h 2052818"/>
                <a:gd name="connsiteX78" fmla="*/ 1721135 w 2222569"/>
                <a:gd name="connsiteY78" fmla="*/ 210479 h 2052818"/>
                <a:gd name="connsiteX79" fmla="*/ 1719343 w 2222569"/>
                <a:gd name="connsiteY79" fmla="*/ 209012 h 2052818"/>
                <a:gd name="connsiteX80" fmla="*/ 1715270 w 2222569"/>
                <a:gd name="connsiteY80" fmla="*/ 210153 h 2052818"/>
                <a:gd name="connsiteX81" fmla="*/ 1712664 w 2222569"/>
                <a:gd name="connsiteY81" fmla="*/ 211945 h 2052818"/>
                <a:gd name="connsiteX82" fmla="*/ 1710709 w 2222569"/>
                <a:gd name="connsiteY82" fmla="*/ 209338 h 2052818"/>
                <a:gd name="connsiteX83" fmla="*/ 1712501 w 2222569"/>
                <a:gd name="connsiteY83" fmla="*/ 206406 h 2052818"/>
                <a:gd name="connsiteX84" fmla="*/ 1715596 w 2222569"/>
                <a:gd name="connsiteY84" fmla="*/ 204777 h 2052818"/>
                <a:gd name="connsiteX85" fmla="*/ 1719180 w 2222569"/>
                <a:gd name="connsiteY85" fmla="*/ 205103 h 2052818"/>
                <a:gd name="connsiteX86" fmla="*/ 1721461 w 2222569"/>
                <a:gd name="connsiteY86" fmla="*/ 201682 h 2052818"/>
                <a:gd name="connsiteX87" fmla="*/ 1721461 w 2222569"/>
                <a:gd name="connsiteY87" fmla="*/ 196468 h 2052818"/>
                <a:gd name="connsiteX88" fmla="*/ 1726022 w 2222569"/>
                <a:gd name="connsiteY88" fmla="*/ 191418 h 2052818"/>
                <a:gd name="connsiteX89" fmla="*/ 1726022 w 2222569"/>
                <a:gd name="connsiteY89" fmla="*/ 185554 h 2052818"/>
                <a:gd name="connsiteX90" fmla="*/ 1724556 w 2222569"/>
                <a:gd name="connsiteY90" fmla="*/ 183762 h 2052818"/>
                <a:gd name="connsiteX91" fmla="*/ 1724556 w 2222569"/>
                <a:gd name="connsiteY91" fmla="*/ 179689 h 2052818"/>
                <a:gd name="connsiteX92" fmla="*/ 1720158 w 2222569"/>
                <a:gd name="connsiteY92" fmla="*/ 178223 h 2052818"/>
                <a:gd name="connsiteX93" fmla="*/ 1715759 w 2222569"/>
                <a:gd name="connsiteY93" fmla="*/ 180178 h 2052818"/>
                <a:gd name="connsiteX94" fmla="*/ 1710220 w 2222569"/>
                <a:gd name="connsiteY94" fmla="*/ 191092 h 2052818"/>
                <a:gd name="connsiteX95" fmla="*/ 1709080 w 2222569"/>
                <a:gd name="connsiteY95" fmla="*/ 196631 h 2052818"/>
                <a:gd name="connsiteX96" fmla="*/ 1711849 w 2222569"/>
                <a:gd name="connsiteY96" fmla="*/ 199890 h 2052818"/>
                <a:gd name="connsiteX97" fmla="*/ 1708265 w 2222569"/>
                <a:gd name="connsiteY97" fmla="*/ 204288 h 2052818"/>
                <a:gd name="connsiteX98" fmla="*/ 1705822 w 2222569"/>
                <a:gd name="connsiteY98" fmla="*/ 206243 h 2052818"/>
                <a:gd name="connsiteX99" fmla="*/ 1704356 w 2222569"/>
                <a:gd name="connsiteY99" fmla="*/ 205266 h 2052818"/>
                <a:gd name="connsiteX100" fmla="*/ 1704356 w 2222569"/>
                <a:gd name="connsiteY100" fmla="*/ 202333 h 2052818"/>
                <a:gd name="connsiteX101" fmla="*/ 1702727 w 2222569"/>
                <a:gd name="connsiteY101" fmla="*/ 200052 h 2052818"/>
                <a:gd name="connsiteX102" fmla="*/ 1702727 w 2222569"/>
                <a:gd name="connsiteY102" fmla="*/ 195491 h 2052818"/>
                <a:gd name="connsiteX103" fmla="*/ 1707451 w 2222569"/>
                <a:gd name="connsiteY103" fmla="*/ 186694 h 2052818"/>
                <a:gd name="connsiteX104" fmla="*/ 1705822 w 2222569"/>
                <a:gd name="connsiteY104" fmla="*/ 182132 h 2052818"/>
                <a:gd name="connsiteX105" fmla="*/ 1706636 w 2222569"/>
                <a:gd name="connsiteY105" fmla="*/ 179363 h 2052818"/>
                <a:gd name="connsiteX106" fmla="*/ 1708754 w 2222569"/>
                <a:gd name="connsiteY106" fmla="*/ 181155 h 2052818"/>
                <a:gd name="connsiteX107" fmla="*/ 1712012 w 2222569"/>
                <a:gd name="connsiteY107" fmla="*/ 179200 h 2052818"/>
                <a:gd name="connsiteX108" fmla="*/ 1710220 w 2222569"/>
                <a:gd name="connsiteY108" fmla="*/ 172847 h 2052818"/>
                <a:gd name="connsiteX109" fmla="*/ 1707125 w 2222569"/>
                <a:gd name="connsiteY109" fmla="*/ 167634 h 2052818"/>
                <a:gd name="connsiteX110" fmla="*/ 1702564 w 2222569"/>
                <a:gd name="connsiteY110" fmla="*/ 167634 h 2052818"/>
                <a:gd name="connsiteX111" fmla="*/ 1697025 w 2222569"/>
                <a:gd name="connsiteY111" fmla="*/ 169426 h 2052818"/>
                <a:gd name="connsiteX112" fmla="*/ 1694581 w 2222569"/>
                <a:gd name="connsiteY112" fmla="*/ 173824 h 2052818"/>
                <a:gd name="connsiteX113" fmla="*/ 1693603 w 2222569"/>
                <a:gd name="connsiteY113" fmla="*/ 170892 h 2052818"/>
                <a:gd name="connsiteX114" fmla="*/ 1691975 w 2222569"/>
                <a:gd name="connsiteY114" fmla="*/ 169588 h 2052818"/>
                <a:gd name="connsiteX115" fmla="*/ 1692789 w 2222569"/>
                <a:gd name="connsiteY115" fmla="*/ 162095 h 2052818"/>
                <a:gd name="connsiteX116" fmla="*/ 1690019 w 2222569"/>
                <a:gd name="connsiteY116" fmla="*/ 155252 h 2052818"/>
                <a:gd name="connsiteX117" fmla="*/ 1691160 w 2222569"/>
                <a:gd name="connsiteY117" fmla="*/ 144500 h 2052818"/>
                <a:gd name="connsiteX118" fmla="*/ 1690834 w 2222569"/>
                <a:gd name="connsiteY118" fmla="*/ 136518 h 2052818"/>
                <a:gd name="connsiteX119" fmla="*/ 1693603 w 2222569"/>
                <a:gd name="connsiteY119" fmla="*/ 130490 h 2052818"/>
                <a:gd name="connsiteX120" fmla="*/ 1694418 w 2222569"/>
                <a:gd name="connsiteY120" fmla="*/ 122345 h 2052818"/>
                <a:gd name="connsiteX121" fmla="*/ 1693767 w 2222569"/>
                <a:gd name="connsiteY121" fmla="*/ 116154 h 2052818"/>
                <a:gd name="connsiteX122" fmla="*/ 1697839 w 2222569"/>
                <a:gd name="connsiteY122" fmla="*/ 108009 h 2052818"/>
                <a:gd name="connsiteX123" fmla="*/ 1698165 w 2222569"/>
                <a:gd name="connsiteY123" fmla="*/ 101167 h 2052818"/>
                <a:gd name="connsiteX124" fmla="*/ 1693767 w 2222569"/>
                <a:gd name="connsiteY124" fmla="*/ 95628 h 2052818"/>
                <a:gd name="connsiteX125" fmla="*/ 1692463 w 2222569"/>
                <a:gd name="connsiteY125" fmla="*/ 90252 h 2052818"/>
                <a:gd name="connsiteX126" fmla="*/ 1684969 w 2222569"/>
                <a:gd name="connsiteY126" fmla="*/ 84876 h 2052818"/>
                <a:gd name="connsiteX127" fmla="*/ 1683503 w 2222569"/>
                <a:gd name="connsiteY127" fmla="*/ 80477 h 2052818"/>
                <a:gd name="connsiteX128" fmla="*/ 1676335 w 2222569"/>
                <a:gd name="connsiteY128" fmla="*/ 77219 h 2052818"/>
                <a:gd name="connsiteX129" fmla="*/ 1674054 w 2222569"/>
                <a:gd name="connsiteY129" fmla="*/ 79011 h 2052818"/>
                <a:gd name="connsiteX130" fmla="*/ 1674054 w 2222569"/>
                <a:gd name="connsiteY130" fmla="*/ 81943 h 2052818"/>
                <a:gd name="connsiteX131" fmla="*/ 1672262 w 2222569"/>
                <a:gd name="connsiteY131" fmla="*/ 82921 h 2052818"/>
                <a:gd name="connsiteX132" fmla="*/ 1665420 w 2222569"/>
                <a:gd name="connsiteY132" fmla="*/ 76893 h 2052818"/>
                <a:gd name="connsiteX133" fmla="*/ 1659881 w 2222569"/>
                <a:gd name="connsiteY133" fmla="*/ 78033 h 2052818"/>
                <a:gd name="connsiteX134" fmla="*/ 1659881 w 2222569"/>
                <a:gd name="connsiteY134" fmla="*/ 83409 h 2052818"/>
                <a:gd name="connsiteX135" fmla="*/ 1656135 w 2222569"/>
                <a:gd name="connsiteY135" fmla="*/ 90252 h 2052818"/>
                <a:gd name="connsiteX136" fmla="*/ 1659230 w 2222569"/>
                <a:gd name="connsiteY136" fmla="*/ 93510 h 2052818"/>
                <a:gd name="connsiteX137" fmla="*/ 1664769 w 2222569"/>
                <a:gd name="connsiteY137" fmla="*/ 93510 h 2052818"/>
                <a:gd name="connsiteX138" fmla="*/ 1669167 w 2222569"/>
                <a:gd name="connsiteY138" fmla="*/ 91881 h 2052818"/>
                <a:gd name="connsiteX139" fmla="*/ 1675195 w 2222569"/>
                <a:gd name="connsiteY139" fmla="*/ 94813 h 2052818"/>
                <a:gd name="connsiteX140" fmla="*/ 1676987 w 2222569"/>
                <a:gd name="connsiteY140" fmla="*/ 98886 h 2052818"/>
                <a:gd name="connsiteX141" fmla="*/ 1681222 w 2222569"/>
                <a:gd name="connsiteY141" fmla="*/ 99537 h 2052818"/>
                <a:gd name="connsiteX142" fmla="*/ 1681222 w 2222569"/>
                <a:gd name="connsiteY142" fmla="*/ 102796 h 2052818"/>
                <a:gd name="connsiteX143" fmla="*/ 1673240 w 2222569"/>
                <a:gd name="connsiteY143" fmla="*/ 110289 h 2052818"/>
                <a:gd name="connsiteX144" fmla="*/ 1669330 w 2222569"/>
                <a:gd name="connsiteY144" fmla="*/ 110289 h 2052818"/>
                <a:gd name="connsiteX145" fmla="*/ 1664280 w 2222569"/>
                <a:gd name="connsiteY145" fmla="*/ 106217 h 2052818"/>
                <a:gd name="connsiteX146" fmla="*/ 1659718 w 2222569"/>
                <a:gd name="connsiteY146" fmla="*/ 106705 h 2052818"/>
                <a:gd name="connsiteX147" fmla="*/ 1654505 w 2222569"/>
                <a:gd name="connsiteY147" fmla="*/ 105565 h 2052818"/>
                <a:gd name="connsiteX148" fmla="*/ 1657112 w 2222569"/>
                <a:gd name="connsiteY148" fmla="*/ 109964 h 2052818"/>
                <a:gd name="connsiteX149" fmla="*/ 1660533 w 2222569"/>
                <a:gd name="connsiteY149" fmla="*/ 110452 h 2052818"/>
                <a:gd name="connsiteX150" fmla="*/ 1656460 w 2222569"/>
                <a:gd name="connsiteY150" fmla="*/ 114362 h 2052818"/>
                <a:gd name="connsiteX151" fmla="*/ 1652387 w 2222569"/>
                <a:gd name="connsiteY151" fmla="*/ 115828 h 2052818"/>
                <a:gd name="connsiteX152" fmla="*/ 1645382 w 2222569"/>
                <a:gd name="connsiteY152" fmla="*/ 108497 h 2052818"/>
                <a:gd name="connsiteX153" fmla="*/ 1637889 w 2222569"/>
                <a:gd name="connsiteY153" fmla="*/ 112407 h 2052818"/>
                <a:gd name="connsiteX154" fmla="*/ 1635445 w 2222569"/>
                <a:gd name="connsiteY154" fmla="*/ 119249 h 2052818"/>
                <a:gd name="connsiteX155" fmla="*/ 1632024 w 2222569"/>
                <a:gd name="connsiteY155" fmla="*/ 122345 h 2052818"/>
                <a:gd name="connsiteX156" fmla="*/ 1632513 w 2222569"/>
                <a:gd name="connsiteY156" fmla="*/ 125440 h 2052818"/>
                <a:gd name="connsiteX157" fmla="*/ 1636748 w 2222569"/>
                <a:gd name="connsiteY157" fmla="*/ 126906 h 2052818"/>
                <a:gd name="connsiteX158" fmla="*/ 1638052 w 2222569"/>
                <a:gd name="connsiteY158" fmla="*/ 132771 h 2052818"/>
                <a:gd name="connsiteX159" fmla="*/ 1643753 w 2222569"/>
                <a:gd name="connsiteY159" fmla="*/ 136029 h 2052818"/>
                <a:gd name="connsiteX160" fmla="*/ 1643753 w 2222569"/>
                <a:gd name="connsiteY160" fmla="*/ 138636 h 2052818"/>
                <a:gd name="connsiteX161" fmla="*/ 1639844 w 2222569"/>
                <a:gd name="connsiteY161" fmla="*/ 138310 h 2052818"/>
                <a:gd name="connsiteX162" fmla="*/ 1638866 w 2222569"/>
                <a:gd name="connsiteY162" fmla="*/ 142383 h 2052818"/>
                <a:gd name="connsiteX163" fmla="*/ 1641636 w 2222569"/>
                <a:gd name="connsiteY163" fmla="*/ 145152 h 2052818"/>
                <a:gd name="connsiteX164" fmla="*/ 1641636 w 2222569"/>
                <a:gd name="connsiteY164" fmla="*/ 148573 h 2052818"/>
                <a:gd name="connsiteX165" fmla="*/ 1638214 w 2222569"/>
                <a:gd name="connsiteY165" fmla="*/ 148410 h 2052818"/>
                <a:gd name="connsiteX166" fmla="*/ 1634468 w 2222569"/>
                <a:gd name="connsiteY166" fmla="*/ 145478 h 2052818"/>
                <a:gd name="connsiteX167" fmla="*/ 1629417 w 2222569"/>
                <a:gd name="connsiteY167" fmla="*/ 144663 h 2052818"/>
                <a:gd name="connsiteX168" fmla="*/ 1624041 w 2222569"/>
                <a:gd name="connsiteY168" fmla="*/ 140754 h 2052818"/>
                <a:gd name="connsiteX169" fmla="*/ 1620620 w 2222569"/>
                <a:gd name="connsiteY169" fmla="*/ 139939 h 2052818"/>
                <a:gd name="connsiteX170" fmla="*/ 1615896 w 2222569"/>
                <a:gd name="connsiteY170" fmla="*/ 142546 h 2052818"/>
                <a:gd name="connsiteX171" fmla="*/ 1615407 w 2222569"/>
                <a:gd name="connsiteY171" fmla="*/ 147107 h 2052818"/>
                <a:gd name="connsiteX172" fmla="*/ 1618177 w 2222569"/>
                <a:gd name="connsiteY172" fmla="*/ 151668 h 2052818"/>
                <a:gd name="connsiteX173" fmla="*/ 1615896 w 2222569"/>
                <a:gd name="connsiteY173" fmla="*/ 155904 h 2052818"/>
                <a:gd name="connsiteX174" fmla="*/ 1613615 w 2222569"/>
                <a:gd name="connsiteY174" fmla="*/ 154275 h 2052818"/>
                <a:gd name="connsiteX175" fmla="*/ 1613615 w 2222569"/>
                <a:gd name="connsiteY175" fmla="*/ 151017 h 2052818"/>
                <a:gd name="connsiteX176" fmla="*/ 1609868 w 2222569"/>
                <a:gd name="connsiteY176" fmla="*/ 148410 h 2052818"/>
                <a:gd name="connsiteX177" fmla="*/ 1604166 w 2222569"/>
                <a:gd name="connsiteY177" fmla="*/ 146455 h 2052818"/>
                <a:gd name="connsiteX178" fmla="*/ 1602211 w 2222569"/>
                <a:gd name="connsiteY178" fmla="*/ 147107 h 2052818"/>
                <a:gd name="connsiteX179" fmla="*/ 1598790 w 2222569"/>
                <a:gd name="connsiteY179" fmla="*/ 143034 h 2052818"/>
                <a:gd name="connsiteX180" fmla="*/ 1595532 w 2222569"/>
                <a:gd name="connsiteY180" fmla="*/ 142220 h 2052818"/>
                <a:gd name="connsiteX181" fmla="*/ 1594066 w 2222569"/>
                <a:gd name="connsiteY181" fmla="*/ 144826 h 2052818"/>
                <a:gd name="connsiteX182" fmla="*/ 1596836 w 2222569"/>
                <a:gd name="connsiteY182" fmla="*/ 151343 h 2052818"/>
                <a:gd name="connsiteX183" fmla="*/ 1595858 w 2222569"/>
                <a:gd name="connsiteY183" fmla="*/ 156719 h 2052818"/>
                <a:gd name="connsiteX184" fmla="*/ 1598139 w 2222569"/>
                <a:gd name="connsiteY184" fmla="*/ 163235 h 2052818"/>
                <a:gd name="connsiteX185" fmla="*/ 1602049 w 2222569"/>
                <a:gd name="connsiteY185" fmla="*/ 166167 h 2052818"/>
                <a:gd name="connsiteX186" fmla="*/ 1608239 w 2222569"/>
                <a:gd name="connsiteY186" fmla="*/ 167145 h 2052818"/>
                <a:gd name="connsiteX187" fmla="*/ 1610357 w 2222569"/>
                <a:gd name="connsiteY187" fmla="*/ 169751 h 2052818"/>
                <a:gd name="connsiteX188" fmla="*/ 1608728 w 2222569"/>
                <a:gd name="connsiteY188" fmla="*/ 170566 h 2052818"/>
                <a:gd name="connsiteX189" fmla="*/ 1602863 w 2222569"/>
                <a:gd name="connsiteY189" fmla="*/ 170566 h 2052818"/>
                <a:gd name="connsiteX190" fmla="*/ 1609217 w 2222569"/>
                <a:gd name="connsiteY190" fmla="*/ 174150 h 2052818"/>
                <a:gd name="connsiteX191" fmla="*/ 1611171 w 2222569"/>
                <a:gd name="connsiteY191" fmla="*/ 178223 h 2052818"/>
                <a:gd name="connsiteX192" fmla="*/ 1615570 w 2222569"/>
                <a:gd name="connsiteY192" fmla="*/ 181155 h 2052818"/>
                <a:gd name="connsiteX193" fmla="*/ 1622412 w 2222569"/>
                <a:gd name="connsiteY193" fmla="*/ 181155 h 2052818"/>
                <a:gd name="connsiteX194" fmla="*/ 1625182 w 2222569"/>
                <a:gd name="connsiteY194" fmla="*/ 177734 h 2052818"/>
                <a:gd name="connsiteX195" fmla="*/ 1627788 w 2222569"/>
                <a:gd name="connsiteY195" fmla="*/ 177734 h 2052818"/>
                <a:gd name="connsiteX196" fmla="*/ 1628277 w 2222569"/>
                <a:gd name="connsiteY196" fmla="*/ 181481 h 2052818"/>
                <a:gd name="connsiteX197" fmla="*/ 1624041 w 2222569"/>
                <a:gd name="connsiteY197" fmla="*/ 184576 h 2052818"/>
                <a:gd name="connsiteX198" fmla="*/ 1622249 w 2222569"/>
                <a:gd name="connsiteY198" fmla="*/ 192396 h 2052818"/>
                <a:gd name="connsiteX199" fmla="*/ 1619317 w 2222569"/>
                <a:gd name="connsiteY199" fmla="*/ 193047 h 2052818"/>
                <a:gd name="connsiteX200" fmla="*/ 1612638 w 2222569"/>
                <a:gd name="connsiteY200" fmla="*/ 187508 h 2052818"/>
                <a:gd name="connsiteX201" fmla="*/ 1598627 w 2222569"/>
                <a:gd name="connsiteY201" fmla="*/ 184576 h 2052818"/>
                <a:gd name="connsiteX202" fmla="*/ 1593903 w 2222569"/>
                <a:gd name="connsiteY202" fmla="*/ 177571 h 2052818"/>
                <a:gd name="connsiteX203" fmla="*/ 1590156 w 2222569"/>
                <a:gd name="connsiteY203" fmla="*/ 176105 h 2052818"/>
                <a:gd name="connsiteX204" fmla="*/ 1588527 w 2222569"/>
                <a:gd name="connsiteY204" fmla="*/ 173335 h 2052818"/>
                <a:gd name="connsiteX205" fmla="*/ 1586735 w 2222569"/>
                <a:gd name="connsiteY205" fmla="*/ 173335 h 2052818"/>
                <a:gd name="connsiteX206" fmla="*/ 1584454 w 2222569"/>
                <a:gd name="connsiteY206" fmla="*/ 178874 h 2052818"/>
                <a:gd name="connsiteX207" fmla="*/ 1585269 w 2222569"/>
                <a:gd name="connsiteY207" fmla="*/ 181318 h 2052818"/>
                <a:gd name="connsiteX208" fmla="*/ 1582825 w 2222569"/>
                <a:gd name="connsiteY208" fmla="*/ 184087 h 2052818"/>
                <a:gd name="connsiteX209" fmla="*/ 1585269 w 2222569"/>
                <a:gd name="connsiteY209" fmla="*/ 191907 h 2052818"/>
                <a:gd name="connsiteX210" fmla="*/ 1581359 w 2222569"/>
                <a:gd name="connsiteY210" fmla="*/ 194351 h 2052818"/>
                <a:gd name="connsiteX211" fmla="*/ 1578264 w 2222569"/>
                <a:gd name="connsiteY211" fmla="*/ 192722 h 2052818"/>
                <a:gd name="connsiteX212" fmla="*/ 1578264 w 2222569"/>
                <a:gd name="connsiteY212" fmla="*/ 199564 h 2052818"/>
                <a:gd name="connsiteX213" fmla="*/ 1575332 w 2222569"/>
                <a:gd name="connsiteY213" fmla="*/ 201193 h 2052818"/>
                <a:gd name="connsiteX214" fmla="*/ 1575332 w 2222569"/>
                <a:gd name="connsiteY214" fmla="*/ 212108 h 2052818"/>
                <a:gd name="connsiteX215" fmla="*/ 1578753 w 2222569"/>
                <a:gd name="connsiteY215" fmla="*/ 215040 h 2052818"/>
                <a:gd name="connsiteX216" fmla="*/ 1586572 w 2222569"/>
                <a:gd name="connsiteY216" fmla="*/ 215529 h 2052818"/>
                <a:gd name="connsiteX217" fmla="*/ 1590971 w 2222569"/>
                <a:gd name="connsiteY217" fmla="*/ 217972 h 2052818"/>
                <a:gd name="connsiteX218" fmla="*/ 1595532 w 2222569"/>
                <a:gd name="connsiteY218" fmla="*/ 216506 h 2052818"/>
                <a:gd name="connsiteX219" fmla="*/ 1595532 w 2222569"/>
                <a:gd name="connsiteY219" fmla="*/ 218787 h 2052818"/>
                <a:gd name="connsiteX220" fmla="*/ 1592111 w 2222569"/>
                <a:gd name="connsiteY220" fmla="*/ 220742 h 2052818"/>
                <a:gd name="connsiteX221" fmla="*/ 1586735 w 2222569"/>
                <a:gd name="connsiteY221" fmla="*/ 218950 h 2052818"/>
                <a:gd name="connsiteX222" fmla="*/ 1579078 w 2222569"/>
                <a:gd name="connsiteY222" fmla="*/ 218950 h 2052818"/>
                <a:gd name="connsiteX223" fmla="*/ 1576472 w 2222569"/>
                <a:gd name="connsiteY223" fmla="*/ 217810 h 2052818"/>
                <a:gd name="connsiteX224" fmla="*/ 1571747 w 2222569"/>
                <a:gd name="connsiteY224" fmla="*/ 218135 h 2052818"/>
                <a:gd name="connsiteX225" fmla="*/ 1565068 w 2222569"/>
                <a:gd name="connsiteY225" fmla="*/ 226932 h 2052818"/>
                <a:gd name="connsiteX226" fmla="*/ 1564417 w 2222569"/>
                <a:gd name="connsiteY226" fmla="*/ 230842 h 2052818"/>
                <a:gd name="connsiteX227" fmla="*/ 1567186 w 2222569"/>
                <a:gd name="connsiteY227" fmla="*/ 234426 h 2052818"/>
                <a:gd name="connsiteX228" fmla="*/ 1566371 w 2222569"/>
                <a:gd name="connsiteY228" fmla="*/ 237196 h 2052818"/>
                <a:gd name="connsiteX229" fmla="*/ 1563439 w 2222569"/>
                <a:gd name="connsiteY229" fmla="*/ 238499 h 2052818"/>
                <a:gd name="connsiteX230" fmla="*/ 1563113 w 2222569"/>
                <a:gd name="connsiteY230" fmla="*/ 242572 h 2052818"/>
                <a:gd name="connsiteX231" fmla="*/ 1565883 w 2222569"/>
                <a:gd name="connsiteY231" fmla="*/ 245178 h 2052818"/>
                <a:gd name="connsiteX232" fmla="*/ 1569141 w 2222569"/>
                <a:gd name="connsiteY232" fmla="*/ 243223 h 2052818"/>
                <a:gd name="connsiteX233" fmla="*/ 1575332 w 2222569"/>
                <a:gd name="connsiteY233" fmla="*/ 243549 h 2052818"/>
                <a:gd name="connsiteX234" fmla="*/ 1579567 w 2222569"/>
                <a:gd name="connsiteY234" fmla="*/ 239151 h 2052818"/>
                <a:gd name="connsiteX235" fmla="*/ 1582011 w 2222569"/>
                <a:gd name="connsiteY235" fmla="*/ 241757 h 2052818"/>
                <a:gd name="connsiteX236" fmla="*/ 1581359 w 2222569"/>
                <a:gd name="connsiteY236" fmla="*/ 245993 h 2052818"/>
                <a:gd name="connsiteX237" fmla="*/ 1576798 w 2222569"/>
                <a:gd name="connsiteY237" fmla="*/ 245993 h 2052818"/>
                <a:gd name="connsiteX238" fmla="*/ 1574028 w 2222569"/>
                <a:gd name="connsiteY238" fmla="*/ 251369 h 2052818"/>
                <a:gd name="connsiteX239" fmla="*/ 1575983 w 2222569"/>
                <a:gd name="connsiteY239" fmla="*/ 253812 h 2052818"/>
                <a:gd name="connsiteX240" fmla="*/ 1579730 w 2222569"/>
                <a:gd name="connsiteY240" fmla="*/ 253812 h 2052818"/>
                <a:gd name="connsiteX241" fmla="*/ 1583966 w 2222569"/>
                <a:gd name="connsiteY241" fmla="*/ 249740 h 2052818"/>
                <a:gd name="connsiteX242" fmla="*/ 1586898 w 2222569"/>
                <a:gd name="connsiteY242" fmla="*/ 249740 h 2052818"/>
                <a:gd name="connsiteX243" fmla="*/ 1591622 w 2222569"/>
                <a:gd name="connsiteY243" fmla="*/ 246482 h 2052818"/>
                <a:gd name="connsiteX244" fmla="*/ 1591622 w 2222569"/>
                <a:gd name="connsiteY244" fmla="*/ 249414 h 2052818"/>
                <a:gd name="connsiteX245" fmla="*/ 1589179 w 2222569"/>
                <a:gd name="connsiteY245" fmla="*/ 252183 h 2052818"/>
                <a:gd name="connsiteX246" fmla="*/ 1592274 w 2222569"/>
                <a:gd name="connsiteY246" fmla="*/ 253650 h 2052818"/>
                <a:gd name="connsiteX247" fmla="*/ 1599442 w 2222569"/>
                <a:gd name="connsiteY247" fmla="*/ 253650 h 2052818"/>
                <a:gd name="connsiteX248" fmla="*/ 1601234 w 2222569"/>
                <a:gd name="connsiteY248" fmla="*/ 256419 h 2052818"/>
                <a:gd name="connsiteX249" fmla="*/ 1596673 w 2222569"/>
                <a:gd name="connsiteY249" fmla="*/ 256745 h 2052818"/>
                <a:gd name="connsiteX250" fmla="*/ 1596673 w 2222569"/>
                <a:gd name="connsiteY250" fmla="*/ 260980 h 2052818"/>
                <a:gd name="connsiteX251" fmla="*/ 1600582 w 2222569"/>
                <a:gd name="connsiteY251" fmla="*/ 261469 h 2052818"/>
                <a:gd name="connsiteX252" fmla="*/ 1606121 w 2222569"/>
                <a:gd name="connsiteY252" fmla="*/ 260166 h 2052818"/>
                <a:gd name="connsiteX253" fmla="*/ 1611986 w 2222569"/>
                <a:gd name="connsiteY253" fmla="*/ 264402 h 2052818"/>
                <a:gd name="connsiteX254" fmla="*/ 1624204 w 2222569"/>
                <a:gd name="connsiteY254" fmla="*/ 267334 h 2052818"/>
                <a:gd name="connsiteX255" fmla="*/ 1625670 w 2222569"/>
                <a:gd name="connsiteY255" fmla="*/ 269615 h 2052818"/>
                <a:gd name="connsiteX256" fmla="*/ 1615244 w 2222569"/>
                <a:gd name="connsiteY256" fmla="*/ 269289 h 2052818"/>
                <a:gd name="connsiteX257" fmla="*/ 1610031 w 2222569"/>
                <a:gd name="connsiteY257" fmla="*/ 269778 h 2052818"/>
                <a:gd name="connsiteX258" fmla="*/ 1603026 w 2222569"/>
                <a:gd name="connsiteY258" fmla="*/ 265216 h 2052818"/>
                <a:gd name="connsiteX259" fmla="*/ 1596836 w 2222569"/>
                <a:gd name="connsiteY259" fmla="*/ 267660 h 2052818"/>
                <a:gd name="connsiteX260" fmla="*/ 1596510 w 2222569"/>
                <a:gd name="connsiteY260" fmla="*/ 270592 h 2052818"/>
                <a:gd name="connsiteX261" fmla="*/ 1603189 w 2222569"/>
                <a:gd name="connsiteY261" fmla="*/ 273687 h 2052818"/>
                <a:gd name="connsiteX262" fmla="*/ 1613289 w 2222569"/>
                <a:gd name="connsiteY262" fmla="*/ 274991 h 2052818"/>
                <a:gd name="connsiteX263" fmla="*/ 1623390 w 2222569"/>
                <a:gd name="connsiteY263" fmla="*/ 274991 h 2052818"/>
                <a:gd name="connsiteX264" fmla="*/ 1626811 w 2222569"/>
                <a:gd name="connsiteY264" fmla="*/ 277434 h 2052818"/>
                <a:gd name="connsiteX265" fmla="*/ 1615733 w 2222569"/>
                <a:gd name="connsiteY265" fmla="*/ 279389 h 2052818"/>
                <a:gd name="connsiteX266" fmla="*/ 1612475 w 2222569"/>
                <a:gd name="connsiteY266" fmla="*/ 277760 h 2052818"/>
                <a:gd name="connsiteX267" fmla="*/ 1602537 w 2222569"/>
                <a:gd name="connsiteY267" fmla="*/ 276457 h 2052818"/>
                <a:gd name="connsiteX268" fmla="*/ 1595695 w 2222569"/>
                <a:gd name="connsiteY268" fmla="*/ 276131 h 2052818"/>
                <a:gd name="connsiteX269" fmla="*/ 1592763 w 2222569"/>
                <a:gd name="connsiteY269" fmla="*/ 272384 h 2052818"/>
                <a:gd name="connsiteX270" fmla="*/ 1587713 w 2222569"/>
                <a:gd name="connsiteY270" fmla="*/ 270755 h 2052818"/>
                <a:gd name="connsiteX271" fmla="*/ 1580708 w 2222569"/>
                <a:gd name="connsiteY271" fmla="*/ 264564 h 2052818"/>
                <a:gd name="connsiteX272" fmla="*/ 1577775 w 2222569"/>
                <a:gd name="connsiteY272" fmla="*/ 266845 h 2052818"/>
                <a:gd name="connsiteX273" fmla="*/ 1574191 w 2222569"/>
                <a:gd name="connsiteY273" fmla="*/ 270592 h 2052818"/>
                <a:gd name="connsiteX274" fmla="*/ 1566535 w 2222569"/>
                <a:gd name="connsiteY274" fmla="*/ 270918 h 2052818"/>
                <a:gd name="connsiteX275" fmla="*/ 1563113 w 2222569"/>
                <a:gd name="connsiteY275" fmla="*/ 273850 h 2052818"/>
                <a:gd name="connsiteX276" fmla="*/ 1561647 w 2222569"/>
                <a:gd name="connsiteY276" fmla="*/ 282810 h 2052818"/>
                <a:gd name="connsiteX277" fmla="*/ 1567349 w 2222569"/>
                <a:gd name="connsiteY277" fmla="*/ 288023 h 2052818"/>
                <a:gd name="connsiteX278" fmla="*/ 1567349 w 2222569"/>
                <a:gd name="connsiteY278" fmla="*/ 293725 h 2052818"/>
                <a:gd name="connsiteX279" fmla="*/ 1565394 w 2222569"/>
                <a:gd name="connsiteY279" fmla="*/ 296169 h 2052818"/>
                <a:gd name="connsiteX280" fmla="*/ 1562462 w 2222569"/>
                <a:gd name="connsiteY280" fmla="*/ 288023 h 2052818"/>
                <a:gd name="connsiteX281" fmla="*/ 1559366 w 2222569"/>
                <a:gd name="connsiteY281" fmla="*/ 287698 h 2052818"/>
                <a:gd name="connsiteX282" fmla="*/ 1556434 w 2222569"/>
                <a:gd name="connsiteY282" fmla="*/ 298938 h 2052818"/>
                <a:gd name="connsiteX283" fmla="*/ 1557086 w 2222569"/>
                <a:gd name="connsiteY283" fmla="*/ 305455 h 2052818"/>
                <a:gd name="connsiteX284" fmla="*/ 1560833 w 2222569"/>
                <a:gd name="connsiteY284" fmla="*/ 306595 h 2052818"/>
                <a:gd name="connsiteX285" fmla="*/ 1562462 w 2222569"/>
                <a:gd name="connsiteY285" fmla="*/ 304640 h 2052818"/>
                <a:gd name="connsiteX286" fmla="*/ 1565394 w 2222569"/>
                <a:gd name="connsiteY286" fmla="*/ 304966 h 2052818"/>
                <a:gd name="connsiteX287" fmla="*/ 1568815 w 2222569"/>
                <a:gd name="connsiteY287" fmla="*/ 310668 h 2052818"/>
                <a:gd name="connsiteX288" fmla="*/ 1572562 w 2222569"/>
                <a:gd name="connsiteY288" fmla="*/ 311808 h 2052818"/>
                <a:gd name="connsiteX289" fmla="*/ 1568489 w 2222569"/>
                <a:gd name="connsiteY289" fmla="*/ 312786 h 2052818"/>
                <a:gd name="connsiteX290" fmla="*/ 1565720 w 2222569"/>
                <a:gd name="connsiteY290" fmla="*/ 314740 h 2052818"/>
                <a:gd name="connsiteX291" fmla="*/ 1561484 w 2222569"/>
                <a:gd name="connsiteY291" fmla="*/ 310016 h 2052818"/>
                <a:gd name="connsiteX292" fmla="*/ 1554805 w 2222569"/>
                <a:gd name="connsiteY292" fmla="*/ 310994 h 2052818"/>
                <a:gd name="connsiteX293" fmla="*/ 1553990 w 2222569"/>
                <a:gd name="connsiteY293" fmla="*/ 319954 h 2052818"/>
                <a:gd name="connsiteX294" fmla="*/ 1555945 w 2222569"/>
                <a:gd name="connsiteY294" fmla="*/ 323049 h 2052818"/>
                <a:gd name="connsiteX295" fmla="*/ 1559203 w 2222569"/>
                <a:gd name="connsiteY295" fmla="*/ 321257 h 2052818"/>
                <a:gd name="connsiteX296" fmla="*/ 1556923 w 2222569"/>
                <a:gd name="connsiteY296" fmla="*/ 324678 h 2052818"/>
                <a:gd name="connsiteX297" fmla="*/ 1557249 w 2222569"/>
                <a:gd name="connsiteY297" fmla="*/ 336082 h 2052818"/>
                <a:gd name="connsiteX298" fmla="*/ 1560344 w 2222569"/>
                <a:gd name="connsiteY298" fmla="*/ 333312 h 2052818"/>
                <a:gd name="connsiteX299" fmla="*/ 1564254 w 2222569"/>
                <a:gd name="connsiteY299" fmla="*/ 334615 h 2052818"/>
                <a:gd name="connsiteX300" fmla="*/ 1564254 w 2222569"/>
                <a:gd name="connsiteY300" fmla="*/ 342109 h 2052818"/>
                <a:gd name="connsiteX301" fmla="*/ 1571096 w 2222569"/>
                <a:gd name="connsiteY301" fmla="*/ 344390 h 2052818"/>
                <a:gd name="connsiteX302" fmla="*/ 1581359 w 2222569"/>
                <a:gd name="connsiteY302" fmla="*/ 351558 h 2052818"/>
                <a:gd name="connsiteX303" fmla="*/ 1585921 w 2222569"/>
                <a:gd name="connsiteY303" fmla="*/ 349766 h 2052818"/>
                <a:gd name="connsiteX304" fmla="*/ 1587876 w 2222569"/>
                <a:gd name="connsiteY304" fmla="*/ 345042 h 2052818"/>
                <a:gd name="connsiteX305" fmla="*/ 1586735 w 2222569"/>
                <a:gd name="connsiteY305" fmla="*/ 340643 h 2052818"/>
                <a:gd name="connsiteX306" fmla="*/ 1593740 w 2222569"/>
                <a:gd name="connsiteY306" fmla="*/ 341132 h 2052818"/>
                <a:gd name="connsiteX307" fmla="*/ 1595044 w 2222569"/>
                <a:gd name="connsiteY307" fmla="*/ 345530 h 2052818"/>
                <a:gd name="connsiteX308" fmla="*/ 1593740 w 2222569"/>
                <a:gd name="connsiteY308" fmla="*/ 349929 h 2052818"/>
                <a:gd name="connsiteX309" fmla="*/ 1594881 w 2222569"/>
                <a:gd name="connsiteY309" fmla="*/ 355305 h 2052818"/>
                <a:gd name="connsiteX310" fmla="*/ 1596836 w 2222569"/>
                <a:gd name="connsiteY310" fmla="*/ 354002 h 2052818"/>
                <a:gd name="connsiteX311" fmla="*/ 1601234 w 2222569"/>
                <a:gd name="connsiteY311" fmla="*/ 341783 h 2052818"/>
                <a:gd name="connsiteX312" fmla="*/ 1600745 w 2222569"/>
                <a:gd name="connsiteY312" fmla="*/ 331357 h 2052818"/>
                <a:gd name="connsiteX313" fmla="*/ 1602700 w 2222569"/>
                <a:gd name="connsiteY313" fmla="*/ 324352 h 2052818"/>
                <a:gd name="connsiteX314" fmla="*/ 1608402 w 2222569"/>
                <a:gd name="connsiteY314" fmla="*/ 318650 h 2052818"/>
                <a:gd name="connsiteX315" fmla="*/ 1610846 w 2222569"/>
                <a:gd name="connsiteY315" fmla="*/ 313111 h 2052818"/>
                <a:gd name="connsiteX316" fmla="*/ 1610846 w 2222569"/>
                <a:gd name="connsiteY316" fmla="*/ 319791 h 2052818"/>
                <a:gd name="connsiteX317" fmla="*/ 1604981 w 2222569"/>
                <a:gd name="connsiteY317" fmla="*/ 329565 h 2052818"/>
                <a:gd name="connsiteX318" fmla="*/ 1603678 w 2222569"/>
                <a:gd name="connsiteY318" fmla="*/ 336570 h 2052818"/>
                <a:gd name="connsiteX319" fmla="*/ 1605144 w 2222569"/>
                <a:gd name="connsiteY319" fmla="*/ 340806 h 2052818"/>
                <a:gd name="connsiteX320" fmla="*/ 1603189 w 2222569"/>
                <a:gd name="connsiteY320" fmla="*/ 350255 h 2052818"/>
                <a:gd name="connsiteX321" fmla="*/ 1605633 w 2222569"/>
                <a:gd name="connsiteY321" fmla="*/ 355305 h 2052818"/>
                <a:gd name="connsiteX322" fmla="*/ 1604818 w 2222569"/>
                <a:gd name="connsiteY322" fmla="*/ 358400 h 2052818"/>
                <a:gd name="connsiteX323" fmla="*/ 1606121 w 2222569"/>
                <a:gd name="connsiteY323" fmla="*/ 360192 h 2052818"/>
                <a:gd name="connsiteX324" fmla="*/ 1606121 w 2222569"/>
                <a:gd name="connsiteY324" fmla="*/ 360192 h 2052818"/>
                <a:gd name="connsiteX325" fmla="*/ 1618828 w 2222569"/>
                <a:gd name="connsiteY325" fmla="*/ 135052 h 2052818"/>
                <a:gd name="connsiteX326" fmla="*/ 1620457 w 2222569"/>
                <a:gd name="connsiteY326" fmla="*/ 133911 h 2052818"/>
                <a:gd name="connsiteX327" fmla="*/ 1623716 w 2222569"/>
                <a:gd name="connsiteY327" fmla="*/ 133911 h 2052818"/>
                <a:gd name="connsiteX328" fmla="*/ 1625833 w 2222569"/>
                <a:gd name="connsiteY328" fmla="*/ 135378 h 2052818"/>
                <a:gd name="connsiteX329" fmla="*/ 1629906 w 2222569"/>
                <a:gd name="connsiteY329" fmla="*/ 135378 h 2052818"/>
                <a:gd name="connsiteX330" fmla="*/ 1630395 w 2222569"/>
                <a:gd name="connsiteY330" fmla="*/ 139776 h 2052818"/>
                <a:gd name="connsiteX331" fmla="*/ 1627788 w 2222569"/>
                <a:gd name="connsiteY331" fmla="*/ 140102 h 2052818"/>
                <a:gd name="connsiteX332" fmla="*/ 1625508 w 2222569"/>
                <a:gd name="connsiteY332" fmla="*/ 138473 h 2052818"/>
                <a:gd name="connsiteX333" fmla="*/ 1620620 w 2222569"/>
                <a:gd name="connsiteY333" fmla="*/ 137658 h 2052818"/>
                <a:gd name="connsiteX334" fmla="*/ 1618991 w 2222569"/>
                <a:gd name="connsiteY334" fmla="*/ 135378 h 2052818"/>
                <a:gd name="connsiteX335" fmla="*/ 1618991 w 2222569"/>
                <a:gd name="connsiteY335" fmla="*/ 135378 h 2052818"/>
                <a:gd name="connsiteX336" fmla="*/ 1622412 w 2222569"/>
                <a:gd name="connsiteY336" fmla="*/ 358237 h 2052818"/>
                <a:gd name="connsiteX337" fmla="*/ 1623227 w 2222569"/>
                <a:gd name="connsiteY337" fmla="*/ 353676 h 2052818"/>
                <a:gd name="connsiteX338" fmla="*/ 1626485 w 2222569"/>
                <a:gd name="connsiteY338" fmla="*/ 350255 h 2052818"/>
                <a:gd name="connsiteX339" fmla="*/ 1626974 w 2222569"/>
                <a:gd name="connsiteY339" fmla="*/ 346996 h 2052818"/>
                <a:gd name="connsiteX340" fmla="*/ 1630232 w 2222569"/>
                <a:gd name="connsiteY340" fmla="*/ 345367 h 2052818"/>
                <a:gd name="connsiteX341" fmla="*/ 1632187 w 2222569"/>
                <a:gd name="connsiteY341" fmla="*/ 346834 h 2052818"/>
                <a:gd name="connsiteX342" fmla="*/ 1630232 w 2222569"/>
                <a:gd name="connsiteY342" fmla="*/ 350092 h 2052818"/>
                <a:gd name="connsiteX343" fmla="*/ 1629743 w 2222569"/>
                <a:gd name="connsiteY343" fmla="*/ 353024 h 2052818"/>
                <a:gd name="connsiteX344" fmla="*/ 1624530 w 2222569"/>
                <a:gd name="connsiteY344" fmla="*/ 357748 h 2052818"/>
                <a:gd name="connsiteX345" fmla="*/ 1622412 w 2222569"/>
                <a:gd name="connsiteY345" fmla="*/ 358237 h 2052818"/>
                <a:gd name="connsiteX346" fmla="*/ 1622412 w 2222569"/>
                <a:gd name="connsiteY346" fmla="*/ 358237 h 2052818"/>
                <a:gd name="connsiteX347" fmla="*/ 1675521 w 2222569"/>
                <a:gd name="connsiteY347" fmla="*/ 309527 h 2052818"/>
                <a:gd name="connsiteX348" fmla="*/ 1681548 w 2222569"/>
                <a:gd name="connsiteY348" fmla="*/ 301545 h 2052818"/>
                <a:gd name="connsiteX349" fmla="*/ 1684806 w 2222569"/>
                <a:gd name="connsiteY349" fmla="*/ 301545 h 2052818"/>
                <a:gd name="connsiteX350" fmla="*/ 1689857 w 2222569"/>
                <a:gd name="connsiteY350" fmla="*/ 298450 h 2052818"/>
                <a:gd name="connsiteX351" fmla="*/ 1694418 w 2222569"/>
                <a:gd name="connsiteY351" fmla="*/ 300404 h 2052818"/>
                <a:gd name="connsiteX352" fmla="*/ 1699631 w 2222569"/>
                <a:gd name="connsiteY352" fmla="*/ 305129 h 2052818"/>
                <a:gd name="connsiteX353" fmla="*/ 1697839 w 2222569"/>
                <a:gd name="connsiteY353" fmla="*/ 308387 h 2052818"/>
                <a:gd name="connsiteX354" fmla="*/ 1690997 w 2222569"/>
                <a:gd name="connsiteY354" fmla="*/ 308387 h 2052818"/>
                <a:gd name="connsiteX355" fmla="*/ 1687087 w 2222569"/>
                <a:gd name="connsiteY355" fmla="*/ 312297 h 2052818"/>
                <a:gd name="connsiteX356" fmla="*/ 1680245 w 2222569"/>
                <a:gd name="connsiteY356" fmla="*/ 313111 h 2052818"/>
                <a:gd name="connsiteX357" fmla="*/ 1676498 w 2222569"/>
                <a:gd name="connsiteY357" fmla="*/ 311971 h 2052818"/>
                <a:gd name="connsiteX358" fmla="*/ 1675521 w 2222569"/>
                <a:gd name="connsiteY358" fmla="*/ 309364 h 2052818"/>
                <a:gd name="connsiteX359" fmla="*/ 1675521 w 2222569"/>
                <a:gd name="connsiteY359" fmla="*/ 309364 h 2052818"/>
                <a:gd name="connsiteX360" fmla="*/ 2060475 w 2222569"/>
                <a:gd name="connsiteY360" fmla="*/ 8308 h 2052818"/>
                <a:gd name="connsiteX361" fmla="*/ 2062430 w 2222569"/>
                <a:gd name="connsiteY361" fmla="*/ 3910 h 2052818"/>
                <a:gd name="connsiteX362" fmla="*/ 2065525 w 2222569"/>
                <a:gd name="connsiteY362" fmla="*/ 3584 h 2052818"/>
                <a:gd name="connsiteX363" fmla="*/ 2067969 w 2222569"/>
                <a:gd name="connsiteY363" fmla="*/ 7983 h 2052818"/>
                <a:gd name="connsiteX364" fmla="*/ 2063407 w 2222569"/>
                <a:gd name="connsiteY364" fmla="*/ 9775 h 2052818"/>
                <a:gd name="connsiteX365" fmla="*/ 2060475 w 2222569"/>
                <a:gd name="connsiteY365" fmla="*/ 8308 h 2052818"/>
                <a:gd name="connsiteX366" fmla="*/ 2060475 w 2222569"/>
                <a:gd name="connsiteY366" fmla="*/ 8308 h 2052818"/>
                <a:gd name="connsiteX367" fmla="*/ 1875410 w 2222569"/>
                <a:gd name="connsiteY367" fmla="*/ 369478 h 2052818"/>
                <a:gd name="connsiteX368" fmla="*/ 1873455 w 2222569"/>
                <a:gd name="connsiteY368" fmla="*/ 371433 h 2052818"/>
                <a:gd name="connsiteX369" fmla="*/ 1875736 w 2222569"/>
                <a:gd name="connsiteY369" fmla="*/ 374365 h 2052818"/>
                <a:gd name="connsiteX370" fmla="*/ 1880786 w 2222569"/>
                <a:gd name="connsiteY370" fmla="*/ 374365 h 2052818"/>
                <a:gd name="connsiteX371" fmla="*/ 1880949 w 2222569"/>
                <a:gd name="connsiteY371" fmla="*/ 370781 h 2052818"/>
                <a:gd name="connsiteX372" fmla="*/ 1877691 w 2222569"/>
                <a:gd name="connsiteY372" fmla="*/ 368989 h 2052818"/>
                <a:gd name="connsiteX373" fmla="*/ 1875410 w 2222569"/>
                <a:gd name="connsiteY373" fmla="*/ 369315 h 2052818"/>
                <a:gd name="connsiteX374" fmla="*/ 1875410 w 2222569"/>
                <a:gd name="connsiteY374" fmla="*/ 369315 h 2052818"/>
                <a:gd name="connsiteX375" fmla="*/ 1783529 w 2222569"/>
                <a:gd name="connsiteY375" fmla="*/ 425845 h 2052818"/>
                <a:gd name="connsiteX376" fmla="*/ 1785484 w 2222569"/>
                <a:gd name="connsiteY376" fmla="*/ 428940 h 2052818"/>
                <a:gd name="connsiteX377" fmla="*/ 1790046 w 2222569"/>
                <a:gd name="connsiteY377" fmla="*/ 428940 h 2052818"/>
                <a:gd name="connsiteX378" fmla="*/ 1787439 w 2222569"/>
                <a:gd name="connsiteY378" fmla="*/ 424541 h 2052818"/>
                <a:gd name="connsiteX379" fmla="*/ 1783367 w 2222569"/>
                <a:gd name="connsiteY379" fmla="*/ 425845 h 2052818"/>
                <a:gd name="connsiteX380" fmla="*/ 1783367 w 2222569"/>
                <a:gd name="connsiteY380" fmla="*/ 425845 h 2052818"/>
                <a:gd name="connsiteX381" fmla="*/ 1653691 w 2222569"/>
                <a:gd name="connsiteY381" fmla="*/ 423564 h 2052818"/>
                <a:gd name="connsiteX382" fmla="*/ 1651410 w 2222569"/>
                <a:gd name="connsiteY382" fmla="*/ 417373 h 2052818"/>
                <a:gd name="connsiteX383" fmla="*/ 1651410 w 2222569"/>
                <a:gd name="connsiteY383" fmla="*/ 414278 h 2052818"/>
                <a:gd name="connsiteX384" fmla="*/ 1654505 w 2222569"/>
                <a:gd name="connsiteY384" fmla="*/ 414115 h 2052818"/>
                <a:gd name="connsiteX385" fmla="*/ 1656786 w 2222569"/>
                <a:gd name="connsiteY385" fmla="*/ 417047 h 2052818"/>
                <a:gd name="connsiteX386" fmla="*/ 1656786 w 2222569"/>
                <a:gd name="connsiteY386" fmla="*/ 421609 h 2052818"/>
                <a:gd name="connsiteX387" fmla="*/ 1655157 w 2222569"/>
                <a:gd name="connsiteY387" fmla="*/ 423401 h 2052818"/>
                <a:gd name="connsiteX388" fmla="*/ 1653528 w 2222569"/>
                <a:gd name="connsiteY388" fmla="*/ 423401 h 2052818"/>
                <a:gd name="connsiteX389" fmla="*/ 1617362 w 2222569"/>
                <a:gd name="connsiteY389" fmla="*/ 500457 h 2052818"/>
                <a:gd name="connsiteX390" fmla="*/ 1616385 w 2222569"/>
                <a:gd name="connsiteY390" fmla="*/ 497850 h 2052818"/>
                <a:gd name="connsiteX391" fmla="*/ 1616385 w 2222569"/>
                <a:gd name="connsiteY391" fmla="*/ 493615 h 2052818"/>
                <a:gd name="connsiteX392" fmla="*/ 1614593 w 2222569"/>
                <a:gd name="connsiteY392" fmla="*/ 487261 h 2052818"/>
                <a:gd name="connsiteX393" fmla="*/ 1613289 w 2222569"/>
                <a:gd name="connsiteY393" fmla="*/ 485795 h 2052818"/>
                <a:gd name="connsiteX394" fmla="*/ 1611660 w 2222569"/>
                <a:gd name="connsiteY394" fmla="*/ 487424 h 2052818"/>
                <a:gd name="connsiteX395" fmla="*/ 1609705 w 2222569"/>
                <a:gd name="connsiteY395" fmla="*/ 493452 h 2052818"/>
                <a:gd name="connsiteX396" fmla="*/ 1611009 w 2222569"/>
                <a:gd name="connsiteY396" fmla="*/ 501760 h 2052818"/>
                <a:gd name="connsiteX397" fmla="*/ 1614430 w 2222569"/>
                <a:gd name="connsiteY397" fmla="*/ 507625 h 2052818"/>
                <a:gd name="connsiteX398" fmla="*/ 1613127 w 2222569"/>
                <a:gd name="connsiteY398" fmla="*/ 511372 h 2052818"/>
                <a:gd name="connsiteX399" fmla="*/ 1610846 w 2222569"/>
                <a:gd name="connsiteY399" fmla="*/ 511698 h 2052818"/>
                <a:gd name="connsiteX400" fmla="*/ 1607099 w 2222569"/>
                <a:gd name="connsiteY400" fmla="*/ 510069 h 2052818"/>
                <a:gd name="connsiteX401" fmla="*/ 1597650 w 2222569"/>
                <a:gd name="connsiteY401" fmla="*/ 509743 h 2052818"/>
                <a:gd name="connsiteX402" fmla="*/ 1597161 w 2222569"/>
                <a:gd name="connsiteY402" fmla="*/ 505833 h 2052818"/>
                <a:gd name="connsiteX403" fmla="*/ 1594881 w 2222569"/>
                <a:gd name="connsiteY403" fmla="*/ 505344 h 2052818"/>
                <a:gd name="connsiteX404" fmla="*/ 1587550 w 2222569"/>
                <a:gd name="connsiteY404" fmla="*/ 500457 h 2052818"/>
                <a:gd name="connsiteX405" fmla="*/ 1584292 w 2222569"/>
                <a:gd name="connsiteY405" fmla="*/ 500457 h 2052818"/>
                <a:gd name="connsiteX406" fmla="*/ 1583314 w 2222569"/>
                <a:gd name="connsiteY406" fmla="*/ 498828 h 2052818"/>
                <a:gd name="connsiteX407" fmla="*/ 1581359 w 2222569"/>
                <a:gd name="connsiteY407" fmla="*/ 497199 h 2052818"/>
                <a:gd name="connsiteX408" fmla="*/ 1578753 w 2222569"/>
                <a:gd name="connsiteY408" fmla="*/ 497199 h 2052818"/>
                <a:gd name="connsiteX409" fmla="*/ 1578264 w 2222569"/>
                <a:gd name="connsiteY409" fmla="*/ 494592 h 2052818"/>
                <a:gd name="connsiteX410" fmla="*/ 1580870 w 2222569"/>
                <a:gd name="connsiteY410" fmla="*/ 490519 h 2052818"/>
                <a:gd name="connsiteX411" fmla="*/ 1582988 w 2222569"/>
                <a:gd name="connsiteY411" fmla="*/ 490194 h 2052818"/>
                <a:gd name="connsiteX412" fmla="*/ 1585432 w 2222569"/>
                <a:gd name="connsiteY412" fmla="*/ 485958 h 2052818"/>
                <a:gd name="connsiteX413" fmla="*/ 1585106 w 2222569"/>
                <a:gd name="connsiteY413" fmla="*/ 482374 h 2052818"/>
                <a:gd name="connsiteX414" fmla="*/ 1581522 w 2222569"/>
                <a:gd name="connsiteY414" fmla="*/ 475695 h 2052818"/>
                <a:gd name="connsiteX415" fmla="*/ 1579567 w 2222569"/>
                <a:gd name="connsiteY415" fmla="*/ 474066 h 2052818"/>
                <a:gd name="connsiteX416" fmla="*/ 1579567 w 2222569"/>
                <a:gd name="connsiteY416" fmla="*/ 477813 h 2052818"/>
                <a:gd name="connsiteX417" fmla="*/ 1581848 w 2222569"/>
                <a:gd name="connsiteY417" fmla="*/ 479930 h 2052818"/>
                <a:gd name="connsiteX418" fmla="*/ 1582174 w 2222569"/>
                <a:gd name="connsiteY418" fmla="*/ 483840 h 2052818"/>
                <a:gd name="connsiteX419" fmla="*/ 1580545 w 2222569"/>
                <a:gd name="connsiteY419" fmla="*/ 486610 h 2052818"/>
                <a:gd name="connsiteX420" fmla="*/ 1576635 w 2222569"/>
                <a:gd name="connsiteY420" fmla="*/ 486610 h 2052818"/>
                <a:gd name="connsiteX421" fmla="*/ 1575169 w 2222569"/>
                <a:gd name="connsiteY421" fmla="*/ 488076 h 2052818"/>
                <a:gd name="connsiteX422" fmla="*/ 1575820 w 2222569"/>
                <a:gd name="connsiteY422" fmla="*/ 489053 h 2052818"/>
                <a:gd name="connsiteX423" fmla="*/ 1576309 w 2222569"/>
                <a:gd name="connsiteY423" fmla="*/ 492311 h 2052818"/>
                <a:gd name="connsiteX424" fmla="*/ 1573377 w 2222569"/>
                <a:gd name="connsiteY424" fmla="*/ 495570 h 2052818"/>
                <a:gd name="connsiteX425" fmla="*/ 1570933 w 2222569"/>
                <a:gd name="connsiteY425" fmla="*/ 495081 h 2052818"/>
                <a:gd name="connsiteX426" fmla="*/ 1567675 w 2222569"/>
                <a:gd name="connsiteY426" fmla="*/ 489868 h 2052818"/>
                <a:gd name="connsiteX427" fmla="*/ 1567675 w 2222569"/>
                <a:gd name="connsiteY427" fmla="*/ 486773 h 2052818"/>
                <a:gd name="connsiteX428" fmla="*/ 1566697 w 2222569"/>
                <a:gd name="connsiteY428" fmla="*/ 483677 h 2052818"/>
                <a:gd name="connsiteX429" fmla="*/ 1569304 w 2222569"/>
                <a:gd name="connsiteY429" fmla="*/ 477650 h 2052818"/>
                <a:gd name="connsiteX430" fmla="*/ 1568489 w 2222569"/>
                <a:gd name="connsiteY430" fmla="*/ 475369 h 2052818"/>
                <a:gd name="connsiteX431" fmla="*/ 1568815 w 2222569"/>
                <a:gd name="connsiteY431" fmla="*/ 472111 h 2052818"/>
                <a:gd name="connsiteX432" fmla="*/ 1566371 w 2222569"/>
                <a:gd name="connsiteY432" fmla="*/ 474554 h 2052818"/>
                <a:gd name="connsiteX433" fmla="*/ 1565068 w 2222569"/>
                <a:gd name="connsiteY433" fmla="*/ 478790 h 2052818"/>
                <a:gd name="connsiteX434" fmla="*/ 1562625 w 2222569"/>
                <a:gd name="connsiteY434" fmla="*/ 483026 h 2052818"/>
                <a:gd name="connsiteX435" fmla="*/ 1563113 w 2222569"/>
                <a:gd name="connsiteY435" fmla="*/ 484981 h 2052818"/>
                <a:gd name="connsiteX436" fmla="*/ 1562462 w 2222569"/>
                <a:gd name="connsiteY436" fmla="*/ 489053 h 2052818"/>
                <a:gd name="connsiteX437" fmla="*/ 1557411 w 2222569"/>
                <a:gd name="connsiteY437" fmla="*/ 488727 h 2052818"/>
                <a:gd name="connsiteX438" fmla="*/ 1554316 w 2222569"/>
                <a:gd name="connsiteY438" fmla="*/ 486121 h 2052818"/>
                <a:gd name="connsiteX439" fmla="*/ 1551384 w 2222569"/>
                <a:gd name="connsiteY439" fmla="*/ 486121 h 2052818"/>
                <a:gd name="connsiteX440" fmla="*/ 1550081 w 2222569"/>
                <a:gd name="connsiteY440" fmla="*/ 483677 h 2052818"/>
                <a:gd name="connsiteX441" fmla="*/ 1552198 w 2222569"/>
                <a:gd name="connsiteY441" fmla="*/ 479442 h 2052818"/>
                <a:gd name="connsiteX442" fmla="*/ 1552850 w 2222569"/>
                <a:gd name="connsiteY442" fmla="*/ 473577 h 2052818"/>
                <a:gd name="connsiteX443" fmla="*/ 1554316 w 2222569"/>
                <a:gd name="connsiteY443" fmla="*/ 471785 h 2052818"/>
                <a:gd name="connsiteX444" fmla="*/ 1554316 w 2222569"/>
                <a:gd name="connsiteY444" fmla="*/ 467223 h 2052818"/>
                <a:gd name="connsiteX445" fmla="*/ 1559692 w 2222569"/>
                <a:gd name="connsiteY445" fmla="*/ 457286 h 2052818"/>
                <a:gd name="connsiteX446" fmla="*/ 1556434 w 2222569"/>
                <a:gd name="connsiteY446" fmla="*/ 459241 h 2052818"/>
                <a:gd name="connsiteX447" fmla="*/ 1552850 w 2222569"/>
                <a:gd name="connsiteY447" fmla="*/ 460707 h 2052818"/>
                <a:gd name="connsiteX448" fmla="*/ 1550569 w 2222569"/>
                <a:gd name="connsiteY448" fmla="*/ 470645 h 2052818"/>
                <a:gd name="connsiteX449" fmla="*/ 1550244 w 2222569"/>
                <a:gd name="connsiteY449" fmla="*/ 477487 h 2052818"/>
                <a:gd name="connsiteX450" fmla="*/ 1546822 w 2222569"/>
                <a:gd name="connsiteY450" fmla="*/ 481397 h 2052818"/>
                <a:gd name="connsiteX451" fmla="*/ 1545030 w 2222569"/>
                <a:gd name="connsiteY451" fmla="*/ 479930 h 2052818"/>
                <a:gd name="connsiteX452" fmla="*/ 1547637 w 2222569"/>
                <a:gd name="connsiteY452" fmla="*/ 475369 h 2052818"/>
                <a:gd name="connsiteX453" fmla="*/ 1547963 w 2222569"/>
                <a:gd name="connsiteY453" fmla="*/ 474066 h 2052818"/>
                <a:gd name="connsiteX454" fmla="*/ 1546497 w 2222569"/>
                <a:gd name="connsiteY454" fmla="*/ 473740 h 2052818"/>
                <a:gd name="connsiteX455" fmla="*/ 1543564 w 2222569"/>
                <a:gd name="connsiteY455" fmla="*/ 480419 h 2052818"/>
                <a:gd name="connsiteX456" fmla="*/ 1537862 w 2222569"/>
                <a:gd name="connsiteY456" fmla="*/ 480419 h 2052818"/>
                <a:gd name="connsiteX457" fmla="*/ 1536559 w 2222569"/>
                <a:gd name="connsiteY457" fmla="*/ 477324 h 2052818"/>
                <a:gd name="connsiteX458" fmla="*/ 1536559 w 2222569"/>
                <a:gd name="connsiteY458" fmla="*/ 471133 h 2052818"/>
                <a:gd name="connsiteX459" fmla="*/ 1535419 w 2222569"/>
                <a:gd name="connsiteY459" fmla="*/ 468364 h 2052818"/>
                <a:gd name="connsiteX460" fmla="*/ 1536396 w 2222569"/>
                <a:gd name="connsiteY460" fmla="*/ 464780 h 2052818"/>
                <a:gd name="connsiteX461" fmla="*/ 1542098 w 2222569"/>
                <a:gd name="connsiteY461" fmla="*/ 461196 h 2052818"/>
                <a:gd name="connsiteX462" fmla="*/ 1543401 w 2222569"/>
                <a:gd name="connsiteY462" fmla="*/ 457612 h 2052818"/>
                <a:gd name="connsiteX463" fmla="*/ 1542912 w 2222569"/>
                <a:gd name="connsiteY463" fmla="*/ 455168 h 2052818"/>
                <a:gd name="connsiteX464" fmla="*/ 1544542 w 2222569"/>
                <a:gd name="connsiteY464" fmla="*/ 451095 h 2052818"/>
                <a:gd name="connsiteX465" fmla="*/ 1548289 w 2222569"/>
                <a:gd name="connsiteY465" fmla="*/ 447511 h 2052818"/>
                <a:gd name="connsiteX466" fmla="*/ 1551873 w 2222569"/>
                <a:gd name="connsiteY466" fmla="*/ 446697 h 2052818"/>
                <a:gd name="connsiteX467" fmla="*/ 1554316 w 2222569"/>
                <a:gd name="connsiteY467" fmla="*/ 444742 h 2052818"/>
                <a:gd name="connsiteX468" fmla="*/ 1561484 w 2222569"/>
                <a:gd name="connsiteY468" fmla="*/ 444253 h 2052818"/>
                <a:gd name="connsiteX469" fmla="*/ 1564091 w 2222569"/>
                <a:gd name="connsiteY469" fmla="*/ 440669 h 2052818"/>
                <a:gd name="connsiteX470" fmla="*/ 1568652 w 2222569"/>
                <a:gd name="connsiteY470" fmla="*/ 439040 h 2052818"/>
                <a:gd name="connsiteX471" fmla="*/ 1571910 w 2222569"/>
                <a:gd name="connsiteY471" fmla="*/ 438063 h 2052818"/>
                <a:gd name="connsiteX472" fmla="*/ 1571910 w 2222569"/>
                <a:gd name="connsiteY472" fmla="*/ 435130 h 2052818"/>
                <a:gd name="connsiteX473" fmla="*/ 1574191 w 2222569"/>
                <a:gd name="connsiteY473" fmla="*/ 433013 h 2052818"/>
                <a:gd name="connsiteX474" fmla="*/ 1578590 w 2222569"/>
                <a:gd name="connsiteY474" fmla="*/ 433013 h 2052818"/>
                <a:gd name="connsiteX475" fmla="*/ 1585269 w 2222569"/>
                <a:gd name="connsiteY475" fmla="*/ 435619 h 2052818"/>
                <a:gd name="connsiteX476" fmla="*/ 1593252 w 2222569"/>
                <a:gd name="connsiteY476" fmla="*/ 435945 h 2052818"/>
                <a:gd name="connsiteX477" fmla="*/ 1596510 w 2222569"/>
                <a:gd name="connsiteY477" fmla="*/ 433827 h 2052818"/>
                <a:gd name="connsiteX478" fmla="*/ 1600419 w 2222569"/>
                <a:gd name="connsiteY478" fmla="*/ 434967 h 2052818"/>
                <a:gd name="connsiteX479" fmla="*/ 1602374 w 2222569"/>
                <a:gd name="connsiteY479" fmla="*/ 439855 h 2052818"/>
                <a:gd name="connsiteX480" fmla="*/ 1606121 w 2222569"/>
                <a:gd name="connsiteY480" fmla="*/ 439855 h 2052818"/>
                <a:gd name="connsiteX481" fmla="*/ 1606610 w 2222569"/>
                <a:gd name="connsiteY481" fmla="*/ 436759 h 2052818"/>
                <a:gd name="connsiteX482" fmla="*/ 1609705 w 2222569"/>
                <a:gd name="connsiteY482" fmla="*/ 436434 h 2052818"/>
                <a:gd name="connsiteX483" fmla="*/ 1614593 w 2222569"/>
                <a:gd name="connsiteY483" fmla="*/ 440343 h 2052818"/>
                <a:gd name="connsiteX484" fmla="*/ 1616710 w 2222569"/>
                <a:gd name="connsiteY484" fmla="*/ 439203 h 2052818"/>
                <a:gd name="connsiteX485" fmla="*/ 1621272 w 2222569"/>
                <a:gd name="connsiteY485" fmla="*/ 439692 h 2052818"/>
                <a:gd name="connsiteX486" fmla="*/ 1623390 w 2222569"/>
                <a:gd name="connsiteY486" fmla="*/ 437411 h 2052818"/>
                <a:gd name="connsiteX487" fmla="*/ 1621435 w 2222569"/>
                <a:gd name="connsiteY487" fmla="*/ 435619 h 2052818"/>
                <a:gd name="connsiteX488" fmla="*/ 1617688 w 2222569"/>
                <a:gd name="connsiteY488" fmla="*/ 436434 h 2052818"/>
                <a:gd name="connsiteX489" fmla="*/ 1614593 w 2222569"/>
                <a:gd name="connsiteY489" fmla="*/ 433338 h 2052818"/>
                <a:gd name="connsiteX490" fmla="*/ 1611986 w 2222569"/>
                <a:gd name="connsiteY490" fmla="*/ 433013 h 2052818"/>
                <a:gd name="connsiteX491" fmla="*/ 1612475 w 2222569"/>
                <a:gd name="connsiteY491" fmla="*/ 431221 h 2052818"/>
                <a:gd name="connsiteX492" fmla="*/ 1615733 w 2222569"/>
                <a:gd name="connsiteY492" fmla="*/ 428940 h 2052818"/>
                <a:gd name="connsiteX493" fmla="*/ 1616059 w 2222569"/>
                <a:gd name="connsiteY493" fmla="*/ 426333 h 2052818"/>
                <a:gd name="connsiteX494" fmla="*/ 1612149 w 2222569"/>
                <a:gd name="connsiteY494" fmla="*/ 424704 h 2052818"/>
                <a:gd name="connsiteX495" fmla="*/ 1612963 w 2222569"/>
                <a:gd name="connsiteY495" fmla="*/ 423401 h 2052818"/>
                <a:gd name="connsiteX496" fmla="*/ 1618014 w 2222569"/>
                <a:gd name="connsiteY496" fmla="*/ 423401 h 2052818"/>
                <a:gd name="connsiteX497" fmla="*/ 1619154 w 2222569"/>
                <a:gd name="connsiteY497" fmla="*/ 422098 h 2052818"/>
                <a:gd name="connsiteX498" fmla="*/ 1613778 w 2222569"/>
                <a:gd name="connsiteY498" fmla="*/ 420143 h 2052818"/>
                <a:gd name="connsiteX499" fmla="*/ 1612638 w 2222569"/>
                <a:gd name="connsiteY499" fmla="*/ 421772 h 2052818"/>
                <a:gd name="connsiteX500" fmla="*/ 1609217 w 2222569"/>
                <a:gd name="connsiteY500" fmla="*/ 422261 h 2052818"/>
                <a:gd name="connsiteX501" fmla="*/ 1606284 w 2222569"/>
                <a:gd name="connsiteY501" fmla="*/ 417862 h 2052818"/>
                <a:gd name="connsiteX502" fmla="*/ 1607262 w 2222569"/>
                <a:gd name="connsiteY502" fmla="*/ 414930 h 2052818"/>
                <a:gd name="connsiteX503" fmla="*/ 1611660 w 2222569"/>
                <a:gd name="connsiteY503" fmla="*/ 411509 h 2052818"/>
                <a:gd name="connsiteX504" fmla="*/ 1611660 w 2222569"/>
                <a:gd name="connsiteY504" fmla="*/ 408739 h 2052818"/>
                <a:gd name="connsiteX505" fmla="*/ 1609705 w 2222569"/>
                <a:gd name="connsiteY505" fmla="*/ 408576 h 2052818"/>
                <a:gd name="connsiteX506" fmla="*/ 1607913 w 2222569"/>
                <a:gd name="connsiteY506" fmla="*/ 404829 h 2052818"/>
                <a:gd name="connsiteX507" fmla="*/ 1607913 w 2222569"/>
                <a:gd name="connsiteY507" fmla="*/ 396195 h 2052818"/>
                <a:gd name="connsiteX508" fmla="*/ 1609543 w 2222569"/>
                <a:gd name="connsiteY508" fmla="*/ 394403 h 2052818"/>
                <a:gd name="connsiteX509" fmla="*/ 1608402 w 2222569"/>
                <a:gd name="connsiteY509" fmla="*/ 390005 h 2052818"/>
                <a:gd name="connsiteX510" fmla="*/ 1608891 w 2222569"/>
                <a:gd name="connsiteY510" fmla="*/ 385606 h 2052818"/>
                <a:gd name="connsiteX511" fmla="*/ 1612801 w 2222569"/>
                <a:gd name="connsiteY511" fmla="*/ 385117 h 2052818"/>
                <a:gd name="connsiteX512" fmla="*/ 1617199 w 2222569"/>
                <a:gd name="connsiteY512" fmla="*/ 383651 h 2052818"/>
                <a:gd name="connsiteX513" fmla="*/ 1622738 w 2222569"/>
                <a:gd name="connsiteY513" fmla="*/ 383651 h 2052818"/>
                <a:gd name="connsiteX514" fmla="*/ 1626159 w 2222569"/>
                <a:gd name="connsiteY514" fmla="*/ 383162 h 2052818"/>
                <a:gd name="connsiteX515" fmla="*/ 1631372 w 2222569"/>
                <a:gd name="connsiteY515" fmla="*/ 384954 h 2052818"/>
                <a:gd name="connsiteX516" fmla="*/ 1635608 w 2222569"/>
                <a:gd name="connsiteY516" fmla="*/ 384954 h 2052818"/>
                <a:gd name="connsiteX517" fmla="*/ 1640658 w 2222569"/>
                <a:gd name="connsiteY517" fmla="*/ 391471 h 2052818"/>
                <a:gd name="connsiteX518" fmla="*/ 1643102 w 2222569"/>
                <a:gd name="connsiteY518" fmla="*/ 401571 h 2052818"/>
                <a:gd name="connsiteX519" fmla="*/ 1643102 w 2222569"/>
                <a:gd name="connsiteY519" fmla="*/ 415907 h 2052818"/>
                <a:gd name="connsiteX520" fmla="*/ 1641310 w 2222569"/>
                <a:gd name="connsiteY520" fmla="*/ 422586 h 2052818"/>
                <a:gd name="connsiteX521" fmla="*/ 1643590 w 2222569"/>
                <a:gd name="connsiteY521" fmla="*/ 424867 h 2052818"/>
                <a:gd name="connsiteX522" fmla="*/ 1646686 w 2222569"/>
                <a:gd name="connsiteY522" fmla="*/ 423238 h 2052818"/>
                <a:gd name="connsiteX523" fmla="*/ 1655971 w 2222569"/>
                <a:gd name="connsiteY523" fmla="*/ 428288 h 2052818"/>
                <a:gd name="connsiteX524" fmla="*/ 1659230 w 2222569"/>
                <a:gd name="connsiteY524" fmla="*/ 434316 h 2052818"/>
                <a:gd name="connsiteX525" fmla="*/ 1662325 w 2222569"/>
                <a:gd name="connsiteY525" fmla="*/ 435293 h 2052818"/>
                <a:gd name="connsiteX526" fmla="*/ 1662325 w 2222569"/>
                <a:gd name="connsiteY526" fmla="*/ 432035 h 2052818"/>
                <a:gd name="connsiteX527" fmla="*/ 1672751 w 2222569"/>
                <a:gd name="connsiteY527" fmla="*/ 432035 h 2052818"/>
                <a:gd name="connsiteX528" fmla="*/ 1679430 w 2222569"/>
                <a:gd name="connsiteY528" fmla="*/ 437900 h 2052818"/>
                <a:gd name="connsiteX529" fmla="*/ 1681874 w 2222569"/>
                <a:gd name="connsiteY529" fmla="*/ 435945 h 2052818"/>
                <a:gd name="connsiteX530" fmla="*/ 1678942 w 2222569"/>
                <a:gd name="connsiteY530" fmla="*/ 433013 h 2052818"/>
                <a:gd name="connsiteX531" fmla="*/ 1682852 w 2222569"/>
                <a:gd name="connsiteY531" fmla="*/ 429754 h 2052818"/>
                <a:gd name="connsiteX532" fmla="*/ 1690345 w 2222569"/>
                <a:gd name="connsiteY532" fmla="*/ 426333 h 2052818"/>
                <a:gd name="connsiteX533" fmla="*/ 1695559 w 2222569"/>
                <a:gd name="connsiteY533" fmla="*/ 419002 h 2052818"/>
                <a:gd name="connsiteX534" fmla="*/ 1705170 w 2222569"/>
                <a:gd name="connsiteY534" fmla="*/ 413138 h 2052818"/>
                <a:gd name="connsiteX535" fmla="*/ 1713641 w 2222569"/>
                <a:gd name="connsiteY535" fmla="*/ 404178 h 2052818"/>
                <a:gd name="connsiteX536" fmla="*/ 1713967 w 2222569"/>
                <a:gd name="connsiteY536" fmla="*/ 399453 h 2052818"/>
                <a:gd name="connsiteX537" fmla="*/ 1717388 w 2222569"/>
                <a:gd name="connsiteY537" fmla="*/ 396521 h 2052818"/>
                <a:gd name="connsiteX538" fmla="*/ 1713641 w 2222569"/>
                <a:gd name="connsiteY538" fmla="*/ 396521 h 2052818"/>
                <a:gd name="connsiteX539" fmla="*/ 1710546 w 2222569"/>
                <a:gd name="connsiteY539" fmla="*/ 399453 h 2052818"/>
                <a:gd name="connsiteX540" fmla="*/ 1710220 w 2222569"/>
                <a:gd name="connsiteY540" fmla="*/ 403526 h 2052818"/>
                <a:gd name="connsiteX541" fmla="*/ 1701912 w 2222569"/>
                <a:gd name="connsiteY541" fmla="*/ 412160 h 2052818"/>
                <a:gd name="connsiteX542" fmla="*/ 1696210 w 2222569"/>
                <a:gd name="connsiteY542" fmla="*/ 415418 h 2052818"/>
                <a:gd name="connsiteX543" fmla="*/ 1696210 w 2222569"/>
                <a:gd name="connsiteY543" fmla="*/ 417047 h 2052818"/>
                <a:gd name="connsiteX544" fmla="*/ 1688716 w 2222569"/>
                <a:gd name="connsiteY544" fmla="*/ 423564 h 2052818"/>
                <a:gd name="connsiteX545" fmla="*/ 1680082 w 2222569"/>
                <a:gd name="connsiteY545" fmla="*/ 426822 h 2052818"/>
                <a:gd name="connsiteX546" fmla="*/ 1677150 w 2222569"/>
                <a:gd name="connsiteY546" fmla="*/ 424704 h 2052818"/>
                <a:gd name="connsiteX547" fmla="*/ 1674217 w 2222569"/>
                <a:gd name="connsiteY547" fmla="*/ 424704 h 2052818"/>
                <a:gd name="connsiteX548" fmla="*/ 1673566 w 2222569"/>
                <a:gd name="connsiteY548" fmla="*/ 426007 h 2052818"/>
                <a:gd name="connsiteX549" fmla="*/ 1667701 w 2222569"/>
                <a:gd name="connsiteY549" fmla="*/ 426007 h 2052818"/>
                <a:gd name="connsiteX550" fmla="*/ 1661022 w 2222569"/>
                <a:gd name="connsiteY550" fmla="*/ 422098 h 2052818"/>
                <a:gd name="connsiteX551" fmla="*/ 1661510 w 2222569"/>
                <a:gd name="connsiteY551" fmla="*/ 419002 h 2052818"/>
                <a:gd name="connsiteX552" fmla="*/ 1665420 w 2222569"/>
                <a:gd name="connsiteY552" fmla="*/ 415581 h 2052818"/>
                <a:gd name="connsiteX553" fmla="*/ 1670145 w 2222569"/>
                <a:gd name="connsiteY553" fmla="*/ 412486 h 2052818"/>
                <a:gd name="connsiteX554" fmla="*/ 1670633 w 2222569"/>
                <a:gd name="connsiteY554" fmla="*/ 407925 h 2052818"/>
                <a:gd name="connsiteX555" fmla="*/ 1665094 w 2222569"/>
                <a:gd name="connsiteY555" fmla="*/ 412160 h 2052818"/>
                <a:gd name="connsiteX556" fmla="*/ 1663140 w 2222569"/>
                <a:gd name="connsiteY556" fmla="*/ 415418 h 2052818"/>
                <a:gd name="connsiteX557" fmla="*/ 1659067 w 2222569"/>
                <a:gd name="connsiteY557" fmla="*/ 415418 h 2052818"/>
                <a:gd name="connsiteX558" fmla="*/ 1655971 w 2222569"/>
                <a:gd name="connsiteY558" fmla="*/ 409065 h 2052818"/>
                <a:gd name="connsiteX559" fmla="*/ 1655971 w 2222569"/>
                <a:gd name="connsiteY559" fmla="*/ 406784 h 2052818"/>
                <a:gd name="connsiteX560" fmla="*/ 1659067 w 2222569"/>
                <a:gd name="connsiteY560" fmla="*/ 406295 h 2052818"/>
                <a:gd name="connsiteX561" fmla="*/ 1663465 w 2222569"/>
                <a:gd name="connsiteY561" fmla="*/ 404178 h 2052818"/>
                <a:gd name="connsiteX562" fmla="*/ 1663954 w 2222569"/>
                <a:gd name="connsiteY562" fmla="*/ 402386 h 2052818"/>
                <a:gd name="connsiteX563" fmla="*/ 1659556 w 2222569"/>
                <a:gd name="connsiteY563" fmla="*/ 402386 h 2052818"/>
                <a:gd name="connsiteX564" fmla="*/ 1659556 w 2222569"/>
                <a:gd name="connsiteY564" fmla="*/ 399942 h 2052818"/>
                <a:gd name="connsiteX565" fmla="*/ 1662162 w 2222569"/>
                <a:gd name="connsiteY565" fmla="*/ 397987 h 2052818"/>
                <a:gd name="connsiteX566" fmla="*/ 1665909 w 2222569"/>
                <a:gd name="connsiteY566" fmla="*/ 399453 h 2052818"/>
                <a:gd name="connsiteX567" fmla="*/ 1669493 w 2222569"/>
                <a:gd name="connsiteY567" fmla="*/ 399127 h 2052818"/>
                <a:gd name="connsiteX568" fmla="*/ 1669982 w 2222569"/>
                <a:gd name="connsiteY568" fmla="*/ 396195 h 2052818"/>
                <a:gd name="connsiteX569" fmla="*/ 1665746 w 2222569"/>
                <a:gd name="connsiteY569" fmla="*/ 396195 h 2052818"/>
                <a:gd name="connsiteX570" fmla="*/ 1662814 w 2222569"/>
                <a:gd name="connsiteY570" fmla="*/ 394403 h 2052818"/>
                <a:gd name="connsiteX571" fmla="*/ 1660859 w 2222569"/>
                <a:gd name="connsiteY571" fmla="*/ 397010 h 2052818"/>
                <a:gd name="connsiteX572" fmla="*/ 1656949 w 2222569"/>
                <a:gd name="connsiteY572" fmla="*/ 396684 h 2052818"/>
                <a:gd name="connsiteX573" fmla="*/ 1654994 w 2222569"/>
                <a:gd name="connsiteY573" fmla="*/ 392937 h 2052818"/>
                <a:gd name="connsiteX574" fmla="*/ 1656623 w 2222569"/>
                <a:gd name="connsiteY574" fmla="*/ 390167 h 2052818"/>
                <a:gd name="connsiteX575" fmla="*/ 1660859 w 2222569"/>
                <a:gd name="connsiteY575" fmla="*/ 389190 h 2052818"/>
                <a:gd name="connsiteX576" fmla="*/ 1664117 w 2222569"/>
                <a:gd name="connsiteY576" fmla="*/ 386909 h 2052818"/>
                <a:gd name="connsiteX577" fmla="*/ 1669330 w 2222569"/>
                <a:gd name="connsiteY577" fmla="*/ 387235 h 2052818"/>
                <a:gd name="connsiteX578" fmla="*/ 1674543 w 2222569"/>
                <a:gd name="connsiteY578" fmla="*/ 389190 h 2052818"/>
                <a:gd name="connsiteX579" fmla="*/ 1678453 w 2222569"/>
                <a:gd name="connsiteY579" fmla="*/ 386746 h 2052818"/>
                <a:gd name="connsiteX580" fmla="*/ 1672751 w 2222569"/>
                <a:gd name="connsiteY580" fmla="*/ 386746 h 2052818"/>
                <a:gd name="connsiteX581" fmla="*/ 1671774 w 2222569"/>
                <a:gd name="connsiteY581" fmla="*/ 383977 h 2052818"/>
                <a:gd name="connsiteX582" fmla="*/ 1676172 w 2222569"/>
                <a:gd name="connsiteY582" fmla="*/ 379415 h 2052818"/>
                <a:gd name="connsiteX583" fmla="*/ 1679919 w 2222569"/>
                <a:gd name="connsiteY583" fmla="*/ 379415 h 2052818"/>
                <a:gd name="connsiteX584" fmla="*/ 1681548 w 2222569"/>
                <a:gd name="connsiteY584" fmla="*/ 376972 h 2052818"/>
                <a:gd name="connsiteX585" fmla="*/ 1677638 w 2222569"/>
                <a:gd name="connsiteY585" fmla="*/ 376972 h 2052818"/>
                <a:gd name="connsiteX586" fmla="*/ 1677638 w 2222569"/>
                <a:gd name="connsiteY586" fmla="*/ 374365 h 2052818"/>
                <a:gd name="connsiteX587" fmla="*/ 1680571 w 2222569"/>
                <a:gd name="connsiteY587" fmla="*/ 369641 h 2052818"/>
                <a:gd name="connsiteX588" fmla="*/ 1684969 w 2222569"/>
                <a:gd name="connsiteY588" fmla="*/ 368826 h 2052818"/>
                <a:gd name="connsiteX589" fmla="*/ 1683014 w 2222569"/>
                <a:gd name="connsiteY589" fmla="*/ 364754 h 2052818"/>
                <a:gd name="connsiteX590" fmla="*/ 1689205 w 2222569"/>
                <a:gd name="connsiteY590" fmla="*/ 355305 h 2052818"/>
                <a:gd name="connsiteX591" fmla="*/ 1693441 w 2222569"/>
                <a:gd name="connsiteY591" fmla="*/ 352698 h 2052818"/>
                <a:gd name="connsiteX592" fmla="*/ 1694581 w 2222569"/>
                <a:gd name="connsiteY592" fmla="*/ 349440 h 2052818"/>
                <a:gd name="connsiteX593" fmla="*/ 1690183 w 2222569"/>
                <a:gd name="connsiteY593" fmla="*/ 350255 h 2052818"/>
                <a:gd name="connsiteX594" fmla="*/ 1683177 w 2222569"/>
                <a:gd name="connsiteY594" fmla="*/ 358889 h 2052818"/>
                <a:gd name="connsiteX595" fmla="*/ 1677638 w 2222569"/>
                <a:gd name="connsiteY595" fmla="*/ 369315 h 2052818"/>
                <a:gd name="connsiteX596" fmla="*/ 1670145 w 2222569"/>
                <a:gd name="connsiteY596" fmla="*/ 375343 h 2052818"/>
                <a:gd name="connsiteX597" fmla="*/ 1664117 w 2222569"/>
                <a:gd name="connsiteY597" fmla="*/ 381533 h 2052818"/>
                <a:gd name="connsiteX598" fmla="*/ 1660044 w 2222569"/>
                <a:gd name="connsiteY598" fmla="*/ 380230 h 2052818"/>
                <a:gd name="connsiteX599" fmla="*/ 1652551 w 2222569"/>
                <a:gd name="connsiteY599" fmla="*/ 380230 h 2052818"/>
                <a:gd name="connsiteX600" fmla="*/ 1652387 w 2222569"/>
                <a:gd name="connsiteY600" fmla="*/ 377135 h 2052818"/>
                <a:gd name="connsiteX601" fmla="*/ 1656297 w 2222569"/>
                <a:gd name="connsiteY601" fmla="*/ 371596 h 2052818"/>
                <a:gd name="connsiteX602" fmla="*/ 1661673 w 2222569"/>
                <a:gd name="connsiteY602" fmla="*/ 369152 h 2052818"/>
                <a:gd name="connsiteX603" fmla="*/ 1661673 w 2222569"/>
                <a:gd name="connsiteY603" fmla="*/ 364102 h 2052818"/>
                <a:gd name="connsiteX604" fmla="*/ 1654179 w 2222569"/>
                <a:gd name="connsiteY604" fmla="*/ 369641 h 2052818"/>
                <a:gd name="connsiteX605" fmla="*/ 1647500 w 2222569"/>
                <a:gd name="connsiteY605" fmla="*/ 368826 h 2052818"/>
                <a:gd name="connsiteX606" fmla="*/ 1647500 w 2222569"/>
                <a:gd name="connsiteY606" fmla="*/ 372573 h 2052818"/>
                <a:gd name="connsiteX607" fmla="*/ 1643427 w 2222569"/>
                <a:gd name="connsiteY607" fmla="*/ 375506 h 2052818"/>
                <a:gd name="connsiteX608" fmla="*/ 1636585 w 2222569"/>
                <a:gd name="connsiteY608" fmla="*/ 375017 h 2052818"/>
                <a:gd name="connsiteX609" fmla="*/ 1630069 w 2222569"/>
                <a:gd name="connsiteY609" fmla="*/ 369152 h 2052818"/>
                <a:gd name="connsiteX610" fmla="*/ 1633327 w 2222569"/>
                <a:gd name="connsiteY610" fmla="*/ 366546 h 2052818"/>
                <a:gd name="connsiteX611" fmla="*/ 1637889 w 2222569"/>
                <a:gd name="connsiteY611" fmla="*/ 366057 h 2052818"/>
                <a:gd name="connsiteX612" fmla="*/ 1636260 w 2222569"/>
                <a:gd name="connsiteY612" fmla="*/ 363450 h 2052818"/>
                <a:gd name="connsiteX613" fmla="*/ 1633327 w 2222569"/>
                <a:gd name="connsiteY613" fmla="*/ 363450 h 2052818"/>
                <a:gd name="connsiteX614" fmla="*/ 1634305 w 2222569"/>
                <a:gd name="connsiteY614" fmla="*/ 357748 h 2052818"/>
                <a:gd name="connsiteX615" fmla="*/ 1640332 w 2222569"/>
                <a:gd name="connsiteY615" fmla="*/ 352698 h 2052818"/>
                <a:gd name="connsiteX616" fmla="*/ 1641147 w 2222569"/>
                <a:gd name="connsiteY616" fmla="*/ 348788 h 2052818"/>
                <a:gd name="connsiteX617" fmla="*/ 1646686 w 2222569"/>
                <a:gd name="connsiteY617" fmla="*/ 346508 h 2052818"/>
                <a:gd name="connsiteX618" fmla="*/ 1651247 w 2222569"/>
                <a:gd name="connsiteY618" fmla="*/ 343250 h 2052818"/>
                <a:gd name="connsiteX619" fmla="*/ 1656460 w 2222569"/>
                <a:gd name="connsiteY619" fmla="*/ 342435 h 2052818"/>
                <a:gd name="connsiteX620" fmla="*/ 1656786 w 2222569"/>
                <a:gd name="connsiteY620" fmla="*/ 336407 h 2052818"/>
                <a:gd name="connsiteX621" fmla="*/ 1660370 w 2222569"/>
                <a:gd name="connsiteY621" fmla="*/ 329728 h 2052818"/>
                <a:gd name="connsiteX622" fmla="*/ 1667375 w 2222569"/>
                <a:gd name="connsiteY622" fmla="*/ 321257 h 2052818"/>
                <a:gd name="connsiteX623" fmla="*/ 1671448 w 2222569"/>
                <a:gd name="connsiteY623" fmla="*/ 322723 h 2052818"/>
                <a:gd name="connsiteX624" fmla="*/ 1681385 w 2222569"/>
                <a:gd name="connsiteY624" fmla="*/ 320442 h 2052818"/>
                <a:gd name="connsiteX625" fmla="*/ 1688716 w 2222569"/>
                <a:gd name="connsiteY625" fmla="*/ 322234 h 2052818"/>
                <a:gd name="connsiteX626" fmla="*/ 1692626 w 2222569"/>
                <a:gd name="connsiteY626" fmla="*/ 319954 h 2052818"/>
                <a:gd name="connsiteX627" fmla="*/ 1696699 w 2222569"/>
                <a:gd name="connsiteY627" fmla="*/ 319954 h 2052818"/>
                <a:gd name="connsiteX628" fmla="*/ 1701912 w 2222569"/>
                <a:gd name="connsiteY628" fmla="*/ 316695 h 2052818"/>
                <a:gd name="connsiteX629" fmla="*/ 1705822 w 2222569"/>
                <a:gd name="connsiteY629" fmla="*/ 316207 h 2052818"/>
                <a:gd name="connsiteX630" fmla="*/ 1706636 w 2222569"/>
                <a:gd name="connsiteY630" fmla="*/ 317999 h 2052818"/>
                <a:gd name="connsiteX631" fmla="*/ 1712827 w 2222569"/>
                <a:gd name="connsiteY631" fmla="*/ 324678 h 2052818"/>
                <a:gd name="connsiteX632" fmla="*/ 1716085 w 2222569"/>
                <a:gd name="connsiteY632" fmla="*/ 324678 h 2052818"/>
                <a:gd name="connsiteX633" fmla="*/ 1727326 w 2222569"/>
                <a:gd name="connsiteY633" fmla="*/ 332498 h 2052818"/>
                <a:gd name="connsiteX634" fmla="*/ 1729118 w 2222569"/>
                <a:gd name="connsiteY634" fmla="*/ 336570 h 2052818"/>
                <a:gd name="connsiteX635" fmla="*/ 1732050 w 2222569"/>
                <a:gd name="connsiteY635" fmla="*/ 340806 h 2052818"/>
                <a:gd name="connsiteX636" fmla="*/ 1734983 w 2222569"/>
                <a:gd name="connsiteY636" fmla="*/ 340806 h 2052818"/>
                <a:gd name="connsiteX637" fmla="*/ 1741825 w 2222569"/>
                <a:gd name="connsiteY637" fmla="*/ 351069 h 2052818"/>
                <a:gd name="connsiteX638" fmla="*/ 1741825 w 2222569"/>
                <a:gd name="connsiteY638" fmla="*/ 343738 h 2052818"/>
                <a:gd name="connsiteX639" fmla="*/ 1746549 w 2222569"/>
                <a:gd name="connsiteY639" fmla="*/ 343412 h 2052818"/>
                <a:gd name="connsiteX640" fmla="*/ 1745572 w 2222569"/>
                <a:gd name="connsiteY640" fmla="*/ 340154 h 2052818"/>
                <a:gd name="connsiteX641" fmla="*/ 1739544 w 2222569"/>
                <a:gd name="connsiteY641" fmla="*/ 339666 h 2052818"/>
                <a:gd name="connsiteX642" fmla="*/ 1737100 w 2222569"/>
                <a:gd name="connsiteY642" fmla="*/ 338688 h 2052818"/>
                <a:gd name="connsiteX643" fmla="*/ 1737100 w 2222569"/>
                <a:gd name="connsiteY643" fmla="*/ 334452 h 2052818"/>
                <a:gd name="connsiteX644" fmla="*/ 1741662 w 2222569"/>
                <a:gd name="connsiteY644" fmla="*/ 332823 h 2052818"/>
                <a:gd name="connsiteX645" fmla="*/ 1752414 w 2222569"/>
                <a:gd name="connsiteY645" fmla="*/ 332823 h 2052818"/>
                <a:gd name="connsiteX646" fmla="*/ 1757464 w 2222569"/>
                <a:gd name="connsiteY646" fmla="*/ 335430 h 2052818"/>
                <a:gd name="connsiteX647" fmla="*/ 1759093 w 2222569"/>
                <a:gd name="connsiteY647" fmla="*/ 333149 h 2052818"/>
                <a:gd name="connsiteX648" fmla="*/ 1759419 w 2222569"/>
                <a:gd name="connsiteY648" fmla="*/ 327284 h 2052818"/>
                <a:gd name="connsiteX649" fmla="*/ 1762026 w 2222569"/>
                <a:gd name="connsiteY649" fmla="*/ 322234 h 2052818"/>
                <a:gd name="connsiteX650" fmla="*/ 1761700 w 2222569"/>
                <a:gd name="connsiteY650" fmla="*/ 318813 h 2052818"/>
                <a:gd name="connsiteX651" fmla="*/ 1758767 w 2222569"/>
                <a:gd name="connsiteY651" fmla="*/ 320116 h 2052818"/>
                <a:gd name="connsiteX652" fmla="*/ 1757953 w 2222569"/>
                <a:gd name="connsiteY652" fmla="*/ 324189 h 2052818"/>
                <a:gd name="connsiteX653" fmla="*/ 1752740 w 2222569"/>
                <a:gd name="connsiteY653" fmla="*/ 327610 h 2052818"/>
                <a:gd name="connsiteX654" fmla="*/ 1748993 w 2222569"/>
                <a:gd name="connsiteY654" fmla="*/ 331031 h 2052818"/>
                <a:gd name="connsiteX655" fmla="*/ 1739381 w 2222569"/>
                <a:gd name="connsiteY655" fmla="*/ 327610 h 2052818"/>
                <a:gd name="connsiteX656" fmla="*/ 1731887 w 2222569"/>
                <a:gd name="connsiteY656" fmla="*/ 327610 h 2052818"/>
                <a:gd name="connsiteX657" fmla="*/ 1728792 w 2222569"/>
                <a:gd name="connsiteY657" fmla="*/ 323538 h 2052818"/>
                <a:gd name="connsiteX658" fmla="*/ 1724882 w 2222569"/>
                <a:gd name="connsiteY658" fmla="*/ 321257 h 2052818"/>
                <a:gd name="connsiteX659" fmla="*/ 1717388 w 2222569"/>
                <a:gd name="connsiteY659" fmla="*/ 322234 h 2052818"/>
                <a:gd name="connsiteX660" fmla="*/ 1711361 w 2222569"/>
                <a:gd name="connsiteY660" fmla="*/ 310831 h 2052818"/>
                <a:gd name="connsiteX661" fmla="*/ 1711361 w 2222569"/>
                <a:gd name="connsiteY661" fmla="*/ 302196 h 2052818"/>
                <a:gd name="connsiteX662" fmla="*/ 1713967 w 2222569"/>
                <a:gd name="connsiteY662" fmla="*/ 299590 h 2052818"/>
                <a:gd name="connsiteX663" fmla="*/ 1719180 w 2222569"/>
                <a:gd name="connsiteY663" fmla="*/ 302359 h 2052818"/>
                <a:gd name="connsiteX664" fmla="*/ 1720321 w 2222569"/>
                <a:gd name="connsiteY664" fmla="*/ 307410 h 2052818"/>
                <a:gd name="connsiteX665" fmla="*/ 1722601 w 2222569"/>
                <a:gd name="connsiteY665" fmla="*/ 310831 h 2052818"/>
                <a:gd name="connsiteX666" fmla="*/ 1726022 w 2222569"/>
                <a:gd name="connsiteY666" fmla="*/ 304966 h 2052818"/>
                <a:gd name="connsiteX667" fmla="*/ 1727652 w 2222569"/>
                <a:gd name="connsiteY667" fmla="*/ 298124 h 2052818"/>
                <a:gd name="connsiteX668" fmla="*/ 1723905 w 2222569"/>
                <a:gd name="connsiteY668" fmla="*/ 299101 h 2052818"/>
                <a:gd name="connsiteX669" fmla="*/ 1722276 w 2222569"/>
                <a:gd name="connsiteY669" fmla="*/ 297635 h 2052818"/>
                <a:gd name="connsiteX670" fmla="*/ 1721950 w 2222569"/>
                <a:gd name="connsiteY670" fmla="*/ 292422 h 2052818"/>
                <a:gd name="connsiteX671" fmla="*/ 1726185 w 2222569"/>
                <a:gd name="connsiteY671" fmla="*/ 284276 h 2052818"/>
                <a:gd name="connsiteX672" fmla="*/ 1726185 w 2222569"/>
                <a:gd name="connsiteY672" fmla="*/ 277434 h 2052818"/>
                <a:gd name="connsiteX673" fmla="*/ 1729444 w 2222569"/>
                <a:gd name="connsiteY673" fmla="*/ 269778 h 2052818"/>
                <a:gd name="connsiteX674" fmla="*/ 1727977 w 2222569"/>
                <a:gd name="connsiteY674" fmla="*/ 256093 h 2052818"/>
                <a:gd name="connsiteX675" fmla="*/ 1725534 w 2222569"/>
                <a:gd name="connsiteY675" fmla="*/ 248925 h 2052818"/>
                <a:gd name="connsiteX676" fmla="*/ 1722764 w 2222569"/>
                <a:gd name="connsiteY676" fmla="*/ 246482 h 2052818"/>
                <a:gd name="connsiteX677" fmla="*/ 1720646 w 2222569"/>
                <a:gd name="connsiteY677" fmla="*/ 241268 h 2052818"/>
                <a:gd name="connsiteX678" fmla="*/ 1721624 w 2222569"/>
                <a:gd name="connsiteY678" fmla="*/ 237522 h 2052818"/>
                <a:gd name="connsiteX679" fmla="*/ 1724719 w 2222569"/>
                <a:gd name="connsiteY679" fmla="*/ 236381 h 2052818"/>
                <a:gd name="connsiteX680" fmla="*/ 1727326 w 2222569"/>
                <a:gd name="connsiteY680" fmla="*/ 235078 h 2052818"/>
                <a:gd name="connsiteX681" fmla="*/ 1730095 w 2222569"/>
                <a:gd name="connsiteY681" fmla="*/ 237847 h 2052818"/>
                <a:gd name="connsiteX682" fmla="*/ 1734005 w 2222569"/>
                <a:gd name="connsiteY682" fmla="*/ 238825 h 2052818"/>
                <a:gd name="connsiteX683" fmla="*/ 1736937 w 2222569"/>
                <a:gd name="connsiteY683" fmla="*/ 244527 h 2052818"/>
                <a:gd name="connsiteX684" fmla="*/ 1738729 w 2222569"/>
                <a:gd name="connsiteY684" fmla="*/ 243875 h 2052818"/>
                <a:gd name="connsiteX685" fmla="*/ 1738729 w 2222569"/>
                <a:gd name="connsiteY685" fmla="*/ 239802 h 2052818"/>
                <a:gd name="connsiteX686" fmla="*/ 1736123 w 2222569"/>
                <a:gd name="connsiteY686" fmla="*/ 233775 h 2052818"/>
                <a:gd name="connsiteX687" fmla="*/ 1730747 w 2222569"/>
                <a:gd name="connsiteY687" fmla="*/ 232146 h 2052818"/>
                <a:gd name="connsiteX688" fmla="*/ 1727652 w 2222569"/>
                <a:gd name="connsiteY688" fmla="*/ 229539 h 2052818"/>
                <a:gd name="connsiteX689" fmla="*/ 1727326 w 2222569"/>
                <a:gd name="connsiteY689" fmla="*/ 224978 h 2052818"/>
                <a:gd name="connsiteX690" fmla="*/ 1729118 w 2222569"/>
                <a:gd name="connsiteY690" fmla="*/ 219113 h 2052818"/>
                <a:gd name="connsiteX691" fmla="*/ 1744920 w 2222569"/>
                <a:gd name="connsiteY691" fmla="*/ 201844 h 2052818"/>
                <a:gd name="connsiteX692" fmla="*/ 1752088 w 2222569"/>
                <a:gd name="connsiteY692" fmla="*/ 200215 h 2052818"/>
                <a:gd name="connsiteX693" fmla="*/ 1756812 w 2222569"/>
                <a:gd name="connsiteY693" fmla="*/ 202170 h 2052818"/>
                <a:gd name="connsiteX694" fmla="*/ 1758604 w 2222569"/>
                <a:gd name="connsiteY694" fmla="*/ 206895 h 2052818"/>
                <a:gd name="connsiteX695" fmla="*/ 1764469 w 2222569"/>
                <a:gd name="connsiteY695" fmla="*/ 211456 h 2052818"/>
                <a:gd name="connsiteX696" fmla="*/ 1768868 w 2222569"/>
                <a:gd name="connsiteY696" fmla="*/ 211456 h 2052818"/>
                <a:gd name="connsiteX697" fmla="*/ 1779945 w 2222569"/>
                <a:gd name="connsiteY697" fmla="*/ 218787 h 2052818"/>
                <a:gd name="connsiteX698" fmla="*/ 1779945 w 2222569"/>
                <a:gd name="connsiteY698" fmla="*/ 224326 h 2052818"/>
                <a:gd name="connsiteX699" fmla="*/ 1785810 w 2222569"/>
                <a:gd name="connsiteY699" fmla="*/ 231168 h 2052818"/>
                <a:gd name="connsiteX700" fmla="*/ 1788580 w 2222569"/>
                <a:gd name="connsiteY700" fmla="*/ 243549 h 2052818"/>
                <a:gd name="connsiteX701" fmla="*/ 1787765 w 2222569"/>
                <a:gd name="connsiteY701" fmla="*/ 252509 h 2052818"/>
                <a:gd name="connsiteX702" fmla="*/ 1788905 w 2222569"/>
                <a:gd name="connsiteY702" fmla="*/ 261143 h 2052818"/>
                <a:gd name="connsiteX703" fmla="*/ 1792652 w 2222569"/>
                <a:gd name="connsiteY703" fmla="*/ 266194 h 2052818"/>
                <a:gd name="connsiteX704" fmla="*/ 1794281 w 2222569"/>
                <a:gd name="connsiteY704" fmla="*/ 263587 h 2052818"/>
                <a:gd name="connsiteX705" fmla="*/ 1796236 w 2222569"/>
                <a:gd name="connsiteY705" fmla="*/ 263261 h 2052818"/>
                <a:gd name="connsiteX706" fmla="*/ 1800961 w 2222569"/>
                <a:gd name="connsiteY706" fmla="*/ 267660 h 2052818"/>
                <a:gd name="connsiteX707" fmla="*/ 1801938 w 2222569"/>
                <a:gd name="connsiteY707" fmla="*/ 272221 h 2052818"/>
                <a:gd name="connsiteX708" fmla="*/ 1803241 w 2222569"/>
                <a:gd name="connsiteY708" fmla="*/ 268963 h 2052818"/>
                <a:gd name="connsiteX709" fmla="*/ 1806662 w 2222569"/>
                <a:gd name="connsiteY709" fmla="*/ 267008 h 2052818"/>
                <a:gd name="connsiteX710" fmla="*/ 1812201 w 2222569"/>
                <a:gd name="connsiteY710" fmla="*/ 267497 h 2052818"/>
                <a:gd name="connsiteX711" fmla="*/ 1808129 w 2222569"/>
                <a:gd name="connsiteY711" fmla="*/ 264890 h 2052818"/>
                <a:gd name="connsiteX712" fmla="*/ 1801938 w 2222569"/>
                <a:gd name="connsiteY712" fmla="*/ 263913 h 2052818"/>
                <a:gd name="connsiteX713" fmla="*/ 1798517 w 2222569"/>
                <a:gd name="connsiteY713" fmla="*/ 259351 h 2052818"/>
                <a:gd name="connsiteX714" fmla="*/ 1794770 w 2222569"/>
                <a:gd name="connsiteY714" fmla="*/ 256908 h 2052818"/>
                <a:gd name="connsiteX715" fmla="*/ 1794770 w 2222569"/>
                <a:gd name="connsiteY715" fmla="*/ 253975 h 2052818"/>
                <a:gd name="connsiteX716" fmla="*/ 1799494 w 2222569"/>
                <a:gd name="connsiteY716" fmla="*/ 248599 h 2052818"/>
                <a:gd name="connsiteX717" fmla="*/ 1799006 w 2222569"/>
                <a:gd name="connsiteY717" fmla="*/ 245341 h 2052818"/>
                <a:gd name="connsiteX718" fmla="*/ 1798517 w 2222569"/>
                <a:gd name="connsiteY718" fmla="*/ 227095 h 2052818"/>
                <a:gd name="connsiteX719" fmla="*/ 1796888 w 2222569"/>
                <a:gd name="connsiteY719" fmla="*/ 222045 h 2052818"/>
                <a:gd name="connsiteX720" fmla="*/ 1798517 w 2222569"/>
                <a:gd name="connsiteY720" fmla="*/ 216343 h 2052818"/>
                <a:gd name="connsiteX721" fmla="*/ 1808129 w 2222569"/>
                <a:gd name="connsiteY721" fmla="*/ 215855 h 2052818"/>
                <a:gd name="connsiteX722" fmla="*/ 1811387 w 2222569"/>
                <a:gd name="connsiteY722" fmla="*/ 218135 h 2052818"/>
                <a:gd name="connsiteX723" fmla="*/ 1818718 w 2222569"/>
                <a:gd name="connsiteY723" fmla="*/ 220090 h 2052818"/>
                <a:gd name="connsiteX724" fmla="*/ 1825886 w 2222569"/>
                <a:gd name="connsiteY724" fmla="*/ 220579 h 2052818"/>
                <a:gd name="connsiteX725" fmla="*/ 1834031 w 2222569"/>
                <a:gd name="connsiteY725" fmla="*/ 223511 h 2052818"/>
                <a:gd name="connsiteX726" fmla="*/ 1843806 w 2222569"/>
                <a:gd name="connsiteY726" fmla="*/ 223186 h 2052818"/>
                <a:gd name="connsiteX727" fmla="*/ 1851626 w 2222569"/>
                <a:gd name="connsiteY727" fmla="*/ 219439 h 2052818"/>
                <a:gd name="connsiteX728" fmla="*/ 1856350 w 2222569"/>
                <a:gd name="connsiteY728" fmla="*/ 220253 h 2052818"/>
                <a:gd name="connsiteX729" fmla="*/ 1861074 w 2222569"/>
                <a:gd name="connsiteY729" fmla="*/ 224163 h 2052818"/>
                <a:gd name="connsiteX730" fmla="*/ 1871175 w 2222569"/>
                <a:gd name="connsiteY730" fmla="*/ 225303 h 2052818"/>
                <a:gd name="connsiteX731" fmla="*/ 1875899 w 2222569"/>
                <a:gd name="connsiteY731" fmla="*/ 228399 h 2052818"/>
                <a:gd name="connsiteX732" fmla="*/ 1881275 w 2222569"/>
                <a:gd name="connsiteY732" fmla="*/ 226770 h 2052818"/>
                <a:gd name="connsiteX733" fmla="*/ 1881275 w 2222569"/>
                <a:gd name="connsiteY733" fmla="*/ 224163 h 2052818"/>
                <a:gd name="connsiteX734" fmla="*/ 1876713 w 2222569"/>
                <a:gd name="connsiteY734" fmla="*/ 221068 h 2052818"/>
                <a:gd name="connsiteX735" fmla="*/ 1869871 w 2222569"/>
                <a:gd name="connsiteY735" fmla="*/ 221068 h 2052818"/>
                <a:gd name="connsiteX736" fmla="*/ 1862052 w 2222569"/>
                <a:gd name="connsiteY736" fmla="*/ 219439 h 2052818"/>
                <a:gd name="connsiteX737" fmla="*/ 1860097 w 2222569"/>
                <a:gd name="connsiteY737" fmla="*/ 216506 h 2052818"/>
                <a:gd name="connsiteX738" fmla="*/ 1860911 w 2222569"/>
                <a:gd name="connsiteY738" fmla="*/ 214877 h 2052818"/>
                <a:gd name="connsiteX739" fmla="*/ 1864821 w 2222569"/>
                <a:gd name="connsiteY739" fmla="*/ 214877 h 2052818"/>
                <a:gd name="connsiteX740" fmla="*/ 1872152 w 2222569"/>
                <a:gd name="connsiteY740" fmla="*/ 211782 h 2052818"/>
                <a:gd name="connsiteX741" fmla="*/ 1889583 w 2222569"/>
                <a:gd name="connsiteY741" fmla="*/ 209990 h 2052818"/>
                <a:gd name="connsiteX742" fmla="*/ 1901313 w 2222569"/>
                <a:gd name="connsiteY742" fmla="*/ 209012 h 2052818"/>
                <a:gd name="connsiteX743" fmla="*/ 1910761 w 2222569"/>
                <a:gd name="connsiteY743" fmla="*/ 212271 h 2052818"/>
                <a:gd name="connsiteX744" fmla="*/ 1916463 w 2222569"/>
                <a:gd name="connsiteY744" fmla="*/ 216995 h 2052818"/>
                <a:gd name="connsiteX745" fmla="*/ 1920699 w 2222569"/>
                <a:gd name="connsiteY745" fmla="*/ 214714 h 2052818"/>
                <a:gd name="connsiteX746" fmla="*/ 1926889 w 2222569"/>
                <a:gd name="connsiteY746" fmla="*/ 213411 h 2052818"/>
                <a:gd name="connsiteX747" fmla="*/ 1923794 w 2222569"/>
                <a:gd name="connsiteY747" fmla="*/ 210316 h 2052818"/>
                <a:gd name="connsiteX748" fmla="*/ 1921025 w 2222569"/>
                <a:gd name="connsiteY748" fmla="*/ 210316 h 2052818"/>
                <a:gd name="connsiteX749" fmla="*/ 1916626 w 2222569"/>
                <a:gd name="connsiteY749" fmla="*/ 208361 h 2052818"/>
                <a:gd name="connsiteX750" fmla="*/ 1916626 w 2222569"/>
                <a:gd name="connsiteY750" fmla="*/ 205591 h 2052818"/>
                <a:gd name="connsiteX751" fmla="*/ 1911902 w 2222569"/>
                <a:gd name="connsiteY751" fmla="*/ 202659 h 2052818"/>
                <a:gd name="connsiteX752" fmla="*/ 1905711 w 2222569"/>
                <a:gd name="connsiteY752" fmla="*/ 202659 h 2052818"/>
                <a:gd name="connsiteX753" fmla="*/ 1902453 w 2222569"/>
                <a:gd name="connsiteY753" fmla="*/ 200215 h 2052818"/>
                <a:gd name="connsiteX754" fmla="*/ 1889258 w 2222569"/>
                <a:gd name="connsiteY754" fmla="*/ 201519 h 2052818"/>
                <a:gd name="connsiteX755" fmla="*/ 1889258 w 2222569"/>
                <a:gd name="connsiteY755" fmla="*/ 199564 h 2052818"/>
                <a:gd name="connsiteX756" fmla="*/ 1891701 w 2222569"/>
                <a:gd name="connsiteY756" fmla="*/ 197120 h 2052818"/>
                <a:gd name="connsiteX757" fmla="*/ 1894796 w 2222569"/>
                <a:gd name="connsiteY757" fmla="*/ 190278 h 2052818"/>
                <a:gd name="connsiteX758" fmla="*/ 1900498 w 2222569"/>
                <a:gd name="connsiteY758" fmla="*/ 189626 h 2052818"/>
                <a:gd name="connsiteX759" fmla="*/ 1905874 w 2222569"/>
                <a:gd name="connsiteY759" fmla="*/ 185065 h 2052818"/>
                <a:gd name="connsiteX760" fmla="*/ 1908481 w 2222569"/>
                <a:gd name="connsiteY760" fmla="*/ 178386 h 2052818"/>
                <a:gd name="connsiteX761" fmla="*/ 1922002 w 2222569"/>
                <a:gd name="connsiteY761" fmla="*/ 170240 h 2052818"/>
                <a:gd name="connsiteX762" fmla="*/ 1929496 w 2222569"/>
                <a:gd name="connsiteY762" fmla="*/ 169914 h 2052818"/>
                <a:gd name="connsiteX763" fmla="*/ 1941714 w 2222569"/>
                <a:gd name="connsiteY763" fmla="*/ 164050 h 2052818"/>
                <a:gd name="connsiteX764" fmla="*/ 1941714 w 2222569"/>
                <a:gd name="connsiteY764" fmla="*/ 160954 h 2052818"/>
                <a:gd name="connsiteX765" fmla="*/ 1927378 w 2222569"/>
                <a:gd name="connsiteY765" fmla="*/ 166819 h 2052818"/>
                <a:gd name="connsiteX766" fmla="*/ 1917767 w 2222569"/>
                <a:gd name="connsiteY766" fmla="*/ 167796 h 2052818"/>
                <a:gd name="connsiteX767" fmla="*/ 1904082 w 2222569"/>
                <a:gd name="connsiteY767" fmla="*/ 177897 h 2052818"/>
                <a:gd name="connsiteX768" fmla="*/ 1904082 w 2222569"/>
                <a:gd name="connsiteY768" fmla="*/ 183273 h 2052818"/>
                <a:gd name="connsiteX769" fmla="*/ 1901313 w 2222569"/>
                <a:gd name="connsiteY769" fmla="*/ 183273 h 2052818"/>
                <a:gd name="connsiteX770" fmla="*/ 1899521 w 2222569"/>
                <a:gd name="connsiteY770" fmla="*/ 178060 h 2052818"/>
                <a:gd name="connsiteX771" fmla="*/ 1897566 w 2222569"/>
                <a:gd name="connsiteY771" fmla="*/ 177734 h 2052818"/>
                <a:gd name="connsiteX772" fmla="*/ 1894308 w 2222569"/>
                <a:gd name="connsiteY772" fmla="*/ 182784 h 2052818"/>
                <a:gd name="connsiteX773" fmla="*/ 1889746 w 2222569"/>
                <a:gd name="connsiteY773" fmla="*/ 183273 h 2052818"/>
                <a:gd name="connsiteX774" fmla="*/ 1883067 w 2222569"/>
                <a:gd name="connsiteY774" fmla="*/ 191255 h 2052818"/>
                <a:gd name="connsiteX775" fmla="*/ 1885836 w 2222569"/>
                <a:gd name="connsiteY775" fmla="*/ 191255 h 2052818"/>
                <a:gd name="connsiteX776" fmla="*/ 1886814 w 2222569"/>
                <a:gd name="connsiteY776" fmla="*/ 193862 h 2052818"/>
                <a:gd name="connsiteX777" fmla="*/ 1877528 w 2222569"/>
                <a:gd name="connsiteY777" fmla="*/ 200867 h 2052818"/>
                <a:gd name="connsiteX778" fmla="*/ 1872152 w 2222569"/>
                <a:gd name="connsiteY778" fmla="*/ 201844 h 2052818"/>
                <a:gd name="connsiteX779" fmla="*/ 1853906 w 2222569"/>
                <a:gd name="connsiteY779" fmla="*/ 209175 h 2052818"/>
                <a:gd name="connsiteX780" fmla="*/ 1848367 w 2222569"/>
                <a:gd name="connsiteY780" fmla="*/ 210316 h 2052818"/>
                <a:gd name="connsiteX781" fmla="*/ 1843643 w 2222569"/>
                <a:gd name="connsiteY781" fmla="*/ 209338 h 2052818"/>
                <a:gd name="connsiteX782" fmla="*/ 1828655 w 2222569"/>
                <a:gd name="connsiteY782" fmla="*/ 209664 h 2052818"/>
                <a:gd name="connsiteX783" fmla="*/ 1821976 w 2222569"/>
                <a:gd name="connsiteY783" fmla="*/ 202985 h 2052818"/>
                <a:gd name="connsiteX784" fmla="*/ 1814808 w 2222569"/>
                <a:gd name="connsiteY784" fmla="*/ 203962 h 2052818"/>
                <a:gd name="connsiteX785" fmla="*/ 1810735 w 2222569"/>
                <a:gd name="connsiteY785" fmla="*/ 203148 h 2052818"/>
                <a:gd name="connsiteX786" fmla="*/ 1810246 w 2222569"/>
                <a:gd name="connsiteY786" fmla="*/ 198912 h 2052818"/>
                <a:gd name="connsiteX787" fmla="*/ 1817089 w 2222569"/>
                <a:gd name="connsiteY787" fmla="*/ 192722 h 2052818"/>
                <a:gd name="connsiteX788" fmla="*/ 1823768 w 2222569"/>
                <a:gd name="connsiteY788" fmla="*/ 192722 h 2052818"/>
                <a:gd name="connsiteX789" fmla="*/ 1828167 w 2222569"/>
                <a:gd name="connsiteY789" fmla="*/ 190767 h 2052818"/>
                <a:gd name="connsiteX790" fmla="*/ 1837452 w 2222569"/>
                <a:gd name="connsiteY790" fmla="*/ 189626 h 2052818"/>
                <a:gd name="connsiteX791" fmla="*/ 1841851 w 2222569"/>
                <a:gd name="connsiteY791" fmla="*/ 185228 h 2052818"/>
                <a:gd name="connsiteX792" fmla="*/ 1838104 w 2222569"/>
                <a:gd name="connsiteY792" fmla="*/ 184902 h 2052818"/>
                <a:gd name="connsiteX793" fmla="*/ 1831913 w 2222569"/>
                <a:gd name="connsiteY793" fmla="*/ 187346 h 2052818"/>
                <a:gd name="connsiteX794" fmla="*/ 1826211 w 2222569"/>
                <a:gd name="connsiteY794" fmla="*/ 186694 h 2052818"/>
                <a:gd name="connsiteX795" fmla="*/ 1819369 w 2222569"/>
                <a:gd name="connsiteY795" fmla="*/ 189463 h 2052818"/>
                <a:gd name="connsiteX796" fmla="*/ 1814645 w 2222569"/>
                <a:gd name="connsiteY796" fmla="*/ 188160 h 2052818"/>
                <a:gd name="connsiteX797" fmla="*/ 1814645 w 2222569"/>
                <a:gd name="connsiteY797" fmla="*/ 183924 h 2052818"/>
                <a:gd name="connsiteX798" fmla="*/ 1820673 w 2222569"/>
                <a:gd name="connsiteY798" fmla="*/ 180829 h 2052818"/>
                <a:gd name="connsiteX799" fmla="*/ 1816274 w 2222569"/>
                <a:gd name="connsiteY799" fmla="*/ 180340 h 2052818"/>
                <a:gd name="connsiteX800" fmla="*/ 1808129 w 2222569"/>
                <a:gd name="connsiteY800" fmla="*/ 182621 h 2052818"/>
                <a:gd name="connsiteX801" fmla="*/ 1807314 w 2222569"/>
                <a:gd name="connsiteY801" fmla="*/ 189952 h 2052818"/>
                <a:gd name="connsiteX802" fmla="*/ 1799983 w 2222569"/>
                <a:gd name="connsiteY802" fmla="*/ 197283 h 2052818"/>
                <a:gd name="connsiteX803" fmla="*/ 1792001 w 2222569"/>
                <a:gd name="connsiteY803" fmla="*/ 197609 h 2052818"/>
                <a:gd name="connsiteX804" fmla="*/ 1780923 w 2222569"/>
                <a:gd name="connsiteY804" fmla="*/ 194188 h 2052818"/>
                <a:gd name="connsiteX805" fmla="*/ 1771148 w 2222569"/>
                <a:gd name="connsiteY805" fmla="*/ 193862 h 2052818"/>
                <a:gd name="connsiteX806" fmla="*/ 1766750 w 2222569"/>
                <a:gd name="connsiteY806" fmla="*/ 188812 h 2052818"/>
                <a:gd name="connsiteX807" fmla="*/ 1766750 w 2222569"/>
                <a:gd name="connsiteY807" fmla="*/ 185716 h 2052818"/>
                <a:gd name="connsiteX808" fmla="*/ 1760885 w 2222569"/>
                <a:gd name="connsiteY808" fmla="*/ 185391 h 2052818"/>
                <a:gd name="connsiteX809" fmla="*/ 1755509 w 2222569"/>
                <a:gd name="connsiteY809" fmla="*/ 180992 h 2052818"/>
                <a:gd name="connsiteX810" fmla="*/ 1755998 w 2222569"/>
                <a:gd name="connsiteY810" fmla="*/ 178223 h 2052818"/>
                <a:gd name="connsiteX811" fmla="*/ 1760233 w 2222569"/>
                <a:gd name="connsiteY811" fmla="*/ 174639 h 2052818"/>
                <a:gd name="connsiteX812" fmla="*/ 1763818 w 2222569"/>
                <a:gd name="connsiteY812" fmla="*/ 168448 h 2052818"/>
                <a:gd name="connsiteX813" fmla="*/ 1771474 w 2222569"/>
                <a:gd name="connsiteY813" fmla="*/ 164050 h 2052818"/>
                <a:gd name="connsiteX814" fmla="*/ 1776036 w 2222569"/>
                <a:gd name="connsiteY814" fmla="*/ 158185 h 2052818"/>
                <a:gd name="connsiteX815" fmla="*/ 1783203 w 2222569"/>
                <a:gd name="connsiteY815" fmla="*/ 154275 h 2052818"/>
                <a:gd name="connsiteX816" fmla="*/ 1786136 w 2222569"/>
                <a:gd name="connsiteY816" fmla="*/ 151017 h 2052818"/>
                <a:gd name="connsiteX817" fmla="*/ 1791349 w 2222569"/>
                <a:gd name="connsiteY817" fmla="*/ 152483 h 2052818"/>
                <a:gd name="connsiteX818" fmla="*/ 1801612 w 2222569"/>
                <a:gd name="connsiteY818" fmla="*/ 153298 h 2052818"/>
                <a:gd name="connsiteX819" fmla="*/ 1804708 w 2222569"/>
                <a:gd name="connsiteY819" fmla="*/ 151668 h 2052818"/>
                <a:gd name="connsiteX820" fmla="*/ 1809758 w 2222569"/>
                <a:gd name="connsiteY820" fmla="*/ 151994 h 2052818"/>
                <a:gd name="connsiteX821" fmla="*/ 1819207 w 2222569"/>
                <a:gd name="connsiteY821" fmla="*/ 157370 h 2052818"/>
                <a:gd name="connsiteX822" fmla="*/ 1827841 w 2222569"/>
                <a:gd name="connsiteY822" fmla="*/ 157696 h 2052818"/>
                <a:gd name="connsiteX823" fmla="*/ 1832402 w 2222569"/>
                <a:gd name="connsiteY823" fmla="*/ 159325 h 2052818"/>
                <a:gd name="connsiteX824" fmla="*/ 1840548 w 2222569"/>
                <a:gd name="connsiteY824" fmla="*/ 158185 h 2052818"/>
                <a:gd name="connsiteX825" fmla="*/ 1841688 w 2222569"/>
                <a:gd name="connsiteY825" fmla="*/ 156719 h 2052818"/>
                <a:gd name="connsiteX826" fmla="*/ 1837941 w 2222569"/>
                <a:gd name="connsiteY826" fmla="*/ 154275 h 2052818"/>
                <a:gd name="connsiteX827" fmla="*/ 1828167 w 2222569"/>
                <a:gd name="connsiteY827" fmla="*/ 154927 h 2052818"/>
                <a:gd name="connsiteX828" fmla="*/ 1817415 w 2222569"/>
                <a:gd name="connsiteY828" fmla="*/ 152972 h 2052818"/>
                <a:gd name="connsiteX829" fmla="*/ 1810898 w 2222569"/>
                <a:gd name="connsiteY829" fmla="*/ 149062 h 2052818"/>
                <a:gd name="connsiteX830" fmla="*/ 1804219 w 2222569"/>
                <a:gd name="connsiteY830" fmla="*/ 149062 h 2052818"/>
                <a:gd name="connsiteX831" fmla="*/ 1794444 w 2222569"/>
                <a:gd name="connsiteY831" fmla="*/ 149876 h 2052818"/>
                <a:gd name="connsiteX832" fmla="*/ 1783529 w 2222569"/>
                <a:gd name="connsiteY832" fmla="*/ 147596 h 2052818"/>
                <a:gd name="connsiteX833" fmla="*/ 1780597 w 2222569"/>
                <a:gd name="connsiteY833" fmla="*/ 147596 h 2052818"/>
                <a:gd name="connsiteX834" fmla="*/ 1777991 w 2222569"/>
                <a:gd name="connsiteY834" fmla="*/ 150691 h 2052818"/>
                <a:gd name="connsiteX835" fmla="*/ 1772777 w 2222569"/>
                <a:gd name="connsiteY835" fmla="*/ 156393 h 2052818"/>
                <a:gd name="connsiteX836" fmla="*/ 1763980 w 2222569"/>
                <a:gd name="connsiteY836" fmla="*/ 161769 h 2052818"/>
                <a:gd name="connsiteX837" fmla="*/ 1754532 w 2222569"/>
                <a:gd name="connsiteY837" fmla="*/ 166167 h 2052818"/>
                <a:gd name="connsiteX838" fmla="*/ 1748667 w 2222569"/>
                <a:gd name="connsiteY838" fmla="*/ 173987 h 2052818"/>
                <a:gd name="connsiteX839" fmla="*/ 1746712 w 2222569"/>
                <a:gd name="connsiteY839" fmla="*/ 174964 h 2052818"/>
                <a:gd name="connsiteX840" fmla="*/ 1742476 w 2222569"/>
                <a:gd name="connsiteY840" fmla="*/ 173172 h 2052818"/>
                <a:gd name="connsiteX841" fmla="*/ 1735634 w 2222569"/>
                <a:gd name="connsiteY841" fmla="*/ 164050 h 2052818"/>
                <a:gd name="connsiteX842" fmla="*/ 1732539 w 2222569"/>
                <a:gd name="connsiteY842" fmla="*/ 163235 h 2052818"/>
                <a:gd name="connsiteX843" fmla="*/ 1729606 w 2222569"/>
                <a:gd name="connsiteY843" fmla="*/ 160628 h 2052818"/>
                <a:gd name="connsiteX844" fmla="*/ 1727652 w 2222569"/>
                <a:gd name="connsiteY844" fmla="*/ 154112 h 2052818"/>
                <a:gd name="connsiteX845" fmla="*/ 1727652 w 2222569"/>
                <a:gd name="connsiteY845" fmla="*/ 146781 h 2052818"/>
                <a:gd name="connsiteX846" fmla="*/ 1725045 w 2222569"/>
                <a:gd name="connsiteY846" fmla="*/ 143849 h 2052818"/>
                <a:gd name="connsiteX847" fmla="*/ 1724393 w 2222569"/>
                <a:gd name="connsiteY847" fmla="*/ 137170 h 2052818"/>
                <a:gd name="connsiteX848" fmla="*/ 1726348 w 2222569"/>
                <a:gd name="connsiteY848" fmla="*/ 135052 h 2052818"/>
                <a:gd name="connsiteX849" fmla="*/ 1731399 w 2222569"/>
                <a:gd name="connsiteY849" fmla="*/ 136192 h 2052818"/>
                <a:gd name="connsiteX850" fmla="*/ 1736611 w 2222569"/>
                <a:gd name="connsiteY850" fmla="*/ 135052 h 2052818"/>
                <a:gd name="connsiteX851" fmla="*/ 1739707 w 2222569"/>
                <a:gd name="connsiteY851" fmla="*/ 137332 h 2052818"/>
                <a:gd name="connsiteX852" fmla="*/ 1754694 w 2222569"/>
                <a:gd name="connsiteY852" fmla="*/ 137007 h 2052818"/>
                <a:gd name="connsiteX853" fmla="*/ 1762351 w 2222569"/>
                <a:gd name="connsiteY853" fmla="*/ 142220 h 2052818"/>
                <a:gd name="connsiteX854" fmla="*/ 1766913 w 2222569"/>
                <a:gd name="connsiteY854" fmla="*/ 142220 h 2052818"/>
                <a:gd name="connsiteX855" fmla="*/ 1769519 w 2222569"/>
                <a:gd name="connsiteY855" fmla="*/ 144012 h 2052818"/>
                <a:gd name="connsiteX856" fmla="*/ 1774244 w 2222569"/>
                <a:gd name="connsiteY856" fmla="*/ 144338 h 2052818"/>
                <a:gd name="connsiteX857" fmla="*/ 1780271 w 2222569"/>
                <a:gd name="connsiteY857" fmla="*/ 141242 h 2052818"/>
                <a:gd name="connsiteX858" fmla="*/ 1786625 w 2222569"/>
                <a:gd name="connsiteY858" fmla="*/ 143197 h 2052818"/>
                <a:gd name="connsiteX859" fmla="*/ 1788091 w 2222569"/>
                <a:gd name="connsiteY859" fmla="*/ 141568 h 2052818"/>
                <a:gd name="connsiteX860" fmla="*/ 1793141 w 2222569"/>
                <a:gd name="connsiteY860" fmla="*/ 140265 h 2052818"/>
                <a:gd name="connsiteX861" fmla="*/ 1796073 w 2222569"/>
                <a:gd name="connsiteY861" fmla="*/ 138310 h 2052818"/>
                <a:gd name="connsiteX862" fmla="*/ 1806337 w 2222569"/>
                <a:gd name="connsiteY862" fmla="*/ 136029 h 2052818"/>
                <a:gd name="connsiteX863" fmla="*/ 1815785 w 2222569"/>
                <a:gd name="connsiteY863" fmla="*/ 134400 h 2052818"/>
                <a:gd name="connsiteX864" fmla="*/ 1817089 w 2222569"/>
                <a:gd name="connsiteY864" fmla="*/ 131468 h 2052818"/>
                <a:gd name="connsiteX865" fmla="*/ 1816763 w 2222569"/>
                <a:gd name="connsiteY865" fmla="*/ 128372 h 2052818"/>
                <a:gd name="connsiteX866" fmla="*/ 1813668 w 2222569"/>
                <a:gd name="connsiteY866" fmla="*/ 129350 h 2052818"/>
                <a:gd name="connsiteX867" fmla="*/ 1810898 w 2222569"/>
                <a:gd name="connsiteY867" fmla="*/ 130164 h 2052818"/>
                <a:gd name="connsiteX868" fmla="*/ 1807314 w 2222569"/>
                <a:gd name="connsiteY868" fmla="*/ 132282 h 2052818"/>
                <a:gd name="connsiteX869" fmla="*/ 1801124 w 2222569"/>
                <a:gd name="connsiteY869" fmla="*/ 133748 h 2052818"/>
                <a:gd name="connsiteX870" fmla="*/ 1790860 w 2222569"/>
                <a:gd name="connsiteY870" fmla="*/ 132934 h 2052818"/>
                <a:gd name="connsiteX871" fmla="*/ 1783041 w 2222569"/>
                <a:gd name="connsiteY871" fmla="*/ 137658 h 2052818"/>
                <a:gd name="connsiteX872" fmla="*/ 1779457 w 2222569"/>
                <a:gd name="connsiteY872" fmla="*/ 138310 h 2052818"/>
                <a:gd name="connsiteX873" fmla="*/ 1772452 w 2222569"/>
                <a:gd name="connsiteY873" fmla="*/ 137170 h 2052818"/>
                <a:gd name="connsiteX874" fmla="*/ 1769845 w 2222569"/>
                <a:gd name="connsiteY874" fmla="*/ 138473 h 2052818"/>
                <a:gd name="connsiteX875" fmla="*/ 1765446 w 2222569"/>
                <a:gd name="connsiteY875" fmla="*/ 138473 h 2052818"/>
                <a:gd name="connsiteX876" fmla="*/ 1759582 w 2222569"/>
                <a:gd name="connsiteY876" fmla="*/ 133097 h 2052818"/>
                <a:gd name="connsiteX877" fmla="*/ 1755998 w 2222569"/>
                <a:gd name="connsiteY877" fmla="*/ 133097 h 2052818"/>
                <a:gd name="connsiteX878" fmla="*/ 1753717 w 2222569"/>
                <a:gd name="connsiteY878" fmla="*/ 131468 h 2052818"/>
                <a:gd name="connsiteX879" fmla="*/ 1747689 w 2222569"/>
                <a:gd name="connsiteY879" fmla="*/ 131468 h 2052818"/>
                <a:gd name="connsiteX880" fmla="*/ 1739544 w 2222569"/>
                <a:gd name="connsiteY880" fmla="*/ 127232 h 2052818"/>
                <a:gd name="connsiteX881" fmla="*/ 1733679 w 2222569"/>
                <a:gd name="connsiteY881" fmla="*/ 129839 h 2052818"/>
                <a:gd name="connsiteX882" fmla="*/ 1728466 w 2222569"/>
                <a:gd name="connsiteY882" fmla="*/ 127069 h 2052818"/>
                <a:gd name="connsiteX883" fmla="*/ 1727000 w 2222569"/>
                <a:gd name="connsiteY883" fmla="*/ 123485 h 2052818"/>
                <a:gd name="connsiteX884" fmla="*/ 1729444 w 2222569"/>
                <a:gd name="connsiteY884" fmla="*/ 121041 h 2052818"/>
                <a:gd name="connsiteX885" fmla="*/ 1729444 w 2222569"/>
                <a:gd name="connsiteY885" fmla="*/ 114688 h 2052818"/>
                <a:gd name="connsiteX886" fmla="*/ 1733027 w 2222569"/>
                <a:gd name="connsiteY886" fmla="*/ 112081 h 2052818"/>
                <a:gd name="connsiteX887" fmla="*/ 1735797 w 2222569"/>
                <a:gd name="connsiteY887" fmla="*/ 112081 h 2052818"/>
                <a:gd name="connsiteX888" fmla="*/ 1739381 w 2222569"/>
                <a:gd name="connsiteY888" fmla="*/ 116317 h 2052818"/>
                <a:gd name="connsiteX889" fmla="*/ 1747038 w 2222569"/>
                <a:gd name="connsiteY889" fmla="*/ 115828 h 2052818"/>
                <a:gd name="connsiteX890" fmla="*/ 1750133 w 2222569"/>
                <a:gd name="connsiteY890" fmla="*/ 114525 h 2052818"/>
                <a:gd name="connsiteX891" fmla="*/ 1745735 w 2222569"/>
                <a:gd name="connsiteY891" fmla="*/ 111104 h 2052818"/>
                <a:gd name="connsiteX892" fmla="*/ 1741499 w 2222569"/>
                <a:gd name="connsiteY892" fmla="*/ 111104 h 2052818"/>
                <a:gd name="connsiteX893" fmla="*/ 1737915 w 2222569"/>
                <a:gd name="connsiteY893" fmla="*/ 106543 h 2052818"/>
                <a:gd name="connsiteX894" fmla="*/ 1739381 w 2222569"/>
                <a:gd name="connsiteY894" fmla="*/ 104262 h 2052818"/>
                <a:gd name="connsiteX895" fmla="*/ 1746549 w 2222569"/>
                <a:gd name="connsiteY895" fmla="*/ 104262 h 2052818"/>
                <a:gd name="connsiteX896" fmla="*/ 1753065 w 2222569"/>
                <a:gd name="connsiteY896" fmla="*/ 98886 h 2052818"/>
                <a:gd name="connsiteX897" fmla="*/ 1761700 w 2222569"/>
                <a:gd name="connsiteY897" fmla="*/ 98886 h 2052818"/>
                <a:gd name="connsiteX898" fmla="*/ 1765446 w 2222569"/>
                <a:gd name="connsiteY898" fmla="*/ 95791 h 2052818"/>
                <a:gd name="connsiteX899" fmla="*/ 1770334 w 2222569"/>
                <a:gd name="connsiteY899" fmla="*/ 95791 h 2052818"/>
                <a:gd name="connsiteX900" fmla="*/ 1773592 w 2222569"/>
                <a:gd name="connsiteY900" fmla="*/ 97420 h 2052818"/>
                <a:gd name="connsiteX901" fmla="*/ 1777827 w 2222569"/>
                <a:gd name="connsiteY901" fmla="*/ 96442 h 2052818"/>
                <a:gd name="connsiteX902" fmla="*/ 1777827 w 2222569"/>
                <a:gd name="connsiteY902" fmla="*/ 93347 h 2052818"/>
                <a:gd name="connsiteX903" fmla="*/ 1775221 w 2222569"/>
                <a:gd name="connsiteY903" fmla="*/ 91066 h 2052818"/>
                <a:gd name="connsiteX904" fmla="*/ 1764469 w 2222569"/>
                <a:gd name="connsiteY904" fmla="*/ 92695 h 2052818"/>
                <a:gd name="connsiteX905" fmla="*/ 1755672 w 2222569"/>
                <a:gd name="connsiteY905" fmla="*/ 93510 h 2052818"/>
                <a:gd name="connsiteX906" fmla="*/ 1748830 w 2222569"/>
                <a:gd name="connsiteY906" fmla="*/ 96116 h 2052818"/>
                <a:gd name="connsiteX907" fmla="*/ 1744105 w 2222569"/>
                <a:gd name="connsiteY907" fmla="*/ 96931 h 2052818"/>
                <a:gd name="connsiteX908" fmla="*/ 1741010 w 2222569"/>
                <a:gd name="connsiteY908" fmla="*/ 100189 h 2052818"/>
                <a:gd name="connsiteX909" fmla="*/ 1736775 w 2222569"/>
                <a:gd name="connsiteY909" fmla="*/ 100189 h 2052818"/>
                <a:gd name="connsiteX910" fmla="*/ 1736775 w 2222569"/>
                <a:gd name="connsiteY910" fmla="*/ 96442 h 2052818"/>
                <a:gd name="connsiteX911" fmla="*/ 1735471 w 2222569"/>
                <a:gd name="connsiteY911" fmla="*/ 91392 h 2052818"/>
                <a:gd name="connsiteX912" fmla="*/ 1741499 w 2222569"/>
                <a:gd name="connsiteY912" fmla="*/ 88948 h 2052818"/>
                <a:gd name="connsiteX913" fmla="*/ 1748830 w 2222569"/>
                <a:gd name="connsiteY913" fmla="*/ 83247 h 2052818"/>
                <a:gd name="connsiteX914" fmla="*/ 1756812 w 2222569"/>
                <a:gd name="connsiteY914" fmla="*/ 82758 h 2052818"/>
                <a:gd name="connsiteX915" fmla="*/ 1760722 w 2222569"/>
                <a:gd name="connsiteY915" fmla="*/ 80640 h 2052818"/>
                <a:gd name="connsiteX916" fmla="*/ 1755346 w 2222569"/>
                <a:gd name="connsiteY916" fmla="*/ 80314 h 2052818"/>
                <a:gd name="connsiteX917" fmla="*/ 1753065 w 2222569"/>
                <a:gd name="connsiteY917" fmla="*/ 77871 h 2052818"/>
                <a:gd name="connsiteX918" fmla="*/ 1753880 w 2222569"/>
                <a:gd name="connsiteY918" fmla="*/ 70865 h 2052818"/>
                <a:gd name="connsiteX919" fmla="*/ 1751599 w 2222569"/>
                <a:gd name="connsiteY919" fmla="*/ 71843 h 2052818"/>
                <a:gd name="connsiteX920" fmla="*/ 1750459 w 2222569"/>
                <a:gd name="connsiteY920" fmla="*/ 76893 h 2052818"/>
                <a:gd name="connsiteX921" fmla="*/ 1747852 w 2222569"/>
                <a:gd name="connsiteY921" fmla="*/ 78522 h 2052818"/>
                <a:gd name="connsiteX922" fmla="*/ 1746386 w 2222569"/>
                <a:gd name="connsiteY922" fmla="*/ 73635 h 2052818"/>
                <a:gd name="connsiteX923" fmla="*/ 1743454 w 2222569"/>
                <a:gd name="connsiteY923" fmla="*/ 74124 h 2052818"/>
                <a:gd name="connsiteX924" fmla="*/ 1741010 w 2222569"/>
                <a:gd name="connsiteY924" fmla="*/ 76730 h 2052818"/>
                <a:gd name="connsiteX925" fmla="*/ 1735797 w 2222569"/>
                <a:gd name="connsiteY925" fmla="*/ 77219 h 2052818"/>
                <a:gd name="connsiteX926" fmla="*/ 1735797 w 2222569"/>
                <a:gd name="connsiteY926" fmla="*/ 81455 h 2052818"/>
                <a:gd name="connsiteX927" fmla="*/ 1733842 w 2222569"/>
                <a:gd name="connsiteY927" fmla="*/ 84550 h 2052818"/>
                <a:gd name="connsiteX928" fmla="*/ 1727326 w 2222569"/>
                <a:gd name="connsiteY928" fmla="*/ 86342 h 2052818"/>
                <a:gd name="connsiteX929" fmla="*/ 1726837 w 2222569"/>
                <a:gd name="connsiteY929" fmla="*/ 81617 h 2052818"/>
                <a:gd name="connsiteX930" fmla="*/ 1727326 w 2222569"/>
                <a:gd name="connsiteY930" fmla="*/ 76241 h 2052818"/>
                <a:gd name="connsiteX931" fmla="*/ 1725371 w 2222569"/>
                <a:gd name="connsiteY931" fmla="*/ 75753 h 2052818"/>
                <a:gd name="connsiteX932" fmla="*/ 1724230 w 2222569"/>
                <a:gd name="connsiteY932" fmla="*/ 71191 h 2052818"/>
                <a:gd name="connsiteX933" fmla="*/ 1725697 w 2222569"/>
                <a:gd name="connsiteY933" fmla="*/ 69562 h 2052818"/>
                <a:gd name="connsiteX934" fmla="*/ 1729444 w 2222569"/>
                <a:gd name="connsiteY934" fmla="*/ 71354 h 2052818"/>
                <a:gd name="connsiteX935" fmla="*/ 1730258 w 2222569"/>
                <a:gd name="connsiteY935" fmla="*/ 65489 h 2052818"/>
                <a:gd name="connsiteX936" fmla="*/ 1734331 w 2222569"/>
                <a:gd name="connsiteY936" fmla="*/ 63535 h 2052818"/>
                <a:gd name="connsiteX937" fmla="*/ 1740195 w 2222569"/>
                <a:gd name="connsiteY937" fmla="*/ 63860 h 2052818"/>
                <a:gd name="connsiteX938" fmla="*/ 1742639 w 2222569"/>
                <a:gd name="connsiteY938" fmla="*/ 58973 h 2052818"/>
                <a:gd name="connsiteX939" fmla="*/ 1748830 w 2222569"/>
                <a:gd name="connsiteY939" fmla="*/ 56041 h 2052818"/>
                <a:gd name="connsiteX940" fmla="*/ 1752902 w 2222569"/>
                <a:gd name="connsiteY940" fmla="*/ 56692 h 2052818"/>
                <a:gd name="connsiteX941" fmla="*/ 1760396 w 2222569"/>
                <a:gd name="connsiteY941" fmla="*/ 52620 h 2052818"/>
                <a:gd name="connsiteX942" fmla="*/ 1770985 w 2222569"/>
                <a:gd name="connsiteY942" fmla="*/ 51805 h 2052818"/>
                <a:gd name="connsiteX943" fmla="*/ 1773429 w 2222569"/>
                <a:gd name="connsiteY943" fmla="*/ 49850 h 2052818"/>
                <a:gd name="connsiteX944" fmla="*/ 1777339 w 2222569"/>
                <a:gd name="connsiteY944" fmla="*/ 51316 h 2052818"/>
                <a:gd name="connsiteX945" fmla="*/ 1777827 w 2222569"/>
                <a:gd name="connsiteY945" fmla="*/ 54900 h 2052818"/>
                <a:gd name="connsiteX946" fmla="*/ 1776036 w 2222569"/>
                <a:gd name="connsiteY946" fmla="*/ 57507 h 2052818"/>
                <a:gd name="connsiteX947" fmla="*/ 1775710 w 2222569"/>
                <a:gd name="connsiteY947" fmla="*/ 69562 h 2052818"/>
                <a:gd name="connsiteX948" fmla="*/ 1779294 w 2222569"/>
                <a:gd name="connsiteY948" fmla="*/ 68422 h 2052818"/>
                <a:gd name="connsiteX949" fmla="*/ 1781737 w 2222569"/>
                <a:gd name="connsiteY949" fmla="*/ 60928 h 2052818"/>
                <a:gd name="connsiteX950" fmla="*/ 1784996 w 2222569"/>
                <a:gd name="connsiteY950" fmla="*/ 57996 h 2052818"/>
                <a:gd name="connsiteX951" fmla="*/ 1786625 w 2222569"/>
                <a:gd name="connsiteY951" fmla="*/ 60439 h 2052818"/>
                <a:gd name="connsiteX952" fmla="*/ 1784996 w 2222569"/>
                <a:gd name="connsiteY952" fmla="*/ 62557 h 2052818"/>
                <a:gd name="connsiteX953" fmla="*/ 1785647 w 2222569"/>
                <a:gd name="connsiteY953" fmla="*/ 66304 h 2052818"/>
                <a:gd name="connsiteX954" fmla="*/ 1788580 w 2222569"/>
                <a:gd name="connsiteY954" fmla="*/ 64349 h 2052818"/>
                <a:gd name="connsiteX955" fmla="*/ 1788580 w 2222569"/>
                <a:gd name="connsiteY955" fmla="*/ 60276 h 2052818"/>
                <a:gd name="connsiteX956" fmla="*/ 1790209 w 2222569"/>
                <a:gd name="connsiteY956" fmla="*/ 57833 h 2052818"/>
                <a:gd name="connsiteX957" fmla="*/ 1789557 w 2222569"/>
                <a:gd name="connsiteY957" fmla="*/ 54249 h 2052818"/>
                <a:gd name="connsiteX958" fmla="*/ 1790535 w 2222569"/>
                <a:gd name="connsiteY958" fmla="*/ 48221 h 2052818"/>
                <a:gd name="connsiteX959" fmla="*/ 1793630 w 2222569"/>
                <a:gd name="connsiteY959" fmla="*/ 47569 h 2052818"/>
                <a:gd name="connsiteX960" fmla="*/ 1800146 w 2222569"/>
                <a:gd name="connsiteY960" fmla="*/ 41868 h 2052818"/>
                <a:gd name="connsiteX961" fmla="*/ 1802590 w 2222569"/>
                <a:gd name="connsiteY961" fmla="*/ 42356 h 2052818"/>
                <a:gd name="connsiteX962" fmla="*/ 1803241 w 2222569"/>
                <a:gd name="connsiteY962" fmla="*/ 46755 h 2052818"/>
                <a:gd name="connsiteX963" fmla="*/ 1803241 w 2222569"/>
                <a:gd name="connsiteY963" fmla="*/ 52945 h 2052818"/>
                <a:gd name="connsiteX964" fmla="*/ 1807803 w 2222569"/>
                <a:gd name="connsiteY964" fmla="*/ 55389 h 2052818"/>
                <a:gd name="connsiteX965" fmla="*/ 1808780 w 2222569"/>
                <a:gd name="connsiteY965" fmla="*/ 61905 h 2052818"/>
                <a:gd name="connsiteX966" fmla="*/ 1807477 w 2222569"/>
                <a:gd name="connsiteY966" fmla="*/ 65652 h 2052818"/>
                <a:gd name="connsiteX967" fmla="*/ 1809269 w 2222569"/>
                <a:gd name="connsiteY967" fmla="*/ 69562 h 2052818"/>
                <a:gd name="connsiteX968" fmla="*/ 1808618 w 2222569"/>
                <a:gd name="connsiteY968" fmla="*/ 73472 h 2052818"/>
                <a:gd name="connsiteX969" fmla="*/ 1812201 w 2222569"/>
                <a:gd name="connsiteY969" fmla="*/ 76079 h 2052818"/>
                <a:gd name="connsiteX970" fmla="*/ 1814156 w 2222569"/>
                <a:gd name="connsiteY970" fmla="*/ 74449 h 2052818"/>
                <a:gd name="connsiteX971" fmla="*/ 1812038 w 2222569"/>
                <a:gd name="connsiteY971" fmla="*/ 70865 h 2052818"/>
                <a:gd name="connsiteX972" fmla="*/ 1811713 w 2222569"/>
                <a:gd name="connsiteY972" fmla="*/ 65001 h 2052818"/>
                <a:gd name="connsiteX973" fmla="*/ 1814808 w 2222569"/>
                <a:gd name="connsiteY973" fmla="*/ 63535 h 2052818"/>
                <a:gd name="connsiteX974" fmla="*/ 1820021 w 2222569"/>
                <a:gd name="connsiteY974" fmla="*/ 55226 h 2052818"/>
                <a:gd name="connsiteX975" fmla="*/ 1822791 w 2222569"/>
                <a:gd name="connsiteY975" fmla="*/ 55226 h 2052818"/>
                <a:gd name="connsiteX976" fmla="*/ 1827189 w 2222569"/>
                <a:gd name="connsiteY976" fmla="*/ 61905 h 2052818"/>
                <a:gd name="connsiteX977" fmla="*/ 1827515 w 2222569"/>
                <a:gd name="connsiteY977" fmla="*/ 68259 h 2052818"/>
                <a:gd name="connsiteX978" fmla="*/ 1826211 w 2222569"/>
                <a:gd name="connsiteY978" fmla="*/ 73472 h 2052818"/>
                <a:gd name="connsiteX979" fmla="*/ 1828818 w 2222569"/>
                <a:gd name="connsiteY979" fmla="*/ 76079 h 2052818"/>
                <a:gd name="connsiteX980" fmla="*/ 1829959 w 2222569"/>
                <a:gd name="connsiteY980" fmla="*/ 79663 h 2052818"/>
                <a:gd name="connsiteX981" fmla="*/ 1832402 w 2222569"/>
                <a:gd name="connsiteY981" fmla="*/ 76567 h 2052818"/>
                <a:gd name="connsiteX982" fmla="*/ 1832076 w 2222569"/>
                <a:gd name="connsiteY982" fmla="*/ 69725 h 2052818"/>
                <a:gd name="connsiteX983" fmla="*/ 1835172 w 2222569"/>
                <a:gd name="connsiteY983" fmla="*/ 69236 h 2052818"/>
                <a:gd name="connsiteX984" fmla="*/ 1838104 w 2222569"/>
                <a:gd name="connsiteY984" fmla="*/ 66956 h 2052818"/>
                <a:gd name="connsiteX985" fmla="*/ 1839244 w 2222569"/>
                <a:gd name="connsiteY985" fmla="*/ 70214 h 2052818"/>
                <a:gd name="connsiteX986" fmla="*/ 1837615 w 2222569"/>
                <a:gd name="connsiteY986" fmla="*/ 72006 h 2052818"/>
                <a:gd name="connsiteX987" fmla="*/ 1838104 w 2222569"/>
                <a:gd name="connsiteY987" fmla="*/ 76567 h 2052818"/>
                <a:gd name="connsiteX988" fmla="*/ 1840385 w 2222569"/>
                <a:gd name="connsiteY988" fmla="*/ 79337 h 2052818"/>
                <a:gd name="connsiteX989" fmla="*/ 1844132 w 2222569"/>
                <a:gd name="connsiteY989" fmla="*/ 74449 h 2052818"/>
                <a:gd name="connsiteX990" fmla="*/ 1846575 w 2222569"/>
                <a:gd name="connsiteY990" fmla="*/ 74449 h 2052818"/>
                <a:gd name="connsiteX991" fmla="*/ 1845761 w 2222569"/>
                <a:gd name="connsiteY991" fmla="*/ 79988 h 2052818"/>
                <a:gd name="connsiteX992" fmla="*/ 1848367 w 2222569"/>
                <a:gd name="connsiteY992" fmla="*/ 77056 h 2052818"/>
                <a:gd name="connsiteX993" fmla="*/ 1848367 w 2222569"/>
                <a:gd name="connsiteY993" fmla="*/ 71191 h 2052818"/>
                <a:gd name="connsiteX994" fmla="*/ 1843806 w 2222569"/>
                <a:gd name="connsiteY994" fmla="*/ 64023 h 2052818"/>
                <a:gd name="connsiteX995" fmla="*/ 1841362 w 2222569"/>
                <a:gd name="connsiteY995" fmla="*/ 64023 h 2052818"/>
                <a:gd name="connsiteX996" fmla="*/ 1838918 w 2222569"/>
                <a:gd name="connsiteY996" fmla="*/ 60276 h 2052818"/>
                <a:gd name="connsiteX997" fmla="*/ 1838918 w 2222569"/>
                <a:gd name="connsiteY997" fmla="*/ 54900 h 2052818"/>
                <a:gd name="connsiteX998" fmla="*/ 1835660 w 2222569"/>
                <a:gd name="connsiteY998" fmla="*/ 51153 h 2052818"/>
                <a:gd name="connsiteX999" fmla="*/ 1833380 w 2222569"/>
                <a:gd name="connsiteY999" fmla="*/ 46592 h 2052818"/>
                <a:gd name="connsiteX1000" fmla="*/ 1830773 w 2222569"/>
                <a:gd name="connsiteY1000" fmla="*/ 43985 h 2052818"/>
                <a:gd name="connsiteX1001" fmla="*/ 1831913 w 2222569"/>
                <a:gd name="connsiteY1001" fmla="*/ 38284 h 2052818"/>
                <a:gd name="connsiteX1002" fmla="*/ 1836964 w 2222569"/>
                <a:gd name="connsiteY1002" fmla="*/ 38609 h 2052818"/>
                <a:gd name="connsiteX1003" fmla="*/ 1840548 w 2222569"/>
                <a:gd name="connsiteY1003" fmla="*/ 41868 h 2052818"/>
                <a:gd name="connsiteX1004" fmla="*/ 1845924 w 2222569"/>
                <a:gd name="connsiteY1004" fmla="*/ 40239 h 2052818"/>
                <a:gd name="connsiteX1005" fmla="*/ 1850322 w 2222569"/>
                <a:gd name="connsiteY1005" fmla="*/ 41705 h 2052818"/>
                <a:gd name="connsiteX1006" fmla="*/ 1852277 w 2222569"/>
                <a:gd name="connsiteY1006" fmla="*/ 39261 h 2052818"/>
                <a:gd name="connsiteX1007" fmla="*/ 1852766 w 2222569"/>
                <a:gd name="connsiteY1007" fmla="*/ 29975 h 2052818"/>
                <a:gd name="connsiteX1008" fmla="*/ 1849019 w 2222569"/>
                <a:gd name="connsiteY1008" fmla="*/ 26228 h 2052818"/>
                <a:gd name="connsiteX1009" fmla="*/ 1850648 w 2222569"/>
                <a:gd name="connsiteY1009" fmla="*/ 21667 h 2052818"/>
                <a:gd name="connsiteX1010" fmla="*/ 1857001 w 2222569"/>
                <a:gd name="connsiteY1010" fmla="*/ 20038 h 2052818"/>
                <a:gd name="connsiteX1011" fmla="*/ 1858793 w 2222569"/>
                <a:gd name="connsiteY1011" fmla="*/ 21504 h 2052818"/>
                <a:gd name="connsiteX1012" fmla="*/ 1867916 w 2222569"/>
                <a:gd name="connsiteY1012" fmla="*/ 22807 h 2052818"/>
                <a:gd name="connsiteX1013" fmla="*/ 1871826 w 2222569"/>
                <a:gd name="connsiteY1013" fmla="*/ 25577 h 2052818"/>
                <a:gd name="connsiteX1014" fmla="*/ 1871337 w 2222569"/>
                <a:gd name="connsiteY1014" fmla="*/ 29324 h 2052818"/>
                <a:gd name="connsiteX1015" fmla="*/ 1867753 w 2222569"/>
                <a:gd name="connsiteY1015" fmla="*/ 32745 h 2052818"/>
                <a:gd name="connsiteX1016" fmla="*/ 1868894 w 2222569"/>
                <a:gd name="connsiteY1016" fmla="*/ 35514 h 2052818"/>
                <a:gd name="connsiteX1017" fmla="*/ 1878343 w 2222569"/>
                <a:gd name="connsiteY1017" fmla="*/ 38935 h 2052818"/>
                <a:gd name="connsiteX1018" fmla="*/ 1878668 w 2222569"/>
                <a:gd name="connsiteY1018" fmla="*/ 42031 h 2052818"/>
                <a:gd name="connsiteX1019" fmla="*/ 1877202 w 2222569"/>
                <a:gd name="connsiteY1019" fmla="*/ 49036 h 2052818"/>
                <a:gd name="connsiteX1020" fmla="*/ 1878180 w 2222569"/>
                <a:gd name="connsiteY1020" fmla="*/ 60113 h 2052818"/>
                <a:gd name="connsiteX1021" fmla="*/ 1882252 w 2222569"/>
                <a:gd name="connsiteY1021" fmla="*/ 58647 h 2052818"/>
                <a:gd name="connsiteX1022" fmla="*/ 1885185 w 2222569"/>
                <a:gd name="connsiteY1022" fmla="*/ 52620 h 2052818"/>
                <a:gd name="connsiteX1023" fmla="*/ 1887140 w 2222569"/>
                <a:gd name="connsiteY1023" fmla="*/ 52620 h 2052818"/>
                <a:gd name="connsiteX1024" fmla="*/ 1887465 w 2222569"/>
                <a:gd name="connsiteY1024" fmla="*/ 57181 h 2052818"/>
                <a:gd name="connsiteX1025" fmla="*/ 1889420 w 2222569"/>
                <a:gd name="connsiteY1025" fmla="*/ 60113 h 2052818"/>
                <a:gd name="connsiteX1026" fmla="*/ 1893493 w 2222569"/>
                <a:gd name="connsiteY1026" fmla="*/ 57833 h 2052818"/>
                <a:gd name="connsiteX1027" fmla="*/ 1895774 w 2222569"/>
                <a:gd name="connsiteY1027" fmla="*/ 53923 h 2052818"/>
                <a:gd name="connsiteX1028" fmla="*/ 1901150 w 2222569"/>
                <a:gd name="connsiteY1028" fmla="*/ 51479 h 2052818"/>
                <a:gd name="connsiteX1029" fmla="*/ 1902453 w 2222569"/>
                <a:gd name="connsiteY1029" fmla="*/ 48710 h 2052818"/>
                <a:gd name="connsiteX1030" fmla="*/ 1899358 w 2222569"/>
                <a:gd name="connsiteY1030" fmla="*/ 39261 h 2052818"/>
                <a:gd name="connsiteX1031" fmla="*/ 1902290 w 2222569"/>
                <a:gd name="connsiteY1031" fmla="*/ 35514 h 2052818"/>
                <a:gd name="connsiteX1032" fmla="*/ 1906037 w 2222569"/>
                <a:gd name="connsiteY1032" fmla="*/ 35514 h 2052818"/>
                <a:gd name="connsiteX1033" fmla="*/ 1908318 w 2222569"/>
                <a:gd name="connsiteY1033" fmla="*/ 37143 h 2052818"/>
                <a:gd name="connsiteX1034" fmla="*/ 1916952 w 2222569"/>
                <a:gd name="connsiteY1034" fmla="*/ 38121 h 2052818"/>
                <a:gd name="connsiteX1035" fmla="*/ 1916626 w 2222569"/>
                <a:gd name="connsiteY1035" fmla="*/ 34374 h 2052818"/>
                <a:gd name="connsiteX1036" fmla="*/ 1908644 w 2222569"/>
                <a:gd name="connsiteY1036" fmla="*/ 28672 h 2052818"/>
                <a:gd name="connsiteX1037" fmla="*/ 1907177 w 2222569"/>
                <a:gd name="connsiteY1037" fmla="*/ 22156 h 2052818"/>
                <a:gd name="connsiteX1038" fmla="*/ 1908807 w 2222569"/>
                <a:gd name="connsiteY1038" fmla="*/ 19712 h 2052818"/>
                <a:gd name="connsiteX1039" fmla="*/ 1910273 w 2222569"/>
                <a:gd name="connsiteY1039" fmla="*/ 14662 h 2052818"/>
                <a:gd name="connsiteX1040" fmla="*/ 1913531 w 2222569"/>
                <a:gd name="connsiteY1040" fmla="*/ 14336 h 2052818"/>
                <a:gd name="connsiteX1041" fmla="*/ 1923143 w 2222569"/>
                <a:gd name="connsiteY1041" fmla="*/ 19549 h 2052818"/>
                <a:gd name="connsiteX1042" fmla="*/ 1924283 w 2222569"/>
                <a:gd name="connsiteY1042" fmla="*/ 27206 h 2052818"/>
                <a:gd name="connsiteX1043" fmla="*/ 1925586 w 2222569"/>
                <a:gd name="connsiteY1043" fmla="*/ 32419 h 2052818"/>
                <a:gd name="connsiteX1044" fmla="*/ 1925097 w 2222569"/>
                <a:gd name="connsiteY1044" fmla="*/ 38609 h 2052818"/>
                <a:gd name="connsiteX1045" fmla="*/ 1927541 w 2222569"/>
                <a:gd name="connsiteY1045" fmla="*/ 42356 h 2052818"/>
                <a:gd name="connsiteX1046" fmla="*/ 1929007 w 2222569"/>
                <a:gd name="connsiteY1046" fmla="*/ 49036 h 2052818"/>
                <a:gd name="connsiteX1047" fmla="*/ 1931288 w 2222569"/>
                <a:gd name="connsiteY1047" fmla="*/ 53434 h 2052818"/>
                <a:gd name="connsiteX1048" fmla="*/ 1933569 w 2222569"/>
                <a:gd name="connsiteY1048" fmla="*/ 51479 h 2052818"/>
                <a:gd name="connsiteX1049" fmla="*/ 1933569 w 2222569"/>
                <a:gd name="connsiteY1049" fmla="*/ 45615 h 2052818"/>
                <a:gd name="connsiteX1050" fmla="*/ 1932917 w 2222569"/>
                <a:gd name="connsiteY1050" fmla="*/ 41705 h 2052818"/>
                <a:gd name="connsiteX1051" fmla="*/ 1932266 w 2222569"/>
                <a:gd name="connsiteY1051" fmla="*/ 35188 h 2052818"/>
                <a:gd name="connsiteX1052" fmla="*/ 1929659 w 2222569"/>
                <a:gd name="connsiteY1052" fmla="*/ 27857 h 2052818"/>
                <a:gd name="connsiteX1053" fmla="*/ 1930636 w 2222569"/>
                <a:gd name="connsiteY1053" fmla="*/ 19223 h 2052818"/>
                <a:gd name="connsiteX1054" fmla="*/ 1929985 w 2222569"/>
                <a:gd name="connsiteY1054" fmla="*/ 10100 h 2052818"/>
                <a:gd name="connsiteX1055" fmla="*/ 1931777 w 2222569"/>
                <a:gd name="connsiteY1055" fmla="*/ 4724 h 2052818"/>
                <a:gd name="connsiteX1056" fmla="*/ 1935035 w 2222569"/>
                <a:gd name="connsiteY1056" fmla="*/ 5050 h 2052818"/>
                <a:gd name="connsiteX1057" fmla="*/ 1939922 w 2222569"/>
                <a:gd name="connsiteY1057" fmla="*/ 9612 h 2052818"/>
                <a:gd name="connsiteX1058" fmla="*/ 1943180 w 2222569"/>
                <a:gd name="connsiteY1058" fmla="*/ 9612 h 2052818"/>
                <a:gd name="connsiteX1059" fmla="*/ 1944972 w 2222569"/>
                <a:gd name="connsiteY1059" fmla="*/ 11241 h 2052818"/>
                <a:gd name="connsiteX1060" fmla="*/ 1945298 w 2222569"/>
                <a:gd name="connsiteY1060" fmla="*/ 18409 h 2052818"/>
                <a:gd name="connsiteX1061" fmla="*/ 1948231 w 2222569"/>
                <a:gd name="connsiteY1061" fmla="*/ 23622 h 2052818"/>
                <a:gd name="connsiteX1062" fmla="*/ 1947416 w 2222569"/>
                <a:gd name="connsiteY1062" fmla="*/ 29812 h 2052818"/>
                <a:gd name="connsiteX1063" fmla="*/ 1948393 w 2222569"/>
                <a:gd name="connsiteY1063" fmla="*/ 37958 h 2052818"/>
                <a:gd name="connsiteX1064" fmla="*/ 1950837 w 2222569"/>
                <a:gd name="connsiteY1064" fmla="*/ 38935 h 2052818"/>
                <a:gd name="connsiteX1065" fmla="*/ 1950511 w 2222569"/>
                <a:gd name="connsiteY1065" fmla="*/ 34700 h 2052818"/>
                <a:gd name="connsiteX1066" fmla="*/ 1952303 w 2222569"/>
                <a:gd name="connsiteY1066" fmla="*/ 31116 h 2052818"/>
                <a:gd name="connsiteX1067" fmla="*/ 1954258 w 2222569"/>
                <a:gd name="connsiteY1067" fmla="*/ 30790 h 2052818"/>
                <a:gd name="connsiteX1068" fmla="*/ 1963218 w 2222569"/>
                <a:gd name="connsiteY1068" fmla="*/ 41053 h 2052818"/>
                <a:gd name="connsiteX1069" fmla="*/ 1964196 w 2222569"/>
                <a:gd name="connsiteY1069" fmla="*/ 39261 h 2052818"/>
                <a:gd name="connsiteX1070" fmla="*/ 1968105 w 2222569"/>
                <a:gd name="connsiteY1070" fmla="*/ 38121 h 2052818"/>
                <a:gd name="connsiteX1071" fmla="*/ 1968431 w 2222569"/>
                <a:gd name="connsiteY1071" fmla="*/ 35840 h 2052818"/>
                <a:gd name="connsiteX1072" fmla="*/ 1964847 w 2222569"/>
                <a:gd name="connsiteY1072" fmla="*/ 34863 h 2052818"/>
                <a:gd name="connsiteX1073" fmla="*/ 1960449 w 2222569"/>
                <a:gd name="connsiteY1073" fmla="*/ 29324 h 2052818"/>
                <a:gd name="connsiteX1074" fmla="*/ 1961915 w 2222569"/>
                <a:gd name="connsiteY1074" fmla="*/ 27532 h 2052818"/>
                <a:gd name="connsiteX1075" fmla="*/ 1962404 w 2222569"/>
                <a:gd name="connsiteY1075" fmla="*/ 24436 h 2052818"/>
                <a:gd name="connsiteX1076" fmla="*/ 1956539 w 2222569"/>
                <a:gd name="connsiteY1076" fmla="*/ 19549 h 2052818"/>
                <a:gd name="connsiteX1077" fmla="*/ 1954910 w 2222569"/>
                <a:gd name="connsiteY1077" fmla="*/ 15802 h 2052818"/>
                <a:gd name="connsiteX1078" fmla="*/ 1956376 w 2222569"/>
                <a:gd name="connsiteY1078" fmla="*/ 13684 h 2052818"/>
                <a:gd name="connsiteX1079" fmla="*/ 1962241 w 2222569"/>
                <a:gd name="connsiteY1079" fmla="*/ 13196 h 2052818"/>
                <a:gd name="connsiteX1080" fmla="*/ 1959634 w 2222569"/>
                <a:gd name="connsiteY1080" fmla="*/ 10752 h 2052818"/>
                <a:gd name="connsiteX1081" fmla="*/ 1955724 w 2222569"/>
                <a:gd name="connsiteY1081" fmla="*/ 10100 h 2052818"/>
                <a:gd name="connsiteX1082" fmla="*/ 1952629 w 2222569"/>
                <a:gd name="connsiteY1082" fmla="*/ 6191 h 2052818"/>
                <a:gd name="connsiteX1083" fmla="*/ 1955561 w 2222569"/>
                <a:gd name="connsiteY1083" fmla="*/ 4561 h 2052818"/>
                <a:gd name="connsiteX1084" fmla="*/ 1959960 w 2222569"/>
                <a:gd name="connsiteY1084" fmla="*/ 4561 h 2052818"/>
                <a:gd name="connsiteX1085" fmla="*/ 1965173 w 2222569"/>
                <a:gd name="connsiteY1085" fmla="*/ 0 h 2052818"/>
                <a:gd name="connsiteX1086" fmla="*/ 1975925 w 2222569"/>
                <a:gd name="connsiteY1086" fmla="*/ 1792 h 2052818"/>
                <a:gd name="connsiteX1087" fmla="*/ 1977880 w 2222569"/>
                <a:gd name="connsiteY1087" fmla="*/ 4399 h 2052818"/>
                <a:gd name="connsiteX1088" fmla="*/ 1977880 w 2222569"/>
                <a:gd name="connsiteY1088" fmla="*/ 9775 h 2052818"/>
                <a:gd name="connsiteX1089" fmla="*/ 1974785 w 2222569"/>
                <a:gd name="connsiteY1089" fmla="*/ 14336 h 2052818"/>
                <a:gd name="connsiteX1090" fmla="*/ 1976088 w 2222569"/>
                <a:gd name="connsiteY1090" fmla="*/ 16780 h 2052818"/>
                <a:gd name="connsiteX1091" fmla="*/ 1979346 w 2222569"/>
                <a:gd name="connsiteY1091" fmla="*/ 16454 h 2052818"/>
                <a:gd name="connsiteX1092" fmla="*/ 1982930 w 2222569"/>
                <a:gd name="connsiteY1092" fmla="*/ 10100 h 2052818"/>
                <a:gd name="connsiteX1093" fmla="*/ 1985374 w 2222569"/>
                <a:gd name="connsiteY1093" fmla="*/ 8308 h 2052818"/>
                <a:gd name="connsiteX1094" fmla="*/ 1987166 w 2222569"/>
                <a:gd name="connsiteY1094" fmla="*/ 11078 h 2052818"/>
                <a:gd name="connsiteX1095" fmla="*/ 1984885 w 2222569"/>
                <a:gd name="connsiteY1095" fmla="*/ 18409 h 2052818"/>
                <a:gd name="connsiteX1096" fmla="*/ 1987492 w 2222569"/>
                <a:gd name="connsiteY1096" fmla="*/ 20038 h 2052818"/>
                <a:gd name="connsiteX1097" fmla="*/ 1990587 w 2222569"/>
                <a:gd name="connsiteY1097" fmla="*/ 19386 h 2052818"/>
                <a:gd name="connsiteX1098" fmla="*/ 1991564 w 2222569"/>
                <a:gd name="connsiteY1098" fmla="*/ 16943 h 2052818"/>
                <a:gd name="connsiteX1099" fmla="*/ 1997918 w 2222569"/>
                <a:gd name="connsiteY1099" fmla="*/ 10915 h 2052818"/>
                <a:gd name="connsiteX1100" fmla="*/ 1999873 w 2222569"/>
                <a:gd name="connsiteY1100" fmla="*/ 13359 h 2052818"/>
                <a:gd name="connsiteX1101" fmla="*/ 1999221 w 2222569"/>
                <a:gd name="connsiteY1101" fmla="*/ 19386 h 2052818"/>
                <a:gd name="connsiteX1102" fmla="*/ 1996940 w 2222569"/>
                <a:gd name="connsiteY1102" fmla="*/ 23622 h 2052818"/>
                <a:gd name="connsiteX1103" fmla="*/ 1998732 w 2222569"/>
                <a:gd name="connsiteY1103" fmla="*/ 32093 h 2052818"/>
                <a:gd name="connsiteX1104" fmla="*/ 1995800 w 2222569"/>
                <a:gd name="connsiteY1104" fmla="*/ 35840 h 2052818"/>
                <a:gd name="connsiteX1105" fmla="*/ 1998081 w 2222569"/>
                <a:gd name="connsiteY1105" fmla="*/ 38121 h 2052818"/>
                <a:gd name="connsiteX1106" fmla="*/ 2003783 w 2222569"/>
                <a:gd name="connsiteY1106" fmla="*/ 36980 h 2052818"/>
                <a:gd name="connsiteX1107" fmla="*/ 2007041 w 2222569"/>
                <a:gd name="connsiteY1107" fmla="*/ 37958 h 2052818"/>
                <a:gd name="connsiteX1108" fmla="*/ 2009321 w 2222569"/>
                <a:gd name="connsiteY1108" fmla="*/ 36003 h 2052818"/>
                <a:gd name="connsiteX1109" fmla="*/ 2009647 w 2222569"/>
                <a:gd name="connsiteY1109" fmla="*/ 28672 h 2052818"/>
                <a:gd name="connsiteX1110" fmla="*/ 2012580 w 2222569"/>
                <a:gd name="connsiteY1110" fmla="*/ 19875 h 2052818"/>
                <a:gd name="connsiteX1111" fmla="*/ 2008670 w 2222569"/>
                <a:gd name="connsiteY1111" fmla="*/ 8634 h 2052818"/>
                <a:gd name="connsiteX1112" fmla="*/ 2009810 w 2222569"/>
                <a:gd name="connsiteY1112" fmla="*/ 1792 h 2052818"/>
                <a:gd name="connsiteX1113" fmla="*/ 2013231 w 2222569"/>
                <a:gd name="connsiteY1113" fmla="*/ 0 h 2052818"/>
                <a:gd name="connsiteX1114" fmla="*/ 2016652 w 2222569"/>
                <a:gd name="connsiteY1114" fmla="*/ 2444 h 2052818"/>
                <a:gd name="connsiteX1115" fmla="*/ 2020236 w 2222569"/>
                <a:gd name="connsiteY1115" fmla="*/ 2444 h 2052818"/>
                <a:gd name="connsiteX1116" fmla="*/ 2024961 w 2222569"/>
                <a:gd name="connsiteY1116" fmla="*/ 4236 h 2052818"/>
                <a:gd name="connsiteX1117" fmla="*/ 2031314 w 2222569"/>
                <a:gd name="connsiteY1117" fmla="*/ 1629 h 2052818"/>
                <a:gd name="connsiteX1118" fmla="*/ 2037179 w 2222569"/>
                <a:gd name="connsiteY1118" fmla="*/ 3258 h 2052818"/>
                <a:gd name="connsiteX1119" fmla="*/ 2039134 w 2222569"/>
                <a:gd name="connsiteY1119" fmla="*/ 7331 h 2052818"/>
                <a:gd name="connsiteX1120" fmla="*/ 2045650 w 2222569"/>
                <a:gd name="connsiteY1120" fmla="*/ 9612 h 2052818"/>
                <a:gd name="connsiteX1121" fmla="*/ 2051678 w 2222569"/>
                <a:gd name="connsiteY1121" fmla="*/ 7657 h 2052818"/>
                <a:gd name="connsiteX1122" fmla="*/ 2057868 w 2222569"/>
                <a:gd name="connsiteY1122" fmla="*/ 12055 h 2052818"/>
                <a:gd name="connsiteX1123" fmla="*/ 2059172 w 2222569"/>
                <a:gd name="connsiteY1123" fmla="*/ 16128 h 2052818"/>
                <a:gd name="connsiteX1124" fmla="*/ 2061127 w 2222569"/>
                <a:gd name="connsiteY1124" fmla="*/ 18735 h 2052818"/>
                <a:gd name="connsiteX1125" fmla="*/ 2061941 w 2222569"/>
                <a:gd name="connsiteY1125" fmla="*/ 25088 h 2052818"/>
                <a:gd name="connsiteX1126" fmla="*/ 2059335 w 2222569"/>
                <a:gd name="connsiteY1126" fmla="*/ 30953 h 2052818"/>
                <a:gd name="connsiteX1127" fmla="*/ 2060475 w 2222569"/>
                <a:gd name="connsiteY1127" fmla="*/ 33885 h 2052818"/>
                <a:gd name="connsiteX1128" fmla="*/ 2064548 w 2222569"/>
                <a:gd name="connsiteY1128" fmla="*/ 32908 h 2052818"/>
                <a:gd name="connsiteX1129" fmla="*/ 2070087 w 2222569"/>
                <a:gd name="connsiteY1129" fmla="*/ 26554 h 2052818"/>
                <a:gd name="connsiteX1130" fmla="*/ 2077906 w 2222569"/>
                <a:gd name="connsiteY1130" fmla="*/ 20852 h 2052818"/>
                <a:gd name="connsiteX1131" fmla="*/ 2081327 w 2222569"/>
                <a:gd name="connsiteY1131" fmla="*/ 16617 h 2052818"/>
                <a:gd name="connsiteX1132" fmla="*/ 2086377 w 2222569"/>
                <a:gd name="connsiteY1132" fmla="*/ 16617 h 2052818"/>
                <a:gd name="connsiteX1133" fmla="*/ 2092242 w 2222569"/>
                <a:gd name="connsiteY1133" fmla="*/ 19875 h 2052818"/>
                <a:gd name="connsiteX1134" fmla="*/ 2098759 w 2222569"/>
                <a:gd name="connsiteY1134" fmla="*/ 19875 h 2052818"/>
                <a:gd name="connsiteX1135" fmla="*/ 2097944 w 2222569"/>
                <a:gd name="connsiteY1135" fmla="*/ 23296 h 2052818"/>
                <a:gd name="connsiteX1136" fmla="*/ 2092405 w 2222569"/>
                <a:gd name="connsiteY1136" fmla="*/ 28835 h 2052818"/>
                <a:gd name="connsiteX1137" fmla="*/ 2095337 w 2222569"/>
                <a:gd name="connsiteY1137" fmla="*/ 33559 h 2052818"/>
                <a:gd name="connsiteX1138" fmla="*/ 2097781 w 2222569"/>
                <a:gd name="connsiteY1138" fmla="*/ 32093 h 2052818"/>
                <a:gd name="connsiteX1139" fmla="*/ 2099084 w 2222569"/>
                <a:gd name="connsiteY1139" fmla="*/ 27532 h 2052818"/>
                <a:gd name="connsiteX1140" fmla="*/ 2104623 w 2222569"/>
                <a:gd name="connsiteY1140" fmla="*/ 23296 h 2052818"/>
                <a:gd name="connsiteX1141" fmla="*/ 2109674 w 2222569"/>
                <a:gd name="connsiteY1141" fmla="*/ 21504 h 2052818"/>
                <a:gd name="connsiteX1142" fmla="*/ 2117656 w 2222569"/>
                <a:gd name="connsiteY1142" fmla="*/ 24925 h 2052818"/>
                <a:gd name="connsiteX1143" fmla="*/ 2127268 w 2222569"/>
                <a:gd name="connsiteY1143" fmla="*/ 26717 h 2052818"/>
                <a:gd name="connsiteX1144" fmla="*/ 2130363 w 2222569"/>
                <a:gd name="connsiteY1144" fmla="*/ 30138 h 2052818"/>
                <a:gd name="connsiteX1145" fmla="*/ 2127757 w 2222569"/>
                <a:gd name="connsiteY1145" fmla="*/ 32908 h 2052818"/>
                <a:gd name="connsiteX1146" fmla="*/ 2125150 w 2222569"/>
                <a:gd name="connsiteY1146" fmla="*/ 33233 h 2052818"/>
                <a:gd name="connsiteX1147" fmla="*/ 2126616 w 2222569"/>
                <a:gd name="connsiteY1147" fmla="*/ 37143 h 2052818"/>
                <a:gd name="connsiteX1148" fmla="*/ 2122869 w 2222569"/>
                <a:gd name="connsiteY1148" fmla="*/ 40239 h 2052818"/>
                <a:gd name="connsiteX1149" fmla="*/ 2125476 w 2222569"/>
                <a:gd name="connsiteY1149" fmla="*/ 43497 h 2052818"/>
                <a:gd name="connsiteX1150" fmla="*/ 2128571 w 2222569"/>
                <a:gd name="connsiteY1150" fmla="*/ 40890 h 2052818"/>
                <a:gd name="connsiteX1151" fmla="*/ 2133295 w 2222569"/>
                <a:gd name="connsiteY1151" fmla="*/ 38609 h 2052818"/>
                <a:gd name="connsiteX1152" fmla="*/ 2134273 w 2222569"/>
                <a:gd name="connsiteY1152" fmla="*/ 44148 h 2052818"/>
                <a:gd name="connsiteX1153" fmla="*/ 2137368 w 2222569"/>
                <a:gd name="connsiteY1153" fmla="*/ 45452 h 2052818"/>
                <a:gd name="connsiteX1154" fmla="*/ 2140300 w 2222569"/>
                <a:gd name="connsiteY1154" fmla="*/ 41216 h 2052818"/>
                <a:gd name="connsiteX1155" fmla="*/ 2148120 w 2222569"/>
                <a:gd name="connsiteY1155" fmla="*/ 40076 h 2052818"/>
                <a:gd name="connsiteX1156" fmla="*/ 2148446 w 2222569"/>
                <a:gd name="connsiteY1156" fmla="*/ 43985 h 2052818"/>
                <a:gd name="connsiteX1157" fmla="*/ 2145676 w 2222569"/>
                <a:gd name="connsiteY1157" fmla="*/ 47081 h 2052818"/>
                <a:gd name="connsiteX1158" fmla="*/ 2146817 w 2222569"/>
                <a:gd name="connsiteY1158" fmla="*/ 50991 h 2052818"/>
                <a:gd name="connsiteX1159" fmla="*/ 2150238 w 2222569"/>
                <a:gd name="connsiteY1159" fmla="*/ 51968 h 2052818"/>
                <a:gd name="connsiteX1160" fmla="*/ 2152193 w 2222569"/>
                <a:gd name="connsiteY1160" fmla="*/ 49524 h 2052818"/>
                <a:gd name="connsiteX1161" fmla="*/ 2156591 w 2222569"/>
                <a:gd name="connsiteY1161" fmla="*/ 46592 h 2052818"/>
                <a:gd name="connsiteX1162" fmla="*/ 2158872 w 2222569"/>
                <a:gd name="connsiteY1162" fmla="*/ 46592 h 2052818"/>
                <a:gd name="connsiteX1163" fmla="*/ 2160664 w 2222569"/>
                <a:gd name="connsiteY1163" fmla="*/ 50665 h 2052818"/>
                <a:gd name="connsiteX1164" fmla="*/ 2169461 w 2222569"/>
                <a:gd name="connsiteY1164" fmla="*/ 56041 h 2052818"/>
                <a:gd name="connsiteX1165" fmla="*/ 2174511 w 2222569"/>
                <a:gd name="connsiteY1165" fmla="*/ 56041 h 2052818"/>
                <a:gd name="connsiteX1166" fmla="*/ 2175978 w 2222569"/>
                <a:gd name="connsiteY1166" fmla="*/ 58321 h 2052818"/>
                <a:gd name="connsiteX1167" fmla="*/ 2173534 w 2222569"/>
                <a:gd name="connsiteY1167" fmla="*/ 61254 h 2052818"/>
                <a:gd name="connsiteX1168" fmla="*/ 2163922 w 2222569"/>
                <a:gd name="connsiteY1168" fmla="*/ 65327 h 2052818"/>
                <a:gd name="connsiteX1169" fmla="*/ 2159035 w 2222569"/>
                <a:gd name="connsiteY1169" fmla="*/ 71680 h 2052818"/>
                <a:gd name="connsiteX1170" fmla="*/ 2153170 w 2222569"/>
                <a:gd name="connsiteY1170" fmla="*/ 72495 h 2052818"/>
                <a:gd name="connsiteX1171" fmla="*/ 2146002 w 2222569"/>
                <a:gd name="connsiteY1171" fmla="*/ 76241 h 2052818"/>
                <a:gd name="connsiteX1172" fmla="*/ 2142092 w 2222569"/>
                <a:gd name="connsiteY1172" fmla="*/ 76241 h 2052818"/>
                <a:gd name="connsiteX1173" fmla="*/ 2138183 w 2222569"/>
                <a:gd name="connsiteY1173" fmla="*/ 74612 h 2052818"/>
                <a:gd name="connsiteX1174" fmla="*/ 2135902 w 2222569"/>
                <a:gd name="connsiteY1174" fmla="*/ 77545 h 2052818"/>
                <a:gd name="connsiteX1175" fmla="*/ 2128571 w 2222569"/>
                <a:gd name="connsiteY1175" fmla="*/ 79663 h 2052818"/>
                <a:gd name="connsiteX1176" fmla="*/ 2139323 w 2222569"/>
                <a:gd name="connsiteY1176" fmla="*/ 79174 h 2052818"/>
                <a:gd name="connsiteX1177" fmla="*/ 2149260 w 2222569"/>
                <a:gd name="connsiteY1177" fmla="*/ 80477 h 2052818"/>
                <a:gd name="connsiteX1178" fmla="*/ 2153008 w 2222569"/>
                <a:gd name="connsiteY1178" fmla="*/ 82595 h 2052818"/>
                <a:gd name="connsiteX1179" fmla="*/ 2156754 w 2222569"/>
                <a:gd name="connsiteY1179" fmla="*/ 82595 h 2052818"/>
                <a:gd name="connsiteX1180" fmla="*/ 2159687 w 2222569"/>
                <a:gd name="connsiteY1180" fmla="*/ 78033 h 2052818"/>
                <a:gd name="connsiteX1181" fmla="*/ 2162130 w 2222569"/>
                <a:gd name="connsiteY1181" fmla="*/ 76241 h 2052818"/>
                <a:gd name="connsiteX1182" fmla="*/ 2167343 w 2222569"/>
                <a:gd name="connsiteY1182" fmla="*/ 76241 h 2052818"/>
                <a:gd name="connsiteX1183" fmla="*/ 2170113 w 2222569"/>
                <a:gd name="connsiteY1183" fmla="*/ 71517 h 2052818"/>
                <a:gd name="connsiteX1184" fmla="*/ 2177281 w 2222569"/>
                <a:gd name="connsiteY1184" fmla="*/ 67770 h 2052818"/>
                <a:gd name="connsiteX1185" fmla="*/ 2183146 w 2222569"/>
                <a:gd name="connsiteY1185" fmla="*/ 67444 h 2052818"/>
                <a:gd name="connsiteX1186" fmla="*/ 2184286 w 2222569"/>
                <a:gd name="connsiteY1186" fmla="*/ 71191 h 2052818"/>
                <a:gd name="connsiteX1187" fmla="*/ 2181679 w 2222569"/>
                <a:gd name="connsiteY1187" fmla="*/ 76730 h 2052818"/>
                <a:gd name="connsiteX1188" fmla="*/ 2183634 w 2222569"/>
                <a:gd name="connsiteY1188" fmla="*/ 79337 h 2052818"/>
                <a:gd name="connsiteX1189" fmla="*/ 2186078 w 2222569"/>
                <a:gd name="connsiteY1189" fmla="*/ 78033 h 2052818"/>
                <a:gd name="connsiteX1190" fmla="*/ 2188684 w 2222569"/>
                <a:gd name="connsiteY1190" fmla="*/ 72495 h 2052818"/>
                <a:gd name="connsiteX1191" fmla="*/ 2193898 w 2222569"/>
                <a:gd name="connsiteY1191" fmla="*/ 68748 h 2052818"/>
                <a:gd name="connsiteX1192" fmla="*/ 2195852 w 2222569"/>
                <a:gd name="connsiteY1192" fmla="*/ 70865 h 2052818"/>
                <a:gd name="connsiteX1193" fmla="*/ 2193409 w 2222569"/>
                <a:gd name="connsiteY1193" fmla="*/ 75264 h 2052818"/>
                <a:gd name="connsiteX1194" fmla="*/ 2193409 w 2222569"/>
                <a:gd name="connsiteY1194" fmla="*/ 78033 h 2052818"/>
                <a:gd name="connsiteX1195" fmla="*/ 2190802 w 2222569"/>
                <a:gd name="connsiteY1195" fmla="*/ 81455 h 2052818"/>
                <a:gd name="connsiteX1196" fmla="*/ 2192757 w 2222569"/>
                <a:gd name="connsiteY1196" fmla="*/ 83898 h 2052818"/>
                <a:gd name="connsiteX1197" fmla="*/ 2196504 w 2222569"/>
                <a:gd name="connsiteY1197" fmla="*/ 82432 h 2052818"/>
                <a:gd name="connsiteX1198" fmla="*/ 2199111 w 2222569"/>
                <a:gd name="connsiteY1198" fmla="*/ 79988 h 2052818"/>
                <a:gd name="connsiteX1199" fmla="*/ 2199925 w 2222569"/>
                <a:gd name="connsiteY1199" fmla="*/ 75590 h 2052818"/>
                <a:gd name="connsiteX1200" fmla="*/ 2205627 w 2222569"/>
                <a:gd name="connsiteY1200" fmla="*/ 74287 h 2052818"/>
                <a:gd name="connsiteX1201" fmla="*/ 2209863 w 2222569"/>
                <a:gd name="connsiteY1201" fmla="*/ 75590 h 2052818"/>
                <a:gd name="connsiteX1202" fmla="*/ 2206930 w 2222569"/>
                <a:gd name="connsiteY1202" fmla="*/ 86179 h 2052818"/>
                <a:gd name="connsiteX1203" fmla="*/ 2203509 w 2222569"/>
                <a:gd name="connsiteY1203" fmla="*/ 88134 h 2052818"/>
                <a:gd name="connsiteX1204" fmla="*/ 2205790 w 2222569"/>
                <a:gd name="connsiteY1204" fmla="*/ 89437 h 2052818"/>
                <a:gd name="connsiteX1205" fmla="*/ 2207582 w 2222569"/>
                <a:gd name="connsiteY1205" fmla="*/ 94813 h 2052818"/>
                <a:gd name="connsiteX1206" fmla="*/ 2206605 w 2222569"/>
                <a:gd name="connsiteY1206" fmla="*/ 101655 h 2052818"/>
                <a:gd name="connsiteX1207" fmla="*/ 2202369 w 2222569"/>
                <a:gd name="connsiteY1207" fmla="*/ 104588 h 2052818"/>
                <a:gd name="connsiteX1208" fmla="*/ 2201066 w 2222569"/>
                <a:gd name="connsiteY1208" fmla="*/ 108335 h 2052818"/>
                <a:gd name="connsiteX1209" fmla="*/ 2195201 w 2222569"/>
                <a:gd name="connsiteY1209" fmla="*/ 116480 h 2052818"/>
                <a:gd name="connsiteX1210" fmla="*/ 2197156 w 2222569"/>
                <a:gd name="connsiteY1210" fmla="*/ 118272 h 2052818"/>
                <a:gd name="connsiteX1211" fmla="*/ 2200577 w 2222569"/>
                <a:gd name="connsiteY1211" fmla="*/ 116806 h 2052818"/>
                <a:gd name="connsiteX1212" fmla="*/ 2203672 w 2222569"/>
                <a:gd name="connsiteY1212" fmla="*/ 111756 h 2052818"/>
                <a:gd name="connsiteX1213" fmla="*/ 2208234 w 2222569"/>
                <a:gd name="connsiteY1213" fmla="*/ 111430 h 2052818"/>
                <a:gd name="connsiteX1214" fmla="*/ 2209374 w 2222569"/>
                <a:gd name="connsiteY1214" fmla="*/ 110289 h 2052818"/>
                <a:gd name="connsiteX1215" fmla="*/ 2212958 w 2222569"/>
                <a:gd name="connsiteY1215" fmla="*/ 110289 h 2052818"/>
                <a:gd name="connsiteX1216" fmla="*/ 2219311 w 2222569"/>
                <a:gd name="connsiteY1216" fmla="*/ 114199 h 2052818"/>
                <a:gd name="connsiteX1217" fmla="*/ 2221755 w 2222569"/>
                <a:gd name="connsiteY1217" fmla="*/ 120064 h 2052818"/>
                <a:gd name="connsiteX1218" fmla="*/ 2222570 w 2222569"/>
                <a:gd name="connsiteY1218" fmla="*/ 127884 h 2052818"/>
                <a:gd name="connsiteX1219" fmla="*/ 2220615 w 2222569"/>
                <a:gd name="connsiteY1219" fmla="*/ 139776 h 2052818"/>
                <a:gd name="connsiteX1220" fmla="*/ 2214587 w 2222569"/>
                <a:gd name="connsiteY1220" fmla="*/ 151180 h 2052818"/>
                <a:gd name="connsiteX1221" fmla="*/ 2204975 w 2222569"/>
                <a:gd name="connsiteY1221" fmla="*/ 156393 h 2052818"/>
                <a:gd name="connsiteX1222" fmla="*/ 2202695 w 2222569"/>
                <a:gd name="connsiteY1222" fmla="*/ 158836 h 2052818"/>
                <a:gd name="connsiteX1223" fmla="*/ 2197644 w 2222569"/>
                <a:gd name="connsiteY1223" fmla="*/ 157696 h 2052818"/>
                <a:gd name="connsiteX1224" fmla="*/ 2193083 w 2222569"/>
                <a:gd name="connsiteY1224" fmla="*/ 159325 h 2052818"/>
                <a:gd name="connsiteX1225" fmla="*/ 2193083 w 2222569"/>
                <a:gd name="connsiteY1225" fmla="*/ 161932 h 2052818"/>
                <a:gd name="connsiteX1226" fmla="*/ 2189988 w 2222569"/>
                <a:gd name="connsiteY1226" fmla="*/ 164701 h 2052818"/>
                <a:gd name="connsiteX1227" fmla="*/ 2174511 w 2222569"/>
                <a:gd name="connsiteY1227" fmla="*/ 172195 h 2052818"/>
                <a:gd name="connsiteX1228" fmla="*/ 2168809 w 2222569"/>
                <a:gd name="connsiteY1228" fmla="*/ 176431 h 2052818"/>
                <a:gd name="connsiteX1229" fmla="*/ 2163759 w 2222569"/>
                <a:gd name="connsiteY1229" fmla="*/ 177571 h 2052818"/>
                <a:gd name="connsiteX1230" fmla="*/ 2156754 w 2222569"/>
                <a:gd name="connsiteY1230" fmla="*/ 180340 h 2052818"/>
                <a:gd name="connsiteX1231" fmla="*/ 2149424 w 2222569"/>
                <a:gd name="connsiteY1231" fmla="*/ 180340 h 2052818"/>
                <a:gd name="connsiteX1232" fmla="*/ 2145839 w 2222569"/>
                <a:gd name="connsiteY1232" fmla="*/ 176919 h 2052818"/>
                <a:gd name="connsiteX1233" fmla="*/ 2143396 w 2222569"/>
                <a:gd name="connsiteY1233" fmla="*/ 181970 h 2052818"/>
                <a:gd name="connsiteX1234" fmla="*/ 2140789 w 2222569"/>
                <a:gd name="connsiteY1234" fmla="*/ 183436 h 2052818"/>
                <a:gd name="connsiteX1235" fmla="*/ 2134925 w 2222569"/>
                <a:gd name="connsiteY1235" fmla="*/ 179200 h 2052818"/>
                <a:gd name="connsiteX1236" fmla="*/ 2129223 w 2222569"/>
                <a:gd name="connsiteY1236" fmla="*/ 176431 h 2052818"/>
                <a:gd name="connsiteX1237" fmla="*/ 2121240 w 2222569"/>
                <a:gd name="connsiteY1237" fmla="*/ 174964 h 2052818"/>
                <a:gd name="connsiteX1238" fmla="*/ 2121240 w 2222569"/>
                <a:gd name="connsiteY1238" fmla="*/ 178548 h 2052818"/>
                <a:gd name="connsiteX1239" fmla="*/ 2127268 w 2222569"/>
                <a:gd name="connsiteY1239" fmla="*/ 179689 h 2052818"/>
                <a:gd name="connsiteX1240" fmla="*/ 2130526 w 2222569"/>
                <a:gd name="connsiteY1240" fmla="*/ 181481 h 2052818"/>
                <a:gd name="connsiteX1241" fmla="*/ 2126616 w 2222569"/>
                <a:gd name="connsiteY1241" fmla="*/ 183762 h 2052818"/>
                <a:gd name="connsiteX1242" fmla="*/ 2119937 w 2222569"/>
                <a:gd name="connsiteY1242" fmla="*/ 182132 h 2052818"/>
                <a:gd name="connsiteX1243" fmla="*/ 2116353 w 2222569"/>
                <a:gd name="connsiteY1243" fmla="*/ 182621 h 2052818"/>
                <a:gd name="connsiteX1244" fmla="*/ 2113095 w 2222569"/>
                <a:gd name="connsiteY1244" fmla="*/ 180015 h 2052818"/>
                <a:gd name="connsiteX1245" fmla="*/ 2103809 w 2222569"/>
                <a:gd name="connsiteY1245" fmla="*/ 179526 h 2052818"/>
                <a:gd name="connsiteX1246" fmla="*/ 2100876 w 2222569"/>
                <a:gd name="connsiteY1246" fmla="*/ 176594 h 2052818"/>
                <a:gd name="connsiteX1247" fmla="*/ 2097944 w 2222569"/>
                <a:gd name="connsiteY1247" fmla="*/ 178223 h 2052818"/>
                <a:gd name="connsiteX1248" fmla="*/ 2095175 w 2222569"/>
                <a:gd name="connsiteY1248" fmla="*/ 178223 h 2052818"/>
                <a:gd name="connsiteX1249" fmla="*/ 2087518 w 2222569"/>
                <a:gd name="connsiteY1249" fmla="*/ 169100 h 2052818"/>
                <a:gd name="connsiteX1250" fmla="*/ 2082305 w 2222569"/>
                <a:gd name="connsiteY1250" fmla="*/ 163724 h 2052818"/>
                <a:gd name="connsiteX1251" fmla="*/ 2083445 w 2222569"/>
                <a:gd name="connsiteY1251" fmla="*/ 169426 h 2052818"/>
                <a:gd name="connsiteX1252" fmla="*/ 2088821 w 2222569"/>
                <a:gd name="connsiteY1252" fmla="*/ 174802 h 2052818"/>
                <a:gd name="connsiteX1253" fmla="*/ 2089799 w 2222569"/>
                <a:gd name="connsiteY1253" fmla="*/ 177897 h 2052818"/>
                <a:gd name="connsiteX1254" fmla="*/ 2085237 w 2222569"/>
                <a:gd name="connsiteY1254" fmla="*/ 178223 h 2052818"/>
                <a:gd name="connsiteX1255" fmla="*/ 2078069 w 2222569"/>
                <a:gd name="connsiteY1255" fmla="*/ 175453 h 2052818"/>
                <a:gd name="connsiteX1256" fmla="*/ 2080839 w 2222569"/>
                <a:gd name="connsiteY1256" fmla="*/ 179689 h 2052818"/>
                <a:gd name="connsiteX1257" fmla="*/ 2097455 w 2222569"/>
                <a:gd name="connsiteY1257" fmla="*/ 182132 h 2052818"/>
                <a:gd name="connsiteX1258" fmla="*/ 2107393 w 2222569"/>
                <a:gd name="connsiteY1258" fmla="*/ 184250 h 2052818"/>
                <a:gd name="connsiteX1259" fmla="*/ 2110325 w 2222569"/>
                <a:gd name="connsiteY1259" fmla="*/ 187183 h 2052818"/>
                <a:gd name="connsiteX1260" fmla="*/ 2107067 w 2222569"/>
                <a:gd name="connsiteY1260" fmla="*/ 190278 h 2052818"/>
                <a:gd name="connsiteX1261" fmla="*/ 2084423 w 2222569"/>
                <a:gd name="connsiteY1261" fmla="*/ 199238 h 2052818"/>
                <a:gd name="connsiteX1262" fmla="*/ 2070250 w 2222569"/>
                <a:gd name="connsiteY1262" fmla="*/ 201519 h 2052818"/>
                <a:gd name="connsiteX1263" fmla="*/ 2064385 w 2222569"/>
                <a:gd name="connsiteY1263" fmla="*/ 201519 h 2052818"/>
                <a:gd name="connsiteX1264" fmla="*/ 2056565 w 2222569"/>
                <a:gd name="connsiteY1264" fmla="*/ 203311 h 2052818"/>
                <a:gd name="connsiteX1265" fmla="*/ 2050049 w 2222569"/>
                <a:gd name="connsiteY1265" fmla="*/ 202333 h 2052818"/>
                <a:gd name="connsiteX1266" fmla="*/ 2049071 w 2222569"/>
                <a:gd name="connsiteY1266" fmla="*/ 199075 h 2052818"/>
                <a:gd name="connsiteX1267" fmla="*/ 2044184 w 2222569"/>
                <a:gd name="connsiteY1267" fmla="*/ 201030 h 2052818"/>
                <a:gd name="connsiteX1268" fmla="*/ 2040437 w 2222569"/>
                <a:gd name="connsiteY1268" fmla="*/ 199890 h 2052818"/>
                <a:gd name="connsiteX1269" fmla="*/ 2035387 w 2222569"/>
                <a:gd name="connsiteY1269" fmla="*/ 200867 h 2052818"/>
                <a:gd name="connsiteX1270" fmla="*/ 2032780 w 2222569"/>
                <a:gd name="connsiteY1270" fmla="*/ 205591 h 2052818"/>
                <a:gd name="connsiteX1271" fmla="*/ 2037831 w 2222569"/>
                <a:gd name="connsiteY1271" fmla="*/ 205103 h 2052818"/>
                <a:gd name="connsiteX1272" fmla="*/ 2038808 w 2222569"/>
                <a:gd name="connsiteY1272" fmla="*/ 209827 h 2052818"/>
                <a:gd name="connsiteX1273" fmla="*/ 2045976 w 2222569"/>
                <a:gd name="connsiteY1273" fmla="*/ 205754 h 2052818"/>
                <a:gd name="connsiteX1274" fmla="*/ 2060149 w 2222569"/>
                <a:gd name="connsiteY1274" fmla="*/ 205754 h 2052818"/>
                <a:gd name="connsiteX1275" fmla="*/ 2066666 w 2222569"/>
                <a:gd name="connsiteY1275" fmla="*/ 206895 h 2052818"/>
                <a:gd name="connsiteX1276" fmla="*/ 2085726 w 2222569"/>
                <a:gd name="connsiteY1276" fmla="*/ 205428 h 2052818"/>
                <a:gd name="connsiteX1277" fmla="*/ 2098596 w 2222569"/>
                <a:gd name="connsiteY1277" fmla="*/ 203311 h 2052818"/>
                <a:gd name="connsiteX1278" fmla="*/ 2106741 w 2222569"/>
                <a:gd name="connsiteY1278" fmla="*/ 195165 h 2052818"/>
                <a:gd name="connsiteX1279" fmla="*/ 2112280 w 2222569"/>
                <a:gd name="connsiteY1279" fmla="*/ 195165 h 2052818"/>
                <a:gd name="connsiteX1280" fmla="*/ 2116353 w 2222569"/>
                <a:gd name="connsiteY1280" fmla="*/ 196468 h 2052818"/>
                <a:gd name="connsiteX1281" fmla="*/ 2122218 w 2222569"/>
                <a:gd name="connsiteY1281" fmla="*/ 195328 h 2052818"/>
                <a:gd name="connsiteX1282" fmla="*/ 2130363 w 2222569"/>
                <a:gd name="connsiteY1282" fmla="*/ 195328 h 2052818"/>
                <a:gd name="connsiteX1283" fmla="*/ 2127105 w 2222569"/>
                <a:gd name="connsiteY1283" fmla="*/ 202496 h 2052818"/>
                <a:gd name="connsiteX1284" fmla="*/ 2123358 w 2222569"/>
                <a:gd name="connsiteY1284" fmla="*/ 209827 h 2052818"/>
                <a:gd name="connsiteX1285" fmla="*/ 2114561 w 2222569"/>
                <a:gd name="connsiteY1285" fmla="*/ 214226 h 2052818"/>
                <a:gd name="connsiteX1286" fmla="*/ 2111954 w 2222569"/>
                <a:gd name="connsiteY1286" fmla="*/ 216343 h 2052818"/>
                <a:gd name="connsiteX1287" fmla="*/ 2102017 w 2222569"/>
                <a:gd name="connsiteY1287" fmla="*/ 218135 h 2052818"/>
                <a:gd name="connsiteX1288" fmla="*/ 2098107 w 2222569"/>
                <a:gd name="connsiteY1288" fmla="*/ 223511 h 2052818"/>
                <a:gd name="connsiteX1289" fmla="*/ 2094360 w 2222569"/>
                <a:gd name="connsiteY1289" fmla="*/ 224000 h 2052818"/>
                <a:gd name="connsiteX1290" fmla="*/ 2088495 w 2222569"/>
                <a:gd name="connsiteY1290" fmla="*/ 229702 h 2052818"/>
                <a:gd name="connsiteX1291" fmla="*/ 2080676 w 2222569"/>
                <a:gd name="connsiteY1291" fmla="*/ 233286 h 2052818"/>
                <a:gd name="connsiteX1292" fmla="*/ 2075463 w 2222569"/>
                <a:gd name="connsiteY1292" fmla="*/ 233775 h 2052818"/>
                <a:gd name="connsiteX1293" fmla="*/ 2071879 w 2222569"/>
                <a:gd name="connsiteY1293" fmla="*/ 235241 h 2052818"/>
                <a:gd name="connsiteX1294" fmla="*/ 2066340 w 2222569"/>
                <a:gd name="connsiteY1294" fmla="*/ 234263 h 2052818"/>
                <a:gd name="connsiteX1295" fmla="*/ 2061290 w 2222569"/>
                <a:gd name="connsiteY1295" fmla="*/ 238825 h 2052818"/>
                <a:gd name="connsiteX1296" fmla="*/ 2051841 w 2222569"/>
                <a:gd name="connsiteY1296" fmla="*/ 240780 h 2052818"/>
                <a:gd name="connsiteX1297" fmla="*/ 2048745 w 2222569"/>
                <a:gd name="connsiteY1297" fmla="*/ 245993 h 2052818"/>
                <a:gd name="connsiteX1298" fmla="*/ 2038482 w 2222569"/>
                <a:gd name="connsiteY1298" fmla="*/ 247785 h 2052818"/>
                <a:gd name="connsiteX1299" fmla="*/ 2034084 w 2222569"/>
                <a:gd name="connsiteY1299" fmla="*/ 250228 h 2052818"/>
                <a:gd name="connsiteX1300" fmla="*/ 2030337 w 2222569"/>
                <a:gd name="connsiteY1300" fmla="*/ 249088 h 2052818"/>
                <a:gd name="connsiteX1301" fmla="*/ 2025938 w 2222569"/>
                <a:gd name="connsiteY1301" fmla="*/ 252998 h 2052818"/>
                <a:gd name="connsiteX1302" fmla="*/ 2021702 w 2222569"/>
                <a:gd name="connsiteY1302" fmla="*/ 252672 h 2052818"/>
                <a:gd name="connsiteX1303" fmla="*/ 2019910 w 2222569"/>
                <a:gd name="connsiteY1303" fmla="*/ 254627 h 2052818"/>
                <a:gd name="connsiteX1304" fmla="*/ 2019910 w 2222569"/>
                <a:gd name="connsiteY1304" fmla="*/ 260329 h 2052818"/>
                <a:gd name="connsiteX1305" fmla="*/ 2015023 w 2222569"/>
                <a:gd name="connsiteY1305" fmla="*/ 264239 h 2052818"/>
                <a:gd name="connsiteX1306" fmla="*/ 2011928 w 2222569"/>
                <a:gd name="connsiteY1306" fmla="*/ 268637 h 2052818"/>
                <a:gd name="connsiteX1307" fmla="*/ 1999873 w 2222569"/>
                <a:gd name="connsiteY1307" fmla="*/ 268637 h 2052818"/>
                <a:gd name="connsiteX1308" fmla="*/ 1996452 w 2222569"/>
                <a:gd name="connsiteY1308" fmla="*/ 271407 h 2052818"/>
                <a:gd name="connsiteX1309" fmla="*/ 1992542 w 2222569"/>
                <a:gd name="connsiteY1309" fmla="*/ 270103 h 2052818"/>
                <a:gd name="connsiteX1310" fmla="*/ 1991564 w 2222569"/>
                <a:gd name="connsiteY1310" fmla="*/ 267171 h 2052818"/>
                <a:gd name="connsiteX1311" fmla="*/ 1993845 w 2222569"/>
                <a:gd name="connsiteY1311" fmla="*/ 263913 h 2052818"/>
                <a:gd name="connsiteX1312" fmla="*/ 1993845 w 2222569"/>
                <a:gd name="connsiteY1312" fmla="*/ 259514 h 2052818"/>
                <a:gd name="connsiteX1313" fmla="*/ 1990424 w 2222569"/>
                <a:gd name="connsiteY1313" fmla="*/ 256582 h 2052818"/>
                <a:gd name="connsiteX1314" fmla="*/ 1991401 w 2222569"/>
                <a:gd name="connsiteY1314" fmla="*/ 263587 h 2052818"/>
                <a:gd name="connsiteX1315" fmla="*/ 1988958 w 2222569"/>
                <a:gd name="connsiteY1315" fmla="*/ 266194 h 2052818"/>
                <a:gd name="connsiteX1316" fmla="*/ 1987329 w 2222569"/>
                <a:gd name="connsiteY1316" fmla="*/ 269940 h 2052818"/>
                <a:gd name="connsiteX1317" fmla="*/ 1993193 w 2222569"/>
                <a:gd name="connsiteY1317" fmla="*/ 273687 h 2052818"/>
                <a:gd name="connsiteX1318" fmla="*/ 1994334 w 2222569"/>
                <a:gd name="connsiteY1318" fmla="*/ 277434 h 2052818"/>
                <a:gd name="connsiteX1319" fmla="*/ 1989284 w 2222569"/>
                <a:gd name="connsiteY1319" fmla="*/ 282810 h 2052818"/>
                <a:gd name="connsiteX1320" fmla="*/ 1987003 w 2222569"/>
                <a:gd name="connsiteY1320" fmla="*/ 283136 h 2052818"/>
                <a:gd name="connsiteX1321" fmla="*/ 1981790 w 2222569"/>
                <a:gd name="connsiteY1321" fmla="*/ 279389 h 2052818"/>
                <a:gd name="connsiteX1322" fmla="*/ 1978532 w 2222569"/>
                <a:gd name="connsiteY1322" fmla="*/ 281344 h 2052818"/>
                <a:gd name="connsiteX1323" fmla="*/ 1969735 w 2222569"/>
                <a:gd name="connsiteY1323" fmla="*/ 278249 h 2052818"/>
                <a:gd name="connsiteX1324" fmla="*/ 1966802 w 2222569"/>
                <a:gd name="connsiteY1324" fmla="*/ 280204 h 2052818"/>
                <a:gd name="connsiteX1325" fmla="*/ 1963544 w 2222569"/>
                <a:gd name="connsiteY1325" fmla="*/ 280530 h 2052818"/>
                <a:gd name="connsiteX1326" fmla="*/ 1963055 w 2222569"/>
                <a:gd name="connsiteY1326" fmla="*/ 276131 h 2052818"/>
                <a:gd name="connsiteX1327" fmla="*/ 1960937 w 2222569"/>
                <a:gd name="connsiteY1327" fmla="*/ 274502 h 2052818"/>
                <a:gd name="connsiteX1328" fmla="*/ 1958983 w 2222569"/>
                <a:gd name="connsiteY1328" fmla="*/ 279063 h 2052818"/>
                <a:gd name="connsiteX1329" fmla="*/ 1954584 w 2222569"/>
                <a:gd name="connsiteY1329" fmla="*/ 279389 h 2052818"/>
                <a:gd name="connsiteX1330" fmla="*/ 1953607 w 2222569"/>
                <a:gd name="connsiteY1330" fmla="*/ 282322 h 2052818"/>
                <a:gd name="connsiteX1331" fmla="*/ 1963544 w 2222569"/>
                <a:gd name="connsiteY1331" fmla="*/ 284276 h 2052818"/>
                <a:gd name="connsiteX1332" fmla="*/ 1976902 w 2222569"/>
                <a:gd name="connsiteY1332" fmla="*/ 284602 h 2052818"/>
                <a:gd name="connsiteX1333" fmla="*/ 1979998 w 2222569"/>
                <a:gd name="connsiteY1333" fmla="*/ 288675 h 2052818"/>
                <a:gd name="connsiteX1334" fmla="*/ 1979020 w 2222569"/>
                <a:gd name="connsiteY1334" fmla="*/ 293074 h 2052818"/>
                <a:gd name="connsiteX1335" fmla="*/ 1973807 w 2222569"/>
                <a:gd name="connsiteY1335" fmla="*/ 296169 h 2052818"/>
                <a:gd name="connsiteX1336" fmla="*/ 1967291 w 2222569"/>
                <a:gd name="connsiteY1336" fmla="*/ 295028 h 2052818"/>
                <a:gd name="connsiteX1337" fmla="*/ 1960449 w 2222569"/>
                <a:gd name="connsiteY1337" fmla="*/ 296658 h 2052818"/>
                <a:gd name="connsiteX1338" fmla="*/ 1958657 w 2222569"/>
                <a:gd name="connsiteY1338" fmla="*/ 298612 h 2052818"/>
                <a:gd name="connsiteX1339" fmla="*/ 1961100 w 2222569"/>
                <a:gd name="connsiteY1339" fmla="*/ 300567 h 2052818"/>
                <a:gd name="connsiteX1340" fmla="*/ 1963544 w 2222569"/>
                <a:gd name="connsiteY1340" fmla="*/ 299264 h 2052818"/>
                <a:gd name="connsiteX1341" fmla="*/ 1967128 w 2222569"/>
                <a:gd name="connsiteY1341" fmla="*/ 301382 h 2052818"/>
                <a:gd name="connsiteX1342" fmla="*/ 1966476 w 2222569"/>
                <a:gd name="connsiteY1342" fmla="*/ 305455 h 2052818"/>
                <a:gd name="connsiteX1343" fmla="*/ 1958331 w 2222569"/>
                <a:gd name="connsiteY1343" fmla="*/ 313437 h 2052818"/>
                <a:gd name="connsiteX1344" fmla="*/ 1951326 w 2222569"/>
                <a:gd name="connsiteY1344" fmla="*/ 312948 h 2052818"/>
                <a:gd name="connsiteX1345" fmla="*/ 1938619 w 2222569"/>
                <a:gd name="connsiteY1345" fmla="*/ 312623 h 2052818"/>
                <a:gd name="connsiteX1346" fmla="*/ 1936827 w 2222569"/>
                <a:gd name="connsiteY1346" fmla="*/ 310016 h 2052818"/>
                <a:gd name="connsiteX1347" fmla="*/ 1931614 w 2222569"/>
                <a:gd name="connsiteY1347" fmla="*/ 309364 h 2052818"/>
                <a:gd name="connsiteX1348" fmla="*/ 1929985 w 2222569"/>
                <a:gd name="connsiteY1348" fmla="*/ 306758 h 2052818"/>
                <a:gd name="connsiteX1349" fmla="*/ 1929333 w 2222569"/>
                <a:gd name="connsiteY1349" fmla="*/ 298287 h 2052818"/>
                <a:gd name="connsiteX1350" fmla="*/ 1922165 w 2222569"/>
                <a:gd name="connsiteY1350" fmla="*/ 296983 h 2052818"/>
                <a:gd name="connsiteX1351" fmla="*/ 1919884 w 2222569"/>
                <a:gd name="connsiteY1351" fmla="*/ 294540 h 2052818"/>
                <a:gd name="connsiteX1352" fmla="*/ 1920210 w 2222569"/>
                <a:gd name="connsiteY1352" fmla="*/ 289978 h 2052818"/>
                <a:gd name="connsiteX1353" fmla="*/ 1916952 w 2222569"/>
                <a:gd name="connsiteY1353" fmla="*/ 287046 h 2052818"/>
                <a:gd name="connsiteX1354" fmla="*/ 1914020 w 2222569"/>
                <a:gd name="connsiteY1354" fmla="*/ 288512 h 2052818"/>
                <a:gd name="connsiteX1355" fmla="*/ 1910436 w 2222569"/>
                <a:gd name="connsiteY1355" fmla="*/ 287209 h 2052818"/>
                <a:gd name="connsiteX1356" fmla="*/ 1902290 w 2222569"/>
                <a:gd name="connsiteY1356" fmla="*/ 288186 h 2052818"/>
                <a:gd name="connsiteX1357" fmla="*/ 1901801 w 2222569"/>
                <a:gd name="connsiteY1357" fmla="*/ 290630 h 2052818"/>
                <a:gd name="connsiteX1358" fmla="*/ 1905060 w 2222569"/>
                <a:gd name="connsiteY1358" fmla="*/ 292422 h 2052818"/>
                <a:gd name="connsiteX1359" fmla="*/ 1906689 w 2222569"/>
                <a:gd name="connsiteY1359" fmla="*/ 290956 h 2052818"/>
                <a:gd name="connsiteX1360" fmla="*/ 1910924 w 2222569"/>
                <a:gd name="connsiteY1360" fmla="*/ 291444 h 2052818"/>
                <a:gd name="connsiteX1361" fmla="*/ 1922002 w 2222569"/>
                <a:gd name="connsiteY1361" fmla="*/ 302522 h 2052818"/>
                <a:gd name="connsiteX1362" fmla="*/ 1921676 w 2222569"/>
                <a:gd name="connsiteY1362" fmla="*/ 316695 h 2052818"/>
                <a:gd name="connsiteX1363" fmla="*/ 1919884 w 2222569"/>
                <a:gd name="connsiteY1363" fmla="*/ 319139 h 2052818"/>
                <a:gd name="connsiteX1364" fmla="*/ 1914508 w 2222569"/>
                <a:gd name="connsiteY1364" fmla="*/ 318487 h 2052818"/>
                <a:gd name="connsiteX1365" fmla="*/ 1910110 w 2222569"/>
                <a:gd name="connsiteY1365" fmla="*/ 314252 h 2052818"/>
                <a:gd name="connsiteX1366" fmla="*/ 1907177 w 2222569"/>
                <a:gd name="connsiteY1366" fmla="*/ 314740 h 2052818"/>
                <a:gd name="connsiteX1367" fmla="*/ 1906852 w 2222569"/>
                <a:gd name="connsiteY1367" fmla="*/ 318813 h 2052818"/>
                <a:gd name="connsiteX1368" fmla="*/ 1904897 w 2222569"/>
                <a:gd name="connsiteY1368" fmla="*/ 320279 h 2052818"/>
                <a:gd name="connsiteX1369" fmla="*/ 1900172 w 2222569"/>
                <a:gd name="connsiteY1369" fmla="*/ 315229 h 2052818"/>
                <a:gd name="connsiteX1370" fmla="*/ 1895937 w 2222569"/>
                <a:gd name="connsiteY1370" fmla="*/ 315555 h 2052818"/>
                <a:gd name="connsiteX1371" fmla="*/ 1892516 w 2222569"/>
                <a:gd name="connsiteY1371" fmla="*/ 319628 h 2052818"/>
                <a:gd name="connsiteX1372" fmla="*/ 1890072 w 2222569"/>
                <a:gd name="connsiteY1372" fmla="*/ 319139 h 2052818"/>
                <a:gd name="connsiteX1373" fmla="*/ 1887791 w 2222569"/>
                <a:gd name="connsiteY1373" fmla="*/ 316044 h 2052818"/>
                <a:gd name="connsiteX1374" fmla="*/ 1882578 w 2222569"/>
                <a:gd name="connsiteY1374" fmla="*/ 314578 h 2052818"/>
                <a:gd name="connsiteX1375" fmla="*/ 1879320 w 2222569"/>
                <a:gd name="connsiteY1375" fmla="*/ 309202 h 2052818"/>
                <a:gd name="connsiteX1376" fmla="*/ 1876713 w 2222569"/>
                <a:gd name="connsiteY1376" fmla="*/ 310994 h 2052818"/>
                <a:gd name="connsiteX1377" fmla="*/ 1875410 w 2222569"/>
                <a:gd name="connsiteY1377" fmla="*/ 305455 h 2052818"/>
                <a:gd name="connsiteX1378" fmla="*/ 1872641 w 2222569"/>
                <a:gd name="connsiteY1378" fmla="*/ 303826 h 2052818"/>
                <a:gd name="connsiteX1379" fmla="*/ 1865147 w 2222569"/>
                <a:gd name="connsiteY1379" fmla="*/ 303011 h 2052818"/>
                <a:gd name="connsiteX1380" fmla="*/ 1862215 w 2222569"/>
                <a:gd name="connsiteY1380" fmla="*/ 298775 h 2052818"/>
                <a:gd name="connsiteX1381" fmla="*/ 1860423 w 2222569"/>
                <a:gd name="connsiteY1381" fmla="*/ 300567 h 2052818"/>
                <a:gd name="connsiteX1382" fmla="*/ 1861074 w 2222569"/>
                <a:gd name="connsiteY1382" fmla="*/ 304151 h 2052818"/>
                <a:gd name="connsiteX1383" fmla="*/ 1865799 w 2222569"/>
                <a:gd name="connsiteY1383" fmla="*/ 307247 h 2052818"/>
                <a:gd name="connsiteX1384" fmla="*/ 1872152 w 2222569"/>
                <a:gd name="connsiteY1384" fmla="*/ 308876 h 2052818"/>
                <a:gd name="connsiteX1385" fmla="*/ 1877854 w 2222569"/>
                <a:gd name="connsiteY1385" fmla="*/ 318487 h 2052818"/>
                <a:gd name="connsiteX1386" fmla="*/ 1875736 w 2222569"/>
                <a:gd name="connsiteY1386" fmla="*/ 321094 h 2052818"/>
                <a:gd name="connsiteX1387" fmla="*/ 1862052 w 2222569"/>
                <a:gd name="connsiteY1387" fmla="*/ 317999 h 2052818"/>
                <a:gd name="connsiteX1388" fmla="*/ 1858142 w 2222569"/>
                <a:gd name="connsiteY1388" fmla="*/ 314740 h 2052818"/>
                <a:gd name="connsiteX1389" fmla="*/ 1857816 w 2222569"/>
                <a:gd name="connsiteY1389" fmla="*/ 309527 h 2052818"/>
                <a:gd name="connsiteX1390" fmla="*/ 1854558 w 2222569"/>
                <a:gd name="connsiteY1390" fmla="*/ 306106 h 2052818"/>
                <a:gd name="connsiteX1391" fmla="*/ 1852766 w 2222569"/>
                <a:gd name="connsiteY1391" fmla="*/ 308550 h 2052818"/>
                <a:gd name="connsiteX1392" fmla="*/ 1853743 w 2222569"/>
                <a:gd name="connsiteY1392" fmla="*/ 310994 h 2052818"/>
                <a:gd name="connsiteX1393" fmla="*/ 1852114 w 2222569"/>
                <a:gd name="connsiteY1393" fmla="*/ 314415 h 2052818"/>
                <a:gd name="connsiteX1394" fmla="*/ 1847553 w 2222569"/>
                <a:gd name="connsiteY1394" fmla="*/ 313111 h 2052818"/>
                <a:gd name="connsiteX1395" fmla="*/ 1844946 w 2222569"/>
                <a:gd name="connsiteY1395" fmla="*/ 310179 h 2052818"/>
                <a:gd name="connsiteX1396" fmla="*/ 1840385 w 2222569"/>
                <a:gd name="connsiteY1396" fmla="*/ 311482 h 2052818"/>
                <a:gd name="connsiteX1397" fmla="*/ 1840873 w 2222569"/>
                <a:gd name="connsiteY1397" fmla="*/ 314740 h 2052818"/>
                <a:gd name="connsiteX1398" fmla="*/ 1847716 w 2222569"/>
                <a:gd name="connsiteY1398" fmla="*/ 317510 h 2052818"/>
                <a:gd name="connsiteX1399" fmla="*/ 1847390 w 2222569"/>
                <a:gd name="connsiteY1399" fmla="*/ 322071 h 2052818"/>
                <a:gd name="connsiteX1400" fmla="*/ 1850322 w 2222569"/>
                <a:gd name="connsiteY1400" fmla="*/ 322071 h 2052818"/>
                <a:gd name="connsiteX1401" fmla="*/ 1852603 w 2222569"/>
                <a:gd name="connsiteY1401" fmla="*/ 320279 h 2052818"/>
                <a:gd name="connsiteX1402" fmla="*/ 1856350 w 2222569"/>
                <a:gd name="connsiteY1402" fmla="*/ 320279 h 2052818"/>
                <a:gd name="connsiteX1403" fmla="*/ 1860260 w 2222569"/>
                <a:gd name="connsiteY1403" fmla="*/ 324026 h 2052818"/>
                <a:gd name="connsiteX1404" fmla="*/ 1865799 w 2222569"/>
                <a:gd name="connsiteY1404" fmla="*/ 325981 h 2052818"/>
                <a:gd name="connsiteX1405" fmla="*/ 1870360 w 2222569"/>
                <a:gd name="connsiteY1405" fmla="*/ 330380 h 2052818"/>
                <a:gd name="connsiteX1406" fmla="*/ 1873292 w 2222569"/>
                <a:gd name="connsiteY1406" fmla="*/ 330380 h 2052818"/>
                <a:gd name="connsiteX1407" fmla="*/ 1877365 w 2222569"/>
                <a:gd name="connsiteY1407" fmla="*/ 329076 h 2052818"/>
                <a:gd name="connsiteX1408" fmla="*/ 1891538 w 2222569"/>
                <a:gd name="connsiteY1408" fmla="*/ 332172 h 2052818"/>
                <a:gd name="connsiteX1409" fmla="*/ 1894308 w 2222569"/>
                <a:gd name="connsiteY1409" fmla="*/ 335104 h 2052818"/>
                <a:gd name="connsiteX1410" fmla="*/ 1889583 w 2222569"/>
                <a:gd name="connsiteY1410" fmla="*/ 338525 h 2052818"/>
                <a:gd name="connsiteX1411" fmla="*/ 1891212 w 2222569"/>
                <a:gd name="connsiteY1411" fmla="*/ 341132 h 2052818"/>
                <a:gd name="connsiteX1412" fmla="*/ 1890724 w 2222569"/>
                <a:gd name="connsiteY1412" fmla="*/ 345693 h 2052818"/>
                <a:gd name="connsiteX1413" fmla="*/ 1891864 w 2222569"/>
                <a:gd name="connsiteY1413" fmla="*/ 350580 h 2052818"/>
                <a:gd name="connsiteX1414" fmla="*/ 1888443 w 2222569"/>
                <a:gd name="connsiteY1414" fmla="*/ 353839 h 2052818"/>
                <a:gd name="connsiteX1415" fmla="*/ 1886325 w 2222569"/>
                <a:gd name="connsiteY1415" fmla="*/ 353350 h 2052818"/>
                <a:gd name="connsiteX1416" fmla="*/ 1883067 w 2222569"/>
                <a:gd name="connsiteY1416" fmla="*/ 350092 h 2052818"/>
                <a:gd name="connsiteX1417" fmla="*/ 1876062 w 2222569"/>
                <a:gd name="connsiteY1417" fmla="*/ 348300 h 2052818"/>
                <a:gd name="connsiteX1418" fmla="*/ 1869383 w 2222569"/>
                <a:gd name="connsiteY1418" fmla="*/ 343087 h 2052818"/>
                <a:gd name="connsiteX1419" fmla="*/ 1867753 w 2222569"/>
                <a:gd name="connsiteY1419" fmla="*/ 339828 h 2052818"/>
                <a:gd name="connsiteX1420" fmla="*/ 1868568 w 2222569"/>
                <a:gd name="connsiteY1420" fmla="*/ 333475 h 2052818"/>
                <a:gd name="connsiteX1421" fmla="*/ 1865799 w 2222569"/>
                <a:gd name="connsiteY1421" fmla="*/ 329076 h 2052818"/>
                <a:gd name="connsiteX1422" fmla="*/ 1858305 w 2222569"/>
                <a:gd name="connsiteY1422" fmla="*/ 328751 h 2052818"/>
                <a:gd name="connsiteX1423" fmla="*/ 1846901 w 2222569"/>
                <a:gd name="connsiteY1423" fmla="*/ 326959 h 2052818"/>
                <a:gd name="connsiteX1424" fmla="*/ 1842665 w 2222569"/>
                <a:gd name="connsiteY1424" fmla="*/ 323863 h 2052818"/>
                <a:gd name="connsiteX1425" fmla="*/ 1837941 w 2222569"/>
                <a:gd name="connsiteY1425" fmla="*/ 324515 h 2052818"/>
                <a:gd name="connsiteX1426" fmla="*/ 1837127 w 2222569"/>
                <a:gd name="connsiteY1426" fmla="*/ 326796 h 2052818"/>
                <a:gd name="connsiteX1427" fmla="*/ 1843643 w 2222569"/>
                <a:gd name="connsiteY1427" fmla="*/ 329402 h 2052818"/>
                <a:gd name="connsiteX1428" fmla="*/ 1853743 w 2222569"/>
                <a:gd name="connsiteY1428" fmla="*/ 330217 h 2052818"/>
                <a:gd name="connsiteX1429" fmla="*/ 1864332 w 2222569"/>
                <a:gd name="connsiteY1429" fmla="*/ 334127 h 2052818"/>
                <a:gd name="connsiteX1430" fmla="*/ 1864332 w 2222569"/>
                <a:gd name="connsiteY1430" fmla="*/ 339503 h 2052818"/>
                <a:gd name="connsiteX1431" fmla="*/ 1862215 w 2222569"/>
                <a:gd name="connsiteY1431" fmla="*/ 340154 h 2052818"/>
                <a:gd name="connsiteX1432" fmla="*/ 1856838 w 2222569"/>
                <a:gd name="connsiteY1432" fmla="*/ 336244 h 2052818"/>
                <a:gd name="connsiteX1433" fmla="*/ 1847553 w 2222569"/>
                <a:gd name="connsiteY1433" fmla="*/ 336244 h 2052818"/>
                <a:gd name="connsiteX1434" fmla="*/ 1839896 w 2222569"/>
                <a:gd name="connsiteY1434" fmla="*/ 338036 h 2052818"/>
                <a:gd name="connsiteX1435" fmla="*/ 1839896 w 2222569"/>
                <a:gd name="connsiteY1435" fmla="*/ 335267 h 2052818"/>
                <a:gd name="connsiteX1436" fmla="*/ 1837289 w 2222569"/>
                <a:gd name="connsiteY1436" fmla="*/ 332335 h 2052818"/>
                <a:gd name="connsiteX1437" fmla="*/ 1828655 w 2222569"/>
                <a:gd name="connsiteY1437" fmla="*/ 331031 h 2052818"/>
                <a:gd name="connsiteX1438" fmla="*/ 1824583 w 2222569"/>
                <a:gd name="connsiteY1438" fmla="*/ 328588 h 2052818"/>
                <a:gd name="connsiteX1439" fmla="*/ 1825560 w 2222569"/>
                <a:gd name="connsiteY1439" fmla="*/ 331357 h 2052818"/>
                <a:gd name="connsiteX1440" fmla="*/ 1834846 w 2222569"/>
                <a:gd name="connsiteY1440" fmla="*/ 335593 h 2052818"/>
                <a:gd name="connsiteX1441" fmla="*/ 1833705 w 2222569"/>
                <a:gd name="connsiteY1441" fmla="*/ 337874 h 2052818"/>
                <a:gd name="connsiteX1442" fmla="*/ 1833705 w 2222569"/>
                <a:gd name="connsiteY1442" fmla="*/ 341458 h 2052818"/>
                <a:gd name="connsiteX1443" fmla="*/ 1837941 w 2222569"/>
                <a:gd name="connsiteY1443" fmla="*/ 341458 h 2052818"/>
                <a:gd name="connsiteX1444" fmla="*/ 1839081 w 2222569"/>
                <a:gd name="connsiteY1444" fmla="*/ 340969 h 2052818"/>
                <a:gd name="connsiteX1445" fmla="*/ 1840873 w 2222569"/>
                <a:gd name="connsiteY1445" fmla="*/ 342272 h 2052818"/>
                <a:gd name="connsiteX1446" fmla="*/ 1844946 w 2222569"/>
                <a:gd name="connsiteY1446" fmla="*/ 340643 h 2052818"/>
                <a:gd name="connsiteX1447" fmla="*/ 1846086 w 2222569"/>
                <a:gd name="connsiteY1447" fmla="*/ 339340 h 2052818"/>
                <a:gd name="connsiteX1448" fmla="*/ 1848693 w 2222569"/>
                <a:gd name="connsiteY1448" fmla="*/ 340643 h 2052818"/>
                <a:gd name="connsiteX1449" fmla="*/ 1853254 w 2222569"/>
                <a:gd name="connsiteY1449" fmla="*/ 340154 h 2052818"/>
                <a:gd name="connsiteX1450" fmla="*/ 1857001 w 2222569"/>
                <a:gd name="connsiteY1450" fmla="*/ 341620 h 2052818"/>
                <a:gd name="connsiteX1451" fmla="*/ 1864332 w 2222569"/>
                <a:gd name="connsiteY1451" fmla="*/ 348463 h 2052818"/>
                <a:gd name="connsiteX1452" fmla="*/ 1864332 w 2222569"/>
                <a:gd name="connsiteY1452" fmla="*/ 350906 h 2052818"/>
                <a:gd name="connsiteX1453" fmla="*/ 1857816 w 2222569"/>
                <a:gd name="connsiteY1453" fmla="*/ 351232 h 2052818"/>
                <a:gd name="connsiteX1454" fmla="*/ 1852603 w 2222569"/>
                <a:gd name="connsiteY1454" fmla="*/ 353676 h 2052818"/>
                <a:gd name="connsiteX1455" fmla="*/ 1851788 w 2222569"/>
                <a:gd name="connsiteY1455" fmla="*/ 356282 h 2052818"/>
                <a:gd name="connsiteX1456" fmla="*/ 1856513 w 2222569"/>
                <a:gd name="connsiteY1456" fmla="*/ 354979 h 2052818"/>
                <a:gd name="connsiteX1457" fmla="*/ 1861074 w 2222569"/>
                <a:gd name="connsiteY1457" fmla="*/ 354979 h 2052818"/>
                <a:gd name="connsiteX1458" fmla="*/ 1865310 w 2222569"/>
                <a:gd name="connsiteY1458" fmla="*/ 354164 h 2052818"/>
                <a:gd name="connsiteX1459" fmla="*/ 1870034 w 2222569"/>
                <a:gd name="connsiteY1459" fmla="*/ 358726 h 2052818"/>
                <a:gd name="connsiteX1460" fmla="*/ 1874596 w 2222569"/>
                <a:gd name="connsiteY1460" fmla="*/ 361495 h 2052818"/>
                <a:gd name="connsiteX1461" fmla="*/ 1874596 w 2222569"/>
                <a:gd name="connsiteY1461" fmla="*/ 366057 h 2052818"/>
                <a:gd name="connsiteX1462" fmla="*/ 1868731 w 2222569"/>
                <a:gd name="connsiteY1462" fmla="*/ 375506 h 2052818"/>
                <a:gd name="connsiteX1463" fmla="*/ 1866776 w 2222569"/>
                <a:gd name="connsiteY1463" fmla="*/ 383325 h 2052818"/>
                <a:gd name="connsiteX1464" fmla="*/ 1864495 w 2222569"/>
                <a:gd name="connsiteY1464" fmla="*/ 383814 h 2052818"/>
                <a:gd name="connsiteX1465" fmla="*/ 1857327 w 2222569"/>
                <a:gd name="connsiteY1465" fmla="*/ 389190 h 2052818"/>
                <a:gd name="connsiteX1466" fmla="*/ 1854069 w 2222569"/>
                <a:gd name="connsiteY1466" fmla="*/ 387398 h 2052818"/>
                <a:gd name="connsiteX1467" fmla="*/ 1849670 w 2222569"/>
                <a:gd name="connsiteY1467" fmla="*/ 387398 h 2052818"/>
                <a:gd name="connsiteX1468" fmla="*/ 1845924 w 2222569"/>
                <a:gd name="connsiteY1468" fmla="*/ 385443 h 2052818"/>
                <a:gd name="connsiteX1469" fmla="*/ 1845109 w 2222569"/>
                <a:gd name="connsiteY1469" fmla="*/ 382837 h 2052818"/>
                <a:gd name="connsiteX1470" fmla="*/ 1841362 w 2222569"/>
                <a:gd name="connsiteY1470" fmla="*/ 380556 h 2052818"/>
                <a:gd name="connsiteX1471" fmla="*/ 1835335 w 2222569"/>
                <a:gd name="connsiteY1471" fmla="*/ 380556 h 2052818"/>
                <a:gd name="connsiteX1472" fmla="*/ 1836149 w 2222569"/>
                <a:gd name="connsiteY1472" fmla="*/ 382837 h 2052818"/>
                <a:gd name="connsiteX1473" fmla="*/ 1841688 w 2222569"/>
                <a:gd name="connsiteY1473" fmla="*/ 385117 h 2052818"/>
                <a:gd name="connsiteX1474" fmla="*/ 1842502 w 2222569"/>
                <a:gd name="connsiteY1474" fmla="*/ 387724 h 2052818"/>
                <a:gd name="connsiteX1475" fmla="*/ 1846086 w 2222569"/>
                <a:gd name="connsiteY1475" fmla="*/ 388701 h 2052818"/>
                <a:gd name="connsiteX1476" fmla="*/ 1852440 w 2222569"/>
                <a:gd name="connsiteY1476" fmla="*/ 392774 h 2052818"/>
                <a:gd name="connsiteX1477" fmla="*/ 1853418 w 2222569"/>
                <a:gd name="connsiteY1477" fmla="*/ 399127 h 2052818"/>
                <a:gd name="connsiteX1478" fmla="*/ 1851462 w 2222569"/>
                <a:gd name="connsiteY1478" fmla="*/ 402060 h 2052818"/>
                <a:gd name="connsiteX1479" fmla="*/ 1847390 w 2222569"/>
                <a:gd name="connsiteY1479" fmla="*/ 402874 h 2052818"/>
                <a:gd name="connsiteX1480" fmla="*/ 1841851 w 2222569"/>
                <a:gd name="connsiteY1480" fmla="*/ 407762 h 2052818"/>
                <a:gd name="connsiteX1481" fmla="*/ 1838593 w 2222569"/>
                <a:gd name="connsiteY1481" fmla="*/ 408576 h 2052818"/>
                <a:gd name="connsiteX1482" fmla="*/ 1830773 w 2222569"/>
                <a:gd name="connsiteY1482" fmla="*/ 401897 h 2052818"/>
                <a:gd name="connsiteX1483" fmla="*/ 1826211 w 2222569"/>
                <a:gd name="connsiteY1483" fmla="*/ 403363 h 2052818"/>
                <a:gd name="connsiteX1484" fmla="*/ 1823768 w 2222569"/>
                <a:gd name="connsiteY1484" fmla="*/ 400594 h 2052818"/>
                <a:gd name="connsiteX1485" fmla="*/ 1818718 w 2222569"/>
                <a:gd name="connsiteY1485" fmla="*/ 400105 h 2052818"/>
                <a:gd name="connsiteX1486" fmla="*/ 1815460 w 2222569"/>
                <a:gd name="connsiteY1486" fmla="*/ 401897 h 2052818"/>
                <a:gd name="connsiteX1487" fmla="*/ 1816600 w 2222569"/>
                <a:gd name="connsiteY1487" fmla="*/ 405318 h 2052818"/>
                <a:gd name="connsiteX1488" fmla="*/ 1831751 w 2222569"/>
                <a:gd name="connsiteY1488" fmla="*/ 413463 h 2052818"/>
                <a:gd name="connsiteX1489" fmla="*/ 1837615 w 2222569"/>
                <a:gd name="connsiteY1489" fmla="*/ 413952 h 2052818"/>
                <a:gd name="connsiteX1490" fmla="*/ 1837615 w 2222569"/>
                <a:gd name="connsiteY1490" fmla="*/ 417047 h 2052818"/>
                <a:gd name="connsiteX1491" fmla="*/ 1833380 w 2222569"/>
                <a:gd name="connsiteY1491" fmla="*/ 419002 h 2052818"/>
                <a:gd name="connsiteX1492" fmla="*/ 1829307 w 2222569"/>
                <a:gd name="connsiteY1492" fmla="*/ 423890 h 2052818"/>
                <a:gd name="connsiteX1493" fmla="*/ 1824908 w 2222569"/>
                <a:gd name="connsiteY1493" fmla="*/ 424867 h 2052818"/>
                <a:gd name="connsiteX1494" fmla="*/ 1820999 w 2222569"/>
                <a:gd name="connsiteY1494" fmla="*/ 420469 h 2052818"/>
                <a:gd name="connsiteX1495" fmla="*/ 1817089 w 2222569"/>
                <a:gd name="connsiteY1495" fmla="*/ 420469 h 2052818"/>
                <a:gd name="connsiteX1496" fmla="*/ 1812364 w 2222569"/>
                <a:gd name="connsiteY1496" fmla="*/ 424215 h 2052818"/>
                <a:gd name="connsiteX1497" fmla="*/ 1804545 w 2222569"/>
                <a:gd name="connsiteY1497" fmla="*/ 423890 h 2052818"/>
                <a:gd name="connsiteX1498" fmla="*/ 1801286 w 2222569"/>
                <a:gd name="connsiteY1498" fmla="*/ 420143 h 2052818"/>
                <a:gd name="connsiteX1499" fmla="*/ 1791023 w 2222569"/>
                <a:gd name="connsiteY1499" fmla="*/ 417699 h 2052818"/>
                <a:gd name="connsiteX1500" fmla="*/ 1784507 w 2222569"/>
                <a:gd name="connsiteY1500" fmla="*/ 419328 h 2052818"/>
                <a:gd name="connsiteX1501" fmla="*/ 1783203 w 2222569"/>
                <a:gd name="connsiteY1501" fmla="*/ 428614 h 2052818"/>
                <a:gd name="connsiteX1502" fmla="*/ 1778316 w 2222569"/>
                <a:gd name="connsiteY1502" fmla="*/ 433175 h 2052818"/>
                <a:gd name="connsiteX1503" fmla="*/ 1782878 w 2222569"/>
                <a:gd name="connsiteY1503" fmla="*/ 433175 h 2052818"/>
                <a:gd name="connsiteX1504" fmla="*/ 1784507 w 2222569"/>
                <a:gd name="connsiteY1504" fmla="*/ 434316 h 2052818"/>
                <a:gd name="connsiteX1505" fmla="*/ 1784507 w 2222569"/>
                <a:gd name="connsiteY1505" fmla="*/ 439366 h 2052818"/>
                <a:gd name="connsiteX1506" fmla="*/ 1777339 w 2222569"/>
                <a:gd name="connsiteY1506" fmla="*/ 443276 h 2052818"/>
                <a:gd name="connsiteX1507" fmla="*/ 1777013 w 2222569"/>
                <a:gd name="connsiteY1507" fmla="*/ 448815 h 2052818"/>
                <a:gd name="connsiteX1508" fmla="*/ 1771148 w 2222569"/>
                <a:gd name="connsiteY1508" fmla="*/ 451910 h 2052818"/>
                <a:gd name="connsiteX1509" fmla="*/ 1769030 w 2222569"/>
                <a:gd name="connsiteY1509" fmla="*/ 449955 h 2052818"/>
                <a:gd name="connsiteX1510" fmla="*/ 1767727 w 2222569"/>
                <a:gd name="connsiteY1510" fmla="*/ 451584 h 2052818"/>
                <a:gd name="connsiteX1511" fmla="*/ 1766913 w 2222569"/>
                <a:gd name="connsiteY1511" fmla="*/ 455168 h 2052818"/>
                <a:gd name="connsiteX1512" fmla="*/ 1761862 w 2222569"/>
                <a:gd name="connsiteY1512" fmla="*/ 457286 h 2052818"/>
                <a:gd name="connsiteX1513" fmla="*/ 1758278 w 2222569"/>
                <a:gd name="connsiteY1513" fmla="*/ 456309 h 2052818"/>
                <a:gd name="connsiteX1514" fmla="*/ 1760559 w 2222569"/>
                <a:gd name="connsiteY1514" fmla="*/ 453376 h 2052818"/>
                <a:gd name="connsiteX1515" fmla="*/ 1758116 w 2222569"/>
                <a:gd name="connsiteY1515" fmla="*/ 453376 h 2052818"/>
                <a:gd name="connsiteX1516" fmla="*/ 1755183 w 2222569"/>
                <a:gd name="connsiteY1516" fmla="*/ 456146 h 2052818"/>
                <a:gd name="connsiteX1517" fmla="*/ 1751599 w 2222569"/>
                <a:gd name="connsiteY1517" fmla="*/ 463151 h 2052818"/>
                <a:gd name="connsiteX1518" fmla="*/ 1748993 w 2222569"/>
                <a:gd name="connsiteY1518" fmla="*/ 464943 h 2052818"/>
                <a:gd name="connsiteX1519" fmla="*/ 1737100 w 2222569"/>
                <a:gd name="connsiteY1519" fmla="*/ 458589 h 2052818"/>
                <a:gd name="connsiteX1520" fmla="*/ 1730258 w 2222569"/>
                <a:gd name="connsiteY1520" fmla="*/ 458589 h 2052818"/>
                <a:gd name="connsiteX1521" fmla="*/ 1729281 w 2222569"/>
                <a:gd name="connsiteY1521" fmla="*/ 460381 h 2052818"/>
                <a:gd name="connsiteX1522" fmla="*/ 1722927 w 2222569"/>
                <a:gd name="connsiteY1522" fmla="*/ 459078 h 2052818"/>
                <a:gd name="connsiteX1523" fmla="*/ 1712012 w 2222569"/>
                <a:gd name="connsiteY1523" fmla="*/ 446045 h 2052818"/>
                <a:gd name="connsiteX1524" fmla="*/ 1709732 w 2222569"/>
                <a:gd name="connsiteY1524" fmla="*/ 434967 h 2052818"/>
                <a:gd name="connsiteX1525" fmla="*/ 1712664 w 2222569"/>
                <a:gd name="connsiteY1525" fmla="*/ 432850 h 2052818"/>
                <a:gd name="connsiteX1526" fmla="*/ 1713478 w 2222569"/>
                <a:gd name="connsiteY1526" fmla="*/ 428614 h 2052818"/>
                <a:gd name="connsiteX1527" fmla="*/ 1711849 w 2222569"/>
                <a:gd name="connsiteY1527" fmla="*/ 425519 h 2052818"/>
                <a:gd name="connsiteX1528" fmla="*/ 1712338 w 2222569"/>
                <a:gd name="connsiteY1528" fmla="*/ 422098 h 2052818"/>
                <a:gd name="connsiteX1529" fmla="*/ 1707614 w 2222569"/>
                <a:gd name="connsiteY1529" fmla="*/ 427799 h 2052818"/>
                <a:gd name="connsiteX1530" fmla="*/ 1707614 w 2222569"/>
                <a:gd name="connsiteY1530" fmla="*/ 431383 h 2052818"/>
                <a:gd name="connsiteX1531" fmla="*/ 1705659 w 2222569"/>
                <a:gd name="connsiteY1531" fmla="*/ 438714 h 2052818"/>
                <a:gd name="connsiteX1532" fmla="*/ 1703378 w 2222569"/>
                <a:gd name="connsiteY1532" fmla="*/ 442624 h 2052818"/>
                <a:gd name="connsiteX1533" fmla="*/ 1707451 w 2222569"/>
                <a:gd name="connsiteY1533" fmla="*/ 448163 h 2052818"/>
                <a:gd name="connsiteX1534" fmla="*/ 1706636 w 2222569"/>
                <a:gd name="connsiteY1534" fmla="*/ 450770 h 2052818"/>
                <a:gd name="connsiteX1535" fmla="*/ 1704030 w 2222569"/>
                <a:gd name="connsiteY1535" fmla="*/ 450118 h 2052818"/>
                <a:gd name="connsiteX1536" fmla="*/ 1697025 w 2222569"/>
                <a:gd name="connsiteY1536" fmla="*/ 451095 h 2052818"/>
                <a:gd name="connsiteX1537" fmla="*/ 1695884 w 2222569"/>
                <a:gd name="connsiteY1537" fmla="*/ 450281 h 2052818"/>
                <a:gd name="connsiteX1538" fmla="*/ 1691160 w 2222569"/>
                <a:gd name="connsiteY1538" fmla="*/ 451095 h 2052818"/>
                <a:gd name="connsiteX1539" fmla="*/ 1695559 w 2222569"/>
                <a:gd name="connsiteY1539" fmla="*/ 455005 h 2052818"/>
                <a:gd name="connsiteX1540" fmla="*/ 1692952 w 2222569"/>
                <a:gd name="connsiteY1540" fmla="*/ 462825 h 2052818"/>
                <a:gd name="connsiteX1541" fmla="*/ 1696536 w 2222569"/>
                <a:gd name="connsiteY1541" fmla="*/ 462825 h 2052818"/>
                <a:gd name="connsiteX1542" fmla="*/ 1702238 w 2222569"/>
                <a:gd name="connsiteY1542" fmla="*/ 455983 h 2052818"/>
                <a:gd name="connsiteX1543" fmla="*/ 1705007 w 2222569"/>
                <a:gd name="connsiteY1543" fmla="*/ 455983 h 2052818"/>
                <a:gd name="connsiteX1544" fmla="*/ 1707288 w 2222569"/>
                <a:gd name="connsiteY1544" fmla="*/ 454028 h 2052818"/>
                <a:gd name="connsiteX1545" fmla="*/ 1710709 w 2222569"/>
                <a:gd name="connsiteY1545" fmla="*/ 452725 h 2052818"/>
                <a:gd name="connsiteX1546" fmla="*/ 1716574 w 2222569"/>
                <a:gd name="connsiteY1546" fmla="*/ 456960 h 2052818"/>
                <a:gd name="connsiteX1547" fmla="*/ 1720321 w 2222569"/>
                <a:gd name="connsiteY1547" fmla="*/ 462662 h 2052818"/>
                <a:gd name="connsiteX1548" fmla="*/ 1718040 w 2222569"/>
                <a:gd name="connsiteY1548" fmla="*/ 467875 h 2052818"/>
                <a:gd name="connsiteX1549" fmla="*/ 1723905 w 2222569"/>
                <a:gd name="connsiteY1549" fmla="*/ 463639 h 2052818"/>
                <a:gd name="connsiteX1550" fmla="*/ 1733191 w 2222569"/>
                <a:gd name="connsiteY1550" fmla="*/ 461196 h 2052818"/>
                <a:gd name="connsiteX1551" fmla="*/ 1739544 w 2222569"/>
                <a:gd name="connsiteY1551" fmla="*/ 464128 h 2052818"/>
                <a:gd name="connsiteX1552" fmla="*/ 1740521 w 2222569"/>
                <a:gd name="connsiteY1552" fmla="*/ 469178 h 2052818"/>
                <a:gd name="connsiteX1553" fmla="*/ 1737915 w 2222569"/>
                <a:gd name="connsiteY1553" fmla="*/ 472274 h 2052818"/>
                <a:gd name="connsiteX1554" fmla="*/ 1734819 w 2222569"/>
                <a:gd name="connsiteY1554" fmla="*/ 480419 h 2052818"/>
                <a:gd name="connsiteX1555" fmla="*/ 1731887 w 2222569"/>
                <a:gd name="connsiteY1555" fmla="*/ 481234 h 2052818"/>
                <a:gd name="connsiteX1556" fmla="*/ 1730421 w 2222569"/>
                <a:gd name="connsiteY1556" fmla="*/ 484655 h 2052818"/>
                <a:gd name="connsiteX1557" fmla="*/ 1732050 w 2222569"/>
                <a:gd name="connsiteY1557" fmla="*/ 486121 h 2052818"/>
                <a:gd name="connsiteX1558" fmla="*/ 1736611 w 2222569"/>
                <a:gd name="connsiteY1558" fmla="*/ 485795 h 2052818"/>
                <a:gd name="connsiteX1559" fmla="*/ 1735797 w 2222569"/>
                <a:gd name="connsiteY1559" fmla="*/ 489379 h 2052818"/>
                <a:gd name="connsiteX1560" fmla="*/ 1731724 w 2222569"/>
                <a:gd name="connsiteY1560" fmla="*/ 493941 h 2052818"/>
                <a:gd name="connsiteX1561" fmla="*/ 1736449 w 2222569"/>
                <a:gd name="connsiteY1561" fmla="*/ 493615 h 2052818"/>
                <a:gd name="connsiteX1562" fmla="*/ 1738729 w 2222569"/>
                <a:gd name="connsiteY1562" fmla="*/ 490194 h 2052818"/>
                <a:gd name="connsiteX1563" fmla="*/ 1744920 w 2222569"/>
                <a:gd name="connsiteY1563" fmla="*/ 486610 h 2052818"/>
                <a:gd name="connsiteX1564" fmla="*/ 1748341 w 2222569"/>
                <a:gd name="connsiteY1564" fmla="*/ 486610 h 2052818"/>
                <a:gd name="connsiteX1565" fmla="*/ 1750622 w 2222569"/>
                <a:gd name="connsiteY1565" fmla="*/ 485306 h 2052818"/>
                <a:gd name="connsiteX1566" fmla="*/ 1753228 w 2222569"/>
                <a:gd name="connsiteY1566" fmla="*/ 486610 h 2052818"/>
                <a:gd name="connsiteX1567" fmla="*/ 1752088 w 2222569"/>
                <a:gd name="connsiteY1567" fmla="*/ 491660 h 2052818"/>
                <a:gd name="connsiteX1568" fmla="*/ 1753554 w 2222569"/>
                <a:gd name="connsiteY1568" fmla="*/ 494918 h 2052818"/>
                <a:gd name="connsiteX1569" fmla="*/ 1751762 w 2222569"/>
                <a:gd name="connsiteY1569" fmla="*/ 503389 h 2052818"/>
                <a:gd name="connsiteX1570" fmla="*/ 1746223 w 2222569"/>
                <a:gd name="connsiteY1570" fmla="*/ 513490 h 2052818"/>
                <a:gd name="connsiteX1571" fmla="*/ 1741336 w 2222569"/>
                <a:gd name="connsiteY1571" fmla="*/ 513490 h 2052818"/>
                <a:gd name="connsiteX1572" fmla="*/ 1736286 w 2222569"/>
                <a:gd name="connsiteY1572" fmla="*/ 516748 h 2052818"/>
                <a:gd name="connsiteX1573" fmla="*/ 1733191 w 2222569"/>
                <a:gd name="connsiteY1573" fmla="*/ 522124 h 2052818"/>
                <a:gd name="connsiteX1574" fmla="*/ 1728466 w 2222569"/>
                <a:gd name="connsiteY1574" fmla="*/ 525708 h 2052818"/>
                <a:gd name="connsiteX1575" fmla="*/ 1726674 w 2222569"/>
                <a:gd name="connsiteY1575" fmla="*/ 524079 h 2052818"/>
                <a:gd name="connsiteX1576" fmla="*/ 1728466 w 2222569"/>
                <a:gd name="connsiteY1576" fmla="*/ 518214 h 2052818"/>
                <a:gd name="connsiteX1577" fmla="*/ 1729281 w 2222569"/>
                <a:gd name="connsiteY1577" fmla="*/ 512023 h 2052818"/>
                <a:gd name="connsiteX1578" fmla="*/ 1728140 w 2222569"/>
                <a:gd name="connsiteY1578" fmla="*/ 510883 h 2052818"/>
                <a:gd name="connsiteX1579" fmla="*/ 1724556 w 2222569"/>
                <a:gd name="connsiteY1579" fmla="*/ 513164 h 2052818"/>
                <a:gd name="connsiteX1580" fmla="*/ 1720972 w 2222569"/>
                <a:gd name="connsiteY1580" fmla="*/ 520006 h 2052818"/>
                <a:gd name="connsiteX1581" fmla="*/ 1716737 w 2222569"/>
                <a:gd name="connsiteY1581" fmla="*/ 521146 h 2052818"/>
                <a:gd name="connsiteX1582" fmla="*/ 1709732 w 2222569"/>
                <a:gd name="connsiteY1582" fmla="*/ 527663 h 2052818"/>
                <a:gd name="connsiteX1583" fmla="*/ 1707614 w 2222569"/>
                <a:gd name="connsiteY1583" fmla="*/ 526197 h 2052818"/>
                <a:gd name="connsiteX1584" fmla="*/ 1702727 w 2222569"/>
                <a:gd name="connsiteY1584" fmla="*/ 526197 h 2052818"/>
                <a:gd name="connsiteX1585" fmla="*/ 1694744 w 2222569"/>
                <a:gd name="connsiteY1585" fmla="*/ 532387 h 2052818"/>
                <a:gd name="connsiteX1586" fmla="*/ 1692463 w 2222569"/>
                <a:gd name="connsiteY1586" fmla="*/ 531084 h 2052818"/>
                <a:gd name="connsiteX1587" fmla="*/ 1687902 w 2222569"/>
                <a:gd name="connsiteY1587" fmla="*/ 533039 h 2052818"/>
                <a:gd name="connsiteX1588" fmla="*/ 1683014 w 2222569"/>
                <a:gd name="connsiteY1588" fmla="*/ 532713 h 2052818"/>
                <a:gd name="connsiteX1589" fmla="*/ 1681385 w 2222569"/>
                <a:gd name="connsiteY1589" fmla="*/ 529129 h 2052818"/>
                <a:gd name="connsiteX1590" fmla="*/ 1679105 w 2222569"/>
                <a:gd name="connsiteY1590" fmla="*/ 527500 h 2052818"/>
                <a:gd name="connsiteX1591" fmla="*/ 1683503 w 2222569"/>
                <a:gd name="connsiteY1591" fmla="*/ 524079 h 2052818"/>
                <a:gd name="connsiteX1592" fmla="*/ 1686761 w 2222569"/>
                <a:gd name="connsiteY1592" fmla="*/ 519354 h 2052818"/>
                <a:gd name="connsiteX1593" fmla="*/ 1686761 w 2222569"/>
                <a:gd name="connsiteY1593" fmla="*/ 515282 h 2052818"/>
                <a:gd name="connsiteX1594" fmla="*/ 1681548 w 2222569"/>
                <a:gd name="connsiteY1594" fmla="*/ 507625 h 2052818"/>
                <a:gd name="connsiteX1595" fmla="*/ 1678127 w 2222569"/>
                <a:gd name="connsiteY1595" fmla="*/ 510883 h 2052818"/>
                <a:gd name="connsiteX1596" fmla="*/ 1671122 w 2222569"/>
                <a:gd name="connsiteY1596" fmla="*/ 508277 h 2052818"/>
                <a:gd name="connsiteX1597" fmla="*/ 1670145 w 2222569"/>
                <a:gd name="connsiteY1597" fmla="*/ 505181 h 2052818"/>
                <a:gd name="connsiteX1598" fmla="*/ 1672751 w 2222569"/>
                <a:gd name="connsiteY1598" fmla="*/ 498991 h 2052818"/>
                <a:gd name="connsiteX1599" fmla="*/ 1676498 w 2222569"/>
                <a:gd name="connsiteY1599" fmla="*/ 498013 h 2052818"/>
                <a:gd name="connsiteX1600" fmla="*/ 1673403 w 2222569"/>
                <a:gd name="connsiteY1600" fmla="*/ 496384 h 2052818"/>
                <a:gd name="connsiteX1601" fmla="*/ 1669819 w 2222569"/>
                <a:gd name="connsiteY1601" fmla="*/ 495407 h 2052818"/>
                <a:gd name="connsiteX1602" fmla="*/ 1666886 w 2222569"/>
                <a:gd name="connsiteY1602" fmla="*/ 488402 h 2052818"/>
                <a:gd name="connsiteX1603" fmla="*/ 1668516 w 2222569"/>
                <a:gd name="connsiteY1603" fmla="*/ 484329 h 2052818"/>
                <a:gd name="connsiteX1604" fmla="*/ 1668516 w 2222569"/>
                <a:gd name="connsiteY1604" fmla="*/ 479767 h 2052818"/>
                <a:gd name="connsiteX1605" fmla="*/ 1666561 w 2222569"/>
                <a:gd name="connsiteY1605" fmla="*/ 475695 h 2052818"/>
                <a:gd name="connsiteX1606" fmla="*/ 1666561 w 2222569"/>
                <a:gd name="connsiteY1606" fmla="*/ 481234 h 2052818"/>
                <a:gd name="connsiteX1607" fmla="*/ 1662977 w 2222569"/>
                <a:gd name="connsiteY1607" fmla="*/ 489379 h 2052818"/>
                <a:gd name="connsiteX1608" fmla="*/ 1667212 w 2222569"/>
                <a:gd name="connsiteY1608" fmla="*/ 497036 h 2052818"/>
                <a:gd name="connsiteX1609" fmla="*/ 1667701 w 2222569"/>
                <a:gd name="connsiteY1609" fmla="*/ 500620 h 2052818"/>
                <a:gd name="connsiteX1610" fmla="*/ 1665094 w 2222569"/>
                <a:gd name="connsiteY1610" fmla="*/ 503389 h 2052818"/>
                <a:gd name="connsiteX1611" fmla="*/ 1665094 w 2222569"/>
                <a:gd name="connsiteY1611" fmla="*/ 509091 h 2052818"/>
                <a:gd name="connsiteX1612" fmla="*/ 1661510 w 2222569"/>
                <a:gd name="connsiteY1612" fmla="*/ 511046 h 2052818"/>
                <a:gd name="connsiteX1613" fmla="*/ 1657601 w 2222569"/>
                <a:gd name="connsiteY1613" fmla="*/ 509254 h 2052818"/>
                <a:gd name="connsiteX1614" fmla="*/ 1653202 w 2222569"/>
                <a:gd name="connsiteY1614" fmla="*/ 510557 h 2052818"/>
                <a:gd name="connsiteX1615" fmla="*/ 1649618 w 2222569"/>
                <a:gd name="connsiteY1615" fmla="*/ 506973 h 2052818"/>
                <a:gd name="connsiteX1616" fmla="*/ 1648967 w 2222569"/>
                <a:gd name="connsiteY1616" fmla="*/ 503715 h 2052818"/>
                <a:gd name="connsiteX1617" fmla="*/ 1652551 w 2222569"/>
                <a:gd name="connsiteY1617" fmla="*/ 494592 h 2052818"/>
                <a:gd name="connsiteX1618" fmla="*/ 1650759 w 2222569"/>
                <a:gd name="connsiteY1618" fmla="*/ 490031 h 2052818"/>
                <a:gd name="connsiteX1619" fmla="*/ 1651736 w 2222569"/>
                <a:gd name="connsiteY1619" fmla="*/ 485469 h 2052818"/>
                <a:gd name="connsiteX1620" fmla="*/ 1656460 w 2222569"/>
                <a:gd name="connsiteY1620" fmla="*/ 480419 h 2052818"/>
                <a:gd name="connsiteX1621" fmla="*/ 1651247 w 2222569"/>
                <a:gd name="connsiteY1621" fmla="*/ 481397 h 2052818"/>
                <a:gd name="connsiteX1622" fmla="*/ 1647663 w 2222569"/>
                <a:gd name="connsiteY1622" fmla="*/ 485469 h 2052818"/>
                <a:gd name="connsiteX1623" fmla="*/ 1646523 w 2222569"/>
                <a:gd name="connsiteY1623" fmla="*/ 491497 h 2052818"/>
                <a:gd name="connsiteX1624" fmla="*/ 1648478 w 2222569"/>
                <a:gd name="connsiteY1624" fmla="*/ 496384 h 2052818"/>
                <a:gd name="connsiteX1625" fmla="*/ 1644242 w 2222569"/>
                <a:gd name="connsiteY1625" fmla="*/ 504204 h 2052818"/>
                <a:gd name="connsiteX1626" fmla="*/ 1639844 w 2222569"/>
                <a:gd name="connsiteY1626" fmla="*/ 505507 h 2052818"/>
                <a:gd name="connsiteX1627" fmla="*/ 1635282 w 2222569"/>
                <a:gd name="connsiteY1627" fmla="*/ 502738 h 2052818"/>
                <a:gd name="connsiteX1628" fmla="*/ 1635608 w 2222569"/>
                <a:gd name="connsiteY1628" fmla="*/ 498339 h 2052818"/>
                <a:gd name="connsiteX1629" fmla="*/ 1633816 w 2222569"/>
                <a:gd name="connsiteY1629" fmla="*/ 496384 h 2052818"/>
                <a:gd name="connsiteX1630" fmla="*/ 1634142 w 2222569"/>
                <a:gd name="connsiteY1630" fmla="*/ 492963 h 2052818"/>
                <a:gd name="connsiteX1631" fmla="*/ 1636260 w 2222569"/>
                <a:gd name="connsiteY1631" fmla="*/ 488890 h 2052818"/>
                <a:gd name="connsiteX1632" fmla="*/ 1637237 w 2222569"/>
                <a:gd name="connsiteY1632" fmla="*/ 485958 h 2052818"/>
                <a:gd name="connsiteX1633" fmla="*/ 1635934 w 2222569"/>
                <a:gd name="connsiteY1633" fmla="*/ 480745 h 2052818"/>
                <a:gd name="connsiteX1634" fmla="*/ 1634142 w 2222569"/>
                <a:gd name="connsiteY1634" fmla="*/ 480256 h 2052818"/>
                <a:gd name="connsiteX1635" fmla="*/ 1633164 w 2222569"/>
                <a:gd name="connsiteY1635" fmla="*/ 482537 h 2052818"/>
                <a:gd name="connsiteX1636" fmla="*/ 1632350 w 2222569"/>
                <a:gd name="connsiteY1636" fmla="*/ 487913 h 2052818"/>
                <a:gd name="connsiteX1637" fmla="*/ 1629417 w 2222569"/>
                <a:gd name="connsiteY1637" fmla="*/ 490682 h 2052818"/>
                <a:gd name="connsiteX1638" fmla="*/ 1629417 w 2222569"/>
                <a:gd name="connsiteY1638" fmla="*/ 494429 h 2052818"/>
                <a:gd name="connsiteX1639" fmla="*/ 1627788 w 2222569"/>
                <a:gd name="connsiteY1639" fmla="*/ 496384 h 2052818"/>
                <a:gd name="connsiteX1640" fmla="*/ 1623716 w 2222569"/>
                <a:gd name="connsiteY1640" fmla="*/ 496710 h 2052818"/>
                <a:gd name="connsiteX1641" fmla="*/ 1622738 w 2222569"/>
                <a:gd name="connsiteY1641" fmla="*/ 498339 h 2052818"/>
                <a:gd name="connsiteX1642" fmla="*/ 1619480 w 2222569"/>
                <a:gd name="connsiteY1642" fmla="*/ 498828 h 2052818"/>
                <a:gd name="connsiteX1643" fmla="*/ 1619480 w 2222569"/>
                <a:gd name="connsiteY1643" fmla="*/ 498828 h 2052818"/>
                <a:gd name="connsiteX1644" fmla="*/ 1755509 w 2222569"/>
                <a:gd name="connsiteY1644" fmla="*/ 1259451 h 2052818"/>
                <a:gd name="connsiteX1645" fmla="*/ 1754532 w 2222569"/>
                <a:gd name="connsiteY1645" fmla="*/ 1267596 h 2052818"/>
                <a:gd name="connsiteX1646" fmla="*/ 1753065 w 2222569"/>
                <a:gd name="connsiteY1646" fmla="*/ 1273298 h 2052818"/>
                <a:gd name="connsiteX1647" fmla="*/ 1755346 w 2222569"/>
                <a:gd name="connsiteY1647" fmla="*/ 1277371 h 2052818"/>
                <a:gd name="connsiteX1648" fmla="*/ 1756975 w 2222569"/>
                <a:gd name="connsiteY1648" fmla="*/ 1275416 h 2052818"/>
                <a:gd name="connsiteX1649" fmla="*/ 1756161 w 2222569"/>
                <a:gd name="connsiteY1649" fmla="*/ 1271995 h 2052818"/>
                <a:gd name="connsiteX1650" fmla="*/ 1757790 w 2222569"/>
                <a:gd name="connsiteY1650" fmla="*/ 1266130 h 2052818"/>
                <a:gd name="connsiteX1651" fmla="*/ 1757138 w 2222569"/>
                <a:gd name="connsiteY1651" fmla="*/ 1261080 h 2052818"/>
                <a:gd name="connsiteX1652" fmla="*/ 1755346 w 2222569"/>
                <a:gd name="connsiteY1652" fmla="*/ 1259451 h 2052818"/>
                <a:gd name="connsiteX1653" fmla="*/ 1755346 w 2222569"/>
                <a:gd name="connsiteY1653" fmla="*/ 1259451 h 2052818"/>
                <a:gd name="connsiteX1654" fmla="*/ 1750948 w 2222569"/>
                <a:gd name="connsiteY1654" fmla="*/ 1231919 h 2052818"/>
                <a:gd name="connsiteX1655" fmla="*/ 1749318 w 2222569"/>
                <a:gd name="connsiteY1655" fmla="*/ 1229638 h 2052818"/>
                <a:gd name="connsiteX1656" fmla="*/ 1751273 w 2222569"/>
                <a:gd name="connsiteY1656" fmla="*/ 1227683 h 2052818"/>
                <a:gd name="connsiteX1657" fmla="*/ 1752577 w 2222569"/>
                <a:gd name="connsiteY1657" fmla="*/ 1229149 h 2052818"/>
                <a:gd name="connsiteX1658" fmla="*/ 1752577 w 2222569"/>
                <a:gd name="connsiteY1658" fmla="*/ 1232408 h 2052818"/>
                <a:gd name="connsiteX1659" fmla="*/ 1750785 w 2222569"/>
                <a:gd name="connsiteY1659" fmla="*/ 1232082 h 2052818"/>
                <a:gd name="connsiteX1660" fmla="*/ 1750785 w 2222569"/>
                <a:gd name="connsiteY1660" fmla="*/ 1232082 h 2052818"/>
                <a:gd name="connsiteX1661" fmla="*/ 1742965 w 2222569"/>
                <a:gd name="connsiteY1661" fmla="*/ 1215954 h 2052818"/>
                <a:gd name="connsiteX1662" fmla="*/ 1746386 w 2222569"/>
                <a:gd name="connsiteY1662" fmla="*/ 1210578 h 2052818"/>
                <a:gd name="connsiteX1663" fmla="*/ 1750296 w 2222569"/>
                <a:gd name="connsiteY1663" fmla="*/ 1208786 h 2052818"/>
                <a:gd name="connsiteX1664" fmla="*/ 1750948 w 2222569"/>
                <a:gd name="connsiteY1664" fmla="*/ 1211718 h 2052818"/>
                <a:gd name="connsiteX1665" fmla="*/ 1747201 w 2222569"/>
                <a:gd name="connsiteY1665" fmla="*/ 1214651 h 2052818"/>
                <a:gd name="connsiteX1666" fmla="*/ 1745409 w 2222569"/>
                <a:gd name="connsiteY1666" fmla="*/ 1216931 h 2052818"/>
                <a:gd name="connsiteX1667" fmla="*/ 1742965 w 2222569"/>
                <a:gd name="connsiteY1667" fmla="*/ 1216117 h 2052818"/>
                <a:gd name="connsiteX1668" fmla="*/ 1742965 w 2222569"/>
                <a:gd name="connsiteY1668" fmla="*/ 1216117 h 2052818"/>
                <a:gd name="connsiteX1669" fmla="*/ 1702564 w 2222569"/>
                <a:gd name="connsiteY1669" fmla="*/ 834095 h 2052818"/>
                <a:gd name="connsiteX1670" fmla="*/ 1702238 w 2222569"/>
                <a:gd name="connsiteY1670" fmla="*/ 830348 h 2052818"/>
                <a:gd name="connsiteX1671" fmla="*/ 1704193 w 2222569"/>
                <a:gd name="connsiteY1671" fmla="*/ 828393 h 2052818"/>
                <a:gd name="connsiteX1672" fmla="*/ 1704193 w 2222569"/>
                <a:gd name="connsiteY1672" fmla="*/ 833280 h 2052818"/>
                <a:gd name="connsiteX1673" fmla="*/ 1702564 w 2222569"/>
                <a:gd name="connsiteY1673" fmla="*/ 834095 h 2052818"/>
                <a:gd name="connsiteX1674" fmla="*/ 1702564 w 2222569"/>
                <a:gd name="connsiteY1674" fmla="*/ 834095 h 2052818"/>
                <a:gd name="connsiteX1675" fmla="*/ 1709569 w 2222569"/>
                <a:gd name="connsiteY1675" fmla="*/ 838656 h 2052818"/>
                <a:gd name="connsiteX1676" fmla="*/ 1708428 w 2222569"/>
                <a:gd name="connsiteY1676" fmla="*/ 835724 h 2052818"/>
                <a:gd name="connsiteX1677" fmla="*/ 1708428 w 2222569"/>
                <a:gd name="connsiteY1677" fmla="*/ 832140 h 2052818"/>
                <a:gd name="connsiteX1678" fmla="*/ 1711035 w 2222569"/>
                <a:gd name="connsiteY1678" fmla="*/ 830511 h 2052818"/>
                <a:gd name="connsiteX1679" fmla="*/ 1712990 w 2222569"/>
                <a:gd name="connsiteY1679" fmla="*/ 833769 h 2052818"/>
                <a:gd name="connsiteX1680" fmla="*/ 1711686 w 2222569"/>
                <a:gd name="connsiteY1680" fmla="*/ 837842 h 2052818"/>
                <a:gd name="connsiteX1681" fmla="*/ 1709406 w 2222569"/>
                <a:gd name="connsiteY1681" fmla="*/ 838493 h 2052818"/>
                <a:gd name="connsiteX1682" fmla="*/ 1709406 w 2222569"/>
                <a:gd name="connsiteY1682" fmla="*/ 838493 h 2052818"/>
                <a:gd name="connsiteX1683" fmla="*/ 1700935 w 2222569"/>
                <a:gd name="connsiteY1683" fmla="*/ 851689 h 2052818"/>
                <a:gd name="connsiteX1684" fmla="*/ 1699143 w 2222569"/>
                <a:gd name="connsiteY1684" fmla="*/ 847779 h 2052818"/>
                <a:gd name="connsiteX1685" fmla="*/ 1700283 w 2222569"/>
                <a:gd name="connsiteY1685" fmla="*/ 845499 h 2052818"/>
                <a:gd name="connsiteX1686" fmla="*/ 1699957 w 2222569"/>
                <a:gd name="connsiteY1686" fmla="*/ 840448 h 2052818"/>
                <a:gd name="connsiteX1687" fmla="*/ 1702401 w 2222569"/>
                <a:gd name="connsiteY1687" fmla="*/ 838493 h 2052818"/>
                <a:gd name="connsiteX1688" fmla="*/ 1704193 w 2222569"/>
                <a:gd name="connsiteY1688" fmla="*/ 842077 h 2052818"/>
                <a:gd name="connsiteX1689" fmla="*/ 1705822 w 2222569"/>
                <a:gd name="connsiteY1689" fmla="*/ 841589 h 2052818"/>
                <a:gd name="connsiteX1690" fmla="*/ 1708428 w 2222569"/>
                <a:gd name="connsiteY1690" fmla="*/ 843381 h 2052818"/>
                <a:gd name="connsiteX1691" fmla="*/ 1704681 w 2222569"/>
                <a:gd name="connsiteY1691" fmla="*/ 846313 h 2052818"/>
                <a:gd name="connsiteX1692" fmla="*/ 1702727 w 2222569"/>
                <a:gd name="connsiteY1692" fmla="*/ 850874 h 2052818"/>
                <a:gd name="connsiteX1693" fmla="*/ 1701097 w 2222569"/>
                <a:gd name="connsiteY1693" fmla="*/ 851852 h 2052818"/>
                <a:gd name="connsiteX1694" fmla="*/ 1701097 w 2222569"/>
                <a:gd name="connsiteY1694" fmla="*/ 851852 h 2052818"/>
                <a:gd name="connsiteX1695" fmla="*/ 1778316 w 2222569"/>
                <a:gd name="connsiteY1695" fmla="*/ 965400 h 2052818"/>
                <a:gd name="connsiteX1696" fmla="*/ 1780923 w 2222569"/>
                <a:gd name="connsiteY1696" fmla="*/ 962467 h 2052818"/>
                <a:gd name="connsiteX1697" fmla="*/ 1784833 w 2222569"/>
                <a:gd name="connsiteY1697" fmla="*/ 963933 h 2052818"/>
                <a:gd name="connsiteX1698" fmla="*/ 1782226 w 2222569"/>
                <a:gd name="connsiteY1698" fmla="*/ 966703 h 2052818"/>
                <a:gd name="connsiteX1699" fmla="*/ 1779294 w 2222569"/>
                <a:gd name="connsiteY1699" fmla="*/ 966703 h 2052818"/>
                <a:gd name="connsiteX1700" fmla="*/ 1778316 w 2222569"/>
                <a:gd name="connsiteY1700" fmla="*/ 965400 h 2052818"/>
                <a:gd name="connsiteX1701" fmla="*/ 1778316 w 2222569"/>
                <a:gd name="connsiteY1701" fmla="*/ 965400 h 2052818"/>
                <a:gd name="connsiteX1702" fmla="*/ 1768868 w 2222569"/>
                <a:gd name="connsiteY1702" fmla="*/ 963933 h 2052818"/>
                <a:gd name="connsiteX1703" fmla="*/ 1768868 w 2222569"/>
                <a:gd name="connsiteY1703" fmla="*/ 960675 h 2052818"/>
                <a:gd name="connsiteX1704" fmla="*/ 1774081 w 2222569"/>
                <a:gd name="connsiteY1704" fmla="*/ 959861 h 2052818"/>
                <a:gd name="connsiteX1705" fmla="*/ 1775873 w 2222569"/>
                <a:gd name="connsiteY1705" fmla="*/ 958395 h 2052818"/>
                <a:gd name="connsiteX1706" fmla="*/ 1777339 w 2222569"/>
                <a:gd name="connsiteY1706" fmla="*/ 960675 h 2052818"/>
                <a:gd name="connsiteX1707" fmla="*/ 1773429 w 2222569"/>
                <a:gd name="connsiteY1707" fmla="*/ 965400 h 2052818"/>
                <a:gd name="connsiteX1708" fmla="*/ 1770008 w 2222569"/>
                <a:gd name="connsiteY1708" fmla="*/ 965725 h 2052818"/>
                <a:gd name="connsiteX1709" fmla="*/ 1768868 w 2222569"/>
                <a:gd name="connsiteY1709" fmla="*/ 963933 h 2052818"/>
                <a:gd name="connsiteX1710" fmla="*/ 1768868 w 2222569"/>
                <a:gd name="connsiteY1710" fmla="*/ 963933 h 2052818"/>
                <a:gd name="connsiteX1711" fmla="*/ 1753880 w 2222569"/>
                <a:gd name="connsiteY1711" fmla="*/ 1016716 h 2052818"/>
                <a:gd name="connsiteX1712" fmla="*/ 1756975 w 2222569"/>
                <a:gd name="connsiteY1712" fmla="*/ 1018997 h 2052818"/>
                <a:gd name="connsiteX1713" fmla="*/ 1759582 w 2222569"/>
                <a:gd name="connsiteY1713" fmla="*/ 1018019 h 2052818"/>
                <a:gd name="connsiteX1714" fmla="*/ 1757301 w 2222569"/>
                <a:gd name="connsiteY1714" fmla="*/ 1016390 h 2052818"/>
                <a:gd name="connsiteX1715" fmla="*/ 1753717 w 2222569"/>
                <a:gd name="connsiteY1715" fmla="*/ 1016716 h 2052818"/>
                <a:gd name="connsiteX1716" fmla="*/ 1753717 w 2222569"/>
                <a:gd name="connsiteY1716" fmla="*/ 1016716 h 2052818"/>
                <a:gd name="connsiteX1717" fmla="*/ 1774895 w 2222569"/>
                <a:gd name="connsiteY1717" fmla="*/ 1039686 h 2052818"/>
                <a:gd name="connsiteX1718" fmla="*/ 1779619 w 2222569"/>
                <a:gd name="connsiteY1718" fmla="*/ 1042781 h 2052818"/>
                <a:gd name="connsiteX1719" fmla="*/ 1781411 w 2222569"/>
                <a:gd name="connsiteY1719" fmla="*/ 1041315 h 2052818"/>
                <a:gd name="connsiteX1720" fmla="*/ 1780434 w 2222569"/>
                <a:gd name="connsiteY1720" fmla="*/ 1038220 h 2052818"/>
                <a:gd name="connsiteX1721" fmla="*/ 1777665 w 2222569"/>
                <a:gd name="connsiteY1721" fmla="*/ 1038220 h 2052818"/>
                <a:gd name="connsiteX1722" fmla="*/ 1774732 w 2222569"/>
                <a:gd name="connsiteY1722" fmla="*/ 1039686 h 2052818"/>
                <a:gd name="connsiteX1723" fmla="*/ 1774732 w 2222569"/>
                <a:gd name="connsiteY1723" fmla="*/ 1039686 h 2052818"/>
                <a:gd name="connsiteX1724" fmla="*/ 1814482 w 2222569"/>
                <a:gd name="connsiteY1724" fmla="*/ 1078947 h 2052818"/>
                <a:gd name="connsiteX1725" fmla="*/ 1813179 w 2222569"/>
                <a:gd name="connsiteY1725" fmla="*/ 1072920 h 2052818"/>
                <a:gd name="connsiteX1726" fmla="*/ 1816437 w 2222569"/>
                <a:gd name="connsiteY1726" fmla="*/ 1069662 h 2052818"/>
                <a:gd name="connsiteX1727" fmla="*/ 1819532 w 2222569"/>
                <a:gd name="connsiteY1727" fmla="*/ 1072431 h 2052818"/>
                <a:gd name="connsiteX1728" fmla="*/ 1819858 w 2222569"/>
                <a:gd name="connsiteY1728" fmla="*/ 1077644 h 2052818"/>
                <a:gd name="connsiteX1729" fmla="*/ 1817252 w 2222569"/>
                <a:gd name="connsiteY1729" fmla="*/ 1078784 h 2052818"/>
                <a:gd name="connsiteX1730" fmla="*/ 1814645 w 2222569"/>
                <a:gd name="connsiteY1730" fmla="*/ 1078784 h 2052818"/>
                <a:gd name="connsiteX1731" fmla="*/ 1834194 w 2222569"/>
                <a:gd name="connsiteY1731" fmla="*/ 1103058 h 2052818"/>
                <a:gd name="connsiteX1732" fmla="*/ 1834683 w 2222569"/>
                <a:gd name="connsiteY1732" fmla="*/ 1098171 h 2052818"/>
                <a:gd name="connsiteX1733" fmla="*/ 1838430 w 2222569"/>
                <a:gd name="connsiteY1733" fmla="*/ 1096053 h 2052818"/>
                <a:gd name="connsiteX1734" fmla="*/ 1840222 w 2222569"/>
                <a:gd name="connsiteY1734" fmla="*/ 1094749 h 2052818"/>
                <a:gd name="connsiteX1735" fmla="*/ 1842665 w 2222569"/>
                <a:gd name="connsiteY1735" fmla="*/ 1096216 h 2052818"/>
                <a:gd name="connsiteX1736" fmla="*/ 1839896 w 2222569"/>
                <a:gd name="connsiteY1736" fmla="*/ 1100940 h 2052818"/>
                <a:gd name="connsiteX1737" fmla="*/ 1836312 w 2222569"/>
                <a:gd name="connsiteY1737" fmla="*/ 1102080 h 2052818"/>
                <a:gd name="connsiteX1738" fmla="*/ 1834357 w 2222569"/>
                <a:gd name="connsiteY1738" fmla="*/ 1103058 h 2052818"/>
                <a:gd name="connsiteX1739" fmla="*/ 1834357 w 2222569"/>
                <a:gd name="connsiteY1739" fmla="*/ 1103058 h 2052818"/>
                <a:gd name="connsiteX1740" fmla="*/ 1692952 w 2222569"/>
                <a:gd name="connsiteY1740" fmla="*/ 557149 h 2052818"/>
                <a:gd name="connsiteX1741" fmla="*/ 1692463 w 2222569"/>
                <a:gd name="connsiteY1741" fmla="*/ 551122 h 2052818"/>
                <a:gd name="connsiteX1742" fmla="*/ 1695070 w 2222569"/>
                <a:gd name="connsiteY1742" fmla="*/ 549493 h 2052818"/>
                <a:gd name="connsiteX1743" fmla="*/ 1698165 w 2222569"/>
                <a:gd name="connsiteY1743" fmla="*/ 544931 h 2052818"/>
                <a:gd name="connsiteX1744" fmla="*/ 1709569 w 2222569"/>
                <a:gd name="connsiteY1744" fmla="*/ 537600 h 2052818"/>
                <a:gd name="connsiteX1745" fmla="*/ 1714130 w 2222569"/>
                <a:gd name="connsiteY1745" fmla="*/ 536623 h 2052818"/>
                <a:gd name="connsiteX1746" fmla="*/ 1711198 w 2222569"/>
                <a:gd name="connsiteY1746" fmla="*/ 541836 h 2052818"/>
                <a:gd name="connsiteX1747" fmla="*/ 1703867 w 2222569"/>
                <a:gd name="connsiteY1747" fmla="*/ 547538 h 2052818"/>
                <a:gd name="connsiteX1748" fmla="*/ 1702238 w 2222569"/>
                <a:gd name="connsiteY1748" fmla="*/ 551447 h 2052818"/>
                <a:gd name="connsiteX1749" fmla="*/ 1704193 w 2222569"/>
                <a:gd name="connsiteY1749" fmla="*/ 554543 h 2052818"/>
                <a:gd name="connsiteX1750" fmla="*/ 1703541 w 2222569"/>
                <a:gd name="connsiteY1750" fmla="*/ 557149 h 2052818"/>
                <a:gd name="connsiteX1751" fmla="*/ 1700935 w 2222569"/>
                <a:gd name="connsiteY1751" fmla="*/ 556498 h 2052818"/>
                <a:gd name="connsiteX1752" fmla="*/ 1698979 w 2222569"/>
                <a:gd name="connsiteY1752" fmla="*/ 553239 h 2052818"/>
                <a:gd name="connsiteX1753" fmla="*/ 1696699 w 2222569"/>
                <a:gd name="connsiteY1753" fmla="*/ 554869 h 2052818"/>
                <a:gd name="connsiteX1754" fmla="*/ 1695070 w 2222569"/>
                <a:gd name="connsiteY1754" fmla="*/ 557312 h 2052818"/>
                <a:gd name="connsiteX1755" fmla="*/ 1692789 w 2222569"/>
                <a:gd name="connsiteY1755" fmla="*/ 556986 h 2052818"/>
                <a:gd name="connsiteX1756" fmla="*/ 1692789 w 2222569"/>
                <a:gd name="connsiteY1756" fmla="*/ 556986 h 2052818"/>
                <a:gd name="connsiteX1757" fmla="*/ 1667701 w 2222569"/>
                <a:gd name="connsiteY1757" fmla="*/ 533039 h 2052818"/>
                <a:gd name="connsiteX1758" fmla="*/ 1669819 w 2222569"/>
                <a:gd name="connsiteY1758" fmla="*/ 535482 h 2052818"/>
                <a:gd name="connsiteX1759" fmla="*/ 1672425 w 2222569"/>
                <a:gd name="connsiteY1759" fmla="*/ 535971 h 2052818"/>
                <a:gd name="connsiteX1760" fmla="*/ 1674217 w 2222569"/>
                <a:gd name="connsiteY1760" fmla="*/ 532713 h 2052818"/>
                <a:gd name="connsiteX1761" fmla="*/ 1672751 w 2222569"/>
                <a:gd name="connsiteY1761" fmla="*/ 530758 h 2052818"/>
                <a:gd name="connsiteX1762" fmla="*/ 1667701 w 2222569"/>
                <a:gd name="connsiteY1762" fmla="*/ 533039 h 2052818"/>
                <a:gd name="connsiteX1763" fmla="*/ 1667701 w 2222569"/>
                <a:gd name="connsiteY1763" fmla="*/ 533039 h 2052818"/>
                <a:gd name="connsiteX1764" fmla="*/ 1529717 w 2222569"/>
                <a:gd name="connsiteY1764" fmla="*/ 471622 h 2052818"/>
                <a:gd name="connsiteX1765" fmla="*/ 1523852 w 2222569"/>
                <a:gd name="connsiteY1765" fmla="*/ 469667 h 2052818"/>
                <a:gd name="connsiteX1766" fmla="*/ 1523363 w 2222569"/>
                <a:gd name="connsiteY1766" fmla="*/ 464617 h 2052818"/>
                <a:gd name="connsiteX1767" fmla="*/ 1524178 w 2222569"/>
                <a:gd name="connsiteY1767" fmla="*/ 455168 h 2052818"/>
                <a:gd name="connsiteX1768" fmla="*/ 1522386 w 2222569"/>
                <a:gd name="connsiteY1768" fmla="*/ 452725 h 2052818"/>
                <a:gd name="connsiteX1769" fmla="*/ 1522386 w 2222569"/>
                <a:gd name="connsiteY1769" fmla="*/ 447023 h 2052818"/>
                <a:gd name="connsiteX1770" fmla="*/ 1521409 w 2222569"/>
                <a:gd name="connsiteY1770" fmla="*/ 445719 h 2052818"/>
                <a:gd name="connsiteX1771" fmla="*/ 1526459 w 2222569"/>
                <a:gd name="connsiteY1771" fmla="*/ 443602 h 2052818"/>
                <a:gd name="connsiteX1772" fmla="*/ 1533953 w 2222569"/>
                <a:gd name="connsiteY1772" fmla="*/ 446860 h 2052818"/>
                <a:gd name="connsiteX1773" fmla="*/ 1534767 w 2222569"/>
                <a:gd name="connsiteY1773" fmla="*/ 452725 h 2052818"/>
                <a:gd name="connsiteX1774" fmla="*/ 1531346 w 2222569"/>
                <a:gd name="connsiteY1774" fmla="*/ 462825 h 2052818"/>
                <a:gd name="connsiteX1775" fmla="*/ 1530206 w 2222569"/>
                <a:gd name="connsiteY1775" fmla="*/ 465757 h 2052818"/>
                <a:gd name="connsiteX1776" fmla="*/ 1531672 w 2222569"/>
                <a:gd name="connsiteY1776" fmla="*/ 467549 h 2052818"/>
                <a:gd name="connsiteX1777" fmla="*/ 1532649 w 2222569"/>
                <a:gd name="connsiteY1777" fmla="*/ 471459 h 2052818"/>
                <a:gd name="connsiteX1778" fmla="*/ 1530043 w 2222569"/>
                <a:gd name="connsiteY1778" fmla="*/ 471459 h 2052818"/>
                <a:gd name="connsiteX1779" fmla="*/ 1528414 w 2222569"/>
                <a:gd name="connsiteY1779" fmla="*/ 188975 h 2052818"/>
                <a:gd name="connsiteX1780" fmla="*/ 1533790 w 2222569"/>
                <a:gd name="connsiteY1780" fmla="*/ 183436 h 2052818"/>
                <a:gd name="connsiteX1781" fmla="*/ 1537048 w 2222569"/>
                <a:gd name="connsiteY1781" fmla="*/ 176431 h 2052818"/>
                <a:gd name="connsiteX1782" fmla="*/ 1537536 w 2222569"/>
                <a:gd name="connsiteY1782" fmla="*/ 172684 h 2052818"/>
                <a:gd name="connsiteX1783" fmla="*/ 1543890 w 2222569"/>
                <a:gd name="connsiteY1783" fmla="*/ 167796 h 2052818"/>
                <a:gd name="connsiteX1784" fmla="*/ 1546985 w 2222569"/>
                <a:gd name="connsiteY1784" fmla="*/ 161117 h 2052818"/>
                <a:gd name="connsiteX1785" fmla="*/ 1545519 w 2222569"/>
                <a:gd name="connsiteY1785" fmla="*/ 157696 h 2052818"/>
                <a:gd name="connsiteX1786" fmla="*/ 1539492 w 2222569"/>
                <a:gd name="connsiteY1786" fmla="*/ 157370 h 2052818"/>
                <a:gd name="connsiteX1787" fmla="*/ 1535745 w 2222569"/>
                <a:gd name="connsiteY1787" fmla="*/ 155904 h 2052818"/>
                <a:gd name="connsiteX1788" fmla="*/ 1538025 w 2222569"/>
                <a:gd name="connsiteY1788" fmla="*/ 150691 h 2052818"/>
                <a:gd name="connsiteX1789" fmla="*/ 1536070 w 2222569"/>
                <a:gd name="connsiteY1789" fmla="*/ 151017 h 2052818"/>
                <a:gd name="connsiteX1790" fmla="*/ 1529880 w 2222569"/>
                <a:gd name="connsiteY1790" fmla="*/ 156230 h 2052818"/>
                <a:gd name="connsiteX1791" fmla="*/ 1522386 w 2222569"/>
                <a:gd name="connsiteY1791" fmla="*/ 158674 h 2052818"/>
                <a:gd name="connsiteX1792" fmla="*/ 1521409 w 2222569"/>
                <a:gd name="connsiteY1792" fmla="*/ 162583 h 2052818"/>
                <a:gd name="connsiteX1793" fmla="*/ 1518313 w 2222569"/>
                <a:gd name="connsiteY1793" fmla="*/ 165516 h 2052818"/>
                <a:gd name="connsiteX1794" fmla="*/ 1518313 w 2222569"/>
                <a:gd name="connsiteY1794" fmla="*/ 169426 h 2052818"/>
                <a:gd name="connsiteX1795" fmla="*/ 1524667 w 2222569"/>
                <a:gd name="connsiteY1795" fmla="*/ 171380 h 2052818"/>
                <a:gd name="connsiteX1796" fmla="*/ 1529228 w 2222569"/>
                <a:gd name="connsiteY1796" fmla="*/ 169751 h 2052818"/>
                <a:gd name="connsiteX1797" fmla="*/ 1529228 w 2222569"/>
                <a:gd name="connsiteY1797" fmla="*/ 174313 h 2052818"/>
                <a:gd name="connsiteX1798" fmla="*/ 1524667 w 2222569"/>
                <a:gd name="connsiteY1798" fmla="*/ 178711 h 2052818"/>
                <a:gd name="connsiteX1799" fmla="*/ 1524667 w 2222569"/>
                <a:gd name="connsiteY1799" fmla="*/ 182621 h 2052818"/>
                <a:gd name="connsiteX1800" fmla="*/ 1526947 w 2222569"/>
                <a:gd name="connsiteY1800" fmla="*/ 184902 h 2052818"/>
                <a:gd name="connsiteX1801" fmla="*/ 1528577 w 2222569"/>
                <a:gd name="connsiteY1801" fmla="*/ 189138 h 2052818"/>
                <a:gd name="connsiteX1802" fmla="*/ 1528577 w 2222569"/>
                <a:gd name="connsiteY1802" fmla="*/ 189138 h 2052818"/>
                <a:gd name="connsiteX1803" fmla="*/ 1462273 w 2222569"/>
                <a:gd name="connsiteY1803" fmla="*/ 342109 h 2052818"/>
                <a:gd name="connsiteX1804" fmla="*/ 1462273 w 2222569"/>
                <a:gd name="connsiteY1804" fmla="*/ 336570 h 2052818"/>
                <a:gd name="connsiteX1805" fmla="*/ 1465042 w 2222569"/>
                <a:gd name="connsiteY1805" fmla="*/ 332660 h 2052818"/>
                <a:gd name="connsiteX1806" fmla="*/ 1462436 w 2222569"/>
                <a:gd name="connsiteY1806" fmla="*/ 329891 h 2052818"/>
                <a:gd name="connsiteX1807" fmla="*/ 1462110 w 2222569"/>
                <a:gd name="connsiteY1807" fmla="*/ 324026 h 2052818"/>
                <a:gd name="connsiteX1808" fmla="*/ 1457548 w 2222569"/>
                <a:gd name="connsiteY1808" fmla="*/ 321257 h 2052818"/>
                <a:gd name="connsiteX1809" fmla="*/ 1459177 w 2222569"/>
                <a:gd name="connsiteY1809" fmla="*/ 317999 h 2052818"/>
                <a:gd name="connsiteX1810" fmla="*/ 1460806 w 2222569"/>
                <a:gd name="connsiteY1810" fmla="*/ 314252 h 2052818"/>
                <a:gd name="connsiteX1811" fmla="*/ 1466671 w 2222569"/>
                <a:gd name="connsiteY1811" fmla="*/ 315066 h 2052818"/>
                <a:gd name="connsiteX1812" fmla="*/ 1471884 w 2222569"/>
                <a:gd name="connsiteY1812" fmla="*/ 319302 h 2052818"/>
                <a:gd name="connsiteX1813" fmla="*/ 1473839 w 2222569"/>
                <a:gd name="connsiteY1813" fmla="*/ 319302 h 2052818"/>
                <a:gd name="connsiteX1814" fmla="*/ 1474328 w 2222569"/>
                <a:gd name="connsiteY1814" fmla="*/ 315229 h 2052818"/>
                <a:gd name="connsiteX1815" fmla="*/ 1469115 w 2222569"/>
                <a:gd name="connsiteY1815" fmla="*/ 307572 h 2052818"/>
                <a:gd name="connsiteX1816" fmla="*/ 1464065 w 2222569"/>
                <a:gd name="connsiteY1816" fmla="*/ 304640 h 2052818"/>
                <a:gd name="connsiteX1817" fmla="*/ 1463087 w 2222569"/>
                <a:gd name="connsiteY1817" fmla="*/ 301871 h 2052818"/>
                <a:gd name="connsiteX1818" fmla="*/ 1468137 w 2222569"/>
                <a:gd name="connsiteY1818" fmla="*/ 301871 h 2052818"/>
                <a:gd name="connsiteX1819" fmla="*/ 1465205 w 2222569"/>
                <a:gd name="connsiteY1819" fmla="*/ 296658 h 2052818"/>
                <a:gd name="connsiteX1820" fmla="*/ 1468300 w 2222569"/>
                <a:gd name="connsiteY1820" fmla="*/ 291933 h 2052818"/>
                <a:gd name="connsiteX1821" fmla="*/ 1468626 w 2222569"/>
                <a:gd name="connsiteY1821" fmla="*/ 283788 h 2052818"/>
                <a:gd name="connsiteX1822" fmla="*/ 1471395 w 2222569"/>
                <a:gd name="connsiteY1822" fmla="*/ 276946 h 2052818"/>
                <a:gd name="connsiteX1823" fmla="*/ 1474817 w 2222569"/>
                <a:gd name="connsiteY1823" fmla="*/ 277271 h 2052818"/>
                <a:gd name="connsiteX1824" fmla="*/ 1478238 w 2222569"/>
                <a:gd name="connsiteY1824" fmla="*/ 274828 h 2052818"/>
                <a:gd name="connsiteX1825" fmla="*/ 1478726 w 2222569"/>
                <a:gd name="connsiteY1825" fmla="*/ 267497 h 2052818"/>
                <a:gd name="connsiteX1826" fmla="*/ 1481985 w 2222569"/>
                <a:gd name="connsiteY1826" fmla="*/ 264076 h 2052818"/>
                <a:gd name="connsiteX1827" fmla="*/ 1488175 w 2222569"/>
                <a:gd name="connsiteY1827" fmla="*/ 258700 h 2052818"/>
                <a:gd name="connsiteX1828" fmla="*/ 1493225 w 2222569"/>
                <a:gd name="connsiteY1828" fmla="*/ 258700 h 2052818"/>
                <a:gd name="connsiteX1829" fmla="*/ 1499416 w 2222569"/>
                <a:gd name="connsiteY1829" fmla="*/ 266845 h 2052818"/>
                <a:gd name="connsiteX1830" fmla="*/ 1501696 w 2222569"/>
                <a:gd name="connsiteY1830" fmla="*/ 272547 h 2052818"/>
                <a:gd name="connsiteX1831" fmla="*/ 1501208 w 2222569"/>
                <a:gd name="connsiteY1831" fmla="*/ 276457 h 2052818"/>
                <a:gd name="connsiteX1832" fmla="*/ 1502674 w 2222569"/>
                <a:gd name="connsiteY1832" fmla="*/ 279715 h 2052818"/>
                <a:gd name="connsiteX1833" fmla="*/ 1505606 w 2222569"/>
                <a:gd name="connsiteY1833" fmla="*/ 280855 h 2052818"/>
                <a:gd name="connsiteX1834" fmla="*/ 1505932 w 2222569"/>
                <a:gd name="connsiteY1834" fmla="*/ 286394 h 2052818"/>
                <a:gd name="connsiteX1835" fmla="*/ 1508865 w 2222569"/>
                <a:gd name="connsiteY1835" fmla="*/ 287860 h 2052818"/>
                <a:gd name="connsiteX1836" fmla="*/ 1509190 w 2222569"/>
                <a:gd name="connsiteY1836" fmla="*/ 290630 h 2052818"/>
                <a:gd name="connsiteX1837" fmla="*/ 1511634 w 2222569"/>
                <a:gd name="connsiteY1837" fmla="*/ 296332 h 2052818"/>
                <a:gd name="connsiteX1838" fmla="*/ 1516684 w 2222569"/>
                <a:gd name="connsiteY1838" fmla="*/ 296820 h 2052818"/>
                <a:gd name="connsiteX1839" fmla="*/ 1516684 w 2222569"/>
                <a:gd name="connsiteY1839" fmla="*/ 299264 h 2052818"/>
                <a:gd name="connsiteX1840" fmla="*/ 1518965 w 2222569"/>
                <a:gd name="connsiteY1840" fmla="*/ 303663 h 2052818"/>
                <a:gd name="connsiteX1841" fmla="*/ 1521246 w 2222569"/>
                <a:gd name="connsiteY1841" fmla="*/ 313437 h 2052818"/>
                <a:gd name="connsiteX1842" fmla="*/ 1516033 w 2222569"/>
                <a:gd name="connsiteY1842" fmla="*/ 317347 h 2052818"/>
                <a:gd name="connsiteX1843" fmla="*/ 1513100 w 2222569"/>
                <a:gd name="connsiteY1843" fmla="*/ 320279 h 2052818"/>
                <a:gd name="connsiteX1844" fmla="*/ 1508539 w 2222569"/>
                <a:gd name="connsiteY1844" fmla="*/ 320279 h 2052818"/>
                <a:gd name="connsiteX1845" fmla="*/ 1505606 w 2222569"/>
                <a:gd name="connsiteY1845" fmla="*/ 321583 h 2052818"/>
                <a:gd name="connsiteX1846" fmla="*/ 1507887 w 2222569"/>
                <a:gd name="connsiteY1846" fmla="*/ 323863 h 2052818"/>
                <a:gd name="connsiteX1847" fmla="*/ 1510657 w 2222569"/>
                <a:gd name="connsiteY1847" fmla="*/ 323863 h 2052818"/>
                <a:gd name="connsiteX1848" fmla="*/ 1511960 w 2222569"/>
                <a:gd name="connsiteY1848" fmla="*/ 332009 h 2052818"/>
                <a:gd name="connsiteX1849" fmla="*/ 1510982 w 2222569"/>
                <a:gd name="connsiteY1849" fmla="*/ 336733 h 2052818"/>
                <a:gd name="connsiteX1850" fmla="*/ 1502185 w 2222569"/>
                <a:gd name="connsiteY1850" fmla="*/ 342598 h 2052818"/>
                <a:gd name="connsiteX1851" fmla="*/ 1499579 w 2222569"/>
                <a:gd name="connsiteY1851" fmla="*/ 345204 h 2052818"/>
                <a:gd name="connsiteX1852" fmla="*/ 1496484 w 2222569"/>
                <a:gd name="connsiteY1852" fmla="*/ 344716 h 2052818"/>
                <a:gd name="connsiteX1853" fmla="*/ 1496158 w 2222569"/>
                <a:gd name="connsiteY1853" fmla="*/ 340643 h 2052818"/>
                <a:gd name="connsiteX1854" fmla="*/ 1493714 w 2222569"/>
                <a:gd name="connsiteY1854" fmla="*/ 338851 h 2052818"/>
                <a:gd name="connsiteX1855" fmla="*/ 1487849 w 2222569"/>
                <a:gd name="connsiteY1855" fmla="*/ 343087 h 2052818"/>
                <a:gd name="connsiteX1856" fmla="*/ 1483777 w 2222569"/>
                <a:gd name="connsiteY1856" fmla="*/ 341295 h 2052818"/>
                <a:gd name="connsiteX1857" fmla="*/ 1476609 w 2222569"/>
                <a:gd name="connsiteY1857" fmla="*/ 343575 h 2052818"/>
                <a:gd name="connsiteX1858" fmla="*/ 1472862 w 2222569"/>
                <a:gd name="connsiteY1858" fmla="*/ 343250 h 2052818"/>
                <a:gd name="connsiteX1859" fmla="*/ 1472047 w 2222569"/>
                <a:gd name="connsiteY1859" fmla="*/ 337548 h 2052818"/>
                <a:gd name="connsiteX1860" fmla="*/ 1467974 w 2222569"/>
                <a:gd name="connsiteY1860" fmla="*/ 337222 h 2052818"/>
                <a:gd name="connsiteX1861" fmla="*/ 1466997 w 2222569"/>
                <a:gd name="connsiteY1861" fmla="*/ 340643 h 2052818"/>
                <a:gd name="connsiteX1862" fmla="*/ 1461784 w 2222569"/>
                <a:gd name="connsiteY1862" fmla="*/ 342435 h 2052818"/>
                <a:gd name="connsiteX1863" fmla="*/ 1461784 w 2222569"/>
                <a:gd name="connsiteY1863" fmla="*/ 342435 h 2052818"/>
                <a:gd name="connsiteX1864" fmla="*/ 1520757 w 2222569"/>
                <a:gd name="connsiteY1864" fmla="*/ 334290 h 2052818"/>
                <a:gd name="connsiteX1865" fmla="*/ 1523038 w 2222569"/>
                <a:gd name="connsiteY1865" fmla="*/ 333964 h 2052818"/>
                <a:gd name="connsiteX1866" fmla="*/ 1524341 w 2222569"/>
                <a:gd name="connsiteY1866" fmla="*/ 330054 h 2052818"/>
                <a:gd name="connsiteX1867" fmla="*/ 1523201 w 2222569"/>
                <a:gd name="connsiteY1867" fmla="*/ 321420 h 2052818"/>
                <a:gd name="connsiteX1868" fmla="*/ 1520431 w 2222569"/>
                <a:gd name="connsiteY1868" fmla="*/ 321420 h 2052818"/>
                <a:gd name="connsiteX1869" fmla="*/ 1519128 w 2222569"/>
                <a:gd name="connsiteY1869" fmla="*/ 324352 h 2052818"/>
                <a:gd name="connsiteX1870" fmla="*/ 1519128 w 2222569"/>
                <a:gd name="connsiteY1870" fmla="*/ 330217 h 2052818"/>
                <a:gd name="connsiteX1871" fmla="*/ 1520757 w 2222569"/>
                <a:gd name="connsiteY1871" fmla="*/ 334290 h 2052818"/>
                <a:gd name="connsiteX1872" fmla="*/ 1520757 w 2222569"/>
                <a:gd name="connsiteY1872" fmla="*/ 334290 h 2052818"/>
                <a:gd name="connsiteX1873" fmla="*/ 1540143 w 2222569"/>
                <a:gd name="connsiteY1873" fmla="*/ 411834 h 2052818"/>
                <a:gd name="connsiteX1874" fmla="*/ 1540143 w 2222569"/>
                <a:gd name="connsiteY1874" fmla="*/ 416070 h 2052818"/>
                <a:gd name="connsiteX1875" fmla="*/ 1543727 w 2222569"/>
                <a:gd name="connsiteY1875" fmla="*/ 419817 h 2052818"/>
                <a:gd name="connsiteX1876" fmla="*/ 1549429 w 2222569"/>
                <a:gd name="connsiteY1876" fmla="*/ 419817 h 2052818"/>
                <a:gd name="connsiteX1877" fmla="*/ 1555131 w 2222569"/>
                <a:gd name="connsiteY1877" fmla="*/ 417536 h 2052818"/>
                <a:gd name="connsiteX1878" fmla="*/ 1560344 w 2222569"/>
                <a:gd name="connsiteY1878" fmla="*/ 408902 h 2052818"/>
                <a:gd name="connsiteX1879" fmla="*/ 1560833 w 2222569"/>
                <a:gd name="connsiteY1879" fmla="*/ 405807 h 2052818"/>
                <a:gd name="connsiteX1880" fmla="*/ 1558715 w 2222569"/>
                <a:gd name="connsiteY1880" fmla="*/ 403852 h 2052818"/>
                <a:gd name="connsiteX1881" fmla="*/ 1559529 w 2222569"/>
                <a:gd name="connsiteY1881" fmla="*/ 401571 h 2052818"/>
                <a:gd name="connsiteX1882" fmla="*/ 1557086 w 2222569"/>
                <a:gd name="connsiteY1882" fmla="*/ 397824 h 2052818"/>
                <a:gd name="connsiteX1883" fmla="*/ 1553176 w 2222569"/>
                <a:gd name="connsiteY1883" fmla="*/ 397498 h 2052818"/>
                <a:gd name="connsiteX1884" fmla="*/ 1550569 w 2222569"/>
                <a:gd name="connsiteY1884" fmla="*/ 392285 h 2052818"/>
                <a:gd name="connsiteX1885" fmla="*/ 1546822 w 2222569"/>
                <a:gd name="connsiteY1885" fmla="*/ 392285 h 2052818"/>
                <a:gd name="connsiteX1886" fmla="*/ 1541446 w 2222569"/>
                <a:gd name="connsiteY1886" fmla="*/ 396032 h 2052818"/>
                <a:gd name="connsiteX1887" fmla="*/ 1540795 w 2222569"/>
                <a:gd name="connsiteY1887" fmla="*/ 401245 h 2052818"/>
                <a:gd name="connsiteX1888" fmla="*/ 1538840 w 2222569"/>
                <a:gd name="connsiteY1888" fmla="*/ 406295 h 2052818"/>
                <a:gd name="connsiteX1889" fmla="*/ 1540469 w 2222569"/>
                <a:gd name="connsiteY1889" fmla="*/ 411671 h 2052818"/>
                <a:gd name="connsiteX1890" fmla="*/ 1540469 w 2222569"/>
                <a:gd name="connsiteY1890" fmla="*/ 411671 h 2052818"/>
                <a:gd name="connsiteX1891" fmla="*/ 1533301 w 2222569"/>
                <a:gd name="connsiteY1891" fmla="*/ 413952 h 2052818"/>
                <a:gd name="connsiteX1892" fmla="*/ 1532486 w 2222569"/>
                <a:gd name="connsiteY1892" fmla="*/ 416885 h 2052818"/>
                <a:gd name="connsiteX1893" fmla="*/ 1533464 w 2222569"/>
                <a:gd name="connsiteY1893" fmla="*/ 421283 h 2052818"/>
                <a:gd name="connsiteX1894" fmla="*/ 1536396 w 2222569"/>
                <a:gd name="connsiteY1894" fmla="*/ 423075 h 2052818"/>
                <a:gd name="connsiteX1895" fmla="*/ 1538025 w 2222569"/>
                <a:gd name="connsiteY1895" fmla="*/ 421283 h 2052818"/>
                <a:gd name="connsiteX1896" fmla="*/ 1537536 w 2222569"/>
                <a:gd name="connsiteY1896" fmla="*/ 418351 h 2052818"/>
                <a:gd name="connsiteX1897" fmla="*/ 1535419 w 2222569"/>
                <a:gd name="connsiteY1897" fmla="*/ 416885 h 2052818"/>
                <a:gd name="connsiteX1898" fmla="*/ 1534767 w 2222569"/>
                <a:gd name="connsiteY1898" fmla="*/ 413301 h 2052818"/>
                <a:gd name="connsiteX1899" fmla="*/ 1533464 w 2222569"/>
                <a:gd name="connsiteY1899" fmla="*/ 413789 h 2052818"/>
                <a:gd name="connsiteX1900" fmla="*/ 1533464 w 2222569"/>
                <a:gd name="connsiteY1900" fmla="*/ 413789 h 2052818"/>
                <a:gd name="connsiteX1901" fmla="*/ 1458037 w 2222569"/>
                <a:gd name="connsiteY1901" fmla="*/ 374202 h 2052818"/>
                <a:gd name="connsiteX1902" fmla="*/ 1457222 w 2222569"/>
                <a:gd name="connsiteY1902" fmla="*/ 366708 h 2052818"/>
                <a:gd name="connsiteX1903" fmla="*/ 1459992 w 2222569"/>
                <a:gd name="connsiteY1903" fmla="*/ 358726 h 2052818"/>
                <a:gd name="connsiteX1904" fmla="*/ 1463902 w 2222569"/>
                <a:gd name="connsiteY1904" fmla="*/ 354490 h 2052818"/>
                <a:gd name="connsiteX1905" fmla="*/ 1469115 w 2222569"/>
                <a:gd name="connsiteY1905" fmla="*/ 354490 h 2052818"/>
                <a:gd name="connsiteX1906" fmla="*/ 1472862 w 2222569"/>
                <a:gd name="connsiteY1906" fmla="*/ 354002 h 2052818"/>
                <a:gd name="connsiteX1907" fmla="*/ 1476771 w 2222569"/>
                <a:gd name="connsiteY1907" fmla="*/ 355305 h 2052818"/>
                <a:gd name="connsiteX1908" fmla="*/ 1480518 w 2222569"/>
                <a:gd name="connsiteY1908" fmla="*/ 354490 h 2052818"/>
                <a:gd name="connsiteX1909" fmla="*/ 1483288 w 2222569"/>
                <a:gd name="connsiteY1909" fmla="*/ 355305 h 2052818"/>
                <a:gd name="connsiteX1910" fmla="*/ 1483777 w 2222569"/>
                <a:gd name="connsiteY1910" fmla="*/ 358074 h 2052818"/>
                <a:gd name="connsiteX1911" fmla="*/ 1488175 w 2222569"/>
                <a:gd name="connsiteY1911" fmla="*/ 358563 h 2052818"/>
                <a:gd name="connsiteX1912" fmla="*/ 1489967 w 2222569"/>
                <a:gd name="connsiteY1912" fmla="*/ 357097 h 2052818"/>
                <a:gd name="connsiteX1913" fmla="*/ 1493877 w 2222569"/>
                <a:gd name="connsiteY1913" fmla="*/ 359378 h 2052818"/>
                <a:gd name="connsiteX1914" fmla="*/ 1497787 w 2222569"/>
                <a:gd name="connsiteY1914" fmla="*/ 359866 h 2052818"/>
                <a:gd name="connsiteX1915" fmla="*/ 1503000 w 2222569"/>
                <a:gd name="connsiteY1915" fmla="*/ 366057 h 2052818"/>
                <a:gd name="connsiteX1916" fmla="*/ 1506747 w 2222569"/>
                <a:gd name="connsiteY1916" fmla="*/ 368012 h 2052818"/>
                <a:gd name="connsiteX1917" fmla="*/ 1504792 w 2222569"/>
                <a:gd name="connsiteY1917" fmla="*/ 369967 h 2052818"/>
                <a:gd name="connsiteX1918" fmla="*/ 1506258 w 2222569"/>
                <a:gd name="connsiteY1918" fmla="*/ 372410 h 2052818"/>
                <a:gd name="connsiteX1919" fmla="*/ 1509679 w 2222569"/>
                <a:gd name="connsiteY1919" fmla="*/ 372410 h 2052818"/>
                <a:gd name="connsiteX1920" fmla="*/ 1513426 w 2222569"/>
                <a:gd name="connsiteY1920" fmla="*/ 370455 h 2052818"/>
                <a:gd name="connsiteX1921" fmla="*/ 1516521 w 2222569"/>
                <a:gd name="connsiteY1921" fmla="*/ 374691 h 2052818"/>
                <a:gd name="connsiteX1922" fmla="*/ 1519617 w 2222569"/>
                <a:gd name="connsiteY1922" fmla="*/ 377298 h 2052818"/>
                <a:gd name="connsiteX1923" fmla="*/ 1519128 w 2222569"/>
                <a:gd name="connsiteY1923" fmla="*/ 380393 h 2052818"/>
                <a:gd name="connsiteX1924" fmla="*/ 1520268 w 2222569"/>
                <a:gd name="connsiteY1924" fmla="*/ 382837 h 2052818"/>
                <a:gd name="connsiteX1925" fmla="*/ 1517987 w 2222569"/>
                <a:gd name="connsiteY1925" fmla="*/ 384791 h 2052818"/>
                <a:gd name="connsiteX1926" fmla="*/ 1512449 w 2222569"/>
                <a:gd name="connsiteY1926" fmla="*/ 383325 h 2052818"/>
                <a:gd name="connsiteX1927" fmla="*/ 1505932 w 2222569"/>
                <a:gd name="connsiteY1927" fmla="*/ 389190 h 2052818"/>
                <a:gd name="connsiteX1928" fmla="*/ 1501534 w 2222569"/>
                <a:gd name="connsiteY1928" fmla="*/ 390330 h 2052818"/>
                <a:gd name="connsiteX1929" fmla="*/ 1495343 w 2222569"/>
                <a:gd name="connsiteY1929" fmla="*/ 386258 h 2052818"/>
                <a:gd name="connsiteX1930" fmla="*/ 1487849 w 2222569"/>
                <a:gd name="connsiteY1930" fmla="*/ 386258 h 2052818"/>
                <a:gd name="connsiteX1931" fmla="*/ 1480844 w 2222569"/>
                <a:gd name="connsiteY1931" fmla="*/ 381044 h 2052818"/>
                <a:gd name="connsiteX1932" fmla="*/ 1475142 w 2222569"/>
                <a:gd name="connsiteY1932" fmla="*/ 381044 h 2052818"/>
                <a:gd name="connsiteX1933" fmla="*/ 1470092 w 2222569"/>
                <a:gd name="connsiteY1933" fmla="*/ 378438 h 2052818"/>
                <a:gd name="connsiteX1934" fmla="*/ 1466834 w 2222569"/>
                <a:gd name="connsiteY1934" fmla="*/ 374039 h 2052818"/>
                <a:gd name="connsiteX1935" fmla="*/ 1461458 w 2222569"/>
                <a:gd name="connsiteY1935" fmla="*/ 374528 h 2052818"/>
                <a:gd name="connsiteX1936" fmla="*/ 1458363 w 2222569"/>
                <a:gd name="connsiteY1936" fmla="*/ 374039 h 2052818"/>
                <a:gd name="connsiteX1937" fmla="*/ 1458363 w 2222569"/>
                <a:gd name="connsiteY1937" fmla="*/ 374039 h 2052818"/>
                <a:gd name="connsiteX1938" fmla="*/ 1396131 w 2222569"/>
                <a:gd name="connsiteY1938" fmla="*/ 289164 h 2052818"/>
                <a:gd name="connsiteX1939" fmla="*/ 1397109 w 2222569"/>
                <a:gd name="connsiteY1939" fmla="*/ 287046 h 2052818"/>
                <a:gd name="connsiteX1940" fmla="*/ 1399878 w 2222569"/>
                <a:gd name="connsiteY1940" fmla="*/ 285254 h 2052818"/>
                <a:gd name="connsiteX1941" fmla="*/ 1401182 w 2222569"/>
                <a:gd name="connsiteY1941" fmla="*/ 286720 h 2052818"/>
                <a:gd name="connsiteX1942" fmla="*/ 1399878 w 2222569"/>
                <a:gd name="connsiteY1942" fmla="*/ 290467 h 2052818"/>
                <a:gd name="connsiteX1943" fmla="*/ 1397272 w 2222569"/>
                <a:gd name="connsiteY1943" fmla="*/ 290467 h 2052818"/>
                <a:gd name="connsiteX1944" fmla="*/ 1396131 w 2222569"/>
                <a:gd name="connsiteY1944" fmla="*/ 289164 h 2052818"/>
                <a:gd name="connsiteX1945" fmla="*/ 1396131 w 2222569"/>
                <a:gd name="connsiteY1945" fmla="*/ 289164 h 2052818"/>
                <a:gd name="connsiteX1946" fmla="*/ 1399878 w 2222569"/>
                <a:gd name="connsiteY1946" fmla="*/ 318650 h 2052818"/>
                <a:gd name="connsiteX1947" fmla="*/ 1402485 w 2222569"/>
                <a:gd name="connsiteY1947" fmla="*/ 326144 h 2052818"/>
                <a:gd name="connsiteX1948" fmla="*/ 1405254 w 2222569"/>
                <a:gd name="connsiteY1948" fmla="*/ 330706 h 2052818"/>
                <a:gd name="connsiteX1949" fmla="*/ 1408024 w 2222569"/>
                <a:gd name="connsiteY1949" fmla="*/ 330706 h 2052818"/>
                <a:gd name="connsiteX1950" fmla="*/ 1412585 w 2222569"/>
                <a:gd name="connsiteY1950" fmla="*/ 329891 h 2052818"/>
                <a:gd name="connsiteX1951" fmla="*/ 1415192 w 2222569"/>
                <a:gd name="connsiteY1951" fmla="*/ 332172 h 2052818"/>
                <a:gd name="connsiteX1952" fmla="*/ 1418450 w 2222569"/>
                <a:gd name="connsiteY1952" fmla="*/ 332172 h 2052818"/>
                <a:gd name="connsiteX1953" fmla="*/ 1426270 w 2222569"/>
                <a:gd name="connsiteY1953" fmla="*/ 326959 h 2052818"/>
                <a:gd name="connsiteX1954" fmla="*/ 1426270 w 2222569"/>
                <a:gd name="connsiteY1954" fmla="*/ 324189 h 2052818"/>
                <a:gd name="connsiteX1955" fmla="*/ 1430179 w 2222569"/>
                <a:gd name="connsiteY1955" fmla="*/ 321583 h 2052818"/>
                <a:gd name="connsiteX1956" fmla="*/ 1434415 w 2222569"/>
                <a:gd name="connsiteY1956" fmla="*/ 316044 h 2052818"/>
                <a:gd name="connsiteX1957" fmla="*/ 1434741 w 2222569"/>
                <a:gd name="connsiteY1957" fmla="*/ 309853 h 2052818"/>
                <a:gd name="connsiteX1958" fmla="*/ 1436696 w 2222569"/>
                <a:gd name="connsiteY1958" fmla="*/ 301871 h 2052818"/>
                <a:gd name="connsiteX1959" fmla="*/ 1440443 w 2222569"/>
                <a:gd name="connsiteY1959" fmla="*/ 295354 h 2052818"/>
                <a:gd name="connsiteX1960" fmla="*/ 1437836 w 2222569"/>
                <a:gd name="connsiteY1960" fmla="*/ 293399 h 2052818"/>
                <a:gd name="connsiteX1961" fmla="*/ 1437836 w 2222569"/>
                <a:gd name="connsiteY1961" fmla="*/ 290630 h 2052818"/>
                <a:gd name="connsiteX1962" fmla="*/ 1440769 w 2222569"/>
                <a:gd name="connsiteY1962" fmla="*/ 287860 h 2052818"/>
                <a:gd name="connsiteX1963" fmla="*/ 1444027 w 2222569"/>
                <a:gd name="connsiteY1963" fmla="*/ 281181 h 2052818"/>
                <a:gd name="connsiteX1964" fmla="*/ 1447448 w 2222569"/>
                <a:gd name="connsiteY1964" fmla="*/ 280692 h 2052818"/>
                <a:gd name="connsiteX1965" fmla="*/ 1451358 w 2222569"/>
                <a:gd name="connsiteY1965" fmla="*/ 276620 h 2052818"/>
                <a:gd name="connsiteX1966" fmla="*/ 1457222 w 2222569"/>
                <a:gd name="connsiteY1966" fmla="*/ 272547 h 2052818"/>
                <a:gd name="connsiteX1967" fmla="*/ 1458363 w 2222569"/>
                <a:gd name="connsiteY1967" fmla="*/ 265542 h 2052818"/>
                <a:gd name="connsiteX1968" fmla="*/ 1458037 w 2222569"/>
                <a:gd name="connsiteY1968" fmla="*/ 261632 h 2052818"/>
                <a:gd name="connsiteX1969" fmla="*/ 1462436 w 2222569"/>
                <a:gd name="connsiteY1969" fmla="*/ 258211 h 2052818"/>
                <a:gd name="connsiteX1970" fmla="*/ 1462436 w 2222569"/>
                <a:gd name="connsiteY1970" fmla="*/ 254953 h 2052818"/>
                <a:gd name="connsiteX1971" fmla="*/ 1460969 w 2222569"/>
                <a:gd name="connsiteY1971" fmla="*/ 250554 h 2052818"/>
                <a:gd name="connsiteX1972" fmla="*/ 1459666 w 2222569"/>
                <a:gd name="connsiteY1972" fmla="*/ 244527 h 2052818"/>
                <a:gd name="connsiteX1973" fmla="*/ 1456734 w 2222569"/>
                <a:gd name="connsiteY1973" fmla="*/ 244527 h 2052818"/>
                <a:gd name="connsiteX1974" fmla="*/ 1452172 w 2222569"/>
                <a:gd name="connsiteY1974" fmla="*/ 242735 h 2052818"/>
                <a:gd name="connsiteX1975" fmla="*/ 1446796 w 2222569"/>
                <a:gd name="connsiteY1975" fmla="*/ 242735 h 2052818"/>
                <a:gd name="connsiteX1976" fmla="*/ 1445167 w 2222569"/>
                <a:gd name="connsiteY1976" fmla="*/ 239965 h 2052818"/>
                <a:gd name="connsiteX1977" fmla="*/ 1447448 w 2222569"/>
                <a:gd name="connsiteY1977" fmla="*/ 236055 h 2052818"/>
                <a:gd name="connsiteX1978" fmla="*/ 1454779 w 2222569"/>
                <a:gd name="connsiteY1978" fmla="*/ 231820 h 2052818"/>
                <a:gd name="connsiteX1979" fmla="*/ 1454779 w 2222569"/>
                <a:gd name="connsiteY1979" fmla="*/ 229050 h 2052818"/>
                <a:gd name="connsiteX1980" fmla="*/ 1452172 w 2222569"/>
                <a:gd name="connsiteY1980" fmla="*/ 225629 h 2052818"/>
                <a:gd name="connsiteX1981" fmla="*/ 1452172 w 2222569"/>
                <a:gd name="connsiteY1981" fmla="*/ 219439 h 2052818"/>
                <a:gd name="connsiteX1982" fmla="*/ 1453476 w 2222569"/>
                <a:gd name="connsiteY1982" fmla="*/ 215203 h 2052818"/>
                <a:gd name="connsiteX1983" fmla="*/ 1448914 w 2222569"/>
                <a:gd name="connsiteY1983" fmla="*/ 210153 h 2052818"/>
                <a:gd name="connsiteX1984" fmla="*/ 1445493 w 2222569"/>
                <a:gd name="connsiteY1984" fmla="*/ 210153 h 2052818"/>
                <a:gd name="connsiteX1985" fmla="*/ 1439465 w 2222569"/>
                <a:gd name="connsiteY1985" fmla="*/ 214388 h 2052818"/>
                <a:gd name="connsiteX1986" fmla="*/ 1432134 w 2222569"/>
                <a:gd name="connsiteY1986" fmla="*/ 215692 h 2052818"/>
                <a:gd name="connsiteX1987" fmla="*/ 1431157 w 2222569"/>
                <a:gd name="connsiteY1987" fmla="*/ 219764 h 2052818"/>
                <a:gd name="connsiteX1988" fmla="*/ 1427247 w 2222569"/>
                <a:gd name="connsiteY1988" fmla="*/ 223837 h 2052818"/>
                <a:gd name="connsiteX1989" fmla="*/ 1423500 w 2222569"/>
                <a:gd name="connsiteY1989" fmla="*/ 223511 h 2052818"/>
                <a:gd name="connsiteX1990" fmla="*/ 1422523 w 2222569"/>
                <a:gd name="connsiteY1990" fmla="*/ 218950 h 2052818"/>
                <a:gd name="connsiteX1991" fmla="*/ 1427736 w 2222569"/>
                <a:gd name="connsiteY1991" fmla="*/ 216018 h 2052818"/>
                <a:gd name="connsiteX1992" fmla="*/ 1430668 w 2222569"/>
                <a:gd name="connsiteY1992" fmla="*/ 212271 h 2052818"/>
                <a:gd name="connsiteX1993" fmla="*/ 1430668 w 2222569"/>
                <a:gd name="connsiteY1993" fmla="*/ 205428 h 2052818"/>
                <a:gd name="connsiteX1994" fmla="*/ 1432623 w 2222569"/>
                <a:gd name="connsiteY1994" fmla="*/ 196631 h 2052818"/>
                <a:gd name="connsiteX1995" fmla="*/ 1430994 w 2222569"/>
                <a:gd name="connsiteY1995" fmla="*/ 191418 h 2052818"/>
                <a:gd name="connsiteX1996" fmla="*/ 1427899 w 2222569"/>
                <a:gd name="connsiteY1996" fmla="*/ 188323 h 2052818"/>
                <a:gd name="connsiteX1997" fmla="*/ 1426433 w 2222569"/>
                <a:gd name="connsiteY1997" fmla="*/ 184087 h 2052818"/>
                <a:gd name="connsiteX1998" fmla="*/ 1419916 w 2222569"/>
                <a:gd name="connsiteY1998" fmla="*/ 180340 h 2052818"/>
                <a:gd name="connsiteX1999" fmla="*/ 1415518 w 2222569"/>
                <a:gd name="connsiteY1999" fmla="*/ 182132 h 2052818"/>
                <a:gd name="connsiteX2000" fmla="*/ 1409490 w 2222569"/>
                <a:gd name="connsiteY2000" fmla="*/ 180340 h 2052818"/>
                <a:gd name="connsiteX2001" fmla="*/ 1402974 w 2222569"/>
                <a:gd name="connsiteY2001" fmla="*/ 185879 h 2052818"/>
                <a:gd name="connsiteX2002" fmla="*/ 1399553 w 2222569"/>
                <a:gd name="connsiteY2002" fmla="*/ 184739 h 2052818"/>
                <a:gd name="connsiteX2003" fmla="*/ 1398901 w 2222569"/>
                <a:gd name="connsiteY2003" fmla="*/ 177245 h 2052818"/>
                <a:gd name="connsiteX2004" fmla="*/ 1397761 w 2222569"/>
                <a:gd name="connsiteY2004" fmla="*/ 175290 h 2052818"/>
                <a:gd name="connsiteX2005" fmla="*/ 1393525 w 2222569"/>
                <a:gd name="connsiteY2005" fmla="*/ 179037 h 2052818"/>
                <a:gd name="connsiteX2006" fmla="*/ 1392222 w 2222569"/>
                <a:gd name="connsiteY2006" fmla="*/ 183110 h 2052818"/>
                <a:gd name="connsiteX2007" fmla="*/ 1386845 w 2222569"/>
                <a:gd name="connsiteY2007" fmla="*/ 186042 h 2052818"/>
                <a:gd name="connsiteX2008" fmla="*/ 1385054 w 2222569"/>
                <a:gd name="connsiteY2008" fmla="*/ 191418 h 2052818"/>
                <a:gd name="connsiteX2009" fmla="*/ 1379841 w 2222569"/>
                <a:gd name="connsiteY2009" fmla="*/ 198098 h 2052818"/>
                <a:gd name="connsiteX2010" fmla="*/ 1379841 w 2222569"/>
                <a:gd name="connsiteY2010" fmla="*/ 202333 h 2052818"/>
                <a:gd name="connsiteX2011" fmla="*/ 1384076 w 2222569"/>
                <a:gd name="connsiteY2011" fmla="*/ 205103 h 2052818"/>
                <a:gd name="connsiteX2012" fmla="*/ 1386520 w 2222569"/>
                <a:gd name="connsiteY2012" fmla="*/ 203148 h 2052818"/>
                <a:gd name="connsiteX2013" fmla="*/ 1392385 w 2222569"/>
                <a:gd name="connsiteY2013" fmla="*/ 201844 h 2052818"/>
                <a:gd name="connsiteX2014" fmla="*/ 1393851 w 2222569"/>
                <a:gd name="connsiteY2014" fmla="*/ 204125 h 2052818"/>
                <a:gd name="connsiteX2015" fmla="*/ 1388149 w 2222569"/>
                <a:gd name="connsiteY2015" fmla="*/ 209664 h 2052818"/>
                <a:gd name="connsiteX2016" fmla="*/ 1381307 w 2222569"/>
                <a:gd name="connsiteY2016" fmla="*/ 212596 h 2052818"/>
                <a:gd name="connsiteX2017" fmla="*/ 1376745 w 2222569"/>
                <a:gd name="connsiteY2017" fmla="*/ 220090 h 2052818"/>
                <a:gd name="connsiteX2018" fmla="*/ 1377723 w 2222569"/>
                <a:gd name="connsiteY2018" fmla="*/ 222045 h 2052818"/>
                <a:gd name="connsiteX2019" fmla="*/ 1384728 w 2222569"/>
                <a:gd name="connsiteY2019" fmla="*/ 218787 h 2052818"/>
                <a:gd name="connsiteX2020" fmla="*/ 1391733 w 2222569"/>
                <a:gd name="connsiteY2020" fmla="*/ 212759 h 2052818"/>
                <a:gd name="connsiteX2021" fmla="*/ 1394177 w 2222569"/>
                <a:gd name="connsiteY2021" fmla="*/ 212759 h 2052818"/>
                <a:gd name="connsiteX2022" fmla="*/ 1397923 w 2222569"/>
                <a:gd name="connsiteY2022" fmla="*/ 210804 h 2052818"/>
                <a:gd name="connsiteX2023" fmla="*/ 1400856 w 2222569"/>
                <a:gd name="connsiteY2023" fmla="*/ 214877 h 2052818"/>
                <a:gd name="connsiteX2024" fmla="*/ 1399064 w 2222569"/>
                <a:gd name="connsiteY2024" fmla="*/ 220416 h 2052818"/>
                <a:gd name="connsiteX2025" fmla="*/ 1396131 w 2222569"/>
                <a:gd name="connsiteY2025" fmla="*/ 220416 h 2052818"/>
                <a:gd name="connsiteX2026" fmla="*/ 1390104 w 2222569"/>
                <a:gd name="connsiteY2026" fmla="*/ 225629 h 2052818"/>
                <a:gd name="connsiteX2027" fmla="*/ 1388475 w 2222569"/>
                <a:gd name="connsiteY2027" fmla="*/ 230028 h 2052818"/>
                <a:gd name="connsiteX2028" fmla="*/ 1390430 w 2222569"/>
                <a:gd name="connsiteY2028" fmla="*/ 233123 h 2052818"/>
                <a:gd name="connsiteX2029" fmla="*/ 1397272 w 2222569"/>
                <a:gd name="connsiteY2029" fmla="*/ 231657 h 2052818"/>
                <a:gd name="connsiteX2030" fmla="*/ 1401345 w 2222569"/>
                <a:gd name="connsiteY2030" fmla="*/ 234100 h 2052818"/>
                <a:gd name="connsiteX2031" fmla="*/ 1395969 w 2222569"/>
                <a:gd name="connsiteY2031" fmla="*/ 238010 h 2052818"/>
                <a:gd name="connsiteX2032" fmla="*/ 1388801 w 2222569"/>
                <a:gd name="connsiteY2032" fmla="*/ 240617 h 2052818"/>
                <a:gd name="connsiteX2033" fmla="*/ 1384728 w 2222569"/>
                <a:gd name="connsiteY2033" fmla="*/ 239314 h 2052818"/>
                <a:gd name="connsiteX2034" fmla="*/ 1384402 w 2222569"/>
                <a:gd name="connsiteY2034" fmla="*/ 242409 h 2052818"/>
                <a:gd name="connsiteX2035" fmla="*/ 1389778 w 2222569"/>
                <a:gd name="connsiteY2035" fmla="*/ 244038 h 2052818"/>
                <a:gd name="connsiteX2036" fmla="*/ 1389778 w 2222569"/>
                <a:gd name="connsiteY2036" fmla="*/ 247296 h 2052818"/>
                <a:gd name="connsiteX2037" fmla="*/ 1382121 w 2222569"/>
                <a:gd name="connsiteY2037" fmla="*/ 254464 h 2052818"/>
                <a:gd name="connsiteX2038" fmla="*/ 1379841 w 2222569"/>
                <a:gd name="connsiteY2038" fmla="*/ 254464 h 2052818"/>
                <a:gd name="connsiteX2039" fmla="*/ 1377234 w 2222569"/>
                <a:gd name="connsiteY2039" fmla="*/ 247622 h 2052818"/>
                <a:gd name="connsiteX2040" fmla="*/ 1372836 w 2222569"/>
                <a:gd name="connsiteY2040" fmla="*/ 245341 h 2052818"/>
                <a:gd name="connsiteX2041" fmla="*/ 1368763 w 2222569"/>
                <a:gd name="connsiteY2041" fmla="*/ 239476 h 2052818"/>
                <a:gd name="connsiteX2042" fmla="*/ 1358825 w 2222569"/>
                <a:gd name="connsiteY2042" fmla="*/ 244201 h 2052818"/>
                <a:gd name="connsiteX2043" fmla="*/ 1358825 w 2222569"/>
                <a:gd name="connsiteY2043" fmla="*/ 247133 h 2052818"/>
                <a:gd name="connsiteX2044" fmla="*/ 1353612 w 2222569"/>
                <a:gd name="connsiteY2044" fmla="*/ 255767 h 2052818"/>
                <a:gd name="connsiteX2045" fmla="*/ 1357848 w 2222569"/>
                <a:gd name="connsiteY2045" fmla="*/ 262284 h 2052818"/>
                <a:gd name="connsiteX2046" fmla="*/ 1357848 w 2222569"/>
                <a:gd name="connsiteY2046" fmla="*/ 267008 h 2052818"/>
                <a:gd name="connsiteX2047" fmla="*/ 1361758 w 2222569"/>
                <a:gd name="connsiteY2047" fmla="*/ 268800 h 2052818"/>
                <a:gd name="connsiteX2048" fmla="*/ 1365504 w 2222569"/>
                <a:gd name="connsiteY2048" fmla="*/ 265053 h 2052818"/>
                <a:gd name="connsiteX2049" fmla="*/ 1369740 w 2222569"/>
                <a:gd name="connsiteY2049" fmla="*/ 265053 h 2052818"/>
                <a:gd name="connsiteX2050" fmla="*/ 1377723 w 2222569"/>
                <a:gd name="connsiteY2050" fmla="*/ 267660 h 2052818"/>
                <a:gd name="connsiteX2051" fmla="*/ 1385705 w 2222569"/>
                <a:gd name="connsiteY2051" fmla="*/ 267660 h 2052818"/>
                <a:gd name="connsiteX2052" fmla="*/ 1387171 w 2222569"/>
                <a:gd name="connsiteY2052" fmla="*/ 269289 h 2052818"/>
                <a:gd name="connsiteX2053" fmla="*/ 1395154 w 2222569"/>
                <a:gd name="connsiteY2053" fmla="*/ 267334 h 2052818"/>
                <a:gd name="connsiteX2054" fmla="*/ 1394828 w 2222569"/>
                <a:gd name="connsiteY2054" fmla="*/ 271244 h 2052818"/>
                <a:gd name="connsiteX2055" fmla="*/ 1390430 w 2222569"/>
                <a:gd name="connsiteY2055" fmla="*/ 272384 h 2052818"/>
                <a:gd name="connsiteX2056" fmla="*/ 1388801 w 2222569"/>
                <a:gd name="connsiteY2056" fmla="*/ 275154 h 2052818"/>
                <a:gd name="connsiteX2057" fmla="*/ 1389615 w 2222569"/>
                <a:gd name="connsiteY2057" fmla="*/ 280367 h 2052818"/>
                <a:gd name="connsiteX2058" fmla="*/ 1396946 w 2222569"/>
                <a:gd name="connsiteY2058" fmla="*/ 279389 h 2052818"/>
                <a:gd name="connsiteX2059" fmla="*/ 1402322 w 2222569"/>
                <a:gd name="connsiteY2059" fmla="*/ 283788 h 2052818"/>
                <a:gd name="connsiteX2060" fmla="*/ 1405580 w 2222569"/>
                <a:gd name="connsiteY2060" fmla="*/ 291933 h 2052818"/>
                <a:gd name="connsiteX2061" fmla="*/ 1408838 w 2222569"/>
                <a:gd name="connsiteY2061" fmla="*/ 291933 h 2052818"/>
                <a:gd name="connsiteX2062" fmla="*/ 1411119 w 2222569"/>
                <a:gd name="connsiteY2062" fmla="*/ 294214 h 2052818"/>
                <a:gd name="connsiteX2063" fmla="*/ 1409327 w 2222569"/>
                <a:gd name="connsiteY2063" fmla="*/ 297472 h 2052818"/>
                <a:gd name="connsiteX2064" fmla="*/ 1409327 w 2222569"/>
                <a:gd name="connsiteY2064" fmla="*/ 303174 h 2052818"/>
                <a:gd name="connsiteX2065" fmla="*/ 1400693 w 2222569"/>
                <a:gd name="connsiteY2065" fmla="*/ 318976 h 2052818"/>
                <a:gd name="connsiteX2066" fmla="*/ 1400693 w 2222569"/>
                <a:gd name="connsiteY2066" fmla="*/ 318976 h 2052818"/>
                <a:gd name="connsiteX2067" fmla="*/ 1373161 w 2222569"/>
                <a:gd name="connsiteY2067" fmla="*/ 281018 h 2052818"/>
                <a:gd name="connsiteX2068" fmla="*/ 1374139 w 2222569"/>
                <a:gd name="connsiteY2068" fmla="*/ 276294 h 2052818"/>
                <a:gd name="connsiteX2069" fmla="*/ 1380655 w 2222569"/>
                <a:gd name="connsiteY2069" fmla="*/ 273036 h 2052818"/>
                <a:gd name="connsiteX2070" fmla="*/ 1385054 w 2222569"/>
                <a:gd name="connsiteY2070" fmla="*/ 273036 h 2052818"/>
                <a:gd name="connsiteX2071" fmla="*/ 1382121 w 2222569"/>
                <a:gd name="connsiteY2071" fmla="*/ 275316 h 2052818"/>
                <a:gd name="connsiteX2072" fmla="*/ 1381144 w 2222569"/>
                <a:gd name="connsiteY2072" fmla="*/ 278575 h 2052818"/>
                <a:gd name="connsiteX2073" fmla="*/ 1375768 w 2222569"/>
                <a:gd name="connsiteY2073" fmla="*/ 281833 h 2052818"/>
                <a:gd name="connsiteX2074" fmla="*/ 1373161 w 2222569"/>
                <a:gd name="connsiteY2074" fmla="*/ 281181 h 2052818"/>
                <a:gd name="connsiteX2075" fmla="*/ 1373161 w 2222569"/>
                <a:gd name="connsiteY2075" fmla="*/ 281181 h 2052818"/>
                <a:gd name="connsiteX2076" fmla="*/ 1362572 w 2222569"/>
                <a:gd name="connsiteY2076" fmla="*/ 309364 h 2052818"/>
                <a:gd name="connsiteX2077" fmla="*/ 1364853 w 2222569"/>
                <a:gd name="connsiteY2077" fmla="*/ 304314 h 2052818"/>
                <a:gd name="connsiteX2078" fmla="*/ 1373650 w 2222569"/>
                <a:gd name="connsiteY2078" fmla="*/ 303337 h 2052818"/>
                <a:gd name="connsiteX2079" fmla="*/ 1380492 w 2222569"/>
                <a:gd name="connsiteY2079" fmla="*/ 305292 h 2052818"/>
                <a:gd name="connsiteX2080" fmla="*/ 1387986 w 2222569"/>
                <a:gd name="connsiteY2080" fmla="*/ 314252 h 2052818"/>
                <a:gd name="connsiteX2081" fmla="*/ 1387497 w 2222569"/>
                <a:gd name="connsiteY2081" fmla="*/ 318976 h 2052818"/>
                <a:gd name="connsiteX2082" fmla="*/ 1388149 w 2222569"/>
                <a:gd name="connsiteY2082" fmla="*/ 327284 h 2052818"/>
                <a:gd name="connsiteX2083" fmla="*/ 1384728 w 2222569"/>
                <a:gd name="connsiteY2083" fmla="*/ 328099 h 2052818"/>
                <a:gd name="connsiteX2084" fmla="*/ 1379515 w 2222569"/>
                <a:gd name="connsiteY2084" fmla="*/ 325004 h 2052818"/>
                <a:gd name="connsiteX2085" fmla="*/ 1374953 w 2222569"/>
                <a:gd name="connsiteY2085" fmla="*/ 326796 h 2052818"/>
                <a:gd name="connsiteX2086" fmla="*/ 1371532 w 2222569"/>
                <a:gd name="connsiteY2086" fmla="*/ 326796 h 2052818"/>
                <a:gd name="connsiteX2087" fmla="*/ 1367785 w 2222569"/>
                <a:gd name="connsiteY2087" fmla="*/ 320605 h 2052818"/>
                <a:gd name="connsiteX2088" fmla="*/ 1361920 w 2222569"/>
                <a:gd name="connsiteY2088" fmla="*/ 316044 h 2052818"/>
                <a:gd name="connsiteX2089" fmla="*/ 1362735 w 2222569"/>
                <a:gd name="connsiteY2089" fmla="*/ 309202 h 2052818"/>
                <a:gd name="connsiteX2090" fmla="*/ 1362735 w 2222569"/>
                <a:gd name="connsiteY2090" fmla="*/ 309202 h 2052818"/>
                <a:gd name="connsiteX2091" fmla="*/ 1298060 w 2222569"/>
                <a:gd name="connsiteY2091" fmla="*/ 352372 h 2052818"/>
                <a:gd name="connsiteX2092" fmla="*/ 1301807 w 2222569"/>
                <a:gd name="connsiteY2092" fmla="*/ 349440 h 2052818"/>
                <a:gd name="connsiteX2093" fmla="*/ 1309138 w 2222569"/>
                <a:gd name="connsiteY2093" fmla="*/ 349440 h 2052818"/>
                <a:gd name="connsiteX2094" fmla="*/ 1307346 w 2222569"/>
                <a:gd name="connsiteY2094" fmla="*/ 353350 h 2052818"/>
                <a:gd name="connsiteX2095" fmla="*/ 1301481 w 2222569"/>
                <a:gd name="connsiteY2095" fmla="*/ 354816 h 2052818"/>
                <a:gd name="connsiteX2096" fmla="*/ 1298223 w 2222569"/>
                <a:gd name="connsiteY2096" fmla="*/ 352372 h 2052818"/>
                <a:gd name="connsiteX2097" fmla="*/ 1298223 w 2222569"/>
                <a:gd name="connsiteY2097" fmla="*/ 352372 h 2052818"/>
                <a:gd name="connsiteX2098" fmla="*/ 1294639 w 2222569"/>
                <a:gd name="connsiteY2098" fmla="*/ 345693 h 2052818"/>
                <a:gd name="connsiteX2099" fmla="*/ 1291381 w 2222569"/>
                <a:gd name="connsiteY2099" fmla="*/ 338851 h 2052818"/>
                <a:gd name="connsiteX2100" fmla="*/ 1293662 w 2222569"/>
                <a:gd name="connsiteY2100" fmla="*/ 334290 h 2052818"/>
                <a:gd name="connsiteX2101" fmla="*/ 1295128 w 2222569"/>
                <a:gd name="connsiteY2101" fmla="*/ 327447 h 2052818"/>
                <a:gd name="connsiteX2102" fmla="*/ 1295128 w 2222569"/>
                <a:gd name="connsiteY2102" fmla="*/ 322234 h 2052818"/>
                <a:gd name="connsiteX2103" fmla="*/ 1300829 w 2222569"/>
                <a:gd name="connsiteY2103" fmla="*/ 317999 h 2052818"/>
                <a:gd name="connsiteX2104" fmla="*/ 1300829 w 2222569"/>
                <a:gd name="connsiteY2104" fmla="*/ 314740 h 2052818"/>
                <a:gd name="connsiteX2105" fmla="*/ 1302459 w 2222569"/>
                <a:gd name="connsiteY2105" fmla="*/ 313111 h 2052818"/>
                <a:gd name="connsiteX2106" fmla="*/ 1302459 w 2222569"/>
                <a:gd name="connsiteY2106" fmla="*/ 309853 h 2052818"/>
                <a:gd name="connsiteX2107" fmla="*/ 1306206 w 2222569"/>
                <a:gd name="connsiteY2107" fmla="*/ 302685 h 2052818"/>
                <a:gd name="connsiteX2108" fmla="*/ 1306206 w 2222569"/>
                <a:gd name="connsiteY2108" fmla="*/ 297635 h 2052818"/>
                <a:gd name="connsiteX2109" fmla="*/ 1308812 w 2222569"/>
                <a:gd name="connsiteY2109" fmla="*/ 295191 h 2052818"/>
                <a:gd name="connsiteX2110" fmla="*/ 1312559 w 2222569"/>
                <a:gd name="connsiteY2110" fmla="*/ 298124 h 2052818"/>
                <a:gd name="connsiteX2111" fmla="*/ 1313536 w 2222569"/>
                <a:gd name="connsiteY2111" fmla="*/ 304966 h 2052818"/>
                <a:gd name="connsiteX2112" fmla="*/ 1315003 w 2222569"/>
                <a:gd name="connsiteY2112" fmla="*/ 308061 h 2052818"/>
                <a:gd name="connsiteX2113" fmla="*/ 1310930 w 2222569"/>
                <a:gd name="connsiteY2113" fmla="*/ 317836 h 2052818"/>
                <a:gd name="connsiteX2114" fmla="*/ 1311745 w 2222569"/>
                <a:gd name="connsiteY2114" fmla="*/ 322071 h 2052818"/>
                <a:gd name="connsiteX2115" fmla="*/ 1308486 w 2222569"/>
                <a:gd name="connsiteY2115" fmla="*/ 327610 h 2052818"/>
                <a:gd name="connsiteX2116" fmla="*/ 1311093 w 2222569"/>
                <a:gd name="connsiteY2116" fmla="*/ 330868 h 2052818"/>
                <a:gd name="connsiteX2117" fmla="*/ 1307183 w 2222569"/>
                <a:gd name="connsiteY2117" fmla="*/ 343250 h 2052818"/>
                <a:gd name="connsiteX2118" fmla="*/ 1301155 w 2222569"/>
                <a:gd name="connsiteY2118" fmla="*/ 346508 h 2052818"/>
                <a:gd name="connsiteX2119" fmla="*/ 1295128 w 2222569"/>
                <a:gd name="connsiteY2119" fmla="*/ 345530 h 2052818"/>
                <a:gd name="connsiteX2120" fmla="*/ 1295128 w 2222569"/>
                <a:gd name="connsiteY2120" fmla="*/ 345530 h 2052818"/>
                <a:gd name="connsiteX2121" fmla="*/ 1236480 w 2222569"/>
                <a:gd name="connsiteY2121" fmla="*/ 228399 h 2052818"/>
                <a:gd name="connsiteX2122" fmla="*/ 1232734 w 2222569"/>
                <a:gd name="connsiteY2122" fmla="*/ 223837 h 2052818"/>
                <a:gd name="connsiteX2123" fmla="*/ 1231430 w 2222569"/>
                <a:gd name="connsiteY2123" fmla="*/ 218298 h 2052818"/>
                <a:gd name="connsiteX2124" fmla="*/ 1234037 w 2222569"/>
                <a:gd name="connsiteY2124" fmla="*/ 215203 h 2052818"/>
                <a:gd name="connsiteX2125" fmla="*/ 1230616 w 2222569"/>
                <a:gd name="connsiteY2125" fmla="*/ 212271 h 2052818"/>
                <a:gd name="connsiteX2126" fmla="*/ 1226054 w 2222569"/>
                <a:gd name="connsiteY2126" fmla="*/ 212922 h 2052818"/>
                <a:gd name="connsiteX2127" fmla="*/ 1222959 w 2222569"/>
                <a:gd name="connsiteY2127" fmla="*/ 211619 h 2052818"/>
                <a:gd name="connsiteX2128" fmla="*/ 1219701 w 2222569"/>
                <a:gd name="connsiteY2128" fmla="*/ 213085 h 2052818"/>
                <a:gd name="connsiteX2129" fmla="*/ 1214162 w 2222569"/>
                <a:gd name="connsiteY2129" fmla="*/ 212596 h 2052818"/>
                <a:gd name="connsiteX2130" fmla="*/ 1209437 w 2222569"/>
                <a:gd name="connsiteY2130" fmla="*/ 214063 h 2052818"/>
                <a:gd name="connsiteX2131" fmla="*/ 1209437 w 2222569"/>
                <a:gd name="connsiteY2131" fmla="*/ 209664 h 2052818"/>
                <a:gd name="connsiteX2132" fmla="*/ 1213673 w 2222569"/>
                <a:gd name="connsiteY2132" fmla="*/ 204940 h 2052818"/>
                <a:gd name="connsiteX2133" fmla="*/ 1214813 w 2222569"/>
                <a:gd name="connsiteY2133" fmla="*/ 201519 h 2052818"/>
                <a:gd name="connsiteX2134" fmla="*/ 1220353 w 2222569"/>
                <a:gd name="connsiteY2134" fmla="*/ 201193 h 2052818"/>
                <a:gd name="connsiteX2135" fmla="*/ 1225728 w 2222569"/>
                <a:gd name="connsiteY2135" fmla="*/ 201193 h 2052818"/>
                <a:gd name="connsiteX2136" fmla="*/ 1240390 w 2222569"/>
                <a:gd name="connsiteY2136" fmla="*/ 196957 h 2052818"/>
                <a:gd name="connsiteX2137" fmla="*/ 1244952 w 2222569"/>
                <a:gd name="connsiteY2137" fmla="*/ 197935 h 2052818"/>
                <a:gd name="connsiteX2138" fmla="*/ 1249513 w 2222569"/>
                <a:gd name="connsiteY2138" fmla="*/ 201030 h 2052818"/>
                <a:gd name="connsiteX2139" fmla="*/ 1252445 w 2222569"/>
                <a:gd name="connsiteY2139" fmla="*/ 200541 h 2052818"/>
                <a:gd name="connsiteX2140" fmla="*/ 1258310 w 2222569"/>
                <a:gd name="connsiteY2140" fmla="*/ 200541 h 2052818"/>
                <a:gd name="connsiteX2141" fmla="*/ 1264501 w 2222569"/>
                <a:gd name="connsiteY2141" fmla="*/ 195817 h 2052818"/>
                <a:gd name="connsiteX2142" fmla="*/ 1272809 w 2222569"/>
                <a:gd name="connsiteY2142" fmla="*/ 195491 h 2052818"/>
                <a:gd name="connsiteX2143" fmla="*/ 1275416 w 2222569"/>
                <a:gd name="connsiteY2143" fmla="*/ 196143 h 2052818"/>
                <a:gd name="connsiteX2144" fmla="*/ 1278022 w 2222569"/>
                <a:gd name="connsiteY2144" fmla="*/ 193699 h 2052818"/>
                <a:gd name="connsiteX2145" fmla="*/ 1281769 w 2222569"/>
                <a:gd name="connsiteY2145" fmla="*/ 195165 h 2052818"/>
                <a:gd name="connsiteX2146" fmla="*/ 1281444 w 2222569"/>
                <a:gd name="connsiteY2146" fmla="*/ 198586 h 2052818"/>
                <a:gd name="connsiteX2147" fmla="*/ 1284376 w 2222569"/>
                <a:gd name="connsiteY2147" fmla="*/ 204288 h 2052818"/>
                <a:gd name="connsiteX2148" fmla="*/ 1284376 w 2222569"/>
                <a:gd name="connsiteY2148" fmla="*/ 208361 h 2052818"/>
                <a:gd name="connsiteX2149" fmla="*/ 1280140 w 2222569"/>
                <a:gd name="connsiteY2149" fmla="*/ 215040 h 2052818"/>
                <a:gd name="connsiteX2150" fmla="*/ 1283236 w 2222569"/>
                <a:gd name="connsiteY2150" fmla="*/ 222045 h 2052818"/>
                <a:gd name="connsiteX2151" fmla="*/ 1279326 w 2222569"/>
                <a:gd name="connsiteY2151" fmla="*/ 232308 h 2052818"/>
                <a:gd name="connsiteX2152" fmla="*/ 1273624 w 2222569"/>
                <a:gd name="connsiteY2152" fmla="*/ 235241 h 2052818"/>
                <a:gd name="connsiteX2153" fmla="*/ 1269062 w 2222569"/>
                <a:gd name="connsiteY2153" fmla="*/ 239965 h 2052818"/>
                <a:gd name="connsiteX2154" fmla="*/ 1264827 w 2222569"/>
                <a:gd name="connsiteY2154" fmla="*/ 238988 h 2052818"/>
                <a:gd name="connsiteX2155" fmla="*/ 1260265 w 2222569"/>
                <a:gd name="connsiteY2155" fmla="*/ 238988 h 2052818"/>
                <a:gd name="connsiteX2156" fmla="*/ 1257985 w 2222569"/>
                <a:gd name="connsiteY2156" fmla="*/ 235892 h 2052818"/>
                <a:gd name="connsiteX2157" fmla="*/ 1252771 w 2222569"/>
                <a:gd name="connsiteY2157" fmla="*/ 237359 h 2052818"/>
                <a:gd name="connsiteX2158" fmla="*/ 1246255 w 2222569"/>
                <a:gd name="connsiteY2158" fmla="*/ 230191 h 2052818"/>
                <a:gd name="connsiteX2159" fmla="*/ 1246581 w 2222569"/>
                <a:gd name="connsiteY2159" fmla="*/ 224163 h 2052818"/>
                <a:gd name="connsiteX2160" fmla="*/ 1242671 w 2222569"/>
                <a:gd name="connsiteY2160" fmla="*/ 218461 h 2052818"/>
                <a:gd name="connsiteX2161" fmla="*/ 1240390 w 2222569"/>
                <a:gd name="connsiteY2161" fmla="*/ 220905 h 2052818"/>
                <a:gd name="connsiteX2162" fmla="*/ 1240390 w 2222569"/>
                <a:gd name="connsiteY2162" fmla="*/ 224978 h 2052818"/>
                <a:gd name="connsiteX2163" fmla="*/ 1236318 w 2222569"/>
                <a:gd name="connsiteY2163" fmla="*/ 228724 h 2052818"/>
                <a:gd name="connsiteX2164" fmla="*/ 1236318 w 2222569"/>
                <a:gd name="connsiteY2164" fmla="*/ 228724 h 2052818"/>
                <a:gd name="connsiteX2165" fmla="*/ 1165289 w 2222569"/>
                <a:gd name="connsiteY2165" fmla="*/ 268148 h 2052818"/>
                <a:gd name="connsiteX2166" fmla="*/ 1169525 w 2222569"/>
                <a:gd name="connsiteY2166" fmla="*/ 263098 h 2052818"/>
                <a:gd name="connsiteX2167" fmla="*/ 1169851 w 2222569"/>
                <a:gd name="connsiteY2167" fmla="*/ 259351 h 2052818"/>
                <a:gd name="connsiteX2168" fmla="*/ 1175389 w 2222569"/>
                <a:gd name="connsiteY2168" fmla="*/ 253812 h 2052818"/>
                <a:gd name="connsiteX2169" fmla="*/ 1175715 w 2222569"/>
                <a:gd name="connsiteY2169" fmla="*/ 248274 h 2052818"/>
                <a:gd name="connsiteX2170" fmla="*/ 1181417 w 2222569"/>
                <a:gd name="connsiteY2170" fmla="*/ 245993 h 2052818"/>
                <a:gd name="connsiteX2171" fmla="*/ 1185653 w 2222569"/>
                <a:gd name="connsiteY2171" fmla="*/ 242735 h 2052818"/>
                <a:gd name="connsiteX2172" fmla="*/ 1189563 w 2222569"/>
                <a:gd name="connsiteY2172" fmla="*/ 242735 h 2052818"/>
                <a:gd name="connsiteX2173" fmla="*/ 1201781 w 2222569"/>
                <a:gd name="connsiteY2173" fmla="*/ 240128 h 2052818"/>
                <a:gd name="connsiteX2174" fmla="*/ 1204550 w 2222569"/>
                <a:gd name="connsiteY2174" fmla="*/ 242083 h 2052818"/>
                <a:gd name="connsiteX2175" fmla="*/ 1209112 w 2222569"/>
                <a:gd name="connsiteY2175" fmla="*/ 242083 h 2052818"/>
                <a:gd name="connsiteX2176" fmla="*/ 1212859 w 2222569"/>
                <a:gd name="connsiteY2176" fmla="*/ 243875 h 2052818"/>
                <a:gd name="connsiteX2177" fmla="*/ 1218397 w 2222569"/>
                <a:gd name="connsiteY2177" fmla="*/ 243875 h 2052818"/>
                <a:gd name="connsiteX2178" fmla="*/ 1221330 w 2222569"/>
                <a:gd name="connsiteY2178" fmla="*/ 242735 h 2052818"/>
                <a:gd name="connsiteX2179" fmla="*/ 1229150 w 2222569"/>
                <a:gd name="connsiteY2179" fmla="*/ 244364 h 2052818"/>
                <a:gd name="connsiteX2180" fmla="*/ 1229638 w 2222569"/>
                <a:gd name="connsiteY2180" fmla="*/ 246156 h 2052818"/>
                <a:gd name="connsiteX2181" fmla="*/ 1236969 w 2222569"/>
                <a:gd name="connsiteY2181" fmla="*/ 245830 h 2052818"/>
                <a:gd name="connsiteX2182" fmla="*/ 1242671 w 2222569"/>
                <a:gd name="connsiteY2182" fmla="*/ 247296 h 2052818"/>
                <a:gd name="connsiteX2183" fmla="*/ 1244300 w 2222569"/>
                <a:gd name="connsiteY2183" fmla="*/ 249251 h 2052818"/>
                <a:gd name="connsiteX2184" fmla="*/ 1250491 w 2222569"/>
                <a:gd name="connsiteY2184" fmla="*/ 250228 h 2052818"/>
                <a:gd name="connsiteX2185" fmla="*/ 1251794 w 2222569"/>
                <a:gd name="connsiteY2185" fmla="*/ 252672 h 2052818"/>
                <a:gd name="connsiteX2186" fmla="*/ 1247070 w 2222569"/>
                <a:gd name="connsiteY2186" fmla="*/ 261143 h 2052818"/>
                <a:gd name="connsiteX2187" fmla="*/ 1242997 w 2222569"/>
                <a:gd name="connsiteY2187" fmla="*/ 260003 h 2052818"/>
                <a:gd name="connsiteX2188" fmla="*/ 1230616 w 2222569"/>
                <a:gd name="connsiteY2188" fmla="*/ 264076 h 2052818"/>
                <a:gd name="connsiteX2189" fmla="*/ 1226054 w 2222569"/>
                <a:gd name="connsiteY2189" fmla="*/ 264402 h 2052818"/>
                <a:gd name="connsiteX2190" fmla="*/ 1220027 w 2222569"/>
                <a:gd name="connsiteY2190" fmla="*/ 270103 h 2052818"/>
                <a:gd name="connsiteX2191" fmla="*/ 1220027 w 2222569"/>
                <a:gd name="connsiteY2191" fmla="*/ 273036 h 2052818"/>
                <a:gd name="connsiteX2192" fmla="*/ 1225566 w 2222569"/>
                <a:gd name="connsiteY2192" fmla="*/ 273362 h 2052818"/>
                <a:gd name="connsiteX2193" fmla="*/ 1227358 w 2222569"/>
                <a:gd name="connsiteY2193" fmla="*/ 272384 h 2052818"/>
                <a:gd name="connsiteX2194" fmla="*/ 1228335 w 2222569"/>
                <a:gd name="connsiteY2194" fmla="*/ 276294 h 2052818"/>
                <a:gd name="connsiteX2195" fmla="*/ 1222145 w 2222569"/>
                <a:gd name="connsiteY2195" fmla="*/ 283788 h 2052818"/>
                <a:gd name="connsiteX2196" fmla="*/ 1220515 w 2222569"/>
                <a:gd name="connsiteY2196" fmla="*/ 287209 h 2052818"/>
                <a:gd name="connsiteX2197" fmla="*/ 1216117 w 2222569"/>
                <a:gd name="connsiteY2197" fmla="*/ 288349 h 2052818"/>
                <a:gd name="connsiteX2198" fmla="*/ 1216117 w 2222569"/>
                <a:gd name="connsiteY2198" fmla="*/ 291119 h 2052818"/>
                <a:gd name="connsiteX2199" fmla="*/ 1213185 w 2222569"/>
                <a:gd name="connsiteY2199" fmla="*/ 295354 h 2052818"/>
                <a:gd name="connsiteX2200" fmla="*/ 1207971 w 2222569"/>
                <a:gd name="connsiteY2200" fmla="*/ 295354 h 2052818"/>
                <a:gd name="connsiteX2201" fmla="*/ 1202595 w 2222569"/>
                <a:gd name="connsiteY2201" fmla="*/ 297961 h 2052818"/>
                <a:gd name="connsiteX2202" fmla="*/ 1196731 w 2222569"/>
                <a:gd name="connsiteY2202" fmla="*/ 297961 h 2052818"/>
                <a:gd name="connsiteX2203" fmla="*/ 1191680 w 2222569"/>
                <a:gd name="connsiteY2203" fmla="*/ 294051 h 2052818"/>
                <a:gd name="connsiteX2204" fmla="*/ 1188748 w 2222569"/>
                <a:gd name="connsiteY2204" fmla="*/ 295517 h 2052818"/>
                <a:gd name="connsiteX2205" fmla="*/ 1183535 w 2222569"/>
                <a:gd name="connsiteY2205" fmla="*/ 294540 h 2052818"/>
                <a:gd name="connsiteX2206" fmla="*/ 1177996 w 2222569"/>
                <a:gd name="connsiteY2206" fmla="*/ 294866 h 2052818"/>
                <a:gd name="connsiteX2207" fmla="*/ 1176530 w 2222569"/>
                <a:gd name="connsiteY2207" fmla="*/ 292911 h 2052818"/>
                <a:gd name="connsiteX2208" fmla="*/ 1179462 w 2222569"/>
                <a:gd name="connsiteY2208" fmla="*/ 289652 h 2052818"/>
                <a:gd name="connsiteX2209" fmla="*/ 1175715 w 2222569"/>
                <a:gd name="connsiteY2209" fmla="*/ 283462 h 2052818"/>
                <a:gd name="connsiteX2210" fmla="*/ 1170665 w 2222569"/>
                <a:gd name="connsiteY2210" fmla="*/ 280041 h 2052818"/>
                <a:gd name="connsiteX2211" fmla="*/ 1167407 w 2222569"/>
                <a:gd name="connsiteY2211" fmla="*/ 279552 h 2052818"/>
                <a:gd name="connsiteX2212" fmla="*/ 1166429 w 2222569"/>
                <a:gd name="connsiteY2212" fmla="*/ 273362 h 2052818"/>
                <a:gd name="connsiteX2213" fmla="*/ 1165126 w 2222569"/>
                <a:gd name="connsiteY2213" fmla="*/ 267823 h 2052818"/>
                <a:gd name="connsiteX2214" fmla="*/ 1165126 w 2222569"/>
                <a:gd name="connsiteY2214" fmla="*/ 267823 h 2052818"/>
                <a:gd name="connsiteX2215" fmla="*/ 1159099 w 2222569"/>
                <a:gd name="connsiteY2215" fmla="*/ 249903 h 2052818"/>
                <a:gd name="connsiteX2216" fmla="*/ 1162520 w 2222569"/>
                <a:gd name="connsiteY2216" fmla="*/ 251695 h 2052818"/>
                <a:gd name="connsiteX2217" fmla="*/ 1169199 w 2222569"/>
                <a:gd name="connsiteY2217" fmla="*/ 249740 h 2052818"/>
                <a:gd name="connsiteX2218" fmla="*/ 1173272 w 2222569"/>
                <a:gd name="connsiteY2218" fmla="*/ 244201 h 2052818"/>
                <a:gd name="connsiteX2219" fmla="*/ 1173272 w 2222569"/>
                <a:gd name="connsiteY2219" fmla="*/ 238173 h 2052818"/>
                <a:gd name="connsiteX2220" fmla="*/ 1174412 w 2222569"/>
                <a:gd name="connsiteY2220" fmla="*/ 234752 h 2052818"/>
                <a:gd name="connsiteX2221" fmla="*/ 1174086 w 2222569"/>
                <a:gd name="connsiteY2221" fmla="*/ 230842 h 2052818"/>
                <a:gd name="connsiteX2222" fmla="*/ 1175715 w 2222569"/>
                <a:gd name="connsiteY2222" fmla="*/ 224163 h 2052818"/>
                <a:gd name="connsiteX2223" fmla="*/ 1171480 w 2222569"/>
                <a:gd name="connsiteY2223" fmla="*/ 225629 h 2052818"/>
                <a:gd name="connsiteX2224" fmla="*/ 1168547 w 2222569"/>
                <a:gd name="connsiteY2224" fmla="*/ 225629 h 2052818"/>
                <a:gd name="connsiteX2225" fmla="*/ 1164475 w 2222569"/>
                <a:gd name="connsiteY2225" fmla="*/ 223674 h 2052818"/>
                <a:gd name="connsiteX2226" fmla="*/ 1161216 w 2222569"/>
                <a:gd name="connsiteY2226" fmla="*/ 226607 h 2052818"/>
                <a:gd name="connsiteX2227" fmla="*/ 1158121 w 2222569"/>
                <a:gd name="connsiteY2227" fmla="*/ 226932 h 2052818"/>
                <a:gd name="connsiteX2228" fmla="*/ 1156329 w 2222569"/>
                <a:gd name="connsiteY2228" fmla="*/ 231494 h 2052818"/>
                <a:gd name="connsiteX2229" fmla="*/ 1156329 w 2222569"/>
                <a:gd name="connsiteY2229" fmla="*/ 237359 h 2052818"/>
                <a:gd name="connsiteX2230" fmla="*/ 1155352 w 2222569"/>
                <a:gd name="connsiteY2230" fmla="*/ 242572 h 2052818"/>
                <a:gd name="connsiteX2231" fmla="*/ 1159262 w 2222569"/>
                <a:gd name="connsiteY2231" fmla="*/ 249903 h 2052818"/>
                <a:gd name="connsiteX2232" fmla="*/ 1159262 w 2222569"/>
                <a:gd name="connsiteY2232" fmla="*/ 249903 h 2052818"/>
                <a:gd name="connsiteX2233" fmla="*/ 1590319 w 2222569"/>
                <a:gd name="connsiteY2233" fmla="*/ 627037 h 2052818"/>
                <a:gd name="connsiteX2234" fmla="*/ 1595532 w 2222569"/>
                <a:gd name="connsiteY2234" fmla="*/ 628666 h 2052818"/>
                <a:gd name="connsiteX2235" fmla="*/ 1600419 w 2222569"/>
                <a:gd name="connsiteY2235" fmla="*/ 626386 h 2052818"/>
                <a:gd name="connsiteX2236" fmla="*/ 1601397 w 2222569"/>
                <a:gd name="connsiteY2236" fmla="*/ 631599 h 2052818"/>
                <a:gd name="connsiteX2237" fmla="*/ 1606121 w 2222569"/>
                <a:gd name="connsiteY2237" fmla="*/ 631599 h 2052818"/>
                <a:gd name="connsiteX2238" fmla="*/ 1607099 w 2222569"/>
                <a:gd name="connsiteY2238" fmla="*/ 633717 h 2052818"/>
                <a:gd name="connsiteX2239" fmla="*/ 1611823 w 2222569"/>
                <a:gd name="connsiteY2239" fmla="*/ 633717 h 2052818"/>
                <a:gd name="connsiteX2240" fmla="*/ 1620620 w 2222569"/>
                <a:gd name="connsiteY2240" fmla="*/ 628015 h 2052818"/>
                <a:gd name="connsiteX2241" fmla="*/ 1625019 w 2222569"/>
                <a:gd name="connsiteY2241" fmla="*/ 627526 h 2052818"/>
                <a:gd name="connsiteX2242" fmla="*/ 1632838 w 2222569"/>
                <a:gd name="connsiteY2242" fmla="*/ 631273 h 2052818"/>
                <a:gd name="connsiteX2243" fmla="*/ 1637400 w 2222569"/>
                <a:gd name="connsiteY2243" fmla="*/ 630784 h 2052818"/>
                <a:gd name="connsiteX2244" fmla="*/ 1640332 w 2222569"/>
                <a:gd name="connsiteY2244" fmla="*/ 632413 h 2052818"/>
                <a:gd name="connsiteX2245" fmla="*/ 1643102 w 2222569"/>
                <a:gd name="connsiteY2245" fmla="*/ 629807 h 2052818"/>
                <a:gd name="connsiteX2246" fmla="*/ 1643102 w 2222569"/>
                <a:gd name="connsiteY2246" fmla="*/ 627200 h 2052818"/>
                <a:gd name="connsiteX2247" fmla="*/ 1646197 w 2222569"/>
                <a:gd name="connsiteY2247" fmla="*/ 620684 h 2052818"/>
                <a:gd name="connsiteX2248" fmla="*/ 1649292 w 2222569"/>
                <a:gd name="connsiteY2248" fmla="*/ 620684 h 2052818"/>
                <a:gd name="connsiteX2249" fmla="*/ 1649455 w 2222569"/>
                <a:gd name="connsiteY2249" fmla="*/ 617589 h 2052818"/>
                <a:gd name="connsiteX2250" fmla="*/ 1646849 w 2222569"/>
                <a:gd name="connsiteY2250" fmla="*/ 612050 h 2052818"/>
                <a:gd name="connsiteX2251" fmla="*/ 1646849 w 2222569"/>
                <a:gd name="connsiteY2251" fmla="*/ 606348 h 2052818"/>
                <a:gd name="connsiteX2252" fmla="*/ 1649781 w 2222569"/>
                <a:gd name="connsiteY2252" fmla="*/ 609443 h 2052818"/>
                <a:gd name="connsiteX2253" fmla="*/ 1649781 w 2222569"/>
                <a:gd name="connsiteY2253" fmla="*/ 612538 h 2052818"/>
                <a:gd name="connsiteX2254" fmla="*/ 1653854 w 2222569"/>
                <a:gd name="connsiteY2254" fmla="*/ 618566 h 2052818"/>
                <a:gd name="connsiteX2255" fmla="*/ 1656135 w 2222569"/>
                <a:gd name="connsiteY2255" fmla="*/ 615145 h 2052818"/>
                <a:gd name="connsiteX2256" fmla="*/ 1659230 w 2222569"/>
                <a:gd name="connsiteY2256" fmla="*/ 615634 h 2052818"/>
                <a:gd name="connsiteX2257" fmla="*/ 1662488 w 2222569"/>
                <a:gd name="connsiteY2257" fmla="*/ 614982 h 2052818"/>
                <a:gd name="connsiteX2258" fmla="*/ 1664932 w 2222569"/>
                <a:gd name="connsiteY2258" fmla="*/ 616285 h 2052818"/>
                <a:gd name="connsiteX2259" fmla="*/ 1665909 w 2222569"/>
                <a:gd name="connsiteY2259" fmla="*/ 613516 h 2052818"/>
                <a:gd name="connsiteX2260" fmla="*/ 1664443 w 2222569"/>
                <a:gd name="connsiteY2260" fmla="*/ 607977 h 2052818"/>
                <a:gd name="connsiteX2261" fmla="*/ 1664932 w 2222569"/>
                <a:gd name="connsiteY2261" fmla="*/ 604719 h 2052818"/>
                <a:gd name="connsiteX2262" fmla="*/ 1661836 w 2222569"/>
                <a:gd name="connsiteY2262" fmla="*/ 602275 h 2052818"/>
                <a:gd name="connsiteX2263" fmla="*/ 1656297 w 2222569"/>
                <a:gd name="connsiteY2263" fmla="*/ 604067 h 2052818"/>
                <a:gd name="connsiteX2264" fmla="*/ 1650433 w 2222569"/>
                <a:gd name="connsiteY2264" fmla="*/ 604393 h 2052818"/>
                <a:gd name="connsiteX2265" fmla="*/ 1649129 w 2222569"/>
                <a:gd name="connsiteY2265" fmla="*/ 600157 h 2052818"/>
                <a:gd name="connsiteX2266" fmla="*/ 1651573 w 2222569"/>
                <a:gd name="connsiteY2266" fmla="*/ 598691 h 2052818"/>
                <a:gd name="connsiteX2267" fmla="*/ 1654668 w 2222569"/>
                <a:gd name="connsiteY2267" fmla="*/ 599994 h 2052818"/>
                <a:gd name="connsiteX2268" fmla="*/ 1660044 w 2222569"/>
                <a:gd name="connsiteY2268" fmla="*/ 598202 h 2052818"/>
                <a:gd name="connsiteX2269" fmla="*/ 1662977 w 2222569"/>
                <a:gd name="connsiteY2269" fmla="*/ 593804 h 2052818"/>
                <a:gd name="connsiteX2270" fmla="*/ 1665746 w 2222569"/>
                <a:gd name="connsiteY2270" fmla="*/ 596410 h 2052818"/>
                <a:gd name="connsiteX2271" fmla="*/ 1668841 w 2222569"/>
                <a:gd name="connsiteY2271" fmla="*/ 595922 h 2052818"/>
                <a:gd name="connsiteX2272" fmla="*/ 1671611 w 2222569"/>
                <a:gd name="connsiteY2272" fmla="*/ 591197 h 2052818"/>
                <a:gd name="connsiteX2273" fmla="*/ 1670959 w 2222569"/>
                <a:gd name="connsiteY2273" fmla="*/ 588265 h 2052818"/>
                <a:gd name="connsiteX2274" fmla="*/ 1673566 w 2222569"/>
                <a:gd name="connsiteY2274" fmla="*/ 583215 h 2052818"/>
                <a:gd name="connsiteX2275" fmla="*/ 1672425 w 2222569"/>
                <a:gd name="connsiteY2275" fmla="*/ 580119 h 2052818"/>
                <a:gd name="connsiteX2276" fmla="*/ 1675358 w 2222569"/>
                <a:gd name="connsiteY2276" fmla="*/ 579305 h 2052818"/>
                <a:gd name="connsiteX2277" fmla="*/ 1676172 w 2222569"/>
                <a:gd name="connsiteY2277" fmla="*/ 576861 h 2052818"/>
                <a:gd name="connsiteX2278" fmla="*/ 1670145 w 2222569"/>
                <a:gd name="connsiteY2278" fmla="*/ 575232 h 2052818"/>
                <a:gd name="connsiteX2279" fmla="*/ 1665420 w 2222569"/>
                <a:gd name="connsiteY2279" fmla="*/ 576373 h 2052818"/>
                <a:gd name="connsiteX2280" fmla="*/ 1667212 w 2222569"/>
                <a:gd name="connsiteY2280" fmla="*/ 572300 h 2052818"/>
                <a:gd name="connsiteX2281" fmla="*/ 1670145 w 2222569"/>
                <a:gd name="connsiteY2281" fmla="*/ 571160 h 2052818"/>
                <a:gd name="connsiteX2282" fmla="*/ 1670470 w 2222569"/>
                <a:gd name="connsiteY2282" fmla="*/ 566435 h 2052818"/>
                <a:gd name="connsiteX2283" fmla="*/ 1666072 w 2222569"/>
                <a:gd name="connsiteY2283" fmla="*/ 563503 h 2052818"/>
                <a:gd name="connsiteX2284" fmla="*/ 1656135 w 2222569"/>
                <a:gd name="connsiteY2284" fmla="*/ 563503 h 2052818"/>
                <a:gd name="connsiteX2285" fmla="*/ 1654179 w 2222569"/>
                <a:gd name="connsiteY2285" fmla="*/ 560570 h 2052818"/>
                <a:gd name="connsiteX2286" fmla="*/ 1654668 w 2222569"/>
                <a:gd name="connsiteY2286" fmla="*/ 557638 h 2052818"/>
                <a:gd name="connsiteX2287" fmla="*/ 1657275 w 2222569"/>
                <a:gd name="connsiteY2287" fmla="*/ 556498 h 2052818"/>
                <a:gd name="connsiteX2288" fmla="*/ 1655646 w 2222569"/>
                <a:gd name="connsiteY2288" fmla="*/ 551936 h 2052818"/>
                <a:gd name="connsiteX2289" fmla="*/ 1647500 w 2222569"/>
                <a:gd name="connsiteY2289" fmla="*/ 545257 h 2052818"/>
                <a:gd name="connsiteX2290" fmla="*/ 1643427 w 2222569"/>
                <a:gd name="connsiteY2290" fmla="*/ 545257 h 2052818"/>
                <a:gd name="connsiteX2291" fmla="*/ 1639518 w 2222569"/>
                <a:gd name="connsiteY2291" fmla="*/ 547701 h 2052818"/>
                <a:gd name="connsiteX2292" fmla="*/ 1632838 w 2222569"/>
                <a:gd name="connsiteY2292" fmla="*/ 547701 h 2052818"/>
                <a:gd name="connsiteX2293" fmla="*/ 1625019 w 2222569"/>
                <a:gd name="connsiteY2293" fmla="*/ 549981 h 2052818"/>
                <a:gd name="connsiteX2294" fmla="*/ 1616385 w 2222569"/>
                <a:gd name="connsiteY2294" fmla="*/ 543954 h 2052818"/>
                <a:gd name="connsiteX2295" fmla="*/ 1615081 w 2222569"/>
                <a:gd name="connsiteY2295" fmla="*/ 540044 h 2052818"/>
                <a:gd name="connsiteX2296" fmla="*/ 1612312 w 2222569"/>
                <a:gd name="connsiteY2296" fmla="*/ 538578 h 2052818"/>
                <a:gd name="connsiteX2297" fmla="*/ 1607751 w 2222569"/>
                <a:gd name="connsiteY2297" fmla="*/ 541510 h 2052818"/>
                <a:gd name="connsiteX2298" fmla="*/ 1604329 w 2222569"/>
                <a:gd name="connsiteY2298" fmla="*/ 541184 h 2052818"/>
                <a:gd name="connsiteX2299" fmla="*/ 1601560 w 2222569"/>
                <a:gd name="connsiteY2299" fmla="*/ 542487 h 2052818"/>
                <a:gd name="connsiteX2300" fmla="*/ 1595858 w 2222569"/>
                <a:gd name="connsiteY2300" fmla="*/ 542487 h 2052818"/>
                <a:gd name="connsiteX2301" fmla="*/ 1593903 w 2222569"/>
                <a:gd name="connsiteY2301" fmla="*/ 547538 h 2052818"/>
                <a:gd name="connsiteX2302" fmla="*/ 1591297 w 2222569"/>
                <a:gd name="connsiteY2302" fmla="*/ 544442 h 2052818"/>
                <a:gd name="connsiteX2303" fmla="*/ 1587224 w 2222569"/>
                <a:gd name="connsiteY2303" fmla="*/ 541836 h 2052818"/>
                <a:gd name="connsiteX2304" fmla="*/ 1582500 w 2222569"/>
                <a:gd name="connsiteY2304" fmla="*/ 543628 h 2052818"/>
                <a:gd name="connsiteX2305" fmla="*/ 1576635 w 2222569"/>
                <a:gd name="connsiteY2305" fmla="*/ 544605 h 2052818"/>
                <a:gd name="connsiteX2306" fmla="*/ 1576635 w 2222569"/>
                <a:gd name="connsiteY2306" fmla="*/ 547701 h 2052818"/>
                <a:gd name="connsiteX2307" fmla="*/ 1574843 w 2222569"/>
                <a:gd name="connsiteY2307" fmla="*/ 549493 h 2052818"/>
                <a:gd name="connsiteX2308" fmla="*/ 1574843 w 2222569"/>
                <a:gd name="connsiteY2308" fmla="*/ 546234 h 2052818"/>
                <a:gd name="connsiteX2309" fmla="*/ 1572562 w 2222569"/>
                <a:gd name="connsiteY2309" fmla="*/ 543954 h 2052818"/>
                <a:gd name="connsiteX2310" fmla="*/ 1567838 w 2222569"/>
                <a:gd name="connsiteY2310" fmla="*/ 545420 h 2052818"/>
                <a:gd name="connsiteX2311" fmla="*/ 1556760 w 2222569"/>
                <a:gd name="connsiteY2311" fmla="*/ 543791 h 2052818"/>
                <a:gd name="connsiteX2312" fmla="*/ 1555294 w 2222569"/>
                <a:gd name="connsiteY2312" fmla="*/ 545257 h 2052818"/>
                <a:gd name="connsiteX2313" fmla="*/ 1558878 w 2222569"/>
                <a:gd name="connsiteY2313" fmla="*/ 548678 h 2052818"/>
                <a:gd name="connsiteX2314" fmla="*/ 1558878 w 2222569"/>
                <a:gd name="connsiteY2314" fmla="*/ 552588 h 2052818"/>
                <a:gd name="connsiteX2315" fmla="*/ 1562787 w 2222569"/>
                <a:gd name="connsiteY2315" fmla="*/ 556009 h 2052818"/>
                <a:gd name="connsiteX2316" fmla="*/ 1557411 w 2222569"/>
                <a:gd name="connsiteY2316" fmla="*/ 554869 h 2052818"/>
                <a:gd name="connsiteX2317" fmla="*/ 1555457 w 2222569"/>
                <a:gd name="connsiteY2317" fmla="*/ 551610 h 2052818"/>
                <a:gd name="connsiteX2318" fmla="*/ 1552036 w 2222569"/>
                <a:gd name="connsiteY2318" fmla="*/ 550633 h 2052818"/>
                <a:gd name="connsiteX2319" fmla="*/ 1545356 w 2222569"/>
                <a:gd name="connsiteY2319" fmla="*/ 552262 h 2052818"/>
                <a:gd name="connsiteX2320" fmla="*/ 1542424 w 2222569"/>
                <a:gd name="connsiteY2320" fmla="*/ 550633 h 2052818"/>
                <a:gd name="connsiteX2321" fmla="*/ 1547800 w 2222569"/>
                <a:gd name="connsiteY2321" fmla="*/ 548678 h 2052818"/>
                <a:gd name="connsiteX2322" fmla="*/ 1547800 w 2222569"/>
                <a:gd name="connsiteY2322" fmla="*/ 544768 h 2052818"/>
                <a:gd name="connsiteX2323" fmla="*/ 1542587 w 2222569"/>
                <a:gd name="connsiteY2323" fmla="*/ 538741 h 2052818"/>
                <a:gd name="connsiteX2324" fmla="*/ 1543076 w 2222569"/>
                <a:gd name="connsiteY2324" fmla="*/ 535645 h 2052818"/>
                <a:gd name="connsiteX2325" fmla="*/ 1541446 w 2222569"/>
                <a:gd name="connsiteY2325" fmla="*/ 532876 h 2052818"/>
                <a:gd name="connsiteX2326" fmla="*/ 1535419 w 2222569"/>
                <a:gd name="connsiteY2326" fmla="*/ 536297 h 2052818"/>
                <a:gd name="connsiteX2327" fmla="*/ 1536559 w 2222569"/>
                <a:gd name="connsiteY2327" fmla="*/ 539718 h 2052818"/>
                <a:gd name="connsiteX2328" fmla="*/ 1535256 w 2222569"/>
                <a:gd name="connsiteY2328" fmla="*/ 542650 h 2052818"/>
                <a:gd name="connsiteX2329" fmla="*/ 1531020 w 2222569"/>
                <a:gd name="connsiteY2329" fmla="*/ 541184 h 2052818"/>
                <a:gd name="connsiteX2330" fmla="*/ 1532812 w 2222569"/>
                <a:gd name="connsiteY2330" fmla="*/ 538089 h 2052818"/>
                <a:gd name="connsiteX2331" fmla="*/ 1532323 w 2222569"/>
                <a:gd name="connsiteY2331" fmla="*/ 534994 h 2052818"/>
                <a:gd name="connsiteX2332" fmla="*/ 1527599 w 2222569"/>
                <a:gd name="connsiteY2332" fmla="*/ 533690 h 2052818"/>
                <a:gd name="connsiteX2333" fmla="*/ 1524667 w 2222569"/>
                <a:gd name="connsiteY2333" fmla="*/ 535971 h 2052818"/>
                <a:gd name="connsiteX2334" fmla="*/ 1521246 w 2222569"/>
                <a:gd name="connsiteY2334" fmla="*/ 535971 h 2052818"/>
                <a:gd name="connsiteX2335" fmla="*/ 1522712 w 2222569"/>
                <a:gd name="connsiteY2335" fmla="*/ 531410 h 2052818"/>
                <a:gd name="connsiteX2336" fmla="*/ 1522223 w 2222569"/>
                <a:gd name="connsiteY2336" fmla="*/ 528966 h 2052818"/>
                <a:gd name="connsiteX2337" fmla="*/ 1522223 w 2222569"/>
                <a:gd name="connsiteY2337" fmla="*/ 523427 h 2052818"/>
                <a:gd name="connsiteX2338" fmla="*/ 1516521 w 2222569"/>
                <a:gd name="connsiteY2338" fmla="*/ 524893 h 2052818"/>
                <a:gd name="connsiteX2339" fmla="*/ 1511308 w 2222569"/>
                <a:gd name="connsiteY2339" fmla="*/ 530758 h 2052818"/>
                <a:gd name="connsiteX2340" fmla="*/ 1511797 w 2222569"/>
                <a:gd name="connsiteY2340" fmla="*/ 536786 h 2052818"/>
                <a:gd name="connsiteX2341" fmla="*/ 1508539 w 2222569"/>
                <a:gd name="connsiteY2341" fmla="*/ 536786 h 2052818"/>
                <a:gd name="connsiteX2342" fmla="*/ 1506584 w 2222569"/>
                <a:gd name="connsiteY2342" fmla="*/ 532387 h 2052818"/>
                <a:gd name="connsiteX2343" fmla="*/ 1508539 w 2222569"/>
                <a:gd name="connsiteY2343" fmla="*/ 528314 h 2052818"/>
                <a:gd name="connsiteX2344" fmla="*/ 1508539 w 2222569"/>
                <a:gd name="connsiteY2344" fmla="*/ 525056 h 2052818"/>
                <a:gd name="connsiteX2345" fmla="*/ 1511471 w 2222569"/>
                <a:gd name="connsiteY2345" fmla="*/ 517562 h 2052818"/>
                <a:gd name="connsiteX2346" fmla="*/ 1508050 w 2222569"/>
                <a:gd name="connsiteY2346" fmla="*/ 513815 h 2052818"/>
                <a:gd name="connsiteX2347" fmla="*/ 1502185 w 2222569"/>
                <a:gd name="connsiteY2347" fmla="*/ 516259 h 2052818"/>
                <a:gd name="connsiteX2348" fmla="*/ 1502185 w 2222569"/>
                <a:gd name="connsiteY2348" fmla="*/ 513490 h 2052818"/>
                <a:gd name="connsiteX2349" fmla="*/ 1506095 w 2222569"/>
                <a:gd name="connsiteY2349" fmla="*/ 511861 h 2052818"/>
                <a:gd name="connsiteX2350" fmla="*/ 1508702 w 2222569"/>
                <a:gd name="connsiteY2350" fmla="*/ 506159 h 2052818"/>
                <a:gd name="connsiteX2351" fmla="*/ 1508213 w 2222569"/>
                <a:gd name="connsiteY2351" fmla="*/ 502249 h 2052818"/>
                <a:gd name="connsiteX2352" fmla="*/ 1504792 w 2222569"/>
                <a:gd name="connsiteY2352" fmla="*/ 503715 h 2052818"/>
                <a:gd name="connsiteX2353" fmla="*/ 1500393 w 2222569"/>
                <a:gd name="connsiteY2353" fmla="*/ 502412 h 2052818"/>
                <a:gd name="connsiteX2354" fmla="*/ 1498601 w 2222569"/>
                <a:gd name="connsiteY2354" fmla="*/ 503878 h 2052818"/>
                <a:gd name="connsiteX2355" fmla="*/ 1494203 w 2222569"/>
                <a:gd name="connsiteY2355" fmla="*/ 503878 h 2052818"/>
                <a:gd name="connsiteX2356" fmla="*/ 1496972 w 2222569"/>
                <a:gd name="connsiteY2356" fmla="*/ 501923 h 2052818"/>
                <a:gd name="connsiteX2357" fmla="*/ 1496158 w 2222569"/>
                <a:gd name="connsiteY2357" fmla="*/ 499479 h 2052818"/>
                <a:gd name="connsiteX2358" fmla="*/ 1492085 w 2222569"/>
                <a:gd name="connsiteY2358" fmla="*/ 499479 h 2052818"/>
                <a:gd name="connsiteX2359" fmla="*/ 1488990 w 2222569"/>
                <a:gd name="connsiteY2359" fmla="*/ 502575 h 2052818"/>
                <a:gd name="connsiteX2360" fmla="*/ 1482962 w 2222569"/>
                <a:gd name="connsiteY2360" fmla="*/ 503715 h 2052818"/>
                <a:gd name="connsiteX2361" fmla="*/ 1482962 w 2222569"/>
                <a:gd name="connsiteY2361" fmla="*/ 501109 h 2052818"/>
                <a:gd name="connsiteX2362" fmla="*/ 1486057 w 2222569"/>
                <a:gd name="connsiteY2362" fmla="*/ 499479 h 2052818"/>
                <a:gd name="connsiteX2363" fmla="*/ 1488501 w 2222569"/>
                <a:gd name="connsiteY2363" fmla="*/ 495407 h 2052818"/>
                <a:gd name="connsiteX2364" fmla="*/ 1489641 w 2222569"/>
                <a:gd name="connsiteY2364" fmla="*/ 491497 h 2052818"/>
                <a:gd name="connsiteX2365" fmla="*/ 1492900 w 2222569"/>
                <a:gd name="connsiteY2365" fmla="*/ 491497 h 2052818"/>
                <a:gd name="connsiteX2366" fmla="*/ 1497135 w 2222569"/>
                <a:gd name="connsiteY2366" fmla="*/ 496058 h 2052818"/>
                <a:gd name="connsiteX2367" fmla="*/ 1504140 w 2222569"/>
                <a:gd name="connsiteY2367" fmla="*/ 496058 h 2052818"/>
                <a:gd name="connsiteX2368" fmla="*/ 1503326 w 2222569"/>
                <a:gd name="connsiteY2368" fmla="*/ 493126 h 2052818"/>
                <a:gd name="connsiteX2369" fmla="*/ 1498927 w 2222569"/>
                <a:gd name="connsiteY2369" fmla="*/ 488076 h 2052818"/>
                <a:gd name="connsiteX2370" fmla="*/ 1494366 w 2222569"/>
                <a:gd name="connsiteY2370" fmla="*/ 487587 h 2052818"/>
                <a:gd name="connsiteX2371" fmla="*/ 1496972 w 2222569"/>
                <a:gd name="connsiteY2371" fmla="*/ 485958 h 2052818"/>
                <a:gd name="connsiteX2372" fmla="*/ 1490945 w 2222569"/>
                <a:gd name="connsiteY2372" fmla="*/ 479767 h 2052818"/>
                <a:gd name="connsiteX2373" fmla="*/ 1485894 w 2222569"/>
                <a:gd name="connsiteY2373" fmla="*/ 476998 h 2052818"/>
                <a:gd name="connsiteX2374" fmla="*/ 1488664 w 2222569"/>
                <a:gd name="connsiteY2374" fmla="*/ 476346 h 2052818"/>
                <a:gd name="connsiteX2375" fmla="*/ 1489153 w 2222569"/>
                <a:gd name="connsiteY2375" fmla="*/ 473088 h 2052818"/>
                <a:gd name="connsiteX2376" fmla="*/ 1491759 w 2222569"/>
                <a:gd name="connsiteY2376" fmla="*/ 473088 h 2052818"/>
                <a:gd name="connsiteX2377" fmla="*/ 1494203 w 2222569"/>
                <a:gd name="connsiteY2377" fmla="*/ 478138 h 2052818"/>
                <a:gd name="connsiteX2378" fmla="*/ 1499253 w 2222569"/>
                <a:gd name="connsiteY2378" fmla="*/ 483351 h 2052818"/>
                <a:gd name="connsiteX2379" fmla="*/ 1505281 w 2222569"/>
                <a:gd name="connsiteY2379" fmla="*/ 484981 h 2052818"/>
                <a:gd name="connsiteX2380" fmla="*/ 1509516 w 2222569"/>
                <a:gd name="connsiteY2380" fmla="*/ 489216 h 2052818"/>
                <a:gd name="connsiteX2381" fmla="*/ 1512123 w 2222569"/>
                <a:gd name="connsiteY2381" fmla="*/ 486284 h 2052818"/>
                <a:gd name="connsiteX2382" fmla="*/ 1515055 w 2222569"/>
                <a:gd name="connsiteY2382" fmla="*/ 489705 h 2052818"/>
                <a:gd name="connsiteX2383" fmla="*/ 1523038 w 2222569"/>
                <a:gd name="connsiteY2383" fmla="*/ 491497 h 2052818"/>
                <a:gd name="connsiteX2384" fmla="*/ 1528414 w 2222569"/>
                <a:gd name="connsiteY2384" fmla="*/ 491497 h 2052818"/>
                <a:gd name="connsiteX2385" fmla="*/ 1530206 w 2222569"/>
                <a:gd name="connsiteY2385" fmla="*/ 487261 h 2052818"/>
                <a:gd name="connsiteX2386" fmla="*/ 1528577 w 2222569"/>
                <a:gd name="connsiteY2386" fmla="*/ 481559 h 2052818"/>
                <a:gd name="connsiteX2387" fmla="*/ 1518313 w 2222569"/>
                <a:gd name="connsiteY2387" fmla="*/ 473740 h 2052818"/>
                <a:gd name="connsiteX2388" fmla="*/ 1513915 w 2222569"/>
                <a:gd name="connsiteY2388" fmla="*/ 469015 h 2052818"/>
                <a:gd name="connsiteX2389" fmla="*/ 1510819 w 2222569"/>
                <a:gd name="connsiteY2389" fmla="*/ 469504 h 2052818"/>
                <a:gd name="connsiteX2390" fmla="*/ 1509679 w 2222569"/>
                <a:gd name="connsiteY2390" fmla="*/ 465106 h 2052818"/>
                <a:gd name="connsiteX2391" fmla="*/ 1505118 w 2222569"/>
                <a:gd name="connsiteY2391" fmla="*/ 460544 h 2052818"/>
                <a:gd name="connsiteX2392" fmla="*/ 1502674 w 2222569"/>
                <a:gd name="connsiteY2392" fmla="*/ 460544 h 2052818"/>
                <a:gd name="connsiteX2393" fmla="*/ 1500393 w 2222569"/>
                <a:gd name="connsiteY2393" fmla="*/ 457775 h 2052818"/>
                <a:gd name="connsiteX2394" fmla="*/ 1502022 w 2222569"/>
                <a:gd name="connsiteY2394" fmla="*/ 454842 h 2052818"/>
                <a:gd name="connsiteX2395" fmla="*/ 1505769 w 2222569"/>
                <a:gd name="connsiteY2395" fmla="*/ 456146 h 2052818"/>
                <a:gd name="connsiteX2396" fmla="*/ 1509190 w 2222569"/>
                <a:gd name="connsiteY2396" fmla="*/ 460381 h 2052818"/>
                <a:gd name="connsiteX2397" fmla="*/ 1512611 w 2222569"/>
                <a:gd name="connsiteY2397" fmla="*/ 460381 h 2052818"/>
                <a:gd name="connsiteX2398" fmla="*/ 1513752 w 2222569"/>
                <a:gd name="connsiteY2398" fmla="*/ 464780 h 2052818"/>
                <a:gd name="connsiteX2399" fmla="*/ 1516684 w 2222569"/>
                <a:gd name="connsiteY2399" fmla="*/ 465106 h 2052818"/>
                <a:gd name="connsiteX2400" fmla="*/ 1518476 w 2222569"/>
                <a:gd name="connsiteY2400" fmla="*/ 461685 h 2052818"/>
                <a:gd name="connsiteX2401" fmla="*/ 1516521 w 2222569"/>
                <a:gd name="connsiteY2401" fmla="*/ 453376 h 2052818"/>
                <a:gd name="connsiteX2402" fmla="*/ 1510819 w 2222569"/>
                <a:gd name="connsiteY2402" fmla="*/ 446045 h 2052818"/>
                <a:gd name="connsiteX2403" fmla="*/ 1506584 w 2222569"/>
                <a:gd name="connsiteY2403" fmla="*/ 446045 h 2052818"/>
                <a:gd name="connsiteX2404" fmla="*/ 1505281 w 2222569"/>
                <a:gd name="connsiteY2404" fmla="*/ 445068 h 2052818"/>
                <a:gd name="connsiteX2405" fmla="*/ 1500068 w 2222569"/>
                <a:gd name="connsiteY2405" fmla="*/ 445068 h 2052818"/>
                <a:gd name="connsiteX2406" fmla="*/ 1494366 w 2222569"/>
                <a:gd name="connsiteY2406" fmla="*/ 448815 h 2052818"/>
                <a:gd name="connsiteX2407" fmla="*/ 1489804 w 2222569"/>
                <a:gd name="connsiteY2407" fmla="*/ 448815 h 2052818"/>
                <a:gd name="connsiteX2408" fmla="*/ 1485406 w 2222569"/>
                <a:gd name="connsiteY2408" fmla="*/ 445557 h 2052818"/>
                <a:gd name="connsiteX2409" fmla="*/ 1481985 w 2222569"/>
                <a:gd name="connsiteY2409" fmla="*/ 446208 h 2052818"/>
                <a:gd name="connsiteX2410" fmla="*/ 1478889 w 2222569"/>
                <a:gd name="connsiteY2410" fmla="*/ 442135 h 2052818"/>
                <a:gd name="connsiteX2411" fmla="*/ 1473676 w 2222569"/>
                <a:gd name="connsiteY2411" fmla="*/ 449955 h 2052818"/>
                <a:gd name="connsiteX2412" fmla="*/ 1466671 w 2222569"/>
                <a:gd name="connsiteY2412" fmla="*/ 453702 h 2052818"/>
                <a:gd name="connsiteX2413" fmla="*/ 1465368 w 2222569"/>
                <a:gd name="connsiteY2413" fmla="*/ 457612 h 2052818"/>
                <a:gd name="connsiteX2414" fmla="*/ 1461621 w 2222569"/>
                <a:gd name="connsiteY2414" fmla="*/ 459893 h 2052818"/>
                <a:gd name="connsiteX2415" fmla="*/ 1461621 w 2222569"/>
                <a:gd name="connsiteY2415" fmla="*/ 456471 h 2052818"/>
                <a:gd name="connsiteX2416" fmla="*/ 1464879 w 2222569"/>
                <a:gd name="connsiteY2416" fmla="*/ 451910 h 2052818"/>
                <a:gd name="connsiteX2417" fmla="*/ 1467649 w 2222569"/>
                <a:gd name="connsiteY2417" fmla="*/ 450770 h 2052818"/>
                <a:gd name="connsiteX2418" fmla="*/ 1478075 w 2222569"/>
                <a:gd name="connsiteY2418" fmla="*/ 440832 h 2052818"/>
                <a:gd name="connsiteX2419" fmla="*/ 1479052 w 2222569"/>
                <a:gd name="connsiteY2419" fmla="*/ 437737 h 2052818"/>
                <a:gd name="connsiteX2420" fmla="*/ 1476609 w 2222569"/>
                <a:gd name="connsiteY2420" fmla="*/ 432687 h 2052818"/>
                <a:gd name="connsiteX2421" fmla="*/ 1476609 w 2222569"/>
                <a:gd name="connsiteY2421" fmla="*/ 421446 h 2052818"/>
                <a:gd name="connsiteX2422" fmla="*/ 1478238 w 2222569"/>
                <a:gd name="connsiteY2422" fmla="*/ 419980 h 2052818"/>
                <a:gd name="connsiteX2423" fmla="*/ 1474491 w 2222569"/>
                <a:gd name="connsiteY2423" fmla="*/ 415581 h 2052818"/>
                <a:gd name="connsiteX2424" fmla="*/ 1472210 w 2222569"/>
                <a:gd name="connsiteY2424" fmla="*/ 418188 h 2052818"/>
                <a:gd name="connsiteX2425" fmla="*/ 1466671 w 2222569"/>
                <a:gd name="connsiteY2425" fmla="*/ 417862 h 2052818"/>
                <a:gd name="connsiteX2426" fmla="*/ 1464065 w 2222569"/>
                <a:gd name="connsiteY2426" fmla="*/ 415255 h 2052818"/>
                <a:gd name="connsiteX2427" fmla="*/ 1464065 w 2222569"/>
                <a:gd name="connsiteY2427" fmla="*/ 410694 h 2052818"/>
                <a:gd name="connsiteX2428" fmla="*/ 1463087 w 2222569"/>
                <a:gd name="connsiteY2428" fmla="*/ 407599 h 2052818"/>
                <a:gd name="connsiteX2429" fmla="*/ 1454779 w 2222569"/>
                <a:gd name="connsiteY2429" fmla="*/ 404829 h 2052818"/>
                <a:gd name="connsiteX2430" fmla="*/ 1450543 w 2222569"/>
                <a:gd name="connsiteY2430" fmla="*/ 400268 h 2052818"/>
                <a:gd name="connsiteX2431" fmla="*/ 1445493 w 2222569"/>
                <a:gd name="connsiteY2431" fmla="*/ 400268 h 2052818"/>
                <a:gd name="connsiteX2432" fmla="*/ 1439954 w 2222569"/>
                <a:gd name="connsiteY2432" fmla="*/ 397498 h 2052818"/>
                <a:gd name="connsiteX2433" fmla="*/ 1437673 w 2222569"/>
                <a:gd name="connsiteY2433" fmla="*/ 399942 h 2052818"/>
                <a:gd name="connsiteX2434" fmla="*/ 1428387 w 2222569"/>
                <a:gd name="connsiteY2434" fmla="*/ 401082 h 2052818"/>
                <a:gd name="connsiteX2435" fmla="*/ 1427247 w 2222569"/>
                <a:gd name="connsiteY2435" fmla="*/ 402874 h 2052818"/>
                <a:gd name="connsiteX2436" fmla="*/ 1424641 w 2222569"/>
                <a:gd name="connsiteY2436" fmla="*/ 402874 h 2052818"/>
                <a:gd name="connsiteX2437" fmla="*/ 1422686 w 2222569"/>
                <a:gd name="connsiteY2437" fmla="*/ 407599 h 2052818"/>
                <a:gd name="connsiteX2438" fmla="*/ 1425944 w 2222569"/>
                <a:gd name="connsiteY2438" fmla="*/ 412160 h 2052818"/>
                <a:gd name="connsiteX2439" fmla="*/ 1428225 w 2222569"/>
                <a:gd name="connsiteY2439" fmla="*/ 416885 h 2052818"/>
                <a:gd name="connsiteX2440" fmla="*/ 1424803 w 2222569"/>
                <a:gd name="connsiteY2440" fmla="*/ 416885 h 2052818"/>
                <a:gd name="connsiteX2441" fmla="*/ 1419102 w 2222569"/>
                <a:gd name="connsiteY2441" fmla="*/ 408576 h 2052818"/>
                <a:gd name="connsiteX2442" fmla="*/ 1417961 w 2222569"/>
                <a:gd name="connsiteY2442" fmla="*/ 413952 h 2052818"/>
                <a:gd name="connsiteX2443" fmla="*/ 1419590 w 2222569"/>
                <a:gd name="connsiteY2443" fmla="*/ 418677 h 2052818"/>
                <a:gd name="connsiteX2444" fmla="*/ 1424803 w 2222569"/>
                <a:gd name="connsiteY2444" fmla="*/ 420957 h 2052818"/>
                <a:gd name="connsiteX2445" fmla="*/ 1429528 w 2222569"/>
                <a:gd name="connsiteY2445" fmla="*/ 429591 h 2052818"/>
                <a:gd name="connsiteX2446" fmla="*/ 1434089 w 2222569"/>
                <a:gd name="connsiteY2446" fmla="*/ 429591 h 2052818"/>
                <a:gd name="connsiteX2447" fmla="*/ 1431157 w 2222569"/>
                <a:gd name="connsiteY2447" fmla="*/ 432361 h 2052818"/>
                <a:gd name="connsiteX2448" fmla="*/ 1426921 w 2222569"/>
                <a:gd name="connsiteY2448" fmla="*/ 432361 h 2052818"/>
                <a:gd name="connsiteX2449" fmla="*/ 1425944 w 2222569"/>
                <a:gd name="connsiteY2449" fmla="*/ 437085 h 2052818"/>
                <a:gd name="connsiteX2450" fmla="*/ 1432134 w 2222569"/>
                <a:gd name="connsiteY2450" fmla="*/ 445394 h 2052818"/>
                <a:gd name="connsiteX2451" fmla="*/ 1437185 w 2222569"/>
                <a:gd name="connsiteY2451" fmla="*/ 447349 h 2052818"/>
                <a:gd name="connsiteX2452" fmla="*/ 1437185 w 2222569"/>
                <a:gd name="connsiteY2452" fmla="*/ 450933 h 2052818"/>
                <a:gd name="connsiteX2453" fmla="*/ 1435230 w 2222569"/>
                <a:gd name="connsiteY2453" fmla="*/ 448978 h 2052818"/>
                <a:gd name="connsiteX2454" fmla="*/ 1427247 w 2222569"/>
                <a:gd name="connsiteY2454" fmla="*/ 448489 h 2052818"/>
                <a:gd name="connsiteX2455" fmla="*/ 1427247 w 2222569"/>
                <a:gd name="connsiteY2455" fmla="*/ 451095 h 2052818"/>
                <a:gd name="connsiteX2456" fmla="*/ 1424478 w 2222569"/>
                <a:gd name="connsiteY2456" fmla="*/ 453050 h 2052818"/>
                <a:gd name="connsiteX2457" fmla="*/ 1423011 w 2222569"/>
                <a:gd name="connsiteY2457" fmla="*/ 456960 h 2052818"/>
                <a:gd name="connsiteX2458" fmla="*/ 1429854 w 2222569"/>
                <a:gd name="connsiteY2458" fmla="*/ 454191 h 2052818"/>
                <a:gd name="connsiteX2459" fmla="*/ 1433112 w 2222569"/>
                <a:gd name="connsiteY2459" fmla="*/ 456960 h 2052818"/>
                <a:gd name="connsiteX2460" fmla="*/ 1441257 w 2222569"/>
                <a:gd name="connsiteY2460" fmla="*/ 454028 h 2052818"/>
                <a:gd name="connsiteX2461" fmla="*/ 1442072 w 2222569"/>
                <a:gd name="connsiteY2461" fmla="*/ 457286 h 2052818"/>
                <a:gd name="connsiteX2462" fmla="*/ 1447611 w 2222569"/>
                <a:gd name="connsiteY2462" fmla="*/ 458426 h 2052818"/>
                <a:gd name="connsiteX2463" fmla="*/ 1448262 w 2222569"/>
                <a:gd name="connsiteY2463" fmla="*/ 461685 h 2052818"/>
                <a:gd name="connsiteX2464" fmla="*/ 1455104 w 2222569"/>
                <a:gd name="connsiteY2464" fmla="*/ 467223 h 2052818"/>
                <a:gd name="connsiteX2465" fmla="*/ 1457711 w 2222569"/>
                <a:gd name="connsiteY2465" fmla="*/ 467223 h 2052818"/>
                <a:gd name="connsiteX2466" fmla="*/ 1458037 w 2222569"/>
                <a:gd name="connsiteY2466" fmla="*/ 463802 h 2052818"/>
                <a:gd name="connsiteX2467" fmla="*/ 1459992 w 2222569"/>
                <a:gd name="connsiteY2467" fmla="*/ 465757 h 2052818"/>
                <a:gd name="connsiteX2468" fmla="*/ 1464716 w 2222569"/>
                <a:gd name="connsiteY2468" fmla="*/ 462988 h 2052818"/>
                <a:gd name="connsiteX2469" fmla="*/ 1468137 w 2222569"/>
                <a:gd name="connsiteY2469" fmla="*/ 463802 h 2052818"/>
                <a:gd name="connsiteX2470" fmla="*/ 1469278 w 2222569"/>
                <a:gd name="connsiteY2470" fmla="*/ 467061 h 2052818"/>
                <a:gd name="connsiteX2471" fmla="*/ 1467323 w 2222569"/>
                <a:gd name="connsiteY2471" fmla="*/ 471622 h 2052818"/>
                <a:gd name="connsiteX2472" fmla="*/ 1467323 w 2222569"/>
                <a:gd name="connsiteY2472" fmla="*/ 480582 h 2052818"/>
                <a:gd name="connsiteX2473" fmla="*/ 1465368 w 2222569"/>
                <a:gd name="connsiteY2473" fmla="*/ 486773 h 2052818"/>
                <a:gd name="connsiteX2474" fmla="*/ 1465368 w 2222569"/>
                <a:gd name="connsiteY2474" fmla="*/ 491171 h 2052818"/>
                <a:gd name="connsiteX2475" fmla="*/ 1468626 w 2222569"/>
                <a:gd name="connsiteY2475" fmla="*/ 496221 h 2052818"/>
                <a:gd name="connsiteX2476" fmla="*/ 1466997 w 2222569"/>
                <a:gd name="connsiteY2476" fmla="*/ 502249 h 2052818"/>
                <a:gd name="connsiteX2477" fmla="*/ 1466997 w 2222569"/>
                <a:gd name="connsiteY2477" fmla="*/ 505670 h 2052818"/>
                <a:gd name="connsiteX2478" fmla="*/ 1465042 w 2222569"/>
                <a:gd name="connsiteY2478" fmla="*/ 511535 h 2052818"/>
                <a:gd name="connsiteX2479" fmla="*/ 1458037 w 2222569"/>
                <a:gd name="connsiteY2479" fmla="*/ 516585 h 2052818"/>
                <a:gd name="connsiteX2480" fmla="*/ 1451846 w 2222569"/>
                <a:gd name="connsiteY2480" fmla="*/ 518051 h 2052818"/>
                <a:gd name="connsiteX2481" fmla="*/ 1450869 w 2222569"/>
                <a:gd name="connsiteY2481" fmla="*/ 522287 h 2052818"/>
                <a:gd name="connsiteX2482" fmla="*/ 1445493 w 2222569"/>
                <a:gd name="connsiteY2482" fmla="*/ 528966 h 2052818"/>
                <a:gd name="connsiteX2483" fmla="*/ 1445493 w 2222569"/>
                <a:gd name="connsiteY2483" fmla="*/ 532224 h 2052818"/>
                <a:gd name="connsiteX2484" fmla="*/ 1441257 w 2222569"/>
                <a:gd name="connsiteY2484" fmla="*/ 535157 h 2052818"/>
                <a:gd name="connsiteX2485" fmla="*/ 1438488 w 2222569"/>
                <a:gd name="connsiteY2485" fmla="*/ 539392 h 2052818"/>
                <a:gd name="connsiteX2486" fmla="*/ 1438814 w 2222569"/>
                <a:gd name="connsiteY2486" fmla="*/ 544931 h 2052818"/>
                <a:gd name="connsiteX2487" fmla="*/ 1442235 w 2222569"/>
                <a:gd name="connsiteY2487" fmla="*/ 546071 h 2052818"/>
                <a:gd name="connsiteX2488" fmla="*/ 1442235 w 2222569"/>
                <a:gd name="connsiteY2488" fmla="*/ 549330 h 2052818"/>
                <a:gd name="connsiteX2489" fmla="*/ 1437673 w 2222569"/>
                <a:gd name="connsiteY2489" fmla="*/ 551285 h 2052818"/>
                <a:gd name="connsiteX2490" fmla="*/ 1436696 w 2222569"/>
                <a:gd name="connsiteY2490" fmla="*/ 555031 h 2052818"/>
                <a:gd name="connsiteX2491" fmla="*/ 1439139 w 2222569"/>
                <a:gd name="connsiteY2491" fmla="*/ 557475 h 2052818"/>
                <a:gd name="connsiteX2492" fmla="*/ 1435393 w 2222569"/>
                <a:gd name="connsiteY2492" fmla="*/ 562199 h 2052818"/>
                <a:gd name="connsiteX2493" fmla="*/ 1434089 w 2222569"/>
                <a:gd name="connsiteY2493" fmla="*/ 566761 h 2052818"/>
                <a:gd name="connsiteX2494" fmla="*/ 1436370 w 2222569"/>
                <a:gd name="connsiteY2494" fmla="*/ 572137 h 2052818"/>
                <a:gd name="connsiteX2495" fmla="*/ 1439465 w 2222569"/>
                <a:gd name="connsiteY2495" fmla="*/ 573114 h 2052818"/>
                <a:gd name="connsiteX2496" fmla="*/ 1439465 w 2222569"/>
                <a:gd name="connsiteY2496" fmla="*/ 576373 h 2052818"/>
                <a:gd name="connsiteX2497" fmla="*/ 1443538 w 2222569"/>
                <a:gd name="connsiteY2497" fmla="*/ 580119 h 2052818"/>
                <a:gd name="connsiteX2498" fmla="*/ 1446307 w 2222569"/>
                <a:gd name="connsiteY2498" fmla="*/ 579631 h 2052818"/>
                <a:gd name="connsiteX2499" fmla="*/ 1446796 w 2222569"/>
                <a:gd name="connsiteY2499" fmla="*/ 575069 h 2052818"/>
                <a:gd name="connsiteX2500" fmla="*/ 1448425 w 2222569"/>
                <a:gd name="connsiteY2500" fmla="*/ 572463 h 2052818"/>
                <a:gd name="connsiteX2501" fmla="*/ 1450869 w 2222569"/>
                <a:gd name="connsiteY2501" fmla="*/ 574255 h 2052818"/>
                <a:gd name="connsiteX2502" fmla="*/ 1453150 w 2222569"/>
                <a:gd name="connsiteY2502" fmla="*/ 574255 h 2052818"/>
                <a:gd name="connsiteX2503" fmla="*/ 1457711 w 2222569"/>
                <a:gd name="connsiteY2503" fmla="*/ 568064 h 2052818"/>
                <a:gd name="connsiteX2504" fmla="*/ 1459340 w 2222569"/>
                <a:gd name="connsiteY2504" fmla="*/ 570019 h 2052818"/>
                <a:gd name="connsiteX2505" fmla="*/ 1456734 w 2222569"/>
                <a:gd name="connsiteY2505" fmla="*/ 576698 h 2052818"/>
                <a:gd name="connsiteX2506" fmla="*/ 1452335 w 2222569"/>
                <a:gd name="connsiteY2506" fmla="*/ 577839 h 2052818"/>
                <a:gd name="connsiteX2507" fmla="*/ 1451520 w 2222569"/>
                <a:gd name="connsiteY2507" fmla="*/ 580282 h 2052818"/>
                <a:gd name="connsiteX2508" fmla="*/ 1453312 w 2222569"/>
                <a:gd name="connsiteY2508" fmla="*/ 582726 h 2052818"/>
                <a:gd name="connsiteX2509" fmla="*/ 1453801 w 2222569"/>
                <a:gd name="connsiteY2509" fmla="*/ 585495 h 2052818"/>
                <a:gd name="connsiteX2510" fmla="*/ 1458526 w 2222569"/>
                <a:gd name="connsiteY2510" fmla="*/ 591360 h 2052818"/>
                <a:gd name="connsiteX2511" fmla="*/ 1463250 w 2222569"/>
                <a:gd name="connsiteY2511" fmla="*/ 589894 h 2052818"/>
                <a:gd name="connsiteX2512" fmla="*/ 1464553 w 2222569"/>
                <a:gd name="connsiteY2512" fmla="*/ 591849 h 2052818"/>
                <a:gd name="connsiteX2513" fmla="*/ 1470744 w 2222569"/>
                <a:gd name="connsiteY2513" fmla="*/ 592664 h 2052818"/>
                <a:gd name="connsiteX2514" fmla="*/ 1473676 w 2222569"/>
                <a:gd name="connsiteY2514" fmla="*/ 589894 h 2052818"/>
                <a:gd name="connsiteX2515" fmla="*/ 1479541 w 2222569"/>
                <a:gd name="connsiteY2515" fmla="*/ 587613 h 2052818"/>
                <a:gd name="connsiteX2516" fmla="*/ 1479215 w 2222569"/>
                <a:gd name="connsiteY2516" fmla="*/ 581749 h 2052818"/>
                <a:gd name="connsiteX2517" fmla="*/ 1482147 w 2222569"/>
                <a:gd name="connsiteY2517" fmla="*/ 581749 h 2052818"/>
                <a:gd name="connsiteX2518" fmla="*/ 1484428 w 2222569"/>
                <a:gd name="connsiteY2518" fmla="*/ 579305 h 2052818"/>
                <a:gd name="connsiteX2519" fmla="*/ 1485406 w 2222569"/>
                <a:gd name="connsiteY2519" fmla="*/ 582237 h 2052818"/>
                <a:gd name="connsiteX2520" fmla="*/ 1484265 w 2222569"/>
                <a:gd name="connsiteY2520" fmla="*/ 583866 h 2052818"/>
                <a:gd name="connsiteX2521" fmla="*/ 1484591 w 2222569"/>
                <a:gd name="connsiteY2521" fmla="*/ 587939 h 2052818"/>
                <a:gd name="connsiteX2522" fmla="*/ 1487198 w 2222569"/>
                <a:gd name="connsiteY2522" fmla="*/ 586799 h 2052818"/>
                <a:gd name="connsiteX2523" fmla="*/ 1490130 w 2222569"/>
                <a:gd name="connsiteY2523" fmla="*/ 579468 h 2052818"/>
                <a:gd name="connsiteX2524" fmla="*/ 1493062 w 2222569"/>
                <a:gd name="connsiteY2524" fmla="*/ 578165 h 2052818"/>
                <a:gd name="connsiteX2525" fmla="*/ 1494528 w 2222569"/>
                <a:gd name="connsiteY2525" fmla="*/ 580608 h 2052818"/>
                <a:gd name="connsiteX2526" fmla="*/ 1493225 w 2222569"/>
                <a:gd name="connsiteY2526" fmla="*/ 586147 h 2052818"/>
                <a:gd name="connsiteX2527" fmla="*/ 1486546 w 2222569"/>
                <a:gd name="connsiteY2527" fmla="*/ 594781 h 2052818"/>
                <a:gd name="connsiteX2528" fmla="*/ 1483614 w 2222569"/>
                <a:gd name="connsiteY2528" fmla="*/ 597877 h 2052818"/>
                <a:gd name="connsiteX2529" fmla="*/ 1483614 w 2222569"/>
                <a:gd name="connsiteY2529" fmla="*/ 601786 h 2052818"/>
                <a:gd name="connsiteX2530" fmla="*/ 1488990 w 2222569"/>
                <a:gd name="connsiteY2530" fmla="*/ 603578 h 2052818"/>
                <a:gd name="connsiteX2531" fmla="*/ 1493225 w 2222569"/>
                <a:gd name="connsiteY2531" fmla="*/ 606999 h 2052818"/>
                <a:gd name="connsiteX2532" fmla="*/ 1497624 w 2222569"/>
                <a:gd name="connsiteY2532" fmla="*/ 606674 h 2052818"/>
                <a:gd name="connsiteX2533" fmla="*/ 1499090 w 2222569"/>
                <a:gd name="connsiteY2533" fmla="*/ 608303 h 2052818"/>
                <a:gd name="connsiteX2534" fmla="*/ 1504466 w 2222569"/>
                <a:gd name="connsiteY2534" fmla="*/ 608791 h 2052818"/>
                <a:gd name="connsiteX2535" fmla="*/ 1505932 w 2222569"/>
                <a:gd name="connsiteY2535" fmla="*/ 605045 h 2052818"/>
                <a:gd name="connsiteX2536" fmla="*/ 1511145 w 2222569"/>
                <a:gd name="connsiteY2536" fmla="*/ 605533 h 2052818"/>
                <a:gd name="connsiteX2537" fmla="*/ 1509516 w 2222569"/>
                <a:gd name="connsiteY2537" fmla="*/ 607977 h 2052818"/>
                <a:gd name="connsiteX2538" fmla="*/ 1510005 w 2222569"/>
                <a:gd name="connsiteY2538" fmla="*/ 610583 h 2052818"/>
                <a:gd name="connsiteX2539" fmla="*/ 1513752 w 2222569"/>
                <a:gd name="connsiteY2539" fmla="*/ 611724 h 2052818"/>
                <a:gd name="connsiteX2540" fmla="*/ 1517173 w 2222569"/>
                <a:gd name="connsiteY2540" fmla="*/ 614330 h 2052818"/>
                <a:gd name="connsiteX2541" fmla="*/ 1520268 w 2222569"/>
                <a:gd name="connsiteY2541" fmla="*/ 612376 h 2052818"/>
                <a:gd name="connsiteX2542" fmla="*/ 1519128 w 2222569"/>
                <a:gd name="connsiteY2542" fmla="*/ 609443 h 2052818"/>
                <a:gd name="connsiteX2543" fmla="*/ 1519128 w 2222569"/>
                <a:gd name="connsiteY2543" fmla="*/ 605370 h 2052818"/>
                <a:gd name="connsiteX2544" fmla="*/ 1522060 w 2222569"/>
                <a:gd name="connsiteY2544" fmla="*/ 600972 h 2052818"/>
                <a:gd name="connsiteX2545" fmla="*/ 1523363 w 2222569"/>
                <a:gd name="connsiteY2545" fmla="*/ 604719 h 2052818"/>
                <a:gd name="connsiteX2546" fmla="*/ 1522060 w 2222569"/>
                <a:gd name="connsiteY2546" fmla="*/ 609117 h 2052818"/>
                <a:gd name="connsiteX2547" fmla="*/ 1523201 w 2222569"/>
                <a:gd name="connsiteY2547" fmla="*/ 614493 h 2052818"/>
                <a:gd name="connsiteX2548" fmla="*/ 1526622 w 2222569"/>
                <a:gd name="connsiteY2548" fmla="*/ 614493 h 2052818"/>
                <a:gd name="connsiteX2549" fmla="*/ 1527925 w 2222569"/>
                <a:gd name="connsiteY2549" fmla="*/ 609280 h 2052818"/>
                <a:gd name="connsiteX2550" fmla="*/ 1529554 w 2222569"/>
                <a:gd name="connsiteY2550" fmla="*/ 606511 h 2052818"/>
                <a:gd name="connsiteX2551" fmla="*/ 1533301 w 2222569"/>
                <a:gd name="connsiteY2551" fmla="*/ 606022 h 2052818"/>
                <a:gd name="connsiteX2552" fmla="*/ 1533301 w 2222569"/>
                <a:gd name="connsiteY2552" fmla="*/ 608954 h 2052818"/>
                <a:gd name="connsiteX2553" fmla="*/ 1530694 w 2222569"/>
                <a:gd name="connsiteY2553" fmla="*/ 610909 h 2052818"/>
                <a:gd name="connsiteX2554" fmla="*/ 1530694 w 2222569"/>
                <a:gd name="connsiteY2554" fmla="*/ 614982 h 2052818"/>
                <a:gd name="connsiteX2555" fmla="*/ 1537536 w 2222569"/>
                <a:gd name="connsiteY2555" fmla="*/ 615145 h 2052818"/>
                <a:gd name="connsiteX2556" fmla="*/ 1541446 w 2222569"/>
                <a:gd name="connsiteY2556" fmla="*/ 612376 h 2052818"/>
                <a:gd name="connsiteX2557" fmla="*/ 1545030 w 2222569"/>
                <a:gd name="connsiteY2557" fmla="*/ 604556 h 2052818"/>
                <a:gd name="connsiteX2558" fmla="*/ 1545682 w 2222569"/>
                <a:gd name="connsiteY2558" fmla="*/ 608629 h 2052818"/>
                <a:gd name="connsiteX2559" fmla="*/ 1543401 w 2222569"/>
                <a:gd name="connsiteY2559" fmla="*/ 611724 h 2052818"/>
                <a:gd name="connsiteX2560" fmla="*/ 1543401 w 2222569"/>
                <a:gd name="connsiteY2560" fmla="*/ 615471 h 2052818"/>
                <a:gd name="connsiteX2561" fmla="*/ 1549266 w 2222569"/>
                <a:gd name="connsiteY2561" fmla="*/ 614330 h 2052818"/>
                <a:gd name="connsiteX2562" fmla="*/ 1551221 w 2222569"/>
                <a:gd name="connsiteY2562" fmla="*/ 607325 h 2052818"/>
                <a:gd name="connsiteX2563" fmla="*/ 1553176 w 2222569"/>
                <a:gd name="connsiteY2563" fmla="*/ 604393 h 2052818"/>
                <a:gd name="connsiteX2564" fmla="*/ 1551873 w 2222569"/>
                <a:gd name="connsiteY2564" fmla="*/ 614819 h 2052818"/>
                <a:gd name="connsiteX2565" fmla="*/ 1552850 w 2222569"/>
                <a:gd name="connsiteY2565" fmla="*/ 618240 h 2052818"/>
                <a:gd name="connsiteX2566" fmla="*/ 1557574 w 2222569"/>
                <a:gd name="connsiteY2566" fmla="*/ 618240 h 2052818"/>
                <a:gd name="connsiteX2567" fmla="*/ 1564579 w 2222569"/>
                <a:gd name="connsiteY2567" fmla="*/ 622476 h 2052818"/>
                <a:gd name="connsiteX2568" fmla="*/ 1568978 w 2222569"/>
                <a:gd name="connsiteY2568" fmla="*/ 620847 h 2052818"/>
                <a:gd name="connsiteX2569" fmla="*/ 1572236 w 2222569"/>
                <a:gd name="connsiteY2569" fmla="*/ 619706 h 2052818"/>
                <a:gd name="connsiteX2570" fmla="*/ 1573539 w 2222569"/>
                <a:gd name="connsiteY2570" fmla="*/ 622639 h 2052818"/>
                <a:gd name="connsiteX2571" fmla="*/ 1579404 w 2222569"/>
                <a:gd name="connsiteY2571" fmla="*/ 621010 h 2052818"/>
                <a:gd name="connsiteX2572" fmla="*/ 1582825 w 2222569"/>
                <a:gd name="connsiteY2572" fmla="*/ 619055 h 2052818"/>
                <a:gd name="connsiteX2573" fmla="*/ 1582825 w 2222569"/>
                <a:gd name="connsiteY2573" fmla="*/ 613679 h 2052818"/>
                <a:gd name="connsiteX2574" fmla="*/ 1587550 w 2222569"/>
                <a:gd name="connsiteY2574" fmla="*/ 609280 h 2052818"/>
                <a:gd name="connsiteX2575" fmla="*/ 1589342 w 2222569"/>
                <a:gd name="connsiteY2575" fmla="*/ 606022 h 2052818"/>
                <a:gd name="connsiteX2576" fmla="*/ 1586898 w 2222569"/>
                <a:gd name="connsiteY2576" fmla="*/ 600972 h 2052818"/>
                <a:gd name="connsiteX2577" fmla="*/ 1589179 w 2222569"/>
                <a:gd name="connsiteY2577" fmla="*/ 596736 h 2052818"/>
                <a:gd name="connsiteX2578" fmla="*/ 1591134 w 2222569"/>
                <a:gd name="connsiteY2578" fmla="*/ 597551 h 2052818"/>
                <a:gd name="connsiteX2579" fmla="*/ 1591460 w 2222569"/>
                <a:gd name="connsiteY2579" fmla="*/ 603578 h 2052818"/>
                <a:gd name="connsiteX2580" fmla="*/ 1594392 w 2222569"/>
                <a:gd name="connsiteY2580" fmla="*/ 604067 h 2052818"/>
                <a:gd name="connsiteX2581" fmla="*/ 1594718 w 2222569"/>
                <a:gd name="connsiteY2581" fmla="*/ 606674 h 2052818"/>
                <a:gd name="connsiteX2582" fmla="*/ 1590971 w 2222569"/>
                <a:gd name="connsiteY2582" fmla="*/ 609932 h 2052818"/>
                <a:gd name="connsiteX2583" fmla="*/ 1588364 w 2222569"/>
                <a:gd name="connsiteY2583" fmla="*/ 616774 h 2052818"/>
                <a:gd name="connsiteX2584" fmla="*/ 1589342 w 2222569"/>
                <a:gd name="connsiteY2584" fmla="*/ 627526 h 2052818"/>
                <a:gd name="connsiteX2585" fmla="*/ 1589342 w 2222569"/>
                <a:gd name="connsiteY2585" fmla="*/ 627526 h 2052818"/>
                <a:gd name="connsiteX2586" fmla="*/ 1415355 w 2222569"/>
                <a:gd name="connsiteY2586" fmla="*/ 395706 h 2052818"/>
                <a:gd name="connsiteX2587" fmla="*/ 1418939 w 2222569"/>
                <a:gd name="connsiteY2587" fmla="*/ 394729 h 2052818"/>
                <a:gd name="connsiteX2588" fmla="*/ 1418939 w 2222569"/>
                <a:gd name="connsiteY2588" fmla="*/ 392448 h 2052818"/>
                <a:gd name="connsiteX2589" fmla="*/ 1415680 w 2222569"/>
                <a:gd name="connsiteY2589" fmla="*/ 391471 h 2052818"/>
                <a:gd name="connsiteX2590" fmla="*/ 1413237 w 2222569"/>
                <a:gd name="connsiteY2590" fmla="*/ 393751 h 2052818"/>
                <a:gd name="connsiteX2591" fmla="*/ 1415518 w 2222569"/>
                <a:gd name="connsiteY2591" fmla="*/ 395706 h 2052818"/>
                <a:gd name="connsiteX2592" fmla="*/ 1415518 w 2222569"/>
                <a:gd name="connsiteY2592" fmla="*/ 395706 h 2052818"/>
                <a:gd name="connsiteX2593" fmla="*/ 1405906 w 2222569"/>
                <a:gd name="connsiteY2593" fmla="*/ 426822 h 2052818"/>
                <a:gd name="connsiteX2594" fmla="*/ 1409001 w 2222569"/>
                <a:gd name="connsiteY2594" fmla="*/ 423238 h 2052818"/>
                <a:gd name="connsiteX2595" fmla="*/ 1410630 w 2222569"/>
                <a:gd name="connsiteY2595" fmla="*/ 419654 h 2052818"/>
                <a:gd name="connsiteX2596" fmla="*/ 1410956 w 2222569"/>
                <a:gd name="connsiteY2596" fmla="*/ 423564 h 2052818"/>
                <a:gd name="connsiteX2597" fmla="*/ 1408350 w 2222569"/>
                <a:gd name="connsiteY2597" fmla="*/ 426170 h 2052818"/>
                <a:gd name="connsiteX2598" fmla="*/ 1406069 w 2222569"/>
                <a:gd name="connsiteY2598" fmla="*/ 426659 h 2052818"/>
                <a:gd name="connsiteX2599" fmla="*/ 1406069 w 2222569"/>
                <a:gd name="connsiteY2599" fmla="*/ 426659 h 2052818"/>
                <a:gd name="connsiteX2600" fmla="*/ 1283236 w 2222569"/>
                <a:gd name="connsiteY2600" fmla="*/ 470970 h 2052818"/>
                <a:gd name="connsiteX2601" fmla="*/ 1282095 w 2222569"/>
                <a:gd name="connsiteY2601" fmla="*/ 473251 h 2052818"/>
                <a:gd name="connsiteX2602" fmla="*/ 1283887 w 2222569"/>
                <a:gd name="connsiteY2602" fmla="*/ 475532 h 2052818"/>
                <a:gd name="connsiteX2603" fmla="*/ 1285027 w 2222569"/>
                <a:gd name="connsiteY2603" fmla="*/ 472925 h 2052818"/>
                <a:gd name="connsiteX2604" fmla="*/ 1283236 w 2222569"/>
                <a:gd name="connsiteY2604" fmla="*/ 470970 h 2052818"/>
                <a:gd name="connsiteX2605" fmla="*/ 1283236 w 2222569"/>
                <a:gd name="connsiteY2605" fmla="*/ 470970 h 2052818"/>
                <a:gd name="connsiteX2606" fmla="*/ 1363061 w 2222569"/>
                <a:gd name="connsiteY2606" fmla="*/ 393751 h 2052818"/>
                <a:gd name="connsiteX2607" fmla="*/ 1363061 w 2222569"/>
                <a:gd name="connsiteY2607" fmla="*/ 396032 h 2052818"/>
                <a:gd name="connsiteX2608" fmla="*/ 1365830 w 2222569"/>
                <a:gd name="connsiteY2608" fmla="*/ 400268 h 2052818"/>
                <a:gd name="connsiteX2609" fmla="*/ 1366808 w 2222569"/>
                <a:gd name="connsiteY2609" fmla="*/ 402874 h 2052818"/>
                <a:gd name="connsiteX2610" fmla="*/ 1369252 w 2222569"/>
                <a:gd name="connsiteY2610" fmla="*/ 401734 h 2052818"/>
                <a:gd name="connsiteX2611" fmla="*/ 1368274 w 2222569"/>
                <a:gd name="connsiteY2611" fmla="*/ 397172 h 2052818"/>
                <a:gd name="connsiteX2612" fmla="*/ 1365179 w 2222569"/>
                <a:gd name="connsiteY2612" fmla="*/ 393914 h 2052818"/>
                <a:gd name="connsiteX2613" fmla="*/ 1363061 w 2222569"/>
                <a:gd name="connsiteY2613" fmla="*/ 393914 h 2052818"/>
                <a:gd name="connsiteX2614" fmla="*/ 1324614 w 2222569"/>
                <a:gd name="connsiteY2614" fmla="*/ 395543 h 2052818"/>
                <a:gd name="connsiteX2615" fmla="*/ 1324614 w 2222569"/>
                <a:gd name="connsiteY2615" fmla="*/ 398476 h 2052818"/>
                <a:gd name="connsiteX2616" fmla="*/ 1326895 w 2222569"/>
                <a:gd name="connsiteY2616" fmla="*/ 400757 h 2052818"/>
                <a:gd name="connsiteX2617" fmla="*/ 1330316 w 2222569"/>
                <a:gd name="connsiteY2617" fmla="*/ 398476 h 2052818"/>
                <a:gd name="connsiteX2618" fmla="*/ 1335529 w 2222569"/>
                <a:gd name="connsiteY2618" fmla="*/ 397335 h 2052818"/>
                <a:gd name="connsiteX2619" fmla="*/ 1339113 w 2222569"/>
                <a:gd name="connsiteY2619" fmla="*/ 398313 h 2052818"/>
                <a:gd name="connsiteX2620" fmla="*/ 1346607 w 2222569"/>
                <a:gd name="connsiteY2620" fmla="*/ 393914 h 2052818"/>
                <a:gd name="connsiteX2621" fmla="*/ 1350517 w 2222569"/>
                <a:gd name="connsiteY2621" fmla="*/ 393914 h 2052818"/>
                <a:gd name="connsiteX2622" fmla="*/ 1355078 w 2222569"/>
                <a:gd name="connsiteY2622" fmla="*/ 391959 h 2052818"/>
                <a:gd name="connsiteX2623" fmla="*/ 1353449 w 2222569"/>
                <a:gd name="connsiteY2623" fmla="*/ 390330 h 2052818"/>
                <a:gd name="connsiteX2624" fmla="*/ 1345955 w 2222569"/>
                <a:gd name="connsiteY2624" fmla="*/ 389353 h 2052818"/>
                <a:gd name="connsiteX2625" fmla="*/ 1340254 w 2222569"/>
                <a:gd name="connsiteY2625" fmla="*/ 390493 h 2052818"/>
                <a:gd name="connsiteX2626" fmla="*/ 1335855 w 2222569"/>
                <a:gd name="connsiteY2626" fmla="*/ 393100 h 2052818"/>
                <a:gd name="connsiteX2627" fmla="*/ 1332108 w 2222569"/>
                <a:gd name="connsiteY2627" fmla="*/ 392285 h 2052818"/>
                <a:gd name="connsiteX2628" fmla="*/ 1327384 w 2222569"/>
                <a:gd name="connsiteY2628" fmla="*/ 393751 h 2052818"/>
                <a:gd name="connsiteX2629" fmla="*/ 1324614 w 2222569"/>
                <a:gd name="connsiteY2629" fmla="*/ 395543 h 2052818"/>
                <a:gd name="connsiteX2630" fmla="*/ 1324614 w 2222569"/>
                <a:gd name="connsiteY2630" fmla="*/ 395543 h 2052818"/>
                <a:gd name="connsiteX2631" fmla="*/ 1285190 w 2222569"/>
                <a:gd name="connsiteY2631" fmla="*/ 409065 h 2052818"/>
                <a:gd name="connsiteX2632" fmla="*/ 1282584 w 2222569"/>
                <a:gd name="connsiteY2632" fmla="*/ 405970 h 2052818"/>
                <a:gd name="connsiteX2633" fmla="*/ 1275416 w 2222569"/>
                <a:gd name="connsiteY2633" fmla="*/ 405155 h 2052818"/>
                <a:gd name="connsiteX2634" fmla="*/ 1270366 w 2222569"/>
                <a:gd name="connsiteY2634" fmla="*/ 403689 h 2052818"/>
                <a:gd name="connsiteX2635" fmla="*/ 1268899 w 2222569"/>
                <a:gd name="connsiteY2635" fmla="*/ 396847 h 2052818"/>
                <a:gd name="connsiteX2636" fmla="*/ 1272809 w 2222569"/>
                <a:gd name="connsiteY2636" fmla="*/ 393100 h 2052818"/>
                <a:gd name="connsiteX2637" fmla="*/ 1273624 w 2222569"/>
                <a:gd name="connsiteY2637" fmla="*/ 389516 h 2052818"/>
                <a:gd name="connsiteX2638" fmla="*/ 1272483 w 2222569"/>
                <a:gd name="connsiteY2638" fmla="*/ 386746 h 2052818"/>
                <a:gd name="connsiteX2639" fmla="*/ 1273298 w 2222569"/>
                <a:gd name="connsiteY2639" fmla="*/ 381696 h 2052818"/>
                <a:gd name="connsiteX2640" fmla="*/ 1276393 w 2222569"/>
                <a:gd name="connsiteY2640" fmla="*/ 379415 h 2052818"/>
                <a:gd name="connsiteX2641" fmla="*/ 1283072 w 2222569"/>
                <a:gd name="connsiteY2641" fmla="*/ 379415 h 2052818"/>
                <a:gd name="connsiteX2642" fmla="*/ 1285027 w 2222569"/>
                <a:gd name="connsiteY2642" fmla="*/ 380882 h 2052818"/>
                <a:gd name="connsiteX2643" fmla="*/ 1286982 w 2222569"/>
                <a:gd name="connsiteY2643" fmla="*/ 382185 h 2052818"/>
                <a:gd name="connsiteX2644" fmla="*/ 1288123 w 2222569"/>
                <a:gd name="connsiteY2644" fmla="*/ 384629 h 2052818"/>
                <a:gd name="connsiteX2645" fmla="*/ 1285027 w 2222569"/>
                <a:gd name="connsiteY2645" fmla="*/ 386258 h 2052818"/>
                <a:gd name="connsiteX2646" fmla="*/ 1283887 w 2222569"/>
                <a:gd name="connsiteY2646" fmla="*/ 389027 h 2052818"/>
                <a:gd name="connsiteX2647" fmla="*/ 1285842 w 2222569"/>
                <a:gd name="connsiteY2647" fmla="*/ 389679 h 2052818"/>
                <a:gd name="connsiteX2648" fmla="*/ 1290566 w 2222569"/>
                <a:gd name="connsiteY2648" fmla="*/ 389679 h 2052818"/>
                <a:gd name="connsiteX2649" fmla="*/ 1290403 w 2222569"/>
                <a:gd name="connsiteY2649" fmla="*/ 391959 h 2052818"/>
                <a:gd name="connsiteX2650" fmla="*/ 1288611 w 2222569"/>
                <a:gd name="connsiteY2650" fmla="*/ 394892 h 2052818"/>
                <a:gd name="connsiteX2651" fmla="*/ 1290403 w 2222569"/>
                <a:gd name="connsiteY2651" fmla="*/ 398476 h 2052818"/>
                <a:gd name="connsiteX2652" fmla="*/ 1290403 w 2222569"/>
                <a:gd name="connsiteY2652" fmla="*/ 403526 h 2052818"/>
                <a:gd name="connsiteX2653" fmla="*/ 1288774 w 2222569"/>
                <a:gd name="connsiteY2653" fmla="*/ 407436 h 2052818"/>
                <a:gd name="connsiteX2654" fmla="*/ 1285516 w 2222569"/>
                <a:gd name="connsiteY2654" fmla="*/ 408902 h 2052818"/>
                <a:gd name="connsiteX2655" fmla="*/ 1285516 w 2222569"/>
                <a:gd name="connsiteY2655" fmla="*/ 408902 h 2052818"/>
                <a:gd name="connsiteX2656" fmla="*/ 1278185 w 2222569"/>
                <a:gd name="connsiteY2656" fmla="*/ 427637 h 2052818"/>
                <a:gd name="connsiteX2657" fmla="*/ 1288286 w 2222569"/>
                <a:gd name="connsiteY2657" fmla="*/ 428614 h 2052818"/>
                <a:gd name="connsiteX2658" fmla="*/ 1291870 w 2222569"/>
                <a:gd name="connsiteY2658" fmla="*/ 425519 h 2052818"/>
                <a:gd name="connsiteX2659" fmla="*/ 1295454 w 2222569"/>
                <a:gd name="connsiteY2659" fmla="*/ 418351 h 2052818"/>
                <a:gd name="connsiteX2660" fmla="*/ 1292033 w 2222569"/>
                <a:gd name="connsiteY2660" fmla="*/ 413789 h 2052818"/>
                <a:gd name="connsiteX2661" fmla="*/ 1287634 w 2222569"/>
                <a:gd name="connsiteY2661" fmla="*/ 414278 h 2052818"/>
                <a:gd name="connsiteX2662" fmla="*/ 1281280 w 2222569"/>
                <a:gd name="connsiteY2662" fmla="*/ 411671 h 2052818"/>
                <a:gd name="connsiteX2663" fmla="*/ 1274927 w 2222569"/>
                <a:gd name="connsiteY2663" fmla="*/ 412160 h 2052818"/>
                <a:gd name="connsiteX2664" fmla="*/ 1270366 w 2222569"/>
                <a:gd name="connsiteY2664" fmla="*/ 411020 h 2052818"/>
                <a:gd name="connsiteX2665" fmla="*/ 1266619 w 2222569"/>
                <a:gd name="connsiteY2665" fmla="*/ 410694 h 2052818"/>
                <a:gd name="connsiteX2666" fmla="*/ 1264012 w 2222569"/>
                <a:gd name="connsiteY2666" fmla="*/ 412975 h 2052818"/>
                <a:gd name="connsiteX2667" fmla="*/ 1260917 w 2222569"/>
                <a:gd name="connsiteY2667" fmla="*/ 414604 h 2052818"/>
                <a:gd name="connsiteX2668" fmla="*/ 1260102 w 2222569"/>
                <a:gd name="connsiteY2668" fmla="*/ 418351 h 2052818"/>
                <a:gd name="connsiteX2669" fmla="*/ 1260917 w 2222569"/>
                <a:gd name="connsiteY2669" fmla="*/ 420469 h 2052818"/>
                <a:gd name="connsiteX2670" fmla="*/ 1262872 w 2222569"/>
                <a:gd name="connsiteY2670" fmla="*/ 420794 h 2052818"/>
                <a:gd name="connsiteX2671" fmla="*/ 1264501 w 2222569"/>
                <a:gd name="connsiteY2671" fmla="*/ 423727 h 2052818"/>
                <a:gd name="connsiteX2672" fmla="*/ 1268411 w 2222569"/>
                <a:gd name="connsiteY2672" fmla="*/ 424541 h 2052818"/>
                <a:gd name="connsiteX2673" fmla="*/ 1272320 w 2222569"/>
                <a:gd name="connsiteY2673" fmla="*/ 426985 h 2052818"/>
                <a:gd name="connsiteX2674" fmla="*/ 1278185 w 2222569"/>
                <a:gd name="connsiteY2674" fmla="*/ 427637 h 2052818"/>
                <a:gd name="connsiteX2675" fmla="*/ 1278185 w 2222569"/>
                <a:gd name="connsiteY2675" fmla="*/ 427637 h 2052818"/>
                <a:gd name="connsiteX2676" fmla="*/ 1259939 w 2222569"/>
                <a:gd name="connsiteY2676" fmla="*/ 434805 h 2052818"/>
                <a:gd name="connsiteX2677" fmla="*/ 1271669 w 2222569"/>
                <a:gd name="connsiteY2677" fmla="*/ 438063 h 2052818"/>
                <a:gd name="connsiteX2678" fmla="*/ 1276230 w 2222569"/>
                <a:gd name="connsiteY2678" fmla="*/ 435945 h 2052818"/>
                <a:gd name="connsiteX2679" fmla="*/ 1280629 w 2222569"/>
                <a:gd name="connsiteY2679" fmla="*/ 435945 h 2052818"/>
                <a:gd name="connsiteX2680" fmla="*/ 1282584 w 2222569"/>
                <a:gd name="connsiteY2680" fmla="*/ 437411 h 2052818"/>
                <a:gd name="connsiteX2681" fmla="*/ 1286005 w 2222569"/>
                <a:gd name="connsiteY2681" fmla="*/ 435782 h 2052818"/>
                <a:gd name="connsiteX2682" fmla="*/ 1290729 w 2222569"/>
                <a:gd name="connsiteY2682" fmla="*/ 435130 h 2052818"/>
                <a:gd name="connsiteX2683" fmla="*/ 1290729 w 2222569"/>
                <a:gd name="connsiteY2683" fmla="*/ 431872 h 2052818"/>
                <a:gd name="connsiteX2684" fmla="*/ 1287145 w 2222569"/>
                <a:gd name="connsiteY2684" fmla="*/ 430895 h 2052818"/>
                <a:gd name="connsiteX2685" fmla="*/ 1275742 w 2222569"/>
                <a:gd name="connsiteY2685" fmla="*/ 432035 h 2052818"/>
                <a:gd name="connsiteX2686" fmla="*/ 1271017 w 2222569"/>
                <a:gd name="connsiteY2686" fmla="*/ 433338 h 2052818"/>
                <a:gd name="connsiteX2687" fmla="*/ 1269225 w 2222569"/>
                <a:gd name="connsiteY2687" fmla="*/ 431221 h 2052818"/>
                <a:gd name="connsiteX2688" fmla="*/ 1263035 w 2222569"/>
                <a:gd name="connsiteY2688" fmla="*/ 430732 h 2052818"/>
                <a:gd name="connsiteX2689" fmla="*/ 1259125 w 2222569"/>
                <a:gd name="connsiteY2689" fmla="*/ 432361 h 2052818"/>
                <a:gd name="connsiteX2690" fmla="*/ 1260102 w 2222569"/>
                <a:gd name="connsiteY2690" fmla="*/ 434805 h 2052818"/>
                <a:gd name="connsiteX2691" fmla="*/ 1260102 w 2222569"/>
                <a:gd name="connsiteY2691" fmla="*/ 434805 h 2052818"/>
                <a:gd name="connsiteX2692" fmla="*/ 1258147 w 2222569"/>
                <a:gd name="connsiteY2692" fmla="*/ 447837 h 2052818"/>
                <a:gd name="connsiteX2693" fmla="*/ 1261731 w 2222569"/>
                <a:gd name="connsiteY2693" fmla="*/ 446534 h 2052818"/>
                <a:gd name="connsiteX2694" fmla="*/ 1265641 w 2222569"/>
                <a:gd name="connsiteY2694" fmla="*/ 446534 h 2052818"/>
                <a:gd name="connsiteX2695" fmla="*/ 1271343 w 2222569"/>
                <a:gd name="connsiteY2695" fmla="*/ 442624 h 2052818"/>
                <a:gd name="connsiteX2696" fmla="*/ 1281932 w 2222569"/>
                <a:gd name="connsiteY2696" fmla="*/ 440343 h 2052818"/>
                <a:gd name="connsiteX2697" fmla="*/ 1284376 w 2222569"/>
                <a:gd name="connsiteY2697" fmla="*/ 440995 h 2052818"/>
                <a:gd name="connsiteX2698" fmla="*/ 1287471 w 2222569"/>
                <a:gd name="connsiteY2698" fmla="*/ 439692 h 2052818"/>
                <a:gd name="connsiteX2699" fmla="*/ 1290566 w 2222569"/>
                <a:gd name="connsiteY2699" fmla="*/ 439692 h 2052818"/>
                <a:gd name="connsiteX2700" fmla="*/ 1291544 w 2222569"/>
                <a:gd name="connsiteY2700" fmla="*/ 442624 h 2052818"/>
                <a:gd name="connsiteX2701" fmla="*/ 1287634 w 2222569"/>
                <a:gd name="connsiteY2701" fmla="*/ 445231 h 2052818"/>
                <a:gd name="connsiteX2702" fmla="*/ 1283724 w 2222569"/>
                <a:gd name="connsiteY2702" fmla="*/ 445882 h 2052818"/>
                <a:gd name="connsiteX2703" fmla="*/ 1277859 w 2222569"/>
                <a:gd name="connsiteY2703" fmla="*/ 446371 h 2052818"/>
                <a:gd name="connsiteX2704" fmla="*/ 1276556 w 2222569"/>
                <a:gd name="connsiteY2704" fmla="*/ 448815 h 2052818"/>
                <a:gd name="connsiteX2705" fmla="*/ 1271017 w 2222569"/>
                <a:gd name="connsiteY2705" fmla="*/ 452562 h 2052818"/>
                <a:gd name="connsiteX2706" fmla="*/ 1265967 w 2222569"/>
                <a:gd name="connsiteY2706" fmla="*/ 449629 h 2052818"/>
                <a:gd name="connsiteX2707" fmla="*/ 1261569 w 2222569"/>
                <a:gd name="connsiteY2707" fmla="*/ 449629 h 2052818"/>
                <a:gd name="connsiteX2708" fmla="*/ 1259451 w 2222569"/>
                <a:gd name="connsiteY2708" fmla="*/ 450933 h 2052818"/>
                <a:gd name="connsiteX2709" fmla="*/ 1257659 w 2222569"/>
                <a:gd name="connsiteY2709" fmla="*/ 449792 h 2052818"/>
                <a:gd name="connsiteX2710" fmla="*/ 1258310 w 2222569"/>
                <a:gd name="connsiteY2710" fmla="*/ 447511 h 2052818"/>
                <a:gd name="connsiteX2711" fmla="*/ 1258310 w 2222569"/>
                <a:gd name="connsiteY2711" fmla="*/ 447511 h 2052818"/>
                <a:gd name="connsiteX2712" fmla="*/ 1137920 w 2222569"/>
                <a:gd name="connsiteY2712" fmla="*/ 294051 h 2052818"/>
                <a:gd name="connsiteX2713" fmla="*/ 1135803 w 2222569"/>
                <a:gd name="connsiteY2713" fmla="*/ 292748 h 2052818"/>
                <a:gd name="connsiteX2714" fmla="*/ 1137432 w 2222569"/>
                <a:gd name="connsiteY2714" fmla="*/ 289490 h 2052818"/>
                <a:gd name="connsiteX2715" fmla="*/ 1143296 w 2222569"/>
                <a:gd name="connsiteY2715" fmla="*/ 289001 h 2052818"/>
                <a:gd name="connsiteX2716" fmla="*/ 1140853 w 2222569"/>
                <a:gd name="connsiteY2716" fmla="*/ 292748 h 2052818"/>
                <a:gd name="connsiteX2717" fmla="*/ 1137758 w 2222569"/>
                <a:gd name="connsiteY2717" fmla="*/ 294051 h 2052818"/>
                <a:gd name="connsiteX2718" fmla="*/ 1137758 w 2222569"/>
                <a:gd name="connsiteY2718" fmla="*/ 294051 h 2052818"/>
                <a:gd name="connsiteX2719" fmla="*/ 1103546 w 2222569"/>
                <a:gd name="connsiteY2719" fmla="*/ 309364 h 2052818"/>
                <a:gd name="connsiteX2720" fmla="*/ 1107456 w 2222569"/>
                <a:gd name="connsiteY2720" fmla="*/ 308387 h 2052818"/>
                <a:gd name="connsiteX2721" fmla="*/ 1110552 w 2222569"/>
                <a:gd name="connsiteY2721" fmla="*/ 306595 h 2052818"/>
                <a:gd name="connsiteX2722" fmla="*/ 1117720 w 2222569"/>
                <a:gd name="connsiteY2722" fmla="*/ 309853 h 2052818"/>
                <a:gd name="connsiteX2723" fmla="*/ 1121467 w 2222569"/>
                <a:gd name="connsiteY2723" fmla="*/ 309039 h 2052818"/>
                <a:gd name="connsiteX2724" fmla="*/ 1124888 w 2222569"/>
                <a:gd name="connsiteY2724" fmla="*/ 310505 h 2052818"/>
                <a:gd name="connsiteX2725" fmla="*/ 1125702 w 2222569"/>
                <a:gd name="connsiteY2725" fmla="*/ 313926 h 2052818"/>
                <a:gd name="connsiteX2726" fmla="*/ 1127657 w 2222569"/>
                <a:gd name="connsiteY2726" fmla="*/ 316532 h 2052818"/>
                <a:gd name="connsiteX2727" fmla="*/ 1124725 w 2222569"/>
                <a:gd name="connsiteY2727" fmla="*/ 320279 h 2052818"/>
                <a:gd name="connsiteX2728" fmla="*/ 1120163 w 2222569"/>
                <a:gd name="connsiteY2728" fmla="*/ 322723 h 2052818"/>
                <a:gd name="connsiteX2729" fmla="*/ 1116091 w 2222569"/>
                <a:gd name="connsiteY2729" fmla="*/ 320768 h 2052818"/>
                <a:gd name="connsiteX2730" fmla="*/ 1112507 w 2222569"/>
                <a:gd name="connsiteY2730" fmla="*/ 320442 h 2052818"/>
                <a:gd name="connsiteX2731" fmla="*/ 1110715 w 2222569"/>
                <a:gd name="connsiteY2731" fmla="*/ 315555 h 2052818"/>
                <a:gd name="connsiteX2732" fmla="*/ 1107294 w 2222569"/>
                <a:gd name="connsiteY2732" fmla="*/ 311808 h 2052818"/>
                <a:gd name="connsiteX2733" fmla="*/ 1104198 w 2222569"/>
                <a:gd name="connsiteY2733" fmla="*/ 310668 h 2052818"/>
                <a:gd name="connsiteX2734" fmla="*/ 1103710 w 2222569"/>
                <a:gd name="connsiteY2734" fmla="*/ 309364 h 2052818"/>
                <a:gd name="connsiteX2735" fmla="*/ 1103710 w 2222569"/>
                <a:gd name="connsiteY2735" fmla="*/ 309364 h 2052818"/>
                <a:gd name="connsiteX2736" fmla="*/ 923695 w 2222569"/>
                <a:gd name="connsiteY2736" fmla="*/ 319139 h 2052818"/>
                <a:gd name="connsiteX2737" fmla="*/ 919133 w 2222569"/>
                <a:gd name="connsiteY2737" fmla="*/ 317184 h 2052818"/>
                <a:gd name="connsiteX2738" fmla="*/ 917993 w 2222569"/>
                <a:gd name="connsiteY2738" fmla="*/ 315229 h 2052818"/>
                <a:gd name="connsiteX2739" fmla="*/ 919785 w 2222569"/>
                <a:gd name="connsiteY2739" fmla="*/ 313600 h 2052818"/>
                <a:gd name="connsiteX2740" fmla="*/ 924998 w 2222569"/>
                <a:gd name="connsiteY2740" fmla="*/ 315229 h 2052818"/>
                <a:gd name="connsiteX2741" fmla="*/ 925813 w 2222569"/>
                <a:gd name="connsiteY2741" fmla="*/ 318162 h 2052818"/>
                <a:gd name="connsiteX2742" fmla="*/ 923858 w 2222569"/>
                <a:gd name="connsiteY2742" fmla="*/ 319302 h 2052818"/>
                <a:gd name="connsiteX2743" fmla="*/ 923858 w 2222569"/>
                <a:gd name="connsiteY2743" fmla="*/ 319302 h 2052818"/>
                <a:gd name="connsiteX2744" fmla="*/ 942918 w 2222569"/>
                <a:gd name="connsiteY2744" fmla="*/ 344227 h 2052818"/>
                <a:gd name="connsiteX2745" fmla="*/ 948131 w 2222569"/>
                <a:gd name="connsiteY2745" fmla="*/ 339991 h 2052818"/>
                <a:gd name="connsiteX2746" fmla="*/ 948131 w 2222569"/>
                <a:gd name="connsiteY2746" fmla="*/ 342272 h 2052818"/>
                <a:gd name="connsiteX2747" fmla="*/ 942918 w 2222569"/>
                <a:gd name="connsiteY2747" fmla="*/ 346019 h 2052818"/>
                <a:gd name="connsiteX2748" fmla="*/ 942918 w 2222569"/>
                <a:gd name="connsiteY2748" fmla="*/ 344064 h 2052818"/>
                <a:gd name="connsiteX2749" fmla="*/ 942918 w 2222569"/>
                <a:gd name="connsiteY2749" fmla="*/ 344064 h 2052818"/>
                <a:gd name="connsiteX2750" fmla="*/ 952204 w 2222569"/>
                <a:gd name="connsiteY2750" fmla="*/ 336570 h 2052818"/>
                <a:gd name="connsiteX2751" fmla="*/ 954322 w 2222569"/>
                <a:gd name="connsiteY2751" fmla="*/ 334615 h 2052818"/>
                <a:gd name="connsiteX2752" fmla="*/ 954648 w 2222569"/>
                <a:gd name="connsiteY2752" fmla="*/ 329565 h 2052818"/>
                <a:gd name="connsiteX2753" fmla="*/ 955951 w 2222569"/>
                <a:gd name="connsiteY2753" fmla="*/ 328751 h 2052818"/>
                <a:gd name="connsiteX2754" fmla="*/ 958232 w 2222569"/>
                <a:gd name="connsiteY2754" fmla="*/ 322071 h 2052818"/>
                <a:gd name="connsiteX2755" fmla="*/ 961001 w 2222569"/>
                <a:gd name="connsiteY2755" fmla="*/ 321583 h 2052818"/>
                <a:gd name="connsiteX2756" fmla="*/ 966866 w 2222569"/>
                <a:gd name="connsiteY2756" fmla="*/ 318976 h 2052818"/>
                <a:gd name="connsiteX2757" fmla="*/ 969472 w 2222569"/>
                <a:gd name="connsiteY2757" fmla="*/ 320116 h 2052818"/>
                <a:gd name="connsiteX2758" fmla="*/ 969147 w 2222569"/>
                <a:gd name="connsiteY2758" fmla="*/ 324026 h 2052818"/>
                <a:gd name="connsiteX2759" fmla="*/ 964585 w 2222569"/>
                <a:gd name="connsiteY2759" fmla="*/ 326959 h 2052818"/>
                <a:gd name="connsiteX2760" fmla="*/ 961490 w 2222569"/>
                <a:gd name="connsiteY2760" fmla="*/ 332986 h 2052818"/>
                <a:gd name="connsiteX2761" fmla="*/ 963445 w 2222569"/>
                <a:gd name="connsiteY2761" fmla="*/ 336896 h 2052818"/>
                <a:gd name="connsiteX2762" fmla="*/ 960186 w 2222569"/>
                <a:gd name="connsiteY2762" fmla="*/ 339828 h 2052818"/>
                <a:gd name="connsiteX2763" fmla="*/ 958394 w 2222569"/>
                <a:gd name="connsiteY2763" fmla="*/ 344064 h 2052818"/>
                <a:gd name="connsiteX2764" fmla="*/ 960675 w 2222569"/>
                <a:gd name="connsiteY2764" fmla="*/ 347159 h 2052818"/>
                <a:gd name="connsiteX2765" fmla="*/ 963119 w 2222569"/>
                <a:gd name="connsiteY2765" fmla="*/ 344390 h 2052818"/>
                <a:gd name="connsiteX2766" fmla="*/ 966377 w 2222569"/>
                <a:gd name="connsiteY2766" fmla="*/ 344879 h 2052818"/>
                <a:gd name="connsiteX2767" fmla="*/ 966703 w 2222569"/>
                <a:gd name="connsiteY2767" fmla="*/ 348626 h 2052818"/>
                <a:gd name="connsiteX2768" fmla="*/ 968495 w 2222569"/>
                <a:gd name="connsiteY2768" fmla="*/ 348951 h 2052818"/>
                <a:gd name="connsiteX2769" fmla="*/ 976803 w 2222569"/>
                <a:gd name="connsiteY2769" fmla="*/ 343901 h 2052818"/>
                <a:gd name="connsiteX2770" fmla="*/ 980061 w 2222569"/>
                <a:gd name="connsiteY2770" fmla="*/ 339503 h 2052818"/>
                <a:gd name="connsiteX2771" fmla="*/ 983157 w 2222569"/>
                <a:gd name="connsiteY2771" fmla="*/ 339991 h 2052818"/>
                <a:gd name="connsiteX2772" fmla="*/ 986415 w 2222569"/>
                <a:gd name="connsiteY2772" fmla="*/ 335430 h 2052818"/>
                <a:gd name="connsiteX2773" fmla="*/ 986089 w 2222569"/>
                <a:gd name="connsiteY2773" fmla="*/ 329728 h 2052818"/>
                <a:gd name="connsiteX2774" fmla="*/ 989021 w 2222569"/>
                <a:gd name="connsiteY2774" fmla="*/ 329728 h 2052818"/>
                <a:gd name="connsiteX2775" fmla="*/ 992280 w 2222569"/>
                <a:gd name="connsiteY2775" fmla="*/ 325330 h 2052818"/>
                <a:gd name="connsiteX2776" fmla="*/ 992605 w 2222569"/>
                <a:gd name="connsiteY2776" fmla="*/ 319302 h 2052818"/>
                <a:gd name="connsiteX2777" fmla="*/ 994886 w 2222569"/>
                <a:gd name="connsiteY2777" fmla="*/ 317510 h 2052818"/>
                <a:gd name="connsiteX2778" fmla="*/ 996678 w 2222569"/>
                <a:gd name="connsiteY2778" fmla="*/ 318976 h 2052818"/>
                <a:gd name="connsiteX2779" fmla="*/ 995375 w 2222569"/>
                <a:gd name="connsiteY2779" fmla="*/ 323375 h 2052818"/>
                <a:gd name="connsiteX2780" fmla="*/ 996352 w 2222569"/>
                <a:gd name="connsiteY2780" fmla="*/ 326633 h 2052818"/>
                <a:gd name="connsiteX2781" fmla="*/ 994886 w 2222569"/>
                <a:gd name="connsiteY2781" fmla="*/ 332660 h 2052818"/>
                <a:gd name="connsiteX2782" fmla="*/ 996841 w 2222569"/>
                <a:gd name="connsiteY2782" fmla="*/ 337548 h 2052818"/>
                <a:gd name="connsiteX2783" fmla="*/ 999122 w 2222569"/>
                <a:gd name="connsiteY2783" fmla="*/ 337548 h 2052818"/>
                <a:gd name="connsiteX2784" fmla="*/ 1003846 w 2222569"/>
                <a:gd name="connsiteY2784" fmla="*/ 332172 h 2052818"/>
                <a:gd name="connsiteX2785" fmla="*/ 1004172 w 2222569"/>
                <a:gd name="connsiteY2785" fmla="*/ 326959 h 2052818"/>
                <a:gd name="connsiteX2786" fmla="*/ 1005475 w 2222569"/>
                <a:gd name="connsiteY2786" fmla="*/ 324515 h 2052818"/>
                <a:gd name="connsiteX2787" fmla="*/ 1009222 w 2222569"/>
                <a:gd name="connsiteY2787" fmla="*/ 323375 h 2052818"/>
                <a:gd name="connsiteX2788" fmla="*/ 1014598 w 2222569"/>
                <a:gd name="connsiteY2788" fmla="*/ 316207 h 2052818"/>
                <a:gd name="connsiteX2789" fmla="*/ 1015738 w 2222569"/>
                <a:gd name="connsiteY2789" fmla="*/ 310668 h 2052818"/>
                <a:gd name="connsiteX2790" fmla="*/ 1014924 w 2222569"/>
                <a:gd name="connsiteY2790" fmla="*/ 305618 h 2052818"/>
                <a:gd name="connsiteX2791" fmla="*/ 1017042 w 2222569"/>
                <a:gd name="connsiteY2791" fmla="*/ 301219 h 2052818"/>
                <a:gd name="connsiteX2792" fmla="*/ 1020137 w 2222569"/>
                <a:gd name="connsiteY2792" fmla="*/ 306269 h 2052818"/>
                <a:gd name="connsiteX2793" fmla="*/ 1028771 w 2222569"/>
                <a:gd name="connsiteY2793" fmla="*/ 300567 h 2052818"/>
                <a:gd name="connsiteX2794" fmla="*/ 1031541 w 2222569"/>
                <a:gd name="connsiteY2794" fmla="*/ 293888 h 2052818"/>
                <a:gd name="connsiteX2795" fmla="*/ 1032029 w 2222569"/>
                <a:gd name="connsiteY2795" fmla="*/ 289164 h 2052818"/>
                <a:gd name="connsiteX2796" fmla="*/ 1036917 w 2222569"/>
                <a:gd name="connsiteY2796" fmla="*/ 288349 h 2052818"/>
                <a:gd name="connsiteX2797" fmla="*/ 1039523 w 2222569"/>
                <a:gd name="connsiteY2797" fmla="*/ 286394 h 2052818"/>
                <a:gd name="connsiteX2798" fmla="*/ 1042781 w 2222569"/>
                <a:gd name="connsiteY2798" fmla="*/ 289001 h 2052818"/>
                <a:gd name="connsiteX2799" fmla="*/ 1047017 w 2222569"/>
                <a:gd name="connsiteY2799" fmla="*/ 284928 h 2052818"/>
                <a:gd name="connsiteX2800" fmla="*/ 1049298 w 2222569"/>
                <a:gd name="connsiteY2800" fmla="*/ 286720 h 2052818"/>
                <a:gd name="connsiteX2801" fmla="*/ 1047017 w 2222569"/>
                <a:gd name="connsiteY2801" fmla="*/ 295680 h 2052818"/>
                <a:gd name="connsiteX2802" fmla="*/ 1040664 w 2222569"/>
                <a:gd name="connsiteY2802" fmla="*/ 302522 h 2052818"/>
                <a:gd name="connsiteX2803" fmla="*/ 1039523 w 2222569"/>
                <a:gd name="connsiteY2803" fmla="*/ 308224 h 2052818"/>
                <a:gd name="connsiteX2804" fmla="*/ 1036265 w 2222569"/>
                <a:gd name="connsiteY2804" fmla="*/ 311482 h 2052818"/>
                <a:gd name="connsiteX2805" fmla="*/ 1035613 w 2222569"/>
                <a:gd name="connsiteY2805" fmla="*/ 313926 h 2052818"/>
                <a:gd name="connsiteX2806" fmla="*/ 1031704 w 2222569"/>
                <a:gd name="connsiteY2806" fmla="*/ 316207 h 2052818"/>
                <a:gd name="connsiteX2807" fmla="*/ 1025024 w 2222569"/>
                <a:gd name="connsiteY2807" fmla="*/ 325818 h 2052818"/>
                <a:gd name="connsiteX2808" fmla="*/ 1025024 w 2222569"/>
                <a:gd name="connsiteY2808" fmla="*/ 328914 h 2052818"/>
                <a:gd name="connsiteX2809" fmla="*/ 1027305 w 2222569"/>
                <a:gd name="connsiteY2809" fmla="*/ 333149 h 2052818"/>
                <a:gd name="connsiteX2810" fmla="*/ 1026328 w 2222569"/>
                <a:gd name="connsiteY2810" fmla="*/ 337548 h 2052818"/>
                <a:gd name="connsiteX2811" fmla="*/ 1030400 w 2222569"/>
                <a:gd name="connsiteY2811" fmla="*/ 338688 h 2052818"/>
                <a:gd name="connsiteX2812" fmla="*/ 1035125 w 2222569"/>
                <a:gd name="connsiteY2812" fmla="*/ 340643 h 2052818"/>
                <a:gd name="connsiteX2813" fmla="*/ 1037731 w 2222569"/>
                <a:gd name="connsiteY2813" fmla="*/ 337548 h 2052818"/>
                <a:gd name="connsiteX2814" fmla="*/ 1042781 w 2222569"/>
                <a:gd name="connsiteY2814" fmla="*/ 335104 h 2052818"/>
                <a:gd name="connsiteX2815" fmla="*/ 1043922 w 2222569"/>
                <a:gd name="connsiteY2815" fmla="*/ 330868 h 2052818"/>
                <a:gd name="connsiteX2816" fmla="*/ 1043433 w 2222569"/>
                <a:gd name="connsiteY2816" fmla="*/ 325818 h 2052818"/>
                <a:gd name="connsiteX2817" fmla="*/ 1047343 w 2222569"/>
                <a:gd name="connsiteY2817" fmla="*/ 322723 h 2052818"/>
                <a:gd name="connsiteX2818" fmla="*/ 1049787 w 2222569"/>
                <a:gd name="connsiteY2818" fmla="*/ 318324 h 2052818"/>
                <a:gd name="connsiteX2819" fmla="*/ 1053696 w 2222569"/>
                <a:gd name="connsiteY2819" fmla="*/ 318324 h 2052818"/>
                <a:gd name="connsiteX2820" fmla="*/ 1055977 w 2222569"/>
                <a:gd name="connsiteY2820" fmla="*/ 316695 h 2052818"/>
                <a:gd name="connsiteX2821" fmla="*/ 1058421 w 2222569"/>
                <a:gd name="connsiteY2821" fmla="*/ 319302 h 2052818"/>
                <a:gd name="connsiteX2822" fmla="*/ 1063145 w 2222569"/>
                <a:gd name="connsiteY2822" fmla="*/ 319302 h 2052818"/>
                <a:gd name="connsiteX2823" fmla="*/ 1066240 w 2222569"/>
                <a:gd name="connsiteY2823" fmla="*/ 316370 h 2052818"/>
                <a:gd name="connsiteX2824" fmla="*/ 1074060 w 2222569"/>
                <a:gd name="connsiteY2824" fmla="*/ 316370 h 2052818"/>
                <a:gd name="connsiteX2825" fmla="*/ 1077155 w 2222569"/>
                <a:gd name="connsiteY2825" fmla="*/ 311808 h 2052818"/>
                <a:gd name="connsiteX2826" fmla="*/ 1079599 w 2222569"/>
                <a:gd name="connsiteY2826" fmla="*/ 303174 h 2052818"/>
                <a:gd name="connsiteX2827" fmla="*/ 1084161 w 2222569"/>
                <a:gd name="connsiteY2827" fmla="*/ 295680 h 2052818"/>
                <a:gd name="connsiteX2828" fmla="*/ 1084161 w 2222569"/>
                <a:gd name="connsiteY2828" fmla="*/ 290630 h 2052818"/>
                <a:gd name="connsiteX2829" fmla="*/ 1085138 w 2222569"/>
                <a:gd name="connsiteY2829" fmla="*/ 288675 h 2052818"/>
                <a:gd name="connsiteX2830" fmla="*/ 1089536 w 2222569"/>
                <a:gd name="connsiteY2830" fmla="*/ 294540 h 2052818"/>
                <a:gd name="connsiteX2831" fmla="*/ 1093446 w 2222569"/>
                <a:gd name="connsiteY2831" fmla="*/ 295517 h 2052818"/>
                <a:gd name="connsiteX2832" fmla="*/ 1095238 w 2222569"/>
                <a:gd name="connsiteY2832" fmla="*/ 293236 h 2052818"/>
                <a:gd name="connsiteX2833" fmla="*/ 1094912 w 2222569"/>
                <a:gd name="connsiteY2833" fmla="*/ 289978 h 2052818"/>
                <a:gd name="connsiteX2834" fmla="*/ 1090188 w 2222569"/>
                <a:gd name="connsiteY2834" fmla="*/ 282484 h 2052818"/>
                <a:gd name="connsiteX2835" fmla="*/ 1090188 w 2222569"/>
                <a:gd name="connsiteY2835" fmla="*/ 279226 h 2052818"/>
                <a:gd name="connsiteX2836" fmla="*/ 1095727 w 2222569"/>
                <a:gd name="connsiteY2836" fmla="*/ 274502 h 2052818"/>
                <a:gd name="connsiteX2837" fmla="*/ 1100777 w 2222569"/>
                <a:gd name="connsiteY2837" fmla="*/ 274176 h 2052818"/>
                <a:gd name="connsiteX2838" fmla="*/ 1105990 w 2222569"/>
                <a:gd name="connsiteY2838" fmla="*/ 271407 h 2052818"/>
                <a:gd name="connsiteX2839" fmla="*/ 1109086 w 2222569"/>
                <a:gd name="connsiteY2839" fmla="*/ 273036 h 2052818"/>
                <a:gd name="connsiteX2840" fmla="*/ 1112344 w 2222569"/>
                <a:gd name="connsiteY2840" fmla="*/ 272547 h 2052818"/>
                <a:gd name="connsiteX2841" fmla="*/ 1116579 w 2222569"/>
                <a:gd name="connsiteY2841" fmla="*/ 267008 h 2052818"/>
                <a:gd name="connsiteX2842" fmla="*/ 1115602 w 2222569"/>
                <a:gd name="connsiteY2842" fmla="*/ 262935 h 2052818"/>
                <a:gd name="connsiteX2843" fmla="*/ 1114624 w 2222569"/>
                <a:gd name="connsiteY2843" fmla="*/ 252835 h 2052818"/>
                <a:gd name="connsiteX2844" fmla="*/ 1116254 w 2222569"/>
                <a:gd name="connsiteY2844" fmla="*/ 250228 h 2052818"/>
                <a:gd name="connsiteX2845" fmla="*/ 1115113 w 2222569"/>
                <a:gd name="connsiteY2845" fmla="*/ 247785 h 2052818"/>
                <a:gd name="connsiteX2846" fmla="*/ 1113973 w 2222569"/>
                <a:gd name="connsiteY2846" fmla="*/ 241594 h 2052818"/>
                <a:gd name="connsiteX2847" fmla="*/ 1111366 w 2222569"/>
                <a:gd name="connsiteY2847" fmla="*/ 240291 h 2052818"/>
                <a:gd name="connsiteX2848" fmla="*/ 1107456 w 2222569"/>
                <a:gd name="connsiteY2848" fmla="*/ 242083 h 2052818"/>
                <a:gd name="connsiteX2849" fmla="*/ 1101592 w 2222569"/>
                <a:gd name="connsiteY2849" fmla="*/ 244852 h 2052818"/>
                <a:gd name="connsiteX2850" fmla="*/ 1101266 w 2222569"/>
                <a:gd name="connsiteY2850" fmla="*/ 251532 h 2052818"/>
                <a:gd name="connsiteX2851" fmla="*/ 1100777 w 2222569"/>
                <a:gd name="connsiteY2851" fmla="*/ 254953 h 2052818"/>
                <a:gd name="connsiteX2852" fmla="*/ 1101754 w 2222569"/>
                <a:gd name="connsiteY2852" fmla="*/ 258048 h 2052818"/>
                <a:gd name="connsiteX2853" fmla="*/ 1097356 w 2222569"/>
                <a:gd name="connsiteY2853" fmla="*/ 259026 h 2052818"/>
                <a:gd name="connsiteX2854" fmla="*/ 1095890 w 2222569"/>
                <a:gd name="connsiteY2854" fmla="*/ 254301 h 2052818"/>
                <a:gd name="connsiteX2855" fmla="*/ 1094424 w 2222569"/>
                <a:gd name="connsiteY2855" fmla="*/ 254301 h 2052818"/>
                <a:gd name="connsiteX2856" fmla="*/ 1093609 w 2222569"/>
                <a:gd name="connsiteY2856" fmla="*/ 257559 h 2052818"/>
                <a:gd name="connsiteX2857" fmla="*/ 1091980 w 2222569"/>
                <a:gd name="connsiteY2857" fmla="*/ 259514 h 2052818"/>
                <a:gd name="connsiteX2858" fmla="*/ 1089373 w 2222569"/>
                <a:gd name="connsiteY2858" fmla="*/ 256093 h 2052818"/>
                <a:gd name="connsiteX2859" fmla="*/ 1088396 w 2222569"/>
                <a:gd name="connsiteY2859" fmla="*/ 248762 h 2052818"/>
                <a:gd name="connsiteX2860" fmla="*/ 1083672 w 2222569"/>
                <a:gd name="connsiteY2860" fmla="*/ 243549 h 2052818"/>
                <a:gd name="connsiteX2861" fmla="*/ 1081065 w 2222569"/>
                <a:gd name="connsiteY2861" fmla="*/ 243549 h 2052818"/>
                <a:gd name="connsiteX2862" fmla="*/ 1079273 w 2222569"/>
                <a:gd name="connsiteY2862" fmla="*/ 245830 h 2052818"/>
                <a:gd name="connsiteX2863" fmla="*/ 1073571 w 2222569"/>
                <a:gd name="connsiteY2863" fmla="*/ 245830 h 2052818"/>
                <a:gd name="connsiteX2864" fmla="*/ 1068195 w 2222569"/>
                <a:gd name="connsiteY2864" fmla="*/ 243386 h 2052818"/>
                <a:gd name="connsiteX2865" fmla="*/ 1064937 w 2222569"/>
                <a:gd name="connsiteY2865" fmla="*/ 244038 h 2052818"/>
                <a:gd name="connsiteX2866" fmla="*/ 1053859 w 2222569"/>
                <a:gd name="connsiteY2866" fmla="*/ 242898 h 2052818"/>
                <a:gd name="connsiteX2867" fmla="*/ 1048157 w 2222569"/>
                <a:gd name="connsiteY2867" fmla="*/ 245667 h 2052818"/>
                <a:gd name="connsiteX2868" fmla="*/ 1046691 w 2222569"/>
                <a:gd name="connsiteY2868" fmla="*/ 250717 h 2052818"/>
                <a:gd name="connsiteX2869" fmla="*/ 1044085 w 2222569"/>
                <a:gd name="connsiteY2869" fmla="*/ 253812 h 2052818"/>
                <a:gd name="connsiteX2870" fmla="*/ 1042130 w 2222569"/>
                <a:gd name="connsiteY2870" fmla="*/ 252835 h 2052818"/>
                <a:gd name="connsiteX2871" fmla="*/ 1039197 w 2222569"/>
                <a:gd name="connsiteY2871" fmla="*/ 252835 h 2052818"/>
                <a:gd name="connsiteX2872" fmla="*/ 1026979 w 2222569"/>
                <a:gd name="connsiteY2872" fmla="*/ 262284 h 2052818"/>
                <a:gd name="connsiteX2873" fmla="*/ 1023232 w 2222569"/>
                <a:gd name="connsiteY2873" fmla="*/ 265379 h 2052818"/>
                <a:gd name="connsiteX2874" fmla="*/ 1018997 w 2222569"/>
                <a:gd name="connsiteY2874" fmla="*/ 265705 h 2052818"/>
                <a:gd name="connsiteX2875" fmla="*/ 1012480 w 2222569"/>
                <a:gd name="connsiteY2875" fmla="*/ 270266 h 2052818"/>
                <a:gd name="connsiteX2876" fmla="*/ 1008082 w 2222569"/>
                <a:gd name="connsiteY2876" fmla="*/ 271244 h 2052818"/>
                <a:gd name="connsiteX2877" fmla="*/ 1004009 w 2222569"/>
                <a:gd name="connsiteY2877" fmla="*/ 274502 h 2052818"/>
                <a:gd name="connsiteX2878" fmla="*/ 1003195 w 2222569"/>
                <a:gd name="connsiteY2878" fmla="*/ 277760 h 2052818"/>
                <a:gd name="connsiteX2879" fmla="*/ 994723 w 2222569"/>
                <a:gd name="connsiteY2879" fmla="*/ 277760 h 2052818"/>
                <a:gd name="connsiteX2880" fmla="*/ 992280 w 2222569"/>
                <a:gd name="connsiteY2880" fmla="*/ 279552 h 2052818"/>
                <a:gd name="connsiteX2881" fmla="*/ 987229 w 2222569"/>
                <a:gd name="connsiteY2881" fmla="*/ 278575 h 2052818"/>
                <a:gd name="connsiteX2882" fmla="*/ 984623 w 2222569"/>
                <a:gd name="connsiteY2882" fmla="*/ 280855 h 2052818"/>
                <a:gd name="connsiteX2883" fmla="*/ 981202 w 2222569"/>
                <a:gd name="connsiteY2883" fmla="*/ 280855 h 2052818"/>
                <a:gd name="connsiteX2884" fmla="*/ 972731 w 2222569"/>
                <a:gd name="connsiteY2884" fmla="*/ 287535 h 2052818"/>
                <a:gd name="connsiteX2885" fmla="*/ 967192 w 2222569"/>
                <a:gd name="connsiteY2885" fmla="*/ 290793 h 2052818"/>
                <a:gd name="connsiteX2886" fmla="*/ 961327 w 2222569"/>
                <a:gd name="connsiteY2886" fmla="*/ 288838 h 2052818"/>
                <a:gd name="connsiteX2887" fmla="*/ 956602 w 2222569"/>
                <a:gd name="connsiteY2887" fmla="*/ 291282 h 2052818"/>
                <a:gd name="connsiteX2888" fmla="*/ 944873 w 2222569"/>
                <a:gd name="connsiteY2888" fmla="*/ 293236 h 2052818"/>
                <a:gd name="connsiteX2889" fmla="*/ 939823 w 2222569"/>
                <a:gd name="connsiteY2889" fmla="*/ 300893 h 2052818"/>
                <a:gd name="connsiteX2890" fmla="*/ 935750 w 2222569"/>
                <a:gd name="connsiteY2890" fmla="*/ 300893 h 2052818"/>
                <a:gd name="connsiteX2891" fmla="*/ 928908 w 2222569"/>
                <a:gd name="connsiteY2891" fmla="*/ 302685 h 2052818"/>
                <a:gd name="connsiteX2892" fmla="*/ 926139 w 2222569"/>
                <a:gd name="connsiteY2892" fmla="*/ 308061 h 2052818"/>
                <a:gd name="connsiteX2893" fmla="*/ 930863 w 2222569"/>
                <a:gd name="connsiteY2893" fmla="*/ 308061 h 2052818"/>
                <a:gd name="connsiteX2894" fmla="*/ 932818 w 2222569"/>
                <a:gd name="connsiteY2894" fmla="*/ 310016 h 2052818"/>
                <a:gd name="connsiteX2895" fmla="*/ 928745 w 2222569"/>
                <a:gd name="connsiteY2895" fmla="*/ 310505 h 2052818"/>
                <a:gd name="connsiteX2896" fmla="*/ 927442 w 2222569"/>
                <a:gd name="connsiteY2896" fmla="*/ 312948 h 2052818"/>
                <a:gd name="connsiteX2897" fmla="*/ 930537 w 2222569"/>
                <a:gd name="connsiteY2897" fmla="*/ 315881 h 2052818"/>
                <a:gd name="connsiteX2898" fmla="*/ 929234 w 2222569"/>
                <a:gd name="connsiteY2898" fmla="*/ 319139 h 2052818"/>
                <a:gd name="connsiteX2899" fmla="*/ 922066 w 2222569"/>
                <a:gd name="connsiteY2899" fmla="*/ 321746 h 2052818"/>
                <a:gd name="connsiteX2900" fmla="*/ 922066 w 2222569"/>
                <a:gd name="connsiteY2900" fmla="*/ 324189 h 2052818"/>
                <a:gd name="connsiteX2901" fmla="*/ 927442 w 2222569"/>
                <a:gd name="connsiteY2901" fmla="*/ 325818 h 2052818"/>
                <a:gd name="connsiteX2902" fmla="*/ 932655 w 2222569"/>
                <a:gd name="connsiteY2902" fmla="*/ 324841 h 2052818"/>
                <a:gd name="connsiteX2903" fmla="*/ 934610 w 2222569"/>
                <a:gd name="connsiteY2903" fmla="*/ 320605 h 2052818"/>
                <a:gd name="connsiteX2904" fmla="*/ 938357 w 2222569"/>
                <a:gd name="connsiteY2904" fmla="*/ 319302 h 2052818"/>
                <a:gd name="connsiteX2905" fmla="*/ 942918 w 2222569"/>
                <a:gd name="connsiteY2905" fmla="*/ 321908 h 2052818"/>
                <a:gd name="connsiteX2906" fmla="*/ 946665 w 2222569"/>
                <a:gd name="connsiteY2906" fmla="*/ 328099 h 2052818"/>
                <a:gd name="connsiteX2907" fmla="*/ 946991 w 2222569"/>
                <a:gd name="connsiteY2907" fmla="*/ 333475 h 2052818"/>
                <a:gd name="connsiteX2908" fmla="*/ 951552 w 2222569"/>
                <a:gd name="connsiteY2908" fmla="*/ 335756 h 2052818"/>
                <a:gd name="connsiteX2909" fmla="*/ 951552 w 2222569"/>
                <a:gd name="connsiteY2909" fmla="*/ 335756 h 2052818"/>
                <a:gd name="connsiteX2910" fmla="*/ 1439465 w 2222569"/>
                <a:gd name="connsiteY2910" fmla="*/ 623290 h 2052818"/>
                <a:gd name="connsiteX2911" fmla="*/ 1440931 w 2222569"/>
                <a:gd name="connsiteY2911" fmla="*/ 621335 h 2052818"/>
                <a:gd name="connsiteX2912" fmla="*/ 1447448 w 2222569"/>
                <a:gd name="connsiteY2912" fmla="*/ 623128 h 2052818"/>
                <a:gd name="connsiteX2913" fmla="*/ 1448262 w 2222569"/>
                <a:gd name="connsiteY2913" fmla="*/ 625408 h 2052818"/>
                <a:gd name="connsiteX2914" fmla="*/ 1445004 w 2222569"/>
                <a:gd name="connsiteY2914" fmla="*/ 627363 h 2052818"/>
                <a:gd name="connsiteX2915" fmla="*/ 1442561 w 2222569"/>
                <a:gd name="connsiteY2915" fmla="*/ 626712 h 2052818"/>
                <a:gd name="connsiteX2916" fmla="*/ 1439302 w 2222569"/>
                <a:gd name="connsiteY2916" fmla="*/ 623290 h 2052818"/>
                <a:gd name="connsiteX2917" fmla="*/ 1439302 w 2222569"/>
                <a:gd name="connsiteY2917" fmla="*/ 623290 h 2052818"/>
                <a:gd name="connsiteX2918" fmla="*/ 1383099 w 2222569"/>
                <a:gd name="connsiteY2918" fmla="*/ 511372 h 2052818"/>
                <a:gd name="connsiteX2919" fmla="*/ 1379026 w 2222569"/>
                <a:gd name="connsiteY2919" fmla="*/ 508114 h 2052818"/>
                <a:gd name="connsiteX2920" fmla="*/ 1375116 w 2222569"/>
                <a:gd name="connsiteY2920" fmla="*/ 507788 h 2052818"/>
                <a:gd name="connsiteX2921" fmla="*/ 1373324 w 2222569"/>
                <a:gd name="connsiteY2921" fmla="*/ 510557 h 2052818"/>
                <a:gd name="connsiteX2922" fmla="*/ 1377886 w 2222569"/>
                <a:gd name="connsiteY2922" fmla="*/ 510557 h 2052818"/>
                <a:gd name="connsiteX2923" fmla="*/ 1379678 w 2222569"/>
                <a:gd name="connsiteY2923" fmla="*/ 512675 h 2052818"/>
                <a:gd name="connsiteX2924" fmla="*/ 1379026 w 2222569"/>
                <a:gd name="connsiteY2924" fmla="*/ 514630 h 2052818"/>
                <a:gd name="connsiteX2925" fmla="*/ 1372510 w 2222569"/>
                <a:gd name="connsiteY2925" fmla="*/ 515445 h 2052818"/>
                <a:gd name="connsiteX2926" fmla="*/ 1370229 w 2222569"/>
                <a:gd name="connsiteY2926" fmla="*/ 516911 h 2052818"/>
                <a:gd name="connsiteX2927" fmla="*/ 1372510 w 2222569"/>
                <a:gd name="connsiteY2927" fmla="*/ 521798 h 2052818"/>
                <a:gd name="connsiteX2928" fmla="*/ 1373650 w 2222569"/>
                <a:gd name="connsiteY2928" fmla="*/ 522287 h 2052818"/>
                <a:gd name="connsiteX2929" fmla="*/ 1373650 w 2222569"/>
                <a:gd name="connsiteY2929" fmla="*/ 524079 h 2052818"/>
                <a:gd name="connsiteX2930" fmla="*/ 1368111 w 2222569"/>
                <a:gd name="connsiteY2930" fmla="*/ 522287 h 2052818"/>
                <a:gd name="connsiteX2931" fmla="*/ 1362246 w 2222569"/>
                <a:gd name="connsiteY2931" fmla="*/ 523753 h 2052818"/>
                <a:gd name="connsiteX2932" fmla="*/ 1358336 w 2222569"/>
                <a:gd name="connsiteY2932" fmla="*/ 527337 h 2052818"/>
                <a:gd name="connsiteX2933" fmla="*/ 1356219 w 2222569"/>
                <a:gd name="connsiteY2933" fmla="*/ 532224 h 2052818"/>
                <a:gd name="connsiteX2934" fmla="*/ 1354753 w 2222569"/>
                <a:gd name="connsiteY2934" fmla="*/ 533853 h 2052818"/>
                <a:gd name="connsiteX2935" fmla="*/ 1355730 w 2222569"/>
                <a:gd name="connsiteY2935" fmla="*/ 535157 h 2052818"/>
                <a:gd name="connsiteX2936" fmla="*/ 1358011 w 2222569"/>
                <a:gd name="connsiteY2936" fmla="*/ 535645 h 2052818"/>
                <a:gd name="connsiteX2937" fmla="*/ 1356870 w 2222569"/>
                <a:gd name="connsiteY2937" fmla="*/ 538252 h 2052818"/>
                <a:gd name="connsiteX2938" fmla="*/ 1356545 w 2222569"/>
                <a:gd name="connsiteY2938" fmla="*/ 541510 h 2052818"/>
                <a:gd name="connsiteX2939" fmla="*/ 1357685 w 2222569"/>
                <a:gd name="connsiteY2939" fmla="*/ 541836 h 2052818"/>
                <a:gd name="connsiteX2940" fmla="*/ 1360943 w 2222569"/>
                <a:gd name="connsiteY2940" fmla="*/ 538089 h 2052818"/>
                <a:gd name="connsiteX2941" fmla="*/ 1362083 w 2222569"/>
                <a:gd name="connsiteY2941" fmla="*/ 538741 h 2052818"/>
                <a:gd name="connsiteX2942" fmla="*/ 1360291 w 2222569"/>
                <a:gd name="connsiteY2942" fmla="*/ 543954 h 2052818"/>
                <a:gd name="connsiteX2943" fmla="*/ 1360943 w 2222569"/>
                <a:gd name="connsiteY2943" fmla="*/ 546234 h 2052818"/>
                <a:gd name="connsiteX2944" fmla="*/ 1364527 w 2222569"/>
                <a:gd name="connsiteY2944" fmla="*/ 548515 h 2052818"/>
                <a:gd name="connsiteX2945" fmla="*/ 1366645 w 2222569"/>
                <a:gd name="connsiteY2945" fmla="*/ 547375 h 2052818"/>
                <a:gd name="connsiteX2946" fmla="*/ 1368274 w 2222569"/>
                <a:gd name="connsiteY2946" fmla="*/ 548515 h 2052818"/>
                <a:gd name="connsiteX2947" fmla="*/ 1368763 w 2222569"/>
                <a:gd name="connsiteY2947" fmla="*/ 553077 h 2052818"/>
                <a:gd name="connsiteX2948" fmla="*/ 1370392 w 2222569"/>
                <a:gd name="connsiteY2948" fmla="*/ 552751 h 2052818"/>
                <a:gd name="connsiteX2949" fmla="*/ 1372184 w 2222569"/>
                <a:gd name="connsiteY2949" fmla="*/ 549981 h 2052818"/>
                <a:gd name="connsiteX2950" fmla="*/ 1375442 w 2222569"/>
                <a:gd name="connsiteY2950" fmla="*/ 550633 h 2052818"/>
                <a:gd name="connsiteX2951" fmla="*/ 1375116 w 2222569"/>
                <a:gd name="connsiteY2951" fmla="*/ 557312 h 2052818"/>
                <a:gd name="connsiteX2952" fmla="*/ 1375931 w 2222569"/>
                <a:gd name="connsiteY2952" fmla="*/ 559756 h 2052818"/>
                <a:gd name="connsiteX2953" fmla="*/ 1380655 w 2222569"/>
                <a:gd name="connsiteY2953" fmla="*/ 558778 h 2052818"/>
                <a:gd name="connsiteX2954" fmla="*/ 1381795 w 2222569"/>
                <a:gd name="connsiteY2954" fmla="*/ 563829 h 2052818"/>
                <a:gd name="connsiteX2955" fmla="*/ 1386520 w 2222569"/>
                <a:gd name="connsiteY2955" fmla="*/ 563829 h 2052818"/>
                <a:gd name="connsiteX2956" fmla="*/ 1392710 w 2222569"/>
                <a:gd name="connsiteY2956" fmla="*/ 567575 h 2052818"/>
                <a:gd name="connsiteX2957" fmla="*/ 1397272 w 2222569"/>
                <a:gd name="connsiteY2957" fmla="*/ 567575 h 2052818"/>
                <a:gd name="connsiteX2958" fmla="*/ 1398738 w 2222569"/>
                <a:gd name="connsiteY2958" fmla="*/ 569042 h 2052818"/>
                <a:gd name="connsiteX2959" fmla="*/ 1400204 w 2222569"/>
                <a:gd name="connsiteY2959" fmla="*/ 567413 h 2052818"/>
                <a:gd name="connsiteX2960" fmla="*/ 1398901 w 2222569"/>
                <a:gd name="connsiteY2960" fmla="*/ 563829 h 2052818"/>
                <a:gd name="connsiteX2961" fmla="*/ 1403136 w 2222569"/>
                <a:gd name="connsiteY2961" fmla="*/ 562525 h 2052818"/>
                <a:gd name="connsiteX2962" fmla="*/ 1405743 w 2222569"/>
                <a:gd name="connsiteY2962" fmla="*/ 555846 h 2052818"/>
                <a:gd name="connsiteX2963" fmla="*/ 1404603 w 2222569"/>
                <a:gd name="connsiteY2963" fmla="*/ 550633 h 2052818"/>
                <a:gd name="connsiteX2964" fmla="*/ 1408350 w 2222569"/>
                <a:gd name="connsiteY2964" fmla="*/ 543628 h 2052818"/>
                <a:gd name="connsiteX2965" fmla="*/ 1410142 w 2222569"/>
                <a:gd name="connsiteY2965" fmla="*/ 541673 h 2052818"/>
                <a:gd name="connsiteX2966" fmla="*/ 1412748 w 2222569"/>
                <a:gd name="connsiteY2966" fmla="*/ 533039 h 2052818"/>
                <a:gd name="connsiteX2967" fmla="*/ 1412748 w 2222569"/>
                <a:gd name="connsiteY2967" fmla="*/ 526685 h 2052818"/>
                <a:gd name="connsiteX2968" fmla="*/ 1414703 w 2222569"/>
                <a:gd name="connsiteY2968" fmla="*/ 524893 h 2052818"/>
                <a:gd name="connsiteX2969" fmla="*/ 1413074 w 2222569"/>
                <a:gd name="connsiteY2969" fmla="*/ 519843 h 2052818"/>
                <a:gd name="connsiteX2970" fmla="*/ 1409164 w 2222569"/>
                <a:gd name="connsiteY2970" fmla="*/ 516259 h 2052818"/>
                <a:gd name="connsiteX2971" fmla="*/ 1409164 w 2222569"/>
                <a:gd name="connsiteY2971" fmla="*/ 511046 h 2052818"/>
                <a:gd name="connsiteX2972" fmla="*/ 1406884 w 2222569"/>
                <a:gd name="connsiteY2972" fmla="*/ 508439 h 2052818"/>
                <a:gd name="connsiteX2973" fmla="*/ 1405743 w 2222569"/>
                <a:gd name="connsiteY2973" fmla="*/ 504204 h 2052818"/>
                <a:gd name="connsiteX2974" fmla="*/ 1399064 w 2222569"/>
                <a:gd name="connsiteY2974" fmla="*/ 501109 h 2052818"/>
                <a:gd name="connsiteX2975" fmla="*/ 1394014 w 2222569"/>
                <a:gd name="connsiteY2975" fmla="*/ 503063 h 2052818"/>
                <a:gd name="connsiteX2976" fmla="*/ 1389615 w 2222569"/>
                <a:gd name="connsiteY2976" fmla="*/ 501760 h 2052818"/>
                <a:gd name="connsiteX2977" fmla="*/ 1383425 w 2222569"/>
                <a:gd name="connsiteY2977" fmla="*/ 502412 h 2052818"/>
                <a:gd name="connsiteX2978" fmla="*/ 1381795 w 2222569"/>
                <a:gd name="connsiteY2978" fmla="*/ 504855 h 2052818"/>
                <a:gd name="connsiteX2979" fmla="*/ 1384728 w 2222569"/>
                <a:gd name="connsiteY2979" fmla="*/ 508602 h 2052818"/>
                <a:gd name="connsiteX2980" fmla="*/ 1384728 w 2222569"/>
                <a:gd name="connsiteY2980" fmla="*/ 511209 h 2052818"/>
                <a:gd name="connsiteX2981" fmla="*/ 1382936 w 2222569"/>
                <a:gd name="connsiteY2981" fmla="*/ 510883 h 2052818"/>
                <a:gd name="connsiteX2982" fmla="*/ 1382936 w 2222569"/>
                <a:gd name="connsiteY2982" fmla="*/ 510883 h 2052818"/>
                <a:gd name="connsiteX2983" fmla="*/ 1416169 w 2222569"/>
                <a:gd name="connsiteY2983" fmla="*/ 471133 h 2052818"/>
                <a:gd name="connsiteX2984" fmla="*/ 1412911 w 2222569"/>
                <a:gd name="connsiteY2984" fmla="*/ 469178 h 2052818"/>
                <a:gd name="connsiteX2985" fmla="*/ 1413888 w 2222569"/>
                <a:gd name="connsiteY2985" fmla="*/ 466898 h 2052818"/>
                <a:gd name="connsiteX2986" fmla="*/ 1417798 w 2222569"/>
                <a:gd name="connsiteY2986" fmla="*/ 466572 h 2052818"/>
                <a:gd name="connsiteX2987" fmla="*/ 1416169 w 2222569"/>
                <a:gd name="connsiteY2987" fmla="*/ 471133 h 2052818"/>
                <a:gd name="connsiteX2988" fmla="*/ 1416169 w 2222569"/>
                <a:gd name="connsiteY2988" fmla="*/ 471133 h 2052818"/>
                <a:gd name="connsiteX2989" fmla="*/ 1409979 w 2222569"/>
                <a:gd name="connsiteY2989" fmla="*/ 497199 h 2052818"/>
                <a:gd name="connsiteX2990" fmla="*/ 1409001 w 2222569"/>
                <a:gd name="connsiteY2990" fmla="*/ 493126 h 2052818"/>
                <a:gd name="connsiteX2991" fmla="*/ 1407209 w 2222569"/>
                <a:gd name="connsiteY2991" fmla="*/ 491660 h 2052818"/>
                <a:gd name="connsiteX2992" fmla="*/ 1407209 w 2222569"/>
                <a:gd name="connsiteY2992" fmla="*/ 489216 h 2052818"/>
                <a:gd name="connsiteX2993" fmla="*/ 1409490 w 2222569"/>
                <a:gd name="connsiteY2993" fmla="*/ 487424 h 2052818"/>
                <a:gd name="connsiteX2994" fmla="*/ 1409164 w 2222569"/>
                <a:gd name="connsiteY2994" fmla="*/ 481722 h 2052818"/>
                <a:gd name="connsiteX2995" fmla="*/ 1410468 w 2222569"/>
                <a:gd name="connsiteY2995" fmla="*/ 479442 h 2052818"/>
                <a:gd name="connsiteX2996" fmla="*/ 1417310 w 2222569"/>
                <a:gd name="connsiteY2996" fmla="*/ 479442 h 2052818"/>
                <a:gd name="connsiteX2997" fmla="*/ 1414214 w 2222569"/>
                <a:gd name="connsiteY2997" fmla="*/ 490519 h 2052818"/>
                <a:gd name="connsiteX2998" fmla="*/ 1411608 w 2222569"/>
                <a:gd name="connsiteY2998" fmla="*/ 495244 h 2052818"/>
                <a:gd name="connsiteX2999" fmla="*/ 1409979 w 2222569"/>
                <a:gd name="connsiteY2999" fmla="*/ 497036 h 2052818"/>
                <a:gd name="connsiteX3000" fmla="*/ 1409979 w 2222569"/>
                <a:gd name="connsiteY3000" fmla="*/ 497036 h 2052818"/>
                <a:gd name="connsiteX3001" fmla="*/ 1374627 w 2222569"/>
                <a:gd name="connsiteY3001" fmla="*/ 485958 h 2052818"/>
                <a:gd name="connsiteX3002" fmla="*/ 1372998 w 2222569"/>
                <a:gd name="connsiteY3002" fmla="*/ 483677 h 2052818"/>
                <a:gd name="connsiteX3003" fmla="*/ 1375116 w 2222569"/>
                <a:gd name="connsiteY3003" fmla="*/ 481071 h 2052818"/>
                <a:gd name="connsiteX3004" fmla="*/ 1380166 w 2222569"/>
                <a:gd name="connsiteY3004" fmla="*/ 480256 h 2052818"/>
                <a:gd name="connsiteX3005" fmla="*/ 1380981 w 2222569"/>
                <a:gd name="connsiteY3005" fmla="*/ 481397 h 2052818"/>
                <a:gd name="connsiteX3006" fmla="*/ 1378374 w 2222569"/>
                <a:gd name="connsiteY3006" fmla="*/ 483026 h 2052818"/>
                <a:gd name="connsiteX3007" fmla="*/ 1377234 w 2222569"/>
                <a:gd name="connsiteY3007" fmla="*/ 485306 h 2052818"/>
                <a:gd name="connsiteX3008" fmla="*/ 1374790 w 2222569"/>
                <a:gd name="connsiteY3008" fmla="*/ 485795 h 2052818"/>
                <a:gd name="connsiteX3009" fmla="*/ 1374790 w 2222569"/>
                <a:gd name="connsiteY3009" fmla="*/ 485795 h 2052818"/>
                <a:gd name="connsiteX3010" fmla="*/ 1365504 w 2222569"/>
                <a:gd name="connsiteY3010" fmla="*/ 492311 h 2052818"/>
                <a:gd name="connsiteX3011" fmla="*/ 1364527 w 2222569"/>
                <a:gd name="connsiteY3011" fmla="*/ 490357 h 2052818"/>
                <a:gd name="connsiteX3012" fmla="*/ 1367622 w 2222569"/>
                <a:gd name="connsiteY3012" fmla="*/ 488239 h 2052818"/>
                <a:gd name="connsiteX3013" fmla="*/ 1369740 w 2222569"/>
                <a:gd name="connsiteY3013" fmla="*/ 488239 h 2052818"/>
                <a:gd name="connsiteX3014" fmla="*/ 1367460 w 2222569"/>
                <a:gd name="connsiteY3014" fmla="*/ 491171 h 2052818"/>
                <a:gd name="connsiteX3015" fmla="*/ 1365504 w 2222569"/>
                <a:gd name="connsiteY3015" fmla="*/ 492311 h 2052818"/>
                <a:gd name="connsiteX3016" fmla="*/ 1365504 w 2222569"/>
                <a:gd name="connsiteY3016" fmla="*/ 492311 h 2052818"/>
                <a:gd name="connsiteX3017" fmla="*/ 1372510 w 2222569"/>
                <a:gd name="connsiteY3017" fmla="*/ 503552 h 2052818"/>
                <a:gd name="connsiteX3018" fmla="*/ 1373324 w 2222569"/>
                <a:gd name="connsiteY3018" fmla="*/ 500294 h 2052818"/>
                <a:gd name="connsiteX3019" fmla="*/ 1371858 w 2222569"/>
                <a:gd name="connsiteY3019" fmla="*/ 498502 h 2052818"/>
                <a:gd name="connsiteX3020" fmla="*/ 1372672 w 2222569"/>
                <a:gd name="connsiteY3020" fmla="*/ 494266 h 2052818"/>
                <a:gd name="connsiteX3021" fmla="*/ 1374627 w 2222569"/>
                <a:gd name="connsiteY3021" fmla="*/ 493778 h 2052818"/>
                <a:gd name="connsiteX3022" fmla="*/ 1377071 w 2222569"/>
                <a:gd name="connsiteY3022" fmla="*/ 496058 h 2052818"/>
                <a:gd name="connsiteX3023" fmla="*/ 1379026 w 2222569"/>
                <a:gd name="connsiteY3023" fmla="*/ 499642 h 2052818"/>
                <a:gd name="connsiteX3024" fmla="*/ 1374953 w 2222569"/>
                <a:gd name="connsiteY3024" fmla="*/ 503226 h 2052818"/>
                <a:gd name="connsiteX3025" fmla="*/ 1372672 w 2222569"/>
                <a:gd name="connsiteY3025" fmla="*/ 503552 h 2052818"/>
                <a:gd name="connsiteX3026" fmla="*/ 1372672 w 2222569"/>
                <a:gd name="connsiteY3026" fmla="*/ 503552 h 2052818"/>
                <a:gd name="connsiteX3027" fmla="*/ 1362572 w 2222569"/>
                <a:gd name="connsiteY3027" fmla="*/ 508277 h 2052818"/>
                <a:gd name="connsiteX3028" fmla="*/ 1359477 w 2222569"/>
                <a:gd name="connsiteY3028" fmla="*/ 506485 h 2052818"/>
                <a:gd name="connsiteX3029" fmla="*/ 1358499 w 2222569"/>
                <a:gd name="connsiteY3029" fmla="*/ 499805 h 2052818"/>
                <a:gd name="connsiteX3030" fmla="*/ 1360454 w 2222569"/>
                <a:gd name="connsiteY3030" fmla="*/ 498339 h 2052818"/>
                <a:gd name="connsiteX3031" fmla="*/ 1362572 w 2222569"/>
                <a:gd name="connsiteY3031" fmla="*/ 496547 h 2052818"/>
                <a:gd name="connsiteX3032" fmla="*/ 1365668 w 2222569"/>
                <a:gd name="connsiteY3032" fmla="*/ 495895 h 2052818"/>
                <a:gd name="connsiteX3033" fmla="*/ 1368437 w 2222569"/>
                <a:gd name="connsiteY3033" fmla="*/ 497687 h 2052818"/>
                <a:gd name="connsiteX3034" fmla="*/ 1369903 w 2222569"/>
                <a:gd name="connsiteY3034" fmla="*/ 499154 h 2052818"/>
                <a:gd name="connsiteX3035" fmla="*/ 1368600 w 2222569"/>
                <a:gd name="connsiteY3035" fmla="*/ 501434 h 2052818"/>
                <a:gd name="connsiteX3036" fmla="*/ 1368600 w 2222569"/>
                <a:gd name="connsiteY3036" fmla="*/ 504693 h 2052818"/>
                <a:gd name="connsiteX3037" fmla="*/ 1365668 w 2222569"/>
                <a:gd name="connsiteY3037" fmla="*/ 505507 h 2052818"/>
                <a:gd name="connsiteX3038" fmla="*/ 1364201 w 2222569"/>
                <a:gd name="connsiteY3038" fmla="*/ 507788 h 2052818"/>
                <a:gd name="connsiteX3039" fmla="*/ 1362409 w 2222569"/>
                <a:gd name="connsiteY3039" fmla="*/ 508439 h 2052818"/>
                <a:gd name="connsiteX3040" fmla="*/ 1362409 w 2222569"/>
                <a:gd name="connsiteY3040" fmla="*/ 508439 h 2052818"/>
                <a:gd name="connsiteX3041" fmla="*/ 1349051 w 2222569"/>
                <a:gd name="connsiteY3041" fmla="*/ 510883 h 2052818"/>
                <a:gd name="connsiteX3042" fmla="*/ 1348562 w 2222569"/>
                <a:gd name="connsiteY3042" fmla="*/ 506973 h 2052818"/>
                <a:gd name="connsiteX3043" fmla="*/ 1350517 w 2222569"/>
                <a:gd name="connsiteY3043" fmla="*/ 505833 h 2052818"/>
                <a:gd name="connsiteX3044" fmla="*/ 1351494 w 2222569"/>
                <a:gd name="connsiteY3044" fmla="*/ 507462 h 2052818"/>
                <a:gd name="connsiteX3045" fmla="*/ 1350517 w 2222569"/>
                <a:gd name="connsiteY3045" fmla="*/ 510069 h 2052818"/>
                <a:gd name="connsiteX3046" fmla="*/ 1348888 w 2222569"/>
                <a:gd name="connsiteY3046" fmla="*/ 510883 h 2052818"/>
                <a:gd name="connsiteX3047" fmla="*/ 1348888 w 2222569"/>
                <a:gd name="connsiteY3047" fmla="*/ 510883 h 2052818"/>
                <a:gd name="connsiteX3048" fmla="*/ 1296594 w 2222569"/>
                <a:gd name="connsiteY3048" fmla="*/ 517399 h 2052818"/>
                <a:gd name="connsiteX3049" fmla="*/ 1293987 w 2222569"/>
                <a:gd name="connsiteY3049" fmla="*/ 514793 h 2052818"/>
                <a:gd name="connsiteX3050" fmla="*/ 1289426 w 2222569"/>
                <a:gd name="connsiteY3050" fmla="*/ 515119 h 2052818"/>
                <a:gd name="connsiteX3051" fmla="*/ 1286494 w 2222569"/>
                <a:gd name="connsiteY3051" fmla="*/ 512349 h 2052818"/>
                <a:gd name="connsiteX3052" fmla="*/ 1286494 w 2222569"/>
                <a:gd name="connsiteY3052" fmla="*/ 507299 h 2052818"/>
                <a:gd name="connsiteX3053" fmla="*/ 1287960 w 2222569"/>
                <a:gd name="connsiteY3053" fmla="*/ 505344 h 2052818"/>
                <a:gd name="connsiteX3054" fmla="*/ 1287471 w 2222569"/>
                <a:gd name="connsiteY3054" fmla="*/ 502738 h 2052818"/>
                <a:gd name="connsiteX3055" fmla="*/ 1289752 w 2222569"/>
                <a:gd name="connsiteY3055" fmla="*/ 497687 h 2052818"/>
                <a:gd name="connsiteX3056" fmla="*/ 1291544 w 2222569"/>
                <a:gd name="connsiteY3056" fmla="*/ 498176 h 2052818"/>
                <a:gd name="connsiteX3057" fmla="*/ 1293987 w 2222569"/>
                <a:gd name="connsiteY3057" fmla="*/ 501434 h 2052818"/>
                <a:gd name="connsiteX3058" fmla="*/ 1296268 w 2222569"/>
                <a:gd name="connsiteY3058" fmla="*/ 501109 h 2052818"/>
                <a:gd name="connsiteX3059" fmla="*/ 1293499 w 2222569"/>
                <a:gd name="connsiteY3059" fmla="*/ 497362 h 2052818"/>
                <a:gd name="connsiteX3060" fmla="*/ 1294802 w 2222569"/>
                <a:gd name="connsiteY3060" fmla="*/ 494429 h 2052818"/>
                <a:gd name="connsiteX3061" fmla="*/ 1291055 w 2222569"/>
                <a:gd name="connsiteY3061" fmla="*/ 493452 h 2052818"/>
                <a:gd name="connsiteX3062" fmla="*/ 1288286 w 2222569"/>
                <a:gd name="connsiteY3062" fmla="*/ 490845 h 2052818"/>
                <a:gd name="connsiteX3063" fmla="*/ 1288286 w 2222569"/>
                <a:gd name="connsiteY3063" fmla="*/ 488239 h 2052818"/>
                <a:gd name="connsiteX3064" fmla="*/ 1287634 w 2222569"/>
                <a:gd name="connsiteY3064" fmla="*/ 486447 h 2052818"/>
                <a:gd name="connsiteX3065" fmla="*/ 1289426 w 2222569"/>
                <a:gd name="connsiteY3065" fmla="*/ 486447 h 2052818"/>
                <a:gd name="connsiteX3066" fmla="*/ 1292033 w 2222569"/>
                <a:gd name="connsiteY3066" fmla="*/ 488890 h 2052818"/>
                <a:gd name="connsiteX3067" fmla="*/ 1293499 w 2222569"/>
                <a:gd name="connsiteY3067" fmla="*/ 487098 h 2052818"/>
                <a:gd name="connsiteX3068" fmla="*/ 1292847 w 2222569"/>
                <a:gd name="connsiteY3068" fmla="*/ 484655 h 2052818"/>
                <a:gd name="connsiteX3069" fmla="*/ 1295779 w 2222569"/>
                <a:gd name="connsiteY3069" fmla="*/ 482863 h 2052818"/>
                <a:gd name="connsiteX3070" fmla="*/ 1299689 w 2222569"/>
                <a:gd name="connsiteY3070" fmla="*/ 484329 h 2052818"/>
                <a:gd name="connsiteX3071" fmla="*/ 1307672 w 2222569"/>
                <a:gd name="connsiteY3071" fmla="*/ 486121 h 2052818"/>
                <a:gd name="connsiteX3072" fmla="*/ 1310115 w 2222569"/>
                <a:gd name="connsiteY3072" fmla="*/ 484655 h 2052818"/>
                <a:gd name="connsiteX3073" fmla="*/ 1307346 w 2222569"/>
                <a:gd name="connsiteY3073" fmla="*/ 482211 h 2052818"/>
                <a:gd name="connsiteX3074" fmla="*/ 1303273 w 2222569"/>
                <a:gd name="connsiteY3074" fmla="*/ 482211 h 2052818"/>
                <a:gd name="connsiteX3075" fmla="*/ 1305880 w 2222569"/>
                <a:gd name="connsiteY3075" fmla="*/ 481559 h 2052818"/>
                <a:gd name="connsiteX3076" fmla="*/ 1313699 w 2222569"/>
                <a:gd name="connsiteY3076" fmla="*/ 480419 h 2052818"/>
                <a:gd name="connsiteX3077" fmla="*/ 1318750 w 2222569"/>
                <a:gd name="connsiteY3077" fmla="*/ 477650 h 2052818"/>
                <a:gd name="connsiteX3078" fmla="*/ 1324940 w 2222569"/>
                <a:gd name="connsiteY3078" fmla="*/ 477650 h 2052818"/>
                <a:gd name="connsiteX3079" fmla="*/ 1330479 w 2222569"/>
                <a:gd name="connsiteY3079" fmla="*/ 478464 h 2052818"/>
                <a:gd name="connsiteX3080" fmla="*/ 1334226 w 2222569"/>
                <a:gd name="connsiteY3080" fmla="*/ 475858 h 2052818"/>
                <a:gd name="connsiteX3081" fmla="*/ 1331456 w 2222569"/>
                <a:gd name="connsiteY3081" fmla="*/ 473577 h 2052818"/>
                <a:gd name="connsiteX3082" fmla="*/ 1310767 w 2222569"/>
                <a:gd name="connsiteY3082" fmla="*/ 469830 h 2052818"/>
                <a:gd name="connsiteX3083" fmla="*/ 1305554 w 2222569"/>
                <a:gd name="connsiteY3083" fmla="*/ 469830 h 2052818"/>
                <a:gd name="connsiteX3084" fmla="*/ 1301644 w 2222569"/>
                <a:gd name="connsiteY3084" fmla="*/ 468201 h 2052818"/>
                <a:gd name="connsiteX3085" fmla="*/ 1294802 w 2222569"/>
                <a:gd name="connsiteY3085" fmla="*/ 469178 h 2052818"/>
                <a:gd name="connsiteX3086" fmla="*/ 1289426 w 2222569"/>
                <a:gd name="connsiteY3086" fmla="*/ 466409 h 2052818"/>
                <a:gd name="connsiteX3087" fmla="*/ 1286331 w 2222569"/>
                <a:gd name="connsiteY3087" fmla="*/ 467223 h 2052818"/>
                <a:gd name="connsiteX3088" fmla="*/ 1283072 w 2222569"/>
                <a:gd name="connsiteY3088" fmla="*/ 465757 h 2052818"/>
                <a:gd name="connsiteX3089" fmla="*/ 1278511 w 2222569"/>
                <a:gd name="connsiteY3089" fmla="*/ 465757 h 2052818"/>
                <a:gd name="connsiteX3090" fmla="*/ 1276230 w 2222569"/>
                <a:gd name="connsiteY3090" fmla="*/ 467386 h 2052818"/>
                <a:gd name="connsiteX3091" fmla="*/ 1273624 w 2222569"/>
                <a:gd name="connsiteY3091" fmla="*/ 466246 h 2052818"/>
                <a:gd name="connsiteX3092" fmla="*/ 1270691 w 2222569"/>
                <a:gd name="connsiteY3092" fmla="*/ 466572 h 2052818"/>
                <a:gd name="connsiteX3093" fmla="*/ 1268736 w 2222569"/>
                <a:gd name="connsiteY3093" fmla="*/ 464617 h 2052818"/>
                <a:gd name="connsiteX3094" fmla="*/ 1268736 w 2222569"/>
                <a:gd name="connsiteY3094" fmla="*/ 458915 h 2052818"/>
                <a:gd name="connsiteX3095" fmla="*/ 1272646 w 2222569"/>
                <a:gd name="connsiteY3095" fmla="*/ 459730 h 2052818"/>
                <a:gd name="connsiteX3096" fmla="*/ 1275579 w 2222569"/>
                <a:gd name="connsiteY3096" fmla="*/ 456960 h 2052818"/>
                <a:gd name="connsiteX3097" fmla="*/ 1278511 w 2222569"/>
                <a:gd name="connsiteY3097" fmla="*/ 458752 h 2052818"/>
                <a:gd name="connsiteX3098" fmla="*/ 1281444 w 2222569"/>
                <a:gd name="connsiteY3098" fmla="*/ 457612 h 2052818"/>
                <a:gd name="connsiteX3099" fmla="*/ 1279488 w 2222569"/>
                <a:gd name="connsiteY3099" fmla="*/ 454842 h 2052818"/>
                <a:gd name="connsiteX3100" fmla="*/ 1280955 w 2222569"/>
                <a:gd name="connsiteY3100" fmla="*/ 451584 h 2052818"/>
                <a:gd name="connsiteX3101" fmla="*/ 1283724 w 2222569"/>
                <a:gd name="connsiteY3101" fmla="*/ 449303 h 2052818"/>
                <a:gd name="connsiteX3102" fmla="*/ 1288774 w 2222569"/>
                <a:gd name="connsiteY3102" fmla="*/ 449303 h 2052818"/>
                <a:gd name="connsiteX3103" fmla="*/ 1291218 w 2222569"/>
                <a:gd name="connsiteY3103" fmla="*/ 448000 h 2052818"/>
                <a:gd name="connsiteX3104" fmla="*/ 1291707 w 2222569"/>
                <a:gd name="connsiteY3104" fmla="*/ 452399 h 2052818"/>
                <a:gd name="connsiteX3105" fmla="*/ 1294313 w 2222569"/>
                <a:gd name="connsiteY3105" fmla="*/ 453865 h 2052818"/>
                <a:gd name="connsiteX3106" fmla="*/ 1294313 w 2222569"/>
                <a:gd name="connsiteY3106" fmla="*/ 460870 h 2052818"/>
                <a:gd name="connsiteX3107" fmla="*/ 1296268 w 2222569"/>
                <a:gd name="connsiteY3107" fmla="*/ 462010 h 2052818"/>
                <a:gd name="connsiteX3108" fmla="*/ 1298549 w 2222569"/>
                <a:gd name="connsiteY3108" fmla="*/ 459241 h 2052818"/>
                <a:gd name="connsiteX3109" fmla="*/ 1297734 w 2222569"/>
                <a:gd name="connsiteY3109" fmla="*/ 454191 h 2052818"/>
                <a:gd name="connsiteX3110" fmla="*/ 1295128 w 2222569"/>
                <a:gd name="connsiteY3110" fmla="*/ 450770 h 2052818"/>
                <a:gd name="connsiteX3111" fmla="*/ 1296757 w 2222569"/>
                <a:gd name="connsiteY3111" fmla="*/ 446534 h 2052818"/>
                <a:gd name="connsiteX3112" fmla="*/ 1302133 w 2222569"/>
                <a:gd name="connsiteY3112" fmla="*/ 444742 h 2052818"/>
                <a:gd name="connsiteX3113" fmla="*/ 1302459 w 2222569"/>
                <a:gd name="connsiteY3113" fmla="*/ 441973 h 2052818"/>
                <a:gd name="connsiteX3114" fmla="*/ 1298223 w 2222569"/>
                <a:gd name="connsiteY3114" fmla="*/ 440343 h 2052818"/>
                <a:gd name="connsiteX3115" fmla="*/ 1299689 w 2222569"/>
                <a:gd name="connsiteY3115" fmla="*/ 433664 h 2052818"/>
                <a:gd name="connsiteX3116" fmla="*/ 1304739 w 2222569"/>
                <a:gd name="connsiteY3116" fmla="*/ 431872 h 2052818"/>
                <a:gd name="connsiteX3117" fmla="*/ 1305880 w 2222569"/>
                <a:gd name="connsiteY3117" fmla="*/ 428777 h 2052818"/>
                <a:gd name="connsiteX3118" fmla="*/ 1311093 w 2222569"/>
                <a:gd name="connsiteY3118" fmla="*/ 427148 h 2052818"/>
                <a:gd name="connsiteX3119" fmla="*/ 1308323 w 2222569"/>
                <a:gd name="connsiteY3119" fmla="*/ 423727 h 2052818"/>
                <a:gd name="connsiteX3120" fmla="*/ 1305717 w 2222569"/>
                <a:gd name="connsiteY3120" fmla="*/ 423727 h 2052818"/>
                <a:gd name="connsiteX3121" fmla="*/ 1303110 w 2222569"/>
                <a:gd name="connsiteY3121" fmla="*/ 422912 h 2052818"/>
                <a:gd name="connsiteX3122" fmla="*/ 1303925 w 2222569"/>
                <a:gd name="connsiteY3122" fmla="*/ 419980 h 2052818"/>
                <a:gd name="connsiteX3123" fmla="*/ 1308649 w 2222569"/>
                <a:gd name="connsiteY3123" fmla="*/ 416070 h 2052818"/>
                <a:gd name="connsiteX3124" fmla="*/ 1309790 w 2222569"/>
                <a:gd name="connsiteY3124" fmla="*/ 413952 h 2052818"/>
                <a:gd name="connsiteX3125" fmla="*/ 1315003 w 2222569"/>
                <a:gd name="connsiteY3125" fmla="*/ 411671 h 2052818"/>
                <a:gd name="connsiteX3126" fmla="*/ 1317283 w 2222569"/>
                <a:gd name="connsiteY3126" fmla="*/ 413463 h 2052818"/>
                <a:gd name="connsiteX3127" fmla="*/ 1317935 w 2222569"/>
                <a:gd name="connsiteY3127" fmla="*/ 417862 h 2052818"/>
                <a:gd name="connsiteX3128" fmla="*/ 1320379 w 2222569"/>
                <a:gd name="connsiteY3128" fmla="*/ 420306 h 2052818"/>
                <a:gd name="connsiteX3129" fmla="*/ 1320867 w 2222569"/>
                <a:gd name="connsiteY3129" fmla="*/ 424378 h 2052818"/>
                <a:gd name="connsiteX3130" fmla="*/ 1319564 w 2222569"/>
                <a:gd name="connsiteY3130" fmla="*/ 426170 h 2052818"/>
                <a:gd name="connsiteX3131" fmla="*/ 1320867 w 2222569"/>
                <a:gd name="connsiteY3131" fmla="*/ 429917 h 2052818"/>
                <a:gd name="connsiteX3132" fmla="*/ 1323800 w 2222569"/>
                <a:gd name="connsiteY3132" fmla="*/ 433175 h 2052818"/>
                <a:gd name="connsiteX3133" fmla="*/ 1325266 w 2222569"/>
                <a:gd name="connsiteY3133" fmla="*/ 447186 h 2052818"/>
                <a:gd name="connsiteX3134" fmla="*/ 1324126 w 2222569"/>
                <a:gd name="connsiteY3134" fmla="*/ 451747 h 2052818"/>
                <a:gd name="connsiteX3135" fmla="*/ 1324614 w 2222569"/>
                <a:gd name="connsiteY3135" fmla="*/ 454354 h 2052818"/>
                <a:gd name="connsiteX3136" fmla="*/ 1329013 w 2222569"/>
                <a:gd name="connsiteY3136" fmla="*/ 457123 h 2052818"/>
                <a:gd name="connsiteX3137" fmla="*/ 1334063 w 2222569"/>
                <a:gd name="connsiteY3137" fmla="*/ 453376 h 2052818"/>
                <a:gd name="connsiteX3138" fmla="*/ 1331619 w 2222569"/>
                <a:gd name="connsiteY3138" fmla="*/ 449955 h 2052818"/>
                <a:gd name="connsiteX3139" fmla="*/ 1332923 w 2222569"/>
                <a:gd name="connsiteY3139" fmla="*/ 442461 h 2052818"/>
                <a:gd name="connsiteX3140" fmla="*/ 1337158 w 2222569"/>
                <a:gd name="connsiteY3140" fmla="*/ 441484 h 2052818"/>
                <a:gd name="connsiteX3141" fmla="*/ 1337158 w 2222569"/>
                <a:gd name="connsiteY3141" fmla="*/ 437411 h 2052818"/>
                <a:gd name="connsiteX3142" fmla="*/ 1329176 w 2222569"/>
                <a:gd name="connsiteY3142" fmla="*/ 432035 h 2052818"/>
                <a:gd name="connsiteX3143" fmla="*/ 1330153 w 2222569"/>
                <a:gd name="connsiteY3143" fmla="*/ 429754 h 2052818"/>
                <a:gd name="connsiteX3144" fmla="*/ 1334063 w 2222569"/>
                <a:gd name="connsiteY3144" fmla="*/ 430243 h 2052818"/>
                <a:gd name="connsiteX3145" fmla="*/ 1338625 w 2222569"/>
                <a:gd name="connsiteY3145" fmla="*/ 432850 h 2052818"/>
                <a:gd name="connsiteX3146" fmla="*/ 1337647 w 2222569"/>
                <a:gd name="connsiteY3146" fmla="*/ 429103 h 2052818"/>
                <a:gd name="connsiteX3147" fmla="*/ 1333086 w 2222569"/>
                <a:gd name="connsiteY3147" fmla="*/ 424053 h 2052818"/>
                <a:gd name="connsiteX3148" fmla="*/ 1331619 w 2222569"/>
                <a:gd name="connsiteY3148" fmla="*/ 417699 h 2052818"/>
                <a:gd name="connsiteX3149" fmla="*/ 1332760 w 2222569"/>
                <a:gd name="connsiteY3149" fmla="*/ 414930 h 2052818"/>
                <a:gd name="connsiteX3150" fmla="*/ 1333248 w 2222569"/>
                <a:gd name="connsiteY3150" fmla="*/ 408250 h 2052818"/>
                <a:gd name="connsiteX3151" fmla="*/ 1336181 w 2222569"/>
                <a:gd name="connsiteY3151" fmla="*/ 406295 h 2052818"/>
                <a:gd name="connsiteX3152" fmla="*/ 1340417 w 2222569"/>
                <a:gd name="connsiteY3152" fmla="*/ 405807 h 2052818"/>
                <a:gd name="connsiteX3153" fmla="*/ 1342209 w 2222569"/>
                <a:gd name="connsiteY3153" fmla="*/ 403200 h 2052818"/>
                <a:gd name="connsiteX3154" fmla="*/ 1346607 w 2222569"/>
                <a:gd name="connsiteY3154" fmla="*/ 403526 h 2052818"/>
                <a:gd name="connsiteX3155" fmla="*/ 1351983 w 2222569"/>
                <a:gd name="connsiteY3155" fmla="*/ 400431 h 2052818"/>
                <a:gd name="connsiteX3156" fmla="*/ 1355404 w 2222569"/>
                <a:gd name="connsiteY3156" fmla="*/ 400919 h 2052818"/>
                <a:gd name="connsiteX3157" fmla="*/ 1356707 w 2222569"/>
                <a:gd name="connsiteY3157" fmla="*/ 404503 h 2052818"/>
                <a:gd name="connsiteX3158" fmla="*/ 1360617 w 2222569"/>
                <a:gd name="connsiteY3158" fmla="*/ 406458 h 2052818"/>
                <a:gd name="connsiteX3159" fmla="*/ 1364038 w 2222569"/>
                <a:gd name="connsiteY3159" fmla="*/ 405318 h 2052818"/>
                <a:gd name="connsiteX3160" fmla="*/ 1366482 w 2222569"/>
                <a:gd name="connsiteY3160" fmla="*/ 407925 h 2052818"/>
                <a:gd name="connsiteX3161" fmla="*/ 1365016 w 2222569"/>
                <a:gd name="connsiteY3161" fmla="*/ 418188 h 2052818"/>
                <a:gd name="connsiteX3162" fmla="*/ 1361758 w 2222569"/>
                <a:gd name="connsiteY3162" fmla="*/ 422098 h 2052818"/>
                <a:gd name="connsiteX3163" fmla="*/ 1362246 w 2222569"/>
                <a:gd name="connsiteY3163" fmla="*/ 425682 h 2052818"/>
                <a:gd name="connsiteX3164" fmla="*/ 1364853 w 2222569"/>
                <a:gd name="connsiteY3164" fmla="*/ 425682 h 2052818"/>
                <a:gd name="connsiteX3165" fmla="*/ 1366808 w 2222569"/>
                <a:gd name="connsiteY3165" fmla="*/ 422912 h 2052818"/>
                <a:gd name="connsiteX3166" fmla="*/ 1369252 w 2222569"/>
                <a:gd name="connsiteY3166" fmla="*/ 423401 h 2052818"/>
                <a:gd name="connsiteX3167" fmla="*/ 1371858 w 2222569"/>
                <a:gd name="connsiteY3167" fmla="*/ 420957 h 2052818"/>
                <a:gd name="connsiteX3168" fmla="*/ 1372184 w 2222569"/>
                <a:gd name="connsiteY3168" fmla="*/ 413301 h 2052818"/>
                <a:gd name="connsiteX3169" fmla="*/ 1375768 w 2222569"/>
                <a:gd name="connsiteY3169" fmla="*/ 410205 h 2052818"/>
                <a:gd name="connsiteX3170" fmla="*/ 1379678 w 2222569"/>
                <a:gd name="connsiteY3170" fmla="*/ 413138 h 2052818"/>
                <a:gd name="connsiteX3171" fmla="*/ 1383425 w 2222569"/>
                <a:gd name="connsiteY3171" fmla="*/ 411997 h 2052818"/>
                <a:gd name="connsiteX3172" fmla="*/ 1383099 w 2222569"/>
                <a:gd name="connsiteY3172" fmla="*/ 407436 h 2052818"/>
                <a:gd name="connsiteX3173" fmla="*/ 1381958 w 2222569"/>
                <a:gd name="connsiteY3173" fmla="*/ 405644 h 2052818"/>
                <a:gd name="connsiteX3174" fmla="*/ 1385542 w 2222569"/>
                <a:gd name="connsiteY3174" fmla="*/ 405644 h 2052818"/>
                <a:gd name="connsiteX3175" fmla="*/ 1387171 w 2222569"/>
                <a:gd name="connsiteY3175" fmla="*/ 409554 h 2052818"/>
                <a:gd name="connsiteX3176" fmla="*/ 1386357 w 2222569"/>
                <a:gd name="connsiteY3176" fmla="*/ 412812 h 2052818"/>
                <a:gd name="connsiteX3177" fmla="*/ 1387334 w 2222569"/>
                <a:gd name="connsiteY3177" fmla="*/ 414930 h 2052818"/>
                <a:gd name="connsiteX3178" fmla="*/ 1386194 w 2222569"/>
                <a:gd name="connsiteY3178" fmla="*/ 417210 h 2052818"/>
                <a:gd name="connsiteX3179" fmla="*/ 1383587 w 2222569"/>
                <a:gd name="connsiteY3179" fmla="*/ 417210 h 2052818"/>
                <a:gd name="connsiteX3180" fmla="*/ 1386031 w 2222569"/>
                <a:gd name="connsiteY3180" fmla="*/ 421446 h 2052818"/>
                <a:gd name="connsiteX3181" fmla="*/ 1390755 w 2222569"/>
                <a:gd name="connsiteY3181" fmla="*/ 423075 h 2052818"/>
                <a:gd name="connsiteX3182" fmla="*/ 1392710 w 2222569"/>
                <a:gd name="connsiteY3182" fmla="*/ 427637 h 2052818"/>
                <a:gd name="connsiteX3183" fmla="*/ 1391407 w 2222569"/>
                <a:gd name="connsiteY3183" fmla="*/ 432524 h 2052818"/>
                <a:gd name="connsiteX3184" fmla="*/ 1386683 w 2222569"/>
                <a:gd name="connsiteY3184" fmla="*/ 435782 h 2052818"/>
                <a:gd name="connsiteX3185" fmla="*/ 1382284 w 2222569"/>
                <a:gd name="connsiteY3185" fmla="*/ 443602 h 2052818"/>
                <a:gd name="connsiteX3186" fmla="*/ 1382936 w 2222569"/>
                <a:gd name="connsiteY3186" fmla="*/ 449141 h 2052818"/>
                <a:gd name="connsiteX3187" fmla="*/ 1381633 w 2222569"/>
                <a:gd name="connsiteY3187" fmla="*/ 452562 h 2052818"/>
                <a:gd name="connsiteX3188" fmla="*/ 1377071 w 2222569"/>
                <a:gd name="connsiteY3188" fmla="*/ 455168 h 2052818"/>
                <a:gd name="connsiteX3189" fmla="*/ 1371532 w 2222569"/>
                <a:gd name="connsiteY3189" fmla="*/ 461522 h 2052818"/>
                <a:gd name="connsiteX3190" fmla="*/ 1369903 w 2222569"/>
                <a:gd name="connsiteY3190" fmla="*/ 464454 h 2052818"/>
                <a:gd name="connsiteX3191" fmla="*/ 1365016 w 2222569"/>
                <a:gd name="connsiteY3191" fmla="*/ 469830 h 2052818"/>
                <a:gd name="connsiteX3192" fmla="*/ 1365016 w 2222569"/>
                <a:gd name="connsiteY3192" fmla="*/ 472437 h 2052818"/>
                <a:gd name="connsiteX3193" fmla="*/ 1363387 w 2222569"/>
                <a:gd name="connsiteY3193" fmla="*/ 476509 h 2052818"/>
                <a:gd name="connsiteX3194" fmla="*/ 1359803 w 2222569"/>
                <a:gd name="connsiteY3194" fmla="*/ 476509 h 2052818"/>
                <a:gd name="connsiteX3195" fmla="*/ 1357033 w 2222569"/>
                <a:gd name="connsiteY3195" fmla="*/ 476021 h 2052818"/>
                <a:gd name="connsiteX3196" fmla="*/ 1354590 w 2222569"/>
                <a:gd name="connsiteY3196" fmla="*/ 477975 h 2052818"/>
                <a:gd name="connsiteX3197" fmla="*/ 1354590 w 2222569"/>
                <a:gd name="connsiteY3197" fmla="*/ 480256 h 2052818"/>
                <a:gd name="connsiteX3198" fmla="*/ 1360780 w 2222569"/>
                <a:gd name="connsiteY3198" fmla="*/ 483514 h 2052818"/>
                <a:gd name="connsiteX3199" fmla="*/ 1360291 w 2222569"/>
                <a:gd name="connsiteY3199" fmla="*/ 485958 h 2052818"/>
                <a:gd name="connsiteX3200" fmla="*/ 1354264 w 2222569"/>
                <a:gd name="connsiteY3200" fmla="*/ 494592 h 2052818"/>
                <a:gd name="connsiteX3201" fmla="*/ 1352472 w 2222569"/>
                <a:gd name="connsiteY3201" fmla="*/ 497362 h 2052818"/>
                <a:gd name="connsiteX3202" fmla="*/ 1352146 w 2222569"/>
                <a:gd name="connsiteY3202" fmla="*/ 494103 h 2052818"/>
                <a:gd name="connsiteX3203" fmla="*/ 1352146 w 2222569"/>
                <a:gd name="connsiteY3203" fmla="*/ 491008 h 2052818"/>
                <a:gd name="connsiteX3204" fmla="*/ 1349051 w 2222569"/>
                <a:gd name="connsiteY3204" fmla="*/ 489705 h 2052818"/>
                <a:gd name="connsiteX3205" fmla="*/ 1346444 w 2222569"/>
                <a:gd name="connsiteY3205" fmla="*/ 491008 h 2052818"/>
                <a:gd name="connsiteX3206" fmla="*/ 1346118 w 2222569"/>
                <a:gd name="connsiteY3206" fmla="*/ 494266 h 2052818"/>
                <a:gd name="connsiteX3207" fmla="*/ 1343186 w 2222569"/>
                <a:gd name="connsiteY3207" fmla="*/ 496058 h 2052818"/>
                <a:gd name="connsiteX3208" fmla="*/ 1340742 w 2222569"/>
                <a:gd name="connsiteY3208" fmla="*/ 499479 h 2052818"/>
                <a:gd name="connsiteX3209" fmla="*/ 1335692 w 2222569"/>
                <a:gd name="connsiteY3209" fmla="*/ 500294 h 2052818"/>
                <a:gd name="connsiteX3210" fmla="*/ 1333900 w 2222569"/>
                <a:gd name="connsiteY3210" fmla="*/ 504693 h 2052818"/>
                <a:gd name="connsiteX3211" fmla="*/ 1336670 w 2222569"/>
                <a:gd name="connsiteY3211" fmla="*/ 505996 h 2052818"/>
                <a:gd name="connsiteX3212" fmla="*/ 1341068 w 2222569"/>
                <a:gd name="connsiteY3212" fmla="*/ 505344 h 2052818"/>
                <a:gd name="connsiteX3213" fmla="*/ 1340254 w 2222569"/>
                <a:gd name="connsiteY3213" fmla="*/ 508114 h 2052818"/>
                <a:gd name="connsiteX3214" fmla="*/ 1338136 w 2222569"/>
                <a:gd name="connsiteY3214" fmla="*/ 511046 h 2052818"/>
                <a:gd name="connsiteX3215" fmla="*/ 1338136 w 2222569"/>
                <a:gd name="connsiteY3215" fmla="*/ 513164 h 2052818"/>
                <a:gd name="connsiteX3216" fmla="*/ 1338136 w 2222569"/>
                <a:gd name="connsiteY3216" fmla="*/ 517725 h 2052818"/>
                <a:gd name="connsiteX3217" fmla="*/ 1336507 w 2222569"/>
                <a:gd name="connsiteY3217" fmla="*/ 519680 h 2052818"/>
                <a:gd name="connsiteX3218" fmla="*/ 1333574 w 2222569"/>
                <a:gd name="connsiteY3218" fmla="*/ 514793 h 2052818"/>
                <a:gd name="connsiteX3219" fmla="*/ 1333086 w 2222569"/>
                <a:gd name="connsiteY3219" fmla="*/ 509906 h 2052818"/>
                <a:gd name="connsiteX3220" fmla="*/ 1331945 w 2222569"/>
                <a:gd name="connsiteY3220" fmla="*/ 507136 h 2052818"/>
                <a:gd name="connsiteX3221" fmla="*/ 1330153 w 2222569"/>
                <a:gd name="connsiteY3221" fmla="*/ 509580 h 2052818"/>
                <a:gd name="connsiteX3222" fmla="*/ 1329339 w 2222569"/>
                <a:gd name="connsiteY3222" fmla="*/ 513653 h 2052818"/>
                <a:gd name="connsiteX3223" fmla="*/ 1330479 w 2222569"/>
                <a:gd name="connsiteY3223" fmla="*/ 516911 h 2052818"/>
                <a:gd name="connsiteX3224" fmla="*/ 1326895 w 2222569"/>
                <a:gd name="connsiteY3224" fmla="*/ 521798 h 2052818"/>
                <a:gd name="connsiteX3225" fmla="*/ 1313536 w 2222569"/>
                <a:gd name="connsiteY3225" fmla="*/ 520983 h 2052818"/>
                <a:gd name="connsiteX3226" fmla="*/ 1312885 w 2222569"/>
                <a:gd name="connsiteY3226" fmla="*/ 516748 h 2052818"/>
                <a:gd name="connsiteX3227" fmla="*/ 1311256 w 2222569"/>
                <a:gd name="connsiteY3227" fmla="*/ 514467 h 2052818"/>
                <a:gd name="connsiteX3228" fmla="*/ 1307672 w 2222569"/>
                <a:gd name="connsiteY3228" fmla="*/ 518214 h 2052818"/>
                <a:gd name="connsiteX3229" fmla="*/ 1303925 w 2222569"/>
                <a:gd name="connsiteY3229" fmla="*/ 517725 h 2052818"/>
                <a:gd name="connsiteX3230" fmla="*/ 1303273 w 2222569"/>
                <a:gd name="connsiteY3230" fmla="*/ 514630 h 2052818"/>
                <a:gd name="connsiteX3231" fmla="*/ 1307020 w 2222569"/>
                <a:gd name="connsiteY3231" fmla="*/ 510069 h 2052818"/>
                <a:gd name="connsiteX3232" fmla="*/ 1300667 w 2222569"/>
                <a:gd name="connsiteY3232" fmla="*/ 512675 h 2052818"/>
                <a:gd name="connsiteX3233" fmla="*/ 1298875 w 2222569"/>
                <a:gd name="connsiteY3233" fmla="*/ 516259 h 2052818"/>
                <a:gd name="connsiteX3234" fmla="*/ 1296920 w 2222569"/>
                <a:gd name="connsiteY3234" fmla="*/ 516748 h 2052818"/>
                <a:gd name="connsiteX3235" fmla="*/ 1296920 w 2222569"/>
                <a:gd name="connsiteY3235" fmla="*/ 516748 h 2052818"/>
                <a:gd name="connsiteX3236" fmla="*/ 963933 w 2222569"/>
                <a:gd name="connsiteY3236" fmla="*/ 377623 h 2052818"/>
                <a:gd name="connsiteX3237" fmla="*/ 961653 w 2222569"/>
                <a:gd name="connsiteY3237" fmla="*/ 375994 h 2052818"/>
                <a:gd name="connsiteX3238" fmla="*/ 964422 w 2222569"/>
                <a:gd name="connsiteY3238" fmla="*/ 370292 h 2052818"/>
                <a:gd name="connsiteX3239" fmla="*/ 974523 w 2222569"/>
                <a:gd name="connsiteY3239" fmla="*/ 361821 h 2052818"/>
                <a:gd name="connsiteX3240" fmla="*/ 981528 w 2222569"/>
                <a:gd name="connsiteY3240" fmla="*/ 359540 h 2052818"/>
                <a:gd name="connsiteX3241" fmla="*/ 985763 w 2222569"/>
                <a:gd name="connsiteY3241" fmla="*/ 356119 h 2052818"/>
                <a:gd name="connsiteX3242" fmla="*/ 988859 w 2222569"/>
                <a:gd name="connsiteY3242" fmla="*/ 355794 h 2052818"/>
                <a:gd name="connsiteX3243" fmla="*/ 995701 w 2222569"/>
                <a:gd name="connsiteY3243" fmla="*/ 351069 h 2052818"/>
                <a:gd name="connsiteX3244" fmla="*/ 1003195 w 2222569"/>
                <a:gd name="connsiteY3244" fmla="*/ 349766 h 2052818"/>
                <a:gd name="connsiteX3245" fmla="*/ 1007104 w 2222569"/>
                <a:gd name="connsiteY3245" fmla="*/ 347811 h 2052818"/>
                <a:gd name="connsiteX3246" fmla="*/ 1009711 w 2222569"/>
                <a:gd name="connsiteY3246" fmla="*/ 348137 h 2052818"/>
                <a:gd name="connsiteX3247" fmla="*/ 1018345 w 2222569"/>
                <a:gd name="connsiteY3247" fmla="*/ 345856 h 2052818"/>
                <a:gd name="connsiteX3248" fmla="*/ 1020626 w 2222569"/>
                <a:gd name="connsiteY3248" fmla="*/ 346345 h 2052818"/>
                <a:gd name="connsiteX3249" fmla="*/ 1019160 w 2222569"/>
                <a:gd name="connsiteY3249" fmla="*/ 350092 h 2052818"/>
                <a:gd name="connsiteX3250" fmla="*/ 1011666 w 2222569"/>
                <a:gd name="connsiteY3250" fmla="*/ 355794 h 2052818"/>
                <a:gd name="connsiteX3251" fmla="*/ 1003683 w 2222569"/>
                <a:gd name="connsiteY3251" fmla="*/ 361007 h 2052818"/>
                <a:gd name="connsiteX3252" fmla="*/ 988533 w 2222569"/>
                <a:gd name="connsiteY3252" fmla="*/ 372410 h 2052818"/>
                <a:gd name="connsiteX3253" fmla="*/ 983482 w 2222569"/>
                <a:gd name="connsiteY3253" fmla="*/ 378601 h 2052818"/>
                <a:gd name="connsiteX3254" fmla="*/ 979410 w 2222569"/>
                <a:gd name="connsiteY3254" fmla="*/ 379904 h 2052818"/>
                <a:gd name="connsiteX3255" fmla="*/ 976477 w 2222569"/>
                <a:gd name="connsiteY3255" fmla="*/ 379904 h 2052818"/>
                <a:gd name="connsiteX3256" fmla="*/ 974034 w 2222569"/>
                <a:gd name="connsiteY3256" fmla="*/ 383162 h 2052818"/>
                <a:gd name="connsiteX3257" fmla="*/ 971753 w 2222569"/>
                <a:gd name="connsiteY3257" fmla="*/ 383162 h 2052818"/>
                <a:gd name="connsiteX3258" fmla="*/ 969798 w 2222569"/>
                <a:gd name="connsiteY3258" fmla="*/ 377786 h 2052818"/>
                <a:gd name="connsiteX3259" fmla="*/ 966540 w 2222569"/>
                <a:gd name="connsiteY3259" fmla="*/ 376809 h 2052818"/>
                <a:gd name="connsiteX3260" fmla="*/ 963771 w 2222569"/>
                <a:gd name="connsiteY3260" fmla="*/ 377461 h 2052818"/>
                <a:gd name="connsiteX3261" fmla="*/ 963771 w 2222569"/>
                <a:gd name="connsiteY3261" fmla="*/ 377461 h 2052818"/>
                <a:gd name="connsiteX3262" fmla="*/ 1210578 w 2222569"/>
                <a:gd name="connsiteY3262" fmla="*/ 482048 h 2052818"/>
                <a:gd name="connsiteX3263" fmla="*/ 1209112 w 2222569"/>
                <a:gd name="connsiteY3263" fmla="*/ 479767 h 2052818"/>
                <a:gd name="connsiteX3264" fmla="*/ 1210415 w 2222569"/>
                <a:gd name="connsiteY3264" fmla="*/ 478138 h 2052818"/>
                <a:gd name="connsiteX3265" fmla="*/ 1215628 w 2222569"/>
                <a:gd name="connsiteY3265" fmla="*/ 476346 h 2052818"/>
                <a:gd name="connsiteX3266" fmla="*/ 1217583 w 2222569"/>
                <a:gd name="connsiteY3266" fmla="*/ 472599 h 2052818"/>
                <a:gd name="connsiteX3267" fmla="*/ 1217583 w 2222569"/>
                <a:gd name="connsiteY3267" fmla="*/ 470156 h 2052818"/>
                <a:gd name="connsiteX3268" fmla="*/ 1225077 w 2222569"/>
                <a:gd name="connsiteY3268" fmla="*/ 465920 h 2052818"/>
                <a:gd name="connsiteX3269" fmla="*/ 1226380 w 2222569"/>
                <a:gd name="connsiteY3269" fmla="*/ 464128 h 2052818"/>
                <a:gd name="connsiteX3270" fmla="*/ 1231104 w 2222569"/>
                <a:gd name="connsiteY3270" fmla="*/ 464128 h 2052818"/>
                <a:gd name="connsiteX3271" fmla="*/ 1231104 w 2222569"/>
                <a:gd name="connsiteY3271" fmla="*/ 468690 h 2052818"/>
                <a:gd name="connsiteX3272" fmla="*/ 1232082 w 2222569"/>
                <a:gd name="connsiteY3272" fmla="*/ 471622 h 2052818"/>
                <a:gd name="connsiteX3273" fmla="*/ 1232082 w 2222569"/>
                <a:gd name="connsiteY3273" fmla="*/ 478138 h 2052818"/>
                <a:gd name="connsiteX3274" fmla="*/ 1230779 w 2222569"/>
                <a:gd name="connsiteY3274" fmla="*/ 482700 h 2052818"/>
                <a:gd name="connsiteX3275" fmla="*/ 1226217 w 2222569"/>
                <a:gd name="connsiteY3275" fmla="*/ 486610 h 2052818"/>
                <a:gd name="connsiteX3276" fmla="*/ 1221656 w 2222569"/>
                <a:gd name="connsiteY3276" fmla="*/ 486284 h 2052818"/>
                <a:gd name="connsiteX3277" fmla="*/ 1219212 w 2222569"/>
                <a:gd name="connsiteY3277" fmla="*/ 487913 h 2052818"/>
                <a:gd name="connsiteX3278" fmla="*/ 1215302 w 2222569"/>
                <a:gd name="connsiteY3278" fmla="*/ 487913 h 2052818"/>
                <a:gd name="connsiteX3279" fmla="*/ 1213836 w 2222569"/>
                <a:gd name="connsiteY3279" fmla="*/ 484166 h 2052818"/>
                <a:gd name="connsiteX3280" fmla="*/ 1210252 w 2222569"/>
                <a:gd name="connsiteY3280" fmla="*/ 481722 h 2052818"/>
                <a:gd name="connsiteX3281" fmla="*/ 1210252 w 2222569"/>
                <a:gd name="connsiteY3281" fmla="*/ 481722 h 2052818"/>
                <a:gd name="connsiteX3282" fmla="*/ 1013132 w 2222569"/>
                <a:gd name="connsiteY3282" fmla="*/ 475043 h 2052818"/>
                <a:gd name="connsiteX3283" fmla="*/ 1014598 w 2222569"/>
                <a:gd name="connsiteY3283" fmla="*/ 469504 h 2052818"/>
                <a:gd name="connsiteX3284" fmla="*/ 1013784 w 2222569"/>
                <a:gd name="connsiteY3284" fmla="*/ 465431 h 2052818"/>
                <a:gd name="connsiteX3285" fmla="*/ 1014598 w 2222569"/>
                <a:gd name="connsiteY3285" fmla="*/ 457286 h 2052818"/>
                <a:gd name="connsiteX3286" fmla="*/ 1022418 w 2222569"/>
                <a:gd name="connsiteY3286" fmla="*/ 455820 h 2052818"/>
                <a:gd name="connsiteX3287" fmla="*/ 1030237 w 2222569"/>
                <a:gd name="connsiteY3287" fmla="*/ 458101 h 2052818"/>
                <a:gd name="connsiteX3288" fmla="*/ 1033984 w 2222569"/>
                <a:gd name="connsiteY3288" fmla="*/ 455494 h 2052818"/>
                <a:gd name="connsiteX3289" fmla="*/ 1039849 w 2222569"/>
                <a:gd name="connsiteY3289" fmla="*/ 456960 h 2052818"/>
                <a:gd name="connsiteX3290" fmla="*/ 1044573 w 2222569"/>
                <a:gd name="connsiteY3290" fmla="*/ 456146 h 2052818"/>
                <a:gd name="connsiteX3291" fmla="*/ 1051253 w 2222569"/>
                <a:gd name="connsiteY3291" fmla="*/ 452399 h 2052818"/>
                <a:gd name="connsiteX3292" fmla="*/ 1059398 w 2222569"/>
                <a:gd name="connsiteY3292" fmla="*/ 452399 h 2052818"/>
                <a:gd name="connsiteX3293" fmla="*/ 1067218 w 2222569"/>
                <a:gd name="connsiteY3293" fmla="*/ 455331 h 2052818"/>
                <a:gd name="connsiteX3294" fmla="*/ 1073571 w 2222569"/>
                <a:gd name="connsiteY3294" fmla="*/ 455331 h 2052818"/>
                <a:gd name="connsiteX3295" fmla="*/ 1076829 w 2222569"/>
                <a:gd name="connsiteY3295" fmla="*/ 456797 h 2052818"/>
                <a:gd name="connsiteX3296" fmla="*/ 1080902 w 2222569"/>
                <a:gd name="connsiteY3296" fmla="*/ 453050 h 2052818"/>
                <a:gd name="connsiteX3297" fmla="*/ 1093446 w 2222569"/>
                <a:gd name="connsiteY3297" fmla="*/ 452725 h 2052818"/>
                <a:gd name="connsiteX3298" fmla="*/ 1094587 w 2222569"/>
                <a:gd name="connsiteY3298" fmla="*/ 449466 h 2052818"/>
                <a:gd name="connsiteX3299" fmla="*/ 1097519 w 2222569"/>
                <a:gd name="connsiteY3299" fmla="*/ 446860 h 2052818"/>
                <a:gd name="connsiteX3300" fmla="*/ 1095727 w 2222569"/>
                <a:gd name="connsiteY3300" fmla="*/ 444253 h 2052818"/>
                <a:gd name="connsiteX3301" fmla="*/ 1092469 w 2222569"/>
                <a:gd name="connsiteY3301" fmla="*/ 448000 h 2052818"/>
                <a:gd name="connsiteX3302" fmla="*/ 1085464 w 2222569"/>
                <a:gd name="connsiteY3302" fmla="*/ 448000 h 2052818"/>
                <a:gd name="connsiteX3303" fmla="*/ 1085138 w 2222569"/>
                <a:gd name="connsiteY3303" fmla="*/ 445068 h 2052818"/>
                <a:gd name="connsiteX3304" fmla="*/ 1077807 w 2222569"/>
                <a:gd name="connsiteY3304" fmla="*/ 448326 h 2052818"/>
                <a:gd name="connsiteX3305" fmla="*/ 1071616 w 2222569"/>
                <a:gd name="connsiteY3305" fmla="*/ 448326 h 2052818"/>
                <a:gd name="connsiteX3306" fmla="*/ 1071616 w 2222569"/>
                <a:gd name="connsiteY3306" fmla="*/ 444253 h 2052818"/>
                <a:gd name="connsiteX3307" fmla="*/ 1068358 w 2222569"/>
                <a:gd name="connsiteY3307" fmla="*/ 441647 h 2052818"/>
                <a:gd name="connsiteX3308" fmla="*/ 1064611 w 2222569"/>
                <a:gd name="connsiteY3308" fmla="*/ 444579 h 2052818"/>
                <a:gd name="connsiteX3309" fmla="*/ 1059072 w 2222569"/>
                <a:gd name="connsiteY3309" fmla="*/ 445394 h 2052818"/>
                <a:gd name="connsiteX3310" fmla="*/ 1055000 w 2222569"/>
                <a:gd name="connsiteY3310" fmla="*/ 446534 h 2052818"/>
                <a:gd name="connsiteX3311" fmla="*/ 1052393 w 2222569"/>
                <a:gd name="connsiteY3311" fmla="*/ 444742 h 2052818"/>
                <a:gd name="connsiteX3312" fmla="*/ 1047669 w 2222569"/>
                <a:gd name="connsiteY3312" fmla="*/ 445882 h 2052818"/>
                <a:gd name="connsiteX3313" fmla="*/ 1041478 w 2222569"/>
                <a:gd name="connsiteY3313" fmla="*/ 444090 h 2052818"/>
                <a:gd name="connsiteX3314" fmla="*/ 1041478 w 2222569"/>
                <a:gd name="connsiteY3314" fmla="*/ 439692 h 2052818"/>
                <a:gd name="connsiteX3315" fmla="*/ 1047017 w 2222569"/>
                <a:gd name="connsiteY3315" fmla="*/ 435619 h 2052818"/>
                <a:gd name="connsiteX3316" fmla="*/ 1052882 w 2222569"/>
                <a:gd name="connsiteY3316" fmla="*/ 431221 h 2052818"/>
                <a:gd name="connsiteX3317" fmla="*/ 1049624 w 2222569"/>
                <a:gd name="connsiteY3317" fmla="*/ 430895 h 2052818"/>
                <a:gd name="connsiteX3318" fmla="*/ 1044085 w 2222569"/>
                <a:gd name="connsiteY3318" fmla="*/ 432035 h 2052818"/>
                <a:gd name="connsiteX3319" fmla="*/ 1040827 w 2222569"/>
                <a:gd name="connsiteY3319" fmla="*/ 436108 h 2052818"/>
                <a:gd name="connsiteX3320" fmla="*/ 1038220 w 2222569"/>
                <a:gd name="connsiteY3320" fmla="*/ 430569 h 2052818"/>
                <a:gd name="connsiteX3321" fmla="*/ 1036428 w 2222569"/>
                <a:gd name="connsiteY3321" fmla="*/ 432850 h 2052818"/>
                <a:gd name="connsiteX3322" fmla="*/ 1035613 w 2222569"/>
                <a:gd name="connsiteY3322" fmla="*/ 437574 h 2052818"/>
                <a:gd name="connsiteX3323" fmla="*/ 1027142 w 2222569"/>
                <a:gd name="connsiteY3323" fmla="*/ 441973 h 2052818"/>
                <a:gd name="connsiteX3324" fmla="*/ 1025676 w 2222569"/>
                <a:gd name="connsiteY3324" fmla="*/ 445231 h 2052818"/>
                <a:gd name="connsiteX3325" fmla="*/ 1021278 w 2222569"/>
                <a:gd name="connsiteY3325" fmla="*/ 446371 h 2052818"/>
                <a:gd name="connsiteX3326" fmla="*/ 1015413 w 2222569"/>
                <a:gd name="connsiteY3326" fmla="*/ 442298 h 2052818"/>
                <a:gd name="connsiteX3327" fmla="*/ 1015738 w 2222569"/>
                <a:gd name="connsiteY3327" fmla="*/ 438226 h 2052818"/>
                <a:gd name="connsiteX3328" fmla="*/ 1018345 w 2222569"/>
                <a:gd name="connsiteY3328" fmla="*/ 434479 h 2052818"/>
                <a:gd name="connsiteX3329" fmla="*/ 1013946 w 2222569"/>
                <a:gd name="connsiteY3329" fmla="*/ 434805 h 2052818"/>
                <a:gd name="connsiteX3330" fmla="*/ 1011666 w 2222569"/>
                <a:gd name="connsiteY3330" fmla="*/ 433013 h 2052818"/>
                <a:gd name="connsiteX3331" fmla="*/ 1010851 w 2222569"/>
                <a:gd name="connsiteY3331" fmla="*/ 439692 h 2052818"/>
                <a:gd name="connsiteX3332" fmla="*/ 1007593 w 2222569"/>
                <a:gd name="connsiteY3332" fmla="*/ 442298 h 2052818"/>
                <a:gd name="connsiteX3333" fmla="*/ 1002869 w 2222569"/>
                <a:gd name="connsiteY3333" fmla="*/ 440018 h 2052818"/>
                <a:gd name="connsiteX3334" fmla="*/ 1003195 w 2222569"/>
                <a:gd name="connsiteY3334" fmla="*/ 434153 h 2052818"/>
                <a:gd name="connsiteX3335" fmla="*/ 997656 w 2222569"/>
                <a:gd name="connsiteY3335" fmla="*/ 430080 h 2052818"/>
                <a:gd name="connsiteX3336" fmla="*/ 999122 w 2222569"/>
                <a:gd name="connsiteY3336" fmla="*/ 426007 h 2052818"/>
                <a:gd name="connsiteX3337" fmla="*/ 996189 w 2222569"/>
                <a:gd name="connsiteY3337" fmla="*/ 424867 h 2052818"/>
                <a:gd name="connsiteX3338" fmla="*/ 995375 w 2222569"/>
                <a:gd name="connsiteY3338" fmla="*/ 430080 h 2052818"/>
                <a:gd name="connsiteX3339" fmla="*/ 992443 w 2222569"/>
                <a:gd name="connsiteY3339" fmla="*/ 429754 h 2052818"/>
                <a:gd name="connsiteX3340" fmla="*/ 987229 w 2222569"/>
                <a:gd name="connsiteY3340" fmla="*/ 422423 h 2052818"/>
                <a:gd name="connsiteX3341" fmla="*/ 978432 w 2222569"/>
                <a:gd name="connsiteY3341" fmla="*/ 416885 h 2052818"/>
                <a:gd name="connsiteX3342" fmla="*/ 978432 w 2222569"/>
                <a:gd name="connsiteY3342" fmla="*/ 414604 h 2052818"/>
                <a:gd name="connsiteX3343" fmla="*/ 984297 w 2222569"/>
                <a:gd name="connsiteY3343" fmla="*/ 414278 h 2052818"/>
                <a:gd name="connsiteX3344" fmla="*/ 984297 w 2222569"/>
                <a:gd name="connsiteY3344" fmla="*/ 409554 h 2052818"/>
                <a:gd name="connsiteX3345" fmla="*/ 982016 w 2222569"/>
                <a:gd name="connsiteY3345" fmla="*/ 406295 h 2052818"/>
                <a:gd name="connsiteX3346" fmla="*/ 991954 w 2222569"/>
                <a:gd name="connsiteY3346" fmla="*/ 399616 h 2052818"/>
                <a:gd name="connsiteX3347" fmla="*/ 997493 w 2222569"/>
                <a:gd name="connsiteY3347" fmla="*/ 398150 h 2052818"/>
                <a:gd name="connsiteX3348" fmla="*/ 1000099 w 2222569"/>
                <a:gd name="connsiteY3348" fmla="*/ 399616 h 2052818"/>
                <a:gd name="connsiteX3349" fmla="*/ 1009385 w 2222569"/>
                <a:gd name="connsiteY3349" fmla="*/ 399290 h 2052818"/>
                <a:gd name="connsiteX3350" fmla="*/ 1015738 w 2222569"/>
                <a:gd name="connsiteY3350" fmla="*/ 403363 h 2052818"/>
                <a:gd name="connsiteX3351" fmla="*/ 1022092 w 2222569"/>
                <a:gd name="connsiteY3351" fmla="*/ 404178 h 2052818"/>
                <a:gd name="connsiteX3352" fmla="*/ 1025839 w 2222569"/>
                <a:gd name="connsiteY3352" fmla="*/ 401245 h 2052818"/>
                <a:gd name="connsiteX3353" fmla="*/ 1032192 w 2222569"/>
                <a:gd name="connsiteY3353" fmla="*/ 400919 h 2052818"/>
                <a:gd name="connsiteX3354" fmla="*/ 1038057 w 2222569"/>
                <a:gd name="connsiteY3354" fmla="*/ 396847 h 2052818"/>
                <a:gd name="connsiteX3355" fmla="*/ 1034310 w 2222569"/>
                <a:gd name="connsiteY3355" fmla="*/ 394240 h 2052818"/>
                <a:gd name="connsiteX3356" fmla="*/ 1031704 w 2222569"/>
                <a:gd name="connsiteY3356" fmla="*/ 391959 h 2052818"/>
                <a:gd name="connsiteX3357" fmla="*/ 1026165 w 2222569"/>
                <a:gd name="connsiteY3357" fmla="*/ 391959 h 2052818"/>
                <a:gd name="connsiteX3358" fmla="*/ 1020952 w 2222569"/>
                <a:gd name="connsiteY3358" fmla="*/ 393426 h 2052818"/>
                <a:gd name="connsiteX3359" fmla="*/ 1012480 w 2222569"/>
                <a:gd name="connsiteY3359" fmla="*/ 390167 h 2052818"/>
                <a:gd name="connsiteX3360" fmla="*/ 1006941 w 2222569"/>
                <a:gd name="connsiteY3360" fmla="*/ 390167 h 2052818"/>
                <a:gd name="connsiteX3361" fmla="*/ 1005475 w 2222569"/>
                <a:gd name="connsiteY3361" fmla="*/ 388375 h 2052818"/>
                <a:gd name="connsiteX3362" fmla="*/ 1012806 w 2222569"/>
                <a:gd name="connsiteY3362" fmla="*/ 381370 h 2052818"/>
                <a:gd name="connsiteX3363" fmla="*/ 1018671 w 2222569"/>
                <a:gd name="connsiteY3363" fmla="*/ 374365 h 2052818"/>
                <a:gd name="connsiteX3364" fmla="*/ 1023884 w 2222569"/>
                <a:gd name="connsiteY3364" fmla="*/ 373551 h 2052818"/>
                <a:gd name="connsiteX3365" fmla="*/ 1027142 w 2222569"/>
                <a:gd name="connsiteY3365" fmla="*/ 374691 h 2052818"/>
                <a:gd name="connsiteX3366" fmla="*/ 1036754 w 2222569"/>
                <a:gd name="connsiteY3366" fmla="*/ 372899 h 2052818"/>
                <a:gd name="connsiteX3367" fmla="*/ 1047832 w 2222569"/>
                <a:gd name="connsiteY3367" fmla="*/ 374039 h 2052818"/>
                <a:gd name="connsiteX3368" fmla="*/ 1054185 w 2222569"/>
                <a:gd name="connsiteY3368" fmla="*/ 375831 h 2052818"/>
                <a:gd name="connsiteX3369" fmla="*/ 1056792 w 2222569"/>
                <a:gd name="connsiteY3369" fmla="*/ 374691 h 2052818"/>
                <a:gd name="connsiteX3370" fmla="*/ 1055326 w 2222569"/>
                <a:gd name="connsiteY3370" fmla="*/ 371759 h 2052818"/>
                <a:gd name="connsiteX3371" fmla="*/ 1052393 w 2222569"/>
                <a:gd name="connsiteY3371" fmla="*/ 371759 h 2052818"/>
                <a:gd name="connsiteX3372" fmla="*/ 1047180 w 2222569"/>
                <a:gd name="connsiteY3372" fmla="*/ 369152 h 2052818"/>
                <a:gd name="connsiteX3373" fmla="*/ 1041967 w 2222569"/>
                <a:gd name="connsiteY3373" fmla="*/ 369152 h 2052818"/>
                <a:gd name="connsiteX3374" fmla="*/ 1031704 w 2222569"/>
                <a:gd name="connsiteY3374" fmla="*/ 366220 h 2052818"/>
                <a:gd name="connsiteX3375" fmla="*/ 1028445 w 2222569"/>
                <a:gd name="connsiteY3375" fmla="*/ 361821 h 2052818"/>
                <a:gd name="connsiteX3376" fmla="*/ 1034310 w 2222569"/>
                <a:gd name="connsiteY3376" fmla="*/ 357423 h 2052818"/>
                <a:gd name="connsiteX3377" fmla="*/ 1037243 w 2222569"/>
                <a:gd name="connsiteY3377" fmla="*/ 353024 h 2052818"/>
                <a:gd name="connsiteX3378" fmla="*/ 1040501 w 2222569"/>
                <a:gd name="connsiteY3378" fmla="*/ 350418 h 2052818"/>
                <a:gd name="connsiteX3379" fmla="*/ 1043759 w 2222569"/>
                <a:gd name="connsiteY3379" fmla="*/ 350418 h 2052818"/>
                <a:gd name="connsiteX3380" fmla="*/ 1049624 w 2222569"/>
                <a:gd name="connsiteY3380" fmla="*/ 347485 h 2052818"/>
                <a:gd name="connsiteX3381" fmla="*/ 1054022 w 2222569"/>
                <a:gd name="connsiteY3381" fmla="*/ 347485 h 2052818"/>
                <a:gd name="connsiteX3382" fmla="*/ 1055814 w 2222569"/>
                <a:gd name="connsiteY3382" fmla="*/ 350092 h 2052818"/>
                <a:gd name="connsiteX3383" fmla="*/ 1060213 w 2222569"/>
                <a:gd name="connsiteY3383" fmla="*/ 350092 h 2052818"/>
                <a:gd name="connsiteX3384" fmla="*/ 1065752 w 2222569"/>
                <a:gd name="connsiteY3384" fmla="*/ 354816 h 2052818"/>
                <a:gd name="connsiteX3385" fmla="*/ 1069010 w 2222569"/>
                <a:gd name="connsiteY3385" fmla="*/ 356282 h 2052818"/>
                <a:gd name="connsiteX3386" fmla="*/ 1066729 w 2222569"/>
                <a:gd name="connsiteY3386" fmla="*/ 351558 h 2052818"/>
                <a:gd name="connsiteX3387" fmla="*/ 1061190 w 2222569"/>
                <a:gd name="connsiteY3387" fmla="*/ 347485 h 2052818"/>
                <a:gd name="connsiteX3388" fmla="*/ 1060376 w 2222569"/>
                <a:gd name="connsiteY3388" fmla="*/ 343412 h 2052818"/>
                <a:gd name="connsiteX3389" fmla="*/ 1058095 w 2222569"/>
                <a:gd name="connsiteY3389" fmla="*/ 341132 h 2052818"/>
                <a:gd name="connsiteX3390" fmla="*/ 1061027 w 2222569"/>
                <a:gd name="connsiteY3390" fmla="*/ 338199 h 2052818"/>
                <a:gd name="connsiteX3391" fmla="*/ 1074712 w 2222569"/>
                <a:gd name="connsiteY3391" fmla="*/ 335267 h 2052818"/>
                <a:gd name="connsiteX3392" fmla="*/ 1079110 w 2222569"/>
                <a:gd name="connsiteY3392" fmla="*/ 336407 h 2052818"/>
                <a:gd name="connsiteX3393" fmla="*/ 1087256 w 2222569"/>
                <a:gd name="connsiteY3393" fmla="*/ 336082 h 2052818"/>
                <a:gd name="connsiteX3394" fmla="*/ 1092469 w 2222569"/>
                <a:gd name="connsiteY3394" fmla="*/ 340480 h 2052818"/>
                <a:gd name="connsiteX3395" fmla="*/ 1094750 w 2222569"/>
                <a:gd name="connsiteY3395" fmla="*/ 348300 h 2052818"/>
                <a:gd name="connsiteX3396" fmla="*/ 1090677 w 2222569"/>
                <a:gd name="connsiteY3396" fmla="*/ 350580 h 2052818"/>
                <a:gd name="connsiteX3397" fmla="*/ 1086604 w 2222569"/>
                <a:gd name="connsiteY3397" fmla="*/ 356934 h 2052818"/>
                <a:gd name="connsiteX3398" fmla="*/ 1088070 w 2222569"/>
                <a:gd name="connsiteY3398" fmla="*/ 361332 h 2052818"/>
                <a:gd name="connsiteX3399" fmla="*/ 1097845 w 2222569"/>
                <a:gd name="connsiteY3399" fmla="*/ 360681 h 2052818"/>
                <a:gd name="connsiteX3400" fmla="*/ 1100940 w 2222569"/>
                <a:gd name="connsiteY3400" fmla="*/ 358726 h 2052818"/>
                <a:gd name="connsiteX3401" fmla="*/ 1104035 w 2222569"/>
                <a:gd name="connsiteY3401" fmla="*/ 360681 h 2052818"/>
                <a:gd name="connsiteX3402" fmla="*/ 1107131 w 2222569"/>
                <a:gd name="connsiteY3402" fmla="*/ 360681 h 2052818"/>
                <a:gd name="connsiteX3403" fmla="*/ 1108760 w 2222569"/>
                <a:gd name="connsiteY3403" fmla="*/ 363939 h 2052818"/>
                <a:gd name="connsiteX3404" fmla="*/ 1109574 w 2222569"/>
                <a:gd name="connsiteY3404" fmla="*/ 366871 h 2052818"/>
                <a:gd name="connsiteX3405" fmla="*/ 1112507 w 2222569"/>
                <a:gd name="connsiteY3405" fmla="*/ 369804 h 2052818"/>
                <a:gd name="connsiteX3406" fmla="*/ 1112181 w 2222569"/>
                <a:gd name="connsiteY3406" fmla="*/ 373225 h 2052818"/>
                <a:gd name="connsiteX3407" fmla="*/ 1109086 w 2222569"/>
                <a:gd name="connsiteY3407" fmla="*/ 374854 h 2052818"/>
                <a:gd name="connsiteX3408" fmla="*/ 1107294 w 2222569"/>
                <a:gd name="connsiteY3408" fmla="*/ 378275 h 2052818"/>
                <a:gd name="connsiteX3409" fmla="*/ 1111692 w 2222569"/>
                <a:gd name="connsiteY3409" fmla="*/ 383977 h 2052818"/>
                <a:gd name="connsiteX3410" fmla="*/ 1112507 w 2222569"/>
                <a:gd name="connsiteY3410" fmla="*/ 394403 h 2052818"/>
                <a:gd name="connsiteX3411" fmla="*/ 1110715 w 2222569"/>
                <a:gd name="connsiteY3411" fmla="*/ 397824 h 2052818"/>
                <a:gd name="connsiteX3412" fmla="*/ 1105502 w 2222569"/>
                <a:gd name="connsiteY3412" fmla="*/ 396195 h 2052818"/>
                <a:gd name="connsiteX3413" fmla="*/ 1100940 w 2222569"/>
                <a:gd name="connsiteY3413" fmla="*/ 397987 h 2052818"/>
                <a:gd name="connsiteX3414" fmla="*/ 1102243 w 2222569"/>
                <a:gd name="connsiteY3414" fmla="*/ 401082 h 2052818"/>
                <a:gd name="connsiteX3415" fmla="*/ 1106805 w 2222569"/>
                <a:gd name="connsiteY3415" fmla="*/ 400105 h 2052818"/>
                <a:gd name="connsiteX3416" fmla="*/ 1112507 w 2222569"/>
                <a:gd name="connsiteY3416" fmla="*/ 402548 h 2052818"/>
                <a:gd name="connsiteX3417" fmla="*/ 1115928 w 2222569"/>
                <a:gd name="connsiteY3417" fmla="*/ 402548 h 2052818"/>
                <a:gd name="connsiteX3418" fmla="*/ 1112507 w 2222569"/>
                <a:gd name="connsiteY3418" fmla="*/ 412975 h 2052818"/>
                <a:gd name="connsiteX3419" fmla="*/ 1108597 w 2222569"/>
                <a:gd name="connsiteY3419" fmla="*/ 416233 h 2052818"/>
                <a:gd name="connsiteX3420" fmla="*/ 1108271 w 2222569"/>
                <a:gd name="connsiteY3420" fmla="*/ 425519 h 2052818"/>
                <a:gd name="connsiteX3421" fmla="*/ 1111040 w 2222569"/>
                <a:gd name="connsiteY3421" fmla="*/ 426985 h 2052818"/>
                <a:gd name="connsiteX3422" fmla="*/ 1116742 w 2222569"/>
                <a:gd name="connsiteY3422" fmla="*/ 425519 h 2052818"/>
                <a:gd name="connsiteX3423" fmla="*/ 1119675 w 2222569"/>
                <a:gd name="connsiteY3423" fmla="*/ 422098 h 2052818"/>
                <a:gd name="connsiteX3424" fmla="*/ 1121955 w 2222569"/>
                <a:gd name="connsiteY3424" fmla="*/ 424378 h 2052818"/>
                <a:gd name="connsiteX3425" fmla="*/ 1123096 w 2222569"/>
                <a:gd name="connsiteY3425" fmla="*/ 428125 h 2052818"/>
                <a:gd name="connsiteX3426" fmla="*/ 1128797 w 2222569"/>
                <a:gd name="connsiteY3426" fmla="*/ 428777 h 2052818"/>
                <a:gd name="connsiteX3427" fmla="*/ 1131730 w 2222569"/>
                <a:gd name="connsiteY3427" fmla="*/ 428125 h 2052818"/>
                <a:gd name="connsiteX3428" fmla="*/ 1141016 w 2222569"/>
                <a:gd name="connsiteY3428" fmla="*/ 430569 h 2052818"/>
                <a:gd name="connsiteX3429" fmla="*/ 1144763 w 2222569"/>
                <a:gd name="connsiteY3429" fmla="*/ 436271 h 2052818"/>
                <a:gd name="connsiteX3430" fmla="*/ 1148021 w 2222569"/>
                <a:gd name="connsiteY3430" fmla="*/ 435130 h 2052818"/>
                <a:gd name="connsiteX3431" fmla="*/ 1147206 w 2222569"/>
                <a:gd name="connsiteY3431" fmla="*/ 431872 h 2052818"/>
                <a:gd name="connsiteX3432" fmla="*/ 1145577 w 2222569"/>
                <a:gd name="connsiteY3432" fmla="*/ 430406 h 2052818"/>
                <a:gd name="connsiteX3433" fmla="*/ 1153397 w 2222569"/>
                <a:gd name="connsiteY3433" fmla="*/ 426496 h 2052818"/>
                <a:gd name="connsiteX3434" fmla="*/ 1151442 w 2222569"/>
                <a:gd name="connsiteY3434" fmla="*/ 418025 h 2052818"/>
                <a:gd name="connsiteX3435" fmla="*/ 1146880 w 2222569"/>
                <a:gd name="connsiteY3435" fmla="*/ 412812 h 2052818"/>
                <a:gd name="connsiteX3436" fmla="*/ 1147206 w 2222569"/>
                <a:gd name="connsiteY3436" fmla="*/ 409065 h 2052818"/>
                <a:gd name="connsiteX3437" fmla="*/ 1144274 w 2222569"/>
                <a:gd name="connsiteY3437" fmla="*/ 404829 h 2052818"/>
                <a:gd name="connsiteX3438" fmla="*/ 1146718 w 2222569"/>
                <a:gd name="connsiteY3438" fmla="*/ 402223 h 2052818"/>
                <a:gd name="connsiteX3439" fmla="*/ 1149813 w 2222569"/>
                <a:gd name="connsiteY3439" fmla="*/ 402223 h 2052818"/>
                <a:gd name="connsiteX3440" fmla="*/ 1157144 w 2222569"/>
                <a:gd name="connsiteY3440" fmla="*/ 399290 h 2052818"/>
                <a:gd name="connsiteX3441" fmla="*/ 1162520 w 2222569"/>
                <a:gd name="connsiteY3441" fmla="*/ 399779 h 2052818"/>
                <a:gd name="connsiteX3442" fmla="*/ 1165126 w 2222569"/>
                <a:gd name="connsiteY3442" fmla="*/ 392611 h 2052818"/>
                <a:gd name="connsiteX3443" fmla="*/ 1161868 w 2222569"/>
                <a:gd name="connsiteY3443" fmla="*/ 385117 h 2052818"/>
                <a:gd name="connsiteX3444" fmla="*/ 1159424 w 2222569"/>
                <a:gd name="connsiteY3444" fmla="*/ 382511 h 2052818"/>
                <a:gd name="connsiteX3445" fmla="*/ 1159750 w 2222569"/>
                <a:gd name="connsiteY3445" fmla="*/ 376809 h 2052818"/>
                <a:gd name="connsiteX3446" fmla="*/ 1157307 w 2222569"/>
                <a:gd name="connsiteY3446" fmla="*/ 370781 h 2052818"/>
                <a:gd name="connsiteX3447" fmla="*/ 1161868 w 2222569"/>
                <a:gd name="connsiteY3447" fmla="*/ 364265 h 2052818"/>
                <a:gd name="connsiteX3448" fmla="*/ 1165941 w 2222569"/>
                <a:gd name="connsiteY3448" fmla="*/ 361658 h 2052818"/>
                <a:gd name="connsiteX3449" fmla="*/ 1168547 w 2222569"/>
                <a:gd name="connsiteY3449" fmla="*/ 362636 h 2052818"/>
                <a:gd name="connsiteX3450" fmla="*/ 1173761 w 2222569"/>
                <a:gd name="connsiteY3450" fmla="*/ 362636 h 2052818"/>
                <a:gd name="connsiteX3451" fmla="*/ 1172457 w 2222569"/>
                <a:gd name="connsiteY3451" fmla="*/ 359866 h 2052818"/>
                <a:gd name="connsiteX3452" fmla="*/ 1174738 w 2222569"/>
                <a:gd name="connsiteY3452" fmla="*/ 355468 h 2052818"/>
                <a:gd name="connsiteX3453" fmla="*/ 1180603 w 2222569"/>
                <a:gd name="connsiteY3453" fmla="*/ 353513 h 2052818"/>
                <a:gd name="connsiteX3454" fmla="*/ 1192006 w 2222569"/>
                <a:gd name="connsiteY3454" fmla="*/ 342761 h 2052818"/>
                <a:gd name="connsiteX3455" fmla="*/ 1195264 w 2222569"/>
                <a:gd name="connsiteY3455" fmla="*/ 343087 h 2052818"/>
                <a:gd name="connsiteX3456" fmla="*/ 1202432 w 2222569"/>
                <a:gd name="connsiteY3456" fmla="*/ 346671 h 2052818"/>
                <a:gd name="connsiteX3457" fmla="*/ 1201292 w 2222569"/>
                <a:gd name="connsiteY3457" fmla="*/ 349603 h 2052818"/>
                <a:gd name="connsiteX3458" fmla="*/ 1203247 w 2222569"/>
                <a:gd name="connsiteY3458" fmla="*/ 353676 h 2052818"/>
                <a:gd name="connsiteX3459" fmla="*/ 1201781 w 2222569"/>
                <a:gd name="connsiteY3459" fmla="*/ 356771 h 2052818"/>
                <a:gd name="connsiteX3460" fmla="*/ 1197219 w 2222569"/>
                <a:gd name="connsiteY3460" fmla="*/ 356771 h 2052818"/>
                <a:gd name="connsiteX3461" fmla="*/ 1194287 w 2222569"/>
                <a:gd name="connsiteY3461" fmla="*/ 359866 h 2052818"/>
                <a:gd name="connsiteX3462" fmla="*/ 1194287 w 2222569"/>
                <a:gd name="connsiteY3462" fmla="*/ 363939 h 2052818"/>
                <a:gd name="connsiteX3463" fmla="*/ 1192821 w 2222569"/>
                <a:gd name="connsiteY3463" fmla="*/ 368989 h 2052818"/>
                <a:gd name="connsiteX3464" fmla="*/ 1192821 w 2222569"/>
                <a:gd name="connsiteY3464" fmla="*/ 375180 h 2052818"/>
                <a:gd name="connsiteX3465" fmla="*/ 1194287 w 2222569"/>
                <a:gd name="connsiteY3465" fmla="*/ 376972 h 2052818"/>
                <a:gd name="connsiteX3466" fmla="*/ 1194287 w 2222569"/>
                <a:gd name="connsiteY3466" fmla="*/ 389353 h 2052818"/>
                <a:gd name="connsiteX3467" fmla="*/ 1191843 w 2222569"/>
                <a:gd name="connsiteY3467" fmla="*/ 391634 h 2052818"/>
                <a:gd name="connsiteX3468" fmla="*/ 1189237 w 2222569"/>
                <a:gd name="connsiteY3468" fmla="*/ 391634 h 2052818"/>
                <a:gd name="connsiteX3469" fmla="*/ 1182069 w 2222569"/>
                <a:gd name="connsiteY3469" fmla="*/ 398150 h 2052818"/>
                <a:gd name="connsiteX3470" fmla="*/ 1177996 w 2222569"/>
                <a:gd name="connsiteY3470" fmla="*/ 401082 h 2052818"/>
                <a:gd name="connsiteX3471" fmla="*/ 1177996 w 2222569"/>
                <a:gd name="connsiteY3471" fmla="*/ 402874 h 2052818"/>
                <a:gd name="connsiteX3472" fmla="*/ 1180603 w 2222569"/>
                <a:gd name="connsiteY3472" fmla="*/ 402874 h 2052818"/>
                <a:gd name="connsiteX3473" fmla="*/ 1185001 w 2222569"/>
                <a:gd name="connsiteY3473" fmla="*/ 401734 h 2052818"/>
                <a:gd name="connsiteX3474" fmla="*/ 1192332 w 2222569"/>
                <a:gd name="connsiteY3474" fmla="*/ 402060 h 2052818"/>
                <a:gd name="connsiteX3475" fmla="*/ 1193635 w 2222569"/>
                <a:gd name="connsiteY3475" fmla="*/ 404666 h 2052818"/>
                <a:gd name="connsiteX3476" fmla="*/ 1189888 w 2222569"/>
                <a:gd name="connsiteY3476" fmla="*/ 410368 h 2052818"/>
                <a:gd name="connsiteX3477" fmla="*/ 1181743 w 2222569"/>
                <a:gd name="connsiteY3477" fmla="*/ 414930 h 2052818"/>
                <a:gd name="connsiteX3478" fmla="*/ 1174738 w 2222569"/>
                <a:gd name="connsiteY3478" fmla="*/ 421120 h 2052818"/>
                <a:gd name="connsiteX3479" fmla="*/ 1173109 w 2222569"/>
                <a:gd name="connsiteY3479" fmla="*/ 425682 h 2052818"/>
                <a:gd name="connsiteX3480" fmla="*/ 1175064 w 2222569"/>
                <a:gd name="connsiteY3480" fmla="*/ 428288 h 2052818"/>
                <a:gd name="connsiteX3481" fmla="*/ 1177507 w 2222569"/>
                <a:gd name="connsiteY3481" fmla="*/ 423564 h 2052818"/>
                <a:gd name="connsiteX3482" fmla="*/ 1186304 w 2222569"/>
                <a:gd name="connsiteY3482" fmla="*/ 419491 h 2052818"/>
                <a:gd name="connsiteX3483" fmla="*/ 1189563 w 2222569"/>
                <a:gd name="connsiteY3483" fmla="*/ 416233 h 2052818"/>
                <a:gd name="connsiteX3484" fmla="*/ 1192658 w 2222569"/>
                <a:gd name="connsiteY3484" fmla="*/ 414930 h 2052818"/>
                <a:gd name="connsiteX3485" fmla="*/ 1199500 w 2222569"/>
                <a:gd name="connsiteY3485" fmla="*/ 418188 h 2052818"/>
                <a:gd name="connsiteX3486" fmla="*/ 1198686 w 2222569"/>
                <a:gd name="connsiteY3486" fmla="*/ 424704 h 2052818"/>
                <a:gd name="connsiteX3487" fmla="*/ 1194776 w 2222569"/>
                <a:gd name="connsiteY3487" fmla="*/ 432035 h 2052818"/>
                <a:gd name="connsiteX3488" fmla="*/ 1195916 w 2222569"/>
                <a:gd name="connsiteY3488" fmla="*/ 434805 h 2052818"/>
                <a:gd name="connsiteX3489" fmla="*/ 1200640 w 2222569"/>
                <a:gd name="connsiteY3489" fmla="*/ 429591 h 2052818"/>
                <a:gd name="connsiteX3490" fmla="*/ 1204713 w 2222569"/>
                <a:gd name="connsiteY3490" fmla="*/ 430080 h 2052818"/>
                <a:gd name="connsiteX3491" fmla="*/ 1205691 w 2222569"/>
                <a:gd name="connsiteY3491" fmla="*/ 427148 h 2052818"/>
                <a:gd name="connsiteX3492" fmla="*/ 1204550 w 2222569"/>
                <a:gd name="connsiteY3492" fmla="*/ 425845 h 2052818"/>
                <a:gd name="connsiteX3493" fmla="*/ 1207483 w 2222569"/>
                <a:gd name="connsiteY3493" fmla="*/ 421120 h 2052818"/>
                <a:gd name="connsiteX3494" fmla="*/ 1208134 w 2222569"/>
                <a:gd name="connsiteY3494" fmla="*/ 415907 h 2052818"/>
                <a:gd name="connsiteX3495" fmla="*/ 1216117 w 2222569"/>
                <a:gd name="connsiteY3495" fmla="*/ 410205 h 2052818"/>
                <a:gd name="connsiteX3496" fmla="*/ 1219212 w 2222569"/>
                <a:gd name="connsiteY3496" fmla="*/ 410205 h 2052818"/>
                <a:gd name="connsiteX3497" fmla="*/ 1225403 w 2222569"/>
                <a:gd name="connsiteY3497" fmla="*/ 414115 h 2052818"/>
                <a:gd name="connsiteX3498" fmla="*/ 1228335 w 2222569"/>
                <a:gd name="connsiteY3498" fmla="*/ 422261 h 2052818"/>
                <a:gd name="connsiteX3499" fmla="*/ 1230616 w 2222569"/>
                <a:gd name="connsiteY3499" fmla="*/ 426170 h 2052818"/>
                <a:gd name="connsiteX3500" fmla="*/ 1229150 w 2222569"/>
                <a:gd name="connsiteY3500" fmla="*/ 433338 h 2052818"/>
                <a:gd name="connsiteX3501" fmla="*/ 1222633 w 2222569"/>
                <a:gd name="connsiteY3501" fmla="*/ 445394 h 2052818"/>
                <a:gd name="connsiteX3502" fmla="*/ 1216769 w 2222569"/>
                <a:gd name="connsiteY3502" fmla="*/ 450607 h 2052818"/>
                <a:gd name="connsiteX3503" fmla="*/ 1212044 w 2222569"/>
                <a:gd name="connsiteY3503" fmla="*/ 452887 h 2052818"/>
                <a:gd name="connsiteX3504" fmla="*/ 1208623 w 2222569"/>
                <a:gd name="connsiteY3504" fmla="*/ 453213 h 2052818"/>
                <a:gd name="connsiteX3505" fmla="*/ 1207320 w 2222569"/>
                <a:gd name="connsiteY3505" fmla="*/ 455494 h 2052818"/>
                <a:gd name="connsiteX3506" fmla="*/ 1208134 w 2222569"/>
                <a:gd name="connsiteY3506" fmla="*/ 459404 h 2052818"/>
                <a:gd name="connsiteX3507" fmla="*/ 1202758 w 2222569"/>
                <a:gd name="connsiteY3507" fmla="*/ 466735 h 2052818"/>
                <a:gd name="connsiteX3508" fmla="*/ 1198686 w 2222569"/>
                <a:gd name="connsiteY3508" fmla="*/ 466735 h 2052818"/>
                <a:gd name="connsiteX3509" fmla="*/ 1193961 w 2222569"/>
                <a:gd name="connsiteY3509" fmla="*/ 470482 h 2052818"/>
                <a:gd name="connsiteX3510" fmla="*/ 1193961 w 2222569"/>
                <a:gd name="connsiteY3510" fmla="*/ 474717 h 2052818"/>
                <a:gd name="connsiteX3511" fmla="*/ 1192332 w 2222569"/>
                <a:gd name="connsiteY3511" fmla="*/ 477324 h 2052818"/>
                <a:gd name="connsiteX3512" fmla="*/ 1189400 w 2222569"/>
                <a:gd name="connsiteY3512" fmla="*/ 477324 h 2052818"/>
                <a:gd name="connsiteX3513" fmla="*/ 1187119 w 2222569"/>
                <a:gd name="connsiteY3513" fmla="*/ 478953 h 2052818"/>
                <a:gd name="connsiteX3514" fmla="*/ 1187119 w 2222569"/>
                <a:gd name="connsiteY3514" fmla="*/ 481722 h 2052818"/>
                <a:gd name="connsiteX3515" fmla="*/ 1184675 w 2222569"/>
                <a:gd name="connsiteY3515" fmla="*/ 483026 h 2052818"/>
                <a:gd name="connsiteX3516" fmla="*/ 1181091 w 2222569"/>
                <a:gd name="connsiteY3516" fmla="*/ 479930 h 2052818"/>
                <a:gd name="connsiteX3517" fmla="*/ 1176693 w 2222569"/>
                <a:gd name="connsiteY3517" fmla="*/ 481885 h 2052818"/>
                <a:gd name="connsiteX3518" fmla="*/ 1173109 w 2222569"/>
                <a:gd name="connsiteY3518" fmla="*/ 481071 h 2052818"/>
                <a:gd name="connsiteX3519" fmla="*/ 1164800 w 2222569"/>
                <a:gd name="connsiteY3519" fmla="*/ 485306 h 2052818"/>
                <a:gd name="connsiteX3520" fmla="*/ 1157307 w 2222569"/>
                <a:gd name="connsiteY3520" fmla="*/ 486447 h 2052818"/>
                <a:gd name="connsiteX3521" fmla="*/ 1151279 w 2222569"/>
                <a:gd name="connsiteY3521" fmla="*/ 483840 h 2052818"/>
                <a:gd name="connsiteX3522" fmla="*/ 1149976 w 2222569"/>
                <a:gd name="connsiteY3522" fmla="*/ 480419 h 2052818"/>
                <a:gd name="connsiteX3523" fmla="*/ 1153071 w 2222569"/>
                <a:gd name="connsiteY3523" fmla="*/ 476183 h 2052818"/>
                <a:gd name="connsiteX3524" fmla="*/ 1152582 w 2222569"/>
                <a:gd name="connsiteY3524" fmla="*/ 473088 h 2052818"/>
                <a:gd name="connsiteX3525" fmla="*/ 1150953 w 2222569"/>
                <a:gd name="connsiteY3525" fmla="*/ 472762 h 2052818"/>
                <a:gd name="connsiteX3526" fmla="*/ 1145577 w 2222569"/>
                <a:gd name="connsiteY3526" fmla="*/ 475206 h 2052818"/>
                <a:gd name="connsiteX3527" fmla="*/ 1144437 w 2222569"/>
                <a:gd name="connsiteY3527" fmla="*/ 478301 h 2052818"/>
                <a:gd name="connsiteX3528" fmla="*/ 1140527 w 2222569"/>
                <a:gd name="connsiteY3528" fmla="*/ 479767 h 2052818"/>
                <a:gd name="connsiteX3529" fmla="*/ 1134011 w 2222569"/>
                <a:gd name="connsiteY3529" fmla="*/ 477813 h 2052818"/>
                <a:gd name="connsiteX3530" fmla="*/ 1134011 w 2222569"/>
                <a:gd name="connsiteY3530" fmla="*/ 474717 h 2052818"/>
                <a:gd name="connsiteX3531" fmla="*/ 1136128 w 2222569"/>
                <a:gd name="connsiteY3531" fmla="*/ 472111 h 2052818"/>
                <a:gd name="connsiteX3532" fmla="*/ 1134825 w 2222569"/>
                <a:gd name="connsiteY3532" fmla="*/ 468364 h 2052818"/>
                <a:gd name="connsiteX3533" fmla="*/ 1131567 w 2222569"/>
                <a:gd name="connsiteY3533" fmla="*/ 467223 h 2052818"/>
                <a:gd name="connsiteX3534" fmla="*/ 1131241 w 2222569"/>
                <a:gd name="connsiteY3534" fmla="*/ 470319 h 2052818"/>
                <a:gd name="connsiteX3535" fmla="*/ 1128146 w 2222569"/>
                <a:gd name="connsiteY3535" fmla="*/ 472274 h 2052818"/>
                <a:gd name="connsiteX3536" fmla="*/ 1124399 w 2222569"/>
                <a:gd name="connsiteY3536" fmla="*/ 472274 h 2052818"/>
                <a:gd name="connsiteX3537" fmla="*/ 1116254 w 2222569"/>
                <a:gd name="connsiteY3537" fmla="*/ 475858 h 2052818"/>
                <a:gd name="connsiteX3538" fmla="*/ 1113810 w 2222569"/>
                <a:gd name="connsiteY3538" fmla="*/ 477813 h 2052818"/>
                <a:gd name="connsiteX3539" fmla="*/ 1108434 w 2222569"/>
                <a:gd name="connsiteY3539" fmla="*/ 477813 h 2052818"/>
                <a:gd name="connsiteX3540" fmla="*/ 1106642 w 2222569"/>
                <a:gd name="connsiteY3540" fmla="*/ 476021 h 2052818"/>
                <a:gd name="connsiteX3541" fmla="*/ 1100126 w 2222569"/>
                <a:gd name="connsiteY3541" fmla="*/ 476835 h 2052818"/>
                <a:gd name="connsiteX3542" fmla="*/ 1097030 w 2222569"/>
                <a:gd name="connsiteY3542" fmla="*/ 474554 h 2052818"/>
                <a:gd name="connsiteX3543" fmla="*/ 1095075 w 2222569"/>
                <a:gd name="connsiteY3543" fmla="*/ 477487 h 2052818"/>
                <a:gd name="connsiteX3544" fmla="*/ 1091328 w 2222569"/>
                <a:gd name="connsiteY3544" fmla="*/ 477487 h 2052818"/>
                <a:gd name="connsiteX3545" fmla="*/ 1087745 w 2222569"/>
                <a:gd name="connsiteY3545" fmla="*/ 478953 h 2052818"/>
                <a:gd name="connsiteX3546" fmla="*/ 1086930 w 2222569"/>
                <a:gd name="connsiteY3546" fmla="*/ 483026 h 2052818"/>
                <a:gd name="connsiteX3547" fmla="*/ 1084323 w 2222569"/>
                <a:gd name="connsiteY3547" fmla="*/ 485143 h 2052818"/>
                <a:gd name="connsiteX3548" fmla="*/ 1078296 w 2222569"/>
                <a:gd name="connsiteY3548" fmla="*/ 485143 h 2052818"/>
                <a:gd name="connsiteX3549" fmla="*/ 1077155 w 2222569"/>
                <a:gd name="connsiteY3549" fmla="*/ 487913 h 2052818"/>
                <a:gd name="connsiteX3550" fmla="*/ 1071942 w 2222569"/>
                <a:gd name="connsiteY3550" fmla="*/ 489542 h 2052818"/>
                <a:gd name="connsiteX3551" fmla="*/ 1070313 w 2222569"/>
                <a:gd name="connsiteY3551" fmla="*/ 488727 h 2052818"/>
                <a:gd name="connsiteX3552" fmla="*/ 1064937 w 2222569"/>
                <a:gd name="connsiteY3552" fmla="*/ 491008 h 2052818"/>
                <a:gd name="connsiteX3553" fmla="*/ 1059235 w 2222569"/>
                <a:gd name="connsiteY3553" fmla="*/ 491008 h 2052818"/>
                <a:gd name="connsiteX3554" fmla="*/ 1057443 w 2222569"/>
                <a:gd name="connsiteY3554" fmla="*/ 488239 h 2052818"/>
                <a:gd name="connsiteX3555" fmla="*/ 1050601 w 2222569"/>
                <a:gd name="connsiteY3555" fmla="*/ 488239 h 2052818"/>
                <a:gd name="connsiteX3556" fmla="*/ 1043922 w 2222569"/>
                <a:gd name="connsiteY3556" fmla="*/ 490519 h 2052818"/>
                <a:gd name="connsiteX3557" fmla="*/ 1036428 w 2222569"/>
                <a:gd name="connsiteY3557" fmla="*/ 490519 h 2052818"/>
                <a:gd name="connsiteX3558" fmla="*/ 1028934 w 2222569"/>
                <a:gd name="connsiteY3558" fmla="*/ 486773 h 2052818"/>
                <a:gd name="connsiteX3559" fmla="*/ 1022255 w 2222569"/>
                <a:gd name="connsiteY3559" fmla="*/ 485469 h 2052818"/>
                <a:gd name="connsiteX3560" fmla="*/ 1018997 w 2222569"/>
                <a:gd name="connsiteY3560" fmla="*/ 480745 h 2052818"/>
                <a:gd name="connsiteX3561" fmla="*/ 1013946 w 2222569"/>
                <a:gd name="connsiteY3561" fmla="*/ 475369 h 2052818"/>
                <a:gd name="connsiteX3562" fmla="*/ 1013946 w 2222569"/>
                <a:gd name="connsiteY3562" fmla="*/ 475369 h 2052818"/>
                <a:gd name="connsiteX3563" fmla="*/ 708818 w 2222569"/>
                <a:gd name="connsiteY3563" fmla="*/ 634694 h 2052818"/>
                <a:gd name="connsiteX3564" fmla="*/ 708818 w 2222569"/>
                <a:gd name="connsiteY3564" fmla="*/ 625082 h 2052818"/>
                <a:gd name="connsiteX3565" fmla="*/ 713216 w 2222569"/>
                <a:gd name="connsiteY3565" fmla="*/ 616937 h 2052818"/>
                <a:gd name="connsiteX3566" fmla="*/ 710936 w 2222569"/>
                <a:gd name="connsiteY3566" fmla="*/ 610583 h 2052818"/>
                <a:gd name="connsiteX3567" fmla="*/ 712728 w 2222569"/>
                <a:gd name="connsiteY3567" fmla="*/ 603578 h 2052818"/>
                <a:gd name="connsiteX3568" fmla="*/ 713379 w 2222569"/>
                <a:gd name="connsiteY3568" fmla="*/ 597714 h 2052818"/>
                <a:gd name="connsiteX3569" fmla="*/ 710121 w 2222569"/>
                <a:gd name="connsiteY3569" fmla="*/ 594781 h 2052818"/>
                <a:gd name="connsiteX3570" fmla="*/ 706048 w 2222569"/>
                <a:gd name="connsiteY3570" fmla="*/ 581097 h 2052818"/>
                <a:gd name="connsiteX3571" fmla="*/ 711913 w 2222569"/>
                <a:gd name="connsiteY3571" fmla="*/ 582889 h 2052818"/>
                <a:gd name="connsiteX3572" fmla="*/ 711913 w 2222569"/>
                <a:gd name="connsiteY3572" fmla="*/ 578490 h 2052818"/>
                <a:gd name="connsiteX3573" fmla="*/ 703116 w 2222569"/>
                <a:gd name="connsiteY3573" fmla="*/ 578490 h 2052818"/>
                <a:gd name="connsiteX3574" fmla="*/ 694645 w 2222569"/>
                <a:gd name="connsiteY3574" fmla="*/ 575558 h 2052818"/>
                <a:gd name="connsiteX3575" fmla="*/ 694319 w 2222569"/>
                <a:gd name="connsiteY3575" fmla="*/ 571160 h 2052818"/>
                <a:gd name="connsiteX3576" fmla="*/ 698391 w 2222569"/>
                <a:gd name="connsiteY3576" fmla="*/ 572626 h 2052818"/>
                <a:gd name="connsiteX3577" fmla="*/ 703605 w 2222569"/>
                <a:gd name="connsiteY3577" fmla="*/ 568553 h 2052818"/>
                <a:gd name="connsiteX3578" fmla="*/ 710284 w 2222569"/>
                <a:gd name="connsiteY3578" fmla="*/ 565295 h 2052818"/>
                <a:gd name="connsiteX3579" fmla="*/ 710936 w 2222569"/>
                <a:gd name="connsiteY3579" fmla="*/ 561222 h 2052818"/>
                <a:gd name="connsiteX3580" fmla="*/ 713868 w 2222569"/>
                <a:gd name="connsiteY3580" fmla="*/ 561222 h 2052818"/>
                <a:gd name="connsiteX3581" fmla="*/ 717941 w 2222569"/>
                <a:gd name="connsiteY3581" fmla="*/ 556498 h 2052818"/>
                <a:gd name="connsiteX3582" fmla="*/ 722339 w 2222569"/>
                <a:gd name="connsiteY3582" fmla="*/ 555683 h 2052818"/>
                <a:gd name="connsiteX3583" fmla="*/ 724946 w 2222569"/>
                <a:gd name="connsiteY3583" fmla="*/ 548352 h 2052818"/>
                <a:gd name="connsiteX3584" fmla="*/ 734557 w 2222569"/>
                <a:gd name="connsiteY3584" fmla="*/ 546071 h 2052818"/>
                <a:gd name="connsiteX3585" fmla="*/ 735372 w 2222569"/>
                <a:gd name="connsiteY3585" fmla="*/ 543791 h 2052818"/>
                <a:gd name="connsiteX3586" fmla="*/ 738630 w 2222569"/>
                <a:gd name="connsiteY3586" fmla="*/ 542325 h 2052818"/>
                <a:gd name="connsiteX3587" fmla="*/ 743029 w 2222569"/>
                <a:gd name="connsiteY3587" fmla="*/ 535645 h 2052818"/>
                <a:gd name="connsiteX3588" fmla="*/ 743843 w 2222569"/>
                <a:gd name="connsiteY3588" fmla="*/ 527174 h 2052818"/>
                <a:gd name="connsiteX3589" fmla="*/ 745309 w 2222569"/>
                <a:gd name="connsiteY3589" fmla="*/ 530106 h 2052818"/>
                <a:gd name="connsiteX3590" fmla="*/ 759320 w 2222569"/>
                <a:gd name="connsiteY3590" fmla="*/ 531898 h 2052818"/>
                <a:gd name="connsiteX3591" fmla="*/ 759645 w 2222569"/>
                <a:gd name="connsiteY3591" fmla="*/ 524893 h 2052818"/>
                <a:gd name="connsiteX3592" fmla="*/ 756713 w 2222569"/>
                <a:gd name="connsiteY3592" fmla="*/ 517562 h 2052818"/>
                <a:gd name="connsiteX3593" fmla="*/ 757039 w 2222569"/>
                <a:gd name="connsiteY3593" fmla="*/ 513815 h 2052818"/>
                <a:gd name="connsiteX3594" fmla="*/ 762252 w 2222569"/>
                <a:gd name="connsiteY3594" fmla="*/ 512023 h 2052818"/>
                <a:gd name="connsiteX3595" fmla="*/ 773656 w 2222569"/>
                <a:gd name="connsiteY3595" fmla="*/ 503552 h 2052818"/>
                <a:gd name="connsiteX3596" fmla="*/ 778380 w 2222569"/>
                <a:gd name="connsiteY3596" fmla="*/ 496547 h 2052818"/>
                <a:gd name="connsiteX3597" fmla="*/ 788643 w 2222569"/>
                <a:gd name="connsiteY3597" fmla="*/ 492800 h 2052818"/>
                <a:gd name="connsiteX3598" fmla="*/ 790924 w 2222569"/>
                <a:gd name="connsiteY3598" fmla="*/ 488076 h 2052818"/>
                <a:gd name="connsiteX3599" fmla="*/ 797603 w 2222569"/>
                <a:gd name="connsiteY3599" fmla="*/ 481397 h 2052818"/>
                <a:gd name="connsiteX3600" fmla="*/ 803468 w 2222569"/>
                <a:gd name="connsiteY3600" fmla="*/ 481397 h 2052818"/>
                <a:gd name="connsiteX3601" fmla="*/ 806726 w 2222569"/>
                <a:gd name="connsiteY3601" fmla="*/ 477324 h 2052818"/>
                <a:gd name="connsiteX3602" fmla="*/ 802979 w 2222569"/>
                <a:gd name="connsiteY3602" fmla="*/ 472599 h 2052818"/>
                <a:gd name="connsiteX3603" fmla="*/ 804445 w 2222569"/>
                <a:gd name="connsiteY3603" fmla="*/ 462336 h 2052818"/>
                <a:gd name="connsiteX3604" fmla="*/ 804445 w 2222569"/>
                <a:gd name="connsiteY3604" fmla="*/ 455331 h 2052818"/>
                <a:gd name="connsiteX3605" fmla="*/ 807052 w 2222569"/>
                <a:gd name="connsiteY3605" fmla="*/ 450444 h 2052818"/>
                <a:gd name="connsiteX3606" fmla="*/ 804771 w 2222569"/>
                <a:gd name="connsiteY3606" fmla="*/ 447837 h 2052818"/>
                <a:gd name="connsiteX3607" fmla="*/ 806563 w 2222569"/>
                <a:gd name="connsiteY3607" fmla="*/ 443765 h 2052818"/>
                <a:gd name="connsiteX3608" fmla="*/ 814383 w 2222569"/>
                <a:gd name="connsiteY3608" fmla="*/ 441484 h 2052818"/>
                <a:gd name="connsiteX3609" fmla="*/ 818456 w 2222569"/>
                <a:gd name="connsiteY3609" fmla="*/ 442624 h 2052818"/>
                <a:gd name="connsiteX3610" fmla="*/ 833932 w 2222569"/>
                <a:gd name="connsiteY3610" fmla="*/ 441484 h 2052818"/>
                <a:gd name="connsiteX3611" fmla="*/ 837679 w 2222569"/>
                <a:gd name="connsiteY3611" fmla="*/ 443276 h 2052818"/>
                <a:gd name="connsiteX3612" fmla="*/ 854621 w 2222569"/>
                <a:gd name="connsiteY3612" fmla="*/ 443276 h 2052818"/>
                <a:gd name="connsiteX3613" fmla="*/ 866351 w 2222569"/>
                <a:gd name="connsiteY3613" fmla="*/ 438551 h 2052818"/>
                <a:gd name="connsiteX3614" fmla="*/ 880361 w 2222569"/>
                <a:gd name="connsiteY3614" fmla="*/ 442624 h 2052818"/>
                <a:gd name="connsiteX3615" fmla="*/ 878895 w 2222569"/>
                <a:gd name="connsiteY3615" fmla="*/ 448163 h 2052818"/>
                <a:gd name="connsiteX3616" fmla="*/ 882153 w 2222569"/>
                <a:gd name="connsiteY3616" fmla="*/ 450770 h 2052818"/>
                <a:gd name="connsiteX3617" fmla="*/ 885411 w 2222569"/>
                <a:gd name="connsiteY3617" fmla="*/ 456634 h 2052818"/>
                <a:gd name="connsiteX3618" fmla="*/ 898770 w 2222569"/>
                <a:gd name="connsiteY3618" fmla="*/ 463639 h 2052818"/>
                <a:gd name="connsiteX3619" fmla="*/ 899584 w 2222569"/>
                <a:gd name="connsiteY3619" fmla="*/ 467386 h 2052818"/>
                <a:gd name="connsiteX3620" fmla="*/ 896326 w 2222569"/>
                <a:gd name="connsiteY3620" fmla="*/ 471133 h 2052818"/>
                <a:gd name="connsiteX3621" fmla="*/ 900399 w 2222569"/>
                <a:gd name="connsiteY3621" fmla="*/ 470319 h 2052818"/>
                <a:gd name="connsiteX3622" fmla="*/ 904797 w 2222569"/>
                <a:gd name="connsiteY3622" fmla="*/ 468038 h 2052818"/>
                <a:gd name="connsiteX3623" fmla="*/ 910011 w 2222569"/>
                <a:gd name="connsiteY3623" fmla="*/ 470970 h 2052818"/>
                <a:gd name="connsiteX3624" fmla="*/ 908219 w 2222569"/>
                <a:gd name="connsiteY3624" fmla="*/ 477650 h 2052818"/>
                <a:gd name="connsiteX3625" fmla="*/ 901213 w 2222569"/>
                <a:gd name="connsiteY3625" fmla="*/ 484981 h 2052818"/>
                <a:gd name="connsiteX3626" fmla="*/ 901539 w 2222569"/>
                <a:gd name="connsiteY3626" fmla="*/ 487587 h 2052818"/>
                <a:gd name="connsiteX3627" fmla="*/ 911477 w 2222569"/>
                <a:gd name="connsiteY3627" fmla="*/ 481397 h 2052818"/>
                <a:gd name="connsiteX3628" fmla="*/ 911477 w 2222569"/>
                <a:gd name="connsiteY3628" fmla="*/ 475532 h 2052818"/>
                <a:gd name="connsiteX3629" fmla="*/ 915224 w 2222569"/>
                <a:gd name="connsiteY3629" fmla="*/ 472274 h 2052818"/>
                <a:gd name="connsiteX3630" fmla="*/ 922229 w 2222569"/>
                <a:gd name="connsiteY3630" fmla="*/ 473088 h 2052818"/>
                <a:gd name="connsiteX3631" fmla="*/ 928908 w 2222569"/>
                <a:gd name="connsiteY3631" fmla="*/ 470807 h 2052818"/>
                <a:gd name="connsiteX3632" fmla="*/ 931840 w 2222569"/>
                <a:gd name="connsiteY3632" fmla="*/ 471948 h 2052818"/>
                <a:gd name="connsiteX3633" fmla="*/ 933306 w 2222569"/>
                <a:gd name="connsiteY3633" fmla="*/ 476672 h 2052818"/>
                <a:gd name="connsiteX3634" fmla="*/ 942918 w 2222569"/>
                <a:gd name="connsiteY3634" fmla="*/ 486610 h 2052818"/>
                <a:gd name="connsiteX3635" fmla="*/ 944059 w 2222569"/>
                <a:gd name="connsiteY3635" fmla="*/ 499154 h 2052818"/>
                <a:gd name="connsiteX3636" fmla="*/ 941778 w 2222569"/>
                <a:gd name="connsiteY3636" fmla="*/ 503878 h 2052818"/>
                <a:gd name="connsiteX3637" fmla="*/ 945525 w 2222569"/>
                <a:gd name="connsiteY3637" fmla="*/ 512349 h 2052818"/>
                <a:gd name="connsiteX3638" fmla="*/ 945199 w 2222569"/>
                <a:gd name="connsiteY3638" fmla="*/ 519680 h 2052818"/>
                <a:gd name="connsiteX3639" fmla="*/ 943407 w 2222569"/>
                <a:gd name="connsiteY3639" fmla="*/ 522287 h 2052818"/>
                <a:gd name="connsiteX3640" fmla="*/ 946013 w 2222569"/>
                <a:gd name="connsiteY3640" fmla="*/ 525545 h 2052818"/>
                <a:gd name="connsiteX3641" fmla="*/ 946013 w 2222569"/>
                <a:gd name="connsiteY3641" fmla="*/ 530758 h 2052818"/>
                <a:gd name="connsiteX3642" fmla="*/ 947154 w 2222569"/>
                <a:gd name="connsiteY3642" fmla="*/ 535482 h 2052818"/>
                <a:gd name="connsiteX3643" fmla="*/ 942755 w 2222569"/>
                <a:gd name="connsiteY3643" fmla="*/ 541347 h 2052818"/>
                <a:gd name="connsiteX3644" fmla="*/ 933144 w 2222569"/>
                <a:gd name="connsiteY3644" fmla="*/ 543628 h 2052818"/>
                <a:gd name="connsiteX3645" fmla="*/ 929397 w 2222569"/>
                <a:gd name="connsiteY3645" fmla="*/ 546234 h 2052818"/>
                <a:gd name="connsiteX3646" fmla="*/ 918645 w 2222569"/>
                <a:gd name="connsiteY3646" fmla="*/ 547538 h 2052818"/>
                <a:gd name="connsiteX3647" fmla="*/ 910825 w 2222569"/>
                <a:gd name="connsiteY3647" fmla="*/ 546886 h 2052818"/>
                <a:gd name="connsiteX3648" fmla="*/ 896815 w 2222569"/>
                <a:gd name="connsiteY3648" fmla="*/ 553077 h 2052818"/>
                <a:gd name="connsiteX3649" fmla="*/ 887855 w 2222569"/>
                <a:gd name="connsiteY3649" fmla="*/ 553728 h 2052818"/>
                <a:gd name="connsiteX3650" fmla="*/ 876777 w 2222569"/>
                <a:gd name="connsiteY3650" fmla="*/ 558941 h 2052818"/>
                <a:gd name="connsiteX3651" fmla="*/ 872378 w 2222569"/>
                <a:gd name="connsiteY3651" fmla="*/ 558941 h 2052818"/>
                <a:gd name="connsiteX3652" fmla="*/ 866840 w 2222569"/>
                <a:gd name="connsiteY3652" fmla="*/ 562851 h 2052818"/>
                <a:gd name="connsiteX3653" fmla="*/ 858043 w 2222569"/>
                <a:gd name="connsiteY3653" fmla="*/ 563177 h 2052818"/>
                <a:gd name="connsiteX3654" fmla="*/ 854621 w 2222569"/>
                <a:gd name="connsiteY3654" fmla="*/ 565621 h 2052818"/>
                <a:gd name="connsiteX3655" fmla="*/ 852015 w 2222569"/>
                <a:gd name="connsiteY3655" fmla="*/ 562851 h 2052818"/>
                <a:gd name="connsiteX3656" fmla="*/ 848920 w 2222569"/>
                <a:gd name="connsiteY3656" fmla="*/ 564317 h 2052818"/>
                <a:gd name="connsiteX3657" fmla="*/ 840285 w 2222569"/>
                <a:gd name="connsiteY3657" fmla="*/ 566109 h 2052818"/>
                <a:gd name="connsiteX3658" fmla="*/ 837842 w 2222569"/>
                <a:gd name="connsiteY3658" fmla="*/ 572789 h 2052818"/>
                <a:gd name="connsiteX3659" fmla="*/ 833280 w 2222569"/>
                <a:gd name="connsiteY3659" fmla="*/ 577839 h 2052818"/>
                <a:gd name="connsiteX3660" fmla="*/ 830348 w 2222569"/>
                <a:gd name="connsiteY3660" fmla="*/ 577839 h 2052818"/>
                <a:gd name="connsiteX3661" fmla="*/ 828556 w 2222569"/>
                <a:gd name="connsiteY3661" fmla="*/ 585170 h 2052818"/>
                <a:gd name="connsiteX3662" fmla="*/ 821877 w 2222569"/>
                <a:gd name="connsiteY3662" fmla="*/ 586636 h 2052818"/>
                <a:gd name="connsiteX3663" fmla="*/ 816175 w 2222569"/>
                <a:gd name="connsiteY3663" fmla="*/ 591849 h 2052818"/>
                <a:gd name="connsiteX3664" fmla="*/ 809170 w 2222569"/>
                <a:gd name="connsiteY3664" fmla="*/ 591360 h 2052818"/>
                <a:gd name="connsiteX3665" fmla="*/ 804771 w 2222569"/>
                <a:gd name="connsiteY3665" fmla="*/ 584681 h 2052818"/>
                <a:gd name="connsiteX3666" fmla="*/ 802002 w 2222569"/>
                <a:gd name="connsiteY3666" fmla="*/ 591197 h 2052818"/>
                <a:gd name="connsiteX3667" fmla="*/ 801350 w 2222569"/>
                <a:gd name="connsiteY3667" fmla="*/ 596410 h 2052818"/>
                <a:gd name="connsiteX3668" fmla="*/ 795485 w 2222569"/>
                <a:gd name="connsiteY3668" fmla="*/ 598691 h 2052818"/>
                <a:gd name="connsiteX3669" fmla="*/ 788969 w 2222569"/>
                <a:gd name="connsiteY3669" fmla="*/ 605370 h 2052818"/>
                <a:gd name="connsiteX3670" fmla="*/ 787666 w 2222569"/>
                <a:gd name="connsiteY3670" fmla="*/ 609280 h 2052818"/>
                <a:gd name="connsiteX3671" fmla="*/ 781801 w 2222569"/>
                <a:gd name="connsiteY3671" fmla="*/ 615797 h 2052818"/>
                <a:gd name="connsiteX3672" fmla="*/ 782778 w 2222569"/>
                <a:gd name="connsiteY3672" fmla="*/ 619381 h 2052818"/>
                <a:gd name="connsiteX3673" fmla="*/ 775448 w 2222569"/>
                <a:gd name="connsiteY3673" fmla="*/ 626386 h 2052818"/>
                <a:gd name="connsiteX3674" fmla="*/ 770886 w 2222569"/>
                <a:gd name="connsiteY3674" fmla="*/ 631762 h 2052818"/>
                <a:gd name="connsiteX3675" fmla="*/ 763392 w 2222569"/>
                <a:gd name="connsiteY3675" fmla="*/ 631273 h 2052818"/>
                <a:gd name="connsiteX3676" fmla="*/ 756713 w 2222569"/>
                <a:gd name="connsiteY3676" fmla="*/ 634531 h 2052818"/>
                <a:gd name="connsiteX3677" fmla="*/ 752477 w 2222569"/>
                <a:gd name="connsiteY3677" fmla="*/ 634531 h 2052818"/>
                <a:gd name="connsiteX3678" fmla="*/ 749545 w 2222569"/>
                <a:gd name="connsiteY3678" fmla="*/ 630133 h 2052818"/>
                <a:gd name="connsiteX3679" fmla="*/ 753455 w 2222569"/>
                <a:gd name="connsiteY3679" fmla="*/ 627037 h 2052818"/>
                <a:gd name="connsiteX3680" fmla="*/ 753129 w 2222569"/>
                <a:gd name="connsiteY3680" fmla="*/ 620847 h 2052818"/>
                <a:gd name="connsiteX3681" fmla="*/ 750360 w 2222569"/>
                <a:gd name="connsiteY3681" fmla="*/ 617914 h 2052818"/>
                <a:gd name="connsiteX3682" fmla="*/ 746124 w 2222569"/>
                <a:gd name="connsiteY3682" fmla="*/ 621824 h 2052818"/>
                <a:gd name="connsiteX3683" fmla="*/ 746124 w 2222569"/>
                <a:gd name="connsiteY3683" fmla="*/ 624268 h 2052818"/>
                <a:gd name="connsiteX3684" fmla="*/ 743191 w 2222569"/>
                <a:gd name="connsiteY3684" fmla="*/ 625734 h 2052818"/>
                <a:gd name="connsiteX3685" fmla="*/ 735698 w 2222569"/>
                <a:gd name="connsiteY3685" fmla="*/ 632576 h 2052818"/>
                <a:gd name="connsiteX3686" fmla="*/ 729181 w 2222569"/>
                <a:gd name="connsiteY3686" fmla="*/ 634205 h 2052818"/>
                <a:gd name="connsiteX3687" fmla="*/ 724620 w 2222569"/>
                <a:gd name="connsiteY3687" fmla="*/ 633391 h 2052818"/>
                <a:gd name="connsiteX3688" fmla="*/ 719244 w 2222569"/>
                <a:gd name="connsiteY3688" fmla="*/ 634857 h 2052818"/>
                <a:gd name="connsiteX3689" fmla="*/ 715171 w 2222569"/>
                <a:gd name="connsiteY3689" fmla="*/ 638767 h 2052818"/>
                <a:gd name="connsiteX3690" fmla="*/ 712728 w 2222569"/>
                <a:gd name="connsiteY3690" fmla="*/ 637626 h 2052818"/>
                <a:gd name="connsiteX3691" fmla="*/ 708818 w 2222569"/>
                <a:gd name="connsiteY3691" fmla="*/ 637626 h 2052818"/>
                <a:gd name="connsiteX3692" fmla="*/ 709306 w 2222569"/>
                <a:gd name="connsiteY3692" fmla="*/ 635346 h 2052818"/>
                <a:gd name="connsiteX3693" fmla="*/ 709306 w 2222569"/>
                <a:gd name="connsiteY3693" fmla="*/ 635346 h 2052818"/>
                <a:gd name="connsiteX3694" fmla="*/ 1359314 w 2222569"/>
                <a:gd name="connsiteY3694" fmla="*/ 558127 h 2052818"/>
                <a:gd name="connsiteX3695" fmla="*/ 1361432 w 2222569"/>
                <a:gd name="connsiteY3695" fmla="*/ 559267 h 2052818"/>
                <a:gd name="connsiteX3696" fmla="*/ 1363387 w 2222569"/>
                <a:gd name="connsiteY3696" fmla="*/ 563014 h 2052818"/>
                <a:gd name="connsiteX3697" fmla="*/ 1362083 w 2222569"/>
                <a:gd name="connsiteY3697" fmla="*/ 567575 h 2052818"/>
                <a:gd name="connsiteX3698" fmla="*/ 1360291 w 2222569"/>
                <a:gd name="connsiteY3698" fmla="*/ 568879 h 2052818"/>
                <a:gd name="connsiteX3699" fmla="*/ 1358499 w 2222569"/>
                <a:gd name="connsiteY3699" fmla="*/ 566435 h 2052818"/>
                <a:gd name="connsiteX3700" fmla="*/ 1357033 w 2222569"/>
                <a:gd name="connsiteY3700" fmla="*/ 560733 h 2052818"/>
                <a:gd name="connsiteX3701" fmla="*/ 1359314 w 2222569"/>
                <a:gd name="connsiteY3701" fmla="*/ 558127 h 2052818"/>
                <a:gd name="connsiteX3702" fmla="*/ 1359314 w 2222569"/>
                <a:gd name="connsiteY3702" fmla="*/ 558127 h 2052818"/>
                <a:gd name="connsiteX3703" fmla="*/ 1309138 w 2222569"/>
                <a:gd name="connsiteY3703" fmla="*/ 558941 h 2052818"/>
                <a:gd name="connsiteX3704" fmla="*/ 1312396 w 2222569"/>
                <a:gd name="connsiteY3704" fmla="*/ 553565 h 2052818"/>
                <a:gd name="connsiteX3705" fmla="*/ 1318424 w 2222569"/>
                <a:gd name="connsiteY3705" fmla="*/ 551122 h 2052818"/>
                <a:gd name="connsiteX3706" fmla="*/ 1322008 w 2222569"/>
                <a:gd name="connsiteY3706" fmla="*/ 553565 h 2052818"/>
                <a:gd name="connsiteX3707" fmla="*/ 1320379 w 2222569"/>
                <a:gd name="connsiteY3707" fmla="*/ 556498 h 2052818"/>
                <a:gd name="connsiteX3708" fmla="*/ 1316795 w 2222569"/>
                <a:gd name="connsiteY3708" fmla="*/ 556498 h 2052818"/>
                <a:gd name="connsiteX3709" fmla="*/ 1313374 w 2222569"/>
                <a:gd name="connsiteY3709" fmla="*/ 559267 h 2052818"/>
                <a:gd name="connsiteX3710" fmla="*/ 1309301 w 2222569"/>
                <a:gd name="connsiteY3710" fmla="*/ 558778 h 2052818"/>
                <a:gd name="connsiteX3711" fmla="*/ 1309301 w 2222569"/>
                <a:gd name="connsiteY3711" fmla="*/ 558778 h 2052818"/>
                <a:gd name="connsiteX3712" fmla="*/ 1260591 w 2222569"/>
                <a:gd name="connsiteY3712" fmla="*/ 587125 h 2052818"/>
                <a:gd name="connsiteX3713" fmla="*/ 1262546 w 2222569"/>
                <a:gd name="connsiteY3713" fmla="*/ 590383 h 2052818"/>
                <a:gd name="connsiteX3714" fmla="*/ 1268899 w 2222569"/>
                <a:gd name="connsiteY3714" fmla="*/ 592175 h 2052818"/>
                <a:gd name="connsiteX3715" fmla="*/ 1275416 w 2222569"/>
                <a:gd name="connsiteY3715" fmla="*/ 597062 h 2052818"/>
                <a:gd name="connsiteX3716" fmla="*/ 1277696 w 2222569"/>
                <a:gd name="connsiteY3716" fmla="*/ 594456 h 2052818"/>
                <a:gd name="connsiteX3717" fmla="*/ 1282421 w 2222569"/>
                <a:gd name="connsiteY3717" fmla="*/ 596247 h 2052818"/>
                <a:gd name="connsiteX3718" fmla="*/ 1288448 w 2222569"/>
                <a:gd name="connsiteY3718" fmla="*/ 593152 h 2052818"/>
                <a:gd name="connsiteX3719" fmla="*/ 1292358 w 2222569"/>
                <a:gd name="connsiteY3719" fmla="*/ 594618 h 2052818"/>
                <a:gd name="connsiteX3720" fmla="*/ 1295942 w 2222569"/>
                <a:gd name="connsiteY3720" fmla="*/ 593641 h 2052818"/>
                <a:gd name="connsiteX3721" fmla="*/ 1299363 w 2222569"/>
                <a:gd name="connsiteY3721" fmla="*/ 589731 h 2052818"/>
                <a:gd name="connsiteX3722" fmla="*/ 1305717 w 2222569"/>
                <a:gd name="connsiteY3722" fmla="*/ 590057 h 2052818"/>
                <a:gd name="connsiteX3723" fmla="*/ 1305228 w 2222569"/>
                <a:gd name="connsiteY3723" fmla="*/ 586310 h 2052818"/>
                <a:gd name="connsiteX3724" fmla="*/ 1297897 w 2222569"/>
                <a:gd name="connsiteY3724" fmla="*/ 581912 h 2052818"/>
                <a:gd name="connsiteX3725" fmla="*/ 1293825 w 2222569"/>
                <a:gd name="connsiteY3725" fmla="*/ 584355 h 2052818"/>
                <a:gd name="connsiteX3726" fmla="*/ 1287797 w 2222569"/>
                <a:gd name="connsiteY3726" fmla="*/ 585170 h 2052818"/>
                <a:gd name="connsiteX3727" fmla="*/ 1285353 w 2222569"/>
                <a:gd name="connsiteY3727" fmla="*/ 583704 h 2052818"/>
                <a:gd name="connsiteX3728" fmla="*/ 1280303 w 2222569"/>
                <a:gd name="connsiteY3728" fmla="*/ 586636 h 2052818"/>
                <a:gd name="connsiteX3729" fmla="*/ 1273461 w 2222569"/>
                <a:gd name="connsiteY3729" fmla="*/ 583378 h 2052818"/>
                <a:gd name="connsiteX3730" fmla="*/ 1268248 w 2222569"/>
                <a:gd name="connsiteY3730" fmla="*/ 587125 h 2052818"/>
                <a:gd name="connsiteX3731" fmla="*/ 1262383 w 2222569"/>
                <a:gd name="connsiteY3731" fmla="*/ 586473 h 2052818"/>
                <a:gd name="connsiteX3732" fmla="*/ 1260754 w 2222569"/>
                <a:gd name="connsiteY3732" fmla="*/ 587287 h 2052818"/>
                <a:gd name="connsiteX3733" fmla="*/ 1260754 w 2222569"/>
                <a:gd name="connsiteY3733" fmla="*/ 587287 h 2052818"/>
                <a:gd name="connsiteX3734" fmla="*/ 1231919 w 2222569"/>
                <a:gd name="connsiteY3734" fmla="*/ 765347 h 2052818"/>
                <a:gd name="connsiteX3735" fmla="*/ 1230290 w 2222569"/>
                <a:gd name="connsiteY3735" fmla="*/ 763555 h 2052818"/>
                <a:gd name="connsiteX3736" fmla="*/ 1231593 w 2222569"/>
                <a:gd name="connsiteY3736" fmla="*/ 760460 h 2052818"/>
                <a:gd name="connsiteX3737" fmla="*/ 1233874 w 2222569"/>
                <a:gd name="connsiteY3737" fmla="*/ 759645 h 2052818"/>
                <a:gd name="connsiteX3738" fmla="*/ 1233874 w 2222569"/>
                <a:gd name="connsiteY3738" fmla="*/ 764370 h 2052818"/>
                <a:gd name="connsiteX3739" fmla="*/ 1232082 w 2222569"/>
                <a:gd name="connsiteY3739" fmla="*/ 765184 h 2052818"/>
                <a:gd name="connsiteX3740" fmla="*/ 1232082 w 2222569"/>
                <a:gd name="connsiteY3740" fmla="*/ 765184 h 2052818"/>
                <a:gd name="connsiteX3741" fmla="*/ 1201618 w 2222569"/>
                <a:gd name="connsiteY3741" fmla="*/ 760297 h 2052818"/>
                <a:gd name="connsiteX3742" fmla="*/ 1198523 w 2222569"/>
                <a:gd name="connsiteY3742" fmla="*/ 757690 h 2052818"/>
                <a:gd name="connsiteX3743" fmla="*/ 1198197 w 2222569"/>
                <a:gd name="connsiteY3743" fmla="*/ 751989 h 2052818"/>
                <a:gd name="connsiteX3744" fmla="*/ 1196242 w 2222569"/>
                <a:gd name="connsiteY3744" fmla="*/ 749708 h 2052818"/>
                <a:gd name="connsiteX3745" fmla="*/ 1193147 w 2222569"/>
                <a:gd name="connsiteY3745" fmla="*/ 752477 h 2052818"/>
                <a:gd name="connsiteX3746" fmla="*/ 1192006 w 2222569"/>
                <a:gd name="connsiteY3746" fmla="*/ 749708 h 2052818"/>
                <a:gd name="connsiteX3747" fmla="*/ 1193310 w 2222569"/>
                <a:gd name="connsiteY3747" fmla="*/ 744658 h 2052818"/>
                <a:gd name="connsiteX3748" fmla="*/ 1192169 w 2222569"/>
                <a:gd name="connsiteY3748" fmla="*/ 739282 h 2052818"/>
                <a:gd name="connsiteX3749" fmla="*/ 1188748 w 2222569"/>
                <a:gd name="connsiteY3749" fmla="*/ 735535 h 2052818"/>
                <a:gd name="connsiteX3750" fmla="*/ 1191680 w 2222569"/>
                <a:gd name="connsiteY3750" fmla="*/ 729833 h 2052818"/>
                <a:gd name="connsiteX3751" fmla="*/ 1190703 w 2222569"/>
                <a:gd name="connsiteY3751" fmla="*/ 722502 h 2052818"/>
                <a:gd name="connsiteX3752" fmla="*/ 1192332 w 2222569"/>
                <a:gd name="connsiteY3752" fmla="*/ 719407 h 2052818"/>
                <a:gd name="connsiteX3753" fmla="*/ 1188585 w 2222569"/>
                <a:gd name="connsiteY3753" fmla="*/ 717615 h 2052818"/>
                <a:gd name="connsiteX3754" fmla="*/ 1186304 w 2222569"/>
                <a:gd name="connsiteY3754" fmla="*/ 713216 h 2052818"/>
                <a:gd name="connsiteX3755" fmla="*/ 1186304 w 2222569"/>
                <a:gd name="connsiteY3755" fmla="*/ 709144 h 2052818"/>
                <a:gd name="connsiteX3756" fmla="*/ 1182069 w 2222569"/>
                <a:gd name="connsiteY3756" fmla="*/ 703768 h 2052818"/>
                <a:gd name="connsiteX3757" fmla="*/ 1182395 w 2222569"/>
                <a:gd name="connsiteY3757" fmla="*/ 695785 h 2052818"/>
                <a:gd name="connsiteX3758" fmla="*/ 1179136 w 2222569"/>
                <a:gd name="connsiteY3758" fmla="*/ 689757 h 2052818"/>
                <a:gd name="connsiteX3759" fmla="*/ 1176530 w 2222569"/>
                <a:gd name="connsiteY3759" fmla="*/ 689757 h 2052818"/>
                <a:gd name="connsiteX3760" fmla="*/ 1174901 w 2222569"/>
                <a:gd name="connsiteY3760" fmla="*/ 687314 h 2052818"/>
                <a:gd name="connsiteX3761" fmla="*/ 1175227 w 2222569"/>
                <a:gd name="connsiteY3761" fmla="*/ 681612 h 2052818"/>
                <a:gd name="connsiteX3762" fmla="*/ 1172457 w 2222569"/>
                <a:gd name="connsiteY3762" fmla="*/ 680146 h 2052818"/>
                <a:gd name="connsiteX3763" fmla="*/ 1168547 w 2222569"/>
                <a:gd name="connsiteY3763" fmla="*/ 682589 h 2052818"/>
                <a:gd name="connsiteX3764" fmla="*/ 1166593 w 2222569"/>
                <a:gd name="connsiteY3764" fmla="*/ 680634 h 2052818"/>
                <a:gd name="connsiteX3765" fmla="*/ 1162845 w 2222569"/>
                <a:gd name="connsiteY3765" fmla="*/ 681286 h 2052818"/>
                <a:gd name="connsiteX3766" fmla="*/ 1160402 w 2222569"/>
                <a:gd name="connsiteY3766" fmla="*/ 678842 h 2052818"/>
                <a:gd name="connsiteX3767" fmla="*/ 1160076 w 2222569"/>
                <a:gd name="connsiteY3767" fmla="*/ 673304 h 2052818"/>
                <a:gd name="connsiteX3768" fmla="*/ 1165289 w 2222569"/>
                <a:gd name="connsiteY3768" fmla="*/ 670534 h 2052818"/>
                <a:gd name="connsiteX3769" fmla="*/ 1166429 w 2222569"/>
                <a:gd name="connsiteY3769" fmla="*/ 663366 h 2052818"/>
                <a:gd name="connsiteX3770" fmla="*/ 1163823 w 2222569"/>
                <a:gd name="connsiteY3770" fmla="*/ 659945 h 2052818"/>
                <a:gd name="connsiteX3771" fmla="*/ 1165126 w 2222569"/>
                <a:gd name="connsiteY3771" fmla="*/ 657013 h 2052818"/>
                <a:gd name="connsiteX3772" fmla="*/ 1165126 w 2222569"/>
                <a:gd name="connsiteY3772" fmla="*/ 648378 h 2052818"/>
                <a:gd name="connsiteX3773" fmla="*/ 1163334 w 2222569"/>
                <a:gd name="connsiteY3773" fmla="*/ 644957 h 2052818"/>
                <a:gd name="connsiteX3774" fmla="*/ 1169362 w 2222569"/>
                <a:gd name="connsiteY3774" fmla="*/ 637138 h 2052818"/>
                <a:gd name="connsiteX3775" fmla="*/ 1174412 w 2222569"/>
                <a:gd name="connsiteY3775" fmla="*/ 635346 h 2052818"/>
                <a:gd name="connsiteX3776" fmla="*/ 1176367 w 2222569"/>
                <a:gd name="connsiteY3776" fmla="*/ 632087 h 2052818"/>
                <a:gd name="connsiteX3777" fmla="*/ 1178974 w 2222569"/>
                <a:gd name="connsiteY3777" fmla="*/ 631273 h 2052818"/>
                <a:gd name="connsiteX3778" fmla="*/ 1180440 w 2222569"/>
                <a:gd name="connsiteY3778" fmla="*/ 633717 h 2052818"/>
                <a:gd name="connsiteX3779" fmla="*/ 1187934 w 2222569"/>
                <a:gd name="connsiteY3779" fmla="*/ 631273 h 2052818"/>
                <a:gd name="connsiteX3780" fmla="*/ 1192332 w 2222569"/>
                <a:gd name="connsiteY3780" fmla="*/ 632576 h 2052818"/>
                <a:gd name="connsiteX3781" fmla="*/ 1194613 w 2222569"/>
                <a:gd name="connsiteY3781" fmla="*/ 635672 h 2052818"/>
                <a:gd name="connsiteX3782" fmla="*/ 1192658 w 2222569"/>
                <a:gd name="connsiteY3782" fmla="*/ 638115 h 2052818"/>
                <a:gd name="connsiteX3783" fmla="*/ 1190377 w 2222569"/>
                <a:gd name="connsiteY3783" fmla="*/ 638767 h 2052818"/>
                <a:gd name="connsiteX3784" fmla="*/ 1190377 w 2222569"/>
                <a:gd name="connsiteY3784" fmla="*/ 641373 h 2052818"/>
                <a:gd name="connsiteX3785" fmla="*/ 1194450 w 2222569"/>
                <a:gd name="connsiteY3785" fmla="*/ 642188 h 2052818"/>
                <a:gd name="connsiteX3786" fmla="*/ 1195427 w 2222569"/>
                <a:gd name="connsiteY3786" fmla="*/ 645120 h 2052818"/>
                <a:gd name="connsiteX3787" fmla="*/ 1194939 w 2222569"/>
                <a:gd name="connsiteY3787" fmla="*/ 649519 h 2052818"/>
                <a:gd name="connsiteX3788" fmla="*/ 1201129 w 2222569"/>
                <a:gd name="connsiteY3788" fmla="*/ 656361 h 2052818"/>
                <a:gd name="connsiteX3789" fmla="*/ 1201129 w 2222569"/>
                <a:gd name="connsiteY3789" fmla="*/ 660760 h 2052818"/>
                <a:gd name="connsiteX3790" fmla="*/ 1204224 w 2222569"/>
                <a:gd name="connsiteY3790" fmla="*/ 664995 h 2052818"/>
                <a:gd name="connsiteX3791" fmla="*/ 1208949 w 2222569"/>
                <a:gd name="connsiteY3791" fmla="*/ 665810 h 2052818"/>
                <a:gd name="connsiteX3792" fmla="*/ 1211229 w 2222569"/>
                <a:gd name="connsiteY3792" fmla="*/ 664018 h 2052818"/>
                <a:gd name="connsiteX3793" fmla="*/ 1210252 w 2222569"/>
                <a:gd name="connsiteY3793" fmla="*/ 659782 h 2052818"/>
                <a:gd name="connsiteX3794" fmla="*/ 1213021 w 2222569"/>
                <a:gd name="connsiteY3794" fmla="*/ 657827 h 2052818"/>
                <a:gd name="connsiteX3795" fmla="*/ 1216280 w 2222569"/>
                <a:gd name="connsiteY3795" fmla="*/ 652288 h 2052818"/>
                <a:gd name="connsiteX3796" fmla="*/ 1215302 w 2222569"/>
                <a:gd name="connsiteY3796" fmla="*/ 649030 h 2052818"/>
                <a:gd name="connsiteX3797" fmla="*/ 1218723 w 2222569"/>
                <a:gd name="connsiteY3797" fmla="*/ 645772 h 2052818"/>
                <a:gd name="connsiteX3798" fmla="*/ 1219538 w 2222569"/>
                <a:gd name="connsiteY3798" fmla="*/ 642025 h 2052818"/>
                <a:gd name="connsiteX3799" fmla="*/ 1217746 w 2222569"/>
                <a:gd name="connsiteY3799" fmla="*/ 637626 h 2052818"/>
                <a:gd name="connsiteX3800" fmla="*/ 1219538 w 2222569"/>
                <a:gd name="connsiteY3800" fmla="*/ 635346 h 2052818"/>
                <a:gd name="connsiteX3801" fmla="*/ 1224099 w 2222569"/>
                <a:gd name="connsiteY3801" fmla="*/ 634205 h 2052818"/>
                <a:gd name="connsiteX3802" fmla="*/ 1227358 w 2222569"/>
                <a:gd name="connsiteY3802" fmla="*/ 635509 h 2052818"/>
                <a:gd name="connsiteX3803" fmla="*/ 1229801 w 2222569"/>
                <a:gd name="connsiteY3803" fmla="*/ 640722 h 2052818"/>
                <a:gd name="connsiteX3804" fmla="*/ 1233222 w 2222569"/>
                <a:gd name="connsiteY3804" fmla="*/ 640722 h 2052818"/>
                <a:gd name="connsiteX3805" fmla="*/ 1232734 w 2222569"/>
                <a:gd name="connsiteY3805" fmla="*/ 637626 h 2052818"/>
                <a:gd name="connsiteX3806" fmla="*/ 1228987 w 2222569"/>
                <a:gd name="connsiteY3806" fmla="*/ 631599 h 2052818"/>
                <a:gd name="connsiteX3807" fmla="*/ 1227846 w 2222569"/>
                <a:gd name="connsiteY3807" fmla="*/ 626874 h 2052818"/>
                <a:gd name="connsiteX3808" fmla="*/ 1226380 w 2222569"/>
                <a:gd name="connsiteY3808" fmla="*/ 626874 h 2052818"/>
                <a:gd name="connsiteX3809" fmla="*/ 1223936 w 2222569"/>
                <a:gd name="connsiteY3809" fmla="*/ 631436 h 2052818"/>
                <a:gd name="connsiteX3810" fmla="*/ 1218235 w 2222569"/>
                <a:gd name="connsiteY3810" fmla="*/ 631925 h 2052818"/>
                <a:gd name="connsiteX3811" fmla="*/ 1213836 w 2222569"/>
                <a:gd name="connsiteY3811" fmla="*/ 625734 h 2052818"/>
                <a:gd name="connsiteX3812" fmla="*/ 1213836 w 2222569"/>
                <a:gd name="connsiteY3812" fmla="*/ 622476 h 2052818"/>
                <a:gd name="connsiteX3813" fmla="*/ 1209763 w 2222569"/>
                <a:gd name="connsiteY3813" fmla="*/ 617263 h 2052818"/>
                <a:gd name="connsiteX3814" fmla="*/ 1209763 w 2222569"/>
                <a:gd name="connsiteY3814" fmla="*/ 611398 h 2052818"/>
                <a:gd name="connsiteX3815" fmla="*/ 1212696 w 2222569"/>
                <a:gd name="connsiteY3815" fmla="*/ 608303 h 2052818"/>
                <a:gd name="connsiteX3816" fmla="*/ 1216605 w 2222569"/>
                <a:gd name="connsiteY3816" fmla="*/ 608791 h 2052818"/>
                <a:gd name="connsiteX3817" fmla="*/ 1217746 w 2222569"/>
                <a:gd name="connsiteY3817" fmla="*/ 604719 h 2052818"/>
                <a:gd name="connsiteX3818" fmla="*/ 1221656 w 2222569"/>
                <a:gd name="connsiteY3818" fmla="*/ 606999 h 2052818"/>
                <a:gd name="connsiteX3819" fmla="*/ 1224262 w 2222569"/>
                <a:gd name="connsiteY3819" fmla="*/ 611398 h 2052818"/>
                <a:gd name="connsiteX3820" fmla="*/ 1225891 w 2222569"/>
                <a:gd name="connsiteY3820" fmla="*/ 621335 h 2052818"/>
                <a:gd name="connsiteX3821" fmla="*/ 1227032 w 2222569"/>
                <a:gd name="connsiteY3821" fmla="*/ 621335 h 2052818"/>
                <a:gd name="connsiteX3822" fmla="*/ 1228172 w 2222569"/>
                <a:gd name="connsiteY3822" fmla="*/ 616122 h 2052818"/>
                <a:gd name="connsiteX3823" fmla="*/ 1229964 w 2222569"/>
                <a:gd name="connsiteY3823" fmla="*/ 613679 h 2052818"/>
                <a:gd name="connsiteX3824" fmla="*/ 1229964 w 2222569"/>
                <a:gd name="connsiteY3824" fmla="*/ 608303 h 2052818"/>
                <a:gd name="connsiteX3825" fmla="*/ 1226054 w 2222569"/>
                <a:gd name="connsiteY3825" fmla="*/ 606348 h 2052818"/>
                <a:gd name="connsiteX3826" fmla="*/ 1225566 w 2222569"/>
                <a:gd name="connsiteY3826" fmla="*/ 601624 h 2052818"/>
                <a:gd name="connsiteX3827" fmla="*/ 1224425 w 2222569"/>
                <a:gd name="connsiteY3827" fmla="*/ 596573 h 2052818"/>
                <a:gd name="connsiteX3828" fmla="*/ 1226706 w 2222569"/>
                <a:gd name="connsiteY3828" fmla="*/ 595270 h 2052818"/>
                <a:gd name="connsiteX3829" fmla="*/ 1228172 w 2222569"/>
                <a:gd name="connsiteY3829" fmla="*/ 590057 h 2052818"/>
                <a:gd name="connsiteX3830" fmla="*/ 1232896 w 2222569"/>
                <a:gd name="connsiteY3830" fmla="*/ 588265 h 2052818"/>
                <a:gd name="connsiteX3831" fmla="*/ 1235177 w 2222569"/>
                <a:gd name="connsiteY3831" fmla="*/ 589405 h 2052818"/>
                <a:gd name="connsiteX3832" fmla="*/ 1237621 w 2222569"/>
                <a:gd name="connsiteY3832" fmla="*/ 588591 h 2052818"/>
                <a:gd name="connsiteX3833" fmla="*/ 1241368 w 2222569"/>
                <a:gd name="connsiteY3833" fmla="*/ 594130 h 2052818"/>
                <a:gd name="connsiteX3834" fmla="*/ 1247395 w 2222569"/>
                <a:gd name="connsiteY3834" fmla="*/ 595596 h 2052818"/>
                <a:gd name="connsiteX3835" fmla="*/ 1249839 w 2222569"/>
                <a:gd name="connsiteY3835" fmla="*/ 591360 h 2052818"/>
                <a:gd name="connsiteX3836" fmla="*/ 1244789 w 2222569"/>
                <a:gd name="connsiteY3836" fmla="*/ 591360 h 2052818"/>
                <a:gd name="connsiteX3837" fmla="*/ 1242508 w 2222569"/>
                <a:gd name="connsiteY3837" fmla="*/ 588754 h 2052818"/>
                <a:gd name="connsiteX3838" fmla="*/ 1245115 w 2222569"/>
                <a:gd name="connsiteY3838" fmla="*/ 586799 h 2052818"/>
                <a:gd name="connsiteX3839" fmla="*/ 1249024 w 2222569"/>
                <a:gd name="connsiteY3839" fmla="*/ 585007 h 2052818"/>
                <a:gd name="connsiteX3840" fmla="*/ 1255704 w 2222569"/>
                <a:gd name="connsiteY3840" fmla="*/ 585821 h 2052818"/>
                <a:gd name="connsiteX3841" fmla="*/ 1257170 w 2222569"/>
                <a:gd name="connsiteY3841" fmla="*/ 588265 h 2052818"/>
                <a:gd name="connsiteX3842" fmla="*/ 1254889 w 2222569"/>
                <a:gd name="connsiteY3842" fmla="*/ 590057 h 2052818"/>
                <a:gd name="connsiteX3843" fmla="*/ 1254889 w 2222569"/>
                <a:gd name="connsiteY3843" fmla="*/ 593152 h 2052818"/>
                <a:gd name="connsiteX3844" fmla="*/ 1258636 w 2222569"/>
                <a:gd name="connsiteY3844" fmla="*/ 595596 h 2052818"/>
                <a:gd name="connsiteX3845" fmla="*/ 1262220 w 2222569"/>
                <a:gd name="connsiteY3845" fmla="*/ 600483 h 2052818"/>
                <a:gd name="connsiteX3846" fmla="*/ 1266293 w 2222569"/>
                <a:gd name="connsiteY3846" fmla="*/ 599017 h 2052818"/>
                <a:gd name="connsiteX3847" fmla="*/ 1271506 w 2222569"/>
                <a:gd name="connsiteY3847" fmla="*/ 601461 h 2052818"/>
                <a:gd name="connsiteX3848" fmla="*/ 1277534 w 2222569"/>
                <a:gd name="connsiteY3848" fmla="*/ 601786 h 2052818"/>
                <a:gd name="connsiteX3849" fmla="*/ 1280140 w 2222569"/>
                <a:gd name="connsiteY3849" fmla="*/ 599343 h 2052818"/>
                <a:gd name="connsiteX3850" fmla="*/ 1284050 w 2222569"/>
                <a:gd name="connsiteY3850" fmla="*/ 600320 h 2052818"/>
                <a:gd name="connsiteX3851" fmla="*/ 1296268 w 2222569"/>
                <a:gd name="connsiteY3851" fmla="*/ 600320 h 2052818"/>
                <a:gd name="connsiteX3852" fmla="*/ 1300178 w 2222569"/>
                <a:gd name="connsiteY3852" fmla="*/ 604556 h 2052818"/>
                <a:gd name="connsiteX3853" fmla="*/ 1303273 w 2222569"/>
                <a:gd name="connsiteY3853" fmla="*/ 603578 h 2052818"/>
                <a:gd name="connsiteX3854" fmla="*/ 1304251 w 2222569"/>
                <a:gd name="connsiteY3854" fmla="*/ 606674 h 2052818"/>
                <a:gd name="connsiteX3855" fmla="*/ 1303599 w 2222569"/>
                <a:gd name="connsiteY3855" fmla="*/ 609443 h 2052818"/>
                <a:gd name="connsiteX3856" fmla="*/ 1304902 w 2222569"/>
                <a:gd name="connsiteY3856" fmla="*/ 613190 h 2052818"/>
                <a:gd name="connsiteX3857" fmla="*/ 1302459 w 2222569"/>
                <a:gd name="connsiteY3857" fmla="*/ 617263 h 2052818"/>
                <a:gd name="connsiteX3858" fmla="*/ 1295942 w 2222569"/>
                <a:gd name="connsiteY3858" fmla="*/ 621173 h 2052818"/>
                <a:gd name="connsiteX3859" fmla="*/ 1292033 w 2222569"/>
                <a:gd name="connsiteY3859" fmla="*/ 619543 h 2052818"/>
                <a:gd name="connsiteX3860" fmla="*/ 1291055 w 2222569"/>
                <a:gd name="connsiteY3860" fmla="*/ 617100 h 2052818"/>
                <a:gd name="connsiteX3861" fmla="*/ 1288448 w 2222569"/>
                <a:gd name="connsiteY3861" fmla="*/ 619706 h 2052818"/>
                <a:gd name="connsiteX3862" fmla="*/ 1285353 w 2222569"/>
                <a:gd name="connsiteY3862" fmla="*/ 620847 h 2052818"/>
                <a:gd name="connsiteX3863" fmla="*/ 1286494 w 2222569"/>
                <a:gd name="connsiteY3863" fmla="*/ 623616 h 2052818"/>
                <a:gd name="connsiteX3864" fmla="*/ 1292033 w 2222569"/>
                <a:gd name="connsiteY3864" fmla="*/ 627037 h 2052818"/>
                <a:gd name="connsiteX3865" fmla="*/ 1290240 w 2222569"/>
                <a:gd name="connsiteY3865" fmla="*/ 630133 h 2052818"/>
                <a:gd name="connsiteX3866" fmla="*/ 1289263 w 2222569"/>
                <a:gd name="connsiteY3866" fmla="*/ 636649 h 2052818"/>
                <a:gd name="connsiteX3867" fmla="*/ 1286656 w 2222569"/>
                <a:gd name="connsiteY3867" fmla="*/ 637952 h 2052818"/>
                <a:gd name="connsiteX3868" fmla="*/ 1284864 w 2222569"/>
                <a:gd name="connsiteY3868" fmla="*/ 636160 h 2052818"/>
                <a:gd name="connsiteX3869" fmla="*/ 1281118 w 2222569"/>
                <a:gd name="connsiteY3869" fmla="*/ 636486 h 2052818"/>
                <a:gd name="connsiteX3870" fmla="*/ 1275742 w 2222569"/>
                <a:gd name="connsiteY3870" fmla="*/ 637789 h 2052818"/>
                <a:gd name="connsiteX3871" fmla="*/ 1273950 w 2222569"/>
                <a:gd name="connsiteY3871" fmla="*/ 640559 h 2052818"/>
                <a:gd name="connsiteX3872" fmla="*/ 1264175 w 2222569"/>
                <a:gd name="connsiteY3872" fmla="*/ 642839 h 2052818"/>
                <a:gd name="connsiteX3873" fmla="*/ 1258310 w 2222569"/>
                <a:gd name="connsiteY3873" fmla="*/ 647564 h 2052818"/>
                <a:gd name="connsiteX3874" fmla="*/ 1255378 w 2222569"/>
                <a:gd name="connsiteY3874" fmla="*/ 647890 h 2052818"/>
                <a:gd name="connsiteX3875" fmla="*/ 1251305 w 2222569"/>
                <a:gd name="connsiteY3875" fmla="*/ 654080 h 2052818"/>
                <a:gd name="connsiteX3876" fmla="*/ 1251305 w 2222569"/>
                <a:gd name="connsiteY3876" fmla="*/ 657013 h 2052818"/>
                <a:gd name="connsiteX3877" fmla="*/ 1254726 w 2222569"/>
                <a:gd name="connsiteY3877" fmla="*/ 656687 h 2052818"/>
                <a:gd name="connsiteX3878" fmla="*/ 1256029 w 2222569"/>
                <a:gd name="connsiteY3878" fmla="*/ 654406 h 2052818"/>
                <a:gd name="connsiteX3879" fmla="*/ 1263523 w 2222569"/>
                <a:gd name="connsiteY3879" fmla="*/ 652777 h 2052818"/>
                <a:gd name="connsiteX3880" fmla="*/ 1266293 w 2222569"/>
                <a:gd name="connsiteY3880" fmla="*/ 651637 h 2052818"/>
                <a:gd name="connsiteX3881" fmla="*/ 1274112 w 2222569"/>
                <a:gd name="connsiteY3881" fmla="*/ 656035 h 2052818"/>
                <a:gd name="connsiteX3882" fmla="*/ 1275579 w 2222569"/>
                <a:gd name="connsiteY3882" fmla="*/ 661411 h 2052818"/>
                <a:gd name="connsiteX3883" fmla="*/ 1273298 w 2222569"/>
                <a:gd name="connsiteY3883" fmla="*/ 663040 h 2052818"/>
                <a:gd name="connsiteX3884" fmla="*/ 1270040 w 2222569"/>
                <a:gd name="connsiteY3884" fmla="*/ 663529 h 2052818"/>
                <a:gd name="connsiteX3885" fmla="*/ 1273787 w 2222569"/>
                <a:gd name="connsiteY3885" fmla="*/ 665158 h 2052818"/>
                <a:gd name="connsiteX3886" fmla="*/ 1274764 w 2222569"/>
                <a:gd name="connsiteY3886" fmla="*/ 669231 h 2052818"/>
                <a:gd name="connsiteX3887" fmla="*/ 1274275 w 2222569"/>
                <a:gd name="connsiteY3887" fmla="*/ 673955 h 2052818"/>
                <a:gd name="connsiteX3888" fmla="*/ 1270366 w 2222569"/>
                <a:gd name="connsiteY3888" fmla="*/ 676562 h 2052818"/>
                <a:gd name="connsiteX3889" fmla="*/ 1270366 w 2222569"/>
                <a:gd name="connsiteY3889" fmla="*/ 681775 h 2052818"/>
                <a:gd name="connsiteX3890" fmla="*/ 1271832 w 2222569"/>
                <a:gd name="connsiteY3890" fmla="*/ 684056 h 2052818"/>
                <a:gd name="connsiteX3891" fmla="*/ 1274764 w 2222569"/>
                <a:gd name="connsiteY3891" fmla="*/ 678354 h 2052818"/>
                <a:gd name="connsiteX3892" fmla="*/ 1280303 w 2222569"/>
                <a:gd name="connsiteY3892" fmla="*/ 676399 h 2052818"/>
                <a:gd name="connsiteX3893" fmla="*/ 1282095 w 2222569"/>
                <a:gd name="connsiteY3893" fmla="*/ 674118 h 2052818"/>
                <a:gd name="connsiteX3894" fmla="*/ 1285027 w 2222569"/>
                <a:gd name="connsiteY3894" fmla="*/ 674118 h 2052818"/>
                <a:gd name="connsiteX3895" fmla="*/ 1282258 w 2222569"/>
                <a:gd name="connsiteY3895" fmla="*/ 677539 h 2052818"/>
                <a:gd name="connsiteX3896" fmla="*/ 1282747 w 2222569"/>
                <a:gd name="connsiteY3896" fmla="*/ 684870 h 2052818"/>
                <a:gd name="connsiteX3897" fmla="*/ 1279814 w 2222569"/>
                <a:gd name="connsiteY3897" fmla="*/ 692690 h 2052818"/>
                <a:gd name="connsiteX3898" fmla="*/ 1279814 w 2222569"/>
                <a:gd name="connsiteY3898" fmla="*/ 697251 h 2052818"/>
                <a:gd name="connsiteX3899" fmla="*/ 1271343 w 2222569"/>
                <a:gd name="connsiteY3899" fmla="*/ 702301 h 2052818"/>
                <a:gd name="connsiteX3900" fmla="*/ 1267270 w 2222569"/>
                <a:gd name="connsiteY3900" fmla="*/ 702301 h 2052818"/>
                <a:gd name="connsiteX3901" fmla="*/ 1265804 w 2222569"/>
                <a:gd name="connsiteY3901" fmla="*/ 704908 h 2052818"/>
                <a:gd name="connsiteX3902" fmla="*/ 1267433 w 2222569"/>
                <a:gd name="connsiteY3902" fmla="*/ 707677 h 2052818"/>
                <a:gd name="connsiteX3903" fmla="*/ 1265153 w 2222569"/>
                <a:gd name="connsiteY3903" fmla="*/ 714520 h 2052818"/>
                <a:gd name="connsiteX3904" fmla="*/ 1262383 w 2222569"/>
                <a:gd name="connsiteY3904" fmla="*/ 715171 h 2052818"/>
                <a:gd name="connsiteX3905" fmla="*/ 1261080 w 2222569"/>
                <a:gd name="connsiteY3905" fmla="*/ 712890 h 2052818"/>
                <a:gd name="connsiteX3906" fmla="*/ 1257821 w 2222569"/>
                <a:gd name="connsiteY3906" fmla="*/ 714682 h 2052818"/>
                <a:gd name="connsiteX3907" fmla="*/ 1257821 w 2222569"/>
                <a:gd name="connsiteY3907" fmla="*/ 716963 h 2052818"/>
                <a:gd name="connsiteX3908" fmla="*/ 1264501 w 2222569"/>
                <a:gd name="connsiteY3908" fmla="*/ 720384 h 2052818"/>
                <a:gd name="connsiteX3909" fmla="*/ 1263198 w 2222569"/>
                <a:gd name="connsiteY3909" fmla="*/ 722991 h 2052818"/>
                <a:gd name="connsiteX3910" fmla="*/ 1258147 w 2222569"/>
                <a:gd name="connsiteY3910" fmla="*/ 723317 h 2052818"/>
                <a:gd name="connsiteX3911" fmla="*/ 1261080 w 2222569"/>
                <a:gd name="connsiteY3911" fmla="*/ 727878 h 2052818"/>
                <a:gd name="connsiteX3912" fmla="*/ 1255541 w 2222569"/>
                <a:gd name="connsiteY3912" fmla="*/ 732602 h 2052818"/>
                <a:gd name="connsiteX3913" fmla="*/ 1253260 w 2222569"/>
                <a:gd name="connsiteY3913" fmla="*/ 730322 h 2052818"/>
                <a:gd name="connsiteX3914" fmla="*/ 1250165 w 2222569"/>
                <a:gd name="connsiteY3914" fmla="*/ 733091 h 2052818"/>
                <a:gd name="connsiteX3915" fmla="*/ 1245440 w 2222569"/>
                <a:gd name="connsiteY3915" fmla="*/ 733091 h 2052818"/>
                <a:gd name="connsiteX3916" fmla="*/ 1239576 w 2222569"/>
                <a:gd name="connsiteY3916" fmla="*/ 735698 h 2052818"/>
                <a:gd name="connsiteX3917" fmla="*/ 1239576 w 2222569"/>
                <a:gd name="connsiteY3917" fmla="*/ 739608 h 2052818"/>
                <a:gd name="connsiteX3918" fmla="*/ 1232408 w 2222569"/>
                <a:gd name="connsiteY3918" fmla="*/ 741888 h 2052818"/>
                <a:gd name="connsiteX3919" fmla="*/ 1226543 w 2222569"/>
                <a:gd name="connsiteY3919" fmla="*/ 737816 h 2052818"/>
                <a:gd name="connsiteX3920" fmla="*/ 1221493 w 2222569"/>
                <a:gd name="connsiteY3920" fmla="*/ 740585 h 2052818"/>
                <a:gd name="connsiteX3921" fmla="*/ 1218235 w 2222569"/>
                <a:gd name="connsiteY3921" fmla="*/ 739445 h 2052818"/>
                <a:gd name="connsiteX3922" fmla="*/ 1216280 w 2222569"/>
                <a:gd name="connsiteY3922" fmla="*/ 729507 h 2052818"/>
                <a:gd name="connsiteX3923" fmla="*/ 1220678 w 2222569"/>
                <a:gd name="connsiteY3923" fmla="*/ 723317 h 2052818"/>
                <a:gd name="connsiteX3924" fmla="*/ 1221004 w 2222569"/>
                <a:gd name="connsiteY3924" fmla="*/ 719570 h 2052818"/>
                <a:gd name="connsiteX3925" fmla="*/ 1212533 w 2222569"/>
                <a:gd name="connsiteY3925" fmla="*/ 727715 h 2052818"/>
                <a:gd name="connsiteX3926" fmla="*/ 1211881 w 2222569"/>
                <a:gd name="connsiteY3926" fmla="*/ 732440 h 2052818"/>
                <a:gd name="connsiteX3927" fmla="*/ 1215628 w 2222569"/>
                <a:gd name="connsiteY3927" fmla="*/ 742051 h 2052818"/>
                <a:gd name="connsiteX3928" fmla="*/ 1218235 w 2222569"/>
                <a:gd name="connsiteY3928" fmla="*/ 744658 h 2052818"/>
                <a:gd name="connsiteX3929" fmla="*/ 1216931 w 2222569"/>
                <a:gd name="connsiteY3929" fmla="*/ 749219 h 2052818"/>
                <a:gd name="connsiteX3930" fmla="*/ 1211067 w 2222569"/>
                <a:gd name="connsiteY3930" fmla="*/ 752966 h 2052818"/>
                <a:gd name="connsiteX3931" fmla="*/ 1208623 w 2222569"/>
                <a:gd name="connsiteY3931" fmla="*/ 758342 h 2052818"/>
                <a:gd name="connsiteX3932" fmla="*/ 1201781 w 2222569"/>
                <a:gd name="connsiteY3932" fmla="*/ 760297 h 2052818"/>
                <a:gd name="connsiteX3933" fmla="*/ 1201781 w 2222569"/>
                <a:gd name="connsiteY3933" fmla="*/ 760297 h 2052818"/>
                <a:gd name="connsiteX3934" fmla="*/ 1287308 w 2222569"/>
                <a:gd name="connsiteY3934" fmla="*/ 641373 h 2052818"/>
                <a:gd name="connsiteX3935" fmla="*/ 1286982 w 2222569"/>
                <a:gd name="connsiteY3935" fmla="*/ 643654 h 2052818"/>
                <a:gd name="connsiteX3936" fmla="*/ 1289426 w 2222569"/>
                <a:gd name="connsiteY3936" fmla="*/ 644143 h 2052818"/>
                <a:gd name="connsiteX3937" fmla="*/ 1290403 w 2222569"/>
                <a:gd name="connsiteY3937" fmla="*/ 641699 h 2052818"/>
                <a:gd name="connsiteX3938" fmla="*/ 1287308 w 2222569"/>
                <a:gd name="connsiteY3938" fmla="*/ 641373 h 2052818"/>
                <a:gd name="connsiteX3939" fmla="*/ 1287308 w 2222569"/>
                <a:gd name="connsiteY3939" fmla="*/ 641373 h 2052818"/>
                <a:gd name="connsiteX3940" fmla="*/ 1283561 w 2222569"/>
                <a:gd name="connsiteY3940" fmla="*/ 662226 h 2052818"/>
                <a:gd name="connsiteX3941" fmla="*/ 1286005 w 2222569"/>
                <a:gd name="connsiteY3941" fmla="*/ 661411 h 2052818"/>
                <a:gd name="connsiteX3942" fmla="*/ 1290078 w 2222569"/>
                <a:gd name="connsiteY3942" fmla="*/ 656035 h 2052818"/>
                <a:gd name="connsiteX3943" fmla="*/ 1290566 w 2222569"/>
                <a:gd name="connsiteY3943" fmla="*/ 652451 h 2052818"/>
                <a:gd name="connsiteX3944" fmla="*/ 1288937 w 2222569"/>
                <a:gd name="connsiteY3944" fmla="*/ 650170 h 2052818"/>
                <a:gd name="connsiteX3945" fmla="*/ 1287797 w 2222569"/>
                <a:gd name="connsiteY3945" fmla="*/ 646261 h 2052818"/>
                <a:gd name="connsiteX3946" fmla="*/ 1284213 w 2222569"/>
                <a:gd name="connsiteY3946" fmla="*/ 647727 h 2052818"/>
                <a:gd name="connsiteX3947" fmla="*/ 1282910 w 2222569"/>
                <a:gd name="connsiteY3947" fmla="*/ 651637 h 2052818"/>
                <a:gd name="connsiteX3948" fmla="*/ 1280303 w 2222569"/>
                <a:gd name="connsiteY3948" fmla="*/ 653266 h 2052818"/>
                <a:gd name="connsiteX3949" fmla="*/ 1280792 w 2222569"/>
                <a:gd name="connsiteY3949" fmla="*/ 659130 h 2052818"/>
                <a:gd name="connsiteX3950" fmla="*/ 1283236 w 2222569"/>
                <a:gd name="connsiteY3950" fmla="*/ 662063 h 2052818"/>
                <a:gd name="connsiteX3951" fmla="*/ 1283236 w 2222569"/>
                <a:gd name="connsiteY3951" fmla="*/ 662063 h 2052818"/>
                <a:gd name="connsiteX3952" fmla="*/ 1280466 w 2222569"/>
                <a:gd name="connsiteY3952" fmla="*/ 673141 h 2052818"/>
                <a:gd name="connsiteX3953" fmla="*/ 1282747 w 2222569"/>
                <a:gd name="connsiteY3953" fmla="*/ 671349 h 2052818"/>
                <a:gd name="connsiteX3954" fmla="*/ 1285190 w 2222569"/>
                <a:gd name="connsiteY3954" fmla="*/ 664995 h 2052818"/>
                <a:gd name="connsiteX3955" fmla="*/ 1281444 w 2222569"/>
                <a:gd name="connsiteY3955" fmla="*/ 664995 h 2052818"/>
                <a:gd name="connsiteX3956" fmla="*/ 1277696 w 2222569"/>
                <a:gd name="connsiteY3956" fmla="*/ 668253 h 2052818"/>
                <a:gd name="connsiteX3957" fmla="*/ 1277371 w 2222569"/>
                <a:gd name="connsiteY3957" fmla="*/ 671512 h 2052818"/>
                <a:gd name="connsiteX3958" fmla="*/ 1280466 w 2222569"/>
                <a:gd name="connsiteY3958" fmla="*/ 672978 h 2052818"/>
                <a:gd name="connsiteX3959" fmla="*/ 1280466 w 2222569"/>
                <a:gd name="connsiteY3959" fmla="*/ 672978 h 2052818"/>
                <a:gd name="connsiteX3960" fmla="*/ 1085301 w 2222569"/>
                <a:gd name="connsiteY3960" fmla="*/ 563829 h 2052818"/>
                <a:gd name="connsiteX3961" fmla="*/ 1085301 w 2222569"/>
                <a:gd name="connsiteY3961" fmla="*/ 566924 h 2052818"/>
                <a:gd name="connsiteX3962" fmla="*/ 1086930 w 2222569"/>
                <a:gd name="connsiteY3962" fmla="*/ 568553 h 2052818"/>
                <a:gd name="connsiteX3963" fmla="*/ 1090025 w 2222569"/>
                <a:gd name="connsiteY3963" fmla="*/ 567250 h 2052818"/>
                <a:gd name="connsiteX3964" fmla="*/ 1093609 w 2222569"/>
                <a:gd name="connsiteY3964" fmla="*/ 568716 h 2052818"/>
                <a:gd name="connsiteX3965" fmla="*/ 1095401 w 2222569"/>
                <a:gd name="connsiteY3965" fmla="*/ 566761 h 2052818"/>
                <a:gd name="connsiteX3966" fmla="*/ 1093283 w 2222569"/>
                <a:gd name="connsiteY3966" fmla="*/ 563829 h 2052818"/>
                <a:gd name="connsiteX3967" fmla="*/ 1087256 w 2222569"/>
                <a:gd name="connsiteY3967" fmla="*/ 562851 h 2052818"/>
                <a:gd name="connsiteX3968" fmla="*/ 1085301 w 2222569"/>
                <a:gd name="connsiteY3968" fmla="*/ 563991 h 2052818"/>
                <a:gd name="connsiteX3969" fmla="*/ 1085301 w 2222569"/>
                <a:gd name="connsiteY3969" fmla="*/ 563991 h 2052818"/>
                <a:gd name="connsiteX3970" fmla="*/ 1118208 w 2222569"/>
                <a:gd name="connsiteY3970" fmla="*/ 627689 h 2052818"/>
                <a:gd name="connsiteX3971" fmla="*/ 1114462 w 2222569"/>
                <a:gd name="connsiteY3971" fmla="*/ 623128 h 2052818"/>
                <a:gd name="connsiteX3972" fmla="*/ 1113973 w 2222569"/>
                <a:gd name="connsiteY3972" fmla="*/ 612538 h 2052818"/>
                <a:gd name="connsiteX3973" fmla="*/ 1111040 w 2222569"/>
                <a:gd name="connsiteY3973" fmla="*/ 607325 h 2052818"/>
                <a:gd name="connsiteX3974" fmla="*/ 1111040 w 2222569"/>
                <a:gd name="connsiteY3974" fmla="*/ 603253 h 2052818"/>
                <a:gd name="connsiteX3975" fmla="*/ 1112018 w 2222569"/>
                <a:gd name="connsiteY3975" fmla="*/ 600483 h 2052818"/>
                <a:gd name="connsiteX3976" fmla="*/ 1110552 w 2222569"/>
                <a:gd name="connsiteY3976" fmla="*/ 594618 h 2052818"/>
                <a:gd name="connsiteX3977" fmla="*/ 1110552 w 2222569"/>
                <a:gd name="connsiteY3977" fmla="*/ 588754 h 2052818"/>
                <a:gd name="connsiteX3978" fmla="*/ 1106479 w 2222569"/>
                <a:gd name="connsiteY3978" fmla="*/ 582889 h 2052818"/>
                <a:gd name="connsiteX3979" fmla="*/ 1102080 w 2222569"/>
                <a:gd name="connsiteY3979" fmla="*/ 578979 h 2052818"/>
                <a:gd name="connsiteX3980" fmla="*/ 1102080 w 2222569"/>
                <a:gd name="connsiteY3980" fmla="*/ 576210 h 2052818"/>
                <a:gd name="connsiteX3981" fmla="*/ 1110226 w 2222569"/>
                <a:gd name="connsiteY3981" fmla="*/ 570019 h 2052818"/>
                <a:gd name="connsiteX3982" fmla="*/ 1114136 w 2222569"/>
                <a:gd name="connsiteY3982" fmla="*/ 568553 h 2052818"/>
                <a:gd name="connsiteX3983" fmla="*/ 1118860 w 2222569"/>
                <a:gd name="connsiteY3983" fmla="*/ 563991 h 2052818"/>
                <a:gd name="connsiteX3984" fmla="*/ 1125702 w 2222569"/>
                <a:gd name="connsiteY3984" fmla="*/ 563177 h 2052818"/>
                <a:gd name="connsiteX3985" fmla="*/ 1129612 w 2222569"/>
                <a:gd name="connsiteY3985" fmla="*/ 566272 h 2052818"/>
                <a:gd name="connsiteX3986" fmla="*/ 1133033 w 2222569"/>
                <a:gd name="connsiteY3986" fmla="*/ 566272 h 2052818"/>
                <a:gd name="connsiteX3987" fmla="*/ 1137432 w 2222569"/>
                <a:gd name="connsiteY3987" fmla="*/ 569367 h 2052818"/>
                <a:gd name="connsiteX3988" fmla="*/ 1140364 w 2222569"/>
                <a:gd name="connsiteY3988" fmla="*/ 568390 h 2052818"/>
                <a:gd name="connsiteX3989" fmla="*/ 1145414 w 2222569"/>
                <a:gd name="connsiteY3989" fmla="*/ 570345 h 2052818"/>
                <a:gd name="connsiteX3990" fmla="*/ 1148347 w 2222569"/>
                <a:gd name="connsiteY3990" fmla="*/ 569367 h 2052818"/>
                <a:gd name="connsiteX3991" fmla="*/ 1152094 w 2222569"/>
                <a:gd name="connsiteY3991" fmla="*/ 569367 h 2052818"/>
                <a:gd name="connsiteX3992" fmla="*/ 1156655 w 2222569"/>
                <a:gd name="connsiteY3992" fmla="*/ 576047 h 2052818"/>
                <a:gd name="connsiteX3993" fmla="*/ 1156655 w 2222569"/>
                <a:gd name="connsiteY3993" fmla="*/ 579794 h 2052818"/>
                <a:gd name="connsiteX3994" fmla="*/ 1155189 w 2222569"/>
                <a:gd name="connsiteY3994" fmla="*/ 582074 h 2052818"/>
                <a:gd name="connsiteX3995" fmla="*/ 1158121 w 2222569"/>
                <a:gd name="connsiteY3995" fmla="*/ 587287 h 2052818"/>
                <a:gd name="connsiteX3996" fmla="*/ 1158121 w 2222569"/>
                <a:gd name="connsiteY3996" fmla="*/ 590383 h 2052818"/>
                <a:gd name="connsiteX3997" fmla="*/ 1155840 w 2222569"/>
                <a:gd name="connsiteY3997" fmla="*/ 592338 h 2052818"/>
                <a:gd name="connsiteX3998" fmla="*/ 1155840 w 2222569"/>
                <a:gd name="connsiteY3998" fmla="*/ 596247 h 2052818"/>
                <a:gd name="connsiteX3999" fmla="*/ 1149813 w 2222569"/>
                <a:gd name="connsiteY3999" fmla="*/ 602112 h 2052818"/>
                <a:gd name="connsiteX4000" fmla="*/ 1147206 w 2222569"/>
                <a:gd name="connsiteY4000" fmla="*/ 602112 h 2052818"/>
                <a:gd name="connsiteX4001" fmla="*/ 1140038 w 2222569"/>
                <a:gd name="connsiteY4001" fmla="*/ 608954 h 2052818"/>
                <a:gd name="connsiteX4002" fmla="*/ 1133522 w 2222569"/>
                <a:gd name="connsiteY4002" fmla="*/ 613027 h 2052818"/>
                <a:gd name="connsiteX4003" fmla="*/ 1127657 w 2222569"/>
                <a:gd name="connsiteY4003" fmla="*/ 620195 h 2052818"/>
                <a:gd name="connsiteX4004" fmla="*/ 1122933 w 2222569"/>
                <a:gd name="connsiteY4004" fmla="*/ 620195 h 2052818"/>
                <a:gd name="connsiteX4005" fmla="*/ 1119837 w 2222569"/>
                <a:gd name="connsiteY4005" fmla="*/ 622476 h 2052818"/>
                <a:gd name="connsiteX4006" fmla="*/ 1120163 w 2222569"/>
                <a:gd name="connsiteY4006" fmla="*/ 626223 h 2052818"/>
                <a:gd name="connsiteX4007" fmla="*/ 1118371 w 2222569"/>
                <a:gd name="connsiteY4007" fmla="*/ 627689 h 2052818"/>
                <a:gd name="connsiteX4008" fmla="*/ 1118371 w 2222569"/>
                <a:gd name="connsiteY4008" fmla="*/ 627689 h 2052818"/>
                <a:gd name="connsiteX4009" fmla="*/ 1301807 w 2222569"/>
                <a:gd name="connsiteY4009" fmla="*/ 732602 h 2052818"/>
                <a:gd name="connsiteX4010" fmla="*/ 1293987 w 2222569"/>
                <a:gd name="connsiteY4010" fmla="*/ 725923 h 2052818"/>
                <a:gd name="connsiteX4011" fmla="*/ 1290240 w 2222569"/>
                <a:gd name="connsiteY4011" fmla="*/ 727389 h 2052818"/>
                <a:gd name="connsiteX4012" fmla="*/ 1281444 w 2222569"/>
                <a:gd name="connsiteY4012" fmla="*/ 726249 h 2052818"/>
                <a:gd name="connsiteX4013" fmla="*/ 1284864 w 2222569"/>
                <a:gd name="connsiteY4013" fmla="*/ 720873 h 2052818"/>
                <a:gd name="connsiteX4014" fmla="*/ 1288937 w 2222569"/>
                <a:gd name="connsiteY4014" fmla="*/ 719081 h 2052818"/>
                <a:gd name="connsiteX4015" fmla="*/ 1291870 w 2222569"/>
                <a:gd name="connsiteY4015" fmla="*/ 720384 h 2052818"/>
                <a:gd name="connsiteX4016" fmla="*/ 1293499 w 2222569"/>
                <a:gd name="connsiteY4016" fmla="*/ 718755 h 2052818"/>
                <a:gd name="connsiteX4017" fmla="*/ 1292684 w 2222569"/>
                <a:gd name="connsiteY4017" fmla="*/ 716474 h 2052818"/>
                <a:gd name="connsiteX4018" fmla="*/ 1288286 w 2222569"/>
                <a:gd name="connsiteY4018" fmla="*/ 716474 h 2052818"/>
                <a:gd name="connsiteX4019" fmla="*/ 1286982 w 2222569"/>
                <a:gd name="connsiteY4019" fmla="*/ 714845 h 2052818"/>
                <a:gd name="connsiteX4020" fmla="*/ 1293173 w 2222569"/>
                <a:gd name="connsiteY4020" fmla="*/ 706374 h 2052818"/>
                <a:gd name="connsiteX4021" fmla="*/ 1295942 w 2222569"/>
                <a:gd name="connsiteY4021" fmla="*/ 697903 h 2052818"/>
                <a:gd name="connsiteX4022" fmla="*/ 1295942 w 2222569"/>
                <a:gd name="connsiteY4022" fmla="*/ 693341 h 2052818"/>
                <a:gd name="connsiteX4023" fmla="*/ 1298386 w 2222569"/>
                <a:gd name="connsiteY4023" fmla="*/ 691875 h 2052818"/>
                <a:gd name="connsiteX4024" fmla="*/ 1298386 w 2222569"/>
                <a:gd name="connsiteY4024" fmla="*/ 688943 h 2052818"/>
                <a:gd name="connsiteX4025" fmla="*/ 1294313 w 2222569"/>
                <a:gd name="connsiteY4025" fmla="*/ 685847 h 2052818"/>
                <a:gd name="connsiteX4026" fmla="*/ 1296920 w 2222569"/>
                <a:gd name="connsiteY4026" fmla="*/ 682426 h 2052818"/>
                <a:gd name="connsiteX4027" fmla="*/ 1296920 w 2222569"/>
                <a:gd name="connsiteY4027" fmla="*/ 676562 h 2052818"/>
                <a:gd name="connsiteX4028" fmla="*/ 1301644 w 2222569"/>
                <a:gd name="connsiteY4028" fmla="*/ 666298 h 2052818"/>
                <a:gd name="connsiteX4029" fmla="*/ 1305065 w 2222569"/>
                <a:gd name="connsiteY4029" fmla="*/ 663855 h 2052818"/>
                <a:gd name="connsiteX4030" fmla="*/ 1305065 w 2222569"/>
                <a:gd name="connsiteY4030" fmla="*/ 659293 h 2052818"/>
                <a:gd name="connsiteX4031" fmla="*/ 1309301 w 2222569"/>
                <a:gd name="connsiteY4031" fmla="*/ 656198 h 2052818"/>
                <a:gd name="connsiteX4032" fmla="*/ 1311745 w 2222569"/>
                <a:gd name="connsiteY4032" fmla="*/ 650822 h 2052818"/>
                <a:gd name="connsiteX4033" fmla="*/ 1313374 w 2222569"/>
                <a:gd name="connsiteY4033" fmla="*/ 647564 h 2052818"/>
                <a:gd name="connsiteX4034" fmla="*/ 1314025 w 2222569"/>
                <a:gd name="connsiteY4034" fmla="*/ 642025 h 2052818"/>
                <a:gd name="connsiteX4035" fmla="*/ 1320542 w 2222569"/>
                <a:gd name="connsiteY4035" fmla="*/ 635020 h 2052818"/>
                <a:gd name="connsiteX4036" fmla="*/ 1322008 w 2222569"/>
                <a:gd name="connsiteY4036" fmla="*/ 628015 h 2052818"/>
                <a:gd name="connsiteX4037" fmla="*/ 1326244 w 2222569"/>
                <a:gd name="connsiteY4037" fmla="*/ 627200 h 2052818"/>
                <a:gd name="connsiteX4038" fmla="*/ 1326732 w 2222569"/>
                <a:gd name="connsiteY4038" fmla="*/ 623942 h 2052818"/>
                <a:gd name="connsiteX4039" fmla="*/ 1325429 w 2222569"/>
                <a:gd name="connsiteY4039" fmla="*/ 621987 h 2052818"/>
                <a:gd name="connsiteX4040" fmla="*/ 1329176 w 2222569"/>
                <a:gd name="connsiteY4040" fmla="*/ 615797 h 2052818"/>
                <a:gd name="connsiteX4041" fmla="*/ 1332271 w 2222569"/>
                <a:gd name="connsiteY4041" fmla="*/ 616937 h 2052818"/>
                <a:gd name="connsiteX4042" fmla="*/ 1336344 w 2222569"/>
                <a:gd name="connsiteY4042" fmla="*/ 622965 h 2052818"/>
                <a:gd name="connsiteX4043" fmla="*/ 1337647 w 2222569"/>
                <a:gd name="connsiteY4043" fmla="*/ 627689 h 2052818"/>
                <a:gd name="connsiteX4044" fmla="*/ 1343023 w 2222569"/>
                <a:gd name="connsiteY4044" fmla="*/ 628178 h 2052818"/>
                <a:gd name="connsiteX4045" fmla="*/ 1342045 w 2222569"/>
                <a:gd name="connsiteY4045" fmla="*/ 622639 h 2052818"/>
                <a:gd name="connsiteX4046" fmla="*/ 1338136 w 2222569"/>
                <a:gd name="connsiteY4046" fmla="*/ 618240 h 2052818"/>
                <a:gd name="connsiteX4047" fmla="*/ 1338950 w 2222569"/>
                <a:gd name="connsiteY4047" fmla="*/ 615960 h 2052818"/>
                <a:gd name="connsiteX4048" fmla="*/ 1342697 w 2222569"/>
                <a:gd name="connsiteY4048" fmla="*/ 614656 h 2052818"/>
                <a:gd name="connsiteX4049" fmla="*/ 1338625 w 2222569"/>
                <a:gd name="connsiteY4049" fmla="*/ 609606 h 2052818"/>
                <a:gd name="connsiteX4050" fmla="*/ 1343023 w 2222569"/>
                <a:gd name="connsiteY4050" fmla="*/ 602601 h 2052818"/>
                <a:gd name="connsiteX4051" fmla="*/ 1354264 w 2222569"/>
                <a:gd name="connsiteY4051" fmla="*/ 599994 h 2052818"/>
                <a:gd name="connsiteX4052" fmla="*/ 1361758 w 2222569"/>
                <a:gd name="connsiteY4052" fmla="*/ 599994 h 2052818"/>
                <a:gd name="connsiteX4053" fmla="*/ 1365993 w 2222569"/>
                <a:gd name="connsiteY4053" fmla="*/ 598691 h 2052818"/>
                <a:gd name="connsiteX4054" fmla="*/ 1368437 w 2222569"/>
                <a:gd name="connsiteY4054" fmla="*/ 600483 h 2052818"/>
                <a:gd name="connsiteX4055" fmla="*/ 1372998 w 2222569"/>
                <a:gd name="connsiteY4055" fmla="*/ 599994 h 2052818"/>
                <a:gd name="connsiteX4056" fmla="*/ 1374302 w 2222569"/>
                <a:gd name="connsiteY4056" fmla="*/ 603741 h 2052818"/>
                <a:gd name="connsiteX4057" fmla="*/ 1377723 w 2222569"/>
                <a:gd name="connsiteY4057" fmla="*/ 600809 h 2052818"/>
                <a:gd name="connsiteX4058" fmla="*/ 1384239 w 2222569"/>
                <a:gd name="connsiteY4058" fmla="*/ 600809 h 2052818"/>
                <a:gd name="connsiteX4059" fmla="*/ 1387497 w 2222569"/>
                <a:gd name="connsiteY4059" fmla="*/ 606674 h 2052818"/>
                <a:gd name="connsiteX4060" fmla="*/ 1392547 w 2222569"/>
                <a:gd name="connsiteY4060" fmla="*/ 608140 h 2052818"/>
                <a:gd name="connsiteX4061" fmla="*/ 1393688 w 2222569"/>
                <a:gd name="connsiteY4061" fmla="*/ 609443 h 2052818"/>
                <a:gd name="connsiteX4062" fmla="*/ 1396131 w 2222569"/>
                <a:gd name="connsiteY4062" fmla="*/ 609443 h 2052818"/>
                <a:gd name="connsiteX4063" fmla="*/ 1398901 w 2222569"/>
                <a:gd name="connsiteY4063" fmla="*/ 614168 h 2052818"/>
                <a:gd name="connsiteX4064" fmla="*/ 1398412 w 2222569"/>
                <a:gd name="connsiteY4064" fmla="*/ 618240 h 2052818"/>
                <a:gd name="connsiteX4065" fmla="*/ 1400367 w 2222569"/>
                <a:gd name="connsiteY4065" fmla="*/ 619869 h 2052818"/>
                <a:gd name="connsiteX4066" fmla="*/ 1403788 w 2222569"/>
                <a:gd name="connsiteY4066" fmla="*/ 618240 h 2052818"/>
                <a:gd name="connsiteX4067" fmla="*/ 1410956 w 2222569"/>
                <a:gd name="connsiteY4067" fmla="*/ 619055 h 2052818"/>
                <a:gd name="connsiteX4068" fmla="*/ 1422523 w 2222569"/>
                <a:gd name="connsiteY4068" fmla="*/ 620521 h 2052818"/>
                <a:gd name="connsiteX4069" fmla="*/ 1429365 w 2222569"/>
                <a:gd name="connsiteY4069" fmla="*/ 624757 h 2052818"/>
                <a:gd name="connsiteX4070" fmla="*/ 1429365 w 2222569"/>
                <a:gd name="connsiteY4070" fmla="*/ 628829 h 2052818"/>
                <a:gd name="connsiteX4071" fmla="*/ 1432623 w 2222569"/>
                <a:gd name="connsiteY4071" fmla="*/ 631110 h 2052818"/>
                <a:gd name="connsiteX4072" fmla="*/ 1433926 w 2222569"/>
                <a:gd name="connsiteY4072" fmla="*/ 635183 h 2052818"/>
                <a:gd name="connsiteX4073" fmla="*/ 1431971 w 2222569"/>
                <a:gd name="connsiteY4073" fmla="*/ 633880 h 2052818"/>
                <a:gd name="connsiteX4074" fmla="*/ 1429691 w 2222569"/>
                <a:gd name="connsiteY4074" fmla="*/ 634205 h 2052818"/>
                <a:gd name="connsiteX4075" fmla="*/ 1427247 w 2222569"/>
                <a:gd name="connsiteY4075" fmla="*/ 639907 h 2052818"/>
                <a:gd name="connsiteX4076" fmla="*/ 1419916 w 2222569"/>
                <a:gd name="connsiteY4076" fmla="*/ 646749 h 2052818"/>
                <a:gd name="connsiteX4077" fmla="*/ 1416006 w 2222569"/>
                <a:gd name="connsiteY4077" fmla="*/ 652288 h 2052818"/>
                <a:gd name="connsiteX4078" fmla="*/ 1411608 w 2222569"/>
                <a:gd name="connsiteY4078" fmla="*/ 653591 h 2052818"/>
                <a:gd name="connsiteX4079" fmla="*/ 1411608 w 2222569"/>
                <a:gd name="connsiteY4079" fmla="*/ 655546 h 2052818"/>
                <a:gd name="connsiteX4080" fmla="*/ 1401182 w 2222569"/>
                <a:gd name="connsiteY4080" fmla="*/ 663692 h 2052818"/>
                <a:gd name="connsiteX4081" fmla="*/ 1395806 w 2222569"/>
                <a:gd name="connsiteY4081" fmla="*/ 671023 h 2052818"/>
                <a:gd name="connsiteX4082" fmla="*/ 1390104 w 2222569"/>
                <a:gd name="connsiteY4082" fmla="*/ 671023 h 2052818"/>
                <a:gd name="connsiteX4083" fmla="*/ 1389452 w 2222569"/>
                <a:gd name="connsiteY4083" fmla="*/ 673466 h 2052818"/>
                <a:gd name="connsiteX4084" fmla="*/ 1391244 w 2222569"/>
                <a:gd name="connsiteY4084" fmla="*/ 675095 h 2052818"/>
                <a:gd name="connsiteX4085" fmla="*/ 1388638 w 2222569"/>
                <a:gd name="connsiteY4085" fmla="*/ 678842 h 2052818"/>
                <a:gd name="connsiteX4086" fmla="*/ 1380818 w 2222569"/>
                <a:gd name="connsiteY4086" fmla="*/ 684544 h 2052818"/>
                <a:gd name="connsiteX4087" fmla="*/ 1374627 w 2222569"/>
                <a:gd name="connsiteY4087" fmla="*/ 691061 h 2052818"/>
                <a:gd name="connsiteX4088" fmla="*/ 1365342 w 2222569"/>
                <a:gd name="connsiteY4088" fmla="*/ 697088 h 2052818"/>
                <a:gd name="connsiteX4089" fmla="*/ 1359477 w 2222569"/>
                <a:gd name="connsiteY4089" fmla="*/ 699858 h 2052818"/>
                <a:gd name="connsiteX4090" fmla="*/ 1356382 w 2222569"/>
                <a:gd name="connsiteY4090" fmla="*/ 698392 h 2052818"/>
                <a:gd name="connsiteX4091" fmla="*/ 1355404 w 2222569"/>
                <a:gd name="connsiteY4091" fmla="*/ 696111 h 2052818"/>
                <a:gd name="connsiteX4092" fmla="*/ 1352146 w 2222569"/>
                <a:gd name="connsiteY4092" fmla="*/ 696599 h 2052818"/>
                <a:gd name="connsiteX4093" fmla="*/ 1345467 w 2222569"/>
                <a:gd name="connsiteY4093" fmla="*/ 691224 h 2052818"/>
                <a:gd name="connsiteX4094" fmla="*/ 1344652 w 2222569"/>
                <a:gd name="connsiteY4094" fmla="*/ 686825 h 2052818"/>
                <a:gd name="connsiteX4095" fmla="*/ 1341068 w 2222569"/>
                <a:gd name="connsiteY4095" fmla="*/ 685196 h 2052818"/>
                <a:gd name="connsiteX4096" fmla="*/ 1337484 w 2222569"/>
                <a:gd name="connsiteY4096" fmla="*/ 687151 h 2052818"/>
                <a:gd name="connsiteX4097" fmla="*/ 1332597 w 2222569"/>
                <a:gd name="connsiteY4097" fmla="*/ 685847 h 2052818"/>
                <a:gd name="connsiteX4098" fmla="*/ 1328361 w 2222569"/>
                <a:gd name="connsiteY4098" fmla="*/ 685847 h 2052818"/>
                <a:gd name="connsiteX4099" fmla="*/ 1324777 w 2222569"/>
                <a:gd name="connsiteY4099" fmla="*/ 683893 h 2052818"/>
                <a:gd name="connsiteX4100" fmla="*/ 1320867 w 2222569"/>
                <a:gd name="connsiteY4100" fmla="*/ 683893 h 2052818"/>
                <a:gd name="connsiteX4101" fmla="*/ 1320216 w 2222569"/>
                <a:gd name="connsiteY4101" fmla="*/ 686988 h 2052818"/>
                <a:gd name="connsiteX4102" fmla="*/ 1322171 w 2222569"/>
                <a:gd name="connsiteY4102" fmla="*/ 689432 h 2052818"/>
                <a:gd name="connsiteX4103" fmla="*/ 1331782 w 2222569"/>
                <a:gd name="connsiteY4103" fmla="*/ 689920 h 2052818"/>
                <a:gd name="connsiteX4104" fmla="*/ 1330153 w 2222569"/>
                <a:gd name="connsiteY4104" fmla="*/ 693667 h 2052818"/>
                <a:gd name="connsiteX4105" fmla="*/ 1326569 w 2222569"/>
                <a:gd name="connsiteY4105" fmla="*/ 697414 h 2052818"/>
                <a:gd name="connsiteX4106" fmla="*/ 1329176 w 2222569"/>
                <a:gd name="connsiteY4106" fmla="*/ 700021 h 2052818"/>
                <a:gd name="connsiteX4107" fmla="*/ 1329502 w 2222569"/>
                <a:gd name="connsiteY4107" fmla="*/ 705560 h 2052818"/>
                <a:gd name="connsiteX4108" fmla="*/ 1327058 w 2222569"/>
                <a:gd name="connsiteY4108" fmla="*/ 710121 h 2052818"/>
                <a:gd name="connsiteX4109" fmla="*/ 1323800 w 2222569"/>
                <a:gd name="connsiteY4109" fmla="*/ 712402 h 2052818"/>
                <a:gd name="connsiteX4110" fmla="*/ 1320867 w 2222569"/>
                <a:gd name="connsiteY4110" fmla="*/ 715660 h 2052818"/>
                <a:gd name="connsiteX4111" fmla="*/ 1315817 w 2222569"/>
                <a:gd name="connsiteY4111" fmla="*/ 715660 h 2052818"/>
                <a:gd name="connsiteX4112" fmla="*/ 1312722 w 2222569"/>
                <a:gd name="connsiteY4112" fmla="*/ 718104 h 2052818"/>
                <a:gd name="connsiteX4113" fmla="*/ 1310278 w 2222569"/>
                <a:gd name="connsiteY4113" fmla="*/ 722991 h 2052818"/>
                <a:gd name="connsiteX4114" fmla="*/ 1306531 w 2222569"/>
                <a:gd name="connsiteY4114" fmla="*/ 726738 h 2052818"/>
                <a:gd name="connsiteX4115" fmla="*/ 1302785 w 2222569"/>
                <a:gd name="connsiteY4115" fmla="*/ 726412 h 2052818"/>
                <a:gd name="connsiteX4116" fmla="*/ 1302459 w 2222569"/>
                <a:gd name="connsiteY4116" fmla="*/ 730973 h 2052818"/>
                <a:gd name="connsiteX4117" fmla="*/ 1300993 w 2222569"/>
                <a:gd name="connsiteY4117" fmla="*/ 732928 h 2052818"/>
                <a:gd name="connsiteX4118" fmla="*/ 1300993 w 2222569"/>
                <a:gd name="connsiteY4118" fmla="*/ 732928 h 2052818"/>
                <a:gd name="connsiteX4119" fmla="*/ 1616385 w 2222569"/>
                <a:gd name="connsiteY4119" fmla="*/ 753944 h 2052818"/>
                <a:gd name="connsiteX4120" fmla="*/ 1609543 w 2222569"/>
                <a:gd name="connsiteY4120" fmla="*/ 750522 h 2052818"/>
                <a:gd name="connsiteX4121" fmla="*/ 1604166 w 2222569"/>
                <a:gd name="connsiteY4121" fmla="*/ 749056 h 2052818"/>
                <a:gd name="connsiteX4122" fmla="*/ 1601886 w 2222569"/>
                <a:gd name="connsiteY4122" fmla="*/ 743029 h 2052818"/>
                <a:gd name="connsiteX4123" fmla="*/ 1598790 w 2222569"/>
                <a:gd name="connsiteY4123" fmla="*/ 741400 h 2052818"/>
                <a:gd name="connsiteX4124" fmla="*/ 1596510 w 2222569"/>
                <a:gd name="connsiteY4124" fmla="*/ 736675 h 2052818"/>
                <a:gd name="connsiteX4125" fmla="*/ 1598139 w 2222569"/>
                <a:gd name="connsiteY4125" fmla="*/ 730159 h 2052818"/>
                <a:gd name="connsiteX4126" fmla="*/ 1603352 w 2222569"/>
                <a:gd name="connsiteY4126" fmla="*/ 727064 h 2052818"/>
                <a:gd name="connsiteX4127" fmla="*/ 1602863 w 2222569"/>
                <a:gd name="connsiteY4127" fmla="*/ 723154 h 2052818"/>
                <a:gd name="connsiteX4128" fmla="*/ 1605633 w 2222569"/>
                <a:gd name="connsiteY4128" fmla="*/ 719733 h 2052818"/>
                <a:gd name="connsiteX4129" fmla="*/ 1604655 w 2222569"/>
                <a:gd name="connsiteY4129" fmla="*/ 715660 h 2052818"/>
                <a:gd name="connsiteX4130" fmla="*/ 1600257 w 2222569"/>
                <a:gd name="connsiteY4130" fmla="*/ 715008 h 2052818"/>
                <a:gd name="connsiteX4131" fmla="*/ 1595532 w 2222569"/>
                <a:gd name="connsiteY4131" fmla="*/ 711098 h 2052818"/>
                <a:gd name="connsiteX4132" fmla="*/ 1600257 w 2222569"/>
                <a:gd name="connsiteY4132" fmla="*/ 700672 h 2052818"/>
                <a:gd name="connsiteX4133" fmla="*/ 1603515 w 2222569"/>
                <a:gd name="connsiteY4133" fmla="*/ 701161 h 2052818"/>
                <a:gd name="connsiteX4134" fmla="*/ 1604981 w 2222569"/>
                <a:gd name="connsiteY4134" fmla="*/ 697903 h 2052818"/>
                <a:gd name="connsiteX4135" fmla="*/ 1604003 w 2222569"/>
                <a:gd name="connsiteY4135" fmla="*/ 693178 h 2052818"/>
                <a:gd name="connsiteX4136" fmla="*/ 1606936 w 2222569"/>
                <a:gd name="connsiteY4136" fmla="*/ 689432 h 2052818"/>
                <a:gd name="connsiteX4137" fmla="*/ 1608565 w 2222569"/>
                <a:gd name="connsiteY4137" fmla="*/ 682589 h 2052818"/>
                <a:gd name="connsiteX4138" fmla="*/ 1612963 w 2222569"/>
                <a:gd name="connsiteY4138" fmla="*/ 680960 h 2052818"/>
                <a:gd name="connsiteX4139" fmla="*/ 1616222 w 2222569"/>
                <a:gd name="connsiteY4139" fmla="*/ 684056 h 2052818"/>
                <a:gd name="connsiteX4140" fmla="*/ 1617362 w 2222569"/>
                <a:gd name="connsiteY4140" fmla="*/ 688291 h 2052818"/>
                <a:gd name="connsiteX4141" fmla="*/ 1627136 w 2222569"/>
                <a:gd name="connsiteY4141" fmla="*/ 691549 h 2052818"/>
                <a:gd name="connsiteX4142" fmla="*/ 1630884 w 2222569"/>
                <a:gd name="connsiteY4142" fmla="*/ 695459 h 2052818"/>
                <a:gd name="connsiteX4143" fmla="*/ 1636585 w 2222569"/>
                <a:gd name="connsiteY4143" fmla="*/ 696925 h 2052818"/>
                <a:gd name="connsiteX4144" fmla="*/ 1638540 w 2222569"/>
                <a:gd name="connsiteY4144" fmla="*/ 694970 h 2052818"/>
                <a:gd name="connsiteX4145" fmla="*/ 1647826 w 2222569"/>
                <a:gd name="connsiteY4145" fmla="*/ 698066 h 2052818"/>
                <a:gd name="connsiteX4146" fmla="*/ 1655157 w 2222569"/>
                <a:gd name="connsiteY4146" fmla="*/ 698066 h 2052818"/>
                <a:gd name="connsiteX4147" fmla="*/ 1658252 w 2222569"/>
                <a:gd name="connsiteY4147" fmla="*/ 700346 h 2052818"/>
                <a:gd name="connsiteX4148" fmla="*/ 1659556 w 2222569"/>
                <a:gd name="connsiteY4148" fmla="*/ 704908 h 2052818"/>
                <a:gd name="connsiteX4149" fmla="*/ 1666724 w 2222569"/>
                <a:gd name="connsiteY4149" fmla="*/ 709306 h 2052818"/>
                <a:gd name="connsiteX4150" fmla="*/ 1669167 w 2222569"/>
                <a:gd name="connsiteY4150" fmla="*/ 714520 h 2052818"/>
                <a:gd name="connsiteX4151" fmla="*/ 1667212 w 2222569"/>
                <a:gd name="connsiteY4151" fmla="*/ 720058 h 2052818"/>
                <a:gd name="connsiteX4152" fmla="*/ 1667538 w 2222569"/>
                <a:gd name="connsiteY4152" fmla="*/ 723154 h 2052818"/>
                <a:gd name="connsiteX4153" fmla="*/ 1671774 w 2222569"/>
                <a:gd name="connsiteY4153" fmla="*/ 726249 h 2052818"/>
                <a:gd name="connsiteX4154" fmla="*/ 1670633 w 2222569"/>
                <a:gd name="connsiteY4154" fmla="*/ 729018 h 2052818"/>
                <a:gd name="connsiteX4155" fmla="*/ 1671774 w 2222569"/>
                <a:gd name="connsiteY4155" fmla="*/ 733417 h 2052818"/>
                <a:gd name="connsiteX4156" fmla="*/ 1671448 w 2222569"/>
                <a:gd name="connsiteY4156" fmla="*/ 736512 h 2052818"/>
                <a:gd name="connsiteX4157" fmla="*/ 1674054 w 2222569"/>
                <a:gd name="connsiteY4157" fmla="*/ 742214 h 2052818"/>
                <a:gd name="connsiteX4158" fmla="*/ 1673077 w 2222569"/>
                <a:gd name="connsiteY4158" fmla="*/ 745961 h 2052818"/>
                <a:gd name="connsiteX4159" fmla="*/ 1670633 w 2222569"/>
                <a:gd name="connsiteY4159" fmla="*/ 749545 h 2052818"/>
                <a:gd name="connsiteX4160" fmla="*/ 1676824 w 2222569"/>
                <a:gd name="connsiteY4160" fmla="*/ 751337 h 2052818"/>
                <a:gd name="connsiteX4161" fmla="*/ 1676824 w 2222569"/>
                <a:gd name="connsiteY4161" fmla="*/ 753944 h 2052818"/>
                <a:gd name="connsiteX4162" fmla="*/ 1673729 w 2222569"/>
                <a:gd name="connsiteY4162" fmla="*/ 756387 h 2052818"/>
                <a:gd name="connsiteX4163" fmla="*/ 1672100 w 2222569"/>
                <a:gd name="connsiteY4163" fmla="*/ 759157 h 2052818"/>
                <a:gd name="connsiteX4164" fmla="*/ 1662488 w 2222569"/>
                <a:gd name="connsiteY4164" fmla="*/ 757202 h 2052818"/>
                <a:gd name="connsiteX4165" fmla="*/ 1661022 w 2222569"/>
                <a:gd name="connsiteY4165" fmla="*/ 755410 h 2052818"/>
                <a:gd name="connsiteX4166" fmla="*/ 1651573 w 2222569"/>
                <a:gd name="connsiteY4166" fmla="*/ 753129 h 2052818"/>
                <a:gd name="connsiteX4167" fmla="*/ 1648641 w 2222569"/>
                <a:gd name="connsiteY4167" fmla="*/ 750522 h 2052818"/>
                <a:gd name="connsiteX4168" fmla="*/ 1641961 w 2222569"/>
                <a:gd name="connsiteY4168" fmla="*/ 749219 h 2052818"/>
                <a:gd name="connsiteX4169" fmla="*/ 1639355 w 2222569"/>
                <a:gd name="connsiteY4169" fmla="*/ 749219 h 2052818"/>
                <a:gd name="connsiteX4170" fmla="*/ 1635282 w 2222569"/>
                <a:gd name="connsiteY4170" fmla="*/ 746613 h 2052818"/>
                <a:gd name="connsiteX4171" fmla="*/ 1628114 w 2222569"/>
                <a:gd name="connsiteY4171" fmla="*/ 748893 h 2052818"/>
                <a:gd name="connsiteX4172" fmla="*/ 1623716 w 2222569"/>
                <a:gd name="connsiteY4172" fmla="*/ 749219 h 2052818"/>
                <a:gd name="connsiteX4173" fmla="*/ 1618665 w 2222569"/>
                <a:gd name="connsiteY4173" fmla="*/ 753781 h 2052818"/>
                <a:gd name="connsiteX4174" fmla="*/ 1615896 w 2222569"/>
                <a:gd name="connsiteY4174" fmla="*/ 754269 h 2052818"/>
                <a:gd name="connsiteX4175" fmla="*/ 1615896 w 2222569"/>
                <a:gd name="connsiteY4175" fmla="*/ 754269 h 2052818"/>
                <a:gd name="connsiteX4176" fmla="*/ 1587061 w 2222569"/>
                <a:gd name="connsiteY4176" fmla="*/ 761926 h 2052818"/>
                <a:gd name="connsiteX4177" fmla="*/ 1586572 w 2222569"/>
                <a:gd name="connsiteY4177" fmla="*/ 756713 h 2052818"/>
                <a:gd name="connsiteX4178" fmla="*/ 1588364 w 2222569"/>
                <a:gd name="connsiteY4178" fmla="*/ 754106 h 2052818"/>
                <a:gd name="connsiteX4179" fmla="*/ 1589993 w 2222569"/>
                <a:gd name="connsiteY4179" fmla="*/ 756387 h 2052818"/>
                <a:gd name="connsiteX4180" fmla="*/ 1589993 w 2222569"/>
                <a:gd name="connsiteY4180" fmla="*/ 759482 h 2052818"/>
                <a:gd name="connsiteX4181" fmla="*/ 1587061 w 2222569"/>
                <a:gd name="connsiteY4181" fmla="*/ 761926 h 2052818"/>
                <a:gd name="connsiteX4182" fmla="*/ 1587061 w 2222569"/>
                <a:gd name="connsiteY4182" fmla="*/ 761926 h 2052818"/>
                <a:gd name="connsiteX4183" fmla="*/ 1594718 w 2222569"/>
                <a:gd name="connsiteY4183" fmla="*/ 766488 h 2052818"/>
                <a:gd name="connsiteX4184" fmla="*/ 1592926 w 2222569"/>
                <a:gd name="connsiteY4184" fmla="*/ 763229 h 2052818"/>
                <a:gd name="connsiteX4185" fmla="*/ 1594881 w 2222569"/>
                <a:gd name="connsiteY4185" fmla="*/ 761437 h 2052818"/>
                <a:gd name="connsiteX4186" fmla="*/ 1596673 w 2222569"/>
                <a:gd name="connsiteY4186" fmla="*/ 761763 h 2052818"/>
                <a:gd name="connsiteX4187" fmla="*/ 1597324 w 2222569"/>
                <a:gd name="connsiteY4187" fmla="*/ 765347 h 2052818"/>
                <a:gd name="connsiteX4188" fmla="*/ 1594718 w 2222569"/>
                <a:gd name="connsiteY4188" fmla="*/ 766650 h 2052818"/>
                <a:gd name="connsiteX4189" fmla="*/ 1594718 w 2222569"/>
                <a:gd name="connsiteY4189" fmla="*/ 766650 h 2052818"/>
                <a:gd name="connsiteX4190" fmla="*/ 1608076 w 2222569"/>
                <a:gd name="connsiteY4190" fmla="*/ 766488 h 2052818"/>
                <a:gd name="connsiteX4191" fmla="*/ 1604492 w 2222569"/>
                <a:gd name="connsiteY4191" fmla="*/ 765510 h 2052818"/>
                <a:gd name="connsiteX4192" fmla="*/ 1604003 w 2222569"/>
                <a:gd name="connsiteY4192" fmla="*/ 762578 h 2052818"/>
                <a:gd name="connsiteX4193" fmla="*/ 1606284 w 2222569"/>
                <a:gd name="connsiteY4193" fmla="*/ 762089 h 2052818"/>
                <a:gd name="connsiteX4194" fmla="*/ 1609868 w 2222569"/>
                <a:gd name="connsiteY4194" fmla="*/ 765021 h 2052818"/>
                <a:gd name="connsiteX4195" fmla="*/ 1608239 w 2222569"/>
                <a:gd name="connsiteY4195" fmla="*/ 766650 h 2052818"/>
                <a:gd name="connsiteX4196" fmla="*/ 1608239 w 2222569"/>
                <a:gd name="connsiteY4196" fmla="*/ 766650 h 2052818"/>
                <a:gd name="connsiteX4197" fmla="*/ 1290892 w 2222569"/>
                <a:gd name="connsiteY4197" fmla="*/ 874822 h 2052818"/>
                <a:gd name="connsiteX4198" fmla="*/ 1289752 w 2222569"/>
                <a:gd name="connsiteY4198" fmla="*/ 872541 h 2052818"/>
                <a:gd name="connsiteX4199" fmla="*/ 1291544 w 2222569"/>
                <a:gd name="connsiteY4199" fmla="*/ 870098 h 2052818"/>
                <a:gd name="connsiteX4200" fmla="*/ 1294802 w 2222569"/>
                <a:gd name="connsiteY4200" fmla="*/ 870098 h 2052818"/>
                <a:gd name="connsiteX4201" fmla="*/ 1296757 w 2222569"/>
                <a:gd name="connsiteY4201" fmla="*/ 871401 h 2052818"/>
                <a:gd name="connsiteX4202" fmla="*/ 1295617 w 2222569"/>
                <a:gd name="connsiteY4202" fmla="*/ 873845 h 2052818"/>
                <a:gd name="connsiteX4203" fmla="*/ 1293499 w 2222569"/>
                <a:gd name="connsiteY4203" fmla="*/ 873845 h 2052818"/>
                <a:gd name="connsiteX4204" fmla="*/ 1290892 w 2222569"/>
                <a:gd name="connsiteY4204" fmla="*/ 874822 h 2052818"/>
                <a:gd name="connsiteX4205" fmla="*/ 1290892 w 2222569"/>
                <a:gd name="connsiteY4205" fmla="*/ 874822 h 2052818"/>
                <a:gd name="connsiteX4206" fmla="*/ 1306043 w 2222569"/>
                <a:gd name="connsiteY4206" fmla="*/ 900562 h 2052818"/>
                <a:gd name="connsiteX4207" fmla="*/ 1306369 w 2222569"/>
                <a:gd name="connsiteY4207" fmla="*/ 906752 h 2052818"/>
                <a:gd name="connsiteX4208" fmla="*/ 1309301 w 2222569"/>
                <a:gd name="connsiteY4208" fmla="*/ 904146 h 2052818"/>
                <a:gd name="connsiteX4209" fmla="*/ 1310604 w 2222569"/>
                <a:gd name="connsiteY4209" fmla="*/ 904146 h 2052818"/>
                <a:gd name="connsiteX4210" fmla="*/ 1310767 w 2222569"/>
                <a:gd name="connsiteY4210" fmla="*/ 899910 h 2052818"/>
                <a:gd name="connsiteX4211" fmla="*/ 1308486 w 2222569"/>
                <a:gd name="connsiteY4211" fmla="*/ 898281 h 2052818"/>
                <a:gd name="connsiteX4212" fmla="*/ 1306043 w 2222569"/>
                <a:gd name="connsiteY4212" fmla="*/ 900562 h 2052818"/>
                <a:gd name="connsiteX4213" fmla="*/ 1306043 w 2222569"/>
                <a:gd name="connsiteY4213" fmla="*/ 900562 h 2052818"/>
                <a:gd name="connsiteX4214" fmla="*/ 1301481 w 2222569"/>
                <a:gd name="connsiteY4214" fmla="*/ 900888 h 2052818"/>
                <a:gd name="connsiteX4215" fmla="*/ 1299852 w 2222569"/>
                <a:gd name="connsiteY4215" fmla="*/ 904309 h 2052818"/>
                <a:gd name="connsiteX4216" fmla="*/ 1302133 w 2222569"/>
                <a:gd name="connsiteY4216" fmla="*/ 906915 h 2052818"/>
                <a:gd name="connsiteX4217" fmla="*/ 1302133 w 2222569"/>
                <a:gd name="connsiteY4217" fmla="*/ 909359 h 2052818"/>
                <a:gd name="connsiteX4218" fmla="*/ 1303273 w 2222569"/>
                <a:gd name="connsiteY4218" fmla="*/ 910825 h 2052818"/>
                <a:gd name="connsiteX4219" fmla="*/ 1304577 w 2222569"/>
                <a:gd name="connsiteY4219" fmla="*/ 908870 h 2052818"/>
                <a:gd name="connsiteX4220" fmla="*/ 1304251 w 2222569"/>
                <a:gd name="connsiteY4220" fmla="*/ 902028 h 2052818"/>
                <a:gd name="connsiteX4221" fmla="*/ 1302621 w 2222569"/>
                <a:gd name="connsiteY4221" fmla="*/ 900073 h 2052818"/>
                <a:gd name="connsiteX4222" fmla="*/ 1301481 w 2222569"/>
                <a:gd name="connsiteY4222" fmla="*/ 901051 h 2052818"/>
                <a:gd name="connsiteX4223" fmla="*/ 1301481 w 2222569"/>
                <a:gd name="connsiteY4223" fmla="*/ 901051 h 2052818"/>
                <a:gd name="connsiteX4224" fmla="*/ 1399715 w 2222569"/>
                <a:gd name="connsiteY4224" fmla="*/ 883293 h 2052818"/>
                <a:gd name="connsiteX4225" fmla="*/ 1398412 w 2222569"/>
                <a:gd name="connsiteY4225" fmla="*/ 881013 h 2052818"/>
                <a:gd name="connsiteX4226" fmla="*/ 1394665 w 2222569"/>
                <a:gd name="connsiteY4226" fmla="*/ 881013 h 2052818"/>
                <a:gd name="connsiteX4227" fmla="*/ 1391733 w 2222569"/>
                <a:gd name="connsiteY4227" fmla="*/ 877917 h 2052818"/>
                <a:gd name="connsiteX4228" fmla="*/ 1390755 w 2222569"/>
                <a:gd name="connsiteY4228" fmla="*/ 880035 h 2052818"/>
                <a:gd name="connsiteX4229" fmla="*/ 1387660 w 2222569"/>
                <a:gd name="connsiteY4229" fmla="*/ 879221 h 2052818"/>
                <a:gd name="connsiteX4230" fmla="*/ 1387660 w 2222569"/>
                <a:gd name="connsiteY4230" fmla="*/ 874822 h 2052818"/>
                <a:gd name="connsiteX4231" fmla="*/ 1385379 w 2222569"/>
                <a:gd name="connsiteY4231" fmla="*/ 873193 h 2052818"/>
                <a:gd name="connsiteX4232" fmla="*/ 1390593 w 2222569"/>
                <a:gd name="connsiteY4232" fmla="*/ 871890 h 2052818"/>
                <a:gd name="connsiteX4233" fmla="*/ 1391570 w 2222569"/>
                <a:gd name="connsiteY4233" fmla="*/ 870261 h 2052818"/>
                <a:gd name="connsiteX4234" fmla="*/ 1395643 w 2222569"/>
                <a:gd name="connsiteY4234" fmla="*/ 870586 h 2052818"/>
                <a:gd name="connsiteX4235" fmla="*/ 1398412 w 2222569"/>
                <a:gd name="connsiteY4235" fmla="*/ 874333 h 2052818"/>
                <a:gd name="connsiteX4236" fmla="*/ 1403788 w 2222569"/>
                <a:gd name="connsiteY4236" fmla="*/ 875311 h 2052818"/>
                <a:gd name="connsiteX4237" fmla="*/ 1404603 w 2222569"/>
                <a:gd name="connsiteY4237" fmla="*/ 879384 h 2052818"/>
                <a:gd name="connsiteX4238" fmla="*/ 1402974 w 2222569"/>
                <a:gd name="connsiteY4238" fmla="*/ 882316 h 2052818"/>
                <a:gd name="connsiteX4239" fmla="*/ 1399878 w 2222569"/>
                <a:gd name="connsiteY4239" fmla="*/ 883130 h 2052818"/>
                <a:gd name="connsiteX4240" fmla="*/ 1399878 w 2222569"/>
                <a:gd name="connsiteY4240" fmla="*/ 883130 h 2052818"/>
                <a:gd name="connsiteX4241" fmla="*/ 1455593 w 2222569"/>
                <a:gd name="connsiteY4241" fmla="*/ 905612 h 2052818"/>
                <a:gd name="connsiteX4242" fmla="*/ 1452335 w 2222569"/>
                <a:gd name="connsiteY4242" fmla="*/ 905612 h 2052818"/>
                <a:gd name="connsiteX4243" fmla="*/ 1450217 w 2222569"/>
                <a:gd name="connsiteY4243" fmla="*/ 900399 h 2052818"/>
                <a:gd name="connsiteX4244" fmla="*/ 1453150 w 2222569"/>
                <a:gd name="connsiteY4244" fmla="*/ 901539 h 2052818"/>
                <a:gd name="connsiteX4245" fmla="*/ 1456082 w 2222569"/>
                <a:gd name="connsiteY4245" fmla="*/ 901539 h 2052818"/>
                <a:gd name="connsiteX4246" fmla="*/ 1456896 w 2222569"/>
                <a:gd name="connsiteY4246" fmla="*/ 904309 h 2052818"/>
                <a:gd name="connsiteX4247" fmla="*/ 1455593 w 2222569"/>
                <a:gd name="connsiteY4247" fmla="*/ 905449 h 2052818"/>
                <a:gd name="connsiteX4248" fmla="*/ 1455593 w 2222569"/>
                <a:gd name="connsiteY4248" fmla="*/ 905449 h 2052818"/>
                <a:gd name="connsiteX4249" fmla="*/ 1461295 w 2222569"/>
                <a:gd name="connsiteY4249" fmla="*/ 906264 h 2052818"/>
                <a:gd name="connsiteX4250" fmla="*/ 1465205 w 2222569"/>
                <a:gd name="connsiteY4250" fmla="*/ 907404 h 2052818"/>
                <a:gd name="connsiteX4251" fmla="*/ 1463576 w 2222569"/>
                <a:gd name="connsiteY4251" fmla="*/ 904797 h 2052818"/>
                <a:gd name="connsiteX4252" fmla="*/ 1461295 w 2222569"/>
                <a:gd name="connsiteY4252" fmla="*/ 906264 h 2052818"/>
                <a:gd name="connsiteX4253" fmla="*/ 1461295 w 2222569"/>
                <a:gd name="connsiteY4253" fmla="*/ 906264 h 2052818"/>
                <a:gd name="connsiteX4254" fmla="*/ 1469603 w 2222569"/>
                <a:gd name="connsiteY4254" fmla="*/ 908870 h 2052818"/>
                <a:gd name="connsiteX4255" fmla="*/ 1472699 w 2222569"/>
                <a:gd name="connsiteY4255" fmla="*/ 909359 h 2052818"/>
                <a:gd name="connsiteX4256" fmla="*/ 1474654 w 2222569"/>
                <a:gd name="connsiteY4256" fmla="*/ 911314 h 2052818"/>
                <a:gd name="connsiteX4257" fmla="*/ 1477423 w 2222569"/>
                <a:gd name="connsiteY4257" fmla="*/ 910825 h 2052818"/>
                <a:gd name="connsiteX4258" fmla="*/ 1477423 w 2222569"/>
                <a:gd name="connsiteY4258" fmla="*/ 908544 h 2052818"/>
                <a:gd name="connsiteX4259" fmla="*/ 1473513 w 2222569"/>
                <a:gd name="connsiteY4259" fmla="*/ 906426 h 2052818"/>
                <a:gd name="connsiteX4260" fmla="*/ 1473025 w 2222569"/>
                <a:gd name="connsiteY4260" fmla="*/ 905123 h 2052818"/>
                <a:gd name="connsiteX4261" fmla="*/ 1469115 w 2222569"/>
                <a:gd name="connsiteY4261" fmla="*/ 905123 h 2052818"/>
                <a:gd name="connsiteX4262" fmla="*/ 1468137 w 2222569"/>
                <a:gd name="connsiteY4262" fmla="*/ 907567 h 2052818"/>
                <a:gd name="connsiteX4263" fmla="*/ 1469603 w 2222569"/>
                <a:gd name="connsiteY4263" fmla="*/ 908870 h 2052818"/>
                <a:gd name="connsiteX4264" fmla="*/ 1469603 w 2222569"/>
                <a:gd name="connsiteY4264" fmla="*/ 908870 h 2052818"/>
                <a:gd name="connsiteX4265" fmla="*/ 1528577 w 2222569"/>
                <a:gd name="connsiteY4265" fmla="*/ 988696 h 2052818"/>
                <a:gd name="connsiteX4266" fmla="*/ 1528577 w 2222569"/>
                <a:gd name="connsiteY4266" fmla="*/ 986089 h 2052818"/>
                <a:gd name="connsiteX4267" fmla="*/ 1530531 w 2222569"/>
                <a:gd name="connsiteY4267" fmla="*/ 983645 h 2052818"/>
                <a:gd name="connsiteX4268" fmla="*/ 1529228 w 2222569"/>
                <a:gd name="connsiteY4268" fmla="*/ 978921 h 2052818"/>
                <a:gd name="connsiteX4269" fmla="*/ 1531672 w 2222569"/>
                <a:gd name="connsiteY4269" fmla="*/ 979899 h 2052818"/>
                <a:gd name="connsiteX4270" fmla="*/ 1534441 w 2222569"/>
                <a:gd name="connsiteY4270" fmla="*/ 981853 h 2052818"/>
                <a:gd name="connsiteX4271" fmla="*/ 1533301 w 2222569"/>
                <a:gd name="connsiteY4271" fmla="*/ 984949 h 2052818"/>
                <a:gd name="connsiteX4272" fmla="*/ 1532812 w 2222569"/>
                <a:gd name="connsiteY4272" fmla="*/ 988370 h 2052818"/>
                <a:gd name="connsiteX4273" fmla="*/ 1528739 w 2222569"/>
                <a:gd name="connsiteY4273" fmla="*/ 988696 h 2052818"/>
                <a:gd name="connsiteX4274" fmla="*/ 1528739 w 2222569"/>
                <a:gd name="connsiteY4274" fmla="*/ 988696 h 2052818"/>
                <a:gd name="connsiteX4275" fmla="*/ 1524015 w 2222569"/>
                <a:gd name="connsiteY4275" fmla="*/ 1004172 h 2052818"/>
                <a:gd name="connsiteX4276" fmla="*/ 1522223 w 2222569"/>
                <a:gd name="connsiteY4276" fmla="*/ 998144 h 2052818"/>
                <a:gd name="connsiteX4277" fmla="*/ 1524341 w 2222569"/>
                <a:gd name="connsiteY4277" fmla="*/ 994235 h 2052818"/>
                <a:gd name="connsiteX4278" fmla="*/ 1525807 w 2222569"/>
                <a:gd name="connsiteY4278" fmla="*/ 995212 h 2052818"/>
                <a:gd name="connsiteX4279" fmla="*/ 1530043 w 2222569"/>
                <a:gd name="connsiteY4279" fmla="*/ 995538 h 2052818"/>
                <a:gd name="connsiteX4280" fmla="*/ 1530043 w 2222569"/>
                <a:gd name="connsiteY4280" fmla="*/ 998796 h 2052818"/>
                <a:gd name="connsiteX4281" fmla="*/ 1526133 w 2222569"/>
                <a:gd name="connsiteY4281" fmla="*/ 999611 h 2052818"/>
                <a:gd name="connsiteX4282" fmla="*/ 1525644 w 2222569"/>
                <a:gd name="connsiteY4282" fmla="*/ 1002869 h 2052818"/>
                <a:gd name="connsiteX4283" fmla="*/ 1524015 w 2222569"/>
                <a:gd name="connsiteY4283" fmla="*/ 1004009 h 2052818"/>
                <a:gd name="connsiteX4284" fmla="*/ 1524015 w 2222569"/>
                <a:gd name="connsiteY4284" fmla="*/ 1004009 h 2052818"/>
                <a:gd name="connsiteX4285" fmla="*/ 1488501 w 2222569"/>
                <a:gd name="connsiteY4285" fmla="*/ 926953 h 2052818"/>
                <a:gd name="connsiteX4286" fmla="*/ 1486872 w 2222569"/>
                <a:gd name="connsiteY4286" fmla="*/ 924672 h 2052818"/>
                <a:gd name="connsiteX4287" fmla="*/ 1489153 w 2222569"/>
                <a:gd name="connsiteY4287" fmla="*/ 925161 h 2052818"/>
                <a:gd name="connsiteX4288" fmla="*/ 1488501 w 2222569"/>
                <a:gd name="connsiteY4288" fmla="*/ 926953 h 2052818"/>
                <a:gd name="connsiteX4289" fmla="*/ 1488501 w 2222569"/>
                <a:gd name="connsiteY4289" fmla="*/ 926953 h 2052818"/>
                <a:gd name="connsiteX4290" fmla="*/ 1481333 w 2222569"/>
                <a:gd name="connsiteY4290" fmla="*/ 927768 h 2052818"/>
                <a:gd name="connsiteX4291" fmla="*/ 1478889 w 2222569"/>
                <a:gd name="connsiteY4291" fmla="*/ 923369 h 2052818"/>
                <a:gd name="connsiteX4292" fmla="*/ 1481496 w 2222569"/>
                <a:gd name="connsiteY4292" fmla="*/ 924835 h 2052818"/>
                <a:gd name="connsiteX4293" fmla="*/ 1481985 w 2222569"/>
                <a:gd name="connsiteY4293" fmla="*/ 926627 h 2052818"/>
                <a:gd name="connsiteX4294" fmla="*/ 1481170 w 2222569"/>
                <a:gd name="connsiteY4294" fmla="*/ 927768 h 2052818"/>
                <a:gd name="connsiteX4295" fmla="*/ 1481170 w 2222569"/>
                <a:gd name="connsiteY4295" fmla="*/ 927768 h 2052818"/>
                <a:gd name="connsiteX4296" fmla="*/ 1482799 w 2222569"/>
                <a:gd name="connsiteY4296" fmla="*/ 931189 h 2052818"/>
                <a:gd name="connsiteX4297" fmla="*/ 1484591 w 2222569"/>
                <a:gd name="connsiteY4297" fmla="*/ 933469 h 2052818"/>
                <a:gd name="connsiteX4298" fmla="*/ 1487198 w 2222569"/>
                <a:gd name="connsiteY4298" fmla="*/ 933144 h 2052818"/>
                <a:gd name="connsiteX4299" fmla="*/ 1490456 w 2222569"/>
                <a:gd name="connsiteY4299" fmla="*/ 934610 h 2052818"/>
                <a:gd name="connsiteX4300" fmla="*/ 1490782 w 2222569"/>
                <a:gd name="connsiteY4300" fmla="*/ 931677 h 2052818"/>
                <a:gd name="connsiteX4301" fmla="*/ 1488012 w 2222569"/>
                <a:gd name="connsiteY4301" fmla="*/ 929885 h 2052818"/>
                <a:gd name="connsiteX4302" fmla="*/ 1484102 w 2222569"/>
                <a:gd name="connsiteY4302" fmla="*/ 929885 h 2052818"/>
                <a:gd name="connsiteX4303" fmla="*/ 1482962 w 2222569"/>
                <a:gd name="connsiteY4303" fmla="*/ 931352 h 2052818"/>
                <a:gd name="connsiteX4304" fmla="*/ 1482962 w 2222569"/>
                <a:gd name="connsiteY4304" fmla="*/ 931352 h 2052818"/>
                <a:gd name="connsiteX4305" fmla="*/ 1515870 w 2222569"/>
                <a:gd name="connsiteY4305" fmla="*/ 917830 h 2052818"/>
                <a:gd name="connsiteX4306" fmla="*/ 1519617 w 2222569"/>
                <a:gd name="connsiteY4306" fmla="*/ 918645 h 2052818"/>
                <a:gd name="connsiteX4307" fmla="*/ 1520594 w 2222569"/>
                <a:gd name="connsiteY4307" fmla="*/ 921251 h 2052818"/>
                <a:gd name="connsiteX4308" fmla="*/ 1521897 w 2222569"/>
                <a:gd name="connsiteY4308" fmla="*/ 922880 h 2052818"/>
                <a:gd name="connsiteX4309" fmla="*/ 1521246 w 2222569"/>
                <a:gd name="connsiteY4309" fmla="*/ 925161 h 2052818"/>
                <a:gd name="connsiteX4310" fmla="*/ 1522386 w 2222569"/>
                <a:gd name="connsiteY4310" fmla="*/ 927605 h 2052818"/>
                <a:gd name="connsiteX4311" fmla="*/ 1525318 w 2222569"/>
                <a:gd name="connsiteY4311" fmla="*/ 926464 h 2052818"/>
                <a:gd name="connsiteX4312" fmla="*/ 1525644 w 2222569"/>
                <a:gd name="connsiteY4312" fmla="*/ 923043 h 2052818"/>
                <a:gd name="connsiteX4313" fmla="*/ 1528739 w 2222569"/>
                <a:gd name="connsiteY4313" fmla="*/ 924347 h 2052818"/>
                <a:gd name="connsiteX4314" fmla="*/ 1532649 w 2222569"/>
                <a:gd name="connsiteY4314" fmla="*/ 923369 h 2052818"/>
                <a:gd name="connsiteX4315" fmla="*/ 1534441 w 2222569"/>
                <a:gd name="connsiteY4315" fmla="*/ 923858 h 2052818"/>
                <a:gd name="connsiteX4316" fmla="*/ 1537211 w 2222569"/>
                <a:gd name="connsiteY4316" fmla="*/ 921088 h 2052818"/>
                <a:gd name="connsiteX4317" fmla="*/ 1534767 w 2222569"/>
                <a:gd name="connsiteY4317" fmla="*/ 917830 h 2052818"/>
                <a:gd name="connsiteX4318" fmla="*/ 1528414 w 2222569"/>
                <a:gd name="connsiteY4318" fmla="*/ 916690 h 2052818"/>
                <a:gd name="connsiteX4319" fmla="*/ 1524667 w 2222569"/>
                <a:gd name="connsiteY4319" fmla="*/ 913106 h 2052818"/>
                <a:gd name="connsiteX4320" fmla="*/ 1520105 w 2222569"/>
                <a:gd name="connsiteY4320" fmla="*/ 912291 h 2052818"/>
                <a:gd name="connsiteX4321" fmla="*/ 1519617 w 2222569"/>
                <a:gd name="connsiteY4321" fmla="*/ 914898 h 2052818"/>
                <a:gd name="connsiteX4322" fmla="*/ 1515707 w 2222569"/>
                <a:gd name="connsiteY4322" fmla="*/ 917667 h 2052818"/>
                <a:gd name="connsiteX4323" fmla="*/ 1515707 w 2222569"/>
                <a:gd name="connsiteY4323" fmla="*/ 917667 h 2052818"/>
                <a:gd name="connsiteX4324" fmla="*/ 1573377 w 2222569"/>
                <a:gd name="connsiteY4324" fmla="*/ 913920 h 2052818"/>
                <a:gd name="connsiteX4325" fmla="*/ 1574191 w 2222569"/>
                <a:gd name="connsiteY4325" fmla="*/ 910662 h 2052818"/>
                <a:gd name="connsiteX4326" fmla="*/ 1576635 w 2222569"/>
                <a:gd name="connsiteY4326" fmla="*/ 909685 h 2052818"/>
                <a:gd name="connsiteX4327" fmla="*/ 1575332 w 2222569"/>
                <a:gd name="connsiteY4327" fmla="*/ 913432 h 2052818"/>
                <a:gd name="connsiteX4328" fmla="*/ 1573377 w 2222569"/>
                <a:gd name="connsiteY4328" fmla="*/ 914083 h 2052818"/>
                <a:gd name="connsiteX4329" fmla="*/ 1573377 w 2222569"/>
                <a:gd name="connsiteY4329" fmla="*/ 914083 h 2052818"/>
                <a:gd name="connsiteX4330" fmla="*/ 1553339 w 2222569"/>
                <a:gd name="connsiteY4330" fmla="*/ 937379 h 2052818"/>
                <a:gd name="connsiteX4331" fmla="*/ 1556434 w 2222569"/>
                <a:gd name="connsiteY4331" fmla="*/ 934121 h 2052818"/>
                <a:gd name="connsiteX4332" fmla="*/ 1559041 w 2222569"/>
                <a:gd name="connsiteY4332" fmla="*/ 929560 h 2052818"/>
                <a:gd name="connsiteX4333" fmla="*/ 1562787 w 2222569"/>
                <a:gd name="connsiteY4333" fmla="*/ 929560 h 2052818"/>
                <a:gd name="connsiteX4334" fmla="*/ 1564905 w 2222569"/>
                <a:gd name="connsiteY4334" fmla="*/ 926301 h 2052818"/>
                <a:gd name="connsiteX4335" fmla="*/ 1566697 w 2222569"/>
                <a:gd name="connsiteY4335" fmla="*/ 925976 h 2052818"/>
                <a:gd name="connsiteX4336" fmla="*/ 1568652 w 2222569"/>
                <a:gd name="connsiteY4336" fmla="*/ 928582 h 2052818"/>
                <a:gd name="connsiteX4337" fmla="*/ 1568327 w 2222569"/>
                <a:gd name="connsiteY4337" fmla="*/ 930863 h 2052818"/>
                <a:gd name="connsiteX4338" fmla="*/ 1563439 w 2222569"/>
                <a:gd name="connsiteY4338" fmla="*/ 933144 h 2052818"/>
                <a:gd name="connsiteX4339" fmla="*/ 1559366 w 2222569"/>
                <a:gd name="connsiteY4339" fmla="*/ 936402 h 2052818"/>
                <a:gd name="connsiteX4340" fmla="*/ 1555782 w 2222569"/>
                <a:gd name="connsiteY4340" fmla="*/ 936402 h 2052818"/>
                <a:gd name="connsiteX4341" fmla="*/ 1553339 w 2222569"/>
                <a:gd name="connsiteY4341" fmla="*/ 937216 h 2052818"/>
                <a:gd name="connsiteX4342" fmla="*/ 1553339 w 2222569"/>
                <a:gd name="connsiteY4342" fmla="*/ 937216 h 2052818"/>
                <a:gd name="connsiteX4343" fmla="*/ 1534604 w 2222569"/>
                <a:gd name="connsiteY4343" fmla="*/ 968658 h 2052818"/>
                <a:gd name="connsiteX4344" fmla="*/ 1544216 w 2222569"/>
                <a:gd name="connsiteY4344" fmla="*/ 960675 h 2052818"/>
                <a:gd name="connsiteX4345" fmla="*/ 1546171 w 2222569"/>
                <a:gd name="connsiteY4345" fmla="*/ 957091 h 2052818"/>
                <a:gd name="connsiteX4346" fmla="*/ 1548777 w 2222569"/>
                <a:gd name="connsiteY4346" fmla="*/ 957091 h 2052818"/>
                <a:gd name="connsiteX4347" fmla="*/ 1553013 w 2222569"/>
                <a:gd name="connsiteY4347" fmla="*/ 952856 h 2052818"/>
                <a:gd name="connsiteX4348" fmla="*/ 1557249 w 2222569"/>
                <a:gd name="connsiteY4348" fmla="*/ 949434 h 2052818"/>
                <a:gd name="connsiteX4349" fmla="*/ 1556923 w 2222569"/>
                <a:gd name="connsiteY4349" fmla="*/ 944384 h 2052818"/>
                <a:gd name="connsiteX4350" fmla="*/ 1554479 w 2222569"/>
                <a:gd name="connsiteY4350" fmla="*/ 943081 h 2052818"/>
                <a:gd name="connsiteX4351" fmla="*/ 1550569 w 2222569"/>
                <a:gd name="connsiteY4351" fmla="*/ 944059 h 2052818"/>
                <a:gd name="connsiteX4352" fmla="*/ 1549592 w 2222569"/>
                <a:gd name="connsiteY4352" fmla="*/ 948131 h 2052818"/>
                <a:gd name="connsiteX4353" fmla="*/ 1547148 w 2222569"/>
                <a:gd name="connsiteY4353" fmla="*/ 948131 h 2052818"/>
                <a:gd name="connsiteX4354" fmla="*/ 1542750 w 2222569"/>
                <a:gd name="connsiteY4354" fmla="*/ 952856 h 2052818"/>
                <a:gd name="connsiteX4355" fmla="*/ 1538840 w 2222569"/>
                <a:gd name="connsiteY4355" fmla="*/ 954648 h 2052818"/>
                <a:gd name="connsiteX4356" fmla="*/ 1532161 w 2222569"/>
                <a:gd name="connsiteY4356" fmla="*/ 954648 h 2052818"/>
                <a:gd name="connsiteX4357" fmla="*/ 1528414 w 2222569"/>
                <a:gd name="connsiteY4357" fmla="*/ 956440 h 2052818"/>
                <a:gd name="connsiteX4358" fmla="*/ 1526622 w 2222569"/>
                <a:gd name="connsiteY4358" fmla="*/ 960512 h 2052818"/>
                <a:gd name="connsiteX4359" fmla="*/ 1522875 w 2222569"/>
                <a:gd name="connsiteY4359" fmla="*/ 963119 h 2052818"/>
                <a:gd name="connsiteX4360" fmla="*/ 1524341 w 2222569"/>
                <a:gd name="connsiteY4360" fmla="*/ 968821 h 2052818"/>
                <a:gd name="connsiteX4361" fmla="*/ 1526133 w 2222569"/>
                <a:gd name="connsiteY4361" fmla="*/ 967355 h 2052818"/>
                <a:gd name="connsiteX4362" fmla="*/ 1530857 w 2222569"/>
                <a:gd name="connsiteY4362" fmla="*/ 968495 h 2052818"/>
                <a:gd name="connsiteX4363" fmla="*/ 1534116 w 2222569"/>
                <a:gd name="connsiteY4363" fmla="*/ 968495 h 2052818"/>
                <a:gd name="connsiteX4364" fmla="*/ 1575657 w 2222569"/>
                <a:gd name="connsiteY4364" fmla="*/ 963933 h 2052818"/>
                <a:gd name="connsiteX4365" fmla="*/ 1574354 w 2222569"/>
                <a:gd name="connsiteY4365" fmla="*/ 956603 h 2052818"/>
                <a:gd name="connsiteX4366" fmla="*/ 1576146 w 2222569"/>
                <a:gd name="connsiteY4366" fmla="*/ 954648 h 2052818"/>
                <a:gd name="connsiteX4367" fmla="*/ 1578753 w 2222569"/>
                <a:gd name="connsiteY4367" fmla="*/ 949109 h 2052818"/>
                <a:gd name="connsiteX4368" fmla="*/ 1581522 w 2222569"/>
                <a:gd name="connsiteY4368" fmla="*/ 949597 h 2052818"/>
                <a:gd name="connsiteX4369" fmla="*/ 1587224 w 2222569"/>
                <a:gd name="connsiteY4369" fmla="*/ 950086 h 2052818"/>
                <a:gd name="connsiteX4370" fmla="*/ 1588201 w 2222569"/>
                <a:gd name="connsiteY4370" fmla="*/ 955788 h 2052818"/>
                <a:gd name="connsiteX4371" fmla="*/ 1585921 w 2222569"/>
                <a:gd name="connsiteY4371" fmla="*/ 960024 h 2052818"/>
                <a:gd name="connsiteX4372" fmla="*/ 1582825 w 2222569"/>
                <a:gd name="connsiteY4372" fmla="*/ 960349 h 2052818"/>
                <a:gd name="connsiteX4373" fmla="*/ 1579730 w 2222569"/>
                <a:gd name="connsiteY4373" fmla="*/ 964585 h 2052818"/>
                <a:gd name="connsiteX4374" fmla="*/ 1575657 w 2222569"/>
                <a:gd name="connsiteY4374" fmla="*/ 963933 h 2052818"/>
                <a:gd name="connsiteX4375" fmla="*/ 1575657 w 2222569"/>
                <a:gd name="connsiteY4375" fmla="*/ 963933 h 2052818"/>
                <a:gd name="connsiteX4376" fmla="*/ 1609054 w 2222569"/>
                <a:gd name="connsiteY4376" fmla="*/ 1005638 h 2052818"/>
                <a:gd name="connsiteX4377" fmla="*/ 1608076 w 2222569"/>
                <a:gd name="connsiteY4377" fmla="*/ 998307 h 2052818"/>
                <a:gd name="connsiteX4378" fmla="*/ 1609054 w 2222569"/>
                <a:gd name="connsiteY4378" fmla="*/ 991465 h 2052818"/>
                <a:gd name="connsiteX4379" fmla="*/ 1606447 w 2222569"/>
                <a:gd name="connsiteY4379" fmla="*/ 987555 h 2052818"/>
                <a:gd name="connsiteX4380" fmla="*/ 1603841 w 2222569"/>
                <a:gd name="connsiteY4380" fmla="*/ 988370 h 2052818"/>
                <a:gd name="connsiteX4381" fmla="*/ 1603515 w 2222569"/>
                <a:gd name="connsiteY4381" fmla="*/ 992768 h 2052818"/>
                <a:gd name="connsiteX4382" fmla="*/ 1601071 w 2222569"/>
                <a:gd name="connsiteY4382" fmla="*/ 997981 h 2052818"/>
                <a:gd name="connsiteX4383" fmla="*/ 1601886 w 2222569"/>
                <a:gd name="connsiteY4383" fmla="*/ 1002706 h 2052818"/>
                <a:gd name="connsiteX4384" fmla="*/ 1603678 w 2222569"/>
                <a:gd name="connsiteY4384" fmla="*/ 1005149 h 2052818"/>
                <a:gd name="connsiteX4385" fmla="*/ 1604329 w 2222569"/>
                <a:gd name="connsiteY4385" fmla="*/ 1008733 h 2052818"/>
                <a:gd name="connsiteX4386" fmla="*/ 1606773 w 2222569"/>
                <a:gd name="connsiteY4386" fmla="*/ 1006941 h 2052818"/>
                <a:gd name="connsiteX4387" fmla="*/ 1609054 w 2222569"/>
                <a:gd name="connsiteY4387" fmla="*/ 1005964 h 2052818"/>
                <a:gd name="connsiteX4388" fmla="*/ 1609054 w 2222569"/>
                <a:gd name="connsiteY4388" fmla="*/ 1005964 h 2052818"/>
                <a:gd name="connsiteX4389" fmla="*/ 1612963 w 2222569"/>
                <a:gd name="connsiteY4389" fmla="*/ 1001891 h 2052818"/>
                <a:gd name="connsiteX4390" fmla="*/ 1611823 w 2222569"/>
                <a:gd name="connsiteY4390" fmla="*/ 997981 h 2052818"/>
                <a:gd name="connsiteX4391" fmla="*/ 1613127 w 2222569"/>
                <a:gd name="connsiteY4391" fmla="*/ 992280 h 2052818"/>
                <a:gd name="connsiteX4392" fmla="*/ 1614593 w 2222569"/>
                <a:gd name="connsiteY4392" fmla="*/ 997167 h 2052818"/>
                <a:gd name="connsiteX4393" fmla="*/ 1616222 w 2222569"/>
                <a:gd name="connsiteY4393" fmla="*/ 1000099 h 2052818"/>
                <a:gd name="connsiteX4394" fmla="*/ 1614593 w 2222569"/>
                <a:gd name="connsiteY4394" fmla="*/ 1002217 h 2052818"/>
                <a:gd name="connsiteX4395" fmla="*/ 1612801 w 2222569"/>
                <a:gd name="connsiteY4395" fmla="*/ 1002217 h 2052818"/>
                <a:gd name="connsiteX4396" fmla="*/ 1619969 w 2222569"/>
                <a:gd name="connsiteY4396" fmla="*/ 1012480 h 2052818"/>
                <a:gd name="connsiteX4397" fmla="*/ 1618177 w 2222569"/>
                <a:gd name="connsiteY4397" fmla="*/ 1009548 h 2052818"/>
                <a:gd name="connsiteX4398" fmla="*/ 1619806 w 2222569"/>
                <a:gd name="connsiteY4398" fmla="*/ 1006290 h 2052818"/>
                <a:gd name="connsiteX4399" fmla="*/ 1621109 w 2222569"/>
                <a:gd name="connsiteY4399" fmla="*/ 1007267 h 2052818"/>
                <a:gd name="connsiteX4400" fmla="*/ 1621435 w 2222569"/>
                <a:gd name="connsiteY4400" fmla="*/ 1011177 h 2052818"/>
                <a:gd name="connsiteX4401" fmla="*/ 1619969 w 2222569"/>
                <a:gd name="connsiteY4401" fmla="*/ 1012643 h 2052818"/>
                <a:gd name="connsiteX4402" fmla="*/ 1619969 w 2222569"/>
                <a:gd name="connsiteY4402" fmla="*/ 1012643 h 2052818"/>
                <a:gd name="connsiteX4403" fmla="*/ 1603189 w 2222569"/>
                <a:gd name="connsiteY4403" fmla="*/ 1022907 h 2052818"/>
                <a:gd name="connsiteX4404" fmla="*/ 1602211 w 2222569"/>
                <a:gd name="connsiteY4404" fmla="*/ 1024699 h 2052818"/>
                <a:gd name="connsiteX4405" fmla="*/ 1603515 w 2222569"/>
                <a:gd name="connsiteY4405" fmla="*/ 1029260 h 2052818"/>
                <a:gd name="connsiteX4406" fmla="*/ 1604492 w 2222569"/>
                <a:gd name="connsiteY4406" fmla="*/ 1035613 h 2052818"/>
                <a:gd name="connsiteX4407" fmla="*/ 1606610 w 2222569"/>
                <a:gd name="connsiteY4407" fmla="*/ 1037080 h 2052818"/>
                <a:gd name="connsiteX4408" fmla="*/ 1609379 w 2222569"/>
                <a:gd name="connsiteY4408" fmla="*/ 1035939 h 2052818"/>
                <a:gd name="connsiteX4409" fmla="*/ 1613941 w 2222569"/>
                <a:gd name="connsiteY4409" fmla="*/ 1037243 h 2052818"/>
                <a:gd name="connsiteX4410" fmla="*/ 1616385 w 2222569"/>
                <a:gd name="connsiteY4410" fmla="*/ 1038383 h 2052818"/>
                <a:gd name="connsiteX4411" fmla="*/ 1620457 w 2222569"/>
                <a:gd name="connsiteY4411" fmla="*/ 1037568 h 2052818"/>
                <a:gd name="connsiteX4412" fmla="*/ 1625019 w 2222569"/>
                <a:gd name="connsiteY4412" fmla="*/ 1039035 h 2052818"/>
                <a:gd name="connsiteX4413" fmla="*/ 1626811 w 2222569"/>
                <a:gd name="connsiteY4413" fmla="*/ 1035776 h 2052818"/>
                <a:gd name="connsiteX4414" fmla="*/ 1625345 w 2222569"/>
                <a:gd name="connsiteY4414" fmla="*/ 1032844 h 2052818"/>
                <a:gd name="connsiteX4415" fmla="*/ 1625670 w 2222569"/>
                <a:gd name="connsiteY4415" fmla="*/ 1027631 h 2052818"/>
                <a:gd name="connsiteX4416" fmla="*/ 1620620 w 2222569"/>
                <a:gd name="connsiteY4416" fmla="*/ 1027305 h 2052818"/>
                <a:gd name="connsiteX4417" fmla="*/ 1618340 w 2222569"/>
                <a:gd name="connsiteY4417" fmla="*/ 1023721 h 2052818"/>
                <a:gd name="connsiteX4418" fmla="*/ 1614430 w 2222569"/>
                <a:gd name="connsiteY4418" fmla="*/ 1023232 h 2052818"/>
                <a:gd name="connsiteX4419" fmla="*/ 1612638 w 2222569"/>
                <a:gd name="connsiteY4419" fmla="*/ 1024210 h 2052818"/>
                <a:gd name="connsiteX4420" fmla="*/ 1612638 w 2222569"/>
                <a:gd name="connsiteY4420" fmla="*/ 1021603 h 2052818"/>
                <a:gd name="connsiteX4421" fmla="*/ 1612312 w 2222569"/>
                <a:gd name="connsiteY4421" fmla="*/ 1018834 h 2052818"/>
                <a:gd name="connsiteX4422" fmla="*/ 1610520 w 2222569"/>
                <a:gd name="connsiteY4422" fmla="*/ 1019485 h 2052818"/>
                <a:gd name="connsiteX4423" fmla="*/ 1608728 w 2222569"/>
                <a:gd name="connsiteY4423" fmla="*/ 1022581 h 2052818"/>
                <a:gd name="connsiteX4424" fmla="*/ 1606284 w 2222569"/>
                <a:gd name="connsiteY4424" fmla="*/ 1023069 h 2052818"/>
                <a:gd name="connsiteX4425" fmla="*/ 1603026 w 2222569"/>
                <a:gd name="connsiteY4425" fmla="*/ 1023069 h 2052818"/>
                <a:gd name="connsiteX4426" fmla="*/ 1469115 w 2222569"/>
                <a:gd name="connsiteY4426" fmla="*/ 1210415 h 2052818"/>
                <a:gd name="connsiteX4427" fmla="*/ 1474654 w 2222569"/>
                <a:gd name="connsiteY4427" fmla="*/ 1210904 h 2052818"/>
                <a:gd name="connsiteX4428" fmla="*/ 1476446 w 2222569"/>
                <a:gd name="connsiteY4428" fmla="*/ 1209600 h 2052818"/>
                <a:gd name="connsiteX4429" fmla="*/ 1474002 w 2222569"/>
                <a:gd name="connsiteY4429" fmla="*/ 1207157 h 2052818"/>
                <a:gd name="connsiteX4430" fmla="*/ 1470581 w 2222569"/>
                <a:gd name="connsiteY4430" fmla="*/ 1207645 h 2052818"/>
                <a:gd name="connsiteX4431" fmla="*/ 1469115 w 2222569"/>
                <a:gd name="connsiteY4431" fmla="*/ 1210252 h 2052818"/>
                <a:gd name="connsiteX4432" fmla="*/ 1469115 w 2222569"/>
                <a:gd name="connsiteY4432" fmla="*/ 1210252 h 2052818"/>
                <a:gd name="connsiteX4433" fmla="*/ 1394177 w 2222569"/>
                <a:gd name="connsiteY4433" fmla="*/ 1086115 h 2052818"/>
                <a:gd name="connsiteX4434" fmla="*/ 1397923 w 2222569"/>
                <a:gd name="connsiteY4434" fmla="*/ 1089048 h 2052818"/>
                <a:gd name="connsiteX4435" fmla="*/ 1400530 w 2222569"/>
                <a:gd name="connsiteY4435" fmla="*/ 1089536 h 2052818"/>
                <a:gd name="connsiteX4436" fmla="*/ 1400856 w 2222569"/>
                <a:gd name="connsiteY4436" fmla="*/ 1087744 h 2052818"/>
                <a:gd name="connsiteX4437" fmla="*/ 1397923 w 2222569"/>
                <a:gd name="connsiteY4437" fmla="*/ 1085627 h 2052818"/>
                <a:gd name="connsiteX4438" fmla="*/ 1395480 w 2222569"/>
                <a:gd name="connsiteY4438" fmla="*/ 1085138 h 2052818"/>
                <a:gd name="connsiteX4439" fmla="*/ 1394177 w 2222569"/>
                <a:gd name="connsiteY4439" fmla="*/ 1086115 h 2052818"/>
                <a:gd name="connsiteX4440" fmla="*/ 1394177 w 2222569"/>
                <a:gd name="connsiteY4440" fmla="*/ 1086115 h 2052818"/>
                <a:gd name="connsiteX4441" fmla="*/ 1377560 w 2222569"/>
                <a:gd name="connsiteY4441" fmla="*/ 1114624 h 2052818"/>
                <a:gd name="connsiteX4442" fmla="*/ 1377560 w 2222569"/>
                <a:gd name="connsiteY4442" fmla="*/ 1111203 h 2052818"/>
                <a:gd name="connsiteX4443" fmla="*/ 1374790 w 2222569"/>
                <a:gd name="connsiteY4443" fmla="*/ 1108271 h 2052818"/>
                <a:gd name="connsiteX4444" fmla="*/ 1370066 w 2222569"/>
                <a:gd name="connsiteY4444" fmla="*/ 1105664 h 2052818"/>
                <a:gd name="connsiteX4445" fmla="*/ 1370718 w 2222569"/>
                <a:gd name="connsiteY4445" fmla="*/ 1102569 h 2052818"/>
                <a:gd name="connsiteX4446" fmla="*/ 1369252 w 2222569"/>
                <a:gd name="connsiteY4446" fmla="*/ 1098008 h 2052818"/>
                <a:gd name="connsiteX4447" fmla="*/ 1366156 w 2222569"/>
                <a:gd name="connsiteY4447" fmla="*/ 1095401 h 2052818"/>
                <a:gd name="connsiteX4448" fmla="*/ 1366482 w 2222569"/>
                <a:gd name="connsiteY4448" fmla="*/ 1088722 h 2052818"/>
                <a:gd name="connsiteX4449" fmla="*/ 1367948 w 2222569"/>
                <a:gd name="connsiteY4449" fmla="*/ 1086930 h 2052818"/>
                <a:gd name="connsiteX4450" fmla="*/ 1369414 w 2222569"/>
                <a:gd name="connsiteY4450" fmla="*/ 1092143 h 2052818"/>
                <a:gd name="connsiteX4451" fmla="*/ 1373976 w 2222569"/>
                <a:gd name="connsiteY4451" fmla="*/ 1093935 h 2052818"/>
                <a:gd name="connsiteX4452" fmla="*/ 1375116 w 2222569"/>
                <a:gd name="connsiteY4452" fmla="*/ 1097193 h 2052818"/>
                <a:gd name="connsiteX4453" fmla="*/ 1378049 w 2222569"/>
                <a:gd name="connsiteY4453" fmla="*/ 1099637 h 2052818"/>
                <a:gd name="connsiteX4454" fmla="*/ 1378049 w 2222569"/>
                <a:gd name="connsiteY4454" fmla="*/ 1106805 h 2052818"/>
                <a:gd name="connsiteX4455" fmla="*/ 1383262 w 2222569"/>
                <a:gd name="connsiteY4455" fmla="*/ 1109411 h 2052818"/>
                <a:gd name="connsiteX4456" fmla="*/ 1386683 w 2222569"/>
                <a:gd name="connsiteY4456" fmla="*/ 1109737 h 2052818"/>
                <a:gd name="connsiteX4457" fmla="*/ 1385868 w 2222569"/>
                <a:gd name="connsiteY4457" fmla="*/ 1114950 h 2052818"/>
                <a:gd name="connsiteX4458" fmla="*/ 1380818 w 2222569"/>
                <a:gd name="connsiteY4458" fmla="*/ 1113810 h 2052818"/>
                <a:gd name="connsiteX4459" fmla="*/ 1377397 w 2222569"/>
                <a:gd name="connsiteY4459" fmla="*/ 1114787 h 2052818"/>
                <a:gd name="connsiteX4460" fmla="*/ 1377397 w 2222569"/>
                <a:gd name="connsiteY4460" fmla="*/ 1114787 h 2052818"/>
                <a:gd name="connsiteX4461" fmla="*/ 1347910 w 2222569"/>
                <a:gd name="connsiteY4461" fmla="*/ 1112995 h 2052818"/>
                <a:gd name="connsiteX4462" fmla="*/ 1348236 w 2222569"/>
                <a:gd name="connsiteY4462" fmla="*/ 1108434 h 2052818"/>
                <a:gd name="connsiteX4463" fmla="*/ 1347096 w 2222569"/>
                <a:gd name="connsiteY4463" fmla="*/ 1105664 h 2052818"/>
                <a:gd name="connsiteX4464" fmla="*/ 1348073 w 2222569"/>
                <a:gd name="connsiteY4464" fmla="*/ 1102406 h 2052818"/>
                <a:gd name="connsiteX4465" fmla="*/ 1348073 w 2222569"/>
                <a:gd name="connsiteY4465" fmla="*/ 1095401 h 2052818"/>
                <a:gd name="connsiteX4466" fmla="*/ 1349702 w 2222569"/>
                <a:gd name="connsiteY4466" fmla="*/ 1091328 h 2052818"/>
                <a:gd name="connsiteX4467" fmla="*/ 1352798 w 2222569"/>
                <a:gd name="connsiteY4467" fmla="*/ 1091328 h 2052818"/>
                <a:gd name="connsiteX4468" fmla="*/ 1353775 w 2222569"/>
                <a:gd name="connsiteY4468" fmla="*/ 1095727 h 2052818"/>
                <a:gd name="connsiteX4469" fmla="*/ 1351820 w 2222569"/>
                <a:gd name="connsiteY4469" fmla="*/ 1097193 h 2052818"/>
                <a:gd name="connsiteX4470" fmla="*/ 1352146 w 2222569"/>
                <a:gd name="connsiteY4470" fmla="*/ 1100288 h 2052818"/>
                <a:gd name="connsiteX4471" fmla="*/ 1354427 w 2222569"/>
                <a:gd name="connsiteY4471" fmla="*/ 1103710 h 2052818"/>
                <a:gd name="connsiteX4472" fmla="*/ 1351006 w 2222569"/>
                <a:gd name="connsiteY4472" fmla="*/ 1112018 h 2052818"/>
                <a:gd name="connsiteX4473" fmla="*/ 1348073 w 2222569"/>
                <a:gd name="connsiteY4473" fmla="*/ 1112995 h 2052818"/>
                <a:gd name="connsiteX4474" fmla="*/ 1348073 w 2222569"/>
                <a:gd name="connsiteY4474" fmla="*/ 1112995 h 2052818"/>
                <a:gd name="connsiteX4475" fmla="*/ 1345793 w 2222569"/>
                <a:gd name="connsiteY4475" fmla="*/ 991954 h 2052818"/>
                <a:gd name="connsiteX4476" fmla="*/ 1345304 w 2222569"/>
                <a:gd name="connsiteY4476" fmla="*/ 996515 h 2052818"/>
                <a:gd name="connsiteX4477" fmla="*/ 1346770 w 2222569"/>
                <a:gd name="connsiteY4477" fmla="*/ 997819 h 2052818"/>
                <a:gd name="connsiteX4478" fmla="*/ 1352146 w 2222569"/>
                <a:gd name="connsiteY4478" fmla="*/ 997819 h 2052818"/>
                <a:gd name="connsiteX4479" fmla="*/ 1355241 w 2222569"/>
                <a:gd name="connsiteY4479" fmla="*/ 994560 h 2052818"/>
                <a:gd name="connsiteX4480" fmla="*/ 1354590 w 2222569"/>
                <a:gd name="connsiteY4480" fmla="*/ 992605 h 2052818"/>
                <a:gd name="connsiteX4481" fmla="*/ 1349865 w 2222569"/>
                <a:gd name="connsiteY4481" fmla="*/ 991791 h 2052818"/>
                <a:gd name="connsiteX4482" fmla="*/ 1345955 w 2222569"/>
                <a:gd name="connsiteY4482" fmla="*/ 991791 h 2052818"/>
                <a:gd name="connsiteX4483" fmla="*/ 1346770 w 2222569"/>
                <a:gd name="connsiteY4483" fmla="*/ 989836 h 2052818"/>
                <a:gd name="connsiteX4484" fmla="*/ 1349214 w 2222569"/>
                <a:gd name="connsiteY4484" fmla="*/ 985437 h 2052818"/>
                <a:gd name="connsiteX4485" fmla="*/ 1349214 w 2222569"/>
                <a:gd name="connsiteY4485" fmla="*/ 980224 h 2052818"/>
                <a:gd name="connsiteX4486" fmla="*/ 1354753 w 2222569"/>
                <a:gd name="connsiteY4486" fmla="*/ 975174 h 2052818"/>
                <a:gd name="connsiteX4487" fmla="*/ 1358336 w 2222569"/>
                <a:gd name="connsiteY4487" fmla="*/ 972079 h 2052818"/>
                <a:gd name="connsiteX4488" fmla="*/ 1359151 w 2222569"/>
                <a:gd name="connsiteY4488" fmla="*/ 973545 h 2052818"/>
                <a:gd name="connsiteX4489" fmla="*/ 1359151 w 2222569"/>
                <a:gd name="connsiteY4489" fmla="*/ 978758 h 2052818"/>
                <a:gd name="connsiteX4490" fmla="*/ 1358011 w 2222569"/>
                <a:gd name="connsiteY4490" fmla="*/ 983971 h 2052818"/>
                <a:gd name="connsiteX4491" fmla="*/ 1358011 w 2222569"/>
                <a:gd name="connsiteY4491" fmla="*/ 988696 h 2052818"/>
                <a:gd name="connsiteX4492" fmla="*/ 1353775 w 2222569"/>
                <a:gd name="connsiteY4492" fmla="*/ 990162 h 2052818"/>
                <a:gd name="connsiteX4493" fmla="*/ 1346933 w 2222569"/>
                <a:gd name="connsiteY4493" fmla="*/ 989836 h 2052818"/>
                <a:gd name="connsiteX4494" fmla="*/ 1346933 w 2222569"/>
                <a:gd name="connsiteY4494" fmla="*/ 989836 h 2052818"/>
                <a:gd name="connsiteX4495" fmla="*/ 1101103 w 2222569"/>
                <a:gd name="connsiteY4495" fmla="*/ 939008 h 2052818"/>
                <a:gd name="connsiteX4496" fmla="*/ 1104035 w 2222569"/>
                <a:gd name="connsiteY4496" fmla="*/ 937379 h 2052818"/>
                <a:gd name="connsiteX4497" fmla="*/ 1104035 w 2222569"/>
                <a:gd name="connsiteY4497" fmla="*/ 932981 h 2052818"/>
                <a:gd name="connsiteX4498" fmla="*/ 1099474 w 2222569"/>
                <a:gd name="connsiteY4498" fmla="*/ 932981 h 2052818"/>
                <a:gd name="connsiteX4499" fmla="*/ 1099474 w 2222569"/>
                <a:gd name="connsiteY4499" fmla="*/ 937053 h 2052818"/>
                <a:gd name="connsiteX4500" fmla="*/ 1101103 w 2222569"/>
                <a:gd name="connsiteY4500" fmla="*/ 939008 h 2052818"/>
                <a:gd name="connsiteX4501" fmla="*/ 1101103 w 2222569"/>
                <a:gd name="connsiteY4501" fmla="*/ 939008 h 2052818"/>
                <a:gd name="connsiteX4502" fmla="*/ 891928 w 2222569"/>
                <a:gd name="connsiteY4502" fmla="*/ 880361 h 2052818"/>
                <a:gd name="connsiteX4503" fmla="*/ 894371 w 2222569"/>
                <a:gd name="connsiteY4503" fmla="*/ 877917 h 2052818"/>
                <a:gd name="connsiteX4504" fmla="*/ 898118 w 2222569"/>
                <a:gd name="connsiteY4504" fmla="*/ 877917 h 2052818"/>
                <a:gd name="connsiteX4505" fmla="*/ 895023 w 2222569"/>
                <a:gd name="connsiteY4505" fmla="*/ 880198 h 2052818"/>
                <a:gd name="connsiteX4506" fmla="*/ 892090 w 2222569"/>
                <a:gd name="connsiteY4506" fmla="*/ 880361 h 2052818"/>
                <a:gd name="connsiteX4507" fmla="*/ 892090 w 2222569"/>
                <a:gd name="connsiteY4507" fmla="*/ 880361 h 2052818"/>
                <a:gd name="connsiteX4508" fmla="*/ 874985 w 2222569"/>
                <a:gd name="connsiteY4508" fmla="*/ 888018 h 2052818"/>
                <a:gd name="connsiteX4509" fmla="*/ 880524 w 2222569"/>
                <a:gd name="connsiteY4509" fmla="*/ 888018 h 2052818"/>
                <a:gd name="connsiteX4510" fmla="*/ 879709 w 2222569"/>
                <a:gd name="connsiteY4510" fmla="*/ 885737 h 2052818"/>
                <a:gd name="connsiteX4511" fmla="*/ 876614 w 2222569"/>
                <a:gd name="connsiteY4511" fmla="*/ 885085 h 2052818"/>
                <a:gd name="connsiteX4512" fmla="*/ 874985 w 2222569"/>
                <a:gd name="connsiteY4512" fmla="*/ 888018 h 2052818"/>
                <a:gd name="connsiteX4513" fmla="*/ 874985 w 2222569"/>
                <a:gd name="connsiteY4513" fmla="*/ 888018 h 2052818"/>
                <a:gd name="connsiteX4514" fmla="*/ 882479 w 2222569"/>
                <a:gd name="connsiteY4514" fmla="*/ 906264 h 2052818"/>
                <a:gd name="connsiteX4515" fmla="*/ 881990 w 2222569"/>
                <a:gd name="connsiteY4515" fmla="*/ 903331 h 2052818"/>
                <a:gd name="connsiteX4516" fmla="*/ 883131 w 2222569"/>
                <a:gd name="connsiteY4516" fmla="*/ 902191 h 2052818"/>
                <a:gd name="connsiteX4517" fmla="*/ 884434 w 2222569"/>
                <a:gd name="connsiteY4517" fmla="*/ 906426 h 2052818"/>
                <a:gd name="connsiteX4518" fmla="*/ 882642 w 2222569"/>
                <a:gd name="connsiteY4518" fmla="*/ 906426 h 2052818"/>
                <a:gd name="connsiteX4519" fmla="*/ 882642 w 2222569"/>
                <a:gd name="connsiteY4519" fmla="*/ 908381 h 2052818"/>
                <a:gd name="connsiteX4520" fmla="*/ 879384 w 2222569"/>
                <a:gd name="connsiteY4520" fmla="*/ 901865 h 2052818"/>
                <a:gd name="connsiteX4521" fmla="*/ 878080 w 2222569"/>
                <a:gd name="connsiteY4521" fmla="*/ 904146 h 2052818"/>
                <a:gd name="connsiteX4522" fmla="*/ 879872 w 2222569"/>
                <a:gd name="connsiteY4522" fmla="*/ 906752 h 2052818"/>
                <a:gd name="connsiteX4523" fmla="*/ 882642 w 2222569"/>
                <a:gd name="connsiteY4523" fmla="*/ 908381 h 2052818"/>
                <a:gd name="connsiteX4524" fmla="*/ 882642 w 2222569"/>
                <a:gd name="connsiteY4524" fmla="*/ 908381 h 2052818"/>
                <a:gd name="connsiteX4525" fmla="*/ 890787 w 2222569"/>
                <a:gd name="connsiteY4525" fmla="*/ 920274 h 2052818"/>
                <a:gd name="connsiteX4526" fmla="*/ 892742 w 2222569"/>
                <a:gd name="connsiteY4526" fmla="*/ 926790 h 2052818"/>
                <a:gd name="connsiteX4527" fmla="*/ 894697 w 2222569"/>
                <a:gd name="connsiteY4527" fmla="*/ 927605 h 2052818"/>
                <a:gd name="connsiteX4528" fmla="*/ 898444 w 2222569"/>
                <a:gd name="connsiteY4528" fmla="*/ 923043 h 2052818"/>
                <a:gd name="connsiteX4529" fmla="*/ 896978 w 2222569"/>
                <a:gd name="connsiteY4529" fmla="*/ 921251 h 2052818"/>
                <a:gd name="connsiteX4530" fmla="*/ 899421 w 2222569"/>
                <a:gd name="connsiteY4530" fmla="*/ 918482 h 2052818"/>
                <a:gd name="connsiteX4531" fmla="*/ 896326 w 2222569"/>
                <a:gd name="connsiteY4531" fmla="*/ 918482 h 2052818"/>
                <a:gd name="connsiteX4532" fmla="*/ 894697 w 2222569"/>
                <a:gd name="connsiteY4532" fmla="*/ 921414 h 2052818"/>
                <a:gd name="connsiteX4533" fmla="*/ 893231 w 2222569"/>
                <a:gd name="connsiteY4533" fmla="*/ 919622 h 2052818"/>
                <a:gd name="connsiteX4534" fmla="*/ 890787 w 2222569"/>
                <a:gd name="connsiteY4534" fmla="*/ 920600 h 2052818"/>
                <a:gd name="connsiteX4535" fmla="*/ 890787 w 2222569"/>
                <a:gd name="connsiteY4535" fmla="*/ 920600 h 2052818"/>
                <a:gd name="connsiteX4536" fmla="*/ 883782 w 2222569"/>
                <a:gd name="connsiteY4536" fmla="*/ 951064 h 2052818"/>
                <a:gd name="connsiteX4537" fmla="*/ 882153 w 2222569"/>
                <a:gd name="connsiteY4537" fmla="*/ 942918 h 2052818"/>
                <a:gd name="connsiteX4538" fmla="*/ 884597 w 2222569"/>
                <a:gd name="connsiteY4538" fmla="*/ 940149 h 2052818"/>
                <a:gd name="connsiteX4539" fmla="*/ 884923 w 2222569"/>
                <a:gd name="connsiteY4539" fmla="*/ 936239 h 2052818"/>
                <a:gd name="connsiteX4540" fmla="*/ 888181 w 2222569"/>
                <a:gd name="connsiteY4540" fmla="*/ 930537 h 2052818"/>
                <a:gd name="connsiteX4541" fmla="*/ 889647 w 2222569"/>
                <a:gd name="connsiteY4541" fmla="*/ 933307 h 2052818"/>
                <a:gd name="connsiteX4542" fmla="*/ 888506 w 2222569"/>
                <a:gd name="connsiteY4542" fmla="*/ 936565 h 2052818"/>
                <a:gd name="connsiteX4543" fmla="*/ 890461 w 2222569"/>
                <a:gd name="connsiteY4543" fmla="*/ 938845 h 2052818"/>
                <a:gd name="connsiteX4544" fmla="*/ 888995 w 2222569"/>
                <a:gd name="connsiteY4544" fmla="*/ 941615 h 2052818"/>
                <a:gd name="connsiteX4545" fmla="*/ 890461 w 2222569"/>
                <a:gd name="connsiteY4545" fmla="*/ 944710 h 2052818"/>
                <a:gd name="connsiteX4546" fmla="*/ 887203 w 2222569"/>
                <a:gd name="connsiteY4546" fmla="*/ 946502 h 2052818"/>
                <a:gd name="connsiteX4547" fmla="*/ 886063 w 2222569"/>
                <a:gd name="connsiteY4547" fmla="*/ 949434 h 2052818"/>
                <a:gd name="connsiteX4548" fmla="*/ 883619 w 2222569"/>
                <a:gd name="connsiteY4548" fmla="*/ 950901 h 2052818"/>
                <a:gd name="connsiteX4549" fmla="*/ 883619 w 2222569"/>
                <a:gd name="connsiteY4549" fmla="*/ 950901 h 2052818"/>
                <a:gd name="connsiteX4550" fmla="*/ 1073571 w 2222569"/>
                <a:gd name="connsiteY4550" fmla="*/ 834584 h 2052818"/>
                <a:gd name="connsiteX4551" fmla="*/ 1073571 w 2222569"/>
                <a:gd name="connsiteY4551" fmla="*/ 832140 h 2052818"/>
                <a:gd name="connsiteX4552" fmla="*/ 1075363 w 2222569"/>
                <a:gd name="connsiteY4552" fmla="*/ 830348 h 2052818"/>
                <a:gd name="connsiteX4553" fmla="*/ 1076015 w 2222569"/>
                <a:gd name="connsiteY4553" fmla="*/ 832466 h 2052818"/>
                <a:gd name="connsiteX4554" fmla="*/ 1075037 w 2222569"/>
                <a:gd name="connsiteY4554" fmla="*/ 835398 h 2052818"/>
                <a:gd name="connsiteX4555" fmla="*/ 1073408 w 2222569"/>
                <a:gd name="connsiteY4555" fmla="*/ 834584 h 2052818"/>
                <a:gd name="connsiteX4556" fmla="*/ 1073408 w 2222569"/>
                <a:gd name="connsiteY4556" fmla="*/ 834584 h 2052818"/>
                <a:gd name="connsiteX4557" fmla="*/ 1136943 w 2222569"/>
                <a:gd name="connsiteY4557" fmla="*/ 795974 h 2052818"/>
                <a:gd name="connsiteX4558" fmla="*/ 1135966 w 2222569"/>
                <a:gd name="connsiteY4558" fmla="*/ 789621 h 2052818"/>
                <a:gd name="connsiteX4559" fmla="*/ 1134336 w 2222569"/>
                <a:gd name="connsiteY4559" fmla="*/ 787829 h 2052818"/>
                <a:gd name="connsiteX4560" fmla="*/ 1135477 w 2222569"/>
                <a:gd name="connsiteY4560" fmla="*/ 781638 h 2052818"/>
                <a:gd name="connsiteX4561" fmla="*/ 1138409 w 2222569"/>
                <a:gd name="connsiteY4561" fmla="*/ 780498 h 2052818"/>
                <a:gd name="connsiteX4562" fmla="*/ 1140201 w 2222569"/>
                <a:gd name="connsiteY4562" fmla="*/ 782616 h 2052818"/>
                <a:gd name="connsiteX4563" fmla="*/ 1139875 w 2222569"/>
                <a:gd name="connsiteY4563" fmla="*/ 785059 h 2052818"/>
                <a:gd name="connsiteX4564" fmla="*/ 1142319 w 2222569"/>
                <a:gd name="connsiteY4564" fmla="*/ 787829 h 2052818"/>
                <a:gd name="connsiteX4565" fmla="*/ 1139712 w 2222569"/>
                <a:gd name="connsiteY4565" fmla="*/ 790761 h 2052818"/>
                <a:gd name="connsiteX4566" fmla="*/ 1139224 w 2222569"/>
                <a:gd name="connsiteY4566" fmla="*/ 795811 h 2052818"/>
                <a:gd name="connsiteX4567" fmla="*/ 1136943 w 2222569"/>
                <a:gd name="connsiteY4567" fmla="*/ 795811 h 2052818"/>
                <a:gd name="connsiteX4568" fmla="*/ 1065915 w 2222569"/>
                <a:gd name="connsiteY4568" fmla="*/ 872867 h 2052818"/>
                <a:gd name="connsiteX4569" fmla="*/ 1066403 w 2222569"/>
                <a:gd name="connsiteY4569" fmla="*/ 870912 h 2052818"/>
                <a:gd name="connsiteX4570" fmla="*/ 1065426 w 2222569"/>
                <a:gd name="connsiteY4570" fmla="*/ 867980 h 2052818"/>
                <a:gd name="connsiteX4571" fmla="*/ 1068521 w 2222569"/>
                <a:gd name="connsiteY4571" fmla="*/ 864396 h 2052818"/>
                <a:gd name="connsiteX4572" fmla="*/ 1068521 w 2222569"/>
                <a:gd name="connsiteY4572" fmla="*/ 862278 h 2052818"/>
                <a:gd name="connsiteX4573" fmla="*/ 1070965 w 2222569"/>
                <a:gd name="connsiteY4573" fmla="*/ 859346 h 2052818"/>
                <a:gd name="connsiteX4574" fmla="*/ 1070639 w 2222569"/>
                <a:gd name="connsiteY4574" fmla="*/ 856088 h 2052818"/>
                <a:gd name="connsiteX4575" fmla="*/ 1066729 w 2222569"/>
                <a:gd name="connsiteY4575" fmla="*/ 856088 h 2052818"/>
                <a:gd name="connsiteX4576" fmla="*/ 1065915 w 2222569"/>
                <a:gd name="connsiteY4576" fmla="*/ 852178 h 2052818"/>
                <a:gd name="connsiteX4577" fmla="*/ 1067544 w 2222569"/>
                <a:gd name="connsiteY4577" fmla="*/ 848105 h 2052818"/>
                <a:gd name="connsiteX4578" fmla="*/ 1071454 w 2222569"/>
                <a:gd name="connsiteY4578" fmla="*/ 847290 h 2052818"/>
                <a:gd name="connsiteX4579" fmla="*/ 1071942 w 2222569"/>
                <a:gd name="connsiteY4579" fmla="*/ 842892 h 2052818"/>
                <a:gd name="connsiteX4580" fmla="*/ 1066729 w 2222569"/>
                <a:gd name="connsiteY4580" fmla="*/ 839960 h 2052818"/>
                <a:gd name="connsiteX4581" fmla="*/ 1063471 w 2222569"/>
                <a:gd name="connsiteY4581" fmla="*/ 841100 h 2052818"/>
                <a:gd name="connsiteX4582" fmla="*/ 1063145 w 2222569"/>
                <a:gd name="connsiteY4582" fmla="*/ 844195 h 2052818"/>
                <a:gd name="connsiteX4583" fmla="*/ 1061353 w 2222569"/>
                <a:gd name="connsiteY4583" fmla="*/ 845987 h 2052818"/>
                <a:gd name="connsiteX4584" fmla="*/ 1058421 w 2222569"/>
                <a:gd name="connsiteY4584" fmla="*/ 844195 h 2052818"/>
                <a:gd name="connsiteX4585" fmla="*/ 1052230 w 2222569"/>
                <a:gd name="connsiteY4585" fmla="*/ 844195 h 2052818"/>
                <a:gd name="connsiteX4586" fmla="*/ 1046203 w 2222569"/>
                <a:gd name="connsiteY4586" fmla="*/ 850223 h 2052818"/>
                <a:gd name="connsiteX4587" fmla="*/ 1041315 w 2222569"/>
                <a:gd name="connsiteY4587" fmla="*/ 853481 h 2052818"/>
                <a:gd name="connsiteX4588" fmla="*/ 1041315 w 2222569"/>
                <a:gd name="connsiteY4588" fmla="*/ 851200 h 2052818"/>
                <a:gd name="connsiteX4589" fmla="*/ 1046854 w 2222569"/>
                <a:gd name="connsiteY4589" fmla="*/ 847779 h 2052818"/>
                <a:gd name="connsiteX4590" fmla="*/ 1049624 w 2222569"/>
                <a:gd name="connsiteY4590" fmla="*/ 844195 h 2052818"/>
                <a:gd name="connsiteX4591" fmla="*/ 1049624 w 2222569"/>
                <a:gd name="connsiteY4591" fmla="*/ 838493 h 2052818"/>
                <a:gd name="connsiteX4592" fmla="*/ 1047343 w 2222569"/>
                <a:gd name="connsiteY4592" fmla="*/ 841752 h 2052818"/>
                <a:gd name="connsiteX4593" fmla="*/ 1045062 w 2222569"/>
                <a:gd name="connsiteY4593" fmla="*/ 840611 h 2052818"/>
                <a:gd name="connsiteX4594" fmla="*/ 1045062 w 2222569"/>
                <a:gd name="connsiteY4594" fmla="*/ 836538 h 2052818"/>
                <a:gd name="connsiteX4595" fmla="*/ 1049135 w 2222569"/>
                <a:gd name="connsiteY4595" fmla="*/ 833443 h 2052818"/>
                <a:gd name="connsiteX4596" fmla="*/ 1045877 w 2222569"/>
                <a:gd name="connsiteY4596" fmla="*/ 827253 h 2052818"/>
                <a:gd name="connsiteX4597" fmla="*/ 1048809 w 2222569"/>
                <a:gd name="connsiteY4597" fmla="*/ 823343 h 2052818"/>
                <a:gd name="connsiteX4598" fmla="*/ 1052230 w 2222569"/>
                <a:gd name="connsiteY4598" fmla="*/ 823343 h 2052818"/>
                <a:gd name="connsiteX4599" fmla="*/ 1051579 w 2222569"/>
                <a:gd name="connsiteY4599" fmla="*/ 826275 h 2052818"/>
                <a:gd name="connsiteX4600" fmla="*/ 1053859 w 2222569"/>
                <a:gd name="connsiteY4600" fmla="*/ 833280 h 2052818"/>
                <a:gd name="connsiteX4601" fmla="*/ 1057118 w 2222569"/>
                <a:gd name="connsiteY4601" fmla="*/ 836538 h 2052818"/>
                <a:gd name="connsiteX4602" fmla="*/ 1059561 w 2222569"/>
                <a:gd name="connsiteY4602" fmla="*/ 835398 h 2052818"/>
                <a:gd name="connsiteX4603" fmla="*/ 1064774 w 2222569"/>
                <a:gd name="connsiteY4603" fmla="*/ 835398 h 2052818"/>
                <a:gd name="connsiteX4604" fmla="*/ 1067218 w 2222569"/>
                <a:gd name="connsiteY4604" fmla="*/ 829533 h 2052818"/>
                <a:gd name="connsiteX4605" fmla="*/ 1064448 w 2222569"/>
                <a:gd name="connsiteY4605" fmla="*/ 827090 h 2052818"/>
                <a:gd name="connsiteX4606" fmla="*/ 1064448 w 2222569"/>
                <a:gd name="connsiteY4606" fmla="*/ 825135 h 2052818"/>
                <a:gd name="connsiteX4607" fmla="*/ 1068195 w 2222569"/>
                <a:gd name="connsiteY4607" fmla="*/ 824972 h 2052818"/>
                <a:gd name="connsiteX4608" fmla="*/ 1069824 w 2222569"/>
                <a:gd name="connsiteY4608" fmla="*/ 826764 h 2052818"/>
                <a:gd name="connsiteX4609" fmla="*/ 1072431 w 2222569"/>
                <a:gd name="connsiteY4609" fmla="*/ 826112 h 2052818"/>
                <a:gd name="connsiteX4610" fmla="*/ 1076504 w 2222569"/>
                <a:gd name="connsiteY4610" fmla="*/ 822202 h 2052818"/>
                <a:gd name="connsiteX4611" fmla="*/ 1078133 w 2222569"/>
                <a:gd name="connsiteY4611" fmla="*/ 816826 h 2052818"/>
                <a:gd name="connsiteX4612" fmla="*/ 1079110 w 2222569"/>
                <a:gd name="connsiteY4612" fmla="*/ 821225 h 2052818"/>
                <a:gd name="connsiteX4613" fmla="*/ 1080902 w 2222569"/>
                <a:gd name="connsiteY4613" fmla="*/ 821225 h 2052818"/>
                <a:gd name="connsiteX4614" fmla="*/ 1085138 w 2222569"/>
                <a:gd name="connsiteY4614" fmla="*/ 817478 h 2052818"/>
                <a:gd name="connsiteX4615" fmla="*/ 1081391 w 2222569"/>
                <a:gd name="connsiteY4615" fmla="*/ 825624 h 2052818"/>
                <a:gd name="connsiteX4616" fmla="*/ 1081717 w 2222569"/>
                <a:gd name="connsiteY4616" fmla="*/ 832140 h 2052818"/>
                <a:gd name="connsiteX4617" fmla="*/ 1083672 w 2222569"/>
                <a:gd name="connsiteY4617" fmla="*/ 831000 h 2052818"/>
                <a:gd name="connsiteX4618" fmla="*/ 1085953 w 2222569"/>
                <a:gd name="connsiteY4618" fmla="*/ 832303 h 2052818"/>
                <a:gd name="connsiteX4619" fmla="*/ 1083672 w 2222569"/>
                <a:gd name="connsiteY4619" fmla="*/ 836376 h 2052818"/>
                <a:gd name="connsiteX4620" fmla="*/ 1086767 w 2222569"/>
                <a:gd name="connsiteY4620" fmla="*/ 836376 h 2052818"/>
                <a:gd name="connsiteX4621" fmla="*/ 1089048 w 2222569"/>
                <a:gd name="connsiteY4621" fmla="*/ 830837 h 2052818"/>
                <a:gd name="connsiteX4622" fmla="*/ 1091654 w 2222569"/>
                <a:gd name="connsiteY4622" fmla="*/ 829045 h 2052818"/>
                <a:gd name="connsiteX4623" fmla="*/ 1095564 w 2222569"/>
                <a:gd name="connsiteY4623" fmla="*/ 821551 h 2052818"/>
                <a:gd name="connsiteX4624" fmla="*/ 1098659 w 2222569"/>
                <a:gd name="connsiteY4624" fmla="*/ 820248 h 2052818"/>
                <a:gd name="connsiteX4625" fmla="*/ 1097519 w 2222569"/>
                <a:gd name="connsiteY4625" fmla="*/ 825624 h 2052818"/>
                <a:gd name="connsiteX4626" fmla="*/ 1093446 w 2222569"/>
                <a:gd name="connsiteY4626" fmla="*/ 830348 h 2052818"/>
                <a:gd name="connsiteX4627" fmla="*/ 1094587 w 2222569"/>
                <a:gd name="connsiteY4627" fmla="*/ 838330 h 2052818"/>
                <a:gd name="connsiteX4628" fmla="*/ 1098334 w 2222569"/>
                <a:gd name="connsiteY4628" fmla="*/ 838330 h 2052818"/>
                <a:gd name="connsiteX4629" fmla="*/ 1101429 w 2222569"/>
                <a:gd name="connsiteY4629" fmla="*/ 840611 h 2052818"/>
                <a:gd name="connsiteX4630" fmla="*/ 1103710 w 2222569"/>
                <a:gd name="connsiteY4630" fmla="*/ 837190 h 2052818"/>
                <a:gd name="connsiteX4631" fmla="*/ 1109411 w 2222569"/>
                <a:gd name="connsiteY4631" fmla="*/ 832140 h 2052818"/>
                <a:gd name="connsiteX4632" fmla="*/ 1111203 w 2222569"/>
                <a:gd name="connsiteY4632" fmla="*/ 824809 h 2052818"/>
                <a:gd name="connsiteX4633" fmla="*/ 1113647 w 2222569"/>
                <a:gd name="connsiteY4633" fmla="*/ 819433 h 2052818"/>
                <a:gd name="connsiteX4634" fmla="*/ 1112344 w 2222569"/>
                <a:gd name="connsiteY4634" fmla="*/ 813894 h 2052818"/>
                <a:gd name="connsiteX4635" fmla="*/ 1114136 w 2222569"/>
                <a:gd name="connsiteY4635" fmla="*/ 811613 h 2052818"/>
                <a:gd name="connsiteX4636" fmla="*/ 1113484 w 2222569"/>
                <a:gd name="connsiteY4636" fmla="*/ 809007 h 2052818"/>
                <a:gd name="connsiteX4637" fmla="*/ 1110552 w 2222569"/>
                <a:gd name="connsiteY4637" fmla="*/ 809333 h 2052818"/>
                <a:gd name="connsiteX4638" fmla="*/ 1107782 w 2222569"/>
                <a:gd name="connsiteY4638" fmla="*/ 808029 h 2052818"/>
                <a:gd name="connsiteX4639" fmla="*/ 1104850 w 2222569"/>
                <a:gd name="connsiteY4639" fmla="*/ 810310 h 2052818"/>
                <a:gd name="connsiteX4640" fmla="*/ 1104850 w 2222569"/>
                <a:gd name="connsiteY4640" fmla="*/ 804771 h 2052818"/>
                <a:gd name="connsiteX4641" fmla="*/ 1107131 w 2222569"/>
                <a:gd name="connsiteY4641" fmla="*/ 803305 h 2052818"/>
                <a:gd name="connsiteX4642" fmla="*/ 1105664 w 2222569"/>
                <a:gd name="connsiteY4642" fmla="*/ 800698 h 2052818"/>
                <a:gd name="connsiteX4643" fmla="*/ 1100940 w 2222569"/>
                <a:gd name="connsiteY4643" fmla="*/ 801187 h 2052818"/>
                <a:gd name="connsiteX4644" fmla="*/ 1100126 w 2222569"/>
                <a:gd name="connsiteY4644" fmla="*/ 798906 h 2052818"/>
                <a:gd name="connsiteX4645" fmla="*/ 1095401 w 2222569"/>
                <a:gd name="connsiteY4645" fmla="*/ 795160 h 2052818"/>
                <a:gd name="connsiteX4646" fmla="*/ 1095401 w 2222569"/>
                <a:gd name="connsiteY4646" fmla="*/ 791413 h 2052818"/>
                <a:gd name="connsiteX4647" fmla="*/ 1091817 w 2222569"/>
                <a:gd name="connsiteY4647" fmla="*/ 783593 h 2052818"/>
                <a:gd name="connsiteX4648" fmla="*/ 1091165 w 2222569"/>
                <a:gd name="connsiteY4648" fmla="*/ 777240 h 2052818"/>
                <a:gd name="connsiteX4649" fmla="*/ 1093609 w 2222569"/>
                <a:gd name="connsiteY4649" fmla="*/ 771864 h 2052818"/>
                <a:gd name="connsiteX4650" fmla="*/ 1091328 w 2222569"/>
                <a:gd name="connsiteY4650" fmla="*/ 764533 h 2052818"/>
                <a:gd name="connsiteX4651" fmla="*/ 1088396 w 2222569"/>
                <a:gd name="connsiteY4651" fmla="*/ 770397 h 2052818"/>
                <a:gd name="connsiteX4652" fmla="*/ 1088722 w 2222569"/>
                <a:gd name="connsiteY4652" fmla="*/ 775448 h 2052818"/>
                <a:gd name="connsiteX4653" fmla="*/ 1084812 w 2222569"/>
                <a:gd name="connsiteY4653" fmla="*/ 770072 h 2052818"/>
                <a:gd name="connsiteX4654" fmla="*/ 1079436 w 2222569"/>
                <a:gd name="connsiteY4654" fmla="*/ 767139 h 2052818"/>
                <a:gd name="connsiteX4655" fmla="*/ 1077970 w 2222569"/>
                <a:gd name="connsiteY4655" fmla="*/ 756713 h 2052818"/>
                <a:gd name="connsiteX4656" fmla="*/ 1074875 w 2222569"/>
                <a:gd name="connsiteY4656" fmla="*/ 754921 h 2052818"/>
                <a:gd name="connsiteX4657" fmla="*/ 1073897 w 2222569"/>
                <a:gd name="connsiteY4657" fmla="*/ 746613 h 2052818"/>
                <a:gd name="connsiteX4658" fmla="*/ 1070476 w 2222569"/>
                <a:gd name="connsiteY4658" fmla="*/ 742051 h 2052818"/>
                <a:gd name="connsiteX4659" fmla="*/ 1070476 w 2222569"/>
                <a:gd name="connsiteY4659" fmla="*/ 737001 h 2052818"/>
                <a:gd name="connsiteX4660" fmla="*/ 1068521 w 2222569"/>
                <a:gd name="connsiteY4660" fmla="*/ 733743 h 2052818"/>
                <a:gd name="connsiteX4661" fmla="*/ 1068521 w 2222569"/>
                <a:gd name="connsiteY4661" fmla="*/ 730322 h 2052818"/>
                <a:gd name="connsiteX4662" fmla="*/ 1073734 w 2222569"/>
                <a:gd name="connsiteY4662" fmla="*/ 729833 h 2052818"/>
                <a:gd name="connsiteX4663" fmla="*/ 1075363 w 2222569"/>
                <a:gd name="connsiteY4663" fmla="*/ 724457 h 2052818"/>
                <a:gd name="connsiteX4664" fmla="*/ 1078621 w 2222569"/>
                <a:gd name="connsiteY4664" fmla="*/ 724457 h 2052818"/>
                <a:gd name="connsiteX4665" fmla="*/ 1079599 w 2222569"/>
                <a:gd name="connsiteY4665" fmla="*/ 725923 h 2052818"/>
                <a:gd name="connsiteX4666" fmla="*/ 1082857 w 2222569"/>
                <a:gd name="connsiteY4666" fmla="*/ 723642 h 2052818"/>
                <a:gd name="connsiteX4667" fmla="*/ 1082857 w 2222569"/>
                <a:gd name="connsiteY4667" fmla="*/ 719244 h 2052818"/>
                <a:gd name="connsiteX4668" fmla="*/ 1087581 w 2222569"/>
                <a:gd name="connsiteY4668" fmla="*/ 709306 h 2052818"/>
                <a:gd name="connsiteX4669" fmla="*/ 1087581 w 2222569"/>
                <a:gd name="connsiteY4669" fmla="*/ 702627 h 2052818"/>
                <a:gd name="connsiteX4670" fmla="*/ 1088722 w 2222569"/>
                <a:gd name="connsiteY4670" fmla="*/ 699858 h 2052818"/>
                <a:gd name="connsiteX4671" fmla="*/ 1084975 w 2222569"/>
                <a:gd name="connsiteY4671" fmla="*/ 691549 h 2052818"/>
                <a:gd name="connsiteX4672" fmla="*/ 1086767 w 2222569"/>
                <a:gd name="connsiteY4672" fmla="*/ 685685 h 2052818"/>
                <a:gd name="connsiteX4673" fmla="*/ 1089862 w 2222569"/>
                <a:gd name="connsiteY4673" fmla="*/ 685196 h 2052818"/>
                <a:gd name="connsiteX4674" fmla="*/ 1090188 w 2222569"/>
                <a:gd name="connsiteY4674" fmla="*/ 677865 h 2052818"/>
                <a:gd name="connsiteX4675" fmla="*/ 1095401 w 2222569"/>
                <a:gd name="connsiteY4675" fmla="*/ 670860 h 2052818"/>
                <a:gd name="connsiteX4676" fmla="*/ 1095890 w 2222569"/>
                <a:gd name="connsiteY4676" fmla="*/ 666624 h 2052818"/>
                <a:gd name="connsiteX4677" fmla="*/ 1098659 w 2222569"/>
                <a:gd name="connsiteY4677" fmla="*/ 663366 h 2052818"/>
                <a:gd name="connsiteX4678" fmla="*/ 1098659 w 2222569"/>
                <a:gd name="connsiteY4678" fmla="*/ 653591 h 2052818"/>
                <a:gd name="connsiteX4679" fmla="*/ 1101754 w 2222569"/>
                <a:gd name="connsiteY4679" fmla="*/ 652288 h 2052818"/>
                <a:gd name="connsiteX4680" fmla="*/ 1101754 w 2222569"/>
                <a:gd name="connsiteY4680" fmla="*/ 647564 h 2052818"/>
                <a:gd name="connsiteX4681" fmla="*/ 1107294 w 2222569"/>
                <a:gd name="connsiteY4681" fmla="*/ 641373 h 2052818"/>
                <a:gd name="connsiteX4682" fmla="*/ 1106805 w 2222569"/>
                <a:gd name="connsiteY4682" fmla="*/ 635834 h 2052818"/>
                <a:gd name="connsiteX4683" fmla="*/ 1107294 w 2222569"/>
                <a:gd name="connsiteY4683" fmla="*/ 632413 h 2052818"/>
                <a:gd name="connsiteX4684" fmla="*/ 1110552 w 2222569"/>
                <a:gd name="connsiteY4684" fmla="*/ 631436 h 2052818"/>
                <a:gd name="connsiteX4685" fmla="*/ 1110878 w 2222569"/>
                <a:gd name="connsiteY4685" fmla="*/ 626386 h 2052818"/>
                <a:gd name="connsiteX4686" fmla="*/ 1108271 w 2222569"/>
                <a:gd name="connsiteY4686" fmla="*/ 621010 h 2052818"/>
                <a:gd name="connsiteX4687" fmla="*/ 1109086 w 2222569"/>
                <a:gd name="connsiteY4687" fmla="*/ 617914 h 2052818"/>
                <a:gd name="connsiteX4688" fmla="*/ 1109086 w 2222569"/>
                <a:gd name="connsiteY4688" fmla="*/ 614005 h 2052818"/>
                <a:gd name="connsiteX4689" fmla="*/ 1104687 w 2222569"/>
                <a:gd name="connsiteY4689" fmla="*/ 611561 h 2052818"/>
                <a:gd name="connsiteX4690" fmla="*/ 1102406 w 2222569"/>
                <a:gd name="connsiteY4690" fmla="*/ 604230 h 2052818"/>
                <a:gd name="connsiteX4691" fmla="*/ 1104035 w 2222569"/>
                <a:gd name="connsiteY4691" fmla="*/ 601786 h 2052818"/>
                <a:gd name="connsiteX4692" fmla="*/ 1100614 w 2222569"/>
                <a:gd name="connsiteY4692" fmla="*/ 593152 h 2052818"/>
                <a:gd name="connsiteX4693" fmla="*/ 1096053 w 2222569"/>
                <a:gd name="connsiteY4693" fmla="*/ 592175 h 2052818"/>
                <a:gd name="connsiteX4694" fmla="*/ 1094098 w 2222569"/>
                <a:gd name="connsiteY4694" fmla="*/ 589894 h 2052818"/>
                <a:gd name="connsiteX4695" fmla="*/ 1092143 w 2222569"/>
                <a:gd name="connsiteY4695" fmla="*/ 590220 h 2052818"/>
                <a:gd name="connsiteX4696" fmla="*/ 1091165 w 2222569"/>
                <a:gd name="connsiteY4696" fmla="*/ 596899 h 2052818"/>
                <a:gd name="connsiteX4697" fmla="*/ 1088722 w 2222569"/>
                <a:gd name="connsiteY4697" fmla="*/ 596899 h 2052818"/>
                <a:gd name="connsiteX4698" fmla="*/ 1083346 w 2222569"/>
                <a:gd name="connsiteY4698" fmla="*/ 586962 h 2052818"/>
                <a:gd name="connsiteX4699" fmla="*/ 1080088 w 2222569"/>
                <a:gd name="connsiteY4699" fmla="*/ 586473 h 2052818"/>
                <a:gd name="connsiteX4700" fmla="*/ 1076667 w 2222569"/>
                <a:gd name="connsiteY4700" fmla="*/ 582400 h 2052818"/>
                <a:gd name="connsiteX4701" fmla="*/ 1073408 w 2222569"/>
                <a:gd name="connsiteY4701" fmla="*/ 584192 h 2052818"/>
                <a:gd name="connsiteX4702" fmla="*/ 1074386 w 2222569"/>
                <a:gd name="connsiteY4702" fmla="*/ 590709 h 2052818"/>
                <a:gd name="connsiteX4703" fmla="*/ 1072594 w 2222569"/>
                <a:gd name="connsiteY4703" fmla="*/ 592012 h 2052818"/>
                <a:gd name="connsiteX4704" fmla="*/ 1069173 w 2222569"/>
                <a:gd name="connsiteY4704" fmla="*/ 591034 h 2052818"/>
                <a:gd name="connsiteX4705" fmla="*/ 1066566 w 2222569"/>
                <a:gd name="connsiteY4705" fmla="*/ 597062 h 2052818"/>
                <a:gd name="connsiteX4706" fmla="*/ 1066566 w 2222569"/>
                <a:gd name="connsiteY4706" fmla="*/ 600157 h 2052818"/>
                <a:gd name="connsiteX4707" fmla="*/ 1063471 w 2222569"/>
                <a:gd name="connsiteY4707" fmla="*/ 601949 h 2052818"/>
                <a:gd name="connsiteX4708" fmla="*/ 1059398 w 2222569"/>
                <a:gd name="connsiteY4708" fmla="*/ 614330 h 2052818"/>
                <a:gd name="connsiteX4709" fmla="*/ 1059398 w 2222569"/>
                <a:gd name="connsiteY4709" fmla="*/ 619543 h 2052818"/>
                <a:gd name="connsiteX4710" fmla="*/ 1056629 w 2222569"/>
                <a:gd name="connsiteY4710" fmla="*/ 623616 h 2052818"/>
                <a:gd name="connsiteX4711" fmla="*/ 1056303 w 2222569"/>
                <a:gd name="connsiteY4711" fmla="*/ 629644 h 2052818"/>
                <a:gd name="connsiteX4712" fmla="*/ 1054674 w 2222569"/>
                <a:gd name="connsiteY4712" fmla="*/ 631110 h 2052818"/>
                <a:gd name="connsiteX4713" fmla="*/ 1054348 w 2222569"/>
                <a:gd name="connsiteY4713" fmla="*/ 635346 h 2052818"/>
                <a:gd name="connsiteX4714" fmla="*/ 1050601 w 2222569"/>
                <a:gd name="connsiteY4714" fmla="*/ 637789 h 2052818"/>
                <a:gd name="connsiteX4715" fmla="*/ 1050112 w 2222569"/>
                <a:gd name="connsiteY4715" fmla="*/ 648053 h 2052818"/>
                <a:gd name="connsiteX4716" fmla="*/ 1046203 w 2222569"/>
                <a:gd name="connsiteY4716" fmla="*/ 650659 h 2052818"/>
                <a:gd name="connsiteX4717" fmla="*/ 1043922 w 2222569"/>
                <a:gd name="connsiteY4717" fmla="*/ 649682 h 2052818"/>
                <a:gd name="connsiteX4718" fmla="*/ 1040501 w 2222569"/>
                <a:gd name="connsiteY4718" fmla="*/ 657990 h 2052818"/>
                <a:gd name="connsiteX4719" fmla="*/ 1042130 w 2222569"/>
                <a:gd name="connsiteY4719" fmla="*/ 660922 h 2052818"/>
                <a:gd name="connsiteX4720" fmla="*/ 1040664 w 2222569"/>
                <a:gd name="connsiteY4720" fmla="*/ 665647 h 2052818"/>
                <a:gd name="connsiteX4721" fmla="*/ 1040175 w 2222569"/>
                <a:gd name="connsiteY4721" fmla="*/ 670860 h 2052818"/>
                <a:gd name="connsiteX4722" fmla="*/ 1036428 w 2222569"/>
                <a:gd name="connsiteY4722" fmla="*/ 675584 h 2052818"/>
                <a:gd name="connsiteX4723" fmla="*/ 1039035 w 2222569"/>
                <a:gd name="connsiteY4723" fmla="*/ 679494 h 2052818"/>
                <a:gd name="connsiteX4724" fmla="*/ 1038220 w 2222569"/>
                <a:gd name="connsiteY4724" fmla="*/ 683241 h 2052818"/>
                <a:gd name="connsiteX4725" fmla="*/ 1032844 w 2222569"/>
                <a:gd name="connsiteY4725" fmla="*/ 683241 h 2052818"/>
                <a:gd name="connsiteX4726" fmla="*/ 1034799 w 2222569"/>
                <a:gd name="connsiteY4726" fmla="*/ 685685 h 2052818"/>
                <a:gd name="connsiteX4727" fmla="*/ 1039197 w 2222569"/>
                <a:gd name="connsiteY4727" fmla="*/ 687640 h 2052818"/>
                <a:gd name="connsiteX4728" fmla="*/ 1039197 w 2222569"/>
                <a:gd name="connsiteY4728" fmla="*/ 692038 h 2052818"/>
                <a:gd name="connsiteX4729" fmla="*/ 1036102 w 2222569"/>
                <a:gd name="connsiteY4729" fmla="*/ 690572 h 2052818"/>
                <a:gd name="connsiteX4730" fmla="*/ 1032844 w 2222569"/>
                <a:gd name="connsiteY4730" fmla="*/ 691224 h 2052818"/>
                <a:gd name="connsiteX4731" fmla="*/ 1028771 w 2222569"/>
                <a:gd name="connsiteY4731" fmla="*/ 693993 h 2052818"/>
                <a:gd name="connsiteX4732" fmla="*/ 1025676 w 2222569"/>
                <a:gd name="connsiteY4732" fmla="*/ 692853 h 2052818"/>
                <a:gd name="connsiteX4733" fmla="*/ 1023395 w 2222569"/>
                <a:gd name="connsiteY4733" fmla="*/ 695296 h 2052818"/>
                <a:gd name="connsiteX4734" fmla="*/ 1023721 w 2222569"/>
                <a:gd name="connsiteY4734" fmla="*/ 700346 h 2052818"/>
                <a:gd name="connsiteX4735" fmla="*/ 1021440 w 2222569"/>
                <a:gd name="connsiteY4735" fmla="*/ 702627 h 2052818"/>
                <a:gd name="connsiteX4736" fmla="*/ 1018019 w 2222569"/>
                <a:gd name="connsiteY4736" fmla="*/ 700672 h 2052818"/>
                <a:gd name="connsiteX4737" fmla="*/ 1017530 w 2222569"/>
                <a:gd name="connsiteY4737" fmla="*/ 695459 h 2052818"/>
                <a:gd name="connsiteX4738" fmla="*/ 1018997 w 2222569"/>
                <a:gd name="connsiteY4738" fmla="*/ 691549 h 2052818"/>
                <a:gd name="connsiteX4739" fmla="*/ 1016227 w 2222569"/>
                <a:gd name="connsiteY4739" fmla="*/ 688291 h 2052818"/>
                <a:gd name="connsiteX4740" fmla="*/ 1016227 w 2222569"/>
                <a:gd name="connsiteY4740" fmla="*/ 680797 h 2052818"/>
                <a:gd name="connsiteX4741" fmla="*/ 1019648 w 2222569"/>
                <a:gd name="connsiteY4741" fmla="*/ 673304 h 2052818"/>
                <a:gd name="connsiteX4742" fmla="*/ 1020626 w 2222569"/>
                <a:gd name="connsiteY4742" fmla="*/ 667113 h 2052818"/>
                <a:gd name="connsiteX4743" fmla="*/ 1024047 w 2222569"/>
                <a:gd name="connsiteY4743" fmla="*/ 664181 h 2052818"/>
                <a:gd name="connsiteX4744" fmla="*/ 1024373 w 2222569"/>
                <a:gd name="connsiteY4744" fmla="*/ 659945 h 2052818"/>
                <a:gd name="connsiteX4745" fmla="*/ 1025676 w 2222569"/>
                <a:gd name="connsiteY4745" fmla="*/ 655709 h 2052818"/>
                <a:gd name="connsiteX4746" fmla="*/ 1028445 w 2222569"/>
                <a:gd name="connsiteY4746" fmla="*/ 644957 h 2052818"/>
                <a:gd name="connsiteX4747" fmla="*/ 1034310 w 2222569"/>
                <a:gd name="connsiteY4747" fmla="*/ 641862 h 2052818"/>
                <a:gd name="connsiteX4748" fmla="*/ 1034799 w 2222569"/>
                <a:gd name="connsiteY4748" fmla="*/ 635834 h 2052818"/>
                <a:gd name="connsiteX4749" fmla="*/ 1031867 w 2222569"/>
                <a:gd name="connsiteY4749" fmla="*/ 636323 h 2052818"/>
                <a:gd name="connsiteX4750" fmla="*/ 1029423 w 2222569"/>
                <a:gd name="connsiteY4750" fmla="*/ 635834 h 2052818"/>
                <a:gd name="connsiteX4751" fmla="*/ 1029749 w 2222569"/>
                <a:gd name="connsiteY4751" fmla="*/ 632087 h 2052818"/>
                <a:gd name="connsiteX4752" fmla="*/ 1032844 w 2222569"/>
                <a:gd name="connsiteY4752" fmla="*/ 628666 h 2052818"/>
                <a:gd name="connsiteX4753" fmla="*/ 1033333 w 2222569"/>
                <a:gd name="connsiteY4753" fmla="*/ 618240 h 2052818"/>
                <a:gd name="connsiteX4754" fmla="*/ 1030563 w 2222569"/>
                <a:gd name="connsiteY4754" fmla="*/ 616448 h 2052818"/>
                <a:gd name="connsiteX4755" fmla="*/ 1028283 w 2222569"/>
                <a:gd name="connsiteY4755" fmla="*/ 610583 h 2052818"/>
                <a:gd name="connsiteX4756" fmla="*/ 1029912 w 2222569"/>
                <a:gd name="connsiteY4756" fmla="*/ 608629 h 2052818"/>
                <a:gd name="connsiteX4757" fmla="*/ 1030237 w 2222569"/>
                <a:gd name="connsiteY4757" fmla="*/ 602601 h 2052818"/>
                <a:gd name="connsiteX4758" fmla="*/ 1027142 w 2222569"/>
                <a:gd name="connsiteY4758" fmla="*/ 602112 h 2052818"/>
                <a:gd name="connsiteX4759" fmla="*/ 1022581 w 2222569"/>
                <a:gd name="connsiteY4759" fmla="*/ 596085 h 2052818"/>
                <a:gd name="connsiteX4760" fmla="*/ 1015413 w 2222569"/>
                <a:gd name="connsiteY4760" fmla="*/ 598528 h 2052818"/>
                <a:gd name="connsiteX4761" fmla="*/ 1013784 w 2222569"/>
                <a:gd name="connsiteY4761" fmla="*/ 603904 h 2052818"/>
                <a:gd name="connsiteX4762" fmla="*/ 1018508 w 2222569"/>
                <a:gd name="connsiteY4762" fmla="*/ 607651 h 2052818"/>
                <a:gd name="connsiteX4763" fmla="*/ 1018508 w 2222569"/>
                <a:gd name="connsiteY4763" fmla="*/ 612050 h 2052818"/>
                <a:gd name="connsiteX4764" fmla="*/ 1020952 w 2222569"/>
                <a:gd name="connsiteY4764" fmla="*/ 615145 h 2052818"/>
                <a:gd name="connsiteX4765" fmla="*/ 1020952 w 2222569"/>
                <a:gd name="connsiteY4765" fmla="*/ 619055 h 2052818"/>
                <a:gd name="connsiteX4766" fmla="*/ 1017694 w 2222569"/>
                <a:gd name="connsiteY4766" fmla="*/ 619055 h 2052818"/>
                <a:gd name="connsiteX4767" fmla="*/ 1016064 w 2222569"/>
                <a:gd name="connsiteY4767" fmla="*/ 614493 h 2052818"/>
                <a:gd name="connsiteX4768" fmla="*/ 1012643 w 2222569"/>
                <a:gd name="connsiteY4768" fmla="*/ 614493 h 2052818"/>
                <a:gd name="connsiteX4769" fmla="*/ 1010851 w 2222569"/>
                <a:gd name="connsiteY4769" fmla="*/ 620032 h 2052818"/>
                <a:gd name="connsiteX4770" fmla="*/ 1013132 w 2222569"/>
                <a:gd name="connsiteY4770" fmla="*/ 621498 h 2052818"/>
                <a:gd name="connsiteX4771" fmla="*/ 1014435 w 2222569"/>
                <a:gd name="connsiteY4771" fmla="*/ 625734 h 2052818"/>
                <a:gd name="connsiteX4772" fmla="*/ 1016227 w 2222569"/>
                <a:gd name="connsiteY4772" fmla="*/ 631762 h 2052818"/>
                <a:gd name="connsiteX4773" fmla="*/ 1013621 w 2222569"/>
                <a:gd name="connsiteY4773" fmla="*/ 633554 h 2052818"/>
                <a:gd name="connsiteX4774" fmla="*/ 1012806 w 2222569"/>
                <a:gd name="connsiteY4774" fmla="*/ 631599 h 2052818"/>
                <a:gd name="connsiteX4775" fmla="*/ 1010525 w 2222569"/>
                <a:gd name="connsiteY4775" fmla="*/ 629318 h 2052818"/>
                <a:gd name="connsiteX4776" fmla="*/ 1009222 w 2222569"/>
                <a:gd name="connsiteY4776" fmla="*/ 635183 h 2052818"/>
                <a:gd name="connsiteX4777" fmla="*/ 1004987 w 2222569"/>
                <a:gd name="connsiteY4777" fmla="*/ 631925 h 2052818"/>
                <a:gd name="connsiteX4778" fmla="*/ 1004987 w 2222569"/>
                <a:gd name="connsiteY4778" fmla="*/ 627689 h 2052818"/>
                <a:gd name="connsiteX4779" fmla="*/ 1001891 w 2222569"/>
                <a:gd name="connsiteY4779" fmla="*/ 628178 h 2052818"/>
                <a:gd name="connsiteX4780" fmla="*/ 999122 w 2222569"/>
                <a:gd name="connsiteY4780" fmla="*/ 633391 h 2052818"/>
                <a:gd name="connsiteX4781" fmla="*/ 997167 w 2222569"/>
                <a:gd name="connsiteY4781" fmla="*/ 632413 h 2052818"/>
                <a:gd name="connsiteX4782" fmla="*/ 997167 w 2222569"/>
                <a:gd name="connsiteY4782" fmla="*/ 627037 h 2052818"/>
                <a:gd name="connsiteX4783" fmla="*/ 1000262 w 2222569"/>
                <a:gd name="connsiteY4783" fmla="*/ 623779 h 2052818"/>
                <a:gd name="connsiteX4784" fmla="*/ 998796 w 2222569"/>
                <a:gd name="connsiteY4784" fmla="*/ 622639 h 2052818"/>
                <a:gd name="connsiteX4785" fmla="*/ 992117 w 2222569"/>
                <a:gd name="connsiteY4785" fmla="*/ 625245 h 2052818"/>
                <a:gd name="connsiteX4786" fmla="*/ 986415 w 2222569"/>
                <a:gd name="connsiteY4786" fmla="*/ 630784 h 2052818"/>
                <a:gd name="connsiteX4787" fmla="*/ 982994 w 2222569"/>
                <a:gd name="connsiteY4787" fmla="*/ 624757 h 2052818"/>
                <a:gd name="connsiteX4788" fmla="*/ 979736 w 2222569"/>
                <a:gd name="connsiteY4788" fmla="*/ 625082 h 2052818"/>
                <a:gd name="connsiteX4789" fmla="*/ 976640 w 2222569"/>
                <a:gd name="connsiteY4789" fmla="*/ 628178 h 2052818"/>
                <a:gd name="connsiteX4790" fmla="*/ 970939 w 2222569"/>
                <a:gd name="connsiteY4790" fmla="*/ 628178 h 2052818"/>
                <a:gd name="connsiteX4791" fmla="*/ 969798 w 2222569"/>
                <a:gd name="connsiteY4791" fmla="*/ 625571 h 2052818"/>
                <a:gd name="connsiteX4792" fmla="*/ 964096 w 2222569"/>
                <a:gd name="connsiteY4792" fmla="*/ 626549 h 2052818"/>
                <a:gd name="connsiteX4793" fmla="*/ 961653 w 2222569"/>
                <a:gd name="connsiteY4793" fmla="*/ 624268 h 2052818"/>
                <a:gd name="connsiteX4794" fmla="*/ 965725 w 2222569"/>
                <a:gd name="connsiteY4794" fmla="*/ 620521 h 2052818"/>
                <a:gd name="connsiteX4795" fmla="*/ 972242 w 2222569"/>
                <a:gd name="connsiteY4795" fmla="*/ 619869 h 2052818"/>
                <a:gd name="connsiteX4796" fmla="*/ 975337 w 2222569"/>
                <a:gd name="connsiteY4796" fmla="*/ 621010 h 2052818"/>
                <a:gd name="connsiteX4797" fmla="*/ 981039 w 2222569"/>
                <a:gd name="connsiteY4797" fmla="*/ 619543 h 2052818"/>
                <a:gd name="connsiteX4798" fmla="*/ 981365 w 2222569"/>
                <a:gd name="connsiteY4798" fmla="*/ 616448 h 2052818"/>
                <a:gd name="connsiteX4799" fmla="*/ 984623 w 2222569"/>
                <a:gd name="connsiteY4799" fmla="*/ 615308 h 2052818"/>
                <a:gd name="connsiteX4800" fmla="*/ 988044 w 2222569"/>
                <a:gd name="connsiteY4800" fmla="*/ 616448 h 2052818"/>
                <a:gd name="connsiteX4801" fmla="*/ 993257 w 2222569"/>
                <a:gd name="connsiteY4801" fmla="*/ 612050 h 2052818"/>
                <a:gd name="connsiteX4802" fmla="*/ 993257 w 2222569"/>
                <a:gd name="connsiteY4802" fmla="*/ 607814 h 2052818"/>
                <a:gd name="connsiteX4803" fmla="*/ 994235 w 2222569"/>
                <a:gd name="connsiteY4803" fmla="*/ 604882 h 2052818"/>
                <a:gd name="connsiteX4804" fmla="*/ 990976 w 2222569"/>
                <a:gd name="connsiteY4804" fmla="*/ 601949 h 2052818"/>
                <a:gd name="connsiteX4805" fmla="*/ 986741 w 2222569"/>
                <a:gd name="connsiteY4805" fmla="*/ 593478 h 2052818"/>
                <a:gd name="connsiteX4806" fmla="*/ 981039 w 2222569"/>
                <a:gd name="connsiteY4806" fmla="*/ 591686 h 2052818"/>
                <a:gd name="connsiteX4807" fmla="*/ 980387 w 2222569"/>
                <a:gd name="connsiteY4807" fmla="*/ 588102 h 2052818"/>
                <a:gd name="connsiteX4808" fmla="*/ 972568 w 2222569"/>
                <a:gd name="connsiteY4808" fmla="*/ 580934 h 2052818"/>
                <a:gd name="connsiteX4809" fmla="*/ 971427 w 2222569"/>
                <a:gd name="connsiteY4809" fmla="*/ 578165 h 2052818"/>
                <a:gd name="connsiteX4810" fmla="*/ 967192 w 2222569"/>
                <a:gd name="connsiteY4810" fmla="*/ 578165 h 2052818"/>
                <a:gd name="connsiteX4811" fmla="*/ 961653 w 2222569"/>
                <a:gd name="connsiteY4811" fmla="*/ 582237 h 2052818"/>
                <a:gd name="connsiteX4812" fmla="*/ 958394 w 2222569"/>
                <a:gd name="connsiteY4812" fmla="*/ 582563 h 2052818"/>
                <a:gd name="connsiteX4813" fmla="*/ 950249 w 2222569"/>
                <a:gd name="connsiteY4813" fmla="*/ 590871 h 2052818"/>
                <a:gd name="connsiteX4814" fmla="*/ 952204 w 2222569"/>
                <a:gd name="connsiteY4814" fmla="*/ 592664 h 2052818"/>
                <a:gd name="connsiteX4815" fmla="*/ 952204 w 2222569"/>
                <a:gd name="connsiteY4815" fmla="*/ 595922 h 2052818"/>
                <a:gd name="connsiteX4816" fmla="*/ 948946 w 2222569"/>
                <a:gd name="connsiteY4816" fmla="*/ 597062 h 2052818"/>
                <a:gd name="connsiteX4817" fmla="*/ 945525 w 2222569"/>
                <a:gd name="connsiteY4817" fmla="*/ 598691 h 2052818"/>
                <a:gd name="connsiteX4818" fmla="*/ 945525 w 2222569"/>
                <a:gd name="connsiteY4818" fmla="*/ 596410 h 2052818"/>
                <a:gd name="connsiteX4819" fmla="*/ 941452 w 2222569"/>
                <a:gd name="connsiteY4819" fmla="*/ 597225 h 2052818"/>
                <a:gd name="connsiteX4820" fmla="*/ 937705 w 2222569"/>
                <a:gd name="connsiteY4820" fmla="*/ 594618 h 2052818"/>
                <a:gd name="connsiteX4821" fmla="*/ 932655 w 2222569"/>
                <a:gd name="connsiteY4821" fmla="*/ 594944 h 2052818"/>
                <a:gd name="connsiteX4822" fmla="*/ 930374 w 2222569"/>
                <a:gd name="connsiteY4822" fmla="*/ 596899 h 2052818"/>
                <a:gd name="connsiteX4823" fmla="*/ 925161 w 2222569"/>
                <a:gd name="connsiteY4823" fmla="*/ 596899 h 2052818"/>
                <a:gd name="connsiteX4824" fmla="*/ 923206 w 2222569"/>
                <a:gd name="connsiteY4824" fmla="*/ 594944 h 2052818"/>
                <a:gd name="connsiteX4825" fmla="*/ 924998 w 2222569"/>
                <a:gd name="connsiteY4825" fmla="*/ 593152 h 2052818"/>
                <a:gd name="connsiteX4826" fmla="*/ 932329 w 2222569"/>
                <a:gd name="connsiteY4826" fmla="*/ 591523 h 2052818"/>
                <a:gd name="connsiteX4827" fmla="*/ 934121 w 2222569"/>
                <a:gd name="connsiteY4827" fmla="*/ 587125 h 2052818"/>
                <a:gd name="connsiteX4828" fmla="*/ 938357 w 2222569"/>
                <a:gd name="connsiteY4828" fmla="*/ 585495 h 2052818"/>
                <a:gd name="connsiteX4829" fmla="*/ 941452 w 2222569"/>
                <a:gd name="connsiteY4829" fmla="*/ 586310 h 2052818"/>
                <a:gd name="connsiteX4830" fmla="*/ 945199 w 2222569"/>
                <a:gd name="connsiteY4830" fmla="*/ 581260 h 2052818"/>
                <a:gd name="connsiteX4831" fmla="*/ 945525 w 2222569"/>
                <a:gd name="connsiteY4831" fmla="*/ 575395 h 2052818"/>
                <a:gd name="connsiteX4832" fmla="*/ 947480 w 2222569"/>
                <a:gd name="connsiteY4832" fmla="*/ 572626 h 2052818"/>
                <a:gd name="connsiteX4833" fmla="*/ 951552 w 2222569"/>
                <a:gd name="connsiteY4833" fmla="*/ 572626 h 2052818"/>
                <a:gd name="connsiteX4834" fmla="*/ 955299 w 2222569"/>
                <a:gd name="connsiteY4834" fmla="*/ 565458 h 2052818"/>
                <a:gd name="connsiteX4835" fmla="*/ 954811 w 2222569"/>
                <a:gd name="connsiteY4835" fmla="*/ 557964 h 2052818"/>
                <a:gd name="connsiteX4836" fmla="*/ 956114 w 2222569"/>
                <a:gd name="connsiteY4836" fmla="*/ 553891 h 2052818"/>
                <a:gd name="connsiteX4837" fmla="*/ 954648 w 2222569"/>
                <a:gd name="connsiteY4837" fmla="*/ 549330 h 2052818"/>
                <a:gd name="connsiteX4838" fmla="*/ 950412 w 2222569"/>
                <a:gd name="connsiteY4838" fmla="*/ 549330 h 2052818"/>
                <a:gd name="connsiteX4839" fmla="*/ 942592 w 2222569"/>
                <a:gd name="connsiteY4839" fmla="*/ 551610 h 2052818"/>
                <a:gd name="connsiteX4840" fmla="*/ 933144 w 2222569"/>
                <a:gd name="connsiteY4840" fmla="*/ 553565 h 2052818"/>
                <a:gd name="connsiteX4841" fmla="*/ 923369 w 2222569"/>
                <a:gd name="connsiteY4841" fmla="*/ 557475 h 2052818"/>
                <a:gd name="connsiteX4842" fmla="*/ 904797 w 2222569"/>
                <a:gd name="connsiteY4842" fmla="*/ 560408 h 2052818"/>
                <a:gd name="connsiteX4843" fmla="*/ 881990 w 2222569"/>
                <a:gd name="connsiteY4843" fmla="*/ 569205 h 2052818"/>
                <a:gd name="connsiteX4844" fmla="*/ 876125 w 2222569"/>
                <a:gd name="connsiteY4844" fmla="*/ 574418 h 2052818"/>
                <a:gd name="connsiteX4845" fmla="*/ 862115 w 2222569"/>
                <a:gd name="connsiteY4845" fmla="*/ 577676 h 2052818"/>
                <a:gd name="connsiteX4846" fmla="*/ 843544 w 2222569"/>
                <a:gd name="connsiteY4846" fmla="*/ 586310 h 2052818"/>
                <a:gd name="connsiteX4847" fmla="*/ 837027 w 2222569"/>
                <a:gd name="connsiteY4847" fmla="*/ 592175 h 2052818"/>
                <a:gd name="connsiteX4848" fmla="*/ 836538 w 2222569"/>
                <a:gd name="connsiteY4848" fmla="*/ 596085 h 2052818"/>
                <a:gd name="connsiteX4849" fmla="*/ 840774 w 2222569"/>
                <a:gd name="connsiteY4849" fmla="*/ 596410 h 2052818"/>
                <a:gd name="connsiteX4850" fmla="*/ 843381 w 2222569"/>
                <a:gd name="connsiteY4850" fmla="*/ 598365 h 2052818"/>
                <a:gd name="connsiteX4851" fmla="*/ 838331 w 2222569"/>
                <a:gd name="connsiteY4851" fmla="*/ 602112 h 2052818"/>
                <a:gd name="connsiteX4852" fmla="*/ 833606 w 2222569"/>
                <a:gd name="connsiteY4852" fmla="*/ 602112 h 2052818"/>
                <a:gd name="connsiteX4853" fmla="*/ 825461 w 2222569"/>
                <a:gd name="connsiteY4853" fmla="*/ 609443 h 2052818"/>
                <a:gd name="connsiteX4854" fmla="*/ 818456 w 2222569"/>
                <a:gd name="connsiteY4854" fmla="*/ 609769 h 2052818"/>
                <a:gd name="connsiteX4855" fmla="*/ 814872 w 2222569"/>
                <a:gd name="connsiteY4855" fmla="*/ 612701 h 2052818"/>
                <a:gd name="connsiteX4856" fmla="*/ 813568 w 2222569"/>
                <a:gd name="connsiteY4856" fmla="*/ 617263 h 2052818"/>
                <a:gd name="connsiteX4857" fmla="*/ 806726 w 2222569"/>
                <a:gd name="connsiteY4857" fmla="*/ 622313 h 2052818"/>
                <a:gd name="connsiteX4858" fmla="*/ 803631 w 2222569"/>
                <a:gd name="connsiteY4858" fmla="*/ 626223 h 2052818"/>
                <a:gd name="connsiteX4859" fmla="*/ 803305 w 2222569"/>
                <a:gd name="connsiteY4859" fmla="*/ 632576 h 2052818"/>
                <a:gd name="connsiteX4860" fmla="*/ 806889 w 2222569"/>
                <a:gd name="connsiteY4860" fmla="*/ 630784 h 2052818"/>
                <a:gd name="connsiteX4861" fmla="*/ 810310 w 2222569"/>
                <a:gd name="connsiteY4861" fmla="*/ 633717 h 2052818"/>
                <a:gd name="connsiteX4862" fmla="*/ 808355 w 2222569"/>
                <a:gd name="connsiteY4862" fmla="*/ 636975 h 2052818"/>
                <a:gd name="connsiteX4863" fmla="*/ 809984 w 2222569"/>
                <a:gd name="connsiteY4863" fmla="*/ 638278 h 2052818"/>
                <a:gd name="connsiteX4864" fmla="*/ 812917 w 2222569"/>
                <a:gd name="connsiteY4864" fmla="*/ 637626 h 2052818"/>
                <a:gd name="connsiteX4865" fmla="*/ 817315 w 2222569"/>
                <a:gd name="connsiteY4865" fmla="*/ 635020 h 2052818"/>
                <a:gd name="connsiteX4866" fmla="*/ 822040 w 2222569"/>
                <a:gd name="connsiteY4866" fmla="*/ 635509 h 2052818"/>
                <a:gd name="connsiteX4867" fmla="*/ 825949 w 2222569"/>
                <a:gd name="connsiteY4867" fmla="*/ 638115 h 2052818"/>
                <a:gd name="connsiteX4868" fmla="*/ 824320 w 2222569"/>
                <a:gd name="connsiteY4868" fmla="*/ 642025 h 2052818"/>
                <a:gd name="connsiteX4869" fmla="*/ 818456 w 2222569"/>
                <a:gd name="connsiteY4869" fmla="*/ 644469 h 2052818"/>
                <a:gd name="connsiteX4870" fmla="*/ 812754 w 2222569"/>
                <a:gd name="connsiteY4870" fmla="*/ 641373 h 2052818"/>
                <a:gd name="connsiteX4871" fmla="*/ 809007 w 2222569"/>
                <a:gd name="connsiteY4871" fmla="*/ 643491 h 2052818"/>
                <a:gd name="connsiteX4872" fmla="*/ 810147 w 2222569"/>
                <a:gd name="connsiteY4872" fmla="*/ 648053 h 2052818"/>
                <a:gd name="connsiteX4873" fmla="*/ 818944 w 2222569"/>
                <a:gd name="connsiteY4873" fmla="*/ 652614 h 2052818"/>
                <a:gd name="connsiteX4874" fmla="*/ 821877 w 2222569"/>
                <a:gd name="connsiteY4874" fmla="*/ 650822 h 2052818"/>
                <a:gd name="connsiteX4875" fmla="*/ 822854 w 2222569"/>
                <a:gd name="connsiteY4875" fmla="*/ 647075 h 2052818"/>
                <a:gd name="connsiteX4876" fmla="*/ 825786 w 2222569"/>
                <a:gd name="connsiteY4876" fmla="*/ 647075 h 2052818"/>
                <a:gd name="connsiteX4877" fmla="*/ 827578 w 2222569"/>
                <a:gd name="connsiteY4877" fmla="*/ 649519 h 2052818"/>
                <a:gd name="connsiteX4878" fmla="*/ 825624 w 2222569"/>
                <a:gd name="connsiteY4878" fmla="*/ 653103 h 2052818"/>
                <a:gd name="connsiteX4879" fmla="*/ 829696 w 2222569"/>
                <a:gd name="connsiteY4879" fmla="*/ 652614 h 2052818"/>
                <a:gd name="connsiteX4880" fmla="*/ 838168 w 2222569"/>
                <a:gd name="connsiteY4880" fmla="*/ 654080 h 2052818"/>
                <a:gd name="connsiteX4881" fmla="*/ 846150 w 2222569"/>
                <a:gd name="connsiteY4881" fmla="*/ 651799 h 2052818"/>
                <a:gd name="connsiteX4882" fmla="*/ 851037 w 2222569"/>
                <a:gd name="connsiteY4882" fmla="*/ 651799 h 2052818"/>
                <a:gd name="connsiteX4883" fmla="*/ 858205 w 2222569"/>
                <a:gd name="connsiteY4883" fmla="*/ 654895 h 2052818"/>
                <a:gd name="connsiteX4884" fmla="*/ 863581 w 2222569"/>
                <a:gd name="connsiteY4884" fmla="*/ 653754 h 2052818"/>
                <a:gd name="connsiteX4885" fmla="*/ 868632 w 2222569"/>
                <a:gd name="connsiteY4885" fmla="*/ 656035 h 2052818"/>
                <a:gd name="connsiteX4886" fmla="*/ 871564 w 2222569"/>
                <a:gd name="connsiteY4886" fmla="*/ 660271 h 2052818"/>
                <a:gd name="connsiteX4887" fmla="*/ 875474 w 2222569"/>
                <a:gd name="connsiteY4887" fmla="*/ 660760 h 2052818"/>
                <a:gd name="connsiteX4888" fmla="*/ 873845 w 2222569"/>
                <a:gd name="connsiteY4888" fmla="*/ 663366 h 2052818"/>
                <a:gd name="connsiteX4889" fmla="*/ 870098 w 2222569"/>
                <a:gd name="connsiteY4889" fmla="*/ 663366 h 2052818"/>
                <a:gd name="connsiteX4890" fmla="*/ 863093 w 2222569"/>
                <a:gd name="connsiteY4890" fmla="*/ 658805 h 2052818"/>
                <a:gd name="connsiteX4891" fmla="*/ 853318 w 2222569"/>
                <a:gd name="connsiteY4891" fmla="*/ 658805 h 2052818"/>
                <a:gd name="connsiteX4892" fmla="*/ 851526 w 2222569"/>
                <a:gd name="connsiteY4892" fmla="*/ 660434 h 2052818"/>
                <a:gd name="connsiteX4893" fmla="*/ 857717 w 2222569"/>
                <a:gd name="connsiteY4893" fmla="*/ 662714 h 2052818"/>
                <a:gd name="connsiteX4894" fmla="*/ 859183 w 2222569"/>
                <a:gd name="connsiteY4894" fmla="*/ 665484 h 2052818"/>
                <a:gd name="connsiteX4895" fmla="*/ 850874 w 2222569"/>
                <a:gd name="connsiteY4895" fmla="*/ 665484 h 2052818"/>
                <a:gd name="connsiteX4896" fmla="*/ 847128 w 2222569"/>
                <a:gd name="connsiteY4896" fmla="*/ 662389 h 2052818"/>
                <a:gd name="connsiteX4897" fmla="*/ 835887 w 2222569"/>
                <a:gd name="connsiteY4897" fmla="*/ 663692 h 2052818"/>
                <a:gd name="connsiteX4898" fmla="*/ 832954 w 2222569"/>
                <a:gd name="connsiteY4898" fmla="*/ 666461 h 2052818"/>
                <a:gd name="connsiteX4899" fmla="*/ 829696 w 2222569"/>
                <a:gd name="connsiteY4899" fmla="*/ 664506 h 2052818"/>
                <a:gd name="connsiteX4900" fmla="*/ 826764 w 2222569"/>
                <a:gd name="connsiteY4900" fmla="*/ 664506 h 2052818"/>
                <a:gd name="connsiteX4901" fmla="*/ 822854 w 2222569"/>
                <a:gd name="connsiteY4901" fmla="*/ 665647 h 2052818"/>
                <a:gd name="connsiteX4902" fmla="*/ 818944 w 2222569"/>
                <a:gd name="connsiteY4902" fmla="*/ 665321 h 2052818"/>
                <a:gd name="connsiteX4903" fmla="*/ 806889 w 2222569"/>
                <a:gd name="connsiteY4903" fmla="*/ 665973 h 2052818"/>
                <a:gd name="connsiteX4904" fmla="*/ 804934 w 2222569"/>
                <a:gd name="connsiteY4904" fmla="*/ 667602 h 2052818"/>
                <a:gd name="connsiteX4905" fmla="*/ 795323 w 2222569"/>
                <a:gd name="connsiteY4905" fmla="*/ 669394 h 2052818"/>
                <a:gd name="connsiteX4906" fmla="*/ 793693 w 2222569"/>
                <a:gd name="connsiteY4906" fmla="*/ 674770 h 2052818"/>
                <a:gd name="connsiteX4907" fmla="*/ 794997 w 2222569"/>
                <a:gd name="connsiteY4907" fmla="*/ 688780 h 2052818"/>
                <a:gd name="connsiteX4908" fmla="*/ 796137 w 2222569"/>
                <a:gd name="connsiteY4908" fmla="*/ 691549 h 2052818"/>
                <a:gd name="connsiteX4909" fmla="*/ 796137 w 2222569"/>
                <a:gd name="connsiteY4909" fmla="*/ 696925 h 2052818"/>
                <a:gd name="connsiteX4910" fmla="*/ 794182 w 2222569"/>
                <a:gd name="connsiteY4910" fmla="*/ 698229 h 2052818"/>
                <a:gd name="connsiteX4911" fmla="*/ 794671 w 2222569"/>
                <a:gd name="connsiteY4911" fmla="*/ 701813 h 2052818"/>
                <a:gd name="connsiteX4912" fmla="*/ 796952 w 2222569"/>
                <a:gd name="connsiteY4912" fmla="*/ 703768 h 2052818"/>
                <a:gd name="connsiteX4913" fmla="*/ 801350 w 2222569"/>
                <a:gd name="connsiteY4913" fmla="*/ 703116 h 2052818"/>
                <a:gd name="connsiteX4914" fmla="*/ 803957 w 2222569"/>
                <a:gd name="connsiteY4914" fmla="*/ 703116 h 2052818"/>
                <a:gd name="connsiteX4915" fmla="*/ 806889 w 2222569"/>
                <a:gd name="connsiteY4915" fmla="*/ 705234 h 2052818"/>
                <a:gd name="connsiteX4916" fmla="*/ 811450 w 2222569"/>
                <a:gd name="connsiteY4916" fmla="*/ 705234 h 2052818"/>
                <a:gd name="connsiteX4917" fmla="*/ 812591 w 2222569"/>
                <a:gd name="connsiteY4917" fmla="*/ 703279 h 2052818"/>
                <a:gd name="connsiteX4918" fmla="*/ 813731 w 2222569"/>
                <a:gd name="connsiteY4918" fmla="*/ 702790 h 2052818"/>
                <a:gd name="connsiteX4919" fmla="*/ 816989 w 2222569"/>
                <a:gd name="connsiteY4919" fmla="*/ 704419 h 2052818"/>
                <a:gd name="connsiteX4920" fmla="*/ 818944 w 2222569"/>
                <a:gd name="connsiteY4920" fmla="*/ 706211 h 2052818"/>
                <a:gd name="connsiteX4921" fmla="*/ 821551 w 2222569"/>
                <a:gd name="connsiteY4921" fmla="*/ 705234 h 2052818"/>
                <a:gd name="connsiteX4922" fmla="*/ 824483 w 2222569"/>
                <a:gd name="connsiteY4922" fmla="*/ 708003 h 2052818"/>
                <a:gd name="connsiteX4923" fmla="*/ 824972 w 2222569"/>
                <a:gd name="connsiteY4923" fmla="*/ 710936 h 2052818"/>
                <a:gd name="connsiteX4924" fmla="*/ 828067 w 2222569"/>
                <a:gd name="connsiteY4924" fmla="*/ 711913 h 2052818"/>
                <a:gd name="connsiteX4925" fmla="*/ 832140 w 2222569"/>
                <a:gd name="connsiteY4925" fmla="*/ 710773 h 2052818"/>
                <a:gd name="connsiteX4926" fmla="*/ 835235 w 2222569"/>
                <a:gd name="connsiteY4926" fmla="*/ 710773 h 2052818"/>
                <a:gd name="connsiteX4927" fmla="*/ 837190 w 2222569"/>
                <a:gd name="connsiteY4927" fmla="*/ 713053 h 2052818"/>
                <a:gd name="connsiteX4928" fmla="*/ 842729 w 2222569"/>
                <a:gd name="connsiteY4928" fmla="*/ 713053 h 2052818"/>
                <a:gd name="connsiteX4929" fmla="*/ 846313 w 2222569"/>
                <a:gd name="connsiteY4929" fmla="*/ 712565 h 2052818"/>
                <a:gd name="connsiteX4930" fmla="*/ 850874 w 2222569"/>
                <a:gd name="connsiteY4930" fmla="*/ 714520 h 2052818"/>
                <a:gd name="connsiteX4931" fmla="*/ 854947 w 2222569"/>
                <a:gd name="connsiteY4931" fmla="*/ 712565 h 2052818"/>
                <a:gd name="connsiteX4932" fmla="*/ 858043 w 2222569"/>
                <a:gd name="connsiteY4932" fmla="*/ 713868 h 2052818"/>
                <a:gd name="connsiteX4933" fmla="*/ 864070 w 2222569"/>
                <a:gd name="connsiteY4933" fmla="*/ 714357 h 2052818"/>
                <a:gd name="connsiteX4934" fmla="*/ 869283 w 2222569"/>
                <a:gd name="connsiteY4934" fmla="*/ 713053 h 2052818"/>
                <a:gd name="connsiteX4935" fmla="*/ 873356 w 2222569"/>
                <a:gd name="connsiteY4935" fmla="*/ 714845 h 2052818"/>
                <a:gd name="connsiteX4936" fmla="*/ 874985 w 2222569"/>
                <a:gd name="connsiteY4936" fmla="*/ 718429 h 2052818"/>
                <a:gd name="connsiteX4937" fmla="*/ 878080 w 2222569"/>
                <a:gd name="connsiteY4937" fmla="*/ 716312 h 2052818"/>
                <a:gd name="connsiteX4938" fmla="*/ 878895 w 2222569"/>
                <a:gd name="connsiteY4938" fmla="*/ 720547 h 2052818"/>
                <a:gd name="connsiteX4939" fmla="*/ 883293 w 2222569"/>
                <a:gd name="connsiteY4939" fmla="*/ 724131 h 2052818"/>
                <a:gd name="connsiteX4940" fmla="*/ 883293 w 2222569"/>
                <a:gd name="connsiteY4940" fmla="*/ 726086 h 2052818"/>
                <a:gd name="connsiteX4941" fmla="*/ 885085 w 2222569"/>
                <a:gd name="connsiteY4941" fmla="*/ 728367 h 2052818"/>
                <a:gd name="connsiteX4942" fmla="*/ 889810 w 2222569"/>
                <a:gd name="connsiteY4942" fmla="*/ 728367 h 2052818"/>
                <a:gd name="connsiteX4943" fmla="*/ 892905 w 2222569"/>
                <a:gd name="connsiteY4943" fmla="*/ 729833 h 2052818"/>
                <a:gd name="connsiteX4944" fmla="*/ 894045 w 2222569"/>
                <a:gd name="connsiteY4944" fmla="*/ 733254 h 2052818"/>
                <a:gd name="connsiteX4945" fmla="*/ 896815 w 2222569"/>
                <a:gd name="connsiteY4945" fmla="*/ 734069 h 2052818"/>
                <a:gd name="connsiteX4946" fmla="*/ 899747 w 2222569"/>
                <a:gd name="connsiteY4946" fmla="*/ 737327 h 2052818"/>
                <a:gd name="connsiteX4947" fmla="*/ 899096 w 2222569"/>
                <a:gd name="connsiteY4947" fmla="*/ 739119 h 2052818"/>
                <a:gd name="connsiteX4948" fmla="*/ 898770 w 2222569"/>
                <a:gd name="connsiteY4948" fmla="*/ 742866 h 2052818"/>
                <a:gd name="connsiteX4949" fmla="*/ 903331 w 2222569"/>
                <a:gd name="connsiteY4949" fmla="*/ 747590 h 2052818"/>
                <a:gd name="connsiteX4950" fmla="*/ 909848 w 2222569"/>
                <a:gd name="connsiteY4950" fmla="*/ 751826 h 2052818"/>
                <a:gd name="connsiteX4951" fmla="*/ 909848 w 2222569"/>
                <a:gd name="connsiteY4951" fmla="*/ 754595 h 2052818"/>
                <a:gd name="connsiteX4952" fmla="*/ 908707 w 2222569"/>
                <a:gd name="connsiteY4952" fmla="*/ 756061 h 2052818"/>
                <a:gd name="connsiteX4953" fmla="*/ 909848 w 2222569"/>
                <a:gd name="connsiteY4953" fmla="*/ 758831 h 2052818"/>
                <a:gd name="connsiteX4954" fmla="*/ 907404 w 2222569"/>
                <a:gd name="connsiteY4954" fmla="*/ 757528 h 2052818"/>
                <a:gd name="connsiteX4955" fmla="*/ 898607 w 2222569"/>
                <a:gd name="connsiteY4955" fmla="*/ 755410 h 2052818"/>
                <a:gd name="connsiteX4956" fmla="*/ 891276 w 2222569"/>
                <a:gd name="connsiteY4956" fmla="*/ 753292 h 2052818"/>
                <a:gd name="connsiteX4957" fmla="*/ 887529 w 2222569"/>
                <a:gd name="connsiteY4957" fmla="*/ 754432 h 2052818"/>
                <a:gd name="connsiteX4958" fmla="*/ 883782 w 2222569"/>
                <a:gd name="connsiteY4958" fmla="*/ 753292 h 2052818"/>
                <a:gd name="connsiteX4959" fmla="*/ 882642 w 2222569"/>
                <a:gd name="connsiteY4959" fmla="*/ 754269 h 2052818"/>
                <a:gd name="connsiteX4960" fmla="*/ 879058 w 2222569"/>
                <a:gd name="connsiteY4960" fmla="*/ 754269 h 2052818"/>
                <a:gd name="connsiteX4961" fmla="*/ 875474 w 2222569"/>
                <a:gd name="connsiteY4961" fmla="*/ 750034 h 2052818"/>
                <a:gd name="connsiteX4962" fmla="*/ 872216 w 2222569"/>
                <a:gd name="connsiteY4962" fmla="*/ 750034 h 2052818"/>
                <a:gd name="connsiteX4963" fmla="*/ 869283 w 2222569"/>
                <a:gd name="connsiteY4963" fmla="*/ 745635 h 2052818"/>
                <a:gd name="connsiteX4964" fmla="*/ 867002 w 2222569"/>
                <a:gd name="connsiteY4964" fmla="*/ 744821 h 2052818"/>
                <a:gd name="connsiteX4965" fmla="*/ 861627 w 2222569"/>
                <a:gd name="connsiteY4965" fmla="*/ 745635 h 2052818"/>
                <a:gd name="connsiteX4966" fmla="*/ 858694 w 2222569"/>
                <a:gd name="connsiteY4966" fmla="*/ 744821 h 2052818"/>
                <a:gd name="connsiteX4967" fmla="*/ 856413 w 2222569"/>
                <a:gd name="connsiteY4967" fmla="*/ 742540 h 2052818"/>
                <a:gd name="connsiteX4968" fmla="*/ 850874 w 2222569"/>
                <a:gd name="connsiteY4968" fmla="*/ 740422 h 2052818"/>
                <a:gd name="connsiteX4969" fmla="*/ 849897 w 2222569"/>
                <a:gd name="connsiteY4969" fmla="*/ 736512 h 2052818"/>
                <a:gd name="connsiteX4970" fmla="*/ 847942 w 2222569"/>
                <a:gd name="connsiteY4970" fmla="*/ 736512 h 2052818"/>
                <a:gd name="connsiteX4971" fmla="*/ 845010 w 2222569"/>
                <a:gd name="connsiteY4971" fmla="*/ 735372 h 2052818"/>
                <a:gd name="connsiteX4972" fmla="*/ 839634 w 2222569"/>
                <a:gd name="connsiteY4972" fmla="*/ 735698 h 2052818"/>
                <a:gd name="connsiteX4973" fmla="*/ 837190 w 2222569"/>
                <a:gd name="connsiteY4973" fmla="*/ 734232 h 2052818"/>
                <a:gd name="connsiteX4974" fmla="*/ 825949 w 2222569"/>
                <a:gd name="connsiteY4974" fmla="*/ 734720 h 2052818"/>
                <a:gd name="connsiteX4975" fmla="*/ 819270 w 2222569"/>
                <a:gd name="connsiteY4975" fmla="*/ 734069 h 2052818"/>
                <a:gd name="connsiteX4976" fmla="*/ 814220 w 2222569"/>
                <a:gd name="connsiteY4976" fmla="*/ 732602 h 2052818"/>
                <a:gd name="connsiteX4977" fmla="*/ 794182 w 2222569"/>
                <a:gd name="connsiteY4977" fmla="*/ 732277 h 2052818"/>
                <a:gd name="connsiteX4978" fmla="*/ 790924 w 2222569"/>
                <a:gd name="connsiteY4978" fmla="*/ 733580 h 2052818"/>
                <a:gd name="connsiteX4979" fmla="*/ 785059 w 2222569"/>
                <a:gd name="connsiteY4979" fmla="*/ 735209 h 2052818"/>
                <a:gd name="connsiteX4980" fmla="*/ 782290 w 2222569"/>
                <a:gd name="connsiteY4980" fmla="*/ 739119 h 2052818"/>
                <a:gd name="connsiteX4981" fmla="*/ 781801 w 2222569"/>
                <a:gd name="connsiteY4981" fmla="*/ 746938 h 2052818"/>
                <a:gd name="connsiteX4982" fmla="*/ 777402 w 2222569"/>
                <a:gd name="connsiteY4982" fmla="*/ 753944 h 2052818"/>
                <a:gd name="connsiteX4983" fmla="*/ 778706 w 2222569"/>
                <a:gd name="connsiteY4983" fmla="*/ 761763 h 2052818"/>
                <a:gd name="connsiteX4984" fmla="*/ 777077 w 2222569"/>
                <a:gd name="connsiteY4984" fmla="*/ 764858 h 2052818"/>
                <a:gd name="connsiteX4985" fmla="*/ 778217 w 2222569"/>
                <a:gd name="connsiteY4985" fmla="*/ 767465 h 2052818"/>
                <a:gd name="connsiteX4986" fmla="*/ 781801 w 2222569"/>
                <a:gd name="connsiteY4986" fmla="*/ 768931 h 2052818"/>
                <a:gd name="connsiteX4987" fmla="*/ 780824 w 2222569"/>
                <a:gd name="connsiteY4987" fmla="*/ 771701 h 2052818"/>
                <a:gd name="connsiteX4988" fmla="*/ 778869 w 2222569"/>
                <a:gd name="connsiteY4988" fmla="*/ 773167 h 2052818"/>
                <a:gd name="connsiteX4989" fmla="*/ 782453 w 2222569"/>
                <a:gd name="connsiteY4989" fmla="*/ 783756 h 2052818"/>
                <a:gd name="connsiteX4990" fmla="*/ 786200 w 2222569"/>
                <a:gd name="connsiteY4990" fmla="*/ 786851 h 2052818"/>
                <a:gd name="connsiteX4991" fmla="*/ 787340 w 2222569"/>
                <a:gd name="connsiteY4991" fmla="*/ 789295 h 2052818"/>
                <a:gd name="connsiteX4992" fmla="*/ 794671 w 2222569"/>
                <a:gd name="connsiteY4992" fmla="*/ 793530 h 2052818"/>
                <a:gd name="connsiteX4993" fmla="*/ 796789 w 2222569"/>
                <a:gd name="connsiteY4993" fmla="*/ 795811 h 2052818"/>
                <a:gd name="connsiteX4994" fmla="*/ 800861 w 2222569"/>
                <a:gd name="connsiteY4994" fmla="*/ 794834 h 2052818"/>
                <a:gd name="connsiteX4995" fmla="*/ 803468 w 2222569"/>
                <a:gd name="connsiteY4995" fmla="*/ 797766 h 2052818"/>
                <a:gd name="connsiteX4996" fmla="*/ 806889 w 2222569"/>
                <a:gd name="connsiteY4996" fmla="*/ 798418 h 2052818"/>
                <a:gd name="connsiteX4997" fmla="*/ 812102 w 2222569"/>
                <a:gd name="connsiteY4997" fmla="*/ 796137 h 2052818"/>
                <a:gd name="connsiteX4998" fmla="*/ 815197 w 2222569"/>
                <a:gd name="connsiteY4998" fmla="*/ 796137 h 2052818"/>
                <a:gd name="connsiteX4999" fmla="*/ 818781 w 2222569"/>
                <a:gd name="connsiteY4999" fmla="*/ 800047 h 2052818"/>
                <a:gd name="connsiteX5000" fmla="*/ 824320 w 2222569"/>
                <a:gd name="connsiteY5000" fmla="*/ 800047 h 2052818"/>
                <a:gd name="connsiteX5001" fmla="*/ 827578 w 2222569"/>
                <a:gd name="connsiteY5001" fmla="*/ 805749 h 2052818"/>
                <a:gd name="connsiteX5002" fmla="*/ 830511 w 2222569"/>
                <a:gd name="connsiteY5002" fmla="*/ 806889 h 2052818"/>
                <a:gd name="connsiteX5003" fmla="*/ 831651 w 2222569"/>
                <a:gd name="connsiteY5003" fmla="*/ 809658 h 2052818"/>
                <a:gd name="connsiteX5004" fmla="*/ 826275 w 2222569"/>
                <a:gd name="connsiteY5004" fmla="*/ 811450 h 2052818"/>
                <a:gd name="connsiteX5005" fmla="*/ 826764 w 2222569"/>
                <a:gd name="connsiteY5005" fmla="*/ 814383 h 2052818"/>
                <a:gd name="connsiteX5006" fmla="*/ 824320 w 2222569"/>
                <a:gd name="connsiteY5006" fmla="*/ 816989 h 2052818"/>
                <a:gd name="connsiteX5007" fmla="*/ 824646 w 2222569"/>
                <a:gd name="connsiteY5007" fmla="*/ 819433 h 2052818"/>
                <a:gd name="connsiteX5008" fmla="*/ 822854 w 2222569"/>
                <a:gd name="connsiteY5008" fmla="*/ 822691 h 2052818"/>
                <a:gd name="connsiteX5009" fmla="*/ 816664 w 2222569"/>
                <a:gd name="connsiteY5009" fmla="*/ 825786 h 2052818"/>
                <a:gd name="connsiteX5010" fmla="*/ 816338 w 2222569"/>
                <a:gd name="connsiteY5010" fmla="*/ 828230 h 2052818"/>
                <a:gd name="connsiteX5011" fmla="*/ 814546 w 2222569"/>
                <a:gd name="connsiteY5011" fmla="*/ 831488 h 2052818"/>
                <a:gd name="connsiteX5012" fmla="*/ 818456 w 2222569"/>
                <a:gd name="connsiteY5012" fmla="*/ 834258 h 2052818"/>
                <a:gd name="connsiteX5013" fmla="*/ 818781 w 2222569"/>
                <a:gd name="connsiteY5013" fmla="*/ 840285 h 2052818"/>
                <a:gd name="connsiteX5014" fmla="*/ 821388 w 2222569"/>
                <a:gd name="connsiteY5014" fmla="*/ 846150 h 2052818"/>
                <a:gd name="connsiteX5015" fmla="*/ 820899 w 2222569"/>
                <a:gd name="connsiteY5015" fmla="*/ 849245 h 2052818"/>
                <a:gd name="connsiteX5016" fmla="*/ 815034 w 2222569"/>
                <a:gd name="connsiteY5016" fmla="*/ 850549 h 2052818"/>
                <a:gd name="connsiteX5017" fmla="*/ 816827 w 2222569"/>
                <a:gd name="connsiteY5017" fmla="*/ 852504 h 2052818"/>
                <a:gd name="connsiteX5018" fmla="*/ 825298 w 2222569"/>
                <a:gd name="connsiteY5018" fmla="*/ 854133 h 2052818"/>
                <a:gd name="connsiteX5019" fmla="*/ 828719 w 2222569"/>
                <a:gd name="connsiteY5019" fmla="*/ 853155 h 2052818"/>
                <a:gd name="connsiteX5020" fmla="*/ 831162 w 2222569"/>
                <a:gd name="connsiteY5020" fmla="*/ 853481 h 2052818"/>
                <a:gd name="connsiteX5021" fmla="*/ 832792 w 2222569"/>
                <a:gd name="connsiteY5021" fmla="*/ 855273 h 2052818"/>
                <a:gd name="connsiteX5022" fmla="*/ 834909 w 2222569"/>
                <a:gd name="connsiteY5022" fmla="*/ 852341 h 2052818"/>
                <a:gd name="connsiteX5023" fmla="*/ 837679 w 2222569"/>
                <a:gd name="connsiteY5023" fmla="*/ 851852 h 2052818"/>
                <a:gd name="connsiteX5024" fmla="*/ 839797 w 2222569"/>
                <a:gd name="connsiteY5024" fmla="*/ 853318 h 2052818"/>
                <a:gd name="connsiteX5025" fmla="*/ 846313 w 2222569"/>
                <a:gd name="connsiteY5025" fmla="*/ 853318 h 2052818"/>
                <a:gd name="connsiteX5026" fmla="*/ 854296 w 2222569"/>
                <a:gd name="connsiteY5026" fmla="*/ 857065 h 2052818"/>
                <a:gd name="connsiteX5027" fmla="*/ 857391 w 2222569"/>
                <a:gd name="connsiteY5027" fmla="*/ 853318 h 2052818"/>
                <a:gd name="connsiteX5028" fmla="*/ 863907 w 2222569"/>
                <a:gd name="connsiteY5028" fmla="*/ 853644 h 2052818"/>
                <a:gd name="connsiteX5029" fmla="*/ 865211 w 2222569"/>
                <a:gd name="connsiteY5029" fmla="*/ 856088 h 2052818"/>
                <a:gd name="connsiteX5030" fmla="*/ 866677 w 2222569"/>
                <a:gd name="connsiteY5030" fmla="*/ 856576 h 2052818"/>
                <a:gd name="connsiteX5031" fmla="*/ 868469 w 2222569"/>
                <a:gd name="connsiteY5031" fmla="*/ 855273 h 2052818"/>
                <a:gd name="connsiteX5032" fmla="*/ 872216 w 2222569"/>
                <a:gd name="connsiteY5032" fmla="*/ 854296 h 2052818"/>
                <a:gd name="connsiteX5033" fmla="*/ 874496 w 2222569"/>
                <a:gd name="connsiteY5033" fmla="*/ 855273 h 2052818"/>
                <a:gd name="connsiteX5034" fmla="*/ 875311 w 2222569"/>
                <a:gd name="connsiteY5034" fmla="*/ 858368 h 2052818"/>
                <a:gd name="connsiteX5035" fmla="*/ 878243 w 2222569"/>
                <a:gd name="connsiteY5035" fmla="*/ 857880 h 2052818"/>
                <a:gd name="connsiteX5036" fmla="*/ 880035 w 2222569"/>
                <a:gd name="connsiteY5036" fmla="*/ 856739 h 2052818"/>
                <a:gd name="connsiteX5037" fmla="*/ 882479 w 2222569"/>
                <a:gd name="connsiteY5037" fmla="*/ 858205 h 2052818"/>
                <a:gd name="connsiteX5038" fmla="*/ 883456 w 2222569"/>
                <a:gd name="connsiteY5038" fmla="*/ 861952 h 2052818"/>
                <a:gd name="connsiteX5039" fmla="*/ 885900 w 2222569"/>
                <a:gd name="connsiteY5039" fmla="*/ 861952 h 2052818"/>
                <a:gd name="connsiteX5040" fmla="*/ 888018 w 2222569"/>
                <a:gd name="connsiteY5040" fmla="*/ 859672 h 2052818"/>
                <a:gd name="connsiteX5041" fmla="*/ 894371 w 2222569"/>
                <a:gd name="connsiteY5041" fmla="*/ 859020 h 2052818"/>
                <a:gd name="connsiteX5042" fmla="*/ 897304 w 2222569"/>
                <a:gd name="connsiteY5042" fmla="*/ 855925 h 2052818"/>
                <a:gd name="connsiteX5043" fmla="*/ 901539 w 2222569"/>
                <a:gd name="connsiteY5043" fmla="*/ 854458 h 2052818"/>
                <a:gd name="connsiteX5044" fmla="*/ 905286 w 2222569"/>
                <a:gd name="connsiteY5044" fmla="*/ 854458 h 2052818"/>
                <a:gd name="connsiteX5045" fmla="*/ 910499 w 2222569"/>
                <a:gd name="connsiteY5045" fmla="*/ 849408 h 2052818"/>
                <a:gd name="connsiteX5046" fmla="*/ 916527 w 2222569"/>
                <a:gd name="connsiteY5046" fmla="*/ 846802 h 2052818"/>
                <a:gd name="connsiteX5047" fmla="*/ 920762 w 2222569"/>
                <a:gd name="connsiteY5047" fmla="*/ 845824 h 2052818"/>
                <a:gd name="connsiteX5048" fmla="*/ 921903 w 2222569"/>
                <a:gd name="connsiteY5048" fmla="*/ 843544 h 2052818"/>
                <a:gd name="connsiteX5049" fmla="*/ 925324 w 2222569"/>
                <a:gd name="connsiteY5049" fmla="*/ 843544 h 2052818"/>
                <a:gd name="connsiteX5050" fmla="*/ 930537 w 2222569"/>
                <a:gd name="connsiteY5050" fmla="*/ 844521 h 2052818"/>
                <a:gd name="connsiteX5051" fmla="*/ 933958 w 2222569"/>
                <a:gd name="connsiteY5051" fmla="*/ 844032 h 2052818"/>
                <a:gd name="connsiteX5052" fmla="*/ 937542 w 2222569"/>
                <a:gd name="connsiteY5052" fmla="*/ 845824 h 2052818"/>
                <a:gd name="connsiteX5053" fmla="*/ 947317 w 2222569"/>
                <a:gd name="connsiteY5053" fmla="*/ 845824 h 2052818"/>
                <a:gd name="connsiteX5054" fmla="*/ 957417 w 2222569"/>
                <a:gd name="connsiteY5054" fmla="*/ 839145 h 2052818"/>
                <a:gd name="connsiteX5055" fmla="*/ 959046 w 2222569"/>
                <a:gd name="connsiteY5055" fmla="*/ 836050 h 2052818"/>
                <a:gd name="connsiteX5056" fmla="*/ 960838 w 2222569"/>
                <a:gd name="connsiteY5056" fmla="*/ 836050 h 2052818"/>
                <a:gd name="connsiteX5057" fmla="*/ 962467 w 2222569"/>
                <a:gd name="connsiteY5057" fmla="*/ 837679 h 2052818"/>
                <a:gd name="connsiteX5058" fmla="*/ 963933 w 2222569"/>
                <a:gd name="connsiteY5058" fmla="*/ 834909 h 2052818"/>
                <a:gd name="connsiteX5059" fmla="*/ 967843 w 2222569"/>
                <a:gd name="connsiteY5059" fmla="*/ 832629 h 2052818"/>
                <a:gd name="connsiteX5060" fmla="*/ 967843 w 2222569"/>
                <a:gd name="connsiteY5060" fmla="*/ 829533 h 2052818"/>
                <a:gd name="connsiteX5061" fmla="*/ 969147 w 2222569"/>
                <a:gd name="connsiteY5061" fmla="*/ 827578 h 2052818"/>
                <a:gd name="connsiteX5062" fmla="*/ 971101 w 2222569"/>
                <a:gd name="connsiteY5062" fmla="*/ 828393 h 2052818"/>
                <a:gd name="connsiteX5063" fmla="*/ 974197 w 2222569"/>
                <a:gd name="connsiteY5063" fmla="*/ 827904 h 2052818"/>
                <a:gd name="connsiteX5064" fmla="*/ 975989 w 2222569"/>
                <a:gd name="connsiteY5064" fmla="*/ 825298 h 2052818"/>
                <a:gd name="connsiteX5065" fmla="*/ 975663 w 2222569"/>
                <a:gd name="connsiteY5065" fmla="*/ 822691 h 2052818"/>
                <a:gd name="connsiteX5066" fmla="*/ 977781 w 2222569"/>
                <a:gd name="connsiteY5066" fmla="*/ 823669 h 2052818"/>
                <a:gd name="connsiteX5067" fmla="*/ 980224 w 2222569"/>
                <a:gd name="connsiteY5067" fmla="*/ 823180 h 2052818"/>
                <a:gd name="connsiteX5068" fmla="*/ 981853 w 2222569"/>
                <a:gd name="connsiteY5068" fmla="*/ 826112 h 2052818"/>
                <a:gd name="connsiteX5069" fmla="*/ 981853 w 2222569"/>
                <a:gd name="connsiteY5069" fmla="*/ 828556 h 2052818"/>
                <a:gd name="connsiteX5070" fmla="*/ 983645 w 2222569"/>
                <a:gd name="connsiteY5070" fmla="*/ 831000 h 2052818"/>
                <a:gd name="connsiteX5071" fmla="*/ 979898 w 2222569"/>
                <a:gd name="connsiteY5071" fmla="*/ 833443 h 2052818"/>
                <a:gd name="connsiteX5072" fmla="*/ 979898 w 2222569"/>
                <a:gd name="connsiteY5072" fmla="*/ 836538 h 2052818"/>
                <a:gd name="connsiteX5073" fmla="*/ 977781 w 2222569"/>
                <a:gd name="connsiteY5073" fmla="*/ 839797 h 2052818"/>
                <a:gd name="connsiteX5074" fmla="*/ 975337 w 2222569"/>
                <a:gd name="connsiteY5074" fmla="*/ 841426 h 2052818"/>
                <a:gd name="connsiteX5075" fmla="*/ 975663 w 2222569"/>
                <a:gd name="connsiteY5075" fmla="*/ 843218 h 2052818"/>
                <a:gd name="connsiteX5076" fmla="*/ 979084 w 2222569"/>
                <a:gd name="connsiteY5076" fmla="*/ 843869 h 2052818"/>
                <a:gd name="connsiteX5077" fmla="*/ 982994 w 2222569"/>
                <a:gd name="connsiteY5077" fmla="*/ 846965 h 2052818"/>
                <a:gd name="connsiteX5078" fmla="*/ 984460 w 2222569"/>
                <a:gd name="connsiteY5078" fmla="*/ 845824 h 2052818"/>
                <a:gd name="connsiteX5079" fmla="*/ 987555 w 2222569"/>
                <a:gd name="connsiteY5079" fmla="*/ 845499 h 2052818"/>
                <a:gd name="connsiteX5080" fmla="*/ 991628 w 2222569"/>
                <a:gd name="connsiteY5080" fmla="*/ 847453 h 2052818"/>
                <a:gd name="connsiteX5081" fmla="*/ 993094 w 2222569"/>
                <a:gd name="connsiteY5081" fmla="*/ 852015 h 2052818"/>
                <a:gd name="connsiteX5082" fmla="*/ 995212 w 2222569"/>
                <a:gd name="connsiteY5082" fmla="*/ 853970 h 2052818"/>
                <a:gd name="connsiteX5083" fmla="*/ 995538 w 2222569"/>
                <a:gd name="connsiteY5083" fmla="*/ 851689 h 2052818"/>
                <a:gd name="connsiteX5084" fmla="*/ 997004 w 2222569"/>
                <a:gd name="connsiteY5084" fmla="*/ 850060 h 2052818"/>
                <a:gd name="connsiteX5085" fmla="*/ 1000099 w 2222569"/>
                <a:gd name="connsiteY5085" fmla="*/ 851526 h 2052818"/>
                <a:gd name="connsiteX5086" fmla="*/ 1000099 w 2222569"/>
                <a:gd name="connsiteY5086" fmla="*/ 854784 h 2052818"/>
                <a:gd name="connsiteX5087" fmla="*/ 997004 w 2222569"/>
                <a:gd name="connsiteY5087" fmla="*/ 857880 h 2052818"/>
                <a:gd name="connsiteX5088" fmla="*/ 993257 w 2222569"/>
                <a:gd name="connsiteY5088" fmla="*/ 857880 h 2052818"/>
                <a:gd name="connsiteX5089" fmla="*/ 990488 w 2222569"/>
                <a:gd name="connsiteY5089" fmla="*/ 861301 h 2052818"/>
                <a:gd name="connsiteX5090" fmla="*/ 991139 w 2222569"/>
                <a:gd name="connsiteY5090" fmla="*/ 863744 h 2052818"/>
                <a:gd name="connsiteX5091" fmla="*/ 993746 w 2222569"/>
                <a:gd name="connsiteY5091" fmla="*/ 863744 h 2052818"/>
                <a:gd name="connsiteX5092" fmla="*/ 996841 w 2222569"/>
                <a:gd name="connsiteY5092" fmla="*/ 864559 h 2052818"/>
                <a:gd name="connsiteX5093" fmla="*/ 1000751 w 2222569"/>
                <a:gd name="connsiteY5093" fmla="*/ 867817 h 2052818"/>
                <a:gd name="connsiteX5094" fmla="*/ 1004009 w 2222569"/>
                <a:gd name="connsiteY5094" fmla="*/ 866840 h 2052818"/>
                <a:gd name="connsiteX5095" fmla="*/ 1007756 w 2222569"/>
                <a:gd name="connsiteY5095" fmla="*/ 861789 h 2052818"/>
                <a:gd name="connsiteX5096" fmla="*/ 1009385 w 2222569"/>
                <a:gd name="connsiteY5096" fmla="*/ 861789 h 2052818"/>
                <a:gd name="connsiteX5097" fmla="*/ 1009059 w 2222569"/>
                <a:gd name="connsiteY5097" fmla="*/ 866025 h 2052818"/>
                <a:gd name="connsiteX5098" fmla="*/ 1011829 w 2222569"/>
                <a:gd name="connsiteY5098" fmla="*/ 871075 h 2052818"/>
                <a:gd name="connsiteX5099" fmla="*/ 1014924 w 2222569"/>
                <a:gd name="connsiteY5099" fmla="*/ 872053 h 2052818"/>
                <a:gd name="connsiteX5100" fmla="*/ 1017856 w 2222569"/>
                <a:gd name="connsiteY5100" fmla="*/ 870098 h 2052818"/>
                <a:gd name="connsiteX5101" fmla="*/ 1021766 w 2222569"/>
                <a:gd name="connsiteY5101" fmla="*/ 871075 h 2052818"/>
                <a:gd name="connsiteX5102" fmla="*/ 1023884 w 2222569"/>
                <a:gd name="connsiteY5102" fmla="*/ 874333 h 2052818"/>
                <a:gd name="connsiteX5103" fmla="*/ 1027631 w 2222569"/>
                <a:gd name="connsiteY5103" fmla="*/ 874333 h 2052818"/>
                <a:gd name="connsiteX5104" fmla="*/ 1029912 w 2222569"/>
                <a:gd name="connsiteY5104" fmla="*/ 877103 h 2052818"/>
                <a:gd name="connsiteX5105" fmla="*/ 1031704 w 2222569"/>
                <a:gd name="connsiteY5105" fmla="*/ 877103 h 2052818"/>
                <a:gd name="connsiteX5106" fmla="*/ 1031541 w 2222569"/>
                <a:gd name="connsiteY5106" fmla="*/ 873193 h 2052818"/>
                <a:gd name="connsiteX5107" fmla="*/ 1033821 w 2222569"/>
                <a:gd name="connsiteY5107" fmla="*/ 873193 h 2052818"/>
                <a:gd name="connsiteX5108" fmla="*/ 1037405 w 2222569"/>
                <a:gd name="connsiteY5108" fmla="*/ 872053 h 2052818"/>
                <a:gd name="connsiteX5109" fmla="*/ 1039360 w 2222569"/>
                <a:gd name="connsiteY5109" fmla="*/ 873682 h 2052818"/>
                <a:gd name="connsiteX5110" fmla="*/ 1039360 w 2222569"/>
                <a:gd name="connsiteY5110" fmla="*/ 877266 h 2052818"/>
                <a:gd name="connsiteX5111" fmla="*/ 1040989 w 2222569"/>
                <a:gd name="connsiteY5111" fmla="*/ 878243 h 2052818"/>
                <a:gd name="connsiteX5112" fmla="*/ 1044899 w 2222569"/>
                <a:gd name="connsiteY5112" fmla="*/ 877103 h 2052818"/>
                <a:gd name="connsiteX5113" fmla="*/ 1047506 w 2222569"/>
                <a:gd name="connsiteY5113" fmla="*/ 873356 h 2052818"/>
                <a:gd name="connsiteX5114" fmla="*/ 1049461 w 2222569"/>
                <a:gd name="connsiteY5114" fmla="*/ 874496 h 2052818"/>
                <a:gd name="connsiteX5115" fmla="*/ 1050438 w 2222569"/>
                <a:gd name="connsiteY5115" fmla="*/ 877592 h 2052818"/>
                <a:gd name="connsiteX5116" fmla="*/ 1052393 w 2222569"/>
                <a:gd name="connsiteY5116" fmla="*/ 877592 h 2052818"/>
                <a:gd name="connsiteX5117" fmla="*/ 1054022 w 2222569"/>
                <a:gd name="connsiteY5117" fmla="*/ 875311 h 2052818"/>
                <a:gd name="connsiteX5118" fmla="*/ 1055163 w 2222569"/>
                <a:gd name="connsiteY5118" fmla="*/ 874822 h 2052818"/>
                <a:gd name="connsiteX5119" fmla="*/ 1058095 w 2222569"/>
                <a:gd name="connsiteY5119" fmla="*/ 871890 h 2052818"/>
                <a:gd name="connsiteX5120" fmla="*/ 1061353 w 2222569"/>
                <a:gd name="connsiteY5120" fmla="*/ 872216 h 2052818"/>
                <a:gd name="connsiteX5121" fmla="*/ 1062330 w 2222569"/>
                <a:gd name="connsiteY5121" fmla="*/ 874008 h 2052818"/>
                <a:gd name="connsiteX5122" fmla="*/ 1064286 w 2222569"/>
                <a:gd name="connsiteY5122" fmla="*/ 874822 h 2052818"/>
                <a:gd name="connsiteX5123" fmla="*/ 1066403 w 2222569"/>
                <a:gd name="connsiteY5123" fmla="*/ 873845 h 2052818"/>
                <a:gd name="connsiteX5124" fmla="*/ 1066403 w 2222569"/>
                <a:gd name="connsiteY5124" fmla="*/ 873845 h 2052818"/>
                <a:gd name="connsiteX5125" fmla="*/ 1543238 w 2222569"/>
                <a:gd name="connsiteY5125" fmla="*/ 1053045 h 2052818"/>
                <a:gd name="connsiteX5126" fmla="*/ 1544868 w 2222569"/>
                <a:gd name="connsiteY5126" fmla="*/ 1047343 h 2052818"/>
                <a:gd name="connsiteX5127" fmla="*/ 1543401 w 2222569"/>
                <a:gd name="connsiteY5127" fmla="*/ 1045388 h 2052818"/>
                <a:gd name="connsiteX5128" fmla="*/ 1543890 w 2222569"/>
                <a:gd name="connsiteY5128" fmla="*/ 1039686 h 2052818"/>
                <a:gd name="connsiteX5129" fmla="*/ 1544379 w 2222569"/>
                <a:gd name="connsiteY5129" fmla="*/ 1033984 h 2052818"/>
                <a:gd name="connsiteX5130" fmla="*/ 1551058 w 2222569"/>
                <a:gd name="connsiteY5130" fmla="*/ 1027305 h 2052818"/>
                <a:gd name="connsiteX5131" fmla="*/ 1553827 w 2222569"/>
                <a:gd name="connsiteY5131" fmla="*/ 1021603 h 2052818"/>
                <a:gd name="connsiteX5132" fmla="*/ 1557737 w 2222569"/>
                <a:gd name="connsiteY5132" fmla="*/ 1018997 h 2052818"/>
                <a:gd name="connsiteX5133" fmla="*/ 1565068 w 2222569"/>
                <a:gd name="connsiteY5133" fmla="*/ 1008245 h 2052818"/>
                <a:gd name="connsiteX5134" fmla="*/ 1570118 w 2222569"/>
                <a:gd name="connsiteY5134" fmla="*/ 1005149 h 2052818"/>
                <a:gd name="connsiteX5135" fmla="*/ 1572562 w 2222569"/>
                <a:gd name="connsiteY5135" fmla="*/ 1005149 h 2052818"/>
                <a:gd name="connsiteX5136" fmla="*/ 1574517 w 2222569"/>
                <a:gd name="connsiteY5136" fmla="*/ 1002869 h 2052818"/>
                <a:gd name="connsiteX5137" fmla="*/ 1577449 w 2222569"/>
                <a:gd name="connsiteY5137" fmla="*/ 1004335 h 2052818"/>
                <a:gd name="connsiteX5138" fmla="*/ 1582500 w 2222569"/>
                <a:gd name="connsiteY5138" fmla="*/ 1001728 h 2052818"/>
                <a:gd name="connsiteX5139" fmla="*/ 1587876 w 2222569"/>
                <a:gd name="connsiteY5139" fmla="*/ 1003357 h 2052818"/>
                <a:gd name="connsiteX5140" fmla="*/ 1590319 w 2222569"/>
                <a:gd name="connsiteY5140" fmla="*/ 1006616 h 2052818"/>
                <a:gd name="connsiteX5141" fmla="*/ 1593089 w 2222569"/>
                <a:gd name="connsiteY5141" fmla="*/ 1006616 h 2052818"/>
                <a:gd name="connsiteX5142" fmla="*/ 1596510 w 2222569"/>
                <a:gd name="connsiteY5142" fmla="*/ 1010525 h 2052818"/>
                <a:gd name="connsiteX5143" fmla="*/ 1598302 w 2222569"/>
                <a:gd name="connsiteY5143" fmla="*/ 1015576 h 2052818"/>
                <a:gd name="connsiteX5144" fmla="*/ 1598302 w 2222569"/>
                <a:gd name="connsiteY5144" fmla="*/ 1019485 h 2052818"/>
                <a:gd name="connsiteX5145" fmla="*/ 1593740 w 2222569"/>
                <a:gd name="connsiteY5145" fmla="*/ 1023232 h 2052818"/>
                <a:gd name="connsiteX5146" fmla="*/ 1591460 w 2222569"/>
                <a:gd name="connsiteY5146" fmla="*/ 1028283 h 2052818"/>
                <a:gd name="connsiteX5147" fmla="*/ 1591134 w 2222569"/>
                <a:gd name="connsiteY5147" fmla="*/ 1033496 h 2052818"/>
                <a:gd name="connsiteX5148" fmla="*/ 1584454 w 2222569"/>
                <a:gd name="connsiteY5148" fmla="*/ 1043759 h 2052818"/>
                <a:gd name="connsiteX5149" fmla="*/ 1582174 w 2222569"/>
                <a:gd name="connsiteY5149" fmla="*/ 1047669 h 2052818"/>
                <a:gd name="connsiteX5150" fmla="*/ 1578101 w 2222569"/>
                <a:gd name="connsiteY5150" fmla="*/ 1048972 h 2052818"/>
                <a:gd name="connsiteX5151" fmla="*/ 1571910 w 2222569"/>
                <a:gd name="connsiteY5151" fmla="*/ 1052067 h 2052818"/>
                <a:gd name="connsiteX5152" fmla="*/ 1570444 w 2222569"/>
                <a:gd name="connsiteY5152" fmla="*/ 1053696 h 2052818"/>
                <a:gd name="connsiteX5153" fmla="*/ 1566697 w 2222569"/>
                <a:gd name="connsiteY5153" fmla="*/ 1054185 h 2052818"/>
                <a:gd name="connsiteX5154" fmla="*/ 1561158 w 2222569"/>
                <a:gd name="connsiteY5154" fmla="*/ 1056629 h 2052818"/>
                <a:gd name="connsiteX5155" fmla="*/ 1558226 w 2222569"/>
                <a:gd name="connsiteY5155" fmla="*/ 1054674 h 2052818"/>
                <a:gd name="connsiteX5156" fmla="*/ 1551058 w 2222569"/>
                <a:gd name="connsiteY5156" fmla="*/ 1056140 h 2052818"/>
                <a:gd name="connsiteX5157" fmla="*/ 1546985 w 2222569"/>
                <a:gd name="connsiteY5157" fmla="*/ 1054674 h 2052818"/>
                <a:gd name="connsiteX5158" fmla="*/ 1543890 w 2222569"/>
                <a:gd name="connsiteY5158" fmla="*/ 1054674 h 2052818"/>
                <a:gd name="connsiteX5159" fmla="*/ 1543076 w 2222569"/>
                <a:gd name="connsiteY5159" fmla="*/ 1053208 h 2052818"/>
                <a:gd name="connsiteX5160" fmla="*/ 1543076 w 2222569"/>
                <a:gd name="connsiteY5160" fmla="*/ 1053208 h 2052818"/>
                <a:gd name="connsiteX5161" fmla="*/ 1089862 w 2222569"/>
                <a:gd name="connsiteY5161" fmla="*/ 856739 h 2052818"/>
                <a:gd name="connsiteX5162" fmla="*/ 1089048 w 2222569"/>
                <a:gd name="connsiteY5162" fmla="*/ 854296 h 2052818"/>
                <a:gd name="connsiteX5163" fmla="*/ 1090025 w 2222569"/>
                <a:gd name="connsiteY5163" fmla="*/ 851363 h 2052818"/>
                <a:gd name="connsiteX5164" fmla="*/ 1093446 w 2222569"/>
                <a:gd name="connsiteY5164" fmla="*/ 850223 h 2052818"/>
                <a:gd name="connsiteX5165" fmla="*/ 1090840 w 2222569"/>
                <a:gd name="connsiteY5165" fmla="*/ 846639 h 2052818"/>
                <a:gd name="connsiteX5166" fmla="*/ 1092469 w 2222569"/>
                <a:gd name="connsiteY5166" fmla="*/ 843544 h 2052818"/>
                <a:gd name="connsiteX5167" fmla="*/ 1094912 w 2222569"/>
                <a:gd name="connsiteY5167" fmla="*/ 843055 h 2052818"/>
                <a:gd name="connsiteX5168" fmla="*/ 1094912 w 2222569"/>
                <a:gd name="connsiteY5168" fmla="*/ 846313 h 2052818"/>
                <a:gd name="connsiteX5169" fmla="*/ 1097356 w 2222569"/>
                <a:gd name="connsiteY5169" fmla="*/ 848594 h 2052818"/>
                <a:gd name="connsiteX5170" fmla="*/ 1097356 w 2222569"/>
                <a:gd name="connsiteY5170" fmla="*/ 851526 h 2052818"/>
                <a:gd name="connsiteX5171" fmla="*/ 1095401 w 2222569"/>
                <a:gd name="connsiteY5171" fmla="*/ 854621 h 2052818"/>
                <a:gd name="connsiteX5172" fmla="*/ 1093446 w 2222569"/>
                <a:gd name="connsiteY5172" fmla="*/ 854133 h 2052818"/>
                <a:gd name="connsiteX5173" fmla="*/ 1091817 w 2222569"/>
                <a:gd name="connsiteY5173" fmla="*/ 856902 h 2052818"/>
                <a:gd name="connsiteX5174" fmla="*/ 1090025 w 2222569"/>
                <a:gd name="connsiteY5174" fmla="*/ 856576 h 2052818"/>
                <a:gd name="connsiteX5175" fmla="*/ 1090025 w 2222569"/>
                <a:gd name="connsiteY5175" fmla="*/ 856576 h 2052818"/>
                <a:gd name="connsiteX5176" fmla="*/ 1046528 w 2222569"/>
                <a:gd name="connsiteY5176" fmla="*/ 896326 h 2052818"/>
                <a:gd name="connsiteX5177" fmla="*/ 1050438 w 2222569"/>
                <a:gd name="connsiteY5177" fmla="*/ 894045 h 2052818"/>
                <a:gd name="connsiteX5178" fmla="*/ 1051579 w 2222569"/>
                <a:gd name="connsiteY5178" fmla="*/ 891113 h 2052818"/>
                <a:gd name="connsiteX5179" fmla="*/ 1051253 w 2222569"/>
                <a:gd name="connsiteY5179" fmla="*/ 888344 h 2052818"/>
                <a:gd name="connsiteX5180" fmla="*/ 1052067 w 2222569"/>
                <a:gd name="connsiteY5180" fmla="*/ 885248 h 2052818"/>
                <a:gd name="connsiteX5181" fmla="*/ 1051090 w 2222569"/>
                <a:gd name="connsiteY5181" fmla="*/ 884271 h 2052818"/>
                <a:gd name="connsiteX5182" fmla="*/ 1047506 w 2222569"/>
                <a:gd name="connsiteY5182" fmla="*/ 886715 h 2052818"/>
                <a:gd name="connsiteX5183" fmla="*/ 1046691 w 2222569"/>
                <a:gd name="connsiteY5183" fmla="*/ 888507 h 2052818"/>
                <a:gd name="connsiteX5184" fmla="*/ 1041641 w 2222569"/>
                <a:gd name="connsiteY5184" fmla="*/ 888181 h 2052818"/>
                <a:gd name="connsiteX5185" fmla="*/ 1040501 w 2222569"/>
                <a:gd name="connsiteY5185" fmla="*/ 890461 h 2052818"/>
                <a:gd name="connsiteX5186" fmla="*/ 1043922 w 2222569"/>
                <a:gd name="connsiteY5186" fmla="*/ 894860 h 2052818"/>
                <a:gd name="connsiteX5187" fmla="*/ 1046365 w 2222569"/>
                <a:gd name="connsiteY5187" fmla="*/ 896326 h 2052818"/>
                <a:gd name="connsiteX5188" fmla="*/ 1046365 w 2222569"/>
                <a:gd name="connsiteY5188" fmla="*/ 896326 h 2052818"/>
                <a:gd name="connsiteX5189" fmla="*/ 1097519 w 2222569"/>
                <a:gd name="connsiteY5189" fmla="*/ 887366 h 2052818"/>
                <a:gd name="connsiteX5190" fmla="*/ 1092795 w 2222569"/>
                <a:gd name="connsiteY5190" fmla="*/ 890136 h 2052818"/>
                <a:gd name="connsiteX5191" fmla="*/ 1091980 w 2222569"/>
                <a:gd name="connsiteY5191" fmla="*/ 893068 h 2052818"/>
                <a:gd name="connsiteX5192" fmla="*/ 1090025 w 2222569"/>
                <a:gd name="connsiteY5192" fmla="*/ 895674 h 2052818"/>
                <a:gd name="connsiteX5193" fmla="*/ 1086930 w 2222569"/>
                <a:gd name="connsiteY5193" fmla="*/ 891113 h 2052818"/>
                <a:gd name="connsiteX5194" fmla="*/ 1086930 w 2222569"/>
                <a:gd name="connsiteY5194" fmla="*/ 888181 h 2052818"/>
                <a:gd name="connsiteX5195" fmla="*/ 1091654 w 2222569"/>
                <a:gd name="connsiteY5195" fmla="*/ 881013 h 2052818"/>
                <a:gd name="connsiteX5196" fmla="*/ 1091328 w 2222569"/>
                <a:gd name="connsiteY5196" fmla="*/ 877429 h 2052818"/>
                <a:gd name="connsiteX5197" fmla="*/ 1093609 w 2222569"/>
                <a:gd name="connsiteY5197" fmla="*/ 874659 h 2052818"/>
                <a:gd name="connsiteX5198" fmla="*/ 1096704 w 2222569"/>
                <a:gd name="connsiteY5198" fmla="*/ 875148 h 2052818"/>
                <a:gd name="connsiteX5199" fmla="*/ 1096704 w 2222569"/>
                <a:gd name="connsiteY5199" fmla="*/ 878080 h 2052818"/>
                <a:gd name="connsiteX5200" fmla="*/ 1100288 w 2222569"/>
                <a:gd name="connsiteY5200" fmla="*/ 882316 h 2052818"/>
                <a:gd name="connsiteX5201" fmla="*/ 1097356 w 2222569"/>
                <a:gd name="connsiteY5201" fmla="*/ 887366 h 2052818"/>
                <a:gd name="connsiteX5202" fmla="*/ 1097356 w 2222569"/>
                <a:gd name="connsiteY5202" fmla="*/ 887366 h 2052818"/>
                <a:gd name="connsiteX5203" fmla="*/ 1103546 w 2222569"/>
                <a:gd name="connsiteY5203" fmla="*/ 881013 h 2052818"/>
                <a:gd name="connsiteX5204" fmla="*/ 1102895 w 2222569"/>
                <a:gd name="connsiteY5204" fmla="*/ 877755 h 2052818"/>
                <a:gd name="connsiteX5205" fmla="*/ 1101103 w 2222569"/>
                <a:gd name="connsiteY5205" fmla="*/ 875962 h 2052818"/>
                <a:gd name="connsiteX5206" fmla="*/ 1104687 w 2222569"/>
                <a:gd name="connsiteY5206" fmla="*/ 868957 h 2052818"/>
                <a:gd name="connsiteX5207" fmla="*/ 1106805 w 2222569"/>
                <a:gd name="connsiteY5207" fmla="*/ 868143 h 2052818"/>
                <a:gd name="connsiteX5208" fmla="*/ 1109411 w 2222569"/>
                <a:gd name="connsiteY5208" fmla="*/ 872867 h 2052818"/>
                <a:gd name="connsiteX5209" fmla="*/ 1106805 w 2222569"/>
                <a:gd name="connsiteY5209" fmla="*/ 875962 h 2052818"/>
                <a:gd name="connsiteX5210" fmla="*/ 1105990 w 2222569"/>
                <a:gd name="connsiteY5210" fmla="*/ 880035 h 2052818"/>
                <a:gd name="connsiteX5211" fmla="*/ 1103546 w 2222569"/>
                <a:gd name="connsiteY5211" fmla="*/ 880850 h 2052818"/>
                <a:gd name="connsiteX5212" fmla="*/ 1103546 w 2222569"/>
                <a:gd name="connsiteY5212" fmla="*/ 880850 h 2052818"/>
                <a:gd name="connsiteX5213" fmla="*/ 1198034 w 2222569"/>
                <a:gd name="connsiteY5213" fmla="*/ 882316 h 2052818"/>
                <a:gd name="connsiteX5214" fmla="*/ 1200478 w 2222569"/>
                <a:gd name="connsiteY5214" fmla="*/ 874008 h 2052818"/>
                <a:gd name="connsiteX5215" fmla="*/ 1205854 w 2222569"/>
                <a:gd name="connsiteY5215" fmla="*/ 868957 h 2052818"/>
                <a:gd name="connsiteX5216" fmla="*/ 1211881 w 2222569"/>
                <a:gd name="connsiteY5216" fmla="*/ 870912 h 2052818"/>
                <a:gd name="connsiteX5217" fmla="*/ 1211881 w 2222569"/>
                <a:gd name="connsiteY5217" fmla="*/ 875311 h 2052818"/>
                <a:gd name="connsiteX5218" fmla="*/ 1207157 w 2222569"/>
                <a:gd name="connsiteY5218" fmla="*/ 883619 h 2052818"/>
                <a:gd name="connsiteX5219" fmla="*/ 1203736 w 2222569"/>
                <a:gd name="connsiteY5219" fmla="*/ 885248 h 2052818"/>
                <a:gd name="connsiteX5220" fmla="*/ 1204387 w 2222569"/>
                <a:gd name="connsiteY5220" fmla="*/ 881338 h 2052818"/>
                <a:gd name="connsiteX5221" fmla="*/ 1204062 w 2222569"/>
                <a:gd name="connsiteY5221" fmla="*/ 876940 h 2052818"/>
                <a:gd name="connsiteX5222" fmla="*/ 1202270 w 2222569"/>
                <a:gd name="connsiteY5222" fmla="*/ 879547 h 2052818"/>
                <a:gd name="connsiteX5223" fmla="*/ 1201455 w 2222569"/>
                <a:gd name="connsiteY5223" fmla="*/ 882479 h 2052818"/>
                <a:gd name="connsiteX5224" fmla="*/ 1198197 w 2222569"/>
                <a:gd name="connsiteY5224" fmla="*/ 882153 h 2052818"/>
                <a:gd name="connsiteX5225" fmla="*/ 1198197 w 2222569"/>
                <a:gd name="connsiteY5225" fmla="*/ 882153 h 2052818"/>
                <a:gd name="connsiteX5226" fmla="*/ 1194124 w 2222569"/>
                <a:gd name="connsiteY5226" fmla="*/ 876125 h 2052818"/>
                <a:gd name="connsiteX5227" fmla="*/ 1196405 w 2222569"/>
                <a:gd name="connsiteY5227" fmla="*/ 876940 h 2052818"/>
                <a:gd name="connsiteX5228" fmla="*/ 1199174 w 2222569"/>
                <a:gd name="connsiteY5228" fmla="*/ 871401 h 2052818"/>
                <a:gd name="connsiteX5229" fmla="*/ 1196242 w 2222569"/>
                <a:gd name="connsiteY5229" fmla="*/ 865536 h 2052818"/>
                <a:gd name="connsiteX5230" fmla="*/ 1193961 w 2222569"/>
                <a:gd name="connsiteY5230" fmla="*/ 868957 h 2052818"/>
                <a:gd name="connsiteX5231" fmla="*/ 1193961 w 2222569"/>
                <a:gd name="connsiteY5231" fmla="*/ 876125 h 2052818"/>
                <a:gd name="connsiteX5232" fmla="*/ 1194124 w 2222569"/>
                <a:gd name="connsiteY5232" fmla="*/ 876125 h 2052818"/>
                <a:gd name="connsiteX5233" fmla="*/ 1190703 w 2222569"/>
                <a:gd name="connsiteY5233" fmla="*/ 920437 h 2052818"/>
                <a:gd name="connsiteX5234" fmla="*/ 1192984 w 2222569"/>
                <a:gd name="connsiteY5234" fmla="*/ 917830 h 2052818"/>
                <a:gd name="connsiteX5235" fmla="*/ 1200152 w 2222569"/>
                <a:gd name="connsiteY5235" fmla="*/ 913106 h 2052818"/>
                <a:gd name="connsiteX5236" fmla="*/ 1200152 w 2222569"/>
                <a:gd name="connsiteY5236" fmla="*/ 909196 h 2052818"/>
                <a:gd name="connsiteX5237" fmla="*/ 1194450 w 2222569"/>
                <a:gd name="connsiteY5237" fmla="*/ 911477 h 2052818"/>
                <a:gd name="connsiteX5238" fmla="*/ 1191843 w 2222569"/>
                <a:gd name="connsiteY5238" fmla="*/ 907567 h 2052818"/>
                <a:gd name="connsiteX5239" fmla="*/ 1197056 w 2222569"/>
                <a:gd name="connsiteY5239" fmla="*/ 896815 h 2052818"/>
                <a:gd name="connsiteX5240" fmla="*/ 1198523 w 2222569"/>
                <a:gd name="connsiteY5240" fmla="*/ 891765 h 2052818"/>
                <a:gd name="connsiteX5241" fmla="*/ 1192821 w 2222569"/>
                <a:gd name="connsiteY5241" fmla="*/ 895023 h 2052818"/>
                <a:gd name="connsiteX5242" fmla="*/ 1189237 w 2222569"/>
                <a:gd name="connsiteY5242" fmla="*/ 902517 h 2052818"/>
                <a:gd name="connsiteX5243" fmla="*/ 1188911 w 2222569"/>
                <a:gd name="connsiteY5243" fmla="*/ 897792 h 2052818"/>
                <a:gd name="connsiteX5244" fmla="*/ 1192658 w 2222569"/>
                <a:gd name="connsiteY5244" fmla="*/ 885900 h 2052818"/>
                <a:gd name="connsiteX5245" fmla="*/ 1190051 w 2222569"/>
                <a:gd name="connsiteY5245" fmla="*/ 868957 h 2052818"/>
                <a:gd name="connsiteX5246" fmla="*/ 1183046 w 2222569"/>
                <a:gd name="connsiteY5246" fmla="*/ 864233 h 2052818"/>
                <a:gd name="connsiteX5247" fmla="*/ 1183046 w 2222569"/>
                <a:gd name="connsiteY5247" fmla="*/ 859020 h 2052818"/>
                <a:gd name="connsiteX5248" fmla="*/ 1178974 w 2222569"/>
                <a:gd name="connsiteY5248" fmla="*/ 858694 h 2052818"/>
                <a:gd name="connsiteX5249" fmla="*/ 1174901 w 2222569"/>
                <a:gd name="connsiteY5249" fmla="*/ 863907 h 2052818"/>
                <a:gd name="connsiteX5250" fmla="*/ 1175227 w 2222569"/>
                <a:gd name="connsiteY5250" fmla="*/ 858042 h 2052818"/>
                <a:gd name="connsiteX5251" fmla="*/ 1178974 w 2222569"/>
                <a:gd name="connsiteY5251" fmla="*/ 854784 h 2052818"/>
                <a:gd name="connsiteX5252" fmla="*/ 1176693 w 2222569"/>
                <a:gd name="connsiteY5252" fmla="*/ 849571 h 2052818"/>
                <a:gd name="connsiteX5253" fmla="*/ 1177507 w 2222569"/>
                <a:gd name="connsiteY5253" fmla="*/ 845499 h 2052818"/>
                <a:gd name="connsiteX5254" fmla="*/ 1177507 w 2222569"/>
                <a:gd name="connsiteY5254" fmla="*/ 839960 h 2052818"/>
                <a:gd name="connsiteX5255" fmla="*/ 1170177 w 2222569"/>
                <a:gd name="connsiteY5255" fmla="*/ 842240 h 2052818"/>
                <a:gd name="connsiteX5256" fmla="*/ 1162845 w 2222569"/>
                <a:gd name="connsiteY5256" fmla="*/ 848594 h 2052818"/>
                <a:gd name="connsiteX5257" fmla="*/ 1159587 w 2222569"/>
                <a:gd name="connsiteY5257" fmla="*/ 857391 h 2052818"/>
                <a:gd name="connsiteX5258" fmla="*/ 1161379 w 2222569"/>
                <a:gd name="connsiteY5258" fmla="*/ 865210 h 2052818"/>
                <a:gd name="connsiteX5259" fmla="*/ 1157307 w 2222569"/>
                <a:gd name="connsiteY5259" fmla="*/ 863744 h 2052818"/>
                <a:gd name="connsiteX5260" fmla="*/ 1155515 w 2222569"/>
                <a:gd name="connsiteY5260" fmla="*/ 857065 h 2052818"/>
                <a:gd name="connsiteX5261" fmla="*/ 1153234 w 2222569"/>
                <a:gd name="connsiteY5261" fmla="*/ 856739 h 2052818"/>
                <a:gd name="connsiteX5262" fmla="*/ 1152094 w 2222569"/>
                <a:gd name="connsiteY5262" fmla="*/ 862604 h 2052818"/>
                <a:gd name="connsiteX5263" fmla="*/ 1148835 w 2222569"/>
                <a:gd name="connsiteY5263" fmla="*/ 862930 h 2052818"/>
                <a:gd name="connsiteX5264" fmla="*/ 1151442 w 2222569"/>
                <a:gd name="connsiteY5264" fmla="*/ 867654 h 2052818"/>
                <a:gd name="connsiteX5265" fmla="*/ 1148510 w 2222569"/>
                <a:gd name="connsiteY5265" fmla="*/ 872053 h 2052818"/>
                <a:gd name="connsiteX5266" fmla="*/ 1144437 w 2222569"/>
                <a:gd name="connsiteY5266" fmla="*/ 872053 h 2052818"/>
                <a:gd name="connsiteX5267" fmla="*/ 1141504 w 2222569"/>
                <a:gd name="connsiteY5267" fmla="*/ 876451 h 2052818"/>
                <a:gd name="connsiteX5268" fmla="*/ 1133359 w 2222569"/>
                <a:gd name="connsiteY5268" fmla="*/ 875637 h 2052818"/>
                <a:gd name="connsiteX5269" fmla="*/ 1130101 w 2222569"/>
                <a:gd name="connsiteY5269" fmla="*/ 877103 h 2052818"/>
                <a:gd name="connsiteX5270" fmla="*/ 1126843 w 2222569"/>
                <a:gd name="connsiteY5270" fmla="*/ 876288 h 2052818"/>
                <a:gd name="connsiteX5271" fmla="*/ 1115439 w 2222569"/>
                <a:gd name="connsiteY5271" fmla="*/ 883293 h 2052818"/>
                <a:gd name="connsiteX5272" fmla="*/ 1116579 w 2222569"/>
                <a:gd name="connsiteY5272" fmla="*/ 888507 h 2052818"/>
                <a:gd name="connsiteX5273" fmla="*/ 1121792 w 2222569"/>
                <a:gd name="connsiteY5273" fmla="*/ 895186 h 2052818"/>
                <a:gd name="connsiteX5274" fmla="*/ 1126191 w 2222569"/>
                <a:gd name="connsiteY5274" fmla="*/ 892579 h 2052818"/>
                <a:gd name="connsiteX5275" fmla="*/ 1125051 w 2222569"/>
                <a:gd name="connsiteY5275" fmla="*/ 889647 h 2052818"/>
                <a:gd name="connsiteX5276" fmla="*/ 1126517 w 2222569"/>
                <a:gd name="connsiteY5276" fmla="*/ 885900 h 2052818"/>
                <a:gd name="connsiteX5277" fmla="*/ 1131241 w 2222569"/>
                <a:gd name="connsiteY5277" fmla="*/ 889973 h 2052818"/>
                <a:gd name="connsiteX5278" fmla="*/ 1129449 w 2222569"/>
                <a:gd name="connsiteY5278" fmla="*/ 896978 h 2052818"/>
                <a:gd name="connsiteX5279" fmla="*/ 1134988 w 2222569"/>
                <a:gd name="connsiteY5279" fmla="*/ 901376 h 2052818"/>
                <a:gd name="connsiteX5280" fmla="*/ 1137920 w 2222569"/>
                <a:gd name="connsiteY5280" fmla="*/ 896163 h 2052818"/>
                <a:gd name="connsiteX5281" fmla="*/ 1139712 w 2222569"/>
                <a:gd name="connsiteY5281" fmla="*/ 899421 h 2052818"/>
                <a:gd name="connsiteX5282" fmla="*/ 1137920 w 2222569"/>
                <a:gd name="connsiteY5282" fmla="*/ 903820 h 2052818"/>
                <a:gd name="connsiteX5283" fmla="*/ 1143785 w 2222569"/>
                <a:gd name="connsiteY5283" fmla="*/ 910499 h 2052818"/>
                <a:gd name="connsiteX5284" fmla="*/ 1148510 w 2222569"/>
                <a:gd name="connsiteY5284" fmla="*/ 911640 h 2052818"/>
                <a:gd name="connsiteX5285" fmla="*/ 1151116 w 2222569"/>
                <a:gd name="connsiteY5285" fmla="*/ 918971 h 2052818"/>
                <a:gd name="connsiteX5286" fmla="*/ 1154374 w 2222569"/>
                <a:gd name="connsiteY5286" fmla="*/ 922717 h 2052818"/>
                <a:gd name="connsiteX5287" fmla="*/ 1158447 w 2222569"/>
                <a:gd name="connsiteY5287" fmla="*/ 916364 h 2052818"/>
                <a:gd name="connsiteX5288" fmla="*/ 1158773 w 2222569"/>
                <a:gd name="connsiteY5288" fmla="*/ 921088 h 2052818"/>
                <a:gd name="connsiteX5289" fmla="*/ 1165452 w 2222569"/>
                <a:gd name="connsiteY5289" fmla="*/ 926627 h 2052818"/>
                <a:gd name="connsiteX5290" fmla="*/ 1169199 w 2222569"/>
                <a:gd name="connsiteY5290" fmla="*/ 926301 h 2052818"/>
                <a:gd name="connsiteX5291" fmla="*/ 1173923 w 2222569"/>
                <a:gd name="connsiteY5291" fmla="*/ 926301 h 2052818"/>
                <a:gd name="connsiteX5292" fmla="*/ 1179136 w 2222569"/>
                <a:gd name="connsiteY5292" fmla="*/ 921088 h 2052818"/>
                <a:gd name="connsiteX5293" fmla="*/ 1182883 w 2222569"/>
                <a:gd name="connsiteY5293" fmla="*/ 920274 h 2052818"/>
                <a:gd name="connsiteX5294" fmla="*/ 1188748 w 2222569"/>
                <a:gd name="connsiteY5294" fmla="*/ 915875 h 2052818"/>
                <a:gd name="connsiteX5295" fmla="*/ 1191029 w 2222569"/>
                <a:gd name="connsiteY5295" fmla="*/ 919948 h 2052818"/>
                <a:gd name="connsiteX5296" fmla="*/ 1191029 w 2222569"/>
                <a:gd name="connsiteY5296" fmla="*/ 919948 h 2052818"/>
                <a:gd name="connsiteX5297" fmla="*/ 1713478 w 2222569"/>
                <a:gd name="connsiteY5297" fmla="*/ 885085 h 2052818"/>
                <a:gd name="connsiteX5298" fmla="*/ 1713153 w 2222569"/>
                <a:gd name="connsiteY5298" fmla="*/ 881176 h 2052818"/>
                <a:gd name="connsiteX5299" fmla="*/ 1711524 w 2222569"/>
                <a:gd name="connsiteY5299" fmla="*/ 878569 h 2052818"/>
                <a:gd name="connsiteX5300" fmla="*/ 1713967 w 2222569"/>
                <a:gd name="connsiteY5300" fmla="*/ 874333 h 2052818"/>
                <a:gd name="connsiteX5301" fmla="*/ 1718366 w 2222569"/>
                <a:gd name="connsiteY5301" fmla="*/ 871564 h 2052818"/>
                <a:gd name="connsiteX5302" fmla="*/ 1722113 w 2222569"/>
                <a:gd name="connsiteY5302" fmla="*/ 872704 h 2052818"/>
                <a:gd name="connsiteX5303" fmla="*/ 1723090 w 2222569"/>
                <a:gd name="connsiteY5303" fmla="*/ 876288 h 2052818"/>
                <a:gd name="connsiteX5304" fmla="*/ 1726348 w 2222569"/>
                <a:gd name="connsiteY5304" fmla="*/ 876288 h 2052818"/>
                <a:gd name="connsiteX5305" fmla="*/ 1728629 w 2222569"/>
                <a:gd name="connsiteY5305" fmla="*/ 878406 h 2052818"/>
                <a:gd name="connsiteX5306" fmla="*/ 1725697 w 2222569"/>
                <a:gd name="connsiteY5306" fmla="*/ 882316 h 2052818"/>
                <a:gd name="connsiteX5307" fmla="*/ 1721624 w 2222569"/>
                <a:gd name="connsiteY5307" fmla="*/ 883456 h 2052818"/>
                <a:gd name="connsiteX5308" fmla="*/ 1719506 w 2222569"/>
                <a:gd name="connsiteY5308" fmla="*/ 881990 h 2052818"/>
                <a:gd name="connsiteX5309" fmla="*/ 1716411 w 2222569"/>
                <a:gd name="connsiteY5309" fmla="*/ 883456 h 2052818"/>
                <a:gd name="connsiteX5310" fmla="*/ 1714782 w 2222569"/>
                <a:gd name="connsiteY5310" fmla="*/ 885900 h 2052818"/>
                <a:gd name="connsiteX5311" fmla="*/ 1713316 w 2222569"/>
                <a:gd name="connsiteY5311" fmla="*/ 884922 h 2052818"/>
                <a:gd name="connsiteX5312" fmla="*/ 1713316 w 2222569"/>
                <a:gd name="connsiteY5312" fmla="*/ 884922 h 2052818"/>
                <a:gd name="connsiteX5313" fmla="*/ 1701912 w 2222569"/>
                <a:gd name="connsiteY5313" fmla="*/ 1333248 h 2052818"/>
                <a:gd name="connsiteX5314" fmla="*/ 1697351 w 2222569"/>
                <a:gd name="connsiteY5314" fmla="*/ 1333248 h 2052818"/>
                <a:gd name="connsiteX5315" fmla="*/ 1692952 w 2222569"/>
                <a:gd name="connsiteY5315" fmla="*/ 1330479 h 2052818"/>
                <a:gd name="connsiteX5316" fmla="*/ 1685132 w 2222569"/>
                <a:gd name="connsiteY5316" fmla="*/ 1327873 h 2052818"/>
                <a:gd name="connsiteX5317" fmla="*/ 1681548 w 2222569"/>
                <a:gd name="connsiteY5317" fmla="*/ 1325103 h 2052818"/>
                <a:gd name="connsiteX5318" fmla="*/ 1678127 w 2222569"/>
                <a:gd name="connsiteY5318" fmla="*/ 1324614 h 2052818"/>
                <a:gd name="connsiteX5319" fmla="*/ 1671122 w 2222569"/>
                <a:gd name="connsiteY5319" fmla="*/ 1318587 h 2052818"/>
                <a:gd name="connsiteX5320" fmla="*/ 1669819 w 2222569"/>
                <a:gd name="connsiteY5320" fmla="*/ 1315654 h 2052818"/>
                <a:gd name="connsiteX5321" fmla="*/ 1666072 w 2222569"/>
                <a:gd name="connsiteY5321" fmla="*/ 1313536 h 2052818"/>
                <a:gd name="connsiteX5322" fmla="*/ 1663140 w 2222569"/>
                <a:gd name="connsiteY5322" fmla="*/ 1314025 h 2052818"/>
                <a:gd name="connsiteX5323" fmla="*/ 1660207 w 2222569"/>
                <a:gd name="connsiteY5323" fmla="*/ 1312885 h 2052818"/>
                <a:gd name="connsiteX5324" fmla="*/ 1658252 w 2222569"/>
                <a:gd name="connsiteY5324" fmla="*/ 1314514 h 2052818"/>
                <a:gd name="connsiteX5325" fmla="*/ 1650595 w 2222569"/>
                <a:gd name="connsiteY5325" fmla="*/ 1311419 h 2052818"/>
                <a:gd name="connsiteX5326" fmla="*/ 1649618 w 2222569"/>
                <a:gd name="connsiteY5326" fmla="*/ 1308649 h 2052818"/>
                <a:gd name="connsiteX5327" fmla="*/ 1646849 w 2222569"/>
                <a:gd name="connsiteY5327" fmla="*/ 1306043 h 2052818"/>
                <a:gd name="connsiteX5328" fmla="*/ 1643265 w 2222569"/>
                <a:gd name="connsiteY5328" fmla="*/ 1306043 h 2052818"/>
                <a:gd name="connsiteX5329" fmla="*/ 1638052 w 2222569"/>
                <a:gd name="connsiteY5329" fmla="*/ 1300015 h 2052818"/>
                <a:gd name="connsiteX5330" fmla="*/ 1638052 w 2222569"/>
                <a:gd name="connsiteY5330" fmla="*/ 1296757 h 2052818"/>
                <a:gd name="connsiteX5331" fmla="*/ 1635771 w 2222569"/>
                <a:gd name="connsiteY5331" fmla="*/ 1297083 h 2052818"/>
                <a:gd name="connsiteX5332" fmla="*/ 1632676 w 2222569"/>
                <a:gd name="connsiteY5332" fmla="*/ 1294965 h 2052818"/>
                <a:gd name="connsiteX5333" fmla="*/ 1630395 w 2222569"/>
                <a:gd name="connsiteY5333" fmla="*/ 1290566 h 2052818"/>
                <a:gd name="connsiteX5334" fmla="*/ 1632513 w 2222569"/>
                <a:gd name="connsiteY5334" fmla="*/ 1288611 h 2052818"/>
                <a:gd name="connsiteX5335" fmla="*/ 1634956 w 2222569"/>
                <a:gd name="connsiteY5335" fmla="*/ 1286982 h 2052818"/>
                <a:gd name="connsiteX5336" fmla="*/ 1630232 w 2222569"/>
                <a:gd name="connsiteY5336" fmla="*/ 1285027 h 2052818"/>
                <a:gd name="connsiteX5337" fmla="*/ 1628603 w 2222569"/>
                <a:gd name="connsiteY5337" fmla="*/ 1286168 h 2052818"/>
                <a:gd name="connsiteX5338" fmla="*/ 1627300 w 2222569"/>
                <a:gd name="connsiteY5338" fmla="*/ 1287960 h 2052818"/>
                <a:gd name="connsiteX5339" fmla="*/ 1624693 w 2222569"/>
                <a:gd name="connsiteY5339" fmla="*/ 1286331 h 2052818"/>
                <a:gd name="connsiteX5340" fmla="*/ 1624693 w 2222569"/>
                <a:gd name="connsiteY5340" fmla="*/ 1284213 h 2052818"/>
                <a:gd name="connsiteX5341" fmla="*/ 1620620 w 2222569"/>
                <a:gd name="connsiteY5341" fmla="*/ 1284213 h 2052818"/>
                <a:gd name="connsiteX5342" fmla="*/ 1612801 w 2222569"/>
                <a:gd name="connsiteY5342" fmla="*/ 1278837 h 2052818"/>
                <a:gd name="connsiteX5343" fmla="*/ 1609543 w 2222569"/>
                <a:gd name="connsiteY5343" fmla="*/ 1278837 h 2052818"/>
                <a:gd name="connsiteX5344" fmla="*/ 1606936 w 2222569"/>
                <a:gd name="connsiteY5344" fmla="*/ 1276230 h 2052818"/>
                <a:gd name="connsiteX5345" fmla="*/ 1602211 w 2222569"/>
                <a:gd name="connsiteY5345" fmla="*/ 1272320 h 2052818"/>
                <a:gd name="connsiteX5346" fmla="*/ 1602537 w 2222569"/>
                <a:gd name="connsiteY5346" fmla="*/ 1269714 h 2052818"/>
                <a:gd name="connsiteX5347" fmla="*/ 1599279 w 2222569"/>
                <a:gd name="connsiteY5347" fmla="*/ 1269225 h 2052818"/>
                <a:gd name="connsiteX5348" fmla="*/ 1596347 w 2222569"/>
                <a:gd name="connsiteY5348" fmla="*/ 1265641 h 2052818"/>
                <a:gd name="connsiteX5349" fmla="*/ 1593252 w 2222569"/>
                <a:gd name="connsiteY5349" fmla="*/ 1261406 h 2052818"/>
                <a:gd name="connsiteX5350" fmla="*/ 1592763 w 2222569"/>
                <a:gd name="connsiteY5350" fmla="*/ 1255378 h 2052818"/>
                <a:gd name="connsiteX5351" fmla="*/ 1588038 w 2222569"/>
                <a:gd name="connsiteY5351" fmla="*/ 1252934 h 2052818"/>
                <a:gd name="connsiteX5352" fmla="*/ 1589668 w 2222569"/>
                <a:gd name="connsiteY5352" fmla="*/ 1250979 h 2052818"/>
                <a:gd name="connsiteX5353" fmla="*/ 1596510 w 2222569"/>
                <a:gd name="connsiteY5353" fmla="*/ 1251305 h 2052818"/>
                <a:gd name="connsiteX5354" fmla="*/ 1605795 w 2222569"/>
                <a:gd name="connsiteY5354" fmla="*/ 1245115 h 2052818"/>
                <a:gd name="connsiteX5355" fmla="*/ 1607587 w 2222569"/>
                <a:gd name="connsiteY5355" fmla="*/ 1242508 h 2052818"/>
                <a:gd name="connsiteX5356" fmla="*/ 1600257 w 2222569"/>
                <a:gd name="connsiteY5356" fmla="*/ 1243486 h 2052818"/>
                <a:gd name="connsiteX5357" fmla="*/ 1596836 w 2222569"/>
                <a:gd name="connsiteY5357" fmla="*/ 1238110 h 2052818"/>
                <a:gd name="connsiteX5358" fmla="*/ 1595206 w 2222569"/>
                <a:gd name="connsiteY5358" fmla="*/ 1232571 h 2052818"/>
                <a:gd name="connsiteX5359" fmla="*/ 1596347 w 2222569"/>
                <a:gd name="connsiteY5359" fmla="*/ 1230616 h 2052818"/>
                <a:gd name="connsiteX5360" fmla="*/ 1593577 w 2222569"/>
                <a:gd name="connsiteY5360" fmla="*/ 1231919 h 2052818"/>
                <a:gd name="connsiteX5361" fmla="*/ 1591134 w 2222569"/>
                <a:gd name="connsiteY5361" fmla="*/ 1236480 h 2052818"/>
                <a:gd name="connsiteX5362" fmla="*/ 1590645 w 2222569"/>
                <a:gd name="connsiteY5362" fmla="*/ 1240227 h 2052818"/>
                <a:gd name="connsiteX5363" fmla="*/ 1586409 w 2222569"/>
                <a:gd name="connsiteY5363" fmla="*/ 1235992 h 2052818"/>
                <a:gd name="connsiteX5364" fmla="*/ 1589342 w 2222569"/>
                <a:gd name="connsiteY5364" fmla="*/ 1232245 h 2052818"/>
                <a:gd name="connsiteX5365" fmla="*/ 1590319 w 2222569"/>
                <a:gd name="connsiteY5365" fmla="*/ 1224425 h 2052818"/>
                <a:gd name="connsiteX5366" fmla="*/ 1587224 w 2222569"/>
                <a:gd name="connsiteY5366" fmla="*/ 1229964 h 2052818"/>
                <a:gd name="connsiteX5367" fmla="*/ 1584943 w 2222569"/>
                <a:gd name="connsiteY5367" fmla="*/ 1227683 h 2052818"/>
                <a:gd name="connsiteX5368" fmla="*/ 1584943 w 2222569"/>
                <a:gd name="connsiteY5368" fmla="*/ 1222144 h 2052818"/>
                <a:gd name="connsiteX5369" fmla="*/ 1580870 w 2222569"/>
                <a:gd name="connsiteY5369" fmla="*/ 1222959 h 2052818"/>
                <a:gd name="connsiteX5370" fmla="*/ 1579730 w 2222569"/>
                <a:gd name="connsiteY5370" fmla="*/ 1218398 h 2052818"/>
                <a:gd name="connsiteX5371" fmla="*/ 1580056 w 2222569"/>
                <a:gd name="connsiteY5371" fmla="*/ 1213999 h 2052818"/>
                <a:gd name="connsiteX5372" fmla="*/ 1577612 w 2222569"/>
                <a:gd name="connsiteY5372" fmla="*/ 1207320 h 2052818"/>
                <a:gd name="connsiteX5373" fmla="*/ 1573702 w 2222569"/>
                <a:gd name="connsiteY5373" fmla="*/ 1205039 h 2052818"/>
                <a:gd name="connsiteX5374" fmla="*/ 1573702 w 2222569"/>
                <a:gd name="connsiteY5374" fmla="*/ 1201129 h 2052818"/>
                <a:gd name="connsiteX5375" fmla="*/ 1579241 w 2222569"/>
                <a:gd name="connsiteY5375" fmla="*/ 1195916 h 2052818"/>
                <a:gd name="connsiteX5376" fmla="*/ 1577938 w 2222569"/>
                <a:gd name="connsiteY5376" fmla="*/ 1193472 h 2052818"/>
                <a:gd name="connsiteX5377" fmla="*/ 1569304 w 2222569"/>
                <a:gd name="connsiteY5377" fmla="*/ 1200803 h 2052818"/>
                <a:gd name="connsiteX5378" fmla="*/ 1568978 w 2222569"/>
                <a:gd name="connsiteY5378" fmla="*/ 1205202 h 2052818"/>
                <a:gd name="connsiteX5379" fmla="*/ 1567512 w 2222569"/>
                <a:gd name="connsiteY5379" fmla="*/ 1201781 h 2052818"/>
                <a:gd name="connsiteX5380" fmla="*/ 1570444 w 2222569"/>
                <a:gd name="connsiteY5380" fmla="*/ 1195916 h 2052818"/>
                <a:gd name="connsiteX5381" fmla="*/ 1566535 w 2222569"/>
                <a:gd name="connsiteY5381" fmla="*/ 1194613 h 2052818"/>
                <a:gd name="connsiteX5382" fmla="*/ 1564091 w 2222569"/>
                <a:gd name="connsiteY5382" fmla="*/ 1196079 h 2052818"/>
                <a:gd name="connsiteX5383" fmla="*/ 1562787 w 2222569"/>
                <a:gd name="connsiteY5383" fmla="*/ 1194776 h 2052818"/>
                <a:gd name="connsiteX5384" fmla="*/ 1560018 w 2222569"/>
                <a:gd name="connsiteY5384" fmla="*/ 1203247 h 2052818"/>
                <a:gd name="connsiteX5385" fmla="*/ 1555782 w 2222569"/>
                <a:gd name="connsiteY5385" fmla="*/ 1205853 h 2052818"/>
                <a:gd name="connsiteX5386" fmla="*/ 1555457 w 2222569"/>
                <a:gd name="connsiteY5386" fmla="*/ 1200478 h 2052818"/>
                <a:gd name="connsiteX5387" fmla="*/ 1559041 w 2222569"/>
                <a:gd name="connsiteY5387" fmla="*/ 1196242 h 2052818"/>
                <a:gd name="connsiteX5388" fmla="*/ 1558715 w 2222569"/>
                <a:gd name="connsiteY5388" fmla="*/ 1191192 h 2052818"/>
                <a:gd name="connsiteX5389" fmla="*/ 1559692 w 2222569"/>
                <a:gd name="connsiteY5389" fmla="*/ 1188096 h 2052818"/>
                <a:gd name="connsiteX5390" fmla="*/ 1555457 w 2222569"/>
                <a:gd name="connsiteY5390" fmla="*/ 1189563 h 2052818"/>
                <a:gd name="connsiteX5391" fmla="*/ 1551547 w 2222569"/>
                <a:gd name="connsiteY5391" fmla="*/ 1193472 h 2052818"/>
                <a:gd name="connsiteX5392" fmla="*/ 1549103 w 2222569"/>
                <a:gd name="connsiteY5392" fmla="*/ 1193472 h 2052818"/>
                <a:gd name="connsiteX5393" fmla="*/ 1546171 w 2222569"/>
                <a:gd name="connsiteY5393" fmla="*/ 1197708 h 2052818"/>
                <a:gd name="connsiteX5394" fmla="*/ 1544542 w 2222569"/>
                <a:gd name="connsiteY5394" fmla="*/ 1200640 h 2052818"/>
                <a:gd name="connsiteX5395" fmla="*/ 1538514 w 2222569"/>
                <a:gd name="connsiteY5395" fmla="*/ 1199337 h 2052818"/>
                <a:gd name="connsiteX5396" fmla="*/ 1535419 w 2222569"/>
                <a:gd name="connsiteY5396" fmla="*/ 1195590 h 2052818"/>
                <a:gd name="connsiteX5397" fmla="*/ 1531672 w 2222569"/>
                <a:gd name="connsiteY5397" fmla="*/ 1195590 h 2052818"/>
                <a:gd name="connsiteX5398" fmla="*/ 1526622 w 2222569"/>
                <a:gd name="connsiteY5398" fmla="*/ 1187282 h 2052818"/>
                <a:gd name="connsiteX5399" fmla="*/ 1524667 w 2222569"/>
                <a:gd name="connsiteY5399" fmla="*/ 1187282 h 2052818"/>
                <a:gd name="connsiteX5400" fmla="*/ 1523201 w 2222569"/>
                <a:gd name="connsiteY5400" fmla="*/ 1190703 h 2052818"/>
                <a:gd name="connsiteX5401" fmla="*/ 1523201 w 2222569"/>
                <a:gd name="connsiteY5401" fmla="*/ 1195753 h 2052818"/>
                <a:gd name="connsiteX5402" fmla="*/ 1520757 w 2222569"/>
                <a:gd name="connsiteY5402" fmla="*/ 1198197 h 2052818"/>
                <a:gd name="connsiteX5403" fmla="*/ 1516684 w 2222569"/>
                <a:gd name="connsiteY5403" fmla="*/ 1196731 h 2052818"/>
                <a:gd name="connsiteX5404" fmla="*/ 1513589 w 2222569"/>
                <a:gd name="connsiteY5404" fmla="*/ 1198034 h 2052818"/>
                <a:gd name="connsiteX5405" fmla="*/ 1508213 w 2222569"/>
                <a:gd name="connsiteY5405" fmla="*/ 1198034 h 2052818"/>
                <a:gd name="connsiteX5406" fmla="*/ 1506421 w 2222569"/>
                <a:gd name="connsiteY5406" fmla="*/ 1200803 h 2052818"/>
                <a:gd name="connsiteX5407" fmla="*/ 1501371 w 2222569"/>
                <a:gd name="connsiteY5407" fmla="*/ 1200478 h 2052818"/>
                <a:gd name="connsiteX5408" fmla="*/ 1499090 w 2222569"/>
                <a:gd name="connsiteY5408" fmla="*/ 1202921 h 2052818"/>
                <a:gd name="connsiteX5409" fmla="*/ 1494528 w 2222569"/>
                <a:gd name="connsiteY5409" fmla="*/ 1201292 h 2052818"/>
                <a:gd name="connsiteX5410" fmla="*/ 1487035 w 2222569"/>
                <a:gd name="connsiteY5410" fmla="*/ 1200803 h 2052818"/>
                <a:gd name="connsiteX5411" fmla="*/ 1488012 w 2222569"/>
                <a:gd name="connsiteY5411" fmla="*/ 1197708 h 2052818"/>
                <a:gd name="connsiteX5412" fmla="*/ 1482799 w 2222569"/>
                <a:gd name="connsiteY5412" fmla="*/ 1191843 h 2052818"/>
                <a:gd name="connsiteX5413" fmla="*/ 1480355 w 2222569"/>
                <a:gd name="connsiteY5413" fmla="*/ 1193472 h 2052818"/>
                <a:gd name="connsiteX5414" fmla="*/ 1475957 w 2222569"/>
                <a:gd name="connsiteY5414" fmla="*/ 1189237 h 2052818"/>
                <a:gd name="connsiteX5415" fmla="*/ 1472699 w 2222569"/>
                <a:gd name="connsiteY5415" fmla="*/ 1179462 h 2052818"/>
                <a:gd name="connsiteX5416" fmla="*/ 1474491 w 2222569"/>
                <a:gd name="connsiteY5416" fmla="*/ 1173760 h 2052818"/>
                <a:gd name="connsiteX5417" fmla="*/ 1478401 w 2222569"/>
                <a:gd name="connsiteY5417" fmla="*/ 1171154 h 2052818"/>
                <a:gd name="connsiteX5418" fmla="*/ 1478401 w 2222569"/>
                <a:gd name="connsiteY5418" fmla="*/ 1166430 h 2052818"/>
                <a:gd name="connsiteX5419" fmla="*/ 1482147 w 2222569"/>
                <a:gd name="connsiteY5419" fmla="*/ 1162520 h 2052818"/>
                <a:gd name="connsiteX5420" fmla="*/ 1487686 w 2222569"/>
                <a:gd name="connsiteY5420" fmla="*/ 1162031 h 2052818"/>
                <a:gd name="connsiteX5421" fmla="*/ 1490619 w 2222569"/>
                <a:gd name="connsiteY5421" fmla="*/ 1158773 h 2052818"/>
                <a:gd name="connsiteX5422" fmla="*/ 1495343 w 2222569"/>
                <a:gd name="connsiteY5422" fmla="*/ 1157795 h 2052818"/>
                <a:gd name="connsiteX5423" fmla="*/ 1497624 w 2222569"/>
                <a:gd name="connsiteY5423" fmla="*/ 1158121 h 2052818"/>
                <a:gd name="connsiteX5424" fmla="*/ 1498438 w 2222569"/>
                <a:gd name="connsiteY5424" fmla="*/ 1154048 h 2052818"/>
                <a:gd name="connsiteX5425" fmla="*/ 1496320 w 2222569"/>
                <a:gd name="connsiteY5425" fmla="*/ 1150790 h 2052818"/>
                <a:gd name="connsiteX5426" fmla="*/ 1495995 w 2222569"/>
                <a:gd name="connsiteY5426" fmla="*/ 1147695 h 2052818"/>
                <a:gd name="connsiteX5427" fmla="*/ 1497135 w 2222569"/>
                <a:gd name="connsiteY5427" fmla="*/ 1146718 h 2052818"/>
                <a:gd name="connsiteX5428" fmla="*/ 1499904 w 2222569"/>
                <a:gd name="connsiteY5428" fmla="*/ 1147532 h 2052818"/>
                <a:gd name="connsiteX5429" fmla="*/ 1500719 w 2222569"/>
                <a:gd name="connsiteY5429" fmla="*/ 1145251 h 2052818"/>
                <a:gd name="connsiteX5430" fmla="*/ 1500230 w 2222569"/>
                <a:gd name="connsiteY5430" fmla="*/ 1142156 h 2052818"/>
                <a:gd name="connsiteX5431" fmla="*/ 1501860 w 2222569"/>
                <a:gd name="connsiteY5431" fmla="*/ 1140201 h 2052818"/>
                <a:gd name="connsiteX5432" fmla="*/ 1507073 w 2222569"/>
                <a:gd name="connsiteY5432" fmla="*/ 1148184 h 2052818"/>
                <a:gd name="connsiteX5433" fmla="*/ 1512286 w 2222569"/>
                <a:gd name="connsiteY5433" fmla="*/ 1149161 h 2052818"/>
                <a:gd name="connsiteX5434" fmla="*/ 1517662 w 2222569"/>
                <a:gd name="connsiteY5434" fmla="*/ 1153071 h 2052818"/>
                <a:gd name="connsiteX5435" fmla="*/ 1521409 w 2222569"/>
                <a:gd name="connsiteY5435" fmla="*/ 1157307 h 2052818"/>
                <a:gd name="connsiteX5436" fmla="*/ 1524015 w 2222569"/>
                <a:gd name="connsiteY5436" fmla="*/ 1157958 h 2052818"/>
                <a:gd name="connsiteX5437" fmla="*/ 1529554 w 2222569"/>
                <a:gd name="connsiteY5437" fmla="*/ 1160728 h 2052818"/>
                <a:gd name="connsiteX5438" fmla="*/ 1532812 w 2222569"/>
                <a:gd name="connsiteY5438" fmla="*/ 1157795 h 2052818"/>
                <a:gd name="connsiteX5439" fmla="*/ 1536559 w 2222569"/>
                <a:gd name="connsiteY5439" fmla="*/ 1157795 h 2052818"/>
                <a:gd name="connsiteX5440" fmla="*/ 1538514 w 2222569"/>
                <a:gd name="connsiteY5440" fmla="*/ 1160728 h 2052818"/>
                <a:gd name="connsiteX5441" fmla="*/ 1541772 w 2222569"/>
                <a:gd name="connsiteY5441" fmla="*/ 1160728 h 2052818"/>
                <a:gd name="connsiteX5442" fmla="*/ 1547474 w 2222569"/>
                <a:gd name="connsiteY5442" fmla="*/ 1162031 h 2052818"/>
                <a:gd name="connsiteX5443" fmla="*/ 1550895 w 2222569"/>
                <a:gd name="connsiteY5443" fmla="*/ 1158121 h 2052818"/>
                <a:gd name="connsiteX5444" fmla="*/ 1553339 w 2222569"/>
                <a:gd name="connsiteY5444" fmla="*/ 1153397 h 2052818"/>
                <a:gd name="connsiteX5445" fmla="*/ 1559855 w 2222569"/>
                <a:gd name="connsiteY5445" fmla="*/ 1153397 h 2052818"/>
                <a:gd name="connsiteX5446" fmla="*/ 1559855 w 2222569"/>
                <a:gd name="connsiteY5446" fmla="*/ 1155352 h 2052818"/>
                <a:gd name="connsiteX5447" fmla="*/ 1558389 w 2222569"/>
                <a:gd name="connsiteY5447" fmla="*/ 1157307 h 2052818"/>
                <a:gd name="connsiteX5448" fmla="*/ 1561810 w 2222569"/>
                <a:gd name="connsiteY5448" fmla="*/ 1159262 h 2052818"/>
                <a:gd name="connsiteX5449" fmla="*/ 1566535 w 2222569"/>
                <a:gd name="connsiteY5449" fmla="*/ 1155189 h 2052818"/>
                <a:gd name="connsiteX5450" fmla="*/ 1568489 w 2222569"/>
                <a:gd name="connsiteY5450" fmla="*/ 1150627 h 2052818"/>
                <a:gd name="connsiteX5451" fmla="*/ 1573214 w 2222569"/>
                <a:gd name="connsiteY5451" fmla="*/ 1147858 h 2052818"/>
                <a:gd name="connsiteX5452" fmla="*/ 1575169 w 2222569"/>
                <a:gd name="connsiteY5452" fmla="*/ 1150627 h 2052818"/>
                <a:gd name="connsiteX5453" fmla="*/ 1575169 w 2222569"/>
                <a:gd name="connsiteY5453" fmla="*/ 1157632 h 2052818"/>
                <a:gd name="connsiteX5454" fmla="*/ 1576798 w 2222569"/>
                <a:gd name="connsiteY5454" fmla="*/ 1161868 h 2052818"/>
                <a:gd name="connsiteX5455" fmla="*/ 1577775 w 2222569"/>
                <a:gd name="connsiteY5455" fmla="*/ 1156655 h 2052818"/>
                <a:gd name="connsiteX5456" fmla="*/ 1580545 w 2222569"/>
                <a:gd name="connsiteY5456" fmla="*/ 1154374 h 2052818"/>
                <a:gd name="connsiteX5457" fmla="*/ 1582988 w 2222569"/>
                <a:gd name="connsiteY5457" fmla="*/ 1155678 h 2052818"/>
                <a:gd name="connsiteX5458" fmla="*/ 1585432 w 2222569"/>
                <a:gd name="connsiteY5458" fmla="*/ 1153397 h 2052818"/>
                <a:gd name="connsiteX5459" fmla="*/ 1584128 w 2222569"/>
                <a:gd name="connsiteY5459" fmla="*/ 1140690 h 2052818"/>
                <a:gd name="connsiteX5460" fmla="*/ 1579893 w 2222569"/>
                <a:gd name="connsiteY5460" fmla="*/ 1134174 h 2052818"/>
                <a:gd name="connsiteX5461" fmla="*/ 1579078 w 2222569"/>
                <a:gd name="connsiteY5461" fmla="*/ 1129775 h 2052818"/>
                <a:gd name="connsiteX5462" fmla="*/ 1575983 w 2222569"/>
                <a:gd name="connsiteY5462" fmla="*/ 1125214 h 2052818"/>
                <a:gd name="connsiteX5463" fmla="*/ 1577449 w 2222569"/>
                <a:gd name="connsiteY5463" fmla="*/ 1119349 h 2052818"/>
                <a:gd name="connsiteX5464" fmla="*/ 1579730 w 2222569"/>
                <a:gd name="connsiteY5464" fmla="*/ 1117068 h 2052818"/>
                <a:gd name="connsiteX5465" fmla="*/ 1582500 w 2222569"/>
                <a:gd name="connsiteY5465" fmla="*/ 1117068 h 2052818"/>
                <a:gd name="connsiteX5466" fmla="*/ 1589830 w 2222569"/>
                <a:gd name="connsiteY5466" fmla="*/ 1111040 h 2052818"/>
                <a:gd name="connsiteX5467" fmla="*/ 1598627 w 2222569"/>
                <a:gd name="connsiteY5467" fmla="*/ 1105664 h 2052818"/>
                <a:gd name="connsiteX5468" fmla="*/ 1602049 w 2222569"/>
                <a:gd name="connsiteY5468" fmla="*/ 1103710 h 2052818"/>
                <a:gd name="connsiteX5469" fmla="*/ 1608239 w 2222569"/>
                <a:gd name="connsiteY5469" fmla="*/ 1097193 h 2052818"/>
                <a:gd name="connsiteX5470" fmla="*/ 1610846 w 2222569"/>
                <a:gd name="connsiteY5470" fmla="*/ 1097193 h 2052818"/>
                <a:gd name="connsiteX5471" fmla="*/ 1613778 w 2222569"/>
                <a:gd name="connsiteY5471" fmla="*/ 1099637 h 2052818"/>
                <a:gd name="connsiteX5472" fmla="*/ 1617525 w 2222569"/>
                <a:gd name="connsiteY5472" fmla="*/ 1098496 h 2052818"/>
                <a:gd name="connsiteX5473" fmla="*/ 1619969 w 2222569"/>
                <a:gd name="connsiteY5473" fmla="*/ 1098171 h 2052818"/>
                <a:gd name="connsiteX5474" fmla="*/ 1613289 w 2222569"/>
                <a:gd name="connsiteY5474" fmla="*/ 1094424 h 2052818"/>
                <a:gd name="connsiteX5475" fmla="*/ 1613289 w 2222569"/>
                <a:gd name="connsiteY5475" fmla="*/ 1090514 h 2052818"/>
                <a:gd name="connsiteX5476" fmla="*/ 1622249 w 2222569"/>
                <a:gd name="connsiteY5476" fmla="*/ 1083183 h 2052818"/>
                <a:gd name="connsiteX5477" fmla="*/ 1623390 w 2222569"/>
                <a:gd name="connsiteY5477" fmla="*/ 1079436 h 2052818"/>
                <a:gd name="connsiteX5478" fmla="*/ 1626159 w 2222569"/>
                <a:gd name="connsiteY5478" fmla="*/ 1077807 h 2052818"/>
                <a:gd name="connsiteX5479" fmla="*/ 1633490 w 2222569"/>
                <a:gd name="connsiteY5479" fmla="*/ 1079436 h 2052818"/>
                <a:gd name="connsiteX5480" fmla="*/ 1640984 w 2222569"/>
                <a:gd name="connsiteY5480" fmla="*/ 1076829 h 2052818"/>
                <a:gd name="connsiteX5481" fmla="*/ 1641961 w 2222569"/>
                <a:gd name="connsiteY5481" fmla="*/ 1073571 h 2052818"/>
                <a:gd name="connsiteX5482" fmla="*/ 1639192 w 2222569"/>
                <a:gd name="connsiteY5482" fmla="*/ 1068847 h 2052818"/>
                <a:gd name="connsiteX5483" fmla="*/ 1641798 w 2222569"/>
                <a:gd name="connsiteY5483" fmla="*/ 1065100 h 2052818"/>
                <a:gd name="connsiteX5484" fmla="*/ 1642939 w 2222569"/>
                <a:gd name="connsiteY5484" fmla="*/ 1055814 h 2052818"/>
                <a:gd name="connsiteX5485" fmla="*/ 1643427 w 2222569"/>
                <a:gd name="connsiteY5485" fmla="*/ 1054022 h 2052818"/>
                <a:gd name="connsiteX5486" fmla="*/ 1642287 w 2222569"/>
                <a:gd name="connsiteY5486" fmla="*/ 1052556 h 2052818"/>
                <a:gd name="connsiteX5487" fmla="*/ 1642287 w 2222569"/>
                <a:gd name="connsiteY5487" fmla="*/ 1048483 h 2052818"/>
                <a:gd name="connsiteX5488" fmla="*/ 1644894 w 2222569"/>
                <a:gd name="connsiteY5488" fmla="*/ 1043759 h 2052818"/>
                <a:gd name="connsiteX5489" fmla="*/ 1644894 w 2222569"/>
                <a:gd name="connsiteY5489" fmla="*/ 1039197 h 2052818"/>
                <a:gd name="connsiteX5490" fmla="*/ 1641473 w 2222569"/>
                <a:gd name="connsiteY5490" fmla="*/ 1038057 h 2052818"/>
                <a:gd name="connsiteX5491" fmla="*/ 1641473 w 2222569"/>
                <a:gd name="connsiteY5491" fmla="*/ 1035939 h 2052818"/>
                <a:gd name="connsiteX5492" fmla="*/ 1643590 w 2222569"/>
                <a:gd name="connsiteY5492" fmla="*/ 1028934 h 2052818"/>
                <a:gd name="connsiteX5493" fmla="*/ 1647011 w 2222569"/>
                <a:gd name="connsiteY5493" fmla="*/ 1028283 h 2052818"/>
                <a:gd name="connsiteX5494" fmla="*/ 1647500 w 2222569"/>
                <a:gd name="connsiteY5494" fmla="*/ 1024536 h 2052818"/>
                <a:gd name="connsiteX5495" fmla="*/ 1649944 w 2222569"/>
                <a:gd name="connsiteY5495" fmla="*/ 1020300 h 2052818"/>
                <a:gd name="connsiteX5496" fmla="*/ 1649618 w 2222569"/>
                <a:gd name="connsiteY5496" fmla="*/ 1017368 h 2052818"/>
                <a:gd name="connsiteX5497" fmla="*/ 1647011 w 2222569"/>
                <a:gd name="connsiteY5497" fmla="*/ 1017856 h 2052818"/>
                <a:gd name="connsiteX5498" fmla="*/ 1644405 w 2222569"/>
                <a:gd name="connsiteY5498" fmla="*/ 1020952 h 2052818"/>
                <a:gd name="connsiteX5499" fmla="*/ 1644405 w 2222569"/>
                <a:gd name="connsiteY5499" fmla="*/ 1023884 h 2052818"/>
                <a:gd name="connsiteX5500" fmla="*/ 1642124 w 2222569"/>
                <a:gd name="connsiteY5500" fmla="*/ 1024699 h 2052818"/>
                <a:gd name="connsiteX5501" fmla="*/ 1641798 w 2222569"/>
                <a:gd name="connsiteY5501" fmla="*/ 1021440 h 2052818"/>
                <a:gd name="connsiteX5502" fmla="*/ 1642124 w 2222569"/>
                <a:gd name="connsiteY5502" fmla="*/ 1017042 h 2052818"/>
                <a:gd name="connsiteX5503" fmla="*/ 1640332 w 2222569"/>
                <a:gd name="connsiteY5503" fmla="*/ 1015901 h 2052818"/>
                <a:gd name="connsiteX5504" fmla="*/ 1630232 w 2222569"/>
                <a:gd name="connsiteY5504" fmla="*/ 1015576 h 2052818"/>
                <a:gd name="connsiteX5505" fmla="*/ 1626974 w 2222569"/>
                <a:gd name="connsiteY5505" fmla="*/ 1012155 h 2052818"/>
                <a:gd name="connsiteX5506" fmla="*/ 1627951 w 2222569"/>
                <a:gd name="connsiteY5506" fmla="*/ 1010037 h 2052818"/>
                <a:gd name="connsiteX5507" fmla="*/ 1635282 w 2222569"/>
                <a:gd name="connsiteY5507" fmla="*/ 1006941 h 2052818"/>
                <a:gd name="connsiteX5508" fmla="*/ 1634305 w 2222569"/>
                <a:gd name="connsiteY5508" fmla="*/ 1004987 h 2052818"/>
                <a:gd name="connsiteX5509" fmla="*/ 1630721 w 2222569"/>
                <a:gd name="connsiteY5509" fmla="*/ 1002869 h 2052818"/>
                <a:gd name="connsiteX5510" fmla="*/ 1633327 w 2222569"/>
                <a:gd name="connsiteY5510" fmla="*/ 998144 h 2052818"/>
                <a:gd name="connsiteX5511" fmla="*/ 1633327 w 2222569"/>
                <a:gd name="connsiteY5511" fmla="*/ 994723 h 2052818"/>
                <a:gd name="connsiteX5512" fmla="*/ 1627788 w 2222569"/>
                <a:gd name="connsiteY5512" fmla="*/ 990651 h 2052818"/>
                <a:gd name="connsiteX5513" fmla="*/ 1625670 w 2222569"/>
                <a:gd name="connsiteY5513" fmla="*/ 991465 h 2052818"/>
                <a:gd name="connsiteX5514" fmla="*/ 1625345 w 2222569"/>
                <a:gd name="connsiteY5514" fmla="*/ 994560 h 2052818"/>
                <a:gd name="connsiteX5515" fmla="*/ 1626974 w 2222569"/>
                <a:gd name="connsiteY5515" fmla="*/ 997656 h 2052818"/>
                <a:gd name="connsiteX5516" fmla="*/ 1625670 w 2222569"/>
                <a:gd name="connsiteY5516" fmla="*/ 1000425 h 2052818"/>
                <a:gd name="connsiteX5517" fmla="*/ 1619806 w 2222569"/>
                <a:gd name="connsiteY5517" fmla="*/ 1001891 h 2052818"/>
                <a:gd name="connsiteX5518" fmla="*/ 1617851 w 2222569"/>
                <a:gd name="connsiteY5518" fmla="*/ 997330 h 2052818"/>
                <a:gd name="connsiteX5519" fmla="*/ 1615570 w 2222569"/>
                <a:gd name="connsiteY5519" fmla="*/ 996515 h 2052818"/>
                <a:gd name="connsiteX5520" fmla="*/ 1614755 w 2222569"/>
                <a:gd name="connsiteY5520" fmla="*/ 990325 h 2052818"/>
                <a:gd name="connsiteX5521" fmla="*/ 1618828 w 2222569"/>
                <a:gd name="connsiteY5521" fmla="*/ 986415 h 2052818"/>
                <a:gd name="connsiteX5522" fmla="*/ 1617525 w 2222569"/>
                <a:gd name="connsiteY5522" fmla="*/ 983157 h 2052818"/>
                <a:gd name="connsiteX5523" fmla="*/ 1610846 w 2222569"/>
                <a:gd name="connsiteY5523" fmla="*/ 983971 h 2052818"/>
                <a:gd name="connsiteX5524" fmla="*/ 1611497 w 2222569"/>
                <a:gd name="connsiteY5524" fmla="*/ 982342 h 2052818"/>
                <a:gd name="connsiteX5525" fmla="*/ 1616873 w 2222569"/>
                <a:gd name="connsiteY5525" fmla="*/ 980550 h 2052818"/>
                <a:gd name="connsiteX5526" fmla="*/ 1617199 w 2222569"/>
                <a:gd name="connsiteY5526" fmla="*/ 978432 h 2052818"/>
                <a:gd name="connsiteX5527" fmla="*/ 1614430 w 2222569"/>
                <a:gd name="connsiteY5527" fmla="*/ 977292 h 2052818"/>
                <a:gd name="connsiteX5528" fmla="*/ 1617036 w 2222569"/>
                <a:gd name="connsiteY5528" fmla="*/ 975337 h 2052818"/>
                <a:gd name="connsiteX5529" fmla="*/ 1620132 w 2222569"/>
                <a:gd name="connsiteY5529" fmla="*/ 973871 h 2052818"/>
                <a:gd name="connsiteX5530" fmla="*/ 1620620 w 2222569"/>
                <a:gd name="connsiteY5530" fmla="*/ 971264 h 2052818"/>
                <a:gd name="connsiteX5531" fmla="*/ 1618177 w 2222569"/>
                <a:gd name="connsiteY5531" fmla="*/ 969147 h 2052818"/>
                <a:gd name="connsiteX5532" fmla="*/ 1613778 w 2222569"/>
                <a:gd name="connsiteY5532" fmla="*/ 972568 h 2052818"/>
                <a:gd name="connsiteX5533" fmla="*/ 1610357 w 2222569"/>
                <a:gd name="connsiteY5533" fmla="*/ 978107 h 2052818"/>
                <a:gd name="connsiteX5534" fmla="*/ 1607099 w 2222569"/>
                <a:gd name="connsiteY5534" fmla="*/ 980224 h 2052818"/>
                <a:gd name="connsiteX5535" fmla="*/ 1605307 w 2222569"/>
                <a:gd name="connsiteY5535" fmla="*/ 978595 h 2052818"/>
                <a:gd name="connsiteX5536" fmla="*/ 1604655 w 2222569"/>
                <a:gd name="connsiteY5536" fmla="*/ 972893 h 2052818"/>
                <a:gd name="connsiteX5537" fmla="*/ 1602211 w 2222569"/>
                <a:gd name="connsiteY5537" fmla="*/ 974523 h 2052818"/>
                <a:gd name="connsiteX5538" fmla="*/ 1599768 w 2222569"/>
                <a:gd name="connsiteY5538" fmla="*/ 978921 h 2052818"/>
                <a:gd name="connsiteX5539" fmla="*/ 1596021 w 2222569"/>
                <a:gd name="connsiteY5539" fmla="*/ 978921 h 2052818"/>
                <a:gd name="connsiteX5540" fmla="*/ 1592926 w 2222569"/>
                <a:gd name="connsiteY5540" fmla="*/ 981202 h 2052818"/>
                <a:gd name="connsiteX5541" fmla="*/ 1588364 w 2222569"/>
                <a:gd name="connsiteY5541" fmla="*/ 981202 h 2052818"/>
                <a:gd name="connsiteX5542" fmla="*/ 1585106 w 2222569"/>
                <a:gd name="connsiteY5542" fmla="*/ 982342 h 2052818"/>
                <a:gd name="connsiteX5543" fmla="*/ 1584454 w 2222569"/>
                <a:gd name="connsiteY5543" fmla="*/ 983971 h 2052818"/>
                <a:gd name="connsiteX5544" fmla="*/ 1581848 w 2222569"/>
                <a:gd name="connsiteY5544" fmla="*/ 983971 h 2052818"/>
                <a:gd name="connsiteX5545" fmla="*/ 1581033 w 2222569"/>
                <a:gd name="connsiteY5545" fmla="*/ 981365 h 2052818"/>
                <a:gd name="connsiteX5546" fmla="*/ 1583803 w 2222569"/>
                <a:gd name="connsiteY5546" fmla="*/ 978107 h 2052818"/>
                <a:gd name="connsiteX5547" fmla="*/ 1583314 w 2222569"/>
                <a:gd name="connsiteY5547" fmla="*/ 975663 h 2052818"/>
                <a:gd name="connsiteX5548" fmla="*/ 1581359 w 2222569"/>
                <a:gd name="connsiteY5548" fmla="*/ 974523 h 2052818"/>
                <a:gd name="connsiteX5549" fmla="*/ 1584943 w 2222569"/>
                <a:gd name="connsiteY5549" fmla="*/ 969472 h 2052818"/>
                <a:gd name="connsiteX5550" fmla="*/ 1587224 w 2222569"/>
                <a:gd name="connsiteY5550" fmla="*/ 968495 h 2052818"/>
                <a:gd name="connsiteX5551" fmla="*/ 1590319 w 2222569"/>
                <a:gd name="connsiteY5551" fmla="*/ 970124 h 2052818"/>
                <a:gd name="connsiteX5552" fmla="*/ 1592926 w 2222569"/>
                <a:gd name="connsiteY5552" fmla="*/ 971753 h 2052818"/>
                <a:gd name="connsiteX5553" fmla="*/ 1595532 w 2222569"/>
                <a:gd name="connsiteY5553" fmla="*/ 970450 h 2052818"/>
                <a:gd name="connsiteX5554" fmla="*/ 1598627 w 2222569"/>
                <a:gd name="connsiteY5554" fmla="*/ 970124 h 2052818"/>
                <a:gd name="connsiteX5555" fmla="*/ 1602537 w 2222569"/>
                <a:gd name="connsiteY5555" fmla="*/ 966377 h 2052818"/>
                <a:gd name="connsiteX5556" fmla="*/ 1604003 w 2222569"/>
                <a:gd name="connsiteY5556" fmla="*/ 961979 h 2052818"/>
                <a:gd name="connsiteX5557" fmla="*/ 1602374 w 2222569"/>
                <a:gd name="connsiteY5557" fmla="*/ 959046 h 2052818"/>
                <a:gd name="connsiteX5558" fmla="*/ 1599442 w 2222569"/>
                <a:gd name="connsiteY5558" fmla="*/ 956114 h 2052818"/>
                <a:gd name="connsiteX5559" fmla="*/ 1594555 w 2222569"/>
                <a:gd name="connsiteY5559" fmla="*/ 954485 h 2052818"/>
                <a:gd name="connsiteX5560" fmla="*/ 1592437 w 2222569"/>
                <a:gd name="connsiteY5560" fmla="*/ 950901 h 2052818"/>
                <a:gd name="connsiteX5561" fmla="*/ 1592437 w 2222569"/>
                <a:gd name="connsiteY5561" fmla="*/ 947642 h 2052818"/>
                <a:gd name="connsiteX5562" fmla="*/ 1590645 w 2222569"/>
                <a:gd name="connsiteY5562" fmla="*/ 945525 h 2052818"/>
                <a:gd name="connsiteX5563" fmla="*/ 1590645 w 2222569"/>
                <a:gd name="connsiteY5563" fmla="*/ 942104 h 2052818"/>
                <a:gd name="connsiteX5564" fmla="*/ 1585921 w 2222569"/>
                <a:gd name="connsiteY5564" fmla="*/ 941615 h 2052818"/>
                <a:gd name="connsiteX5565" fmla="*/ 1585269 w 2222569"/>
                <a:gd name="connsiteY5565" fmla="*/ 940312 h 2052818"/>
                <a:gd name="connsiteX5566" fmla="*/ 1582336 w 2222569"/>
                <a:gd name="connsiteY5566" fmla="*/ 938682 h 2052818"/>
                <a:gd name="connsiteX5567" fmla="*/ 1581359 w 2222569"/>
                <a:gd name="connsiteY5567" fmla="*/ 935587 h 2052818"/>
                <a:gd name="connsiteX5568" fmla="*/ 1585106 w 2222569"/>
                <a:gd name="connsiteY5568" fmla="*/ 933958 h 2052818"/>
                <a:gd name="connsiteX5569" fmla="*/ 1586898 w 2222569"/>
                <a:gd name="connsiteY5569" fmla="*/ 936402 h 2052818"/>
                <a:gd name="connsiteX5570" fmla="*/ 1588853 w 2222569"/>
                <a:gd name="connsiteY5570" fmla="*/ 935261 h 2052818"/>
                <a:gd name="connsiteX5571" fmla="*/ 1589668 w 2222569"/>
                <a:gd name="connsiteY5571" fmla="*/ 932492 h 2052818"/>
                <a:gd name="connsiteX5572" fmla="*/ 1594229 w 2222569"/>
                <a:gd name="connsiteY5572" fmla="*/ 930048 h 2052818"/>
                <a:gd name="connsiteX5573" fmla="*/ 1587550 w 2222569"/>
                <a:gd name="connsiteY5573" fmla="*/ 928908 h 2052818"/>
                <a:gd name="connsiteX5574" fmla="*/ 1584943 w 2222569"/>
                <a:gd name="connsiteY5574" fmla="*/ 925813 h 2052818"/>
                <a:gd name="connsiteX5575" fmla="*/ 1581848 w 2222569"/>
                <a:gd name="connsiteY5575" fmla="*/ 925813 h 2052818"/>
                <a:gd name="connsiteX5576" fmla="*/ 1581522 w 2222569"/>
                <a:gd name="connsiteY5576" fmla="*/ 924184 h 2052818"/>
                <a:gd name="connsiteX5577" fmla="*/ 1577449 w 2222569"/>
                <a:gd name="connsiteY5577" fmla="*/ 923206 h 2052818"/>
                <a:gd name="connsiteX5578" fmla="*/ 1575494 w 2222569"/>
                <a:gd name="connsiteY5578" fmla="*/ 927605 h 2052818"/>
                <a:gd name="connsiteX5579" fmla="*/ 1573865 w 2222569"/>
                <a:gd name="connsiteY5579" fmla="*/ 928093 h 2052818"/>
                <a:gd name="connsiteX5580" fmla="*/ 1573865 w 2222569"/>
                <a:gd name="connsiteY5580" fmla="*/ 925161 h 2052818"/>
                <a:gd name="connsiteX5581" fmla="*/ 1577449 w 2222569"/>
                <a:gd name="connsiteY5581" fmla="*/ 917178 h 2052818"/>
                <a:gd name="connsiteX5582" fmla="*/ 1581848 w 2222569"/>
                <a:gd name="connsiteY5582" fmla="*/ 910499 h 2052818"/>
                <a:gd name="connsiteX5583" fmla="*/ 1582174 w 2222569"/>
                <a:gd name="connsiteY5583" fmla="*/ 908544 h 2052818"/>
                <a:gd name="connsiteX5584" fmla="*/ 1584780 w 2222569"/>
                <a:gd name="connsiteY5584" fmla="*/ 901865 h 2052818"/>
                <a:gd name="connsiteX5585" fmla="*/ 1584780 w 2222569"/>
                <a:gd name="connsiteY5585" fmla="*/ 896978 h 2052818"/>
                <a:gd name="connsiteX5586" fmla="*/ 1586409 w 2222569"/>
                <a:gd name="connsiteY5586" fmla="*/ 894371 h 2052818"/>
                <a:gd name="connsiteX5587" fmla="*/ 1584780 w 2222569"/>
                <a:gd name="connsiteY5587" fmla="*/ 891602 h 2052818"/>
                <a:gd name="connsiteX5588" fmla="*/ 1580219 w 2222569"/>
                <a:gd name="connsiteY5588" fmla="*/ 894045 h 2052818"/>
                <a:gd name="connsiteX5589" fmla="*/ 1577449 w 2222569"/>
                <a:gd name="connsiteY5589" fmla="*/ 892090 h 2052818"/>
                <a:gd name="connsiteX5590" fmla="*/ 1575657 w 2222569"/>
                <a:gd name="connsiteY5590" fmla="*/ 893068 h 2052818"/>
                <a:gd name="connsiteX5591" fmla="*/ 1575169 w 2222569"/>
                <a:gd name="connsiteY5591" fmla="*/ 896000 h 2052818"/>
                <a:gd name="connsiteX5592" fmla="*/ 1572562 w 2222569"/>
                <a:gd name="connsiteY5592" fmla="*/ 895186 h 2052818"/>
                <a:gd name="connsiteX5593" fmla="*/ 1566209 w 2222569"/>
                <a:gd name="connsiteY5593" fmla="*/ 888507 h 2052818"/>
                <a:gd name="connsiteX5594" fmla="*/ 1565883 w 2222569"/>
                <a:gd name="connsiteY5594" fmla="*/ 884922 h 2052818"/>
                <a:gd name="connsiteX5595" fmla="*/ 1563602 w 2222569"/>
                <a:gd name="connsiteY5595" fmla="*/ 881827 h 2052818"/>
                <a:gd name="connsiteX5596" fmla="*/ 1561321 w 2222569"/>
                <a:gd name="connsiteY5596" fmla="*/ 880687 h 2052818"/>
                <a:gd name="connsiteX5597" fmla="*/ 1562299 w 2222569"/>
                <a:gd name="connsiteY5597" fmla="*/ 874985 h 2052818"/>
                <a:gd name="connsiteX5598" fmla="*/ 1567023 w 2222569"/>
                <a:gd name="connsiteY5598" fmla="*/ 873030 h 2052818"/>
                <a:gd name="connsiteX5599" fmla="*/ 1568001 w 2222569"/>
                <a:gd name="connsiteY5599" fmla="*/ 870586 h 2052818"/>
                <a:gd name="connsiteX5600" fmla="*/ 1566371 w 2222569"/>
                <a:gd name="connsiteY5600" fmla="*/ 867654 h 2052818"/>
                <a:gd name="connsiteX5601" fmla="*/ 1566046 w 2222569"/>
                <a:gd name="connsiteY5601" fmla="*/ 862604 h 2052818"/>
                <a:gd name="connsiteX5602" fmla="*/ 1563113 w 2222569"/>
                <a:gd name="connsiteY5602" fmla="*/ 863256 h 2052818"/>
                <a:gd name="connsiteX5603" fmla="*/ 1560344 w 2222569"/>
                <a:gd name="connsiteY5603" fmla="*/ 866188 h 2052818"/>
                <a:gd name="connsiteX5604" fmla="*/ 1560344 w 2222569"/>
                <a:gd name="connsiteY5604" fmla="*/ 873356 h 2052818"/>
                <a:gd name="connsiteX5605" fmla="*/ 1557411 w 2222569"/>
                <a:gd name="connsiteY5605" fmla="*/ 877592 h 2052818"/>
                <a:gd name="connsiteX5606" fmla="*/ 1556271 w 2222569"/>
                <a:gd name="connsiteY5606" fmla="*/ 873030 h 2052818"/>
                <a:gd name="connsiteX5607" fmla="*/ 1553827 w 2222569"/>
                <a:gd name="connsiteY5607" fmla="*/ 871075 h 2052818"/>
                <a:gd name="connsiteX5608" fmla="*/ 1552687 w 2222569"/>
                <a:gd name="connsiteY5608" fmla="*/ 872216 h 2052818"/>
                <a:gd name="connsiteX5609" fmla="*/ 1552361 w 2222569"/>
                <a:gd name="connsiteY5609" fmla="*/ 875311 h 2052818"/>
                <a:gd name="connsiteX5610" fmla="*/ 1549918 w 2222569"/>
                <a:gd name="connsiteY5610" fmla="*/ 876125 h 2052818"/>
                <a:gd name="connsiteX5611" fmla="*/ 1549103 w 2222569"/>
                <a:gd name="connsiteY5611" fmla="*/ 881501 h 2052818"/>
                <a:gd name="connsiteX5612" fmla="*/ 1553176 w 2222569"/>
                <a:gd name="connsiteY5612" fmla="*/ 887203 h 2052818"/>
                <a:gd name="connsiteX5613" fmla="*/ 1556108 w 2222569"/>
                <a:gd name="connsiteY5613" fmla="*/ 886715 h 2052818"/>
                <a:gd name="connsiteX5614" fmla="*/ 1560018 w 2222569"/>
                <a:gd name="connsiteY5614" fmla="*/ 895837 h 2052818"/>
                <a:gd name="connsiteX5615" fmla="*/ 1562462 w 2222569"/>
                <a:gd name="connsiteY5615" fmla="*/ 898607 h 2052818"/>
                <a:gd name="connsiteX5616" fmla="*/ 1560833 w 2222569"/>
                <a:gd name="connsiteY5616" fmla="*/ 903331 h 2052818"/>
                <a:gd name="connsiteX5617" fmla="*/ 1560507 w 2222569"/>
                <a:gd name="connsiteY5617" fmla="*/ 907404 h 2052818"/>
                <a:gd name="connsiteX5618" fmla="*/ 1557086 w 2222569"/>
                <a:gd name="connsiteY5618" fmla="*/ 912617 h 2052818"/>
                <a:gd name="connsiteX5619" fmla="*/ 1553665 w 2222569"/>
                <a:gd name="connsiteY5619" fmla="*/ 915061 h 2052818"/>
                <a:gd name="connsiteX5620" fmla="*/ 1542424 w 2222569"/>
                <a:gd name="connsiteY5620" fmla="*/ 915061 h 2052818"/>
                <a:gd name="connsiteX5621" fmla="*/ 1540958 w 2222569"/>
                <a:gd name="connsiteY5621" fmla="*/ 913432 h 2052818"/>
                <a:gd name="connsiteX5622" fmla="*/ 1536559 w 2222569"/>
                <a:gd name="connsiteY5622" fmla="*/ 913757 h 2052818"/>
                <a:gd name="connsiteX5623" fmla="*/ 1531509 w 2222569"/>
                <a:gd name="connsiteY5623" fmla="*/ 910499 h 2052818"/>
                <a:gd name="connsiteX5624" fmla="*/ 1532649 w 2222569"/>
                <a:gd name="connsiteY5624" fmla="*/ 908544 h 2052818"/>
                <a:gd name="connsiteX5625" fmla="*/ 1532649 w 2222569"/>
                <a:gd name="connsiteY5625" fmla="*/ 903983 h 2052818"/>
                <a:gd name="connsiteX5626" fmla="*/ 1524667 w 2222569"/>
                <a:gd name="connsiteY5626" fmla="*/ 903983 h 2052818"/>
                <a:gd name="connsiteX5627" fmla="*/ 1516358 w 2222569"/>
                <a:gd name="connsiteY5627" fmla="*/ 899910 h 2052818"/>
                <a:gd name="connsiteX5628" fmla="*/ 1509190 w 2222569"/>
                <a:gd name="connsiteY5628" fmla="*/ 899259 h 2052818"/>
                <a:gd name="connsiteX5629" fmla="*/ 1512611 w 2222569"/>
                <a:gd name="connsiteY5629" fmla="*/ 908381 h 2052818"/>
                <a:gd name="connsiteX5630" fmla="*/ 1514892 w 2222569"/>
                <a:gd name="connsiteY5630" fmla="*/ 913920 h 2052818"/>
                <a:gd name="connsiteX5631" fmla="*/ 1513915 w 2222569"/>
                <a:gd name="connsiteY5631" fmla="*/ 915061 h 2052818"/>
                <a:gd name="connsiteX5632" fmla="*/ 1509842 w 2222569"/>
                <a:gd name="connsiteY5632" fmla="*/ 915061 h 2052818"/>
                <a:gd name="connsiteX5633" fmla="*/ 1507561 w 2222569"/>
                <a:gd name="connsiteY5633" fmla="*/ 909848 h 2052818"/>
                <a:gd name="connsiteX5634" fmla="*/ 1503326 w 2222569"/>
                <a:gd name="connsiteY5634" fmla="*/ 905286 h 2052818"/>
                <a:gd name="connsiteX5635" fmla="*/ 1501534 w 2222569"/>
                <a:gd name="connsiteY5635" fmla="*/ 904634 h 2052818"/>
                <a:gd name="connsiteX5636" fmla="*/ 1500230 w 2222569"/>
                <a:gd name="connsiteY5636" fmla="*/ 900888 h 2052818"/>
                <a:gd name="connsiteX5637" fmla="*/ 1495343 w 2222569"/>
                <a:gd name="connsiteY5637" fmla="*/ 895837 h 2052818"/>
                <a:gd name="connsiteX5638" fmla="*/ 1491596 w 2222569"/>
                <a:gd name="connsiteY5638" fmla="*/ 891276 h 2052818"/>
                <a:gd name="connsiteX5639" fmla="*/ 1490782 w 2222569"/>
                <a:gd name="connsiteY5639" fmla="*/ 888669 h 2052818"/>
                <a:gd name="connsiteX5640" fmla="*/ 1487361 w 2222569"/>
                <a:gd name="connsiteY5640" fmla="*/ 887855 h 2052818"/>
                <a:gd name="connsiteX5641" fmla="*/ 1483125 w 2222569"/>
                <a:gd name="connsiteY5641" fmla="*/ 882479 h 2052818"/>
                <a:gd name="connsiteX5642" fmla="*/ 1480030 w 2222569"/>
                <a:gd name="connsiteY5642" fmla="*/ 881176 h 2052818"/>
                <a:gd name="connsiteX5643" fmla="*/ 1478563 w 2222569"/>
                <a:gd name="connsiteY5643" fmla="*/ 879221 h 2052818"/>
                <a:gd name="connsiteX5644" fmla="*/ 1474491 w 2222569"/>
                <a:gd name="connsiteY5644" fmla="*/ 876940 h 2052818"/>
                <a:gd name="connsiteX5645" fmla="*/ 1475468 w 2222569"/>
                <a:gd name="connsiteY5645" fmla="*/ 880850 h 2052818"/>
                <a:gd name="connsiteX5646" fmla="*/ 1485243 w 2222569"/>
                <a:gd name="connsiteY5646" fmla="*/ 888669 h 2052818"/>
                <a:gd name="connsiteX5647" fmla="*/ 1487523 w 2222569"/>
                <a:gd name="connsiteY5647" fmla="*/ 892579 h 2052818"/>
                <a:gd name="connsiteX5648" fmla="*/ 1490945 w 2222569"/>
                <a:gd name="connsiteY5648" fmla="*/ 896815 h 2052818"/>
                <a:gd name="connsiteX5649" fmla="*/ 1494854 w 2222569"/>
                <a:gd name="connsiteY5649" fmla="*/ 899421 h 2052818"/>
                <a:gd name="connsiteX5650" fmla="*/ 1496320 w 2222569"/>
                <a:gd name="connsiteY5650" fmla="*/ 903168 h 2052818"/>
                <a:gd name="connsiteX5651" fmla="*/ 1493714 w 2222569"/>
                <a:gd name="connsiteY5651" fmla="*/ 906426 h 2052818"/>
                <a:gd name="connsiteX5652" fmla="*/ 1491922 w 2222569"/>
                <a:gd name="connsiteY5652" fmla="*/ 904797 h 2052818"/>
                <a:gd name="connsiteX5653" fmla="*/ 1489315 w 2222569"/>
                <a:gd name="connsiteY5653" fmla="*/ 907404 h 2052818"/>
                <a:gd name="connsiteX5654" fmla="*/ 1482147 w 2222569"/>
                <a:gd name="connsiteY5654" fmla="*/ 902842 h 2052818"/>
                <a:gd name="connsiteX5655" fmla="*/ 1479378 w 2222569"/>
                <a:gd name="connsiteY5655" fmla="*/ 903657 h 2052818"/>
                <a:gd name="connsiteX5656" fmla="*/ 1476934 w 2222569"/>
                <a:gd name="connsiteY5656" fmla="*/ 899747 h 2052818"/>
                <a:gd name="connsiteX5657" fmla="*/ 1472373 w 2222569"/>
                <a:gd name="connsiteY5657" fmla="*/ 898118 h 2052818"/>
                <a:gd name="connsiteX5658" fmla="*/ 1470581 w 2222569"/>
                <a:gd name="connsiteY5658" fmla="*/ 893882 h 2052818"/>
                <a:gd name="connsiteX5659" fmla="*/ 1462273 w 2222569"/>
                <a:gd name="connsiteY5659" fmla="*/ 895023 h 2052818"/>
                <a:gd name="connsiteX5660" fmla="*/ 1458037 w 2222569"/>
                <a:gd name="connsiteY5660" fmla="*/ 897467 h 2052818"/>
                <a:gd name="connsiteX5661" fmla="*/ 1454290 w 2222569"/>
                <a:gd name="connsiteY5661" fmla="*/ 894371 h 2052818"/>
                <a:gd name="connsiteX5662" fmla="*/ 1448751 w 2222569"/>
                <a:gd name="connsiteY5662" fmla="*/ 893231 h 2052818"/>
                <a:gd name="connsiteX5663" fmla="*/ 1444190 w 2222569"/>
                <a:gd name="connsiteY5663" fmla="*/ 893557 h 2052818"/>
                <a:gd name="connsiteX5664" fmla="*/ 1441583 w 2222569"/>
                <a:gd name="connsiteY5664" fmla="*/ 890136 h 2052818"/>
                <a:gd name="connsiteX5665" fmla="*/ 1435718 w 2222569"/>
                <a:gd name="connsiteY5665" fmla="*/ 886226 h 2052818"/>
                <a:gd name="connsiteX5666" fmla="*/ 1435718 w 2222569"/>
                <a:gd name="connsiteY5666" fmla="*/ 883130 h 2052818"/>
                <a:gd name="connsiteX5667" fmla="*/ 1442723 w 2222569"/>
                <a:gd name="connsiteY5667" fmla="*/ 876451 h 2052818"/>
                <a:gd name="connsiteX5668" fmla="*/ 1445656 w 2222569"/>
                <a:gd name="connsiteY5668" fmla="*/ 874985 h 2052818"/>
                <a:gd name="connsiteX5669" fmla="*/ 1445656 w 2222569"/>
                <a:gd name="connsiteY5669" fmla="*/ 873030 h 2052818"/>
                <a:gd name="connsiteX5670" fmla="*/ 1442235 w 2222569"/>
                <a:gd name="connsiteY5670" fmla="*/ 873193 h 2052818"/>
                <a:gd name="connsiteX5671" fmla="*/ 1437836 w 2222569"/>
                <a:gd name="connsiteY5671" fmla="*/ 877755 h 2052818"/>
                <a:gd name="connsiteX5672" fmla="*/ 1434415 w 2222569"/>
                <a:gd name="connsiteY5672" fmla="*/ 881827 h 2052818"/>
                <a:gd name="connsiteX5673" fmla="*/ 1431809 w 2222569"/>
                <a:gd name="connsiteY5673" fmla="*/ 882805 h 2052818"/>
                <a:gd name="connsiteX5674" fmla="*/ 1427736 w 2222569"/>
                <a:gd name="connsiteY5674" fmla="*/ 879547 h 2052818"/>
                <a:gd name="connsiteX5675" fmla="*/ 1423011 w 2222569"/>
                <a:gd name="connsiteY5675" fmla="*/ 878569 h 2052818"/>
                <a:gd name="connsiteX5676" fmla="*/ 1421057 w 2222569"/>
                <a:gd name="connsiteY5676" fmla="*/ 879384 h 2052818"/>
                <a:gd name="connsiteX5677" fmla="*/ 1425292 w 2222569"/>
                <a:gd name="connsiteY5677" fmla="*/ 882316 h 2052818"/>
                <a:gd name="connsiteX5678" fmla="*/ 1422849 w 2222569"/>
                <a:gd name="connsiteY5678" fmla="*/ 884108 h 2052818"/>
                <a:gd name="connsiteX5679" fmla="*/ 1416169 w 2222569"/>
                <a:gd name="connsiteY5679" fmla="*/ 883782 h 2052818"/>
                <a:gd name="connsiteX5680" fmla="*/ 1409979 w 2222569"/>
                <a:gd name="connsiteY5680" fmla="*/ 878406 h 2052818"/>
                <a:gd name="connsiteX5681" fmla="*/ 1409001 w 2222569"/>
                <a:gd name="connsiteY5681" fmla="*/ 871564 h 2052818"/>
                <a:gd name="connsiteX5682" fmla="*/ 1404603 w 2222569"/>
                <a:gd name="connsiteY5682" fmla="*/ 868306 h 2052818"/>
                <a:gd name="connsiteX5683" fmla="*/ 1405417 w 2222569"/>
                <a:gd name="connsiteY5683" fmla="*/ 864070 h 2052818"/>
                <a:gd name="connsiteX5684" fmla="*/ 1414052 w 2222569"/>
                <a:gd name="connsiteY5684" fmla="*/ 859672 h 2052818"/>
                <a:gd name="connsiteX5685" fmla="*/ 1416006 w 2222569"/>
                <a:gd name="connsiteY5685" fmla="*/ 856576 h 2052818"/>
                <a:gd name="connsiteX5686" fmla="*/ 1414377 w 2222569"/>
                <a:gd name="connsiteY5686" fmla="*/ 855436 h 2052818"/>
                <a:gd name="connsiteX5687" fmla="*/ 1410468 w 2222569"/>
                <a:gd name="connsiteY5687" fmla="*/ 858368 h 2052818"/>
                <a:gd name="connsiteX5688" fmla="*/ 1404440 w 2222569"/>
                <a:gd name="connsiteY5688" fmla="*/ 859183 h 2052818"/>
                <a:gd name="connsiteX5689" fmla="*/ 1402159 w 2222569"/>
                <a:gd name="connsiteY5689" fmla="*/ 864559 h 2052818"/>
                <a:gd name="connsiteX5690" fmla="*/ 1399553 w 2222569"/>
                <a:gd name="connsiteY5690" fmla="*/ 865048 h 2052818"/>
                <a:gd name="connsiteX5691" fmla="*/ 1398575 w 2222569"/>
                <a:gd name="connsiteY5691" fmla="*/ 861301 h 2052818"/>
                <a:gd name="connsiteX5692" fmla="*/ 1399715 w 2222569"/>
                <a:gd name="connsiteY5692" fmla="*/ 857228 h 2052818"/>
                <a:gd name="connsiteX5693" fmla="*/ 1397761 w 2222569"/>
                <a:gd name="connsiteY5693" fmla="*/ 855436 h 2052818"/>
                <a:gd name="connsiteX5694" fmla="*/ 1395317 w 2222569"/>
                <a:gd name="connsiteY5694" fmla="*/ 856088 h 2052818"/>
                <a:gd name="connsiteX5695" fmla="*/ 1394339 w 2222569"/>
                <a:gd name="connsiteY5695" fmla="*/ 859346 h 2052818"/>
                <a:gd name="connsiteX5696" fmla="*/ 1394991 w 2222569"/>
                <a:gd name="connsiteY5696" fmla="*/ 861952 h 2052818"/>
                <a:gd name="connsiteX5697" fmla="*/ 1393688 w 2222569"/>
                <a:gd name="connsiteY5697" fmla="*/ 864559 h 2052818"/>
                <a:gd name="connsiteX5698" fmla="*/ 1390104 w 2222569"/>
                <a:gd name="connsiteY5698" fmla="*/ 863418 h 2052818"/>
                <a:gd name="connsiteX5699" fmla="*/ 1387009 w 2222569"/>
                <a:gd name="connsiteY5699" fmla="*/ 859997 h 2052818"/>
                <a:gd name="connsiteX5700" fmla="*/ 1382936 w 2222569"/>
                <a:gd name="connsiteY5700" fmla="*/ 859020 h 2052818"/>
                <a:gd name="connsiteX5701" fmla="*/ 1379515 w 2222569"/>
                <a:gd name="connsiteY5701" fmla="*/ 859997 h 2052818"/>
                <a:gd name="connsiteX5702" fmla="*/ 1379026 w 2222569"/>
                <a:gd name="connsiteY5702" fmla="*/ 863093 h 2052818"/>
                <a:gd name="connsiteX5703" fmla="*/ 1376419 w 2222569"/>
                <a:gd name="connsiteY5703" fmla="*/ 863093 h 2052818"/>
                <a:gd name="connsiteX5704" fmla="*/ 1373161 w 2222569"/>
                <a:gd name="connsiteY5704" fmla="*/ 859183 h 2052818"/>
                <a:gd name="connsiteX5705" fmla="*/ 1371858 w 2222569"/>
                <a:gd name="connsiteY5705" fmla="*/ 855110 h 2052818"/>
                <a:gd name="connsiteX5706" fmla="*/ 1373324 w 2222569"/>
                <a:gd name="connsiteY5706" fmla="*/ 855436 h 2052818"/>
                <a:gd name="connsiteX5707" fmla="*/ 1375931 w 2222569"/>
                <a:gd name="connsiteY5707" fmla="*/ 857228 h 2052818"/>
                <a:gd name="connsiteX5708" fmla="*/ 1375931 w 2222569"/>
                <a:gd name="connsiteY5708" fmla="*/ 855436 h 2052818"/>
                <a:gd name="connsiteX5709" fmla="*/ 1371044 w 2222569"/>
                <a:gd name="connsiteY5709" fmla="*/ 850874 h 2052818"/>
                <a:gd name="connsiteX5710" fmla="*/ 1365016 w 2222569"/>
                <a:gd name="connsiteY5710" fmla="*/ 847290 h 2052818"/>
                <a:gd name="connsiteX5711" fmla="*/ 1364201 w 2222569"/>
                <a:gd name="connsiteY5711" fmla="*/ 843055 h 2052818"/>
                <a:gd name="connsiteX5712" fmla="*/ 1365016 w 2222569"/>
                <a:gd name="connsiteY5712" fmla="*/ 837516 h 2052818"/>
                <a:gd name="connsiteX5713" fmla="*/ 1364364 w 2222569"/>
                <a:gd name="connsiteY5713" fmla="*/ 831325 h 2052818"/>
                <a:gd name="connsiteX5714" fmla="*/ 1362083 w 2222569"/>
                <a:gd name="connsiteY5714" fmla="*/ 823669 h 2052818"/>
                <a:gd name="connsiteX5715" fmla="*/ 1363550 w 2222569"/>
                <a:gd name="connsiteY5715" fmla="*/ 819922 h 2052818"/>
                <a:gd name="connsiteX5716" fmla="*/ 1366645 w 2222569"/>
                <a:gd name="connsiteY5716" fmla="*/ 819922 h 2052818"/>
                <a:gd name="connsiteX5717" fmla="*/ 1366645 w 2222569"/>
                <a:gd name="connsiteY5717" fmla="*/ 816989 h 2052818"/>
                <a:gd name="connsiteX5718" fmla="*/ 1364853 w 2222569"/>
                <a:gd name="connsiteY5718" fmla="*/ 811125 h 2052818"/>
                <a:gd name="connsiteX5719" fmla="*/ 1365504 w 2222569"/>
                <a:gd name="connsiteY5719" fmla="*/ 809170 h 2052818"/>
                <a:gd name="connsiteX5720" fmla="*/ 1370229 w 2222569"/>
                <a:gd name="connsiteY5720" fmla="*/ 810473 h 2052818"/>
                <a:gd name="connsiteX5721" fmla="*/ 1372021 w 2222569"/>
                <a:gd name="connsiteY5721" fmla="*/ 813080 h 2052818"/>
                <a:gd name="connsiteX5722" fmla="*/ 1380329 w 2222569"/>
                <a:gd name="connsiteY5722" fmla="*/ 813568 h 2052818"/>
                <a:gd name="connsiteX5723" fmla="*/ 1384728 w 2222569"/>
                <a:gd name="connsiteY5723" fmla="*/ 816989 h 2052818"/>
                <a:gd name="connsiteX5724" fmla="*/ 1386194 w 2222569"/>
                <a:gd name="connsiteY5724" fmla="*/ 821714 h 2052818"/>
                <a:gd name="connsiteX5725" fmla="*/ 1395154 w 2222569"/>
                <a:gd name="connsiteY5725" fmla="*/ 825135 h 2052818"/>
                <a:gd name="connsiteX5726" fmla="*/ 1403299 w 2222569"/>
                <a:gd name="connsiteY5726" fmla="*/ 825135 h 2052818"/>
                <a:gd name="connsiteX5727" fmla="*/ 1405743 w 2222569"/>
                <a:gd name="connsiteY5727" fmla="*/ 823669 h 2052818"/>
                <a:gd name="connsiteX5728" fmla="*/ 1412911 w 2222569"/>
                <a:gd name="connsiteY5728" fmla="*/ 823669 h 2052818"/>
                <a:gd name="connsiteX5729" fmla="*/ 1409816 w 2222569"/>
                <a:gd name="connsiteY5729" fmla="*/ 820899 h 2052818"/>
                <a:gd name="connsiteX5730" fmla="*/ 1409001 w 2222569"/>
                <a:gd name="connsiteY5730" fmla="*/ 817641 h 2052818"/>
                <a:gd name="connsiteX5731" fmla="*/ 1402322 w 2222569"/>
                <a:gd name="connsiteY5731" fmla="*/ 813568 h 2052818"/>
                <a:gd name="connsiteX5732" fmla="*/ 1401507 w 2222569"/>
                <a:gd name="connsiteY5732" fmla="*/ 806726 h 2052818"/>
                <a:gd name="connsiteX5733" fmla="*/ 1394828 w 2222569"/>
                <a:gd name="connsiteY5733" fmla="*/ 806726 h 2052818"/>
                <a:gd name="connsiteX5734" fmla="*/ 1389126 w 2222569"/>
                <a:gd name="connsiteY5734" fmla="*/ 803305 h 2052818"/>
                <a:gd name="connsiteX5735" fmla="*/ 1385217 w 2222569"/>
                <a:gd name="connsiteY5735" fmla="*/ 803305 h 2052818"/>
                <a:gd name="connsiteX5736" fmla="*/ 1379352 w 2222569"/>
                <a:gd name="connsiteY5736" fmla="*/ 799395 h 2052818"/>
                <a:gd name="connsiteX5737" fmla="*/ 1374302 w 2222569"/>
                <a:gd name="connsiteY5737" fmla="*/ 799395 h 2052818"/>
                <a:gd name="connsiteX5738" fmla="*/ 1365342 w 2222569"/>
                <a:gd name="connsiteY5738" fmla="*/ 794182 h 2052818"/>
                <a:gd name="connsiteX5739" fmla="*/ 1362898 w 2222569"/>
                <a:gd name="connsiteY5739" fmla="*/ 789621 h 2052818"/>
                <a:gd name="connsiteX5740" fmla="*/ 1364690 w 2222569"/>
                <a:gd name="connsiteY5740" fmla="*/ 781475 h 2052818"/>
                <a:gd name="connsiteX5741" fmla="*/ 1368926 w 2222569"/>
                <a:gd name="connsiteY5741" fmla="*/ 778706 h 2052818"/>
                <a:gd name="connsiteX5742" fmla="*/ 1368600 w 2222569"/>
                <a:gd name="connsiteY5742" fmla="*/ 774959 h 2052818"/>
                <a:gd name="connsiteX5743" fmla="*/ 1370229 w 2222569"/>
                <a:gd name="connsiteY5743" fmla="*/ 769257 h 2052818"/>
                <a:gd name="connsiteX5744" fmla="*/ 1374302 w 2222569"/>
                <a:gd name="connsiteY5744" fmla="*/ 769257 h 2052818"/>
                <a:gd name="connsiteX5745" fmla="*/ 1376908 w 2222569"/>
                <a:gd name="connsiteY5745" fmla="*/ 764207 h 2052818"/>
                <a:gd name="connsiteX5746" fmla="*/ 1376908 w 2222569"/>
                <a:gd name="connsiteY5746" fmla="*/ 755247 h 2052818"/>
                <a:gd name="connsiteX5747" fmla="*/ 1378537 w 2222569"/>
                <a:gd name="connsiteY5747" fmla="*/ 751500 h 2052818"/>
                <a:gd name="connsiteX5748" fmla="*/ 1382284 w 2222569"/>
                <a:gd name="connsiteY5748" fmla="*/ 750360 h 2052818"/>
                <a:gd name="connsiteX5749" fmla="*/ 1383587 w 2222569"/>
                <a:gd name="connsiteY5749" fmla="*/ 745961 h 2052818"/>
                <a:gd name="connsiteX5750" fmla="*/ 1390430 w 2222569"/>
                <a:gd name="connsiteY5750" fmla="*/ 742214 h 2052818"/>
                <a:gd name="connsiteX5751" fmla="*/ 1394502 w 2222569"/>
                <a:gd name="connsiteY5751" fmla="*/ 741888 h 2052818"/>
                <a:gd name="connsiteX5752" fmla="*/ 1395643 w 2222569"/>
                <a:gd name="connsiteY5752" fmla="*/ 738467 h 2052818"/>
                <a:gd name="connsiteX5753" fmla="*/ 1394014 w 2222569"/>
                <a:gd name="connsiteY5753" fmla="*/ 738467 h 2052818"/>
                <a:gd name="connsiteX5754" fmla="*/ 1391570 w 2222569"/>
                <a:gd name="connsiteY5754" fmla="*/ 739608 h 2052818"/>
                <a:gd name="connsiteX5755" fmla="*/ 1391081 w 2222569"/>
                <a:gd name="connsiteY5755" fmla="*/ 735535 h 2052818"/>
                <a:gd name="connsiteX5756" fmla="*/ 1396294 w 2222569"/>
                <a:gd name="connsiteY5756" fmla="*/ 727715 h 2052818"/>
                <a:gd name="connsiteX5757" fmla="*/ 1400204 w 2222569"/>
                <a:gd name="connsiteY5757" fmla="*/ 720384 h 2052818"/>
                <a:gd name="connsiteX5758" fmla="*/ 1401996 w 2222569"/>
                <a:gd name="connsiteY5758" fmla="*/ 718592 h 2052818"/>
                <a:gd name="connsiteX5759" fmla="*/ 1405906 w 2222569"/>
                <a:gd name="connsiteY5759" fmla="*/ 713542 h 2052818"/>
                <a:gd name="connsiteX5760" fmla="*/ 1409653 w 2222569"/>
                <a:gd name="connsiteY5760" fmla="*/ 713542 h 2052818"/>
                <a:gd name="connsiteX5761" fmla="*/ 1411445 w 2222569"/>
                <a:gd name="connsiteY5761" fmla="*/ 714031 h 2052818"/>
                <a:gd name="connsiteX5762" fmla="*/ 1413726 w 2222569"/>
                <a:gd name="connsiteY5762" fmla="*/ 706048 h 2052818"/>
                <a:gd name="connsiteX5763" fmla="*/ 1416169 w 2222569"/>
                <a:gd name="connsiteY5763" fmla="*/ 706374 h 2052818"/>
                <a:gd name="connsiteX5764" fmla="*/ 1417961 w 2222569"/>
                <a:gd name="connsiteY5764" fmla="*/ 710284 h 2052818"/>
                <a:gd name="connsiteX5765" fmla="*/ 1420568 w 2222569"/>
                <a:gd name="connsiteY5765" fmla="*/ 706863 h 2052818"/>
                <a:gd name="connsiteX5766" fmla="*/ 1418776 w 2222569"/>
                <a:gd name="connsiteY5766" fmla="*/ 703605 h 2052818"/>
                <a:gd name="connsiteX5767" fmla="*/ 1424641 w 2222569"/>
                <a:gd name="connsiteY5767" fmla="*/ 694319 h 2052818"/>
                <a:gd name="connsiteX5768" fmla="*/ 1428713 w 2222569"/>
                <a:gd name="connsiteY5768" fmla="*/ 694319 h 2052818"/>
                <a:gd name="connsiteX5769" fmla="*/ 1428387 w 2222569"/>
                <a:gd name="connsiteY5769" fmla="*/ 689920 h 2052818"/>
                <a:gd name="connsiteX5770" fmla="*/ 1432623 w 2222569"/>
                <a:gd name="connsiteY5770" fmla="*/ 684056 h 2052818"/>
                <a:gd name="connsiteX5771" fmla="*/ 1437999 w 2222569"/>
                <a:gd name="connsiteY5771" fmla="*/ 684056 h 2052818"/>
                <a:gd name="connsiteX5772" fmla="*/ 1441094 w 2222569"/>
                <a:gd name="connsiteY5772" fmla="*/ 679494 h 2052818"/>
                <a:gd name="connsiteX5773" fmla="*/ 1445004 w 2222569"/>
                <a:gd name="connsiteY5773" fmla="*/ 679494 h 2052818"/>
                <a:gd name="connsiteX5774" fmla="*/ 1448099 w 2222569"/>
                <a:gd name="connsiteY5774" fmla="*/ 681286 h 2052818"/>
                <a:gd name="connsiteX5775" fmla="*/ 1446470 w 2222569"/>
                <a:gd name="connsiteY5775" fmla="*/ 676725 h 2052818"/>
                <a:gd name="connsiteX5776" fmla="*/ 1447774 w 2222569"/>
                <a:gd name="connsiteY5776" fmla="*/ 672000 h 2052818"/>
                <a:gd name="connsiteX5777" fmla="*/ 1456734 w 2222569"/>
                <a:gd name="connsiteY5777" fmla="*/ 667928 h 2052818"/>
                <a:gd name="connsiteX5778" fmla="*/ 1465368 w 2222569"/>
                <a:gd name="connsiteY5778" fmla="*/ 660434 h 2052818"/>
                <a:gd name="connsiteX5779" fmla="*/ 1479215 w 2222569"/>
                <a:gd name="connsiteY5779" fmla="*/ 655872 h 2052818"/>
                <a:gd name="connsiteX5780" fmla="*/ 1488338 w 2222569"/>
                <a:gd name="connsiteY5780" fmla="*/ 655384 h 2052818"/>
                <a:gd name="connsiteX5781" fmla="*/ 1492248 w 2222569"/>
                <a:gd name="connsiteY5781" fmla="*/ 653917 h 2052818"/>
                <a:gd name="connsiteX5782" fmla="*/ 1498927 w 2222569"/>
                <a:gd name="connsiteY5782" fmla="*/ 655221 h 2052818"/>
                <a:gd name="connsiteX5783" fmla="*/ 1502837 w 2222569"/>
                <a:gd name="connsiteY5783" fmla="*/ 653917 h 2052818"/>
                <a:gd name="connsiteX5784" fmla="*/ 1505606 w 2222569"/>
                <a:gd name="connsiteY5784" fmla="*/ 655058 h 2052818"/>
                <a:gd name="connsiteX5785" fmla="*/ 1513752 w 2222569"/>
                <a:gd name="connsiteY5785" fmla="*/ 655058 h 2052818"/>
                <a:gd name="connsiteX5786" fmla="*/ 1519128 w 2222569"/>
                <a:gd name="connsiteY5786" fmla="*/ 658968 h 2052818"/>
                <a:gd name="connsiteX5787" fmla="*/ 1529880 w 2222569"/>
                <a:gd name="connsiteY5787" fmla="*/ 664181 h 2052818"/>
                <a:gd name="connsiteX5788" fmla="*/ 1530694 w 2222569"/>
                <a:gd name="connsiteY5788" fmla="*/ 667276 h 2052818"/>
                <a:gd name="connsiteX5789" fmla="*/ 1529391 w 2222569"/>
                <a:gd name="connsiteY5789" fmla="*/ 671349 h 2052818"/>
                <a:gd name="connsiteX5790" fmla="*/ 1522875 w 2222569"/>
                <a:gd name="connsiteY5790" fmla="*/ 674118 h 2052818"/>
                <a:gd name="connsiteX5791" fmla="*/ 1514566 w 2222569"/>
                <a:gd name="connsiteY5791" fmla="*/ 677376 h 2052818"/>
                <a:gd name="connsiteX5792" fmla="*/ 1509516 w 2222569"/>
                <a:gd name="connsiteY5792" fmla="*/ 677376 h 2052818"/>
                <a:gd name="connsiteX5793" fmla="*/ 1507073 w 2222569"/>
                <a:gd name="connsiteY5793" fmla="*/ 681123 h 2052818"/>
                <a:gd name="connsiteX5794" fmla="*/ 1502837 w 2222569"/>
                <a:gd name="connsiteY5794" fmla="*/ 686499 h 2052818"/>
                <a:gd name="connsiteX5795" fmla="*/ 1497298 w 2222569"/>
                <a:gd name="connsiteY5795" fmla="*/ 687965 h 2052818"/>
                <a:gd name="connsiteX5796" fmla="*/ 1487849 w 2222569"/>
                <a:gd name="connsiteY5796" fmla="*/ 696925 h 2052818"/>
                <a:gd name="connsiteX5797" fmla="*/ 1478889 w 2222569"/>
                <a:gd name="connsiteY5797" fmla="*/ 708166 h 2052818"/>
                <a:gd name="connsiteX5798" fmla="*/ 1471395 w 2222569"/>
                <a:gd name="connsiteY5798" fmla="*/ 713216 h 2052818"/>
                <a:gd name="connsiteX5799" fmla="*/ 1468463 w 2222569"/>
                <a:gd name="connsiteY5799" fmla="*/ 714682 h 2052818"/>
                <a:gd name="connsiteX5800" fmla="*/ 1463739 w 2222569"/>
                <a:gd name="connsiteY5800" fmla="*/ 724457 h 2052818"/>
                <a:gd name="connsiteX5801" fmla="*/ 1462924 w 2222569"/>
                <a:gd name="connsiteY5801" fmla="*/ 730322 h 2052818"/>
                <a:gd name="connsiteX5802" fmla="*/ 1464879 w 2222569"/>
                <a:gd name="connsiteY5802" fmla="*/ 735372 h 2052818"/>
                <a:gd name="connsiteX5803" fmla="*/ 1467649 w 2222569"/>
                <a:gd name="connsiteY5803" fmla="*/ 738793 h 2052818"/>
                <a:gd name="connsiteX5804" fmla="*/ 1467649 w 2222569"/>
                <a:gd name="connsiteY5804" fmla="*/ 743192 h 2052818"/>
                <a:gd name="connsiteX5805" fmla="*/ 1463413 w 2222569"/>
                <a:gd name="connsiteY5805" fmla="*/ 745472 h 2052818"/>
                <a:gd name="connsiteX5806" fmla="*/ 1459666 w 2222569"/>
                <a:gd name="connsiteY5806" fmla="*/ 750522 h 2052818"/>
                <a:gd name="connsiteX5807" fmla="*/ 1455104 w 2222569"/>
                <a:gd name="connsiteY5807" fmla="*/ 755736 h 2052818"/>
                <a:gd name="connsiteX5808" fmla="*/ 1454779 w 2222569"/>
                <a:gd name="connsiteY5808" fmla="*/ 760949 h 2052818"/>
                <a:gd name="connsiteX5809" fmla="*/ 1451684 w 2222569"/>
                <a:gd name="connsiteY5809" fmla="*/ 767465 h 2052818"/>
                <a:gd name="connsiteX5810" fmla="*/ 1449077 w 2222569"/>
                <a:gd name="connsiteY5810" fmla="*/ 769257 h 2052818"/>
                <a:gd name="connsiteX5811" fmla="*/ 1448751 w 2222569"/>
                <a:gd name="connsiteY5811" fmla="*/ 773167 h 2052818"/>
                <a:gd name="connsiteX5812" fmla="*/ 1451195 w 2222569"/>
                <a:gd name="connsiteY5812" fmla="*/ 777565 h 2052818"/>
                <a:gd name="connsiteX5813" fmla="*/ 1452335 w 2222569"/>
                <a:gd name="connsiteY5813" fmla="*/ 784896 h 2052818"/>
                <a:gd name="connsiteX5814" fmla="*/ 1454127 w 2222569"/>
                <a:gd name="connsiteY5814" fmla="*/ 788154 h 2052818"/>
                <a:gd name="connsiteX5815" fmla="*/ 1454127 w 2222569"/>
                <a:gd name="connsiteY5815" fmla="*/ 794834 h 2052818"/>
                <a:gd name="connsiteX5816" fmla="*/ 1458526 w 2222569"/>
                <a:gd name="connsiteY5816" fmla="*/ 800698 h 2052818"/>
                <a:gd name="connsiteX5817" fmla="*/ 1459503 w 2222569"/>
                <a:gd name="connsiteY5817" fmla="*/ 803305 h 2052818"/>
                <a:gd name="connsiteX5818" fmla="*/ 1464227 w 2222569"/>
                <a:gd name="connsiteY5818" fmla="*/ 806074 h 2052818"/>
                <a:gd name="connsiteX5819" fmla="*/ 1464227 w 2222569"/>
                <a:gd name="connsiteY5819" fmla="*/ 811288 h 2052818"/>
                <a:gd name="connsiteX5820" fmla="*/ 1462273 w 2222569"/>
                <a:gd name="connsiteY5820" fmla="*/ 815849 h 2052818"/>
                <a:gd name="connsiteX5821" fmla="*/ 1460644 w 2222569"/>
                <a:gd name="connsiteY5821" fmla="*/ 811613 h 2052818"/>
                <a:gd name="connsiteX5822" fmla="*/ 1458037 w 2222569"/>
                <a:gd name="connsiteY5822" fmla="*/ 811613 h 2052818"/>
                <a:gd name="connsiteX5823" fmla="*/ 1457711 w 2222569"/>
                <a:gd name="connsiteY5823" fmla="*/ 814057 h 2052818"/>
                <a:gd name="connsiteX5824" fmla="*/ 1454616 w 2222569"/>
                <a:gd name="connsiteY5824" fmla="*/ 814383 h 2052818"/>
                <a:gd name="connsiteX5825" fmla="*/ 1451358 w 2222569"/>
                <a:gd name="connsiteY5825" fmla="*/ 815686 h 2052818"/>
                <a:gd name="connsiteX5826" fmla="*/ 1448914 w 2222569"/>
                <a:gd name="connsiteY5826" fmla="*/ 816664 h 2052818"/>
                <a:gd name="connsiteX5827" fmla="*/ 1450869 w 2222569"/>
                <a:gd name="connsiteY5827" fmla="*/ 817804 h 2052818"/>
                <a:gd name="connsiteX5828" fmla="*/ 1453964 w 2222569"/>
                <a:gd name="connsiteY5828" fmla="*/ 821714 h 2052818"/>
                <a:gd name="connsiteX5829" fmla="*/ 1457548 w 2222569"/>
                <a:gd name="connsiteY5829" fmla="*/ 821225 h 2052818"/>
                <a:gd name="connsiteX5830" fmla="*/ 1458526 w 2222569"/>
                <a:gd name="connsiteY5830" fmla="*/ 820248 h 2052818"/>
                <a:gd name="connsiteX5831" fmla="*/ 1460155 w 2222569"/>
                <a:gd name="connsiteY5831" fmla="*/ 822040 h 2052818"/>
                <a:gd name="connsiteX5832" fmla="*/ 1456245 w 2222569"/>
                <a:gd name="connsiteY5832" fmla="*/ 825786 h 2052818"/>
                <a:gd name="connsiteX5833" fmla="*/ 1454290 w 2222569"/>
                <a:gd name="connsiteY5833" fmla="*/ 833117 h 2052818"/>
                <a:gd name="connsiteX5834" fmla="*/ 1454290 w 2222569"/>
                <a:gd name="connsiteY5834" fmla="*/ 837842 h 2052818"/>
                <a:gd name="connsiteX5835" fmla="*/ 1452987 w 2222569"/>
                <a:gd name="connsiteY5835" fmla="*/ 840774 h 2052818"/>
                <a:gd name="connsiteX5836" fmla="*/ 1459340 w 2222569"/>
                <a:gd name="connsiteY5836" fmla="*/ 834584 h 2052818"/>
                <a:gd name="connsiteX5837" fmla="*/ 1459340 w 2222569"/>
                <a:gd name="connsiteY5837" fmla="*/ 831162 h 2052818"/>
                <a:gd name="connsiteX5838" fmla="*/ 1464716 w 2222569"/>
                <a:gd name="connsiteY5838" fmla="*/ 821714 h 2052818"/>
                <a:gd name="connsiteX5839" fmla="*/ 1467160 w 2222569"/>
                <a:gd name="connsiteY5839" fmla="*/ 819433 h 2052818"/>
                <a:gd name="connsiteX5840" fmla="*/ 1468463 w 2222569"/>
                <a:gd name="connsiteY5840" fmla="*/ 810147 h 2052818"/>
                <a:gd name="connsiteX5841" fmla="*/ 1470581 w 2222569"/>
                <a:gd name="connsiteY5841" fmla="*/ 807052 h 2052818"/>
                <a:gd name="connsiteX5842" fmla="*/ 1474979 w 2222569"/>
                <a:gd name="connsiteY5842" fmla="*/ 803957 h 2052818"/>
                <a:gd name="connsiteX5843" fmla="*/ 1474979 w 2222569"/>
                <a:gd name="connsiteY5843" fmla="*/ 799232 h 2052818"/>
                <a:gd name="connsiteX5844" fmla="*/ 1473513 w 2222569"/>
                <a:gd name="connsiteY5844" fmla="*/ 796137 h 2052818"/>
                <a:gd name="connsiteX5845" fmla="*/ 1474491 w 2222569"/>
                <a:gd name="connsiteY5845" fmla="*/ 792879 h 2052818"/>
                <a:gd name="connsiteX5846" fmla="*/ 1471233 w 2222569"/>
                <a:gd name="connsiteY5846" fmla="*/ 790598 h 2052818"/>
                <a:gd name="connsiteX5847" fmla="*/ 1468137 w 2222569"/>
                <a:gd name="connsiteY5847" fmla="*/ 789946 h 2052818"/>
                <a:gd name="connsiteX5848" fmla="*/ 1467811 w 2222569"/>
                <a:gd name="connsiteY5848" fmla="*/ 783593 h 2052818"/>
                <a:gd name="connsiteX5849" fmla="*/ 1466834 w 2222569"/>
                <a:gd name="connsiteY5849" fmla="*/ 781964 h 2052818"/>
                <a:gd name="connsiteX5850" fmla="*/ 1466508 w 2222569"/>
                <a:gd name="connsiteY5850" fmla="*/ 775610 h 2052818"/>
                <a:gd name="connsiteX5851" fmla="*/ 1463739 w 2222569"/>
                <a:gd name="connsiteY5851" fmla="*/ 770560 h 2052818"/>
                <a:gd name="connsiteX5852" fmla="*/ 1463087 w 2222569"/>
                <a:gd name="connsiteY5852" fmla="*/ 765510 h 2052818"/>
                <a:gd name="connsiteX5853" fmla="*/ 1465368 w 2222569"/>
                <a:gd name="connsiteY5853" fmla="*/ 764207 h 2052818"/>
                <a:gd name="connsiteX5854" fmla="*/ 1466997 w 2222569"/>
                <a:gd name="connsiteY5854" fmla="*/ 767954 h 2052818"/>
                <a:gd name="connsiteX5855" fmla="*/ 1469278 w 2222569"/>
                <a:gd name="connsiteY5855" fmla="*/ 765999 h 2052818"/>
                <a:gd name="connsiteX5856" fmla="*/ 1474491 w 2222569"/>
                <a:gd name="connsiteY5856" fmla="*/ 764370 h 2052818"/>
                <a:gd name="connsiteX5857" fmla="*/ 1477423 w 2222569"/>
                <a:gd name="connsiteY5857" fmla="*/ 760623 h 2052818"/>
                <a:gd name="connsiteX5858" fmla="*/ 1476283 w 2222569"/>
                <a:gd name="connsiteY5858" fmla="*/ 757365 h 2052818"/>
                <a:gd name="connsiteX5859" fmla="*/ 1478889 w 2222569"/>
                <a:gd name="connsiteY5859" fmla="*/ 753129 h 2052818"/>
                <a:gd name="connsiteX5860" fmla="*/ 1482799 w 2222569"/>
                <a:gd name="connsiteY5860" fmla="*/ 754269 h 2052818"/>
                <a:gd name="connsiteX5861" fmla="*/ 1485894 w 2222569"/>
                <a:gd name="connsiteY5861" fmla="*/ 760949 h 2052818"/>
                <a:gd name="connsiteX5862" fmla="*/ 1484591 w 2222569"/>
                <a:gd name="connsiteY5862" fmla="*/ 763881 h 2052818"/>
                <a:gd name="connsiteX5863" fmla="*/ 1487035 w 2222569"/>
                <a:gd name="connsiteY5863" fmla="*/ 765673 h 2052818"/>
                <a:gd name="connsiteX5864" fmla="*/ 1490293 w 2222569"/>
                <a:gd name="connsiteY5864" fmla="*/ 761763 h 2052818"/>
                <a:gd name="connsiteX5865" fmla="*/ 1490293 w 2222569"/>
                <a:gd name="connsiteY5865" fmla="*/ 757202 h 2052818"/>
                <a:gd name="connsiteX5866" fmla="*/ 1493714 w 2222569"/>
                <a:gd name="connsiteY5866" fmla="*/ 752966 h 2052818"/>
                <a:gd name="connsiteX5867" fmla="*/ 1496972 w 2222569"/>
                <a:gd name="connsiteY5867" fmla="*/ 752966 h 2052818"/>
                <a:gd name="connsiteX5868" fmla="*/ 1496484 w 2222569"/>
                <a:gd name="connsiteY5868" fmla="*/ 750197 h 2052818"/>
                <a:gd name="connsiteX5869" fmla="*/ 1498438 w 2222569"/>
                <a:gd name="connsiteY5869" fmla="*/ 748568 h 2052818"/>
                <a:gd name="connsiteX5870" fmla="*/ 1503000 w 2222569"/>
                <a:gd name="connsiteY5870" fmla="*/ 747101 h 2052818"/>
                <a:gd name="connsiteX5871" fmla="*/ 1501371 w 2222569"/>
                <a:gd name="connsiteY5871" fmla="*/ 744332 h 2052818"/>
                <a:gd name="connsiteX5872" fmla="*/ 1497787 w 2222569"/>
                <a:gd name="connsiteY5872" fmla="*/ 743843 h 2052818"/>
                <a:gd name="connsiteX5873" fmla="*/ 1489478 w 2222569"/>
                <a:gd name="connsiteY5873" fmla="*/ 749708 h 2052818"/>
                <a:gd name="connsiteX5874" fmla="*/ 1486057 w 2222569"/>
                <a:gd name="connsiteY5874" fmla="*/ 749708 h 2052818"/>
                <a:gd name="connsiteX5875" fmla="*/ 1484591 w 2222569"/>
                <a:gd name="connsiteY5875" fmla="*/ 744495 h 2052818"/>
                <a:gd name="connsiteX5876" fmla="*/ 1481822 w 2222569"/>
                <a:gd name="connsiteY5876" fmla="*/ 741725 h 2052818"/>
                <a:gd name="connsiteX5877" fmla="*/ 1482147 w 2222569"/>
                <a:gd name="connsiteY5877" fmla="*/ 738793 h 2052818"/>
                <a:gd name="connsiteX5878" fmla="*/ 1487523 w 2222569"/>
                <a:gd name="connsiteY5878" fmla="*/ 737001 h 2052818"/>
                <a:gd name="connsiteX5879" fmla="*/ 1484428 w 2222569"/>
                <a:gd name="connsiteY5879" fmla="*/ 732765 h 2052818"/>
                <a:gd name="connsiteX5880" fmla="*/ 1486220 w 2222569"/>
                <a:gd name="connsiteY5880" fmla="*/ 725760 h 2052818"/>
                <a:gd name="connsiteX5881" fmla="*/ 1489967 w 2222569"/>
                <a:gd name="connsiteY5881" fmla="*/ 718918 h 2052818"/>
                <a:gd name="connsiteX5882" fmla="*/ 1490456 w 2222569"/>
                <a:gd name="connsiteY5882" fmla="*/ 715008 h 2052818"/>
                <a:gd name="connsiteX5883" fmla="*/ 1494366 w 2222569"/>
                <a:gd name="connsiteY5883" fmla="*/ 711098 h 2052818"/>
                <a:gd name="connsiteX5884" fmla="*/ 1500393 w 2222569"/>
                <a:gd name="connsiteY5884" fmla="*/ 711587 h 2052818"/>
                <a:gd name="connsiteX5885" fmla="*/ 1504629 w 2222569"/>
                <a:gd name="connsiteY5885" fmla="*/ 716149 h 2052818"/>
                <a:gd name="connsiteX5886" fmla="*/ 1505118 w 2222569"/>
                <a:gd name="connsiteY5886" fmla="*/ 719407 h 2052818"/>
                <a:gd name="connsiteX5887" fmla="*/ 1511960 w 2222569"/>
                <a:gd name="connsiteY5887" fmla="*/ 723154 h 2052818"/>
                <a:gd name="connsiteX5888" fmla="*/ 1515055 w 2222569"/>
                <a:gd name="connsiteY5888" fmla="*/ 727715 h 2052818"/>
                <a:gd name="connsiteX5889" fmla="*/ 1519779 w 2222569"/>
                <a:gd name="connsiteY5889" fmla="*/ 728041 h 2052818"/>
                <a:gd name="connsiteX5890" fmla="*/ 1515870 w 2222569"/>
                <a:gd name="connsiteY5890" fmla="*/ 724946 h 2052818"/>
                <a:gd name="connsiteX5891" fmla="*/ 1514892 w 2222569"/>
                <a:gd name="connsiteY5891" fmla="*/ 721199 h 2052818"/>
                <a:gd name="connsiteX5892" fmla="*/ 1507724 w 2222569"/>
                <a:gd name="connsiteY5892" fmla="*/ 716474 h 2052818"/>
                <a:gd name="connsiteX5893" fmla="*/ 1506421 w 2222569"/>
                <a:gd name="connsiteY5893" fmla="*/ 711261 h 2052818"/>
                <a:gd name="connsiteX5894" fmla="*/ 1505118 w 2222569"/>
                <a:gd name="connsiteY5894" fmla="*/ 708492 h 2052818"/>
                <a:gd name="connsiteX5895" fmla="*/ 1499742 w 2222569"/>
                <a:gd name="connsiteY5895" fmla="*/ 708492 h 2052818"/>
                <a:gd name="connsiteX5896" fmla="*/ 1497461 w 2222569"/>
                <a:gd name="connsiteY5896" fmla="*/ 706048 h 2052818"/>
                <a:gd name="connsiteX5897" fmla="*/ 1499090 w 2222569"/>
                <a:gd name="connsiteY5897" fmla="*/ 705234 h 2052818"/>
                <a:gd name="connsiteX5898" fmla="*/ 1507724 w 2222569"/>
                <a:gd name="connsiteY5898" fmla="*/ 704745 h 2052818"/>
                <a:gd name="connsiteX5899" fmla="*/ 1509190 w 2222569"/>
                <a:gd name="connsiteY5899" fmla="*/ 702301 h 2052818"/>
                <a:gd name="connsiteX5900" fmla="*/ 1511471 w 2222569"/>
                <a:gd name="connsiteY5900" fmla="*/ 702301 h 2052818"/>
                <a:gd name="connsiteX5901" fmla="*/ 1519454 w 2222569"/>
                <a:gd name="connsiteY5901" fmla="*/ 710936 h 2052818"/>
                <a:gd name="connsiteX5902" fmla="*/ 1526296 w 2222569"/>
                <a:gd name="connsiteY5902" fmla="*/ 714845 h 2052818"/>
                <a:gd name="connsiteX5903" fmla="*/ 1528739 w 2222569"/>
                <a:gd name="connsiteY5903" fmla="*/ 714845 h 2052818"/>
                <a:gd name="connsiteX5904" fmla="*/ 1522549 w 2222569"/>
                <a:gd name="connsiteY5904" fmla="*/ 710936 h 2052818"/>
                <a:gd name="connsiteX5905" fmla="*/ 1518150 w 2222569"/>
                <a:gd name="connsiteY5905" fmla="*/ 703605 h 2052818"/>
                <a:gd name="connsiteX5906" fmla="*/ 1512286 w 2222569"/>
                <a:gd name="connsiteY5906" fmla="*/ 699369 h 2052818"/>
                <a:gd name="connsiteX5907" fmla="*/ 1512286 w 2222569"/>
                <a:gd name="connsiteY5907" fmla="*/ 696274 h 2052818"/>
                <a:gd name="connsiteX5908" fmla="*/ 1514078 w 2222569"/>
                <a:gd name="connsiteY5908" fmla="*/ 691712 h 2052818"/>
                <a:gd name="connsiteX5909" fmla="*/ 1521409 w 2222569"/>
                <a:gd name="connsiteY5909" fmla="*/ 690246 h 2052818"/>
                <a:gd name="connsiteX5910" fmla="*/ 1524015 w 2222569"/>
                <a:gd name="connsiteY5910" fmla="*/ 691386 h 2052818"/>
                <a:gd name="connsiteX5911" fmla="*/ 1523363 w 2222569"/>
                <a:gd name="connsiteY5911" fmla="*/ 695785 h 2052818"/>
                <a:gd name="connsiteX5912" fmla="*/ 1524015 w 2222569"/>
                <a:gd name="connsiteY5912" fmla="*/ 699206 h 2052818"/>
                <a:gd name="connsiteX5913" fmla="*/ 1526296 w 2222569"/>
                <a:gd name="connsiteY5913" fmla="*/ 696925 h 2052818"/>
                <a:gd name="connsiteX5914" fmla="*/ 1526296 w 2222569"/>
                <a:gd name="connsiteY5914" fmla="*/ 693341 h 2052818"/>
                <a:gd name="connsiteX5915" fmla="*/ 1529065 w 2222569"/>
                <a:gd name="connsiteY5915" fmla="*/ 689594 h 2052818"/>
                <a:gd name="connsiteX5916" fmla="*/ 1534767 w 2222569"/>
                <a:gd name="connsiteY5916" fmla="*/ 689594 h 2052818"/>
                <a:gd name="connsiteX5917" fmla="*/ 1537536 w 2222569"/>
                <a:gd name="connsiteY5917" fmla="*/ 695133 h 2052818"/>
                <a:gd name="connsiteX5918" fmla="*/ 1539817 w 2222569"/>
                <a:gd name="connsiteY5918" fmla="*/ 696925 h 2052818"/>
                <a:gd name="connsiteX5919" fmla="*/ 1541609 w 2222569"/>
                <a:gd name="connsiteY5919" fmla="*/ 703442 h 2052818"/>
                <a:gd name="connsiteX5920" fmla="*/ 1544053 w 2222569"/>
                <a:gd name="connsiteY5920" fmla="*/ 700672 h 2052818"/>
                <a:gd name="connsiteX5921" fmla="*/ 1544053 w 2222569"/>
                <a:gd name="connsiteY5921" fmla="*/ 696762 h 2052818"/>
                <a:gd name="connsiteX5922" fmla="*/ 1539328 w 2222569"/>
                <a:gd name="connsiteY5922" fmla="*/ 691061 h 2052818"/>
                <a:gd name="connsiteX5923" fmla="*/ 1540795 w 2222569"/>
                <a:gd name="connsiteY5923" fmla="*/ 688128 h 2052818"/>
                <a:gd name="connsiteX5924" fmla="*/ 1553502 w 2222569"/>
                <a:gd name="connsiteY5924" fmla="*/ 685196 h 2052818"/>
                <a:gd name="connsiteX5925" fmla="*/ 1560833 w 2222569"/>
                <a:gd name="connsiteY5925" fmla="*/ 681938 h 2052818"/>
                <a:gd name="connsiteX5926" fmla="*/ 1567023 w 2222569"/>
                <a:gd name="connsiteY5926" fmla="*/ 681449 h 2052818"/>
                <a:gd name="connsiteX5927" fmla="*/ 1572725 w 2222569"/>
                <a:gd name="connsiteY5927" fmla="*/ 677376 h 2052818"/>
                <a:gd name="connsiteX5928" fmla="*/ 1580056 w 2222569"/>
                <a:gd name="connsiteY5928" fmla="*/ 679983 h 2052818"/>
                <a:gd name="connsiteX5929" fmla="*/ 1588201 w 2222569"/>
                <a:gd name="connsiteY5929" fmla="*/ 680309 h 2052818"/>
                <a:gd name="connsiteX5930" fmla="*/ 1596021 w 2222569"/>
                <a:gd name="connsiteY5930" fmla="*/ 682101 h 2052818"/>
                <a:gd name="connsiteX5931" fmla="*/ 1596673 w 2222569"/>
                <a:gd name="connsiteY5931" fmla="*/ 685196 h 2052818"/>
                <a:gd name="connsiteX5932" fmla="*/ 1595206 w 2222569"/>
                <a:gd name="connsiteY5932" fmla="*/ 687151 h 2052818"/>
                <a:gd name="connsiteX5933" fmla="*/ 1594229 w 2222569"/>
                <a:gd name="connsiteY5933" fmla="*/ 698392 h 2052818"/>
                <a:gd name="connsiteX5934" fmla="*/ 1593089 w 2222569"/>
                <a:gd name="connsiteY5934" fmla="*/ 701324 h 2052818"/>
                <a:gd name="connsiteX5935" fmla="*/ 1589830 w 2222569"/>
                <a:gd name="connsiteY5935" fmla="*/ 705071 h 2052818"/>
                <a:gd name="connsiteX5936" fmla="*/ 1586409 w 2222569"/>
                <a:gd name="connsiteY5936" fmla="*/ 711424 h 2052818"/>
                <a:gd name="connsiteX5937" fmla="*/ 1587550 w 2222569"/>
                <a:gd name="connsiteY5937" fmla="*/ 714031 h 2052818"/>
                <a:gd name="connsiteX5938" fmla="*/ 1592111 w 2222569"/>
                <a:gd name="connsiteY5938" fmla="*/ 716149 h 2052818"/>
                <a:gd name="connsiteX5939" fmla="*/ 1594066 w 2222569"/>
                <a:gd name="connsiteY5939" fmla="*/ 720221 h 2052818"/>
                <a:gd name="connsiteX5940" fmla="*/ 1593089 w 2222569"/>
                <a:gd name="connsiteY5940" fmla="*/ 722828 h 2052818"/>
                <a:gd name="connsiteX5941" fmla="*/ 1586084 w 2222569"/>
                <a:gd name="connsiteY5941" fmla="*/ 730648 h 2052818"/>
                <a:gd name="connsiteX5942" fmla="*/ 1584780 w 2222569"/>
                <a:gd name="connsiteY5942" fmla="*/ 733743 h 2052818"/>
                <a:gd name="connsiteX5943" fmla="*/ 1584292 w 2222569"/>
                <a:gd name="connsiteY5943" fmla="*/ 738793 h 2052818"/>
                <a:gd name="connsiteX5944" fmla="*/ 1588364 w 2222569"/>
                <a:gd name="connsiteY5944" fmla="*/ 742540 h 2052818"/>
                <a:gd name="connsiteX5945" fmla="*/ 1588364 w 2222569"/>
                <a:gd name="connsiteY5945" fmla="*/ 744984 h 2052818"/>
                <a:gd name="connsiteX5946" fmla="*/ 1584943 w 2222569"/>
                <a:gd name="connsiteY5946" fmla="*/ 750360 h 2052818"/>
                <a:gd name="connsiteX5947" fmla="*/ 1581033 w 2222569"/>
                <a:gd name="connsiteY5947" fmla="*/ 750685 h 2052818"/>
                <a:gd name="connsiteX5948" fmla="*/ 1577612 w 2222569"/>
                <a:gd name="connsiteY5948" fmla="*/ 754758 h 2052818"/>
                <a:gd name="connsiteX5949" fmla="*/ 1573214 w 2222569"/>
                <a:gd name="connsiteY5949" fmla="*/ 756061 h 2052818"/>
                <a:gd name="connsiteX5950" fmla="*/ 1569793 w 2222569"/>
                <a:gd name="connsiteY5950" fmla="*/ 759320 h 2052818"/>
                <a:gd name="connsiteX5951" fmla="*/ 1566697 w 2222569"/>
                <a:gd name="connsiteY5951" fmla="*/ 763718 h 2052818"/>
                <a:gd name="connsiteX5952" fmla="*/ 1563439 w 2222569"/>
                <a:gd name="connsiteY5952" fmla="*/ 767628 h 2052818"/>
                <a:gd name="connsiteX5953" fmla="*/ 1566860 w 2222569"/>
                <a:gd name="connsiteY5953" fmla="*/ 767302 h 2052818"/>
                <a:gd name="connsiteX5954" fmla="*/ 1572236 w 2222569"/>
                <a:gd name="connsiteY5954" fmla="*/ 761926 h 2052818"/>
                <a:gd name="connsiteX5955" fmla="*/ 1578753 w 2222569"/>
                <a:gd name="connsiteY5955" fmla="*/ 756876 h 2052818"/>
                <a:gd name="connsiteX5956" fmla="*/ 1581359 w 2222569"/>
                <a:gd name="connsiteY5956" fmla="*/ 756876 h 2052818"/>
                <a:gd name="connsiteX5957" fmla="*/ 1583640 w 2222569"/>
                <a:gd name="connsiteY5957" fmla="*/ 756713 h 2052818"/>
                <a:gd name="connsiteX5958" fmla="*/ 1580382 w 2222569"/>
                <a:gd name="connsiteY5958" fmla="*/ 760460 h 2052818"/>
                <a:gd name="connsiteX5959" fmla="*/ 1579241 w 2222569"/>
                <a:gd name="connsiteY5959" fmla="*/ 764207 h 2052818"/>
                <a:gd name="connsiteX5960" fmla="*/ 1572073 w 2222569"/>
                <a:gd name="connsiteY5960" fmla="*/ 770886 h 2052818"/>
                <a:gd name="connsiteX5961" fmla="*/ 1567349 w 2222569"/>
                <a:gd name="connsiteY5961" fmla="*/ 773330 h 2052818"/>
                <a:gd name="connsiteX5962" fmla="*/ 1567023 w 2222569"/>
                <a:gd name="connsiteY5962" fmla="*/ 775122 h 2052818"/>
                <a:gd name="connsiteX5963" fmla="*/ 1567349 w 2222569"/>
                <a:gd name="connsiteY5963" fmla="*/ 777565 h 2052818"/>
                <a:gd name="connsiteX5964" fmla="*/ 1566535 w 2222569"/>
                <a:gd name="connsiteY5964" fmla="*/ 780172 h 2052818"/>
                <a:gd name="connsiteX5965" fmla="*/ 1563928 w 2222569"/>
                <a:gd name="connsiteY5965" fmla="*/ 778706 h 2052818"/>
                <a:gd name="connsiteX5966" fmla="*/ 1560670 w 2222569"/>
                <a:gd name="connsiteY5966" fmla="*/ 779032 h 2052818"/>
                <a:gd name="connsiteX5967" fmla="*/ 1560670 w 2222569"/>
                <a:gd name="connsiteY5967" fmla="*/ 781801 h 2052818"/>
                <a:gd name="connsiteX5968" fmla="*/ 1563113 w 2222569"/>
                <a:gd name="connsiteY5968" fmla="*/ 781964 h 2052818"/>
                <a:gd name="connsiteX5969" fmla="*/ 1565068 w 2222569"/>
                <a:gd name="connsiteY5969" fmla="*/ 784245 h 2052818"/>
                <a:gd name="connsiteX5970" fmla="*/ 1564743 w 2222569"/>
                <a:gd name="connsiteY5970" fmla="*/ 788154 h 2052818"/>
                <a:gd name="connsiteX5971" fmla="*/ 1560833 w 2222569"/>
                <a:gd name="connsiteY5971" fmla="*/ 791087 h 2052818"/>
                <a:gd name="connsiteX5972" fmla="*/ 1564905 w 2222569"/>
                <a:gd name="connsiteY5972" fmla="*/ 791087 h 2052818"/>
                <a:gd name="connsiteX5973" fmla="*/ 1567023 w 2222569"/>
                <a:gd name="connsiteY5973" fmla="*/ 788154 h 2052818"/>
                <a:gd name="connsiteX5974" fmla="*/ 1570607 w 2222569"/>
                <a:gd name="connsiteY5974" fmla="*/ 786688 h 2052818"/>
                <a:gd name="connsiteX5975" fmla="*/ 1573865 w 2222569"/>
                <a:gd name="connsiteY5975" fmla="*/ 782127 h 2052818"/>
                <a:gd name="connsiteX5976" fmla="*/ 1573865 w 2222569"/>
                <a:gd name="connsiteY5976" fmla="*/ 778543 h 2052818"/>
                <a:gd name="connsiteX5977" fmla="*/ 1578590 w 2222569"/>
                <a:gd name="connsiteY5977" fmla="*/ 776914 h 2052818"/>
                <a:gd name="connsiteX5978" fmla="*/ 1580382 w 2222569"/>
                <a:gd name="connsiteY5978" fmla="*/ 772678 h 2052818"/>
                <a:gd name="connsiteX5979" fmla="*/ 1581848 w 2222569"/>
                <a:gd name="connsiteY5979" fmla="*/ 773981 h 2052818"/>
                <a:gd name="connsiteX5980" fmla="*/ 1581848 w 2222569"/>
                <a:gd name="connsiteY5980" fmla="*/ 780498 h 2052818"/>
                <a:gd name="connsiteX5981" fmla="*/ 1584780 w 2222569"/>
                <a:gd name="connsiteY5981" fmla="*/ 782290 h 2052818"/>
                <a:gd name="connsiteX5982" fmla="*/ 1584780 w 2222569"/>
                <a:gd name="connsiteY5982" fmla="*/ 776588 h 2052818"/>
                <a:gd name="connsiteX5983" fmla="*/ 1583477 w 2222569"/>
                <a:gd name="connsiteY5983" fmla="*/ 771375 h 2052818"/>
                <a:gd name="connsiteX5984" fmla="*/ 1584454 w 2222569"/>
                <a:gd name="connsiteY5984" fmla="*/ 767628 h 2052818"/>
                <a:gd name="connsiteX5985" fmla="*/ 1586735 w 2222569"/>
                <a:gd name="connsiteY5985" fmla="*/ 765999 h 2052818"/>
                <a:gd name="connsiteX5986" fmla="*/ 1591460 w 2222569"/>
                <a:gd name="connsiteY5986" fmla="*/ 767139 h 2052818"/>
                <a:gd name="connsiteX5987" fmla="*/ 1590808 w 2222569"/>
                <a:gd name="connsiteY5987" fmla="*/ 772841 h 2052818"/>
                <a:gd name="connsiteX5988" fmla="*/ 1592437 w 2222569"/>
                <a:gd name="connsiteY5988" fmla="*/ 775610 h 2052818"/>
                <a:gd name="connsiteX5989" fmla="*/ 1595044 w 2222569"/>
                <a:gd name="connsiteY5989" fmla="*/ 773004 h 2052818"/>
                <a:gd name="connsiteX5990" fmla="*/ 1600419 w 2222569"/>
                <a:gd name="connsiteY5990" fmla="*/ 767465 h 2052818"/>
                <a:gd name="connsiteX5991" fmla="*/ 1601886 w 2222569"/>
                <a:gd name="connsiteY5991" fmla="*/ 771864 h 2052818"/>
                <a:gd name="connsiteX5992" fmla="*/ 1605144 w 2222569"/>
                <a:gd name="connsiteY5992" fmla="*/ 775610 h 2052818"/>
                <a:gd name="connsiteX5993" fmla="*/ 1603678 w 2222569"/>
                <a:gd name="connsiteY5993" fmla="*/ 779846 h 2052818"/>
                <a:gd name="connsiteX5994" fmla="*/ 1597487 w 2222569"/>
                <a:gd name="connsiteY5994" fmla="*/ 788480 h 2052818"/>
                <a:gd name="connsiteX5995" fmla="*/ 1592437 w 2222569"/>
                <a:gd name="connsiteY5995" fmla="*/ 792390 h 2052818"/>
                <a:gd name="connsiteX5996" fmla="*/ 1589993 w 2222569"/>
                <a:gd name="connsiteY5996" fmla="*/ 795811 h 2052818"/>
                <a:gd name="connsiteX5997" fmla="*/ 1594718 w 2222569"/>
                <a:gd name="connsiteY5997" fmla="*/ 796952 h 2052818"/>
                <a:gd name="connsiteX5998" fmla="*/ 1599116 w 2222569"/>
                <a:gd name="connsiteY5998" fmla="*/ 799232 h 2052818"/>
                <a:gd name="connsiteX5999" fmla="*/ 1602374 w 2222569"/>
                <a:gd name="connsiteY5999" fmla="*/ 796952 h 2052818"/>
                <a:gd name="connsiteX6000" fmla="*/ 1599605 w 2222569"/>
                <a:gd name="connsiteY6000" fmla="*/ 793693 h 2052818"/>
                <a:gd name="connsiteX6001" fmla="*/ 1601886 w 2222569"/>
                <a:gd name="connsiteY6001" fmla="*/ 788643 h 2052818"/>
                <a:gd name="connsiteX6002" fmla="*/ 1605959 w 2222569"/>
                <a:gd name="connsiteY6002" fmla="*/ 783919 h 2052818"/>
                <a:gd name="connsiteX6003" fmla="*/ 1609379 w 2222569"/>
                <a:gd name="connsiteY6003" fmla="*/ 790435 h 2052818"/>
                <a:gd name="connsiteX6004" fmla="*/ 1609379 w 2222569"/>
                <a:gd name="connsiteY6004" fmla="*/ 794997 h 2052818"/>
                <a:gd name="connsiteX6005" fmla="*/ 1610846 w 2222569"/>
                <a:gd name="connsiteY6005" fmla="*/ 791738 h 2052818"/>
                <a:gd name="connsiteX6006" fmla="*/ 1610031 w 2222569"/>
                <a:gd name="connsiteY6006" fmla="*/ 785548 h 2052818"/>
                <a:gd name="connsiteX6007" fmla="*/ 1607425 w 2222569"/>
                <a:gd name="connsiteY6007" fmla="*/ 780824 h 2052818"/>
                <a:gd name="connsiteX6008" fmla="*/ 1607425 w 2222569"/>
                <a:gd name="connsiteY6008" fmla="*/ 771375 h 2052818"/>
                <a:gd name="connsiteX6009" fmla="*/ 1609217 w 2222569"/>
                <a:gd name="connsiteY6009" fmla="*/ 770234 h 2052818"/>
                <a:gd name="connsiteX6010" fmla="*/ 1614593 w 2222569"/>
                <a:gd name="connsiteY6010" fmla="*/ 772678 h 2052818"/>
                <a:gd name="connsiteX6011" fmla="*/ 1613452 w 2222569"/>
                <a:gd name="connsiteY6011" fmla="*/ 777402 h 2052818"/>
                <a:gd name="connsiteX6012" fmla="*/ 1611823 w 2222569"/>
                <a:gd name="connsiteY6012" fmla="*/ 781312 h 2052818"/>
                <a:gd name="connsiteX6013" fmla="*/ 1614593 w 2222569"/>
                <a:gd name="connsiteY6013" fmla="*/ 780009 h 2052818"/>
                <a:gd name="connsiteX6014" fmla="*/ 1618665 w 2222569"/>
                <a:gd name="connsiteY6014" fmla="*/ 779194 h 2052818"/>
                <a:gd name="connsiteX6015" fmla="*/ 1626974 w 2222569"/>
                <a:gd name="connsiteY6015" fmla="*/ 787177 h 2052818"/>
                <a:gd name="connsiteX6016" fmla="*/ 1626974 w 2222569"/>
                <a:gd name="connsiteY6016" fmla="*/ 790435 h 2052818"/>
                <a:gd name="connsiteX6017" fmla="*/ 1632676 w 2222569"/>
                <a:gd name="connsiteY6017" fmla="*/ 790435 h 2052818"/>
                <a:gd name="connsiteX6018" fmla="*/ 1636422 w 2222569"/>
                <a:gd name="connsiteY6018" fmla="*/ 792716 h 2052818"/>
                <a:gd name="connsiteX6019" fmla="*/ 1638866 w 2222569"/>
                <a:gd name="connsiteY6019" fmla="*/ 792716 h 2052818"/>
                <a:gd name="connsiteX6020" fmla="*/ 1636422 w 2222569"/>
                <a:gd name="connsiteY6020" fmla="*/ 787503 h 2052818"/>
                <a:gd name="connsiteX6021" fmla="*/ 1633001 w 2222569"/>
                <a:gd name="connsiteY6021" fmla="*/ 786688 h 2052818"/>
                <a:gd name="connsiteX6022" fmla="*/ 1631535 w 2222569"/>
                <a:gd name="connsiteY6022" fmla="*/ 784245 h 2052818"/>
                <a:gd name="connsiteX6023" fmla="*/ 1622249 w 2222569"/>
                <a:gd name="connsiteY6023" fmla="*/ 776099 h 2052818"/>
                <a:gd name="connsiteX6024" fmla="*/ 1618828 w 2222569"/>
                <a:gd name="connsiteY6024" fmla="*/ 774959 h 2052818"/>
                <a:gd name="connsiteX6025" fmla="*/ 1617199 w 2222569"/>
                <a:gd name="connsiteY6025" fmla="*/ 772515 h 2052818"/>
                <a:gd name="connsiteX6026" fmla="*/ 1622412 w 2222569"/>
                <a:gd name="connsiteY6026" fmla="*/ 764858 h 2052818"/>
                <a:gd name="connsiteX6027" fmla="*/ 1628114 w 2222569"/>
                <a:gd name="connsiteY6027" fmla="*/ 764858 h 2052818"/>
                <a:gd name="connsiteX6028" fmla="*/ 1632838 w 2222569"/>
                <a:gd name="connsiteY6028" fmla="*/ 760297 h 2052818"/>
                <a:gd name="connsiteX6029" fmla="*/ 1640332 w 2222569"/>
                <a:gd name="connsiteY6029" fmla="*/ 758994 h 2052818"/>
                <a:gd name="connsiteX6030" fmla="*/ 1646523 w 2222569"/>
                <a:gd name="connsiteY6030" fmla="*/ 759482 h 2052818"/>
                <a:gd name="connsiteX6031" fmla="*/ 1648803 w 2222569"/>
                <a:gd name="connsiteY6031" fmla="*/ 761926 h 2052818"/>
                <a:gd name="connsiteX6032" fmla="*/ 1651247 w 2222569"/>
                <a:gd name="connsiteY6032" fmla="*/ 761600 h 2052818"/>
                <a:gd name="connsiteX6033" fmla="*/ 1658252 w 2222569"/>
                <a:gd name="connsiteY6033" fmla="*/ 764858 h 2052818"/>
                <a:gd name="connsiteX6034" fmla="*/ 1658578 w 2222569"/>
                <a:gd name="connsiteY6034" fmla="*/ 767954 h 2052818"/>
                <a:gd name="connsiteX6035" fmla="*/ 1662651 w 2222569"/>
                <a:gd name="connsiteY6035" fmla="*/ 771375 h 2052818"/>
                <a:gd name="connsiteX6036" fmla="*/ 1665746 w 2222569"/>
                <a:gd name="connsiteY6036" fmla="*/ 772678 h 2052818"/>
                <a:gd name="connsiteX6037" fmla="*/ 1666235 w 2222569"/>
                <a:gd name="connsiteY6037" fmla="*/ 776751 h 2052818"/>
                <a:gd name="connsiteX6038" fmla="*/ 1668841 w 2222569"/>
                <a:gd name="connsiteY6038" fmla="*/ 776751 h 2052818"/>
                <a:gd name="connsiteX6039" fmla="*/ 1669982 w 2222569"/>
                <a:gd name="connsiteY6039" fmla="*/ 774470 h 2052818"/>
                <a:gd name="connsiteX6040" fmla="*/ 1674054 w 2222569"/>
                <a:gd name="connsiteY6040" fmla="*/ 775285 h 2052818"/>
                <a:gd name="connsiteX6041" fmla="*/ 1675846 w 2222569"/>
                <a:gd name="connsiteY6041" fmla="*/ 779357 h 2052818"/>
                <a:gd name="connsiteX6042" fmla="*/ 1681385 w 2222569"/>
                <a:gd name="connsiteY6042" fmla="*/ 781964 h 2052818"/>
                <a:gd name="connsiteX6043" fmla="*/ 1681385 w 2222569"/>
                <a:gd name="connsiteY6043" fmla="*/ 785222 h 2052818"/>
                <a:gd name="connsiteX6044" fmla="*/ 1681222 w 2222569"/>
                <a:gd name="connsiteY6044" fmla="*/ 788643 h 2052818"/>
                <a:gd name="connsiteX6045" fmla="*/ 1682526 w 2222569"/>
                <a:gd name="connsiteY6045" fmla="*/ 791250 h 2052818"/>
                <a:gd name="connsiteX6046" fmla="*/ 1683014 w 2222569"/>
                <a:gd name="connsiteY6046" fmla="*/ 794508 h 2052818"/>
                <a:gd name="connsiteX6047" fmla="*/ 1678616 w 2222569"/>
                <a:gd name="connsiteY6047" fmla="*/ 799721 h 2052818"/>
                <a:gd name="connsiteX6048" fmla="*/ 1674543 w 2222569"/>
                <a:gd name="connsiteY6048" fmla="*/ 799069 h 2052818"/>
                <a:gd name="connsiteX6049" fmla="*/ 1669982 w 2222569"/>
                <a:gd name="connsiteY6049" fmla="*/ 797766 h 2052818"/>
                <a:gd name="connsiteX6050" fmla="*/ 1662814 w 2222569"/>
                <a:gd name="connsiteY6050" fmla="*/ 799721 h 2052818"/>
                <a:gd name="connsiteX6051" fmla="*/ 1655157 w 2222569"/>
                <a:gd name="connsiteY6051" fmla="*/ 806889 h 2052818"/>
                <a:gd name="connsiteX6052" fmla="*/ 1663791 w 2222569"/>
                <a:gd name="connsiteY6052" fmla="*/ 801350 h 2052818"/>
                <a:gd name="connsiteX6053" fmla="*/ 1672100 w 2222569"/>
                <a:gd name="connsiteY6053" fmla="*/ 800861 h 2052818"/>
                <a:gd name="connsiteX6054" fmla="*/ 1673729 w 2222569"/>
                <a:gd name="connsiteY6054" fmla="*/ 803468 h 2052818"/>
                <a:gd name="connsiteX6055" fmla="*/ 1670308 w 2222569"/>
                <a:gd name="connsiteY6055" fmla="*/ 806889 h 2052818"/>
                <a:gd name="connsiteX6056" fmla="*/ 1664769 w 2222569"/>
                <a:gd name="connsiteY6056" fmla="*/ 810310 h 2052818"/>
                <a:gd name="connsiteX6057" fmla="*/ 1659067 w 2222569"/>
                <a:gd name="connsiteY6057" fmla="*/ 818618 h 2052818"/>
                <a:gd name="connsiteX6058" fmla="*/ 1654994 w 2222569"/>
                <a:gd name="connsiteY6058" fmla="*/ 821714 h 2052818"/>
                <a:gd name="connsiteX6059" fmla="*/ 1652225 w 2222569"/>
                <a:gd name="connsiteY6059" fmla="*/ 822040 h 2052818"/>
                <a:gd name="connsiteX6060" fmla="*/ 1651410 w 2222569"/>
                <a:gd name="connsiteY6060" fmla="*/ 825949 h 2052818"/>
                <a:gd name="connsiteX6061" fmla="*/ 1654017 w 2222569"/>
                <a:gd name="connsiteY6061" fmla="*/ 826275 h 2052818"/>
                <a:gd name="connsiteX6062" fmla="*/ 1663302 w 2222569"/>
                <a:gd name="connsiteY6062" fmla="*/ 816826 h 2052818"/>
                <a:gd name="connsiteX6063" fmla="*/ 1667212 w 2222569"/>
                <a:gd name="connsiteY6063" fmla="*/ 810799 h 2052818"/>
                <a:gd name="connsiteX6064" fmla="*/ 1673892 w 2222569"/>
                <a:gd name="connsiteY6064" fmla="*/ 808355 h 2052818"/>
                <a:gd name="connsiteX6065" fmla="*/ 1679268 w 2222569"/>
                <a:gd name="connsiteY6065" fmla="*/ 803142 h 2052818"/>
                <a:gd name="connsiteX6066" fmla="*/ 1684481 w 2222569"/>
                <a:gd name="connsiteY6066" fmla="*/ 804771 h 2052818"/>
                <a:gd name="connsiteX6067" fmla="*/ 1686761 w 2222569"/>
                <a:gd name="connsiteY6067" fmla="*/ 807052 h 2052818"/>
                <a:gd name="connsiteX6068" fmla="*/ 1690345 w 2222569"/>
                <a:gd name="connsiteY6068" fmla="*/ 807378 h 2052818"/>
                <a:gd name="connsiteX6069" fmla="*/ 1690345 w 2222569"/>
                <a:gd name="connsiteY6069" fmla="*/ 811125 h 2052818"/>
                <a:gd name="connsiteX6070" fmla="*/ 1688390 w 2222569"/>
                <a:gd name="connsiteY6070" fmla="*/ 815034 h 2052818"/>
                <a:gd name="connsiteX6071" fmla="*/ 1688716 w 2222569"/>
                <a:gd name="connsiteY6071" fmla="*/ 818944 h 2052818"/>
                <a:gd name="connsiteX6072" fmla="*/ 1683177 w 2222569"/>
                <a:gd name="connsiteY6072" fmla="*/ 820736 h 2052818"/>
                <a:gd name="connsiteX6073" fmla="*/ 1680571 w 2222569"/>
                <a:gd name="connsiteY6073" fmla="*/ 825949 h 2052818"/>
                <a:gd name="connsiteX6074" fmla="*/ 1675195 w 2222569"/>
                <a:gd name="connsiteY6074" fmla="*/ 826275 h 2052818"/>
                <a:gd name="connsiteX6075" fmla="*/ 1672751 w 2222569"/>
                <a:gd name="connsiteY6075" fmla="*/ 824483 h 2052818"/>
                <a:gd name="connsiteX6076" fmla="*/ 1668190 w 2222569"/>
                <a:gd name="connsiteY6076" fmla="*/ 824483 h 2052818"/>
                <a:gd name="connsiteX6077" fmla="*/ 1665583 w 2222569"/>
                <a:gd name="connsiteY6077" fmla="*/ 827741 h 2052818"/>
                <a:gd name="connsiteX6078" fmla="*/ 1670796 w 2222569"/>
                <a:gd name="connsiteY6078" fmla="*/ 827741 h 2052818"/>
                <a:gd name="connsiteX6079" fmla="*/ 1671937 w 2222569"/>
                <a:gd name="connsiteY6079" fmla="*/ 830511 h 2052818"/>
                <a:gd name="connsiteX6080" fmla="*/ 1663140 w 2222569"/>
                <a:gd name="connsiteY6080" fmla="*/ 835235 h 2052818"/>
                <a:gd name="connsiteX6081" fmla="*/ 1666398 w 2222569"/>
                <a:gd name="connsiteY6081" fmla="*/ 836050 h 2052818"/>
                <a:gd name="connsiteX6082" fmla="*/ 1669330 w 2222569"/>
                <a:gd name="connsiteY6082" fmla="*/ 833117 h 2052818"/>
                <a:gd name="connsiteX6083" fmla="*/ 1674869 w 2222569"/>
                <a:gd name="connsiteY6083" fmla="*/ 831488 h 2052818"/>
                <a:gd name="connsiteX6084" fmla="*/ 1677801 w 2222569"/>
                <a:gd name="connsiteY6084" fmla="*/ 829859 h 2052818"/>
                <a:gd name="connsiteX6085" fmla="*/ 1678616 w 2222569"/>
                <a:gd name="connsiteY6085" fmla="*/ 832303 h 2052818"/>
                <a:gd name="connsiteX6086" fmla="*/ 1676661 w 2222569"/>
                <a:gd name="connsiteY6086" fmla="*/ 835072 h 2052818"/>
                <a:gd name="connsiteX6087" fmla="*/ 1671285 w 2222569"/>
                <a:gd name="connsiteY6087" fmla="*/ 836213 h 2052818"/>
                <a:gd name="connsiteX6088" fmla="*/ 1666561 w 2222569"/>
                <a:gd name="connsiteY6088" fmla="*/ 840122 h 2052818"/>
                <a:gd name="connsiteX6089" fmla="*/ 1670308 w 2222569"/>
                <a:gd name="connsiteY6089" fmla="*/ 839634 h 2052818"/>
                <a:gd name="connsiteX6090" fmla="*/ 1671774 w 2222569"/>
                <a:gd name="connsiteY6090" fmla="*/ 840774 h 2052818"/>
                <a:gd name="connsiteX6091" fmla="*/ 1669004 w 2222569"/>
                <a:gd name="connsiteY6091" fmla="*/ 845173 h 2052818"/>
                <a:gd name="connsiteX6092" fmla="*/ 1663628 w 2222569"/>
                <a:gd name="connsiteY6092" fmla="*/ 849734 h 2052818"/>
                <a:gd name="connsiteX6093" fmla="*/ 1659881 w 2222569"/>
                <a:gd name="connsiteY6093" fmla="*/ 852829 h 2052818"/>
                <a:gd name="connsiteX6094" fmla="*/ 1663140 w 2222569"/>
                <a:gd name="connsiteY6094" fmla="*/ 853318 h 2052818"/>
                <a:gd name="connsiteX6095" fmla="*/ 1669004 w 2222569"/>
                <a:gd name="connsiteY6095" fmla="*/ 849408 h 2052818"/>
                <a:gd name="connsiteX6096" fmla="*/ 1673077 w 2222569"/>
                <a:gd name="connsiteY6096" fmla="*/ 841426 h 2052818"/>
                <a:gd name="connsiteX6097" fmla="*/ 1676335 w 2222569"/>
                <a:gd name="connsiteY6097" fmla="*/ 837353 h 2052818"/>
                <a:gd name="connsiteX6098" fmla="*/ 1684155 w 2222569"/>
                <a:gd name="connsiteY6098" fmla="*/ 831651 h 2052818"/>
                <a:gd name="connsiteX6099" fmla="*/ 1685458 w 2222569"/>
                <a:gd name="connsiteY6099" fmla="*/ 833443 h 2052818"/>
                <a:gd name="connsiteX6100" fmla="*/ 1685458 w 2222569"/>
                <a:gd name="connsiteY6100" fmla="*/ 836050 h 2052818"/>
                <a:gd name="connsiteX6101" fmla="*/ 1689694 w 2222569"/>
                <a:gd name="connsiteY6101" fmla="*/ 834095 h 2052818"/>
                <a:gd name="connsiteX6102" fmla="*/ 1690508 w 2222569"/>
                <a:gd name="connsiteY6102" fmla="*/ 830674 h 2052818"/>
                <a:gd name="connsiteX6103" fmla="*/ 1696699 w 2222569"/>
                <a:gd name="connsiteY6103" fmla="*/ 826601 h 2052818"/>
                <a:gd name="connsiteX6104" fmla="*/ 1699957 w 2222569"/>
                <a:gd name="connsiteY6104" fmla="*/ 826927 h 2052818"/>
                <a:gd name="connsiteX6105" fmla="*/ 1699631 w 2222569"/>
                <a:gd name="connsiteY6105" fmla="*/ 830022 h 2052818"/>
                <a:gd name="connsiteX6106" fmla="*/ 1691811 w 2222569"/>
                <a:gd name="connsiteY6106" fmla="*/ 836701 h 2052818"/>
                <a:gd name="connsiteX6107" fmla="*/ 1683177 w 2222569"/>
                <a:gd name="connsiteY6107" fmla="*/ 842403 h 2052818"/>
                <a:gd name="connsiteX6108" fmla="*/ 1679756 w 2222569"/>
                <a:gd name="connsiteY6108" fmla="*/ 843381 h 2052818"/>
                <a:gd name="connsiteX6109" fmla="*/ 1679756 w 2222569"/>
                <a:gd name="connsiteY6109" fmla="*/ 845824 h 2052818"/>
                <a:gd name="connsiteX6110" fmla="*/ 1682037 w 2222569"/>
                <a:gd name="connsiteY6110" fmla="*/ 846965 h 2052818"/>
                <a:gd name="connsiteX6111" fmla="*/ 1679430 w 2222569"/>
                <a:gd name="connsiteY6111" fmla="*/ 851363 h 2052818"/>
                <a:gd name="connsiteX6112" fmla="*/ 1678453 w 2222569"/>
                <a:gd name="connsiteY6112" fmla="*/ 855925 h 2052818"/>
                <a:gd name="connsiteX6113" fmla="*/ 1680082 w 2222569"/>
                <a:gd name="connsiteY6113" fmla="*/ 856576 h 2052818"/>
                <a:gd name="connsiteX6114" fmla="*/ 1683014 w 2222569"/>
                <a:gd name="connsiteY6114" fmla="*/ 852341 h 2052818"/>
                <a:gd name="connsiteX6115" fmla="*/ 1683992 w 2222569"/>
                <a:gd name="connsiteY6115" fmla="*/ 847942 h 2052818"/>
                <a:gd name="connsiteX6116" fmla="*/ 1690834 w 2222569"/>
                <a:gd name="connsiteY6116" fmla="*/ 842077 h 2052818"/>
                <a:gd name="connsiteX6117" fmla="*/ 1696210 w 2222569"/>
                <a:gd name="connsiteY6117" fmla="*/ 838656 h 2052818"/>
                <a:gd name="connsiteX6118" fmla="*/ 1696210 w 2222569"/>
                <a:gd name="connsiteY6118" fmla="*/ 841914 h 2052818"/>
                <a:gd name="connsiteX6119" fmla="*/ 1696699 w 2222569"/>
                <a:gd name="connsiteY6119" fmla="*/ 844847 h 2052818"/>
                <a:gd name="connsiteX6120" fmla="*/ 1694255 w 2222569"/>
                <a:gd name="connsiteY6120" fmla="*/ 848105 h 2052818"/>
                <a:gd name="connsiteX6121" fmla="*/ 1688065 w 2222569"/>
                <a:gd name="connsiteY6121" fmla="*/ 853970 h 2052818"/>
                <a:gd name="connsiteX6122" fmla="*/ 1687250 w 2222569"/>
                <a:gd name="connsiteY6122" fmla="*/ 857065 h 2052818"/>
                <a:gd name="connsiteX6123" fmla="*/ 1683340 w 2222569"/>
                <a:gd name="connsiteY6123" fmla="*/ 863907 h 2052818"/>
                <a:gd name="connsiteX6124" fmla="*/ 1680734 w 2222569"/>
                <a:gd name="connsiteY6124" fmla="*/ 866188 h 2052818"/>
                <a:gd name="connsiteX6125" fmla="*/ 1681060 w 2222569"/>
                <a:gd name="connsiteY6125" fmla="*/ 867491 h 2052818"/>
                <a:gd name="connsiteX6126" fmla="*/ 1685621 w 2222569"/>
                <a:gd name="connsiteY6126" fmla="*/ 866188 h 2052818"/>
                <a:gd name="connsiteX6127" fmla="*/ 1687576 w 2222569"/>
                <a:gd name="connsiteY6127" fmla="*/ 862441 h 2052818"/>
                <a:gd name="connsiteX6128" fmla="*/ 1693929 w 2222569"/>
                <a:gd name="connsiteY6128" fmla="*/ 853970 h 2052818"/>
                <a:gd name="connsiteX6129" fmla="*/ 1697839 w 2222569"/>
                <a:gd name="connsiteY6129" fmla="*/ 852178 h 2052818"/>
                <a:gd name="connsiteX6130" fmla="*/ 1699794 w 2222569"/>
                <a:gd name="connsiteY6130" fmla="*/ 855436 h 2052818"/>
                <a:gd name="connsiteX6131" fmla="*/ 1701097 w 2222569"/>
                <a:gd name="connsiteY6131" fmla="*/ 856413 h 2052818"/>
                <a:gd name="connsiteX6132" fmla="*/ 1701097 w 2222569"/>
                <a:gd name="connsiteY6132" fmla="*/ 859020 h 2052818"/>
                <a:gd name="connsiteX6133" fmla="*/ 1697513 w 2222569"/>
                <a:gd name="connsiteY6133" fmla="*/ 860323 h 2052818"/>
                <a:gd name="connsiteX6134" fmla="*/ 1692952 w 2222569"/>
                <a:gd name="connsiteY6134" fmla="*/ 867003 h 2052818"/>
                <a:gd name="connsiteX6135" fmla="*/ 1691811 w 2222569"/>
                <a:gd name="connsiteY6135" fmla="*/ 873356 h 2052818"/>
                <a:gd name="connsiteX6136" fmla="*/ 1693767 w 2222569"/>
                <a:gd name="connsiteY6136" fmla="*/ 874170 h 2052818"/>
                <a:gd name="connsiteX6137" fmla="*/ 1695559 w 2222569"/>
                <a:gd name="connsiteY6137" fmla="*/ 870586 h 2052818"/>
                <a:gd name="connsiteX6138" fmla="*/ 1696536 w 2222569"/>
                <a:gd name="connsiteY6138" fmla="*/ 866677 h 2052818"/>
                <a:gd name="connsiteX6139" fmla="*/ 1699794 w 2222569"/>
                <a:gd name="connsiteY6139" fmla="*/ 861626 h 2052818"/>
                <a:gd name="connsiteX6140" fmla="*/ 1705007 w 2222569"/>
                <a:gd name="connsiteY6140" fmla="*/ 859346 h 2052818"/>
                <a:gd name="connsiteX6141" fmla="*/ 1705007 w 2222569"/>
                <a:gd name="connsiteY6141" fmla="*/ 854296 h 2052818"/>
                <a:gd name="connsiteX6142" fmla="*/ 1706962 w 2222569"/>
                <a:gd name="connsiteY6142" fmla="*/ 850386 h 2052818"/>
                <a:gd name="connsiteX6143" fmla="*/ 1710872 w 2222569"/>
                <a:gd name="connsiteY6143" fmla="*/ 848431 h 2052818"/>
                <a:gd name="connsiteX6144" fmla="*/ 1711361 w 2222569"/>
                <a:gd name="connsiteY6144" fmla="*/ 844684 h 2052818"/>
                <a:gd name="connsiteX6145" fmla="*/ 1712664 w 2222569"/>
                <a:gd name="connsiteY6145" fmla="*/ 842077 h 2052818"/>
                <a:gd name="connsiteX6146" fmla="*/ 1714945 w 2222569"/>
                <a:gd name="connsiteY6146" fmla="*/ 841100 h 2052818"/>
                <a:gd name="connsiteX6147" fmla="*/ 1717225 w 2222569"/>
                <a:gd name="connsiteY6147" fmla="*/ 837516 h 2052818"/>
                <a:gd name="connsiteX6148" fmla="*/ 1717551 w 2222569"/>
                <a:gd name="connsiteY6148" fmla="*/ 833932 h 2052818"/>
                <a:gd name="connsiteX6149" fmla="*/ 1719506 w 2222569"/>
                <a:gd name="connsiteY6149" fmla="*/ 832954 h 2052818"/>
                <a:gd name="connsiteX6150" fmla="*/ 1723416 w 2222569"/>
                <a:gd name="connsiteY6150" fmla="*/ 840774 h 2052818"/>
                <a:gd name="connsiteX6151" fmla="*/ 1727000 w 2222569"/>
                <a:gd name="connsiteY6151" fmla="*/ 842892 h 2052818"/>
                <a:gd name="connsiteX6152" fmla="*/ 1731399 w 2222569"/>
                <a:gd name="connsiteY6152" fmla="*/ 847453 h 2052818"/>
                <a:gd name="connsiteX6153" fmla="*/ 1732376 w 2222569"/>
                <a:gd name="connsiteY6153" fmla="*/ 852015 h 2052818"/>
                <a:gd name="connsiteX6154" fmla="*/ 1733353 w 2222569"/>
                <a:gd name="connsiteY6154" fmla="*/ 856902 h 2052818"/>
                <a:gd name="connsiteX6155" fmla="*/ 1738078 w 2222569"/>
                <a:gd name="connsiteY6155" fmla="*/ 862115 h 2052818"/>
                <a:gd name="connsiteX6156" fmla="*/ 1738403 w 2222569"/>
                <a:gd name="connsiteY6156" fmla="*/ 864396 h 2052818"/>
                <a:gd name="connsiteX6157" fmla="*/ 1735145 w 2222569"/>
                <a:gd name="connsiteY6157" fmla="*/ 867654 h 2052818"/>
                <a:gd name="connsiteX6158" fmla="*/ 1730258 w 2222569"/>
                <a:gd name="connsiteY6158" fmla="*/ 873682 h 2052818"/>
                <a:gd name="connsiteX6159" fmla="*/ 1727326 w 2222569"/>
                <a:gd name="connsiteY6159" fmla="*/ 873682 h 2052818"/>
                <a:gd name="connsiteX6160" fmla="*/ 1724068 w 2222569"/>
                <a:gd name="connsiteY6160" fmla="*/ 871075 h 2052818"/>
                <a:gd name="connsiteX6161" fmla="*/ 1719669 w 2222569"/>
                <a:gd name="connsiteY6161" fmla="*/ 867491 h 2052818"/>
                <a:gd name="connsiteX6162" fmla="*/ 1717225 w 2222569"/>
                <a:gd name="connsiteY6162" fmla="*/ 867817 h 2052818"/>
                <a:gd name="connsiteX6163" fmla="*/ 1714945 w 2222569"/>
                <a:gd name="connsiteY6163" fmla="*/ 869609 h 2052818"/>
                <a:gd name="connsiteX6164" fmla="*/ 1711849 w 2222569"/>
                <a:gd name="connsiteY6164" fmla="*/ 870749 h 2052818"/>
                <a:gd name="connsiteX6165" fmla="*/ 1709569 w 2222569"/>
                <a:gd name="connsiteY6165" fmla="*/ 875474 h 2052818"/>
                <a:gd name="connsiteX6166" fmla="*/ 1705985 w 2222569"/>
                <a:gd name="connsiteY6166" fmla="*/ 877429 h 2052818"/>
                <a:gd name="connsiteX6167" fmla="*/ 1703052 w 2222569"/>
                <a:gd name="connsiteY6167" fmla="*/ 877429 h 2052818"/>
                <a:gd name="connsiteX6168" fmla="*/ 1700283 w 2222569"/>
                <a:gd name="connsiteY6168" fmla="*/ 880687 h 2052818"/>
                <a:gd name="connsiteX6169" fmla="*/ 1705822 w 2222569"/>
                <a:gd name="connsiteY6169" fmla="*/ 879872 h 2052818"/>
                <a:gd name="connsiteX6170" fmla="*/ 1708428 w 2222569"/>
                <a:gd name="connsiteY6170" fmla="*/ 879872 h 2052818"/>
                <a:gd name="connsiteX6171" fmla="*/ 1709569 w 2222569"/>
                <a:gd name="connsiteY6171" fmla="*/ 882805 h 2052818"/>
                <a:gd name="connsiteX6172" fmla="*/ 1705659 w 2222569"/>
                <a:gd name="connsiteY6172" fmla="*/ 887203 h 2052818"/>
                <a:gd name="connsiteX6173" fmla="*/ 1701423 w 2222569"/>
                <a:gd name="connsiteY6173" fmla="*/ 889158 h 2052818"/>
                <a:gd name="connsiteX6174" fmla="*/ 1697351 w 2222569"/>
                <a:gd name="connsiteY6174" fmla="*/ 891276 h 2052818"/>
                <a:gd name="connsiteX6175" fmla="*/ 1703378 w 2222569"/>
                <a:gd name="connsiteY6175" fmla="*/ 891276 h 2052818"/>
                <a:gd name="connsiteX6176" fmla="*/ 1707451 w 2222569"/>
                <a:gd name="connsiteY6176" fmla="*/ 888995 h 2052818"/>
                <a:gd name="connsiteX6177" fmla="*/ 1712827 w 2222569"/>
                <a:gd name="connsiteY6177" fmla="*/ 888181 h 2052818"/>
                <a:gd name="connsiteX6178" fmla="*/ 1716737 w 2222569"/>
                <a:gd name="connsiteY6178" fmla="*/ 888995 h 2052818"/>
                <a:gd name="connsiteX6179" fmla="*/ 1721135 w 2222569"/>
                <a:gd name="connsiteY6179" fmla="*/ 885411 h 2052818"/>
                <a:gd name="connsiteX6180" fmla="*/ 1725697 w 2222569"/>
                <a:gd name="connsiteY6180" fmla="*/ 885411 h 2052818"/>
                <a:gd name="connsiteX6181" fmla="*/ 1728629 w 2222569"/>
                <a:gd name="connsiteY6181" fmla="*/ 887855 h 2052818"/>
                <a:gd name="connsiteX6182" fmla="*/ 1729118 w 2222569"/>
                <a:gd name="connsiteY6182" fmla="*/ 890136 h 2052818"/>
                <a:gd name="connsiteX6183" fmla="*/ 1728303 w 2222569"/>
                <a:gd name="connsiteY6183" fmla="*/ 891928 h 2052818"/>
                <a:gd name="connsiteX6184" fmla="*/ 1730258 w 2222569"/>
                <a:gd name="connsiteY6184" fmla="*/ 890624 h 2052818"/>
                <a:gd name="connsiteX6185" fmla="*/ 1731561 w 2222569"/>
                <a:gd name="connsiteY6185" fmla="*/ 884922 h 2052818"/>
                <a:gd name="connsiteX6186" fmla="*/ 1731236 w 2222569"/>
                <a:gd name="connsiteY6186" fmla="*/ 880687 h 2052818"/>
                <a:gd name="connsiteX6187" fmla="*/ 1734168 w 2222569"/>
                <a:gd name="connsiteY6187" fmla="*/ 876940 h 2052818"/>
                <a:gd name="connsiteX6188" fmla="*/ 1741499 w 2222569"/>
                <a:gd name="connsiteY6188" fmla="*/ 873519 h 2052818"/>
                <a:gd name="connsiteX6189" fmla="*/ 1742802 w 2222569"/>
                <a:gd name="connsiteY6189" fmla="*/ 874822 h 2052818"/>
                <a:gd name="connsiteX6190" fmla="*/ 1742151 w 2222569"/>
                <a:gd name="connsiteY6190" fmla="*/ 878080 h 2052818"/>
                <a:gd name="connsiteX6191" fmla="*/ 1743617 w 2222569"/>
                <a:gd name="connsiteY6191" fmla="*/ 882316 h 2052818"/>
                <a:gd name="connsiteX6192" fmla="*/ 1741173 w 2222569"/>
                <a:gd name="connsiteY6192" fmla="*/ 886715 h 2052818"/>
                <a:gd name="connsiteX6193" fmla="*/ 1736775 w 2222569"/>
                <a:gd name="connsiteY6193" fmla="*/ 892742 h 2052818"/>
                <a:gd name="connsiteX6194" fmla="*/ 1731561 w 2222569"/>
                <a:gd name="connsiteY6194" fmla="*/ 894697 h 2052818"/>
                <a:gd name="connsiteX6195" fmla="*/ 1727977 w 2222569"/>
                <a:gd name="connsiteY6195" fmla="*/ 897955 h 2052818"/>
                <a:gd name="connsiteX6196" fmla="*/ 1727000 w 2222569"/>
                <a:gd name="connsiteY6196" fmla="*/ 900073 h 2052818"/>
                <a:gd name="connsiteX6197" fmla="*/ 1722438 w 2222569"/>
                <a:gd name="connsiteY6197" fmla="*/ 900073 h 2052818"/>
                <a:gd name="connsiteX6198" fmla="*/ 1719506 w 2222569"/>
                <a:gd name="connsiteY6198" fmla="*/ 898607 h 2052818"/>
                <a:gd name="connsiteX6199" fmla="*/ 1716574 w 2222569"/>
                <a:gd name="connsiteY6199" fmla="*/ 898607 h 2052818"/>
                <a:gd name="connsiteX6200" fmla="*/ 1713967 w 2222569"/>
                <a:gd name="connsiteY6200" fmla="*/ 901865 h 2052818"/>
                <a:gd name="connsiteX6201" fmla="*/ 1713153 w 2222569"/>
                <a:gd name="connsiteY6201" fmla="*/ 905286 h 2052818"/>
                <a:gd name="connsiteX6202" fmla="*/ 1708591 w 2222569"/>
                <a:gd name="connsiteY6202" fmla="*/ 909848 h 2052818"/>
                <a:gd name="connsiteX6203" fmla="*/ 1707940 w 2222569"/>
                <a:gd name="connsiteY6203" fmla="*/ 912780 h 2052818"/>
                <a:gd name="connsiteX6204" fmla="*/ 1706636 w 2222569"/>
                <a:gd name="connsiteY6204" fmla="*/ 915712 h 2052818"/>
                <a:gd name="connsiteX6205" fmla="*/ 1709080 w 2222569"/>
                <a:gd name="connsiteY6205" fmla="*/ 915224 h 2052818"/>
                <a:gd name="connsiteX6206" fmla="*/ 1714945 w 2222569"/>
                <a:gd name="connsiteY6206" fmla="*/ 908870 h 2052818"/>
                <a:gd name="connsiteX6207" fmla="*/ 1718692 w 2222569"/>
                <a:gd name="connsiteY6207" fmla="*/ 902517 h 2052818"/>
                <a:gd name="connsiteX6208" fmla="*/ 1721461 w 2222569"/>
                <a:gd name="connsiteY6208" fmla="*/ 901376 h 2052818"/>
                <a:gd name="connsiteX6209" fmla="*/ 1722764 w 2222569"/>
                <a:gd name="connsiteY6209" fmla="*/ 902842 h 2052818"/>
                <a:gd name="connsiteX6210" fmla="*/ 1724719 w 2222569"/>
                <a:gd name="connsiteY6210" fmla="*/ 902842 h 2052818"/>
                <a:gd name="connsiteX6211" fmla="*/ 1725208 w 2222569"/>
                <a:gd name="connsiteY6211" fmla="*/ 905123 h 2052818"/>
                <a:gd name="connsiteX6212" fmla="*/ 1722927 w 2222569"/>
                <a:gd name="connsiteY6212" fmla="*/ 907567 h 2052818"/>
                <a:gd name="connsiteX6213" fmla="*/ 1719832 w 2222569"/>
                <a:gd name="connsiteY6213" fmla="*/ 913269 h 2052818"/>
                <a:gd name="connsiteX6214" fmla="*/ 1713478 w 2222569"/>
                <a:gd name="connsiteY6214" fmla="*/ 919459 h 2052818"/>
                <a:gd name="connsiteX6215" fmla="*/ 1709569 w 2222569"/>
                <a:gd name="connsiteY6215" fmla="*/ 923206 h 2052818"/>
                <a:gd name="connsiteX6216" fmla="*/ 1709569 w 2222569"/>
                <a:gd name="connsiteY6216" fmla="*/ 924672 h 2052818"/>
                <a:gd name="connsiteX6217" fmla="*/ 1717714 w 2222569"/>
                <a:gd name="connsiteY6217" fmla="*/ 920437 h 2052818"/>
                <a:gd name="connsiteX6218" fmla="*/ 1726185 w 2222569"/>
                <a:gd name="connsiteY6218" fmla="*/ 910988 h 2052818"/>
                <a:gd name="connsiteX6219" fmla="*/ 1729606 w 2222569"/>
                <a:gd name="connsiteY6219" fmla="*/ 903168 h 2052818"/>
                <a:gd name="connsiteX6220" fmla="*/ 1730421 w 2222569"/>
                <a:gd name="connsiteY6220" fmla="*/ 899747 h 2052818"/>
                <a:gd name="connsiteX6221" fmla="*/ 1732376 w 2222569"/>
                <a:gd name="connsiteY6221" fmla="*/ 897141 h 2052818"/>
                <a:gd name="connsiteX6222" fmla="*/ 1735308 w 2222569"/>
                <a:gd name="connsiteY6222" fmla="*/ 897141 h 2052818"/>
                <a:gd name="connsiteX6223" fmla="*/ 1742639 w 2222569"/>
                <a:gd name="connsiteY6223" fmla="*/ 892090 h 2052818"/>
                <a:gd name="connsiteX6224" fmla="*/ 1749156 w 2222569"/>
                <a:gd name="connsiteY6224" fmla="*/ 889321 h 2052818"/>
                <a:gd name="connsiteX6225" fmla="*/ 1752414 w 2222569"/>
                <a:gd name="connsiteY6225" fmla="*/ 888344 h 2052818"/>
                <a:gd name="connsiteX6226" fmla="*/ 1752902 w 2222569"/>
                <a:gd name="connsiteY6226" fmla="*/ 890136 h 2052818"/>
                <a:gd name="connsiteX6227" fmla="*/ 1751110 w 2222569"/>
                <a:gd name="connsiteY6227" fmla="*/ 893231 h 2052818"/>
                <a:gd name="connsiteX6228" fmla="*/ 1745897 w 2222569"/>
                <a:gd name="connsiteY6228" fmla="*/ 898607 h 2052818"/>
                <a:gd name="connsiteX6229" fmla="*/ 1740847 w 2222569"/>
                <a:gd name="connsiteY6229" fmla="*/ 898607 h 2052818"/>
                <a:gd name="connsiteX6230" fmla="*/ 1737915 w 2222569"/>
                <a:gd name="connsiteY6230" fmla="*/ 901051 h 2052818"/>
                <a:gd name="connsiteX6231" fmla="*/ 1737263 w 2222569"/>
                <a:gd name="connsiteY6231" fmla="*/ 905286 h 2052818"/>
                <a:gd name="connsiteX6232" fmla="*/ 1738403 w 2222569"/>
                <a:gd name="connsiteY6232" fmla="*/ 906264 h 2052818"/>
                <a:gd name="connsiteX6233" fmla="*/ 1741662 w 2222569"/>
                <a:gd name="connsiteY6233" fmla="*/ 902842 h 2052818"/>
                <a:gd name="connsiteX6234" fmla="*/ 1746712 w 2222569"/>
                <a:gd name="connsiteY6234" fmla="*/ 902354 h 2052818"/>
                <a:gd name="connsiteX6235" fmla="*/ 1751273 w 2222569"/>
                <a:gd name="connsiteY6235" fmla="*/ 898444 h 2052818"/>
                <a:gd name="connsiteX6236" fmla="*/ 1755020 w 2222569"/>
                <a:gd name="connsiteY6236" fmla="*/ 897304 h 2052818"/>
                <a:gd name="connsiteX6237" fmla="*/ 1757464 w 2222569"/>
                <a:gd name="connsiteY6237" fmla="*/ 895349 h 2052818"/>
                <a:gd name="connsiteX6238" fmla="*/ 1761048 w 2222569"/>
                <a:gd name="connsiteY6238" fmla="*/ 893068 h 2052818"/>
                <a:gd name="connsiteX6239" fmla="*/ 1764632 w 2222569"/>
                <a:gd name="connsiteY6239" fmla="*/ 893557 h 2052818"/>
                <a:gd name="connsiteX6240" fmla="*/ 1766750 w 2222569"/>
                <a:gd name="connsiteY6240" fmla="*/ 898118 h 2052818"/>
                <a:gd name="connsiteX6241" fmla="*/ 1772126 w 2222569"/>
                <a:gd name="connsiteY6241" fmla="*/ 904146 h 2052818"/>
                <a:gd name="connsiteX6242" fmla="*/ 1775058 w 2222569"/>
                <a:gd name="connsiteY6242" fmla="*/ 908544 h 2052818"/>
                <a:gd name="connsiteX6243" fmla="*/ 1778968 w 2222569"/>
                <a:gd name="connsiteY6243" fmla="*/ 910499 h 2052818"/>
                <a:gd name="connsiteX6244" fmla="*/ 1779945 w 2222569"/>
                <a:gd name="connsiteY6244" fmla="*/ 913269 h 2052818"/>
                <a:gd name="connsiteX6245" fmla="*/ 1779294 w 2222569"/>
                <a:gd name="connsiteY6245" fmla="*/ 917504 h 2052818"/>
                <a:gd name="connsiteX6246" fmla="*/ 1774244 w 2222569"/>
                <a:gd name="connsiteY6246" fmla="*/ 922229 h 2052818"/>
                <a:gd name="connsiteX6247" fmla="*/ 1772289 w 2222569"/>
                <a:gd name="connsiteY6247" fmla="*/ 921088 h 2052818"/>
                <a:gd name="connsiteX6248" fmla="*/ 1772777 w 2222569"/>
                <a:gd name="connsiteY6248" fmla="*/ 916038 h 2052818"/>
                <a:gd name="connsiteX6249" fmla="*/ 1769682 w 2222569"/>
                <a:gd name="connsiteY6249" fmla="*/ 916853 h 2052818"/>
                <a:gd name="connsiteX6250" fmla="*/ 1768705 w 2222569"/>
                <a:gd name="connsiteY6250" fmla="*/ 919296 h 2052818"/>
                <a:gd name="connsiteX6251" fmla="*/ 1766424 w 2222569"/>
                <a:gd name="connsiteY6251" fmla="*/ 922066 h 2052818"/>
                <a:gd name="connsiteX6252" fmla="*/ 1763166 w 2222569"/>
                <a:gd name="connsiteY6252" fmla="*/ 925161 h 2052818"/>
                <a:gd name="connsiteX6253" fmla="*/ 1755183 w 2222569"/>
                <a:gd name="connsiteY6253" fmla="*/ 925650 h 2052818"/>
                <a:gd name="connsiteX6254" fmla="*/ 1751599 w 2222569"/>
                <a:gd name="connsiteY6254" fmla="*/ 927279 h 2052818"/>
                <a:gd name="connsiteX6255" fmla="*/ 1746223 w 2222569"/>
                <a:gd name="connsiteY6255" fmla="*/ 926953 h 2052818"/>
                <a:gd name="connsiteX6256" fmla="*/ 1739381 w 2222569"/>
                <a:gd name="connsiteY6256" fmla="*/ 931515 h 2052818"/>
                <a:gd name="connsiteX6257" fmla="*/ 1735145 w 2222569"/>
                <a:gd name="connsiteY6257" fmla="*/ 931840 h 2052818"/>
                <a:gd name="connsiteX6258" fmla="*/ 1728140 w 2222569"/>
                <a:gd name="connsiteY6258" fmla="*/ 935750 h 2052818"/>
                <a:gd name="connsiteX6259" fmla="*/ 1732702 w 2222569"/>
                <a:gd name="connsiteY6259" fmla="*/ 935261 h 2052818"/>
                <a:gd name="connsiteX6260" fmla="*/ 1735145 w 2222569"/>
                <a:gd name="connsiteY6260" fmla="*/ 936565 h 2052818"/>
                <a:gd name="connsiteX6261" fmla="*/ 1733842 w 2222569"/>
                <a:gd name="connsiteY6261" fmla="*/ 939823 h 2052818"/>
                <a:gd name="connsiteX6262" fmla="*/ 1727489 w 2222569"/>
                <a:gd name="connsiteY6262" fmla="*/ 941289 h 2052818"/>
                <a:gd name="connsiteX6263" fmla="*/ 1725697 w 2222569"/>
                <a:gd name="connsiteY6263" fmla="*/ 943570 h 2052818"/>
                <a:gd name="connsiteX6264" fmla="*/ 1734168 w 2222569"/>
                <a:gd name="connsiteY6264" fmla="*/ 942429 h 2052818"/>
                <a:gd name="connsiteX6265" fmla="*/ 1739218 w 2222569"/>
                <a:gd name="connsiteY6265" fmla="*/ 937216 h 2052818"/>
                <a:gd name="connsiteX6266" fmla="*/ 1746549 w 2222569"/>
                <a:gd name="connsiteY6266" fmla="*/ 930700 h 2052818"/>
                <a:gd name="connsiteX6267" fmla="*/ 1751925 w 2222569"/>
                <a:gd name="connsiteY6267" fmla="*/ 930374 h 2052818"/>
                <a:gd name="connsiteX6268" fmla="*/ 1755835 w 2222569"/>
                <a:gd name="connsiteY6268" fmla="*/ 931515 h 2052818"/>
                <a:gd name="connsiteX6269" fmla="*/ 1759419 w 2222569"/>
                <a:gd name="connsiteY6269" fmla="*/ 930048 h 2052818"/>
                <a:gd name="connsiteX6270" fmla="*/ 1762677 w 2222569"/>
                <a:gd name="connsiteY6270" fmla="*/ 930048 h 2052818"/>
                <a:gd name="connsiteX6271" fmla="*/ 1762840 w 2222569"/>
                <a:gd name="connsiteY6271" fmla="*/ 931840 h 2052818"/>
                <a:gd name="connsiteX6272" fmla="*/ 1762351 w 2222569"/>
                <a:gd name="connsiteY6272" fmla="*/ 937053 h 2052818"/>
                <a:gd name="connsiteX6273" fmla="*/ 1759093 w 2222569"/>
                <a:gd name="connsiteY6273" fmla="*/ 939497 h 2052818"/>
                <a:gd name="connsiteX6274" fmla="*/ 1754694 w 2222569"/>
                <a:gd name="connsiteY6274" fmla="*/ 942267 h 2052818"/>
                <a:gd name="connsiteX6275" fmla="*/ 1751925 w 2222569"/>
                <a:gd name="connsiteY6275" fmla="*/ 942267 h 2052818"/>
                <a:gd name="connsiteX6276" fmla="*/ 1748015 w 2222569"/>
                <a:gd name="connsiteY6276" fmla="*/ 943896 h 2052818"/>
                <a:gd name="connsiteX6277" fmla="*/ 1745083 w 2222569"/>
                <a:gd name="connsiteY6277" fmla="*/ 948457 h 2052818"/>
                <a:gd name="connsiteX6278" fmla="*/ 1741010 w 2222569"/>
                <a:gd name="connsiteY6278" fmla="*/ 950249 h 2052818"/>
                <a:gd name="connsiteX6279" fmla="*/ 1737100 w 2222569"/>
                <a:gd name="connsiteY6279" fmla="*/ 948131 h 2052818"/>
                <a:gd name="connsiteX6280" fmla="*/ 1734331 w 2222569"/>
                <a:gd name="connsiteY6280" fmla="*/ 949272 h 2052818"/>
                <a:gd name="connsiteX6281" fmla="*/ 1729932 w 2222569"/>
                <a:gd name="connsiteY6281" fmla="*/ 953507 h 2052818"/>
                <a:gd name="connsiteX6282" fmla="*/ 1732539 w 2222569"/>
                <a:gd name="connsiteY6282" fmla="*/ 953019 h 2052818"/>
                <a:gd name="connsiteX6283" fmla="*/ 1736937 w 2222569"/>
                <a:gd name="connsiteY6283" fmla="*/ 951389 h 2052818"/>
                <a:gd name="connsiteX6284" fmla="*/ 1740521 w 2222569"/>
                <a:gd name="connsiteY6284" fmla="*/ 952204 h 2052818"/>
                <a:gd name="connsiteX6285" fmla="*/ 1742965 w 2222569"/>
                <a:gd name="connsiteY6285" fmla="*/ 953670 h 2052818"/>
                <a:gd name="connsiteX6286" fmla="*/ 1748178 w 2222569"/>
                <a:gd name="connsiteY6286" fmla="*/ 949434 h 2052818"/>
                <a:gd name="connsiteX6287" fmla="*/ 1751436 w 2222569"/>
                <a:gd name="connsiteY6287" fmla="*/ 944873 h 2052818"/>
                <a:gd name="connsiteX6288" fmla="*/ 1755835 w 2222569"/>
                <a:gd name="connsiteY6288" fmla="*/ 943407 h 2052818"/>
                <a:gd name="connsiteX6289" fmla="*/ 1759093 w 2222569"/>
                <a:gd name="connsiteY6289" fmla="*/ 944710 h 2052818"/>
                <a:gd name="connsiteX6290" fmla="*/ 1763654 w 2222569"/>
                <a:gd name="connsiteY6290" fmla="*/ 945688 h 2052818"/>
                <a:gd name="connsiteX6291" fmla="*/ 1766913 w 2222569"/>
                <a:gd name="connsiteY6291" fmla="*/ 941778 h 2052818"/>
                <a:gd name="connsiteX6292" fmla="*/ 1771800 w 2222569"/>
                <a:gd name="connsiteY6292" fmla="*/ 939497 h 2052818"/>
                <a:gd name="connsiteX6293" fmla="*/ 1773592 w 2222569"/>
                <a:gd name="connsiteY6293" fmla="*/ 938031 h 2052818"/>
                <a:gd name="connsiteX6294" fmla="*/ 1773592 w 2222569"/>
                <a:gd name="connsiteY6294" fmla="*/ 935099 h 2052818"/>
                <a:gd name="connsiteX6295" fmla="*/ 1771963 w 2222569"/>
                <a:gd name="connsiteY6295" fmla="*/ 933469 h 2052818"/>
                <a:gd name="connsiteX6296" fmla="*/ 1774895 w 2222569"/>
                <a:gd name="connsiteY6296" fmla="*/ 929234 h 2052818"/>
                <a:gd name="connsiteX6297" fmla="*/ 1774895 w 2222569"/>
                <a:gd name="connsiteY6297" fmla="*/ 926627 h 2052818"/>
                <a:gd name="connsiteX6298" fmla="*/ 1778479 w 2222569"/>
                <a:gd name="connsiteY6298" fmla="*/ 925650 h 2052818"/>
                <a:gd name="connsiteX6299" fmla="*/ 1779619 w 2222569"/>
                <a:gd name="connsiteY6299" fmla="*/ 926790 h 2052818"/>
                <a:gd name="connsiteX6300" fmla="*/ 1781575 w 2222569"/>
                <a:gd name="connsiteY6300" fmla="*/ 925976 h 2052818"/>
                <a:gd name="connsiteX6301" fmla="*/ 1783041 w 2222569"/>
                <a:gd name="connsiteY6301" fmla="*/ 931352 h 2052818"/>
                <a:gd name="connsiteX6302" fmla="*/ 1787602 w 2222569"/>
                <a:gd name="connsiteY6302" fmla="*/ 941452 h 2052818"/>
                <a:gd name="connsiteX6303" fmla="*/ 1788743 w 2222569"/>
                <a:gd name="connsiteY6303" fmla="*/ 947642 h 2052818"/>
                <a:gd name="connsiteX6304" fmla="*/ 1791512 w 2222569"/>
                <a:gd name="connsiteY6304" fmla="*/ 951389 h 2052818"/>
                <a:gd name="connsiteX6305" fmla="*/ 1790535 w 2222569"/>
                <a:gd name="connsiteY6305" fmla="*/ 955299 h 2052818"/>
                <a:gd name="connsiteX6306" fmla="*/ 1788254 w 2222569"/>
                <a:gd name="connsiteY6306" fmla="*/ 958883 h 2052818"/>
                <a:gd name="connsiteX6307" fmla="*/ 1782878 w 2222569"/>
                <a:gd name="connsiteY6307" fmla="*/ 958557 h 2052818"/>
                <a:gd name="connsiteX6308" fmla="*/ 1779619 w 2222569"/>
                <a:gd name="connsiteY6308" fmla="*/ 956114 h 2052818"/>
                <a:gd name="connsiteX6309" fmla="*/ 1772614 w 2222569"/>
                <a:gd name="connsiteY6309" fmla="*/ 955625 h 2052818"/>
                <a:gd name="connsiteX6310" fmla="*/ 1768868 w 2222569"/>
                <a:gd name="connsiteY6310" fmla="*/ 957580 h 2052818"/>
                <a:gd name="connsiteX6311" fmla="*/ 1764958 w 2222569"/>
                <a:gd name="connsiteY6311" fmla="*/ 960186 h 2052818"/>
                <a:gd name="connsiteX6312" fmla="*/ 1761862 w 2222569"/>
                <a:gd name="connsiteY6312" fmla="*/ 960186 h 2052818"/>
                <a:gd name="connsiteX6313" fmla="*/ 1760233 w 2222569"/>
                <a:gd name="connsiteY6313" fmla="*/ 959046 h 2052818"/>
                <a:gd name="connsiteX6314" fmla="*/ 1756324 w 2222569"/>
                <a:gd name="connsiteY6314" fmla="*/ 959372 h 2052818"/>
                <a:gd name="connsiteX6315" fmla="*/ 1753228 w 2222569"/>
                <a:gd name="connsiteY6315" fmla="*/ 962304 h 2052818"/>
                <a:gd name="connsiteX6316" fmla="*/ 1745409 w 2222569"/>
                <a:gd name="connsiteY6316" fmla="*/ 963445 h 2052818"/>
                <a:gd name="connsiteX6317" fmla="*/ 1748830 w 2222569"/>
                <a:gd name="connsiteY6317" fmla="*/ 964748 h 2052818"/>
                <a:gd name="connsiteX6318" fmla="*/ 1757627 w 2222569"/>
                <a:gd name="connsiteY6318" fmla="*/ 963445 h 2052818"/>
                <a:gd name="connsiteX6319" fmla="*/ 1762188 w 2222569"/>
                <a:gd name="connsiteY6319" fmla="*/ 964748 h 2052818"/>
                <a:gd name="connsiteX6320" fmla="*/ 1769030 w 2222569"/>
                <a:gd name="connsiteY6320" fmla="*/ 971101 h 2052818"/>
                <a:gd name="connsiteX6321" fmla="*/ 1772614 w 2222569"/>
                <a:gd name="connsiteY6321" fmla="*/ 973056 h 2052818"/>
                <a:gd name="connsiteX6322" fmla="*/ 1775221 w 2222569"/>
                <a:gd name="connsiteY6322" fmla="*/ 971590 h 2052818"/>
                <a:gd name="connsiteX6323" fmla="*/ 1778153 w 2222569"/>
                <a:gd name="connsiteY6323" fmla="*/ 970776 h 2052818"/>
                <a:gd name="connsiteX6324" fmla="*/ 1780597 w 2222569"/>
                <a:gd name="connsiteY6324" fmla="*/ 972405 h 2052818"/>
                <a:gd name="connsiteX6325" fmla="*/ 1784670 w 2222569"/>
                <a:gd name="connsiteY6325" fmla="*/ 975011 h 2052818"/>
                <a:gd name="connsiteX6326" fmla="*/ 1789720 w 2222569"/>
                <a:gd name="connsiteY6326" fmla="*/ 976966 h 2052818"/>
                <a:gd name="connsiteX6327" fmla="*/ 1790372 w 2222569"/>
                <a:gd name="connsiteY6327" fmla="*/ 980713 h 2052818"/>
                <a:gd name="connsiteX6328" fmla="*/ 1792815 w 2222569"/>
                <a:gd name="connsiteY6328" fmla="*/ 984623 h 2052818"/>
                <a:gd name="connsiteX6329" fmla="*/ 1792815 w 2222569"/>
                <a:gd name="connsiteY6329" fmla="*/ 989999 h 2052818"/>
                <a:gd name="connsiteX6330" fmla="*/ 1791023 w 2222569"/>
                <a:gd name="connsiteY6330" fmla="*/ 991628 h 2052818"/>
                <a:gd name="connsiteX6331" fmla="*/ 1787439 w 2222569"/>
                <a:gd name="connsiteY6331" fmla="*/ 991628 h 2052818"/>
                <a:gd name="connsiteX6332" fmla="*/ 1784996 w 2222569"/>
                <a:gd name="connsiteY6332" fmla="*/ 987392 h 2052818"/>
                <a:gd name="connsiteX6333" fmla="*/ 1783203 w 2222569"/>
                <a:gd name="connsiteY6333" fmla="*/ 987718 h 2052818"/>
                <a:gd name="connsiteX6334" fmla="*/ 1780923 w 2222569"/>
                <a:gd name="connsiteY6334" fmla="*/ 990325 h 2052818"/>
                <a:gd name="connsiteX6335" fmla="*/ 1778642 w 2222569"/>
                <a:gd name="connsiteY6335" fmla="*/ 989184 h 2052818"/>
                <a:gd name="connsiteX6336" fmla="*/ 1777013 w 2222569"/>
                <a:gd name="connsiteY6336" fmla="*/ 986578 h 2052818"/>
                <a:gd name="connsiteX6337" fmla="*/ 1774407 w 2222569"/>
                <a:gd name="connsiteY6337" fmla="*/ 988044 h 2052818"/>
                <a:gd name="connsiteX6338" fmla="*/ 1771311 w 2222569"/>
                <a:gd name="connsiteY6338" fmla="*/ 987229 h 2052818"/>
                <a:gd name="connsiteX6339" fmla="*/ 1765446 w 2222569"/>
                <a:gd name="connsiteY6339" fmla="*/ 980713 h 2052818"/>
                <a:gd name="connsiteX6340" fmla="*/ 1763003 w 2222569"/>
                <a:gd name="connsiteY6340" fmla="*/ 979899 h 2052818"/>
                <a:gd name="connsiteX6341" fmla="*/ 1759745 w 2222569"/>
                <a:gd name="connsiteY6341" fmla="*/ 980387 h 2052818"/>
                <a:gd name="connsiteX6342" fmla="*/ 1755509 w 2222569"/>
                <a:gd name="connsiteY6342" fmla="*/ 980876 h 2052818"/>
                <a:gd name="connsiteX6343" fmla="*/ 1751762 w 2222569"/>
                <a:gd name="connsiteY6343" fmla="*/ 979084 h 2052818"/>
                <a:gd name="connsiteX6344" fmla="*/ 1753228 w 2222569"/>
                <a:gd name="connsiteY6344" fmla="*/ 981202 h 2052818"/>
                <a:gd name="connsiteX6345" fmla="*/ 1758116 w 2222569"/>
                <a:gd name="connsiteY6345" fmla="*/ 982831 h 2052818"/>
                <a:gd name="connsiteX6346" fmla="*/ 1762026 w 2222569"/>
                <a:gd name="connsiteY6346" fmla="*/ 983645 h 2052818"/>
                <a:gd name="connsiteX6347" fmla="*/ 1760722 w 2222569"/>
                <a:gd name="connsiteY6347" fmla="*/ 985763 h 2052818"/>
                <a:gd name="connsiteX6348" fmla="*/ 1754694 w 2222569"/>
                <a:gd name="connsiteY6348" fmla="*/ 986252 h 2052818"/>
                <a:gd name="connsiteX6349" fmla="*/ 1752251 w 2222569"/>
                <a:gd name="connsiteY6349" fmla="*/ 987555 h 2052818"/>
                <a:gd name="connsiteX6350" fmla="*/ 1746712 w 2222569"/>
                <a:gd name="connsiteY6350" fmla="*/ 987555 h 2052818"/>
                <a:gd name="connsiteX6351" fmla="*/ 1742639 w 2222569"/>
                <a:gd name="connsiteY6351" fmla="*/ 990162 h 2052818"/>
                <a:gd name="connsiteX6352" fmla="*/ 1743454 w 2222569"/>
                <a:gd name="connsiteY6352" fmla="*/ 993420 h 2052818"/>
                <a:gd name="connsiteX6353" fmla="*/ 1745897 w 2222569"/>
                <a:gd name="connsiteY6353" fmla="*/ 992931 h 2052818"/>
                <a:gd name="connsiteX6354" fmla="*/ 1747038 w 2222569"/>
                <a:gd name="connsiteY6354" fmla="*/ 990813 h 2052818"/>
                <a:gd name="connsiteX6355" fmla="*/ 1753391 w 2222569"/>
                <a:gd name="connsiteY6355" fmla="*/ 990813 h 2052818"/>
                <a:gd name="connsiteX6356" fmla="*/ 1757301 w 2222569"/>
                <a:gd name="connsiteY6356" fmla="*/ 988696 h 2052818"/>
                <a:gd name="connsiteX6357" fmla="*/ 1761211 w 2222569"/>
                <a:gd name="connsiteY6357" fmla="*/ 988044 h 2052818"/>
                <a:gd name="connsiteX6358" fmla="*/ 1763818 w 2222569"/>
                <a:gd name="connsiteY6358" fmla="*/ 991628 h 2052818"/>
                <a:gd name="connsiteX6359" fmla="*/ 1763818 w 2222569"/>
                <a:gd name="connsiteY6359" fmla="*/ 993420 h 2052818"/>
                <a:gd name="connsiteX6360" fmla="*/ 1766913 w 2222569"/>
                <a:gd name="connsiteY6360" fmla="*/ 994723 h 2052818"/>
                <a:gd name="connsiteX6361" fmla="*/ 1767401 w 2222569"/>
                <a:gd name="connsiteY6361" fmla="*/ 996515 h 2052818"/>
                <a:gd name="connsiteX6362" fmla="*/ 1766261 w 2222569"/>
                <a:gd name="connsiteY6362" fmla="*/ 997167 h 2052818"/>
                <a:gd name="connsiteX6363" fmla="*/ 1761537 w 2222569"/>
                <a:gd name="connsiteY6363" fmla="*/ 997167 h 2052818"/>
                <a:gd name="connsiteX6364" fmla="*/ 1759256 w 2222569"/>
                <a:gd name="connsiteY6364" fmla="*/ 998796 h 2052818"/>
                <a:gd name="connsiteX6365" fmla="*/ 1757138 w 2222569"/>
                <a:gd name="connsiteY6365" fmla="*/ 997493 h 2052818"/>
                <a:gd name="connsiteX6366" fmla="*/ 1755835 w 2222569"/>
                <a:gd name="connsiteY6366" fmla="*/ 995538 h 2052818"/>
                <a:gd name="connsiteX6367" fmla="*/ 1753065 w 2222569"/>
                <a:gd name="connsiteY6367" fmla="*/ 995864 h 2052818"/>
                <a:gd name="connsiteX6368" fmla="*/ 1751762 w 2222569"/>
                <a:gd name="connsiteY6368" fmla="*/ 996841 h 2052818"/>
                <a:gd name="connsiteX6369" fmla="*/ 1755509 w 2222569"/>
                <a:gd name="connsiteY6369" fmla="*/ 999611 h 2052818"/>
                <a:gd name="connsiteX6370" fmla="*/ 1759093 w 2222569"/>
                <a:gd name="connsiteY6370" fmla="*/ 1001077 h 2052818"/>
                <a:gd name="connsiteX6371" fmla="*/ 1761048 w 2222569"/>
                <a:gd name="connsiteY6371" fmla="*/ 1003357 h 2052818"/>
                <a:gd name="connsiteX6372" fmla="*/ 1761048 w 2222569"/>
                <a:gd name="connsiteY6372" fmla="*/ 1006453 h 2052818"/>
                <a:gd name="connsiteX6373" fmla="*/ 1762677 w 2222569"/>
                <a:gd name="connsiteY6373" fmla="*/ 1008733 h 2052818"/>
                <a:gd name="connsiteX6374" fmla="*/ 1760070 w 2222569"/>
                <a:gd name="connsiteY6374" fmla="*/ 1009222 h 2052818"/>
                <a:gd name="connsiteX6375" fmla="*/ 1750296 w 2222569"/>
                <a:gd name="connsiteY6375" fmla="*/ 1006453 h 2052818"/>
                <a:gd name="connsiteX6376" fmla="*/ 1744268 w 2222569"/>
                <a:gd name="connsiteY6376" fmla="*/ 1006453 h 2052818"/>
                <a:gd name="connsiteX6377" fmla="*/ 1734819 w 2222569"/>
                <a:gd name="connsiteY6377" fmla="*/ 1002706 h 2052818"/>
                <a:gd name="connsiteX6378" fmla="*/ 1730910 w 2222569"/>
                <a:gd name="connsiteY6378" fmla="*/ 1003195 h 2052818"/>
                <a:gd name="connsiteX6379" fmla="*/ 1732213 w 2222569"/>
                <a:gd name="connsiteY6379" fmla="*/ 1004824 h 2052818"/>
                <a:gd name="connsiteX6380" fmla="*/ 1737752 w 2222569"/>
                <a:gd name="connsiteY6380" fmla="*/ 1006290 h 2052818"/>
                <a:gd name="connsiteX6381" fmla="*/ 1750785 w 2222569"/>
                <a:gd name="connsiteY6381" fmla="*/ 1012806 h 2052818"/>
                <a:gd name="connsiteX6382" fmla="*/ 1751436 w 2222569"/>
                <a:gd name="connsiteY6382" fmla="*/ 1015413 h 2052818"/>
                <a:gd name="connsiteX6383" fmla="*/ 1749156 w 2222569"/>
                <a:gd name="connsiteY6383" fmla="*/ 1015901 h 2052818"/>
                <a:gd name="connsiteX6384" fmla="*/ 1741987 w 2222569"/>
                <a:gd name="connsiteY6384" fmla="*/ 1011503 h 2052818"/>
                <a:gd name="connsiteX6385" fmla="*/ 1739707 w 2222569"/>
                <a:gd name="connsiteY6385" fmla="*/ 1012155 h 2052818"/>
                <a:gd name="connsiteX6386" fmla="*/ 1736286 w 2222569"/>
                <a:gd name="connsiteY6386" fmla="*/ 1016064 h 2052818"/>
                <a:gd name="connsiteX6387" fmla="*/ 1739544 w 2222569"/>
                <a:gd name="connsiteY6387" fmla="*/ 1015576 h 2052818"/>
                <a:gd name="connsiteX6388" fmla="*/ 1741825 w 2222569"/>
                <a:gd name="connsiteY6388" fmla="*/ 1017042 h 2052818"/>
                <a:gd name="connsiteX6389" fmla="*/ 1744594 w 2222569"/>
                <a:gd name="connsiteY6389" fmla="*/ 1019485 h 2052818"/>
                <a:gd name="connsiteX6390" fmla="*/ 1746223 w 2222569"/>
                <a:gd name="connsiteY6390" fmla="*/ 1018508 h 2052818"/>
                <a:gd name="connsiteX6391" fmla="*/ 1748504 w 2222569"/>
                <a:gd name="connsiteY6391" fmla="*/ 1019648 h 2052818"/>
                <a:gd name="connsiteX6392" fmla="*/ 1748830 w 2222569"/>
                <a:gd name="connsiteY6392" fmla="*/ 1022907 h 2052818"/>
                <a:gd name="connsiteX6393" fmla="*/ 1750459 w 2222569"/>
                <a:gd name="connsiteY6393" fmla="*/ 1025676 h 2052818"/>
                <a:gd name="connsiteX6394" fmla="*/ 1752251 w 2222569"/>
                <a:gd name="connsiteY6394" fmla="*/ 1024373 h 2052818"/>
                <a:gd name="connsiteX6395" fmla="*/ 1752740 w 2222569"/>
                <a:gd name="connsiteY6395" fmla="*/ 1021603 h 2052818"/>
                <a:gd name="connsiteX6396" fmla="*/ 1756975 w 2222569"/>
                <a:gd name="connsiteY6396" fmla="*/ 1021603 h 2052818"/>
                <a:gd name="connsiteX6397" fmla="*/ 1756649 w 2222569"/>
                <a:gd name="connsiteY6397" fmla="*/ 1024210 h 2052818"/>
                <a:gd name="connsiteX6398" fmla="*/ 1755020 w 2222569"/>
                <a:gd name="connsiteY6398" fmla="*/ 1026165 h 2052818"/>
                <a:gd name="connsiteX6399" fmla="*/ 1755020 w 2222569"/>
                <a:gd name="connsiteY6399" fmla="*/ 1028120 h 2052818"/>
                <a:gd name="connsiteX6400" fmla="*/ 1757790 w 2222569"/>
                <a:gd name="connsiteY6400" fmla="*/ 1028120 h 2052818"/>
                <a:gd name="connsiteX6401" fmla="*/ 1757953 w 2222569"/>
                <a:gd name="connsiteY6401" fmla="*/ 1023395 h 2052818"/>
                <a:gd name="connsiteX6402" fmla="*/ 1761537 w 2222569"/>
                <a:gd name="connsiteY6402" fmla="*/ 1023395 h 2052818"/>
                <a:gd name="connsiteX6403" fmla="*/ 1766587 w 2222569"/>
                <a:gd name="connsiteY6403" fmla="*/ 1026002 h 2052818"/>
                <a:gd name="connsiteX6404" fmla="*/ 1771148 w 2222569"/>
                <a:gd name="connsiteY6404" fmla="*/ 1027468 h 2052818"/>
                <a:gd name="connsiteX6405" fmla="*/ 1775058 w 2222569"/>
                <a:gd name="connsiteY6405" fmla="*/ 1027468 h 2052818"/>
                <a:gd name="connsiteX6406" fmla="*/ 1773429 w 2222569"/>
                <a:gd name="connsiteY6406" fmla="*/ 1031378 h 2052818"/>
                <a:gd name="connsiteX6407" fmla="*/ 1772614 w 2222569"/>
                <a:gd name="connsiteY6407" fmla="*/ 1033659 h 2052818"/>
                <a:gd name="connsiteX6408" fmla="*/ 1768216 w 2222569"/>
                <a:gd name="connsiteY6408" fmla="*/ 1032192 h 2052818"/>
                <a:gd name="connsiteX6409" fmla="*/ 1765446 w 2222569"/>
                <a:gd name="connsiteY6409" fmla="*/ 1030400 h 2052818"/>
                <a:gd name="connsiteX6410" fmla="*/ 1759745 w 2222569"/>
                <a:gd name="connsiteY6410" fmla="*/ 1031378 h 2052818"/>
                <a:gd name="connsiteX6411" fmla="*/ 1751925 w 2222569"/>
                <a:gd name="connsiteY6411" fmla="*/ 1035125 h 2052818"/>
                <a:gd name="connsiteX6412" fmla="*/ 1751925 w 2222569"/>
                <a:gd name="connsiteY6412" fmla="*/ 1038872 h 2052818"/>
                <a:gd name="connsiteX6413" fmla="*/ 1755020 w 2222569"/>
                <a:gd name="connsiteY6413" fmla="*/ 1035451 h 2052818"/>
                <a:gd name="connsiteX6414" fmla="*/ 1761048 w 2222569"/>
                <a:gd name="connsiteY6414" fmla="*/ 1035451 h 2052818"/>
                <a:gd name="connsiteX6415" fmla="*/ 1765446 w 2222569"/>
                <a:gd name="connsiteY6415" fmla="*/ 1036754 h 2052818"/>
                <a:gd name="connsiteX6416" fmla="*/ 1761374 w 2222569"/>
                <a:gd name="connsiteY6416" fmla="*/ 1037568 h 2052818"/>
                <a:gd name="connsiteX6417" fmla="*/ 1759908 w 2222569"/>
                <a:gd name="connsiteY6417" fmla="*/ 1040664 h 2052818"/>
                <a:gd name="connsiteX6418" fmla="*/ 1763003 w 2222569"/>
                <a:gd name="connsiteY6418" fmla="*/ 1039197 h 2052818"/>
                <a:gd name="connsiteX6419" fmla="*/ 1769193 w 2222569"/>
                <a:gd name="connsiteY6419" fmla="*/ 1039197 h 2052818"/>
                <a:gd name="connsiteX6420" fmla="*/ 1771474 w 2222569"/>
                <a:gd name="connsiteY6420" fmla="*/ 1041641 h 2052818"/>
                <a:gd name="connsiteX6421" fmla="*/ 1770171 w 2222569"/>
                <a:gd name="connsiteY6421" fmla="*/ 1043107 h 2052818"/>
                <a:gd name="connsiteX6422" fmla="*/ 1774407 w 2222569"/>
                <a:gd name="connsiteY6422" fmla="*/ 1044736 h 2052818"/>
                <a:gd name="connsiteX6423" fmla="*/ 1776199 w 2222569"/>
                <a:gd name="connsiteY6423" fmla="*/ 1047832 h 2052818"/>
                <a:gd name="connsiteX6424" fmla="*/ 1774732 w 2222569"/>
                <a:gd name="connsiteY6424" fmla="*/ 1050601 h 2052818"/>
                <a:gd name="connsiteX6425" fmla="*/ 1772289 w 2222569"/>
                <a:gd name="connsiteY6425" fmla="*/ 1056303 h 2052818"/>
                <a:gd name="connsiteX6426" fmla="*/ 1772777 w 2222569"/>
                <a:gd name="connsiteY6426" fmla="*/ 1059398 h 2052818"/>
                <a:gd name="connsiteX6427" fmla="*/ 1774407 w 2222569"/>
                <a:gd name="connsiteY6427" fmla="*/ 1057932 h 2052818"/>
                <a:gd name="connsiteX6428" fmla="*/ 1774895 w 2222569"/>
                <a:gd name="connsiteY6428" fmla="*/ 1054511 h 2052818"/>
                <a:gd name="connsiteX6429" fmla="*/ 1778153 w 2222569"/>
                <a:gd name="connsiteY6429" fmla="*/ 1051090 h 2052818"/>
                <a:gd name="connsiteX6430" fmla="*/ 1781575 w 2222569"/>
                <a:gd name="connsiteY6430" fmla="*/ 1050764 h 2052818"/>
                <a:gd name="connsiteX6431" fmla="*/ 1782389 w 2222569"/>
                <a:gd name="connsiteY6431" fmla="*/ 1054674 h 2052818"/>
                <a:gd name="connsiteX6432" fmla="*/ 1780597 w 2222569"/>
                <a:gd name="connsiteY6432" fmla="*/ 1057443 h 2052818"/>
                <a:gd name="connsiteX6433" fmla="*/ 1775873 w 2222569"/>
                <a:gd name="connsiteY6433" fmla="*/ 1065589 h 2052818"/>
                <a:gd name="connsiteX6434" fmla="*/ 1773918 w 2222569"/>
                <a:gd name="connsiteY6434" fmla="*/ 1070150 h 2052818"/>
                <a:gd name="connsiteX6435" fmla="*/ 1773918 w 2222569"/>
                <a:gd name="connsiteY6435" fmla="*/ 1073734 h 2052818"/>
                <a:gd name="connsiteX6436" fmla="*/ 1776199 w 2222569"/>
                <a:gd name="connsiteY6436" fmla="*/ 1072268 h 2052818"/>
                <a:gd name="connsiteX6437" fmla="*/ 1779783 w 2222569"/>
                <a:gd name="connsiteY6437" fmla="*/ 1066078 h 2052818"/>
                <a:gd name="connsiteX6438" fmla="*/ 1779783 w 2222569"/>
                <a:gd name="connsiteY6438" fmla="*/ 1063145 h 2052818"/>
                <a:gd name="connsiteX6439" fmla="*/ 1782226 w 2222569"/>
                <a:gd name="connsiteY6439" fmla="*/ 1059887 h 2052818"/>
                <a:gd name="connsiteX6440" fmla="*/ 1786951 w 2222569"/>
                <a:gd name="connsiteY6440" fmla="*/ 1057606 h 2052818"/>
                <a:gd name="connsiteX6441" fmla="*/ 1786625 w 2222569"/>
                <a:gd name="connsiteY6441" fmla="*/ 1056303 h 2052818"/>
                <a:gd name="connsiteX6442" fmla="*/ 1788417 w 2222569"/>
                <a:gd name="connsiteY6442" fmla="*/ 1052882 h 2052818"/>
                <a:gd name="connsiteX6443" fmla="*/ 1792001 w 2222569"/>
                <a:gd name="connsiteY6443" fmla="*/ 1050275 h 2052818"/>
                <a:gd name="connsiteX6444" fmla="*/ 1793304 w 2222569"/>
                <a:gd name="connsiteY6444" fmla="*/ 1051416 h 2052818"/>
                <a:gd name="connsiteX6445" fmla="*/ 1792001 w 2222569"/>
                <a:gd name="connsiteY6445" fmla="*/ 1055000 h 2052818"/>
                <a:gd name="connsiteX6446" fmla="*/ 1787439 w 2222569"/>
                <a:gd name="connsiteY6446" fmla="*/ 1061190 h 2052818"/>
                <a:gd name="connsiteX6447" fmla="*/ 1785321 w 2222569"/>
                <a:gd name="connsiteY6447" fmla="*/ 1064774 h 2052818"/>
                <a:gd name="connsiteX6448" fmla="*/ 1785321 w 2222569"/>
                <a:gd name="connsiteY6448" fmla="*/ 1069336 h 2052818"/>
                <a:gd name="connsiteX6449" fmla="*/ 1785647 w 2222569"/>
                <a:gd name="connsiteY6449" fmla="*/ 1073897 h 2052818"/>
                <a:gd name="connsiteX6450" fmla="*/ 1787602 w 2222569"/>
                <a:gd name="connsiteY6450" fmla="*/ 1072431 h 2052818"/>
                <a:gd name="connsiteX6451" fmla="*/ 1787276 w 2222569"/>
                <a:gd name="connsiteY6451" fmla="*/ 1069336 h 2052818"/>
                <a:gd name="connsiteX6452" fmla="*/ 1787765 w 2222569"/>
                <a:gd name="connsiteY6452" fmla="*/ 1064774 h 2052818"/>
                <a:gd name="connsiteX6453" fmla="*/ 1791023 w 2222569"/>
                <a:gd name="connsiteY6453" fmla="*/ 1062005 h 2052818"/>
                <a:gd name="connsiteX6454" fmla="*/ 1793630 w 2222569"/>
                <a:gd name="connsiteY6454" fmla="*/ 1058258 h 2052818"/>
                <a:gd name="connsiteX6455" fmla="*/ 1799494 w 2222569"/>
                <a:gd name="connsiteY6455" fmla="*/ 1053533 h 2052818"/>
                <a:gd name="connsiteX6456" fmla="*/ 1803404 w 2222569"/>
                <a:gd name="connsiteY6456" fmla="*/ 1050438 h 2052818"/>
                <a:gd name="connsiteX6457" fmla="*/ 1804545 w 2222569"/>
                <a:gd name="connsiteY6457" fmla="*/ 1052230 h 2052818"/>
                <a:gd name="connsiteX6458" fmla="*/ 1804219 w 2222569"/>
                <a:gd name="connsiteY6458" fmla="*/ 1057932 h 2052818"/>
                <a:gd name="connsiteX6459" fmla="*/ 1801938 w 2222569"/>
                <a:gd name="connsiteY6459" fmla="*/ 1060213 h 2052818"/>
                <a:gd name="connsiteX6460" fmla="*/ 1796399 w 2222569"/>
                <a:gd name="connsiteY6460" fmla="*/ 1061516 h 2052818"/>
                <a:gd name="connsiteX6461" fmla="*/ 1795585 w 2222569"/>
                <a:gd name="connsiteY6461" fmla="*/ 1065752 h 2052818"/>
                <a:gd name="connsiteX6462" fmla="*/ 1793793 w 2222569"/>
                <a:gd name="connsiteY6462" fmla="*/ 1069662 h 2052818"/>
                <a:gd name="connsiteX6463" fmla="*/ 1795259 w 2222569"/>
                <a:gd name="connsiteY6463" fmla="*/ 1070639 h 2052818"/>
                <a:gd name="connsiteX6464" fmla="*/ 1796888 w 2222569"/>
                <a:gd name="connsiteY6464" fmla="*/ 1069010 h 2052818"/>
                <a:gd name="connsiteX6465" fmla="*/ 1799169 w 2222569"/>
                <a:gd name="connsiteY6465" fmla="*/ 1070639 h 2052818"/>
                <a:gd name="connsiteX6466" fmla="*/ 1801775 w 2222569"/>
                <a:gd name="connsiteY6466" fmla="*/ 1068684 h 2052818"/>
                <a:gd name="connsiteX6467" fmla="*/ 1807640 w 2222569"/>
                <a:gd name="connsiteY6467" fmla="*/ 1066729 h 2052818"/>
                <a:gd name="connsiteX6468" fmla="*/ 1809269 w 2222569"/>
                <a:gd name="connsiteY6468" fmla="*/ 1069499 h 2052818"/>
                <a:gd name="connsiteX6469" fmla="*/ 1810898 w 2222569"/>
                <a:gd name="connsiteY6469" fmla="*/ 1075526 h 2052818"/>
                <a:gd name="connsiteX6470" fmla="*/ 1810572 w 2222569"/>
                <a:gd name="connsiteY6470" fmla="*/ 1078459 h 2052818"/>
                <a:gd name="connsiteX6471" fmla="*/ 1806662 w 2222569"/>
                <a:gd name="connsiteY6471" fmla="*/ 1080251 h 2052818"/>
                <a:gd name="connsiteX6472" fmla="*/ 1806662 w 2222569"/>
                <a:gd name="connsiteY6472" fmla="*/ 1081717 h 2052818"/>
                <a:gd name="connsiteX6473" fmla="*/ 1809758 w 2222569"/>
                <a:gd name="connsiteY6473" fmla="*/ 1082368 h 2052818"/>
                <a:gd name="connsiteX6474" fmla="*/ 1812038 w 2222569"/>
                <a:gd name="connsiteY6474" fmla="*/ 1086441 h 2052818"/>
                <a:gd name="connsiteX6475" fmla="*/ 1808454 w 2222569"/>
                <a:gd name="connsiteY6475" fmla="*/ 1087582 h 2052818"/>
                <a:gd name="connsiteX6476" fmla="*/ 1805359 w 2222569"/>
                <a:gd name="connsiteY6476" fmla="*/ 1087093 h 2052818"/>
                <a:gd name="connsiteX6477" fmla="*/ 1808454 w 2222569"/>
                <a:gd name="connsiteY6477" fmla="*/ 1089048 h 2052818"/>
                <a:gd name="connsiteX6478" fmla="*/ 1812527 w 2222569"/>
                <a:gd name="connsiteY6478" fmla="*/ 1090840 h 2052818"/>
                <a:gd name="connsiteX6479" fmla="*/ 1802753 w 2222569"/>
                <a:gd name="connsiteY6479" fmla="*/ 1093120 h 2052818"/>
                <a:gd name="connsiteX6480" fmla="*/ 1798028 w 2222569"/>
                <a:gd name="connsiteY6480" fmla="*/ 1092795 h 2052818"/>
                <a:gd name="connsiteX6481" fmla="*/ 1800472 w 2222569"/>
                <a:gd name="connsiteY6481" fmla="*/ 1095238 h 2052818"/>
                <a:gd name="connsiteX6482" fmla="*/ 1805196 w 2222569"/>
                <a:gd name="connsiteY6482" fmla="*/ 1094912 h 2052818"/>
                <a:gd name="connsiteX6483" fmla="*/ 1811876 w 2222569"/>
                <a:gd name="connsiteY6483" fmla="*/ 1096379 h 2052818"/>
                <a:gd name="connsiteX6484" fmla="*/ 1813830 w 2222569"/>
                <a:gd name="connsiteY6484" fmla="*/ 1094098 h 2052818"/>
                <a:gd name="connsiteX6485" fmla="*/ 1818392 w 2222569"/>
                <a:gd name="connsiteY6485" fmla="*/ 1093120 h 2052818"/>
                <a:gd name="connsiteX6486" fmla="*/ 1819532 w 2222569"/>
                <a:gd name="connsiteY6486" fmla="*/ 1093446 h 2052818"/>
                <a:gd name="connsiteX6487" fmla="*/ 1815785 w 2222569"/>
                <a:gd name="connsiteY6487" fmla="*/ 1098496 h 2052818"/>
                <a:gd name="connsiteX6488" fmla="*/ 1813830 w 2222569"/>
                <a:gd name="connsiteY6488" fmla="*/ 1103547 h 2052818"/>
                <a:gd name="connsiteX6489" fmla="*/ 1818229 w 2222569"/>
                <a:gd name="connsiteY6489" fmla="*/ 1099148 h 2052818"/>
                <a:gd name="connsiteX6490" fmla="*/ 1822139 w 2222569"/>
                <a:gd name="connsiteY6490" fmla="*/ 1097845 h 2052818"/>
                <a:gd name="connsiteX6491" fmla="*/ 1825071 w 2222569"/>
                <a:gd name="connsiteY6491" fmla="*/ 1094587 h 2052818"/>
                <a:gd name="connsiteX6492" fmla="*/ 1829796 w 2222569"/>
                <a:gd name="connsiteY6492" fmla="*/ 1091166 h 2052818"/>
                <a:gd name="connsiteX6493" fmla="*/ 1833543 w 2222569"/>
                <a:gd name="connsiteY6493" fmla="*/ 1092306 h 2052818"/>
                <a:gd name="connsiteX6494" fmla="*/ 1832565 w 2222569"/>
                <a:gd name="connsiteY6494" fmla="*/ 1094749 h 2052818"/>
                <a:gd name="connsiteX6495" fmla="*/ 1829633 w 2222569"/>
                <a:gd name="connsiteY6495" fmla="*/ 1098008 h 2052818"/>
                <a:gd name="connsiteX6496" fmla="*/ 1827678 w 2222569"/>
                <a:gd name="connsiteY6496" fmla="*/ 1098008 h 2052818"/>
                <a:gd name="connsiteX6497" fmla="*/ 1825397 w 2222569"/>
                <a:gd name="connsiteY6497" fmla="*/ 1102080 h 2052818"/>
                <a:gd name="connsiteX6498" fmla="*/ 1823116 w 2222569"/>
                <a:gd name="connsiteY6498" fmla="*/ 1107131 h 2052818"/>
                <a:gd name="connsiteX6499" fmla="*/ 1817415 w 2222569"/>
                <a:gd name="connsiteY6499" fmla="*/ 1109411 h 2052818"/>
                <a:gd name="connsiteX6500" fmla="*/ 1814971 w 2222569"/>
                <a:gd name="connsiteY6500" fmla="*/ 1113810 h 2052818"/>
                <a:gd name="connsiteX6501" fmla="*/ 1814971 w 2222569"/>
                <a:gd name="connsiteY6501" fmla="*/ 1116905 h 2052818"/>
                <a:gd name="connsiteX6502" fmla="*/ 1818066 w 2222569"/>
                <a:gd name="connsiteY6502" fmla="*/ 1117394 h 2052818"/>
                <a:gd name="connsiteX6503" fmla="*/ 1821813 w 2222569"/>
                <a:gd name="connsiteY6503" fmla="*/ 1113484 h 2052818"/>
                <a:gd name="connsiteX6504" fmla="*/ 1821813 w 2222569"/>
                <a:gd name="connsiteY6504" fmla="*/ 1111529 h 2052818"/>
                <a:gd name="connsiteX6505" fmla="*/ 1826863 w 2222569"/>
                <a:gd name="connsiteY6505" fmla="*/ 1105502 h 2052818"/>
                <a:gd name="connsiteX6506" fmla="*/ 1831262 w 2222569"/>
                <a:gd name="connsiteY6506" fmla="*/ 1103872 h 2052818"/>
                <a:gd name="connsiteX6507" fmla="*/ 1830936 w 2222569"/>
                <a:gd name="connsiteY6507" fmla="*/ 1107294 h 2052818"/>
                <a:gd name="connsiteX6508" fmla="*/ 1827678 w 2222569"/>
                <a:gd name="connsiteY6508" fmla="*/ 1112832 h 2052818"/>
                <a:gd name="connsiteX6509" fmla="*/ 1827189 w 2222569"/>
                <a:gd name="connsiteY6509" fmla="*/ 1118208 h 2052818"/>
                <a:gd name="connsiteX6510" fmla="*/ 1825723 w 2222569"/>
                <a:gd name="connsiteY6510" fmla="*/ 1121467 h 2052818"/>
                <a:gd name="connsiteX6511" fmla="*/ 1828492 w 2222569"/>
                <a:gd name="connsiteY6511" fmla="*/ 1119512 h 2052818"/>
                <a:gd name="connsiteX6512" fmla="*/ 1831913 w 2222569"/>
                <a:gd name="connsiteY6512" fmla="*/ 1113321 h 2052818"/>
                <a:gd name="connsiteX6513" fmla="*/ 1831913 w 2222569"/>
                <a:gd name="connsiteY6513" fmla="*/ 1110226 h 2052818"/>
                <a:gd name="connsiteX6514" fmla="*/ 1833868 w 2222569"/>
                <a:gd name="connsiteY6514" fmla="*/ 1109248 h 2052818"/>
                <a:gd name="connsiteX6515" fmla="*/ 1835335 w 2222569"/>
                <a:gd name="connsiteY6515" fmla="*/ 1110389 h 2052818"/>
                <a:gd name="connsiteX6516" fmla="*/ 1835823 w 2222569"/>
                <a:gd name="connsiteY6516" fmla="*/ 1117394 h 2052818"/>
                <a:gd name="connsiteX6517" fmla="*/ 1838430 w 2222569"/>
                <a:gd name="connsiteY6517" fmla="*/ 1119675 h 2052818"/>
                <a:gd name="connsiteX6518" fmla="*/ 1840059 w 2222569"/>
                <a:gd name="connsiteY6518" fmla="*/ 1119675 h 2052818"/>
                <a:gd name="connsiteX6519" fmla="*/ 1839244 w 2222569"/>
                <a:gd name="connsiteY6519" fmla="*/ 1114136 h 2052818"/>
                <a:gd name="connsiteX6520" fmla="*/ 1841036 w 2222569"/>
                <a:gd name="connsiteY6520" fmla="*/ 1111040 h 2052818"/>
                <a:gd name="connsiteX6521" fmla="*/ 1847227 w 2222569"/>
                <a:gd name="connsiteY6521" fmla="*/ 1107782 h 2052818"/>
                <a:gd name="connsiteX6522" fmla="*/ 1848530 w 2222569"/>
                <a:gd name="connsiteY6522" fmla="*/ 1109411 h 2052818"/>
                <a:gd name="connsiteX6523" fmla="*/ 1846250 w 2222569"/>
                <a:gd name="connsiteY6523" fmla="*/ 1112344 h 2052818"/>
                <a:gd name="connsiteX6524" fmla="*/ 1847716 w 2222569"/>
                <a:gd name="connsiteY6524" fmla="*/ 1112832 h 2052818"/>
                <a:gd name="connsiteX6525" fmla="*/ 1851788 w 2222569"/>
                <a:gd name="connsiteY6525" fmla="*/ 1112832 h 2052818"/>
                <a:gd name="connsiteX6526" fmla="*/ 1854232 w 2222569"/>
                <a:gd name="connsiteY6526" fmla="*/ 1115765 h 2052818"/>
                <a:gd name="connsiteX6527" fmla="*/ 1852440 w 2222569"/>
                <a:gd name="connsiteY6527" fmla="*/ 1120978 h 2052818"/>
                <a:gd name="connsiteX6528" fmla="*/ 1856676 w 2222569"/>
                <a:gd name="connsiteY6528" fmla="*/ 1120489 h 2052818"/>
                <a:gd name="connsiteX6529" fmla="*/ 1858305 w 2222569"/>
                <a:gd name="connsiteY6529" fmla="*/ 1122933 h 2052818"/>
                <a:gd name="connsiteX6530" fmla="*/ 1858631 w 2222569"/>
                <a:gd name="connsiteY6530" fmla="*/ 1126191 h 2052818"/>
                <a:gd name="connsiteX6531" fmla="*/ 1861563 w 2222569"/>
                <a:gd name="connsiteY6531" fmla="*/ 1128798 h 2052818"/>
                <a:gd name="connsiteX6532" fmla="*/ 1862215 w 2222569"/>
                <a:gd name="connsiteY6532" fmla="*/ 1131893 h 2052818"/>
                <a:gd name="connsiteX6533" fmla="*/ 1860911 w 2222569"/>
                <a:gd name="connsiteY6533" fmla="*/ 1133359 h 2052818"/>
                <a:gd name="connsiteX6534" fmla="*/ 1858956 w 2222569"/>
                <a:gd name="connsiteY6534" fmla="*/ 1134988 h 2052818"/>
                <a:gd name="connsiteX6535" fmla="*/ 1853743 w 2222569"/>
                <a:gd name="connsiteY6535" fmla="*/ 1134988 h 2052818"/>
                <a:gd name="connsiteX6536" fmla="*/ 1854069 w 2222569"/>
                <a:gd name="connsiteY6536" fmla="*/ 1131893 h 2052818"/>
                <a:gd name="connsiteX6537" fmla="*/ 1851788 w 2222569"/>
                <a:gd name="connsiteY6537" fmla="*/ 1128635 h 2052818"/>
                <a:gd name="connsiteX6538" fmla="*/ 1849182 w 2222569"/>
                <a:gd name="connsiteY6538" fmla="*/ 1127331 h 2052818"/>
                <a:gd name="connsiteX6539" fmla="*/ 1847553 w 2222569"/>
                <a:gd name="connsiteY6539" fmla="*/ 1126028 h 2052818"/>
                <a:gd name="connsiteX6540" fmla="*/ 1845272 w 2222569"/>
                <a:gd name="connsiteY6540" fmla="*/ 1127983 h 2052818"/>
                <a:gd name="connsiteX6541" fmla="*/ 1842665 w 2222569"/>
                <a:gd name="connsiteY6541" fmla="*/ 1131567 h 2052818"/>
                <a:gd name="connsiteX6542" fmla="*/ 1845924 w 2222569"/>
                <a:gd name="connsiteY6542" fmla="*/ 1130101 h 2052818"/>
                <a:gd name="connsiteX6543" fmla="*/ 1848367 w 2222569"/>
                <a:gd name="connsiteY6543" fmla="*/ 1130752 h 2052818"/>
                <a:gd name="connsiteX6544" fmla="*/ 1849996 w 2222569"/>
                <a:gd name="connsiteY6544" fmla="*/ 1132870 h 2052818"/>
                <a:gd name="connsiteX6545" fmla="*/ 1848367 w 2222569"/>
                <a:gd name="connsiteY6545" fmla="*/ 1133848 h 2052818"/>
                <a:gd name="connsiteX6546" fmla="*/ 1850648 w 2222569"/>
                <a:gd name="connsiteY6546" fmla="*/ 1135151 h 2052818"/>
                <a:gd name="connsiteX6547" fmla="*/ 1851626 w 2222569"/>
                <a:gd name="connsiteY6547" fmla="*/ 1137757 h 2052818"/>
                <a:gd name="connsiteX6548" fmla="*/ 1849508 w 2222569"/>
                <a:gd name="connsiteY6548" fmla="*/ 1138735 h 2052818"/>
                <a:gd name="connsiteX6549" fmla="*/ 1845924 w 2222569"/>
                <a:gd name="connsiteY6549" fmla="*/ 1137757 h 2052818"/>
                <a:gd name="connsiteX6550" fmla="*/ 1842991 w 2222569"/>
                <a:gd name="connsiteY6550" fmla="*/ 1139549 h 2052818"/>
                <a:gd name="connsiteX6551" fmla="*/ 1844620 w 2222569"/>
                <a:gd name="connsiteY6551" fmla="*/ 1141016 h 2052818"/>
                <a:gd name="connsiteX6552" fmla="*/ 1850811 w 2222569"/>
                <a:gd name="connsiteY6552" fmla="*/ 1141016 h 2052818"/>
                <a:gd name="connsiteX6553" fmla="*/ 1853254 w 2222569"/>
                <a:gd name="connsiteY6553" fmla="*/ 1141179 h 2052818"/>
                <a:gd name="connsiteX6554" fmla="*/ 1853580 w 2222569"/>
                <a:gd name="connsiteY6554" fmla="*/ 1142971 h 2052818"/>
                <a:gd name="connsiteX6555" fmla="*/ 1851137 w 2222569"/>
                <a:gd name="connsiteY6555" fmla="*/ 1145903 h 2052818"/>
                <a:gd name="connsiteX6556" fmla="*/ 1847227 w 2222569"/>
                <a:gd name="connsiteY6556" fmla="*/ 1145903 h 2052818"/>
                <a:gd name="connsiteX6557" fmla="*/ 1843643 w 2222569"/>
                <a:gd name="connsiteY6557" fmla="*/ 1146718 h 2052818"/>
                <a:gd name="connsiteX6558" fmla="*/ 1838756 w 2222569"/>
                <a:gd name="connsiteY6558" fmla="*/ 1145903 h 2052818"/>
                <a:gd name="connsiteX6559" fmla="*/ 1834683 w 2222569"/>
                <a:gd name="connsiteY6559" fmla="*/ 1145088 h 2052818"/>
                <a:gd name="connsiteX6560" fmla="*/ 1835823 w 2222569"/>
                <a:gd name="connsiteY6560" fmla="*/ 1141504 h 2052818"/>
                <a:gd name="connsiteX6561" fmla="*/ 1835497 w 2222569"/>
                <a:gd name="connsiteY6561" fmla="*/ 1139224 h 2052818"/>
                <a:gd name="connsiteX6562" fmla="*/ 1832076 w 2222569"/>
                <a:gd name="connsiteY6562" fmla="*/ 1137269 h 2052818"/>
                <a:gd name="connsiteX6563" fmla="*/ 1830773 w 2222569"/>
                <a:gd name="connsiteY6563" fmla="*/ 1135640 h 2052818"/>
                <a:gd name="connsiteX6564" fmla="*/ 1828655 w 2222569"/>
                <a:gd name="connsiteY6564" fmla="*/ 1136291 h 2052818"/>
                <a:gd name="connsiteX6565" fmla="*/ 1829144 w 2222569"/>
                <a:gd name="connsiteY6565" fmla="*/ 1138898 h 2052818"/>
                <a:gd name="connsiteX6566" fmla="*/ 1831425 w 2222569"/>
                <a:gd name="connsiteY6566" fmla="*/ 1140527 h 2052818"/>
                <a:gd name="connsiteX6567" fmla="*/ 1832565 w 2222569"/>
                <a:gd name="connsiteY6567" fmla="*/ 1144437 h 2052818"/>
                <a:gd name="connsiteX6568" fmla="*/ 1831751 w 2222569"/>
                <a:gd name="connsiteY6568" fmla="*/ 1146392 h 2052818"/>
                <a:gd name="connsiteX6569" fmla="*/ 1828329 w 2222569"/>
                <a:gd name="connsiteY6569" fmla="*/ 1146718 h 2052818"/>
                <a:gd name="connsiteX6570" fmla="*/ 1824745 w 2222569"/>
                <a:gd name="connsiteY6570" fmla="*/ 1144274 h 2052818"/>
                <a:gd name="connsiteX6571" fmla="*/ 1824094 w 2222569"/>
                <a:gd name="connsiteY6571" fmla="*/ 1141830 h 2052818"/>
                <a:gd name="connsiteX6572" fmla="*/ 1823279 w 2222569"/>
                <a:gd name="connsiteY6572" fmla="*/ 1146229 h 2052818"/>
                <a:gd name="connsiteX6573" fmla="*/ 1825886 w 2222569"/>
                <a:gd name="connsiteY6573" fmla="*/ 1148998 h 2052818"/>
                <a:gd name="connsiteX6574" fmla="*/ 1830936 w 2222569"/>
                <a:gd name="connsiteY6574" fmla="*/ 1148998 h 2052818"/>
                <a:gd name="connsiteX6575" fmla="*/ 1833543 w 2222569"/>
                <a:gd name="connsiteY6575" fmla="*/ 1151279 h 2052818"/>
                <a:gd name="connsiteX6576" fmla="*/ 1836475 w 2222569"/>
                <a:gd name="connsiteY6576" fmla="*/ 1152256 h 2052818"/>
                <a:gd name="connsiteX6577" fmla="*/ 1837127 w 2222569"/>
                <a:gd name="connsiteY6577" fmla="*/ 1155189 h 2052818"/>
                <a:gd name="connsiteX6578" fmla="*/ 1835660 w 2222569"/>
                <a:gd name="connsiteY6578" fmla="*/ 1158773 h 2052818"/>
                <a:gd name="connsiteX6579" fmla="*/ 1828492 w 2222569"/>
                <a:gd name="connsiteY6579" fmla="*/ 1158447 h 2052818"/>
                <a:gd name="connsiteX6580" fmla="*/ 1826863 w 2222569"/>
                <a:gd name="connsiteY6580" fmla="*/ 1155515 h 2052818"/>
                <a:gd name="connsiteX6581" fmla="*/ 1822302 w 2222569"/>
                <a:gd name="connsiteY6581" fmla="*/ 1152582 h 2052818"/>
                <a:gd name="connsiteX6582" fmla="*/ 1820184 w 2222569"/>
                <a:gd name="connsiteY6582" fmla="*/ 1150302 h 2052818"/>
                <a:gd name="connsiteX6583" fmla="*/ 1818881 w 2222569"/>
                <a:gd name="connsiteY6583" fmla="*/ 1150302 h 2052818"/>
                <a:gd name="connsiteX6584" fmla="*/ 1820021 w 2222569"/>
                <a:gd name="connsiteY6584" fmla="*/ 1152582 h 2052818"/>
                <a:gd name="connsiteX6585" fmla="*/ 1825071 w 2222569"/>
                <a:gd name="connsiteY6585" fmla="*/ 1156329 h 2052818"/>
                <a:gd name="connsiteX6586" fmla="*/ 1827026 w 2222569"/>
                <a:gd name="connsiteY6586" fmla="*/ 1160239 h 2052818"/>
                <a:gd name="connsiteX6587" fmla="*/ 1827026 w 2222569"/>
                <a:gd name="connsiteY6587" fmla="*/ 1165778 h 2052818"/>
                <a:gd name="connsiteX6588" fmla="*/ 1825234 w 2222569"/>
                <a:gd name="connsiteY6588" fmla="*/ 1168710 h 2052818"/>
                <a:gd name="connsiteX6589" fmla="*/ 1822953 w 2222569"/>
                <a:gd name="connsiteY6589" fmla="*/ 1168384 h 2052818"/>
                <a:gd name="connsiteX6590" fmla="*/ 1821650 w 2222569"/>
                <a:gd name="connsiteY6590" fmla="*/ 1164963 h 2052818"/>
                <a:gd name="connsiteX6591" fmla="*/ 1818555 w 2222569"/>
                <a:gd name="connsiteY6591" fmla="*/ 1162520 h 2052818"/>
                <a:gd name="connsiteX6592" fmla="*/ 1815134 w 2222569"/>
                <a:gd name="connsiteY6592" fmla="*/ 1161379 h 2052818"/>
                <a:gd name="connsiteX6593" fmla="*/ 1815948 w 2222569"/>
                <a:gd name="connsiteY6593" fmla="*/ 1162683 h 2052818"/>
                <a:gd name="connsiteX6594" fmla="*/ 1817740 w 2222569"/>
                <a:gd name="connsiteY6594" fmla="*/ 1164312 h 2052818"/>
                <a:gd name="connsiteX6595" fmla="*/ 1817740 w 2222569"/>
                <a:gd name="connsiteY6595" fmla="*/ 1168873 h 2052818"/>
                <a:gd name="connsiteX6596" fmla="*/ 1817415 w 2222569"/>
                <a:gd name="connsiteY6596" fmla="*/ 1174901 h 2052818"/>
                <a:gd name="connsiteX6597" fmla="*/ 1816111 w 2222569"/>
                <a:gd name="connsiteY6597" fmla="*/ 1175878 h 2052818"/>
                <a:gd name="connsiteX6598" fmla="*/ 1813668 w 2222569"/>
                <a:gd name="connsiteY6598" fmla="*/ 1175878 h 2052818"/>
                <a:gd name="connsiteX6599" fmla="*/ 1812038 w 2222569"/>
                <a:gd name="connsiteY6599" fmla="*/ 1174249 h 2052818"/>
                <a:gd name="connsiteX6600" fmla="*/ 1812038 w 2222569"/>
                <a:gd name="connsiteY6600" fmla="*/ 1169688 h 2052818"/>
                <a:gd name="connsiteX6601" fmla="*/ 1810409 w 2222569"/>
                <a:gd name="connsiteY6601" fmla="*/ 1170502 h 2052818"/>
                <a:gd name="connsiteX6602" fmla="*/ 1809595 w 2222569"/>
                <a:gd name="connsiteY6602" fmla="*/ 1173272 h 2052818"/>
                <a:gd name="connsiteX6603" fmla="*/ 1806174 w 2222569"/>
                <a:gd name="connsiteY6603" fmla="*/ 1173923 h 2052818"/>
                <a:gd name="connsiteX6604" fmla="*/ 1803893 w 2222569"/>
                <a:gd name="connsiteY6604" fmla="*/ 1172946 h 2052818"/>
                <a:gd name="connsiteX6605" fmla="*/ 1804545 w 2222569"/>
                <a:gd name="connsiteY6605" fmla="*/ 1169688 h 2052818"/>
                <a:gd name="connsiteX6606" fmla="*/ 1803404 w 2222569"/>
                <a:gd name="connsiteY6606" fmla="*/ 1166104 h 2052818"/>
                <a:gd name="connsiteX6607" fmla="*/ 1803078 w 2222569"/>
                <a:gd name="connsiteY6607" fmla="*/ 1162194 h 2052818"/>
                <a:gd name="connsiteX6608" fmla="*/ 1801449 w 2222569"/>
                <a:gd name="connsiteY6608" fmla="*/ 1160402 h 2052818"/>
                <a:gd name="connsiteX6609" fmla="*/ 1800798 w 2222569"/>
                <a:gd name="connsiteY6609" fmla="*/ 1163171 h 2052818"/>
                <a:gd name="connsiteX6610" fmla="*/ 1800798 w 2222569"/>
                <a:gd name="connsiteY6610" fmla="*/ 1169851 h 2052818"/>
                <a:gd name="connsiteX6611" fmla="*/ 1798517 w 2222569"/>
                <a:gd name="connsiteY6611" fmla="*/ 1171643 h 2052818"/>
                <a:gd name="connsiteX6612" fmla="*/ 1795259 w 2222569"/>
                <a:gd name="connsiteY6612" fmla="*/ 1171643 h 2052818"/>
                <a:gd name="connsiteX6613" fmla="*/ 1796399 w 2222569"/>
                <a:gd name="connsiteY6613" fmla="*/ 1173109 h 2052818"/>
                <a:gd name="connsiteX6614" fmla="*/ 1799006 w 2222569"/>
                <a:gd name="connsiteY6614" fmla="*/ 1173598 h 2052818"/>
                <a:gd name="connsiteX6615" fmla="*/ 1799820 w 2222569"/>
                <a:gd name="connsiteY6615" fmla="*/ 1175552 h 2052818"/>
                <a:gd name="connsiteX6616" fmla="*/ 1797702 w 2222569"/>
                <a:gd name="connsiteY6616" fmla="*/ 1178159 h 2052818"/>
                <a:gd name="connsiteX6617" fmla="*/ 1794770 w 2222569"/>
                <a:gd name="connsiteY6617" fmla="*/ 1177507 h 2052818"/>
                <a:gd name="connsiteX6618" fmla="*/ 1793467 w 2222569"/>
                <a:gd name="connsiteY6618" fmla="*/ 1176693 h 2052818"/>
                <a:gd name="connsiteX6619" fmla="*/ 1793141 w 2222569"/>
                <a:gd name="connsiteY6619" fmla="*/ 1178159 h 2052818"/>
                <a:gd name="connsiteX6620" fmla="*/ 1795910 w 2222569"/>
                <a:gd name="connsiteY6620" fmla="*/ 1180440 h 2052818"/>
                <a:gd name="connsiteX6621" fmla="*/ 1798028 w 2222569"/>
                <a:gd name="connsiteY6621" fmla="*/ 1180440 h 2052818"/>
                <a:gd name="connsiteX6622" fmla="*/ 1798517 w 2222569"/>
                <a:gd name="connsiteY6622" fmla="*/ 1182395 h 2052818"/>
                <a:gd name="connsiteX6623" fmla="*/ 1798028 w 2222569"/>
                <a:gd name="connsiteY6623" fmla="*/ 1185490 h 2052818"/>
                <a:gd name="connsiteX6624" fmla="*/ 1796073 w 2222569"/>
                <a:gd name="connsiteY6624" fmla="*/ 1186304 h 2052818"/>
                <a:gd name="connsiteX6625" fmla="*/ 1795585 w 2222569"/>
                <a:gd name="connsiteY6625" fmla="*/ 1188585 h 2052818"/>
                <a:gd name="connsiteX6626" fmla="*/ 1797214 w 2222569"/>
                <a:gd name="connsiteY6626" fmla="*/ 1192332 h 2052818"/>
                <a:gd name="connsiteX6627" fmla="*/ 1797214 w 2222569"/>
                <a:gd name="connsiteY6627" fmla="*/ 1195102 h 2052818"/>
                <a:gd name="connsiteX6628" fmla="*/ 1795585 w 2222569"/>
                <a:gd name="connsiteY6628" fmla="*/ 1195102 h 2052818"/>
                <a:gd name="connsiteX6629" fmla="*/ 1793630 w 2222569"/>
                <a:gd name="connsiteY6629" fmla="*/ 1193635 h 2052818"/>
                <a:gd name="connsiteX6630" fmla="*/ 1792652 w 2222569"/>
                <a:gd name="connsiteY6630" fmla="*/ 1194124 h 2052818"/>
                <a:gd name="connsiteX6631" fmla="*/ 1795748 w 2222569"/>
                <a:gd name="connsiteY6631" fmla="*/ 1197545 h 2052818"/>
                <a:gd name="connsiteX6632" fmla="*/ 1796236 w 2222569"/>
                <a:gd name="connsiteY6632" fmla="*/ 1200315 h 2052818"/>
                <a:gd name="connsiteX6633" fmla="*/ 1795585 w 2222569"/>
                <a:gd name="connsiteY6633" fmla="*/ 1204224 h 2052818"/>
                <a:gd name="connsiteX6634" fmla="*/ 1790697 w 2222569"/>
                <a:gd name="connsiteY6634" fmla="*/ 1205853 h 2052818"/>
                <a:gd name="connsiteX6635" fmla="*/ 1789557 w 2222569"/>
                <a:gd name="connsiteY6635" fmla="*/ 1207808 h 2052818"/>
                <a:gd name="connsiteX6636" fmla="*/ 1787602 w 2222569"/>
                <a:gd name="connsiteY6636" fmla="*/ 1206994 h 2052818"/>
                <a:gd name="connsiteX6637" fmla="*/ 1787113 w 2222569"/>
                <a:gd name="connsiteY6637" fmla="*/ 1204876 h 2052818"/>
                <a:gd name="connsiteX6638" fmla="*/ 1786136 w 2222569"/>
                <a:gd name="connsiteY6638" fmla="*/ 1203899 h 2052818"/>
                <a:gd name="connsiteX6639" fmla="*/ 1786136 w 2222569"/>
                <a:gd name="connsiteY6639" fmla="*/ 1201944 h 2052818"/>
                <a:gd name="connsiteX6640" fmla="*/ 1783692 w 2222569"/>
                <a:gd name="connsiteY6640" fmla="*/ 1200966 h 2052818"/>
                <a:gd name="connsiteX6641" fmla="*/ 1783203 w 2222569"/>
                <a:gd name="connsiteY6641" fmla="*/ 1199337 h 2052818"/>
                <a:gd name="connsiteX6642" fmla="*/ 1784996 w 2222569"/>
                <a:gd name="connsiteY6642" fmla="*/ 1196731 h 2052818"/>
                <a:gd name="connsiteX6643" fmla="*/ 1784996 w 2222569"/>
                <a:gd name="connsiteY6643" fmla="*/ 1194613 h 2052818"/>
                <a:gd name="connsiteX6644" fmla="*/ 1783529 w 2222569"/>
                <a:gd name="connsiteY6644" fmla="*/ 1194939 h 2052818"/>
                <a:gd name="connsiteX6645" fmla="*/ 1779945 w 2222569"/>
                <a:gd name="connsiteY6645" fmla="*/ 1196405 h 2052818"/>
                <a:gd name="connsiteX6646" fmla="*/ 1778805 w 2222569"/>
                <a:gd name="connsiteY6646" fmla="*/ 1199011 h 2052818"/>
                <a:gd name="connsiteX6647" fmla="*/ 1777176 w 2222569"/>
                <a:gd name="connsiteY6647" fmla="*/ 1198686 h 2052818"/>
                <a:gd name="connsiteX6648" fmla="*/ 1774895 w 2222569"/>
                <a:gd name="connsiteY6648" fmla="*/ 1195753 h 2052818"/>
                <a:gd name="connsiteX6649" fmla="*/ 1776524 w 2222569"/>
                <a:gd name="connsiteY6649" fmla="*/ 1193472 h 2052818"/>
                <a:gd name="connsiteX6650" fmla="*/ 1774732 w 2222569"/>
                <a:gd name="connsiteY6650" fmla="*/ 1191192 h 2052818"/>
                <a:gd name="connsiteX6651" fmla="*/ 1774732 w 2222569"/>
                <a:gd name="connsiteY6651" fmla="*/ 1189563 h 2052818"/>
                <a:gd name="connsiteX6652" fmla="*/ 1776524 w 2222569"/>
                <a:gd name="connsiteY6652" fmla="*/ 1187934 h 2052818"/>
                <a:gd name="connsiteX6653" fmla="*/ 1776524 w 2222569"/>
                <a:gd name="connsiteY6653" fmla="*/ 1185979 h 2052818"/>
                <a:gd name="connsiteX6654" fmla="*/ 1777339 w 2222569"/>
                <a:gd name="connsiteY6654" fmla="*/ 1183698 h 2052818"/>
                <a:gd name="connsiteX6655" fmla="*/ 1776524 w 2222569"/>
                <a:gd name="connsiteY6655" fmla="*/ 1183209 h 2052818"/>
                <a:gd name="connsiteX6656" fmla="*/ 1773918 w 2222569"/>
                <a:gd name="connsiteY6656" fmla="*/ 1185979 h 2052818"/>
                <a:gd name="connsiteX6657" fmla="*/ 1771800 w 2222569"/>
                <a:gd name="connsiteY6657" fmla="*/ 1190866 h 2052818"/>
                <a:gd name="connsiteX6658" fmla="*/ 1769030 w 2222569"/>
                <a:gd name="connsiteY6658" fmla="*/ 1193961 h 2052818"/>
                <a:gd name="connsiteX6659" fmla="*/ 1768216 w 2222569"/>
                <a:gd name="connsiteY6659" fmla="*/ 1192821 h 2052818"/>
                <a:gd name="connsiteX6660" fmla="*/ 1768216 w 2222569"/>
                <a:gd name="connsiteY6660" fmla="*/ 1189888 h 2052818"/>
                <a:gd name="connsiteX6661" fmla="*/ 1766261 w 2222569"/>
                <a:gd name="connsiteY6661" fmla="*/ 1186793 h 2052818"/>
                <a:gd name="connsiteX6662" fmla="*/ 1765284 w 2222569"/>
                <a:gd name="connsiteY6662" fmla="*/ 1183861 h 2052818"/>
                <a:gd name="connsiteX6663" fmla="*/ 1766913 w 2222569"/>
                <a:gd name="connsiteY6663" fmla="*/ 1181906 h 2052818"/>
                <a:gd name="connsiteX6664" fmla="*/ 1771474 w 2222569"/>
                <a:gd name="connsiteY6664" fmla="*/ 1180114 h 2052818"/>
                <a:gd name="connsiteX6665" fmla="*/ 1771474 w 2222569"/>
                <a:gd name="connsiteY6665" fmla="*/ 1178974 h 2052818"/>
                <a:gd name="connsiteX6666" fmla="*/ 1774081 w 2222569"/>
                <a:gd name="connsiteY6666" fmla="*/ 1177996 h 2052818"/>
                <a:gd name="connsiteX6667" fmla="*/ 1773103 w 2222569"/>
                <a:gd name="connsiteY6667" fmla="*/ 1176693 h 2052818"/>
                <a:gd name="connsiteX6668" fmla="*/ 1769356 w 2222569"/>
                <a:gd name="connsiteY6668" fmla="*/ 1176367 h 2052818"/>
                <a:gd name="connsiteX6669" fmla="*/ 1766261 w 2222569"/>
                <a:gd name="connsiteY6669" fmla="*/ 1177182 h 2052818"/>
                <a:gd name="connsiteX6670" fmla="*/ 1763003 w 2222569"/>
                <a:gd name="connsiteY6670" fmla="*/ 1176367 h 2052818"/>
                <a:gd name="connsiteX6671" fmla="*/ 1762188 w 2222569"/>
                <a:gd name="connsiteY6671" fmla="*/ 1174738 h 2052818"/>
                <a:gd name="connsiteX6672" fmla="*/ 1763166 w 2222569"/>
                <a:gd name="connsiteY6672" fmla="*/ 1172457 h 2052818"/>
                <a:gd name="connsiteX6673" fmla="*/ 1767076 w 2222569"/>
                <a:gd name="connsiteY6673" fmla="*/ 1171480 h 2052818"/>
                <a:gd name="connsiteX6674" fmla="*/ 1770334 w 2222569"/>
                <a:gd name="connsiteY6674" fmla="*/ 1167244 h 2052818"/>
                <a:gd name="connsiteX6675" fmla="*/ 1768053 w 2222569"/>
                <a:gd name="connsiteY6675" fmla="*/ 1167896 h 2052818"/>
                <a:gd name="connsiteX6676" fmla="*/ 1764958 w 2222569"/>
                <a:gd name="connsiteY6676" fmla="*/ 1169199 h 2052818"/>
                <a:gd name="connsiteX6677" fmla="*/ 1762840 w 2222569"/>
                <a:gd name="connsiteY6677" fmla="*/ 1168222 h 2052818"/>
                <a:gd name="connsiteX6678" fmla="*/ 1762514 w 2222569"/>
                <a:gd name="connsiteY6678" fmla="*/ 1165778 h 2052818"/>
                <a:gd name="connsiteX6679" fmla="*/ 1764958 w 2222569"/>
                <a:gd name="connsiteY6679" fmla="*/ 1164637 h 2052818"/>
                <a:gd name="connsiteX6680" fmla="*/ 1768379 w 2222569"/>
                <a:gd name="connsiteY6680" fmla="*/ 1163171 h 2052818"/>
                <a:gd name="connsiteX6681" fmla="*/ 1771800 w 2222569"/>
                <a:gd name="connsiteY6681" fmla="*/ 1162194 h 2052818"/>
                <a:gd name="connsiteX6682" fmla="*/ 1768868 w 2222569"/>
                <a:gd name="connsiteY6682" fmla="*/ 1160891 h 2052818"/>
                <a:gd name="connsiteX6683" fmla="*/ 1765121 w 2222569"/>
                <a:gd name="connsiteY6683" fmla="*/ 1160891 h 2052818"/>
                <a:gd name="connsiteX6684" fmla="*/ 1762677 w 2222569"/>
                <a:gd name="connsiteY6684" fmla="*/ 1162683 h 2052818"/>
                <a:gd name="connsiteX6685" fmla="*/ 1761048 w 2222569"/>
                <a:gd name="connsiteY6685" fmla="*/ 1161542 h 2052818"/>
                <a:gd name="connsiteX6686" fmla="*/ 1761374 w 2222569"/>
                <a:gd name="connsiteY6686" fmla="*/ 1159262 h 2052818"/>
                <a:gd name="connsiteX6687" fmla="*/ 1765284 w 2222569"/>
                <a:gd name="connsiteY6687" fmla="*/ 1153723 h 2052818"/>
                <a:gd name="connsiteX6688" fmla="*/ 1767727 w 2222569"/>
                <a:gd name="connsiteY6688" fmla="*/ 1152908 h 2052818"/>
                <a:gd name="connsiteX6689" fmla="*/ 1772940 w 2222569"/>
                <a:gd name="connsiteY6689" fmla="*/ 1151931 h 2052818"/>
                <a:gd name="connsiteX6690" fmla="*/ 1776850 w 2222569"/>
                <a:gd name="connsiteY6690" fmla="*/ 1148510 h 2052818"/>
                <a:gd name="connsiteX6691" fmla="*/ 1780108 w 2222569"/>
                <a:gd name="connsiteY6691" fmla="*/ 1146555 h 2052818"/>
                <a:gd name="connsiteX6692" fmla="*/ 1782063 w 2222569"/>
                <a:gd name="connsiteY6692" fmla="*/ 1142319 h 2052818"/>
                <a:gd name="connsiteX6693" fmla="*/ 1785810 w 2222569"/>
                <a:gd name="connsiteY6693" fmla="*/ 1138246 h 2052818"/>
                <a:gd name="connsiteX6694" fmla="*/ 1787928 w 2222569"/>
                <a:gd name="connsiteY6694" fmla="*/ 1137106 h 2052818"/>
                <a:gd name="connsiteX6695" fmla="*/ 1787439 w 2222569"/>
                <a:gd name="connsiteY6695" fmla="*/ 1135314 h 2052818"/>
                <a:gd name="connsiteX6696" fmla="*/ 1785321 w 2222569"/>
                <a:gd name="connsiteY6696" fmla="*/ 1135640 h 2052818"/>
                <a:gd name="connsiteX6697" fmla="*/ 1780760 w 2222569"/>
                <a:gd name="connsiteY6697" fmla="*/ 1139387 h 2052818"/>
                <a:gd name="connsiteX6698" fmla="*/ 1778153 w 2222569"/>
                <a:gd name="connsiteY6698" fmla="*/ 1140853 h 2052818"/>
                <a:gd name="connsiteX6699" fmla="*/ 1776036 w 2222569"/>
                <a:gd name="connsiteY6699" fmla="*/ 1144600 h 2052818"/>
                <a:gd name="connsiteX6700" fmla="*/ 1770008 w 2222569"/>
                <a:gd name="connsiteY6700" fmla="*/ 1147532 h 2052818"/>
                <a:gd name="connsiteX6701" fmla="*/ 1766913 w 2222569"/>
                <a:gd name="connsiteY6701" fmla="*/ 1147532 h 2052818"/>
                <a:gd name="connsiteX6702" fmla="*/ 1760396 w 2222569"/>
                <a:gd name="connsiteY6702" fmla="*/ 1152094 h 2052818"/>
                <a:gd name="connsiteX6703" fmla="*/ 1755672 w 2222569"/>
                <a:gd name="connsiteY6703" fmla="*/ 1152745 h 2052818"/>
                <a:gd name="connsiteX6704" fmla="*/ 1752414 w 2222569"/>
                <a:gd name="connsiteY6704" fmla="*/ 1151442 h 2052818"/>
                <a:gd name="connsiteX6705" fmla="*/ 1752414 w 2222569"/>
                <a:gd name="connsiteY6705" fmla="*/ 1149650 h 2052818"/>
                <a:gd name="connsiteX6706" fmla="*/ 1759419 w 2222569"/>
                <a:gd name="connsiteY6706" fmla="*/ 1142482 h 2052818"/>
                <a:gd name="connsiteX6707" fmla="*/ 1764632 w 2222569"/>
                <a:gd name="connsiteY6707" fmla="*/ 1139712 h 2052818"/>
                <a:gd name="connsiteX6708" fmla="*/ 1765935 w 2222569"/>
                <a:gd name="connsiteY6708" fmla="*/ 1137269 h 2052818"/>
                <a:gd name="connsiteX6709" fmla="*/ 1767727 w 2222569"/>
                <a:gd name="connsiteY6709" fmla="*/ 1135151 h 2052818"/>
                <a:gd name="connsiteX6710" fmla="*/ 1767401 w 2222569"/>
                <a:gd name="connsiteY6710" fmla="*/ 1131567 h 2052818"/>
                <a:gd name="connsiteX6711" fmla="*/ 1763818 w 2222569"/>
                <a:gd name="connsiteY6711" fmla="*/ 1136943 h 2052818"/>
                <a:gd name="connsiteX6712" fmla="*/ 1754206 w 2222569"/>
                <a:gd name="connsiteY6712" fmla="*/ 1142808 h 2052818"/>
                <a:gd name="connsiteX6713" fmla="*/ 1751110 w 2222569"/>
                <a:gd name="connsiteY6713" fmla="*/ 1144437 h 2052818"/>
                <a:gd name="connsiteX6714" fmla="*/ 1748830 w 2222569"/>
                <a:gd name="connsiteY6714" fmla="*/ 1143622 h 2052818"/>
                <a:gd name="connsiteX6715" fmla="*/ 1747689 w 2222569"/>
                <a:gd name="connsiteY6715" fmla="*/ 1141830 h 2052818"/>
                <a:gd name="connsiteX6716" fmla="*/ 1748341 w 2222569"/>
                <a:gd name="connsiteY6716" fmla="*/ 1138246 h 2052818"/>
                <a:gd name="connsiteX6717" fmla="*/ 1747038 w 2222569"/>
                <a:gd name="connsiteY6717" fmla="*/ 1136617 h 2052818"/>
                <a:gd name="connsiteX6718" fmla="*/ 1744431 w 2222569"/>
                <a:gd name="connsiteY6718" fmla="*/ 1137432 h 2052818"/>
                <a:gd name="connsiteX6719" fmla="*/ 1741987 w 2222569"/>
                <a:gd name="connsiteY6719" fmla="*/ 1135966 h 2052818"/>
                <a:gd name="connsiteX6720" fmla="*/ 1743128 w 2222569"/>
                <a:gd name="connsiteY6720" fmla="*/ 1134174 h 2052818"/>
                <a:gd name="connsiteX6721" fmla="*/ 1745572 w 2222569"/>
                <a:gd name="connsiteY6721" fmla="*/ 1133359 h 2052818"/>
                <a:gd name="connsiteX6722" fmla="*/ 1745572 w 2222569"/>
                <a:gd name="connsiteY6722" fmla="*/ 1130915 h 2052818"/>
                <a:gd name="connsiteX6723" fmla="*/ 1743780 w 2222569"/>
                <a:gd name="connsiteY6723" fmla="*/ 1129449 h 2052818"/>
                <a:gd name="connsiteX6724" fmla="*/ 1741336 w 2222569"/>
                <a:gd name="connsiteY6724" fmla="*/ 1129449 h 2052818"/>
                <a:gd name="connsiteX6725" fmla="*/ 1740847 w 2222569"/>
                <a:gd name="connsiteY6725" fmla="*/ 1128146 h 2052818"/>
                <a:gd name="connsiteX6726" fmla="*/ 1741336 w 2222569"/>
                <a:gd name="connsiteY6726" fmla="*/ 1123421 h 2052818"/>
                <a:gd name="connsiteX6727" fmla="*/ 1743128 w 2222569"/>
                <a:gd name="connsiteY6727" fmla="*/ 1122444 h 2052818"/>
                <a:gd name="connsiteX6728" fmla="*/ 1743128 w 2222569"/>
                <a:gd name="connsiteY6728" fmla="*/ 1119675 h 2052818"/>
                <a:gd name="connsiteX6729" fmla="*/ 1740521 w 2222569"/>
                <a:gd name="connsiteY6729" fmla="*/ 1118208 h 2052818"/>
                <a:gd name="connsiteX6730" fmla="*/ 1738567 w 2222569"/>
                <a:gd name="connsiteY6730" fmla="*/ 1115602 h 2052818"/>
                <a:gd name="connsiteX6731" fmla="*/ 1737589 w 2222569"/>
                <a:gd name="connsiteY6731" fmla="*/ 1115602 h 2052818"/>
                <a:gd name="connsiteX6732" fmla="*/ 1737589 w 2222569"/>
                <a:gd name="connsiteY6732" fmla="*/ 1119186 h 2052818"/>
                <a:gd name="connsiteX6733" fmla="*/ 1738403 w 2222569"/>
                <a:gd name="connsiteY6733" fmla="*/ 1121792 h 2052818"/>
                <a:gd name="connsiteX6734" fmla="*/ 1734494 w 2222569"/>
                <a:gd name="connsiteY6734" fmla="*/ 1123421 h 2052818"/>
                <a:gd name="connsiteX6735" fmla="*/ 1732213 w 2222569"/>
                <a:gd name="connsiteY6735" fmla="*/ 1121467 h 2052818"/>
                <a:gd name="connsiteX6736" fmla="*/ 1729606 w 2222569"/>
                <a:gd name="connsiteY6736" fmla="*/ 1119023 h 2052818"/>
                <a:gd name="connsiteX6737" fmla="*/ 1725208 w 2222569"/>
                <a:gd name="connsiteY6737" fmla="*/ 1119023 h 2052818"/>
                <a:gd name="connsiteX6738" fmla="*/ 1729932 w 2222569"/>
                <a:gd name="connsiteY6738" fmla="*/ 1121955 h 2052818"/>
                <a:gd name="connsiteX6739" fmla="*/ 1732702 w 2222569"/>
                <a:gd name="connsiteY6739" fmla="*/ 1126843 h 2052818"/>
                <a:gd name="connsiteX6740" fmla="*/ 1733353 w 2222569"/>
                <a:gd name="connsiteY6740" fmla="*/ 1131078 h 2052818"/>
                <a:gd name="connsiteX6741" fmla="*/ 1730258 w 2222569"/>
                <a:gd name="connsiteY6741" fmla="*/ 1130264 h 2052818"/>
                <a:gd name="connsiteX6742" fmla="*/ 1729444 w 2222569"/>
                <a:gd name="connsiteY6742" fmla="*/ 1131567 h 2052818"/>
                <a:gd name="connsiteX6743" fmla="*/ 1730095 w 2222569"/>
                <a:gd name="connsiteY6743" fmla="*/ 1132707 h 2052818"/>
                <a:gd name="connsiteX6744" fmla="*/ 1726348 w 2222569"/>
                <a:gd name="connsiteY6744" fmla="*/ 1133359 h 2052818"/>
                <a:gd name="connsiteX6745" fmla="*/ 1724068 w 2222569"/>
                <a:gd name="connsiteY6745" fmla="*/ 1130590 h 2052818"/>
                <a:gd name="connsiteX6746" fmla="*/ 1722927 w 2222569"/>
                <a:gd name="connsiteY6746" fmla="*/ 1125539 h 2052818"/>
                <a:gd name="connsiteX6747" fmla="*/ 1720972 w 2222569"/>
                <a:gd name="connsiteY6747" fmla="*/ 1124073 h 2052818"/>
                <a:gd name="connsiteX6748" fmla="*/ 1719506 w 2222569"/>
                <a:gd name="connsiteY6748" fmla="*/ 1125539 h 2052818"/>
                <a:gd name="connsiteX6749" fmla="*/ 1722113 w 2222569"/>
                <a:gd name="connsiteY6749" fmla="*/ 1128146 h 2052818"/>
                <a:gd name="connsiteX6750" fmla="*/ 1722601 w 2222569"/>
                <a:gd name="connsiteY6750" fmla="*/ 1131404 h 2052818"/>
                <a:gd name="connsiteX6751" fmla="*/ 1721135 w 2222569"/>
                <a:gd name="connsiteY6751" fmla="*/ 1134988 h 2052818"/>
                <a:gd name="connsiteX6752" fmla="*/ 1724230 w 2222569"/>
                <a:gd name="connsiteY6752" fmla="*/ 1135640 h 2052818"/>
                <a:gd name="connsiteX6753" fmla="*/ 1727326 w 2222569"/>
                <a:gd name="connsiteY6753" fmla="*/ 1139549 h 2052818"/>
                <a:gd name="connsiteX6754" fmla="*/ 1728955 w 2222569"/>
                <a:gd name="connsiteY6754" fmla="*/ 1143785 h 2052818"/>
                <a:gd name="connsiteX6755" fmla="*/ 1728629 w 2222569"/>
                <a:gd name="connsiteY6755" fmla="*/ 1147043 h 2052818"/>
                <a:gd name="connsiteX6756" fmla="*/ 1730584 w 2222569"/>
                <a:gd name="connsiteY6756" fmla="*/ 1147695 h 2052818"/>
                <a:gd name="connsiteX6757" fmla="*/ 1730095 w 2222569"/>
                <a:gd name="connsiteY6757" fmla="*/ 1149813 h 2052818"/>
                <a:gd name="connsiteX6758" fmla="*/ 1727326 w 2222569"/>
                <a:gd name="connsiteY6758" fmla="*/ 1150790 h 2052818"/>
                <a:gd name="connsiteX6759" fmla="*/ 1722113 w 2222569"/>
                <a:gd name="connsiteY6759" fmla="*/ 1150139 h 2052818"/>
                <a:gd name="connsiteX6760" fmla="*/ 1719995 w 2222569"/>
                <a:gd name="connsiteY6760" fmla="*/ 1147369 h 2052818"/>
                <a:gd name="connsiteX6761" fmla="*/ 1718692 w 2222569"/>
                <a:gd name="connsiteY6761" fmla="*/ 1151768 h 2052818"/>
                <a:gd name="connsiteX6762" fmla="*/ 1717062 w 2222569"/>
                <a:gd name="connsiteY6762" fmla="*/ 1151768 h 2052818"/>
                <a:gd name="connsiteX6763" fmla="*/ 1712338 w 2222569"/>
                <a:gd name="connsiteY6763" fmla="*/ 1146392 h 2052818"/>
                <a:gd name="connsiteX6764" fmla="*/ 1711524 w 2222569"/>
                <a:gd name="connsiteY6764" fmla="*/ 1143133 h 2052818"/>
                <a:gd name="connsiteX6765" fmla="*/ 1713153 w 2222569"/>
                <a:gd name="connsiteY6765" fmla="*/ 1140201 h 2052818"/>
                <a:gd name="connsiteX6766" fmla="*/ 1712338 w 2222569"/>
                <a:gd name="connsiteY6766" fmla="*/ 1137269 h 2052818"/>
                <a:gd name="connsiteX6767" fmla="*/ 1708265 w 2222569"/>
                <a:gd name="connsiteY6767" fmla="*/ 1134662 h 2052818"/>
                <a:gd name="connsiteX6768" fmla="*/ 1704193 w 2222569"/>
                <a:gd name="connsiteY6768" fmla="*/ 1134662 h 2052818"/>
                <a:gd name="connsiteX6769" fmla="*/ 1703378 w 2222569"/>
                <a:gd name="connsiteY6769" fmla="*/ 1132219 h 2052818"/>
                <a:gd name="connsiteX6770" fmla="*/ 1701423 w 2222569"/>
                <a:gd name="connsiteY6770" fmla="*/ 1128798 h 2052818"/>
                <a:gd name="connsiteX6771" fmla="*/ 1698979 w 2222569"/>
                <a:gd name="connsiteY6771" fmla="*/ 1130590 h 2052818"/>
                <a:gd name="connsiteX6772" fmla="*/ 1694581 w 2222569"/>
                <a:gd name="connsiteY6772" fmla="*/ 1131730 h 2052818"/>
                <a:gd name="connsiteX6773" fmla="*/ 1688879 w 2222569"/>
                <a:gd name="connsiteY6773" fmla="*/ 1131404 h 2052818"/>
                <a:gd name="connsiteX6774" fmla="*/ 1691160 w 2222569"/>
                <a:gd name="connsiteY6774" fmla="*/ 1134011 h 2052818"/>
                <a:gd name="connsiteX6775" fmla="*/ 1697351 w 2222569"/>
                <a:gd name="connsiteY6775" fmla="*/ 1134499 h 2052818"/>
                <a:gd name="connsiteX6776" fmla="*/ 1701260 w 2222569"/>
                <a:gd name="connsiteY6776" fmla="*/ 1136128 h 2052818"/>
                <a:gd name="connsiteX6777" fmla="*/ 1706636 w 2222569"/>
                <a:gd name="connsiteY6777" fmla="*/ 1137757 h 2052818"/>
                <a:gd name="connsiteX6778" fmla="*/ 1706636 w 2222569"/>
                <a:gd name="connsiteY6778" fmla="*/ 1142808 h 2052818"/>
                <a:gd name="connsiteX6779" fmla="*/ 1703704 w 2222569"/>
                <a:gd name="connsiteY6779" fmla="*/ 1146229 h 2052818"/>
                <a:gd name="connsiteX6780" fmla="*/ 1703704 w 2222569"/>
                <a:gd name="connsiteY6780" fmla="*/ 1149161 h 2052818"/>
                <a:gd name="connsiteX6781" fmla="*/ 1706636 w 2222569"/>
                <a:gd name="connsiteY6781" fmla="*/ 1148510 h 2052818"/>
                <a:gd name="connsiteX6782" fmla="*/ 1708265 w 2222569"/>
                <a:gd name="connsiteY6782" fmla="*/ 1150790 h 2052818"/>
                <a:gd name="connsiteX6783" fmla="*/ 1706473 w 2222569"/>
                <a:gd name="connsiteY6783" fmla="*/ 1153397 h 2052818"/>
                <a:gd name="connsiteX6784" fmla="*/ 1708591 w 2222569"/>
                <a:gd name="connsiteY6784" fmla="*/ 1154374 h 2052818"/>
                <a:gd name="connsiteX6785" fmla="*/ 1712827 w 2222569"/>
                <a:gd name="connsiteY6785" fmla="*/ 1154374 h 2052818"/>
                <a:gd name="connsiteX6786" fmla="*/ 1713153 w 2222569"/>
                <a:gd name="connsiteY6786" fmla="*/ 1156655 h 2052818"/>
                <a:gd name="connsiteX6787" fmla="*/ 1710220 w 2222569"/>
                <a:gd name="connsiteY6787" fmla="*/ 1161053 h 2052818"/>
                <a:gd name="connsiteX6788" fmla="*/ 1703541 w 2222569"/>
                <a:gd name="connsiteY6788" fmla="*/ 1166918 h 2052818"/>
                <a:gd name="connsiteX6789" fmla="*/ 1699305 w 2222569"/>
                <a:gd name="connsiteY6789" fmla="*/ 1170339 h 2052818"/>
                <a:gd name="connsiteX6790" fmla="*/ 1708428 w 2222569"/>
                <a:gd name="connsiteY6790" fmla="*/ 1168222 h 2052818"/>
                <a:gd name="connsiteX6791" fmla="*/ 1711198 w 2222569"/>
                <a:gd name="connsiteY6791" fmla="*/ 1164963 h 2052818"/>
                <a:gd name="connsiteX6792" fmla="*/ 1712175 w 2222569"/>
                <a:gd name="connsiteY6792" fmla="*/ 1162845 h 2052818"/>
                <a:gd name="connsiteX6793" fmla="*/ 1719343 w 2222569"/>
                <a:gd name="connsiteY6793" fmla="*/ 1162845 h 2052818"/>
                <a:gd name="connsiteX6794" fmla="*/ 1721461 w 2222569"/>
                <a:gd name="connsiteY6794" fmla="*/ 1165289 h 2052818"/>
                <a:gd name="connsiteX6795" fmla="*/ 1721461 w 2222569"/>
                <a:gd name="connsiteY6795" fmla="*/ 1166918 h 2052818"/>
                <a:gd name="connsiteX6796" fmla="*/ 1717062 w 2222569"/>
                <a:gd name="connsiteY6796" fmla="*/ 1169362 h 2052818"/>
                <a:gd name="connsiteX6797" fmla="*/ 1714782 w 2222569"/>
                <a:gd name="connsiteY6797" fmla="*/ 1172457 h 2052818"/>
                <a:gd name="connsiteX6798" fmla="*/ 1716574 w 2222569"/>
                <a:gd name="connsiteY6798" fmla="*/ 1173923 h 2052818"/>
                <a:gd name="connsiteX6799" fmla="*/ 1720972 w 2222569"/>
                <a:gd name="connsiteY6799" fmla="*/ 1174412 h 2052818"/>
                <a:gd name="connsiteX6800" fmla="*/ 1723742 w 2222569"/>
                <a:gd name="connsiteY6800" fmla="*/ 1177182 h 2052818"/>
                <a:gd name="connsiteX6801" fmla="*/ 1721298 w 2222569"/>
                <a:gd name="connsiteY6801" fmla="*/ 1178811 h 2052818"/>
                <a:gd name="connsiteX6802" fmla="*/ 1716737 w 2222569"/>
                <a:gd name="connsiteY6802" fmla="*/ 1179299 h 2052818"/>
                <a:gd name="connsiteX6803" fmla="*/ 1715433 w 2222569"/>
                <a:gd name="connsiteY6803" fmla="*/ 1181254 h 2052818"/>
                <a:gd name="connsiteX6804" fmla="*/ 1717877 w 2222569"/>
                <a:gd name="connsiteY6804" fmla="*/ 1182069 h 2052818"/>
                <a:gd name="connsiteX6805" fmla="*/ 1718692 w 2222569"/>
                <a:gd name="connsiteY6805" fmla="*/ 1185164 h 2052818"/>
                <a:gd name="connsiteX6806" fmla="*/ 1718040 w 2222569"/>
                <a:gd name="connsiteY6806" fmla="*/ 1185653 h 2052818"/>
                <a:gd name="connsiteX6807" fmla="*/ 1718529 w 2222569"/>
                <a:gd name="connsiteY6807" fmla="*/ 1187282 h 2052818"/>
                <a:gd name="connsiteX6808" fmla="*/ 1720321 w 2222569"/>
                <a:gd name="connsiteY6808" fmla="*/ 1187282 h 2052818"/>
                <a:gd name="connsiteX6809" fmla="*/ 1719506 w 2222569"/>
                <a:gd name="connsiteY6809" fmla="*/ 1191192 h 2052818"/>
                <a:gd name="connsiteX6810" fmla="*/ 1721624 w 2222569"/>
                <a:gd name="connsiteY6810" fmla="*/ 1191680 h 2052818"/>
                <a:gd name="connsiteX6811" fmla="*/ 1722601 w 2222569"/>
                <a:gd name="connsiteY6811" fmla="*/ 1195264 h 2052818"/>
                <a:gd name="connsiteX6812" fmla="*/ 1723090 w 2222569"/>
                <a:gd name="connsiteY6812" fmla="*/ 1201455 h 2052818"/>
                <a:gd name="connsiteX6813" fmla="*/ 1724230 w 2222569"/>
                <a:gd name="connsiteY6813" fmla="*/ 1202270 h 2052818"/>
                <a:gd name="connsiteX6814" fmla="*/ 1725534 w 2222569"/>
                <a:gd name="connsiteY6814" fmla="*/ 1199337 h 2052818"/>
                <a:gd name="connsiteX6815" fmla="*/ 1726022 w 2222569"/>
                <a:gd name="connsiteY6815" fmla="*/ 1194613 h 2052818"/>
                <a:gd name="connsiteX6816" fmla="*/ 1728303 w 2222569"/>
                <a:gd name="connsiteY6816" fmla="*/ 1193147 h 2052818"/>
                <a:gd name="connsiteX6817" fmla="*/ 1731236 w 2222569"/>
                <a:gd name="connsiteY6817" fmla="*/ 1195753 h 2052818"/>
                <a:gd name="connsiteX6818" fmla="*/ 1731887 w 2222569"/>
                <a:gd name="connsiteY6818" fmla="*/ 1200966 h 2052818"/>
                <a:gd name="connsiteX6819" fmla="*/ 1733842 w 2222569"/>
                <a:gd name="connsiteY6819" fmla="*/ 1203247 h 2052818"/>
                <a:gd name="connsiteX6820" fmla="*/ 1732865 w 2222569"/>
                <a:gd name="connsiteY6820" fmla="*/ 1205039 h 2052818"/>
                <a:gd name="connsiteX6821" fmla="*/ 1729118 w 2222569"/>
                <a:gd name="connsiteY6821" fmla="*/ 1207320 h 2052818"/>
                <a:gd name="connsiteX6822" fmla="*/ 1729932 w 2222569"/>
                <a:gd name="connsiteY6822" fmla="*/ 1209112 h 2052818"/>
                <a:gd name="connsiteX6823" fmla="*/ 1736123 w 2222569"/>
                <a:gd name="connsiteY6823" fmla="*/ 1208297 h 2052818"/>
                <a:gd name="connsiteX6824" fmla="*/ 1737426 w 2222569"/>
                <a:gd name="connsiteY6824" fmla="*/ 1207157 h 2052818"/>
                <a:gd name="connsiteX6825" fmla="*/ 1737752 w 2222569"/>
                <a:gd name="connsiteY6825" fmla="*/ 1210415 h 2052818"/>
                <a:gd name="connsiteX6826" fmla="*/ 1739870 w 2222569"/>
                <a:gd name="connsiteY6826" fmla="*/ 1206994 h 2052818"/>
                <a:gd name="connsiteX6827" fmla="*/ 1739870 w 2222569"/>
                <a:gd name="connsiteY6827" fmla="*/ 1204387 h 2052818"/>
                <a:gd name="connsiteX6828" fmla="*/ 1742802 w 2222569"/>
                <a:gd name="connsiteY6828" fmla="*/ 1204713 h 2052818"/>
                <a:gd name="connsiteX6829" fmla="*/ 1745083 w 2222569"/>
                <a:gd name="connsiteY6829" fmla="*/ 1208460 h 2052818"/>
                <a:gd name="connsiteX6830" fmla="*/ 1744105 w 2222569"/>
                <a:gd name="connsiteY6830" fmla="*/ 1212696 h 2052818"/>
                <a:gd name="connsiteX6831" fmla="*/ 1740847 w 2222569"/>
                <a:gd name="connsiteY6831" fmla="*/ 1215954 h 2052818"/>
                <a:gd name="connsiteX6832" fmla="*/ 1740195 w 2222569"/>
                <a:gd name="connsiteY6832" fmla="*/ 1218886 h 2052818"/>
                <a:gd name="connsiteX6833" fmla="*/ 1739218 w 2222569"/>
                <a:gd name="connsiteY6833" fmla="*/ 1220515 h 2052818"/>
                <a:gd name="connsiteX6834" fmla="*/ 1741662 w 2222569"/>
                <a:gd name="connsiteY6834" fmla="*/ 1222796 h 2052818"/>
                <a:gd name="connsiteX6835" fmla="*/ 1747689 w 2222569"/>
                <a:gd name="connsiteY6835" fmla="*/ 1222144 h 2052818"/>
                <a:gd name="connsiteX6836" fmla="*/ 1750785 w 2222569"/>
                <a:gd name="connsiteY6836" fmla="*/ 1220678 h 2052818"/>
                <a:gd name="connsiteX6837" fmla="*/ 1752902 w 2222569"/>
                <a:gd name="connsiteY6837" fmla="*/ 1222633 h 2052818"/>
                <a:gd name="connsiteX6838" fmla="*/ 1748993 w 2222569"/>
                <a:gd name="connsiteY6838" fmla="*/ 1225566 h 2052818"/>
                <a:gd name="connsiteX6839" fmla="*/ 1748015 w 2222569"/>
                <a:gd name="connsiteY6839" fmla="*/ 1227357 h 2052818"/>
                <a:gd name="connsiteX6840" fmla="*/ 1742639 w 2222569"/>
                <a:gd name="connsiteY6840" fmla="*/ 1228335 h 2052818"/>
                <a:gd name="connsiteX6841" fmla="*/ 1745572 w 2222569"/>
                <a:gd name="connsiteY6841" fmla="*/ 1231756 h 2052818"/>
                <a:gd name="connsiteX6842" fmla="*/ 1748504 w 2222569"/>
                <a:gd name="connsiteY6842" fmla="*/ 1237132 h 2052818"/>
                <a:gd name="connsiteX6843" fmla="*/ 1747364 w 2222569"/>
                <a:gd name="connsiteY6843" fmla="*/ 1240879 h 2052818"/>
                <a:gd name="connsiteX6844" fmla="*/ 1749644 w 2222569"/>
                <a:gd name="connsiteY6844" fmla="*/ 1241531 h 2052818"/>
                <a:gd name="connsiteX6845" fmla="*/ 1750622 w 2222569"/>
                <a:gd name="connsiteY6845" fmla="*/ 1247721 h 2052818"/>
                <a:gd name="connsiteX6846" fmla="*/ 1756161 w 2222569"/>
                <a:gd name="connsiteY6846" fmla="*/ 1256355 h 2052818"/>
                <a:gd name="connsiteX6847" fmla="*/ 1757790 w 2222569"/>
                <a:gd name="connsiteY6847" fmla="*/ 1257822 h 2052818"/>
                <a:gd name="connsiteX6848" fmla="*/ 1754532 w 2222569"/>
                <a:gd name="connsiteY6848" fmla="*/ 1259614 h 2052818"/>
                <a:gd name="connsiteX6849" fmla="*/ 1754043 w 2222569"/>
                <a:gd name="connsiteY6849" fmla="*/ 1266619 h 2052818"/>
                <a:gd name="connsiteX6850" fmla="*/ 1751599 w 2222569"/>
                <a:gd name="connsiteY6850" fmla="*/ 1271832 h 2052818"/>
                <a:gd name="connsiteX6851" fmla="*/ 1752740 w 2222569"/>
                <a:gd name="connsiteY6851" fmla="*/ 1277208 h 2052818"/>
                <a:gd name="connsiteX6852" fmla="*/ 1751273 w 2222569"/>
                <a:gd name="connsiteY6852" fmla="*/ 1279000 h 2052818"/>
                <a:gd name="connsiteX6853" fmla="*/ 1744757 w 2222569"/>
                <a:gd name="connsiteY6853" fmla="*/ 1271669 h 2052818"/>
                <a:gd name="connsiteX6854" fmla="*/ 1743291 w 2222569"/>
                <a:gd name="connsiteY6854" fmla="*/ 1265967 h 2052818"/>
                <a:gd name="connsiteX6855" fmla="*/ 1744105 w 2222569"/>
                <a:gd name="connsiteY6855" fmla="*/ 1260754 h 2052818"/>
                <a:gd name="connsiteX6856" fmla="*/ 1742476 w 2222569"/>
                <a:gd name="connsiteY6856" fmla="*/ 1253586 h 2052818"/>
                <a:gd name="connsiteX6857" fmla="*/ 1741987 w 2222569"/>
                <a:gd name="connsiteY6857" fmla="*/ 1260102 h 2052818"/>
                <a:gd name="connsiteX6858" fmla="*/ 1741010 w 2222569"/>
                <a:gd name="connsiteY6858" fmla="*/ 1267270 h 2052818"/>
                <a:gd name="connsiteX6859" fmla="*/ 1744105 w 2222569"/>
                <a:gd name="connsiteY6859" fmla="*/ 1275742 h 2052818"/>
                <a:gd name="connsiteX6860" fmla="*/ 1743617 w 2222569"/>
                <a:gd name="connsiteY6860" fmla="*/ 1283724 h 2052818"/>
                <a:gd name="connsiteX6861" fmla="*/ 1741987 w 2222569"/>
                <a:gd name="connsiteY6861" fmla="*/ 1287797 h 2052818"/>
                <a:gd name="connsiteX6862" fmla="*/ 1744757 w 2222569"/>
                <a:gd name="connsiteY6862" fmla="*/ 1292521 h 2052818"/>
                <a:gd name="connsiteX6863" fmla="*/ 1743291 w 2222569"/>
                <a:gd name="connsiteY6863" fmla="*/ 1294150 h 2052818"/>
                <a:gd name="connsiteX6864" fmla="*/ 1738892 w 2222569"/>
                <a:gd name="connsiteY6864" fmla="*/ 1293173 h 2052818"/>
                <a:gd name="connsiteX6865" fmla="*/ 1736611 w 2222569"/>
                <a:gd name="connsiteY6865" fmla="*/ 1289426 h 2052818"/>
                <a:gd name="connsiteX6866" fmla="*/ 1732539 w 2222569"/>
                <a:gd name="connsiteY6866" fmla="*/ 1289426 h 2052818"/>
                <a:gd name="connsiteX6867" fmla="*/ 1735308 w 2222569"/>
                <a:gd name="connsiteY6867" fmla="*/ 1298875 h 2052818"/>
                <a:gd name="connsiteX6868" fmla="*/ 1734983 w 2222569"/>
                <a:gd name="connsiteY6868" fmla="*/ 1304902 h 2052818"/>
                <a:gd name="connsiteX6869" fmla="*/ 1736449 w 2222569"/>
                <a:gd name="connsiteY6869" fmla="*/ 1306369 h 2052818"/>
                <a:gd name="connsiteX6870" fmla="*/ 1736449 w 2222569"/>
                <a:gd name="connsiteY6870" fmla="*/ 1309627 h 2052818"/>
                <a:gd name="connsiteX6871" fmla="*/ 1731887 w 2222569"/>
                <a:gd name="connsiteY6871" fmla="*/ 1309138 h 2052818"/>
                <a:gd name="connsiteX6872" fmla="*/ 1729118 w 2222569"/>
                <a:gd name="connsiteY6872" fmla="*/ 1306043 h 2052818"/>
                <a:gd name="connsiteX6873" fmla="*/ 1727326 w 2222569"/>
                <a:gd name="connsiteY6873" fmla="*/ 1298060 h 2052818"/>
                <a:gd name="connsiteX6874" fmla="*/ 1728955 w 2222569"/>
                <a:gd name="connsiteY6874" fmla="*/ 1295616 h 2052818"/>
                <a:gd name="connsiteX6875" fmla="*/ 1728955 w 2222569"/>
                <a:gd name="connsiteY6875" fmla="*/ 1290566 h 2052818"/>
                <a:gd name="connsiteX6876" fmla="*/ 1726674 w 2222569"/>
                <a:gd name="connsiteY6876" fmla="*/ 1293336 h 2052818"/>
                <a:gd name="connsiteX6877" fmla="*/ 1723253 w 2222569"/>
                <a:gd name="connsiteY6877" fmla="*/ 1293824 h 2052818"/>
                <a:gd name="connsiteX6878" fmla="*/ 1721298 w 2222569"/>
                <a:gd name="connsiteY6878" fmla="*/ 1290892 h 2052818"/>
                <a:gd name="connsiteX6879" fmla="*/ 1721298 w 2222569"/>
                <a:gd name="connsiteY6879" fmla="*/ 1283561 h 2052818"/>
                <a:gd name="connsiteX6880" fmla="*/ 1718529 w 2222569"/>
                <a:gd name="connsiteY6880" fmla="*/ 1285190 h 2052818"/>
                <a:gd name="connsiteX6881" fmla="*/ 1718203 w 2222569"/>
                <a:gd name="connsiteY6881" fmla="*/ 1288937 h 2052818"/>
                <a:gd name="connsiteX6882" fmla="*/ 1717062 w 2222569"/>
                <a:gd name="connsiteY6882" fmla="*/ 1287308 h 2052818"/>
                <a:gd name="connsiteX6883" fmla="*/ 1717062 w 2222569"/>
                <a:gd name="connsiteY6883" fmla="*/ 1284213 h 2052818"/>
                <a:gd name="connsiteX6884" fmla="*/ 1715596 w 2222569"/>
                <a:gd name="connsiteY6884" fmla="*/ 1279651 h 2052818"/>
                <a:gd name="connsiteX6885" fmla="*/ 1712501 w 2222569"/>
                <a:gd name="connsiteY6885" fmla="*/ 1278837 h 2052818"/>
                <a:gd name="connsiteX6886" fmla="*/ 1712501 w 2222569"/>
                <a:gd name="connsiteY6886" fmla="*/ 1280792 h 2052818"/>
                <a:gd name="connsiteX6887" fmla="*/ 1714293 w 2222569"/>
                <a:gd name="connsiteY6887" fmla="*/ 1283235 h 2052818"/>
                <a:gd name="connsiteX6888" fmla="*/ 1712827 w 2222569"/>
                <a:gd name="connsiteY6888" fmla="*/ 1286168 h 2052818"/>
                <a:gd name="connsiteX6889" fmla="*/ 1709732 w 2222569"/>
                <a:gd name="connsiteY6889" fmla="*/ 1283887 h 2052818"/>
                <a:gd name="connsiteX6890" fmla="*/ 1707288 w 2222569"/>
                <a:gd name="connsiteY6890" fmla="*/ 1283073 h 2052818"/>
                <a:gd name="connsiteX6891" fmla="*/ 1706799 w 2222569"/>
                <a:gd name="connsiteY6891" fmla="*/ 1279000 h 2052818"/>
                <a:gd name="connsiteX6892" fmla="*/ 1707288 w 2222569"/>
                <a:gd name="connsiteY6892" fmla="*/ 1274601 h 2052818"/>
                <a:gd name="connsiteX6893" fmla="*/ 1704518 w 2222569"/>
                <a:gd name="connsiteY6893" fmla="*/ 1266782 h 2052818"/>
                <a:gd name="connsiteX6894" fmla="*/ 1704518 w 2222569"/>
                <a:gd name="connsiteY6894" fmla="*/ 1263686 h 2052818"/>
                <a:gd name="connsiteX6895" fmla="*/ 1703215 w 2222569"/>
                <a:gd name="connsiteY6895" fmla="*/ 1268085 h 2052818"/>
                <a:gd name="connsiteX6896" fmla="*/ 1703541 w 2222569"/>
                <a:gd name="connsiteY6896" fmla="*/ 1275579 h 2052818"/>
                <a:gd name="connsiteX6897" fmla="*/ 1704844 w 2222569"/>
                <a:gd name="connsiteY6897" fmla="*/ 1280303 h 2052818"/>
                <a:gd name="connsiteX6898" fmla="*/ 1702075 w 2222569"/>
                <a:gd name="connsiteY6898" fmla="*/ 1283235 h 2052818"/>
                <a:gd name="connsiteX6899" fmla="*/ 1698654 w 2222569"/>
                <a:gd name="connsiteY6899" fmla="*/ 1274927 h 2052818"/>
                <a:gd name="connsiteX6900" fmla="*/ 1695233 w 2222569"/>
                <a:gd name="connsiteY6900" fmla="*/ 1271506 h 2052818"/>
                <a:gd name="connsiteX6901" fmla="*/ 1695233 w 2222569"/>
                <a:gd name="connsiteY6901" fmla="*/ 1269062 h 2052818"/>
                <a:gd name="connsiteX6902" fmla="*/ 1691811 w 2222569"/>
                <a:gd name="connsiteY6902" fmla="*/ 1268411 h 2052818"/>
                <a:gd name="connsiteX6903" fmla="*/ 1689368 w 2222569"/>
                <a:gd name="connsiteY6903" fmla="*/ 1260428 h 2052818"/>
                <a:gd name="connsiteX6904" fmla="*/ 1687087 w 2222569"/>
                <a:gd name="connsiteY6904" fmla="*/ 1258473 h 2052818"/>
                <a:gd name="connsiteX6905" fmla="*/ 1687087 w 2222569"/>
                <a:gd name="connsiteY6905" fmla="*/ 1255867 h 2052818"/>
                <a:gd name="connsiteX6906" fmla="*/ 1684806 w 2222569"/>
                <a:gd name="connsiteY6906" fmla="*/ 1252120 h 2052818"/>
                <a:gd name="connsiteX6907" fmla="*/ 1682200 w 2222569"/>
                <a:gd name="connsiteY6907" fmla="*/ 1253586 h 2052818"/>
                <a:gd name="connsiteX6908" fmla="*/ 1681874 w 2222569"/>
                <a:gd name="connsiteY6908" fmla="*/ 1255867 h 2052818"/>
                <a:gd name="connsiteX6909" fmla="*/ 1684318 w 2222569"/>
                <a:gd name="connsiteY6909" fmla="*/ 1261731 h 2052818"/>
                <a:gd name="connsiteX6910" fmla="*/ 1684644 w 2222569"/>
                <a:gd name="connsiteY6910" fmla="*/ 1265804 h 2052818"/>
                <a:gd name="connsiteX6911" fmla="*/ 1682363 w 2222569"/>
                <a:gd name="connsiteY6911" fmla="*/ 1263523 h 2052818"/>
                <a:gd name="connsiteX6912" fmla="*/ 1682037 w 2222569"/>
                <a:gd name="connsiteY6912" fmla="*/ 1260265 h 2052818"/>
                <a:gd name="connsiteX6913" fmla="*/ 1679430 w 2222569"/>
                <a:gd name="connsiteY6913" fmla="*/ 1257984 h 2052818"/>
                <a:gd name="connsiteX6914" fmla="*/ 1673729 w 2222569"/>
                <a:gd name="connsiteY6914" fmla="*/ 1255215 h 2052818"/>
                <a:gd name="connsiteX6915" fmla="*/ 1670470 w 2222569"/>
                <a:gd name="connsiteY6915" fmla="*/ 1248699 h 2052818"/>
                <a:gd name="connsiteX6916" fmla="*/ 1670145 w 2222569"/>
                <a:gd name="connsiteY6916" fmla="*/ 1243974 h 2052818"/>
                <a:gd name="connsiteX6917" fmla="*/ 1665094 w 2222569"/>
                <a:gd name="connsiteY6917" fmla="*/ 1242834 h 2052818"/>
                <a:gd name="connsiteX6918" fmla="*/ 1663140 w 2222569"/>
                <a:gd name="connsiteY6918" fmla="*/ 1246092 h 2052818"/>
                <a:gd name="connsiteX6919" fmla="*/ 1659881 w 2222569"/>
                <a:gd name="connsiteY6919" fmla="*/ 1244300 h 2052818"/>
                <a:gd name="connsiteX6920" fmla="*/ 1659393 w 2222569"/>
                <a:gd name="connsiteY6920" fmla="*/ 1248536 h 2052818"/>
                <a:gd name="connsiteX6921" fmla="*/ 1660696 w 2222569"/>
                <a:gd name="connsiteY6921" fmla="*/ 1254726 h 2052818"/>
                <a:gd name="connsiteX6922" fmla="*/ 1667701 w 2222569"/>
                <a:gd name="connsiteY6922" fmla="*/ 1260591 h 2052818"/>
                <a:gd name="connsiteX6923" fmla="*/ 1667701 w 2222569"/>
                <a:gd name="connsiteY6923" fmla="*/ 1263035 h 2052818"/>
                <a:gd name="connsiteX6924" fmla="*/ 1668516 w 2222569"/>
                <a:gd name="connsiteY6924" fmla="*/ 1266456 h 2052818"/>
                <a:gd name="connsiteX6925" fmla="*/ 1669004 w 2222569"/>
                <a:gd name="connsiteY6925" fmla="*/ 1272483 h 2052818"/>
                <a:gd name="connsiteX6926" fmla="*/ 1670959 w 2222569"/>
                <a:gd name="connsiteY6926" fmla="*/ 1272157 h 2052818"/>
                <a:gd name="connsiteX6927" fmla="*/ 1676824 w 2222569"/>
                <a:gd name="connsiteY6927" fmla="*/ 1273298 h 2052818"/>
                <a:gd name="connsiteX6928" fmla="*/ 1679919 w 2222569"/>
                <a:gd name="connsiteY6928" fmla="*/ 1277534 h 2052818"/>
                <a:gd name="connsiteX6929" fmla="*/ 1678616 w 2222569"/>
                <a:gd name="connsiteY6929" fmla="*/ 1280303 h 2052818"/>
                <a:gd name="connsiteX6930" fmla="*/ 1680897 w 2222569"/>
                <a:gd name="connsiteY6930" fmla="*/ 1279977 h 2052818"/>
                <a:gd name="connsiteX6931" fmla="*/ 1684155 w 2222569"/>
                <a:gd name="connsiteY6931" fmla="*/ 1280792 h 2052818"/>
                <a:gd name="connsiteX6932" fmla="*/ 1681385 w 2222569"/>
                <a:gd name="connsiteY6932" fmla="*/ 1284539 h 2052818"/>
                <a:gd name="connsiteX6933" fmla="*/ 1685947 w 2222569"/>
                <a:gd name="connsiteY6933" fmla="*/ 1284539 h 2052818"/>
                <a:gd name="connsiteX6934" fmla="*/ 1687576 w 2222569"/>
                <a:gd name="connsiteY6934" fmla="*/ 1287960 h 2052818"/>
                <a:gd name="connsiteX6935" fmla="*/ 1690183 w 2222569"/>
                <a:gd name="connsiteY6935" fmla="*/ 1292684 h 2052818"/>
                <a:gd name="connsiteX6936" fmla="*/ 1689205 w 2222569"/>
                <a:gd name="connsiteY6936" fmla="*/ 1296920 h 2052818"/>
                <a:gd name="connsiteX6937" fmla="*/ 1693278 w 2222569"/>
                <a:gd name="connsiteY6937" fmla="*/ 1296431 h 2052818"/>
                <a:gd name="connsiteX6938" fmla="*/ 1695884 w 2222569"/>
                <a:gd name="connsiteY6938" fmla="*/ 1297571 h 2052818"/>
                <a:gd name="connsiteX6939" fmla="*/ 1697025 w 2222569"/>
                <a:gd name="connsiteY6939" fmla="*/ 1303273 h 2052818"/>
                <a:gd name="connsiteX6940" fmla="*/ 1692952 w 2222569"/>
                <a:gd name="connsiteY6940" fmla="*/ 1307835 h 2052818"/>
                <a:gd name="connsiteX6941" fmla="*/ 1695559 w 2222569"/>
                <a:gd name="connsiteY6941" fmla="*/ 1307835 h 2052818"/>
                <a:gd name="connsiteX6942" fmla="*/ 1696862 w 2222569"/>
                <a:gd name="connsiteY6942" fmla="*/ 1310930 h 2052818"/>
                <a:gd name="connsiteX6943" fmla="*/ 1696862 w 2222569"/>
                <a:gd name="connsiteY6943" fmla="*/ 1313374 h 2052818"/>
                <a:gd name="connsiteX6944" fmla="*/ 1701260 w 2222569"/>
                <a:gd name="connsiteY6944" fmla="*/ 1309138 h 2052818"/>
                <a:gd name="connsiteX6945" fmla="*/ 1702401 w 2222569"/>
                <a:gd name="connsiteY6945" fmla="*/ 1310278 h 2052818"/>
                <a:gd name="connsiteX6946" fmla="*/ 1701749 w 2222569"/>
                <a:gd name="connsiteY6946" fmla="*/ 1315654 h 2052818"/>
                <a:gd name="connsiteX6947" fmla="*/ 1703215 w 2222569"/>
                <a:gd name="connsiteY6947" fmla="*/ 1317609 h 2052818"/>
                <a:gd name="connsiteX6948" fmla="*/ 1705170 w 2222569"/>
                <a:gd name="connsiteY6948" fmla="*/ 1316469 h 2052818"/>
                <a:gd name="connsiteX6949" fmla="*/ 1706636 w 2222569"/>
                <a:gd name="connsiteY6949" fmla="*/ 1319401 h 2052818"/>
                <a:gd name="connsiteX6950" fmla="*/ 1705170 w 2222569"/>
                <a:gd name="connsiteY6950" fmla="*/ 1322496 h 2052818"/>
                <a:gd name="connsiteX6951" fmla="*/ 1701423 w 2222569"/>
                <a:gd name="connsiteY6951" fmla="*/ 1321519 h 2052818"/>
                <a:gd name="connsiteX6952" fmla="*/ 1699468 w 2222569"/>
                <a:gd name="connsiteY6952" fmla="*/ 1323800 h 2052818"/>
                <a:gd name="connsiteX6953" fmla="*/ 1701423 w 2222569"/>
                <a:gd name="connsiteY6953" fmla="*/ 1327058 h 2052818"/>
                <a:gd name="connsiteX6954" fmla="*/ 1704518 w 2222569"/>
                <a:gd name="connsiteY6954" fmla="*/ 1330642 h 2052818"/>
                <a:gd name="connsiteX6955" fmla="*/ 1704518 w 2222569"/>
                <a:gd name="connsiteY6955" fmla="*/ 1333574 h 2052818"/>
                <a:gd name="connsiteX6956" fmla="*/ 1703215 w 2222569"/>
                <a:gd name="connsiteY6956" fmla="*/ 1334878 h 2052818"/>
                <a:gd name="connsiteX6957" fmla="*/ 1703215 w 2222569"/>
                <a:gd name="connsiteY6957" fmla="*/ 1334878 h 2052818"/>
                <a:gd name="connsiteX6958" fmla="*/ 1274764 w 2222569"/>
                <a:gd name="connsiteY6958" fmla="*/ 1206994 h 2052818"/>
                <a:gd name="connsiteX6959" fmla="*/ 1277045 w 2222569"/>
                <a:gd name="connsiteY6959" fmla="*/ 1206994 h 2052818"/>
                <a:gd name="connsiteX6960" fmla="*/ 1278022 w 2222569"/>
                <a:gd name="connsiteY6960" fmla="*/ 1202595 h 2052818"/>
                <a:gd name="connsiteX6961" fmla="*/ 1280466 w 2222569"/>
                <a:gd name="connsiteY6961" fmla="*/ 1201618 h 2052818"/>
                <a:gd name="connsiteX6962" fmla="*/ 1282258 w 2222569"/>
                <a:gd name="connsiteY6962" fmla="*/ 1202921 h 2052818"/>
                <a:gd name="connsiteX6963" fmla="*/ 1285516 w 2222569"/>
                <a:gd name="connsiteY6963" fmla="*/ 1204713 h 2052818"/>
                <a:gd name="connsiteX6964" fmla="*/ 1289426 w 2222569"/>
                <a:gd name="connsiteY6964" fmla="*/ 1204713 h 2052818"/>
                <a:gd name="connsiteX6965" fmla="*/ 1291381 w 2222569"/>
                <a:gd name="connsiteY6965" fmla="*/ 1203573 h 2052818"/>
                <a:gd name="connsiteX6966" fmla="*/ 1293825 w 2222569"/>
                <a:gd name="connsiteY6966" fmla="*/ 1203573 h 2052818"/>
                <a:gd name="connsiteX6967" fmla="*/ 1296594 w 2222569"/>
                <a:gd name="connsiteY6967" fmla="*/ 1205528 h 2052818"/>
                <a:gd name="connsiteX6968" fmla="*/ 1297409 w 2222569"/>
                <a:gd name="connsiteY6968" fmla="*/ 1208460 h 2052818"/>
                <a:gd name="connsiteX6969" fmla="*/ 1293662 w 2222569"/>
                <a:gd name="connsiteY6969" fmla="*/ 1213510 h 2052818"/>
                <a:gd name="connsiteX6970" fmla="*/ 1294476 w 2222569"/>
                <a:gd name="connsiteY6970" fmla="*/ 1217583 h 2052818"/>
                <a:gd name="connsiteX6971" fmla="*/ 1291544 w 2222569"/>
                <a:gd name="connsiteY6971" fmla="*/ 1221656 h 2052818"/>
                <a:gd name="connsiteX6972" fmla="*/ 1291544 w 2222569"/>
                <a:gd name="connsiteY6972" fmla="*/ 1228498 h 2052818"/>
                <a:gd name="connsiteX6973" fmla="*/ 1292684 w 2222569"/>
                <a:gd name="connsiteY6973" fmla="*/ 1230453 h 2052818"/>
                <a:gd name="connsiteX6974" fmla="*/ 1295454 w 2222569"/>
                <a:gd name="connsiteY6974" fmla="*/ 1228987 h 2052818"/>
                <a:gd name="connsiteX6975" fmla="*/ 1297245 w 2222569"/>
                <a:gd name="connsiteY6975" fmla="*/ 1230453 h 2052818"/>
                <a:gd name="connsiteX6976" fmla="*/ 1300993 w 2222569"/>
                <a:gd name="connsiteY6976" fmla="*/ 1230453 h 2052818"/>
                <a:gd name="connsiteX6977" fmla="*/ 1303762 w 2222569"/>
                <a:gd name="connsiteY6977" fmla="*/ 1228824 h 2052818"/>
                <a:gd name="connsiteX6978" fmla="*/ 1307835 w 2222569"/>
                <a:gd name="connsiteY6978" fmla="*/ 1228824 h 2052818"/>
                <a:gd name="connsiteX6979" fmla="*/ 1308975 w 2222569"/>
                <a:gd name="connsiteY6979" fmla="*/ 1226869 h 2052818"/>
                <a:gd name="connsiteX6980" fmla="*/ 1312722 w 2222569"/>
                <a:gd name="connsiteY6980" fmla="*/ 1224751 h 2052818"/>
                <a:gd name="connsiteX6981" fmla="*/ 1316306 w 2222569"/>
                <a:gd name="connsiteY6981" fmla="*/ 1224751 h 2052818"/>
                <a:gd name="connsiteX6982" fmla="*/ 1320542 w 2222569"/>
                <a:gd name="connsiteY6982" fmla="*/ 1221004 h 2052818"/>
                <a:gd name="connsiteX6983" fmla="*/ 1321845 w 2222569"/>
                <a:gd name="connsiteY6983" fmla="*/ 1215628 h 2052818"/>
                <a:gd name="connsiteX6984" fmla="*/ 1325103 w 2222569"/>
                <a:gd name="connsiteY6984" fmla="*/ 1212696 h 2052818"/>
                <a:gd name="connsiteX6985" fmla="*/ 1327547 w 2222569"/>
                <a:gd name="connsiteY6985" fmla="*/ 1208786 h 2052818"/>
                <a:gd name="connsiteX6986" fmla="*/ 1329827 w 2222569"/>
                <a:gd name="connsiteY6986" fmla="*/ 1208786 h 2052818"/>
                <a:gd name="connsiteX6987" fmla="*/ 1332108 w 2222569"/>
                <a:gd name="connsiteY6987" fmla="*/ 1210904 h 2052818"/>
                <a:gd name="connsiteX6988" fmla="*/ 1335855 w 2222569"/>
                <a:gd name="connsiteY6988" fmla="*/ 1208297 h 2052818"/>
                <a:gd name="connsiteX6989" fmla="*/ 1338299 w 2222569"/>
                <a:gd name="connsiteY6989" fmla="*/ 1206668 h 2052818"/>
                <a:gd name="connsiteX6990" fmla="*/ 1341394 w 2222569"/>
                <a:gd name="connsiteY6990" fmla="*/ 1207157 h 2052818"/>
                <a:gd name="connsiteX6991" fmla="*/ 1343186 w 2222569"/>
                <a:gd name="connsiteY6991" fmla="*/ 1200640 h 2052818"/>
                <a:gd name="connsiteX6992" fmla="*/ 1342697 w 2222569"/>
                <a:gd name="connsiteY6992" fmla="*/ 1194450 h 2052818"/>
                <a:gd name="connsiteX6993" fmla="*/ 1347096 w 2222569"/>
                <a:gd name="connsiteY6993" fmla="*/ 1191518 h 2052818"/>
                <a:gd name="connsiteX6994" fmla="*/ 1348725 w 2222569"/>
                <a:gd name="connsiteY6994" fmla="*/ 1188259 h 2052818"/>
                <a:gd name="connsiteX6995" fmla="*/ 1351820 w 2222569"/>
                <a:gd name="connsiteY6995" fmla="*/ 1188259 h 2052818"/>
                <a:gd name="connsiteX6996" fmla="*/ 1354101 w 2222569"/>
                <a:gd name="connsiteY6996" fmla="*/ 1190214 h 2052818"/>
                <a:gd name="connsiteX6997" fmla="*/ 1356545 w 2222569"/>
                <a:gd name="connsiteY6997" fmla="*/ 1187608 h 2052818"/>
                <a:gd name="connsiteX6998" fmla="*/ 1359477 w 2222569"/>
                <a:gd name="connsiteY6998" fmla="*/ 1186467 h 2052818"/>
                <a:gd name="connsiteX6999" fmla="*/ 1361920 w 2222569"/>
                <a:gd name="connsiteY6999" fmla="*/ 1187771 h 2052818"/>
                <a:gd name="connsiteX7000" fmla="*/ 1362572 w 2222569"/>
                <a:gd name="connsiteY7000" fmla="*/ 1191843 h 2052818"/>
                <a:gd name="connsiteX7001" fmla="*/ 1359314 w 2222569"/>
                <a:gd name="connsiteY7001" fmla="*/ 1194613 h 2052818"/>
                <a:gd name="connsiteX7002" fmla="*/ 1357196 w 2222569"/>
                <a:gd name="connsiteY7002" fmla="*/ 1197382 h 2052818"/>
                <a:gd name="connsiteX7003" fmla="*/ 1361106 w 2222569"/>
                <a:gd name="connsiteY7003" fmla="*/ 1199826 h 2052818"/>
                <a:gd name="connsiteX7004" fmla="*/ 1368274 w 2222569"/>
                <a:gd name="connsiteY7004" fmla="*/ 1199826 h 2052818"/>
                <a:gd name="connsiteX7005" fmla="*/ 1371695 w 2222569"/>
                <a:gd name="connsiteY7005" fmla="*/ 1201129 h 2052818"/>
                <a:gd name="connsiteX7006" fmla="*/ 1372836 w 2222569"/>
                <a:gd name="connsiteY7006" fmla="*/ 1204713 h 2052818"/>
                <a:gd name="connsiteX7007" fmla="*/ 1369740 w 2222569"/>
                <a:gd name="connsiteY7007" fmla="*/ 1209438 h 2052818"/>
                <a:gd name="connsiteX7008" fmla="*/ 1366645 w 2222569"/>
                <a:gd name="connsiteY7008" fmla="*/ 1210415 h 2052818"/>
                <a:gd name="connsiteX7009" fmla="*/ 1366319 w 2222569"/>
                <a:gd name="connsiteY7009" fmla="*/ 1216443 h 2052818"/>
                <a:gd name="connsiteX7010" fmla="*/ 1369414 w 2222569"/>
                <a:gd name="connsiteY7010" fmla="*/ 1217909 h 2052818"/>
                <a:gd name="connsiteX7011" fmla="*/ 1371369 w 2222569"/>
                <a:gd name="connsiteY7011" fmla="*/ 1216606 h 2052818"/>
                <a:gd name="connsiteX7012" fmla="*/ 1374790 w 2222569"/>
                <a:gd name="connsiteY7012" fmla="*/ 1216606 h 2052818"/>
                <a:gd name="connsiteX7013" fmla="*/ 1376419 w 2222569"/>
                <a:gd name="connsiteY7013" fmla="*/ 1218235 h 2052818"/>
                <a:gd name="connsiteX7014" fmla="*/ 1379515 w 2222569"/>
                <a:gd name="connsiteY7014" fmla="*/ 1217583 h 2052818"/>
                <a:gd name="connsiteX7015" fmla="*/ 1380981 w 2222569"/>
                <a:gd name="connsiteY7015" fmla="*/ 1220678 h 2052818"/>
                <a:gd name="connsiteX7016" fmla="*/ 1385542 w 2222569"/>
                <a:gd name="connsiteY7016" fmla="*/ 1221004 h 2052818"/>
                <a:gd name="connsiteX7017" fmla="*/ 1388312 w 2222569"/>
                <a:gd name="connsiteY7017" fmla="*/ 1223611 h 2052818"/>
                <a:gd name="connsiteX7018" fmla="*/ 1391244 w 2222569"/>
                <a:gd name="connsiteY7018" fmla="*/ 1223611 h 2052818"/>
                <a:gd name="connsiteX7019" fmla="*/ 1397435 w 2222569"/>
                <a:gd name="connsiteY7019" fmla="*/ 1227357 h 2052818"/>
                <a:gd name="connsiteX7020" fmla="*/ 1399715 w 2222569"/>
                <a:gd name="connsiteY7020" fmla="*/ 1225891 h 2052818"/>
                <a:gd name="connsiteX7021" fmla="*/ 1402485 w 2222569"/>
                <a:gd name="connsiteY7021" fmla="*/ 1220027 h 2052818"/>
                <a:gd name="connsiteX7022" fmla="*/ 1405417 w 2222569"/>
                <a:gd name="connsiteY7022" fmla="*/ 1219049 h 2052818"/>
                <a:gd name="connsiteX7023" fmla="*/ 1409327 w 2222569"/>
                <a:gd name="connsiteY7023" fmla="*/ 1214976 h 2052818"/>
                <a:gd name="connsiteX7024" fmla="*/ 1413563 w 2222569"/>
                <a:gd name="connsiteY7024" fmla="*/ 1214976 h 2052818"/>
                <a:gd name="connsiteX7025" fmla="*/ 1414540 w 2222569"/>
                <a:gd name="connsiteY7025" fmla="*/ 1212370 h 2052818"/>
                <a:gd name="connsiteX7026" fmla="*/ 1411445 w 2222569"/>
                <a:gd name="connsiteY7026" fmla="*/ 1210904 h 2052818"/>
                <a:gd name="connsiteX7027" fmla="*/ 1409001 w 2222569"/>
                <a:gd name="connsiteY7027" fmla="*/ 1207808 h 2052818"/>
                <a:gd name="connsiteX7028" fmla="*/ 1412096 w 2222569"/>
                <a:gd name="connsiteY7028" fmla="*/ 1206831 h 2052818"/>
                <a:gd name="connsiteX7029" fmla="*/ 1413726 w 2222569"/>
                <a:gd name="connsiteY7029" fmla="*/ 1203899 h 2052818"/>
                <a:gd name="connsiteX7030" fmla="*/ 1410630 w 2222569"/>
                <a:gd name="connsiteY7030" fmla="*/ 1202595 h 2052818"/>
                <a:gd name="connsiteX7031" fmla="*/ 1408676 w 2222569"/>
                <a:gd name="connsiteY7031" fmla="*/ 1198686 h 2052818"/>
                <a:gd name="connsiteX7032" fmla="*/ 1406884 w 2222569"/>
                <a:gd name="connsiteY7032" fmla="*/ 1199500 h 2052818"/>
                <a:gd name="connsiteX7033" fmla="*/ 1406884 w 2222569"/>
                <a:gd name="connsiteY7033" fmla="*/ 1202595 h 2052818"/>
                <a:gd name="connsiteX7034" fmla="*/ 1405091 w 2222569"/>
                <a:gd name="connsiteY7034" fmla="*/ 1204062 h 2052818"/>
                <a:gd name="connsiteX7035" fmla="*/ 1403136 w 2222569"/>
                <a:gd name="connsiteY7035" fmla="*/ 1202758 h 2052818"/>
                <a:gd name="connsiteX7036" fmla="*/ 1398738 w 2222569"/>
                <a:gd name="connsiteY7036" fmla="*/ 1200803 h 2052818"/>
                <a:gd name="connsiteX7037" fmla="*/ 1398412 w 2222569"/>
                <a:gd name="connsiteY7037" fmla="*/ 1197545 h 2052818"/>
                <a:gd name="connsiteX7038" fmla="*/ 1396620 w 2222569"/>
                <a:gd name="connsiteY7038" fmla="*/ 1198360 h 2052818"/>
                <a:gd name="connsiteX7039" fmla="*/ 1393362 w 2222569"/>
                <a:gd name="connsiteY7039" fmla="*/ 1201944 h 2052818"/>
                <a:gd name="connsiteX7040" fmla="*/ 1385542 w 2222569"/>
                <a:gd name="connsiteY7040" fmla="*/ 1201618 h 2052818"/>
                <a:gd name="connsiteX7041" fmla="*/ 1382284 w 2222569"/>
                <a:gd name="connsiteY7041" fmla="*/ 1198848 h 2052818"/>
                <a:gd name="connsiteX7042" fmla="*/ 1386683 w 2222569"/>
                <a:gd name="connsiteY7042" fmla="*/ 1196242 h 2052818"/>
                <a:gd name="connsiteX7043" fmla="*/ 1389941 w 2222569"/>
                <a:gd name="connsiteY7043" fmla="*/ 1196242 h 2052818"/>
                <a:gd name="connsiteX7044" fmla="*/ 1393688 w 2222569"/>
                <a:gd name="connsiteY7044" fmla="*/ 1193472 h 2052818"/>
                <a:gd name="connsiteX7045" fmla="*/ 1393688 w 2222569"/>
                <a:gd name="connsiteY7045" fmla="*/ 1189888 h 2052818"/>
                <a:gd name="connsiteX7046" fmla="*/ 1392222 w 2222569"/>
                <a:gd name="connsiteY7046" fmla="*/ 1188422 h 2052818"/>
                <a:gd name="connsiteX7047" fmla="*/ 1391733 w 2222569"/>
                <a:gd name="connsiteY7047" fmla="*/ 1182883 h 2052818"/>
                <a:gd name="connsiteX7048" fmla="*/ 1393362 w 2222569"/>
                <a:gd name="connsiteY7048" fmla="*/ 1179788 h 2052818"/>
                <a:gd name="connsiteX7049" fmla="*/ 1393362 w 2222569"/>
                <a:gd name="connsiteY7049" fmla="*/ 1177182 h 2052818"/>
                <a:gd name="connsiteX7050" fmla="*/ 1390593 w 2222569"/>
                <a:gd name="connsiteY7050" fmla="*/ 1174738 h 2052818"/>
                <a:gd name="connsiteX7051" fmla="*/ 1390593 w 2222569"/>
                <a:gd name="connsiteY7051" fmla="*/ 1171317 h 2052818"/>
                <a:gd name="connsiteX7052" fmla="*/ 1383913 w 2222569"/>
                <a:gd name="connsiteY7052" fmla="*/ 1163823 h 2052818"/>
                <a:gd name="connsiteX7053" fmla="*/ 1377723 w 2222569"/>
                <a:gd name="connsiteY7053" fmla="*/ 1161216 h 2052818"/>
                <a:gd name="connsiteX7054" fmla="*/ 1377234 w 2222569"/>
                <a:gd name="connsiteY7054" fmla="*/ 1158936 h 2052818"/>
                <a:gd name="connsiteX7055" fmla="*/ 1375605 w 2222569"/>
                <a:gd name="connsiteY7055" fmla="*/ 1153071 h 2052818"/>
                <a:gd name="connsiteX7056" fmla="*/ 1372184 w 2222569"/>
                <a:gd name="connsiteY7056" fmla="*/ 1153071 h 2052818"/>
                <a:gd name="connsiteX7057" fmla="*/ 1370880 w 2222569"/>
                <a:gd name="connsiteY7057" fmla="*/ 1149976 h 2052818"/>
                <a:gd name="connsiteX7058" fmla="*/ 1371858 w 2222569"/>
                <a:gd name="connsiteY7058" fmla="*/ 1144111 h 2052818"/>
                <a:gd name="connsiteX7059" fmla="*/ 1370229 w 2222569"/>
                <a:gd name="connsiteY7059" fmla="*/ 1140364 h 2052818"/>
                <a:gd name="connsiteX7060" fmla="*/ 1364038 w 2222569"/>
                <a:gd name="connsiteY7060" fmla="*/ 1140364 h 2052818"/>
                <a:gd name="connsiteX7061" fmla="*/ 1355730 w 2222569"/>
                <a:gd name="connsiteY7061" fmla="*/ 1137106 h 2052818"/>
                <a:gd name="connsiteX7062" fmla="*/ 1353286 w 2222569"/>
                <a:gd name="connsiteY7062" fmla="*/ 1132056 h 2052818"/>
                <a:gd name="connsiteX7063" fmla="*/ 1355241 w 2222569"/>
                <a:gd name="connsiteY7063" fmla="*/ 1129449 h 2052818"/>
                <a:gd name="connsiteX7064" fmla="*/ 1355241 w 2222569"/>
                <a:gd name="connsiteY7064" fmla="*/ 1126843 h 2052818"/>
                <a:gd name="connsiteX7065" fmla="*/ 1351494 w 2222569"/>
                <a:gd name="connsiteY7065" fmla="*/ 1123910 h 2052818"/>
                <a:gd name="connsiteX7066" fmla="*/ 1350354 w 2222569"/>
                <a:gd name="connsiteY7066" fmla="*/ 1120489 h 2052818"/>
                <a:gd name="connsiteX7067" fmla="*/ 1348725 w 2222569"/>
                <a:gd name="connsiteY7067" fmla="*/ 1120163 h 2052818"/>
                <a:gd name="connsiteX7068" fmla="*/ 1344163 w 2222569"/>
                <a:gd name="connsiteY7068" fmla="*/ 1125702 h 2052818"/>
                <a:gd name="connsiteX7069" fmla="*/ 1343186 w 2222569"/>
                <a:gd name="connsiteY7069" fmla="*/ 1130101 h 2052818"/>
                <a:gd name="connsiteX7070" fmla="*/ 1340417 w 2222569"/>
                <a:gd name="connsiteY7070" fmla="*/ 1132544 h 2052818"/>
                <a:gd name="connsiteX7071" fmla="*/ 1338136 w 2222569"/>
                <a:gd name="connsiteY7071" fmla="*/ 1130590 h 2052818"/>
                <a:gd name="connsiteX7072" fmla="*/ 1338462 w 2222569"/>
                <a:gd name="connsiteY7072" fmla="*/ 1124399 h 2052818"/>
                <a:gd name="connsiteX7073" fmla="*/ 1336181 w 2222569"/>
                <a:gd name="connsiteY7073" fmla="*/ 1119675 h 2052818"/>
                <a:gd name="connsiteX7074" fmla="*/ 1336995 w 2222569"/>
                <a:gd name="connsiteY7074" fmla="*/ 1116742 h 2052818"/>
                <a:gd name="connsiteX7075" fmla="*/ 1339602 w 2222569"/>
                <a:gd name="connsiteY7075" fmla="*/ 1117231 h 2052818"/>
                <a:gd name="connsiteX7076" fmla="*/ 1343023 w 2222569"/>
                <a:gd name="connsiteY7076" fmla="*/ 1117231 h 2052818"/>
                <a:gd name="connsiteX7077" fmla="*/ 1341720 w 2222569"/>
                <a:gd name="connsiteY7077" fmla="*/ 1113973 h 2052818"/>
                <a:gd name="connsiteX7078" fmla="*/ 1342697 w 2222569"/>
                <a:gd name="connsiteY7078" fmla="*/ 1109900 h 2052818"/>
                <a:gd name="connsiteX7079" fmla="*/ 1341394 w 2222569"/>
                <a:gd name="connsiteY7079" fmla="*/ 1105339 h 2052818"/>
                <a:gd name="connsiteX7080" fmla="*/ 1336995 w 2222569"/>
                <a:gd name="connsiteY7080" fmla="*/ 1106479 h 2052818"/>
                <a:gd name="connsiteX7081" fmla="*/ 1336995 w 2222569"/>
                <a:gd name="connsiteY7081" fmla="*/ 1103221 h 2052818"/>
                <a:gd name="connsiteX7082" fmla="*/ 1340905 w 2222569"/>
                <a:gd name="connsiteY7082" fmla="*/ 1098496 h 2052818"/>
                <a:gd name="connsiteX7083" fmla="*/ 1338462 w 2222569"/>
                <a:gd name="connsiteY7083" fmla="*/ 1097356 h 2052818"/>
                <a:gd name="connsiteX7084" fmla="*/ 1328687 w 2222569"/>
                <a:gd name="connsiteY7084" fmla="*/ 1101429 h 2052818"/>
                <a:gd name="connsiteX7085" fmla="*/ 1323637 w 2222569"/>
                <a:gd name="connsiteY7085" fmla="*/ 1105664 h 2052818"/>
                <a:gd name="connsiteX7086" fmla="*/ 1319727 w 2222569"/>
                <a:gd name="connsiteY7086" fmla="*/ 1115439 h 2052818"/>
                <a:gd name="connsiteX7087" fmla="*/ 1315166 w 2222569"/>
                <a:gd name="connsiteY7087" fmla="*/ 1122281 h 2052818"/>
                <a:gd name="connsiteX7088" fmla="*/ 1315166 w 2222569"/>
                <a:gd name="connsiteY7088" fmla="*/ 1126028 h 2052818"/>
                <a:gd name="connsiteX7089" fmla="*/ 1311907 w 2222569"/>
                <a:gd name="connsiteY7089" fmla="*/ 1130264 h 2052818"/>
                <a:gd name="connsiteX7090" fmla="*/ 1311582 w 2222569"/>
                <a:gd name="connsiteY7090" fmla="*/ 1133359 h 2052818"/>
                <a:gd name="connsiteX7091" fmla="*/ 1306531 w 2222569"/>
                <a:gd name="connsiteY7091" fmla="*/ 1141504 h 2052818"/>
                <a:gd name="connsiteX7092" fmla="*/ 1308323 w 2222569"/>
                <a:gd name="connsiteY7092" fmla="*/ 1144925 h 2052818"/>
                <a:gd name="connsiteX7093" fmla="*/ 1305554 w 2222569"/>
                <a:gd name="connsiteY7093" fmla="*/ 1146392 h 2052818"/>
                <a:gd name="connsiteX7094" fmla="*/ 1304251 w 2222569"/>
                <a:gd name="connsiteY7094" fmla="*/ 1150953 h 2052818"/>
                <a:gd name="connsiteX7095" fmla="*/ 1303925 w 2222569"/>
                <a:gd name="connsiteY7095" fmla="*/ 1155026 h 2052818"/>
                <a:gd name="connsiteX7096" fmla="*/ 1297409 w 2222569"/>
                <a:gd name="connsiteY7096" fmla="*/ 1160728 h 2052818"/>
                <a:gd name="connsiteX7097" fmla="*/ 1295128 w 2222569"/>
                <a:gd name="connsiteY7097" fmla="*/ 1164963 h 2052818"/>
                <a:gd name="connsiteX7098" fmla="*/ 1295128 w 2222569"/>
                <a:gd name="connsiteY7098" fmla="*/ 1171968 h 2052818"/>
                <a:gd name="connsiteX7099" fmla="*/ 1293825 w 2222569"/>
                <a:gd name="connsiteY7099" fmla="*/ 1174738 h 2052818"/>
                <a:gd name="connsiteX7100" fmla="*/ 1293825 w 2222569"/>
                <a:gd name="connsiteY7100" fmla="*/ 1182069 h 2052818"/>
                <a:gd name="connsiteX7101" fmla="*/ 1291055 w 2222569"/>
                <a:gd name="connsiteY7101" fmla="*/ 1185164 h 2052818"/>
                <a:gd name="connsiteX7102" fmla="*/ 1284864 w 2222569"/>
                <a:gd name="connsiteY7102" fmla="*/ 1185653 h 2052818"/>
                <a:gd name="connsiteX7103" fmla="*/ 1276556 w 2222569"/>
                <a:gd name="connsiteY7103" fmla="*/ 1188911 h 2052818"/>
                <a:gd name="connsiteX7104" fmla="*/ 1276556 w 2222569"/>
                <a:gd name="connsiteY7104" fmla="*/ 1193472 h 2052818"/>
                <a:gd name="connsiteX7105" fmla="*/ 1273950 w 2222569"/>
                <a:gd name="connsiteY7105" fmla="*/ 1202107 h 2052818"/>
                <a:gd name="connsiteX7106" fmla="*/ 1274927 w 2222569"/>
                <a:gd name="connsiteY7106" fmla="*/ 1207483 h 2052818"/>
                <a:gd name="connsiteX7107" fmla="*/ 1274927 w 2222569"/>
                <a:gd name="connsiteY7107" fmla="*/ 1207483 h 2052818"/>
                <a:gd name="connsiteX7108" fmla="*/ 1316306 w 2222569"/>
                <a:gd name="connsiteY7108" fmla="*/ 1281443 h 2052818"/>
                <a:gd name="connsiteX7109" fmla="*/ 1317446 w 2222569"/>
                <a:gd name="connsiteY7109" fmla="*/ 1282910 h 2052818"/>
                <a:gd name="connsiteX7110" fmla="*/ 1319401 w 2222569"/>
                <a:gd name="connsiteY7110" fmla="*/ 1281932 h 2052818"/>
                <a:gd name="connsiteX7111" fmla="*/ 1323800 w 2222569"/>
                <a:gd name="connsiteY7111" fmla="*/ 1276393 h 2052818"/>
                <a:gd name="connsiteX7112" fmla="*/ 1327058 w 2222569"/>
                <a:gd name="connsiteY7112" fmla="*/ 1275904 h 2052818"/>
                <a:gd name="connsiteX7113" fmla="*/ 1329502 w 2222569"/>
                <a:gd name="connsiteY7113" fmla="*/ 1276556 h 2052818"/>
                <a:gd name="connsiteX7114" fmla="*/ 1330316 w 2222569"/>
                <a:gd name="connsiteY7114" fmla="*/ 1279326 h 2052818"/>
                <a:gd name="connsiteX7115" fmla="*/ 1334063 w 2222569"/>
                <a:gd name="connsiteY7115" fmla="*/ 1279326 h 2052818"/>
                <a:gd name="connsiteX7116" fmla="*/ 1341068 w 2222569"/>
                <a:gd name="connsiteY7116" fmla="*/ 1273624 h 2052818"/>
                <a:gd name="connsiteX7117" fmla="*/ 1344815 w 2222569"/>
                <a:gd name="connsiteY7117" fmla="*/ 1272483 h 2052818"/>
                <a:gd name="connsiteX7118" fmla="*/ 1349214 w 2222569"/>
                <a:gd name="connsiteY7118" fmla="*/ 1269551 h 2052818"/>
                <a:gd name="connsiteX7119" fmla="*/ 1353286 w 2222569"/>
                <a:gd name="connsiteY7119" fmla="*/ 1263523 h 2052818"/>
                <a:gd name="connsiteX7120" fmla="*/ 1357522 w 2222569"/>
                <a:gd name="connsiteY7120" fmla="*/ 1263523 h 2052818"/>
                <a:gd name="connsiteX7121" fmla="*/ 1363387 w 2222569"/>
                <a:gd name="connsiteY7121" fmla="*/ 1259288 h 2052818"/>
                <a:gd name="connsiteX7122" fmla="*/ 1363387 w 2222569"/>
                <a:gd name="connsiteY7122" fmla="*/ 1255867 h 2052818"/>
                <a:gd name="connsiteX7123" fmla="*/ 1367622 w 2222569"/>
                <a:gd name="connsiteY7123" fmla="*/ 1251142 h 2052818"/>
                <a:gd name="connsiteX7124" fmla="*/ 1365830 w 2222569"/>
                <a:gd name="connsiteY7124" fmla="*/ 1249676 h 2052818"/>
                <a:gd name="connsiteX7125" fmla="*/ 1361269 w 2222569"/>
                <a:gd name="connsiteY7125" fmla="*/ 1249676 h 2052818"/>
                <a:gd name="connsiteX7126" fmla="*/ 1358988 w 2222569"/>
                <a:gd name="connsiteY7126" fmla="*/ 1248373 h 2052818"/>
                <a:gd name="connsiteX7127" fmla="*/ 1355567 w 2222569"/>
                <a:gd name="connsiteY7127" fmla="*/ 1248373 h 2052818"/>
                <a:gd name="connsiteX7128" fmla="*/ 1351657 w 2222569"/>
                <a:gd name="connsiteY7128" fmla="*/ 1250165 h 2052818"/>
                <a:gd name="connsiteX7129" fmla="*/ 1349702 w 2222569"/>
                <a:gd name="connsiteY7129" fmla="*/ 1248699 h 2052818"/>
                <a:gd name="connsiteX7130" fmla="*/ 1347096 w 2222569"/>
                <a:gd name="connsiteY7130" fmla="*/ 1249676 h 2052818"/>
                <a:gd name="connsiteX7131" fmla="*/ 1344001 w 2222569"/>
                <a:gd name="connsiteY7131" fmla="*/ 1253423 h 2052818"/>
                <a:gd name="connsiteX7132" fmla="*/ 1339928 w 2222569"/>
                <a:gd name="connsiteY7132" fmla="*/ 1251468 h 2052818"/>
                <a:gd name="connsiteX7133" fmla="*/ 1338462 w 2222569"/>
                <a:gd name="connsiteY7133" fmla="*/ 1246907 h 2052818"/>
                <a:gd name="connsiteX7134" fmla="*/ 1336670 w 2222569"/>
                <a:gd name="connsiteY7134" fmla="*/ 1248047 h 2052818"/>
                <a:gd name="connsiteX7135" fmla="*/ 1332108 w 2222569"/>
                <a:gd name="connsiteY7135" fmla="*/ 1249350 h 2052818"/>
                <a:gd name="connsiteX7136" fmla="*/ 1326732 w 2222569"/>
                <a:gd name="connsiteY7136" fmla="*/ 1256030 h 2052818"/>
                <a:gd name="connsiteX7137" fmla="*/ 1326406 w 2222569"/>
                <a:gd name="connsiteY7137" fmla="*/ 1258473 h 2052818"/>
                <a:gd name="connsiteX7138" fmla="*/ 1324452 w 2222569"/>
                <a:gd name="connsiteY7138" fmla="*/ 1261080 h 2052818"/>
                <a:gd name="connsiteX7139" fmla="*/ 1315491 w 2222569"/>
                <a:gd name="connsiteY7139" fmla="*/ 1263523 h 2052818"/>
                <a:gd name="connsiteX7140" fmla="*/ 1314514 w 2222569"/>
                <a:gd name="connsiteY7140" fmla="*/ 1266619 h 2052818"/>
                <a:gd name="connsiteX7141" fmla="*/ 1316795 w 2222569"/>
                <a:gd name="connsiteY7141" fmla="*/ 1268574 h 2052818"/>
                <a:gd name="connsiteX7142" fmla="*/ 1318261 w 2222569"/>
                <a:gd name="connsiteY7142" fmla="*/ 1273624 h 2052818"/>
                <a:gd name="connsiteX7143" fmla="*/ 1316795 w 2222569"/>
                <a:gd name="connsiteY7143" fmla="*/ 1277371 h 2052818"/>
                <a:gd name="connsiteX7144" fmla="*/ 1316795 w 2222569"/>
                <a:gd name="connsiteY7144" fmla="*/ 1281932 h 2052818"/>
                <a:gd name="connsiteX7145" fmla="*/ 1316795 w 2222569"/>
                <a:gd name="connsiteY7145" fmla="*/ 1281932 h 2052818"/>
                <a:gd name="connsiteX7146" fmla="*/ 1728792 w 2222569"/>
                <a:gd name="connsiteY7146" fmla="*/ 1314677 h 2052818"/>
                <a:gd name="connsiteX7147" fmla="*/ 1729932 w 2222569"/>
                <a:gd name="connsiteY7147" fmla="*/ 1315654 h 2052818"/>
                <a:gd name="connsiteX7148" fmla="*/ 1733842 w 2222569"/>
                <a:gd name="connsiteY7148" fmla="*/ 1315654 h 2052818"/>
                <a:gd name="connsiteX7149" fmla="*/ 1738241 w 2222569"/>
                <a:gd name="connsiteY7149" fmla="*/ 1320053 h 2052818"/>
                <a:gd name="connsiteX7150" fmla="*/ 1740521 w 2222569"/>
                <a:gd name="connsiteY7150" fmla="*/ 1318587 h 2052818"/>
                <a:gd name="connsiteX7151" fmla="*/ 1741336 w 2222569"/>
                <a:gd name="connsiteY7151" fmla="*/ 1315166 h 2052818"/>
                <a:gd name="connsiteX7152" fmla="*/ 1742639 w 2222569"/>
                <a:gd name="connsiteY7152" fmla="*/ 1313211 h 2052818"/>
                <a:gd name="connsiteX7153" fmla="*/ 1742965 w 2222569"/>
                <a:gd name="connsiteY7153" fmla="*/ 1310767 h 2052818"/>
                <a:gd name="connsiteX7154" fmla="*/ 1740195 w 2222569"/>
                <a:gd name="connsiteY7154" fmla="*/ 1309790 h 2052818"/>
                <a:gd name="connsiteX7155" fmla="*/ 1736775 w 2222569"/>
                <a:gd name="connsiteY7155" fmla="*/ 1311419 h 2052818"/>
                <a:gd name="connsiteX7156" fmla="*/ 1732213 w 2222569"/>
                <a:gd name="connsiteY7156" fmla="*/ 1312559 h 2052818"/>
                <a:gd name="connsiteX7157" fmla="*/ 1728629 w 2222569"/>
                <a:gd name="connsiteY7157" fmla="*/ 1314840 h 2052818"/>
                <a:gd name="connsiteX7158" fmla="*/ 1728629 w 2222569"/>
                <a:gd name="connsiteY7158" fmla="*/ 1314840 h 2052818"/>
                <a:gd name="connsiteX7159" fmla="*/ 1599931 w 2222569"/>
                <a:gd name="connsiteY7159" fmla="*/ 1280303 h 2052818"/>
                <a:gd name="connsiteX7160" fmla="*/ 1601071 w 2222569"/>
                <a:gd name="connsiteY7160" fmla="*/ 1281769 h 2052818"/>
                <a:gd name="connsiteX7161" fmla="*/ 1606284 w 2222569"/>
                <a:gd name="connsiteY7161" fmla="*/ 1283398 h 2052818"/>
                <a:gd name="connsiteX7162" fmla="*/ 1607099 w 2222569"/>
                <a:gd name="connsiteY7162" fmla="*/ 1286005 h 2052818"/>
                <a:gd name="connsiteX7163" fmla="*/ 1606773 w 2222569"/>
                <a:gd name="connsiteY7163" fmla="*/ 1287471 h 2052818"/>
                <a:gd name="connsiteX7164" fmla="*/ 1607262 w 2222569"/>
                <a:gd name="connsiteY7164" fmla="*/ 1290729 h 2052818"/>
                <a:gd name="connsiteX7165" fmla="*/ 1610357 w 2222569"/>
                <a:gd name="connsiteY7165" fmla="*/ 1292358 h 2052818"/>
                <a:gd name="connsiteX7166" fmla="*/ 1612312 w 2222569"/>
                <a:gd name="connsiteY7166" fmla="*/ 1293824 h 2052818"/>
                <a:gd name="connsiteX7167" fmla="*/ 1615407 w 2222569"/>
                <a:gd name="connsiteY7167" fmla="*/ 1293499 h 2052818"/>
                <a:gd name="connsiteX7168" fmla="*/ 1616385 w 2222569"/>
                <a:gd name="connsiteY7168" fmla="*/ 1292032 h 2052818"/>
                <a:gd name="connsiteX7169" fmla="*/ 1617362 w 2222569"/>
                <a:gd name="connsiteY7169" fmla="*/ 1291544 h 2052818"/>
                <a:gd name="connsiteX7170" fmla="*/ 1617362 w 2222569"/>
                <a:gd name="connsiteY7170" fmla="*/ 1288448 h 2052818"/>
                <a:gd name="connsiteX7171" fmla="*/ 1614104 w 2222569"/>
                <a:gd name="connsiteY7171" fmla="*/ 1285516 h 2052818"/>
                <a:gd name="connsiteX7172" fmla="*/ 1610846 w 2222569"/>
                <a:gd name="connsiteY7172" fmla="*/ 1283887 h 2052818"/>
                <a:gd name="connsiteX7173" fmla="*/ 1609705 w 2222569"/>
                <a:gd name="connsiteY7173" fmla="*/ 1282747 h 2052818"/>
                <a:gd name="connsiteX7174" fmla="*/ 1605144 w 2222569"/>
                <a:gd name="connsiteY7174" fmla="*/ 1280140 h 2052818"/>
                <a:gd name="connsiteX7175" fmla="*/ 1601723 w 2222569"/>
                <a:gd name="connsiteY7175" fmla="*/ 1280140 h 2052818"/>
                <a:gd name="connsiteX7176" fmla="*/ 1600257 w 2222569"/>
                <a:gd name="connsiteY7176" fmla="*/ 1280140 h 2052818"/>
                <a:gd name="connsiteX7177" fmla="*/ 1600257 w 2222569"/>
                <a:gd name="connsiteY7177" fmla="*/ 1280140 h 2052818"/>
                <a:gd name="connsiteX7178" fmla="*/ 1723742 w 2222569"/>
                <a:gd name="connsiteY7178" fmla="*/ 1347422 h 2052818"/>
                <a:gd name="connsiteX7179" fmla="*/ 1719017 w 2222569"/>
                <a:gd name="connsiteY7179" fmla="*/ 1343838 h 2052818"/>
                <a:gd name="connsiteX7180" fmla="*/ 1719017 w 2222569"/>
                <a:gd name="connsiteY7180" fmla="*/ 1340742 h 2052818"/>
                <a:gd name="connsiteX7181" fmla="*/ 1716900 w 2222569"/>
                <a:gd name="connsiteY7181" fmla="*/ 1338950 h 2052818"/>
                <a:gd name="connsiteX7182" fmla="*/ 1716900 w 2222569"/>
                <a:gd name="connsiteY7182" fmla="*/ 1336507 h 2052818"/>
                <a:gd name="connsiteX7183" fmla="*/ 1719180 w 2222569"/>
                <a:gd name="connsiteY7183" fmla="*/ 1334552 h 2052818"/>
                <a:gd name="connsiteX7184" fmla="*/ 1721461 w 2222569"/>
                <a:gd name="connsiteY7184" fmla="*/ 1337810 h 2052818"/>
                <a:gd name="connsiteX7185" fmla="*/ 1722276 w 2222569"/>
                <a:gd name="connsiteY7185" fmla="*/ 1340091 h 2052818"/>
                <a:gd name="connsiteX7186" fmla="*/ 1724556 w 2222569"/>
                <a:gd name="connsiteY7186" fmla="*/ 1343023 h 2052818"/>
                <a:gd name="connsiteX7187" fmla="*/ 1725045 w 2222569"/>
                <a:gd name="connsiteY7187" fmla="*/ 1346770 h 2052818"/>
                <a:gd name="connsiteX7188" fmla="*/ 1723905 w 2222569"/>
                <a:gd name="connsiteY7188" fmla="*/ 1347585 h 2052818"/>
                <a:gd name="connsiteX7189" fmla="*/ 1723905 w 2222569"/>
                <a:gd name="connsiteY7189" fmla="*/ 1347585 h 2052818"/>
                <a:gd name="connsiteX7190" fmla="*/ 1718854 w 2222569"/>
                <a:gd name="connsiteY7190" fmla="*/ 1362898 h 2052818"/>
                <a:gd name="connsiteX7191" fmla="*/ 1717062 w 2222569"/>
                <a:gd name="connsiteY7191" fmla="*/ 1361106 h 2052818"/>
                <a:gd name="connsiteX7192" fmla="*/ 1716737 w 2222569"/>
                <a:gd name="connsiteY7192" fmla="*/ 1358174 h 2052818"/>
                <a:gd name="connsiteX7193" fmla="*/ 1714293 w 2222569"/>
                <a:gd name="connsiteY7193" fmla="*/ 1356382 h 2052818"/>
                <a:gd name="connsiteX7194" fmla="*/ 1711686 w 2222569"/>
                <a:gd name="connsiteY7194" fmla="*/ 1355893 h 2052818"/>
                <a:gd name="connsiteX7195" fmla="*/ 1708591 w 2222569"/>
                <a:gd name="connsiteY7195" fmla="*/ 1352146 h 2052818"/>
                <a:gd name="connsiteX7196" fmla="*/ 1708591 w 2222569"/>
                <a:gd name="connsiteY7196" fmla="*/ 1349377 h 2052818"/>
                <a:gd name="connsiteX7197" fmla="*/ 1710709 w 2222569"/>
                <a:gd name="connsiteY7197" fmla="*/ 1348888 h 2052818"/>
                <a:gd name="connsiteX7198" fmla="*/ 1713153 w 2222569"/>
                <a:gd name="connsiteY7198" fmla="*/ 1347422 h 2052818"/>
                <a:gd name="connsiteX7199" fmla="*/ 1720646 w 2222569"/>
                <a:gd name="connsiteY7199" fmla="*/ 1348562 h 2052818"/>
                <a:gd name="connsiteX7200" fmla="*/ 1725534 w 2222569"/>
                <a:gd name="connsiteY7200" fmla="*/ 1351494 h 2052818"/>
                <a:gd name="connsiteX7201" fmla="*/ 1725860 w 2222569"/>
                <a:gd name="connsiteY7201" fmla="*/ 1353449 h 2052818"/>
                <a:gd name="connsiteX7202" fmla="*/ 1723416 w 2222569"/>
                <a:gd name="connsiteY7202" fmla="*/ 1355241 h 2052818"/>
                <a:gd name="connsiteX7203" fmla="*/ 1722927 w 2222569"/>
                <a:gd name="connsiteY7203" fmla="*/ 1358174 h 2052818"/>
                <a:gd name="connsiteX7204" fmla="*/ 1721135 w 2222569"/>
                <a:gd name="connsiteY7204" fmla="*/ 1359803 h 2052818"/>
                <a:gd name="connsiteX7205" fmla="*/ 1719995 w 2222569"/>
                <a:gd name="connsiteY7205" fmla="*/ 1362409 h 2052818"/>
                <a:gd name="connsiteX7206" fmla="*/ 1718854 w 2222569"/>
                <a:gd name="connsiteY7206" fmla="*/ 1362735 h 2052818"/>
                <a:gd name="connsiteX7207" fmla="*/ 1718854 w 2222569"/>
                <a:gd name="connsiteY7207" fmla="*/ 1362735 h 2052818"/>
                <a:gd name="connsiteX7208" fmla="*/ 1591622 w 2222569"/>
                <a:gd name="connsiteY7208" fmla="*/ 1439954 h 2052818"/>
                <a:gd name="connsiteX7209" fmla="*/ 1590808 w 2222569"/>
                <a:gd name="connsiteY7209" fmla="*/ 1442398 h 2052818"/>
                <a:gd name="connsiteX7210" fmla="*/ 1592274 w 2222569"/>
                <a:gd name="connsiteY7210" fmla="*/ 1441094 h 2052818"/>
                <a:gd name="connsiteX7211" fmla="*/ 1591460 w 2222569"/>
                <a:gd name="connsiteY7211" fmla="*/ 1439954 h 2052818"/>
                <a:gd name="connsiteX7212" fmla="*/ 1591460 w 2222569"/>
                <a:gd name="connsiteY7212" fmla="*/ 1439954 h 2052818"/>
                <a:gd name="connsiteX7213" fmla="*/ 1594392 w 2222569"/>
                <a:gd name="connsiteY7213" fmla="*/ 1440769 h 2052818"/>
                <a:gd name="connsiteX7214" fmla="*/ 1593252 w 2222569"/>
                <a:gd name="connsiteY7214" fmla="*/ 1443375 h 2052818"/>
                <a:gd name="connsiteX7215" fmla="*/ 1594555 w 2222569"/>
                <a:gd name="connsiteY7215" fmla="*/ 1443375 h 2052818"/>
                <a:gd name="connsiteX7216" fmla="*/ 1594555 w 2222569"/>
                <a:gd name="connsiteY7216" fmla="*/ 1440769 h 2052818"/>
                <a:gd name="connsiteX7217" fmla="*/ 1594555 w 2222569"/>
                <a:gd name="connsiteY7217" fmla="*/ 1440769 h 2052818"/>
                <a:gd name="connsiteX7218" fmla="*/ 1597161 w 2222569"/>
                <a:gd name="connsiteY7218" fmla="*/ 1439954 h 2052818"/>
                <a:gd name="connsiteX7219" fmla="*/ 1595858 w 2222569"/>
                <a:gd name="connsiteY7219" fmla="*/ 1442561 h 2052818"/>
                <a:gd name="connsiteX7220" fmla="*/ 1596836 w 2222569"/>
                <a:gd name="connsiteY7220" fmla="*/ 1446796 h 2052818"/>
                <a:gd name="connsiteX7221" fmla="*/ 1596836 w 2222569"/>
                <a:gd name="connsiteY7221" fmla="*/ 1448914 h 2052818"/>
                <a:gd name="connsiteX7222" fmla="*/ 1598302 w 2222569"/>
                <a:gd name="connsiteY7222" fmla="*/ 1448425 h 2052818"/>
                <a:gd name="connsiteX7223" fmla="*/ 1598790 w 2222569"/>
                <a:gd name="connsiteY7223" fmla="*/ 1444027 h 2052818"/>
                <a:gd name="connsiteX7224" fmla="*/ 1597161 w 2222569"/>
                <a:gd name="connsiteY7224" fmla="*/ 1439791 h 2052818"/>
                <a:gd name="connsiteX7225" fmla="*/ 1597161 w 2222569"/>
                <a:gd name="connsiteY7225" fmla="*/ 1439791 h 2052818"/>
                <a:gd name="connsiteX7226" fmla="*/ 1631046 w 2222569"/>
                <a:gd name="connsiteY7226" fmla="*/ 1401833 h 2052818"/>
                <a:gd name="connsiteX7227" fmla="*/ 1630232 w 2222569"/>
                <a:gd name="connsiteY7227" fmla="*/ 1398738 h 2052818"/>
                <a:gd name="connsiteX7228" fmla="*/ 1631861 w 2222569"/>
                <a:gd name="connsiteY7228" fmla="*/ 1394502 h 2052818"/>
                <a:gd name="connsiteX7229" fmla="*/ 1633979 w 2222569"/>
                <a:gd name="connsiteY7229" fmla="*/ 1392059 h 2052818"/>
                <a:gd name="connsiteX7230" fmla="*/ 1634305 w 2222569"/>
                <a:gd name="connsiteY7230" fmla="*/ 1389778 h 2052818"/>
                <a:gd name="connsiteX7231" fmla="*/ 1639518 w 2222569"/>
                <a:gd name="connsiteY7231" fmla="*/ 1385379 h 2052818"/>
                <a:gd name="connsiteX7232" fmla="*/ 1645382 w 2222569"/>
                <a:gd name="connsiteY7232" fmla="*/ 1384728 h 2052818"/>
                <a:gd name="connsiteX7233" fmla="*/ 1645871 w 2222569"/>
                <a:gd name="connsiteY7233" fmla="*/ 1386520 h 2052818"/>
                <a:gd name="connsiteX7234" fmla="*/ 1645382 w 2222569"/>
                <a:gd name="connsiteY7234" fmla="*/ 1389126 h 2052818"/>
                <a:gd name="connsiteX7235" fmla="*/ 1646686 w 2222569"/>
                <a:gd name="connsiteY7235" fmla="*/ 1389941 h 2052818"/>
                <a:gd name="connsiteX7236" fmla="*/ 1646686 w 2222569"/>
                <a:gd name="connsiteY7236" fmla="*/ 1392222 h 2052818"/>
                <a:gd name="connsiteX7237" fmla="*/ 1642776 w 2222569"/>
                <a:gd name="connsiteY7237" fmla="*/ 1394991 h 2052818"/>
                <a:gd name="connsiteX7238" fmla="*/ 1640984 w 2222569"/>
                <a:gd name="connsiteY7238" fmla="*/ 1397761 h 2052818"/>
                <a:gd name="connsiteX7239" fmla="*/ 1637726 w 2222569"/>
                <a:gd name="connsiteY7239" fmla="*/ 1397761 h 2052818"/>
                <a:gd name="connsiteX7240" fmla="*/ 1633001 w 2222569"/>
                <a:gd name="connsiteY7240" fmla="*/ 1401507 h 2052818"/>
                <a:gd name="connsiteX7241" fmla="*/ 1631046 w 2222569"/>
                <a:gd name="connsiteY7241" fmla="*/ 1401507 h 2052818"/>
                <a:gd name="connsiteX7242" fmla="*/ 1519779 w 2222569"/>
                <a:gd name="connsiteY7242" fmla="*/ 1275579 h 2052818"/>
                <a:gd name="connsiteX7243" fmla="*/ 1523689 w 2222569"/>
                <a:gd name="connsiteY7243" fmla="*/ 1278348 h 2052818"/>
                <a:gd name="connsiteX7244" fmla="*/ 1527110 w 2222569"/>
                <a:gd name="connsiteY7244" fmla="*/ 1281932 h 2052818"/>
                <a:gd name="connsiteX7245" fmla="*/ 1530857 w 2222569"/>
                <a:gd name="connsiteY7245" fmla="*/ 1282421 h 2052818"/>
                <a:gd name="connsiteX7246" fmla="*/ 1535908 w 2222569"/>
                <a:gd name="connsiteY7246" fmla="*/ 1284213 h 2052818"/>
                <a:gd name="connsiteX7247" fmla="*/ 1534278 w 2222569"/>
                <a:gd name="connsiteY7247" fmla="*/ 1282258 h 2052818"/>
                <a:gd name="connsiteX7248" fmla="*/ 1530206 w 2222569"/>
                <a:gd name="connsiteY7248" fmla="*/ 1280303 h 2052818"/>
                <a:gd name="connsiteX7249" fmla="*/ 1524504 w 2222569"/>
                <a:gd name="connsiteY7249" fmla="*/ 1275742 h 2052818"/>
                <a:gd name="connsiteX7250" fmla="*/ 1521409 w 2222569"/>
                <a:gd name="connsiteY7250" fmla="*/ 1275090 h 2052818"/>
                <a:gd name="connsiteX7251" fmla="*/ 1519617 w 2222569"/>
                <a:gd name="connsiteY7251" fmla="*/ 1275579 h 2052818"/>
                <a:gd name="connsiteX7252" fmla="*/ 1519617 w 2222569"/>
                <a:gd name="connsiteY7252" fmla="*/ 1275579 h 2052818"/>
                <a:gd name="connsiteX7253" fmla="*/ 1481333 w 2222569"/>
                <a:gd name="connsiteY7253" fmla="*/ 1241042 h 2052818"/>
                <a:gd name="connsiteX7254" fmla="*/ 1482473 w 2222569"/>
                <a:gd name="connsiteY7254" fmla="*/ 1242182 h 2052818"/>
                <a:gd name="connsiteX7255" fmla="*/ 1485406 w 2222569"/>
                <a:gd name="connsiteY7255" fmla="*/ 1242182 h 2052818"/>
                <a:gd name="connsiteX7256" fmla="*/ 1487198 w 2222569"/>
                <a:gd name="connsiteY7256" fmla="*/ 1243811 h 2052818"/>
                <a:gd name="connsiteX7257" fmla="*/ 1489478 w 2222569"/>
                <a:gd name="connsiteY7257" fmla="*/ 1242671 h 2052818"/>
                <a:gd name="connsiteX7258" fmla="*/ 1489967 w 2222569"/>
                <a:gd name="connsiteY7258" fmla="*/ 1241042 h 2052818"/>
                <a:gd name="connsiteX7259" fmla="*/ 1491596 w 2222569"/>
                <a:gd name="connsiteY7259" fmla="*/ 1240553 h 2052818"/>
                <a:gd name="connsiteX7260" fmla="*/ 1492085 w 2222569"/>
                <a:gd name="connsiteY7260" fmla="*/ 1238110 h 2052818"/>
                <a:gd name="connsiteX7261" fmla="*/ 1489315 w 2222569"/>
                <a:gd name="connsiteY7261" fmla="*/ 1236318 h 2052818"/>
                <a:gd name="connsiteX7262" fmla="*/ 1491596 w 2222569"/>
                <a:gd name="connsiteY7262" fmla="*/ 1234688 h 2052818"/>
                <a:gd name="connsiteX7263" fmla="*/ 1491596 w 2222569"/>
                <a:gd name="connsiteY7263" fmla="*/ 1233385 h 2052818"/>
                <a:gd name="connsiteX7264" fmla="*/ 1487361 w 2222569"/>
                <a:gd name="connsiteY7264" fmla="*/ 1229801 h 2052818"/>
                <a:gd name="connsiteX7265" fmla="*/ 1483614 w 2222569"/>
                <a:gd name="connsiteY7265" fmla="*/ 1229475 h 2052818"/>
                <a:gd name="connsiteX7266" fmla="*/ 1483125 w 2222569"/>
                <a:gd name="connsiteY7266" fmla="*/ 1227846 h 2052818"/>
                <a:gd name="connsiteX7267" fmla="*/ 1481822 w 2222569"/>
                <a:gd name="connsiteY7267" fmla="*/ 1226380 h 2052818"/>
                <a:gd name="connsiteX7268" fmla="*/ 1479378 w 2222569"/>
                <a:gd name="connsiteY7268" fmla="*/ 1226706 h 2052818"/>
                <a:gd name="connsiteX7269" fmla="*/ 1477097 w 2222569"/>
                <a:gd name="connsiteY7269" fmla="*/ 1225240 h 2052818"/>
                <a:gd name="connsiteX7270" fmla="*/ 1473676 w 2222569"/>
                <a:gd name="connsiteY7270" fmla="*/ 1226380 h 2052818"/>
                <a:gd name="connsiteX7271" fmla="*/ 1472536 w 2222569"/>
                <a:gd name="connsiteY7271" fmla="*/ 1227683 h 2052818"/>
                <a:gd name="connsiteX7272" fmla="*/ 1473676 w 2222569"/>
                <a:gd name="connsiteY7272" fmla="*/ 1230779 h 2052818"/>
                <a:gd name="connsiteX7273" fmla="*/ 1475142 w 2222569"/>
                <a:gd name="connsiteY7273" fmla="*/ 1230779 h 2052818"/>
                <a:gd name="connsiteX7274" fmla="*/ 1477097 w 2222569"/>
                <a:gd name="connsiteY7274" fmla="*/ 1232082 h 2052818"/>
                <a:gd name="connsiteX7275" fmla="*/ 1478563 w 2222569"/>
                <a:gd name="connsiteY7275" fmla="*/ 1234688 h 2052818"/>
                <a:gd name="connsiteX7276" fmla="*/ 1480844 w 2222569"/>
                <a:gd name="connsiteY7276" fmla="*/ 1237295 h 2052818"/>
                <a:gd name="connsiteX7277" fmla="*/ 1481170 w 2222569"/>
                <a:gd name="connsiteY7277" fmla="*/ 1241042 h 2052818"/>
                <a:gd name="connsiteX7278" fmla="*/ 1481170 w 2222569"/>
                <a:gd name="connsiteY7278" fmla="*/ 1241042 h 2052818"/>
                <a:gd name="connsiteX7279" fmla="*/ 1454942 w 2222569"/>
                <a:gd name="connsiteY7279" fmla="*/ 1253423 h 2052818"/>
                <a:gd name="connsiteX7280" fmla="*/ 1458852 w 2222569"/>
                <a:gd name="connsiteY7280" fmla="*/ 1252771 h 2052818"/>
                <a:gd name="connsiteX7281" fmla="*/ 1461295 w 2222569"/>
                <a:gd name="connsiteY7281" fmla="*/ 1251142 h 2052818"/>
                <a:gd name="connsiteX7282" fmla="*/ 1464065 w 2222569"/>
                <a:gd name="connsiteY7282" fmla="*/ 1250653 h 2052818"/>
                <a:gd name="connsiteX7283" fmla="*/ 1466345 w 2222569"/>
                <a:gd name="connsiteY7283" fmla="*/ 1249024 h 2052818"/>
                <a:gd name="connsiteX7284" fmla="*/ 1466345 w 2222569"/>
                <a:gd name="connsiteY7284" fmla="*/ 1246418 h 2052818"/>
                <a:gd name="connsiteX7285" fmla="*/ 1466671 w 2222569"/>
                <a:gd name="connsiteY7285" fmla="*/ 1244626 h 2052818"/>
                <a:gd name="connsiteX7286" fmla="*/ 1466345 w 2222569"/>
                <a:gd name="connsiteY7286" fmla="*/ 1238110 h 2052818"/>
                <a:gd name="connsiteX7287" fmla="*/ 1463902 w 2222569"/>
                <a:gd name="connsiteY7287" fmla="*/ 1236806 h 2052818"/>
                <a:gd name="connsiteX7288" fmla="*/ 1458688 w 2222569"/>
                <a:gd name="connsiteY7288" fmla="*/ 1236318 h 2052818"/>
                <a:gd name="connsiteX7289" fmla="*/ 1456082 w 2222569"/>
                <a:gd name="connsiteY7289" fmla="*/ 1233874 h 2052818"/>
                <a:gd name="connsiteX7290" fmla="*/ 1452987 w 2222569"/>
                <a:gd name="connsiteY7290" fmla="*/ 1230616 h 2052818"/>
                <a:gd name="connsiteX7291" fmla="*/ 1451358 w 2222569"/>
                <a:gd name="connsiteY7291" fmla="*/ 1232082 h 2052818"/>
                <a:gd name="connsiteX7292" fmla="*/ 1446959 w 2222569"/>
                <a:gd name="connsiteY7292" fmla="*/ 1232408 h 2052818"/>
                <a:gd name="connsiteX7293" fmla="*/ 1444678 w 2222569"/>
                <a:gd name="connsiteY7293" fmla="*/ 1231104 h 2052818"/>
                <a:gd name="connsiteX7294" fmla="*/ 1443701 w 2222569"/>
                <a:gd name="connsiteY7294" fmla="*/ 1233711 h 2052818"/>
                <a:gd name="connsiteX7295" fmla="*/ 1444678 w 2222569"/>
                <a:gd name="connsiteY7295" fmla="*/ 1238110 h 2052818"/>
                <a:gd name="connsiteX7296" fmla="*/ 1448425 w 2222569"/>
                <a:gd name="connsiteY7296" fmla="*/ 1241042 h 2052818"/>
                <a:gd name="connsiteX7297" fmla="*/ 1450543 w 2222569"/>
                <a:gd name="connsiteY7297" fmla="*/ 1246092 h 2052818"/>
                <a:gd name="connsiteX7298" fmla="*/ 1452335 w 2222569"/>
                <a:gd name="connsiteY7298" fmla="*/ 1247721 h 2052818"/>
                <a:gd name="connsiteX7299" fmla="*/ 1453150 w 2222569"/>
                <a:gd name="connsiteY7299" fmla="*/ 1251631 h 2052818"/>
                <a:gd name="connsiteX7300" fmla="*/ 1455268 w 2222569"/>
                <a:gd name="connsiteY7300" fmla="*/ 1253423 h 2052818"/>
                <a:gd name="connsiteX7301" fmla="*/ 1455268 w 2222569"/>
                <a:gd name="connsiteY7301" fmla="*/ 1253423 h 2052818"/>
                <a:gd name="connsiteX7302" fmla="*/ 1450706 w 2222569"/>
                <a:gd name="connsiteY7302" fmla="*/ 1275579 h 2052818"/>
                <a:gd name="connsiteX7303" fmla="*/ 1451520 w 2222569"/>
                <a:gd name="connsiteY7303" fmla="*/ 1273787 h 2052818"/>
                <a:gd name="connsiteX7304" fmla="*/ 1446145 w 2222569"/>
                <a:gd name="connsiteY7304" fmla="*/ 1272646 h 2052818"/>
                <a:gd name="connsiteX7305" fmla="*/ 1445004 w 2222569"/>
                <a:gd name="connsiteY7305" fmla="*/ 1273298 h 2052818"/>
                <a:gd name="connsiteX7306" fmla="*/ 1446307 w 2222569"/>
                <a:gd name="connsiteY7306" fmla="*/ 1275090 h 2052818"/>
                <a:gd name="connsiteX7307" fmla="*/ 1450706 w 2222569"/>
                <a:gd name="connsiteY7307" fmla="*/ 1275416 h 2052818"/>
                <a:gd name="connsiteX7308" fmla="*/ 1450706 w 2222569"/>
                <a:gd name="connsiteY7308" fmla="*/ 1275416 h 2052818"/>
                <a:gd name="connsiteX7309" fmla="*/ 1393851 w 2222569"/>
                <a:gd name="connsiteY7309" fmla="*/ 1314840 h 2052818"/>
                <a:gd name="connsiteX7310" fmla="*/ 1395154 w 2222569"/>
                <a:gd name="connsiteY7310" fmla="*/ 1314840 h 2052818"/>
                <a:gd name="connsiteX7311" fmla="*/ 1396457 w 2222569"/>
                <a:gd name="connsiteY7311" fmla="*/ 1312885 h 2052818"/>
                <a:gd name="connsiteX7312" fmla="*/ 1397109 w 2222569"/>
                <a:gd name="connsiteY7312" fmla="*/ 1310930 h 2052818"/>
                <a:gd name="connsiteX7313" fmla="*/ 1398901 w 2222569"/>
                <a:gd name="connsiteY7313" fmla="*/ 1308486 h 2052818"/>
                <a:gd name="connsiteX7314" fmla="*/ 1399227 w 2222569"/>
                <a:gd name="connsiteY7314" fmla="*/ 1306206 h 2052818"/>
                <a:gd name="connsiteX7315" fmla="*/ 1398086 w 2222569"/>
                <a:gd name="connsiteY7315" fmla="*/ 1305065 h 2052818"/>
                <a:gd name="connsiteX7316" fmla="*/ 1398901 w 2222569"/>
                <a:gd name="connsiteY7316" fmla="*/ 1302784 h 2052818"/>
                <a:gd name="connsiteX7317" fmla="*/ 1403299 w 2222569"/>
                <a:gd name="connsiteY7317" fmla="*/ 1299038 h 2052818"/>
                <a:gd name="connsiteX7318" fmla="*/ 1406232 w 2222569"/>
                <a:gd name="connsiteY7318" fmla="*/ 1294802 h 2052818"/>
                <a:gd name="connsiteX7319" fmla="*/ 1408838 w 2222569"/>
                <a:gd name="connsiteY7319" fmla="*/ 1294150 h 2052818"/>
                <a:gd name="connsiteX7320" fmla="*/ 1409816 w 2222569"/>
                <a:gd name="connsiteY7320" fmla="*/ 1293010 h 2052818"/>
                <a:gd name="connsiteX7321" fmla="*/ 1409816 w 2222569"/>
                <a:gd name="connsiteY7321" fmla="*/ 1291218 h 2052818"/>
                <a:gd name="connsiteX7322" fmla="*/ 1409164 w 2222569"/>
                <a:gd name="connsiteY7322" fmla="*/ 1288286 h 2052818"/>
                <a:gd name="connsiteX7323" fmla="*/ 1411445 w 2222569"/>
                <a:gd name="connsiteY7323" fmla="*/ 1285842 h 2052818"/>
                <a:gd name="connsiteX7324" fmla="*/ 1413563 w 2222569"/>
                <a:gd name="connsiteY7324" fmla="*/ 1282584 h 2052818"/>
                <a:gd name="connsiteX7325" fmla="*/ 1412585 w 2222569"/>
                <a:gd name="connsiteY7325" fmla="*/ 1279977 h 2052818"/>
                <a:gd name="connsiteX7326" fmla="*/ 1412585 w 2222569"/>
                <a:gd name="connsiteY7326" fmla="*/ 1276882 h 2052818"/>
                <a:gd name="connsiteX7327" fmla="*/ 1410956 w 2222569"/>
                <a:gd name="connsiteY7327" fmla="*/ 1275253 h 2052818"/>
                <a:gd name="connsiteX7328" fmla="*/ 1408512 w 2222569"/>
                <a:gd name="connsiteY7328" fmla="*/ 1276393 h 2052818"/>
                <a:gd name="connsiteX7329" fmla="*/ 1406232 w 2222569"/>
                <a:gd name="connsiteY7329" fmla="*/ 1276393 h 2052818"/>
                <a:gd name="connsiteX7330" fmla="*/ 1403788 w 2222569"/>
                <a:gd name="connsiteY7330" fmla="*/ 1273461 h 2052818"/>
                <a:gd name="connsiteX7331" fmla="*/ 1401996 w 2222569"/>
                <a:gd name="connsiteY7331" fmla="*/ 1272809 h 2052818"/>
                <a:gd name="connsiteX7332" fmla="*/ 1400041 w 2222569"/>
                <a:gd name="connsiteY7332" fmla="*/ 1275579 h 2052818"/>
                <a:gd name="connsiteX7333" fmla="*/ 1395317 w 2222569"/>
                <a:gd name="connsiteY7333" fmla="*/ 1280140 h 2052818"/>
                <a:gd name="connsiteX7334" fmla="*/ 1393362 w 2222569"/>
                <a:gd name="connsiteY7334" fmla="*/ 1280629 h 2052818"/>
                <a:gd name="connsiteX7335" fmla="*/ 1390430 w 2222569"/>
                <a:gd name="connsiteY7335" fmla="*/ 1283561 h 2052818"/>
                <a:gd name="connsiteX7336" fmla="*/ 1389452 w 2222569"/>
                <a:gd name="connsiteY7336" fmla="*/ 1288123 h 2052818"/>
                <a:gd name="connsiteX7337" fmla="*/ 1390593 w 2222569"/>
                <a:gd name="connsiteY7337" fmla="*/ 1291870 h 2052818"/>
                <a:gd name="connsiteX7338" fmla="*/ 1387497 w 2222569"/>
                <a:gd name="connsiteY7338" fmla="*/ 1293824 h 2052818"/>
                <a:gd name="connsiteX7339" fmla="*/ 1386194 w 2222569"/>
                <a:gd name="connsiteY7339" fmla="*/ 1296757 h 2052818"/>
                <a:gd name="connsiteX7340" fmla="*/ 1386683 w 2222569"/>
                <a:gd name="connsiteY7340" fmla="*/ 1301155 h 2052818"/>
                <a:gd name="connsiteX7341" fmla="*/ 1384565 w 2222569"/>
                <a:gd name="connsiteY7341" fmla="*/ 1304088 h 2052818"/>
                <a:gd name="connsiteX7342" fmla="*/ 1385868 w 2222569"/>
                <a:gd name="connsiteY7342" fmla="*/ 1305880 h 2052818"/>
                <a:gd name="connsiteX7343" fmla="*/ 1389615 w 2222569"/>
                <a:gd name="connsiteY7343" fmla="*/ 1306531 h 2052818"/>
                <a:gd name="connsiteX7344" fmla="*/ 1390918 w 2222569"/>
                <a:gd name="connsiteY7344" fmla="*/ 1309627 h 2052818"/>
                <a:gd name="connsiteX7345" fmla="*/ 1392710 w 2222569"/>
                <a:gd name="connsiteY7345" fmla="*/ 1310604 h 2052818"/>
                <a:gd name="connsiteX7346" fmla="*/ 1393688 w 2222569"/>
                <a:gd name="connsiteY7346" fmla="*/ 1314514 h 2052818"/>
                <a:gd name="connsiteX7347" fmla="*/ 1393688 w 2222569"/>
                <a:gd name="connsiteY7347" fmla="*/ 1314514 h 2052818"/>
                <a:gd name="connsiteX7348" fmla="*/ 1342534 w 2222569"/>
                <a:gd name="connsiteY7348" fmla="*/ 1528739 h 2052818"/>
                <a:gd name="connsiteX7349" fmla="*/ 1343675 w 2222569"/>
                <a:gd name="connsiteY7349" fmla="*/ 1531020 h 2052818"/>
                <a:gd name="connsiteX7350" fmla="*/ 1344815 w 2222569"/>
                <a:gd name="connsiteY7350" fmla="*/ 1529880 h 2052818"/>
                <a:gd name="connsiteX7351" fmla="*/ 1344001 w 2222569"/>
                <a:gd name="connsiteY7351" fmla="*/ 1528414 h 2052818"/>
                <a:gd name="connsiteX7352" fmla="*/ 1342371 w 2222569"/>
                <a:gd name="connsiteY7352" fmla="*/ 1528739 h 2052818"/>
                <a:gd name="connsiteX7353" fmla="*/ 1342371 w 2222569"/>
                <a:gd name="connsiteY7353" fmla="*/ 1528739 h 2052818"/>
                <a:gd name="connsiteX7354" fmla="*/ 1345630 w 2222569"/>
                <a:gd name="connsiteY7354" fmla="*/ 1550569 h 2052818"/>
                <a:gd name="connsiteX7355" fmla="*/ 1348888 w 2222569"/>
                <a:gd name="connsiteY7355" fmla="*/ 1546334 h 2052818"/>
                <a:gd name="connsiteX7356" fmla="*/ 1350028 w 2222569"/>
                <a:gd name="connsiteY7356" fmla="*/ 1542424 h 2052818"/>
                <a:gd name="connsiteX7357" fmla="*/ 1351494 w 2222569"/>
                <a:gd name="connsiteY7357" fmla="*/ 1542098 h 2052818"/>
                <a:gd name="connsiteX7358" fmla="*/ 1351494 w 2222569"/>
                <a:gd name="connsiteY7358" fmla="*/ 1548126 h 2052818"/>
                <a:gd name="connsiteX7359" fmla="*/ 1347585 w 2222569"/>
                <a:gd name="connsiteY7359" fmla="*/ 1550895 h 2052818"/>
                <a:gd name="connsiteX7360" fmla="*/ 1345630 w 2222569"/>
                <a:gd name="connsiteY7360" fmla="*/ 1550732 h 2052818"/>
                <a:gd name="connsiteX7361" fmla="*/ 1345630 w 2222569"/>
                <a:gd name="connsiteY7361" fmla="*/ 1550732 h 2052818"/>
                <a:gd name="connsiteX7362" fmla="*/ 1315654 w 2222569"/>
                <a:gd name="connsiteY7362" fmla="*/ 1543890 h 2052818"/>
                <a:gd name="connsiteX7363" fmla="*/ 1317935 w 2222569"/>
                <a:gd name="connsiteY7363" fmla="*/ 1538677 h 2052818"/>
                <a:gd name="connsiteX7364" fmla="*/ 1321356 w 2222569"/>
                <a:gd name="connsiteY7364" fmla="*/ 1538677 h 2052818"/>
                <a:gd name="connsiteX7365" fmla="*/ 1322822 w 2222569"/>
                <a:gd name="connsiteY7365" fmla="*/ 1537048 h 2052818"/>
                <a:gd name="connsiteX7366" fmla="*/ 1324614 w 2222569"/>
                <a:gd name="connsiteY7366" fmla="*/ 1537048 h 2052818"/>
                <a:gd name="connsiteX7367" fmla="*/ 1328198 w 2222569"/>
                <a:gd name="connsiteY7367" fmla="*/ 1534767 h 2052818"/>
                <a:gd name="connsiteX7368" fmla="*/ 1330479 w 2222569"/>
                <a:gd name="connsiteY7368" fmla="*/ 1532975 h 2052818"/>
                <a:gd name="connsiteX7369" fmla="*/ 1327384 w 2222569"/>
                <a:gd name="connsiteY7369" fmla="*/ 1538840 h 2052818"/>
                <a:gd name="connsiteX7370" fmla="*/ 1320867 w 2222569"/>
                <a:gd name="connsiteY7370" fmla="*/ 1543238 h 2052818"/>
                <a:gd name="connsiteX7371" fmla="*/ 1316795 w 2222569"/>
                <a:gd name="connsiteY7371" fmla="*/ 1544705 h 2052818"/>
                <a:gd name="connsiteX7372" fmla="*/ 1315491 w 2222569"/>
                <a:gd name="connsiteY7372" fmla="*/ 1543727 h 2052818"/>
                <a:gd name="connsiteX7373" fmla="*/ 1315491 w 2222569"/>
                <a:gd name="connsiteY7373" fmla="*/ 1543727 h 2052818"/>
                <a:gd name="connsiteX7374" fmla="*/ 1336181 w 2222569"/>
                <a:gd name="connsiteY7374" fmla="*/ 1553176 h 2052818"/>
                <a:gd name="connsiteX7375" fmla="*/ 1342045 w 2222569"/>
                <a:gd name="connsiteY7375" fmla="*/ 1545030 h 2052818"/>
                <a:gd name="connsiteX7376" fmla="*/ 1343349 w 2222569"/>
                <a:gd name="connsiteY7376" fmla="*/ 1541772 h 2052818"/>
                <a:gd name="connsiteX7377" fmla="*/ 1345141 w 2222569"/>
                <a:gd name="connsiteY7377" fmla="*/ 1541446 h 2052818"/>
                <a:gd name="connsiteX7378" fmla="*/ 1344815 w 2222569"/>
                <a:gd name="connsiteY7378" fmla="*/ 1544705 h 2052818"/>
                <a:gd name="connsiteX7379" fmla="*/ 1338299 w 2222569"/>
                <a:gd name="connsiteY7379" fmla="*/ 1552361 h 2052818"/>
                <a:gd name="connsiteX7380" fmla="*/ 1336670 w 2222569"/>
                <a:gd name="connsiteY7380" fmla="*/ 1556108 h 2052818"/>
                <a:gd name="connsiteX7381" fmla="*/ 1339602 w 2222569"/>
                <a:gd name="connsiteY7381" fmla="*/ 1554153 h 2052818"/>
                <a:gd name="connsiteX7382" fmla="*/ 1345304 w 2222569"/>
                <a:gd name="connsiteY7382" fmla="*/ 1547148 h 2052818"/>
                <a:gd name="connsiteX7383" fmla="*/ 1347259 w 2222569"/>
                <a:gd name="connsiteY7383" fmla="*/ 1545356 h 2052818"/>
                <a:gd name="connsiteX7384" fmla="*/ 1348073 w 2222569"/>
                <a:gd name="connsiteY7384" fmla="*/ 1539817 h 2052818"/>
                <a:gd name="connsiteX7385" fmla="*/ 1346118 w 2222569"/>
                <a:gd name="connsiteY7385" fmla="*/ 1537537 h 2052818"/>
                <a:gd name="connsiteX7386" fmla="*/ 1344815 w 2222569"/>
                <a:gd name="connsiteY7386" fmla="*/ 1537537 h 2052818"/>
                <a:gd name="connsiteX7387" fmla="*/ 1344815 w 2222569"/>
                <a:gd name="connsiteY7387" fmla="*/ 1533953 h 2052818"/>
                <a:gd name="connsiteX7388" fmla="*/ 1341068 w 2222569"/>
                <a:gd name="connsiteY7388" fmla="*/ 1531998 h 2052818"/>
                <a:gd name="connsiteX7389" fmla="*/ 1339276 w 2222569"/>
                <a:gd name="connsiteY7389" fmla="*/ 1534441 h 2052818"/>
                <a:gd name="connsiteX7390" fmla="*/ 1336995 w 2222569"/>
                <a:gd name="connsiteY7390" fmla="*/ 1541446 h 2052818"/>
                <a:gd name="connsiteX7391" fmla="*/ 1333248 w 2222569"/>
                <a:gd name="connsiteY7391" fmla="*/ 1545030 h 2052818"/>
                <a:gd name="connsiteX7392" fmla="*/ 1329339 w 2222569"/>
                <a:gd name="connsiteY7392" fmla="*/ 1547637 h 2052818"/>
                <a:gd name="connsiteX7393" fmla="*/ 1330316 w 2222569"/>
                <a:gd name="connsiteY7393" fmla="*/ 1544379 h 2052818"/>
                <a:gd name="connsiteX7394" fmla="*/ 1334389 w 2222569"/>
                <a:gd name="connsiteY7394" fmla="*/ 1540632 h 2052818"/>
                <a:gd name="connsiteX7395" fmla="*/ 1335855 w 2222569"/>
                <a:gd name="connsiteY7395" fmla="*/ 1536233 h 2052818"/>
                <a:gd name="connsiteX7396" fmla="*/ 1334878 w 2222569"/>
                <a:gd name="connsiteY7396" fmla="*/ 1534767 h 2052818"/>
                <a:gd name="connsiteX7397" fmla="*/ 1331619 w 2222569"/>
                <a:gd name="connsiteY7397" fmla="*/ 1537211 h 2052818"/>
                <a:gd name="connsiteX7398" fmla="*/ 1328524 w 2222569"/>
                <a:gd name="connsiteY7398" fmla="*/ 1543238 h 2052818"/>
                <a:gd name="connsiteX7399" fmla="*/ 1322822 w 2222569"/>
                <a:gd name="connsiteY7399" fmla="*/ 1548777 h 2052818"/>
                <a:gd name="connsiteX7400" fmla="*/ 1322171 w 2222569"/>
                <a:gd name="connsiteY7400" fmla="*/ 1551384 h 2052818"/>
                <a:gd name="connsiteX7401" fmla="*/ 1318424 w 2222569"/>
                <a:gd name="connsiteY7401" fmla="*/ 1555945 h 2052818"/>
                <a:gd name="connsiteX7402" fmla="*/ 1319564 w 2222569"/>
                <a:gd name="connsiteY7402" fmla="*/ 1559041 h 2052818"/>
                <a:gd name="connsiteX7403" fmla="*/ 1321356 w 2222569"/>
                <a:gd name="connsiteY7403" fmla="*/ 1558552 h 2052818"/>
                <a:gd name="connsiteX7404" fmla="*/ 1326406 w 2222569"/>
                <a:gd name="connsiteY7404" fmla="*/ 1551873 h 2052818"/>
                <a:gd name="connsiteX7405" fmla="*/ 1329013 w 2222569"/>
                <a:gd name="connsiteY7405" fmla="*/ 1551221 h 2052818"/>
                <a:gd name="connsiteX7406" fmla="*/ 1327710 w 2222569"/>
                <a:gd name="connsiteY7406" fmla="*/ 1554479 h 2052818"/>
                <a:gd name="connsiteX7407" fmla="*/ 1324452 w 2222569"/>
                <a:gd name="connsiteY7407" fmla="*/ 1559692 h 2052818"/>
                <a:gd name="connsiteX7408" fmla="*/ 1326080 w 2222569"/>
                <a:gd name="connsiteY7408" fmla="*/ 1560181 h 2052818"/>
                <a:gd name="connsiteX7409" fmla="*/ 1329502 w 2222569"/>
                <a:gd name="connsiteY7409" fmla="*/ 1558063 h 2052818"/>
                <a:gd name="connsiteX7410" fmla="*/ 1332108 w 2222569"/>
                <a:gd name="connsiteY7410" fmla="*/ 1558063 h 2052818"/>
                <a:gd name="connsiteX7411" fmla="*/ 1335855 w 2222569"/>
                <a:gd name="connsiteY7411" fmla="*/ 1553339 h 2052818"/>
                <a:gd name="connsiteX7412" fmla="*/ 1335855 w 2222569"/>
                <a:gd name="connsiteY7412" fmla="*/ 1553339 h 2052818"/>
                <a:gd name="connsiteX7413" fmla="*/ 1331456 w 2222569"/>
                <a:gd name="connsiteY7413" fmla="*/ 1553502 h 2052818"/>
                <a:gd name="connsiteX7414" fmla="*/ 1332271 w 2222569"/>
                <a:gd name="connsiteY7414" fmla="*/ 1549755 h 2052818"/>
                <a:gd name="connsiteX7415" fmla="*/ 1339113 w 2222569"/>
                <a:gd name="connsiteY7415" fmla="*/ 1542750 h 2052818"/>
                <a:gd name="connsiteX7416" fmla="*/ 1336181 w 2222569"/>
                <a:gd name="connsiteY7416" fmla="*/ 1548777 h 2052818"/>
                <a:gd name="connsiteX7417" fmla="*/ 1333086 w 2222569"/>
                <a:gd name="connsiteY7417" fmla="*/ 1553013 h 2052818"/>
                <a:gd name="connsiteX7418" fmla="*/ 1331456 w 2222569"/>
                <a:gd name="connsiteY7418" fmla="*/ 1553502 h 2052818"/>
                <a:gd name="connsiteX7419" fmla="*/ 1331456 w 2222569"/>
                <a:gd name="connsiteY7419" fmla="*/ 1553502 h 2052818"/>
                <a:gd name="connsiteX7420" fmla="*/ 1676172 w 2222569"/>
                <a:gd name="connsiteY7420" fmla="*/ 1903756 h 2052818"/>
                <a:gd name="connsiteX7421" fmla="*/ 1674217 w 2222569"/>
                <a:gd name="connsiteY7421" fmla="*/ 1903430 h 2052818"/>
                <a:gd name="connsiteX7422" fmla="*/ 1673240 w 2222569"/>
                <a:gd name="connsiteY7422" fmla="*/ 1901476 h 2052818"/>
                <a:gd name="connsiteX7423" fmla="*/ 1675032 w 2222569"/>
                <a:gd name="connsiteY7423" fmla="*/ 1900498 h 2052818"/>
                <a:gd name="connsiteX7424" fmla="*/ 1676172 w 2222569"/>
                <a:gd name="connsiteY7424" fmla="*/ 1897403 h 2052818"/>
                <a:gd name="connsiteX7425" fmla="*/ 1680082 w 2222569"/>
                <a:gd name="connsiteY7425" fmla="*/ 1894308 h 2052818"/>
                <a:gd name="connsiteX7426" fmla="*/ 1680082 w 2222569"/>
                <a:gd name="connsiteY7426" fmla="*/ 1894959 h 2052818"/>
                <a:gd name="connsiteX7427" fmla="*/ 1680571 w 2222569"/>
                <a:gd name="connsiteY7427" fmla="*/ 1893656 h 2052818"/>
                <a:gd name="connsiteX7428" fmla="*/ 1679593 w 2222569"/>
                <a:gd name="connsiteY7428" fmla="*/ 1893656 h 2052818"/>
                <a:gd name="connsiteX7429" fmla="*/ 1675195 w 2222569"/>
                <a:gd name="connsiteY7429" fmla="*/ 1897240 h 2052818"/>
                <a:gd name="connsiteX7430" fmla="*/ 1672425 w 2222569"/>
                <a:gd name="connsiteY7430" fmla="*/ 1901313 h 2052818"/>
                <a:gd name="connsiteX7431" fmla="*/ 1673892 w 2222569"/>
                <a:gd name="connsiteY7431" fmla="*/ 1903919 h 2052818"/>
                <a:gd name="connsiteX7432" fmla="*/ 1675521 w 2222569"/>
                <a:gd name="connsiteY7432" fmla="*/ 1904571 h 2052818"/>
                <a:gd name="connsiteX7433" fmla="*/ 1676498 w 2222569"/>
                <a:gd name="connsiteY7433" fmla="*/ 1903593 h 2052818"/>
                <a:gd name="connsiteX7434" fmla="*/ 1676498 w 2222569"/>
                <a:gd name="connsiteY7434" fmla="*/ 1903593 h 2052818"/>
                <a:gd name="connsiteX7435" fmla="*/ 1802264 w 2222569"/>
                <a:gd name="connsiteY7435" fmla="*/ 1926564 h 2052818"/>
                <a:gd name="connsiteX7436" fmla="*/ 1800961 w 2222569"/>
                <a:gd name="connsiteY7436" fmla="*/ 1923631 h 2052818"/>
                <a:gd name="connsiteX7437" fmla="*/ 1802101 w 2222569"/>
                <a:gd name="connsiteY7437" fmla="*/ 1920210 h 2052818"/>
                <a:gd name="connsiteX7438" fmla="*/ 1801286 w 2222569"/>
                <a:gd name="connsiteY7438" fmla="*/ 1916300 h 2052818"/>
                <a:gd name="connsiteX7439" fmla="*/ 1799820 w 2222569"/>
                <a:gd name="connsiteY7439" fmla="*/ 1912879 h 2052818"/>
                <a:gd name="connsiteX7440" fmla="*/ 1801449 w 2222569"/>
                <a:gd name="connsiteY7440" fmla="*/ 1910761 h 2052818"/>
                <a:gd name="connsiteX7441" fmla="*/ 1803241 w 2222569"/>
                <a:gd name="connsiteY7441" fmla="*/ 1908969 h 2052818"/>
                <a:gd name="connsiteX7442" fmla="*/ 1802916 w 2222569"/>
                <a:gd name="connsiteY7442" fmla="*/ 1910761 h 2052818"/>
                <a:gd name="connsiteX7443" fmla="*/ 1804545 w 2222569"/>
                <a:gd name="connsiteY7443" fmla="*/ 1912716 h 2052818"/>
                <a:gd name="connsiteX7444" fmla="*/ 1804545 w 2222569"/>
                <a:gd name="connsiteY7444" fmla="*/ 1915649 h 2052818"/>
                <a:gd name="connsiteX7445" fmla="*/ 1802590 w 2222569"/>
                <a:gd name="connsiteY7445" fmla="*/ 1917278 h 2052818"/>
                <a:gd name="connsiteX7446" fmla="*/ 1802590 w 2222569"/>
                <a:gd name="connsiteY7446" fmla="*/ 1919559 h 2052818"/>
                <a:gd name="connsiteX7447" fmla="*/ 1804219 w 2222569"/>
                <a:gd name="connsiteY7447" fmla="*/ 1921025 h 2052818"/>
                <a:gd name="connsiteX7448" fmla="*/ 1805196 w 2222569"/>
                <a:gd name="connsiteY7448" fmla="*/ 1923143 h 2052818"/>
                <a:gd name="connsiteX7449" fmla="*/ 1803567 w 2222569"/>
                <a:gd name="connsiteY7449" fmla="*/ 1926401 h 2052818"/>
                <a:gd name="connsiteX7450" fmla="*/ 1802264 w 2222569"/>
                <a:gd name="connsiteY7450" fmla="*/ 1926401 h 2052818"/>
                <a:gd name="connsiteX7451" fmla="*/ 1806826 w 2222569"/>
                <a:gd name="connsiteY7451" fmla="*/ 1928844 h 2052818"/>
                <a:gd name="connsiteX7452" fmla="*/ 1807477 w 2222569"/>
                <a:gd name="connsiteY7452" fmla="*/ 1926238 h 2052818"/>
                <a:gd name="connsiteX7453" fmla="*/ 1809432 w 2222569"/>
                <a:gd name="connsiteY7453" fmla="*/ 1925586 h 2052818"/>
                <a:gd name="connsiteX7454" fmla="*/ 1809432 w 2222569"/>
                <a:gd name="connsiteY7454" fmla="*/ 1928030 h 2052818"/>
                <a:gd name="connsiteX7455" fmla="*/ 1807966 w 2222569"/>
                <a:gd name="connsiteY7455" fmla="*/ 1930473 h 2052818"/>
                <a:gd name="connsiteX7456" fmla="*/ 1806826 w 2222569"/>
                <a:gd name="connsiteY7456" fmla="*/ 1928844 h 2052818"/>
                <a:gd name="connsiteX7457" fmla="*/ 1806826 w 2222569"/>
                <a:gd name="connsiteY7457" fmla="*/ 1928844 h 2052818"/>
                <a:gd name="connsiteX7458" fmla="*/ 1856513 w 2222569"/>
                <a:gd name="connsiteY7458" fmla="*/ 1749318 h 2052818"/>
                <a:gd name="connsiteX7459" fmla="*/ 1858468 w 2222569"/>
                <a:gd name="connsiteY7459" fmla="*/ 1744594 h 2052818"/>
                <a:gd name="connsiteX7460" fmla="*/ 1861563 w 2222569"/>
                <a:gd name="connsiteY7460" fmla="*/ 1742150 h 2052818"/>
                <a:gd name="connsiteX7461" fmla="*/ 1861563 w 2222569"/>
                <a:gd name="connsiteY7461" fmla="*/ 1745409 h 2052818"/>
                <a:gd name="connsiteX7462" fmla="*/ 1860097 w 2222569"/>
                <a:gd name="connsiteY7462" fmla="*/ 1748830 h 2052818"/>
                <a:gd name="connsiteX7463" fmla="*/ 1857653 w 2222569"/>
                <a:gd name="connsiteY7463" fmla="*/ 1750459 h 2052818"/>
                <a:gd name="connsiteX7464" fmla="*/ 1856513 w 2222569"/>
                <a:gd name="connsiteY7464" fmla="*/ 1749481 h 2052818"/>
                <a:gd name="connsiteX7465" fmla="*/ 1856513 w 2222569"/>
                <a:gd name="connsiteY7465" fmla="*/ 1749481 h 2052818"/>
                <a:gd name="connsiteX7466" fmla="*/ 1841362 w 2222569"/>
                <a:gd name="connsiteY7466" fmla="*/ 1786462 h 2052818"/>
                <a:gd name="connsiteX7467" fmla="*/ 1841362 w 2222569"/>
                <a:gd name="connsiteY7467" fmla="*/ 1789231 h 2052818"/>
                <a:gd name="connsiteX7468" fmla="*/ 1842991 w 2222569"/>
                <a:gd name="connsiteY7468" fmla="*/ 1790046 h 2052818"/>
                <a:gd name="connsiteX7469" fmla="*/ 1843969 w 2222569"/>
                <a:gd name="connsiteY7469" fmla="*/ 1789068 h 2052818"/>
                <a:gd name="connsiteX7470" fmla="*/ 1845598 w 2222569"/>
                <a:gd name="connsiteY7470" fmla="*/ 1789068 h 2052818"/>
                <a:gd name="connsiteX7471" fmla="*/ 1845598 w 2222569"/>
                <a:gd name="connsiteY7471" fmla="*/ 1786299 h 2052818"/>
                <a:gd name="connsiteX7472" fmla="*/ 1843806 w 2222569"/>
                <a:gd name="connsiteY7472" fmla="*/ 1785810 h 2052818"/>
                <a:gd name="connsiteX7473" fmla="*/ 1841362 w 2222569"/>
                <a:gd name="connsiteY7473" fmla="*/ 1786625 h 2052818"/>
                <a:gd name="connsiteX7474" fmla="*/ 1841362 w 2222569"/>
                <a:gd name="connsiteY7474" fmla="*/ 1786625 h 2052818"/>
                <a:gd name="connsiteX7475" fmla="*/ 1867591 w 2222569"/>
                <a:gd name="connsiteY7475" fmla="*/ 1829633 h 2052818"/>
                <a:gd name="connsiteX7476" fmla="*/ 1866613 w 2222569"/>
                <a:gd name="connsiteY7476" fmla="*/ 1824420 h 2052818"/>
                <a:gd name="connsiteX7477" fmla="*/ 1866613 w 2222569"/>
                <a:gd name="connsiteY7477" fmla="*/ 1823116 h 2052818"/>
                <a:gd name="connsiteX7478" fmla="*/ 1868242 w 2222569"/>
                <a:gd name="connsiteY7478" fmla="*/ 1823605 h 2052818"/>
                <a:gd name="connsiteX7479" fmla="*/ 1869220 w 2222569"/>
                <a:gd name="connsiteY7479" fmla="*/ 1825071 h 2052818"/>
                <a:gd name="connsiteX7480" fmla="*/ 1870360 w 2222569"/>
                <a:gd name="connsiteY7480" fmla="*/ 1824257 h 2052818"/>
                <a:gd name="connsiteX7481" fmla="*/ 1872641 w 2222569"/>
                <a:gd name="connsiteY7481" fmla="*/ 1825886 h 2052818"/>
                <a:gd name="connsiteX7482" fmla="*/ 1873129 w 2222569"/>
                <a:gd name="connsiteY7482" fmla="*/ 1828004 h 2052818"/>
                <a:gd name="connsiteX7483" fmla="*/ 1870197 w 2222569"/>
                <a:gd name="connsiteY7483" fmla="*/ 1830284 h 2052818"/>
                <a:gd name="connsiteX7484" fmla="*/ 1867591 w 2222569"/>
                <a:gd name="connsiteY7484" fmla="*/ 1829958 h 2052818"/>
                <a:gd name="connsiteX7485" fmla="*/ 1867591 w 2222569"/>
                <a:gd name="connsiteY7485" fmla="*/ 1829958 h 2052818"/>
                <a:gd name="connsiteX7486" fmla="*/ 1855372 w 2222569"/>
                <a:gd name="connsiteY7486" fmla="*/ 1828492 h 2052818"/>
                <a:gd name="connsiteX7487" fmla="*/ 1857979 w 2222569"/>
                <a:gd name="connsiteY7487" fmla="*/ 1829633 h 2052818"/>
                <a:gd name="connsiteX7488" fmla="*/ 1859608 w 2222569"/>
                <a:gd name="connsiteY7488" fmla="*/ 1829144 h 2052818"/>
                <a:gd name="connsiteX7489" fmla="*/ 1860748 w 2222569"/>
                <a:gd name="connsiteY7489" fmla="*/ 1826374 h 2052818"/>
                <a:gd name="connsiteX7490" fmla="*/ 1860423 w 2222569"/>
                <a:gd name="connsiteY7490" fmla="*/ 1824908 h 2052818"/>
                <a:gd name="connsiteX7491" fmla="*/ 1861400 w 2222569"/>
                <a:gd name="connsiteY7491" fmla="*/ 1825234 h 2052818"/>
                <a:gd name="connsiteX7492" fmla="*/ 1862052 w 2222569"/>
                <a:gd name="connsiteY7492" fmla="*/ 1828004 h 2052818"/>
                <a:gd name="connsiteX7493" fmla="*/ 1859934 w 2222569"/>
                <a:gd name="connsiteY7493" fmla="*/ 1831588 h 2052818"/>
                <a:gd name="connsiteX7494" fmla="*/ 1856187 w 2222569"/>
                <a:gd name="connsiteY7494" fmla="*/ 1833380 h 2052818"/>
                <a:gd name="connsiteX7495" fmla="*/ 1854069 w 2222569"/>
                <a:gd name="connsiteY7495" fmla="*/ 1831913 h 2052818"/>
                <a:gd name="connsiteX7496" fmla="*/ 1854069 w 2222569"/>
                <a:gd name="connsiteY7496" fmla="*/ 1829796 h 2052818"/>
                <a:gd name="connsiteX7497" fmla="*/ 1855209 w 2222569"/>
                <a:gd name="connsiteY7497" fmla="*/ 1828492 h 2052818"/>
                <a:gd name="connsiteX7498" fmla="*/ 1855209 w 2222569"/>
                <a:gd name="connsiteY7498" fmla="*/ 1828492 h 2052818"/>
                <a:gd name="connsiteX7499" fmla="*/ 1814482 w 2222569"/>
                <a:gd name="connsiteY7499" fmla="*/ 1894470 h 2052818"/>
                <a:gd name="connsiteX7500" fmla="*/ 1815785 w 2222569"/>
                <a:gd name="connsiteY7500" fmla="*/ 1892027 h 2052818"/>
                <a:gd name="connsiteX7501" fmla="*/ 1817089 w 2222569"/>
                <a:gd name="connsiteY7501" fmla="*/ 1893656 h 2052818"/>
                <a:gd name="connsiteX7502" fmla="*/ 1815948 w 2222569"/>
                <a:gd name="connsiteY7502" fmla="*/ 1894959 h 2052818"/>
                <a:gd name="connsiteX7503" fmla="*/ 1814482 w 2222569"/>
                <a:gd name="connsiteY7503" fmla="*/ 1894470 h 2052818"/>
                <a:gd name="connsiteX7504" fmla="*/ 1814482 w 2222569"/>
                <a:gd name="connsiteY7504" fmla="*/ 1894470 h 2052818"/>
                <a:gd name="connsiteX7505" fmla="*/ 1868079 w 2222569"/>
                <a:gd name="connsiteY7505" fmla="*/ 1879483 h 2052818"/>
                <a:gd name="connsiteX7506" fmla="*/ 1868079 w 2222569"/>
                <a:gd name="connsiteY7506" fmla="*/ 1881275 h 2052818"/>
                <a:gd name="connsiteX7507" fmla="*/ 1870523 w 2222569"/>
                <a:gd name="connsiteY7507" fmla="*/ 1882415 h 2052818"/>
                <a:gd name="connsiteX7508" fmla="*/ 1874433 w 2222569"/>
                <a:gd name="connsiteY7508" fmla="*/ 1882415 h 2052818"/>
                <a:gd name="connsiteX7509" fmla="*/ 1875084 w 2222569"/>
                <a:gd name="connsiteY7509" fmla="*/ 1880623 h 2052818"/>
                <a:gd name="connsiteX7510" fmla="*/ 1870034 w 2222569"/>
                <a:gd name="connsiteY7510" fmla="*/ 1879157 h 2052818"/>
                <a:gd name="connsiteX7511" fmla="*/ 1867916 w 2222569"/>
                <a:gd name="connsiteY7511" fmla="*/ 1879483 h 2052818"/>
                <a:gd name="connsiteX7512" fmla="*/ 1867916 w 2222569"/>
                <a:gd name="connsiteY7512" fmla="*/ 1879483 h 2052818"/>
                <a:gd name="connsiteX7513" fmla="*/ 1810898 w 2222569"/>
                <a:gd name="connsiteY7513" fmla="*/ 1781900 h 2052818"/>
                <a:gd name="connsiteX7514" fmla="*/ 1808618 w 2222569"/>
                <a:gd name="connsiteY7514" fmla="*/ 1784670 h 2052818"/>
                <a:gd name="connsiteX7515" fmla="*/ 1804056 w 2222569"/>
                <a:gd name="connsiteY7515" fmla="*/ 1787928 h 2052818"/>
                <a:gd name="connsiteX7516" fmla="*/ 1801449 w 2222569"/>
                <a:gd name="connsiteY7516" fmla="*/ 1789394 h 2052818"/>
                <a:gd name="connsiteX7517" fmla="*/ 1802101 w 2222569"/>
                <a:gd name="connsiteY7517" fmla="*/ 1790697 h 2052818"/>
                <a:gd name="connsiteX7518" fmla="*/ 1800798 w 2222569"/>
                <a:gd name="connsiteY7518" fmla="*/ 1792489 h 2052818"/>
                <a:gd name="connsiteX7519" fmla="*/ 1798843 w 2222569"/>
                <a:gd name="connsiteY7519" fmla="*/ 1792978 h 2052818"/>
                <a:gd name="connsiteX7520" fmla="*/ 1798843 w 2222569"/>
                <a:gd name="connsiteY7520" fmla="*/ 1795422 h 2052818"/>
                <a:gd name="connsiteX7521" fmla="*/ 1800798 w 2222569"/>
                <a:gd name="connsiteY7521" fmla="*/ 1796562 h 2052818"/>
                <a:gd name="connsiteX7522" fmla="*/ 1799006 w 2222569"/>
                <a:gd name="connsiteY7522" fmla="*/ 1798191 h 2052818"/>
                <a:gd name="connsiteX7523" fmla="*/ 1795748 w 2222569"/>
                <a:gd name="connsiteY7523" fmla="*/ 1798517 h 2052818"/>
                <a:gd name="connsiteX7524" fmla="*/ 1793304 w 2222569"/>
                <a:gd name="connsiteY7524" fmla="*/ 1802101 h 2052818"/>
                <a:gd name="connsiteX7525" fmla="*/ 1793304 w 2222569"/>
                <a:gd name="connsiteY7525" fmla="*/ 1804056 h 2052818"/>
                <a:gd name="connsiteX7526" fmla="*/ 1794444 w 2222569"/>
                <a:gd name="connsiteY7526" fmla="*/ 1804056 h 2052818"/>
                <a:gd name="connsiteX7527" fmla="*/ 1795910 w 2222569"/>
                <a:gd name="connsiteY7527" fmla="*/ 1804870 h 2052818"/>
                <a:gd name="connsiteX7528" fmla="*/ 1793304 w 2222569"/>
                <a:gd name="connsiteY7528" fmla="*/ 1806337 h 2052818"/>
                <a:gd name="connsiteX7529" fmla="*/ 1790372 w 2222569"/>
                <a:gd name="connsiteY7529" fmla="*/ 1806825 h 2052818"/>
                <a:gd name="connsiteX7530" fmla="*/ 1787439 w 2222569"/>
                <a:gd name="connsiteY7530" fmla="*/ 1811224 h 2052818"/>
                <a:gd name="connsiteX7531" fmla="*/ 1786788 w 2222569"/>
                <a:gd name="connsiteY7531" fmla="*/ 1813830 h 2052818"/>
                <a:gd name="connsiteX7532" fmla="*/ 1781411 w 2222569"/>
                <a:gd name="connsiteY7532" fmla="*/ 1821813 h 2052818"/>
                <a:gd name="connsiteX7533" fmla="*/ 1781411 w 2222569"/>
                <a:gd name="connsiteY7533" fmla="*/ 1824420 h 2052818"/>
                <a:gd name="connsiteX7534" fmla="*/ 1783203 w 2222569"/>
                <a:gd name="connsiteY7534" fmla="*/ 1826374 h 2052818"/>
                <a:gd name="connsiteX7535" fmla="*/ 1783203 w 2222569"/>
                <a:gd name="connsiteY7535" fmla="*/ 1828981 h 2052818"/>
                <a:gd name="connsiteX7536" fmla="*/ 1781575 w 2222569"/>
                <a:gd name="connsiteY7536" fmla="*/ 1829307 h 2052818"/>
                <a:gd name="connsiteX7537" fmla="*/ 1780434 w 2222569"/>
                <a:gd name="connsiteY7537" fmla="*/ 1827841 h 2052818"/>
                <a:gd name="connsiteX7538" fmla="*/ 1778968 w 2222569"/>
                <a:gd name="connsiteY7538" fmla="*/ 1828166 h 2052818"/>
                <a:gd name="connsiteX7539" fmla="*/ 1774407 w 2222569"/>
                <a:gd name="connsiteY7539" fmla="*/ 1830447 h 2052818"/>
                <a:gd name="connsiteX7540" fmla="*/ 1772614 w 2222569"/>
                <a:gd name="connsiteY7540" fmla="*/ 1833705 h 2052818"/>
                <a:gd name="connsiteX7541" fmla="*/ 1772940 w 2222569"/>
                <a:gd name="connsiteY7541" fmla="*/ 1835660 h 2052818"/>
                <a:gd name="connsiteX7542" fmla="*/ 1775547 w 2222569"/>
                <a:gd name="connsiteY7542" fmla="*/ 1836149 h 2052818"/>
                <a:gd name="connsiteX7543" fmla="*/ 1777339 w 2222569"/>
                <a:gd name="connsiteY7543" fmla="*/ 1837941 h 2052818"/>
                <a:gd name="connsiteX7544" fmla="*/ 1775710 w 2222569"/>
                <a:gd name="connsiteY7544" fmla="*/ 1839407 h 2052818"/>
                <a:gd name="connsiteX7545" fmla="*/ 1775221 w 2222569"/>
                <a:gd name="connsiteY7545" fmla="*/ 1842014 h 2052818"/>
                <a:gd name="connsiteX7546" fmla="*/ 1772289 w 2222569"/>
                <a:gd name="connsiteY7546" fmla="*/ 1844294 h 2052818"/>
                <a:gd name="connsiteX7547" fmla="*/ 1766913 w 2222569"/>
                <a:gd name="connsiteY7547" fmla="*/ 1842665 h 2052818"/>
                <a:gd name="connsiteX7548" fmla="*/ 1765772 w 2222569"/>
                <a:gd name="connsiteY7548" fmla="*/ 1844132 h 2052818"/>
                <a:gd name="connsiteX7549" fmla="*/ 1765446 w 2222569"/>
                <a:gd name="connsiteY7549" fmla="*/ 1846412 h 2052818"/>
                <a:gd name="connsiteX7550" fmla="*/ 1762514 w 2222569"/>
                <a:gd name="connsiteY7550" fmla="*/ 1849508 h 2052818"/>
                <a:gd name="connsiteX7551" fmla="*/ 1759908 w 2222569"/>
                <a:gd name="connsiteY7551" fmla="*/ 1854721 h 2052818"/>
                <a:gd name="connsiteX7552" fmla="*/ 1757464 w 2222569"/>
                <a:gd name="connsiteY7552" fmla="*/ 1858142 h 2052818"/>
                <a:gd name="connsiteX7553" fmla="*/ 1755835 w 2222569"/>
                <a:gd name="connsiteY7553" fmla="*/ 1858142 h 2052818"/>
                <a:gd name="connsiteX7554" fmla="*/ 1755509 w 2222569"/>
                <a:gd name="connsiteY7554" fmla="*/ 1854395 h 2052818"/>
                <a:gd name="connsiteX7555" fmla="*/ 1753880 w 2222569"/>
                <a:gd name="connsiteY7555" fmla="*/ 1857979 h 2052818"/>
                <a:gd name="connsiteX7556" fmla="*/ 1751925 w 2222569"/>
                <a:gd name="connsiteY7556" fmla="*/ 1854721 h 2052818"/>
                <a:gd name="connsiteX7557" fmla="*/ 1752577 w 2222569"/>
                <a:gd name="connsiteY7557" fmla="*/ 1852603 h 2052818"/>
                <a:gd name="connsiteX7558" fmla="*/ 1755509 w 2222569"/>
                <a:gd name="connsiteY7558" fmla="*/ 1850485 h 2052818"/>
                <a:gd name="connsiteX7559" fmla="*/ 1756486 w 2222569"/>
                <a:gd name="connsiteY7559" fmla="*/ 1848041 h 2052818"/>
                <a:gd name="connsiteX7560" fmla="*/ 1755346 w 2222569"/>
                <a:gd name="connsiteY7560" fmla="*/ 1849508 h 2052818"/>
                <a:gd name="connsiteX7561" fmla="*/ 1751762 w 2222569"/>
                <a:gd name="connsiteY7561" fmla="*/ 1852114 h 2052818"/>
                <a:gd name="connsiteX7562" fmla="*/ 1745897 w 2222569"/>
                <a:gd name="connsiteY7562" fmla="*/ 1855698 h 2052818"/>
                <a:gd name="connsiteX7563" fmla="*/ 1743454 w 2222569"/>
                <a:gd name="connsiteY7563" fmla="*/ 1861889 h 2052818"/>
                <a:gd name="connsiteX7564" fmla="*/ 1745246 w 2222569"/>
                <a:gd name="connsiteY7564" fmla="*/ 1861889 h 2052818"/>
                <a:gd name="connsiteX7565" fmla="*/ 1748830 w 2222569"/>
                <a:gd name="connsiteY7565" fmla="*/ 1860748 h 2052818"/>
                <a:gd name="connsiteX7566" fmla="*/ 1755998 w 2222569"/>
                <a:gd name="connsiteY7566" fmla="*/ 1859934 h 2052818"/>
                <a:gd name="connsiteX7567" fmla="*/ 1761700 w 2222569"/>
                <a:gd name="connsiteY7567" fmla="*/ 1859934 h 2052818"/>
                <a:gd name="connsiteX7568" fmla="*/ 1758278 w 2222569"/>
                <a:gd name="connsiteY7568" fmla="*/ 1863192 h 2052818"/>
                <a:gd name="connsiteX7569" fmla="*/ 1753554 w 2222569"/>
                <a:gd name="connsiteY7569" fmla="*/ 1869057 h 2052818"/>
                <a:gd name="connsiteX7570" fmla="*/ 1750622 w 2222569"/>
                <a:gd name="connsiteY7570" fmla="*/ 1873781 h 2052818"/>
                <a:gd name="connsiteX7571" fmla="*/ 1744757 w 2222569"/>
                <a:gd name="connsiteY7571" fmla="*/ 1876876 h 2052818"/>
                <a:gd name="connsiteX7572" fmla="*/ 1740033 w 2222569"/>
                <a:gd name="connsiteY7572" fmla="*/ 1881275 h 2052818"/>
                <a:gd name="connsiteX7573" fmla="*/ 1737100 w 2222569"/>
                <a:gd name="connsiteY7573" fmla="*/ 1881275 h 2052818"/>
                <a:gd name="connsiteX7574" fmla="*/ 1736123 w 2222569"/>
                <a:gd name="connsiteY7574" fmla="*/ 1884044 h 2052818"/>
                <a:gd name="connsiteX7575" fmla="*/ 1737263 w 2222569"/>
                <a:gd name="connsiteY7575" fmla="*/ 1886651 h 2052818"/>
                <a:gd name="connsiteX7576" fmla="*/ 1736286 w 2222569"/>
                <a:gd name="connsiteY7576" fmla="*/ 1890398 h 2052818"/>
                <a:gd name="connsiteX7577" fmla="*/ 1737100 w 2222569"/>
                <a:gd name="connsiteY7577" fmla="*/ 1892353 h 2052818"/>
                <a:gd name="connsiteX7578" fmla="*/ 1739870 w 2222569"/>
                <a:gd name="connsiteY7578" fmla="*/ 1892678 h 2052818"/>
                <a:gd name="connsiteX7579" fmla="*/ 1744920 w 2222569"/>
                <a:gd name="connsiteY7579" fmla="*/ 1894308 h 2052818"/>
                <a:gd name="connsiteX7580" fmla="*/ 1750622 w 2222569"/>
                <a:gd name="connsiteY7580" fmla="*/ 1893493 h 2052818"/>
                <a:gd name="connsiteX7581" fmla="*/ 1754043 w 2222569"/>
                <a:gd name="connsiteY7581" fmla="*/ 1890724 h 2052818"/>
                <a:gd name="connsiteX7582" fmla="*/ 1758278 w 2222569"/>
                <a:gd name="connsiteY7582" fmla="*/ 1890235 h 2052818"/>
                <a:gd name="connsiteX7583" fmla="*/ 1761537 w 2222569"/>
                <a:gd name="connsiteY7583" fmla="*/ 1887302 h 2052818"/>
                <a:gd name="connsiteX7584" fmla="*/ 1762514 w 2222569"/>
                <a:gd name="connsiteY7584" fmla="*/ 1885348 h 2052818"/>
                <a:gd name="connsiteX7585" fmla="*/ 1763003 w 2222569"/>
                <a:gd name="connsiteY7585" fmla="*/ 1886977 h 2052818"/>
                <a:gd name="connsiteX7586" fmla="*/ 1760559 w 2222569"/>
                <a:gd name="connsiteY7586" fmla="*/ 1890561 h 2052818"/>
                <a:gd name="connsiteX7587" fmla="*/ 1765772 w 2222569"/>
                <a:gd name="connsiteY7587" fmla="*/ 1891538 h 2052818"/>
                <a:gd name="connsiteX7588" fmla="*/ 1769682 w 2222569"/>
                <a:gd name="connsiteY7588" fmla="*/ 1890072 h 2052818"/>
                <a:gd name="connsiteX7589" fmla="*/ 1771474 w 2222569"/>
                <a:gd name="connsiteY7589" fmla="*/ 1892516 h 2052818"/>
                <a:gd name="connsiteX7590" fmla="*/ 1778153 w 2222569"/>
                <a:gd name="connsiteY7590" fmla="*/ 1892841 h 2052818"/>
                <a:gd name="connsiteX7591" fmla="*/ 1782226 w 2222569"/>
                <a:gd name="connsiteY7591" fmla="*/ 1891701 h 2052818"/>
                <a:gd name="connsiteX7592" fmla="*/ 1783041 w 2222569"/>
                <a:gd name="connsiteY7592" fmla="*/ 1893493 h 2052818"/>
                <a:gd name="connsiteX7593" fmla="*/ 1784833 w 2222569"/>
                <a:gd name="connsiteY7593" fmla="*/ 1895448 h 2052818"/>
                <a:gd name="connsiteX7594" fmla="*/ 1789394 w 2222569"/>
                <a:gd name="connsiteY7594" fmla="*/ 1895774 h 2052818"/>
                <a:gd name="connsiteX7595" fmla="*/ 1791023 w 2222569"/>
                <a:gd name="connsiteY7595" fmla="*/ 1895122 h 2052818"/>
                <a:gd name="connsiteX7596" fmla="*/ 1792001 w 2222569"/>
                <a:gd name="connsiteY7596" fmla="*/ 1896588 h 2052818"/>
                <a:gd name="connsiteX7597" fmla="*/ 1794933 w 2222569"/>
                <a:gd name="connsiteY7597" fmla="*/ 1896588 h 2052818"/>
                <a:gd name="connsiteX7598" fmla="*/ 1797051 w 2222569"/>
                <a:gd name="connsiteY7598" fmla="*/ 1894959 h 2052818"/>
                <a:gd name="connsiteX7599" fmla="*/ 1797051 w 2222569"/>
                <a:gd name="connsiteY7599" fmla="*/ 1893330 h 2052818"/>
                <a:gd name="connsiteX7600" fmla="*/ 1800961 w 2222569"/>
                <a:gd name="connsiteY7600" fmla="*/ 1893493 h 2052818"/>
                <a:gd name="connsiteX7601" fmla="*/ 1802264 w 2222569"/>
                <a:gd name="connsiteY7601" fmla="*/ 1894959 h 2052818"/>
                <a:gd name="connsiteX7602" fmla="*/ 1804382 w 2222569"/>
                <a:gd name="connsiteY7602" fmla="*/ 1894633 h 2052818"/>
                <a:gd name="connsiteX7603" fmla="*/ 1806011 w 2222569"/>
                <a:gd name="connsiteY7603" fmla="*/ 1892841 h 2052818"/>
                <a:gd name="connsiteX7604" fmla="*/ 1808454 w 2222569"/>
                <a:gd name="connsiteY7604" fmla="*/ 1892841 h 2052818"/>
                <a:gd name="connsiteX7605" fmla="*/ 1810898 w 2222569"/>
                <a:gd name="connsiteY7605" fmla="*/ 1893982 h 2052818"/>
                <a:gd name="connsiteX7606" fmla="*/ 1811876 w 2222569"/>
                <a:gd name="connsiteY7606" fmla="*/ 1891701 h 2052818"/>
                <a:gd name="connsiteX7607" fmla="*/ 1811387 w 2222569"/>
                <a:gd name="connsiteY7607" fmla="*/ 1889583 h 2052818"/>
                <a:gd name="connsiteX7608" fmla="*/ 1811713 w 2222569"/>
                <a:gd name="connsiteY7608" fmla="*/ 1885836 h 2052818"/>
                <a:gd name="connsiteX7609" fmla="*/ 1813016 w 2222569"/>
                <a:gd name="connsiteY7609" fmla="*/ 1887302 h 2052818"/>
                <a:gd name="connsiteX7610" fmla="*/ 1814645 w 2222569"/>
                <a:gd name="connsiteY7610" fmla="*/ 1884370 h 2052818"/>
                <a:gd name="connsiteX7611" fmla="*/ 1816437 w 2222569"/>
                <a:gd name="connsiteY7611" fmla="*/ 1883881 h 2052818"/>
                <a:gd name="connsiteX7612" fmla="*/ 1815297 w 2222569"/>
                <a:gd name="connsiteY7612" fmla="*/ 1885022 h 2052818"/>
                <a:gd name="connsiteX7613" fmla="*/ 1813993 w 2222569"/>
                <a:gd name="connsiteY7613" fmla="*/ 1889909 h 2052818"/>
                <a:gd name="connsiteX7614" fmla="*/ 1814971 w 2222569"/>
                <a:gd name="connsiteY7614" fmla="*/ 1891049 h 2052818"/>
                <a:gd name="connsiteX7615" fmla="*/ 1816111 w 2222569"/>
                <a:gd name="connsiteY7615" fmla="*/ 1888606 h 2052818"/>
                <a:gd name="connsiteX7616" fmla="*/ 1818881 w 2222569"/>
                <a:gd name="connsiteY7616" fmla="*/ 1885673 h 2052818"/>
                <a:gd name="connsiteX7617" fmla="*/ 1820021 w 2222569"/>
                <a:gd name="connsiteY7617" fmla="*/ 1885348 h 2052818"/>
                <a:gd name="connsiteX7618" fmla="*/ 1820021 w 2222569"/>
                <a:gd name="connsiteY7618" fmla="*/ 1888443 h 2052818"/>
                <a:gd name="connsiteX7619" fmla="*/ 1818392 w 2222569"/>
                <a:gd name="connsiteY7619" fmla="*/ 1891049 h 2052818"/>
                <a:gd name="connsiteX7620" fmla="*/ 1818392 w 2222569"/>
                <a:gd name="connsiteY7620" fmla="*/ 1893004 h 2052818"/>
                <a:gd name="connsiteX7621" fmla="*/ 1821650 w 2222569"/>
                <a:gd name="connsiteY7621" fmla="*/ 1892190 h 2052818"/>
                <a:gd name="connsiteX7622" fmla="*/ 1822953 w 2222569"/>
                <a:gd name="connsiteY7622" fmla="*/ 1891864 h 2052818"/>
                <a:gd name="connsiteX7623" fmla="*/ 1822627 w 2222569"/>
                <a:gd name="connsiteY7623" fmla="*/ 1892841 h 2052818"/>
                <a:gd name="connsiteX7624" fmla="*/ 1817577 w 2222569"/>
                <a:gd name="connsiteY7624" fmla="*/ 1895937 h 2052818"/>
                <a:gd name="connsiteX7625" fmla="*/ 1812853 w 2222569"/>
                <a:gd name="connsiteY7625" fmla="*/ 1897892 h 2052818"/>
                <a:gd name="connsiteX7626" fmla="*/ 1814156 w 2222569"/>
                <a:gd name="connsiteY7626" fmla="*/ 1898869 h 2052818"/>
                <a:gd name="connsiteX7627" fmla="*/ 1815460 w 2222569"/>
                <a:gd name="connsiteY7627" fmla="*/ 1898055 h 2052818"/>
                <a:gd name="connsiteX7628" fmla="*/ 1818392 w 2222569"/>
                <a:gd name="connsiteY7628" fmla="*/ 1898055 h 2052818"/>
                <a:gd name="connsiteX7629" fmla="*/ 1819369 w 2222569"/>
                <a:gd name="connsiteY7629" fmla="*/ 1899358 h 2052818"/>
                <a:gd name="connsiteX7630" fmla="*/ 1822302 w 2222569"/>
                <a:gd name="connsiteY7630" fmla="*/ 1899358 h 2052818"/>
                <a:gd name="connsiteX7631" fmla="*/ 1823442 w 2222569"/>
                <a:gd name="connsiteY7631" fmla="*/ 1900987 h 2052818"/>
                <a:gd name="connsiteX7632" fmla="*/ 1825234 w 2222569"/>
                <a:gd name="connsiteY7632" fmla="*/ 1899684 h 2052818"/>
                <a:gd name="connsiteX7633" fmla="*/ 1828167 w 2222569"/>
                <a:gd name="connsiteY7633" fmla="*/ 1898869 h 2052818"/>
                <a:gd name="connsiteX7634" fmla="*/ 1829796 w 2222569"/>
                <a:gd name="connsiteY7634" fmla="*/ 1895285 h 2052818"/>
                <a:gd name="connsiteX7635" fmla="*/ 1829307 w 2222569"/>
                <a:gd name="connsiteY7635" fmla="*/ 1892678 h 2052818"/>
                <a:gd name="connsiteX7636" fmla="*/ 1831425 w 2222569"/>
                <a:gd name="connsiteY7636" fmla="*/ 1894145 h 2052818"/>
                <a:gd name="connsiteX7637" fmla="*/ 1835335 w 2222569"/>
                <a:gd name="connsiteY7637" fmla="*/ 1894959 h 2052818"/>
                <a:gd name="connsiteX7638" fmla="*/ 1837289 w 2222569"/>
                <a:gd name="connsiteY7638" fmla="*/ 1897240 h 2052818"/>
                <a:gd name="connsiteX7639" fmla="*/ 1840059 w 2222569"/>
                <a:gd name="connsiteY7639" fmla="*/ 1896588 h 2052818"/>
                <a:gd name="connsiteX7640" fmla="*/ 1842502 w 2222569"/>
                <a:gd name="connsiteY7640" fmla="*/ 1894959 h 2052818"/>
                <a:gd name="connsiteX7641" fmla="*/ 1845924 w 2222569"/>
                <a:gd name="connsiteY7641" fmla="*/ 1895448 h 2052818"/>
                <a:gd name="connsiteX7642" fmla="*/ 1842991 w 2222569"/>
                <a:gd name="connsiteY7642" fmla="*/ 1897240 h 2052818"/>
                <a:gd name="connsiteX7643" fmla="*/ 1842665 w 2222569"/>
                <a:gd name="connsiteY7643" fmla="*/ 1898869 h 2052818"/>
                <a:gd name="connsiteX7644" fmla="*/ 1838267 w 2222569"/>
                <a:gd name="connsiteY7644" fmla="*/ 1900661 h 2052818"/>
                <a:gd name="connsiteX7645" fmla="*/ 1834031 w 2222569"/>
                <a:gd name="connsiteY7645" fmla="*/ 1901150 h 2052818"/>
                <a:gd name="connsiteX7646" fmla="*/ 1831588 w 2222569"/>
                <a:gd name="connsiteY7646" fmla="*/ 1903756 h 2052818"/>
                <a:gd name="connsiteX7647" fmla="*/ 1831262 w 2222569"/>
                <a:gd name="connsiteY7647" fmla="*/ 1905711 h 2052818"/>
                <a:gd name="connsiteX7648" fmla="*/ 1829959 w 2222569"/>
                <a:gd name="connsiteY7648" fmla="*/ 1906363 h 2052818"/>
                <a:gd name="connsiteX7649" fmla="*/ 1829144 w 2222569"/>
                <a:gd name="connsiteY7649" fmla="*/ 1908318 h 2052818"/>
                <a:gd name="connsiteX7650" fmla="*/ 1826049 w 2222569"/>
                <a:gd name="connsiteY7650" fmla="*/ 1908318 h 2052818"/>
                <a:gd name="connsiteX7651" fmla="*/ 1824257 w 2222569"/>
                <a:gd name="connsiteY7651" fmla="*/ 1908969 h 2052818"/>
                <a:gd name="connsiteX7652" fmla="*/ 1823116 w 2222569"/>
                <a:gd name="connsiteY7652" fmla="*/ 1910761 h 2052818"/>
                <a:gd name="connsiteX7653" fmla="*/ 1821324 w 2222569"/>
                <a:gd name="connsiteY7653" fmla="*/ 1912390 h 2052818"/>
                <a:gd name="connsiteX7654" fmla="*/ 1816926 w 2222569"/>
                <a:gd name="connsiteY7654" fmla="*/ 1913531 h 2052818"/>
                <a:gd name="connsiteX7655" fmla="*/ 1813179 w 2222569"/>
                <a:gd name="connsiteY7655" fmla="*/ 1916463 h 2052818"/>
                <a:gd name="connsiteX7656" fmla="*/ 1812527 w 2222569"/>
                <a:gd name="connsiteY7656" fmla="*/ 1918418 h 2052818"/>
                <a:gd name="connsiteX7657" fmla="*/ 1813668 w 2222569"/>
                <a:gd name="connsiteY7657" fmla="*/ 1919884 h 2052818"/>
                <a:gd name="connsiteX7658" fmla="*/ 1814645 w 2222569"/>
                <a:gd name="connsiteY7658" fmla="*/ 1921513 h 2052818"/>
                <a:gd name="connsiteX7659" fmla="*/ 1817903 w 2222569"/>
                <a:gd name="connsiteY7659" fmla="*/ 1921513 h 2052818"/>
                <a:gd name="connsiteX7660" fmla="*/ 1819207 w 2222569"/>
                <a:gd name="connsiteY7660" fmla="*/ 1919559 h 2052818"/>
                <a:gd name="connsiteX7661" fmla="*/ 1820836 w 2222569"/>
                <a:gd name="connsiteY7661" fmla="*/ 1917929 h 2052818"/>
                <a:gd name="connsiteX7662" fmla="*/ 1822791 w 2222569"/>
                <a:gd name="connsiteY7662" fmla="*/ 1918418 h 2052818"/>
                <a:gd name="connsiteX7663" fmla="*/ 1822791 w 2222569"/>
                <a:gd name="connsiteY7663" fmla="*/ 1920536 h 2052818"/>
                <a:gd name="connsiteX7664" fmla="*/ 1824583 w 2222569"/>
                <a:gd name="connsiteY7664" fmla="*/ 1922002 h 2052818"/>
                <a:gd name="connsiteX7665" fmla="*/ 1828329 w 2222569"/>
                <a:gd name="connsiteY7665" fmla="*/ 1920536 h 2052818"/>
                <a:gd name="connsiteX7666" fmla="*/ 1830610 w 2222569"/>
                <a:gd name="connsiteY7666" fmla="*/ 1918092 h 2052818"/>
                <a:gd name="connsiteX7667" fmla="*/ 1832076 w 2222569"/>
                <a:gd name="connsiteY7667" fmla="*/ 1915160 h 2052818"/>
                <a:gd name="connsiteX7668" fmla="*/ 1833217 w 2222569"/>
                <a:gd name="connsiteY7668" fmla="*/ 1915160 h 2052818"/>
                <a:gd name="connsiteX7669" fmla="*/ 1834194 w 2222569"/>
                <a:gd name="connsiteY7669" fmla="*/ 1912390 h 2052818"/>
                <a:gd name="connsiteX7670" fmla="*/ 1834846 w 2222569"/>
                <a:gd name="connsiteY7670" fmla="*/ 1909132 h 2052818"/>
                <a:gd name="connsiteX7671" fmla="*/ 1836638 w 2222569"/>
                <a:gd name="connsiteY7671" fmla="*/ 1908481 h 2052818"/>
                <a:gd name="connsiteX7672" fmla="*/ 1841036 w 2222569"/>
                <a:gd name="connsiteY7672" fmla="*/ 1903593 h 2052818"/>
                <a:gd name="connsiteX7673" fmla="*/ 1843154 w 2222569"/>
                <a:gd name="connsiteY7673" fmla="*/ 1902290 h 2052818"/>
                <a:gd name="connsiteX7674" fmla="*/ 1845272 w 2222569"/>
                <a:gd name="connsiteY7674" fmla="*/ 1903919 h 2052818"/>
                <a:gd name="connsiteX7675" fmla="*/ 1848530 w 2222569"/>
                <a:gd name="connsiteY7675" fmla="*/ 1903593 h 2052818"/>
                <a:gd name="connsiteX7676" fmla="*/ 1845598 w 2222569"/>
                <a:gd name="connsiteY7676" fmla="*/ 1905385 h 2052818"/>
                <a:gd name="connsiteX7677" fmla="*/ 1848204 w 2222569"/>
                <a:gd name="connsiteY7677" fmla="*/ 1905060 h 2052818"/>
                <a:gd name="connsiteX7678" fmla="*/ 1850485 w 2222569"/>
                <a:gd name="connsiteY7678" fmla="*/ 1903430 h 2052818"/>
                <a:gd name="connsiteX7679" fmla="*/ 1852440 w 2222569"/>
                <a:gd name="connsiteY7679" fmla="*/ 1897729 h 2052818"/>
                <a:gd name="connsiteX7680" fmla="*/ 1854884 w 2222569"/>
                <a:gd name="connsiteY7680" fmla="*/ 1892678 h 2052818"/>
                <a:gd name="connsiteX7681" fmla="*/ 1854884 w 2222569"/>
                <a:gd name="connsiteY7681" fmla="*/ 1887954 h 2052818"/>
                <a:gd name="connsiteX7682" fmla="*/ 1855861 w 2222569"/>
                <a:gd name="connsiteY7682" fmla="*/ 1886488 h 2052818"/>
                <a:gd name="connsiteX7683" fmla="*/ 1857327 w 2222569"/>
                <a:gd name="connsiteY7683" fmla="*/ 1886488 h 2052818"/>
                <a:gd name="connsiteX7684" fmla="*/ 1859119 w 2222569"/>
                <a:gd name="connsiteY7684" fmla="*/ 1888280 h 2052818"/>
                <a:gd name="connsiteX7685" fmla="*/ 1860748 w 2222569"/>
                <a:gd name="connsiteY7685" fmla="*/ 1888606 h 2052818"/>
                <a:gd name="connsiteX7686" fmla="*/ 1862540 w 2222569"/>
                <a:gd name="connsiteY7686" fmla="*/ 1890235 h 2052818"/>
                <a:gd name="connsiteX7687" fmla="*/ 1863029 w 2222569"/>
                <a:gd name="connsiteY7687" fmla="*/ 1895285 h 2052818"/>
                <a:gd name="connsiteX7688" fmla="*/ 1862215 w 2222569"/>
                <a:gd name="connsiteY7688" fmla="*/ 1898217 h 2052818"/>
                <a:gd name="connsiteX7689" fmla="*/ 1861563 w 2222569"/>
                <a:gd name="connsiteY7689" fmla="*/ 1901801 h 2052818"/>
                <a:gd name="connsiteX7690" fmla="*/ 1862866 w 2222569"/>
                <a:gd name="connsiteY7690" fmla="*/ 1904245 h 2052818"/>
                <a:gd name="connsiteX7691" fmla="*/ 1861726 w 2222569"/>
                <a:gd name="connsiteY7691" fmla="*/ 1906852 h 2052818"/>
                <a:gd name="connsiteX7692" fmla="*/ 1857979 w 2222569"/>
                <a:gd name="connsiteY7692" fmla="*/ 1909947 h 2052818"/>
                <a:gd name="connsiteX7693" fmla="*/ 1855209 w 2222569"/>
                <a:gd name="connsiteY7693" fmla="*/ 1917278 h 2052818"/>
                <a:gd name="connsiteX7694" fmla="*/ 1855209 w 2222569"/>
                <a:gd name="connsiteY7694" fmla="*/ 1920536 h 2052818"/>
                <a:gd name="connsiteX7695" fmla="*/ 1853580 w 2222569"/>
                <a:gd name="connsiteY7695" fmla="*/ 1922002 h 2052818"/>
                <a:gd name="connsiteX7696" fmla="*/ 1853580 w 2222569"/>
                <a:gd name="connsiteY7696" fmla="*/ 1924935 h 2052818"/>
                <a:gd name="connsiteX7697" fmla="*/ 1856187 w 2222569"/>
                <a:gd name="connsiteY7697" fmla="*/ 1925749 h 2052818"/>
                <a:gd name="connsiteX7698" fmla="*/ 1859934 w 2222569"/>
                <a:gd name="connsiteY7698" fmla="*/ 1923468 h 2052818"/>
                <a:gd name="connsiteX7699" fmla="*/ 1863355 w 2222569"/>
                <a:gd name="connsiteY7699" fmla="*/ 1916952 h 2052818"/>
                <a:gd name="connsiteX7700" fmla="*/ 1865147 w 2222569"/>
                <a:gd name="connsiteY7700" fmla="*/ 1916952 h 2052818"/>
                <a:gd name="connsiteX7701" fmla="*/ 1868731 w 2222569"/>
                <a:gd name="connsiteY7701" fmla="*/ 1912553 h 2052818"/>
                <a:gd name="connsiteX7702" fmla="*/ 1870523 w 2222569"/>
                <a:gd name="connsiteY7702" fmla="*/ 1909947 h 2052818"/>
                <a:gd name="connsiteX7703" fmla="*/ 1871175 w 2222569"/>
                <a:gd name="connsiteY7703" fmla="*/ 1911576 h 2052818"/>
                <a:gd name="connsiteX7704" fmla="*/ 1875247 w 2222569"/>
                <a:gd name="connsiteY7704" fmla="*/ 1911576 h 2052818"/>
                <a:gd name="connsiteX7705" fmla="*/ 1875247 w 2222569"/>
                <a:gd name="connsiteY7705" fmla="*/ 1913205 h 2052818"/>
                <a:gd name="connsiteX7706" fmla="*/ 1872152 w 2222569"/>
                <a:gd name="connsiteY7706" fmla="*/ 1913857 h 2052818"/>
                <a:gd name="connsiteX7707" fmla="*/ 1867753 w 2222569"/>
                <a:gd name="connsiteY7707" fmla="*/ 1918418 h 2052818"/>
                <a:gd name="connsiteX7708" fmla="*/ 1867753 w 2222569"/>
                <a:gd name="connsiteY7708" fmla="*/ 1921513 h 2052818"/>
                <a:gd name="connsiteX7709" fmla="*/ 1866776 w 2222569"/>
                <a:gd name="connsiteY7709" fmla="*/ 1924935 h 2052818"/>
                <a:gd name="connsiteX7710" fmla="*/ 1867916 w 2222569"/>
                <a:gd name="connsiteY7710" fmla="*/ 1926564 h 2052818"/>
                <a:gd name="connsiteX7711" fmla="*/ 1868405 w 2222569"/>
                <a:gd name="connsiteY7711" fmla="*/ 1931125 h 2052818"/>
                <a:gd name="connsiteX7712" fmla="*/ 1870849 w 2222569"/>
                <a:gd name="connsiteY7712" fmla="*/ 1933406 h 2052818"/>
                <a:gd name="connsiteX7713" fmla="*/ 1871500 w 2222569"/>
                <a:gd name="connsiteY7713" fmla="*/ 1929985 h 2052818"/>
                <a:gd name="connsiteX7714" fmla="*/ 1873781 w 2222569"/>
                <a:gd name="connsiteY7714" fmla="*/ 1927541 h 2052818"/>
                <a:gd name="connsiteX7715" fmla="*/ 1876062 w 2222569"/>
                <a:gd name="connsiteY7715" fmla="*/ 1927541 h 2052818"/>
                <a:gd name="connsiteX7716" fmla="*/ 1878180 w 2222569"/>
                <a:gd name="connsiteY7716" fmla="*/ 1930799 h 2052818"/>
                <a:gd name="connsiteX7717" fmla="*/ 1880460 w 2222569"/>
                <a:gd name="connsiteY7717" fmla="*/ 1931614 h 2052818"/>
                <a:gd name="connsiteX7718" fmla="*/ 1883881 w 2222569"/>
                <a:gd name="connsiteY7718" fmla="*/ 1929333 h 2052818"/>
                <a:gd name="connsiteX7719" fmla="*/ 1883881 w 2222569"/>
                <a:gd name="connsiteY7719" fmla="*/ 1926889 h 2052818"/>
                <a:gd name="connsiteX7720" fmla="*/ 1885348 w 2222569"/>
                <a:gd name="connsiteY7720" fmla="*/ 1926564 h 2052818"/>
                <a:gd name="connsiteX7721" fmla="*/ 1886325 w 2222569"/>
                <a:gd name="connsiteY7721" fmla="*/ 1924120 h 2052818"/>
                <a:gd name="connsiteX7722" fmla="*/ 1886325 w 2222569"/>
                <a:gd name="connsiteY7722" fmla="*/ 1920862 h 2052818"/>
                <a:gd name="connsiteX7723" fmla="*/ 1887302 w 2222569"/>
                <a:gd name="connsiteY7723" fmla="*/ 1920536 h 2052818"/>
                <a:gd name="connsiteX7724" fmla="*/ 1888117 w 2222569"/>
                <a:gd name="connsiteY7724" fmla="*/ 1918255 h 2052818"/>
                <a:gd name="connsiteX7725" fmla="*/ 1886814 w 2222569"/>
                <a:gd name="connsiteY7725" fmla="*/ 1915649 h 2052818"/>
                <a:gd name="connsiteX7726" fmla="*/ 1887791 w 2222569"/>
                <a:gd name="connsiteY7726" fmla="*/ 1911576 h 2052818"/>
                <a:gd name="connsiteX7727" fmla="*/ 1892027 w 2222569"/>
                <a:gd name="connsiteY7727" fmla="*/ 1905711 h 2052818"/>
                <a:gd name="connsiteX7728" fmla="*/ 1894634 w 2222569"/>
                <a:gd name="connsiteY7728" fmla="*/ 1901639 h 2052818"/>
                <a:gd name="connsiteX7729" fmla="*/ 1894308 w 2222569"/>
                <a:gd name="connsiteY7729" fmla="*/ 1894308 h 2052818"/>
                <a:gd name="connsiteX7730" fmla="*/ 1893819 w 2222569"/>
                <a:gd name="connsiteY7730" fmla="*/ 1891701 h 2052818"/>
                <a:gd name="connsiteX7731" fmla="*/ 1892516 w 2222569"/>
                <a:gd name="connsiteY7731" fmla="*/ 1891701 h 2052818"/>
                <a:gd name="connsiteX7732" fmla="*/ 1892516 w 2222569"/>
                <a:gd name="connsiteY7732" fmla="*/ 1893493 h 2052818"/>
                <a:gd name="connsiteX7733" fmla="*/ 1890724 w 2222569"/>
                <a:gd name="connsiteY7733" fmla="*/ 1897403 h 2052818"/>
                <a:gd name="connsiteX7734" fmla="*/ 1887140 w 2222569"/>
                <a:gd name="connsiteY7734" fmla="*/ 1899684 h 2052818"/>
                <a:gd name="connsiteX7735" fmla="*/ 1884044 w 2222569"/>
                <a:gd name="connsiteY7735" fmla="*/ 1903268 h 2052818"/>
                <a:gd name="connsiteX7736" fmla="*/ 1881927 w 2222569"/>
                <a:gd name="connsiteY7736" fmla="*/ 1903919 h 2052818"/>
                <a:gd name="connsiteX7737" fmla="*/ 1880297 w 2222569"/>
                <a:gd name="connsiteY7737" fmla="*/ 1900824 h 2052818"/>
                <a:gd name="connsiteX7738" fmla="*/ 1880949 w 2222569"/>
                <a:gd name="connsiteY7738" fmla="*/ 1897240 h 2052818"/>
                <a:gd name="connsiteX7739" fmla="*/ 1880949 w 2222569"/>
                <a:gd name="connsiteY7739" fmla="*/ 1893330 h 2052818"/>
                <a:gd name="connsiteX7740" fmla="*/ 1885348 w 2222569"/>
                <a:gd name="connsiteY7740" fmla="*/ 1890072 h 2052818"/>
                <a:gd name="connsiteX7741" fmla="*/ 1886325 w 2222569"/>
                <a:gd name="connsiteY7741" fmla="*/ 1888280 h 2052818"/>
                <a:gd name="connsiteX7742" fmla="*/ 1890072 w 2222569"/>
                <a:gd name="connsiteY7742" fmla="*/ 1884696 h 2052818"/>
                <a:gd name="connsiteX7743" fmla="*/ 1891375 w 2222569"/>
                <a:gd name="connsiteY7743" fmla="*/ 1884696 h 2052818"/>
                <a:gd name="connsiteX7744" fmla="*/ 1893167 w 2222569"/>
                <a:gd name="connsiteY7744" fmla="*/ 1883718 h 2052818"/>
                <a:gd name="connsiteX7745" fmla="*/ 1892190 w 2222569"/>
                <a:gd name="connsiteY7745" fmla="*/ 1881275 h 2052818"/>
                <a:gd name="connsiteX7746" fmla="*/ 1889909 w 2222569"/>
                <a:gd name="connsiteY7746" fmla="*/ 1883230 h 2052818"/>
                <a:gd name="connsiteX7747" fmla="*/ 1888117 w 2222569"/>
                <a:gd name="connsiteY7747" fmla="*/ 1883556 h 2052818"/>
                <a:gd name="connsiteX7748" fmla="*/ 1885022 w 2222569"/>
                <a:gd name="connsiteY7748" fmla="*/ 1885185 h 2052818"/>
                <a:gd name="connsiteX7749" fmla="*/ 1882089 w 2222569"/>
                <a:gd name="connsiteY7749" fmla="*/ 1885673 h 2052818"/>
                <a:gd name="connsiteX7750" fmla="*/ 1878994 w 2222569"/>
                <a:gd name="connsiteY7750" fmla="*/ 1888606 h 2052818"/>
                <a:gd name="connsiteX7751" fmla="*/ 1878343 w 2222569"/>
                <a:gd name="connsiteY7751" fmla="*/ 1891212 h 2052818"/>
                <a:gd name="connsiteX7752" fmla="*/ 1873292 w 2222569"/>
                <a:gd name="connsiteY7752" fmla="*/ 1895122 h 2052818"/>
                <a:gd name="connsiteX7753" fmla="*/ 1872967 w 2222569"/>
                <a:gd name="connsiteY7753" fmla="*/ 1896914 h 2052818"/>
                <a:gd name="connsiteX7754" fmla="*/ 1870523 w 2222569"/>
                <a:gd name="connsiteY7754" fmla="*/ 1898706 h 2052818"/>
                <a:gd name="connsiteX7755" fmla="*/ 1866939 w 2222569"/>
                <a:gd name="connsiteY7755" fmla="*/ 1895611 h 2052818"/>
                <a:gd name="connsiteX7756" fmla="*/ 1866613 w 2222569"/>
                <a:gd name="connsiteY7756" fmla="*/ 1893004 h 2052818"/>
                <a:gd name="connsiteX7757" fmla="*/ 1865473 w 2222569"/>
                <a:gd name="connsiteY7757" fmla="*/ 1890072 h 2052818"/>
                <a:gd name="connsiteX7758" fmla="*/ 1865147 w 2222569"/>
                <a:gd name="connsiteY7758" fmla="*/ 1887140 h 2052818"/>
                <a:gd name="connsiteX7759" fmla="*/ 1866939 w 2222569"/>
                <a:gd name="connsiteY7759" fmla="*/ 1889909 h 2052818"/>
                <a:gd name="connsiteX7760" fmla="*/ 1868568 w 2222569"/>
                <a:gd name="connsiteY7760" fmla="*/ 1889583 h 2052818"/>
                <a:gd name="connsiteX7761" fmla="*/ 1871500 w 2222569"/>
                <a:gd name="connsiteY7761" fmla="*/ 1885022 h 2052818"/>
                <a:gd name="connsiteX7762" fmla="*/ 1869545 w 2222569"/>
                <a:gd name="connsiteY7762" fmla="*/ 1885510 h 2052818"/>
                <a:gd name="connsiteX7763" fmla="*/ 1865799 w 2222569"/>
                <a:gd name="connsiteY7763" fmla="*/ 1884044 h 2052818"/>
                <a:gd name="connsiteX7764" fmla="*/ 1868242 w 2222569"/>
                <a:gd name="connsiteY7764" fmla="*/ 1884044 h 2052818"/>
                <a:gd name="connsiteX7765" fmla="*/ 1872152 w 2222569"/>
                <a:gd name="connsiteY7765" fmla="*/ 1883881 h 2052818"/>
                <a:gd name="connsiteX7766" fmla="*/ 1868079 w 2222569"/>
                <a:gd name="connsiteY7766" fmla="*/ 1883067 h 2052818"/>
                <a:gd name="connsiteX7767" fmla="*/ 1866124 w 2222569"/>
                <a:gd name="connsiteY7767" fmla="*/ 1881275 h 2052818"/>
                <a:gd name="connsiteX7768" fmla="*/ 1866124 w 2222569"/>
                <a:gd name="connsiteY7768" fmla="*/ 1878505 h 2052818"/>
                <a:gd name="connsiteX7769" fmla="*/ 1867591 w 2222569"/>
                <a:gd name="connsiteY7769" fmla="*/ 1877528 h 2052818"/>
                <a:gd name="connsiteX7770" fmla="*/ 1871989 w 2222569"/>
                <a:gd name="connsiteY7770" fmla="*/ 1877528 h 2052818"/>
                <a:gd name="connsiteX7771" fmla="*/ 1873292 w 2222569"/>
                <a:gd name="connsiteY7771" fmla="*/ 1876713 h 2052818"/>
                <a:gd name="connsiteX7772" fmla="*/ 1877039 w 2222569"/>
                <a:gd name="connsiteY7772" fmla="*/ 1873618 h 2052818"/>
                <a:gd name="connsiteX7773" fmla="*/ 1878668 w 2222569"/>
                <a:gd name="connsiteY7773" fmla="*/ 1869382 h 2052818"/>
                <a:gd name="connsiteX7774" fmla="*/ 1882578 w 2222569"/>
                <a:gd name="connsiteY7774" fmla="*/ 1869382 h 2052818"/>
                <a:gd name="connsiteX7775" fmla="*/ 1883718 w 2222569"/>
                <a:gd name="connsiteY7775" fmla="*/ 1870849 h 2052818"/>
                <a:gd name="connsiteX7776" fmla="*/ 1888280 w 2222569"/>
                <a:gd name="connsiteY7776" fmla="*/ 1867916 h 2052818"/>
                <a:gd name="connsiteX7777" fmla="*/ 1889746 w 2222569"/>
                <a:gd name="connsiteY7777" fmla="*/ 1864658 h 2052818"/>
                <a:gd name="connsiteX7778" fmla="*/ 1889746 w 2222569"/>
                <a:gd name="connsiteY7778" fmla="*/ 1861074 h 2052818"/>
                <a:gd name="connsiteX7779" fmla="*/ 1888443 w 2222569"/>
                <a:gd name="connsiteY7779" fmla="*/ 1858468 h 2052818"/>
                <a:gd name="connsiteX7780" fmla="*/ 1885185 w 2222569"/>
                <a:gd name="connsiteY7780" fmla="*/ 1862052 h 2052818"/>
                <a:gd name="connsiteX7781" fmla="*/ 1882578 w 2222569"/>
                <a:gd name="connsiteY7781" fmla="*/ 1863681 h 2052818"/>
                <a:gd name="connsiteX7782" fmla="*/ 1881764 w 2222569"/>
                <a:gd name="connsiteY7782" fmla="*/ 1862052 h 2052818"/>
                <a:gd name="connsiteX7783" fmla="*/ 1878994 w 2222569"/>
                <a:gd name="connsiteY7783" fmla="*/ 1861563 h 2052818"/>
                <a:gd name="connsiteX7784" fmla="*/ 1878994 w 2222569"/>
                <a:gd name="connsiteY7784" fmla="*/ 1863681 h 2052818"/>
                <a:gd name="connsiteX7785" fmla="*/ 1878343 w 2222569"/>
                <a:gd name="connsiteY7785" fmla="*/ 1866939 h 2052818"/>
                <a:gd name="connsiteX7786" fmla="*/ 1876388 w 2222569"/>
                <a:gd name="connsiteY7786" fmla="*/ 1867916 h 2052818"/>
                <a:gd name="connsiteX7787" fmla="*/ 1874433 w 2222569"/>
                <a:gd name="connsiteY7787" fmla="*/ 1867916 h 2052818"/>
                <a:gd name="connsiteX7788" fmla="*/ 1871175 w 2222569"/>
                <a:gd name="connsiteY7788" fmla="*/ 1870197 h 2052818"/>
                <a:gd name="connsiteX7789" fmla="*/ 1868731 w 2222569"/>
                <a:gd name="connsiteY7789" fmla="*/ 1871663 h 2052818"/>
                <a:gd name="connsiteX7790" fmla="*/ 1868405 w 2222569"/>
                <a:gd name="connsiteY7790" fmla="*/ 1874270 h 2052818"/>
                <a:gd name="connsiteX7791" fmla="*/ 1866613 w 2222569"/>
                <a:gd name="connsiteY7791" fmla="*/ 1875084 h 2052818"/>
                <a:gd name="connsiteX7792" fmla="*/ 1867427 w 2222569"/>
                <a:gd name="connsiteY7792" fmla="*/ 1872966 h 2052818"/>
                <a:gd name="connsiteX7793" fmla="*/ 1867753 w 2222569"/>
                <a:gd name="connsiteY7793" fmla="*/ 1869871 h 2052818"/>
                <a:gd name="connsiteX7794" fmla="*/ 1866124 w 2222569"/>
                <a:gd name="connsiteY7794" fmla="*/ 1871500 h 2052818"/>
                <a:gd name="connsiteX7795" fmla="*/ 1863518 w 2222569"/>
                <a:gd name="connsiteY7795" fmla="*/ 1871174 h 2052818"/>
                <a:gd name="connsiteX7796" fmla="*/ 1866124 w 2222569"/>
                <a:gd name="connsiteY7796" fmla="*/ 1869708 h 2052818"/>
                <a:gd name="connsiteX7797" fmla="*/ 1868568 w 2222569"/>
                <a:gd name="connsiteY7797" fmla="*/ 1867102 h 2052818"/>
                <a:gd name="connsiteX7798" fmla="*/ 1869708 w 2222569"/>
                <a:gd name="connsiteY7798" fmla="*/ 1865636 h 2052818"/>
                <a:gd name="connsiteX7799" fmla="*/ 1867916 w 2222569"/>
                <a:gd name="connsiteY7799" fmla="*/ 1864495 h 2052818"/>
                <a:gd name="connsiteX7800" fmla="*/ 1870034 w 2222569"/>
                <a:gd name="connsiteY7800" fmla="*/ 1862703 h 2052818"/>
                <a:gd name="connsiteX7801" fmla="*/ 1871500 w 2222569"/>
                <a:gd name="connsiteY7801" fmla="*/ 1859119 h 2052818"/>
                <a:gd name="connsiteX7802" fmla="*/ 1869708 w 2222569"/>
                <a:gd name="connsiteY7802" fmla="*/ 1858305 h 2052818"/>
                <a:gd name="connsiteX7803" fmla="*/ 1867753 w 2222569"/>
                <a:gd name="connsiteY7803" fmla="*/ 1860585 h 2052818"/>
                <a:gd name="connsiteX7804" fmla="*/ 1868731 w 2222569"/>
                <a:gd name="connsiteY7804" fmla="*/ 1857979 h 2052818"/>
                <a:gd name="connsiteX7805" fmla="*/ 1869057 w 2222569"/>
                <a:gd name="connsiteY7805" fmla="*/ 1855209 h 2052818"/>
                <a:gd name="connsiteX7806" fmla="*/ 1867427 w 2222569"/>
                <a:gd name="connsiteY7806" fmla="*/ 1854721 h 2052818"/>
                <a:gd name="connsiteX7807" fmla="*/ 1864495 w 2222569"/>
                <a:gd name="connsiteY7807" fmla="*/ 1855861 h 2052818"/>
                <a:gd name="connsiteX7808" fmla="*/ 1859771 w 2222569"/>
                <a:gd name="connsiteY7808" fmla="*/ 1855047 h 2052818"/>
                <a:gd name="connsiteX7809" fmla="*/ 1864495 w 2222569"/>
                <a:gd name="connsiteY7809" fmla="*/ 1855047 h 2052818"/>
                <a:gd name="connsiteX7810" fmla="*/ 1865799 w 2222569"/>
                <a:gd name="connsiteY7810" fmla="*/ 1853743 h 2052818"/>
                <a:gd name="connsiteX7811" fmla="*/ 1870197 w 2222569"/>
                <a:gd name="connsiteY7811" fmla="*/ 1852929 h 2052818"/>
                <a:gd name="connsiteX7812" fmla="*/ 1873455 w 2222569"/>
                <a:gd name="connsiteY7812" fmla="*/ 1851300 h 2052818"/>
                <a:gd name="connsiteX7813" fmla="*/ 1875084 w 2222569"/>
                <a:gd name="connsiteY7813" fmla="*/ 1849508 h 2052818"/>
                <a:gd name="connsiteX7814" fmla="*/ 1877528 w 2222569"/>
                <a:gd name="connsiteY7814" fmla="*/ 1849019 h 2052818"/>
                <a:gd name="connsiteX7815" fmla="*/ 1879972 w 2222569"/>
                <a:gd name="connsiteY7815" fmla="*/ 1847390 h 2052818"/>
                <a:gd name="connsiteX7816" fmla="*/ 1880297 w 2222569"/>
                <a:gd name="connsiteY7816" fmla="*/ 1844132 h 2052818"/>
                <a:gd name="connsiteX7817" fmla="*/ 1882089 w 2222569"/>
                <a:gd name="connsiteY7817" fmla="*/ 1842339 h 2052818"/>
                <a:gd name="connsiteX7818" fmla="*/ 1882578 w 2222569"/>
                <a:gd name="connsiteY7818" fmla="*/ 1839896 h 2052818"/>
                <a:gd name="connsiteX7819" fmla="*/ 1879483 w 2222569"/>
                <a:gd name="connsiteY7819" fmla="*/ 1838104 h 2052818"/>
                <a:gd name="connsiteX7820" fmla="*/ 1875247 w 2222569"/>
                <a:gd name="connsiteY7820" fmla="*/ 1834031 h 2052818"/>
                <a:gd name="connsiteX7821" fmla="*/ 1871012 w 2222569"/>
                <a:gd name="connsiteY7821" fmla="*/ 1833705 h 2052818"/>
                <a:gd name="connsiteX7822" fmla="*/ 1866613 w 2222569"/>
                <a:gd name="connsiteY7822" fmla="*/ 1834683 h 2052818"/>
                <a:gd name="connsiteX7823" fmla="*/ 1864658 w 2222569"/>
                <a:gd name="connsiteY7823" fmla="*/ 1834683 h 2052818"/>
                <a:gd name="connsiteX7824" fmla="*/ 1864495 w 2222569"/>
                <a:gd name="connsiteY7824" fmla="*/ 1837126 h 2052818"/>
                <a:gd name="connsiteX7825" fmla="*/ 1862703 w 2222569"/>
                <a:gd name="connsiteY7825" fmla="*/ 1840710 h 2052818"/>
                <a:gd name="connsiteX7826" fmla="*/ 1861726 w 2222569"/>
                <a:gd name="connsiteY7826" fmla="*/ 1844783 h 2052818"/>
                <a:gd name="connsiteX7827" fmla="*/ 1858956 w 2222569"/>
                <a:gd name="connsiteY7827" fmla="*/ 1846738 h 2052818"/>
                <a:gd name="connsiteX7828" fmla="*/ 1860748 w 2222569"/>
                <a:gd name="connsiteY7828" fmla="*/ 1844457 h 2052818"/>
                <a:gd name="connsiteX7829" fmla="*/ 1861400 w 2222569"/>
                <a:gd name="connsiteY7829" fmla="*/ 1840222 h 2052818"/>
                <a:gd name="connsiteX7830" fmla="*/ 1860260 w 2222569"/>
                <a:gd name="connsiteY7830" fmla="*/ 1838593 h 2052818"/>
                <a:gd name="connsiteX7831" fmla="*/ 1861400 w 2222569"/>
                <a:gd name="connsiteY7831" fmla="*/ 1836149 h 2052818"/>
                <a:gd name="connsiteX7832" fmla="*/ 1863192 w 2222569"/>
                <a:gd name="connsiteY7832" fmla="*/ 1832565 h 2052818"/>
                <a:gd name="connsiteX7833" fmla="*/ 1861563 w 2222569"/>
                <a:gd name="connsiteY7833" fmla="*/ 1832239 h 2052818"/>
                <a:gd name="connsiteX7834" fmla="*/ 1857979 w 2222569"/>
                <a:gd name="connsiteY7834" fmla="*/ 1834846 h 2052818"/>
                <a:gd name="connsiteX7835" fmla="*/ 1856187 w 2222569"/>
                <a:gd name="connsiteY7835" fmla="*/ 1837452 h 2052818"/>
                <a:gd name="connsiteX7836" fmla="*/ 1853418 w 2222569"/>
                <a:gd name="connsiteY7836" fmla="*/ 1839244 h 2052818"/>
                <a:gd name="connsiteX7837" fmla="*/ 1851951 w 2222569"/>
                <a:gd name="connsiteY7837" fmla="*/ 1837778 h 2052818"/>
                <a:gd name="connsiteX7838" fmla="*/ 1850648 w 2222569"/>
                <a:gd name="connsiteY7838" fmla="*/ 1839407 h 2052818"/>
                <a:gd name="connsiteX7839" fmla="*/ 1848042 w 2222569"/>
                <a:gd name="connsiteY7839" fmla="*/ 1840385 h 2052818"/>
                <a:gd name="connsiteX7840" fmla="*/ 1846412 w 2222569"/>
                <a:gd name="connsiteY7840" fmla="*/ 1838756 h 2052818"/>
                <a:gd name="connsiteX7841" fmla="*/ 1843154 w 2222569"/>
                <a:gd name="connsiteY7841" fmla="*/ 1841036 h 2052818"/>
                <a:gd name="connsiteX7842" fmla="*/ 1842502 w 2222569"/>
                <a:gd name="connsiteY7842" fmla="*/ 1845924 h 2052818"/>
                <a:gd name="connsiteX7843" fmla="*/ 1839081 w 2222569"/>
                <a:gd name="connsiteY7843" fmla="*/ 1848367 h 2052818"/>
                <a:gd name="connsiteX7844" fmla="*/ 1841525 w 2222569"/>
                <a:gd name="connsiteY7844" fmla="*/ 1845761 h 2052818"/>
                <a:gd name="connsiteX7845" fmla="*/ 1842502 w 2222569"/>
                <a:gd name="connsiteY7845" fmla="*/ 1839570 h 2052818"/>
                <a:gd name="connsiteX7846" fmla="*/ 1845272 w 2222569"/>
                <a:gd name="connsiteY7846" fmla="*/ 1834846 h 2052818"/>
                <a:gd name="connsiteX7847" fmla="*/ 1844132 w 2222569"/>
                <a:gd name="connsiteY7847" fmla="*/ 1834194 h 2052818"/>
                <a:gd name="connsiteX7848" fmla="*/ 1841362 w 2222569"/>
                <a:gd name="connsiteY7848" fmla="*/ 1835335 h 2052818"/>
                <a:gd name="connsiteX7849" fmla="*/ 1840059 w 2222569"/>
                <a:gd name="connsiteY7849" fmla="*/ 1837778 h 2052818"/>
                <a:gd name="connsiteX7850" fmla="*/ 1837289 w 2222569"/>
                <a:gd name="connsiteY7850" fmla="*/ 1840710 h 2052818"/>
                <a:gd name="connsiteX7851" fmla="*/ 1836312 w 2222569"/>
                <a:gd name="connsiteY7851" fmla="*/ 1838918 h 2052818"/>
                <a:gd name="connsiteX7852" fmla="*/ 1838104 w 2222569"/>
                <a:gd name="connsiteY7852" fmla="*/ 1837126 h 2052818"/>
                <a:gd name="connsiteX7853" fmla="*/ 1838756 w 2222569"/>
                <a:gd name="connsiteY7853" fmla="*/ 1834520 h 2052818"/>
                <a:gd name="connsiteX7854" fmla="*/ 1838267 w 2222569"/>
                <a:gd name="connsiteY7854" fmla="*/ 1833543 h 2052818"/>
                <a:gd name="connsiteX7855" fmla="*/ 1835009 w 2222569"/>
                <a:gd name="connsiteY7855" fmla="*/ 1834194 h 2052818"/>
                <a:gd name="connsiteX7856" fmla="*/ 1830773 w 2222569"/>
                <a:gd name="connsiteY7856" fmla="*/ 1837941 h 2052818"/>
                <a:gd name="connsiteX7857" fmla="*/ 1828981 w 2222569"/>
                <a:gd name="connsiteY7857" fmla="*/ 1837452 h 2052818"/>
                <a:gd name="connsiteX7858" fmla="*/ 1827678 w 2222569"/>
                <a:gd name="connsiteY7858" fmla="*/ 1833543 h 2052818"/>
                <a:gd name="connsiteX7859" fmla="*/ 1826537 w 2222569"/>
                <a:gd name="connsiteY7859" fmla="*/ 1833054 h 2052818"/>
                <a:gd name="connsiteX7860" fmla="*/ 1822791 w 2222569"/>
                <a:gd name="connsiteY7860" fmla="*/ 1836149 h 2052818"/>
                <a:gd name="connsiteX7861" fmla="*/ 1820836 w 2222569"/>
                <a:gd name="connsiteY7861" fmla="*/ 1835823 h 2052818"/>
                <a:gd name="connsiteX7862" fmla="*/ 1820510 w 2222569"/>
                <a:gd name="connsiteY7862" fmla="*/ 1834683 h 2052818"/>
                <a:gd name="connsiteX7863" fmla="*/ 1824583 w 2222569"/>
                <a:gd name="connsiteY7863" fmla="*/ 1831913 h 2052818"/>
                <a:gd name="connsiteX7864" fmla="*/ 1827189 w 2222569"/>
                <a:gd name="connsiteY7864" fmla="*/ 1827678 h 2052818"/>
                <a:gd name="connsiteX7865" fmla="*/ 1828329 w 2222569"/>
                <a:gd name="connsiteY7865" fmla="*/ 1824420 h 2052818"/>
                <a:gd name="connsiteX7866" fmla="*/ 1826700 w 2222569"/>
                <a:gd name="connsiteY7866" fmla="*/ 1824745 h 2052818"/>
                <a:gd name="connsiteX7867" fmla="*/ 1824745 w 2222569"/>
                <a:gd name="connsiteY7867" fmla="*/ 1824745 h 2052818"/>
                <a:gd name="connsiteX7868" fmla="*/ 1821161 w 2222569"/>
                <a:gd name="connsiteY7868" fmla="*/ 1827678 h 2052818"/>
                <a:gd name="connsiteX7869" fmla="*/ 1822953 w 2222569"/>
                <a:gd name="connsiteY7869" fmla="*/ 1824582 h 2052818"/>
                <a:gd name="connsiteX7870" fmla="*/ 1826863 w 2222569"/>
                <a:gd name="connsiteY7870" fmla="*/ 1821324 h 2052818"/>
                <a:gd name="connsiteX7871" fmla="*/ 1831099 w 2222569"/>
                <a:gd name="connsiteY7871" fmla="*/ 1820998 h 2052818"/>
                <a:gd name="connsiteX7872" fmla="*/ 1833054 w 2222569"/>
                <a:gd name="connsiteY7872" fmla="*/ 1819858 h 2052818"/>
                <a:gd name="connsiteX7873" fmla="*/ 1836801 w 2222569"/>
                <a:gd name="connsiteY7873" fmla="*/ 1819044 h 2052818"/>
                <a:gd name="connsiteX7874" fmla="*/ 1839081 w 2222569"/>
                <a:gd name="connsiteY7874" fmla="*/ 1816600 h 2052818"/>
                <a:gd name="connsiteX7875" fmla="*/ 1839081 w 2222569"/>
                <a:gd name="connsiteY7875" fmla="*/ 1814645 h 2052818"/>
                <a:gd name="connsiteX7876" fmla="*/ 1837778 w 2222569"/>
                <a:gd name="connsiteY7876" fmla="*/ 1815297 h 2052818"/>
                <a:gd name="connsiteX7877" fmla="*/ 1833380 w 2222569"/>
                <a:gd name="connsiteY7877" fmla="*/ 1816600 h 2052818"/>
                <a:gd name="connsiteX7878" fmla="*/ 1830773 w 2222569"/>
                <a:gd name="connsiteY7878" fmla="*/ 1815785 h 2052818"/>
                <a:gd name="connsiteX7879" fmla="*/ 1827026 w 2222569"/>
                <a:gd name="connsiteY7879" fmla="*/ 1812853 h 2052818"/>
                <a:gd name="connsiteX7880" fmla="*/ 1825071 w 2222569"/>
                <a:gd name="connsiteY7880" fmla="*/ 1813342 h 2052818"/>
                <a:gd name="connsiteX7881" fmla="*/ 1823116 w 2222569"/>
                <a:gd name="connsiteY7881" fmla="*/ 1814808 h 2052818"/>
                <a:gd name="connsiteX7882" fmla="*/ 1825071 w 2222569"/>
                <a:gd name="connsiteY7882" fmla="*/ 1810409 h 2052818"/>
                <a:gd name="connsiteX7883" fmla="*/ 1826537 w 2222569"/>
                <a:gd name="connsiteY7883" fmla="*/ 1809106 h 2052818"/>
                <a:gd name="connsiteX7884" fmla="*/ 1826211 w 2222569"/>
                <a:gd name="connsiteY7884" fmla="*/ 1808129 h 2052818"/>
                <a:gd name="connsiteX7885" fmla="*/ 1823605 w 2222569"/>
                <a:gd name="connsiteY7885" fmla="*/ 1808780 h 2052818"/>
                <a:gd name="connsiteX7886" fmla="*/ 1820510 w 2222569"/>
                <a:gd name="connsiteY7886" fmla="*/ 1811224 h 2052818"/>
                <a:gd name="connsiteX7887" fmla="*/ 1818555 w 2222569"/>
                <a:gd name="connsiteY7887" fmla="*/ 1814319 h 2052818"/>
                <a:gd name="connsiteX7888" fmla="*/ 1815460 w 2222569"/>
                <a:gd name="connsiteY7888" fmla="*/ 1817577 h 2052818"/>
                <a:gd name="connsiteX7889" fmla="*/ 1813016 w 2222569"/>
                <a:gd name="connsiteY7889" fmla="*/ 1819206 h 2052818"/>
                <a:gd name="connsiteX7890" fmla="*/ 1812038 w 2222569"/>
                <a:gd name="connsiteY7890" fmla="*/ 1821976 h 2052818"/>
                <a:gd name="connsiteX7891" fmla="*/ 1808454 w 2222569"/>
                <a:gd name="connsiteY7891" fmla="*/ 1824257 h 2052818"/>
                <a:gd name="connsiteX7892" fmla="*/ 1805685 w 2222569"/>
                <a:gd name="connsiteY7892" fmla="*/ 1827352 h 2052818"/>
                <a:gd name="connsiteX7893" fmla="*/ 1805685 w 2222569"/>
                <a:gd name="connsiteY7893" fmla="*/ 1823279 h 2052818"/>
                <a:gd name="connsiteX7894" fmla="*/ 1806337 w 2222569"/>
                <a:gd name="connsiteY7894" fmla="*/ 1820021 h 2052818"/>
                <a:gd name="connsiteX7895" fmla="*/ 1808618 w 2222569"/>
                <a:gd name="connsiteY7895" fmla="*/ 1816437 h 2052818"/>
                <a:gd name="connsiteX7896" fmla="*/ 1808618 w 2222569"/>
                <a:gd name="connsiteY7896" fmla="*/ 1813993 h 2052818"/>
                <a:gd name="connsiteX7897" fmla="*/ 1810898 w 2222569"/>
                <a:gd name="connsiteY7897" fmla="*/ 1809758 h 2052818"/>
                <a:gd name="connsiteX7898" fmla="*/ 1814156 w 2222569"/>
                <a:gd name="connsiteY7898" fmla="*/ 1806500 h 2052818"/>
                <a:gd name="connsiteX7899" fmla="*/ 1814482 w 2222569"/>
                <a:gd name="connsiteY7899" fmla="*/ 1804545 h 2052818"/>
                <a:gd name="connsiteX7900" fmla="*/ 1816763 w 2222569"/>
                <a:gd name="connsiteY7900" fmla="*/ 1802264 h 2052818"/>
                <a:gd name="connsiteX7901" fmla="*/ 1818392 w 2222569"/>
                <a:gd name="connsiteY7901" fmla="*/ 1800635 h 2052818"/>
                <a:gd name="connsiteX7902" fmla="*/ 1820673 w 2222569"/>
                <a:gd name="connsiteY7902" fmla="*/ 1796399 h 2052818"/>
                <a:gd name="connsiteX7903" fmla="*/ 1823605 w 2222569"/>
                <a:gd name="connsiteY7903" fmla="*/ 1794444 h 2052818"/>
                <a:gd name="connsiteX7904" fmla="*/ 1825560 w 2222569"/>
                <a:gd name="connsiteY7904" fmla="*/ 1791512 h 2052818"/>
                <a:gd name="connsiteX7905" fmla="*/ 1828004 w 2222569"/>
                <a:gd name="connsiteY7905" fmla="*/ 1790697 h 2052818"/>
                <a:gd name="connsiteX7906" fmla="*/ 1828655 w 2222569"/>
                <a:gd name="connsiteY7906" fmla="*/ 1789068 h 2052818"/>
                <a:gd name="connsiteX7907" fmla="*/ 1828655 w 2222569"/>
                <a:gd name="connsiteY7907" fmla="*/ 1786788 h 2052818"/>
                <a:gd name="connsiteX7908" fmla="*/ 1830121 w 2222569"/>
                <a:gd name="connsiteY7908" fmla="*/ 1784018 h 2052818"/>
                <a:gd name="connsiteX7909" fmla="*/ 1831425 w 2222569"/>
                <a:gd name="connsiteY7909" fmla="*/ 1780923 h 2052818"/>
                <a:gd name="connsiteX7910" fmla="*/ 1831099 w 2222569"/>
                <a:gd name="connsiteY7910" fmla="*/ 1783692 h 2052818"/>
                <a:gd name="connsiteX7911" fmla="*/ 1830447 w 2222569"/>
                <a:gd name="connsiteY7911" fmla="*/ 1785973 h 2052818"/>
                <a:gd name="connsiteX7912" fmla="*/ 1831913 w 2222569"/>
                <a:gd name="connsiteY7912" fmla="*/ 1788091 h 2052818"/>
                <a:gd name="connsiteX7913" fmla="*/ 1834846 w 2222569"/>
                <a:gd name="connsiteY7913" fmla="*/ 1783366 h 2052818"/>
                <a:gd name="connsiteX7914" fmla="*/ 1839570 w 2222569"/>
                <a:gd name="connsiteY7914" fmla="*/ 1778642 h 2052818"/>
                <a:gd name="connsiteX7915" fmla="*/ 1840873 w 2222569"/>
                <a:gd name="connsiteY7915" fmla="*/ 1776035 h 2052818"/>
                <a:gd name="connsiteX7916" fmla="*/ 1839244 w 2222569"/>
                <a:gd name="connsiteY7916" fmla="*/ 1773755 h 2052818"/>
                <a:gd name="connsiteX7917" fmla="*/ 1837452 w 2222569"/>
                <a:gd name="connsiteY7917" fmla="*/ 1773755 h 2052818"/>
                <a:gd name="connsiteX7918" fmla="*/ 1835172 w 2222569"/>
                <a:gd name="connsiteY7918" fmla="*/ 1775547 h 2052818"/>
                <a:gd name="connsiteX7919" fmla="*/ 1834357 w 2222569"/>
                <a:gd name="connsiteY7919" fmla="*/ 1771963 h 2052818"/>
                <a:gd name="connsiteX7920" fmla="*/ 1832728 w 2222569"/>
                <a:gd name="connsiteY7920" fmla="*/ 1770497 h 2052818"/>
                <a:gd name="connsiteX7921" fmla="*/ 1833868 w 2222569"/>
                <a:gd name="connsiteY7921" fmla="*/ 1768216 h 2052818"/>
                <a:gd name="connsiteX7922" fmla="*/ 1836475 w 2222569"/>
                <a:gd name="connsiteY7922" fmla="*/ 1767564 h 2052818"/>
                <a:gd name="connsiteX7923" fmla="*/ 1840222 w 2222569"/>
                <a:gd name="connsiteY7923" fmla="*/ 1768379 h 2052818"/>
                <a:gd name="connsiteX7924" fmla="*/ 1843969 w 2222569"/>
                <a:gd name="connsiteY7924" fmla="*/ 1770497 h 2052818"/>
                <a:gd name="connsiteX7925" fmla="*/ 1845924 w 2222569"/>
                <a:gd name="connsiteY7925" fmla="*/ 1769519 h 2052818"/>
                <a:gd name="connsiteX7926" fmla="*/ 1847716 w 2222569"/>
                <a:gd name="connsiteY7926" fmla="*/ 1766750 h 2052818"/>
                <a:gd name="connsiteX7927" fmla="*/ 1847716 w 2222569"/>
                <a:gd name="connsiteY7927" fmla="*/ 1760396 h 2052818"/>
                <a:gd name="connsiteX7928" fmla="*/ 1844457 w 2222569"/>
                <a:gd name="connsiteY7928" fmla="*/ 1760559 h 2052818"/>
                <a:gd name="connsiteX7929" fmla="*/ 1841525 w 2222569"/>
                <a:gd name="connsiteY7929" fmla="*/ 1761700 h 2052818"/>
                <a:gd name="connsiteX7930" fmla="*/ 1841851 w 2222569"/>
                <a:gd name="connsiteY7930" fmla="*/ 1763492 h 2052818"/>
                <a:gd name="connsiteX7931" fmla="*/ 1839570 w 2222569"/>
                <a:gd name="connsiteY7931" fmla="*/ 1763492 h 2052818"/>
                <a:gd name="connsiteX7932" fmla="*/ 1839896 w 2222569"/>
                <a:gd name="connsiteY7932" fmla="*/ 1760885 h 2052818"/>
                <a:gd name="connsiteX7933" fmla="*/ 1839407 w 2222569"/>
                <a:gd name="connsiteY7933" fmla="*/ 1759093 h 2052818"/>
                <a:gd name="connsiteX7934" fmla="*/ 1837127 w 2222569"/>
                <a:gd name="connsiteY7934" fmla="*/ 1760559 h 2052818"/>
                <a:gd name="connsiteX7935" fmla="*/ 1834683 w 2222569"/>
                <a:gd name="connsiteY7935" fmla="*/ 1763166 h 2052818"/>
                <a:gd name="connsiteX7936" fmla="*/ 1831588 w 2222569"/>
                <a:gd name="connsiteY7936" fmla="*/ 1763166 h 2052818"/>
                <a:gd name="connsiteX7937" fmla="*/ 1829796 w 2222569"/>
                <a:gd name="connsiteY7937" fmla="*/ 1765446 h 2052818"/>
                <a:gd name="connsiteX7938" fmla="*/ 1826700 w 2222569"/>
                <a:gd name="connsiteY7938" fmla="*/ 1767727 h 2052818"/>
                <a:gd name="connsiteX7939" fmla="*/ 1822627 w 2222569"/>
                <a:gd name="connsiteY7939" fmla="*/ 1767727 h 2052818"/>
                <a:gd name="connsiteX7940" fmla="*/ 1818881 w 2222569"/>
                <a:gd name="connsiteY7940" fmla="*/ 1770822 h 2052818"/>
                <a:gd name="connsiteX7941" fmla="*/ 1814319 w 2222569"/>
                <a:gd name="connsiteY7941" fmla="*/ 1774081 h 2052818"/>
                <a:gd name="connsiteX7942" fmla="*/ 1813830 w 2222569"/>
                <a:gd name="connsiteY7942" fmla="*/ 1777990 h 2052818"/>
                <a:gd name="connsiteX7943" fmla="*/ 1811224 w 2222569"/>
                <a:gd name="connsiteY7943" fmla="*/ 1778479 h 2052818"/>
                <a:gd name="connsiteX7944" fmla="*/ 1808943 w 2222569"/>
                <a:gd name="connsiteY7944" fmla="*/ 1777827 h 2052818"/>
                <a:gd name="connsiteX7945" fmla="*/ 1808454 w 2222569"/>
                <a:gd name="connsiteY7945" fmla="*/ 1778642 h 2052818"/>
                <a:gd name="connsiteX7946" fmla="*/ 1809758 w 2222569"/>
                <a:gd name="connsiteY7946" fmla="*/ 1780271 h 2052818"/>
                <a:gd name="connsiteX7947" fmla="*/ 1809758 w 2222569"/>
                <a:gd name="connsiteY7947" fmla="*/ 1782715 h 2052818"/>
                <a:gd name="connsiteX7948" fmla="*/ 1809758 w 2222569"/>
                <a:gd name="connsiteY7948" fmla="*/ 1782715 h 2052818"/>
                <a:gd name="connsiteX7949" fmla="*/ 1646849 w 2222569"/>
                <a:gd name="connsiteY7949" fmla="*/ 1828981 h 2052818"/>
                <a:gd name="connsiteX7950" fmla="*/ 1649455 w 2222569"/>
                <a:gd name="connsiteY7950" fmla="*/ 1829307 h 2052818"/>
                <a:gd name="connsiteX7951" fmla="*/ 1659067 w 2222569"/>
                <a:gd name="connsiteY7951" fmla="*/ 1836475 h 2052818"/>
                <a:gd name="connsiteX7952" fmla="*/ 1666235 w 2222569"/>
                <a:gd name="connsiteY7952" fmla="*/ 1836475 h 2052818"/>
                <a:gd name="connsiteX7953" fmla="*/ 1671285 w 2222569"/>
                <a:gd name="connsiteY7953" fmla="*/ 1837615 h 2052818"/>
                <a:gd name="connsiteX7954" fmla="*/ 1675032 w 2222569"/>
                <a:gd name="connsiteY7954" fmla="*/ 1840548 h 2052818"/>
                <a:gd name="connsiteX7955" fmla="*/ 1678453 w 2222569"/>
                <a:gd name="connsiteY7955" fmla="*/ 1841036 h 2052818"/>
                <a:gd name="connsiteX7956" fmla="*/ 1683177 w 2222569"/>
                <a:gd name="connsiteY7956" fmla="*/ 1842991 h 2052818"/>
                <a:gd name="connsiteX7957" fmla="*/ 1689205 w 2222569"/>
                <a:gd name="connsiteY7957" fmla="*/ 1841036 h 2052818"/>
                <a:gd name="connsiteX7958" fmla="*/ 1689857 w 2222569"/>
                <a:gd name="connsiteY7958" fmla="*/ 1838104 h 2052818"/>
                <a:gd name="connsiteX7959" fmla="*/ 1686924 w 2222569"/>
                <a:gd name="connsiteY7959" fmla="*/ 1835497 h 2052818"/>
                <a:gd name="connsiteX7960" fmla="*/ 1685621 w 2222569"/>
                <a:gd name="connsiteY7960" fmla="*/ 1833054 h 2052818"/>
                <a:gd name="connsiteX7961" fmla="*/ 1683014 w 2222569"/>
                <a:gd name="connsiteY7961" fmla="*/ 1830773 h 2052818"/>
                <a:gd name="connsiteX7962" fmla="*/ 1679593 w 2222569"/>
                <a:gd name="connsiteY7962" fmla="*/ 1829633 h 2052818"/>
                <a:gd name="connsiteX7963" fmla="*/ 1675521 w 2222569"/>
                <a:gd name="connsiteY7963" fmla="*/ 1824908 h 2052818"/>
                <a:gd name="connsiteX7964" fmla="*/ 1669819 w 2222569"/>
                <a:gd name="connsiteY7964" fmla="*/ 1820673 h 2052818"/>
                <a:gd name="connsiteX7965" fmla="*/ 1667538 w 2222569"/>
                <a:gd name="connsiteY7965" fmla="*/ 1820347 h 2052818"/>
                <a:gd name="connsiteX7966" fmla="*/ 1662651 w 2222569"/>
                <a:gd name="connsiteY7966" fmla="*/ 1814971 h 2052818"/>
                <a:gd name="connsiteX7967" fmla="*/ 1656623 w 2222569"/>
                <a:gd name="connsiteY7967" fmla="*/ 1812690 h 2052818"/>
                <a:gd name="connsiteX7968" fmla="*/ 1649944 w 2222569"/>
                <a:gd name="connsiteY7968" fmla="*/ 1812201 h 2052818"/>
                <a:gd name="connsiteX7969" fmla="*/ 1638052 w 2222569"/>
                <a:gd name="connsiteY7969" fmla="*/ 1808129 h 2052818"/>
                <a:gd name="connsiteX7970" fmla="*/ 1633490 w 2222569"/>
                <a:gd name="connsiteY7970" fmla="*/ 1806174 h 2052818"/>
                <a:gd name="connsiteX7971" fmla="*/ 1628440 w 2222569"/>
                <a:gd name="connsiteY7971" fmla="*/ 1809106 h 2052818"/>
                <a:gd name="connsiteX7972" fmla="*/ 1630721 w 2222569"/>
                <a:gd name="connsiteY7972" fmla="*/ 1813505 h 2052818"/>
                <a:gd name="connsiteX7973" fmla="*/ 1635771 w 2222569"/>
                <a:gd name="connsiteY7973" fmla="*/ 1815785 h 2052818"/>
                <a:gd name="connsiteX7974" fmla="*/ 1644242 w 2222569"/>
                <a:gd name="connsiteY7974" fmla="*/ 1822302 h 2052818"/>
                <a:gd name="connsiteX7975" fmla="*/ 1645219 w 2222569"/>
                <a:gd name="connsiteY7975" fmla="*/ 1826863 h 2052818"/>
                <a:gd name="connsiteX7976" fmla="*/ 1646523 w 2222569"/>
                <a:gd name="connsiteY7976" fmla="*/ 1828981 h 2052818"/>
                <a:gd name="connsiteX7977" fmla="*/ 1646523 w 2222569"/>
                <a:gd name="connsiteY7977" fmla="*/ 1828981 h 2052818"/>
                <a:gd name="connsiteX7978" fmla="*/ 1648641 w 2222569"/>
                <a:gd name="connsiteY7978" fmla="*/ 1945624 h 2052818"/>
                <a:gd name="connsiteX7979" fmla="*/ 1642613 w 2222569"/>
                <a:gd name="connsiteY7979" fmla="*/ 1942855 h 2052818"/>
                <a:gd name="connsiteX7980" fmla="*/ 1641147 w 2222569"/>
                <a:gd name="connsiteY7980" fmla="*/ 1937641 h 2052818"/>
                <a:gd name="connsiteX7981" fmla="*/ 1629580 w 2222569"/>
                <a:gd name="connsiteY7981" fmla="*/ 1936175 h 2052818"/>
                <a:gd name="connsiteX7982" fmla="*/ 1626322 w 2222569"/>
                <a:gd name="connsiteY7982" fmla="*/ 1934546 h 2052818"/>
                <a:gd name="connsiteX7983" fmla="*/ 1625833 w 2222569"/>
                <a:gd name="connsiteY7983" fmla="*/ 1931614 h 2052818"/>
                <a:gd name="connsiteX7984" fmla="*/ 1623553 w 2222569"/>
                <a:gd name="connsiteY7984" fmla="*/ 1929007 h 2052818"/>
                <a:gd name="connsiteX7985" fmla="*/ 1621598 w 2222569"/>
                <a:gd name="connsiteY7985" fmla="*/ 1929007 h 2052818"/>
                <a:gd name="connsiteX7986" fmla="*/ 1619806 w 2222569"/>
                <a:gd name="connsiteY7986" fmla="*/ 1925749 h 2052818"/>
                <a:gd name="connsiteX7987" fmla="*/ 1616873 w 2222569"/>
                <a:gd name="connsiteY7987" fmla="*/ 1924772 h 2052818"/>
                <a:gd name="connsiteX7988" fmla="*/ 1616873 w 2222569"/>
                <a:gd name="connsiteY7988" fmla="*/ 1920862 h 2052818"/>
                <a:gd name="connsiteX7989" fmla="*/ 1614593 w 2222569"/>
                <a:gd name="connsiteY7989" fmla="*/ 1918744 h 2052818"/>
                <a:gd name="connsiteX7990" fmla="*/ 1611823 w 2222569"/>
                <a:gd name="connsiteY7990" fmla="*/ 1919233 h 2052818"/>
                <a:gd name="connsiteX7991" fmla="*/ 1610357 w 2222569"/>
                <a:gd name="connsiteY7991" fmla="*/ 1917441 h 2052818"/>
                <a:gd name="connsiteX7992" fmla="*/ 1612312 w 2222569"/>
                <a:gd name="connsiteY7992" fmla="*/ 1913368 h 2052818"/>
                <a:gd name="connsiteX7993" fmla="*/ 1621761 w 2222569"/>
                <a:gd name="connsiteY7993" fmla="*/ 1906689 h 2052818"/>
                <a:gd name="connsiteX7994" fmla="*/ 1622738 w 2222569"/>
                <a:gd name="connsiteY7994" fmla="*/ 1911087 h 2052818"/>
                <a:gd name="connsiteX7995" fmla="*/ 1619480 w 2222569"/>
                <a:gd name="connsiteY7995" fmla="*/ 1914345 h 2052818"/>
                <a:gd name="connsiteX7996" fmla="*/ 1619480 w 2222569"/>
                <a:gd name="connsiteY7996" fmla="*/ 1916137 h 2052818"/>
                <a:gd name="connsiteX7997" fmla="*/ 1621272 w 2222569"/>
                <a:gd name="connsiteY7997" fmla="*/ 1918744 h 2052818"/>
                <a:gd name="connsiteX7998" fmla="*/ 1621272 w 2222569"/>
                <a:gd name="connsiteY7998" fmla="*/ 1923143 h 2052818"/>
                <a:gd name="connsiteX7999" fmla="*/ 1625345 w 2222569"/>
                <a:gd name="connsiteY7999" fmla="*/ 1925423 h 2052818"/>
                <a:gd name="connsiteX8000" fmla="*/ 1626159 w 2222569"/>
                <a:gd name="connsiteY8000" fmla="*/ 1922165 h 2052818"/>
                <a:gd name="connsiteX8001" fmla="*/ 1629906 w 2222569"/>
                <a:gd name="connsiteY8001" fmla="*/ 1922165 h 2052818"/>
                <a:gd name="connsiteX8002" fmla="*/ 1636422 w 2222569"/>
                <a:gd name="connsiteY8002" fmla="*/ 1927215 h 2052818"/>
                <a:gd name="connsiteX8003" fmla="*/ 1639192 w 2222569"/>
                <a:gd name="connsiteY8003" fmla="*/ 1927215 h 2052818"/>
                <a:gd name="connsiteX8004" fmla="*/ 1641636 w 2222569"/>
                <a:gd name="connsiteY8004" fmla="*/ 1929496 h 2052818"/>
                <a:gd name="connsiteX8005" fmla="*/ 1648967 w 2222569"/>
                <a:gd name="connsiteY8005" fmla="*/ 1929496 h 2052818"/>
                <a:gd name="connsiteX8006" fmla="*/ 1650921 w 2222569"/>
                <a:gd name="connsiteY8006" fmla="*/ 1927052 h 2052818"/>
                <a:gd name="connsiteX8007" fmla="*/ 1655320 w 2222569"/>
                <a:gd name="connsiteY8007" fmla="*/ 1928356 h 2052818"/>
                <a:gd name="connsiteX8008" fmla="*/ 1662651 w 2222569"/>
                <a:gd name="connsiteY8008" fmla="*/ 1928681 h 2052818"/>
                <a:gd name="connsiteX8009" fmla="*/ 1660370 w 2222569"/>
                <a:gd name="connsiteY8009" fmla="*/ 1930310 h 2052818"/>
                <a:gd name="connsiteX8010" fmla="*/ 1654831 w 2222569"/>
                <a:gd name="connsiteY8010" fmla="*/ 1931288 h 2052818"/>
                <a:gd name="connsiteX8011" fmla="*/ 1653202 w 2222569"/>
                <a:gd name="connsiteY8011" fmla="*/ 1936012 h 2052818"/>
                <a:gd name="connsiteX8012" fmla="*/ 1653854 w 2222569"/>
                <a:gd name="connsiteY8012" fmla="*/ 1939108 h 2052818"/>
                <a:gd name="connsiteX8013" fmla="*/ 1652062 w 2222569"/>
                <a:gd name="connsiteY8013" fmla="*/ 1944158 h 2052818"/>
                <a:gd name="connsiteX8014" fmla="*/ 1648315 w 2222569"/>
                <a:gd name="connsiteY8014" fmla="*/ 1945624 h 2052818"/>
                <a:gd name="connsiteX8015" fmla="*/ 1648315 w 2222569"/>
                <a:gd name="connsiteY8015" fmla="*/ 1945624 h 2052818"/>
                <a:gd name="connsiteX8016" fmla="*/ 1685621 w 2222569"/>
                <a:gd name="connsiteY8016" fmla="*/ 1962892 h 2052818"/>
                <a:gd name="connsiteX8017" fmla="*/ 1683829 w 2222569"/>
                <a:gd name="connsiteY8017" fmla="*/ 1959308 h 2052818"/>
                <a:gd name="connsiteX8018" fmla="*/ 1676009 w 2222569"/>
                <a:gd name="connsiteY8018" fmla="*/ 1955561 h 2052818"/>
                <a:gd name="connsiteX8019" fmla="*/ 1675521 w 2222569"/>
                <a:gd name="connsiteY8019" fmla="*/ 1948556 h 2052818"/>
                <a:gd name="connsiteX8020" fmla="*/ 1673729 w 2222569"/>
                <a:gd name="connsiteY8020" fmla="*/ 1945298 h 2052818"/>
                <a:gd name="connsiteX8021" fmla="*/ 1675684 w 2222569"/>
                <a:gd name="connsiteY8021" fmla="*/ 1941551 h 2052818"/>
                <a:gd name="connsiteX8022" fmla="*/ 1682852 w 2222569"/>
                <a:gd name="connsiteY8022" fmla="*/ 1937479 h 2052818"/>
                <a:gd name="connsiteX8023" fmla="*/ 1688227 w 2222569"/>
                <a:gd name="connsiteY8023" fmla="*/ 1929496 h 2052818"/>
                <a:gd name="connsiteX8024" fmla="*/ 1690671 w 2222569"/>
                <a:gd name="connsiteY8024" fmla="*/ 1927052 h 2052818"/>
                <a:gd name="connsiteX8025" fmla="*/ 1693115 w 2222569"/>
                <a:gd name="connsiteY8025" fmla="*/ 1921676 h 2052818"/>
                <a:gd name="connsiteX8026" fmla="*/ 1699143 w 2222569"/>
                <a:gd name="connsiteY8026" fmla="*/ 1916952 h 2052818"/>
                <a:gd name="connsiteX8027" fmla="*/ 1701423 w 2222569"/>
                <a:gd name="connsiteY8027" fmla="*/ 1913042 h 2052818"/>
                <a:gd name="connsiteX8028" fmla="*/ 1705170 w 2222569"/>
                <a:gd name="connsiteY8028" fmla="*/ 1912390 h 2052818"/>
                <a:gd name="connsiteX8029" fmla="*/ 1705659 w 2222569"/>
                <a:gd name="connsiteY8029" fmla="*/ 1914508 h 2052818"/>
                <a:gd name="connsiteX8030" fmla="*/ 1703378 w 2222569"/>
                <a:gd name="connsiteY8030" fmla="*/ 1918092 h 2052818"/>
                <a:gd name="connsiteX8031" fmla="*/ 1707777 w 2222569"/>
                <a:gd name="connsiteY8031" fmla="*/ 1918581 h 2052818"/>
                <a:gd name="connsiteX8032" fmla="*/ 1707777 w 2222569"/>
                <a:gd name="connsiteY8032" fmla="*/ 1921839 h 2052818"/>
                <a:gd name="connsiteX8033" fmla="*/ 1702401 w 2222569"/>
                <a:gd name="connsiteY8033" fmla="*/ 1931288 h 2052818"/>
                <a:gd name="connsiteX8034" fmla="*/ 1698979 w 2222569"/>
                <a:gd name="connsiteY8034" fmla="*/ 1934383 h 2052818"/>
                <a:gd name="connsiteX8035" fmla="*/ 1704193 w 2222569"/>
                <a:gd name="connsiteY8035" fmla="*/ 1936175 h 2052818"/>
                <a:gd name="connsiteX8036" fmla="*/ 1706148 w 2222569"/>
                <a:gd name="connsiteY8036" fmla="*/ 1939922 h 2052818"/>
                <a:gd name="connsiteX8037" fmla="*/ 1703704 w 2222569"/>
                <a:gd name="connsiteY8037" fmla="*/ 1943180 h 2052818"/>
                <a:gd name="connsiteX8038" fmla="*/ 1705496 w 2222569"/>
                <a:gd name="connsiteY8038" fmla="*/ 1945298 h 2052818"/>
                <a:gd name="connsiteX8039" fmla="*/ 1708591 w 2222569"/>
                <a:gd name="connsiteY8039" fmla="*/ 1943343 h 2052818"/>
                <a:gd name="connsiteX8040" fmla="*/ 1708591 w 2222569"/>
                <a:gd name="connsiteY8040" fmla="*/ 1939596 h 2052818"/>
                <a:gd name="connsiteX8041" fmla="*/ 1711686 w 2222569"/>
                <a:gd name="connsiteY8041" fmla="*/ 1938782 h 2052818"/>
                <a:gd name="connsiteX8042" fmla="*/ 1716737 w 2222569"/>
                <a:gd name="connsiteY8042" fmla="*/ 1940574 h 2052818"/>
                <a:gd name="connsiteX8043" fmla="*/ 1717714 w 2222569"/>
                <a:gd name="connsiteY8043" fmla="*/ 1946276 h 2052818"/>
                <a:gd name="connsiteX8044" fmla="*/ 1719017 w 2222569"/>
                <a:gd name="connsiteY8044" fmla="*/ 1948393 h 2052818"/>
                <a:gd name="connsiteX8045" fmla="*/ 1714293 w 2222569"/>
                <a:gd name="connsiteY8045" fmla="*/ 1950022 h 2052818"/>
                <a:gd name="connsiteX8046" fmla="*/ 1711686 w 2222569"/>
                <a:gd name="connsiteY8046" fmla="*/ 1952140 h 2052818"/>
                <a:gd name="connsiteX8047" fmla="*/ 1704518 w 2222569"/>
                <a:gd name="connsiteY8047" fmla="*/ 1953118 h 2052818"/>
                <a:gd name="connsiteX8048" fmla="*/ 1696699 w 2222569"/>
                <a:gd name="connsiteY8048" fmla="*/ 1958983 h 2052818"/>
                <a:gd name="connsiteX8049" fmla="*/ 1692137 w 2222569"/>
                <a:gd name="connsiteY8049" fmla="*/ 1958983 h 2052818"/>
                <a:gd name="connsiteX8050" fmla="*/ 1690183 w 2222569"/>
                <a:gd name="connsiteY8050" fmla="*/ 1956376 h 2052818"/>
                <a:gd name="connsiteX8051" fmla="*/ 1688227 w 2222569"/>
                <a:gd name="connsiteY8051" fmla="*/ 1957190 h 2052818"/>
                <a:gd name="connsiteX8052" fmla="*/ 1687250 w 2222569"/>
                <a:gd name="connsiteY8052" fmla="*/ 1961915 h 2052818"/>
                <a:gd name="connsiteX8053" fmla="*/ 1685784 w 2222569"/>
                <a:gd name="connsiteY8053" fmla="*/ 1962892 h 2052818"/>
                <a:gd name="connsiteX8054" fmla="*/ 1685784 w 2222569"/>
                <a:gd name="connsiteY8054" fmla="*/ 1962892 h 2052818"/>
                <a:gd name="connsiteX8055" fmla="*/ 1289589 w 2222569"/>
                <a:gd name="connsiteY8055" fmla="*/ 1654017 h 2052818"/>
                <a:gd name="connsiteX8056" fmla="*/ 1289915 w 2222569"/>
                <a:gd name="connsiteY8056" fmla="*/ 1659393 h 2052818"/>
                <a:gd name="connsiteX8057" fmla="*/ 1291218 w 2222569"/>
                <a:gd name="connsiteY8057" fmla="*/ 1661022 h 2052818"/>
                <a:gd name="connsiteX8058" fmla="*/ 1292358 w 2222569"/>
                <a:gd name="connsiteY8058" fmla="*/ 1658578 h 2052818"/>
                <a:gd name="connsiteX8059" fmla="*/ 1292358 w 2222569"/>
                <a:gd name="connsiteY8059" fmla="*/ 1652713 h 2052818"/>
                <a:gd name="connsiteX8060" fmla="*/ 1290892 w 2222569"/>
                <a:gd name="connsiteY8060" fmla="*/ 1653691 h 2052818"/>
                <a:gd name="connsiteX8061" fmla="*/ 1289589 w 2222569"/>
                <a:gd name="connsiteY8061" fmla="*/ 1654017 h 2052818"/>
                <a:gd name="connsiteX8062" fmla="*/ 1289589 w 2222569"/>
                <a:gd name="connsiteY8062" fmla="*/ 1654017 h 2052818"/>
                <a:gd name="connsiteX8063" fmla="*/ 1288448 w 2222569"/>
                <a:gd name="connsiteY8063" fmla="*/ 1711686 h 2052818"/>
                <a:gd name="connsiteX8064" fmla="*/ 1290240 w 2222569"/>
                <a:gd name="connsiteY8064" fmla="*/ 1707777 h 2052818"/>
                <a:gd name="connsiteX8065" fmla="*/ 1293987 w 2222569"/>
                <a:gd name="connsiteY8065" fmla="*/ 1706962 h 2052818"/>
                <a:gd name="connsiteX8066" fmla="*/ 1295779 w 2222569"/>
                <a:gd name="connsiteY8066" fmla="*/ 1705333 h 2052818"/>
                <a:gd name="connsiteX8067" fmla="*/ 1297083 w 2222569"/>
                <a:gd name="connsiteY8067" fmla="*/ 1709406 h 2052818"/>
                <a:gd name="connsiteX8068" fmla="*/ 1291381 w 2222569"/>
                <a:gd name="connsiteY8068" fmla="*/ 1712501 h 2052818"/>
                <a:gd name="connsiteX8069" fmla="*/ 1288611 w 2222569"/>
                <a:gd name="connsiteY8069" fmla="*/ 1711686 h 2052818"/>
                <a:gd name="connsiteX8070" fmla="*/ 1288611 w 2222569"/>
                <a:gd name="connsiteY8070" fmla="*/ 1711686 h 2052818"/>
                <a:gd name="connsiteX8071" fmla="*/ 1241368 w 2222569"/>
                <a:gd name="connsiteY8071" fmla="*/ 1670959 h 2052818"/>
                <a:gd name="connsiteX8072" fmla="*/ 1246418 w 2222569"/>
                <a:gd name="connsiteY8072" fmla="*/ 1664769 h 2052818"/>
                <a:gd name="connsiteX8073" fmla="*/ 1250491 w 2222569"/>
                <a:gd name="connsiteY8073" fmla="*/ 1665583 h 2052818"/>
                <a:gd name="connsiteX8074" fmla="*/ 1250817 w 2222569"/>
                <a:gd name="connsiteY8074" fmla="*/ 1661999 h 2052818"/>
                <a:gd name="connsiteX8075" fmla="*/ 1253423 w 2222569"/>
                <a:gd name="connsiteY8075" fmla="*/ 1660044 h 2052818"/>
                <a:gd name="connsiteX8076" fmla="*/ 1258473 w 2222569"/>
                <a:gd name="connsiteY8076" fmla="*/ 1660044 h 2052818"/>
                <a:gd name="connsiteX8077" fmla="*/ 1259613 w 2222569"/>
                <a:gd name="connsiteY8077" fmla="*/ 1662162 h 2052818"/>
                <a:gd name="connsiteX8078" fmla="*/ 1263686 w 2222569"/>
                <a:gd name="connsiteY8078" fmla="*/ 1661673 h 2052818"/>
                <a:gd name="connsiteX8079" fmla="*/ 1269551 w 2222569"/>
                <a:gd name="connsiteY8079" fmla="*/ 1666723 h 2052818"/>
                <a:gd name="connsiteX8080" fmla="*/ 1270691 w 2222569"/>
                <a:gd name="connsiteY8080" fmla="*/ 1672099 h 2052818"/>
                <a:gd name="connsiteX8081" fmla="*/ 1271995 w 2222569"/>
                <a:gd name="connsiteY8081" fmla="*/ 1674380 h 2052818"/>
                <a:gd name="connsiteX8082" fmla="*/ 1270854 w 2222569"/>
                <a:gd name="connsiteY8082" fmla="*/ 1678127 h 2052818"/>
                <a:gd name="connsiteX8083" fmla="*/ 1258799 w 2222569"/>
                <a:gd name="connsiteY8083" fmla="*/ 1675684 h 2052818"/>
                <a:gd name="connsiteX8084" fmla="*/ 1254726 w 2222569"/>
                <a:gd name="connsiteY8084" fmla="*/ 1673077 h 2052818"/>
                <a:gd name="connsiteX8085" fmla="*/ 1250165 w 2222569"/>
                <a:gd name="connsiteY8085" fmla="*/ 1673077 h 2052818"/>
                <a:gd name="connsiteX8086" fmla="*/ 1250002 w 2222569"/>
                <a:gd name="connsiteY8086" fmla="*/ 1676009 h 2052818"/>
                <a:gd name="connsiteX8087" fmla="*/ 1250491 w 2222569"/>
                <a:gd name="connsiteY8087" fmla="*/ 1677801 h 2052818"/>
                <a:gd name="connsiteX8088" fmla="*/ 1247721 w 2222569"/>
                <a:gd name="connsiteY8088" fmla="*/ 1675195 h 2052818"/>
                <a:gd name="connsiteX8089" fmla="*/ 1247232 w 2222569"/>
                <a:gd name="connsiteY8089" fmla="*/ 1672751 h 2052818"/>
                <a:gd name="connsiteX8090" fmla="*/ 1242834 w 2222569"/>
                <a:gd name="connsiteY8090" fmla="*/ 1673240 h 2052818"/>
                <a:gd name="connsiteX8091" fmla="*/ 1241205 w 2222569"/>
                <a:gd name="connsiteY8091" fmla="*/ 1671122 h 2052818"/>
                <a:gd name="connsiteX8092" fmla="*/ 1241205 w 2222569"/>
                <a:gd name="connsiteY8092" fmla="*/ 1671122 h 2052818"/>
                <a:gd name="connsiteX8093" fmla="*/ 194676 w 2222569"/>
                <a:gd name="connsiteY8093" fmla="*/ 1691649 h 2052818"/>
                <a:gd name="connsiteX8094" fmla="*/ 200215 w 2222569"/>
                <a:gd name="connsiteY8094" fmla="*/ 1695884 h 2052818"/>
                <a:gd name="connsiteX8095" fmla="*/ 204777 w 2222569"/>
                <a:gd name="connsiteY8095" fmla="*/ 1702564 h 2052818"/>
                <a:gd name="connsiteX8096" fmla="*/ 203311 w 2222569"/>
                <a:gd name="connsiteY8096" fmla="*/ 1705170 h 2052818"/>
                <a:gd name="connsiteX8097" fmla="*/ 195980 w 2222569"/>
                <a:gd name="connsiteY8097" fmla="*/ 1698491 h 2052818"/>
                <a:gd name="connsiteX8098" fmla="*/ 194676 w 2222569"/>
                <a:gd name="connsiteY8098" fmla="*/ 1691649 h 2052818"/>
                <a:gd name="connsiteX8099" fmla="*/ 194676 w 2222569"/>
                <a:gd name="connsiteY8099" fmla="*/ 1691649 h 2052818"/>
                <a:gd name="connsiteX8100" fmla="*/ 185554 w 2222569"/>
                <a:gd name="connsiteY8100" fmla="*/ 1680082 h 2052818"/>
                <a:gd name="connsiteX8101" fmla="*/ 184413 w 2222569"/>
                <a:gd name="connsiteY8101" fmla="*/ 1672751 h 2052818"/>
                <a:gd name="connsiteX8102" fmla="*/ 188160 w 2222569"/>
                <a:gd name="connsiteY8102" fmla="*/ 1671611 h 2052818"/>
                <a:gd name="connsiteX8103" fmla="*/ 185554 w 2222569"/>
                <a:gd name="connsiteY8103" fmla="*/ 1680082 h 2052818"/>
                <a:gd name="connsiteX8104" fmla="*/ 185554 w 2222569"/>
                <a:gd name="connsiteY8104" fmla="*/ 1680082 h 2052818"/>
                <a:gd name="connsiteX8105" fmla="*/ 157370 w 2222569"/>
                <a:gd name="connsiteY8105" fmla="*/ 1655646 h 2052818"/>
                <a:gd name="connsiteX8106" fmla="*/ 164538 w 2222569"/>
                <a:gd name="connsiteY8106" fmla="*/ 1658741 h 2052818"/>
                <a:gd name="connsiteX8107" fmla="*/ 164212 w 2222569"/>
                <a:gd name="connsiteY8107" fmla="*/ 1654831 h 2052818"/>
                <a:gd name="connsiteX8108" fmla="*/ 157370 w 2222569"/>
                <a:gd name="connsiteY8108" fmla="*/ 1655646 h 2052818"/>
                <a:gd name="connsiteX8109" fmla="*/ 157370 w 2222569"/>
                <a:gd name="connsiteY8109" fmla="*/ 1655646 h 2052818"/>
                <a:gd name="connsiteX8110" fmla="*/ 114688 w 2222569"/>
                <a:gd name="connsiteY8110" fmla="*/ 1636911 h 2052818"/>
                <a:gd name="connsiteX8111" fmla="*/ 116969 w 2222569"/>
                <a:gd name="connsiteY8111" fmla="*/ 1643916 h 2052818"/>
                <a:gd name="connsiteX8112" fmla="*/ 119249 w 2222569"/>
                <a:gd name="connsiteY8112" fmla="*/ 1644242 h 2052818"/>
                <a:gd name="connsiteX8113" fmla="*/ 121530 w 2222569"/>
                <a:gd name="connsiteY8113" fmla="*/ 1650595 h 2052818"/>
                <a:gd name="connsiteX8114" fmla="*/ 134074 w 2222569"/>
                <a:gd name="connsiteY8114" fmla="*/ 1652062 h 2052818"/>
                <a:gd name="connsiteX8115" fmla="*/ 128861 w 2222569"/>
                <a:gd name="connsiteY8115" fmla="*/ 1654994 h 2052818"/>
                <a:gd name="connsiteX8116" fmla="*/ 122508 w 2222569"/>
                <a:gd name="connsiteY8116" fmla="*/ 1654668 h 2052818"/>
                <a:gd name="connsiteX8117" fmla="*/ 118761 w 2222569"/>
                <a:gd name="connsiteY8117" fmla="*/ 1660207 h 2052818"/>
                <a:gd name="connsiteX8118" fmla="*/ 121693 w 2222569"/>
                <a:gd name="connsiteY8118" fmla="*/ 1661999 h 2052818"/>
                <a:gd name="connsiteX8119" fmla="*/ 118924 w 2222569"/>
                <a:gd name="connsiteY8119" fmla="*/ 1668190 h 2052818"/>
                <a:gd name="connsiteX8120" fmla="*/ 120390 w 2222569"/>
                <a:gd name="connsiteY8120" fmla="*/ 1669819 h 2052818"/>
                <a:gd name="connsiteX8121" fmla="*/ 126255 w 2222569"/>
                <a:gd name="connsiteY8121" fmla="*/ 1667864 h 2052818"/>
                <a:gd name="connsiteX8122" fmla="*/ 127069 w 2222569"/>
                <a:gd name="connsiteY8122" fmla="*/ 1672588 h 2052818"/>
                <a:gd name="connsiteX8123" fmla="*/ 132608 w 2222569"/>
                <a:gd name="connsiteY8123" fmla="*/ 1672262 h 2052818"/>
                <a:gd name="connsiteX8124" fmla="*/ 132608 w 2222569"/>
                <a:gd name="connsiteY8124" fmla="*/ 1677313 h 2052818"/>
                <a:gd name="connsiteX8125" fmla="*/ 137821 w 2222569"/>
                <a:gd name="connsiteY8125" fmla="*/ 1680734 h 2052818"/>
                <a:gd name="connsiteX8126" fmla="*/ 143197 w 2222569"/>
                <a:gd name="connsiteY8126" fmla="*/ 1677801 h 2052818"/>
                <a:gd name="connsiteX8127" fmla="*/ 136355 w 2222569"/>
                <a:gd name="connsiteY8127" fmla="*/ 1685784 h 2052818"/>
                <a:gd name="connsiteX8128" fmla="*/ 139450 w 2222569"/>
                <a:gd name="connsiteY8128" fmla="*/ 1691974 h 2052818"/>
                <a:gd name="connsiteX8129" fmla="*/ 143197 w 2222569"/>
                <a:gd name="connsiteY8129" fmla="*/ 1690671 h 2052818"/>
                <a:gd name="connsiteX8130" fmla="*/ 143686 w 2222569"/>
                <a:gd name="connsiteY8130" fmla="*/ 1686110 h 2052818"/>
                <a:gd name="connsiteX8131" fmla="*/ 150365 w 2222569"/>
                <a:gd name="connsiteY8131" fmla="*/ 1684318 h 2052818"/>
                <a:gd name="connsiteX8132" fmla="*/ 148736 w 2222569"/>
                <a:gd name="connsiteY8132" fmla="*/ 1690345 h 2052818"/>
                <a:gd name="connsiteX8133" fmla="*/ 144500 w 2222569"/>
                <a:gd name="connsiteY8133" fmla="*/ 1694255 h 2052818"/>
                <a:gd name="connsiteX8134" fmla="*/ 144826 w 2222569"/>
                <a:gd name="connsiteY8134" fmla="*/ 1698491 h 2052818"/>
                <a:gd name="connsiteX8135" fmla="*/ 147433 w 2222569"/>
                <a:gd name="connsiteY8135" fmla="*/ 1697513 h 2052818"/>
                <a:gd name="connsiteX8136" fmla="*/ 148899 w 2222569"/>
                <a:gd name="connsiteY8136" fmla="*/ 1703541 h 2052818"/>
                <a:gd name="connsiteX8137" fmla="*/ 157696 w 2222569"/>
                <a:gd name="connsiteY8137" fmla="*/ 1702564 h 2052818"/>
                <a:gd name="connsiteX8138" fmla="*/ 157207 w 2222569"/>
                <a:gd name="connsiteY8138" fmla="*/ 1706799 h 2052818"/>
                <a:gd name="connsiteX8139" fmla="*/ 160465 w 2222569"/>
                <a:gd name="connsiteY8139" fmla="*/ 1707288 h 2052818"/>
                <a:gd name="connsiteX8140" fmla="*/ 162258 w 2222569"/>
                <a:gd name="connsiteY8140" fmla="*/ 1712012 h 2052818"/>
                <a:gd name="connsiteX8141" fmla="*/ 160628 w 2222569"/>
                <a:gd name="connsiteY8141" fmla="*/ 1716737 h 2052818"/>
                <a:gd name="connsiteX8142" fmla="*/ 166330 w 2222569"/>
                <a:gd name="connsiteY8142" fmla="*/ 1721950 h 2052818"/>
                <a:gd name="connsiteX8143" fmla="*/ 170240 w 2222569"/>
                <a:gd name="connsiteY8143" fmla="*/ 1718529 h 2052818"/>
                <a:gd name="connsiteX8144" fmla="*/ 172684 w 2222569"/>
                <a:gd name="connsiteY8144" fmla="*/ 1721135 h 2052818"/>
                <a:gd name="connsiteX8145" fmla="*/ 177245 w 2222569"/>
                <a:gd name="connsiteY8145" fmla="*/ 1721135 h 2052818"/>
                <a:gd name="connsiteX8146" fmla="*/ 170077 w 2222569"/>
                <a:gd name="connsiteY8146" fmla="*/ 1728629 h 2052818"/>
                <a:gd name="connsiteX8147" fmla="*/ 179689 w 2222569"/>
                <a:gd name="connsiteY8147" fmla="*/ 1738404 h 2052818"/>
                <a:gd name="connsiteX8148" fmla="*/ 182947 w 2222569"/>
                <a:gd name="connsiteY8148" fmla="*/ 1739381 h 2052818"/>
                <a:gd name="connsiteX8149" fmla="*/ 184902 w 2222569"/>
                <a:gd name="connsiteY8149" fmla="*/ 1743128 h 2052818"/>
                <a:gd name="connsiteX8150" fmla="*/ 200541 w 2222569"/>
                <a:gd name="connsiteY8150" fmla="*/ 1752088 h 2052818"/>
                <a:gd name="connsiteX8151" fmla="*/ 203148 w 2222569"/>
                <a:gd name="connsiteY8151" fmla="*/ 1750296 h 2052818"/>
                <a:gd name="connsiteX8152" fmla="*/ 207709 w 2222569"/>
                <a:gd name="connsiteY8152" fmla="*/ 1750785 h 2052818"/>
                <a:gd name="connsiteX8153" fmla="*/ 204288 w 2222569"/>
                <a:gd name="connsiteY8153" fmla="*/ 1737752 h 2052818"/>
                <a:gd name="connsiteX8154" fmla="*/ 205266 w 2222569"/>
                <a:gd name="connsiteY8154" fmla="*/ 1731073 h 2052818"/>
                <a:gd name="connsiteX8155" fmla="*/ 203474 w 2222569"/>
                <a:gd name="connsiteY8155" fmla="*/ 1727000 h 2052818"/>
                <a:gd name="connsiteX8156" fmla="*/ 204614 w 2222569"/>
                <a:gd name="connsiteY8156" fmla="*/ 1717062 h 2052818"/>
                <a:gd name="connsiteX8157" fmla="*/ 200378 w 2222569"/>
                <a:gd name="connsiteY8157" fmla="*/ 1711198 h 2052818"/>
                <a:gd name="connsiteX8158" fmla="*/ 188812 w 2222569"/>
                <a:gd name="connsiteY8158" fmla="*/ 1703215 h 2052818"/>
                <a:gd name="connsiteX8159" fmla="*/ 187671 w 2222569"/>
                <a:gd name="connsiteY8159" fmla="*/ 1688553 h 2052818"/>
                <a:gd name="connsiteX8160" fmla="*/ 181644 w 2222569"/>
                <a:gd name="connsiteY8160" fmla="*/ 1679268 h 2052818"/>
                <a:gd name="connsiteX8161" fmla="*/ 181644 w 2222569"/>
                <a:gd name="connsiteY8161" fmla="*/ 1670470 h 2052818"/>
                <a:gd name="connsiteX8162" fmla="*/ 178711 w 2222569"/>
                <a:gd name="connsiteY8162" fmla="*/ 1667538 h 2052818"/>
                <a:gd name="connsiteX8163" fmla="*/ 173335 w 2222569"/>
                <a:gd name="connsiteY8163" fmla="*/ 1666723 h 2052818"/>
                <a:gd name="connsiteX8164" fmla="*/ 164375 w 2222569"/>
                <a:gd name="connsiteY8164" fmla="*/ 1661999 h 2052818"/>
                <a:gd name="connsiteX8165" fmla="*/ 159162 w 2222569"/>
                <a:gd name="connsiteY8165" fmla="*/ 1661999 h 2052818"/>
                <a:gd name="connsiteX8166" fmla="*/ 153460 w 2222569"/>
                <a:gd name="connsiteY8166" fmla="*/ 1659718 h 2052818"/>
                <a:gd name="connsiteX8167" fmla="*/ 151180 w 2222569"/>
                <a:gd name="connsiteY8167" fmla="*/ 1655320 h 2052818"/>
                <a:gd name="connsiteX8168" fmla="*/ 143034 w 2222569"/>
                <a:gd name="connsiteY8168" fmla="*/ 1650921 h 2052818"/>
                <a:gd name="connsiteX8169" fmla="*/ 139287 w 2222569"/>
                <a:gd name="connsiteY8169" fmla="*/ 1646523 h 2052818"/>
                <a:gd name="connsiteX8170" fmla="*/ 137984 w 2222569"/>
                <a:gd name="connsiteY8170" fmla="*/ 1641798 h 2052818"/>
                <a:gd name="connsiteX8171" fmla="*/ 132119 w 2222569"/>
                <a:gd name="connsiteY8171" fmla="*/ 1642124 h 2052818"/>
                <a:gd name="connsiteX8172" fmla="*/ 129024 w 2222569"/>
                <a:gd name="connsiteY8172" fmla="*/ 1636585 h 2052818"/>
                <a:gd name="connsiteX8173" fmla="*/ 124463 w 2222569"/>
                <a:gd name="connsiteY8173" fmla="*/ 1635445 h 2052818"/>
                <a:gd name="connsiteX8174" fmla="*/ 122508 w 2222569"/>
                <a:gd name="connsiteY8174" fmla="*/ 1637237 h 2052818"/>
                <a:gd name="connsiteX8175" fmla="*/ 114851 w 2222569"/>
                <a:gd name="connsiteY8175" fmla="*/ 1636748 h 2052818"/>
                <a:gd name="connsiteX8176" fmla="*/ 114851 w 2222569"/>
                <a:gd name="connsiteY8176" fmla="*/ 1636748 h 2052818"/>
                <a:gd name="connsiteX8177" fmla="*/ 160954 w 2222569"/>
                <a:gd name="connsiteY8177" fmla="*/ 1648152 h 2052818"/>
                <a:gd name="connsiteX8178" fmla="*/ 164212 w 2222569"/>
                <a:gd name="connsiteY8178" fmla="*/ 1648152 h 2052818"/>
                <a:gd name="connsiteX8179" fmla="*/ 165679 w 2222569"/>
                <a:gd name="connsiteY8179" fmla="*/ 1645871 h 2052818"/>
                <a:gd name="connsiteX8180" fmla="*/ 168774 w 2222569"/>
                <a:gd name="connsiteY8180" fmla="*/ 1648152 h 2052818"/>
                <a:gd name="connsiteX8181" fmla="*/ 164864 w 2222569"/>
                <a:gd name="connsiteY8181" fmla="*/ 1651573 h 2052818"/>
                <a:gd name="connsiteX8182" fmla="*/ 160465 w 2222569"/>
                <a:gd name="connsiteY8182" fmla="*/ 1651899 h 2052818"/>
                <a:gd name="connsiteX8183" fmla="*/ 160791 w 2222569"/>
                <a:gd name="connsiteY8183" fmla="*/ 1647989 h 2052818"/>
                <a:gd name="connsiteX8184" fmla="*/ 160791 w 2222569"/>
                <a:gd name="connsiteY8184" fmla="*/ 1647989 h 2052818"/>
                <a:gd name="connsiteX8185" fmla="*/ 156230 w 2222569"/>
                <a:gd name="connsiteY8185" fmla="*/ 1644079 h 2052818"/>
                <a:gd name="connsiteX8186" fmla="*/ 159325 w 2222569"/>
                <a:gd name="connsiteY8186" fmla="*/ 1640169 h 2052818"/>
                <a:gd name="connsiteX8187" fmla="*/ 161280 w 2222569"/>
                <a:gd name="connsiteY8187" fmla="*/ 1644568 h 2052818"/>
                <a:gd name="connsiteX8188" fmla="*/ 156067 w 2222569"/>
                <a:gd name="connsiteY8188" fmla="*/ 1644079 h 2052818"/>
                <a:gd name="connsiteX8189" fmla="*/ 156067 w 2222569"/>
                <a:gd name="connsiteY8189" fmla="*/ 1644079 h 2052818"/>
                <a:gd name="connsiteX8190" fmla="*/ 126906 w 2222569"/>
                <a:gd name="connsiteY8190" fmla="*/ 1531346 h 2052818"/>
                <a:gd name="connsiteX8191" fmla="*/ 126906 w 2222569"/>
                <a:gd name="connsiteY8191" fmla="*/ 1537862 h 2052818"/>
                <a:gd name="connsiteX8192" fmla="*/ 129513 w 2222569"/>
                <a:gd name="connsiteY8192" fmla="*/ 1535582 h 2052818"/>
                <a:gd name="connsiteX8193" fmla="*/ 126906 w 2222569"/>
                <a:gd name="connsiteY8193" fmla="*/ 1531346 h 2052818"/>
                <a:gd name="connsiteX8194" fmla="*/ 126906 w 2222569"/>
                <a:gd name="connsiteY8194" fmla="*/ 1531346 h 2052818"/>
                <a:gd name="connsiteX8195" fmla="*/ 140265 w 2222569"/>
                <a:gd name="connsiteY8195" fmla="*/ 1584129 h 2052818"/>
                <a:gd name="connsiteX8196" fmla="*/ 139939 w 2222569"/>
                <a:gd name="connsiteY8196" fmla="*/ 1580056 h 2052818"/>
                <a:gd name="connsiteX8197" fmla="*/ 142220 w 2222569"/>
                <a:gd name="connsiteY8197" fmla="*/ 1578590 h 2052818"/>
                <a:gd name="connsiteX8198" fmla="*/ 143523 w 2222569"/>
                <a:gd name="connsiteY8198" fmla="*/ 1580545 h 2052818"/>
                <a:gd name="connsiteX8199" fmla="*/ 141731 w 2222569"/>
                <a:gd name="connsiteY8199" fmla="*/ 1584129 h 2052818"/>
                <a:gd name="connsiteX8200" fmla="*/ 140102 w 2222569"/>
                <a:gd name="connsiteY8200" fmla="*/ 1584129 h 2052818"/>
                <a:gd name="connsiteX8201" fmla="*/ 139287 w 2222569"/>
                <a:gd name="connsiteY8201" fmla="*/ 1600094 h 2052818"/>
                <a:gd name="connsiteX8202" fmla="*/ 135866 w 2222569"/>
                <a:gd name="connsiteY8202" fmla="*/ 1603841 h 2052818"/>
                <a:gd name="connsiteX8203" fmla="*/ 136192 w 2222569"/>
                <a:gd name="connsiteY8203" fmla="*/ 1608402 h 2052818"/>
                <a:gd name="connsiteX8204" fmla="*/ 138961 w 2222569"/>
                <a:gd name="connsiteY8204" fmla="*/ 1611497 h 2052818"/>
                <a:gd name="connsiteX8205" fmla="*/ 140428 w 2222569"/>
                <a:gd name="connsiteY8205" fmla="*/ 1604492 h 2052818"/>
                <a:gd name="connsiteX8206" fmla="*/ 139287 w 2222569"/>
                <a:gd name="connsiteY8206" fmla="*/ 1600094 h 2052818"/>
                <a:gd name="connsiteX8207" fmla="*/ 139287 w 2222569"/>
                <a:gd name="connsiteY8207" fmla="*/ 1600094 h 2052818"/>
                <a:gd name="connsiteX8208" fmla="*/ 143523 w 2222569"/>
                <a:gd name="connsiteY8208" fmla="*/ 1594229 h 2052818"/>
                <a:gd name="connsiteX8209" fmla="*/ 146781 w 2222569"/>
                <a:gd name="connsiteY8209" fmla="*/ 1588038 h 2052818"/>
                <a:gd name="connsiteX8210" fmla="*/ 144826 w 2222569"/>
                <a:gd name="connsiteY8210" fmla="*/ 1585758 h 2052818"/>
                <a:gd name="connsiteX8211" fmla="*/ 138799 w 2222569"/>
                <a:gd name="connsiteY8211" fmla="*/ 1589179 h 2052818"/>
                <a:gd name="connsiteX8212" fmla="*/ 137658 w 2222569"/>
                <a:gd name="connsiteY8212" fmla="*/ 1594229 h 2052818"/>
                <a:gd name="connsiteX8213" fmla="*/ 139939 w 2222569"/>
                <a:gd name="connsiteY8213" fmla="*/ 1593903 h 2052818"/>
                <a:gd name="connsiteX8214" fmla="*/ 143686 w 2222569"/>
                <a:gd name="connsiteY8214" fmla="*/ 1594229 h 2052818"/>
                <a:gd name="connsiteX8215" fmla="*/ 143686 w 2222569"/>
                <a:gd name="connsiteY8215" fmla="*/ 1594229 h 2052818"/>
                <a:gd name="connsiteX8216" fmla="*/ 148247 w 2222569"/>
                <a:gd name="connsiteY8216" fmla="*/ 1589016 h 2052818"/>
                <a:gd name="connsiteX8217" fmla="*/ 154275 w 2222569"/>
                <a:gd name="connsiteY8217" fmla="*/ 1580382 h 2052818"/>
                <a:gd name="connsiteX8218" fmla="*/ 158185 w 2222569"/>
                <a:gd name="connsiteY8218" fmla="*/ 1580382 h 2052818"/>
                <a:gd name="connsiteX8219" fmla="*/ 161932 w 2222569"/>
                <a:gd name="connsiteY8219" fmla="*/ 1575820 h 2052818"/>
                <a:gd name="connsiteX8220" fmla="*/ 168937 w 2222569"/>
                <a:gd name="connsiteY8220" fmla="*/ 1573377 h 2052818"/>
                <a:gd name="connsiteX8221" fmla="*/ 168285 w 2222569"/>
                <a:gd name="connsiteY8221" fmla="*/ 1576146 h 2052818"/>
                <a:gd name="connsiteX8222" fmla="*/ 160791 w 2222569"/>
                <a:gd name="connsiteY8222" fmla="*/ 1583151 h 2052818"/>
                <a:gd name="connsiteX8223" fmla="*/ 156881 w 2222569"/>
                <a:gd name="connsiteY8223" fmla="*/ 1583640 h 2052818"/>
                <a:gd name="connsiteX8224" fmla="*/ 151342 w 2222569"/>
                <a:gd name="connsiteY8224" fmla="*/ 1588690 h 2052818"/>
                <a:gd name="connsiteX8225" fmla="*/ 148410 w 2222569"/>
                <a:gd name="connsiteY8225" fmla="*/ 1589016 h 2052818"/>
                <a:gd name="connsiteX8226" fmla="*/ 148410 w 2222569"/>
                <a:gd name="connsiteY8226" fmla="*/ 1589016 h 2052818"/>
                <a:gd name="connsiteX8227" fmla="*/ 144338 w 2222569"/>
                <a:gd name="connsiteY8227" fmla="*/ 1561484 h 2052818"/>
                <a:gd name="connsiteX8228" fmla="*/ 144338 w 2222569"/>
                <a:gd name="connsiteY8228" fmla="*/ 1555782 h 2052818"/>
                <a:gd name="connsiteX8229" fmla="*/ 147596 w 2222569"/>
                <a:gd name="connsiteY8229" fmla="*/ 1551221 h 2052818"/>
                <a:gd name="connsiteX8230" fmla="*/ 149225 w 2222569"/>
                <a:gd name="connsiteY8230" fmla="*/ 1556434 h 2052818"/>
                <a:gd name="connsiteX8231" fmla="*/ 146455 w 2222569"/>
                <a:gd name="connsiteY8231" fmla="*/ 1558389 h 2052818"/>
                <a:gd name="connsiteX8232" fmla="*/ 146455 w 2222569"/>
                <a:gd name="connsiteY8232" fmla="*/ 1560018 h 2052818"/>
                <a:gd name="connsiteX8233" fmla="*/ 144175 w 2222569"/>
                <a:gd name="connsiteY8233" fmla="*/ 1561484 h 2052818"/>
                <a:gd name="connsiteX8234" fmla="*/ 144175 w 2222569"/>
                <a:gd name="connsiteY8234" fmla="*/ 1561484 h 2052818"/>
                <a:gd name="connsiteX8235" fmla="*/ 133748 w 2222569"/>
                <a:gd name="connsiteY8235" fmla="*/ 1560018 h 2052818"/>
                <a:gd name="connsiteX8236" fmla="*/ 139613 w 2222569"/>
                <a:gd name="connsiteY8236" fmla="*/ 1562787 h 2052818"/>
                <a:gd name="connsiteX8237" fmla="*/ 141568 w 2222569"/>
                <a:gd name="connsiteY8237" fmla="*/ 1559855 h 2052818"/>
                <a:gd name="connsiteX8238" fmla="*/ 139939 w 2222569"/>
                <a:gd name="connsiteY8238" fmla="*/ 1556923 h 2052818"/>
                <a:gd name="connsiteX8239" fmla="*/ 133748 w 2222569"/>
                <a:gd name="connsiteY8239" fmla="*/ 1560018 h 2052818"/>
                <a:gd name="connsiteX8240" fmla="*/ 133748 w 2222569"/>
                <a:gd name="connsiteY8240" fmla="*/ 1560018 h 2052818"/>
                <a:gd name="connsiteX8241" fmla="*/ 126255 w 2222569"/>
                <a:gd name="connsiteY8241" fmla="*/ 1544705 h 2052818"/>
                <a:gd name="connsiteX8242" fmla="*/ 125603 w 2222569"/>
                <a:gd name="connsiteY8242" fmla="*/ 1554153 h 2052818"/>
                <a:gd name="connsiteX8243" fmla="*/ 128698 w 2222569"/>
                <a:gd name="connsiteY8243" fmla="*/ 1556434 h 2052818"/>
                <a:gd name="connsiteX8244" fmla="*/ 128698 w 2222569"/>
                <a:gd name="connsiteY8244" fmla="*/ 1560181 h 2052818"/>
                <a:gd name="connsiteX8245" fmla="*/ 131793 w 2222569"/>
                <a:gd name="connsiteY8245" fmla="*/ 1555457 h 2052818"/>
                <a:gd name="connsiteX8246" fmla="*/ 129838 w 2222569"/>
                <a:gd name="connsiteY8246" fmla="*/ 1549755 h 2052818"/>
                <a:gd name="connsiteX8247" fmla="*/ 126417 w 2222569"/>
                <a:gd name="connsiteY8247" fmla="*/ 1545030 h 2052818"/>
                <a:gd name="connsiteX8248" fmla="*/ 126417 w 2222569"/>
                <a:gd name="connsiteY8248" fmla="*/ 1545030 h 2052818"/>
                <a:gd name="connsiteX8249" fmla="*/ 130327 w 2222569"/>
                <a:gd name="connsiteY8249" fmla="*/ 1540306 h 2052818"/>
                <a:gd name="connsiteX8250" fmla="*/ 134400 w 2222569"/>
                <a:gd name="connsiteY8250" fmla="*/ 1541121 h 2052818"/>
                <a:gd name="connsiteX8251" fmla="*/ 133097 w 2222569"/>
                <a:gd name="connsiteY8251" fmla="*/ 1544379 h 2052818"/>
                <a:gd name="connsiteX8252" fmla="*/ 133097 w 2222569"/>
                <a:gd name="connsiteY8252" fmla="*/ 1548289 h 2052818"/>
                <a:gd name="connsiteX8253" fmla="*/ 137169 w 2222569"/>
                <a:gd name="connsiteY8253" fmla="*/ 1549103 h 2052818"/>
                <a:gd name="connsiteX8254" fmla="*/ 142220 w 2222569"/>
                <a:gd name="connsiteY8254" fmla="*/ 1544053 h 2052818"/>
                <a:gd name="connsiteX8255" fmla="*/ 139613 w 2222569"/>
                <a:gd name="connsiteY8255" fmla="*/ 1549918 h 2052818"/>
                <a:gd name="connsiteX8256" fmla="*/ 140428 w 2222569"/>
                <a:gd name="connsiteY8256" fmla="*/ 1554642 h 2052818"/>
                <a:gd name="connsiteX8257" fmla="*/ 145641 w 2222569"/>
                <a:gd name="connsiteY8257" fmla="*/ 1549103 h 2052818"/>
                <a:gd name="connsiteX8258" fmla="*/ 146618 w 2222569"/>
                <a:gd name="connsiteY8258" fmla="*/ 1537211 h 2052818"/>
                <a:gd name="connsiteX8259" fmla="*/ 140916 w 2222569"/>
                <a:gd name="connsiteY8259" fmla="*/ 1534115 h 2052818"/>
                <a:gd name="connsiteX8260" fmla="*/ 135703 w 2222569"/>
                <a:gd name="connsiteY8260" fmla="*/ 1535419 h 2052818"/>
                <a:gd name="connsiteX8261" fmla="*/ 130490 w 2222569"/>
                <a:gd name="connsiteY8261" fmla="*/ 1540469 h 2052818"/>
                <a:gd name="connsiteX8262" fmla="*/ 130490 w 2222569"/>
                <a:gd name="connsiteY8262" fmla="*/ 1540469 h 2052818"/>
                <a:gd name="connsiteX8263" fmla="*/ 130327 w 2222569"/>
                <a:gd name="connsiteY8263" fmla="*/ 1528902 h 2052818"/>
                <a:gd name="connsiteX8264" fmla="*/ 133748 w 2222569"/>
                <a:gd name="connsiteY8264" fmla="*/ 1532812 h 2052818"/>
                <a:gd name="connsiteX8265" fmla="*/ 135052 w 2222569"/>
                <a:gd name="connsiteY8265" fmla="*/ 1529880 h 2052818"/>
                <a:gd name="connsiteX8266" fmla="*/ 133097 w 2222569"/>
                <a:gd name="connsiteY8266" fmla="*/ 1526948 h 2052818"/>
                <a:gd name="connsiteX8267" fmla="*/ 130327 w 2222569"/>
                <a:gd name="connsiteY8267" fmla="*/ 1528902 h 2052818"/>
                <a:gd name="connsiteX8268" fmla="*/ 130327 w 2222569"/>
                <a:gd name="connsiteY8268" fmla="*/ 1528902 h 2052818"/>
                <a:gd name="connsiteX8269" fmla="*/ 139776 w 2222569"/>
                <a:gd name="connsiteY8269" fmla="*/ 1520757 h 2052818"/>
                <a:gd name="connsiteX8270" fmla="*/ 141731 w 2222569"/>
                <a:gd name="connsiteY8270" fmla="*/ 1514892 h 2052818"/>
                <a:gd name="connsiteX8271" fmla="*/ 146944 w 2222569"/>
                <a:gd name="connsiteY8271" fmla="*/ 1511960 h 2052818"/>
                <a:gd name="connsiteX8272" fmla="*/ 149388 w 2222569"/>
                <a:gd name="connsiteY8272" fmla="*/ 1512286 h 2052818"/>
                <a:gd name="connsiteX8273" fmla="*/ 147759 w 2222569"/>
                <a:gd name="connsiteY8273" fmla="*/ 1516521 h 2052818"/>
                <a:gd name="connsiteX8274" fmla="*/ 142871 w 2222569"/>
                <a:gd name="connsiteY8274" fmla="*/ 1518313 h 2052818"/>
                <a:gd name="connsiteX8275" fmla="*/ 139613 w 2222569"/>
                <a:gd name="connsiteY8275" fmla="*/ 1520757 h 2052818"/>
                <a:gd name="connsiteX8276" fmla="*/ 139613 w 2222569"/>
                <a:gd name="connsiteY8276" fmla="*/ 1520757 h 2052818"/>
                <a:gd name="connsiteX8277" fmla="*/ 108823 w 2222569"/>
                <a:gd name="connsiteY8277" fmla="*/ 1505932 h 2052818"/>
                <a:gd name="connsiteX8278" fmla="*/ 119249 w 2222569"/>
                <a:gd name="connsiteY8278" fmla="*/ 1518313 h 2052818"/>
                <a:gd name="connsiteX8279" fmla="*/ 123159 w 2222569"/>
                <a:gd name="connsiteY8279" fmla="*/ 1525644 h 2052818"/>
                <a:gd name="connsiteX8280" fmla="*/ 120879 w 2222569"/>
                <a:gd name="connsiteY8280" fmla="*/ 1529880 h 2052818"/>
                <a:gd name="connsiteX8281" fmla="*/ 116969 w 2222569"/>
                <a:gd name="connsiteY8281" fmla="*/ 1528251 h 2052818"/>
                <a:gd name="connsiteX8282" fmla="*/ 116969 w 2222569"/>
                <a:gd name="connsiteY8282" fmla="*/ 1522549 h 2052818"/>
                <a:gd name="connsiteX8283" fmla="*/ 109475 w 2222569"/>
                <a:gd name="connsiteY8283" fmla="*/ 1514240 h 2052818"/>
                <a:gd name="connsiteX8284" fmla="*/ 107194 w 2222569"/>
                <a:gd name="connsiteY8284" fmla="*/ 1509190 h 2052818"/>
                <a:gd name="connsiteX8285" fmla="*/ 108660 w 2222569"/>
                <a:gd name="connsiteY8285" fmla="*/ 1505932 h 2052818"/>
                <a:gd name="connsiteX8286" fmla="*/ 108660 w 2222569"/>
                <a:gd name="connsiteY8286" fmla="*/ 1505932 h 2052818"/>
                <a:gd name="connsiteX8287" fmla="*/ 118761 w 2222569"/>
                <a:gd name="connsiteY8287" fmla="*/ 1500719 h 2052818"/>
                <a:gd name="connsiteX8288" fmla="*/ 119249 w 2222569"/>
                <a:gd name="connsiteY8288" fmla="*/ 1507235 h 2052818"/>
                <a:gd name="connsiteX8289" fmla="*/ 122996 w 2222569"/>
                <a:gd name="connsiteY8289" fmla="*/ 1513263 h 2052818"/>
                <a:gd name="connsiteX8290" fmla="*/ 123811 w 2222569"/>
                <a:gd name="connsiteY8290" fmla="*/ 1520431 h 2052818"/>
                <a:gd name="connsiteX8291" fmla="*/ 129024 w 2222569"/>
                <a:gd name="connsiteY8291" fmla="*/ 1524667 h 2052818"/>
                <a:gd name="connsiteX8292" fmla="*/ 129838 w 2222569"/>
                <a:gd name="connsiteY8292" fmla="*/ 1516521 h 2052818"/>
                <a:gd name="connsiteX8293" fmla="*/ 125277 w 2222569"/>
                <a:gd name="connsiteY8293" fmla="*/ 1506584 h 2052818"/>
                <a:gd name="connsiteX8294" fmla="*/ 122833 w 2222569"/>
                <a:gd name="connsiteY8294" fmla="*/ 1499742 h 2052818"/>
                <a:gd name="connsiteX8295" fmla="*/ 120390 w 2222569"/>
                <a:gd name="connsiteY8295" fmla="*/ 1498927 h 2052818"/>
                <a:gd name="connsiteX8296" fmla="*/ 118924 w 2222569"/>
                <a:gd name="connsiteY8296" fmla="*/ 1500556 h 2052818"/>
                <a:gd name="connsiteX8297" fmla="*/ 118924 w 2222569"/>
                <a:gd name="connsiteY8297" fmla="*/ 1500556 h 2052818"/>
                <a:gd name="connsiteX8298" fmla="*/ 109801 w 2222569"/>
                <a:gd name="connsiteY8298" fmla="*/ 1493714 h 2052818"/>
                <a:gd name="connsiteX8299" fmla="*/ 117132 w 2222569"/>
                <a:gd name="connsiteY8299" fmla="*/ 1493714 h 2052818"/>
                <a:gd name="connsiteX8300" fmla="*/ 117132 w 2222569"/>
                <a:gd name="connsiteY8300" fmla="*/ 1496483 h 2052818"/>
                <a:gd name="connsiteX8301" fmla="*/ 121042 w 2222569"/>
                <a:gd name="connsiteY8301" fmla="*/ 1496483 h 2052818"/>
                <a:gd name="connsiteX8302" fmla="*/ 123485 w 2222569"/>
                <a:gd name="connsiteY8302" fmla="*/ 1490619 h 2052818"/>
                <a:gd name="connsiteX8303" fmla="*/ 119087 w 2222569"/>
                <a:gd name="connsiteY8303" fmla="*/ 1487035 h 2052818"/>
                <a:gd name="connsiteX8304" fmla="*/ 112896 w 2222569"/>
                <a:gd name="connsiteY8304" fmla="*/ 1489804 h 2052818"/>
                <a:gd name="connsiteX8305" fmla="*/ 109964 w 2222569"/>
                <a:gd name="connsiteY8305" fmla="*/ 1493714 h 2052818"/>
                <a:gd name="connsiteX8306" fmla="*/ 109964 w 2222569"/>
                <a:gd name="connsiteY8306" fmla="*/ 1493714 h 2052818"/>
                <a:gd name="connsiteX8307" fmla="*/ 55878 w 2222569"/>
                <a:gd name="connsiteY8307" fmla="*/ 1496809 h 2052818"/>
                <a:gd name="connsiteX8308" fmla="*/ 54575 w 2222569"/>
                <a:gd name="connsiteY8308" fmla="*/ 1487849 h 2052818"/>
                <a:gd name="connsiteX8309" fmla="*/ 62557 w 2222569"/>
                <a:gd name="connsiteY8309" fmla="*/ 1474654 h 2052818"/>
                <a:gd name="connsiteX8310" fmla="*/ 70703 w 2222569"/>
                <a:gd name="connsiteY8310" fmla="*/ 1477097 h 2052818"/>
                <a:gd name="connsiteX8311" fmla="*/ 69399 w 2222569"/>
                <a:gd name="connsiteY8311" fmla="*/ 1483288 h 2052818"/>
                <a:gd name="connsiteX8312" fmla="*/ 72332 w 2222569"/>
                <a:gd name="connsiteY8312" fmla="*/ 1481985 h 2052818"/>
                <a:gd name="connsiteX8313" fmla="*/ 75590 w 2222569"/>
                <a:gd name="connsiteY8313" fmla="*/ 1479052 h 2052818"/>
                <a:gd name="connsiteX8314" fmla="*/ 79011 w 2222569"/>
                <a:gd name="connsiteY8314" fmla="*/ 1480681 h 2052818"/>
                <a:gd name="connsiteX8315" fmla="*/ 79011 w 2222569"/>
                <a:gd name="connsiteY8315" fmla="*/ 1483939 h 2052818"/>
                <a:gd name="connsiteX8316" fmla="*/ 78685 w 2222569"/>
                <a:gd name="connsiteY8316" fmla="*/ 1489804 h 2052818"/>
                <a:gd name="connsiteX8317" fmla="*/ 74287 w 2222569"/>
                <a:gd name="connsiteY8317" fmla="*/ 1494040 h 2052818"/>
                <a:gd name="connsiteX8318" fmla="*/ 64675 w 2222569"/>
                <a:gd name="connsiteY8318" fmla="*/ 1497787 h 2052818"/>
                <a:gd name="connsiteX8319" fmla="*/ 67607 w 2222569"/>
                <a:gd name="connsiteY8319" fmla="*/ 1500230 h 2052818"/>
                <a:gd name="connsiteX8320" fmla="*/ 68259 w 2222569"/>
                <a:gd name="connsiteY8320" fmla="*/ 1503000 h 2052818"/>
                <a:gd name="connsiteX8321" fmla="*/ 73961 w 2222569"/>
                <a:gd name="connsiteY8321" fmla="*/ 1501697 h 2052818"/>
                <a:gd name="connsiteX8322" fmla="*/ 77219 w 2222569"/>
                <a:gd name="connsiteY8322" fmla="*/ 1493714 h 2052818"/>
                <a:gd name="connsiteX8323" fmla="*/ 83409 w 2222569"/>
                <a:gd name="connsiteY8323" fmla="*/ 1486220 h 2052818"/>
                <a:gd name="connsiteX8324" fmla="*/ 91392 w 2222569"/>
                <a:gd name="connsiteY8324" fmla="*/ 1482310 h 2052818"/>
                <a:gd name="connsiteX8325" fmla="*/ 93836 w 2222569"/>
                <a:gd name="connsiteY8325" fmla="*/ 1482799 h 2052818"/>
                <a:gd name="connsiteX8326" fmla="*/ 84550 w 2222569"/>
                <a:gd name="connsiteY8326" fmla="*/ 1493062 h 2052818"/>
                <a:gd name="connsiteX8327" fmla="*/ 82595 w 2222569"/>
                <a:gd name="connsiteY8327" fmla="*/ 1501045 h 2052818"/>
                <a:gd name="connsiteX8328" fmla="*/ 78033 w 2222569"/>
                <a:gd name="connsiteY8328" fmla="*/ 1506584 h 2052818"/>
                <a:gd name="connsiteX8329" fmla="*/ 77545 w 2222569"/>
                <a:gd name="connsiteY8329" fmla="*/ 1515055 h 2052818"/>
                <a:gd name="connsiteX8330" fmla="*/ 71843 w 2222569"/>
                <a:gd name="connsiteY8330" fmla="*/ 1519617 h 2052818"/>
                <a:gd name="connsiteX8331" fmla="*/ 67281 w 2222569"/>
                <a:gd name="connsiteY8331" fmla="*/ 1519617 h 2052818"/>
                <a:gd name="connsiteX8332" fmla="*/ 63534 w 2222569"/>
                <a:gd name="connsiteY8332" fmla="*/ 1523852 h 2052818"/>
                <a:gd name="connsiteX8333" fmla="*/ 67770 w 2222569"/>
                <a:gd name="connsiteY8333" fmla="*/ 1523852 h 2052818"/>
                <a:gd name="connsiteX8334" fmla="*/ 70865 w 2222569"/>
                <a:gd name="connsiteY8334" fmla="*/ 1522223 h 2052818"/>
                <a:gd name="connsiteX8335" fmla="*/ 76567 w 2222569"/>
                <a:gd name="connsiteY8335" fmla="*/ 1522875 h 2052818"/>
                <a:gd name="connsiteX8336" fmla="*/ 77056 w 2222569"/>
                <a:gd name="connsiteY8336" fmla="*/ 1528902 h 2052818"/>
                <a:gd name="connsiteX8337" fmla="*/ 70214 w 2222569"/>
                <a:gd name="connsiteY8337" fmla="*/ 1528902 h 2052818"/>
                <a:gd name="connsiteX8338" fmla="*/ 67118 w 2222569"/>
                <a:gd name="connsiteY8338" fmla="*/ 1534930 h 2052818"/>
                <a:gd name="connsiteX8339" fmla="*/ 68748 w 2222569"/>
                <a:gd name="connsiteY8339" fmla="*/ 1540306 h 2052818"/>
                <a:gd name="connsiteX8340" fmla="*/ 67770 w 2222569"/>
                <a:gd name="connsiteY8340" fmla="*/ 1547474 h 2052818"/>
                <a:gd name="connsiteX8341" fmla="*/ 70540 w 2222569"/>
                <a:gd name="connsiteY8341" fmla="*/ 1556108 h 2052818"/>
                <a:gd name="connsiteX8342" fmla="*/ 72006 w 2222569"/>
                <a:gd name="connsiteY8342" fmla="*/ 1562625 h 2052818"/>
                <a:gd name="connsiteX8343" fmla="*/ 75753 w 2222569"/>
                <a:gd name="connsiteY8343" fmla="*/ 1562625 h 2052818"/>
                <a:gd name="connsiteX8344" fmla="*/ 78033 w 2222569"/>
                <a:gd name="connsiteY8344" fmla="*/ 1565557 h 2052818"/>
                <a:gd name="connsiteX8345" fmla="*/ 75264 w 2222569"/>
                <a:gd name="connsiteY8345" fmla="*/ 1569793 h 2052818"/>
                <a:gd name="connsiteX8346" fmla="*/ 68585 w 2222569"/>
                <a:gd name="connsiteY8346" fmla="*/ 1568326 h 2052818"/>
                <a:gd name="connsiteX8347" fmla="*/ 60765 w 2222569"/>
                <a:gd name="connsiteY8347" fmla="*/ 1551710 h 2052818"/>
                <a:gd name="connsiteX8348" fmla="*/ 59951 w 2222569"/>
                <a:gd name="connsiteY8348" fmla="*/ 1544542 h 2052818"/>
                <a:gd name="connsiteX8349" fmla="*/ 61417 w 2222569"/>
                <a:gd name="connsiteY8349" fmla="*/ 1541121 h 2052818"/>
                <a:gd name="connsiteX8350" fmla="*/ 55552 w 2222569"/>
                <a:gd name="connsiteY8350" fmla="*/ 1539980 h 2052818"/>
                <a:gd name="connsiteX8351" fmla="*/ 54086 w 2222569"/>
                <a:gd name="connsiteY8351" fmla="*/ 1535582 h 2052818"/>
                <a:gd name="connsiteX8352" fmla="*/ 56041 w 2222569"/>
                <a:gd name="connsiteY8352" fmla="*/ 1531835 h 2052818"/>
                <a:gd name="connsiteX8353" fmla="*/ 61905 w 2222569"/>
                <a:gd name="connsiteY8353" fmla="*/ 1532649 h 2052818"/>
                <a:gd name="connsiteX8354" fmla="*/ 57344 w 2222569"/>
                <a:gd name="connsiteY8354" fmla="*/ 1527436 h 2052818"/>
                <a:gd name="connsiteX8355" fmla="*/ 54249 w 2222569"/>
                <a:gd name="connsiteY8355" fmla="*/ 1526133 h 2052818"/>
                <a:gd name="connsiteX8356" fmla="*/ 57181 w 2222569"/>
                <a:gd name="connsiteY8356" fmla="*/ 1520757 h 2052818"/>
                <a:gd name="connsiteX8357" fmla="*/ 53271 w 2222569"/>
                <a:gd name="connsiteY8357" fmla="*/ 1516358 h 2052818"/>
                <a:gd name="connsiteX8358" fmla="*/ 53923 w 2222569"/>
                <a:gd name="connsiteY8358" fmla="*/ 1513589 h 2052818"/>
                <a:gd name="connsiteX8359" fmla="*/ 58159 w 2222569"/>
                <a:gd name="connsiteY8359" fmla="*/ 1514078 h 2052818"/>
                <a:gd name="connsiteX8360" fmla="*/ 60602 w 2222569"/>
                <a:gd name="connsiteY8360" fmla="*/ 1515544 h 2052818"/>
                <a:gd name="connsiteX8361" fmla="*/ 60602 w 2222569"/>
                <a:gd name="connsiteY8361" fmla="*/ 1511145 h 2052818"/>
                <a:gd name="connsiteX8362" fmla="*/ 57181 w 2222569"/>
                <a:gd name="connsiteY8362" fmla="*/ 1507073 h 2052818"/>
                <a:gd name="connsiteX8363" fmla="*/ 52945 w 2222569"/>
                <a:gd name="connsiteY8363" fmla="*/ 1506095 h 2052818"/>
                <a:gd name="connsiteX8364" fmla="*/ 52620 w 2222569"/>
                <a:gd name="connsiteY8364" fmla="*/ 1501534 h 2052818"/>
                <a:gd name="connsiteX8365" fmla="*/ 55552 w 2222569"/>
                <a:gd name="connsiteY8365" fmla="*/ 1496483 h 2052818"/>
                <a:gd name="connsiteX8366" fmla="*/ 55552 w 2222569"/>
                <a:gd name="connsiteY8366" fmla="*/ 1496483 h 2052818"/>
                <a:gd name="connsiteX8367" fmla="*/ 117457 w 2222569"/>
                <a:gd name="connsiteY8367" fmla="*/ 1470255 h 2052818"/>
                <a:gd name="connsiteX8368" fmla="*/ 116480 w 2222569"/>
                <a:gd name="connsiteY8368" fmla="*/ 1465042 h 2052818"/>
                <a:gd name="connsiteX8369" fmla="*/ 120390 w 2222569"/>
                <a:gd name="connsiteY8369" fmla="*/ 1462598 h 2052818"/>
                <a:gd name="connsiteX8370" fmla="*/ 120390 w 2222569"/>
                <a:gd name="connsiteY8370" fmla="*/ 1467323 h 2052818"/>
                <a:gd name="connsiteX8371" fmla="*/ 117457 w 2222569"/>
                <a:gd name="connsiteY8371" fmla="*/ 1470092 h 2052818"/>
                <a:gd name="connsiteX8372" fmla="*/ 117457 w 2222569"/>
                <a:gd name="connsiteY8372" fmla="*/ 1470092 h 2052818"/>
                <a:gd name="connsiteX8373" fmla="*/ 638278 w 2222569"/>
                <a:gd name="connsiteY8373" fmla="*/ 690572 h 2052818"/>
                <a:gd name="connsiteX8374" fmla="*/ 641373 w 2222569"/>
                <a:gd name="connsiteY8374" fmla="*/ 693178 h 2052818"/>
                <a:gd name="connsiteX8375" fmla="*/ 643654 w 2222569"/>
                <a:gd name="connsiteY8375" fmla="*/ 692038 h 2052818"/>
                <a:gd name="connsiteX8376" fmla="*/ 643654 w 2222569"/>
                <a:gd name="connsiteY8376" fmla="*/ 689757 h 2052818"/>
                <a:gd name="connsiteX8377" fmla="*/ 645935 w 2222569"/>
                <a:gd name="connsiteY8377" fmla="*/ 688454 h 2052818"/>
                <a:gd name="connsiteX8378" fmla="*/ 640233 w 2222569"/>
                <a:gd name="connsiteY8378" fmla="*/ 687802 h 2052818"/>
                <a:gd name="connsiteX8379" fmla="*/ 638115 w 2222569"/>
                <a:gd name="connsiteY8379" fmla="*/ 690572 h 2052818"/>
                <a:gd name="connsiteX8380" fmla="*/ 638115 w 2222569"/>
                <a:gd name="connsiteY8380" fmla="*/ 690572 h 2052818"/>
                <a:gd name="connsiteX8381" fmla="*/ 589242 w 2222569"/>
                <a:gd name="connsiteY8381" fmla="*/ 641373 h 2052818"/>
                <a:gd name="connsiteX8382" fmla="*/ 592338 w 2222569"/>
                <a:gd name="connsiteY8382" fmla="*/ 643165 h 2052818"/>
                <a:gd name="connsiteX8383" fmla="*/ 597062 w 2222569"/>
                <a:gd name="connsiteY8383" fmla="*/ 640559 h 2052818"/>
                <a:gd name="connsiteX8384" fmla="*/ 597062 w 2222569"/>
                <a:gd name="connsiteY8384" fmla="*/ 634857 h 2052818"/>
                <a:gd name="connsiteX8385" fmla="*/ 591360 w 2222569"/>
                <a:gd name="connsiteY8385" fmla="*/ 637952 h 2052818"/>
                <a:gd name="connsiteX8386" fmla="*/ 589079 w 2222569"/>
                <a:gd name="connsiteY8386" fmla="*/ 641536 h 2052818"/>
                <a:gd name="connsiteX8387" fmla="*/ 589079 w 2222569"/>
                <a:gd name="connsiteY8387" fmla="*/ 641536 h 2052818"/>
                <a:gd name="connsiteX8388" fmla="*/ 409228 w 2222569"/>
                <a:gd name="connsiteY8388" fmla="*/ 656850 h 2052818"/>
                <a:gd name="connsiteX8389" fmla="*/ 411671 w 2222569"/>
                <a:gd name="connsiteY8389" fmla="*/ 658479 h 2052818"/>
                <a:gd name="connsiteX8390" fmla="*/ 414441 w 2222569"/>
                <a:gd name="connsiteY8390" fmla="*/ 654406 h 2052818"/>
                <a:gd name="connsiteX8391" fmla="*/ 412160 w 2222569"/>
                <a:gd name="connsiteY8391" fmla="*/ 653591 h 2052818"/>
                <a:gd name="connsiteX8392" fmla="*/ 409065 w 2222569"/>
                <a:gd name="connsiteY8392" fmla="*/ 656850 h 2052818"/>
                <a:gd name="connsiteX8393" fmla="*/ 409065 w 2222569"/>
                <a:gd name="connsiteY8393" fmla="*/ 656850 h 2052818"/>
                <a:gd name="connsiteX8394" fmla="*/ 408413 w 2222569"/>
                <a:gd name="connsiteY8394" fmla="*/ 665647 h 2052818"/>
                <a:gd name="connsiteX8395" fmla="*/ 407273 w 2222569"/>
                <a:gd name="connsiteY8395" fmla="*/ 663203 h 2052818"/>
                <a:gd name="connsiteX8396" fmla="*/ 409879 w 2222569"/>
                <a:gd name="connsiteY8396" fmla="*/ 662063 h 2052818"/>
                <a:gd name="connsiteX8397" fmla="*/ 411346 w 2222569"/>
                <a:gd name="connsiteY8397" fmla="*/ 664506 h 2052818"/>
                <a:gd name="connsiteX8398" fmla="*/ 408576 w 2222569"/>
                <a:gd name="connsiteY8398" fmla="*/ 665647 h 2052818"/>
                <a:gd name="connsiteX8399" fmla="*/ 408576 w 2222569"/>
                <a:gd name="connsiteY8399" fmla="*/ 665647 h 2052818"/>
                <a:gd name="connsiteX8400" fmla="*/ 399127 w 2222569"/>
                <a:gd name="connsiteY8400" fmla="*/ 681286 h 2052818"/>
                <a:gd name="connsiteX8401" fmla="*/ 399453 w 2222569"/>
                <a:gd name="connsiteY8401" fmla="*/ 689269 h 2052818"/>
                <a:gd name="connsiteX8402" fmla="*/ 396521 w 2222569"/>
                <a:gd name="connsiteY8402" fmla="*/ 693504 h 2052818"/>
                <a:gd name="connsiteX8403" fmla="*/ 397498 w 2222569"/>
                <a:gd name="connsiteY8403" fmla="*/ 698066 h 2052818"/>
                <a:gd name="connsiteX8404" fmla="*/ 402549 w 2222569"/>
                <a:gd name="connsiteY8404" fmla="*/ 698066 h 2052818"/>
                <a:gd name="connsiteX8405" fmla="*/ 405970 w 2222569"/>
                <a:gd name="connsiteY8405" fmla="*/ 695296 h 2052818"/>
                <a:gd name="connsiteX8406" fmla="*/ 410368 w 2222569"/>
                <a:gd name="connsiteY8406" fmla="*/ 694970 h 2052818"/>
                <a:gd name="connsiteX8407" fmla="*/ 427474 w 2222569"/>
                <a:gd name="connsiteY8407" fmla="*/ 680797 h 2052818"/>
                <a:gd name="connsiteX8408" fmla="*/ 434967 w 2222569"/>
                <a:gd name="connsiteY8408" fmla="*/ 676725 h 2052818"/>
                <a:gd name="connsiteX8409" fmla="*/ 438226 w 2222569"/>
                <a:gd name="connsiteY8409" fmla="*/ 670534 h 2052818"/>
                <a:gd name="connsiteX8410" fmla="*/ 435130 w 2222569"/>
                <a:gd name="connsiteY8410" fmla="*/ 672163 h 2052818"/>
                <a:gd name="connsiteX8411" fmla="*/ 432361 w 2222569"/>
                <a:gd name="connsiteY8411" fmla="*/ 669882 h 2052818"/>
                <a:gd name="connsiteX8412" fmla="*/ 431220 w 2222569"/>
                <a:gd name="connsiteY8412" fmla="*/ 661085 h 2052818"/>
                <a:gd name="connsiteX8413" fmla="*/ 427474 w 2222569"/>
                <a:gd name="connsiteY8413" fmla="*/ 661574 h 2052818"/>
                <a:gd name="connsiteX8414" fmla="*/ 424378 w 2222569"/>
                <a:gd name="connsiteY8414" fmla="*/ 667765 h 2052818"/>
                <a:gd name="connsiteX8415" fmla="*/ 419328 w 2222569"/>
                <a:gd name="connsiteY8415" fmla="*/ 669720 h 2052818"/>
                <a:gd name="connsiteX8416" fmla="*/ 420306 w 2222569"/>
                <a:gd name="connsiteY8416" fmla="*/ 673792 h 2052818"/>
                <a:gd name="connsiteX8417" fmla="*/ 416233 w 2222569"/>
                <a:gd name="connsiteY8417" fmla="*/ 673466 h 2052818"/>
                <a:gd name="connsiteX8418" fmla="*/ 414441 w 2222569"/>
                <a:gd name="connsiteY8418" fmla="*/ 675095 h 2052818"/>
                <a:gd name="connsiteX8419" fmla="*/ 412649 w 2222569"/>
                <a:gd name="connsiteY8419" fmla="*/ 679494 h 2052818"/>
                <a:gd name="connsiteX8420" fmla="*/ 410205 w 2222569"/>
                <a:gd name="connsiteY8420" fmla="*/ 675095 h 2052818"/>
                <a:gd name="connsiteX8421" fmla="*/ 412160 w 2222569"/>
                <a:gd name="connsiteY8421" fmla="*/ 672489 h 2052818"/>
                <a:gd name="connsiteX8422" fmla="*/ 409065 w 2222569"/>
                <a:gd name="connsiteY8422" fmla="*/ 669557 h 2052818"/>
                <a:gd name="connsiteX8423" fmla="*/ 405970 w 2222569"/>
                <a:gd name="connsiteY8423" fmla="*/ 673466 h 2052818"/>
                <a:gd name="connsiteX8424" fmla="*/ 404178 w 2222569"/>
                <a:gd name="connsiteY8424" fmla="*/ 672326 h 2052818"/>
                <a:gd name="connsiteX8425" fmla="*/ 401734 w 2222569"/>
                <a:gd name="connsiteY8425" fmla="*/ 677865 h 2052818"/>
                <a:gd name="connsiteX8426" fmla="*/ 398964 w 2222569"/>
                <a:gd name="connsiteY8426" fmla="*/ 681123 h 2052818"/>
                <a:gd name="connsiteX8427" fmla="*/ 398964 w 2222569"/>
                <a:gd name="connsiteY8427" fmla="*/ 681123 h 2052818"/>
                <a:gd name="connsiteX8428" fmla="*/ 380719 w 2222569"/>
                <a:gd name="connsiteY8428" fmla="*/ 696925 h 2052818"/>
                <a:gd name="connsiteX8429" fmla="*/ 382348 w 2222569"/>
                <a:gd name="connsiteY8429" fmla="*/ 692364 h 2052818"/>
                <a:gd name="connsiteX8430" fmla="*/ 382348 w 2222569"/>
                <a:gd name="connsiteY8430" fmla="*/ 682101 h 2052818"/>
                <a:gd name="connsiteX8431" fmla="*/ 377135 w 2222569"/>
                <a:gd name="connsiteY8431" fmla="*/ 686825 h 2052818"/>
                <a:gd name="connsiteX8432" fmla="*/ 376157 w 2222569"/>
                <a:gd name="connsiteY8432" fmla="*/ 691386 h 2052818"/>
                <a:gd name="connsiteX8433" fmla="*/ 374202 w 2222569"/>
                <a:gd name="connsiteY8433" fmla="*/ 693016 h 2052818"/>
                <a:gd name="connsiteX8434" fmla="*/ 375994 w 2222569"/>
                <a:gd name="connsiteY8434" fmla="*/ 694645 h 2052818"/>
                <a:gd name="connsiteX8435" fmla="*/ 380556 w 2222569"/>
                <a:gd name="connsiteY8435" fmla="*/ 696925 h 2052818"/>
                <a:gd name="connsiteX8436" fmla="*/ 380556 w 2222569"/>
                <a:gd name="connsiteY8436" fmla="*/ 696925 h 2052818"/>
                <a:gd name="connsiteX8437" fmla="*/ 381859 w 2222569"/>
                <a:gd name="connsiteY8437" fmla="*/ 700346 h 2052818"/>
                <a:gd name="connsiteX8438" fmla="*/ 385117 w 2222569"/>
                <a:gd name="connsiteY8438" fmla="*/ 698554 h 2052818"/>
                <a:gd name="connsiteX8439" fmla="*/ 386746 w 2222569"/>
                <a:gd name="connsiteY8439" fmla="*/ 695296 h 2052818"/>
                <a:gd name="connsiteX8440" fmla="*/ 384303 w 2222569"/>
                <a:gd name="connsiteY8440" fmla="*/ 689757 h 2052818"/>
                <a:gd name="connsiteX8441" fmla="*/ 384629 w 2222569"/>
                <a:gd name="connsiteY8441" fmla="*/ 680146 h 2052818"/>
                <a:gd name="connsiteX8442" fmla="*/ 387561 w 2222569"/>
                <a:gd name="connsiteY8442" fmla="*/ 677050 h 2052818"/>
                <a:gd name="connsiteX8443" fmla="*/ 390167 w 2222569"/>
                <a:gd name="connsiteY8443" fmla="*/ 678842 h 2052818"/>
                <a:gd name="connsiteX8444" fmla="*/ 390982 w 2222569"/>
                <a:gd name="connsiteY8444" fmla="*/ 675584 h 2052818"/>
                <a:gd name="connsiteX8445" fmla="*/ 393751 w 2222569"/>
                <a:gd name="connsiteY8445" fmla="*/ 674281 h 2052818"/>
                <a:gd name="connsiteX8446" fmla="*/ 396032 w 2222569"/>
                <a:gd name="connsiteY8446" fmla="*/ 679820 h 2052818"/>
                <a:gd name="connsiteX8447" fmla="*/ 395380 w 2222569"/>
                <a:gd name="connsiteY8447" fmla="*/ 692201 h 2052818"/>
                <a:gd name="connsiteX8448" fmla="*/ 392774 w 2222569"/>
                <a:gd name="connsiteY8448" fmla="*/ 696111 h 2052818"/>
                <a:gd name="connsiteX8449" fmla="*/ 395055 w 2222569"/>
                <a:gd name="connsiteY8449" fmla="*/ 700184 h 2052818"/>
                <a:gd name="connsiteX8450" fmla="*/ 388212 w 2222569"/>
                <a:gd name="connsiteY8450" fmla="*/ 703605 h 2052818"/>
                <a:gd name="connsiteX8451" fmla="*/ 382022 w 2222569"/>
                <a:gd name="connsiteY8451" fmla="*/ 700509 h 2052818"/>
                <a:gd name="connsiteX8452" fmla="*/ 382022 w 2222569"/>
                <a:gd name="connsiteY8452" fmla="*/ 700509 h 2052818"/>
                <a:gd name="connsiteX8453" fmla="*/ 389842 w 2222569"/>
                <a:gd name="connsiteY8453" fmla="*/ 726412 h 2052818"/>
                <a:gd name="connsiteX8454" fmla="*/ 392611 w 2222569"/>
                <a:gd name="connsiteY8454" fmla="*/ 722013 h 2052818"/>
                <a:gd name="connsiteX8455" fmla="*/ 389679 w 2222569"/>
                <a:gd name="connsiteY8455" fmla="*/ 713542 h 2052818"/>
                <a:gd name="connsiteX8456" fmla="*/ 389679 w 2222569"/>
                <a:gd name="connsiteY8456" fmla="*/ 705560 h 2052818"/>
                <a:gd name="connsiteX8457" fmla="*/ 384140 w 2222569"/>
                <a:gd name="connsiteY8457" fmla="*/ 705560 h 2052818"/>
                <a:gd name="connsiteX8458" fmla="*/ 377460 w 2222569"/>
                <a:gd name="connsiteY8458" fmla="*/ 699043 h 2052818"/>
                <a:gd name="connsiteX8459" fmla="*/ 374528 w 2222569"/>
                <a:gd name="connsiteY8459" fmla="*/ 699532 h 2052818"/>
                <a:gd name="connsiteX8460" fmla="*/ 374528 w 2222569"/>
                <a:gd name="connsiteY8460" fmla="*/ 702953 h 2052818"/>
                <a:gd name="connsiteX8461" fmla="*/ 383977 w 2222569"/>
                <a:gd name="connsiteY8461" fmla="*/ 710936 h 2052818"/>
                <a:gd name="connsiteX8462" fmla="*/ 377298 w 2222569"/>
                <a:gd name="connsiteY8462" fmla="*/ 709958 h 2052818"/>
                <a:gd name="connsiteX8463" fmla="*/ 377298 w 2222569"/>
                <a:gd name="connsiteY8463" fmla="*/ 712890 h 2052818"/>
                <a:gd name="connsiteX8464" fmla="*/ 382674 w 2222569"/>
                <a:gd name="connsiteY8464" fmla="*/ 717126 h 2052818"/>
                <a:gd name="connsiteX8465" fmla="*/ 389842 w 2222569"/>
                <a:gd name="connsiteY8465" fmla="*/ 726086 h 2052818"/>
                <a:gd name="connsiteX8466" fmla="*/ 389842 w 2222569"/>
                <a:gd name="connsiteY8466" fmla="*/ 726086 h 2052818"/>
                <a:gd name="connsiteX8467" fmla="*/ 332660 w 2222569"/>
                <a:gd name="connsiteY8467" fmla="*/ 633554 h 2052818"/>
                <a:gd name="connsiteX8468" fmla="*/ 336407 w 2222569"/>
                <a:gd name="connsiteY8468" fmla="*/ 639418 h 2052818"/>
                <a:gd name="connsiteX8469" fmla="*/ 339666 w 2222569"/>
                <a:gd name="connsiteY8469" fmla="*/ 638441 h 2052818"/>
                <a:gd name="connsiteX8470" fmla="*/ 344390 w 2222569"/>
                <a:gd name="connsiteY8470" fmla="*/ 641047 h 2052818"/>
                <a:gd name="connsiteX8471" fmla="*/ 346182 w 2222569"/>
                <a:gd name="connsiteY8471" fmla="*/ 639744 h 2052818"/>
                <a:gd name="connsiteX8472" fmla="*/ 340969 w 2222569"/>
                <a:gd name="connsiteY8472" fmla="*/ 632576 h 2052818"/>
                <a:gd name="connsiteX8473" fmla="*/ 335919 w 2222569"/>
                <a:gd name="connsiteY8473" fmla="*/ 630784 h 2052818"/>
                <a:gd name="connsiteX8474" fmla="*/ 332660 w 2222569"/>
                <a:gd name="connsiteY8474" fmla="*/ 633391 h 2052818"/>
                <a:gd name="connsiteX8475" fmla="*/ 332660 w 2222569"/>
                <a:gd name="connsiteY8475" fmla="*/ 633391 h 2052818"/>
                <a:gd name="connsiteX8476" fmla="*/ 225955 w 2222569"/>
                <a:gd name="connsiteY8476" fmla="*/ 1726022 h 2052818"/>
                <a:gd name="connsiteX8477" fmla="*/ 225955 w 2222569"/>
                <a:gd name="connsiteY8477" fmla="*/ 1726022 h 2052818"/>
                <a:gd name="connsiteX8478" fmla="*/ 222045 w 2222569"/>
                <a:gd name="connsiteY8478" fmla="*/ 1725208 h 2052818"/>
                <a:gd name="connsiteX8479" fmla="*/ 220416 w 2222569"/>
                <a:gd name="connsiteY8479" fmla="*/ 1716574 h 2052818"/>
                <a:gd name="connsiteX8480" fmla="*/ 225140 w 2222569"/>
                <a:gd name="connsiteY8480" fmla="*/ 1706310 h 2052818"/>
                <a:gd name="connsiteX8481" fmla="*/ 226607 w 2222569"/>
                <a:gd name="connsiteY8481" fmla="*/ 1699794 h 2052818"/>
                <a:gd name="connsiteX8482" fmla="*/ 223511 w 2222569"/>
                <a:gd name="connsiteY8482" fmla="*/ 1702726 h 2052818"/>
                <a:gd name="connsiteX8483" fmla="*/ 217647 w 2222569"/>
                <a:gd name="connsiteY8483" fmla="*/ 1704681 h 2052818"/>
                <a:gd name="connsiteX8484" fmla="*/ 211456 w 2222569"/>
                <a:gd name="connsiteY8484" fmla="*/ 1708102 h 2052818"/>
                <a:gd name="connsiteX8485" fmla="*/ 206895 w 2222569"/>
                <a:gd name="connsiteY8485" fmla="*/ 1701423 h 2052818"/>
                <a:gd name="connsiteX8486" fmla="*/ 206895 w 2222569"/>
                <a:gd name="connsiteY8486" fmla="*/ 1696210 h 2052818"/>
                <a:gd name="connsiteX8487" fmla="*/ 209827 w 2222569"/>
                <a:gd name="connsiteY8487" fmla="*/ 1696699 h 2052818"/>
                <a:gd name="connsiteX8488" fmla="*/ 211619 w 2222569"/>
                <a:gd name="connsiteY8488" fmla="*/ 1700934 h 2052818"/>
                <a:gd name="connsiteX8489" fmla="*/ 214063 w 2222569"/>
                <a:gd name="connsiteY8489" fmla="*/ 1701423 h 2052818"/>
                <a:gd name="connsiteX8490" fmla="*/ 214388 w 2222569"/>
                <a:gd name="connsiteY8490" fmla="*/ 1698491 h 2052818"/>
                <a:gd name="connsiteX8491" fmla="*/ 211945 w 2222569"/>
                <a:gd name="connsiteY8491" fmla="*/ 1694255 h 2052818"/>
                <a:gd name="connsiteX8492" fmla="*/ 210642 w 2222569"/>
                <a:gd name="connsiteY8492" fmla="*/ 1690019 h 2052818"/>
                <a:gd name="connsiteX8493" fmla="*/ 206895 w 2222569"/>
                <a:gd name="connsiteY8493" fmla="*/ 1690019 h 2052818"/>
                <a:gd name="connsiteX8494" fmla="*/ 203636 w 2222569"/>
                <a:gd name="connsiteY8494" fmla="*/ 1692300 h 2052818"/>
                <a:gd name="connsiteX8495" fmla="*/ 198260 w 2222569"/>
                <a:gd name="connsiteY8495" fmla="*/ 1689694 h 2052818"/>
                <a:gd name="connsiteX8496" fmla="*/ 194513 w 2222569"/>
                <a:gd name="connsiteY8496" fmla="*/ 1683014 h 2052818"/>
                <a:gd name="connsiteX8497" fmla="*/ 194513 w 2222569"/>
                <a:gd name="connsiteY8497" fmla="*/ 1680571 h 2052818"/>
                <a:gd name="connsiteX8498" fmla="*/ 201193 w 2222569"/>
                <a:gd name="connsiteY8498" fmla="*/ 1676172 h 2052818"/>
                <a:gd name="connsiteX8499" fmla="*/ 203962 w 2222569"/>
                <a:gd name="connsiteY8499" fmla="*/ 1670145 h 2052818"/>
                <a:gd name="connsiteX8500" fmla="*/ 207220 w 2222569"/>
                <a:gd name="connsiteY8500" fmla="*/ 1666886 h 2052818"/>
                <a:gd name="connsiteX8501" fmla="*/ 205754 w 2222569"/>
                <a:gd name="connsiteY8501" fmla="*/ 1665420 h 2052818"/>
                <a:gd name="connsiteX8502" fmla="*/ 201030 w 2222569"/>
                <a:gd name="connsiteY8502" fmla="*/ 1666886 h 2052818"/>
                <a:gd name="connsiteX8503" fmla="*/ 195491 w 2222569"/>
                <a:gd name="connsiteY8503" fmla="*/ 1666886 h 2052818"/>
                <a:gd name="connsiteX8504" fmla="*/ 194188 w 2222569"/>
                <a:gd name="connsiteY8504" fmla="*/ 1664931 h 2052818"/>
                <a:gd name="connsiteX8505" fmla="*/ 197935 w 2222569"/>
                <a:gd name="connsiteY8505" fmla="*/ 1661022 h 2052818"/>
                <a:gd name="connsiteX8506" fmla="*/ 202333 w 2222569"/>
                <a:gd name="connsiteY8506" fmla="*/ 1654180 h 2052818"/>
                <a:gd name="connsiteX8507" fmla="*/ 202333 w 2222569"/>
                <a:gd name="connsiteY8507" fmla="*/ 1647011 h 2052818"/>
                <a:gd name="connsiteX8508" fmla="*/ 204614 w 2222569"/>
                <a:gd name="connsiteY8508" fmla="*/ 1644405 h 2052818"/>
                <a:gd name="connsiteX8509" fmla="*/ 204614 w 2222569"/>
                <a:gd name="connsiteY8509" fmla="*/ 1641310 h 2052818"/>
                <a:gd name="connsiteX8510" fmla="*/ 201519 w 2222569"/>
                <a:gd name="connsiteY8510" fmla="*/ 1642287 h 2052818"/>
                <a:gd name="connsiteX8511" fmla="*/ 199564 w 2222569"/>
                <a:gd name="connsiteY8511" fmla="*/ 1646523 h 2052818"/>
                <a:gd name="connsiteX8512" fmla="*/ 198912 w 2222569"/>
                <a:gd name="connsiteY8512" fmla="*/ 1655483 h 2052818"/>
                <a:gd name="connsiteX8513" fmla="*/ 193210 w 2222569"/>
                <a:gd name="connsiteY8513" fmla="*/ 1663139 h 2052818"/>
                <a:gd name="connsiteX8514" fmla="*/ 190115 w 2222569"/>
                <a:gd name="connsiteY8514" fmla="*/ 1663628 h 2052818"/>
                <a:gd name="connsiteX8515" fmla="*/ 187183 w 2222569"/>
                <a:gd name="connsiteY8515" fmla="*/ 1661673 h 2052818"/>
                <a:gd name="connsiteX8516" fmla="*/ 184413 w 2222569"/>
                <a:gd name="connsiteY8516" fmla="*/ 1660696 h 2052818"/>
                <a:gd name="connsiteX8517" fmla="*/ 184413 w 2222569"/>
                <a:gd name="connsiteY8517" fmla="*/ 1658089 h 2052818"/>
                <a:gd name="connsiteX8518" fmla="*/ 186042 w 2222569"/>
                <a:gd name="connsiteY8518" fmla="*/ 1655809 h 2052818"/>
                <a:gd name="connsiteX8519" fmla="*/ 186042 w 2222569"/>
                <a:gd name="connsiteY8519" fmla="*/ 1653528 h 2052818"/>
                <a:gd name="connsiteX8520" fmla="*/ 181969 w 2222569"/>
                <a:gd name="connsiteY8520" fmla="*/ 1656134 h 2052818"/>
                <a:gd name="connsiteX8521" fmla="*/ 179689 w 2222569"/>
                <a:gd name="connsiteY8521" fmla="*/ 1659230 h 2052818"/>
                <a:gd name="connsiteX8522" fmla="*/ 178060 w 2222569"/>
                <a:gd name="connsiteY8522" fmla="*/ 1659230 h 2052818"/>
                <a:gd name="connsiteX8523" fmla="*/ 176756 w 2222569"/>
                <a:gd name="connsiteY8523" fmla="*/ 1656460 h 2052818"/>
                <a:gd name="connsiteX8524" fmla="*/ 173987 w 2222569"/>
                <a:gd name="connsiteY8524" fmla="*/ 1657112 h 2052818"/>
                <a:gd name="connsiteX8525" fmla="*/ 171380 w 2222569"/>
                <a:gd name="connsiteY8525" fmla="*/ 1659393 h 2052818"/>
                <a:gd name="connsiteX8526" fmla="*/ 167959 w 2222569"/>
                <a:gd name="connsiteY8526" fmla="*/ 1657438 h 2052818"/>
                <a:gd name="connsiteX8527" fmla="*/ 167959 w 2222569"/>
                <a:gd name="connsiteY8527" fmla="*/ 1655646 h 2052818"/>
                <a:gd name="connsiteX8528" fmla="*/ 171380 w 2222569"/>
                <a:gd name="connsiteY8528" fmla="*/ 1651736 h 2052818"/>
                <a:gd name="connsiteX8529" fmla="*/ 175616 w 2222569"/>
                <a:gd name="connsiteY8529" fmla="*/ 1651410 h 2052818"/>
                <a:gd name="connsiteX8530" fmla="*/ 181644 w 2222569"/>
                <a:gd name="connsiteY8530" fmla="*/ 1649781 h 2052818"/>
                <a:gd name="connsiteX8531" fmla="*/ 188323 w 2222569"/>
                <a:gd name="connsiteY8531" fmla="*/ 1645057 h 2052818"/>
                <a:gd name="connsiteX8532" fmla="*/ 190767 w 2222569"/>
                <a:gd name="connsiteY8532" fmla="*/ 1640332 h 2052818"/>
                <a:gd name="connsiteX8533" fmla="*/ 190767 w 2222569"/>
                <a:gd name="connsiteY8533" fmla="*/ 1634956 h 2052818"/>
                <a:gd name="connsiteX8534" fmla="*/ 189789 w 2222569"/>
                <a:gd name="connsiteY8534" fmla="*/ 1639355 h 2052818"/>
                <a:gd name="connsiteX8535" fmla="*/ 185228 w 2222569"/>
                <a:gd name="connsiteY8535" fmla="*/ 1642450 h 2052818"/>
                <a:gd name="connsiteX8536" fmla="*/ 182295 w 2222569"/>
                <a:gd name="connsiteY8536" fmla="*/ 1647826 h 2052818"/>
                <a:gd name="connsiteX8537" fmla="*/ 179526 w 2222569"/>
                <a:gd name="connsiteY8537" fmla="*/ 1649618 h 2052818"/>
                <a:gd name="connsiteX8538" fmla="*/ 172521 w 2222569"/>
                <a:gd name="connsiteY8538" fmla="*/ 1647174 h 2052818"/>
                <a:gd name="connsiteX8539" fmla="*/ 171055 w 2222569"/>
                <a:gd name="connsiteY8539" fmla="*/ 1643427 h 2052818"/>
                <a:gd name="connsiteX8540" fmla="*/ 166656 w 2222569"/>
                <a:gd name="connsiteY8540" fmla="*/ 1643102 h 2052818"/>
                <a:gd name="connsiteX8541" fmla="*/ 166656 w 2222569"/>
                <a:gd name="connsiteY8541" fmla="*/ 1641310 h 2052818"/>
                <a:gd name="connsiteX8542" fmla="*/ 170403 w 2222569"/>
                <a:gd name="connsiteY8542" fmla="*/ 1639844 h 2052818"/>
                <a:gd name="connsiteX8543" fmla="*/ 168448 w 2222569"/>
                <a:gd name="connsiteY8543" fmla="*/ 1638052 h 2052818"/>
                <a:gd name="connsiteX8544" fmla="*/ 161932 w 2222569"/>
                <a:gd name="connsiteY8544" fmla="*/ 1639355 h 2052818"/>
                <a:gd name="connsiteX8545" fmla="*/ 157859 w 2222569"/>
                <a:gd name="connsiteY8545" fmla="*/ 1637074 h 2052818"/>
                <a:gd name="connsiteX8546" fmla="*/ 154438 w 2222569"/>
                <a:gd name="connsiteY8546" fmla="*/ 1637400 h 2052818"/>
                <a:gd name="connsiteX8547" fmla="*/ 153460 w 2222569"/>
                <a:gd name="connsiteY8547" fmla="*/ 1641310 h 2052818"/>
                <a:gd name="connsiteX8548" fmla="*/ 147596 w 2222569"/>
                <a:gd name="connsiteY8548" fmla="*/ 1637237 h 2052818"/>
                <a:gd name="connsiteX8549" fmla="*/ 145152 w 2222569"/>
                <a:gd name="connsiteY8549" fmla="*/ 1632187 h 2052818"/>
                <a:gd name="connsiteX8550" fmla="*/ 146944 w 2222569"/>
                <a:gd name="connsiteY8550" fmla="*/ 1630395 h 2052818"/>
                <a:gd name="connsiteX8551" fmla="*/ 150039 w 2222569"/>
                <a:gd name="connsiteY8551" fmla="*/ 1632838 h 2052818"/>
                <a:gd name="connsiteX8552" fmla="*/ 155904 w 2222569"/>
                <a:gd name="connsiteY8552" fmla="*/ 1634305 h 2052818"/>
                <a:gd name="connsiteX8553" fmla="*/ 161769 w 2222569"/>
                <a:gd name="connsiteY8553" fmla="*/ 1633164 h 2052818"/>
                <a:gd name="connsiteX8554" fmla="*/ 162095 w 2222569"/>
                <a:gd name="connsiteY8554" fmla="*/ 1630558 h 2052818"/>
                <a:gd name="connsiteX8555" fmla="*/ 159325 w 2222569"/>
                <a:gd name="connsiteY8555" fmla="*/ 1630884 h 2052818"/>
                <a:gd name="connsiteX8556" fmla="*/ 152483 w 2222569"/>
                <a:gd name="connsiteY8556" fmla="*/ 1630884 h 2052818"/>
                <a:gd name="connsiteX8557" fmla="*/ 150854 w 2222569"/>
                <a:gd name="connsiteY8557" fmla="*/ 1629417 h 2052818"/>
                <a:gd name="connsiteX8558" fmla="*/ 151831 w 2222569"/>
                <a:gd name="connsiteY8558" fmla="*/ 1628114 h 2052818"/>
                <a:gd name="connsiteX8559" fmla="*/ 156230 w 2222569"/>
                <a:gd name="connsiteY8559" fmla="*/ 1629254 h 2052818"/>
                <a:gd name="connsiteX8560" fmla="*/ 161280 w 2222569"/>
                <a:gd name="connsiteY8560" fmla="*/ 1628114 h 2052818"/>
                <a:gd name="connsiteX8561" fmla="*/ 162095 w 2222569"/>
                <a:gd name="connsiteY8561" fmla="*/ 1625833 h 2052818"/>
                <a:gd name="connsiteX8562" fmla="*/ 155578 w 2222569"/>
                <a:gd name="connsiteY8562" fmla="*/ 1625833 h 2052818"/>
                <a:gd name="connsiteX8563" fmla="*/ 152320 w 2222569"/>
                <a:gd name="connsiteY8563" fmla="*/ 1624041 h 2052818"/>
                <a:gd name="connsiteX8564" fmla="*/ 146781 w 2222569"/>
                <a:gd name="connsiteY8564" fmla="*/ 1625345 h 2052818"/>
                <a:gd name="connsiteX8565" fmla="*/ 143360 w 2222569"/>
                <a:gd name="connsiteY8565" fmla="*/ 1625345 h 2052818"/>
                <a:gd name="connsiteX8566" fmla="*/ 140916 w 2222569"/>
                <a:gd name="connsiteY8566" fmla="*/ 1623390 h 2052818"/>
                <a:gd name="connsiteX8567" fmla="*/ 142057 w 2222569"/>
                <a:gd name="connsiteY8567" fmla="*/ 1618991 h 2052818"/>
                <a:gd name="connsiteX8568" fmla="*/ 146618 w 2222569"/>
                <a:gd name="connsiteY8568" fmla="*/ 1617851 h 2052818"/>
                <a:gd name="connsiteX8569" fmla="*/ 149713 w 2222569"/>
                <a:gd name="connsiteY8569" fmla="*/ 1620131 h 2052818"/>
                <a:gd name="connsiteX8570" fmla="*/ 154764 w 2222569"/>
                <a:gd name="connsiteY8570" fmla="*/ 1620457 h 2052818"/>
                <a:gd name="connsiteX8571" fmla="*/ 157696 w 2222569"/>
                <a:gd name="connsiteY8571" fmla="*/ 1617688 h 2052818"/>
                <a:gd name="connsiteX8572" fmla="*/ 152646 w 2222569"/>
                <a:gd name="connsiteY8572" fmla="*/ 1617688 h 2052818"/>
                <a:gd name="connsiteX8573" fmla="*/ 148899 w 2222569"/>
                <a:gd name="connsiteY8573" fmla="*/ 1615733 h 2052818"/>
                <a:gd name="connsiteX8574" fmla="*/ 142871 w 2222569"/>
                <a:gd name="connsiteY8574" fmla="*/ 1615733 h 2052818"/>
                <a:gd name="connsiteX8575" fmla="*/ 143360 w 2222569"/>
                <a:gd name="connsiteY8575" fmla="*/ 1613778 h 2052818"/>
                <a:gd name="connsiteX8576" fmla="*/ 150528 w 2222569"/>
                <a:gd name="connsiteY8576" fmla="*/ 1611986 h 2052818"/>
                <a:gd name="connsiteX8577" fmla="*/ 153297 w 2222569"/>
                <a:gd name="connsiteY8577" fmla="*/ 1613289 h 2052818"/>
                <a:gd name="connsiteX8578" fmla="*/ 156393 w 2222569"/>
                <a:gd name="connsiteY8578" fmla="*/ 1612312 h 2052818"/>
                <a:gd name="connsiteX8579" fmla="*/ 155415 w 2222569"/>
                <a:gd name="connsiteY8579" fmla="*/ 1609868 h 2052818"/>
                <a:gd name="connsiteX8580" fmla="*/ 155415 w 2222569"/>
                <a:gd name="connsiteY8580" fmla="*/ 1607262 h 2052818"/>
                <a:gd name="connsiteX8581" fmla="*/ 158348 w 2222569"/>
                <a:gd name="connsiteY8581" fmla="*/ 1604492 h 2052818"/>
                <a:gd name="connsiteX8582" fmla="*/ 164864 w 2222569"/>
                <a:gd name="connsiteY8582" fmla="*/ 1604492 h 2052818"/>
                <a:gd name="connsiteX8583" fmla="*/ 169263 w 2222569"/>
                <a:gd name="connsiteY8583" fmla="*/ 1605470 h 2052818"/>
                <a:gd name="connsiteX8584" fmla="*/ 170729 w 2222569"/>
                <a:gd name="connsiteY8584" fmla="*/ 1604003 h 2052818"/>
                <a:gd name="connsiteX8585" fmla="*/ 162746 w 2222569"/>
                <a:gd name="connsiteY8585" fmla="*/ 1602863 h 2052818"/>
                <a:gd name="connsiteX8586" fmla="*/ 160303 w 2222569"/>
                <a:gd name="connsiteY8586" fmla="*/ 1600257 h 2052818"/>
                <a:gd name="connsiteX8587" fmla="*/ 157859 w 2222569"/>
                <a:gd name="connsiteY8587" fmla="*/ 1599442 h 2052818"/>
                <a:gd name="connsiteX8588" fmla="*/ 155252 w 2222569"/>
                <a:gd name="connsiteY8588" fmla="*/ 1603515 h 2052818"/>
                <a:gd name="connsiteX8589" fmla="*/ 150691 w 2222569"/>
                <a:gd name="connsiteY8589" fmla="*/ 1605795 h 2052818"/>
                <a:gd name="connsiteX8590" fmla="*/ 147433 w 2222569"/>
                <a:gd name="connsiteY8590" fmla="*/ 1608239 h 2052818"/>
                <a:gd name="connsiteX8591" fmla="*/ 145804 w 2222569"/>
                <a:gd name="connsiteY8591" fmla="*/ 1606773 h 2052818"/>
                <a:gd name="connsiteX8592" fmla="*/ 146129 w 2222569"/>
                <a:gd name="connsiteY8592" fmla="*/ 1603026 h 2052818"/>
                <a:gd name="connsiteX8593" fmla="*/ 145315 w 2222569"/>
                <a:gd name="connsiteY8593" fmla="*/ 1599279 h 2052818"/>
                <a:gd name="connsiteX8594" fmla="*/ 147107 w 2222569"/>
                <a:gd name="connsiteY8594" fmla="*/ 1595206 h 2052818"/>
                <a:gd name="connsiteX8595" fmla="*/ 153623 w 2222569"/>
                <a:gd name="connsiteY8595" fmla="*/ 1592111 h 2052818"/>
                <a:gd name="connsiteX8596" fmla="*/ 156393 w 2222569"/>
                <a:gd name="connsiteY8596" fmla="*/ 1588690 h 2052818"/>
                <a:gd name="connsiteX8597" fmla="*/ 168122 w 2222569"/>
                <a:gd name="connsiteY8597" fmla="*/ 1580056 h 2052818"/>
                <a:gd name="connsiteX8598" fmla="*/ 171869 w 2222569"/>
                <a:gd name="connsiteY8598" fmla="*/ 1578264 h 2052818"/>
                <a:gd name="connsiteX8599" fmla="*/ 173824 w 2222569"/>
                <a:gd name="connsiteY8599" fmla="*/ 1581359 h 2052818"/>
                <a:gd name="connsiteX8600" fmla="*/ 173824 w 2222569"/>
                <a:gd name="connsiteY8600" fmla="*/ 1588364 h 2052818"/>
                <a:gd name="connsiteX8601" fmla="*/ 176756 w 2222569"/>
                <a:gd name="connsiteY8601" fmla="*/ 1592437 h 2052818"/>
                <a:gd name="connsiteX8602" fmla="*/ 178385 w 2222569"/>
                <a:gd name="connsiteY8602" fmla="*/ 1591134 h 2052818"/>
                <a:gd name="connsiteX8603" fmla="*/ 176756 w 2222569"/>
                <a:gd name="connsiteY8603" fmla="*/ 1584943 h 2052818"/>
                <a:gd name="connsiteX8604" fmla="*/ 176756 w 2222569"/>
                <a:gd name="connsiteY8604" fmla="*/ 1577612 h 2052818"/>
                <a:gd name="connsiteX8605" fmla="*/ 181481 w 2222569"/>
                <a:gd name="connsiteY8605" fmla="*/ 1575657 h 2052818"/>
                <a:gd name="connsiteX8606" fmla="*/ 187183 w 2222569"/>
                <a:gd name="connsiteY8606" fmla="*/ 1575657 h 2052818"/>
                <a:gd name="connsiteX8607" fmla="*/ 182621 w 2222569"/>
                <a:gd name="connsiteY8607" fmla="*/ 1574191 h 2052818"/>
                <a:gd name="connsiteX8608" fmla="*/ 176756 w 2222569"/>
                <a:gd name="connsiteY8608" fmla="*/ 1574191 h 2052818"/>
                <a:gd name="connsiteX8609" fmla="*/ 173335 w 2222569"/>
                <a:gd name="connsiteY8609" fmla="*/ 1575331 h 2052818"/>
                <a:gd name="connsiteX8610" fmla="*/ 170892 w 2222569"/>
                <a:gd name="connsiteY8610" fmla="*/ 1572399 h 2052818"/>
                <a:gd name="connsiteX8611" fmla="*/ 172195 w 2222569"/>
                <a:gd name="connsiteY8611" fmla="*/ 1569141 h 2052818"/>
                <a:gd name="connsiteX8612" fmla="*/ 177408 w 2222569"/>
                <a:gd name="connsiteY8612" fmla="*/ 1567186 h 2052818"/>
                <a:gd name="connsiteX8613" fmla="*/ 182621 w 2222569"/>
                <a:gd name="connsiteY8613" fmla="*/ 1563439 h 2052818"/>
                <a:gd name="connsiteX8614" fmla="*/ 186531 w 2222569"/>
                <a:gd name="connsiteY8614" fmla="*/ 1556923 h 2052818"/>
                <a:gd name="connsiteX8615" fmla="*/ 185228 w 2222569"/>
                <a:gd name="connsiteY8615" fmla="*/ 1553176 h 2052818"/>
                <a:gd name="connsiteX8616" fmla="*/ 183599 w 2222569"/>
                <a:gd name="connsiteY8616" fmla="*/ 1554153 h 2052818"/>
                <a:gd name="connsiteX8617" fmla="*/ 182295 w 2222569"/>
                <a:gd name="connsiteY8617" fmla="*/ 1558552 h 2052818"/>
                <a:gd name="connsiteX8618" fmla="*/ 178060 w 2222569"/>
                <a:gd name="connsiteY8618" fmla="*/ 1562462 h 2052818"/>
                <a:gd name="connsiteX8619" fmla="*/ 172847 w 2222569"/>
                <a:gd name="connsiteY8619" fmla="*/ 1562787 h 2052818"/>
                <a:gd name="connsiteX8620" fmla="*/ 168122 w 2222569"/>
                <a:gd name="connsiteY8620" fmla="*/ 1569304 h 2052818"/>
                <a:gd name="connsiteX8621" fmla="*/ 160954 w 2222569"/>
                <a:gd name="connsiteY8621" fmla="*/ 1574680 h 2052818"/>
                <a:gd name="connsiteX8622" fmla="*/ 153786 w 2222569"/>
                <a:gd name="connsiteY8622" fmla="*/ 1577286 h 2052818"/>
                <a:gd name="connsiteX8623" fmla="*/ 150365 w 2222569"/>
                <a:gd name="connsiteY8623" fmla="*/ 1572888 h 2052818"/>
                <a:gd name="connsiteX8624" fmla="*/ 151505 w 2222569"/>
                <a:gd name="connsiteY8624" fmla="*/ 1570444 h 2052818"/>
                <a:gd name="connsiteX8625" fmla="*/ 155578 w 2222569"/>
                <a:gd name="connsiteY8625" fmla="*/ 1569304 h 2052818"/>
                <a:gd name="connsiteX8626" fmla="*/ 151668 w 2222569"/>
                <a:gd name="connsiteY8626" fmla="*/ 1568326 h 2052818"/>
                <a:gd name="connsiteX8627" fmla="*/ 144500 w 2222569"/>
                <a:gd name="connsiteY8627" fmla="*/ 1570933 h 2052818"/>
                <a:gd name="connsiteX8628" fmla="*/ 141894 w 2222569"/>
                <a:gd name="connsiteY8628" fmla="*/ 1568489 h 2052818"/>
                <a:gd name="connsiteX8629" fmla="*/ 143034 w 2222569"/>
                <a:gd name="connsiteY8629" fmla="*/ 1566046 h 2052818"/>
                <a:gd name="connsiteX8630" fmla="*/ 149225 w 2222569"/>
                <a:gd name="connsiteY8630" fmla="*/ 1561810 h 2052818"/>
                <a:gd name="connsiteX8631" fmla="*/ 153460 w 2222569"/>
                <a:gd name="connsiteY8631" fmla="*/ 1559855 h 2052818"/>
                <a:gd name="connsiteX8632" fmla="*/ 157696 w 2222569"/>
                <a:gd name="connsiteY8632" fmla="*/ 1560507 h 2052818"/>
                <a:gd name="connsiteX8633" fmla="*/ 159325 w 2222569"/>
                <a:gd name="connsiteY8633" fmla="*/ 1558552 h 2052818"/>
                <a:gd name="connsiteX8634" fmla="*/ 159325 w 2222569"/>
                <a:gd name="connsiteY8634" fmla="*/ 1556108 h 2052818"/>
                <a:gd name="connsiteX8635" fmla="*/ 156556 w 2222569"/>
                <a:gd name="connsiteY8635" fmla="*/ 1553827 h 2052818"/>
                <a:gd name="connsiteX8636" fmla="*/ 157533 w 2222569"/>
                <a:gd name="connsiteY8636" fmla="*/ 1551873 h 2052818"/>
                <a:gd name="connsiteX8637" fmla="*/ 159977 w 2222569"/>
                <a:gd name="connsiteY8637" fmla="*/ 1549592 h 2052818"/>
                <a:gd name="connsiteX8638" fmla="*/ 158022 w 2222569"/>
                <a:gd name="connsiteY8638" fmla="*/ 1547637 h 2052818"/>
                <a:gd name="connsiteX8639" fmla="*/ 153949 w 2222569"/>
                <a:gd name="connsiteY8639" fmla="*/ 1549918 h 2052818"/>
                <a:gd name="connsiteX8640" fmla="*/ 151505 w 2222569"/>
                <a:gd name="connsiteY8640" fmla="*/ 1549918 h 2052818"/>
                <a:gd name="connsiteX8641" fmla="*/ 149713 w 2222569"/>
                <a:gd name="connsiteY8641" fmla="*/ 1545845 h 2052818"/>
                <a:gd name="connsiteX8642" fmla="*/ 148899 w 2222569"/>
                <a:gd name="connsiteY8642" fmla="*/ 1535093 h 2052818"/>
                <a:gd name="connsiteX8643" fmla="*/ 146455 w 2222569"/>
                <a:gd name="connsiteY8643" fmla="*/ 1531672 h 2052818"/>
                <a:gd name="connsiteX8644" fmla="*/ 146129 w 2222569"/>
                <a:gd name="connsiteY8644" fmla="*/ 1527599 h 2052818"/>
                <a:gd name="connsiteX8645" fmla="*/ 147921 w 2222569"/>
                <a:gd name="connsiteY8645" fmla="*/ 1523852 h 2052818"/>
                <a:gd name="connsiteX8646" fmla="*/ 154438 w 2222569"/>
                <a:gd name="connsiteY8646" fmla="*/ 1524341 h 2052818"/>
                <a:gd name="connsiteX8647" fmla="*/ 159162 w 2222569"/>
                <a:gd name="connsiteY8647" fmla="*/ 1526622 h 2052818"/>
                <a:gd name="connsiteX8648" fmla="*/ 165353 w 2222569"/>
                <a:gd name="connsiteY8648" fmla="*/ 1526296 h 2052818"/>
                <a:gd name="connsiteX8649" fmla="*/ 170892 w 2222569"/>
                <a:gd name="connsiteY8649" fmla="*/ 1529065 h 2052818"/>
                <a:gd name="connsiteX8650" fmla="*/ 169100 w 2222569"/>
                <a:gd name="connsiteY8650" fmla="*/ 1526296 h 2052818"/>
                <a:gd name="connsiteX8651" fmla="*/ 165027 w 2222569"/>
                <a:gd name="connsiteY8651" fmla="*/ 1524993 h 2052818"/>
                <a:gd name="connsiteX8652" fmla="*/ 160303 w 2222569"/>
                <a:gd name="connsiteY8652" fmla="*/ 1524993 h 2052818"/>
                <a:gd name="connsiteX8653" fmla="*/ 156881 w 2222569"/>
                <a:gd name="connsiteY8653" fmla="*/ 1521246 h 2052818"/>
                <a:gd name="connsiteX8654" fmla="*/ 152646 w 2222569"/>
                <a:gd name="connsiteY8654" fmla="*/ 1517987 h 2052818"/>
                <a:gd name="connsiteX8655" fmla="*/ 152646 w 2222569"/>
                <a:gd name="connsiteY8655" fmla="*/ 1515544 h 2052818"/>
                <a:gd name="connsiteX8656" fmla="*/ 155578 w 2222569"/>
                <a:gd name="connsiteY8656" fmla="*/ 1510331 h 2052818"/>
                <a:gd name="connsiteX8657" fmla="*/ 158348 w 2222569"/>
                <a:gd name="connsiteY8657" fmla="*/ 1509190 h 2052818"/>
                <a:gd name="connsiteX8658" fmla="*/ 160791 w 2222569"/>
                <a:gd name="connsiteY8658" fmla="*/ 1504629 h 2052818"/>
                <a:gd name="connsiteX8659" fmla="*/ 160465 w 2222569"/>
                <a:gd name="connsiteY8659" fmla="*/ 1499253 h 2052818"/>
                <a:gd name="connsiteX8660" fmla="*/ 158511 w 2222569"/>
                <a:gd name="connsiteY8660" fmla="*/ 1499742 h 2052818"/>
                <a:gd name="connsiteX8661" fmla="*/ 153949 w 2222569"/>
                <a:gd name="connsiteY8661" fmla="*/ 1505281 h 2052818"/>
                <a:gd name="connsiteX8662" fmla="*/ 149551 w 2222569"/>
                <a:gd name="connsiteY8662" fmla="*/ 1508376 h 2052818"/>
                <a:gd name="connsiteX8663" fmla="*/ 141731 w 2222569"/>
                <a:gd name="connsiteY8663" fmla="*/ 1510819 h 2052818"/>
                <a:gd name="connsiteX8664" fmla="*/ 137821 w 2222569"/>
                <a:gd name="connsiteY8664" fmla="*/ 1514892 h 2052818"/>
                <a:gd name="connsiteX8665" fmla="*/ 136844 w 2222569"/>
                <a:gd name="connsiteY8665" fmla="*/ 1518802 h 2052818"/>
                <a:gd name="connsiteX8666" fmla="*/ 133911 w 2222569"/>
                <a:gd name="connsiteY8666" fmla="*/ 1517987 h 2052818"/>
                <a:gd name="connsiteX8667" fmla="*/ 130164 w 2222569"/>
                <a:gd name="connsiteY8667" fmla="*/ 1510657 h 2052818"/>
                <a:gd name="connsiteX8668" fmla="*/ 127884 w 2222569"/>
                <a:gd name="connsiteY8668" fmla="*/ 1503163 h 2052818"/>
                <a:gd name="connsiteX8669" fmla="*/ 129024 w 2222569"/>
                <a:gd name="connsiteY8669" fmla="*/ 1490130 h 2052818"/>
                <a:gd name="connsiteX8670" fmla="*/ 130816 w 2222569"/>
                <a:gd name="connsiteY8670" fmla="*/ 1481822 h 2052818"/>
                <a:gd name="connsiteX8671" fmla="*/ 130001 w 2222569"/>
                <a:gd name="connsiteY8671" fmla="*/ 1478563 h 2052818"/>
                <a:gd name="connsiteX8672" fmla="*/ 125603 w 2222569"/>
                <a:gd name="connsiteY8672" fmla="*/ 1478075 h 2052818"/>
                <a:gd name="connsiteX8673" fmla="*/ 125603 w 2222569"/>
                <a:gd name="connsiteY8673" fmla="*/ 1470907 h 2052818"/>
                <a:gd name="connsiteX8674" fmla="*/ 129024 w 2222569"/>
                <a:gd name="connsiteY8674" fmla="*/ 1468463 h 2052818"/>
                <a:gd name="connsiteX8675" fmla="*/ 131468 w 2222569"/>
                <a:gd name="connsiteY8675" fmla="*/ 1470744 h 2052818"/>
                <a:gd name="connsiteX8676" fmla="*/ 134237 w 2222569"/>
                <a:gd name="connsiteY8676" fmla="*/ 1471884 h 2052818"/>
                <a:gd name="connsiteX8677" fmla="*/ 133097 w 2222569"/>
                <a:gd name="connsiteY8677" fmla="*/ 1466508 h 2052818"/>
                <a:gd name="connsiteX8678" fmla="*/ 138147 w 2222569"/>
                <a:gd name="connsiteY8678" fmla="*/ 1462435 h 2052818"/>
                <a:gd name="connsiteX8679" fmla="*/ 140754 w 2222569"/>
                <a:gd name="connsiteY8679" fmla="*/ 1455593 h 2052818"/>
                <a:gd name="connsiteX8680" fmla="*/ 144826 w 2222569"/>
                <a:gd name="connsiteY8680" fmla="*/ 1454616 h 2052818"/>
                <a:gd name="connsiteX8681" fmla="*/ 150365 w 2222569"/>
                <a:gd name="connsiteY8681" fmla="*/ 1455593 h 2052818"/>
                <a:gd name="connsiteX8682" fmla="*/ 153135 w 2222569"/>
                <a:gd name="connsiteY8682" fmla="*/ 1453150 h 2052818"/>
                <a:gd name="connsiteX8683" fmla="*/ 149876 w 2222569"/>
                <a:gd name="connsiteY8683" fmla="*/ 1452824 h 2052818"/>
                <a:gd name="connsiteX8684" fmla="*/ 149388 w 2222569"/>
                <a:gd name="connsiteY8684" fmla="*/ 1451195 h 2052818"/>
                <a:gd name="connsiteX8685" fmla="*/ 156393 w 2222569"/>
                <a:gd name="connsiteY8685" fmla="*/ 1443212 h 2052818"/>
                <a:gd name="connsiteX8686" fmla="*/ 159162 w 2222569"/>
                <a:gd name="connsiteY8686" fmla="*/ 1438814 h 2052818"/>
                <a:gd name="connsiteX8687" fmla="*/ 166167 w 2222569"/>
                <a:gd name="connsiteY8687" fmla="*/ 1434741 h 2052818"/>
                <a:gd name="connsiteX8688" fmla="*/ 166656 w 2222569"/>
                <a:gd name="connsiteY8688" fmla="*/ 1432297 h 2052818"/>
                <a:gd name="connsiteX8689" fmla="*/ 163398 w 2222569"/>
                <a:gd name="connsiteY8689" fmla="*/ 1431483 h 2052818"/>
                <a:gd name="connsiteX8690" fmla="*/ 162420 w 2222569"/>
                <a:gd name="connsiteY8690" fmla="*/ 1428876 h 2052818"/>
                <a:gd name="connsiteX8691" fmla="*/ 156230 w 2222569"/>
                <a:gd name="connsiteY8691" fmla="*/ 1434089 h 2052818"/>
                <a:gd name="connsiteX8692" fmla="*/ 155252 w 2222569"/>
                <a:gd name="connsiteY8692" fmla="*/ 1439628 h 2052818"/>
                <a:gd name="connsiteX8693" fmla="*/ 146781 w 2222569"/>
                <a:gd name="connsiteY8693" fmla="*/ 1449240 h 2052818"/>
                <a:gd name="connsiteX8694" fmla="*/ 145152 w 2222569"/>
                <a:gd name="connsiteY8694" fmla="*/ 1449240 h 2052818"/>
                <a:gd name="connsiteX8695" fmla="*/ 145641 w 2222569"/>
                <a:gd name="connsiteY8695" fmla="*/ 1445819 h 2052818"/>
                <a:gd name="connsiteX8696" fmla="*/ 151017 w 2222569"/>
                <a:gd name="connsiteY8696" fmla="*/ 1438651 h 2052818"/>
                <a:gd name="connsiteX8697" fmla="*/ 151994 w 2222569"/>
                <a:gd name="connsiteY8697" fmla="*/ 1430342 h 2052818"/>
                <a:gd name="connsiteX8698" fmla="*/ 158673 w 2222569"/>
                <a:gd name="connsiteY8698" fmla="*/ 1417798 h 2052818"/>
                <a:gd name="connsiteX8699" fmla="*/ 161117 w 2222569"/>
                <a:gd name="connsiteY8699" fmla="*/ 1412259 h 2052818"/>
                <a:gd name="connsiteX8700" fmla="*/ 159651 w 2222569"/>
                <a:gd name="connsiteY8700" fmla="*/ 1411608 h 2052818"/>
                <a:gd name="connsiteX8701" fmla="*/ 159977 w 2222569"/>
                <a:gd name="connsiteY8701" fmla="*/ 1409979 h 2052818"/>
                <a:gd name="connsiteX8702" fmla="*/ 159977 w 2222569"/>
                <a:gd name="connsiteY8702" fmla="*/ 1406069 h 2052818"/>
                <a:gd name="connsiteX8703" fmla="*/ 161769 w 2222569"/>
                <a:gd name="connsiteY8703" fmla="*/ 1405254 h 2052818"/>
                <a:gd name="connsiteX8704" fmla="*/ 161769 w 2222569"/>
                <a:gd name="connsiteY8704" fmla="*/ 1402811 h 2052818"/>
                <a:gd name="connsiteX8705" fmla="*/ 162746 w 2222569"/>
                <a:gd name="connsiteY8705" fmla="*/ 1400856 h 2052818"/>
                <a:gd name="connsiteX8706" fmla="*/ 161606 w 2222569"/>
                <a:gd name="connsiteY8706" fmla="*/ 1398086 h 2052818"/>
                <a:gd name="connsiteX8707" fmla="*/ 158999 w 2222569"/>
                <a:gd name="connsiteY8707" fmla="*/ 1396783 h 2052818"/>
                <a:gd name="connsiteX8708" fmla="*/ 158673 w 2222569"/>
                <a:gd name="connsiteY8708" fmla="*/ 1391733 h 2052818"/>
                <a:gd name="connsiteX8709" fmla="*/ 156067 w 2222569"/>
                <a:gd name="connsiteY8709" fmla="*/ 1386683 h 2052818"/>
                <a:gd name="connsiteX8710" fmla="*/ 150691 w 2222569"/>
                <a:gd name="connsiteY8710" fmla="*/ 1382936 h 2052818"/>
                <a:gd name="connsiteX8711" fmla="*/ 147433 w 2222569"/>
                <a:gd name="connsiteY8711" fmla="*/ 1380492 h 2052818"/>
                <a:gd name="connsiteX8712" fmla="*/ 146292 w 2222569"/>
                <a:gd name="connsiteY8712" fmla="*/ 1377071 h 2052818"/>
                <a:gd name="connsiteX8713" fmla="*/ 141568 w 2222569"/>
                <a:gd name="connsiteY8713" fmla="*/ 1370555 h 2052818"/>
                <a:gd name="connsiteX8714" fmla="*/ 137984 w 2222569"/>
                <a:gd name="connsiteY8714" fmla="*/ 1369089 h 2052818"/>
                <a:gd name="connsiteX8715" fmla="*/ 133585 w 2222569"/>
                <a:gd name="connsiteY8715" fmla="*/ 1369089 h 2052818"/>
                <a:gd name="connsiteX8716" fmla="*/ 133585 w 2222569"/>
                <a:gd name="connsiteY8716" fmla="*/ 1367134 h 2052818"/>
                <a:gd name="connsiteX8717" fmla="*/ 135215 w 2222569"/>
                <a:gd name="connsiteY8717" fmla="*/ 1364690 h 2052818"/>
                <a:gd name="connsiteX8718" fmla="*/ 134563 w 2222569"/>
                <a:gd name="connsiteY8718" fmla="*/ 1360943 h 2052818"/>
                <a:gd name="connsiteX8719" fmla="*/ 132282 w 2222569"/>
                <a:gd name="connsiteY8719" fmla="*/ 1358825 h 2052818"/>
                <a:gd name="connsiteX8720" fmla="*/ 131142 w 2222569"/>
                <a:gd name="connsiteY8720" fmla="*/ 1355893 h 2052818"/>
                <a:gd name="connsiteX8721" fmla="*/ 134074 w 2222569"/>
                <a:gd name="connsiteY8721" fmla="*/ 1353449 h 2052818"/>
                <a:gd name="connsiteX8722" fmla="*/ 135866 w 2222569"/>
                <a:gd name="connsiteY8722" fmla="*/ 1352798 h 2052818"/>
                <a:gd name="connsiteX8723" fmla="*/ 135215 w 2222569"/>
                <a:gd name="connsiteY8723" fmla="*/ 1350517 h 2052818"/>
                <a:gd name="connsiteX8724" fmla="*/ 132282 w 2222569"/>
                <a:gd name="connsiteY8724" fmla="*/ 1348562 h 2052818"/>
                <a:gd name="connsiteX8725" fmla="*/ 129676 w 2222569"/>
                <a:gd name="connsiteY8725" fmla="*/ 1348562 h 2052818"/>
                <a:gd name="connsiteX8726" fmla="*/ 129676 w 2222569"/>
                <a:gd name="connsiteY8726" fmla="*/ 1345467 h 2052818"/>
                <a:gd name="connsiteX8727" fmla="*/ 133911 w 2222569"/>
                <a:gd name="connsiteY8727" fmla="*/ 1342534 h 2052818"/>
                <a:gd name="connsiteX8728" fmla="*/ 132934 w 2222569"/>
                <a:gd name="connsiteY8728" fmla="*/ 1323800 h 2052818"/>
                <a:gd name="connsiteX8729" fmla="*/ 132934 w 2222569"/>
                <a:gd name="connsiteY8729" fmla="*/ 1305717 h 2052818"/>
                <a:gd name="connsiteX8730" fmla="*/ 134889 w 2222569"/>
                <a:gd name="connsiteY8730" fmla="*/ 1291055 h 2052818"/>
                <a:gd name="connsiteX8731" fmla="*/ 133423 w 2222569"/>
                <a:gd name="connsiteY8731" fmla="*/ 1286657 h 2052818"/>
                <a:gd name="connsiteX8732" fmla="*/ 132934 w 2222569"/>
                <a:gd name="connsiteY8732" fmla="*/ 1282095 h 2052818"/>
                <a:gd name="connsiteX8733" fmla="*/ 135377 w 2222569"/>
                <a:gd name="connsiteY8733" fmla="*/ 1277371 h 2052818"/>
                <a:gd name="connsiteX8734" fmla="*/ 134563 w 2222569"/>
                <a:gd name="connsiteY8734" fmla="*/ 1272809 h 2052818"/>
                <a:gd name="connsiteX8735" fmla="*/ 132119 w 2222569"/>
                <a:gd name="connsiteY8735" fmla="*/ 1268736 h 2052818"/>
                <a:gd name="connsiteX8736" fmla="*/ 131142 w 2222569"/>
                <a:gd name="connsiteY8736" fmla="*/ 1259451 h 2052818"/>
                <a:gd name="connsiteX8737" fmla="*/ 125440 w 2222569"/>
                <a:gd name="connsiteY8737" fmla="*/ 1252934 h 2052818"/>
                <a:gd name="connsiteX8738" fmla="*/ 123648 w 2222569"/>
                <a:gd name="connsiteY8738" fmla="*/ 1243486 h 2052818"/>
                <a:gd name="connsiteX8739" fmla="*/ 124951 w 2222569"/>
                <a:gd name="connsiteY8739" fmla="*/ 1239087 h 2052818"/>
                <a:gd name="connsiteX8740" fmla="*/ 119575 w 2222569"/>
                <a:gd name="connsiteY8740" fmla="*/ 1224425 h 2052818"/>
                <a:gd name="connsiteX8741" fmla="*/ 120716 w 2222569"/>
                <a:gd name="connsiteY8741" fmla="*/ 1220841 h 2052818"/>
                <a:gd name="connsiteX8742" fmla="*/ 124625 w 2222569"/>
                <a:gd name="connsiteY8742" fmla="*/ 1213999 h 2052818"/>
                <a:gd name="connsiteX8743" fmla="*/ 123322 w 2222569"/>
                <a:gd name="connsiteY8743" fmla="*/ 1210089 h 2052818"/>
                <a:gd name="connsiteX8744" fmla="*/ 123322 w 2222569"/>
                <a:gd name="connsiteY8744" fmla="*/ 1205365 h 2052818"/>
                <a:gd name="connsiteX8745" fmla="*/ 117783 w 2222569"/>
                <a:gd name="connsiteY8745" fmla="*/ 1201129 h 2052818"/>
                <a:gd name="connsiteX8746" fmla="*/ 109964 w 2222569"/>
                <a:gd name="connsiteY8746" fmla="*/ 1201618 h 2052818"/>
                <a:gd name="connsiteX8747" fmla="*/ 101167 w 2222569"/>
                <a:gd name="connsiteY8747" fmla="*/ 1204224 h 2052818"/>
                <a:gd name="connsiteX8748" fmla="*/ 99212 w 2222569"/>
                <a:gd name="connsiteY8748" fmla="*/ 1205528 h 2052818"/>
                <a:gd name="connsiteX8749" fmla="*/ 89926 w 2222569"/>
                <a:gd name="connsiteY8749" fmla="*/ 1208460 h 2052818"/>
                <a:gd name="connsiteX8750" fmla="*/ 84224 w 2222569"/>
                <a:gd name="connsiteY8750" fmla="*/ 1214162 h 2052818"/>
                <a:gd name="connsiteX8751" fmla="*/ 77056 w 2222569"/>
                <a:gd name="connsiteY8751" fmla="*/ 1224914 h 2052818"/>
                <a:gd name="connsiteX8752" fmla="*/ 71028 w 2222569"/>
                <a:gd name="connsiteY8752" fmla="*/ 1228172 h 2052818"/>
                <a:gd name="connsiteX8753" fmla="*/ 62557 w 2222569"/>
                <a:gd name="connsiteY8753" fmla="*/ 1229312 h 2052818"/>
                <a:gd name="connsiteX8754" fmla="*/ 52783 w 2222569"/>
                <a:gd name="connsiteY8754" fmla="*/ 1230942 h 2052818"/>
                <a:gd name="connsiteX8755" fmla="*/ 50991 w 2222569"/>
                <a:gd name="connsiteY8755" fmla="*/ 1231267 h 2052818"/>
                <a:gd name="connsiteX8756" fmla="*/ 50991 w 2222569"/>
                <a:gd name="connsiteY8756" fmla="*/ 1227195 h 2052818"/>
                <a:gd name="connsiteX8757" fmla="*/ 55715 w 2222569"/>
                <a:gd name="connsiteY8757" fmla="*/ 1220353 h 2052818"/>
                <a:gd name="connsiteX8758" fmla="*/ 53108 w 2222569"/>
                <a:gd name="connsiteY8758" fmla="*/ 1213673 h 2052818"/>
                <a:gd name="connsiteX8759" fmla="*/ 45777 w 2222569"/>
                <a:gd name="connsiteY8759" fmla="*/ 1184349 h 2052818"/>
                <a:gd name="connsiteX8760" fmla="*/ 41216 w 2222569"/>
                <a:gd name="connsiteY8760" fmla="*/ 1171154 h 2052818"/>
                <a:gd name="connsiteX8761" fmla="*/ 39261 w 2222569"/>
                <a:gd name="connsiteY8761" fmla="*/ 1164963 h 2052818"/>
                <a:gd name="connsiteX8762" fmla="*/ 44637 w 2222569"/>
                <a:gd name="connsiteY8762" fmla="*/ 1153723 h 2052818"/>
                <a:gd name="connsiteX8763" fmla="*/ 31930 w 2222569"/>
                <a:gd name="connsiteY8763" fmla="*/ 1152094 h 2052818"/>
                <a:gd name="connsiteX8764" fmla="*/ 22156 w 2222569"/>
                <a:gd name="connsiteY8764" fmla="*/ 1157470 h 2052818"/>
                <a:gd name="connsiteX8765" fmla="*/ 16780 w 2222569"/>
                <a:gd name="connsiteY8765" fmla="*/ 1154700 h 2052818"/>
                <a:gd name="connsiteX8766" fmla="*/ 0 w 2222569"/>
                <a:gd name="connsiteY8766" fmla="*/ 1154700 h 2052818"/>
                <a:gd name="connsiteX8767" fmla="*/ 296332 w 2222569"/>
                <a:gd name="connsiteY8767" fmla="*/ 613842 h 2052818"/>
                <a:gd name="connsiteX8768" fmla="*/ 297472 w 2222569"/>
                <a:gd name="connsiteY8768" fmla="*/ 617100 h 2052818"/>
                <a:gd name="connsiteX8769" fmla="*/ 300404 w 2222569"/>
                <a:gd name="connsiteY8769" fmla="*/ 617100 h 2052818"/>
                <a:gd name="connsiteX8770" fmla="*/ 314740 w 2222569"/>
                <a:gd name="connsiteY8770" fmla="*/ 627526 h 2052818"/>
                <a:gd name="connsiteX8771" fmla="*/ 319139 w 2222569"/>
                <a:gd name="connsiteY8771" fmla="*/ 627526 h 2052818"/>
                <a:gd name="connsiteX8772" fmla="*/ 323700 w 2222569"/>
                <a:gd name="connsiteY8772" fmla="*/ 631762 h 2052818"/>
                <a:gd name="connsiteX8773" fmla="*/ 325492 w 2222569"/>
                <a:gd name="connsiteY8773" fmla="*/ 635509 h 2052818"/>
                <a:gd name="connsiteX8774" fmla="*/ 327447 w 2222569"/>
                <a:gd name="connsiteY8774" fmla="*/ 635509 h 2052818"/>
                <a:gd name="connsiteX8775" fmla="*/ 332498 w 2222569"/>
                <a:gd name="connsiteY8775" fmla="*/ 639256 h 2052818"/>
                <a:gd name="connsiteX8776" fmla="*/ 332498 w 2222569"/>
                <a:gd name="connsiteY8776" fmla="*/ 643654 h 2052818"/>
                <a:gd name="connsiteX8777" fmla="*/ 338199 w 2222569"/>
                <a:gd name="connsiteY8777" fmla="*/ 649682 h 2052818"/>
                <a:gd name="connsiteX8778" fmla="*/ 337059 w 2222569"/>
                <a:gd name="connsiteY8778" fmla="*/ 652614 h 2052818"/>
                <a:gd name="connsiteX8779" fmla="*/ 337874 w 2222569"/>
                <a:gd name="connsiteY8779" fmla="*/ 654243 h 2052818"/>
                <a:gd name="connsiteX8780" fmla="*/ 335430 w 2222569"/>
                <a:gd name="connsiteY8780" fmla="*/ 659945 h 2052818"/>
                <a:gd name="connsiteX8781" fmla="*/ 337385 w 2222569"/>
                <a:gd name="connsiteY8781" fmla="*/ 665321 h 2052818"/>
                <a:gd name="connsiteX8782" fmla="*/ 339829 w 2222569"/>
                <a:gd name="connsiteY8782" fmla="*/ 666461 h 2052818"/>
                <a:gd name="connsiteX8783" fmla="*/ 341620 w 2222569"/>
                <a:gd name="connsiteY8783" fmla="*/ 664018 h 2052818"/>
                <a:gd name="connsiteX8784" fmla="*/ 343087 w 2222569"/>
                <a:gd name="connsiteY8784" fmla="*/ 664995 h 2052818"/>
                <a:gd name="connsiteX8785" fmla="*/ 343087 w 2222569"/>
                <a:gd name="connsiteY8785" fmla="*/ 672978 h 2052818"/>
                <a:gd name="connsiteX8786" fmla="*/ 345042 w 2222569"/>
                <a:gd name="connsiteY8786" fmla="*/ 680472 h 2052818"/>
                <a:gd name="connsiteX8787" fmla="*/ 353513 w 2222569"/>
                <a:gd name="connsiteY8787" fmla="*/ 689269 h 2052818"/>
                <a:gd name="connsiteX8788" fmla="*/ 357911 w 2222569"/>
                <a:gd name="connsiteY8788" fmla="*/ 692690 h 2052818"/>
                <a:gd name="connsiteX8789" fmla="*/ 359703 w 2222569"/>
                <a:gd name="connsiteY8789" fmla="*/ 691224 h 2052818"/>
                <a:gd name="connsiteX8790" fmla="*/ 362962 w 2222569"/>
                <a:gd name="connsiteY8790" fmla="*/ 693178 h 2052818"/>
                <a:gd name="connsiteX8791" fmla="*/ 363613 w 2222569"/>
                <a:gd name="connsiteY8791" fmla="*/ 697414 h 2052818"/>
                <a:gd name="connsiteX8792" fmla="*/ 366871 w 2222569"/>
                <a:gd name="connsiteY8792" fmla="*/ 699043 h 2052818"/>
                <a:gd name="connsiteX8793" fmla="*/ 368175 w 2222569"/>
                <a:gd name="connsiteY8793" fmla="*/ 698717 h 2052818"/>
                <a:gd name="connsiteX8794" fmla="*/ 373551 w 2222569"/>
                <a:gd name="connsiteY8794" fmla="*/ 706537 h 2052818"/>
                <a:gd name="connsiteX8795" fmla="*/ 374039 w 2222569"/>
                <a:gd name="connsiteY8795" fmla="*/ 713216 h 2052818"/>
                <a:gd name="connsiteX8796" fmla="*/ 376972 w 2222569"/>
                <a:gd name="connsiteY8796" fmla="*/ 714520 h 2052818"/>
                <a:gd name="connsiteX8797" fmla="*/ 379252 w 2222569"/>
                <a:gd name="connsiteY8797" fmla="*/ 718592 h 2052818"/>
                <a:gd name="connsiteX8798" fmla="*/ 382999 w 2222569"/>
                <a:gd name="connsiteY8798" fmla="*/ 718592 h 2052818"/>
                <a:gd name="connsiteX8799" fmla="*/ 388701 w 2222569"/>
                <a:gd name="connsiteY8799" fmla="*/ 726575 h 2052818"/>
                <a:gd name="connsiteX8800" fmla="*/ 388701 w 2222569"/>
                <a:gd name="connsiteY8800" fmla="*/ 729833 h 2052818"/>
                <a:gd name="connsiteX8801" fmla="*/ 391308 w 2222569"/>
                <a:gd name="connsiteY8801" fmla="*/ 731136 h 2052818"/>
                <a:gd name="connsiteX8802" fmla="*/ 390330 w 2222569"/>
                <a:gd name="connsiteY8802" fmla="*/ 735046 h 2052818"/>
                <a:gd name="connsiteX8803" fmla="*/ 385280 w 2222569"/>
                <a:gd name="connsiteY8803" fmla="*/ 740911 h 2052818"/>
                <a:gd name="connsiteX8804" fmla="*/ 382185 w 2222569"/>
                <a:gd name="connsiteY8804" fmla="*/ 745472 h 2052818"/>
                <a:gd name="connsiteX8805" fmla="*/ 392937 w 2222569"/>
                <a:gd name="connsiteY8805" fmla="*/ 736186 h 2052818"/>
                <a:gd name="connsiteX8806" fmla="*/ 396847 w 2222569"/>
                <a:gd name="connsiteY8806" fmla="*/ 734232 h 2052818"/>
                <a:gd name="connsiteX8807" fmla="*/ 399290 w 2222569"/>
                <a:gd name="connsiteY8807" fmla="*/ 735209 h 2052818"/>
                <a:gd name="connsiteX8808" fmla="*/ 400594 w 2222569"/>
                <a:gd name="connsiteY8808" fmla="*/ 728367 h 2052818"/>
                <a:gd name="connsiteX8809" fmla="*/ 399616 w 2222569"/>
                <a:gd name="connsiteY8809" fmla="*/ 714194 h 2052818"/>
                <a:gd name="connsiteX8810" fmla="*/ 400105 w 2222569"/>
                <a:gd name="connsiteY8810" fmla="*/ 705885 h 2052818"/>
                <a:gd name="connsiteX8811" fmla="*/ 402874 w 2222569"/>
                <a:gd name="connsiteY8811" fmla="*/ 701161 h 2052818"/>
                <a:gd name="connsiteX8812" fmla="*/ 411346 w 2222569"/>
                <a:gd name="connsiteY8812" fmla="*/ 698392 h 2052818"/>
                <a:gd name="connsiteX8813" fmla="*/ 418025 w 2222569"/>
                <a:gd name="connsiteY8813" fmla="*/ 694645 h 2052818"/>
                <a:gd name="connsiteX8814" fmla="*/ 422098 w 2222569"/>
                <a:gd name="connsiteY8814" fmla="*/ 690898 h 2052818"/>
                <a:gd name="connsiteX8815" fmla="*/ 426822 w 2222569"/>
                <a:gd name="connsiteY8815" fmla="*/ 689594 h 2052818"/>
                <a:gd name="connsiteX8816" fmla="*/ 429266 w 2222569"/>
                <a:gd name="connsiteY8816" fmla="*/ 686336 h 2052818"/>
                <a:gd name="connsiteX8817" fmla="*/ 432687 w 2222569"/>
                <a:gd name="connsiteY8817" fmla="*/ 685847 h 2052818"/>
                <a:gd name="connsiteX8818" fmla="*/ 436434 w 2222569"/>
                <a:gd name="connsiteY8818" fmla="*/ 684056 h 2052818"/>
                <a:gd name="connsiteX8819" fmla="*/ 442298 w 2222569"/>
                <a:gd name="connsiteY8819" fmla="*/ 684056 h 2052818"/>
                <a:gd name="connsiteX8820" fmla="*/ 443602 w 2222569"/>
                <a:gd name="connsiteY8820" fmla="*/ 684870 h 2052818"/>
                <a:gd name="connsiteX8821" fmla="*/ 448815 w 2222569"/>
                <a:gd name="connsiteY8821" fmla="*/ 684870 h 2052818"/>
                <a:gd name="connsiteX8822" fmla="*/ 451095 w 2222569"/>
                <a:gd name="connsiteY8822" fmla="*/ 686662 h 2052818"/>
                <a:gd name="connsiteX8823" fmla="*/ 457612 w 2222569"/>
                <a:gd name="connsiteY8823" fmla="*/ 679494 h 2052818"/>
                <a:gd name="connsiteX8824" fmla="*/ 460055 w 2222569"/>
                <a:gd name="connsiteY8824" fmla="*/ 673955 h 2052818"/>
                <a:gd name="connsiteX8825" fmla="*/ 463314 w 2222569"/>
                <a:gd name="connsiteY8825" fmla="*/ 673466 h 2052818"/>
                <a:gd name="connsiteX8826" fmla="*/ 467712 w 2222569"/>
                <a:gd name="connsiteY8826" fmla="*/ 674607 h 2052818"/>
                <a:gd name="connsiteX8827" fmla="*/ 470482 w 2222569"/>
                <a:gd name="connsiteY8827" fmla="*/ 672815 h 2052818"/>
                <a:gd name="connsiteX8828" fmla="*/ 469830 w 2222569"/>
                <a:gd name="connsiteY8828" fmla="*/ 670860 h 2052818"/>
                <a:gd name="connsiteX8829" fmla="*/ 473577 w 2222569"/>
                <a:gd name="connsiteY8829" fmla="*/ 670860 h 2052818"/>
                <a:gd name="connsiteX8830" fmla="*/ 476020 w 2222569"/>
                <a:gd name="connsiteY8830" fmla="*/ 673466 h 2052818"/>
                <a:gd name="connsiteX8831" fmla="*/ 490519 w 2222569"/>
                <a:gd name="connsiteY8831" fmla="*/ 672163 h 2052818"/>
                <a:gd name="connsiteX8832" fmla="*/ 502575 w 2222569"/>
                <a:gd name="connsiteY8832" fmla="*/ 668253 h 2052818"/>
                <a:gd name="connsiteX8833" fmla="*/ 506973 w 2222569"/>
                <a:gd name="connsiteY8833" fmla="*/ 665321 h 2052818"/>
                <a:gd name="connsiteX8834" fmla="*/ 509417 w 2222569"/>
                <a:gd name="connsiteY8834" fmla="*/ 665321 h 2052818"/>
                <a:gd name="connsiteX8835" fmla="*/ 512023 w 2222569"/>
                <a:gd name="connsiteY8835" fmla="*/ 669231 h 2052818"/>
                <a:gd name="connsiteX8836" fmla="*/ 515282 w 2222569"/>
                <a:gd name="connsiteY8836" fmla="*/ 667439 h 2052818"/>
                <a:gd name="connsiteX8837" fmla="*/ 517074 w 2222569"/>
                <a:gd name="connsiteY8837" fmla="*/ 662226 h 2052818"/>
                <a:gd name="connsiteX8838" fmla="*/ 525545 w 2222569"/>
                <a:gd name="connsiteY8838" fmla="*/ 658479 h 2052818"/>
                <a:gd name="connsiteX8839" fmla="*/ 530921 w 2222569"/>
                <a:gd name="connsiteY8839" fmla="*/ 658479 h 2052818"/>
                <a:gd name="connsiteX8840" fmla="*/ 532387 w 2222569"/>
                <a:gd name="connsiteY8840" fmla="*/ 660434 h 2052818"/>
                <a:gd name="connsiteX8841" fmla="*/ 534994 w 2222569"/>
                <a:gd name="connsiteY8841" fmla="*/ 660434 h 2052818"/>
                <a:gd name="connsiteX8842" fmla="*/ 536297 w 2222569"/>
                <a:gd name="connsiteY8842" fmla="*/ 663203 h 2052818"/>
                <a:gd name="connsiteX8843" fmla="*/ 540533 w 2222569"/>
                <a:gd name="connsiteY8843" fmla="*/ 662226 h 2052818"/>
                <a:gd name="connsiteX8844" fmla="*/ 540533 w 2222569"/>
                <a:gd name="connsiteY8844" fmla="*/ 658805 h 2052818"/>
                <a:gd name="connsiteX8845" fmla="*/ 542324 w 2222569"/>
                <a:gd name="connsiteY8845" fmla="*/ 656198 h 2052818"/>
                <a:gd name="connsiteX8846" fmla="*/ 546071 w 2222569"/>
                <a:gd name="connsiteY8846" fmla="*/ 658479 h 2052818"/>
                <a:gd name="connsiteX8847" fmla="*/ 546071 w 2222569"/>
                <a:gd name="connsiteY8847" fmla="*/ 663203 h 2052818"/>
                <a:gd name="connsiteX8848" fmla="*/ 548678 w 2222569"/>
                <a:gd name="connsiteY8848" fmla="*/ 665647 h 2052818"/>
                <a:gd name="connsiteX8849" fmla="*/ 546723 w 2222569"/>
                <a:gd name="connsiteY8849" fmla="*/ 668090 h 2052818"/>
                <a:gd name="connsiteX8850" fmla="*/ 544279 w 2222569"/>
                <a:gd name="connsiteY8850" fmla="*/ 668090 h 2052818"/>
                <a:gd name="connsiteX8851" fmla="*/ 542976 w 2222569"/>
                <a:gd name="connsiteY8851" fmla="*/ 672815 h 2052818"/>
                <a:gd name="connsiteX8852" fmla="*/ 531573 w 2222569"/>
                <a:gd name="connsiteY8852" fmla="*/ 675910 h 2052818"/>
                <a:gd name="connsiteX8853" fmla="*/ 521635 w 2222569"/>
                <a:gd name="connsiteY8853" fmla="*/ 678842 h 2052818"/>
                <a:gd name="connsiteX8854" fmla="*/ 518377 w 2222569"/>
                <a:gd name="connsiteY8854" fmla="*/ 683241 h 2052818"/>
                <a:gd name="connsiteX8855" fmla="*/ 512349 w 2222569"/>
                <a:gd name="connsiteY8855" fmla="*/ 684870 h 2052818"/>
                <a:gd name="connsiteX8856" fmla="*/ 508277 w 2222569"/>
                <a:gd name="connsiteY8856" fmla="*/ 684381 h 2052818"/>
                <a:gd name="connsiteX8857" fmla="*/ 504530 w 2222569"/>
                <a:gd name="connsiteY8857" fmla="*/ 687151 h 2052818"/>
                <a:gd name="connsiteX8858" fmla="*/ 501923 w 2222569"/>
                <a:gd name="connsiteY8858" fmla="*/ 687151 h 2052818"/>
                <a:gd name="connsiteX8859" fmla="*/ 500131 w 2222569"/>
                <a:gd name="connsiteY8859" fmla="*/ 683730 h 2052818"/>
                <a:gd name="connsiteX8860" fmla="*/ 492149 w 2222569"/>
                <a:gd name="connsiteY8860" fmla="*/ 687477 h 2052818"/>
                <a:gd name="connsiteX8861" fmla="*/ 484329 w 2222569"/>
                <a:gd name="connsiteY8861" fmla="*/ 687151 h 2052818"/>
                <a:gd name="connsiteX8862" fmla="*/ 482863 w 2222569"/>
                <a:gd name="connsiteY8862" fmla="*/ 688943 h 2052818"/>
                <a:gd name="connsiteX8863" fmla="*/ 473903 w 2222569"/>
                <a:gd name="connsiteY8863" fmla="*/ 688128 h 2052818"/>
                <a:gd name="connsiteX8864" fmla="*/ 468364 w 2222569"/>
                <a:gd name="connsiteY8864" fmla="*/ 690409 h 2052818"/>
                <a:gd name="connsiteX8865" fmla="*/ 464454 w 2222569"/>
                <a:gd name="connsiteY8865" fmla="*/ 696274 h 2052818"/>
                <a:gd name="connsiteX8866" fmla="*/ 452724 w 2222569"/>
                <a:gd name="connsiteY8866" fmla="*/ 701487 h 2052818"/>
                <a:gd name="connsiteX8867" fmla="*/ 451910 w 2222569"/>
                <a:gd name="connsiteY8867" fmla="*/ 699206 h 2052818"/>
                <a:gd name="connsiteX8868" fmla="*/ 445882 w 2222569"/>
                <a:gd name="connsiteY8868" fmla="*/ 703605 h 2052818"/>
                <a:gd name="connsiteX8869" fmla="*/ 444905 w 2222569"/>
                <a:gd name="connsiteY8869" fmla="*/ 707351 h 2052818"/>
                <a:gd name="connsiteX8870" fmla="*/ 440995 w 2222569"/>
                <a:gd name="connsiteY8870" fmla="*/ 709144 h 2052818"/>
                <a:gd name="connsiteX8871" fmla="*/ 438388 w 2222569"/>
                <a:gd name="connsiteY8871" fmla="*/ 706537 h 2052818"/>
                <a:gd name="connsiteX8872" fmla="*/ 433664 w 2222569"/>
                <a:gd name="connsiteY8872" fmla="*/ 710610 h 2052818"/>
                <a:gd name="connsiteX8873" fmla="*/ 430569 w 2222569"/>
                <a:gd name="connsiteY8873" fmla="*/ 715660 h 2052818"/>
                <a:gd name="connsiteX8874" fmla="*/ 426985 w 2222569"/>
                <a:gd name="connsiteY8874" fmla="*/ 715660 h 2052818"/>
                <a:gd name="connsiteX8875" fmla="*/ 424378 w 2222569"/>
                <a:gd name="connsiteY8875" fmla="*/ 720058 h 2052818"/>
                <a:gd name="connsiteX8876" fmla="*/ 428777 w 2222569"/>
                <a:gd name="connsiteY8876" fmla="*/ 725760 h 2052818"/>
                <a:gd name="connsiteX8877" fmla="*/ 433827 w 2222569"/>
                <a:gd name="connsiteY8877" fmla="*/ 728367 h 2052818"/>
                <a:gd name="connsiteX8878" fmla="*/ 428777 w 2222569"/>
                <a:gd name="connsiteY8878" fmla="*/ 722502 h 2052818"/>
                <a:gd name="connsiteX8879" fmla="*/ 429591 w 2222569"/>
                <a:gd name="connsiteY8879" fmla="*/ 720710 h 2052818"/>
                <a:gd name="connsiteX8880" fmla="*/ 434316 w 2222569"/>
                <a:gd name="connsiteY8880" fmla="*/ 722176 h 2052818"/>
                <a:gd name="connsiteX8881" fmla="*/ 436922 w 2222569"/>
                <a:gd name="connsiteY8881" fmla="*/ 720384 h 2052818"/>
                <a:gd name="connsiteX8882" fmla="*/ 441321 w 2222569"/>
                <a:gd name="connsiteY8882" fmla="*/ 721850 h 2052818"/>
                <a:gd name="connsiteX8883" fmla="*/ 439529 w 2222569"/>
                <a:gd name="connsiteY8883" fmla="*/ 717452 h 2052818"/>
                <a:gd name="connsiteX8884" fmla="*/ 445719 w 2222569"/>
                <a:gd name="connsiteY8884" fmla="*/ 710773 h 2052818"/>
                <a:gd name="connsiteX8885" fmla="*/ 454191 w 2222569"/>
                <a:gd name="connsiteY8885" fmla="*/ 708492 h 2052818"/>
                <a:gd name="connsiteX8886" fmla="*/ 458915 w 2222569"/>
                <a:gd name="connsiteY8886" fmla="*/ 708492 h 2052818"/>
                <a:gd name="connsiteX8887" fmla="*/ 472274 w 2222569"/>
                <a:gd name="connsiteY8887" fmla="*/ 700021 h 2052818"/>
                <a:gd name="connsiteX8888" fmla="*/ 473414 w 2222569"/>
                <a:gd name="connsiteY8888" fmla="*/ 695948 h 2052818"/>
                <a:gd name="connsiteX8889" fmla="*/ 477487 w 2222569"/>
                <a:gd name="connsiteY8889" fmla="*/ 694808 h 2052818"/>
                <a:gd name="connsiteX8890" fmla="*/ 480745 w 2222569"/>
                <a:gd name="connsiteY8890" fmla="*/ 698554 h 2052818"/>
                <a:gd name="connsiteX8891" fmla="*/ 484003 w 2222569"/>
                <a:gd name="connsiteY8891" fmla="*/ 695948 h 2052818"/>
                <a:gd name="connsiteX8892" fmla="*/ 487750 w 2222569"/>
                <a:gd name="connsiteY8892" fmla="*/ 695296 h 2052818"/>
                <a:gd name="connsiteX8893" fmla="*/ 488565 w 2222569"/>
                <a:gd name="connsiteY8893" fmla="*/ 697577 h 2052818"/>
                <a:gd name="connsiteX8894" fmla="*/ 496384 w 2222569"/>
                <a:gd name="connsiteY8894" fmla="*/ 692364 h 2052818"/>
                <a:gd name="connsiteX8895" fmla="*/ 498176 w 2222569"/>
                <a:gd name="connsiteY8895" fmla="*/ 695296 h 2052818"/>
                <a:gd name="connsiteX8896" fmla="*/ 491986 w 2222569"/>
                <a:gd name="connsiteY8896" fmla="*/ 703442 h 2052818"/>
                <a:gd name="connsiteX8897" fmla="*/ 492637 w 2222569"/>
                <a:gd name="connsiteY8897" fmla="*/ 707514 h 2052818"/>
                <a:gd name="connsiteX8898" fmla="*/ 498176 w 2222569"/>
                <a:gd name="connsiteY8898" fmla="*/ 698717 h 2052818"/>
                <a:gd name="connsiteX8899" fmla="*/ 506322 w 2222569"/>
                <a:gd name="connsiteY8899" fmla="*/ 696925 h 2052818"/>
                <a:gd name="connsiteX8900" fmla="*/ 521146 w 2222569"/>
                <a:gd name="connsiteY8900" fmla="*/ 685847 h 2052818"/>
                <a:gd name="connsiteX8901" fmla="*/ 528966 w 2222569"/>
                <a:gd name="connsiteY8901" fmla="*/ 685847 h 2052818"/>
                <a:gd name="connsiteX8902" fmla="*/ 534831 w 2222569"/>
                <a:gd name="connsiteY8902" fmla="*/ 682101 h 2052818"/>
                <a:gd name="connsiteX8903" fmla="*/ 544116 w 2222569"/>
                <a:gd name="connsiteY8903" fmla="*/ 681775 h 2052818"/>
                <a:gd name="connsiteX8904" fmla="*/ 548515 w 2222569"/>
                <a:gd name="connsiteY8904" fmla="*/ 679168 h 2052818"/>
                <a:gd name="connsiteX8905" fmla="*/ 552914 w 2222569"/>
                <a:gd name="connsiteY8905" fmla="*/ 679168 h 2052818"/>
                <a:gd name="connsiteX8906" fmla="*/ 551447 w 2222569"/>
                <a:gd name="connsiteY8906" fmla="*/ 684381 h 2052818"/>
                <a:gd name="connsiteX8907" fmla="*/ 544768 w 2222569"/>
                <a:gd name="connsiteY8907" fmla="*/ 686662 h 2052818"/>
                <a:gd name="connsiteX8908" fmla="*/ 544768 w 2222569"/>
                <a:gd name="connsiteY8908" fmla="*/ 690735 h 2052818"/>
                <a:gd name="connsiteX8909" fmla="*/ 548841 w 2222569"/>
                <a:gd name="connsiteY8909" fmla="*/ 693667 h 2052818"/>
                <a:gd name="connsiteX8910" fmla="*/ 555032 w 2222569"/>
                <a:gd name="connsiteY8910" fmla="*/ 686662 h 2052818"/>
                <a:gd name="connsiteX8911" fmla="*/ 566924 w 2222569"/>
                <a:gd name="connsiteY8911" fmla="*/ 681123 h 2052818"/>
                <a:gd name="connsiteX8912" fmla="*/ 569530 w 2222569"/>
                <a:gd name="connsiteY8912" fmla="*/ 681449 h 2052818"/>
                <a:gd name="connsiteX8913" fmla="*/ 569205 w 2222569"/>
                <a:gd name="connsiteY8913" fmla="*/ 678191 h 2052818"/>
                <a:gd name="connsiteX8914" fmla="*/ 573929 w 2222569"/>
                <a:gd name="connsiteY8914" fmla="*/ 674444 h 2052818"/>
                <a:gd name="connsiteX8915" fmla="*/ 578002 w 2222569"/>
                <a:gd name="connsiteY8915" fmla="*/ 676236 h 2052818"/>
                <a:gd name="connsiteX8916" fmla="*/ 578328 w 2222569"/>
                <a:gd name="connsiteY8916" fmla="*/ 672163 h 2052818"/>
                <a:gd name="connsiteX8917" fmla="*/ 579794 w 2222569"/>
                <a:gd name="connsiteY8917" fmla="*/ 669231 h 2052818"/>
                <a:gd name="connsiteX8918" fmla="*/ 583052 w 2222569"/>
                <a:gd name="connsiteY8918" fmla="*/ 672489 h 2052818"/>
                <a:gd name="connsiteX8919" fmla="*/ 587125 w 2222569"/>
                <a:gd name="connsiteY8919" fmla="*/ 673629 h 2052818"/>
                <a:gd name="connsiteX8920" fmla="*/ 588265 w 2222569"/>
                <a:gd name="connsiteY8920" fmla="*/ 665810 h 2052818"/>
                <a:gd name="connsiteX8921" fmla="*/ 585984 w 2222569"/>
                <a:gd name="connsiteY8921" fmla="*/ 660271 h 2052818"/>
                <a:gd name="connsiteX8922" fmla="*/ 588591 w 2222569"/>
                <a:gd name="connsiteY8922" fmla="*/ 657338 h 2052818"/>
                <a:gd name="connsiteX8923" fmla="*/ 585658 w 2222569"/>
                <a:gd name="connsiteY8923" fmla="*/ 654080 h 2052818"/>
                <a:gd name="connsiteX8924" fmla="*/ 590057 w 2222569"/>
                <a:gd name="connsiteY8924" fmla="*/ 647401 h 2052818"/>
                <a:gd name="connsiteX8925" fmla="*/ 597388 w 2222569"/>
                <a:gd name="connsiteY8925" fmla="*/ 644469 h 2052818"/>
                <a:gd name="connsiteX8926" fmla="*/ 597388 w 2222569"/>
                <a:gd name="connsiteY8926" fmla="*/ 651148 h 2052818"/>
                <a:gd name="connsiteX8927" fmla="*/ 598854 w 2222569"/>
                <a:gd name="connsiteY8927" fmla="*/ 670697 h 2052818"/>
                <a:gd name="connsiteX8928" fmla="*/ 595922 w 2222569"/>
                <a:gd name="connsiteY8928" fmla="*/ 676236 h 2052818"/>
                <a:gd name="connsiteX8929" fmla="*/ 596736 w 2222569"/>
                <a:gd name="connsiteY8929" fmla="*/ 692038 h 2052818"/>
                <a:gd name="connsiteX8930" fmla="*/ 592338 w 2222569"/>
                <a:gd name="connsiteY8930" fmla="*/ 701324 h 2052818"/>
                <a:gd name="connsiteX8931" fmla="*/ 592012 w 2222569"/>
                <a:gd name="connsiteY8931" fmla="*/ 724131 h 2052818"/>
                <a:gd name="connsiteX8932" fmla="*/ 594293 w 2222569"/>
                <a:gd name="connsiteY8932" fmla="*/ 730322 h 2052818"/>
                <a:gd name="connsiteX8933" fmla="*/ 599832 w 2222569"/>
                <a:gd name="connsiteY8933" fmla="*/ 732114 h 2052818"/>
                <a:gd name="connsiteX8934" fmla="*/ 603090 w 2222569"/>
                <a:gd name="connsiteY8934" fmla="*/ 739445 h 2052818"/>
                <a:gd name="connsiteX8935" fmla="*/ 611235 w 2222569"/>
                <a:gd name="connsiteY8935" fmla="*/ 735046 h 2052818"/>
                <a:gd name="connsiteX8936" fmla="*/ 608629 w 2222569"/>
                <a:gd name="connsiteY8936" fmla="*/ 731299 h 2052818"/>
                <a:gd name="connsiteX8937" fmla="*/ 603904 w 2222569"/>
                <a:gd name="connsiteY8937" fmla="*/ 731299 h 2052818"/>
                <a:gd name="connsiteX8938" fmla="*/ 602438 w 2222569"/>
                <a:gd name="connsiteY8938" fmla="*/ 728041 h 2052818"/>
                <a:gd name="connsiteX8939" fmla="*/ 607162 w 2222569"/>
                <a:gd name="connsiteY8939" fmla="*/ 725109 h 2052818"/>
                <a:gd name="connsiteX8940" fmla="*/ 611887 w 2222569"/>
                <a:gd name="connsiteY8940" fmla="*/ 726901 h 2052818"/>
                <a:gd name="connsiteX8941" fmla="*/ 613353 w 2222569"/>
                <a:gd name="connsiteY8941" fmla="*/ 721362 h 2052818"/>
                <a:gd name="connsiteX8942" fmla="*/ 610421 w 2222569"/>
                <a:gd name="connsiteY8942" fmla="*/ 720221 h 2052818"/>
                <a:gd name="connsiteX8943" fmla="*/ 615634 w 2222569"/>
                <a:gd name="connsiteY8943" fmla="*/ 715823 h 2052818"/>
                <a:gd name="connsiteX8944" fmla="*/ 622313 w 2222569"/>
                <a:gd name="connsiteY8944" fmla="*/ 716149 h 2052818"/>
                <a:gd name="connsiteX8945" fmla="*/ 623128 w 2222569"/>
                <a:gd name="connsiteY8945" fmla="*/ 720221 h 2052818"/>
                <a:gd name="connsiteX8946" fmla="*/ 627200 w 2222569"/>
                <a:gd name="connsiteY8946" fmla="*/ 716474 h 2052818"/>
                <a:gd name="connsiteX8947" fmla="*/ 621987 w 2222569"/>
                <a:gd name="connsiteY8947" fmla="*/ 706863 h 2052818"/>
                <a:gd name="connsiteX8948" fmla="*/ 626711 w 2222569"/>
                <a:gd name="connsiteY8948" fmla="*/ 707677 h 2052818"/>
                <a:gd name="connsiteX8949" fmla="*/ 636323 w 2222569"/>
                <a:gd name="connsiteY8949" fmla="*/ 701813 h 2052818"/>
                <a:gd name="connsiteX8950" fmla="*/ 636323 w 2222569"/>
                <a:gd name="connsiteY8950" fmla="*/ 697740 h 2052818"/>
                <a:gd name="connsiteX8951" fmla="*/ 642188 w 2222569"/>
                <a:gd name="connsiteY8951" fmla="*/ 696274 h 2052818"/>
                <a:gd name="connsiteX8952" fmla="*/ 643328 w 2222569"/>
                <a:gd name="connsiteY8952" fmla="*/ 702138 h 2052818"/>
                <a:gd name="connsiteX8953" fmla="*/ 643328 w 2222569"/>
                <a:gd name="connsiteY8953" fmla="*/ 705885 h 2052818"/>
                <a:gd name="connsiteX8954" fmla="*/ 638278 w 2222569"/>
                <a:gd name="connsiteY8954" fmla="*/ 710447 h 2052818"/>
                <a:gd name="connsiteX8955" fmla="*/ 638930 w 2222569"/>
                <a:gd name="connsiteY8955" fmla="*/ 713216 h 2052818"/>
                <a:gd name="connsiteX8956" fmla="*/ 633879 w 2222569"/>
                <a:gd name="connsiteY8956" fmla="*/ 717452 h 2052818"/>
                <a:gd name="connsiteX8957" fmla="*/ 633228 w 2222569"/>
                <a:gd name="connsiteY8957" fmla="*/ 720547 h 2052818"/>
                <a:gd name="connsiteX8958" fmla="*/ 635183 w 2222569"/>
                <a:gd name="connsiteY8958" fmla="*/ 722502 h 2052818"/>
                <a:gd name="connsiteX8959" fmla="*/ 638930 w 2222569"/>
                <a:gd name="connsiteY8959" fmla="*/ 721362 h 2052818"/>
                <a:gd name="connsiteX8960" fmla="*/ 640233 w 2222569"/>
                <a:gd name="connsiteY8960" fmla="*/ 724131 h 2052818"/>
                <a:gd name="connsiteX8961" fmla="*/ 639093 w 2222569"/>
                <a:gd name="connsiteY8961" fmla="*/ 726086 h 2052818"/>
                <a:gd name="connsiteX8962" fmla="*/ 635183 w 2222569"/>
                <a:gd name="connsiteY8962" fmla="*/ 727878 h 2052818"/>
                <a:gd name="connsiteX8963" fmla="*/ 630621 w 2222569"/>
                <a:gd name="connsiteY8963" fmla="*/ 732440 h 2052818"/>
                <a:gd name="connsiteX8964" fmla="*/ 627526 w 2222569"/>
                <a:gd name="connsiteY8964" fmla="*/ 731951 h 2052818"/>
                <a:gd name="connsiteX8965" fmla="*/ 625734 w 2222569"/>
                <a:gd name="connsiteY8965" fmla="*/ 734394 h 2052818"/>
                <a:gd name="connsiteX8966" fmla="*/ 621987 w 2222569"/>
                <a:gd name="connsiteY8966" fmla="*/ 739119 h 2052818"/>
                <a:gd name="connsiteX8967" fmla="*/ 624920 w 2222569"/>
                <a:gd name="connsiteY8967" fmla="*/ 742051 h 2052818"/>
                <a:gd name="connsiteX8968" fmla="*/ 632250 w 2222569"/>
                <a:gd name="connsiteY8968" fmla="*/ 743192 h 2052818"/>
                <a:gd name="connsiteX8969" fmla="*/ 636323 w 2222569"/>
                <a:gd name="connsiteY8969" fmla="*/ 746124 h 2052818"/>
                <a:gd name="connsiteX8970" fmla="*/ 641048 w 2222569"/>
                <a:gd name="connsiteY8970" fmla="*/ 745798 h 2052818"/>
                <a:gd name="connsiteX8971" fmla="*/ 645446 w 2222569"/>
                <a:gd name="connsiteY8971" fmla="*/ 741725 h 2052818"/>
                <a:gd name="connsiteX8972" fmla="*/ 650659 w 2222569"/>
                <a:gd name="connsiteY8972" fmla="*/ 740585 h 2052818"/>
                <a:gd name="connsiteX8973" fmla="*/ 655872 w 2222569"/>
                <a:gd name="connsiteY8973" fmla="*/ 731299 h 2052818"/>
                <a:gd name="connsiteX8974" fmla="*/ 661737 w 2222569"/>
                <a:gd name="connsiteY8974" fmla="*/ 725434 h 2052818"/>
                <a:gd name="connsiteX8975" fmla="*/ 667276 w 2222569"/>
                <a:gd name="connsiteY8975" fmla="*/ 723642 h 2052818"/>
                <a:gd name="connsiteX8976" fmla="*/ 670534 w 2222569"/>
                <a:gd name="connsiteY8976" fmla="*/ 726575 h 2052818"/>
                <a:gd name="connsiteX8977" fmla="*/ 675747 w 2222569"/>
                <a:gd name="connsiteY8977" fmla="*/ 727226 h 2052818"/>
                <a:gd name="connsiteX8978" fmla="*/ 679820 w 2222569"/>
                <a:gd name="connsiteY8978" fmla="*/ 730485 h 2052818"/>
                <a:gd name="connsiteX8979" fmla="*/ 684218 w 2222569"/>
                <a:gd name="connsiteY8979" fmla="*/ 730810 h 2052818"/>
                <a:gd name="connsiteX8980" fmla="*/ 690409 w 2222569"/>
                <a:gd name="connsiteY8980" fmla="*/ 735535 h 2052818"/>
                <a:gd name="connsiteX8981" fmla="*/ 694807 w 2222569"/>
                <a:gd name="connsiteY8981" fmla="*/ 735535 h 2052818"/>
                <a:gd name="connsiteX8982" fmla="*/ 694807 w 2222569"/>
                <a:gd name="connsiteY8982" fmla="*/ 740422 h 2052818"/>
                <a:gd name="connsiteX8983" fmla="*/ 699206 w 2222569"/>
                <a:gd name="connsiteY8983" fmla="*/ 752640 h 2052818"/>
                <a:gd name="connsiteX8984" fmla="*/ 699206 w 2222569"/>
                <a:gd name="connsiteY8984" fmla="*/ 759320 h 2052818"/>
                <a:gd name="connsiteX8985" fmla="*/ 705071 w 2222569"/>
                <a:gd name="connsiteY8985" fmla="*/ 768117 h 2052818"/>
                <a:gd name="connsiteX8986" fmla="*/ 725760 w 2222569"/>
                <a:gd name="connsiteY8986" fmla="*/ 780986 h 2052818"/>
                <a:gd name="connsiteX8987" fmla="*/ 727226 w 2222569"/>
                <a:gd name="connsiteY8987" fmla="*/ 785711 h 2052818"/>
                <a:gd name="connsiteX8988" fmla="*/ 734232 w 2222569"/>
                <a:gd name="connsiteY8988" fmla="*/ 789132 h 2052818"/>
                <a:gd name="connsiteX8989" fmla="*/ 741725 w 2222569"/>
                <a:gd name="connsiteY8989" fmla="*/ 797277 h 2052818"/>
                <a:gd name="connsiteX8990" fmla="*/ 744332 w 2222569"/>
                <a:gd name="connsiteY8990" fmla="*/ 797277 h 2052818"/>
                <a:gd name="connsiteX8991" fmla="*/ 749545 w 2222569"/>
                <a:gd name="connsiteY8991" fmla="*/ 800698 h 2052818"/>
                <a:gd name="connsiteX8992" fmla="*/ 751337 w 2222569"/>
                <a:gd name="connsiteY8992" fmla="*/ 805097 h 2052818"/>
                <a:gd name="connsiteX8993" fmla="*/ 754432 w 2222569"/>
                <a:gd name="connsiteY8993" fmla="*/ 807052 h 2052818"/>
                <a:gd name="connsiteX8994" fmla="*/ 757039 w 2222569"/>
                <a:gd name="connsiteY8994" fmla="*/ 804608 h 2052818"/>
                <a:gd name="connsiteX8995" fmla="*/ 758668 w 2222569"/>
                <a:gd name="connsiteY8995" fmla="*/ 807704 h 2052818"/>
                <a:gd name="connsiteX8996" fmla="*/ 766162 w 2222569"/>
                <a:gd name="connsiteY8996" fmla="*/ 812754 h 2052818"/>
                <a:gd name="connsiteX8997" fmla="*/ 770397 w 2222569"/>
                <a:gd name="connsiteY8997" fmla="*/ 812754 h 2052818"/>
                <a:gd name="connsiteX8998" fmla="*/ 770397 w 2222569"/>
                <a:gd name="connsiteY8998" fmla="*/ 817804 h 2052818"/>
                <a:gd name="connsiteX8999" fmla="*/ 773818 w 2222569"/>
                <a:gd name="connsiteY8999" fmla="*/ 822365 h 2052818"/>
                <a:gd name="connsiteX9000" fmla="*/ 775611 w 2222569"/>
                <a:gd name="connsiteY9000" fmla="*/ 817804 h 2052818"/>
                <a:gd name="connsiteX9001" fmla="*/ 773330 w 2222569"/>
                <a:gd name="connsiteY9001" fmla="*/ 814709 h 2052818"/>
                <a:gd name="connsiteX9002" fmla="*/ 774470 w 2222569"/>
                <a:gd name="connsiteY9002" fmla="*/ 811939 h 2052818"/>
                <a:gd name="connsiteX9003" fmla="*/ 769909 w 2222569"/>
                <a:gd name="connsiteY9003" fmla="*/ 808029 h 2052818"/>
                <a:gd name="connsiteX9004" fmla="*/ 769909 w 2222569"/>
                <a:gd name="connsiteY9004" fmla="*/ 805260 h 2052818"/>
                <a:gd name="connsiteX9005" fmla="*/ 777240 w 2222569"/>
                <a:gd name="connsiteY9005" fmla="*/ 809170 h 2052818"/>
                <a:gd name="connsiteX9006" fmla="*/ 778869 w 2222569"/>
                <a:gd name="connsiteY9006" fmla="*/ 813080 h 2052818"/>
                <a:gd name="connsiteX9007" fmla="*/ 781149 w 2222569"/>
                <a:gd name="connsiteY9007" fmla="*/ 813080 h 2052818"/>
                <a:gd name="connsiteX9008" fmla="*/ 782615 w 2222569"/>
                <a:gd name="connsiteY9008" fmla="*/ 809007 h 2052818"/>
                <a:gd name="connsiteX9009" fmla="*/ 784570 w 2222569"/>
                <a:gd name="connsiteY9009" fmla="*/ 808518 h 2052818"/>
                <a:gd name="connsiteX9010" fmla="*/ 791413 w 2222569"/>
                <a:gd name="connsiteY9010" fmla="*/ 815197 h 2052818"/>
                <a:gd name="connsiteX9011" fmla="*/ 792553 w 2222569"/>
                <a:gd name="connsiteY9011" fmla="*/ 818618 h 2052818"/>
                <a:gd name="connsiteX9012" fmla="*/ 795811 w 2222569"/>
                <a:gd name="connsiteY9012" fmla="*/ 820085 h 2052818"/>
                <a:gd name="connsiteX9013" fmla="*/ 798581 w 2222569"/>
                <a:gd name="connsiteY9013" fmla="*/ 826601 h 2052818"/>
                <a:gd name="connsiteX9014" fmla="*/ 801187 w 2222569"/>
                <a:gd name="connsiteY9014" fmla="*/ 831000 h 2052818"/>
                <a:gd name="connsiteX9015" fmla="*/ 801676 w 2222569"/>
                <a:gd name="connsiteY9015" fmla="*/ 837190 h 2052818"/>
                <a:gd name="connsiteX9016" fmla="*/ 804120 w 2222569"/>
                <a:gd name="connsiteY9016" fmla="*/ 843055 h 2052818"/>
                <a:gd name="connsiteX9017" fmla="*/ 801676 w 2222569"/>
                <a:gd name="connsiteY9017" fmla="*/ 848105 h 2052818"/>
                <a:gd name="connsiteX9018" fmla="*/ 801187 w 2222569"/>
                <a:gd name="connsiteY9018" fmla="*/ 853807 h 2052818"/>
                <a:gd name="connsiteX9019" fmla="*/ 796626 w 2222569"/>
                <a:gd name="connsiteY9019" fmla="*/ 859020 h 2052818"/>
                <a:gd name="connsiteX9020" fmla="*/ 785385 w 2222569"/>
                <a:gd name="connsiteY9020" fmla="*/ 854947 h 2052818"/>
                <a:gd name="connsiteX9021" fmla="*/ 779194 w 2222569"/>
                <a:gd name="connsiteY9021" fmla="*/ 854458 h 2052818"/>
                <a:gd name="connsiteX9022" fmla="*/ 779194 w 2222569"/>
                <a:gd name="connsiteY9022" fmla="*/ 856413 h 2052818"/>
                <a:gd name="connsiteX9023" fmla="*/ 777240 w 2222569"/>
                <a:gd name="connsiteY9023" fmla="*/ 858042 h 2052818"/>
                <a:gd name="connsiteX9024" fmla="*/ 770723 w 2222569"/>
                <a:gd name="connsiteY9024" fmla="*/ 855436 h 2052818"/>
                <a:gd name="connsiteX9025" fmla="*/ 766488 w 2222569"/>
                <a:gd name="connsiteY9025" fmla="*/ 855436 h 2052818"/>
                <a:gd name="connsiteX9026" fmla="*/ 767791 w 2222569"/>
                <a:gd name="connsiteY9026" fmla="*/ 859183 h 2052818"/>
                <a:gd name="connsiteX9027" fmla="*/ 763555 w 2222569"/>
                <a:gd name="connsiteY9027" fmla="*/ 862115 h 2052818"/>
                <a:gd name="connsiteX9028" fmla="*/ 763066 w 2222569"/>
                <a:gd name="connsiteY9028" fmla="*/ 867491 h 2052818"/>
                <a:gd name="connsiteX9029" fmla="*/ 757690 w 2222569"/>
                <a:gd name="connsiteY9029" fmla="*/ 867003 h 2052818"/>
                <a:gd name="connsiteX9030" fmla="*/ 753129 w 2222569"/>
                <a:gd name="connsiteY9030" fmla="*/ 868632 h 2052818"/>
                <a:gd name="connsiteX9031" fmla="*/ 754921 w 2222569"/>
                <a:gd name="connsiteY9031" fmla="*/ 871238 h 2052818"/>
                <a:gd name="connsiteX9032" fmla="*/ 759971 w 2222569"/>
                <a:gd name="connsiteY9032" fmla="*/ 873519 h 2052818"/>
                <a:gd name="connsiteX9033" fmla="*/ 761437 w 2222569"/>
                <a:gd name="connsiteY9033" fmla="*/ 879221 h 2052818"/>
                <a:gd name="connsiteX9034" fmla="*/ 765673 w 2222569"/>
                <a:gd name="connsiteY9034" fmla="*/ 882642 h 2052818"/>
                <a:gd name="connsiteX9035" fmla="*/ 768768 w 2222569"/>
                <a:gd name="connsiteY9035" fmla="*/ 880687 h 2052818"/>
                <a:gd name="connsiteX9036" fmla="*/ 774633 w 2222569"/>
                <a:gd name="connsiteY9036" fmla="*/ 885411 h 2052818"/>
                <a:gd name="connsiteX9037" fmla="*/ 774959 w 2222569"/>
                <a:gd name="connsiteY9037" fmla="*/ 889810 h 2052818"/>
                <a:gd name="connsiteX9038" fmla="*/ 781964 w 2222569"/>
                <a:gd name="connsiteY9038" fmla="*/ 889810 h 2052818"/>
                <a:gd name="connsiteX9039" fmla="*/ 789946 w 2222569"/>
                <a:gd name="connsiteY9039" fmla="*/ 894534 h 2052818"/>
                <a:gd name="connsiteX9040" fmla="*/ 798418 w 2222569"/>
                <a:gd name="connsiteY9040" fmla="*/ 895023 h 2052818"/>
                <a:gd name="connsiteX9041" fmla="*/ 809170 w 2222569"/>
                <a:gd name="connsiteY9041" fmla="*/ 899747 h 2052818"/>
                <a:gd name="connsiteX9042" fmla="*/ 815686 w 2222569"/>
                <a:gd name="connsiteY9042" fmla="*/ 900073 h 2052818"/>
                <a:gd name="connsiteX9043" fmla="*/ 815686 w 2222569"/>
                <a:gd name="connsiteY9043" fmla="*/ 897304 h 2052818"/>
                <a:gd name="connsiteX9044" fmla="*/ 818293 w 2222569"/>
                <a:gd name="connsiteY9044" fmla="*/ 896978 h 2052818"/>
                <a:gd name="connsiteX9045" fmla="*/ 822854 w 2222569"/>
                <a:gd name="connsiteY9045" fmla="*/ 899584 h 2052818"/>
                <a:gd name="connsiteX9046" fmla="*/ 822528 w 2222569"/>
                <a:gd name="connsiteY9046" fmla="*/ 903657 h 2052818"/>
                <a:gd name="connsiteX9047" fmla="*/ 829859 w 2222569"/>
                <a:gd name="connsiteY9047" fmla="*/ 897792 h 2052818"/>
                <a:gd name="connsiteX9048" fmla="*/ 832466 w 2222569"/>
                <a:gd name="connsiteY9048" fmla="*/ 900725 h 2052818"/>
                <a:gd name="connsiteX9049" fmla="*/ 835561 w 2222569"/>
                <a:gd name="connsiteY9049" fmla="*/ 900399 h 2052818"/>
                <a:gd name="connsiteX9050" fmla="*/ 839145 w 2222569"/>
                <a:gd name="connsiteY9050" fmla="*/ 896326 h 2052818"/>
                <a:gd name="connsiteX9051" fmla="*/ 841426 w 2222569"/>
                <a:gd name="connsiteY9051" fmla="*/ 896326 h 2052818"/>
                <a:gd name="connsiteX9052" fmla="*/ 841263 w 2222569"/>
                <a:gd name="connsiteY9052" fmla="*/ 898933 h 2052818"/>
                <a:gd name="connsiteX9053" fmla="*/ 844032 w 2222569"/>
                <a:gd name="connsiteY9053" fmla="*/ 900073 h 2052818"/>
                <a:gd name="connsiteX9054" fmla="*/ 852178 w 2222569"/>
                <a:gd name="connsiteY9054" fmla="*/ 895837 h 2052818"/>
                <a:gd name="connsiteX9055" fmla="*/ 866188 w 2222569"/>
                <a:gd name="connsiteY9055" fmla="*/ 890624 h 2052818"/>
                <a:gd name="connsiteX9056" fmla="*/ 870424 w 2222569"/>
                <a:gd name="connsiteY9056" fmla="*/ 889647 h 2052818"/>
                <a:gd name="connsiteX9057" fmla="*/ 870424 w 2222569"/>
                <a:gd name="connsiteY9057" fmla="*/ 894371 h 2052818"/>
                <a:gd name="connsiteX9058" fmla="*/ 868957 w 2222569"/>
                <a:gd name="connsiteY9058" fmla="*/ 896978 h 2052818"/>
                <a:gd name="connsiteX9059" fmla="*/ 868957 w 2222569"/>
                <a:gd name="connsiteY9059" fmla="*/ 898770 h 2052818"/>
                <a:gd name="connsiteX9060" fmla="*/ 871401 w 2222569"/>
                <a:gd name="connsiteY9060" fmla="*/ 898770 h 2052818"/>
                <a:gd name="connsiteX9061" fmla="*/ 871727 w 2222569"/>
                <a:gd name="connsiteY9061" fmla="*/ 904309 h 2052818"/>
                <a:gd name="connsiteX9062" fmla="*/ 871075 w 2222569"/>
                <a:gd name="connsiteY9062" fmla="*/ 908219 h 2052818"/>
                <a:gd name="connsiteX9063" fmla="*/ 872378 w 2222569"/>
                <a:gd name="connsiteY9063" fmla="*/ 910988 h 2052818"/>
                <a:gd name="connsiteX9064" fmla="*/ 874008 w 2222569"/>
                <a:gd name="connsiteY9064" fmla="*/ 912128 h 2052818"/>
                <a:gd name="connsiteX9065" fmla="*/ 876940 w 2222569"/>
                <a:gd name="connsiteY9065" fmla="*/ 909033 h 2052818"/>
                <a:gd name="connsiteX9066" fmla="*/ 880035 w 2222569"/>
                <a:gd name="connsiteY9066" fmla="*/ 911803 h 2052818"/>
                <a:gd name="connsiteX9067" fmla="*/ 879384 w 2222569"/>
                <a:gd name="connsiteY9067" fmla="*/ 916201 h 2052818"/>
                <a:gd name="connsiteX9068" fmla="*/ 876125 w 2222569"/>
                <a:gd name="connsiteY9068" fmla="*/ 924347 h 2052818"/>
                <a:gd name="connsiteX9069" fmla="*/ 877266 w 2222569"/>
                <a:gd name="connsiteY9069" fmla="*/ 929723 h 2052818"/>
                <a:gd name="connsiteX9070" fmla="*/ 878732 w 2222569"/>
                <a:gd name="connsiteY9070" fmla="*/ 930863 h 2052818"/>
                <a:gd name="connsiteX9071" fmla="*/ 882479 w 2222569"/>
                <a:gd name="connsiteY9071" fmla="*/ 927116 h 2052818"/>
                <a:gd name="connsiteX9072" fmla="*/ 883293 w 2222569"/>
                <a:gd name="connsiteY9072" fmla="*/ 920925 h 2052818"/>
                <a:gd name="connsiteX9073" fmla="*/ 885085 w 2222569"/>
                <a:gd name="connsiteY9073" fmla="*/ 917830 h 2052818"/>
                <a:gd name="connsiteX9074" fmla="*/ 886552 w 2222569"/>
                <a:gd name="connsiteY9074" fmla="*/ 917830 h 2052818"/>
                <a:gd name="connsiteX9075" fmla="*/ 886063 w 2222569"/>
                <a:gd name="connsiteY9075" fmla="*/ 924672 h 2052818"/>
                <a:gd name="connsiteX9076" fmla="*/ 882479 w 2222569"/>
                <a:gd name="connsiteY9076" fmla="*/ 932981 h 2052818"/>
                <a:gd name="connsiteX9077" fmla="*/ 878732 w 2222569"/>
                <a:gd name="connsiteY9077" fmla="*/ 938520 h 2052818"/>
                <a:gd name="connsiteX9078" fmla="*/ 878406 w 2222569"/>
                <a:gd name="connsiteY9078" fmla="*/ 947480 h 2052818"/>
                <a:gd name="connsiteX9079" fmla="*/ 881827 w 2222569"/>
                <a:gd name="connsiteY9079" fmla="*/ 953019 h 2052818"/>
                <a:gd name="connsiteX9080" fmla="*/ 881827 w 2222569"/>
                <a:gd name="connsiteY9080" fmla="*/ 961816 h 2052818"/>
                <a:gd name="connsiteX9081" fmla="*/ 880198 w 2222569"/>
                <a:gd name="connsiteY9081" fmla="*/ 968006 h 2052818"/>
                <a:gd name="connsiteX9082" fmla="*/ 885574 w 2222569"/>
                <a:gd name="connsiteY9082" fmla="*/ 971916 h 2052818"/>
                <a:gd name="connsiteX9083" fmla="*/ 885574 w 2222569"/>
                <a:gd name="connsiteY9083" fmla="*/ 975011 h 2052818"/>
                <a:gd name="connsiteX9084" fmla="*/ 883293 w 2222569"/>
                <a:gd name="connsiteY9084" fmla="*/ 979247 h 2052818"/>
                <a:gd name="connsiteX9085" fmla="*/ 885574 w 2222569"/>
                <a:gd name="connsiteY9085" fmla="*/ 981853 h 2052818"/>
                <a:gd name="connsiteX9086" fmla="*/ 888344 w 2222569"/>
                <a:gd name="connsiteY9086" fmla="*/ 989347 h 2052818"/>
                <a:gd name="connsiteX9087" fmla="*/ 889321 w 2222569"/>
                <a:gd name="connsiteY9087" fmla="*/ 1005149 h 2052818"/>
                <a:gd name="connsiteX9088" fmla="*/ 889647 w 2222569"/>
                <a:gd name="connsiteY9088" fmla="*/ 989347 h 2052818"/>
                <a:gd name="connsiteX9089" fmla="*/ 886877 w 2222569"/>
                <a:gd name="connsiteY9089" fmla="*/ 976803 h 2052818"/>
                <a:gd name="connsiteX9090" fmla="*/ 888344 w 2222569"/>
                <a:gd name="connsiteY9090" fmla="*/ 965725 h 2052818"/>
                <a:gd name="connsiteX9091" fmla="*/ 894208 w 2222569"/>
                <a:gd name="connsiteY9091" fmla="*/ 954973 h 2052818"/>
                <a:gd name="connsiteX9092" fmla="*/ 897629 w 2222569"/>
                <a:gd name="connsiteY9092" fmla="*/ 954973 h 2052818"/>
                <a:gd name="connsiteX9093" fmla="*/ 897629 w 2222569"/>
                <a:gd name="connsiteY9093" fmla="*/ 959698 h 2052818"/>
                <a:gd name="connsiteX9094" fmla="*/ 895837 w 2222569"/>
                <a:gd name="connsiteY9094" fmla="*/ 960512 h 2052818"/>
                <a:gd name="connsiteX9095" fmla="*/ 895023 w 2222569"/>
                <a:gd name="connsiteY9095" fmla="*/ 964585 h 2052818"/>
                <a:gd name="connsiteX9096" fmla="*/ 896815 w 2222569"/>
                <a:gd name="connsiteY9096" fmla="*/ 965888 h 2052818"/>
                <a:gd name="connsiteX9097" fmla="*/ 900073 w 2222569"/>
                <a:gd name="connsiteY9097" fmla="*/ 963608 h 2052818"/>
                <a:gd name="connsiteX9098" fmla="*/ 901376 w 2222569"/>
                <a:gd name="connsiteY9098" fmla="*/ 965563 h 2052818"/>
                <a:gd name="connsiteX9099" fmla="*/ 903657 w 2222569"/>
                <a:gd name="connsiteY9099" fmla="*/ 963119 h 2052818"/>
                <a:gd name="connsiteX9100" fmla="*/ 903657 w 2222569"/>
                <a:gd name="connsiteY9100" fmla="*/ 957906 h 2052818"/>
                <a:gd name="connsiteX9101" fmla="*/ 900725 w 2222569"/>
                <a:gd name="connsiteY9101" fmla="*/ 953344 h 2052818"/>
                <a:gd name="connsiteX9102" fmla="*/ 900725 w 2222569"/>
                <a:gd name="connsiteY9102" fmla="*/ 950412 h 2052818"/>
                <a:gd name="connsiteX9103" fmla="*/ 905286 w 2222569"/>
                <a:gd name="connsiteY9103" fmla="*/ 949109 h 2052818"/>
                <a:gd name="connsiteX9104" fmla="*/ 906589 w 2222569"/>
                <a:gd name="connsiteY9104" fmla="*/ 946502 h 2052818"/>
                <a:gd name="connsiteX9105" fmla="*/ 902028 w 2222569"/>
                <a:gd name="connsiteY9105" fmla="*/ 942755 h 2052818"/>
                <a:gd name="connsiteX9106" fmla="*/ 902354 w 2222569"/>
                <a:gd name="connsiteY9106" fmla="*/ 939334 h 2052818"/>
                <a:gd name="connsiteX9107" fmla="*/ 904797 w 2222569"/>
                <a:gd name="connsiteY9107" fmla="*/ 929723 h 2052818"/>
                <a:gd name="connsiteX9108" fmla="*/ 909196 w 2222569"/>
                <a:gd name="connsiteY9108" fmla="*/ 916853 h 2052818"/>
                <a:gd name="connsiteX9109" fmla="*/ 908056 w 2222569"/>
                <a:gd name="connsiteY9109" fmla="*/ 912617 h 2052818"/>
                <a:gd name="connsiteX9110" fmla="*/ 908056 w 2222569"/>
                <a:gd name="connsiteY9110" fmla="*/ 908544 h 2052818"/>
                <a:gd name="connsiteX9111" fmla="*/ 911314 w 2222569"/>
                <a:gd name="connsiteY9111" fmla="*/ 905938 h 2052818"/>
                <a:gd name="connsiteX9112" fmla="*/ 918482 w 2222569"/>
                <a:gd name="connsiteY9112" fmla="*/ 905123 h 2052818"/>
                <a:gd name="connsiteX9113" fmla="*/ 918808 w 2222569"/>
                <a:gd name="connsiteY9113" fmla="*/ 903494 h 2052818"/>
                <a:gd name="connsiteX9114" fmla="*/ 921088 w 2222569"/>
                <a:gd name="connsiteY9114" fmla="*/ 900562 h 2052818"/>
                <a:gd name="connsiteX9115" fmla="*/ 924672 w 2222569"/>
                <a:gd name="connsiteY9115" fmla="*/ 900073 h 2052818"/>
                <a:gd name="connsiteX9116" fmla="*/ 926953 w 2222569"/>
                <a:gd name="connsiteY9116" fmla="*/ 902680 h 2052818"/>
                <a:gd name="connsiteX9117" fmla="*/ 930700 w 2222569"/>
                <a:gd name="connsiteY9117" fmla="*/ 901051 h 2052818"/>
                <a:gd name="connsiteX9118" fmla="*/ 933795 w 2222569"/>
                <a:gd name="connsiteY9118" fmla="*/ 896815 h 2052818"/>
                <a:gd name="connsiteX9119" fmla="*/ 936239 w 2222569"/>
                <a:gd name="connsiteY9119" fmla="*/ 896815 h 2052818"/>
                <a:gd name="connsiteX9120" fmla="*/ 936239 w 2222569"/>
                <a:gd name="connsiteY9120" fmla="*/ 900073 h 2052818"/>
                <a:gd name="connsiteX9121" fmla="*/ 938845 w 2222569"/>
                <a:gd name="connsiteY9121" fmla="*/ 898770 h 2052818"/>
                <a:gd name="connsiteX9122" fmla="*/ 944384 w 2222569"/>
                <a:gd name="connsiteY9122" fmla="*/ 897792 h 2052818"/>
                <a:gd name="connsiteX9123" fmla="*/ 946991 w 2222569"/>
                <a:gd name="connsiteY9123" fmla="*/ 892742 h 2052818"/>
                <a:gd name="connsiteX9124" fmla="*/ 949923 w 2222569"/>
                <a:gd name="connsiteY9124" fmla="*/ 892742 h 2052818"/>
                <a:gd name="connsiteX9125" fmla="*/ 951552 w 2222569"/>
                <a:gd name="connsiteY9125" fmla="*/ 896652 h 2052818"/>
                <a:gd name="connsiteX9126" fmla="*/ 953996 w 2222569"/>
                <a:gd name="connsiteY9126" fmla="*/ 897141 h 2052818"/>
                <a:gd name="connsiteX9127" fmla="*/ 955299 w 2222569"/>
                <a:gd name="connsiteY9127" fmla="*/ 903657 h 2052818"/>
                <a:gd name="connsiteX9128" fmla="*/ 955299 w 2222569"/>
                <a:gd name="connsiteY9128" fmla="*/ 897141 h 2052818"/>
                <a:gd name="connsiteX9129" fmla="*/ 953507 w 2222569"/>
                <a:gd name="connsiteY9129" fmla="*/ 891602 h 2052818"/>
                <a:gd name="connsiteX9130" fmla="*/ 957580 w 2222569"/>
                <a:gd name="connsiteY9130" fmla="*/ 883945 h 2052818"/>
                <a:gd name="connsiteX9131" fmla="*/ 961001 w 2222569"/>
                <a:gd name="connsiteY9131" fmla="*/ 883945 h 2052818"/>
                <a:gd name="connsiteX9132" fmla="*/ 963445 w 2222569"/>
                <a:gd name="connsiteY9132" fmla="*/ 885574 h 2052818"/>
                <a:gd name="connsiteX9133" fmla="*/ 967680 w 2222569"/>
                <a:gd name="connsiteY9133" fmla="*/ 885574 h 2052818"/>
                <a:gd name="connsiteX9134" fmla="*/ 970450 w 2222569"/>
                <a:gd name="connsiteY9134" fmla="*/ 883619 h 2052818"/>
                <a:gd name="connsiteX9135" fmla="*/ 973545 w 2222569"/>
                <a:gd name="connsiteY9135" fmla="*/ 886063 h 2052818"/>
                <a:gd name="connsiteX9136" fmla="*/ 979247 w 2222569"/>
                <a:gd name="connsiteY9136" fmla="*/ 879872 h 2052818"/>
                <a:gd name="connsiteX9137" fmla="*/ 977455 w 2222569"/>
                <a:gd name="connsiteY9137" fmla="*/ 876614 h 2052818"/>
                <a:gd name="connsiteX9138" fmla="*/ 980713 w 2222569"/>
                <a:gd name="connsiteY9138" fmla="*/ 873193 h 2052818"/>
                <a:gd name="connsiteX9139" fmla="*/ 976152 w 2222569"/>
                <a:gd name="connsiteY9139" fmla="*/ 872867 h 2052818"/>
                <a:gd name="connsiteX9140" fmla="*/ 975663 w 2222569"/>
                <a:gd name="connsiteY9140" fmla="*/ 871401 h 2052818"/>
                <a:gd name="connsiteX9141" fmla="*/ 971753 w 2222569"/>
                <a:gd name="connsiteY9141" fmla="*/ 871401 h 2052818"/>
                <a:gd name="connsiteX9142" fmla="*/ 961490 w 2222569"/>
                <a:gd name="connsiteY9142" fmla="*/ 875311 h 2052818"/>
                <a:gd name="connsiteX9143" fmla="*/ 958557 w 2222569"/>
                <a:gd name="connsiteY9143" fmla="*/ 874985 h 2052818"/>
                <a:gd name="connsiteX9144" fmla="*/ 957091 w 2222569"/>
                <a:gd name="connsiteY9144" fmla="*/ 878406 h 2052818"/>
                <a:gd name="connsiteX9145" fmla="*/ 952693 w 2222569"/>
                <a:gd name="connsiteY9145" fmla="*/ 878732 h 2052818"/>
                <a:gd name="connsiteX9146" fmla="*/ 952693 w 2222569"/>
                <a:gd name="connsiteY9146" fmla="*/ 881827 h 2052818"/>
                <a:gd name="connsiteX9147" fmla="*/ 951552 w 2222569"/>
                <a:gd name="connsiteY9147" fmla="*/ 884434 h 2052818"/>
                <a:gd name="connsiteX9148" fmla="*/ 947317 w 2222569"/>
                <a:gd name="connsiteY9148" fmla="*/ 879221 h 2052818"/>
                <a:gd name="connsiteX9149" fmla="*/ 947805 w 2222569"/>
                <a:gd name="connsiteY9149" fmla="*/ 875148 h 2052818"/>
                <a:gd name="connsiteX9150" fmla="*/ 944873 w 2222569"/>
                <a:gd name="connsiteY9150" fmla="*/ 877592 h 2052818"/>
                <a:gd name="connsiteX9151" fmla="*/ 943733 w 2222569"/>
                <a:gd name="connsiteY9151" fmla="*/ 881990 h 2052818"/>
                <a:gd name="connsiteX9152" fmla="*/ 940312 w 2222569"/>
                <a:gd name="connsiteY9152" fmla="*/ 883456 h 2052818"/>
                <a:gd name="connsiteX9153" fmla="*/ 935587 w 2222569"/>
                <a:gd name="connsiteY9153" fmla="*/ 880361 h 2052818"/>
                <a:gd name="connsiteX9154" fmla="*/ 931677 w 2222569"/>
                <a:gd name="connsiteY9154" fmla="*/ 880361 h 2052818"/>
                <a:gd name="connsiteX9155" fmla="*/ 930863 w 2222569"/>
                <a:gd name="connsiteY9155" fmla="*/ 877917 h 2052818"/>
                <a:gd name="connsiteX9156" fmla="*/ 927605 w 2222569"/>
                <a:gd name="connsiteY9156" fmla="*/ 878895 h 2052818"/>
                <a:gd name="connsiteX9157" fmla="*/ 927116 w 2222569"/>
                <a:gd name="connsiteY9157" fmla="*/ 881827 h 2052818"/>
                <a:gd name="connsiteX9158" fmla="*/ 930537 w 2222569"/>
                <a:gd name="connsiteY9158" fmla="*/ 885411 h 2052818"/>
                <a:gd name="connsiteX9159" fmla="*/ 930537 w 2222569"/>
                <a:gd name="connsiteY9159" fmla="*/ 888344 h 2052818"/>
                <a:gd name="connsiteX9160" fmla="*/ 925161 w 2222569"/>
                <a:gd name="connsiteY9160" fmla="*/ 889973 h 2052818"/>
                <a:gd name="connsiteX9161" fmla="*/ 923695 w 2222569"/>
                <a:gd name="connsiteY9161" fmla="*/ 887529 h 2052818"/>
                <a:gd name="connsiteX9162" fmla="*/ 916853 w 2222569"/>
                <a:gd name="connsiteY9162" fmla="*/ 886552 h 2052818"/>
                <a:gd name="connsiteX9163" fmla="*/ 915875 w 2222569"/>
                <a:gd name="connsiteY9163" fmla="*/ 883945 h 2052818"/>
                <a:gd name="connsiteX9164" fmla="*/ 918970 w 2222569"/>
                <a:gd name="connsiteY9164" fmla="*/ 881176 h 2052818"/>
                <a:gd name="connsiteX9165" fmla="*/ 920437 w 2222569"/>
                <a:gd name="connsiteY9165" fmla="*/ 876614 h 2052818"/>
                <a:gd name="connsiteX9166" fmla="*/ 918482 w 2222569"/>
                <a:gd name="connsiteY9166" fmla="*/ 876614 h 2052818"/>
                <a:gd name="connsiteX9167" fmla="*/ 915549 w 2222569"/>
                <a:gd name="connsiteY9167" fmla="*/ 878243 h 2052818"/>
                <a:gd name="connsiteX9168" fmla="*/ 911640 w 2222569"/>
                <a:gd name="connsiteY9168" fmla="*/ 876288 h 2052818"/>
                <a:gd name="connsiteX9169" fmla="*/ 913594 w 2222569"/>
                <a:gd name="connsiteY9169" fmla="*/ 872216 h 2052818"/>
                <a:gd name="connsiteX9170" fmla="*/ 918156 w 2222569"/>
                <a:gd name="connsiteY9170" fmla="*/ 869446 h 2052818"/>
                <a:gd name="connsiteX9171" fmla="*/ 924672 w 2222569"/>
                <a:gd name="connsiteY9171" fmla="*/ 860160 h 2052818"/>
                <a:gd name="connsiteX9172" fmla="*/ 929234 w 2222569"/>
                <a:gd name="connsiteY9172" fmla="*/ 860160 h 2052818"/>
                <a:gd name="connsiteX9173" fmla="*/ 934773 w 2222569"/>
                <a:gd name="connsiteY9173" fmla="*/ 861626 h 2052818"/>
                <a:gd name="connsiteX9174" fmla="*/ 953344 w 2222569"/>
                <a:gd name="connsiteY9174" fmla="*/ 860812 h 2052818"/>
                <a:gd name="connsiteX9175" fmla="*/ 966377 w 2222569"/>
                <a:gd name="connsiteY9175" fmla="*/ 856739 h 2052818"/>
                <a:gd name="connsiteX9176" fmla="*/ 969961 w 2222569"/>
                <a:gd name="connsiteY9176" fmla="*/ 857554 h 2052818"/>
                <a:gd name="connsiteX9177" fmla="*/ 976477 w 2222569"/>
                <a:gd name="connsiteY9177" fmla="*/ 855273 h 2052818"/>
                <a:gd name="connsiteX9178" fmla="*/ 978921 w 2222569"/>
                <a:gd name="connsiteY9178" fmla="*/ 859020 h 2052818"/>
                <a:gd name="connsiteX9179" fmla="*/ 982016 w 2222569"/>
                <a:gd name="connsiteY9179" fmla="*/ 861789 h 2052818"/>
                <a:gd name="connsiteX9180" fmla="*/ 984460 w 2222569"/>
                <a:gd name="connsiteY9180" fmla="*/ 861789 h 2052818"/>
                <a:gd name="connsiteX9181" fmla="*/ 985926 w 2222569"/>
                <a:gd name="connsiteY9181" fmla="*/ 866025 h 2052818"/>
                <a:gd name="connsiteX9182" fmla="*/ 984949 w 2222569"/>
                <a:gd name="connsiteY9182" fmla="*/ 876288 h 2052818"/>
                <a:gd name="connsiteX9183" fmla="*/ 983645 w 2222569"/>
                <a:gd name="connsiteY9183" fmla="*/ 879547 h 2052818"/>
                <a:gd name="connsiteX9184" fmla="*/ 986089 w 2222569"/>
                <a:gd name="connsiteY9184" fmla="*/ 881013 h 2052818"/>
                <a:gd name="connsiteX9185" fmla="*/ 985275 w 2222569"/>
                <a:gd name="connsiteY9185" fmla="*/ 882968 h 2052818"/>
                <a:gd name="connsiteX9186" fmla="*/ 981202 w 2222569"/>
                <a:gd name="connsiteY9186" fmla="*/ 885574 h 2052818"/>
                <a:gd name="connsiteX9187" fmla="*/ 981690 w 2222569"/>
                <a:gd name="connsiteY9187" fmla="*/ 887366 h 2052818"/>
                <a:gd name="connsiteX9188" fmla="*/ 983482 w 2222569"/>
                <a:gd name="connsiteY9188" fmla="*/ 888832 h 2052818"/>
                <a:gd name="connsiteX9189" fmla="*/ 984786 w 2222569"/>
                <a:gd name="connsiteY9189" fmla="*/ 898770 h 2052818"/>
                <a:gd name="connsiteX9190" fmla="*/ 988696 w 2222569"/>
                <a:gd name="connsiteY9190" fmla="*/ 898770 h 2052818"/>
                <a:gd name="connsiteX9191" fmla="*/ 991791 w 2222569"/>
                <a:gd name="connsiteY9191" fmla="*/ 900399 h 2052818"/>
                <a:gd name="connsiteX9192" fmla="*/ 991791 w 2222569"/>
                <a:gd name="connsiteY9192" fmla="*/ 903005 h 2052818"/>
                <a:gd name="connsiteX9193" fmla="*/ 987718 w 2222569"/>
                <a:gd name="connsiteY9193" fmla="*/ 905938 h 2052818"/>
                <a:gd name="connsiteX9194" fmla="*/ 987392 w 2222569"/>
                <a:gd name="connsiteY9194" fmla="*/ 909848 h 2052818"/>
                <a:gd name="connsiteX9195" fmla="*/ 985437 w 2222569"/>
                <a:gd name="connsiteY9195" fmla="*/ 913106 h 2052818"/>
                <a:gd name="connsiteX9196" fmla="*/ 990488 w 2222569"/>
                <a:gd name="connsiteY9196" fmla="*/ 913106 h 2052818"/>
                <a:gd name="connsiteX9197" fmla="*/ 995049 w 2222569"/>
                <a:gd name="connsiteY9197" fmla="*/ 914898 h 2052818"/>
                <a:gd name="connsiteX9198" fmla="*/ 996027 w 2222569"/>
                <a:gd name="connsiteY9198" fmla="*/ 916690 h 2052818"/>
                <a:gd name="connsiteX9199" fmla="*/ 997981 w 2222569"/>
                <a:gd name="connsiteY9199" fmla="*/ 916201 h 2052818"/>
                <a:gd name="connsiteX9200" fmla="*/ 1001403 w 2222569"/>
                <a:gd name="connsiteY9200" fmla="*/ 920111 h 2052818"/>
                <a:gd name="connsiteX9201" fmla="*/ 1006779 w 2222569"/>
                <a:gd name="connsiteY9201" fmla="*/ 920111 h 2052818"/>
                <a:gd name="connsiteX9202" fmla="*/ 1011177 w 2222569"/>
                <a:gd name="connsiteY9202" fmla="*/ 917667 h 2052818"/>
                <a:gd name="connsiteX9203" fmla="*/ 1012969 w 2222569"/>
                <a:gd name="connsiteY9203" fmla="*/ 918808 h 2052818"/>
                <a:gd name="connsiteX9204" fmla="*/ 1012643 w 2222569"/>
                <a:gd name="connsiteY9204" fmla="*/ 922229 h 2052818"/>
                <a:gd name="connsiteX9205" fmla="*/ 1013946 w 2222569"/>
                <a:gd name="connsiteY9205" fmla="*/ 923695 h 2052818"/>
                <a:gd name="connsiteX9206" fmla="*/ 1016390 w 2222569"/>
                <a:gd name="connsiteY9206" fmla="*/ 922717 h 2052818"/>
                <a:gd name="connsiteX9207" fmla="*/ 1018997 w 2222569"/>
                <a:gd name="connsiteY9207" fmla="*/ 925813 h 2052818"/>
                <a:gd name="connsiteX9208" fmla="*/ 1017694 w 2222569"/>
                <a:gd name="connsiteY9208" fmla="*/ 928256 h 2052818"/>
                <a:gd name="connsiteX9209" fmla="*/ 1017694 w 2222569"/>
                <a:gd name="connsiteY9209" fmla="*/ 931352 h 2052818"/>
                <a:gd name="connsiteX9210" fmla="*/ 1019974 w 2222569"/>
                <a:gd name="connsiteY9210" fmla="*/ 932329 h 2052818"/>
                <a:gd name="connsiteX9211" fmla="*/ 1020952 w 2222569"/>
                <a:gd name="connsiteY9211" fmla="*/ 935424 h 2052818"/>
                <a:gd name="connsiteX9212" fmla="*/ 1027957 w 2222569"/>
                <a:gd name="connsiteY9212" fmla="*/ 942104 h 2052818"/>
                <a:gd name="connsiteX9213" fmla="*/ 1027957 w 2222569"/>
                <a:gd name="connsiteY9213" fmla="*/ 945851 h 2052818"/>
                <a:gd name="connsiteX9214" fmla="*/ 1033496 w 2222569"/>
                <a:gd name="connsiteY9214" fmla="*/ 941941 h 2052818"/>
                <a:gd name="connsiteX9215" fmla="*/ 1035288 w 2222569"/>
                <a:gd name="connsiteY9215" fmla="*/ 943407 h 2052818"/>
                <a:gd name="connsiteX9216" fmla="*/ 1036102 w 2222569"/>
                <a:gd name="connsiteY9216" fmla="*/ 947805 h 2052818"/>
                <a:gd name="connsiteX9217" fmla="*/ 1037405 w 2222569"/>
                <a:gd name="connsiteY9217" fmla="*/ 948294 h 2052818"/>
                <a:gd name="connsiteX9218" fmla="*/ 1042781 w 2222569"/>
                <a:gd name="connsiteY9218" fmla="*/ 952693 h 2052818"/>
                <a:gd name="connsiteX9219" fmla="*/ 1048483 w 2222569"/>
                <a:gd name="connsiteY9219" fmla="*/ 949760 h 2052818"/>
                <a:gd name="connsiteX9220" fmla="*/ 1056954 w 2222569"/>
                <a:gd name="connsiteY9220" fmla="*/ 950086 h 2052818"/>
                <a:gd name="connsiteX9221" fmla="*/ 1059561 w 2222569"/>
                <a:gd name="connsiteY9221" fmla="*/ 946013 h 2052818"/>
                <a:gd name="connsiteX9222" fmla="*/ 1066403 w 2222569"/>
                <a:gd name="connsiteY9222" fmla="*/ 942267 h 2052818"/>
                <a:gd name="connsiteX9223" fmla="*/ 1067870 w 2222569"/>
                <a:gd name="connsiteY9223" fmla="*/ 942267 h 2052818"/>
                <a:gd name="connsiteX9224" fmla="*/ 1069336 w 2222569"/>
                <a:gd name="connsiteY9224" fmla="*/ 945199 h 2052818"/>
                <a:gd name="connsiteX9225" fmla="*/ 1079273 w 2222569"/>
                <a:gd name="connsiteY9225" fmla="*/ 944710 h 2052818"/>
                <a:gd name="connsiteX9226" fmla="*/ 1087745 w 2222569"/>
                <a:gd name="connsiteY9226" fmla="*/ 951389 h 2052818"/>
                <a:gd name="connsiteX9227" fmla="*/ 1091654 w 2222569"/>
                <a:gd name="connsiteY9227" fmla="*/ 952530 h 2052818"/>
                <a:gd name="connsiteX9228" fmla="*/ 1095564 w 2222569"/>
                <a:gd name="connsiteY9228" fmla="*/ 956277 h 2052818"/>
                <a:gd name="connsiteX9229" fmla="*/ 1097845 w 2222569"/>
                <a:gd name="connsiteY9229" fmla="*/ 954485 h 2052818"/>
                <a:gd name="connsiteX9230" fmla="*/ 1106968 w 2222569"/>
                <a:gd name="connsiteY9230" fmla="*/ 952530 h 2052818"/>
                <a:gd name="connsiteX9231" fmla="*/ 1110226 w 2222569"/>
                <a:gd name="connsiteY9231" fmla="*/ 956928 h 2052818"/>
                <a:gd name="connsiteX9232" fmla="*/ 1112832 w 2222569"/>
                <a:gd name="connsiteY9232" fmla="*/ 955299 h 2052818"/>
                <a:gd name="connsiteX9233" fmla="*/ 1112018 w 2222569"/>
                <a:gd name="connsiteY9233" fmla="*/ 949760 h 2052818"/>
                <a:gd name="connsiteX9234" fmla="*/ 1108108 w 2222569"/>
                <a:gd name="connsiteY9234" fmla="*/ 945362 h 2052818"/>
                <a:gd name="connsiteX9235" fmla="*/ 1106642 w 2222569"/>
                <a:gd name="connsiteY9235" fmla="*/ 938357 h 2052818"/>
                <a:gd name="connsiteX9236" fmla="*/ 1108434 w 2222569"/>
                <a:gd name="connsiteY9236" fmla="*/ 936076 h 2052818"/>
                <a:gd name="connsiteX9237" fmla="*/ 1111366 w 2222569"/>
                <a:gd name="connsiteY9237" fmla="*/ 936565 h 2052818"/>
                <a:gd name="connsiteX9238" fmla="*/ 1114136 w 2222569"/>
                <a:gd name="connsiteY9238" fmla="*/ 944873 h 2052818"/>
                <a:gd name="connsiteX9239" fmla="*/ 1115439 w 2222569"/>
                <a:gd name="connsiteY9239" fmla="*/ 951552 h 2052818"/>
                <a:gd name="connsiteX9240" fmla="*/ 1122444 w 2222569"/>
                <a:gd name="connsiteY9240" fmla="*/ 960024 h 2052818"/>
                <a:gd name="connsiteX9241" fmla="*/ 1126028 w 2222569"/>
                <a:gd name="connsiteY9241" fmla="*/ 962793 h 2052818"/>
                <a:gd name="connsiteX9242" fmla="*/ 1127657 w 2222569"/>
                <a:gd name="connsiteY9242" fmla="*/ 968495 h 2052818"/>
                <a:gd name="connsiteX9243" fmla="*/ 1127983 w 2222569"/>
                <a:gd name="connsiteY9243" fmla="*/ 958069 h 2052818"/>
                <a:gd name="connsiteX9244" fmla="*/ 1125377 w 2222569"/>
                <a:gd name="connsiteY9244" fmla="*/ 954648 h 2052818"/>
                <a:gd name="connsiteX9245" fmla="*/ 1118371 w 2222569"/>
                <a:gd name="connsiteY9245" fmla="*/ 951715 h 2052818"/>
                <a:gd name="connsiteX9246" fmla="*/ 1116742 w 2222569"/>
                <a:gd name="connsiteY9246" fmla="*/ 944384 h 2052818"/>
                <a:gd name="connsiteX9247" fmla="*/ 1114136 w 2222569"/>
                <a:gd name="connsiteY9247" fmla="*/ 934284 h 2052818"/>
                <a:gd name="connsiteX9248" fmla="*/ 1115439 w 2222569"/>
                <a:gd name="connsiteY9248" fmla="*/ 930863 h 2052818"/>
                <a:gd name="connsiteX9249" fmla="*/ 1117394 w 2222569"/>
                <a:gd name="connsiteY9249" fmla="*/ 931352 h 2052818"/>
                <a:gd name="connsiteX9250" fmla="*/ 1117394 w 2222569"/>
                <a:gd name="connsiteY9250" fmla="*/ 934610 h 2052818"/>
                <a:gd name="connsiteX9251" fmla="*/ 1119675 w 2222569"/>
                <a:gd name="connsiteY9251" fmla="*/ 936565 h 2052818"/>
                <a:gd name="connsiteX9252" fmla="*/ 1122444 w 2222569"/>
                <a:gd name="connsiteY9252" fmla="*/ 934284 h 2052818"/>
                <a:gd name="connsiteX9253" fmla="*/ 1122444 w 2222569"/>
                <a:gd name="connsiteY9253" fmla="*/ 930863 h 2052818"/>
                <a:gd name="connsiteX9254" fmla="*/ 1120163 w 2222569"/>
                <a:gd name="connsiteY9254" fmla="*/ 926627 h 2052818"/>
                <a:gd name="connsiteX9255" fmla="*/ 1121792 w 2222569"/>
                <a:gd name="connsiteY9255" fmla="*/ 923858 h 2052818"/>
                <a:gd name="connsiteX9256" fmla="*/ 1120326 w 2222569"/>
                <a:gd name="connsiteY9256" fmla="*/ 921088 h 2052818"/>
                <a:gd name="connsiteX9257" fmla="*/ 1121304 w 2222569"/>
                <a:gd name="connsiteY9257" fmla="*/ 917993 h 2052818"/>
                <a:gd name="connsiteX9258" fmla="*/ 1125213 w 2222569"/>
                <a:gd name="connsiteY9258" fmla="*/ 917993 h 2052818"/>
                <a:gd name="connsiteX9259" fmla="*/ 1127983 w 2222569"/>
                <a:gd name="connsiteY9259" fmla="*/ 922066 h 2052818"/>
                <a:gd name="connsiteX9260" fmla="*/ 1127983 w 2222569"/>
                <a:gd name="connsiteY9260" fmla="*/ 925324 h 2052818"/>
                <a:gd name="connsiteX9261" fmla="*/ 1129938 w 2222569"/>
                <a:gd name="connsiteY9261" fmla="*/ 926627 h 2052818"/>
                <a:gd name="connsiteX9262" fmla="*/ 1130915 w 2222569"/>
                <a:gd name="connsiteY9262" fmla="*/ 924672 h 2052818"/>
                <a:gd name="connsiteX9263" fmla="*/ 1136128 w 2222569"/>
                <a:gd name="connsiteY9263" fmla="*/ 921740 h 2052818"/>
                <a:gd name="connsiteX9264" fmla="*/ 1137920 w 2222569"/>
                <a:gd name="connsiteY9264" fmla="*/ 916527 h 2052818"/>
                <a:gd name="connsiteX9265" fmla="*/ 1142319 w 2222569"/>
                <a:gd name="connsiteY9265" fmla="*/ 916527 h 2052818"/>
                <a:gd name="connsiteX9266" fmla="*/ 1144763 w 2222569"/>
                <a:gd name="connsiteY9266" fmla="*/ 920763 h 2052818"/>
                <a:gd name="connsiteX9267" fmla="*/ 1143134 w 2222569"/>
                <a:gd name="connsiteY9267" fmla="*/ 923695 h 2052818"/>
                <a:gd name="connsiteX9268" fmla="*/ 1143134 w 2222569"/>
                <a:gd name="connsiteY9268" fmla="*/ 926627 h 2052818"/>
                <a:gd name="connsiteX9269" fmla="*/ 1144437 w 2222569"/>
                <a:gd name="connsiteY9269" fmla="*/ 923369 h 2052818"/>
                <a:gd name="connsiteX9270" fmla="*/ 1147043 w 2222569"/>
                <a:gd name="connsiteY9270" fmla="*/ 922555 h 2052818"/>
                <a:gd name="connsiteX9271" fmla="*/ 1150953 w 2222569"/>
                <a:gd name="connsiteY9271" fmla="*/ 925813 h 2052818"/>
                <a:gd name="connsiteX9272" fmla="*/ 1150139 w 2222569"/>
                <a:gd name="connsiteY9272" fmla="*/ 931515 h 2052818"/>
                <a:gd name="connsiteX9273" fmla="*/ 1148510 w 2222569"/>
                <a:gd name="connsiteY9273" fmla="*/ 934773 h 2052818"/>
                <a:gd name="connsiteX9274" fmla="*/ 1151442 w 2222569"/>
                <a:gd name="connsiteY9274" fmla="*/ 938194 h 2052818"/>
                <a:gd name="connsiteX9275" fmla="*/ 1155515 w 2222569"/>
                <a:gd name="connsiteY9275" fmla="*/ 937053 h 2052818"/>
                <a:gd name="connsiteX9276" fmla="*/ 1158773 w 2222569"/>
                <a:gd name="connsiteY9276" fmla="*/ 938845 h 2052818"/>
                <a:gd name="connsiteX9277" fmla="*/ 1157470 w 2222569"/>
                <a:gd name="connsiteY9277" fmla="*/ 942918 h 2052818"/>
                <a:gd name="connsiteX9278" fmla="*/ 1151605 w 2222569"/>
                <a:gd name="connsiteY9278" fmla="*/ 945362 h 2052818"/>
                <a:gd name="connsiteX9279" fmla="*/ 1150627 w 2222569"/>
                <a:gd name="connsiteY9279" fmla="*/ 947317 h 2052818"/>
                <a:gd name="connsiteX9280" fmla="*/ 1154048 w 2222569"/>
                <a:gd name="connsiteY9280" fmla="*/ 948783 h 2052818"/>
                <a:gd name="connsiteX9281" fmla="*/ 1159750 w 2222569"/>
                <a:gd name="connsiteY9281" fmla="*/ 944873 h 2052818"/>
                <a:gd name="connsiteX9282" fmla="*/ 1162845 w 2222569"/>
                <a:gd name="connsiteY9282" fmla="*/ 939660 h 2052818"/>
                <a:gd name="connsiteX9283" fmla="*/ 1169036 w 2222569"/>
                <a:gd name="connsiteY9283" fmla="*/ 938031 h 2052818"/>
                <a:gd name="connsiteX9284" fmla="*/ 1174249 w 2222569"/>
                <a:gd name="connsiteY9284" fmla="*/ 938520 h 2052818"/>
                <a:gd name="connsiteX9285" fmla="*/ 1174249 w 2222569"/>
                <a:gd name="connsiteY9285" fmla="*/ 940475 h 2052818"/>
                <a:gd name="connsiteX9286" fmla="*/ 1170502 w 2222569"/>
                <a:gd name="connsiteY9286" fmla="*/ 941615 h 2052818"/>
                <a:gd name="connsiteX9287" fmla="*/ 1167407 w 2222569"/>
                <a:gd name="connsiteY9287" fmla="*/ 944384 h 2052818"/>
                <a:gd name="connsiteX9288" fmla="*/ 1166918 w 2222569"/>
                <a:gd name="connsiteY9288" fmla="*/ 950412 h 2052818"/>
                <a:gd name="connsiteX9289" fmla="*/ 1159424 w 2222569"/>
                <a:gd name="connsiteY9289" fmla="*/ 954973 h 2052818"/>
                <a:gd name="connsiteX9290" fmla="*/ 1158936 w 2222569"/>
                <a:gd name="connsiteY9290" fmla="*/ 958069 h 2052818"/>
                <a:gd name="connsiteX9291" fmla="*/ 1151605 w 2222569"/>
                <a:gd name="connsiteY9291" fmla="*/ 964911 h 2052818"/>
                <a:gd name="connsiteX9292" fmla="*/ 1151605 w 2222569"/>
                <a:gd name="connsiteY9292" fmla="*/ 968169 h 2052818"/>
                <a:gd name="connsiteX9293" fmla="*/ 1149650 w 2222569"/>
                <a:gd name="connsiteY9293" fmla="*/ 970938 h 2052818"/>
                <a:gd name="connsiteX9294" fmla="*/ 1148510 w 2222569"/>
                <a:gd name="connsiteY9294" fmla="*/ 966703 h 2052818"/>
                <a:gd name="connsiteX9295" fmla="*/ 1145414 w 2222569"/>
                <a:gd name="connsiteY9295" fmla="*/ 971264 h 2052818"/>
                <a:gd name="connsiteX9296" fmla="*/ 1143459 w 2222569"/>
                <a:gd name="connsiteY9296" fmla="*/ 979736 h 2052818"/>
                <a:gd name="connsiteX9297" fmla="*/ 1143948 w 2222569"/>
                <a:gd name="connsiteY9297" fmla="*/ 982668 h 2052818"/>
                <a:gd name="connsiteX9298" fmla="*/ 1148021 w 2222569"/>
                <a:gd name="connsiteY9298" fmla="*/ 980713 h 2052818"/>
                <a:gd name="connsiteX9299" fmla="*/ 1150953 w 2222569"/>
                <a:gd name="connsiteY9299" fmla="*/ 980713 h 2052818"/>
                <a:gd name="connsiteX9300" fmla="*/ 1150790 w 2222569"/>
                <a:gd name="connsiteY9300" fmla="*/ 985112 h 2052818"/>
                <a:gd name="connsiteX9301" fmla="*/ 1145414 w 2222569"/>
                <a:gd name="connsiteY9301" fmla="*/ 988859 h 2052818"/>
                <a:gd name="connsiteX9302" fmla="*/ 1145088 w 2222569"/>
                <a:gd name="connsiteY9302" fmla="*/ 991791 h 2052818"/>
                <a:gd name="connsiteX9303" fmla="*/ 1151931 w 2222569"/>
                <a:gd name="connsiteY9303" fmla="*/ 989836 h 2052818"/>
                <a:gd name="connsiteX9304" fmla="*/ 1155515 w 2222569"/>
                <a:gd name="connsiteY9304" fmla="*/ 986578 h 2052818"/>
                <a:gd name="connsiteX9305" fmla="*/ 1159262 w 2222569"/>
                <a:gd name="connsiteY9305" fmla="*/ 986904 h 2052818"/>
                <a:gd name="connsiteX9306" fmla="*/ 1156003 w 2222569"/>
                <a:gd name="connsiteY9306" fmla="*/ 992280 h 2052818"/>
                <a:gd name="connsiteX9307" fmla="*/ 1152582 w 2222569"/>
                <a:gd name="connsiteY9307" fmla="*/ 994886 h 2052818"/>
                <a:gd name="connsiteX9308" fmla="*/ 1155678 w 2222569"/>
                <a:gd name="connsiteY9308" fmla="*/ 995864 h 2052818"/>
                <a:gd name="connsiteX9309" fmla="*/ 1159750 w 2222569"/>
                <a:gd name="connsiteY9309" fmla="*/ 994235 h 2052818"/>
                <a:gd name="connsiteX9310" fmla="*/ 1157470 w 2222569"/>
                <a:gd name="connsiteY9310" fmla="*/ 1000751 h 2052818"/>
                <a:gd name="connsiteX9311" fmla="*/ 1156981 w 2222569"/>
                <a:gd name="connsiteY9311" fmla="*/ 1004824 h 2052818"/>
                <a:gd name="connsiteX9312" fmla="*/ 1153397 w 2222569"/>
                <a:gd name="connsiteY9312" fmla="*/ 1007756 h 2052818"/>
                <a:gd name="connsiteX9313" fmla="*/ 1147858 w 2222569"/>
                <a:gd name="connsiteY9313" fmla="*/ 1005475 h 2052818"/>
                <a:gd name="connsiteX9314" fmla="*/ 1145414 w 2222569"/>
                <a:gd name="connsiteY9314" fmla="*/ 1000914 h 2052818"/>
                <a:gd name="connsiteX9315" fmla="*/ 1139387 w 2222569"/>
                <a:gd name="connsiteY9315" fmla="*/ 1003846 h 2052818"/>
                <a:gd name="connsiteX9316" fmla="*/ 1137106 w 2222569"/>
                <a:gd name="connsiteY9316" fmla="*/ 996841 h 2052818"/>
                <a:gd name="connsiteX9317" fmla="*/ 1135151 w 2222569"/>
                <a:gd name="connsiteY9317" fmla="*/ 996841 h 2052818"/>
                <a:gd name="connsiteX9318" fmla="*/ 1133522 w 2222569"/>
                <a:gd name="connsiteY9318" fmla="*/ 1004009 h 2052818"/>
                <a:gd name="connsiteX9319" fmla="*/ 1136780 w 2222569"/>
                <a:gd name="connsiteY9319" fmla="*/ 1009059 h 2052818"/>
                <a:gd name="connsiteX9320" fmla="*/ 1138735 w 2222569"/>
                <a:gd name="connsiteY9320" fmla="*/ 1015739 h 2052818"/>
                <a:gd name="connsiteX9321" fmla="*/ 1136943 w 2222569"/>
                <a:gd name="connsiteY9321" fmla="*/ 1026816 h 2052818"/>
                <a:gd name="connsiteX9322" fmla="*/ 1141342 w 2222569"/>
                <a:gd name="connsiteY9322" fmla="*/ 1016716 h 2052818"/>
                <a:gd name="connsiteX9323" fmla="*/ 1139875 w 2222569"/>
                <a:gd name="connsiteY9323" fmla="*/ 1008733 h 2052818"/>
                <a:gd name="connsiteX9324" fmla="*/ 1142971 w 2222569"/>
                <a:gd name="connsiteY9324" fmla="*/ 1005964 h 2052818"/>
                <a:gd name="connsiteX9325" fmla="*/ 1146066 w 2222569"/>
                <a:gd name="connsiteY9325" fmla="*/ 1009059 h 2052818"/>
                <a:gd name="connsiteX9326" fmla="*/ 1151605 w 2222569"/>
                <a:gd name="connsiteY9326" fmla="*/ 1009385 h 2052818"/>
                <a:gd name="connsiteX9327" fmla="*/ 1155840 w 2222569"/>
                <a:gd name="connsiteY9327" fmla="*/ 1012480 h 2052818"/>
                <a:gd name="connsiteX9328" fmla="*/ 1159262 w 2222569"/>
                <a:gd name="connsiteY9328" fmla="*/ 1009548 h 2052818"/>
                <a:gd name="connsiteX9329" fmla="*/ 1159750 w 2222569"/>
                <a:gd name="connsiteY9329" fmla="*/ 1003846 h 2052818"/>
                <a:gd name="connsiteX9330" fmla="*/ 1166429 w 2222569"/>
                <a:gd name="connsiteY9330" fmla="*/ 1001891 h 2052818"/>
                <a:gd name="connsiteX9331" fmla="*/ 1170828 w 2222569"/>
                <a:gd name="connsiteY9331" fmla="*/ 996841 h 2052818"/>
                <a:gd name="connsiteX9332" fmla="*/ 1175715 w 2222569"/>
                <a:gd name="connsiteY9332" fmla="*/ 996841 h 2052818"/>
                <a:gd name="connsiteX9333" fmla="*/ 1179136 w 2222569"/>
                <a:gd name="connsiteY9333" fmla="*/ 992117 h 2052818"/>
                <a:gd name="connsiteX9334" fmla="*/ 1174901 w 2222569"/>
                <a:gd name="connsiteY9334" fmla="*/ 995049 h 2052818"/>
                <a:gd name="connsiteX9335" fmla="*/ 1169851 w 2222569"/>
                <a:gd name="connsiteY9335" fmla="*/ 994235 h 2052818"/>
                <a:gd name="connsiteX9336" fmla="*/ 1167407 w 2222569"/>
                <a:gd name="connsiteY9336" fmla="*/ 997981 h 2052818"/>
                <a:gd name="connsiteX9337" fmla="*/ 1164149 w 2222569"/>
                <a:gd name="connsiteY9337" fmla="*/ 999448 h 2052818"/>
                <a:gd name="connsiteX9338" fmla="*/ 1162357 w 2222569"/>
                <a:gd name="connsiteY9338" fmla="*/ 999448 h 2052818"/>
                <a:gd name="connsiteX9339" fmla="*/ 1164800 w 2222569"/>
                <a:gd name="connsiteY9339" fmla="*/ 993746 h 2052818"/>
                <a:gd name="connsiteX9340" fmla="*/ 1168059 w 2222569"/>
                <a:gd name="connsiteY9340" fmla="*/ 991139 h 2052818"/>
                <a:gd name="connsiteX9341" fmla="*/ 1166104 w 2222569"/>
                <a:gd name="connsiteY9341" fmla="*/ 988044 h 2052818"/>
                <a:gd name="connsiteX9342" fmla="*/ 1166104 w 2222569"/>
                <a:gd name="connsiteY9342" fmla="*/ 984623 h 2052818"/>
                <a:gd name="connsiteX9343" fmla="*/ 1169199 w 2222569"/>
                <a:gd name="connsiteY9343" fmla="*/ 977292 h 2052818"/>
                <a:gd name="connsiteX9344" fmla="*/ 1168873 w 2222569"/>
                <a:gd name="connsiteY9344" fmla="*/ 973545 h 2052818"/>
                <a:gd name="connsiteX9345" fmla="*/ 1166267 w 2222569"/>
                <a:gd name="connsiteY9345" fmla="*/ 970613 h 2052818"/>
                <a:gd name="connsiteX9346" fmla="*/ 1167896 w 2222569"/>
                <a:gd name="connsiteY9346" fmla="*/ 968332 h 2052818"/>
                <a:gd name="connsiteX9347" fmla="*/ 1172131 w 2222569"/>
                <a:gd name="connsiteY9347" fmla="*/ 961816 h 2052818"/>
                <a:gd name="connsiteX9348" fmla="*/ 1173923 w 2222569"/>
                <a:gd name="connsiteY9348" fmla="*/ 955299 h 2052818"/>
                <a:gd name="connsiteX9349" fmla="*/ 1179136 w 2222569"/>
                <a:gd name="connsiteY9349" fmla="*/ 951064 h 2052818"/>
                <a:gd name="connsiteX9350" fmla="*/ 1180603 w 2222569"/>
                <a:gd name="connsiteY9350" fmla="*/ 953019 h 2052818"/>
                <a:gd name="connsiteX9351" fmla="*/ 1179299 w 2222569"/>
                <a:gd name="connsiteY9351" fmla="*/ 955299 h 2052818"/>
                <a:gd name="connsiteX9352" fmla="*/ 1182232 w 2222569"/>
                <a:gd name="connsiteY9352" fmla="*/ 954322 h 2052818"/>
                <a:gd name="connsiteX9353" fmla="*/ 1185001 w 2222569"/>
                <a:gd name="connsiteY9353" fmla="*/ 950249 h 2052818"/>
                <a:gd name="connsiteX9354" fmla="*/ 1186304 w 2222569"/>
                <a:gd name="connsiteY9354" fmla="*/ 952693 h 2052818"/>
                <a:gd name="connsiteX9355" fmla="*/ 1188259 w 2222569"/>
                <a:gd name="connsiteY9355" fmla="*/ 952693 h 2052818"/>
                <a:gd name="connsiteX9356" fmla="*/ 1189726 w 2222569"/>
                <a:gd name="connsiteY9356" fmla="*/ 955462 h 2052818"/>
                <a:gd name="connsiteX9357" fmla="*/ 1194287 w 2222569"/>
                <a:gd name="connsiteY9357" fmla="*/ 954485 h 2052818"/>
                <a:gd name="connsiteX9358" fmla="*/ 1197219 w 2222569"/>
                <a:gd name="connsiteY9358" fmla="*/ 950249 h 2052818"/>
                <a:gd name="connsiteX9359" fmla="*/ 1208786 w 2222569"/>
                <a:gd name="connsiteY9359" fmla="*/ 945525 h 2052818"/>
                <a:gd name="connsiteX9360" fmla="*/ 1211229 w 2222569"/>
                <a:gd name="connsiteY9360" fmla="*/ 941126 h 2052818"/>
                <a:gd name="connsiteX9361" fmla="*/ 1211229 w 2222569"/>
                <a:gd name="connsiteY9361" fmla="*/ 938520 h 2052818"/>
                <a:gd name="connsiteX9362" fmla="*/ 1214162 w 2222569"/>
                <a:gd name="connsiteY9362" fmla="*/ 937542 h 2052818"/>
                <a:gd name="connsiteX9363" fmla="*/ 1218886 w 2222569"/>
                <a:gd name="connsiteY9363" fmla="*/ 932329 h 2052818"/>
                <a:gd name="connsiteX9364" fmla="*/ 1226054 w 2222569"/>
                <a:gd name="connsiteY9364" fmla="*/ 931515 h 2052818"/>
                <a:gd name="connsiteX9365" fmla="*/ 1229475 w 2222569"/>
                <a:gd name="connsiteY9365" fmla="*/ 927442 h 2052818"/>
                <a:gd name="connsiteX9366" fmla="*/ 1229150 w 2222569"/>
                <a:gd name="connsiteY9366" fmla="*/ 924347 h 2052818"/>
                <a:gd name="connsiteX9367" fmla="*/ 1230453 w 2222569"/>
                <a:gd name="connsiteY9367" fmla="*/ 917667 h 2052818"/>
                <a:gd name="connsiteX9368" fmla="*/ 1233874 w 2222569"/>
                <a:gd name="connsiteY9368" fmla="*/ 911640 h 2052818"/>
                <a:gd name="connsiteX9369" fmla="*/ 1234851 w 2222569"/>
                <a:gd name="connsiteY9369" fmla="*/ 907078 h 2052818"/>
                <a:gd name="connsiteX9370" fmla="*/ 1233059 w 2222569"/>
                <a:gd name="connsiteY9370" fmla="*/ 904634 h 2052818"/>
                <a:gd name="connsiteX9371" fmla="*/ 1230127 w 2222569"/>
                <a:gd name="connsiteY9371" fmla="*/ 906915 h 2052818"/>
                <a:gd name="connsiteX9372" fmla="*/ 1226054 w 2222569"/>
                <a:gd name="connsiteY9372" fmla="*/ 907567 h 2052818"/>
                <a:gd name="connsiteX9373" fmla="*/ 1227032 w 2222569"/>
                <a:gd name="connsiteY9373" fmla="*/ 909522 h 2052818"/>
                <a:gd name="connsiteX9374" fmla="*/ 1224588 w 2222569"/>
                <a:gd name="connsiteY9374" fmla="*/ 913757 h 2052818"/>
                <a:gd name="connsiteX9375" fmla="*/ 1219864 w 2222569"/>
                <a:gd name="connsiteY9375" fmla="*/ 914735 h 2052818"/>
                <a:gd name="connsiteX9376" fmla="*/ 1217257 w 2222569"/>
                <a:gd name="connsiteY9376" fmla="*/ 912780 h 2052818"/>
                <a:gd name="connsiteX9377" fmla="*/ 1213999 w 2222569"/>
                <a:gd name="connsiteY9377" fmla="*/ 912780 h 2052818"/>
                <a:gd name="connsiteX9378" fmla="*/ 1212859 w 2222569"/>
                <a:gd name="connsiteY9378" fmla="*/ 910988 h 2052818"/>
                <a:gd name="connsiteX9379" fmla="*/ 1216280 w 2222569"/>
                <a:gd name="connsiteY9379" fmla="*/ 904309 h 2052818"/>
                <a:gd name="connsiteX9380" fmla="*/ 1219375 w 2222569"/>
                <a:gd name="connsiteY9380" fmla="*/ 904309 h 2052818"/>
                <a:gd name="connsiteX9381" fmla="*/ 1222307 w 2222569"/>
                <a:gd name="connsiteY9381" fmla="*/ 900562 h 2052818"/>
                <a:gd name="connsiteX9382" fmla="*/ 1228987 w 2222569"/>
                <a:gd name="connsiteY9382" fmla="*/ 897629 h 2052818"/>
                <a:gd name="connsiteX9383" fmla="*/ 1229312 w 2222569"/>
                <a:gd name="connsiteY9383" fmla="*/ 894371 h 2052818"/>
                <a:gd name="connsiteX9384" fmla="*/ 1226543 w 2222569"/>
                <a:gd name="connsiteY9384" fmla="*/ 891928 h 2052818"/>
                <a:gd name="connsiteX9385" fmla="*/ 1230942 w 2222569"/>
                <a:gd name="connsiteY9385" fmla="*/ 886389 h 2052818"/>
                <a:gd name="connsiteX9386" fmla="*/ 1236643 w 2222569"/>
                <a:gd name="connsiteY9386" fmla="*/ 885248 h 2052818"/>
                <a:gd name="connsiteX9387" fmla="*/ 1242345 w 2222569"/>
                <a:gd name="connsiteY9387" fmla="*/ 886877 h 2052818"/>
                <a:gd name="connsiteX9388" fmla="*/ 1238110 w 2222569"/>
                <a:gd name="connsiteY9388" fmla="*/ 889647 h 2052818"/>
                <a:gd name="connsiteX9389" fmla="*/ 1237458 w 2222569"/>
                <a:gd name="connsiteY9389" fmla="*/ 894860 h 2052818"/>
                <a:gd name="connsiteX9390" fmla="*/ 1239087 w 2222569"/>
                <a:gd name="connsiteY9390" fmla="*/ 896000 h 2052818"/>
                <a:gd name="connsiteX9391" fmla="*/ 1244300 w 2222569"/>
                <a:gd name="connsiteY9391" fmla="*/ 893394 h 2052818"/>
                <a:gd name="connsiteX9392" fmla="*/ 1248699 w 2222569"/>
                <a:gd name="connsiteY9392" fmla="*/ 883782 h 2052818"/>
                <a:gd name="connsiteX9393" fmla="*/ 1248699 w 2222569"/>
                <a:gd name="connsiteY9393" fmla="*/ 879709 h 2052818"/>
                <a:gd name="connsiteX9394" fmla="*/ 1243486 w 2222569"/>
                <a:gd name="connsiteY9394" fmla="*/ 878406 h 2052818"/>
                <a:gd name="connsiteX9395" fmla="*/ 1239087 w 2222569"/>
                <a:gd name="connsiteY9395" fmla="*/ 878406 h 2052818"/>
                <a:gd name="connsiteX9396" fmla="*/ 1235992 w 2222569"/>
                <a:gd name="connsiteY9396" fmla="*/ 876125 h 2052818"/>
                <a:gd name="connsiteX9397" fmla="*/ 1228824 w 2222569"/>
                <a:gd name="connsiteY9397" fmla="*/ 874496 h 2052818"/>
                <a:gd name="connsiteX9398" fmla="*/ 1226217 w 2222569"/>
                <a:gd name="connsiteY9398" fmla="*/ 867328 h 2052818"/>
                <a:gd name="connsiteX9399" fmla="*/ 1227358 w 2222569"/>
                <a:gd name="connsiteY9399" fmla="*/ 861626 h 2052818"/>
                <a:gd name="connsiteX9400" fmla="*/ 1223611 w 2222569"/>
                <a:gd name="connsiteY9400" fmla="*/ 867003 h 2052818"/>
                <a:gd name="connsiteX9401" fmla="*/ 1220841 w 2222569"/>
                <a:gd name="connsiteY9401" fmla="*/ 867003 h 2052818"/>
                <a:gd name="connsiteX9402" fmla="*/ 1218235 w 2222569"/>
                <a:gd name="connsiteY9402" fmla="*/ 862441 h 2052818"/>
                <a:gd name="connsiteX9403" fmla="*/ 1213673 w 2222569"/>
                <a:gd name="connsiteY9403" fmla="*/ 859672 h 2052818"/>
                <a:gd name="connsiteX9404" fmla="*/ 1212370 w 2222569"/>
                <a:gd name="connsiteY9404" fmla="*/ 853970 h 2052818"/>
                <a:gd name="connsiteX9405" fmla="*/ 1210089 w 2222569"/>
                <a:gd name="connsiteY9405" fmla="*/ 852829 h 2052818"/>
                <a:gd name="connsiteX9406" fmla="*/ 1206342 w 2222569"/>
                <a:gd name="connsiteY9406" fmla="*/ 853318 h 2052818"/>
                <a:gd name="connsiteX9407" fmla="*/ 1205202 w 2222569"/>
                <a:gd name="connsiteY9407" fmla="*/ 849245 h 2052818"/>
                <a:gd name="connsiteX9408" fmla="*/ 1203573 w 2222569"/>
                <a:gd name="connsiteY9408" fmla="*/ 846965 h 2052818"/>
                <a:gd name="connsiteX9409" fmla="*/ 1206016 w 2222569"/>
                <a:gd name="connsiteY9409" fmla="*/ 842729 h 2052818"/>
                <a:gd name="connsiteX9410" fmla="*/ 1206016 w 2222569"/>
                <a:gd name="connsiteY9410" fmla="*/ 838656 h 2052818"/>
                <a:gd name="connsiteX9411" fmla="*/ 1203736 w 2222569"/>
                <a:gd name="connsiteY9411" fmla="*/ 833932 h 2052818"/>
                <a:gd name="connsiteX9412" fmla="*/ 1204387 w 2222569"/>
                <a:gd name="connsiteY9412" fmla="*/ 821551 h 2052818"/>
                <a:gd name="connsiteX9413" fmla="*/ 1207971 w 2222569"/>
                <a:gd name="connsiteY9413" fmla="*/ 817315 h 2052818"/>
                <a:gd name="connsiteX9414" fmla="*/ 1216443 w 2222569"/>
                <a:gd name="connsiteY9414" fmla="*/ 809658 h 2052818"/>
                <a:gd name="connsiteX9415" fmla="*/ 1221493 w 2222569"/>
                <a:gd name="connsiteY9415" fmla="*/ 807704 h 2052818"/>
                <a:gd name="connsiteX9416" fmla="*/ 1225728 w 2222569"/>
                <a:gd name="connsiteY9416" fmla="*/ 807704 h 2052818"/>
                <a:gd name="connsiteX9417" fmla="*/ 1226217 w 2222569"/>
                <a:gd name="connsiteY9417" fmla="*/ 805912 h 2052818"/>
                <a:gd name="connsiteX9418" fmla="*/ 1230290 w 2222569"/>
                <a:gd name="connsiteY9418" fmla="*/ 802653 h 2052818"/>
                <a:gd name="connsiteX9419" fmla="*/ 1230779 w 2222569"/>
                <a:gd name="connsiteY9419" fmla="*/ 799558 h 2052818"/>
                <a:gd name="connsiteX9420" fmla="*/ 1228009 w 2222569"/>
                <a:gd name="connsiteY9420" fmla="*/ 799558 h 2052818"/>
                <a:gd name="connsiteX9421" fmla="*/ 1223936 w 2222569"/>
                <a:gd name="connsiteY9421" fmla="*/ 802165 h 2052818"/>
                <a:gd name="connsiteX9422" fmla="*/ 1221330 w 2222569"/>
                <a:gd name="connsiteY9422" fmla="*/ 801024 h 2052818"/>
                <a:gd name="connsiteX9423" fmla="*/ 1221330 w 2222569"/>
                <a:gd name="connsiteY9423" fmla="*/ 797929 h 2052818"/>
                <a:gd name="connsiteX9424" fmla="*/ 1219538 w 2222569"/>
                <a:gd name="connsiteY9424" fmla="*/ 792553 h 2052818"/>
                <a:gd name="connsiteX9425" fmla="*/ 1220190 w 2222569"/>
                <a:gd name="connsiteY9425" fmla="*/ 787177 h 2052818"/>
                <a:gd name="connsiteX9426" fmla="*/ 1226706 w 2222569"/>
                <a:gd name="connsiteY9426" fmla="*/ 780009 h 2052818"/>
                <a:gd name="connsiteX9427" fmla="*/ 1230779 w 2222569"/>
                <a:gd name="connsiteY9427" fmla="*/ 771049 h 2052818"/>
                <a:gd name="connsiteX9428" fmla="*/ 1233874 w 2222569"/>
                <a:gd name="connsiteY9428" fmla="*/ 769746 h 2052818"/>
                <a:gd name="connsiteX9429" fmla="*/ 1237458 w 2222569"/>
                <a:gd name="connsiteY9429" fmla="*/ 763066 h 2052818"/>
                <a:gd name="connsiteX9430" fmla="*/ 1240716 w 2222569"/>
                <a:gd name="connsiteY9430" fmla="*/ 763066 h 2052818"/>
                <a:gd name="connsiteX9431" fmla="*/ 1244463 w 2222569"/>
                <a:gd name="connsiteY9431" fmla="*/ 757202 h 2052818"/>
                <a:gd name="connsiteX9432" fmla="*/ 1250491 w 2222569"/>
                <a:gd name="connsiteY9432" fmla="*/ 754595 h 2052818"/>
                <a:gd name="connsiteX9433" fmla="*/ 1253912 w 2222569"/>
                <a:gd name="connsiteY9433" fmla="*/ 757528 h 2052818"/>
                <a:gd name="connsiteX9434" fmla="*/ 1252120 w 2222569"/>
                <a:gd name="connsiteY9434" fmla="*/ 763066 h 2052818"/>
                <a:gd name="connsiteX9435" fmla="*/ 1254889 w 2222569"/>
                <a:gd name="connsiteY9435" fmla="*/ 765836 h 2052818"/>
                <a:gd name="connsiteX9436" fmla="*/ 1253749 w 2222569"/>
                <a:gd name="connsiteY9436" fmla="*/ 769583 h 2052818"/>
                <a:gd name="connsiteX9437" fmla="*/ 1258962 w 2222569"/>
                <a:gd name="connsiteY9437" fmla="*/ 766813 h 2052818"/>
                <a:gd name="connsiteX9438" fmla="*/ 1259777 w 2222569"/>
                <a:gd name="connsiteY9438" fmla="*/ 763555 h 2052818"/>
                <a:gd name="connsiteX9439" fmla="*/ 1265641 w 2222569"/>
                <a:gd name="connsiteY9439" fmla="*/ 754758 h 2052818"/>
                <a:gd name="connsiteX9440" fmla="*/ 1265641 w 2222569"/>
                <a:gd name="connsiteY9440" fmla="*/ 752477 h 2052818"/>
                <a:gd name="connsiteX9441" fmla="*/ 1261569 w 2222569"/>
                <a:gd name="connsiteY9441" fmla="*/ 751989 h 2052818"/>
                <a:gd name="connsiteX9442" fmla="*/ 1257333 w 2222569"/>
                <a:gd name="connsiteY9442" fmla="*/ 750197 h 2052818"/>
                <a:gd name="connsiteX9443" fmla="*/ 1254075 w 2222569"/>
                <a:gd name="connsiteY9443" fmla="*/ 745635 h 2052818"/>
                <a:gd name="connsiteX9444" fmla="*/ 1258473 w 2222569"/>
                <a:gd name="connsiteY9444" fmla="*/ 741562 h 2052818"/>
                <a:gd name="connsiteX9445" fmla="*/ 1265315 w 2222569"/>
                <a:gd name="connsiteY9445" fmla="*/ 741562 h 2052818"/>
                <a:gd name="connsiteX9446" fmla="*/ 1267107 w 2222569"/>
                <a:gd name="connsiteY9446" fmla="*/ 738630 h 2052818"/>
                <a:gd name="connsiteX9447" fmla="*/ 1274112 w 2222569"/>
                <a:gd name="connsiteY9447" fmla="*/ 734069 h 2052818"/>
                <a:gd name="connsiteX9448" fmla="*/ 1274112 w 2222569"/>
                <a:gd name="connsiteY9448" fmla="*/ 729833 h 2052818"/>
                <a:gd name="connsiteX9449" fmla="*/ 1277534 w 2222569"/>
                <a:gd name="connsiteY9449" fmla="*/ 728041 h 2052818"/>
                <a:gd name="connsiteX9450" fmla="*/ 1283236 w 2222569"/>
                <a:gd name="connsiteY9450" fmla="*/ 729996 h 2052818"/>
                <a:gd name="connsiteX9451" fmla="*/ 1291544 w 2222569"/>
                <a:gd name="connsiteY9451" fmla="*/ 731788 h 2052818"/>
                <a:gd name="connsiteX9452" fmla="*/ 1292033 w 2222569"/>
                <a:gd name="connsiteY9452" fmla="*/ 736512 h 2052818"/>
                <a:gd name="connsiteX9453" fmla="*/ 1290892 w 2222569"/>
                <a:gd name="connsiteY9453" fmla="*/ 738793 h 2052818"/>
                <a:gd name="connsiteX9454" fmla="*/ 1293987 w 2222569"/>
                <a:gd name="connsiteY9454" fmla="*/ 740096 h 2052818"/>
                <a:gd name="connsiteX9455" fmla="*/ 1298060 w 2222569"/>
                <a:gd name="connsiteY9455" fmla="*/ 744169 h 2052818"/>
                <a:gd name="connsiteX9456" fmla="*/ 1301970 w 2222569"/>
                <a:gd name="connsiteY9456" fmla="*/ 746776 h 2052818"/>
                <a:gd name="connsiteX9457" fmla="*/ 1300178 w 2222569"/>
                <a:gd name="connsiteY9457" fmla="*/ 751826 h 2052818"/>
                <a:gd name="connsiteX9458" fmla="*/ 1297734 w 2222569"/>
                <a:gd name="connsiteY9458" fmla="*/ 752966 h 2052818"/>
                <a:gd name="connsiteX9459" fmla="*/ 1298712 w 2222569"/>
                <a:gd name="connsiteY9459" fmla="*/ 757365 h 2052818"/>
                <a:gd name="connsiteX9460" fmla="*/ 1297897 w 2222569"/>
                <a:gd name="connsiteY9460" fmla="*/ 761274 h 2052818"/>
                <a:gd name="connsiteX9461" fmla="*/ 1302133 w 2222569"/>
                <a:gd name="connsiteY9461" fmla="*/ 765347 h 2052818"/>
                <a:gd name="connsiteX9462" fmla="*/ 1303599 w 2222569"/>
                <a:gd name="connsiteY9462" fmla="*/ 769420 h 2052818"/>
                <a:gd name="connsiteX9463" fmla="*/ 1302621 w 2222569"/>
                <a:gd name="connsiteY9463" fmla="*/ 778217 h 2052818"/>
                <a:gd name="connsiteX9464" fmla="*/ 1305717 w 2222569"/>
                <a:gd name="connsiteY9464" fmla="*/ 780498 h 2052818"/>
                <a:gd name="connsiteX9465" fmla="*/ 1305717 w 2222569"/>
                <a:gd name="connsiteY9465" fmla="*/ 782941 h 2052818"/>
                <a:gd name="connsiteX9466" fmla="*/ 1301970 w 2222569"/>
                <a:gd name="connsiteY9466" fmla="*/ 787992 h 2052818"/>
                <a:gd name="connsiteX9467" fmla="*/ 1301970 w 2222569"/>
                <a:gd name="connsiteY9467" fmla="*/ 791901 h 2052818"/>
                <a:gd name="connsiteX9468" fmla="*/ 1297897 w 2222569"/>
                <a:gd name="connsiteY9468" fmla="*/ 797766 h 2052818"/>
                <a:gd name="connsiteX9469" fmla="*/ 1297897 w 2222569"/>
                <a:gd name="connsiteY9469" fmla="*/ 804282 h 2052818"/>
                <a:gd name="connsiteX9470" fmla="*/ 1295128 w 2222569"/>
                <a:gd name="connsiteY9470" fmla="*/ 805912 h 2052818"/>
                <a:gd name="connsiteX9471" fmla="*/ 1297571 w 2222569"/>
                <a:gd name="connsiteY9471" fmla="*/ 810473 h 2052818"/>
                <a:gd name="connsiteX9472" fmla="*/ 1295779 w 2222569"/>
                <a:gd name="connsiteY9472" fmla="*/ 815523 h 2052818"/>
                <a:gd name="connsiteX9473" fmla="*/ 1300993 w 2222569"/>
                <a:gd name="connsiteY9473" fmla="*/ 821551 h 2052818"/>
                <a:gd name="connsiteX9474" fmla="*/ 1300993 w 2222569"/>
                <a:gd name="connsiteY9474" fmla="*/ 825624 h 2052818"/>
                <a:gd name="connsiteX9475" fmla="*/ 1299526 w 2222569"/>
                <a:gd name="connsiteY9475" fmla="*/ 827416 h 2052818"/>
                <a:gd name="connsiteX9476" fmla="*/ 1300993 w 2222569"/>
                <a:gd name="connsiteY9476" fmla="*/ 831814 h 2052818"/>
                <a:gd name="connsiteX9477" fmla="*/ 1299526 w 2222569"/>
                <a:gd name="connsiteY9477" fmla="*/ 836376 h 2052818"/>
                <a:gd name="connsiteX9478" fmla="*/ 1299526 w 2222569"/>
                <a:gd name="connsiteY9478" fmla="*/ 839797 h 2052818"/>
                <a:gd name="connsiteX9479" fmla="*/ 1302785 w 2222569"/>
                <a:gd name="connsiteY9479" fmla="*/ 840774 h 2052818"/>
                <a:gd name="connsiteX9480" fmla="*/ 1306043 w 2222569"/>
                <a:gd name="connsiteY9480" fmla="*/ 845336 h 2052818"/>
                <a:gd name="connsiteX9481" fmla="*/ 1305554 w 2222569"/>
                <a:gd name="connsiteY9481" fmla="*/ 849571 h 2052818"/>
                <a:gd name="connsiteX9482" fmla="*/ 1301807 w 2222569"/>
                <a:gd name="connsiteY9482" fmla="*/ 852829 h 2052818"/>
                <a:gd name="connsiteX9483" fmla="*/ 1298712 w 2222569"/>
                <a:gd name="connsiteY9483" fmla="*/ 851200 h 2052818"/>
                <a:gd name="connsiteX9484" fmla="*/ 1294313 w 2222569"/>
                <a:gd name="connsiteY9484" fmla="*/ 852178 h 2052818"/>
                <a:gd name="connsiteX9485" fmla="*/ 1291707 w 2222569"/>
                <a:gd name="connsiteY9485" fmla="*/ 847453 h 2052818"/>
                <a:gd name="connsiteX9486" fmla="*/ 1293336 w 2222569"/>
                <a:gd name="connsiteY9486" fmla="*/ 841914 h 2052818"/>
                <a:gd name="connsiteX9487" fmla="*/ 1287471 w 2222569"/>
                <a:gd name="connsiteY9487" fmla="*/ 844521 h 2052818"/>
                <a:gd name="connsiteX9488" fmla="*/ 1285027 w 2222569"/>
                <a:gd name="connsiteY9488" fmla="*/ 849897 h 2052818"/>
                <a:gd name="connsiteX9489" fmla="*/ 1280629 w 2222569"/>
                <a:gd name="connsiteY9489" fmla="*/ 851689 h 2052818"/>
                <a:gd name="connsiteX9490" fmla="*/ 1280629 w 2222569"/>
                <a:gd name="connsiteY9490" fmla="*/ 853970 h 2052818"/>
                <a:gd name="connsiteX9491" fmla="*/ 1287145 w 2222569"/>
                <a:gd name="connsiteY9491" fmla="*/ 852341 h 2052818"/>
                <a:gd name="connsiteX9492" fmla="*/ 1290403 w 2222569"/>
                <a:gd name="connsiteY9492" fmla="*/ 855599 h 2052818"/>
                <a:gd name="connsiteX9493" fmla="*/ 1289752 w 2222569"/>
                <a:gd name="connsiteY9493" fmla="*/ 858205 h 2052818"/>
                <a:gd name="connsiteX9494" fmla="*/ 1276067 w 2222569"/>
                <a:gd name="connsiteY9494" fmla="*/ 867817 h 2052818"/>
                <a:gd name="connsiteX9495" fmla="*/ 1272646 w 2222569"/>
                <a:gd name="connsiteY9495" fmla="*/ 868306 h 2052818"/>
                <a:gd name="connsiteX9496" fmla="*/ 1271832 w 2222569"/>
                <a:gd name="connsiteY9496" fmla="*/ 871075 h 2052818"/>
                <a:gd name="connsiteX9497" fmla="*/ 1268736 w 2222569"/>
                <a:gd name="connsiteY9497" fmla="*/ 872541 h 2052818"/>
                <a:gd name="connsiteX9498" fmla="*/ 1267433 w 2222569"/>
                <a:gd name="connsiteY9498" fmla="*/ 877592 h 2052818"/>
                <a:gd name="connsiteX9499" fmla="*/ 1270040 w 2222569"/>
                <a:gd name="connsiteY9499" fmla="*/ 880361 h 2052818"/>
                <a:gd name="connsiteX9500" fmla="*/ 1275090 w 2222569"/>
                <a:gd name="connsiteY9500" fmla="*/ 879058 h 2052818"/>
                <a:gd name="connsiteX9501" fmla="*/ 1278185 w 2222569"/>
                <a:gd name="connsiteY9501" fmla="*/ 880198 h 2052818"/>
                <a:gd name="connsiteX9502" fmla="*/ 1278674 w 2222569"/>
                <a:gd name="connsiteY9502" fmla="*/ 884922 h 2052818"/>
                <a:gd name="connsiteX9503" fmla="*/ 1283236 w 2222569"/>
                <a:gd name="connsiteY9503" fmla="*/ 889484 h 2052818"/>
                <a:gd name="connsiteX9504" fmla="*/ 1289752 w 2222569"/>
                <a:gd name="connsiteY9504" fmla="*/ 887529 h 2052818"/>
                <a:gd name="connsiteX9505" fmla="*/ 1290729 w 2222569"/>
                <a:gd name="connsiteY9505" fmla="*/ 883619 h 2052818"/>
                <a:gd name="connsiteX9506" fmla="*/ 1294639 w 2222569"/>
                <a:gd name="connsiteY9506" fmla="*/ 882642 h 2052818"/>
                <a:gd name="connsiteX9507" fmla="*/ 1296268 w 2222569"/>
                <a:gd name="connsiteY9507" fmla="*/ 884597 h 2052818"/>
                <a:gd name="connsiteX9508" fmla="*/ 1293825 w 2222569"/>
                <a:gd name="connsiteY9508" fmla="*/ 886552 h 2052818"/>
                <a:gd name="connsiteX9509" fmla="*/ 1293825 w 2222569"/>
                <a:gd name="connsiteY9509" fmla="*/ 888018 h 2052818"/>
                <a:gd name="connsiteX9510" fmla="*/ 1298223 w 2222569"/>
                <a:gd name="connsiteY9510" fmla="*/ 889647 h 2052818"/>
                <a:gd name="connsiteX9511" fmla="*/ 1301318 w 2222569"/>
                <a:gd name="connsiteY9511" fmla="*/ 892905 h 2052818"/>
                <a:gd name="connsiteX9512" fmla="*/ 1305880 w 2222569"/>
                <a:gd name="connsiteY9512" fmla="*/ 889484 h 2052818"/>
                <a:gd name="connsiteX9513" fmla="*/ 1309464 w 2222569"/>
                <a:gd name="connsiteY9513" fmla="*/ 891439 h 2052818"/>
                <a:gd name="connsiteX9514" fmla="*/ 1306206 w 2222569"/>
                <a:gd name="connsiteY9514" fmla="*/ 895186 h 2052818"/>
                <a:gd name="connsiteX9515" fmla="*/ 1301481 w 2222569"/>
                <a:gd name="connsiteY9515" fmla="*/ 895186 h 2052818"/>
                <a:gd name="connsiteX9516" fmla="*/ 1296268 w 2222569"/>
                <a:gd name="connsiteY9516" fmla="*/ 901213 h 2052818"/>
                <a:gd name="connsiteX9517" fmla="*/ 1294476 w 2222569"/>
                <a:gd name="connsiteY9517" fmla="*/ 902842 h 2052818"/>
                <a:gd name="connsiteX9518" fmla="*/ 1293336 w 2222569"/>
                <a:gd name="connsiteY9518" fmla="*/ 896815 h 2052818"/>
                <a:gd name="connsiteX9519" fmla="*/ 1290892 w 2222569"/>
                <a:gd name="connsiteY9519" fmla="*/ 896815 h 2052818"/>
                <a:gd name="connsiteX9520" fmla="*/ 1288937 w 2222569"/>
                <a:gd name="connsiteY9520" fmla="*/ 895837 h 2052818"/>
                <a:gd name="connsiteX9521" fmla="*/ 1288937 w 2222569"/>
                <a:gd name="connsiteY9521" fmla="*/ 898444 h 2052818"/>
                <a:gd name="connsiteX9522" fmla="*/ 1291707 w 2222569"/>
                <a:gd name="connsiteY9522" fmla="*/ 903005 h 2052818"/>
                <a:gd name="connsiteX9523" fmla="*/ 1291707 w 2222569"/>
                <a:gd name="connsiteY9523" fmla="*/ 906915 h 2052818"/>
                <a:gd name="connsiteX9524" fmla="*/ 1296431 w 2222569"/>
                <a:gd name="connsiteY9524" fmla="*/ 914409 h 2052818"/>
                <a:gd name="connsiteX9525" fmla="*/ 1295779 w 2222569"/>
                <a:gd name="connsiteY9525" fmla="*/ 920600 h 2052818"/>
                <a:gd name="connsiteX9526" fmla="*/ 1296594 w 2222569"/>
                <a:gd name="connsiteY9526" fmla="*/ 921740 h 2052818"/>
                <a:gd name="connsiteX9527" fmla="*/ 1296105 w 2222569"/>
                <a:gd name="connsiteY9527" fmla="*/ 926790 h 2052818"/>
                <a:gd name="connsiteX9528" fmla="*/ 1292521 w 2222569"/>
                <a:gd name="connsiteY9528" fmla="*/ 928908 h 2052818"/>
                <a:gd name="connsiteX9529" fmla="*/ 1292195 w 2222569"/>
                <a:gd name="connsiteY9529" fmla="*/ 933795 h 2052818"/>
                <a:gd name="connsiteX9530" fmla="*/ 1291381 w 2222569"/>
                <a:gd name="connsiteY9530" fmla="*/ 939008 h 2052818"/>
                <a:gd name="connsiteX9531" fmla="*/ 1286494 w 2222569"/>
                <a:gd name="connsiteY9531" fmla="*/ 945036 h 2052818"/>
                <a:gd name="connsiteX9532" fmla="*/ 1287797 w 2222569"/>
                <a:gd name="connsiteY9532" fmla="*/ 947805 h 2052818"/>
                <a:gd name="connsiteX9533" fmla="*/ 1288123 w 2222569"/>
                <a:gd name="connsiteY9533" fmla="*/ 953181 h 2052818"/>
                <a:gd name="connsiteX9534" fmla="*/ 1285027 w 2222569"/>
                <a:gd name="connsiteY9534" fmla="*/ 954648 h 2052818"/>
                <a:gd name="connsiteX9535" fmla="*/ 1285516 w 2222569"/>
                <a:gd name="connsiteY9535" fmla="*/ 958069 h 2052818"/>
                <a:gd name="connsiteX9536" fmla="*/ 1288611 w 2222569"/>
                <a:gd name="connsiteY9536" fmla="*/ 958069 h 2052818"/>
                <a:gd name="connsiteX9537" fmla="*/ 1292684 w 2222569"/>
                <a:gd name="connsiteY9537" fmla="*/ 953344 h 2052818"/>
                <a:gd name="connsiteX9538" fmla="*/ 1294476 w 2222569"/>
                <a:gd name="connsiteY9538" fmla="*/ 949760 h 2052818"/>
                <a:gd name="connsiteX9539" fmla="*/ 1300993 w 2222569"/>
                <a:gd name="connsiteY9539" fmla="*/ 946502 h 2052818"/>
                <a:gd name="connsiteX9540" fmla="*/ 1302133 w 2222569"/>
                <a:gd name="connsiteY9540" fmla="*/ 944221 h 2052818"/>
                <a:gd name="connsiteX9541" fmla="*/ 1301155 w 2222569"/>
                <a:gd name="connsiteY9541" fmla="*/ 942755 h 2052818"/>
                <a:gd name="connsiteX9542" fmla="*/ 1304088 w 2222569"/>
                <a:gd name="connsiteY9542" fmla="*/ 939334 h 2052818"/>
                <a:gd name="connsiteX9543" fmla="*/ 1307020 w 2222569"/>
                <a:gd name="connsiteY9543" fmla="*/ 941778 h 2052818"/>
                <a:gd name="connsiteX9544" fmla="*/ 1309464 w 2222569"/>
                <a:gd name="connsiteY9544" fmla="*/ 939334 h 2052818"/>
                <a:gd name="connsiteX9545" fmla="*/ 1309464 w 2222569"/>
                <a:gd name="connsiteY9545" fmla="*/ 930537 h 2052818"/>
                <a:gd name="connsiteX9546" fmla="*/ 1310604 w 2222569"/>
                <a:gd name="connsiteY9546" fmla="*/ 925487 h 2052818"/>
                <a:gd name="connsiteX9547" fmla="*/ 1317120 w 2222569"/>
                <a:gd name="connsiteY9547" fmla="*/ 920111 h 2052818"/>
                <a:gd name="connsiteX9548" fmla="*/ 1322985 w 2222569"/>
                <a:gd name="connsiteY9548" fmla="*/ 911151 h 2052818"/>
                <a:gd name="connsiteX9549" fmla="*/ 1324777 w 2222569"/>
                <a:gd name="connsiteY9549" fmla="*/ 905938 h 2052818"/>
                <a:gd name="connsiteX9550" fmla="*/ 1327058 w 2222569"/>
                <a:gd name="connsiteY9550" fmla="*/ 905612 h 2052818"/>
                <a:gd name="connsiteX9551" fmla="*/ 1329339 w 2222569"/>
                <a:gd name="connsiteY9551" fmla="*/ 907893 h 2052818"/>
                <a:gd name="connsiteX9552" fmla="*/ 1330316 w 2222569"/>
                <a:gd name="connsiteY9552" fmla="*/ 912454 h 2052818"/>
                <a:gd name="connsiteX9553" fmla="*/ 1334226 w 2222569"/>
                <a:gd name="connsiteY9553" fmla="*/ 921088 h 2052818"/>
                <a:gd name="connsiteX9554" fmla="*/ 1335203 w 2222569"/>
                <a:gd name="connsiteY9554" fmla="*/ 927768 h 2052818"/>
                <a:gd name="connsiteX9555" fmla="*/ 1339765 w 2222569"/>
                <a:gd name="connsiteY9555" fmla="*/ 933469 h 2052818"/>
                <a:gd name="connsiteX9556" fmla="*/ 1339765 w 2222569"/>
                <a:gd name="connsiteY9556" fmla="*/ 939008 h 2052818"/>
                <a:gd name="connsiteX9557" fmla="*/ 1337973 w 2222569"/>
                <a:gd name="connsiteY9557" fmla="*/ 943733 h 2052818"/>
                <a:gd name="connsiteX9558" fmla="*/ 1339602 w 2222569"/>
                <a:gd name="connsiteY9558" fmla="*/ 953996 h 2052818"/>
                <a:gd name="connsiteX9559" fmla="*/ 1336507 w 2222569"/>
                <a:gd name="connsiteY9559" fmla="*/ 959209 h 2052818"/>
                <a:gd name="connsiteX9560" fmla="*/ 1332760 w 2222569"/>
                <a:gd name="connsiteY9560" fmla="*/ 960838 h 2052818"/>
                <a:gd name="connsiteX9561" fmla="*/ 1329827 w 2222569"/>
                <a:gd name="connsiteY9561" fmla="*/ 958232 h 2052818"/>
                <a:gd name="connsiteX9562" fmla="*/ 1326895 w 2222569"/>
                <a:gd name="connsiteY9562" fmla="*/ 960838 h 2052818"/>
                <a:gd name="connsiteX9563" fmla="*/ 1324614 w 2222569"/>
                <a:gd name="connsiteY9563" fmla="*/ 965237 h 2052818"/>
                <a:gd name="connsiteX9564" fmla="*/ 1325918 w 2222569"/>
                <a:gd name="connsiteY9564" fmla="*/ 970613 h 2052818"/>
                <a:gd name="connsiteX9565" fmla="*/ 1322171 w 2222569"/>
                <a:gd name="connsiteY9565" fmla="*/ 975174 h 2052818"/>
                <a:gd name="connsiteX9566" fmla="*/ 1319890 w 2222569"/>
                <a:gd name="connsiteY9566" fmla="*/ 981365 h 2052818"/>
                <a:gd name="connsiteX9567" fmla="*/ 1321519 w 2222569"/>
                <a:gd name="connsiteY9567" fmla="*/ 984623 h 2052818"/>
                <a:gd name="connsiteX9568" fmla="*/ 1321519 w 2222569"/>
                <a:gd name="connsiteY9568" fmla="*/ 993094 h 2052818"/>
                <a:gd name="connsiteX9569" fmla="*/ 1325755 w 2222569"/>
                <a:gd name="connsiteY9569" fmla="*/ 1010851 h 2052818"/>
                <a:gd name="connsiteX9570" fmla="*/ 1329664 w 2222569"/>
                <a:gd name="connsiteY9570" fmla="*/ 1018182 h 2052818"/>
                <a:gd name="connsiteX9571" fmla="*/ 1328198 w 2222569"/>
                <a:gd name="connsiteY9571" fmla="*/ 1023232 h 2052818"/>
                <a:gd name="connsiteX9572" fmla="*/ 1332108 w 2222569"/>
                <a:gd name="connsiteY9572" fmla="*/ 1027142 h 2052818"/>
                <a:gd name="connsiteX9573" fmla="*/ 1335855 w 2222569"/>
                <a:gd name="connsiteY9573" fmla="*/ 1027142 h 2052818"/>
                <a:gd name="connsiteX9574" fmla="*/ 1334878 w 2222569"/>
                <a:gd name="connsiteY9574" fmla="*/ 1020952 h 2052818"/>
                <a:gd name="connsiteX9575" fmla="*/ 1333248 w 2222569"/>
                <a:gd name="connsiteY9575" fmla="*/ 1019160 h 2052818"/>
                <a:gd name="connsiteX9576" fmla="*/ 1336995 w 2222569"/>
                <a:gd name="connsiteY9576" fmla="*/ 1015413 h 2052818"/>
                <a:gd name="connsiteX9577" fmla="*/ 1340091 w 2222569"/>
                <a:gd name="connsiteY9577" fmla="*/ 1015087 h 2052818"/>
                <a:gd name="connsiteX9578" fmla="*/ 1342697 w 2222569"/>
                <a:gd name="connsiteY9578" fmla="*/ 1021115 h 2052818"/>
                <a:gd name="connsiteX9579" fmla="*/ 1345304 w 2222569"/>
                <a:gd name="connsiteY9579" fmla="*/ 1020626 h 2052818"/>
                <a:gd name="connsiteX9580" fmla="*/ 1346444 w 2222569"/>
                <a:gd name="connsiteY9580" fmla="*/ 1014924 h 2052818"/>
                <a:gd name="connsiteX9581" fmla="*/ 1350191 w 2222569"/>
                <a:gd name="connsiteY9581" fmla="*/ 1010851 h 2052818"/>
                <a:gd name="connsiteX9582" fmla="*/ 1350843 w 2222569"/>
                <a:gd name="connsiteY9582" fmla="*/ 1002869 h 2052818"/>
                <a:gd name="connsiteX9583" fmla="*/ 1354915 w 2222569"/>
                <a:gd name="connsiteY9583" fmla="*/ 1001077 h 2052818"/>
                <a:gd name="connsiteX9584" fmla="*/ 1359640 w 2222569"/>
                <a:gd name="connsiteY9584" fmla="*/ 994397 h 2052818"/>
                <a:gd name="connsiteX9585" fmla="*/ 1361432 w 2222569"/>
                <a:gd name="connsiteY9585" fmla="*/ 994072 h 2052818"/>
                <a:gd name="connsiteX9586" fmla="*/ 1364201 w 2222569"/>
                <a:gd name="connsiteY9586" fmla="*/ 989673 h 2052818"/>
                <a:gd name="connsiteX9587" fmla="*/ 1373161 w 2222569"/>
                <a:gd name="connsiteY9587" fmla="*/ 982994 h 2052818"/>
                <a:gd name="connsiteX9588" fmla="*/ 1379189 w 2222569"/>
                <a:gd name="connsiteY9588" fmla="*/ 972731 h 2052818"/>
                <a:gd name="connsiteX9589" fmla="*/ 1383587 w 2222569"/>
                <a:gd name="connsiteY9589" fmla="*/ 961816 h 2052818"/>
                <a:gd name="connsiteX9590" fmla="*/ 1387823 w 2222569"/>
                <a:gd name="connsiteY9590" fmla="*/ 952856 h 2052818"/>
                <a:gd name="connsiteX9591" fmla="*/ 1392547 w 2222569"/>
                <a:gd name="connsiteY9591" fmla="*/ 949434 h 2052818"/>
                <a:gd name="connsiteX9592" fmla="*/ 1396294 w 2222569"/>
                <a:gd name="connsiteY9592" fmla="*/ 954811 h 2052818"/>
                <a:gd name="connsiteX9593" fmla="*/ 1399390 w 2222569"/>
                <a:gd name="connsiteY9593" fmla="*/ 951878 h 2052818"/>
                <a:gd name="connsiteX9594" fmla="*/ 1402159 w 2222569"/>
                <a:gd name="connsiteY9594" fmla="*/ 953833 h 2052818"/>
                <a:gd name="connsiteX9595" fmla="*/ 1406884 w 2222569"/>
                <a:gd name="connsiteY9595" fmla="*/ 953019 h 2052818"/>
                <a:gd name="connsiteX9596" fmla="*/ 1406884 w 2222569"/>
                <a:gd name="connsiteY9596" fmla="*/ 950086 h 2052818"/>
                <a:gd name="connsiteX9597" fmla="*/ 1404277 w 2222569"/>
                <a:gd name="connsiteY9597" fmla="*/ 949923 h 2052818"/>
                <a:gd name="connsiteX9598" fmla="*/ 1400041 w 2222569"/>
                <a:gd name="connsiteY9598" fmla="*/ 945688 h 2052818"/>
                <a:gd name="connsiteX9599" fmla="*/ 1401996 w 2222569"/>
                <a:gd name="connsiteY9599" fmla="*/ 942755 h 2052818"/>
                <a:gd name="connsiteX9600" fmla="*/ 1407372 w 2222569"/>
                <a:gd name="connsiteY9600" fmla="*/ 941941 h 2052818"/>
                <a:gd name="connsiteX9601" fmla="*/ 1410142 w 2222569"/>
                <a:gd name="connsiteY9601" fmla="*/ 944384 h 2052818"/>
                <a:gd name="connsiteX9602" fmla="*/ 1412422 w 2222569"/>
                <a:gd name="connsiteY9602" fmla="*/ 942592 h 2052818"/>
                <a:gd name="connsiteX9603" fmla="*/ 1416169 w 2222569"/>
                <a:gd name="connsiteY9603" fmla="*/ 942918 h 2052818"/>
                <a:gd name="connsiteX9604" fmla="*/ 1418124 w 2222569"/>
                <a:gd name="connsiteY9604" fmla="*/ 941452 h 2052818"/>
                <a:gd name="connsiteX9605" fmla="*/ 1415680 w 2222569"/>
                <a:gd name="connsiteY9605" fmla="*/ 936728 h 2052818"/>
                <a:gd name="connsiteX9606" fmla="*/ 1413400 w 2222569"/>
                <a:gd name="connsiteY9606" fmla="*/ 936402 h 2052818"/>
                <a:gd name="connsiteX9607" fmla="*/ 1410956 w 2222569"/>
                <a:gd name="connsiteY9607" fmla="*/ 932003 h 2052818"/>
                <a:gd name="connsiteX9608" fmla="*/ 1408187 w 2222569"/>
                <a:gd name="connsiteY9608" fmla="*/ 932003 h 2052818"/>
                <a:gd name="connsiteX9609" fmla="*/ 1408512 w 2222569"/>
                <a:gd name="connsiteY9609" fmla="*/ 924184 h 2052818"/>
                <a:gd name="connsiteX9610" fmla="*/ 1411445 w 2222569"/>
                <a:gd name="connsiteY9610" fmla="*/ 920925 h 2052818"/>
                <a:gd name="connsiteX9611" fmla="*/ 1411934 w 2222569"/>
                <a:gd name="connsiteY9611" fmla="*/ 916364 h 2052818"/>
                <a:gd name="connsiteX9612" fmla="*/ 1415355 w 2222569"/>
                <a:gd name="connsiteY9612" fmla="*/ 916364 h 2052818"/>
                <a:gd name="connsiteX9613" fmla="*/ 1412748 w 2222569"/>
                <a:gd name="connsiteY9613" fmla="*/ 912128 h 2052818"/>
                <a:gd name="connsiteX9614" fmla="*/ 1413237 w 2222569"/>
                <a:gd name="connsiteY9614" fmla="*/ 908870 h 2052818"/>
                <a:gd name="connsiteX9615" fmla="*/ 1416984 w 2222569"/>
                <a:gd name="connsiteY9615" fmla="*/ 904960 h 2052818"/>
                <a:gd name="connsiteX9616" fmla="*/ 1415355 w 2222569"/>
                <a:gd name="connsiteY9616" fmla="*/ 903168 h 2052818"/>
                <a:gd name="connsiteX9617" fmla="*/ 1415355 w 2222569"/>
                <a:gd name="connsiteY9617" fmla="*/ 901702 h 2052818"/>
                <a:gd name="connsiteX9618" fmla="*/ 1419916 w 2222569"/>
                <a:gd name="connsiteY9618" fmla="*/ 901702 h 2052818"/>
                <a:gd name="connsiteX9619" fmla="*/ 1421545 w 2222569"/>
                <a:gd name="connsiteY9619" fmla="*/ 897141 h 2052818"/>
                <a:gd name="connsiteX9620" fmla="*/ 1417636 w 2222569"/>
                <a:gd name="connsiteY9620" fmla="*/ 894860 h 2052818"/>
                <a:gd name="connsiteX9621" fmla="*/ 1416332 w 2222569"/>
                <a:gd name="connsiteY9621" fmla="*/ 892253 h 2052818"/>
                <a:gd name="connsiteX9622" fmla="*/ 1421545 w 2222569"/>
                <a:gd name="connsiteY9622" fmla="*/ 892905 h 2052818"/>
                <a:gd name="connsiteX9623" fmla="*/ 1423826 w 2222569"/>
                <a:gd name="connsiteY9623" fmla="*/ 896652 h 2052818"/>
                <a:gd name="connsiteX9624" fmla="*/ 1427736 w 2222569"/>
                <a:gd name="connsiteY9624" fmla="*/ 896978 h 2052818"/>
                <a:gd name="connsiteX9625" fmla="*/ 1430994 w 2222569"/>
                <a:gd name="connsiteY9625" fmla="*/ 894697 h 2052818"/>
                <a:gd name="connsiteX9626" fmla="*/ 1438977 w 2222569"/>
                <a:gd name="connsiteY9626" fmla="*/ 895186 h 2052818"/>
                <a:gd name="connsiteX9627" fmla="*/ 1445982 w 2222569"/>
                <a:gd name="connsiteY9627" fmla="*/ 900399 h 2052818"/>
                <a:gd name="connsiteX9628" fmla="*/ 1446470 w 2222569"/>
                <a:gd name="connsiteY9628" fmla="*/ 903005 h 2052818"/>
                <a:gd name="connsiteX9629" fmla="*/ 1448751 w 2222569"/>
                <a:gd name="connsiteY9629" fmla="*/ 906101 h 2052818"/>
                <a:gd name="connsiteX9630" fmla="*/ 1458363 w 2222569"/>
                <a:gd name="connsiteY9630" fmla="*/ 910825 h 2052818"/>
                <a:gd name="connsiteX9631" fmla="*/ 1462761 w 2222569"/>
                <a:gd name="connsiteY9631" fmla="*/ 907893 h 2052818"/>
                <a:gd name="connsiteX9632" fmla="*/ 1467811 w 2222569"/>
                <a:gd name="connsiteY9632" fmla="*/ 911314 h 2052818"/>
                <a:gd name="connsiteX9633" fmla="*/ 1474002 w 2222569"/>
                <a:gd name="connsiteY9633" fmla="*/ 913920 h 2052818"/>
                <a:gd name="connsiteX9634" fmla="*/ 1474002 w 2222569"/>
                <a:gd name="connsiteY9634" fmla="*/ 916690 h 2052818"/>
                <a:gd name="connsiteX9635" fmla="*/ 1471395 w 2222569"/>
                <a:gd name="connsiteY9635" fmla="*/ 918319 h 2052818"/>
                <a:gd name="connsiteX9636" fmla="*/ 1474328 w 2222569"/>
                <a:gd name="connsiteY9636" fmla="*/ 921577 h 2052818"/>
                <a:gd name="connsiteX9637" fmla="*/ 1471233 w 2222569"/>
                <a:gd name="connsiteY9637" fmla="*/ 923206 h 2052818"/>
                <a:gd name="connsiteX9638" fmla="*/ 1467811 w 2222569"/>
                <a:gd name="connsiteY9638" fmla="*/ 919948 h 2052818"/>
                <a:gd name="connsiteX9639" fmla="*/ 1464390 w 2222569"/>
                <a:gd name="connsiteY9639" fmla="*/ 919622 h 2052818"/>
                <a:gd name="connsiteX9640" fmla="*/ 1464879 w 2222569"/>
                <a:gd name="connsiteY9640" fmla="*/ 922392 h 2052818"/>
                <a:gd name="connsiteX9641" fmla="*/ 1475631 w 2222569"/>
                <a:gd name="connsiteY9641" fmla="*/ 929234 h 2052818"/>
                <a:gd name="connsiteX9642" fmla="*/ 1476120 w 2222569"/>
                <a:gd name="connsiteY9642" fmla="*/ 934610 h 2052818"/>
                <a:gd name="connsiteX9643" fmla="*/ 1471884 w 2222569"/>
                <a:gd name="connsiteY9643" fmla="*/ 936239 h 2052818"/>
                <a:gd name="connsiteX9644" fmla="*/ 1474491 w 2222569"/>
                <a:gd name="connsiteY9644" fmla="*/ 937705 h 2052818"/>
                <a:gd name="connsiteX9645" fmla="*/ 1478889 w 2222569"/>
                <a:gd name="connsiteY9645" fmla="*/ 936239 h 2052818"/>
                <a:gd name="connsiteX9646" fmla="*/ 1486383 w 2222569"/>
                <a:gd name="connsiteY9646" fmla="*/ 938031 h 2052818"/>
                <a:gd name="connsiteX9647" fmla="*/ 1488012 w 2222569"/>
                <a:gd name="connsiteY9647" fmla="*/ 941126 h 2052818"/>
                <a:gd name="connsiteX9648" fmla="*/ 1490945 w 2222569"/>
                <a:gd name="connsiteY9648" fmla="*/ 942104 h 2052818"/>
                <a:gd name="connsiteX9649" fmla="*/ 1491759 w 2222569"/>
                <a:gd name="connsiteY9649" fmla="*/ 944384 h 2052818"/>
                <a:gd name="connsiteX9650" fmla="*/ 1488664 w 2222569"/>
                <a:gd name="connsiteY9650" fmla="*/ 949434 h 2052818"/>
                <a:gd name="connsiteX9651" fmla="*/ 1480681 w 2222569"/>
                <a:gd name="connsiteY9651" fmla="*/ 955625 h 2052818"/>
                <a:gd name="connsiteX9652" fmla="*/ 1475957 w 2222569"/>
                <a:gd name="connsiteY9652" fmla="*/ 956603 h 2052818"/>
                <a:gd name="connsiteX9653" fmla="*/ 1472373 w 2222569"/>
                <a:gd name="connsiteY9653" fmla="*/ 958395 h 2052818"/>
                <a:gd name="connsiteX9654" fmla="*/ 1479215 w 2222569"/>
                <a:gd name="connsiteY9654" fmla="*/ 958395 h 2052818"/>
                <a:gd name="connsiteX9655" fmla="*/ 1481659 w 2222569"/>
                <a:gd name="connsiteY9655" fmla="*/ 960024 h 2052818"/>
                <a:gd name="connsiteX9656" fmla="*/ 1482147 w 2222569"/>
                <a:gd name="connsiteY9656" fmla="*/ 963933 h 2052818"/>
                <a:gd name="connsiteX9657" fmla="*/ 1483939 w 2222569"/>
                <a:gd name="connsiteY9657" fmla="*/ 963933 h 2052818"/>
                <a:gd name="connsiteX9658" fmla="*/ 1485569 w 2222569"/>
                <a:gd name="connsiteY9658" fmla="*/ 965237 h 2052818"/>
                <a:gd name="connsiteX9659" fmla="*/ 1482473 w 2222569"/>
                <a:gd name="connsiteY9659" fmla="*/ 970287 h 2052818"/>
                <a:gd name="connsiteX9660" fmla="*/ 1484265 w 2222569"/>
                <a:gd name="connsiteY9660" fmla="*/ 972079 h 2052818"/>
                <a:gd name="connsiteX9661" fmla="*/ 1478238 w 2222569"/>
                <a:gd name="connsiteY9661" fmla="*/ 976152 h 2052818"/>
                <a:gd name="connsiteX9662" fmla="*/ 1471233 w 2222569"/>
                <a:gd name="connsiteY9662" fmla="*/ 978595 h 2052818"/>
                <a:gd name="connsiteX9663" fmla="*/ 1467486 w 2222569"/>
                <a:gd name="connsiteY9663" fmla="*/ 977781 h 2052818"/>
                <a:gd name="connsiteX9664" fmla="*/ 1465042 w 2222569"/>
                <a:gd name="connsiteY9664" fmla="*/ 980876 h 2052818"/>
                <a:gd name="connsiteX9665" fmla="*/ 1461132 w 2222569"/>
                <a:gd name="connsiteY9665" fmla="*/ 979573 h 2052818"/>
                <a:gd name="connsiteX9666" fmla="*/ 1457060 w 2222569"/>
                <a:gd name="connsiteY9666" fmla="*/ 974848 h 2052818"/>
                <a:gd name="connsiteX9667" fmla="*/ 1452498 w 2222569"/>
                <a:gd name="connsiteY9667" fmla="*/ 974848 h 2052818"/>
                <a:gd name="connsiteX9668" fmla="*/ 1451032 w 2222569"/>
                <a:gd name="connsiteY9668" fmla="*/ 972079 h 2052818"/>
                <a:gd name="connsiteX9669" fmla="*/ 1447936 w 2222569"/>
                <a:gd name="connsiteY9669" fmla="*/ 972405 h 2052818"/>
                <a:gd name="connsiteX9670" fmla="*/ 1447936 w 2222569"/>
                <a:gd name="connsiteY9670" fmla="*/ 976477 h 2052818"/>
                <a:gd name="connsiteX9671" fmla="*/ 1445493 w 2222569"/>
                <a:gd name="connsiteY9671" fmla="*/ 977944 h 2052818"/>
                <a:gd name="connsiteX9672" fmla="*/ 1449728 w 2222569"/>
                <a:gd name="connsiteY9672" fmla="*/ 978921 h 2052818"/>
                <a:gd name="connsiteX9673" fmla="*/ 1452824 w 2222569"/>
                <a:gd name="connsiteY9673" fmla="*/ 981528 h 2052818"/>
                <a:gd name="connsiteX9674" fmla="*/ 1451358 w 2222569"/>
                <a:gd name="connsiteY9674" fmla="*/ 984949 h 2052818"/>
                <a:gd name="connsiteX9675" fmla="*/ 1448425 w 2222569"/>
                <a:gd name="connsiteY9675" fmla="*/ 988044 h 2052818"/>
                <a:gd name="connsiteX9676" fmla="*/ 1452661 w 2222569"/>
                <a:gd name="connsiteY9676" fmla="*/ 988370 h 2052818"/>
                <a:gd name="connsiteX9677" fmla="*/ 1449728 w 2222569"/>
                <a:gd name="connsiteY9677" fmla="*/ 992768 h 2052818"/>
                <a:gd name="connsiteX9678" fmla="*/ 1450054 w 2222569"/>
                <a:gd name="connsiteY9678" fmla="*/ 995864 h 2052818"/>
                <a:gd name="connsiteX9679" fmla="*/ 1451684 w 2222569"/>
                <a:gd name="connsiteY9679" fmla="*/ 996189 h 2052818"/>
                <a:gd name="connsiteX9680" fmla="*/ 1454779 w 2222569"/>
                <a:gd name="connsiteY9680" fmla="*/ 993094 h 2052818"/>
                <a:gd name="connsiteX9681" fmla="*/ 1456408 w 2222569"/>
                <a:gd name="connsiteY9681" fmla="*/ 993094 h 2052818"/>
                <a:gd name="connsiteX9682" fmla="*/ 1455104 w 2222569"/>
                <a:gd name="connsiteY9682" fmla="*/ 997004 h 2052818"/>
                <a:gd name="connsiteX9683" fmla="*/ 1449077 w 2222569"/>
                <a:gd name="connsiteY9683" fmla="*/ 999448 h 2052818"/>
                <a:gd name="connsiteX9684" fmla="*/ 1446796 w 2222569"/>
                <a:gd name="connsiteY9684" fmla="*/ 1004009 h 2052818"/>
                <a:gd name="connsiteX9685" fmla="*/ 1447774 w 2222569"/>
                <a:gd name="connsiteY9685" fmla="*/ 1009548 h 2052818"/>
                <a:gd name="connsiteX9686" fmla="*/ 1453638 w 2222569"/>
                <a:gd name="connsiteY9686" fmla="*/ 1013947 h 2052818"/>
                <a:gd name="connsiteX9687" fmla="*/ 1452661 w 2222569"/>
                <a:gd name="connsiteY9687" fmla="*/ 1017368 h 2052818"/>
                <a:gd name="connsiteX9688" fmla="*/ 1458200 w 2222569"/>
                <a:gd name="connsiteY9688" fmla="*/ 1028283 h 2052818"/>
                <a:gd name="connsiteX9689" fmla="*/ 1457385 w 2222569"/>
                <a:gd name="connsiteY9689" fmla="*/ 1034473 h 2052818"/>
                <a:gd name="connsiteX9690" fmla="*/ 1455593 w 2222569"/>
                <a:gd name="connsiteY9690" fmla="*/ 1035776 h 2052818"/>
                <a:gd name="connsiteX9691" fmla="*/ 1454942 w 2222569"/>
                <a:gd name="connsiteY9691" fmla="*/ 1039523 h 2052818"/>
                <a:gd name="connsiteX9692" fmla="*/ 1448099 w 2222569"/>
                <a:gd name="connsiteY9692" fmla="*/ 1045388 h 2052818"/>
                <a:gd name="connsiteX9693" fmla="*/ 1449403 w 2222569"/>
                <a:gd name="connsiteY9693" fmla="*/ 1049949 h 2052818"/>
                <a:gd name="connsiteX9694" fmla="*/ 1446959 w 2222569"/>
                <a:gd name="connsiteY9694" fmla="*/ 1053208 h 2052818"/>
                <a:gd name="connsiteX9695" fmla="*/ 1442561 w 2222569"/>
                <a:gd name="connsiteY9695" fmla="*/ 1051416 h 2052818"/>
                <a:gd name="connsiteX9696" fmla="*/ 1434578 w 2222569"/>
                <a:gd name="connsiteY9696" fmla="*/ 1051416 h 2052818"/>
                <a:gd name="connsiteX9697" fmla="*/ 1431157 w 2222569"/>
                <a:gd name="connsiteY9697" fmla="*/ 1054022 h 2052818"/>
                <a:gd name="connsiteX9698" fmla="*/ 1429854 w 2222569"/>
                <a:gd name="connsiteY9698" fmla="*/ 1059887 h 2052818"/>
                <a:gd name="connsiteX9699" fmla="*/ 1424803 w 2222569"/>
                <a:gd name="connsiteY9699" fmla="*/ 1062819 h 2052818"/>
                <a:gd name="connsiteX9700" fmla="*/ 1422360 w 2222569"/>
                <a:gd name="connsiteY9700" fmla="*/ 1066078 h 2052818"/>
                <a:gd name="connsiteX9701" fmla="*/ 1418287 w 2222569"/>
                <a:gd name="connsiteY9701" fmla="*/ 1066078 h 2052818"/>
                <a:gd name="connsiteX9702" fmla="*/ 1411119 w 2222569"/>
                <a:gd name="connsiteY9702" fmla="*/ 1074060 h 2052818"/>
                <a:gd name="connsiteX9703" fmla="*/ 1408512 w 2222569"/>
                <a:gd name="connsiteY9703" fmla="*/ 1073083 h 2052818"/>
                <a:gd name="connsiteX9704" fmla="*/ 1404277 w 2222569"/>
                <a:gd name="connsiteY9704" fmla="*/ 1073083 h 2052818"/>
                <a:gd name="connsiteX9705" fmla="*/ 1401670 w 2222569"/>
                <a:gd name="connsiteY9705" fmla="*/ 1078296 h 2052818"/>
                <a:gd name="connsiteX9706" fmla="*/ 1389289 w 2222569"/>
                <a:gd name="connsiteY9706" fmla="*/ 1081717 h 2052818"/>
                <a:gd name="connsiteX9707" fmla="*/ 1386845 w 2222569"/>
                <a:gd name="connsiteY9707" fmla="*/ 1079436 h 2052818"/>
                <a:gd name="connsiteX9708" fmla="*/ 1388638 w 2222569"/>
                <a:gd name="connsiteY9708" fmla="*/ 1076341 h 2052818"/>
                <a:gd name="connsiteX9709" fmla="*/ 1387009 w 2222569"/>
                <a:gd name="connsiteY9709" fmla="*/ 1070313 h 2052818"/>
                <a:gd name="connsiteX9710" fmla="*/ 1383587 w 2222569"/>
                <a:gd name="connsiteY9710" fmla="*/ 1066403 h 2052818"/>
                <a:gd name="connsiteX9711" fmla="*/ 1383587 w 2222569"/>
                <a:gd name="connsiteY9711" fmla="*/ 1063634 h 2052818"/>
                <a:gd name="connsiteX9712" fmla="*/ 1386520 w 2222569"/>
                <a:gd name="connsiteY9712" fmla="*/ 1062494 h 2052818"/>
                <a:gd name="connsiteX9713" fmla="*/ 1386520 w 2222569"/>
                <a:gd name="connsiteY9713" fmla="*/ 1058421 h 2052818"/>
                <a:gd name="connsiteX9714" fmla="*/ 1390755 w 2222569"/>
                <a:gd name="connsiteY9714" fmla="*/ 1051416 h 2052818"/>
                <a:gd name="connsiteX9715" fmla="*/ 1385379 w 2222569"/>
                <a:gd name="connsiteY9715" fmla="*/ 1056629 h 2052818"/>
                <a:gd name="connsiteX9716" fmla="*/ 1383587 w 2222569"/>
                <a:gd name="connsiteY9716" fmla="*/ 1057117 h 2052818"/>
                <a:gd name="connsiteX9717" fmla="*/ 1383099 w 2222569"/>
                <a:gd name="connsiteY9717" fmla="*/ 1046366 h 2052818"/>
                <a:gd name="connsiteX9718" fmla="*/ 1380655 w 2222569"/>
                <a:gd name="connsiteY9718" fmla="*/ 1045388 h 2052818"/>
                <a:gd name="connsiteX9719" fmla="*/ 1377723 w 2222569"/>
                <a:gd name="connsiteY9719" fmla="*/ 1040664 h 2052818"/>
                <a:gd name="connsiteX9720" fmla="*/ 1372998 w 2222569"/>
                <a:gd name="connsiteY9720" fmla="*/ 1043433 h 2052818"/>
                <a:gd name="connsiteX9721" fmla="*/ 1371369 w 2222569"/>
                <a:gd name="connsiteY9721" fmla="*/ 1041804 h 2052818"/>
                <a:gd name="connsiteX9722" fmla="*/ 1366971 w 2222569"/>
                <a:gd name="connsiteY9722" fmla="*/ 1042130 h 2052818"/>
                <a:gd name="connsiteX9723" fmla="*/ 1362409 w 2222569"/>
                <a:gd name="connsiteY9723" fmla="*/ 1049135 h 2052818"/>
                <a:gd name="connsiteX9724" fmla="*/ 1364853 w 2222569"/>
                <a:gd name="connsiteY9724" fmla="*/ 1049624 h 2052818"/>
                <a:gd name="connsiteX9725" fmla="*/ 1371532 w 2222569"/>
                <a:gd name="connsiteY9725" fmla="*/ 1045225 h 2052818"/>
                <a:gd name="connsiteX9726" fmla="*/ 1374139 w 2222569"/>
                <a:gd name="connsiteY9726" fmla="*/ 1046528 h 2052818"/>
                <a:gd name="connsiteX9727" fmla="*/ 1373813 w 2222569"/>
                <a:gd name="connsiteY9727" fmla="*/ 1050927 h 2052818"/>
                <a:gd name="connsiteX9728" fmla="*/ 1378211 w 2222569"/>
                <a:gd name="connsiteY9728" fmla="*/ 1052882 h 2052818"/>
                <a:gd name="connsiteX9729" fmla="*/ 1381307 w 2222569"/>
                <a:gd name="connsiteY9729" fmla="*/ 1060702 h 2052818"/>
                <a:gd name="connsiteX9730" fmla="*/ 1380003 w 2222569"/>
                <a:gd name="connsiteY9730" fmla="*/ 1068032 h 2052818"/>
                <a:gd name="connsiteX9731" fmla="*/ 1382447 w 2222569"/>
                <a:gd name="connsiteY9731" fmla="*/ 1069499 h 2052818"/>
                <a:gd name="connsiteX9732" fmla="*/ 1383587 w 2222569"/>
                <a:gd name="connsiteY9732" fmla="*/ 1076504 h 2052818"/>
                <a:gd name="connsiteX9733" fmla="*/ 1381633 w 2222569"/>
                <a:gd name="connsiteY9733" fmla="*/ 1079599 h 2052818"/>
                <a:gd name="connsiteX9734" fmla="*/ 1383262 w 2222569"/>
                <a:gd name="connsiteY9734" fmla="*/ 1081391 h 2052818"/>
                <a:gd name="connsiteX9735" fmla="*/ 1382936 w 2222569"/>
                <a:gd name="connsiteY9735" fmla="*/ 1085464 h 2052818"/>
                <a:gd name="connsiteX9736" fmla="*/ 1380329 w 2222569"/>
                <a:gd name="connsiteY9736" fmla="*/ 1085464 h 2052818"/>
                <a:gd name="connsiteX9737" fmla="*/ 1372184 w 2222569"/>
                <a:gd name="connsiteY9737" fmla="*/ 1078621 h 2052818"/>
                <a:gd name="connsiteX9738" fmla="*/ 1371369 w 2222569"/>
                <a:gd name="connsiteY9738" fmla="*/ 1074386 h 2052818"/>
                <a:gd name="connsiteX9739" fmla="*/ 1367948 w 2222569"/>
                <a:gd name="connsiteY9739" fmla="*/ 1073083 h 2052818"/>
                <a:gd name="connsiteX9740" fmla="*/ 1366808 w 2222569"/>
                <a:gd name="connsiteY9740" fmla="*/ 1069010 h 2052818"/>
                <a:gd name="connsiteX9741" fmla="*/ 1363875 w 2222569"/>
                <a:gd name="connsiteY9741" fmla="*/ 1073245 h 2052818"/>
                <a:gd name="connsiteX9742" fmla="*/ 1368600 w 2222569"/>
                <a:gd name="connsiteY9742" fmla="*/ 1077644 h 2052818"/>
                <a:gd name="connsiteX9743" fmla="*/ 1367460 w 2222569"/>
                <a:gd name="connsiteY9743" fmla="*/ 1081880 h 2052818"/>
                <a:gd name="connsiteX9744" fmla="*/ 1361595 w 2222569"/>
                <a:gd name="connsiteY9744" fmla="*/ 1078621 h 2052818"/>
                <a:gd name="connsiteX9745" fmla="*/ 1357685 w 2222569"/>
                <a:gd name="connsiteY9745" fmla="*/ 1077644 h 2052818"/>
                <a:gd name="connsiteX9746" fmla="*/ 1356707 w 2222569"/>
                <a:gd name="connsiteY9746" fmla="*/ 1075200 h 2052818"/>
                <a:gd name="connsiteX9747" fmla="*/ 1353286 w 2222569"/>
                <a:gd name="connsiteY9747" fmla="*/ 1076829 h 2052818"/>
                <a:gd name="connsiteX9748" fmla="*/ 1353286 w 2222569"/>
                <a:gd name="connsiteY9748" fmla="*/ 1073245 h 2052818"/>
                <a:gd name="connsiteX9749" fmla="*/ 1355567 w 2222569"/>
                <a:gd name="connsiteY9749" fmla="*/ 1065915 h 2052818"/>
                <a:gd name="connsiteX9750" fmla="*/ 1356707 w 2222569"/>
                <a:gd name="connsiteY9750" fmla="*/ 1064611 h 2052818"/>
                <a:gd name="connsiteX9751" fmla="*/ 1353938 w 2222569"/>
                <a:gd name="connsiteY9751" fmla="*/ 1063308 h 2052818"/>
                <a:gd name="connsiteX9752" fmla="*/ 1353938 w 2222569"/>
                <a:gd name="connsiteY9752" fmla="*/ 1060864 h 2052818"/>
                <a:gd name="connsiteX9753" fmla="*/ 1346444 w 2222569"/>
                <a:gd name="connsiteY9753" fmla="*/ 1063797 h 2052818"/>
                <a:gd name="connsiteX9754" fmla="*/ 1340579 w 2222569"/>
                <a:gd name="connsiteY9754" fmla="*/ 1063797 h 2052818"/>
                <a:gd name="connsiteX9755" fmla="*/ 1336344 w 2222569"/>
                <a:gd name="connsiteY9755" fmla="*/ 1060702 h 2052818"/>
                <a:gd name="connsiteX9756" fmla="*/ 1332108 w 2222569"/>
                <a:gd name="connsiteY9756" fmla="*/ 1061353 h 2052818"/>
                <a:gd name="connsiteX9757" fmla="*/ 1326569 w 2222569"/>
                <a:gd name="connsiteY9757" fmla="*/ 1057606 h 2052818"/>
                <a:gd name="connsiteX9758" fmla="*/ 1325592 w 2222569"/>
                <a:gd name="connsiteY9758" fmla="*/ 1061516 h 2052818"/>
                <a:gd name="connsiteX9759" fmla="*/ 1327058 w 2222569"/>
                <a:gd name="connsiteY9759" fmla="*/ 1064611 h 2052818"/>
                <a:gd name="connsiteX9760" fmla="*/ 1324614 w 2222569"/>
                <a:gd name="connsiteY9760" fmla="*/ 1066240 h 2052818"/>
                <a:gd name="connsiteX9761" fmla="*/ 1324940 w 2222569"/>
                <a:gd name="connsiteY9761" fmla="*/ 1071291 h 2052818"/>
                <a:gd name="connsiteX9762" fmla="*/ 1327384 w 2222569"/>
                <a:gd name="connsiteY9762" fmla="*/ 1075037 h 2052818"/>
                <a:gd name="connsiteX9763" fmla="*/ 1333574 w 2222569"/>
                <a:gd name="connsiteY9763" fmla="*/ 1076178 h 2052818"/>
                <a:gd name="connsiteX9764" fmla="*/ 1336344 w 2222569"/>
                <a:gd name="connsiteY9764" fmla="*/ 1080739 h 2052818"/>
                <a:gd name="connsiteX9765" fmla="*/ 1332271 w 2222569"/>
                <a:gd name="connsiteY9765" fmla="*/ 1087744 h 2052818"/>
                <a:gd name="connsiteX9766" fmla="*/ 1329013 w 2222569"/>
                <a:gd name="connsiteY9766" fmla="*/ 1088885 h 2052818"/>
                <a:gd name="connsiteX9767" fmla="*/ 1317120 w 2222569"/>
                <a:gd name="connsiteY9767" fmla="*/ 1097519 h 2052818"/>
                <a:gd name="connsiteX9768" fmla="*/ 1311907 w 2222569"/>
                <a:gd name="connsiteY9768" fmla="*/ 1104198 h 2052818"/>
                <a:gd name="connsiteX9769" fmla="*/ 1306043 w 2222569"/>
                <a:gd name="connsiteY9769" fmla="*/ 1111529 h 2052818"/>
                <a:gd name="connsiteX9770" fmla="*/ 1302296 w 2222569"/>
                <a:gd name="connsiteY9770" fmla="*/ 1110063 h 2052818"/>
                <a:gd name="connsiteX9771" fmla="*/ 1298386 w 2222569"/>
                <a:gd name="connsiteY9771" fmla="*/ 1112670 h 2052818"/>
                <a:gd name="connsiteX9772" fmla="*/ 1296431 w 2222569"/>
                <a:gd name="connsiteY9772" fmla="*/ 1118697 h 2052818"/>
                <a:gd name="connsiteX9773" fmla="*/ 1291870 w 2222569"/>
                <a:gd name="connsiteY9773" fmla="*/ 1120489 h 2052818"/>
                <a:gd name="connsiteX9774" fmla="*/ 1275904 w 2222569"/>
                <a:gd name="connsiteY9774" fmla="*/ 1117068 h 2052818"/>
                <a:gd name="connsiteX9775" fmla="*/ 1272483 w 2222569"/>
                <a:gd name="connsiteY9775" fmla="*/ 1112018 h 2052818"/>
                <a:gd name="connsiteX9776" fmla="*/ 1270203 w 2222569"/>
                <a:gd name="connsiteY9776" fmla="*/ 1106479 h 2052818"/>
                <a:gd name="connsiteX9777" fmla="*/ 1262220 w 2222569"/>
                <a:gd name="connsiteY9777" fmla="*/ 1103058 h 2052818"/>
                <a:gd name="connsiteX9778" fmla="*/ 1262220 w 2222569"/>
                <a:gd name="connsiteY9778" fmla="*/ 1100614 h 2052818"/>
                <a:gd name="connsiteX9779" fmla="*/ 1264990 w 2222569"/>
                <a:gd name="connsiteY9779" fmla="*/ 1100451 h 2052818"/>
                <a:gd name="connsiteX9780" fmla="*/ 1266945 w 2222569"/>
                <a:gd name="connsiteY9780" fmla="*/ 1098822 h 2052818"/>
                <a:gd name="connsiteX9781" fmla="*/ 1264338 w 2222569"/>
                <a:gd name="connsiteY9781" fmla="*/ 1096053 h 2052818"/>
                <a:gd name="connsiteX9782" fmla="*/ 1259613 w 2222569"/>
                <a:gd name="connsiteY9782" fmla="*/ 1094749 h 2052818"/>
                <a:gd name="connsiteX9783" fmla="*/ 1254237 w 2222569"/>
                <a:gd name="connsiteY9783" fmla="*/ 1084649 h 2052818"/>
                <a:gd name="connsiteX9784" fmla="*/ 1248047 w 2222569"/>
                <a:gd name="connsiteY9784" fmla="*/ 1079599 h 2052818"/>
                <a:gd name="connsiteX9785" fmla="*/ 1237784 w 2222569"/>
                <a:gd name="connsiteY9785" fmla="*/ 1079599 h 2052818"/>
                <a:gd name="connsiteX9786" fmla="*/ 1230453 w 2222569"/>
                <a:gd name="connsiteY9786" fmla="*/ 1075200 h 2052818"/>
                <a:gd name="connsiteX9787" fmla="*/ 1218723 w 2222569"/>
                <a:gd name="connsiteY9787" fmla="*/ 1074549 h 2052818"/>
                <a:gd name="connsiteX9788" fmla="*/ 1214162 w 2222569"/>
                <a:gd name="connsiteY9788" fmla="*/ 1073083 h 2052818"/>
                <a:gd name="connsiteX9789" fmla="*/ 1214162 w 2222569"/>
                <a:gd name="connsiteY9789" fmla="*/ 1076504 h 2052818"/>
                <a:gd name="connsiteX9790" fmla="*/ 1217094 w 2222569"/>
                <a:gd name="connsiteY9790" fmla="*/ 1079925 h 2052818"/>
                <a:gd name="connsiteX9791" fmla="*/ 1218886 w 2222569"/>
                <a:gd name="connsiteY9791" fmla="*/ 1077481 h 2052818"/>
                <a:gd name="connsiteX9792" fmla="*/ 1221982 w 2222569"/>
                <a:gd name="connsiteY9792" fmla="*/ 1076992 h 2052818"/>
                <a:gd name="connsiteX9793" fmla="*/ 1233385 w 2222569"/>
                <a:gd name="connsiteY9793" fmla="*/ 1081065 h 2052818"/>
                <a:gd name="connsiteX9794" fmla="*/ 1243811 w 2222569"/>
                <a:gd name="connsiteY9794" fmla="*/ 1081065 h 2052818"/>
                <a:gd name="connsiteX9795" fmla="*/ 1247070 w 2222569"/>
                <a:gd name="connsiteY9795" fmla="*/ 1083020 h 2052818"/>
                <a:gd name="connsiteX9796" fmla="*/ 1245929 w 2222569"/>
                <a:gd name="connsiteY9796" fmla="*/ 1085952 h 2052818"/>
                <a:gd name="connsiteX9797" fmla="*/ 1243974 w 2222569"/>
                <a:gd name="connsiteY9797" fmla="*/ 1085952 h 2052818"/>
                <a:gd name="connsiteX9798" fmla="*/ 1242345 w 2222569"/>
                <a:gd name="connsiteY9798" fmla="*/ 1087744 h 2052818"/>
                <a:gd name="connsiteX9799" fmla="*/ 1243811 w 2222569"/>
                <a:gd name="connsiteY9799" fmla="*/ 1089211 h 2052818"/>
                <a:gd name="connsiteX9800" fmla="*/ 1244463 w 2222569"/>
                <a:gd name="connsiteY9800" fmla="*/ 1097682 h 2052818"/>
                <a:gd name="connsiteX9801" fmla="*/ 1246744 w 2222569"/>
                <a:gd name="connsiteY9801" fmla="*/ 1097682 h 2052818"/>
                <a:gd name="connsiteX9802" fmla="*/ 1252283 w 2222569"/>
                <a:gd name="connsiteY9802" fmla="*/ 1108760 h 2052818"/>
                <a:gd name="connsiteX9803" fmla="*/ 1255541 w 2222569"/>
                <a:gd name="connsiteY9803" fmla="*/ 1116253 h 2052818"/>
                <a:gd name="connsiteX9804" fmla="*/ 1264990 w 2222569"/>
                <a:gd name="connsiteY9804" fmla="*/ 1119349 h 2052818"/>
                <a:gd name="connsiteX9805" fmla="*/ 1274927 w 2222569"/>
                <a:gd name="connsiteY9805" fmla="*/ 1121141 h 2052818"/>
                <a:gd name="connsiteX9806" fmla="*/ 1293173 w 2222569"/>
                <a:gd name="connsiteY9806" fmla="*/ 1126354 h 2052818"/>
                <a:gd name="connsiteX9807" fmla="*/ 1293987 w 2222569"/>
                <a:gd name="connsiteY9807" fmla="*/ 1131893 h 2052818"/>
                <a:gd name="connsiteX9808" fmla="*/ 1291707 w 2222569"/>
                <a:gd name="connsiteY9808" fmla="*/ 1133685 h 2052818"/>
                <a:gd name="connsiteX9809" fmla="*/ 1286005 w 2222569"/>
                <a:gd name="connsiteY9809" fmla="*/ 1137920 h 2052818"/>
                <a:gd name="connsiteX9810" fmla="*/ 1281444 w 2222569"/>
                <a:gd name="connsiteY9810" fmla="*/ 1140364 h 2052818"/>
                <a:gd name="connsiteX9811" fmla="*/ 1274112 w 2222569"/>
                <a:gd name="connsiteY9811" fmla="*/ 1150139 h 2052818"/>
                <a:gd name="connsiteX9812" fmla="*/ 1272972 w 2222569"/>
                <a:gd name="connsiteY9812" fmla="*/ 1148184 h 2052818"/>
                <a:gd name="connsiteX9813" fmla="*/ 1270691 w 2222569"/>
                <a:gd name="connsiteY9813" fmla="*/ 1149813 h 2052818"/>
                <a:gd name="connsiteX9814" fmla="*/ 1269877 w 2222569"/>
                <a:gd name="connsiteY9814" fmla="*/ 1152908 h 2052818"/>
                <a:gd name="connsiteX9815" fmla="*/ 1253586 w 2222569"/>
                <a:gd name="connsiteY9815" fmla="*/ 1169688 h 2052818"/>
                <a:gd name="connsiteX9816" fmla="*/ 1246907 w 2222569"/>
                <a:gd name="connsiteY9816" fmla="*/ 1172783 h 2052818"/>
                <a:gd name="connsiteX9817" fmla="*/ 1242508 w 2222569"/>
                <a:gd name="connsiteY9817" fmla="*/ 1180440 h 2052818"/>
                <a:gd name="connsiteX9818" fmla="*/ 1238110 w 2222569"/>
                <a:gd name="connsiteY9818" fmla="*/ 1181417 h 2052818"/>
                <a:gd name="connsiteX9819" fmla="*/ 1235666 w 2222569"/>
                <a:gd name="connsiteY9819" fmla="*/ 1179625 h 2052818"/>
                <a:gd name="connsiteX9820" fmla="*/ 1232734 w 2222569"/>
                <a:gd name="connsiteY9820" fmla="*/ 1179625 h 2052818"/>
                <a:gd name="connsiteX9821" fmla="*/ 1231593 w 2222569"/>
                <a:gd name="connsiteY9821" fmla="*/ 1182395 h 2052818"/>
                <a:gd name="connsiteX9822" fmla="*/ 1225403 w 2222569"/>
                <a:gd name="connsiteY9822" fmla="*/ 1175064 h 2052818"/>
                <a:gd name="connsiteX9823" fmla="*/ 1221493 w 2222569"/>
                <a:gd name="connsiteY9823" fmla="*/ 1173435 h 2052818"/>
                <a:gd name="connsiteX9824" fmla="*/ 1218561 w 2222569"/>
                <a:gd name="connsiteY9824" fmla="*/ 1177182 h 2052818"/>
                <a:gd name="connsiteX9825" fmla="*/ 1217257 w 2222569"/>
                <a:gd name="connsiteY9825" fmla="*/ 1173598 h 2052818"/>
                <a:gd name="connsiteX9826" fmla="*/ 1215302 w 2222569"/>
                <a:gd name="connsiteY9826" fmla="*/ 1172620 h 2052818"/>
                <a:gd name="connsiteX9827" fmla="*/ 1219049 w 2222569"/>
                <a:gd name="connsiteY9827" fmla="*/ 1167570 h 2052818"/>
                <a:gd name="connsiteX9828" fmla="*/ 1217420 w 2222569"/>
                <a:gd name="connsiteY9828" fmla="*/ 1166267 h 2052818"/>
                <a:gd name="connsiteX9829" fmla="*/ 1216280 w 2222569"/>
                <a:gd name="connsiteY9829" fmla="*/ 1163660 h 2052818"/>
                <a:gd name="connsiteX9830" fmla="*/ 1211229 w 2222569"/>
                <a:gd name="connsiteY9830" fmla="*/ 1166430 h 2052818"/>
                <a:gd name="connsiteX9831" fmla="*/ 1207320 w 2222569"/>
                <a:gd name="connsiteY9831" fmla="*/ 1176530 h 2052818"/>
                <a:gd name="connsiteX9832" fmla="*/ 1206994 w 2222569"/>
                <a:gd name="connsiteY9832" fmla="*/ 1171968 h 2052818"/>
                <a:gd name="connsiteX9833" fmla="*/ 1204224 w 2222569"/>
                <a:gd name="connsiteY9833" fmla="*/ 1163823 h 2052818"/>
                <a:gd name="connsiteX9834" fmla="*/ 1201944 w 2222569"/>
                <a:gd name="connsiteY9834" fmla="*/ 1170991 h 2052818"/>
                <a:gd name="connsiteX9835" fmla="*/ 1204550 w 2222569"/>
                <a:gd name="connsiteY9835" fmla="*/ 1174086 h 2052818"/>
                <a:gd name="connsiteX9836" fmla="*/ 1204062 w 2222569"/>
                <a:gd name="connsiteY9836" fmla="*/ 1183698 h 2052818"/>
                <a:gd name="connsiteX9837" fmla="*/ 1198034 w 2222569"/>
                <a:gd name="connsiteY9837" fmla="*/ 1192169 h 2052818"/>
                <a:gd name="connsiteX9838" fmla="*/ 1194776 w 2222569"/>
                <a:gd name="connsiteY9838" fmla="*/ 1191192 h 2052818"/>
                <a:gd name="connsiteX9839" fmla="*/ 1193635 w 2222569"/>
                <a:gd name="connsiteY9839" fmla="*/ 1188096 h 2052818"/>
                <a:gd name="connsiteX9840" fmla="*/ 1189888 w 2222569"/>
                <a:gd name="connsiteY9840" fmla="*/ 1182069 h 2052818"/>
                <a:gd name="connsiteX9841" fmla="*/ 1188585 w 2222569"/>
                <a:gd name="connsiteY9841" fmla="*/ 1186630 h 2052818"/>
                <a:gd name="connsiteX9842" fmla="*/ 1192006 w 2222569"/>
                <a:gd name="connsiteY9842" fmla="*/ 1189400 h 2052818"/>
                <a:gd name="connsiteX9843" fmla="*/ 1186793 w 2222569"/>
                <a:gd name="connsiteY9843" fmla="*/ 1192169 h 2052818"/>
                <a:gd name="connsiteX9844" fmla="*/ 1186304 w 2222569"/>
                <a:gd name="connsiteY9844" fmla="*/ 1197708 h 2052818"/>
                <a:gd name="connsiteX9845" fmla="*/ 1184512 w 2222569"/>
                <a:gd name="connsiteY9845" fmla="*/ 1195916 h 2052818"/>
                <a:gd name="connsiteX9846" fmla="*/ 1178974 w 2222569"/>
                <a:gd name="connsiteY9846" fmla="*/ 1194124 h 2052818"/>
                <a:gd name="connsiteX9847" fmla="*/ 1178322 w 2222569"/>
                <a:gd name="connsiteY9847" fmla="*/ 1190377 h 2052818"/>
                <a:gd name="connsiteX9848" fmla="*/ 1174086 w 2222569"/>
                <a:gd name="connsiteY9848" fmla="*/ 1187608 h 2052818"/>
                <a:gd name="connsiteX9849" fmla="*/ 1169036 w 2222569"/>
                <a:gd name="connsiteY9849" fmla="*/ 1180928 h 2052818"/>
                <a:gd name="connsiteX9850" fmla="*/ 1158936 w 2222569"/>
                <a:gd name="connsiteY9850" fmla="*/ 1177182 h 2052818"/>
                <a:gd name="connsiteX9851" fmla="*/ 1149324 w 2222569"/>
                <a:gd name="connsiteY9851" fmla="*/ 1171643 h 2052818"/>
                <a:gd name="connsiteX9852" fmla="*/ 1146229 w 2222569"/>
                <a:gd name="connsiteY9852" fmla="*/ 1164149 h 2052818"/>
                <a:gd name="connsiteX9853" fmla="*/ 1142156 w 2222569"/>
                <a:gd name="connsiteY9853" fmla="*/ 1162683 h 2052818"/>
                <a:gd name="connsiteX9854" fmla="*/ 1135151 w 2222569"/>
                <a:gd name="connsiteY9854" fmla="*/ 1157307 h 2052818"/>
                <a:gd name="connsiteX9855" fmla="*/ 1132707 w 2222569"/>
                <a:gd name="connsiteY9855" fmla="*/ 1153234 h 2052818"/>
                <a:gd name="connsiteX9856" fmla="*/ 1132381 w 2222569"/>
                <a:gd name="connsiteY9856" fmla="*/ 1160728 h 2052818"/>
                <a:gd name="connsiteX9857" fmla="*/ 1127983 w 2222569"/>
                <a:gd name="connsiteY9857" fmla="*/ 1159587 h 2052818"/>
                <a:gd name="connsiteX9858" fmla="*/ 1130753 w 2222569"/>
                <a:gd name="connsiteY9858" fmla="*/ 1166918 h 2052818"/>
                <a:gd name="connsiteX9859" fmla="*/ 1135151 w 2222569"/>
                <a:gd name="connsiteY9859" fmla="*/ 1170828 h 2052818"/>
                <a:gd name="connsiteX9860" fmla="*/ 1136780 w 2222569"/>
                <a:gd name="connsiteY9860" fmla="*/ 1168873 h 2052818"/>
                <a:gd name="connsiteX9861" fmla="*/ 1134825 w 2222569"/>
                <a:gd name="connsiteY9861" fmla="*/ 1165126 h 2052818"/>
                <a:gd name="connsiteX9862" fmla="*/ 1135803 w 2222569"/>
                <a:gd name="connsiteY9862" fmla="*/ 1162845 h 2052818"/>
                <a:gd name="connsiteX9863" fmla="*/ 1137758 w 2222569"/>
                <a:gd name="connsiteY9863" fmla="*/ 1162845 h 2052818"/>
                <a:gd name="connsiteX9864" fmla="*/ 1148021 w 2222569"/>
                <a:gd name="connsiteY9864" fmla="*/ 1173760 h 2052818"/>
                <a:gd name="connsiteX9865" fmla="*/ 1157307 w 2222569"/>
                <a:gd name="connsiteY9865" fmla="*/ 1179462 h 2052818"/>
                <a:gd name="connsiteX9866" fmla="*/ 1158284 w 2222569"/>
                <a:gd name="connsiteY9866" fmla="*/ 1181743 h 2052818"/>
                <a:gd name="connsiteX9867" fmla="*/ 1152256 w 2222569"/>
                <a:gd name="connsiteY9867" fmla="*/ 1185816 h 2052818"/>
                <a:gd name="connsiteX9868" fmla="*/ 1146229 w 2222569"/>
                <a:gd name="connsiteY9868" fmla="*/ 1186793 h 2052818"/>
                <a:gd name="connsiteX9869" fmla="*/ 1142971 w 2222569"/>
                <a:gd name="connsiteY9869" fmla="*/ 1185816 h 2052818"/>
                <a:gd name="connsiteX9870" fmla="*/ 1144111 w 2222569"/>
                <a:gd name="connsiteY9870" fmla="*/ 1188911 h 2052818"/>
                <a:gd name="connsiteX9871" fmla="*/ 1144111 w 2222569"/>
                <a:gd name="connsiteY9871" fmla="*/ 1190540 h 2052818"/>
                <a:gd name="connsiteX9872" fmla="*/ 1146718 w 2222569"/>
                <a:gd name="connsiteY9872" fmla="*/ 1189237 h 2052818"/>
                <a:gd name="connsiteX9873" fmla="*/ 1156655 w 2222569"/>
                <a:gd name="connsiteY9873" fmla="*/ 1188585 h 2052818"/>
                <a:gd name="connsiteX9874" fmla="*/ 1162031 w 2222569"/>
                <a:gd name="connsiteY9874" fmla="*/ 1183209 h 2052818"/>
                <a:gd name="connsiteX9875" fmla="*/ 1164475 w 2222569"/>
                <a:gd name="connsiteY9875" fmla="*/ 1182720 h 2052818"/>
                <a:gd name="connsiteX9876" fmla="*/ 1167570 w 2222569"/>
                <a:gd name="connsiteY9876" fmla="*/ 1186467 h 2052818"/>
                <a:gd name="connsiteX9877" fmla="*/ 1168710 w 2222569"/>
                <a:gd name="connsiteY9877" fmla="*/ 1192984 h 2052818"/>
                <a:gd name="connsiteX9878" fmla="*/ 1178322 w 2222569"/>
                <a:gd name="connsiteY9878" fmla="*/ 1204224 h 2052818"/>
                <a:gd name="connsiteX9879" fmla="*/ 1177345 w 2222569"/>
                <a:gd name="connsiteY9879" fmla="*/ 1215791 h 2052818"/>
                <a:gd name="connsiteX9880" fmla="*/ 1170665 w 2222569"/>
                <a:gd name="connsiteY9880" fmla="*/ 1222796 h 2052818"/>
                <a:gd name="connsiteX9881" fmla="*/ 1166429 w 2222569"/>
                <a:gd name="connsiteY9881" fmla="*/ 1223122 h 2052818"/>
                <a:gd name="connsiteX9882" fmla="*/ 1163497 w 2222569"/>
                <a:gd name="connsiteY9882" fmla="*/ 1225566 h 2052818"/>
                <a:gd name="connsiteX9883" fmla="*/ 1157632 w 2222569"/>
                <a:gd name="connsiteY9883" fmla="*/ 1225240 h 2052818"/>
                <a:gd name="connsiteX9884" fmla="*/ 1153397 w 2222569"/>
                <a:gd name="connsiteY9884" fmla="*/ 1222307 h 2052818"/>
                <a:gd name="connsiteX9885" fmla="*/ 1141993 w 2222569"/>
                <a:gd name="connsiteY9885" fmla="*/ 1220027 h 2052818"/>
                <a:gd name="connsiteX9886" fmla="*/ 1135314 w 2222569"/>
                <a:gd name="connsiteY9886" fmla="*/ 1211392 h 2052818"/>
                <a:gd name="connsiteX9887" fmla="*/ 1132870 w 2222569"/>
                <a:gd name="connsiteY9887" fmla="*/ 1203084 h 2052818"/>
                <a:gd name="connsiteX9888" fmla="*/ 1129123 w 2222569"/>
                <a:gd name="connsiteY9888" fmla="*/ 1199663 h 2052818"/>
                <a:gd name="connsiteX9889" fmla="*/ 1127820 w 2222569"/>
                <a:gd name="connsiteY9889" fmla="*/ 1201618 h 2052818"/>
                <a:gd name="connsiteX9890" fmla="*/ 1128635 w 2222569"/>
                <a:gd name="connsiteY9890" fmla="*/ 1204876 h 2052818"/>
                <a:gd name="connsiteX9891" fmla="*/ 1128635 w 2222569"/>
                <a:gd name="connsiteY9891" fmla="*/ 1209926 h 2052818"/>
                <a:gd name="connsiteX9892" fmla="*/ 1132870 w 2222569"/>
                <a:gd name="connsiteY9892" fmla="*/ 1215465 h 2052818"/>
                <a:gd name="connsiteX9893" fmla="*/ 1136617 w 2222569"/>
                <a:gd name="connsiteY9893" fmla="*/ 1225891 h 2052818"/>
                <a:gd name="connsiteX9894" fmla="*/ 1141830 w 2222569"/>
                <a:gd name="connsiteY9894" fmla="*/ 1234688 h 2052818"/>
                <a:gd name="connsiteX9895" fmla="*/ 1138898 w 2222569"/>
                <a:gd name="connsiteY9895" fmla="*/ 1237295 h 2052818"/>
                <a:gd name="connsiteX9896" fmla="*/ 1135966 w 2222569"/>
                <a:gd name="connsiteY9896" fmla="*/ 1235829 h 2052818"/>
                <a:gd name="connsiteX9897" fmla="*/ 1131241 w 2222569"/>
                <a:gd name="connsiteY9897" fmla="*/ 1236480 h 2052818"/>
                <a:gd name="connsiteX9898" fmla="*/ 1129612 w 2222569"/>
                <a:gd name="connsiteY9898" fmla="*/ 1229801 h 2052818"/>
                <a:gd name="connsiteX9899" fmla="*/ 1128635 w 2222569"/>
                <a:gd name="connsiteY9899" fmla="*/ 1233059 h 2052818"/>
                <a:gd name="connsiteX9900" fmla="*/ 1126680 w 2222569"/>
                <a:gd name="connsiteY9900" fmla="*/ 1234526 h 2052818"/>
                <a:gd name="connsiteX9901" fmla="*/ 1128309 w 2222569"/>
                <a:gd name="connsiteY9901" fmla="*/ 1237621 h 2052818"/>
                <a:gd name="connsiteX9902" fmla="*/ 1132545 w 2222569"/>
                <a:gd name="connsiteY9902" fmla="*/ 1239413 h 2052818"/>
                <a:gd name="connsiteX9903" fmla="*/ 1134011 w 2222569"/>
                <a:gd name="connsiteY9903" fmla="*/ 1242508 h 2052818"/>
                <a:gd name="connsiteX9904" fmla="*/ 1125051 w 2222569"/>
                <a:gd name="connsiteY9904" fmla="*/ 1240227 h 2052818"/>
                <a:gd name="connsiteX9905" fmla="*/ 1122770 w 2222569"/>
                <a:gd name="connsiteY9905" fmla="*/ 1238435 h 2052818"/>
                <a:gd name="connsiteX9906" fmla="*/ 1122444 w 2222569"/>
                <a:gd name="connsiteY9906" fmla="*/ 1242834 h 2052818"/>
                <a:gd name="connsiteX9907" fmla="*/ 1125377 w 2222569"/>
                <a:gd name="connsiteY9907" fmla="*/ 1245440 h 2052818"/>
                <a:gd name="connsiteX9908" fmla="*/ 1125377 w 2222569"/>
                <a:gd name="connsiteY9908" fmla="*/ 1249350 h 2052818"/>
                <a:gd name="connsiteX9909" fmla="*/ 1121467 w 2222569"/>
                <a:gd name="connsiteY9909" fmla="*/ 1254400 h 2052818"/>
                <a:gd name="connsiteX9910" fmla="*/ 1120489 w 2222569"/>
                <a:gd name="connsiteY9910" fmla="*/ 1248536 h 2052818"/>
                <a:gd name="connsiteX9911" fmla="*/ 1117394 w 2222569"/>
                <a:gd name="connsiteY9911" fmla="*/ 1248047 h 2052818"/>
                <a:gd name="connsiteX9912" fmla="*/ 1119023 w 2222569"/>
                <a:gd name="connsiteY9912" fmla="*/ 1250328 h 2052818"/>
                <a:gd name="connsiteX9913" fmla="*/ 1118045 w 2222569"/>
                <a:gd name="connsiteY9913" fmla="*/ 1254238 h 2052818"/>
                <a:gd name="connsiteX9914" fmla="*/ 1116416 w 2222569"/>
                <a:gd name="connsiteY9914" fmla="*/ 1252934 h 2052818"/>
                <a:gd name="connsiteX9915" fmla="*/ 1110226 w 2222569"/>
                <a:gd name="connsiteY9915" fmla="*/ 1252608 h 2052818"/>
                <a:gd name="connsiteX9916" fmla="*/ 1107782 w 2222569"/>
                <a:gd name="connsiteY9916" fmla="*/ 1255704 h 2052818"/>
                <a:gd name="connsiteX9917" fmla="*/ 1100288 w 2222569"/>
                <a:gd name="connsiteY9917" fmla="*/ 1258636 h 2052818"/>
                <a:gd name="connsiteX9918" fmla="*/ 1104361 w 2222569"/>
                <a:gd name="connsiteY9918" fmla="*/ 1261243 h 2052818"/>
                <a:gd name="connsiteX9919" fmla="*/ 1105339 w 2222569"/>
                <a:gd name="connsiteY9919" fmla="*/ 1264990 h 2052818"/>
                <a:gd name="connsiteX9920" fmla="*/ 1103058 w 2222569"/>
                <a:gd name="connsiteY9920" fmla="*/ 1265967 h 2052818"/>
                <a:gd name="connsiteX9921" fmla="*/ 1102080 w 2222569"/>
                <a:gd name="connsiteY9921" fmla="*/ 1263686 h 2052818"/>
                <a:gd name="connsiteX9922" fmla="*/ 1096379 w 2222569"/>
                <a:gd name="connsiteY9922" fmla="*/ 1259451 h 2052818"/>
                <a:gd name="connsiteX9923" fmla="*/ 1092306 w 2222569"/>
                <a:gd name="connsiteY9923" fmla="*/ 1258636 h 2052818"/>
                <a:gd name="connsiteX9924" fmla="*/ 1091980 w 2222569"/>
                <a:gd name="connsiteY9924" fmla="*/ 1261731 h 2052818"/>
                <a:gd name="connsiteX9925" fmla="*/ 1089373 w 2222569"/>
                <a:gd name="connsiteY9925" fmla="*/ 1263198 h 2052818"/>
                <a:gd name="connsiteX9926" fmla="*/ 1095564 w 2222569"/>
                <a:gd name="connsiteY9926" fmla="*/ 1267759 h 2052818"/>
                <a:gd name="connsiteX9927" fmla="*/ 1093283 w 2222569"/>
                <a:gd name="connsiteY9927" fmla="*/ 1270528 h 2052818"/>
                <a:gd name="connsiteX9928" fmla="*/ 1093283 w 2222569"/>
                <a:gd name="connsiteY9928" fmla="*/ 1273298 h 2052818"/>
                <a:gd name="connsiteX9929" fmla="*/ 1088233 w 2222569"/>
                <a:gd name="connsiteY9929" fmla="*/ 1273298 h 2052818"/>
                <a:gd name="connsiteX9930" fmla="*/ 1084161 w 2222569"/>
                <a:gd name="connsiteY9930" fmla="*/ 1279814 h 2052818"/>
                <a:gd name="connsiteX9931" fmla="*/ 1077970 w 2222569"/>
                <a:gd name="connsiteY9931" fmla="*/ 1283073 h 2052818"/>
                <a:gd name="connsiteX9932" fmla="*/ 1080576 w 2222569"/>
                <a:gd name="connsiteY9932" fmla="*/ 1286331 h 2052818"/>
                <a:gd name="connsiteX9933" fmla="*/ 1079273 w 2222569"/>
                <a:gd name="connsiteY9933" fmla="*/ 1289263 h 2052818"/>
                <a:gd name="connsiteX9934" fmla="*/ 1076015 w 2222569"/>
                <a:gd name="connsiteY9934" fmla="*/ 1289263 h 2052818"/>
                <a:gd name="connsiteX9935" fmla="*/ 1073083 w 2222569"/>
                <a:gd name="connsiteY9935" fmla="*/ 1293173 h 2052818"/>
                <a:gd name="connsiteX9936" fmla="*/ 1074060 w 2222569"/>
                <a:gd name="connsiteY9936" fmla="*/ 1297408 h 2052818"/>
                <a:gd name="connsiteX9937" fmla="*/ 1069662 w 2222569"/>
                <a:gd name="connsiteY9937" fmla="*/ 1299200 h 2052818"/>
                <a:gd name="connsiteX9938" fmla="*/ 1062168 w 2222569"/>
                <a:gd name="connsiteY9938" fmla="*/ 1307672 h 2052818"/>
                <a:gd name="connsiteX9939" fmla="*/ 1056629 w 2222569"/>
                <a:gd name="connsiteY9939" fmla="*/ 1309138 h 2052818"/>
                <a:gd name="connsiteX9940" fmla="*/ 1056303 w 2222569"/>
                <a:gd name="connsiteY9940" fmla="*/ 1313536 h 2052818"/>
                <a:gd name="connsiteX9941" fmla="*/ 1051090 w 2222569"/>
                <a:gd name="connsiteY9941" fmla="*/ 1318261 h 2052818"/>
                <a:gd name="connsiteX9942" fmla="*/ 1045551 w 2222569"/>
                <a:gd name="connsiteY9942" fmla="*/ 1314514 h 2052818"/>
                <a:gd name="connsiteX9943" fmla="*/ 1045225 w 2222569"/>
                <a:gd name="connsiteY9943" fmla="*/ 1317446 h 2052818"/>
                <a:gd name="connsiteX9944" fmla="*/ 1047832 w 2222569"/>
                <a:gd name="connsiteY9944" fmla="*/ 1323311 h 2052818"/>
                <a:gd name="connsiteX9945" fmla="*/ 1043107 w 2222569"/>
                <a:gd name="connsiteY9945" fmla="*/ 1328035 h 2052818"/>
                <a:gd name="connsiteX9946" fmla="*/ 1041315 w 2222569"/>
                <a:gd name="connsiteY9946" fmla="*/ 1337321 h 2052818"/>
                <a:gd name="connsiteX9947" fmla="*/ 1038383 w 2222569"/>
                <a:gd name="connsiteY9947" fmla="*/ 1342046 h 2052818"/>
                <a:gd name="connsiteX9948" fmla="*/ 1036102 w 2222569"/>
                <a:gd name="connsiteY9948" fmla="*/ 1348725 h 2052818"/>
                <a:gd name="connsiteX9949" fmla="*/ 1032029 w 2222569"/>
                <a:gd name="connsiteY9949" fmla="*/ 1351006 h 2052818"/>
                <a:gd name="connsiteX9950" fmla="*/ 1028283 w 2222569"/>
                <a:gd name="connsiteY9950" fmla="*/ 1361269 h 2052818"/>
                <a:gd name="connsiteX9951" fmla="*/ 1030237 w 2222569"/>
                <a:gd name="connsiteY9951" fmla="*/ 1363550 h 2052818"/>
                <a:gd name="connsiteX9952" fmla="*/ 1030237 w 2222569"/>
                <a:gd name="connsiteY9952" fmla="*/ 1370881 h 2052818"/>
                <a:gd name="connsiteX9953" fmla="*/ 1025676 w 2222569"/>
                <a:gd name="connsiteY9953" fmla="*/ 1378863 h 2052818"/>
                <a:gd name="connsiteX9954" fmla="*/ 1024047 w 2222569"/>
                <a:gd name="connsiteY9954" fmla="*/ 1383262 h 2052818"/>
                <a:gd name="connsiteX9955" fmla="*/ 1019486 w 2222569"/>
                <a:gd name="connsiteY9955" fmla="*/ 1384728 h 2052818"/>
                <a:gd name="connsiteX9956" fmla="*/ 1017205 w 2222569"/>
                <a:gd name="connsiteY9956" fmla="*/ 1387171 h 2052818"/>
                <a:gd name="connsiteX9957" fmla="*/ 1022581 w 2222569"/>
                <a:gd name="connsiteY9957" fmla="*/ 1388312 h 2052818"/>
                <a:gd name="connsiteX9958" fmla="*/ 1023884 w 2222569"/>
                <a:gd name="connsiteY9958" fmla="*/ 1392222 h 2052818"/>
                <a:gd name="connsiteX9959" fmla="*/ 1022418 w 2222569"/>
                <a:gd name="connsiteY9959" fmla="*/ 1396783 h 2052818"/>
                <a:gd name="connsiteX9960" fmla="*/ 1025024 w 2222569"/>
                <a:gd name="connsiteY9960" fmla="*/ 1399878 h 2052818"/>
                <a:gd name="connsiteX9961" fmla="*/ 1025024 w 2222569"/>
                <a:gd name="connsiteY9961" fmla="*/ 1406558 h 2052818"/>
                <a:gd name="connsiteX9962" fmla="*/ 1026816 w 2222569"/>
                <a:gd name="connsiteY9962" fmla="*/ 1407698 h 2052818"/>
                <a:gd name="connsiteX9963" fmla="*/ 1022092 w 2222569"/>
                <a:gd name="connsiteY9963" fmla="*/ 1419753 h 2052818"/>
                <a:gd name="connsiteX9964" fmla="*/ 1015413 w 2222569"/>
                <a:gd name="connsiteY9964" fmla="*/ 1426270 h 2052818"/>
                <a:gd name="connsiteX9965" fmla="*/ 1001565 w 2222569"/>
                <a:gd name="connsiteY9965" fmla="*/ 1429365 h 2052818"/>
                <a:gd name="connsiteX9966" fmla="*/ 999611 w 2222569"/>
                <a:gd name="connsiteY9966" fmla="*/ 1434578 h 2052818"/>
                <a:gd name="connsiteX9967" fmla="*/ 1006453 w 2222569"/>
                <a:gd name="connsiteY9967" fmla="*/ 1428876 h 2052818"/>
                <a:gd name="connsiteX9968" fmla="*/ 1018182 w 2222569"/>
                <a:gd name="connsiteY9968" fmla="*/ 1427410 h 2052818"/>
                <a:gd name="connsiteX9969" fmla="*/ 1026979 w 2222569"/>
                <a:gd name="connsiteY9969" fmla="*/ 1416495 h 2052818"/>
                <a:gd name="connsiteX9970" fmla="*/ 1033496 w 2222569"/>
                <a:gd name="connsiteY9970" fmla="*/ 1403788 h 2052818"/>
                <a:gd name="connsiteX9971" fmla="*/ 1048157 w 2222569"/>
                <a:gd name="connsiteY9971" fmla="*/ 1403299 h 2052818"/>
                <a:gd name="connsiteX9972" fmla="*/ 1052556 w 2222569"/>
                <a:gd name="connsiteY9972" fmla="*/ 1405254 h 2052818"/>
                <a:gd name="connsiteX9973" fmla="*/ 1052556 w 2222569"/>
                <a:gd name="connsiteY9973" fmla="*/ 1409979 h 2052818"/>
                <a:gd name="connsiteX9974" fmla="*/ 1050601 w 2222569"/>
                <a:gd name="connsiteY9974" fmla="*/ 1415518 h 2052818"/>
                <a:gd name="connsiteX9975" fmla="*/ 1050601 w 2222569"/>
                <a:gd name="connsiteY9975" fmla="*/ 1421545 h 2052818"/>
                <a:gd name="connsiteX9976" fmla="*/ 1053534 w 2222569"/>
                <a:gd name="connsiteY9976" fmla="*/ 1428387 h 2052818"/>
                <a:gd name="connsiteX9977" fmla="*/ 1053534 w 2222569"/>
                <a:gd name="connsiteY9977" fmla="*/ 1438651 h 2052818"/>
                <a:gd name="connsiteX9978" fmla="*/ 1049624 w 2222569"/>
                <a:gd name="connsiteY9978" fmla="*/ 1448588 h 2052818"/>
                <a:gd name="connsiteX9979" fmla="*/ 1052719 w 2222569"/>
                <a:gd name="connsiteY9979" fmla="*/ 1452987 h 2052818"/>
                <a:gd name="connsiteX9980" fmla="*/ 1054511 w 2222569"/>
                <a:gd name="connsiteY9980" fmla="*/ 1462924 h 2052818"/>
                <a:gd name="connsiteX9981" fmla="*/ 1052556 w 2222569"/>
                <a:gd name="connsiteY9981" fmla="*/ 1468137 h 2052818"/>
                <a:gd name="connsiteX9982" fmla="*/ 1036917 w 2222569"/>
                <a:gd name="connsiteY9982" fmla="*/ 1483125 h 2052818"/>
                <a:gd name="connsiteX9983" fmla="*/ 1029423 w 2222569"/>
                <a:gd name="connsiteY9983" fmla="*/ 1485731 h 2052818"/>
                <a:gd name="connsiteX9984" fmla="*/ 1023884 w 2222569"/>
                <a:gd name="connsiteY9984" fmla="*/ 1484754 h 2052818"/>
                <a:gd name="connsiteX9985" fmla="*/ 1029586 w 2222569"/>
                <a:gd name="connsiteY9985" fmla="*/ 1487198 h 2052818"/>
                <a:gd name="connsiteX9986" fmla="*/ 1037080 w 2222569"/>
                <a:gd name="connsiteY9986" fmla="*/ 1487198 h 2052818"/>
                <a:gd name="connsiteX9987" fmla="*/ 1055326 w 2222569"/>
                <a:gd name="connsiteY9987" fmla="*/ 1481496 h 2052818"/>
                <a:gd name="connsiteX9988" fmla="*/ 1073734 w 2222569"/>
                <a:gd name="connsiteY9988" fmla="*/ 1475468 h 2052818"/>
                <a:gd name="connsiteX9989" fmla="*/ 1082694 w 2222569"/>
                <a:gd name="connsiteY9989" fmla="*/ 1474491 h 2052818"/>
                <a:gd name="connsiteX9990" fmla="*/ 1094261 w 2222569"/>
                <a:gd name="connsiteY9990" fmla="*/ 1481985 h 2052818"/>
                <a:gd name="connsiteX9991" fmla="*/ 1101754 w 2222569"/>
                <a:gd name="connsiteY9991" fmla="*/ 1488827 h 2052818"/>
                <a:gd name="connsiteX9992" fmla="*/ 1112832 w 2222569"/>
                <a:gd name="connsiteY9992" fmla="*/ 1492085 h 2052818"/>
                <a:gd name="connsiteX9993" fmla="*/ 1115765 w 2222569"/>
                <a:gd name="connsiteY9993" fmla="*/ 1494691 h 2052818"/>
                <a:gd name="connsiteX9994" fmla="*/ 1120815 w 2222569"/>
                <a:gd name="connsiteY9994" fmla="*/ 1495995 h 2052818"/>
                <a:gd name="connsiteX9995" fmla="*/ 1128961 w 2222569"/>
                <a:gd name="connsiteY9995" fmla="*/ 1504303 h 2052818"/>
                <a:gd name="connsiteX9996" fmla="*/ 1132870 w 2222569"/>
                <a:gd name="connsiteY9996" fmla="*/ 1505932 h 2052818"/>
                <a:gd name="connsiteX9997" fmla="*/ 1136943 w 2222569"/>
                <a:gd name="connsiteY9997" fmla="*/ 1513426 h 2052818"/>
                <a:gd name="connsiteX9998" fmla="*/ 1141342 w 2222569"/>
                <a:gd name="connsiteY9998" fmla="*/ 1516195 h 2052818"/>
                <a:gd name="connsiteX9999" fmla="*/ 1141342 w 2222569"/>
                <a:gd name="connsiteY9999" fmla="*/ 1520594 h 2052818"/>
                <a:gd name="connsiteX10000" fmla="*/ 1144600 w 2222569"/>
                <a:gd name="connsiteY10000" fmla="*/ 1524341 h 2052818"/>
                <a:gd name="connsiteX10001" fmla="*/ 1148184 w 2222569"/>
                <a:gd name="connsiteY10001" fmla="*/ 1532975 h 2052818"/>
                <a:gd name="connsiteX10002" fmla="*/ 1148184 w 2222569"/>
                <a:gd name="connsiteY10002" fmla="*/ 1535419 h 2052818"/>
                <a:gd name="connsiteX10003" fmla="*/ 1151442 w 2222569"/>
                <a:gd name="connsiteY10003" fmla="*/ 1533953 h 2052818"/>
                <a:gd name="connsiteX10004" fmla="*/ 1153886 w 2222569"/>
                <a:gd name="connsiteY10004" fmla="*/ 1536722 h 2052818"/>
                <a:gd name="connsiteX10005" fmla="*/ 1164312 w 2222569"/>
                <a:gd name="connsiteY10005" fmla="*/ 1543727 h 2052818"/>
                <a:gd name="connsiteX10006" fmla="*/ 1168059 w 2222569"/>
                <a:gd name="connsiteY10006" fmla="*/ 1544705 h 2052818"/>
                <a:gd name="connsiteX10007" fmla="*/ 1175553 w 2222569"/>
                <a:gd name="connsiteY10007" fmla="*/ 1550081 h 2052818"/>
                <a:gd name="connsiteX10008" fmla="*/ 1179462 w 2222569"/>
                <a:gd name="connsiteY10008" fmla="*/ 1551384 h 2052818"/>
                <a:gd name="connsiteX10009" fmla="*/ 1188096 w 2222569"/>
                <a:gd name="connsiteY10009" fmla="*/ 1559041 h 2052818"/>
                <a:gd name="connsiteX10010" fmla="*/ 1189074 w 2222569"/>
                <a:gd name="connsiteY10010" fmla="*/ 1562787 h 2052818"/>
                <a:gd name="connsiteX10011" fmla="*/ 1195590 w 2222569"/>
                <a:gd name="connsiteY10011" fmla="*/ 1568978 h 2052818"/>
                <a:gd name="connsiteX10012" fmla="*/ 1194613 w 2222569"/>
                <a:gd name="connsiteY10012" fmla="*/ 1571422 h 2052818"/>
                <a:gd name="connsiteX10013" fmla="*/ 1196242 w 2222569"/>
                <a:gd name="connsiteY10013" fmla="*/ 1573051 h 2052818"/>
                <a:gd name="connsiteX10014" fmla="*/ 1204387 w 2222569"/>
                <a:gd name="connsiteY10014" fmla="*/ 1573051 h 2052818"/>
                <a:gd name="connsiteX10015" fmla="*/ 1206831 w 2222569"/>
                <a:gd name="connsiteY10015" fmla="*/ 1574191 h 2052818"/>
                <a:gd name="connsiteX10016" fmla="*/ 1212533 w 2222569"/>
                <a:gd name="connsiteY10016" fmla="*/ 1572888 h 2052818"/>
                <a:gd name="connsiteX10017" fmla="*/ 1223448 w 2222569"/>
                <a:gd name="connsiteY10017" fmla="*/ 1573214 h 2052818"/>
                <a:gd name="connsiteX10018" fmla="*/ 1226054 w 2222569"/>
                <a:gd name="connsiteY10018" fmla="*/ 1575657 h 2052818"/>
                <a:gd name="connsiteX10019" fmla="*/ 1228009 w 2222569"/>
                <a:gd name="connsiteY10019" fmla="*/ 1575657 h 2052818"/>
                <a:gd name="connsiteX10020" fmla="*/ 1235992 w 2222569"/>
                <a:gd name="connsiteY10020" fmla="*/ 1578101 h 2052818"/>
                <a:gd name="connsiteX10021" fmla="*/ 1244626 w 2222569"/>
                <a:gd name="connsiteY10021" fmla="*/ 1579730 h 2052818"/>
                <a:gd name="connsiteX10022" fmla="*/ 1250817 w 2222569"/>
                <a:gd name="connsiteY10022" fmla="*/ 1577775 h 2052818"/>
                <a:gd name="connsiteX10023" fmla="*/ 1254563 w 2222569"/>
                <a:gd name="connsiteY10023" fmla="*/ 1577775 h 2052818"/>
                <a:gd name="connsiteX10024" fmla="*/ 1254563 w 2222569"/>
                <a:gd name="connsiteY10024" fmla="*/ 1579567 h 2052818"/>
                <a:gd name="connsiteX10025" fmla="*/ 1256029 w 2222569"/>
                <a:gd name="connsiteY10025" fmla="*/ 1578590 h 2052818"/>
                <a:gd name="connsiteX10026" fmla="*/ 1258636 w 2222569"/>
                <a:gd name="connsiteY10026" fmla="*/ 1578590 h 2052818"/>
                <a:gd name="connsiteX10027" fmla="*/ 1259613 w 2222569"/>
                <a:gd name="connsiteY10027" fmla="*/ 1586083 h 2052818"/>
                <a:gd name="connsiteX10028" fmla="*/ 1252934 w 2222569"/>
                <a:gd name="connsiteY10028" fmla="*/ 1598627 h 2052818"/>
                <a:gd name="connsiteX10029" fmla="*/ 1252609 w 2222569"/>
                <a:gd name="connsiteY10029" fmla="*/ 1603026 h 2052818"/>
                <a:gd name="connsiteX10030" fmla="*/ 1249187 w 2222569"/>
                <a:gd name="connsiteY10030" fmla="*/ 1607750 h 2052818"/>
                <a:gd name="connsiteX10031" fmla="*/ 1245440 w 2222569"/>
                <a:gd name="connsiteY10031" fmla="*/ 1614593 h 2052818"/>
                <a:gd name="connsiteX10032" fmla="*/ 1246418 w 2222569"/>
                <a:gd name="connsiteY10032" fmla="*/ 1620294 h 2052818"/>
                <a:gd name="connsiteX10033" fmla="*/ 1248047 w 2222569"/>
                <a:gd name="connsiteY10033" fmla="*/ 1621761 h 2052818"/>
                <a:gd name="connsiteX10034" fmla="*/ 1248373 w 2222569"/>
                <a:gd name="connsiteY10034" fmla="*/ 1632838 h 2052818"/>
                <a:gd name="connsiteX10035" fmla="*/ 1241694 w 2222569"/>
                <a:gd name="connsiteY10035" fmla="*/ 1643102 h 2052818"/>
                <a:gd name="connsiteX10036" fmla="*/ 1241694 w 2222569"/>
                <a:gd name="connsiteY10036" fmla="*/ 1647500 h 2052818"/>
                <a:gd name="connsiteX10037" fmla="*/ 1239739 w 2222569"/>
                <a:gd name="connsiteY10037" fmla="*/ 1654180 h 2052818"/>
                <a:gd name="connsiteX10038" fmla="*/ 1234688 w 2222569"/>
                <a:gd name="connsiteY10038" fmla="*/ 1658415 h 2052818"/>
                <a:gd name="connsiteX10039" fmla="*/ 1231919 w 2222569"/>
                <a:gd name="connsiteY10039" fmla="*/ 1668515 h 2052818"/>
                <a:gd name="connsiteX10040" fmla="*/ 1234200 w 2222569"/>
                <a:gd name="connsiteY10040" fmla="*/ 1672751 h 2052818"/>
                <a:gd name="connsiteX10041" fmla="*/ 1239413 w 2222569"/>
                <a:gd name="connsiteY10041" fmla="*/ 1676824 h 2052818"/>
                <a:gd name="connsiteX10042" fmla="*/ 1239413 w 2222569"/>
                <a:gd name="connsiteY10042" fmla="*/ 1683014 h 2052818"/>
                <a:gd name="connsiteX10043" fmla="*/ 1243323 w 2222569"/>
                <a:gd name="connsiteY10043" fmla="*/ 1684969 h 2052818"/>
                <a:gd name="connsiteX10044" fmla="*/ 1246255 w 2222569"/>
                <a:gd name="connsiteY10044" fmla="*/ 1689205 h 2052818"/>
                <a:gd name="connsiteX10045" fmla="*/ 1245115 w 2222569"/>
                <a:gd name="connsiteY10045" fmla="*/ 1693441 h 2052818"/>
                <a:gd name="connsiteX10046" fmla="*/ 1245929 w 2222569"/>
                <a:gd name="connsiteY10046" fmla="*/ 1695721 h 2052818"/>
                <a:gd name="connsiteX10047" fmla="*/ 1245603 w 2222569"/>
                <a:gd name="connsiteY10047" fmla="*/ 1699468 h 2052818"/>
                <a:gd name="connsiteX10048" fmla="*/ 1250328 w 2222569"/>
                <a:gd name="connsiteY10048" fmla="*/ 1701260 h 2052818"/>
                <a:gd name="connsiteX10049" fmla="*/ 1256355 w 2222569"/>
                <a:gd name="connsiteY10049" fmla="*/ 1704356 h 2052818"/>
                <a:gd name="connsiteX10050" fmla="*/ 1257659 w 2222569"/>
                <a:gd name="connsiteY10050" fmla="*/ 1704356 h 2052818"/>
                <a:gd name="connsiteX10051" fmla="*/ 1258473 w 2222569"/>
                <a:gd name="connsiteY10051" fmla="*/ 1707777 h 2052818"/>
                <a:gd name="connsiteX10052" fmla="*/ 1261569 w 2222569"/>
                <a:gd name="connsiteY10052" fmla="*/ 1712012 h 2052818"/>
                <a:gd name="connsiteX10053" fmla="*/ 1262546 w 2222569"/>
                <a:gd name="connsiteY10053" fmla="*/ 1720158 h 2052818"/>
                <a:gd name="connsiteX10054" fmla="*/ 1263849 w 2222569"/>
                <a:gd name="connsiteY10054" fmla="*/ 1723416 h 2052818"/>
                <a:gd name="connsiteX10055" fmla="*/ 1261894 w 2222569"/>
                <a:gd name="connsiteY10055" fmla="*/ 1730584 h 2052818"/>
                <a:gd name="connsiteX10056" fmla="*/ 1252120 w 2222569"/>
                <a:gd name="connsiteY10056" fmla="*/ 1739218 h 2052818"/>
                <a:gd name="connsiteX10057" fmla="*/ 1259451 w 2222569"/>
                <a:gd name="connsiteY10057" fmla="*/ 1735471 h 2052818"/>
                <a:gd name="connsiteX10058" fmla="*/ 1265641 w 2222569"/>
                <a:gd name="connsiteY10058" fmla="*/ 1730910 h 2052818"/>
                <a:gd name="connsiteX10059" fmla="*/ 1272483 w 2222569"/>
                <a:gd name="connsiteY10059" fmla="*/ 1733353 h 2052818"/>
                <a:gd name="connsiteX10060" fmla="*/ 1276882 w 2222569"/>
                <a:gd name="connsiteY10060" fmla="*/ 1737589 h 2052818"/>
                <a:gd name="connsiteX10061" fmla="*/ 1281118 w 2222569"/>
                <a:gd name="connsiteY10061" fmla="*/ 1737915 h 2052818"/>
                <a:gd name="connsiteX10062" fmla="*/ 1282584 w 2222569"/>
                <a:gd name="connsiteY10062" fmla="*/ 1733679 h 2052818"/>
                <a:gd name="connsiteX10063" fmla="*/ 1282584 w 2222569"/>
                <a:gd name="connsiteY10063" fmla="*/ 1729281 h 2052818"/>
                <a:gd name="connsiteX10064" fmla="*/ 1291218 w 2222569"/>
                <a:gd name="connsiteY10064" fmla="*/ 1718529 h 2052818"/>
                <a:gd name="connsiteX10065" fmla="*/ 1293173 w 2222569"/>
                <a:gd name="connsiteY10065" fmla="*/ 1718529 h 2052818"/>
                <a:gd name="connsiteX10066" fmla="*/ 1292033 w 2222569"/>
                <a:gd name="connsiteY10066" fmla="*/ 1722601 h 2052818"/>
                <a:gd name="connsiteX10067" fmla="*/ 1292847 w 2222569"/>
                <a:gd name="connsiteY10067" fmla="*/ 1725371 h 2052818"/>
                <a:gd name="connsiteX10068" fmla="*/ 1295779 w 2222569"/>
                <a:gd name="connsiteY10068" fmla="*/ 1726185 h 2052818"/>
                <a:gd name="connsiteX10069" fmla="*/ 1297571 w 2222569"/>
                <a:gd name="connsiteY10069" fmla="*/ 1735145 h 2052818"/>
                <a:gd name="connsiteX10070" fmla="*/ 1296594 w 2222569"/>
                <a:gd name="connsiteY10070" fmla="*/ 1742150 h 2052818"/>
                <a:gd name="connsiteX10071" fmla="*/ 1302459 w 2222569"/>
                <a:gd name="connsiteY10071" fmla="*/ 1746712 h 2052818"/>
                <a:gd name="connsiteX10072" fmla="*/ 1311093 w 2222569"/>
                <a:gd name="connsiteY10072" fmla="*/ 1747689 h 2052818"/>
                <a:gd name="connsiteX10073" fmla="*/ 1306369 w 2222569"/>
                <a:gd name="connsiteY10073" fmla="*/ 1745409 h 2052818"/>
                <a:gd name="connsiteX10074" fmla="*/ 1301318 w 2222569"/>
                <a:gd name="connsiteY10074" fmla="*/ 1739870 h 2052818"/>
                <a:gd name="connsiteX10075" fmla="*/ 1300341 w 2222569"/>
                <a:gd name="connsiteY10075" fmla="*/ 1733842 h 2052818"/>
                <a:gd name="connsiteX10076" fmla="*/ 1301481 w 2222569"/>
                <a:gd name="connsiteY10076" fmla="*/ 1725860 h 2052818"/>
                <a:gd name="connsiteX10077" fmla="*/ 1304088 w 2222569"/>
                <a:gd name="connsiteY10077" fmla="*/ 1722276 h 2052818"/>
                <a:gd name="connsiteX10078" fmla="*/ 1301481 w 2222569"/>
                <a:gd name="connsiteY10078" fmla="*/ 1719180 h 2052818"/>
                <a:gd name="connsiteX10079" fmla="*/ 1301155 w 2222569"/>
                <a:gd name="connsiteY10079" fmla="*/ 1714130 h 2052818"/>
                <a:gd name="connsiteX10080" fmla="*/ 1303110 w 2222569"/>
                <a:gd name="connsiteY10080" fmla="*/ 1715270 h 2052818"/>
                <a:gd name="connsiteX10081" fmla="*/ 1305880 w 2222569"/>
                <a:gd name="connsiteY10081" fmla="*/ 1714293 h 2052818"/>
                <a:gd name="connsiteX10082" fmla="*/ 1308323 w 2222569"/>
                <a:gd name="connsiteY10082" fmla="*/ 1706962 h 2052818"/>
                <a:gd name="connsiteX10083" fmla="*/ 1314351 w 2222569"/>
                <a:gd name="connsiteY10083" fmla="*/ 1701097 h 2052818"/>
                <a:gd name="connsiteX10084" fmla="*/ 1312559 w 2222569"/>
                <a:gd name="connsiteY10084" fmla="*/ 1699142 h 2052818"/>
                <a:gd name="connsiteX10085" fmla="*/ 1311745 w 2222569"/>
                <a:gd name="connsiteY10085" fmla="*/ 1691649 h 2052818"/>
                <a:gd name="connsiteX10086" fmla="*/ 1308812 w 2222569"/>
                <a:gd name="connsiteY10086" fmla="*/ 1690019 h 2052818"/>
                <a:gd name="connsiteX10087" fmla="*/ 1308812 w 2222569"/>
                <a:gd name="connsiteY10087" fmla="*/ 1684644 h 2052818"/>
                <a:gd name="connsiteX10088" fmla="*/ 1313862 w 2222569"/>
                <a:gd name="connsiteY10088" fmla="*/ 1678779 h 2052818"/>
                <a:gd name="connsiteX10089" fmla="*/ 1311907 w 2222569"/>
                <a:gd name="connsiteY10089" fmla="*/ 1676009 h 2052818"/>
                <a:gd name="connsiteX10090" fmla="*/ 1311907 w 2222569"/>
                <a:gd name="connsiteY10090" fmla="*/ 1673077 h 2052818"/>
                <a:gd name="connsiteX10091" fmla="*/ 1309464 w 2222569"/>
                <a:gd name="connsiteY10091" fmla="*/ 1672099 h 2052818"/>
                <a:gd name="connsiteX10092" fmla="*/ 1308649 w 2222569"/>
                <a:gd name="connsiteY10092" fmla="*/ 1668841 h 2052818"/>
                <a:gd name="connsiteX10093" fmla="*/ 1312722 w 2222569"/>
                <a:gd name="connsiteY10093" fmla="*/ 1656297 h 2052818"/>
                <a:gd name="connsiteX10094" fmla="*/ 1311419 w 2222569"/>
                <a:gd name="connsiteY10094" fmla="*/ 1651247 h 2052818"/>
                <a:gd name="connsiteX10095" fmla="*/ 1312722 w 2222569"/>
                <a:gd name="connsiteY10095" fmla="*/ 1642776 h 2052818"/>
                <a:gd name="connsiteX10096" fmla="*/ 1315491 w 2222569"/>
                <a:gd name="connsiteY10096" fmla="*/ 1640006 h 2052818"/>
                <a:gd name="connsiteX10097" fmla="*/ 1314351 w 2222569"/>
                <a:gd name="connsiteY10097" fmla="*/ 1635282 h 2052818"/>
                <a:gd name="connsiteX10098" fmla="*/ 1316795 w 2222569"/>
                <a:gd name="connsiteY10098" fmla="*/ 1633653 h 2052818"/>
                <a:gd name="connsiteX10099" fmla="*/ 1315003 w 2222569"/>
                <a:gd name="connsiteY10099" fmla="*/ 1629417 h 2052818"/>
                <a:gd name="connsiteX10100" fmla="*/ 1317935 w 2222569"/>
                <a:gd name="connsiteY10100" fmla="*/ 1627137 h 2052818"/>
                <a:gd name="connsiteX10101" fmla="*/ 1315166 w 2222569"/>
                <a:gd name="connsiteY10101" fmla="*/ 1626322 h 2052818"/>
                <a:gd name="connsiteX10102" fmla="*/ 1313536 w 2222569"/>
                <a:gd name="connsiteY10102" fmla="*/ 1623064 h 2052818"/>
                <a:gd name="connsiteX10103" fmla="*/ 1316143 w 2222569"/>
                <a:gd name="connsiteY10103" fmla="*/ 1621598 h 2052818"/>
                <a:gd name="connsiteX10104" fmla="*/ 1314188 w 2222569"/>
                <a:gd name="connsiteY10104" fmla="*/ 1617688 h 2052818"/>
                <a:gd name="connsiteX10105" fmla="*/ 1314188 w 2222569"/>
                <a:gd name="connsiteY10105" fmla="*/ 1613126 h 2052818"/>
                <a:gd name="connsiteX10106" fmla="*/ 1312233 w 2222569"/>
                <a:gd name="connsiteY10106" fmla="*/ 1609054 h 2052818"/>
                <a:gd name="connsiteX10107" fmla="*/ 1311745 w 2222569"/>
                <a:gd name="connsiteY10107" fmla="*/ 1603841 h 2052818"/>
                <a:gd name="connsiteX10108" fmla="*/ 1310115 w 2222569"/>
                <a:gd name="connsiteY10108" fmla="*/ 1601071 h 2052818"/>
                <a:gd name="connsiteX10109" fmla="*/ 1316958 w 2222569"/>
                <a:gd name="connsiteY10109" fmla="*/ 1597976 h 2052818"/>
                <a:gd name="connsiteX10110" fmla="*/ 1327058 w 2222569"/>
                <a:gd name="connsiteY10110" fmla="*/ 1596347 h 2052818"/>
                <a:gd name="connsiteX10111" fmla="*/ 1332108 w 2222569"/>
                <a:gd name="connsiteY10111" fmla="*/ 1592437 h 2052818"/>
                <a:gd name="connsiteX10112" fmla="*/ 1337973 w 2222569"/>
                <a:gd name="connsiteY10112" fmla="*/ 1592437 h 2052818"/>
                <a:gd name="connsiteX10113" fmla="*/ 1340742 w 2222569"/>
                <a:gd name="connsiteY10113" fmla="*/ 1590482 h 2052818"/>
                <a:gd name="connsiteX10114" fmla="*/ 1350680 w 2222569"/>
                <a:gd name="connsiteY10114" fmla="*/ 1585432 h 2052818"/>
                <a:gd name="connsiteX10115" fmla="*/ 1366482 w 2222569"/>
                <a:gd name="connsiteY10115" fmla="*/ 1579567 h 2052818"/>
                <a:gd name="connsiteX10116" fmla="*/ 1366482 w 2222569"/>
                <a:gd name="connsiteY10116" fmla="*/ 1577775 h 2052818"/>
                <a:gd name="connsiteX10117" fmla="*/ 1369903 w 2222569"/>
                <a:gd name="connsiteY10117" fmla="*/ 1574680 h 2052818"/>
                <a:gd name="connsiteX10118" fmla="*/ 1381958 w 2222569"/>
                <a:gd name="connsiteY10118" fmla="*/ 1569467 h 2052818"/>
                <a:gd name="connsiteX10119" fmla="*/ 1382610 w 2222569"/>
                <a:gd name="connsiteY10119" fmla="*/ 1565068 h 2052818"/>
                <a:gd name="connsiteX10120" fmla="*/ 1388475 w 2222569"/>
                <a:gd name="connsiteY10120" fmla="*/ 1562299 h 2052818"/>
                <a:gd name="connsiteX10121" fmla="*/ 1395480 w 2222569"/>
                <a:gd name="connsiteY10121" fmla="*/ 1551221 h 2052818"/>
                <a:gd name="connsiteX10122" fmla="*/ 1398575 w 2222569"/>
                <a:gd name="connsiteY10122" fmla="*/ 1551547 h 2052818"/>
                <a:gd name="connsiteX10123" fmla="*/ 1401019 w 2222569"/>
                <a:gd name="connsiteY10123" fmla="*/ 1553990 h 2052818"/>
                <a:gd name="connsiteX10124" fmla="*/ 1406232 w 2222569"/>
                <a:gd name="connsiteY10124" fmla="*/ 1553665 h 2052818"/>
                <a:gd name="connsiteX10125" fmla="*/ 1410142 w 2222569"/>
                <a:gd name="connsiteY10125" fmla="*/ 1549429 h 2052818"/>
                <a:gd name="connsiteX10126" fmla="*/ 1405580 w 2222569"/>
                <a:gd name="connsiteY10126" fmla="*/ 1543564 h 2052818"/>
                <a:gd name="connsiteX10127" fmla="*/ 1405254 w 2222569"/>
                <a:gd name="connsiteY10127" fmla="*/ 1537048 h 2052818"/>
                <a:gd name="connsiteX10128" fmla="*/ 1402159 w 2222569"/>
                <a:gd name="connsiteY10128" fmla="*/ 1539817 h 2052818"/>
                <a:gd name="connsiteX10129" fmla="*/ 1401019 w 2222569"/>
                <a:gd name="connsiteY10129" fmla="*/ 1545030 h 2052818"/>
                <a:gd name="connsiteX10130" fmla="*/ 1398738 w 2222569"/>
                <a:gd name="connsiteY10130" fmla="*/ 1545519 h 2052818"/>
                <a:gd name="connsiteX10131" fmla="*/ 1400530 w 2222569"/>
                <a:gd name="connsiteY10131" fmla="*/ 1538840 h 2052818"/>
                <a:gd name="connsiteX10132" fmla="*/ 1405091 w 2222569"/>
                <a:gd name="connsiteY10132" fmla="*/ 1526459 h 2052818"/>
                <a:gd name="connsiteX10133" fmla="*/ 1406884 w 2222569"/>
                <a:gd name="connsiteY10133" fmla="*/ 1524504 h 2052818"/>
                <a:gd name="connsiteX10134" fmla="*/ 1406884 w 2222569"/>
                <a:gd name="connsiteY10134" fmla="*/ 1515707 h 2052818"/>
                <a:gd name="connsiteX10135" fmla="*/ 1407535 w 2222569"/>
                <a:gd name="connsiteY10135" fmla="*/ 1509516 h 2052818"/>
                <a:gd name="connsiteX10136" fmla="*/ 1403462 w 2222569"/>
                <a:gd name="connsiteY10136" fmla="*/ 1501859 h 2052818"/>
                <a:gd name="connsiteX10137" fmla="*/ 1404114 w 2222569"/>
                <a:gd name="connsiteY10137" fmla="*/ 1486383 h 2052818"/>
                <a:gd name="connsiteX10138" fmla="*/ 1402485 w 2222569"/>
                <a:gd name="connsiteY10138" fmla="*/ 1472699 h 2052818"/>
                <a:gd name="connsiteX10139" fmla="*/ 1394665 w 2222569"/>
                <a:gd name="connsiteY10139" fmla="*/ 1460806 h 2052818"/>
                <a:gd name="connsiteX10140" fmla="*/ 1389126 w 2222569"/>
                <a:gd name="connsiteY10140" fmla="*/ 1457059 h 2052818"/>
                <a:gd name="connsiteX10141" fmla="*/ 1387660 w 2222569"/>
                <a:gd name="connsiteY10141" fmla="*/ 1451683 h 2052818"/>
                <a:gd name="connsiteX10142" fmla="*/ 1382447 w 2222569"/>
                <a:gd name="connsiteY10142" fmla="*/ 1450217 h 2052818"/>
                <a:gd name="connsiteX10143" fmla="*/ 1380981 w 2222569"/>
                <a:gd name="connsiteY10143" fmla="*/ 1446144 h 2052818"/>
                <a:gd name="connsiteX10144" fmla="*/ 1383913 w 2222569"/>
                <a:gd name="connsiteY10144" fmla="*/ 1436207 h 2052818"/>
                <a:gd name="connsiteX10145" fmla="*/ 1388963 w 2222569"/>
                <a:gd name="connsiteY10145" fmla="*/ 1434089 h 2052818"/>
                <a:gd name="connsiteX10146" fmla="*/ 1402485 w 2222569"/>
                <a:gd name="connsiteY10146" fmla="*/ 1420079 h 2052818"/>
                <a:gd name="connsiteX10147" fmla="*/ 1406720 w 2222569"/>
                <a:gd name="connsiteY10147" fmla="*/ 1419590 h 2052818"/>
                <a:gd name="connsiteX10148" fmla="*/ 1409979 w 2222569"/>
                <a:gd name="connsiteY10148" fmla="*/ 1415681 h 2052818"/>
                <a:gd name="connsiteX10149" fmla="*/ 1409979 w 2222569"/>
                <a:gd name="connsiteY10149" fmla="*/ 1412259 h 2052818"/>
                <a:gd name="connsiteX10150" fmla="*/ 1408024 w 2222569"/>
                <a:gd name="connsiteY10150" fmla="*/ 1411119 h 2052818"/>
                <a:gd name="connsiteX10151" fmla="*/ 1408024 w 2222569"/>
                <a:gd name="connsiteY10151" fmla="*/ 1409164 h 2052818"/>
                <a:gd name="connsiteX10152" fmla="*/ 1413237 w 2222569"/>
                <a:gd name="connsiteY10152" fmla="*/ 1402159 h 2052818"/>
                <a:gd name="connsiteX10153" fmla="*/ 1416006 w 2222569"/>
                <a:gd name="connsiteY10153" fmla="*/ 1402159 h 2052818"/>
                <a:gd name="connsiteX10154" fmla="*/ 1419102 w 2222569"/>
                <a:gd name="connsiteY10154" fmla="*/ 1408187 h 2052818"/>
                <a:gd name="connsiteX10155" fmla="*/ 1422360 w 2222569"/>
                <a:gd name="connsiteY10155" fmla="*/ 1409816 h 2052818"/>
                <a:gd name="connsiteX10156" fmla="*/ 1420568 w 2222569"/>
                <a:gd name="connsiteY10156" fmla="*/ 1407046 h 2052818"/>
                <a:gd name="connsiteX10157" fmla="*/ 1420894 w 2222569"/>
                <a:gd name="connsiteY10157" fmla="*/ 1401182 h 2052818"/>
                <a:gd name="connsiteX10158" fmla="*/ 1426433 w 2222569"/>
                <a:gd name="connsiteY10158" fmla="*/ 1398738 h 2052818"/>
                <a:gd name="connsiteX10159" fmla="*/ 1431809 w 2222569"/>
                <a:gd name="connsiteY10159" fmla="*/ 1388963 h 2052818"/>
                <a:gd name="connsiteX10160" fmla="*/ 1430831 w 2222569"/>
                <a:gd name="connsiteY10160" fmla="*/ 1385705 h 2052818"/>
                <a:gd name="connsiteX10161" fmla="*/ 1423826 w 2222569"/>
                <a:gd name="connsiteY10161" fmla="*/ 1385705 h 2052818"/>
                <a:gd name="connsiteX10162" fmla="*/ 1423337 w 2222569"/>
                <a:gd name="connsiteY10162" fmla="*/ 1383424 h 2052818"/>
                <a:gd name="connsiteX10163" fmla="*/ 1427899 w 2222569"/>
                <a:gd name="connsiteY10163" fmla="*/ 1377560 h 2052818"/>
                <a:gd name="connsiteX10164" fmla="*/ 1425129 w 2222569"/>
                <a:gd name="connsiteY10164" fmla="*/ 1375279 h 2052818"/>
                <a:gd name="connsiteX10165" fmla="*/ 1423500 w 2222569"/>
                <a:gd name="connsiteY10165" fmla="*/ 1371532 h 2052818"/>
                <a:gd name="connsiteX10166" fmla="*/ 1426921 w 2222569"/>
                <a:gd name="connsiteY10166" fmla="*/ 1367459 h 2052818"/>
                <a:gd name="connsiteX10167" fmla="*/ 1431971 w 2222569"/>
                <a:gd name="connsiteY10167" fmla="*/ 1365830 h 2052818"/>
                <a:gd name="connsiteX10168" fmla="*/ 1426433 w 2222569"/>
                <a:gd name="connsiteY10168" fmla="*/ 1364853 h 2052818"/>
                <a:gd name="connsiteX10169" fmla="*/ 1426107 w 2222569"/>
                <a:gd name="connsiteY10169" fmla="*/ 1362083 h 2052818"/>
                <a:gd name="connsiteX10170" fmla="*/ 1428387 w 2222569"/>
                <a:gd name="connsiteY10170" fmla="*/ 1354915 h 2052818"/>
                <a:gd name="connsiteX10171" fmla="*/ 1432297 w 2222569"/>
                <a:gd name="connsiteY10171" fmla="*/ 1352472 h 2052818"/>
                <a:gd name="connsiteX10172" fmla="*/ 1429365 w 2222569"/>
                <a:gd name="connsiteY10172" fmla="*/ 1351983 h 2052818"/>
                <a:gd name="connsiteX10173" fmla="*/ 1420894 w 2222569"/>
                <a:gd name="connsiteY10173" fmla="*/ 1352798 h 2052818"/>
                <a:gd name="connsiteX10174" fmla="*/ 1418450 w 2222569"/>
                <a:gd name="connsiteY10174" fmla="*/ 1351657 h 2052818"/>
                <a:gd name="connsiteX10175" fmla="*/ 1418776 w 2222569"/>
                <a:gd name="connsiteY10175" fmla="*/ 1347747 h 2052818"/>
                <a:gd name="connsiteX10176" fmla="*/ 1429691 w 2222569"/>
                <a:gd name="connsiteY10176" fmla="*/ 1339113 h 2052818"/>
                <a:gd name="connsiteX10177" fmla="*/ 1436533 w 2222569"/>
                <a:gd name="connsiteY10177" fmla="*/ 1329339 h 2052818"/>
                <a:gd name="connsiteX10178" fmla="*/ 1437673 w 2222569"/>
                <a:gd name="connsiteY10178" fmla="*/ 1323474 h 2052818"/>
                <a:gd name="connsiteX10179" fmla="*/ 1440931 w 2222569"/>
                <a:gd name="connsiteY10179" fmla="*/ 1323963 h 2052818"/>
                <a:gd name="connsiteX10180" fmla="*/ 1443212 w 2222569"/>
                <a:gd name="connsiteY10180" fmla="*/ 1321193 h 2052818"/>
                <a:gd name="connsiteX10181" fmla="*/ 1443212 w 2222569"/>
                <a:gd name="connsiteY10181" fmla="*/ 1315328 h 2052818"/>
                <a:gd name="connsiteX10182" fmla="*/ 1440443 w 2222569"/>
                <a:gd name="connsiteY10182" fmla="*/ 1314188 h 2052818"/>
                <a:gd name="connsiteX10183" fmla="*/ 1440117 w 2222569"/>
                <a:gd name="connsiteY10183" fmla="*/ 1311907 h 2052818"/>
                <a:gd name="connsiteX10184" fmla="*/ 1437510 w 2222569"/>
                <a:gd name="connsiteY10184" fmla="*/ 1311419 h 2052818"/>
                <a:gd name="connsiteX10185" fmla="*/ 1434415 w 2222569"/>
                <a:gd name="connsiteY10185" fmla="*/ 1306369 h 2052818"/>
                <a:gd name="connsiteX10186" fmla="*/ 1434415 w 2222569"/>
                <a:gd name="connsiteY10186" fmla="*/ 1296594 h 2052818"/>
                <a:gd name="connsiteX10187" fmla="*/ 1438162 w 2222569"/>
                <a:gd name="connsiteY10187" fmla="*/ 1289100 h 2052818"/>
                <a:gd name="connsiteX10188" fmla="*/ 1438162 w 2222569"/>
                <a:gd name="connsiteY10188" fmla="*/ 1282584 h 2052818"/>
                <a:gd name="connsiteX10189" fmla="*/ 1442398 w 2222569"/>
                <a:gd name="connsiteY10189" fmla="*/ 1280303 h 2052818"/>
                <a:gd name="connsiteX10190" fmla="*/ 1444353 w 2222569"/>
                <a:gd name="connsiteY10190" fmla="*/ 1281769 h 2052818"/>
                <a:gd name="connsiteX10191" fmla="*/ 1447285 w 2222569"/>
                <a:gd name="connsiteY10191" fmla="*/ 1281769 h 2052818"/>
                <a:gd name="connsiteX10192" fmla="*/ 1447285 w 2222569"/>
                <a:gd name="connsiteY10192" fmla="*/ 1278511 h 2052818"/>
                <a:gd name="connsiteX10193" fmla="*/ 1450869 w 2222569"/>
                <a:gd name="connsiteY10193" fmla="*/ 1275090 h 2052818"/>
                <a:gd name="connsiteX10194" fmla="*/ 1453964 w 2222569"/>
                <a:gd name="connsiteY10194" fmla="*/ 1274764 h 2052818"/>
                <a:gd name="connsiteX10195" fmla="*/ 1457060 w 2222569"/>
                <a:gd name="connsiteY10195" fmla="*/ 1273461 h 2052818"/>
                <a:gd name="connsiteX10196" fmla="*/ 1460155 w 2222569"/>
                <a:gd name="connsiteY10196" fmla="*/ 1275416 h 2052818"/>
                <a:gd name="connsiteX10197" fmla="*/ 1468626 w 2222569"/>
                <a:gd name="connsiteY10197" fmla="*/ 1275904 h 2052818"/>
                <a:gd name="connsiteX10198" fmla="*/ 1477260 w 2222569"/>
                <a:gd name="connsiteY10198" fmla="*/ 1280629 h 2052818"/>
                <a:gd name="connsiteX10199" fmla="*/ 1488664 w 2222569"/>
                <a:gd name="connsiteY10199" fmla="*/ 1286819 h 2052818"/>
                <a:gd name="connsiteX10200" fmla="*/ 1495017 w 2222569"/>
                <a:gd name="connsiteY10200" fmla="*/ 1286819 h 2052818"/>
                <a:gd name="connsiteX10201" fmla="*/ 1493551 w 2222569"/>
                <a:gd name="connsiteY10201" fmla="*/ 1291544 h 2052818"/>
                <a:gd name="connsiteX10202" fmla="*/ 1486872 w 2222569"/>
                <a:gd name="connsiteY10202" fmla="*/ 1294150 h 2052818"/>
                <a:gd name="connsiteX10203" fmla="*/ 1495343 w 2222569"/>
                <a:gd name="connsiteY10203" fmla="*/ 1293824 h 2052818"/>
                <a:gd name="connsiteX10204" fmla="*/ 1502348 w 2222569"/>
                <a:gd name="connsiteY10204" fmla="*/ 1288611 h 2052818"/>
                <a:gd name="connsiteX10205" fmla="*/ 1507073 w 2222569"/>
                <a:gd name="connsiteY10205" fmla="*/ 1288937 h 2052818"/>
                <a:gd name="connsiteX10206" fmla="*/ 1509679 w 2222569"/>
                <a:gd name="connsiteY10206" fmla="*/ 1291870 h 2052818"/>
                <a:gd name="connsiteX10207" fmla="*/ 1513426 w 2222569"/>
                <a:gd name="connsiteY10207" fmla="*/ 1291870 h 2052818"/>
                <a:gd name="connsiteX10208" fmla="*/ 1517173 w 2222569"/>
                <a:gd name="connsiteY10208" fmla="*/ 1297083 h 2052818"/>
                <a:gd name="connsiteX10209" fmla="*/ 1517173 w 2222569"/>
                <a:gd name="connsiteY10209" fmla="*/ 1291544 h 2052818"/>
                <a:gd name="connsiteX10210" fmla="*/ 1523038 w 2222569"/>
                <a:gd name="connsiteY10210" fmla="*/ 1294150 h 2052818"/>
                <a:gd name="connsiteX10211" fmla="*/ 1525644 w 2222569"/>
                <a:gd name="connsiteY10211" fmla="*/ 1291218 h 2052818"/>
                <a:gd name="connsiteX10212" fmla="*/ 1529717 w 2222569"/>
                <a:gd name="connsiteY10212" fmla="*/ 1290892 h 2052818"/>
                <a:gd name="connsiteX10213" fmla="*/ 1536396 w 2222569"/>
                <a:gd name="connsiteY10213" fmla="*/ 1286819 h 2052818"/>
                <a:gd name="connsiteX10214" fmla="*/ 1545193 w 2222569"/>
                <a:gd name="connsiteY10214" fmla="*/ 1293824 h 2052818"/>
                <a:gd name="connsiteX10215" fmla="*/ 1545193 w 2222569"/>
                <a:gd name="connsiteY10215" fmla="*/ 1299038 h 2052818"/>
                <a:gd name="connsiteX10216" fmla="*/ 1551058 w 2222569"/>
                <a:gd name="connsiteY10216" fmla="*/ 1303762 h 2052818"/>
                <a:gd name="connsiteX10217" fmla="*/ 1555457 w 2222569"/>
                <a:gd name="connsiteY10217" fmla="*/ 1303762 h 2052818"/>
                <a:gd name="connsiteX10218" fmla="*/ 1555457 w 2222569"/>
                <a:gd name="connsiteY10218" fmla="*/ 1311907 h 2052818"/>
                <a:gd name="connsiteX10219" fmla="*/ 1552524 w 2222569"/>
                <a:gd name="connsiteY10219" fmla="*/ 1315980 h 2052818"/>
                <a:gd name="connsiteX10220" fmla="*/ 1552524 w 2222569"/>
                <a:gd name="connsiteY10220" fmla="*/ 1319727 h 2052818"/>
                <a:gd name="connsiteX10221" fmla="*/ 1555782 w 2222569"/>
                <a:gd name="connsiteY10221" fmla="*/ 1317446 h 2052818"/>
                <a:gd name="connsiteX10222" fmla="*/ 1561321 w 2222569"/>
                <a:gd name="connsiteY10222" fmla="*/ 1322659 h 2052818"/>
                <a:gd name="connsiteX10223" fmla="*/ 1563928 w 2222569"/>
                <a:gd name="connsiteY10223" fmla="*/ 1328198 h 2052818"/>
                <a:gd name="connsiteX10224" fmla="*/ 1559855 w 2222569"/>
                <a:gd name="connsiteY10224" fmla="*/ 1329339 h 2052818"/>
                <a:gd name="connsiteX10225" fmla="*/ 1564254 w 2222569"/>
                <a:gd name="connsiteY10225" fmla="*/ 1332597 h 2052818"/>
                <a:gd name="connsiteX10226" fmla="*/ 1568001 w 2222569"/>
                <a:gd name="connsiteY10226" fmla="*/ 1329339 h 2052818"/>
                <a:gd name="connsiteX10227" fmla="*/ 1572399 w 2222569"/>
                <a:gd name="connsiteY10227" fmla="*/ 1335529 h 2052818"/>
                <a:gd name="connsiteX10228" fmla="*/ 1571747 w 2222569"/>
                <a:gd name="connsiteY10228" fmla="*/ 1338462 h 2052818"/>
                <a:gd name="connsiteX10229" fmla="*/ 1567349 w 2222569"/>
                <a:gd name="connsiteY10229" fmla="*/ 1335203 h 2052818"/>
                <a:gd name="connsiteX10230" fmla="*/ 1565068 w 2222569"/>
                <a:gd name="connsiteY10230" fmla="*/ 1339928 h 2052818"/>
                <a:gd name="connsiteX10231" fmla="*/ 1560670 w 2222569"/>
                <a:gd name="connsiteY10231" fmla="*/ 1339928 h 2052818"/>
                <a:gd name="connsiteX10232" fmla="*/ 1567023 w 2222569"/>
                <a:gd name="connsiteY10232" fmla="*/ 1346118 h 2052818"/>
                <a:gd name="connsiteX10233" fmla="*/ 1567023 w 2222569"/>
                <a:gd name="connsiteY10233" fmla="*/ 1350843 h 2052818"/>
                <a:gd name="connsiteX10234" fmla="*/ 1571422 w 2222569"/>
                <a:gd name="connsiteY10234" fmla="*/ 1346770 h 2052818"/>
                <a:gd name="connsiteX10235" fmla="*/ 1571422 w 2222569"/>
                <a:gd name="connsiteY10235" fmla="*/ 1350843 h 2052818"/>
                <a:gd name="connsiteX10236" fmla="*/ 1575494 w 2222569"/>
                <a:gd name="connsiteY10236" fmla="*/ 1348236 h 2052818"/>
                <a:gd name="connsiteX10237" fmla="*/ 1583640 w 2222569"/>
                <a:gd name="connsiteY10237" fmla="*/ 1355241 h 2052818"/>
                <a:gd name="connsiteX10238" fmla="*/ 1586572 w 2222569"/>
                <a:gd name="connsiteY10238" fmla="*/ 1354101 h 2052818"/>
                <a:gd name="connsiteX10239" fmla="*/ 1588364 w 2222569"/>
                <a:gd name="connsiteY10239" fmla="*/ 1356707 h 2052818"/>
                <a:gd name="connsiteX10240" fmla="*/ 1593903 w 2222569"/>
                <a:gd name="connsiteY10240" fmla="*/ 1354101 h 2052818"/>
                <a:gd name="connsiteX10241" fmla="*/ 1600582 w 2222569"/>
                <a:gd name="connsiteY10241" fmla="*/ 1356382 h 2052818"/>
                <a:gd name="connsiteX10242" fmla="*/ 1599442 w 2222569"/>
                <a:gd name="connsiteY10242" fmla="*/ 1365667 h 2052818"/>
                <a:gd name="connsiteX10243" fmla="*/ 1602049 w 2222569"/>
                <a:gd name="connsiteY10243" fmla="*/ 1369740 h 2052818"/>
                <a:gd name="connsiteX10244" fmla="*/ 1607913 w 2222569"/>
                <a:gd name="connsiteY10244" fmla="*/ 1365342 h 2052818"/>
                <a:gd name="connsiteX10245" fmla="*/ 1609054 w 2222569"/>
                <a:gd name="connsiteY10245" fmla="*/ 1357522 h 2052818"/>
                <a:gd name="connsiteX10246" fmla="*/ 1613127 w 2222569"/>
                <a:gd name="connsiteY10246" fmla="*/ 1357196 h 2052818"/>
                <a:gd name="connsiteX10247" fmla="*/ 1613452 w 2222569"/>
                <a:gd name="connsiteY10247" fmla="*/ 1365993 h 2052818"/>
                <a:gd name="connsiteX10248" fmla="*/ 1611986 w 2222569"/>
                <a:gd name="connsiteY10248" fmla="*/ 1374465 h 2052818"/>
                <a:gd name="connsiteX10249" fmla="*/ 1605307 w 2222569"/>
                <a:gd name="connsiteY10249" fmla="*/ 1375931 h 2052818"/>
                <a:gd name="connsiteX10250" fmla="*/ 1600582 w 2222569"/>
                <a:gd name="connsiteY10250" fmla="*/ 1383262 h 2052818"/>
                <a:gd name="connsiteX10251" fmla="*/ 1601723 w 2222569"/>
                <a:gd name="connsiteY10251" fmla="*/ 1395806 h 2052818"/>
                <a:gd name="connsiteX10252" fmla="*/ 1599442 w 2222569"/>
                <a:gd name="connsiteY10252" fmla="*/ 1400204 h 2052818"/>
                <a:gd name="connsiteX10253" fmla="*/ 1598302 w 2222569"/>
                <a:gd name="connsiteY10253" fmla="*/ 1393525 h 2052818"/>
                <a:gd name="connsiteX10254" fmla="*/ 1596021 w 2222569"/>
                <a:gd name="connsiteY10254" fmla="*/ 1396457 h 2052818"/>
                <a:gd name="connsiteX10255" fmla="*/ 1594555 w 2222569"/>
                <a:gd name="connsiteY10255" fmla="*/ 1404277 h 2052818"/>
                <a:gd name="connsiteX10256" fmla="*/ 1583477 w 2222569"/>
                <a:gd name="connsiteY10256" fmla="*/ 1402811 h 2052818"/>
                <a:gd name="connsiteX10257" fmla="*/ 1570118 w 2222569"/>
                <a:gd name="connsiteY10257" fmla="*/ 1398738 h 2052818"/>
                <a:gd name="connsiteX10258" fmla="*/ 1582011 w 2222569"/>
                <a:gd name="connsiteY10258" fmla="*/ 1405091 h 2052818"/>
                <a:gd name="connsiteX10259" fmla="*/ 1591622 w 2222569"/>
                <a:gd name="connsiteY10259" fmla="*/ 1406883 h 2052818"/>
                <a:gd name="connsiteX10260" fmla="*/ 1598465 w 2222569"/>
                <a:gd name="connsiteY10260" fmla="*/ 1412748 h 2052818"/>
                <a:gd name="connsiteX10261" fmla="*/ 1597976 w 2222569"/>
                <a:gd name="connsiteY10261" fmla="*/ 1421545 h 2052818"/>
                <a:gd name="connsiteX10262" fmla="*/ 1593577 w 2222569"/>
                <a:gd name="connsiteY10262" fmla="*/ 1428062 h 2052818"/>
                <a:gd name="connsiteX10263" fmla="*/ 1592926 w 2222569"/>
                <a:gd name="connsiteY10263" fmla="*/ 1431157 h 2052818"/>
                <a:gd name="connsiteX10264" fmla="*/ 1587550 w 2222569"/>
                <a:gd name="connsiteY10264" fmla="*/ 1437999 h 2052818"/>
                <a:gd name="connsiteX10265" fmla="*/ 1589016 w 2222569"/>
                <a:gd name="connsiteY10265" fmla="*/ 1438651 h 2052818"/>
                <a:gd name="connsiteX10266" fmla="*/ 1595369 w 2222569"/>
                <a:gd name="connsiteY10266" fmla="*/ 1448425 h 2052818"/>
                <a:gd name="connsiteX10267" fmla="*/ 1599605 w 2222569"/>
                <a:gd name="connsiteY10267" fmla="*/ 1449728 h 2052818"/>
                <a:gd name="connsiteX10268" fmla="*/ 1596998 w 2222569"/>
                <a:gd name="connsiteY10268" fmla="*/ 1450869 h 2052818"/>
                <a:gd name="connsiteX10269" fmla="*/ 1588201 w 2222569"/>
                <a:gd name="connsiteY10269" fmla="*/ 1446633 h 2052818"/>
                <a:gd name="connsiteX10270" fmla="*/ 1594066 w 2222569"/>
                <a:gd name="connsiteY10270" fmla="*/ 1455430 h 2052818"/>
                <a:gd name="connsiteX10271" fmla="*/ 1598627 w 2222569"/>
                <a:gd name="connsiteY10271" fmla="*/ 1458689 h 2052818"/>
                <a:gd name="connsiteX10272" fmla="*/ 1600257 w 2222569"/>
                <a:gd name="connsiteY10272" fmla="*/ 1458689 h 2052818"/>
                <a:gd name="connsiteX10273" fmla="*/ 1598627 w 2222569"/>
                <a:gd name="connsiteY10273" fmla="*/ 1453150 h 2052818"/>
                <a:gd name="connsiteX10274" fmla="*/ 1603189 w 2222569"/>
                <a:gd name="connsiteY10274" fmla="*/ 1453150 h 2052818"/>
                <a:gd name="connsiteX10275" fmla="*/ 1608402 w 2222569"/>
                <a:gd name="connsiteY10275" fmla="*/ 1457385 h 2052818"/>
                <a:gd name="connsiteX10276" fmla="*/ 1611171 w 2222569"/>
                <a:gd name="connsiteY10276" fmla="*/ 1462598 h 2052818"/>
                <a:gd name="connsiteX10277" fmla="*/ 1610031 w 2222569"/>
                <a:gd name="connsiteY10277" fmla="*/ 1468137 h 2052818"/>
                <a:gd name="connsiteX10278" fmla="*/ 1610357 w 2222569"/>
                <a:gd name="connsiteY10278" fmla="*/ 1473839 h 2052818"/>
                <a:gd name="connsiteX10279" fmla="*/ 1604818 w 2222569"/>
                <a:gd name="connsiteY10279" fmla="*/ 1482473 h 2052818"/>
                <a:gd name="connsiteX10280" fmla="*/ 1603678 w 2222569"/>
                <a:gd name="connsiteY10280" fmla="*/ 1488012 h 2052818"/>
                <a:gd name="connsiteX10281" fmla="*/ 1599931 w 2222569"/>
                <a:gd name="connsiteY10281" fmla="*/ 1492736 h 2052818"/>
                <a:gd name="connsiteX10282" fmla="*/ 1605307 w 2222569"/>
                <a:gd name="connsiteY10282" fmla="*/ 1489967 h 2052818"/>
                <a:gd name="connsiteX10283" fmla="*/ 1611986 w 2222569"/>
                <a:gd name="connsiteY10283" fmla="*/ 1476446 h 2052818"/>
                <a:gd name="connsiteX10284" fmla="*/ 1618665 w 2222569"/>
                <a:gd name="connsiteY10284" fmla="*/ 1469766 h 2052818"/>
                <a:gd name="connsiteX10285" fmla="*/ 1620132 w 2222569"/>
                <a:gd name="connsiteY10285" fmla="*/ 1470255 h 2052818"/>
                <a:gd name="connsiteX10286" fmla="*/ 1619480 w 2222569"/>
                <a:gd name="connsiteY10286" fmla="*/ 1475142 h 2052818"/>
                <a:gd name="connsiteX10287" fmla="*/ 1619969 w 2222569"/>
                <a:gd name="connsiteY10287" fmla="*/ 1485406 h 2052818"/>
                <a:gd name="connsiteX10288" fmla="*/ 1618502 w 2222569"/>
                <a:gd name="connsiteY10288" fmla="*/ 1487361 h 2052818"/>
                <a:gd name="connsiteX10289" fmla="*/ 1618828 w 2222569"/>
                <a:gd name="connsiteY10289" fmla="*/ 1491596 h 2052818"/>
                <a:gd name="connsiteX10290" fmla="*/ 1616873 w 2222569"/>
                <a:gd name="connsiteY10290" fmla="*/ 1496646 h 2052818"/>
                <a:gd name="connsiteX10291" fmla="*/ 1622575 w 2222569"/>
                <a:gd name="connsiteY10291" fmla="*/ 1490130 h 2052818"/>
                <a:gd name="connsiteX10292" fmla="*/ 1623390 w 2222569"/>
                <a:gd name="connsiteY10292" fmla="*/ 1484265 h 2052818"/>
                <a:gd name="connsiteX10293" fmla="*/ 1628929 w 2222569"/>
                <a:gd name="connsiteY10293" fmla="*/ 1479867 h 2052818"/>
                <a:gd name="connsiteX10294" fmla="*/ 1633490 w 2222569"/>
                <a:gd name="connsiteY10294" fmla="*/ 1479378 h 2052818"/>
                <a:gd name="connsiteX10295" fmla="*/ 1637889 w 2222569"/>
                <a:gd name="connsiteY10295" fmla="*/ 1475305 h 2052818"/>
                <a:gd name="connsiteX10296" fmla="*/ 1641636 w 2222569"/>
                <a:gd name="connsiteY10296" fmla="*/ 1475794 h 2052818"/>
                <a:gd name="connsiteX10297" fmla="*/ 1642450 w 2222569"/>
                <a:gd name="connsiteY10297" fmla="*/ 1478238 h 2052818"/>
                <a:gd name="connsiteX10298" fmla="*/ 1644731 w 2222569"/>
                <a:gd name="connsiteY10298" fmla="*/ 1475631 h 2052818"/>
                <a:gd name="connsiteX10299" fmla="*/ 1649292 w 2222569"/>
                <a:gd name="connsiteY10299" fmla="*/ 1474491 h 2052818"/>
                <a:gd name="connsiteX10300" fmla="*/ 1650107 w 2222569"/>
                <a:gd name="connsiteY10300" fmla="*/ 1469766 h 2052818"/>
                <a:gd name="connsiteX10301" fmla="*/ 1653365 w 2222569"/>
                <a:gd name="connsiteY10301" fmla="*/ 1465205 h 2052818"/>
                <a:gd name="connsiteX10302" fmla="*/ 1660207 w 2222569"/>
                <a:gd name="connsiteY10302" fmla="*/ 1460155 h 2052818"/>
                <a:gd name="connsiteX10303" fmla="*/ 1663465 w 2222569"/>
                <a:gd name="connsiteY10303" fmla="*/ 1463413 h 2052818"/>
                <a:gd name="connsiteX10304" fmla="*/ 1664932 w 2222569"/>
                <a:gd name="connsiteY10304" fmla="*/ 1470744 h 2052818"/>
                <a:gd name="connsiteX10305" fmla="*/ 1663954 w 2222569"/>
                <a:gd name="connsiteY10305" fmla="*/ 1476609 h 2052818"/>
                <a:gd name="connsiteX10306" fmla="*/ 1667375 w 2222569"/>
                <a:gd name="connsiteY10306" fmla="*/ 1468626 h 2052818"/>
                <a:gd name="connsiteX10307" fmla="*/ 1667049 w 2222569"/>
                <a:gd name="connsiteY10307" fmla="*/ 1461132 h 2052818"/>
                <a:gd name="connsiteX10308" fmla="*/ 1669330 w 2222569"/>
                <a:gd name="connsiteY10308" fmla="*/ 1460643 h 2052818"/>
                <a:gd name="connsiteX10309" fmla="*/ 1668841 w 2222569"/>
                <a:gd name="connsiteY10309" fmla="*/ 1458200 h 2052818"/>
                <a:gd name="connsiteX10310" fmla="*/ 1671774 w 2222569"/>
                <a:gd name="connsiteY10310" fmla="*/ 1453475 h 2052818"/>
                <a:gd name="connsiteX10311" fmla="*/ 1676009 w 2222569"/>
                <a:gd name="connsiteY10311" fmla="*/ 1452824 h 2052818"/>
                <a:gd name="connsiteX10312" fmla="*/ 1677313 w 2222569"/>
                <a:gd name="connsiteY10312" fmla="*/ 1446144 h 2052818"/>
                <a:gd name="connsiteX10313" fmla="*/ 1681222 w 2222569"/>
                <a:gd name="connsiteY10313" fmla="*/ 1443538 h 2052818"/>
                <a:gd name="connsiteX10314" fmla="*/ 1684318 w 2222569"/>
                <a:gd name="connsiteY10314" fmla="*/ 1438814 h 2052818"/>
                <a:gd name="connsiteX10315" fmla="*/ 1685947 w 2222569"/>
                <a:gd name="connsiteY10315" fmla="*/ 1435555 h 2052818"/>
                <a:gd name="connsiteX10316" fmla="*/ 1688716 w 2222569"/>
                <a:gd name="connsiteY10316" fmla="*/ 1435555 h 2052818"/>
                <a:gd name="connsiteX10317" fmla="*/ 1692952 w 2222569"/>
                <a:gd name="connsiteY10317" fmla="*/ 1439791 h 2052818"/>
                <a:gd name="connsiteX10318" fmla="*/ 1692952 w 2222569"/>
                <a:gd name="connsiteY10318" fmla="*/ 1436696 h 2052818"/>
                <a:gd name="connsiteX10319" fmla="*/ 1690997 w 2222569"/>
                <a:gd name="connsiteY10319" fmla="*/ 1432786 h 2052818"/>
                <a:gd name="connsiteX10320" fmla="*/ 1686761 w 2222569"/>
                <a:gd name="connsiteY10320" fmla="*/ 1432786 h 2052818"/>
                <a:gd name="connsiteX10321" fmla="*/ 1686598 w 2222569"/>
                <a:gd name="connsiteY10321" fmla="*/ 1429528 h 2052818"/>
                <a:gd name="connsiteX10322" fmla="*/ 1689857 w 2222569"/>
                <a:gd name="connsiteY10322" fmla="*/ 1421708 h 2052818"/>
                <a:gd name="connsiteX10323" fmla="*/ 1692463 w 2222569"/>
                <a:gd name="connsiteY10323" fmla="*/ 1420405 h 2052818"/>
                <a:gd name="connsiteX10324" fmla="*/ 1695395 w 2222569"/>
                <a:gd name="connsiteY10324" fmla="*/ 1423500 h 2052818"/>
                <a:gd name="connsiteX10325" fmla="*/ 1695070 w 2222569"/>
                <a:gd name="connsiteY10325" fmla="*/ 1418776 h 2052818"/>
                <a:gd name="connsiteX10326" fmla="*/ 1698165 w 2222569"/>
                <a:gd name="connsiteY10326" fmla="*/ 1416495 h 2052818"/>
                <a:gd name="connsiteX10327" fmla="*/ 1698654 w 2222569"/>
                <a:gd name="connsiteY10327" fmla="*/ 1412585 h 2052818"/>
                <a:gd name="connsiteX10328" fmla="*/ 1704193 w 2222569"/>
                <a:gd name="connsiteY10328" fmla="*/ 1406558 h 2052818"/>
                <a:gd name="connsiteX10329" fmla="*/ 1706636 w 2222569"/>
                <a:gd name="connsiteY10329" fmla="*/ 1402322 h 2052818"/>
                <a:gd name="connsiteX10330" fmla="*/ 1705496 w 2222569"/>
                <a:gd name="connsiteY10330" fmla="*/ 1398901 h 2052818"/>
                <a:gd name="connsiteX10331" fmla="*/ 1709894 w 2222569"/>
                <a:gd name="connsiteY10331" fmla="*/ 1393036 h 2052818"/>
                <a:gd name="connsiteX10332" fmla="*/ 1715108 w 2222569"/>
                <a:gd name="connsiteY10332" fmla="*/ 1391407 h 2052818"/>
                <a:gd name="connsiteX10333" fmla="*/ 1717062 w 2222569"/>
                <a:gd name="connsiteY10333" fmla="*/ 1393362 h 2052818"/>
                <a:gd name="connsiteX10334" fmla="*/ 1712990 w 2222569"/>
                <a:gd name="connsiteY10334" fmla="*/ 1396783 h 2052818"/>
                <a:gd name="connsiteX10335" fmla="*/ 1717388 w 2222569"/>
                <a:gd name="connsiteY10335" fmla="*/ 1394991 h 2052818"/>
                <a:gd name="connsiteX10336" fmla="*/ 1719017 w 2222569"/>
                <a:gd name="connsiteY10336" fmla="*/ 1397272 h 2052818"/>
                <a:gd name="connsiteX10337" fmla="*/ 1715922 w 2222569"/>
                <a:gd name="connsiteY10337" fmla="*/ 1399553 h 2052818"/>
                <a:gd name="connsiteX10338" fmla="*/ 1715433 w 2222569"/>
                <a:gd name="connsiteY10338" fmla="*/ 1402974 h 2052818"/>
                <a:gd name="connsiteX10339" fmla="*/ 1718692 w 2222569"/>
                <a:gd name="connsiteY10339" fmla="*/ 1405254 h 2052818"/>
                <a:gd name="connsiteX10340" fmla="*/ 1715759 w 2222569"/>
                <a:gd name="connsiteY10340" fmla="*/ 1409327 h 2052818"/>
                <a:gd name="connsiteX10341" fmla="*/ 1712990 w 2222569"/>
                <a:gd name="connsiteY10341" fmla="*/ 1409816 h 2052818"/>
                <a:gd name="connsiteX10342" fmla="*/ 1712990 w 2222569"/>
                <a:gd name="connsiteY10342" fmla="*/ 1410956 h 2052818"/>
                <a:gd name="connsiteX10343" fmla="*/ 1715922 w 2222569"/>
                <a:gd name="connsiteY10343" fmla="*/ 1411608 h 2052818"/>
                <a:gd name="connsiteX10344" fmla="*/ 1719017 w 2222569"/>
                <a:gd name="connsiteY10344" fmla="*/ 1412097 h 2052818"/>
                <a:gd name="connsiteX10345" fmla="*/ 1717551 w 2222569"/>
                <a:gd name="connsiteY10345" fmla="*/ 1416332 h 2052818"/>
                <a:gd name="connsiteX10346" fmla="*/ 1716085 w 2222569"/>
                <a:gd name="connsiteY10346" fmla="*/ 1418287 h 2052818"/>
                <a:gd name="connsiteX10347" fmla="*/ 1719832 w 2222569"/>
                <a:gd name="connsiteY10347" fmla="*/ 1418287 h 2052818"/>
                <a:gd name="connsiteX10348" fmla="*/ 1720158 w 2222569"/>
                <a:gd name="connsiteY10348" fmla="*/ 1422523 h 2052818"/>
                <a:gd name="connsiteX10349" fmla="*/ 1716900 w 2222569"/>
                <a:gd name="connsiteY10349" fmla="*/ 1424803 h 2052818"/>
                <a:gd name="connsiteX10350" fmla="*/ 1718040 w 2222569"/>
                <a:gd name="connsiteY10350" fmla="*/ 1429854 h 2052818"/>
                <a:gd name="connsiteX10351" fmla="*/ 1722764 w 2222569"/>
                <a:gd name="connsiteY10351" fmla="*/ 1434252 h 2052818"/>
                <a:gd name="connsiteX10352" fmla="*/ 1723090 w 2222569"/>
                <a:gd name="connsiteY10352" fmla="*/ 1440606 h 2052818"/>
                <a:gd name="connsiteX10353" fmla="*/ 1721135 w 2222569"/>
                <a:gd name="connsiteY10353" fmla="*/ 1442561 h 2052818"/>
                <a:gd name="connsiteX10354" fmla="*/ 1718692 w 2222569"/>
                <a:gd name="connsiteY10354" fmla="*/ 1440443 h 2052818"/>
                <a:gd name="connsiteX10355" fmla="*/ 1715270 w 2222569"/>
                <a:gd name="connsiteY10355" fmla="*/ 1441909 h 2052818"/>
                <a:gd name="connsiteX10356" fmla="*/ 1718692 w 2222569"/>
                <a:gd name="connsiteY10356" fmla="*/ 1445004 h 2052818"/>
                <a:gd name="connsiteX10357" fmla="*/ 1719832 w 2222569"/>
                <a:gd name="connsiteY10357" fmla="*/ 1448099 h 2052818"/>
                <a:gd name="connsiteX10358" fmla="*/ 1721950 w 2222569"/>
                <a:gd name="connsiteY10358" fmla="*/ 1448099 h 2052818"/>
                <a:gd name="connsiteX10359" fmla="*/ 1725208 w 2222569"/>
                <a:gd name="connsiteY10359" fmla="*/ 1444841 h 2052818"/>
                <a:gd name="connsiteX10360" fmla="*/ 1725697 w 2222569"/>
                <a:gd name="connsiteY10360" fmla="*/ 1448425 h 2052818"/>
                <a:gd name="connsiteX10361" fmla="*/ 1729281 w 2222569"/>
                <a:gd name="connsiteY10361" fmla="*/ 1450543 h 2052818"/>
                <a:gd name="connsiteX10362" fmla="*/ 1725534 w 2222569"/>
                <a:gd name="connsiteY10362" fmla="*/ 1456897 h 2052818"/>
                <a:gd name="connsiteX10363" fmla="*/ 1720972 w 2222569"/>
                <a:gd name="connsiteY10363" fmla="*/ 1458363 h 2052818"/>
                <a:gd name="connsiteX10364" fmla="*/ 1715596 w 2222569"/>
                <a:gd name="connsiteY10364" fmla="*/ 1457385 h 2052818"/>
                <a:gd name="connsiteX10365" fmla="*/ 1712990 w 2222569"/>
                <a:gd name="connsiteY10365" fmla="*/ 1460481 h 2052818"/>
                <a:gd name="connsiteX10366" fmla="*/ 1716900 w 2222569"/>
                <a:gd name="connsiteY10366" fmla="*/ 1462761 h 2052818"/>
                <a:gd name="connsiteX10367" fmla="*/ 1728629 w 2222569"/>
                <a:gd name="connsiteY10367" fmla="*/ 1459503 h 2052818"/>
                <a:gd name="connsiteX10368" fmla="*/ 1732539 w 2222569"/>
                <a:gd name="connsiteY10368" fmla="*/ 1460318 h 2052818"/>
                <a:gd name="connsiteX10369" fmla="*/ 1731073 w 2222569"/>
                <a:gd name="connsiteY10369" fmla="*/ 1464879 h 2052818"/>
                <a:gd name="connsiteX10370" fmla="*/ 1726674 w 2222569"/>
                <a:gd name="connsiteY10370" fmla="*/ 1469929 h 2052818"/>
                <a:gd name="connsiteX10371" fmla="*/ 1730421 w 2222569"/>
                <a:gd name="connsiteY10371" fmla="*/ 1471558 h 2052818"/>
                <a:gd name="connsiteX10372" fmla="*/ 1734657 w 2222569"/>
                <a:gd name="connsiteY10372" fmla="*/ 1468952 h 2052818"/>
                <a:gd name="connsiteX10373" fmla="*/ 1734657 w 2222569"/>
                <a:gd name="connsiteY10373" fmla="*/ 1474654 h 2052818"/>
                <a:gd name="connsiteX10374" fmla="*/ 1730421 w 2222569"/>
                <a:gd name="connsiteY10374" fmla="*/ 1480681 h 2052818"/>
                <a:gd name="connsiteX10375" fmla="*/ 1722438 w 2222569"/>
                <a:gd name="connsiteY10375" fmla="*/ 1480681 h 2052818"/>
                <a:gd name="connsiteX10376" fmla="*/ 1718692 w 2222569"/>
                <a:gd name="connsiteY10376" fmla="*/ 1477912 h 2052818"/>
                <a:gd name="connsiteX10377" fmla="*/ 1716737 w 2222569"/>
                <a:gd name="connsiteY10377" fmla="*/ 1481333 h 2052818"/>
                <a:gd name="connsiteX10378" fmla="*/ 1717877 w 2222569"/>
                <a:gd name="connsiteY10378" fmla="*/ 1484917 h 2052818"/>
                <a:gd name="connsiteX10379" fmla="*/ 1716085 w 2222569"/>
                <a:gd name="connsiteY10379" fmla="*/ 1488990 h 2052818"/>
                <a:gd name="connsiteX10380" fmla="*/ 1723090 w 2222569"/>
                <a:gd name="connsiteY10380" fmla="*/ 1485894 h 2052818"/>
                <a:gd name="connsiteX10381" fmla="*/ 1731073 w 2222569"/>
                <a:gd name="connsiteY10381" fmla="*/ 1485894 h 2052818"/>
                <a:gd name="connsiteX10382" fmla="*/ 1736611 w 2222569"/>
                <a:gd name="connsiteY10382" fmla="*/ 1483614 h 2052818"/>
                <a:gd name="connsiteX10383" fmla="*/ 1738078 w 2222569"/>
                <a:gd name="connsiteY10383" fmla="*/ 1485080 h 2052818"/>
                <a:gd name="connsiteX10384" fmla="*/ 1735145 w 2222569"/>
                <a:gd name="connsiteY10384" fmla="*/ 1488338 h 2052818"/>
                <a:gd name="connsiteX10385" fmla="*/ 1735145 w 2222569"/>
                <a:gd name="connsiteY10385" fmla="*/ 1490782 h 2052818"/>
                <a:gd name="connsiteX10386" fmla="*/ 1730747 w 2222569"/>
                <a:gd name="connsiteY10386" fmla="*/ 1493551 h 2052818"/>
                <a:gd name="connsiteX10387" fmla="*/ 1726022 w 2222569"/>
                <a:gd name="connsiteY10387" fmla="*/ 1493551 h 2052818"/>
                <a:gd name="connsiteX10388" fmla="*/ 1718692 w 2222569"/>
                <a:gd name="connsiteY10388" fmla="*/ 1502511 h 2052818"/>
                <a:gd name="connsiteX10389" fmla="*/ 1726837 w 2222569"/>
                <a:gd name="connsiteY10389" fmla="*/ 1498764 h 2052818"/>
                <a:gd name="connsiteX10390" fmla="*/ 1732376 w 2222569"/>
                <a:gd name="connsiteY10390" fmla="*/ 1498764 h 2052818"/>
                <a:gd name="connsiteX10391" fmla="*/ 1736123 w 2222569"/>
                <a:gd name="connsiteY10391" fmla="*/ 1497461 h 2052818"/>
                <a:gd name="connsiteX10392" fmla="*/ 1740684 w 2222569"/>
                <a:gd name="connsiteY10392" fmla="*/ 1498438 h 2052818"/>
                <a:gd name="connsiteX10393" fmla="*/ 1740684 w 2222569"/>
                <a:gd name="connsiteY10393" fmla="*/ 1503000 h 2052818"/>
                <a:gd name="connsiteX10394" fmla="*/ 1736611 w 2222569"/>
                <a:gd name="connsiteY10394" fmla="*/ 1503489 h 2052818"/>
                <a:gd name="connsiteX10395" fmla="*/ 1731236 w 2222569"/>
                <a:gd name="connsiteY10395" fmla="*/ 1506910 h 2052818"/>
                <a:gd name="connsiteX10396" fmla="*/ 1729769 w 2222569"/>
                <a:gd name="connsiteY10396" fmla="*/ 1511960 h 2052818"/>
                <a:gd name="connsiteX10397" fmla="*/ 1732865 w 2222569"/>
                <a:gd name="connsiteY10397" fmla="*/ 1508865 h 2052818"/>
                <a:gd name="connsiteX10398" fmla="*/ 1737589 w 2222569"/>
                <a:gd name="connsiteY10398" fmla="*/ 1510331 h 2052818"/>
                <a:gd name="connsiteX10399" fmla="*/ 1740359 w 2222569"/>
                <a:gd name="connsiteY10399" fmla="*/ 1507235 h 2052818"/>
                <a:gd name="connsiteX10400" fmla="*/ 1745083 w 2222569"/>
                <a:gd name="connsiteY10400" fmla="*/ 1511634 h 2052818"/>
                <a:gd name="connsiteX10401" fmla="*/ 1747527 w 2222569"/>
                <a:gd name="connsiteY10401" fmla="*/ 1520105 h 2052818"/>
                <a:gd name="connsiteX10402" fmla="*/ 1742313 w 2222569"/>
                <a:gd name="connsiteY10402" fmla="*/ 1524341 h 2052818"/>
                <a:gd name="connsiteX10403" fmla="*/ 1738892 w 2222569"/>
                <a:gd name="connsiteY10403" fmla="*/ 1523038 h 2052818"/>
                <a:gd name="connsiteX10404" fmla="*/ 1736286 w 2222569"/>
                <a:gd name="connsiteY10404" fmla="*/ 1525318 h 2052818"/>
                <a:gd name="connsiteX10405" fmla="*/ 1731236 w 2222569"/>
                <a:gd name="connsiteY10405" fmla="*/ 1525318 h 2052818"/>
                <a:gd name="connsiteX10406" fmla="*/ 1734983 w 2222569"/>
                <a:gd name="connsiteY10406" fmla="*/ 1528577 h 2052818"/>
                <a:gd name="connsiteX10407" fmla="*/ 1738403 w 2222569"/>
                <a:gd name="connsiteY10407" fmla="*/ 1527762 h 2052818"/>
                <a:gd name="connsiteX10408" fmla="*/ 1740684 w 2222569"/>
                <a:gd name="connsiteY10408" fmla="*/ 1529228 h 2052818"/>
                <a:gd name="connsiteX10409" fmla="*/ 1746223 w 2222569"/>
                <a:gd name="connsiteY10409" fmla="*/ 1529228 h 2052818"/>
                <a:gd name="connsiteX10410" fmla="*/ 1748504 w 2222569"/>
                <a:gd name="connsiteY10410" fmla="*/ 1531672 h 2052818"/>
                <a:gd name="connsiteX10411" fmla="*/ 1747038 w 2222569"/>
                <a:gd name="connsiteY10411" fmla="*/ 1535744 h 2052818"/>
                <a:gd name="connsiteX10412" fmla="*/ 1743617 w 2222569"/>
                <a:gd name="connsiteY10412" fmla="*/ 1538188 h 2052818"/>
                <a:gd name="connsiteX10413" fmla="*/ 1748178 w 2222569"/>
                <a:gd name="connsiteY10413" fmla="*/ 1539817 h 2052818"/>
                <a:gd name="connsiteX10414" fmla="*/ 1751925 w 2222569"/>
                <a:gd name="connsiteY10414" fmla="*/ 1539003 h 2052818"/>
                <a:gd name="connsiteX10415" fmla="*/ 1756649 w 2222569"/>
                <a:gd name="connsiteY10415" fmla="*/ 1543238 h 2052818"/>
                <a:gd name="connsiteX10416" fmla="*/ 1755509 w 2222569"/>
                <a:gd name="connsiteY10416" fmla="*/ 1547637 h 2052818"/>
                <a:gd name="connsiteX10417" fmla="*/ 1751599 w 2222569"/>
                <a:gd name="connsiteY10417" fmla="*/ 1549592 h 2052818"/>
                <a:gd name="connsiteX10418" fmla="*/ 1745409 w 2222569"/>
                <a:gd name="connsiteY10418" fmla="*/ 1554805 h 2052818"/>
                <a:gd name="connsiteX10419" fmla="*/ 1741499 w 2222569"/>
                <a:gd name="connsiteY10419" fmla="*/ 1553339 h 2052818"/>
                <a:gd name="connsiteX10420" fmla="*/ 1740033 w 2222569"/>
                <a:gd name="connsiteY10420" fmla="*/ 1555619 h 2052818"/>
                <a:gd name="connsiteX10421" fmla="*/ 1744594 w 2222569"/>
                <a:gd name="connsiteY10421" fmla="*/ 1557574 h 2052818"/>
                <a:gd name="connsiteX10422" fmla="*/ 1744920 w 2222569"/>
                <a:gd name="connsiteY10422" fmla="*/ 1560670 h 2052818"/>
                <a:gd name="connsiteX10423" fmla="*/ 1739544 w 2222569"/>
                <a:gd name="connsiteY10423" fmla="*/ 1561158 h 2052818"/>
                <a:gd name="connsiteX10424" fmla="*/ 1732865 w 2222569"/>
                <a:gd name="connsiteY10424" fmla="*/ 1557248 h 2052818"/>
                <a:gd name="connsiteX10425" fmla="*/ 1725697 w 2222569"/>
                <a:gd name="connsiteY10425" fmla="*/ 1557248 h 2052818"/>
                <a:gd name="connsiteX10426" fmla="*/ 1732376 w 2222569"/>
                <a:gd name="connsiteY10426" fmla="*/ 1561158 h 2052818"/>
                <a:gd name="connsiteX10427" fmla="*/ 1732376 w 2222569"/>
                <a:gd name="connsiteY10427" fmla="*/ 1565883 h 2052818"/>
                <a:gd name="connsiteX10428" fmla="*/ 1737752 w 2222569"/>
                <a:gd name="connsiteY10428" fmla="*/ 1570607 h 2052818"/>
                <a:gd name="connsiteX10429" fmla="*/ 1740033 w 2222569"/>
                <a:gd name="connsiteY10429" fmla="*/ 1573539 h 2052818"/>
                <a:gd name="connsiteX10430" fmla="*/ 1739055 w 2222569"/>
                <a:gd name="connsiteY10430" fmla="*/ 1575983 h 2052818"/>
                <a:gd name="connsiteX10431" fmla="*/ 1733516 w 2222569"/>
                <a:gd name="connsiteY10431" fmla="*/ 1576635 h 2052818"/>
                <a:gd name="connsiteX10432" fmla="*/ 1731561 w 2222569"/>
                <a:gd name="connsiteY10432" fmla="*/ 1579567 h 2052818"/>
                <a:gd name="connsiteX10433" fmla="*/ 1724556 w 2222569"/>
                <a:gd name="connsiteY10433" fmla="*/ 1579078 h 2052818"/>
                <a:gd name="connsiteX10434" fmla="*/ 1733516 w 2222569"/>
                <a:gd name="connsiteY10434" fmla="*/ 1581685 h 2052818"/>
                <a:gd name="connsiteX10435" fmla="*/ 1736775 w 2222569"/>
                <a:gd name="connsiteY10435" fmla="*/ 1580870 h 2052818"/>
                <a:gd name="connsiteX10436" fmla="*/ 1737263 w 2222569"/>
                <a:gd name="connsiteY10436" fmla="*/ 1579078 h 2052818"/>
                <a:gd name="connsiteX10437" fmla="*/ 1744268 w 2222569"/>
                <a:gd name="connsiteY10437" fmla="*/ 1577612 h 2052818"/>
                <a:gd name="connsiteX10438" fmla="*/ 1747038 w 2222569"/>
                <a:gd name="connsiteY10438" fmla="*/ 1578101 h 2052818"/>
                <a:gd name="connsiteX10439" fmla="*/ 1747038 w 2222569"/>
                <a:gd name="connsiteY10439" fmla="*/ 1581522 h 2052818"/>
                <a:gd name="connsiteX10440" fmla="*/ 1748993 w 2222569"/>
                <a:gd name="connsiteY10440" fmla="*/ 1583966 h 2052818"/>
                <a:gd name="connsiteX10441" fmla="*/ 1746549 w 2222569"/>
                <a:gd name="connsiteY10441" fmla="*/ 1586246 h 2052818"/>
                <a:gd name="connsiteX10442" fmla="*/ 1749644 w 2222569"/>
                <a:gd name="connsiteY10442" fmla="*/ 1586572 h 2052818"/>
                <a:gd name="connsiteX10443" fmla="*/ 1750622 w 2222569"/>
                <a:gd name="connsiteY10443" fmla="*/ 1588038 h 2052818"/>
                <a:gd name="connsiteX10444" fmla="*/ 1749644 w 2222569"/>
                <a:gd name="connsiteY10444" fmla="*/ 1591948 h 2052818"/>
                <a:gd name="connsiteX10445" fmla="*/ 1751110 w 2222569"/>
                <a:gd name="connsiteY10445" fmla="*/ 1593740 h 2052818"/>
                <a:gd name="connsiteX10446" fmla="*/ 1755835 w 2222569"/>
                <a:gd name="connsiteY10446" fmla="*/ 1590645 h 2052818"/>
                <a:gd name="connsiteX10447" fmla="*/ 1757464 w 2222569"/>
                <a:gd name="connsiteY10447" fmla="*/ 1591622 h 2052818"/>
                <a:gd name="connsiteX10448" fmla="*/ 1760722 w 2222569"/>
                <a:gd name="connsiteY10448" fmla="*/ 1592600 h 2052818"/>
                <a:gd name="connsiteX10449" fmla="*/ 1760396 w 2222569"/>
                <a:gd name="connsiteY10449" fmla="*/ 1599116 h 2052818"/>
                <a:gd name="connsiteX10450" fmla="*/ 1758604 w 2222569"/>
                <a:gd name="connsiteY10450" fmla="*/ 1602049 h 2052818"/>
                <a:gd name="connsiteX10451" fmla="*/ 1758604 w 2222569"/>
                <a:gd name="connsiteY10451" fmla="*/ 1604492 h 2052818"/>
                <a:gd name="connsiteX10452" fmla="*/ 1761048 w 2222569"/>
                <a:gd name="connsiteY10452" fmla="*/ 1604166 h 2052818"/>
                <a:gd name="connsiteX10453" fmla="*/ 1766098 w 2222569"/>
                <a:gd name="connsiteY10453" fmla="*/ 1597324 h 2052818"/>
                <a:gd name="connsiteX10454" fmla="*/ 1767238 w 2222569"/>
                <a:gd name="connsiteY10454" fmla="*/ 1598139 h 2052818"/>
                <a:gd name="connsiteX10455" fmla="*/ 1766424 w 2222569"/>
                <a:gd name="connsiteY10455" fmla="*/ 1602374 h 2052818"/>
                <a:gd name="connsiteX10456" fmla="*/ 1769356 w 2222569"/>
                <a:gd name="connsiteY10456" fmla="*/ 1605633 h 2052818"/>
                <a:gd name="connsiteX10457" fmla="*/ 1763329 w 2222569"/>
                <a:gd name="connsiteY10457" fmla="*/ 1609542 h 2052818"/>
                <a:gd name="connsiteX10458" fmla="*/ 1755672 w 2222569"/>
                <a:gd name="connsiteY10458" fmla="*/ 1619643 h 2052818"/>
                <a:gd name="connsiteX10459" fmla="*/ 1751273 w 2222569"/>
                <a:gd name="connsiteY10459" fmla="*/ 1623064 h 2052818"/>
                <a:gd name="connsiteX10460" fmla="*/ 1745897 w 2222569"/>
                <a:gd name="connsiteY10460" fmla="*/ 1621598 h 2052818"/>
                <a:gd name="connsiteX10461" fmla="*/ 1750948 w 2222569"/>
                <a:gd name="connsiteY10461" fmla="*/ 1624530 h 2052818"/>
                <a:gd name="connsiteX10462" fmla="*/ 1755346 w 2222569"/>
                <a:gd name="connsiteY10462" fmla="*/ 1623227 h 2052818"/>
                <a:gd name="connsiteX10463" fmla="*/ 1764795 w 2222569"/>
                <a:gd name="connsiteY10463" fmla="*/ 1614267 h 2052818"/>
                <a:gd name="connsiteX10464" fmla="*/ 1768542 w 2222569"/>
                <a:gd name="connsiteY10464" fmla="*/ 1614267 h 2052818"/>
                <a:gd name="connsiteX10465" fmla="*/ 1768542 w 2222569"/>
                <a:gd name="connsiteY10465" fmla="*/ 1617036 h 2052818"/>
                <a:gd name="connsiteX10466" fmla="*/ 1764469 w 2222569"/>
                <a:gd name="connsiteY10466" fmla="*/ 1620131 h 2052818"/>
                <a:gd name="connsiteX10467" fmla="*/ 1762026 w 2222569"/>
                <a:gd name="connsiteY10467" fmla="*/ 1624693 h 2052818"/>
                <a:gd name="connsiteX10468" fmla="*/ 1764632 w 2222569"/>
                <a:gd name="connsiteY10468" fmla="*/ 1625670 h 2052818"/>
                <a:gd name="connsiteX10469" fmla="*/ 1769845 w 2222569"/>
                <a:gd name="connsiteY10469" fmla="*/ 1619806 h 2052818"/>
                <a:gd name="connsiteX10470" fmla="*/ 1774244 w 2222569"/>
                <a:gd name="connsiteY10470" fmla="*/ 1614593 h 2052818"/>
                <a:gd name="connsiteX10471" fmla="*/ 1779783 w 2222569"/>
                <a:gd name="connsiteY10471" fmla="*/ 1613615 h 2052818"/>
                <a:gd name="connsiteX10472" fmla="*/ 1779783 w 2222569"/>
                <a:gd name="connsiteY10472" fmla="*/ 1615896 h 2052818"/>
                <a:gd name="connsiteX10473" fmla="*/ 1775873 w 2222569"/>
                <a:gd name="connsiteY10473" fmla="*/ 1618177 h 2052818"/>
                <a:gd name="connsiteX10474" fmla="*/ 1773592 w 2222569"/>
                <a:gd name="connsiteY10474" fmla="*/ 1620457 h 2052818"/>
                <a:gd name="connsiteX10475" fmla="*/ 1775221 w 2222569"/>
                <a:gd name="connsiteY10475" fmla="*/ 1621598 h 2052818"/>
                <a:gd name="connsiteX10476" fmla="*/ 1782063 w 2222569"/>
                <a:gd name="connsiteY10476" fmla="*/ 1618665 h 2052818"/>
                <a:gd name="connsiteX10477" fmla="*/ 1784344 w 2222569"/>
                <a:gd name="connsiteY10477" fmla="*/ 1620620 h 2052818"/>
                <a:gd name="connsiteX10478" fmla="*/ 1777013 w 2222569"/>
                <a:gd name="connsiteY10478" fmla="*/ 1626159 h 2052818"/>
                <a:gd name="connsiteX10479" fmla="*/ 1773918 w 2222569"/>
                <a:gd name="connsiteY10479" fmla="*/ 1630069 h 2052818"/>
                <a:gd name="connsiteX10480" fmla="*/ 1776361 w 2222569"/>
                <a:gd name="connsiteY10480" fmla="*/ 1630558 h 2052818"/>
                <a:gd name="connsiteX10481" fmla="*/ 1780434 w 2222569"/>
                <a:gd name="connsiteY10481" fmla="*/ 1627299 h 2052818"/>
                <a:gd name="connsiteX10482" fmla="*/ 1790046 w 2222569"/>
                <a:gd name="connsiteY10482" fmla="*/ 1618991 h 2052818"/>
                <a:gd name="connsiteX10483" fmla="*/ 1791838 w 2222569"/>
                <a:gd name="connsiteY10483" fmla="*/ 1619806 h 2052818"/>
                <a:gd name="connsiteX10484" fmla="*/ 1789231 w 2222569"/>
                <a:gd name="connsiteY10484" fmla="*/ 1622086 h 2052818"/>
                <a:gd name="connsiteX10485" fmla="*/ 1788743 w 2222569"/>
                <a:gd name="connsiteY10485" fmla="*/ 1624693 h 2052818"/>
                <a:gd name="connsiteX10486" fmla="*/ 1795748 w 2222569"/>
                <a:gd name="connsiteY10486" fmla="*/ 1619969 h 2052818"/>
                <a:gd name="connsiteX10487" fmla="*/ 1795096 w 2222569"/>
                <a:gd name="connsiteY10487" fmla="*/ 1622575 h 2052818"/>
                <a:gd name="connsiteX10488" fmla="*/ 1795096 w 2222569"/>
                <a:gd name="connsiteY10488" fmla="*/ 1630721 h 2052818"/>
                <a:gd name="connsiteX10489" fmla="*/ 1792001 w 2222569"/>
                <a:gd name="connsiteY10489" fmla="*/ 1631698 h 2052818"/>
                <a:gd name="connsiteX10490" fmla="*/ 1792815 w 2222569"/>
                <a:gd name="connsiteY10490" fmla="*/ 1634793 h 2052818"/>
                <a:gd name="connsiteX10491" fmla="*/ 1798354 w 2222569"/>
                <a:gd name="connsiteY10491" fmla="*/ 1633979 h 2052818"/>
                <a:gd name="connsiteX10492" fmla="*/ 1804219 w 2222569"/>
                <a:gd name="connsiteY10492" fmla="*/ 1637563 h 2052818"/>
                <a:gd name="connsiteX10493" fmla="*/ 1808129 w 2222569"/>
                <a:gd name="connsiteY10493" fmla="*/ 1633001 h 2052818"/>
                <a:gd name="connsiteX10494" fmla="*/ 1815297 w 2222569"/>
                <a:gd name="connsiteY10494" fmla="*/ 1631209 h 2052818"/>
                <a:gd name="connsiteX10495" fmla="*/ 1818555 w 2222569"/>
                <a:gd name="connsiteY10495" fmla="*/ 1632513 h 2052818"/>
                <a:gd name="connsiteX10496" fmla="*/ 1816111 w 2222569"/>
                <a:gd name="connsiteY10496" fmla="*/ 1637237 h 2052818"/>
                <a:gd name="connsiteX10497" fmla="*/ 1813016 w 2222569"/>
                <a:gd name="connsiteY10497" fmla="*/ 1637237 h 2052818"/>
                <a:gd name="connsiteX10498" fmla="*/ 1811224 w 2222569"/>
                <a:gd name="connsiteY10498" fmla="*/ 1639192 h 2052818"/>
                <a:gd name="connsiteX10499" fmla="*/ 1823442 w 2222569"/>
                <a:gd name="connsiteY10499" fmla="*/ 1642613 h 2052818"/>
                <a:gd name="connsiteX10500" fmla="*/ 1828167 w 2222569"/>
                <a:gd name="connsiteY10500" fmla="*/ 1646849 h 2052818"/>
                <a:gd name="connsiteX10501" fmla="*/ 1820021 w 2222569"/>
                <a:gd name="connsiteY10501" fmla="*/ 1647989 h 2052818"/>
                <a:gd name="connsiteX10502" fmla="*/ 1820021 w 2222569"/>
                <a:gd name="connsiteY10502" fmla="*/ 1649781 h 2052818"/>
                <a:gd name="connsiteX10503" fmla="*/ 1810084 w 2222569"/>
                <a:gd name="connsiteY10503" fmla="*/ 1651573 h 2052818"/>
                <a:gd name="connsiteX10504" fmla="*/ 1808129 w 2222569"/>
                <a:gd name="connsiteY10504" fmla="*/ 1649781 h 2052818"/>
                <a:gd name="connsiteX10505" fmla="*/ 1800146 w 2222569"/>
                <a:gd name="connsiteY10505" fmla="*/ 1652876 h 2052818"/>
                <a:gd name="connsiteX10506" fmla="*/ 1795910 w 2222569"/>
                <a:gd name="connsiteY10506" fmla="*/ 1657438 h 2052818"/>
                <a:gd name="connsiteX10507" fmla="*/ 1786136 w 2222569"/>
                <a:gd name="connsiteY10507" fmla="*/ 1657764 h 2052818"/>
                <a:gd name="connsiteX10508" fmla="*/ 1772940 w 2222569"/>
                <a:gd name="connsiteY10508" fmla="*/ 1660207 h 2052818"/>
                <a:gd name="connsiteX10509" fmla="*/ 1772289 w 2222569"/>
                <a:gd name="connsiteY10509" fmla="*/ 1663791 h 2052818"/>
                <a:gd name="connsiteX10510" fmla="*/ 1782063 w 2222569"/>
                <a:gd name="connsiteY10510" fmla="*/ 1661510 h 2052818"/>
                <a:gd name="connsiteX10511" fmla="*/ 1791838 w 2222569"/>
                <a:gd name="connsiteY10511" fmla="*/ 1658578 h 2052818"/>
                <a:gd name="connsiteX10512" fmla="*/ 1795096 w 2222569"/>
                <a:gd name="connsiteY10512" fmla="*/ 1659556 h 2052818"/>
                <a:gd name="connsiteX10513" fmla="*/ 1795910 w 2222569"/>
                <a:gd name="connsiteY10513" fmla="*/ 1661836 h 2052818"/>
                <a:gd name="connsiteX10514" fmla="*/ 1786136 w 2222569"/>
                <a:gd name="connsiteY10514" fmla="*/ 1663302 h 2052818"/>
                <a:gd name="connsiteX10515" fmla="*/ 1776687 w 2222569"/>
                <a:gd name="connsiteY10515" fmla="*/ 1665094 h 2052818"/>
                <a:gd name="connsiteX10516" fmla="*/ 1768216 w 2222569"/>
                <a:gd name="connsiteY10516" fmla="*/ 1669493 h 2052818"/>
                <a:gd name="connsiteX10517" fmla="*/ 1764958 w 2222569"/>
                <a:gd name="connsiteY10517" fmla="*/ 1672588 h 2052818"/>
                <a:gd name="connsiteX10518" fmla="*/ 1759093 w 2222569"/>
                <a:gd name="connsiteY10518" fmla="*/ 1672588 h 2052818"/>
                <a:gd name="connsiteX10519" fmla="*/ 1758441 w 2222569"/>
                <a:gd name="connsiteY10519" fmla="*/ 1677313 h 2052818"/>
                <a:gd name="connsiteX10520" fmla="*/ 1756486 w 2222569"/>
                <a:gd name="connsiteY10520" fmla="*/ 1679919 h 2052818"/>
                <a:gd name="connsiteX10521" fmla="*/ 1747527 w 2222569"/>
                <a:gd name="connsiteY10521" fmla="*/ 1673892 h 2052818"/>
                <a:gd name="connsiteX10522" fmla="*/ 1742151 w 2222569"/>
                <a:gd name="connsiteY10522" fmla="*/ 1664606 h 2052818"/>
                <a:gd name="connsiteX10523" fmla="*/ 1742639 w 2222569"/>
                <a:gd name="connsiteY10523" fmla="*/ 1668841 h 2052818"/>
                <a:gd name="connsiteX10524" fmla="*/ 1741173 w 2222569"/>
                <a:gd name="connsiteY10524" fmla="*/ 1671448 h 2052818"/>
                <a:gd name="connsiteX10525" fmla="*/ 1744920 w 2222569"/>
                <a:gd name="connsiteY10525" fmla="*/ 1673077 h 2052818"/>
                <a:gd name="connsiteX10526" fmla="*/ 1745897 w 2222569"/>
                <a:gd name="connsiteY10526" fmla="*/ 1675195 h 2052818"/>
                <a:gd name="connsiteX10527" fmla="*/ 1755998 w 2222569"/>
                <a:gd name="connsiteY10527" fmla="*/ 1683666 h 2052818"/>
                <a:gd name="connsiteX10528" fmla="*/ 1754532 w 2222569"/>
                <a:gd name="connsiteY10528" fmla="*/ 1686761 h 2052818"/>
                <a:gd name="connsiteX10529" fmla="*/ 1751599 w 2222569"/>
                <a:gd name="connsiteY10529" fmla="*/ 1685784 h 2052818"/>
                <a:gd name="connsiteX10530" fmla="*/ 1748341 w 2222569"/>
                <a:gd name="connsiteY10530" fmla="*/ 1688716 h 2052818"/>
                <a:gd name="connsiteX10531" fmla="*/ 1750296 w 2222569"/>
                <a:gd name="connsiteY10531" fmla="*/ 1692626 h 2052818"/>
                <a:gd name="connsiteX10532" fmla="*/ 1752902 w 2222569"/>
                <a:gd name="connsiteY10532" fmla="*/ 1693115 h 2052818"/>
                <a:gd name="connsiteX10533" fmla="*/ 1754694 w 2222569"/>
                <a:gd name="connsiteY10533" fmla="*/ 1690834 h 2052818"/>
                <a:gd name="connsiteX10534" fmla="*/ 1757953 w 2222569"/>
                <a:gd name="connsiteY10534" fmla="*/ 1690834 h 2052818"/>
                <a:gd name="connsiteX10535" fmla="*/ 1762188 w 2222569"/>
                <a:gd name="connsiteY10535" fmla="*/ 1682200 h 2052818"/>
                <a:gd name="connsiteX10536" fmla="*/ 1769682 w 2222569"/>
                <a:gd name="connsiteY10536" fmla="*/ 1682526 h 2052818"/>
                <a:gd name="connsiteX10537" fmla="*/ 1775058 w 2222569"/>
                <a:gd name="connsiteY10537" fmla="*/ 1677964 h 2052818"/>
                <a:gd name="connsiteX10538" fmla="*/ 1778968 w 2222569"/>
                <a:gd name="connsiteY10538" fmla="*/ 1677638 h 2052818"/>
                <a:gd name="connsiteX10539" fmla="*/ 1780923 w 2222569"/>
                <a:gd name="connsiteY10539" fmla="*/ 1672914 h 2052818"/>
                <a:gd name="connsiteX10540" fmla="*/ 1785810 w 2222569"/>
                <a:gd name="connsiteY10540" fmla="*/ 1667375 h 2052818"/>
                <a:gd name="connsiteX10541" fmla="*/ 1791675 w 2222569"/>
                <a:gd name="connsiteY10541" fmla="*/ 1666561 h 2052818"/>
                <a:gd name="connsiteX10542" fmla="*/ 1799820 w 2222569"/>
                <a:gd name="connsiteY10542" fmla="*/ 1663139 h 2052818"/>
                <a:gd name="connsiteX10543" fmla="*/ 1806500 w 2222569"/>
                <a:gd name="connsiteY10543" fmla="*/ 1663791 h 2052818"/>
                <a:gd name="connsiteX10544" fmla="*/ 1811876 w 2222569"/>
                <a:gd name="connsiteY10544" fmla="*/ 1663465 h 2052818"/>
                <a:gd name="connsiteX10545" fmla="*/ 1809595 w 2222569"/>
                <a:gd name="connsiteY10545" fmla="*/ 1661999 h 2052818"/>
                <a:gd name="connsiteX10546" fmla="*/ 1803730 w 2222569"/>
                <a:gd name="connsiteY10546" fmla="*/ 1661999 h 2052818"/>
                <a:gd name="connsiteX10547" fmla="*/ 1802101 w 2222569"/>
                <a:gd name="connsiteY10547" fmla="*/ 1660533 h 2052818"/>
                <a:gd name="connsiteX10548" fmla="*/ 1805848 w 2222569"/>
                <a:gd name="connsiteY10548" fmla="*/ 1659067 h 2052818"/>
                <a:gd name="connsiteX10549" fmla="*/ 1816600 w 2222569"/>
                <a:gd name="connsiteY10549" fmla="*/ 1657764 h 2052818"/>
                <a:gd name="connsiteX10550" fmla="*/ 1825234 w 2222569"/>
                <a:gd name="connsiteY10550" fmla="*/ 1660044 h 2052818"/>
                <a:gd name="connsiteX10551" fmla="*/ 1828981 w 2222569"/>
                <a:gd name="connsiteY10551" fmla="*/ 1668190 h 2052818"/>
                <a:gd name="connsiteX10552" fmla="*/ 1828167 w 2222569"/>
                <a:gd name="connsiteY10552" fmla="*/ 1672751 h 2052818"/>
                <a:gd name="connsiteX10553" fmla="*/ 1822465 w 2222569"/>
                <a:gd name="connsiteY10553" fmla="*/ 1677964 h 2052818"/>
                <a:gd name="connsiteX10554" fmla="*/ 1819695 w 2222569"/>
                <a:gd name="connsiteY10554" fmla="*/ 1677964 h 2052818"/>
                <a:gd name="connsiteX10555" fmla="*/ 1815948 w 2222569"/>
                <a:gd name="connsiteY10555" fmla="*/ 1682037 h 2052818"/>
                <a:gd name="connsiteX10556" fmla="*/ 1822465 w 2222569"/>
                <a:gd name="connsiteY10556" fmla="*/ 1682363 h 2052818"/>
                <a:gd name="connsiteX10557" fmla="*/ 1824257 w 2222569"/>
                <a:gd name="connsiteY10557" fmla="*/ 1686598 h 2052818"/>
                <a:gd name="connsiteX10558" fmla="*/ 1826863 w 2222569"/>
                <a:gd name="connsiteY10558" fmla="*/ 1684155 h 2052818"/>
                <a:gd name="connsiteX10559" fmla="*/ 1828492 w 2222569"/>
                <a:gd name="connsiteY10559" fmla="*/ 1679756 h 2052818"/>
                <a:gd name="connsiteX10560" fmla="*/ 1835823 w 2222569"/>
                <a:gd name="connsiteY10560" fmla="*/ 1675846 h 2052818"/>
                <a:gd name="connsiteX10561" fmla="*/ 1841362 w 2222569"/>
                <a:gd name="connsiteY10561" fmla="*/ 1675846 h 2052818"/>
                <a:gd name="connsiteX10562" fmla="*/ 1842340 w 2222569"/>
                <a:gd name="connsiteY10562" fmla="*/ 1678127 h 2052818"/>
                <a:gd name="connsiteX10563" fmla="*/ 1840548 w 2222569"/>
                <a:gd name="connsiteY10563" fmla="*/ 1678779 h 2052818"/>
                <a:gd name="connsiteX10564" fmla="*/ 1839733 w 2222569"/>
                <a:gd name="connsiteY10564" fmla="*/ 1681874 h 2052818"/>
                <a:gd name="connsiteX10565" fmla="*/ 1846738 w 2222569"/>
                <a:gd name="connsiteY10565" fmla="*/ 1682200 h 2052818"/>
                <a:gd name="connsiteX10566" fmla="*/ 1853254 w 2222569"/>
                <a:gd name="connsiteY10566" fmla="*/ 1685132 h 2052818"/>
                <a:gd name="connsiteX10567" fmla="*/ 1854395 w 2222569"/>
                <a:gd name="connsiteY10567" fmla="*/ 1688065 h 2052818"/>
                <a:gd name="connsiteX10568" fmla="*/ 1849834 w 2222569"/>
                <a:gd name="connsiteY10568" fmla="*/ 1685621 h 2052818"/>
                <a:gd name="connsiteX10569" fmla="*/ 1847390 w 2222569"/>
                <a:gd name="connsiteY10569" fmla="*/ 1686435 h 2052818"/>
                <a:gd name="connsiteX10570" fmla="*/ 1848693 w 2222569"/>
                <a:gd name="connsiteY10570" fmla="*/ 1690997 h 2052818"/>
                <a:gd name="connsiteX10571" fmla="*/ 1855698 w 2222569"/>
                <a:gd name="connsiteY10571" fmla="*/ 1693929 h 2052818"/>
                <a:gd name="connsiteX10572" fmla="*/ 1857001 w 2222569"/>
                <a:gd name="connsiteY10572" fmla="*/ 1697676 h 2052818"/>
                <a:gd name="connsiteX10573" fmla="*/ 1852929 w 2222569"/>
                <a:gd name="connsiteY10573" fmla="*/ 1700934 h 2052818"/>
                <a:gd name="connsiteX10574" fmla="*/ 1848856 w 2222569"/>
                <a:gd name="connsiteY10574" fmla="*/ 1699631 h 2052818"/>
                <a:gd name="connsiteX10575" fmla="*/ 1844783 w 2222569"/>
                <a:gd name="connsiteY10575" fmla="*/ 1703378 h 2052818"/>
                <a:gd name="connsiteX10576" fmla="*/ 1852277 w 2222569"/>
                <a:gd name="connsiteY10576" fmla="*/ 1705822 h 2052818"/>
                <a:gd name="connsiteX10577" fmla="*/ 1850322 w 2222569"/>
                <a:gd name="connsiteY10577" fmla="*/ 1710546 h 2052818"/>
                <a:gd name="connsiteX10578" fmla="*/ 1847064 w 2222569"/>
                <a:gd name="connsiteY10578" fmla="*/ 1711686 h 2052818"/>
                <a:gd name="connsiteX10579" fmla="*/ 1845435 w 2222569"/>
                <a:gd name="connsiteY10579" fmla="*/ 1716085 h 2052818"/>
                <a:gd name="connsiteX10580" fmla="*/ 1841362 w 2222569"/>
                <a:gd name="connsiteY10580" fmla="*/ 1718203 h 2052818"/>
                <a:gd name="connsiteX10581" fmla="*/ 1835335 w 2222569"/>
                <a:gd name="connsiteY10581" fmla="*/ 1714293 h 2052818"/>
                <a:gd name="connsiteX10582" fmla="*/ 1837941 w 2222569"/>
                <a:gd name="connsiteY10582" fmla="*/ 1718366 h 2052818"/>
                <a:gd name="connsiteX10583" fmla="*/ 1845109 w 2222569"/>
                <a:gd name="connsiteY10583" fmla="*/ 1721461 h 2052818"/>
                <a:gd name="connsiteX10584" fmla="*/ 1849182 w 2222569"/>
                <a:gd name="connsiteY10584" fmla="*/ 1721135 h 2052818"/>
                <a:gd name="connsiteX10585" fmla="*/ 1852766 w 2222569"/>
                <a:gd name="connsiteY10585" fmla="*/ 1725208 h 2052818"/>
                <a:gd name="connsiteX10586" fmla="*/ 1849019 w 2222569"/>
                <a:gd name="connsiteY10586" fmla="*/ 1726348 h 2052818"/>
                <a:gd name="connsiteX10587" fmla="*/ 1844457 w 2222569"/>
                <a:gd name="connsiteY10587" fmla="*/ 1725534 h 2052818"/>
                <a:gd name="connsiteX10588" fmla="*/ 1842014 w 2222569"/>
                <a:gd name="connsiteY10588" fmla="*/ 1725534 h 2052818"/>
                <a:gd name="connsiteX10589" fmla="*/ 1845598 w 2222569"/>
                <a:gd name="connsiteY10589" fmla="*/ 1728629 h 2052818"/>
                <a:gd name="connsiteX10590" fmla="*/ 1849834 w 2222569"/>
                <a:gd name="connsiteY10590" fmla="*/ 1727489 h 2052818"/>
                <a:gd name="connsiteX10591" fmla="*/ 1852929 w 2222569"/>
                <a:gd name="connsiteY10591" fmla="*/ 1729118 h 2052818"/>
                <a:gd name="connsiteX10592" fmla="*/ 1850322 w 2222569"/>
                <a:gd name="connsiteY10592" fmla="*/ 1733842 h 2052818"/>
                <a:gd name="connsiteX10593" fmla="*/ 1849508 w 2222569"/>
                <a:gd name="connsiteY10593" fmla="*/ 1738404 h 2052818"/>
                <a:gd name="connsiteX10594" fmla="*/ 1845761 w 2222569"/>
                <a:gd name="connsiteY10594" fmla="*/ 1738404 h 2052818"/>
                <a:gd name="connsiteX10595" fmla="*/ 1843969 w 2222569"/>
                <a:gd name="connsiteY10595" fmla="*/ 1742639 h 2052818"/>
                <a:gd name="connsiteX10596" fmla="*/ 1836964 w 2222569"/>
                <a:gd name="connsiteY10596" fmla="*/ 1747852 h 2052818"/>
                <a:gd name="connsiteX10597" fmla="*/ 1831262 w 2222569"/>
                <a:gd name="connsiteY10597" fmla="*/ 1748178 h 2052818"/>
                <a:gd name="connsiteX10598" fmla="*/ 1826211 w 2222569"/>
                <a:gd name="connsiteY10598" fmla="*/ 1752414 h 2052818"/>
                <a:gd name="connsiteX10599" fmla="*/ 1823931 w 2222569"/>
                <a:gd name="connsiteY10599" fmla="*/ 1752414 h 2052818"/>
                <a:gd name="connsiteX10600" fmla="*/ 1820021 w 2222569"/>
                <a:gd name="connsiteY10600" fmla="*/ 1756486 h 2052818"/>
                <a:gd name="connsiteX10601" fmla="*/ 1817089 w 2222569"/>
                <a:gd name="connsiteY10601" fmla="*/ 1756486 h 2052818"/>
                <a:gd name="connsiteX10602" fmla="*/ 1815948 w 2222569"/>
                <a:gd name="connsiteY10602" fmla="*/ 1759419 h 2052818"/>
                <a:gd name="connsiteX10603" fmla="*/ 1811550 w 2222569"/>
                <a:gd name="connsiteY10603" fmla="*/ 1760070 h 2052818"/>
                <a:gd name="connsiteX10604" fmla="*/ 1808780 w 2222569"/>
                <a:gd name="connsiteY10604" fmla="*/ 1757301 h 2052818"/>
                <a:gd name="connsiteX10605" fmla="*/ 1805034 w 2222569"/>
                <a:gd name="connsiteY10605" fmla="*/ 1759582 h 2052818"/>
                <a:gd name="connsiteX10606" fmla="*/ 1800961 w 2222569"/>
                <a:gd name="connsiteY10606" fmla="*/ 1759093 h 2052818"/>
                <a:gd name="connsiteX10607" fmla="*/ 1799657 w 2222569"/>
                <a:gd name="connsiteY10607" fmla="*/ 1757301 h 2052818"/>
                <a:gd name="connsiteX10608" fmla="*/ 1794444 w 2222569"/>
                <a:gd name="connsiteY10608" fmla="*/ 1761048 h 2052818"/>
                <a:gd name="connsiteX10609" fmla="*/ 1788743 w 2222569"/>
                <a:gd name="connsiteY10609" fmla="*/ 1760233 h 2052818"/>
                <a:gd name="connsiteX10610" fmla="*/ 1786299 w 2222569"/>
                <a:gd name="connsiteY10610" fmla="*/ 1756486 h 2052818"/>
                <a:gd name="connsiteX10611" fmla="*/ 1784670 w 2222569"/>
                <a:gd name="connsiteY10611" fmla="*/ 1757953 h 2052818"/>
                <a:gd name="connsiteX10612" fmla="*/ 1785159 w 2222569"/>
                <a:gd name="connsiteY10612" fmla="*/ 1761048 h 2052818"/>
                <a:gd name="connsiteX10613" fmla="*/ 1780434 w 2222569"/>
                <a:gd name="connsiteY10613" fmla="*/ 1762188 h 2052818"/>
                <a:gd name="connsiteX10614" fmla="*/ 1775221 w 2222569"/>
                <a:gd name="connsiteY10614" fmla="*/ 1761862 h 2052818"/>
                <a:gd name="connsiteX10615" fmla="*/ 1773592 w 2222569"/>
                <a:gd name="connsiteY10615" fmla="*/ 1763817 h 2052818"/>
                <a:gd name="connsiteX10616" fmla="*/ 1775547 w 2222569"/>
                <a:gd name="connsiteY10616" fmla="*/ 1764632 h 2052818"/>
                <a:gd name="connsiteX10617" fmla="*/ 1774895 w 2222569"/>
                <a:gd name="connsiteY10617" fmla="*/ 1767727 h 2052818"/>
                <a:gd name="connsiteX10618" fmla="*/ 1771148 w 2222569"/>
                <a:gd name="connsiteY10618" fmla="*/ 1771311 h 2052818"/>
                <a:gd name="connsiteX10619" fmla="*/ 1768053 w 2222569"/>
                <a:gd name="connsiteY10619" fmla="*/ 1770822 h 2052818"/>
                <a:gd name="connsiteX10620" fmla="*/ 1768053 w 2222569"/>
                <a:gd name="connsiteY10620" fmla="*/ 1775221 h 2052818"/>
                <a:gd name="connsiteX10621" fmla="*/ 1764306 w 2222569"/>
                <a:gd name="connsiteY10621" fmla="*/ 1782389 h 2052818"/>
                <a:gd name="connsiteX10622" fmla="*/ 1760233 w 2222569"/>
                <a:gd name="connsiteY10622" fmla="*/ 1781574 h 2052818"/>
                <a:gd name="connsiteX10623" fmla="*/ 1758767 w 2222569"/>
                <a:gd name="connsiteY10623" fmla="*/ 1783855 h 2052818"/>
                <a:gd name="connsiteX10624" fmla="*/ 1754369 w 2222569"/>
                <a:gd name="connsiteY10624" fmla="*/ 1786299 h 2052818"/>
                <a:gd name="connsiteX10625" fmla="*/ 1751110 w 2222569"/>
                <a:gd name="connsiteY10625" fmla="*/ 1791349 h 2052818"/>
                <a:gd name="connsiteX10626" fmla="*/ 1749156 w 2222569"/>
                <a:gd name="connsiteY10626" fmla="*/ 1790697 h 2052818"/>
                <a:gd name="connsiteX10627" fmla="*/ 1746223 w 2222569"/>
                <a:gd name="connsiteY10627" fmla="*/ 1792489 h 2052818"/>
                <a:gd name="connsiteX10628" fmla="*/ 1740847 w 2222569"/>
                <a:gd name="connsiteY10628" fmla="*/ 1792489 h 2052818"/>
                <a:gd name="connsiteX10629" fmla="*/ 1739707 w 2222569"/>
                <a:gd name="connsiteY10629" fmla="*/ 1795585 h 2052818"/>
                <a:gd name="connsiteX10630" fmla="*/ 1735145 w 2222569"/>
                <a:gd name="connsiteY10630" fmla="*/ 1797539 h 2052818"/>
                <a:gd name="connsiteX10631" fmla="*/ 1731887 w 2222569"/>
                <a:gd name="connsiteY10631" fmla="*/ 1795585 h 2052818"/>
                <a:gd name="connsiteX10632" fmla="*/ 1723742 w 2222569"/>
                <a:gd name="connsiteY10632" fmla="*/ 1795585 h 2052818"/>
                <a:gd name="connsiteX10633" fmla="*/ 1721787 w 2222569"/>
                <a:gd name="connsiteY10633" fmla="*/ 1793793 h 2052818"/>
                <a:gd name="connsiteX10634" fmla="*/ 1716085 w 2222569"/>
                <a:gd name="connsiteY10634" fmla="*/ 1795585 h 2052818"/>
                <a:gd name="connsiteX10635" fmla="*/ 1713316 w 2222569"/>
                <a:gd name="connsiteY10635" fmla="*/ 1795585 h 2052818"/>
                <a:gd name="connsiteX10636" fmla="*/ 1701749 w 2222569"/>
                <a:gd name="connsiteY10636" fmla="*/ 1799494 h 2052818"/>
                <a:gd name="connsiteX10637" fmla="*/ 1697025 w 2222569"/>
                <a:gd name="connsiteY10637" fmla="*/ 1798191 h 2052818"/>
                <a:gd name="connsiteX10638" fmla="*/ 1698165 w 2222569"/>
                <a:gd name="connsiteY10638" fmla="*/ 1795422 h 2052818"/>
                <a:gd name="connsiteX10639" fmla="*/ 1694418 w 2222569"/>
                <a:gd name="connsiteY10639" fmla="*/ 1794444 h 2052818"/>
                <a:gd name="connsiteX10640" fmla="*/ 1689857 w 2222569"/>
                <a:gd name="connsiteY10640" fmla="*/ 1796236 h 2052818"/>
                <a:gd name="connsiteX10641" fmla="*/ 1685947 w 2222569"/>
                <a:gd name="connsiteY10641" fmla="*/ 1796236 h 2052818"/>
                <a:gd name="connsiteX10642" fmla="*/ 1678616 w 2222569"/>
                <a:gd name="connsiteY10642" fmla="*/ 1793141 h 2052818"/>
                <a:gd name="connsiteX10643" fmla="*/ 1676172 w 2222569"/>
                <a:gd name="connsiteY10643" fmla="*/ 1793793 h 2052818"/>
                <a:gd name="connsiteX10644" fmla="*/ 1670308 w 2222569"/>
                <a:gd name="connsiteY10644" fmla="*/ 1793141 h 2052818"/>
                <a:gd name="connsiteX10645" fmla="*/ 1666072 w 2222569"/>
                <a:gd name="connsiteY10645" fmla="*/ 1790046 h 2052818"/>
                <a:gd name="connsiteX10646" fmla="*/ 1663465 w 2222569"/>
                <a:gd name="connsiteY10646" fmla="*/ 1790046 h 2052818"/>
                <a:gd name="connsiteX10647" fmla="*/ 1660044 w 2222569"/>
                <a:gd name="connsiteY10647" fmla="*/ 1792815 h 2052818"/>
                <a:gd name="connsiteX10648" fmla="*/ 1652551 w 2222569"/>
                <a:gd name="connsiteY10648" fmla="*/ 1792001 h 2052818"/>
                <a:gd name="connsiteX10649" fmla="*/ 1646523 w 2222569"/>
                <a:gd name="connsiteY10649" fmla="*/ 1788091 h 2052818"/>
                <a:gd name="connsiteX10650" fmla="*/ 1642450 w 2222569"/>
                <a:gd name="connsiteY10650" fmla="*/ 1790697 h 2052818"/>
                <a:gd name="connsiteX10651" fmla="*/ 1637889 w 2222569"/>
                <a:gd name="connsiteY10651" fmla="*/ 1790697 h 2052818"/>
                <a:gd name="connsiteX10652" fmla="*/ 1633979 w 2222569"/>
                <a:gd name="connsiteY10652" fmla="*/ 1787765 h 2052818"/>
                <a:gd name="connsiteX10653" fmla="*/ 1628277 w 2222569"/>
                <a:gd name="connsiteY10653" fmla="*/ 1790860 h 2052818"/>
                <a:gd name="connsiteX10654" fmla="*/ 1625345 w 2222569"/>
                <a:gd name="connsiteY10654" fmla="*/ 1789883 h 2052818"/>
                <a:gd name="connsiteX10655" fmla="*/ 1622086 w 2222569"/>
                <a:gd name="connsiteY10655" fmla="*/ 1789883 h 2052818"/>
                <a:gd name="connsiteX10656" fmla="*/ 1614430 w 2222569"/>
                <a:gd name="connsiteY10656" fmla="*/ 1786950 h 2052818"/>
                <a:gd name="connsiteX10657" fmla="*/ 1604003 w 2222569"/>
                <a:gd name="connsiteY10657" fmla="*/ 1788580 h 2052818"/>
                <a:gd name="connsiteX10658" fmla="*/ 1597813 w 2222569"/>
                <a:gd name="connsiteY10658" fmla="*/ 1786788 h 2052818"/>
                <a:gd name="connsiteX10659" fmla="*/ 1593252 w 2222569"/>
                <a:gd name="connsiteY10659" fmla="*/ 1782226 h 2052818"/>
                <a:gd name="connsiteX10660" fmla="*/ 1589179 w 2222569"/>
                <a:gd name="connsiteY10660" fmla="*/ 1784181 h 2052818"/>
                <a:gd name="connsiteX10661" fmla="*/ 1586572 w 2222569"/>
                <a:gd name="connsiteY10661" fmla="*/ 1787113 h 2052818"/>
                <a:gd name="connsiteX10662" fmla="*/ 1589016 w 2222569"/>
                <a:gd name="connsiteY10662" fmla="*/ 1789557 h 2052818"/>
                <a:gd name="connsiteX10663" fmla="*/ 1586735 w 2222569"/>
                <a:gd name="connsiteY10663" fmla="*/ 1791838 h 2052818"/>
                <a:gd name="connsiteX10664" fmla="*/ 1582174 w 2222569"/>
                <a:gd name="connsiteY10664" fmla="*/ 1792815 h 2052818"/>
                <a:gd name="connsiteX10665" fmla="*/ 1572888 w 2222569"/>
                <a:gd name="connsiteY10665" fmla="*/ 1801286 h 2052818"/>
                <a:gd name="connsiteX10666" fmla="*/ 1567023 w 2222569"/>
                <a:gd name="connsiteY10666" fmla="*/ 1804056 h 2052818"/>
                <a:gd name="connsiteX10667" fmla="*/ 1566697 w 2222569"/>
                <a:gd name="connsiteY10667" fmla="*/ 1807966 h 2052818"/>
                <a:gd name="connsiteX10668" fmla="*/ 1564417 w 2222569"/>
                <a:gd name="connsiteY10668" fmla="*/ 1810735 h 2052818"/>
                <a:gd name="connsiteX10669" fmla="*/ 1563602 w 2222569"/>
                <a:gd name="connsiteY10669" fmla="*/ 1816926 h 2052818"/>
                <a:gd name="connsiteX10670" fmla="*/ 1560507 w 2222569"/>
                <a:gd name="connsiteY10670" fmla="*/ 1821161 h 2052818"/>
                <a:gd name="connsiteX10671" fmla="*/ 1552687 w 2222569"/>
                <a:gd name="connsiteY10671" fmla="*/ 1821161 h 2052818"/>
                <a:gd name="connsiteX10672" fmla="*/ 1548614 w 2222569"/>
                <a:gd name="connsiteY10672" fmla="*/ 1823116 h 2052818"/>
                <a:gd name="connsiteX10673" fmla="*/ 1539817 w 2222569"/>
                <a:gd name="connsiteY10673" fmla="*/ 1823605 h 2052818"/>
                <a:gd name="connsiteX10674" fmla="*/ 1535745 w 2222569"/>
                <a:gd name="connsiteY10674" fmla="*/ 1829307 h 2052818"/>
                <a:gd name="connsiteX10675" fmla="*/ 1532812 w 2222569"/>
                <a:gd name="connsiteY10675" fmla="*/ 1830121 h 2052818"/>
                <a:gd name="connsiteX10676" fmla="*/ 1530857 w 2222569"/>
                <a:gd name="connsiteY10676" fmla="*/ 1828166 h 2052818"/>
                <a:gd name="connsiteX10677" fmla="*/ 1526622 w 2222569"/>
                <a:gd name="connsiteY10677" fmla="*/ 1830773 h 2052818"/>
                <a:gd name="connsiteX10678" fmla="*/ 1524667 w 2222569"/>
                <a:gd name="connsiteY10678" fmla="*/ 1835986 h 2052818"/>
                <a:gd name="connsiteX10679" fmla="*/ 1519617 w 2222569"/>
                <a:gd name="connsiteY10679" fmla="*/ 1837126 h 2052818"/>
                <a:gd name="connsiteX10680" fmla="*/ 1514241 w 2222569"/>
                <a:gd name="connsiteY10680" fmla="*/ 1841199 h 2052818"/>
                <a:gd name="connsiteX10681" fmla="*/ 1512937 w 2222569"/>
                <a:gd name="connsiteY10681" fmla="*/ 1843806 h 2052818"/>
                <a:gd name="connsiteX10682" fmla="*/ 1510168 w 2222569"/>
                <a:gd name="connsiteY10682" fmla="*/ 1844783 h 2052818"/>
                <a:gd name="connsiteX10683" fmla="*/ 1504140 w 2222569"/>
                <a:gd name="connsiteY10683" fmla="*/ 1854069 h 2052818"/>
                <a:gd name="connsiteX10684" fmla="*/ 1494040 w 2222569"/>
                <a:gd name="connsiteY10684" fmla="*/ 1859282 h 2052818"/>
                <a:gd name="connsiteX10685" fmla="*/ 1491433 w 2222569"/>
                <a:gd name="connsiteY10685" fmla="*/ 1868079 h 2052818"/>
                <a:gd name="connsiteX10686" fmla="*/ 1484591 w 2222569"/>
                <a:gd name="connsiteY10686" fmla="*/ 1871500 h 2052818"/>
                <a:gd name="connsiteX10687" fmla="*/ 1478889 w 2222569"/>
                <a:gd name="connsiteY10687" fmla="*/ 1877365 h 2052818"/>
                <a:gd name="connsiteX10688" fmla="*/ 1473676 w 2222569"/>
                <a:gd name="connsiteY10688" fmla="*/ 1878668 h 2052818"/>
                <a:gd name="connsiteX10689" fmla="*/ 1471884 w 2222569"/>
                <a:gd name="connsiteY10689" fmla="*/ 1885185 h 2052818"/>
                <a:gd name="connsiteX10690" fmla="*/ 1468463 w 2222569"/>
                <a:gd name="connsiteY10690" fmla="*/ 1890561 h 2052818"/>
                <a:gd name="connsiteX10691" fmla="*/ 1456734 w 2222569"/>
                <a:gd name="connsiteY10691" fmla="*/ 1897566 h 2052818"/>
                <a:gd name="connsiteX10692" fmla="*/ 1455919 w 2222569"/>
                <a:gd name="connsiteY10692" fmla="*/ 1901476 h 2052818"/>
                <a:gd name="connsiteX10693" fmla="*/ 1442398 w 2222569"/>
                <a:gd name="connsiteY10693" fmla="*/ 1907340 h 2052818"/>
                <a:gd name="connsiteX10694" fmla="*/ 1434741 w 2222569"/>
                <a:gd name="connsiteY10694" fmla="*/ 1909295 h 2052818"/>
                <a:gd name="connsiteX10695" fmla="*/ 1440931 w 2222569"/>
                <a:gd name="connsiteY10695" fmla="*/ 1909621 h 2052818"/>
                <a:gd name="connsiteX10696" fmla="*/ 1454127 w 2222569"/>
                <a:gd name="connsiteY10696" fmla="*/ 1903919 h 2052818"/>
                <a:gd name="connsiteX10697" fmla="*/ 1465531 w 2222569"/>
                <a:gd name="connsiteY10697" fmla="*/ 1898380 h 2052818"/>
                <a:gd name="connsiteX10698" fmla="*/ 1474165 w 2222569"/>
                <a:gd name="connsiteY10698" fmla="*/ 1893004 h 2052818"/>
                <a:gd name="connsiteX10699" fmla="*/ 1481007 w 2222569"/>
                <a:gd name="connsiteY10699" fmla="*/ 1884370 h 2052818"/>
                <a:gd name="connsiteX10700" fmla="*/ 1486709 w 2222569"/>
                <a:gd name="connsiteY10700" fmla="*/ 1878343 h 2052818"/>
                <a:gd name="connsiteX10701" fmla="*/ 1490945 w 2222569"/>
                <a:gd name="connsiteY10701" fmla="*/ 1876388 h 2052818"/>
                <a:gd name="connsiteX10702" fmla="*/ 1503652 w 2222569"/>
                <a:gd name="connsiteY10702" fmla="*/ 1864658 h 2052818"/>
                <a:gd name="connsiteX10703" fmla="*/ 1520920 w 2222569"/>
                <a:gd name="connsiteY10703" fmla="*/ 1852603 h 2052818"/>
                <a:gd name="connsiteX10704" fmla="*/ 1532323 w 2222569"/>
                <a:gd name="connsiteY10704" fmla="*/ 1845272 h 2052818"/>
                <a:gd name="connsiteX10705" fmla="*/ 1539654 w 2222569"/>
                <a:gd name="connsiteY10705" fmla="*/ 1844294 h 2052818"/>
                <a:gd name="connsiteX10706" fmla="*/ 1546334 w 2222569"/>
                <a:gd name="connsiteY10706" fmla="*/ 1840385 h 2052818"/>
                <a:gd name="connsiteX10707" fmla="*/ 1559366 w 2222569"/>
                <a:gd name="connsiteY10707" fmla="*/ 1838104 h 2052818"/>
                <a:gd name="connsiteX10708" fmla="*/ 1575332 w 2222569"/>
                <a:gd name="connsiteY10708" fmla="*/ 1832565 h 2052818"/>
                <a:gd name="connsiteX10709" fmla="*/ 1580708 w 2222569"/>
                <a:gd name="connsiteY10709" fmla="*/ 1832239 h 2052818"/>
                <a:gd name="connsiteX10710" fmla="*/ 1585758 w 2222569"/>
                <a:gd name="connsiteY10710" fmla="*/ 1829470 h 2052818"/>
                <a:gd name="connsiteX10711" fmla="*/ 1603026 w 2222569"/>
                <a:gd name="connsiteY10711" fmla="*/ 1829796 h 2052818"/>
                <a:gd name="connsiteX10712" fmla="*/ 1612312 w 2222569"/>
                <a:gd name="connsiteY10712" fmla="*/ 1833217 h 2052818"/>
                <a:gd name="connsiteX10713" fmla="*/ 1622412 w 2222569"/>
                <a:gd name="connsiteY10713" fmla="*/ 1839244 h 2052818"/>
                <a:gd name="connsiteX10714" fmla="*/ 1622412 w 2222569"/>
                <a:gd name="connsiteY10714" fmla="*/ 1841688 h 2052818"/>
                <a:gd name="connsiteX10715" fmla="*/ 1614593 w 2222569"/>
                <a:gd name="connsiteY10715" fmla="*/ 1840222 h 2052818"/>
                <a:gd name="connsiteX10716" fmla="*/ 1615081 w 2222569"/>
                <a:gd name="connsiteY10716" fmla="*/ 1841362 h 2052818"/>
                <a:gd name="connsiteX10717" fmla="*/ 1614430 w 2222569"/>
                <a:gd name="connsiteY10717" fmla="*/ 1842991 h 2052818"/>
                <a:gd name="connsiteX10718" fmla="*/ 1618502 w 2222569"/>
                <a:gd name="connsiteY10718" fmla="*/ 1842665 h 2052818"/>
                <a:gd name="connsiteX10719" fmla="*/ 1624041 w 2222569"/>
                <a:gd name="connsiteY10719" fmla="*/ 1844946 h 2052818"/>
                <a:gd name="connsiteX10720" fmla="*/ 1625996 w 2222569"/>
                <a:gd name="connsiteY10720" fmla="*/ 1848041 h 2052818"/>
                <a:gd name="connsiteX10721" fmla="*/ 1622901 w 2222569"/>
                <a:gd name="connsiteY10721" fmla="*/ 1849345 h 2052818"/>
                <a:gd name="connsiteX10722" fmla="*/ 1625345 w 2222569"/>
                <a:gd name="connsiteY10722" fmla="*/ 1851137 h 2052818"/>
                <a:gd name="connsiteX10723" fmla="*/ 1621435 w 2222569"/>
                <a:gd name="connsiteY10723" fmla="*/ 1859934 h 2052818"/>
                <a:gd name="connsiteX10724" fmla="*/ 1615896 w 2222569"/>
                <a:gd name="connsiteY10724" fmla="*/ 1861237 h 2052818"/>
                <a:gd name="connsiteX10725" fmla="*/ 1610683 w 2222569"/>
                <a:gd name="connsiteY10725" fmla="*/ 1865473 h 2052818"/>
                <a:gd name="connsiteX10726" fmla="*/ 1606610 w 2222569"/>
                <a:gd name="connsiteY10726" fmla="*/ 1865798 h 2052818"/>
                <a:gd name="connsiteX10727" fmla="*/ 1599768 w 2222569"/>
                <a:gd name="connsiteY10727" fmla="*/ 1871012 h 2052818"/>
                <a:gd name="connsiteX10728" fmla="*/ 1594229 w 2222569"/>
                <a:gd name="connsiteY10728" fmla="*/ 1871012 h 2052818"/>
                <a:gd name="connsiteX10729" fmla="*/ 1589993 w 2222569"/>
                <a:gd name="connsiteY10729" fmla="*/ 1867265 h 2052818"/>
                <a:gd name="connsiteX10730" fmla="*/ 1584454 w 2222569"/>
                <a:gd name="connsiteY10730" fmla="*/ 1865310 h 2052818"/>
                <a:gd name="connsiteX10731" fmla="*/ 1580708 w 2222569"/>
                <a:gd name="connsiteY10731" fmla="*/ 1867753 h 2052818"/>
                <a:gd name="connsiteX10732" fmla="*/ 1575169 w 2222569"/>
                <a:gd name="connsiteY10732" fmla="*/ 1868894 h 2052818"/>
                <a:gd name="connsiteX10733" fmla="*/ 1569630 w 2222569"/>
                <a:gd name="connsiteY10733" fmla="*/ 1867753 h 2052818"/>
                <a:gd name="connsiteX10734" fmla="*/ 1562787 w 2222569"/>
                <a:gd name="connsiteY10734" fmla="*/ 1870849 h 2052818"/>
                <a:gd name="connsiteX10735" fmla="*/ 1569955 w 2222569"/>
                <a:gd name="connsiteY10735" fmla="*/ 1869871 h 2052818"/>
                <a:gd name="connsiteX10736" fmla="*/ 1576961 w 2222569"/>
                <a:gd name="connsiteY10736" fmla="*/ 1870686 h 2052818"/>
                <a:gd name="connsiteX10737" fmla="*/ 1586898 w 2222569"/>
                <a:gd name="connsiteY10737" fmla="*/ 1873455 h 2052818"/>
                <a:gd name="connsiteX10738" fmla="*/ 1588364 w 2222569"/>
                <a:gd name="connsiteY10738" fmla="*/ 1878180 h 2052818"/>
                <a:gd name="connsiteX10739" fmla="*/ 1590156 w 2222569"/>
                <a:gd name="connsiteY10739" fmla="*/ 1881438 h 2052818"/>
                <a:gd name="connsiteX10740" fmla="*/ 1595858 w 2222569"/>
                <a:gd name="connsiteY10740" fmla="*/ 1878831 h 2052818"/>
                <a:gd name="connsiteX10741" fmla="*/ 1600908 w 2222569"/>
                <a:gd name="connsiteY10741" fmla="*/ 1875410 h 2052818"/>
                <a:gd name="connsiteX10742" fmla="*/ 1605959 w 2222569"/>
                <a:gd name="connsiteY10742" fmla="*/ 1875410 h 2052818"/>
                <a:gd name="connsiteX10743" fmla="*/ 1607425 w 2222569"/>
                <a:gd name="connsiteY10743" fmla="*/ 1877691 h 2052818"/>
                <a:gd name="connsiteX10744" fmla="*/ 1611171 w 2222569"/>
                <a:gd name="connsiteY10744" fmla="*/ 1877365 h 2052818"/>
                <a:gd name="connsiteX10745" fmla="*/ 1612312 w 2222569"/>
                <a:gd name="connsiteY10745" fmla="*/ 1880623 h 2052818"/>
                <a:gd name="connsiteX10746" fmla="*/ 1607587 w 2222569"/>
                <a:gd name="connsiteY10746" fmla="*/ 1884696 h 2052818"/>
                <a:gd name="connsiteX10747" fmla="*/ 1601071 w 2222569"/>
                <a:gd name="connsiteY10747" fmla="*/ 1897566 h 2052818"/>
                <a:gd name="connsiteX10748" fmla="*/ 1597976 w 2222569"/>
                <a:gd name="connsiteY10748" fmla="*/ 1898055 h 2052818"/>
                <a:gd name="connsiteX10749" fmla="*/ 1594718 w 2222569"/>
                <a:gd name="connsiteY10749" fmla="*/ 1901313 h 2052818"/>
                <a:gd name="connsiteX10750" fmla="*/ 1604329 w 2222569"/>
                <a:gd name="connsiteY10750" fmla="*/ 1901313 h 2052818"/>
                <a:gd name="connsiteX10751" fmla="*/ 1604329 w 2222569"/>
                <a:gd name="connsiteY10751" fmla="*/ 1903919 h 2052818"/>
                <a:gd name="connsiteX10752" fmla="*/ 1601397 w 2222569"/>
                <a:gd name="connsiteY10752" fmla="*/ 1908155 h 2052818"/>
                <a:gd name="connsiteX10753" fmla="*/ 1604818 w 2222569"/>
                <a:gd name="connsiteY10753" fmla="*/ 1912065 h 2052818"/>
                <a:gd name="connsiteX10754" fmla="*/ 1604003 w 2222569"/>
                <a:gd name="connsiteY10754" fmla="*/ 1916626 h 2052818"/>
                <a:gd name="connsiteX10755" fmla="*/ 1604492 w 2222569"/>
                <a:gd name="connsiteY10755" fmla="*/ 1923631 h 2052818"/>
                <a:gd name="connsiteX10756" fmla="*/ 1606936 w 2222569"/>
                <a:gd name="connsiteY10756" fmla="*/ 1925423 h 2052818"/>
                <a:gd name="connsiteX10757" fmla="*/ 1609705 w 2222569"/>
                <a:gd name="connsiteY10757" fmla="*/ 1931940 h 2052818"/>
                <a:gd name="connsiteX10758" fmla="*/ 1614918 w 2222569"/>
                <a:gd name="connsiteY10758" fmla="*/ 1931940 h 2052818"/>
                <a:gd name="connsiteX10759" fmla="*/ 1617199 w 2222569"/>
                <a:gd name="connsiteY10759" fmla="*/ 1933894 h 2052818"/>
                <a:gd name="connsiteX10760" fmla="*/ 1624530 w 2222569"/>
                <a:gd name="connsiteY10760" fmla="*/ 1934220 h 2052818"/>
                <a:gd name="connsiteX10761" fmla="*/ 1623227 w 2222569"/>
                <a:gd name="connsiteY10761" fmla="*/ 1937967 h 2052818"/>
                <a:gd name="connsiteX10762" fmla="*/ 1617525 w 2222569"/>
                <a:gd name="connsiteY10762" fmla="*/ 1939759 h 2052818"/>
                <a:gd name="connsiteX10763" fmla="*/ 1624530 w 2222569"/>
                <a:gd name="connsiteY10763" fmla="*/ 1944484 h 2052818"/>
                <a:gd name="connsiteX10764" fmla="*/ 1632513 w 2222569"/>
                <a:gd name="connsiteY10764" fmla="*/ 1944484 h 2052818"/>
                <a:gd name="connsiteX10765" fmla="*/ 1637237 w 2222569"/>
                <a:gd name="connsiteY10765" fmla="*/ 1946764 h 2052818"/>
                <a:gd name="connsiteX10766" fmla="*/ 1639518 w 2222569"/>
                <a:gd name="connsiteY10766" fmla="*/ 1945298 h 2052818"/>
                <a:gd name="connsiteX10767" fmla="*/ 1646523 w 2222569"/>
                <a:gd name="connsiteY10767" fmla="*/ 1947905 h 2052818"/>
                <a:gd name="connsiteX10768" fmla="*/ 1647826 w 2222569"/>
                <a:gd name="connsiteY10768" fmla="*/ 1950674 h 2052818"/>
                <a:gd name="connsiteX10769" fmla="*/ 1656460 w 2222569"/>
                <a:gd name="connsiteY10769" fmla="*/ 1952140 h 2052818"/>
                <a:gd name="connsiteX10770" fmla="*/ 1658089 w 2222569"/>
                <a:gd name="connsiteY10770" fmla="*/ 1949697 h 2052818"/>
                <a:gd name="connsiteX10771" fmla="*/ 1665420 w 2222569"/>
                <a:gd name="connsiteY10771" fmla="*/ 1944484 h 2052818"/>
                <a:gd name="connsiteX10772" fmla="*/ 1666235 w 2222569"/>
                <a:gd name="connsiteY10772" fmla="*/ 1948719 h 2052818"/>
                <a:gd name="connsiteX10773" fmla="*/ 1664932 w 2222569"/>
                <a:gd name="connsiteY10773" fmla="*/ 1950674 h 2052818"/>
                <a:gd name="connsiteX10774" fmla="*/ 1671122 w 2222569"/>
                <a:gd name="connsiteY10774" fmla="*/ 1951652 h 2052818"/>
                <a:gd name="connsiteX10775" fmla="*/ 1679756 w 2222569"/>
                <a:gd name="connsiteY10775" fmla="*/ 1956050 h 2052818"/>
                <a:gd name="connsiteX10776" fmla="*/ 1679756 w 2222569"/>
                <a:gd name="connsiteY10776" fmla="*/ 1958657 h 2052818"/>
                <a:gd name="connsiteX10777" fmla="*/ 1676498 w 2222569"/>
                <a:gd name="connsiteY10777" fmla="*/ 1959634 h 2052818"/>
                <a:gd name="connsiteX10778" fmla="*/ 1674217 w 2222569"/>
                <a:gd name="connsiteY10778" fmla="*/ 1960123 h 2052818"/>
                <a:gd name="connsiteX10779" fmla="*/ 1678942 w 2222569"/>
                <a:gd name="connsiteY10779" fmla="*/ 1962892 h 2052818"/>
                <a:gd name="connsiteX10780" fmla="*/ 1683992 w 2222569"/>
                <a:gd name="connsiteY10780" fmla="*/ 1962567 h 2052818"/>
                <a:gd name="connsiteX10781" fmla="*/ 1686436 w 2222569"/>
                <a:gd name="connsiteY10781" fmla="*/ 1965336 h 2052818"/>
                <a:gd name="connsiteX10782" fmla="*/ 1682363 w 2222569"/>
                <a:gd name="connsiteY10782" fmla="*/ 1967128 h 2052818"/>
                <a:gd name="connsiteX10783" fmla="*/ 1679268 w 2222569"/>
                <a:gd name="connsiteY10783" fmla="*/ 1965825 h 2052818"/>
                <a:gd name="connsiteX10784" fmla="*/ 1674543 w 2222569"/>
                <a:gd name="connsiteY10784" fmla="*/ 1966313 h 2052818"/>
                <a:gd name="connsiteX10785" fmla="*/ 1667212 w 2222569"/>
                <a:gd name="connsiteY10785" fmla="*/ 1968268 h 2052818"/>
                <a:gd name="connsiteX10786" fmla="*/ 1655646 w 2222569"/>
                <a:gd name="connsiteY10786" fmla="*/ 1974785 h 2052818"/>
                <a:gd name="connsiteX10787" fmla="*/ 1651084 w 2222569"/>
                <a:gd name="connsiteY10787" fmla="*/ 1974785 h 2052818"/>
                <a:gd name="connsiteX10788" fmla="*/ 1642287 w 2222569"/>
                <a:gd name="connsiteY10788" fmla="*/ 1977391 h 2052818"/>
                <a:gd name="connsiteX10789" fmla="*/ 1634305 w 2222569"/>
                <a:gd name="connsiteY10789" fmla="*/ 1979183 h 2052818"/>
                <a:gd name="connsiteX10790" fmla="*/ 1626322 w 2222569"/>
                <a:gd name="connsiteY10790" fmla="*/ 1983582 h 2052818"/>
                <a:gd name="connsiteX10791" fmla="*/ 1622249 w 2222569"/>
                <a:gd name="connsiteY10791" fmla="*/ 1983582 h 2052818"/>
                <a:gd name="connsiteX10792" fmla="*/ 1622738 w 2222569"/>
                <a:gd name="connsiteY10792" fmla="*/ 1986025 h 2052818"/>
                <a:gd name="connsiteX10793" fmla="*/ 1615896 w 2222569"/>
                <a:gd name="connsiteY10793" fmla="*/ 1985211 h 2052818"/>
                <a:gd name="connsiteX10794" fmla="*/ 1613615 w 2222569"/>
                <a:gd name="connsiteY10794" fmla="*/ 1979835 h 2052818"/>
                <a:gd name="connsiteX10795" fmla="*/ 1611171 w 2222569"/>
                <a:gd name="connsiteY10795" fmla="*/ 1979509 h 2052818"/>
                <a:gd name="connsiteX10796" fmla="*/ 1609379 w 2222569"/>
                <a:gd name="connsiteY10796" fmla="*/ 1982441 h 2052818"/>
                <a:gd name="connsiteX10797" fmla="*/ 1606447 w 2222569"/>
                <a:gd name="connsiteY10797" fmla="*/ 1982116 h 2052818"/>
                <a:gd name="connsiteX10798" fmla="*/ 1602537 w 2222569"/>
                <a:gd name="connsiteY10798" fmla="*/ 1987980 h 2052818"/>
                <a:gd name="connsiteX10799" fmla="*/ 1604329 w 2222569"/>
                <a:gd name="connsiteY10799" fmla="*/ 1990587 h 2052818"/>
                <a:gd name="connsiteX10800" fmla="*/ 1596510 w 2222569"/>
                <a:gd name="connsiteY10800" fmla="*/ 1996777 h 2052818"/>
                <a:gd name="connsiteX10801" fmla="*/ 1589668 w 2222569"/>
                <a:gd name="connsiteY10801" fmla="*/ 2005737 h 2052818"/>
                <a:gd name="connsiteX10802" fmla="*/ 1584617 w 2222569"/>
                <a:gd name="connsiteY10802" fmla="*/ 2006715 h 2052818"/>
                <a:gd name="connsiteX10803" fmla="*/ 1578916 w 2222569"/>
                <a:gd name="connsiteY10803" fmla="*/ 2011113 h 2052818"/>
                <a:gd name="connsiteX10804" fmla="*/ 1575983 w 2222569"/>
                <a:gd name="connsiteY10804" fmla="*/ 2010788 h 2052818"/>
                <a:gd name="connsiteX10805" fmla="*/ 1574028 w 2222569"/>
                <a:gd name="connsiteY10805" fmla="*/ 2012091 h 2052818"/>
                <a:gd name="connsiteX10806" fmla="*/ 1573539 w 2222569"/>
                <a:gd name="connsiteY10806" fmla="*/ 2016652 h 2052818"/>
                <a:gd name="connsiteX10807" fmla="*/ 1571259 w 2222569"/>
                <a:gd name="connsiteY10807" fmla="*/ 2018607 h 2052818"/>
                <a:gd name="connsiteX10808" fmla="*/ 1568652 w 2222569"/>
                <a:gd name="connsiteY10808" fmla="*/ 2016164 h 2052818"/>
                <a:gd name="connsiteX10809" fmla="*/ 1565883 w 2222569"/>
                <a:gd name="connsiteY10809" fmla="*/ 2018118 h 2052818"/>
                <a:gd name="connsiteX10810" fmla="*/ 1561810 w 2222569"/>
                <a:gd name="connsiteY10810" fmla="*/ 2015186 h 2052818"/>
                <a:gd name="connsiteX10811" fmla="*/ 1561321 w 2222569"/>
                <a:gd name="connsiteY10811" fmla="*/ 2009321 h 2052818"/>
                <a:gd name="connsiteX10812" fmla="*/ 1558715 w 2222569"/>
                <a:gd name="connsiteY10812" fmla="*/ 2007692 h 2052818"/>
                <a:gd name="connsiteX10813" fmla="*/ 1556108 w 2222569"/>
                <a:gd name="connsiteY10813" fmla="*/ 2009321 h 2052818"/>
                <a:gd name="connsiteX10814" fmla="*/ 1555294 w 2222569"/>
                <a:gd name="connsiteY10814" fmla="*/ 2004108 h 2052818"/>
                <a:gd name="connsiteX10815" fmla="*/ 1553665 w 2222569"/>
                <a:gd name="connsiteY10815" fmla="*/ 1999384 h 2052818"/>
                <a:gd name="connsiteX10816" fmla="*/ 1553990 w 2222569"/>
                <a:gd name="connsiteY10816" fmla="*/ 1993519 h 2052818"/>
                <a:gd name="connsiteX10817" fmla="*/ 1557737 w 2222569"/>
                <a:gd name="connsiteY10817" fmla="*/ 1985537 h 2052818"/>
                <a:gd name="connsiteX10818" fmla="*/ 1563928 w 2222569"/>
                <a:gd name="connsiteY10818" fmla="*/ 1980487 h 2052818"/>
                <a:gd name="connsiteX10819" fmla="*/ 1564905 w 2222569"/>
                <a:gd name="connsiteY10819" fmla="*/ 1976414 h 2052818"/>
                <a:gd name="connsiteX10820" fmla="*/ 1574517 w 2222569"/>
                <a:gd name="connsiteY10820" fmla="*/ 1971038 h 2052818"/>
                <a:gd name="connsiteX10821" fmla="*/ 1585432 w 2222569"/>
                <a:gd name="connsiteY10821" fmla="*/ 1968268 h 2052818"/>
                <a:gd name="connsiteX10822" fmla="*/ 1593903 w 2222569"/>
                <a:gd name="connsiteY10822" fmla="*/ 1962404 h 2052818"/>
                <a:gd name="connsiteX10823" fmla="*/ 1602049 w 2222569"/>
                <a:gd name="connsiteY10823" fmla="*/ 1960449 h 2052818"/>
                <a:gd name="connsiteX10824" fmla="*/ 1605307 w 2222569"/>
                <a:gd name="connsiteY10824" fmla="*/ 1961752 h 2052818"/>
                <a:gd name="connsiteX10825" fmla="*/ 1606284 w 2222569"/>
                <a:gd name="connsiteY10825" fmla="*/ 1966313 h 2052818"/>
                <a:gd name="connsiteX10826" fmla="*/ 1609379 w 2222569"/>
                <a:gd name="connsiteY10826" fmla="*/ 1968757 h 2052818"/>
                <a:gd name="connsiteX10827" fmla="*/ 1608891 w 2222569"/>
                <a:gd name="connsiteY10827" fmla="*/ 1966313 h 2052818"/>
                <a:gd name="connsiteX10828" fmla="*/ 1609705 w 2222569"/>
                <a:gd name="connsiteY10828" fmla="*/ 1963381 h 2052818"/>
                <a:gd name="connsiteX10829" fmla="*/ 1614755 w 2222569"/>
                <a:gd name="connsiteY10829" fmla="*/ 1962404 h 2052818"/>
                <a:gd name="connsiteX10830" fmla="*/ 1621598 w 2222569"/>
                <a:gd name="connsiteY10830" fmla="*/ 1961426 h 2052818"/>
                <a:gd name="connsiteX10831" fmla="*/ 1627300 w 2222569"/>
                <a:gd name="connsiteY10831" fmla="*/ 1958657 h 2052818"/>
                <a:gd name="connsiteX10832" fmla="*/ 1619643 w 2222569"/>
                <a:gd name="connsiteY10832" fmla="*/ 1959145 h 2052818"/>
                <a:gd name="connsiteX10833" fmla="*/ 1608891 w 2222569"/>
                <a:gd name="connsiteY10833" fmla="*/ 1958168 h 2052818"/>
                <a:gd name="connsiteX10834" fmla="*/ 1605144 w 2222569"/>
                <a:gd name="connsiteY10834" fmla="*/ 1955724 h 2052818"/>
                <a:gd name="connsiteX10835" fmla="*/ 1600419 w 2222569"/>
                <a:gd name="connsiteY10835" fmla="*/ 1955724 h 2052818"/>
                <a:gd name="connsiteX10836" fmla="*/ 1597161 w 2222569"/>
                <a:gd name="connsiteY10836" fmla="*/ 1959960 h 2052818"/>
                <a:gd name="connsiteX10837" fmla="*/ 1591297 w 2222569"/>
                <a:gd name="connsiteY10837" fmla="*/ 1958331 h 2052818"/>
                <a:gd name="connsiteX10838" fmla="*/ 1596510 w 2222569"/>
                <a:gd name="connsiteY10838" fmla="*/ 1951814 h 2052818"/>
                <a:gd name="connsiteX10839" fmla="*/ 1601560 w 2222569"/>
                <a:gd name="connsiteY10839" fmla="*/ 1950674 h 2052818"/>
                <a:gd name="connsiteX10840" fmla="*/ 1606936 w 2222569"/>
                <a:gd name="connsiteY10840" fmla="*/ 1945135 h 2052818"/>
                <a:gd name="connsiteX10841" fmla="*/ 1606936 w 2222569"/>
                <a:gd name="connsiteY10841" fmla="*/ 1942366 h 2052818"/>
                <a:gd name="connsiteX10842" fmla="*/ 1603841 w 2222569"/>
                <a:gd name="connsiteY10842" fmla="*/ 1944158 h 2052818"/>
                <a:gd name="connsiteX10843" fmla="*/ 1603352 w 2222569"/>
                <a:gd name="connsiteY10843" fmla="*/ 1941225 h 2052818"/>
                <a:gd name="connsiteX10844" fmla="*/ 1597813 w 2222569"/>
                <a:gd name="connsiteY10844" fmla="*/ 1949045 h 2052818"/>
                <a:gd name="connsiteX10845" fmla="*/ 1593577 w 2222569"/>
                <a:gd name="connsiteY10845" fmla="*/ 1950185 h 2052818"/>
                <a:gd name="connsiteX10846" fmla="*/ 1588201 w 2222569"/>
                <a:gd name="connsiteY10846" fmla="*/ 1955724 h 2052818"/>
                <a:gd name="connsiteX10847" fmla="*/ 1581685 w 2222569"/>
                <a:gd name="connsiteY10847" fmla="*/ 1956213 h 2052818"/>
                <a:gd name="connsiteX10848" fmla="*/ 1579893 w 2222569"/>
                <a:gd name="connsiteY10848" fmla="*/ 1959308 h 2052818"/>
                <a:gd name="connsiteX10849" fmla="*/ 1568489 w 2222569"/>
                <a:gd name="connsiteY10849" fmla="*/ 1962241 h 2052818"/>
                <a:gd name="connsiteX10850" fmla="*/ 1566535 w 2222569"/>
                <a:gd name="connsiteY10850" fmla="*/ 1960937 h 2052818"/>
                <a:gd name="connsiteX10851" fmla="*/ 1567675 w 2222569"/>
                <a:gd name="connsiteY10851" fmla="*/ 1958331 h 2052818"/>
                <a:gd name="connsiteX10852" fmla="*/ 1566046 w 2222569"/>
                <a:gd name="connsiteY10852" fmla="*/ 1958331 h 2052818"/>
                <a:gd name="connsiteX10853" fmla="*/ 1569141 w 2222569"/>
                <a:gd name="connsiteY10853" fmla="*/ 1952955 h 2052818"/>
                <a:gd name="connsiteX10854" fmla="*/ 1564743 w 2222569"/>
                <a:gd name="connsiteY10854" fmla="*/ 1957679 h 2052818"/>
                <a:gd name="connsiteX10855" fmla="*/ 1562136 w 2222569"/>
                <a:gd name="connsiteY10855" fmla="*/ 1962404 h 2052818"/>
                <a:gd name="connsiteX10856" fmla="*/ 1556108 w 2222569"/>
                <a:gd name="connsiteY10856" fmla="*/ 1963870 h 2052818"/>
                <a:gd name="connsiteX10857" fmla="*/ 1552198 w 2222569"/>
                <a:gd name="connsiteY10857" fmla="*/ 1962078 h 2052818"/>
                <a:gd name="connsiteX10858" fmla="*/ 1549592 w 2222569"/>
                <a:gd name="connsiteY10858" fmla="*/ 1965336 h 2052818"/>
                <a:gd name="connsiteX10859" fmla="*/ 1546660 w 2222569"/>
                <a:gd name="connsiteY10859" fmla="*/ 1964684 h 2052818"/>
                <a:gd name="connsiteX10860" fmla="*/ 1545519 w 2222569"/>
                <a:gd name="connsiteY10860" fmla="*/ 1960937 h 2052818"/>
                <a:gd name="connsiteX10861" fmla="*/ 1539817 w 2222569"/>
                <a:gd name="connsiteY10861" fmla="*/ 1961589 h 2052818"/>
                <a:gd name="connsiteX10862" fmla="*/ 1532323 w 2222569"/>
                <a:gd name="connsiteY10862" fmla="*/ 1959960 h 2052818"/>
                <a:gd name="connsiteX10863" fmla="*/ 1531998 w 2222569"/>
                <a:gd name="connsiteY10863" fmla="*/ 1959960 h 2052818"/>
                <a:gd name="connsiteX10864" fmla="*/ 1530857 w 2222569"/>
                <a:gd name="connsiteY10864" fmla="*/ 1958168 h 2052818"/>
                <a:gd name="connsiteX10865" fmla="*/ 1532161 w 2222569"/>
                <a:gd name="connsiteY10865" fmla="*/ 1955887 h 2052818"/>
                <a:gd name="connsiteX10866" fmla="*/ 1531672 w 2222569"/>
                <a:gd name="connsiteY10866" fmla="*/ 1953444 h 2052818"/>
                <a:gd name="connsiteX10867" fmla="*/ 1532161 w 2222569"/>
                <a:gd name="connsiteY10867" fmla="*/ 1950837 h 2052818"/>
                <a:gd name="connsiteX10868" fmla="*/ 1532161 w 2222569"/>
                <a:gd name="connsiteY10868" fmla="*/ 1946601 h 2052818"/>
                <a:gd name="connsiteX10869" fmla="*/ 1530206 w 2222569"/>
                <a:gd name="connsiteY10869" fmla="*/ 1943832 h 2052818"/>
                <a:gd name="connsiteX10870" fmla="*/ 1528577 w 2222569"/>
                <a:gd name="connsiteY10870" fmla="*/ 1940900 h 2052818"/>
                <a:gd name="connsiteX10871" fmla="*/ 1526296 w 2222569"/>
                <a:gd name="connsiteY10871" fmla="*/ 1940411 h 2052818"/>
                <a:gd name="connsiteX10872" fmla="*/ 1527599 w 2222569"/>
                <a:gd name="connsiteY10872" fmla="*/ 1936664 h 2052818"/>
                <a:gd name="connsiteX10873" fmla="*/ 1533138 w 2222569"/>
                <a:gd name="connsiteY10873" fmla="*/ 1904408 h 2052818"/>
                <a:gd name="connsiteX10874" fmla="*/ 1532812 w 2222569"/>
                <a:gd name="connsiteY10874" fmla="*/ 1896100 h 2052818"/>
                <a:gd name="connsiteX10875" fmla="*/ 1522875 w 2222569"/>
                <a:gd name="connsiteY10875" fmla="*/ 1886488 h 2052818"/>
                <a:gd name="connsiteX10876" fmla="*/ 1520594 w 2222569"/>
                <a:gd name="connsiteY10876" fmla="*/ 1888443 h 2052818"/>
                <a:gd name="connsiteX10877" fmla="*/ 1513589 w 2222569"/>
                <a:gd name="connsiteY10877" fmla="*/ 1886651 h 2052818"/>
                <a:gd name="connsiteX10878" fmla="*/ 1508213 w 2222569"/>
                <a:gd name="connsiteY10878" fmla="*/ 1888117 h 2052818"/>
                <a:gd name="connsiteX10879" fmla="*/ 1504629 w 2222569"/>
                <a:gd name="connsiteY10879" fmla="*/ 1884696 h 2052818"/>
                <a:gd name="connsiteX10880" fmla="*/ 1501534 w 2222569"/>
                <a:gd name="connsiteY10880" fmla="*/ 1882578 h 2052818"/>
                <a:gd name="connsiteX10881" fmla="*/ 1499904 w 2222569"/>
                <a:gd name="connsiteY10881" fmla="*/ 1883067 h 2052818"/>
                <a:gd name="connsiteX10882" fmla="*/ 1495506 w 2222569"/>
                <a:gd name="connsiteY10882" fmla="*/ 1887302 h 2052818"/>
                <a:gd name="connsiteX10883" fmla="*/ 1493551 w 2222569"/>
                <a:gd name="connsiteY10883" fmla="*/ 1891375 h 2052818"/>
                <a:gd name="connsiteX10884" fmla="*/ 1484428 w 2222569"/>
                <a:gd name="connsiteY10884" fmla="*/ 1901476 h 2052818"/>
                <a:gd name="connsiteX10885" fmla="*/ 1480030 w 2222569"/>
                <a:gd name="connsiteY10885" fmla="*/ 1907177 h 2052818"/>
                <a:gd name="connsiteX10886" fmla="*/ 1480355 w 2222569"/>
                <a:gd name="connsiteY10886" fmla="*/ 1911576 h 2052818"/>
                <a:gd name="connsiteX10887" fmla="*/ 1473839 w 2222569"/>
                <a:gd name="connsiteY10887" fmla="*/ 1914997 h 2052818"/>
                <a:gd name="connsiteX10888" fmla="*/ 1473025 w 2222569"/>
                <a:gd name="connsiteY10888" fmla="*/ 1920699 h 2052818"/>
                <a:gd name="connsiteX10889" fmla="*/ 1470744 w 2222569"/>
                <a:gd name="connsiteY10889" fmla="*/ 1926401 h 2052818"/>
                <a:gd name="connsiteX10890" fmla="*/ 1464227 w 2222569"/>
                <a:gd name="connsiteY10890" fmla="*/ 1934383 h 2052818"/>
                <a:gd name="connsiteX10891" fmla="*/ 1460969 w 2222569"/>
                <a:gd name="connsiteY10891" fmla="*/ 1935524 h 2052818"/>
                <a:gd name="connsiteX10892" fmla="*/ 1452824 w 2222569"/>
                <a:gd name="connsiteY10892" fmla="*/ 1944321 h 2052818"/>
                <a:gd name="connsiteX10893" fmla="*/ 1451520 w 2222569"/>
                <a:gd name="connsiteY10893" fmla="*/ 1948068 h 2052818"/>
                <a:gd name="connsiteX10894" fmla="*/ 1448588 w 2222569"/>
                <a:gd name="connsiteY10894" fmla="*/ 1950022 h 2052818"/>
                <a:gd name="connsiteX10895" fmla="*/ 1444027 w 2222569"/>
                <a:gd name="connsiteY10895" fmla="*/ 1948882 h 2052818"/>
                <a:gd name="connsiteX10896" fmla="*/ 1440769 w 2222569"/>
                <a:gd name="connsiteY10896" fmla="*/ 1948882 h 2052818"/>
                <a:gd name="connsiteX10897" fmla="*/ 1438488 w 2222569"/>
                <a:gd name="connsiteY10897" fmla="*/ 1950837 h 2052818"/>
                <a:gd name="connsiteX10898" fmla="*/ 1436370 w 2222569"/>
                <a:gd name="connsiteY10898" fmla="*/ 1951326 h 2052818"/>
                <a:gd name="connsiteX10899" fmla="*/ 1430668 w 2222569"/>
                <a:gd name="connsiteY10899" fmla="*/ 1956702 h 2052818"/>
                <a:gd name="connsiteX10900" fmla="*/ 1356056 w 2222569"/>
                <a:gd name="connsiteY10900" fmla="*/ 1955398 h 2052818"/>
                <a:gd name="connsiteX10901" fmla="*/ 1347096 w 2222569"/>
                <a:gd name="connsiteY10901" fmla="*/ 1956702 h 2052818"/>
                <a:gd name="connsiteX10902" fmla="*/ 1342697 w 2222569"/>
                <a:gd name="connsiteY10902" fmla="*/ 1960937 h 2052818"/>
                <a:gd name="connsiteX10903" fmla="*/ 1336344 w 2222569"/>
                <a:gd name="connsiteY10903" fmla="*/ 1963544 h 2052818"/>
                <a:gd name="connsiteX10904" fmla="*/ 1331294 w 2222569"/>
                <a:gd name="connsiteY10904" fmla="*/ 1967617 h 2052818"/>
                <a:gd name="connsiteX10905" fmla="*/ 1319890 w 2222569"/>
                <a:gd name="connsiteY10905" fmla="*/ 1978369 h 2052818"/>
                <a:gd name="connsiteX10906" fmla="*/ 1312885 w 2222569"/>
                <a:gd name="connsiteY10906" fmla="*/ 1979672 h 2052818"/>
                <a:gd name="connsiteX10907" fmla="*/ 1308161 w 2222569"/>
                <a:gd name="connsiteY10907" fmla="*/ 1983093 h 2052818"/>
                <a:gd name="connsiteX10908" fmla="*/ 1286819 w 2222569"/>
                <a:gd name="connsiteY10908" fmla="*/ 1999058 h 2052818"/>
                <a:gd name="connsiteX10909" fmla="*/ 1238598 w 2222569"/>
                <a:gd name="connsiteY10909" fmla="*/ 2013068 h 2052818"/>
                <a:gd name="connsiteX10910" fmla="*/ 1236480 w 2222569"/>
                <a:gd name="connsiteY10910" fmla="*/ 2025612 h 2052818"/>
                <a:gd name="connsiteX10911" fmla="*/ 1225403 w 2222569"/>
                <a:gd name="connsiteY10911" fmla="*/ 2029196 h 2052818"/>
                <a:gd name="connsiteX10912" fmla="*/ 1137595 w 2222569"/>
                <a:gd name="connsiteY10912" fmla="*/ 2052818 h 2052818"/>
                <a:gd name="connsiteX10913" fmla="*/ 1133196 w 2222569"/>
                <a:gd name="connsiteY10913" fmla="*/ 2045161 h 2052818"/>
                <a:gd name="connsiteX10914" fmla="*/ 1138246 w 2222569"/>
                <a:gd name="connsiteY10914" fmla="*/ 2038971 h 2052818"/>
                <a:gd name="connsiteX10915" fmla="*/ 1148021 w 2222569"/>
                <a:gd name="connsiteY10915" fmla="*/ 2034247 h 2052818"/>
                <a:gd name="connsiteX10916" fmla="*/ 1151931 w 2222569"/>
                <a:gd name="connsiteY10916" fmla="*/ 2028871 h 2052818"/>
                <a:gd name="connsiteX10917" fmla="*/ 1154700 w 2222569"/>
                <a:gd name="connsiteY10917" fmla="*/ 2023332 h 2052818"/>
                <a:gd name="connsiteX10918" fmla="*/ 1157307 w 2222569"/>
                <a:gd name="connsiteY10918" fmla="*/ 2017141 h 2052818"/>
                <a:gd name="connsiteX10919" fmla="*/ 1159424 w 2222569"/>
                <a:gd name="connsiteY10919" fmla="*/ 1982930 h 2052818"/>
                <a:gd name="connsiteX10920" fmla="*/ 1142808 w 2222569"/>
                <a:gd name="connsiteY10920" fmla="*/ 1904571 h 2052818"/>
                <a:gd name="connsiteX10921" fmla="*/ 1127169 w 2222569"/>
                <a:gd name="connsiteY10921" fmla="*/ 1892190 h 2052818"/>
                <a:gd name="connsiteX10922" fmla="*/ 1120489 w 2222569"/>
                <a:gd name="connsiteY10922" fmla="*/ 1884044 h 2052818"/>
                <a:gd name="connsiteX10923" fmla="*/ 1018345 w 2222569"/>
                <a:gd name="connsiteY10923" fmla="*/ 1836149 h 2052818"/>
                <a:gd name="connsiteX10924" fmla="*/ 1014435 w 2222569"/>
                <a:gd name="connsiteY10924" fmla="*/ 1833380 h 2052818"/>
                <a:gd name="connsiteX10925" fmla="*/ 1008408 w 2222569"/>
                <a:gd name="connsiteY10925" fmla="*/ 1832076 h 2052818"/>
                <a:gd name="connsiteX10926" fmla="*/ 1005801 w 2222569"/>
                <a:gd name="connsiteY10926" fmla="*/ 1829633 h 2052818"/>
                <a:gd name="connsiteX10927" fmla="*/ 993746 w 2222569"/>
                <a:gd name="connsiteY10927" fmla="*/ 1828818 h 2052818"/>
                <a:gd name="connsiteX10928" fmla="*/ 991791 w 2222569"/>
                <a:gd name="connsiteY10928" fmla="*/ 1824582 h 2052818"/>
                <a:gd name="connsiteX10929" fmla="*/ 989184 w 2222569"/>
                <a:gd name="connsiteY10929" fmla="*/ 1822139 h 2052818"/>
                <a:gd name="connsiteX10930" fmla="*/ 985112 w 2222569"/>
                <a:gd name="connsiteY10930" fmla="*/ 1824745 h 2052818"/>
                <a:gd name="connsiteX10931" fmla="*/ 976803 w 2222569"/>
                <a:gd name="connsiteY10931" fmla="*/ 1824745 h 2052818"/>
                <a:gd name="connsiteX10932" fmla="*/ 972893 w 2222569"/>
                <a:gd name="connsiteY10932" fmla="*/ 1823116 h 2052818"/>
                <a:gd name="connsiteX10933" fmla="*/ 969309 w 2222569"/>
                <a:gd name="connsiteY10933" fmla="*/ 1819206 h 2052818"/>
                <a:gd name="connsiteX10934" fmla="*/ 964259 w 2222569"/>
                <a:gd name="connsiteY10934" fmla="*/ 1817740 h 2052818"/>
                <a:gd name="connsiteX10935" fmla="*/ 955462 w 2222569"/>
                <a:gd name="connsiteY10935" fmla="*/ 1814971 h 2052818"/>
                <a:gd name="connsiteX10936" fmla="*/ 952856 w 2222569"/>
                <a:gd name="connsiteY10936" fmla="*/ 1809269 h 2052818"/>
                <a:gd name="connsiteX10937" fmla="*/ 949597 w 2222569"/>
                <a:gd name="connsiteY10937" fmla="*/ 1809269 h 2052818"/>
                <a:gd name="connsiteX10938" fmla="*/ 943570 w 2222569"/>
                <a:gd name="connsiteY10938" fmla="*/ 1804545 h 2052818"/>
                <a:gd name="connsiteX10939" fmla="*/ 938845 w 2222569"/>
                <a:gd name="connsiteY10939" fmla="*/ 1805033 h 2052818"/>
                <a:gd name="connsiteX10940" fmla="*/ 934936 w 2222569"/>
                <a:gd name="connsiteY10940" fmla="*/ 1803730 h 2052818"/>
                <a:gd name="connsiteX10941" fmla="*/ 930211 w 2222569"/>
                <a:gd name="connsiteY10941" fmla="*/ 1805033 h 2052818"/>
                <a:gd name="connsiteX10942" fmla="*/ 928256 w 2222569"/>
                <a:gd name="connsiteY10942" fmla="*/ 1805522 h 2052818"/>
                <a:gd name="connsiteX10943" fmla="*/ 925813 w 2222569"/>
                <a:gd name="connsiteY10943" fmla="*/ 1802264 h 2052818"/>
                <a:gd name="connsiteX10944" fmla="*/ 920437 w 2222569"/>
                <a:gd name="connsiteY10944" fmla="*/ 1800798 h 2052818"/>
                <a:gd name="connsiteX10945" fmla="*/ 919622 w 2222569"/>
                <a:gd name="connsiteY10945" fmla="*/ 1799494 h 2052818"/>
                <a:gd name="connsiteX10946" fmla="*/ 914409 w 2222569"/>
                <a:gd name="connsiteY10946" fmla="*/ 1797702 h 2052818"/>
                <a:gd name="connsiteX10947" fmla="*/ 913432 w 2222569"/>
                <a:gd name="connsiteY10947" fmla="*/ 1796888 h 2052818"/>
                <a:gd name="connsiteX10948" fmla="*/ 910011 w 2222569"/>
                <a:gd name="connsiteY10948" fmla="*/ 1793304 h 2052818"/>
                <a:gd name="connsiteX10949" fmla="*/ 909522 w 2222569"/>
                <a:gd name="connsiteY10949" fmla="*/ 1791349 h 2052818"/>
                <a:gd name="connsiteX10950" fmla="*/ 903820 w 2222569"/>
                <a:gd name="connsiteY10950" fmla="*/ 1786625 h 2052818"/>
                <a:gd name="connsiteX10951" fmla="*/ 897955 w 2222569"/>
                <a:gd name="connsiteY10951" fmla="*/ 1786625 h 2052818"/>
                <a:gd name="connsiteX10952" fmla="*/ 893068 w 2222569"/>
                <a:gd name="connsiteY10952" fmla="*/ 1786299 h 2052818"/>
                <a:gd name="connsiteX10953" fmla="*/ 228887 w 2222569"/>
                <a:gd name="connsiteY10953" fmla="*/ 1719995 h 2052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  <a:cxn ang="0">
                  <a:pos x="connsiteX1317" y="connsiteY1317"/>
                </a:cxn>
                <a:cxn ang="0">
                  <a:pos x="connsiteX1318" y="connsiteY1318"/>
                </a:cxn>
                <a:cxn ang="0">
                  <a:pos x="connsiteX1319" y="connsiteY1319"/>
                </a:cxn>
                <a:cxn ang="0">
                  <a:pos x="connsiteX1320" y="connsiteY1320"/>
                </a:cxn>
                <a:cxn ang="0">
                  <a:pos x="connsiteX1321" y="connsiteY1321"/>
                </a:cxn>
                <a:cxn ang="0">
                  <a:pos x="connsiteX1322" y="connsiteY1322"/>
                </a:cxn>
                <a:cxn ang="0">
                  <a:pos x="connsiteX1323" y="connsiteY1323"/>
                </a:cxn>
                <a:cxn ang="0">
                  <a:pos x="connsiteX1324" y="connsiteY1324"/>
                </a:cxn>
                <a:cxn ang="0">
                  <a:pos x="connsiteX1325" y="connsiteY1325"/>
                </a:cxn>
                <a:cxn ang="0">
                  <a:pos x="connsiteX1326" y="connsiteY1326"/>
                </a:cxn>
                <a:cxn ang="0">
                  <a:pos x="connsiteX1327" y="connsiteY1327"/>
                </a:cxn>
                <a:cxn ang="0">
                  <a:pos x="connsiteX1328" y="connsiteY1328"/>
                </a:cxn>
                <a:cxn ang="0">
                  <a:pos x="connsiteX1329" y="connsiteY1329"/>
                </a:cxn>
                <a:cxn ang="0">
                  <a:pos x="connsiteX1330" y="connsiteY1330"/>
                </a:cxn>
                <a:cxn ang="0">
                  <a:pos x="connsiteX1331" y="connsiteY1331"/>
                </a:cxn>
                <a:cxn ang="0">
                  <a:pos x="connsiteX1332" y="connsiteY1332"/>
                </a:cxn>
                <a:cxn ang="0">
                  <a:pos x="connsiteX1333" y="connsiteY1333"/>
                </a:cxn>
                <a:cxn ang="0">
                  <a:pos x="connsiteX1334" y="connsiteY1334"/>
                </a:cxn>
                <a:cxn ang="0">
                  <a:pos x="connsiteX1335" y="connsiteY1335"/>
                </a:cxn>
                <a:cxn ang="0">
                  <a:pos x="connsiteX1336" y="connsiteY1336"/>
                </a:cxn>
                <a:cxn ang="0">
                  <a:pos x="connsiteX1337" y="connsiteY1337"/>
                </a:cxn>
                <a:cxn ang="0">
                  <a:pos x="connsiteX1338" y="connsiteY1338"/>
                </a:cxn>
                <a:cxn ang="0">
                  <a:pos x="connsiteX1339" y="connsiteY1339"/>
                </a:cxn>
                <a:cxn ang="0">
                  <a:pos x="connsiteX1340" y="connsiteY1340"/>
                </a:cxn>
                <a:cxn ang="0">
                  <a:pos x="connsiteX1341" y="connsiteY1341"/>
                </a:cxn>
                <a:cxn ang="0">
                  <a:pos x="connsiteX1342" y="connsiteY1342"/>
                </a:cxn>
                <a:cxn ang="0">
                  <a:pos x="connsiteX1343" y="connsiteY1343"/>
                </a:cxn>
                <a:cxn ang="0">
                  <a:pos x="connsiteX1344" y="connsiteY1344"/>
                </a:cxn>
                <a:cxn ang="0">
                  <a:pos x="connsiteX1345" y="connsiteY1345"/>
                </a:cxn>
                <a:cxn ang="0">
                  <a:pos x="connsiteX1346" y="connsiteY1346"/>
                </a:cxn>
                <a:cxn ang="0">
                  <a:pos x="connsiteX1347" y="connsiteY1347"/>
                </a:cxn>
                <a:cxn ang="0">
                  <a:pos x="connsiteX1348" y="connsiteY1348"/>
                </a:cxn>
                <a:cxn ang="0">
                  <a:pos x="connsiteX1349" y="connsiteY1349"/>
                </a:cxn>
                <a:cxn ang="0">
                  <a:pos x="connsiteX1350" y="connsiteY1350"/>
                </a:cxn>
                <a:cxn ang="0">
                  <a:pos x="connsiteX1351" y="connsiteY1351"/>
                </a:cxn>
                <a:cxn ang="0">
                  <a:pos x="connsiteX1352" y="connsiteY1352"/>
                </a:cxn>
                <a:cxn ang="0">
                  <a:pos x="connsiteX1353" y="connsiteY1353"/>
                </a:cxn>
                <a:cxn ang="0">
                  <a:pos x="connsiteX1354" y="connsiteY1354"/>
                </a:cxn>
                <a:cxn ang="0">
                  <a:pos x="connsiteX1355" y="connsiteY1355"/>
                </a:cxn>
                <a:cxn ang="0">
                  <a:pos x="connsiteX1356" y="connsiteY1356"/>
                </a:cxn>
                <a:cxn ang="0">
                  <a:pos x="connsiteX1357" y="connsiteY1357"/>
                </a:cxn>
                <a:cxn ang="0">
                  <a:pos x="connsiteX1358" y="connsiteY1358"/>
                </a:cxn>
                <a:cxn ang="0">
                  <a:pos x="connsiteX1359" y="connsiteY1359"/>
                </a:cxn>
                <a:cxn ang="0">
                  <a:pos x="connsiteX1360" y="connsiteY1360"/>
                </a:cxn>
                <a:cxn ang="0">
                  <a:pos x="connsiteX1361" y="connsiteY1361"/>
                </a:cxn>
                <a:cxn ang="0">
                  <a:pos x="connsiteX1362" y="connsiteY1362"/>
                </a:cxn>
                <a:cxn ang="0">
                  <a:pos x="connsiteX1363" y="connsiteY1363"/>
                </a:cxn>
                <a:cxn ang="0">
                  <a:pos x="connsiteX1364" y="connsiteY1364"/>
                </a:cxn>
                <a:cxn ang="0">
                  <a:pos x="connsiteX1365" y="connsiteY1365"/>
                </a:cxn>
                <a:cxn ang="0">
                  <a:pos x="connsiteX1366" y="connsiteY1366"/>
                </a:cxn>
                <a:cxn ang="0">
                  <a:pos x="connsiteX1367" y="connsiteY1367"/>
                </a:cxn>
                <a:cxn ang="0">
                  <a:pos x="connsiteX1368" y="connsiteY1368"/>
                </a:cxn>
                <a:cxn ang="0">
                  <a:pos x="connsiteX1369" y="connsiteY1369"/>
                </a:cxn>
                <a:cxn ang="0">
                  <a:pos x="connsiteX1370" y="connsiteY1370"/>
                </a:cxn>
                <a:cxn ang="0">
                  <a:pos x="connsiteX1371" y="connsiteY1371"/>
                </a:cxn>
                <a:cxn ang="0">
                  <a:pos x="connsiteX1372" y="connsiteY1372"/>
                </a:cxn>
                <a:cxn ang="0">
                  <a:pos x="connsiteX1373" y="connsiteY1373"/>
                </a:cxn>
                <a:cxn ang="0">
                  <a:pos x="connsiteX1374" y="connsiteY1374"/>
                </a:cxn>
                <a:cxn ang="0">
                  <a:pos x="connsiteX1375" y="connsiteY1375"/>
                </a:cxn>
                <a:cxn ang="0">
                  <a:pos x="connsiteX1376" y="connsiteY1376"/>
                </a:cxn>
                <a:cxn ang="0">
                  <a:pos x="connsiteX1377" y="connsiteY1377"/>
                </a:cxn>
                <a:cxn ang="0">
                  <a:pos x="connsiteX1378" y="connsiteY1378"/>
                </a:cxn>
                <a:cxn ang="0">
                  <a:pos x="connsiteX1379" y="connsiteY1379"/>
                </a:cxn>
                <a:cxn ang="0">
                  <a:pos x="connsiteX1380" y="connsiteY1380"/>
                </a:cxn>
                <a:cxn ang="0">
                  <a:pos x="connsiteX1381" y="connsiteY1381"/>
                </a:cxn>
                <a:cxn ang="0">
                  <a:pos x="connsiteX1382" y="connsiteY1382"/>
                </a:cxn>
                <a:cxn ang="0">
                  <a:pos x="connsiteX1383" y="connsiteY1383"/>
                </a:cxn>
                <a:cxn ang="0">
                  <a:pos x="connsiteX1384" y="connsiteY1384"/>
                </a:cxn>
                <a:cxn ang="0">
                  <a:pos x="connsiteX1385" y="connsiteY1385"/>
                </a:cxn>
                <a:cxn ang="0">
                  <a:pos x="connsiteX1386" y="connsiteY1386"/>
                </a:cxn>
                <a:cxn ang="0">
                  <a:pos x="connsiteX1387" y="connsiteY1387"/>
                </a:cxn>
                <a:cxn ang="0">
                  <a:pos x="connsiteX1388" y="connsiteY1388"/>
                </a:cxn>
                <a:cxn ang="0">
                  <a:pos x="connsiteX1389" y="connsiteY1389"/>
                </a:cxn>
                <a:cxn ang="0">
                  <a:pos x="connsiteX1390" y="connsiteY1390"/>
                </a:cxn>
                <a:cxn ang="0">
                  <a:pos x="connsiteX1391" y="connsiteY1391"/>
                </a:cxn>
                <a:cxn ang="0">
                  <a:pos x="connsiteX1392" y="connsiteY1392"/>
                </a:cxn>
                <a:cxn ang="0">
                  <a:pos x="connsiteX1393" y="connsiteY1393"/>
                </a:cxn>
                <a:cxn ang="0">
                  <a:pos x="connsiteX1394" y="connsiteY1394"/>
                </a:cxn>
                <a:cxn ang="0">
                  <a:pos x="connsiteX1395" y="connsiteY1395"/>
                </a:cxn>
                <a:cxn ang="0">
                  <a:pos x="connsiteX1396" y="connsiteY1396"/>
                </a:cxn>
                <a:cxn ang="0">
                  <a:pos x="connsiteX1397" y="connsiteY1397"/>
                </a:cxn>
                <a:cxn ang="0">
                  <a:pos x="connsiteX1398" y="connsiteY1398"/>
                </a:cxn>
                <a:cxn ang="0">
                  <a:pos x="connsiteX1399" y="connsiteY1399"/>
                </a:cxn>
                <a:cxn ang="0">
                  <a:pos x="connsiteX1400" y="connsiteY1400"/>
                </a:cxn>
                <a:cxn ang="0">
                  <a:pos x="connsiteX1401" y="connsiteY1401"/>
                </a:cxn>
                <a:cxn ang="0">
                  <a:pos x="connsiteX1402" y="connsiteY1402"/>
                </a:cxn>
                <a:cxn ang="0">
                  <a:pos x="connsiteX1403" y="connsiteY1403"/>
                </a:cxn>
                <a:cxn ang="0">
                  <a:pos x="connsiteX1404" y="connsiteY1404"/>
                </a:cxn>
                <a:cxn ang="0">
                  <a:pos x="connsiteX1405" y="connsiteY1405"/>
                </a:cxn>
                <a:cxn ang="0">
                  <a:pos x="connsiteX1406" y="connsiteY1406"/>
                </a:cxn>
                <a:cxn ang="0">
                  <a:pos x="connsiteX1407" y="connsiteY1407"/>
                </a:cxn>
                <a:cxn ang="0">
                  <a:pos x="connsiteX1408" y="connsiteY1408"/>
                </a:cxn>
                <a:cxn ang="0">
                  <a:pos x="connsiteX1409" y="connsiteY1409"/>
                </a:cxn>
                <a:cxn ang="0">
                  <a:pos x="connsiteX1410" y="connsiteY1410"/>
                </a:cxn>
                <a:cxn ang="0">
                  <a:pos x="connsiteX1411" y="connsiteY1411"/>
                </a:cxn>
                <a:cxn ang="0">
                  <a:pos x="connsiteX1412" y="connsiteY1412"/>
                </a:cxn>
                <a:cxn ang="0">
                  <a:pos x="connsiteX1413" y="connsiteY1413"/>
                </a:cxn>
                <a:cxn ang="0">
                  <a:pos x="connsiteX1414" y="connsiteY1414"/>
                </a:cxn>
                <a:cxn ang="0">
                  <a:pos x="connsiteX1415" y="connsiteY1415"/>
                </a:cxn>
                <a:cxn ang="0">
                  <a:pos x="connsiteX1416" y="connsiteY1416"/>
                </a:cxn>
                <a:cxn ang="0">
                  <a:pos x="connsiteX1417" y="connsiteY1417"/>
                </a:cxn>
                <a:cxn ang="0">
                  <a:pos x="connsiteX1418" y="connsiteY1418"/>
                </a:cxn>
                <a:cxn ang="0">
                  <a:pos x="connsiteX1419" y="connsiteY1419"/>
                </a:cxn>
                <a:cxn ang="0">
                  <a:pos x="connsiteX1420" y="connsiteY1420"/>
                </a:cxn>
                <a:cxn ang="0">
                  <a:pos x="connsiteX1421" y="connsiteY1421"/>
                </a:cxn>
                <a:cxn ang="0">
                  <a:pos x="connsiteX1422" y="connsiteY1422"/>
                </a:cxn>
                <a:cxn ang="0">
                  <a:pos x="connsiteX1423" y="connsiteY1423"/>
                </a:cxn>
                <a:cxn ang="0">
                  <a:pos x="connsiteX1424" y="connsiteY1424"/>
                </a:cxn>
                <a:cxn ang="0">
                  <a:pos x="connsiteX1425" y="connsiteY1425"/>
                </a:cxn>
                <a:cxn ang="0">
                  <a:pos x="connsiteX1426" y="connsiteY1426"/>
                </a:cxn>
                <a:cxn ang="0">
                  <a:pos x="connsiteX1427" y="connsiteY1427"/>
                </a:cxn>
                <a:cxn ang="0">
                  <a:pos x="connsiteX1428" y="connsiteY1428"/>
                </a:cxn>
                <a:cxn ang="0">
                  <a:pos x="connsiteX1429" y="connsiteY1429"/>
                </a:cxn>
                <a:cxn ang="0">
                  <a:pos x="connsiteX1430" y="connsiteY1430"/>
                </a:cxn>
                <a:cxn ang="0">
                  <a:pos x="connsiteX1431" y="connsiteY1431"/>
                </a:cxn>
                <a:cxn ang="0">
                  <a:pos x="connsiteX1432" y="connsiteY1432"/>
                </a:cxn>
                <a:cxn ang="0">
                  <a:pos x="connsiteX1433" y="connsiteY1433"/>
                </a:cxn>
                <a:cxn ang="0">
                  <a:pos x="connsiteX1434" y="connsiteY1434"/>
                </a:cxn>
                <a:cxn ang="0">
                  <a:pos x="connsiteX1435" y="connsiteY1435"/>
                </a:cxn>
                <a:cxn ang="0">
                  <a:pos x="connsiteX1436" y="connsiteY1436"/>
                </a:cxn>
                <a:cxn ang="0">
                  <a:pos x="connsiteX1437" y="connsiteY1437"/>
                </a:cxn>
                <a:cxn ang="0">
                  <a:pos x="connsiteX1438" y="connsiteY1438"/>
                </a:cxn>
                <a:cxn ang="0">
                  <a:pos x="connsiteX1439" y="connsiteY1439"/>
                </a:cxn>
                <a:cxn ang="0">
                  <a:pos x="connsiteX1440" y="connsiteY1440"/>
                </a:cxn>
                <a:cxn ang="0">
                  <a:pos x="connsiteX1441" y="connsiteY1441"/>
                </a:cxn>
                <a:cxn ang="0">
                  <a:pos x="connsiteX1442" y="connsiteY1442"/>
                </a:cxn>
                <a:cxn ang="0">
                  <a:pos x="connsiteX1443" y="connsiteY1443"/>
                </a:cxn>
                <a:cxn ang="0">
                  <a:pos x="connsiteX1444" y="connsiteY1444"/>
                </a:cxn>
                <a:cxn ang="0">
                  <a:pos x="connsiteX1445" y="connsiteY1445"/>
                </a:cxn>
                <a:cxn ang="0">
                  <a:pos x="connsiteX1446" y="connsiteY1446"/>
                </a:cxn>
                <a:cxn ang="0">
                  <a:pos x="connsiteX1447" y="connsiteY1447"/>
                </a:cxn>
                <a:cxn ang="0">
                  <a:pos x="connsiteX1448" y="connsiteY1448"/>
                </a:cxn>
                <a:cxn ang="0">
                  <a:pos x="connsiteX1449" y="connsiteY1449"/>
                </a:cxn>
                <a:cxn ang="0">
                  <a:pos x="connsiteX1450" y="connsiteY1450"/>
                </a:cxn>
                <a:cxn ang="0">
                  <a:pos x="connsiteX1451" y="connsiteY1451"/>
                </a:cxn>
                <a:cxn ang="0">
                  <a:pos x="connsiteX1452" y="connsiteY1452"/>
                </a:cxn>
                <a:cxn ang="0">
                  <a:pos x="connsiteX1453" y="connsiteY1453"/>
                </a:cxn>
                <a:cxn ang="0">
                  <a:pos x="connsiteX1454" y="connsiteY1454"/>
                </a:cxn>
                <a:cxn ang="0">
                  <a:pos x="connsiteX1455" y="connsiteY1455"/>
                </a:cxn>
                <a:cxn ang="0">
                  <a:pos x="connsiteX1456" y="connsiteY1456"/>
                </a:cxn>
                <a:cxn ang="0">
                  <a:pos x="connsiteX1457" y="connsiteY1457"/>
                </a:cxn>
                <a:cxn ang="0">
                  <a:pos x="connsiteX1458" y="connsiteY1458"/>
                </a:cxn>
                <a:cxn ang="0">
                  <a:pos x="connsiteX1459" y="connsiteY1459"/>
                </a:cxn>
                <a:cxn ang="0">
                  <a:pos x="connsiteX1460" y="connsiteY1460"/>
                </a:cxn>
                <a:cxn ang="0">
                  <a:pos x="connsiteX1461" y="connsiteY1461"/>
                </a:cxn>
                <a:cxn ang="0">
                  <a:pos x="connsiteX1462" y="connsiteY1462"/>
                </a:cxn>
                <a:cxn ang="0">
                  <a:pos x="connsiteX1463" y="connsiteY1463"/>
                </a:cxn>
                <a:cxn ang="0">
                  <a:pos x="connsiteX1464" y="connsiteY1464"/>
                </a:cxn>
                <a:cxn ang="0">
                  <a:pos x="connsiteX1465" y="connsiteY1465"/>
                </a:cxn>
                <a:cxn ang="0">
                  <a:pos x="connsiteX1466" y="connsiteY1466"/>
                </a:cxn>
                <a:cxn ang="0">
                  <a:pos x="connsiteX1467" y="connsiteY1467"/>
                </a:cxn>
                <a:cxn ang="0">
                  <a:pos x="connsiteX1468" y="connsiteY1468"/>
                </a:cxn>
                <a:cxn ang="0">
                  <a:pos x="connsiteX1469" y="connsiteY1469"/>
                </a:cxn>
                <a:cxn ang="0">
                  <a:pos x="connsiteX1470" y="connsiteY1470"/>
                </a:cxn>
                <a:cxn ang="0">
                  <a:pos x="connsiteX1471" y="connsiteY1471"/>
                </a:cxn>
                <a:cxn ang="0">
                  <a:pos x="connsiteX1472" y="connsiteY1472"/>
                </a:cxn>
                <a:cxn ang="0">
                  <a:pos x="connsiteX1473" y="connsiteY1473"/>
                </a:cxn>
                <a:cxn ang="0">
                  <a:pos x="connsiteX1474" y="connsiteY1474"/>
                </a:cxn>
                <a:cxn ang="0">
                  <a:pos x="connsiteX1475" y="connsiteY1475"/>
                </a:cxn>
                <a:cxn ang="0">
                  <a:pos x="connsiteX1476" y="connsiteY1476"/>
                </a:cxn>
                <a:cxn ang="0">
                  <a:pos x="connsiteX1477" y="connsiteY1477"/>
                </a:cxn>
                <a:cxn ang="0">
                  <a:pos x="connsiteX1478" y="connsiteY1478"/>
                </a:cxn>
                <a:cxn ang="0">
                  <a:pos x="connsiteX1479" y="connsiteY1479"/>
                </a:cxn>
                <a:cxn ang="0">
                  <a:pos x="connsiteX1480" y="connsiteY1480"/>
                </a:cxn>
                <a:cxn ang="0">
                  <a:pos x="connsiteX1481" y="connsiteY1481"/>
                </a:cxn>
                <a:cxn ang="0">
                  <a:pos x="connsiteX1482" y="connsiteY1482"/>
                </a:cxn>
                <a:cxn ang="0">
                  <a:pos x="connsiteX1483" y="connsiteY1483"/>
                </a:cxn>
                <a:cxn ang="0">
                  <a:pos x="connsiteX1484" y="connsiteY1484"/>
                </a:cxn>
                <a:cxn ang="0">
                  <a:pos x="connsiteX1485" y="connsiteY1485"/>
                </a:cxn>
                <a:cxn ang="0">
                  <a:pos x="connsiteX1486" y="connsiteY1486"/>
                </a:cxn>
                <a:cxn ang="0">
                  <a:pos x="connsiteX1487" y="connsiteY1487"/>
                </a:cxn>
                <a:cxn ang="0">
                  <a:pos x="connsiteX1488" y="connsiteY1488"/>
                </a:cxn>
                <a:cxn ang="0">
                  <a:pos x="connsiteX1489" y="connsiteY1489"/>
                </a:cxn>
                <a:cxn ang="0">
                  <a:pos x="connsiteX1490" y="connsiteY1490"/>
                </a:cxn>
                <a:cxn ang="0">
                  <a:pos x="connsiteX1491" y="connsiteY1491"/>
                </a:cxn>
                <a:cxn ang="0">
                  <a:pos x="connsiteX1492" y="connsiteY1492"/>
                </a:cxn>
                <a:cxn ang="0">
                  <a:pos x="connsiteX1493" y="connsiteY1493"/>
                </a:cxn>
                <a:cxn ang="0">
                  <a:pos x="connsiteX1494" y="connsiteY1494"/>
                </a:cxn>
                <a:cxn ang="0">
                  <a:pos x="connsiteX1495" y="connsiteY1495"/>
                </a:cxn>
                <a:cxn ang="0">
                  <a:pos x="connsiteX1496" y="connsiteY1496"/>
                </a:cxn>
                <a:cxn ang="0">
                  <a:pos x="connsiteX1497" y="connsiteY1497"/>
                </a:cxn>
                <a:cxn ang="0">
                  <a:pos x="connsiteX1498" y="connsiteY1498"/>
                </a:cxn>
                <a:cxn ang="0">
                  <a:pos x="connsiteX1499" y="connsiteY1499"/>
                </a:cxn>
                <a:cxn ang="0">
                  <a:pos x="connsiteX1500" y="connsiteY1500"/>
                </a:cxn>
                <a:cxn ang="0">
                  <a:pos x="connsiteX1501" y="connsiteY1501"/>
                </a:cxn>
                <a:cxn ang="0">
                  <a:pos x="connsiteX1502" y="connsiteY1502"/>
                </a:cxn>
                <a:cxn ang="0">
                  <a:pos x="connsiteX1503" y="connsiteY1503"/>
                </a:cxn>
                <a:cxn ang="0">
                  <a:pos x="connsiteX1504" y="connsiteY1504"/>
                </a:cxn>
                <a:cxn ang="0">
                  <a:pos x="connsiteX1505" y="connsiteY1505"/>
                </a:cxn>
                <a:cxn ang="0">
                  <a:pos x="connsiteX1506" y="connsiteY1506"/>
                </a:cxn>
                <a:cxn ang="0">
                  <a:pos x="connsiteX1507" y="connsiteY1507"/>
                </a:cxn>
                <a:cxn ang="0">
                  <a:pos x="connsiteX1508" y="connsiteY1508"/>
                </a:cxn>
                <a:cxn ang="0">
                  <a:pos x="connsiteX1509" y="connsiteY1509"/>
                </a:cxn>
                <a:cxn ang="0">
                  <a:pos x="connsiteX1510" y="connsiteY1510"/>
                </a:cxn>
                <a:cxn ang="0">
                  <a:pos x="connsiteX1511" y="connsiteY1511"/>
                </a:cxn>
                <a:cxn ang="0">
                  <a:pos x="connsiteX1512" y="connsiteY1512"/>
                </a:cxn>
                <a:cxn ang="0">
                  <a:pos x="connsiteX1513" y="connsiteY1513"/>
                </a:cxn>
                <a:cxn ang="0">
                  <a:pos x="connsiteX1514" y="connsiteY1514"/>
                </a:cxn>
                <a:cxn ang="0">
                  <a:pos x="connsiteX1515" y="connsiteY1515"/>
                </a:cxn>
                <a:cxn ang="0">
                  <a:pos x="connsiteX1516" y="connsiteY1516"/>
                </a:cxn>
                <a:cxn ang="0">
                  <a:pos x="connsiteX1517" y="connsiteY1517"/>
                </a:cxn>
                <a:cxn ang="0">
                  <a:pos x="connsiteX1518" y="connsiteY1518"/>
                </a:cxn>
                <a:cxn ang="0">
                  <a:pos x="connsiteX1519" y="connsiteY1519"/>
                </a:cxn>
                <a:cxn ang="0">
                  <a:pos x="connsiteX1520" y="connsiteY1520"/>
                </a:cxn>
                <a:cxn ang="0">
                  <a:pos x="connsiteX1521" y="connsiteY1521"/>
                </a:cxn>
                <a:cxn ang="0">
                  <a:pos x="connsiteX1522" y="connsiteY1522"/>
                </a:cxn>
                <a:cxn ang="0">
                  <a:pos x="connsiteX1523" y="connsiteY1523"/>
                </a:cxn>
                <a:cxn ang="0">
                  <a:pos x="connsiteX1524" y="connsiteY1524"/>
                </a:cxn>
                <a:cxn ang="0">
                  <a:pos x="connsiteX1525" y="connsiteY1525"/>
                </a:cxn>
                <a:cxn ang="0">
                  <a:pos x="connsiteX1526" y="connsiteY1526"/>
                </a:cxn>
                <a:cxn ang="0">
                  <a:pos x="connsiteX1527" y="connsiteY1527"/>
                </a:cxn>
                <a:cxn ang="0">
                  <a:pos x="connsiteX1528" y="connsiteY1528"/>
                </a:cxn>
                <a:cxn ang="0">
                  <a:pos x="connsiteX1529" y="connsiteY1529"/>
                </a:cxn>
                <a:cxn ang="0">
                  <a:pos x="connsiteX1530" y="connsiteY1530"/>
                </a:cxn>
                <a:cxn ang="0">
                  <a:pos x="connsiteX1531" y="connsiteY1531"/>
                </a:cxn>
                <a:cxn ang="0">
                  <a:pos x="connsiteX1532" y="connsiteY1532"/>
                </a:cxn>
                <a:cxn ang="0">
                  <a:pos x="connsiteX1533" y="connsiteY1533"/>
                </a:cxn>
                <a:cxn ang="0">
                  <a:pos x="connsiteX1534" y="connsiteY1534"/>
                </a:cxn>
                <a:cxn ang="0">
                  <a:pos x="connsiteX1535" y="connsiteY1535"/>
                </a:cxn>
                <a:cxn ang="0">
                  <a:pos x="connsiteX1536" y="connsiteY1536"/>
                </a:cxn>
                <a:cxn ang="0">
                  <a:pos x="connsiteX1537" y="connsiteY1537"/>
                </a:cxn>
                <a:cxn ang="0">
                  <a:pos x="connsiteX1538" y="connsiteY1538"/>
                </a:cxn>
                <a:cxn ang="0">
                  <a:pos x="connsiteX1539" y="connsiteY1539"/>
                </a:cxn>
                <a:cxn ang="0">
                  <a:pos x="connsiteX1540" y="connsiteY1540"/>
                </a:cxn>
                <a:cxn ang="0">
                  <a:pos x="connsiteX1541" y="connsiteY1541"/>
                </a:cxn>
                <a:cxn ang="0">
                  <a:pos x="connsiteX1542" y="connsiteY1542"/>
                </a:cxn>
                <a:cxn ang="0">
                  <a:pos x="connsiteX1543" y="connsiteY1543"/>
                </a:cxn>
                <a:cxn ang="0">
                  <a:pos x="connsiteX1544" y="connsiteY1544"/>
                </a:cxn>
                <a:cxn ang="0">
                  <a:pos x="connsiteX1545" y="connsiteY1545"/>
                </a:cxn>
                <a:cxn ang="0">
                  <a:pos x="connsiteX1546" y="connsiteY1546"/>
                </a:cxn>
                <a:cxn ang="0">
                  <a:pos x="connsiteX1547" y="connsiteY1547"/>
                </a:cxn>
                <a:cxn ang="0">
                  <a:pos x="connsiteX1548" y="connsiteY1548"/>
                </a:cxn>
                <a:cxn ang="0">
                  <a:pos x="connsiteX1549" y="connsiteY1549"/>
                </a:cxn>
                <a:cxn ang="0">
                  <a:pos x="connsiteX1550" y="connsiteY1550"/>
                </a:cxn>
                <a:cxn ang="0">
                  <a:pos x="connsiteX1551" y="connsiteY1551"/>
                </a:cxn>
                <a:cxn ang="0">
                  <a:pos x="connsiteX1552" y="connsiteY1552"/>
                </a:cxn>
                <a:cxn ang="0">
                  <a:pos x="connsiteX1553" y="connsiteY1553"/>
                </a:cxn>
                <a:cxn ang="0">
                  <a:pos x="connsiteX1554" y="connsiteY1554"/>
                </a:cxn>
                <a:cxn ang="0">
                  <a:pos x="connsiteX1555" y="connsiteY1555"/>
                </a:cxn>
                <a:cxn ang="0">
                  <a:pos x="connsiteX1556" y="connsiteY1556"/>
                </a:cxn>
                <a:cxn ang="0">
                  <a:pos x="connsiteX1557" y="connsiteY1557"/>
                </a:cxn>
                <a:cxn ang="0">
                  <a:pos x="connsiteX1558" y="connsiteY1558"/>
                </a:cxn>
                <a:cxn ang="0">
                  <a:pos x="connsiteX1559" y="connsiteY1559"/>
                </a:cxn>
                <a:cxn ang="0">
                  <a:pos x="connsiteX1560" y="connsiteY1560"/>
                </a:cxn>
                <a:cxn ang="0">
                  <a:pos x="connsiteX1561" y="connsiteY1561"/>
                </a:cxn>
                <a:cxn ang="0">
                  <a:pos x="connsiteX1562" y="connsiteY1562"/>
                </a:cxn>
                <a:cxn ang="0">
                  <a:pos x="connsiteX1563" y="connsiteY1563"/>
                </a:cxn>
                <a:cxn ang="0">
                  <a:pos x="connsiteX1564" y="connsiteY1564"/>
                </a:cxn>
                <a:cxn ang="0">
                  <a:pos x="connsiteX1565" y="connsiteY1565"/>
                </a:cxn>
                <a:cxn ang="0">
                  <a:pos x="connsiteX1566" y="connsiteY1566"/>
                </a:cxn>
                <a:cxn ang="0">
                  <a:pos x="connsiteX1567" y="connsiteY1567"/>
                </a:cxn>
                <a:cxn ang="0">
                  <a:pos x="connsiteX1568" y="connsiteY1568"/>
                </a:cxn>
                <a:cxn ang="0">
                  <a:pos x="connsiteX1569" y="connsiteY1569"/>
                </a:cxn>
                <a:cxn ang="0">
                  <a:pos x="connsiteX1570" y="connsiteY1570"/>
                </a:cxn>
                <a:cxn ang="0">
                  <a:pos x="connsiteX1571" y="connsiteY1571"/>
                </a:cxn>
                <a:cxn ang="0">
                  <a:pos x="connsiteX1572" y="connsiteY1572"/>
                </a:cxn>
                <a:cxn ang="0">
                  <a:pos x="connsiteX1573" y="connsiteY1573"/>
                </a:cxn>
                <a:cxn ang="0">
                  <a:pos x="connsiteX1574" y="connsiteY1574"/>
                </a:cxn>
                <a:cxn ang="0">
                  <a:pos x="connsiteX1575" y="connsiteY1575"/>
                </a:cxn>
                <a:cxn ang="0">
                  <a:pos x="connsiteX1576" y="connsiteY1576"/>
                </a:cxn>
                <a:cxn ang="0">
                  <a:pos x="connsiteX1577" y="connsiteY1577"/>
                </a:cxn>
                <a:cxn ang="0">
                  <a:pos x="connsiteX1578" y="connsiteY1578"/>
                </a:cxn>
                <a:cxn ang="0">
                  <a:pos x="connsiteX1579" y="connsiteY1579"/>
                </a:cxn>
                <a:cxn ang="0">
                  <a:pos x="connsiteX1580" y="connsiteY1580"/>
                </a:cxn>
                <a:cxn ang="0">
                  <a:pos x="connsiteX1581" y="connsiteY1581"/>
                </a:cxn>
                <a:cxn ang="0">
                  <a:pos x="connsiteX1582" y="connsiteY1582"/>
                </a:cxn>
                <a:cxn ang="0">
                  <a:pos x="connsiteX1583" y="connsiteY1583"/>
                </a:cxn>
                <a:cxn ang="0">
                  <a:pos x="connsiteX1584" y="connsiteY1584"/>
                </a:cxn>
                <a:cxn ang="0">
                  <a:pos x="connsiteX1585" y="connsiteY1585"/>
                </a:cxn>
                <a:cxn ang="0">
                  <a:pos x="connsiteX1586" y="connsiteY1586"/>
                </a:cxn>
                <a:cxn ang="0">
                  <a:pos x="connsiteX1587" y="connsiteY1587"/>
                </a:cxn>
                <a:cxn ang="0">
                  <a:pos x="connsiteX1588" y="connsiteY1588"/>
                </a:cxn>
                <a:cxn ang="0">
                  <a:pos x="connsiteX1589" y="connsiteY1589"/>
                </a:cxn>
                <a:cxn ang="0">
                  <a:pos x="connsiteX1590" y="connsiteY1590"/>
                </a:cxn>
                <a:cxn ang="0">
                  <a:pos x="connsiteX1591" y="connsiteY1591"/>
                </a:cxn>
                <a:cxn ang="0">
                  <a:pos x="connsiteX1592" y="connsiteY1592"/>
                </a:cxn>
                <a:cxn ang="0">
                  <a:pos x="connsiteX1593" y="connsiteY1593"/>
                </a:cxn>
                <a:cxn ang="0">
                  <a:pos x="connsiteX1594" y="connsiteY1594"/>
                </a:cxn>
                <a:cxn ang="0">
                  <a:pos x="connsiteX1595" y="connsiteY1595"/>
                </a:cxn>
                <a:cxn ang="0">
                  <a:pos x="connsiteX1596" y="connsiteY1596"/>
                </a:cxn>
                <a:cxn ang="0">
                  <a:pos x="connsiteX1597" y="connsiteY1597"/>
                </a:cxn>
                <a:cxn ang="0">
                  <a:pos x="connsiteX1598" y="connsiteY1598"/>
                </a:cxn>
                <a:cxn ang="0">
                  <a:pos x="connsiteX1599" y="connsiteY1599"/>
                </a:cxn>
                <a:cxn ang="0">
                  <a:pos x="connsiteX1600" y="connsiteY1600"/>
                </a:cxn>
                <a:cxn ang="0">
                  <a:pos x="connsiteX1601" y="connsiteY1601"/>
                </a:cxn>
                <a:cxn ang="0">
                  <a:pos x="connsiteX1602" y="connsiteY1602"/>
                </a:cxn>
                <a:cxn ang="0">
                  <a:pos x="connsiteX1603" y="connsiteY1603"/>
                </a:cxn>
                <a:cxn ang="0">
                  <a:pos x="connsiteX1604" y="connsiteY1604"/>
                </a:cxn>
                <a:cxn ang="0">
                  <a:pos x="connsiteX1605" y="connsiteY1605"/>
                </a:cxn>
                <a:cxn ang="0">
                  <a:pos x="connsiteX1606" y="connsiteY1606"/>
                </a:cxn>
                <a:cxn ang="0">
                  <a:pos x="connsiteX1607" y="connsiteY1607"/>
                </a:cxn>
                <a:cxn ang="0">
                  <a:pos x="connsiteX1608" y="connsiteY1608"/>
                </a:cxn>
                <a:cxn ang="0">
                  <a:pos x="connsiteX1609" y="connsiteY1609"/>
                </a:cxn>
                <a:cxn ang="0">
                  <a:pos x="connsiteX1610" y="connsiteY1610"/>
                </a:cxn>
                <a:cxn ang="0">
                  <a:pos x="connsiteX1611" y="connsiteY1611"/>
                </a:cxn>
                <a:cxn ang="0">
                  <a:pos x="connsiteX1612" y="connsiteY1612"/>
                </a:cxn>
                <a:cxn ang="0">
                  <a:pos x="connsiteX1613" y="connsiteY1613"/>
                </a:cxn>
                <a:cxn ang="0">
                  <a:pos x="connsiteX1614" y="connsiteY1614"/>
                </a:cxn>
                <a:cxn ang="0">
                  <a:pos x="connsiteX1615" y="connsiteY1615"/>
                </a:cxn>
                <a:cxn ang="0">
                  <a:pos x="connsiteX1616" y="connsiteY1616"/>
                </a:cxn>
                <a:cxn ang="0">
                  <a:pos x="connsiteX1617" y="connsiteY1617"/>
                </a:cxn>
                <a:cxn ang="0">
                  <a:pos x="connsiteX1618" y="connsiteY1618"/>
                </a:cxn>
                <a:cxn ang="0">
                  <a:pos x="connsiteX1619" y="connsiteY1619"/>
                </a:cxn>
                <a:cxn ang="0">
                  <a:pos x="connsiteX1620" y="connsiteY1620"/>
                </a:cxn>
                <a:cxn ang="0">
                  <a:pos x="connsiteX1621" y="connsiteY1621"/>
                </a:cxn>
                <a:cxn ang="0">
                  <a:pos x="connsiteX1622" y="connsiteY1622"/>
                </a:cxn>
                <a:cxn ang="0">
                  <a:pos x="connsiteX1623" y="connsiteY1623"/>
                </a:cxn>
                <a:cxn ang="0">
                  <a:pos x="connsiteX1624" y="connsiteY1624"/>
                </a:cxn>
                <a:cxn ang="0">
                  <a:pos x="connsiteX1625" y="connsiteY1625"/>
                </a:cxn>
                <a:cxn ang="0">
                  <a:pos x="connsiteX1626" y="connsiteY1626"/>
                </a:cxn>
                <a:cxn ang="0">
                  <a:pos x="connsiteX1627" y="connsiteY1627"/>
                </a:cxn>
                <a:cxn ang="0">
                  <a:pos x="connsiteX1628" y="connsiteY1628"/>
                </a:cxn>
                <a:cxn ang="0">
                  <a:pos x="connsiteX1629" y="connsiteY1629"/>
                </a:cxn>
                <a:cxn ang="0">
                  <a:pos x="connsiteX1630" y="connsiteY1630"/>
                </a:cxn>
                <a:cxn ang="0">
                  <a:pos x="connsiteX1631" y="connsiteY1631"/>
                </a:cxn>
                <a:cxn ang="0">
                  <a:pos x="connsiteX1632" y="connsiteY1632"/>
                </a:cxn>
                <a:cxn ang="0">
                  <a:pos x="connsiteX1633" y="connsiteY1633"/>
                </a:cxn>
                <a:cxn ang="0">
                  <a:pos x="connsiteX1634" y="connsiteY1634"/>
                </a:cxn>
                <a:cxn ang="0">
                  <a:pos x="connsiteX1635" y="connsiteY1635"/>
                </a:cxn>
                <a:cxn ang="0">
                  <a:pos x="connsiteX1636" y="connsiteY1636"/>
                </a:cxn>
                <a:cxn ang="0">
                  <a:pos x="connsiteX1637" y="connsiteY1637"/>
                </a:cxn>
                <a:cxn ang="0">
                  <a:pos x="connsiteX1638" y="connsiteY1638"/>
                </a:cxn>
                <a:cxn ang="0">
                  <a:pos x="connsiteX1639" y="connsiteY1639"/>
                </a:cxn>
                <a:cxn ang="0">
                  <a:pos x="connsiteX1640" y="connsiteY1640"/>
                </a:cxn>
                <a:cxn ang="0">
                  <a:pos x="connsiteX1641" y="connsiteY1641"/>
                </a:cxn>
                <a:cxn ang="0">
                  <a:pos x="connsiteX1642" y="connsiteY1642"/>
                </a:cxn>
                <a:cxn ang="0">
                  <a:pos x="connsiteX1643" y="connsiteY1643"/>
                </a:cxn>
                <a:cxn ang="0">
                  <a:pos x="connsiteX1644" y="connsiteY1644"/>
                </a:cxn>
                <a:cxn ang="0">
                  <a:pos x="connsiteX1645" y="connsiteY1645"/>
                </a:cxn>
                <a:cxn ang="0">
                  <a:pos x="connsiteX1646" y="connsiteY1646"/>
                </a:cxn>
                <a:cxn ang="0">
                  <a:pos x="connsiteX1647" y="connsiteY1647"/>
                </a:cxn>
                <a:cxn ang="0">
                  <a:pos x="connsiteX1648" y="connsiteY1648"/>
                </a:cxn>
                <a:cxn ang="0">
                  <a:pos x="connsiteX1649" y="connsiteY1649"/>
                </a:cxn>
                <a:cxn ang="0">
                  <a:pos x="connsiteX1650" y="connsiteY1650"/>
                </a:cxn>
                <a:cxn ang="0">
                  <a:pos x="connsiteX1651" y="connsiteY1651"/>
                </a:cxn>
                <a:cxn ang="0">
                  <a:pos x="connsiteX1652" y="connsiteY1652"/>
                </a:cxn>
                <a:cxn ang="0">
                  <a:pos x="connsiteX1653" y="connsiteY1653"/>
                </a:cxn>
                <a:cxn ang="0">
                  <a:pos x="connsiteX1654" y="connsiteY1654"/>
                </a:cxn>
                <a:cxn ang="0">
                  <a:pos x="connsiteX1655" y="connsiteY1655"/>
                </a:cxn>
                <a:cxn ang="0">
                  <a:pos x="connsiteX1656" y="connsiteY1656"/>
                </a:cxn>
                <a:cxn ang="0">
                  <a:pos x="connsiteX1657" y="connsiteY1657"/>
                </a:cxn>
                <a:cxn ang="0">
                  <a:pos x="connsiteX1658" y="connsiteY1658"/>
                </a:cxn>
                <a:cxn ang="0">
                  <a:pos x="connsiteX1659" y="connsiteY1659"/>
                </a:cxn>
                <a:cxn ang="0">
                  <a:pos x="connsiteX1660" y="connsiteY1660"/>
                </a:cxn>
                <a:cxn ang="0">
                  <a:pos x="connsiteX1661" y="connsiteY1661"/>
                </a:cxn>
                <a:cxn ang="0">
                  <a:pos x="connsiteX1662" y="connsiteY1662"/>
                </a:cxn>
                <a:cxn ang="0">
                  <a:pos x="connsiteX1663" y="connsiteY1663"/>
                </a:cxn>
                <a:cxn ang="0">
                  <a:pos x="connsiteX1664" y="connsiteY1664"/>
                </a:cxn>
                <a:cxn ang="0">
                  <a:pos x="connsiteX1665" y="connsiteY1665"/>
                </a:cxn>
                <a:cxn ang="0">
                  <a:pos x="connsiteX1666" y="connsiteY1666"/>
                </a:cxn>
                <a:cxn ang="0">
                  <a:pos x="connsiteX1667" y="connsiteY1667"/>
                </a:cxn>
                <a:cxn ang="0">
                  <a:pos x="connsiteX1668" y="connsiteY1668"/>
                </a:cxn>
                <a:cxn ang="0">
                  <a:pos x="connsiteX1669" y="connsiteY1669"/>
                </a:cxn>
                <a:cxn ang="0">
                  <a:pos x="connsiteX1670" y="connsiteY1670"/>
                </a:cxn>
                <a:cxn ang="0">
                  <a:pos x="connsiteX1671" y="connsiteY1671"/>
                </a:cxn>
                <a:cxn ang="0">
                  <a:pos x="connsiteX1672" y="connsiteY1672"/>
                </a:cxn>
                <a:cxn ang="0">
                  <a:pos x="connsiteX1673" y="connsiteY1673"/>
                </a:cxn>
                <a:cxn ang="0">
                  <a:pos x="connsiteX1674" y="connsiteY1674"/>
                </a:cxn>
                <a:cxn ang="0">
                  <a:pos x="connsiteX1675" y="connsiteY1675"/>
                </a:cxn>
                <a:cxn ang="0">
                  <a:pos x="connsiteX1676" y="connsiteY1676"/>
                </a:cxn>
                <a:cxn ang="0">
                  <a:pos x="connsiteX1677" y="connsiteY1677"/>
                </a:cxn>
                <a:cxn ang="0">
                  <a:pos x="connsiteX1678" y="connsiteY1678"/>
                </a:cxn>
                <a:cxn ang="0">
                  <a:pos x="connsiteX1679" y="connsiteY1679"/>
                </a:cxn>
                <a:cxn ang="0">
                  <a:pos x="connsiteX1680" y="connsiteY1680"/>
                </a:cxn>
                <a:cxn ang="0">
                  <a:pos x="connsiteX1681" y="connsiteY1681"/>
                </a:cxn>
                <a:cxn ang="0">
                  <a:pos x="connsiteX1682" y="connsiteY1682"/>
                </a:cxn>
                <a:cxn ang="0">
                  <a:pos x="connsiteX1683" y="connsiteY1683"/>
                </a:cxn>
                <a:cxn ang="0">
                  <a:pos x="connsiteX1684" y="connsiteY1684"/>
                </a:cxn>
                <a:cxn ang="0">
                  <a:pos x="connsiteX1685" y="connsiteY1685"/>
                </a:cxn>
                <a:cxn ang="0">
                  <a:pos x="connsiteX1686" y="connsiteY1686"/>
                </a:cxn>
                <a:cxn ang="0">
                  <a:pos x="connsiteX1687" y="connsiteY1687"/>
                </a:cxn>
                <a:cxn ang="0">
                  <a:pos x="connsiteX1688" y="connsiteY1688"/>
                </a:cxn>
                <a:cxn ang="0">
                  <a:pos x="connsiteX1689" y="connsiteY1689"/>
                </a:cxn>
                <a:cxn ang="0">
                  <a:pos x="connsiteX1690" y="connsiteY1690"/>
                </a:cxn>
                <a:cxn ang="0">
                  <a:pos x="connsiteX1691" y="connsiteY1691"/>
                </a:cxn>
                <a:cxn ang="0">
                  <a:pos x="connsiteX1692" y="connsiteY1692"/>
                </a:cxn>
                <a:cxn ang="0">
                  <a:pos x="connsiteX1693" y="connsiteY1693"/>
                </a:cxn>
                <a:cxn ang="0">
                  <a:pos x="connsiteX1694" y="connsiteY1694"/>
                </a:cxn>
                <a:cxn ang="0">
                  <a:pos x="connsiteX1695" y="connsiteY1695"/>
                </a:cxn>
                <a:cxn ang="0">
                  <a:pos x="connsiteX1696" y="connsiteY1696"/>
                </a:cxn>
                <a:cxn ang="0">
                  <a:pos x="connsiteX1697" y="connsiteY1697"/>
                </a:cxn>
                <a:cxn ang="0">
                  <a:pos x="connsiteX1698" y="connsiteY1698"/>
                </a:cxn>
                <a:cxn ang="0">
                  <a:pos x="connsiteX1699" y="connsiteY1699"/>
                </a:cxn>
                <a:cxn ang="0">
                  <a:pos x="connsiteX1700" y="connsiteY1700"/>
                </a:cxn>
                <a:cxn ang="0">
                  <a:pos x="connsiteX1701" y="connsiteY1701"/>
                </a:cxn>
                <a:cxn ang="0">
                  <a:pos x="connsiteX1702" y="connsiteY1702"/>
                </a:cxn>
                <a:cxn ang="0">
                  <a:pos x="connsiteX1703" y="connsiteY1703"/>
                </a:cxn>
                <a:cxn ang="0">
                  <a:pos x="connsiteX1704" y="connsiteY1704"/>
                </a:cxn>
                <a:cxn ang="0">
                  <a:pos x="connsiteX1705" y="connsiteY1705"/>
                </a:cxn>
                <a:cxn ang="0">
                  <a:pos x="connsiteX1706" y="connsiteY1706"/>
                </a:cxn>
                <a:cxn ang="0">
                  <a:pos x="connsiteX1707" y="connsiteY1707"/>
                </a:cxn>
                <a:cxn ang="0">
                  <a:pos x="connsiteX1708" y="connsiteY1708"/>
                </a:cxn>
                <a:cxn ang="0">
                  <a:pos x="connsiteX1709" y="connsiteY1709"/>
                </a:cxn>
                <a:cxn ang="0">
                  <a:pos x="connsiteX1710" y="connsiteY1710"/>
                </a:cxn>
                <a:cxn ang="0">
                  <a:pos x="connsiteX1711" y="connsiteY1711"/>
                </a:cxn>
                <a:cxn ang="0">
                  <a:pos x="connsiteX1712" y="connsiteY1712"/>
                </a:cxn>
                <a:cxn ang="0">
                  <a:pos x="connsiteX1713" y="connsiteY1713"/>
                </a:cxn>
                <a:cxn ang="0">
                  <a:pos x="connsiteX1714" y="connsiteY1714"/>
                </a:cxn>
                <a:cxn ang="0">
                  <a:pos x="connsiteX1715" y="connsiteY1715"/>
                </a:cxn>
                <a:cxn ang="0">
                  <a:pos x="connsiteX1716" y="connsiteY1716"/>
                </a:cxn>
                <a:cxn ang="0">
                  <a:pos x="connsiteX1717" y="connsiteY1717"/>
                </a:cxn>
                <a:cxn ang="0">
                  <a:pos x="connsiteX1718" y="connsiteY1718"/>
                </a:cxn>
                <a:cxn ang="0">
                  <a:pos x="connsiteX1719" y="connsiteY1719"/>
                </a:cxn>
                <a:cxn ang="0">
                  <a:pos x="connsiteX1720" y="connsiteY1720"/>
                </a:cxn>
                <a:cxn ang="0">
                  <a:pos x="connsiteX1721" y="connsiteY1721"/>
                </a:cxn>
                <a:cxn ang="0">
                  <a:pos x="connsiteX1722" y="connsiteY1722"/>
                </a:cxn>
                <a:cxn ang="0">
                  <a:pos x="connsiteX1723" y="connsiteY1723"/>
                </a:cxn>
                <a:cxn ang="0">
                  <a:pos x="connsiteX1724" y="connsiteY1724"/>
                </a:cxn>
                <a:cxn ang="0">
                  <a:pos x="connsiteX1725" y="connsiteY1725"/>
                </a:cxn>
                <a:cxn ang="0">
                  <a:pos x="connsiteX1726" y="connsiteY1726"/>
                </a:cxn>
                <a:cxn ang="0">
                  <a:pos x="connsiteX1727" y="connsiteY1727"/>
                </a:cxn>
                <a:cxn ang="0">
                  <a:pos x="connsiteX1728" y="connsiteY1728"/>
                </a:cxn>
                <a:cxn ang="0">
                  <a:pos x="connsiteX1729" y="connsiteY1729"/>
                </a:cxn>
                <a:cxn ang="0">
                  <a:pos x="connsiteX1730" y="connsiteY1730"/>
                </a:cxn>
                <a:cxn ang="0">
                  <a:pos x="connsiteX1731" y="connsiteY1731"/>
                </a:cxn>
                <a:cxn ang="0">
                  <a:pos x="connsiteX1732" y="connsiteY1732"/>
                </a:cxn>
                <a:cxn ang="0">
                  <a:pos x="connsiteX1733" y="connsiteY1733"/>
                </a:cxn>
                <a:cxn ang="0">
                  <a:pos x="connsiteX1734" y="connsiteY1734"/>
                </a:cxn>
                <a:cxn ang="0">
                  <a:pos x="connsiteX1735" y="connsiteY1735"/>
                </a:cxn>
                <a:cxn ang="0">
                  <a:pos x="connsiteX1736" y="connsiteY1736"/>
                </a:cxn>
                <a:cxn ang="0">
                  <a:pos x="connsiteX1737" y="connsiteY1737"/>
                </a:cxn>
                <a:cxn ang="0">
                  <a:pos x="connsiteX1738" y="connsiteY1738"/>
                </a:cxn>
                <a:cxn ang="0">
                  <a:pos x="connsiteX1739" y="connsiteY1739"/>
                </a:cxn>
                <a:cxn ang="0">
                  <a:pos x="connsiteX1740" y="connsiteY1740"/>
                </a:cxn>
                <a:cxn ang="0">
                  <a:pos x="connsiteX1741" y="connsiteY1741"/>
                </a:cxn>
                <a:cxn ang="0">
                  <a:pos x="connsiteX1742" y="connsiteY1742"/>
                </a:cxn>
                <a:cxn ang="0">
                  <a:pos x="connsiteX1743" y="connsiteY1743"/>
                </a:cxn>
                <a:cxn ang="0">
                  <a:pos x="connsiteX1744" y="connsiteY1744"/>
                </a:cxn>
                <a:cxn ang="0">
                  <a:pos x="connsiteX1745" y="connsiteY1745"/>
                </a:cxn>
                <a:cxn ang="0">
                  <a:pos x="connsiteX1746" y="connsiteY1746"/>
                </a:cxn>
                <a:cxn ang="0">
                  <a:pos x="connsiteX1747" y="connsiteY1747"/>
                </a:cxn>
                <a:cxn ang="0">
                  <a:pos x="connsiteX1748" y="connsiteY1748"/>
                </a:cxn>
                <a:cxn ang="0">
                  <a:pos x="connsiteX1749" y="connsiteY1749"/>
                </a:cxn>
                <a:cxn ang="0">
                  <a:pos x="connsiteX1750" y="connsiteY1750"/>
                </a:cxn>
                <a:cxn ang="0">
                  <a:pos x="connsiteX1751" y="connsiteY1751"/>
                </a:cxn>
                <a:cxn ang="0">
                  <a:pos x="connsiteX1752" y="connsiteY1752"/>
                </a:cxn>
                <a:cxn ang="0">
                  <a:pos x="connsiteX1753" y="connsiteY1753"/>
                </a:cxn>
                <a:cxn ang="0">
                  <a:pos x="connsiteX1754" y="connsiteY1754"/>
                </a:cxn>
                <a:cxn ang="0">
                  <a:pos x="connsiteX1755" y="connsiteY1755"/>
                </a:cxn>
                <a:cxn ang="0">
                  <a:pos x="connsiteX1756" y="connsiteY1756"/>
                </a:cxn>
                <a:cxn ang="0">
                  <a:pos x="connsiteX1757" y="connsiteY1757"/>
                </a:cxn>
                <a:cxn ang="0">
                  <a:pos x="connsiteX1758" y="connsiteY1758"/>
                </a:cxn>
                <a:cxn ang="0">
                  <a:pos x="connsiteX1759" y="connsiteY1759"/>
                </a:cxn>
                <a:cxn ang="0">
                  <a:pos x="connsiteX1760" y="connsiteY1760"/>
                </a:cxn>
                <a:cxn ang="0">
                  <a:pos x="connsiteX1761" y="connsiteY1761"/>
                </a:cxn>
                <a:cxn ang="0">
                  <a:pos x="connsiteX1762" y="connsiteY1762"/>
                </a:cxn>
                <a:cxn ang="0">
                  <a:pos x="connsiteX1763" y="connsiteY1763"/>
                </a:cxn>
                <a:cxn ang="0">
                  <a:pos x="connsiteX1764" y="connsiteY1764"/>
                </a:cxn>
                <a:cxn ang="0">
                  <a:pos x="connsiteX1765" y="connsiteY1765"/>
                </a:cxn>
                <a:cxn ang="0">
                  <a:pos x="connsiteX1766" y="connsiteY1766"/>
                </a:cxn>
                <a:cxn ang="0">
                  <a:pos x="connsiteX1767" y="connsiteY1767"/>
                </a:cxn>
                <a:cxn ang="0">
                  <a:pos x="connsiteX1768" y="connsiteY1768"/>
                </a:cxn>
                <a:cxn ang="0">
                  <a:pos x="connsiteX1769" y="connsiteY1769"/>
                </a:cxn>
                <a:cxn ang="0">
                  <a:pos x="connsiteX1770" y="connsiteY1770"/>
                </a:cxn>
                <a:cxn ang="0">
                  <a:pos x="connsiteX1771" y="connsiteY1771"/>
                </a:cxn>
                <a:cxn ang="0">
                  <a:pos x="connsiteX1772" y="connsiteY1772"/>
                </a:cxn>
                <a:cxn ang="0">
                  <a:pos x="connsiteX1773" y="connsiteY1773"/>
                </a:cxn>
                <a:cxn ang="0">
                  <a:pos x="connsiteX1774" y="connsiteY1774"/>
                </a:cxn>
                <a:cxn ang="0">
                  <a:pos x="connsiteX1775" y="connsiteY1775"/>
                </a:cxn>
                <a:cxn ang="0">
                  <a:pos x="connsiteX1776" y="connsiteY1776"/>
                </a:cxn>
                <a:cxn ang="0">
                  <a:pos x="connsiteX1777" y="connsiteY1777"/>
                </a:cxn>
                <a:cxn ang="0">
                  <a:pos x="connsiteX1778" y="connsiteY1778"/>
                </a:cxn>
                <a:cxn ang="0">
                  <a:pos x="connsiteX1779" y="connsiteY1779"/>
                </a:cxn>
                <a:cxn ang="0">
                  <a:pos x="connsiteX1780" y="connsiteY1780"/>
                </a:cxn>
                <a:cxn ang="0">
                  <a:pos x="connsiteX1781" y="connsiteY1781"/>
                </a:cxn>
                <a:cxn ang="0">
                  <a:pos x="connsiteX1782" y="connsiteY1782"/>
                </a:cxn>
                <a:cxn ang="0">
                  <a:pos x="connsiteX1783" y="connsiteY1783"/>
                </a:cxn>
                <a:cxn ang="0">
                  <a:pos x="connsiteX1784" y="connsiteY1784"/>
                </a:cxn>
                <a:cxn ang="0">
                  <a:pos x="connsiteX1785" y="connsiteY1785"/>
                </a:cxn>
                <a:cxn ang="0">
                  <a:pos x="connsiteX1786" y="connsiteY1786"/>
                </a:cxn>
                <a:cxn ang="0">
                  <a:pos x="connsiteX1787" y="connsiteY1787"/>
                </a:cxn>
                <a:cxn ang="0">
                  <a:pos x="connsiteX1788" y="connsiteY1788"/>
                </a:cxn>
                <a:cxn ang="0">
                  <a:pos x="connsiteX1789" y="connsiteY1789"/>
                </a:cxn>
                <a:cxn ang="0">
                  <a:pos x="connsiteX1790" y="connsiteY1790"/>
                </a:cxn>
                <a:cxn ang="0">
                  <a:pos x="connsiteX1791" y="connsiteY1791"/>
                </a:cxn>
                <a:cxn ang="0">
                  <a:pos x="connsiteX1792" y="connsiteY1792"/>
                </a:cxn>
                <a:cxn ang="0">
                  <a:pos x="connsiteX1793" y="connsiteY1793"/>
                </a:cxn>
                <a:cxn ang="0">
                  <a:pos x="connsiteX1794" y="connsiteY1794"/>
                </a:cxn>
                <a:cxn ang="0">
                  <a:pos x="connsiteX1795" y="connsiteY1795"/>
                </a:cxn>
                <a:cxn ang="0">
                  <a:pos x="connsiteX1796" y="connsiteY1796"/>
                </a:cxn>
                <a:cxn ang="0">
                  <a:pos x="connsiteX1797" y="connsiteY1797"/>
                </a:cxn>
                <a:cxn ang="0">
                  <a:pos x="connsiteX1798" y="connsiteY1798"/>
                </a:cxn>
                <a:cxn ang="0">
                  <a:pos x="connsiteX1799" y="connsiteY1799"/>
                </a:cxn>
                <a:cxn ang="0">
                  <a:pos x="connsiteX1800" y="connsiteY1800"/>
                </a:cxn>
                <a:cxn ang="0">
                  <a:pos x="connsiteX1801" y="connsiteY1801"/>
                </a:cxn>
                <a:cxn ang="0">
                  <a:pos x="connsiteX1802" y="connsiteY1802"/>
                </a:cxn>
                <a:cxn ang="0">
                  <a:pos x="connsiteX1803" y="connsiteY1803"/>
                </a:cxn>
                <a:cxn ang="0">
                  <a:pos x="connsiteX1804" y="connsiteY1804"/>
                </a:cxn>
                <a:cxn ang="0">
                  <a:pos x="connsiteX1805" y="connsiteY1805"/>
                </a:cxn>
                <a:cxn ang="0">
                  <a:pos x="connsiteX1806" y="connsiteY1806"/>
                </a:cxn>
                <a:cxn ang="0">
                  <a:pos x="connsiteX1807" y="connsiteY1807"/>
                </a:cxn>
                <a:cxn ang="0">
                  <a:pos x="connsiteX1808" y="connsiteY1808"/>
                </a:cxn>
                <a:cxn ang="0">
                  <a:pos x="connsiteX1809" y="connsiteY1809"/>
                </a:cxn>
                <a:cxn ang="0">
                  <a:pos x="connsiteX1810" y="connsiteY1810"/>
                </a:cxn>
                <a:cxn ang="0">
                  <a:pos x="connsiteX1811" y="connsiteY1811"/>
                </a:cxn>
                <a:cxn ang="0">
                  <a:pos x="connsiteX1812" y="connsiteY1812"/>
                </a:cxn>
                <a:cxn ang="0">
                  <a:pos x="connsiteX1813" y="connsiteY1813"/>
                </a:cxn>
                <a:cxn ang="0">
                  <a:pos x="connsiteX1814" y="connsiteY1814"/>
                </a:cxn>
                <a:cxn ang="0">
                  <a:pos x="connsiteX1815" y="connsiteY1815"/>
                </a:cxn>
                <a:cxn ang="0">
                  <a:pos x="connsiteX1816" y="connsiteY1816"/>
                </a:cxn>
                <a:cxn ang="0">
                  <a:pos x="connsiteX1817" y="connsiteY1817"/>
                </a:cxn>
                <a:cxn ang="0">
                  <a:pos x="connsiteX1818" y="connsiteY1818"/>
                </a:cxn>
                <a:cxn ang="0">
                  <a:pos x="connsiteX1819" y="connsiteY1819"/>
                </a:cxn>
                <a:cxn ang="0">
                  <a:pos x="connsiteX1820" y="connsiteY1820"/>
                </a:cxn>
                <a:cxn ang="0">
                  <a:pos x="connsiteX1821" y="connsiteY1821"/>
                </a:cxn>
                <a:cxn ang="0">
                  <a:pos x="connsiteX1822" y="connsiteY1822"/>
                </a:cxn>
                <a:cxn ang="0">
                  <a:pos x="connsiteX1823" y="connsiteY1823"/>
                </a:cxn>
                <a:cxn ang="0">
                  <a:pos x="connsiteX1824" y="connsiteY1824"/>
                </a:cxn>
                <a:cxn ang="0">
                  <a:pos x="connsiteX1825" y="connsiteY1825"/>
                </a:cxn>
                <a:cxn ang="0">
                  <a:pos x="connsiteX1826" y="connsiteY1826"/>
                </a:cxn>
                <a:cxn ang="0">
                  <a:pos x="connsiteX1827" y="connsiteY1827"/>
                </a:cxn>
                <a:cxn ang="0">
                  <a:pos x="connsiteX1828" y="connsiteY1828"/>
                </a:cxn>
                <a:cxn ang="0">
                  <a:pos x="connsiteX1829" y="connsiteY1829"/>
                </a:cxn>
                <a:cxn ang="0">
                  <a:pos x="connsiteX1830" y="connsiteY1830"/>
                </a:cxn>
                <a:cxn ang="0">
                  <a:pos x="connsiteX1831" y="connsiteY1831"/>
                </a:cxn>
                <a:cxn ang="0">
                  <a:pos x="connsiteX1832" y="connsiteY1832"/>
                </a:cxn>
                <a:cxn ang="0">
                  <a:pos x="connsiteX1833" y="connsiteY1833"/>
                </a:cxn>
                <a:cxn ang="0">
                  <a:pos x="connsiteX1834" y="connsiteY1834"/>
                </a:cxn>
                <a:cxn ang="0">
                  <a:pos x="connsiteX1835" y="connsiteY1835"/>
                </a:cxn>
                <a:cxn ang="0">
                  <a:pos x="connsiteX1836" y="connsiteY1836"/>
                </a:cxn>
                <a:cxn ang="0">
                  <a:pos x="connsiteX1837" y="connsiteY1837"/>
                </a:cxn>
                <a:cxn ang="0">
                  <a:pos x="connsiteX1838" y="connsiteY1838"/>
                </a:cxn>
                <a:cxn ang="0">
                  <a:pos x="connsiteX1839" y="connsiteY1839"/>
                </a:cxn>
                <a:cxn ang="0">
                  <a:pos x="connsiteX1840" y="connsiteY1840"/>
                </a:cxn>
                <a:cxn ang="0">
                  <a:pos x="connsiteX1841" y="connsiteY1841"/>
                </a:cxn>
                <a:cxn ang="0">
                  <a:pos x="connsiteX1842" y="connsiteY1842"/>
                </a:cxn>
                <a:cxn ang="0">
                  <a:pos x="connsiteX1843" y="connsiteY1843"/>
                </a:cxn>
                <a:cxn ang="0">
                  <a:pos x="connsiteX1844" y="connsiteY1844"/>
                </a:cxn>
                <a:cxn ang="0">
                  <a:pos x="connsiteX1845" y="connsiteY1845"/>
                </a:cxn>
                <a:cxn ang="0">
                  <a:pos x="connsiteX1846" y="connsiteY1846"/>
                </a:cxn>
                <a:cxn ang="0">
                  <a:pos x="connsiteX1847" y="connsiteY1847"/>
                </a:cxn>
                <a:cxn ang="0">
                  <a:pos x="connsiteX1848" y="connsiteY1848"/>
                </a:cxn>
                <a:cxn ang="0">
                  <a:pos x="connsiteX1849" y="connsiteY1849"/>
                </a:cxn>
                <a:cxn ang="0">
                  <a:pos x="connsiteX1850" y="connsiteY1850"/>
                </a:cxn>
                <a:cxn ang="0">
                  <a:pos x="connsiteX1851" y="connsiteY1851"/>
                </a:cxn>
                <a:cxn ang="0">
                  <a:pos x="connsiteX1852" y="connsiteY1852"/>
                </a:cxn>
                <a:cxn ang="0">
                  <a:pos x="connsiteX1853" y="connsiteY1853"/>
                </a:cxn>
                <a:cxn ang="0">
                  <a:pos x="connsiteX1854" y="connsiteY1854"/>
                </a:cxn>
                <a:cxn ang="0">
                  <a:pos x="connsiteX1855" y="connsiteY1855"/>
                </a:cxn>
                <a:cxn ang="0">
                  <a:pos x="connsiteX1856" y="connsiteY1856"/>
                </a:cxn>
                <a:cxn ang="0">
                  <a:pos x="connsiteX1857" y="connsiteY1857"/>
                </a:cxn>
                <a:cxn ang="0">
                  <a:pos x="connsiteX1858" y="connsiteY1858"/>
                </a:cxn>
                <a:cxn ang="0">
                  <a:pos x="connsiteX1859" y="connsiteY1859"/>
                </a:cxn>
                <a:cxn ang="0">
                  <a:pos x="connsiteX1860" y="connsiteY1860"/>
                </a:cxn>
                <a:cxn ang="0">
                  <a:pos x="connsiteX1861" y="connsiteY1861"/>
                </a:cxn>
                <a:cxn ang="0">
                  <a:pos x="connsiteX1862" y="connsiteY1862"/>
                </a:cxn>
                <a:cxn ang="0">
                  <a:pos x="connsiteX1863" y="connsiteY1863"/>
                </a:cxn>
                <a:cxn ang="0">
                  <a:pos x="connsiteX1864" y="connsiteY1864"/>
                </a:cxn>
                <a:cxn ang="0">
                  <a:pos x="connsiteX1865" y="connsiteY1865"/>
                </a:cxn>
                <a:cxn ang="0">
                  <a:pos x="connsiteX1866" y="connsiteY1866"/>
                </a:cxn>
                <a:cxn ang="0">
                  <a:pos x="connsiteX1867" y="connsiteY1867"/>
                </a:cxn>
                <a:cxn ang="0">
                  <a:pos x="connsiteX1868" y="connsiteY1868"/>
                </a:cxn>
                <a:cxn ang="0">
                  <a:pos x="connsiteX1869" y="connsiteY1869"/>
                </a:cxn>
                <a:cxn ang="0">
                  <a:pos x="connsiteX1870" y="connsiteY1870"/>
                </a:cxn>
                <a:cxn ang="0">
                  <a:pos x="connsiteX1871" y="connsiteY1871"/>
                </a:cxn>
                <a:cxn ang="0">
                  <a:pos x="connsiteX1872" y="connsiteY1872"/>
                </a:cxn>
                <a:cxn ang="0">
                  <a:pos x="connsiteX1873" y="connsiteY1873"/>
                </a:cxn>
                <a:cxn ang="0">
                  <a:pos x="connsiteX1874" y="connsiteY1874"/>
                </a:cxn>
                <a:cxn ang="0">
                  <a:pos x="connsiteX1875" y="connsiteY1875"/>
                </a:cxn>
                <a:cxn ang="0">
                  <a:pos x="connsiteX1876" y="connsiteY1876"/>
                </a:cxn>
                <a:cxn ang="0">
                  <a:pos x="connsiteX1877" y="connsiteY1877"/>
                </a:cxn>
                <a:cxn ang="0">
                  <a:pos x="connsiteX1878" y="connsiteY1878"/>
                </a:cxn>
                <a:cxn ang="0">
                  <a:pos x="connsiteX1879" y="connsiteY1879"/>
                </a:cxn>
                <a:cxn ang="0">
                  <a:pos x="connsiteX1880" y="connsiteY1880"/>
                </a:cxn>
                <a:cxn ang="0">
                  <a:pos x="connsiteX1881" y="connsiteY1881"/>
                </a:cxn>
                <a:cxn ang="0">
                  <a:pos x="connsiteX1882" y="connsiteY1882"/>
                </a:cxn>
                <a:cxn ang="0">
                  <a:pos x="connsiteX1883" y="connsiteY1883"/>
                </a:cxn>
                <a:cxn ang="0">
                  <a:pos x="connsiteX1884" y="connsiteY1884"/>
                </a:cxn>
                <a:cxn ang="0">
                  <a:pos x="connsiteX1885" y="connsiteY1885"/>
                </a:cxn>
                <a:cxn ang="0">
                  <a:pos x="connsiteX1886" y="connsiteY1886"/>
                </a:cxn>
                <a:cxn ang="0">
                  <a:pos x="connsiteX1887" y="connsiteY1887"/>
                </a:cxn>
                <a:cxn ang="0">
                  <a:pos x="connsiteX1888" y="connsiteY1888"/>
                </a:cxn>
                <a:cxn ang="0">
                  <a:pos x="connsiteX1889" y="connsiteY1889"/>
                </a:cxn>
                <a:cxn ang="0">
                  <a:pos x="connsiteX1890" y="connsiteY1890"/>
                </a:cxn>
                <a:cxn ang="0">
                  <a:pos x="connsiteX1891" y="connsiteY1891"/>
                </a:cxn>
                <a:cxn ang="0">
                  <a:pos x="connsiteX1892" y="connsiteY1892"/>
                </a:cxn>
                <a:cxn ang="0">
                  <a:pos x="connsiteX1893" y="connsiteY1893"/>
                </a:cxn>
                <a:cxn ang="0">
                  <a:pos x="connsiteX1894" y="connsiteY1894"/>
                </a:cxn>
                <a:cxn ang="0">
                  <a:pos x="connsiteX1895" y="connsiteY1895"/>
                </a:cxn>
                <a:cxn ang="0">
                  <a:pos x="connsiteX1896" y="connsiteY1896"/>
                </a:cxn>
                <a:cxn ang="0">
                  <a:pos x="connsiteX1897" y="connsiteY1897"/>
                </a:cxn>
                <a:cxn ang="0">
                  <a:pos x="connsiteX1898" y="connsiteY1898"/>
                </a:cxn>
                <a:cxn ang="0">
                  <a:pos x="connsiteX1899" y="connsiteY1899"/>
                </a:cxn>
                <a:cxn ang="0">
                  <a:pos x="connsiteX1900" y="connsiteY1900"/>
                </a:cxn>
                <a:cxn ang="0">
                  <a:pos x="connsiteX1901" y="connsiteY1901"/>
                </a:cxn>
                <a:cxn ang="0">
                  <a:pos x="connsiteX1902" y="connsiteY1902"/>
                </a:cxn>
                <a:cxn ang="0">
                  <a:pos x="connsiteX1903" y="connsiteY1903"/>
                </a:cxn>
                <a:cxn ang="0">
                  <a:pos x="connsiteX1904" y="connsiteY1904"/>
                </a:cxn>
                <a:cxn ang="0">
                  <a:pos x="connsiteX1905" y="connsiteY1905"/>
                </a:cxn>
                <a:cxn ang="0">
                  <a:pos x="connsiteX1906" y="connsiteY1906"/>
                </a:cxn>
                <a:cxn ang="0">
                  <a:pos x="connsiteX1907" y="connsiteY1907"/>
                </a:cxn>
                <a:cxn ang="0">
                  <a:pos x="connsiteX1908" y="connsiteY1908"/>
                </a:cxn>
                <a:cxn ang="0">
                  <a:pos x="connsiteX1909" y="connsiteY1909"/>
                </a:cxn>
                <a:cxn ang="0">
                  <a:pos x="connsiteX1910" y="connsiteY1910"/>
                </a:cxn>
                <a:cxn ang="0">
                  <a:pos x="connsiteX1911" y="connsiteY1911"/>
                </a:cxn>
                <a:cxn ang="0">
                  <a:pos x="connsiteX1912" y="connsiteY1912"/>
                </a:cxn>
                <a:cxn ang="0">
                  <a:pos x="connsiteX1913" y="connsiteY1913"/>
                </a:cxn>
                <a:cxn ang="0">
                  <a:pos x="connsiteX1914" y="connsiteY1914"/>
                </a:cxn>
                <a:cxn ang="0">
                  <a:pos x="connsiteX1915" y="connsiteY1915"/>
                </a:cxn>
                <a:cxn ang="0">
                  <a:pos x="connsiteX1916" y="connsiteY1916"/>
                </a:cxn>
                <a:cxn ang="0">
                  <a:pos x="connsiteX1917" y="connsiteY1917"/>
                </a:cxn>
                <a:cxn ang="0">
                  <a:pos x="connsiteX1918" y="connsiteY1918"/>
                </a:cxn>
                <a:cxn ang="0">
                  <a:pos x="connsiteX1919" y="connsiteY1919"/>
                </a:cxn>
                <a:cxn ang="0">
                  <a:pos x="connsiteX1920" y="connsiteY1920"/>
                </a:cxn>
                <a:cxn ang="0">
                  <a:pos x="connsiteX1921" y="connsiteY1921"/>
                </a:cxn>
                <a:cxn ang="0">
                  <a:pos x="connsiteX1922" y="connsiteY1922"/>
                </a:cxn>
                <a:cxn ang="0">
                  <a:pos x="connsiteX1923" y="connsiteY1923"/>
                </a:cxn>
                <a:cxn ang="0">
                  <a:pos x="connsiteX1924" y="connsiteY1924"/>
                </a:cxn>
                <a:cxn ang="0">
                  <a:pos x="connsiteX1925" y="connsiteY1925"/>
                </a:cxn>
                <a:cxn ang="0">
                  <a:pos x="connsiteX1926" y="connsiteY1926"/>
                </a:cxn>
                <a:cxn ang="0">
                  <a:pos x="connsiteX1927" y="connsiteY1927"/>
                </a:cxn>
                <a:cxn ang="0">
                  <a:pos x="connsiteX1928" y="connsiteY1928"/>
                </a:cxn>
                <a:cxn ang="0">
                  <a:pos x="connsiteX1929" y="connsiteY1929"/>
                </a:cxn>
                <a:cxn ang="0">
                  <a:pos x="connsiteX1930" y="connsiteY1930"/>
                </a:cxn>
                <a:cxn ang="0">
                  <a:pos x="connsiteX1931" y="connsiteY1931"/>
                </a:cxn>
                <a:cxn ang="0">
                  <a:pos x="connsiteX1932" y="connsiteY1932"/>
                </a:cxn>
                <a:cxn ang="0">
                  <a:pos x="connsiteX1933" y="connsiteY1933"/>
                </a:cxn>
                <a:cxn ang="0">
                  <a:pos x="connsiteX1934" y="connsiteY1934"/>
                </a:cxn>
                <a:cxn ang="0">
                  <a:pos x="connsiteX1935" y="connsiteY1935"/>
                </a:cxn>
                <a:cxn ang="0">
                  <a:pos x="connsiteX1936" y="connsiteY1936"/>
                </a:cxn>
                <a:cxn ang="0">
                  <a:pos x="connsiteX1937" y="connsiteY1937"/>
                </a:cxn>
                <a:cxn ang="0">
                  <a:pos x="connsiteX1938" y="connsiteY1938"/>
                </a:cxn>
                <a:cxn ang="0">
                  <a:pos x="connsiteX1939" y="connsiteY1939"/>
                </a:cxn>
                <a:cxn ang="0">
                  <a:pos x="connsiteX1940" y="connsiteY1940"/>
                </a:cxn>
                <a:cxn ang="0">
                  <a:pos x="connsiteX1941" y="connsiteY1941"/>
                </a:cxn>
                <a:cxn ang="0">
                  <a:pos x="connsiteX1942" y="connsiteY1942"/>
                </a:cxn>
                <a:cxn ang="0">
                  <a:pos x="connsiteX1943" y="connsiteY1943"/>
                </a:cxn>
                <a:cxn ang="0">
                  <a:pos x="connsiteX1944" y="connsiteY1944"/>
                </a:cxn>
                <a:cxn ang="0">
                  <a:pos x="connsiteX1945" y="connsiteY1945"/>
                </a:cxn>
                <a:cxn ang="0">
                  <a:pos x="connsiteX1946" y="connsiteY1946"/>
                </a:cxn>
                <a:cxn ang="0">
                  <a:pos x="connsiteX1947" y="connsiteY1947"/>
                </a:cxn>
                <a:cxn ang="0">
                  <a:pos x="connsiteX1948" y="connsiteY1948"/>
                </a:cxn>
                <a:cxn ang="0">
                  <a:pos x="connsiteX1949" y="connsiteY1949"/>
                </a:cxn>
                <a:cxn ang="0">
                  <a:pos x="connsiteX1950" y="connsiteY1950"/>
                </a:cxn>
                <a:cxn ang="0">
                  <a:pos x="connsiteX1951" y="connsiteY1951"/>
                </a:cxn>
                <a:cxn ang="0">
                  <a:pos x="connsiteX1952" y="connsiteY1952"/>
                </a:cxn>
                <a:cxn ang="0">
                  <a:pos x="connsiteX1953" y="connsiteY1953"/>
                </a:cxn>
                <a:cxn ang="0">
                  <a:pos x="connsiteX1954" y="connsiteY1954"/>
                </a:cxn>
                <a:cxn ang="0">
                  <a:pos x="connsiteX1955" y="connsiteY1955"/>
                </a:cxn>
                <a:cxn ang="0">
                  <a:pos x="connsiteX1956" y="connsiteY1956"/>
                </a:cxn>
                <a:cxn ang="0">
                  <a:pos x="connsiteX1957" y="connsiteY1957"/>
                </a:cxn>
                <a:cxn ang="0">
                  <a:pos x="connsiteX1958" y="connsiteY1958"/>
                </a:cxn>
                <a:cxn ang="0">
                  <a:pos x="connsiteX1959" y="connsiteY1959"/>
                </a:cxn>
                <a:cxn ang="0">
                  <a:pos x="connsiteX1960" y="connsiteY1960"/>
                </a:cxn>
                <a:cxn ang="0">
                  <a:pos x="connsiteX1961" y="connsiteY1961"/>
                </a:cxn>
                <a:cxn ang="0">
                  <a:pos x="connsiteX1962" y="connsiteY1962"/>
                </a:cxn>
                <a:cxn ang="0">
                  <a:pos x="connsiteX1963" y="connsiteY1963"/>
                </a:cxn>
                <a:cxn ang="0">
                  <a:pos x="connsiteX1964" y="connsiteY1964"/>
                </a:cxn>
                <a:cxn ang="0">
                  <a:pos x="connsiteX1965" y="connsiteY1965"/>
                </a:cxn>
                <a:cxn ang="0">
                  <a:pos x="connsiteX1966" y="connsiteY1966"/>
                </a:cxn>
                <a:cxn ang="0">
                  <a:pos x="connsiteX1967" y="connsiteY1967"/>
                </a:cxn>
                <a:cxn ang="0">
                  <a:pos x="connsiteX1968" y="connsiteY1968"/>
                </a:cxn>
                <a:cxn ang="0">
                  <a:pos x="connsiteX1969" y="connsiteY1969"/>
                </a:cxn>
                <a:cxn ang="0">
                  <a:pos x="connsiteX1970" y="connsiteY1970"/>
                </a:cxn>
                <a:cxn ang="0">
                  <a:pos x="connsiteX1971" y="connsiteY1971"/>
                </a:cxn>
                <a:cxn ang="0">
                  <a:pos x="connsiteX1972" y="connsiteY1972"/>
                </a:cxn>
                <a:cxn ang="0">
                  <a:pos x="connsiteX1973" y="connsiteY1973"/>
                </a:cxn>
                <a:cxn ang="0">
                  <a:pos x="connsiteX1974" y="connsiteY1974"/>
                </a:cxn>
                <a:cxn ang="0">
                  <a:pos x="connsiteX1975" y="connsiteY1975"/>
                </a:cxn>
                <a:cxn ang="0">
                  <a:pos x="connsiteX1976" y="connsiteY1976"/>
                </a:cxn>
                <a:cxn ang="0">
                  <a:pos x="connsiteX1977" y="connsiteY1977"/>
                </a:cxn>
                <a:cxn ang="0">
                  <a:pos x="connsiteX1978" y="connsiteY1978"/>
                </a:cxn>
                <a:cxn ang="0">
                  <a:pos x="connsiteX1979" y="connsiteY1979"/>
                </a:cxn>
                <a:cxn ang="0">
                  <a:pos x="connsiteX1980" y="connsiteY1980"/>
                </a:cxn>
                <a:cxn ang="0">
                  <a:pos x="connsiteX1981" y="connsiteY1981"/>
                </a:cxn>
                <a:cxn ang="0">
                  <a:pos x="connsiteX1982" y="connsiteY1982"/>
                </a:cxn>
                <a:cxn ang="0">
                  <a:pos x="connsiteX1983" y="connsiteY1983"/>
                </a:cxn>
                <a:cxn ang="0">
                  <a:pos x="connsiteX1984" y="connsiteY1984"/>
                </a:cxn>
                <a:cxn ang="0">
                  <a:pos x="connsiteX1985" y="connsiteY1985"/>
                </a:cxn>
                <a:cxn ang="0">
                  <a:pos x="connsiteX1986" y="connsiteY1986"/>
                </a:cxn>
                <a:cxn ang="0">
                  <a:pos x="connsiteX1987" y="connsiteY1987"/>
                </a:cxn>
                <a:cxn ang="0">
                  <a:pos x="connsiteX1988" y="connsiteY1988"/>
                </a:cxn>
                <a:cxn ang="0">
                  <a:pos x="connsiteX1989" y="connsiteY1989"/>
                </a:cxn>
                <a:cxn ang="0">
                  <a:pos x="connsiteX1990" y="connsiteY1990"/>
                </a:cxn>
                <a:cxn ang="0">
                  <a:pos x="connsiteX1991" y="connsiteY1991"/>
                </a:cxn>
                <a:cxn ang="0">
                  <a:pos x="connsiteX1992" y="connsiteY1992"/>
                </a:cxn>
                <a:cxn ang="0">
                  <a:pos x="connsiteX1993" y="connsiteY1993"/>
                </a:cxn>
                <a:cxn ang="0">
                  <a:pos x="connsiteX1994" y="connsiteY1994"/>
                </a:cxn>
                <a:cxn ang="0">
                  <a:pos x="connsiteX1995" y="connsiteY1995"/>
                </a:cxn>
                <a:cxn ang="0">
                  <a:pos x="connsiteX1996" y="connsiteY1996"/>
                </a:cxn>
                <a:cxn ang="0">
                  <a:pos x="connsiteX1997" y="connsiteY1997"/>
                </a:cxn>
                <a:cxn ang="0">
                  <a:pos x="connsiteX1998" y="connsiteY1998"/>
                </a:cxn>
                <a:cxn ang="0">
                  <a:pos x="connsiteX1999" y="connsiteY1999"/>
                </a:cxn>
                <a:cxn ang="0">
                  <a:pos x="connsiteX2000" y="connsiteY2000"/>
                </a:cxn>
                <a:cxn ang="0">
                  <a:pos x="connsiteX2001" y="connsiteY2001"/>
                </a:cxn>
                <a:cxn ang="0">
                  <a:pos x="connsiteX2002" y="connsiteY2002"/>
                </a:cxn>
                <a:cxn ang="0">
                  <a:pos x="connsiteX2003" y="connsiteY2003"/>
                </a:cxn>
                <a:cxn ang="0">
                  <a:pos x="connsiteX2004" y="connsiteY2004"/>
                </a:cxn>
                <a:cxn ang="0">
                  <a:pos x="connsiteX2005" y="connsiteY2005"/>
                </a:cxn>
                <a:cxn ang="0">
                  <a:pos x="connsiteX2006" y="connsiteY2006"/>
                </a:cxn>
                <a:cxn ang="0">
                  <a:pos x="connsiteX2007" y="connsiteY2007"/>
                </a:cxn>
                <a:cxn ang="0">
                  <a:pos x="connsiteX2008" y="connsiteY2008"/>
                </a:cxn>
                <a:cxn ang="0">
                  <a:pos x="connsiteX2009" y="connsiteY2009"/>
                </a:cxn>
                <a:cxn ang="0">
                  <a:pos x="connsiteX2010" y="connsiteY2010"/>
                </a:cxn>
                <a:cxn ang="0">
                  <a:pos x="connsiteX2011" y="connsiteY2011"/>
                </a:cxn>
                <a:cxn ang="0">
                  <a:pos x="connsiteX2012" y="connsiteY2012"/>
                </a:cxn>
                <a:cxn ang="0">
                  <a:pos x="connsiteX2013" y="connsiteY2013"/>
                </a:cxn>
                <a:cxn ang="0">
                  <a:pos x="connsiteX2014" y="connsiteY2014"/>
                </a:cxn>
                <a:cxn ang="0">
                  <a:pos x="connsiteX2015" y="connsiteY2015"/>
                </a:cxn>
                <a:cxn ang="0">
                  <a:pos x="connsiteX2016" y="connsiteY2016"/>
                </a:cxn>
                <a:cxn ang="0">
                  <a:pos x="connsiteX2017" y="connsiteY2017"/>
                </a:cxn>
                <a:cxn ang="0">
                  <a:pos x="connsiteX2018" y="connsiteY2018"/>
                </a:cxn>
                <a:cxn ang="0">
                  <a:pos x="connsiteX2019" y="connsiteY2019"/>
                </a:cxn>
                <a:cxn ang="0">
                  <a:pos x="connsiteX2020" y="connsiteY2020"/>
                </a:cxn>
                <a:cxn ang="0">
                  <a:pos x="connsiteX2021" y="connsiteY2021"/>
                </a:cxn>
                <a:cxn ang="0">
                  <a:pos x="connsiteX2022" y="connsiteY2022"/>
                </a:cxn>
                <a:cxn ang="0">
                  <a:pos x="connsiteX2023" y="connsiteY2023"/>
                </a:cxn>
                <a:cxn ang="0">
                  <a:pos x="connsiteX2024" y="connsiteY2024"/>
                </a:cxn>
                <a:cxn ang="0">
                  <a:pos x="connsiteX2025" y="connsiteY2025"/>
                </a:cxn>
                <a:cxn ang="0">
                  <a:pos x="connsiteX2026" y="connsiteY2026"/>
                </a:cxn>
                <a:cxn ang="0">
                  <a:pos x="connsiteX2027" y="connsiteY2027"/>
                </a:cxn>
                <a:cxn ang="0">
                  <a:pos x="connsiteX2028" y="connsiteY2028"/>
                </a:cxn>
                <a:cxn ang="0">
                  <a:pos x="connsiteX2029" y="connsiteY2029"/>
                </a:cxn>
                <a:cxn ang="0">
                  <a:pos x="connsiteX2030" y="connsiteY2030"/>
                </a:cxn>
                <a:cxn ang="0">
                  <a:pos x="connsiteX2031" y="connsiteY2031"/>
                </a:cxn>
                <a:cxn ang="0">
                  <a:pos x="connsiteX2032" y="connsiteY2032"/>
                </a:cxn>
                <a:cxn ang="0">
                  <a:pos x="connsiteX2033" y="connsiteY2033"/>
                </a:cxn>
                <a:cxn ang="0">
                  <a:pos x="connsiteX2034" y="connsiteY2034"/>
                </a:cxn>
                <a:cxn ang="0">
                  <a:pos x="connsiteX2035" y="connsiteY2035"/>
                </a:cxn>
                <a:cxn ang="0">
                  <a:pos x="connsiteX2036" y="connsiteY2036"/>
                </a:cxn>
                <a:cxn ang="0">
                  <a:pos x="connsiteX2037" y="connsiteY2037"/>
                </a:cxn>
                <a:cxn ang="0">
                  <a:pos x="connsiteX2038" y="connsiteY2038"/>
                </a:cxn>
                <a:cxn ang="0">
                  <a:pos x="connsiteX2039" y="connsiteY2039"/>
                </a:cxn>
                <a:cxn ang="0">
                  <a:pos x="connsiteX2040" y="connsiteY2040"/>
                </a:cxn>
                <a:cxn ang="0">
                  <a:pos x="connsiteX2041" y="connsiteY2041"/>
                </a:cxn>
                <a:cxn ang="0">
                  <a:pos x="connsiteX2042" y="connsiteY2042"/>
                </a:cxn>
                <a:cxn ang="0">
                  <a:pos x="connsiteX2043" y="connsiteY2043"/>
                </a:cxn>
                <a:cxn ang="0">
                  <a:pos x="connsiteX2044" y="connsiteY2044"/>
                </a:cxn>
                <a:cxn ang="0">
                  <a:pos x="connsiteX2045" y="connsiteY2045"/>
                </a:cxn>
                <a:cxn ang="0">
                  <a:pos x="connsiteX2046" y="connsiteY2046"/>
                </a:cxn>
                <a:cxn ang="0">
                  <a:pos x="connsiteX2047" y="connsiteY2047"/>
                </a:cxn>
                <a:cxn ang="0">
                  <a:pos x="connsiteX2048" y="connsiteY2048"/>
                </a:cxn>
                <a:cxn ang="0">
                  <a:pos x="connsiteX2049" y="connsiteY2049"/>
                </a:cxn>
                <a:cxn ang="0">
                  <a:pos x="connsiteX2050" y="connsiteY2050"/>
                </a:cxn>
                <a:cxn ang="0">
                  <a:pos x="connsiteX2051" y="connsiteY2051"/>
                </a:cxn>
                <a:cxn ang="0">
                  <a:pos x="connsiteX2052" y="connsiteY2052"/>
                </a:cxn>
                <a:cxn ang="0">
                  <a:pos x="connsiteX2053" y="connsiteY2053"/>
                </a:cxn>
                <a:cxn ang="0">
                  <a:pos x="connsiteX2054" y="connsiteY2054"/>
                </a:cxn>
                <a:cxn ang="0">
                  <a:pos x="connsiteX2055" y="connsiteY2055"/>
                </a:cxn>
                <a:cxn ang="0">
                  <a:pos x="connsiteX2056" y="connsiteY2056"/>
                </a:cxn>
                <a:cxn ang="0">
                  <a:pos x="connsiteX2057" y="connsiteY2057"/>
                </a:cxn>
                <a:cxn ang="0">
                  <a:pos x="connsiteX2058" y="connsiteY2058"/>
                </a:cxn>
                <a:cxn ang="0">
                  <a:pos x="connsiteX2059" y="connsiteY2059"/>
                </a:cxn>
                <a:cxn ang="0">
                  <a:pos x="connsiteX2060" y="connsiteY2060"/>
                </a:cxn>
                <a:cxn ang="0">
                  <a:pos x="connsiteX2061" y="connsiteY2061"/>
                </a:cxn>
                <a:cxn ang="0">
                  <a:pos x="connsiteX2062" y="connsiteY2062"/>
                </a:cxn>
                <a:cxn ang="0">
                  <a:pos x="connsiteX2063" y="connsiteY2063"/>
                </a:cxn>
                <a:cxn ang="0">
                  <a:pos x="connsiteX2064" y="connsiteY2064"/>
                </a:cxn>
                <a:cxn ang="0">
                  <a:pos x="connsiteX2065" y="connsiteY2065"/>
                </a:cxn>
                <a:cxn ang="0">
                  <a:pos x="connsiteX2066" y="connsiteY2066"/>
                </a:cxn>
                <a:cxn ang="0">
                  <a:pos x="connsiteX2067" y="connsiteY2067"/>
                </a:cxn>
                <a:cxn ang="0">
                  <a:pos x="connsiteX2068" y="connsiteY2068"/>
                </a:cxn>
                <a:cxn ang="0">
                  <a:pos x="connsiteX2069" y="connsiteY2069"/>
                </a:cxn>
                <a:cxn ang="0">
                  <a:pos x="connsiteX2070" y="connsiteY2070"/>
                </a:cxn>
                <a:cxn ang="0">
                  <a:pos x="connsiteX2071" y="connsiteY2071"/>
                </a:cxn>
                <a:cxn ang="0">
                  <a:pos x="connsiteX2072" y="connsiteY2072"/>
                </a:cxn>
                <a:cxn ang="0">
                  <a:pos x="connsiteX2073" y="connsiteY2073"/>
                </a:cxn>
                <a:cxn ang="0">
                  <a:pos x="connsiteX2074" y="connsiteY2074"/>
                </a:cxn>
                <a:cxn ang="0">
                  <a:pos x="connsiteX2075" y="connsiteY2075"/>
                </a:cxn>
                <a:cxn ang="0">
                  <a:pos x="connsiteX2076" y="connsiteY2076"/>
                </a:cxn>
                <a:cxn ang="0">
                  <a:pos x="connsiteX2077" y="connsiteY2077"/>
                </a:cxn>
                <a:cxn ang="0">
                  <a:pos x="connsiteX2078" y="connsiteY2078"/>
                </a:cxn>
                <a:cxn ang="0">
                  <a:pos x="connsiteX2079" y="connsiteY2079"/>
                </a:cxn>
                <a:cxn ang="0">
                  <a:pos x="connsiteX2080" y="connsiteY2080"/>
                </a:cxn>
                <a:cxn ang="0">
                  <a:pos x="connsiteX2081" y="connsiteY2081"/>
                </a:cxn>
                <a:cxn ang="0">
                  <a:pos x="connsiteX2082" y="connsiteY2082"/>
                </a:cxn>
                <a:cxn ang="0">
                  <a:pos x="connsiteX2083" y="connsiteY2083"/>
                </a:cxn>
                <a:cxn ang="0">
                  <a:pos x="connsiteX2084" y="connsiteY2084"/>
                </a:cxn>
                <a:cxn ang="0">
                  <a:pos x="connsiteX2085" y="connsiteY2085"/>
                </a:cxn>
                <a:cxn ang="0">
                  <a:pos x="connsiteX2086" y="connsiteY2086"/>
                </a:cxn>
                <a:cxn ang="0">
                  <a:pos x="connsiteX2087" y="connsiteY2087"/>
                </a:cxn>
                <a:cxn ang="0">
                  <a:pos x="connsiteX2088" y="connsiteY2088"/>
                </a:cxn>
                <a:cxn ang="0">
                  <a:pos x="connsiteX2089" y="connsiteY2089"/>
                </a:cxn>
                <a:cxn ang="0">
                  <a:pos x="connsiteX2090" y="connsiteY2090"/>
                </a:cxn>
                <a:cxn ang="0">
                  <a:pos x="connsiteX2091" y="connsiteY2091"/>
                </a:cxn>
                <a:cxn ang="0">
                  <a:pos x="connsiteX2092" y="connsiteY2092"/>
                </a:cxn>
                <a:cxn ang="0">
                  <a:pos x="connsiteX2093" y="connsiteY2093"/>
                </a:cxn>
                <a:cxn ang="0">
                  <a:pos x="connsiteX2094" y="connsiteY2094"/>
                </a:cxn>
                <a:cxn ang="0">
                  <a:pos x="connsiteX2095" y="connsiteY2095"/>
                </a:cxn>
                <a:cxn ang="0">
                  <a:pos x="connsiteX2096" y="connsiteY2096"/>
                </a:cxn>
                <a:cxn ang="0">
                  <a:pos x="connsiteX2097" y="connsiteY2097"/>
                </a:cxn>
                <a:cxn ang="0">
                  <a:pos x="connsiteX2098" y="connsiteY2098"/>
                </a:cxn>
                <a:cxn ang="0">
                  <a:pos x="connsiteX2099" y="connsiteY2099"/>
                </a:cxn>
                <a:cxn ang="0">
                  <a:pos x="connsiteX2100" y="connsiteY2100"/>
                </a:cxn>
                <a:cxn ang="0">
                  <a:pos x="connsiteX2101" y="connsiteY2101"/>
                </a:cxn>
                <a:cxn ang="0">
                  <a:pos x="connsiteX2102" y="connsiteY2102"/>
                </a:cxn>
                <a:cxn ang="0">
                  <a:pos x="connsiteX2103" y="connsiteY2103"/>
                </a:cxn>
                <a:cxn ang="0">
                  <a:pos x="connsiteX2104" y="connsiteY2104"/>
                </a:cxn>
                <a:cxn ang="0">
                  <a:pos x="connsiteX2105" y="connsiteY2105"/>
                </a:cxn>
                <a:cxn ang="0">
                  <a:pos x="connsiteX2106" y="connsiteY2106"/>
                </a:cxn>
                <a:cxn ang="0">
                  <a:pos x="connsiteX2107" y="connsiteY2107"/>
                </a:cxn>
                <a:cxn ang="0">
                  <a:pos x="connsiteX2108" y="connsiteY2108"/>
                </a:cxn>
                <a:cxn ang="0">
                  <a:pos x="connsiteX2109" y="connsiteY2109"/>
                </a:cxn>
                <a:cxn ang="0">
                  <a:pos x="connsiteX2110" y="connsiteY2110"/>
                </a:cxn>
                <a:cxn ang="0">
                  <a:pos x="connsiteX2111" y="connsiteY2111"/>
                </a:cxn>
                <a:cxn ang="0">
                  <a:pos x="connsiteX2112" y="connsiteY2112"/>
                </a:cxn>
                <a:cxn ang="0">
                  <a:pos x="connsiteX2113" y="connsiteY2113"/>
                </a:cxn>
                <a:cxn ang="0">
                  <a:pos x="connsiteX2114" y="connsiteY2114"/>
                </a:cxn>
                <a:cxn ang="0">
                  <a:pos x="connsiteX2115" y="connsiteY2115"/>
                </a:cxn>
                <a:cxn ang="0">
                  <a:pos x="connsiteX2116" y="connsiteY2116"/>
                </a:cxn>
                <a:cxn ang="0">
                  <a:pos x="connsiteX2117" y="connsiteY2117"/>
                </a:cxn>
                <a:cxn ang="0">
                  <a:pos x="connsiteX2118" y="connsiteY2118"/>
                </a:cxn>
                <a:cxn ang="0">
                  <a:pos x="connsiteX2119" y="connsiteY2119"/>
                </a:cxn>
                <a:cxn ang="0">
                  <a:pos x="connsiteX2120" y="connsiteY2120"/>
                </a:cxn>
                <a:cxn ang="0">
                  <a:pos x="connsiteX2121" y="connsiteY2121"/>
                </a:cxn>
                <a:cxn ang="0">
                  <a:pos x="connsiteX2122" y="connsiteY2122"/>
                </a:cxn>
                <a:cxn ang="0">
                  <a:pos x="connsiteX2123" y="connsiteY2123"/>
                </a:cxn>
                <a:cxn ang="0">
                  <a:pos x="connsiteX2124" y="connsiteY2124"/>
                </a:cxn>
                <a:cxn ang="0">
                  <a:pos x="connsiteX2125" y="connsiteY2125"/>
                </a:cxn>
                <a:cxn ang="0">
                  <a:pos x="connsiteX2126" y="connsiteY2126"/>
                </a:cxn>
                <a:cxn ang="0">
                  <a:pos x="connsiteX2127" y="connsiteY2127"/>
                </a:cxn>
                <a:cxn ang="0">
                  <a:pos x="connsiteX2128" y="connsiteY2128"/>
                </a:cxn>
                <a:cxn ang="0">
                  <a:pos x="connsiteX2129" y="connsiteY2129"/>
                </a:cxn>
                <a:cxn ang="0">
                  <a:pos x="connsiteX2130" y="connsiteY2130"/>
                </a:cxn>
                <a:cxn ang="0">
                  <a:pos x="connsiteX2131" y="connsiteY2131"/>
                </a:cxn>
                <a:cxn ang="0">
                  <a:pos x="connsiteX2132" y="connsiteY2132"/>
                </a:cxn>
                <a:cxn ang="0">
                  <a:pos x="connsiteX2133" y="connsiteY2133"/>
                </a:cxn>
                <a:cxn ang="0">
                  <a:pos x="connsiteX2134" y="connsiteY2134"/>
                </a:cxn>
                <a:cxn ang="0">
                  <a:pos x="connsiteX2135" y="connsiteY2135"/>
                </a:cxn>
                <a:cxn ang="0">
                  <a:pos x="connsiteX2136" y="connsiteY2136"/>
                </a:cxn>
                <a:cxn ang="0">
                  <a:pos x="connsiteX2137" y="connsiteY2137"/>
                </a:cxn>
                <a:cxn ang="0">
                  <a:pos x="connsiteX2138" y="connsiteY2138"/>
                </a:cxn>
                <a:cxn ang="0">
                  <a:pos x="connsiteX2139" y="connsiteY2139"/>
                </a:cxn>
                <a:cxn ang="0">
                  <a:pos x="connsiteX2140" y="connsiteY2140"/>
                </a:cxn>
                <a:cxn ang="0">
                  <a:pos x="connsiteX2141" y="connsiteY2141"/>
                </a:cxn>
                <a:cxn ang="0">
                  <a:pos x="connsiteX2142" y="connsiteY2142"/>
                </a:cxn>
                <a:cxn ang="0">
                  <a:pos x="connsiteX2143" y="connsiteY2143"/>
                </a:cxn>
                <a:cxn ang="0">
                  <a:pos x="connsiteX2144" y="connsiteY2144"/>
                </a:cxn>
                <a:cxn ang="0">
                  <a:pos x="connsiteX2145" y="connsiteY2145"/>
                </a:cxn>
                <a:cxn ang="0">
                  <a:pos x="connsiteX2146" y="connsiteY2146"/>
                </a:cxn>
                <a:cxn ang="0">
                  <a:pos x="connsiteX2147" y="connsiteY2147"/>
                </a:cxn>
                <a:cxn ang="0">
                  <a:pos x="connsiteX2148" y="connsiteY2148"/>
                </a:cxn>
                <a:cxn ang="0">
                  <a:pos x="connsiteX2149" y="connsiteY2149"/>
                </a:cxn>
                <a:cxn ang="0">
                  <a:pos x="connsiteX2150" y="connsiteY2150"/>
                </a:cxn>
                <a:cxn ang="0">
                  <a:pos x="connsiteX2151" y="connsiteY2151"/>
                </a:cxn>
                <a:cxn ang="0">
                  <a:pos x="connsiteX2152" y="connsiteY2152"/>
                </a:cxn>
                <a:cxn ang="0">
                  <a:pos x="connsiteX2153" y="connsiteY2153"/>
                </a:cxn>
                <a:cxn ang="0">
                  <a:pos x="connsiteX2154" y="connsiteY2154"/>
                </a:cxn>
                <a:cxn ang="0">
                  <a:pos x="connsiteX2155" y="connsiteY2155"/>
                </a:cxn>
                <a:cxn ang="0">
                  <a:pos x="connsiteX2156" y="connsiteY2156"/>
                </a:cxn>
                <a:cxn ang="0">
                  <a:pos x="connsiteX2157" y="connsiteY2157"/>
                </a:cxn>
                <a:cxn ang="0">
                  <a:pos x="connsiteX2158" y="connsiteY2158"/>
                </a:cxn>
                <a:cxn ang="0">
                  <a:pos x="connsiteX2159" y="connsiteY2159"/>
                </a:cxn>
                <a:cxn ang="0">
                  <a:pos x="connsiteX2160" y="connsiteY2160"/>
                </a:cxn>
                <a:cxn ang="0">
                  <a:pos x="connsiteX2161" y="connsiteY2161"/>
                </a:cxn>
                <a:cxn ang="0">
                  <a:pos x="connsiteX2162" y="connsiteY2162"/>
                </a:cxn>
                <a:cxn ang="0">
                  <a:pos x="connsiteX2163" y="connsiteY2163"/>
                </a:cxn>
                <a:cxn ang="0">
                  <a:pos x="connsiteX2164" y="connsiteY2164"/>
                </a:cxn>
                <a:cxn ang="0">
                  <a:pos x="connsiteX2165" y="connsiteY2165"/>
                </a:cxn>
                <a:cxn ang="0">
                  <a:pos x="connsiteX2166" y="connsiteY2166"/>
                </a:cxn>
                <a:cxn ang="0">
                  <a:pos x="connsiteX2167" y="connsiteY2167"/>
                </a:cxn>
                <a:cxn ang="0">
                  <a:pos x="connsiteX2168" y="connsiteY2168"/>
                </a:cxn>
                <a:cxn ang="0">
                  <a:pos x="connsiteX2169" y="connsiteY2169"/>
                </a:cxn>
                <a:cxn ang="0">
                  <a:pos x="connsiteX2170" y="connsiteY2170"/>
                </a:cxn>
                <a:cxn ang="0">
                  <a:pos x="connsiteX2171" y="connsiteY2171"/>
                </a:cxn>
                <a:cxn ang="0">
                  <a:pos x="connsiteX2172" y="connsiteY2172"/>
                </a:cxn>
                <a:cxn ang="0">
                  <a:pos x="connsiteX2173" y="connsiteY2173"/>
                </a:cxn>
                <a:cxn ang="0">
                  <a:pos x="connsiteX2174" y="connsiteY2174"/>
                </a:cxn>
                <a:cxn ang="0">
                  <a:pos x="connsiteX2175" y="connsiteY2175"/>
                </a:cxn>
                <a:cxn ang="0">
                  <a:pos x="connsiteX2176" y="connsiteY2176"/>
                </a:cxn>
                <a:cxn ang="0">
                  <a:pos x="connsiteX2177" y="connsiteY2177"/>
                </a:cxn>
                <a:cxn ang="0">
                  <a:pos x="connsiteX2178" y="connsiteY2178"/>
                </a:cxn>
                <a:cxn ang="0">
                  <a:pos x="connsiteX2179" y="connsiteY2179"/>
                </a:cxn>
                <a:cxn ang="0">
                  <a:pos x="connsiteX2180" y="connsiteY2180"/>
                </a:cxn>
                <a:cxn ang="0">
                  <a:pos x="connsiteX2181" y="connsiteY2181"/>
                </a:cxn>
                <a:cxn ang="0">
                  <a:pos x="connsiteX2182" y="connsiteY2182"/>
                </a:cxn>
                <a:cxn ang="0">
                  <a:pos x="connsiteX2183" y="connsiteY2183"/>
                </a:cxn>
                <a:cxn ang="0">
                  <a:pos x="connsiteX2184" y="connsiteY2184"/>
                </a:cxn>
                <a:cxn ang="0">
                  <a:pos x="connsiteX2185" y="connsiteY2185"/>
                </a:cxn>
                <a:cxn ang="0">
                  <a:pos x="connsiteX2186" y="connsiteY2186"/>
                </a:cxn>
                <a:cxn ang="0">
                  <a:pos x="connsiteX2187" y="connsiteY2187"/>
                </a:cxn>
                <a:cxn ang="0">
                  <a:pos x="connsiteX2188" y="connsiteY2188"/>
                </a:cxn>
                <a:cxn ang="0">
                  <a:pos x="connsiteX2189" y="connsiteY2189"/>
                </a:cxn>
                <a:cxn ang="0">
                  <a:pos x="connsiteX2190" y="connsiteY2190"/>
                </a:cxn>
                <a:cxn ang="0">
                  <a:pos x="connsiteX2191" y="connsiteY2191"/>
                </a:cxn>
                <a:cxn ang="0">
                  <a:pos x="connsiteX2192" y="connsiteY2192"/>
                </a:cxn>
                <a:cxn ang="0">
                  <a:pos x="connsiteX2193" y="connsiteY2193"/>
                </a:cxn>
                <a:cxn ang="0">
                  <a:pos x="connsiteX2194" y="connsiteY2194"/>
                </a:cxn>
                <a:cxn ang="0">
                  <a:pos x="connsiteX2195" y="connsiteY2195"/>
                </a:cxn>
                <a:cxn ang="0">
                  <a:pos x="connsiteX2196" y="connsiteY2196"/>
                </a:cxn>
                <a:cxn ang="0">
                  <a:pos x="connsiteX2197" y="connsiteY2197"/>
                </a:cxn>
                <a:cxn ang="0">
                  <a:pos x="connsiteX2198" y="connsiteY2198"/>
                </a:cxn>
                <a:cxn ang="0">
                  <a:pos x="connsiteX2199" y="connsiteY2199"/>
                </a:cxn>
                <a:cxn ang="0">
                  <a:pos x="connsiteX2200" y="connsiteY2200"/>
                </a:cxn>
                <a:cxn ang="0">
                  <a:pos x="connsiteX2201" y="connsiteY2201"/>
                </a:cxn>
                <a:cxn ang="0">
                  <a:pos x="connsiteX2202" y="connsiteY2202"/>
                </a:cxn>
                <a:cxn ang="0">
                  <a:pos x="connsiteX2203" y="connsiteY2203"/>
                </a:cxn>
                <a:cxn ang="0">
                  <a:pos x="connsiteX2204" y="connsiteY2204"/>
                </a:cxn>
                <a:cxn ang="0">
                  <a:pos x="connsiteX2205" y="connsiteY2205"/>
                </a:cxn>
                <a:cxn ang="0">
                  <a:pos x="connsiteX2206" y="connsiteY2206"/>
                </a:cxn>
                <a:cxn ang="0">
                  <a:pos x="connsiteX2207" y="connsiteY2207"/>
                </a:cxn>
                <a:cxn ang="0">
                  <a:pos x="connsiteX2208" y="connsiteY2208"/>
                </a:cxn>
                <a:cxn ang="0">
                  <a:pos x="connsiteX2209" y="connsiteY2209"/>
                </a:cxn>
                <a:cxn ang="0">
                  <a:pos x="connsiteX2210" y="connsiteY2210"/>
                </a:cxn>
                <a:cxn ang="0">
                  <a:pos x="connsiteX2211" y="connsiteY2211"/>
                </a:cxn>
                <a:cxn ang="0">
                  <a:pos x="connsiteX2212" y="connsiteY2212"/>
                </a:cxn>
                <a:cxn ang="0">
                  <a:pos x="connsiteX2213" y="connsiteY2213"/>
                </a:cxn>
                <a:cxn ang="0">
                  <a:pos x="connsiteX2214" y="connsiteY2214"/>
                </a:cxn>
                <a:cxn ang="0">
                  <a:pos x="connsiteX2215" y="connsiteY2215"/>
                </a:cxn>
                <a:cxn ang="0">
                  <a:pos x="connsiteX2216" y="connsiteY2216"/>
                </a:cxn>
                <a:cxn ang="0">
                  <a:pos x="connsiteX2217" y="connsiteY2217"/>
                </a:cxn>
                <a:cxn ang="0">
                  <a:pos x="connsiteX2218" y="connsiteY2218"/>
                </a:cxn>
                <a:cxn ang="0">
                  <a:pos x="connsiteX2219" y="connsiteY2219"/>
                </a:cxn>
                <a:cxn ang="0">
                  <a:pos x="connsiteX2220" y="connsiteY2220"/>
                </a:cxn>
                <a:cxn ang="0">
                  <a:pos x="connsiteX2221" y="connsiteY2221"/>
                </a:cxn>
                <a:cxn ang="0">
                  <a:pos x="connsiteX2222" y="connsiteY2222"/>
                </a:cxn>
                <a:cxn ang="0">
                  <a:pos x="connsiteX2223" y="connsiteY2223"/>
                </a:cxn>
                <a:cxn ang="0">
                  <a:pos x="connsiteX2224" y="connsiteY2224"/>
                </a:cxn>
                <a:cxn ang="0">
                  <a:pos x="connsiteX2225" y="connsiteY2225"/>
                </a:cxn>
                <a:cxn ang="0">
                  <a:pos x="connsiteX2226" y="connsiteY2226"/>
                </a:cxn>
                <a:cxn ang="0">
                  <a:pos x="connsiteX2227" y="connsiteY2227"/>
                </a:cxn>
                <a:cxn ang="0">
                  <a:pos x="connsiteX2228" y="connsiteY2228"/>
                </a:cxn>
                <a:cxn ang="0">
                  <a:pos x="connsiteX2229" y="connsiteY2229"/>
                </a:cxn>
                <a:cxn ang="0">
                  <a:pos x="connsiteX2230" y="connsiteY2230"/>
                </a:cxn>
                <a:cxn ang="0">
                  <a:pos x="connsiteX2231" y="connsiteY2231"/>
                </a:cxn>
                <a:cxn ang="0">
                  <a:pos x="connsiteX2232" y="connsiteY2232"/>
                </a:cxn>
                <a:cxn ang="0">
                  <a:pos x="connsiteX2233" y="connsiteY2233"/>
                </a:cxn>
                <a:cxn ang="0">
                  <a:pos x="connsiteX2234" y="connsiteY2234"/>
                </a:cxn>
                <a:cxn ang="0">
                  <a:pos x="connsiteX2235" y="connsiteY2235"/>
                </a:cxn>
                <a:cxn ang="0">
                  <a:pos x="connsiteX2236" y="connsiteY2236"/>
                </a:cxn>
                <a:cxn ang="0">
                  <a:pos x="connsiteX2237" y="connsiteY2237"/>
                </a:cxn>
                <a:cxn ang="0">
                  <a:pos x="connsiteX2238" y="connsiteY2238"/>
                </a:cxn>
                <a:cxn ang="0">
                  <a:pos x="connsiteX2239" y="connsiteY2239"/>
                </a:cxn>
                <a:cxn ang="0">
                  <a:pos x="connsiteX2240" y="connsiteY2240"/>
                </a:cxn>
                <a:cxn ang="0">
                  <a:pos x="connsiteX2241" y="connsiteY2241"/>
                </a:cxn>
                <a:cxn ang="0">
                  <a:pos x="connsiteX2242" y="connsiteY2242"/>
                </a:cxn>
                <a:cxn ang="0">
                  <a:pos x="connsiteX2243" y="connsiteY2243"/>
                </a:cxn>
                <a:cxn ang="0">
                  <a:pos x="connsiteX2244" y="connsiteY2244"/>
                </a:cxn>
                <a:cxn ang="0">
                  <a:pos x="connsiteX2245" y="connsiteY2245"/>
                </a:cxn>
                <a:cxn ang="0">
                  <a:pos x="connsiteX2246" y="connsiteY2246"/>
                </a:cxn>
                <a:cxn ang="0">
                  <a:pos x="connsiteX2247" y="connsiteY2247"/>
                </a:cxn>
                <a:cxn ang="0">
                  <a:pos x="connsiteX2248" y="connsiteY2248"/>
                </a:cxn>
                <a:cxn ang="0">
                  <a:pos x="connsiteX2249" y="connsiteY2249"/>
                </a:cxn>
                <a:cxn ang="0">
                  <a:pos x="connsiteX2250" y="connsiteY2250"/>
                </a:cxn>
                <a:cxn ang="0">
                  <a:pos x="connsiteX2251" y="connsiteY2251"/>
                </a:cxn>
                <a:cxn ang="0">
                  <a:pos x="connsiteX2252" y="connsiteY2252"/>
                </a:cxn>
                <a:cxn ang="0">
                  <a:pos x="connsiteX2253" y="connsiteY2253"/>
                </a:cxn>
                <a:cxn ang="0">
                  <a:pos x="connsiteX2254" y="connsiteY2254"/>
                </a:cxn>
                <a:cxn ang="0">
                  <a:pos x="connsiteX2255" y="connsiteY2255"/>
                </a:cxn>
                <a:cxn ang="0">
                  <a:pos x="connsiteX2256" y="connsiteY2256"/>
                </a:cxn>
                <a:cxn ang="0">
                  <a:pos x="connsiteX2257" y="connsiteY2257"/>
                </a:cxn>
                <a:cxn ang="0">
                  <a:pos x="connsiteX2258" y="connsiteY2258"/>
                </a:cxn>
                <a:cxn ang="0">
                  <a:pos x="connsiteX2259" y="connsiteY2259"/>
                </a:cxn>
                <a:cxn ang="0">
                  <a:pos x="connsiteX2260" y="connsiteY2260"/>
                </a:cxn>
                <a:cxn ang="0">
                  <a:pos x="connsiteX2261" y="connsiteY2261"/>
                </a:cxn>
                <a:cxn ang="0">
                  <a:pos x="connsiteX2262" y="connsiteY2262"/>
                </a:cxn>
                <a:cxn ang="0">
                  <a:pos x="connsiteX2263" y="connsiteY2263"/>
                </a:cxn>
                <a:cxn ang="0">
                  <a:pos x="connsiteX2264" y="connsiteY2264"/>
                </a:cxn>
                <a:cxn ang="0">
                  <a:pos x="connsiteX2265" y="connsiteY2265"/>
                </a:cxn>
                <a:cxn ang="0">
                  <a:pos x="connsiteX2266" y="connsiteY2266"/>
                </a:cxn>
                <a:cxn ang="0">
                  <a:pos x="connsiteX2267" y="connsiteY2267"/>
                </a:cxn>
                <a:cxn ang="0">
                  <a:pos x="connsiteX2268" y="connsiteY2268"/>
                </a:cxn>
                <a:cxn ang="0">
                  <a:pos x="connsiteX2269" y="connsiteY2269"/>
                </a:cxn>
                <a:cxn ang="0">
                  <a:pos x="connsiteX2270" y="connsiteY2270"/>
                </a:cxn>
                <a:cxn ang="0">
                  <a:pos x="connsiteX2271" y="connsiteY2271"/>
                </a:cxn>
                <a:cxn ang="0">
                  <a:pos x="connsiteX2272" y="connsiteY2272"/>
                </a:cxn>
                <a:cxn ang="0">
                  <a:pos x="connsiteX2273" y="connsiteY2273"/>
                </a:cxn>
                <a:cxn ang="0">
                  <a:pos x="connsiteX2274" y="connsiteY2274"/>
                </a:cxn>
                <a:cxn ang="0">
                  <a:pos x="connsiteX2275" y="connsiteY2275"/>
                </a:cxn>
                <a:cxn ang="0">
                  <a:pos x="connsiteX2276" y="connsiteY2276"/>
                </a:cxn>
                <a:cxn ang="0">
                  <a:pos x="connsiteX2277" y="connsiteY2277"/>
                </a:cxn>
                <a:cxn ang="0">
                  <a:pos x="connsiteX2278" y="connsiteY2278"/>
                </a:cxn>
                <a:cxn ang="0">
                  <a:pos x="connsiteX2279" y="connsiteY2279"/>
                </a:cxn>
                <a:cxn ang="0">
                  <a:pos x="connsiteX2280" y="connsiteY2280"/>
                </a:cxn>
                <a:cxn ang="0">
                  <a:pos x="connsiteX2281" y="connsiteY2281"/>
                </a:cxn>
                <a:cxn ang="0">
                  <a:pos x="connsiteX2282" y="connsiteY2282"/>
                </a:cxn>
                <a:cxn ang="0">
                  <a:pos x="connsiteX2283" y="connsiteY2283"/>
                </a:cxn>
                <a:cxn ang="0">
                  <a:pos x="connsiteX2284" y="connsiteY2284"/>
                </a:cxn>
                <a:cxn ang="0">
                  <a:pos x="connsiteX2285" y="connsiteY2285"/>
                </a:cxn>
                <a:cxn ang="0">
                  <a:pos x="connsiteX2286" y="connsiteY2286"/>
                </a:cxn>
                <a:cxn ang="0">
                  <a:pos x="connsiteX2287" y="connsiteY2287"/>
                </a:cxn>
                <a:cxn ang="0">
                  <a:pos x="connsiteX2288" y="connsiteY2288"/>
                </a:cxn>
                <a:cxn ang="0">
                  <a:pos x="connsiteX2289" y="connsiteY2289"/>
                </a:cxn>
                <a:cxn ang="0">
                  <a:pos x="connsiteX2290" y="connsiteY2290"/>
                </a:cxn>
                <a:cxn ang="0">
                  <a:pos x="connsiteX2291" y="connsiteY2291"/>
                </a:cxn>
                <a:cxn ang="0">
                  <a:pos x="connsiteX2292" y="connsiteY2292"/>
                </a:cxn>
                <a:cxn ang="0">
                  <a:pos x="connsiteX2293" y="connsiteY2293"/>
                </a:cxn>
                <a:cxn ang="0">
                  <a:pos x="connsiteX2294" y="connsiteY2294"/>
                </a:cxn>
                <a:cxn ang="0">
                  <a:pos x="connsiteX2295" y="connsiteY2295"/>
                </a:cxn>
                <a:cxn ang="0">
                  <a:pos x="connsiteX2296" y="connsiteY2296"/>
                </a:cxn>
                <a:cxn ang="0">
                  <a:pos x="connsiteX2297" y="connsiteY2297"/>
                </a:cxn>
                <a:cxn ang="0">
                  <a:pos x="connsiteX2298" y="connsiteY2298"/>
                </a:cxn>
                <a:cxn ang="0">
                  <a:pos x="connsiteX2299" y="connsiteY2299"/>
                </a:cxn>
                <a:cxn ang="0">
                  <a:pos x="connsiteX2300" y="connsiteY2300"/>
                </a:cxn>
                <a:cxn ang="0">
                  <a:pos x="connsiteX2301" y="connsiteY2301"/>
                </a:cxn>
                <a:cxn ang="0">
                  <a:pos x="connsiteX2302" y="connsiteY2302"/>
                </a:cxn>
                <a:cxn ang="0">
                  <a:pos x="connsiteX2303" y="connsiteY2303"/>
                </a:cxn>
                <a:cxn ang="0">
                  <a:pos x="connsiteX2304" y="connsiteY2304"/>
                </a:cxn>
                <a:cxn ang="0">
                  <a:pos x="connsiteX2305" y="connsiteY2305"/>
                </a:cxn>
                <a:cxn ang="0">
                  <a:pos x="connsiteX2306" y="connsiteY2306"/>
                </a:cxn>
                <a:cxn ang="0">
                  <a:pos x="connsiteX2307" y="connsiteY2307"/>
                </a:cxn>
                <a:cxn ang="0">
                  <a:pos x="connsiteX2308" y="connsiteY2308"/>
                </a:cxn>
                <a:cxn ang="0">
                  <a:pos x="connsiteX2309" y="connsiteY2309"/>
                </a:cxn>
                <a:cxn ang="0">
                  <a:pos x="connsiteX2310" y="connsiteY2310"/>
                </a:cxn>
                <a:cxn ang="0">
                  <a:pos x="connsiteX2311" y="connsiteY2311"/>
                </a:cxn>
                <a:cxn ang="0">
                  <a:pos x="connsiteX2312" y="connsiteY2312"/>
                </a:cxn>
                <a:cxn ang="0">
                  <a:pos x="connsiteX2313" y="connsiteY2313"/>
                </a:cxn>
                <a:cxn ang="0">
                  <a:pos x="connsiteX2314" y="connsiteY2314"/>
                </a:cxn>
                <a:cxn ang="0">
                  <a:pos x="connsiteX2315" y="connsiteY2315"/>
                </a:cxn>
                <a:cxn ang="0">
                  <a:pos x="connsiteX2316" y="connsiteY2316"/>
                </a:cxn>
                <a:cxn ang="0">
                  <a:pos x="connsiteX2317" y="connsiteY2317"/>
                </a:cxn>
                <a:cxn ang="0">
                  <a:pos x="connsiteX2318" y="connsiteY2318"/>
                </a:cxn>
                <a:cxn ang="0">
                  <a:pos x="connsiteX2319" y="connsiteY2319"/>
                </a:cxn>
                <a:cxn ang="0">
                  <a:pos x="connsiteX2320" y="connsiteY2320"/>
                </a:cxn>
                <a:cxn ang="0">
                  <a:pos x="connsiteX2321" y="connsiteY2321"/>
                </a:cxn>
                <a:cxn ang="0">
                  <a:pos x="connsiteX2322" y="connsiteY2322"/>
                </a:cxn>
                <a:cxn ang="0">
                  <a:pos x="connsiteX2323" y="connsiteY2323"/>
                </a:cxn>
                <a:cxn ang="0">
                  <a:pos x="connsiteX2324" y="connsiteY2324"/>
                </a:cxn>
                <a:cxn ang="0">
                  <a:pos x="connsiteX2325" y="connsiteY2325"/>
                </a:cxn>
                <a:cxn ang="0">
                  <a:pos x="connsiteX2326" y="connsiteY2326"/>
                </a:cxn>
                <a:cxn ang="0">
                  <a:pos x="connsiteX2327" y="connsiteY2327"/>
                </a:cxn>
                <a:cxn ang="0">
                  <a:pos x="connsiteX2328" y="connsiteY2328"/>
                </a:cxn>
                <a:cxn ang="0">
                  <a:pos x="connsiteX2329" y="connsiteY2329"/>
                </a:cxn>
                <a:cxn ang="0">
                  <a:pos x="connsiteX2330" y="connsiteY2330"/>
                </a:cxn>
                <a:cxn ang="0">
                  <a:pos x="connsiteX2331" y="connsiteY2331"/>
                </a:cxn>
                <a:cxn ang="0">
                  <a:pos x="connsiteX2332" y="connsiteY2332"/>
                </a:cxn>
                <a:cxn ang="0">
                  <a:pos x="connsiteX2333" y="connsiteY2333"/>
                </a:cxn>
                <a:cxn ang="0">
                  <a:pos x="connsiteX2334" y="connsiteY2334"/>
                </a:cxn>
                <a:cxn ang="0">
                  <a:pos x="connsiteX2335" y="connsiteY2335"/>
                </a:cxn>
                <a:cxn ang="0">
                  <a:pos x="connsiteX2336" y="connsiteY2336"/>
                </a:cxn>
                <a:cxn ang="0">
                  <a:pos x="connsiteX2337" y="connsiteY2337"/>
                </a:cxn>
                <a:cxn ang="0">
                  <a:pos x="connsiteX2338" y="connsiteY2338"/>
                </a:cxn>
                <a:cxn ang="0">
                  <a:pos x="connsiteX2339" y="connsiteY2339"/>
                </a:cxn>
                <a:cxn ang="0">
                  <a:pos x="connsiteX2340" y="connsiteY2340"/>
                </a:cxn>
                <a:cxn ang="0">
                  <a:pos x="connsiteX2341" y="connsiteY2341"/>
                </a:cxn>
                <a:cxn ang="0">
                  <a:pos x="connsiteX2342" y="connsiteY2342"/>
                </a:cxn>
                <a:cxn ang="0">
                  <a:pos x="connsiteX2343" y="connsiteY2343"/>
                </a:cxn>
                <a:cxn ang="0">
                  <a:pos x="connsiteX2344" y="connsiteY2344"/>
                </a:cxn>
                <a:cxn ang="0">
                  <a:pos x="connsiteX2345" y="connsiteY2345"/>
                </a:cxn>
                <a:cxn ang="0">
                  <a:pos x="connsiteX2346" y="connsiteY2346"/>
                </a:cxn>
                <a:cxn ang="0">
                  <a:pos x="connsiteX2347" y="connsiteY2347"/>
                </a:cxn>
                <a:cxn ang="0">
                  <a:pos x="connsiteX2348" y="connsiteY2348"/>
                </a:cxn>
                <a:cxn ang="0">
                  <a:pos x="connsiteX2349" y="connsiteY2349"/>
                </a:cxn>
                <a:cxn ang="0">
                  <a:pos x="connsiteX2350" y="connsiteY2350"/>
                </a:cxn>
                <a:cxn ang="0">
                  <a:pos x="connsiteX2351" y="connsiteY2351"/>
                </a:cxn>
                <a:cxn ang="0">
                  <a:pos x="connsiteX2352" y="connsiteY2352"/>
                </a:cxn>
                <a:cxn ang="0">
                  <a:pos x="connsiteX2353" y="connsiteY2353"/>
                </a:cxn>
                <a:cxn ang="0">
                  <a:pos x="connsiteX2354" y="connsiteY2354"/>
                </a:cxn>
                <a:cxn ang="0">
                  <a:pos x="connsiteX2355" y="connsiteY2355"/>
                </a:cxn>
                <a:cxn ang="0">
                  <a:pos x="connsiteX2356" y="connsiteY2356"/>
                </a:cxn>
                <a:cxn ang="0">
                  <a:pos x="connsiteX2357" y="connsiteY2357"/>
                </a:cxn>
                <a:cxn ang="0">
                  <a:pos x="connsiteX2358" y="connsiteY2358"/>
                </a:cxn>
                <a:cxn ang="0">
                  <a:pos x="connsiteX2359" y="connsiteY2359"/>
                </a:cxn>
                <a:cxn ang="0">
                  <a:pos x="connsiteX2360" y="connsiteY2360"/>
                </a:cxn>
                <a:cxn ang="0">
                  <a:pos x="connsiteX2361" y="connsiteY2361"/>
                </a:cxn>
                <a:cxn ang="0">
                  <a:pos x="connsiteX2362" y="connsiteY2362"/>
                </a:cxn>
                <a:cxn ang="0">
                  <a:pos x="connsiteX2363" y="connsiteY2363"/>
                </a:cxn>
                <a:cxn ang="0">
                  <a:pos x="connsiteX2364" y="connsiteY2364"/>
                </a:cxn>
                <a:cxn ang="0">
                  <a:pos x="connsiteX2365" y="connsiteY2365"/>
                </a:cxn>
                <a:cxn ang="0">
                  <a:pos x="connsiteX2366" y="connsiteY2366"/>
                </a:cxn>
                <a:cxn ang="0">
                  <a:pos x="connsiteX2367" y="connsiteY2367"/>
                </a:cxn>
                <a:cxn ang="0">
                  <a:pos x="connsiteX2368" y="connsiteY2368"/>
                </a:cxn>
                <a:cxn ang="0">
                  <a:pos x="connsiteX2369" y="connsiteY2369"/>
                </a:cxn>
                <a:cxn ang="0">
                  <a:pos x="connsiteX2370" y="connsiteY2370"/>
                </a:cxn>
                <a:cxn ang="0">
                  <a:pos x="connsiteX2371" y="connsiteY2371"/>
                </a:cxn>
                <a:cxn ang="0">
                  <a:pos x="connsiteX2372" y="connsiteY2372"/>
                </a:cxn>
                <a:cxn ang="0">
                  <a:pos x="connsiteX2373" y="connsiteY2373"/>
                </a:cxn>
                <a:cxn ang="0">
                  <a:pos x="connsiteX2374" y="connsiteY2374"/>
                </a:cxn>
                <a:cxn ang="0">
                  <a:pos x="connsiteX2375" y="connsiteY2375"/>
                </a:cxn>
                <a:cxn ang="0">
                  <a:pos x="connsiteX2376" y="connsiteY2376"/>
                </a:cxn>
                <a:cxn ang="0">
                  <a:pos x="connsiteX2377" y="connsiteY2377"/>
                </a:cxn>
                <a:cxn ang="0">
                  <a:pos x="connsiteX2378" y="connsiteY2378"/>
                </a:cxn>
                <a:cxn ang="0">
                  <a:pos x="connsiteX2379" y="connsiteY2379"/>
                </a:cxn>
                <a:cxn ang="0">
                  <a:pos x="connsiteX2380" y="connsiteY2380"/>
                </a:cxn>
                <a:cxn ang="0">
                  <a:pos x="connsiteX2381" y="connsiteY2381"/>
                </a:cxn>
                <a:cxn ang="0">
                  <a:pos x="connsiteX2382" y="connsiteY2382"/>
                </a:cxn>
                <a:cxn ang="0">
                  <a:pos x="connsiteX2383" y="connsiteY2383"/>
                </a:cxn>
                <a:cxn ang="0">
                  <a:pos x="connsiteX2384" y="connsiteY2384"/>
                </a:cxn>
                <a:cxn ang="0">
                  <a:pos x="connsiteX2385" y="connsiteY2385"/>
                </a:cxn>
                <a:cxn ang="0">
                  <a:pos x="connsiteX2386" y="connsiteY2386"/>
                </a:cxn>
                <a:cxn ang="0">
                  <a:pos x="connsiteX2387" y="connsiteY2387"/>
                </a:cxn>
                <a:cxn ang="0">
                  <a:pos x="connsiteX2388" y="connsiteY2388"/>
                </a:cxn>
                <a:cxn ang="0">
                  <a:pos x="connsiteX2389" y="connsiteY2389"/>
                </a:cxn>
                <a:cxn ang="0">
                  <a:pos x="connsiteX2390" y="connsiteY2390"/>
                </a:cxn>
                <a:cxn ang="0">
                  <a:pos x="connsiteX2391" y="connsiteY2391"/>
                </a:cxn>
                <a:cxn ang="0">
                  <a:pos x="connsiteX2392" y="connsiteY2392"/>
                </a:cxn>
                <a:cxn ang="0">
                  <a:pos x="connsiteX2393" y="connsiteY2393"/>
                </a:cxn>
                <a:cxn ang="0">
                  <a:pos x="connsiteX2394" y="connsiteY2394"/>
                </a:cxn>
                <a:cxn ang="0">
                  <a:pos x="connsiteX2395" y="connsiteY2395"/>
                </a:cxn>
                <a:cxn ang="0">
                  <a:pos x="connsiteX2396" y="connsiteY2396"/>
                </a:cxn>
                <a:cxn ang="0">
                  <a:pos x="connsiteX2397" y="connsiteY2397"/>
                </a:cxn>
                <a:cxn ang="0">
                  <a:pos x="connsiteX2398" y="connsiteY2398"/>
                </a:cxn>
                <a:cxn ang="0">
                  <a:pos x="connsiteX2399" y="connsiteY2399"/>
                </a:cxn>
                <a:cxn ang="0">
                  <a:pos x="connsiteX2400" y="connsiteY2400"/>
                </a:cxn>
                <a:cxn ang="0">
                  <a:pos x="connsiteX2401" y="connsiteY2401"/>
                </a:cxn>
                <a:cxn ang="0">
                  <a:pos x="connsiteX2402" y="connsiteY2402"/>
                </a:cxn>
                <a:cxn ang="0">
                  <a:pos x="connsiteX2403" y="connsiteY2403"/>
                </a:cxn>
                <a:cxn ang="0">
                  <a:pos x="connsiteX2404" y="connsiteY2404"/>
                </a:cxn>
                <a:cxn ang="0">
                  <a:pos x="connsiteX2405" y="connsiteY2405"/>
                </a:cxn>
                <a:cxn ang="0">
                  <a:pos x="connsiteX2406" y="connsiteY2406"/>
                </a:cxn>
                <a:cxn ang="0">
                  <a:pos x="connsiteX2407" y="connsiteY2407"/>
                </a:cxn>
                <a:cxn ang="0">
                  <a:pos x="connsiteX2408" y="connsiteY2408"/>
                </a:cxn>
                <a:cxn ang="0">
                  <a:pos x="connsiteX2409" y="connsiteY2409"/>
                </a:cxn>
                <a:cxn ang="0">
                  <a:pos x="connsiteX2410" y="connsiteY2410"/>
                </a:cxn>
                <a:cxn ang="0">
                  <a:pos x="connsiteX2411" y="connsiteY2411"/>
                </a:cxn>
                <a:cxn ang="0">
                  <a:pos x="connsiteX2412" y="connsiteY2412"/>
                </a:cxn>
                <a:cxn ang="0">
                  <a:pos x="connsiteX2413" y="connsiteY2413"/>
                </a:cxn>
                <a:cxn ang="0">
                  <a:pos x="connsiteX2414" y="connsiteY2414"/>
                </a:cxn>
                <a:cxn ang="0">
                  <a:pos x="connsiteX2415" y="connsiteY2415"/>
                </a:cxn>
                <a:cxn ang="0">
                  <a:pos x="connsiteX2416" y="connsiteY2416"/>
                </a:cxn>
                <a:cxn ang="0">
                  <a:pos x="connsiteX2417" y="connsiteY2417"/>
                </a:cxn>
                <a:cxn ang="0">
                  <a:pos x="connsiteX2418" y="connsiteY2418"/>
                </a:cxn>
                <a:cxn ang="0">
                  <a:pos x="connsiteX2419" y="connsiteY2419"/>
                </a:cxn>
                <a:cxn ang="0">
                  <a:pos x="connsiteX2420" y="connsiteY2420"/>
                </a:cxn>
                <a:cxn ang="0">
                  <a:pos x="connsiteX2421" y="connsiteY2421"/>
                </a:cxn>
                <a:cxn ang="0">
                  <a:pos x="connsiteX2422" y="connsiteY2422"/>
                </a:cxn>
                <a:cxn ang="0">
                  <a:pos x="connsiteX2423" y="connsiteY2423"/>
                </a:cxn>
                <a:cxn ang="0">
                  <a:pos x="connsiteX2424" y="connsiteY2424"/>
                </a:cxn>
                <a:cxn ang="0">
                  <a:pos x="connsiteX2425" y="connsiteY2425"/>
                </a:cxn>
                <a:cxn ang="0">
                  <a:pos x="connsiteX2426" y="connsiteY2426"/>
                </a:cxn>
                <a:cxn ang="0">
                  <a:pos x="connsiteX2427" y="connsiteY2427"/>
                </a:cxn>
                <a:cxn ang="0">
                  <a:pos x="connsiteX2428" y="connsiteY2428"/>
                </a:cxn>
                <a:cxn ang="0">
                  <a:pos x="connsiteX2429" y="connsiteY2429"/>
                </a:cxn>
                <a:cxn ang="0">
                  <a:pos x="connsiteX2430" y="connsiteY2430"/>
                </a:cxn>
                <a:cxn ang="0">
                  <a:pos x="connsiteX2431" y="connsiteY2431"/>
                </a:cxn>
                <a:cxn ang="0">
                  <a:pos x="connsiteX2432" y="connsiteY2432"/>
                </a:cxn>
                <a:cxn ang="0">
                  <a:pos x="connsiteX2433" y="connsiteY2433"/>
                </a:cxn>
                <a:cxn ang="0">
                  <a:pos x="connsiteX2434" y="connsiteY2434"/>
                </a:cxn>
                <a:cxn ang="0">
                  <a:pos x="connsiteX2435" y="connsiteY2435"/>
                </a:cxn>
                <a:cxn ang="0">
                  <a:pos x="connsiteX2436" y="connsiteY2436"/>
                </a:cxn>
                <a:cxn ang="0">
                  <a:pos x="connsiteX2437" y="connsiteY2437"/>
                </a:cxn>
                <a:cxn ang="0">
                  <a:pos x="connsiteX2438" y="connsiteY2438"/>
                </a:cxn>
                <a:cxn ang="0">
                  <a:pos x="connsiteX2439" y="connsiteY2439"/>
                </a:cxn>
                <a:cxn ang="0">
                  <a:pos x="connsiteX2440" y="connsiteY2440"/>
                </a:cxn>
                <a:cxn ang="0">
                  <a:pos x="connsiteX2441" y="connsiteY2441"/>
                </a:cxn>
                <a:cxn ang="0">
                  <a:pos x="connsiteX2442" y="connsiteY2442"/>
                </a:cxn>
                <a:cxn ang="0">
                  <a:pos x="connsiteX2443" y="connsiteY2443"/>
                </a:cxn>
                <a:cxn ang="0">
                  <a:pos x="connsiteX2444" y="connsiteY2444"/>
                </a:cxn>
                <a:cxn ang="0">
                  <a:pos x="connsiteX2445" y="connsiteY2445"/>
                </a:cxn>
                <a:cxn ang="0">
                  <a:pos x="connsiteX2446" y="connsiteY2446"/>
                </a:cxn>
                <a:cxn ang="0">
                  <a:pos x="connsiteX2447" y="connsiteY2447"/>
                </a:cxn>
                <a:cxn ang="0">
                  <a:pos x="connsiteX2448" y="connsiteY2448"/>
                </a:cxn>
                <a:cxn ang="0">
                  <a:pos x="connsiteX2449" y="connsiteY2449"/>
                </a:cxn>
                <a:cxn ang="0">
                  <a:pos x="connsiteX2450" y="connsiteY2450"/>
                </a:cxn>
                <a:cxn ang="0">
                  <a:pos x="connsiteX2451" y="connsiteY2451"/>
                </a:cxn>
                <a:cxn ang="0">
                  <a:pos x="connsiteX2452" y="connsiteY2452"/>
                </a:cxn>
                <a:cxn ang="0">
                  <a:pos x="connsiteX2453" y="connsiteY2453"/>
                </a:cxn>
                <a:cxn ang="0">
                  <a:pos x="connsiteX2454" y="connsiteY2454"/>
                </a:cxn>
                <a:cxn ang="0">
                  <a:pos x="connsiteX2455" y="connsiteY2455"/>
                </a:cxn>
                <a:cxn ang="0">
                  <a:pos x="connsiteX2456" y="connsiteY2456"/>
                </a:cxn>
                <a:cxn ang="0">
                  <a:pos x="connsiteX2457" y="connsiteY2457"/>
                </a:cxn>
                <a:cxn ang="0">
                  <a:pos x="connsiteX2458" y="connsiteY2458"/>
                </a:cxn>
                <a:cxn ang="0">
                  <a:pos x="connsiteX2459" y="connsiteY2459"/>
                </a:cxn>
                <a:cxn ang="0">
                  <a:pos x="connsiteX2460" y="connsiteY2460"/>
                </a:cxn>
                <a:cxn ang="0">
                  <a:pos x="connsiteX2461" y="connsiteY2461"/>
                </a:cxn>
                <a:cxn ang="0">
                  <a:pos x="connsiteX2462" y="connsiteY2462"/>
                </a:cxn>
                <a:cxn ang="0">
                  <a:pos x="connsiteX2463" y="connsiteY2463"/>
                </a:cxn>
                <a:cxn ang="0">
                  <a:pos x="connsiteX2464" y="connsiteY2464"/>
                </a:cxn>
                <a:cxn ang="0">
                  <a:pos x="connsiteX2465" y="connsiteY2465"/>
                </a:cxn>
                <a:cxn ang="0">
                  <a:pos x="connsiteX2466" y="connsiteY2466"/>
                </a:cxn>
                <a:cxn ang="0">
                  <a:pos x="connsiteX2467" y="connsiteY2467"/>
                </a:cxn>
                <a:cxn ang="0">
                  <a:pos x="connsiteX2468" y="connsiteY2468"/>
                </a:cxn>
                <a:cxn ang="0">
                  <a:pos x="connsiteX2469" y="connsiteY2469"/>
                </a:cxn>
                <a:cxn ang="0">
                  <a:pos x="connsiteX2470" y="connsiteY2470"/>
                </a:cxn>
                <a:cxn ang="0">
                  <a:pos x="connsiteX2471" y="connsiteY2471"/>
                </a:cxn>
                <a:cxn ang="0">
                  <a:pos x="connsiteX2472" y="connsiteY2472"/>
                </a:cxn>
                <a:cxn ang="0">
                  <a:pos x="connsiteX2473" y="connsiteY2473"/>
                </a:cxn>
                <a:cxn ang="0">
                  <a:pos x="connsiteX2474" y="connsiteY2474"/>
                </a:cxn>
                <a:cxn ang="0">
                  <a:pos x="connsiteX2475" y="connsiteY2475"/>
                </a:cxn>
                <a:cxn ang="0">
                  <a:pos x="connsiteX2476" y="connsiteY2476"/>
                </a:cxn>
                <a:cxn ang="0">
                  <a:pos x="connsiteX2477" y="connsiteY2477"/>
                </a:cxn>
                <a:cxn ang="0">
                  <a:pos x="connsiteX2478" y="connsiteY2478"/>
                </a:cxn>
                <a:cxn ang="0">
                  <a:pos x="connsiteX2479" y="connsiteY2479"/>
                </a:cxn>
                <a:cxn ang="0">
                  <a:pos x="connsiteX2480" y="connsiteY2480"/>
                </a:cxn>
                <a:cxn ang="0">
                  <a:pos x="connsiteX2481" y="connsiteY2481"/>
                </a:cxn>
                <a:cxn ang="0">
                  <a:pos x="connsiteX2482" y="connsiteY2482"/>
                </a:cxn>
                <a:cxn ang="0">
                  <a:pos x="connsiteX2483" y="connsiteY2483"/>
                </a:cxn>
                <a:cxn ang="0">
                  <a:pos x="connsiteX2484" y="connsiteY2484"/>
                </a:cxn>
                <a:cxn ang="0">
                  <a:pos x="connsiteX2485" y="connsiteY2485"/>
                </a:cxn>
                <a:cxn ang="0">
                  <a:pos x="connsiteX2486" y="connsiteY2486"/>
                </a:cxn>
                <a:cxn ang="0">
                  <a:pos x="connsiteX2487" y="connsiteY2487"/>
                </a:cxn>
                <a:cxn ang="0">
                  <a:pos x="connsiteX2488" y="connsiteY2488"/>
                </a:cxn>
                <a:cxn ang="0">
                  <a:pos x="connsiteX2489" y="connsiteY2489"/>
                </a:cxn>
                <a:cxn ang="0">
                  <a:pos x="connsiteX2490" y="connsiteY2490"/>
                </a:cxn>
                <a:cxn ang="0">
                  <a:pos x="connsiteX2491" y="connsiteY2491"/>
                </a:cxn>
                <a:cxn ang="0">
                  <a:pos x="connsiteX2492" y="connsiteY2492"/>
                </a:cxn>
                <a:cxn ang="0">
                  <a:pos x="connsiteX2493" y="connsiteY2493"/>
                </a:cxn>
                <a:cxn ang="0">
                  <a:pos x="connsiteX2494" y="connsiteY2494"/>
                </a:cxn>
                <a:cxn ang="0">
                  <a:pos x="connsiteX2495" y="connsiteY2495"/>
                </a:cxn>
                <a:cxn ang="0">
                  <a:pos x="connsiteX2496" y="connsiteY2496"/>
                </a:cxn>
                <a:cxn ang="0">
                  <a:pos x="connsiteX2497" y="connsiteY2497"/>
                </a:cxn>
                <a:cxn ang="0">
                  <a:pos x="connsiteX2498" y="connsiteY2498"/>
                </a:cxn>
                <a:cxn ang="0">
                  <a:pos x="connsiteX2499" y="connsiteY2499"/>
                </a:cxn>
                <a:cxn ang="0">
                  <a:pos x="connsiteX2500" y="connsiteY2500"/>
                </a:cxn>
                <a:cxn ang="0">
                  <a:pos x="connsiteX2501" y="connsiteY2501"/>
                </a:cxn>
                <a:cxn ang="0">
                  <a:pos x="connsiteX2502" y="connsiteY2502"/>
                </a:cxn>
                <a:cxn ang="0">
                  <a:pos x="connsiteX2503" y="connsiteY2503"/>
                </a:cxn>
                <a:cxn ang="0">
                  <a:pos x="connsiteX2504" y="connsiteY2504"/>
                </a:cxn>
                <a:cxn ang="0">
                  <a:pos x="connsiteX2505" y="connsiteY2505"/>
                </a:cxn>
                <a:cxn ang="0">
                  <a:pos x="connsiteX2506" y="connsiteY2506"/>
                </a:cxn>
                <a:cxn ang="0">
                  <a:pos x="connsiteX2507" y="connsiteY2507"/>
                </a:cxn>
                <a:cxn ang="0">
                  <a:pos x="connsiteX2508" y="connsiteY2508"/>
                </a:cxn>
                <a:cxn ang="0">
                  <a:pos x="connsiteX2509" y="connsiteY2509"/>
                </a:cxn>
                <a:cxn ang="0">
                  <a:pos x="connsiteX2510" y="connsiteY2510"/>
                </a:cxn>
                <a:cxn ang="0">
                  <a:pos x="connsiteX2511" y="connsiteY2511"/>
                </a:cxn>
                <a:cxn ang="0">
                  <a:pos x="connsiteX2512" y="connsiteY2512"/>
                </a:cxn>
                <a:cxn ang="0">
                  <a:pos x="connsiteX2513" y="connsiteY2513"/>
                </a:cxn>
                <a:cxn ang="0">
                  <a:pos x="connsiteX2514" y="connsiteY2514"/>
                </a:cxn>
                <a:cxn ang="0">
                  <a:pos x="connsiteX2515" y="connsiteY2515"/>
                </a:cxn>
                <a:cxn ang="0">
                  <a:pos x="connsiteX2516" y="connsiteY2516"/>
                </a:cxn>
                <a:cxn ang="0">
                  <a:pos x="connsiteX2517" y="connsiteY2517"/>
                </a:cxn>
                <a:cxn ang="0">
                  <a:pos x="connsiteX2518" y="connsiteY2518"/>
                </a:cxn>
                <a:cxn ang="0">
                  <a:pos x="connsiteX2519" y="connsiteY2519"/>
                </a:cxn>
                <a:cxn ang="0">
                  <a:pos x="connsiteX2520" y="connsiteY2520"/>
                </a:cxn>
                <a:cxn ang="0">
                  <a:pos x="connsiteX2521" y="connsiteY2521"/>
                </a:cxn>
                <a:cxn ang="0">
                  <a:pos x="connsiteX2522" y="connsiteY2522"/>
                </a:cxn>
                <a:cxn ang="0">
                  <a:pos x="connsiteX2523" y="connsiteY2523"/>
                </a:cxn>
                <a:cxn ang="0">
                  <a:pos x="connsiteX2524" y="connsiteY2524"/>
                </a:cxn>
                <a:cxn ang="0">
                  <a:pos x="connsiteX2525" y="connsiteY2525"/>
                </a:cxn>
                <a:cxn ang="0">
                  <a:pos x="connsiteX2526" y="connsiteY2526"/>
                </a:cxn>
                <a:cxn ang="0">
                  <a:pos x="connsiteX2527" y="connsiteY2527"/>
                </a:cxn>
                <a:cxn ang="0">
                  <a:pos x="connsiteX2528" y="connsiteY2528"/>
                </a:cxn>
                <a:cxn ang="0">
                  <a:pos x="connsiteX2529" y="connsiteY2529"/>
                </a:cxn>
                <a:cxn ang="0">
                  <a:pos x="connsiteX2530" y="connsiteY2530"/>
                </a:cxn>
                <a:cxn ang="0">
                  <a:pos x="connsiteX2531" y="connsiteY2531"/>
                </a:cxn>
                <a:cxn ang="0">
                  <a:pos x="connsiteX2532" y="connsiteY2532"/>
                </a:cxn>
                <a:cxn ang="0">
                  <a:pos x="connsiteX2533" y="connsiteY2533"/>
                </a:cxn>
                <a:cxn ang="0">
                  <a:pos x="connsiteX2534" y="connsiteY2534"/>
                </a:cxn>
                <a:cxn ang="0">
                  <a:pos x="connsiteX2535" y="connsiteY2535"/>
                </a:cxn>
                <a:cxn ang="0">
                  <a:pos x="connsiteX2536" y="connsiteY2536"/>
                </a:cxn>
                <a:cxn ang="0">
                  <a:pos x="connsiteX2537" y="connsiteY2537"/>
                </a:cxn>
                <a:cxn ang="0">
                  <a:pos x="connsiteX2538" y="connsiteY2538"/>
                </a:cxn>
                <a:cxn ang="0">
                  <a:pos x="connsiteX2539" y="connsiteY2539"/>
                </a:cxn>
                <a:cxn ang="0">
                  <a:pos x="connsiteX2540" y="connsiteY2540"/>
                </a:cxn>
                <a:cxn ang="0">
                  <a:pos x="connsiteX2541" y="connsiteY2541"/>
                </a:cxn>
                <a:cxn ang="0">
                  <a:pos x="connsiteX2542" y="connsiteY2542"/>
                </a:cxn>
                <a:cxn ang="0">
                  <a:pos x="connsiteX2543" y="connsiteY2543"/>
                </a:cxn>
                <a:cxn ang="0">
                  <a:pos x="connsiteX2544" y="connsiteY2544"/>
                </a:cxn>
                <a:cxn ang="0">
                  <a:pos x="connsiteX2545" y="connsiteY2545"/>
                </a:cxn>
                <a:cxn ang="0">
                  <a:pos x="connsiteX2546" y="connsiteY2546"/>
                </a:cxn>
                <a:cxn ang="0">
                  <a:pos x="connsiteX2547" y="connsiteY2547"/>
                </a:cxn>
                <a:cxn ang="0">
                  <a:pos x="connsiteX2548" y="connsiteY2548"/>
                </a:cxn>
                <a:cxn ang="0">
                  <a:pos x="connsiteX2549" y="connsiteY2549"/>
                </a:cxn>
                <a:cxn ang="0">
                  <a:pos x="connsiteX2550" y="connsiteY2550"/>
                </a:cxn>
                <a:cxn ang="0">
                  <a:pos x="connsiteX2551" y="connsiteY2551"/>
                </a:cxn>
                <a:cxn ang="0">
                  <a:pos x="connsiteX2552" y="connsiteY2552"/>
                </a:cxn>
                <a:cxn ang="0">
                  <a:pos x="connsiteX2553" y="connsiteY2553"/>
                </a:cxn>
                <a:cxn ang="0">
                  <a:pos x="connsiteX2554" y="connsiteY2554"/>
                </a:cxn>
                <a:cxn ang="0">
                  <a:pos x="connsiteX2555" y="connsiteY2555"/>
                </a:cxn>
                <a:cxn ang="0">
                  <a:pos x="connsiteX2556" y="connsiteY2556"/>
                </a:cxn>
                <a:cxn ang="0">
                  <a:pos x="connsiteX2557" y="connsiteY2557"/>
                </a:cxn>
                <a:cxn ang="0">
                  <a:pos x="connsiteX2558" y="connsiteY2558"/>
                </a:cxn>
                <a:cxn ang="0">
                  <a:pos x="connsiteX2559" y="connsiteY2559"/>
                </a:cxn>
                <a:cxn ang="0">
                  <a:pos x="connsiteX2560" y="connsiteY2560"/>
                </a:cxn>
                <a:cxn ang="0">
                  <a:pos x="connsiteX2561" y="connsiteY2561"/>
                </a:cxn>
                <a:cxn ang="0">
                  <a:pos x="connsiteX2562" y="connsiteY2562"/>
                </a:cxn>
                <a:cxn ang="0">
                  <a:pos x="connsiteX2563" y="connsiteY2563"/>
                </a:cxn>
                <a:cxn ang="0">
                  <a:pos x="connsiteX2564" y="connsiteY2564"/>
                </a:cxn>
                <a:cxn ang="0">
                  <a:pos x="connsiteX2565" y="connsiteY2565"/>
                </a:cxn>
                <a:cxn ang="0">
                  <a:pos x="connsiteX2566" y="connsiteY2566"/>
                </a:cxn>
                <a:cxn ang="0">
                  <a:pos x="connsiteX2567" y="connsiteY2567"/>
                </a:cxn>
                <a:cxn ang="0">
                  <a:pos x="connsiteX2568" y="connsiteY2568"/>
                </a:cxn>
                <a:cxn ang="0">
                  <a:pos x="connsiteX2569" y="connsiteY2569"/>
                </a:cxn>
                <a:cxn ang="0">
                  <a:pos x="connsiteX2570" y="connsiteY2570"/>
                </a:cxn>
                <a:cxn ang="0">
                  <a:pos x="connsiteX2571" y="connsiteY2571"/>
                </a:cxn>
                <a:cxn ang="0">
                  <a:pos x="connsiteX2572" y="connsiteY2572"/>
                </a:cxn>
                <a:cxn ang="0">
                  <a:pos x="connsiteX2573" y="connsiteY2573"/>
                </a:cxn>
                <a:cxn ang="0">
                  <a:pos x="connsiteX2574" y="connsiteY2574"/>
                </a:cxn>
                <a:cxn ang="0">
                  <a:pos x="connsiteX2575" y="connsiteY2575"/>
                </a:cxn>
                <a:cxn ang="0">
                  <a:pos x="connsiteX2576" y="connsiteY2576"/>
                </a:cxn>
                <a:cxn ang="0">
                  <a:pos x="connsiteX2577" y="connsiteY2577"/>
                </a:cxn>
                <a:cxn ang="0">
                  <a:pos x="connsiteX2578" y="connsiteY2578"/>
                </a:cxn>
                <a:cxn ang="0">
                  <a:pos x="connsiteX2579" y="connsiteY2579"/>
                </a:cxn>
                <a:cxn ang="0">
                  <a:pos x="connsiteX2580" y="connsiteY2580"/>
                </a:cxn>
                <a:cxn ang="0">
                  <a:pos x="connsiteX2581" y="connsiteY2581"/>
                </a:cxn>
                <a:cxn ang="0">
                  <a:pos x="connsiteX2582" y="connsiteY2582"/>
                </a:cxn>
                <a:cxn ang="0">
                  <a:pos x="connsiteX2583" y="connsiteY2583"/>
                </a:cxn>
                <a:cxn ang="0">
                  <a:pos x="connsiteX2584" y="connsiteY2584"/>
                </a:cxn>
                <a:cxn ang="0">
                  <a:pos x="connsiteX2585" y="connsiteY2585"/>
                </a:cxn>
                <a:cxn ang="0">
                  <a:pos x="connsiteX2586" y="connsiteY2586"/>
                </a:cxn>
                <a:cxn ang="0">
                  <a:pos x="connsiteX2587" y="connsiteY2587"/>
                </a:cxn>
                <a:cxn ang="0">
                  <a:pos x="connsiteX2588" y="connsiteY2588"/>
                </a:cxn>
                <a:cxn ang="0">
                  <a:pos x="connsiteX2589" y="connsiteY2589"/>
                </a:cxn>
                <a:cxn ang="0">
                  <a:pos x="connsiteX2590" y="connsiteY2590"/>
                </a:cxn>
                <a:cxn ang="0">
                  <a:pos x="connsiteX2591" y="connsiteY2591"/>
                </a:cxn>
                <a:cxn ang="0">
                  <a:pos x="connsiteX2592" y="connsiteY2592"/>
                </a:cxn>
                <a:cxn ang="0">
                  <a:pos x="connsiteX2593" y="connsiteY2593"/>
                </a:cxn>
                <a:cxn ang="0">
                  <a:pos x="connsiteX2594" y="connsiteY2594"/>
                </a:cxn>
                <a:cxn ang="0">
                  <a:pos x="connsiteX2595" y="connsiteY2595"/>
                </a:cxn>
                <a:cxn ang="0">
                  <a:pos x="connsiteX2596" y="connsiteY2596"/>
                </a:cxn>
                <a:cxn ang="0">
                  <a:pos x="connsiteX2597" y="connsiteY2597"/>
                </a:cxn>
                <a:cxn ang="0">
                  <a:pos x="connsiteX2598" y="connsiteY2598"/>
                </a:cxn>
                <a:cxn ang="0">
                  <a:pos x="connsiteX2599" y="connsiteY2599"/>
                </a:cxn>
                <a:cxn ang="0">
                  <a:pos x="connsiteX2600" y="connsiteY2600"/>
                </a:cxn>
                <a:cxn ang="0">
                  <a:pos x="connsiteX2601" y="connsiteY2601"/>
                </a:cxn>
                <a:cxn ang="0">
                  <a:pos x="connsiteX2602" y="connsiteY2602"/>
                </a:cxn>
                <a:cxn ang="0">
                  <a:pos x="connsiteX2603" y="connsiteY2603"/>
                </a:cxn>
                <a:cxn ang="0">
                  <a:pos x="connsiteX2604" y="connsiteY2604"/>
                </a:cxn>
                <a:cxn ang="0">
                  <a:pos x="connsiteX2605" y="connsiteY2605"/>
                </a:cxn>
                <a:cxn ang="0">
                  <a:pos x="connsiteX2606" y="connsiteY2606"/>
                </a:cxn>
                <a:cxn ang="0">
                  <a:pos x="connsiteX2607" y="connsiteY2607"/>
                </a:cxn>
                <a:cxn ang="0">
                  <a:pos x="connsiteX2608" y="connsiteY2608"/>
                </a:cxn>
                <a:cxn ang="0">
                  <a:pos x="connsiteX2609" y="connsiteY2609"/>
                </a:cxn>
                <a:cxn ang="0">
                  <a:pos x="connsiteX2610" y="connsiteY2610"/>
                </a:cxn>
                <a:cxn ang="0">
                  <a:pos x="connsiteX2611" y="connsiteY2611"/>
                </a:cxn>
                <a:cxn ang="0">
                  <a:pos x="connsiteX2612" y="connsiteY2612"/>
                </a:cxn>
                <a:cxn ang="0">
                  <a:pos x="connsiteX2613" y="connsiteY2613"/>
                </a:cxn>
                <a:cxn ang="0">
                  <a:pos x="connsiteX2614" y="connsiteY2614"/>
                </a:cxn>
                <a:cxn ang="0">
                  <a:pos x="connsiteX2615" y="connsiteY2615"/>
                </a:cxn>
                <a:cxn ang="0">
                  <a:pos x="connsiteX2616" y="connsiteY2616"/>
                </a:cxn>
                <a:cxn ang="0">
                  <a:pos x="connsiteX2617" y="connsiteY2617"/>
                </a:cxn>
                <a:cxn ang="0">
                  <a:pos x="connsiteX2618" y="connsiteY2618"/>
                </a:cxn>
                <a:cxn ang="0">
                  <a:pos x="connsiteX2619" y="connsiteY2619"/>
                </a:cxn>
                <a:cxn ang="0">
                  <a:pos x="connsiteX2620" y="connsiteY2620"/>
                </a:cxn>
                <a:cxn ang="0">
                  <a:pos x="connsiteX2621" y="connsiteY2621"/>
                </a:cxn>
                <a:cxn ang="0">
                  <a:pos x="connsiteX2622" y="connsiteY2622"/>
                </a:cxn>
                <a:cxn ang="0">
                  <a:pos x="connsiteX2623" y="connsiteY2623"/>
                </a:cxn>
                <a:cxn ang="0">
                  <a:pos x="connsiteX2624" y="connsiteY2624"/>
                </a:cxn>
                <a:cxn ang="0">
                  <a:pos x="connsiteX2625" y="connsiteY2625"/>
                </a:cxn>
                <a:cxn ang="0">
                  <a:pos x="connsiteX2626" y="connsiteY2626"/>
                </a:cxn>
                <a:cxn ang="0">
                  <a:pos x="connsiteX2627" y="connsiteY2627"/>
                </a:cxn>
                <a:cxn ang="0">
                  <a:pos x="connsiteX2628" y="connsiteY2628"/>
                </a:cxn>
                <a:cxn ang="0">
                  <a:pos x="connsiteX2629" y="connsiteY2629"/>
                </a:cxn>
                <a:cxn ang="0">
                  <a:pos x="connsiteX2630" y="connsiteY2630"/>
                </a:cxn>
                <a:cxn ang="0">
                  <a:pos x="connsiteX2631" y="connsiteY2631"/>
                </a:cxn>
                <a:cxn ang="0">
                  <a:pos x="connsiteX2632" y="connsiteY2632"/>
                </a:cxn>
                <a:cxn ang="0">
                  <a:pos x="connsiteX2633" y="connsiteY2633"/>
                </a:cxn>
                <a:cxn ang="0">
                  <a:pos x="connsiteX2634" y="connsiteY2634"/>
                </a:cxn>
                <a:cxn ang="0">
                  <a:pos x="connsiteX2635" y="connsiteY2635"/>
                </a:cxn>
                <a:cxn ang="0">
                  <a:pos x="connsiteX2636" y="connsiteY2636"/>
                </a:cxn>
                <a:cxn ang="0">
                  <a:pos x="connsiteX2637" y="connsiteY2637"/>
                </a:cxn>
                <a:cxn ang="0">
                  <a:pos x="connsiteX2638" y="connsiteY2638"/>
                </a:cxn>
                <a:cxn ang="0">
                  <a:pos x="connsiteX2639" y="connsiteY2639"/>
                </a:cxn>
                <a:cxn ang="0">
                  <a:pos x="connsiteX2640" y="connsiteY2640"/>
                </a:cxn>
                <a:cxn ang="0">
                  <a:pos x="connsiteX2641" y="connsiteY2641"/>
                </a:cxn>
                <a:cxn ang="0">
                  <a:pos x="connsiteX2642" y="connsiteY2642"/>
                </a:cxn>
                <a:cxn ang="0">
                  <a:pos x="connsiteX2643" y="connsiteY2643"/>
                </a:cxn>
                <a:cxn ang="0">
                  <a:pos x="connsiteX2644" y="connsiteY2644"/>
                </a:cxn>
                <a:cxn ang="0">
                  <a:pos x="connsiteX2645" y="connsiteY2645"/>
                </a:cxn>
                <a:cxn ang="0">
                  <a:pos x="connsiteX2646" y="connsiteY2646"/>
                </a:cxn>
                <a:cxn ang="0">
                  <a:pos x="connsiteX2647" y="connsiteY2647"/>
                </a:cxn>
                <a:cxn ang="0">
                  <a:pos x="connsiteX2648" y="connsiteY2648"/>
                </a:cxn>
                <a:cxn ang="0">
                  <a:pos x="connsiteX2649" y="connsiteY2649"/>
                </a:cxn>
                <a:cxn ang="0">
                  <a:pos x="connsiteX2650" y="connsiteY2650"/>
                </a:cxn>
                <a:cxn ang="0">
                  <a:pos x="connsiteX2651" y="connsiteY2651"/>
                </a:cxn>
                <a:cxn ang="0">
                  <a:pos x="connsiteX2652" y="connsiteY2652"/>
                </a:cxn>
                <a:cxn ang="0">
                  <a:pos x="connsiteX2653" y="connsiteY2653"/>
                </a:cxn>
                <a:cxn ang="0">
                  <a:pos x="connsiteX2654" y="connsiteY2654"/>
                </a:cxn>
                <a:cxn ang="0">
                  <a:pos x="connsiteX2655" y="connsiteY2655"/>
                </a:cxn>
                <a:cxn ang="0">
                  <a:pos x="connsiteX2656" y="connsiteY2656"/>
                </a:cxn>
                <a:cxn ang="0">
                  <a:pos x="connsiteX2657" y="connsiteY2657"/>
                </a:cxn>
                <a:cxn ang="0">
                  <a:pos x="connsiteX2658" y="connsiteY2658"/>
                </a:cxn>
                <a:cxn ang="0">
                  <a:pos x="connsiteX2659" y="connsiteY2659"/>
                </a:cxn>
                <a:cxn ang="0">
                  <a:pos x="connsiteX2660" y="connsiteY2660"/>
                </a:cxn>
                <a:cxn ang="0">
                  <a:pos x="connsiteX2661" y="connsiteY2661"/>
                </a:cxn>
                <a:cxn ang="0">
                  <a:pos x="connsiteX2662" y="connsiteY2662"/>
                </a:cxn>
                <a:cxn ang="0">
                  <a:pos x="connsiteX2663" y="connsiteY2663"/>
                </a:cxn>
                <a:cxn ang="0">
                  <a:pos x="connsiteX2664" y="connsiteY2664"/>
                </a:cxn>
                <a:cxn ang="0">
                  <a:pos x="connsiteX2665" y="connsiteY2665"/>
                </a:cxn>
                <a:cxn ang="0">
                  <a:pos x="connsiteX2666" y="connsiteY2666"/>
                </a:cxn>
                <a:cxn ang="0">
                  <a:pos x="connsiteX2667" y="connsiteY2667"/>
                </a:cxn>
                <a:cxn ang="0">
                  <a:pos x="connsiteX2668" y="connsiteY2668"/>
                </a:cxn>
                <a:cxn ang="0">
                  <a:pos x="connsiteX2669" y="connsiteY2669"/>
                </a:cxn>
                <a:cxn ang="0">
                  <a:pos x="connsiteX2670" y="connsiteY2670"/>
                </a:cxn>
                <a:cxn ang="0">
                  <a:pos x="connsiteX2671" y="connsiteY2671"/>
                </a:cxn>
                <a:cxn ang="0">
                  <a:pos x="connsiteX2672" y="connsiteY2672"/>
                </a:cxn>
                <a:cxn ang="0">
                  <a:pos x="connsiteX2673" y="connsiteY2673"/>
                </a:cxn>
                <a:cxn ang="0">
                  <a:pos x="connsiteX2674" y="connsiteY2674"/>
                </a:cxn>
                <a:cxn ang="0">
                  <a:pos x="connsiteX2675" y="connsiteY2675"/>
                </a:cxn>
                <a:cxn ang="0">
                  <a:pos x="connsiteX2676" y="connsiteY2676"/>
                </a:cxn>
                <a:cxn ang="0">
                  <a:pos x="connsiteX2677" y="connsiteY2677"/>
                </a:cxn>
                <a:cxn ang="0">
                  <a:pos x="connsiteX2678" y="connsiteY2678"/>
                </a:cxn>
                <a:cxn ang="0">
                  <a:pos x="connsiteX2679" y="connsiteY2679"/>
                </a:cxn>
                <a:cxn ang="0">
                  <a:pos x="connsiteX2680" y="connsiteY2680"/>
                </a:cxn>
                <a:cxn ang="0">
                  <a:pos x="connsiteX2681" y="connsiteY2681"/>
                </a:cxn>
                <a:cxn ang="0">
                  <a:pos x="connsiteX2682" y="connsiteY2682"/>
                </a:cxn>
                <a:cxn ang="0">
                  <a:pos x="connsiteX2683" y="connsiteY2683"/>
                </a:cxn>
                <a:cxn ang="0">
                  <a:pos x="connsiteX2684" y="connsiteY2684"/>
                </a:cxn>
                <a:cxn ang="0">
                  <a:pos x="connsiteX2685" y="connsiteY2685"/>
                </a:cxn>
                <a:cxn ang="0">
                  <a:pos x="connsiteX2686" y="connsiteY2686"/>
                </a:cxn>
                <a:cxn ang="0">
                  <a:pos x="connsiteX2687" y="connsiteY2687"/>
                </a:cxn>
                <a:cxn ang="0">
                  <a:pos x="connsiteX2688" y="connsiteY2688"/>
                </a:cxn>
                <a:cxn ang="0">
                  <a:pos x="connsiteX2689" y="connsiteY2689"/>
                </a:cxn>
                <a:cxn ang="0">
                  <a:pos x="connsiteX2690" y="connsiteY2690"/>
                </a:cxn>
                <a:cxn ang="0">
                  <a:pos x="connsiteX2691" y="connsiteY2691"/>
                </a:cxn>
                <a:cxn ang="0">
                  <a:pos x="connsiteX2692" y="connsiteY2692"/>
                </a:cxn>
                <a:cxn ang="0">
                  <a:pos x="connsiteX2693" y="connsiteY2693"/>
                </a:cxn>
                <a:cxn ang="0">
                  <a:pos x="connsiteX2694" y="connsiteY2694"/>
                </a:cxn>
                <a:cxn ang="0">
                  <a:pos x="connsiteX2695" y="connsiteY2695"/>
                </a:cxn>
                <a:cxn ang="0">
                  <a:pos x="connsiteX2696" y="connsiteY2696"/>
                </a:cxn>
                <a:cxn ang="0">
                  <a:pos x="connsiteX2697" y="connsiteY2697"/>
                </a:cxn>
                <a:cxn ang="0">
                  <a:pos x="connsiteX2698" y="connsiteY2698"/>
                </a:cxn>
                <a:cxn ang="0">
                  <a:pos x="connsiteX2699" y="connsiteY2699"/>
                </a:cxn>
                <a:cxn ang="0">
                  <a:pos x="connsiteX2700" y="connsiteY2700"/>
                </a:cxn>
                <a:cxn ang="0">
                  <a:pos x="connsiteX2701" y="connsiteY2701"/>
                </a:cxn>
                <a:cxn ang="0">
                  <a:pos x="connsiteX2702" y="connsiteY2702"/>
                </a:cxn>
                <a:cxn ang="0">
                  <a:pos x="connsiteX2703" y="connsiteY2703"/>
                </a:cxn>
                <a:cxn ang="0">
                  <a:pos x="connsiteX2704" y="connsiteY2704"/>
                </a:cxn>
                <a:cxn ang="0">
                  <a:pos x="connsiteX2705" y="connsiteY2705"/>
                </a:cxn>
                <a:cxn ang="0">
                  <a:pos x="connsiteX2706" y="connsiteY2706"/>
                </a:cxn>
                <a:cxn ang="0">
                  <a:pos x="connsiteX2707" y="connsiteY2707"/>
                </a:cxn>
                <a:cxn ang="0">
                  <a:pos x="connsiteX2708" y="connsiteY2708"/>
                </a:cxn>
                <a:cxn ang="0">
                  <a:pos x="connsiteX2709" y="connsiteY2709"/>
                </a:cxn>
                <a:cxn ang="0">
                  <a:pos x="connsiteX2710" y="connsiteY2710"/>
                </a:cxn>
                <a:cxn ang="0">
                  <a:pos x="connsiteX2711" y="connsiteY2711"/>
                </a:cxn>
                <a:cxn ang="0">
                  <a:pos x="connsiteX2712" y="connsiteY2712"/>
                </a:cxn>
                <a:cxn ang="0">
                  <a:pos x="connsiteX2713" y="connsiteY2713"/>
                </a:cxn>
                <a:cxn ang="0">
                  <a:pos x="connsiteX2714" y="connsiteY2714"/>
                </a:cxn>
                <a:cxn ang="0">
                  <a:pos x="connsiteX2715" y="connsiteY2715"/>
                </a:cxn>
                <a:cxn ang="0">
                  <a:pos x="connsiteX2716" y="connsiteY2716"/>
                </a:cxn>
                <a:cxn ang="0">
                  <a:pos x="connsiteX2717" y="connsiteY2717"/>
                </a:cxn>
                <a:cxn ang="0">
                  <a:pos x="connsiteX2718" y="connsiteY2718"/>
                </a:cxn>
                <a:cxn ang="0">
                  <a:pos x="connsiteX2719" y="connsiteY2719"/>
                </a:cxn>
                <a:cxn ang="0">
                  <a:pos x="connsiteX2720" y="connsiteY2720"/>
                </a:cxn>
                <a:cxn ang="0">
                  <a:pos x="connsiteX2721" y="connsiteY2721"/>
                </a:cxn>
                <a:cxn ang="0">
                  <a:pos x="connsiteX2722" y="connsiteY2722"/>
                </a:cxn>
                <a:cxn ang="0">
                  <a:pos x="connsiteX2723" y="connsiteY2723"/>
                </a:cxn>
                <a:cxn ang="0">
                  <a:pos x="connsiteX2724" y="connsiteY2724"/>
                </a:cxn>
                <a:cxn ang="0">
                  <a:pos x="connsiteX2725" y="connsiteY2725"/>
                </a:cxn>
                <a:cxn ang="0">
                  <a:pos x="connsiteX2726" y="connsiteY2726"/>
                </a:cxn>
                <a:cxn ang="0">
                  <a:pos x="connsiteX2727" y="connsiteY2727"/>
                </a:cxn>
                <a:cxn ang="0">
                  <a:pos x="connsiteX2728" y="connsiteY2728"/>
                </a:cxn>
                <a:cxn ang="0">
                  <a:pos x="connsiteX2729" y="connsiteY2729"/>
                </a:cxn>
                <a:cxn ang="0">
                  <a:pos x="connsiteX2730" y="connsiteY2730"/>
                </a:cxn>
                <a:cxn ang="0">
                  <a:pos x="connsiteX2731" y="connsiteY2731"/>
                </a:cxn>
                <a:cxn ang="0">
                  <a:pos x="connsiteX2732" y="connsiteY2732"/>
                </a:cxn>
                <a:cxn ang="0">
                  <a:pos x="connsiteX2733" y="connsiteY2733"/>
                </a:cxn>
                <a:cxn ang="0">
                  <a:pos x="connsiteX2734" y="connsiteY2734"/>
                </a:cxn>
                <a:cxn ang="0">
                  <a:pos x="connsiteX2735" y="connsiteY2735"/>
                </a:cxn>
                <a:cxn ang="0">
                  <a:pos x="connsiteX2736" y="connsiteY2736"/>
                </a:cxn>
                <a:cxn ang="0">
                  <a:pos x="connsiteX2737" y="connsiteY2737"/>
                </a:cxn>
                <a:cxn ang="0">
                  <a:pos x="connsiteX2738" y="connsiteY2738"/>
                </a:cxn>
                <a:cxn ang="0">
                  <a:pos x="connsiteX2739" y="connsiteY2739"/>
                </a:cxn>
                <a:cxn ang="0">
                  <a:pos x="connsiteX2740" y="connsiteY2740"/>
                </a:cxn>
                <a:cxn ang="0">
                  <a:pos x="connsiteX2741" y="connsiteY2741"/>
                </a:cxn>
                <a:cxn ang="0">
                  <a:pos x="connsiteX2742" y="connsiteY2742"/>
                </a:cxn>
                <a:cxn ang="0">
                  <a:pos x="connsiteX2743" y="connsiteY2743"/>
                </a:cxn>
                <a:cxn ang="0">
                  <a:pos x="connsiteX2744" y="connsiteY2744"/>
                </a:cxn>
                <a:cxn ang="0">
                  <a:pos x="connsiteX2745" y="connsiteY2745"/>
                </a:cxn>
                <a:cxn ang="0">
                  <a:pos x="connsiteX2746" y="connsiteY2746"/>
                </a:cxn>
                <a:cxn ang="0">
                  <a:pos x="connsiteX2747" y="connsiteY2747"/>
                </a:cxn>
                <a:cxn ang="0">
                  <a:pos x="connsiteX2748" y="connsiteY2748"/>
                </a:cxn>
                <a:cxn ang="0">
                  <a:pos x="connsiteX2749" y="connsiteY2749"/>
                </a:cxn>
                <a:cxn ang="0">
                  <a:pos x="connsiteX2750" y="connsiteY2750"/>
                </a:cxn>
                <a:cxn ang="0">
                  <a:pos x="connsiteX2751" y="connsiteY2751"/>
                </a:cxn>
                <a:cxn ang="0">
                  <a:pos x="connsiteX2752" y="connsiteY2752"/>
                </a:cxn>
                <a:cxn ang="0">
                  <a:pos x="connsiteX2753" y="connsiteY2753"/>
                </a:cxn>
                <a:cxn ang="0">
                  <a:pos x="connsiteX2754" y="connsiteY2754"/>
                </a:cxn>
                <a:cxn ang="0">
                  <a:pos x="connsiteX2755" y="connsiteY2755"/>
                </a:cxn>
                <a:cxn ang="0">
                  <a:pos x="connsiteX2756" y="connsiteY2756"/>
                </a:cxn>
                <a:cxn ang="0">
                  <a:pos x="connsiteX2757" y="connsiteY2757"/>
                </a:cxn>
                <a:cxn ang="0">
                  <a:pos x="connsiteX2758" y="connsiteY2758"/>
                </a:cxn>
                <a:cxn ang="0">
                  <a:pos x="connsiteX2759" y="connsiteY2759"/>
                </a:cxn>
                <a:cxn ang="0">
                  <a:pos x="connsiteX2760" y="connsiteY2760"/>
                </a:cxn>
                <a:cxn ang="0">
                  <a:pos x="connsiteX2761" y="connsiteY2761"/>
                </a:cxn>
                <a:cxn ang="0">
                  <a:pos x="connsiteX2762" y="connsiteY2762"/>
                </a:cxn>
                <a:cxn ang="0">
                  <a:pos x="connsiteX2763" y="connsiteY2763"/>
                </a:cxn>
                <a:cxn ang="0">
                  <a:pos x="connsiteX2764" y="connsiteY2764"/>
                </a:cxn>
                <a:cxn ang="0">
                  <a:pos x="connsiteX2765" y="connsiteY2765"/>
                </a:cxn>
                <a:cxn ang="0">
                  <a:pos x="connsiteX2766" y="connsiteY2766"/>
                </a:cxn>
                <a:cxn ang="0">
                  <a:pos x="connsiteX2767" y="connsiteY2767"/>
                </a:cxn>
                <a:cxn ang="0">
                  <a:pos x="connsiteX2768" y="connsiteY2768"/>
                </a:cxn>
                <a:cxn ang="0">
                  <a:pos x="connsiteX2769" y="connsiteY2769"/>
                </a:cxn>
                <a:cxn ang="0">
                  <a:pos x="connsiteX2770" y="connsiteY2770"/>
                </a:cxn>
                <a:cxn ang="0">
                  <a:pos x="connsiteX2771" y="connsiteY2771"/>
                </a:cxn>
                <a:cxn ang="0">
                  <a:pos x="connsiteX2772" y="connsiteY2772"/>
                </a:cxn>
                <a:cxn ang="0">
                  <a:pos x="connsiteX2773" y="connsiteY2773"/>
                </a:cxn>
                <a:cxn ang="0">
                  <a:pos x="connsiteX2774" y="connsiteY2774"/>
                </a:cxn>
                <a:cxn ang="0">
                  <a:pos x="connsiteX2775" y="connsiteY2775"/>
                </a:cxn>
                <a:cxn ang="0">
                  <a:pos x="connsiteX2776" y="connsiteY2776"/>
                </a:cxn>
                <a:cxn ang="0">
                  <a:pos x="connsiteX2777" y="connsiteY2777"/>
                </a:cxn>
                <a:cxn ang="0">
                  <a:pos x="connsiteX2778" y="connsiteY2778"/>
                </a:cxn>
                <a:cxn ang="0">
                  <a:pos x="connsiteX2779" y="connsiteY2779"/>
                </a:cxn>
                <a:cxn ang="0">
                  <a:pos x="connsiteX2780" y="connsiteY2780"/>
                </a:cxn>
                <a:cxn ang="0">
                  <a:pos x="connsiteX2781" y="connsiteY2781"/>
                </a:cxn>
                <a:cxn ang="0">
                  <a:pos x="connsiteX2782" y="connsiteY2782"/>
                </a:cxn>
                <a:cxn ang="0">
                  <a:pos x="connsiteX2783" y="connsiteY2783"/>
                </a:cxn>
                <a:cxn ang="0">
                  <a:pos x="connsiteX2784" y="connsiteY2784"/>
                </a:cxn>
                <a:cxn ang="0">
                  <a:pos x="connsiteX2785" y="connsiteY2785"/>
                </a:cxn>
                <a:cxn ang="0">
                  <a:pos x="connsiteX2786" y="connsiteY2786"/>
                </a:cxn>
                <a:cxn ang="0">
                  <a:pos x="connsiteX2787" y="connsiteY2787"/>
                </a:cxn>
                <a:cxn ang="0">
                  <a:pos x="connsiteX2788" y="connsiteY2788"/>
                </a:cxn>
                <a:cxn ang="0">
                  <a:pos x="connsiteX2789" y="connsiteY2789"/>
                </a:cxn>
                <a:cxn ang="0">
                  <a:pos x="connsiteX2790" y="connsiteY2790"/>
                </a:cxn>
                <a:cxn ang="0">
                  <a:pos x="connsiteX2791" y="connsiteY2791"/>
                </a:cxn>
                <a:cxn ang="0">
                  <a:pos x="connsiteX2792" y="connsiteY2792"/>
                </a:cxn>
                <a:cxn ang="0">
                  <a:pos x="connsiteX2793" y="connsiteY2793"/>
                </a:cxn>
                <a:cxn ang="0">
                  <a:pos x="connsiteX2794" y="connsiteY2794"/>
                </a:cxn>
                <a:cxn ang="0">
                  <a:pos x="connsiteX2795" y="connsiteY2795"/>
                </a:cxn>
                <a:cxn ang="0">
                  <a:pos x="connsiteX2796" y="connsiteY2796"/>
                </a:cxn>
                <a:cxn ang="0">
                  <a:pos x="connsiteX2797" y="connsiteY2797"/>
                </a:cxn>
                <a:cxn ang="0">
                  <a:pos x="connsiteX2798" y="connsiteY2798"/>
                </a:cxn>
                <a:cxn ang="0">
                  <a:pos x="connsiteX2799" y="connsiteY2799"/>
                </a:cxn>
                <a:cxn ang="0">
                  <a:pos x="connsiteX2800" y="connsiteY2800"/>
                </a:cxn>
                <a:cxn ang="0">
                  <a:pos x="connsiteX2801" y="connsiteY2801"/>
                </a:cxn>
                <a:cxn ang="0">
                  <a:pos x="connsiteX2802" y="connsiteY2802"/>
                </a:cxn>
                <a:cxn ang="0">
                  <a:pos x="connsiteX2803" y="connsiteY2803"/>
                </a:cxn>
                <a:cxn ang="0">
                  <a:pos x="connsiteX2804" y="connsiteY2804"/>
                </a:cxn>
                <a:cxn ang="0">
                  <a:pos x="connsiteX2805" y="connsiteY2805"/>
                </a:cxn>
                <a:cxn ang="0">
                  <a:pos x="connsiteX2806" y="connsiteY2806"/>
                </a:cxn>
                <a:cxn ang="0">
                  <a:pos x="connsiteX2807" y="connsiteY2807"/>
                </a:cxn>
                <a:cxn ang="0">
                  <a:pos x="connsiteX2808" y="connsiteY2808"/>
                </a:cxn>
                <a:cxn ang="0">
                  <a:pos x="connsiteX2809" y="connsiteY2809"/>
                </a:cxn>
                <a:cxn ang="0">
                  <a:pos x="connsiteX2810" y="connsiteY2810"/>
                </a:cxn>
                <a:cxn ang="0">
                  <a:pos x="connsiteX2811" y="connsiteY2811"/>
                </a:cxn>
                <a:cxn ang="0">
                  <a:pos x="connsiteX2812" y="connsiteY2812"/>
                </a:cxn>
                <a:cxn ang="0">
                  <a:pos x="connsiteX2813" y="connsiteY2813"/>
                </a:cxn>
                <a:cxn ang="0">
                  <a:pos x="connsiteX2814" y="connsiteY2814"/>
                </a:cxn>
                <a:cxn ang="0">
                  <a:pos x="connsiteX2815" y="connsiteY2815"/>
                </a:cxn>
                <a:cxn ang="0">
                  <a:pos x="connsiteX2816" y="connsiteY2816"/>
                </a:cxn>
                <a:cxn ang="0">
                  <a:pos x="connsiteX2817" y="connsiteY2817"/>
                </a:cxn>
                <a:cxn ang="0">
                  <a:pos x="connsiteX2818" y="connsiteY2818"/>
                </a:cxn>
                <a:cxn ang="0">
                  <a:pos x="connsiteX2819" y="connsiteY2819"/>
                </a:cxn>
                <a:cxn ang="0">
                  <a:pos x="connsiteX2820" y="connsiteY2820"/>
                </a:cxn>
                <a:cxn ang="0">
                  <a:pos x="connsiteX2821" y="connsiteY2821"/>
                </a:cxn>
                <a:cxn ang="0">
                  <a:pos x="connsiteX2822" y="connsiteY2822"/>
                </a:cxn>
                <a:cxn ang="0">
                  <a:pos x="connsiteX2823" y="connsiteY2823"/>
                </a:cxn>
                <a:cxn ang="0">
                  <a:pos x="connsiteX2824" y="connsiteY2824"/>
                </a:cxn>
                <a:cxn ang="0">
                  <a:pos x="connsiteX2825" y="connsiteY2825"/>
                </a:cxn>
                <a:cxn ang="0">
                  <a:pos x="connsiteX2826" y="connsiteY2826"/>
                </a:cxn>
                <a:cxn ang="0">
                  <a:pos x="connsiteX2827" y="connsiteY2827"/>
                </a:cxn>
                <a:cxn ang="0">
                  <a:pos x="connsiteX2828" y="connsiteY2828"/>
                </a:cxn>
                <a:cxn ang="0">
                  <a:pos x="connsiteX2829" y="connsiteY2829"/>
                </a:cxn>
                <a:cxn ang="0">
                  <a:pos x="connsiteX2830" y="connsiteY2830"/>
                </a:cxn>
                <a:cxn ang="0">
                  <a:pos x="connsiteX2831" y="connsiteY2831"/>
                </a:cxn>
                <a:cxn ang="0">
                  <a:pos x="connsiteX2832" y="connsiteY2832"/>
                </a:cxn>
                <a:cxn ang="0">
                  <a:pos x="connsiteX2833" y="connsiteY2833"/>
                </a:cxn>
                <a:cxn ang="0">
                  <a:pos x="connsiteX2834" y="connsiteY2834"/>
                </a:cxn>
                <a:cxn ang="0">
                  <a:pos x="connsiteX2835" y="connsiteY2835"/>
                </a:cxn>
                <a:cxn ang="0">
                  <a:pos x="connsiteX2836" y="connsiteY2836"/>
                </a:cxn>
                <a:cxn ang="0">
                  <a:pos x="connsiteX2837" y="connsiteY2837"/>
                </a:cxn>
                <a:cxn ang="0">
                  <a:pos x="connsiteX2838" y="connsiteY2838"/>
                </a:cxn>
                <a:cxn ang="0">
                  <a:pos x="connsiteX2839" y="connsiteY2839"/>
                </a:cxn>
                <a:cxn ang="0">
                  <a:pos x="connsiteX2840" y="connsiteY2840"/>
                </a:cxn>
                <a:cxn ang="0">
                  <a:pos x="connsiteX2841" y="connsiteY2841"/>
                </a:cxn>
                <a:cxn ang="0">
                  <a:pos x="connsiteX2842" y="connsiteY2842"/>
                </a:cxn>
                <a:cxn ang="0">
                  <a:pos x="connsiteX2843" y="connsiteY2843"/>
                </a:cxn>
                <a:cxn ang="0">
                  <a:pos x="connsiteX2844" y="connsiteY2844"/>
                </a:cxn>
                <a:cxn ang="0">
                  <a:pos x="connsiteX2845" y="connsiteY2845"/>
                </a:cxn>
                <a:cxn ang="0">
                  <a:pos x="connsiteX2846" y="connsiteY2846"/>
                </a:cxn>
                <a:cxn ang="0">
                  <a:pos x="connsiteX2847" y="connsiteY2847"/>
                </a:cxn>
                <a:cxn ang="0">
                  <a:pos x="connsiteX2848" y="connsiteY2848"/>
                </a:cxn>
                <a:cxn ang="0">
                  <a:pos x="connsiteX2849" y="connsiteY2849"/>
                </a:cxn>
                <a:cxn ang="0">
                  <a:pos x="connsiteX2850" y="connsiteY2850"/>
                </a:cxn>
                <a:cxn ang="0">
                  <a:pos x="connsiteX2851" y="connsiteY2851"/>
                </a:cxn>
                <a:cxn ang="0">
                  <a:pos x="connsiteX2852" y="connsiteY2852"/>
                </a:cxn>
                <a:cxn ang="0">
                  <a:pos x="connsiteX2853" y="connsiteY2853"/>
                </a:cxn>
                <a:cxn ang="0">
                  <a:pos x="connsiteX2854" y="connsiteY2854"/>
                </a:cxn>
                <a:cxn ang="0">
                  <a:pos x="connsiteX2855" y="connsiteY2855"/>
                </a:cxn>
                <a:cxn ang="0">
                  <a:pos x="connsiteX2856" y="connsiteY2856"/>
                </a:cxn>
                <a:cxn ang="0">
                  <a:pos x="connsiteX2857" y="connsiteY2857"/>
                </a:cxn>
                <a:cxn ang="0">
                  <a:pos x="connsiteX2858" y="connsiteY2858"/>
                </a:cxn>
                <a:cxn ang="0">
                  <a:pos x="connsiteX2859" y="connsiteY2859"/>
                </a:cxn>
                <a:cxn ang="0">
                  <a:pos x="connsiteX2860" y="connsiteY2860"/>
                </a:cxn>
                <a:cxn ang="0">
                  <a:pos x="connsiteX2861" y="connsiteY2861"/>
                </a:cxn>
                <a:cxn ang="0">
                  <a:pos x="connsiteX2862" y="connsiteY2862"/>
                </a:cxn>
                <a:cxn ang="0">
                  <a:pos x="connsiteX2863" y="connsiteY2863"/>
                </a:cxn>
                <a:cxn ang="0">
                  <a:pos x="connsiteX2864" y="connsiteY2864"/>
                </a:cxn>
                <a:cxn ang="0">
                  <a:pos x="connsiteX2865" y="connsiteY2865"/>
                </a:cxn>
                <a:cxn ang="0">
                  <a:pos x="connsiteX2866" y="connsiteY2866"/>
                </a:cxn>
                <a:cxn ang="0">
                  <a:pos x="connsiteX2867" y="connsiteY2867"/>
                </a:cxn>
                <a:cxn ang="0">
                  <a:pos x="connsiteX2868" y="connsiteY2868"/>
                </a:cxn>
                <a:cxn ang="0">
                  <a:pos x="connsiteX2869" y="connsiteY2869"/>
                </a:cxn>
                <a:cxn ang="0">
                  <a:pos x="connsiteX2870" y="connsiteY2870"/>
                </a:cxn>
                <a:cxn ang="0">
                  <a:pos x="connsiteX2871" y="connsiteY2871"/>
                </a:cxn>
                <a:cxn ang="0">
                  <a:pos x="connsiteX2872" y="connsiteY2872"/>
                </a:cxn>
                <a:cxn ang="0">
                  <a:pos x="connsiteX2873" y="connsiteY2873"/>
                </a:cxn>
                <a:cxn ang="0">
                  <a:pos x="connsiteX2874" y="connsiteY2874"/>
                </a:cxn>
                <a:cxn ang="0">
                  <a:pos x="connsiteX2875" y="connsiteY2875"/>
                </a:cxn>
                <a:cxn ang="0">
                  <a:pos x="connsiteX2876" y="connsiteY2876"/>
                </a:cxn>
                <a:cxn ang="0">
                  <a:pos x="connsiteX2877" y="connsiteY2877"/>
                </a:cxn>
                <a:cxn ang="0">
                  <a:pos x="connsiteX2878" y="connsiteY2878"/>
                </a:cxn>
                <a:cxn ang="0">
                  <a:pos x="connsiteX2879" y="connsiteY2879"/>
                </a:cxn>
                <a:cxn ang="0">
                  <a:pos x="connsiteX2880" y="connsiteY2880"/>
                </a:cxn>
                <a:cxn ang="0">
                  <a:pos x="connsiteX2881" y="connsiteY2881"/>
                </a:cxn>
                <a:cxn ang="0">
                  <a:pos x="connsiteX2882" y="connsiteY2882"/>
                </a:cxn>
                <a:cxn ang="0">
                  <a:pos x="connsiteX2883" y="connsiteY2883"/>
                </a:cxn>
                <a:cxn ang="0">
                  <a:pos x="connsiteX2884" y="connsiteY2884"/>
                </a:cxn>
                <a:cxn ang="0">
                  <a:pos x="connsiteX2885" y="connsiteY2885"/>
                </a:cxn>
                <a:cxn ang="0">
                  <a:pos x="connsiteX2886" y="connsiteY2886"/>
                </a:cxn>
                <a:cxn ang="0">
                  <a:pos x="connsiteX2887" y="connsiteY2887"/>
                </a:cxn>
                <a:cxn ang="0">
                  <a:pos x="connsiteX2888" y="connsiteY2888"/>
                </a:cxn>
                <a:cxn ang="0">
                  <a:pos x="connsiteX2889" y="connsiteY2889"/>
                </a:cxn>
                <a:cxn ang="0">
                  <a:pos x="connsiteX2890" y="connsiteY2890"/>
                </a:cxn>
                <a:cxn ang="0">
                  <a:pos x="connsiteX2891" y="connsiteY2891"/>
                </a:cxn>
                <a:cxn ang="0">
                  <a:pos x="connsiteX2892" y="connsiteY2892"/>
                </a:cxn>
                <a:cxn ang="0">
                  <a:pos x="connsiteX2893" y="connsiteY2893"/>
                </a:cxn>
                <a:cxn ang="0">
                  <a:pos x="connsiteX2894" y="connsiteY2894"/>
                </a:cxn>
                <a:cxn ang="0">
                  <a:pos x="connsiteX2895" y="connsiteY2895"/>
                </a:cxn>
                <a:cxn ang="0">
                  <a:pos x="connsiteX2896" y="connsiteY2896"/>
                </a:cxn>
                <a:cxn ang="0">
                  <a:pos x="connsiteX2897" y="connsiteY2897"/>
                </a:cxn>
                <a:cxn ang="0">
                  <a:pos x="connsiteX2898" y="connsiteY2898"/>
                </a:cxn>
                <a:cxn ang="0">
                  <a:pos x="connsiteX2899" y="connsiteY2899"/>
                </a:cxn>
                <a:cxn ang="0">
                  <a:pos x="connsiteX2900" y="connsiteY2900"/>
                </a:cxn>
                <a:cxn ang="0">
                  <a:pos x="connsiteX2901" y="connsiteY2901"/>
                </a:cxn>
                <a:cxn ang="0">
                  <a:pos x="connsiteX2902" y="connsiteY2902"/>
                </a:cxn>
                <a:cxn ang="0">
                  <a:pos x="connsiteX2903" y="connsiteY2903"/>
                </a:cxn>
                <a:cxn ang="0">
                  <a:pos x="connsiteX2904" y="connsiteY2904"/>
                </a:cxn>
                <a:cxn ang="0">
                  <a:pos x="connsiteX2905" y="connsiteY2905"/>
                </a:cxn>
                <a:cxn ang="0">
                  <a:pos x="connsiteX2906" y="connsiteY2906"/>
                </a:cxn>
                <a:cxn ang="0">
                  <a:pos x="connsiteX2907" y="connsiteY2907"/>
                </a:cxn>
                <a:cxn ang="0">
                  <a:pos x="connsiteX2908" y="connsiteY2908"/>
                </a:cxn>
                <a:cxn ang="0">
                  <a:pos x="connsiteX2909" y="connsiteY2909"/>
                </a:cxn>
                <a:cxn ang="0">
                  <a:pos x="connsiteX2910" y="connsiteY2910"/>
                </a:cxn>
                <a:cxn ang="0">
                  <a:pos x="connsiteX2911" y="connsiteY2911"/>
                </a:cxn>
                <a:cxn ang="0">
                  <a:pos x="connsiteX2912" y="connsiteY2912"/>
                </a:cxn>
                <a:cxn ang="0">
                  <a:pos x="connsiteX2913" y="connsiteY2913"/>
                </a:cxn>
                <a:cxn ang="0">
                  <a:pos x="connsiteX2914" y="connsiteY2914"/>
                </a:cxn>
                <a:cxn ang="0">
                  <a:pos x="connsiteX2915" y="connsiteY2915"/>
                </a:cxn>
                <a:cxn ang="0">
                  <a:pos x="connsiteX2916" y="connsiteY2916"/>
                </a:cxn>
                <a:cxn ang="0">
                  <a:pos x="connsiteX2917" y="connsiteY2917"/>
                </a:cxn>
                <a:cxn ang="0">
                  <a:pos x="connsiteX2918" y="connsiteY2918"/>
                </a:cxn>
                <a:cxn ang="0">
                  <a:pos x="connsiteX2919" y="connsiteY2919"/>
                </a:cxn>
                <a:cxn ang="0">
                  <a:pos x="connsiteX2920" y="connsiteY2920"/>
                </a:cxn>
                <a:cxn ang="0">
                  <a:pos x="connsiteX2921" y="connsiteY2921"/>
                </a:cxn>
                <a:cxn ang="0">
                  <a:pos x="connsiteX2922" y="connsiteY2922"/>
                </a:cxn>
                <a:cxn ang="0">
                  <a:pos x="connsiteX2923" y="connsiteY2923"/>
                </a:cxn>
                <a:cxn ang="0">
                  <a:pos x="connsiteX2924" y="connsiteY2924"/>
                </a:cxn>
                <a:cxn ang="0">
                  <a:pos x="connsiteX2925" y="connsiteY2925"/>
                </a:cxn>
                <a:cxn ang="0">
                  <a:pos x="connsiteX2926" y="connsiteY2926"/>
                </a:cxn>
                <a:cxn ang="0">
                  <a:pos x="connsiteX2927" y="connsiteY2927"/>
                </a:cxn>
                <a:cxn ang="0">
                  <a:pos x="connsiteX2928" y="connsiteY2928"/>
                </a:cxn>
                <a:cxn ang="0">
                  <a:pos x="connsiteX2929" y="connsiteY2929"/>
                </a:cxn>
                <a:cxn ang="0">
                  <a:pos x="connsiteX2930" y="connsiteY2930"/>
                </a:cxn>
                <a:cxn ang="0">
                  <a:pos x="connsiteX2931" y="connsiteY2931"/>
                </a:cxn>
                <a:cxn ang="0">
                  <a:pos x="connsiteX2932" y="connsiteY2932"/>
                </a:cxn>
                <a:cxn ang="0">
                  <a:pos x="connsiteX2933" y="connsiteY2933"/>
                </a:cxn>
                <a:cxn ang="0">
                  <a:pos x="connsiteX2934" y="connsiteY2934"/>
                </a:cxn>
                <a:cxn ang="0">
                  <a:pos x="connsiteX2935" y="connsiteY2935"/>
                </a:cxn>
                <a:cxn ang="0">
                  <a:pos x="connsiteX2936" y="connsiteY2936"/>
                </a:cxn>
                <a:cxn ang="0">
                  <a:pos x="connsiteX2937" y="connsiteY2937"/>
                </a:cxn>
                <a:cxn ang="0">
                  <a:pos x="connsiteX2938" y="connsiteY2938"/>
                </a:cxn>
                <a:cxn ang="0">
                  <a:pos x="connsiteX2939" y="connsiteY2939"/>
                </a:cxn>
                <a:cxn ang="0">
                  <a:pos x="connsiteX2940" y="connsiteY2940"/>
                </a:cxn>
                <a:cxn ang="0">
                  <a:pos x="connsiteX2941" y="connsiteY2941"/>
                </a:cxn>
                <a:cxn ang="0">
                  <a:pos x="connsiteX2942" y="connsiteY2942"/>
                </a:cxn>
                <a:cxn ang="0">
                  <a:pos x="connsiteX2943" y="connsiteY2943"/>
                </a:cxn>
                <a:cxn ang="0">
                  <a:pos x="connsiteX2944" y="connsiteY2944"/>
                </a:cxn>
                <a:cxn ang="0">
                  <a:pos x="connsiteX2945" y="connsiteY2945"/>
                </a:cxn>
                <a:cxn ang="0">
                  <a:pos x="connsiteX2946" y="connsiteY2946"/>
                </a:cxn>
                <a:cxn ang="0">
                  <a:pos x="connsiteX2947" y="connsiteY2947"/>
                </a:cxn>
                <a:cxn ang="0">
                  <a:pos x="connsiteX2948" y="connsiteY2948"/>
                </a:cxn>
                <a:cxn ang="0">
                  <a:pos x="connsiteX2949" y="connsiteY2949"/>
                </a:cxn>
                <a:cxn ang="0">
                  <a:pos x="connsiteX2950" y="connsiteY2950"/>
                </a:cxn>
                <a:cxn ang="0">
                  <a:pos x="connsiteX2951" y="connsiteY2951"/>
                </a:cxn>
                <a:cxn ang="0">
                  <a:pos x="connsiteX2952" y="connsiteY2952"/>
                </a:cxn>
                <a:cxn ang="0">
                  <a:pos x="connsiteX2953" y="connsiteY2953"/>
                </a:cxn>
                <a:cxn ang="0">
                  <a:pos x="connsiteX2954" y="connsiteY2954"/>
                </a:cxn>
                <a:cxn ang="0">
                  <a:pos x="connsiteX2955" y="connsiteY2955"/>
                </a:cxn>
                <a:cxn ang="0">
                  <a:pos x="connsiteX2956" y="connsiteY2956"/>
                </a:cxn>
                <a:cxn ang="0">
                  <a:pos x="connsiteX2957" y="connsiteY2957"/>
                </a:cxn>
                <a:cxn ang="0">
                  <a:pos x="connsiteX2958" y="connsiteY2958"/>
                </a:cxn>
                <a:cxn ang="0">
                  <a:pos x="connsiteX2959" y="connsiteY2959"/>
                </a:cxn>
                <a:cxn ang="0">
                  <a:pos x="connsiteX2960" y="connsiteY2960"/>
                </a:cxn>
                <a:cxn ang="0">
                  <a:pos x="connsiteX2961" y="connsiteY2961"/>
                </a:cxn>
                <a:cxn ang="0">
                  <a:pos x="connsiteX2962" y="connsiteY2962"/>
                </a:cxn>
                <a:cxn ang="0">
                  <a:pos x="connsiteX2963" y="connsiteY2963"/>
                </a:cxn>
                <a:cxn ang="0">
                  <a:pos x="connsiteX2964" y="connsiteY2964"/>
                </a:cxn>
                <a:cxn ang="0">
                  <a:pos x="connsiteX2965" y="connsiteY2965"/>
                </a:cxn>
                <a:cxn ang="0">
                  <a:pos x="connsiteX2966" y="connsiteY2966"/>
                </a:cxn>
                <a:cxn ang="0">
                  <a:pos x="connsiteX2967" y="connsiteY2967"/>
                </a:cxn>
                <a:cxn ang="0">
                  <a:pos x="connsiteX2968" y="connsiteY2968"/>
                </a:cxn>
                <a:cxn ang="0">
                  <a:pos x="connsiteX2969" y="connsiteY2969"/>
                </a:cxn>
                <a:cxn ang="0">
                  <a:pos x="connsiteX2970" y="connsiteY2970"/>
                </a:cxn>
                <a:cxn ang="0">
                  <a:pos x="connsiteX2971" y="connsiteY2971"/>
                </a:cxn>
                <a:cxn ang="0">
                  <a:pos x="connsiteX2972" y="connsiteY2972"/>
                </a:cxn>
                <a:cxn ang="0">
                  <a:pos x="connsiteX2973" y="connsiteY2973"/>
                </a:cxn>
                <a:cxn ang="0">
                  <a:pos x="connsiteX2974" y="connsiteY2974"/>
                </a:cxn>
                <a:cxn ang="0">
                  <a:pos x="connsiteX2975" y="connsiteY2975"/>
                </a:cxn>
                <a:cxn ang="0">
                  <a:pos x="connsiteX2976" y="connsiteY2976"/>
                </a:cxn>
                <a:cxn ang="0">
                  <a:pos x="connsiteX2977" y="connsiteY2977"/>
                </a:cxn>
                <a:cxn ang="0">
                  <a:pos x="connsiteX2978" y="connsiteY2978"/>
                </a:cxn>
                <a:cxn ang="0">
                  <a:pos x="connsiteX2979" y="connsiteY2979"/>
                </a:cxn>
                <a:cxn ang="0">
                  <a:pos x="connsiteX2980" y="connsiteY2980"/>
                </a:cxn>
                <a:cxn ang="0">
                  <a:pos x="connsiteX2981" y="connsiteY2981"/>
                </a:cxn>
                <a:cxn ang="0">
                  <a:pos x="connsiteX2982" y="connsiteY2982"/>
                </a:cxn>
                <a:cxn ang="0">
                  <a:pos x="connsiteX2983" y="connsiteY2983"/>
                </a:cxn>
                <a:cxn ang="0">
                  <a:pos x="connsiteX2984" y="connsiteY2984"/>
                </a:cxn>
                <a:cxn ang="0">
                  <a:pos x="connsiteX2985" y="connsiteY2985"/>
                </a:cxn>
                <a:cxn ang="0">
                  <a:pos x="connsiteX2986" y="connsiteY2986"/>
                </a:cxn>
                <a:cxn ang="0">
                  <a:pos x="connsiteX2987" y="connsiteY2987"/>
                </a:cxn>
                <a:cxn ang="0">
                  <a:pos x="connsiteX2988" y="connsiteY2988"/>
                </a:cxn>
                <a:cxn ang="0">
                  <a:pos x="connsiteX2989" y="connsiteY2989"/>
                </a:cxn>
                <a:cxn ang="0">
                  <a:pos x="connsiteX2990" y="connsiteY2990"/>
                </a:cxn>
                <a:cxn ang="0">
                  <a:pos x="connsiteX2991" y="connsiteY2991"/>
                </a:cxn>
                <a:cxn ang="0">
                  <a:pos x="connsiteX2992" y="connsiteY2992"/>
                </a:cxn>
                <a:cxn ang="0">
                  <a:pos x="connsiteX2993" y="connsiteY2993"/>
                </a:cxn>
                <a:cxn ang="0">
                  <a:pos x="connsiteX2994" y="connsiteY2994"/>
                </a:cxn>
                <a:cxn ang="0">
                  <a:pos x="connsiteX2995" y="connsiteY2995"/>
                </a:cxn>
                <a:cxn ang="0">
                  <a:pos x="connsiteX2996" y="connsiteY2996"/>
                </a:cxn>
                <a:cxn ang="0">
                  <a:pos x="connsiteX2997" y="connsiteY2997"/>
                </a:cxn>
                <a:cxn ang="0">
                  <a:pos x="connsiteX2998" y="connsiteY2998"/>
                </a:cxn>
                <a:cxn ang="0">
                  <a:pos x="connsiteX2999" y="connsiteY2999"/>
                </a:cxn>
                <a:cxn ang="0">
                  <a:pos x="connsiteX3000" y="connsiteY3000"/>
                </a:cxn>
                <a:cxn ang="0">
                  <a:pos x="connsiteX3001" y="connsiteY3001"/>
                </a:cxn>
                <a:cxn ang="0">
                  <a:pos x="connsiteX3002" y="connsiteY3002"/>
                </a:cxn>
                <a:cxn ang="0">
                  <a:pos x="connsiteX3003" y="connsiteY3003"/>
                </a:cxn>
                <a:cxn ang="0">
                  <a:pos x="connsiteX3004" y="connsiteY3004"/>
                </a:cxn>
                <a:cxn ang="0">
                  <a:pos x="connsiteX3005" y="connsiteY3005"/>
                </a:cxn>
                <a:cxn ang="0">
                  <a:pos x="connsiteX3006" y="connsiteY3006"/>
                </a:cxn>
                <a:cxn ang="0">
                  <a:pos x="connsiteX3007" y="connsiteY3007"/>
                </a:cxn>
                <a:cxn ang="0">
                  <a:pos x="connsiteX3008" y="connsiteY3008"/>
                </a:cxn>
                <a:cxn ang="0">
                  <a:pos x="connsiteX3009" y="connsiteY3009"/>
                </a:cxn>
                <a:cxn ang="0">
                  <a:pos x="connsiteX3010" y="connsiteY3010"/>
                </a:cxn>
                <a:cxn ang="0">
                  <a:pos x="connsiteX3011" y="connsiteY3011"/>
                </a:cxn>
                <a:cxn ang="0">
                  <a:pos x="connsiteX3012" y="connsiteY3012"/>
                </a:cxn>
                <a:cxn ang="0">
                  <a:pos x="connsiteX3013" y="connsiteY3013"/>
                </a:cxn>
                <a:cxn ang="0">
                  <a:pos x="connsiteX3014" y="connsiteY3014"/>
                </a:cxn>
                <a:cxn ang="0">
                  <a:pos x="connsiteX3015" y="connsiteY3015"/>
                </a:cxn>
                <a:cxn ang="0">
                  <a:pos x="connsiteX3016" y="connsiteY3016"/>
                </a:cxn>
                <a:cxn ang="0">
                  <a:pos x="connsiteX3017" y="connsiteY3017"/>
                </a:cxn>
                <a:cxn ang="0">
                  <a:pos x="connsiteX3018" y="connsiteY3018"/>
                </a:cxn>
                <a:cxn ang="0">
                  <a:pos x="connsiteX3019" y="connsiteY3019"/>
                </a:cxn>
                <a:cxn ang="0">
                  <a:pos x="connsiteX3020" y="connsiteY3020"/>
                </a:cxn>
                <a:cxn ang="0">
                  <a:pos x="connsiteX3021" y="connsiteY3021"/>
                </a:cxn>
                <a:cxn ang="0">
                  <a:pos x="connsiteX3022" y="connsiteY3022"/>
                </a:cxn>
                <a:cxn ang="0">
                  <a:pos x="connsiteX3023" y="connsiteY3023"/>
                </a:cxn>
                <a:cxn ang="0">
                  <a:pos x="connsiteX3024" y="connsiteY3024"/>
                </a:cxn>
                <a:cxn ang="0">
                  <a:pos x="connsiteX3025" y="connsiteY3025"/>
                </a:cxn>
                <a:cxn ang="0">
                  <a:pos x="connsiteX3026" y="connsiteY3026"/>
                </a:cxn>
                <a:cxn ang="0">
                  <a:pos x="connsiteX3027" y="connsiteY3027"/>
                </a:cxn>
                <a:cxn ang="0">
                  <a:pos x="connsiteX3028" y="connsiteY3028"/>
                </a:cxn>
                <a:cxn ang="0">
                  <a:pos x="connsiteX3029" y="connsiteY3029"/>
                </a:cxn>
                <a:cxn ang="0">
                  <a:pos x="connsiteX3030" y="connsiteY3030"/>
                </a:cxn>
                <a:cxn ang="0">
                  <a:pos x="connsiteX3031" y="connsiteY3031"/>
                </a:cxn>
                <a:cxn ang="0">
                  <a:pos x="connsiteX3032" y="connsiteY3032"/>
                </a:cxn>
                <a:cxn ang="0">
                  <a:pos x="connsiteX3033" y="connsiteY3033"/>
                </a:cxn>
                <a:cxn ang="0">
                  <a:pos x="connsiteX3034" y="connsiteY3034"/>
                </a:cxn>
                <a:cxn ang="0">
                  <a:pos x="connsiteX3035" y="connsiteY3035"/>
                </a:cxn>
                <a:cxn ang="0">
                  <a:pos x="connsiteX3036" y="connsiteY3036"/>
                </a:cxn>
                <a:cxn ang="0">
                  <a:pos x="connsiteX3037" y="connsiteY3037"/>
                </a:cxn>
                <a:cxn ang="0">
                  <a:pos x="connsiteX3038" y="connsiteY3038"/>
                </a:cxn>
                <a:cxn ang="0">
                  <a:pos x="connsiteX3039" y="connsiteY3039"/>
                </a:cxn>
                <a:cxn ang="0">
                  <a:pos x="connsiteX3040" y="connsiteY3040"/>
                </a:cxn>
                <a:cxn ang="0">
                  <a:pos x="connsiteX3041" y="connsiteY3041"/>
                </a:cxn>
                <a:cxn ang="0">
                  <a:pos x="connsiteX3042" y="connsiteY3042"/>
                </a:cxn>
                <a:cxn ang="0">
                  <a:pos x="connsiteX3043" y="connsiteY3043"/>
                </a:cxn>
                <a:cxn ang="0">
                  <a:pos x="connsiteX3044" y="connsiteY3044"/>
                </a:cxn>
                <a:cxn ang="0">
                  <a:pos x="connsiteX3045" y="connsiteY3045"/>
                </a:cxn>
                <a:cxn ang="0">
                  <a:pos x="connsiteX3046" y="connsiteY3046"/>
                </a:cxn>
                <a:cxn ang="0">
                  <a:pos x="connsiteX3047" y="connsiteY3047"/>
                </a:cxn>
                <a:cxn ang="0">
                  <a:pos x="connsiteX3048" y="connsiteY3048"/>
                </a:cxn>
                <a:cxn ang="0">
                  <a:pos x="connsiteX3049" y="connsiteY3049"/>
                </a:cxn>
                <a:cxn ang="0">
                  <a:pos x="connsiteX3050" y="connsiteY3050"/>
                </a:cxn>
                <a:cxn ang="0">
                  <a:pos x="connsiteX3051" y="connsiteY3051"/>
                </a:cxn>
                <a:cxn ang="0">
                  <a:pos x="connsiteX3052" y="connsiteY3052"/>
                </a:cxn>
                <a:cxn ang="0">
                  <a:pos x="connsiteX3053" y="connsiteY3053"/>
                </a:cxn>
                <a:cxn ang="0">
                  <a:pos x="connsiteX3054" y="connsiteY3054"/>
                </a:cxn>
                <a:cxn ang="0">
                  <a:pos x="connsiteX3055" y="connsiteY3055"/>
                </a:cxn>
                <a:cxn ang="0">
                  <a:pos x="connsiteX3056" y="connsiteY3056"/>
                </a:cxn>
                <a:cxn ang="0">
                  <a:pos x="connsiteX3057" y="connsiteY3057"/>
                </a:cxn>
                <a:cxn ang="0">
                  <a:pos x="connsiteX3058" y="connsiteY3058"/>
                </a:cxn>
                <a:cxn ang="0">
                  <a:pos x="connsiteX3059" y="connsiteY3059"/>
                </a:cxn>
                <a:cxn ang="0">
                  <a:pos x="connsiteX3060" y="connsiteY3060"/>
                </a:cxn>
                <a:cxn ang="0">
                  <a:pos x="connsiteX3061" y="connsiteY3061"/>
                </a:cxn>
                <a:cxn ang="0">
                  <a:pos x="connsiteX3062" y="connsiteY3062"/>
                </a:cxn>
                <a:cxn ang="0">
                  <a:pos x="connsiteX3063" y="connsiteY3063"/>
                </a:cxn>
                <a:cxn ang="0">
                  <a:pos x="connsiteX3064" y="connsiteY3064"/>
                </a:cxn>
                <a:cxn ang="0">
                  <a:pos x="connsiteX3065" y="connsiteY3065"/>
                </a:cxn>
                <a:cxn ang="0">
                  <a:pos x="connsiteX3066" y="connsiteY3066"/>
                </a:cxn>
                <a:cxn ang="0">
                  <a:pos x="connsiteX3067" y="connsiteY3067"/>
                </a:cxn>
                <a:cxn ang="0">
                  <a:pos x="connsiteX3068" y="connsiteY3068"/>
                </a:cxn>
                <a:cxn ang="0">
                  <a:pos x="connsiteX3069" y="connsiteY3069"/>
                </a:cxn>
                <a:cxn ang="0">
                  <a:pos x="connsiteX3070" y="connsiteY3070"/>
                </a:cxn>
                <a:cxn ang="0">
                  <a:pos x="connsiteX3071" y="connsiteY3071"/>
                </a:cxn>
                <a:cxn ang="0">
                  <a:pos x="connsiteX3072" y="connsiteY3072"/>
                </a:cxn>
                <a:cxn ang="0">
                  <a:pos x="connsiteX3073" y="connsiteY3073"/>
                </a:cxn>
                <a:cxn ang="0">
                  <a:pos x="connsiteX3074" y="connsiteY3074"/>
                </a:cxn>
                <a:cxn ang="0">
                  <a:pos x="connsiteX3075" y="connsiteY3075"/>
                </a:cxn>
                <a:cxn ang="0">
                  <a:pos x="connsiteX3076" y="connsiteY3076"/>
                </a:cxn>
                <a:cxn ang="0">
                  <a:pos x="connsiteX3077" y="connsiteY3077"/>
                </a:cxn>
                <a:cxn ang="0">
                  <a:pos x="connsiteX3078" y="connsiteY3078"/>
                </a:cxn>
                <a:cxn ang="0">
                  <a:pos x="connsiteX3079" y="connsiteY3079"/>
                </a:cxn>
                <a:cxn ang="0">
                  <a:pos x="connsiteX3080" y="connsiteY3080"/>
                </a:cxn>
                <a:cxn ang="0">
                  <a:pos x="connsiteX3081" y="connsiteY3081"/>
                </a:cxn>
                <a:cxn ang="0">
                  <a:pos x="connsiteX3082" y="connsiteY3082"/>
                </a:cxn>
                <a:cxn ang="0">
                  <a:pos x="connsiteX3083" y="connsiteY3083"/>
                </a:cxn>
                <a:cxn ang="0">
                  <a:pos x="connsiteX3084" y="connsiteY3084"/>
                </a:cxn>
                <a:cxn ang="0">
                  <a:pos x="connsiteX3085" y="connsiteY3085"/>
                </a:cxn>
                <a:cxn ang="0">
                  <a:pos x="connsiteX3086" y="connsiteY3086"/>
                </a:cxn>
                <a:cxn ang="0">
                  <a:pos x="connsiteX3087" y="connsiteY3087"/>
                </a:cxn>
                <a:cxn ang="0">
                  <a:pos x="connsiteX3088" y="connsiteY3088"/>
                </a:cxn>
                <a:cxn ang="0">
                  <a:pos x="connsiteX3089" y="connsiteY3089"/>
                </a:cxn>
                <a:cxn ang="0">
                  <a:pos x="connsiteX3090" y="connsiteY3090"/>
                </a:cxn>
                <a:cxn ang="0">
                  <a:pos x="connsiteX3091" y="connsiteY3091"/>
                </a:cxn>
                <a:cxn ang="0">
                  <a:pos x="connsiteX3092" y="connsiteY3092"/>
                </a:cxn>
                <a:cxn ang="0">
                  <a:pos x="connsiteX3093" y="connsiteY3093"/>
                </a:cxn>
                <a:cxn ang="0">
                  <a:pos x="connsiteX3094" y="connsiteY3094"/>
                </a:cxn>
                <a:cxn ang="0">
                  <a:pos x="connsiteX3095" y="connsiteY3095"/>
                </a:cxn>
                <a:cxn ang="0">
                  <a:pos x="connsiteX3096" y="connsiteY3096"/>
                </a:cxn>
                <a:cxn ang="0">
                  <a:pos x="connsiteX3097" y="connsiteY3097"/>
                </a:cxn>
                <a:cxn ang="0">
                  <a:pos x="connsiteX3098" y="connsiteY3098"/>
                </a:cxn>
                <a:cxn ang="0">
                  <a:pos x="connsiteX3099" y="connsiteY3099"/>
                </a:cxn>
                <a:cxn ang="0">
                  <a:pos x="connsiteX3100" y="connsiteY3100"/>
                </a:cxn>
                <a:cxn ang="0">
                  <a:pos x="connsiteX3101" y="connsiteY3101"/>
                </a:cxn>
                <a:cxn ang="0">
                  <a:pos x="connsiteX3102" y="connsiteY3102"/>
                </a:cxn>
                <a:cxn ang="0">
                  <a:pos x="connsiteX3103" y="connsiteY3103"/>
                </a:cxn>
                <a:cxn ang="0">
                  <a:pos x="connsiteX3104" y="connsiteY3104"/>
                </a:cxn>
                <a:cxn ang="0">
                  <a:pos x="connsiteX3105" y="connsiteY3105"/>
                </a:cxn>
                <a:cxn ang="0">
                  <a:pos x="connsiteX3106" y="connsiteY3106"/>
                </a:cxn>
                <a:cxn ang="0">
                  <a:pos x="connsiteX3107" y="connsiteY3107"/>
                </a:cxn>
                <a:cxn ang="0">
                  <a:pos x="connsiteX3108" y="connsiteY3108"/>
                </a:cxn>
                <a:cxn ang="0">
                  <a:pos x="connsiteX3109" y="connsiteY3109"/>
                </a:cxn>
                <a:cxn ang="0">
                  <a:pos x="connsiteX3110" y="connsiteY3110"/>
                </a:cxn>
                <a:cxn ang="0">
                  <a:pos x="connsiteX3111" y="connsiteY3111"/>
                </a:cxn>
                <a:cxn ang="0">
                  <a:pos x="connsiteX3112" y="connsiteY3112"/>
                </a:cxn>
                <a:cxn ang="0">
                  <a:pos x="connsiteX3113" y="connsiteY3113"/>
                </a:cxn>
                <a:cxn ang="0">
                  <a:pos x="connsiteX3114" y="connsiteY3114"/>
                </a:cxn>
                <a:cxn ang="0">
                  <a:pos x="connsiteX3115" y="connsiteY3115"/>
                </a:cxn>
                <a:cxn ang="0">
                  <a:pos x="connsiteX3116" y="connsiteY3116"/>
                </a:cxn>
                <a:cxn ang="0">
                  <a:pos x="connsiteX3117" y="connsiteY3117"/>
                </a:cxn>
                <a:cxn ang="0">
                  <a:pos x="connsiteX3118" y="connsiteY3118"/>
                </a:cxn>
                <a:cxn ang="0">
                  <a:pos x="connsiteX3119" y="connsiteY3119"/>
                </a:cxn>
                <a:cxn ang="0">
                  <a:pos x="connsiteX3120" y="connsiteY3120"/>
                </a:cxn>
                <a:cxn ang="0">
                  <a:pos x="connsiteX3121" y="connsiteY3121"/>
                </a:cxn>
                <a:cxn ang="0">
                  <a:pos x="connsiteX3122" y="connsiteY3122"/>
                </a:cxn>
                <a:cxn ang="0">
                  <a:pos x="connsiteX3123" y="connsiteY3123"/>
                </a:cxn>
                <a:cxn ang="0">
                  <a:pos x="connsiteX3124" y="connsiteY3124"/>
                </a:cxn>
                <a:cxn ang="0">
                  <a:pos x="connsiteX3125" y="connsiteY3125"/>
                </a:cxn>
                <a:cxn ang="0">
                  <a:pos x="connsiteX3126" y="connsiteY3126"/>
                </a:cxn>
                <a:cxn ang="0">
                  <a:pos x="connsiteX3127" y="connsiteY3127"/>
                </a:cxn>
                <a:cxn ang="0">
                  <a:pos x="connsiteX3128" y="connsiteY3128"/>
                </a:cxn>
                <a:cxn ang="0">
                  <a:pos x="connsiteX3129" y="connsiteY3129"/>
                </a:cxn>
                <a:cxn ang="0">
                  <a:pos x="connsiteX3130" y="connsiteY3130"/>
                </a:cxn>
                <a:cxn ang="0">
                  <a:pos x="connsiteX3131" y="connsiteY3131"/>
                </a:cxn>
                <a:cxn ang="0">
                  <a:pos x="connsiteX3132" y="connsiteY3132"/>
                </a:cxn>
                <a:cxn ang="0">
                  <a:pos x="connsiteX3133" y="connsiteY3133"/>
                </a:cxn>
                <a:cxn ang="0">
                  <a:pos x="connsiteX3134" y="connsiteY3134"/>
                </a:cxn>
                <a:cxn ang="0">
                  <a:pos x="connsiteX3135" y="connsiteY3135"/>
                </a:cxn>
                <a:cxn ang="0">
                  <a:pos x="connsiteX3136" y="connsiteY3136"/>
                </a:cxn>
                <a:cxn ang="0">
                  <a:pos x="connsiteX3137" y="connsiteY3137"/>
                </a:cxn>
                <a:cxn ang="0">
                  <a:pos x="connsiteX3138" y="connsiteY3138"/>
                </a:cxn>
                <a:cxn ang="0">
                  <a:pos x="connsiteX3139" y="connsiteY3139"/>
                </a:cxn>
                <a:cxn ang="0">
                  <a:pos x="connsiteX3140" y="connsiteY3140"/>
                </a:cxn>
                <a:cxn ang="0">
                  <a:pos x="connsiteX3141" y="connsiteY3141"/>
                </a:cxn>
                <a:cxn ang="0">
                  <a:pos x="connsiteX3142" y="connsiteY3142"/>
                </a:cxn>
                <a:cxn ang="0">
                  <a:pos x="connsiteX3143" y="connsiteY3143"/>
                </a:cxn>
                <a:cxn ang="0">
                  <a:pos x="connsiteX3144" y="connsiteY3144"/>
                </a:cxn>
                <a:cxn ang="0">
                  <a:pos x="connsiteX3145" y="connsiteY3145"/>
                </a:cxn>
                <a:cxn ang="0">
                  <a:pos x="connsiteX3146" y="connsiteY3146"/>
                </a:cxn>
                <a:cxn ang="0">
                  <a:pos x="connsiteX3147" y="connsiteY3147"/>
                </a:cxn>
                <a:cxn ang="0">
                  <a:pos x="connsiteX3148" y="connsiteY3148"/>
                </a:cxn>
                <a:cxn ang="0">
                  <a:pos x="connsiteX3149" y="connsiteY3149"/>
                </a:cxn>
                <a:cxn ang="0">
                  <a:pos x="connsiteX3150" y="connsiteY3150"/>
                </a:cxn>
                <a:cxn ang="0">
                  <a:pos x="connsiteX3151" y="connsiteY3151"/>
                </a:cxn>
                <a:cxn ang="0">
                  <a:pos x="connsiteX3152" y="connsiteY3152"/>
                </a:cxn>
                <a:cxn ang="0">
                  <a:pos x="connsiteX3153" y="connsiteY3153"/>
                </a:cxn>
                <a:cxn ang="0">
                  <a:pos x="connsiteX3154" y="connsiteY3154"/>
                </a:cxn>
                <a:cxn ang="0">
                  <a:pos x="connsiteX3155" y="connsiteY3155"/>
                </a:cxn>
                <a:cxn ang="0">
                  <a:pos x="connsiteX3156" y="connsiteY3156"/>
                </a:cxn>
                <a:cxn ang="0">
                  <a:pos x="connsiteX3157" y="connsiteY3157"/>
                </a:cxn>
                <a:cxn ang="0">
                  <a:pos x="connsiteX3158" y="connsiteY3158"/>
                </a:cxn>
                <a:cxn ang="0">
                  <a:pos x="connsiteX3159" y="connsiteY3159"/>
                </a:cxn>
                <a:cxn ang="0">
                  <a:pos x="connsiteX3160" y="connsiteY3160"/>
                </a:cxn>
                <a:cxn ang="0">
                  <a:pos x="connsiteX3161" y="connsiteY3161"/>
                </a:cxn>
                <a:cxn ang="0">
                  <a:pos x="connsiteX3162" y="connsiteY3162"/>
                </a:cxn>
                <a:cxn ang="0">
                  <a:pos x="connsiteX3163" y="connsiteY3163"/>
                </a:cxn>
                <a:cxn ang="0">
                  <a:pos x="connsiteX3164" y="connsiteY3164"/>
                </a:cxn>
                <a:cxn ang="0">
                  <a:pos x="connsiteX3165" y="connsiteY3165"/>
                </a:cxn>
                <a:cxn ang="0">
                  <a:pos x="connsiteX3166" y="connsiteY3166"/>
                </a:cxn>
                <a:cxn ang="0">
                  <a:pos x="connsiteX3167" y="connsiteY3167"/>
                </a:cxn>
                <a:cxn ang="0">
                  <a:pos x="connsiteX3168" y="connsiteY3168"/>
                </a:cxn>
                <a:cxn ang="0">
                  <a:pos x="connsiteX3169" y="connsiteY3169"/>
                </a:cxn>
                <a:cxn ang="0">
                  <a:pos x="connsiteX3170" y="connsiteY3170"/>
                </a:cxn>
                <a:cxn ang="0">
                  <a:pos x="connsiteX3171" y="connsiteY3171"/>
                </a:cxn>
                <a:cxn ang="0">
                  <a:pos x="connsiteX3172" y="connsiteY3172"/>
                </a:cxn>
                <a:cxn ang="0">
                  <a:pos x="connsiteX3173" y="connsiteY3173"/>
                </a:cxn>
                <a:cxn ang="0">
                  <a:pos x="connsiteX3174" y="connsiteY3174"/>
                </a:cxn>
                <a:cxn ang="0">
                  <a:pos x="connsiteX3175" y="connsiteY3175"/>
                </a:cxn>
                <a:cxn ang="0">
                  <a:pos x="connsiteX3176" y="connsiteY3176"/>
                </a:cxn>
                <a:cxn ang="0">
                  <a:pos x="connsiteX3177" y="connsiteY3177"/>
                </a:cxn>
                <a:cxn ang="0">
                  <a:pos x="connsiteX3178" y="connsiteY3178"/>
                </a:cxn>
                <a:cxn ang="0">
                  <a:pos x="connsiteX3179" y="connsiteY3179"/>
                </a:cxn>
                <a:cxn ang="0">
                  <a:pos x="connsiteX3180" y="connsiteY3180"/>
                </a:cxn>
                <a:cxn ang="0">
                  <a:pos x="connsiteX3181" y="connsiteY3181"/>
                </a:cxn>
                <a:cxn ang="0">
                  <a:pos x="connsiteX3182" y="connsiteY3182"/>
                </a:cxn>
                <a:cxn ang="0">
                  <a:pos x="connsiteX3183" y="connsiteY3183"/>
                </a:cxn>
                <a:cxn ang="0">
                  <a:pos x="connsiteX3184" y="connsiteY3184"/>
                </a:cxn>
                <a:cxn ang="0">
                  <a:pos x="connsiteX3185" y="connsiteY3185"/>
                </a:cxn>
                <a:cxn ang="0">
                  <a:pos x="connsiteX3186" y="connsiteY3186"/>
                </a:cxn>
                <a:cxn ang="0">
                  <a:pos x="connsiteX3187" y="connsiteY3187"/>
                </a:cxn>
                <a:cxn ang="0">
                  <a:pos x="connsiteX3188" y="connsiteY3188"/>
                </a:cxn>
                <a:cxn ang="0">
                  <a:pos x="connsiteX3189" y="connsiteY3189"/>
                </a:cxn>
                <a:cxn ang="0">
                  <a:pos x="connsiteX3190" y="connsiteY3190"/>
                </a:cxn>
                <a:cxn ang="0">
                  <a:pos x="connsiteX3191" y="connsiteY3191"/>
                </a:cxn>
                <a:cxn ang="0">
                  <a:pos x="connsiteX3192" y="connsiteY3192"/>
                </a:cxn>
                <a:cxn ang="0">
                  <a:pos x="connsiteX3193" y="connsiteY3193"/>
                </a:cxn>
                <a:cxn ang="0">
                  <a:pos x="connsiteX3194" y="connsiteY3194"/>
                </a:cxn>
                <a:cxn ang="0">
                  <a:pos x="connsiteX3195" y="connsiteY3195"/>
                </a:cxn>
                <a:cxn ang="0">
                  <a:pos x="connsiteX3196" y="connsiteY3196"/>
                </a:cxn>
                <a:cxn ang="0">
                  <a:pos x="connsiteX3197" y="connsiteY3197"/>
                </a:cxn>
                <a:cxn ang="0">
                  <a:pos x="connsiteX3198" y="connsiteY3198"/>
                </a:cxn>
                <a:cxn ang="0">
                  <a:pos x="connsiteX3199" y="connsiteY3199"/>
                </a:cxn>
                <a:cxn ang="0">
                  <a:pos x="connsiteX3200" y="connsiteY3200"/>
                </a:cxn>
                <a:cxn ang="0">
                  <a:pos x="connsiteX3201" y="connsiteY3201"/>
                </a:cxn>
                <a:cxn ang="0">
                  <a:pos x="connsiteX3202" y="connsiteY3202"/>
                </a:cxn>
                <a:cxn ang="0">
                  <a:pos x="connsiteX3203" y="connsiteY3203"/>
                </a:cxn>
                <a:cxn ang="0">
                  <a:pos x="connsiteX3204" y="connsiteY3204"/>
                </a:cxn>
                <a:cxn ang="0">
                  <a:pos x="connsiteX3205" y="connsiteY3205"/>
                </a:cxn>
                <a:cxn ang="0">
                  <a:pos x="connsiteX3206" y="connsiteY3206"/>
                </a:cxn>
                <a:cxn ang="0">
                  <a:pos x="connsiteX3207" y="connsiteY3207"/>
                </a:cxn>
                <a:cxn ang="0">
                  <a:pos x="connsiteX3208" y="connsiteY3208"/>
                </a:cxn>
                <a:cxn ang="0">
                  <a:pos x="connsiteX3209" y="connsiteY3209"/>
                </a:cxn>
                <a:cxn ang="0">
                  <a:pos x="connsiteX3210" y="connsiteY3210"/>
                </a:cxn>
                <a:cxn ang="0">
                  <a:pos x="connsiteX3211" y="connsiteY3211"/>
                </a:cxn>
                <a:cxn ang="0">
                  <a:pos x="connsiteX3212" y="connsiteY3212"/>
                </a:cxn>
                <a:cxn ang="0">
                  <a:pos x="connsiteX3213" y="connsiteY3213"/>
                </a:cxn>
                <a:cxn ang="0">
                  <a:pos x="connsiteX3214" y="connsiteY3214"/>
                </a:cxn>
                <a:cxn ang="0">
                  <a:pos x="connsiteX3215" y="connsiteY3215"/>
                </a:cxn>
                <a:cxn ang="0">
                  <a:pos x="connsiteX3216" y="connsiteY3216"/>
                </a:cxn>
                <a:cxn ang="0">
                  <a:pos x="connsiteX3217" y="connsiteY3217"/>
                </a:cxn>
                <a:cxn ang="0">
                  <a:pos x="connsiteX3218" y="connsiteY3218"/>
                </a:cxn>
                <a:cxn ang="0">
                  <a:pos x="connsiteX3219" y="connsiteY3219"/>
                </a:cxn>
                <a:cxn ang="0">
                  <a:pos x="connsiteX3220" y="connsiteY3220"/>
                </a:cxn>
                <a:cxn ang="0">
                  <a:pos x="connsiteX3221" y="connsiteY3221"/>
                </a:cxn>
                <a:cxn ang="0">
                  <a:pos x="connsiteX3222" y="connsiteY3222"/>
                </a:cxn>
                <a:cxn ang="0">
                  <a:pos x="connsiteX3223" y="connsiteY3223"/>
                </a:cxn>
                <a:cxn ang="0">
                  <a:pos x="connsiteX3224" y="connsiteY3224"/>
                </a:cxn>
                <a:cxn ang="0">
                  <a:pos x="connsiteX3225" y="connsiteY3225"/>
                </a:cxn>
                <a:cxn ang="0">
                  <a:pos x="connsiteX3226" y="connsiteY3226"/>
                </a:cxn>
                <a:cxn ang="0">
                  <a:pos x="connsiteX3227" y="connsiteY3227"/>
                </a:cxn>
                <a:cxn ang="0">
                  <a:pos x="connsiteX3228" y="connsiteY3228"/>
                </a:cxn>
                <a:cxn ang="0">
                  <a:pos x="connsiteX3229" y="connsiteY3229"/>
                </a:cxn>
                <a:cxn ang="0">
                  <a:pos x="connsiteX3230" y="connsiteY3230"/>
                </a:cxn>
                <a:cxn ang="0">
                  <a:pos x="connsiteX3231" y="connsiteY3231"/>
                </a:cxn>
                <a:cxn ang="0">
                  <a:pos x="connsiteX3232" y="connsiteY3232"/>
                </a:cxn>
                <a:cxn ang="0">
                  <a:pos x="connsiteX3233" y="connsiteY3233"/>
                </a:cxn>
                <a:cxn ang="0">
                  <a:pos x="connsiteX3234" y="connsiteY3234"/>
                </a:cxn>
                <a:cxn ang="0">
                  <a:pos x="connsiteX3235" y="connsiteY3235"/>
                </a:cxn>
                <a:cxn ang="0">
                  <a:pos x="connsiteX3236" y="connsiteY3236"/>
                </a:cxn>
                <a:cxn ang="0">
                  <a:pos x="connsiteX3237" y="connsiteY3237"/>
                </a:cxn>
                <a:cxn ang="0">
                  <a:pos x="connsiteX3238" y="connsiteY3238"/>
                </a:cxn>
                <a:cxn ang="0">
                  <a:pos x="connsiteX3239" y="connsiteY3239"/>
                </a:cxn>
                <a:cxn ang="0">
                  <a:pos x="connsiteX3240" y="connsiteY3240"/>
                </a:cxn>
                <a:cxn ang="0">
                  <a:pos x="connsiteX3241" y="connsiteY3241"/>
                </a:cxn>
                <a:cxn ang="0">
                  <a:pos x="connsiteX3242" y="connsiteY3242"/>
                </a:cxn>
                <a:cxn ang="0">
                  <a:pos x="connsiteX3243" y="connsiteY3243"/>
                </a:cxn>
                <a:cxn ang="0">
                  <a:pos x="connsiteX3244" y="connsiteY3244"/>
                </a:cxn>
                <a:cxn ang="0">
                  <a:pos x="connsiteX3245" y="connsiteY3245"/>
                </a:cxn>
                <a:cxn ang="0">
                  <a:pos x="connsiteX3246" y="connsiteY3246"/>
                </a:cxn>
                <a:cxn ang="0">
                  <a:pos x="connsiteX3247" y="connsiteY3247"/>
                </a:cxn>
                <a:cxn ang="0">
                  <a:pos x="connsiteX3248" y="connsiteY3248"/>
                </a:cxn>
                <a:cxn ang="0">
                  <a:pos x="connsiteX3249" y="connsiteY3249"/>
                </a:cxn>
                <a:cxn ang="0">
                  <a:pos x="connsiteX3250" y="connsiteY3250"/>
                </a:cxn>
                <a:cxn ang="0">
                  <a:pos x="connsiteX3251" y="connsiteY3251"/>
                </a:cxn>
                <a:cxn ang="0">
                  <a:pos x="connsiteX3252" y="connsiteY3252"/>
                </a:cxn>
                <a:cxn ang="0">
                  <a:pos x="connsiteX3253" y="connsiteY3253"/>
                </a:cxn>
                <a:cxn ang="0">
                  <a:pos x="connsiteX3254" y="connsiteY3254"/>
                </a:cxn>
                <a:cxn ang="0">
                  <a:pos x="connsiteX3255" y="connsiteY3255"/>
                </a:cxn>
                <a:cxn ang="0">
                  <a:pos x="connsiteX3256" y="connsiteY3256"/>
                </a:cxn>
                <a:cxn ang="0">
                  <a:pos x="connsiteX3257" y="connsiteY3257"/>
                </a:cxn>
                <a:cxn ang="0">
                  <a:pos x="connsiteX3258" y="connsiteY3258"/>
                </a:cxn>
                <a:cxn ang="0">
                  <a:pos x="connsiteX3259" y="connsiteY3259"/>
                </a:cxn>
                <a:cxn ang="0">
                  <a:pos x="connsiteX3260" y="connsiteY3260"/>
                </a:cxn>
                <a:cxn ang="0">
                  <a:pos x="connsiteX3261" y="connsiteY3261"/>
                </a:cxn>
                <a:cxn ang="0">
                  <a:pos x="connsiteX3262" y="connsiteY3262"/>
                </a:cxn>
                <a:cxn ang="0">
                  <a:pos x="connsiteX3263" y="connsiteY3263"/>
                </a:cxn>
                <a:cxn ang="0">
                  <a:pos x="connsiteX3264" y="connsiteY3264"/>
                </a:cxn>
                <a:cxn ang="0">
                  <a:pos x="connsiteX3265" y="connsiteY3265"/>
                </a:cxn>
                <a:cxn ang="0">
                  <a:pos x="connsiteX3266" y="connsiteY3266"/>
                </a:cxn>
                <a:cxn ang="0">
                  <a:pos x="connsiteX3267" y="connsiteY3267"/>
                </a:cxn>
                <a:cxn ang="0">
                  <a:pos x="connsiteX3268" y="connsiteY3268"/>
                </a:cxn>
                <a:cxn ang="0">
                  <a:pos x="connsiteX3269" y="connsiteY3269"/>
                </a:cxn>
                <a:cxn ang="0">
                  <a:pos x="connsiteX3270" y="connsiteY3270"/>
                </a:cxn>
                <a:cxn ang="0">
                  <a:pos x="connsiteX3271" y="connsiteY3271"/>
                </a:cxn>
                <a:cxn ang="0">
                  <a:pos x="connsiteX3272" y="connsiteY3272"/>
                </a:cxn>
                <a:cxn ang="0">
                  <a:pos x="connsiteX3273" y="connsiteY3273"/>
                </a:cxn>
                <a:cxn ang="0">
                  <a:pos x="connsiteX3274" y="connsiteY3274"/>
                </a:cxn>
                <a:cxn ang="0">
                  <a:pos x="connsiteX3275" y="connsiteY3275"/>
                </a:cxn>
                <a:cxn ang="0">
                  <a:pos x="connsiteX3276" y="connsiteY3276"/>
                </a:cxn>
                <a:cxn ang="0">
                  <a:pos x="connsiteX3277" y="connsiteY3277"/>
                </a:cxn>
                <a:cxn ang="0">
                  <a:pos x="connsiteX3278" y="connsiteY3278"/>
                </a:cxn>
                <a:cxn ang="0">
                  <a:pos x="connsiteX3279" y="connsiteY3279"/>
                </a:cxn>
                <a:cxn ang="0">
                  <a:pos x="connsiteX3280" y="connsiteY3280"/>
                </a:cxn>
                <a:cxn ang="0">
                  <a:pos x="connsiteX3281" y="connsiteY3281"/>
                </a:cxn>
                <a:cxn ang="0">
                  <a:pos x="connsiteX3282" y="connsiteY3282"/>
                </a:cxn>
                <a:cxn ang="0">
                  <a:pos x="connsiteX3283" y="connsiteY3283"/>
                </a:cxn>
                <a:cxn ang="0">
                  <a:pos x="connsiteX3284" y="connsiteY3284"/>
                </a:cxn>
                <a:cxn ang="0">
                  <a:pos x="connsiteX3285" y="connsiteY3285"/>
                </a:cxn>
                <a:cxn ang="0">
                  <a:pos x="connsiteX3286" y="connsiteY3286"/>
                </a:cxn>
                <a:cxn ang="0">
                  <a:pos x="connsiteX3287" y="connsiteY3287"/>
                </a:cxn>
                <a:cxn ang="0">
                  <a:pos x="connsiteX3288" y="connsiteY3288"/>
                </a:cxn>
                <a:cxn ang="0">
                  <a:pos x="connsiteX3289" y="connsiteY3289"/>
                </a:cxn>
                <a:cxn ang="0">
                  <a:pos x="connsiteX3290" y="connsiteY3290"/>
                </a:cxn>
                <a:cxn ang="0">
                  <a:pos x="connsiteX3291" y="connsiteY3291"/>
                </a:cxn>
                <a:cxn ang="0">
                  <a:pos x="connsiteX3292" y="connsiteY3292"/>
                </a:cxn>
                <a:cxn ang="0">
                  <a:pos x="connsiteX3293" y="connsiteY3293"/>
                </a:cxn>
                <a:cxn ang="0">
                  <a:pos x="connsiteX3294" y="connsiteY3294"/>
                </a:cxn>
                <a:cxn ang="0">
                  <a:pos x="connsiteX3295" y="connsiteY3295"/>
                </a:cxn>
                <a:cxn ang="0">
                  <a:pos x="connsiteX3296" y="connsiteY3296"/>
                </a:cxn>
                <a:cxn ang="0">
                  <a:pos x="connsiteX3297" y="connsiteY3297"/>
                </a:cxn>
                <a:cxn ang="0">
                  <a:pos x="connsiteX3298" y="connsiteY3298"/>
                </a:cxn>
                <a:cxn ang="0">
                  <a:pos x="connsiteX3299" y="connsiteY3299"/>
                </a:cxn>
                <a:cxn ang="0">
                  <a:pos x="connsiteX3300" y="connsiteY3300"/>
                </a:cxn>
                <a:cxn ang="0">
                  <a:pos x="connsiteX3301" y="connsiteY3301"/>
                </a:cxn>
                <a:cxn ang="0">
                  <a:pos x="connsiteX3302" y="connsiteY3302"/>
                </a:cxn>
                <a:cxn ang="0">
                  <a:pos x="connsiteX3303" y="connsiteY3303"/>
                </a:cxn>
                <a:cxn ang="0">
                  <a:pos x="connsiteX3304" y="connsiteY3304"/>
                </a:cxn>
                <a:cxn ang="0">
                  <a:pos x="connsiteX3305" y="connsiteY3305"/>
                </a:cxn>
                <a:cxn ang="0">
                  <a:pos x="connsiteX3306" y="connsiteY3306"/>
                </a:cxn>
                <a:cxn ang="0">
                  <a:pos x="connsiteX3307" y="connsiteY3307"/>
                </a:cxn>
                <a:cxn ang="0">
                  <a:pos x="connsiteX3308" y="connsiteY3308"/>
                </a:cxn>
                <a:cxn ang="0">
                  <a:pos x="connsiteX3309" y="connsiteY3309"/>
                </a:cxn>
                <a:cxn ang="0">
                  <a:pos x="connsiteX3310" y="connsiteY3310"/>
                </a:cxn>
                <a:cxn ang="0">
                  <a:pos x="connsiteX3311" y="connsiteY3311"/>
                </a:cxn>
                <a:cxn ang="0">
                  <a:pos x="connsiteX3312" y="connsiteY3312"/>
                </a:cxn>
                <a:cxn ang="0">
                  <a:pos x="connsiteX3313" y="connsiteY3313"/>
                </a:cxn>
                <a:cxn ang="0">
                  <a:pos x="connsiteX3314" y="connsiteY3314"/>
                </a:cxn>
                <a:cxn ang="0">
                  <a:pos x="connsiteX3315" y="connsiteY3315"/>
                </a:cxn>
                <a:cxn ang="0">
                  <a:pos x="connsiteX3316" y="connsiteY3316"/>
                </a:cxn>
                <a:cxn ang="0">
                  <a:pos x="connsiteX3317" y="connsiteY3317"/>
                </a:cxn>
                <a:cxn ang="0">
                  <a:pos x="connsiteX3318" y="connsiteY3318"/>
                </a:cxn>
                <a:cxn ang="0">
                  <a:pos x="connsiteX3319" y="connsiteY3319"/>
                </a:cxn>
                <a:cxn ang="0">
                  <a:pos x="connsiteX3320" y="connsiteY3320"/>
                </a:cxn>
                <a:cxn ang="0">
                  <a:pos x="connsiteX3321" y="connsiteY3321"/>
                </a:cxn>
                <a:cxn ang="0">
                  <a:pos x="connsiteX3322" y="connsiteY3322"/>
                </a:cxn>
                <a:cxn ang="0">
                  <a:pos x="connsiteX3323" y="connsiteY3323"/>
                </a:cxn>
                <a:cxn ang="0">
                  <a:pos x="connsiteX3324" y="connsiteY3324"/>
                </a:cxn>
                <a:cxn ang="0">
                  <a:pos x="connsiteX3325" y="connsiteY3325"/>
                </a:cxn>
                <a:cxn ang="0">
                  <a:pos x="connsiteX3326" y="connsiteY3326"/>
                </a:cxn>
                <a:cxn ang="0">
                  <a:pos x="connsiteX3327" y="connsiteY3327"/>
                </a:cxn>
                <a:cxn ang="0">
                  <a:pos x="connsiteX3328" y="connsiteY3328"/>
                </a:cxn>
                <a:cxn ang="0">
                  <a:pos x="connsiteX3329" y="connsiteY3329"/>
                </a:cxn>
                <a:cxn ang="0">
                  <a:pos x="connsiteX3330" y="connsiteY3330"/>
                </a:cxn>
                <a:cxn ang="0">
                  <a:pos x="connsiteX3331" y="connsiteY3331"/>
                </a:cxn>
                <a:cxn ang="0">
                  <a:pos x="connsiteX3332" y="connsiteY3332"/>
                </a:cxn>
                <a:cxn ang="0">
                  <a:pos x="connsiteX3333" y="connsiteY3333"/>
                </a:cxn>
                <a:cxn ang="0">
                  <a:pos x="connsiteX3334" y="connsiteY3334"/>
                </a:cxn>
                <a:cxn ang="0">
                  <a:pos x="connsiteX3335" y="connsiteY3335"/>
                </a:cxn>
                <a:cxn ang="0">
                  <a:pos x="connsiteX3336" y="connsiteY3336"/>
                </a:cxn>
                <a:cxn ang="0">
                  <a:pos x="connsiteX3337" y="connsiteY3337"/>
                </a:cxn>
                <a:cxn ang="0">
                  <a:pos x="connsiteX3338" y="connsiteY3338"/>
                </a:cxn>
                <a:cxn ang="0">
                  <a:pos x="connsiteX3339" y="connsiteY3339"/>
                </a:cxn>
                <a:cxn ang="0">
                  <a:pos x="connsiteX3340" y="connsiteY3340"/>
                </a:cxn>
                <a:cxn ang="0">
                  <a:pos x="connsiteX3341" y="connsiteY3341"/>
                </a:cxn>
                <a:cxn ang="0">
                  <a:pos x="connsiteX3342" y="connsiteY3342"/>
                </a:cxn>
                <a:cxn ang="0">
                  <a:pos x="connsiteX3343" y="connsiteY3343"/>
                </a:cxn>
                <a:cxn ang="0">
                  <a:pos x="connsiteX3344" y="connsiteY3344"/>
                </a:cxn>
                <a:cxn ang="0">
                  <a:pos x="connsiteX3345" y="connsiteY3345"/>
                </a:cxn>
                <a:cxn ang="0">
                  <a:pos x="connsiteX3346" y="connsiteY3346"/>
                </a:cxn>
                <a:cxn ang="0">
                  <a:pos x="connsiteX3347" y="connsiteY3347"/>
                </a:cxn>
                <a:cxn ang="0">
                  <a:pos x="connsiteX3348" y="connsiteY3348"/>
                </a:cxn>
                <a:cxn ang="0">
                  <a:pos x="connsiteX3349" y="connsiteY3349"/>
                </a:cxn>
                <a:cxn ang="0">
                  <a:pos x="connsiteX3350" y="connsiteY3350"/>
                </a:cxn>
                <a:cxn ang="0">
                  <a:pos x="connsiteX3351" y="connsiteY3351"/>
                </a:cxn>
                <a:cxn ang="0">
                  <a:pos x="connsiteX3352" y="connsiteY3352"/>
                </a:cxn>
                <a:cxn ang="0">
                  <a:pos x="connsiteX3353" y="connsiteY3353"/>
                </a:cxn>
                <a:cxn ang="0">
                  <a:pos x="connsiteX3354" y="connsiteY3354"/>
                </a:cxn>
                <a:cxn ang="0">
                  <a:pos x="connsiteX3355" y="connsiteY3355"/>
                </a:cxn>
                <a:cxn ang="0">
                  <a:pos x="connsiteX3356" y="connsiteY3356"/>
                </a:cxn>
                <a:cxn ang="0">
                  <a:pos x="connsiteX3357" y="connsiteY3357"/>
                </a:cxn>
                <a:cxn ang="0">
                  <a:pos x="connsiteX3358" y="connsiteY3358"/>
                </a:cxn>
                <a:cxn ang="0">
                  <a:pos x="connsiteX3359" y="connsiteY3359"/>
                </a:cxn>
                <a:cxn ang="0">
                  <a:pos x="connsiteX3360" y="connsiteY3360"/>
                </a:cxn>
                <a:cxn ang="0">
                  <a:pos x="connsiteX3361" y="connsiteY3361"/>
                </a:cxn>
                <a:cxn ang="0">
                  <a:pos x="connsiteX3362" y="connsiteY3362"/>
                </a:cxn>
                <a:cxn ang="0">
                  <a:pos x="connsiteX3363" y="connsiteY3363"/>
                </a:cxn>
                <a:cxn ang="0">
                  <a:pos x="connsiteX3364" y="connsiteY3364"/>
                </a:cxn>
                <a:cxn ang="0">
                  <a:pos x="connsiteX3365" y="connsiteY3365"/>
                </a:cxn>
                <a:cxn ang="0">
                  <a:pos x="connsiteX3366" y="connsiteY3366"/>
                </a:cxn>
                <a:cxn ang="0">
                  <a:pos x="connsiteX3367" y="connsiteY3367"/>
                </a:cxn>
                <a:cxn ang="0">
                  <a:pos x="connsiteX3368" y="connsiteY3368"/>
                </a:cxn>
                <a:cxn ang="0">
                  <a:pos x="connsiteX3369" y="connsiteY3369"/>
                </a:cxn>
                <a:cxn ang="0">
                  <a:pos x="connsiteX3370" y="connsiteY3370"/>
                </a:cxn>
                <a:cxn ang="0">
                  <a:pos x="connsiteX3371" y="connsiteY3371"/>
                </a:cxn>
                <a:cxn ang="0">
                  <a:pos x="connsiteX3372" y="connsiteY3372"/>
                </a:cxn>
                <a:cxn ang="0">
                  <a:pos x="connsiteX3373" y="connsiteY3373"/>
                </a:cxn>
                <a:cxn ang="0">
                  <a:pos x="connsiteX3374" y="connsiteY3374"/>
                </a:cxn>
                <a:cxn ang="0">
                  <a:pos x="connsiteX3375" y="connsiteY3375"/>
                </a:cxn>
                <a:cxn ang="0">
                  <a:pos x="connsiteX3376" y="connsiteY3376"/>
                </a:cxn>
                <a:cxn ang="0">
                  <a:pos x="connsiteX3377" y="connsiteY3377"/>
                </a:cxn>
                <a:cxn ang="0">
                  <a:pos x="connsiteX3378" y="connsiteY3378"/>
                </a:cxn>
                <a:cxn ang="0">
                  <a:pos x="connsiteX3379" y="connsiteY3379"/>
                </a:cxn>
                <a:cxn ang="0">
                  <a:pos x="connsiteX3380" y="connsiteY3380"/>
                </a:cxn>
                <a:cxn ang="0">
                  <a:pos x="connsiteX3381" y="connsiteY3381"/>
                </a:cxn>
                <a:cxn ang="0">
                  <a:pos x="connsiteX3382" y="connsiteY3382"/>
                </a:cxn>
                <a:cxn ang="0">
                  <a:pos x="connsiteX3383" y="connsiteY3383"/>
                </a:cxn>
                <a:cxn ang="0">
                  <a:pos x="connsiteX3384" y="connsiteY3384"/>
                </a:cxn>
                <a:cxn ang="0">
                  <a:pos x="connsiteX3385" y="connsiteY3385"/>
                </a:cxn>
                <a:cxn ang="0">
                  <a:pos x="connsiteX3386" y="connsiteY3386"/>
                </a:cxn>
                <a:cxn ang="0">
                  <a:pos x="connsiteX3387" y="connsiteY3387"/>
                </a:cxn>
                <a:cxn ang="0">
                  <a:pos x="connsiteX3388" y="connsiteY3388"/>
                </a:cxn>
                <a:cxn ang="0">
                  <a:pos x="connsiteX3389" y="connsiteY3389"/>
                </a:cxn>
                <a:cxn ang="0">
                  <a:pos x="connsiteX3390" y="connsiteY3390"/>
                </a:cxn>
                <a:cxn ang="0">
                  <a:pos x="connsiteX3391" y="connsiteY3391"/>
                </a:cxn>
                <a:cxn ang="0">
                  <a:pos x="connsiteX3392" y="connsiteY3392"/>
                </a:cxn>
                <a:cxn ang="0">
                  <a:pos x="connsiteX3393" y="connsiteY3393"/>
                </a:cxn>
                <a:cxn ang="0">
                  <a:pos x="connsiteX3394" y="connsiteY3394"/>
                </a:cxn>
                <a:cxn ang="0">
                  <a:pos x="connsiteX3395" y="connsiteY3395"/>
                </a:cxn>
                <a:cxn ang="0">
                  <a:pos x="connsiteX3396" y="connsiteY3396"/>
                </a:cxn>
                <a:cxn ang="0">
                  <a:pos x="connsiteX3397" y="connsiteY3397"/>
                </a:cxn>
                <a:cxn ang="0">
                  <a:pos x="connsiteX3398" y="connsiteY3398"/>
                </a:cxn>
                <a:cxn ang="0">
                  <a:pos x="connsiteX3399" y="connsiteY3399"/>
                </a:cxn>
                <a:cxn ang="0">
                  <a:pos x="connsiteX3400" y="connsiteY3400"/>
                </a:cxn>
                <a:cxn ang="0">
                  <a:pos x="connsiteX3401" y="connsiteY3401"/>
                </a:cxn>
                <a:cxn ang="0">
                  <a:pos x="connsiteX3402" y="connsiteY3402"/>
                </a:cxn>
                <a:cxn ang="0">
                  <a:pos x="connsiteX3403" y="connsiteY3403"/>
                </a:cxn>
                <a:cxn ang="0">
                  <a:pos x="connsiteX3404" y="connsiteY3404"/>
                </a:cxn>
                <a:cxn ang="0">
                  <a:pos x="connsiteX3405" y="connsiteY3405"/>
                </a:cxn>
                <a:cxn ang="0">
                  <a:pos x="connsiteX3406" y="connsiteY3406"/>
                </a:cxn>
                <a:cxn ang="0">
                  <a:pos x="connsiteX3407" y="connsiteY3407"/>
                </a:cxn>
                <a:cxn ang="0">
                  <a:pos x="connsiteX3408" y="connsiteY3408"/>
                </a:cxn>
                <a:cxn ang="0">
                  <a:pos x="connsiteX3409" y="connsiteY3409"/>
                </a:cxn>
                <a:cxn ang="0">
                  <a:pos x="connsiteX3410" y="connsiteY3410"/>
                </a:cxn>
                <a:cxn ang="0">
                  <a:pos x="connsiteX3411" y="connsiteY3411"/>
                </a:cxn>
                <a:cxn ang="0">
                  <a:pos x="connsiteX3412" y="connsiteY3412"/>
                </a:cxn>
                <a:cxn ang="0">
                  <a:pos x="connsiteX3413" y="connsiteY3413"/>
                </a:cxn>
                <a:cxn ang="0">
                  <a:pos x="connsiteX3414" y="connsiteY3414"/>
                </a:cxn>
                <a:cxn ang="0">
                  <a:pos x="connsiteX3415" y="connsiteY3415"/>
                </a:cxn>
                <a:cxn ang="0">
                  <a:pos x="connsiteX3416" y="connsiteY3416"/>
                </a:cxn>
                <a:cxn ang="0">
                  <a:pos x="connsiteX3417" y="connsiteY3417"/>
                </a:cxn>
                <a:cxn ang="0">
                  <a:pos x="connsiteX3418" y="connsiteY3418"/>
                </a:cxn>
                <a:cxn ang="0">
                  <a:pos x="connsiteX3419" y="connsiteY3419"/>
                </a:cxn>
                <a:cxn ang="0">
                  <a:pos x="connsiteX3420" y="connsiteY3420"/>
                </a:cxn>
                <a:cxn ang="0">
                  <a:pos x="connsiteX3421" y="connsiteY3421"/>
                </a:cxn>
                <a:cxn ang="0">
                  <a:pos x="connsiteX3422" y="connsiteY3422"/>
                </a:cxn>
                <a:cxn ang="0">
                  <a:pos x="connsiteX3423" y="connsiteY3423"/>
                </a:cxn>
                <a:cxn ang="0">
                  <a:pos x="connsiteX3424" y="connsiteY3424"/>
                </a:cxn>
                <a:cxn ang="0">
                  <a:pos x="connsiteX3425" y="connsiteY3425"/>
                </a:cxn>
                <a:cxn ang="0">
                  <a:pos x="connsiteX3426" y="connsiteY3426"/>
                </a:cxn>
                <a:cxn ang="0">
                  <a:pos x="connsiteX3427" y="connsiteY3427"/>
                </a:cxn>
                <a:cxn ang="0">
                  <a:pos x="connsiteX3428" y="connsiteY3428"/>
                </a:cxn>
                <a:cxn ang="0">
                  <a:pos x="connsiteX3429" y="connsiteY3429"/>
                </a:cxn>
                <a:cxn ang="0">
                  <a:pos x="connsiteX3430" y="connsiteY3430"/>
                </a:cxn>
                <a:cxn ang="0">
                  <a:pos x="connsiteX3431" y="connsiteY3431"/>
                </a:cxn>
                <a:cxn ang="0">
                  <a:pos x="connsiteX3432" y="connsiteY3432"/>
                </a:cxn>
                <a:cxn ang="0">
                  <a:pos x="connsiteX3433" y="connsiteY3433"/>
                </a:cxn>
                <a:cxn ang="0">
                  <a:pos x="connsiteX3434" y="connsiteY3434"/>
                </a:cxn>
                <a:cxn ang="0">
                  <a:pos x="connsiteX3435" y="connsiteY3435"/>
                </a:cxn>
                <a:cxn ang="0">
                  <a:pos x="connsiteX3436" y="connsiteY3436"/>
                </a:cxn>
                <a:cxn ang="0">
                  <a:pos x="connsiteX3437" y="connsiteY3437"/>
                </a:cxn>
                <a:cxn ang="0">
                  <a:pos x="connsiteX3438" y="connsiteY3438"/>
                </a:cxn>
                <a:cxn ang="0">
                  <a:pos x="connsiteX3439" y="connsiteY3439"/>
                </a:cxn>
                <a:cxn ang="0">
                  <a:pos x="connsiteX3440" y="connsiteY3440"/>
                </a:cxn>
                <a:cxn ang="0">
                  <a:pos x="connsiteX3441" y="connsiteY3441"/>
                </a:cxn>
                <a:cxn ang="0">
                  <a:pos x="connsiteX3442" y="connsiteY3442"/>
                </a:cxn>
                <a:cxn ang="0">
                  <a:pos x="connsiteX3443" y="connsiteY3443"/>
                </a:cxn>
                <a:cxn ang="0">
                  <a:pos x="connsiteX3444" y="connsiteY3444"/>
                </a:cxn>
                <a:cxn ang="0">
                  <a:pos x="connsiteX3445" y="connsiteY3445"/>
                </a:cxn>
                <a:cxn ang="0">
                  <a:pos x="connsiteX3446" y="connsiteY3446"/>
                </a:cxn>
                <a:cxn ang="0">
                  <a:pos x="connsiteX3447" y="connsiteY3447"/>
                </a:cxn>
                <a:cxn ang="0">
                  <a:pos x="connsiteX3448" y="connsiteY3448"/>
                </a:cxn>
                <a:cxn ang="0">
                  <a:pos x="connsiteX3449" y="connsiteY3449"/>
                </a:cxn>
                <a:cxn ang="0">
                  <a:pos x="connsiteX3450" y="connsiteY3450"/>
                </a:cxn>
                <a:cxn ang="0">
                  <a:pos x="connsiteX3451" y="connsiteY3451"/>
                </a:cxn>
                <a:cxn ang="0">
                  <a:pos x="connsiteX3452" y="connsiteY3452"/>
                </a:cxn>
                <a:cxn ang="0">
                  <a:pos x="connsiteX3453" y="connsiteY3453"/>
                </a:cxn>
                <a:cxn ang="0">
                  <a:pos x="connsiteX3454" y="connsiteY3454"/>
                </a:cxn>
                <a:cxn ang="0">
                  <a:pos x="connsiteX3455" y="connsiteY3455"/>
                </a:cxn>
                <a:cxn ang="0">
                  <a:pos x="connsiteX3456" y="connsiteY3456"/>
                </a:cxn>
                <a:cxn ang="0">
                  <a:pos x="connsiteX3457" y="connsiteY3457"/>
                </a:cxn>
                <a:cxn ang="0">
                  <a:pos x="connsiteX3458" y="connsiteY3458"/>
                </a:cxn>
                <a:cxn ang="0">
                  <a:pos x="connsiteX3459" y="connsiteY3459"/>
                </a:cxn>
                <a:cxn ang="0">
                  <a:pos x="connsiteX3460" y="connsiteY3460"/>
                </a:cxn>
                <a:cxn ang="0">
                  <a:pos x="connsiteX3461" y="connsiteY3461"/>
                </a:cxn>
                <a:cxn ang="0">
                  <a:pos x="connsiteX3462" y="connsiteY3462"/>
                </a:cxn>
                <a:cxn ang="0">
                  <a:pos x="connsiteX3463" y="connsiteY3463"/>
                </a:cxn>
                <a:cxn ang="0">
                  <a:pos x="connsiteX3464" y="connsiteY3464"/>
                </a:cxn>
                <a:cxn ang="0">
                  <a:pos x="connsiteX3465" y="connsiteY3465"/>
                </a:cxn>
                <a:cxn ang="0">
                  <a:pos x="connsiteX3466" y="connsiteY3466"/>
                </a:cxn>
                <a:cxn ang="0">
                  <a:pos x="connsiteX3467" y="connsiteY3467"/>
                </a:cxn>
                <a:cxn ang="0">
                  <a:pos x="connsiteX3468" y="connsiteY3468"/>
                </a:cxn>
                <a:cxn ang="0">
                  <a:pos x="connsiteX3469" y="connsiteY3469"/>
                </a:cxn>
                <a:cxn ang="0">
                  <a:pos x="connsiteX3470" y="connsiteY3470"/>
                </a:cxn>
                <a:cxn ang="0">
                  <a:pos x="connsiteX3471" y="connsiteY3471"/>
                </a:cxn>
                <a:cxn ang="0">
                  <a:pos x="connsiteX3472" y="connsiteY3472"/>
                </a:cxn>
                <a:cxn ang="0">
                  <a:pos x="connsiteX3473" y="connsiteY3473"/>
                </a:cxn>
                <a:cxn ang="0">
                  <a:pos x="connsiteX3474" y="connsiteY3474"/>
                </a:cxn>
                <a:cxn ang="0">
                  <a:pos x="connsiteX3475" y="connsiteY3475"/>
                </a:cxn>
                <a:cxn ang="0">
                  <a:pos x="connsiteX3476" y="connsiteY3476"/>
                </a:cxn>
                <a:cxn ang="0">
                  <a:pos x="connsiteX3477" y="connsiteY3477"/>
                </a:cxn>
                <a:cxn ang="0">
                  <a:pos x="connsiteX3478" y="connsiteY3478"/>
                </a:cxn>
                <a:cxn ang="0">
                  <a:pos x="connsiteX3479" y="connsiteY3479"/>
                </a:cxn>
                <a:cxn ang="0">
                  <a:pos x="connsiteX3480" y="connsiteY3480"/>
                </a:cxn>
                <a:cxn ang="0">
                  <a:pos x="connsiteX3481" y="connsiteY3481"/>
                </a:cxn>
                <a:cxn ang="0">
                  <a:pos x="connsiteX3482" y="connsiteY3482"/>
                </a:cxn>
                <a:cxn ang="0">
                  <a:pos x="connsiteX3483" y="connsiteY3483"/>
                </a:cxn>
                <a:cxn ang="0">
                  <a:pos x="connsiteX3484" y="connsiteY3484"/>
                </a:cxn>
                <a:cxn ang="0">
                  <a:pos x="connsiteX3485" y="connsiteY3485"/>
                </a:cxn>
                <a:cxn ang="0">
                  <a:pos x="connsiteX3486" y="connsiteY3486"/>
                </a:cxn>
                <a:cxn ang="0">
                  <a:pos x="connsiteX3487" y="connsiteY3487"/>
                </a:cxn>
                <a:cxn ang="0">
                  <a:pos x="connsiteX3488" y="connsiteY3488"/>
                </a:cxn>
                <a:cxn ang="0">
                  <a:pos x="connsiteX3489" y="connsiteY3489"/>
                </a:cxn>
                <a:cxn ang="0">
                  <a:pos x="connsiteX3490" y="connsiteY3490"/>
                </a:cxn>
                <a:cxn ang="0">
                  <a:pos x="connsiteX3491" y="connsiteY3491"/>
                </a:cxn>
                <a:cxn ang="0">
                  <a:pos x="connsiteX3492" y="connsiteY3492"/>
                </a:cxn>
                <a:cxn ang="0">
                  <a:pos x="connsiteX3493" y="connsiteY3493"/>
                </a:cxn>
                <a:cxn ang="0">
                  <a:pos x="connsiteX3494" y="connsiteY3494"/>
                </a:cxn>
                <a:cxn ang="0">
                  <a:pos x="connsiteX3495" y="connsiteY3495"/>
                </a:cxn>
                <a:cxn ang="0">
                  <a:pos x="connsiteX3496" y="connsiteY3496"/>
                </a:cxn>
                <a:cxn ang="0">
                  <a:pos x="connsiteX3497" y="connsiteY3497"/>
                </a:cxn>
                <a:cxn ang="0">
                  <a:pos x="connsiteX3498" y="connsiteY3498"/>
                </a:cxn>
                <a:cxn ang="0">
                  <a:pos x="connsiteX3499" y="connsiteY3499"/>
                </a:cxn>
                <a:cxn ang="0">
                  <a:pos x="connsiteX3500" y="connsiteY3500"/>
                </a:cxn>
                <a:cxn ang="0">
                  <a:pos x="connsiteX3501" y="connsiteY3501"/>
                </a:cxn>
                <a:cxn ang="0">
                  <a:pos x="connsiteX3502" y="connsiteY3502"/>
                </a:cxn>
                <a:cxn ang="0">
                  <a:pos x="connsiteX3503" y="connsiteY3503"/>
                </a:cxn>
                <a:cxn ang="0">
                  <a:pos x="connsiteX3504" y="connsiteY3504"/>
                </a:cxn>
                <a:cxn ang="0">
                  <a:pos x="connsiteX3505" y="connsiteY3505"/>
                </a:cxn>
                <a:cxn ang="0">
                  <a:pos x="connsiteX3506" y="connsiteY3506"/>
                </a:cxn>
                <a:cxn ang="0">
                  <a:pos x="connsiteX3507" y="connsiteY3507"/>
                </a:cxn>
                <a:cxn ang="0">
                  <a:pos x="connsiteX3508" y="connsiteY3508"/>
                </a:cxn>
                <a:cxn ang="0">
                  <a:pos x="connsiteX3509" y="connsiteY3509"/>
                </a:cxn>
                <a:cxn ang="0">
                  <a:pos x="connsiteX3510" y="connsiteY3510"/>
                </a:cxn>
                <a:cxn ang="0">
                  <a:pos x="connsiteX3511" y="connsiteY3511"/>
                </a:cxn>
                <a:cxn ang="0">
                  <a:pos x="connsiteX3512" y="connsiteY3512"/>
                </a:cxn>
                <a:cxn ang="0">
                  <a:pos x="connsiteX3513" y="connsiteY3513"/>
                </a:cxn>
                <a:cxn ang="0">
                  <a:pos x="connsiteX3514" y="connsiteY3514"/>
                </a:cxn>
                <a:cxn ang="0">
                  <a:pos x="connsiteX3515" y="connsiteY3515"/>
                </a:cxn>
                <a:cxn ang="0">
                  <a:pos x="connsiteX3516" y="connsiteY3516"/>
                </a:cxn>
                <a:cxn ang="0">
                  <a:pos x="connsiteX3517" y="connsiteY3517"/>
                </a:cxn>
                <a:cxn ang="0">
                  <a:pos x="connsiteX3518" y="connsiteY3518"/>
                </a:cxn>
                <a:cxn ang="0">
                  <a:pos x="connsiteX3519" y="connsiteY3519"/>
                </a:cxn>
                <a:cxn ang="0">
                  <a:pos x="connsiteX3520" y="connsiteY3520"/>
                </a:cxn>
                <a:cxn ang="0">
                  <a:pos x="connsiteX3521" y="connsiteY3521"/>
                </a:cxn>
                <a:cxn ang="0">
                  <a:pos x="connsiteX3522" y="connsiteY3522"/>
                </a:cxn>
                <a:cxn ang="0">
                  <a:pos x="connsiteX3523" y="connsiteY3523"/>
                </a:cxn>
                <a:cxn ang="0">
                  <a:pos x="connsiteX3524" y="connsiteY3524"/>
                </a:cxn>
                <a:cxn ang="0">
                  <a:pos x="connsiteX3525" y="connsiteY3525"/>
                </a:cxn>
                <a:cxn ang="0">
                  <a:pos x="connsiteX3526" y="connsiteY3526"/>
                </a:cxn>
                <a:cxn ang="0">
                  <a:pos x="connsiteX3527" y="connsiteY3527"/>
                </a:cxn>
                <a:cxn ang="0">
                  <a:pos x="connsiteX3528" y="connsiteY3528"/>
                </a:cxn>
                <a:cxn ang="0">
                  <a:pos x="connsiteX3529" y="connsiteY3529"/>
                </a:cxn>
                <a:cxn ang="0">
                  <a:pos x="connsiteX3530" y="connsiteY3530"/>
                </a:cxn>
                <a:cxn ang="0">
                  <a:pos x="connsiteX3531" y="connsiteY3531"/>
                </a:cxn>
                <a:cxn ang="0">
                  <a:pos x="connsiteX3532" y="connsiteY3532"/>
                </a:cxn>
                <a:cxn ang="0">
                  <a:pos x="connsiteX3533" y="connsiteY3533"/>
                </a:cxn>
                <a:cxn ang="0">
                  <a:pos x="connsiteX3534" y="connsiteY3534"/>
                </a:cxn>
                <a:cxn ang="0">
                  <a:pos x="connsiteX3535" y="connsiteY3535"/>
                </a:cxn>
                <a:cxn ang="0">
                  <a:pos x="connsiteX3536" y="connsiteY3536"/>
                </a:cxn>
                <a:cxn ang="0">
                  <a:pos x="connsiteX3537" y="connsiteY3537"/>
                </a:cxn>
                <a:cxn ang="0">
                  <a:pos x="connsiteX3538" y="connsiteY3538"/>
                </a:cxn>
                <a:cxn ang="0">
                  <a:pos x="connsiteX3539" y="connsiteY3539"/>
                </a:cxn>
                <a:cxn ang="0">
                  <a:pos x="connsiteX3540" y="connsiteY3540"/>
                </a:cxn>
                <a:cxn ang="0">
                  <a:pos x="connsiteX3541" y="connsiteY3541"/>
                </a:cxn>
                <a:cxn ang="0">
                  <a:pos x="connsiteX3542" y="connsiteY3542"/>
                </a:cxn>
                <a:cxn ang="0">
                  <a:pos x="connsiteX3543" y="connsiteY3543"/>
                </a:cxn>
                <a:cxn ang="0">
                  <a:pos x="connsiteX3544" y="connsiteY3544"/>
                </a:cxn>
                <a:cxn ang="0">
                  <a:pos x="connsiteX3545" y="connsiteY3545"/>
                </a:cxn>
                <a:cxn ang="0">
                  <a:pos x="connsiteX3546" y="connsiteY3546"/>
                </a:cxn>
                <a:cxn ang="0">
                  <a:pos x="connsiteX3547" y="connsiteY3547"/>
                </a:cxn>
                <a:cxn ang="0">
                  <a:pos x="connsiteX3548" y="connsiteY3548"/>
                </a:cxn>
                <a:cxn ang="0">
                  <a:pos x="connsiteX3549" y="connsiteY3549"/>
                </a:cxn>
                <a:cxn ang="0">
                  <a:pos x="connsiteX3550" y="connsiteY3550"/>
                </a:cxn>
                <a:cxn ang="0">
                  <a:pos x="connsiteX3551" y="connsiteY3551"/>
                </a:cxn>
                <a:cxn ang="0">
                  <a:pos x="connsiteX3552" y="connsiteY3552"/>
                </a:cxn>
                <a:cxn ang="0">
                  <a:pos x="connsiteX3553" y="connsiteY3553"/>
                </a:cxn>
                <a:cxn ang="0">
                  <a:pos x="connsiteX3554" y="connsiteY3554"/>
                </a:cxn>
                <a:cxn ang="0">
                  <a:pos x="connsiteX3555" y="connsiteY3555"/>
                </a:cxn>
                <a:cxn ang="0">
                  <a:pos x="connsiteX3556" y="connsiteY3556"/>
                </a:cxn>
                <a:cxn ang="0">
                  <a:pos x="connsiteX3557" y="connsiteY3557"/>
                </a:cxn>
                <a:cxn ang="0">
                  <a:pos x="connsiteX3558" y="connsiteY3558"/>
                </a:cxn>
                <a:cxn ang="0">
                  <a:pos x="connsiteX3559" y="connsiteY3559"/>
                </a:cxn>
                <a:cxn ang="0">
                  <a:pos x="connsiteX3560" y="connsiteY3560"/>
                </a:cxn>
                <a:cxn ang="0">
                  <a:pos x="connsiteX3561" y="connsiteY3561"/>
                </a:cxn>
                <a:cxn ang="0">
                  <a:pos x="connsiteX3562" y="connsiteY3562"/>
                </a:cxn>
                <a:cxn ang="0">
                  <a:pos x="connsiteX3563" y="connsiteY3563"/>
                </a:cxn>
                <a:cxn ang="0">
                  <a:pos x="connsiteX3564" y="connsiteY3564"/>
                </a:cxn>
                <a:cxn ang="0">
                  <a:pos x="connsiteX3565" y="connsiteY3565"/>
                </a:cxn>
                <a:cxn ang="0">
                  <a:pos x="connsiteX3566" y="connsiteY3566"/>
                </a:cxn>
                <a:cxn ang="0">
                  <a:pos x="connsiteX3567" y="connsiteY3567"/>
                </a:cxn>
                <a:cxn ang="0">
                  <a:pos x="connsiteX3568" y="connsiteY3568"/>
                </a:cxn>
                <a:cxn ang="0">
                  <a:pos x="connsiteX3569" y="connsiteY3569"/>
                </a:cxn>
                <a:cxn ang="0">
                  <a:pos x="connsiteX3570" y="connsiteY3570"/>
                </a:cxn>
                <a:cxn ang="0">
                  <a:pos x="connsiteX3571" y="connsiteY3571"/>
                </a:cxn>
                <a:cxn ang="0">
                  <a:pos x="connsiteX3572" y="connsiteY3572"/>
                </a:cxn>
                <a:cxn ang="0">
                  <a:pos x="connsiteX3573" y="connsiteY3573"/>
                </a:cxn>
                <a:cxn ang="0">
                  <a:pos x="connsiteX3574" y="connsiteY3574"/>
                </a:cxn>
                <a:cxn ang="0">
                  <a:pos x="connsiteX3575" y="connsiteY3575"/>
                </a:cxn>
                <a:cxn ang="0">
                  <a:pos x="connsiteX3576" y="connsiteY3576"/>
                </a:cxn>
                <a:cxn ang="0">
                  <a:pos x="connsiteX3577" y="connsiteY3577"/>
                </a:cxn>
                <a:cxn ang="0">
                  <a:pos x="connsiteX3578" y="connsiteY3578"/>
                </a:cxn>
                <a:cxn ang="0">
                  <a:pos x="connsiteX3579" y="connsiteY3579"/>
                </a:cxn>
                <a:cxn ang="0">
                  <a:pos x="connsiteX3580" y="connsiteY3580"/>
                </a:cxn>
                <a:cxn ang="0">
                  <a:pos x="connsiteX3581" y="connsiteY3581"/>
                </a:cxn>
                <a:cxn ang="0">
                  <a:pos x="connsiteX3582" y="connsiteY3582"/>
                </a:cxn>
                <a:cxn ang="0">
                  <a:pos x="connsiteX3583" y="connsiteY3583"/>
                </a:cxn>
                <a:cxn ang="0">
                  <a:pos x="connsiteX3584" y="connsiteY3584"/>
                </a:cxn>
                <a:cxn ang="0">
                  <a:pos x="connsiteX3585" y="connsiteY3585"/>
                </a:cxn>
                <a:cxn ang="0">
                  <a:pos x="connsiteX3586" y="connsiteY3586"/>
                </a:cxn>
                <a:cxn ang="0">
                  <a:pos x="connsiteX3587" y="connsiteY3587"/>
                </a:cxn>
                <a:cxn ang="0">
                  <a:pos x="connsiteX3588" y="connsiteY3588"/>
                </a:cxn>
                <a:cxn ang="0">
                  <a:pos x="connsiteX3589" y="connsiteY3589"/>
                </a:cxn>
                <a:cxn ang="0">
                  <a:pos x="connsiteX3590" y="connsiteY3590"/>
                </a:cxn>
                <a:cxn ang="0">
                  <a:pos x="connsiteX3591" y="connsiteY3591"/>
                </a:cxn>
                <a:cxn ang="0">
                  <a:pos x="connsiteX3592" y="connsiteY3592"/>
                </a:cxn>
                <a:cxn ang="0">
                  <a:pos x="connsiteX3593" y="connsiteY3593"/>
                </a:cxn>
                <a:cxn ang="0">
                  <a:pos x="connsiteX3594" y="connsiteY3594"/>
                </a:cxn>
                <a:cxn ang="0">
                  <a:pos x="connsiteX3595" y="connsiteY3595"/>
                </a:cxn>
                <a:cxn ang="0">
                  <a:pos x="connsiteX3596" y="connsiteY3596"/>
                </a:cxn>
                <a:cxn ang="0">
                  <a:pos x="connsiteX3597" y="connsiteY3597"/>
                </a:cxn>
                <a:cxn ang="0">
                  <a:pos x="connsiteX3598" y="connsiteY3598"/>
                </a:cxn>
                <a:cxn ang="0">
                  <a:pos x="connsiteX3599" y="connsiteY3599"/>
                </a:cxn>
                <a:cxn ang="0">
                  <a:pos x="connsiteX3600" y="connsiteY3600"/>
                </a:cxn>
                <a:cxn ang="0">
                  <a:pos x="connsiteX3601" y="connsiteY3601"/>
                </a:cxn>
                <a:cxn ang="0">
                  <a:pos x="connsiteX3602" y="connsiteY3602"/>
                </a:cxn>
                <a:cxn ang="0">
                  <a:pos x="connsiteX3603" y="connsiteY3603"/>
                </a:cxn>
                <a:cxn ang="0">
                  <a:pos x="connsiteX3604" y="connsiteY3604"/>
                </a:cxn>
                <a:cxn ang="0">
                  <a:pos x="connsiteX3605" y="connsiteY3605"/>
                </a:cxn>
                <a:cxn ang="0">
                  <a:pos x="connsiteX3606" y="connsiteY3606"/>
                </a:cxn>
                <a:cxn ang="0">
                  <a:pos x="connsiteX3607" y="connsiteY3607"/>
                </a:cxn>
                <a:cxn ang="0">
                  <a:pos x="connsiteX3608" y="connsiteY3608"/>
                </a:cxn>
                <a:cxn ang="0">
                  <a:pos x="connsiteX3609" y="connsiteY3609"/>
                </a:cxn>
                <a:cxn ang="0">
                  <a:pos x="connsiteX3610" y="connsiteY3610"/>
                </a:cxn>
                <a:cxn ang="0">
                  <a:pos x="connsiteX3611" y="connsiteY3611"/>
                </a:cxn>
                <a:cxn ang="0">
                  <a:pos x="connsiteX3612" y="connsiteY3612"/>
                </a:cxn>
                <a:cxn ang="0">
                  <a:pos x="connsiteX3613" y="connsiteY3613"/>
                </a:cxn>
                <a:cxn ang="0">
                  <a:pos x="connsiteX3614" y="connsiteY3614"/>
                </a:cxn>
                <a:cxn ang="0">
                  <a:pos x="connsiteX3615" y="connsiteY3615"/>
                </a:cxn>
                <a:cxn ang="0">
                  <a:pos x="connsiteX3616" y="connsiteY3616"/>
                </a:cxn>
                <a:cxn ang="0">
                  <a:pos x="connsiteX3617" y="connsiteY3617"/>
                </a:cxn>
                <a:cxn ang="0">
                  <a:pos x="connsiteX3618" y="connsiteY3618"/>
                </a:cxn>
                <a:cxn ang="0">
                  <a:pos x="connsiteX3619" y="connsiteY3619"/>
                </a:cxn>
                <a:cxn ang="0">
                  <a:pos x="connsiteX3620" y="connsiteY3620"/>
                </a:cxn>
                <a:cxn ang="0">
                  <a:pos x="connsiteX3621" y="connsiteY3621"/>
                </a:cxn>
                <a:cxn ang="0">
                  <a:pos x="connsiteX3622" y="connsiteY3622"/>
                </a:cxn>
                <a:cxn ang="0">
                  <a:pos x="connsiteX3623" y="connsiteY3623"/>
                </a:cxn>
                <a:cxn ang="0">
                  <a:pos x="connsiteX3624" y="connsiteY3624"/>
                </a:cxn>
                <a:cxn ang="0">
                  <a:pos x="connsiteX3625" y="connsiteY3625"/>
                </a:cxn>
                <a:cxn ang="0">
                  <a:pos x="connsiteX3626" y="connsiteY3626"/>
                </a:cxn>
                <a:cxn ang="0">
                  <a:pos x="connsiteX3627" y="connsiteY3627"/>
                </a:cxn>
                <a:cxn ang="0">
                  <a:pos x="connsiteX3628" y="connsiteY3628"/>
                </a:cxn>
                <a:cxn ang="0">
                  <a:pos x="connsiteX3629" y="connsiteY3629"/>
                </a:cxn>
                <a:cxn ang="0">
                  <a:pos x="connsiteX3630" y="connsiteY3630"/>
                </a:cxn>
                <a:cxn ang="0">
                  <a:pos x="connsiteX3631" y="connsiteY3631"/>
                </a:cxn>
                <a:cxn ang="0">
                  <a:pos x="connsiteX3632" y="connsiteY3632"/>
                </a:cxn>
                <a:cxn ang="0">
                  <a:pos x="connsiteX3633" y="connsiteY3633"/>
                </a:cxn>
                <a:cxn ang="0">
                  <a:pos x="connsiteX3634" y="connsiteY3634"/>
                </a:cxn>
                <a:cxn ang="0">
                  <a:pos x="connsiteX3635" y="connsiteY3635"/>
                </a:cxn>
                <a:cxn ang="0">
                  <a:pos x="connsiteX3636" y="connsiteY3636"/>
                </a:cxn>
                <a:cxn ang="0">
                  <a:pos x="connsiteX3637" y="connsiteY3637"/>
                </a:cxn>
                <a:cxn ang="0">
                  <a:pos x="connsiteX3638" y="connsiteY3638"/>
                </a:cxn>
                <a:cxn ang="0">
                  <a:pos x="connsiteX3639" y="connsiteY3639"/>
                </a:cxn>
                <a:cxn ang="0">
                  <a:pos x="connsiteX3640" y="connsiteY3640"/>
                </a:cxn>
                <a:cxn ang="0">
                  <a:pos x="connsiteX3641" y="connsiteY3641"/>
                </a:cxn>
                <a:cxn ang="0">
                  <a:pos x="connsiteX3642" y="connsiteY3642"/>
                </a:cxn>
                <a:cxn ang="0">
                  <a:pos x="connsiteX3643" y="connsiteY3643"/>
                </a:cxn>
                <a:cxn ang="0">
                  <a:pos x="connsiteX3644" y="connsiteY3644"/>
                </a:cxn>
                <a:cxn ang="0">
                  <a:pos x="connsiteX3645" y="connsiteY3645"/>
                </a:cxn>
                <a:cxn ang="0">
                  <a:pos x="connsiteX3646" y="connsiteY3646"/>
                </a:cxn>
                <a:cxn ang="0">
                  <a:pos x="connsiteX3647" y="connsiteY3647"/>
                </a:cxn>
                <a:cxn ang="0">
                  <a:pos x="connsiteX3648" y="connsiteY3648"/>
                </a:cxn>
                <a:cxn ang="0">
                  <a:pos x="connsiteX3649" y="connsiteY3649"/>
                </a:cxn>
                <a:cxn ang="0">
                  <a:pos x="connsiteX3650" y="connsiteY3650"/>
                </a:cxn>
                <a:cxn ang="0">
                  <a:pos x="connsiteX3651" y="connsiteY3651"/>
                </a:cxn>
                <a:cxn ang="0">
                  <a:pos x="connsiteX3652" y="connsiteY3652"/>
                </a:cxn>
                <a:cxn ang="0">
                  <a:pos x="connsiteX3653" y="connsiteY3653"/>
                </a:cxn>
                <a:cxn ang="0">
                  <a:pos x="connsiteX3654" y="connsiteY3654"/>
                </a:cxn>
                <a:cxn ang="0">
                  <a:pos x="connsiteX3655" y="connsiteY3655"/>
                </a:cxn>
                <a:cxn ang="0">
                  <a:pos x="connsiteX3656" y="connsiteY3656"/>
                </a:cxn>
                <a:cxn ang="0">
                  <a:pos x="connsiteX3657" y="connsiteY3657"/>
                </a:cxn>
                <a:cxn ang="0">
                  <a:pos x="connsiteX3658" y="connsiteY3658"/>
                </a:cxn>
                <a:cxn ang="0">
                  <a:pos x="connsiteX3659" y="connsiteY3659"/>
                </a:cxn>
                <a:cxn ang="0">
                  <a:pos x="connsiteX3660" y="connsiteY3660"/>
                </a:cxn>
                <a:cxn ang="0">
                  <a:pos x="connsiteX3661" y="connsiteY3661"/>
                </a:cxn>
                <a:cxn ang="0">
                  <a:pos x="connsiteX3662" y="connsiteY3662"/>
                </a:cxn>
                <a:cxn ang="0">
                  <a:pos x="connsiteX3663" y="connsiteY3663"/>
                </a:cxn>
                <a:cxn ang="0">
                  <a:pos x="connsiteX3664" y="connsiteY3664"/>
                </a:cxn>
                <a:cxn ang="0">
                  <a:pos x="connsiteX3665" y="connsiteY3665"/>
                </a:cxn>
                <a:cxn ang="0">
                  <a:pos x="connsiteX3666" y="connsiteY3666"/>
                </a:cxn>
                <a:cxn ang="0">
                  <a:pos x="connsiteX3667" y="connsiteY3667"/>
                </a:cxn>
                <a:cxn ang="0">
                  <a:pos x="connsiteX3668" y="connsiteY3668"/>
                </a:cxn>
                <a:cxn ang="0">
                  <a:pos x="connsiteX3669" y="connsiteY3669"/>
                </a:cxn>
                <a:cxn ang="0">
                  <a:pos x="connsiteX3670" y="connsiteY3670"/>
                </a:cxn>
                <a:cxn ang="0">
                  <a:pos x="connsiteX3671" y="connsiteY3671"/>
                </a:cxn>
                <a:cxn ang="0">
                  <a:pos x="connsiteX3672" y="connsiteY3672"/>
                </a:cxn>
                <a:cxn ang="0">
                  <a:pos x="connsiteX3673" y="connsiteY3673"/>
                </a:cxn>
                <a:cxn ang="0">
                  <a:pos x="connsiteX3674" y="connsiteY3674"/>
                </a:cxn>
                <a:cxn ang="0">
                  <a:pos x="connsiteX3675" y="connsiteY3675"/>
                </a:cxn>
                <a:cxn ang="0">
                  <a:pos x="connsiteX3676" y="connsiteY3676"/>
                </a:cxn>
                <a:cxn ang="0">
                  <a:pos x="connsiteX3677" y="connsiteY3677"/>
                </a:cxn>
                <a:cxn ang="0">
                  <a:pos x="connsiteX3678" y="connsiteY3678"/>
                </a:cxn>
                <a:cxn ang="0">
                  <a:pos x="connsiteX3679" y="connsiteY3679"/>
                </a:cxn>
                <a:cxn ang="0">
                  <a:pos x="connsiteX3680" y="connsiteY3680"/>
                </a:cxn>
                <a:cxn ang="0">
                  <a:pos x="connsiteX3681" y="connsiteY3681"/>
                </a:cxn>
                <a:cxn ang="0">
                  <a:pos x="connsiteX3682" y="connsiteY3682"/>
                </a:cxn>
                <a:cxn ang="0">
                  <a:pos x="connsiteX3683" y="connsiteY3683"/>
                </a:cxn>
                <a:cxn ang="0">
                  <a:pos x="connsiteX3684" y="connsiteY3684"/>
                </a:cxn>
                <a:cxn ang="0">
                  <a:pos x="connsiteX3685" y="connsiteY3685"/>
                </a:cxn>
                <a:cxn ang="0">
                  <a:pos x="connsiteX3686" y="connsiteY3686"/>
                </a:cxn>
                <a:cxn ang="0">
                  <a:pos x="connsiteX3687" y="connsiteY3687"/>
                </a:cxn>
                <a:cxn ang="0">
                  <a:pos x="connsiteX3688" y="connsiteY3688"/>
                </a:cxn>
                <a:cxn ang="0">
                  <a:pos x="connsiteX3689" y="connsiteY3689"/>
                </a:cxn>
                <a:cxn ang="0">
                  <a:pos x="connsiteX3690" y="connsiteY3690"/>
                </a:cxn>
                <a:cxn ang="0">
                  <a:pos x="connsiteX3691" y="connsiteY3691"/>
                </a:cxn>
                <a:cxn ang="0">
                  <a:pos x="connsiteX3692" y="connsiteY3692"/>
                </a:cxn>
                <a:cxn ang="0">
                  <a:pos x="connsiteX3693" y="connsiteY3693"/>
                </a:cxn>
                <a:cxn ang="0">
                  <a:pos x="connsiteX3694" y="connsiteY3694"/>
                </a:cxn>
                <a:cxn ang="0">
                  <a:pos x="connsiteX3695" y="connsiteY3695"/>
                </a:cxn>
                <a:cxn ang="0">
                  <a:pos x="connsiteX3696" y="connsiteY3696"/>
                </a:cxn>
                <a:cxn ang="0">
                  <a:pos x="connsiteX3697" y="connsiteY3697"/>
                </a:cxn>
                <a:cxn ang="0">
                  <a:pos x="connsiteX3698" y="connsiteY3698"/>
                </a:cxn>
                <a:cxn ang="0">
                  <a:pos x="connsiteX3699" y="connsiteY3699"/>
                </a:cxn>
                <a:cxn ang="0">
                  <a:pos x="connsiteX3700" y="connsiteY3700"/>
                </a:cxn>
                <a:cxn ang="0">
                  <a:pos x="connsiteX3701" y="connsiteY3701"/>
                </a:cxn>
                <a:cxn ang="0">
                  <a:pos x="connsiteX3702" y="connsiteY3702"/>
                </a:cxn>
                <a:cxn ang="0">
                  <a:pos x="connsiteX3703" y="connsiteY3703"/>
                </a:cxn>
                <a:cxn ang="0">
                  <a:pos x="connsiteX3704" y="connsiteY3704"/>
                </a:cxn>
                <a:cxn ang="0">
                  <a:pos x="connsiteX3705" y="connsiteY3705"/>
                </a:cxn>
                <a:cxn ang="0">
                  <a:pos x="connsiteX3706" y="connsiteY3706"/>
                </a:cxn>
                <a:cxn ang="0">
                  <a:pos x="connsiteX3707" y="connsiteY3707"/>
                </a:cxn>
                <a:cxn ang="0">
                  <a:pos x="connsiteX3708" y="connsiteY3708"/>
                </a:cxn>
                <a:cxn ang="0">
                  <a:pos x="connsiteX3709" y="connsiteY3709"/>
                </a:cxn>
                <a:cxn ang="0">
                  <a:pos x="connsiteX3710" y="connsiteY3710"/>
                </a:cxn>
                <a:cxn ang="0">
                  <a:pos x="connsiteX3711" y="connsiteY3711"/>
                </a:cxn>
                <a:cxn ang="0">
                  <a:pos x="connsiteX3712" y="connsiteY3712"/>
                </a:cxn>
                <a:cxn ang="0">
                  <a:pos x="connsiteX3713" y="connsiteY3713"/>
                </a:cxn>
                <a:cxn ang="0">
                  <a:pos x="connsiteX3714" y="connsiteY3714"/>
                </a:cxn>
                <a:cxn ang="0">
                  <a:pos x="connsiteX3715" y="connsiteY3715"/>
                </a:cxn>
                <a:cxn ang="0">
                  <a:pos x="connsiteX3716" y="connsiteY3716"/>
                </a:cxn>
                <a:cxn ang="0">
                  <a:pos x="connsiteX3717" y="connsiteY3717"/>
                </a:cxn>
                <a:cxn ang="0">
                  <a:pos x="connsiteX3718" y="connsiteY3718"/>
                </a:cxn>
                <a:cxn ang="0">
                  <a:pos x="connsiteX3719" y="connsiteY3719"/>
                </a:cxn>
                <a:cxn ang="0">
                  <a:pos x="connsiteX3720" y="connsiteY3720"/>
                </a:cxn>
                <a:cxn ang="0">
                  <a:pos x="connsiteX3721" y="connsiteY3721"/>
                </a:cxn>
                <a:cxn ang="0">
                  <a:pos x="connsiteX3722" y="connsiteY3722"/>
                </a:cxn>
                <a:cxn ang="0">
                  <a:pos x="connsiteX3723" y="connsiteY3723"/>
                </a:cxn>
                <a:cxn ang="0">
                  <a:pos x="connsiteX3724" y="connsiteY3724"/>
                </a:cxn>
                <a:cxn ang="0">
                  <a:pos x="connsiteX3725" y="connsiteY3725"/>
                </a:cxn>
                <a:cxn ang="0">
                  <a:pos x="connsiteX3726" y="connsiteY3726"/>
                </a:cxn>
                <a:cxn ang="0">
                  <a:pos x="connsiteX3727" y="connsiteY3727"/>
                </a:cxn>
                <a:cxn ang="0">
                  <a:pos x="connsiteX3728" y="connsiteY3728"/>
                </a:cxn>
                <a:cxn ang="0">
                  <a:pos x="connsiteX3729" y="connsiteY3729"/>
                </a:cxn>
                <a:cxn ang="0">
                  <a:pos x="connsiteX3730" y="connsiteY3730"/>
                </a:cxn>
                <a:cxn ang="0">
                  <a:pos x="connsiteX3731" y="connsiteY3731"/>
                </a:cxn>
                <a:cxn ang="0">
                  <a:pos x="connsiteX3732" y="connsiteY3732"/>
                </a:cxn>
                <a:cxn ang="0">
                  <a:pos x="connsiteX3733" y="connsiteY3733"/>
                </a:cxn>
                <a:cxn ang="0">
                  <a:pos x="connsiteX3734" y="connsiteY3734"/>
                </a:cxn>
                <a:cxn ang="0">
                  <a:pos x="connsiteX3735" y="connsiteY3735"/>
                </a:cxn>
                <a:cxn ang="0">
                  <a:pos x="connsiteX3736" y="connsiteY3736"/>
                </a:cxn>
                <a:cxn ang="0">
                  <a:pos x="connsiteX3737" y="connsiteY3737"/>
                </a:cxn>
                <a:cxn ang="0">
                  <a:pos x="connsiteX3738" y="connsiteY3738"/>
                </a:cxn>
                <a:cxn ang="0">
                  <a:pos x="connsiteX3739" y="connsiteY3739"/>
                </a:cxn>
                <a:cxn ang="0">
                  <a:pos x="connsiteX3740" y="connsiteY3740"/>
                </a:cxn>
                <a:cxn ang="0">
                  <a:pos x="connsiteX3741" y="connsiteY3741"/>
                </a:cxn>
                <a:cxn ang="0">
                  <a:pos x="connsiteX3742" y="connsiteY3742"/>
                </a:cxn>
                <a:cxn ang="0">
                  <a:pos x="connsiteX3743" y="connsiteY3743"/>
                </a:cxn>
                <a:cxn ang="0">
                  <a:pos x="connsiteX3744" y="connsiteY3744"/>
                </a:cxn>
                <a:cxn ang="0">
                  <a:pos x="connsiteX3745" y="connsiteY3745"/>
                </a:cxn>
                <a:cxn ang="0">
                  <a:pos x="connsiteX3746" y="connsiteY3746"/>
                </a:cxn>
                <a:cxn ang="0">
                  <a:pos x="connsiteX3747" y="connsiteY3747"/>
                </a:cxn>
                <a:cxn ang="0">
                  <a:pos x="connsiteX3748" y="connsiteY3748"/>
                </a:cxn>
                <a:cxn ang="0">
                  <a:pos x="connsiteX3749" y="connsiteY3749"/>
                </a:cxn>
                <a:cxn ang="0">
                  <a:pos x="connsiteX3750" y="connsiteY3750"/>
                </a:cxn>
                <a:cxn ang="0">
                  <a:pos x="connsiteX3751" y="connsiteY3751"/>
                </a:cxn>
                <a:cxn ang="0">
                  <a:pos x="connsiteX3752" y="connsiteY3752"/>
                </a:cxn>
                <a:cxn ang="0">
                  <a:pos x="connsiteX3753" y="connsiteY3753"/>
                </a:cxn>
                <a:cxn ang="0">
                  <a:pos x="connsiteX3754" y="connsiteY3754"/>
                </a:cxn>
                <a:cxn ang="0">
                  <a:pos x="connsiteX3755" y="connsiteY3755"/>
                </a:cxn>
                <a:cxn ang="0">
                  <a:pos x="connsiteX3756" y="connsiteY3756"/>
                </a:cxn>
                <a:cxn ang="0">
                  <a:pos x="connsiteX3757" y="connsiteY3757"/>
                </a:cxn>
                <a:cxn ang="0">
                  <a:pos x="connsiteX3758" y="connsiteY3758"/>
                </a:cxn>
                <a:cxn ang="0">
                  <a:pos x="connsiteX3759" y="connsiteY3759"/>
                </a:cxn>
                <a:cxn ang="0">
                  <a:pos x="connsiteX3760" y="connsiteY3760"/>
                </a:cxn>
                <a:cxn ang="0">
                  <a:pos x="connsiteX3761" y="connsiteY3761"/>
                </a:cxn>
                <a:cxn ang="0">
                  <a:pos x="connsiteX3762" y="connsiteY3762"/>
                </a:cxn>
                <a:cxn ang="0">
                  <a:pos x="connsiteX3763" y="connsiteY3763"/>
                </a:cxn>
                <a:cxn ang="0">
                  <a:pos x="connsiteX3764" y="connsiteY3764"/>
                </a:cxn>
                <a:cxn ang="0">
                  <a:pos x="connsiteX3765" y="connsiteY3765"/>
                </a:cxn>
                <a:cxn ang="0">
                  <a:pos x="connsiteX3766" y="connsiteY3766"/>
                </a:cxn>
                <a:cxn ang="0">
                  <a:pos x="connsiteX3767" y="connsiteY3767"/>
                </a:cxn>
                <a:cxn ang="0">
                  <a:pos x="connsiteX3768" y="connsiteY3768"/>
                </a:cxn>
                <a:cxn ang="0">
                  <a:pos x="connsiteX3769" y="connsiteY3769"/>
                </a:cxn>
                <a:cxn ang="0">
                  <a:pos x="connsiteX3770" y="connsiteY3770"/>
                </a:cxn>
                <a:cxn ang="0">
                  <a:pos x="connsiteX3771" y="connsiteY3771"/>
                </a:cxn>
                <a:cxn ang="0">
                  <a:pos x="connsiteX3772" y="connsiteY3772"/>
                </a:cxn>
                <a:cxn ang="0">
                  <a:pos x="connsiteX3773" y="connsiteY3773"/>
                </a:cxn>
                <a:cxn ang="0">
                  <a:pos x="connsiteX3774" y="connsiteY3774"/>
                </a:cxn>
                <a:cxn ang="0">
                  <a:pos x="connsiteX3775" y="connsiteY3775"/>
                </a:cxn>
                <a:cxn ang="0">
                  <a:pos x="connsiteX3776" y="connsiteY3776"/>
                </a:cxn>
                <a:cxn ang="0">
                  <a:pos x="connsiteX3777" y="connsiteY3777"/>
                </a:cxn>
                <a:cxn ang="0">
                  <a:pos x="connsiteX3778" y="connsiteY3778"/>
                </a:cxn>
                <a:cxn ang="0">
                  <a:pos x="connsiteX3779" y="connsiteY3779"/>
                </a:cxn>
                <a:cxn ang="0">
                  <a:pos x="connsiteX3780" y="connsiteY3780"/>
                </a:cxn>
                <a:cxn ang="0">
                  <a:pos x="connsiteX3781" y="connsiteY3781"/>
                </a:cxn>
                <a:cxn ang="0">
                  <a:pos x="connsiteX3782" y="connsiteY3782"/>
                </a:cxn>
                <a:cxn ang="0">
                  <a:pos x="connsiteX3783" y="connsiteY3783"/>
                </a:cxn>
                <a:cxn ang="0">
                  <a:pos x="connsiteX3784" y="connsiteY3784"/>
                </a:cxn>
                <a:cxn ang="0">
                  <a:pos x="connsiteX3785" y="connsiteY3785"/>
                </a:cxn>
                <a:cxn ang="0">
                  <a:pos x="connsiteX3786" y="connsiteY3786"/>
                </a:cxn>
                <a:cxn ang="0">
                  <a:pos x="connsiteX3787" y="connsiteY3787"/>
                </a:cxn>
                <a:cxn ang="0">
                  <a:pos x="connsiteX3788" y="connsiteY3788"/>
                </a:cxn>
                <a:cxn ang="0">
                  <a:pos x="connsiteX3789" y="connsiteY3789"/>
                </a:cxn>
                <a:cxn ang="0">
                  <a:pos x="connsiteX3790" y="connsiteY3790"/>
                </a:cxn>
                <a:cxn ang="0">
                  <a:pos x="connsiteX3791" y="connsiteY3791"/>
                </a:cxn>
                <a:cxn ang="0">
                  <a:pos x="connsiteX3792" y="connsiteY3792"/>
                </a:cxn>
                <a:cxn ang="0">
                  <a:pos x="connsiteX3793" y="connsiteY3793"/>
                </a:cxn>
                <a:cxn ang="0">
                  <a:pos x="connsiteX3794" y="connsiteY3794"/>
                </a:cxn>
                <a:cxn ang="0">
                  <a:pos x="connsiteX3795" y="connsiteY3795"/>
                </a:cxn>
                <a:cxn ang="0">
                  <a:pos x="connsiteX3796" y="connsiteY3796"/>
                </a:cxn>
                <a:cxn ang="0">
                  <a:pos x="connsiteX3797" y="connsiteY3797"/>
                </a:cxn>
                <a:cxn ang="0">
                  <a:pos x="connsiteX3798" y="connsiteY3798"/>
                </a:cxn>
                <a:cxn ang="0">
                  <a:pos x="connsiteX3799" y="connsiteY3799"/>
                </a:cxn>
                <a:cxn ang="0">
                  <a:pos x="connsiteX3800" y="connsiteY3800"/>
                </a:cxn>
                <a:cxn ang="0">
                  <a:pos x="connsiteX3801" y="connsiteY3801"/>
                </a:cxn>
                <a:cxn ang="0">
                  <a:pos x="connsiteX3802" y="connsiteY3802"/>
                </a:cxn>
                <a:cxn ang="0">
                  <a:pos x="connsiteX3803" y="connsiteY3803"/>
                </a:cxn>
                <a:cxn ang="0">
                  <a:pos x="connsiteX3804" y="connsiteY3804"/>
                </a:cxn>
                <a:cxn ang="0">
                  <a:pos x="connsiteX3805" y="connsiteY3805"/>
                </a:cxn>
                <a:cxn ang="0">
                  <a:pos x="connsiteX3806" y="connsiteY3806"/>
                </a:cxn>
                <a:cxn ang="0">
                  <a:pos x="connsiteX3807" y="connsiteY3807"/>
                </a:cxn>
                <a:cxn ang="0">
                  <a:pos x="connsiteX3808" y="connsiteY3808"/>
                </a:cxn>
                <a:cxn ang="0">
                  <a:pos x="connsiteX3809" y="connsiteY3809"/>
                </a:cxn>
                <a:cxn ang="0">
                  <a:pos x="connsiteX3810" y="connsiteY3810"/>
                </a:cxn>
                <a:cxn ang="0">
                  <a:pos x="connsiteX3811" y="connsiteY3811"/>
                </a:cxn>
                <a:cxn ang="0">
                  <a:pos x="connsiteX3812" y="connsiteY3812"/>
                </a:cxn>
                <a:cxn ang="0">
                  <a:pos x="connsiteX3813" y="connsiteY3813"/>
                </a:cxn>
                <a:cxn ang="0">
                  <a:pos x="connsiteX3814" y="connsiteY3814"/>
                </a:cxn>
                <a:cxn ang="0">
                  <a:pos x="connsiteX3815" y="connsiteY3815"/>
                </a:cxn>
                <a:cxn ang="0">
                  <a:pos x="connsiteX3816" y="connsiteY3816"/>
                </a:cxn>
                <a:cxn ang="0">
                  <a:pos x="connsiteX3817" y="connsiteY3817"/>
                </a:cxn>
                <a:cxn ang="0">
                  <a:pos x="connsiteX3818" y="connsiteY3818"/>
                </a:cxn>
                <a:cxn ang="0">
                  <a:pos x="connsiteX3819" y="connsiteY3819"/>
                </a:cxn>
                <a:cxn ang="0">
                  <a:pos x="connsiteX3820" y="connsiteY3820"/>
                </a:cxn>
                <a:cxn ang="0">
                  <a:pos x="connsiteX3821" y="connsiteY3821"/>
                </a:cxn>
                <a:cxn ang="0">
                  <a:pos x="connsiteX3822" y="connsiteY3822"/>
                </a:cxn>
                <a:cxn ang="0">
                  <a:pos x="connsiteX3823" y="connsiteY3823"/>
                </a:cxn>
                <a:cxn ang="0">
                  <a:pos x="connsiteX3824" y="connsiteY3824"/>
                </a:cxn>
                <a:cxn ang="0">
                  <a:pos x="connsiteX3825" y="connsiteY3825"/>
                </a:cxn>
                <a:cxn ang="0">
                  <a:pos x="connsiteX3826" y="connsiteY3826"/>
                </a:cxn>
                <a:cxn ang="0">
                  <a:pos x="connsiteX3827" y="connsiteY3827"/>
                </a:cxn>
                <a:cxn ang="0">
                  <a:pos x="connsiteX3828" y="connsiteY3828"/>
                </a:cxn>
                <a:cxn ang="0">
                  <a:pos x="connsiteX3829" y="connsiteY3829"/>
                </a:cxn>
                <a:cxn ang="0">
                  <a:pos x="connsiteX3830" y="connsiteY3830"/>
                </a:cxn>
                <a:cxn ang="0">
                  <a:pos x="connsiteX3831" y="connsiteY3831"/>
                </a:cxn>
                <a:cxn ang="0">
                  <a:pos x="connsiteX3832" y="connsiteY3832"/>
                </a:cxn>
                <a:cxn ang="0">
                  <a:pos x="connsiteX3833" y="connsiteY3833"/>
                </a:cxn>
                <a:cxn ang="0">
                  <a:pos x="connsiteX3834" y="connsiteY3834"/>
                </a:cxn>
                <a:cxn ang="0">
                  <a:pos x="connsiteX3835" y="connsiteY3835"/>
                </a:cxn>
                <a:cxn ang="0">
                  <a:pos x="connsiteX3836" y="connsiteY3836"/>
                </a:cxn>
                <a:cxn ang="0">
                  <a:pos x="connsiteX3837" y="connsiteY3837"/>
                </a:cxn>
                <a:cxn ang="0">
                  <a:pos x="connsiteX3838" y="connsiteY3838"/>
                </a:cxn>
                <a:cxn ang="0">
                  <a:pos x="connsiteX3839" y="connsiteY3839"/>
                </a:cxn>
                <a:cxn ang="0">
                  <a:pos x="connsiteX3840" y="connsiteY3840"/>
                </a:cxn>
                <a:cxn ang="0">
                  <a:pos x="connsiteX3841" y="connsiteY3841"/>
                </a:cxn>
                <a:cxn ang="0">
                  <a:pos x="connsiteX3842" y="connsiteY3842"/>
                </a:cxn>
                <a:cxn ang="0">
                  <a:pos x="connsiteX3843" y="connsiteY3843"/>
                </a:cxn>
                <a:cxn ang="0">
                  <a:pos x="connsiteX3844" y="connsiteY3844"/>
                </a:cxn>
                <a:cxn ang="0">
                  <a:pos x="connsiteX3845" y="connsiteY3845"/>
                </a:cxn>
                <a:cxn ang="0">
                  <a:pos x="connsiteX3846" y="connsiteY3846"/>
                </a:cxn>
                <a:cxn ang="0">
                  <a:pos x="connsiteX3847" y="connsiteY3847"/>
                </a:cxn>
                <a:cxn ang="0">
                  <a:pos x="connsiteX3848" y="connsiteY3848"/>
                </a:cxn>
                <a:cxn ang="0">
                  <a:pos x="connsiteX3849" y="connsiteY3849"/>
                </a:cxn>
                <a:cxn ang="0">
                  <a:pos x="connsiteX3850" y="connsiteY3850"/>
                </a:cxn>
                <a:cxn ang="0">
                  <a:pos x="connsiteX3851" y="connsiteY3851"/>
                </a:cxn>
                <a:cxn ang="0">
                  <a:pos x="connsiteX3852" y="connsiteY3852"/>
                </a:cxn>
                <a:cxn ang="0">
                  <a:pos x="connsiteX3853" y="connsiteY3853"/>
                </a:cxn>
                <a:cxn ang="0">
                  <a:pos x="connsiteX3854" y="connsiteY3854"/>
                </a:cxn>
                <a:cxn ang="0">
                  <a:pos x="connsiteX3855" y="connsiteY3855"/>
                </a:cxn>
                <a:cxn ang="0">
                  <a:pos x="connsiteX3856" y="connsiteY3856"/>
                </a:cxn>
                <a:cxn ang="0">
                  <a:pos x="connsiteX3857" y="connsiteY3857"/>
                </a:cxn>
                <a:cxn ang="0">
                  <a:pos x="connsiteX3858" y="connsiteY3858"/>
                </a:cxn>
                <a:cxn ang="0">
                  <a:pos x="connsiteX3859" y="connsiteY3859"/>
                </a:cxn>
                <a:cxn ang="0">
                  <a:pos x="connsiteX3860" y="connsiteY3860"/>
                </a:cxn>
                <a:cxn ang="0">
                  <a:pos x="connsiteX3861" y="connsiteY3861"/>
                </a:cxn>
                <a:cxn ang="0">
                  <a:pos x="connsiteX3862" y="connsiteY3862"/>
                </a:cxn>
                <a:cxn ang="0">
                  <a:pos x="connsiteX3863" y="connsiteY3863"/>
                </a:cxn>
                <a:cxn ang="0">
                  <a:pos x="connsiteX3864" y="connsiteY3864"/>
                </a:cxn>
                <a:cxn ang="0">
                  <a:pos x="connsiteX3865" y="connsiteY3865"/>
                </a:cxn>
                <a:cxn ang="0">
                  <a:pos x="connsiteX3866" y="connsiteY3866"/>
                </a:cxn>
                <a:cxn ang="0">
                  <a:pos x="connsiteX3867" y="connsiteY3867"/>
                </a:cxn>
                <a:cxn ang="0">
                  <a:pos x="connsiteX3868" y="connsiteY3868"/>
                </a:cxn>
                <a:cxn ang="0">
                  <a:pos x="connsiteX3869" y="connsiteY3869"/>
                </a:cxn>
                <a:cxn ang="0">
                  <a:pos x="connsiteX3870" y="connsiteY3870"/>
                </a:cxn>
                <a:cxn ang="0">
                  <a:pos x="connsiteX3871" y="connsiteY3871"/>
                </a:cxn>
                <a:cxn ang="0">
                  <a:pos x="connsiteX3872" y="connsiteY3872"/>
                </a:cxn>
                <a:cxn ang="0">
                  <a:pos x="connsiteX3873" y="connsiteY3873"/>
                </a:cxn>
                <a:cxn ang="0">
                  <a:pos x="connsiteX3874" y="connsiteY3874"/>
                </a:cxn>
                <a:cxn ang="0">
                  <a:pos x="connsiteX3875" y="connsiteY3875"/>
                </a:cxn>
                <a:cxn ang="0">
                  <a:pos x="connsiteX3876" y="connsiteY3876"/>
                </a:cxn>
                <a:cxn ang="0">
                  <a:pos x="connsiteX3877" y="connsiteY3877"/>
                </a:cxn>
                <a:cxn ang="0">
                  <a:pos x="connsiteX3878" y="connsiteY3878"/>
                </a:cxn>
                <a:cxn ang="0">
                  <a:pos x="connsiteX3879" y="connsiteY3879"/>
                </a:cxn>
                <a:cxn ang="0">
                  <a:pos x="connsiteX3880" y="connsiteY3880"/>
                </a:cxn>
                <a:cxn ang="0">
                  <a:pos x="connsiteX3881" y="connsiteY3881"/>
                </a:cxn>
                <a:cxn ang="0">
                  <a:pos x="connsiteX3882" y="connsiteY3882"/>
                </a:cxn>
                <a:cxn ang="0">
                  <a:pos x="connsiteX3883" y="connsiteY3883"/>
                </a:cxn>
                <a:cxn ang="0">
                  <a:pos x="connsiteX3884" y="connsiteY3884"/>
                </a:cxn>
                <a:cxn ang="0">
                  <a:pos x="connsiteX3885" y="connsiteY3885"/>
                </a:cxn>
                <a:cxn ang="0">
                  <a:pos x="connsiteX3886" y="connsiteY3886"/>
                </a:cxn>
                <a:cxn ang="0">
                  <a:pos x="connsiteX3887" y="connsiteY3887"/>
                </a:cxn>
                <a:cxn ang="0">
                  <a:pos x="connsiteX3888" y="connsiteY3888"/>
                </a:cxn>
                <a:cxn ang="0">
                  <a:pos x="connsiteX3889" y="connsiteY3889"/>
                </a:cxn>
                <a:cxn ang="0">
                  <a:pos x="connsiteX3890" y="connsiteY3890"/>
                </a:cxn>
                <a:cxn ang="0">
                  <a:pos x="connsiteX3891" y="connsiteY3891"/>
                </a:cxn>
                <a:cxn ang="0">
                  <a:pos x="connsiteX3892" y="connsiteY3892"/>
                </a:cxn>
                <a:cxn ang="0">
                  <a:pos x="connsiteX3893" y="connsiteY3893"/>
                </a:cxn>
                <a:cxn ang="0">
                  <a:pos x="connsiteX3894" y="connsiteY3894"/>
                </a:cxn>
                <a:cxn ang="0">
                  <a:pos x="connsiteX3895" y="connsiteY3895"/>
                </a:cxn>
                <a:cxn ang="0">
                  <a:pos x="connsiteX3896" y="connsiteY3896"/>
                </a:cxn>
                <a:cxn ang="0">
                  <a:pos x="connsiteX3897" y="connsiteY3897"/>
                </a:cxn>
                <a:cxn ang="0">
                  <a:pos x="connsiteX3898" y="connsiteY3898"/>
                </a:cxn>
                <a:cxn ang="0">
                  <a:pos x="connsiteX3899" y="connsiteY3899"/>
                </a:cxn>
                <a:cxn ang="0">
                  <a:pos x="connsiteX3900" y="connsiteY3900"/>
                </a:cxn>
                <a:cxn ang="0">
                  <a:pos x="connsiteX3901" y="connsiteY3901"/>
                </a:cxn>
                <a:cxn ang="0">
                  <a:pos x="connsiteX3902" y="connsiteY3902"/>
                </a:cxn>
                <a:cxn ang="0">
                  <a:pos x="connsiteX3903" y="connsiteY3903"/>
                </a:cxn>
                <a:cxn ang="0">
                  <a:pos x="connsiteX3904" y="connsiteY3904"/>
                </a:cxn>
                <a:cxn ang="0">
                  <a:pos x="connsiteX3905" y="connsiteY3905"/>
                </a:cxn>
                <a:cxn ang="0">
                  <a:pos x="connsiteX3906" y="connsiteY3906"/>
                </a:cxn>
                <a:cxn ang="0">
                  <a:pos x="connsiteX3907" y="connsiteY3907"/>
                </a:cxn>
                <a:cxn ang="0">
                  <a:pos x="connsiteX3908" y="connsiteY3908"/>
                </a:cxn>
                <a:cxn ang="0">
                  <a:pos x="connsiteX3909" y="connsiteY3909"/>
                </a:cxn>
                <a:cxn ang="0">
                  <a:pos x="connsiteX3910" y="connsiteY3910"/>
                </a:cxn>
                <a:cxn ang="0">
                  <a:pos x="connsiteX3911" y="connsiteY3911"/>
                </a:cxn>
                <a:cxn ang="0">
                  <a:pos x="connsiteX3912" y="connsiteY3912"/>
                </a:cxn>
                <a:cxn ang="0">
                  <a:pos x="connsiteX3913" y="connsiteY3913"/>
                </a:cxn>
                <a:cxn ang="0">
                  <a:pos x="connsiteX3914" y="connsiteY3914"/>
                </a:cxn>
                <a:cxn ang="0">
                  <a:pos x="connsiteX3915" y="connsiteY3915"/>
                </a:cxn>
                <a:cxn ang="0">
                  <a:pos x="connsiteX3916" y="connsiteY3916"/>
                </a:cxn>
                <a:cxn ang="0">
                  <a:pos x="connsiteX3917" y="connsiteY3917"/>
                </a:cxn>
                <a:cxn ang="0">
                  <a:pos x="connsiteX3918" y="connsiteY3918"/>
                </a:cxn>
                <a:cxn ang="0">
                  <a:pos x="connsiteX3919" y="connsiteY3919"/>
                </a:cxn>
                <a:cxn ang="0">
                  <a:pos x="connsiteX3920" y="connsiteY3920"/>
                </a:cxn>
                <a:cxn ang="0">
                  <a:pos x="connsiteX3921" y="connsiteY3921"/>
                </a:cxn>
                <a:cxn ang="0">
                  <a:pos x="connsiteX3922" y="connsiteY3922"/>
                </a:cxn>
                <a:cxn ang="0">
                  <a:pos x="connsiteX3923" y="connsiteY3923"/>
                </a:cxn>
                <a:cxn ang="0">
                  <a:pos x="connsiteX3924" y="connsiteY3924"/>
                </a:cxn>
                <a:cxn ang="0">
                  <a:pos x="connsiteX3925" y="connsiteY3925"/>
                </a:cxn>
                <a:cxn ang="0">
                  <a:pos x="connsiteX3926" y="connsiteY3926"/>
                </a:cxn>
                <a:cxn ang="0">
                  <a:pos x="connsiteX3927" y="connsiteY3927"/>
                </a:cxn>
                <a:cxn ang="0">
                  <a:pos x="connsiteX3928" y="connsiteY3928"/>
                </a:cxn>
                <a:cxn ang="0">
                  <a:pos x="connsiteX3929" y="connsiteY3929"/>
                </a:cxn>
                <a:cxn ang="0">
                  <a:pos x="connsiteX3930" y="connsiteY3930"/>
                </a:cxn>
                <a:cxn ang="0">
                  <a:pos x="connsiteX3931" y="connsiteY3931"/>
                </a:cxn>
                <a:cxn ang="0">
                  <a:pos x="connsiteX3932" y="connsiteY3932"/>
                </a:cxn>
                <a:cxn ang="0">
                  <a:pos x="connsiteX3933" y="connsiteY3933"/>
                </a:cxn>
                <a:cxn ang="0">
                  <a:pos x="connsiteX3934" y="connsiteY3934"/>
                </a:cxn>
                <a:cxn ang="0">
                  <a:pos x="connsiteX3935" y="connsiteY3935"/>
                </a:cxn>
                <a:cxn ang="0">
                  <a:pos x="connsiteX3936" y="connsiteY3936"/>
                </a:cxn>
                <a:cxn ang="0">
                  <a:pos x="connsiteX3937" y="connsiteY3937"/>
                </a:cxn>
                <a:cxn ang="0">
                  <a:pos x="connsiteX3938" y="connsiteY3938"/>
                </a:cxn>
                <a:cxn ang="0">
                  <a:pos x="connsiteX3939" y="connsiteY3939"/>
                </a:cxn>
                <a:cxn ang="0">
                  <a:pos x="connsiteX3940" y="connsiteY3940"/>
                </a:cxn>
                <a:cxn ang="0">
                  <a:pos x="connsiteX3941" y="connsiteY3941"/>
                </a:cxn>
                <a:cxn ang="0">
                  <a:pos x="connsiteX3942" y="connsiteY3942"/>
                </a:cxn>
                <a:cxn ang="0">
                  <a:pos x="connsiteX3943" y="connsiteY3943"/>
                </a:cxn>
                <a:cxn ang="0">
                  <a:pos x="connsiteX3944" y="connsiteY3944"/>
                </a:cxn>
                <a:cxn ang="0">
                  <a:pos x="connsiteX3945" y="connsiteY3945"/>
                </a:cxn>
                <a:cxn ang="0">
                  <a:pos x="connsiteX3946" y="connsiteY3946"/>
                </a:cxn>
                <a:cxn ang="0">
                  <a:pos x="connsiteX3947" y="connsiteY3947"/>
                </a:cxn>
                <a:cxn ang="0">
                  <a:pos x="connsiteX3948" y="connsiteY3948"/>
                </a:cxn>
                <a:cxn ang="0">
                  <a:pos x="connsiteX3949" y="connsiteY3949"/>
                </a:cxn>
                <a:cxn ang="0">
                  <a:pos x="connsiteX3950" y="connsiteY3950"/>
                </a:cxn>
                <a:cxn ang="0">
                  <a:pos x="connsiteX3951" y="connsiteY3951"/>
                </a:cxn>
                <a:cxn ang="0">
                  <a:pos x="connsiteX3952" y="connsiteY3952"/>
                </a:cxn>
                <a:cxn ang="0">
                  <a:pos x="connsiteX3953" y="connsiteY3953"/>
                </a:cxn>
                <a:cxn ang="0">
                  <a:pos x="connsiteX3954" y="connsiteY3954"/>
                </a:cxn>
                <a:cxn ang="0">
                  <a:pos x="connsiteX3955" y="connsiteY3955"/>
                </a:cxn>
                <a:cxn ang="0">
                  <a:pos x="connsiteX3956" y="connsiteY3956"/>
                </a:cxn>
                <a:cxn ang="0">
                  <a:pos x="connsiteX3957" y="connsiteY3957"/>
                </a:cxn>
                <a:cxn ang="0">
                  <a:pos x="connsiteX3958" y="connsiteY3958"/>
                </a:cxn>
                <a:cxn ang="0">
                  <a:pos x="connsiteX3959" y="connsiteY3959"/>
                </a:cxn>
                <a:cxn ang="0">
                  <a:pos x="connsiteX3960" y="connsiteY3960"/>
                </a:cxn>
                <a:cxn ang="0">
                  <a:pos x="connsiteX3961" y="connsiteY3961"/>
                </a:cxn>
                <a:cxn ang="0">
                  <a:pos x="connsiteX3962" y="connsiteY3962"/>
                </a:cxn>
                <a:cxn ang="0">
                  <a:pos x="connsiteX3963" y="connsiteY3963"/>
                </a:cxn>
                <a:cxn ang="0">
                  <a:pos x="connsiteX3964" y="connsiteY3964"/>
                </a:cxn>
                <a:cxn ang="0">
                  <a:pos x="connsiteX3965" y="connsiteY3965"/>
                </a:cxn>
                <a:cxn ang="0">
                  <a:pos x="connsiteX3966" y="connsiteY3966"/>
                </a:cxn>
                <a:cxn ang="0">
                  <a:pos x="connsiteX3967" y="connsiteY3967"/>
                </a:cxn>
                <a:cxn ang="0">
                  <a:pos x="connsiteX3968" y="connsiteY3968"/>
                </a:cxn>
                <a:cxn ang="0">
                  <a:pos x="connsiteX3969" y="connsiteY3969"/>
                </a:cxn>
                <a:cxn ang="0">
                  <a:pos x="connsiteX3970" y="connsiteY3970"/>
                </a:cxn>
                <a:cxn ang="0">
                  <a:pos x="connsiteX3971" y="connsiteY3971"/>
                </a:cxn>
                <a:cxn ang="0">
                  <a:pos x="connsiteX3972" y="connsiteY3972"/>
                </a:cxn>
                <a:cxn ang="0">
                  <a:pos x="connsiteX3973" y="connsiteY3973"/>
                </a:cxn>
                <a:cxn ang="0">
                  <a:pos x="connsiteX3974" y="connsiteY3974"/>
                </a:cxn>
                <a:cxn ang="0">
                  <a:pos x="connsiteX3975" y="connsiteY3975"/>
                </a:cxn>
                <a:cxn ang="0">
                  <a:pos x="connsiteX3976" y="connsiteY3976"/>
                </a:cxn>
                <a:cxn ang="0">
                  <a:pos x="connsiteX3977" y="connsiteY3977"/>
                </a:cxn>
                <a:cxn ang="0">
                  <a:pos x="connsiteX3978" y="connsiteY3978"/>
                </a:cxn>
                <a:cxn ang="0">
                  <a:pos x="connsiteX3979" y="connsiteY3979"/>
                </a:cxn>
                <a:cxn ang="0">
                  <a:pos x="connsiteX3980" y="connsiteY3980"/>
                </a:cxn>
                <a:cxn ang="0">
                  <a:pos x="connsiteX3981" y="connsiteY3981"/>
                </a:cxn>
                <a:cxn ang="0">
                  <a:pos x="connsiteX3982" y="connsiteY3982"/>
                </a:cxn>
                <a:cxn ang="0">
                  <a:pos x="connsiteX3983" y="connsiteY3983"/>
                </a:cxn>
                <a:cxn ang="0">
                  <a:pos x="connsiteX3984" y="connsiteY3984"/>
                </a:cxn>
                <a:cxn ang="0">
                  <a:pos x="connsiteX3985" y="connsiteY3985"/>
                </a:cxn>
                <a:cxn ang="0">
                  <a:pos x="connsiteX3986" y="connsiteY3986"/>
                </a:cxn>
                <a:cxn ang="0">
                  <a:pos x="connsiteX3987" y="connsiteY3987"/>
                </a:cxn>
                <a:cxn ang="0">
                  <a:pos x="connsiteX3988" y="connsiteY3988"/>
                </a:cxn>
                <a:cxn ang="0">
                  <a:pos x="connsiteX3989" y="connsiteY3989"/>
                </a:cxn>
                <a:cxn ang="0">
                  <a:pos x="connsiteX3990" y="connsiteY3990"/>
                </a:cxn>
                <a:cxn ang="0">
                  <a:pos x="connsiteX3991" y="connsiteY3991"/>
                </a:cxn>
                <a:cxn ang="0">
                  <a:pos x="connsiteX3992" y="connsiteY3992"/>
                </a:cxn>
                <a:cxn ang="0">
                  <a:pos x="connsiteX3993" y="connsiteY3993"/>
                </a:cxn>
                <a:cxn ang="0">
                  <a:pos x="connsiteX3994" y="connsiteY3994"/>
                </a:cxn>
                <a:cxn ang="0">
                  <a:pos x="connsiteX3995" y="connsiteY3995"/>
                </a:cxn>
                <a:cxn ang="0">
                  <a:pos x="connsiteX3996" y="connsiteY3996"/>
                </a:cxn>
                <a:cxn ang="0">
                  <a:pos x="connsiteX3997" y="connsiteY3997"/>
                </a:cxn>
                <a:cxn ang="0">
                  <a:pos x="connsiteX3998" y="connsiteY3998"/>
                </a:cxn>
                <a:cxn ang="0">
                  <a:pos x="connsiteX3999" y="connsiteY3999"/>
                </a:cxn>
                <a:cxn ang="0">
                  <a:pos x="connsiteX4000" y="connsiteY4000"/>
                </a:cxn>
                <a:cxn ang="0">
                  <a:pos x="connsiteX4001" y="connsiteY4001"/>
                </a:cxn>
                <a:cxn ang="0">
                  <a:pos x="connsiteX4002" y="connsiteY4002"/>
                </a:cxn>
                <a:cxn ang="0">
                  <a:pos x="connsiteX4003" y="connsiteY4003"/>
                </a:cxn>
                <a:cxn ang="0">
                  <a:pos x="connsiteX4004" y="connsiteY4004"/>
                </a:cxn>
                <a:cxn ang="0">
                  <a:pos x="connsiteX4005" y="connsiteY4005"/>
                </a:cxn>
                <a:cxn ang="0">
                  <a:pos x="connsiteX4006" y="connsiteY4006"/>
                </a:cxn>
                <a:cxn ang="0">
                  <a:pos x="connsiteX4007" y="connsiteY4007"/>
                </a:cxn>
                <a:cxn ang="0">
                  <a:pos x="connsiteX4008" y="connsiteY4008"/>
                </a:cxn>
                <a:cxn ang="0">
                  <a:pos x="connsiteX4009" y="connsiteY4009"/>
                </a:cxn>
                <a:cxn ang="0">
                  <a:pos x="connsiteX4010" y="connsiteY4010"/>
                </a:cxn>
                <a:cxn ang="0">
                  <a:pos x="connsiteX4011" y="connsiteY4011"/>
                </a:cxn>
                <a:cxn ang="0">
                  <a:pos x="connsiteX4012" y="connsiteY4012"/>
                </a:cxn>
                <a:cxn ang="0">
                  <a:pos x="connsiteX4013" y="connsiteY4013"/>
                </a:cxn>
                <a:cxn ang="0">
                  <a:pos x="connsiteX4014" y="connsiteY4014"/>
                </a:cxn>
                <a:cxn ang="0">
                  <a:pos x="connsiteX4015" y="connsiteY4015"/>
                </a:cxn>
                <a:cxn ang="0">
                  <a:pos x="connsiteX4016" y="connsiteY4016"/>
                </a:cxn>
                <a:cxn ang="0">
                  <a:pos x="connsiteX4017" y="connsiteY4017"/>
                </a:cxn>
                <a:cxn ang="0">
                  <a:pos x="connsiteX4018" y="connsiteY4018"/>
                </a:cxn>
                <a:cxn ang="0">
                  <a:pos x="connsiteX4019" y="connsiteY4019"/>
                </a:cxn>
                <a:cxn ang="0">
                  <a:pos x="connsiteX4020" y="connsiteY4020"/>
                </a:cxn>
                <a:cxn ang="0">
                  <a:pos x="connsiteX4021" y="connsiteY4021"/>
                </a:cxn>
                <a:cxn ang="0">
                  <a:pos x="connsiteX4022" y="connsiteY4022"/>
                </a:cxn>
                <a:cxn ang="0">
                  <a:pos x="connsiteX4023" y="connsiteY4023"/>
                </a:cxn>
                <a:cxn ang="0">
                  <a:pos x="connsiteX4024" y="connsiteY4024"/>
                </a:cxn>
                <a:cxn ang="0">
                  <a:pos x="connsiteX4025" y="connsiteY4025"/>
                </a:cxn>
                <a:cxn ang="0">
                  <a:pos x="connsiteX4026" y="connsiteY4026"/>
                </a:cxn>
                <a:cxn ang="0">
                  <a:pos x="connsiteX4027" y="connsiteY4027"/>
                </a:cxn>
                <a:cxn ang="0">
                  <a:pos x="connsiteX4028" y="connsiteY4028"/>
                </a:cxn>
                <a:cxn ang="0">
                  <a:pos x="connsiteX4029" y="connsiteY4029"/>
                </a:cxn>
                <a:cxn ang="0">
                  <a:pos x="connsiteX4030" y="connsiteY4030"/>
                </a:cxn>
                <a:cxn ang="0">
                  <a:pos x="connsiteX4031" y="connsiteY4031"/>
                </a:cxn>
                <a:cxn ang="0">
                  <a:pos x="connsiteX4032" y="connsiteY4032"/>
                </a:cxn>
                <a:cxn ang="0">
                  <a:pos x="connsiteX4033" y="connsiteY4033"/>
                </a:cxn>
                <a:cxn ang="0">
                  <a:pos x="connsiteX4034" y="connsiteY4034"/>
                </a:cxn>
                <a:cxn ang="0">
                  <a:pos x="connsiteX4035" y="connsiteY4035"/>
                </a:cxn>
                <a:cxn ang="0">
                  <a:pos x="connsiteX4036" y="connsiteY4036"/>
                </a:cxn>
                <a:cxn ang="0">
                  <a:pos x="connsiteX4037" y="connsiteY4037"/>
                </a:cxn>
                <a:cxn ang="0">
                  <a:pos x="connsiteX4038" y="connsiteY4038"/>
                </a:cxn>
                <a:cxn ang="0">
                  <a:pos x="connsiteX4039" y="connsiteY4039"/>
                </a:cxn>
                <a:cxn ang="0">
                  <a:pos x="connsiteX4040" y="connsiteY4040"/>
                </a:cxn>
                <a:cxn ang="0">
                  <a:pos x="connsiteX4041" y="connsiteY4041"/>
                </a:cxn>
                <a:cxn ang="0">
                  <a:pos x="connsiteX4042" y="connsiteY4042"/>
                </a:cxn>
                <a:cxn ang="0">
                  <a:pos x="connsiteX4043" y="connsiteY4043"/>
                </a:cxn>
                <a:cxn ang="0">
                  <a:pos x="connsiteX4044" y="connsiteY4044"/>
                </a:cxn>
                <a:cxn ang="0">
                  <a:pos x="connsiteX4045" y="connsiteY4045"/>
                </a:cxn>
                <a:cxn ang="0">
                  <a:pos x="connsiteX4046" y="connsiteY4046"/>
                </a:cxn>
                <a:cxn ang="0">
                  <a:pos x="connsiteX4047" y="connsiteY4047"/>
                </a:cxn>
                <a:cxn ang="0">
                  <a:pos x="connsiteX4048" y="connsiteY4048"/>
                </a:cxn>
                <a:cxn ang="0">
                  <a:pos x="connsiteX4049" y="connsiteY4049"/>
                </a:cxn>
                <a:cxn ang="0">
                  <a:pos x="connsiteX4050" y="connsiteY4050"/>
                </a:cxn>
                <a:cxn ang="0">
                  <a:pos x="connsiteX4051" y="connsiteY4051"/>
                </a:cxn>
                <a:cxn ang="0">
                  <a:pos x="connsiteX4052" y="connsiteY4052"/>
                </a:cxn>
                <a:cxn ang="0">
                  <a:pos x="connsiteX4053" y="connsiteY4053"/>
                </a:cxn>
                <a:cxn ang="0">
                  <a:pos x="connsiteX4054" y="connsiteY4054"/>
                </a:cxn>
                <a:cxn ang="0">
                  <a:pos x="connsiteX4055" y="connsiteY4055"/>
                </a:cxn>
                <a:cxn ang="0">
                  <a:pos x="connsiteX4056" y="connsiteY4056"/>
                </a:cxn>
                <a:cxn ang="0">
                  <a:pos x="connsiteX4057" y="connsiteY4057"/>
                </a:cxn>
                <a:cxn ang="0">
                  <a:pos x="connsiteX4058" y="connsiteY4058"/>
                </a:cxn>
                <a:cxn ang="0">
                  <a:pos x="connsiteX4059" y="connsiteY4059"/>
                </a:cxn>
                <a:cxn ang="0">
                  <a:pos x="connsiteX4060" y="connsiteY4060"/>
                </a:cxn>
                <a:cxn ang="0">
                  <a:pos x="connsiteX4061" y="connsiteY4061"/>
                </a:cxn>
                <a:cxn ang="0">
                  <a:pos x="connsiteX4062" y="connsiteY4062"/>
                </a:cxn>
                <a:cxn ang="0">
                  <a:pos x="connsiteX4063" y="connsiteY4063"/>
                </a:cxn>
                <a:cxn ang="0">
                  <a:pos x="connsiteX4064" y="connsiteY4064"/>
                </a:cxn>
                <a:cxn ang="0">
                  <a:pos x="connsiteX4065" y="connsiteY4065"/>
                </a:cxn>
                <a:cxn ang="0">
                  <a:pos x="connsiteX4066" y="connsiteY4066"/>
                </a:cxn>
                <a:cxn ang="0">
                  <a:pos x="connsiteX4067" y="connsiteY4067"/>
                </a:cxn>
                <a:cxn ang="0">
                  <a:pos x="connsiteX4068" y="connsiteY4068"/>
                </a:cxn>
                <a:cxn ang="0">
                  <a:pos x="connsiteX4069" y="connsiteY4069"/>
                </a:cxn>
                <a:cxn ang="0">
                  <a:pos x="connsiteX4070" y="connsiteY4070"/>
                </a:cxn>
                <a:cxn ang="0">
                  <a:pos x="connsiteX4071" y="connsiteY4071"/>
                </a:cxn>
                <a:cxn ang="0">
                  <a:pos x="connsiteX4072" y="connsiteY4072"/>
                </a:cxn>
                <a:cxn ang="0">
                  <a:pos x="connsiteX4073" y="connsiteY4073"/>
                </a:cxn>
                <a:cxn ang="0">
                  <a:pos x="connsiteX4074" y="connsiteY4074"/>
                </a:cxn>
                <a:cxn ang="0">
                  <a:pos x="connsiteX4075" y="connsiteY4075"/>
                </a:cxn>
                <a:cxn ang="0">
                  <a:pos x="connsiteX4076" y="connsiteY4076"/>
                </a:cxn>
                <a:cxn ang="0">
                  <a:pos x="connsiteX4077" y="connsiteY4077"/>
                </a:cxn>
                <a:cxn ang="0">
                  <a:pos x="connsiteX4078" y="connsiteY4078"/>
                </a:cxn>
                <a:cxn ang="0">
                  <a:pos x="connsiteX4079" y="connsiteY4079"/>
                </a:cxn>
                <a:cxn ang="0">
                  <a:pos x="connsiteX4080" y="connsiteY4080"/>
                </a:cxn>
                <a:cxn ang="0">
                  <a:pos x="connsiteX4081" y="connsiteY4081"/>
                </a:cxn>
                <a:cxn ang="0">
                  <a:pos x="connsiteX4082" y="connsiteY4082"/>
                </a:cxn>
                <a:cxn ang="0">
                  <a:pos x="connsiteX4083" y="connsiteY4083"/>
                </a:cxn>
                <a:cxn ang="0">
                  <a:pos x="connsiteX4084" y="connsiteY4084"/>
                </a:cxn>
                <a:cxn ang="0">
                  <a:pos x="connsiteX4085" y="connsiteY4085"/>
                </a:cxn>
                <a:cxn ang="0">
                  <a:pos x="connsiteX4086" y="connsiteY4086"/>
                </a:cxn>
                <a:cxn ang="0">
                  <a:pos x="connsiteX4087" y="connsiteY4087"/>
                </a:cxn>
                <a:cxn ang="0">
                  <a:pos x="connsiteX4088" y="connsiteY4088"/>
                </a:cxn>
                <a:cxn ang="0">
                  <a:pos x="connsiteX4089" y="connsiteY4089"/>
                </a:cxn>
                <a:cxn ang="0">
                  <a:pos x="connsiteX4090" y="connsiteY4090"/>
                </a:cxn>
                <a:cxn ang="0">
                  <a:pos x="connsiteX4091" y="connsiteY4091"/>
                </a:cxn>
                <a:cxn ang="0">
                  <a:pos x="connsiteX4092" y="connsiteY4092"/>
                </a:cxn>
                <a:cxn ang="0">
                  <a:pos x="connsiteX4093" y="connsiteY4093"/>
                </a:cxn>
                <a:cxn ang="0">
                  <a:pos x="connsiteX4094" y="connsiteY4094"/>
                </a:cxn>
                <a:cxn ang="0">
                  <a:pos x="connsiteX4095" y="connsiteY4095"/>
                </a:cxn>
                <a:cxn ang="0">
                  <a:pos x="connsiteX4096" y="connsiteY4096"/>
                </a:cxn>
                <a:cxn ang="0">
                  <a:pos x="connsiteX4097" y="connsiteY4097"/>
                </a:cxn>
                <a:cxn ang="0">
                  <a:pos x="connsiteX4098" y="connsiteY4098"/>
                </a:cxn>
                <a:cxn ang="0">
                  <a:pos x="connsiteX4099" y="connsiteY4099"/>
                </a:cxn>
                <a:cxn ang="0">
                  <a:pos x="connsiteX4100" y="connsiteY4100"/>
                </a:cxn>
                <a:cxn ang="0">
                  <a:pos x="connsiteX4101" y="connsiteY4101"/>
                </a:cxn>
                <a:cxn ang="0">
                  <a:pos x="connsiteX4102" y="connsiteY4102"/>
                </a:cxn>
                <a:cxn ang="0">
                  <a:pos x="connsiteX4103" y="connsiteY4103"/>
                </a:cxn>
                <a:cxn ang="0">
                  <a:pos x="connsiteX4104" y="connsiteY4104"/>
                </a:cxn>
                <a:cxn ang="0">
                  <a:pos x="connsiteX4105" y="connsiteY4105"/>
                </a:cxn>
                <a:cxn ang="0">
                  <a:pos x="connsiteX4106" y="connsiteY4106"/>
                </a:cxn>
                <a:cxn ang="0">
                  <a:pos x="connsiteX4107" y="connsiteY4107"/>
                </a:cxn>
                <a:cxn ang="0">
                  <a:pos x="connsiteX4108" y="connsiteY4108"/>
                </a:cxn>
                <a:cxn ang="0">
                  <a:pos x="connsiteX4109" y="connsiteY4109"/>
                </a:cxn>
                <a:cxn ang="0">
                  <a:pos x="connsiteX4110" y="connsiteY4110"/>
                </a:cxn>
                <a:cxn ang="0">
                  <a:pos x="connsiteX4111" y="connsiteY4111"/>
                </a:cxn>
                <a:cxn ang="0">
                  <a:pos x="connsiteX4112" y="connsiteY4112"/>
                </a:cxn>
                <a:cxn ang="0">
                  <a:pos x="connsiteX4113" y="connsiteY4113"/>
                </a:cxn>
                <a:cxn ang="0">
                  <a:pos x="connsiteX4114" y="connsiteY4114"/>
                </a:cxn>
                <a:cxn ang="0">
                  <a:pos x="connsiteX4115" y="connsiteY4115"/>
                </a:cxn>
                <a:cxn ang="0">
                  <a:pos x="connsiteX4116" y="connsiteY4116"/>
                </a:cxn>
                <a:cxn ang="0">
                  <a:pos x="connsiteX4117" y="connsiteY4117"/>
                </a:cxn>
                <a:cxn ang="0">
                  <a:pos x="connsiteX4118" y="connsiteY4118"/>
                </a:cxn>
                <a:cxn ang="0">
                  <a:pos x="connsiteX4119" y="connsiteY4119"/>
                </a:cxn>
                <a:cxn ang="0">
                  <a:pos x="connsiteX4120" y="connsiteY4120"/>
                </a:cxn>
                <a:cxn ang="0">
                  <a:pos x="connsiteX4121" y="connsiteY4121"/>
                </a:cxn>
                <a:cxn ang="0">
                  <a:pos x="connsiteX4122" y="connsiteY4122"/>
                </a:cxn>
                <a:cxn ang="0">
                  <a:pos x="connsiteX4123" y="connsiteY4123"/>
                </a:cxn>
                <a:cxn ang="0">
                  <a:pos x="connsiteX4124" y="connsiteY4124"/>
                </a:cxn>
                <a:cxn ang="0">
                  <a:pos x="connsiteX4125" y="connsiteY4125"/>
                </a:cxn>
                <a:cxn ang="0">
                  <a:pos x="connsiteX4126" y="connsiteY4126"/>
                </a:cxn>
                <a:cxn ang="0">
                  <a:pos x="connsiteX4127" y="connsiteY4127"/>
                </a:cxn>
                <a:cxn ang="0">
                  <a:pos x="connsiteX4128" y="connsiteY4128"/>
                </a:cxn>
                <a:cxn ang="0">
                  <a:pos x="connsiteX4129" y="connsiteY4129"/>
                </a:cxn>
                <a:cxn ang="0">
                  <a:pos x="connsiteX4130" y="connsiteY4130"/>
                </a:cxn>
                <a:cxn ang="0">
                  <a:pos x="connsiteX4131" y="connsiteY4131"/>
                </a:cxn>
                <a:cxn ang="0">
                  <a:pos x="connsiteX4132" y="connsiteY4132"/>
                </a:cxn>
                <a:cxn ang="0">
                  <a:pos x="connsiteX4133" y="connsiteY4133"/>
                </a:cxn>
                <a:cxn ang="0">
                  <a:pos x="connsiteX4134" y="connsiteY4134"/>
                </a:cxn>
                <a:cxn ang="0">
                  <a:pos x="connsiteX4135" y="connsiteY4135"/>
                </a:cxn>
                <a:cxn ang="0">
                  <a:pos x="connsiteX4136" y="connsiteY4136"/>
                </a:cxn>
                <a:cxn ang="0">
                  <a:pos x="connsiteX4137" y="connsiteY4137"/>
                </a:cxn>
                <a:cxn ang="0">
                  <a:pos x="connsiteX4138" y="connsiteY4138"/>
                </a:cxn>
                <a:cxn ang="0">
                  <a:pos x="connsiteX4139" y="connsiteY4139"/>
                </a:cxn>
                <a:cxn ang="0">
                  <a:pos x="connsiteX4140" y="connsiteY4140"/>
                </a:cxn>
                <a:cxn ang="0">
                  <a:pos x="connsiteX4141" y="connsiteY4141"/>
                </a:cxn>
                <a:cxn ang="0">
                  <a:pos x="connsiteX4142" y="connsiteY4142"/>
                </a:cxn>
                <a:cxn ang="0">
                  <a:pos x="connsiteX4143" y="connsiteY4143"/>
                </a:cxn>
                <a:cxn ang="0">
                  <a:pos x="connsiteX4144" y="connsiteY4144"/>
                </a:cxn>
                <a:cxn ang="0">
                  <a:pos x="connsiteX4145" y="connsiteY4145"/>
                </a:cxn>
                <a:cxn ang="0">
                  <a:pos x="connsiteX4146" y="connsiteY4146"/>
                </a:cxn>
                <a:cxn ang="0">
                  <a:pos x="connsiteX4147" y="connsiteY4147"/>
                </a:cxn>
                <a:cxn ang="0">
                  <a:pos x="connsiteX4148" y="connsiteY4148"/>
                </a:cxn>
                <a:cxn ang="0">
                  <a:pos x="connsiteX4149" y="connsiteY4149"/>
                </a:cxn>
                <a:cxn ang="0">
                  <a:pos x="connsiteX4150" y="connsiteY4150"/>
                </a:cxn>
                <a:cxn ang="0">
                  <a:pos x="connsiteX4151" y="connsiteY4151"/>
                </a:cxn>
                <a:cxn ang="0">
                  <a:pos x="connsiteX4152" y="connsiteY4152"/>
                </a:cxn>
                <a:cxn ang="0">
                  <a:pos x="connsiteX4153" y="connsiteY4153"/>
                </a:cxn>
                <a:cxn ang="0">
                  <a:pos x="connsiteX4154" y="connsiteY4154"/>
                </a:cxn>
                <a:cxn ang="0">
                  <a:pos x="connsiteX4155" y="connsiteY4155"/>
                </a:cxn>
                <a:cxn ang="0">
                  <a:pos x="connsiteX4156" y="connsiteY4156"/>
                </a:cxn>
                <a:cxn ang="0">
                  <a:pos x="connsiteX4157" y="connsiteY4157"/>
                </a:cxn>
                <a:cxn ang="0">
                  <a:pos x="connsiteX4158" y="connsiteY4158"/>
                </a:cxn>
                <a:cxn ang="0">
                  <a:pos x="connsiteX4159" y="connsiteY4159"/>
                </a:cxn>
                <a:cxn ang="0">
                  <a:pos x="connsiteX4160" y="connsiteY4160"/>
                </a:cxn>
                <a:cxn ang="0">
                  <a:pos x="connsiteX4161" y="connsiteY4161"/>
                </a:cxn>
                <a:cxn ang="0">
                  <a:pos x="connsiteX4162" y="connsiteY4162"/>
                </a:cxn>
                <a:cxn ang="0">
                  <a:pos x="connsiteX4163" y="connsiteY4163"/>
                </a:cxn>
                <a:cxn ang="0">
                  <a:pos x="connsiteX4164" y="connsiteY4164"/>
                </a:cxn>
                <a:cxn ang="0">
                  <a:pos x="connsiteX4165" y="connsiteY4165"/>
                </a:cxn>
                <a:cxn ang="0">
                  <a:pos x="connsiteX4166" y="connsiteY4166"/>
                </a:cxn>
                <a:cxn ang="0">
                  <a:pos x="connsiteX4167" y="connsiteY4167"/>
                </a:cxn>
                <a:cxn ang="0">
                  <a:pos x="connsiteX4168" y="connsiteY4168"/>
                </a:cxn>
                <a:cxn ang="0">
                  <a:pos x="connsiteX4169" y="connsiteY4169"/>
                </a:cxn>
                <a:cxn ang="0">
                  <a:pos x="connsiteX4170" y="connsiteY4170"/>
                </a:cxn>
                <a:cxn ang="0">
                  <a:pos x="connsiteX4171" y="connsiteY4171"/>
                </a:cxn>
                <a:cxn ang="0">
                  <a:pos x="connsiteX4172" y="connsiteY4172"/>
                </a:cxn>
                <a:cxn ang="0">
                  <a:pos x="connsiteX4173" y="connsiteY4173"/>
                </a:cxn>
                <a:cxn ang="0">
                  <a:pos x="connsiteX4174" y="connsiteY4174"/>
                </a:cxn>
                <a:cxn ang="0">
                  <a:pos x="connsiteX4175" y="connsiteY4175"/>
                </a:cxn>
                <a:cxn ang="0">
                  <a:pos x="connsiteX4176" y="connsiteY4176"/>
                </a:cxn>
                <a:cxn ang="0">
                  <a:pos x="connsiteX4177" y="connsiteY4177"/>
                </a:cxn>
                <a:cxn ang="0">
                  <a:pos x="connsiteX4178" y="connsiteY4178"/>
                </a:cxn>
                <a:cxn ang="0">
                  <a:pos x="connsiteX4179" y="connsiteY4179"/>
                </a:cxn>
                <a:cxn ang="0">
                  <a:pos x="connsiteX4180" y="connsiteY4180"/>
                </a:cxn>
                <a:cxn ang="0">
                  <a:pos x="connsiteX4181" y="connsiteY4181"/>
                </a:cxn>
                <a:cxn ang="0">
                  <a:pos x="connsiteX4182" y="connsiteY4182"/>
                </a:cxn>
                <a:cxn ang="0">
                  <a:pos x="connsiteX4183" y="connsiteY4183"/>
                </a:cxn>
                <a:cxn ang="0">
                  <a:pos x="connsiteX4184" y="connsiteY4184"/>
                </a:cxn>
                <a:cxn ang="0">
                  <a:pos x="connsiteX4185" y="connsiteY4185"/>
                </a:cxn>
                <a:cxn ang="0">
                  <a:pos x="connsiteX4186" y="connsiteY4186"/>
                </a:cxn>
                <a:cxn ang="0">
                  <a:pos x="connsiteX4187" y="connsiteY4187"/>
                </a:cxn>
                <a:cxn ang="0">
                  <a:pos x="connsiteX4188" y="connsiteY4188"/>
                </a:cxn>
                <a:cxn ang="0">
                  <a:pos x="connsiteX4189" y="connsiteY4189"/>
                </a:cxn>
                <a:cxn ang="0">
                  <a:pos x="connsiteX4190" y="connsiteY4190"/>
                </a:cxn>
                <a:cxn ang="0">
                  <a:pos x="connsiteX4191" y="connsiteY4191"/>
                </a:cxn>
                <a:cxn ang="0">
                  <a:pos x="connsiteX4192" y="connsiteY4192"/>
                </a:cxn>
                <a:cxn ang="0">
                  <a:pos x="connsiteX4193" y="connsiteY4193"/>
                </a:cxn>
                <a:cxn ang="0">
                  <a:pos x="connsiteX4194" y="connsiteY4194"/>
                </a:cxn>
                <a:cxn ang="0">
                  <a:pos x="connsiteX4195" y="connsiteY4195"/>
                </a:cxn>
                <a:cxn ang="0">
                  <a:pos x="connsiteX4196" y="connsiteY4196"/>
                </a:cxn>
                <a:cxn ang="0">
                  <a:pos x="connsiteX4197" y="connsiteY4197"/>
                </a:cxn>
                <a:cxn ang="0">
                  <a:pos x="connsiteX4198" y="connsiteY4198"/>
                </a:cxn>
                <a:cxn ang="0">
                  <a:pos x="connsiteX4199" y="connsiteY4199"/>
                </a:cxn>
                <a:cxn ang="0">
                  <a:pos x="connsiteX4200" y="connsiteY4200"/>
                </a:cxn>
                <a:cxn ang="0">
                  <a:pos x="connsiteX4201" y="connsiteY4201"/>
                </a:cxn>
                <a:cxn ang="0">
                  <a:pos x="connsiteX4202" y="connsiteY4202"/>
                </a:cxn>
                <a:cxn ang="0">
                  <a:pos x="connsiteX4203" y="connsiteY4203"/>
                </a:cxn>
                <a:cxn ang="0">
                  <a:pos x="connsiteX4204" y="connsiteY4204"/>
                </a:cxn>
                <a:cxn ang="0">
                  <a:pos x="connsiteX4205" y="connsiteY4205"/>
                </a:cxn>
                <a:cxn ang="0">
                  <a:pos x="connsiteX4206" y="connsiteY4206"/>
                </a:cxn>
                <a:cxn ang="0">
                  <a:pos x="connsiteX4207" y="connsiteY4207"/>
                </a:cxn>
                <a:cxn ang="0">
                  <a:pos x="connsiteX4208" y="connsiteY4208"/>
                </a:cxn>
                <a:cxn ang="0">
                  <a:pos x="connsiteX4209" y="connsiteY4209"/>
                </a:cxn>
                <a:cxn ang="0">
                  <a:pos x="connsiteX4210" y="connsiteY4210"/>
                </a:cxn>
                <a:cxn ang="0">
                  <a:pos x="connsiteX4211" y="connsiteY4211"/>
                </a:cxn>
                <a:cxn ang="0">
                  <a:pos x="connsiteX4212" y="connsiteY4212"/>
                </a:cxn>
                <a:cxn ang="0">
                  <a:pos x="connsiteX4213" y="connsiteY4213"/>
                </a:cxn>
                <a:cxn ang="0">
                  <a:pos x="connsiteX4214" y="connsiteY4214"/>
                </a:cxn>
                <a:cxn ang="0">
                  <a:pos x="connsiteX4215" y="connsiteY4215"/>
                </a:cxn>
                <a:cxn ang="0">
                  <a:pos x="connsiteX4216" y="connsiteY4216"/>
                </a:cxn>
                <a:cxn ang="0">
                  <a:pos x="connsiteX4217" y="connsiteY4217"/>
                </a:cxn>
                <a:cxn ang="0">
                  <a:pos x="connsiteX4218" y="connsiteY4218"/>
                </a:cxn>
                <a:cxn ang="0">
                  <a:pos x="connsiteX4219" y="connsiteY4219"/>
                </a:cxn>
                <a:cxn ang="0">
                  <a:pos x="connsiteX4220" y="connsiteY4220"/>
                </a:cxn>
                <a:cxn ang="0">
                  <a:pos x="connsiteX4221" y="connsiteY4221"/>
                </a:cxn>
                <a:cxn ang="0">
                  <a:pos x="connsiteX4222" y="connsiteY4222"/>
                </a:cxn>
                <a:cxn ang="0">
                  <a:pos x="connsiteX4223" y="connsiteY4223"/>
                </a:cxn>
                <a:cxn ang="0">
                  <a:pos x="connsiteX4224" y="connsiteY4224"/>
                </a:cxn>
                <a:cxn ang="0">
                  <a:pos x="connsiteX4225" y="connsiteY4225"/>
                </a:cxn>
                <a:cxn ang="0">
                  <a:pos x="connsiteX4226" y="connsiteY4226"/>
                </a:cxn>
                <a:cxn ang="0">
                  <a:pos x="connsiteX4227" y="connsiteY4227"/>
                </a:cxn>
                <a:cxn ang="0">
                  <a:pos x="connsiteX4228" y="connsiteY4228"/>
                </a:cxn>
                <a:cxn ang="0">
                  <a:pos x="connsiteX4229" y="connsiteY4229"/>
                </a:cxn>
                <a:cxn ang="0">
                  <a:pos x="connsiteX4230" y="connsiteY4230"/>
                </a:cxn>
                <a:cxn ang="0">
                  <a:pos x="connsiteX4231" y="connsiteY4231"/>
                </a:cxn>
                <a:cxn ang="0">
                  <a:pos x="connsiteX4232" y="connsiteY4232"/>
                </a:cxn>
                <a:cxn ang="0">
                  <a:pos x="connsiteX4233" y="connsiteY4233"/>
                </a:cxn>
                <a:cxn ang="0">
                  <a:pos x="connsiteX4234" y="connsiteY4234"/>
                </a:cxn>
                <a:cxn ang="0">
                  <a:pos x="connsiteX4235" y="connsiteY4235"/>
                </a:cxn>
                <a:cxn ang="0">
                  <a:pos x="connsiteX4236" y="connsiteY4236"/>
                </a:cxn>
                <a:cxn ang="0">
                  <a:pos x="connsiteX4237" y="connsiteY4237"/>
                </a:cxn>
                <a:cxn ang="0">
                  <a:pos x="connsiteX4238" y="connsiteY4238"/>
                </a:cxn>
                <a:cxn ang="0">
                  <a:pos x="connsiteX4239" y="connsiteY4239"/>
                </a:cxn>
                <a:cxn ang="0">
                  <a:pos x="connsiteX4240" y="connsiteY4240"/>
                </a:cxn>
                <a:cxn ang="0">
                  <a:pos x="connsiteX4241" y="connsiteY4241"/>
                </a:cxn>
                <a:cxn ang="0">
                  <a:pos x="connsiteX4242" y="connsiteY4242"/>
                </a:cxn>
                <a:cxn ang="0">
                  <a:pos x="connsiteX4243" y="connsiteY4243"/>
                </a:cxn>
                <a:cxn ang="0">
                  <a:pos x="connsiteX4244" y="connsiteY4244"/>
                </a:cxn>
                <a:cxn ang="0">
                  <a:pos x="connsiteX4245" y="connsiteY4245"/>
                </a:cxn>
                <a:cxn ang="0">
                  <a:pos x="connsiteX4246" y="connsiteY4246"/>
                </a:cxn>
                <a:cxn ang="0">
                  <a:pos x="connsiteX4247" y="connsiteY4247"/>
                </a:cxn>
                <a:cxn ang="0">
                  <a:pos x="connsiteX4248" y="connsiteY4248"/>
                </a:cxn>
                <a:cxn ang="0">
                  <a:pos x="connsiteX4249" y="connsiteY4249"/>
                </a:cxn>
                <a:cxn ang="0">
                  <a:pos x="connsiteX4250" y="connsiteY4250"/>
                </a:cxn>
                <a:cxn ang="0">
                  <a:pos x="connsiteX4251" y="connsiteY4251"/>
                </a:cxn>
                <a:cxn ang="0">
                  <a:pos x="connsiteX4252" y="connsiteY4252"/>
                </a:cxn>
                <a:cxn ang="0">
                  <a:pos x="connsiteX4253" y="connsiteY4253"/>
                </a:cxn>
                <a:cxn ang="0">
                  <a:pos x="connsiteX4254" y="connsiteY4254"/>
                </a:cxn>
                <a:cxn ang="0">
                  <a:pos x="connsiteX4255" y="connsiteY4255"/>
                </a:cxn>
                <a:cxn ang="0">
                  <a:pos x="connsiteX4256" y="connsiteY4256"/>
                </a:cxn>
                <a:cxn ang="0">
                  <a:pos x="connsiteX4257" y="connsiteY4257"/>
                </a:cxn>
                <a:cxn ang="0">
                  <a:pos x="connsiteX4258" y="connsiteY4258"/>
                </a:cxn>
                <a:cxn ang="0">
                  <a:pos x="connsiteX4259" y="connsiteY4259"/>
                </a:cxn>
                <a:cxn ang="0">
                  <a:pos x="connsiteX4260" y="connsiteY4260"/>
                </a:cxn>
                <a:cxn ang="0">
                  <a:pos x="connsiteX4261" y="connsiteY4261"/>
                </a:cxn>
                <a:cxn ang="0">
                  <a:pos x="connsiteX4262" y="connsiteY4262"/>
                </a:cxn>
                <a:cxn ang="0">
                  <a:pos x="connsiteX4263" y="connsiteY4263"/>
                </a:cxn>
                <a:cxn ang="0">
                  <a:pos x="connsiteX4264" y="connsiteY4264"/>
                </a:cxn>
                <a:cxn ang="0">
                  <a:pos x="connsiteX4265" y="connsiteY4265"/>
                </a:cxn>
                <a:cxn ang="0">
                  <a:pos x="connsiteX4266" y="connsiteY4266"/>
                </a:cxn>
                <a:cxn ang="0">
                  <a:pos x="connsiteX4267" y="connsiteY4267"/>
                </a:cxn>
                <a:cxn ang="0">
                  <a:pos x="connsiteX4268" y="connsiteY4268"/>
                </a:cxn>
                <a:cxn ang="0">
                  <a:pos x="connsiteX4269" y="connsiteY4269"/>
                </a:cxn>
                <a:cxn ang="0">
                  <a:pos x="connsiteX4270" y="connsiteY4270"/>
                </a:cxn>
                <a:cxn ang="0">
                  <a:pos x="connsiteX4271" y="connsiteY4271"/>
                </a:cxn>
                <a:cxn ang="0">
                  <a:pos x="connsiteX4272" y="connsiteY4272"/>
                </a:cxn>
                <a:cxn ang="0">
                  <a:pos x="connsiteX4273" y="connsiteY4273"/>
                </a:cxn>
                <a:cxn ang="0">
                  <a:pos x="connsiteX4274" y="connsiteY4274"/>
                </a:cxn>
                <a:cxn ang="0">
                  <a:pos x="connsiteX4275" y="connsiteY4275"/>
                </a:cxn>
                <a:cxn ang="0">
                  <a:pos x="connsiteX4276" y="connsiteY4276"/>
                </a:cxn>
                <a:cxn ang="0">
                  <a:pos x="connsiteX4277" y="connsiteY4277"/>
                </a:cxn>
                <a:cxn ang="0">
                  <a:pos x="connsiteX4278" y="connsiteY4278"/>
                </a:cxn>
                <a:cxn ang="0">
                  <a:pos x="connsiteX4279" y="connsiteY4279"/>
                </a:cxn>
                <a:cxn ang="0">
                  <a:pos x="connsiteX4280" y="connsiteY4280"/>
                </a:cxn>
                <a:cxn ang="0">
                  <a:pos x="connsiteX4281" y="connsiteY4281"/>
                </a:cxn>
                <a:cxn ang="0">
                  <a:pos x="connsiteX4282" y="connsiteY4282"/>
                </a:cxn>
                <a:cxn ang="0">
                  <a:pos x="connsiteX4283" y="connsiteY4283"/>
                </a:cxn>
                <a:cxn ang="0">
                  <a:pos x="connsiteX4284" y="connsiteY4284"/>
                </a:cxn>
                <a:cxn ang="0">
                  <a:pos x="connsiteX4285" y="connsiteY4285"/>
                </a:cxn>
                <a:cxn ang="0">
                  <a:pos x="connsiteX4286" y="connsiteY4286"/>
                </a:cxn>
                <a:cxn ang="0">
                  <a:pos x="connsiteX4287" y="connsiteY4287"/>
                </a:cxn>
                <a:cxn ang="0">
                  <a:pos x="connsiteX4288" y="connsiteY4288"/>
                </a:cxn>
                <a:cxn ang="0">
                  <a:pos x="connsiteX4289" y="connsiteY4289"/>
                </a:cxn>
                <a:cxn ang="0">
                  <a:pos x="connsiteX4290" y="connsiteY4290"/>
                </a:cxn>
                <a:cxn ang="0">
                  <a:pos x="connsiteX4291" y="connsiteY4291"/>
                </a:cxn>
                <a:cxn ang="0">
                  <a:pos x="connsiteX4292" y="connsiteY4292"/>
                </a:cxn>
                <a:cxn ang="0">
                  <a:pos x="connsiteX4293" y="connsiteY4293"/>
                </a:cxn>
                <a:cxn ang="0">
                  <a:pos x="connsiteX4294" y="connsiteY4294"/>
                </a:cxn>
                <a:cxn ang="0">
                  <a:pos x="connsiteX4295" y="connsiteY4295"/>
                </a:cxn>
                <a:cxn ang="0">
                  <a:pos x="connsiteX4296" y="connsiteY4296"/>
                </a:cxn>
                <a:cxn ang="0">
                  <a:pos x="connsiteX4297" y="connsiteY4297"/>
                </a:cxn>
                <a:cxn ang="0">
                  <a:pos x="connsiteX4298" y="connsiteY4298"/>
                </a:cxn>
                <a:cxn ang="0">
                  <a:pos x="connsiteX4299" y="connsiteY4299"/>
                </a:cxn>
                <a:cxn ang="0">
                  <a:pos x="connsiteX4300" y="connsiteY4300"/>
                </a:cxn>
                <a:cxn ang="0">
                  <a:pos x="connsiteX4301" y="connsiteY4301"/>
                </a:cxn>
                <a:cxn ang="0">
                  <a:pos x="connsiteX4302" y="connsiteY4302"/>
                </a:cxn>
                <a:cxn ang="0">
                  <a:pos x="connsiteX4303" y="connsiteY4303"/>
                </a:cxn>
                <a:cxn ang="0">
                  <a:pos x="connsiteX4304" y="connsiteY4304"/>
                </a:cxn>
                <a:cxn ang="0">
                  <a:pos x="connsiteX4305" y="connsiteY4305"/>
                </a:cxn>
                <a:cxn ang="0">
                  <a:pos x="connsiteX4306" y="connsiteY4306"/>
                </a:cxn>
                <a:cxn ang="0">
                  <a:pos x="connsiteX4307" y="connsiteY4307"/>
                </a:cxn>
                <a:cxn ang="0">
                  <a:pos x="connsiteX4308" y="connsiteY4308"/>
                </a:cxn>
                <a:cxn ang="0">
                  <a:pos x="connsiteX4309" y="connsiteY4309"/>
                </a:cxn>
                <a:cxn ang="0">
                  <a:pos x="connsiteX4310" y="connsiteY4310"/>
                </a:cxn>
                <a:cxn ang="0">
                  <a:pos x="connsiteX4311" y="connsiteY4311"/>
                </a:cxn>
                <a:cxn ang="0">
                  <a:pos x="connsiteX4312" y="connsiteY4312"/>
                </a:cxn>
                <a:cxn ang="0">
                  <a:pos x="connsiteX4313" y="connsiteY4313"/>
                </a:cxn>
                <a:cxn ang="0">
                  <a:pos x="connsiteX4314" y="connsiteY4314"/>
                </a:cxn>
                <a:cxn ang="0">
                  <a:pos x="connsiteX4315" y="connsiteY4315"/>
                </a:cxn>
                <a:cxn ang="0">
                  <a:pos x="connsiteX4316" y="connsiteY4316"/>
                </a:cxn>
                <a:cxn ang="0">
                  <a:pos x="connsiteX4317" y="connsiteY4317"/>
                </a:cxn>
                <a:cxn ang="0">
                  <a:pos x="connsiteX4318" y="connsiteY4318"/>
                </a:cxn>
                <a:cxn ang="0">
                  <a:pos x="connsiteX4319" y="connsiteY4319"/>
                </a:cxn>
                <a:cxn ang="0">
                  <a:pos x="connsiteX4320" y="connsiteY4320"/>
                </a:cxn>
                <a:cxn ang="0">
                  <a:pos x="connsiteX4321" y="connsiteY4321"/>
                </a:cxn>
                <a:cxn ang="0">
                  <a:pos x="connsiteX4322" y="connsiteY4322"/>
                </a:cxn>
                <a:cxn ang="0">
                  <a:pos x="connsiteX4323" y="connsiteY4323"/>
                </a:cxn>
                <a:cxn ang="0">
                  <a:pos x="connsiteX4324" y="connsiteY4324"/>
                </a:cxn>
                <a:cxn ang="0">
                  <a:pos x="connsiteX4325" y="connsiteY4325"/>
                </a:cxn>
                <a:cxn ang="0">
                  <a:pos x="connsiteX4326" y="connsiteY4326"/>
                </a:cxn>
                <a:cxn ang="0">
                  <a:pos x="connsiteX4327" y="connsiteY4327"/>
                </a:cxn>
                <a:cxn ang="0">
                  <a:pos x="connsiteX4328" y="connsiteY4328"/>
                </a:cxn>
                <a:cxn ang="0">
                  <a:pos x="connsiteX4329" y="connsiteY4329"/>
                </a:cxn>
                <a:cxn ang="0">
                  <a:pos x="connsiteX4330" y="connsiteY4330"/>
                </a:cxn>
                <a:cxn ang="0">
                  <a:pos x="connsiteX4331" y="connsiteY4331"/>
                </a:cxn>
                <a:cxn ang="0">
                  <a:pos x="connsiteX4332" y="connsiteY4332"/>
                </a:cxn>
                <a:cxn ang="0">
                  <a:pos x="connsiteX4333" y="connsiteY4333"/>
                </a:cxn>
                <a:cxn ang="0">
                  <a:pos x="connsiteX4334" y="connsiteY4334"/>
                </a:cxn>
                <a:cxn ang="0">
                  <a:pos x="connsiteX4335" y="connsiteY4335"/>
                </a:cxn>
                <a:cxn ang="0">
                  <a:pos x="connsiteX4336" y="connsiteY4336"/>
                </a:cxn>
                <a:cxn ang="0">
                  <a:pos x="connsiteX4337" y="connsiteY4337"/>
                </a:cxn>
                <a:cxn ang="0">
                  <a:pos x="connsiteX4338" y="connsiteY4338"/>
                </a:cxn>
                <a:cxn ang="0">
                  <a:pos x="connsiteX4339" y="connsiteY4339"/>
                </a:cxn>
                <a:cxn ang="0">
                  <a:pos x="connsiteX4340" y="connsiteY4340"/>
                </a:cxn>
                <a:cxn ang="0">
                  <a:pos x="connsiteX4341" y="connsiteY4341"/>
                </a:cxn>
                <a:cxn ang="0">
                  <a:pos x="connsiteX4342" y="connsiteY4342"/>
                </a:cxn>
                <a:cxn ang="0">
                  <a:pos x="connsiteX4343" y="connsiteY4343"/>
                </a:cxn>
                <a:cxn ang="0">
                  <a:pos x="connsiteX4344" y="connsiteY4344"/>
                </a:cxn>
                <a:cxn ang="0">
                  <a:pos x="connsiteX4345" y="connsiteY4345"/>
                </a:cxn>
                <a:cxn ang="0">
                  <a:pos x="connsiteX4346" y="connsiteY4346"/>
                </a:cxn>
                <a:cxn ang="0">
                  <a:pos x="connsiteX4347" y="connsiteY4347"/>
                </a:cxn>
                <a:cxn ang="0">
                  <a:pos x="connsiteX4348" y="connsiteY4348"/>
                </a:cxn>
                <a:cxn ang="0">
                  <a:pos x="connsiteX4349" y="connsiteY4349"/>
                </a:cxn>
                <a:cxn ang="0">
                  <a:pos x="connsiteX4350" y="connsiteY4350"/>
                </a:cxn>
                <a:cxn ang="0">
                  <a:pos x="connsiteX4351" y="connsiteY4351"/>
                </a:cxn>
                <a:cxn ang="0">
                  <a:pos x="connsiteX4352" y="connsiteY4352"/>
                </a:cxn>
                <a:cxn ang="0">
                  <a:pos x="connsiteX4353" y="connsiteY4353"/>
                </a:cxn>
                <a:cxn ang="0">
                  <a:pos x="connsiteX4354" y="connsiteY4354"/>
                </a:cxn>
                <a:cxn ang="0">
                  <a:pos x="connsiteX4355" y="connsiteY4355"/>
                </a:cxn>
                <a:cxn ang="0">
                  <a:pos x="connsiteX4356" y="connsiteY4356"/>
                </a:cxn>
                <a:cxn ang="0">
                  <a:pos x="connsiteX4357" y="connsiteY4357"/>
                </a:cxn>
                <a:cxn ang="0">
                  <a:pos x="connsiteX4358" y="connsiteY4358"/>
                </a:cxn>
                <a:cxn ang="0">
                  <a:pos x="connsiteX4359" y="connsiteY4359"/>
                </a:cxn>
                <a:cxn ang="0">
                  <a:pos x="connsiteX4360" y="connsiteY4360"/>
                </a:cxn>
                <a:cxn ang="0">
                  <a:pos x="connsiteX4361" y="connsiteY4361"/>
                </a:cxn>
                <a:cxn ang="0">
                  <a:pos x="connsiteX4362" y="connsiteY4362"/>
                </a:cxn>
                <a:cxn ang="0">
                  <a:pos x="connsiteX4363" y="connsiteY4363"/>
                </a:cxn>
                <a:cxn ang="0">
                  <a:pos x="connsiteX4364" y="connsiteY4364"/>
                </a:cxn>
                <a:cxn ang="0">
                  <a:pos x="connsiteX4365" y="connsiteY4365"/>
                </a:cxn>
                <a:cxn ang="0">
                  <a:pos x="connsiteX4366" y="connsiteY4366"/>
                </a:cxn>
                <a:cxn ang="0">
                  <a:pos x="connsiteX4367" y="connsiteY4367"/>
                </a:cxn>
                <a:cxn ang="0">
                  <a:pos x="connsiteX4368" y="connsiteY4368"/>
                </a:cxn>
                <a:cxn ang="0">
                  <a:pos x="connsiteX4369" y="connsiteY4369"/>
                </a:cxn>
                <a:cxn ang="0">
                  <a:pos x="connsiteX4370" y="connsiteY4370"/>
                </a:cxn>
                <a:cxn ang="0">
                  <a:pos x="connsiteX4371" y="connsiteY4371"/>
                </a:cxn>
                <a:cxn ang="0">
                  <a:pos x="connsiteX4372" y="connsiteY4372"/>
                </a:cxn>
                <a:cxn ang="0">
                  <a:pos x="connsiteX4373" y="connsiteY4373"/>
                </a:cxn>
                <a:cxn ang="0">
                  <a:pos x="connsiteX4374" y="connsiteY4374"/>
                </a:cxn>
                <a:cxn ang="0">
                  <a:pos x="connsiteX4375" y="connsiteY4375"/>
                </a:cxn>
                <a:cxn ang="0">
                  <a:pos x="connsiteX4376" y="connsiteY4376"/>
                </a:cxn>
                <a:cxn ang="0">
                  <a:pos x="connsiteX4377" y="connsiteY4377"/>
                </a:cxn>
                <a:cxn ang="0">
                  <a:pos x="connsiteX4378" y="connsiteY4378"/>
                </a:cxn>
                <a:cxn ang="0">
                  <a:pos x="connsiteX4379" y="connsiteY4379"/>
                </a:cxn>
                <a:cxn ang="0">
                  <a:pos x="connsiteX4380" y="connsiteY4380"/>
                </a:cxn>
                <a:cxn ang="0">
                  <a:pos x="connsiteX4381" y="connsiteY4381"/>
                </a:cxn>
                <a:cxn ang="0">
                  <a:pos x="connsiteX4382" y="connsiteY4382"/>
                </a:cxn>
                <a:cxn ang="0">
                  <a:pos x="connsiteX4383" y="connsiteY4383"/>
                </a:cxn>
                <a:cxn ang="0">
                  <a:pos x="connsiteX4384" y="connsiteY4384"/>
                </a:cxn>
                <a:cxn ang="0">
                  <a:pos x="connsiteX4385" y="connsiteY4385"/>
                </a:cxn>
                <a:cxn ang="0">
                  <a:pos x="connsiteX4386" y="connsiteY4386"/>
                </a:cxn>
                <a:cxn ang="0">
                  <a:pos x="connsiteX4387" y="connsiteY4387"/>
                </a:cxn>
                <a:cxn ang="0">
                  <a:pos x="connsiteX4388" y="connsiteY4388"/>
                </a:cxn>
                <a:cxn ang="0">
                  <a:pos x="connsiteX4389" y="connsiteY4389"/>
                </a:cxn>
                <a:cxn ang="0">
                  <a:pos x="connsiteX4390" y="connsiteY4390"/>
                </a:cxn>
                <a:cxn ang="0">
                  <a:pos x="connsiteX4391" y="connsiteY4391"/>
                </a:cxn>
                <a:cxn ang="0">
                  <a:pos x="connsiteX4392" y="connsiteY4392"/>
                </a:cxn>
                <a:cxn ang="0">
                  <a:pos x="connsiteX4393" y="connsiteY4393"/>
                </a:cxn>
                <a:cxn ang="0">
                  <a:pos x="connsiteX4394" y="connsiteY4394"/>
                </a:cxn>
                <a:cxn ang="0">
                  <a:pos x="connsiteX4395" y="connsiteY4395"/>
                </a:cxn>
                <a:cxn ang="0">
                  <a:pos x="connsiteX4396" y="connsiteY4396"/>
                </a:cxn>
                <a:cxn ang="0">
                  <a:pos x="connsiteX4397" y="connsiteY4397"/>
                </a:cxn>
                <a:cxn ang="0">
                  <a:pos x="connsiteX4398" y="connsiteY4398"/>
                </a:cxn>
                <a:cxn ang="0">
                  <a:pos x="connsiteX4399" y="connsiteY4399"/>
                </a:cxn>
                <a:cxn ang="0">
                  <a:pos x="connsiteX4400" y="connsiteY4400"/>
                </a:cxn>
                <a:cxn ang="0">
                  <a:pos x="connsiteX4401" y="connsiteY4401"/>
                </a:cxn>
                <a:cxn ang="0">
                  <a:pos x="connsiteX4402" y="connsiteY4402"/>
                </a:cxn>
                <a:cxn ang="0">
                  <a:pos x="connsiteX4403" y="connsiteY4403"/>
                </a:cxn>
                <a:cxn ang="0">
                  <a:pos x="connsiteX4404" y="connsiteY4404"/>
                </a:cxn>
                <a:cxn ang="0">
                  <a:pos x="connsiteX4405" y="connsiteY4405"/>
                </a:cxn>
                <a:cxn ang="0">
                  <a:pos x="connsiteX4406" y="connsiteY4406"/>
                </a:cxn>
                <a:cxn ang="0">
                  <a:pos x="connsiteX4407" y="connsiteY4407"/>
                </a:cxn>
                <a:cxn ang="0">
                  <a:pos x="connsiteX4408" y="connsiteY4408"/>
                </a:cxn>
                <a:cxn ang="0">
                  <a:pos x="connsiteX4409" y="connsiteY4409"/>
                </a:cxn>
                <a:cxn ang="0">
                  <a:pos x="connsiteX4410" y="connsiteY4410"/>
                </a:cxn>
                <a:cxn ang="0">
                  <a:pos x="connsiteX4411" y="connsiteY4411"/>
                </a:cxn>
                <a:cxn ang="0">
                  <a:pos x="connsiteX4412" y="connsiteY4412"/>
                </a:cxn>
                <a:cxn ang="0">
                  <a:pos x="connsiteX4413" y="connsiteY4413"/>
                </a:cxn>
                <a:cxn ang="0">
                  <a:pos x="connsiteX4414" y="connsiteY4414"/>
                </a:cxn>
                <a:cxn ang="0">
                  <a:pos x="connsiteX4415" y="connsiteY4415"/>
                </a:cxn>
                <a:cxn ang="0">
                  <a:pos x="connsiteX4416" y="connsiteY4416"/>
                </a:cxn>
                <a:cxn ang="0">
                  <a:pos x="connsiteX4417" y="connsiteY4417"/>
                </a:cxn>
                <a:cxn ang="0">
                  <a:pos x="connsiteX4418" y="connsiteY4418"/>
                </a:cxn>
                <a:cxn ang="0">
                  <a:pos x="connsiteX4419" y="connsiteY4419"/>
                </a:cxn>
                <a:cxn ang="0">
                  <a:pos x="connsiteX4420" y="connsiteY4420"/>
                </a:cxn>
                <a:cxn ang="0">
                  <a:pos x="connsiteX4421" y="connsiteY4421"/>
                </a:cxn>
                <a:cxn ang="0">
                  <a:pos x="connsiteX4422" y="connsiteY4422"/>
                </a:cxn>
                <a:cxn ang="0">
                  <a:pos x="connsiteX4423" y="connsiteY4423"/>
                </a:cxn>
                <a:cxn ang="0">
                  <a:pos x="connsiteX4424" y="connsiteY4424"/>
                </a:cxn>
                <a:cxn ang="0">
                  <a:pos x="connsiteX4425" y="connsiteY4425"/>
                </a:cxn>
                <a:cxn ang="0">
                  <a:pos x="connsiteX4426" y="connsiteY4426"/>
                </a:cxn>
                <a:cxn ang="0">
                  <a:pos x="connsiteX4427" y="connsiteY4427"/>
                </a:cxn>
                <a:cxn ang="0">
                  <a:pos x="connsiteX4428" y="connsiteY4428"/>
                </a:cxn>
                <a:cxn ang="0">
                  <a:pos x="connsiteX4429" y="connsiteY4429"/>
                </a:cxn>
                <a:cxn ang="0">
                  <a:pos x="connsiteX4430" y="connsiteY4430"/>
                </a:cxn>
                <a:cxn ang="0">
                  <a:pos x="connsiteX4431" y="connsiteY4431"/>
                </a:cxn>
                <a:cxn ang="0">
                  <a:pos x="connsiteX4432" y="connsiteY4432"/>
                </a:cxn>
                <a:cxn ang="0">
                  <a:pos x="connsiteX4433" y="connsiteY4433"/>
                </a:cxn>
                <a:cxn ang="0">
                  <a:pos x="connsiteX4434" y="connsiteY4434"/>
                </a:cxn>
                <a:cxn ang="0">
                  <a:pos x="connsiteX4435" y="connsiteY4435"/>
                </a:cxn>
                <a:cxn ang="0">
                  <a:pos x="connsiteX4436" y="connsiteY4436"/>
                </a:cxn>
                <a:cxn ang="0">
                  <a:pos x="connsiteX4437" y="connsiteY4437"/>
                </a:cxn>
                <a:cxn ang="0">
                  <a:pos x="connsiteX4438" y="connsiteY4438"/>
                </a:cxn>
                <a:cxn ang="0">
                  <a:pos x="connsiteX4439" y="connsiteY4439"/>
                </a:cxn>
                <a:cxn ang="0">
                  <a:pos x="connsiteX4440" y="connsiteY4440"/>
                </a:cxn>
                <a:cxn ang="0">
                  <a:pos x="connsiteX4441" y="connsiteY4441"/>
                </a:cxn>
                <a:cxn ang="0">
                  <a:pos x="connsiteX4442" y="connsiteY4442"/>
                </a:cxn>
                <a:cxn ang="0">
                  <a:pos x="connsiteX4443" y="connsiteY4443"/>
                </a:cxn>
                <a:cxn ang="0">
                  <a:pos x="connsiteX4444" y="connsiteY4444"/>
                </a:cxn>
                <a:cxn ang="0">
                  <a:pos x="connsiteX4445" y="connsiteY4445"/>
                </a:cxn>
                <a:cxn ang="0">
                  <a:pos x="connsiteX4446" y="connsiteY4446"/>
                </a:cxn>
                <a:cxn ang="0">
                  <a:pos x="connsiteX4447" y="connsiteY4447"/>
                </a:cxn>
                <a:cxn ang="0">
                  <a:pos x="connsiteX4448" y="connsiteY4448"/>
                </a:cxn>
                <a:cxn ang="0">
                  <a:pos x="connsiteX4449" y="connsiteY4449"/>
                </a:cxn>
                <a:cxn ang="0">
                  <a:pos x="connsiteX4450" y="connsiteY4450"/>
                </a:cxn>
                <a:cxn ang="0">
                  <a:pos x="connsiteX4451" y="connsiteY4451"/>
                </a:cxn>
                <a:cxn ang="0">
                  <a:pos x="connsiteX4452" y="connsiteY4452"/>
                </a:cxn>
                <a:cxn ang="0">
                  <a:pos x="connsiteX4453" y="connsiteY4453"/>
                </a:cxn>
                <a:cxn ang="0">
                  <a:pos x="connsiteX4454" y="connsiteY4454"/>
                </a:cxn>
                <a:cxn ang="0">
                  <a:pos x="connsiteX4455" y="connsiteY4455"/>
                </a:cxn>
                <a:cxn ang="0">
                  <a:pos x="connsiteX4456" y="connsiteY4456"/>
                </a:cxn>
                <a:cxn ang="0">
                  <a:pos x="connsiteX4457" y="connsiteY4457"/>
                </a:cxn>
                <a:cxn ang="0">
                  <a:pos x="connsiteX4458" y="connsiteY4458"/>
                </a:cxn>
                <a:cxn ang="0">
                  <a:pos x="connsiteX4459" y="connsiteY4459"/>
                </a:cxn>
                <a:cxn ang="0">
                  <a:pos x="connsiteX4460" y="connsiteY4460"/>
                </a:cxn>
                <a:cxn ang="0">
                  <a:pos x="connsiteX4461" y="connsiteY4461"/>
                </a:cxn>
                <a:cxn ang="0">
                  <a:pos x="connsiteX4462" y="connsiteY4462"/>
                </a:cxn>
                <a:cxn ang="0">
                  <a:pos x="connsiteX4463" y="connsiteY4463"/>
                </a:cxn>
                <a:cxn ang="0">
                  <a:pos x="connsiteX4464" y="connsiteY4464"/>
                </a:cxn>
                <a:cxn ang="0">
                  <a:pos x="connsiteX4465" y="connsiteY4465"/>
                </a:cxn>
                <a:cxn ang="0">
                  <a:pos x="connsiteX4466" y="connsiteY4466"/>
                </a:cxn>
                <a:cxn ang="0">
                  <a:pos x="connsiteX4467" y="connsiteY4467"/>
                </a:cxn>
                <a:cxn ang="0">
                  <a:pos x="connsiteX4468" y="connsiteY4468"/>
                </a:cxn>
                <a:cxn ang="0">
                  <a:pos x="connsiteX4469" y="connsiteY4469"/>
                </a:cxn>
                <a:cxn ang="0">
                  <a:pos x="connsiteX4470" y="connsiteY4470"/>
                </a:cxn>
                <a:cxn ang="0">
                  <a:pos x="connsiteX4471" y="connsiteY4471"/>
                </a:cxn>
                <a:cxn ang="0">
                  <a:pos x="connsiteX4472" y="connsiteY4472"/>
                </a:cxn>
                <a:cxn ang="0">
                  <a:pos x="connsiteX4473" y="connsiteY4473"/>
                </a:cxn>
                <a:cxn ang="0">
                  <a:pos x="connsiteX4474" y="connsiteY4474"/>
                </a:cxn>
                <a:cxn ang="0">
                  <a:pos x="connsiteX4475" y="connsiteY4475"/>
                </a:cxn>
                <a:cxn ang="0">
                  <a:pos x="connsiteX4476" y="connsiteY4476"/>
                </a:cxn>
                <a:cxn ang="0">
                  <a:pos x="connsiteX4477" y="connsiteY4477"/>
                </a:cxn>
                <a:cxn ang="0">
                  <a:pos x="connsiteX4478" y="connsiteY4478"/>
                </a:cxn>
                <a:cxn ang="0">
                  <a:pos x="connsiteX4479" y="connsiteY4479"/>
                </a:cxn>
                <a:cxn ang="0">
                  <a:pos x="connsiteX4480" y="connsiteY4480"/>
                </a:cxn>
                <a:cxn ang="0">
                  <a:pos x="connsiteX4481" y="connsiteY4481"/>
                </a:cxn>
                <a:cxn ang="0">
                  <a:pos x="connsiteX4482" y="connsiteY4482"/>
                </a:cxn>
                <a:cxn ang="0">
                  <a:pos x="connsiteX4483" y="connsiteY4483"/>
                </a:cxn>
                <a:cxn ang="0">
                  <a:pos x="connsiteX4484" y="connsiteY4484"/>
                </a:cxn>
                <a:cxn ang="0">
                  <a:pos x="connsiteX4485" y="connsiteY4485"/>
                </a:cxn>
                <a:cxn ang="0">
                  <a:pos x="connsiteX4486" y="connsiteY4486"/>
                </a:cxn>
                <a:cxn ang="0">
                  <a:pos x="connsiteX4487" y="connsiteY4487"/>
                </a:cxn>
                <a:cxn ang="0">
                  <a:pos x="connsiteX4488" y="connsiteY4488"/>
                </a:cxn>
                <a:cxn ang="0">
                  <a:pos x="connsiteX4489" y="connsiteY4489"/>
                </a:cxn>
                <a:cxn ang="0">
                  <a:pos x="connsiteX4490" y="connsiteY4490"/>
                </a:cxn>
                <a:cxn ang="0">
                  <a:pos x="connsiteX4491" y="connsiteY4491"/>
                </a:cxn>
                <a:cxn ang="0">
                  <a:pos x="connsiteX4492" y="connsiteY4492"/>
                </a:cxn>
                <a:cxn ang="0">
                  <a:pos x="connsiteX4493" y="connsiteY4493"/>
                </a:cxn>
                <a:cxn ang="0">
                  <a:pos x="connsiteX4494" y="connsiteY4494"/>
                </a:cxn>
                <a:cxn ang="0">
                  <a:pos x="connsiteX4495" y="connsiteY4495"/>
                </a:cxn>
                <a:cxn ang="0">
                  <a:pos x="connsiteX4496" y="connsiteY4496"/>
                </a:cxn>
                <a:cxn ang="0">
                  <a:pos x="connsiteX4497" y="connsiteY4497"/>
                </a:cxn>
                <a:cxn ang="0">
                  <a:pos x="connsiteX4498" y="connsiteY4498"/>
                </a:cxn>
                <a:cxn ang="0">
                  <a:pos x="connsiteX4499" y="connsiteY4499"/>
                </a:cxn>
                <a:cxn ang="0">
                  <a:pos x="connsiteX4500" y="connsiteY4500"/>
                </a:cxn>
                <a:cxn ang="0">
                  <a:pos x="connsiteX4501" y="connsiteY4501"/>
                </a:cxn>
                <a:cxn ang="0">
                  <a:pos x="connsiteX4502" y="connsiteY4502"/>
                </a:cxn>
                <a:cxn ang="0">
                  <a:pos x="connsiteX4503" y="connsiteY4503"/>
                </a:cxn>
                <a:cxn ang="0">
                  <a:pos x="connsiteX4504" y="connsiteY4504"/>
                </a:cxn>
                <a:cxn ang="0">
                  <a:pos x="connsiteX4505" y="connsiteY4505"/>
                </a:cxn>
                <a:cxn ang="0">
                  <a:pos x="connsiteX4506" y="connsiteY4506"/>
                </a:cxn>
                <a:cxn ang="0">
                  <a:pos x="connsiteX4507" y="connsiteY4507"/>
                </a:cxn>
                <a:cxn ang="0">
                  <a:pos x="connsiteX4508" y="connsiteY4508"/>
                </a:cxn>
                <a:cxn ang="0">
                  <a:pos x="connsiteX4509" y="connsiteY4509"/>
                </a:cxn>
                <a:cxn ang="0">
                  <a:pos x="connsiteX4510" y="connsiteY4510"/>
                </a:cxn>
                <a:cxn ang="0">
                  <a:pos x="connsiteX4511" y="connsiteY4511"/>
                </a:cxn>
                <a:cxn ang="0">
                  <a:pos x="connsiteX4512" y="connsiteY4512"/>
                </a:cxn>
                <a:cxn ang="0">
                  <a:pos x="connsiteX4513" y="connsiteY4513"/>
                </a:cxn>
                <a:cxn ang="0">
                  <a:pos x="connsiteX4514" y="connsiteY4514"/>
                </a:cxn>
                <a:cxn ang="0">
                  <a:pos x="connsiteX4515" y="connsiteY4515"/>
                </a:cxn>
                <a:cxn ang="0">
                  <a:pos x="connsiteX4516" y="connsiteY4516"/>
                </a:cxn>
                <a:cxn ang="0">
                  <a:pos x="connsiteX4517" y="connsiteY4517"/>
                </a:cxn>
                <a:cxn ang="0">
                  <a:pos x="connsiteX4518" y="connsiteY4518"/>
                </a:cxn>
                <a:cxn ang="0">
                  <a:pos x="connsiteX4519" y="connsiteY4519"/>
                </a:cxn>
                <a:cxn ang="0">
                  <a:pos x="connsiteX4520" y="connsiteY4520"/>
                </a:cxn>
                <a:cxn ang="0">
                  <a:pos x="connsiteX4521" y="connsiteY4521"/>
                </a:cxn>
                <a:cxn ang="0">
                  <a:pos x="connsiteX4522" y="connsiteY4522"/>
                </a:cxn>
                <a:cxn ang="0">
                  <a:pos x="connsiteX4523" y="connsiteY4523"/>
                </a:cxn>
                <a:cxn ang="0">
                  <a:pos x="connsiteX4524" y="connsiteY4524"/>
                </a:cxn>
                <a:cxn ang="0">
                  <a:pos x="connsiteX4525" y="connsiteY4525"/>
                </a:cxn>
                <a:cxn ang="0">
                  <a:pos x="connsiteX4526" y="connsiteY4526"/>
                </a:cxn>
                <a:cxn ang="0">
                  <a:pos x="connsiteX4527" y="connsiteY4527"/>
                </a:cxn>
                <a:cxn ang="0">
                  <a:pos x="connsiteX4528" y="connsiteY4528"/>
                </a:cxn>
                <a:cxn ang="0">
                  <a:pos x="connsiteX4529" y="connsiteY4529"/>
                </a:cxn>
                <a:cxn ang="0">
                  <a:pos x="connsiteX4530" y="connsiteY4530"/>
                </a:cxn>
                <a:cxn ang="0">
                  <a:pos x="connsiteX4531" y="connsiteY4531"/>
                </a:cxn>
                <a:cxn ang="0">
                  <a:pos x="connsiteX4532" y="connsiteY4532"/>
                </a:cxn>
                <a:cxn ang="0">
                  <a:pos x="connsiteX4533" y="connsiteY4533"/>
                </a:cxn>
                <a:cxn ang="0">
                  <a:pos x="connsiteX4534" y="connsiteY4534"/>
                </a:cxn>
                <a:cxn ang="0">
                  <a:pos x="connsiteX4535" y="connsiteY4535"/>
                </a:cxn>
                <a:cxn ang="0">
                  <a:pos x="connsiteX4536" y="connsiteY4536"/>
                </a:cxn>
                <a:cxn ang="0">
                  <a:pos x="connsiteX4537" y="connsiteY4537"/>
                </a:cxn>
                <a:cxn ang="0">
                  <a:pos x="connsiteX4538" y="connsiteY4538"/>
                </a:cxn>
                <a:cxn ang="0">
                  <a:pos x="connsiteX4539" y="connsiteY4539"/>
                </a:cxn>
                <a:cxn ang="0">
                  <a:pos x="connsiteX4540" y="connsiteY4540"/>
                </a:cxn>
                <a:cxn ang="0">
                  <a:pos x="connsiteX4541" y="connsiteY4541"/>
                </a:cxn>
                <a:cxn ang="0">
                  <a:pos x="connsiteX4542" y="connsiteY4542"/>
                </a:cxn>
                <a:cxn ang="0">
                  <a:pos x="connsiteX4543" y="connsiteY4543"/>
                </a:cxn>
                <a:cxn ang="0">
                  <a:pos x="connsiteX4544" y="connsiteY4544"/>
                </a:cxn>
                <a:cxn ang="0">
                  <a:pos x="connsiteX4545" y="connsiteY4545"/>
                </a:cxn>
                <a:cxn ang="0">
                  <a:pos x="connsiteX4546" y="connsiteY4546"/>
                </a:cxn>
                <a:cxn ang="0">
                  <a:pos x="connsiteX4547" y="connsiteY4547"/>
                </a:cxn>
                <a:cxn ang="0">
                  <a:pos x="connsiteX4548" y="connsiteY4548"/>
                </a:cxn>
                <a:cxn ang="0">
                  <a:pos x="connsiteX4549" y="connsiteY4549"/>
                </a:cxn>
                <a:cxn ang="0">
                  <a:pos x="connsiteX4550" y="connsiteY4550"/>
                </a:cxn>
                <a:cxn ang="0">
                  <a:pos x="connsiteX4551" y="connsiteY4551"/>
                </a:cxn>
                <a:cxn ang="0">
                  <a:pos x="connsiteX4552" y="connsiteY4552"/>
                </a:cxn>
                <a:cxn ang="0">
                  <a:pos x="connsiteX4553" y="connsiteY4553"/>
                </a:cxn>
                <a:cxn ang="0">
                  <a:pos x="connsiteX4554" y="connsiteY4554"/>
                </a:cxn>
                <a:cxn ang="0">
                  <a:pos x="connsiteX4555" y="connsiteY4555"/>
                </a:cxn>
                <a:cxn ang="0">
                  <a:pos x="connsiteX4556" y="connsiteY4556"/>
                </a:cxn>
                <a:cxn ang="0">
                  <a:pos x="connsiteX4557" y="connsiteY4557"/>
                </a:cxn>
                <a:cxn ang="0">
                  <a:pos x="connsiteX4558" y="connsiteY4558"/>
                </a:cxn>
                <a:cxn ang="0">
                  <a:pos x="connsiteX4559" y="connsiteY4559"/>
                </a:cxn>
                <a:cxn ang="0">
                  <a:pos x="connsiteX4560" y="connsiteY4560"/>
                </a:cxn>
                <a:cxn ang="0">
                  <a:pos x="connsiteX4561" y="connsiteY4561"/>
                </a:cxn>
                <a:cxn ang="0">
                  <a:pos x="connsiteX4562" y="connsiteY4562"/>
                </a:cxn>
                <a:cxn ang="0">
                  <a:pos x="connsiteX4563" y="connsiteY4563"/>
                </a:cxn>
                <a:cxn ang="0">
                  <a:pos x="connsiteX4564" y="connsiteY4564"/>
                </a:cxn>
                <a:cxn ang="0">
                  <a:pos x="connsiteX4565" y="connsiteY4565"/>
                </a:cxn>
                <a:cxn ang="0">
                  <a:pos x="connsiteX4566" y="connsiteY4566"/>
                </a:cxn>
                <a:cxn ang="0">
                  <a:pos x="connsiteX4567" y="connsiteY4567"/>
                </a:cxn>
                <a:cxn ang="0">
                  <a:pos x="connsiteX4568" y="connsiteY4568"/>
                </a:cxn>
                <a:cxn ang="0">
                  <a:pos x="connsiteX4569" y="connsiteY4569"/>
                </a:cxn>
                <a:cxn ang="0">
                  <a:pos x="connsiteX4570" y="connsiteY4570"/>
                </a:cxn>
                <a:cxn ang="0">
                  <a:pos x="connsiteX4571" y="connsiteY4571"/>
                </a:cxn>
                <a:cxn ang="0">
                  <a:pos x="connsiteX4572" y="connsiteY4572"/>
                </a:cxn>
                <a:cxn ang="0">
                  <a:pos x="connsiteX4573" y="connsiteY4573"/>
                </a:cxn>
                <a:cxn ang="0">
                  <a:pos x="connsiteX4574" y="connsiteY4574"/>
                </a:cxn>
                <a:cxn ang="0">
                  <a:pos x="connsiteX4575" y="connsiteY4575"/>
                </a:cxn>
                <a:cxn ang="0">
                  <a:pos x="connsiteX4576" y="connsiteY4576"/>
                </a:cxn>
                <a:cxn ang="0">
                  <a:pos x="connsiteX4577" y="connsiteY4577"/>
                </a:cxn>
                <a:cxn ang="0">
                  <a:pos x="connsiteX4578" y="connsiteY4578"/>
                </a:cxn>
                <a:cxn ang="0">
                  <a:pos x="connsiteX4579" y="connsiteY4579"/>
                </a:cxn>
                <a:cxn ang="0">
                  <a:pos x="connsiteX4580" y="connsiteY4580"/>
                </a:cxn>
                <a:cxn ang="0">
                  <a:pos x="connsiteX4581" y="connsiteY4581"/>
                </a:cxn>
                <a:cxn ang="0">
                  <a:pos x="connsiteX4582" y="connsiteY4582"/>
                </a:cxn>
                <a:cxn ang="0">
                  <a:pos x="connsiteX4583" y="connsiteY4583"/>
                </a:cxn>
                <a:cxn ang="0">
                  <a:pos x="connsiteX4584" y="connsiteY4584"/>
                </a:cxn>
                <a:cxn ang="0">
                  <a:pos x="connsiteX4585" y="connsiteY4585"/>
                </a:cxn>
                <a:cxn ang="0">
                  <a:pos x="connsiteX4586" y="connsiteY4586"/>
                </a:cxn>
                <a:cxn ang="0">
                  <a:pos x="connsiteX4587" y="connsiteY4587"/>
                </a:cxn>
                <a:cxn ang="0">
                  <a:pos x="connsiteX4588" y="connsiteY4588"/>
                </a:cxn>
                <a:cxn ang="0">
                  <a:pos x="connsiteX4589" y="connsiteY4589"/>
                </a:cxn>
                <a:cxn ang="0">
                  <a:pos x="connsiteX4590" y="connsiteY4590"/>
                </a:cxn>
                <a:cxn ang="0">
                  <a:pos x="connsiteX4591" y="connsiteY4591"/>
                </a:cxn>
                <a:cxn ang="0">
                  <a:pos x="connsiteX4592" y="connsiteY4592"/>
                </a:cxn>
                <a:cxn ang="0">
                  <a:pos x="connsiteX4593" y="connsiteY4593"/>
                </a:cxn>
                <a:cxn ang="0">
                  <a:pos x="connsiteX4594" y="connsiteY4594"/>
                </a:cxn>
                <a:cxn ang="0">
                  <a:pos x="connsiteX4595" y="connsiteY4595"/>
                </a:cxn>
                <a:cxn ang="0">
                  <a:pos x="connsiteX4596" y="connsiteY4596"/>
                </a:cxn>
                <a:cxn ang="0">
                  <a:pos x="connsiteX4597" y="connsiteY4597"/>
                </a:cxn>
                <a:cxn ang="0">
                  <a:pos x="connsiteX4598" y="connsiteY4598"/>
                </a:cxn>
                <a:cxn ang="0">
                  <a:pos x="connsiteX4599" y="connsiteY4599"/>
                </a:cxn>
                <a:cxn ang="0">
                  <a:pos x="connsiteX4600" y="connsiteY4600"/>
                </a:cxn>
                <a:cxn ang="0">
                  <a:pos x="connsiteX4601" y="connsiteY4601"/>
                </a:cxn>
                <a:cxn ang="0">
                  <a:pos x="connsiteX4602" y="connsiteY4602"/>
                </a:cxn>
                <a:cxn ang="0">
                  <a:pos x="connsiteX4603" y="connsiteY4603"/>
                </a:cxn>
                <a:cxn ang="0">
                  <a:pos x="connsiteX4604" y="connsiteY4604"/>
                </a:cxn>
                <a:cxn ang="0">
                  <a:pos x="connsiteX4605" y="connsiteY4605"/>
                </a:cxn>
                <a:cxn ang="0">
                  <a:pos x="connsiteX4606" y="connsiteY4606"/>
                </a:cxn>
                <a:cxn ang="0">
                  <a:pos x="connsiteX4607" y="connsiteY4607"/>
                </a:cxn>
                <a:cxn ang="0">
                  <a:pos x="connsiteX4608" y="connsiteY4608"/>
                </a:cxn>
                <a:cxn ang="0">
                  <a:pos x="connsiteX4609" y="connsiteY4609"/>
                </a:cxn>
                <a:cxn ang="0">
                  <a:pos x="connsiteX4610" y="connsiteY4610"/>
                </a:cxn>
                <a:cxn ang="0">
                  <a:pos x="connsiteX4611" y="connsiteY4611"/>
                </a:cxn>
                <a:cxn ang="0">
                  <a:pos x="connsiteX4612" y="connsiteY4612"/>
                </a:cxn>
                <a:cxn ang="0">
                  <a:pos x="connsiteX4613" y="connsiteY4613"/>
                </a:cxn>
                <a:cxn ang="0">
                  <a:pos x="connsiteX4614" y="connsiteY4614"/>
                </a:cxn>
                <a:cxn ang="0">
                  <a:pos x="connsiteX4615" y="connsiteY4615"/>
                </a:cxn>
                <a:cxn ang="0">
                  <a:pos x="connsiteX4616" y="connsiteY4616"/>
                </a:cxn>
                <a:cxn ang="0">
                  <a:pos x="connsiteX4617" y="connsiteY4617"/>
                </a:cxn>
                <a:cxn ang="0">
                  <a:pos x="connsiteX4618" y="connsiteY4618"/>
                </a:cxn>
                <a:cxn ang="0">
                  <a:pos x="connsiteX4619" y="connsiteY4619"/>
                </a:cxn>
                <a:cxn ang="0">
                  <a:pos x="connsiteX4620" y="connsiteY4620"/>
                </a:cxn>
                <a:cxn ang="0">
                  <a:pos x="connsiteX4621" y="connsiteY4621"/>
                </a:cxn>
                <a:cxn ang="0">
                  <a:pos x="connsiteX4622" y="connsiteY4622"/>
                </a:cxn>
                <a:cxn ang="0">
                  <a:pos x="connsiteX4623" y="connsiteY4623"/>
                </a:cxn>
                <a:cxn ang="0">
                  <a:pos x="connsiteX4624" y="connsiteY4624"/>
                </a:cxn>
                <a:cxn ang="0">
                  <a:pos x="connsiteX4625" y="connsiteY4625"/>
                </a:cxn>
                <a:cxn ang="0">
                  <a:pos x="connsiteX4626" y="connsiteY4626"/>
                </a:cxn>
                <a:cxn ang="0">
                  <a:pos x="connsiteX4627" y="connsiteY4627"/>
                </a:cxn>
                <a:cxn ang="0">
                  <a:pos x="connsiteX4628" y="connsiteY4628"/>
                </a:cxn>
                <a:cxn ang="0">
                  <a:pos x="connsiteX4629" y="connsiteY4629"/>
                </a:cxn>
                <a:cxn ang="0">
                  <a:pos x="connsiteX4630" y="connsiteY4630"/>
                </a:cxn>
                <a:cxn ang="0">
                  <a:pos x="connsiteX4631" y="connsiteY4631"/>
                </a:cxn>
                <a:cxn ang="0">
                  <a:pos x="connsiteX4632" y="connsiteY4632"/>
                </a:cxn>
                <a:cxn ang="0">
                  <a:pos x="connsiteX4633" y="connsiteY4633"/>
                </a:cxn>
                <a:cxn ang="0">
                  <a:pos x="connsiteX4634" y="connsiteY4634"/>
                </a:cxn>
                <a:cxn ang="0">
                  <a:pos x="connsiteX4635" y="connsiteY4635"/>
                </a:cxn>
                <a:cxn ang="0">
                  <a:pos x="connsiteX4636" y="connsiteY4636"/>
                </a:cxn>
                <a:cxn ang="0">
                  <a:pos x="connsiteX4637" y="connsiteY4637"/>
                </a:cxn>
                <a:cxn ang="0">
                  <a:pos x="connsiteX4638" y="connsiteY4638"/>
                </a:cxn>
                <a:cxn ang="0">
                  <a:pos x="connsiteX4639" y="connsiteY4639"/>
                </a:cxn>
                <a:cxn ang="0">
                  <a:pos x="connsiteX4640" y="connsiteY4640"/>
                </a:cxn>
                <a:cxn ang="0">
                  <a:pos x="connsiteX4641" y="connsiteY4641"/>
                </a:cxn>
                <a:cxn ang="0">
                  <a:pos x="connsiteX4642" y="connsiteY4642"/>
                </a:cxn>
                <a:cxn ang="0">
                  <a:pos x="connsiteX4643" y="connsiteY4643"/>
                </a:cxn>
                <a:cxn ang="0">
                  <a:pos x="connsiteX4644" y="connsiteY4644"/>
                </a:cxn>
                <a:cxn ang="0">
                  <a:pos x="connsiteX4645" y="connsiteY4645"/>
                </a:cxn>
                <a:cxn ang="0">
                  <a:pos x="connsiteX4646" y="connsiteY4646"/>
                </a:cxn>
                <a:cxn ang="0">
                  <a:pos x="connsiteX4647" y="connsiteY4647"/>
                </a:cxn>
                <a:cxn ang="0">
                  <a:pos x="connsiteX4648" y="connsiteY4648"/>
                </a:cxn>
                <a:cxn ang="0">
                  <a:pos x="connsiteX4649" y="connsiteY4649"/>
                </a:cxn>
                <a:cxn ang="0">
                  <a:pos x="connsiteX4650" y="connsiteY4650"/>
                </a:cxn>
                <a:cxn ang="0">
                  <a:pos x="connsiteX4651" y="connsiteY4651"/>
                </a:cxn>
                <a:cxn ang="0">
                  <a:pos x="connsiteX4652" y="connsiteY4652"/>
                </a:cxn>
                <a:cxn ang="0">
                  <a:pos x="connsiteX4653" y="connsiteY4653"/>
                </a:cxn>
                <a:cxn ang="0">
                  <a:pos x="connsiteX4654" y="connsiteY4654"/>
                </a:cxn>
                <a:cxn ang="0">
                  <a:pos x="connsiteX4655" y="connsiteY4655"/>
                </a:cxn>
                <a:cxn ang="0">
                  <a:pos x="connsiteX4656" y="connsiteY4656"/>
                </a:cxn>
                <a:cxn ang="0">
                  <a:pos x="connsiteX4657" y="connsiteY4657"/>
                </a:cxn>
                <a:cxn ang="0">
                  <a:pos x="connsiteX4658" y="connsiteY4658"/>
                </a:cxn>
                <a:cxn ang="0">
                  <a:pos x="connsiteX4659" y="connsiteY4659"/>
                </a:cxn>
                <a:cxn ang="0">
                  <a:pos x="connsiteX4660" y="connsiteY4660"/>
                </a:cxn>
                <a:cxn ang="0">
                  <a:pos x="connsiteX4661" y="connsiteY4661"/>
                </a:cxn>
                <a:cxn ang="0">
                  <a:pos x="connsiteX4662" y="connsiteY4662"/>
                </a:cxn>
                <a:cxn ang="0">
                  <a:pos x="connsiteX4663" y="connsiteY4663"/>
                </a:cxn>
                <a:cxn ang="0">
                  <a:pos x="connsiteX4664" y="connsiteY4664"/>
                </a:cxn>
                <a:cxn ang="0">
                  <a:pos x="connsiteX4665" y="connsiteY4665"/>
                </a:cxn>
                <a:cxn ang="0">
                  <a:pos x="connsiteX4666" y="connsiteY4666"/>
                </a:cxn>
                <a:cxn ang="0">
                  <a:pos x="connsiteX4667" y="connsiteY4667"/>
                </a:cxn>
                <a:cxn ang="0">
                  <a:pos x="connsiteX4668" y="connsiteY4668"/>
                </a:cxn>
                <a:cxn ang="0">
                  <a:pos x="connsiteX4669" y="connsiteY4669"/>
                </a:cxn>
                <a:cxn ang="0">
                  <a:pos x="connsiteX4670" y="connsiteY4670"/>
                </a:cxn>
                <a:cxn ang="0">
                  <a:pos x="connsiteX4671" y="connsiteY4671"/>
                </a:cxn>
                <a:cxn ang="0">
                  <a:pos x="connsiteX4672" y="connsiteY4672"/>
                </a:cxn>
                <a:cxn ang="0">
                  <a:pos x="connsiteX4673" y="connsiteY4673"/>
                </a:cxn>
                <a:cxn ang="0">
                  <a:pos x="connsiteX4674" y="connsiteY4674"/>
                </a:cxn>
                <a:cxn ang="0">
                  <a:pos x="connsiteX4675" y="connsiteY4675"/>
                </a:cxn>
                <a:cxn ang="0">
                  <a:pos x="connsiteX4676" y="connsiteY4676"/>
                </a:cxn>
                <a:cxn ang="0">
                  <a:pos x="connsiteX4677" y="connsiteY4677"/>
                </a:cxn>
                <a:cxn ang="0">
                  <a:pos x="connsiteX4678" y="connsiteY4678"/>
                </a:cxn>
                <a:cxn ang="0">
                  <a:pos x="connsiteX4679" y="connsiteY4679"/>
                </a:cxn>
                <a:cxn ang="0">
                  <a:pos x="connsiteX4680" y="connsiteY4680"/>
                </a:cxn>
                <a:cxn ang="0">
                  <a:pos x="connsiteX4681" y="connsiteY4681"/>
                </a:cxn>
                <a:cxn ang="0">
                  <a:pos x="connsiteX4682" y="connsiteY4682"/>
                </a:cxn>
                <a:cxn ang="0">
                  <a:pos x="connsiteX4683" y="connsiteY4683"/>
                </a:cxn>
                <a:cxn ang="0">
                  <a:pos x="connsiteX4684" y="connsiteY4684"/>
                </a:cxn>
                <a:cxn ang="0">
                  <a:pos x="connsiteX4685" y="connsiteY4685"/>
                </a:cxn>
                <a:cxn ang="0">
                  <a:pos x="connsiteX4686" y="connsiteY4686"/>
                </a:cxn>
                <a:cxn ang="0">
                  <a:pos x="connsiteX4687" y="connsiteY4687"/>
                </a:cxn>
                <a:cxn ang="0">
                  <a:pos x="connsiteX4688" y="connsiteY4688"/>
                </a:cxn>
                <a:cxn ang="0">
                  <a:pos x="connsiteX4689" y="connsiteY4689"/>
                </a:cxn>
                <a:cxn ang="0">
                  <a:pos x="connsiteX4690" y="connsiteY4690"/>
                </a:cxn>
                <a:cxn ang="0">
                  <a:pos x="connsiteX4691" y="connsiteY4691"/>
                </a:cxn>
                <a:cxn ang="0">
                  <a:pos x="connsiteX4692" y="connsiteY4692"/>
                </a:cxn>
                <a:cxn ang="0">
                  <a:pos x="connsiteX4693" y="connsiteY4693"/>
                </a:cxn>
                <a:cxn ang="0">
                  <a:pos x="connsiteX4694" y="connsiteY4694"/>
                </a:cxn>
                <a:cxn ang="0">
                  <a:pos x="connsiteX4695" y="connsiteY4695"/>
                </a:cxn>
                <a:cxn ang="0">
                  <a:pos x="connsiteX4696" y="connsiteY4696"/>
                </a:cxn>
                <a:cxn ang="0">
                  <a:pos x="connsiteX4697" y="connsiteY4697"/>
                </a:cxn>
                <a:cxn ang="0">
                  <a:pos x="connsiteX4698" y="connsiteY4698"/>
                </a:cxn>
                <a:cxn ang="0">
                  <a:pos x="connsiteX4699" y="connsiteY4699"/>
                </a:cxn>
                <a:cxn ang="0">
                  <a:pos x="connsiteX4700" y="connsiteY4700"/>
                </a:cxn>
                <a:cxn ang="0">
                  <a:pos x="connsiteX4701" y="connsiteY4701"/>
                </a:cxn>
                <a:cxn ang="0">
                  <a:pos x="connsiteX4702" y="connsiteY4702"/>
                </a:cxn>
                <a:cxn ang="0">
                  <a:pos x="connsiteX4703" y="connsiteY4703"/>
                </a:cxn>
                <a:cxn ang="0">
                  <a:pos x="connsiteX4704" y="connsiteY4704"/>
                </a:cxn>
                <a:cxn ang="0">
                  <a:pos x="connsiteX4705" y="connsiteY4705"/>
                </a:cxn>
                <a:cxn ang="0">
                  <a:pos x="connsiteX4706" y="connsiteY4706"/>
                </a:cxn>
                <a:cxn ang="0">
                  <a:pos x="connsiteX4707" y="connsiteY4707"/>
                </a:cxn>
                <a:cxn ang="0">
                  <a:pos x="connsiteX4708" y="connsiteY4708"/>
                </a:cxn>
                <a:cxn ang="0">
                  <a:pos x="connsiteX4709" y="connsiteY4709"/>
                </a:cxn>
                <a:cxn ang="0">
                  <a:pos x="connsiteX4710" y="connsiteY4710"/>
                </a:cxn>
                <a:cxn ang="0">
                  <a:pos x="connsiteX4711" y="connsiteY4711"/>
                </a:cxn>
                <a:cxn ang="0">
                  <a:pos x="connsiteX4712" y="connsiteY4712"/>
                </a:cxn>
                <a:cxn ang="0">
                  <a:pos x="connsiteX4713" y="connsiteY4713"/>
                </a:cxn>
                <a:cxn ang="0">
                  <a:pos x="connsiteX4714" y="connsiteY4714"/>
                </a:cxn>
                <a:cxn ang="0">
                  <a:pos x="connsiteX4715" y="connsiteY4715"/>
                </a:cxn>
                <a:cxn ang="0">
                  <a:pos x="connsiteX4716" y="connsiteY4716"/>
                </a:cxn>
                <a:cxn ang="0">
                  <a:pos x="connsiteX4717" y="connsiteY4717"/>
                </a:cxn>
                <a:cxn ang="0">
                  <a:pos x="connsiteX4718" y="connsiteY4718"/>
                </a:cxn>
                <a:cxn ang="0">
                  <a:pos x="connsiteX4719" y="connsiteY4719"/>
                </a:cxn>
                <a:cxn ang="0">
                  <a:pos x="connsiteX4720" y="connsiteY4720"/>
                </a:cxn>
                <a:cxn ang="0">
                  <a:pos x="connsiteX4721" y="connsiteY4721"/>
                </a:cxn>
                <a:cxn ang="0">
                  <a:pos x="connsiteX4722" y="connsiteY4722"/>
                </a:cxn>
                <a:cxn ang="0">
                  <a:pos x="connsiteX4723" y="connsiteY4723"/>
                </a:cxn>
                <a:cxn ang="0">
                  <a:pos x="connsiteX4724" y="connsiteY4724"/>
                </a:cxn>
                <a:cxn ang="0">
                  <a:pos x="connsiteX4725" y="connsiteY4725"/>
                </a:cxn>
                <a:cxn ang="0">
                  <a:pos x="connsiteX4726" y="connsiteY4726"/>
                </a:cxn>
                <a:cxn ang="0">
                  <a:pos x="connsiteX4727" y="connsiteY4727"/>
                </a:cxn>
                <a:cxn ang="0">
                  <a:pos x="connsiteX4728" y="connsiteY4728"/>
                </a:cxn>
                <a:cxn ang="0">
                  <a:pos x="connsiteX4729" y="connsiteY4729"/>
                </a:cxn>
                <a:cxn ang="0">
                  <a:pos x="connsiteX4730" y="connsiteY4730"/>
                </a:cxn>
                <a:cxn ang="0">
                  <a:pos x="connsiteX4731" y="connsiteY4731"/>
                </a:cxn>
                <a:cxn ang="0">
                  <a:pos x="connsiteX4732" y="connsiteY4732"/>
                </a:cxn>
                <a:cxn ang="0">
                  <a:pos x="connsiteX4733" y="connsiteY4733"/>
                </a:cxn>
                <a:cxn ang="0">
                  <a:pos x="connsiteX4734" y="connsiteY4734"/>
                </a:cxn>
                <a:cxn ang="0">
                  <a:pos x="connsiteX4735" y="connsiteY4735"/>
                </a:cxn>
                <a:cxn ang="0">
                  <a:pos x="connsiteX4736" y="connsiteY4736"/>
                </a:cxn>
                <a:cxn ang="0">
                  <a:pos x="connsiteX4737" y="connsiteY4737"/>
                </a:cxn>
                <a:cxn ang="0">
                  <a:pos x="connsiteX4738" y="connsiteY4738"/>
                </a:cxn>
                <a:cxn ang="0">
                  <a:pos x="connsiteX4739" y="connsiteY4739"/>
                </a:cxn>
                <a:cxn ang="0">
                  <a:pos x="connsiteX4740" y="connsiteY4740"/>
                </a:cxn>
                <a:cxn ang="0">
                  <a:pos x="connsiteX4741" y="connsiteY4741"/>
                </a:cxn>
                <a:cxn ang="0">
                  <a:pos x="connsiteX4742" y="connsiteY4742"/>
                </a:cxn>
                <a:cxn ang="0">
                  <a:pos x="connsiteX4743" y="connsiteY4743"/>
                </a:cxn>
                <a:cxn ang="0">
                  <a:pos x="connsiteX4744" y="connsiteY4744"/>
                </a:cxn>
                <a:cxn ang="0">
                  <a:pos x="connsiteX4745" y="connsiteY4745"/>
                </a:cxn>
                <a:cxn ang="0">
                  <a:pos x="connsiteX4746" y="connsiteY4746"/>
                </a:cxn>
                <a:cxn ang="0">
                  <a:pos x="connsiteX4747" y="connsiteY4747"/>
                </a:cxn>
                <a:cxn ang="0">
                  <a:pos x="connsiteX4748" y="connsiteY4748"/>
                </a:cxn>
                <a:cxn ang="0">
                  <a:pos x="connsiteX4749" y="connsiteY4749"/>
                </a:cxn>
                <a:cxn ang="0">
                  <a:pos x="connsiteX4750" y="connsiteY4750"/>
                </a:cxn>
                <a:cxn ang="0">
                  <a:pos x="connsiteX4751" y="connsiteY4751"/>
                </a:cxn>
                <a:cxn ang="0">
                  <a:pos x="connsiteX4752" y="connsiteY4752"/>
                </a:cxn>
                <a:cxn ang="0">
                  <a:pos x="connsiteX4753" y="connsiteY4753"/>
                </a:cxn>
                <a:cxn ang="0">
                  <a:pos x="connsiteX4754" y="connsiteY4754"/>
                </a:cxn>
                <a:cxn ang="0">
                  <a:pos x="connsiteX4755" y="connsiteY4755"/>
                </a:cxn>
                <a:cxn ang="0">
                  <a:pos x="connsiteX4756" y="connsiteY4756"/>
                </a:cxn>
                <a:cxn ang="0">
                  <a:pos x="connsiteX4757" y="connsiteY4757"/>
                </a:cxn>
                <a:cxn ang="0">
                  <a:pos x="connsiteX4758" y="connsiteY4758"/>
                </a:cxn>
                <a:cxn ang="0">
                  <a:pos x="connsiteX4759" y="connsiteY4759"/>
                </a:cxn>
                <a:cxn ang="0">
                  <a:pos x="connsiteX4760" y="connsiteY4760"/>
                </a:cxn>
                <a:cxn ang="0">
                  <a:pos x="connsiteX4761" y="connsiteY4761"/>
                </a:cxn>
                <a:cxn ang="0">
                  <a:pos x="connsiteX4762" y="connsiteY4762"/>
                </a:cxn>
                <a:cxn ang="0">
                  <a:pos x="connsiteX4763" y="connsiteY4763"/>
                </a:cxn>
                <a:cxn ang="0">
                  <a:pos x="connsiteX4764" y="connsiteY4764"/>
                </a:cxn>
                <a:cxn ang="0">
                  <a:pos x="connsiteX4765" y="connsiteY4765"/>
                </a:cxn>
                <a:cxn ang="0">
                  <a:pos x="connsiteX4766" y="connsiteY4766"/>
                </a:cxn>
                <a:cxn ang="0">
                  <a:pos x="connsiteX4767" y="connsiteY4767"/>
                </a:cxn>
                <a:cxn ang="0">
                  <a:pos x="connsiteX4768" y="connsiteY4768"/>
                </a:cxn>
                <a:cxn ang="0">
                  <a:pos x="connsiteX4769" y="connsiteY4769"/>
                </a:cxn>
                <a:cxn ang="0">
                  <a:pos x="connsiteX4770" y="connsiteY4770"/>
                </a:cxn>
                <a:cxn ang="0">
                  <a:pos x="connsiteX4771" y="connsiteY4771"/>
                </a:cxn>
                <a:cxn ang="0">
                  <a:pos x="connsiteX4772" y="connsiteY4772"/>
                </a:cxn>
                <a:cxn ang="0">
                  <a:pos x="connsiteX4773" y="connsiteY4773"/>
                </a:cxn>
                <a:cxn ang="0">
                  <a:pos x="connsiteX4774" y="connsiteY4774"/>
                </a:cxn>
                <a:cxn ang="0">
                  <a:pos x="connsiteX4775" y="connsiteY4775"/>
                </a:cxn>
                <a:cxn ang="0">
                  <a:pos x="connsiteX4776" y="connsiteY4776"/>
                </a:cxn>
                <a:cxn ang="0">
                  <a:pos x="connsiteX4777" y="connsiteY4777"/>
                </a:cxn>
                <a:cxn ang="0">
                  <a:pos x="connsiteX4778" y="connsiteY4778"/>
                </a:cxn>
                <a:cxn ang="0">
                  <a:pos x="connsiteX4779" y="connsiteY4779"/>
                </a:cxn>
                <a:cxn ang="0">
                  <a:pos x="connsiteX4780" y="connsiteY4780"/>
                </a:cxn>
                <a:cxn ang="0">
                  <a:pos x="connsiteX4781" y="connsiteY4781"/>
                </a:cxn>
                <a:cxn ang="0">
                  <a:pos x="connsiteX4782" y="connsiteY4782"/>
                </a:cxn>
                <a:cxn ang="0">
                  <a:pos x="connsiteX4783" y="connsiteY4783"/>
                </a:cxn>
                <a:cxn ang="0">
                  <a:pos x="connsiteX4784" y="connsiteY4784"/>
                </a:cxn>
                <a:cxn ang="0">
                  <a:pos x="connsiteX4785" y="connsiteY4785"/>
                </a:cxn>
                <a:cxn ang="0">
                  <a:pos x="connsiteX4786" y="connsiteY4786"/>
                </a:cxn>
                <a:cxn ang="0">
                  <a:pos x="connsiteX4787" y="connsiteY4787"/>
                </a:cxn>
                <a:cxn ang="0">
                  <a:pos x="connsiteX4788" y="connsiteY4788"/>
                </a:cxn>
                <a:cxn ang="0">
                  <a:pos x="connsiteX4789" y="connsiteY4789"/>
                </a:cxn>
                <a:cxn ang="0">
                  <a:pos x="connsiteX4790" y="connsiteY4790"/>
                </a:cxn>
                <a:cxn ang="0">
                  <a:pos x="connsiteX4791" y="connsiteY4791"/>
                </a:cxn>
                <a:cxn ang="0">
                  <a:pos x="connsiteX4792" y="connsiteY4792"/>
                </a:cxn>
                <a:cxn ang="0">
                  <a:pos x="connsiteX4793" y="connsiteY4793"/>
                </a:cxn>
                <a:cxn ang="0">
                  <a:pos x="connsiteX4794" y="connsiteY4794"/>
                </a:cxn>
                <a:cxn ang="0">
                  <a:pos x="connsiteX4795" y="connsiteY4795"/>
                </a:cxn>
                <a:cxn ang="0">
                  <a:pos x="connsiteX4796" y="connsiteY4796"/>
                </a:cxn>
                <a:cxn ang="0">
                  <a:pos x="connsiteX4797" y="connsiteY4797"/>
                </a:cxn>
                <a:cxn ang="0">
                  <a:pos x="connsiteX4798" y="connsiteY4798"/>
                </a:cxn>
                <a:cxn ang="0">
                  <a:pos x="connsiteX4799" y="connsiteY4799"/>
                </a:cxn>
                <a:cxn ang="0">
                  <a:pos x="connsiteX4800" y="connsiteY4800"/>
                </a:cxn>
                <a:cxn ang="0">
                  <a:pos x="connsiteX4801" y="connsiteY4801"/>
                </a:cxn>
                <a:cxn ang="0">
                  <a:pos x="connsiteX4802" y="connsiteY4802"/>
                </a:cxn>
                <a:cxn ang="0">
                  <a:pos x="connsiteX4803" y="connsiteY4803"/>
                </a:cxn>
                <a:cxn ang="0">
                  <a:pos x="connsiteX4804" y="connsiteY4804"/>
                </a:cxn>
                <a:cxn ang="0">
                  <a:pos x="connsiteX4805" y="connsiteY4805"/>
                </a:cxn>
                <a:cxn ang="0">
                  <a:pos x="connsiteX4806" y="connsiteY4806"/>
                </a:cxn>
                <a:cxn ang="0">
                  <a:pos x="connsiteX4807" y="connsiteY4807"/>
                </a:cxn>
                <a:cxn ang="0">
                  <a:pos x="connsiteX4808" y="connsiteY4808"/>
                </a:cxn>
                <a:cxn ang="0">
                  <a:pos x="connsiteX4809" y="connsiteY4809"/>
                </a:cxn>
                <a:cxn ang="0">
                  <a:pos x="connsiteX4810" y="connsiteY4810"/>
                </a:cxn>
                <a:cxn ang="0">
                  <a:pos x="connsiteX4811" y="connsiteY4811"/>
                </a:cxn>
                <a:cxn ang="0">
                  <a:pos x="connsiteX4812" y="connsiteY4812"/>
                </a:cxn>
                <a:cxn ang="0">
                  <a:pos x="connsiteX4813" y="connsiteY4813"/>
                </a:cxn>
                <a:cxn ang="0">
                  <a:pos x="connsiteX4814" y="connsiteY4814"/>
                </a:cxn>
                <a:cxn ang="0">
                  <a:pos x="connsiteX4815" y="connsiteY4815"/>
                </a:cxn>
                <a:cxn ang="0">
                  <a:pos x="connsiteX4816" y="connsiteY4816"/>
                </a:cxn>
                <a:cxn ang="0">
                  <a:pos x="connsiteX4817" y="connsiteY4817"/>
                </a:cxn>
                <a:cxn ang="0">
                  <a:pos x="connsiteX4818" y="connsiteY4818"/>
                </a:cxn>
                <a:cxn ang="0">
                  <a:pos x="connsiteX4819" y="connsiteY4819"/>
                </a:cxn>
                <a:cxn ang="0">
                  <a:pos x="connsiteX4820" y="connsiteY4820"/>
                </a:cxn>
                <a:cxn ang="0">
                  <a:pos x="connsiteX4821" y="connsiteY4821"/>
                </a:cxn>
                <a:cxn ang="0">
                  <a:pos x="connsiteX4822" y="connsiteY4822"/>
                </a:cxn>
                <a:cxn ang="0">
                  <a:pos x="connsiteX4823" y="connsiteY4823"/>
                </a:cxn>
                <a:cxn ang="0">
                  <a:pos x="connsiteX4824" y="connsiteY4824"/>
                </a:cxn>
                <a:cxn ang="0">
                  <a:pos x="connsiteX4825" y="connsiteY4825"/>
                </a:cxn>
                <a:cxn ang="0">
                  <a:pos x="connsiteX4826" y="connsiteY4826"/>
                </a:cxn>
                <a:cxn ang="0">
                  <a:pos x="connsiteX4827" y="connsiteY4827"/>
                </a:cxn>
                <a:cxn ang="0">
                  <a:pos x="connsiteX4828" y="connsiteY4828"/>
                </a:cxn>
                <a:cxn ang="0">
                  <a:pos x="connsiteX4829" y="connsiteY4829"/>
                </a:cxn>
                <a:cxn ang="0">
                  <a:pos x="connsiteX4830" y="connsiteY4830"/>
                </a:cxn>
                <a:cxn ang="0">
                  <a:pos x="connsiteX4831" y="connsiteY4831"/>
                </a:cxn>
                <a:cxn ang="0">
                  <a:pos x="connsiteX4832" y="connsiteY4832"/>
                </a:cxn>
                <a:cxn ang="0">
                  <a:pos x="connsiteX4833" y="connsiteY4833"/>
                </a:cxn>
                <a:cxn ang="0">
                  <a:pos x="connsiteX4834" y="connsiteY4834"/>
                </a:cxn>
                <a:cxn ang="0">
                  <a:pos x="connsiteX4835" y="connsiteY4835"/>
                </a:cxn>
                <a:cxn ang="0">
                  <a:pos x="connsiteX4836" y="connsiteY4836"/>
                </a:cxn>
                <a:cxn ang="0">
                  <a:pos x="connsiteX4837" y="connsiteY4837"/>
                </a:cxn>
                <a:cxn ang="0">
                  <a:pos x="connsiteX4838" y="connsiteY4838"/>
                </a:cxn>
                <a:cxn ang="0">
                  <a:pos x="connsiteX4839" y="connsiteY4839"/>
                </a:cxn>
                <a:cxn ang="0">
                  <a:pos x="connsiteX4840" y="connsiteY4840"/>
                </a:cxn>
                <a:cxn ang="0">
                  <a:pos x="connsiteX4841" y="connsiteY4841"/>
                </a:cxn>
                <a:cxn ang="0">
                  <a:pos x="connsiteX4842" y="connsiteY4842"/>
                </a:cxn>
                <a:cxn ang="0">
                  <a:pos x="connsiteX4843" y="connsiteY4843"/>
                </a:cxn>
                <a:cxn ang="0">
                  <a:pos x="connsiteX4844" y="connsiteY4844"/>
                </a:cxn>
                <a:cxn ang="0">
                  <a:pos x="connsiteX4845" y="connsiteY4845"/>
                </a:cxn>
                <a:cxn ang="0">
                  <a:pos x="connsiteX4846" y="connsiteY4846"/>
                </a:cxn>
                <a:cxn ang="0">
                  <a:pos x="connsiteX4847" y="connsiteY4847"/>
                </a:cxn>
                <a:cxn ang="0">
                  <a:pos x="connsiteX4848" y="connsiteY4848"/>
                </a:cxn>
                <a:cxn ang="0">
                  <a:pos x="connsiteX4849" y="connsiteY4849"/>
                </a:cxn>
                <a:cxn ang="0">
                  <a:pos x="connsiteX4850" y="connsiteY4850"/>
                </a:cxn>
                <a:cxn ang="0">
                  <a:pos x="connsiteX4851" y="connsiteY4851"/>
                </a:cxn>
                <a:cxn ang="0">
                  <a:pos x="connsiteX4852" y="connsiteY4852"/>
                </a:cxn>
                <a:cxn ang="0">
                  <a:pos x="connsiteX4853" y="connsiteY4853"/>
                </a:cxn>
                <a:cxn ang="0">
                  <a:pos x="connsiteX4854" y="connsiteY4854"/>
                </a:cxn>
                <a:cxn ang="0">
                  <a:pos x="connsiteX4855" y="connsiteY4855"/>
                </a:cxn>
                <a:cxn ang="0">
                  <a:pos x="connsiteX4856" y="connsiteY4856"/>
                </a:cxn>
                <a:cxn ang="0">
                  <a:pos x="connsiteX4857" y="connsiteY4857"/>
                </a:cxn>
                <a:cxn ang="0">
                  <a:pos x="connsiteX4858" y="connsiteY4858"/>
                </a:cxn>
                <a:cxn ang="0">
                  <a:pos x="connsiteX4859" y="connsiteY4859"/>
                </a:cxn>
                <a:cxn ang="0">
                  <a:pos x="connsiteX4860" y="connsiteY4860"/>
                </a:cxn>
                <a:cxn ang="0">
                  <a:pos x="connsiteX4861" y="connsiteY4861"/>
                </a:cxn>
                <a:cxn ang="0">
                  <a:pos x="connsiteX4862" y="connsiteY4862"/>
                </a:cxn>
                <a:cxn ang="0">
                  <a:pos x="connsiteX4863" y="connsiteY4863"/>
                </a:cxn>
                <a:cxn ang="0">
                  <a:pos x="connsiteX4864" y="connsiteY4864"/>
                </a:cxn>
                <a:cxn ang="0">
                  <a:pos x="connsiteX4865" y="connsiteY4865"/>
                </a:cxn>
                <a:cxn ang="0">
                  <a:pos x="connsiteX4866" y="connsiteY4866"/>
                </a:cxn>
                <a:cxn ang="0">
                  <a:pos x="connsiteX4867" y="connsiteY4867"/>
                </a:cxn>
                <a:cxn ang="0">
                  <a:pos x="connsiteX4868" y="connsiteY4868"/>
                </a:cxn>
                <a:cxn ang="0">
                  <a:pos x="connsiteX4869" y="connsiteY4869"/>
                </a:cxn>
                <a:cxn ang="0">
                  <a:pos x="connsiteX4870" y="connsiteY4870"/>
                </a:cxn>
                <a:cxn ang="0">
                  <a:pos x="connsiteX4871" y="connsiteY4871"/>
                </a:cxn>
                <a:cxn ang="0">
                  <a:pos x="connsiteX4872" y="connsiteY4872"/>
                </a:cxn>
                <a:cxn ang="0">
                  <a:pos x="connsiteX4873" y="connsiteY4873"/>
                </a:cxn>
                <a:cxn ang="0">
                  <a:pos x="connsiteX4874" y="connsiteY4874"/>
                </a:cxn>
                <a:cxn ang="0">
                  <a:pos x="connsiteX4875" y="connsiteY4875"/>
                </a:cxn>
                <a:cxn ang="0">
                  <a:pos x="connsiteX4876" y="connsiteY4876"/>
                </a:cxn>
                <a:cxn ang="0">
                  <a:pos x="connsiteX4877" y="connsiteY4877"/>
                </a:cxn>
                <a:cxn ang="0">
                  <a:pos x="connsiteX4878" y="connsiteY4878"/>
                </a:cxn>
                <a:cxn ang="0">
                  <a:pos x="connsiteX4879" y="connsiteY4879"/>
                </a:cxn>
                <a:cxn ang="0">
                  <a:pos x="connsiteX4880" y="connsiteY4880"/>
                </a:cxn>
                <a:cxn ang="0">
                  <a:pos x="connsiteX4881" y="connsiteY4881"/>
                </a:cxn>
                <a:cxn ang="0">
                  <a:pos x="connsiteX4882" y="connsiteY4882"/>
                </a:cxn>
                <a:cxn ang="0">
                  <a:pos x="connsiteX4883" y="connsiteY4883"/>
                </a:cxn>
                <a:cxn ang="0">
                  <a:pos x="connsiteX4884" y="connsiteY4884"/>
                </a:cxn>
                <a:cxn ang="0">
                  <a:pos x="connsiteX4885" y="connsiteY4885"/>
                </a:cxn>
                <a:cxn ang="0">
                  <a:pos x="connsiteX4886" y="connsiteY4886"/>
                </a:cxn>
                <a:cxn ang="0">
                  <a:pos x="connsiteX4887" y="connsiteY4887"/>
                </a:cxn>
                <a:cxn ang="0">
                  <a:pos x="connsiteX4888" y="connsiteY4888"/>
                </a:cxn>
                <a:cxn ang="0">
                  <a:pos x="connsiteX4889" y="connsiteY4889"/>
                </a:cxn>
                <a:cxn ang="0">
                  <a:pos x="connsiteX4890" y="connsiteY4890"/>
                </a:cxn>
                <a:cxn ang="0">
                  <a:pos x="connsiteX4891" y="connsiteY4891"/>
                </a:cxn>
                <a:cxn ang="0">
                  <a:pos x="connsiteX4892" y="connsiteY4892"/>
                </a:cxn>
                <a:cxn ang="0">
                  <a:pos x="connsiteX4893" y="connsiteY4893"/>
                </a:cxn>
                <a:cxn ang="0">
                  <a:pos x="connsiteX4894" y="connsiteY4894"/>
                </a:cxn>
                <a:cxn ang="0">
                  <a:pos x="connsiteX4895" y="connsiteY4895"/>
                </a:cxn>
                <a:cxn ang="0">
                  <a:pos x="connsiteX4896" y="connsiteY4896"/>
                </a:cxn>
                <a:cxn ang="0">
                  <a:pos x="connsiteX4897" y="connsiteY4897"/>
                </a:cxn>
                <a:cxn ang="0">
                  <a:pos x="connsiteX4898" y="connsiteY4898"/>
                </a:cxn>
                <a:cxn ang="0">
                  <a:pos x="connsiteX4899" y="connsiteY4899"/>
                </a:cxn>
                <a:cxn ang="0">
                  <a:pos x="connsiteX4900" y="connsiteY4900"/>
                </a:cxn>
                <a:cxn ang="0">
                  <a:pos x="connsiteX4901" y="connsiteY4901"/>
                </a:cxn>
                <a:cxn ang="0">
                  <a:pos x="connsiteX4902" y="connsiteY4902"/>
                </a:cxn>
                <a:cxn ang="0">
                  <a:pos x="connsiteX4903" y="connsiteY4903"/>
                </a:cxn>
                <a:cxn ang="0">
                  <a:pos x="connsiteX4904" y="connsiteY4904"/>
                </a:cxn>
                <a:cxn ang="0">
                  <a:pos x="connsiteX4905" y="connsiteY4905"/>
                </a:cxn>
                <a:cxn ang="0">
                  <a:pos x="connsiteX4906" y="connsiteY4906"/>
                </a:cxn>
                <a:cxn ang="0">
                  <a:pos x="connsiteX4907" y="connsiteY4907"/>
                </a:cxn>
                <a:cxn ang="0">
                  <a:pos x="connsiteX4908" y="connsiteY4908"/>
                </a:cxn>
                <a:cxn ang="0">
                  <a:pos x="connsiteX4909" y="connsiteY4909"/>
                </a:cxn>
                <a:cxn ang="0">
                  <a:pos x="connsiteX4910" y="connsiteY4910"/>
                </a:cxn>
                <a:cxn ang="0">
                  <a:pos x="connsiteX4911" y="connsiteY4911"/>
                </a:cxn>
                <a:cxn ang="0">
                  <a:pos x="connsiteX4912" y="connsiteY4912"/>
                </a:cxn>
                <a:cxn ang="0">
                  <a:pos x="connsiteX4913" y="connsiteY4913"/>
                </a:cxn>
                <a:cxn ang="0">
                  <a:pos x="connsiteX4914" y="connsiteY4914"/>
                </a:cxn>
                <a:cxn ang="0">
                  <a:pos x="connsiteX4915" y="connsiteY4915"/>
                </a:cxn>
                <a:cxn ang="0">
                  <a:pos x="connsiteX4916" y="connsiteY4916"/>
                </a:cxn>
                <a:cxn ang="0">
                  <a:pos x="connsiteX4917" y="connsiteY4917"/>
                </a:cxn>
                <a:cxn ang="0">
                  <a:pos x="connsiteX4918" y="connsiteY4918"/>
                </a:cxn>
                <a:cxn ang="0">
                  <a:pos x="connsiteX4919" y="connsiteY4919"/>
                </a:cxn>
                <a:cxn ang="0">
                  <a:pos x="connsiteX4920" y="connsiteY4920"/>
                </a:cxn>
                <a:cxn ang="0">
                  <a:pos x="connsiteX4921" y="connsiteY4921"/>
                </a:cxn>
                <a:cxn ang="0">
                  <a:pos x="connsiteX4922" y="connsiteY4922"/>
                </a:cxn>
                <a:cxn ang="0">
                  <a:pos x="connsiteX4923" y="connsiteY4923"/>
                </a:cxn>
                <a:cxn ang="0">
                  <a:pos x="connsiteX4924" y="connsiteY4924"/>
                </a:cxn>
                <a:cxn ang="0">
                  <a:pos x="connsiteX4925" y="connsiteY4925"/>
                </a:cxn>
                <a:cxn ang="0">
                  <a:pos x="connsiteX4926" y="connsiteY4926"/>
                </a:cxn>
                <a:cxn ang="0">
                  <a:pos x="connsiteX4927" y="connsiteY4927"/>
                </a:cxn>
                <a:cxn ang="0">
                  <a:pos x="connsiteX4928" y="connsiteY4928"/>
                </a:cxn>
                <a:cxn ang="0">
                  <a:pos x="connsiteX4929" y="connsiteY4929"/>
                </a:cxn>
                <a:cxn ang="0">
                  <a:pos x="connsiteX4930" y="connsiteY4930"/>
                </a:cxn>
                <a:cxn ang="0">
                  <a:pos x="connsiteX4931" y="connsiteY4931"/>
                </a:cxn>
                <a:cxn ang="0">
                  <a:pos x="connsiteX4932" y="connsiteY4932"/>
                </a:cxn>
                <a:cxn ang="0">
                  <a:pos x="connsiteX4933" y="connsiteY4933"/>
                </a:cxn>
                <a:cxn ang="0">
                  <a:pos x="connsiteX4934" y="connsiteY4934"/>
                </a:cxn>
                <a:cxn ang="0">
                  <a:pos x="connsiteX4935" y="connsiteY4935"/>
                </a:cxn>
                <a:cxn ang="0">
                  <a:pos x="connsiteX4936" y="connsiteY4936"/>
                </a:cxn>
                <a:cxn ang="0">
                  <a:pos x="connsiteX4937" y="connsiteY4937"/>
                </a:cxn>
                <a:cxn ang="0">
                  <a:pos x="connsiteX4938" y="connsiteY4938"/>
                </a:cxn>
                <a:cxn ang="0">
                  <a:pos x="connsiteX4939" y="connsiteY4939"/>
                </a:cxn>
                <a:cxn ang="0">
                  <a:pos x="connsiteX4940" y="connsiteY4940"/>
                </a:cxn>
                <a:cxn ang="0">
                  <a:pos x="connsiteX4941" y="connsiteY4941"/>
                </a:cxn>
                <a:cxn ang="0">
                  <a:pos x="connsiteX4942" y="connsiteY4942"/>
                </a:cxn>
                <a:cxn ang="0">
                  <a:pos x="connsiteX4943" y="connsiteY4943"/>
                </a:cxn>
                <a:cxn ang="0">
                  <a:pos x="connsiteX4944" y="connsiteY4944"/>
                </a:cxn>
                <a:cxn ang="0">
                  <a:pos x="connsiteX4945" y="connsiteY4945"/>
                </a:cxn>
                <a:cxn ang="0">
                  <a:pos x="connsiteX4946" y="connsiteY4946"/>
                </a:cxn>
                <a:cxn ang="0">
                  <a:pos x="connsiteX4947" y="connsiteY4947"/>
                </a:cxn>
                <a:cxn ang="0">
                  <a:pos x="connsiteX4948" y="connsiteY4948"/>
                </a:cxn>
                <a:cxn ang="0">
                  <a:pos x="connsiteX4949" y="connsiteY4949"/>
                </a:cxn>
                <a:cxn ang="0">
                  <a:pos x="connsiteX4950" y="connsiteY4950"/>
                </a:cxn>
                <a:cxn ang="0">
                  <a:pos x="connsiteX4951" y="connsiteY4951"/>
                </a:cxn>
                <a:cxn ang="0">
                  <a:pos x="connsiteX4952" y="connsiteY4952"/>
                </a:cxn>
                <a:cxn ang="0">
                  <a:pos x="connsiteX4953" y="connsiteY4953"/>
                </a:cxn>
                <a:cxn ang="0">
                  <a:pos x="connsiteX4954" y="connsiteY4954"/>
                </a:cxn>
                <a:cxn ang="0">
                  <a:pos x="connsiteX4955" y="connsiteY4955"/>
                </a:cxn>
                <a:cxn ang="0">
                  <a:pos x="connsiteX4956" y="connsiteY4956"/>
                </a:cxn>
                <a:cxn ang="0">
                  <a:pos x="connsiteX4957" y="connsiteY4957"/>
                </a:cxn>
                <a:cxn ang="0">
                  <a:pos x="connsiteX4958" y="connsiteY4958"/>
                </a:cxn>
                <a:cxn ang="0">
                  <a:pos x="connsiteX4959" y="connsiteY4959"/>
                </a:cxn>
                <a:cxn ang="0">
                  <a:pos x="connsiteX4960" y="connsiteY4960"/>
                </a:cxn>
                <a:cxn ang="0">
                  <a:pos x="connsiteX4961" y="connsiteY4961"/>
                </a:cxn>
                <a:cxn ang="0">
                  <a:pos x="connsiteX4962" y="connsiteY4962"/>
                </a:cxn>
                <a:cxn ang="0">
                  <a:pos x="connsiteX4963" y="connsiteY4963"/>
                </a:cxn>
                <a:cxn ang="0">
                  <a:pos x="connsiteX4964" y="connsiteY4964"/>
                </a:cxn>
                <a:cxn ang="0">
                  <a:pos x="connsiteX4965" y="connsiteY4965"/>
                </a:cxn>
                <a:cxn ang="0">
                  <a:pos x="connsiteX4966" y="connsiteY4966"/>
                </a:cxn>
                <a:cxn ang="0">
                  <a:pos x="connsiteX4967" y="connsiteY4967"/>
                </a:cxn>
                <a:cxn ang="0">
                  <a:pos x="connsiteX4968" y="connsiteY4968"/>
                </a:cxn>
                <a:cxn ang="0">
                  <a:pos x="connsiteX4969" y="connsiteY4969"/>
                </a:cxn>
                <a:cxn ang="0">
                  <a:pos x="connsiteX4970" y="connsiteY4970"/>
                </a:cxn>
                <a:cxn ang="0">
                  <a:pos x="connsiteX4971" y="connsiteY4971"/>
                </a:cxn>
                <a:cxn ang="0">
                  <a:pos x="connsiteX4972" y="connsiteY4972"/>
                </a:cxn>
                <a:cxn ang="0">
                  <a:pos x="connsiteX4973" y="connsiteY4973"/>
                </a:cxn>
                <a:cxn ang="0">
                  <a:pos x="connsiteX4974" y="connsiteY4974"/>
                </a:cxn>
                <a:cxn ang="0">
                  <a:pos x="connsiteX4975" y="connsiteY4975"/>
                </a:cxn>
                <a:cxn ang="0">
                  <a:pos x="connsiteX4976" y="connsiteY4976"/>
                </a:cxn>
                <a:cxn ang="0">
                  <a:pos x="connsiteX4977" y="connsiteY4977"/>
                </a:cxn>
                <a:cxn ang="0">
                  <a:pos x="connsiteX4978" y="connsiteY4978"/>
                </a:cxn>
                <a:cxn ang="0">
                  <a:pos x="connsiteX4979" y="connsiteY4979"/>
                </a:cxn>
                <a:cxn ang="0">
                  <a:pos x="connsiteX4980" y="connsiteY4980"/>
                </a:cxn>
                <a:cxn ang="0">
                  <a:pos x="connsiteX4981" y="connsiteY4981"/>
                </a:cxn>
                <a:cxn ang="0">
                  <a:pos x="connsiteX4982" y="connsiteY4982"/>
                </a:cxn>
                <a:cxn ang="0">
                  <a:pos x="connsiteX4983" y="connsiteY4983"/>
                </a:cxn>
                <a:cxn ang="0">
                  <a:pos x="connsiteX4984" y="connsiteY4984"/>
                </a:cxn>
                <a:cxn ang="0">
                  <a:pos x="connsiteX4985" y="connsiteY4985"/>
                </a:cxn>
                <a:cxn ang="0">
                  <a:pos x="connsiteX4986" y="connsiteY4986"/>
                </a:cxn>
                <a:cxn ang="0">
                  <a:pos x="connsiteX4987" y="connsiteY4987"/>
                </a:cxn>
                <a:cxn ang="0">
                  <a:pos x="connsiteX4988" y="connsiteY4988"/>
                </a:cxn>
                <a:cxn ang="0">
                  <a:pos x="connsiteX4989" y="connsiteY4989"/>
                </a:cxn>
                <a:cxn ang="0">
                  <a:pos x="connsiteX4990" y="connsiteY4990"/>
                </a:cxn>
                <a:cxn ang="0">
                  <a:pos x="connsiteX4991" y="connsiteY4991"/>
                </a:cxn>
                <a:cxn ang="0">
                  <a:pos x="connsiteX4992" y="connsiteY4992"/>
                </a:cxn>
                <a:cxn ang="0">
                  <a:pos x="connsiteX4993" y="connsiteY4993"/>
                </a:cxn>
                <a:cxn ang="0">
                  <a:pos x="connsiteX4994" y="connsiteY4994"/>
                </a:cxn>
                <a:cxn ang="0">
                  <a:pos x="connsiteX4995" y="connsiteY4995"/>
                </a:cxn>
                <a:cxn ang="0">
                  <a:pos x="connsiteX4996" y="connsiteY4996"/>
                </a:cxn>
                <a:cxn ang="0">
                  <a:pos x="connsiteX4997" y="connsiteY4997"/>
                </a:cxn>
                <a:cxn ang="0">
                  <a:pos x="connsiteX4998" y="connsiteY4998"/>
                </a:cxn>
                <a:cxn ang="0">
                  <a:pos x="connsiteX4999" y="connsiteY4999"/>
                </a:cxn>
                <a:cxn ang="0">
                  <a:pos x="connsiteX5000" y="connsiteY5000"/>
                </a:cxn>
                <a:cxn ang="0">
                  <a:pos x="connsiteX5001" y="connsiteY5001"/>
                </a:cxn>
                <a:cxn ang="0">
                  <a:pos x="connsiteX5002" y="connsiteY5002"/>
                </a:cxn>
                <a:cxn ang="0">
                  <a:pos x="connsiteX5003" y="connsiteY5003"/>
                </a:cxn>
                <a:cxn ang="0">
                  <a:pos x="connsiteX5004" y="connsiteY5004"/>
                </a:cxn>
                <a:cxn ang="0">
                  <a:pos x="connsiteX5005" y="connsiteY5005"/>
                </a:cxn>
                <a:cxn ang="0">
                  <a:pos x="connsiteX5006" y="connsiteY5006"/>
                </a:cxn>
                <a:cxn ang="0">
                  <a:pos x="connsiteX5007" y="connsiteY5007"/>
                </a:cxn>
                <a:cxn ang="0">
                  <a:pos x="connsiteX5008" y="connsiteY5008"/>
                </a:cxn>
                <a:cxn ang="0">
                  <a:pos x="connsiteX5009" y="connsiteY5009"/>
                </a:cxn>
                <a:cxn ang="0">
                  <a:pos x="connsiteX5010" y="connsiteY5010"/>
                </a:cxn>
                <a:cxn ang="0">
                  <a:pos x="connsiteX5011" y="connsiteY5011"/>
                </a:cxn>
                <a:cxn ang="0">
                  <a:pos x="connsiteX5012" y="connsiteY5012"/>
                </a:cxn>
                <a:cxn ang="0">
                  <a:pos x="connsiteX5013" y="connsiteY5013"/>
                </a:cxn>
                <a:cxn ang="0">
                  <a:pos x="connsiteX5014" y="connsiteY5014"/>
                </a:cxn>
                <a:cxn ang="0">
                  <a:pos x="connsiteX5015" y="connsiteY5015"/>
                </a:cxn>
                <a:cxn ang="0">
                  <a:pos x="connsiteX5016" y="connsiteY5016"/>
                </a:cxn>
                <a:cxn ang="0">
                  <a:pos x="connsiteX5017" y="connsiteY5017"/>
                </a:cxn>
                <a:cxn ang="0">
                  <a:pos x="connsiteX5018" y="connsiteY5018"/>
                </a:cxn>
                <a:cxn ang="0">
                  <a:pos x="connsiteX5019" y="connsiteY5019"/>
                </a:cxn>
                <a:cxn ang="0">
                  <a:pos x="connsiteX5020" y="connsiteY5020"/>
                </a:cxn>
                <a:cxn ang="0">
                  <a:pos x="connsiteX5021" y="connsiteY5021"/>
                </a:cxn>
                <a:cxn ang="0">
                  <a:pos x="connsiteX5022" y="connsiteY5022"/>
                </a:cxn>
                <a:cxn ang="0">
                  <a:pos x="connsiteX5023" y="connsiteY5023"/>
                </a:cxn>
                <a:cxn ang="0">
                  <a:pos x="connsiteX5024" y="connsiteY5024"/>
                </a:cxn>
                <a:cxn ang="0">
                  <a:pos x="connsiteX5025" y="connsiteY5025"/>
                </a:cxn>
                <a:cxn ang="0">
                  <a:pos x="connsiteX5026" y="connsiteY5026"/>
                </a:cxn>
                <a:cxn ang="0">
                  <a:pos x="connsiteX5027" y="connsiteY5027"/>
                </a:cxn>
                <a:cxn ang="0">
                  <a:pos x="connsiteX5028" y="connsiteY5028"/>
                </a:cxn>
                <a:cxn ang="0">
                  <a:pos x="connsiteX5029" y="connsiteY5029"/>
                </a:cxn>
                <a:cxn ang="0">
                  <a:pos x="connsiteX5030" y="connsiteY5030"/>
                </a:cxn>
                <a:cxn ang="0">
                  <a:pos x="connsiteX5031" y="connsiteY5031"/>
                </a:cxn>
                <a:cxn ang="0">
                  <a:pos x="connsiteX5032" y="connsiteY5032"/>
                </a:cxn>
                <a:cxn ang="0">
                  <a:pos x="connsiteX5033" y="connsiteY5033"/>
                </a:cxn>
                <a:cxn ang="0">
                  <a:pos x="connsiteX5034" y="connsiteY5034"/>
                </a:cxn>
                <a:cxn ang="0">
                  <a:pos x="connsiteX5035" y="connsiteY5035"/>
                </a:cxn>
                <a:cxn ang="0">
                  <a:pos x="connsiteX5036" y="connsiteY5036"/>
                </a:cxn>
                <a:cxn ang="0">
                  <a:pos x="connsiteX5037" y="connsiteY5037"/>
                </a:cxn>
                <a:cxn ang="0">
                  <a:pos x="connsiteX5038" y="connsiteY5038"/>
                </a:cxn>
                <a:cxn ang="0">
                  <a:pos x="connsiteX5039" y="connsiteY5039"/>
                </a:cxn>
                <a:cxn ang="0">
                  <a:pos x="connsiteX5040" y="connsiteY5040"/>
                </a:cxn>
                <a:cxn ang="0">
                  <a:pos x="connsiteX5041" y="connsiteY5041"/>
                </a:cxn>
                <a:cxn ang="0">
                  <a:pos x="connsiteX5042" y="connsiteY5042"/>
                </a:cxn>
                <a:cxn ang="0">
                  <a:pos x="connsiteX5043" y="connsiteY5043"/>
                </a:cxn>
                <a:cxn ang="0">
                  <a:pos x="connsiteX5044" y="connsiteY5044"/>
                </a:cxn>
                <a:cxn ang="0">
                  <a:pos x="connsiteX5045" y="connsiteY5045"/>
                </a:cxn>
                <a:cxn ang="0">
                  <a:pos x="connsiteX5046" y="connsiteY5046"/>
                </a:cxn>
                <a:cxn ang="0">
                  <a:pos x="connsiteX5047" y="connsiteY5047"/>
                </a:cxn>
                <a:cxn ang="0">
                  <a:pos x="connsiteX5048" y="connsiteY5048"/>
                </a:cxn>
                <a:cxn ang="0">
                  <a:pos x="connsiteX5049" y="connsiteY5049"/>
                </a:cxn>
                <a:cxn ang="0">
                  <a:pos x="connsiteX5050" y="connsiteY5050"/>
                </a:cxn>
                <a:cxn ang="0">
                  <a:pos x="connsiteX5051" y="connsiteY5051"/>
                </a:cxn>
                <a:cxn ang="0">
                  <a:pos x="connsiteX5052" y="connsiteY5052"/>
                </a:cxn>
                <a:cxn ang="0">
                  <a:pos x="connsiteX5053" y="connsiteY5053"/>
                </a:cxn>
                <a:cxn ang="0">
                  <a:pos x="connsiteX5054" y="connsiteY5054"/>
                </a:cxn>
                <a:cxn ang="0">
                  <a:pos x="connsiteX5055" y="connsiteY5055"/>
                </a:cxn>
                <a:cxn ang="0">
                  <a:pos x="connsiteX5056" y="connsiteY5056"/>
                </a:cxn>
                <a:cxn ang="0">
                  <a:pos x="connsiteX5057" y="connsiteY5057"/>
                </a:cxn>
                <a:cxn ang="0">
                  <a:pos x="connsiteX5058" y="connsiteY5058"/>
                </a:cxn>
                <a:cxn ang="0">
                  <a:pos x="connsiteX5059" y="connsiteY5059"/>
                </a:cxn>
                <a:cxn ang="0">
                  <a:pos x="connsiteX5060" y="connsiteY5060"/>
                </a:cxn>
                <a:cxn ang="0">
                  <a:pos x="connsiteX5061" y="connsiteY5061"/>
                </a:cxn>
                <a:cxn ang="0">
                  <a:pos x="connsiteX5062" y="connsiteY5062"/>
                </a:cxn>
                <a:cxn ang="0">
                  <a:pos x="connsiteX5063" y="connsiteY5063"/>
                </a:cxn>
                <a:cxn ang="0">
                  <a:pos x="connsiteX5064" y="connsiteY5064"/>
                </a:cxn>
                <a:cxn ang="0">
                  <a:pos x="connsiteX5065" y="connsiteY5065"/>
                </a:cxn>
                <a:cxn ang="0">
                  <a:pos x="connsiteX5066" y="connsiteY5066"/>
                </a:cxn>
                <a:cxn ang="0">
                  <a:pos x="connsiteX5067" y="connsiteY5067"/>
                </a:cxn>
                <a:cxn ang="0">
                  <a:pos x="connsiteX5068" y="connsiteY5068"/>
                </a:cxn>
                <a:cxn ang="0">
                  <a:pos x="connsiteX5069" y="connsiteY5069"/>
                </a:cxn>
                <a:cxn ang="0">
                  <a:pos x="connsiteX5070" y="connsiteY5070"/>
                </a:cxn>
                <a:cxn ang="0">
                  <a:pos x="connsiteX5071" y="connsiteY5071"/>
                </a:cxn>
                <a:cxn ang="0">
                  <a:pos x="connsiteX5072" y="connsiteY5072"/>
                </a:cxn>
                <a:cxn ang="0">
                  <a:pos x="connsiteX5073" y="connsiteY5073"/>
                </a:cxn>
                <a:cxn ang="0">
                  <a:pos x="connsiteX5074" y="connsiteY5074"/>
                </a:cxn>
                <a:cxn ang="0">
                  <a:pos x="connsiteX5075" y="connsiteY5075"/>
                </a:cxn>
                <a:cxn ang="0">
                  <a:pos x="connsiteX5076" y="connsiteY5076"/>
                </a:cxn>
                <a:cxn ang="0">
                  <a:pos x="connsiteX5077" y="connsiteY5077"/>
                </a:cxn>
                <a:cxn ang="0">
                  <a:pos x="connsiteX5078" y="connsiteY5078"/>
                </a:cxn>
                <a:cxn ang="0">
                  <a:pos x="connsiteX5079" y="connsiteY5079"/>
                </a:cxn>
                <a:cxn ang="0">
                  <a:pos x="connsiteX5080" y="connsiteY5080"/>
                </a:cxn>
                <a:cxn ang="0">
                  <a:pos x="connsiteX5081" y="connsiteY5081"/>
                </a:cxn>
                <a:cxn ang="0">
                  <a:pos x="connsiteX5082" y="connsiteY5082"/>
                </a:cxn>
                <a:cxn ang="0">
                  <a:pos x="connsiteX5083" y="connsiteY5083"/>
                </a:cxn>
                <a:cxn ang="0">
                  <a:pos x="connsiteX5084" y="connsiteY5084"/>
                </a:cxn>
                <a:cxn ang="0">
                  <a:pos x="connsiteX5085" y="connsiteY5085"/>
                </a:cxn>
                <a:cxn ang="0">
                  <a:pos x="connsiteX5086" y="connsiteY5086"/>
                </a:cxn>
                <a:cxn ang="0">
                  <a:pos x="connsiteX5087" y="connsiteY5087"/>
                </a:cxn>
                <a:cxn ang="0">
                  <a:pos x="connsiteX5088" y="connsiteY5088"/>
                </a:cxn>
                <a:cxn ang="0">
                  <a:pos x="connsiteX5089" y="connsiteY5089"/>
                </a:cxn>
                <a:cxn ang="0">
                  <a:pos x="connsiteX5090" y="connsiteY5090"/>
                </a:cxn>
                <a:cxn ang="0">
                  <a:pos x="connsiteX5091" y="connsiteY5091"/>
                </a:cxn>
                <a:cxn ang="0">
                  <a:pos x="connsiteX5092" y="connsiteY5092"/>
                </a:cxn>
                <a:cxn ang="0">
                  <a:pos x="connsiteX5093" y="connsiteY5093"/>
                </a:cxn>
                <a:cxn ang="0">
                  <a:pos x="connsiteX5094" y="connsiteY5094"/>
                </a:cxn>
                <a:cxn ang="0">
                  <a:pos x="connsiteX5095" y="connsiteY5095"/>
                </a:cxn>
                <a:cxn ang="0">
                  <a:pos x="connsiteX5096" y="connsiteY5096"/>
                </a:cxn>
                <a:cxn ang="0">
                  <a:pos x="connsiteX5097" y="connsiteY5097"/>
                </a:cxn>
                <a:cxn ang="0">
                  <a:pos x="connsiteX5098" y="connsiteY5098"/>
                </a:cxn>
                <a:cxn ang="0">
                  <a:pos x="connsiteX5099" y="connsiteY5099"/>
                </a:cxn>
                <a:cxn ang="0">
                  <a:pos x="connsiteX5100" y="connsiteY5100"/>
                </a:cxn>
                <a:cxn ang="0">
                  <a:pos x="connsiteX5101" y="connsiteY5101"/>
                </a:cxn>
                <a:cxn ang="0">
                  <a:pos x="connsiteX5102" y="connsiteY5102"/>
                </a:cxn>
                <a:cxn ang="0">
                  <a:pos x="connsiteX5103" y="connsiteY5103"/>
                </a:cxn>
                <a:cxn ang="0">
                  <a:pos x="connsiteX5104" y="connsiteY5104"/>
                </a:cxn>
                <a:cxn ang="0">
                  <a:pos x="connsiteX5105" y="connsiteY5105"/>
                </a:cxn>
                <a:cxn ang="0">
                  <a:pos x="connsiteX5106" y="connsiteY5106"/>
                </a:cxn>
                <a:cxn ang="0">
                  <a:pos x="connsiteX5107" y="connsiteY5107"/>
                </a:cxn>
                <a:cxn ang="0">
                  <a:pos x="connsiteX5108" y="connsiteY5108"/>
                </a:cxn>
                <a:cxn ang="0">
                  <a:pos x="connsiteX5109" y="connsiteY5109"/>
                </a:cxn>
                <a:cxn ang="0">
                  <a:pos x="connsiteX5110" y="connsiteY5110"/>
                </a:cxn>
                <a:cxn ang="0">
                  <a:pos x="connsiteX5111" y="connsiteY5111"/>
                </a:cxn>
                <a:cxn ang="0">
                  <a:pos x="connsiteX5112" y="connsiteY5112"/>
                </a:cxn>
                <a:cxn ang="0">
                  <a:pos x="connsiteX5113" y="connsiteY5113"/>
                </a:cxn>
                <a:cxn ang="0">
                  <a:pos x="connsiteX5114" y="connsiteY5114"/>
                </a:cxn>
                <a:cxn ang="0">
                  <a:pos x="connsiteX5115" y="connsiteY5115"/>
                </a:cxn>
                <a:cxn ang="0">
                  <a:pos x="connsiteX5116" y="connsiteY5116"/>
                </a:cxn>
                <a:cxn ang="0">
                  <a:pos x="connsiteX5117" y="connsiteY5117"/>
                </a:cxn>
                <a:cxn ang="0">
                  <a:pos x="connsiteX5118" y="connsiteY5118"/>
                </a:cxn>
                <a:cxn ang="0">
                  <a:pos x="connsiteX5119" y="connsiteY5119"/>
                </a:cxn>
                <a:cxn ang="0">
                  <a:pos x="connsiteX5120" y="connsiteY5120"/>
                </a:cxn>
                <a:cxn ang="0">
                  <a:pos x="connsiteX5121" y="connsiteY5121"/>
                </a:cxn>
                <a:cxn ang="0">
                  <a:pos x="connsiteX5122" y="connsiteY5122"/>
                </a:cxn>
                <a:cxn ang="0">
                  <a:pos x="connsiteX5123" y="connsiteY5123"/>
                </a:cxn>
                <a:cxn ang="0">
                  <a:pos x="connsiteX5124" y="connsiteY5124"/>
                </a:cxn>
                <a:cxn ang="0">
                  <a:pos x="connsiteX5125" y="connsiteY5125"/>
                </a:cxn>
                <a:cxn ang="0">
                  <a:pos x="connsiteX5126" y="connsiteY5126"/>
                </a:cxn>
                <a:cxn ang="0">
                  <a:pos x="connsiteX5127" y="connsiteY5127"/>
                </a:cxn>
                <a:cxn ang="0">
                  <a:pos x="connsiteX5128" y="connsiteY5128"/>
                </a:cxn>
                <a:cxn ang="0">
                  <a:pos x="connsiteX5129" y="connsiteY5129"/>
                </a:cxn>
                <a:cxn ang="0">
                  <a:pos x="connsiteX5130" y="connsiteY5130"/>
                </a:cxn>
                <a:cxn ang="0">
                  <a:pos x="connsiteX5131" y="connsiteY5131"/>
                </a:cxn>
                <a:cxn ang="0">
                  <a:pos x="connsiteX5132" y="connsiteY5132"/>
                </a:cxn>
                <a:cxn ang="0">
                  <a:pos x="connsiteX5133" y="connsiteY5133"/>
                </a:cxn>
                <a:cxn ang="0">
                  <a:pos x="connsiteX5134" y="connsiteY5134"/>
                </a:cxn>
                <a:cxn ang="0">
                  <a:pos x="connsiteX5135" y="connsiteY5135"/>
                </a:cxn>
                <a:cxn ang="0">
                  <a:pos x="connsiteX5136" y="connsiteY5136"/>
                </a:cxn>
                <a:cxn ang="0">
                  <a:pos x="connsiteX5137" y="connsiteY5137"/>
                </a:cxn>
                <a:cxn ang="0">
                  <a:pos x="connsiteX5138" y="connsiteY5138"/>
                </a:cxn>
                <a:cxn ang="0">
                  <a:pos x="connsiteX5139" y="connsiteY5139"/>
                </a:cxn>
                <a:cxn ang="0">
                  <a:pos x="connsiteX5140" y="connsiteY5140"/>
                </a:cxn>
                <a:cxn ang="0">
                  <a:pos x="connsiteX5141" y="connsiteY5141"/>
                </a:cxn>
                <a:cxn ang="0">
                  <a:pos x="connsiteX5142" y="connsiteY5142"/>
                </a:cxn>
                <a:cxn ang="0">
                  <a:pos x="connsiteX5143" y="connsiteY5143"/>
                </a:cxn>
                <a:cxn ang="0">
                  <a:pos x="connsiteX5144" y="connsiteY5144"/>
                </a:cxn>
                <a:cxn ang="0">
                  <a:pos x="connsiteX5145" y="connsiteY5145"/>
                </a:cxn>
                <a:cxn ang="0">
                  <a:pos x="connsiteX5146" y="connsiteY5146"/>
                </a:cxn>
                <a:cxn ang="0">
                  <a:pos x="connsiteX5147" y="connsiteY5147"/>
                </a:cxn>
                <a:cxn ang="0">
                  <a:pos x="connsiteX5148" y="connsiteY5148"/>
                </a:cxn>
                <a:cxn ang="0">
                  <a:pos x="connsiteX5149" y="connsiteY5149"/>
                </a:cxn>
                <a:cxn ang="0">
                  <a:pos x="connsiteX5150" y="connsiteY5150"/>
                </a:cxn>
                <a:cxn ang="0">
                  <a:pos x="connsiteX5151" y="connsiteY5151"/>
                </a:cxn>
                <a:cxn ang="0">
                  <a:pos x="connsiteX5152" y="connsiteY5152"/>
                </a:cxn>
                <a:cxn ang="0">
                  <a:pos x="connsiteX5153" y="connsiteY5153"/>
                </a:cxn>
                <a:cxn ang="0">
                  <a:pos x="connsiteX5154" y="connsiteY5154"/>
                </a:cxn>
                <a:cxn ang="0">
                  <a:pos x="connsiteX5155" y="connsiteY5155"/>
                </a:cxn>
                <a:cxn ang="0">
                  <a:pos x="connsiteX5156" y="connsiteY5156"/>
                </a:cxn>
                <a:cxn ang="0">
                  <a:pos x="connsiteX5157" y="connsiteY5157"/>
                </a:cxn>
                <a:cxn ang="0">
                  <a:pos x="connsiteX5158" y="connsiteY5158"/>
                </a:cxn>
                <a:cxn ang="0">
                  <a:pos x="connsiteX5159" y="connsiteY5159"/>
                </a:cxn>
                <a:cxn ang="0">
                  <a:pos x="connsiteX5160" y="connsiteY5160"/>
                </a:cxn>
                <a:cxn ang="0">
                  <a:pos x="connsiteX5161" y="connsiteY5161"/>
                </a:cxn>
                <a:cxn ang="0">
                  <a:pos x="connsiteX5162" y="connsiteY5162"/>
                </a:cxn>
                <a:cxn ang="0">
                  <a:pos x="connsiteX5163" y="connsiteY5163"/>
                </a:cxn>
                <a:cxn ang="0">
                  <a:pos x="connsiteX5164" y="connsiteY5164"/>
                </a:cxn>
                <a:cxn ang="0">
                  <a:pos x="connsiteX5165" y="connsiteY5165"/>
                </a:cxn>
                <a:cxn ang="0">
                  <a:pos x="connsiteX5166" y="connsiteY5166"/>
                </a:cxn>
                <a:cxn ang="0">
                  <a:pos x="connsiteX5167" y="connsiteY5167"/>
                </a:cxn>
                <a:cxn ang="0">
                  <a:pos x="connsiteX5168" y="connsiteY5168"/>
                </a:cxn>
                <a:cxn ang="0">
                  <a:pos x="connsiteX5169" y="connsiteY5169"/>
                </a:cxn>
                <a:cxn ang="0">
                  <a:pos x="connsiteX5170" y="connsiteY5170"/>
                </a:cxn>
                <a:cxn ang="0">
                  <a:pos x="connsiteX5171" y="connsiteY5171"/>
                </a:cxn>
                <a:cxn ang="0">
                  <a:pos x="connsiteX5172" y="connsiteY5172"/>
                </a:cxn>
                <a:cxn ang="0">
                  <a:pos x="connsiteX5173" y="connsiteY5173"/>
                </a:cxn>
                <a:cxn ang="0">
                  <a:pos x="connsiteX5174" y="connsiteY5174"/>
                </a:cxn>
                <a:cxn ang="0">
                  <a:pos x="connsiteX5175" y="connsiteY5175"/>
                </a:cxn>
                <a:cxn ang="0">
                  <a:pos x="connsiteX5176" y="connsiteY5176"/>
                </a:cxn>
                <a:cxn ang="0">
                  <a:pos x="connsiteX5177" y="connsiteY5177"/>
                </a:cxn>
                <a:cxn ang="0">
                  <a:pos x="connsiteX5178" y="connsiteY5178"/>
                </a:cxn>
                <a:cxn ang="0">
                  <a:pos x="connsiteX5179" y="connsiteY5179"/>
                </a:cxn>
                <a:cxn ang="0">
                  <a:pos x="connsiteX5180" y="connsiteY5180"/>
                </a:cxn>
                <a:cxn ang="0">
                  <a:pos x="connsiteX5181" y="connsiteY5181"/>
                </a:cxn>
                <a:cxn ang="0">
                  <a:pos x="connsiteX5182" y="connsiteY5182"/>
                </a:cxn>
                <a:cxn ang="0">
                  <a:pos x="connsiteX5183" y="connsiteY5183"/>
                </a:cxn>
                <a:cxn ang="0">
                  <a:pos x="connsiteX5184" y="connsiteY5184"/>
                </a:cxn>
                <a:cxn ang="0">
                  <a:pos x="connsiteX5185" y="connsiteY5185"/>
                </a:cxn>
                <a:cxn ang="0">
                  <a:pos x="connsiteX5186" y="connsiteY5186"/>
                </a:cxn>
                <a:cxn ang="0">
                  <a:pos x="connsiteX5187" y="connsiteY5187"/>
                </a:cxn>
                <a:cxn ang="0">
                  <a:pos x="connsiteX5188" y="connsiteY5188"/>
                </a:cxn>
                <a:cxn ang="0">
                  <a:pos x="connsiteX5189" y="connsiteY5189"/>
                </a:cxn>
                <a:cxn ang="0">
                  <a:pos x="connsiteX5190" y="connsiteY5190"/>
                </a:cxn>
                <a:cxn ang="0">
                  <a:pos x="connsiteX5191" y="connsiteY5191"/>
                </a:cxn>
                <a:cxn ang="0">
                  <a:pos x="connsiteX5192" y="connsiteY5192"/>
                </a:cxn>
                <a:cxn ang="0">
                  <a:pos x="connsiteX5193" y="connsiteY5193"/>
                </a:cxn>
                <a:cxn ang="0">
                  <a:pos x="connsiteX5194" y="connsiteY5194"/>
                </a:cxn>
                <a:cxn ang="0">
                  <a:pos x="connsiteX5195" y="connsiteY5195"/>
                </a:cxn>
                <a:cxn ang="0">
                  <a:pos x="connsiteX5196" y="connsiteY5196"/>
                </a:cxn>
                <a:cxn ang="0">
                  <a:pos x="connsiteX5197" y="connsiteY5197"/>
                </a:cxn>
                <a:cxn ang="0">
                  <a:pos x="connsiteX5198" y="connsiteY5198"/>
                </a:cxn>
                <a:cxn ang="0">
                  <a:pos x="connsiteX5199" y="connsiteY5199"/>
                </a:cxn>
                <a:cxn ang="0">
                  <a:pos x="connsiteX5200" y="connsiteY5200"/>
                </a:cxn>
                <a:cxn ang="0">
                  <a:pos x="connsiteX5201" y="connsiteY5201"/>
                </a:cxn>
                <a:cxn ang="0">
                  <a:pos x="connsiteX5202" y="connsiteY5202"/>
                </a:cxn>
                <a:cxn ang="0">
                  <a:pos x="connsiteX5203" y="connsiteY5203"/>
                </a:cxn>
                <a:cxn ang="0">
                  <a:pos x="connsiteX5204" y="connsiteY5204"/>
                </a:cxn>
                <a:cxn ang="0">
                  <a:pos x="connsiteX5205" y="connsiteY5205"/>
                </a:cxn>
                <a:cxn ang="0">
                  <a:pos x="connsiteX5206" y="connsiteY5206"/>
                </a:cxn>
                <a:cxn ang="0">
                  <a:pos x="connsiteX5207" y="connsiteY5207"/>
                </a:cxn>
                <a:cxn ang="0">
                  <a:pos x="connsiteX5208" y="connsiteY5208"/>
                </a:cxn>
                <a:cxn ang="0">
                  <a:pos x="connsiteX5209" y="connsiteY5209"/>
                </a:cxn>
                <a:cxn ang="0">
                  <a:pos x="connsiteX5210" y="connsiteY5210"/>
                </a:cxn>
                <a:cxn ang="0">
                  <a:pos x="connsiteX5211" y="connsiteY5211"/>
                </a:cxn>
                <a:cxn ang="0">
                  <a:pos x="connsiteX5212" y="connsiteY5212"/>
                </a:cxn>
                <a:cxn ang="0">
                  <a:pos x="connsiteX5213" y="connsiteY5213"/>
                </a:cxn>
                <a:cxn ang="0">
                  <a:pos x="connsiteX5214" y="connsiteY5214"/>
                </a:cxn>
                <a:cxn ang="0">
                  <a:pos x="connsiteX5215" y="connsiteY5215"/>
                </a:cxn>
                <a:cxn ang="0">
                  <a:pos x="connsiteX5216" y="connsiteY5216"/>
                </a:cxn>
                <a:cxn ang="0">
                  <a:pos x="connsiteX5217" y="connsiteY5217"/>
                </a:cxn>
                <a:cxn ang="0">
                  <a:pos x="connsiteX5218" y="connsiteY5218"/>
                </a:cxn>
                <a:cxn ang="0">
                  <a:pos x="connsiteX5219" y="connsiteY5219"/>
                </a:cxn>
                <a:cxn ang="0">
                  <a:pos x="connsiteX5220" y="connsiteY5220"/>
                </a:cxn>
                <a:cxn ang="0">
                  <a:pos x="connsiteX5221" y="connsiteY5221"/>
                </a:cxn>
                <a:cxn ang="0">
                  <a:pos x="connsiteX5222" y="connsiteY5222"/>
                </a:cxn>
                <a:cxn ang="0">
                  <a:pos x="connsiteX5223" y="connsiteY5223"/>
                </a:cxn>
                <a:cxn ang="0">
                  <a:pos x="connsiteX5224" y="connsiteY5224"/>
                </a:cxn>
                <a:cxn ang="0">
                  <a:pos x="connsiteX5225" y="connsiteY5225"/>
                </a:cxn>
                <a:cxn ang="0">
                  <a:pos x="connsiteX5226" y="connsiteY5226"/>
                </a:cxn>
                <a:cxn ang="0">
                  <a:pos x="connsiteX5227" y="connsiteY5227"/>
                </a:cxn>
                <a:cxn ang="0">
                  <a:pos x="connsiteX5228" y="connsiteY5228"/>
                </a:cxn>
                <a:cxn ang="0">
                  <a:pos x="connsiteX5229" y="connsiteY5229"/>
                </a:cxn>
                <a:cxn ang="0">
                  <a:pos x="connsiteX5230" y="connsiteY5230"/>
                </a:cxn>
                <a:cxn ang="0">
                  <a:pos x="connsiteX5231" y="connsiteY5231"/>
                </a:cxn>
                <a:cxn ang="0">
                  <a:pos x="connsiteX5232" y="connsiteY5232"/>
                </a:cxn>
                <a:cxn ang="0">
                  <a:pos x="connsiteX5233" y="connsiteY5233"/>
                </a:cxn>
                <a:cxn ang="0">
                  <a:pos x="connsiteX5234" y="connsiteY5234"/>
                </a:cxn>
                <a:cxn ang="0">
                  <a:pos x="connsiteX5235" y="connsiteY5235"/>
                </a:cxn>
                <a:cxn ang="0">
                  <a:pos x="connsiteX5236" y="connsiteY5236"/>
                </a:cxn>
                <a:cxn ang="0">
                  <a:pos x="connsiteX5237" y="connsiteY5237"/>
                </a:cxn>
                <a:cxn ang="0">
                  <a:pos x="connsiteX5238" y="connsiteY5238"/>
                </a:cxn>
                <a:cxn ang="0">
                  <a:pos x="connsiteX5239" y="connsiteY5239"/>
                </a:cxn>
                <a:cxn ang="0">
                  <a:pos x="connsiteX5240" y="connsiteY5240"/>
                </a:cxn>
                <a:cxn ang="0">
                  <a:pos x="connsiteX5241" y="connsiteY5241"/>
                </a:cxn>
                <a:cxn ang="0">
                  <a:pos x="connsiteX5242" y="connsiteY5242"/>
                </a:cxn>
                <a:cxn ang="0">
                  <a:pos x="connsiteX5243" y="connsiteY5243"/>
                </a:cxn>
                <a:cxn ang="0">
                  <a:pos x="connsiteX5244" y="connsiteY5244"/>
                </a:cxn>
                <a:cxn ang="0">
                  <a:pos x="connsiteX5245" y="connsiteY5245"/>
                </a:cxn>
                <a:cxn ang="0">
                  <a:pos x="connsiteX5246" y="connsiteY5246"/>
                </a:cxn>
                <a:cxn ang="0">
                  <a:pos x="connsiteX5247" y="connsiteY5247"/>
                </a:cxn>
                <a:cxn ang="0">
                  <a:pos x="connsiteX5248" y="connsiteY5248"/>
                </a:cxn>
                <a:cxn ang="0">
                  <a:pos x="connsiteX5249" y="connsiteY5249"/>
                </a:cxn>
                <a:cxn ang="0">
                  <a:pos x="connsiteX5250" y="connsiteY5250"/>
                </a:cxn>
                <a:cxn ang="0">
                  <a:pos x="connsiteX5251" y="connsiteY5251"/>
                </a:cxn>
                <a:cxn ang="0">
                  <a:pos x="connsiteX5252" y="connsiteY5252"/>
                </a:cxn>
                <a:cxn ang="0">
                  <a:pos x="connsiteX5253" y="connsiteY5253"/>
                </a:cxn>
                <a:cxn ang="0">
                  <a:pos x="connsiteX5254" y="connsiteY5254"/>
                </a:cxn>
                <a:cxn ang="0">
                  <a:pos x="connsiteX5255" y="connsiteY5255"/>
                </a:cxn>
                <a:cxn ang="0">
                  <a:pos x="connsiteX5256" y="connsiteY5256"/>
                </a:cxn>
                <a:cxn ang="0">
                  <a:pos x="connsiteX5257" y="connsiteY5257"/>
                </a:cxn>
                <a:cxn ang="0">
                  <a:pos x="connsiteX5258" y="connsiteY5258"/>
                </a:cxn>
                <a:cxn ang="0">
                  <a:pos x="connsiteX5259" y="connsiteY5259"/>
                </a:cxn>
                <a:cxn ang="0">
                  <a:pos x="connsiteX5260" y="connsiteY5260"/>
                </a:cxn>
                <a:cxn ang="0">
                  <a:pos x="connsiteX5261" y="connsiteY5261"/>
                </a:cxn>
                <a:cxn ang="0">
                  <a:pos x="connsiteX5262" y="connsiteY5262"/>
                </a:cxn>
                <a:cxn ang="0">
                  <a:pos x="connsiteX5263" y="connsiteY5263"/>
                </a:cxn>
                <a:cxn ang="0">
                  <a:pos x="connsiteX5264" y="connsiteY5264"/>
                </a:cxn>
                <a:cxn ang="0">
                  <a:pos x="connsiteX5265" y="connsiteY5265"/>
                </a:cxn>
                <a:cxn ang="0">
                  <a:pos x="connsiteX5266" y="connsiteY5266"/>
                </a:cxn>
                <a:cxn ang="0">
                  <a:pos x="connsiteX5267" y="connsiteY5267"/>
                </a:cxn>
                <a:cxn ang="0">
                  <a:pos x="connsiteX5268" y="connsiteY5268"/>
                </a:cxn>
                <a:cxn ang="0">
                  <a:pos x="connsiteX5269" y="connsiteY5269"/>
                </a:cxn>
                <a:cxn ang="0">
                  <a:pos x="connsiteX5270" y="connsiteY5270"/>
                </a:cxn>
                <a:cxn ang="0">
                  <a:pos x="connsiteX5271" y="connsiteY5271"/>
                </a:cxn>
                <a:cxn ang="0">
                  <a:pos x="connsiteX5272" y="connsiteY5272"/>
                </a:cxn>
                <a:cxn ang="0">
                  <a:pos x="connsiteX5273" y="connsiteY5273"/>
                </a:cxn>
                <a:cxn ang="0">
                  <a:pos x="connsiteX5274" y="connsiteY5274"/>
                </a:cxn>
                <a:cxn ang="0">
                  <a:pos x="connsiteX5275" y="connsiteY5275"/>
                </a:cxn>
                <a:cxn ang="0">
                  <a:pos x="connsiteX5276" y="connsiteY5276"/>
                </a:cxn>
                <a:cxn ang="0">
                  <a:pos x="connsiteX5277" y="connsiteY5277"/>
                </a:cxn>
                <a:cxn ang="0">
                  <a:pos x="connsiteX5278" y="connsiteY5278"/>
                </a:cxn>
                <a:cxn ang="0">
                  <a:pos x="connsiteX5279" y="connsiteY5279"/>
                </a:cxn>
                <a:cxn ang="0">
                  <a:pos x="connsiteX5280" y="connsiteY5280"/>
                </a:cxn>
                <a:cxn ang="0">
                  <a:pos x="connsiteX5281" y="connsiteY5281"/>
                </a:cxn>
                <a:cxn ang="0">
                  <a:pos x="connsiteX5282" y="connsiteY5282"/>
                </a:cxn>
                <a:cxn ang="0">
                  <a:pos x="connsiteX5283" y="connsiteY5283"/>
                </a:cxn>
                <a:cxn ang="0">
                  <a:pos x="connsiteX5284" y="connsiteY5284"/>
                </a:cxn>
                <a:cxn ang="0">
                  <a:pos x="connsiteX5285" y="connsiteY5285"/>
                </a:cxn>
                <a:cxn ang="0">
                  <a:pos x="connsiteX5286" y="connsiteY5286"/>
                </a:cxn>
                <a:cxn ang="0">
                  <a:pos x="connsiteX5287" y="connsiteY5287"/>
                </a:cxn>
                <a:cxn ang="0">
                  <a:pos x="connsiteX5288" y="connsiteY5288"/>
                </a:cxn>
                <a:cxn ang="0">
                  <a:pos x="connsiteX5289" y="connsiteY5289"/>
                </a:cxn>
                <a:cxn ang="0">
                  <a:pos x="connsiteX5290" y="connsiteY5290"/>
                </a:cxn>
                <a:cxn ang="0">
                  <a:pos x="connsiteX5291" y="connsiteY5291"/>
                </a:cxn>
                <a:cxn ang="0">
                  <a:pos x="connsiteX5292" y="connsiteY5292"/>
                </a:cxn>
                <a:cxn ang="0">
                  <a:pos x="connsiteX5293" y="connsiteY5293"/>
                </a:cxn>
                <a:cxn ang="0">
                  <a:pos x="connsiteX5294" y="connsiteY5294"/>
                </a:cxn>
                <a:cxn ang="0">
                  <a:pos x="connsiteX5295" y="connsiteY5295"/>
                </a:cxn>
                <a:cxn ang="0">
                  <a:pos x="connsiteX5296" y="connsiteY5296"/>
                </a:cxn>
                <a:cxn ang="0">
                  <a:pos x="connsiteX5297" y="connsiteY5297"/>
                </a:cxn>
                <a:cxn ang="0">
                  <a:pos x="connsiteX5298" y="connsiteY5298"/>
                </a:cxn>
                <a:cxn ang="0">
                  <a:pos x="connsiteX5299" y="connsiteY5299"/>
                </a:cxn>
                <a:cxn ang="0">
                  <a:pos x="connsiteX5300" y="connsiteY5300"/>
                </a:cxn>
                <a:cxn ang="0">
                  <a:pos x="connsiteX5301" y="connsiteY5301"/>
                </a:cxn>
                <a:cxn ang="0">
                  <a:pos x="connsiteX5302" y="connsiteY5302"/>
                </a:cxn>
                <a:cxn ang="0">
                  <a:pos x="connsiteX5303" y="connsiteY5303"/>
                </a:cxn>
                <a:cxn ang="0">
                  <a:pos x="connsiteX5304" y="connsiteY5304"/>
                </a:cxn>
                <a:cxn ang="0">
                  <a:pos x="connsiteX5305" y="connsiteY5305"/>
                </a:cxn>
                <a:cxn ang="0">
                  <a:pos x="connsiteX5306" y="connsiteY5306"/>
                </a:cxn>
                <a:cxn ang="0">
                  <a:pos x="connsiteX5307" y="connsiteY5307"/>
                </a:cxn>
                <a:cxn ang="0">
                  <a:pos x="connsiteX5308" y="connsiteY5308"/>
                </a:cxn>
                <a:cxn ang="0">
                  <a:pos x="connsiteX5309" y="connsiteY5309"/>
                </a:cxn>
                <a:cxn ang="0">
                  <a:pos x="connsiteX5310" y="connsiteY5310"/>
                </a:cxn>
                <a:cxn ang="0">
                  <a:pos x="connsiteX5311" y="connsiteY5311"/>
                </a:cxn>
                <a:cxn ang="0">
                  <a:pos x="connsiteX5312" y="connsiteY5312"/>
                </a:cxn>
                <a:cxn ang="0">
                  <a:pos x="connsiteX5313" y="connsiteY5313"/>
                </a:cxn>
                <a:cxn ang="0">
                  <a:pos x="connsiteX5314" y="connsiteY5314"/>
                </a:cxn>
                <a:cxn ang="0">
                  <a:pos x="connsiteX5315" y="connsiteY5315"/>
                </a:cxn>
                <a:cxn ang="0">
                  <a:pos x="connsiteX5316" y="connsiteY5316"/>
                </a:cxn>
                <a:cxn ang="0">
                  <a:pos x="connsiteX5317" y="connsiteY5317"/>
                </a:cxn>
                <a:cxn ang="0">
                  <a:pos x="connsiteX5318" y="connsiteY5318"/>
                </a:cxn>
                <a:cxn ang="0">
                  <a:pos x="connsiteX5319" y="connsiteY5319"/>
                </a:cxn>
                <a:cxn ang="0">
                  <a:pos x="connsiteX5320" y="connsiteY5320"/>
                </a:cxn>
                <a:cxn ang="0">
                  <a:pos x="connsiteX5321" y="connsiteY5321"/>
                </a:cxn>
                <a:cxn ang="0">
                  <a:pos x="connsiteX5322" y="connsiteY5322"/>
                </a:cxn>
                <a:cxn ang="0">
                  <a:pos x="connsiteX5323" y="connsiteY5323"/>
                </a:cxn>
                <a:cxn ang="0">
                  <a:pos x="connsiteX5324" y="connsiteY5324"/>
                </a:cxn>
                <a:cxn ang="0">
                  <a:pos x="connsiteX5325" y="connsiteY5325"/>
                </a:cxn>
                <a:cxn ang="0">
                  <a:pos x="connsiteX5326" y="connsiteY5326"/>
                </a:cxn>
                <a:cxn ang="0">
                  <a:pos x="connsiteX5327" y="connsiteY5327"/>
                </a:cxn>
                <a:cxn ang="0">
                  <a:pos x="connsiteX5328" y="connsiteY5328"/>
                </a:cxn>
                <a:cxn ang="0">
                  <a:pos x="connsiteX5329" y="connsiteY5329"/>
                </a:cxn>
                <a:cxn ang="0">
                  <a:pos x="connsiteX5330" y="connsiteY5330"/>
                </a:cxn>
                <a:cxn ang="0">
                  <a:pos x="connsiteX5331" y="connsiteY5331"/>
                </a:cxn>
                <a:cxn ang="0">
                  <a:pos x="connsiteX5332" y="connsiteY5332"/>
                </a:cxn>
                <a:cxn ang="0">
                  <a:pos x="connsiteX5333" y="connsiteY5333"/>
                </a:cxn>
                <a:cxn ang="0">
                  <a:pos x="connsiteX5334" y="connsiteY5334"/>
                </a:cxn>
                <a:cxn ang="0">
                  <a:pos x="connsiteX5335" y="connsiteY5335"/>
                </a:cxn>
                <a:cxn ang="0">
                  <a:pos x="connsiteX5336" y="connsiteY5336"/>
                </a:cxn>
                <a:cxn ang="0">
                  <a:pos x="connsiteX5337" y="connsiteY5337"/>
                </a:cxn>
                <a:cxn ang="0">
                  <a:pos x="connsiteX5338" y="connsiteY5338"/>
                </a:cxn>
                <a:cxn ang="0">
                  <a:pos x="connsiteX5339" y="connsiteY5339"/>
                </a:cxn>
                <a:cxn ang="0">
                  <a:pos x="connsiteX5340" y="connsiteY5340"/>
                </a:cxn>
                <a:cxn ang="0">
                  <a:pos x="connsiteX5341" y="connsiteY5341"/>
                </a:cxn>
                <a:cxn ang="0">
                  <a:pos x="connsiteX5342" y="connsiteY5342"/>
                </a:cxn>
                <a:cxn ang="0">
                  <a:pos x="connsiteX5343" y="connsiteY5343"/>
                </a:cxn>
                <a:cxn ang="0">
                  <a:pos x="connsiteX5344" y="connsiteY5344"/>
                </a:cxn>
                <a:cxn ang="0">
                  <a:pos x="connsiteX5345" y="connsiteY5345"/>
                </a:cxn>
                <a:cxn ang="0">
                  <a:pos x="connsiteX5346" y="connsiteY5346"/>
                </a:cxn>
                <a:cxn ang="0">
                  <a:pos x="connsiteX5347" y="connsiteY5347"/>
                </a:cxn>
                <a:cxn ang="0">
                  <a:pos x="connsiteX5348" y="connsiteY5348"/>
                </a:cxn>
                <a:cxn ang="0">
                  <a:pos x="connsiteX5349" y="connsiteY5349"/>
                </a:cxn>
                <a:cxn ang="0">
                  <a:pos x="connsiteX5350" y="connsiteY5350"/>
                </a:cxn>
                <a:cxn ang="0">
                  <a:pos x="connsiteX5351" y="connsiteY5351"/>
                </a:cxn>
                <a:cxn ang="0">
                  <a:pos x="connsiteX5352" y="connsiteY5352"/>
                </a:cxn>
                <a:cxn ang="0">
                  <a:pos x="connsiteX5353" y="connsiteY5353"/>
                </a:cxn>
                <a:cxn ang="0">
                  <a:pos x="connsiteX5354" y="connsiteY5354"/>
                </a:cxn>
                <a:cxn ang="0">
                  <a:pos x="connsiteX5355" y="connsiteY5355"/>
                </a:cxn>
                <a:cxn ang="0">
                  <a:pos x="connsiteX5356" y="connsiteY5356"/>
                </a:cxn>
                <a:cxn ang="0">
                  <a:pos x="connsiteX5357" y="connsiteY5357"/>
                </a:cxn>
                <a:cxn ang="0">
                  <a:pos x="connsiteX5358" y="connsiteY5358"/>
                </a:cxn>
                <a:cxn ang="0">
                  <a:pos x="connsiteX5359" y="connsiteY5359"/>
                </a:cxn>
                <a:cxn ang="0">
                  <a:pos x="connsiteX5360" y="connsiteY5360"/>
                </a:cxn>
                <a:cxn ang="0">
                  <a:pos x="connsiteX5361" y="connsiteY5361"/>
                </a:cxn>
                <a:cxn ang="0">
                  <a:pos x="connsiteX5362" y="connsiteY5362"/>
                </a:cxn>
                <a:cxn ang="0">
                  <a:pos x="connsiteX5363" y="connsiteY5363"/>
                </a:cxn>
                <a:cxn ang="0">
                  <a:pos x="connsiteX5364" y="connsiteY5364"/>
                </a:cxn>
                <a:cxn ang="0">
                  <a:pos x="connsiteX5365" y="connsiteY5365"/>
                </a:cxn>
                <a:cxn ang="0">
                  <a:pos x="connsiteX5366" y="connsiteY5366"/>
                </a:cxn>
                <a:cxn ang="0">
                  <a:pos x="connsiteX5367" y="connsiteY5367"/>
                </a:cxn>
                <a:cxn ang="0">
                  <a:pos x="connsiteX5368" y="connsiteY5368"/>
                </a:cxn>
                <a:cxn ang="0">
                  <a:pos x="connsiteX5369" y="connsiteY5369"/>
                </a:cxn>
                <a:cxn ang="0">
                  <a:pos x="connsiteX5370" y="connsiteY5370"/>
                </a:cxn>
                <a:cxn ang="0">
                  <a:pos x="connsiteX5371" y="connsiteY5371"/>
                </a:cxn>
                <a:cxn ang="0">
                  <a:pos x="connsiteX5372" y="connsiteY5372"/>
                </a:cxn>
                <a:cxn ang="0">
                  <a:pos x="connsiteX5373" y="connsiteY5373"/>
                </a:cxn>
                <a:cxn ang="0">
                  <a:pos x="connsiteX5374" y="connsiteY5374"/>
                </a:cxn>
                <a:cxn ang="0">
                  <a:pos x="connsiteX5375" y="connsiteY5375"/>
                </a:cxn>
                <a:cxn ang="0">
                  <a:pos x="connsiteX5376" y="connsiteY5376"/>
                </a:cxn>
                <a:cxn ang="0">
                  <a:pos x="connsiteX5377" y="connsiteY5377"/>
                </a:cxn>
                <a:cxn ang="0">
                  <a:pos x="connsiteX5378" y="connsiteY5378"/>
                </a:cxn>
                <a:cxn ang="0">
                  <a:pos x="connsiteX5379" y="connsiteY5379"/>
                </a:cxn>
                <a:cxn ang="0">
                  <a:pos x="connsiteX5380" y="connsiteY5380"/>
                </a:cxn>
                <a:cxn ang="0">
                  <a:pos x="connsiteX5381" y="connsiteY5381"/>
                </a:cxn>
                <a:cxn ang="0">
                  <a:pos x="connsiteX5382" y="connsiteY5382"/>
                </a:cxn>
                <a:cxn ang="0">
                  <a:pos x="connsiteX5383" y="connsiteY5383"/>
                </a:cxn>
                <a:cxn ang="0">
                  <a:pos x="connsiteX5384" y="connsiteY5384"/>
                </a:cxn>
                <a:cxn ang="0">
                  <a:pos x="connsiteX5385" y="connsiteY5385"/>
                </a:cxn>
                <a:cxn ang="0">
                  <a:pos x="connsiteX5386" y="connsiteY5386"/>
                </a:cxn>
                <a:cxn ang="0">
                  <a:pos x="connsiteX5387" y="connsiteY5387"/>
                </a:cxn>
                <a:cxn ang="0">
                  <a:pos x="connsiteX5388" y="connsiteY5388"/>
                </a:cxn>
                <a:cxn ang="0">
                  <a:pos x="connsiteX5389" y="connsiteY5389"/>
                </a:cxn>
                <a:cxn ang="0">
                  <a:pos x="connsiteX5390" y="connsiteY5390"/>
                </a:cxn>
                <a:cxn ang="0">
                  <a:pos x="connsiteX5391" y="connsiteY5391"/>
                </a:cxn>
                <a:cxn ang="0">
                  <a:pos x="connsiteX5392" y="connsiteY5392"/>
                </a:cxn>
                <a:cxn ang="0">
                  <a:pos x="connsiteX5393" y="connsiteY5393"/>
                </a:cxn>
                <a:cxn ang="0">
                  <a:pos x="connsiteX5394" y="connsiteY5394"/>
                </a:cxn>
                <a:cxn ang="0">
                  <a:pos x="connsiteX5395" y="connsiteY5395"/>
                </a:cxn>
                <a:cxn ang="0">
                  <a:pos x="connsiteX5396" y="connsiteY5396"/>
                </a:cxn>
                <a:cxn ang="0">
                  <a:pos x="connsiteX5397" y="connsiteY5397"/>
                </a:cxn>
                <a:cxn ang="0">
                  <a:pos x="connsiteX5398" y="connsiteY5398"/>
                </a:cxn>
                <a:cxn ang="0">
                  <a:pos x="connsiteX5399" y="connsiteY5399"/>
                </a:cxn>
                <a:cxn ang="0">
                  <a:pos x="connsiteX5400" y="connsiteY5400"/>
                </a:cxn>
                <a:cxn ang="0">
                  <a:pos x="connsiteX5401" y="connsiteY5401"/>
                </a:cxn>
                <a:cxn ang="0">
                  <a:pos x="connsiteX5402" y="connsiteY5402"/>
                </a:cxn>
                <a:cxn ang="0">
                  <a:pos x="connsiteX5403" y="connsiteY5403"/>
                </a:cxn>
                <a:cxn ang="0">
                  <a:pos x="connsiteX5404" y="connsiteY5404"/>
                </a:cxn>
                <a:cxn ang="0">
                  <a:pos x="connsiteX5405" y="connsiteY5405"/>
                </a:cxn>
                <a:cxn ang="0">
                  <a:pos x="connsiteX5406" y="connsiteY5406"/>
                </a:cxn>
                <a:cxn ang="0">
                  <a:pos x="connsiteX5407" y="connsiteY5407"/>
                </a:cxn>
                <a:cxn ang="0">
                  <a:pos x="connsiteX5408" y="connsiteY5408"/>
                </a:cxn>
                <a:cxn ang="0">
                  <a:pos x="connsiteX5409" y="connsiteY5409"/>
                </a:cxn>
                <a:cxn ang="0">
                  <a:pos x="connsiteX5410" y="connsiteY5410"/>
                </a:cxn>
                <a:cxn ang="0">
                  <a:pos x="connsiteX5411" y="connsiteY5411"/>
                </a:cxn>
                <a:cxn ang="0">
                  <a:pos x="connsiteX5412" y="connsiteY5412"/>
                </a:cxn>
                <a:cxn ang="0">
                  <a:pos x="connsiteX5413" y="connsiteY5413"/>
                </a:cxn>
                <a:cxn ang="0">
                  <a:pos x="connsiteX5414" y="connsiteY5414"/>
                </a:cxn>
                <a:cxn ang="0">
                  <a:pos x="connsiteX5415" y="connsiteY5415"/>
                </a:cxn>
                <a:cxn ang="0">
                  <a:pos x="connsiteX5416" y="connsiteY5416"/>
                </a:cxn>
                <a:cxn ang="0">
                  <a:pos x="connsiteX5417" y="connsiteY5417"/>
                </a:cxn>
                <a:cxn ang="0">
                  <a:pos x="connsiteX5418" y="connsiteY5418"/>
                </a:cxn>
                <a:cxn ang="0">
                  <a:pos x="connsiteX5419" y="connsiteY5419"/>
                </a:cxn>
                <a:cxn ang="0">
                  <a:pos x="connsiteX5420" y="connsiteY5420"/>
                </a:cxn>
                <a:cxn ang="0">
                  <a:pos x="connsiteX5421" y="connsiteY5421"/>
                </a:cxn>
                <a:cxn ang="0">
                  <a:pos x="connsiteX5422" y="connsiteY5422"/>
                </a:cxn>
                <a:cxn ang="0">
                  <a:pos x="connsiteX5423" y="connsiteY5423"/>
                </a:cxn>
                <a:cxn ang="0">
                  <a:pos x="connsiteX5424" y="connsiteY5424"/>
                </a:cxn>
                <a:cxn ang="0">
                  <a:pos x="connsiteX5425" y="connsiteY5425"/>
                </a:cxn>
                <a:cxn ang="0">
                  <a:pos x="connsiteX5426" y="connsiteY5426"/>
                </a:cxn>
                <a:cxn ang="0">
                  <a:pos x="connsiteX5427" y="connsiteY5427"/>
                </a:cxn>
                <a:cxn ang="0">
                  <a:pos x="connsiteX5428" y="connsiteY5428"/>
                </a:cxn>
                <a:cxn ang="0">
                  <a:pos x="connsiteX5429" y="connsiteY5429"/>
                </a:cxn>
                <a:cxn ang="0">
                  <a:pos x="connsiteX5430" y="connsiteY5430"/>
                </a:cxn>
                <a:cxn ang="0">
                  <a:pos x="connsiteX5431" y="connsiteY5431"/>
                </a:cxn>
                <a:cxn ang="0">
                  <a:pos x="connsiteX5432" y="connsiteY5432"/>
                </a:cxn>
                <a:cxn ang="0">
                  <a:pos x="connsiteX5433" y="connsiteY5433"/>
                </a:cxn>
                <a:cxn ang="0">
                  <a:pos x="connsiteX5434" y="connsiteY5434"/>
                </a:cxn>
                <a:cxn ang="0">
                  <a:pos x="connsiteX5435" y="connsiteY5435"/>
                </a:cxn>
                <a:cxn ang="0">
                  <a:pos x="connsiteX5436" y="connsiteY5436"/>
                </a:cxn>
                <a:cxn ang="0">
                  <a:pos x="connsiteX5437" y="connsiteY5437"/>
                </a:cxn>
                <a:cxn ang="0">
                  <a:pos x="connsiteX5438" y="connsiteY5438"/>
                </a:cxn>
                <a:cxn ang="0">
                  <a:pos x="connsiteX5439" y="connsiteY5439"/>
                </a:cxn>
                <a:cxn ang="0">
                  <a:pos x="connsiteX5440" y="connsiteY5440"/>
                </a:cxn>
                <a:cxn ang="0">
                  <a:pos x="connsiteX5441" y="connsiteY5441"/>
                </a:cxn>
                <a:cxn ang="0">
                  <a:pos x="connsiteX5442" y="connsiteY5442"/>
                </a:cxn>
                <a:cxn ang="0">
                  <a:pos x="connsiteX5443" y="connsiteY5443"/>
                </a:cxn>
                <a:cxn ang="0">
                  <a:pos x="connsiteX5444" y="connsiteY5444"/>
                </a:cxn>
                <a:cxn ang="0">
                  <a:pos x="connsiteX5445" y="connsiteY5445"/>
                </a:cxn>
                <a:cxn ang="0">
                  <a:pos x="connsiteX5446" y="connsiteY5446"/>
                </a:cxn>
                <a:cxn ang="0">
                  <a:pos x="connsiteX5447" y="connsiteY5447"/>
                </a:cxn>
                <a:cxn ang="0">
                  <a:pos x="connsiteX5448" y="connsiteY5448"/>
                </a:cxn>
                <a:cxn ang="0">
                  <a:pos x="connsiteX5449" y="connsiteY5449"/>
                </a:cxn>
                <a:cxn ang="0">
                  <a:pos x="connsiteX5450" y="connsiteY5450"/>
                </a:cxn>
                <a:cxn ang="0">
                  <a:pos x="connsiteX5451" y="connsiteY5451"/>
                </a:cxn>
                <a:cxn ang="0">
                  <a:pos x="connsiteX5452" y="connsiteY5452"/>
                </a:cxn>
                <a:cxn ang="0">
                  <a:pos x="connsiteX5453" y="connsiteY5453"/>
                </a:cxn>
                <a:cxn ang="0">
                  <a:pos x="connsiteX5454" y="connsiteY5454"/>
                </a:cxn>
                <a:cxn ang="0">
                  <a:pos x="connsiteX5455" y="connsiteY5455"/>
                </a:cxn>
                <a:cxn ang="0">
                  <a:pos x="connsiteX5456" y="connsiteY5456"/>
                </a:cxn>
                <a:cxn ang="0">
                  <a:pos x="connsiteX5457" y="connsiteY5457"/>
                </a:cxn>
                <a:cxn ang="0">
                  <a:pos x="connsiteX5458" y="connsiteY5458"/>
                </a:cxn>
                <a:cxn ang="0">
                  <a:pos x="connsiteX5459" y="connsiteY5459"/>
                </a:cxn>
                <a:cxn ang="0">
                  <a:pos x="connsiteX5460" y="connsiteY5460"/>
                </a:cxn>
                <a:cxn ang="0">
                  <a:pos x="connsiteX5461" y="connsiteY5461"/>
                </a:cxn>
                <a:cxn ang="0">
                  <a:pos x="connsiteX5462" y="connsiteY5462"/>
                </a:cxn>
                <a:cxn ang="0">
                  <a:pos x="connsiteX5463" y="connsiteY5463"/>
                </a:cxn>
                <a:cxn ang="0">
                  <a:pos x="connsiteX5464" y="connsiteY5464"/>
                </a:cxn>
                <a:cxn ang="0">
                  <a:pos x="connsiteX5465" y="connsiteY5465"/>
                </a:cxn>
                <a:cxn ang="0">
                  <a:pos x="connsiteX5466" y="connsiteY5466"/>
                </a:cxn>
                <a:cxn ang="0">
                  <a:pos x="connsiteX5467" y="connsiteY5467"/>
                </a:cxn>
                <a:cxn ang="0">
                  <a:pos x="connsiteX5468" y="connsiteY5468"/>
                </a:cxn>
                <a:cxn ang="0">
                  <a:pos x="connsiteX5469" y="connsiteY5469"/>
                </a:cxn>
                <a:cxn ang="0">
                  <a:pos x="connsiteX5470" y="connsiteY5470"/>
                </a:cxn>
                <a:cxn ang="0">
                  <a:pos x="connsiteX5471" y="connsiteY5471"/>
                </a:cxn>
                <a:cxn ang="0">
                  <a:pos x="connsiteX5472" y="connsiteY5472"/>
                </a:cxn>
                <a:cxn ang="0">
                  <a:pos x="connsiteX5473" y="connsiteY5473"/>
                </a:cxn>
                <a:cxn ang="0">
                  <a:pos x="connsiteX5474" y="connsiteY5474"/>
                </a:cxn>
                <a:cxn ang="0">
                  <a:pos x="connsiteX5475" y="connsiteY5475"/>
                </a:cxn>
                <a:cxn ang="0">
                  <a:pos x="connsiteX5476" y="connsiteY5476"/>
                </a:cxn>
                <a:cxn ang="0">
                  <a:pos x="connsiteX5477" y="connsiteY5477"/>
                </a:cxn>
                <a:cxn ang="0">
                  <a:pos x="connsiteX5478" y="connsiteY5478"/>
                </a:cxn>
                <a:cxn ang="0">
                  <a:pos x="connsiteX5479" y="connsiteY5479"/>
                </a:cxn>
                <a:cxn ang="0">
                  <a:pos x="connsiteX5480" y="connsiteY5480"/>
                </a:cxn>
                <a:cxn ang="0">
                  <a:pos x="connsiteX5481" y="connsiteY5481"/>
                </a:cxn>
                <a:cxn ang="0">
                  <a:pos x="connsiteX5482" y="connsiteY5482"/>
                </a:cxn>
                <a:cxn ang="0">
                  <a:pos x="connsiteX5483" y="connsiteY5483"/>
                </a:cxn>
                <a:cxn ang="0">
                  <a:pos x="connsiteX5484" y="connsiteY5484"/>
                </a:cxn>
                <a:cxn ang="0">
                  <a:pos x="connsiteX5485" y="connsiteY5485"/>
                </a:cxn>
                <a:cxn ang="0">
                  <a:pos x="connsiteX5486" y="connsiteY5486"/>
                </a:cxn>
                <a:cxn ang="0">
                  <a:pos x="connsiteX5487" y="connsiteY5487"/>
                </a:cxn>
                <a:cxn ang="0">
                  <a:pos x="connsiteX5488" y="connsiteY5488"/>
                </a:cxn>
                <a:cxn ang="0">
                  <a:pos x="connsiteX5489" y="connsiteY5489"/>
                </a:cxn>
                <a:cxn ang="0">
                  <a:pos x="connsiteX5490" y="connsiteY5490"/>
                </a:cxn>
                <a:cxn ang="0">
                  <a:pos x="connsiteX5491" y="connsiteY5491"/>
                </a:cxn>
                <a:cxn ang="0">
                  <a:pos x="connsiteX5492" y="connsiteY5492"/>
                </a:cxn>
                <a:cxn ang="0">
                  <a:pos x="connsiteX5493" y="connsiteY5493"/>
                </a:cxn>
                <a:cxn ang="0">
                  <a:pos x="connsiteX5494" y="connsiteY5494"/>
                </a:cxn>
                <a:cxn ang="0">
                  <a:pos x="connsiteX5495" y="connsiteY5495"/>
                </a:cxn>
                <a:cxn ang="0">
                  <a:pos x="connsiteX5496" y="connsiteY5496"/>
                </a:cxn>
                <a:cxn ang="0">
                  <a:pos x="connsiteX5497" y="connsiteY5497"/>
                </a:cxn>
                <a:cxn ang="0">
                  <a:pos x="connsiteX5498" y="connsiteY5498"/>
                </a:cxn>
                <a:cxn ang="0">
                  <a:pos x="connsiteX5499" y="connsiteY5499"/>
                </a:cxn>
                <a:cxn ang="0">
                  <a:pos x="connsiteX5500" y="connsiteY5500"/>
                </a:cxn>
                <a:cxn ang="0">
                  <a:pos x="connsiteX5501" y="connsiteY5501"/>
                </a:cxn>
                <a:cxn ang="0">
                  <a:pos x="connsiteX5502" y="connsiteY5502"/>
                </a:cxn>
                <a:cxn ang="0">
                  <a:pos x="connsiteX5503" y="connsiteY5503"/>
                </a:cxn>
                <a:cxn ang="0">
                  <a:pos x="connsiteX5504" y="connsiteY5504"/>
                </a:cxn>
                <a:cxn ang="0">
                  <a:pos x="connsiteX5505" y="connsiteY5505"/>
                </a:cxn>
                <a:cxn ang="0">
                  <a:pos x="connsiteX5506" y="connsiteY5506"/>
                </a:cxn>
                <a:cxn ang="0">
                  <a:pos x="connsiteX5507" y="connsiteY5507"/>
                </a:cxn>
                <a:cxn ang="0">
                  <a:pos x="connsiteX5508" y="connsiteY5508"/>
                </a:cxn>
                <a:cxn ang="0">
                  <a:pos x="connsiteX5509" y="connsiteY5509"/>
                </a:cxn>
                <a:cxn ang="0">
                  <a:pos x="connsiteX5510" y="connsiteY5510"/>
                </a:cxn>
                <a:cxn ang="0">
                  <a:pos x="connsiteX5511" y="connsiteY5511"/>
                </a:cxn>
                <a:cxn ang="0">
                  <a:pos x="connsiteX5512" y="connsiteY5512"/>
                </a:cxn>
                <a:cxn ang="0">
                  <a:pos x="connsiteX5513" y="connsiteY5513"/>
                </a:cxn>
                <a:cxn ang="0">
                  <a:pos x="connsiteX5514" y="connsiteY5514"/>
                </a:cxn>
                <a:cxn ang="0">
                  <a:pos x="connsiteX5515" y="connsiteY5515"/>
                </a:cxn>
                <a:cxn ang="0">
                  <a:pos x="connsiteX5516" y="connsiteY5516"/>
                </a:cxn>
                <a:cxn ang="0">
                  <a:pos x="connsiteX5517" y="connsiteY5517"/>
                </a:cxn>
                <a:cxn ang="0">
                  <a:pos x="connsiteX5518" y="connsiteY5518"/>
                </a:cxn>
                <a:cxn ang="0">
                  <a:pos x="connsiteX5519" y="connsiteY5519"/>
                </a:cxn>
                <a:cxn ang="0">
                  <a:pos x="connsiteX5520" y="connsiteY5520"/>
                </a:cxn>
                <a:cxn ang="0">
                  <a:pos x="connsiteX5521" y="connsiteY5521"/>
                </a:cxn>
                <a:cxn ang="0">
                  <a:pos x="connsiteX5522" y="connsiteY5522"/>
                </a:cxn>
                <a:cxn ang="0">
                  <a:pos x="connsiteX5523" y="connsiteY5523"/>
                </a:cxn>
                <a:cxn ang="0">
                  <a:pos x="connsiteX5524" y="connsiteY5524"/>
                </a:cxn>
                <a:cxn ang="0">
                  <a:pos x="connsiteX5525" y="connsiteY5525"/>
                </a:cxn>
                <a:cxn ang="0">
                  <a:pos x="connsiteX5526" y="connsiteY5526"/>
                </a:cxn>
                <a:cxn ang="0">
                  <a:pos x="connsiteX5527" y="connsiteY5527"/>
                </a:cxn>
                <a:cxn ang="0">
                  <a:pos x="connsiteX5528" y="connsiteY5528"/>
                </a:cxn>
                <a:cxn ang="0">
                  <a:pos x="connsiteX5529" y="connsiteY5529"/>
                </a:cxn>
                <a:cxn ang="0">
                  <a:pos x="connsiteX5530" y="connsiteY5530"/>
                </a:cxn>
                <a:cxn ang="0">
                  <a:pos x="connsiteX5531" y="connsiteY5531"/>
                </a:cxn>
                <a:cxn ang="0">
                  <a:pos x="connsiteX5532" y="connsiteY5532"/>
                </a:cxn>
                <a:cxn ang="0">
                  <a:pos x="connsiteX5533" y="connsiteY5533"/>
                </a:cxn>
                <a:cxn ang="0">
                  <a:pos x="connsiteX5534" y="connsiteY5534"/>
                </a:cxn>
                <a:cxn ang="0">
                  <a:pos x="connsiteX5535" y="connsiteY5535"/>
                </a:cxn>
                <a:cxn ang="0">
                  <a:pos x="connsiteX5536" y="connsiteY5536"/>
                </a:cxn>
                <a:cxn ang="0">
                  <a:pos x="connsiteX5537" y="connsiteY5537"/>
                </a:cxn>
                <a:cxn ang="0">
                  <a:pos x="connsiteX5538" y="connsiteY5538"/>
                </a:cxn>
                <a:cxn ang="0">
                  <a:pos x="connsiteX5539" y="connsiteY5539"/>
                </a:cxn>
                <a:cxn ang="0">
                  <a:pos x="connsiteX5540" y="connsiteY5540"/>
                </a:cxn>
                <a:cxn ang="0">
                  <a:pos x="connsiteX5541" y="connsiteY5541"/>
                </a:cxn>
                <a:cxn ang="0">
                  <a:pos x="connsiteX5542" y="connsiteY5542"/>
                </a:cxn>
                <a:cxn ang="0">
                  <a:pos x="connsiteX5543" y="connsiteY5543"/>
                </a:cxn>
                <a:cxn ang="0">
                  <a:pos x="connsiteX5544" y="connsiteY5544"/>
                </a:cxn>
                <a:cxn ang="0">
                  <a:pos x="connsiteX5545" y="connsiteY5545"/>
                </a:cxn>
                <a:cxn ang="0">
                  <a:pos x="connsiteX5546" y="connsiteY5546"/>
                </a:cxn>
                <a:cxn ang="0">
                  <a:pos x="connsiteX5547" y="connsiteY5547"/>
                </a:cxn>
                <a:cxn ang="0">
                  <a:pos x="connsiteX5548" y="connsiteY5548"/>
                </a:cxn>
                <a:cxn ang="0">
                  <a:pos x="connsiteX5549" y="connsiteY5549"/>
                </a:cxn>
                <a:cxn ang="0">
                  <a:pos x="connsiteX5550" y="connsiteY5550"/>
                </a:cxn>
                <a:cxn ang="0">
                  <a:pos x="connsiteX5551" y="connsiteY5551"/>
                </a:cxn>
                <a:cxn ang="0">
                  <a:pos x="connsiteX5552" y="connsiteY5552"/>
                </a:cxn>
                <a:cxn ang="0">
                  <a:pos x="connsiteX5553" y="connsiteY5553"/>
                </a:cxn>
                <a:cxn ang="0">
                  <a:pos x="connsiteX5554" y="connsiteY5554"/>
                </a:cxn>
                <a:cxn ang="0">
                  <a:pos x="connsiteX5555" y="connsiteY5555"/>
                </a:cxn>
                <a:cxn ang="0">
                  <a:pos x="connsiteX5556" y="connsiteY5556"/>
                </a:cxn>
                <a:cxn ang="0">
                  <a:pos x="connsiteX5557" y="connsiteY5557"/>
                </a:cxn>
                <a:cxn ang="0">
                  <a:pos x="connsiteX5558" y="connsiteY5558"/>
                </a:cxn>
                <a:cxn ang="0">
                  <a:pos x="connsiteX5559" y="connsiteY5559"/>
                </a:cxn>
                <a:cxn ang="0">
                  <a:pos x="connsiteX5560" y="connsiteY5560"/>
                </a:cxn>
                <a:cxn ang="0">
                  <a:pos x="connsiteX5561" y="connsiteY5561"/>
                </a:cxn>
                <a:cxn ang="0">
                  <a:pos x="connsiteX5562" y="connsiteY5562"/>
                </a:cxn>
                <a:cxn ang="0">
                  <a:pos x="connsiteX5563" y="connsiteY5563"/>
                </a:cxn>
                <a:cxn ang="0">
                  <a:pos x="connsiteX5564" y="connsiteY5564"/>
                </a:cxn>
                <a:cxn ang="0">
                  <a:pos x="connsiteX5565" y="connsiteY5565"/>
                </a:cxn>
                <a:cxn ang="0">
                  <a:pos x="connsiteX5566" y="connsiteY5566"/>
                </a:cxn>
                <a:cxn ang="0">
                  <a:pos x="connsiteX5567" y="connsiteY5567"/>
                </a:cxn>
                <a:cxn ang="0">
                  <a:pos x="connsiteX5568" y="connsiteY5568"/>
                </a:cxn>
                <a:cxn ang="0">
                  <a:pos x="connsiteX5569" y="connsiteY5569"/>
                </a:cxn>
                <a:cxn ang="0">
                  <a:pos x="connsiteX5570" y="connsiteY5570"/>
                </a:cxn>
                <a:cxn ang="0">
                  <a:pos x="connsiteX5571" y="connsiteY5571"/>
                </a:cxn>
                <a:cxn ang="0">
                  <a:pos x="connsiteX5572" y="connsiteY5572"/>
                </a:cxn>
                <a:cxn ang="0">
                  <a:pos x="connsiteX5573" y="connsiteY5573"/>
                </a:cxn>
                <a:cxn ang="0">
                  <a:pos x="connsiteX5574" y="connsiteY5574"/>
                </a:cxn>
                <a:cxn ang="0">
                  <a:pos x="connsiteX5575" y="connsiteY5575"/>
                </a:cxn>
                <a:cxn ang="0">
                  <a:pos x="connsiteX5576" y="connsiteY5576"/>
                </a:cxn>
                <a:cxn ang="0">
                  <a:pos x="connsiteX5577" y="connsiteY5577"/>
                </a:cxn>
                <a:cxn ang="0">
                  <a:pos x="connsiteX5578" y="connsiteY5578"/>
                </a:cxn>
                <a:cxn ang="0">
                  <a:pos x="connsiteX5579" y="connsiteY5579"/>
                </a:cxn>
                <a:cxn ang="0">
                  <a:pos x="connsiteX5580" y="connsiteY5580"/>
                </a:cxn>
                <a:cxn ang="0">
                  <a:pos x="connsiteX5581" y="connsiteY5581"/>
                </a:cxn>
                <a:cxn ang="0">
                  <a:pos x="connsiteX5582" y="connsiteY5582"/>
                </a:cxn>
                <a:cxn ang="0">
                  <a:pos x="connsiteX5583" y="connsiteY5583"/>
                </a:cxn>
                <a:cxn ang="0">
                  <a:pos x="connsiteX5584" y="connsiteY5584"/>
                </a:cxn>
                <a:cxn ang="0">
                  <a:pos x="connsiteX5585" y="connsiteY5585"/>
                </a:cxn>
                <a:cxn ang="0">
                  <a:pos x="connsiteX5586" y="connsiteY5586"/>
                </a:cxn>
                <a:cxn ang="0">
                  <a:pos x="connsiteX5587" y="connsiteY5587"/>
                </a:cxn>
                <a:cxn ang="0">
                  <a:pos x="connsiteX5588" y="connsiteY5588"/>
                </a:cxn>
                <a:cxn ang="0">
                  <a:pos x="connsiteX5589" y="connsiteY5589"/>
                </a:cxn>
                <a:cxn ang="0">
                  <a:pos x="connsiteX5590" y="connsiteY5590"/>
                </a:cxn>
                <a:cxn ang="0">
                  <a:pos x="connsiteX5591" y="connsiteY5591"/>
                </a:cxn>
                <a:cxn ang="0">
                  <a:pos x="connsiteX5592" y="connsiteY5592"/>
                </a:cxn>
                <a:cxn ang="0">
                  <a:pos x="connsiteX5593" y="connsiteY5593"/>
                </a:cxn>
                <a:cxn ang="0">
                  <a:pos x="connsiteX5594" y="connsiteY5594"/>
                </a:cxn>
                <a:cxn ang="0">
                  <a:pos x="connsiteX5595" y="connsiteY5595"/>
                </a:cxn>
                <a:cxn ang="0">
                  <a:pos x="connsiteX5596" y="connsiteY5596"/>
                </a:cxn>
                <a:cxn ang="0">
                  <a:pos x="connsiteX5597" y="connsiteY5597"/>
                </a:cxn>
                <a:cxn ang="0">
                  <a:pos x="connsiteX5598" y="connsiteY5598"/>
                </a:cxn>
                <a:cxn ang="0">
                  <a:pos x="connsiteX5599" y="connsiteY5599"/>
                </a:cxn>
                <a:cxn ang="0">
                  <a:pos x="connsiteX5600" y="connsiteY5600"/>
                </a:cxn>
                <a:cxn ang="0">
                  <a:pos x="connsiteX5601" y="connsiteY5601"/>
                </a:cxn>
                <a:cxn ang="0">
                  <a:pos x="connsiteX5602" y="connsiteY5602"/>
                </a:cxn>
                <a:cxn ang="0">
                  <a:pos x="connsiteX5603" y="connsiteY5603"/>
                </a:cxn>
                <a:cxn ang="0">
                  <a:pos x="connsiteX5604" y="connsiteY5604"/>
                </a:cxn>
                <a:cxn ang="0">
                  <a:pos x="connsiteX5605" y="connsiteY5605"/>
                </a:cxn>
                <a:cxn ang="0">
                  <a:pos x="connsiteX5606" y="connsiteY5606"/>
                </a:cxn>
                <a:cxn ang="0">
                  <a:pos x="connsiteX5607" y="connsiteY5607"/>
                </a:cxn>
                <a:cxn ang="0">
                  <a:pos x="connsiteX5608" y="connsiteY5608"/>
                </a:cxn>
                <a:cxn ang="0">
                  <a:pos x="connsiteX5609" y="connsiteY5609"/>
                </a:cxn>
                <a:cxn ang="0">
                  <a:pos x="connsiteX5610" y="connsiteY5610"/>
                </a:cxn>
                <a:cxn ang="0">
                  <a:pos x="connsiteX5611" y="connsiteY5611"/>
                </a:cxn>
                <a:cxn ang="0">
                  <a:pos x="connsiteX5612" y="connsiteY5612"/>
                </a:cxn>
                <a:cxn ang="0">
                  <a:pos x="connsiteX5613" y="connsiteY5613"/>
                </a:cxn>
                <a:cxn ang="0">
                  <a:pos x="connsiteX5614" y="connsiteY5614"/>
                </a:cxn>
                <a:cxn ang="0">
                  <a:pos x="connsiteX5615" y="connsiteY5615"/>
                </a:cxn>
                <a:cxn ang="0">
                  <a:pos x="connsiteX5616" y="connsiteY5616"/>
                </a:cxn>
                <a:cxn ang="0">
                  <a:pos x="connsiteX5617" y="connsiteY5617"/>
                </a:cxn>
                <a:cxn ang="0">
                  <a:pos x="connsiteX5618" y="connsiteY5618"/>
                </a:cxn>
                <a:cxn ang="0">
                  <a:pos x="connsiteX5619" y="connsiteY5619"/>
                </a:cxn>
                <a:cxn ang="0">
                  <a:pos x="connsiteX5620" y="connsiteY5620"/>
                </a:cxn>
                <a:cxn ang="0">
                  <a:pos x="connsiteX5621" y="connsiteY5621"/>
                </a:cxn>
                <a:cxn ang="0">
                  <a:pos x="connsiteX5622" y="connsiteY5622"/>
                </a:cxn>
                <a:cxn ang="0">
                  <a:pos x="connsiteX5623" y="connsiteY5623"/>
                </a:cxn>
                <a:cxn ang="0">
                  <a:pos x="connsiteX5624" y="connsiteY5624"/>
                </a:cxn>
                <a:cxn ang="0">
                  <a:pos x="connsiteX5625" y="connsiteY5625"/>
                </a:cxn>
                <a:cxn ang="0">
                  <a:pos x="connsiteX5626" y="connsiteY5626"/>
                </a:cxn>
                <a:cxn ang="0">
                  <a:pos x="connsiteX5627" y="connsiteY5627"/>
                </a:cxn>
                <a:cxn ang="0">
                  <a:pos x="connsiteX5628" y="connsiteY5628"/>
                </a:cxn>
                <a:cxn ang="0">
                  <a:pos x="connsiteX5629" y="connsiteY5629"/>
                </a:cxn>
                <a:cxn ang="0">
                  <a:pos x="connsiteX5630" y="connsiteY5630"/>
                </a:cxn>
                <a:cxn ang="0">
                  <a:pos x="connsiteX5631" y="connsiteY5631"/>
                </a:cxn>
                <a:cxn ang="0">
                  <a:pos x="connsiteX5632" y="connsiteY5632"/>
                </a:cxn>
                <a:cxn ang="0">
                  <a:pos x="connsiteX5633" y="connsiteY5633"/>
                </a:cxn>
                <a:cxn ang="0">
                  <a:pos x="connsiteX5634" y="connsiteY5634"/>
                </a:cxn>
                <a:cxn ang="0">
                  <a:pos x="connsiteX5635" y="connsiteY5635"/>
                </a:cxn>
                <a:cxn ang="0">
                  <a:pos x="connsiteX5636" y="connsiteY5636"/>
                </a:cxn>
                <a:cxn ang="0">
                  <a:pos x="connsiteX5637" y="connsiteY5637"/>
                </a:cxn>
                <a:cxn ang="0">
                  <a:pos x="connsiteX5638" y="connsiteY5638"/>
                </a:cxn>
                <a:cxn ang="0">
                  <a:pos x="connsiteX5639" y="connsiteY5639"/>
                </a:cxn>
                <a:cxn ang="0">
                  <a:pos x="connsiteX5640" y="connsiteY5640"/>
                </a:cxn>
                <a:cxn ang="0">
                  <a:pos x="connsiteX5641" y="connsiteY5641"/>
                </a:cxn>
                <a:cxn ang="0">
                  <a:pos x="connsiteX5642" y="connsiteY5642"/>
                </a:cxn>
                <a:cxn ang="0">
                  <a:pos x="connsiteX5643" y="connsiteY5643"/>
                </a:cxn>
                <a:cxn ang="0">
                  <a:pos x="connsiteX5644" y="connsiteY5644"/>
                </a:cxn>
                <a:cxn ang="0">
                  <a:pos x="connsiteX5645" y="connsiteY5645"/>
                </a:cxn>
                <a:cxn ang="0">
                  <a:pos x="connsiteX5646" y="connsiteY5646"/>
                </a:cxn>
                <a:cxn ang="0">
                  <a:pos x="connsiteX5647" y="connsiteY5647"/>
                </a:cxn>
                <a:cxn ang="0">
                  <a:pos x="connsiteX5648" y="connsiteY5648"/>
                </a:cxn>
                <a:cxn ang="0">
                  <a:pos x="connsiteX5649" y="connsiteY5649"/>
                </a:cxn>
                <a:cxn ang="0">
                  <a:pos x="connsiteX5650" y="connsiteY5650"/>
                </a:cxn>
                <a:cxn ang="0">
                  <a:pos x="connsiteX5651" y="connsiteY5651"/>
                </a:cxn>
                <a:cxn ang="0">
                  <a:pos x="connsiteX5652" y="connsiteY5652"/>
                </a:cxn>
                <a:cxn ang="0">
                  <a:pos x="connsiteX5653" y="connsiteY5653"/>
                </a:cxn>
                <a:cxn ang="0">
                  <a:pos x="connsiteX5654" y="connsiteY5654"/>
                </a:cxn>
                <a:cxn ang="0">
                  <a:pos x="connsiteX5655" y="connsiteY5655"/>
                </a:cxn>
                <a:cxn ang="0">
                  <a:pos x="connsiteX5656" y="connsiteY5656"/>
                </a:cxn>
                <a:cxn ang="0">
                  <a:pos x="connsiteX5657" y="connsiteY5657"/>
                </a:cxn>
                <a:cxn ang="0">
                  <a:pos x="connsiteX5658" y="connsiteY5658"/>
                </a:cxn>
                <a:cxn ang="0">
                  <a:pos x="connsiteX5659" y="connsiteY5659"/>
                </a:cxn>
                <a:cxn ang="0">
                  <a:pos x="connsiteX5660" y="connsiteY5660"/>
                </a:cxn>
                <a:cxn ang="0">
                  <a:pos x="connsiteX5661" y="connsiteY5661"/>
                </a:cxn>
                <a:cxn ang="0">
                  <a:pos x="connsiteX5662" y="connsiteY5662"/>
                </a:cxn>
                <a:cxn ang="0">
                  <a:pos x="connsiteX5663" y="connsiteY5663"/>
                </a:cxn>
                <a:cxn ang="0">
                  <a:pos x="connsiteX5664" y="connsiteY5664"/>
                </a:cxn>
                <a:cxn ang="0">
                  <a:pos x="connsiteX5665" y="connsiteY5665"/>
                </a:cxn>
                <a:cxn ang="0">
                  <a:pos x="connsiteX5666" y="connsiteY5666"/>
                </a:cxn>
                <a:cxn ang="0">
                  <a:pos x="connsiteX5667" y="connsiteY5667"/>
                </a:cxn>
                <a:cxn ang="0">
                  <a:pos x="connsiteX5668" y="connsiteY5668"/>
                </a:cxn>
                <a:cxn ang="0">
                  <a:pos x="connsiteX5669" y="connsiteY5669"/>
                </a:cxn>
                <a:cxn ang="0">
                  <a:pos x="connsiteX5670" y="connsiteY5670"/>
                </a:cxn>
                <a:cxn ang="0">
                  <a:pos x="connsiteX5671" y="connsiteY5671"/>
                </a:cxn>
                <a:cxn ang="0">
                  <a:pos x="connsiteX5672" y="connsiteY5672"/>
                </a:cxn>
                <a:cxn ang="0">
                  <a:pos x="connsiteX5673" y="connsiteY5673"/>
                </a:cxn>
                <a:cxn ang="0">
                  <a:pos x="connsiteX5674" y="connsiteY5674"/>
                </a:cxn>
                <a:cxn ang="0">
                  <a:pos x="connsiteX5675" y="connsiteY5675"/>
                </a:cxn>
                <a:cxn ang="0">
                  <a:pos x="connsiteX5676" y="connsiteY5676"/>
                </a:cxn>
                <a:cxn ang="0">
                  <a:pos x="connsiteX5677" y="connsiteY5677"/>
                </a:cxn>
                <a:cxn ang="0">
                  <a:pos x="connsiteX5678" y="connsiteY5678"/>
                </a:cxn>
                <a:cxn ang="0">
                  <a:pos x="connsiteX5679" y="connsiteY5679"/>
                </a:cxn>
                <a:cxn ang="0">
                  <a:pos x="connsiteX5680" y="connsiteY5680"/>
                </a:cxn>
                <a:cxn ang="0">
                  <a:pos x="connsiteX5681" y="connsiteY5681"/>
                </a:cxn>
                <a:cxn ang="0">
                  <a:pos x="connsiteX5682" y="connsiteY5682"/>
                </a:cxn>
                <a:cxn ang="0">
                  <a:pos x="connsiteX5683" y="connsiteY5683"/>
                </a:cxn>
                <a:cxn ang="0">
                  <a:pos x="connsiteX5684" y="connsiteY5684"/>
                </a:cxn>
                <a:cxn ang="0">
                  <a:pos x="connsiteX5685" y="connsiteY5685"/>
                </a:cxn>
                <a:cxn ang="0">
                  <a:pos x="connsiteX5686" y="connsiteY5686"/>
                </a:cxn>
                <a:cxn ang="0">
                  <a:pos x="connsiteX5687" y="connsiteY5687"/>
                </a:cxn>
                <a:cxn ang="0">
                  <a:pos x="connsiteX5688" y="connsiteY5688"/>
                </a:cxn>
                <a:cxn ang="0">
                  <a:pos x="connsiteX5689" y="connsiteY5689"/>
                </a:cxn>
                <a:cxn ang="0">
                  <a:pos x="connsiteX5690" y="connsiteY5690"/>
                </a:cxn>
                <a:cxn ang="0">
                  <a:pos x="connsiteX5691" y="connsiteY5691"/>
                </a:cxn>
                <a:cxn ang="0">
                  <a:pos x="connsiteX5692" y="connsiteY5692"/>
                </a:cxn>
                <a:cxn ang="0">
                  <a:pos x="connsiteX5693" y="connsiteY5693"/>
                </a:cxn>
                <a:cxn ang="0">
                  <a:pos x="connsiteX5694" y="connsiteY5694"/>
                </a:cxn>
                <a:cxn ang="0">
                  <a:pos x="connsiteX5695" y="connsiteY5695"/>
                </a:cxn>
                <a:cxn ang="0">
                  <a:pos x="connsiteX5696" y="connsiteY5696"/>
                </a:cxn>
                <a:cxn ang="0">
                  <a:pos x="connsiteX5697" y="connsiteY5697"/>
                </a:cxn>
                <a:cxn ang="0">
                  <a:pos x="connsiteX5698" y="connsiteY5698"/>
                </a:cxn>
                <a:cxn ang="0">
                  <a:pos x="connsiteX5699" y="connsiteY5699"/>
                </a:cxn>
                <a:cxn ang="0">
                  <a:pos x="connsiteX5700" y="connsiteY5700"/>
                </a:cxn>
                <a:cxn ang="0">
                  <a:pos x="connsiteX5701" y="connsiteY5701"/>
                </a:cxn>
                <a:cxn ang="0">
                  <a:pos x="connsiteX5702" y="connsiteY5702"/>
                </a:cxn>
                <a:cxn ang="0">
                  <a:pos x="connsiteX5703" y="connsiteY5703"/>
                </a:cxn>
                <a:cxn ang="0">
                  <a:pos x="connsiteX5704" y="connsiteY5704"/>
                </a:cxn>
                <a:cxn ang="0">
                  <a:pos x="connsiteX5705" y="connsiteY5705"/>
                </a:cxn>
                <a:cxn ang="0">
                  <a:pos x="connsiteX5706" y="connsiteY5706"/>
                </a:cxn>
                <a:cxn ang="0">
                  <a:pos x="connsiteX5707" y="connsiteY5707"/>
                </a:cxn>
                <a:cxn ang="0">
                  <a:pos x="connsiteX5708" y="connsiteY5708"/>
                </a:cxn>
                <a:cxn ang="0">
                  <a:pos x="connsiteX5709" y="connsiteY5709"/>
                </a:cxn>
                <a:cxn ang="0">
                  <a:pos x="connsiteX5710" y="connsiteY5710"/>
                </a:cxn>
                <a:cxn ang="0">
                  <a:pos x="connsiteX5711" y="connsiteY5711"/>
                </a:cxn>
                <a:cxn ang="0">
                  <a:pos x="connsiteX5712" y="connsiteY5712"/>
                </a:cxn>
                <a:cxn ang="0">
                  <a:pos x="connsiteX5713" y="connsiteY5713"/>
                </a:cxn>
                <a:cxn ang="0">
                  <a:pos x="connsiteX5714" y="connsiteY5714"/>
                </a:cxn>
                <a:cxn ang="0">
                  <a:pos x="connsiteX5715" y="connsiteY5715"/>
                </a:cxn>
                <a:cxn ang="0">
                  <a:pos x="connsiteX5716" y="connsiteY5716"/>
                </a:cxn>
                <a:cxn ang="0">
                  <a:pos x="connsiteX5717" y="connsiteY5717"/>
                </a:cxn>
                <a:cxn ang="0">
                  <a:pos x="connsiteX5718" y="connsiteY5718"/>
                </a:cxn>
                <a:cxn ang="0">
                  <a:pos x="connsiteX5719" y="connsiteY5719"/>
                </a:cxn>
                <a:cxn ang="0">
                  <a:pos x="connsiteX5720" y="connsiteY5720"/>
                </a:cxn>
                <a:cxn ang="0">
                  <a:pos x="connsiteX5721" y="connsiteY5721"/>
                </a:cxn>
                <a:cxn ang="0">
                  <a:pos x="connsiteX5722" y="connsiteY5722"/>
                </a:cxn>
                <a:cxn ang="0">
                  <a:pos x="connsiteX5723" y="connsiteY5723"/>
                </a:cxn>
                <a:cxn ang="0">
                  <a:pos x="connsiteX5724" y="connsiteY5724"/>
                </a:cxn>
                <a:cxn ang="0">
                  <a:pos x="connsiteX5725" y="connsiteY5725"/>
                </a:cxn>
                <a:cxn ang="0">
                  <a:pos x="connsiteX5726" y="connsiteY5726"/>
                </a:cxn>
                <a:cxn ang="0">
                  <a:pos x="connsiteX5727" y="connsiteY5727"/>
                </a:cxn>
                <a:cxn ang="0">
                  <a:pos x="connsiteX5728" y="connsiteY5728"/>
                </a:cxn>
                <a:cxn ang="0">
                  <a:pos x="connsiteX5729" y="connsiteY5729"/>
                </a:cxn>
                <a:cxn ang="0">
                  <a:pos x="connsiteX5730" y="connsiteY5730"/>
                </a:cxn>
                <a:cxn ang="0">
                  <a:pos x="connsiteX5731" y="connsiteY5731"/>
                </a:cxn>
                <a:cxn ang="0">
                  <a:pos x="connsiteX5732" y="connsiteY5732"/>
                </a:cxn>
                <a:cxn ang="0">
                  <a:pos x="connsiteX5733" y="connsiteY5733"/>
                </a:cxn>
                <a:cxn ang="0">
                  <a:pos x="connsiteX5734" y="connsiteY5734"/>
                </a:cxn>
                <a:cxn ang="0">
                  <a:pos x="connsiteX5735" y="connsiteY5735"/>
                </a:cxn>
                <a:cxn ang="0">
                  <a:pos x="connsiteX5736" y="connsiteY5736"/>
                </a:cxn>
                <a:cxn ang="0">
                  <a:pos x="connsiteX5737" y="connsiteY5737"/>
                </a:cxn>
                <a:cxn ang="0">
                  <a:pos x="connsiteX5738" y="connsiteY5738"/>
                </a:cxn>
                <a:cxn ang="0">
                  <a:pos x="connsiteX5739" y="connsiteY5739"/>
                </a:cxn>
                <a:cxn ang="0">
                  <a:pos x="connsiteX5740" y="connsiteY5740"/>
                </a:cxn>
                <a:cxn ang="0">
                  <a:pos x="connsiteX5741" y="connsiteY5741"/>
                </a:cxn>
                <a:cxn ang="0">
                  <a:pos x="connsiteX5742" y="connsiteY5742"/>
                </a:cxn>
                <a:cxn ang="0">
                  <a:pos x="connsiteX5743" y="connsiteY5743"/>
                </a:cxn>
                <a:cxn ang="0">
                  <a:pos x="connsiteX5744" y="connsiteY5744"/>
                </a:cxn>
                <a:cxn ang="0">
                  <a:pos x="connsiteX5745" y="connsiteY5745"/>
                </a:cxn>
                <a:cxn ang="0">
                  <a:pos x="connsiteX5746" y="connsiteY5746"/>
                </a:cxn>
                <a:cxn ang="0">
                  <a:pos x="connsiteX5747" y="connsiteY5747"/>
                </a:cxn>
                <a:cxn ang="0">
                  <a:pos x="connsiteX5748" y="connsiteY5748"/>
                </a:cxn>
                <a:cxn ang="0">
                  <a:pos x="connsiteX5749" y="connsiteY5749"/>
                </a:cxn>
                <a:cxn ang="0">
                  <a:pos x="connsiteX5750" y="connsiteY5750"/>
                </a:cxn>
                <a:cxn ang="0">
                  <a:pos x="connsiteX5751" y="connsiteY5751"/>
                </a:cxn>
                <a:cxn ang="0">
                  <a:pos x="connsiteX5752" y="connsiteY5752"/>
                </a:cxn>
                <a:cxn ang="0">
                  <a:pos x="connsiteX5753" y="connsiteY5753"/>
                </a:cxn>
                <a:cxn ang="0">
                  <a:pos x="connsiteX5754" y="connsiteY5754"/>
                </a:cxn>
                <a:cxn ang="0">
                  <a:pos x="connsiteX5755" y="connsiteY5755"/>
                </a:cxn>
                <a:cxn ang="0">
                  <a:pos x="connsiteX5756" y="connsiteY5756"/>
                </a:cxn>
                <a:cxn ang="0">
                  <a:pos x="connsiteX5757" y="connsiteY5757"/>
                </a:cxn>
                <a:cxn ang="0">
                  <a:pos x="connsiteX5758" y="connsiteY5758"/>
                </a:cxn>
                <a:cxn ang="0">
                  <a:pos x="connsiteX5759" y="connsiteY5759"/>
                </a:cxn>
                <a:cxn ang="0">
                  <a:pos x="connsiteX5760" y="connsiteY5760"/>
                </a:cxn>
                <a:cxn ang="0">
                  <a:pos x="connsiteX5761" y="connsiteY5761"/>
                </a:cxn>
                <a:cxn ang="0">
                  <a:pos x="connsiteX5762" y="connsiteY5762"/>
                </a:cxn>
                <a:cxn ang="0">
                  <a:pos x="connsiteX5763" y="connsiteY5763"/>
                </a:cxn>
                <a:cxn ang="0">
                  <a:pos x="connsiteX5764" y="connsiteY5764"/>
                </a:cxn>
                <a:cxn ang="0">
                  <a:pos x="connsiteX5765" y="connsiteY5765"/>
                </a:cxn>
                <a:cxn ang="0">
                  <a:pos x="connsiteX5766" y="connsiteY5766"/>
                </a:cxn>
                <a:cxn ang="0">
                  <a:pos x="connsiteX5767" y="connsiteY5767"/>
                </a:cxn>
                <a:cxn ang="0">
                  <a:pos x="connsiteX5768" y="connsiteY5768"/>
                </a:cxn>
                <a:cxn ang="0">
                  <a:pos x="connsiteX5769" y="connsiteY5769"/>
                </a:cxn>
                <a:cxn ang="0">
                  <a:pos x="connsiteX5770" y="connsiteY5770"/>
                </a:cxn>
                <a:cxn ang="0">
                  <a:pos x="connsiteX5771" y="connsiteY5771"/>
                </a:cxn>
                <a:cxn ang="0">
                  <a:pos x="connsiteX5772" y="connsiteY5772"/>
                </a:cxn>
                <a:cxn ang="0">
                  <a:pos x="connsiteX5773" y="connsiteY5773"/>
                </a:cxn>
                <a:cxn ang="0">
                  <a:pos x="connsiteX5774" y="connsiteY5774"/>
                </a:cxn>
                <a:cxn ang="0">
                  <a:pos x="connsiteX5775" y="connsiteY5775"/>
                </a:cxn>
                <a:cxn ang="0">
                  <a:pos x="connsiteX5776" y="connsiteY5776"/>
                </a:cxn>
                <a:cxn ang="0">
                  <a:pos x="connsiteX5777" y="connsiteY5777"/>
                </a:cxn>
                <a:cxn ang="0">
                  <a:pos x="connsiteX5778" y="connsiteY5778"/>
                </a:cxn>
                <a:cxn ang="0">
                  <a:pos x="connsiteX5779" y="connsiteY5779"/>
                </a:cxn>
                <a:cxn ang="0">
                  <a:pos x="connsiteX5780" y="connsiteY5780"/>
                </a:cxn>
                <a:cxn ang="0">
                  <a:pos x="connsiteX5781" y="connsiteY5781"/>
                </a:cxn>
                <a:cxn ang="0">
                  <a:pos x="connsiteX5782" y="connsiteY5782"/>
                </a:cxn>
                <a:cxn ang="0">
                  <a:pos x="connsiteX5783" y="connsiteY5783"/>
                </a:cxn>
                <a:cxn ang="0">
                  <a:pos x="connsiteX5784" y="connsiteY5784"/>
                </a:cxn>
                <a:cxn ang="0">
                  <a:pos x="connsiteX5785" y="connsiteY5785"/>
                </a:cxn>
                <a:cxn ang="0">
                  <a:pos x="connsiteX5786" y="connsiteY5786"/>
                </a:cxn>
                <a:cxn ang="0">
                  <a:pos x="connsiteX5787" y="connsiteY5787"/>
                </a:cxn>
                <a:cxn ang="0">
                  <a:pos x="connsiteX5788" y="connsiteY5788"/>
                </a:cxn>
                <a:cxn ang="0">
                  <a:pos x="connsiteX5789" y="connsiteY5789"/>
                </a:cxn>
                <a:cxn ang="0">
                  <a:pos x="connsiteX5790" y="connsiteY5790"/>
                </a:cxn>
                <a:cxn ang="0">
                  <a:pos x="connsiteX5791" y="connsiteY5791"/>
                </a:cxn>
                <a:cxn ang="0">
                  <a:pos x="connsiteX5792" y="connsiteY5792"/>
                </a:cxn>
                <a:cxn ang="0">
                  <a:pos x="connsiteX5793" y="connsiteY5793"/>
                </a:cxn>
                <a:cxn ang="0">
                  <a:pos x="connsiteX5794" y="connsiteY5794"/>
                </a:cxn>
                <a:cxn ang="0">
                  <a:pos x="connsiteX5795" y="connsiteY5795"/>
                </a:cxn>
                <a:cxn ang="0">
                  <a:pos x="connsiteX5796" y="connsiteY5796"/>
                </a:cxn>
                <a:cxn ang="0">
                  <a:pos x="connsiteX5797" y="connsiteY5797"/>
                </a:cxn>
                <a:cxn ang="0">
                  <a:pos x="connsiteX5798" y="connsiteY5798"/>
                </a:cxn>
                <a:cxn ang="0">
                  <a:pos x="connsiteX5799" y="connsiteY5799"/>
                </a:cxn>
                <a:cxn ang="0">
                  <a:pos x="connsiteX5800" y="connsiteY5800"/>
                </a:cxn>
                <a:cxn ang="0">
                  <a:pos x="connsiteX5801" y="connsiteY5801"/>
                </a:cxn>
                <a:cxn ang="0">
                  <a:pos x="connsiteX5802" y="connsiteY5802"/>
                </a:cxn>
                <a:cxn ang="0">
                  <a:pos x="connsiteX5803" y="connsiteY5803"/>
                </a:cxn>
                <a:cxn ang="0">
                  <a:pos x="connsiteX5804" y="connsiteY5804"/>
                </a:cxn>
                <a:cxn ang="0">
                  <a:pos x="connsiteX5805" y="connsiteY5805"/>
                </a:cxn>
                <a:cxn ang="0">
                  <a:pos x="connsiteX5806" y="connsiteY5806"/>
                </a:cxn>
                <a:cxn ang="0">
                  <a:pos x="connsiteX5807" y="connsiteY5807"/>
                </a:cxn>
                <a:cxn ang="0">
                  <a:pos x="connsiteX5808" y="connsiteY5808"/>
                </a:cxn>
                <a:cxn ang="0">
                  <a:pos x="connsiteX5809" y="connsiteY5809"/>
                </a:cxn>
                <a:cxn ang="0">
                  <a:pos x="connsiteX5810" y="connsiteY5810"/>
                </a:cxn>
                <a:cxn ang="0">
                  <a:pos x="connsiteX5811" y="connsiteY5811"/>
                </a:cxn>
                <a:cxn ang="0">
                  <a:pos x="connsiteX5812" y="connsiteY5812"/>
                </a:cxn>
                <a:cxn ang="0">
                  <a:pos x="connsiteX5813" y="connsiteY5813"/>
                </a:cxn>
                <a:cxn ang="0">
                  <a:pos x="connsiteX5814" y="connsiteY5814"/>
                </a:cxn>
                <a:cxn ang="0">
                  <a:pos x="connsiteX5815" y="connsiteY5815"/>
                </a:cxn>
                <a:cxn ang="0">
                  <a:pos x="connsiteX5816" y="connsiteY5816"/>
                </a:cxn>
                <a:cxn ang="0">
                  <a:pos x="connsiteX5817" y="connsiteY5817"/>
                </a:cxn>
                <a:cxn ang="0">
                  <a:pos x="connsiteX5818" y="connsiteY5818"/>
                </a:cxn>
                <a:cxn ang="0">
                  <a:pos x="connsiteX5819" y="connsiteY5819"/>
                </a:cxn>
                <a:cxn ang="0">
                  <a:pos x="connsiteX5820" y="connsiteY5820"/>
                </a:cxn>
                <a:cxn ang="0">
                  <a:pos x="connsiteX5821" y="connsiteY5821"/>
                </a:cxn>
                <a:cxn ang="0">
                  <a:pos x="connsiteX5822" y="connsiteY5822"/>
                </a:cxn>
                <a:cxn ang="0">
                  <a:pos x="connsiteX5823" y="connsiteY5823"/>
                </a:cxn>
                <a:cxn ang="0">
                  <a:pos x="connsiteX5824" y="connsiteY5824"/>
                </a:cxn>
                <a:cxn ang="0">
                  <a:pos x="connsiteX5825" y="connsiteY5825"/>
                </a:cxn>
                <a:cxn ang="0">
                  <a:pos x="connsiteX5826" y="connsiteY5826"/>
                </a:cxn>
                <a:cxn ang="0">
                  <a:pos x="connsiteX5827" y="connsiteY5827"/>
                </a:cxn>
                <a:cxn ang="0">
                  <a:pos x="connsiteX5828" y="connsiteY5828"/>
                </a:cxn>
                <a:cxn ang="0">
                  <a:pos x="connsiteX5829" y="connsiteY5829"/>
                </a:cxn>
                <a:cxn ang="0">
                  <a:pos x="connsiteX5830" y="connsiteY5830"/>
                </a:cxn>
                <a:cxn ang="0">
                  <a:pos x="connsiteX5831" y="connsiteY5831"/>
                </a:cxn>
                <a:cxn ang="0">
                  <a:pos x="connsiteX5832" y="connsiteY5832"/>
                </a:cxn>
                <a:cxn ang="0">
                  <a:pos x="connsiteX5833" y="connsiteY5833"/>
                </a:cxn>
                <a:cxn ang="0">
                  <a:pos x="connsiteX5834" y="connsiteY5834"/>
                </a:cxn>
                <a:cxn ang="0">
                  <a:pos x="connsiteX5835" y="connsiteY5835"/>
                </a:cxn>
                <a:cxn ang="0">
                  <a:pos x="connsiteX5836" y="connsiteY5836"/>
                </a:cxn>
                <a:cxn ang="0">
                  <a:pos x="connsiteX5837" y="connsiteY5837"/>
                </a:cxn>
                <a:cxn ang="0">
                  <a:pos x="connsiteX5838" y="connsiteY5838"/>
                </a:cxn>
                <a:cxn ang="0">
                  <a:pos x="connsiteX5839" y="connsiteY5839"/>
                </a:cxn>
                <a:cxn ang="0">
                  <a:pos x="connsiteX5840" y="connsiteY5840"/>
                </a:cxn>
                <a:cxn ang="0">
                  <a:pos x="connsiteX5841" y="connsiteY5841"/>
                </a:cxn>
                <a:cxn ang="0">
                  <a:pos x="connsiteX5842" y="connsiteY5842"/>
                </a:cxn>
                <a:cxn ang="0">
                  <a:pos x="connsiteX5843" y="connsiteY5843"/>
                </a:cxn>
                <a:cxn ang="0">
                  <a:pos x="connsiteX5844" y="connsiteY5844"/>
                </a:cxn>
                <a:cxn ang="0">
                  <a:pos x="connsiteX5845" y="connsiteY5845"/>
                </a:cxn>
                <a:cxn ang="0">
                  <a:pos x="connsiteX5846" y="connsiteY5846"/>
                </a:cxn>
                <a:cxn ang="0">
                  <a:pos x="connsiteX5847" y="connsiteY5847"/>
                </a:cxn>
                <a:cxn ang="0">
                  <a:pos x="connsiteX5848" y="connsiteY5848"/>
                </a:cxn>
                <a:cxn ang="0">
                  <a:pos x="connsiteX5849" y="connsiteY5849"/>
                </a:cxn>
                <a:cxn ang="0">
                  <a:pos x="connsiteX5850" y="connsiteY5850"/>
                </a:cxn>
                <a:cxn ang="0">
                  <a:pos x="connsiteX5851" y="connsiteY5851"/>
                </a:cxn>
                <a:cxn ang="0">
                  <a:pos x="connsiteX5852" y="connsiteY5852"/>
                </a:cxn>
                <a:cxn ang="0">
                  <a:pos x="connsiteX5853" y="connsiteY5853"/>
                </a:cxn>
                <a:cxn ang="0">
                  <a:pos x="connsiteX5854" y="connsiteY5854"/>
                </a:cxn>
                <a:cxn ang="0">
                  <a:pos x="connsiteX5855" y="connsiteY5855"/>
                </a:cxn>
                <a:cxn ang="0">
                  <a:pos x="connsiteX5856" y="connsiteY5856"/>
                </a:cxn>
                <a:cxn ang="0">
                  <a:pos x="connsiteX5857" y="connsiteY5857"/>
                </a:cxn>
                <a:cxn ang="0">
                  <a:pos x="connsiteX5858" y="connsiteY5858"/>
                </a:cxn>
                <a:cxn ang="0">
                  <a:pos x="connsiteX5859" y="connsiteY5859"/>
                </a:cxn>
                <a:cxn ang="0">
                  <a:pos x="connsiteX5860" y="connsiteY5860"/>
                </a:cxn>
                <a:cxn ang="0">
                  <a:pos x="connsiteX5861" y="connsiteY5861"/>
                </a:cxn>
                <a:cxn ang="0">
                  <a:pos x="connsiteX5862" y="connsiteY5862"/>
                </a:cxn>
                <a:cxn ang="0">
                  <a:pos x="connsiteX5863" y="connsiteY5863"/>
                </a:cxn>
                <a:cxn ang="0">
                  <a:pos x="connsiteX5864" y="connsiteY5864"/>
                </a:cxn>
                <a:cxn ang="0">
                  <a:pos x="connsiteX5865" y="connsiteY5865"/>
                </a:cxn>
                <a:cxn ang="0">
                  <a:pos x="connsiteX5866" y="connsiteY5866"/>
                </a:cxn>
                <a:cxn ang="0">
                  <a:pos x="connsiteX5867" y="connsiteY5867"/>
                </a:cxn>
                <a:cxn ang="0">
                  <a:pos x="connsiteX5868" y="connsiteY5868"/>
                </a:cxn>
                <a:cxn ang="0">
                  <a:pos x="connsiteX5869" y="connsiteY5869"/>
                </a:cxn>
                <a:cxn ang="0">
                  <a:pos x="connsiteX5870" y="connsiteY5870"/>
                </a:cxn>
                <a:cxn ang="0">
                  <a:pos x="connsiteX5871" y="connsiteY5871"/>
                </a:cxn>
                <a:cxn ang="0">
                  <a:pos x="connsiteX5872" y="connsiteY5872"/>
                </a:cxn>
                <a:cxn ang="0">
                  <a:pos x="connsiteX5873" y="connsiteY5873"/>
                </a:cxn>
                <a:cxn ang="0">
                  <a:pos x="connsiteX5874" y="connsiteY5874"/>
                </a:cxn>
                <a:cxn ang="0">
                  <a:pos x="connsiteX5875" y="connsiteY5875"/>
                </a:cxn>
                <a:cxn ang="0">
                  <a:pos x="connsiteX5876" y="connsiteY5876"/>
                </a:cxn>
                <a:cxn ang="0">
                  <a:pos x="connsiteX5877" y="connsiteY5877"/>
                </a:cxn>
                <a:cxn ang="0">
                  <a:pos x="connsiteX5878" y="connsiteY5878"/>
                </a:cxn>
                <a:cxn ang="0">
                  <a:pos x="connsiteX5879" y="connsiteY5879"/>
                </a:cxn>
                <a:cxn ang="0">
                  <a:pos x="connsiteX5880" y="connsiteY5880"/>
                </a:cxn>
                <a:cxn ang="0">
                  <a:pos x="connsiteX5881" y="connsiteY5881"/>
                </a:cxn>
                <a:cxn ang="0">
                  <a:pos x="connsiteX5882" y="connsiteY5882"/>
                </a:cxn>
                <a:cxn ang="0">
                  <a:pos x="connsiteX5883" y="connsiteY5883"/>
                </a:cxn>
                <a:cxn ang="0">
                  <a:pos x="connsiteX5884" y="connsiteY5884"/>
                </a:cxn>
                <a:cxn ang="0">
                  <a:pos x="connsiteX5885" y="connsiteY5885"/>
                </a:cxn>
                <a:cxn ang="0">
                  <a:pos x="connsiteX5886" y="connsiteY5886"/>
                </a:cxn>
                <a:cxn ang="0">
                  <a:pos x="connsiteX5887" y="connsiteY5887"/>
                </a:cxn>
                <a:cxn ang="0">
                  <a:pos x="connsiteX5888" y="connsiteY5888"/>
                </a:cxn>
                <a:cxn ang="0">
                  <a:pos x="connsiteX5889" y="connsiteY5889"/>
                </a:cxn>
                <a:cxn ang="0">
                  <a:pos x="connsiteX5890" y="connsiteY5890"/>
                </a:cxn>
                <a:cxn ang="0">
                  <a:pos x="connsiteX5891" y="connsiteY5891"/>
                </a:cxn>
                <a:cxn ang="0">
                  <a:pos x="connsiteX5892" y="connsiteY5892"/>
                </a:cxn>
                <a:cxn ang="0">
                  <a:pos x="connsiteX5893" y="connsiteY5893"/>
                </a:cxn>
                <a:cxn ang="0">
                  <a:pos x="connsiteX5894" y="connsiteY5894"/>
                </a:cxn>
                <a:cxn ang="0">
                  <a:pos x="connsiteX5895" y="connsiteY5895"/>
                </a:cxn>
                <a:cxn ang="0">
                  <a:pos x="connsiteX5896" y="connsiteY5896"/>
                </a:cxn>
                <a:cxn ang="0">
                  <a:pos x="connsiteX5897" y="connsiteY5897"/>
                </a:cxn>
                <a:cxn ang="0">
                  <a:pos x="connsiteX5898" y="connsiteY5898"/>
                </a:cxn>
                <a:cxn ang="0">
                  <a:pos x="connsiteX5899" y="connsiteY5899"/>
                </a:cxn>
                <a:cxn ang="0">
                  <a:pos x="connsiteX5900" y="connsiteY5900"/>
                </a:cxn>
                <a:cxn ang="0">
                  <a:pos x="connsiteX5901" y="connsiteY5901"/>
                </a:cxn>
                <a:cxn ang="0">
                  <a:pos x="connsiteX5902" y="connsiteY5902"/>
                </a:cxn>
                <a:cxn ang="0">
                  <a:pos x="connsiteX5903" y="connsiteY5903"/>
                </a:cxn>
                <a:cxn ang="0">
                  <a:pos x="connsiteX5904" y="connsiteY5904"/>
                </a:cxn>
                <a:cxn ang="0">
                  <a:pos x="connsiteX5905" y="connsiteY5905"/>
                </a:cxn>
                <a:cxn ang="0">
                  <a:pos x="connsiteX5906" y="connsiteY5906"/>
                </a:cxn>
                <a:cxn ang="0">
                  <a:pos x="connsiteX5907" y="connsiteY5907"/>
                </a:cxn>
                <a:cxn ang="0">
                  <a:pos x="connsiteX5908" y="connsiteY5908"/>
                </a:cxn>
                <a:cxn ang="0">
                  <a:pos x="connsiteX5909" y="connsiteY5909"/>
                </a:cxn>
                <a:cxn ang="0">
                  <a:pos x="connsiteX5910" y="connsiteY5910"/>
                </a:cxn>
                <a:cxn ang="0">
                  <a:pos x="connsiteX5911" y="connsiteY5911"/>
                </a:cxn>
                <a:cxn ang="0">
                  <a:pos x="connsiteX5912" y="connsiteY5912"/>
                </a:cxn>
                <a:cxn ang="0">
                  <a:pos x="connsiteX5913" y="connsiteY5913"/>
                </a:cxn>
                <a:cxn ang="0">
                  <a:pos x="connsiteX5914" y="connsiteY5914"/>
                </a:cxn>
                <a:cxn ang="0">
                  <a:pos x="connsiteX5915" y="connsiteY5915"/>
                </a:cxn>
                <a:cxn ang="0">
                  <a:pos x="connsiteX5916" y="connsiteY5916"/>
                </a:cxn>
                <a:cxn ang="0">
                  <a:pos x="connsiteX5917" y="connsiteY5917"/>
                </a:cxn>
                <a:cxn ang="0">
                  <a:pos x="connsiteX5918" y="connsiteY5918"/>
                </a:cxn>
                <a:cxn ang="0">
                  <a:pos x="connsiteX5919" y="connsiteY5919"/>
                </a:cxn>
                <a:cxn ang="0">
                  <a:pos x="connsiteX5920" y="connsiteY5920"/>
                </a:cxn>
                <a:cxn ang="0">
                  <a:pos x="connsiteX5921" y="connsiteY5921"/>
                </a:cxn>
                <a:cxn ang="0">
                  <a:pos x="connsiteX5922" y="connsiteY5922"/>
                </a:cxn>
                <a:cxn ang="0">
                  <a:pos x="connsiteX5923" y="connsiteY5923"/>
                </a:cxn>
                <a:cxn ang="0">
                  <a:pos x="connsiteX5924" y="connsiteY5924"/>
                </a:cxn>
                <a:cxn ang="0">
                  <a:pos x="connsiteX5925" y="connsiteY5925"/>
                </a:cxn>
                <a:cxn ang="0">
                  <a:pos x="connsiteX5926" y="connsiteY5926"/>
                </a:cxn>
                <a:cxn ang="0">
                  <a:pos x="connsiteX5927" y="connsiteY5927"/>
                </a:cxn>
                <a:cxn ang="0">
                  <a:pos x="connsiteX5928" y="connsiteY5928"/>
                </a:cxn>
                <a:cxn ang="0">
                  <a:pos x="connsiteX5929" y="connsiteY5929"/>
                </a:cxn>
                <a:cxn ang="0">
                  <a:pos x="connsiteX5930" y="connsiteY5930"/>
                </a:cxn>
                <a:cxn ang="0">
                  <a:pos x="connsiteX5931" y="connsiteY5931"/>
                </a:cxn>
                <a:cxn ang="0">
                  <a:pos x="connsiteX5932" y="connsiteY5932"/>
                </a:cxn>
                <a:cxn ang="0">
                  <a:pos x="connsiteX5933" y="connsiteY5933"/>
                </a:cxn>
                <a:cxn ang="0">
                  <a:pos x="connsiteX5934" y="connsiteY5934"/>
                </a:cxn>
                <a:cxn ang="0">
                  <a:pos x="connsiteX5935" y="connsiteY5935"/>
                </a:cxn>
                <a:cxn ang="0">
                  <a:pos x="connsiteX5936" y="connsiteY5936"/>
                </a:cxn>
                <a:cxn ang="0">
                  <a:pos x="connsiteX5937" y="connsiteY5937"/>
                </a:cxn>
                <a:cxn ang="0">
                  <a:pos x="connsiteX5938" y="connsiteY5938"/>
                </a:cxn>
                <a:cxn ang="0">
                  <a:pos x="connsiteX5939" y="connsiteY5939"/>
                </a:cxn>
                <a:cxn ang="0">
                  <a:pos x="connsiteX5940" y="connsiteY5940"/>
                </a:cxn>
                <a:cxn ang="0">
                  <a:pos x="connsiteX5941" y="connsiteY5941"/>
                </a:cxn>
                <a:cxn ang="0">
                  <a:pos x="connsiteX5942" y="connsiteY5942"/>
                </a:cxn>
                <a:cxn ang="0">
                  <a:pos x="connsiteX5943" y="connsiteY5943"/>
                </a:cxn>
                <a:cxn ang="0">
                  <a:pos x="connsiteX5944" y="connsiteY5944"/>
                </a:cxn>
                <a:cxn ang="0">
                  <a:pos x="connsiteX5945" y="connsiteY5945"/>
                </a:cxn>
                <a:cxn ang="0">
                  <a:pos x="connsiteX5946" y="connsiteY5946"/>
                </a:cxn>
                <a:cxn ang="0">
                  <a:pos x="connsiteX5947" y="connsiteY5947"/>
                </a:cxn>
                <a:cxn ang="0">
                  <a:pos x="connsiteX5948" y="connsiteY5948"/>
                </a:cxn>
                <a:cxn ang="0">
                  <a:pos x="connsiteX5949" y="connsiteY5949"/>
                </a:cxn>
                <a:cxn ang="0">
                  <a:pos x="connsiteX5950" y="connsiteY5950"/>
                </a:cxn>
                <a:cxn ang="0">
                  <a:pos x="connsiteX5951" y="connsiteY5951"/>
                </a:cxn>
                <a:cxn ang="0">
                  <a:pos x="connsiteX5952" y="connsiteY5952"/>
                </a:cxn>
                <a:cxn ang="0">
                  <a:pos x="connsiteX5953" y="connsiteY5953"/>
                </a:cxn>
                <a:cxn ang="0">
                  <a:pos x="connsiteX5954" y="connsiteY5954"/>
                </a:cxn>
                <a:cxn ang="0">
                  <a:pos x="connsiteX5955" y="connsiteY5955"/>
                </a:cxn>
                <a:cxn ang="0">
                  <a:pos x="connsiteX5956" y="connsiteY5956"/>
                </a:cxn>
                <a:cxn ang="0">
                  <a:pos x="connsiteX5957" y="connsiteY5957"/>
                </a:cxn>
                <a:cxn ang="0">
                  <a:pos x="connsiteX5958" y="connsiteY5958"/>
                </a:cxn>
                <a:cxn ang="0">
                  <a:pos x="connsiteX5959" y="connsiteY5959"/>
                </a:cxn>
                <a:cxn ang="0">
                  <a:pos x="connsiteX5960" y="connsiteY5960"/>
                </a:cxn>
                <a:cxn ang="0">
                  <a:pos x="connsiteX5961" y="connsiteY5961"/>
                </a:cxn>
                <a:cxn ang="0">
                  <a:pos x="connsiteX5962" y="connsiteY5962"/>
                </a:cxn>
                <a:cxn ang="0">
                  <a:pos x="connsiteX5963" y="connsiteY5963"/>
                </a:cxn>
                <a:cxn ang="0">
                  <a:pos x="connsiteX5964" y="connsiteY5964"/>
                </a:cxn>
                <a:cxn ang="0">
                  <a:pos x="connsiteX5965" y="connsiteY5965"/>
                </a:cxn>
                <a:cxn ang="0">
                  <a:pos x="connsiteX5966" y="connsiteY5966"/>
                </a:cxn>
                <a:cxn ang="0">
                  <a:pos x="connsiteX5967" y="connsiteY5967"/>
                </a:cxn>
                <a:cxn ang="0">
                  <a:pos x="connsiteX5968" y="connsiteY5968"/>
                </a:cxn>
                <a:cxn ang="0">
                  <a:pos x="connsiteX5969" y="connsiteY5969"/>
                </a:cxn>
                <a:cxn ang="0">
                  <a:pos x="connsiteX5970" y="connsiteY5970"/>
                </a:cxn>
                <a:cxn ang="0">
                  <a:pos x="connsiteX5971" y="connsiteY5971"/>
                </a:cxn>
                <a:cxn ang="0">
                  <a:pos x="connsiteX5972" y="connsiteY5972"/>
                </a:cxn>
                <a:cxn ang="0">
                  <a:pos x="connsiteX5973" y="connsiteY5973"/>
                </a:cxn>
                <a:cxn ang="0">
                  <a:pos x="connsiteX5974" y="connsiteY5974"/>
                </a:cxn>
                <a:cxn ang="0">
                  <a:pos x="connsiteX5975" y="connsiteY5975"/>
                </a:cxn>
                <a:cxn ang="0">
                  <a:pos x="connsiteX5976" y="connsiteY5976"/>
                </a:cxn>
                <a:cxn ang="0">
                  <a:pos x="connsiteX5977" y="connsiteY5977"/>
                </a:cxn>
                <a:cxn ang="0">
                  <a:pos x="connsiteX5978" y="connsiteY5978"/>
                </a:cxn>
                <a:cxn ang="0">
                  <a:pos x="connsiteX5979" y="connsiteY5979"/>
                </a:cxn>
                <a:cxn ang="0">
                  <a:pos x="connsiteX5980" y="connsiteY5980"/>
                </a:cxn>
                <a:cxn ang="0">
                  <a:pos x="connsiteX5981" y="connsiteY5981"/>
                </a:cxn>
                <a:cxn ang="0">
                  <a:pos x="connsiteX5982" y="connsiteY5982"/>
                </a:cxn>
                <a:cxn ang="0">
                  <a:pos x="connsiteX5983" y="connsiteY5983"/>
                </a:cxn>
                <a:cxn ang="0">
                  <a:pos x="connsiteX5984" y="connsiteY5984"/>
                </a:cxn>
                <a:cxn ang="0">
                  <a:pos x="connsiteX5985" y="connsiteY5985"/>
                </a:cxn>
                <a:cxn ang="0">
                  <a:pos x="connsiteX5986" y="connsiteY5986"/>
                </a:cxn>
                <a:cxn ang="0">
                  <a:pos x="connsiteX5987" y="connsiteY5987"/>
                </a:cxn>
                <a:cxn ang="0">
                  <a:pos x="connsiteX5988" y="connsiteY5988"/>
                </a:cxn>
                <a:cxn ang="0">
                  <a:pos x="connsiteX5989" y="connsiteY5989"/>
                </a:cxn>
                <a:cxn ang="0">
                  <a:pos x="connsiteX5990" y="connsiteY5990"/>
                </a:cxn>
                <a:cxn ang="0">
                  <a:pos x="connsiteX5991" y="connsiteY5991"/>
                </a:cxn>
                <a:cxn ang="0">
                  <a:pos x="connsiteX5992" y="connsiteY5992"/>
                </a:cxn>
                <a:cxn ang="0">
                  <a:pos x="connsiteX5993" y="connsiteY5993"/>
                </a:cxn>
                <a:cxn ang="0">
                  <a:pos x="connsiteX5994" y="connsiteY5994"/>
                </a:cxn>
                <a:cxn ang="0">
                  <a:pos x="connsiteX5995" y="connsiteY5995"/>
                </a:cxn>
                <a:cxn ang="0">
                  <a:pos x="connsiteX5996" y="connsiteY5996"/>
                </a:cxn>
                <a:cxn ang="0">
                  <a:pos x="connsiteX5997" y="connsiteY5997"/>
                </a:cxn>
                <a:cxn ang="0">
                  <a:pos x="connsiteX5998" y="connsiteY5998"/>
                </a:cxn>
                <a:cxn ang="0">
                  <a:pos x="connsiteX5999" y="connsiteY5999"/>
                </a:cxn>
                <a:cxn ang="0">
                  <a:pos x="connsiteX6000" y="connsiteY6000"/>
                </a:cxn>
                <a:cxn ang="0">
                  <a:pos x="connsiteX6001" y="connsiteY6001"/>
                </a:cxn>
                <a:cxn ang="0">
                  <a:pos x="connsiteX6002" y="connsiteY6002"/>
                </a:cxn>
                <a:cxn ang="0">
                  <a:pos x="connsiteX6003" y="connsiteY6003"/>
                </a:cxn>
                <a:cxn ang="0">
                  <a:pos x="connsiteX6004" y="connsiteY6004"/>
                </a:cxn>
                <a:cxn ang="0">
                  <a:pos x="connsiteX6005" y="connsiteY6005"/>
                </a:cxn>
                <a:cxn ang="0">
                  <a:pos x="connsiteX6006" y="connsiteY6006"/>
                </a:cxn>
                <a:cxn ang="0">
                  <a:pos x="connsiteX6007" y="connsiteY6007"/>
                </a:cxn>
                <a:cxn ang="0">
                  <a:pos x="connsiteX6008" y="connsiteY6008"/>
                </a:cxn>
                <a:cxn ang="0">
                  <a:pos x="connsiteX6009" y="connsiteY6009"/>
                </a:cxn>
                <a:cxn ang="0">
                  <a:pos x="connsiteX6010" y="connsiteY6010"/>
                </a:cxn>
                <a:cxn ang="0">
                  <a:pos x="connsiteX6011" y="connsiteY6011"/>
                </a:cxn>
                <a:cxn ang="0">
                  <a:pos x="connsiteX6012" y="connsiteY6012"/>
                </a:cxn>
                <a:cxn ang="0">
                  <a:pos x="connsiteX6013" y="connsiteY6013"/>
                </a:cxn>
                <a:cxn ang="0">
                  <a:pos x="connsiteX6014" y="connsiteY6014"/>
                </a:cxn>
                <a:cxn ang="0">
                  <a:pos x="connsiteX6015" y="connsiteY6015"/>
                </a:cxn>
                <a:cxn ang="0">
                  <a:pos x="connsiteX6016" y="connsiteY6016"/>
                </a:cxn>
                <a:cxn ang="0">
                  <a:pos x="connsiteX6017" y="connsiteY6017"/>
                </a:cxn>
                <a:cxn ang="0">
                  <a:pos x="connsiteX6018" y="connsiteY6018"/>
                </a:cxn>
                <a:cxn ang="0">
                  <a:pos x="connsiteX6019" y="connsiteY6019"/>
                </a:cxn>
                <a:cxn ang="0">
                  <a:pos x="connsiteX6020" y="connsiteY6020"/>
                </a:cxn>
                <a:cxn ang="0">
                  <a:pos x="connsiteX6021" y="connsiteY6021"/>
                </a:cxn>
                <a:cxn ang="0">
                  <a:pos x="connsiteX6022" y="connsiteY6022"/>
                </a:cxn>
                <a:cxn ang="0">
                  <a:pos x="connsiteX6023" y="connsiteY6023"/>
                </a:cxn>
                <a:cxn ang="0">
                  <a:pos x="connsiteX6024" y="connsiteY6024"/>
                </a:cxn>
                <a:cxn ang="0">
                  <a:pos x="connsiteX6025" y="connsiteY6025"/>
                </a:cxn>
                <a:cxn ang="0">
                  <a:pos x="connsiteX6026" y="connsiteY6026"/>
                </a:cxn>
                <a:cxn ang="0">
                  <a:pos x="connsiteX6027" y="connsiteY6027"/>
                </a:cxn>
                <a:cxn ang="0">
                  <a:pos x="connsiteX6028" y="connsiteY6028"/>
                </a:cxn>
                <a:cxn ang="0">
                  <a:pos x="connsiteX6029" y="connsiteY6029"/>
                </a:cxn>
                <a:cxn ang="0">
                  <a:pos x="connsiteX6030" y="connsiteY6030"/>
                </a:cxn>
                <a:cxn ang="0">
                  <a:pos x="connsiteX6031" y="connsiteY6031"/>
                </a:cxn>
                <a:cxn ang="0">
                  <a:pos x="connsiteX6032" y="connsiteY6032"/>
                </a:cxn>
                <a:cxn ang="0">
                  <a:pos x="connsiteX6033" y="connsiteY6033"/>
                </a:cxn>
                <a:cxn ang="0">
                  <a:pos x="connsiteX6034" y="connsiteY6034"/>
                </a:cxn>
                <a:cxn ang="0">
                  <a:pos x="connsiteX6035" y="connsiteY6035"/>
                </a:cxn>
                <a:cxn ang="0">
                  <a:pos x="connsiteX6036" y="connsiteY6036"/>
                </a:cxn>
                <a:cxn ang="0">
                  <a:pos x="connsiteX6037" y="connsiteY6037"/>
                </a:cxn>
                <a:cxn ang="0">
                  <a:pos x="connsiteX6038" y="connsiteY6038"/>
                </a:cxn>
                <a:cxn ang="0">
                  <a:pos x="connsiteX6039" y="connsiteY6039"/>
                </a:cxn>
                <a:cxn ang="0">
                  <a:pos x="connsiteX6040" y="connsiteY6040"/>
                </a:cxn>
                <a:cxn ang="0">
                  <a:pos x="connsiteX6041" y="connsiteY6041"/>
                </a:cxn>
                <a:cxn ang="0">
                  <a:pos x="connsiteX6042" y="connsiteY6042"/>
                </a:cxn>
                <a:cxn ang="0">
                  <a:pos x="connsiteX6043" y="connsiteY6043"/>
                </a:cxn>
                <a:cxn ang="0">
                  <a:pos x="connsiteX6044" y="connsiteY6044"/>
                </a:cxn>
                <a:cxn ang="0">
                  <a:pos x="connsiteX6045" y="connsiteY6045"/>
                </a:cxn>
                <a:cxn ang="0">
                  <a:pos x="connsiteX6046" y="connsiteY6046"/>
                </a:cxn>
                <a:cxn ang="0">
                  <a:pos x="connsiteX6047" y="connsiteY6047"/>
                </a:cxn>
                <a:cxn ang="0">
                  <a:pos x="connsiteX6048" y="connsiteY6048"/>
                </a:cxn>
                <a:cxn ang="0">
                  <a:pos x="connsiteX6049" y="connsiteY6049"/>
                </a:cxn>
                <a:cxn ang="0">
                  <a:pos x="connsiteX6050" y="connsiteY6050"/>
                </a:cxn>
                <a:cxn ang="0">
                  <a:pos x="connsiteX6051" y="connsiteY6051"/>
                </a:cxn>
                <a:cxn ang="0">
                  <a:pos x="connsiteX6052" y="connsiteY6052"/>
                </a:cxn>
                <a:cxn ang="0">
                  <a:pos x="connsiteX6053" y="connsiteY6053"/>
                </a:cxn>
                <a:cxn ang="0">
                  <a:pos x="connsiteX6054" y="connsiteY6054"/>
                </a:cxn>
                <a:cxn ang="0">
                  <a:pos x="connsiteX6055" y="connsiteY6055"/>
                </a:cxn>
                <a:cxn ang="0">
                  <a:pos x="connsiteX6056" y="connsiteY6056"/>
                </a:cxn>
                <a:cxn ang="0">
                  <a:pos x="connsiteX6057" y="connsiteY6057"/>
                </a:cxn>
                <a:cxn ang="0">
                  <a:pos x="connsiteX6058" y="connsiteY6058"/>
                </a:cxn>
                <a:cxn ang="0">
                  <a:pos x="connsiteX6059" y="connsiteY6059"/>
                </a:cxn>
                <a:cxn ang="0">
                  <a:pos x="connsiteX6060" y="connsiteY6060"/>
                </a:cxn>
                <a:cxn ang="0">
                  <a:pos x="connsiteX6061" y="connsiteY6061"/>
                </a:cxn>
                <a:cxn ang="0">
                  <a:pos x="connsiteX6062" y="connsiteY6062"/>
                </a:cxn>
                <a:cxn ang="0">
                  <a:pos x="connsiteX6063" y="connsiteY6063"/>
                </a:cxn>
                <a:cxn ang="0">
                  <a:pos x="connsiteX6064" y="connsiteY6064"/>
                </a:cxn>
                <a:cxn ang="0">
                  <a:pos x="connsiteX6065" y="connsiteY6065"/>
                </a:cxn>
                <a:cxn ang="0">
                  <a:pos x="connsiteX6066" y="connsiteY6066"/>
                </a:cxn>
                <a:cxn ang="0">
                  <a:pos x="connsiteX6067" y="connsiteY6067"/>
                </a:cxn>
                <a:cxn ang="0">
                  <a:pos x="connsiteX6068" y="connsiteY6068"/>
                </a:cxn>
                <a:cxn ang="0">
                  <a:pos x="connsiteX6069" y="connsiteY6069"/>
                </a:cxn>
                <a:cxn ang="0">
                  <a:pos x="connsiteX6070" y="connsiteY6070"/>
                </a:cxn>
                <a:cxn ang="0">
                  <a:pos x="connsiteX6071" y="connsiteY6071"/>
                </a:cxn>
                <a:cxn ang="0">
                  <a:pos x="connsiteX6072" y="connsiteY6072"/>
                </a:cxn>
                <a:cxn ang="0">
                  <a:pos x="connsiteX6073" y="connsiteY6073"/>
                </a:cxn>
                <a:cxn ang="0">
                  <a:pos x="connsiteX6074" y="connsiteY6074"/>
                </a:cxn>
                <a:cxn ang="0">
                  <a:pos x="connsiteX6075" y="connsiteY6075"/>
                </a:cxn>
                <a:cxn ang="0">
                  <a:pos x="connsiteX6076" y="connsiteY6076"/>
                </a:cxn>
                <a:cxn ang="0">
                  <a:pos x="connsiteX6077" y="connsiteY6077"/>
                </a:cxn>
                <a:cxn ang="0">
                  <a:pos x="connsiteX6078" y="connsiteY6078"/>
                </a:cxn>
                <a:cxn ang="0">
                  <a:pos x="connsiteX6079" y="connsiteY6079"/>
                </a:cxn>
                <a:cxn ang="0">
                  <a:pos x="connsiteX6080" y="connsiteY6080"/>
                </a:cxn>
                <a:cxn ang="0">
                  <a:pos x="connsiteX6081" y="connsiteY6081"/>
                </a:cxn>
                <a:cxn ang="0">
                  <a:pos x="connsiteX6082" y="connsiteY6082"/>
                </a:cxn>
                <a:cxn ang="0">
                  <a:pos x="connsiteX6083" y="connsiteY6083"/>
                </a:cxn>
                <a:cxn ang="0">
                  <a:pos x="connsiteX6084" y="connsiteY6084"/>
                </a:cxn>
                <a:cxn ang="0">
                  <a:pos x="connsiteX6085" y="connsiteY6085"/>
                </a:cxn>
                <a:cxn ang="0">
                  <a:pos x="connsiteX6086" y="connsiteY6086"/>
                </a:cxn>
                <a:cxn ang="0">
                  <a:pos x="connsiteX6087" y="connsiteY6087"/>
                </a:cxn>
                <a:cxn ang="0">
                  <a:pos x="connsiteX6088" y="connsiteY6088"/>
                </a:cxn>
                <a:cxn ang="0">
                  <a:pos x="connsiteX6089" y="connsiteY6089"/>
                </a:cxn>
                <a:cxn ang="0">
                  <a:pos x="connsiteX6090" y="connsiteY6090"/>
                </a:cxn>
                <a:cxn ang="0">
                  <a:pos x="connsiteX6091" y="connsiteY6091"/>
                </a:cxn>
                <a:cxn ang="0">
                  <a:pos x="connsiteX6092" y="connsiteY6092"/>
                </a:cxn>
                <a:cxn ang="0">
                  <a:pos x="connsiteX6093" y="connsiteY6093"/>
                </a:cxn>
                <a:cxn ang="0">
                  <a:pos x="connsiteX6094" y="connsiteY6094"/>
                </a:cxn>
                <a:cxn ang="0">
                  <a:pos x="connsiteX6095" y="connsiteY6095"/>
                </a:cxn>
                <a:cxn ang="0">
                  <a:pos x="connsiteX6096" y="connsiteY6096"/>
                </a:cxn>
                <a:cxn ang="0">
                  <a:pos x="connsiteX6097" y="connsiteY6097"/>
                </a:cxn>
                <a:cxn ang="0">
                  <a:pos x="connsiteX6098" y="connsiteY6098"/>
                </a:cxn>
                <a:cxn ang="0">
                  <a:pos x="connsiteX6099" y="connsiteY6099"/>
                </a:cxn>
                <a:cxn ang="0">
                  <a:pos x="connsiteX6100" y="connsiteY6100"/>
                </a:cxn>
                <a:cxn ang="0">
                  <a:pos x="connsiteX6101" y="connsiteY6101"/>
                </a:cxn>
                <a:cxn ang="0">
                  <a:pos x="connsiteX6102" y="connsiteY6102"/>
                </a:cxn>
                <a:cxn ang="0">
                  <a:pos x="connsiteX6103" y="connsiteY6103"/>
                </a:cxn>
                <a:cxn ang="0">
                  <a:pos x="connsiteX6104" y="connsiteY6104"/>
                </a:cxn>
                <a:cxn ang="0">
                  <a:pos x="connsiteX6105" y="connsiteY6105"/>
                </a:cxn>
                <a:cxn ang="0">
                  <a:pos x="connsiteX6106" y="connsiteY6106"/>
                </a:cxn>
                <a:cxn ang="0">
                  <a:pos x="connsiteX6107" y="connsiteY6107"/>
                </a:cxn>
                <a:cxn ang="0">
                  <a:pos x="connsiteX6108" y="connsiteY6108"/>
                </a:cxn>
                <a:cxn ang="0">
                  <a:pos x="connsiteX6109" y="connsiteY6109"/>
                </a:cxn>
                <a:cxn ang="0">
                  <a:pos x="connsiteX6110" y="connsiteY6110"/>
                </a:cxn>
                <a:cxn ang="0">
                  <a:pos x="connsiteX6111" y="connsiteY6111"/>
                </a:cxn>
                <a:cxn ang="0">
                  <a:pos x="connsiteX6112" y="connsiteY6112"/>
                </a:cxn>
                <a:cxn ang="0">
                  <a:pos x="connsiteX6113" y="connsiteY6113"/>
                </a:cxn>
                <a:cxn ang="0">
                  <a:pos x="connsiteX6114" y="connsiteY6114"/>
                </a:cxn>
                <a:cxn ang="0">
                  <a:pos x="connsiteX6115" y="connsiteY6115"/>
                </a:cxn>
                <a:cxn ang="0">
                  <a:pos x="connsiteX6116" y="connsiteY6116"/>
                </a:cxn>
                <a:cxn ang="0">
                  <a:pos x="connsiteX6117" y="connsiteY6117"/>
                </a:cxn>
                <a:cxn ang="0">
                  <a:pos x="connsiteX6118" y="connsiteY6118"/>
                </a:cxn>
                <a:cxn ang="0">
                  <a:pos x="connsiteX6119" y="connsiteY6119"/>
                </a:cxn>
                <a:cxn ang="0">
                  <a:pos x="connsiteX6120" y="connsiteY6120"/>
                </a:cxn>
                <a:cxn ang="0">
                  <a:pos x="connsiteX6121" y="connsiteY6121"/>
                </a:cxn>
                <a:cxn ang="0">
                  <a:pos x="connsiteX6122" y="connsiteY6122"/>
                </a:cxn>
                <a:cxn ang="0">
                  <a:pos x="connsiteX6123" y="connsiteY6123"/>
                </a:cxn>
                <a:cxn ang="0">
                  <a:pos x="connsiteX6124" y="connsiteY6124"/>
                </a:cxn>
                <a:cxn ang="0">
                  <a:pos x="connsiteX6125" y="connsiteY6125"/>
                </a:cxn>
                <a:cxn ang="0">
                  <a:pos x="connsiteX6126" y="connsiteY6126"/>
                </a:cxn>
                <a:cxn ang="0">
                  <a:pos x="connsiteX6127" y="connsiteY6127"/>
                </a:cxn>
                <a:cxn ang="0">
                  <a:pos x="connsiteX6128" y="connsiteY6128"/>
                </a:cxn>
                <a:cxn ang="0">
                  <a:pos x="connsiteX6129" y="connsiteY6129"/>
                </a:cxn>
                <a:cxn ang="0">
                  <a:pos x="connsiteX6130" y="connsiteY6130"/>
                </a:cxn>
                <a:cxn ang="0">
                  <a:pos x="connsiteX6131" y="connsiteY6131"/>
                </a:cxn>
                <a:cxn ang="0">
                  <a:pos x="connsiteX6132" y="connsiteY6132"/>
                </a:cxn>
                <a:cxn ang="0">
                  <a:pos x="connsiteX6133" y="connsiteY6133"/>
                </a:cxn>
                <a:cxn ang="0">
                  <a:pos x="connsiteX6134" y="connsiteY6134"/>
                </a:cxn>
                <a:cxn ang="0">
                  <a:pos x="connsiteX6135" y="connsiteY6135"/>
                </a:cxn>
                <a:cxn ang="0">
                  <a:pos x="connsiteX6136" y="connsiteY6136"/>
                </a:cxn>
                <a:cxn ang="0">
                  <a:pos x="connsiteX6137" y="connsiteY6137"/>
                </a:cxn>
                <a:cxn ang="0">
                  <a:pos x="connsiteX6138" y="connsiteY6138"/>
                </a:cxn>
                <a:cxn ang="0">
                  <a:pos x="connsiteX6139" y="connsiteY6139"/>
                </a:cxn>
                <a:cxn ang="0">
                  <a:pos x="connsiteX6140" y="connsiteY6140"/>
                </a:cxn>
                <a:cxn ang="0">
                  <a:pos x="connsiteX6141" y="connsiteY6141"/>
                </a:cxn>
                <a:cxn ang="0">
                  <a:pos x="connsiteX6142" y="connsiteY6142"/>
                </a:cxn>
                <a:cxn ang="0">
                  <a:pos x="connsiteX6143" y="connsiteY6143"/>
                </a:cxn>
                <a:cxn ang="0">
                  <a:pos x="connsiteX6144" y="connsiteY6144"/>
                </a:cxn>
                <a:cxn ang="0">
                  <a:pos x="connsiteX6145" y="connsiteY6145"/>
                </a:cxn>
                <a:cxn ang="0">
                  <a:pos x="connsiteX6146" y="connsiteY6146"/>
                </a:cxn>
                <a:cxn ang="0">
                  <a:pos x="connsiteX6147" y="connsiteY6147"/>
                </a:cxn>
                <a:cxn ang="0">
                  <a:pos x="connsiteX6148" y="connsiteY6148"/>
                </a:cxn>
                <a:cxn ang="0">
                  <a:pos x="connsiteX6149" y="connsiteY6149"/>
                </a:cxn>
                <a:cxn ang="0">
                  <a:pos x="connsiteX6150" y="connsiteY6150"/>
                </a:cxn>
                <a:cxn ang="0">
                  <a:pos x="connsiteX6151" y="connsiteY6151"/>
                </a:cxn>
                <a:cxn ang="0">
                  <a:pos x="connsiteX6152" y="connsiteY6152"/>
                </a:cxn>
                <a:cxn ang="0">
                  <a:pos x="connsiteX6153" y="connsiteY6153"/>
                </a:cxn>
                <a:cxn ang="0">
                  <a:pos x="connsiteX6154" y="connsiteY6154"/>
                </a:cxn>
                <a:cxn ang="0">
                  <a:pos x="connsiteX6155" y="connsiteY6155"/>
                </a:cxn>
                <a:cxn ang="0">
                  <a:pos x="connsiteX6156" y="connsiteY6156"/>
                </a:cxn>
                <a:cxn ang="0">
                  <a:pos x="connsiteX6157" y="connsiteY6157"/>
                </a:cxn>
                <a:cxn ang="0">
                  <a:pos x="connsiteX6158" y="connsiteY6158"/>
                </a:cxn>
                <a:cxn ang="0">
                  <a:pos x="connsiteX6159" y="connsiteY6159"/>
                </a:cxn>
                <a:cxn ang="0">
                  <a:pos x="connsiteX6160" y="connsiteY6160"/>
                </a:cxn>
                <a:cxn ang="0">
                  <a:pos x="connsiteX6161" y="connsiteY6161"/>
                </a:cxn>
                <a:cxn ang="0">
                  <a:pos x="connsiteX6162" y="connsiteY6162"/>
                </a:cxn>
                <a:cxn ang="0">
                  <a:pos x="connsiteX6163" y="connsiteY6163"/>
                </a:cxn>
                <a:cxn ang="0">
                  <a:pos x="connsiteX6164" y="connsiteY6164"/>
                </a:cxn>
                <a:cxn ang="0">
                  <a:pos x="connsiteX6165" y="connsiteY6165"/>
                </a:cxn>
                <a:cxn ang="0">
                  <a:pos x="connsiteX6166" y="connsiteY6166"/>
                </a:cxn>
                <a:cxn ang="0">
                  <a:pos x="connsiteX6167" y="connsiteY6167"/>
                </a:cxn>
                <a:cxn ang="0">
                  <a:pos x="connsiteX6168" y="connsiteY6168"/>
                </a:cxn>
                <a:cxn ang="0">
                  <a:pos x="connsiteX6169" y="connsiteY6169"/>
                </a:cxn>
                <a:cxn ang="0">
                  <a:pos x="connsiteX6170" y="connsiteY6170"/>
                </a:cxn>
                <a:cxn ang="0">
                  <a:pos x="connsiteX6171" y="connsiteY6171"/>
                </a:cxn>
                <a:cxn ang="0">
                  <a:pos x="connsiteX6172" y="connsiteY6172"/>
                </a:cxn>
                <a:cxn ang="0">
                  <a:pos x="connsiteX6173" y="connsiteY6173"/>
                </a:cxn>
                <a:cxn ang="0">
                  <a:pos x="connsiteX6174" y="connsiteY6174"/>
                </a:cxn>
                <a:cxn ang="0">
                  <a:pos x="connsiteX6175" y="connsiteY6175"/>
                </a:cxn>
                <a:cxn ang="0">
                  <a:pos x="connsiteX6176" y="connsiteY6176"/>
                </a:cxn>
                <a:cxn ang="0">
                  <a:pos x="connsiteX6177" y="connsiteY6177"/>
                </a:cxn>
                <a:cxn ang="0">
                  <a:pos x="connsiteX6178" y="connsiteY6178"/>
                </a:cxn>
                <a:cxn ang="0">
                  <a:pos x="connsiteX6179" y="connsiteY6179"/>
                </a:cxn>
                <a:cxn ang="0">
                  <a:pos x="connsiteX6180" y="connsiteY6180"/>
                </a:cxn>
                <a:cxn ang="0">
                  <a:pos x="connsiteX6181" y="connsiteY6181"/>
                </a:cxn>
                <a:cxn ang="0">
                  <a:pos x="connsiteX6182" y="connsiteY6182"/>
                </a:cxn>
                <a:cxn ang="0">
                  <a:pos x="connsiteX6183" y="connsiteY6183"/>
                </a:cxn>
                <a:cxn ang="0">
                  <a:pos x="connsiteX6184" y="connsiteY6184"/>
                </a:cxn>
                <a:cxn ang="0">
                  <a:pos x="connsiteX6185" y="connsiteY6185"/>
                </a:cxn>
                <a:cxn ang="0">
                  <a:pos x="connsiteX6186" y="connsiteY6186"/>
                </a:cxn>
                <a:cxn ang="0">
                  <a:pos x="connsiteX6187" y="connsiteY6187"/>
                </a:cxn>
                <a:cxn ang="0">
                  <a:pos x="connsiteX6188" y="connsiteY6188"/>
                </a:cxn>
                <a:cxn ang="0">
                  <a:pos x="connsiteX6189" y="connsiteY6189"/>
                </a:cxn>
                <a:cxn ang="0">
                  <a:pos x="connsiteX6190" y="connsiteY6190"/>
                </a:cxn>
                <a:cxn ang="0">
                  <a:pos x="connsiteX6191" y="connsiteY6191"/>
                </a:cxn>
                <a:cxn ang="0">
                  <a:pos x="connsiteX6192" y="connsiteY6192"/>
                </a:cxn>
                <a:cxn ang="0">
                  <a:pos x="connsiteX6193" y="connsiteY6193"/>
                </a:cxn>
                <a:cxn ang="0">
                  <a:pos x="connsiteX6194" y="connsiteY6194"/>
                </a:cxn>
                <a:cxn ang="0">
                  <a:pos x="connsiteX6195" y="connsiteY6195"/>
                </a:cxn>
                <a:cxn ang="0">
                  <a:pos x="connsiteX6196" y="connsiteY6196"/>
                </a:cxn>
                <a:cxn ang="0">
                  <a:pos x="connsiteX6197" y="connsiteY6197"/>
                </a:cxn>
                <a:cxn ang="0">
                  <a:pos x="connsiteX6198" y="connsiteY6198"/>
                </a:cxn>
                <a:cxn ang="0">
                  <a:pos x="connsiteX6199" y="connsiteY6199"/>
                </a:cxn>
                <a:cxn ang="0">
                  <a:pos x="connsiteX6200" y="connsiteY6200"/>
                </a:cxn>
                <a:cxn ang="0">
                  <a:pos x="connsiteX6201" y="connsiteY6201"/>
                </a:cxn>
                <a:cxn ang="0">
                  <a:pos x="connsiteX6202" y="connsiteY6202"/>
                </a:cxn>
                <a:cxn ang="0">
                  <a:pos x="connsiteX6203" y="connsiteY6203"/>
                </a:cxn>
                <a:cxn ang="0">
                  <a:pos x="connsiteX6204" y="connsiteY6204"/>
                </a:cxn>
                <a:cxn ang="0">
                  <a:pos x="connsiteX6205" y="connsiteY6205"/>
                </a:cxn>
                <a:cxn ang="0">
                  <a:pos x="connsiteX6206" y="connsiteY6206"/>
                </a:cxn>
                <a:cxn ang="0">
                  <a:pos x="connsiteX6207" y="connsiteY6207"/>
                </a:cxn>
                <a:cxn ang="0">
                  <a:pos x="connsiteX6208" y="connsiteY6208"/>
                </a:cxn>
                <a:cxn ang="0">
                  <a:pos x="connsiteX6209" y="connsiteY6209"/>
                </a:cxn>
                <a:cxn ang="0">
                  <a:pos x="connsiteX6210" y="connsiteY6210"/>
                </a:cxn>
                <a:cxn ang="0">
                  <a:pos x="connsiteX6211" y="connsiteY6211"/>
                </a:cxn>
                <a:cxn ang="0">
                  <a:pos x="connsiteX6212" y="connsiteY6212"/>
                </a:cxn>
                <a:cxn ang="0">
                  <a:pos x="connsiteX6213" y="connsiteY6213"/>
                </a:cxn>
                <a:cxn ang="0">
                  <a:pos x="connsiteX6214" y="connsiteY6214"/>
                </a:cxn>
                <a:cxn ang="0">
                  <a:pos x="connsiteX6215" y="connsiteY6215"/>
                </a:cxn>
                <a:cxn ang="0">
                  <a:pos x="connsiteX6216" y="connsiteY6216"/>
                </a:cxn>
                <a:cxn ang="0">
                  <a:pos x="connsiteX6217" y="connsiteY6217"/>
                </a:cxn>
                <a:cxn ang="0">
                  <a:pos x="connsiteX6218" y="connsiteY6218"/>
                </a:cxn>
                <a:cxn ang="0">
                  <a:pos x="connsiteX6219" y="connsiteY6219"/>
                </a:cxn>
                <a:cxn ang="0">
                  <a:pos x="connsiteX6220" y="connsiteY6220"/>
                </a:cxn>
                <a:cxn ang="0">
                  <a:pos x="connsiteX6221" y="connsiteY6221"/>
                </a:cxn>
                <a:cxn ang="0">
                  <a:pos x="connsiteX6222" y="connsiteY6222"/>
                </a:cxn>
                <a:cxn ang="0">
                  <a:pos x="connsiteX6223" y="connsiteY6223"/>
                </a:cxn>
                <a:cxn ang="0">
                  <a:pos x="connsiteX6224" y="connsiteY6224"/>
                </a:cxn>
                <a:cxn ang="0">
                  <a:pos x="connsiteX6225" y="connsiteY6225"/>
                </a:cxn>
                <a:cxn ang="0">
                  <a:pos x="connsiteX6226" y="connsiteY6226"/>
                </a:cxn>
                <a:cxn ang="0">
                  <a:pos x="connsiteX6227" y="connsiteY6227"/>
                </a:cxn>
                <a:cxn ang="0">
                  <a:pos x="connsiteX6228" y="connsiteY6228"/>
                </a:cxn>
                <a:cxn ang="0">
                  <a:pos x="connsiteX6229" y="connsiteY6229"/>
                </a:cxn>
                <a:cxn ang="0">
                  <a:pos x="connsiteX6230" y="connsiteY6230"/>
                </a:cxn>
                <a:cxn ang="0">
                  <a:pos x="connsiteX6231" y="connsiteY6231"/>
                </a:cxn>
                <a:cxn ang="0">
                  <a:pos x="connsiteX6232" y="connsiteY6232"/>
                </a:cxn>
                <a:cxn ang="0">
                  <a:pos x="connsiteX6233" y="connsiteY6233"/>
                </a:cxn>
                <a:cxn ang="0">
                  <a:pos x="connsiteX6234" y="connsiteY6234"/>
                </a:cxn>
                <a:cxn ang="0">
                  <a:pos x="connsiteX6235" y="connsiteY6235"/>
                </a:cxn>
                <a:cxn ang="0">
                  <a:pos x="connsiteX6236" y="connsiteY6236"/>
                </a:cxn>
                <a:cxn ang="0">
                  <a:pos x="connsiteX6237" y="connsiteY6237"/>
                </a:cxn>
                <a:cxn ang="0">
                  <a:pos x="connsiteX6238" y="connsiteY6238"/>
                </a:cxn>
                <a:cxn ang="0">
                  <a:pos x="connsiteX6239" y="connsiteY6239"/>
                </a:cxn>
                <a:cxn ang="0">
                  <a:pos x="connsiteX6240" y="connsiteY6240"/>
                </a:cxn>
                <a:cxn ang="0">
                  <a:pos x="connsiteX6241" y="connsiteY6241"/>
                </a:cxn>
                <a:cxn ang="0">
                  <a:pos x="connsiteX6242" y="connsiteY6242"/>
                </a:cxn>
                <a:cxn ang="0">
                  <a:pos x="connsiteX6243" y="connsiteY6243"/>
                </a:cxn>
                <a:cxn ang="0">
                  <a:pos x="connsiteX6244" y="connsiteY6244"/>
                </a:cxn>
                <a:cxn ang="0">
                  <a:pos x="connsiteX6245" y="connsiteY6245"/>
                </a:cxn>
                <a:cxn ang="0">
                  <a:pos x="connsiteX6246" y="connsiteY6246"/>
                </a:cxn>
                <a:cxn ang="0">
                  <a:pos x="connsiteX6247" y="connsiteY6247"/>
                </a:cxn>
                <a:cxn ang="0">
                  <a:pos x="connsiteX6248" y="connsiteY6248"/>
                </a:cxn>
                <a:cxn ang="0">
                  <a:pos x="connsiteX6249" y="connsiteY6249"/>
                </a:cxn>
                <a:cxn ang="0">
                  <a:pos x="connsiteX6250" y="connsiteY6250"/>
                </a:cxn>
                <a:cxn ang="0">
                  <a:pos x="connsiteX6251" y="connsiteY6251"/>
                </a:cxn>
                <a:cxn ang="0">
                  <a:pos x="connsiteX6252" y="connsiteY6252"/>
                </a:cxn>
                <a:cxn ang="0">
                  <a:pos x="connsiteX6253" y="connsiteY6253"/>
                </a:cxn>
                <a:cxn ang="0">
                  <a:pos x="connsiteX6254" y="connsiteY6254"/>
                </a:cxn>
                <a:cxn ang="0">
                  <a:pos x="connsiteX6255" y="connsiteY6255"/>
                </a:cxn>
                <a:cxn ang="0">
                  <a:pos x="connsiteX6256" y="connsiteY6256"/>
                </a:cxn>
                <a:cxn ang="0">
                  <a:pos x="connsiteX6257" y="connsiteY6257"/>
                </a:cxn>
                <a:cxn ang="0">
                  <a:pos x="connsiteX6258" y="connsiteY6258"/>
                </a:cxn>
                <a:cxn ang="0">
                  <a:pos x="connsiteX6259" y="connsiteY6259"/>
                </a:cxn>
                <a:cxn ang="0">
                  <a:pos x="connsiteX6260" y="connsiteY6260"/>
                </a:cxn>
                <a:cxn ang="0">
                  <a:pos x="connsiteX6261" y="connsiteY6261"/>
                </a:cxn>
                <a:cxn ang="0">
                  <a:pos x="connsiteX6262" y="connsiteY6262"/>
                </a:cxn>
                <a:cxn ang="0">
                  <a:pos x="connsiteX6263" y="connsiteY6263"/>
                </a:cxn>
                <a:cxn ang="0">
                  <a:pos x="connsiteX6264" y="connsiteY6264"/>
                </a:cxn>
                <a:cxn ang="0">
                  <a:pos x="connsiteX6265" y="connsiteY6265"/>
                </a:cxn>
                <a:cxn ang="0">
                  <a:pos x="connsiteX6266" y="connsiteY6266"/>
                </a:cxn>
                <a:cxn ang="0">
                  <a:pos x="connsiteX6267" y="connsiteY6267"/>
                </a:cxn>
                <a:cxn ang="0">
                  <a:pos x="connsiteX6268" y="connsiteY6268"/>
                </a:cxn>
                <a:cxn ang="0">
                  <a:pos x="connsiteX6269" y="connsiteY6269"/>
                </a:cxn>
                <a:cxn ang="0">
                  <a:pos x="connsiteX6270" y="connsiteY6270"/>
                </a:cxn>
                <a:cxn ang="0">
                  <a:pos x="connsiteX6271" y="connsiteY6271"/>
                </a:cxn>
                <a:cxn ang="0">
                  <a:pos x="connsiteX6272" y="connsiteY6272"/>
                </a:cxn>
                <a:cxn ang="0">
                  <a:pos x="connsiteX6273" y="connsiteY6273"/>
                </a:cxn>
                <a:cxn ang="0">
                  <a:pos x="connsiteX6274" y="connsiteY6274"/>
                </a:cxn>
                <a:cxn ang="0">
                  <a:pos x="connsiteX6275" y="connsiteY6275"/>
                </a:cxn>
                <a:cxn ang="0">
                  <a:pos x="connsiteX6276" y="connsiteY6276"/>
                </a:cxn>
                <a:cxn ang="0">
                  <a:pos x="connsiteX6277" y="connsiteY6277"/>
                </a:cxn>
                <a:cxn ang="0">
                  <a:pos x="connsiteX6278" y="connsiteY6278"/>
                </a:cxn>
                <a:cxn ang="0">
                  <a:pos x="connsiteX6279" y="connsiteY6279"/>
                </a:cxn>
                <a:cxn ang="0">
                  <a:pos x="connsiteX6280" y="connsiteY6280"/>
                </a:cxn>
                <a:cxn ang="0">
                  <a:pos x="connsiteX6281" y="connsiteY6281"/>
                </a:cxn>
                <a:cxn ang="0">
                  <a:pos x="connsiteX6282" y="connsiteY6282"/>
                </a:cxn>
                <a:cxn ang="0">
                  <a:pos x="connsiteX6283" y="connsiteY6283"/>
                </a:cxn>
                <a:cxn ang="0">
                  <a:pos x="connsiteX6284" y="connsiteY6284"/>
                </a:cxn>
                <a:cxn ang="0">
                  <a:pos x="connsiteX6285" y="connsiteY6285"/>
                </a:cxn>
                <a:cxn ang="0">
                  <a:pos x="connsiteX6286" y="connsiteY6286"/>
                </a:cxn>
                <a:cxn ang="0">
                  <a:pos x="connsiteX6287" y="connsiteY6287"/>
                </a:cxn>
                <a:cxn ang="0">
                  <a:pos x="connsiteX6288" y="connsiteY6288"/>
                </a:cxn>
                <a:cxn ang="0">
                  <a:pos x="connsiteX6289" y="connsiteY6289"/>
                </a:cxn>
                <a:cxn ang="0">
                  <a:pos x="connsiteX6290" y="connsiteY6290"/>
                </a:cxn>
                <a:cxn ang="0">
                  <a:pos x="connsiteX6291" y="connsiteY6291"/>
                </a:cxn>
                <a:cxn ang="0">
                  <a:pos x="connsiteX6292" y="connsiteY6292"/>
                </a:cxn>
                <a:cxn ang="0">
                  <a:pos x="connsiteX6293" y="connsiteY6293"/>
                </a:cxn>
                <a:cxn ang="0">
                  <a:pos x="connsiteX6294" y="connsiteY6294"/>
                </a:cxn>
                <a:cxn ang="0">
                  <a:pos x="connsiteX6295" y="connsiteY6295"/>
                </a:cxn>
                <a:cxn ang="0">
                  <a:pos x="connsiteX6296" y="connsiteY6296"/>
                </a:cxn>
                <a:cxn ang="0">
                  <a:pos x="connsiteX6297" y="connsiteY6297"/>
                </a:cxn>
                <a:cxn ang="0">
                  <a:pos x="connsiteX6298" y="connsiteY6298"/>
                </a:cxn>
                <a:cxn ang="0">
                  <a:pos x="connsiteX6299" y="connsiteY6299"/>
                </a:cxn>
                <a:cxn ang="0">
                  <a:pos x="connsiteX6300" y="connsiteY6300"/>
                </a:cxn>
                <a:cxn ang="0">
                  <a:pos x="connsiteX6301" y="connsiteY6301"/>
                </a:cxn>
                <a:cxn ang="0">
                  <a:pos x="connsiteX6302" y="connsiteY6302"/>
                </a:cxn>
                <a:cxn ang="0">
                  <a:pos x="connsiteX6303" y="connsiteY6303"/>
                </a:cxn>
                <a:cxn ang="0">
                  <a:pos x="connsiteX6304" y="connsiteY6304"/>
                </a:cxn>
                <a:cxn ang="0">
                  <a:pos x="connsiteX6305" y="connsiteY6305"/>
                </a:cxn>
                <a:cxn ang="0">
                  <a:pos x="connsiteX6306" y="connsiteY6306"/>
                </a:cxn>
                <a:cxn ang="0">
                  <a:pos x="connsiteX6307" y="connsiteY6307"/>
                </a:cxn>
                <a:cxn ang="0">
                  <a:pos x="connsiteX6308" y="connsiteY6308"/>
                </a:cxn>
                <a:cxn ang="0">
                  <a:pos x="connsiteX6309" y="connsiteY6309"/>
                </a:cxn>
                <a:cxn ang="0">
                  <a:pos x="connsiteX6310" y="connsiteY6310"/>
                </a:cxn>
                <a:cxn ang="0">
                  <a:pos x="connsiteX6311" y="connsiteY6311"/>
                </a:cxn>
                <a:cxn ang="0">
                  <a:pos x="connsiteX6312" y="connsiteY6312"/>
                </a:cxn>
                <a:cxn ang="0">
                  <a:pos x="connsiteX6313" y="connsiteY6313"/>
                </a:cxn>
                <a:cxn ang="0">
                  <a:pos x="connsiteX6314" y="connsiteY6314"/>
                </a:cxn>
                <a:cxn ang="0">
                  <a:pos x="connsiteX6315" y="connsiteY6315"/>
                </a:cxn>
                <a:cxn ang="0">
                  <a:pos x="connsiteX6316" y="connsiteY6316"/>
                </a:cxn>
                <a:cxn ang="0">
                  <a:pos x="connsiteX6317" y="connsiteY6317"/>
                </a:cxn>
                <a:cxn ang="0">
                  <a:pos x="connsiteX6318" y="connsiteY6318"/>
                </a:cxn>
                <a:cxn ang="0">
                  <a:pos x="connsiteX6319" y="connsiteY6319"/>
                </a:cxn>
                <a:cxn ang="0">
                  <a:pos x="connsiteX6320" y="connsiteY6320"/>
                </a:cxn>
                <a:cxn ang="0">
                  <a:pos x="connsiteX6321" y="connsiteY6321"/>
                </a:cxn>
                <a:cxn ang="0">
                  <a:pos x="connsiteX6322" y="connsiteY6322"/>
                </a:cxn>
                <a:cxn ang="0">
                  <a:pos x="connsiteX6323" y="connsiteY6323"/>
                </a:cxn>
                <a:cxn ang="0">
                  <a:pos x="connsiteX6324" y="connsiteY6324"/>
                </a:cxn>
                <a:cxn ang="0">
                  <a:pos x="connsiteX6325" y="connsiteY6325"/>
                </a:cxn>
                <a:cxn ang="0">
                  <a:pos x="connsiteX6326" y="connsiteY6326"/>
                </a:cxn>
                <a:cxn ang="0">
                  <a:pos x="connsiteX6327" y="connsiteY6327"/>
                </a:cxn>
                <a:cxn ang="0">
                  <a:pos x="connsiteX6328" y="connsiteY6328"/>
                </a:cxn>
                <a:cxn ang="0">
                  <a:pos x="connsiteX6329" y="connsiteY6329"/>
                </a:cxn>
                <a:cxn ang="0">
                  <a:pos x="connsiteX6330" y="connsiteY6330"/>
                </a:cxn>
                <a:cxn ang="0">
                  <a:pos x="connsiteX6331" y="connsiteY6331"/>
                </a:cxn>
                <a:cxn ang="0">
                  <a:pos x="connsiteX6332" y="connsiteY6332"/>
                </a:cxn>
                <a:cxn ang="0">
                  <a:pos x="connsiteX6333" y="connsiteY6333"/>
                </a:cxn>
                <a:cxn ang="0">
                  <a:pos x="connsiteX6334" y="connsiteY6334"/>
                </a:cxn>
                <a:cxn ang="0">
                  <a:pos x="connsiteX6335" y="connsiteY6335"/>
                </a:cxn>
                <a:cxn ang="0">
                  <a:pos x="connsiteX6336" y="connsiteY6336"/>
                </a:cxn>
                <a:cxn ang="0">
                  <a:pos x="connsiteX6337" y="connsiteY6337"/>
                </a:cxn>
                <a:cxn ang="0">
                  <a:pos x="connsiteX6338" y="connsiteY6338"/>
                </a:cxn>
                <a:cxn ang="0">
                  <a:pos x="connsiteX6339" y="connsiteY6339"/>
                </a:cxn>
                <a:cxn ang="0">
                  <a:pos x="connsiteX6340" y="connsiteY6340"/>
                </a:cxn>
                <a:cxn ang="0">
                  <a:pos x="connsiteX6341" y="connsiteY6341"/>
                </a:cxn>
                <a:cxn ang="0">
                  <a:pos x="connsiteX6342" y="connsiteY6342"/>
                </a:cxn>
                <a:cxn ang="0">
                  <a:pos x="connsiteX6343" y="connsiteY6343"/>
                </a:cxn>
                <a:cxn ang="0">
                  <a:pos x="connsiteX6344" y="connsiteY6344"/>
                </a:cxn>
                <a:cxn ang="0">
                  <a:pos x="connsiteX6345" y="connsiteY6345"/>
                </a:cxn>
                <a:cxn ang="0">
                  <a:pos x="connsiteX6346" y="connsiteY6346"/>
                </a:cxn>
                <a:cxn ang="0">
                  <a:pos x="connsiteX6347" y="connsiteY6347"/>
                </a:cxn>
                <a:cxn ang="0">
                  <a:pos x="connsiteX6348" y="connsiteY6348"/>
                </a:cxn>
                <a:cxn ang="0">
                  <a:pos x="connsiteX6349" y="connsiteY6349"/>
                </a:cxn>
                <a:cxn ang="0">
                  <a:pos x="connsiteX6350" y="connsiteY6350"/>
                </a:cxn>
                <a:cxn ang="0">
                  <a:pos x="connsiteX6351" y="connsiteY6351"/>
                </a:cxn>
                <a:cxn ang="0">
                  <a:pos x="connsiteX6352" y="connsiteY6352"/>
                </a:cxn>
                <a:cxn ang="0">
                  <a:pos x="connsiteX6353" y="connsiteY6353"/>
                </a:cxn>
                <a:cxn ang="0">
                  <a:pos x="connsiteX6354" y="connsiteY6354"/>
                </a:cxn>
                <a:cxn ang="0">
                  <a:pos x="connsiteX6355" y="connsiteY6355"/>
                </a:cxn>
                <a:cxn ang="0">
                  <a:pos x="connsiteX6356" y="connsiteY6356"/>
                </a:cxn>
                <a:cxn ang="0">
                  <a:pos x="connsiteX6357" y="connsiteY6357"/>
                </a:cxn>
                <a:cxn ang="0">
                  <a:pos x="connsiteX6358" y="connsiteY6358"/>
                </a:cxn>
                <a:cxn ang="0">
                  <a:pos x="connsiteX6359" y="connsiteY6359"/>
                </a:cxn>
                <a:cxn ang="0">
                  <a:pos x="connsiteX6360" y="connsiteY6360"/>
                </a:cxn>
                <a:cxn ang="0">
                  <a:pos x="connsiteX6361" y="connsiteY6361"/>
                </a:cxn>
                <a:cxn ang="0">
                  <a:pos x="connsiteX6362" y="connsiteY6362"/>
                </a:cxn>
                <a:cxn ang="0">
                  <a:pos x="connsiteX6363" y="connsiteY6363"/>
                </a:cxn>
                <a:cxn ang="0">
                  <a:pos x="connsiteX6364" y="connsiteY6364"/>
                </a:cxn>
                <a:cxn ang="0">
                  <a:pos x="connsiteX6365" y="connsiteY6365"/>
                </a:cxn>
                <a:cxn ang="0">
                  <a:pos x="connsiteX6366" y="connsiteY6366"/>
                </a:cxn>
                <a:cxn ang="0">
                  <a:pos x="connsiteX6367" y="connsiteY6367"/>
                </a:cxn>
                <a:cxn ang="0">
                  <a:pos x="connsiteX6368" y="connsiteY6368"/>
                </a:cxn>
                <a:cxn ang="0">
                  <a:pos x="connsiteX6369" y="connsiteY6369"/>
                </a:cxn>
                <a:cxn ang="0">
                  <a:pos x="connsiteX6370" y="connsiteY6370"/>
                </a:cxn>
                <a:cxn ang="0">
                  <a:pos x="connsiteX6371" y="connsiteY6371"/>
                </a:cxn>
                <a:cxn ang="0">
                  <a:pos x="connsiteX6372" y="connsiteY6372"/>
                </a:cxn>
                <a:cxn ang="0">
                  <a:pos x="connsiteX6373" y="connsiteY6373"/>
                </a:cxn>
                <a:cxn ang="0">
                  <a:pos x="connsiteX6374" y="connsiteY6374"/>
                </a:cxn>
                <a:cxn ang="0">
                  <a:pos x="connsiteX6375" y="connsiteY6375"/>
                </a:cxn>
                <a:cxn ang="0">
                  <a:pos x="connsiteX6376" y="connsiteY6376"/>
                </a:cxn>
                <a:cxn ang="0">
                  <a:pos x="connsiteX6377" y="connsiteY6377"/>
                </a:cxn>
                <a:cxn ang="0">
                  <a:pos x="connsiteX6378" y="connsiteY6378"/>
                </a:cxn>
                <a:cxn ang="0">
                  <a:pos x="connsiteX6379" y="connsiteY6379"/>
                </a:cxn>
                <a:cxn ang="0">
                  <a:pos x="connsiteX6380" y="connsiteY6380"/>
                </a:cxn>
                <a:cxn ang="0">
                  <a:pos x="connsiteX6381" y="connsiteY6381"/>
                </a:cxn>
                <a:cxn ang="0">
                  <a:pos x="connsiteX6382" y="connsiteY6382"/>
                </a:cxn>
                <a:cxn ang="0">
                  <a:pos x="connsiteX6383" y="connsiteY6383"/>
                </a:cxn>
                <a:cxn ang="0">
                  <a:pos x="connsiteX6384" y="connsiteY6384"/>
                </a:cxn>
                <a:cxn ang="0">
                  <a:pos x="connsiteX6385" y="connsiteY6385"/>
                </a:cxn>
                <a:cxn ang="0">
                  <a:pos x="connsiteX6386" y="connsiteY6386"/>
                </a:cxn>
                <a:cxn ang="0">
                  <a:pos x="connsiteX6387" y="connsiteY6387"/>
                </a:cxn>
                <a:cxn ang="0">
                  <a:pos x="connsiteX6388" y="connsiteY6388"/>
                </a:cxn>
                <a:cxn ang="0">
                  <a:pos x="connsiteX6389" y="connsiteY6389"/>
                </a:cxn>
                <a:cxn ang="0">
                  <a:pos x="connsiteX6390" y="connsiteY6390"/>
                </a:cxn>
                <a:cxn ang="0">
                  <a:pos x="connsiteX6391" y="connsiteY6391"/>
                </a:cxn>
                <a:cxn ang="0">
                  <a:pos x="connsiteX6392" y="connsiteY6392"/>
                </a:cxn>
                <a:cxn ang="0">
                  <a:pos x="connsiteX6393" y="connsiteY6393"/>
                </a:cxn>
                <a:cxn ang="0">
                  <a:pos x="connsiteX6394" y="connsiteY6394"/>
                </a:cxn>
                <a:cxn ang="0">
                  <a:pos x="connsiteX6395" y="connsiteY6395"/>
                </a:cxn>
                <a:cxn ang="0">
                  <a:pos x="connsiteX6396" y="connsiteY6396"/>
                </a:cxn>
                <a:cxn ang="0">
                  <a:pos x="connsiteX6397" y="connsiteY6397"/>
                </a:cxn>
                <a:cxn ang="0">
                  <a:pos x="connsiteX6398" y="connsiteY6398"/>
                </a:cxn>
                <a:cxn ang="0">
                  <a:pos x="connsiteX6399" y="connsiteY6399"/>
                </a:cxn>
                <a:cxn ang="0">
                  <a:pos x="connsiteX6400" y="connsiteY6400"/>
                </a:cxn>
                <a:cxn ang="0">
                  <a:pos x="connsiteX6401" y="connsiteY6401"/>
                </a:cxn>
                <a:cxn ang="0">
                  <a:pos x="connsiteX6402" y="connsiteY6402"/>
                </a:cxn>
                <a:cxn ang="0">
                  <a:pos x="connsiteX6403" y="connsiteY6403"/>
                </a:cxn>
                <a:cxn ang="0">
                  <a:pos x="connsiteX6404" y="connsiteY6404"/>
                </a:cxn>
                <a:cxn ang="0">
                  <a:pos x="connsiteX6405" y="connsiteY6405"/>
                </a:cxn>
                <a:cxn ang="0">
                  <a:pos x="connsiteX6406" y="connsiteY6406"/>
                </a:cxn>
                <a:cxn ang="0">
                  <a:pos x="connsiteX6407" y="connsiteY6407"/>
                </a:cxn>
                <a:cxn ang="0">
                  <a:pos x="connsiteX6408" y="connsiteY6408"/>
                </a:cxn>
                <a:cxn ang="0">
                  <a:pos x="connsiteX6409" y="connsiteY6409"/>
                </a:cxn>
                <a:cxn ang="0">
                  <a:pos x="connsiteX6410" y="connsiteY6410"/>
                </a:cxn>
                <a:cxn ang="0">
                  <a:pos x="connsiteX6411" y="connsiteY6411"/>
                </a:cxn>
                <a:cxn ang="0">
                  <a:pos x="connsiteX6412" y="connsiteY6412"/>
                </a:cxn>
                <a:cxn ang="0">
                  <a:pos x="connsiteX6413" y="connsiteY6413"/>
                </a:cxn>
                <a:cxn ang="0">
                  <a:pos x="connsiteX6414" y="connsiteY6414"/>
                </a:cxn>
                <a:cxn ang="0">
                  <a:pos x="connsiteX6415" y="connsiteY6415"/>
                </a:cxn>
                <a:cxn ang="0">
                  <a:pos x="connsiteX6416" y="connsiteY6416"/>
                </a:cxn>
                <a:cxn ang="0">
                  <a:pos x="connsiteX6417" y="connsiteY6417"/>
                </a:cxn>
                <a:cxn ang="0">
                  <a:pos x="connsiteX6418" y="connsiteY6418"/>
                </a:cxn>
                <a:cxn ang="0">
                  <a:pos x="connsiteX6419" y="connsiteY6419"/>
                </a:cxn>
                <a:cxn ang="0">
                  <a:pos x="connsiteX6420" y="connsiteY6420"/>
                </a:cxn>
                <a:cxn ang="0">
                  <a:pos x="connsiteX6421" y="connsiteY6421"/>
                </a:cxn>
                <a:cxn ang="0">
                  <a:pos x="connsiteX6422" y="connsiteY6422"/>
                </a:cxn>
                <a:cxn ang="0">
                  <a:pos x="connsiteX6423" y="connsiteY6423"/>
                </a:cxn>
                <a:cxn ang="0">
                  <a:pos x="connsiteX6424" y="connsiteY6424"/>
                </a:cxn>
                <a:cxn ang="0">
                  <a:pos x="connsiteX6425" y="connsiteY6425"/>
                </a:cxn>
                <a:cxn ang="0">
                  <a:pos x="connsiteX6426" y="connsiteY6426"/>
                </a:cxn>
                <a:cxn ang="0">
                  <a:pos x="connsiteX6427" y="connsiteY6427"/>
                </a:cxn>
                <a:cxn ang="0">
                  <a:pos x="connsiteX6428" y="connsiteY6428"/>
                </a:cxn>
                <a:cxn ang="0">
                  <a:pos x="connsiteX6429" y="connsiteY6429"/>
                </a:cxn>
                <a:cxn ang="0">
                  <a:pos x="connsiteX6430" y="connsiteY6430"/>
                </a:cxn>
                <a:cxn ang="0">
                  <a:pos x="connsiteX6431" y="connsiteY6431"/>
                </a:cxn>
                <a:cxn ang="0">
                  <a:pos x="connsiteX6432" y="connsiteY6432"/>
                </a:cxn>
                <a:cxn ang="0">
                  <a:pos x="connsiteX6433" y="connsiteY6433"/>
                </a:cxn>
                <a:cxn ang="0">
                  <a:pos x="connsiteX6434" y="connsiteY6434"/>
                </a:cxn>
                <a:cxn ang="0">
                  <a:pos x="connsiteX6435" y="connsiteY6435"/>
                </a:cxn>
                <a:cxn ang="0">
                  <a:pos x="connsiteX6436" y="connsiteY6436"/>
                </a:cxn>
                <a:cxn ang="0">
                  <a:pos x="connsiteX6437" y="connsiteY6437"/>
                </a:cxn>
                <a:cxn ang="0">
                  <a:pos x="connsiteX6438" y="connsiteY6438"/>
                </a:cxn>
                <a:cxn ang="0">
                  <a:pos x="connsiteX6439" y="connsiteY6439"/>
                </a:cxn>
                <a:cxn ang="0">
                  <a:pos x="connsiteX6440" y="connsiteY6440"/>
                </a:cxn>
                <a:cxn ang="0">
                  <a:pos x="connsiteX6441" y="connsiteY6441"/>
                </a:cxn>
                <a:cxn ang="0">
                  <a:pos x="connsiteX6442" y="connsiteY6442"/>
                </a:cxn>
                <a:cxn ang="0">
                  <a:pos x="connsiteX6443" y="connsiteY6443"/>
                </a:cxn>
                <a:cxn ang="0">
                  <a:pos x="connsiteX6444" y="connsiteY6444"/>
                </a:cxn>
                <a:cxn ang="0">
                  <a:pos x="connsiteX6445" y="connsiteY6445"/>
                </a:cxn>
                <a:cxn ang="0">
                  <a:pos x="connsiteX6446" y="connsiteY6446"/>
                </a:cxn>
                <a:cxn ang="0">
                  <a:pos x="connsiteX6447" y="connsiteY6447"/>
                </a:cxn>
                <a:cxn ang="0">
                  <a:pos x="connsiteX6448" y="connsiteY6448"/>
                </a:cxn>
                <a:cxn ang="0">
                  <a:pos x="connsiteX6449" y="connsiteY6449"/>
                </a:cxn>
                <a:cxn ang="0">
                  <a:pos x="connsiteX6450" y="connsiteY6450"/>
                </a:cxn>
                <a:cxn ang="0">
                  <a:pos x="connsiteX6451" y="connsiteY6451"/>
                </a:cxn>
                <a:cxn ang="0">
                  <a:pos x="connsiteX6452" y="connsiteY6452"/>
                </a:cxn>
                <a:cxn ang="0">
                  <a:pos x="connsiteX6453" y="connsiteY6453"/>
                </a:cxn>
                <a:cxn ang="0">
                  <a:pos x="connsiteX6454" y="connsiteY6454"/>
                </a:cxn>
                <a:cxn ang="0">
                  <a:pos x="connsiteX6455" y="connsiteY6455"/>
                </a:cxn>
                <a:cxn ang="0">
                  <a:pos x="connsiteX6456" y="connsiteY6456"/>
                </a:cxn>
                <a:cxn ang="0">
                  <a:pos x="connsiteX6457" y="connsiteY6457"/>
                </a:cxn>
                <a:cxn ang="0">
                  <a:pos x="connsiteX6458" y="connsiteY6458"/>
                </a:cxn>
                <a:cxn ang="0">
                  <a:pos x="connsiteX6459" y="connsiteY6459"/>
                </a:cxn>
                <a:cxn ang="0">
                  <a:pos x="connsiteX6460" y="connsiteY6460"/>
                </a:cxn>
                <a:cxn ang="0">
                  <a:pos x="connsiteX6461" y="connsiteY6461"/>
                </a:cxn>
                <a:cxn ang="0">
                  <a:pos x="connsiteX6462" y="connsiteY6462"/>
                </a:cxn>
                <a:cxn ang="0">
                  <a:pos x="connsiteX6463" y="connsiteY6463"/>
                </a:cxn>
                <a:cxn ang="0">
                  <a:pos x="connsiteX6464" y="connsiteY6464"/>
                </a:cxn>
                <a:cxn ang="0">
                  <a:pos x="connsiteX6465" y="connsiteY6465"/>
                </a:cxn>
                <a:cxn ang="0">
                  <a:pos x="connsiteX6466" y="connsiteY6466"/>
                </a:cxn>
                <a:cxn ang="0">
                  <a:pos x="connsiteX6467" y="connsiteY6467"/>
                </a:cxn>
                <a:cxn ang="0">
                  <a:pos x="connsiteX6468" y="connsiteY6468"/>
                </a:cxn>
                <a:cxn ang="0">
                  <a:pos x="connsiteX6469" y="connsiteY6469"/>
                </a:cxn>
                <a:cxn ang="0">
                  <a:pos x="connsiteX6470" y="connsiteY6470"/>
                </a:cxn>
                <a:cxn ang="0">
                  <a:pos x="connsiteX6471" y="connsiteY6471"/>
                </a:cxn>
                <a:cxn ang="0">
                  <a:pos x="connsiteX6472" y="connsiteY6472"/>
                </a:cxn>
                <a:cxn ang="0">
                  <a:pos x="connsiteX6473" y="connsiteY6473"/>
                </a:cxn>
                <a:cxn ang="0">
                  <a:pos x="connsiteX6474" y="connsiteY6474"/>
                </a:cxn>
                <a:cxn ang="0">
                  <a:pos x="connsiteX6475" y="connsiteY6475"/>
                </a:cxn>
                <a:cxn ang="0">
                  <a:pos x="connsiteX6476" y="connsiteY6476"/>
                </a:cxn>
                <a:cxn ang="0">
                  <a:pos x="connsiteX6477" y="connsiteY6477"/>
                </a:cxn>
                <a:cxn ang="0">
                  <a:pos x="connsiteX6478" y="connsiteY6478"/>
                </a:cxn>
                <a:cxn ang="0">
                  <a:pos x="connsiteX6479" y="connsiteY6479"/>
                </a:cxn>
                <a:cxn ang="0">
                  <a:pos x="connsiteX6480" y="connsiteY6480"/>
                </a:cxn>
                <a:cxn ang="0">
                  <a:pos x="connsiteX6481" y="connsiteY6481"/>
                </a:cxn>
                <a:cxn ang="0">
                  <a:pos x="connsiteX6482" y="connsiteY6482"/>
                </a:cxn>
                <a:cxn ang="0">
                  <a:pos x="connsiteX6483" y="connsiteY6483"/>
                </a:cxn>
                <a:cxn ang="0">
                  <a:pos x="connsiteX6484" y="connsiteY6484"/>
                </a:cxn>
                <a:cxn ang="0">
                  <a:pos x="connsiteX6485" y="connsiteY6485"/>
                </a:cxn>
                <a:cxn ang="0">
                  <a:pos x="connsiteX6486" y="connsiteY6486"/>
                </a:cxn>
                <a:cxn ang="0">
                  <a:pos x="connsiteX6487" y="connsiteY6487"/>
                </a:cxn>
                <a:cxn ang="0">
                  <a:pos x="connsiteX6488" y="connsiteY6488"/>
                </a:cxn>
                <a:cxn ang="0">
                  <a:pos x="connsiteX6489" y="connsiteY6489"/>
                </a:cxn>
                <a:cxn ang="0">
                  <a:pos x="connsiteX6490" y="connsiteY6490"/>
                </a:cxn>
                <a:cxn ang="0">
                  <a:pos x="connsiteX6491" y="connsiteY6491"/>
                </a:cxn>
                <a:cxn ang="0">
                  <a:pos x="connsiteX6492" y="connsiteY6492"/>
                </a:cxn>
                <a:cxn ang="0">
                  <a:pos x="connsiteX6493" y="connsiteY6493"/>
                </a:cxn>
                <a:cxn ang="0">
                  <a:pos x="connsiteX6494" y="connsiteY6494"/>
                </a:cxn>
                <a:cxn ang="0">
                  <a:pos x="connsiteX6495" y="connsiteY6495"/>
                </a:cxn>
                <a:cxn ang="0">
                  <a:pos x="connsiteX6496" y="connsiteY6496"/>
                </a:cxn>
                <a:cxn ang="0">
                  <a:pos x="connsiteX6497" y="connsiteY6497"/>
                </a:cxn>
                <a:cxn ang="0">
                  <a:pos x="connsiteX6498" y="connsiteY6498"/>
                </a:cxn>
                <a:cxn ang="0">
                  <a:pos x="connsiteX6499" y="connsiteY6499"/>
                </a:cxn>
                <a:cxn ang="0">
                  <a:pos x="connsiteX6500" y="connsiteY6500"/>
                </a:cxn>
                <a:cxn ang="0">
                  <a:pos x="connsiteX6501" y="connsiteY6501"/>
                </a:cxn>
                <a:cxn ang="0">
                  <a:pos x="connsiteX6502" y="connsiteY6502"/>
                </a:cxn>
                <a:cxn ang="0">
                  <a:pos x="connsiteX6503" y="connsiteY6503"/>
                </a:cxn>
                <a:cxn ang="0">
                  <a:pos x="connsiteX6504" y="connsiteY6504"/>
                </a:cxn>
                <a:cxn ang="0">
                  <a:pos x="connsiteX6505" y="connsiteY6505"/>
                </a:cxn>
                <a:cxn ang="0">
                  <a:pos x="connsiteX6506" y="connsiteY6506"/>
                </a:cxn>
                <a:cxn ang="0">
                  <a:pos x="connsiteX6507" y="connsiteY6507"/>
                </a:cxn>
                <a:cxn ang="0">
                  <a:pos x="connsiteX6508" y="connsiteY6508"/>
                </a:cxn>
                <a:cxn ang="0">
                  <a:pos x="connsiteX6509" y="connsiteY6509"/>
                </a:cxn>
                <a:cxn ang="0">
                  <a:pos x="connsiteX6510" y="connsiteY6510"/>
                </a:cxn>
                <a:cxn ang="0">
                  <a:pos x="connsiteX6511" y="connsiteY6511"/>
                </a:cxn>
                <a:cxn ang="0">
                  <a:pos x="connsiteX6512" y="connsiteY6512"/>
                </a:cxn>
                <a:cxn ang="0">
                  <a:pos x="connsiteX6513" y="connsiteY6513"/>
                </a:cxn>
                <a:cxn ang="0">
                  <a:pos x="connsiteX6514" y="connsiteY6514"/>
                </a:cxn>
                <a:cxn ang="0">
                  <a:pos x="connsiteX6515" y="connsiteY6515"/>
                </a:cxn>
                <a:cxn ang="0">
                  <a:pos x="connsiteX6516" y="connsiteY6516"/>
                </a:cxn>
                <a:cxn ang="0">
                  <a:pos x="connsiteX6517" y="connsiteY6517"/>
                </a:cxn>
                <a:cxn ang="0">
                  <a:pos x="connsiteX6518" y="connsiteY6518"/>
                </a:cxn>
                <a:cxn ang="0">
                  <a:pos x="connsiteX6519" y="connsiteY6519"/>
                </a:cxn>
                <a:cxn ang="0">
                  <a:pos x="connsiteX6520" y="connsiteY6520"/>
                </a:cxn>
                <a:cxn ang="0">
                  <a:pos x="connsiteX6521" y="connsiteY6521"/>
                </a:cxn>
                <a:cxn ang="0">
                  <a:pos x="connsiteX6522" y="connsiteY6522"/>
                </a:cxn>
                <a:cxn ang="0">
                  <a:pos x="connsiteX6523" y="connsiteY6523"/>
                </a:cxn>
                <a:cxn ang="0">
                  <a:pos x="connsiteX6524" y="connsiteY6524"/>
                </a:cxn>
                <a:cxn ang="0">
                  <a:pos x="connsiteX6525" y="connsiteY6525"/>
                </a:cxn>
                <a:cxn ang="0">
                  <a:pos x="connsiteX6526" y="connsiteY6526"/>
                </a:cxn>
                <a:cxn ang="0">
                  <a:pos x="connsiteX6527" y="connsiteY6527"/>
                </a:cxn>
                <a:cxn ang="0">
                  <a:pos x="connsiteX6528" y="connsiteY6528"/>
                </a:cxn>
                <a:cxn ang="0">
                  <a:pos x="connsiteX6529" y="connsiteY6529"/>
                </a:cxn>
                <a:cxn ang="0">
                  <a:pos x="connsiteX6530" y="connsiteY6530"/>
                </a:cxn>
                <a:cxn ang="0">
                  <a:pos x="connsiteX6531" y="connsiteY6531"/>
                </a:cxn>
                <a:cxn ang="0">
                  <a:pos x="connsiteX6532" y="connsiteY6532"/>
                </a:cxn>
                <a:cxn ang="0">
                  <a:pos x="connsiteX6533" y="connsiteY6533"/>
                </a:cxn>
                <a:cxn ang="0">
                  <a:pos x="connsiteX6534" y="connsiteY6534"/>
                </a:cxn>
                <a:cxn ang="0">
                  <a:pos x="connsiteX6535" y="connsiteY6535"/>
                </a:cxn>
                <a:cxn ang="0">
                  <a:pos x="connsiteX6536" y="connsiteY6536"/>
                </a:cxn>
                <a:cxn ang="0">
                  <a:pos x="connsiteX6537" y="connsiteY6537"/>
                </a:cxn>
                <a:cxn ang="0">
                  <a:pos x="connsiteX6538" y="connsiteY6538"/>
                </a:cxn>
                <a:cxn ang="0">
                  <a:pos x="connsiteX6539" y="connsiteY6539"/>
                </a:cxn>
                <a:cxn ang="0">
                  <a:pos x="connsiteX6540" y="connsiteY6540"/>
                </a:cxn>
                <a:cxn ang="0">
                  <a:pos x="connsiteX6541" y="connsiteY6541"/>
                </a:cxn>
                <a:cxn ang="0">
                  <a:pos x="connsiteX6542" y="connsiteY6542"/>
                </a:cxn>
                <a:cxn ang="0">
                  <a:pos x="connsiteX6543" y="connsiteY6543"/>
                </a:cxn>
                <a:cxn ang="0">
                  <a:pos x="connsiteX6544" y="connsiteY6544"/>
                </a:cxn>
                <a:cxn ang="0">
                  <a:pos x="connsiteX6545" y="connsiteY6545"/>
                </a:cxn>
                <a:cxn ang="0">
                  <a:pos x="connsiteX6546" y="connsiteY6546"/>
                </a:cxn>
                <a:cxn ang="0">
                  <a:pos x="connsiteX6547" y="connsiteY6547"/>
                </a:cxn>
                <a:cxn ang="0">
                  <a:pos x="connsiteX6548" y="connsiteY6548"/>
                </a:cxn>
                <a:cxn ang="0">
                  <a:pos x="connsiteX6549" y="connsiteY6549"/>
                </a:cxn>
                <a:cxn ang="0">
                  <a:pos x="connsiteX6550" y="connsiteY6550"/>
                </a:cxn>
                <a:cxn ang="0">
                  <a:pos x="connsiteX6551" y="connsiteY6551"/>
                </a:cxn>
                <a:cxn ang="0">
                  <a:pos x="connsiteX6552" y="connsiteY6552"/>
                </a:cxn>
                <a:cxn ang="0">
                  <a:pos x="connsiteX6553" y="connsiteY6553"/>
                </a:cxn>
                <a:cxn ang="0">
                  <a:pos x="connsiteX6554" y="connsiteY6554"/>
                </a:cxn>
                <a:cxn ang="0">
                  <a:pos x="connsiteX6555" y="connsiteY6555"/>
                </a:cxn>
                <a:cxn ang="0">
                  <a:pos x="connsiteX6556" y="connsiteY6556"/>
                </a:cxn>
                <a:cxn ang="0">
                  <a:pos x="connsiteX6557" y="connsiteY6557"/>
                </a:cxn>
                <a:cxn ang="0">
                  <a:pos x="connsiteX6558" y="connsiteY6558"/>
                </a:cxn>
                <a:cxn ang="0">
                  <a:pos x="connsiteX6559" y="connsiteY6559"/>
                </a:cxn>
                <a:cxn ang="0">
                  <a:pos x="connsiteX6560" y="connsiteY6560"/>
                </a:cxn>
                <a:cxn ang="0">
                  <a:pos x="connsiteX6561" y="connsiteY6561"/>
                </a:cxn>
                <a:cxn ang="0">
                  <a:pos x="connsiteX6562" y="connsiteY6562"/>
                </a:cxn>
                <a:cxn ang="0">
                  <a:pos x="connsiteX6563" y="connsiteY6563"/>
                </a:cxn>
                <a:cxn ang="0">
                  <a:pos x="connsiteX6564" y="connsiteY6564"/>
                </a:cxn>
                <a:cxn ang="0">
                  <a:pos x="connsiteX6565" y="connsiteY6565"/>
                </a:cxn>
                <a:cxn ang="0">
                  <a:pos x="connsiteX6566" y="connsiteY6566"/>
                </a:cxn>
                <a:cxn ang="0">
                  <a:pos x="connsiteX6567" y="connsiteY6567"/>
                </a:cxn>
                <a:cxn ang="0">
                  <a:pos x="connsiteX6568" y="connsiteY6568"/>
                </a:cxn>
                <a:cxn ang="0">
                  <a:pos x="connsiteX6569" y="connsiteY6569"/>
                </a:cxn>
                <a:cxn ang="0">
                  <a:pos x="connsiteX6570" y="connsiteY6570"/>
                </a:cxn>
                <a:cxn ang="0">
                  <a:pos x="connsiteX6571" y="connsiteY6571"/>
                </a:cxn>
                <a:cxn ang="0">
                  <a:pos x="connsiteX6572" y="connsiteY6572"/>
                </a:cxn>
                <a:cxn ang="0">
                  <a:pos x="connsiteX6573" y="connsiteY6573"/>
                </a:cxn>
                <a:cxn ang="0">
                  <a:pos x="connsiteX6574" y="connsiteY6574"/>
                </a:cxn>
                <a:cxn ang="0">
                  <a:pos x="connsiteX6575" y="connsiteY6575"/>
                </a:cxn>
                <a:cxn ang="0">
                  <a:pos x="connsiteX6576" y="connsiteY6576"/>
                </a:cxn>
                <a:cxn ang="0">
                  <a:pos x="connsiteX6577" y="connsiteY6577"/>
                </a:cxn>
                <a:cxn ang="0">
                  <a:pos x="connsiteX6578" y="connsiteY6578"/>
                </a:cxn>
                <a:cxn ang="0">
                  <a:pos x="connsiteX6579" y="connsiteY6579"/>
                </a:cxn>
                <a:cxn ang="0">
                  <a:pos x="connsiteX6580" y="connsiteY6580"/>
                </a:cxn>
                <a:cxn ang="0">
                  <a:pos x="connsiteX6581" y="connsiteY6581"/>
                </a:cxn>
                <a:cxn ang="0">
                  <a:pos x="connsiteX6582" y="connsiteY6582"/>
                </a:cxn>
                <a:cxn ang="0">
                  <a:pos x="connsiteX6583" y="connsiteY6583"/>
                </a:cxn>
                <a:cxn ang="0">
                  <a:pos x="connsiteX6584" y="connsiteY6584"/>
                </a:cxn>
                <a:cxn ang="0">
                  <a:pos x="connsiteX6585" y="connsiteY6585"/>
                </a:cxn>
                <a:cxn ang="0">
                  <a:pos x="connsiteX6586" y="connsiteY6586"/>
                </a:cxn>
                <a:cxn ang="0">
                  <a:pos x="connsiteX6587" y="connsiteY6587"/>
                </a:cxn>
                <a:cxn ang="0">
                  <a:pos x="connsiteX6588" y="connsiteY6588"/>
                </a:cxn>
                <a:cxn ang="0">
                  <a:pos x="connsiteX6589" y="connsiteY6589"/>
                </a:cxn>
                <a:cxn ang="0">
                  <a:pos x="connsiteX6590" y="connsiteY6590"/>
                </a:cxn>
                <a:cxn ang="0">
                  <a:pos x="connsiteX6591" y="connsiteY6591"/>
                </a:cxn>
                <a:cxn ang="0">
                  <a:pos x="connsiteX6592" y="connsiteY6592"/>
                </a:cxn>
                <a:cxn ang="0">
                  <a:pos x="connsiteX6593" y="connsiteY6593"/>
                </a:cxn>
                <a:cxn ang="0">
                  <a:pos x="connsiteX6594" y="connsiteY6594"/>
                </a:cxn>
                <a:cxn ang="0">
                  <a:pos x="connsiteX6595" y="connsiteY6595"/>
                </a:cxn>
                <a:cxn ang="0">
                  <a:pos x="connsiteX6596" y="connsiteY6596"/>
                </a:cxn>
                <a:cxn ang="0">
                  <a:pos x="connsiteX6597" y="connsiteY6597"/>
                </a:cxn>
                <a:cxn ang="0">
                  <a:pos x="connsiteX6598" y="connsiteY6598"/>
                </a:cxn>
                <a:cxn ang="0">
                  <a:pos x="connsiteX6599" y="connsiteY6599"/>
                </a:cxn>
                <a:cxn ang="0">
                  <a:pos x="connsiteX6600" y="connsiteY6600"/>
                </a:cxn>
                <a:cxn ang="0">
                  <a:pos x="connsiteX6601" y="connsiteY6601"/>
                </a:cxn>
                <a:cxn ang="0">
                  <a:pos x="connsiteX6602" y="connsiteY6602"/>
                </a:cxn>
                <a:cxn ang="0">
                  <a:pos x="connsiteX6603" y="connsiteY6603"/>
                </a:cxn>
                <a:cxn ang="0">
                  <a:pos x="connsiteX6604" y="connsiteY6604"/>
                </a:cxn>
                <a:cxn ang="0">
                  <a:pos x="connsiteX6605" y="connsiteY6605"/>
                </a:cxn>
                <a:cxn ang="0">
                  <a:pos x="connsiteX6606" y="connsiteY6606"/>
                </a:cxn>
                <a:cxn ang="0">
                  <a:pos x="connsiteX6607" y="connsiteY6607"/>
                </a:cxn>
                <a:cxn ang="0">
                  <a:pos x="connsiteX6608" y="connsiteY6608"/>
                </a:cxn>
                <a:cxn ang="0">
                  <a:pos x="connsiteX6609" y="connsiteY6609"/>
                </a:cxn>
                <a:cxn ang="0">
                  <a:pos x="connsiteX6610" y="connsiteY6610"/>
                </a:cxn>
                <a:cxn ang="0">
                  <a:pos x="connsiteX6611" y="connsiteY6611"/>
                </a:cxn>
                <a:cxn ang="0">
                  <a:pos x="connsiteX6612" y="connsiteY6612"/>
                </a:cxn>
                <a:cxn ang="0">
                  <a:pos x="connsiteX6613" y="connsiteY6613"/>
                </a:cxn>
                <a:cxn ang="0">
                  <a:pos x="connsiteX6614" y="connsiteY6614"/>
                </a:cxn>
                <a:cxn ang="0">
                  <a:pos x="connsiteX6615" y="connsiteY6615"/>
                </a:cxn>
                <a:cxn ang="0">
                  <a:pos x="connsiteX6616" y="connsiteY6616"/>
                </a:cxn>
                <a:cxn ang="0">
                  <a:pos x="connsiteX6617" y="connsiteY6617"/>
                </a:cxn>
                <a:cxn ang="0">
                  <a:pos x="connsiteX6618" y="connsiteY6618"/>
                </a:cxn>
                <a:cxn ang="0">
                  <a:pos x="connsiteX6619" y="connsiteY6619"/>
                </a:cxn>
                <a:cxn ang="0">
                  <a:pos x="connsiteX6620" y="connsiteY6620"/>
                </a:cxn>
                <a:cxn ang="0">
                  <a:pos x="connsiteX6621" y="connsiteY6621"/>
                </a:cxn>
                <a:cxn ang="0">
                  <a:pos x="connsiteX6622" y="connsiteY6622"/>
                </a:cxn>
                <a:cxn ang="0">
                  <a:pos x="connsiteX6623" y="connsiteY6623"/>
                </a:cxn>
                <a:cxn ang="0">
                  <a:pos x="connsiteX6624" y="connsiteY6624"/>
                </a:cxn>
                <a:cxn ang="0">
                  <a:pos x="connsiteX6625" y="connsiteY6625"/>
                </a:cxn>
                <a:cxn ang="0">
                  <a:pos x="connsiteX6626" y="connsiteY6626"/>
                </a:cxn>
                <a:cxn ang="0">
                  <a:pos x="connsiteX6627" y="connsiteY6627"/>
                </a:cxn>
                <a:cxn ang="0">
                  <a:pos x="connsiteX6628" y="connsiteY6628"/>
                </a:cxn>
                <a:cxn ang="0">
                  <a:pos x="connsiteX6629" y="connsiteY6629"/>
                </a:cxn>
                <a:cxn ang="0">
                  <a:pos x="connsiteX6630" y="connsiteY6630"/>
                </a:cxn>
                <a:cxn ang="0">
                  <a:pos x="connsiteX6631" y="connsiteY6631"/>
                </a:cxn>
                <a:cxn ang="0">
                  <a:pos x="connsiteX6632" y="connsiteY6632"/>
                </a:cxn>
                <a:cxn ang="0">
                  <a:pos x="connsiteX6633" y="connsiteY6633"/>
                </a:cxn>
                <a:cxn ang="0">
                  <a:pos x="connsiteX6634" y="connsiteY6634"/>
                </a:cxn>
                <a:cxn ang="0">
                  <a:pos x="connsiteX6635" y="connsiteY6635"/>
                </a:cxn>
                <a:cxn ang="0">
                  <a:pos x="connsiteX6636" y="connsiteY6636"/>
                </a:cxn>
                <a:cxn ang="0">
                  <a:pos x="connsiteX6637" y="connsiteY6637"/>
                </a:cxn>
                <a:cxn ang="0">
                  <a:pos x="connsiteX6638" y="connsiteY6638"/>
                </a:cxn>
                <a:cxn ang="0">
                  <a:pos x="connsiteX6639" y="connsiteY6639"/>
                </a:cxn>
                <a:cxn ang="0">
                  <a:pos x="connsiteX6640" y="connsiteY6640"/>
                </a:cxn>
                <a:cxn ang="0">
                  <a:pos x="connsiteX6641" y="connsiteY6641"/>
                </a:cxn>
                <a:cxn ang="0">
                  <a:pos x="connsiteX6642" y="connsiteY6642"/>
                </a:cxn>
                <a:cxn ang="0">
                  <a:pos x="connsiteX6643" y="connsiteY6643"/>
                </a:cxn>
                <a:cxn ang="0">
                  <a:pos x="connsiteX6644" y="connsiteY6644"/>
                </a:cxn>
                <a:cxn ang="0">
                  <a:pos x="connsiteX6645" y="connsiteY6645"/>
                </a:cxn>
                <a:cxn ang="0">
                  <a:pos x="connsiteX6646" y="connsiteY6646"/>
                </a:cxn>
                <a:cxn ang="0">
                  <a:pos x="connsiteX6647" y="connsiteY6647"/>
                </a:cxn>
                <a:cxn ang="0">
                  <a:pos x="connsiteX6648" y="connsiteY6648"/>
                </a:cxn>
                <a:cxn ang="0">
                  <a:pos x="connsiteX6649" y="connsiteY6649"/>
                </a:cxn>
                <a:cxn ang="0">
                  <a:pos x="connsiteX6650" y="connsiteY6650"/>
                </a:cxn>
                <a:cxn ang="0">
                  <a:pos x="connsiteX6651" y="connsiteY6651"/>
                </a:cxn>
                <a:cxn ang="0">
                  <a:pos x="connsiteX6652" y="connsiteY6652"/>
                </a:cxn>
                <a:cxn ang="0">
                  <a:pos x="connsiteX6653" y="connsiteY6653"/>
                </a:cxn>
                <a:cxn ang="0">
                  <a:pos x="connsiteX6654" y="connsiteY6654"/>
                </a:cxn>
                <a:cxn ang="0">
                  <a:pos x="connsiteX6655" y="connsiteY6655"/>
                </a:cxn>
                <a:cxn ang="0">
                  <a:pos x="connsiteX6656" y="connsiteY6656"/>
                </a:cxn>
                <a:cxn ang="0">
                  <a:pos x="connsiteX6657" y="connsiteY6657"/>
                </a:cxn>
                <a:cxn ang="0">
                  <a:pos x="connsiteX6658" y="connsiteY6658"/>
                </a:cxn>
                <a:cxn ang="0">
                  <a:pos x="connsiteX6659" y="connsiteY6659"/>
                </a:cxn>
                <a:cxn ang="0">
                  <a:pos x="connsiteX6660" y="connsiteY6660"/>
                </a:cxn>
                <a:cxn ang="0">
                  <a:pos x="connsiteX6661" y="connsiteY6661"/>
                </a:cxn>
                <a:cxn ang="0">
                  <a:pos x="connsiteX6662" y="connsiteY6662"/>
                </a:cxn>
                <a:cxn ang="0">
                  <a:pos x="connsiteX6663" y="connsiteY6663"/>
                </a:cxn>
                <a:cxn ang="0">
                  <a:pos x="connsiteX6664" y="connsiteY6664"/>
                </a:cxn>
                <a:cxn ang="0">
                  <a:pos x="connsiteX6665" y="connsiteY6665"/>
                </a:cxn>
                <a:cxn ang="0">
                  <a:pos x="connsiteX6666" y="connsiteY6666"/>
                </a:cxn>
                <a:cxn ang="0">
                  <a:pos x="connsiteX6667" y="connsiteY6667"/>
                </a:cxn>
                <a:cxn ang="0">
                  <a:pos x="connsiteX6668" y="connsiteY6668"/>
                </a:cxn>
                <a:cxn ang="0">
                  <a:pos x="connsiteX6669" y="connsiteY6669"/>
                </a:cxn>
                <a:cxn ang="0">
                  <a:pos x="connsiteX6670" y="connsiteY6670"/>
                </a:cxn>
                <a:cxn ang="0">
                  <a:pos x="connsiteX6671" y="connsiteY6671"/>
                </a:cxn>
                <a:cxn ang="0">
                  <a:pos x="connsiteX6672" y="connsiteY6672"/>
                </a:cxn>
                <a:cxn ang="0">
                  <a:pos x="connsiteX6673" y="connsiteY6673"/>
                </a:cxn>
                <a:cxn ang="0">
                  <a:pos x="connsiteX6674" y="connsiteY6674"/>
                </a:cxn>
                <a:cxn ang="0">
                  <a:pos x="connsiteX6675" y="connsiteY6675"/>
                </a:cxn>
                <a:cxn ang="0">
                  <a:pos x="connsiteX6676" y="connsiteY6676"/>
                </a:cxn>
                <a:cxn ang="0">
                  <a:pos x="connsiteX6677" y="connsiteY6677"/>
                </a:cxn>
                <a:cxn ang="0">
                  <a:pos x="connsiteX6678" y="connsiteY6678"/>
                </a:cxn>
                <a:cxn ang="0">
                  <a:pos x="connsiteX6679" y="connsiteY6679"/>
                </a:cxn>
                <a:cxn ang="0">
                  <a:pos x="connsiteX6680" y="connsiteY6680"/>
                </a:cxn>
                <a:cxn ang="0">
                  <a:pos x="connsiteX6681" y="connsiteY6681"/>
                </a:cxn>
                <a:cxn ang="0">
                  <a:pos x="connsiteX6682" y="connsiteY6682"/>
                </a:cxn>
                <a:cxn ang="0">
                  <a:pos x="connsiteX6683" y="connsiteY6683"/>
                </a:cxn>
                <a:cxn ang="0">
                  <a:pos x="connsiteX6684" y="connsiteY6684"/>
                </a:cxn>
                <a:cxn ang="0">
                  <a:pos x="connsiteX6685" y="connsiteY6685"/>
                </a:cxn>
                <a:cxn ang="0">
                  <a:pos x="connsiteX6686" y="connsiteY6686"/>
                </a:cxn>
                <a:cxn ang="0">
                  <a:pos x="connsiteX6687" y="connsiteY6687"/>
                </a:cxn>
                <a:cxn ang="0">
                  <a:pos x="connsiteX6688" y="connsiteY6688"/>
                </a:cxn>
                <a:cxn ang="0">
                  <a:pos x="connsiteX6689" y="connsiteY6689"/>
                </a:cxn>
                <a:cxn ang="0">
                  <a:pos x="connsiteX6690" y="connsiteY6690"/>
                </a:cxn>
                <a:cxn ang="0">
                  <a:pos x="connsiteX6691" y="connsiteY6691"/>
                </a:cxn>
                <a:cxn ang="0">
                  <a:pos x="connsiteX6692" y="connsiteY6692"/>
                </a:cxn>
                <a:cxn ang="0">
                  <a:pos x="connsiteX6693" y="connsiteY6693"/>
                </a:cxn>
                <a:cxn ang="0">
                  <a:pos x="connsiteX6694" y="connsiteY6694"/>
                </a:cxn>
                <a:cxn ang="0">
                  <a:pos x="connsiteX6695" y="connsiteY6695"/>
                </a:cxn>
                <a:cxn ang="0">
                  <a:pos x="connsiteX6696" y="connsiteY6696"/>
                </a:cxn>
                <a:cxn ang="0">
                  <a:pos x="connsiteX6697" y="connsiteY6697"/>
                </a:cxn>
                <a:cxn ang="0">
                  <a:pos x="connsiteX6698" y="connsiteY6698"/>
                </a:cxn>
                <a:cxn ang="0">
                  <a:pos x="connsiteX6699" y="connsiteY6699"/>
                </a:cxn>
                <a:cxn ang="0">
                  <a:pos x="connsiteX6700" y="connsiteY6700"/>
                </a:cxn>
                <a:cxn ang="0">
                  <a:pos x="connsiteX6701" y="connsiteY6701"/>
                </a:cxn>
                <a:cxn ang="0">
                  <a:pos x="connsiteX6702" y="connsiteY6702"/>
                </a:cxn>
                <a:cxn ang="0">
                  <a:pos x="connsiteX6703" y="connsiteY6703"/>
                </a:cxn>
                <a:cxn ang="0">
                  <a:pos x="connsiteX6704" y="connsiteY6704"/>
                </a:cxn>
                <a:cxn ang="0">
                  <a:pos x="connsiteX6705" y="connsiteY6705"/>
                </a:cxn>
                <a:cxn ang="0">
                  <a:pos x="connsiteX6706" y="connsiteY6706"/>
                </a:cxn>
                <a:cxn ang="0">
                  <a:pos x="connsiteX6707" y="connsiteY6707"/>
                </a:cxn>
                <a:cxn ang="0">
                  <a:pos x="connsiteX6708" y="connsiteY6708"/>
                </a:cxn>
                <a:cxn ang="0">
                  <a:pos x="connsiteX6709" y="connsiteY6709"/>
                </a:cxn>
                <a:cxn ang="0">
                  <a:pos x="connsiteX6710" y="connsiteY6710"/>
                </a:cxn>
                <a:cxn ang="0">
                  <a:pos x="connsiteX6711" y="connsiteY6711"/>
                </a:cxn>
                <a:cxn ang="0">
                  <a:pos x="connsiteX6712" y="connsiteY6712"/>
                </a:cxn>
                <a:cxn ang="0">
                  <a:pos x="connsiteX6713" y="connsiteY6713"/>
                </a:cxn>
                <a:cxn ang="0">
                  <a:pos x="connsiteX6714" y="connsiteY6714"/>
                </a:cxn>
                <a:cxn ang="0">
                  <a:pos x="connsiteX6715" y="connsiteY6715"/>
                </a:cxn>
                <a:cxn ang="0">
                  <a:pos x="connsiteX6716" y="connsiteY6716"/>
                </a:cxn>
                <a:cxn ang="0">
                  <a:pos x="connsiteX6717" y="connsiteY6717"/>
                </a:cxn>
                <a:cxn ang="0">
                  <a:pos x="connsiteX6718" y="connsiteY6718"/>
                </a:cxn>
                <a:cxn ang="0">
                  <a:pos x="connsiteX6719" y="connsiteY6719"/>
                </a:cxn>
                <a:cxn ang="0">
                  <a:pos x="connsiteX6720" y="connsiteY6720"/>
                </a:cxn>
                <a:cxn ang="0">
                  <a:pos x="connsiteX6721" y="connsiteY6721"/>
                </a:cxn>
                <a:cxn ang="0">
                  <a:pos x="connsiteX6722" y="connsiteY6722"/>
                </a:cxn>
                <a:cxn ang="0">
                  <a:pos x="connsiteX6723" y="connsiteY6723"/>
                </a:cxn>
                <a:cxn ang="0">
                  <a:pos x="connsiteX6724" y="connsiteY6724"/>
                </a:cxn>
                <a:cxn ang="0">
                  <a:pos x="connsiteX6725" y="connsiteY6725"/>
                </a:cxn>
                <a:cxn ang="0">
                  <a:pos x="connsiteX6726" y="connsiteY6726"/>
                </a:cxn>
                <a:cxn ang="0">
                  <a:pos x="connsiteX6727" y="connsiteY6727"/>
                </a:cxn>
                <a:cxn ang="0">
                  <a:pos x="connsiteX6728" y="connsiteY6728"/>
                </a:cxn>
                <a:cxn ang="0">
                  <a:pos x="connsiteX6729" y="connsiteY6729"/>
                </a:cxn>
                <a:cxn ang="0">
                  <a:pos x="connsiteX6730" y="connsiteY6730"/>
                </a:cxn>
                <a:cxn ang="0">
                  <a:pos x="connsiteX6731" y="connsiteY6731"/>
                </a:cxn>
                <a:cxn ang="0">
                  <a:pos x="connsiteX6732" y="connsiteY6732"/>
                </a:cxn>
                <a:cxn ang="0">
                  <a:pos x="connsiteX6733" y="connsiteY6733"/>
                </a:cxn>
                <a:cxn ang="0">
                  <a:pos x="connsiteX6734" y="connsiteY6734"/>
                </a:cxn>
                <a:cxn ang="0">
                  <a:pos x="connsiteX6735" y="connsiteY6735"/>
                </a:cxn>
                <a:cxn ang="0">
                  <a:pos x="connsiteX6736" y="connsiteY6736"/>
                </a:cxn>
                <a:cxn ang="0">
                  <a:pos x="connsiteX6737" y="connsiteY6737"/>
                </a:cxn>
                <a:cxn ang="0">
                  <a:pos x="connsiteX6738" y="connsiteY6738"/>
                </a:cxn>
                <a:cxn ang="0">
                  <a:pos x="connsiteX6739" y="connsiteY6739"/>
                </a:cxn>
                <a:cxn ang="0">
                  <a:pos x="connsiteX6740" y="connsiteY6740"/>
                </a:cxn>
                <a:cxn ang="0">
                  <a:pos x="connsiteX6741" y="connsiteY6741"/>
                </a:cxn>
                <a:cxn ang="0">
                  <a:pos x="connsiteX6742" y="connsiteY6742"/>
                </a:cxn>
                <a:cxn ang="0">
                  <a:pos x="connsiteX6743" y="connsiteY6743"/>
                </a:cxn>
                <a:cxn ang="0">
                  <a:pos x="connsiteX6744" y="connsiteY6744"/>
                </a:cxn>
                <a:cxn ang="0">
                  <a:pos x="connsiteX6745" y="connsiteY6745"/>
                </a:cxn>
                <a:cxn ang="0">
                  <a:pos x="connsiteX6746" y="connsiteY6746"/>
                </a:cxn>
                <a:cxn ang="0">
                  <a:pos x="connsiteX6747" y="connsiteY6747"/>
                </a:cxn>
                <a:cxn ang="0">
                  <a:pos x="connsiteX6748" y="connsiteY6748"/>
                </a:cxn>
                <a:cxn ang="0">
                  <a:pos x="connsiteX6749" y="connsiteY6749"/>
                </a:cxn>
                <a:cxn ang="0">
                  <a:pos x="connsiteX6750" y="connsiteY6750"/>
                </a:cxn>
                <a:cxn ang="0">
                  <a:pos x="connsiteX6751" y="connsiteY6751"/>
                </a:cxn>
                <a:cxn ang="0">
                  <a:pos x="connsiteX6752" y="connsiteY6752"/>
                </a:cxn>
                <a:cxn ang="0">
                  <a:pos x="connsiteX6753" y="connsiteY6753"/>
                </a:cxn>
                <a:cxn ang="0">
                  <a:pos x="connsiteX6754" y="connsiteY6754"/>
                </a:cxn>
                <a:cxn ang="0">
                  <a:pos x="connsiteX6755" y="connsiteY6755"/>
                </a:cxn>
                <a:cxn ang="0">
                  <a:pos x="connsiteX6756" y="connsiteY6756"/>
                </a:cxn>
                <a:cxn ang="0">
                  <a:pos x="connsiteX6757" y="connsiteY6757"/>
                </a:cxn>
                <a:cxn ang="0">
                  <a:pos x="connsiteX6758" y="connsiteY6758"/>
                </a:cxn>
                <a:cxn ang="0">
                  <a:pos x="connsiteX6759" y="connsiteY6759"/>
                </a:cxn>
                <a:cxn ang="0">
                  <a:pos x="connsiteX6760" y="connsiteY6760"/>
                </a:cxn>
                <a:cxn ang="0">
                  <a:pos x="connsiteX6761" y="connsiteY6761"/>
                </a:cxn>
                <a:cxn ang="0">
                  <a:pos x="connsiteX6762" y="connsiteY6762"/>
                </a:cxn>
                <a:cxn ang="0">
                  <a:pos x="connsiteX6763" y="connsiteY6763"/>
                </a:cxn>
                <a:cxn ang="0">
                  <a:pos x="connsiteX6764" y="connsiteY6764"/>
                </a:cxn>
                <a:cxn ang="0">
                  <a:pos x="connsiteX6765" y="connsiteY6765"/>
                </a:cxn>
                <a:cxn ang="0">
                  <a:pos x="connsiteX6766" y="connsiteY6766"/>
                </a:cxn>
                <a:cxn ang="0">
                  <a:pos x="connsiteX6767" y="connsiteY6767"/>
                </a:cxn>
                <a:cxn ang="0">
                  <a:pos x="connsiteX6768" y="connsiteY6768"/>
                </a:cxn>
                <a:cxn ang="0">
                  <a:pos x="connsiteX6769" y="connsiteY6769"/>
                </a:cxn>
                <a:cxn ang="0">
                  <a:pos x="connsiteX6770" y="connsiteY6770"/>
                </a:cxn>
                <a:cxn ang="0">
                  <a:pos x="connsiteX6771" y="connsiteY6771"/>
                </a:cxn>
                <a:cxn ang="0">
                  <a:pos x="connsiteX6772" y="connsiteY6772"/>
                </a:cxn>
                <a:cxn ang="0">
                  <a:pos x="connsiteX6773" y="connsiteY6773"/>
                </a:cxn>
                <a:cxn ang="0">
                  <a:pos x="connsiteX6774" y="connsiteY6774"/>
                </a:cxn>
                <a:cxn ang="0">
                  <a:pos x="connsiteX6775" y="connsiteY6775"/>
                </a:cxn>
                <a:cxn ang="0">
                  <a:pos x="connsiteX6776" y="connsiteY6776"/>
                </a:cxn>
                <a:cxn ang="0">
                  <a:pos x="connsiteX6777" y="connsiteY6777"/>
                </a:cxn>
                <a:cxn ang="0">
                  <a:pos x="connsiteX6778" y="connsiteY6778"/>
                </a:cxn>
                <a:cxn ang="0">
                  <a:pos x="connsiteX6779" y="connsiteY6779"/>
                </a:cxn>
                <a:cxn ang="0">
                  <a:pos x="connsiteX6780" y="connsiteY6780"/>
                </a:cxn>
                <a:cxn ang="0">
                  <a:pos x="connsiteX6781" y="connsiteY6781"/>
                </a:cxn>
                <a:cxn ang="0">
                  <a:pos x="connsiteX6782" y="connsiteY6782"/>
                </a:cxn>
                <a:cxn ang="0">
                  <a:pos x="connsiteX6783" y="connsiteY6783"/>
                </a:cxn>
                <a:cxn ang="0">
                  <a:pos x="connsiteX6784" y="connsiteY6784"/>
                </a:cxn>
                <a:cxn ang="0">
                  <a:pos x="connsiteX6785" y="connsiteY6785"/>
                </a:cxn>
                <a:cxn ang="0">
                  <a:pos x="connsiteX6786" y="connsiteY6786"/>
                </a:cxn>
                <a:cxn ang="0">
                  <a:pos x="connsiteX6787" y="connsiteY6787"/>
                </a:cxn>
                <a:cxn ang="0">
                  <a:pos x="connsiteX6788" y="connsiteY6788"/>
                </a:cxn>
                <a:cxn ang="0">
                  <a:pos x="connsiteX6789" y="connsiteY6789"/>
                </a:cxn>
                <a:cxn ang="0">
                  <a:pos x="connsiteX6790" y="connsiteY6790"/>
                </a:cxn>
                <a:cxn ang="0">
                  <a:pos x="connsiteX6791" y="connsiteY6791"/>
                </a:cxn>
                <a:cxn ang="0">
                  <a:pos x="connsiteX6792" y="connsiteY6792"/>
                </a:cxn>
                <a:cxn ang="0">
                  <a:pos x="connsiteX6793" y="connsiteY6793"/>
                </a:cxn>
                <a:cxn ang="0">
                  <a:pos x="connsiteX6794" y="connsiteY6794"/>
                </a:cxn>
                <a:cxn ang="0">
                  <a:pos x="connsiteX6795" y="connsiteY6795"/>
                </a:cxn>
                <a:cxn ang="0">
                  <a:pos x="connsiteX6796" y="connsiteY6796"/>
                </a:cxn>
                <a:cxn ang="0">
                  <a:pos x="connsiteX6797" y="connsiteY6797"/>
                </a:cxn>
                <a:cxn ang="0">
                  <a:pos x="connsiteX6798" y="connsiteY6798"/>
                </a:cxn>
                <a:cxn ang="0">
                  <a:pos x="connsiteX6799" y="connsiteY6799"/>
                </a:cxn>
                <a:cxn ang="0">
                  <a:pos x="connsiteX6800" y="connsiteY6800"/>
                </a:cxn>
                <a:cxn ang="0">
                  <a:pos x="connsiteX6801" y="connsiteY6801"/>
                </a:cxn>
                <a:cxn ang="0">
                  <a:pos x="connsiteX6802" y="connsiteY6802"/>
                </a:cxn>
                <a:cxn ang="0">
                  <a:pos x="connsiteX6803" y="connsiteY6803"/>
                </a:cxn>
                <a:cxn ang="0">
                  <a:pos x="connsiteX6804" y="connsiteY6804"/>
                </a:cxn>
                <a:cxn ang="0">
                  <a:pos x="connsiteX6805" y="connsiteY6805"/>
                </a:cxn>
                <a:cxn ang="0">
                  <a:pos x="connsiteX6806" y="connsiteY6806"/>
                </a:cxn>
                <a:cxn ang="0">
                  <a:pos x="connsiteX6807" y="connsiteY6807"/>
                </a:cxn>
                <a:cxn ang="0">
                  <a:pos x="connsiteX6808" y="connsiteY6808"/>
                </a:cxn>
                <a:cxn ang="0">
                  <a:pos x="connsiteX6809" y="connsiteY6809"/>
                </a:cxn>
                <a:cxn ang="0">
                  <a:pos x="connsiteX6810" y="connsiteY6810"/>
                </a:cxn>
                <a:cxn ang="0">
                  <a:pos x="connsiteX6811" y="connsiteY6811"/>
                </a:cxn>
                <a:cxn ang="0">
                  <a:pos x="connsiteX6812" y="connsiteY6812"/>
                </a:cxn>
                <a:cxn ang="0">
                  <a:pos x="connsiteX6813" y="connsiteY6813"/>
                </a:cxn>
                <a:cxn ang="0">
                  <a:pos x="connsiteX6814" y="connsiteY6814"/>
                </a:cxn>
                <a:cxn ang="0">
                  <a:pos x="connsiteX6815" y="connsiteY6815"/>
                </a:cxn>
                <a:cxn ang="0">
                  <a:pos x="connsiteX6816" y="connsiteY6816"/>
                </a:cxn>
                <a:cxn ang="0">
                  <a:pos x="connsiteX6817" y="connsiteY6817"/>
                </a:cxn>
                <a:cxn ang="0">
                  <a:pos x="connsiteX6818" y="connsiteY6818"/>
                </a:cxn>
                <a:cxn ang="0">
                  <a:pos x="connsiteX6819" y="connsiteY6819"/>
                </a:cxn>
                <a:cxn ang="0">
                  <a:pos x="connsiteX6820" y="connsiteY6820"/>
                </a:cxn>
                <a:cxn ang="0">
                  <a:pos x="connsiteX6821" y="connsiteY6821"/>
                </a:cxn>
                <a:cxn ang="0">
                  <a:pos x="connsiteX6822" y="connsiteY6822"/>
                </a:cxn>
                <a:cxn ang="0">
                  <a:pos x="connsiteX6823" y="connsiteY6823"/>
                </a:cxn>
                <a:cxn ang="0">
                  <a:pos x="connsiteX6824" y="connsiteY6824"/>
                </a:cxn>
                <a:cxn ang="0">
                  <a:pos x="connsiteX6825" y="connsiteY6825"/>
                </a:cxn>
                <a:cxn ang="0">
                  <a:pos x="connsiteX6826" y="connsiteY6826"/>
                </a:cxn>
                <a:cxn ang="0">
                  <a:pos x="connsiteX6827" y="connsiteY6827"/>
                </a:cxn>
                <a:cxn ang="0">
                  <a:pos x="connsiteX6828" y="connsiteY6828"/>
                </a:cxn>
                <a:cxn ang="0">
                  <a:pos x="connsiteX6829" y="connsiteY6829"/>
                </a:cxn>
                <a:cxn ang="0">
                  <a:pos x="connsiteX6830" y="connsiteY6830"/>
                </a:cxn>
                <a:cxn ang="0">
                  <a:pos x="connsiteX6831" y="connsiteY6831"/>
                </a:cxn>
                <a:cxn ang="0">
                  <a:pos x="connsiteX6832" y="connsiteY6832"/>
                </a:cxn>
                <a:cxn ang="0">
                  <a:pos x="connsiteX6833" y="connsiteY6833"/>
                </a:cxn>
                <a:cxn ang="0">
                  <a:pos x="connsiteX6834" y="connsiteY6834"/>
                </a:cxn>
                <a:cxn ang="0">
                  <a:pos x="connsiteX6835" y="connsiteY6835"/>
                </a:cxn>
                <a:cxn ang="0">
                  <a:pos x="connsiteX6836" y="connsiteY6836"/>
                </a:cxn>
                <a:cxn ang="0">
                  <a:pos x="connsiteX6837" y="connsiteY6837"/>
                </a:cxn>
                <a:cxn ang="0">
                  <a:pos x="connsiteX6838" y="connsiteY6838"/>
                </a:cxn>
                <a:cxn ang="0">
                  <a:pos x="connsiteX6839" y="connsiteY6839"/>
                </a:cxn>
                <a:cxn ang="0">
                  <a:pos x="connsiteX6840" y="connsiteY6840"/>
                </a:cxn>
                <a:cxn ang="0">
                  <a:pos x="connsiteX6841" y="connsiteY6841"/>
                </a:cxn>
                <a:cxn ang="0">
                  <a:pos x="connsiteX6842" y="connsiteY6842"/>
                </a:cxn>
                <a:cxn ang="0">
                  <a:pos x="connsiteX6843" y="connsiteY6843"/>
                </a:cxn>
                <a:cxn ang="0">
                  <a:pos x="connsiteX6844" y="connsiteY6844"/>
                </a:cxn>
                <a:cxn ang="0">
                  <a:pos x="connsiteX6845" y="connsiteY6845"/>
                </a:cxn>
                <a:cxn ang="0">
                  <a:pos x="connsiteX6846" y="connsiteY6846"/>
                </a:cxn>
                <a:cxn ang="0">
                  <a:pos x="connsiteX6847" y="connsiteY6847"/>
                </a:cxn>
                <a:cxn ang="0">
                  <a:pos x="connsiteX6848" y="connsiteY6848"/>
                </a:cxn>
                <a:cxn ang="0">
                  <a:pos x="connsiteX6849" y="connsiteY6849"/>
                </a:cxn>
                <a:cxn ang="0">
                  <a:pos x="connsiteX6850" y="connsiteY6850"/>
                </a:cxn>
                <a:cxn ang="0">
                  <a:pos x="connsiteX6851" y="connsiteY6851"/>
                </a:cxn>
                <a:cxn ang="0">
                  <a:pos x="connsiteX6852" y="connsiteY6852"/>
                </a:cxn>
                <a:cxn ang="0">
                  <a:pos x="connsiteX6853" y="connsiteY6853"/>
                </a:cxn>
                <a:cxn ang="0">
                  <a:pos x="connsiteX6854" y="connsiteY6854"/>
                </a:cxn>
                <a:cxn ang="0">
                  <a:pos x="connsiteX6855" y="connsiteY6855"/>
                </a:cxn>
                <a:cxn ang="0">
                  <a:pos x="connsiteX6856" y="connsiteY6856"/>
                </a:cxn>
                <a:cxn ang="0">
                  <a:pos x="connsiteX6857" y="connsiteY6857"/>
                </a:cxn>
                <a:cxn ang="0">
                  <a:pos x="connsiteX6858" y="connsiteY6858"/>
                </a:cxn>
                <a:cxn ang="0">
                  <a:pos x="connsiteX6859" y="connsiteY6859"/>
                </a:cxn>
                <a:cxn ang="0">
                  <a:pos x="connsiteX6860" y="connsiteY6860"/>
                </a:cxn>
                <a:cxn ang="0">
                  <a:pos x="connsiteX6861" y="connsiteY6861"/>
                </a:cxn>
                <a:cxn ang="0">
                  <a:pos x="connsiteX6862" y="connsiteY6862"/>
                </a:cxn>
                <a:cxn ang="0">
                  <a:pos x="connsiteX6863" y="connsiteY6863"/>
                </a:cxn>
                <a:cxn ang="0">
                  <a:pos x="connsiteX6864" y="connsiteY6864"/>
                </a:cxn>
                <a:cxn ang="0">
                  <a:pos x="connsiteX6865" y="connsiteY6865"/>
                </a:cxn>
                <a:cxn ang="0">
                  <a:pos x="connsiteX6866" y="connsiteY6866"/>
                </a:cxn>
                <a:cxn ang="0">
                  <a:pos x="connsiteX6867" y="connsiteY6867"/>
                </a:cxn>
                <a:cxn ang="0">
                  <a:pos x="connsiteX6868" y="connsiteY6868"/>
                </a:cxn>
                <a:cxn ang="0">
                  <a:pos x="connsiteX6869" y="connsiteY6869"/>
                </a:cxn>
                <a:cxn ang="0">
                  <a:pos x="connsiteX6870" y="connsiteY6870"/>
                </a:cxn>
                <a:cxn ang="0">
                  <a:pos x="connsiteX6871" y="connsiteY6871"/>
                </a:cxn>
                <a:cxn ang="0">
                  <a:pos x="connsiteX6872" y="connsiteY6872"/>
                </a:cxn>
                <a:cxn ang="0">
                  <a:pos x="connsiteX6873" y="connsiteY6873"/>
                </a:cxn>
                <a:cxn ang="0">
                  <a:pos x="connsiteX6874" y="connsiteY6874"/>
                </a:cxn>
                <a:cxn ang="0">
                  <a:pos x="connsiteX6875" y="connsiteY6875"/>
                </a:cxn>
                <a:cxn ang="0">
                  <a:pos x="connsiteX6876" y="connsiteY6876"/>
                </a:cxn>
                <a:cxn ang="0">
                  <a:pos x="connsiteX6877" y="connsiteY6877"/>
                </a:cxn>
                <a:cxn ang="0">
                  <a:pos x="connsiteX6878" y="connsiteY6878"/>
                </a:cxn>
                <a:cxn ang="0">
                  <a:pos x="connsiteX6879" y="connsiteY6879"/>
                </a:cxn>
                <a:cxn ang="0">
                  <a:pos x="connsiteX6880" y="connsiteY6880"/>
                </a:cxn>
                <a:cxn ang="0">
                  <a:pos x="connsiteX6881" y="connsiteY6881"/>
                </a:cxn>
                <a:cxn ang="0">
                  <a:pos x="connsiteX6882" y="connsiteY6882"/>
                </a:cxn>
                <a:cxn ang="0">
                  <a:pos x="connsiteX6883" y="connsiteY6883"/>
                </a:cxn>
                <a:cxn ang="0">
                  <a:pos x="connsiteX6884" y="connsiteY6884"/>
                </a:cxn>
                <a:cxn ang="0">
                  <a:pos x="connsiteX6885" y="connsiteY6885"/>
                </a:cxn>
                <a:cxn ang="0">
                  <a:pos x="connsiteX6886" y="connsiteY6886"/>
                </a:cxn>
                <a:cxn ang="0">
                  <a:pos x="connsiteX6887" y="connsiteY6887"/>
                </a:cxn>
                <a:cxn ang="0">
                  <a:pos x="connsiteX6888" y="connsiteY6888"/>
                </a:cxn>
                <a:cxn ang="0">
                  <a:pos x="connsiteX6889" y="connsiteY6889"/>
                </a:cxn>
                <a:cxn ang="0">
                  <a:pos x="connsiteX6890" y="connsiteY6890"/>
                </a:cxn>
                <a:cxn ang="0">
                  <a:pos x="connsiteX6891" y="connsiteY6891"/>
                </a:cxn>
                <a:cxn ang="0">
                  <a:pos x="connsiteX6892" y="connsiteY6892"/>
                </a:cxn>
                <a:cxn ang="0">
                  <a:pos x="connsiteX6893" y="connsiteY6893"/>
                </a:cxn>
                <a:cxn ang="0">
                  <a:pos x="connsiteX6894" y="connsiteY6894"/>
                </a:cxn>
                <a:cxn ang="0">
                  <a:pos x="connsiteX6895" y="connsiteY6895"/>
                </a:cxn>
                <a:cxn ang="0">
                  <a:pos x="connsiteX6896" y="connsiteY6896"/>
                </a:cxn>
                <a:cxn ang="0">
                  <a:pos x="connsiteX6897" y="connsiteY6897"/>
                </a:cxn>
                <a:cxn ang="0">
                  <a:pos x="connsiteX6898" y="connsiteY6898"/>
                </a:cxn>
                <a:cxn ang="0">
                  <a:pos x="connsiteX6899" y="connsiteY6899"/>
                </a:cxn>
                <a:cxn ang="0">
                  <a:pos x="connsiteX6900" y="connsiteY6900"/>
                </a:cxn>
                <a:cxn ang="0">
                  <a:pos x="connsiteX6901" y="connsiteY6901"/>
                </a:cxn>
                <a:cxn ang="0">
                  <a:pos x="connsiteX6902" y="connsiteY6902"/>
                </a:cxn>
                <a:cxn ang="0">
                  <a:pos x="connsiteX6903" y="connsiteY6903"/>
                </a:cxn>
                <a:cxn ang="0">
                  <a:pos x="connsiteX6904" y="connsiteY6904"/>
                </a:cxn>
                <a:cxn ang="0">
                  <a:pos x="connsiteX6905" y="connsiteY6905"/>
                </a:cxn>
                <a:cxn ang="0">
                  <a:pos x="connsiteX6906" y="connsiteY6906"/>
                </a:cxn>
                <a:cxn ang="0">
                  <a:pos x="connsiteX6907" y="connsiteY6907"/>
                </a:cxn>
                <a:cxn ang="0">
                  <a:pos x="connsiteX6908" y="connsiteY6908"/>
                </a:cxn>
                <a:cxn ang="0">
                  <a:pos x="connsiteX6909" y="connsiteY6909"/>
                </a:cxn>
                <a:cxn ang="0">
                  <a:pos x="connsiteX6910" y="connsiteY6910"/>
                </a:cxn>
                <a:cxn ang="0">
                  <a:pos x="connsiteX6911" y="connsiteY6911"/>
                </a:cxn>
                <a:cxn ang="0">
                  <a:pos x="connsiteX6912" y="connsiteY6912"/>
                </a:cxn>
                <a:cxn ang="0">
                  <a:pos x="connsiteX6913" y="connsiteY6913"/>
                </a:cxn>
                <a:cxn ang="0">
                  <a:pos x="connsiteX6914" y="connsiteY6914"/>
                </a:cxn>
                <a:cxn ang="0">
                  <a:pos x="connsiteX6915" y="connsiteY6915"/>
                </a:cxn>
                <a:cxn ang="0">
                  <a:pos x="connsiteX6916" y="connsiteY6916"/>
                </a:cxn>
                <a:cxn ang="0">
                  <a:pos x="connsiteX6917" y="connsiteY6917"/>
                </a:cxn>
                <a:cxn ang="0">
                  <a:pos x="connsiteX6918" y="connsiteY6918"/>
                </a:cxn>
                <a:cxn ang="0">
                  <a:pos x="connsiteX6919" y="connsiteY6919"/>
                </a:cxn>
                <a:cxn ang="0">
                  <a:pos x="connsiteX6920" y="connsiteY6920"/>
                </a:cxn>
                <a:cxn ang="0">
                  <a:pos x="connsiteX6921" y="connsiteY6921"/>
                </a:cxn>
                <a:cxn ang="0">
                  <a:pos x="connsiteX6922" y="connsiteY6922"/>
                </a:cxn>
                <a:cxn ang="0">
                  <a:pos x="connsiteX6923" y="connsiteY6923"/>
                </a:cxn>
                <a:cxn ang="0">
                  <a:pos x="connsiteX6924" y="connsiteY6924"/>
                </a:cxn>
                <a:cxn ang="0">
                  <a:pos x="connsiteX6925" y="connsiteY6925"/>
                </a:cxn>
                <a:cxn ang="0">
                  <a:pos x="connsiteX6926" y="connsiteY6926"/>
                </a:cxn>
                <a:cxn ang="0">
                  <a:pos x="connsiteX6927" y="connsiteY6927"/>
                </a:cxn>
                <a:cxn ang="0">
                  <a:pos x="connsiteX6928" y="connsiteY6928"/>
                </a:cxn>
                <a:cxn ang="0">
                  <a:pos x="connsiteX6929" y="connsiteY6929"/>
                </a:cxn>
                <a:cxn ang="0">
                  <a:pos x="connsiteX6930" y="connsiteY6930"/>
                </a:cxn>
                <a:cxn ang="0">
                  <a:pos x="connsiteX6931" y="connsiteY6931"/>
                </a:cxn>
                <a:cxn ang="0">
                  <a:pos x="connsiteX6932" y="connsiteY6932"/>
                </a:cxn>
                <a:cxn ang="0">
                  <a:pos x="connsiteX6933" y="connsiteY6933"/>
                </a:cxn>
                <a:cxn ang="0">
                  <a:pos x="connsiteX6934" y="connsiteY6934"/>
                </a:cxn>
                <a:cxn ang="0">
                  <a:pos x="connsiteX6935" y="connsiteY6935"/>
                </a:cxn>
                <a:cxn ang="0">
                  <a:pos x="connsiteX6936" y="connsiteY6936"/>
                </a:cxn>
                <a:cxn ang="0">
                  <a:pos x="connsiteX6937" y="connsiteY6937"/>
                </a:cxn>
                <a:cxn ang="0">
                  <a:pos x="connsiteX6938" y="connsiteY6938"/>
                </a:cxn>
                <a:cxn ang="0">
                  <a:pos x="connsiteX6939" y="connsiteY6939"/>
                </a:cxn>
                <a:cxn ang="0">
                  <a:pos x="connsiteX6940" y="connsiteY6940"/>
                </a:cxn>
                <a:cxn ang="0">
                  <a:pos x="connsiteX6941" y="connsiteY6941"/>
                </a:cxn>
                <a:cxn ang="0">
                  <a:pos x="connsiteX6942" y="connsiteY6942"/>
                </a:cxn>
                <a:cxn ang="0">
                  <a:pos x="connsiteX6943" y="connsiteY6943"/>
                </a:cxn>
                <a:cxn ang="0">
                  <a:pos x="connsiteX6944" y="connsiteY6944"/>
                </a:cxn>
                <a:cxn ang="0">
                  <a:pos x="connsiteX6945" y="connsiteY6945"/>
                </a:cxn>
                <a:cxn ang="0">
                  <a:pos x="connsiteX6946" y="connsiteY6946"/>
                </a:cxn>
                <a:cxn ang="0">
                  <a:pos x="connsiteX6947" y="connsiteY6947"/>
                </a:cxn>
                <a:cxn ang="0">
                  <a:pos x="connsiteX6948" y="connsiteY6948"/>
                </a:cxn>
                <a:cxn ang="0">
                  <a:pos x="connsiteX6949" y="connsiteY6949"/>
                </a:cxn>
                <a:cxn ang="0">
                  <a:pos x="connsiteX6950" y="connsiteY6950"/>
                </a:cxn>
                <a:cxn ang="0">
                  <a:pos x="connsiteX6951" y="connsiteY6951"/>
                </a:cxn>
                <a:cxn ang="0">
                  <a:pos x="connsiteX6952" y="connsiteY6952"/>
                </a:cxn>
                <a:cxn ang="0">
                  <a:pos x="connsiteX6953" y="connsiteY6953"/>
                </a:cxn>
                <a:cxn ang="0">
                  <a:pos x="connsiteX6954" y="connsiteY6954"/>
                </a:cxn>
                <a:cxn ang="0">
                  <a:pos x="connsiteX6955" y="connsiteY6955"/>
                </a:cxn>
                <a:cxn ang="0">
                  <a:pos x="connsiteX6956" y="connsiteY6956"/>
                </a:cxn>
                <a:cxn ang="0">
                  <a:pos x="connsiteX6957" y="connsiteY6957"/>
                </a:cxn>
                <a:cxn ang="0">
                  <a:pos x="connsiteX6958" y="connsiteY6958"/>
                </a:cxn>
                <a:cxn ang="0">
                  <a:pos x="connsiteX6959" y="connsiteY6959"/>
                </a:cxn>
                <a:cxn ang="0">
                  <a:pos x="connsiteX6960" y="connsiteY6960"/>
                </a:cxn>
                <a:cxn ang="0">
                  <a:pos x="connsiteX6961" y="connsiteY6961"/>
                </a:cxn>
                <a:cxn ang="0">
                  <a:pos x="connsiteX6962" y="connsiteY6962"/>
                </a:cxn>
                <a:cxn ang="0">
                  <a:pos x="connsiteX6963" y="connsiteY6963"/>
                </a:cxn>
                <a:cxn ang="0">
                  <a:pos x="connsiteX6964" y="connsiteY6964"/>
                </a:cxn>
                <a:cxn ang="0">
                  <a:pos x="connsiteX6965" y="connsiteY6965"/>
                </a:cxn>
                <a:cxn ang="0">
                  <a:pos x="connsiteX6966" y="connsiteY6966"/>
                </a:cxn>
                <a:cxn ang="0">
                  <a:pos x="connsiteX6967" y="connsiteY6967"/>
                </a:cxn>
                <a:cxn ang="0">
                  <a:pos x="connsiteX6968" y="connsiteY6968"/>
                </a:cxn>
                <a:cxn ang="0">
                  <a:pos x="connsiteX6969" y="connsiteY6969"/>
                </a:cxn>
                <a:cxn ang="0">
                  <a:pos x="connsiteX6970" y="connsiteY6970"/>
                </a:cxn>
                <a:cxn ang="0">
                  <a:pos x="connsiteX6971" y="connsiteY6971"/>
                </a:cxn>
                <a:cxn ang="0">
                  <a:pos x="connsiteX6972" y="connsiteY6972"/>
                </a:cxn>
                <a:cxn ang="0">
                  <a:pos x="connsiteX6973" y="connsiteY6973"/>
                </a:cxn>
                <a:cxn ang="0">
                  <a:pos x="connsiteX6974" y="connsiteY6974"/>
                </a:cxn>
                <a:cxn ang="0">
                  <a:pos x="connsiteX6975" y="connsiteY6975"/>
                </a:cxn>
                <a:cxn ang="0">
                  <a:pos x="connsiteX6976" y="connsiteY6976"/>
                </a:cxn>
                <a:cxn ang="0">
                  <a:pos x="connsiteX6977" y="connsiteY6977"/>
                </a:cxn>
                <a:cxn ang="0">
                  <a:pos x="connsiteX6978" y="connsiteY6978"/>
                </a:cxn>
                <a:cxn ang="0">
                  <a:pos x="connsiteX6979" y="connsiteY6979"/>
                </a:cxn>
                <a:cxn ang="0">
                  <a:pos x="connsiteX6980" y="connsiteY6980"/>
                </a:cxn>
                <a:cxn ang="0">
                  <a:pos x="connsiteX6981" y="connsiteY6981"/>
                </a:cxn>
                <a:cxn ang="0">
                  <a:pos x="connsiteX6982" y="connsiteY6982"/>
                </a:cxn>
                <a:cxn ang="0">
                  <a:pos x="connsiteX6983" y="connsiteY6983"/>
                </a:cxn>
                <a:cxn ang="0">
                  <a:pos x="connsiteX6984" y="connsiteY6984"/>
                </a:cxn>
                <a:cxn ang="0">
                  <a:pos x="connsiteX6985" y="connsiteY6985"/>
                </a:cxn>
                <a:cxn ang="0">
                  <a:pos x="connsiteX6986" y="connsiteY6986"/>
                </a:cxn>
                <a:cxn ang="0">
                  <a:pos x="connsiteX6987" y="connsiteY6987"/>
                </a:cxn>
                <a:cxn ang="0">
                  <a:pos x="connsiteX6988" y="connsiteY6988"/>
                </a:cxn>
                <a:cxn ang="0">
                  <a:pos x="connsiteX6989" y="connsiteY6989"/>
                </a:cxn>
                <a:cxn ang="0">
                  <a:pos x="connsiteX6990" y="connsiteY6990"/>
                </a:cxn>
                <a:cxn ang="0">
                  <a:pos x="connsiteX6991" y="connsiteY6991"/>
                </a:cxn>
                <a:cxn ang="0">
                  <a:pos x="connsiteX6992" y="connsiteY6992"/>
                </a:cxn>
                <a:cxn ang="0">
                  <a:pos x="connsiteX6993" y="connsiteY6993"/>
                </a:cxn>
                <a:cxn ang="0">
                  <a:pos x="connsiteX6994" y="connsiteY6994"/>
                </a:cxn>
                <a:cxn ang="0">
                  <a:pos x="connsiteX6995" y="connsiteY6995"/>
                </a:cxn>
                <a:cxn ang="0">
                  <a:pos x="connsiteX6996" y="connsiteY6996"/>
                </a:cxn>
                <a:cxn ang="0">
                  <a:pos x="connsiteX6997" y="connsiteY6997"/>
                </a:cxn>
                <a:cxn ang="0">
                  <a:pos x="connsiteX6998" y="connsiteY6998"/>
                </a:cxn>
                <a:cxn ang="0">
                  <a:pos x="connsiteX6999" y="connsiteY6999"/>
                </a:cxn>
                <a:cxn ang="0">
                  <a:pos x="connsiteX7000" y="connsiteY7000"/>
                </a:cxn>
                <a:cxn ang="0">
                  <a:pos x="connsiteX7001" y="connsiteY7001"/>
                </a:cxn>
                <a:cxn ang="0">
                  <a:pos x="connsiteX7002" y="connsiteY7002"/>
                </a:cxn>
                <a:cxn ang="0">
                  <a:pos x="connsiteX7003" y="connsiteY7003"/>
                </a:cxn>
                <a:cxn ang="0">
                  <a:pos x="connsiteX7004" y="connsiteY7004"/>
                </a:cxn>
                <a:cxn ang="0">
                  <a:pos x="connsiteX7005" y="connsiteY7005"/>
                </a:cxn>
                <a:cxn ang="0">
                  <a:pos x="connsiteX7006" y="connsiteY7006"/>
                </a:cxn>
                <a:cxn ang="0">
                  <a:pos x="connsiteX7007" y="connsiteY7007"/>
                </a:cxn>
                <a:cxn ang="0">
                  <a:pos x="connsiteX7008" y="connsiteY7008"/>
                </a:cxn>
                <a:cxn ang="0">
                  <a:pos x="connsiteX7009" y="connsiteY7009"/>
                </a:cxn>
                <a:cxn ang="0">
                  <a:pos x="connsiteX7010" y="connsiteY7010"/>
                </a:cxn>
                <a:cxn ang="0">
                  <a:pos x="connsiteX7011" y="connsiteY7011"/>
                </a:cxn>
                <a:cxn ang="0">
                  <a:pos x="connsiteX7012" y="connsiteY7012"/>
                </a:cxn>
                <a:cxn ang="0">
                  <a:pos x="connsiteX7013" y="connsiteY7013"/>
                </a:cxn>
                <a:cxn ang="0">
                  <a:pos x="connsiteX7014" y="connsiteY7014"/>
                </a:cxn>
                <a:cxn ang="0">
                  <a:pos x="connsiteX7015" y="connsiteY7015"/>
                </a:cxn>
                <a:cxn ang="0">
                  <a:pos x="connsiteX7016" y="connsiteY7016"/>
                </a:cxn>
                <a:cxn ang="0">
                  <a:pos x="connsiteX7017" y="connsiteY7017"/>
                </a:cxn>
                <a:cxn ang="0">
                  <a:pos x="connsiteX7018" y="connsiteY7018"/>
                </a:cxn>
                <a:cxn ang="0">
                  <a:pos x="connsiteX7019" y="connsiteY7019"/>
                </a:cxn>
                <a:cxn ang="0">
                  <a:pos x="connsiteX7020" y="connsiteY7020"/>
                </a:cxn>
                <a:cxn ang="0">
                  <a:pos x="connsiteX7021" y="connsiteY7021"/>
                </a:cxn>
                <a:cxn ang="0">
                  <a:pos x="connsiteX7022" y="connsiteY7022"/>
                </a:cxn>
                <a:cxn ang="0">
                  <a:pos x="connsiteX7023" y="connsiteY7023"/>
                </a:cxn>
                <a:cxn ang="0">
                  <a:pos x="connsiteX7024" y="connsiteY7024"/>
                </a:cxn>
                <a:cxn ang="0">
                  <a:pos x="connsiteX7025" y="connsiteY7025"/>
                </a:cxn>
                <a:cxn ang="0">
                  <a:pos x="connsiteX7026" y="connsiteY7026"/>
                </a:cxn>
                <a:cxn ang="0">
                  <a:pos x="connsiteX7027" y="connsiteY7027"/>
                </a:cxn>
                <a:cxn ang="0">
                  <a:pos x="connsiteX7028" y="connsiteY7028"/>
                </a:cxn>
                <a:cxn ang="0">
                  <a:pos x="connsiteX7029" y="connsiteY7029"/>
                </a:cxn>
                <a:cxn ang="0">
                  <a:pos x="connsiteX7030" y="connsiteY7030"/>
                </a:cxn>
                <a:cxn ang="0">
                  <a:pos x="connsiteX7031" y="connsiteY7031"/>
                </a:cxn>
                <a:cxn ang="0">
                  <a:pos x="connsiteX7032" y="connsiteY7032"/>
                </a:cxn>
                <a:cxn ang="0">
                  <a:pos x="connsiteX7033" y="connsiteY7033"/>
                </a:cxn>
                <a:cxn ang="0">
                  <a:pos x="connsiteX7034" y="connsiteY7034"/>
                </a:cxn>
                <a:cxn ang="0">
                  <a:pos x="connsiteX7035" y="connsiteY7035"/>
                </a:cxn>
                <a:cxn ang="0">
                  <a:pos x="connsiteX7036" y="connsiteY7036"/>
                </a:cxn>
                <a:cxn ang="0">
                  <a:pos x="connsiteX7037" y="connsiteY7037"/>
                </a:cxn>
                <a:cxn ang="0">
                  <a:pos x="connsiteX7038" y="connsiteY7038"/>
                </a:cxn>
                <a:cxn ang="0">
                  <a:pos x="connsiteX7039" y="connsiteY7039"/>
                </a:cxn>
                <a:cxn ang="0">
                  <a:pos x="connsiteX7040" y="connsiteY7040"/>
                </a:cxn>
                <a:cxn ang="0">
                  <a:pos x="connsiteX7041" y="connsiteY7041"/>
                </a:cxn>
                <a:cxn ang="0">
                  <a:pos x="connsiteX7042" y="connsiteY7042"/>
                </a:cxn>
                <a:cxn ang="0">
                  <a:pos x="connsiteX7043" y="connsiteY7043"/>
                </a:cxn>
                <a:cxn ang="0">
                  <a:pos x="connsiteX7044" y="connsiteY7044"/>
                </a:cxn>
                <a:cxn ang="0">
                  <a:pos x="connsiteX7045" y="connsiteY7045"/>
                </a:cxn>
                <a:cxn ang="0">
                  <a:pos x="connsiteX7046" y="connsiteY7046"/>
                </a:cxn>
                <a:cxn ang="0">
                  <a:pos x="connsiteX7047" y="connsiteY7047"/>
                </a:cxn>
                <a:cxn ang="0">
                  <a:pos x="connsiteX7048" y="connsiteY7048"/>
                </a:cxn>
                <a:cxn ang="0">
                  <a:pos x="connsiteX7049" y="connsiteY7049"/>
                </a:cxn>
                <a:cxn ang="0">
                  <a:pos x="connsiteX7050" y="connsiteY7050"/>
                </a:cxn>
                <a:cxn ang="0">
                  <a:pos x="connsiteX7051" y="connsiteY7051"/>
                </a:cxn>
                <a:cxn ang="0">
                  <a:pos x="connsiteX7052" y="connsiteY7052"/>
                </a:cxn>
                <a:cxn ang="0">
                  <a:pos x="connsiteX7053" y="connsiteY7053"/>
                </a:cxn>
                <a:cxn ang="0">
                  <a:pos x="connsiteX7054" y="connsiteY7054"/>
                </a:cxn>
                <a:cxn ang="0">
                  <a:pos x="connsiteX7055" y="connsiteY7055"/>
                </a:cxn>
                <a:cxn ang="0">
                  <a:pos x="connsiteX7056" y="connsiteY7056"/>
                </a:cxn>
                <a:cxn ang="0">
                  <a:pos x="connsiteX7057" y="connsiteY7057"/>
                </a:cxn>
                <a:cxn ang="0">
                  <a:pos x="connsiteX7058" y="connsiteY7058"/>
                </a:cxn>
                <a:cxn ang="0">
                  <a:pos x="connsiteX7059" y="connsiteY7059"/>
                </a:cxn>
                <a:cxn ang="0">
                  <a:pos x="connsiteX7060" y="connsiteY7060"/>
                </a:cxn>
                <a:cxn ang="0">
                  <a:pos x="connsiteX7061" y="connsiteY7061"/>
                </a:cxn>
                <a:cxn ang="0">
                  <a:pos x="connsiteX7062" y="connsiteY7062"/>
                </a:cxn>
                <a:cxn ang="0">
                  <a:pos x="connsiteX7063" y="connsiteY7063"/>
                </a:cxn>
                <a:cxn ang="0">
                  <a:pos x="connsiteX7064" y="connsiteY7064"/>
                </a:cxn>
                <a:cxn ang="0">
                  <a:pos x="connsiteX7065" y="connsiteY7065"/>
                </a:cxn>
                <a:cxn ang="0">
                  <a:pos x="connsiteX7066" y="connsiteY7066"/>
                </a:cxn>
                <a:cxn ang="0">
                  <a:pos x="connsiteX7067" y="connsiteY7067"/>
                </a:cxn>
                <a:cxn ang="0">
                  <a:pos x="connsiteX7068" y="connsiteY7068"/>
                </a:cxn>
                <a:cxn ang="0">
                  <a:pos x="connsiteX7069" y="connsiteY7069"/>
                </a:cxn>
                <a:cxn ang="0">
                  <a:pos x="connsiteX7070" y="connsiteY7070"/>
                </a:cxn>
                <a:cxn ang="0">
                  <a:pos x="connsiteX7071" y="connsiteY7071"/>
                </a:cxn>
                <a:cxn ang="0">
                  <a:pos x="connsiteX7072" y="connsiteY7072"/>
                </a:cxn>
                <a:cxn ang="0">
                  <a:pos x="connsiteX7073" y="connsiteY7073"/>
                </a:cxn>
                <a:cxn ang="0">
                  <a:pos x="connsiteX7074" y="connsiteY7074"/>
                </a:cxn>
                <a:cxn ang="0">
                  <a:pos x="connsiteX7075" y="connsiteY7075"/>
                </a:cxn>
                <a:cxn ang="0">
                  <a:pos x="connsiteX7076" y="connsiteY7076"/>
                </a:cxn>
                <a:cxn ang="0">
                  <a:pos x="connsiteX7077" y="connsiteY7077"/>
                </a:cxn>
                <a:cxn ang="0">
                  <a:pos x="connsiteX7078" y="connsiteY7078"/>
                </a:cxn>
                <a:cxn ang="0">
                  <a:pos x="connsiteX7079" y="connsiteY7079"/>
                </a:cxn>
                <a:cxn ang="0">
                  <a:pos x="connsiteX7080" y="connsiteY7080"/>
                </a:cxn>
                <a:cxn ang="0">
                  <a:pos x="connsiteX7081" y="connsiteY7081"/>
                </a:cxn>
                <a:cxn ang="0">
                  <a:pos x="connsiteX7082" y="connsiteY7082"/>
                </a:cxn>
                <a:cxn ang="0">
                  <a:pos x="connsiteX7083" y="connsiteY7083"/>
                </a:cxn>
                <a:cxn ang="0">
                  <a:pos x="connsiteX7084" y="connsiteY7084"/>
                </a:cxn>
                <a:cxn ang="0">
                  <a:pos x="connsiteX7085" y="connsiteY7085"/>
                </a:cxn>
                <a:cxn ang="0">
                  <a:pos x="connsiteX7086" y="connsiteY7086"/>
                </a:cxn>
                <a:cxn ang="0">
                  <a:pos x="connsiteX7087" y="connsiteY7087"/>
                </a:cxn>
                <a:cxn ang="0">
                  <a:pos x="connsiteX7088" y="connsiteY7088"/>
                </a:cxn>
                <a:cxn ang="0">
                  <a:pos x="connsiteX7089" y="connsiteY7089"/>
                </a:cxn>
                <a:cxn ang="0">
                  <a:pos x="connsiteX7090" y="connsiteY7090"/>
                </a:cxn>
                <a:cxn ang="0">
                  <a:pos x="connsiteX7091" y="connsiteY7091"/>
                </a:cxn>
                <a:cxn ang="0">
                  <a:pos x="connsiteX7092" y="connsiteY7092"/>
                </a:cxn>
                <a:cxn ang="0">
                  <a:pos x="connsiteX7093" y="connsiteY7093"/>
                </a:cxn>
                <a:cxn ang="0">
                  <a:pos x="connsiteX7094" y="connsiteY7094"/>
                </a:cxn>
                <a:cxn ang="0">
                  <a:pos x="connsiteX7095" y="connsiteY7095"/>
                </a:cxn>
                <a:cxn ang="0">
                  <a:pos x="connsiteX7096" y="connsiteY7096"/>
                </a:cxn>
                <a:cxn ang="0">
                  <a:pos x="connsiteX7097" y="connsiteY7097"/>
                </a:cxn>
                <a:cxn ang="0">
                  <a:pos x="connsiteX7098" y="connsiteY7098"/>
                </a:cxn>
                <a:cxn ang="0">
                  <a:pos x="connsiteX7099" y="connsiteY7099"/>
                </a:cxn>
                <a:cxn ang="0">
                  <a:pos x="connsiteX7100" y="connsiteY7100"/>
                </a:cxn>
                <a:cxn ang="0">
                  <a:pos x="connsiteX7101" y="connsiteY7101"/>
                </a:cxn>
                <a:cxn ang="0">
                  <a:pos x="connsiteX7102" y="connsiteY7102"/>
                </a:cxn>
                <a:cxn ang="0">
                  <a:pos x="connsiteX7103" y="connsiteY7103"/>
                </a:cxn>
                <a:cxn ang="0">
                  <a:pos x="connsiteX7104" y="connsiteY7104"/>
                </a:cxn>
                <a:cxn ang="0">
                  <a:pos x="connsiteX7105" y="connsiteY7105"/>
                </a:cxn>
                <a:cxn ang="0">
                  <a:pos x="connsiteX7106" y="connsiteY7106"/>
                </a:cxn>
                <a:cxn ang="0">
                  <a:pos x="connsiteX7107" y="connsiteY7107"/>
                </a:cxn>
                <a:cxn ang="0">
                  <a:pos x="connsiteX7108" y="connsiteY7108"/>
                </a:cxn>
                <a:cxn ang="0">
                  <a:pos x="connsiteX7109" y="connsiteY7109"/>
                </a:cxn>
                <a:cxn ang="0">
                  <a:pos x="connsiteX7110" y="connsiteY7110"/>
                </a:cxn>
                <a:cxn ang="0">
                  <a:pos x="connsiteX7111" y="connsiteY7111"/>
                </a:cxn>
                <a:cxn ang="0">
                  <a:pos x="connsiteX7112" y="connsiteY7112"/>
                </a:cxn>
                <a:cxn ang="0">
                  <a:pos x="connsiteX7113" y="connsiteY7113"/>
                </a:cxn>
                <a:cxn ang="0">
                  <a:pos x="connsiteX7114" y="connsiteY7114"/>
                </a:cxn>
                <a:cxn ang="0">
                  <a:pos x="connsiteX7115" y="connsiteY7115"/>
                </a:cxn>
                <a:cxn ang="0">
                  <a:pos x="connsiteX7116" y="connsiteY7116"/>
                </a:cxn>
                <a:cxn ang="0">
                  <a:pos x="connsiteX7117" y="connsiteY7117"/>
                </a:cxn>
                <a:cxn ang="0">
                  <a:pos x="connsiteX7118" y="connsiteY7118"/>
                </a:cxn>
                <a:cxn ang="0">
                  <a:pos x="connsiteX7119" y="connsiteY7119"/>
                </a:cxn>
                <a:cxn ang="0">
                  <a:pos x="connsiteX7120" y="connsiteY7120"/>
                </a:cxn>
                <a:cxn ang="0">
                  <a:pos x="connsiteX7121" y="connsiteY7121"/>
                </a:cxn>
                <a:cxn ang="0">
                  <a:pos x="connsiteX7122" y="connsiteY7122"/>
                </a:cxn>
                <a:cxn ang="0">
                  <a:pos x="connsiteX7123" y="connsiteY7123"/>
                </a:cxn>
                <a:cxn ang="0">
                  <a:pos x="connsiteX7124" y="connsiteY7124"/>
                </a:cxn>
                <a:cxn ang="0">
                  <a:pos x="connsiteX7125" y="connsiteY7125"/>
                </a:cxn>
                <a:cxn ang="0">
                  <a:pos x="connsiteX7126" y="connsiteY7126"/>
                </a:cxn>
                <a:cxn ang="0">
                  <a:pos x="connsiteX7127" y="connsiteY7127"/>
                </a:cxn>
                <a:cxn ang="0">
                  <a:pos x="connsiteX7128" y="connsiteY7128"/>
                </a:cxn>
                <a:cxn ang="0">
                  <a:pos x="connsiteX7129" y="connsiteY7129"/>
                </a:cxn>
                <a:cxn ang="0">
                  <a:pos x="connsiteX7130" y="connsiteY7130"/>
                </a:cxn>
                <a:cxn ang="0">
                  <a:pos x="connsiteX7131" y="connsiteY7131"/>
                </a:cxn>
                <a:cxn ang="0">
                  <a:pos x="connsiteX7132" y="connsiteY7132"/>
                </a:cxn>
                <a:cxn ang="0">
                  <a:pos x="connsiteX7133" y="connsiteY7133"/>
                </a:cxn>
                <a:cxn ang="0">
                  <a:pos x="connsiteX7134" y="connsiteY7134"/>
                </a:cxn>
                <a:cxn ang="0">
                  <a:pos x="connsiteX7135" y="connsiteY7135"/>
                </a:cxn>
                <a:cxn ang="0">
                  <a:pos x="connsiteX7136" y="connsiteY7136"/>
                </a:cxn>
                <a:cxn ang="0">
                  <a:pos x="connsiteX7137" y="connsiteY7137"/>
                </a:cxn>
                <a:cxn ang="0">
                  <a:pos x="connsiteX7138" y="connsiteY7138"/>
                </a:cxn>
                <a:cxn ang="0">
                  <a:pos x="connsiteX7139" y="connsiteY7139"/>
                </a:cxn>
                <a:cxn ang="0">
                  <a:pos x="connsiteX7140" y="connsiteY7140"/>
                </a:cxn>
                <a:cxn ang="0">
                  <a:pos x="connsiteX7141" y="connsiteY7141"/>
                </a:cxn>
                <a:cxn ang="0">
                  <a:pos x="connsiteX7142" y="connsiteY7142"/>
                </a:cxn>
                <a:cxn ang="0">
                  <a:pos x="connsiteX7143" y="connsiteY7143"/>
                </a:cxn>
                <a:cxn ang="0">
                  <a:pos x="connsiteX7144" y="connsiteY7144"/>
                </a:cxn>
                <a:cxn ang="0">
                  <a:pos x="connsiteX7145" y="connsiteY7145"/>
                </a:cxn>
                <a:cxn ang="0">
                  <a:pos x="connsiteX7146" y="connsiteY7146"/>
                </a:cxn>
                <a:cxn ang="0">
                  <a:pos x="connsiteX7147" y="connsiteY7147"/>
                </a:cxn>
                <a:cxn ang="0">
                  <a:pos x="connsiteX7148" y="connsiteY7148"/>
                </a:cxn>
                <a:cxn ang="0">
                  <a:pos x="connsiteX7149" y="connsiteY7149"/>
                </a:cxn>
                <a:cxn ang="0">
                  <a:pos x="connsiteX7150" y="connsiteY7150"/>
                </a:cxn>
                <a:cxn ang="0">
                  <a:pos x="connsiteX7151" y="connsiteY7151"/>
                </a:cxn>
                <a:cxn ang="0">
                  <a:pos x="connsiteX7152" y="connsiteY7152"/>
                </a:cxn>
                <a:cxn ang="0">
                  <a:pos x="connsiteX7153" y="connsiteY7153"/>
                </a:cxn>
                <a:cxn ang="0">
                  <a:pos x="connsiteX7154" y="connsiteY7154"/>
                </a:cxn>
                <a:cxn ang="0">
                  <a:pos x="connsiteX7155" y="connsiteY7155"/>
                </a:cxn>
                <a:cxn ang="0">
                  <a:pos x="connsiteX7156" y="connsiteY7156"/>
                </a:cxn>
                <a:cxn ang="0">
                  <a:pos x="connsiteX7157" y="connsiteY7157"/>
                </a:cxn>
                <a:cxn ang="0">
                  <a:pos x="connsiteX7158" y="connsiteY7158"/>
                </a:cxn>
                <a:cxn ang="0">
                  <a:pos x="connsiteX7159" y="connsiteY7159"/>
                </a:cxn>
                <a:cxn ang="0">
                  <a:pos x="connsiteX7160" y="connsiteY7160"/>
                </a:cxn>
                <a:cxn ang="0">
                  <a:pos x="connsiteX7161" y="connsiteY7161"/>
                </a:cxn>
                <a:cxn ang="0">
                  <a:pos x="connsiteX7162" y="connsiteY7162"/>
                </a:cxn>
                <a:cxn ang="0">
                  <a:pos x="connsiteX7163" y="connsiteY7163"/>
                </a:cxn>
                <a:cxn ang="0">
                  <a:pos x="connsiteX7164" y="connsiteY7164"/>
                </a:cxn>
                <a:cxn ang="0">
                  <a:pos x="connsiteX7165" y="connsiteY7165"/>
                </a:cxn>
                <a:cxn ang="0">
                  <a:pos x="connsiteX7166" y="connsiteY7166"/>
                </a:cxn>
                <a:cxn ang="0">
                  <a:pos x="connsiteX7167" y="connsiteY7167"/>
                </a:cxn>
                <a:cxn ang="0">
                  <a:pos x="connsiteX7168" y="connsiteY7168"/>
                </a:cxn>
                <a:cxn ang="0">
                  <a:pos x="connsiteX7169" y="connsiteY7169"/>
                </a:cxn>
                <a:cxn ang="0">
                  <a:pos x="connsiteX7170" y="connsiteY7170"/>
                </a:cxn>
                <a:cxn ang="0">
                  <a:pos x="connsiteX7171" y="connsiteY7171"/>
                </a:cxn>
                <a:cxn ang="0">
                  <a:pos x="connsiteX7172" y="connsiteY7172"/>
                </a:cxn>
                <a:cxn ang="0">
                  <a:pos x="connsiteX7173" y="connsiteY7173"/>
                </a:cxn>
                <a:cxn ang="0">
                  <a:pos x="connsiteX7174" y="connsiteY7174"/>
                </a:cxn>
                <a:cxn ang="0">
                  <a:pos x="connsiteX7175" y="connsiteY7175"/>
                </a:cxn>
                <a:cxn ang="0">
                  <a:pos x="connsiteX7176" y="connsiteY7176"/>
                </a:cxn>
                <a:cxn ang="0">
                  <a:pos x="connsiteX7177" y="connsiteY7177"/>
                </a:cxn>
                <a:cxn ang="0">
                  <a:pos x="connsiteX7178" y="connsiteY7178"/>
                </a:cxn>
                <a:cxn ang="0">
                  <a:pos x="connsiteX7179" y="connsiteY7179"/>
                </a:cxn>
                <a:cxn ang="0">
                  <a:pos x="connsiteX7180" y="connsiteY7180"/>
                </a:cxn>
                <a:cxn ang="0">
                  <a:pos x="connsiteX7181" y="connsiteY7181"/>
                </a:cxn>
                <a:cxn ang="0">
                  <a:pos x="connsiteX7182" y="connsiteY7182"/>
                </a:cxn>
                <a:cxn ang="0">
                  <a:pos x="connsiteX7183" y="connsiteY7183"/>
                </a:cxn>
                <a:cxn ang="0">
                  <a:pos x="connsiteX7184" y="connsiteY7184"/>
                </a:cxn>
                <a:cxn ang="0">
                  <a:pos x="connsiteX7185" y="connsiteY7185"/>
                </a:cxn>
                <a:cxn ang="0">
                  <a:pos x="connsiteX7186" y="connsiteY7186"/>
                </a:cxn>
                <a:cxn ang="0">
                  <a:pos x="connsiteX7187" y="connsiteY7187"/>
                </a:cxn>
                <a:cxn ang="0">
                  <a:pos x="connsiteX7188" y="connsiteY7188"/>
                </a:cxn>
                <a:cxn ang="0">
                  <a:pos x="connsiteX7189" y="connsiteY7189"/>
                </a:cxn>
                <a:cxn ang="0">
                  <a:pos x="connsiteX7190" y="connsiteY7190"/>
                </a:cxn>
                <a:cxn ang="0">
                  <a:pos x="connsiteX7191" y="connsiteY7191"/>
                </a:cxn>
                <a:cxn ang="0">
                  <a:pos x="connsiteX7192" y="connsiteY7192"/>
                </a:cxn>
                <a:cxn ang="0">
                  <a:pos x="connsiteX7193" y="connsiteY7193"/>
                </a:cxn>
                <a:cxn ang="0">
                  <a:pos x="connsiteX7194" y="connsiteY7194"/>
                </a:cxn>
                <a:cxn ang="0">
                  <a:pos x="connsiteX7195" y="connsiteY7195"/>
                </a:cxn>
                <a:cxn ang="0">
                  <a:pos x="connsiteX7196" y="connsiteY7196"/>
                </a:cxn>
                <a:cxn ang="0">
                  <a:pos x="connsiteX7197" y="connsiteY7197"/>
                </a:cxn>
                <a:cxn ang="0">
                  <a:pos x="connsiteX7198" y="connsiteY7198"/>
                </a:cxn>
                <a:cxn ang="0">
                  <a:pos x="connsiteX7199" y="connsiteY7199"/>
                </a:cxn>
                <a:cxn ang="0">
                  <a:pos x="connsiteX7200" y="connsiteY7200"/>
                </a:cxn>
                <a:cxn ang="0">
                  <a:pos x="connsiteX7201" y="connsiteY7201"/>
                </a:cxn>
                <a:cxn ang="0">
                  <a:pos x="connsiteX7202" y="connsiteY7202"/>
                </a:cxn>
                <a:cxn ang="0">
                  <a:pos x="connsiteX7203" y="connsiteY7203"/>
                </a:cxn>
                <a:cxn ang="0">
                  <a:pos x="connsiteX7204" y="connsiteY7204"/>
                </a:cxn>
                <a:cxn ang="0">
                  <a:pos x="connsiteX7205" y="connsiteY7205"/>
                </a:cxn>
                <a:cxn ang="0">
                  <a:pos x="connsiteX7206" y="connsiteY7206"/>
                </a:cxn>
                <a:cxn ang="0">
                  <a:pos x="connsiteX7207" y="connsiteY7207"/>
                </a:cxn>
                <a:cxn ang="0">
                  <a:pos x="connsiteX7208" y="connsiteY7208"/>
                </a:cxn>
                <a:cxn ang="0">
                  <a:pos x="connsiteX7209" y="connsiteY7209"/>
                </a:cxn>
                <a:cxn ang="0">
                  <a:pos x="connsiteX7210" y="connsiteY7210"/>
                </a:cxn>
                <a:cxn ang="0">
                  <a:pos x="connsiteX7211" y="connsiteY7211"/>
                </a:cxn>
                <a:cxn ang="0">
                  <a:pos x="connsiteX7212" y="connsiteY7212"/>
                </a:cxn>
                <a:cxn ang="0">
                  <a:pos x="connsiteX7213" y="connsiteY7213"/>
                </a:cxn>
                <a:cxn ang="0">
                  <a:pos x="connsiteX7214" y="connsiteY7214"/>
                </a:cxn>
                <a:cxn ang="0">
                  <a:pos x="connsiteX7215" y="connsiteY7215"/>
                </a:cxn>
                <a:cxn ang="0">
                  <a:pos x="connsiteX7216" y="connsiteY7216"/>
                </a:cxn>
                <a:cxn ang="0">
                  <a:pos x="connsiteX7217" y="connsiteY7217"/>
                </a:cxn>
                <a:cxn ang="0">
                  <a:pos x="connsiteX7218" y="connsiteY7218"/>
                </a:cxn>
                <a:cxn ang="0">
                  <a:pos x="connsiteX7219" y="connsiteY7219"/>
                </a:cxn>
                <a:cxn ang="0">
                  <a:pos x="connsiteX7220" y="connsiteY7220"/>
                </a:cxn>
                <a:cxn ang="0">
                  <a:pos x="connsiteX7221" y="connsiteY7221"/>
                </a:cxn>
                <a:cxn ang="0">
                  <a:pos x="connsiteX7222" y="connsiteY7222"/>
                </a:cxn>
                <a:cxn ang="0">
                  <a:pos x="connsiteX7223" y="connsiteY7223"/>
                </a:cxn>
                <a:cxn ang="0">
                  <a:pos x="connsiteX7224" y="connsiteY7224"/>
                </a:cxn>
                <a:cxn ang="0">
                  <a:pos x="connsiteX7225" y="connsiteY7225"/>
                </a:cxn>
                <a:cxn ang="0">
                  <a:pos x="connsiteX7226" y="connsiteY7226"/>
                </a:cxn>
                <a:cxn ang="0">
                  <a:pos x="connsiteX7227" y="connsiteY7227"/>
                </a:cxn>
                <a:cxn ang="0">
                  <a:pos x="connsiteX7228" y="connsiteY7228"/>
                </a:cxn>
                <a:cxn ang="0">
                  <a:pos x="connsiteX7229" y="connsiteY7229"/>
                </a:cxn>
                <a:cxn ang="0">
                  <a:pos x="connsiteX7230" y="connsiteY7230"/>
                </a:cxn>
                <a:cxn ang="0">
                  <a:pos x="connsiteX7231" y="connsiteY7231"/>
                </a:cxn>
                <a:cxn ang="0">
                  <a:pos x="connsiteX7232" y="connsiteY7232"/>
                </a:cxn>
                <a:cxn ang="0">
                  <a:pos x="connsiteX7233" y="connsiteY7233"/>
                </a:cxn>
                <a:cxn ang="0">
                  <a:pos x="connsiteX7234" y="connsiteY7234"/>
                </a:cxn>
                <a:cxn ang="0">
                  <a:pos x="connsiteX7235" y="connsiteY7235"/>
                </a:cxn>
                <a:cxn ang="0">
                  <a:pos x="connsiteX7236" y="connsiteY7236"/>
                </a:cxn>
                <a:cxn ang="0">
                  <a:pos x="connsiteX7237" y="connsiteY7237"/>
                </a:cxn>
                <a:cxn ang="0">
                  <a:pos x="connsiteX7238" y="connsiteY7238"/>
                </a:cxn>
                <a:cxn ang="0">
                  <a:pos x="connsiteX7239" y="connsiteY7239"/>
                </a:cxn>
                <a:cxn ang="0">
                  <a:pos x="connsiteX7240" y="connsiteY7240"/>
                </a:cxn>
                <a:cxn ang="0">
                  <a:pos x="connsiteX7241" y="connsiteY7241"/>
                </a:cxn>
                <a:cxn ang="0">
                  <a:pos x="connsiteX7242" y="connsiteY7242"/>
                </a:cxn>
                <a:cxn ang="0">
                  <a:pos x="connsiteX7243" y="connsiteY7243"/>
                </a:cxn>
                <a:cxn ang="0">
                  <a:pos x="connsiteX7244" y="connsiteY7244"/>
                </a:cxn>
                <a:cxn ang="0">
                  <a:pos x="connsiteX7245" y="connsiteY7245"/>
                </a:cxn>
                <a:cxn ang="0">
                  <a:pos x="connsiteX7246" y="connsiteY7246"/>
                </a:cxn>
                <a:cxn ang="0">
                  <a:pos x="connsiteX7247" y="connsiteY7247"/>
                </a:cxn>
                <a:cxn ang="0">
                  <a:pos x="connsiteX7248" y="connsiteY7248"/>
                </a:cxn>
                <a:cxn ang="0">
                  <a:pos x="connsiteX7249" y="connsiteY7249"/>
                </a:cxn>
                <a:cxn ang="0">
                  <a:pos x="connsiteX7250" y="connsiteY7250"/>
                </a:cxn>
                <a:cxn ang="0">
                  <a:pos x="connsiteX7251" y="connsiteY7251"/>
                </a:cxn>
                <a:cxn ang="0">
                  <a:pos x="connsiteX7252" y="connsiteY7252"/>
                </a:cxn>
                <a:cxn ang="0">
                  <a:pos x="connsiteX7253" y="connsiteY7253"/>
                </a:cxn>
                <a:cxn ang="0">
                  <a:pos x="connsiteX7254" y="connsiteY7254"/>
                </a:cxn>
                <a:cxn ang="0">
                  <a:pos x="connsiteX7255" y="connsiteY7255"/>
                </a:cxn>
                <a:cxn ang="0">
                  <a:pos x="connsiteX7256" y="connsiteY7256"/>
                </a:cxn>
                <a:cxn ang="0">
                  <a:pos x="connsiteX7257" y="connsiteY7257"/>
                </a:cxn>
                <a:cxn ang="0">
                  <a:pos x="connsiteX7258" y="connsiteY7258"/>
                </a:cxn>
                <a:cxn ang="0">
                  <a:pos x="connsiteX7259" y="connsiteY7259"/>
                </a:cxn>
                <a:cxn ang="0">
                  <a:pos x="connsiteX7260" y="connsiteY7260"/>
                </a:cxn>
                <a:cxn ang="0">
                  <a:pos x="connsiteX7261" y="connsiteY7261"/>
                </a:cxn>
                <a:cxn ang="0">
                  <a:pos x="connsiteX7262" y="connsiteY7262"/>
                </a:cxn>
                <a:cxn ang="0">
                  <a:pos x="connsiteX7263" y="connsiteY7263"/>
                </a:cxn>
                <a:cxn ang="0">
                  <a:pos x="connsiteX7264" y="connsiteY7264"/>
                </a:cxn>
                <a:cxn ang="0">
                  <a:pos x="connsiteX7265" y="connsiteY7265"/>
                </a:cxn>
                <a:cxn ang="0">
                  <a:pos x="connsiteX7266" y="connsiteY7266"/>
                </a:cxn>
                <a:cxn ang="0">
                  <a:pos x="connsiteX7267" y="connsiteY7267"/>
                </a:cxn>
                <a:cxn ang="0">
                  <a:pos x="connsiteX7268" y="connsiteY7268"/>
                </a:cxn>
                <a:cxn ang="0">
                  <a:pos x="connsiteX7269" y="connsiteY7269"/>
                </a:cxn>
                <a:cxn ang="0">
                  <a:pos x="connsiteX7270" y="connsiteY7270"/>
                </a:cxn>
                <a:cxn ang="0">
                  <a:pos x="connsiteX7271" y="connsiteY7271"/>
                </a:cxn>
                <a:cxn ang="0">
                  <a:pos x="connsiteX7272" y="connsiteY7272"/>
                </a:cxn>
                <a:cxn ang="0">
                  <a:pos x="connsiteX7273" y="connsiteY7273"/>
                </a:cxn>
                <a:cxn ang="0">
                  <a:pos x="connsiteX7274" y="connsiteY7274"/>
                </a:cxn>
                <a:cxn ang="0">
                  <a:pos x="connsiteX7275" y="connsiteY7275"/>
                </a:cxn>
                <a:cxn ang="0">
                  <a:pos x="connsiteX7276" y="connsiteY7276"/>
                </a:cxn>
                <a:cxn ang="0">
                  <a:pos x="connsiteX7277" y="connsiteY7277"/>
                </a:cxn>
                <a:cxn ang="0">
                  <a:pos x="connsiteX7278" y="connsiteY7278"/>
                </a:cxn>
                <a:cxn ang="0">
                  <a:pos x="connsiteX7279" y="connsiteY7279"/>
                </a:cxn>
                <a:cxn ang="0">
                  <a:pos x="connsiteX7280" y="connsiteY7280"/>
                </a:cxn>
                <a:cxn ang="0">
                  <a:pos x="connsiteX7281" y="connsiteY7281"/>
                </a:cxn>
                <a:cxn ang="0">
                  <a:pos x="connsiteX7282" y="connsiteY7282"/>
                </a:cxn>
                <a:cxn ang="0">
                  <a:pos x="connsiteX7283" y="connsiteY7283"/>
                </a:cxn>
                <a:cxn ang="0">
                  <a:pos x="connsiteX7284" y="connsiteY7284"/>
                </a:cxn>
                <a:cxn ang="0">
                  <a:pos x="connsiteX7285" y="connsiteY7285"/>
                </a:cxn>
                <a:cxn ang="0">
                  <a:pos x="connsiteX7286" y="connsiteY7286"/>
                </a:cxn>
                <a:cxn ang="0">
                  <a:pos x="connsiteX7287" y="connsiteY7287"/>
                </a:cxn>
                <a:cxn ang="0">
                  <a:pos x="connsiteX7288" y="connsiteY7288"/>
                </a:cxn>
                <a:cxn ang="0">
                  <a:pos x="connsiteX7289" y="connsiteY7289"/>
                </a:cxn>
                <a:cxn ang="0">
                  <a:pos x="connsiteX7290" y="connsiteY7290"/>
                </a:cxn>
                <a:cxn ang="0">
                  <a:pos x="connsiteX7291" y="connsiteY7291"/>
                </a:cxn>
                <a:cxn ang="0">
                  <a:pos x="connsiteX7292" y="connsiteY7292"/>
                </a:cxn>
                <a:cxn ang="0">
                  <a:pos x="connsiteX7293" y="connsiteY7293"/>
                </a:cxn>
                <a:cxn ang="0">
                  <a:pos x="connsiteX7294" y="connsiteY7294"/>
                </a:cxn>
                <a:cxn ang="0">
                  <a:pos x="connsiteX7295" y="connsiteY7295"/>
                </a:cxn>
                <a:cxn ang="0">
                  <a:pos x="connsiteX7296" y="connsiteY7296"/>
                </a:cxn>
                <a:cxn ang="0">
                  <a:pos x="connsiteX7297" y="connsiteY7297"/>
                </a:cxn>
                <a:cxn ang="0">
                  <a:pos x="connsiteX7298" y="connsiteY7298"/>
                </a:cxn>
                <a:cxn ang="0">
                  <a:pos x="connsiteX7299" y="connsiteY7299"/>
                </a:cxn>
                <a:cxn ang="0">
                  <a:pos x="connsiteX7300" y="connsiteY7300"/>
                </a:cxn>
                <a:cxn ang="0">
                  <a:pos x="connsiteX7301" y="connsiteY7301"/>
                </a:cxn>
                <a:cxn ang="0">
                  <a:pos x="connsiteX7302" y="connsiteY7302"/>
                </a:cxn>
                <a:cxn ang="0">
                  <a:pos x="connsiteX7303" y="connsiteY7303"/>
                </a:cxn>
                <a:cxn ang="0">
                  <a:pos x="connsiteX7304" y="connsiteY7304"/>
                </a:cxn>
                <a:cxn ang="0">
                  <a:pos x="connsiteX7305" y="connsiteY7305"/>
                </a:cxn>
                <a:cxn ang="0">
                  <a:pos x="connsiteX7306" y="connsiteY7306"/>
                </a:cxn>
                <a:cxn ang="0">
                  <a:pos x="connsiteX7307" y="connsiteY7307"/>
                </a:cxn>
                <a:cxn ang="0">
                  <a:pos x="connsiteX7308" y="connsiteY7308"/>
                </a:cxn>
                <a:cxn ang="0">
                  <a:pos x="connsiteX7309" y="connsiteY7309"/>
                </a:cxn>
                <a:cxn ang="0">
                  <a:pos x="connsiteX7310" y="connsiteY7310"/>
                </a:cxn>
                <a:cxn ang="0">
                  <a:pos x="connsiteX7311" y="connsiteY7311"/>
                </a:cxn>
                <a:cxn ang="0">
                  <a:pos x="connsiteX7312" y="connsiteY7312"/>
                </a:cxn>
                <a:cxn ang="0">
                  <a:pos x="connsiteX7313" y="connsiteY7313"/>
                </a:cxn>
                <a:cxn ang="0">
                  <a:pos x="connsiteX7314" y="connsiteY7314"/>
                </a:cxn>
                <a:cxn ang="0">
                  <a:pos x="connsiteX7315" y="connsiteY7315"/>
                </a:cxn>
                <a:cxn ang="0">
                  <a:pos x="connsiteX7316" y="connsiteY7316"/>
                </a:cxn>
                <a:cxn ang="0">
                  <a:pos x="connsiteX7317" y="connsiteY7317"/>
                </a:cxn>
                <a:cxn ang="0">
                  <a:pos x="connsiteX7318" y="connsiteY7318"/>
                </a:cxn>
                <a:cxn ang="0">
                  <a:pos x="connsiteX7319" y="connsiteY7319"/>
                </a:cxn>
                <a:cxn ang="0">
                  <a:pos x="connsiteX7320" y="connsiteY7320"/>
                </a:cxn>
                <a:cxn ang="0">
                  <a:pos x="connsiteX7321" y="connsiteY7321"/>
                </a:cxn>
                <a:cxn ang="0">
                  <a:pos x="connsiteX7322" y="connsiteY7322"/>
                </a:cxn>
                <a:cxn ang="0">
                  <a:pos x="connsiteX7323" y="connsiteY7323"/>
                </a:cxn>
                <a:cxn ang="0">
                  <a:pos x="connsiteX7324" y="connsiteY7324"/>
                </a:cxn>
                <a:cxn ang="0">
                  <a:pos x="connsiteX7325" y="connsiteY7325"/>
                </a:cxn>
                <a:cxn ang="0">
                  <a:pos x="connsiteX7326" y="connsiteY7326"/>
                </a:cxn>
                <a:cxn ang="0">
                  <a:pos x="connsiteX7327" y="connsiteY7327"/>
                </a:cxn>
                <a:cxn ang="0">
                  <a:pos x="connsiteX7328" y="connsiteY7328"/>
                </a:cxn>
                <a:cxn ang="0">
                  <a:pos x="connsiteX7329" y="connsiteY7329"/>
                </a:cxn>
                <a:cxn ang="0">
                  <a:pos x="connsiteX7330" y="connsiteY7330"/>
                </a:cxn>
                <a:cxn ang="0">
                  <a:pos x="connsiteX7331" y="connsiteY7331"/>
                </a:cxn>
                <a:cxn ang="0">
                  <a:pos x="connsiteX7332" y="connsiteY7332"/>
                </a:cxn>
                <a:cxn ang="0">
                  <a:pos x="connsiteX7333" y="connsiteY7333"/>
                </a:cxn>
                <a:cxn ang="0">
                  <a:pos x="connsiteX7334" y="connsiteY7334"/>
                </a:cxn>
                <a:cxn ang="0">
                  <a:pos x="connsiteX7335" y="connsiteY7335"/>
                </a:cxn>
                <a:cxn ang="0">
                  <a:pos x="connsiteX7336" y="connsiteY7336"/>
                </a:cxn>
                <a:cxn ang="0">
                  <a:pos x="connsiteX7337" y="connsiteY7337"/>
                </a:cxn>
                <a:cxn ang="0">
                  <a:pos x="connsiteX7338" y="connsiteY7338"/>
                </a:cxn>
                <a:cxn ang="0">
                  <a:pos x="connsiteX7339" y="connsiteY7339"/>
                </a:cxn>
                <a:cxn ang="0">
                  <a:pos x="connsiteX7340" y="connsiteY7340"/>
                </a:cxn>
                <a:cxn ang="0">
                  <a:pos x="connsiteX7341" y="connsiteY7341"/>
                </a:cxn>
                <a:cxn ang="0">
                  <a:pos x="connsiteX7342" y="connsiteY7342"/>
                </a:cxn>
                <a:cxn ang="0">
                  <a:pos x="connsiteX7343" y="connsiteY7343"/>
                </a:cxn>
                <a:cxn ang="0">
                  <a:pos x="connsiteX7344" y="connsiteY7344"/>
                </a:cxn>
                <a:cxn ang="0">
                  <a:pos x="connsiteX7345" y="connsiteY7345"/>
                </a:cxn>
                <a:cxn ang="0">
                  <a:pos x="connsiteX7346" y="connsiteY7346"/>
                </a:cxn>
                <a:cxn ang="0">
                  <a:pos x="connsiteX7347" y="connsiteY7347"/>
                </a:cxn>
                <a:cxn ang="0">
                  <a:pos x="connsiteX7348" y="connsiteY7348"/>
                </a:cxn>
                <a:cxn ang="0">
                  <a:pos x="connsiteX7349" y="connsiteY7349"/>
                </a:cxn>
                <a:cxn ang="0">
                  <a:pos x="connsiteX7350" y="connsiteY7350"/>
                </a:cxn>
                <a:cxn ang="0">
                  <a:pos x="connsiteX7351" y="connsiteY7351"/>
                </a:cxn>
                <a:cxn ang="0">
                  <a:pos x="connsiteX7352" y="connsiteY7352"/>
                </a:cxn>
                <a:cxn ang="0">
                  <a:pos x="connsiteX7353" y="connsiteY7353"/>
                </a:cxn>
                <a:cxn ang="0">
                  <a:pos x="connsiteX7354" y="connsiteY7354"/>
                </a:cxn>
                <a:cxn ang="0">
                  <a:pos x="connsiteX7355" y="connsiteY7355"/>
                </a:cxn>
                <a:cxn ang="0">
                  <a:pos x="connsiteX7356" y="connsiteY7356"/>
                </a:cxn>
                <a:cxn ang="0">
                  <a:pos x="connsiteX7357" y="connsiteY7357"/>
                </a:cxn>
                <a:cxn ang="0">
                  <a:pos x="connsiteX7358" y="connsiteY7358"/>
                </a:cxn>
                <a:cxn ang="0">
                  <a:pos x="connsiteX7359" y="connsiteY7359"/>
                </a:cxn>
                <a:cxn ang="0">
                  <a:pos x="connsiteX7360" y="connsiteY7360"/>
                </a:cxn>
                <a:cxn ang="0">
                  <a:pos x="connsiteX7361" y="connsiteY7361"/>
                </a:cxn>
                <a:cxn ang="0">
                  <a:pos x="connsiteX7362" y="connsiteY7362"/>
                </a:cxn>
                <a:cxn ang="0">
                  <a:pos x="connsiteX7363" y="connsiteY7363"/>
                </a:cxn>
                <a:cxn ang="0">
                  <a:pos x="connsiteX7364" y="connsiteY7364"/>
                </a:cxn>
                <a:cxn ang="0">
                  <a:pos x="connsiteX7365" y="connsiteY7365"/>
                </a:cxn>
                <a:cxn ang="0">
                  <a:pos x="connsiteX7366" y="connsiteY7366"/>
                </a:cxn>
                <a:cxn ang="0">
                  <a:pos x="connsiteX7367" y="connsiteY7367"/>
                </a:cxn>
                <a:cxn ang="0">
                  <a:pos x="connsiteX7368" y="connsiteY7368"/>
                </a:cxn>
                <a:cxn ang="0">
                  <a:pos x="connsiteX7369" y="connsiteY7369"/>
                </a:cxn>
                <a:cxn ang="0">
                  <a:pos x="connsiteX7370" y="connsiteY7370"/>
                </a:cxn>
                <a:cxn ang="0">
                  <a:pos x="connsiteX7371" y="connsiteY7371"/>
                </a:cxn>
                <a:cxn ang="0">
                  <a:pos x="connsiteX7372" y="connsiteY7372"/>
                </a:cxn>
                <a:cxn ang="0">
                  <a:pos x="connsiteX7373" y="connsiteY7373"/>
                </a:cxn>
                <a:cxn ang="0">
                  <a:pos x="connsiteX7374" y="connsiteY7374"/>
                </a:cxn>
                <a:cxn ang="0">
                  <a:pos x="connsiteX7375" y="connsiteY7375"/>
                </a:cxn>
                <a:cxn ang="0">
                  <a:pos x="connsiteX7376" y="connsiteY7376"/>
                </a:cxn>
                <a:cxn ang="0">
                  <a:pos x="connsiteX7377" y="connsiteY7377"/>
                </a:cxn>
                <a:cxn ang="0">
                  <a:pos x="connsiteX7378" y="connsiteY7378"/>
                </a:cxn>
                <a:cxn ang="0">
                  <a:pos x="connsiteX7379" y="connsiteY7379"/>
                </a:cxn>
                <a:cxn ang="0">
                  <a:pos x="connsiteX7380" y="connsiteY7380"/>
                </a:cxn>
                <a:cxn ang="0">
                  <a:pos x="connsiteX7381" y="connsiteY7381"/>
                </a:cxn>
                <a:cxn ang="0">
                  <a:pos x="connsiteX7382" y="connsiteY7382"/>
                </a:cxn>
                <a:cxn ang="0">
                  <a:pos x="connsiteX7383" y="connsiteY7383"/>
                </a:cxn>
                <a:cxn ang="0">
                  <a:pos x="connsiteX7384" y="connsiteY7384"/>
                </a:cxn>
                <a:cxn ang="0">
                  <a:pos x="connsiteX7385" y="connsiteY7385"/>
                </a:cxn>
                <a:cxn ang="0">
                  <a:pos x="connsiteX7386" y="connsiteY7386"/>
                </a:cxn>
                <a:cxn ang="0">
                  <a:pos x="connsiteX7387" y="connsiteY7387"/>
                </a:cxn>
                <a:cxn ang="0">
                  <a:pos x="connsiteX7388" y="connsiteY7388"/>
                </a:cxn>
                <a:cxn ang="0">
                  <a:pos x="connsiteX7389" y="connsiteY7389"/>
                </a:cxn>
                <a:cxn ang="0">
                  <a:pos x="connsiteX7390" y="connsiteY7390"/>
                </a:cxn>
                <a:cxn ang="0">
                  <a:pos x="connsiteX7391" y="connsiteY7391"/>
                </a:cxn>
                <a:cxn ang="0">
                  <a:pos x="connsiteX7392" y="connsiteY7392"/>
                </a:cxn>
                <a:cxn ang="0">
                  <a:pos x="connsiteX7393" y="connsiteY7393"/>
                </a:cxn>
                <a:cxn ang="0">
                  <a:pos x="connsiteX7394" y="connsiteY7394"/>
                </a:cxn>
                <a:cxn ang="0">
                  <a:pos x="connsiteX7395" y="connsiteY7395"/>
                </a:cxn>
                <a:cxn ang="0">
                  <a:pos x="connsiteX7396" y="connsiteY7396"/>
                </a:cxn>
                <a:cxn ang="0">
                  <a:pos x="connsiteX7397" y="connsiteY7397"/>
                </a:cxn>
                <a:cxn ang="0">
                  <a:pos x="connsiteX7398" y="connsiteY7398"/>
                </a:cxn>
                <a:cxn ang="0">
                  <a:pos x="connsiteX7399" y="connsiteY7399"/>
                </a:cxn>
                <a:cxn ang="0">
                  <a:pos x="connsiteX7400" y="connsiteY7400"/>
                </a:cxn>
                <a:cxn ang="0">
                  <a:pos x="connsiteX7401" y="connsiteY7401"/>
                </a:cxn>
                <a:cxn ang="0">
                  <a:pos x="connsiteX7402" y="connsiteY7402"/>
                </a:cxn>
                <a:cxn ang="0">
                  <a:pos x="connsiteX7403" y="connsiteY7403"/>
                </a:cxn>
                <a:cxn ang="0">
                  <a:pos x="connsiteX7404" y="connsiteY7404"/>
                </a:cxn>
                <a:cxn ang="0">
                  <a:pos x="connsiteX7405" y="connsiteY7405"/>
                </a:cxn>
                <a:cxn ang="0">
                  <a:pos x="connsiteX7406" y="connsiteY7406"/>
                </a:cxn>
                <a:cxn ang="0">
                  <a:pos x="connsiteX7407" y="connsiteY7407"/>
                </a:cxn>
                <a:cxn ang="0">
                  <a:pos x="connsiteX7408" y="connsiteY7408"/>
                </a:cxn>
                <a:cxn ang="0">
                  <a:pos x="connsiteX7409" y="connsiteY7409"/>
                </a:cxn>
                <a:cxn ang="0">
                  <a:pos x="connsiteX7410" y="connsiteY7410"/>
                </a:cxn>
                <a:cxn ang="0">
                  <a:pos x="connsiteX7411" y="connsiteY7411"/>
                </a:cxn>
                <a:cxn ang="0">
                  <a:pos x="connsiteX7412" y="connsiteY7412"/>
                </a:cxn>
                <a:cxn ang="0">
                  <a:pos x="connsiteX7413" y="connsiteY7413"/>
                </a:cxn>
                <a:cxn ang="0">
                  <a:pos x="connsiteX7414" y="connsiteY7414"/>
                </a:cxn>
                <a:cxn ang="0">
                  <a:pos x="connsiteX7415" y="connsiteY7415"/>
                </a:cxn>
                <a:cxn ang="0">
                  <a:pos x="connsiteX7416" y="connsiteY7416"/>
                </a:cxn>
                <a:cxn ang="0">
                  <a:pos x="connsiteX7417" y="connsiteY7417"/>
                </a:cxn>
                <a:cxn ang="0">
                  <a:pos x="connsiteX7418" y="connsiteY7418"/>
                </a:cxn>
                <a:cxn ang="0">
                  <a:pos x="connsiteX7419" y="connsiteY7419"/>
                </a:cxn>
                <a:cxn ang="0">
                  <a:pos x="connsiteX7420" y="connsiteY7420"/>
                </a:cxn>
                <a:cxn ang="0">
                  <a:pos x="connsiteX7421" y="connsiteY7421"/>
                </a:cxn>
                <a:cxn ang="0">
                  <a:pos x="connsiteX7422" y="connsiteY7422"/>
                </a:cxn>
                <a:cxn ang="0">
                  <a:pos x="connsiteX7423" y="connsiteY7423"/>
                </a:cxn>
                <a:cxn ang="0">
                  <a:pos x="connsiteX7424" y="connsiteY7424"/>
                </a:cxn>
                <a:cxn ang="0">
                  <a:pos x="connsiteX7425" y="connsiteY7425"/>
                </a:cxn>
                <a:cxn ang="0">
                  <a:pos x="connsiteX7426" y="connsiteY7426"/>
                </a:cxn>
                <a:cxn ang="0">
                  <a:pos x="connsiteX7427" y="connsiteY7427"/>
                </a:cxn>
                <a:cxn ang="0">
                  <a:pos x="connsiteX7428" y="connsiteY7428"/>
                </a:cxn>
                <a:cxn ang="0">
                  <a:pos x="connsiteX7429" y="connsiteY7429"/>
                </a:cxn>
                <a:cxn ang="0">
                  <a:pos x="connsiteX7430" y="connsiteY7430"/>
                </a:cxn>
                <a:cxn ang="0">
                  <a:pos x="connsiteX7431" y="connsiteY7431"/>
                </a:cxn>
                <a:cxn ang="0">
                  <a:pos x="connsiteX7432" y="connsiteY7432"/>
                </a:cxn>
                <a:cxn ang="0">
                  <a:pos x="connsiteX7433" y="connsiteY7433"/>
                </a:cxn>
                <a:cxn ang="0">
                  <a:pos x="connsiteX7434" y="connsiteY7434"/>
                </a:cxn>
                <a:cxn ang="0">
                  <a:pos x="connsiteX7435" y="connsiteY7435"/>
                </a:cxn>
                <a:cxn ang="0">
                  <a:pos x="connsiteX7436" y="connsiteY7436"/>
                </a:cxn>
                <a:cxn ang="0">
                  <a:pos x="connsiteX7437" y="connsiteY7437"/>
                </a:cxn>
                <a:cxn ang="0">
                  <a:pos x="connsiteX7438" y="connsiteY7438"/>
                </a:cxn>
                <a:cxn ang="0">
                  <a:pos x="connsiteX7439" y="connsiteY7439"/>
                </a:cxn>
                <a:cxn ang="0">
                  <a:pos x="connsiteX7440" y="connsiteY7440"/>
                </a:cxn>
                <a:cxn ang="0">
                  <a:pos x="connsiteX7441" y="connsiteY7441"/>
                </a:cxn>
                <a:cxn ang="0">
                  <a:pos x="connsiteX7442" y="connsiteY7442"/>
                </a:cxn>
                <a:cxn ang="0">
                  <a:pos x="connsiteX7443" y="connsiteY7443"/>
                </a:cxn>
                <a:cxn ang="0">
                  <a:pos x="connsiteX7444" y="connsiteY7444"/>
                </a:cxn>
                <a:cxn ang="0">
                  <a:pos x="connsiteX7445" y="connsiteY7445"/>
                </a:cxn>
                <a:cxn ang="0">
                  <a:pos x="connsiteX7446" y="connsiteY7446"/>
                </a:cxn>
                <a:cxn ang="0">
                  <a:pos x="connsiteX7447" y="connsiteY7447"/>
                </a:cxn>
                <a:cxn ang="0">
                  <a:pos x="connsiteX7448" y="connsiteY7448"/>
                </a:cxn>
                <a:cxn ang="0">
                  <a:pos x="connsiteX7449" y="connsiteY7449"/>
                </a:cxn>
                <a:cxn ang="0">
                  <a:pos x="connsiteX7450" y="connsiteY7450"/>
                </a:cxn>
                <a:cxn ang="0">
                  <a:pos x="connsiteX7451" y="connsiteY7451"/>
                </a:cxn>
                <a:cxn ang="0">
                  <a:pos x="connsiteX7452" y="connsiteY7452"/>
                </a:cxn>
                <a:cxn ang="0">
                  <a:pos x="connsiteX7453" y="connsiteY7453"/>
                </a:cxn>
                <a:cxn ang="0">
                  <a:pos x="connsiteX7454" y="connsiteY7454"/>
                </a:cxn>
                <a:cxn ang="0">
                  <a:pos x="connsiteX7455" y="connsiteY7455"/>
                </a:cxn>
                <a:cxn ang="0">
                  <a:pos x="connsiteX7456" y="connsiteY7456"/>
                </a:cxn>
                <a:cxn ang="0">
                  <a:pos x="connsiteX7457" y="connsiteY7457"/>
                </a:cxn>
                <a:cxn ang="0">
                  <a:pos x="connsiteX7458" y="connsiteY7458"/>
                </a:cxn>
                <a:cxn ang="0">
                  <a:pos x="connsiteX7459" y="connsiteY7459"/>
                </a:cxn>
                <a:cxn ang="0">
                  <a:pos x="connsiteX7460" y="connsiteY7460"/>
                </a:cxn>
                <a:cxn ang="0">
                  <a:pos x="connsiteX7461" y="connsiteY7461"/>
                </a:cxn>
                <a:cxn ang="0">
                  <a:pos x="connsiteX7462" y="connsiteY7462"/>
                </a:cxn>
                <a:cxn ang="0">
                  <a:pos x="connsiteX7463" y="connsiteY7463"/>
                </a:cxn>
                <a:cxn ang="0">
                  <a:pos x="connsiteX7464" y="connsiteY7464"/>
                </a:cxn>
                <a:cxn ang="0">
                  <a:pos x="connsiteX7465" y="connsiteY7465"/>
                </a:cxn>
                <a:cxn ang="0">
                  <a:pos x="connsiteX7466" y="connsiteY7466"/>
                </a:cxn>
                <a:cxn ang="0">
                  <a:pos x="connsiteX7467" y="connsiteY7467"/>
                </a:cxn>
                <a:cxn ang="0">
                  <a:pos x="connsiteX7468" y="connsiteY7468"/>
                </a:cxn>
                <a:cxn ang="0">
                  <a:pos x="connsiteX7469" y="connsiteY7469"/>
                </a:cxn>
                <a:cxn ang="0">
                  <a:pos x="connsiteX7470" y="connsiteY7470"/>
                </a:cxn>
                <a:cxn ang="0">
                  <a:pos x="connsiteX7471" y="connsiteY7471"/>
                </a:cxn>
                <a:cxn ang="0">
                  <a:pos x="connsiteX7472" y="connsiteY7472"/>
                </a:cxn>
                <a:cxn ang="0">
                  <a:pos x="connsiteX7473" y="connsiteY7473"/>
                </a:cxn>
                <a:cxn ang="0">
                  <a:pos x="connsiteX7474" y="connsiteY7474"/>
                </a:cxn>
                <a:cxn ang="0">
                  <a:pos x="connsiteX7475" y="connsiteY7475"/>
                </a:cxn>
                <a:cxn ang="0">
                  <a:pos x="connsiteX7476" y="connsiteY7476"/>
                </a:cxn>
                <a:cxn ang="0">
                  <a:pos x="connsiteX7477" y="connsiteY7477"/>
                </a:cxn>
                <a:cxn ang="0">
                  <a:pos x="connsiteX7478" y="connsiteY7478"/>
                </a:cxn>
                <a:cxn ang="0">
                  <a:pos x="connsiteX7479" y="connsiteY7479"/>
                </a:cxn>
                <a:cxn ang="0">
                  <a:pos x="connsiteX7480" y="connsiteY7480"/>
                </a:cxn>
                <a:cxn ang="0">
                  <a:pos x="connsiteX7481" y="connsiteY7481"/>
                </a:cxn>
                <a:cxn ang="0">
                  <a:pos x="connsiteX7482" y="connsiteY7482"/>
                </a:cxn>
                <a:cxn ang="0">
                  <a:pos x="connsiteX7483" y="connsiteY7483"/>
                </a:cxn>
                <a:cxn ang="0">
                  <a:pos x="connsiteX7484" y="connsiteY7484"/>
                </a:cxn>
                <a:cxn ang="0">
                  <a:pos x="connsiteX7485" y="connsiteY7485"/>
                </a:cxn>
                <a:cxn ang="0">
                  <a:pos x="connsiteX7486" y="connsiteY7486"/>
                </a:cxn>
                <a:cxn ang="0">
                  <a:pos x="connsiteX7487" y="connsiteY7487"/>
                </a:cxn>
                <a:cxn ang="0">
                  <a:pos x="connsiteX7488" y="connsiteY7488"/>
                </a:cxn>
                <a:cxn ang="0">
                  <a:pos x="connsiteX7489" y="connsiteY7489"/>
                </a:cxn>
                <a:cxn ang="0">
                  <a:pos x="connsiteX7490" y="connsiteY7490"/>
                </a:cxn>
                <a:cxn ang="0">
                  <a:pos x="connsiteX7491" y="connsiteY7491"/>
                </a:cxn>
                <a:cxn ang="0">
                  <a:pos x="connsiteX7492" y="connsiteY7492"/>
                </a:cxn>
                <a:cxn ang="0">
                  <a:pos x="connsiteX7493" y="connsiteY7493"/>
                </a:cxn>
                <a:cxn ang="0">
                  <a:pos x="connsiteX7494" y="connsiteY7494"/>
                </a:cxn>
                <a:cxn ang="0">
                  <a:pos x="connsiteX7495" y="connsiteY7495"/>
                </a:cxn>
                <a:cxn ang="0">
                  <a:pos x="connsiteX7496" y="connsiteY7496"/>
                </a:cxn>
                <a:cxn ang="0">
                  <a:pos x="connsiteX7497" y="connsiteY7497"/>
                </a:cxn>
                <a:cxn ang="0">
                  <a:pos x="connsiteX7498" y="connsiteY7498"/>
                </a:cxn>
                <a:cxn ang="0">
                  <a:pos x="connsiteX7499" y="connsiteY7499"/>
                </a:cxn>
                <a:cxn ang="0">
                  <a:pos x="connsiteX7500" y="connsiteY7500"/>
                </a:cxn>
                <a:cxn ang="0">
                  <a:pos x="connsiteX7501" y="connsiteY7501"/>
                </a:cxn>
                <a:cxn ang="0">
                  <a:pos x="connsiteX7502" y="connsiteY7502"/>
                </a:cxn>
                <a:cxn ang="0">
                  <a:pos x="connsiteX7503" y="connsiteY7503"/>
                </a:cxn>
                <a:cxn ang="0">
                  <a:pos x="connsiteX7504" y="connsiteY7504"/>
                </a:cxn>
                <a:cxn ang="0">
                  <a:pos x="connsiteX7505" y="connsiteY7505"/>
                </a:cxn>
                <a:cxn ang="0">
                  <a:pos x="connsiteX7506" y="connsiteY7506"/>
                </a:cxn>
                <a:cxn ang="0">
                  <a:pos x="connsiteX7507" y="connsiteY7507"/>
                </a:cxn>
                <a:cxn ang="0">
                  <a:pos x="connsiteX7508" y="connsiteY7508"/>
                </a:cxn>
                <a:cxn ang="0">
                  <a:pos x="connsiteX7509" y="connsiteY7509"/>
                </a:cxn>
                <a:cxn ang="0">
                  <a:pos x="connsiteX7510" y="connsiteY7510"/>
                </a:cxn>
                <a:cxn ang="0">
                  <a:pos x="connsiteX7511" y="connsiteY7511"/>
                </a:cxn>
                <a:cxn ang="0">
                  <a:pos x="connsiteX7512" y="connsiteY7512"/>
                </a:cxn>
                <a:cxn ang="0">
                  <a:pos x="connsiteX7513" y="connsiteY7513"/>
                </a:cxn>
                <a:cxn ang="0">
                  <a:pos x="connsiteX7514" y="connsiteY7514"/>
                </a:cxn>
                <a:cxn ang="0">
                  <a:pos x="connsiteX7515" y="connsiteY7515"/>
                </a:cxn>
                <a:cxn ang="0">
                  <a:pos x="connsiteX7516" y="connsiteY7516"/>
                </a:cxn>
                <a:cxn ang="0">
                  <a:pos x="connsiteX7517" y="connsiteY7517"/>
                </a:cxn>
                <a:cxn ang="0">
                  <a:pos x="connsiteX7518" y="connsiteY7518"/>
                </a:cxn>
                <a:cxn ang="0">
                  <a:pos x="connsiteX7519" y="connsiteY7519"/>
                </a:cxn>
                <a:cxn ang="0">
                  <a:pos x="connsiteX7520" y="connsiteY7520"/>
                </a:cxn>
                <a:cxn ang="0">
                  <a:pos x="connsiteX7521" y="connsiteY7521"/>
                </a:cxn>
                <a:cxn ang="0">
                  <a:pos x="connsiteX7522" y="connsiteY7522"/>
                </a:cxn>
                <a:cxn ang="0">
                  <a:pos x="connsiteX7523" y="connsiteY7523"/>
                </a:cxn>
                <a:cxn ang="0">
                  <a:pos x="connsiteX7524" y="connsiteY7524"/>
                </a:cxn>
                <a:cxn ang="0">
                  <a:pos x="connsiteX7525" y="connsiteY7525"/>
                </a:cxn>
                <a:cxn ang="0">
                  <a:pos x="connsiteX7526" y="connsiteY7526"/>
                </a:cxn>
                <a:cxn ang="0">
                  <a:pos x="connsiteX7527" y="connsiteY7527"/>
                </a:cxn>
                <a:cxn ang="0">
                  <a:pos x="connsiteX7528" y="connsiteY7528"/>
                </a:cxn>
                <a:cxn ang="0">
                  <a:pos x="connsiteX7529" y="connsiteY7529"/>
                </a:cxn>
                <a:cxn ang="0">
                  <a:pos x="connsiteX7530" y="connsiteY7530"/>
                </a:cxn>
                <a:cxn ang="0">
                  <a:pos x="connsiteX7531" y="connsiteY7531"/>
                </a:cxn>
                <a:cxn ang="0">
                  <a:pos x="connsiteX7532" y="connsiteY7532"/>
                </a:cxn>
                <a:cxn ang="0">
                  <a:pos x="connsiteX7533" y="connsiteY7533"/>
                </a:cxn>
                <a:cxn ang="0">
                  <a:pos x="connsiteX7534" y="connsiteY7534"/>
                </a:cxn>
                <a:cxn ang="0">
                  <a:pos x="connsiteX7535" y="connsiteY7535"/>
                </a:cxn>
                <a:cxn ang="0">
                  <a:pos x="connsiteX7536" y="connsiteY7536"/>
                </a:cxn>
                <a:cxn ang="0">
                  <a:pos x="connsiteX7537" y="connsiteY7537"/>
                </a:cxn>
                <a:cxn ang="0">
                  <a:pos x="connsiteX7538" y="connsiteY7538"/>
                </a:cxn>
                <a:cxn ang="0">
                  <a:pos x="connsiteX7539" y="connsiteY7539"/>
                </a:cxn>
                <a:cxn ang="0">
                  <a:pos x="connsiteX7540" y="connsiteY7540"/>
                </a:cxn>
                <a:cxn ang="0">
                  <a:pos x="connsiteX7541" y="connsiteY7541"/>
                </a:cxn>
                <a:cxn ang="0">
                  <a:pos x="connsiteX7542" y="connsiteY7542"/>
                </a:cxn>
                <a:cxn ang="0">
                  <a:pos x="connsiteX7543" y="connsiteY7543"/>
                </a:cxn>
                <a:cxn ang="0">
                  <a:pos x="connsiteX7544" y="connsiteY7544"/>
                </a:cxn>
                <a:cxn ang="0">
                  <a:pos x="connsiteX7545" y="connsiteY7545"/>
                </a:cxn>
                <a:cxn ang="0">
                  <a:pos x="connsiteX7546" y="connsiteY7546"/>
                </a:cxn>
                <a:cxn ang="0">
                  <a:pos x="connsiteX7547" y="connsiteY7547"/>
                </a:cxn>
                <a:cxn ang="0">
                  <a:pos x="connsiteX7548" y="connsiteY7548"/>
                </a:cxn>
                <a:cxn ang="0">
                  <a:pos x="connsiteX7549" y="connsiteY7549"/>
                </a:cxn>
                <a:cxn ang="0">
                  <a:pos x="connsiteX7550" y="connsiteY7550"/>
                </a:cxn>
                <a:cxn ang="0">
                  <a:pos x="connsiteX7551" y="connsiteY7551"/>
                </a:cxn>
                <a:cxn ang="0">
                  <a:pos x="connsiteX7552" y="connsiteY7552"/>
                </a:cxn>
                <a:cxn ang="0">
                  <a:pos x="connsiteX7553" y="connsiteY7553"/>
                </a:cxn>
                <a:cxn ang="0">
                  <a:pos x="connsiteX7554" y="connsiteY7554"/>
                </a:cxn>
                <a:cxn ang="0">
                  <a:pos x="connsiteX7555" y="connsiteY7555"/>
                </a:cxn>
                <a:cxn ang="0">
                  <a:pos x="connsiteX7556" y="connsiteY7556"/>
                </a:cxn>
                <a:cxn ang="0">
                  <a:pos x="connsiteX7557" y="connsiteY7557"/>
                </a:cxn>
                <a:cxn ang="0">
                  <a:pos x="connsiteX7558" y="connsiteY7558"/>
                </a:cxn>
                <a:cxn ang="0">
                  <a:pos x="connsiteX7559" y="connsiteY7559"/>
                </a:cxn>
                <a:cxn ang="0">
                  <a:pos x="connsiteX7560" y="connsiteY7560"/>
                </a:cxn>
                <a:cxn ang="0">
                  <a:pos x="connsiteX7561" y="connsiteY7561"/>
                </a:cxn>
                <a:cxn ang="0">
                  <a:pos x="connsiteX7562" y="connsiteY7562"/>
                </a:cxn>
                <a:cxn ang="0">
                  <a:pos x="connsiteX7563" y="connsiteY7563"/>
                </a:cxn>
                <a:cxn ang="0">
                  <a:pos x="connsiteX7564" y="connsiteY7564"/>
                </a:cxn>
                <a:cxn ang="0">
                  <a:pos x="connsiteX7565" y="connsiteY7565"/>
                </a:cxn>
                <a:cxn ang="0">
                  <a:pos x="connsiteX7566" y="connsiteY7566"/>
                </a:cxn>
                <a:cxn ang="0">
                  <a:pos x="connsiteX7567" y="connsiteY7567"/>
                </a:cxn>
                <a:cxn ang="0">
                  <a:pos x="connsiteX7568" y="connsiteY7568"/>
                </a:cxn>
                <a:cxn ang="0">
                  <a:pos x="connsiteX7569" y="connsiteY7569"/>
                </a:cxn>
                <a:cxn ang="0">
                  <a:pos x="connsiteX7570" y="connsiteY7570"/>
                </a:cxn>
                <a:cxn ang="0">
                  <a:pos x="connsiteX7571" y="connsiteY7571"/>
                </a:cxn>
                <a:cxn ang="0">
                  <a:pos x="connsiteX7572" y="connsiteY7572"/>
                </a:cxn>
                <a:cxn ang="0">
                  <a:pos x="connsiteX7573" y="connsiteY7573"/>
                </a:cxn>
                <a:cxn ang="0">
                  <a:pos x="connsiteX7574" y="connsiteY7574"/>
                </a:cxn>
                <a:cxn ang="0">
                  <a:pos x="connsiteX7575" y="connsiteY7575"/>
                </a:cxn>
                <a:cxn ang="0">
                  <a:pos x="connsiteX7576" y="connsiteY7576"/>
                </a:cxn>
                <a:cxn ang="0">
                  <a:pos x="connsiteX7577" y="connsiteY7577"/>
                </a:cxn>
                <a:cxn ang="0">
                  <a:pos x="connsiteX7578" y="connsiteY7578"/>
                </a:cxn>
                <a:cxn ang="0">
                  <a:pos x="connsiteX7579" y="connsiteY7579"/>
                </a:cxn>
                <a:cxn ang="0">
                  <a:pos x="connsiteX7580" y="connsiteY7580"/>
                </a:cxn>
                <a:cxn ang="0">
                  <a:pos x="connsiteX7581" y="connsiteY7581"/>
                </a:cxn>
                <a:cxn ang="0">
                  <a:pos x="connsiteX7582" y="connsiteY7582"/>
                </a:cxn>
                <a:cxn ang="0">
                  <a:pos x="connsiteX7583" y="connsiteY7583"/>
                </a:cxn>
                <a:cxn ang="0">
                  <a:pos x="connsiteX7584" y="connsiteY7584"/>
                </a:cxn>
                <a:cxn ang="0">
                  <a:pos x="connsiteX7585" y="connsiteY7585"/>
                </a:cxn>
                <a:cxn ang="0">
                  <a:pos x="connsiteX7586" y="connsiteY7586"/>
                </a:cxn>
                <a:cxn ang="0">
                  <a:pos x="connsiteX7587" y="connsiteY7587"/>
                </a:cxn>
                <a:cxn ang="0">
                  <a:pos x="connsiteX7588" y="connsiteY7588"/>
                </a:cxn>
                <a:cxn ang="0">
                  <a:pos x="connsiteX7589" y="connsiteY7589"/>
                </a:cxn>
                <a:cxn ang="0">
                  <a:pos x="connsiteX7590" y="connsiteY7590"/>
                </a:cxn>
                <a:cxn ang="0">
                  <a:pos x="connsiteX7591" y="connsiteY7591"/>
                </a:cxn>
                <a:cxn ang="0">
                  <a:pos x="connsiteX7592" y="connsiteY7592"/>
                </a:cxn>
                <a:cxn ang="0">
                  <a:pos x="connsiteX7593" y="connsiteY7593"/>
                </a:cxn>
                <a:cxn ang="0">
                  <a:pos x="connsiteX7594" y="connsiteY7594"/>
                </a:cxn>
                <a:cxn ang="0">
                  <a:pos x="connsiteX7595" y="connsiteY7595"/>
                </a:cxn>
                <a:cxn ang="0">
                  <a:pos x="connsiteX7596" y="connsiteY7596"/>
                </a:cxn>
                <a:cxn ang="0">
                  <a:pos x="connsiteX7597" y="connsiteY7597"/>
                </a:cxn>
                <a:cxn ang="0">
                  <a:pos x="connsiteX7598" y="connsiteY7598"/>
                </a:cxn>
                <a:cxn ang="0">
                  <a:pos x="connsiteX7599" y="connsiteY7599"/>
                </a:cxn>
                <a:cxn ang="0">
                  <a:pos x="connsiteX7600" y="connsiteY7600"/>
                </a:cxn>
                <a:cxn ang="0">
                  <a:pos x="connsiteX7601" y="connsiteY7601"/>
                </a:cxn>
                <a:cxn ang="0">
                  <a:pos x="connsiteX7602" y="connsiteY7602"/>
                </a:cxn>
                <a:cxn ang="0">
                  <a:pos x="connsiteX7603" y="connsiteY7603"/>
                </a:cxn>
                <a:cxn ang="0">
                  <a:pos x="connsiteX7604" y="connsiteY7604"/>
                </a:cxn>
                <a:cxn ang="0">
                  <a:pos x="connsiteX7605" y="connsiteY7605"/>
                </a:cxn>
                <a:cxn ang="0">
                  <a:pos x="connsiteX7606" y="connsiteY7606"/>
                </a:cxn>
                <a:cxn ang="0">
                  <a:pos x="connsiteX7607" y="connsiteY7607"/>
                </a:cxn>
                <a:cxn ang="0">
                  <a:pos x="connsiteX7608" y="connsiteY7608"/>
                </a:cxn>
                <a:cxn ang="0">
                  <a:pos x="connsiteX7609" y="connsiteY7609"/>
                </a:cxn>
                <a:cxn ang="0">
                  <a:pos x="connsiteX7610" y="connsiteY7610"/>
                </a:cxn>
                <a:cxn ang="0">
                  <a:pos x="connsiteX7611" y="connsiteY7611"/>
                </a:cxn>
                <a:cxn ang="0">
                  <a:pos x="connsiteX7612" y="connsiteY7612"/>
                </a:cxn>
                <a:cxn ang="0">
                  <a:pos x="connsiteX7613" y="connsiteY7613"/>
                </a:cxn>
                <a:cxn ang="0">
                  <a:pos x="connsiteX7614" y="connsiteY7614"/>
                </a:cxn>
                <a:cxn ang="0">
                  <a:pos x="connsiteX7615" y="connsiteY7615"/>
                </a:cxn>
                <a:cxn ang="0">
                  <a:pos x="connsiteX7616" y="connsiteY7616"/>
                </a:cxn>
                <a:cxn ang="0">
                  <a:pos x="connsiteX7617" y="connsiteY7617"/>
                </a:cxn>
                <a:cxn ang="0">
                  <a:pos x="connsiteX7618" y="connsiteY7618"/>
                </a:cxn>
                <a:cxn ang="0">
                  <a:pos x="connsiteX7619" y="connsiteY7619"/>
                </a:cxn>
                <a:cxn ang="0">
                  <a:pos x="connsiteX7620" y="connsiteY7620"/>
                </a:cxn>
                <a:cxn ang="0">
                  <a:pos x="connsiteX7621" y="connsiteY7621"/>
                </a:cxn>
                <a:cxn ang="0">
                  <a:pos x="connsiteX7622" y="connsiteY7622"/>
                </a:cxn>
                <a:cxn ang="0">
                  <a:pos x="connsiteX7623" y="connsiteY7623"/>
                </a:cxn>
                <a:cxn ang="0">
                  <a:pos x="connsiteX7624" y="connsiteY7624"/>
                </a:cxn>
                <a:cxn ang="0">
                  <a:pos x="connsiteX7625" y="connsiteY7625"/>
                </a:cxn>
                <a:cxn ang="0">
                  <a:pos x="connsiteX7626" y="connsiteY7626"/>
                </a:cxn>
                <a:cxn ang="0">
                  <a:pos x="connsiteX7627" y="connsiteY7627"/>
                </a:cxn>
                <a:cxn ang="0">
                  <a:pos x="connsiteX7628" y="connsiteY7628"/>
                </a:cxn>
                <a:cxn ang="0">
                  <a:pos x="connsiteX7629" y="connsiteY7629"/>
                </a:cxn>
                <a:cxn ang="0">
                  <a:pos x="connsiteX7630" y="connsiteY7630"/>
                </a:cxn>
                <a:cxn ang="0">
                  <a:pos x="connsiteX7631" y="connsiteY7631"/>
                </a:cxn>
                <a:cxn ang="0">
                  <a:pos x="connsiteX7632" y="connsiteY7632"/>
                </a:cxn>
                <a:cxn ang="0">
                  <a:pos x="connsiteX7633" y="connsiteY7633"/>
                </a:cxn>
                <a:cxn ang="0">
                  <a:pos x="connsiteX7634" y="connsiteY7634"/>
                </a:cxn>
                <a:cxn ang="0">
                  <a:pos x="connsiteX7635" y="connsiteY7635"/>
                </a:cxn>
                <a:cxn ang="0">
                  <a:pos x="connsiteX7636" y="connsiteY7636"/>
                </a:cxn>
                <a:cxn ang="0">
                  <a:pos x="connsiteX7637" y="connsiteY7637"/>
                </a:cxn>
                <a:cxn ang="0">
                  <a:pos x="connsiteX7638" y="connsiteY7638"/>
                </a:cxn>
                <a:cxn ang="0">
                  <a:pos x="connsiteX7639" y="connsiteY7639"/>
                </a:cxn>
                <a:cxn ang="0">
                  <a:pos x="connsiteX7640" y="connsiteY7640"/>
                </a:cxn>
                <a:cxn ang="0">
                  <a:pos x="connsiteX7641" y="connsiteY7641"/>
                </a:cxn>
                <a:cxn ang="0">
                  <a:pos x="connsiteX7642" y="connsiteY7642"/>
                </a:cxn>
                <a:cxn ang="0">
                  <a:pos x="connsiteX7643" y="connsiteY7643"/>
                </a:cxn>
                <a:cxn ang="0">
                  <a:pos x="connsiteX7644" y="connsiteY7644"/>
                </a:cxn>
                <a:cxn ang="0">
                  <a:pos x="connsiteX7645" y="connsiteY7645"/>
                </a:cxn>
                <a:cxn ang="0">
                  <a:pos x="connsiteX7646" y="connsiteY7646"/>
                </a:cxn>
                <a:cxn ang="0">
                  <a:pos x="connsiteX7647" y="connsiteY7647"/>
                </a:cxn>
                <a:cxn ang="0">
                  <a:pos x="connsiteX7648" y="connsiteY7648"/>
                </a:cxn>
                <a:cxn ang="0">
                  <a:pos x="connsiteX7649" y="connsiteY7649"/>
                </a:cxn>
                <a:cxn ang="0">
                  <a:pos x="connsiteX7650" y="connsiteY7650"/>
                </a:cxn>
                <a:cxn ang="0">
                  <a:pos x="connsiteX7651" y="connsiteY7651"/>
                </a:cxn>
                <a:cxn ang="0">
                  <a:pos x="connsiteX7652" y="connsiteY7652"/>
                </a:cxn>
                <a:cxn ang="0">
                  <a:pos x="connsiteX7653" y="connsiteY7653"/>
                </a:cxn>
                <a:cxn ang="0">
                  <a:pos x="connsiteX7654" y="connsiteY7654"/>
                </a:cxn>
                <a:cxn ang="0">
                  <a:pos x="connsiteX7655" y="connsiteY7655"/>
                </a:cxn>
                <a:cxn ang="0">
                  <a:pos x="connsiteX7656" y="connsiteY7656"/>
                </a:cxn>
                <a:cxn ang="0">
                  <a:pos x="connsiteX7657" y="connsiteY7657"/>
                </a:cxn>
                <a:cxn ang="0">
                  <a:pos x="connsiteX7658" y="connsiteY7658"/>
                </a:cxn>
                <a:cxn ang="0">
                  <a:pos x="connsiteX7659" y="connsiteY7659"/>
                </a:cxn>
                <a:cxn ang="0">
                  <a:pos x="connsiteX7660" y="connsiteY7660"/>
                </a:cxn>
                <a:cxn ang="0">
                  <a:pos x="connsiteX7661" y="connsiteY7661"/>
                </a:cxn>
                <a:cxn ang="0">
                  <a:pos x="connsiteX7662" y="connsiteY7662"/>
                </a:cxn>
                <a:cxn ang="0">
                  <a:pos x="connsiteX7663" y="connsiteY7663"/>
                </a:cxn>
                <a:cxn ang="0">
                  <a:pos x="connsiteX7664" y="connsiteY7664"/>
                </a:cxn>
                <a:cxn ang="0">
                  <a:pos x="connsiteX7665" y="connsiteY7665"/>
                </a:cxn>
                <a:cxn ang="0">
                  <a:pos x="connsiteX7666" y="connsiteY7666"/>
                </a:cxn>
                <a:cxn ang="0">
                  <a:pos x="connsiteX7667" y="connsiteY7667"/>
                </a:cxn>
                <a:cxn ang="0">
                  <a:pos x="connsiteX7668" y="connsiteY7668"/>
                </a:cxn>
                <a:cxn ang="0">
                  <a:pos x="connsiteX7669" y="connsiteY7669"/>
                </a:cxn>
                <a:cxn ang="0">
                  <a:pos x="connsiteX7670" y="connsiteY7670"/>
                </a:cxn>
                <a:cxn ang="0">
                  <a:pos x="connsiteX7671" y="connsiteY7671"/>
                </a:cxn>
                <a:cxn ang="0">
                  <a:pos x="connsiteX7672" y="connsiteY7672"/>
                </a:cxn>
                <a:cxn ang="0">
                  <a:pos x="connsiteX7673" y="connsiteY7673"/>
                </a:cxn>
                <a:cxn ang="0">
                  <a:pos x="connsiteX7674" y="connsiteY7674"/>
                </a:cxn>
                <a:cxn ang="0">
                  <a:pos x="connsiteX7675" y="connsiteY7675"/>
                </a:cxn>
                <a:cxn ang="0">
                  <a:pos x="connsiteX7676" y="connsiteY7676"/>
                </a:cxn>
                <a:cxn ang="0">
                  <a:pos x="connsiteX7677" y="connsiteY7677"/>
                </a:cxn>
                <a:cxn ang="0">
                  <a:pos x="connsiteX7678" y="connsiteY7678"/>
                </a:cxn>
                <a:cxn ang="0">
                  <a:pos x="connsiteX7679" y="connsiteY7679"/>
                </a:cxn>
                <a:cxn ang="0">
                  <a:pos x="connsiteX7680" y="connsiteY7680"/>
                </a:cxn>
                <a:cxn ang="0">
                  <a:pos x="connsiteX7681" y="connsiteY7681"/>
                </a:cxn>
                <a:cxn ang="0">
                  <a:pos x="connsiteX7682" y="connsiteY7682"/>
                </a:cxn>
                <a:cxn ang="0">
                  <a:pos x="connsiteX7683" y="connsiteY7683"/>
                </a:cxn>
                <a:cxn ang="0">
                  <a:pos x="connsiteX7684" y="connsiteY7684"/>
                </a:cxn>
                <a:cxn ang="0">
                  <a:pos x="connsiteX7685" y="connsiteY7685"/>
                </a:cxn>
                <a:cxn ang="0">
                  <a:pos x="connsiteX7686" y="connsiteY7686"/>
                </a:cxn>
                <a:cxn ang="0">
                  <a:pos x="connsiteX7687" y="connsiteY7687"/>
                </a:cxn>
                <a:cxn ang="0">
                  <a:pos x="connsiteX7688" y="connsiteY7688"/>
                </a:cxn>
                <a:cxn ang="0">
                  <a:pos x="connsiteX7689" y="connsiteY7689"/>
                </a:cxn>
                <a:cxn ang="0">
                  <a:pos x="connsiteX7690" y="connsiteY7690"/>
                </a:cxn>
                <a:cxn ang="0">
                  <a:pos x="connsiteX7691" y="connsiteY7691"/>
                </a:cxn>
                <a:cxn ang="0">
                  <a:pos x="connsiteX7692" y="connsiteY7692"/>
                </a:cxn>
                <a:cxn ang="0">
                  <a:pos x="connsiteX7693" y="connsiteY7693"/>
                </a:cxn>
                <a:cxn ang="0">
                  <a:pos x="connsiteX7694" y="connsiteY7694"/>
                </a:cxn>
                <a:cxn ang="0">
                  <a:pos x="connsiteX7695" y="connsiteY7695"/>
                </a:cxn>
                <a:cxn ang="0">
                  <a:pos x="connsiteX7696" y="connsiteY7696"/>
                </a:cxn>
                <a:cxn ang="0">
                  <a:pos x="connsiteX7697" y="connsiteY7697"/>
                </a:cxn>
                <a:cxn ang="0">
                  <a:pos x="connsiteX7698" y="connsiteY7698"/>
                </a:cxn>
                <a:cxn ang="0">
                  <a:pos x="connsiteX7699" y="connsiteY7699"/>
                </a:cxn>
                <a:cxn ang="0">
                  <a:pos x="connsiteX7700" y="connsiteY7700"/>
                </a:cxn>
                <a:cxn ang="0">
                  <a:pos x="connsiteX7701" y="connsiteY7701"/>
                </a:cxn>
                <a:cxn ang="0">
                  <a:pos x="connsiteX7702" y="connsiteY7702"/>
                </a:cxn>
                <a:cxn ang="0">
                  <a:pos x="connsiteX7703" y="connsiteY7703"/>
                </a:cxn>
                <a:cxn ang="0">
                  <a:pos x="connsiteX7704" y="connsiteY7704"/>
                </a:cxn>
                <a:cxn ang="0">
                  <a:pos x="connsiteX7705" y="connsiteY7705"/>
                </a:cxn>
                <a:cxn ang="0">
                  <a:pos x="connsiteX7706" y="connsiteY7706"/>
                </a:cxn>
                <a:cxn ang="0">
                  <a:pos x="connsiteX7707" y="connsiteY7707"/>
                </a:cxn>
                <a:cxn ang="0">
                  <a:pos x="connsiteX7708" y="connsiteY7708"/>
                </a:cxn>
                <a:cxn ang="0">
                  <a:pos x="connsiteX7709" y="connsiteY7709"/>
                </a:cxn>
                <a:cxn ang="0">
                  <a:pos x="connsiteX7710" y="connsiteY7710"/>
                </a:cxn>
                <a:cxn ang="0">
                  <a:pos x="connsiteX7711" y="connsiteY7711"/>
                </a:cxn>
                <a:cxn ang="0">
                  <a:pos x="connsiteX7712" y="connsiteY7712"/>
                </a:cxn>
                <a:cxn ang="0">
                  <a:pos x="connsiteX7713" y="connsiteY7713"/>
                </a:cxn>
                <a:cxn ang="0">
                  <a:pos x="connsiteX7714" y="connsiteY7714"/>
                </a:cxn>
                <a:cxn ang="0">
                  <a:pos x="connsiteX7715" y="connsiteY7715"/>
                </a:cxn>
                <a:cxn ang="0">
                  <a:pos x="connsiteX7716" y="connsiteY7716"/>
                </a:cxn>
                <a:cxn ang="0">
                  <a:pos x="connsiteX7717" y="connsiteY7717"/>
                </a:cxn>
                <a:cxn ang="0">
                  <a:pos x="connsiteX7718" y="connsiteY7718"/>
                </a:cxn>
                <a:cxn ang="0">
                  <a:pos x="connsiteX7719" y="connsiteY7719"/>
                </a:cxn>
                <a:cxn ang="0">
                  <a:pos x="connsiteX7720" y="connsiteY7720"/>
                </a:cxn>
                <a:cxn ang="0">
                  <a:pos x="connsiteX7721" y="connsiteY7721"/>
                </a:cxn>
                <a:cxn ang="0">
                  <a:pos x="connsiteX7722" y="connsiteY7722"/>
                </a:cxn>
                <a:cxn ang="0">
                  <a:pos x="connsiteX7723" y="connsiteY7723"/>
                </a:cxn>
                <a:cxn ang="0">
                  <a:pos x="connsiteX7724" y="connsiteY7724"/>
                </a:cxn>
                <a:cxn ang="0">
                  <a:pos x="connsiteX7725" y="connsiteY7725"/>
                </a:cxn>
                <a:cxn ang="0">
                  <a:pos x="connsiteX7726" y="connsiteY7726"/>
                </a:cxn>
                <a:cxn ang="0">
                  <a:pos x="connsiteX7727" y="connsiteY7727"/>
                </a:cxn>
                <a:cxn ang="0">
                  <a:pos x="connsiteX7728" y="connsiteY7728"/>
                </a:cxn>
                <a:cxn ang="0">
                  <a:pos x="connsiteX7729" y="connsiteY7729"/>
                </a:cxn>
                <a:cxn ang="0">
                  <a:pos x="connsiteX7730" y="connsiteY7730"/>
                </a:cxn>
                <a:cxn ang="0">
                  <a:pos x="connsiteX7731" y="connsiteY7731"/>
                </a:cxn>
                <a:cxn ang="0">
                  <a:pos x="connsiteX7732" y="connsiteY7732"/>
                </a:cxn>
                <a:cxn ang="0">
                  <a:pos x="connsiteX7733" y="connsiteY7733"/>
                </a:cxn>
                <a:cxn ang="0">
                  <a:pos x="connsiteX7734" y="connsiteY7734"/>
                </a:cxn>
                <a:cxn ang="0">
                  <a:pos x="connsiteX7735" y="connsiteY7735"/>
                </a:cxn>
                <a:cxn ang="0">
                  <a:pos x="connsiteX7736" y="connsiteY7736"/>
                </a:cxn>
                <a:cxn ang="0">
                  <a:pos x="connsiteX7737" y="connsiteY7737"/>
                </a:cxn>
                <a:cxn ang="0">
                  <a:pos x="connsiteX7738" y="connsiteY7738"/>
                </a:cxn>
                <a:cxn ang="0">
                  <a:pos x="connsiteX7739" y="connsiteY7739"/>
                </a:cxn>
                <a:cxn ang="0">
                  <a:pos x="connsiteX7740" y="connsiteY7740"/>
                </a:cxn>
                <a:cxn ang="0">
                  <a:pos x="connsiteX7741" y="connsiteY7741"/>
                </a:cxn>
                <a:cxn ang="0">
                  <a:pos x="connsiteX7742" y="connsiteY7742"/>
                </a:cxn>
                <a:cxn ang="0">
                  <a:pos x="connsiteX7743" y="connsiteY7743"/>
                </a:cxn>
                <a:cxn ang="0">
                  <a:pos x="connsiteX7744" y="connsiteY7744"/>
                </a:cxn>
                <a:cxn ang="0">
                  <a:pos x="connsiteX7745" y="connsiteY7745"/>
                </a:cxn>
                <a:cxn ang="0">
                  <a:pos x="connsiteX7746" y="connsiteY7746"/>
                </a:cxn>
                <a:cxn ang="0">
                  <a:pos x="connsiteX7747" y="connsiteY7747"/>
                </a:cxn>
                <a:cxn ang="0">
                  <a:pos x="connsiteX7748" y="connsiteY7748"/>
                </a:cxn>
                <a:cxn ang="0">
                  <a:pos x="connsiteX7749" y="connsiteY7749"/>
                </a:cxn>
                <a:cxn ang="0">
                  <a:pos x="connsiteX7750" y="connsiteY7750"/>
                </a:cxn>
                <a:cxn ang="0">
                  <a:pos x="connsiteX7751" y="connsiteY7751"/>
                </a:cxn>
                <a:cxn ang="0">
                  <a:pos x="connsiteX7752" y="connsiteY7752"/>
                </a:cxn>
                <a:cxn ang="0">
                  <a:pos x="connsiteX7753" y="connsiteY7753"/>
                </a:cxn>
                <a:cxn ang="0">
                  <a:pos x="connsiteX7754" y="connsiteY7754"/>
                </a:cxn>
                <a:cxn ang="0">
                  <a:pos x="connsiteX7755" y="connsiteY7755"/>
                </a:cxn>
                <a:cxn ang="0">
                  <a:pos x="connsiteX7756" y="connsiteY7756"/>
                </a:cxn>
                <a:cxn ang="0">
                  <a:pos x="connsiteX7757" y="connsiteY7757"/>
                </a:cxn>
                <a:cxn ang="0">
                  <a:pos x="connsiteX7758" y="connsiteY7758"/>
                </a:cxn>
                <a:cxn ang="0">
                  <a:pos x="connsiteX7759" y="connsiteY7759"/>
                </a:cxn>
                <a:cxn ang="0">
                  <a:pos x="connsiteX7760" y="connsiteY7760"/>
                </a:cxn>
                <a:cxn ang="0">
                  <a:pos x="connsiteX7761" y="connsiteY7761"/>
                </a:cxn>
                <a:cxn ang="0">
                  <a:pos x="connsiteX7762" y="connsiteY7762"/>
                </a:cxn>
                <a:cxn ang="0">
                  <a:pos x="connsiteX7763" y="connsiteY7763"/>
                </a:cxn>
                <a:cxn ang="0">
                  <a:pos x="connsiteX7764" y="connsiteY7764"/>
                </a:cxn>
                <a:cxn ang="0">
                  <a:pos x="connsiteX7765" y="connsiteY7765"/>
                </a:cxn>
                <a:cxn ang="0">
                  <a:pos x="connsiteX7766" y="connsiteY7766"/>
                </a:cxn>
                <a:cxn ang="0">
                  <a:pos x="connsiteX7767" y="connsiteY7767"/>
                </a:cxn>
                <a:cxn ang="0">
                  <a:pos x="connsiteX7768" y="connsiteY7768"/>
                </a:cxn>
                <a:cxn ang="0">
                  <a:pos x="connsiteX7769" y="connsiteY7769"/>
                </a:cxn>
                <a:cxn ang="0">
                  <a:pos x="connsiteX7770" y="connsiteY7770"/>
                </a:cxn>
                <a:cxn ang="0">
                  <a:pos x="connsiteX7771" y="connsiteY7771"/>
                </a:cxn>
                <a:cxn ang="0">
                  <a:pos x="connsiteX7772" y="connsiteY7772"/>
                </a:cxn>
                <a:cxn ang="0">
                  <a:pos x="connsiteX7773" y="connsiteY7773"/>
                </a:cxn>
                <a:cxn ang="0">
                  <a:pos x="connsiteX7774" y="connsiteY7774"/>
                </a:cxn>
                <a:cxn ang="0">
                  <a:pos x="connsiteX7775" y="connsiteY7775"/>
                </a:cxn>
                <a:cxn ang="0">
                  <a:pos x="connsiteX7776" y="connsiteY7776"/>
                </a:cxn>
                <a:cxn ang="0">
                  <a:pos x="connsiteX7777" y="connsiteY7777"/>
                </a:cxn>
                <a:cxn ang="0">
                  <a:pos x="connsiteX7778" y="connsiteY7778"/>
                </a:cxn>
                <a:cxn ang="0">
                  <a:pos x="connsiteX7779" y="connsiteY7779"/>
                </a:cxn>
                <a:cxn ang="0">
                  <a:pos x="connsiteX7780" y="connsiteY7780"/>
                </a:cxn>
                <a:cxn ang="0">
                  <a:pos x="connsiteX7781" y="connsiteY7781"/>
                </a:cxn>
                <a:cxn ang="0">
                  <a:pos x="connsiteX7782" y="connsiteY7782"/>
                </a:cxn>
                <a:cxn ang="0">
                  <a:pos x="connsiteX7783" y="connsiteY7783"/>
                </a:cxn>
                <a:cxn ang="0">
                  <a:pos x="connsiteX7784" y="connsiteY7784"/>
                </a:cxn>
                <a:cxn ang="0">
                  <a:pos x="connsiteX7785" y="connsiteY7785"/>
                </a:cxn>
                <a:cxn ang="0">
                  <a:pos x="connsiteX7786" y="connsiteY7786"/>
                </a:cxn>
                <a:cxn ang="0">
                  <a:pos x="connsiteX7787" y="connsiteY7787"/>
                </a:cxn>
                <a:cxn ang="0">
                  <a:pos x="connsiteX7788" y="connsiteY7788"/>
                </a:cxn>
                <a:cxn ang="0">
                  <a:pos x="connsiteX7789" y="connsiteY7789"/>
                </a:cxn>
                <a:cxn ang="0">
                  <a:pos x="connsiteX7790" y="connsiteY7790"/>
                </a:cxn>
                <a:cxn ang="0">
                  <a:pos x="connsiteX7791" y="connsiteY7791"/>
                </a:cxn>
                <a:cxn ang="0">
                  <a:pos x="connsiteX7792" y="connsiteY7792"/>
                </a:cxn>
                <a:cxn ang="0">
                  <a:pos x="connsiteX7793" y="connsiteY7793"/>
                </a:cxn>
                <a:cxn ang="0">
                  <a:pos x="connsiteX7794" y="connsiteY7794"/>
                </a:cxn>
                <a:cxn ang="0">
                  <a:pos x="connsiteX7795" y="connsiteY7795"/>
                </a:cxn>
                <a:cxn ang="0">
                  <a:pos x="connsiteX7796" y="connsiteY7796"/>
                </a:cxn>
                <a:cxn ang="0">
                  <a:pos x="connsiteX7797" y="connsiteY7797"/>
                </a:cxn>
                <a:cxn ang="0">
                  <a:pos x="connsiteX7798" y="connsiteY7798"/>
                </a:cxn>
                <a:cxn ang="0">
                  <a:pos x="connsiteX7799" y="connsiteY7799"/>
                </a:cxn>
                <a:cxn ang="0">
                  <a:pos x="connsiteX7800" y="connsiteY7800"/>
                </a:cxn>
                <a:cxn ang="0">
                  <a:pos x="connsiteX7801" y="connsiteY7801"/>
                </a:cxn>
                <a:cxn ang="0">
                  <a:pos x="connsiteX7802" y="connsiteY7802"/>
                </a:cxn>
                <a:cxn ang="0">
                  <a:pos x="connsiteX7803" y="connsiteY7803"/>
                </a:cxn>
                <a:cxn ang="0">
                  <a:pos x="connsiteX7804" y="connsiteY7804"/>
                </a:cxn>
                <a:cxn ang="0">
                  <a:pos x="connsiteX7805" y="connsiteY7805"/>
                </a:cxn>
                <a:cxn ang="0">
                  <a:pos x="connsiteX7806" y="connsiteY7806"/>
                </a:cxn>
                <a:cxn ang="0">
                  <a:pos x="connsiteX7807" y="connsiteY7807"/>
                </a:cxn>
                <a:cxn ang="0">
                  <a:pos x="connsiteX7808" y="connsiteY7808"/>
                </a:cxn>
                <a:cxn ang="0">
                  <a:pos x="connsiteX7809" y="connsiteY7809"/>
                </a:cxn>
                <a:cxn ang="0">
                  <a:pos x="connsiteX7810" y="connsiteY7810"/>
                </a:cxn>
                <a:cxn ang="0">
                  <a:pos x="connsiteX7811" y="connsiteY7811"/>
                </a:cxn>
                <a:cxn ang="0">
                  <a:pos x="connsiteX7812" y="connsiteY7812"/>
                </a:cxn>
                <a:cxn ang="0">
                  <a:pos x="connsiteX7813" y="connsiteY7813"/>
                </a:cxn>
                <a:cxn ang="0">
                  <a:pos x="connsiteX7814" y="connsiteY7814"/>
                </a:cxn>
                <a:cxn ang="0">
                  <a:pos x="connsiteX7815" y="connsiteY7815"/>
                </a:cxn>
                <a:cxn ang="0">
                  <a:pos x="connsiteX7816" y="connsiteY7816"/>
                </a:cxn>
                <a:cxn ang="0">
                  <a:pos x="connsiteX7817" y="connsiteY7817"/>
                </a:cxn>
                <a:cxn ang="0">
                  <a:pos x="connsiteX7818" y="connsiteY7818"/>
                </a:cxn>
                <a:cxn ang="0">
                  <a:pos x="connsiteX7819" y="connsiteY7819"/>
                </a:cxn>
                <a:cxn ang="0">
                  <a:pos x="connsiteX7820" y="connsiteY7820"/>
                </a:cxn>
                <a:cxn ang="0">
                  <a:pos x="connsiteX7821" y="connsiteY7821"/>
                </a:cxn>
                <a:cxn ang="0">
                  <a:pos x="connsiteX7822" y="connsiteY7822"/>
                </a:cxn>
                <a:cxn ang="0">
                  <a:pos x="connsiteX7823" y="connsiteY7823"/>
                </a:cxn>
                <a:cxn ang="0">
                  <a:pos x="connsiteX7824" y="connsiteY7824"/>
                </a:cxn>
                <a:cxn ang="0">
                  <a:pos x="connsiteX7825" y="connsiteY7825"/>
                </a:cxn>
                <a:cxn ang="0">
                  <a:pos x="connsiteX7826" y="connsiteY7826"/>
                </a:cxn>
                <a:cxn ang="0">
                  <a:pos x="connsiteX7827" y="connsiteY7827"/>
                </a:cxn>
                <a:cxn ang="0">
                  <a:pos x="connsiteX7828" y="connsiteY7828"/>
                </a:cxn>
                <a:cxn ang="0">
                  <a:pos x="connsiteX7829" y="connsiteY7829"/>
                </a:cxn>
                <a:cxn ang="0">
                  <a:pos x="connsiteX7830" y="connsiteY7830"/>
                </a:cxn>
                <a:cxn ang="0">
                  <a:pos x="connsiteX7831" y="connsiteY7831"/>
                </a:cxn>
                <a:cxn ang="0">
                  <a:pos x="connsiteX7832" y="connsiteY7832"/>
                </a:cxn>
                <a:cxn ang="0">
                  <a:pos x="connsiteX7833" y="connsiteY7833"/>
                </a:cxn>
                <a:cxn ang="0">
                  <a:pos x="connsiteX7834" y="connsiteY7834"/>
                </a:cxn>
                <a:cxn ang="0">
                  <a:pos x="connsiteX7835" y="connsiteY7835"/>
                </a:cxn>
                <a:cxn ang="0">
                  <a:pos x="connsiteX7836" y="connsiteY7836"/>
                </a:cxn>
                <a:cxn ang="0">
                  <a:pos x="connsiteX7837" y="connsiteY7837"/>
                </a:cxn>
                <a:cxn ang="0">
                  <a:pos x="connsiteX7838" y="connsiteY7838"/>
                </a:cxn>
                <a:cxn ang="0">
                  <a:pos x="connsiteX7839" y="connsiteY7839"/>
                </a:cxn>
                <a:cxn ang="0">
                  <a:pos x="connsiteX7840" y="connsiteY7840"/>
                </a:cxn>
                <a:cxn ang="0">
                  <a:pos x="connsiteX7841" y="connsiteY7841"/>
                </a:cxn>
                <a:cxn ang="0">
                  <a:pos x="connsiteX7842" y="connsiteY7842"/>
                </a:cxn>
                <a:cxn ang="0">
                  <a:pos x="connsiteX7843" y="connsiteY7843"/>
                </a:cxn>
                <a:cxn ang="0">
                  <a:pos x="connsiteX7844" y="connsiteY7844"/>
                </a:cxn>
                <a:cxn ang="0">
                  <a:pos x="connsiteX7845" y="connsiteY7845"/>
                </a:cxn>
                <a:cxn ang="0">
                  <a:pos x="connsiteX7846" y="connsiteY7846"/>
                </a:cxn>
                <a:cxn ang="0">
                  <a:pos x="connsiteX7847" y="connsiteY7847"/>
                </a:cxn>
                <a:cxn ang="0">
                  <a:pos x="connsiteX7848" y="connsiteY7848"/>
                </a:cxn>
                <a:cxn ang="0">
                  <a:pos x="connsiteX7849" y="connsiteY7849"/>
                </a:cxn>
                <a:cxn ang="0">
                  <a:pos x="connsiteX7850" y="connsiteY7850"/>
                </a:cxn>
                <a:cxn ang="0">
                  <a:pos x="connsiteX7851" y="connsiteY7851"/>
                </a:cxn>
                <a:cxn ang="0">
                  <a:pos x="connsiteX7852" y="connsiteY7852"/>
                </a:cxn>
                <a:cxn ang="0">
                  <a:pos x="connsiteX7853" y="connsiteY7853"/>
                </a:cxn>
                <a:cxn ang="0">
                  <a:pos x="connsiteX7854" y="connsiteY7854"/>
                </a:cxn>
                <a:cxn ang="0">
                  <a:pos x="connsiteX7855" y="connsiteY7855"/>
                </a:cxn>
                <a:cxn ang="0">
                  <a:pos x="connsiteX7856" y="connsiteY7856"/>
                </a:cxn>
                <a:cxn ang="0">
                  <a:pos x="connsiteX7857" y="connsiteY7857"/>
                </a:cxn>
                <a:cxn ang="0">
                  <a:pos x="connsiteX7858" y="connsiteY7858"/>
                </a:cxn>
                <a:cxn ang="0">
                  <a:pos x="connsiteX7859" y="connsiteY7859"/>
                </a:cxn>
                <a:cxn ang="0">
                  <a:pos x="connsiteX7860" y="connsiteY7860"/>
                </a:cxn>
                <a:cxn ang="0">
                  <a:pos x="connsiteX7861" y="connsiteY7861"/>
                </a:cxn>
                <a:cxn ang="0">
                  <a:pos x="connsiteX7862" y="connsiteY7862"/>
                </a:cxn>
                <a:cxn ang="0">
                  <a:pos x="connsiteX7863" y="connsiteY7863"/>
                </a:cxn>
                <a:cxn ang="0">
                  <a:pos x="connsiteX7864" y="connsiteY7864"/>
                </a:cxn>
                <a:cxn ang="0">
                  <a:pos x="connsiteX7865" y="connsiteY7865"/>
                </a:cxn>
                <a:cxn ang="0">
                  <a:pos x="connsiteX7866" y="connsiteY7866"/>
                </a:cxn>
                <a:cxn ang="0">
                  <a:pos x="connsiteX7867" y="connsiteY7867"/>
                </a:cxn>
                <a:cxn ang="0">
                  <a:pos x="connsiteX7868" y="connsiteY7868"/>
                </a:cxn>
                <a:cxn ang="0">
                  <a:pos x="connsiteX7869" y="connsiteY7869"/>
                </a:cxn>
                <a:cxn ang="0">
                  <a:pos x="connsiteX7870" y="connsiteY7870"/>
                </a:cxn>
                <a:cxn ang="0">
                  <a:pos x="connsiteX7871" y="connsiteY7871"/>
                </a:cxn>
                <a:cxn ang="0">
                  <a:pos x="connsiteX7872" y="connsiteY7872"/>
                </a:cxn>
                <a:cxn ang="0">
                  <a:pos x="connsiteX7873" y="connsiteY7873"/>
                </a:cxn>
                <a:cxn ang="0">
                  <a:pos x="connsiteX7874" y="connsiteY7874"/>
                </a:cxn>
                <a:cxn ang="0">
                  <a:pos x="connsiteX7875" y="connsiteY7875"/>
                </a:cxn>
                <a:cxn ang="0">
                  <a:pos x="connsiteX7876" y="connsiteY7876"/>
                </a:cxn>
                <a:cxn ang="0">
                  <a:pos x="connsiteX7877" y="connsiteY7877"/>
                </a:cxn>
                <a:cxn ang="0">
                  <a:pos x="connsiteX7878" y="connsiteY7878"/>
                </a:cxn>
                <a:cxn ang="0">
                  <a:pos x="connsiteX7879" y="connsiteY7879"/>
                </a:cxn>
                <a:cxn ang="0">
                  <a:pos x="connsiteX7880" y="connsiteY7880"/>
                </a:cxn>
                <a:cxn ang="0">
                  <a:pos x="connsiteX7881" y="connsiteY7881"/>
                </a:cxn>
                <a:cxn ang="0">
                  <a:pos x="connsiteX7882" y="connsiteY7882"/>
                </a:cxn>
                <a:cxn ang="0">
                  <a:pos x="connsiteX7883" y="connsiteY7883"/>
                </a:cxn>
                <a:cxn ang="0">
                  <a:pos x="connsiteX7884" y="connsiteY7884"/>
                </a:cxn>
                <a:cxn ang="0">
                  <a:pos x="connsiteX7885" y="connsiteY7885"/>
                </a:cxn>
                <a:cxn ang="0">
                  <a:pos x="connsiteX7886" y="connsiteY7886"/>
                </a:cxn>
                <a:cxn ang="0">
                  <a:pos x="connsiteX7887" y="connsiteY7887"/>
                </a:cxn>
                <a:cxn ang="0">
                  <a:pos x="connsiteX7888" y="connsiteY7888"/>
                </a:cxn>
                <a:cxn ang="0">
                  <a:pos x="connsiteX7889" y="connsiteY7889"/>
                </a:cxn>
                <a:cxn ang="0">
                  <a:pos x="connsiteX7890" y="connsiteY7890"/>
                </a:cxn>
                <a:cxn ang="0">
                  <a:pos x="connsiteX7891" y="connsiteY7891"/>
                </a:cxn>
                <a:cxn ang="0">
                  <a:pos x="connsiteX7892" y="connsiteY7892"/>
                </a:cxn>
                <a:cxn ang="0">
                  <a:pos x="connsiteX7893" y="connsiteY7893"/>
                </a:cxn>
                <a:cxn ang="0">
                  <a:pos x="connsiteX7894" y="connsiteY7894"/>
                </a:cxn>
                <a:cxn ang="0">
                  <a:pos x="connsiteX7895" y="connsiteY7895"/>
                </a:cxn>
                <a:cxn ang="0">
                  <a:pos x="connsiteX7896" y="connsiteY7896"/>
                </a:cxn>
                <a:cxn ang="0">
                  <a:pos x="connsiteX7897" y="connsiteY7897"/>
                </a:cxn>
                <a:cxn ang="0">
                  <a:pos x="connsiteX7898" y="connsiteY7898"/>
                </a:cxn>
                <a:cxn ang="0">
                  <a:pos x="connsiteX7899" y="connsiteY7899"/>
                </a:cxn>
                <a:cxn ang="0">
                  <a:pos x="connsiteX7900" y="connsiteY7900"/>
                </a:cxn>
                <a:cxn ang="0">
                  <a:pos x="connsiteX7901" y="connsiteY7901"/>
                </a:cxn>
                <a:cxn ang="0">
                  <a:pos x="connsiteX7902" y="connsiteY7902"/>
                </a:cxn>
                <a:cxn ang="0">
                  <a:pos x="connsiteX7903" y="connsiteY7903"/>
                </a:cxn>
                <a:cxn ang="0">
                  <a:pos x="connsiteX7904" y="connsiteY7904"/>
                </a:cxn>
                <a:cxn ang="0">
                  <a:pos x="connsiteX7905" y="connsiteY7905"/>
                </a:cxn>
                <a:cxn ang="0">
                  <a:pos x="connsiteX7906" y="connsiteY7906"/>
                </a:cxn>
                <a:cxn ang="0">
                  <a:pos x="connsiteX7907" y="connsiteY7907"/>
                </a:cxn>
                <a:cxn ang="0">
                  <a:pos x="connsiteX7908" y="connsiteY7908"/>
                </a:cxn>
                <a:cxn ang="0">
                  <a:pos x="connsiteX7909" y="connsiteY7909"/>
                </a:cxn>
                <a:cxn ang="0">
                  <a:pos x="connsiteX7910" y="connsiteY7910"/>
                </a:cxn>
                <a:cxn ang="0">
                  <a:pos x="connsiteX7911" y="connsiteY7911"/>
                </a:cxn>
                <a:cxn ang="0">
                  <a:pos x="connsiteX7912" y="connsiteY7912"/>
                </a:cxn>
                <a:cxn ang="0">
                  <a:pos x="connsiteX7913" y="connsiteY7913"/>
                </a:cxn>
                <a:cxn ang="0">
                  <a:pos x="connsiteX7914" y="connsiteY7914"/>
                </a:cxn>
                <a:cxn ang="0">
                  <a:pos x="connsiteX7915" y="connsiteY7915"/>
                </a:cxn>
                <a:cxn ang="0">
                  <a:pos x="connsiteX7916" y="connsiteY7916"/>
                </a:cxn>
                <a:cxn ang="0">
                  <a:pos x="connsiteX7917" y="connsiteY7917"/>
                </a:cxn>
                <a:cxn ang="0">
                  <a:pos x="connsiteX7918" y="connsiteY7918"/>
                </a:cxn>
                <a:cxn ang="0">
                  <a:pos x="connsiteX7919" y="connsiteY7919"/>
                </a:cxn>
                <a:cxn ang="0">
                  <a:pos x="connsiteX7920" y="connsiteY7920"/>
                </a:cxn>
                <a:cxn ang="0">
                  <a:pos x="connsiteX7921" y="connsiteY7921"/>
                </a:cxn>
                <a:cxn ang="0">
                  <a:pos x="connsiteX7922" y="connsiteY7922"/>
                </a:cxn>
                <a:cxn ang="0">
                  <a:pos x="connsiteX7923" y="connsiteY7923"/>
                </a:cxn>
                <a:cxn ang="0">
                  <a:pos x="connsiteX7924" y="connsiteY7924"/>
                </a:cxn>
                <a:cxn ang="0">
                  <a:pos x="connsiteX7925" y="connsiteY7925"/>
                </a:cxn>
                <a:cxn ang="0">
                  <a:pos x="connsiteX7926" y="connsiteY7926"/>
                </a:cxn>
                <a:cxn ang="0">
                  <a:pos x="connsiteX7927" y="connsiteY7927"/>
                </a:cxn>
                <a:cxn ang="0">
                  <a:pos x="connsiteX7928" y="connsiteY7928"/>
                </a:cxn>
                <a:cxn ang="0">
                  <a:pos x="connsiteX7929" y="connsiteY7929"/>
                </a:cxn>
                <a:cxn ang="0">
                  <a:pos x="connsiteX7930" y="connsiteY7930"/>
                </a:cxn>
                <a:cxn ang="0">
                  <a:pos x="connsiteX7931" y="connsiteY7931"/>
                </a:cxn>
                <a:cxn ang="0">
                  <a:pos x="connsiteX7932" y="connsiteY7932"/>
                </a:cxn>
                <a:cxn ang="0">
                  <a:pos x="connsiteX7933" y="connsiteY7933"/>
                </a:cxn>
                <a:cxn ang="0">
                  <a:pos x="connsiteX7934" y="connsiteY7934"/>
                </a:cxn>
                <a:cxn ang="0">
                  <a:pos x="connsiteX7935" y="connsiteY7935"/>
                </a:cxn>
                <a:cxn ang="0">
                  <a:pos x="connsiteX7936" y="connsiteY7936"/>
                </a:cxn>
                <a:cxn ang="0">
                  <a:pos x="connsiteX7937" y="connsiteY7937"/>
                </a:cxn>
                <a:cxn ang="0">
                  <a:pos x="connsiteX7938" y="connsiteY7938"/>
                </a:cxn>
                <a:cxn ang="0">
                  <a:pos x="connsiteX7939" y="connsiteY7939"/>
                </a:cxn>
                <a:cxn ang="0">
                  <a:pos x="connsiteX7940" y="connsiteY7940"/>
                </a:cxn>
                <a:cxn ang="0">
                  <a:pos x="connsiteX7941" y="connsiteY7941"/>
                </a:cxn>
                <a:cxn ang="0">
                  <a:pos x="connsiteX7942" y="connsiteY7942"/>
                </a:cxn>
                <a:cxn ang="0">
                  <a:pos x="connsiteX7943" y="connsiteY7943"/>
                </a:cxn>
                <a:cxn ang="0">
                  <a:pos x="connsiteX7944" y="connsiteY7944"/>
                </a:cxn>
                <a:cxn ang="0">
                  <a:pos x="connsiteX7945" y="connsiteY7945"/>
                </a:cxn>
                <a:cxn ang="0">
                  <a:pos x="connsiteX7946" y="connsiteY7946"/>
                </a:cxn>
                <a:cxn ang="0">
                  <a:pos x="connsiteX7947" y="connsiteY7947"/>
                </a:cxn>
                <a:cxn ang="0">
                  <a:pos x="connsiteX7948" y="connsiteY7948"/>
                </a:cxn>
                <a:cxn ang="0">
                  <a:pos x="connsiteX7949" y="connsiteY7949"/>
                </a:cxn>
                <a:cxn ang="0">
                  <a:pos x="connsiteX7950" y="connsiteY7950"/>
                </a:cxn>
                <a:cxn ang="0">
                  <a:pos x="connsiteX7951" y="connsiteY7951"/>
                </a:cxn>
                <a:cxn ang="0">
                  <a:pos x="connsiteX7952" y="connsiteY7952"/>
                </a:cxn>
                <a:cxn ang="0">
                  <a:pos x="connsiteX7953" y="connsiteY7953"/>
                </a:cxn>
                <a:cxn ang="0">
                  <a:pos x="connsiteX7954" y="connsiteY7954"/>
                </a:cxn>
                <a:cxn ang="0">
                  <a:pos x="connsiteX7955" y="connsiteY7955"/>
                </a:cxn>
                <a:cxn ang="0">
                  <a:pos x="connsiteX7956" y="connsiteY7956"/>
                </a:cxn>
                <a:cxn ang="0">
                  <a:pos x="connsiteX7957" y="connsiteY7957"/>
                </a:cxn>
                <a:cxn ang="0">
                  <a:pos x="connsiteX7958" y="connsiteY7958"/>
                </a:cxn>
                <a:cxn ang="0">
                  <a:pos x="connsiteX7959" y="connsiteY7959"/>
                </a:cxn>
                <a:cxn ang="0">
                  <a:pos x="connsiteX7960" y="connsiteY7960"/>
                </a:cxn>
                <a:cxn ang="0">
                  <a:pos x="connsiteX7961" y="connsiteY7961"/>
                </a:cxn>
                <a:cxn ang="0">
                  <a:pos x="connsiteX7962" y="connsiteY7962"/>
                </a:cxn>
                <a:cxn ang="0">
                  <a:pos x="connsiteX7963" y="connsiteY7963"/>
                </a:cxn>
                <a:cxn ang="0">
                  <a:pos x="connsiteX7964" y="connsiteY7964"/>
                </a:cxn>
                <a:cxn ang="0">
                  <a:pos x="connsiteX7965" y="connsiteY7965"/>
                </a:cxn>
                <a:cxn ang="0">
                  <a:pos x="connsiteX7966" y="connsiteY7966"/>
                </a:cxn>
                <a:cxn ang="0">
                  <a:pos x="connsiteX7967" y="connsiteY7967"/>
                </a:cxn>
                <a:cxn ang="0">
                  <a:pos x="connsiteX7968" y="connsiteY7968"/>
                </a:cxn>
                <a:cxn ang="0">
                  <a:pos x="connsiteX7969" y="connsiteY7969"/>
                </a:cxn>
                <a:cxn ang="0">
                  <a:pos x="connsiteX7970" y="connsiteY7970"/>
                </a:cxn>
                <a:cxn ang="0">
                  <a:pos x="connsiteX7971" y="connsiteY7971"/>
                </a:cxn>
                <a:cxn ang="0">
                  <a:pos x="connsiteX7972" y="connsiteY7972"/>
                </a:cxn>
                <a:cxn ang="0">
                  <a:pos x="connsiteX7973" y="connsiteY7973"/>
                </a:cxn>
                <a:cxn ang="0">
                  <a:pos x="connsiteX7974" y="connsiteY7974"/>
                </a:cxn>
                <a:cxn ang="0">
                  <a:pos x="connsiteX7975" y="connsiteY7975"/>
                </a:cxn>
                <a:cxn ang="0">
                  <a:pos x="connsiteX7976" y="connsiteY7976"/>
                </a:cxn>
                <a:cxn ang="0">
                  <a:pos x="connsiteX7977" y="connsiteY7977"/>
                </a:cxn>
                <a:cxn ang="0">
                  <a:pos x="connsiteX7978" y="connsiteY7978"/>
                </a:cxn>
                <a:cxn ang="0">
                  <a:pos x="connsiteX7979" y="connsiteY7979"/>
                </a:cxn>
                <a:cxn ang="0">
                  <a:pos x="connsiteX7980" y="connsiteY7980"/>
                </a:cxn>
                <a:cxn ang="0">
                  <a:pos x="connsiteX7981" y="connsiteY7981"/>
                </a:cxn>
                <a:cxn ang="0">
                  <a:pos x="connsiteX7982" y="connsiteY7982"/>
                </a:cxn>
                <a:cxn ang="0">
                  <a:pos x="connsiteX7983" y="connsiteY7983"/>
                </a:cxn>
                <a:cxn ang="0">
                  <a:pos x="connsiteX7984" y="connsiteY7984"/>
                </a:cxn>
                <a:cxn ang="0">
                  <a:pos x="connsiteX7985" y="connsiteY7985"/>
                </a:cxn>
                <a:cxn ang="0">
                  <a:pos x="connsiteX7986" y="connsiteY7986"/>
                </a:cxn>
                <a:cxn ang="0">
                  <a:pos x="connsiteX7987" y="connsiteY7987"/>
                </a:cxn>
                <a:cxn ang="0">
                  <a:pos x="connsiteX7988" y="connsiteY7988"/>
                </a:cxn>
                <a:cxn ang="0">
                  <a:pos x="connsiteX7989" y="connsiteY7989"/>
                </a:cxn>
                <a:cxn ang="0">
                  <a:pos x="connsiteX7990" y="connsiteY7990"/>
                </a:cxn>
                <a:cxn ang="0">
                  <a:pos x="connsiteX7991" y="connsiteY7991"/>
                </a:cxn>
                <a:cxn ang="0">
                  <a:pos x="connsiteX7992" y="connsiteY7992"/>
                </a:cxn>
                <a:cxn ang="0">
                  <a:pos x="connsiteX7993" y="connsiteY7993"/>
                </a:cxn>
                <a:cxn ang="0">
                  <a:pos x="connsiteX7994" y="connsiteY7994"/>
                </a:cxn>
                <a:cxn ang="0">
                  <a:pos x="connsiteX7995" y="connsiteY7995"/>
                </a:cxn>
                <a:cxn ang="0">
                  <a:pos x="connsiteX7996" y="connsiteY7996"/>
                </a:cxn>
                <a:cxn ang="0">
                  <a:pos x="connsiteX7997" y="connsiteY7997"/>
                </a:cxn>
                <a:cxn ang="0">
                  <a:pos x="connsiteX7998" y="connsiteY7998"/>
                </a:cxn>
                <a:cxn ang="0">
                  <a:pos x="connsiteX7999" y="connsiteY7999"/>
                </a:cxn>
                <a:cxn ang="0">
                  <a:pos x="connsiteX8000" y="connsiteY8000"/>
                </a:cxn>
                <a:cxn ang="0">
                  <a:pos x="connsiteX8001" y="connsiteY8001"/>
                </a:cxn>
                <a:cxn ang="0">
                  <a:pos x="connsiteX8002" y="connsiteY8002"/>
                </a:cxn>
                <a:cxn ang="0">
                  <a:pos x="connsiteX8003" y="connsiteY8003"/>
                </a:cxn>
                <a:cxn ang="0">
                  <a:pos x="connsiteX8004" y="connsiteY8004"/>
                </a:cxn>
                <a:cxn ang="0">
                  <a:pos x="connsiteX8005" y="connsiteY8005"/>
                </a:cxn>
                <a:cxn ang="0">
                  <a:pos x="connsiteX8006" y="connsiteY8006"/>
                </a:cxn>
                <a:cxn ang="0">
                  <a:pos x="connsiteX8007" y="connsiteY8007"/>
                </a:cxn>
                <a:cxn ang="0">
                  <a:pos x="connsiteX8008" y="connsiteY8008"/>
                </a:cxn>
                <a:cxn ang="0">
                  <a:pos x="connsiteX8009" y="connsiteY8009"/>
                </a:cxn>
                <a:cxn ang="0">
                  <a:pos x="connsiteX8010" y="connsiteY8010"/>
                </a:cxn>
                <a:cxn ang="0">
                  <a:pos x="connsiteX8011" y="connsiteY8011"/>
                </a:cxn>
                <a:cxn ang="0">
                  <a:pos x="connsiteX8012" y="connsiteY8012"/>
                </a:cxn>
                <a:cxn ang="0">
                  <a:pos x="connsiteX8013" y="connsiteY8013"/>
                </a:cxn>
                <a:cxn ang="0">
                  <a:pos x="connsiteX8014" y="connsiteY8014"/>
                </a:cxn>
                <a:cxn ang="0">
                  <a:pos x="connsiteX8015" y="connsiteY8015"/>
                </a:cxn>
                <a:cxn ang="0">
                  <a:pos x="connsiteX8016" y="connsiteY8016"/>
                </a:cxn>
                <a:cxn ang="0">
                  <a:pos x="connsiteX8017" y="connsiteY8017"/>
                </a:cxn>
                <a:cxn ang="0">
                  <a:pos x="connsiteX8018" y="connsiteY8018"/>
                </a:cxn>
                <a:cxn ang="0">
                  <a:pos x="connsiteX8019" y="connsiteY8019"/>
                </a:cxn>
                <a:cxn ang="0">
                  <a:pos x="connsiteX8020" y="connsiteY8020"/>
                </a:cxn>
                <a:cxn ang="0">
                  <a:pos x="connsiteX8021" y="connsiteY8021"/>
                </a:cxn>
                <a:cxn ang="0">
                  <a:pos x="connsiteX8022" y="connsiteY8022"/>
                </a:cxn>
                <a:cxn ang="0">
                  <a:pos x="connsiteX8023" y="connsiteY8023"/>
                </a:cxn>
                <a:cxn ang="0">
                  <a:pos x="connsiteX8024" y="connsiteY8024"/>
                </a:cxn>
                <a:cxn ang="0">
                  <a:pos x="connsiteX8025" y="connsiteY8025"/>
                </a:cxn>
                <a:cxn ang="0">
                  <a:pos x="connsiteX8026" y="connsiteY8026"/>
                </a:cxn>
                <a:cxn ang="0">
                  <a:pos x="connsiteX8027" y="connsiteY8027"/>
                </a:cxn>
                <a:cxn ang="0">
                  <a:pos x="connsiteX8028" y="connsiteY8028"/>
                </a:cxn>
                <a:cxn ang="0">
                  <a:pos x="connsiteX8029" y="connsiteY8029"/>
                </a:cxn>
                <a:cxn ang="0">
                  <a:pos x="connsiteX8030" y="connsiteY8030"/>
                </a:cxn>
                <a:cxn ang="0">
                  <a:pos x="connsiteX8031" y="connsiteY8031"/>
                </a:cxn>
                <a:cxn ang="0">
                  <a:pos x="connsiteX8032" y="connsiteY8032"/>
                </a:cxn>
                <a:cxn ang="0">
                  <a:pos x="connsiteX8033" y="connsiteY8033"/>
                </a:cxn>
                <a:cxn ang="0">
                  <a:pos x="connsiteX8034" y="connsiteY8034"/>
                </a:cxn>
                <a:cxn ang="0">
                  <a:pos x="connsiteX8035" y="connsiteY8035"/>
                </a:cxn>
                <a:cxn ang="0">
                  <a:pos x="connsiteX8036" y="connsiteY8036"/>
                </a:cxn>
                <a:cxn ang="0">
                  <a:pos x="connsiteX8037" y="connsiteY8037"/>
                </a:cxn>
                <a:cxn ang="0">
                  <a:pos x="connsiteX8038" y="connsiteY8038"/>
                </a:cxn>
                <a:cxn ang="0">
                  <a:pos x="connsiteX8039" y="connsiteY8039"/>
                </a:cxn>
                <a:cxn ang="0">
                  <a:pos x="connsiteX8040" y="connsiteY8040"/>
                </a:cxn>
                <a:cxn ang="0">
                  <a:pos x="connsiteX8041" y="connsiteY8041"/>
                </a:cxn>
                <a:cxn ang="0">
                  <a:pos x="connsiteX8042" y="connsiteY8042"/>
                </a:cxn>
                <a:cxn ang="0">
                  <a:pos x="connsiteX8043" y="connsiteY8043"/>
                </a:cxn>
                <a:cxn ang="0">
                  <a:pos x="connsiteX8044" y="connsiteY8044"/>
                </a:cxn>
                <a:cxn ang="0">
                  <a:pos x="connsiteX8045" y="connsiteY8045"/>
                </a:cxn>
                <a:cxn ang="0">
                  <a:pos x="connsiteX8046" y="connsiteY8046"/>
                </a:cxn>
                <a:cxn ang="0">
                  <a:pos x="connsiteX8047" y="connsiteY8047"/>
                </a:cxn>
                <a:cxn ang="0">
                  <a:pos x="connsiteX8048" y="connsiteY8048"/>
                </a:cxn>
                <a:cxn ang="0">
                  <a:pos x="connsiteX8049" y="connsiteY8049"/>
                </a:cxn>
                <a:cxn ang="0">
                  <a:pos x="connsiteX8050" y="connsiteY8050"/>
                </a:cxn>
                <a:cxn ang="0">
                  <a:pos x="connsiteX8051" y="connsiteY8051"/>
                </a:cxn>
                <a:cxn ang="0">
                  <a:pos x="connsiteX8052" y="connsiteY8052"/>
                </a:cxn>
                <a:cxn ang="0">
                  <a:pos x="connsiteX8053" y="connsiteY8053"/>
                </a:cxn>
                <a:cxn ang="0">
                  <a:pos x="connsiteX8054" y="connsiteY8054"/>
                </a:cxn>
                <a:cxn ang="0">
                  <a:pos x="connsiteX8055" y="connsiteY8055"/>
                </a:cxn>
                <a:cxn ang="0">
                  <a:pos x="connsiteX8056" y="connsiteY8056"/>
                </a:cxn>
                <a:cxn ang="0">
                  <a:pos x="connsiteX8057" y="connsiteY8057"/>
                </a:cxn>
                <a:cxn ang="0">
                  <a:pos x="connsiteX8058" y="connsiteY8058"/>
                </a:cxn>
                <a:cxn ang="0">
                  <a:pos x="connsiteX8059" y="connsiteY8059"/>
                </a:cxn>
                <a:cxn ang="0">
                  <a:pos x="connsiteX8060" y="connsiteY8060"/>
                </a:cxn>
                <a:cxn ang="0">
                  <a:pos x="connsiteX8061" y="connsiteY8061"/>
                </a:cxn>
                <a:cxn ang="0">
                  <a:pos x="connsiteX8062" y="connsiteY8062"/>
                </a:cxn>
                <a:cxn ang="0">
                  <a:pos x="connsiteX8063" y="connsiteY8063"/>
                </a:cxn>
                <a:cxn ang="0">
                  <a:pos x="connsiteX8064" y="connsiteY8064"/>
                </a:cxn>
                <a:cxn ang="0">
                  <a:pos x="connsiteX8065" y="connsiteY8065"/>
                </a:cxn>
                <a:cxn ang="0">
                  <a:pos x="connsiteX8066" y="connsiteY8066"/>
                </a:cxn>
                <a:cxn ang="0">
                  <a:pos x="connsiteX8067" y="connsiteY8067"/>
                </a:cxn>
                <a:cxn ang="0">
                  <a:pos x="connsiteX8068" y="connsiteY8068"/>
                </a:cxn>
                <a:cxn ang="0">
                  <a:pos x="connsiteX8069" y="connsiteY8069"/>
                </a:cxn>
                <a:cxn ang="0">
                  <a:pos x="connsiteX8070" y="connsiteY8070"/>
                </a:cxn>
                <a:cxn ang="0">
                  <a:pos x="connsiteX8071" y="connsiteY8071"/>
                </a:cxn>
                <a:cxn ang="0">
                  <a:pos x="connsiteX8072" y="connsiteY8072"/>
                </a:cxn>
                <a:cxn ang="0">
                  <a:pos x="connsiteX8073" y="connsiteY8073"/>
                </a:cxn>
                <a:cxn ang="0">
                  <a:pos x="connsiteX8074" y="connsiteY8074"/>
                </a:cxn>
                <a:cxn ang="0">
                  <a:pos x="connsiteX8075" y="connsiteY8075"/>
                </a:cxn>
                <a:cxn ang="0">
                  <a:pos x="connsiteX8076" y="connsiteY8076"/>
                </a:cxn>
                <a:cxn ang="0">
                  <a:pos x="connsiteX8077" y="connsiteY8077"/>
                </a:cxn>
                <a:cxn ang="0">
                  <a:pos x="connsiteX8078" y="connsiteY8078"/>
                </a:cxn>
                <a:cxn ang="0">
                  <a:pos x="connsiteX8079" y="connsiteY8079"/>
                </a:cxn>
                <a:cxn ang="0">
                  <a:pos x="connsiteX8080" y="connsiteY8080"/>
                </a:cxn>
                <a:cxn ang="0">
                  <a:pos x="connsiteX8081" y="connsiteY8081"/>
                </a:cxn>
                <a:cxn ang="0">
                  <a:pos x="connsiteX8082" y="connsiteY8082"/>
                </a:cxn>
                <a:cxn ang="0">
                  <a:pos x="connsiteX8083" y="connsiteY8083"/>
                </a:cxn>
                <a:cxn ang="0">
                  <a:pos x="connsiteX8084" y="connsiteY8084"/>
                </a:cxn>
                <a:cxn ang="0">
                  <a:pos x="connsiteX8085" y="connsiteY8085"/>
                </a:cxn>
                <a:cxn ang="0">
                  <a:pos x="connsiteX8086" y="connsiteY8086"/>
                </a:cxn>
                <a:cxn ang="0">
                  <a:pos x="connsiteX8087" y="connsiteY8087"/>
                </a:cxn>
                <a:cxn ang="0">
                  <a:pos x="connsiteX8088" y="connsiteY8088"/>
                </a:cxn>
                <a:cxn ang="0">
                  <a:pos x="connsiteX8089" y="connsiteY8089"/>
                </a:cxn>
                <a:cxn ang="0">
                  <a:pos x="connsiteX8090" y="connsiteY8090"/>
                </a:cxn>
                <a:cxn ang="0">
                  <a:pos x="connsiteX8091" y="connsiteY8091"/>
                </a:cxn>
                <a:cxn ang="0">
                  <a:pos x="connsiteX8092" y="connsiteY8092"/>
                </a:cxn>
                <a:cxn ang="0">
                  <a:pos x="connsiteX8093" y="connsiteY8093"/>
                </a:cxn>
                <a:cxn ang="0">
                  <a:pos x="connsiteX8094" y="connsiteY8094"/>
                </a:cxn>
                <a:cxn ang="0">
                  <a:pos x="connsiteX8095" y="connsiteY8095"/>
                </a:cxn>
                <a:cxn ang="0">
                  <a:pos x="connsiteX8096" y="connsiteY8096"/>
                </a:cxn>
                <a:cxn ang="0">
                  <a:pos x="connsiteX8097" y="connsiteY8097"/>
                </a:cxn>
                <a:cxn ang="0">
                  <a:pos x="connsiteX8098" y="connsiteY8098"/>
                </a:cxn>
                <a:cxn ang="0">
                  <a:pos x="connsiteX8099" y="connsiteY8099"/>
                </a:cxn>
                <a:cxn ang="0">
                  <a:pos x="connsiteX8100" y="connsiteY8100"/>
                </a:cxn>
                <a:cxn ang="0">
                  <a:pos x="connsiteX8101" y="connsiteY8101"/>
                </a:cxn>
                <a:cxn ang="0">
                  <a:pos x="connsiteX8102" y="connsiteY8102"/>
                </a:cxn>
                <a:cxn ang="0">
                  <a:pos x="connsiteX8103" y="connsiteY8103"/>
                </a:cxn>
                <a:cxn ang="0">
                  <a:pos x="connsiteX8104" y="connsiteY8104"/>
                </a:cxn>
                <a:cxn ang="0">
                  <a:pos x="connsiteX8105" y="connsiteY8105"/>
                </a:cxn>
                <a:cxn ang="0">
                  <a:pos x="connsiteX8106" y="connsiteY8106"/>
                </a:cxn>
                <a:cxn ang="0">
                  <a:pos x="connsiteX8107" y="connsiteY8107"/>
                </a:cxn>
                <a:cxn ang="0">
                  <a:pos x="connsiteX8108" y="connsiteY8108"/>
                </a:cxn>
                <a:cxn ang="0">
                  <a:pos x="connsiteX8109" y="connsiteY8109"/>
                </a:cxn>
                <a:cxn ang="0">
                  <a:pos x="connsiteX8110" y="connsiteY8110"/>
                </a:cxn>
                <a:cxn ang="0">
                  <a:pos x="connsiteX8111" y="connsiteY8111"/>
                </a:cxn>
                <a:cxn ang="0">
                  <a:pos x="connsiteX8112" y="connsiteY8112"/>
                </a:cxn>
                <a:cxn ang="0">
                  <a:pos x="connsiteX8113" y="connsiteY8113"/>
                </a:cxn>
                <a:cxn ang="0">
                  <a:pos x="connsiteX8114" y="connsiteY8114"/>
                </a:cxn>
                <a:cxn ang="0">
                  <a:pos x="connsiteX8115" y="connsiteY8115"/>
                </a:cxn>
                <a:cxn ang="0">
                  <a:pos x="connsiteX8116" y="connsiteY8116"/>
                </a:cxn>
                <a:cxn ang="0">
                  <a:pos x="connsiteX8117" y="connsiteY8117"/>
                </a:cxn>
                <a:cxn ang="0">
                  <a:pos x="connsiteX8118" y="connsiteY8118"/>
                </a:cxn>
                <a:cxn ang="0">
                  <a:pos x="connsiteX8119" y="connsiteY8119"/>
                </a:cxn>
                <a:cxn ang="0">
                  <a:pos x="connsiteX8120" y="connsiteY8120"/>
                </a:cxn>
                <a:cxn ang="0">
                  <a:pos x="connsiteX8121" y="connsiteY8121"/>
                </a:cxn>
                <a:cxn ang="0">
                  <a:pos x="connsiteX8122" y="connsiteY8122"/>
                </a:cxn>
                <a:cxn ang="0">
                  <a:pos x="connsiteX8123" y="connsiteY8123"/>
                </a:cxn>
                <a:cxn ang="0">
                  <a:pos x="connsiteX8124" y="connsiteY8124"/>
                </a:cxn>
                <a:cxn ang="0">
                  <a:pos x="connsiteX8125" y="connsiteY8125"/>
                </a:cxn>
                <a:cxn ang="0">
                  <a:pos x="connsiteX8126" y="connsiteY8126"/>
                </a:cxn>
                <a:cxn ang="0">
                  <a:pos x="connsiteX8127" y="connsiteY8127"/>
                </a:cxn>
                <a:cxn ang="0">
                  <a:pos x="connsiteX8128" y="connsiteY8128"/>
                </a:cxn>
                <a:cxn ang="0">
                  <a:pos x="connsiteX8129" y="connsiteY8129"/>
                </a:cxn>
                <a:cxn ang="0">
                  <a:pos x="connsiteX8130" y="connsiteY8130"/>
                </a:cxn>
                <a:cxn ang="0">
                  <a:pos x="connsiteX8131" y="connsiteY8131"/>
                </a:cxn>
                <a:cxn ang="0">
                  <a:pos x="connsiteX8132" y="connsiteY8132"/>
                </a:cxn>
                <a:cxn ang="0">
                  <a:pos x="connsiteX8133" y="connsiteY8133"/>
                </a:cxn>
                <a:cxn ang="0">
                  <a:pos x="connsiteX8134" y="connsiteY8134"/>
                </a:cxn>
                <a:cxn ang="0">
                  <a:pos x="connsiteX8135" y="connsiteY8135"/>
                </a:cxn>
                <a:cxn ang="0">
                  <a:pos x="connsiteX8136" y="connsiteY8136"/>
                </a:cxn>
                <a:cxn ang="0">
                  <a:pos x="connsiteX8137" y="connsiteY8137"/>
                </a:cxn>
                <a:cxn ang="0">
                  <a:pos x="connsiteX8138" y="connsiteY8138"/>
                </a:cxn>
                <a:cxn ang="0">
                  <a:pos x="connsiteX8139" y="connsiteY8139"/>
                </a:cxn>
                <a:cxn ang="0">
                  <a:pos x="connsiteX8140" y="connsiteY8140"/>
                </a:cxn>
                <a:cxn ang="0">
                  <a:pos x="connsiteX8141" y="connsiteY8141"/>
                </a:cxn>
                <a:cxn ang="0">
                  <a:pos x="connsiteX8142" y="connsiteY8142"/>
                </a:cxn>
                <a:cxn ang="0">
                  <a:pos x="connsiteX8143" y="connsiteY8143"/>
                </a:cxn>
                <a:cxn ang="0">
                  <a:pos x="connsiteX8144" y="connsiteY8144"/>
                </a:cxn>
                <a:cxn ang="0">
                  <a:pos x="connsiteX8145" y="connsiteY8145"/>
                </a:cxn>
                <a:cxn ang="0">
                  <a:pos x="connsiteX8146" y="connsiteY8146"/>
                </a:cxn>
                <a:cxn ang="0">
                  <a:pos x="connsiteX8147" y="connsiteY8147"/>
                </a:cxn>
                <a:cxn ang="0">
                  <a:pos x="connsiteX8148" y="connsiteY8148"/>
                </a:cxn>
                <a:cxn ang="0">
                  <a:pos x="connsiteX8149" y="connsiteY8149"/>
                </a:cxn>
                <a:cxn ang="0">
                  <a:pos x="connsiteX8150" y="connsiteY8150"/>
                </a:cxn>
                <a:cxn ang="0">
                  <a:pos x="connsiteX8151" y="connsiteY8151"/>
                </a:cxn>
                <a:cxn ang="0">
                  <a:pos x="connsiteX8152" y="connsiteY8152"/>
                </a:cxn>
                <a:cxn ang="0">
                  <a:pos x="connsiteX8153" y="connsiteY8153"/>
                </a:cxn>
                <a:cxn ang="0">
                  <a:pos x="connsiteX8154" y="connsiteY8154"/>
                </a:cxn>
                <a:cxn ang="0">
                  <a:pos x="connsiteX8155" y="connsiteY8155"/>
                </a:cxn>
                <a:cxn ang="0">
                  <a:pos x="connsiteX8156" y="connsiteY8156"/>
                </a:cxn>
                <a:cxn ang="0">
                  <a:pos x="connsiteX8157" y="connsiteY8157"/>
                </a:cxn>
                <a:cxn ang="0">
                  <a:pos x="connsiteX8158" y="connsiteY8158"/>
                </a:cxn>
                <a:cxn ang="0">
                  <a:pos x="connsiteX8159" y="connsiteY8159"/>
                </a:cxn>
                <a:cxn ang="0">
                  <a:pos x="connsiteX8160" y="connsiteY8160"/>
                </a:cxn>
                <a:cxn ang="0">
                  <a:pos x="connsiteX8161" y="connsiteY8161"/>
                </a:cxn>
                <a:cxn ang="0">
                  <a:pos x="connsiteX8162" y="connsiteY8162"/>
                </a:cxn>
                <a:cxn ang="0">
                  <a:pos x="connsiteX8163" y="connsiteY8163"/>
                </a:cxn>
                <a:cxn ang="0">
                  <a:pos x="connsiteX8164" y="connsiteY8164"/>
                </a:cxn>
                <a:cxn ang="0">
                  <a:pos x="connsiteX8165" y="connsiteY8165"/>
                </a:cxn>
                <a:cxn ang="0">
                  <a:pos x="connsiteX8166" y="connsiteY8166"/>
                </a:cxn>
                <a:cxn ang="0">
                  <a:pos x="connsiteX8167" y="connsiteY8167"/>
                </a:cxn>
                <a:cxn ang="0">
                  <a:pos x="connsiteX8168" y="connsiteY8168"/>
                </a:cxn>
                <a:cxn ang="0">
                  <a:pos x="connsiteX8169" y="connsiteY8169"/>
                </a:cxn>
                <a:cxn ang="0">
                  <a:pos x="connsiteX8170" y="connsiteY8170"/>
                </a:cxn>
                <a:cxn ang="0">
                  <a:pos x="connsiteX8171" y="connsiteY8171"/>
                </a:cxn>
                <a:cxn ang="0">
                  <a:pos x="connsiteX8172" y="connsiteY8172"/>
                </a:cxn>
                <a:cxn ang="0">
                  <a:pos x="connsiteX8173" y="connsiteY8173"/>
                </a:cxn>
                <a:cxn ang="0">
                  <a:pos x="connsiteX8174" y="connsiteY8174"/>
                </a:cxn>
                <a:cxn ang="0">
                  <a:pos x="connsiteX8175" y="connsiteY8175"/>
                </a:cxn>
                <a:cxn ang="0">
                  <a:pos x="connsiteX8176" y="connsiteY8176"/>
                </a:cxn>
                <a:cxn ang="0">
                  <a:pos x="connsiteX8177" y="connsiteY8177"/>
                </a:cxn>
                <a:cxn ang="0">
                  <a:pos x="connsiteX8178" y="connsiteY8178"/>
                </a:cxn>
                <a:cxn ang="0">
                  <a:pos x="connsiteX8179" y="connsiteY8179"/>
                </a:cxn>
                <a:cxn ang="0">
                  <a:pos x="connsiteX8180" y="connsiteY8180"/>
                </a:cxn>
                <a:cxn ang="0">
                  <a:pos x="connsiteX8181" y="connsiteY8181"/>
                </a:cxn>
                <a:cxn ang="0">
                  <a:pos x="connsiteX8182" y="connsiteY8182"/>
                </a:cxn>
                <a:cxn ang="0">
                  <a:pos x="connsiteX8183" y="connsiteY8183"/>
                </a:cxn>
                <a:cxn ang="0">
                  <a:pos x="connsiteX8184" y="connsiteY8184"/>
                </a:cxn>
                <a:cxn ang="0">
                  <a:pos x="connsiteX8185" y="connsiteY8185"/>
                </a:cxn>
                <a:cxn ang="0">
                  <a:pos x="connsiteX8186" y="connsiteY8186"/>
                </a:cxn>
                <a:cxn ang="0">
                  <a:pos x="connsiteX8187" y="connsiteY8187"/>
                </a:cxn>
                <a:cxn ang="0">
                  <a:pos x="connsiteX8188" y="connsiteY8188"/>
                </a:cxn>
                <a:cxn ang="0">
                  <a:pos x="connsiteX8189" y="connsiteY8189"/>
                </a:cxn>
                <a:cxn ang="0">
                  <a:pos x="connsiteX8190" y="connsiteY8190"/>
                </a:cxn>
                <a:cxn ang="0">
                  <a:pos x="connsiteX8191" y="connsiteY8191"/>
                </a:cxn>
                <a:cxn ang="0">
                  <a:pos x="connsiteX8192" y="connsiteY8192"/>
                </a:cxn>
                <a:cxn ang="0">
                  <a:pos x="connsiteX8193" y="connsiteY8193"/>
                </a:cxn>
                <a:cxn ang="0">
                  <a:pos x="connsiteX8194" y="connsiteY8194"/>
                </a:cxn>
                <a:cxn ang="0">
                  <a:pos x="connsiteX8195" y="connsiteY8195"/>
                </a:cxn>
                <a:cxn ang="0">
                  <a:pos x="connsiteX8196" y="connsiteY8196"/>
                </a:cxn>
                <a:cxn ang="0">
                  <a:pos x="connsiteX8197" y="connsiteY8197"/>
                </a:cxn>
                <a:cxn ang="0">
                  <a:pos x="connsiteX8198" y="connsiteY8198"/>
                </a:cxn>
                <a:cxn ang="0">
                  <a:pos x="connsiteX8199" y="connsiteY8199"/>
                </a:cxn>
                <a:cxn ang="0">
                  <a:pos x="connsiteX8200" y="connsiteY8200"/>
                </a:cxn>
                <a:cxn ang="0">
                  <a:pos x="connsiteX8201" y="connsiteY8201"/>
                </a:cxn>
                <a:cxn ang="0">
                  <a:pos x="connsiteX8202" y="connsiteY8202"/>
                </a:cxn>
                <a:cxn ang="0">
                  <a:pos x="connsiteX8203" y="connsiteY8203"/>
                </a:cxn>
                <a:cxn ang="0">
                  <a:pos x="connsiteX8204" y="connsiteY8204"/>
                </a:cxn>
                <a:cxn ang="0">
                  <a:pos x="connsiteX8205" y="connsiteY8205"/>
                </a:cxn>
                <a:cxn ang="0">
                  <a:pos x="connsiteX8206" y="connsiteY8206"/>
                </a:cxn>
                <a:cxn ang="0">
                  <a:pos x="connsiteX8207" y="connsiteY8207"/>
                </a:cxn>
                <a:cxn ang="0">
                  <a:pos x="connsiteX8208" y="connsiteY8208"/>
                </a:cxn>
                <a:cxn ang="0">
                  <a:pos x="connsiteX8209" y="connsiteY8209"/>
                </a:cxn>
                <a:cxn ang="0">
                  <a:pos x="connsiteX8210" y="connsiteY8210"/>
                </a:cxn>
                <a:cxn ang="0">
                  <a:pos x="connsiteX8211" y="connsiteY8211"/>
                </a:cxn>
                <a:cxn ang="0">
                  <a:pos x="connsiteX8212" y="connsiteY8212"/>
                </a:cxn>
                <a:cxn ang="0">
                  <a:pos x="connsiteX8213" y="connsiteY8213"/>
                </a:cxn>
                <a:cxn ang="0">
                  <a:pos x="connsiteX8214" y="connsiteY8214"/>
                </a:cxn>
                <a:cxn ang="0">
                  <a:pos x="connsiteX8215" y="connsiteY8215"/>
                </a:cxn>
                <a:cxn ang="0">
                  <a:pos x="connsiteX8216" y="connsiteY8216"/>
                </a:cxn>
                <a:cxn ang="0">
                  <a:pos x="connsiteX8217" y="connsiteY8217"/>
                </a:cxn>
                <a:cxn ang="0">
                  <a:pos x="connsiteX8218" y="connsiteY8218"/>
                </a:cxn>
                <a:cxn ang="0">
                  <a:pos x="connsiteX8219" y="connsiteY8219"/>
                </a:cxn>
                <a:cxn ang="0">
                  <a:pos x="connsiteX8220" y="connsiteY8220"/>
                </a:cxn>
                <a:cxn ang="0">
                  <a:pos x="connsiteX8221" y="connsiteY8221"/>
                </a:cxn>
                <a:cxn ang="0">
                  <a:pos x="connsiteX8222" y="connsiteY8222"/>
                </a:cxn>
                <a:cxn ang="0">
                  <a:pos x="connsiteX8223" y="connsiteY8223"/>
                </a:cxn>
                <a:cxn ang="0">
                  <a:pos x="connsiteX8224" y="connsiteY8224"/>
                </a:cxn>
                <a:cxn ang="0">
                  <a:pos x="connsiteX8225" y="connsiteY8225"/>
                </a:cxn>
                <a:cxn ang="0">
                  <a:pos x="connsiteX8226" y="connsiteY8226"/>
                </a:cxn>
                <a:cxn ang="0">
                  <a:pos x="connsiteX8227" y="connsiteY8227"/>
                </a:cxn>
                <a:cxn ang="0">
                  <a:pos x="connsiteX8228" y="connsiteY8228"/>
                </a:cxn>
                <a:cxn ang="0">
                  <a:pos x="connsiteX8229" y="connsiteY8229"/>
                </a:cxn>
                <a:cxn ang="0">
                  <a:pos x="connsiteX8230" y="connsiteY8230"/>
                </a:cxn>
                <a:cxn ang="0">
                  <a:pos x="connsiteX8231" y="connsiteY8231"/>
                </a:cxn>
                <a:cxn ang="0">
                  <a:pos x="connsiteX8232" y="connsiteY8232"/>
                </a:cxn>
                <a:cxn ang="0">
                  <a:pos x="connsiteX8233" y="connsiteY8233"/>
                </a:cxn>
                <a:cxn ang="0">
                  <a:pos x="connsiteX8234" y="connsiteY8234"/>
                </a:cxn>
                <a:cxn ang="0">
                  <a:pos x="connsiteX8235" y="connsiteY8235"/>
                </a:cxn>
                <a:cxn ang="0">
                  <a:pos x="connsiteX8236" y="connsiteY8236"/>
                </a:cxn>
                <a:cxn ang="0">
                  <a:pos x="connsiteX8237" y="connsiteY8237"/>
                </a:cxn>
                <a:cxn ang="0">
                  <a:pos x="connsiteX8238" y="connsiteY8238"/>
                </a:cxn>
                <a:cxn ang="0">
                  <a:pos x="connsiteX8239" y="connsiteY8239"/>
                </a:cxn>
                <a:cxn ang="0">
                  <a:pos x="connsiteX8240" y="connsiteY8240"/>
                </a:cxn>
                <a:cxn ang="0">
                  <a:pos x="connsiteX8241" y="connsiteY8241"/>
                </a:cxn>
                <a:cxn ang="0">
                  <a:pos x="connsiteX8242" y="connsiteY8242"/>
                </a:cxn>
                <a:cxn ang="0">
                  <a:pos x="connsiteX8243" y="connsiteY8243"/>
                </a:cxn>
                <a:cxn ang="0">
                  <a:pos x="connsiteX8244" y="connsiteY8244"/>
                </a:cxn>
                <a:cxn ang="0">
                  <a:pos x="connsiteX8245" y="connsiteY8245"/>
                </a:cxn>
                <a:cxn ang="0">
                  <a:pos x="connsiteX8246" y="connsiteY8246"/>
                </a:cxn>
                <a:cxn ang="0">
                  <a:pos x="connsiteX8247" y="connsiteY8247"/>
                </a:cxn>
                <a:cxn ang="0">
                  <a:pos x="connsiteX8248" y="connsiteY8248"/>
                </a:cxn>
                <a:cxn ang="0">
                  <a:pos x="connsiteX8249" y="connsiteY8249"/>
                </a:cxn>
                <a:cxn ang="0">
                  <a:pos x="connsiteX8250" y="connsiteY8250"/>
                </a:cxn>
                <a:cxn ang="0">
                  <a:pos x="connsiteX8251" y="connsiteY8251"/>
                </a:cxn>
                <a:cxn ang="0">
                  <a:pos x="connsiteX8252" y="connsiteY8252"/>
                </a:cxn>
                <a:cxn ang="0">
                  <a:pos x="connsiteX8253" y="connsiteY8253"/>
                </a:cxn>
                <a:cxn ang="0">
                  <a:pos x="connsiteX8254" y="connsiteY8254"/>
                </a:cxn>
                <a:cxn ang="0">
                  <a:pos x="connsiteX8255" y="connsiteY8255"/>
                </a:cxn>
                <a:cxn ang="0">
                  <a:pos x="connsiteX8256" y="connsiteY8256"/>
                </a:cxn>
                <a:cxn ang="0">
                  <a:pos x="connsiteX8257" y="connsiteY8257"/>
                </a:cxn>
                <a:cxn ang="0">
                  <a:pos x="connsiteX8258" y="connsiteY8258"/>
                </a:cxn>
                <a:cxn ang="0">
                  <a:pos x="connsiteX8259" y="connsiteY8259"/>
                </a:cxn>
                <a:cxn ang="0">
                  <a:pos x="connsiteX8260" y="connsiteY8260"/>
                </a:cxn>
                <a:cxn ang="0">
                  <a:pos x="connsiteX8261" y="connsiteY8261"/>
                </a:cxn>
                <a:cxn ang="0">
                  <a:pos x="connsiteX8262" y="connsiteY8262"/>
                </a:cxn>
                <a:cxn ang="0">
                  <a:pos x="connsiteX8263" y="connsiteY8263"/>
                </a:cxn>
                <a:cxn ang="0">
                  <a:pos x="connsiteX8264" y="connsiteY8264"/>
                </a:cxn>
                <a:cxn ang="0">
                  <a:pos x="connsiteX8265" y="connsiteY8265"/>
                </a:cxn>
                <a:cxn ang="0">
                  <a:pos x="connsiteX8266" y="connsiteY8266"/>
                </a:cxn>
                <a:cxn ang="0">
                  <a:pos x="connsiteX8267" y="connsiteY8267"/>
                </a:cxn>
                <a:cxn ang="0">
                  <a:pos x="connsiteX8268" y="connsiteY8268"/>
                </a:cxn>
                <a:cxn ang="0">
                  <a:pos x="connsiteX8269" y="connsiteY8269"/>
                </a:cxn>
                <a:cxn ang="0">
                  <a:pos x="connsiteX8270" y="connsiteY8270"/>
                </a:cxn>
                <a:cxn ang="0">
                  <a:pos x="connsiteX8271" y="connsiteY8271"/>
                </a:cxn>
                <a:cxn ang="0">
                  <a:pos x="connsiteX8272" y="connsiteY8272"/>
                </a:cxn>
                <a:cxn ang="0">
                  <a:pos x="connsiteX8273" y="connsiteY8273"/>
                </a:cxn>
                <a:cxn ang="0">
                  <a:pos x="connsiteX8274" y="connsiteY8274"/>
                </a:cxn>
                <a:cxn ang="0">
                  <a:pos x="connsiteX8275" y="connsiteY8275"/>
                </a:cxn>
                <a:cxn ang="0">
                  <a:pos x="connsiteX8276" y="connsiteY8276"/>
                </a:cxn>
                <a:cxn ang="0">
                  <a:pos x="connsiteX8277" y="connsiteY8277"/>
                </a:cxn>
                <a:cxn ang="0">
                  <a:pos x="connsiteX8278" y="connsiteY8278"/>
                </a:cxn>
                <a:cxn ang="0">
                  <a:pos x="connsiteX8279" y="connsiteY8279"/>
                </a:cxn>
                <a:cxn ang="0">
                  <a:pos x="connsiteX8280" y="connsiteY8280"/>
                </a:cxn>
                <a:cxn ang="0">
                  <a:pos x="connsiteX8281" y="connsiteY8281"/>
                </a:cxn>
                <a:cxn ang="0">
                  <a:pos x="connsiteX8282" y="connsiteY8282"/>
                </a:cxn>
                <a:cxn ang="0">
                  <a:pos x="connsiteX8283" y="connsiteY8283"/>
                </a:cxn>
                <a:cxn ang="0">
                  <a:pos x="connsiteX8284" y="connsiteY8284"/>
                </a:cxn>
                <a:cxn ang="0">
                  <a:pos x="connsiteX8285" y="connsiteY8285"/>
                </a:cxn>
                <a:cxn ang="0">
                  <a:pos x="connsiteX8286" y="connsiteY8286"/>
                </a:cxn>
                <a:cxn ang="0">
                  <a:pos x="connsiteX8287" y="connsiteY8287"/>
                </a:cxn>
                <a:cxn ang="0">
                  <a:pos x="connsiteX8288" y="connsiteY8288"/>
                </a:cxn>
                <a:cxn ang="0">
                  <a:pos x="connsiteX8289" y="connsiteY8289"/>
                </a:cxn>
                <a:cxn ang="0">
                  <a:pos x="connsiteX8290" y="connsiteY8290"/>
                </a:cxn>
                <a:cxn ang="0">
                  <a:pos x="connsiteX8291" y="connsiteY8291"/>
                </a:cxn>
                <a:cxn ang="0">
                  <a:pos x="connsiteX8292" y="connsiteY8292"/>
                </a:cxn>
                <a:cxn ang="0">
                  <a:pos x="connsiteX8293" y="connsiteY8293"/>
                </a:cxn>
                <a:cxn ang="0">
                  <a:pos x="connsiteX8294" y="connsiteY8294"/>
                </a:cxn>
                <a:cxn ang="0">
                  <a:pos x="connsiteX8295" y="connsiteY8295"/>
                </a:cxn>
                <a:cxn ang="0">
                  <a:pos x="connsiteX8296" y="connsiteY8296"/>
                </a:cxn>
                <a:cxn ang="0">
                  <a:pos x="connsiteX8297" y="connsiteY8297"/>
                </a:cxn>
                <a:cxn ang="0">
                  <a:pos x="connsiteX8298" y="connsiteY8298"/>
                </a:cxn>
                <a:cxn ang="0">
                  <a:pos x="connsiteX8299" y="connsiteY8299"/>
                </a:cxn>
                <a:cxn ang="0">
                  <a:pos x="connsiteX8300" y="connsiteY8300"/>
                </a:cxn>
                <a:cxn ang="0">
                  <a:pos x="connsiteX8301" y="connsiteY8301"/>
                </a:cxn>
                <a:cxn ang="0">
                  <a:pos x="connsiteX8302" y="connsiteY8302"/>
                </a:cxn>
                <a:cxn ang="0">
                  <a:pos x="connsiteX8303" y="connsiteY8303"/>
                </a:cxn>
                <a:cxn ang="0">
                  <a:pos x="connsiteX8304" y="connsiteY8304"/>
                </a:cxn>
                <a:cxn ang="0">
                  <a:pos x="connsiteX8305" y="connsiteY8305"/>
                </a:cxn>
                <a:cxn ang="0">
                  <a:pos x="connsiteX8306" y="connsiteY8306"/>
                </a:cxn>
                <a:cxn ang="0">
                  <a:pos x="connsiteX8307" y="connsiteY8307"/>
                </a:cxn>
                <a:cxn ang="0">
                  <a:pos x="connsiteX8308" y="connsiteY8308"/>
                </a:cxn>
                <a:cxn ang="0">
                  <a:pos x="connsiteX8309" y="connsiteY8309"/>
                </a:cxn>
                <a:cxn ang="0">
                  <a:pos x="connsiteX8310" y="connsiteY8310"/>
                </a:cxn>
                <a:cxn ang="0">
                  <a:pos x="connsiteX8311" y="connsiteY8311"/>
                </a:cxn>
                <a:cxn ang="0">
                  <a:pos x="connsiteX8312" y="connsiteY8312"/>
                </a:cxn>
                <a:cxn ang="0">
                  <a:pos x="connsiteX8313" y="connsiteY8313"/>
                </a:cxn>
                <a:cxn ang="0">
                  <a:pos x="connsiteX8314" y="connsiteY8314"/>
                </a:cxn>
                <a:cxn ang="0">
                  <a:pos x="connsiteX8315" y="connsiteY8315"/>
                </a:cxn>
                <a:cxn ang="0">
                  <a:pos x="connsiteX8316" y="connsiteY8316"/>
                </a:cxn>
                <a:cxn ang="0">
                  <a:pos x="connsiteX8317" y="connsiteY8317"/>
                </a:cxn>
                <a:cxn ang="0">
                  <a:pos x="connsiteX8318" y="connsiteY8318"/>
                </a:cxn>
                <a:cxn ang="0">
                  <a:pos x="connsiteX8319" y="connsiteY8319"/>
                </a:cxn>
                <a:cxn ang="0">
                  <a:pos x="connsiteX8320" y="connsiteY8320"/>
                </a:cxn>
                <a:cxn ang="0">
                  <a:pos x="connsiteX8321" y="connsiteY8321"/>
                </a:cxn>
                <a:cxn ang="0">
                  <a:pos x="connsiteX8322" y="connsiteY8322"/>
                </a:cxn>
                <a:cxn ang="0">
                  <a:pos x="connsiteX8323" y="connsiteY8323"/>
                </a:cxn>
                <a:cxn ang="0">
                  <a:pos x="connsiteX8324" y="connsiteY8324"/>
                </a:cxn>
                <a:cxn ang="0">
                  <a:pos x="connsiteX8325" y="connsiteY8325"/>
                </a:cxn>
                <a:cxn ang="0">
                  <a:pos x="connsiteX8326" y="connsiteY8326"/>
                </a:cxn>
                <a:cxn ang="0">
                  <a:pos x="connsiteX8327" y="connsiteY8327"/>
                </a:cxn>
                <a:cxn ang="0">
                  <a:pos x="connsiteX8328" y="connsiteY8328"/>
                </a:cxn>
                <a:cxn ang="0">
                  <a:pos x="connsiteX8329" y="connsiteY8329"/>
                </a:cxn>
                <a:cxn ang="0">
                  <a:pos x="connsiteX8330" y="connsiteY8330"/>
                </a:cxn>
                <a:cxn ang="0">
                  <a:pos x="connsiteX8331" y="connsiteY8331"/>
                </a:cxn>
                <a:cxn ang="0">
                  <a:pos x="connsiteX8332" y="connsiteY8332"/>
                </a:cxn>
                <a:cxn ang="0">
                  <a:pos x="connsiteX8333" y="connsiteY8333"/>
                </a:cxn>
                <a:cxn ang="0">
                  <a:pos x="connsiteX8334" y="connsiteY8334"/>
                </a:cxn>
                <a:cxn ang="0">
                  <a:pos x="connsiteX8335" y="connsiteY8335"/>
                </a:cxn>
                <a:cxn ang="0">
                  <a:pos x="connsiteX8336" y="connsiteY8336"/>
                </a:cxn>
                <a:cxn ang="0">
                  <a:pos x="connsiteX8337" y="connsiteY8337"/>
                </a:cxn>
                <a:cxn ang="0">
                  <a:pos x="connsiteX8338" y="connsiteY8338"/>
                </a:cxn>
                <a:cxn ang="0">
                  <a:pos x="connsiteX8339" y="connsiteY8339"/>
                </a:cxn>
                <a:cxn ang="0">
                  <a:pos x="connsiteX8340" y="connsiteY8340"/>
                </a:cxn>
                <a:cxn ang="0">
                  <a:pos x="connsiteX8341" y="connsiteY8341"/>
                </a:cxn>
                <a:cxn ang="0">
                  <a:pos x="connsiteX8342" y="connsiteY8342"/>
                </a:cxn>
                <a:cxn ang="0">
                  <a:pos x="connsiteX8343" y="connsiteY8343"/>
                </a:cxn>
                <a:cxn ang="0">
                  <a:pos x="connsiteX8344" y="connsiteY8344"/>
                </a:cxn>
                <a:cxn ang="0">
                  <a:pos x="connsiteX8345" y="connsiteY8345"/>
                </a:cxn>
                <a:cxn ang="0">
                  <a:pos x="connsiteX8346" y="connsiteY8346"/>
                </a:cxn>
                <a:cxn ang="0">
                  <a:pos x="connsiteX8347" y="connsiteY8347"/>
                </a:cxn>
                <a:cxn ang="0">
                  <a:pos x="connsiteX8348" y="connsiteY8348"/>
                </a:cxn>
                <a:cxn ang="0">
                  <a:pos x="connsiteX8349" y="connsiteY8349"/>
                </a:cxn>
                <a:cxn ang="0">
                  <a:pos x="connsiteX8350" y="connsiteY8350"/>
                </a:cxn>
                <a:cxn ang="0">
                  <a:pos x="connsiteX8351" y="connsiteY8351"/>
                </a:cxn>
                <a:cxn ang="0">
                  <a:pos x="connsiteX8352" y="connsiteY8352"/>
                </a:cxn>
                <a:cxn ang="0">
                  <a:pos x="connsiteX8353" y="connsiteY8353"/>
                </a:cxn>
                <a:cxn ang="0">
                  <a:pos x="connsiteX8354" y="connsiteY8354"/>
                </a:cxn>
                <a:cxn ang="0">
                  <a:pos x="connsiteX8355" y="connsiteY8355"/>
                </a:cxn>
                <a:cxn ang="0">
                  <a:pos x="connsiteX8356" y="connsiteY8356"/>
                </a:cxn>
                <a:cxn ang="0">
                  <a:pos x="connsiteX8357" y="connsiteY8357"/>
                </a:cxn>
                <a:cxn ang="0">
                  <a:pos x="connsiteX8358" y="connsiteY8358"/>
                </a:cxn>
                <a:cxn ang="0">
                  <a:pos x="connsiteX8359" y="connsiteY8359"/>
                </a:cxn>
                <a:cxn ang="0">
                  <a:pos x="connsiteX8360" y="connsiteY8360"/>
                </a:cxn>
                <a:cxn ang="0">
                  <a:pos x="connsiteX8361" y="connsiteY8361"/>
                </a:cxn>
                <a:cxn ang="0">
                  <a:pos x="connsiteX8362" y="connsiteY8362"/>
                </a:cxn>
                <a:cxn ang="0">
                  <a:pos x="connsiteX8363" y="connsiteY8363"/>
                </a:cxn>
                <a:cxn ang="0">
                  <a:pos x="connsiteX8364" y="connsiteY8364"/>
                </a:cxn>
                <a:cxn ang="0">
                  <a:pos x="connsiteX8365" y="connsiteY8365"/>
                </a:cxn>
                <a:cxn ang="0">
                  <a:pos x="connsiteX8366" y="connsiteY8366"/>
                </a:cxn>
                <a:cxn ang="0">
                  <a:pos x="connsiteX8367" y="connsiteY8367"/>
                </a:cxn>
                <a:cxn ang="0">
                  <a:pos x="connsiteX8368" y="connsiteY8368"/>
                </a:cxn>
                <a:cxn ang="0">
                  <a:pos x="connsiteX8369" y="connsiteY8369"/>
                </a:cxn>
                <a:cxn ang="0">
                  <a:pos x="connsiteX8370" y="connsiteY8370"/>
                </a:cxn>
                <a:cxn ang="0">
                  <a:pos x="connsiteX8371" y="connsiteY8371"/>
                </a:cxn>
                <a:cxn ang="0">
                  <a:pos x="connsiteX8372" y="connsiteY8372"/>
                </a:cxn>
                <a:cxn ang="0">
                  <a:pos x="connsiteX8373" y="connsiteY8373"/>
                </a:cxn>
                <a:cxn ang="0">
                  <a:pos x="connsiteX8374" y="connsiteY8374"/>
                </a:cxn>
                <a:cxn ang="0">
                  <a:pos x="connsiteX8375" y="connsiteY8375"/>
                </a:cxn>
                <a:cxn ang="0">
                  <a:pos x="connsiteX8376" y="connsiteY8376"/>
                </a:cxn>
                <a:cxn ang="0">
                  <a:pos x="connsiteX8377" y="connsiteY8377"/>
                </a:cxn>
                <a:cxn ang="0">
                  <a:pos x="connsiteX8378" y="connsiteY8378"/>
                </a:cxn>
                <a:cxn ang="0">
                  <a:pos x="connsiteX8379" y="connsiteY8379"/>
                </a:cxn>
                <a:cxn ang="0">
                  <a:pos x="connsiteX8380" y="connsiteY8380"/>
                </a:cxn>
                <a:cxn ang="0">
                  <a:pos x="connsiteX8381" y="connsiteY8381"/>
                </a:cxn>
                <a:cxn ang="0">
                  <a:pos x="connsiteX8382" y="connsiteY8382"/>
                </a:cxn>
                <a:cxn ang="0">
                  <a:pos x="connsiteX8383" y="connsiteY8383"/>
                </a:cxn>
                <a:cxn ang="0">
                  <a:pos x="connsiteX8384" y="connsiteY8384"/>
                </a:cxn>
                <a:cxn ang="0">
                  <a:pos x="connsiteX8385" y="connsiteY8385"/>
                </a:cxn>
                <a:cxn ang="0">
                  <a:pos x="connsiteX8386" y="connsiteY8386"/>
                </a:cxn>
                <a:cxn ang="0">
                  <a:pos x="connsiteX8387" y="connsiteY8387"/>
                </a:cxn>
                <a:cxn ang="0">
                  <a:pos x="connsiteX8388" y="connsiteY8388"/>
                </a:cxn>
                <a:cxn ang="0">
                  <a:pos x="connsiteX8389" y="connsiteY8389"/>
                </a:cxn>
                <a:cxn ang="0">
                  <a:pos x="connsiteX8390" y="connsiteY8390"/>
                </a:cxn>
                <a:cxn ang="0">
                  <a:pos x="connsiteX8391" y="connsiteY8391"/>
                </a:cxn>
                <a:cxn ang="0">
                  <a:pos x="connsiteX8392" y="connsiteY8392"/>
                </a:cxn>
                <a:cxn ang="0">
                  <a:pos x="connsiteX8393" y="connsiteY8393"/>
                </a:cxn>
                <a:cxn ang="0">
                  <a:pos x="connsiteX8394" y="connsiteY8394"/>
                </a:cxn>
                <a:cxn ang="0">
                  <a:pos x="connsiteX8395" y="connsiteY8395"/>
                </a:cxn>
                <a:cxn ang="0">
                  <a:pos x="connsiteX8396" y="connsiteY8396"/>
                </a:cxn>
                <a:cxn ang="0">
                  <a:pos x="connsiteX8397" y="connsiteY8397"/>
                </a:cxn>
                <a:cxn ang="0">
                  <a:pos x="connsiteX8398" y="connsiteY8398"/>
                </a:cxn>
                <a:cxn ang="0">
                  <a:pos x="connsiteX8399" y="connsiteY8399"/>
                </a:cxn>
                <a:cxn ang="0">
                  <a:pos x="connsiteX8400" y="connsiteY8400"/>
                </a:cxn>
                <a:cxn ang="0">
                  <a:pos x="connsiteX8401" y="connsiteY8401"/>
                </a:cxn>
                <a:cxn ang="0">
                  <a:pos x="connsiteX8402" y="connsiteY8402"/>
                </a:cxn>
                <a:cxn ang="0">
                  <a:pos x="connsiteX8403" y="connsiteY8403"/>
                </a:cxn>
                <a:cxn ang="0">
                  <a:pos x="connsiteX8404" y="connsiteY8404"/>
                </a:cxn>
                <a:cxn ang="0">
                  <a:pos x="connsiteX8405" y="connsiteY8405"/>
                </a:cxn>
                <a:cxn ang="0">
                  <a:pos x="connsiteX8406" y="connsiteY8406"/>
                </a:cxn>
                <a:cxn ang="0">
                  <a:pos x="connsiteX8407" y="connsiteY8407"/>
                </a:cxn>
                <a:cxn ang="0">
                  <a:pos x="connsiteX8408" y="connsiteY8408"/>
                </a:cxn>
                <a:cxn ang="0">
                  <a:pos x="connsiteX8409" y="connsiteY8409"/>
                </a:cxn>
                <a:cxn ang="0">
                  <a:pos x="connsiteX8410" y="connsiteY8410"/>
                </a:cxn>
                <a:cxn ang="0">
                  <a:pos x="connsiteX8411" y="connsiteY8411"/>
                </a:cxn>
                <a:cxn ang="0">
                  <a:pos x="connsiteX8412" y="connsiteY8412"/>
                </a:cxn>
                <a:cxn ang="0">
                  <a:pos x="connsiteX8413" y="connsiteY8413"/>
                </a:cxn>
                <a:cxn ang="0">
                  <a:pos x="connsiteX8414" y="connsiteY8414"/>
                </a:cxn>
                <a:cxn ang="0">
                  <a:pos x="connsiteX8415" y="connsiteY8415"/>
                </a:cxn>
                <a:cxn ang="0">
                  <a:pos x="connsiteX8416" y="connsiteY8416"/>
                </a:cxn>
                <a:cxn ang="0">
                  <a:pos x="connsiteX8417" y="connsiteY8417"/>
                </a:cxn>
                <a:cxn ang="0">
                  <a:pos x="connsiteX8418" y="connsiteY8418"/>
                </a:cxn>
                <a:cxn ang="0">
                  <a:pos x="connsiteX8419" y="connsiteY8419"/>
                </a:cxn>
                <a:cxn ang="0">
                  <a:pos x="connsiteX8420" y="connsiteY8420"/>
                </a:cxn>
                <a:cxn ang="0">
                  <a:pos x="connsiteX8421" y="connsiteY8421"/>
                </a:cxn>
                <a:cxn ang="0">
                  <a:pos x="connsiteX8422" y="connsiteY8422"/>
                </a:cxn>
                <a:cxn ang="0">
                  <a:pos x="connsiteX8423" y="connsiteY8423"/>
                </a:cxn>
                <a:cxn ang="0">
                  <a:pos x="connsiteX8424" y="connsiteY8424"/>
                </a:cxn>
                <a:cxn ang="0">
                  <a:pos x="connsiteX8425" y="connsiteY8425"/>
                </a:cxn>
                <a:cxn ang="0">
                  <a:pos x="connsiteX8426" y="connsiteY8426"/>
                </a:cxn>
                <a:cxn ang="0">
                  <a:pos x="connsiteX8427" y="connsiteY8427"/>
                </a:cxn>
                <a:cxn ang="0">
                  <a:pos x="connsiteX8428" y="connsiteY8428"/>
                </a:cxn>
                <a:cxn ang="0">
                  <a:pos x="connsiteX8429" y="connsiteY8429"/>
                </a:cxn>
                <a:cxn ang="0">
                  <a:pos x="connsiteX8430" y="connsiteY8430"/>
                </a:cxn>
                <a:cxn ang="0">
                  <a:pos x="connsiteX8431" y="connsiteY8431"/>
                </a:cxn>
                <a:cxn ang="0">
                  <a:pos x="connsiteX8432" y="connsiteY8432"/>
                </a:cxn>
                <a:cxn ang="0">
                  <a:pos x="connsiteX8433" y="connsiteY8433"/>
                </a:cxn>
                <a:cxn ang="0">
                  <a:pos x="connsiteX8434" y="connsiteY8434"/>
                </a:cxn>
                <a:cxn ang="0">
                  <a:pos x="connsiteX8435" y="connsiteY8435"/>
                </a:cxn>
                <a:cxn ang="0">
                  <a:pos x="connsiteX8436" y="connsiteY8436"/>
                </a:cxn>
                <a:cxn ang="0">
                  <a:pos x="connsiteX8437" y="connsiteY8437"/>
                </a:cxn>
                <a:cxn ang="0">
                  <a:pos x="connsiteX8438" y="connsiteY8438"/>
                </a:cxn>
                <a:cxn ang="0">
                  <a:pos x="connsiteX8439" y="connsiteY8439"/>
                </a:cxn>
                <a:cxn ang="0">
                  <a:pos x="connsiteX8440" y="connsiteY8440"/>
                </a:cxn>
                <a:cxn ang="0">
                  <a:pos x="connsiteX8441" y="connsiteY8441"/>
                </a:cxn>
                <a:cxn ang="0">
                  <a:pos x="connsiteX8442" y="connsiteY8442"/>
                </a:cxn>
                <a:cxn ang="0">
                  <a:pos x="connsiteX8443" y="connsiteY8443"/>
                </a:cxn>
                <a:cxn ang="0">
                  <a:pos x="connsiteX8444" y="connsiteY8444"/>
                </a:cxn>
                <a:cxn ang="0">
                  <a:pos x="connsiteX8445" y="connsiteY8445"/>
                </a:cxn>
                <a:cxn ang="0">
                  <a:pos x="connsiteX8446" y="connsiteY8446"/>
                </a:cxn>
                <a:cxn ang="0">
                  <a:pos x="connsiteX8447" y="connsiteY8447"/>
                </a:cxn>
                <a:cxn ang="0">
                  <a:pos x="connsiteX8448" y="connsiteY8448"/>
                </a:cxn>
                <a:cxn ang="0">
                  <a:pos x="connsiteX8449" y="connsiteY8449"/>
                </a:cxn>
                <a:cxn ang="0">
                  <a:pos x="connsiteX8450" y="connsiteY8450"/>
                </a:cxn>
                <a:cxn ang="0">
                  <a:pos x="connsiteX8451" y="connsiteY8451"/>
                </a:cxn>
                <a:cxn ang="0">
                  <a:pos x="connsiteX8452" y="connsiteY8452"/>
                </a:cxn>
                <a:cxn ang="0">
                  <a:pos x="connsiteX8453" y="connsiteY8453"/>
                </a:cxn>
                <a:cxn ang="0">
                  <a:pos x="connsiteX8454" y="connsiteY8454"/>
                </a:cxn>
                <a:cxn ang="0">
                  <a:pos x="connsiteX8455" y="connsiteY8455"/>
                </a:cxn>
                <a:cxn ang="0">
                  <a:pos x="connsiteX8456" y="connsiteY8456"/>
                </a:cxn>
                <a:cxn ang="0">
                  <a:pos x="connsiteX8457" y="connsiteY8457"/>
                </a:cxn>
                <a:cxn ang="0">
                  <a:pos x="connsiteX8458" y="connsiteY8458"/>
                </a:cxn>
                <a:cxn ang="0">
                  <a:pos x="connsiteX8459" y="connsiteY8459"/>
                </a:cxn>
                <a:cxn ang="0">
                  <a:pos x="connsiteX8460" y="connsiteY8460"/>
                </a:cxn>
                <a:cxn ang="0">
                  <a:pos x="connsiteX8461" y="connsiteY8461"/>
                </a:cxn>
                <a:cxn ang="0">
                  <a:pos x="connsiteX8462" y="connsiteY8462"/>
                </a:cxn>
                <a:cxn ang="0">
                  <a:pos x="connsiteX8463" y="connsiteY8463"/>
                </a:cxn>
                <a:cxn ang="0">
                  <a:pos x="connsiteX8464" y="connsiteY8464"/>
                </a:cxn>
                <a:cxn ang="0">
                  <a:pos x="connsiteX8465" y="connsiteY8465"/>
                </a:cxn>
                <a:cxn ang="0">
                  <a:pos x="connsiteX8466" y="connsiteY8466"/>
                </a:cxn>
                <a:cxn ang="0">
                  <a:pos x="connsiteX8467" y="connsiteY8467"/>
                </a:cxn>
                <a:cxn ang="0">
                  <a:pos x="connsiteX8468" y="connsiteY8468"/>
                </a:cxn>
                <a:cxn ang="0">
                  <a:pos x="connsiteX8469" y="connsiteY8469"/>
                </a:cxn>
                <a:cxn ang="0">
                  <a:pos x="connsiteX8470" y="connsiteY8470"/>
                </a:cxn>
                <a:cxn ang="0">
                  <a:pos x="connsiteX8471" y="connsiteY8471"/>
                </a:cxn>
                <a:cxn ang="0">
                  <a:pos x="connsiteX8472" y="connsiteY8472"/>
                </a:cxn>
                <a:cxn ang="0">
                  <a:pos x="connsiteX8473" y="connsiteY8473"/>
                </a:cxn>
                <a:cxn ang="0">
                  <a:pos x="connsiteX8474" y="connsiteY8474"/>
                </a:cxn>
                <a:cxn ang="0">
                  <a:pos x="connsiteX8475" y="connsiteY8475"/>
                </a:cxn>
                <a:cxn ang="0">
                  <a:pos x="connsiteX8476" y="connsiteY8476"/>
                </a:cxn>
                <a:cxn ang="0">
                  <a:pos x="connsiteX8477" y="connsiteY8477"/>
                </a:cxn>
                <a:cxn ang="0">
                  <a:pos x="connsiteX8478" y="connsiteY8478"/>
                </a:cxn>
                <a:cxn ang="0">
                  <a:pos x="connsiteX8479" y="connsiteY8479"/>
                </a:cxn>
                <a:cxn ang="0">
                  <a:pos x="connsiteX8480" y="connsiteY8480"/>
                </a:cxn>
                <a:cxn ang="0">
                  <a:pos x="connsiteX8481" y="connsiteY8481"/>
                </a:cxn>
                <a:cxn ang="0">
                  <a:pos x="connsiteX8482" y="connsiteY8482"/>
                </a:cxn>
                <a:cxn ang="0">
                  <a:pos x="connsiteX8483" y="connsiteY8483"/>
                </a:cxn>
                <a:cxn ang="0">
                  <a:pos x="connsiteX8484" y="connsiteY8484"/>
                </a:cxn>
                <a:cxn ang="0">
                  <a:pos x="connsiteX8485" y="connsiteY8485"/>
                </a:cxn>
                <a:cxn ang="0">
                  <a:pos x="connsiteX8486" y="connsiteY8486"/>
                </a:cxn>
                <a:cxn ang="0">
                  <a:pos x="connsiteX8487" y="connsiteY8487"/>
                </a:cxn>
                <a:cxn ang="0">
                  <a:pos x="connsiteX8488" y="connsiteY8488"/>
                </a:cxn>
                <a:cxn ang="0">
                  <a:pos x="connsiteX8489" y="connsiteY8489"/>
                </a:cxn>
                <a:cxn ang="0">
                  <a:pos x="connsiteX8490" y="connsiteY8490"/>
                </a:cxn>
                <a:cxn ang="0">
                  <a:pos x="connsiteX8491" y="connsiteY8491"/>
                </a:cxn>
                <a:cxn ang="0">
                  <a:pos x="connsiteX8492" y="connsiteY8492"/>
                </a:cxn>
                <a:cxn ang="0">
                  <a:pos x="connsiteX8493" y="connsiteY8493"/>
                </a:cxn>
                <a:cxn ang="0">
                  <a:pos x="connsiteX8494" y="connsiteY8494"/>
                </a:cxn>
                <a:cxn ang="0">
                  <a:pos x="connsiteX8495" y="connsiteY8495"/>
                </a:cxn>
                <a:cxn ang="0">
                  <a:pos x="connsiteX8496" y="connsiteY8496"/>
                </a:cxn>
                <a:cxn ang="0">
                  <a:pos x="connsiteX8497" y="connsiteY8497"/>
                </a:cxn>
                <a:cxn ang="0">
                  <a:pos x="connsiteX8498" y="connsiteY8498"/>
                </a:cxn>
                <a:cxn ang="0">
                  <a:pos x="connsiteX8499" y="connsiteY8499"/>
                </a:cxn>
                <a:cxn ang="0">
                  <a:pos x="connsiteX8500" y="connsiteY8500"/>
                </a:cxn>
                <a:cxn ang="0">
                  <a:pos x="connsiteX8501" y="connsiteY8501"/>
                </a:cxn>
                <a:cxn ang="0">
                  <a:pos x="connsiteX8502" y="connsiteY8502"/>
                </a:cxn>
                <a:cxn ang="0">
                  <a:pos x="connsiteX8503" y="connsiteY8503"/>
                </a:cxn>
                <a:cxn ang="0">
                  <a:pos x="connsiteX8504" y="connsiteY8504"/>
                </a:cxn>
                <a:cxn ang="0">
                  <a:pos x="connsiteX8505" y="connsiteY8505"/>
                </a:cxn>
                <a:cxn ang="0">
                  <a:pos x="connsiteX8506" y="connsiteY8506"/>
                </a:cxn>
                <a:cxn ang="0">
                  <a:pos x="connsiteX8507" y="connsiteY8507"/>
                </a:cxn>
                <a:cxn ang="0">
                  <a:pos x="connsiteX8508" y="connsiteY8508"/>
                </a:cxn>
                <a:cxn ang="0">
                  <a:pos x="connsiteX8509" y="connsiteY8509"/>
                </a:cxn>
                <a:cxn ang="0">
                  <a:pos x="connsiteX8510" y="connsiteY8510"/>
                </a:cxn>
                <a:cxn ang="0">
                  <a:pos x="connsiteX8511" y="connsiteY8511"/>
                </a:cxn>
                <a:cxn ang="0">
                  <a:pos x="connsiteX8512" y="connsiteY8512"/>
                </a:cxn>
                <a:cxn ang="0">
                  <a:pos x="connsiteX8513" y="connsiteY8513"/>
                </a:cxn>
                <a:cxn ang="0">
                  <a:pos x="connsiteX8514" y="connsiteY8514"/>
                </a:cxn>
                <a:cxn ang="0">
                  <a:pos x="connsiteX8515" y="connsiteY8515"/>
                </a:cxn>
                <a:cxn ang="0">
                  <a:pos x="connsiteX8516" y="connsiteY8516"/>
                </a:cxn>
                <a:cxn ang="0">
                  <a:pos x="connsiteX8517" y="connsiteY8517"/>
                </a:cxn>
                <a:cxn ang="0">
                  <a:pos x="connsiteX8518" y="connsiteY8518"/>
                </a:cxn>
                <a:cxn ang="0">
                  <a:pos x="connsiteX8519" y="connsiteY8519"/>
                </a:cxn>
                <a:cxn ang="0">
                  <a:pos x="connsiteX8520" y="connsiteY8520"/>
                </a:cxn>
                <a:cxn ang="0">
                  <a:pos x="connsiteX8521" y="connsiteY8521"/>
                </a:cxn>
                <a:cxn ang="0">
                  <a:pos x="connsiteX8522" y="connsiteY8522"/>
                </a:cxn>
                <a:cxn ang="0">
                  <a:pos x="connsiteX8523" y="connsiteY8523"/>
                </a:cxn>
                <a:cxn ang="0">
                  <a:pos x="connsiteX8524" y="connsiteY8524"/>
                </a:cxn>
                <a:cxn ang="0">
                  <a:pos x="connsiteX8525" y="connsiteY8525"/>
                </a:cxn>
                <a:cxn ang="0">
                  <a:pos x="connsiteX8526" y="connsiteY8526"/>
                </a:cxn>
                <a:cxn ang="0">
                  <a:pos x="connsiteX8527" y="connsiteY8527"/>
                </a:cxn>
                <a:cxn ang="0">
                  <a:pos x="connsiteX8528" y="connsiteY8528"/>
                </a:cxn>
                <a:cxn ang="0">
                  <a:pos x="connsiteX8529" y="connsiteY8529"/>
                </a:cxn>
                <a:cxn ang="0">
                  <a:pos x="connsiteX8530" y="connsiteY8530"/>
                </a:cxn>
                <a:cxn ang="0">
                  <a:pos x="connsiteX8531" y="connsiteY8531"/>
                </a:cxn>
                <a:cxn ang="0">
                  <a:pos x="connsiteX8532" y="connsiteY8532"/>
                </a:cxn>
                <a:cxn ang="0">
                  <a:pos x="connsiteX8533" y="connsiteY8533"/>
                </a:cxn>
                <a:cxn ang="0">
                  <a:pos x="connsiteX8534" y="connsiteY8534"/>
                </a:cxn>
                <a:cxn ang="0">
                  <a:pos x="connsiteX8535" y="connsiteY8535"/>
                </a:cxn>
                <a:cxn ang="0">
                  <a:pos x="connsiteX8536" y="connsiteY8536"/>
                </a:cxn>
                <a:cxn ang="0">
                  <a:pos x="connsiteX8537" y="connsiteY8537"/>
                </a:cxn>
                <a:cxn ang="0">
                  <a:pos x="connsiteX8538" y="connsiteY8538"/>
                </a:cxn>
                <a:cxn ang="0">
                  <a:pos x="connsiteX8539" y="connsiteY8539"/>
                </a:cxn>
                <a:cxn ang="0">
                  <a:pos x="connsiteX8540" y="connsiteY8540"/>
                </a:cxn>
                <a:cxn ang="0">
                  <a:pos x="connsiteX8541" y="connsiteY8541"/>
                </a:cxn>
                <a:cxn ang="0">
                  <a:pos x="connsiteX8542" y="connsiteY8542"/>
                </a:cxn>
                <a:cxn ang="0">
                  <a:pos x="connsiteX8543" y="connsiteY8543"/>
                </a:cxn>
                <a:cxn ang="0">
                  <a:pos x="connsiteX8544" y="connsiteY8544"/>
                </a:cxn>
                <a:cxn ang="0">
                  <a:pos x="connsiteX8545" y="connsiteY8545"/>
                </a:cxn>
                <a:cxn ang="0">
                  <a:pos x="connsiteX8546" y="connsiteY8546"/>
                </a:cxn>
                <a:cxn ang="0">
                  <a:pos x="connsiteX8547" y="connsiteY8547"/>
                </a:cxn>
                <a:cxn ang="0">
                  <a:pos x="connsiteX8548" y="connsiteY8548"/>
                </a:cxn>
                <a:cxn ang="0">
                  <a:pos x="connsiteX8549" y="connsiteY8549"/>
                </a:cxn>
                <a:cxn ang="0">
                  <a:pos x="connsiteX8550" y="connsiteY8550"/>
                </a:cxn>
                <a:cxn ang="0">
                  <a:pos x="connsiteX8551" y="connsiteY8551"/>
                </a:cxn>
                <a:cxn ang="0">
                  <a:pos x="connsiteX8552" y="connsiteY8552"/>
                </a:cxn>
                <a:cxn ang="0">
                  <a:pos x="connsiteX8553" y="connsiteY8553"/>
                </a:cxn>
                <a:cxn ang="0">
                  <a:pos x="connsiteX8554" y="connsiteY8554"/>
                </a:cxn>
                <a:cxn ang="0">
                  <a:pos x="connsiteX8555" y="connsiteY8555"/>
                </a:cxn>
                <a:cxn ang="0">
                  <a:pos x="connsiteX8556" y="connsiteY8556"/>
                </a:cxn>
                <a:cxn ang="0">
                  <a:pos x="connsiteX8557" y="connsiteY8557"/>
                </a:cxn>
                <a:cxn ang="0">
                  <a:pos x="connsiteX8558" y="connsiteY8558"/>
                </a:cxn>
                <a:cxn ang="0">
                  <a:pos x="connsiteX8559" y="connsiteY8559"/>
                </a:cxn>
                <a:cxn ang="0">
                  <a:pos x="connsiteX8560" y="connsiteY8560"/>
                </a:cxn>
                <a:cxn ang="0">
                  <a:pos x="connsiteX8561" y="connsiteY8561"/>
                </a:cxn>
                <a:cxn ang="0">
                  <a:pos x="connsiteX8562" y="connsiteY8562"/>
                </a:cxn>
                <a:cxn ang="0">
                  <a:pos x="connsiteX8563" y="connsiteY8563"/>
                </a:cxn>
                <a:cxn ang="0">
                  <a:pos x="connsiteX8564" y="connsiteY8564"/>
                </a:cxn>
                <a:cxn ang="0">
                  <a:pos x="connsiteX8565" y="connsiteY8565"/>
                </a:cxn>
                <a:cxn ang="0">
                  <a:pos x="connsiteX8566" y="connsiteY8566"/>
                </a:cxn>
                <a:cxn ang="0">
                  <a:pos x="connsiteX8567" y="connsiteY8567"/>
                </a:cxn>
                <a:cxn ang="0">
                  <a:pos x="connsiteX8568" y="connsiteY8568"/>
                </a:cxn>
                <a:cxn ang="0">
                  <a:pos x="connsiteX8569" y="connsiteY8569"/>
                </a:cxn>
                <a:cxn ang="0">
                  <a:pos x="connsiteX8570" y="connsiteY8570"/>
                </a:cxn>
                <a:cxn ang="0">
                  <a:pos x="connsiteX8571" y="connsiteY8571"/>
                </a:cxn>
                <a:cxn ang="0">
                  <a:pos x="connsiteX8572" y="connsiteY8572"/>
                </a:cxn>
                <a:cxn ang="0">
                  <a:pos x="connsiteX8573" y="connsiteY8573"/>
                </a:cxn>
                <a:cxn ang="0">
                  <a:pos x="connsiteX8574" y="connsiteY8574"/>
                </a:cxn>
                <a:cxn ang="0">
                  <a:pos x="connsiteX8575" y="connsiteY8575"/>
                </a:cxn>
                <a:cxn ang="0">
                  <a:pos x="connsiteX8576" y="connsiteY8576"/>
                </a:cxn>
                <a:cxn ang="0">
                  <a:pos x="connsiteX8577" y="connsiteY8577"/>
                </a:cxn>
                <a:cxn ang="0">
                  <a:pos x="connsiteX8578" y="connsiteY8578"/>
                </a:cxn>
                <a:cxn ang="0">
                  <a:pos x="connsiteX8579" y="connsiteY8579"/>
                </a:cxn>
                <a:cxn ang="0">
                  <a:pos x="connsiteX8580" y="connsiteY8580"/>
                </a:cxn>
                <a:cxn ang="0">
                  <a:pos x="connsiteX8581" y="connsiteY8581"/>
                </a:cxn>
                <a:cxn ang="0">
                  <a:pos x="connsiteX8582" y="connsiteY8582"/>
                </a:cxn>
                <a:cxn ang="0">
                  <a:pos x="connsiteX8583" y="connsiteY8583"/>
                </a:cxn>
                <a:cxn ang="0">
                  <a:pos x="connsiteX8584" y="connsiteY8584"/>
                </a:cxn>
                <a:cxn ang="0">
                  <a:pos x="connsiteX8585" y="connsiteY8585"/>
                </a:cxn>
                <a:cxn ang="0">
                  <a:pos x="connsiteX8586" y="connsiteY8586"/>
                </a:cxn>
                <a:cxn ang="0">
                  <a:pos x="connsiteX8587" y="connsiteY8587"/>
                </a:cxn>
                <a:cxn ang="0">
                  <a:pos x="connsiteX8588" y="connsiteY8588"/>
                </a:cxn>
                <a:cxn ang="0">
                  <a:pos x="connsiteX8589" y="connsiteY8589"/>
                </a:cxn>
                <a:cxn ang="0">
                  <a:pos x="connsiteX8590" y="connsiteY8590"/>
                </a:cxn>
                <a:cxn ang="0">
                  <a:pos x="connsiteX8591" y="connsiteY8591"/>
                </a:cxn>
                <a:cxn ang="0">
                  <a:pos x="connsiteX8592" y="connsiteY8592"/>
                </a:cxn>
                <a:cxn ang="0">
                  <a:pos x="connsiteX8593" y="connsiteY8593"/>
                </a:cxn>
                <a:cxn ang="0">
                  <a:pos x="connsiteX8594" y="connsiteY8594"/>
                </a:cxn>
                <a:cxn ang="0">
                  <a:pos x="connsiteX8595" y="connsiteY8595"/>
                </a:cxn>
                <a:cxn ang="0">
                  <a:pos x="connsiteX8596" y="connsiteY8596"/>
                </a:cxn>
                <a:cxn ang="0">
                  <a:pos x="connsiteX8597" y="connsiteY8597"/>
                </a:cxn>
                <a:cxn ang="0">
                  <a:pos x="connsiteX8598" y="connsiteY8598"/>
                </a:cxn>
                <a:cxn ang="0">
                  <a:pos x="connsiteX8599" y="connsiteY8599"/>
                </a:cxn>
                <a:cxn ang="0">
                  <a:pos x="connsiteX8600" y="connsiteY8600"/>
                </a:cxn>
                <a:cxn ang="0">
                  <a:pos x="connsiteX8601" y="connsiteY8601"/>
                </a:cxn>
                <a:cxn ang="0">
                  <a:pos x="connsiteX8602" y="connsiteY8602"/>
                </a:cxn>
                <a:cxn ang="0">
                  <a:pos x="connsiteX8603" y="connsiteY8603"/>
                </a:cxn>
                <a:cxn ang="0">
                  <a:pos x="connsiteX8604" y="connsiteY8604"/>
                </a:cxn>
                <a:cxn ang="0">
                  <a:pos x="connsiteX8605" y="connsiteY8605"/>
                </a:cxn>
                <a:cxn ang="0">
                  <a:pos x="connsiteX8606" y="connsiteY8606"/>
                </a:cxn>
                <a:cxn ang="0">
                  <a:pos x="connsiteX8607" y="connsiteY8607"/>
                </a:cxn>
                <a:cxn ang="0">
                  <a:pos x="connsiteX8608" y="connsiteY8608"/>
                </a:cxn>
                <a:cxn ang="0">
                  <a:pos x="connsiteX8609" y="connsiteY8609"/>
                </a:cxn>
                <a:cxn ang="0">
                  <a:pos x="connsiteX8610" y="connsiteY8610"/>
                </a:cxn>
                <a:cxn ang="0">
                  <a:pos x="connsiteX8611" y="connsiteY8611"/>
                </a:cxn>
                <a:cxn ang="0">
                  <a:pos x="connsiteX8612" y="connsiteY8612"/>
                </a:cxn>
                <a:cxn ang="0">
                  <a:pos x="connsiteX8613" y="connsiteY8613"/>
                </a:cxn>
                <a:cxn ang="0">
                  <a:pos x="connsiteX8614" y="connsiteY8614"/>
                </a:cxn>
                <a:cxn ang="0">
                  <a:pos x="connsiteX8615" y="connsiteY8615"/>
                </a:cxn>
                <a:cxn ang="0">
                  <a:pos x="connsiteX8616" y="connsiteY8616"/>
                </a:cxn>
                <a:cxn ang="0">
                  <a:pos x="connsiteX8617" y="connsiteY8617"/>
                </a:cxn>
                <a:cxn ang="0">
                  <a:pos x="connsiteX8618" y="connsiteY8618"/>
                </a:cxn>
                <a:cxn ang="0">
                  <a:pos x="connsiteX8619" y="connsiteY8619"/>
                </a:cxn>
                <a:cxn ang="0">
                  <a:pos x="connsiteX8620" y="connsiteY8620"/>
                </a:cxn>
                <a:cxn ang="0">
                  <a:pos x="connsiteX8621" y="connsiteY8621"/>
                </a:cxn>
                <a:cxn ang="0">
                  <a:pos x="connsiteX8622" y="connsiteY8622"/>
                </a:cxn>
                <a:cxn ang="0">
                  <a:pos x="connsiteX8623" y="connsiteY8623"/>
                </a:cxn>
                <a:cxn ang="0">
                  <a:pos x="connsiteX8624" y="connsiteY8624"/>
                </a:cxn>
                <a:cxn ang="0">
                  <a:pos x="connsiteX8625" y="connsiteY8625"/>
                </a:cxn>
                <a:cxn ang="0">
                  <a:pos x="connsiteX8626" y="connsiteY8626"/>
                </a:cxn>
                <a:cxn ang="0">
                  <a:pos x="connsiteX8627" y="connsiteY8627"/>
                </a:cxn>
                <a:cxn ang="0">
                  <a:pos x="connsiteX8628" y="connsiteY8628"/>
                </a:cxn>
                <a:cxn ang="0">
                  <a:pos x="connsiteX8629" y="connsiteY8629"/>
                </a:cxn>
                <a:cxn ang="0">
                  <a:pos x="connsiteX8630" y="connsiteY8630"/>
                </a:cxn>
                <a:cxn ang="0">
                  <a:pos x="connsiteX8631" y="connsiteY8631"/>
                </a:cxn>
                <a:cxn ang="0">
                  <a:pos x="connsiteX8632" y="connsiteY8632"/>
                </a:cxn>
                <a:cxn ang="0">
                  <a:pos x="connsiteX8633" y="connsiteY8633"/>
                </a:cxn>
                <a:cxn ang="0">
                  <a:pos x="connsiteX8634" y="connsiteY8634"/>
                </a:cxn>
                <a:cxn ang="0">
                  <a:pos x="connsiteX8635" y="connsiteY8635"/>
                </a:cxn>
                <a:cxn ang="0">
                  <a:pos x="connsiteX8636" y="connsiteY8636"/>
                </a:cxn>
                <a:cxn ang="0">
                  <a:pos x="connsiteX8637" y="connsiteY8637"/>
                </a:cxn>
                <a:cxn ang="0">
                  <a:pos x="connsiteX8638" y="connsiteY8638"/>
                </a:cxn>
                <a:cxn ang="0">
                  <a:pos x="connsiteX8639" y="connsiteY8639"/>
                </a:cxn>
                <a:cxn ang="0">
                  <a:pos x="connsiteX8640" y="connsiteY8640"/>
                </a:cxn>
                <a:cxn ang="0">
                  <a:pos x="connsiteX8641" y="connsiteY8641"/>
                </a:cxn>
                <a:cxn ang="0">
                  <a:pos x="connsiteX8642" y="connsiteY8642"/>
                </a:cxn>
                <a:cxn ang="0">
                  <a:pos x="connsiteX8643" y="connsiteY8643"/>
                </a:cxn>
                <a:cxn ang="0">
                  <a:pos x="connsiteX8644" y="connsiteY8644"/>
                </a:cxn>
                <a:cxn ang="0">
                  <a:pos x="connsiteX8645" y="connsiteY8645"/>
                </a:cxn>
                <a:cxn ang="0">
                  <a:pos x="connsiteX8646" y="connsiteY8646"/>
                </a:cxn>
                <a:cxn ang="0">
                  <a:pos x="connsiteX8647" y="connsiteY8647"/>
                </a:cxn>
                <a:cxn ang="0">
                  <a:pos x="connsiteX8648" y="connsiteY8648"/>
                </a:cxn>
                <a:cxn ang="0">
                  <a:pos x="connsiteX8649" y="connsiteY8649"/>
                </a:cxn>
                <a:cxn ang="0">
                  <a:pos x="connsiteX8650" y="connsiteY8650"/>
                </a:cxn>
                <a:cxn ang="0">
                  <a:pos x="connsiteX8651" y="connsiteY8651"/>
                </a:cxn>
                <a:cxn ang="0">
                  <a:pos x="connsiteX8652" y="connsiteY8652"/>
                </a:cxn>
                <a:cxn ang="0">
                  <a:pos x="connsiteX8653" y="connsiteY8653"/>
                </a:cxn>
                <a:cxn ang="0">
                  <a:pos x="connsiteX8654" y="connsiteY8654"/>
                </a:cxn>
                <a:cxn ang="0">
                  <a:pos x="connsiteX8655" y="connsiteY8655"/>
                </a:cxn>
                <a:cxn ang="0">
                  <a:pos x="connsiteX8656" y="connsiteY8656"/>
                </a:cxn>
                <a:cxn ang="0">
                  <a:pos x="connsiteX8657" y="connsiteY8657"/>
                </a:cxn>
                <a:cxn ang="0">
                  <a:pos x="connsiteX8658" y="connsiteY8658"/>
                </a:cxn>
                <a:cxn ang="0">
                  <a:pos x="connsiteX8659" y="connsiteY8659"/>
                </a:cxn>
                <a:cxn ang="0">
                  <a:pos x="connsiteX8660" y="connsiteY8660"/>
                </a:cxn>
                <a:cxn ang="0">
                  <a:pos x="connsiteX8661" y="connsiteY8661"/>
                </a:cxn>
                <a:cxn ang="0">
                  <a:pos x="connsiteX8662" y="connsiteY8662"/>
                </a:cxn>
                <a:cxn ang="0">
                  <a:pos x="connsiteX8663" y="connsiteY8663"/>
                </a:cxn>
                <a:cxn ang="0">
                  <a:pos x="connsiteX8664" y="connsiteY8664"/>
                </a:cxn>
                <a:cxn ang="0">
                  <a:pos x="connsiteX8665" y="connsiteY8665"/>
                </a:cxn>
                <a:cxn ang="0">
                  <a:pos x="connsiteX8666" y="connsiteY8666"/>
                </a:cxn>
                <a:cxn ang="0">
                  <a:pos x="connsiteX8667" y="connsiteY8667"/>
                </a:cxn>
                <a:cxn ang="0">
                  <a:pos x="connsiteX8668" y="connsiteY8668"/>
                </a:cxn>
                <a:cxn ang="0">
                  <a:pos x="connsiteX8669" y="connsiteY8669"/>
                </a:cxn>
                <a:cxn ang="0">
                  <a:pos x="connsiteX8670" y="connsiteY8670"/>
                </a:cxn>
                <a:cxn ang="0">
                  <a:pos x="connsiteX8671" y="connsiteY8671"/>
                </a:cxn>
                <a:cxn ang="0">
                  <a:pos x="connsiteX8672" y="connsiteY8672"/>
                </a:cxn>
                <a:cxn ang="0">
                  <a:pos x="connsiteX8673" y="connsiteY8673"/>
                </a:cxn>
                <a:cxn ang="0">
                  <a:pos x="connsiteX8674" y="connsiteY8674"/>
                </a:cxn>
                <a:cxn ang="0">
                  <a:pos x="connsiteX8675" y="connsiteY8675"/>
                </a:cxn>
                <a:cxn ang="0">
                  <a:pos x="connsiteX8676" y="connsiteY8676"/>
                </a:cxn>
                <a:cxn ang="0">
                  <a:pos x="connsiteX8677" y="connsiteY8677"/>
                </a:cxn>
                <a:cxn ang="0">
                  <a:pos x="connsiteX8678" y="connsiteY8678"/>
                </a:cxn>
                <a:cxn ang="0">
                  <a:pos x="connsiteX8679" y="connsiteY8679"/>
                </a:cxn>
                <a:cxn ang="0">
                  <a:pos x="connsiteX8680" y="connsiteY8680"/>
                </a:cxn>
                <a:cxn ang="0">
                  <a:pos x="connsiteX8681" y="connsiteY8681"/>
                </a:cxn>
                <a:cxn ang="0">
                  <a:pos x="connsiteX8682" y="connsiteY8682"/>
                </a:cxn>
                <a:cxn ang="0">
                  <a:pos x="connsiteX8683" y="connsiteY8683"/>
                </a:cxn>
                <a:cxn ang="0">
                  <a:pos x="connsiteX8684" y="connsiteY8684"/>
                </a:cxn>
                <a:cxn ang="0">
                  <a:pos x="connsiteX8685" y="connsiteY8685"/>
                </a:cxn>
                <a:cxn ang="0">
                  <a:pos x="connsiteX8686" y="connsiteY8686"/>
                </a:cxn>
                <a:cxn ang="0">
                  <a:pos x="connsiteX8687" y="connsiteY8687"/>
                </a:cxn>
                <a:cxn ang="0">
                  <a:pos x="connsiteX8688" y="connsiteY8688"/>
                </a:cxn>
                <a:cxn ang="0">
                  <a:pos x="connsiteX8689" y="connsiteY8689"/>
                </a:cxn>
                <a:cxn ang="0">
                  <a:pos x="connsiteX8690" y="connsiteY8690"/>
                </a:cxn>
                <a:cxn ang="0">
                  <a:pos x="connsiteX8691" y="connsiteY8691"/>
                </a:cxn>
                <a:cxn ang="0">
                  <a:pos x="connsiteX8692" y="connsiteY8692"/>
                </a:cxn>
                <a:cxn ang="0">
                  <a:pos x="connsiteX8693" y="connsiteY8693"/>
                </a:cxn>
                <a:cxn ang="0">
                  <a:pos x="connsiteX8694" y="connsiteY8694"/>
                </a:cxn>
                <a:cxn ang="0">
                  <a:pos x="connsiteX8695" y="connsiteY8695"/>
                </a:cxn>
                <a:cxn ang="0">
                  <a:pos x="connsiteX8696" y="connsiteY8696"/>
                </a:cxn>
                <a:cxn ang="0">
                  <a:pos x="connsiteX8697" y="connsiteY8697"/>
                </a:cxn>
                <a:cxn ang="0">
                  <a:pos x="connsiteX8698" y="connsiteY8698"/>
                </a:cxn>
                <a:cxn ang="0">
                  <a:pos x="connsiteX8699" y="connsiteY8699"/>
                </a:cxn>
                <a:cxn ang="0">
                  <a:pos x="connsiteX8700" y="connsiteY8700"/>
                </a:cxn>
                <a:cxn ang="0">
                  <a:pos x="connsiteX8701" y="connsiteY8701"/>
                </a:cxn>
                <a:cxn ang="0">
                  <a:pos x="connsiteX8702" y="connsiteY8702"/>
                </a:cxn>
                <a:cxn ang="0">
                  <a:pos x="connsiteX8703" y="connsiteY8703"/>
                </a:cxn>
                <a:cxn ang="0">
                  <a:pos x="connsiteX8704" y="connsiteY8704"/>
                </a:cxn>
                <a:cxn ang="0">
                  <a:pos x="connsiteX8705" y="connsiteY8705"/>
                </a:cxn>
                <a:cxn ang="0">
                  <a:pos x="connsiteX8706" y="connsiteY8706"/>
                </a:cxn>
                <a:cxn ang="0">
                  <a:pos x="connsiteX8707" y="connsiteY8707"/>
                </a:cxn>
                <a:cxn ang="0">
                  <a:pos x="connsiteX8708" y="connsiteY8708"/>
                </a:cxn>
                <a:cxn ang="0">
                  <a:pos x="connsiteX8709" y="connsiteY8709"/>
                </a:cxn>
                <a:cxn ang="0">
                  <a:pos x="connsiteX8710" y="connsiteY8710"/>
                </a:cxn>
                <a:cxn ang="0">
                  <a:pos x="connsiteX8711" y="connsiteY8711"/>
                </a:cxn>
                <a:cxn ang="0">
                  <a:pos x="connsiteX8712" y="connsiteY8712"/>
                </a:cxn>
                <a:cxn ang="0">
                  <a:pos x="connsiteX8713" y="connsiteY8713"/>
                </a:cxn>
                <a:cxn ang="0">
                  <a:pos x="connsiteX8714" y="connsiteY8714"/>
                </a:cxn>
                <a:cxn ang="0">
                  <a:pos x="connsiteX8715" y="connsiteY8715"/>
                </a:cxn>
                <a:cxn ang="0">
                  <a:pos x="connsiteX8716" y="connsiteY8716"/>
                </a:cxn>
                <a:cxn ang="0">
                  <a:pos x="connsiteX8717" y="connsiteY8717"/>
                </a:cxn>
                <a:cxn ang="0">
                  <a:pos x="connsiteX8718" y="connsiteY8718"/>
                </a:cxn>
                <a:cxn ang="0">
                  <a:pos x="connsiteX8719" y="connsiteY8719"/>
                </a:cxn>
                <a:cxn ang="0">
                  <a:pos x="connsiteX8720" y="connsiteY8720"/>
                </a:cxn>
                <a:cxn ang="0">
                  <a:pos x="connsiteX8721" y="connsiteY8721"/>
                </a:cxn>
                <a:cxn ang="0">
                  <a:pos x="connsiteX8722" y="connsiteY8722"/>
                </a:cxn>
                <a:cxn ang="0">
                  <a:pos x="connsiteX8723" y="connsiteY8723"/>
                </a:cxn>
                <a:cxn ang="0">
                  <a:pos x="connsiteX8724" y="connsiteY8724"/>
                </a:cxn>
                <a:cxn ang="0">
                  <a:pos x="connsiteX8725" y="connsiteY8725"/>
                </a:cxn>
                <a:cxn ang="0">
                  <a:pos x="connsiteX8726" y="connsiteY8726"/>
                </a:cxn>
                <a:cxn ang="0">
                  <a:pos x="connsiteX8727" y="connsiteY8727"/>
                </a:cxn>
                <a:cxn ang="0">
                  <a:pos x="connsiteX8728" y="connsiteY8728"/>
                </a:cxn>
                <a:cxn ang="0">
                  <a:pos x="connsiteX8729" y="connsiteY8729"/>
                </a:cxn>
                <a:cxn ang="0">
                  <a:pos x="connsiteX8730" y="connsiteY8730"/>
                </a:cxn>
                <a:cxn ang="0">
                  <a:pos x="connsiteX8731" y="connsiteY8731"/>
                </a:cxn>
                <a:cxn ang="0">
                  <a:pos x="connsiteX8732" y="connsiteY8732"/>
                </a:cxn>
                <a:cxn ang="0">
                  <a:pos x="connsiteX8733" y="connsiteY8733"/>
                </a:cxn>
                <a:cxn ang="0">
                  <a:pos x="connsiteX8734" y="connsiteY8734"/>
                </a:cxn>
                <a:cxn ang="0">
                  <a:pos x="connsiteX8735" y="connsiteY8735"/>
                </a:cxn>
                <a:cxn ang="0">
                  <a:pos x="connsiteX8736" y="connsiteY8736"/>
                </a:cxn>
                <a:cxn ang="0">
                  <a:pos x="connsiteX8737" y="connsiteY8737"/>
                </a:cxn>
                <a:cxn ang="0">
                  <a:pos x="connsiteX8738" y="connsiteY8738"/>
                </a:cxn>
                <a:cxn ang="0">
                  <a:pos x="connsiteX8739" y="connsiteY8739"/>
                </a:cxn>
                <a:cxn ang="0">
                  <a:pos x="connsiteX8740" y="connsiteY8740"/>
                </a:cxn>
                <a:cxn ang="0">
                  <a:pos x="connsiteX8741" y="connsiteY8741"/>
                </a:cxn>
                <a:cxn ang="0">
                  <a:pos x="connsiteX8742" y="connsiteY8742"/>
                </a:cxn>
                <a:cxn ang="0">
                  <a:pos x="connsiteX8743" y="connsiteY8743"/>
                </a:cxn>
                <a:cxn ang="0">
                  <a:pos x="connsiteX8744" y="connsiteY8744"/>
                </a:cxn>
                <a:cxn ang="0">
                  <a:pos x="connsiteX8745" y="connsiteY8745"/>
                </a:cxn>
                <a:cxn ang="0">
                  <a:pos x="connsiteX8746" y="connsiteY8746"/>
                </a:cxn>
                <a:cxn ang="0">
                  <a:pos x="connsiteX8747" y="connsiteY8747"/>
                </a:cxn>
                <a:cxn ang="0">
                  <a:pos x="connsiteX8748" y="connsiteY8748"/>
                </a:cxn>
                <a:cxn ang="0">
                  <a:pos x="connsiteX8749" y="connsiteY8749"/>
                </a:cxn>
                <a:cxn ang="0">
                  <a:pos x="connsiteX8750" y="connsiteY8750"/>
                </a:cxn>
                <a:cxn ang="0">
                  <a:pos x="connsiteX8751" y="connsiteY8751"/>
                </a:cxn>
                <a:cxn ang="0">
                  <a:pos x="connsiteX8752" y="connsiteY8752"/>
                </a:cxn>
                <a:cxn ang="0">
                  <a:pos x="connsiteX8753" y="connsiteY8753"/>
                </a:cxn>
                <a:cxn ang="0">
                  <a:pos x="connsiteX8754" y="connsiteY8754"/>
                </a:cxn>
                <a:cxn ang="0">
                  <a:pos x="connsiteX8755" y="connsiteY8755"/>
                </a:cxn>
                <a:cxn ang="0">
                  <a:pos x="connsiteX8756" y="connsiteY8756"/>
                </a:cxn>
                <a:cxn ang="0">
                  <a:pos x="connsiteX8757" y="connsiteY8757"/>
                </a:cxn>
                <a:cxn ang="0">
                  <a:pos x="connsiteX8758" y="connsiteY8758"/>
                </a:cxn>
                <a:cxn ang="0">
                  <a:pos x="connsiteX8759" y="connsiteY8759"/>
                </a:cxn>
                <a:cxn ang="0">
                  <a:pos x="connsiteX8760" y="connsiteY8760"/>
                </a:cxn>
                <a:cxn ang="0">
                  <a:pos x="connsiteX8761" y="connsiteY8761"/>
                </a:cxn>
                <a:cxn ang="0">
                  <a:pos x="connsiteX8762" y="connsiteY8762"/>
                </a:cxn>
                <a:cxn ang="0">
                  <a:pos x="connsiteX8763" y="connsiteY8763"/>
                </a:cxn>
                <a:cxn ang="0">
                  <a:pos x="connsiteX8764" y="connsiteY8764"/>
                </a:cxn>
                <a:cxn ang="0">
                  <a:pos x="connsiteX8765" y="connsiteY8765"/>
                </a:cxn>
                <a:cxn ang="0">
                  <a:pos x="connsiteX8766" y="connsiteY8766"/>
                </a:cxn>
                <a:cxn ang="0">
                  <a:pos x="connsiteX8767" y="connsiteY8767"/>
                </a:cxn>
                <a:cxn ang="0">
                  <a:pos x="connsiteX8768" y="connsiteY8768"/>
                </a:cxn>
                <a:cxn ang="0">
                  <a:pos x="connsiteX8769" y="connsiteY8769"/>
                </a:cxn>
                <a:cxn ang="0">
                  <a:pos x="connsiteX8770" y="connsiteY8770"/>
                </a:cxn>
                <a:cxn ang="0">
                  <a:pos x="connsiteX8771" y="connsiteY8771"/>
                </a:cxn>
                <a:cxn ang="0">
                  <a:pos x="connsiteX8772" y="connsiteY8772"/>
                </a:cxn>
                <a:cxn ang="0">
                  <a:pos x="connsiteX8773" y="connsiteY8773"/>
                </a:cxn>
                <a:cxn ang="0">
                  <a:pos x="connsiteX8774" y="connsiteY8774"/>
                </a:cxn>
                <a:cxn ang="0">
                  <a:pos x="connsiteX8775" y="connsiteY8775"/>
                </a:cxn>
                <a:cxn ang="0">
                  <a:pos x="connsiteX8776" y="connsiteY8776"/>
                </a:cxn>
                <a:cxn ang="0">
                  <a:pos x="connsiteX8777" y="connsiteY8777"/>
                </a:cxn>
                <a:cxn ang="0">
                  <a:pos x="connsiteX8778" y="connsiteY8778"/>
                </a:cxn>
                <a:cxn ang="0">
                  <a:pos x="connsiteX8779" y="connsiteY8779"/>
                </a:cxn>
                <a:cxn ang="0">
                  <a:pos x="connsiteX8780" y="connsiteY8780"/>
                </a:cxn>
                <a:cxn ang="0">
                  <a:pos x="connsiteX8781" y="connsiteY8781"/>
                </a:cxn>
                <a:cxn ang="0">
                  <a:pos x="connsiteX8782" y="connsiteY8782"/>
                </a:cxn>
                <a:cxn ang="0">
                  <a:pos x="connsiteX8783" y="connsiteY8783"/>
                </a:cxn>
                <a:cxn ang="0">
                  <a:pos x="connsiteX8784" y="connsiteY8784"/>
                </a:cxn>
                <a:cxn ang="0">
                  <a:pos x="connsiteX8785" y="connsiteY8785"/>
                </a:cxn>
                <a:cxn ang="0">
                  <a:pos x="connsiteX8786" y="connsiteY8786"/>
                </a:cxn>
                <a:cxn ang="0">
                  <a:pos x="connsiteX8787" y="connsiteY8787"/>
                </a:cxn>
                <a:cxn ang="0">
                  <a:pos x="connsiteX8788" y="connsiteY8788"/>
                </a:cxn>
                <a:cxn ang="0">
                  <a:pos x="connsiteX8789" y="connsiteY8789"/>
                </a:cxn>
                <a:cxn ang="0">
                  <a:pos x="connsiteX8790" y="connsiteY8790"/>
                </a:cxn>
                <a:cxn ang="0">
                  <a:pos x="connsiteX8791" y="connsiteY8791"/>
                </a:cxn>
                <a:cxn ang="0">
                  <a:pos x="connsiteX8792" y="connsiteY8792"/>
                </a:cxn>
                <a:cxn ang="0">
                  <a:pos x="connsiteX8793" y="connsiteY8793"/>
                </a:cxn>
                <a:cxn ang="0">
                  <a:pos x="connsiteX8794" y="connsiteY8794"/>
                </a:cxn>
                <a:cxn ang="0">
                  <a:pos x="connsiteX8795" y="connsiteY8795"/>
                </a:cxn>
                <a:cxn ang="0">
                  <a:pos x="connsiteX8796" y="connsiteY8796"/>
                </a:cxn>
                <a:cxn ang="0">
                  <a:pos x="connsiteX8797" y="connsiteY8797"/>
                </a:cxn>
                <a:cxn ang="0">
                  <a:pos x="connsiteX8798" y="connsiteY8798"/>
                </a:cxn>
                <a:cxn ang="0">
                  <a:pos x="connsiteX8799" y="connsiteY8799"/>
                </a:cxn>
                <a:cxn ang="0">
                  <a:pos x="connsiteX8800" y="connsiteY8800"/>
                </a:cxn>
                <a:cxn ang="0">
                  <a:pos x="connsiteX8801" y="connsiteY8801"/>
                </a:cxn>
                <a:cxn ang="0">
                  <a:pos x="connsiteX8802" y="connsiteY8802"/>
                </a:cxn>
                <a:cxn ang="0">
                  <a:pos x="connsiteX8803" y="connsiteY8803"/>
                </a:cxn>
                <a:cxn ang="0">
                  <a:pos x="connsiteX8804" y="connsiteY8804"/>
                </a:cxn>
                <a:cxn ang="0">
                  <a:pos x="connsiteX8805" y="connsiteY8805"/>
                </a:cxn>
                <a:cxn ang="0">
                  <a:pos x="connsiteX8806" y="connsiteY8806"/>
                </a:cxn>
                <a:cxn ang="0">
                  <a:pos x="connsiteX8807" y="connsiteY8807"/>
                </a:cxn>
                <a:cxn ang="0">
                  <a:pos x="connsiteX8808" y="connsiteY8808"/>
                </a:cxn>
                <a:cxn ang="0">
                  <a:pos x="connsiteX8809" y="connsiteY8809"/>
                </a:cxn>
                <a:cxn ang="0">
                  <a:pos x="connsiteX8810" y="connsiteY8810"/>
                </a:cxn>
                <a:cxn ang="0">
                  <a:pos x="connsiteX8811" y="connsiteY8811"/>
                </a:cxn>
                <a:cxn ang="0">
                  <a:pos x="connsiteX8812" y="connsiteY8812"/>
                </a:cxn>
                <a:cxn ang="0">
                  <a:pos x="connsiteX8813" y="connsiteY8813"/>
                </a:cxn>
                <a:cxn ang="0">
                  <a:pos x="connsiteX8814" y="connsiteY8814"/>
                </a:cxn>
                <a:cxn ang="0">
                  <a:pos x="connsiteX8815" y="connsiteY8815"/>
                </a:cxn>
                <a:cxn ang="0">
                  <a:pos x="connsiteX8816" y="connsiteY8816"/>
                </a:cxn>
                <a:cxn ang="0">
                  <a:pos x="connsiteX8817" y="connsiteY8817"/>
                </a:cxn>
                <a:cxn ang="0">
                  <a:pos x="connsiteX8818" y="connsiteY8818"/>
                </a:cxn>
                <a:cxn ang="0">
                  <a:pos x="connsiteX8819" y="connsiteY8819"/>
                </a:cxn>
                <a:cxn ang="0">
                  <a:pos x="connsiteX8820" y="connsiteY8820"/>
                </a:cxn>
                <a:cxn ang="0">
                  <a:pos x="connsiteX8821" y="connsiteY8821"/>
                </a:cxn>
                <a:cxn ang="0">
                  <a:pos x="connsiteX8822" y="connsiteY8822"/>
                </a:cxn>
                <a:cxn ang="0">
                  <a:pos x="connsiteX8823" y="connsiteY8823"/>
                </a:cxn>
                <a:cxn ang="0">
                  <a:pos x="connsiteX8824" y="connsiteY8824"/>
                </a:cxn>
                <a:cxn ang="0">
                  <a:pos x="connsiteX8825" y="connsiteY8825"/>
                </a:cxn>
                <a:cxn ang="0">
                  <a:pos x="connsiteX8826" y="connsiteY8826"/>
                </a:cxn>
                <a:cxn ang="0">
                  <a:pos x="connsiteX8827" y="connsiteY8827"/>
                </a:cxn>
                <a:cxn ang="0">
                  <a:pos x="connsiteX8828" y="connsiteY8828"/>
                </a:cxn>
                <a:cxn ang="0">
                  <a:pos x="connsiteX8829" y="connsiteY8829"/>
                </a:cxn>
                <a:cxn ang="0">
                  <a:pos x="connsiteX8830" y="connsiteY8830"/>
                </a:cxn>
                <a:cxn ang="0">
                  <a:pos x="connsiteX8831" y="connsiteY8831"/>
                </a:cxn>
                <a:cxn ang="0">
                  <a:pos x="connsiteX8832" y="connsiteY8832"/>
                </a:cxn>
                <a:cxn ang="0">
                  <a:pos x="connsiteX8833" y="connsiteY8833"/>
                </a:cxn>
                <a:cxn ang="0">
                  <a:pos x="connsiteX8834" y="connsiteY8834"/>
                </a:cxn>
                <a:cxn ang="0">
                  <a:pos x="connsiteX8835" y="connsiteY8835"/>
                </a:cxn>
                <a:cxn ang="0">
                  <a:pos x="connsiteX8836" y="connsiteY8836"/>
                </a:cxn>
                <a:cxn ang="0">
                  <a:pos x="connsiteX8837" y="connsiteY8837"/>
                </a:cxn>
                <a:cxn ang="0">
                  <a:pos x="connsiteX8838" y="connsiteY8838"/>
                </a:cxn>
                <a:cxn ang="0">
                  <a:pos x="connsiteX8839" y="connsiteY8839"/>
                </a:cxn>
                <a:cxn ang="0">
                  <a:pos x="connsiteX8840" y="connsiteY8840"/>
                </a:cxn>
                <a:cxn ang="0">
                  <a:pos x="connsiteX8841" y="connsiteY8841"/>
                </a:cxn>
                <a:cxn ang="0">
                  <a:pos x="connsiteX8842" y="connsiteY8842"/>
                </a:cxn>
                <a:cxn ang="0">
                  <a:pos x="connsiteX8843" y="connsiteY8843"/>
                </a:cxn>
                <a:cxn ang="0">
                  <a:pos x="connsiteX8844" y="connsiteY8844"/>
                </a:cxn>
                <a:cxn ang="0">
                  <a:pos x="connsiteX8845" y="connsiteY8845"/>
                </a:cxn>
                <a:cxn ang="0">
                  <a:pos x="connsiteX8846" y="connsiteY8846"/>
                </a:cxn>
                <a:cxn ang="0">
                  <a:pos x="connsiteX8847" y="connsiteY8847"/>
                </a:cxn>
                <a:cxn ang="0">
                  <a:pos x="connsiteX8848" y="connsiteY8848"/>
                </a:cxn>
                <a:cxn ang="0">
                  <a:pos x="connsiteX8849" y="connsiteY8849"/>
                </a:cxn>
                <a:cxn ang="0">
                  <a:pos x="connsiteX8850" y="connsiteY8850"/>
                </a:cxn>
                <a:cxn ang="0">
                  <a:pos x="connsiteX8851" y="connsiteY8851"/>
                </a:cxn>
                <a:cxn ang="0">
                  <a:pos x="connsiteX8852" y="connsiteY8852"/>
                </a:cxn>
                <a:cxn ang="0">
                  <a:pos x="connsiteX8853" y="connsiteY8853"/>
                </a:cxn>
                <a:cxn ang="0">
                  <a:pos x="connsiteX8854" y="connsiteY8854"/>
                </a:cxn>
                <a:cxn ang="0">
                  <a:pos x="connsiteX8855" y="connsiteY8855"/>
                </a:cxn>
                <a:cxn ang="0">
                  <a:pos x="connsiteX8856" y="connsiteY8856"/>
                </a:cxn>
                <a:cxn ang="0">
                  <a:pos x="connsiteX8857" y="connsiteY8857"/>
                </a:cxn>
                <a:cxn ang="0">
                  <a:pos x="connsiteX8858" y="connsiteY8858"/>
                </a:cxn>
                <a:cxn ang="0">
                  <a:pos x="connsiteX8859" y="connsiteY8859"/>
                </a:cxn>
                <a:cxn ang="0">
                  <a:pos x="connsiteX8860" y="connsiteY8860"/>
                </a:cxn>
                <a:cxn ang="0">
                  <a:pos x="connsiteX8861" y="connsiteY8861"/>
                </a:cxn>
                <a:cxn ang="0">
                  <a:pos x="connsiteX8862" y="connsiteY8862"/>
                </a:cxn>
                <a:cxn ang="0">
                  <a:pos x="connsiteX8863" y="connsiteY8863"/>
                </a:cxn>
                <a:cxn ang="0">
                  <a:pos x="connsiteX8864" y="connsiteY8864"/>
                </a:cxn>
                <a:cxn ang="0">
                  <a:pos x="connsiteX8865" y="connsiteY8865"/>
                </a:cxn>
                <a:cxn ang="0">
                  <a:pos x="connsiteX8866" y="connsiteY8866"/>
                </a:cxn>
                <a:cxn ang="0">
                  <a:pos x="connsiteX8867" y="connsiteY8867"/>
                </a:cxn>
                <a:cxn ang="0">
                  <a:pos x="connsiteX8868" y="connsiteY8868"/>
                </a:cxn>
                <a:cxn ang="0">
                  <a:pos x="connsiteX8869" y="connsiteY8869"/>
                </a:cxn>
                <a:cxn ang="0">
                  <a:pos x="connsiteX8870" y="connsiteY8870"/>
                </a:cxn>
                <a:cxn ang="0">
                  <a:pos x="connsiteX8871" y="connsiteY8871"/>
                </a:cxn>
                <a:cxn ang="0">
                  <a:pos x="connsiteX8872" y="connsiteY8872"/>
                </a:cxn>
                <a:cxn ang="0">
                  <a:pos x="connsiteX8873" y="connsiteY8873"/>
                </a:cxn>
                <a:cxn ang="0">
                  <a:pos x="connsiteX8874" y="connsiteY8874"/>
                </a:cxn>
                <a:cxn ang="0">
                  <a:pos x="connsiteX8875" y="connsiteY8875"/>
                </a:cxn>
                <a:cxn ang="0">
                  <a:pos x="connsiteX8876" y="connsiteY8876"/>
                </a:cxn>
                <a:cxn ang="0">
                  <a:pos x="connsiteX8877" y="connsiteY8877"/>
                </a:cxn>
                <a:cxn ang="0">
                  <a:pos x="connsiteX8878" y="connsiteY8878"/>
                </a:cxn>
                <a:cxn ang="0">
                  <a:pos x="connsiteX8879" y="connsiteY8879"/>
                </a:cxn>
                <a:cxn ang="0">
                  <a:pos x="connsiteX8880" y="connsiteY8880"/>
                </a:cxn>
                <a:cxn ang="0">
                  <a:pos x="connsiteX8881" y="connsiteY8881"/>
                </a:cxn>
                <a:cxn ang="0">
                  <a:pos x="connsiteX8882" y="connsiteY8882"/>
                </a:cxn>
                <a:cxn ang="0">
                  <a:pos x="connsiteX8883" y="connsiteY8883"/>
                </a:cxn>
                <a:cxn ang="0">
                  <a:pos x="connsiteX8884" y="connsiteY8884"/>
                </a:cxn>
                <a:cxn ang="0">
                  <a:pos x="connsiteX8885" y="connsiteY8885"/>
                </a:cxn>
                <a:cxn ang="0">
                  <a:pos x="connsiteX8886" y="connsiteY8886"/>
                </a:cxn>
                <a:cxn ang="0">
                  <a:pos x="connsiteX8887" y="connsiteY8887"/>
                </a:cxn>
                <a:cxn ang="0">
                  <a:pos x="connsiteX8888" y="connsiteY8888"/>
                </a:cxn>
                <a:cxn ang="0">
                  <a:pos x="connsiteX8889" y="connsiteY8889"/>
                </a:cxn>
                <a:cxn ang="0">
                  <a:pos x="connsiteX8890" y="connsiteY8890"/>
                </a:cxn>
                <a:cxn ang="0">
                  <a:pos x="connsiteX8891" y="connsiteY8891"/>
                </a:cxn>
                <a:cxn ang="0">
                  <a:pos x="connsiteX8892" y="connsiteY8892"/>
                </a:cxn>
                <a:cxn ang="0">
                  <a:pos x="connsiteX8893" y="connsiteY8893"/>
                </a:cxn>
                <a:cxn ang="0">
                  <a:pos x="connsiteX8894" y="connsiteY8894"/>
                </a:cxn>
                <a:cxn ang="0">
                  <a:pos x="connsiteX8895" y="connsiteY8895"/>
                </a:cxn>
                <a:cxn ang="0">
                  <a:pos x="connsiteX8896" y="connsiteY8896"/>
                </a:cxn>
                <a:cxn ang="0">
                  <a:pos x="connsiteX8897" y="connsiteY8897"/>
                </a:cxn>
                <a:cxn ang="0">
                  <a:pos x="connsiteX8898" y="connsiteY8898"/>
                </a:cxn>
                <a:cxn ang="0">
                  <a:pos x="connsiteX8899" y="connsiteY8899"/>
                </a:cxn>
                <a:cxn ang="0">
                  <a:pos x="connsiteX8900" y="connsiteY8900"/>
                </a:cxn>
                <a:cxn ang="0">
                  <a:pos x="connsiteX8901" y="connsiteY8901"/>
                </a:cxn>
                <a:cxn ang="0">
                  <a:pos x="connsiteX8902" y="connsiteY8902"/>
                </a:cxn>
                <a:cxn ang="0">
                  <a:pos x="connsiteX8903" y="connsiteY8903"/>
                </a:cxn>
                <a:cxn ang="0">
                  <a:pos x="connsiteX8904" y="connsiteY8904"/>
                </a:cxn>
                <a:cxn ang="0">
                  <a:pos x="connsiteX8905" y="connsiteY8905"/>
                </a:cxn>
                <a:cxn ang="0">
                  <a:pos x="connsiteX8906" y="connsiteY8906"/>
                </a:cxn>
                <a:cxn ang="0">
                  <a:pos x="connsiteX8907" y="connsiteY8907"/>
                </a:cxn>
                <a:cxn ang="0">
                  <a:pos x="connsiteX8908" y="connsiteY8908"/>
                </a:cxn>
                <a:cxn ang="0">
                  <a:pos x="connsiteX8909" y="connsiteY8909"/>
                </a:cxn>
                <a:cxn ang="0">
                  <a:pos x="connsiteX8910" y="connsiteY8910"/>
                </a:cxn>
                <a:cxn ang="0">
                  <a:pos x="connsiteX8911" y="connsiteY8911"/>
                </a:cxn>
                <a:cxn ang="0">
                  <a:pos x="connsiteX8912" y="connsiteY8912"/>
                </a:cxn>
                <a:cxn ang="0">
                  <a:pos x="connsiteX8913" y="connsiteY8913"/>
                </a:cxn>
                <a:cxn ang="0">
                  <a:pos x="connsiteX8914" y="connsiteY8914"/>
                </a:cxn>
                <a:cxn ang="0">
                  <a:pos x="connsiteX8915" y="connsiteY8915"/>
                </a:cxn>
                <a:cxn ang="0">
                  <a:pos x="connsiteX8916" y="connsiteY8916"/>
                </a:cxn>
                <a:cxn ang="0">
                  <a:pos x="connsiteX8917" y="connsiteY8917"/>
                </a:cxn>
                <a:cxn ang="0">
                  <a:pos x="connsiteX8918" y="connsiteY8918"/>
                </a:cxn>
                <a:cxn ang="0">
                  <a:pos x="connsiteX8919" y="connsiteY8919"/>
                </a:cxn>
                <a:cxn ang="0">
                  <a:pos x="connsiteX8920" y="connsiteY8920"/>
                </a:cxn>
                <a:cxn ang="0">
                  <a:pos x="connsiteX8921" y="connsiteY8921"/>
                </a:cxn>
                <a:cxn ang="0">
                  <a:pos x="connsiteX8922" y="connsiteY8922"/>
                </a:cxn>
                <a:cxn ang="0">
                  <a:pos x="connsiteX8923" y="connsiteY8923"/>
                </a:cxn>
                <a:cxn ang="0">
                  <a:pos x="connsiteX8924" y="connsiteY8924"/>
                </a:cxn>
                <a:cxn ang="0">
                  <a:pos x="connsiteX8925" y="connsiteY8925"/>
                </a:cxn>
                <a:cxn ang="0">
                  <a:pos x="connsiteX8926" y="connsiteY8926"/>
                </a:cxn>
                <a:cxn ang="0">
                  <a:pos x="connsiteX8927" y="connsiteY8927"/>
                </a:cxn>
                <a:cxn ang="0">
                  <a:pos x="connsiteX8928" y="connsiteY8928"/>
                </a:cxn>
                <a:cxn ang="0">
                  <a:pos x="connsiteX8929" y="connsiteY8929"/>
                </a:cxn>
                <a:cxn ang="0">
                  <a:pos x="connsiteX8930" y="connsiteY8930"/>
                </a:cxn>
                <a:cxn ang="0">
                  <a:pos x="connsiteX8931" y="connsiteY8931"/>
                </a:cxn>
                <a:cxn ang="0">
                  <a:pos x="connsiteX8932" y="connsiteY8932"/>
                </a:cxn>
                <a:cxn ang="0">
                  <a:pos x="connsiteX8933" y="connsiteY8933"/>
                </a:cxn>
                <a:cxn ang="0">
                  <a:pos x="connsiteX8934" y="connsiteY8934"/>
                </a:cxn>
                <a:cxn ang="0">
                  <a:pos x="connsiteX8935" y="connsiteY8935"/>
                </a:cxn>
                <a:cxn ang="0">
                  <a:pos x="connsiteX8936" y="connsiteY8936"/>
                </a:cxn>
                <a:cxn ang="0">
                  <a:pos x="connsiteX8937" y="connsiteY8937"/>
                </a:cxn>
                <a:cxn ang="0">
                  <a:pos x="connsiteX8938" y="connsiteY8938"/>
                </a:cxn>
                <a:cxn ang="0">
                  <a:pos x="connsiteX8939" y="connsiteY8939"/>
                </a:cxn>
                <a:cxn ang="0">
                  <a:pos x="connsiteX8940" y="connsiteY8940"/>
                </a:cxn>
                <a:cxn ang="0">
                  <a:pos x="connsiteX8941" y="connsiteY8941"/>
                </a:cxn>
                <a:cxn ang="0">
                  <a:pos x="connsiteX8942" y="connsiteY8942"/>
                </a:cxn>
                <a:cxn ang="0">
                  <a:pos x="connsiteX8943" y="connsiteY8943"/>
                </a:cxn>
                <a:cxn ang="0">
                  <a:pos x="connsiteX8944" y="connsiteY8944"/>
                </a:cxn>
                <a:cxn ang="0">
                  <a:pos x="connsiteX8945" y="connsiteY8945"/>
                </a:cxn>
                <a:cxn ang="0">
                  <a:pos x="connsiteX8946" y="connsiteY8946"/>
                </a:cxn>
                <a:cxn ang="0">
                  <a:pos x="connsiteX8947" y="connsiteY8947"/>
                </a:cxn>
                <a:cxn ang="0">
                  <a:pos x="connsiteX8948" y="connsiteY8948"/>
                </a:cxn>
                <a:cxn ang="0">
                  <a:pos x="connsiteX8949" y="connsiteY8949"/>
                </a:cxn>
                <a:cxn ang="0">
                  <a:pos x="connsiteX8950" y="connsiteY8950"/>
                </a:cxn>
                <a:cxn ang="0">
                  <a:pos x="connsiteX8951" y="connsiteY8951"/>
                </a:cxn>
                <a:cxn ang="0">
                  <a:pos x="connsiteX8952" y="connsiteY8952"/>
                </a:cxn>
                <a:cxn ang="0">
                  <a:pos x="connsiteX8953" y="connsiteY8953"/>
                </a:cxn>
                <a:cxn ang="0">
                  <a:pos x="connsiteX8954" y="connsiteY8954"/>
                </a:cxn>
                <a:cxn ang="0">
                  <a:pos x="connsiteX8955" y="connsiteY8955"/>
                </a:cxn>
                <a:cxn ang="0">
                  <a:pos x="connsiteX8956" y="connsiteY8956"/>
                </a:cxn>
                <a:cxn ang="0">
                  <a:pos x="connsiteX8957" y="connsiteY8957"/>
                </a:cxn>
                <a:cxn ang="0">
                  <a:pos x="connsiteX8958" y="connsiteY8958"/>
                </a:cxn>
                <a:cxn ang="0">
                  <a:pos x="connsiteX8959" y="connsiteY8959"/>
                </a:cxn>
                <a:cxn ang="0">
                  <a:pos x="connsiteX8960" y="connsiteY8960"/>
                </a:cxn>
                <a:cxn ang="0">
                  <a:pos x="connsiteX8961" y="connsiteY8961"/>
                </a:cxn>
                <a:cxn ang="0">
                  <a:pos x="connsiteX8962" y="connsiteY8962"/>
                </a:cxn>
                <a:cxn ang="0">
                  <a:pos x="connsiteX8963" y="connsiteY8963"/>
                </a:cxn>
                <a:cxn ang="0">
                  <a:pos x="connsiteX8964" y="connsiteY8964"/>
                </a:cxn>
                <a:cxn ang="0">
                  <a:pos x="connsiteX8965" y="connsiteY8965"/>
                </a:cxn>
                <a:cxn ang="0">
                  <a:pos x="connsiteX8966" y="connsiteY8966"/>
                </a:cxn>
                <a:cxn ang="0">
                  <a:pos x="connsiteX8967" y="connsiteY8967"/>
                </a:cxn>
                <a:cxn ang="0">
                  <a:pos x="connsiteX8968" y="connsiteY8968"/>
                </a:cxn>
                <a:cxn ang="0">
                  <a:pos x="connsiteX8969" y="connsiteY8969"/>
                </a:cxn>
                <a:cxn ang="0">
                  <a:pos x="connsiteX8970" y="connsiteY8970"/>
                </a:cxn>
                <a:cxn ang="0">
                  <a:pos x="connsiteX8971" y="connsiteY8971"/>
                </a:cxn>
                <a:cxn ang="0">
                  <a:pos x="connsiteX8972" y="connsiteY8972"/>
                </a:cxn>
                <a:cxn ang="0">
                  <a:pos x="connsiteX8973" y="connsiteY8973"/>
                </a:cxn>
                <a:cxn ang="0">
                  <a:pos x="connsiteX8974" y="connsiteY8974"/>
                </a:cxn>
                <a:cxn ang="0">
                  <a:pos x="connsiteX8975" y="connsiteY8975"/>
                </a:cxn>
                <a:cxn ang="0">
                  <a:pos x="connsiteX8976" y="connsiteY8976"/>
                </a:cxn>
                <a:cxn ang="0">
                  <a:pos x="connsiteX8977" y="connsiteY8977"/>
                </a:cxn>
                <a:cxn ang="0">
                  <a:pos x="connsiteX8978" y="connsiteY8978"/>
                </a:cxn>
                <a:cxn ang="0">
                  <a:pos x="connsiteX8979" y="connsiteY8979"/>
                </a:cxn>
                <a:cxn ang="0">
                  <a:pos x="connsiteX8980" y="connsiteY8980"/>
                </a:cxn>
                <a:cxn ang="0">
                  <a:pos x="connsiteX8981" y="connsiteY8981"/>
                </a:cxn>
                <a:cxn ang="0">
                  <a:pos x="connsiteX8982" y="connsiteY8982"/>
                </a:cxn>
                <a:cxn ang="0">
                  <a:pos x="connsiteX8983" y="connsiteY8983"/>
                </a:cxn>
                <a:cxn ang="0">
                  <a:pos x="connsiteX8984" y="connsiteY8984"/>
                </a:cxn>
                <a:cxn ang="0">
                  <a:pos x="connsiteX8985" y="connsiteY8985"/>
                </a:cxn>
                <a:cxn ang="0">
                  <a:pos x="connsiteX8986" y="connsiteY8986"/>
                </a:cxn>
                <a:cxn ang="0">
                  <a:pos x="connsiteX8987" y="connsiteY8987"/>
                </a:cxn>
                <a:cxn ang="0">
                  <a:pos x="connsiteX8988" y="connsiteY8988"/>
                </a:cxn>
                <a:cxn ang="0">
                  <a:pos x="connsiteX8989" y="connsiteY8989"/>
                </a:cxn>
                <a:cxn ang="0">
                  <a:pos x="connsiteX8990" y="connsiteY8990"/>
                </a:cxn>
                <a:cxn ang="0">
                  <a:pos x="connsiteX8991" y="connsiteY8991"/>
                </a:cxn>
                <a:cxn ang="0">
                  <a:pos x="connsiteX8992" y="connsiteY8992"/>
                </a:cxn>
                <a:cxn ang="0">
                  <a:pos x="connsiteX8993" y="connsiteY8993"/>
                </a:cxn>
                <a:cxn ang="0">
                  <a:pos x="connsiteX8994" y="connsiteY8994"/>
                </a:cxn>
                <a:cxn ang="0">
                  <a:pos x="connsiteX8995" y="connsiteY8995"/>
                </a:cxn>
                <a:cxn ang="0">
                  <a:pos x="connsiteX8996" y="connsiteY8996"/>
                </a:cxn>
                <a:cxn ang="0">
                  <a:pos x="connsiteX8997" y="connsiteY8997"/>
                </a:cxn>
                <a:cxn ang="0">
                  <a:pos x="connsiteX8998" y="connsiteY8998"/>
                </a:cxn>
                <a:cxn ang="0">
                  <a:pos x="connsiteX8999" y="connsiteY8999"/>
                </a:cxn>
                <a:cxn ang="0">
                  <a:pos x="connsiteX9000" y="connsiteY9000"/>
                </a:cxn>
                <a:cxn ang="0">
                  <a:pos x="connsiteX9001" y="connsiteY9001"/>
                </a:cxn>
                <a:cxn ang="0">
                  <a:pos x="connsiteX9002" y="connsiteY9002"/>
                </a:cxn>
                <a:cxn ang="0">
                  <a:pos x="connsiteX9003" y="connsiteY9003"/>
                </a:cxn>
                <a:cxn ang="0">
                  <a:pos x="connsiteX9004" y="connsiteY9004"/>
                </a:cxn>
                <a:cxn ang="0">
                  <a:pos x="connsiteX9005" y="connsiteY9005"/>
                </a:cxn>
                <a:cxn ang="0">
                  <a:pos x="connsiteX9006" y="connsiteY9006"/>
                </a:cxn>
                <a:cxn ang="0">
                  <a:pos x="connsiteX9007" y="connsiteY9007"/>
                </a:cxn>
                <a:cxn ang="0">
                  <a:pos x="connsiteX9008" y="connsiteY9008"/>
                </a:cxn>
                <a:cxn ang="0">
                  <a:pos x="connsiteX9009" y="connsiteY9009"/>
                </a:cxn>
                <a:cxn ang="0">
                  <a:pos x="connsiteX9010" y="connsiteY9010"/>
                </a:cxn>
                <a:cxn ang="0">
                  <a:pos x="connsiteX9011" y="connsiteY9011"/>
                </a:cxn>
                <a:cxn ang="0">
                  <a:pos x="connsiteX9012" y="connsiteY9012"/>
                </a:cxn>
                <a:cxn ang="0">
                  <a:pos x="connsiteX9013" y="connsiteY9013"/>
                </a:cxn>
                <a:cxn ang="0">
                  <a:pos x="connsiteX9014" y="connsiteY9014"/>
                </a:cxn>
                <a:cxn ang="0">
                  <a:pos x="connsiteX9015" y="connsiteY9015"/>
                </a:cxn>
                <a:cxn ang="0">
                  <a:pos x="connsiteX9016" y="connsiteY9016"/>
                </a:cxn>
                <a:cxn ang="0">
                  <a:pos x="connsiteX9017" y="connsiteY9017"/>
                </a:cxn>
                <a:cxn ang="0">
                  <a:pos x="connsiteX9018" y="connsiteY9018"/>
                </a:cxn>
                <a:cxn ang="0">
                  <a:pos x="connsiteX9019" y="connsiteY9019"/>
                </a:cxn>
                <a:cxn ang="0">
                  <a:pos x="connsiteX9020" y="connsiteY9020"/>
                </a:cxn>
                <a:cxn ang="0">
                  <a:pos x="connsiteX9021" y="connsiteY9021"/>
                </a:cxn>
                <a:cxn ang="0">
                  <a:pos x="connsiteX9022" y="connsiteY9022"/>
                </a:cxn>
                <a:cxn ang="0">
                  <a:pos x="connsiteX9023" y="connsiteY9023"/>
                </a:cxn>
                <a:cxn ang="0">
                  <a:pos x="connsiteX9024" y="connsiteY9024"/>
                </a:cxn>
                <a:cxn ang="0">
                  <a:pos x="connsiteX9025" y="connsiteY9025"/>
                </a:cxn>
                <a:cxn ang="0">
                  <a:pos x="connsiteX9026" y="connsiteY9026"/>
                </a:cxn>
                <a:cxn ang="0">
                  <a:pos x="connsiteX9027" y="connsiteY9027"/>
                </a:cxn>
                <a:cxn ang="0">
                  <a:pos x="connsiteX9028" y="connsiteY9028"/>
                </a:cxn>
                <a:cxn ang="0">
                  <a:pos x="connsiteX9029" y="connsiteY9029"/>
                </a:cxn>
                <a:cxn ang="0">
                  <a:pos x="connsiteX9030" y="connsiteY9030"/>
                </a:cxn>
                <a:cxn ang="0">
                  <a:pos x="connsiteX9031" y="connsiteY9031"/>
                </a:cxn>
                <a:cxn ang="0">
                  <a:pos x="connsiteX9032" y="connsiteY9032"/>
                </a:cxn>
                <a:cxn ang="0">
                  <a:pos x="connsiteX9033" y="connsiteY9033"/>
                </a:cxn>
                <a:cxn ang="0">
                  <a:pos x="connsiteX9034" y="connsiteY9034"/>
                </a:cxn>
                <a:cxn ang="0">
                  <a:pos x="connsiteX9035" y="connsiteY9035"/>
                </a:cxn>
                <a:cxn ang="0">
                  <a:pos x="connsiteX9036" y="connsiteY9036"/>
                </a:cxn>
                <a:cxn ang="0">
                  <a:pos x="connsiteX9037" y="connsiteY9037"/>
                </a:cxn>
                <a:cxn ang="0">
                  <a:pos x="connsiteX9038" y="connsiteY9038"/>
                </a:cxn>
                <a:cxn ang="0">
                  <a:pos x="connsiteX9039" y="connsiteY9039"/>
                </a:cxn>
                <a:cxn ang="0">
                  <a:pos x="connsiteX9040" y="connsiteY9040"/>
                </a:cxn>
                <a:cxn ang="0">
                  <a:pos x="connsiteX9041" y="connsiteY9041"/>
                </a:cxn>
                <a:cxn ang="0">
                  <a:pos x="connsiteX9042" y="connsiteY9042"/>
                </a:cxn>
                <a:cxn ang="0">
                  <a:pos x="connsiteX9043" y="connsiteY9043"/>
                </a:cxn>
                <a:cxn ang="0">
                  <a:pos x="connsiteX9044" y="connsiteY9044"/>
                </a:cxn>
                <a:cxn ang="0">
                  <a:pos x="connsiteX9045" y="connsiteY9045"/>
                </a:cxn>
                <a:cxn ang="0">
                  <a:pos x="connsiteX9046" y="connsiteY9046"/>
                </a:cxn>
                <a:cxn ang="0">
                  <a:pos x="connsiteX9047" y="connsiteY9047"/>
                </a:cxn>
                <a:cxn ang="0">
                  <a:pos x="connsiteX9048" y="connsiteY9048"/>
                </a:cxn>
                <a:cxn ang="0">
                  <a:pos x="connsiteX9049" y="connsiteY9049"/>
                </a:cxn>
                <a:cxn ang="0">
                  <a:pos x="connsiteX9050" y="connsiteY9050"/>
                </a:cxn>
                <a:cxn ang="0">
                  <a:pos x="connsiteX9051" y="connsiteY9051"/>
                </a:cxn>
                <a:cxn ang="0">
                  <a:pos x="connsiteX9052" y="connsiteY9052"/>
                </a:cxn>
                <a:cxn ang="0">
                  <a:pos x="connsiteX9053" y="connsiteY9053"/>
                </a:cxn>
                <a:cxn ang="0">
                  <a:pos x="connsiteX9054" y="connsiteY9054"/>
                </a:cxn>
                <a:cxn ang="0">
                  <a:pos x="connsiteX9055" y="connsiteY9055"/>
                </a:cxn>
                <a:cxn ang="0">
                  <a:pos x="connsiteX9056" y="connsiteY9056"/>
                </a:cxn>
                <a:cxn ang="0">
                  <a:pos x="connsiteX9057" y="connsiteY9057"/>
                </a:cxn>
                <a:cxn ang="0">
                  <a:pos x="connsiteX9058" y="connsiteY9058"/>
                </a:cxn>
                <a:cxn ang="0">
                  <a:pos x="connsiteX9059" y="connsiteY9059"/>
                </a:cxn>
                <a:cxn ang="0">
                  <a:pos x="connsiteX9060" y="connsiteY9060"/>
                </a:cxn>
                <a:cxn ang="0">
                  <a:pos x="connsiteX9061" y="connsiteY9061"/>
                </a:cxn>
                <a:cxn ang="0">
                  <a:pos x="connsiteX9062" y="connsiteY9062"/>
                </a:cxn>
                <a:cxn ang="0">
                  <a:pos x="connsiteX9063" y="connsiteY9063"/>
                </a:cxn>
                <a:cxn ang="0">
                  <a:pos x="connsiteX9064" y="connsiteY9064"/>
                </a:cxn>
                <a:cxn ang="0">
                  <a:pos x="connsiteX9065" y="connsiteY9065"/>
                </a:cxn>
                <a:cxn ang="0">
                  <a:pos x="connsiteX9066" y="connsiteY9066"/>
                </a:cxn>
                <a:cxn ang="0">
                  <a:pos x="connsiteX9067" y="connsiteY9067"/>
                </a:cxn>
                <a:cxn ang="0">
                  <a:pos x="connsiteX9068" y="connsiteY9068"/>
                </a:cxn>
                <a:cxn ang="0">
                  <a:pos x="connsiteX9069" y="connsiteY9069"/>
                </a:cxn>
                <a:cxn ang="0">
                  <a:pos x="connsiteX9070" y="connsiteY9070"/>
                </a:cxn>
                <a:cxn ang="0">
                  <a:pos x="connsiteX9071" y="connsiteY9071"/>
                </a:cxn>
                <a:cxn ang="0">
                  <a:pos x="connsiteX9072" y="connsiteY9072"/>
                </a:cxn>
                <a:cxn ang="0">
                  <a:pos x="connsiteX9073" y="connsiteY9073"/>
                </a:cxn>
                <a:cxn ang="0">
                  <a:pos x="connsiteX9074" y="connsiteY9074"/>
                </a:cxn>
                <a:cxn ang="0">
                  <a:pos x="connsiteX9075" y="connsiteY9075"/>
                </a:cxn>
                <a:cxn ang="0">
                  <a:pos x="connsiteX9076" y="connsiteY9076"/>
                </a:cxn>
                <a:cxn ang="0">
                  <a:pos x="connsiteX9077" y="connsiteY9077"/>
                </a:cxn>
                <a:cxn ang="0">
                  <a:pos x="connsiteX9078" y="connsiteY9078"/>
                </a:cxn>
                <a:cxn ang="0">
                  <a:pos x="connsiteX9079" y="connsiteY9079"/>
                </a:cxn>
                <a:cxn ang="0">
                  <a:pos x="connsiteX9080" y="connsiteY9080"/>
                </a:cxn>
                <a:cxn ang="0">
                  <a:pos x="connsiteX9081" y="connsiteY9081"/>
                </a:cxn>
                <a:cxn ang="0">
                  <a:pos x="connsiteX9082" y="connsiteY9082"/>
                </a:cxn>
                <a:cxn ang="0">
                  <a:pos x="connsiteX9083" y="connsiteY9083"/>
                </a:cxn>
                <a:cxn ang="0">
                  <a:pos x="connsiteX9084" y="connsiteY9084"/>
                </a:cxn>
                <a:cxn ang="0">
                  <a:pos x="connsiteX9085" y="connsiteY9085"/>
                </a:cxn>
                <a:cxn ang="0">
                  <a:pos x="connsiteX9086" y="connsiteY9086"/>
                </a:cxn>
                <a:cxn ang="0">
                  <a:pos x="connsiteX9087" y="connsiteY9087"/>
                </a:cxn>
                <a:cxn ang="0">
                  <a:pos x="connsiteX9088" y="connsiteY9088"/>
                </a:cxn>
                <a:cxn ang="0">
                  <a:pos x="connsiteX9089" y="connsiteY9089"/>
                </a:cxn>
                <a:cxn ang="0">
                  <a:pos x="connsiteX9090" y="connsiteY9090"/>
                </a:cxn>
                <a:cxn ang="0">
                  <a:pos x="connsiteX9091" y="connsiteY9091"/>
                </a:cxn>
                <a:cxn ang="0">
                  <a:pos x="connsiteX9092" y="connsiteY9092"/>
                </a:cxn>
                <a:cxn ang="0">
                  <a:pos x="connsiteX9093" y="connsiteY9093"/>
                </a:cxn>
                <a:cxn ang="0">
                  <a:pos x="connsiteX9094" y="connsiteY9094"/>
                </a:cxn>
                <a:cxn ang="0">
                  <a:pos x="connsiteX9095" y="connsiteY9095"/>
                </a:cxn>
                <a:cxn ang="0">
                  <a:pos x="connsiteX9096" y="connsiteY9096"/>
                </a:cxn>
                <a:cxn ang="0">
                  <a:pos x="connsiteX9097" y="connsiteY9097"/>
                </a:cxn>
                <a:cxn ang="0">
                  <a:pos x="connsiteX9098" y="connsiteY9098"/>
                </a:cxn>
                <a:cxn ang="0">
                  <a:pos x="connsiteX9099" y="connsiteY9099"/>
                </a:cxn>
                <a:cxn ang="0">
                  <a:pos x="connsiteX9100" y="connsiteY9100"/>
                </a:cxn>
                <a:cxn ang="0">
                  <a:pos x="connsiteX9101" y="connsiteY9101"/>
                </a:cxn>
                <a:cxn ang="0">
                  <a:pos x="connsiteX9102" y="connsiteY9102"/>
                </a:cxn>
                <a:cxn ang="0">
                  <a:pos x="connsiteX9103" y="connsiteY9103"/>
                </a:cxn>
                <a:cxn ang="0">
                  <a:pos x="connsiteX9104" y="connsiteY9104"/>
                </a:cxn>
                <a:cxn ang="0">
                  <a:pos x="connsiteX9105" y="connsiteY9105"/>
                </a:cxn>
                <a:cxn ang="0">
                  <a:pos x="connsiteX9106" y="connsiteY9106"/>
                </a:cxn>
                <a:cxn ang="0">
                  <a:pos x="connsiteX9107" y="connsiteY9107"/>
                </a:cxn>
                <a:cxn ang="0">
                  <a:pos x="connsiteX9108" y="connsiteY9108"/>
                </a:cxn>
                <a:cxn ang="0">
                  <a:pos x="connsiteX9109" y="connsiteY9109"/>
                </a:cxn>
                <a:cxn ang="0">
                  <a:pos x="connsiteX9110" y="connsiteY9110"/>
                </a:cxn>
                <a:cxn ang="0">
                  <a:pos x="connsiteX9111" y="connsiteY9111"/>
                </a:cxn>
                <a:cxn ang="0">
                  <a:pos x="connsiteX9112" y="connsiteY9112"/>
                </a:cxn>
                <a:cxn ang="0">
                  <a:pos x="connsiteX9113" y="connsiteY9113"/>
                </a:cxn>
                <a:cxn ang="0">
                  <a:pos x="connsiteX9114" y="connsiteY9114"/>
                </a:cxn>
                <a:cxn ang="0">
                  <a:pos x="connsiteX9115" y="connsiteY9115"/>
                </a:cxn>
                <a:cxn ang="0">
                  <a:pos x="connsiteX9116" y="connsiteY9116"/>
                </a:cxn>
                <a:cxn ang="0">
                  <a:pos x="connsiteX9117" y="connsiteY9117"/>
                </a:cxn>
                <a:cxn ang="0">
                  <a:pos x="connsiteX9118" y="connsiteY9118"/>
                </a:cxn>
                <a:cxn ang="0">
                  <a:pos x="connsiteX9119" y="connsiteY9119"/>
                </a:cxn>
                <a:cxn ang="0">
                  <a:pos x="connsiteX9120" y="connsiteY9120"/>
                </a:cxn>
                <a:cxn ang="0">
                  <a:pos x="connsiteX9121" y="connsiteY9121"/>
                </a:cxn>
                <a:cxn ang="0">
                  <a:pos x="connsiteX9122" y="connsiteY9122"/>
                </a:cxn>
                <a:cxn ang="0">
                  <a:pos x="connsiteX9123" y="connsiteY9123"/>
                </a:cxn>
                <a:cxn ang="0">
                  <a:pos x="connsiteX9124" y="connsiteY9124"/>
                </a:cxn>
                <a:cxn ang="0">
                  <a:pos x="connsiteX9125" y="connsiteY9125"/>
                </a:cxn>
                <a:cxn ang="0">
                  <a:pos x="connsiteX9126" y="connsiteY9126"/>
                </a:cxn>
                <a:cxn ang="0">
                  <a:pos x="connsiteX9127" y="connsiteY9127"/>
                </a:cxn>
                <a:cxn ang="0">
                  <a:pos x="connsiteX9128" y="connsiteY9128"/>
                </a:cxn>
                <a:cxn ang="0">
                  <a:pos x="connsiteX9129" y="connsiteY9129"/>
                </a:cxn>
                <a:cxn ang="0">
                  <a:pos x="connsiteX9130" y="connsiteY9130"/>
                </a:cxn>
                <a:cxn ang="0">
                  <a:pos x="connsiteX9131" y="connsiteY9131"/>
                </a:cxn>
                <a:cxn ang="0">
                  <a:pos x="connsiteX9132" y="connsiteY9132"/>
                </a:cxn>
                <a:cxn ang="0">
                  <a:pos x="connsiteX9133" y="connsiteY9133"/>
                </a:cxn>
                <a:cxn ang="0">
                  <a:pos x="connsiteX9134" y="connsiteY9134"/>
                </a:cxn>
                <a:cxn ang="0">
                  <a:pos x="connsiteX9135" y="connsiteY9135"/>
                </a:cxn>
                <a:cxn ang="0">
                  <a:pos x="connsiteX9136" y="connsiteY9136"/>
                </a:cxn>
                <a:cxn ang="0">
                  <a:pos x="connsiteX9137" y="connsiteY9137"/>
                </a:cxn>
                <a:cxn ang="0">
                  <a:pos x="connsiteX9138" y="connsiteY9138"/>
                </a:cxn>
                <a:cxn ang="0">
                  <a:pos x="connsiteX9139" y="connsiteY9139"/>
                </a:cxn>
                <a:cxn ang="0">
                  <a:pos x="connsiteX9140" y="connsiteY9140"/>
                </a:cxn>
                <a:cxn ang="0">
                  <a:pos x="connsiteX9141" y="connsiteY9141"/>
                </a:cxn>
                <a:cxn ang="0">
                  <a:pos x="connsiteX9142" y="connsiteY9142"/>
                </a:cxn>
                <a:cxn ang="0">
                  <a:pos x="connsiteX9143" y="connsiteY9143"/>
                </a:cxn>
                <a:cxn ang="0">
                  <a:pos x="connsiteX9144" y="connsiteY9144"/>
                </a:cxn>
                <a:cxn ang="0">
                  <a:pos x="connsiteX9145" y="connsiteY9145"/>
                </a:cxn>
                <a:cxn ang="0">
                  <a:pos x="connsiteX9146" y="connsiteY9146"/>
                </a:cxn>
                <a:cxn ang="0">
                  <a:pos x="connsiteX9147" y="connsiteY9147"/>
                </a:cxn>
                <a:cxn ang="0">
                  <a:pos x="connsiteX9148" y="connsiteY9148"/>
                </a:cxn>
                <a:cxn ang="0">
                  <a:pos x="connsiteX9149" y="connsiteY9149"/>
                </a:cxn>
                <a:cxn ang="0">
                  <a:pos x="connsiteX9150" y="connsiteY9150"/>
                </a:cxn>
                <a:cxn ang="0">
                  <a:pos x="connsiteX9151" y="connsiteY9151"/>
                </a:cxn>
                <a:cxn ang="0">
                  <a:pos x="connsiteX9152" y="connsiteY9152"/>
                </a:cxn>
                <a:cxn ang="0">
                  <a:pos x="connsiteX9153" y="connsiteY9153"/>
                </a:cxn>
                <a:cxn ang="0">
                  <a:pos x="connsiteX9154" y="connsiteY9154"/>
                </a:cxn>
                <a:cxn ang="0">
                  <a:pos x="connsiteX9155" y="connsiteY9155"/>
                </a:cxn>
                <a:cxn ang="0">
                  <a:pos x="connsiteX9156" y="connsiteY9156"/>
                </a:cxn>
                <a:cxn ang="0">
                  <a:pos x="connsiteX9157" y="connsiteY9157"/>
                </a:cxn>
                <a:cxn ang="0">
                  <a:pos x="connsiteX9158" y="connsiteY9158"/>
                </a:cxn>
                <a:cxn ang="0">
                  <a:pos x="connsiteX9159" y="connsiteY9159"/>
                </a:cxn>
                <a:cxn ang="0">
                  <a:pos x="connsiteX9160" y="connsiteY9160"/>
                </a:cxn>
                <a:cxn ang="0">
                  <a:pos x="connsiteX9161" y="connsiteY9161"/>
                </a:cxn>
                <a:cxn ang="0">
                  <a:pos x="connsiteX9162" y="connsiteY9162"/>
                </a:cxn>
                <a:cxn ang="0">
                  <a:pos x="connsiteX9163" y="connsiteY9163"/>
                </a:cxn>
                <a:cxn ang="0">
                  <a:pos x="connsiteX9164" y="connsiteY9164"/>
                </a:cxn>
                <a:cxn ang="0">
                  <a:pos x="connsiteX9165" y="connsiteY9165"/>
                </a:cxn>
                <a:cxn ang="0">
                  <a:pos x="connsiteX9166" y="connsiteY9166"/>
                </a:cxn>
                <a:cxn ang="0">
                  <a:pos x="connsiteX9167" y="connsiteY9167"/>
                </a:cxn>
                <a:cxn ang="0">
                  <a:pos x="connsiteX9168" y="connsiteY9168"/>
                </a:cxn>
                <a:cxn ang="0">
                  <a:pos x="connsiteX9169" y="connsiteY9169"/>
                </a:cxn>
                <a:cxn ang="0">
                  <a:pos x="connsiteX9170" y="connsiteY9170"/>
                </a:cxn>
                <a:cxn ang="0">
                  <a:pos x="connsiteX9171" y="connsiteY9171"/>
                </a:cxn>
                <a:cxn ang="0">
                  <a:pos x="connsiteX9172" y="connsiteY9172"/>
                </a:cxn>
                <a:cxn ang="0">
                  <a:pos x="connsiteX9173" y="connsiteY9173"/>
                </a:cxn>
                <a:cxn ang="0">
                  <a:pos x="connsiteX9174" y="connsiteY9174"/>
                </a:cxn>
                <a:cxn ang="0">
                  <a:pos x="connsiteX9175" y="connsiteY9175"/>
                </a:cxn>
                <a:cxn ang="0">
                  <a:pos x="connsiteX9176" y="connsiteY9176"/>
                </a:cxn>
                <a:cxn ang="0">
                  <a:pos x="connsiteX9177" y="connsiteY9177"/>
                </a:cxn>
                <a:cxn ang="0">
                  <a:pos x="connsiteX9178" y="connsiteY9178"/>
                </a:cxn>
                <a:cxn ang="0">
                  <a:pos x="connsiteX9179" y="connsiteY9179"/>
                </a:cxn>
                <a:cxn ang="0">
                  <a:pos x="connsiteX9180" y="connsiteY9180"/>
                </a:cxn>
                <a:cxn ang="0">
                  <a:pos x="connsiteX9181" y="connsiteY9181"/>
                </a:cxn>
                <a:cxn ang="0">
                  <a:pos x="connsiteX9182" y="connsiteY9182"/>
                </a:cxn>
                <a:cxn ang="0">
                  <a:pos x="connsiteX9183" y="connsiteY9183"/>
                </a:cxn>
                <a:cxn ang="0">
                  <a:pos x="connsiteX9184" y="connsiteY9184"/>
                </a:cxn>
                <a:cxn ang="0">
                  <a:pos x="connsiteX9185" y="connsiteY9185"/>
                </a:cxn>
                <a:cxn ang="0">
                  <a:pos x="connsiteX9186" y="connsiteY9186"/>
                </a:cxn>
                <a:cxn ang="0">
                  <a:pos x="connsiteX9187" y="connsiteY9187"/>
                </a:cxn>
                <a:cxn ang="0">
                  <a:pos x="connsiteX9188" y="connsiteY9188"/>
                </a:cxn>
                <a:cxn ang="0">
                  <a:pos x="connsiteX9189" y="connsiteY9189"/>
                </a:cxn>
                <a:cxn ang="0">
                  <a:pos x="connsiteX9190" y="connsiteY9190"/>
                </a:cxn>
                <a:cxn ang="0">
                  <a:pos x="connsiteX9191" y="connsiteY9191"/>
                </a:cxn>
                <a:cxn ang="0">
                  <a:pos x="connsiteX9192" y="connsiteY9192"/>
                </a:cxn>
                <a:cxn ang="0">
                  <a:pos x="connsiteX9193" y="connsiteY9193"/>
                </a:cxn>
                <a:cxn ang="0">
                  <a:pos x="connsiteX9194" y="connsiteY9194"/>
                </a:cxn>
                <a:cxn ang="0">
                  <a:pos x="connsiteX9195" y="connsiteY9195"/>
                </a:cxn>
                <a:cxn ang="0">
                  <a:pos x="connsiteX9196" y="connsiteY9196"/>
                </a:cxn>
                <a:cxn ang="0">
                  <a:pos x="connsiteX9197" y="connsiteY9197"/>
                </a:cxn>
                <a:cxn ang="0">
                  <a:pos x="connsiteX9198" y="connsiteY9198"/>
                </a:cxn>
                <a:cxn ang="0">
                  <a:pos x="connsiteX9199" y="connsiteY9199"/>
                </a:cxn>
                <a:cxn ang="0">
                  <a:pos x="connsiteX9200" y="connsiteY9200"/>
                </a:cxn>
                <a:cxn ang="0">
                  <a:pos x="connsiteX9201" y="connsiteY9201"/>
                </a:cxn>
                <a:cxn ang="0">
                  <a:pos x="connsiteX9202" y="connsiteY9202"/>
                </a:cxn>
                <a:cxn ang="0">
                  <a:pos x="connsiteX9203" y="connsiteY9203"/>
                </a:cxn>
                <a:cxn ang="0">
                  <a:pos x="connsiteX9204" y="connsiteY9204"/>
                </a:cxn>
                <a:cxn ang="0">
                  <a:pos x="connsiteX9205" y="connsiteY9205"/>
                </a:cxn>
                <a:cxn ang="0">
                  <a:pos x="connsiteX9206" y="connsiteY9206"/>
                </a:cxn>
                <a:cxn ang="0">
                  <a:pos x="connsiteX9207" y="connsiteY9207"/>
                </a:cxn>
                <a:cxn ang="0">
                  <a:pos x="connsiteX9208" y="connsiteY9208"/>
                </a:cxn>
                <a:cxn ang="0">
                  <a:pos x="connsiteX9209" y="connsiteY9209"/>
                </a:cxn>
                <a:cxn ang="0">
                  <a:pos x="connsiteX9210" y="connsiteY9210"/>
                </a:cxn>
                <a:cxn ang="0">
                  <a:pos x="connsiteX9211" y="connsiteY9211"/>
                </a:cxn>
                <a:cxn ang="0">
                  <a:pos x="connsiteX9212" y="connsiteY9212"/>
                </a:cxn>
                <a:cxn ang="0">
                  <a:pos x="connsiteX9213" y="connsiteY9213"/>
                </a:cxn>
                <a:cxn ang="0">
                  <a:pos x="connsiteX9214" y="connsiteY9214"/>
                </a:cxn>
                <a:cxn ang="0">
                  <a:pos x="connsiteX9215" y="connsiteY9215"/>
                </a:cxn>
                <a:cxn ang="0">
                  <a:pos x="connsiteX9216" y="connsiteY9216"/>
                </a:cxn>
                <a:cxn ang="0">
                  <a:pos x="connsiteX9217" y="connsiteY9217"/>
                </a:cxn>
                <a:cxn ang="0">
                  <a:pos x="connsiteX9218" y="connsiteY9218"/>
                </a:cxn>
                <a:cxn ang="0">
                  <a:pos x="connsiteX9219" y="connsiteY9219"/>
                </a:cxn>
                <a:cxn ang="0">
                  <a:pos x="connsiteX9220" y="connsiteY9220"/>
                </a:cxn>
                <a:cxn ang="0">
                  <a:pos x="connsiteX9221" y="connsiteY9221"/>
                </a:cxn>
                <a:cxn ang="0">
                  <a:pos x="connsiteX9222" y="connsiteY9222"/>
                </a:cxn>
                <a:cxn ang="0">
                  <a:pos x="connsiteX9223" y="connsiteY9223"/>
                </a:cxn>
                <a:cxn ang="0">
                  <a:pos x="connsiteX9224" y="connsiteY9224"/>
                </a:cxn>
                <a:cxn ang="0">
                  <a:pos x="connsiteX9225" y="connsiteY9225"/>
                </a:cxn>
                <a:cxn ang="0">
                  <a:pos x="connsiteX9226" y="connsiteY9226"/>
                </a:cxn>
                <a:cxn ang="0">
                  <a:pos x="connsiteX9227" y="connsiteY9227"/>
                </a:cxn>
                <a:cxn ang="0">
                  <a:pos x="connsiteX9228" y="connsiteY9228"/>
                </a:cxn>
                <a:cxn ang="0">
                  <a:pos x="connsiteX9229" y="connsiteY9229"/>
                </a:cxn>
                <a:cxn ang="0">
                  <a:pos x="connsiteX9230" y="connsiteY9230"/>
                </a:cxn>
                <a:cxn ang="0">
                  <a:pos x="connsiteX9231" y="connsiteY9231"/>
                </a:cxn>
                <a:cxn ang="0">
                  <a:pos x="connsiteX9232" y="connsiteY9232"/>
                </a:cxn>
                <a:cxn ang="0">
                  <a:pos x="connsiteX9233" y="connsiteY9233"/>
                </a:cxn>
                <a:cxn ang="0">
                  <a:pos x="connsiteX9234" y="connsiteY9234"/>
                </a:cxn>
                <a:cxn ang="0">
                  <a:pos x="connsiteX9235" y="connsiteY9235"/>
                </a:cxn>
                <a:cxn ang="0">
                  <a:pos x="connsiteX9236" y="connsiteY9236"/>
                </a:cxn>
                <a:cxn ang="0">
                  <a:pos x="connsiteX9237" y="connsiteY9237"/>
                </a:cxn>
                <a:cxn ang="0">
                  <a:pos x="connsiteX9238" y="connsiteY9238"/>
                </a:cxn>
                <a:cxn ang="0">
                  <a:pos x="connsiteX9239" y="connsiteY9239"/>
                </a:cxn>
                <a:cxn ang="0">
                  <a:pos x="connsiteX9240" y="connsiteY9240"/>
                </a:cxn>
                <a:cxn ang="0">
                  <a:pos x="connsiteX9241" y="connsiteY9241"/>
                </a:cxn>
                <a:cxn ang="0">
                  <a:pos x="connsiteX9242" y="connsiteY9242"/>
                </a:cxn>
                <a:cxn ang="0">
                  <a:pos x="connsiteX9243" y="connsiteY9243"/>
                </a:cxn>
                <a:cxn ang="0">
                  <a:pos x="connsiteX9244" y="connsiteY9244"/>
                </a:cxn>
                <a:cxn ang="0">
                  <a:pos x="connsiteX9245" y="connsiteY9245"/>
                </a:cxn>
                <a:cxn ang="0">
                  <a:pos x="connsiteX9246" y="connsiteY9246"/>
                </a:cxn>
                <a:cxn ang="0">
                  <a:pos x="connsiteX9247" y="connsiteY9247"/>
                </a:cxn>
                <a:cxn ang="0">
                  <a:pos x="connsiteX9248" y="connsiteY9248"/>
                </a:cxn>
                <a:cxn ang="0">
                  <a:pos x="connsiteX9249" y="connsiteY9249"/>
                </a:cxn>
                <a:cxn ang="0">
                  <a:pos x="connsiteX9250" y="connsiteY9250"/>
                </a:cxn>
                <a:cxn ang="0">
                  <a:pos x="connsiteX9251" y="connsiteY9251"/>
                </a:cxn>
                <a:cxn ang="0">
                  <a:pos x="connsiteX9252" y="connsiteY9252"/>
                </a:cxn>
                <a:cxn ang="0">
                  <a:pos x="connsiteX9253" y="connsiteY9253"/>
                </a:cxn>
                <a:cxn ang="0">
                  <a:pos x="connsiteX9254" y="connsiteY9254"/>
                </a:cxn>
                <a:cxn ang="0">
                  <a:pos x="connsiteX9255" y="connsiteY9255"/>
                </a:cxn>
                <a:cxn ang="0">
                  <a:pos x="connsiteX9256" y="connsiteY9256"/>
                </a:cxn>
                <a:cxn ang="0">
                  <a:pos x="connsiteX9257" y="connsiteY9257"/>
                </a:cxn>
                <a:cxn ang="0">
                  <a:pos x="connsiteX9258" y="connsiteY9258"/>
                </a:cxn>
                <a:cxn ang="0">
                  <a:pos x="connsiteX9259" y="connsiteY9259"/>
                </a:cxn>
                <a:cxn ang="0">
                  <a:pos x="connsiteX9260" y="connsiteY9260"/>
                </a:cxn>
                <a:cxn ang="0">
                  <a:pos x="connsiteX9261" y="connsiteY9261"/>
                </a:cxn>
                <a:cxn ang="0">
                  <a:pos x="connsiteX9262" y="connsiteY9262"/>
                </a:cxn>
                <a:cxn ang="0">
                  <a:pos x="connsiteX9263" y="connsiteY9263"/>
                </a:cxn>
                <a:cxn ang="0">
                  <a:pos x="connsiteX9264" y="connsiteY9264"/>
                </a:cxn>
                <a:cxn ang="0">
                  <a:pos x="connsiteX9265" y="connsiteY9265"/>
                </a:cxn>
                <a:cxn ang="0">
                  <a:pos x="connsiteX9266" y="connsiteY9266"/>
                </a:cxn>
                <a:cxn ang="0">
                  <a:pos x="connsiteX9267" y="connsiteY9267"/>
                </a:cxn>
                <a:cxn ang="0">
                  <a:pos x="connsiteX9268" y="connsiteY9268"/>
                </a:cxn>
                <a:cxn ang="0">
                  <a:pos x="connsiteX9269" y="connsiteY9269"/>
                </a:cxn>
                <a:cxn ang="0">
                  <a:pos x="connsiteX9270" y="connsiteY9270"/>
                </a:cxn>
                <a:cxn ang="0">
                  <a:pos x="connsiteX9271" y="connsiteY9271"/>
                </a:cxn>
                <a:cxn ang="0">
                  <a:pos x="connsiteX9272" y="connsiteY9272"/>
                </a:cxn>
                <a:cxn ang="0">
                  <a:pos x="connsiteX9273" y="connsiteY9273"/>
                </a:cxn>
                <a:cxn ang="0">
                  <a:pos x="connsiteX9274" y="connsiteY9274"/>
                </a:cxn>
                <a:cxn ang="0">
                  <a:pos x="connsiteX9275" y="connsiteY9275"/>
                </a:cxn>
                <a:cxn ang="0">
                  <a:pos x="connsiteX9276" y="connsiteY9276"/>
                </a:cxn>
                <a:cxn ang="0">
                  <a:pos x="connsiteX9277" y="connsiteY9277"/>
                </a:cxn>
                <a:cxn ang="0">
                  <a:pos x="connsiteX9278" y="connsiteY9278"/>
                </a:cxn>
                <a:cxn ang="0">
                  <a:pos x="connsiteX9279" y="connsiteY9279"/>
                </a:cxn>
                <a:cxn ang="0">
                  <a:pos x="connsiteX9280" y="connsiteY9280"/>
                </a:cxn>
                <a:cxn ang="0">
                  <a:pos x="connsiteX9281" y="connsiteY9281"/>
                </a:cxn>
                <a:cxn ang="0">
                  <a:pos x="connsiteX9282" y="connsiteY9282"/>
                </a:cxn>
                <a:cxn ang="0">
                  <a:pos x="connsiteX9283" y="connsiteY9283"/>
                </a:cxn>
                <a:cxn ang="0">
                  <a:pos x="connsiteX9284" y="connsiteY9284"/>
                </a:cxn>
                <a:cxn ang="0">
                  <a:pos x="connsiteX9285" y="connsiteY9285"/>
                </a:cxn>
                <a:cxn ang="0">
                  <a:pos x="connsiteX9286" y="connsiteY9286"/>
                </a:cxn>
                <a:cxn ang="0">
                  <a:pos x="connsiteX9287" y="connsiteY9287"/>
                </a:cxn>
                <a:cxn ang="0">
                  <a:pos x="connsiteX9288" y="connsiteY9288"/>
                </a:cxn>
                <a:cxn ang="0">
                  <a:pos x="connsiteX9289" y="connsiteY9289"/>
                </a:cxn>
                <a:cxn ang="0">
                  <a:pos x="connsiteX9290" y="connsiteY9290"/>
                </a:cxn>
                <a:cxn ang="0">
                  <a:pos x="connsiteX9291" y="connsiteY9291"/>
                </a:cxn>
                <a:cxn ang="0">
                  <a:pos x="connsiteX9292" y="connsiteY9292"/>
                </a:cxn>
                <a:cxn ang="0">
                  <a:pos x="connsiteX9293" y="connsiteY9293"/>
                </a:cxn>
                <a:cxn ang="0">
                  <a:pos x="connsiteX9294" y="connsiteY9294"/>
                </a:cxn>
                <a:cxn ang="0">
                  <a:pos x="connsiteX9295" y="connsiteY9295"/>
                </a:cxn>
                <a:cxn ang="0">
                  <a:pos x="connsiteX9296" y="connsiteY9296"/>
                </a:cxn>
                <a:cxn ang="0">
                  <a:pos x="connsiteX9297" y="connsiteY9297"/>
                </a:cxn>
                <a:cxn ang="0">
                  <a:pos x="connsiteX9298" y="connsiteY9298"/>
                </a:cxn>
                <a:cxn ang="0">
                  <a:pos x="connsiteX9299" y="connsiteY9299"/>
                </a:cxn>
                <a:cxn ang="0">
                  <a:pos x="connsiteX9300" y="connsiteY9300"/>
                </a:cxn>
                <a:cxn ang="0">
                  <a:pos x="connsiteX9301" y="connsiteY9301"/>
                </a:cxn>
                <a:cxn ang="0">
                  <a:pos x="connsiteX9302" y="connsiteY9302"/>
                </a:cxn>
                <a:cxn ang="0">
                  <a:pos x="connsiteX9303" y="connsiteY9303"/>
                </a:cxn>
                <a:cxn ang="0">
                  <a:pos x="connsiteX9304" y="connsiteY9304"/>
                </a:cxn>
                <a:cxn ang="0">
                  <a:pos x="connsiteX9305" y="connsiteY9305"/>
                </a:cxn>
                <a:cxn ang="0">
                  <a:pos x="connsiteX9306" y="connsiteY9306"/>
                </a:cxn>
                <a:cxn ang="0">
                  <a:pos x="connsiteX9307" y="connsiteY9307"/>
                </a:cxn>
                <a:cxn ang="0">
                  <a:pos x="connsiteX9308" y="connsiteY9308"/>
                </a:cxn>
                <a:cxn ang="0">
                  <a:pos x="connsiteX9309" y="connsiteY9309"/>
                </a:cxn>
                <a:cxn ang="0">
                  <a:pos x="connsiteX9310" y="connsiteY9310"/>
                </a:cxn>
                <a:cxn ang="0">
                  <a:pos x="connsiteX9311" y="connsiteY9311"/>
                </a:cxn>
                <a:cxn ang="0">
                  <a:pos x="connsiteX9312" y="connsiteY9312"/>
                </a:cxn>
                <a:cxn ang="0">
                  <a:pos x="connsiteX9313" y="connsiteY9313"/>
                </a:cxn>
                <a:cxn ang="0">
                  <a:pos x="connsiteX9314" y="connsiteY9314"/>
                </a:cxn>
                <a:cxn ang="0">
                  <a:pos x="connsiteX9315" y="connsiteY9315"/>
                </a:cxn>
                <a:cxn ang="0">
                  <a:pos x="connsiteX9316" y="connsiteY9316"/>
                </a:cxn>
                <a:cxn ang="0">
                  <a:pos x="connsiteX9317" y="connsiteY9317"/>
                </a:cxn>
                <a:cxn ang="0">
                  <a:pos x="connsiteX9318" y="connsiteY9318"/>
                </a:cxn>
                <a:cxn ang="0">
                  <a:pos x="connsiteX9319" y="connsiteY9319"/>
                </a:cxn>
                <a:cxn ang="0">
                  <a:pos x="connsiteX9320" y="connsiteY9320"/>
                </a:cxn>
                <a:cxn ang="0">
                  <a:pos x="connsiteX9321" y="connsiteY9321"/>
                </a:cxn>
                <a:cxn ang="0">
                  <a:pos x="connsiteX9322" y="connsiteY9322"/>
                </a:cxn>
                <a:cxn ang="0">
                  <a:pos x="connsiteX9323" y="connsiteY9323"/>
                </a:cxn>
                <a:cxn ang="0">
                  <a:pos x="connsiteX9324" y="connsiteY9324"/>
                </a:cxn>
                <a:cxn ang="0">
                  <a:pos x="connsiteX9325" y="connsiteY9325"/>
                </a:cxn>
                <a:cxn ang="0">
                  <a:pos x="connsiteX9326" y="connsiteY9326"/>
                </a:cxn>
                <a:cxn ang="0">
                  <a:pos x="connsiteX9327" y="connsiteY9327"/>
                </a:cxn>
                <a:cxn ang="0">
                  <a:pos x="connsiteX9328" y="connsiteY9328"/>
                </a:cxn>
                <a:cxn ang="0">
                  <a:pos x="connsiteX9329" y="connsiteY9329"/>
                </a:cxn>
                <a:cxn ang="0">
                  <a:pos x="connsiteX9330" y="connsiteY9330"/>
                </a:cxn>
                <a:cxn ang="0">
                  <a:pos x="connsiteX9331" y="connsiteY9331"/>
                </a:cxn>
                <a:cxn ang="0">
                  <a:pos x="connsiteX9332" y="connsiteY9332"/>
                </a:cxn>
                <a:cxn ang="0">
                  <a:pos x="connsiteX9333" y="connsiteY9333"/>
                </a:cxn>
                <a:cxn ang="0">
                  <a:pos x="connsiteX9334" y="connsiteY9334"/>
                </a:cxn>
                <a:cxn ang="0">
                  <a:pos x="connsiteX9335" y="connsiteY9335"/>
                </a:cxn>
                <a:cxn ang="0">
                  <a:pos x="connsiteX9336" y="connsiteY9336"/>
                </a:cxn>
                <a:cxn ang="0">
                  <a:pos x="connsiteX9337" y="connsiteY9337"/>
                </a:cxn>
                <a:cxn ang="0">
                  <a:pos x="connsiteX9338" y="connsiteY9338"/>
                </a:cxn>
                <a:cxn ang="0">
                  <a:pos x="connsiteX9339" y="connsiteY9339"/>
                </a:cxn>
                <a:cxn ang="0">
                  <a:pos x="connsiteX9340" y="connsiteY9340"/>
                </a:cxn>
                <a:cxn ang="0">
                  <a:pos x="connsiteX9341" y="connsiteY9341"/>
                </a:cxn>
                <a:cxn ang="0">
                  <a:pos x="connsiteX9342" y="connsiteY9342"/>
                </a:cxn>
                <a:cxn ang="0">
                  <a:pos x="connsiteX9343" y="connsiteY9343"/>
                </a:cxn>
                <a:cxn ang="0">
                  <a:pos x="connsiteX9344" y="connsiteY9344"/>
                </a:cxn>
                <a:cxn ang="0">
                  <a:pos x="connsiteX9345" y="connsiteY9345"/>
                </a:cxn>
                <a:cxn ang="0">
                  <a:pos x="connsiteX9346" y="connsiteY9346"/>
                </a:cxn>
                <a:cxn ang="0">
                  <a:pos x="connsiteX9347" y="connsiteY9347"/>
                </a:cxn>
                <a:cxn ang="0">
                  <a:pos x="connsiteX9348" y="connsiteY9348"/>
                </a:cxn>
                <a:cxn ang="0">
                  <a:pos x="connsiteX9349" y="connsiteY9349"/>
                </a:cxn>
                <a:cxn ang="0">
                  <a:pos x="connsiteX9350" y="connsiteY9350"/>
                </a:cxn>
                <a:cxn ang="0">
                  <a:pos x="connsiteX9351" y="connsiteY9351"/>
                </a:cxn>
                <a:cxn ang="0">
                  <a:pos x="connsiteX9352" y="connsiteY9352"/>
                </a:cxn>
                <a:cxn ang="0">
                  <a:pos x="connsiteX9353" y="connsiteY9353"/>
                </a:cxn>
                <a:cxn ang="0">
                  <a:pos x="connsiteX9354" y="connsiteY9354"/>
                </a:cxn>
                <a:cxn ang="0">
                  <a:pos x="connsiteX9355" y="connsiteY9355"/>
                </a:cxn>
                <a:cxn ang="0">
                  <a:pos x="connsiteX9356" y="connsiteY9356"/>
                </a:cxn>
                <a:cxn ang="0">
                  <a:pos x="connsiteX9357" y="connsiteY9357"/>
                </a:cxn>
                <a:cxn ang="0">
                  <a:pos x="connsiteX9358" y="connsiteY9358"/>
                </a:cxn>
                <a:cxn ang="0">
                  <a:pos x="connsiteX9359" y="connsiteY9359"/>
                </a:cxn>
                <a:cxn ang="0">
                  <a:pos x="connsiteX9360" y="connsiteY9360"/>
                </a:cxn>
                <a:cxn ang="0">
                  <a:pos x="connsiteX9361" y="connsiteY9361"/>
                </a:cxn>
                <a:cxn ang="0">
                  <a:pos x="connsiteX9362" y="connsiteY9362"/>
                </a:cxn>
                <a:cxn ang="0">
                  <a:pos x="connsiteX9363" y="connsiteY9363"/>
                </a:cxn>
                <a:cxn ang="0">
                  <a:pos x="connsiteX9364" y="connsiteY9364"/>
                </a:cxn>
                <a:cxn ang="0">
                  <a:pos x="connsiteX9365" y="connsiteY9365"/>
                </a:cxn>
                <a:cxn ang="0">
                  <a:pos x="connsiteX9366" y="connsiteY9366"/>
                </a:cxn>
                <a:cxn ang="0">
                  <a:pos x="connsiteX9367" y="connsiteY9367"/>
                </a:cxn>
                <a:cxn ang="0">
                  <a:pos x="connsiteX9368" y="connsiteY9368"/>
                </a:cxn>
                <a:cxn ang="0">
                  <a:pos x="connsiteX9369" y="connsiteY9369"/>
                </a:cxn>
                <a:cxn ang="0">
                  <a:pos x="connsiteX9370" y="connsiteY9370"/>
                </a:cxn>
                <a:cxn ang="0">
                  <a:pos x="connsiteX9371" y="connsiteY9371"/>
                </a:cxn>
                <a:cxn ang="0">
                  <a:pos x="connsiteX9372" y="connsiteY9372"/>
                </a:cxn>
                <a:cxn ang="0">
                  <a:pos x="connsiteX9373" y="connsiteY9373"/>
                </a:cxn>
                <a:cxn ang="0">
                  <a:pos x="connsiteX9374" y="connsiteY9374"/>
                </a:cxn>
                <a:cxn ang="0">
                  <a:pos x="connsiteX9375" y="connsiteY9375"/>
                </a:cxn>
                <a:cxn ang="0">
                  <a:pos x="connsiteX9376" y="connsiteY9376"/>
                </a:cxn>
                <a:cxn ang="0">
                  <a:pos x="connsiteX9377" y="connsiteY9377"/>
                </a:cxn>
                <a:cxn ang="0">
                  <a:pos x="connsiteX9378" y="connsiteY9378"/>
                </a:cxn>
                <a:cxn ang="0">
                  <a:pos x="connsiteX9379" y="connsiteY9379"/>
                </a:cxn>
                <a:cxn ang="0">
                  <a:pos x="connsiteX9380" y="connsiteY9380"/>
                </a:cxn>
                <a:cxn ang="0">
                  <a:pos x="connsiteX9381" y="connsiteY9381"/>
                </a:cxn>
                <a:cxn ang="0">
                  <a:pos x="connsiteX9382" y="connsiteY9382"/>
                </a:cxn>
                <a:cxn ang="0">
                  <a:pos x="connsiteX9383" y="connsiteY9383"/>
                </a:cxn>
                <a:cxn ang="0">
                  <a:pos x="connsiteX9384" y="connsiteY9384"/>
                </a:cxn>
                <a:cxn ang="0">
                  <a:pos x="connsiteX9385" y="connsiteY9385"/>
                </a:cxn>
                <a:cxn ang="0">
                  <a:pos x="connsiteX9386" y="connsiteY9386"/>
                </a:cxn>
                <a:cxn ang="0">
                  <a:pos x="connsiteX9387" y="connsiteY9387"/>
                </a:cxn>
                <a:cxn ang="0">
                  <a:pos x="connsiteX9388" y="connsiteY9388"/>
                </a:cxn>
                <a:cxn ang="0">
                  <a:pos x="connsiteX9389" y="connsiteY9389"/>
                </a:cxn>
                <a:cxn ang="0">
                  <a:pos x="connsiteX9390" y="connsiteY9390"/>
                </a:cxn>
                <a:cxn ang="0">
                  <a:pos x="connsiteX9391" y="connsiteY9391"/>
                </a:cxn>
                <a:cxn ang="0">
                  <a:pos x="connsiteX9392" y="connsiteY9392"/>
                </a:cxn>
                <a:cxn ang="0">
                  <a:pos x="connsiteX9393" y="connsiteY9393"/>
                </a:cxn>
                <a:cxn ang="0">
                  <a:pos x="connsiteX9394" y="connsiteY9394"/>
                </a:cxn>
                <a:cxn ang="0">
                  <a:pos x="connsiteX9395" y="connsiteY9395"/>
                </a:cxn>
                <a:cxn ang="0">
                  <a:pos x="connsiteX9396" y="connsiteY9396"/>
                </a:cxn>
                <a:cxn ang="0">
                  <a:pos x="connsiteX9397" y="connsiteY9397"/>
                </a:cxn>
                <a:cxn ang="0">
                  <a:pos x="connsiteX9398" y="connsiteY9398"/>
                </a:cxn>
                <a:cxn ang="0">
                  <a:pos x="connsiteX9399" y="connsiteY9399"/>
                </a:cxn>
                <a:cxn ang="0">
                  <a:pos x="connsiteX9400" y="connsiteY9400"/>
                </a:cxn>
                <a:cxn ang="0">
                  <a:pos x="connsiteX9401" y="connsiteY9401"/>
                </a:cxn>
                <a:cxn ang="0">
                  <a:pos x="connsiteX9402" y="connsiteY9402"/>
                </a:cxn>
                <a:cxn ang="0">
                  <a:pos x="connsiteX9403" y="connsiteY9403"/>
                </a:cxn>
                <a:cxn ang="0">
                  <a:pos x="connsiteX9404" y="connsiteY9404"/>
                </a:cxn>
                <a:cxn ang="0">
                  <a:pos x="connsiteX9405" y="connsiteY9405"/>
                </a:cxn>
                <a:cxn ang="0">
                  <a:pos x="connsiteX9406" y="connsiteY9406"/>
                </a:cxn>
                <a:cxn ang="0">
                  <a:pos x="connsiteX9407" y="connsiteY9407"/>
                </a:cxn>
                <a:cxn ang="0">
                  <a:pos x="connsiteX9408" y="connsiteY9408"/>
                </a:cxn>
                <a:cxn ang="0">
                  <a:pos x="connsiteX9409" y="connsiteY9409"/>
                </a:cxn>
                <a:cxn ang="0">
                  <a:pos x="connsiteX9410" y="connsiteY9410"/>
                </a:cxn>
                <a:cxn ang="0">
                  <a:pos x="connsiteX9411" y="connsiteY9411"/>
                </a:cxn>
                <a:cxn ang="0">
                  <a:pos x="connsiteX9412" y="connsiteY9412"/>
                </a:cxn>
                <a:cxn ang="0">
                  <a:pos x="connsiteX9413" y="connsiteY9413"/>
                </a:cxn>
                <a:cxn ang="0">
                  <a:pos x="connsiteX9414" y="connsiteY9414"/>
                </a:cxn>
                <a:cxn ang="0">
                  <a:pos x="connsiteX9415" y="connsiteY9415"/>
                </a:cxn>
                <a:cxn ang="0">
                  <a:pos x="connsiteX9416" y="connsiteY9416"/>
                </a:cxn>
                <a:cxn ang="0">
                  <a:pos x="connsiteX9417" y="connsiteY9417"/>
                </a:cxn>
                <a:cxn ang="0">
                  <a:pos x="connsiteX9418" y="connsiteY9418"/>
                </a:cxn>
                <a:cxn ang="0">
                  <a:pos x="connsiteX9419" y="connsiteY9419"/>
                </a:cxn>
                <a:cxn ang="0">
                  <a:pos x="connsiteX9420" y="connsiteY9420"/>
                </a:cxn>
                <a:cxn ang="0">
                  <a:pos x="connsiteX9421" y="connsiteY9421"/>
                </a:cxn>
                <a:cxn ang="0">
                  <a:pos x="connsiteX9422" y="connsiteY9422"/>
                </a:cxn>
                <a:cxn ang="0">
                  <a:pos x="connsiteX9423" y="connsiteY9423"/>
                </a:cxn>
                <a:cxn ang="0">
                  <a:pos x="connsiteX9424" y="connsiteY9424"/>
                </a:cxn>
                <a:cxn ang="0">
                  <a:pos x="connsiteX9425" y="connsiteY9425"/>
                </a:cxn>
                <a:cxn ang="0">
                  <a:pos x="connsiteX9426" y="connsiteY9426"/>
                </a:cxn>
                <a:cxn ang="0">
                  <a:pos x="connsiteX9427" y="connsiteY9427"/>
                </a:cxn>
                <a:cxn ang="0">
                  <a:pos x="connsiteX9428" y="connsiteY9428"/>
                </a:cxn>
                <a:cxn ang="0">
                  <a:pos x="connsiteX9429" y="connsiteY9429"/>
                </a:cxn>
                <a:cxn ang="0">
                  <a:pos x="connsiteX9430" y="connsiteY9430"/>
                </a:cxn>
                <a:cxn ang="0">
                  <a:pos x="connsiteX9431" y="connsiteY9431"/>
                </a:cxn>
                <a:cxn ang="0">
                  <a:pos x="connsiteX9432" y="connsiteY9432"/>
                </a:cxn>
                <a:cxn ang="0">
                  <a:pos x="connsiteX9433" y="connsiteY9433"/>
                </a:cxn>
                <a:cxn ang="0">
                  <a:pos x="connsiteX9434" y="connsiteY9434"/>
                </a:cxn>
                <a:cxn ang="0">
                  <a:pos x="connsiteX9435" y="connsiteY9435"/>
                </a:cxn>
                <a:cxn ang="0">
                  <a:pos x="connsiteX9436" y="connsiteY9436"/>
                </a:cxn>
                <a:cxn ang="0">
                  <a:pos x="connsiteX9437" y="connsiteY9437"/>
                </a:cxn>
                <a:cxn ang="0">
                  <a:pos x="connsiteX9438" y="connsiteY9438"/>
                </a:cxn>
                <a:cxn ang="0">
                  <a:pos x="connsiteX9439" y="connsiteY9439"/>
                </a:cxn>
                <a:cxn ang="0">
                  <a:pos x="connsiteX9440" y="connsiteY9440"/>
                </a:cxn>
                <a:cxn ang="0">
                  <a:pos x="connsiteX9441" y="connsiteY9441"/>
                </a:cxn>
                <a:cxn ang="0">
                  <a:pos x="connsiteX9442" y="connsiteY9442"/>
                </a:cxn>
                <a:cxn ang="0">
                  <a:pos x="connsiteX9443" y="connsiteY9443"/>
                </a:cxn>
                <a:cxn ang="0">
                  <a:pos x="connsiteX9444" y="connsiteY9444"/>
                </a:cxn>
                <a:cxn ang="0">
                  <a:pos x="connsiteX9445" y="connsiteY9445"/>
                </a:cxn>
                <a:cxn ang="0">
                  <a:pos x="connsiteX9446" y="connsiteY9446"/>
                </a:cxn>
                <a:cxn ang="0">
                  <a:pos x="connsiteX9447" y="connsiteY9447"/>
                </a:cxn>
                <a:cxn ang="0">
                  <a:pos x="connsiteX9448" y="connsiteY9448"/>
                </a:cxn>
                <a:cxn ang="0">
                  <a:pos x="connsiteX9449" y="connsiteY9449"/>
                </a:cxn>
                <a:cxn ang="0">
                  <a:pos x="connsiteX9450" y="connsiteY9450"/>
                </a:cxn>
                <a:cxn ang="0">
                  <a:pos x="connsiteX9451" y="connsiteY9451"/>
                </a:cxn>
                <a:cxn ang="0">
                  <a:pos x="connsiteX9452" y="connsiteY9452"/>
                </a:cxn>
                <a:cxn ang="0">
                  <a:pos x="connsiteX9453" y="connsiteY9453"/>
                </a:cxn>
                <a:cxn ang="0">
                  <a:pos x="connsiteX9454" y="connsiteY9454"/>
                </a:cxn>
                <a:cxn ang="0">
                  <a:pos x="connsiteX9455" y="connsiteY9455"/>
                </a:cxn>
                <a:cxn ang="0">
                  <a:pos x="connsiteX9456" y="connsiteY9456"/>
                </a:cxn>
                <a:cxn ang="0">
                  <a:pos x="connsiteX9457" y="connsiteY9457"/>
                </a:cxn>
                <a:cxn ang="0">
                  <a:pos x="connsiteX9458" y="connsiteY9458"/>
                </a:cxn>
                <a:cxn ang="0">
                  <a:pos x="connsiteX9459" y="connsiteY9459"/>
                </a:cxn>
                <a:cxn ang="0">
                  <a:pos x="connsiteX9460" y="connsiteY9460"/>
                </a:cxn>
                <a:cxn ang="0">
                  <a:pos x="connsiteX9461" y="connsiteY9461"/>
                </a:cxn>
                <a:cxn ang="0">
                  <a:pos x="connsiteX9462" y="connsiteY9462"/>
                </a:cxn>
                <a:cxn ang="0">
                  <a:pos x="connsiteX9463" y="connsiteY9463"/>
                </a:cxn>
                <a:cxn ang="0">
                  <a:pos x="connsiteX9464" y="connsiteY9464"/>
                </a:cxn>
                <a:cxn ang="0">
                  <a:pos x="connsiteX9465" y="connsiteY9465"/>
                </a:cxn>
                <a:cxn ang="0">
                  <a:pos x="connsiteX9466" y="connsiteY9466"/>
                </a:cxn>
                <a:cxn ang="0">
                  <a:pos x="connsiteX9467" y="connsiteY9467"/>
                </a:cxn>
                <a:cxn ang="0">
                  <a:pos x="connsiteX9468" y="connsiteY9468"/>
                </a:cxn>
                <a:cxn ang="0">
                  <a:pos x="connsiteX9469" y="connsiteY9469"/>
                </a:cxn>
                <a:cxn ang="0">
                  <a:pos x="connsiteX9470" y="connsiteY9470"/>
                </a:cxn>
                <a:cxn ang="0">
                  <a:pos x="connsiteX9471" y="connsiteY9471"/>
                </a:cxn>
                <a:cxn ang="0">
                  <a:pos x="connsiteX9472" y="connsiteY9472"/>
                </a:cxn>
                <a:cxn ang="0">
                  <a:pos x="connsiteX9473" y="connsiteY9473"/>
                </a:cxn>
                <a:cxn ang="0">
                  <a:pos x="connsiteX9474" y="connsiteY9474"/>
                </a:cxn>
                <a:cxn ang="0">
                  <a:pos x="connsiteX9475" y="connsiteY9475"/>
                </a:cxn>
                <a:cxn ang="0">
                  <a:pos x="connsiteX9476" y="connsiteY9476"/>
                </a:cxn>
                <a:cxn ang="0">
                  <a:pos x="connsiteX9477" y="connsiteY9477"/>
                </a:cxn>
                <a:cxn ang="0">
                  <a:pos x="connsiteX9478" y="connsiteY9478"/>
                </a:cxn>
                <a:cxn ang="0">
                  <a:pos x="connsiteX9479" y="connsiteY9479"/>
                </a:cxn>
                <a:cxn ang="0">
                  <a:pos x="connsiteX9480" y="connsiteY9480"/>
                </a:cxn>
                <a:cxn ang="0">
                  <a:pos x="connsiteX9481" y="connsiteY9481"/>
                </a:cxn>
                <a:cxn ang="0">
                  <a:pos x="connsiteX9482" y="connsiteY9482"/>
                </a:cxn>
                <a:cxn ang="0">
                  <a:pos x="connsiteX9483" y="connsiteY9483"/>
                </a:cxn>
                <a:cxn ang="0">
                  <a:pos x="connsiteX9484" y="connsiteY9484"/>
                </a:cxn>
                <a:cxn ang="0">
                  <a:pos x="connsiteX9485" y="connsiteY9485"/>
                </a:cxn>
                <a:cxn ang="0">
                  <a:pos x="connsiteX9486" y="connsiteY9486"/>
                </a:cxn>
                <a:cxn ang="0">
                  <a:pos x="connsiteX9487" y="connsiteY9487"/>
                </a:cxn>
                <a:cxn ang="0">
                  <a:pos x="connsiteX9488" y="connsiteY9488"/>
                </a:cxn>
                <a:cxn ang="0">
                  <a:pos x="connsiteX9489" y="connsiteY9489"/>
                </a:cxn>
                <a:cxn ang="0">
                  <a:pos x="connsiteX9490" y="connsiteY9490"/>
                </a:cxn>
                <a:cxn ang="0">
                  <a:pos x="connsiteX9491" y="connsiteY9491"/>
                </a:cxn>
                <a:cxn ang="0">
                  <a:pos x="connsiteX9492" y="connsiteY9492"/>
                </a:cxn>
                <a:cxn ang="0">
                  <a:pos x="connsiteX9493" y="connsiteY9493"/>
                </a:cxn>
                <a:cxn ang="0">
                  <a:pos x="connsiteX9494" y="connsiteY9494"/>
                </a:cxn>
                <a:cxn ang="0">
                  <a:pos x="connsiteX9495" y="connsiteY9495"/>
                </a:cxn>
                <a:cxn ang="0">
                  <a:pos x="connsiteX9496" y="connsiteY9496"/>
                </a:cxn>
                <a:cxn ang="0">
                  <a:pos x="connsiteX9497" y="connsiteY9497"/>
                </a:cxn>
                <a:cxn ang="0">
                  <a:pos x="connsiteX9498" y="connsiteY9498"/>
                </a:cxn>
                <a:cxn ang="0">
                  <a:pos x="connsiteX9499" y="connsiteY9499"/>
                </a:cxn>
                <a:cxn ang="0">
                  <a:pos x="connsiteX9500" y="connsiteY9500"/>
                </a:cxn>
                <a:cxn ang="0">
                  <a:pos x="connsiteX9501" y="connsiteY9501"/>
                </a:cxn>
                <a:cxn ang="0">
                  <a:pos x="connsiteX9502" y="connsiteY9502"/>
                </a:cxn>
                <a:cxn ang="0">
                  <a:pos x="connsiteX9503" y="connsiteY9503"/>
                </a:cxn>
                <a:cxn ang="0">
                  <a:pos x="connsiteX9504" y="connsiteY9504"/>
                </a:cxn>
                <a:cxn ang="0">
                  <a:pos x="connsiteX9505" y="connsiteY9505"/>
                </a:cxn>
                <a:cxn ang="0">
                  <a:pos x="connsiteX9506" y="connsiteY9506"/>
                </a:cxn>
                <a:cxn ang="0">
                  <a:pos x="connsiteX9507" y="connsiteY9507"/>
                </a:cxn>
                <a:cxn ang="0">
                  <a:pos x="connsiteX9508" y="connsiteY9508"/>
                </a:cxn>
                <a:cxn ang="0">
                  <a:pos x="connsiteX9509" y="connsiteY9509"/>
                </a:cxn>
                <a:cxn ang="0">
                  <a:pos x="connsiteX9510" y="connsiteY9510"/>
                </a:cxn>
                <a:cxn ang="0">
                  <a:pos x="connsiteX9511" y="connsiteY9511"/>
                </a:cxn>
                <a:cxn ang="0">
                  <a:pos x="connsiteX9512" y="connsiteY9512"/>
                </a:cxn>
                <a:cxn ang="0">
                  <a:pos x="connsiteX9513" y="connsiteY9513"/>
                </a:cxn>
                <a:cxn ang="0">
                  <a:pos x="connsiteX9514" y="connsiteY9514"/>
                </a:cxn>
                <a:cxn ang="0">
                  <a:pos x="connsiteX9515" y="connsiteY9515"/>
                </a:cxn>
                <a:cxn ang="0">
                  <a:pos x="connsiteX9516" y="connsiteY9516"/>
                </a:cxn>
                <a:cxn ang="0">
                  <a:pos x="connsiteX9517" y="connsiteY9517"/>
                </a:cxn>
                <a:cxn ang="0">
                  <a:pos x="connsiteX9518" y="connsiteY9518"/>
                </a:cxn>
                <a:cxn ang="0">
                  <a:pos x="connsiteX9519" y="connsiteY9519"/>
                </a:cxn>
                <a:cxn ang="0">
                  <a:pos x="connsiteX9520" y="connsiteY9520"/>
                </a:cxn>
                <a:cxn ang="0">
                  <a:pos x="connsiteX9521" y="connsiteY9521"/>
                </a:cxn>
                <a:cxn ang="0">
                  <a:pos x="connsiteX9522" y="connsiteY9522"/>
                </a:cxn>
                <a:cxn ang="0">
                  <a:pos x="connsiteX9523" y="connsiteY9523"/>
                </a:cxn>
                <a:cxn ang="0">
                  <a:pos x="connsiteX9524" y="connsiteY9524"/>
                </a:cxn>
                <a:cxn ang="0">
                  <a:pos x="connsiteX9525" y="connsiteY9525"/>
                </a:cxn>
                <a:cxn ang="0">
                  <a:pos x="connsiteX9526" y="connsiteY9526"/>
                </a:cxn>
                <a:cxn ang="0">
                  <a:pos x="connsiteX9527" y="connsiteY9527"/>
                </a:cxn>
                <a:cxn ang="0">
                  <a:pos x="connsiteX9528" y="connsiteY9528"/>
                </a:cxn>
                <a:cxn ang="0">
                  <a:pos x="connsiteX9529" y="connsiteY9529"/>
                </a:cxn>
                <a:cxn ang="0">
                  <a:pos x="connsiteX9530" y="connsiteY9530"/>
                </a:cxn>
                <a:cxn ang="0">
                  <a:pos x="connsiteX9531" y="connsiteY9531"/>
                </a:cxn>
                <a:cxn ang="0">
                  <a:pos x="connsiteX9532" y="connsiteY9532"/>
                </a:cxn>
                <a:cxn ang="0">
                  <a:pos x="connsiteX9533" y="connsiteY9533"/>
                </a:cxn>
                <a:cxn ang="0">
                  <a:pos x="connsiteX9534" y="connsiteY9534"/>
                </a:cxn>
                <a:cxn ang="0">
                  <a:pos x="connsiteX9535" y="connsiteY9535"/>
                </a:cxn>
                <a:cxn ang="0">
                  <a:pos x="connsiteX9536" y="connsiteY9536"/>
                </a:cxn>
                <a:cxn ang="0">
                  <a:pos x="connsiteX9537" y="connsiteY9537"/>
                </a:cxn>
                <a:cxn ang="0">
                  <a:pos x="connsiteX9538" y="connsiteY9538"/>
                </a:cxn>
                <a:cxn ang="0">
                  <a:pos x="connsiteX9539" y="connsiteY9539"/>
                </a:cxn>
                <a:cxn ang="0">
                  <a:pos x="connsiteX9540" y="connsiteY9540"/>
                </a:cxn>
                <a:cxn ang="0">
                  <a:pos x="connsiteX9541" y="connsiteY9541"/>
                </a:cxn>
                <a:cxn ang="0">
                  <a:pos x="connsiteX9542" y="connsiteY9542"/>
                </a:cxn>
                <a:cxn ang="0">
                  <a:pos x="connsiteX9543" y="connsiteY9543"/>
                </a:cxn>
                <a:cxn ang="0">
                  <a:pos x="connsiteX9544" y="connsiteY9544"/>
                </a:cxn>
                <a:cxn ang="0">
                  <a:pos x="connsiteX9545" y="connsiteY9545"/>
                </a:cxn>
                <a:cxn ang="0">
                  <a:pos x="connsiteX9546" y="connsiteY9546"/>
                </a:cxn>
                <a:cxn ang="0">
                  <a:pos x="connsiteX9547" y="connsiteY9547"/>
                </a:cxn>
                <a:cxn ang="0">
                  <a:pos x="connsiteX9548" y="connsiteY9548"/>
                </a:cxn>
                <a:cxn ang="0">
                  <a:pos x="connsiteX9549" y="connsiteY9549"/>
                </a:cxn>
                <a:cxn ang="0">
                  <a:pos x="connsiteX9550" y="connsiteY9550"/>
                </a:cxn>
                <a:cxn ang="0">
                  <a:pos x="connsiteX9551" y="connsiteY9551"/>
                </a:cxn>
                <a:cxn ang="0">
                  <a:pos x="connsiteX9552" y="connsiteY9552"/>
                </a:cxn>
                <a:cxn ang="0">
                  <a:pos x="connsiteX9553" y="connsiteY9553"/>
                </a:cxn>
                <a:cxn ang="0">
                  <a:pos x="connsiteX9554" y="connsiteY9554"/>
                </a:cxn>
                <a:cxn ang="0">
                  <a:pos x="connsiteX9555" y="connsiteY9555"/>
                </a:cxn>
                <a:cxn ang="0">
                  <a:pos x="connsiteX9556" y="connsiteY9556"/>
                </a:cxn>
                <a:cxn ang="0">
                  <a:pos x="connsiteX9557" y="connsiteY9557"/>
                </a:cxn>
                <a:cxn ang="0">
                  <a:pos x="connsiteX9558" y="connsiteY9558"/>
                </a:cxn>
                <a:cxn ang="0">
                  <a:pos x="connsiteX9559" y="connsiteY9559"/>
                </a:cxn>
                <a:cxn ang="0">
                  <a:pos x="connsiteX9560" y="connsiteY9560"/>
                </a:cxn>
                <a:cxn ang="0">
                  <a:pos x="connsiteX9561" y="connsiteY9561"/>
                </a:cxn>
                <a:cxn ang="0">
                  <a:pos x="connsiteX9562" y="connsiteY9562"/>
                </a:cxn>
                <a:cxn ang="0">
                  <a:pos x="connsiteX9563" y="connsiteY9563"/>
                </a:cxn>
                <a:cxn ang="0">
                  <a:pos x="connsiteX9564" y="connsiteY9564"/>
                </a:cxn>
                <a:cxn ang="0">
                  <a:pos x="connsiteX9565" y="connsiteY9565"/>
                </a:cxn>
                <a:cxn ang="0">
                  <a:pos x="connsiteX9566" y="connsiteY9566"/>
                </a:cxn>
                <a:cxn ang="0">
                  <a:pos x="connsiteX9567" y="connsiteY9567"/>
                </a:cxn>
                <a:cxn ang="0">
                  <a:pos x="connsiteX9568" y="connsiteY9568"/>
                </a:cxn>
                <a:cxn ang="0">
                  <a:pos x="connsiteX9569" y="connsiteY9569"/>
                </a:cxn>
                <a:cxn ang="0">
                  <a:pos x="connsiteX9570" y="connsiteY9570"/>
                </a:cxn>
                <a:cxn ang="0">
                  <a:pos x="connsiteX9571" y="connsiteY9571"/>
                </a:cxn>
                <a:cxn ang="0">
                  <a:pos x="connsiteX9572" y="connsiteY9572"/>
                </a:cxn>
                <a:cxn ang="0">
                  <a:pos x="connsiteX9573" y="connsiteY9573"/>
                </a:cxn>
                <a:cxn ang="0">
                  <a:pos x="connsiteX9574" y="connsiteY9574"/>
                </a:cxn>
                <a:cxn ang="0">
                  <a:pos x="connsiteX9575" y="connsiteY9575"/>
                </a:cxn>
                <a:cxn ang="0">
                  <a:pos x="connsiteX9576" y="connsiteY9576"/>
                </a:cxn>
                <a:cxn ang="0">
                  <a:pos x="connsiteX9577" y="connsiteY9577"/>
                </a:cxn>
                <a:cxn ang="0">
                  <a:pos x="connsiteX9578" y="connsiteY9578"/>
                </a:cxn>
                <a:cxn ang="0">
                  <a:pos x="connsiteX9579" y="connsiteY9579"/>
                </a:cxn>
                <a:cxn ang="0">
                  <a:pos x="connsiteX9580" y="connsiteY9580"/>
                </a:cxn>
                <a:cxn ang="0">
                  <a:pos x="connsiteX9581" y="connsiteY9581"/>
                </a:cxn>
                <a:cxn ang="0">
                  <a:pos x="connsiteX9582" y="connsiteY9582"/>
                </a:cxn>
                <a:cxn ang="0">
                  <a:pos x="connsiteX9583" y="connsiteY9583"/>
                </a:cxn>
                <a:cxn ang="0">
                  <a:pos x="connsiteX9584" y="connsiteY9584"/>
                </a:cxn>
                <a:cxn ang="0">
                  <a:pos x="connsiteX9585" y="connsiteY9585"/>
                </a:cxn>
                <a:cxn ang="0">
                  <a:pos x="connsiteX9586" y="connsiteY9586"/>
                </a:cxn>
                <a:cxn ang="0">
                  <a:pos x="connsiteX9587" y="connsiteY9587"/>
                </a:cxn>
                <a:cxn ang="0">
                  <a:pos x="connsiteX9588" y="connsiteY9588"/>
                </a:cxn>
                <a:cxn ang="0">
                  <a:pos x="connsiteX9589" y="connsiteY9589"/>
                </a:cxn>
                <a:cxn ang="0">
                  <a:pos x="connsiteX9590" y="connsiteY9590"/>
                </a:cxn>
                <a:cxn ang="0">
                  <a:pos x="connsiteX9591" y="connsiteY9591"/>
                </a:cxn>
                <a:cxn ang="0">
                  <a:pos x="connsiteX9592" y="connsiteY9592"/>
                </a:cxn>
                <a:cxn ang="0">
                  <a:pos x="connsiteX9593" y="connsiteY9593"/>
                </a:cxn>
                <a:cxn ang="0">
                  <a:pos x="connsiteX9594" y="connsiteY9594"/>
                </a:cxn>
                <a:cxn ang="0">
                  <a:pos x="connsiteX9595" y="connsiteY9595"/>
                </a:cxn>
                <a:cxn ang="0">
                  <a:pos x="connsiteX9596" y="connsiteY9596"/>
                </a:cxn>
                <a:cxn ang="0">
                  <a:pos x="connsiteX9597" y="connsiteY9597"/>
                </a:cxn>
                <a:cxn ang="0">
                  <a:pos x="connsiteX9598" y="connsiteY9598"/>
                </a:cxn>
                <a:cxn ang="0">
                  <a:pos x="connsiteX9599" y="connsiteY9599"/>
                </a:cxn>
                <a:cxn ang="0">
                  <a:pos x="connsiteX9600" y="connsiteY9600"/>
                </a:cxn>
                <a:cxn ang="0">
                  <a:pos x="connsiteX9601" y="connsiteY9601"/>
                </a:cxn>
                <a:cxn ang="0">
                  <a:pos x="connsiteX9602" y="connsiteY9602"/>
                </a:cxn>
                <a:cxn ang="0">
                  <a:pos x="connsiteX9603" y="connsiteY9603"/>
                </a:cxn>
                <a:cxn ang="0">
                  <a:pos x="connsiteX9604" y="connsiteY9604"/>
                </a:cxn>
                <a:cxn ang="0">
                  <a:pos x="connsiteX9605" y="connsiteY9605"/>
                </a:cxn>
                <a:cxn ang="0">
                  <a:pos x="connsiteX9606" y="connsiteY9606"/>
                </a:cxn>
                <a:cxn ang="0">
                  <a:pos x="connsiteX9607" y="connsiteY9607"/>
                </a:cxn>
                <a:cxn ang="0">
                  <a:pos x="connsiteX9608" y="connsiteY9608"/>
                </a:cxn>
                <a:cxn ang="0">
                  <a:pos x="connsiteX9609" y="connsiteY9609"/>
                </a:cxn>
                <a:cxn ang="0">
                  <a:pos x="connsiteX9610" y="connsiteY9610"/>
                </a:cxn>
                <a:cxn ang="0">
                  <a:pos x="connsiteX9611" y="connsiteY9611"/>
                </a:cxn>
                <a:cxn ang="0">
                  <a:pos x="connsiteX9612" y="connsiteY9612"/>
                </a:cxn>
                <a:cxn ang="0">
                  <a:pos x="connsiteX9613" y="connsiteY9613"/>
                </a:cxn>
                <a:cxn ang="0">
                  <a:pos x="connsiteX9614" y="connsiteY9614"/>
                </a:cxn>
                <a:cxn ang="0">
                  <a:pos x="connsiteX9615" y="connsiteY9615"/>
                </a:cxn>
                <a:cxn ang="0">
                  <a:pos x="connsiteX9616" y="connsiteY9616"/>
                </a:cxn>
                <a:cxn ang="0">
                  <a:pos x="connsiteX9617" y="connsiteY9617"/>
                </a:cxn>
                <a:cxn ang="0">
                  <a:pos x="connsiteX9618" y="connsiteY9618"/>
                </a:cxn>
                <a:cxn ang="0">
                  <a:pos x="connsiteX9619" y="connsiteY9619"/>
                </a:cxn>
                <a:cxn ang="0">
                  <a:pos x="connsiteX9620" y="connsiteY9620"/>
                </a:cxn>
                <a:cxn ang="0">
                  <a:pos x="connsiteX9621" y="connsiteY9621"/>
                </a:cxn>
                <a:cxn ang="0">
                  <a:pos x="connsiteX9622" y="connsiteY9622"/>
                </a:cxn>
                <a:cxn ang="0">
                  <a:pos x="connsiteX9623" y="connsiteY9623"/>
                </a:cxn>
                <a:cxn ang="0">
                  <a:pos x="connsiteX9624" y="connsiteY9624"/>
                </a:cxn>
                <a:cxn ang="0">
                  <a:pos x="connsiteX9625" y="connsiteY9625"/>
                </a:cxn>
                <a:cxn ang="0">
                  <a:pos x="connsiteX9626" y="connsiteY9626"/>
                </a:cxn>
                <a:cxn ang="0">
                  <a:pos x="connsiteX9627" y="connsiteY9627"/>
                </a:cxn>
                <a:cxn ang="0">
                  <a:pos x="connsiteX9628" y="connsiteY9628"/>
                </a:cxn>
                <a:cxn ang="0">
                  <a:pos x="connsiteX9629" y="connsiteY9629"/>
                </a:cxn>
                <a:cxn ang="0">
                  <a:pos x="connsiteX9630" y="connsiteY9630"/>
                </a:cxn>
                <a:cxn ang="0">
                  <a:pos x="connsiteX9631" y="connsiteY9631"/>
                </a:cxn>
                <a:cxn ang="0">
                  <a:pos x="connsiteX9632" y="connsiteY9632"/>
                </a:cxn>
                <a:cxn ang="0">
                  <a:pos x="connsiteX9633" y="connsiteY9633"/>
                </a:cxn>
                <a:cxn ang="0">
                  <a:pos x="connsiteX9634" y="connsiteY9634"/>
                </a:cxn>
                <a:cxn ang="0">
                  <a:pos x="connsiteX9635" y="connsiteY9635"/>
                </a:cxn>
                <a:cxn ang="0">
                  <a:pos x="connsiteX9636" y="connsiteY9636"/>
                </a:cxn>
                <a:cxn ang="0">
                  <a:pos x="connsiteX9637" y="connsiteY9637"/>
                </a:cxn>
                <a:cxn ang="0">
                  <a:pos x="connsiteX9638" y="connsiteY9638"/>
                </a:cxn>
                <a:cxn ang="0">
                  <a:pos x="connsiteX9639" y="connsiteY9639"/>
                </a:cxn>
                <a:cxn ang="0">
                  <a:pos x="connsiteX9640" y="connsiteY9640"/>
                </a:cxn>
                <a:cxn ang="0">
                  <a:pos x="connsiteX9641" y="connsiteY9641"/>
                </a:cxn>
                <a:cxn ang="0">
                  <a:pos x="connsiteX9642" y="connsiteY9642"/>
                </a:cxn>
                <a:cxn ang="0">
                  <a:pos x="connsiteX9643" y="connsiteY9643"/>
                </a:cxn>
                <a:cxn ang="0">
                  <a:pos x="connsiteX9644" y="connsiteY9644"/>
                </a:cxn>
                <a:cxn ang="0">
                  <a:pos x="connsiteX9645" y="connsiteY9645"/>
                </a:cxn>
                <a:cxn ang="0">
                  <a:pos x="connsiteX9646" y="connsiteY9646"/>
                </a:cxn>
                <a:cxn ang="0">
                  <a:pos x="connsiteX9647" y="connsiteY9647"/>
                </a:cxn>
                <a:cxn ang="0">
                  <a:pos x="connsiteX9648" y="connsiteY9648"/>
                </a:cxn>
                <a:cxn ang="0">
                  <a:pos x="connsiteX9649" y="connsiteY9649"/>
                </a:cxn>
                <a:cxn ang="0">
                  <a:pos x="connsiteX9650" y="connsiteY9650"/>
                </a:cxn>
                <a:cxn ang="0">
                  <a:pos x="connsiteX9651" y="connsiteY9651"/>
                </a:cxn>
                <a:cxn ang="0">
                  <a:pos x="connsiteX9652" y="connsiteY9652"/>
                </a:cxn>
                <a:cxn ang="0">
                  <a:pos x="connsiteX9653" y="connsiteY9653"/>
                </a:cxn>
                <a:cxn ang="0">
                  <a:pos x="connsiteX9654" y="connsiteY9654"/>
                </a:cxn>
                <a:cxn ang="0">
                  <a:pos x="connsiteX9655" y="connsiteY9655"/>
                </a:cxn>
                <a:cxn ang="0">
                  <a:pos x="connsiteX9656" y="connsiteY9656"/>
                </a:cxn>
                <a:cxn ang="0">
                  <a:pos x="connsiteX9657" y="connsiteY9657"/>
                </a:cxn>
                <a:cxn ang="0">
                  <a:pos x="connsiteX9658" y="connsiteY9658"/>
                </a:cxn>
                <a:cxn ang="0">
                  <a:pos x="connsiteX9659" y="connsiteY9659"/>
                </a:cxn>
                <a:cxn ang="0">
                  <a:pos x="connsiteX9660" y="connsiteY9660"/>
                </a:cxn>
                <a:cxn ang="0">
                  <a:pos x="connsiteX9661" y="connsiteY9661"/>
                </a:cxn>
                <a:cxn ang="0">
                  <a:pos x="connsiteX9662" y="connsiteY9662"/>
                </a:cxn>
                <a:cxn ang="0">
                  <a:pos x="connsiteX9663" y="connsiteY9663"/>
                </a:cxn>
                <a:cxn ang="0">
                  <a:pos x="connsiteX9664" y="connsiteY9664"/>
                </a:cxn>
                <a:cxn ang="0">
                  <a:pos x="connsiteX9665" y="connsiteY9665"/>
                </a:cxn>
                <a:cxn ang="0">
                  <a:pos x="connsiteX9666" y="connsiteY9666"/>
                </a:cxn>
                <a:cxn ang="0">
                  <a:pos x="connsiteX9667" y="connsiteY9667"/>
                </a:cxn>
                <a:cxn ang="0">
                  <a:pos x="connsiteX9668" y="connsiteY9668"/>
                </a:cxn>
                <a:cxn ang="0">
                  <a:pos x="connsiteX9669" y="connsiteY9669"/>
                </a:cxn>
                <a:cxn ang="0">
                  <a:pos x="connsiteX9670" y="connsiteY9670"/>
                </a:cxn>
                <a:cxn ang="0">
                  <a:pos x="connsiteX9671" y="connsiteY9671"/>
                </a:cxn>
                <a:cxn ang="0">
                  <a:pos x="connsiteX9672" y="connsiteY9672"/>
                </a:cxn>
                <a:cxn ang="0">
                  <a:pos x="connsiteX9673" y="connsiteY9673"/>
                </a:cxn>
                <a:cxn ang="0">
                  <a:pos x="connsiteX9674" y="connsiteY9674"/>
                </a:cxn>
                <a:cxn ang="0">
                  <a:pos x="connsiteX9675" y="connsiteY9675"/>
                </a:cxn>
                <a:cxn ang="0">
                  <a:pos x="connsiteX9676" y="connsiteY9676"/>
                </a:cxn>
                <a:cxn ang="0">
                  <a:pos x="connsiteX9677" y="connsiteY9677"/>
                </a:cxn>
                <a:cxn ang="0">
                  <a:pos x="connsiteX9678" y="connsiteY9678"/>
                </a:cxn>
                <a:cxn ang="0">
                  <a:pos x="connsiteX9679" y="connsiteY9679"/>
                </a:cxn>
                <a:cxn ang="0">
                  <a:pos x="connsiteX9680" y="connsiteY9680"/>
                </a:cxn>
                <a:cxn ang="0">
                  <a:pos x="connsiteX9681" y="connsiteY9681"/>
                </a:cxn>
                <a:cxn ang="0">
                  <a:pos x="connsiteX9682" y="connsiteY9682"/>
                </a:cxn>
                <a:cxn ang="0">
                  <a:pos x="connsiteX9683" y="connsiteY9683"/>
                </a:cxn>
                <a:cxn ang="0">
                  <a:pos x="connsiteX9684" y="connsiteY9684"/>
                </a:cxn>
                <a:cxn ang="0">
                  <a:pos x="connsiteX9685" y="connsiteY9685"/>
                </a:cxn>
                <a:cxn ang="0">
                  <a:pos x="connsiteX9686" y="connsiteY9686"/>
                </a:cxn>
                <a:cxn ang="0">
                  <a:pos x="connsiteX9687" y="connsiteY9687"/>
                </a:cxn>
                <a:cxn ang="0">
                  <a:pos x="connsiteX9688" y="connsiteY9688"/>
                </a:cxn>
                <a:cxn ang="0">
                  <a:pos x="connsiteX9689" y="connsiteY9689"/>
                </a:cxn>
                <a:cxn ang="0">
                  <a:pos x="connsiteX9690" y="connsiteY9690"/>
                </a:cxn>
                <a:cxn ang="0">
                  <a:pos x="connsiteX9691" y="connsiteY9691"/>
                </a:cxn>
                <a:cxn ang="0">
                  <a:pos x="connsiteX9692" y="connsiteY9692"/>
                </a:cxn>
                <a:cxn ang="0">
                  <a:pos x="connsiteX9693" y="connsiteY9693"/>
                </a:cxn>
                <a:cxn ang="0">
                  <a:pos x="connsiteX9694" y="connsiteY9694"/>
                </a:cxn>
                <a:cxn ang="0">
                  <a:pos x="connsiteX9695" y="connsiteY9695"/>
                </a:cxn>
                <a:cxn ang="0">
                  <a:pos x="connsiteX9696" y="connsiteY9696"/>
                </a:cxn>
                <a:cxn ang="0">
                  <a:pos x="connsiteX9697" y="connsiteY9697"/>
                </a:cxn>
                <a:cxn ang="0">
                  <a:pos x="connsiteX9698" y="connsiteY9698"/>
                </a:cxn>
                <a:cxn ang="0">
                  <a:pos x="connsiteX9699" y="connsiteY9699"/>
                </a:cxn>
                <a:cxn ang="0">
                  <a:pos x="connsiteX9700" y="connsiteY9700"/>
                </a:cxn>
                <a:cxn ang="0">
                  <a:pos x="connsiteX9701" y="connsiteY9701"/>
                </a:cxn>
                <a:cxn ang="0">
                  <a:pos x="connsiteX9702" y="connsiteY9702"/>
                </a:cxn>
                <a:cxn ang="0">
                  <a:pos x="connsiteX9703" y="connsiteY9703"/>
                </a:cxn>
                <a:cxn ang="0">
                  <a:pos x="connsiteX9704" y="connsiteY9704"/>
                </a:cxn>
                <a:cxn ang="0">
                  <a:pos x="connsiteX9705" y="connsiteY9705"/>
                </a:cxn>
                <a:cxn ang="0">
                  <a:pos x="connsiteX9706" y="connsiteY9706"/>
                </a:cxn>
                <a:cxn ang="0">
                  <a:pos x="connsiteX9707" y="connsiteY9707"/>
                </a:cxn>
                <a:cxn ang="0">
                  <a:pos x="connsiteX9708" y="connsiteY9708"/>
                </a:cxn>
                <a:cxn ang="0">
                  <a:pos x="connsiteX9709" y="connsiteY9709"/>
                </a:cxn>
                <a:cxn ang="0">
                  <a:pos x="connsiteX9710" y="connsiteY9710"/>
                </a:cxn>
                <a:cxn ang="0">
                  <a:pos x="connsiteX9711" y="connsiteY9711"/>
                </a:cxn>
                <a:cxn ang="0">
                  <a:pos x="connsiteX9712" y="connsiteY9712"/>
                </a:cxn>
                <a:cxn ang="0">
                  <a:pos x="connsiteX9713" y="connsiteY9713"/>
                </a:cxn>
                <a:cxn ang="0">
                  <a:pos x="connsiteX9714" y="connsiteY9714"/>
                </a:cxn>
                <a:cxn ang="0">
                  <a:pos x="connsiteX9715" y="connsiteY9715"/>
                </a:cxn>
                <a:cxn ang="0">
                  <a:pos x="connsiteX9716" y="connsiteY9716"/>
                </a:cxn>
                <a:cxn ang="0">
                  <a:pos x="connsiteX9717" y="connsiteY9717"/>
                </a:cxn>
                <a:cxn ang="0">
                  <a:pos x="connsiteX9718" y="connsiteY9718"/>
                </a:cxn>
                <a:cxn ang="0">
                  <a:pos x="connsiteX9719" y="connsiteY9719"/>
                </a:cxn>
                <a:cxn ang="0">
                  <a:pos x="connsiteX9720" y="connsiteY9720"/>
                </a:cxn>
                <a:cxn ang="0">
                  <a:pos x="connsiteX9721" y="connsiteY9721"/>
                </a:cxn>
                <a:cxn ang="0">
                  <a:pos x="connsiteX9722" y="connsiteY9722"/>
                </a:cxn>
                <a:cxn ang="0">
                  <a:pos x="connsiteX9723" y="connsiteY9723"/>
                </a:cxn>
                <a:cxn ang="0">
                  <a:pos x="connsiteX9724" y="connsiteY9724"/>
                </a:cxn>
                <a:cxn ang="0">
                  <a:pos x="connsiteX9725" y="connsiteY9725"/>
                </a:cxn>
                <a:cxn ang="0">
                  <a:pos x="connsiteX9726" y="connsiteY9726"/>
                </a:cxn>
                <a:cxn ang="0">
                  <a:pos x="connsiteX9727" y="connsiteY9727"/>
                </a:cxn>
                <a:cxn ang="0">
                  <a:pos x="connsiteX9728" y="connsiteY9728"/>
                </a:cxn>
                <a:cxn ang="0">
                  <a:pos x="connsiteX9729" y="connsiteY9729"/>
                </a:cxn>
                <a:cxn ang="0">
                  <a:pos x="connsiteX9730" y="connsiteY9730"/>
                </a:cxn>
                <a:cxn ang="0">
                  <a:pos x="connsiteX9731" y="connsiteY9731"/>
                </a:cxn>
                <a:cxn ang="0">
                  <a:pos x="connsiteX9732" y="connsiteY9732"/>
                </a:cxn>
                <a:cxn ang="0">
                  <a:pos x="connsiteX9733" y="connsiteY9733"/>
                </a:cxn>
                <a:cxn ang="0">
                  <a:pos x="connsiteX9734" y="connsiteY9734"/>
                </a:cxn>
                <a:cxn ang="0">
                  <a:pos x="connsiteX9735" y="connsiteY9735"/>
                </a:cxn>
                <a:cxn ang="0">
                  <a:pos x="connsiteX9736" y="connsiteY9736"/>
                </a:cxn>
                <a:cxn ang="0">
                  <a:pos x="connsiteX9737" y="connsiteY9737"/>
                </a:cxn>
                <a:cxn ang="0">
                  <a:pos x="connsiteX9738" y="connsiteY9738"/>
                </a:cxn>
                <a:cxn ang="0">
                  <a:pos x="connsiteX9739" y="connsiteY9739"/>
                </a:cxn>
                <a:cxn ang="0">
                  <a:pos x="connsiteX9740" y="connsiteY9740"/>
                </a:cxn>
                <a:cxn ang="0">
                  <a:pos x="connsiteX9741" y="connsiteY9741"/>
                </a:cxn>
                <a:cxn ang="0">
                  <a:pos x="connsiteX9742" y="connsiteY9742"/>
                </a:cxn>
                <a:cxn ang="0">
                  <a:pos x="connsiteX9743" y="connsiteY9743"/>
                </a:cxn>
                <a:cxn ang="0">
                  <a:pos x="connsiteX9744" y="connsiteY9744"/>
                </a:cxn>
                <a:cxn ang="0">
                  <a:pos x="connsiteX9745" y="connsiteY9745"/>
                </a:cxn>
                <a:cxn ang="0">
                  <a:pos x="connsiteX9746" y="connsiteY9746"/>
                </a:cxn>
                <a:cxn ang="0">
                  <a:pos x="connsiteX9747" y="connsiteY9747"/>
                </a:cxn>
                <a:cxn ang="0">
                  <a:pos x="connsiteX9748" y="connsiteY9748"/>
                </a:cxn>
                <a:cxn ang="0">
                  <a:pos x="connsiteX9749" y="connsiteY9749"/>
                </a:cxn>
                <a:cxn ang="0">
                  <a:pos x="connsiteX9750" y="connsiteY9750"/>
                </a:cxn>
                <a:cxn ang="0">
                  <a:pos x="connsiteX9751" y="connsiteY9751"/>
                </a:cxn>
                <a:cxn ang="0">
                  <a:pos x="connsiteX9752" y="connsiteY9752"/>
                </a:cxn>
                <a:cxn ang="0">
                  <a:pos x="connsiteX9753" y="connsiteY9753"/>
                </a:cxn>
                <a:cxn ang="0">
                  <a:pos x="connsiteX9754" y="connsiteY9754"/>
                </a:cxn>
                <a:cxn ang="0">
                  <a:pos x="connsiteX9755" y="connsiteY9755"/>
                </a:cxn>
                <a:cxn ang="0">
                  <a:pos x="connsiteX9756" y="connsiteY9756"/>
                </a:cxn>
                <a:cxn ang="0">
                  <a:pos x="connsiteX9757" y="connsiteY9757"/>
                </a:cxn>
                <a:cxn ang="0">
                  <a:pos x="connsiteX9758" y="connsiteY9758"/>
                </a:cxn>
                <a:cxn ang="0">
                  <a:pos x="connsiteX9759" y="connsiteY9759"/>
                </a:cxn>
                <a:cxn ang="0">
                  <a:pos x="connsiteX9760" y="connsiteY9760"/>
                </a:cxn>
                <a:cxn ang="0">
                  <a:pos x="connsiteX9761" y="connsiteY9761"/>
                </a:cxn>
                <a:cxn ang="0">
                  <a:pos x="connsiteX9762" y="connsiteY9762"/>
                </a:cxn>
                <a:cxn ang="0">
                  <a:pos x="connsiteX9763" y="connsiteY9763"/>
                </a:cxn>
                <a:cxn ang="0">
                  <a:pos x="connsiteX9764" y="connsiteY9764"/>
                </a:cxn>
                <a:cxn ang="0">
                  <a:pos x="connsiteX9765" y="connsiteY9765"/>
                </a:cxn>
                <a:cxn ang="0">
                  <a:pos x="connsiteX9766" y="connsiteY9766"/>
                </a:cxn>
                <a:cxn ang="0">
                  <a:pos x="connsiteX9767" y="connsiteY9767"/>
                </a:cxn>
                <a:cxn ang="0">
                  <a:pos x="connsiteX9768" y="connsiteY9768"/>
                </a:cxn>
                <a:cxn ang="0">
                  <a:pos x="connsiteX9769" y="connsiteY9769"/>
                </a:cxn>
                <a:cxn ang="0">
                  <a:pos x="connsiteX9770" y="connsiteY9770"/>
                </a:cxn>
                <a:cxn ang="0">
                  <a:pos x="connsiteX9771" y="connsiteY9771"/>
                </a:cxn>
                <a:cxn ang="0">
                  <a:pos x="connsiteX9772" y="connsiteY9772"/>
                </a:cxn>
                <a:cxn ang="0">
                  <a:pos x="connsiteX9773" y="connsiteY9773"/>
                </a:cxn>
                <a:cxn ang="0">
                  <a:pos x="connsiteX9774" y="connsiteY9774"/>
                </a:cxn>
                <a:cxn ang="0">
                  <a:pos x="connsiteX9775" y="connsiteY9775"/>
                </a:cxn>
                <a:cxn ang="0">
                  <a:pos x="connsiteX9776" y="connsiteY9776"/>
                </a:cxn>
                <a:cxn ang="0">
                  <a:pos x="connsiteX9777" y="connsiteY9777"/>
                </a:cxn>
                <a:cxn ang="0">
                  <a:pos x="connsiteX9778" y="connsiteY9778"/>
                </a:cxn>
                <a:cxn ang="0">
                  <a:pos x="connsiteX9779" y="connsiteY9779"/>
                </a:cxn>
                <a:cxn ang="0">
                  <a:pos x="connsiteX9780" y="connsiteY9780"/>
                </a:cxn>
                <a:cxn ang="0">
                  <a:pos x="connsiteX9781" y="connsiteY9781"/>
                </a:cxn>
                <a:cxn ang="0">
                  <a:pos x="connsiteX9782" y="connsiteY9782"/>
                </a:cxn>
                <a:cxn ang="0">
                  <a:pos x="connsiteX9783" y="connsiteY9783"/>
                </a:cxn>
                <a:cxn ang="0">
                  <a:pos x="connsiteX9784" y="connsiteY9784"/>
                </a:cxn>
                <a:cxn ang="0">
                  <a:pos x="connsiteX9785" y="connsiteY9785"/>
                </a:cxn>
                <a:cxn ang="0">
                  <a:pos x="connsiteX9786" y="connsiteY9786"/>
                </a:cxn>
                <a:cxn ang="0">
                  <a:pos x="connsiteX9787" y="connsiteY9787"/>
                </a:cxn>
                <a:cxn ang="0">
                  <a:pos x="connsiteX9788" y="connsiteY9788"/>
                </a:cxn>
                <a:cxn ang="0">
                  <a:pos x="connsiteX9789" y="connsiteY9789"/>
                </a:cxn>
                <a:cxn ang="0">
                  <a:pos x="connsiteX9790" y="connsiteY9790"/>
                </a:cxn>
                <a:cxn ang="0">
                  <a:pos x="connsiteX9791" y="connsiteY9791"/>
                </a:cxn>
                <a:cxn ang="0">
                  <a:pos x="connsiteX9792" y="connsiteY9792"/>
                </a:cxn>
                <a:cxn ang="0">
                  <a:pos x="connsiteX9793" y="connsiteY9793"/>
                </a:cxn>
                <a:cxn ang="0">
                  <a:pos x="connsiteX9794" y="connsiteY9794"/>
                </a:cxn>
                <a:cxn ang="0">
                  <a:pos x="connsiteX9795" y="connsiteY9795"/>
                </a:cxn>
                <a:cxn ang="0">
                  <a:pos x="connsiteX9796" y="connsiteY9796"/>
                </a:cxn>
                <a:cxn ang="0">
                  <a:pos x="connsiteX9797" y="connsiteY9797"/>
                </a:cxn>
                <a:cxn ang="0">
                  <a:pos x="connsiteX9798" y="connsiteY9798"/>
                </a:cxn>
                <a:cxn ang="0">
                  <a:pos x="connsiteX9799" y="connsiteY9799"/>
                </a:cxn>
                <a:cxn ang="0">
                  <a:pos x="connsiteX9800" y="connsiteY9800"/>
                </a:cxn>
                <a:cxn ang="0">
                  <a:pos x="connsiteX9801" y="connsiteY9801"/>
                </a:cxn>
                <a:cxn ang="0">
                  <a:pos x="connsiteX9802" y="connsiteY9802"/>
                </a:cxn>
                <a:cxn ang="0">
                  <a:pos x="connsiteX9803" y="connsiteY9803"/>
                </a:cxn>
                <a:cxn ang="0">
                  <a:pos x="connsiteX9804" y="connsiteY9804"/>
                </a:cxn>
                <a:cxn ang="0">
                  <a:pos x="connsiteX9805" y="connsiteY9805"/>
                </a:cxn>
                <a:cxn ang="0">
                  <a:pos x="connsiteX9806" y="connsiteY9806"/>
                </a:cxn>
                <a:cxn ang="0">
                  <a:pos x="connsiteX9807" y="connsiteY9807"/>
                </a:cxn>
                <a:cxn ang="0">
                  <a:pos x="connsiteX9808" y="connsiteY9808"/>
                </a:cxn>
                <a:cxn ang="0">
                  <a:pos x="connsiteX9809" y="connsiteY9809"/>
                </a:cxn>
                <a:cxn ang="0">
                  <a:pos x="connsiteX9810" y="connsiteY9810"/>
                </a:cxn>
                <a:cxn ang="0">
                  <a:pos x="connsiteX9811" y="connsiteY9811"/>
                </a:cxn>
                <a:cxn ang="0">
                  <a:pos x="connsiteX9812" y="connsiteY9812"/>
                </a:cxn>
                <a:cxn ang="0">
                  <a:pos x="connsiteX9813" y="connsiteY9813"/>
                </a:cxn>
                <a:cxn ang="0">
                  <a:pos x="connsiteX9814" y="connsiteY9814"/>
                </a:cxn>
                <a:cxn ang="0">
                  <a:pos x="connsiteX9815" y="connsiteY9815"/>
                </a:cxn>
                <a:cxn ang="0">
                  <a:pos x="connsiteX9816" y="connsiteY9816"/>
                </a:cxn>
                <a:cxn ang="0">
                  <a:pos x="connsiteX9817" y="connsiteY9817"/>
                </a:cxn>
                <a:cxn ang="0">
                  <a:pos x="connsiteX9818" y="connsiteY9818"/>
                </a:cxn>
                <a:cxn ang="0">
                  <a:pos x="connsiteX9819" y="connsiteY9819"/>
                </a:cxn>
                <a:cxn ang="0">
                  <a:pos x="connsiteX9820" y="connsiteY9820"/>
                </a:cxn>
                <a:cxn ang="0">
                  <a:pos x="connsiteX9821" y="connsiteY9821"/>
                </a:cxn>
                <a:cxn ang="0">
                  <a:pos x="connsiteX9822" y="connsiteY9822"/>
                </a:cxn>
                <a:cxn ang="0">
                  <a:pos x="connsiteX9823" y="connsiteY9823"/>
                </a:cxn>
                <a:cxn ang="0">
                  <a:pos x="connsiteX9824" y="connsiteY9824"/>
                </a:cxn>
                <a:cxn ang="0">
                  <a:pos x="connsiteX9825" y="connsiteY9825"/>
                </a:cxn>
                <a:cxn ang="0">
                  <a:pos x="connsiteX9826" y="connsiteY9826"/>
                </a:cxn>
                <a:cxn ang="0">
                  <a:pos x="connsiteX9827" y="connsiteY9827"/>
                </a:cxn>
                <a:cxn ang="0">
                  <a:pos x="connsiteX9828" y="connsiteY9828"/>
                </a:cxn>
                <a:cxn ang="0">
                  <a:pos x="connsiteX9829" y="connsiteY9829"/>
                </a:cxn>
                <a:cxn ang="0">
                  <a:pos x="connsiteX9830" y="connsiteY9830"/>
                </a:cxn>
                <a:cxn ang="0">
                  <a:pos x="connsiteX9831" y="connsiteY9831"/>
                </a:cxn>
                <a:cxn ang="0">
                  <a:pos x="connsiteX9832" y="connsiteY9832"/>
                </a:cxn>
                <a:cxn ang="0">
                  <a:pos x="connsiteX9833" y="connsiteY9833"/>
                </a:cxn>
                <a:cxn ang="0">
                  <a:pos x="connsiteX9834" y="connsiteY9834"/>
                </a:cxn>
                <a:cxn ang="0">
                  <a:pos x="connsiteX9835" y="connsiteY9835"/>
                </a:cxn>
                <a:cxn ang="0">
                  <a:pos x="connsiteX9836" y="connsiteY9836"/>
                </a:cxn>
                <a:cxn ang="0">
                  <a:pos x="connsiteX9837" y="connsiteY9837"/>
                </a:cxn>
                <a:cxn ang="0">
                  <a:pos x="connsiteX9838" y="connsiteY9838"/>
                </a:cxn>
                <a:cxn ang="0">
                  <a:pos x="connsiteX9839" y="connsiteY9839"/>
                </a:cxn>
                <a:cxn ang="0">
                  <a:pos x="connsiteX9840" y="connsiteY9840"/>
                </a:cxn>
                <a:cxn ang="0">
                  <a:pos x="connsiteX9841" y="connsiteY9841"/>
                </a:cxn>
                <a:cxn ang="0">
                  <a:pos x="connsiteX9842" y="connsiteY9842"/>
                </a:cxn>
                <a:cxn ang="0">
                  <a:pos x="connsiteX9843" y="connsiteY9843"/>
                </a:cxn>
                <a:cxn ang="0">
                  <a:pos x="connsiteX9844" y="connsiteY9844"/>
                </a:cxn>
                <a:cxn ang="0">
                  <a:pos x="connsiteX9845" y="connsiteY9845"/>
                </a:cxn>
                <a:cxn ang="0">
                  <a:pos x="connsiteX9846" y="connsiteY9846"/>
                </a:cxn>
                <a:cxn ang="0">
                  <a:pos x="connsiteX9847" y="connsiteY9847"/>
                </a:cxn>
                <a:cxn ang="0">
                  <a:pos x="connsiteX9848" y="connsiteY9848"/>
                </a:cxn>
                <a:cxn ang="0">
                  <a:pos x="connsiteX9849" y="connsiteY9849"/>
                </a:cxn>
                <a:cxn ang="0">
                  <a:pos x="connsiteX9850" y="connsiteY9850"/>
                </a:cxn>
                <a:cxn ang="0">
                  <a:pos x="connsiteX9851" y="connsiteY9851"/>
                </a:cxn>
                <a:cxn ang="0">
                  <a:pos x="connsiteX9852" y="connsiteY9852"/>
                </a:cxn>
                <a:cxn ang="0">
                  <a:pos x="connsiteX9853" y="connsiteY9853"/>
                </a:cxn>
                <a:cxn ang="0">
                  <a:pos x="connsiteX9854" y="connsiteY9854"/>
                </a:cxn>
                <a:cxn ang="0">
                  <a:pos x="connsiteX9855" y="connsiteY9855"/>
                </a:cxn>
                <a:cxn ang="0">
                  <a:pos x="connsiteX9856" y="connsiteY9856"/>
                </a:cxn>
                <a:cxn ang="0">
                  <a:pos x="connsiteX9857" y="connsiteY9857"/>
                </a:cxn>
                <a:cxn ang="0">
                  <a:pos x="connsiteX9858" y="connsiteY9858"/>
                </a:cxn>
                <a:cxn ang="0">
                  <a:pos x="connsiteX9859" y="connsiteY9859"/>
                </a:cxn>
                <a:cxn ang="0">
                  <a:pos x="connsiteX9860" y="connsiteY9860"/>
                </a:cxn>
                <a:cxn ang="0">
                  <a:pos x="connsiteX9861" y="connsiteY9861"/>
                </a:cxn>
                <a:cxn ang="0">
                  <a:pos x="connsiteX9862" y="connsiteY9862"/>
                </a:cxn>
                <a:cxn ang="0">
                  <a:pos x="connsiteX9863" y="connsiteY9863"/>
                </a:cxn>
                <a:cxn ang="0">
                  <a:pos x="connsiteX9864" y="connsiteY9864"/>
                </a:cxn>
                <a:cxn ang="0">
                  <a:pos x="connsiteX9865" y="connsiteY9865"/>
                </a:cxn>
                <a:cxn ang="0">
                  <a:pos x="connsiteX9866" y="connsiteY9866"/>
                </a:cxn>
                <a:cxn ang="0">
                  <a:pos x="connsiteX9867" y="connsiteY9867"/>
                </a:cxn>
                <a:cxn ang="0">
                  <a:pos x="connsiteX9868" y="connsiteY9868"/>
                </a:cxn>
                <a:cxn ang="0">
                  <a:pos x="connsiteX9869" y="connsiteY9869"/>
                </a:cxn>
                <a:cxn ang="0">
                  <a:pos x="connsiteX9870" y="connsiteY9870"/>
                </a:cxn>
                <a:cxn ang="0">
                  <a:pos x="connsiteX9871" y="connsiteY9871"/>
                </a:cxn>
                <a:cxn ang="0">
                  <a:pos x="connsiteX9872" y="connsiteY9872"/>
                </a:cxn>
                <a:cxn ang="0">
                  <a:pos x="connsiteX9873" y="connsiteY9873"/>
                </a:cxn>
                <a:cxn ang="0">
                  <a:pos x="connsiteX9874" y="connsiteY9874"/>
                </a:cxn>
                <a:cxn ang="0">
                  <a:pos x="connsiteX9875" y="connsiteY9875"/>
                </a:cxn>
                <a:cxn ang="0">
                  <a:pos x="connsiteX9876" y="connsiteY9876"/>
                </a:cxn>
                <a:cxn ang="0">
                  <a:pos x="connsiteX9877" y="connsiteY9877"/>
                </a:cxn>
                <a:cxn ang="0">
                  <a:pos x="connsiteX9878" y="connsiteY9878"/>
                </a:cxn>
                <a:cxn ang="0">
                  <a:pos x="connsiteX9879" y="connsiteY9879"/>
                </a:cxn>
                <a:cxn ang="0">
                  <a:pos x="connsiteX9880" y="connsiteY9880"/>
                </a:cxn>
                <a:cxn ang="0">
                  <a:pos x="connsiteX9881" y="connsiteY9881"/>
                </a:cxn>
                <a:cxn ang="0">
                  <a:pos x="connsiteX9882" y="connsiteY9882"/>
                </a:cxn>
                <a:cxn ang="0">
                  <a:pos x="connsiteX9883" y="connsiteY9883"/>
                </a:cxn>
                <a:cxn ang="0">
                  <a:pos x="connsiteX9884" y="connsiteY9884"/>
                </a:cxn>
                <a:cxn ang="0">
                  <a:pos x="connsiteX9885" y="connsiteY9885"/>
                </a:cxn>
                <a:cxn ang="0">
                  <a:pos x="connsiteX9886" y="connsiteY9886"/>
                </a:cxn>
                <a:cxn ang="0">
                  <a:pos x="connsiteX9887" y="connsiteY9887"/>
                </a:cxn>
                <a:cxn ang="0">
                  <a:pos x="connsiteX9888" y="connsiteY9888"/>
                </a:cxn>
                <a:cxn ang="0">
                  <a:pos x="connsiteX9889" y="connsiteY9889"/>
                </a:cxn>
                <a:cxn ang="0">
                  <a:pos x="connsiteX9890" y="connsiteY9890"/>
                </a:cxn>
                <a:cxn ang="0">
                  <a:pos x="connsiteX9891" y="connsiteY9891"/>
                </a:cxn>
                <a:cxn ang="0">
                  <a:pos x="connsiteX9892" y="connsiteY9892"/>
                </a:cxn>
                <a:cxn ang="0">
                  <a:pos x="connsiteX9893" y="connsiteY9893"/>
                </a:cxn>
                <a:cxn ang="0">
                  <a:pos x="connsiteX9894" y="connsiteY9894"/>
                </a:cxn>
                <a:cxn ang="0">
                  <a:pos x="connsiteX9895" y="connsiteY9895"/>
                </a:cxn>
                <a:cxn ang="0">
                  <a:pos x="connsiteX9896" y="connsiteY9896"/>
                </a:cxn>
                <a:cxn ang="0">
                  <a:pos x="connsiteX9897" y="connsiteY9897"/>
                </a:cxn>
                <a:cxn ang="0">
                  <a:pos x="connsiteX9898" y="connsiteY9898"/>
                </a:cxn>
                <a:cxn ang="0">
                  <a:pos x="connsiteX9899" y="connsiteY9899"/>
                </a:cxn>
                <a:cxn ang="0">
                  <a:pos x="connsiteX9900" y="connsiteY9900"/>
                </a:cxn>
                <a:cxn ang="0">
                  <a:pos x="connsiteX9901" y="connsiteY9901"/>
                </a:cxn>
                <a:cxn ang="0">
                  <a:pos x="connsiteX9902" y="connsiteY9902"/>
                </a:cxn>
                <a:cxn ang="0">
                  <a:pos x="connsiteX9903" y="connsiteY9903"/>
                </a:cxn>
                <a:cxn ang="0">
                  <a:pos x="connsiteX9904" y="connsiteY9904"/>
                </a:cxn>
                <a:cxn ang="0">
                  <a:pos x="connsiteX9905" y="connsiteY9905"/>
                </a:cxn>
                <a:cxn ang="0">
                  <a:pos x="connsiteX9906" y="connsiteY9906"/>
                </a:cxn>
                <a:cxn ang="0">
                  <a:pos x="connsiteX9907" y="connsiteY9907"/>
                </a:cxn>
                <a:cxn ang="0">
                  <a:pos x="connsiteX9908" y="connsiteY9908"/>
                </a:cxn>
                <a:cxn ang="0">
                  <a:pos x="connsiteX9909" y="connsiteY9909"/>
                </a:cxn>
                <a:cxn ang="0">
                  <a:pos x="connsiteX9910" y="connsiteY9910"/>
                </a:cxn>
                <a:cxn ang="0">
                  <a:pos x="connsiteX9911" y="connsiteY9911"/>
                </a:cxn>
                <a:cxn ang="0">
                  <a:pos x="connsiteX9912" y="connsiteY9912"/>
                </a:cxn>
                <a:cxn ang="0">
                  <a:pos x="connsiteX9913" y="connsiteY9913"/>
                </a:cxn>
                <a:cxn ang="0">
                  <a:pos x="connsiteX9914" y="connsiteY9914"/>
                </a:cxn>
                <a:cxn ang="0">
                  <a:pos x="connsiteX9915" y="connsiteY9915"/>
                </a:cxn>
                <a:cxn ang="0">
                  <a:pos x="connsiteX9916" y="connsiteY9916"/>
                </a:cxn>
                <a:cxn ang="0">
                  <a:pos x="connsiteX9917" y="connsiteY9917"/>
                </a:cxn>
                <a:cxn ang="0">
                  <a:pos x="connsiteX9918" y="connsiteY9918"/>
                </a:cxn>
                <a:cxn ang="0">
                  <a:pos x="connsiteX9919" y="connsiteY9919"/>
                </a:cxn>
                <a:cxn ang="0">
                  <a:pos x="connsiteX9920" y="connsiteY9920"/>
                </a:cxn>
                <a:cxn ang="0">
                  <a:pos x="connsiteX9921" y="connsiteY9921"/>
                </a:cxn>
                <a:cxn ang="0">
                  <a:pos x="connsiteX9922" y="connsiteY9922"/>
                </a:cxn>
                <a:cxn ang="0">
                  <a:pos x="connsiteX9923" y="connsiteY9923"/>
                </a:cxn>
                <a:cxn ang="0">
                  <a:pos x="connsiteX9924" y="connsiteY9924"/>
                </a:cxn>
                <a:cxn ang="0">
                  <a:pos x="connsiteX9925" y="connsiteY9925"/>
                </a:cxn>
                <a:cxn ang="0">
                  <a:pos x="connsiteX9926" y="connsiteY9926"/>
                </a:cxn>
                <a:cxn ang="0">
                  <a:pos x="connsiteX9927" y="connsiteY9927"/>
                </a:cxn>
                <a:cxn ang="0">
                  <a:pos x="connsiteX9928" y="connsiteY9928"/>
                </a:cxn>
                <a:cxn ang="0">
                  <a:pos x="connsiteX9929" y="connsiteY9929"/>
                </a:cxn>
                <a:cxn ang="0">
                  <a:pos x="connsiteX9930" y="connsiteY9930"/>
                </a:cxn>
                <a:cxn ang="0">
                  <a:pos x="connsiteX9931" y="connsiteY9931"/>
                </a:cxn>
                <a:cxn ang="0">
                  <a:pos x="connsiteX9932" y="connsiteY9932"/>
                </a:cxn>
                <a:cxn ang="0">
                  <a:pos x="connsiteX9933" y="connsiteY9933"/>
                </a:cxn>
                <a:cxn ang="0">
                  <a:pos x="connsiteX9934" y="connsiteY9934"/>
                </a:cxn>
                <a:cxn ang="0">
                  <a:pos x="connsiteX9935" y="connsiteY9935"/>
                </a:cxn>
                <a:cxn ang="0">
                  <a:pos x="connsiteX9936" y="connsiteY9936"/>
                </a:cxn>
                <a:cxn ang="0">
                  <a:pos x="connsiteX9937" y="connsiteY9937"/>
                </a:cxn>
                <a:cxn ang="0">
                  <a:pos x="connsiteX9938" y="connsiteY9938"/>
                </a:cxn>
                <a:cxn ang="0">
                  <a:pos x="connsiteX9939" y="connsiteY9939"/>
                </a:cxn>
                <a:cxn ang="0">
                  <a:pos x="connsiteX9940" y="connsiteY9940"/>
                </a:cxn>
                <a:cxn ang="0">
                  <a:pos x="connsiteX9941" y="connsiteY9941"/>
                </a:cxn>
                <a:cxn ang="0">
                  <a:pos x="connsiteX9942" y="connsiteY9942"/>
                </a:cxn>
                <a:cxn ang="0">
                  <a:pos x="connsiteX9943" y="connsiteY9943"/>
                </a:cxn>
                <a:cxn ang="0">
                  <a:pos x="connsiteX9944" y="connsiteY9944"/>
                </a:cxn>
                <a:cxn ang="0">
                  <a:pos x="connsiteX9945" y="connsiteY9945"/>
                </a:cxn>
                <a:cxn ang="0">
                  <a:pos x="connsiteX9946" y="connsiteY9946"/>
                </a:cxn>
                <a:cxn ang="0">
                  <a:pos x="connsiteX9947" y="connsiteY9947"/>
                </a:cxn>
                <a:cxn ang="0">
                  <a:pos x="connsiteX9948" y="connsiteY9948"/>
                </a:cxn>
                <a:cxn ang="0">
                  <a:pos x="connsiteX9949" y="connsiteY9949"/>
                </a:cxn>
                <a:cxn ang="0">
                  <a:pos x="connsiteX9950" y="connsiteY9950"/>
                </a:cxn>
                <a:cxn ang="0">
                  <a:pos x="connsiteX9951" y="connsiteY9951"/>
                </a:cxn>
                <a:cxn ang="0">
                  <a:pos x="connsiteX9952" y="connsiteY9952"/>
                </a:cxn>
                <a:cxn ang="0">
                  <a:pos x="connsiteX9953" y="connsiteY9953"/>
                </a:cxn>
                <a:cxn ang="0">
                  <a:pos x="connsiteX9954" y="connsiteY9954"/>
                </a:cxn>
                <a:cxn ang="0">
                  <a:pos x="connsiteX9955" y="connsiteY9955"/>
                </a:cxn>
                <a:cxn ang="0">
                  <a:pos x="connsiteX9956" y="connsiteY9956"/>
                </a:cxn>
                <a:cxn ang="0">
                  <a:pos x="connsiteX9957" y="connsiteY9957"/>
                </a:cxn>
                <a:cxn ang="0">
                  <a:pos x="connsiteX9958" y="connsiteY9958"/>
                </a:cxn>
                <a:cxn ang="0">
                  <a:pos x="connsiteX9959" y="connsiteY9959"/>
                </a:cxn>
                <a:cxn ang="0">
                  <a:pos x="connsiteX9960" y="connsiteY9960"/>
                </a:cxn>
                <a:cxn ang="0">
                  <a:pos x="connsiteX9961" y="connsiteY9961"/>
                </a:cxn>
                <a:cxn ang="0">
                  <a:pos x="connsiteX9962" y="connsiteY9962"/>
                </a:cxn>
                <a:cxn ang="0">
                  <a:pos x="connsiteX9963" y="connsiteY9963"/>
                </a:cxn>
                <a:cxn ang="0">
                  <a:pos x="connsiteX9964" y="connsiteY9964"/>
                </a:cxn>
                <a:cxn ang="0">
                  <a:pos x="connsiteX9965" y="connsiteY9965"/>
                </a:cxn>
                <a:cxn ang="0">
                  <a:pos x="connsiteX9966" y="connsiteY9966"/>
                </a:cxn>
                <a:cxn ang="0">
                  <a:pos x="connsiteX9967" y="connsiteY9967"/>
                </a:cxn>
                <a:cxn ang="0">
                  <a:pos x="connsiteX9968" y="connsiteY9968"/>
                </a:cxn>
                <a:cxn ang="0">
                  <a:pos x="connsiteX9969" y="connsiteY9969"/>
                </a:cxn>
                <a:cxn ang="0">
                  <a:pos x="connsiteX9970" y="connsiteY9970"/>
                </a:cxn>
                <a:cxn ang="0">
                  <a:pos x="connsiteX9971" y="connsiteY9971"/>
                </a:cxn>
                <a:cxn ang="0">
                  <a:pos x="connsiteX9972" y="connsiteY9972"/>
                </a:cxn>
                <a:cxn ang="0">
                  <a:pos x="connsiteX9973" y="connsiteY9973"/>
                </a:cxn>
                <a:cxn ang="0">
                  <a:pos x="connsiteX9974" y="connsiteY9974"/>
                </a:cxn>
                <a:cxn ang="0">
                  <a:pos x="connsiteX9975" y="connsiteY9975"/>
                </a:cxn>
                <a:cxn ang="0">
                  <a:pos x="connsiteX9976" y="connsiteY9976"/>
                </a:cxn>
                <a:cxn ang="0">
                  <a:pos x="connsiteX9977" y="connsiteY9977"/>
                </a:cxn>
                <a:cxn ang="0">
                  <a:pos x="connsiteX9978" y="connsiteY9978"/>
                </a:cxn>
                <a:cxn ang="0">
                  <a:pos x="connsiteX9979" y="connsiteY9979"/>
                </a:cxn>
                <a:cxn ang="0">
                  <a:pos x="connsiteX9980" y="connsiteY9980"/>
                </a:cxn>
                <a:cxn ang="0">
                  <a:pos x="connsiteX9981" y="connsiteY9981"/>
                </a:cxn>
                <a:cxn ang="0">
                  <a:pos x="connsiteX9982" y="connsiteY9982"/>
                </a:cxn>
                <a:cxn ang="0">
                  <a:pos x="connsiteX9983" y="connsiteY9983"/>
                </a:cxn>
                <a:cxn ang="0">
                  <a:pos x="connsiteX9984" y="connsiteY9984"/>
                </a:cxn>
                <a:cxn ang="0">
                  <a:pos x="connsiteX9985" y="connsiteY9985"/>
                </a:cxn>
                <a:cxn ang="0">
                  <a:pos x="connsiteX9986" y="connsiteY9986"/>
                </a:cxn>
                <a:cxn ang="0">
                  <a:pos x="connsiteX9987" y="connsiteY9987"/>
                </a:cxn>
                <a:cxn ang="0">
                  <a:pos x="connsiteX9988" y="connsiteY9988"/>
                </a:cxn>
                <a:cxn ang="0">
                  <a:pos x="connsiteX9989" y="connsiteY9989"/>
                </a:cxn>
                <a:cxn ang="0">
                  <a:pos x="connsiteX9990" y="connsiteY9990"/>
                </a:cxn>
                <a:cxn ang="0">
                  <a:pos x="connsiteX9991" y="connsiteY9991"/>
                </a:cxn>
                <a:cxn ang="0">
                  <a:pos x="connsiteX9992" y="connsiteY9992"/>
                </a:cxn>
                <a:cxn ang="0">
                  <a:pos x="connsiteX9993" y="connsiteY9993"/>
                </a:cxn>
                <a:cxn ang="0">
                  <a:pos x="connsiteX9994" y="connsiteY9994"/>
                </a:cxn>
                <a:cxn ang="0">
                  <a:pos x="connsiteX9995" y="connsiteY9995"/>
                </a:cxn>
                <a:cxn ang="0">
                  <a:pos x="connsiteX9996" y="connsiteY9996"/>
                </a:cxn>
                <a:cxn ang="0">
                  <a:pos x="connsiteX9997" y="connsiteY9997"/>
                </a:cxn>
                <a:cxn ang="0">
                  <a:pos x="connsiteX9998" y="connsiteY9998"/>
                </a:cxn>
                <a:cxn ang="0">
                  <a:pos x="connsiteX9999" y="connsiteY9999"/>
                </a:cxn>
                <a:cxn ang="0">
                  <a:pos x="connsiteX10000" y="connsiteY10000"/>
                </a:cxn>
                <a:cxn ang="0">
                  <a:pos x="connsiteX10001" y="connsiteY10001"/>
                </a:cxn>
                <a:cxn ang="0">
                  <a:pos x="connsiteX10002" y="connsiteY10002"/>
                </a:cxn>
                <a:cxn ang="0">
                  <a:pos x="connsiteX10003" y="connsiteY10003"/>
                </a:cxn>
                <a:cxn ang="0">
                  <a:pos x="connsiteX10004" y="connsiteY10004"/>
                </a:cxn>
                <a:cxn ang="0">
                  <a:pos x="connsiteX10005" y="connsiteY10005"/>
                </a:cxn>
                <a:cxn ang="0">
                  <a:pos x="connsiteX10006" y="connsiteY10006"/>
                </a:cxn>
                <a:cxn ang="0">
                  <a:pos x="connsiteX10007" y="connsiteY10007"/>
                </a:cxn>
                <a:cxn ang="0">
                  <a:pos x="connsiteX10008" y="connsiteY10008"/>
                </a:cxn>
                <a:cxn ang="0">
                  <a:pos x="connsiteX10009" y="connsiteY10009"/>
                </a:cxn>
                <a:cxn ang="0">
                  <a:pos x="connsiteX10010" y="connsiteY10010"/>
                </a:cxn>
                <a:cxn ang="0">
                  <a:pos x="connsiteX10011" y="connsiteY10011"/>
                </a:cxn>
                <a:cxn ang="0">
                  <a:pos x="connsiteX10012" y="connsiteY10012"/>
                </a:cxn>
                <a:cxn ang="0">
                  <a:pos x="connsiteX10013" y="connsiteY10013"/>
                </a:cxn>
                <a:cxn ang="0">
                  <a:pos x="connsiteX10014" y="connsiteY10014"/>
                </a:cxn>
                <a:cxn ang="0">
                  <a:pos x="connsiteX10015" y="connsiteY10015"/>
                </a:cxn>
                <a:cxn ang="0">
                  <a:pos x="connsiteX10016" y="connsiteY10016"/>
                </a:cxn>
                <a:cxn ang="0">
                  <a:pos x="connsiteX10017" y="connsiteY10017"/>
                </a:cxn>
                <a:cxn ang="0">
                  <a:pos x="connsiteX10018" y="connsiteY10018"/>
                </a:cxn>
                <a:cxn ang="0">
                  <a:pos x="connsiteX10019" y="connsiteY10019"/>
                </a:cxn>
                <a:cxn ang="0">
                  <a:pos x="connsiteX10020" y="connsiteY10020"/>
                </a:cxn>
                <a:cxn ang="0">
                  <a:pos x="connsiteX10021" y="connsiteY10021"/>
                </a:cxn>
                <a:cxn ang="0">
                  <a:pos x="connsiteX10022" y="connsiteY10022"/>
                </a:cxn>
                <a:cxn ang="0">
                  <a:pos x="connsiteX10023" y="connsiteY10023"/>
                </a:cxn>
                <a:cxn ang="0">
                  <a:pos x="connsiteX10024" y="connsiteY10024"/>
                </a:cxn>
                <a:cxn ang="0">
                  <a:pos x="connsiteX10025" y="connsiteY10025"/>
                </a:cxn>
                <a:cxn ang="0">
                  <a:pos x="connsiteX10026" y="connsiteY10026"/>
                </a:cxn>
                <a:cxn ang="0">
                  <a:pos x="connsiteX10027" y="connsiteY10027"/>
                </a:cxn>
                <a:cxn ang="0">
                  <a:pos x="connsiteX10028" y="connsiteY10028"/>
                </a:cxn>
                <a:cxn ang="0">
                  <a:pos x="connsiteX10029" y="connsiteY10029"/>
                </a:cxn>
                <a:cxn ang="0">
                  <a:pos x="connsiteX10030" y="connsiteY10030"/>
                </a:cxn>
                <a:cxn ang="0">
                  <a:pos x="connsiteX10031" y="connsiteY10031"/>
                </a:cxn>
                <a:cxn ang="0">
                  <a:pos x="connsiteX10032" y="connsiteY10032"/>
                </a:cxn>
                <a:cxn ang="0">
                  <a:pos x="connsiteX10033" y="connsiteY10033"/>
                </a:cxn>
                <a:cxn ang="0">
                  <a:pos x="connsiteX10034" y="connsiteY10034"/>
                </a:cxn>
                <a:cxn ang="0">
                  <a:pos x="connsiteX10035" y="connsiteY10035"/>
                </a:cxn>
                <a:cxn ang="0">
                  <a:pos x="connsiteX10036" y="connsiteY10036"/>
                </a:cxn>
                <a:cxn ang="0">
                  <a:pos x="connsiteX10037" y="connsiteY10037"/>
                </a:cxn>
                <a:cxn ang="0">
                  <a:pos x="connsiteX10038" y="connsiteY10038"/>
                </a:cxn>
                <a:cxn ang="0">
                  <a:pos x="connsiteX10039" y="connsiteY10039"/>
                </a:cxn>
                <a:cxn ang="0">
                  <a:pos x="connsiteX10040" y="connsiteY10040"/>
                </a:cxn>
                <a:cxn ang="0">
                  <a:pos x="connsiteX10041" y="connsiteY10041"/>
                </a:cxn>
                <a:cxn ang="0">
                  <a:pos x="connsiteX10042" y="connsiteY10042"/>
                </a:cxn>
                <a:cxn ang="0">
                  <a:pos x="connsiteX10043" y="connsiteY10043"/>
                </a:cxn>
                <a:cxn ang="0">
                  <a:pos x="connsiteX10044" y="connsiteY10044"/>
                </a:cxn>
                <a:cxn ang="0">
                  <a:pos x="connsiteX10045" y="connsiteY10045"/>
                </a:cxn>
                <a:cxn ang="0">
                  <a:pos x="connsiteX10046" y="connsiteY10046"/>
                </a:cxn>
                <a:cxn ang="0">
                  <a:pos x="connsiteX10047" y="connsiteY10047"/>
                </a:cxn>
                <a:cxn ang="0">
                  <a:pos x="connsiteX10048" y="connsiteY10048"/>
                </a:cxn>
                <a:cxn ang="0">
                  <a:pos x="connsiteX10049" y="connsiteY10049"/>
                </a:cxn>
                <a:cxn ang="0">
                  <a:pos x="connsiteX10050" y="connsiteY10050"/>
                </a:cxn>
                <a:cxn ang="0">
                  <a:pos x="connsiteX10051" y="connsiteY10051"/>
                </a:cxn>
                <a:cxn ang="0">
                  <a:pos x="connsiteX10052" y="connsiteY10052"/>
                </a:cxn>
                <a:cxn ang="0">
                  <a:pos x="connsiteX10053" y="connsiteY10053"/>
                </a:cxn>
                <a:cxn ang="0">
                  <a:pos x="connsiteX10054" y="connsiteY10054"/>
                </a:cxn>
                <a:cxn ang="0">
                  <a:pos x="connsiteX10055" y="connsiteY10055"/>
                </a:cxn>
                <a:cxn ang="0">
                  <a:pos x="connsiteX10056" y="connsiteY10056"/>
                </a:cxn>
                <a:cxn ang="0">
                  <a:pos x="connsiteX10057" y="connsiteY10057"/>
                </a:cxn>
                <a:cxn ang="0">
                  <a:pos x="connsiteX10058" y="connsiteY10058"/>
                </a:cxn>
                <a:cxn ang="0">
                  <a:pos x="connsiteX10059" y="connsiteY10059"/>
                </a:cxn>
                <a:cxn ang="0">
                  <a:pos x="connsiteX10060" y="connsiteY10060"/>
                </a:cxn>
                <a:cxn ang="0">
                  <a:pos x="connsiteX10061" y="connsiteY10061"/>
                </a:cxn>
                <a:cxn ang="0">
                  <a:pos x="connsiteX10062" y="connsiteY10062"/>
                </a:cxn>
                <a:cxn ang="0">
                  <a:pos x="connsiteX10063" y="connsiteY10063"/>
                </a:cxn>
                <a:cxn ang="0">
                  <a:pos x="connsiteX10064" y="connsiteY10064"/>
                </a:cxn>
                <a:cxn ang="0">
                  <a:pos x="connsiteX10065" y="connsiteY10065"/>
                </a:cxn>
                <a:cxn ang="0">
                  <a:pos x="connsiteX10066" y="connsiteY10066"/>
                </a:cxn>
                <a:cxn ang="0">
                  <a:pos x="connsiteX10067" y="connsiteY10067"/>
                </a:cxn>
                <a:cxn ang="0">
                  <a:pos x="connsiteX10068" y="connsiteY10068"/>
                </a:cxn>
                <a:cxn ang="0">
                  <a:pos x="connsiteX10069" y="connsiteY10069"/>
                </a:cxn>
                <a:cxn ang="0">
                  <a:pos x="connsiteX10070" y="connsiteY10070"/>
                </a:cxn>
                <a:cxn ang="0">
                  <a:pos x="connsiteX10071" y="connsiteY10071"/>
                </a:cxn>
                <a:cxn ang="0">
                  <a:pos x="connsiteX10072" y="connsiteY10072"/>
                </a:cxn>
                <a:cxn ang="0">
                  <a:pos x="connsiteX10073" y="connsiteY10073"/>
                </a:cxn>
                <a:cxn ang="0">
                  <a:pos x="connsiteX10074" y="connsiteY10074"/>
                </a:cxn>
                <a:cxn ang="0">
                  <a:pos x="connsiteX10075" y="connsiteY10075"/>
                </a:cxn>
                <a:cxn ang="0">
                  <a:pos x="connsiteX10076" y="connsiteY10076"/>
                </a:cxn>
                <a:cxn ang="0">
                  <a:pos x="connsiteX10077" y="connsiteY10077"/>
                </a:cxn>
                <a:cxn ang="0">
                  <a:pos x="connsiteX10078" y="connsiteY10078"/>
                </a:cxn>
                <a:cxn ang="0">
                  <a:pos x="connsiteX10079" y="connsiteY10079"/>
                </a:cxn>
                <a:cxn ang="0">
                  <a:pos x="connsiteX10080" y="connsiteY10080"/>
                </a:cxn>
                <a:cxn ang="0">
                  <a:pos x="connsiteX10081" y="connsiteY10081"/>
                </a:cxn>
                <a:cxn ang="0">
                  <a:pos x="connsiteX10082" y="connsiteY10082"/>
                </a:cxn>
                <a:cxn ang="0">
                  <a:pos x="connsiteX10083" y="connsiteY10083"/>
                </a:cxn>
                <a:cxn ang="0">
                  <a:pos x="connsiteX10084" y="connsiteY10084"/>
                </a:cxn>
                <a:cxn ang="0">
                  <a:pos x="connsiteX10085" y="connsiteY10085"/>
                </a:cxn>
                <a:cxn ang="0">
                  <a:pos x="connsiteX10086" y="connsiteY10086"/>
                </a:cxn>
                <a:cxn ang="0">
                  <a:pos x="connsiteX10087" y="connsiteY10087"/>
                </a:cxn>
                <a:cxn ang="0">
                  <a:pos x="connsiteX10088" y="connsiteY10088"/>
                </a:cxn>
                <a:cxn ang="0">
                  <a:pos x="connsiteX10089" y="connsiteY10089"/>
                </a:cxn>
                <a:cxn ang="0">
                  <a:pos x="connsiteX10090" y="connsiteY10090"/>
                </a:cxn>
                <a:cxn ang="0">
                  <a:pos x="connsiteX10091" y="connsiteY10091"/>
                </a:cxn>
                <a:cxn ang="0">
                  <a:pos x="connsiteX10092" y="connsiteY10092"/>
                </a:cxn>
                <a:cxn ang="0">
                  <a:pos x="connsiteX10093" y="connsiteY10093"/>
                </a:cxn>
                <a:cxn ang="0">
                  <a:pos x="connsiteX10094" y="connsiteY10094"/>
                </a:cxn>
                <a:cxn ang="0">
                  <a:pos x="connsiteX10095" y="connsiteY10095"/>
                </a:cxn>
                <a:cxn ang="0">
                  <a:pos x="connsiteX10096" y="connsiteY10096"/>
                </a:cxn>
                <a:cxn ang="0">
                  <a:pos x="connsiteX10097" y="connsiteY10097"/>
                </a:cxn>
                <a:cxn ang="0">
                  <a:pos x="connsiteX10098" y="connsiteY10098"/>
                </a:cxn>
                <a:cxn ang="0">
                  <a:pos x="connsiteX10099" y="connsiteY10099"/>
                </a:cxn>
                <a:cxn ang="0">
                  <a:pos x="connsiteX10100" y="connsiteY10100"/>
                </a:cxn>
                <a:cxn ang="0">
                  <a:pos x="connsiteX10101" y="connsiteY10101"/>
                </a:cxn>
                <a:cxn ang="0">
                  <a:pos x="connsiteX10102" y="connsiteY10102"/>
                </a:cxn>
                <a:cxn ang="0">
                  <a:pos x="connsiteX10103" y="connsiteY10103"/>
                </a:cxn>
                <a:cxn ang="0">
                  <a:pos x="connsiteX10104" y="connsiteY10104"/>
                </a:cxn>
                <a:cxn ang="0">
                  <a:pos x="connsiteX10105" y="connsiteY10105"/>
                </a:cxn>
                <a:cxn ang="0">
                  <a:pos x="connsiteX10106" y="connsiteY10106"/>
                </a:cxn>
                <a:cxn ang="0">
                  <a:pos x="connsiteX10107" y="connsiteY10107"/>
                </a:cxn>
                <a:cxn ang="0">
                  <a:pos x="connsiteX10108" y="connsiteY10108"/>
                </a:cxn>
                <a:cxn ang="0">
                  <a:pos x="connsiteX10109" y="connsiteY10109"/>
                </a:cxn>
                <a:cxn ang="0">
                  <a:pos x="connsiteX10110" y="connsiteY10110"/>
                </a:cxn>
                <a:cxn ang="0">
                  <a:pos x="connsiteX10111" y="connsiteY10111"/>
                </a:cxn>
                <a:cxn ang="0">
                  <a:pos x="connsiteX10112" y="connsiteY10112"/>
                </a:cxn>
                <a:cxn ang="0">
                  <a:pos x="connsiteX10113" y="connsiteY10113"/>
                </a:cxn>
                <a:cxn ang="0">
                  <a:pos x="connsiteX10114" y="connsiteY10114"/>
                </a:cxn>
                <a:cxn ang="0">
                  <a:pos x="connsiteX10115" y="connsiteY10115"/>
                </a:cxn>
                <a:cxn ang="0">
                  <a:pos x="connsiteX10116" y="connsiteY10116"/>
                </a:cxn>
                <a:cxn ang="0">
                  <a:pos x="connsiteX10117" y="connsiteY10117"/>
                </a:cxn>
                <a:cxn ang="0">
                  <a:pos x="connsiteX10118" y="connsiteY10118"/>
                </a:cxn>
                <a:cxn ang="0">
                  <a:pos x="connsiteX10119" y="connsiteY10119"/>
                </a:cxn>
                <a:cxn ang="0">
                  <a:pos x="connsiteX10120" y="connsiteY10120"/>
                </a:cxn>
                <a:cxn ang="0">
                  <a:pos x="connsiteX10121" y="connsiteY10121"/>
                </a:cxn>
                <a:cxn ang="0">
                  <a:pos x="connsiteX10122" y="connsiteY10122"/>
                </a:cxn>
                <a:cxn ang="0">
                  <a:pos x="connsiteX10123" y="connsiteY10123"/>
                </a:cxn>
                <a:cxn ang="0">
                  <a:pos x="connsiteX10124" y="connsiteY10124"/>
                </a:cxn>
                <a:cxn ang="0">
                  <a:pos x="connsiteX10125" y="connsiteY10125"/>
                </a:cxn>
                <a:cxn ang="0">
                  <a:pos x="connsiteX10126" y="connsiteY10126"/>
                </a:cxn>
                <a:cxn ang="0">
                  <a:pos x="connsiteX10127" y="connsiteY10127"/>
                </a:cxn>
                <a:cxn ang="0">
                  <a:pos x="connsiteX10128" y="connsiteY10128"/>
                </a:cxn>
                <a:cxn ang="0">
                  <a:pos x="connsiteX10129" y="connsiteY10129"/>
                </a:cxn>
                <a:cxn ang="0">
                  <a:pos x="connsiteX10130" y="connsiteY10130"/>
                </a:cxn>
                <a:cxn ang="0">
                  <a:pos x="connsiteX10131" y="connsiteY10131"/>
                </a:cxn>
                <a:cxn ang="0">
                  <a:pos x="connsiteX10132" y="connsiteY10132"/>
                </a:cxn>
                <a:cxn ang="0">
                  <a:pos x="connsiteX10133" y="connsiteY10133"/>
                </a:cxn>
                <a:cxn ang="0">
                  <a:pos x="connsiteX10134" y="connsiteY10134"/>
                </a:cxn>
                <a:cxn ang="0">
                  <a:pos x="connsiteX10135" y="connsiteY10135"/>
                </a:cxn>
                <a:cxn ang="0">
                  <a:pos x="connsiteX10136" y="connsiteY10136"/>
                </a:cxn>
                <a:cxn ang="0">
                  <a:pos x="connsiteX10137" y="connsiteY10137"/>
                </a:cxn>
                <a:cxn ang="0">
                  <a:pos x="connsiteX10138" y="connsiteY10138"/>
                </a:cxn>
                <a:cxn ang="0">
                  <a:pos x="connsiteX10139" y="connsiteY10139"/>
                </a:cxn>
                <a:cxn ang="0">
                  <a:pos x="connsiteX10140" y="connsiteY10140"/>
                </a:cxn>
                <a:cxn ang="0">
                  <a:pos x="connsiteX10141" y="connsiteY10141"/>
                </a:cxn>
                <a:cxn ang="0">
                  <a:pos x="connsiteX10142" y="connsiteY10142"/>
                </a:cxn>
                <a:cxn ang="0">
                  <a:pos x="connsiteX10143" y="connsiteY10143"/>
                </a:cxn>
                <a:cxn ang="0">
                  <a:pos x="connsiteX10144" y="connsiteY10144"/>
                </a:cxn>
                <a:cxn ang="0">
                  <a:pos x="connsiteX10145" y="connsiteY10145"/>
                </a:cxn>
                <a:cxn ang="0">
                  <a:pos x="connsiteX10146" y="connsiteY10146"/>
                </a:cxn>
                <a:cxn ang="0">
                  <a:pos x="connsiteX10147" y="connsiteY10147"/>
                </a:cxn>
                <a:cxn ang="0">
                  <a:pos x="connsiteX10148" y="connsiteY10148"/>
                </a:cxn>
                <a:cxn ang="0">
                  <a:pos x="connsiteX10149" y="connsiteY10149"/>
                </a:cxn>
                <a:cxn ang="0">
                  <a:pos x="connsiteX10150" y="connsiteY10150"/>
                </a:cxn>
                <a:cxn ang="0">
                  <a:pos x="connsiteX10151" y="connsiteY10151"/>
                </a:cxn>
                <a:cxn ang="0">
                  <a:pos x="connsiteX10152" y="connsiteY10152"/>
                </a:cxn>
                <a:cxn ang="0">
                  <a:pos x="connsiteX10153" y="connsiteY10153"/>
                </a:cxn>
                <a:cxn ang="0">
                  <a:pos x="connsiteX10154" y="connsiteY10154"/>
                </a:cxn>
                <a:cxn ang="0">
                  <a:pos x="connsiteX10155" y="connsiteY10155"/>
                </a:cxn>
                <a:cxn ang="0">
                  <a:pos x="connsiteX10156" y="connsiteY10156"/>
                </a:cxn>
                <a:cxn ang="0">
                  <a:pos x="connsiteX10157" y="connsiteY10157"/>
                </a:cxn>
                <a:cxn ang="0">
                  <a:pos x="connsiteX10158" y="connsiteY10158"/>
                </a:cxn>
                <a:cxn ang="0">
                  <a:pos x="connsiteX10159" y="connsiteY10159"/>
                </a:cxn>
                <a:cxn ang="0">
                  <a:pos x="connsiteX10160" y="connsiteY10160"/>
                </a:cxn>
                <a:cxn ang="0">
                  <a:pos x="connsiteX10161" y="connsiteY10161"/>
                </a:cxn>
                <a:cxn ang="0">
                  <a:pos x="connsiteX10162" y="connsiteY10162"/>
                </a:cxn>
                <a:cxn ang="0">
                  <a:pos x="connsiteX10163" y="connsiteY10163"/>
                </a:cxn>
                <a:cxn ang="0">
                  <a:pos x="connsiteX10164" y="connsiteY10164"/>
                </a:cxn>
                <a:cxn ang="0">
                  <a:pos x="connsiteX10165" y="connsiteY10165"/>
                </a:cxn>
                <a:cxn ang="0">
                  <a:pos x="connsiteX10166" y="connsiteY10166"/>
                </a:cxn>
                <a:cxn ang="0">
                  <a:pos x="connsiteX10167" y="connsiteY10167"/>
                </a:cxn>
                <a:cxn ang="0">
                  <a:pos x="connsiteX10168" y="connsiteY10168"/>
                </a:cxn>
                <a:cxn ang="0">
                  <a:pos x="connsiteX10169" y="connsiteY10169"/>
                </a:cxn>
                <a:cxn ang="0">
                  <a:pos x="connsiteX10170" y="connsiteY10170"/>
                </a:cxn>
                <a:cxn ang="0">
                  <a:pos x="connsiteX10171" y="connsiteY10171"/>
                </a:cxn>
                <a:cxn ang="0">
                  <a:pos x="connsiteX10172" y="connsiteY10172"/>
                </a:cxn>
                <a:cxn ang="0">
                  <a:pos x="connsiteX10173" y="connsiteY10173"/>
                </a:cxn>
                <a:cxn ang="0">
                  <a:pos x="connsiteX10174" y="connsiteY10174"/>
                </a:cxn>
                <a:cxn ang="0">
                  <a:pos x="connsiteX10175" y="connsiteY10175"/>
                </a:cxn>
                <a:cxn ang="0">
                  <a:pos x="connsiteX10176" y="connsiteY10176"/>
                </a:cxn>
                <a:cxn ang="0">
                  <a:pos x="connsiteX10177" y="connsiteY10177"/>
                </a:cxn>
                <a:cxn ang="0">
                  <a:pos x="connsiteX10178" y="connsiteY10178"/>
                </a:cxn>
                <a:cxn ang="0">
                  <a:pos x="connsiteX10179" y="connsiteY10179"/>
                </a:cxn>
                <a:cxn ang="0">
                  <a:pos x="connsiteX10180" y="connsiteY10180"/>
                </a:cxn>
                <a:cxn ang="0">
                  <a:pos x="connsiteX10181" y="connsiteY10181"/>
                </a:cxn>
                <a:cxn ang="0">
                  <a:pos x="connsiteX10182" y="connsiteY10182"/>
                </a:cxn>
                <a:cxn ang="0">
                  <a:pos x="connsiteX10183" y="connsiteY10183"/>
                </a:cxn>
                <a:cxn ang="0">
                  <a:pos x="connsiteX10184" y="connsiteY10184"/>
                </a:cxn>
                <a:cxn ang="0">
                  <a:pos x="connsiteX10185" y="connsiteY10185"/>
                </a:cxn>
                <a:cxn ang="0">
                  <a:pos x="connsiteX10186" y="connsiteY10186"/>
                </a:cxn>
                <a:cxn ang="0">
                  <a:pos x="connsiteX10187" y="connsiteY10187"/>
                </a:cxn>
                <a:cxn ang="0">
                  <a:pos x="connsiteX10188" y="connsiteY10188"/>
                </a:cxn>
                <a:cxn ang="0">
                  <a:pos x="connsiteX10189" y="connsiteY10189"/>
                </a:cxn>
                <a:cxn ang="0">
                  <a:pos x="connsiteX10190" y="connsiteY10190"/>
                </a:cxn>
                <a:cxn ang="0">
                  <a:pos x="connsiteX10191" y="connsiteY10191"/>
                </a:cxn>
                <a:cxn ang="0">
                  <a:pos x="connsiteX10192" y="connsiteY10192"/>
                </a:cxn>
                <a:cxn ang="0">
                  <a:pos x="connsiteX10193" y="connsiteY10193"/>
                </a:cxn>
                <a:cxn ang="0">
                  <a:pos x="connsiteX10194" y="connsiteY10194"/>
                </a:cxn>
                <a:cxn ang="0">
                  <a:pos x="connsiteX10195" y="connsiteY10195"/>
                </a:cxn>
                <a:cxn ang="0">
                  <a:pos x="connsiteX10196" y="connsiteY10196"/>
                </a:cxn>
                <a:cxn ang="0">
                  <a:pos x="connsiteX10197" y="connsiteY10197"/>
                </a:cxn>
                <a:cxn ang="0">
                  <a:pos x="connsiteX10198" y="connsiteY10198"/>
                </a:cxn>
                <a:cxn ang="0">
                  <a:pos x="connsiteX10199" y="connsiteY10199"/>
                </a:cxn>
                <a:cxn ang="0">
                  <a:pos x="connsiteX10200" y="connsiteY10200"/>
                </a:cxn>
                <a:cxn ang="0">
                  <a:pos x="connsiteX10201" y="connsiteY10201"/>
                </a:cxn>
                <a:cxn ang="0">
                  <a:pos x="connsiteX10202" y="connsiteY10202"/>
                </a:cxn>
                <a:cxn ang="0">
                  <a:pos x="connsiteX10203" y="connsiteY10203"/>
                </a:cxn>
                <a:cxn ang="0">
                  <a:pos x="connsiteX10204" y="connsiteY10204"/>
                </a:cxn>
                <a:cxn ang="0">
                  <a:pos x="connsiteX10205" y="connsiteY10205"/>
                </a:cxn>
                <a:cxn ang="0">
                  <a:pos x="connsiteX10206" y="connsiteY10206"/>
                </a:cxn>
                <a:cxn ang="0">
                  <a:pos x="connsiteX10207" y="connsiteY10207"/>
                </a:cxn>
                <a:cxn ang="0">
                  <a:pos x="connsiteX10208" y="connsiteY10208"/>
                </a:cxn>
                <a:cxn ang="0">
                  <a:pos x="connsiteX10209" y="connsiteY10209"/>
                </a:cxn>
                <a:cxn ang="0">
                  <a:pos x="connsiteX10210" y="connsiteY10210"/>
                </a:cxn>
                <a:cxn ang="0">
                  <a:pos x="connsiteX10211" y="connsiteY10211"/>
                </a:cxn>
                <a:cxn ang="0">
                  <a:pos x="connsiteX10212" y="connsiteY10212"/>
                </a:cxn>
                <a:cxn ang="0">
                  <a:pos x="connsiteX10213" y="connsiteY10213"/>
                </a:cxn>
                <a:cxn ang="0">
                  <a:pos x="connsiteX10214" y="connsiteY10214"/>
                </a:cxn>
                <a:cxn ang="0">
                  <a:pos x="connsiteX10215" y="connsiteY10215"/>
                </a:cxn>
                <a:cxn ang="0">
                  <a:pos x="connsiteX10216" y="connsiteY10216"/>
                </a:cxn>
                <a:cxn ang="0">
                  <a:pos x="connsiteX10217" y="connsiteY10217"/>
                </a:cxn>
                <a:cxn ang="0">
                  <a:pos x="connsiteX10218" y="connsiteY10218"/>
                </a:cxn>
                <a:cxn ang="0">
                  <a:pos x="connsiteX10219" y="connsiteY10219"/>
                </a:cxn>
                <a:cxn ang="0">
                  <a:pos x="connsiteX10220" y="connsiteY10220"/>
                </a:cxn>
                <a:cxn ang="0">
                  <a:pos x="connsiteX10221" y="connsiteY10221"/>
                </a:cxn>
                <a:cxn ang="0">
                  <a:pos x="connsiteX10222" y="connsiteY10222"/>
                </a:cxn>
                <a:cxn ang="0">
                  <a:pos x="connsiteX10223" y="connsiteY10223"/>
                </a:cxn>
                <a:cxn ang="0">
                  <a:pos x="connsiteX10224" y="connsiteY10224"/>
                </a:cxn>
                <a:cxn ang="0">
                  <a:pos x="connsiteX10225" y="connsiteY10225"/>
                </a:cxn>
                <a:cxn ang="0">
                  <a:pos x="connsiteX10226" y="connsiteY10226"/>
                </a:cxn>
                <a:cxn ang="0">
                  <a:pos x="connsiteX10227" y="connsiteY10227"/>
                </a:cxn>
                <a:cxn ang="0">
                  <a:pos x="connsiteX10228" y="connsiteY10228"/>
                </a:cxn>
                <a:cxn ang="0">
                  <a:pos x="connsiteX10229" y="connsiteY10229"/>
                </a:cxn>
                <a:cxn ang="0">
                  <a:pos x="connsiteX10230" y="connsiteY10230"/>
                </a:cxn>
                <a:cxn ang="0">
                  <a:pos x="connsiteX10231" y="connsiteY10231"/>
                </a:cxn>
                <a:cxn ang="0">
                  <a:pos x="connsiteX10232" y="connsiteY10232"/>
                </a:cxn>
                <a:cxn ang="0">
                  <a:pos x="connsiteX10233" y="connsiteY10233"/>
                </a:cxn>
                <a:cxn ang="0">
                  <a:pos x="connsiteX10234" y="connsiteY10234"/>
                </a:cxn>
                <a:cxn ang="0">
                  <a:pos x="connsiteX10235" y="connsiteY10235"/>
                </a:cxn>
                <a:cxn ang="0">
                  <a:pos x="connsiteX10236" y="connsiteY10236"/>
                </a:cxn>
                <a:cxn ang="0">
                  <a:pos x="connsiteX10237" y="connsiteY10237"/>
                </a:cxn>
                <a:cxn ang="0">
                  <a:pos x="connsiteX10238" y="connsiteY10238"/>
                </a:cxn>
                <a:cxn ang="0">
                  <a:pos x="connsiteX10239" y="connsiteY10239"/>
                </a:cxn>
                <a:cxn ang="0">
                  <a:pos x="connsiteX10240" y="connsiteY10240"/>
                </a:cxn>
                <a:cxn ang="0">
                  <a:pos x="connsiteX10241" y="connsiteY10241"/>
                </a:cxn>
                <a:cxn ang="0">
                  <a:pos x="connsiteX10242" y="connsiteY10242"/>
                </a:cxn>
                <a:cxn ang="0">
                  <a:pos x="connsiteX10243" y="connsiteY10243"/>
                </a:cxn>
                <a:cxn ang="0">
                  <a:pos x="connsiteX10244" y="connsiteY10244"/>
                </a:cxn>
                <a:cxn ang="0">
                  <a:pos x="connsiteX10245" y="connsiteY10245"/>
                </a:cxn>
                <a:cxn ang="0">
                  <a:pos x="connsiteX10246" y="connsiteY10246"/>
                </a:cxn>
                <a:cxn ang="0">
                  <a:pos x="connsiteX10247" y="connsiteY10247"/>
                </a:cxn>
                <a:cxn ang="0">
                  <a:pos x="connsiteX10248" y="connsiteY10248"/>
                </a:cxn>
                <a:cxn ang="0">
                  <a:pos x="connsiteX10249" y="connsiteY10249"/>
                </a:cxn>
                <a:cxn ang="0">
                  <a:pos x="connsiteX10250" y="connsiteY10250"/>
                </a:cxn>
                <a:cxn ang="0">
                  <a:pos x="connsiteX10251" y="connsiteY10251"/>
                </a:cxn>
                <a:cxn ang="0">
                  <a:pos x="connsiteX10252" y="connsiteY10252"/>
                </a:cxn>
                <a:cxn ang="0">
                  <a:pos x="connsiteX10253" y="connsiteY10253"/>
                </a:cxn>
                <a:cxn ang="0">
                  <a:pos x="connsiteX10254" y="connsiteY10254"/>
                </a:cxn>
                <a:cxn ang="0">
                  <a:pos x="connsiteX10255" y="connsiteY10255"/>
                </a:cxn>
                <a:cxn ang="0">
                  <a:pos x="connsiteX10256" y="connsiteY10256"/>
                </a:cxn>
                <a:cxn ang="0">
                  <a:pos x="connsiteX10257" y="connsiteY10257"/>
                </a:cxn>
                <a:cxn ang="0">
                  <a:pos x="connsiteX10258" y="connsiteY10258"/>
                </a:cxn>
                <a:cxn ang="0">
                  <a:pos x="connsiteX10259" y="connsiteY10259"/>
                </a:cxn>
                <a:cxn ang="0">
                  <a:pos x="connsiteX10260" y="connsiteY10260"/>
                </a:cxn>
                <a:cxn ang="0">
                  <a:pos x="connsiteX10261" y="connsiteY10261"/>
                </a:cxn>
                <a:cxn ang="0">
                  <a:pos x="connsiteX10262" y="connsiteY10262"/>
                </a:cxn>
                <a:cxn ang="0">
                  <a:pos x="connsiteX10263" y="connsiteY10263"/>
                </a:cxn>
                <a:cxn ang="0">
                  <a:pos x="connsiteX10264" y="connsiteY10264"/>
                </a:cxn>
                <a:cxn ang="0">
                  <a:pos x="connsiteX10265" y="connsiteY10265"/>
                </a:cxn>
                <a:cxn ang="0">
                  <a:pos x="connsiteX10266" y="connsiteY10266"/>
                </a:cxn>
                <a:cxn ang="0">
                  <a:pos x="connsiteX10267" y="connsiteY10267"/>
                </a:cxn>
                <a:cxn ang="0">
                  <a:pos x="connsiteX10268" y="connsiteY10268"/>
                </a:cxn>
                <a:cxn ang="0">
                  <a:pos x="connsiteX10269" y="connsiteY10269"/>
                </a:cxn>
                <a:cxn ang="0">
                  <a:pos x="connsiteX10270" y="connsiteY10270"/>
                </a:cxn>
                <a:cxn ang="0">
                  <a:pos x="connsiteX10271" y="connsiteY10271"/>
                </a:cxn>
                <a:cxn ang="0">
                  <a:pos x="connsiteX10272" y="connsiteY10272"/>
                </a:cxn>
                <a:cxn ang="0">
                  <a:pos x="connsiteX10273" y="connsiteY10273"/>
                </a:cxn>
                <a:cxn ang="0">
                  <a:pos x="connsiteX10274" y="connsiteY10274"/>
                </a:cxn>
                <a:cxn ang="0">
                  <a:pos x="connsiteX10275" y="connsiteY10275"/>
                </a:cxn>
                <a:cxn ang="0">
                  <a:pos x="connsiteX10276" y="connsiteY10276"/>
                </a:cxn>
                <a:cxn ang="0">
                  <a:pos x="connsiteX10277" y="connsiteY10277"/>
                </a:cxn>
                <a:cxn ang="0">
                  <a:pos x="connsiteX10278" y="connsiteY10278"/>
                </a:cxn>
                <a:cxn ang="0">
                  <a:pos x="connsiteX10279" y="connsiteY10279"/>
                </a:cxn>
                <a:cxn ang="0">
                  <a:pos x="connsiteX10280" y="connsiteY10280"/>
                </a:cxn>
                <a:cxn ang="0">
                  <a:pos x="connsiteX10281" y="connsiteY10281"/>
                </a:cxn>
                <a:cxn ang="0">
                  <a:pos x="connsiteX10282" y="connsiteY10282"/>
                </a:cxn>
                <a:cxn ang="0">
                  <a:pos x="connsiteX10283" y="connsiteY10283"/>
                </a:cxn>
                <a:cxn ang="0">
                  <a:pos x="connsiteX10284" y="connsiteY10284"/>
                </a:cxn>
                <a:cxn ang="0">
                  <a:pos x="connsiteX10285" y="connsiteY10285"/>
                </a:cxn>
                <a:cxn ang="0">
                  <a:pos x="connsiteX10286" y="connsiteY10286"/>
                </a:cxn>
                <a:cxn ang="0">
                  <a:pos x="connsiteX10287" y="connsiteY10287"/>
                </a:cxn>
                <a:cxn ang="0">
                  <a:pos x="connsiteX10288" y="connsiteY10288"/>
                </a:cxn>
                <a:cxn ang="0">
                  <a:pos x="connsiteX10289" y="connsiteY10289"/>
                </a:cxn>
                <a:cxn ang="0">
                  <a:pos x="connsiteX10290" y="connsiteY10290"/>
                </a:cxn>
                <a:cxn ang="0">
                  <a:pos x="connsiteX10291" y="connsiteY10291"/>
                </a:cxn>
                <a:cxn ang="0">
                  <a:pos x="connsiteX10292" y="connsiteY10292"/>
                </a:cxn>
                <a:cxn ang="0">
                  <a:pos x="connsiteX10293" y="connsiteY10293"/>
                </a:cxn>
                <a:cxn ang="0">
                  <a:pos x="connsiteX10294" y="connsiteY10294"/>
                </a:cxn>
                <a:cxn ang="0">
                  <a:pos x="connsiteX10295" y="connsiteY10295"/>
                </a:cxn>
                <a:cxn ang="0">
                  <a:pos x="connsiteX10296" y="connsiteY10296"/>
                </a:cxn>
                <a:cxn ang="0">
                  <a:pos x="connsiteX10297" y="connsiteY10297"/>
                </a:cxn>
                <a:cxn ang="0">
                  <a:pos x="connsiteX10298" y="connsiteY10298"/>
                </a:cxn>
                <a:cxn ang="0">
                  <a:pos x="connsiteX10299" y="connsiteY10299"/>
                </a:cxn>
                <a:cxn ang="0">
                  <a:pos x="connsiteX10300" y="connsiteY10300"/>
                </a:cxn>
                <a:cxn ang="0">
                  <a:pos x="connsiteX10301" y="connsiteY10301"/>
                </a:cxn>
                <a:cxn ang="0">
                  <a:pos x="connsiteX10302" y="connsiteY10302"/>
                </a:cxn>
                <a:cxn ang="0">
                  <a:pos x="connsiteX10303" y="connsiteY10303"/>
                </a:cxn>
                <a:cxn ang="0">
                  <a:pos x="connsiteX10304" y="connsiteY10304"/>
                </a:cxn>
                <a:cxn ang="0">
                  <a:pos x="connsiteX10305" y="connsiteY10305"/>
                </a:cxn>
                <a:cxn ang="0">
                  <a:pos x="connsiteX10306" y="connsiteY10306"/>
                </a:cxn>
                <a:cxn ang="0">
                  <a:pos x="connsiteX10307" y="connsiteY10307"/>
                </a:cxn>
                <a:cxn ang="0">
                  <a:pos x="connsiteX10308" y="connsiteY10308"/>
                </a:cxn>
                <a:cxn ang="0">
                  <a:pos x="connsiteX10309" y="connsiteY10309"/>
                </a:cxn>
                <a:cxn ang="0">
                  <a:pos x="connsiteX10310" y="connsiteY10310"/>
                </a:cxn>
                <a:cxn ang="0">
                  <a:pos x="connsiteX10311" y="connsiteY10311"/>
                </a:cxn>
                <a:cxn ang="0">
                  <a:pos x="connsiteX10312" y="connsiteY10312"/>
                </a:cxn>
                <a:cxn ang="0">
                  <a:pos x="connsiteX10313" y="connsiteY10313"/>
                </a:cxn>
                <a:cxn ang="0">
                  <a:pos x="connsiteX10314" y="connsiteY10314"/>
                </a:cxn>
                <a:cxn ang="0">
                  <a:pos x="connsiteX10315" y="connsiteY10315"/>
                </a:cxn>
                <a:cxn ang="0">
                  <a:pos x="connsiteX10316" y="connsiteY10316"/>
                </a:cxn>
                <a:cxn ang="0">
                  <a:pos x="connsiteX10317" y="connsiteY10317"/>
                </a:cxn>
                <a:cxn ang="0">
                  <a:pos x="connsiteX10318" y="connsiteY10318"/>
                </a:cxn>
                <a:cxn ang="0">
                  <a:pos x="connsiteX10319" y="connsiteY10319"/>
                </a:cxn>
                <a:cxn ang="0">
                  <a:pos x="connsiteX10320" y="connsiteY10320"/>
                </a:cxn>
                <a:cxn ang="0">
                  <a:pos x="connsiteX10321" y="connsiteY10321"/>
                </a:cxn>
                <a:cxn ang="0">
                  <a:pos x="connsiteX10322" y="connsiteY10322"/>
                </a:cxn>
                <a:cxn ang="0">
                  <a:pos x="connsiteX10323" y="connsiteY10323"/>
                </a:cxn>
                <a:cxn ang="0">
                  <a:pos x="connsiteX10324" y="connsiteY10324"/>
                </a:cxn>
                <a:cxn ang="0">
                  <a:pos x="connsiteX10325" y="connsiteY10325"/>
                </a:cxn>
                <a:cxn ang="0">
                  <a:pos x="connsiteX10326" y="connsiteY10326"/>
                </a:cxn>
                <a:cxn ang="0">
                  <a:pos x="connsiteX10327" y="connsiteY10327"/>
                </a:cxn>
                <a:cxn ang="0">
                  <a:pos x="connsiteX10328" y="connsiteY10328"/>
                </a:cxn>
                <a:cxn ang="0">
                  <a:pos x="connsiteX10329" y="connsiteY10329"/>
                </a:cxn>
                <a:cxn ang="0">
                  <a:pos x="connsiteX10330" y="connsiteY10330"/>
                </a:cxn>
                <a:cxn ang="0">
                  <a:pos x="connsiteX10331" y="connsiteY10331"/>
                </a:cxn>
                <a:cxn ang="0">
                  <a:pos x="connsiteX10332" y="connsiteY10332"/>
                </a:cxn>
                <a:cxn ang="0">
                  <a:pos x="connsiteX10333" y="connsiteY10333"/>
                </a:cxn>
                <a:cxn ang="0">
                  <a:pos x="connsiteX10334" y="connsiteY10334"/>
                </a:cxn>
                <a:cxn ang="0">
                  <a:pos x="connsiteX10335" y="connsiteY10335"/>
                </a:cxn>
                <a:cxn ang="0">
                  <a:pos x="connsiteX10336" y="connsiteY10336"/>
                </a:cxn>
                <a:cxn ang="0">
                  <a:pos x="connsiteX10337" y="connsiteY10337"/>
                </a:cxn>
                <a:cxn ang="0">
                  <a:pos x="connsiteX10338" y="connsiteY10338"/>
                </a:cxn>
                <a:cxn ang="0">
                  <a:pos x="connsiteX10339" y="connsiteY10339"/>
                </a:cxn>
                <a:cxn ang="0">
                  <a:pos x="connsiteX10340" y="connsiteY10340"/>
                </a:cxn>
                <a:cxn ang="0">
                  <a:pos x="connsiteX10341" y="connsiteY10341"/>
                </a:cxn>
                <a:cxn ang="0">
                  <a:pos x="connsiteX10342" y="connsiteY10342"/>
                </a:cxn>
                <a:cxn ang="0">
                  <a:pos x="connsiteX10343" y="connsiteY10343"/>
                </a:cxn>
                <a:cxn ang="0">
                  <a:pos x="connsiteX10344" y="connsiteY10344"/>
                </a:cxn>
                <a:cxn ang="0">
                  <a:pos x="connsiteX10345" y="connsiteY10345"/>
                </a:cxn>
                <a:cxn ang="0">
                  <a:pos x="connsiteX10346" y="connsiteY10346"/>
                </a:cxn>
                <a:cxn ang="0">
                  <a:pos x="connsiteX10347" y="connsiteY10347"/>
                </a:cxn>
                <a:cxn ang="0">
                  <a:pos x="connsiteX10348" y="connsiteY10348"/>
                </a:cxn>
                <a:cxn ang="0">
                  <a:pos x="connsiteX10349" y="connsiteY10349"/>
                </a:cxn>
                <a:cxn ang="0">
                  <a:pos x="connsiteX10350" y="connsiteY10350"/>
                </a:cxn>
                <a:cxn ang="0">
                  <a:pos x="connsiteX10351" y="connsiteY10351"/>
                </a:cxn>
                <a:cxn ang="0">
                  <a:pos x="connsiteX10352" y="connsiteY10352"/>
                </a:cxn>
                <a:cxn ang="0">
                  <a:pos x="connsiteX10353" y="connsiteY10353"/>
                </a:cxn>
                <a:cxn ang="0">
                  <a:pos x="connsiteX10354" y="connsiteY10354"/>
                </a:cxn>
                <a:cxn ang="0">
                  <a:pos x="connsiteX10355" y="connsiteY10355"/>
                </a:cxn>
                <a:cxn ang="0">
                  <a:pos x="connsiteX10356" y="connsiteY10356"/>
                </a:cxn>
                <a:cxn ang="0">
                  <a:pos x="connsiteX10357" y="connsiteY10357"/>
                </a:cxn>
                <a:cxn ang="0">
                  <a:pos x="connsiteX10358" y="connsiteY10358"/>
                </a:cxn>
                <a:cxn ang="0">
                  <a:pos x="connsiteX10359" y="connsiteY10359"/>
                </a:cxn>
                <a:cxn ang="0">
                  <a:pos x="connsiteX10360" y="connsiteY10360"/>
                </a:cxn>
                <a:cxn ang="0">
                  <a:pos x="connsiteX10361" y="connsiteY10361"/>
                </a:cxn>
                <a:cxn ang="0">
                  <a:pos x="connsiteX10362" y="connsiteY10362"/>
                </a:cxn>
                <a:cxn ang="0">
                  <a:pos x="connsiteX10363" y="connsiteY10363"/>
                </a:cxn>
                <a:cxn ang="0">
                  <a:pos x="connsiteX10364" y="connsiteY10364"/>
                </a:cxn>
                <a:cxn ang="0">
                  <a:pos x="connsiteX10365" y="connsiteY10365"/>
                </a:cxn>
                <a:cxn ang="0">
                  <a:pos x="connsiteX10366" y="connsiteY10366"/>
                </a:cxn>
                <a:cxn ang="0">
                  <a:pos x="connsiteX10367" y="connsiteY10367"/>
                </a:cxn>
                <a:cxn ang="0">
                  <a:pos x="connsiteX10368" y="connsiteY10368"/>
                </a:cxn>
                <a:cxn ang="0">
                  <a:pos x="connsiteX10369" y="connsiteY10369"/>
                </a:cxn>
                <a:cxn ang="0">
                  <a:pos x="connsiteX10370" y="connsiteY10370"/>
                </a:cxn>
                <a:cxn ang="0">
                  <a:pos x="connsiteX10371" y="connsiteY10371"/>
                </a:cxn>
                <a:cxn ang="0">
                  <a:pos x="connsiteX10372" y="connsiteY10372"/>
                </a:cxn>
                <a:cxn ang="0">
                  <a:pos x="connsiteX10373" y="connsiteY10373"/>
                </a:cxn>
                <a:cxn ang="0">
                  <a:pos x="connsiteX10374" y="connsiteY10374"/>
                </a:cxn>
                <a:cxn ang="0">
                  <a:pos x="connsiteX10375" y="connsiteY10375"/>
                </a:cxn>
                <a:cxn ang="0">
                  <a:pos x="connsiteX10376" y="connsiteY10376"/>
                </a:cxn>
                <a:cxn ang="0">
                  <a:pos x="connsiteX10377" y="connsiteY10377"/>
                </a:cxn>
                <a:cxn ang="0">
                  <a:pos x="connsiteX10378" y="connsiteY10378"/>
                </a:cxn>
                <a:cxn ang="0">
                  <a:pos x="connsiteX10379" y="connsiteY10379"/>
                </a:cxn>
                <a:cxn ang="0">
                  <a:pos x="connsiteX10380" y="connsiteY10380"/>
                </a:cxn>
                <a:cxn ang="0">
                  <a:pos x="connsiteX10381" y="connsiteY10381"/>
                </a:cxn>
                <a:cxn ang="0">
                  <a:pos x="connsiteX10382" y="connsiteY10382"/>
                </a:cxn>
                <a:cxn ang="0">
                  <a:pos x="connsiteX10383" y="connsiteY10383"/>
                </a:cxn>
                <a:cxn ang="0">
                  <a:pos x="connsiteX10384" y="connsiteY10384"/>
                </a:cxn>
                <a:cxn ang="0">
                  <a:pos x="connsiteX10385" y="connsiteY10385"/>
                </a:cxn>
                <a:cxn ang="0">
                  <a:pos x="connsiteX10386" y="connsiteY10386"/>
                </a:cxn>
                <a:cxn ang="0">
                  <a:pos x="connsiteX10387" y="connsiteY10387"/>
                </a:cxn>
                <a:cxn ang="0">
                  <a:pos x="connsiteX10388" y="connsiteY10388"/>
                </a:cxn>
                <a:cxn ang="0">
                  <a:pos x="connsiteX10389" y="connsiteY10389"/>
                </a:cxn>
                <a:cxn ang="0">
                  <a:pos x="connsiteX10390" y="connsiteY10390"/>
                </a:cxn>
                <a:cxn ang="0">
                  <a:pos x="connsiteX10391" y="connsiteY10391"/>
                </a:cxn>
                <a:cxn ang="0">
                  <a:pos x="connsiteX10392" y="connsiteY10392"/>
                </a:cxn>
                <a:cxn ang="0">
                  <a:pos x="connsiteX10393" y="connsiteY10393"/>
                </a:cxn>
                <a:cxn ang="0">
                  <a:pos x="connsiteX10394" y="connsiteY10394"/>
                </a:cxn>
                <a:cxn ang="0">
                  <a:pos x="connsiteX10395" y="connsiteY10395"/>
                </a:cxn>
                <a:cxn ang="0">
                  <a:pos x="connsiteX10396" y="connsiteY10396"/>
                </a:cxn>
                <a:cxn ang="0">
                  <a:pos x="connsiteX10397" y="connsiteY10397"/>
                </a:cxn>
                <a:cxn ang="0">
                  <a:pos x="connsiteX10398" y="connsiteY10398"/>
                </a:cxn>
                <a:cxn ang="0">
                  <a:pos x="connsiteX10399" y="connsiteY10399"/>
                </a:cxn>
                <a:cxn ang="0">
                  <a:pos x="connsiteX10400" y="connsiteY10400"/>
                </a:cxn>
                <a:cxn ang="0">
                  <a:pos x="connsiteX10401" y="connsiteY10401"/>
                </a:cxn>
                <a:cxn ang="0">
                  <a:pos x="connsiteX10402" y="connsiteY10402"/>
                </a:cxn>
                <a:cxn ang="0">
                  <a:pos x="connsiteX10403" y="connsiteY10403"/>
                </a:cxn>
                <a:cxn ang="0">
                  <a:pos x="connsiteX10404" y="connsiteY10404"/>
                </a:cxn>
                <a:cxn ang="0">
                  <a:pos x="connsiteX10405" y="connsiteY10405"/>
                </a:cxn>
                <a:cxn ang="0">
                  <a:pos x="connsiteX10406" y="connsiteY10406"/>
                </a:cxn>
                <a:cxn ang="0">
                  <a:pos x="connsiteX10407" y="connsiteY10407"/>
                </a:cxn>
                <a:cxn ang="0">
                  <a:pos x="connsiteX10408" y="connsiteY10408"/>
                </a:cxn>
                <a:cxn ang="0">
                  <a:pos x="connsiteX10409" y="connsiteY10409"/>
                </a:cxn>
                <a:cxn ang="0">
                  <a:pos x="connsiteX10410" y="connsiteY10410"/>
                </a:cxn>
                <a:cxn ang="0">
                  <a:pos x="connsiteX10411" y="connsiteY10411"/>
                </a:cxn>
                <a:cxn ang="0">
                  <a:pos x="connsiteX10412" y="connsiteY10412"/>
                </a:cxn>
                <a:cxn ang="0">
                  <a:pos x="connsiteX10413" y="connsiteY10413"/>
                </a:cxn>
                <a:cxn ang="0">
                  <a:pos x="connsiteX10414" y="connsiteY10414"/>
                </a:cxn>
                <a:cxn ang="0">
                  <a:pos x="connsiteX10415" y="connsiteY10415"/>
                </a:cxn>
                <a:cxn ang="0">
                  <a:pos x="connsiteX10416" y="connsiteY10416"/>
                </a:cxn>
                <a:cxn ang="0">
                  <a:pos x="connsiteX10417" y="connsiteY10417"/>
                </a:cxn>
                <a:cxn ang="0">
                  <a:pos x="connsiteX10418" y="connsiteY10418"/>
                </a:cxn>
                <a:cxn ang="0">
                  <a:pos x="connsiteX10419" y="connsiteY10419"/>
                </a:cxn>
                <a:cxn ang="0">
                  <a:pos x="connsiteX10420" y="connsiteY10420"/>
                </a:cxn>
                <a:cxn ang="0">
                  <a:pos x="connsiteX10421" y="connsiteY10421"/>
                </a:cxn>
                <a:cxn ang="0">
                  <a:pos x="connsiteX10422" y="connsiteY10422"/>
                </a:cxn>
                <a:cxn ang="0">
                  <a:pos x="connsiteX10423" y="connsiteY10423"/>
                </a:cxn>
                <a:cxn ang="0">
                  <a:pos x="connsiteX10424" y="connsiteY10424"/>
                </a:cxn>
                <a:cxn ang="0">
                  <a:pos x="connsiteX10425" y="connsiteY10425"/>
                </a:cxn>
                <a:cxn ang="0">
                  <a:pos x="connsiteX10426" y="connsiteY10426"/>
                </a:cxn>
                <a:cxn ang="0">
                  <a:pos x="connsiteX10427" y="connsiteY10427"/>
                </a:cxn>
                <a:cxn ang="0">
                  <a:pos x="connsiteX10428" y="connsiteY10428"/>
                </a:cxn>
                <a:cxn ang="0">
                  <a:pos x="connsiteX10429" y="connsiteY10429"/>
                </a:cxn>
                <a:cxn ang="0">
                  <a:pos x="connsiteX10430" y="connsiteY10430"/>
                </a:cxn>
                <a:cxn ang="0">
                  <a:pos x="connsiteX10431" y="connsiteY10431"/>
                </a:cxn>
                <a:cxn ang="0">
                  <a:pos x="connsiteX10432" y="connsiteY10432"/>
                </a:cxn>
                <a:cxn ang="0">
                  <a:pos x="connsiteX10433" y="connsiteY10433"/>
                </a:cxn>
                <a:cxn ang="0">
                  <a:pos x="connsiteX10434" y="connsiteY10434"/>
                </a:cxn>
                <a:cxn ang="0">
                  <a:pos x="connsiteX10435" y="connsiteY10435"/>
                </a:cxn>
                <a:cxn ang="0">
                  <a:pos x="connsiteX10436" y="connsiteY10436"/>
                </a:cxn>
                <a:cxn ang="0">
                  <a:pos x="connsiteX10437" y="connsiteY10437"/>
                </a:cxn>
                <a:cxn ang="0">
                  <a:pos x="connsiteX10438" y="connsiteY10438"/>
                </a:cxn>
                <a:cxn ang="0">
                  <a:pos x="connsiteX10439" y="connsiteY10439"/>
                </a:cxn>
                <a:cxn ang="0">
                  <a:pos x="connsiteX10440" y="connsiteY10440"/>
                </a:cxn>
                <a:cxn ang="0">
                  <a:pos x="connsiteX10441" y="connsiteY10441"/>
                </a:cxn>
                <a:cxn ang="0">
                  <a:pos x="connsiteX10442" y="connsiteY10442"/>
                </a:cxn>
                <a:cxn ang="0">
                  <a:pos x="connsiteX10443" y="connsiteY10443"/>
                </a:cxn>
                <a:cxn ang="0">
                  <a:pos x="connsiteX10444" y="connsiteY10444"/>
                </a:cxn>
                <a:cxn ang="0">
                  <a:pos x="connsiteX10445" y="connsiteY10445"/>
                </a:cxn>
                <a:cxn ang="0">
                  <a:pos x="connsiteX10446" y="connsiteY10446"/>
                </a:cxn>
                <a:cxn ang="0">
                  <a:pos x="connsiteX10447" y="connsiteY10447"/>
                </a:cxn>
                <a:cxn ang="0">
                  <a:pos x="connsiteX10448" y="connsiteY10448"/>
                </a:cxn>
                <a:cxn ang="0">
                  <a:pos x="connsiteX10449" y="connsiteY10449"/>
                </a:cxn>
                <a:cxn ang="0">
                  <a:pos x="connsiteX10450" y="connsiteY10450"/>
                </a:cxn>
                <a:cxn ang="0">
                  <a:pos x="connsiteX10451" y="connsiteY10451"/>
                </a:cxn>
                <a:cxn ang="0">
                  <a:pos x="connsiteX10452" y="connsiteY10452"/>
                </a:cxn>
                <a:cxn ang="0">
                  <a:pos x="connsiteX10453" y="connsiteY10453"/>
                </a:cxn>
                <a:cxn ang="0">
                  <a:pos x="connsiteX10454" y="connsiteY10454"/>
                </a:cxn>
                <a:cxn ang="0">
                  <a:pos x="connsiteX10455" y="connsiteY10455"/>
                </a:cxn>
                <a:cxn ang="0">
                  <a:pos x="connsiteX10456" y="connsiteY10456"/>
                </a:cxn>
                <a:cxn ang="0">
                  <a:pos x="connsiteX10457" y="connsiteY10457"/>
                </a:cxn>
                <a:cxn ang="0">
                  <a:pos x="connsiteX10458" y="connsiteY10458"/>
                </a:cxn>
                <a:cxn ang="0">
                  <a:pos x="connsiteX10459" y="connsiteY10459"/>
                </a:cxn>
                <a:cxn ang="0">
                  <a:pos x="connsiteX10460" y="connsiteY10460"/>
                </a:cxn>
                <a:cxn ang="0">
                  <a:pos x="connsiteX10461" y="connsiteY10461"/>
                </a:cxn>
                <a:cxn ang="0">
                  <a:pos x="connsiteX10462" y="connsiteY10462"/>
                </a:cxn>
                <a:cxn ang="0">
                  <a:pos x="connsiteX10463" y="connsiteY10463"/>
                </a:cxn>
                <a:cxn ang="0">
                  <a:pos x="connsiteX10464" y="connsiteY10464"/>
                </a:cxn>
                <a:cxn ang="0">
                  <a:pos x="connsiteX10465" y="connsiteY10465"/>
                </a:cxn>
                <a:cxn ang="0">
                  <a:pos x="connsiteX10466" y="connsiteY10466"/>
                </a:cxn>
                <a:cxn ang="0">
                  <a:pos x="connsiteX10467" y="connsiteY10467"/>
                </a:cxn>
                <a:cxn ang="0">
                  <a:pos x="connsiteX10468" y="connsiteY10468"/>
                </a:cxn>
                <a:cxn ang="0">
                  <a:pos x="connsiteX10469" y="connsiteY10469"/>
                </a:cxn>
                <a:cxn ang="0">
                  <a:pos x="connsiteX10470" y="connsiteY10470"/>
                </a:cxn>
                <a:cxn ang="0">
                  <a:pos x="connsiteX10471" y="connsiteY10471"/>
                </a:cxn>
                <a:cxn ang="0">
                  <a:pos x="connsiteX10472" y="connsiteY10472"/>
                </a:cxn>
                <a:cxn ang="0">
                  <a:pos x="connsiteX10473" y="connsiteY10473"/>
                </a:cxn>
                <a:cxn ang="0">
                  <a:pos x="connsiteX10474" y="connsiteY10474"/>
                </a:cxn>
                <a:cxn ang="0">
                  <a:pos x="connsiteX10475" y="connsiteY10475"/>
                </a:cxn>
                <a:cxn ang="0">
                  <a:pos x="connsiteX10476" y="connsiteY10476"/>
                </a:cxn>
                <a:cxn ang="0">
                  <a:pos x="connsiteX10477" y="connsiteY10477"/>
                </a:cxn>
                <a:cxn ang="0">
                  <a:pos x="connsiteX10478" y="connsiteY10478"/>
                </a:cxn>
                <a:cxn ang="0">
                  <a:pos x="connsiteX10479" y="connsiteY10479"/>
                </a:cxn>
                <a:cxn ang="0">
                  <a:pos x="connsiteX10480" y="connsiteY10480"/>
                </a:cxn>
                <a:cxn ang="0">
                  <a:pos x="connsiteX10481" y="connsiteY10481"/>
                </a:cxn>
                <a:cxn ang="0">
                  <a:pos x="connsiteX10482" y="connsiteY10482"/>
                </a:cxn>
                <a:cxn ang="0">
                  <a:pos x="connsiteX10483" y="connsiteY10483"/>
                </a:cxn>
                <a:cxn ang="0">
                  <a:pos x="connsiteX10484" y="connsiteY10484"/>
                </a:cxn>
                <a:cxn ang="0">
                  <a:pos x="connsiteX10485" y="connsiteY10485"/>
                </a:cxn>
                <a:cxn ang="0">
                  <a:pos x="connsiteX10486" y="connsiteY10486"/>
                </a:cxn>
                <a:cxn ang="0">
                  <a:pos x="connsiteX10487" y="connsiteY10487"/>
                </a:cxn>
                <a:cxn ang="0">
                  <a:pos x="connsiteX10488" y="connsiteY10488"/>
                </a:cxn>
                <a:cxn ang="0">
                  <a:pos x="connsiteX10489" y="connsiteY10489"/>
                </a:cxn>
                <a:cxn ang="0">
                  <a:pos x="connsiteX10490" y="connsiteY10490"/>
                </a:cxn>
                <a:cxn ang="0">
                  <a:pos x="connsiteX10491" y="connsiteY10491"/>
                </a:cxn>
                <a:cxn ang="0">
                  <a:pos x="connsiteX10492" y="connsiteY10492"/>
                </a:cxn>
                <a:cxn ang="0">
                  <a:pos x="connsiteX10493" y="connsiteY10493"/>
                </a:cxn>
                <a:cxn ang="0">
                  <a:pos x="connsiteX10494" y="connsiteY10494"/>
                </a:cxn>
                <a:cxn ang="0">
                  <a:pos x="connsiteX10495" y="connsiteY10495"/>
                </a:cxn>
                <a:cxn ang="0">
                  <a:pos x="connsiteX10496" y="connsiteY10496"/>
                </a:cxn>
                <a:cxn ang="0">
                  <a:pos x="connsiteX10497" y="connsiteY10497"/>
                </a:cxn>
                <a:cxn ang="0">
                  <a:pos x="connsiteX10498" y="connsiteY10498"/>
                </a:cxn>
                <a:cxn ang="0">
                  <a:pos x="connsiteX10499" y="connsiteY10499"/>
                </a:cxn>
                <a:cxn ang="0">
                  <a:pos x="connsiteX10500" y="connsiteY10500"/>
                </a:cxn>
                <a:cxn ang="0">
                  <a:pos x="connsiteX10501" y="connsiteY10501"/>
                </a:cxn>
                <a:cxn ang="0">
                  <a:pos x="connsiteX10502" y="connsiteY10502"/>
                </a:cxn>
                <a:cxn ang="0">
                  <a:pos x="connsiteX10503" y="connsiteY10503"/>
                </a:cxn>
                <a:cxn ang="0">
                  <a:pos x="connsiteX10504" y="connsiteY10504"/>
                </a:cxn>
                <a:cxn ang="0">
                  <a:pos x="connsiteX10505" y="connsiteY10505"/>
                </a:cxn>
                <a:cxn ang="0">
                  <a:pos x="connsiteX10506" y="connsiteY10506"/>
                </a:cxn>
                <a:cxn ang="0">
                  <a:pos x="connsiteX10507" y="connsiteY10507"/>
                </a:cxn>
                <a:cxn ang="0">
                  <a:pos x="connsiteX10508" y="connsiteY10508"/>
                </a:cxn>
                <a:cxn ang="0">
                  <a:pos x="connsiteX10509" y="connsiteY10509"/>
                </a:cxn>
                <a:cxn ang="0">
                  <a:pos x="connsiteX10510" y="connsiteY10510"/>
                </a:cxn>
                <a:cxn ang="0">
                  <a:pos x="connsiteX10511" y="connsiteY10511"/>
                </a:cxn>
                <a:cxn ang="0">
                  <a:pos x="connsiteX10512" y="connsiteY10512"/>
                </a:cxn>
                <a:cxn ang="0">
                  <a:pos x="connsiteX10513" y="connsiteY10513"/>
                </a:cxn>
                <a:cxn ang="0">
                  <a:pos x="connsiteX10514" y="connsiteY10514"/>
                </a:cxn>
                <a:cxn ang="0">
                  <a:pos x="connsiteX10515" y="connsiteY10515"/>
                </a:cxn>
                <a:cxn ang="0">
                  <a:pos x="connsiteX10516" y="connsiteY10516"/>
                </a:cxn>
                <a:cxn ang="0">
                  <a:pos x="connsiteX10517" y="connsiteY10517"/>
                </a:cxn>
                <a:cxn ang="0">
                  <a:pos x="connsiteX10518" y="connsiteY10518"/>
                </a:cxn>
                <a:cxn ang="0">
                  <a:pos x="connsiteX10519" y="connsiteY10519"/>
                </a:cxn>
                <a:cxn ang="0">
                  <a:pos x="connsiteX10520" y="connsiteY10520"/>
                </a:cxn>
                <a:cxn ang="0">
                  <a:pos x="connsiteX10521" y="connsiteY10521"/>
                </a:cxn>
                <a:cxn ang="0">
                  <a:pos x="connsiteX10522" y="connsiteY10522"/>
                </a:cxn>
                <a:cxn ang="0">
                  <a:pos x="connsiteX10523" y="connsiteY10523"/>
                </a:cxn>
                <a:cxn ang="0">
                  <a:pos x="connsiteX10524" y="connsiteY10524"/>
                </a:cxn>
                <a:cxn ang="0">
                  <a:pos x="connsiteX10525" y="connsiteY10525"/>
                </a:cxn>
                <a:cxn ang="0">
                  <a:pos x="connsiteX10526" y="connsiteY10526"/>
                </a:cxn>
                <a:cxn ang="0">
                  <a:pos x="connsiteX10527" y="connsiteY10527"/>
                </a:cxn>
                <a:cxn ang="0">
                  <a:pos x="connsiteX10528" y="connsiteY10528"/>
                </a:cxn>
                <a:cxn ang="0">
                  <a:pos x="connsiteX10529" y="connsiteY10529"/>
                </a:cxn>
                <a:cxn ang="0">
                  <a:pos x="connsiteX10530" y="connsiteY10530"/>
                </a:cxn>
                <a:cxn ang="0">
                  <a:pos x="connsiteX10531" y="connsiteY10531"/>
                </a:cxn>
                <a:cxn ang="0">
                  <a:pos x="connsiteX10532" y="connsiteY10532"/>
                </a:cxn>
                <a:cxn ang="0">
                  <a:pos x="connsiteX10533" y="connsiteY10533"/>
                </a:cxn>
                <a:cxn ang="0">
                  <a:pos x="connsiteX10534" y="connsiteY10534"/>
                </a:cxn>
                <a:cxn ang="0">
                  <a:pos x="connsiteX10535" y="connsiteY10535"/>
                </a:cxn>
                <a:cxn ang="0">
                  <a:pos x="connsiteX10536" y="connsiteY10536"/>
                </a:cxn>
                <a:cxn ang="0">
                  <a:pos x="connsiteX10537" y="connsiteY10537"/>
                </a:cxn>
                <a:cxn ang="0">
                  <a:pos x="connsiteX10538" y="connsiteY10538"/>
                </a:cxn>
                <a:cxn ang="0">
                  <a:pos x="connsiteX10539" y="connsiteY10539"/>
                </a:cxn>
                <a:cxn ang="0">
                  <a:pos x="connsiteX10540" y="connsiteY10540"/>
                </a:cxn>
                <a:cxn ang="0">
                  <a:pos x="connsiteX10541" y="connsiteY10541"/>
                </a:cxn>
                <a:cxn ang="0">
                  <a:pos x="connsiteX10542" y="connsiteY10542"/>
                </a:cxn>
                <a:cxn ang="0">
                  <a:pos x="connsiteX10543" y="connsiteY10543"/>
                </a:cxn>
                <a:cxn ang="0">
                  <a:pos x="connsiteX10544" y="connsiteY10544"/>
                </a:cxn>
                <a:cxn ang="0">
                  <a:pos x="connsiteX10545" y="connsiteY10545"/>
                </a:cxn>
                <a:cxn ang="0">
                  <a:pos x="connsiteX10546" y="connsiteY10546"/>
                </a:cxn>
                <a:cxn ang="0">
                  <a:pos x="connsiteX10547" y="connsiteY10547"/>
                </a:cxn>
                <a:cxn ang="0">
                  <a:pos x="connsiteX10548" y="connsiteY10548"/>
                </a:cxn>
                <a:cxn ang="0">
                  <a:pos x="connsiteX10549" y="connsiteY10549"/>
                </a:cxn>
                <a:cxn ang="0">
                  <a:pos x="connsiteX10550" y="connsiteY10550"/>
                </a:cxn>
                <a:cxn ang="0">
                  <a:pos x="connsiteX10551" y="connsiteY10551"/>
                </a:cxn>
                <a:cxn ang="0">
                  <a:pos x="connsiteX10552" y="connsiteY10552"/>
                </a:cxn>
                <a:cxn ang="0">
                  <a:pos x="connsiteX10553" y="connsiteY10553"/>
                </a:cxn>
                <a:cxn ang="0">
                  <a:pos x="connsiteX10554" y="connsiteY10554"/>
                </a:cxn>
                <a:cxn ang="0">
                  <a:pos x="connsiteX10555" y="connsiteY10555"/>
                </a:cxn>
                <a:cxn ang="0">
                  <a:pos x="connsiteX10556" y="connsiteY10556"/>
                </a:cxn>
                <a:cxn ang="0">
                  <a:pos x="connsiteX10557" y="connsiteY10557"/>
                </a:cxn>
                <a:cxn ang="0">
                  <a:pos x="connsiteX10558" y="connsiteY10558"/>
                </a:cxn>
                <a:cxn ang="0">
                  <a:pos x="connsiteX10559" y="connsiteY10559"/>
                </a:cxn>
                <a:cxn ang="0">
                  <a:pos x="connsiteX10560" y="connsiteY10560"/>
                </a:cxn>
                <a:cxn ang="0">
                  <a:pos x="connsiteX10561" y="connsiteY10561"/>
                </a:cxn>
                <a:cxn ang="0">
                  <a:pos x="connsiteX10562" y="connsiteY10562"/>
                </a:cxn>
                <a:cxn ang="0">
                  <a:pos x="connsiteX10563" y="connsiteY10563"/>
                </a:cxn>
                <a:cxn ang="0">
                  <a:pos x="connsiteX10564" y="connsiteY10564"/>
                </a:cxn>
                <a:cxn ang="0">
                  <a:pos x="connsiteX10565" y="connsiteY10565"/>
                </a:cxn>
                <a:cxn ang="0">
                  <a:pos x="connsiteX10566" y="connsiteY10566"/>
                </a:cxn>
                <a:cxn ang="0">
                  <a:pos x="connsiteX10567" y="connsiteY10567"/>
                </a:cxn>
                <a:cxn ang="0">
                  <a:pos x="connsiteX10568" y="connsiteY10568"/>
                </a:cxn>
                <a:cxn ang="0">
                  <a:pos x="connsiteX10569" y="connsiteY10569"/>
                </a:cxn>
                <a:cxn ang="0">
                  <a:pos x="connsiteX10570" y="connsiteY10570"/>
                </a:cxn>
                <a:cxn ang="0">
                  <a:pos x="connsiteX10571" y="connsiteY10571"/>
                </a:cxn>
                <a:cxn ang="0">
                  <a:pos x="connsiteX10572" y="connsiteY10572"/>
                </a:cxn>
                <a:cxn ang="0">
                  <a:pos x="connsiteX10573" y="connsiteY10573"/>
                </a:cxn>
                <a:cxn ang="0">
                  <a:pos x="connsiteX10574" y="connsiteY10574"/>
                </a:cxn>
                <a:cxn ang="0">
                  <a:pos x="connsiteX10575" y="connsiteY10575"/>
                </a:cxn>
                <a:cxn ang="0">
                  <a:pos x="connsiteX10576" y="connsiteY10576"/>
                </a:cxn>
                <a:cxn ang="0">
                  <a:pos x="connsiteX10577" y="connsiteY10577"/>
                </a:cxn>
                <a:cxn ang="0">
                  <a:pos x="connsiteX10578" y="connsiteY10578"/>
                </a:cxn>
                <a:cxn ang="0">
                  <a:pos x="connsiteX10579" y="connsiteY10579"/>
                </a:cxn>
                <a:cxn ang="0">
                  <a:pos x="connsiteX10580" y="connsiteY10580"/>
                </a:cxn>
                <a:cxn ang="0">
                  <a:pos x="connsiteX10581" y="connsiteY10581"/>
                </a:cxn>
                <a:cxn ang="0">
                  <a:pos x="connsiteX10582" y="connsiteY10582"/>
                </a:cxn>
                <a:cxn ang="0">
                  <a:pos x="connsiteX10583" y="connsiteY10583"/>
                </a:cxn>
                <a:cxn ang="0">
                  <a:pos x="connsiteX10584" y="connsiteY10584"/>
                </a:cxn>
                <a:cxn ang="0">
                  <a:pos x="connsiteX10585" y="connsiteY10585"/>
                </a:cxn>
                <a:cxn ang="0">
                  <a:pos x="connsiteX10586" y="connsiteY10586"/>
                </a:cxn>
                <a:cxn ang="0">
                  <a:pos x="connsiteX10587" y="connsiteY10587"/>
                </a:cxn>
                <a:cxn ang="0">
                  <a:pos x="connsiteX10588" y="connsiteY10588"/>
                </a:cxn>
                <a:cxn ang="0">
                  <a:pos x="connsiteX10589" y="connsiteY10589"/>
                </a:cxn>
                <a:cxn ang="0">
                  <a:pos x="connsiteX10590" y="connsiteY10590"/>
                </a:cxn>
                <a:cxn ang="0">
                  <a:pos x="connsiteX10591" y="connsiteY10591"/>
                </a:cxn>
                <a:cxn ang="0">
                  <a:pos x="connsiteX10592" y="connsiteY10592"/>
                </a:cxn>
                <a:cxn ang="0">
                  <a:pos x="connsiteX10593" y="connsiteY10593"/>
                </a:cxn>
                <a:cxn ang="0">
                  <a:pos x="connsiteX10594" y="connsiteY10594"/>
                </a:cxn>
                <a:cxn ang="0">
                  <a:pos x="connsiteX10595" y="connsiteY10595"/>
                </a:cxn>
                <a:cxn ang="0">
                  <a:pos x="connsiteX10596" y="connsiteY10596"/>
                </a:cxn>
                <a:cxn ang="0">
                  <a:pos x="connsiteX10597" y="connsiteY10597"/>
                </a:cxn>
                <a:cxn ang="0">
                  <a:pos x="connsiteX10598" y="connsiteY10598"/>
                </a:cxn>
                <a:cxn ang="0">
                  <a:pos x="connsiteX10599" y="connsiteY10599"/>
                </a:cxn>
                <a:cxn ang="0">
                  <a:pos x="connsiteX10600" y="connsiteY10600"/>
                </a:cxn>
                <a:cxn ang="0">
                  <a:pos x="connsiteX10601" y="connsiteY10601"/>
                </a:cxn>
                <a:cxn ang="0">
                  <a:pos x="connsiteX10602" y="connsiteY10602"/>
                </a:cxn>
                <a:cxn ang="0">
                  <a:pos x="connsiteX10603" y="connsiteY10603"/>
                </a:cxn>
                <a:cxn ang="0">
                  <a:pos x="connsiteX10604" y="connsiteY10604"/>
                </a:cxn>
                <a:cxn ang="0">
                  <a:pos x="connsiteX10605" y="connsiteY10605"/>
                </a:cxn>
                <a:cxn ang="0">
                  <a:pos x="connsiteX10606" y="connsiteY10606"/>
                </a:cxn>
                <a:cxn ang="0">
                  <a:pos x="connsiteX10607" y="connsiteY10607"/>
                </a:cxn>
                <a:cxn ang="0">
                  <a:pos x="connsiteX10608" y="connsiteY10608"/>
                </a:cxn>
                <a:cxn ang="0">
                  <a:pos x="connsiteX10609" y="connsiteY10609"/>
                </a:cxn>
                <a:cxn ang="0">
                  <a:pos x="connsiteX10610" y="connsiteY10610"/>
                </a:cxn>
                <a:cxn ang="0">
                  <a:pos x="connsiteX10611" y="connsiteY10611"/>
                </a:cxn>
                <a:cxn ang="0">
                  <a:pos x="connsiteX10612" y="connsiteY10612"/>
                </a:cxn>
                <a:cxn ang="0">
                  <a:pos x="connsiteX10613" y="connsiteY10613"/>
                </a:cxn>
                <a:cxn ang="0">
                  <a:pos x="connsiteX10614" y="connsiteY10614"/>
                </a:cxn>
                <a:cxn ang="0">
                  <a:pos x="connsiteX10615" y="connsiteY10615"/>
                </a:cxn>
                <a:cxn ang="0">
                  <a:pos x="connsiteX10616" y="connsiteY10616"/>
                </a:cxn>
                <a:cxn ang="0">
                  <a:pos x="connsiteX10617" y="connsiteY10617"/>
                </a:cxn>
                <a:cxn ang="0">
                  <a:pos x="connsiteX10618" y="connsiteY10618"/>
                </a:cxn>
                <a:cxn ang="0">
                  <a:pos x="connsiteX10619" y="connsiteY10619"/>
                </a:cxn>
                <a:cxn ang="0">
                  <a:pos x="connsiteX10620" y="connsiteY10620"/>
                </a:cxn>
                <a:cxn ang="0">
                  <a:pos x="connsiteX10621" y="connsiteY10621"/>
                </a:cxn>
                <a:cxn ang="0">
                  <a:pos x="connsiteX10622" y="connsiteY10622"/>
                </a:cxn>
                <a:cxn ang="0">
                  <a:pos x="connsiteX10623" y="connsiteY10623"/>
                </a:cxn>
                <a:cxn ang="0">
                  <a:pos x="connsiteX10624" y="connsiteY10624"/>
                </a:cxn>
                <a:cxn ang="0">
                  <a:pos x="connsiteX10625" y="connsiteY10625"/>
                </a:cxn>
                <a:cxn ang="0">
                  <a:pos x="connsiteX10626" y="connsiteY10626"/>
                </a:cxn>
                <a:cxn ang="0">
                  <a:pos x="connsiteX10627" y="connsiteY10627"/>
                </a:cxn>
                <a:cxn ang="0">
                  <a:pos x="connsiteX10628" y="connsiteY10628"/>
                </a:cxn>
                <a:cxn ang="0">
                  <a:pos x="connsiteX10629" y="connsiteY10629"/>
                </a:cxn>
                <a:cxn ang="0">
                  <a:pos x="connsiteX10630" y="connsiteY10630"/>
                </a:cxn>
                <a:cxn ang="0">
                  <a:pos x="connsiteX10631" y="connsiteY10631"/>
                </a:cxn>
                <a:cxn ang="0">
                  <a:pos x="connsiteX10632" y="connsiteY10632"/>
                </a:cxn>
                <a:cxn ang="0">
                  <a:pos x="connsiteX10633" y="connsiteY10633"/>
                </a:cxn>
                <a:cxn ang="0">
                  <a:pos x="connsiteX10634" y="connsiteY10634"/>
                </a:cxn>
                <a:cxn ang="0">
                  <a:pos x="connsiteX10635" y="connsiteY10635"/>
                </a:cxn>
                <a:cxn ang="0">
                  <a:pos x="connsiteX10636" y="connsiteY10636"/>
                </a:cxn>
                <a:cxn ang="0">
                  <a:pos x="connsiteX10637" y="connsiteY10637"/>
                </a:cxn>
                <a:cxn ang="0">
                  <a:pos x="connsiteX10638" y="connsiteY10638"/>
                </a:cxn>
                <a:cxn ang="0">
                  <a:pos x="connsiteX10639" y="connsiteY10639"/>
                </a:cxn>
                <a:cxn ang="0">
                  <a:pos x="connsiteX10640" y="connsiteY10640"/>
                </a:cxn>
                <a:cxn ang="0">
                  <a:pos x="connsiteX10641" y="connsiteY10641"/>
                </a:cxn>
                <a:cxn ang="0">
                  <a:pos x="connsiteX10642" y="connsiteY10642"/>
                </a:cxn>
                <a:cxn ang="0">
                  <a:pos x="connsiteX10643" y="connsiteY10643"/>
                </a:cxn>
                <a:cxn ang="0">
                  <a:pos x="connsiteX10644" y="connsiteY10644"/>
                </a:cxn>
                <a:cxn ang="0">
                  <a:pos x="connsiteX10645" y="connsiteY10645"/>
                </a:cxn>
                <a:cxn ang="0">
                  <a:pos x="connsiteX10646" y="connsiteY10646"/>
                </a:cxn>
                <a:cxn ang="0">
                  <a:pos x="connsiteX10647" y="connsiteY10647"/>
                </a:cxn>
                <a:cxn ang="0">
                  <a:pos x="connsiteX10648" y="connsiteY10648"/>
                </a:cxn>
                <a:cxn ang="0">
                  <a:pos x="connsiteX10649" y="connsiteY10649"/>
                </a:cxn>
                <a:cxn ang="0">
                  <a:pos x="connsiteX10650" y="connsiteY10650"/>
                </a:cxn>
                <a:cxn ang="0">
                  <a:pos x="connsiteX10651" y="connsiteY10651"/>
                </a:cxn>
                <a:cxn ang="0">
                  <a:pos x="connsiteX10652" y="connsiteY10652"/>
                </a:cxn>
                <a:cxn ang="0">
                  <a:pos x="connsiteX10653" y="connsiteY10653"/>
                </a:cxn>
                <a:cxn ang="0">
                  <a:pos x="connsiteX10654" y="connsiteY10654"/>
                </a:cxn>
                <a:cxn ang="0">
                  <a:pos x="connsiteX10655" y="connsiteY10655"/>
                </a:cxn>
                <a:cxn ang="0">
                  <a:pos x="connsiteX10656" y="connsiteY10656"/>
                </a:cxn>
                <a:cxn ang="0">
                  <a:pos x="connsiteX10657" y="connsiteY10657"/>
                </a:cxn>
                <a:cxn ang="0">
                  <a:pos x="connsiteX10658" y="connsiteY10658"/>
                </a:cxn>
                <a:cxn ang="0">
                  <a:pos x="connsiteX10659" y="connsiteY10659"/>
                </a:cxn>
                <a:cxn ang="0">
                  <a:pos x="connsiteX10660" y="connsiteY10660"/>
                </a:cxn>
                <a:cxn ang="0">
                  <a:pos x="connsiteX10661" y="connsiteY10661"/>
                </a:cxn>
                <a:cxn ang="0">
                  <a:pos x="connsiteX10662" y="connsiteY10662"/>
                </a:cxn>
                <a:cxn ang="0">
                  <a:pos x="connsiteX10663" y="connsiteY10663"/>
                </a:cxn>
                <a:cxn ang="0">
                  <a:pos x="connsiteX10664" y="connsiteY10664"/>
                </a:cxn>
                <a:cxn ang="0">
                  <a:pos x="connsiteX10665" y="connsiteY10665"/>
                </a:cxn>
                <a:cxn ang="0">
                  <a:pos x="connsiteX10666" y="connsiteY10666"/>
                </a:cxn>
                <a:cxn ang="0">
                  <a:pos x="connsiteX10667" y="connsiteY10667"/>
                </a:cxn>
                <a:cxn ang="0">
                  <a:pos x="connsiteX10668" y="connsiteY10668"/>
                </a:cxn>
                <a:cxn ang="0">
                  <a:pos x="connsiteX10669" y="connsiteY10669"/>
                </a:cxn>
                <a:cxn ang="0">
                  <a:pos x="connsiteX10670" y="connsiteY10670"/>
                </a:cxn>
                <a:cxn ang="0">
                  <a:pos x="connsiteX10671" y="connsiteY10671"/>
                </a:cxn>
                <a:cxn ang="0">
                  <a:pos x="connsiteX10672" y="connsiteY10672"/>
                </a:cxn>
                <a:cxn ang="0">
                  <a:pos x="connsiteX10673" y="connsiteY10673"/>
                </a:cxn>
                <a:cxn ang="0">
                  <a:pos x="connsiteX10674" y="connsiteY10674"/>
                </a:cxn>
                <a:cxn ang="0">
                  <a:pos x="connsiteX10675" y="connsiteY10675"/>
                </a:cxn>
                <a:cxn ang="0">
                  <a:pos x="connsiteX10676" y="connsiteY10676"/>
                </a:cxn>
                <a:cxn ang="0">
                  <a:pos x="connsiteX10677" y="connsiteY10677"/>
                </a:cxn>
                <a:cxn ang="0">
                  <a:pos x="connsiteX10678" y="connsiteY10678"/>
                </a:cxn>
                <a:cxn ang="0">
                  <a:pos x="connsiteX10679" y="connsiteY10679"/>
                </a:cxn>
                <a:cxn ang="0">
                  <a:pos x="connsiteX10680" y="connsiteY10680"/>
                </a:cxn>
                <a:cxn ang="0">
                  <a:pos x="connsiteX10681" y="connsiteY10681"/>
                </a:cxn>
                <a:cxn ang="0">
                  <a:pos x="connsiteX10682" y="connsiteY10682"/>
                </a:cxn>
                <a:cxn ang="0">
                  <a:pos x="connsiteX10683" y="connsiteY10683"/>
                </a:cxn>
                <a:cxn ang="0">
                  <a:pos x="connsiteX10684" y="connsiteY10684"/>
                </a:cxn>
                <a:cxn ang="0">
                  <a:pos x="connsiteX10685" y="connsiteY10685"/>
                </a:cxn>
                <a:cxn ang="0">
                  <a:pos x="connsiteX10686" y="connsiteY10686"/>
                </a:cxn>
                <a:cxn ang="0">
                  <a:pos x="connsiteX10687" y="connsiteY10687"/>
                </a:cxn>
                <a:cxn ang="0">
                  <a:pos x="connsiteX10688" y="connsiteY10688"/>
                </a:cxn>
                <a:cxn ang="0">
                  <a:pos x="connsiteX10689" y="connsiteY10689"/>
                </a:cxn>
                <a:cxn ang="0">
                  <a:pos x="connsiteX10690" y="connsiteY10690"/>
                </a:cxn>
                <a:cxn ang="0">
                  <a:pos x="connsiteX10691" y="connsiteY10691"/>
                </a:cxn>
                <a:cxn ang="0">
                  <a:pos x="connsiteX10692" y="connsiteY10692"/>
                </a:cxn>
                <a:cxn ang="0">
                  <a:pos x="connsiteX10693" y="connsiteY10693"/>
                </a:cxn>
                <a:cxn ang="0">
                  <a:pos x="connsiteX10694" y="connsiteY10694"/>
                </a:cxn>
                <a:cxn ang="0">
                  <a:pos x="connsiteX10695" y="connsiteY10695"/>
                </a:cxn>
                <a:cxn ang="0">
                  <a:pos x="connsiteX10696" y="connsiteY10696"/>
                </a:cxn>
                <a:cxn ang="0">
                  <a:pos x="connsiteX10697" y="connsiteY10697"/>
                </a:cxn>
                <a:cxn ang="0">
                  <a:pos x="connsiteX10698" y="connsiteY10698"/>
                </a:cxn>
                <a:cxn ang="0">
                  <a:pos x="connsiteX10699" y="connsiteY10699"/>
                </a:cxn>
                <a:cxn ang="0">
                  <a:pos x="connsiteX10700" y="connsiteY10700"/>
                </a:cxn>
                <a:cxn ang="0">
                  <a:pos x="connsiteX10701" y="connsiteY10701"/>
                </a:cxn>
                <a:cxn ang="0">
                  <a:pos x="connsiteX10702" y="connsiteY10702"/>
                </a:cxn>
                <a:cxn ang="0">
                  <a:pos x="connsiteX10703" y="connsiteY10703"/>
                </a:cxn>
                <a:cxn ang="0">
                  <a:pos x="connsiteX10704" y="connsiteY10704"/>
                </a:cxn>
                <a:cxn ang="0">
                  <a:pos x="connsiteX10705" y="connsiteY10705"/>
                </a:cxn>
                <a:cxn ang="0">
                  <a:pos x="connsiteX10706" y="connsiteY10706"/>
                </a:cxn>
                <a:cxn ang="0">
                  <a:pos x="connsiteX10707" y="connsiteY10707"/>
                </a:cxn>
                <a:cxn ang="0">
                  <a:pos x="connsiteX10708" y="connsiteY10708"/>
                </a:cxn>
                <a:cxn ang="0">
                  <a:pos x="connsiteX10709" y="connsiteY10709"/>
                </a:cxn>
                <a:cxn ang="0">
                  <a:pos x="connsiteX10710" y="connsiteY10710"/>
                </a:cxn>
                <a:cxn ang="0">
                  <a:pos x="connsiteX10711" y="connsiteY10711"/>
                </a:cxn>
                <a:cxn ang="0">
                  <a:pos x="connsiteX10712" y="connsiteY10712"/>
                </a:cxn>
                <a:cxn ang="0">
                  <a:pos x="connsiteX10713" y="connsiteY10713"/>
                </a:cxn>
                <a:cxn ang="0">
                  <a:pos x="connsiteX10714" y="connsiteY10714"/>
                </a:cxn>
                <a:cxn ang="0">
                  <a:pos x="connsiteX10715" y="connsiteY10715"/>
                </a:cxn>
                <a:cxn ang="0">
                  <a:pos x="connsiteX10716" y="connsiteY10716"/>
                </a:cxn>
                <a:cxn ang="0">
                  <a:pos x="connsiteX10717" y="connsiteY10717"/>
                </a:cxn>
                <a:cxn ang="0">
                  <a:pos x="connsiteX10718" y="connsiteY10718"/>
                </a:cxn>
                <a:cxn ang="0">
                  <a:pos x="connsiteX10719" y="connsiteY10719"/>
                </a:cxn>
                <a:cxn ang="0">
                  <a:pos x="connsiteX10720" y="connsiteY10720"/>
                </a:cxn>
                <a:cxn ang="0">
                  <a:pos x="connsiteX10721" y="connsiteY10721"/>
                </a:cxn>
                <a:cxn ang="0">
                  <a:pos x="connsiteX10722" y="connsiteY10722"/>
                </a:cxn>
                <a:cxn ang="0">
                  <a:pos x="connsiteX10723" y="connsiteY10723"/>
                </a:cxn>
                <a:cxn ang="0">
                  <a:pos x="connsiteX10724" y="connsiteY10724"/>
                </a:cxn>
                <a:cxn ang="0">
                  <a:pos x="connsiteX10725" y="connsiteY10725"/>
                </a:cxn>
                <a:cxn ang="0">
                  <a:pos x="connsiteX10726" y="connsiteY10726"/>
                </a:cxn>
                <a:cxn ang="0">
                  <a:pos x="connsiteX10727" y="connsiteY10727"/>
                </a:cxn>
                <a:cxn ang="0">
                  <a:pos x="connsiteX10728" y="connsiteY10728"/>
                </a:cxn>
                <a:cxn ang="0">
                  <a:pos x="connsiteX10729" y="connsiteY10729"/>
                </a:cxn>
                <a:cxn ang="0">
                  <a:pos x="connsiteX10730" y="connsiteY10730"/>
                </a:cxn>
                <a:cxn ang="0">
                  <a:pos x="connsiteX10731" y="connsiteY10731"/>
                </a:cxn>
                <a:cxn ang="0">
                  <a:pos x="connsiteX10732" y="connsiteY10732"/>
                </a:cxn>
                <a:cxn ang="0">
                  <a:pos x="connsiteX10733" y="connsiteY10733"/>
                </a:cxn>
                <a:cxn ang="0">
                  <a:pos x="connsiteX10734" y="connsiteY10734"/>
                </a:cxn>
                <a:cxn ang="0">
                  <a:pos x="connsiteX10735" y="connsiteY10735"/>
                </a:cxn>
                <a:cxn ang="0">
                  <a:pos x="connsiteX10736" y="connsiteY10736"/>
                </a:cxn>
                <a:cxn ang="0">
                  <a:pos x="connsiteX10737" y="connsiteY10737"/>
                </a:cxn>
                <a:cxn ang="0">
                  <a:pos x="connsiteX10738" y="connsiteY10738"/>
                </a:cxn>
                <a:cxn ang="0">
                  <a:pos x="connsiteX10739" y="connsiteY10739"/>
                </a:cxn>
                <a:cxn ang="0">
                  <a:pos x="connsiteX10740" y="connsiteY10740"/>
                </a:cxn>
                <a:cxn ang="0">
                  <a:pos x="connsiteX10741" y="connsiteY10741"/>
                </a:cxn>
                <a:cxn ang="0">
                  <a:pos x="connsiteX10742" y="connsiteY10742"/>
                </a:cxn>
                <a:cxn ang="0">
                  <a:pos x="connsiteX10743" y="connsiteY10743"/>
                </a:cxn>
                <a:cxn ang="0">
                  <a:pos x="connsiteX10744" y="connsiteY10744"/>
                </a:cxn>
                <a:cxn ang="0">
                  <a:pos x="connsiteX10745" y="connsiteY10745"/>
                </a:cxn>
                <a:cxn ang="0">
                  <a:pos x="connsiteX10746" y="connsiteY10746"/>
                </a:cxn>
                <a:cxn ang="0">
                  <a:pos x="connsiteX10747" y="connsiteY10747"/>
                </a:cxn>
                <a:cxn ang="0">
                  <a:pos x="connsiteX10748" y="connsiteY10748"/>
                </a:cxn>
                <a:cxn ang="0">
                  <a:pos x="connsiteX10749" y="connsiteY10749"/>
                </a:cxn>
                <a:cxn ang="0">
                  <a:pos x="connsiteX10750" y="connsiteY10750"/>
                </a:cxn>
                <a:cxn ang="0">
                  <a:pos x="connsiteX10751" y="connsiteY10751"/>
                </a:cxn>
                <a:cxn ang="0">
                  <a:pos x="connsiteX10752" y="connsiteY10752"/>
                </a:cxn>
                <a:cxn ang="0">
                  <a:pos x="connsiteX10753" y="connsiteY10753"/>
                </a:cxn>
                <a:cxn ang="0">
                  <a:pos x="connsiteX10754" y="connsiteY10754"/>
                </a:cxn>
                <a:cxn ang="0">
                  <a:pos x="connsiteX10755" y="connsiteY10755"/>
                </a:cxn>
                <a:cxn ang="0">
                  <a:pos x="connsiteX10756" y="connsiteY10756"/>
                </a:cxn>
                <a:cxn ang="0">
                  <a:pos x="connsiteX10757" y="connsiteY10757"/>
                </a:cxn>
                <a:cxn ang="0">
                  <a:pos x="connsiteX10758" y="connsiteY10758"/>
                </a:cxn>
                <a:cxn ang="0">
                  <a:pos x="connsiteX10759" y="connsiteY10759"/>
                </a:cxn>
                <a:cxn ang="0">
                  <a:pos x="connsiteX10760" y="connsiteY10760"/>
                </a:cxn>
                <a:cxn ang="0">
                  <a:pos x="connsiteX10761" y="connsiteY10761"/>
                </a:cxn>
                <a:cxn ang="0">
                  <a:pos x="connsiteX10762" y="connsiteY10762"/>
                </a:cxn>
                <a:cxn ang="0">
                  <a:pos x="connsiteX10763" y="connsiteY10763"/>
                </a:cxn>
                <a:cxn ang="0">
                  <a:pos x="connsiteX10764" y="connsiteY10764"/>
                </a:cxn>
                <a:cxn ang="0">
                  <a:pos x="connsiteX10765" y="connsiteY10765"/>
                </a:cxn>
                <a:cxn ang="0">
                  <a:pos x="connsiteX10766" y="connsiteY10766"/>
                </a:cxn>
                <a:cxn ang="0">
                  <a:pos x="connsiteX10767" y="connsiteY10767"/>
                </a:cxn>
                <a:cxn ang="0">
                  <a:pos x="connsiteX10768" y="connsiteY10768"/>
                </a:cxn>
                <a:cxn ang="0">
                  <a:pos x="connsiteX10769" y="connsiteY10769"/>
                </a:cxn>
                <a:cxn ang="0">
                  <a:pos x="connsiteX10770" y="connsiteY10770"/>
                </a:cxn>
                <a:cxn ang="0">
                  <a:pos x="connsiteX10771" y="connsiteY10771"/>
                </a:cxn>
                <a:cxn ang="0">
                  <a:pos x="connsiteX10772" y="connsiteY10772"/>
                </a:cxn>
                <a:cxn ang="0">
                  <a:pos x="connsiteX10773" y="connsiteY10773"/>
                </a:cxn>
                <a:cxn ang="0">
                  <a:pos x="connsiteX10774" y="connsiteY10774"/>
                </a:cxn>
                <a:cxn ang="0">
                  <a:pos x="connsiteX10775" y="connsiteY10775"/>
                </a:cxn>
                <a:cxn ang="0">
                  <a:pos x="connsiteX10776" y="connsiteY10776"/>
                </a:cxn>
                <a:cxn ang="0">
                  <a:pos x="connsiteX10777" y="connsiteY10777"/>
                </a:cxn>
                <a:cxn ang="0">
                  <a:pos x="connsiteX10778" y="connsiteY10778"/>
                </a:cxn>
                <a:cxn ang="0">
                  <a:pos x="connsiteX10779" y="connsiteY10779"/>
                </a:cxn>
                <a:cxn ang="0">
                  <a:pos x="connsiteX10780" y="connsiteY10780"/>
                </a:cxn>
                <a:cxn ang="0">
                  <a:pos x="connsiteX10781" y="connsiteY10781"/>
                </a:cxn>
                <a:cxn ang="0">
                  <a:pos x="connsiteX10782" y="connsiteY10782"/>
                </a:cxn>
                <a:cxn ang="0">
                  <a:pos x="connsiteX10783" y="connsiteY10783"/>
                </a:cxn>
                <a:cxn ang="0">
                  <a:pos x="connsiteX10784" y="connsiteY10784"/>
                </a:cxn>
                <a:cxn ang="0">
                  <a:pos x="connsiteX10785" y="connsiteY10785"/>
                </a:cxn>
                <a:cxn ang="0">
                  <a:pos x="connsiteX10786" y="connsiteY10786"/>
                </a:cxn>
                <a:cxn ang="0">
                  <a:pos x="connsiteX10787" y="connsiteY10787"/>
                </a:cxn>
                <a:cxn ang="0">
                  <a:pos x="connsiteX10788" y="connsiteY10788"/>
                </a:cxn>
                <a:cxn ang="0">
                  <a:pos x="connsiteX10789" y="connsiteY10789"/>
                </a:cxn>
                <a:cxn ang="0">
                  <a:pos x="connsiteX10790" y="connsiteY10790"/>
                </a:cxn>
                <a:cxn ang="0">
                  <a:pos x="connsiteX10791" y="connsiteY10791"/>
                </a:cxn>
                <a:cxn ang="0">
                  <a:pos x="connsiteX10792" y="connsiteY10792"/>
                </a:cxn>
                <a:cxn ang="0">
                  <a:pos x="connsiteX10793" y="connsiteY10793"/>
                </a:cxn>
                <a:cxn ang="0">
                  <a:pos x="connsiteX10794" y="connsiteY10794"/>
                </a:cxn>
                <a:cxn ang="0">
                  <a:pos x="connsiteX10795" y="connsiteY10795"/>
                </a:cxn>
                <a:cxn ang="0">
                  <a:pos x="connsiteX10796" y="connsiteY10796"/>
                </a:cxn>
                <a:cxn ang="0">
                  <a:pos x="connsiteX10797" y="connsiteY10797"/>
                </a:cxn>
                <a:cxn ang="0">
                  <a:pos x="connsiteX10798" y="connsiteY10798"/>
                </a:cxn>
                <a:cxn ang="0">
                  <a:pos x="connsiteX10799" y="connsiteY10799"/>
                </a:cxn>
                <a:cxn ang="0">
                  <a:pos x="connsiteX10800" y="connsiteY10800"/>
                </a:cxn>
                <a:cxn ang="0">
                  <a:pos x="connsiteX10801" y="connsiteY10801"/>
                </a:cxn>
                <a:cxn ang="0">
                  <a:pos x="connsiteX10802" y="connsiteY10802"/>
                </a:cxn>
                <a:cxn ang="0">
                  <a:pos x="connsiteX10803" y="connsiteY10803"/>
                </a:cxn>
                <a:cxn ang="0">
                  <a:pos x="connsiteX10804" y="connsiteY10804"/>
                </a:cxn>
                <a:cxn ang="0">
                  <a:pos x="connsiteX10805" y="connsiteY10805"/>
                </a:cxn>
                <a:cxn ang="0">
                  <a:pos x="connsiteX10806" y="connsiteY10806"/>
                </a:cxn>
                <a:cxn ang="0">
                  <a:pos x="connsiteX10807" y="connsiteY10807"/>
                </a:cxn>
                <a:cxn ang="0">
                  <a:pos x="connsiteX10808" y="connsiteY10808"/>
                </a:cxn>
                <a:cxn ang="0">
                  <a:pos x="connsiteX10809" y="connsiteY10809"/>
                </a:cxn>
                <a:cxn ang="0">
                  <a:pos x="connsiteX10810" y="connsiteY10810"/>
                </a:cxn>
                <a:cxn ang="0">
                  <a:pos x="connsiteX10811" y="connsiteY10811"/>
                </a:cxn>
                <a:cxn ang="0">
                  <a:pos x="connsiteX10812" y="connsiteY10812"/>
                </a:cxn>
                <a:cxn ang="0">
                  <a:pos x="connsiteX10813" y="connsiteY10813"/>
                </a:cxn>
                <a:cxn ang="0">
                  <a:pos x="connsiteX10814" y="connsiteY10814"/>
                </a:cxn>
                <a:cxn ang="0">
                  <a:pos x="connsiteX10815" y="connsiteY10815"/>
                </a:cxn>
                <a:cxn ang="0">
                  <a:pos x="connsiteX10816" y="connsiteY10816"/>
                </a:cxn>
                <a:cxn ang="0">
                  <a:pos x="connsiteX10817" y="connsiteY10817"/>
                </a:cxn>
                <a:cxn ang="0">
                  <a:pos x="connsiteX10818" y="connsiteY10818"/>
                </a:cxn>
                <a:cxn ang="0">
                  <a:pos x="connsiteX10819" y="connsiteY10819"/>
                </a:cxn>
                <a:cxn ang="0">
                  <a:pos x="connsiteX10820" y="connsiteY10820"/>
                </a:cxn>
                <a:cxn ang="0">
                  <a:pos x="connsiteX10821" y="connsiteY10821"/>
                </a:cxn>
                <a:cxn ang="0">
                  <a:pos x="connsiteX10822" y="connsiteY10822"/>
                </a:cxn>
                <a:cxn ang="0">
                  <a:pos x="connsiteX10823" y="connsiteY10823"/>
                </a:cxn>
                <a:cxn ang="0">
                  <a:pos x="connsiteX10824" y="connsiteY10824"/>
                </a:cxn>
                <a:cxn ang="0">
                  <a:pos x="connsiteX10825" y="connsiteY10825"/>
                </a:cxn>
                <a:cxn ang="0">
                  <a:pos x="connsiteX10826" y="connsiteY10826"/>
                </a:cxn>
                <a:cxn ang="0">
                  <a:pos x="connsiteX10827" y="connsiteY10827"/>
                </a:cxn>
                <a:cxn ang="0">
                  <a:pos x="connsiteX10828" y="connsiteY10828"/>
                </a:cxn>
                <a:cxn ang="0">
                  <a:pos x="connsiteX10829" y="connsiteY10829"/>
                </a:cxn>
                <a:cxn ang="0">
                  <a:pos x="connsiteX10830" y="connsiteY10830"/>
                </a:cxn>
                <a:cxn ang="0">
                  <a:pos x="connsiteX10831" y="connsiteY10831"/>
                </a:cxn>
                <a:cxn ang="0">
                  <a:pos x="connsiteX10832" y="connsiteY10832"/>
                </a:cxn>
                <a:cxn ang="0">
                  <a:pos x="connsiteX10833" y="connsiteY10833"/>
                </a:cxn>
                <a:cxn ang="0">
                  <a:pos x="connsiteX10834" y="connsiteY10834"/>
                </a:cxn>
                <a:cxn ang="0">
                  <a:pos x="connsiteX10835" y="connsiteY10835"/>
                </a:cxn>
                <a:cxn ang="0">
                  <a:pos x="connsiteX10836" y="connsiteY10836"/>
                </a:cxn>
                <a:cxn ang="0">
                  <a:pos x="connsiteX10837" y="connsiteY10837"/>
                </a:cxn>
                <a:cxn ang="0">
                  <a:pos x="connsiteX10838" y="connsiteY10838"/>
                </a:cxn>
                <a:cxn ang="0">
                  <a:pos x="connsiteX10839" y="connsiteY10839"/>
                </a:cxn>
                <a:cxn ang="0">
                  <a:pos x="connsiteX10840" y="connsiteY10840"/>
                </a:cxn>
                <a:cxn ang="0">
                  <a:pos x="connsiteX10841" y="connsiteY10841"/>
                </a:cxn>
                <a:cxn ang="0">
                  <a:pos x="connsiteX10842" y="connsiteY10842"/>
                </a:cxn>
                <a:cxn ang="0">
                  <a:pos x="connsiteX10843" y="connsiteY10843"/>
                </a:cxn>
                <a:cxn ang="0">
                  <a:pos x="connsiteX10844" y="connsiteY10844"/>
                </a:cxn>
                <a:cxn ang="0">
                  <a:pos x="connsiteX10845" y="connsiteY10845"/>
                </a:cxn>
                <a:cxn ang="0">
                  <a:pos x="connsiteX10846" y="connsiteY10846"/>
                </a:cxn>
                <a:cxn ang="0">
                  <a:pos x="connsiteX10847" y="connsiteY10847"/>
                </a:cxn>
                <a:cxn ang="0">
                  <a:pos x="connsiteX10848" y="connsiteY10848"/>
                </a:cxn>
                <a:cxn ang="0">
                  <a:pos x="connsiteX10849" y="connsiteY10849"/>
                </a:cxn>
                <a:cxn ang="0">
                  <a:pos x="connsiteX10850" y="connsiteY10850"/>
                </a:cxn>
                <a:cxn ang="0">
                  <a:pos x="connsiteX10851" y="connsiteY10851"/>
                </a:cxn>
                <a:cxn ang="0">
                  <a:pos x="connsiteX10852" y="connsiteY10852"/>
                </a:cxn>
                <a:cxn ang="0">
                  <a:pos x="connsiteX10853" y="connsiteY10853"/>
                </a:cxn>
                <a:cxn ang="0">
                  <a:pos x="connsiteX10854" y="connsiteY10854"/>
                </a:cxn>
                <a:cxn ang="0">
                  <a:pos x="connsiteX10855" y="connsiteY10855"/>
                </a:cxn>
                <a:cxn ang="0">
                  <a:pos x="connsiteX10856" y="connsiteY10856"/>
                </a:cxn>
                <a:cxn ang="0">
                  <a:pos x="connsiteX10857" y="connsiteY10857"/>
                </a:cxn>
                <a:cxn ang="0">
                  <a:pos x="connsiteX10858" y="connsiteY10858"/>
                </a:cxn>
                <a:cxn ang="0">
                  <a:pos x="connsiteX10859" y="connsiteY10859"/>
                </a:cxn>
                <a:cxn ang="0">
                  <a:pos x="connsiteX10860" y="connsiteY10860"/>
                </a:cxn>
                <a:cxn ang="0">
                  <a:pos x="connsiteX10861" y="connsiteY10861"/>
                </a:cxn>
                <a:cxn ang="0">
                  <a:pos x="connsiteX10862" y="connsiteY10862"/>
                </a:cxn>
                <a:cxn ang="0">
                  <a:pos x="connsiteX10863" y="connsiteY10863"/>
                </a:cxn>
                <a:cxn ang="0">
                  <a:pos x="connsiteX10864" y="connsiteY10864"/>
                </a:cxn>
                <a:cxn ang="0">
                  <a:pos x="connsiteX10865" y="connsiteY10865"/>
                </a:cxn>
                <a:cxn ang="0">
                  <a:pos x="connsiteX10866" y="connsiteY10866"/>
                </a:cxn>
                <a:cxn ang="0">
                  <a:pos x="connsiteX10867" y="connsiteY10867"/>
                </a:cxn>
                <a:cxn ang="0">
                  <a:pos x="connsiteX10868" y="connsiteY10868"/>
                </a:cxn>
                <a:cxn ang="0">
                  <a:pos x="connsiteX10869" y="connsiteY10869"/>
                </a:cxn>
                <a:cxn ang="0">
                  <a:pos x="connsiteX10870" y="connsiteY10870"/>
                </a:cxn>
                <a:cxn ang="0">
                  <a:pos x="connsiteX10871" y="connsiteY10871"/>
                </a:cxn>
                <a:cxn ang="0">
                  <a:pos x="connsiteX10872" y="connsiteY10872"/>
                </a:cxn>
                <a:cxn ang="0">
                  <a:pos x="connsiteX10873" y="connsiteY10873"/>
                </a:cxn>
                <a:cxn ang="0">
                  <a:pos x="connsiteX10874" y="connsiteY10874"/>
                </a:cxn>
                <a:cxn ang="0">
                  <a:pos x="connsiteX10875" y="connsiteY10875"/>
                </a:cxn>
                <a:cxn ang="0">
                  <a:pos x="connsiteX10876" y="connsiteY10876"/>
                </a:cxn>
                <a:cxn ang="0">
                  <a:pos x="connsiteX10877" y="connsiteY10877"/>
                </a:cxn>
                <a:cxn ang="0">
                  <a:pos x="connsiteX10878" y="connsiteY10878"/>
                </a:cxn>
                <a:cxn ang="0">
                  <a:pos x="connsiteX10879" y="connsiteY10879"/>
                </a:cxn>
                <a:cxn ang="0">
                  <a:pos x="connsiteX10880" y="connsiteY10880"/>
                </a:cxn>
                <a:cxn ang="0">
                  <a:pos x="connsiteX10881" y="connsiteY10881"/>
                </a:cxn>
                <a:cxn ang="0">
                  <a:pos x="connsiteX10882" y="connsiteY10882"/>
                </a:cxn>
                <a:cxn ang="0">
                  <a:pos x="connsiteX10883" y="connsiteY10883"/>
                </a:cxn>
                <a:cxn ang="0">
                  <a:pos x="connsiteX10884" y="connsiteY10884"/>
                </a:cxn>
                <a:cxn ang="0">
                  <a:pos x="connsiteX10885" y="connsiteY10885"/>
                </a:cxn>
                <a:cxn ang="0">
                  <a:pos x="connsiteX10886" y="connsiteY10886"/>
                </a:cxn>
                <a:cxn ang="0">
                  <a:pos x="connsiteX10887" y="connsiteY10887"/>
                </a:cxn>
                <a:cxn ang="0">
                  <a:pos x="connsiteX10888" y="connsiteY10888"/>
                </a:cxn>
                <a:cxn ang="0">
                  <a:pos x="connsiteX10889" y="connsiteY10889"/>
                </a:cxn>
                <a:cxn ang="0">
                  <a:pos x="connsiteX10890" y="connsiteY10890"/>
                </a:cxn>
                <a:cxn ang="0">
                  <a:pos x="connsiteX10891" y="connsiteY10891"/>
                </a:cxn>
                <a:cxn ang="0">
                  <a:pos x="connsiteX10892" y="connsiteY10892"/>
                </a:cxn>
                <a:cxn ang="0">
                  <a:pos x="connsiteX10893" y="connsiteY10893"/>
                </a:cxn>
                <a:cxn ang="0">
                  <a:pos x="connsiteX10894" y="connsiteY10894"/>
                </a:cxn>
                <a:cxn ang="0">
                  <a:pos x="connsiteX10895" y="connsiteY10895"/>
                </a:cxn>
                <a:cxn ang="0">
                  <a:pos x="connsiteX10896" y="connsiteY10896"/>
                </a:cxn>
                <a:cxn ang="0">
                  <a:pos x="connsiteX10897" y="connsiteY10897"/>
                </a:cxn>
                <a:cxn ang="0">
                  <a:pos x="connsiteX10898" y="connsiteY10898"/>
                </a:cxn>
                <a:cxn ang="0">
                  <a:pos x="connsiteX10899" y="connsiteY10899"/>
                </a:cxn>
                <a:cxn ang="0">
                  <a:pos x="connsiteX10900" y="connsiteY10900"/>
                </a:cxn>
                <a:cxn ang="0">
                  <a:pos x="connsiteX10901" y="connsiteY10901"/>
                </a:cxn>
                <a:cxn ang="0">
                  <a:pos x="connsiteX10902" y="connsiteY10902"/>
                </a:cxn>
                <a:cxn ang="0">
                  <a:pos x="connsiteX10903" y="connsiteY10903"/>
                </a:cxn>
                <a:cxn ang="0">
                  <a:pos x="connsiteX10904" y="connsiteY10904"/>
                </a:cxn>
                <a:cxn ang="0">
                  <a:pos x="connsiteX10905" y="connsiteY10905"/>
                </a:cxn>
                <a:cxn ang="0">
                  <a:pos x="connsiteX10906" y="connsiteY10906"/>
                </a:cxn>
                <a:cxn ang="0">
                  <a:pos x="connsiteX10907" y="connsiteY10907"/>
                </a:cxn>
                <a:cxn ang="0">
                  <a:pos x="connsiteX10908" y="connsiteY10908"/>
                </a:cxn>
                <a:cxn ang="0">
                  <a:pos x="connsiteX10909" y="connsiteY10909"/>
                </a:cxn>
                <a:cxn ang="0">
                  <a:pos x="connsiteX10910" y="connsiteY10910"/>
                </a:cxn>
                <a:cxn ang="0">
                  <a:pos x="connsiteX10911" y="connsiteY10911"/>
                </a:cxn>
                <a:cxn ang="0">
                  <a:pos x="connsiteX10912" y="connsiteY10912"/>
                </a:cxn>
                <a:cxn ang="0">
                  <a:pos x="connsiteX10913" y="connsiteY10913"/>
                </a:cxn>
                <a:cxn ang="0">
                  <a:pos x="connsiteX10914" y="connsiteY10914"/>
                </a:cxn>
                <a:cxn ang="0">
                  <a:pos x="connsiteX10915" y="connsiteY10915"/>
                </a:cxn>
                <a:cxn ang="0">
                  <a:pos x="connsiteX10916" y="connsiteY10916"/>
                </a:cxn>
                <a:cxn ang="0">
                  <a:pos x="connsiteX10917" y="connsiteY10917"/>
                </a:cxn>
                <a:cxn ang="0">
                  <a:pos x="connsiteX10918" y="connsiteY10918"/>
                </a:cxn>
                <a:cxn ang="0">
                  <a:pos x="connsiteX10919" y="connsiteY10919"/>
                </a:cxn>
                <a:cxn ang="0">
                  <a:pos x="connsiteX10920" y="connsiteY10920"/>
                </a:cxn>
                <a:cxn ang="0">
                  <a:pos x="connsiteX10921" y="connsiteY10921"/>
                </a:cxn>
                <a:cxn ang="0">
                  <a:pos x="connsiteX10922" y="connsiteY10922"/>
                </a:cxn>
                <a:cxn ang="0">
                  <a:pos x="connsiteX10923" y="connsiteY10923"/>
                </a:cxn>
                <a:cxn ang="0">
                  <a:pos x="connsiteX10924" y="connsiteY10924"/>
                </a:cxn>
                <a:cxn ang="0">
                  <a:pos x="connsiteX10925" y="connsiteY10925"/>
                </a:cxn>
                <a:cxn ang="0">
                  <a:pos x="connsiteX10926" y="connsiteY10926"/>
                </a:cxn>
                <a:cxn ang="0">
                  <a:pos x="connsiteX10927" y="connsiteY10927"/>
                </a:cxn>
                <a:cxn ang="0">
                  <a:pos x="connsiteX10928" y="connsiteY10928"/>
                </a:cxn>
                <a:cxn ang="0">
                  <a:pos x="connsiteX10929" y="connsiteY10929"/>
                </a:cxn>
                <a:cxn ang="0">
                  <a:pos x="connsiteX10930" y="connsiteY10930"/>
                </a:cxn>
                <a:cxn ang="0">
                  <a:pos x="connsiteX10931" y="connsiteY10931"/>
                </a:cxn>
                <a:cxn ang="0">
                  <a:pos x="connsiteX10932" y="connsiteY10932"/>
                </a:cxn>
                <a:cxn ang="0">
                  <a:pos x="connsiteX10933" y="connsiteY10933"/>
                </a:cxn>
                <a:cxn ang="0">
                  <a:pos x="connsiteX10934" y="connsiteY10934"/>
                </a:cxn>
                <a:cxn ang="0">
                  <a:pos x="connsiteX10935" y="connsiteY10935"/>
                </a:cxn>
                <a:cxn ang="0">
                  <a:pos x="connsiteX10936" y="connsiteY10936"/>
                </a:cxn>
                <a:cxn ang="0">
                  <a:pos x="connsiteX10937" y="connsiteY10937"/>
                </a:cxn>
                <a:cxn ang="0">
                  <a:pos x="connsiteX10938" y="connsiteY10938"/>
                </a:cxn>
                <a:cxn ang="0">
                  <a:pos x="connsiteX10939" y="connsiteY10939"/>
                </a:cxn>
                <a:cxn ang="0">
                  <a:pos x="connsiteX10940" y="connsiteY10940"/>
                </a:cxn>
                <a:cxn ang="0">
                  <a:pos x="connsiteX10941" y="connsiteY10941"/>
                </a:cxn>
                <a:cxn ang="0">
                  <a:pos x="connsiteX10942" y="connsiteY10942"/>
                </a:cxn>
                <a:cxn ang="0">
                  <a:pos x="connsiteX10943" y="connsiteY10943"/>
                </a:cxn>
                <a:cxn ang="0">
                  <a:pos x="connsiteX10944" y="connsiteY10944"/>
                </a:cxn>
                <a:cxn ang="0">
                  <a:pos x="connsiteX10945" y="connsiteY10945"/>
                </a:cxn>
                <a:cxn ang="0">
                  <a:pos x="connsiteX10946" y="connsiteY10946"/>
                </a:cxn>
                <a:cxn ang="0">
                  <a:pos x="connsiteX10947" y="connsiteY10947"/>
                </a:cxn>
                <a:cxn ang="0">
                  <a:pos x="connsiteX10948" y="connsiteY10948"/>
                </a:cxn>
                <a:cxn ang="0">
                  <a:pos x="connsiteX10949" y="connsiteY10949"/>
                </a:cxn>
                <a:cxn ang="0">
                  <a:pos x="connsiteX10950" y="connsiteY10950"/>
                </a:cxn>
                <a:cxn ang="0">
                  <a:pos x="connsiteX10951" y="connsiteY10951"/>
                </a:cxn>
                <a:cxn ang="0">
                  <a:pos x="connsiteX10952" y="connsiteY10952"/>
                </a:cxn>
                <a:cxn ang="0">
                  <a:pos x="connsiteX10953" y="connsiteY10953"/>
                </a:cxn>
              </a:cxnLst>
              <a:rect l="l" t="t" r="r" b="b"/>
              <a:pathLst>
                <a:path w="2222569" h="2052818">
                  <a:moveTo>
                    <a:pt x="1606447" y="360518"/>
                  </a:moveTo>
                  <a:lnTo>
                    <a:pt x="1609705" y="357586"/>
                  </a:lnTo>
                  <a:lnTo>
                    <a:pt x="1612638" y="352047"/>
                  </a:lnTo>
                  <a:lnTo>
                    <a:pt x="1620783" y="343575"/>
                  </a:lnTo>
                  <a:lnTo>
                    <a:pt x="1624530" y="330868"/>
                  </a:lnTo>
                  <a:lnTo>
                    <a:pt x="1627462" y="329076"/>
                  </a:lnTo>
                  <a:lnTo>
                    <a:pt x="1628440" y="333312"/>
                  </a:lnTo>
                  <a:lnTo>
                    <a:pt x="1625996" y="339340"/>
                  </a:lnTo>
                  <a:lnTo>
                    <a:pt x="1625996" y="342435"/>
                  </a:lnTo>
                  <a:lnTo>
                    <a:pt x="1630232" y="343412"/>
                  </a:lnTo>
                  <a:lnTo>
                    <a:pt x="1635608" y="338199"/>
                  </a:lnTo>
                  <a:lnTo>
                    <a:pt x="1640006" y="335104"/>
                  </a:lnTo>
                  <a:lnTo>
                    <a:pt x="1639518" y="329891"/>
                  </a:lnTo>
                  <a:lnTo>
                    <a:pt x="1634468" y="328751"/>
                  </a:lnTo>
                  <a:lnTo>
                    <a:pt x="1634468" y="327284"/>
                  </a:lnTo>
                  <a:lnTo>
                    <a:pt x="1640006" y="325004"/>
                  </a:lnTo>
                  <a:lnTo>
                    <a:pt x="1640006" y="317999"/>
                  </a:lnTo>
                  <a:lnTo>
                    <a:pt x="1638377" y="315229"/>
                  </a:lnTo>
                  <a:lnTo>
                    <a:pt x="1638377" y="310505"/>
                  </a:lnTo>
                  <a:lnTo>
                    <a:pt x="1644894" y="305292"/>
                  </a:lnTo>
                  <a:lnTo>
                    <a:pt x="1647175" y="296820"/>
                  </a:lnTo>
                  <a:lnTo>
                    <a:pt x="1652225" y="295191"/>
                  </a:lnTo>
                  <a:lnTo>
                    <a:pt x="1654668" y="291119"/>
                  </a:lnTo>
                  <a:lnTo>
                    <a:pt x="1654343" y="295680"/>
                  </a:lnTo>
                  <a:lnTo>
                    <a:pt x="1655320" y="298287"/>
                  </a:lnTo>
                  <a:lnTo>
                    <a:pt x="1651899" y="299590"/>
                  </a:lnTo>
                  <a:lnTo>
                    <a:pt x="1648478" y="307898"/>
                  </a:lnTo>
                  <a:lnTo>
                    <a:pt x="1644079" y="313600"/>
                  </a:lnTo>
                  <a:lnTo>
                    <a:pt x="1643102" y="320931"/>
                  </a:lnTo>
                  <a:lnTo>
                    <a:pt x="1645382" y="325330"/>
                  </a:lnTo>
                  <a:lnTo>
                    <a:pt x="1647011" y="331194"/>
                  </a:lnTo>
                  <a:lnTo>
                    <a:pt x="1649781" y="328262"/>
                  </a:lnTo>
                  <a:lnTo>
                    <a:pt x="1653691" y="319954"/>
                  </a:lnTo>
                  <a:lnTo>
                    <a:pt x="1663465" y="311808"/>
                  </a:lnTo>
                  <a:lnTo>
                    <a:pt x="1666561" y="306106"/>
                  </a:lnTo>
                  <a:lnTo>
                    <a:pt x="1666561" y="299590"/>
                  </a:lnTo>
                  <a:cubicBezTo>
                    <a:pt x="1666561" y="299590"/>
                    <a:pt x="1669819" y="294377"/>
                    <a:pt x="1669819" y="294377"/>
                  </a:cubicBezTo>
                  <a:lnTo>
                    <a:pt x="1673077" y="293074"/>
                  </a:lnTo>
                  <a:lnTo>
                    <a:pt x="1673566" y="296169"/>
                  </a:lnTo>
                  <a:lnTo>
                    <a:pt x="1672100" y="297798"/>
                  </a:lnTo>
                  <a:lnTo>
                    <a:pt x="1672100" y="303826"/>
                  </a:lnTo>
                  <a:lnTo>
                    <a:pt x="1676172" y="302196"/>
                  </a:lnTo>
                  <a:lnTo>
                    <a:pt x="1681548" y="295028"/>
                  </a:lnTo>
                  <a:lnTo>
                    <a:pt x="1686273" y="295028"/>
                  </a:lnTo>
                  <a:cubicBezTo>
                    <a:pt x="1686273" y="295028"/>
                    <a:pt x="1693441" y="295843"/>
                    <a:pt x="1693441" y="295843"/>
                  </a:cubicBezTo>
                  <a:lnTo>
                    <a:pt x="1701749" y="293074"/>
                  </a:lnTo>
                  <a:lnTo>
                    <a:pt x="1706148" y="292748"/>
                  </a:lnTo>
                  <a:lnTo>
                    <a:pt x="1709732" y="289164"/>
                  </a:lnTo>
                  <a:lnTo>
                    <a:pt x="1714456" y="287372"/>
                  </a:lnTo>
                  <a:lnTo>
                    <a:pt x="1716574" y="282810"/>
                  </a:lnTo>
                  <a:lnTo>
                    <a:pt x="1716574" y="279552"/>
                  </a:lnTo>
                  <a:lnTo>
                    <a:pt x="1717388" y="275805"/>
                  </a:lnTo>
                  <a:lnTo>
                    <a:pt x="1714130" y="272221"/>
                  </a:lnTo>
                  <a:lnTo>
                    <a:pt x="1716248" y="265868"/>
                  </a:lnTo>
                  <a:lnTo>
                    <a:pt x="1715922" y="253812"/>
                  </a:lnTo>
                  <a:lnTo>
                    <a:pt x="1713967" y="253812"/>
                  </a:lnTo>
                  <a:cubicBezTo>
                    <a:pt x="1713967" y="253812"/>
                    <a:pt x="1710872" y="261306"/>
                    <a:pt x="1710872" y="261306"/>
                  </a:cubicBezTo>
                  <a:lnTo>
                    <a:pt x="1704681" y="268148"/>
                  </a:lnTo>
                  <a:lnTo>
                    <a:pt x="1701912" y="268148"/>
                  </a:lnTo>
                  <a:lnTo>
                    <a:pt x="1701912" y="264890"/>
                  </a:lnTo>
                  <a:lnTo>
                    <a:pt x="1705822" y="260003"/>
                  </a:lnTo>
                  <a:lnTo>
                    <a:pt x="1711035" y="256908"/>
                  </a:lnTo>
                  <a:lnTo>
                    <a:pt x="1711524" y="252998"/>
                  </a:lnTo>
                  <a:lnTo>
                    <a:pt x="1705822" y="247785"/>
                  </a:lnTo>
                  <a:lnTo>
                    <a:pt x="1704844" y="244038"/>
                  </a:lnTo>
                  <a:lnTo>
                    <a:pt x="1702401" y="243712"/>
                  </a:lnTo>
                  <a:lnTo>
                    <a:pt x="1699794" y="245504"/>
                  </a:lnTo>
                  <a:lnTo>
                    <a:pt x="1698817" y="248762"/>
                  </a:lnTo>
                  <a:lnTo>
                    <a:pt x="1695721" y="246482"/>
                  </a:lnTo>
                  <a:lnTo>
                    <a:pt x="1691160" y="246807"/>
                  </a:lnTo>
                  <a:lnTo>
                    <a:pt x="1686924" y="249740"/>
                  </a:lnTo>
                  <a:lnTo>
                    <a:pt x="1683177" y="248925"/>
                  </a:lnTo>
                  <a:lnTo>
                    <a:pt x="1684806" y="246482"/>
                  </a:lnTo>
                  <a:lnTo>
                    <a:pt x="1696862" y="240943"/>
                  </a:lnTo>
                  <a:lnTo>
                    <a:pt x="1702075" y="239965"/>
                  </a:lnTo>
                  <a:lnTo>
                    <a:pt x="1710383" y="230842"/>
                  </a:lnTo>
                  <a:lnTo>
                    <a:pt x="1712990" y="228887"/>
                  </a:lnTo>
                  <a:lnTo>
                    <a:pt x="1718692" y="218787"/>
                  </a:lnTo>
                  <a:lnTo>
                    <a:pt x="1721135" y="210479"/>
                  </a:lnTo>
                  <a:lnTo>
                    <a:pt x="1719343" y="209012"/>
                  </a:lnTo>
                  <a:lnTo>
                    <a:pt x="1715270" y="210153"/>
                  </a:lnTo>
                  <a:lnTo>
                    <a:pt x="1712664" y="211945"/>
                  </a:lnTo>
                  <a:lnTo>
                    <a:pt x="1710709" y="209338"/>
                  </a:lnTo>
                  <a:lnTo>
                    <a:pt x="1712501" y="206406"/>
                  </a:lnTo>
                  <a:lnTo>
                    <a:pt x="1715596" y="204777"/>
                  </a:lnTo>
                  <a:lnTo>
                    <a:pt x="1719180" y="205103"/>
                  </a:lnTo>
                  <a:lnTo>
                    <a:pt x="1721461" y="201682"/>
                  </a:lnTo>
                  <a:lnTo>
                    <a:pt x="1721461" y="196468"/>
                  </a:lnTo>
                  <a:cubicBezTo>
                    <a:pt x="1721461" y="196468"/>
                    <a:pt x="1726022" y="191418"/>
                    <a:pt x="1726022" y="191418"/>
                  </a:cubicBezTo>
                  <a:lnTo>
                    <a:pt x="1726022" y="185554"/>
                  </a:lnTo>
                  <a:cubicBezTo>
                    <a:pt x="1726022" y="185554"/>
                    <a:pt x="1724556" y="183762"/>
                    <a:pt x="1724556" y="183762"/>
                  </a:cubicBezTo>
                  <a:lnTo>
                    <a:pt x="1724556" y="179689"/>
                  </a:lnTo>
                  <a:cubicBezTo>
                    <a:pt x="1724556" y="179689"/>
                    <a:pt x="1720158" y="178223"/>
                    <a:pt x="1720158" y="178223"/>
                  </a:cubicBezTo>
                  <a:lnTo>
                    <a:pt x="1715759" y="180178"/>
                  </a:lnTo>
                  <a:lnTo>
                    <a:pt x="1710220" y="191092"/>
                  </a:lnTo>
                  <a:lnTo>
                    <a:pt x="1709080" y="196631"/>
                  </a:lnTo>
                  <a:lnTo>
                    <a:pt x="1711849" y="199890"/>
                  </a:lnTo>
                  <a:lnTo>
                    <a:pt x="1708265" y="204288"/>
                  </a:lnTo>
                  <a:lnTo>
                    <a:pt x="1705822" y="206243"/>
                  </a:lnTo>
                  <a:lnTo>
                    <a:pt x="1704356" y="205266"/>
                  </a:lnTo>
                  <a:lnTo>
                    <a:pt x="1704356" y="202333"/>
                  </a:lnTo>
                  <a:cubicBezTo>
                    <a:pt x="1704356" y="202333"/>
                    <a:pt x="1702727" y="200052"/>
                    <a:pt x="1702727" y="200052"/>
                  </a:cubicBezTo>
                  <a:lnTo>
                    <a:pt x="1702727" y="195491"/>
                  </a:lnTo>
                  <a:cubicBezTo>
                    <a:pt x="1702727" y="195491"/>
                    <a:pt x="1707451" y="186694"/>
                    <a:pt x="1707451" y="186694"/>
                  </a:cubicBezTo>
                  <a:lnTo>
                    <a:pt x="1705822" y="182132"/>
                  </a:lnTo>
                  <a:lnTo>
                    <a:pt x="1706636" y="179363"/>
                  </a:lnTo>
                  <a:lnTo>
                    <a:pt x="1708754" y="181155"/>
                  </a:lnTo>
                  <a:lnTo>
                    <a:pt x="1712012" y="179200"/>
                  </a:lnTo>
                  <a:lnTo>
                    <a:pt x="1710220" y="172847"/>
                  </a:lnTo>
                  <a:lnTo>
                    <a:pt x="1707125" y="167634"/>
                  </a:lnTo>
                  <a:lnTo>
                    <a:pt x="1702564" y="167634"/>
                  </a:lnTo>
                  <a:lnTo>
                    <a:pt x="1697025" y="169426"/>
                  </a:lnTo>
                  <a:lnTo>
                    <a:pt x="1694581" y="173824"/>
                  </a:lnTo>
                  <a:lnTo>
                    <a:pt x="1693603" y="170892"/>
                  </a:lnTo>
                  <a:lnTo>
                    <a:pt x="1691975" y="169588"/>
                  </a:lnTo>
                  <a:lnTo>
                    <a:pt x="1692789" y="162095"/>
                  </a:lnTo>
                  <a:lnTo>
                    <a:pt x="1690019" y="155252"/>
                  </a:lnTo>
                  <a:lnTo>
                    <a:pt x="1691160" y="144500"/>
                  </a:lnTo>
                  <a:lnTo>
                    <a:pt x="1690834" y="136518"/>
                  </a:lnTo>
                  <a:lnTo>
                    <a:pt x="1693603" y="130490"/>
                  </a:lnTo>
                  <a:lnTo>
                    <a:pt x="1694418" y="122345"/>
                  </a:lnTo>
                  <a:lnTo>
                    <a:pt x="1693767" y="116154"/>
                  </a:lnTo>
                  <a:lnTo>
                    <a:pt x="1697839" y="108009"/>
                  </a:lnTo>
                  <a:lnTo>
                    <a:pt x="1698165" y="101167"/>
                  </a:lnTo>
                  <a:lnTo>
                    <a:pt x="1693767" y="95628"/>
                  </a:lnTo>
                  <a:lnTo>
                    <a:pt x="1692463" y="90252"/>
                  </a:lnTo>
                  <a:lnTo>
                    <a:pt x="1684969" y="84876"/>
                  </a:lnTo>
                  <a:lnTo>
                    <a:pt x="1683503" y="80477"/>
                  </a:lnTo>
                  <a:lnTo>
                    <a:pt x="1676335" y="77219"/>
                  </a:lnTo>
                  <a:lnTo>
                    <a:pt x="1674054" y="79011"/>
                  </a:lnTo>
                  <a:lnTo>
                    <a:pt x="1674054" y="81943"/>
                  </a:lnTo>
                  <a:lnTo>
                    <a:pt x="1672262" y="82921"/>
                  </a:lnTo>
                  <a:lnTo>
                    <a:pt x="1665420" y="76893"/>
                  </a:lnTo>
                  <a:lnTo>
                    <a:pt x="1659881" y="78033"/>
                  </a:lnTo>
                  <a:lnTo>
                    <a:pt x="1659881" y="83409"/>
                  </a:lnTo>
                  <a:cubicBezTo>
                    <a:pt x="1659881" y="83409"/>
                    <a:pt x="1656135" y="90252"/>
                    <a:pt x="1656135" y="90252"/>
                  </a:cubicBezTo>
                  <a:lnTo>
                    <a:pt x="1659230" y="93510"/>
                  </a:lnTo>
                  <a:lnTo>
                    <a:pt x="1664769" y="93510"/>
                  </a:lnTo>
                  <a:cubicBezTo>
                    <a:pt x="1664769" y="93510"/>
                    <a:pt x="1669167" y="91881"/>
                    <a:pt x="1669167" y="91881"/>
                  </a:cubicBezTo>
                  <a:lnTo>
                    <a:pt x="1675195" y="94813"/>
                  </a:lnTo>
                  <a:lnTo>
                    <a:pt x="1676987" y="98886"/>
                  </a:lnTo>
                  <a:lnTo>
                    <a:pt x="1681222" y="99537"/>
                  </a:lnTo>
                  <a:lnTo>
                    <a:pt x="1681222" y="102796"/>
                  </a:lnTo>
                  <a:cubicBezTo>
                    <a:pt x="1681222" y="102796"/>
                    <a:pt x="1673240" y="110289"/>
                    <a:pt x="1673240" y="110289"/>
                  </a:cubicBezTo>
                  <a:lnTo>
                    <a:pt x="1669330" y="110289"/>
                  </a:lnTo>
                  <a:lnTo>
                    <a:pt x="1664280" y="106217"/>
                  </a:lnTo>
                  <a:lnTo>
                    <a:pt x="1659718" y="106705"/>
                  </a:lnTo>
                  <a:lnTo>
                    <a:pt x="1654505" y="105565"/>
                  </a:lnTo>
                  <a:lnTo>
                    <a:pt x="1657112" y="109964"/>
                  </a:lnTo>
                  <a:lnTo>
                    <a:pt x="1660533" y="110452"/>
                  </a:lnTo>
                  <a:lnTo>
                    <a:pt x="1656460" y="114362"/>
                  </a:lnTo>
                  <a:lnTo>
                    <a:pt x="1652387" y="115828"/>
                  </a:lnTo>
                  <a:lnTo>
                    <a:pt x="1645382" y="108497"/>
                  </a:lnTo>
                  <a:lnTo>
                    <a:pt x="1637889" y="112407"/>
                  </a:lnTo>
                  <a:lnTo>
                    <a:pt x="1635445" y="119249"/>
                  </a:lnTo>
                  <a:lnTo>
                    <a:pt x="1632024" y="122345"/>
                  </a:lnTo>
                  <a:lnTo>
                    <a:pt x="1632513" y="125440"/>
                  </a:lnTo>
                  <a:lnTo>
                    <a:pt x="1636748" y="126906"/>
                  </a:lnTo>
                  <a:lnTo>
                    <a:pt x="1638052" y="132771"/>
                  </a:lnTo>
                  <a:lnTo>
                    <a:pt x="1643753" y="136029"/>
                  </a:lnTo>
                  <a:lnTo>
                    <a:pt x="1643753" y="138636"/>
                  </a:lnTo>
                  <a:lnTo>
                    <a:pt x="1639844" y="138310"/>
                  </a:lnTo>
                  <a:lnTo>
                    <a:pt x="1638866" y="142383"/>
                  </a:lnTo>
                  <a:lnTo>
                    <a:pt x="1641636" y="145152"/>
                  </a:lnTo>
                  <a:lnTo>
                    <a:pt x="1641636" y="148573"/>
                  </a:lnTo>
                  <a:cubicBezTo>
                    <a:pt x="1641636" y="148573"/>
                    <a:pt x="1638214" y="148410"/>
                    <a:pt x="1638214" y="148410"/>
                  </a:cubicBezTo>
                  <a:lnTo>
                    <a:pt x="1634468" y="145478"/>
                  </a:lnTo>
                  <a:lnTo>
                    <a:pt x="1629417" y="144663"/>
                  </a:lnTo>
                  <a:lnTo>
                    <a:pt x="1624041" y="140754"/>
                  </a:lnTo>
                  <a:lnTo>
                    <a:pt x="1620620" y="139939"/>
                  </a:lnTo>
                  <a:lnTo>
                    <a:pt x="1615896" y="142546"/>
                  </a:lnTo>
                  <a:lnTo>
                    <a:pt x="1615407" y="147107"/>
                  </a:lnTo>
                  <a:lnTo>
                    <a:pt x="1618177" y="151668"/>
                  </a:lnTo>
                  <a:lnTo>
                    <a:pt x="1615896" y="155904"/>
                  </a:lnTo>
                  <a:lnTo>
                    <a:pt x="1613615" y="154275"/>
                  </a:lnTo>
                  <a:lnTo>
                    <a:pt x="1613615" y="151017"/>
                  </a:lnTo>
                  <a:lnTo>
                    <a:pt x="1609868" y="148410"/>
                  </a:lnTo>
                  <a:lnTo>
                    <a:pt x="1604166" y="146455"/>
                  </a:lnTo>
                  <a:lnTo>
                    <a:pt x="1602211" y="147107"/>
                  </a:lnTo>
                  <a:lnTo>
                    <a:pt x="1598790" y="143034"/>
                  </a:lnTo>
                  <a:lnTo>
                    <a:pt x="1595532" y="142220"/>
                  </a:lnTo>
                  <a:lnTo>
                    <a:pt x="1594066" y="144826"/>
                  </a:lnTo>
                  <a:lnTo>
                    <a:pt x="1596836" y="151343"/>
                  </a:lnTo>
                  <a:lnTo>
                    <a:pt x="1595858" y="156719"/>
                  </a:lnTo>
                  <a:lnTo>
                    <a:pt x="1598139" y="163235"/>
                  </a:lnTo>
                  <a:lnTo>
                    <a:pt x="1602049" y="166167"/>
                  </a:lnTo>
                  <a:lnTo>
                    <a:pt x="1608239" y="167145"/>
                  </a:lnTo>
                  <a:lnTo>
                    <a:pt x="1610357" y="169751"/>
                  </a:lnTo>
                  <a:lnTo>
                    <a:pt x="1608728" y="170566"/>
                  </a:lnTo>
                  <a:lnTo>
                    <a:pt x="1602863" y="170566"/>
                  </a:lnTo>
                  <a:cubicBezTo>
                    <a:pt x="1602863" y="170566"/>
                    <a:pt x="1609217" y="174150"/>
                    <a:pt x="1609217" y="174150"/>
                  </a:cubicBezTo>
                  <a:lnTo>
                    <a:pt x="1611171" y="178223"/>
                  </a:lnTo>
                  <a:lnTo>
                    <a:pt x="1615570" y="181155"/>
                  </a:lnTo>
                  <a:lnTo>
                    <a:pt x="1622412" y="181155"/>
                  </a:lnTo>
                  <a:cubicBezTo>
                    <a:pt x="1622412" y="181155"/>
                    <a:pt x="1625182" y="177734"/>
                    <a:pt x="1625182" y="177734"/>
                  </a:cubicBezTo>
                  <a:lnTo>
                    <a:pt x="1627788" y="177734"/>
                  </a:lnTo>
                  <a:cubicBezTo>
                    <a:pt x="1627788" y="177734"/>
                    <a:pt x="1628277" y="181481"/>
                    <a:pt x="1628277" y="181481"/>
                  </a:cubicBezTo>
                  <a:lnTo>
                    <a:pt x="1624041" y="184576"/>
                  </a:lnTo>
                  <a:lnTo>
                    <a:pt x="1622249" y="192396"/>
                  </a:lnTo>
                  <a:lnTo>
                    <a:pt x="1619317" y="193047"/>
                  </a:lnTo>
                  <a:lnTo>
                    <a:pt x="1612638" y="187508"/>
                  </a:lnTo>
                  <a:lnTo>
                    <a:pt x="1598627" y="184576"/>
                  </a:lnTo>
                  <a:lnTo>
                    <a:pt x="1593903" y="177571"/>
                  </a:lnTo>
                  <a:lnTo>
                    <a:pt x="1590156" y="176105"/>
                  </a:lnTo>
                  <a:lnTo>
                    <a:pt x="1588527" y="173335"/>
                  </a:lnTo>
                  <a:lnTo>
                    <a:pt x="1586735" y="173335"/>
                  </a:lnTo>
                  <a:lnTo>
                    <a:pt x="1584454" y="178874"/>
                  </a:lnTo>
                  <a:lnTo>
                    <a:pt x="1585269" y="181318"/>
                  </a:lnTo>
                  <a:lnTo>
                    <a:pt x="1582825" y="184087"/>
                  </a:lnTo>
                  <a:lnTo>
                    <a:pt x="1585269" y="191907"/>
                  </a:lnTo>
                  <a:lnTo>
                    <a:pt x="1581359" y="194351"/>
                  </a:lnTo>
                  <a:lnTo>
                    <a:pt x="1578264" y="192722"/>
                  </a:lnTo>
                  <a:lnTo>
                    <a:pt x="1578264" y="199564"/>
                  </a:lnTo>
                  <a:lnTo>
                    <a:pt x="1575332" y="201193"/>
                  </a:lnTo>
                  <a:lnTo>
                    <a:pt x="1575332" y="212108"/>
                  </a:lnTo>
                  <a:cubicBezTo>
                    <a:pt x="1575332" y="212108"/>
                    <a:pt x="1578753" y="215040"/>
                    <a:pt x="1578753" y="215040"/>
                  </a:cubicBezTo>
                  <a:lnTo>
                    <a:pt x="1586572" y="215529"/>
                  </a:lnTo>
                  <a:lnTo>
                    <a:pt x="1590971" y="217972"/>
                  </a:lnTo>
                  <a:lnTo>
                    <a:pt x="1595532" y="216506"/>
                  </a:lnTo>
                  <a:lnTo>
                    <a:pt x="1595532" y="218787"/>
                  </a:lnTo>
                  <a:lnTo>
                    <a:pt x="1592111" y="220742"/>
                  </a:lnTo>
                  <a:lnTo>
                    <a:pt x="1586735" y="218950"/>
                  </a:lnTo>
                  <a:lnTo>
                    <a:pt x="1579078" y="218950"/>
                  </a:lnTo>
                  <a:cubicBezTo>
                    <a:pt x="1579078" y="218950"/>
                    <a:pt x="1576472" y="217810"/>
                    <a:pt x="1576472" y="217810"/>
                  </a:cubicBezTo>
                  <a:lnTo>
                    <a:pt x="1571747" y="218135"/>
                  </a:lnTo>
                  <a:lnTo>
                    <a:pt x="1565068" y="226932"/>
                  </a:lnTo>
                  <a:lnTo>
                    <a:pt x="1564417" y="230842"/>
                  </a:lnTo>
                  <a:lnTo>
                    <a:pt x="1567186" y="234426"/>
                  </a:lnTo>
                  <a:lnTo>
                    <a:pt x="1566371" y="237196"/>
                  </a:lnTo>
                  <a:lnTo>
                    <a:pt x="1563439" y="238499"/>
                  </a:lnTo>
                  <a:lnTo>
                    <a:pt x="1563113" y="242572"/>
                  </a:lnTo>
                  <a:lnTo>
                    <a:pt x="1565883" y="245178"/>
                  </a:lnTo>
                  <a:lnTo>
                    <a:pt x="1569141" y="243223"/>
                  </a:lnTo>
                  <a:lnTo>
                    <a:pt x="1575332" y="243549"/>
                  </a:lnTo>
                  <a:lnTo>
                    <a:pt x="1579567" y="239151"/>
                  </a:lnTo>
                  <a:lnTo>
                    <a:pt x="1582011" y="241757"/>
                  </a:lnTo>
                  <a:lnTo>
                    <a:pt x="1581359" y="245993"/>
                  </a:lnTo>
                  <a:lnTo>
                    <a:pt x="1576798" y="245993"/>
                  </a:lnTo>
                  <a:cubicBezTo>
                    <a:pt x="1576798" y="245993"/>
                    <a:pt x="1574028" y="251369"/>
                    <a:pt x="1574028" y="251369"/>
                  </a:cubicBezTo>
                  <a:lnTo>
                    <a:pt x="1575983" y="253812"/>
                  </a:lnTo>
                  <a:lnTo>
                    <a:pt x="1579730" y="253812"/>
                  </a:lnTo>
                  <a:lnTo>
                    <a:pt x="1583966" y="249740"/>
                  </a:lnTo>
                  <a:lnTo>
                    <a:pt x="1586898" y="249740"/>
                  </a:lnTo>
                  <a:cubicBezTo>
                    <a:pt x="1586898" y="249740"/>
                    <a:pt x="1591622" y="246482"/>
                    <a:pt x="1591622" y="246482"/>
                  </a:cubicBezTo>
                  <a:lnTo>
                    <a:pt x="1591622" y="249414"/>
                  </a:lnTo>
                  <a:cubicBezTo>
                    <a:pt x="1591622" y="249414"/>
                    <a:pt x="1589179" y="252183"/>
                    <a:pt x="1589179" y="252183"/>
                  </a:cubicBezTo>
                  <a:lnTo>
                    <a:pt x="1592274" y="253650"/>
                  </a:lnTo>
                  <a:lnTo>
                    <a:pt x="1599442" y="253650"/>
                  </a:lnTo>
                  <a:cubicBezTo>
                    <a:pt x="1599442" y="253650"/>
                    <a:pt x="1601234" y="256419"/>
                    <a:pt x="1601234" y="256419"/>
                  </a:cubicBezTo>
                  <a:lnTo>
                    <a:pt x="1596673" y="256745"/>
                  </a:lnTo>
                  <a:lnTo>
                    <a:pt x="1596673" y="260980"/>
                  </a:lnTo>
                  <a:lnTo>
                    <a:pt x="1600582" y="261469"/>
                  </a:lnTo>
                  <a:lnTo>
                    <a:pt x="1606121" y="260166"/>
                  </a:lnTo>
                  <a:lnTo>
                    <a:pt x="1611986" y="264402"/>
                  </a:lnTo>
                  <a:lnTo>
                    <a:pt x="1624204" y="267334"/>
                  </a:lnTo>
                  <a:lnTo>
                    <a:pt x="1625670" y="269615"/>
                  </a:lnTo>
                  <a:lnTo>
                    <a:pt x="1615244" y="269289"/>
                  </a:lnTo>
                  <a:lnTo>
                    <a:pt x="1610031" y="269778"/>
                  </a:lnTo>
                  <a:lnTo>
                    <a:pt x="1603026" y="265216"/>
                  </a:lnTo>
                  <a:lnTo>
                    <a:pt x="1596836" y="267660"/>
                  </a:lnTo>
                  <a:lnTo>
                    <a:pt x="1596510" y="270592"/>
                  </a:lnTo>
                  <a:lnTo>
                    <a:pt x="1603189" y="273687"/>
                  </a:lnTo>
                  <a:lnTo>
                    <a:pt x="1613289" y="274991"/>
                  </a:lnTo>
                  <a:lnTo>
                    <a:pt x="1623390" y="274991"/>
                  </a:lnTo>
                  <a:lnTo>
                    <a:pt x="1626811" y="277434"/>
                  </a:lnTo>
                  <a:lnTo>
                    <a:pt x="1615733" y="279389"/>
                  </a:lnTo>
                  <a:lnTo>
                    <a:pt x="1612475" y="277760"/>
                  </a:lnTo>
                  <a:lnTo>
                    <a:pt x="1602537" y="276457"/>
                  </a:lnTo>
                  <a:lnTo>
                    <a:pt x="1595695" y="276131"/>
                  </a:lnTo>
                  <a:lnTo>
                    <a:pt x="1592763" y="272384"/>
                  </a:lnTo>
                  <a:lnTo>
                    <a:pt x="1587713" y="270755"/>
                  </a:lnTo>
                  <a:lnTo>
                    <a:pt x="1580708" y="264564"/>
                  </a:lnTo>
                  <a:lnTo>
                    <a:pt x="1577775" y="266845"/>
                  </a:lnTo>
                  <a:lnTo>
                    <a:pt x="1574191" y="270592"/>
                  </a:lnTo>
                  <a:lnTo>
                    <a:pt x="1566535" y="270918"/>
                  </a:lnTo>
                  <a:lnTo>
                    <a:pt x="1563113" y="273850"/>
                  </a:lnTo>
                  <a:lnTo>
                    <a:pt x="1561647" y="282810"/>
                  </a:lnTo>
                  <a:lnTo>
                    <a:pt x="1567349" y="288023"/>
                  </a:lnTo>
                  <a:lnTo>
                    <a:pt x="1567349" y="293725"/>
                  </a:lnTo>
                  <a:cubicBezTo>
                    <a:pt x="1567349" y="293725"/>
                    <a:pt x="1565394" y="296169"/>
                    <a:pt x="1565394" y="296169"/>
                  </a:cubicBezTo>
                  <a:lnTo>
                    <a:pt x="1562462" y="288023"/>
                  </a:lnTo>
                  <a:lnTo>
                    <a:pt x="1559366" y="287698"/>
                  </a:lnTo>
                  <a:lnTo>
                    <a:pt x="1556434" y="298938"/>
                  </a:lnTo>
                  <a:lnTo>
                    <a:pt x="1557086" y="305455"/>
                  </a:lnTo>
                  <a:lnTo>
                    <a:pt x="1560833" y="306595"/>
                  </a:lnTo>
                  <a:lnTo>
                    <a:pt x="1562462" y="304640"/>
                  </a:lnTo>
                  <a:lnTo>
                    <a:pt x="1565394" y="304966"/>
                  </a:lnTo>
                  <a:lnTo>
                    <a:pt x="1568815" y="310668"/>
                  </a:lnTo>
                  <a:lnTo>
                    <a:pt x="1572562" y="311808"/>
                  </a:lnTo>
                  <a:lnTo>
                    <a:pt x="1568489" y="312786"/>
                  </a:lnTo>
                  <a:lnTo>
                    <a:pt x="1565720" y="314740"/>
                  </a:lnTo>
                  <a:lnTo>
                    <a:pt x="1561484" y="310016"/>
                  </a:lnTo>
                  <a:lnTo>
                    <a:pt x="1554805" y="310994"/>
                  </a:lnTo>
                  <a:lnTo>
                    <a:pt x="1553990" y="319954"/>
                  </a:lnTo>
                  <a:lnTo>
                    <a:pt x="1555945" y="323049"/>
                  </a:lnTo>
                  <a:lnTo>
                    <a:pt x="1559203" y="321257"/>
                  </a:lnTo>
                  <a:lnTo>
                    <a:pt x="1556923" y="324678"/>
                  </a:lnTo>
                  <a:lnTo>
                    <a:pt x="1557249" y="336082"/>
                  </a:lnTo>
                  <a:lnTo>
                    <a:pt x="1560344" y="333312"/>
                  </a:lnTo>
                  <a:lnTo>
                    <a:pt x="1564254" y="334615"/>
                  </a:lnTo>
                  <a:lnTo>
                    <a:pt x="1564254" y="342109"/>
                  </a:lnTo>
                  <a:lnTo>
                    <a:pt x="1571096" y="344390"/>
                  </a:lnTo>
                  <a:lnTo>
                    <a:pt x="1581359" y="351558"/>
                  </a:lnTo>
                  <a:lnTo>
                    <a:pt x="1585921" y="349766"/>
                  </a:lnTo>
                  <a:lnTo>
                    <a:pt x="1587876" y="345042"/>
                  </a:lnTo>
                  <a:lnTo>
                    <a:pt x="1586735" y="340643"/>
                  </a:lnTo>
                  <a:lnTo>
                    <a:pt x="1593740" y="341132"/>
                  </a:lnTo>
                  <a:lnTo>
                    <a:pt x="1595044" y="345530"/>
                  </a:lnTo>
                  <a:lnTo>
                    <a:pt x="1593740" y="349929"/>
                  </a:lnTo>
                  <a:lnTo>
                    <a:pt x="1594881" y="355305"/>
                  </a:lnTo>
                  <a:lnTo>
                    <a:pt x="1596836" y="354002"/>
                  </a:lnTo>
                  <a:lnTo>
                    <a:pt x="1601234" y="341783"/>
                  </a:lnTo>
                  <a:lnTo>
                    <a:pt x="1600745" y="331357"/>
                  </a:lnTo>
                  <a:lnTo>
                    <a:pt x="1602700" y="324352"/>
                  </a:lnTo>
                  <a:lnTo>
                    <a:pt x="1608402" y="318650"/>
                  </a:lnTo>
                  <a:lnTo>
                    <a:pt x="1610846" y="313111"/>
                  </a:lnTo>
                  <a:lnTo>
                    <a:pt x="1610846" y="319791"/>
                  </a:lnTo>
                  <a:lnTo>
                    <a:pt x="1604981" y="329565"/>
                  </a:lnTo>
                  <a:lnTo>
                    <a:pt x="1603678" y="336570"/>
                  </a:lnTo>
                  <a:lnTo>
                    <a:pt x="1605144" y="340806"/>
                  </a:lnTo>
                  <a:lnTo>
                    <a:pt x="1603189" y="350255"/>
                  </a:lnTo>
                  <a:lnTo>
                    <a:pt x="1605633" y="355305"/>
                  </a:lnTo>
                  <a:lnTo>
                    <a:pt x="1604818" y="358400"/>
                  </a:lnTo>
                  <a:lnTo>
                    <a:pt x="1606121" y="360192"/>
                  </a:lnTo>
                  <a:lnTo>
                    <a:pt x="1606121" y="360192"/>
                  </a:lnTo>
                  <a:close/>
                  <a:moveTo>
                    <a:pt x="1618828" y="135052"/>
                  </a:moveTo>
                  <a:lnTo>
                    <a:pt x="1620457" y="133911"/>
                  </a:lnTo>
                  <a:lnTo>
                    <a:pt x="1623716" y="133911"/>
                  </a:lnTo>
                  <a:lnTo>
                    <a:pt x="1625833" y="135378"/>
                  </a:lnTo>
                  <a:lnTo>
                    <a:pt x="1629906" y="135378"/>
                  </a:lnTo>
                  <a:lnTo>
                    <a:pt x="1630395" y="139776"/>
                  </a:lnTo>
                  <a:lnTo>
                    <a:pt x="1627788" y="140102"/>
                  </a:lnTo>
                  <a:lnTo>
                    <a:pt x="1625508" y="138473"/>
                  </a:lnTo>
                  <a:lnTo>
                    <a:pt x="1620620" y="137658"/>
                  </a:lnTo>
                  <a:lnTo>
                    <a:pt x="1618991" y="135378"/>
                  </a:lnTo>
                  <a:lnTo>
                    <a:pt x="1618991" y="135378"/>
                  </a:lnTo>
                  <a:close/>
                  <a:moveTo>
                    <a:pt x="1622412" y="358237"/>
                  </a:moveTo>
                  <a:lnTo>
                    <a:pt x="1623227" y="353676"/>
                  </a:lnTo>
                  <a:lnTo>
                    <a:pt x="1626485" y="350255"/>
                  </a:lnTo>
                  <a:lnTo>
                    <a:pt x="1626974" y="346996"/>
                  </a:lnTo>
                  <a:lnTo>
                    <a:pt x="1630232" y="345367"/>
                  </a:lnTo>
                  <a:lnTo>
                    <a:pt x="1632187" y="346834"/>
                  </a:lnTo>
                  <a:lnTo>
                    <a:pt x="1630232" y="350092"/>
                  </a:lnTo>
                  <a:lnTo>
                    <a:pt x="1629743" y="353024"/>
                  </a:lnTo>
                  <a:lnTo>
                    <a:pt x="1624530" y="357748"/>
                  </a:lnTo>
                  <a:lnTo>
                    <a:pt x="1622412" y="358237"/>
                  </a:lnTo>
                  <a:lnTo>
                    <a:pt x="1622412" y="358237"/>
                  </a:lnTo>
                  <a:close/>
                  <a:moveTo>
                    <a:pt x="1675521" y="309527"/>
                  </a:moveTo>
                  <a:lnTo>
                    <a:pt x="1681548" y="301545"/>
                  </a:lnTo>
                  <a:lnTo>
                    <a:pt x="1684806" y="301545"/>
                  </a:lnTo>
                  <a:lnTo>
                    <a:pt x="1689857" y="298450"/>
                  </a:lnTo>
                  <a:lnTo>
                    <a:pt x="1694418" y="300404"/>
                  </a:lnTo>
                  <a:lnTo>
                    <a:pt x="1699631" y="305129"/>
                  </a:lnTo>
                  <a:lnTo>
                    <a:pt x="1697839" y="308387"/>
                  </a:lnTo>
                  <a:lnTo>
                    <a:pt x="1690997" y="308387"/>
                  </a:lnTo>
                  <a:cubicBezTo>
                    <a:pt x="1690997" y="308387"/>
                    <a:pt x="1687087" y="312297"/>
                    <a:pt x="1687087" y="312297"/>
                  </a:cubicBezTo>
                  <a:lnTo>
                    <a:pt x="1680245" y="313111"/>
                  </a:lnTo>
                  <a:lnTo>
                    <a:pt x="1676498" y="311971"/>
                  </a:lnTo>
                  <a:lnTo>
                    <a:pt x="1675521" y="309364"/>
                  </a:lnTo>
                  <a:lnTo>
                    <a:pt x="1675521" y="309364"/>
                  </a:lnTo>
                  <a:close/>
                  <a:moveTo>
                    <a:pt x="2060475" y="8308"/>
                  </a:moveTo>
                  <a:lnTo>
                    <a:pt x="2062430" y="3910"/>
                  </a:lnTo>
                  <a:lnTo>
                    <a:pt x="2065525" y="3584"/>
                  </a:lnTo>
                  <a:lnTo>
                    <a:pt x="2067969" y="7983"/>
                  </a:lnTo>
                  <a:lnTo>
                    <a:pt x="2063407" y="9775"/>
                  </a:lnTo>
                  <a:lnTo>
                    <a:pt x="2060475" y="8308"/>
                  </a:lnTo>
                  <a:lnTo>
                    <a:pt x="2060475" y="8308"/>
                  </a:lnTo>
                  <a:close/>
                  <a:moveTo>
                    <a:pt x="1875410" y="369478"/>
                  </a:moveTo>
                  <a:lnTo>
                    <a:pt x="1873455" y="371433"/>
                  </a:lnTo>
                  <a:lnTo>
                    <a:pt x="1875736" y="374365"/>
                  </a:lnTo>
                  <a:lnTo>
                    <a:pt x="1880786" y="374365"/>
                  </a:lnTo>
                  <a:cubicBezTo>
                    <a:pt x="1880786" y="374365"/>
                    <a:pt x="1880949" y="370781"/>
                    <a:pt x="1880949" y="370781"/>
                  </a:cubicBezTo>
                  <a:lnTo>
                    <a:pt x="1877691" y="368989"/>
                  </a:lnTo>
                  <a:cubicBezTo>
                    <a:pt x="1877691" y="368989"/>
                    <a:pt x="1875410" y="369478"/>
                    <a:pt x="1875410" y="369315"/>
                  </a:cubicBezTo>
                  <a:lnTo>
                    <a:pt x="1875410" y="369315"/>
                  </a:lnTo>
                  <a:close/>
                  <a:moveTo>
                    <a:pt x="1783529" y="425845"/>
                  </a:moveTo>
                  <a:lnTo>
                    <a:pt x="1785484" y="428940"/>
                  </a:lnTo>
                  <a:lnTo>
                    <a:pt x="1790046" y="428940"/>
                  </a:lnTo>
                  <a:cubicBezTo>
                    <a:pt x="1790046" y="428940"/>
                    <a:pt x="1787439" y="424541"/>
                    <a:pt x="1787439" y="424541"/>
                  </a:cubicBezTo>
                  <a:lnTo>
                    <a:pt x="1783367" y="425845"/>
                  </a:lnTo>
                  <a:lnTo>
                    <a:pt x="1783367" y="425845"/>
                  </a:lnTo>
                  <a:close/>
                  <a:moveTo>
                    <a:pt x="1653691" y="423564"/>
                  </a:moveTo>
                  <a:lnTo>
                    <a:pt x="1651410" y="417373"/>
                  </a:lnTo>
                  <a:lnTo>
                    <a:pt x="1651410" y="414278"/>
                  </a:lnTo>
                  <a:cubicBezTo>
                    <a:pt x="1651410" y="414278"/>
                    <a:pt x="1654505" y="414115"/>
                    <a:pt x="1654505" y="414115"/>
                  </a:cubicBezTo>
                  <a:lnTo>
                    <a:pt x="1656786" y="417047"/>
                  </a:lnTo>
                  <a:lnTo>
                    <a:pt x="1656786" y="421609"/>
                  </a:lnTo>
                  <a:lnTo>
                    <a:pt x="1655157" y="423401"/>
                  </a:lnTo>
                  <a:lnTo>
                    <a:pt x="1653528" y="423401"/>
                  </a:lnTo>
                  <a:close/>
                  <a:moveTo>
                    <a:pt x="1617362" y="500457"/>
                  </a:moveTo>
                  <a:lnTo>
                    <a:pt x="1616385" y="497850"/>
                  </a:lnTo>
                  <a:lnTo>
                    <a:pt x="1616385" y="493615"/>
                  </a:lnTo>
                  <a:cubicBezTo>
                    <a:pt x="1616385" y="493615"/>
                    <a:pt x="1614593" y="487261"/>
                    <a:pt x="1614593" y="487261"/>
                  </a:cubicBezTo>
                  <a:lnTo>
                    <a:pt x="1613289" y="485795"/>
                  </a:lnTo>
                  <a:lnTo>
                    <a:pt x="1611660" y="487424"/>
                  </a:lnTo>
                  <a:lnTo>
                    <a:pt x="1609705" y="493452"/>
                  </a:lnTo>
                  <a:lnTo>
                    <a:pt x="1611009" y="501760"/>
                  </a:lnTo>
                  <a:lnTo>
                    <a:pt x="1614430" y="507625"/>
                  </a:lnTo>
                  <a:lnTo>
                    <a:pt x="1613127" y="511372"/>
                  </a:lnTo>
                  <a:lnTo>
                    <a:pt x="1610846" y="511698"/>
                  </a:lnTo>
                  <a:lnTo>
                    <a:pt x="1607099" y="510069"/>
                  </a:lnTo>
                  <a:lnTo>
                    <a:pt x="1597650" y="509743"/>
                  </a:lnTo>
                  <a:lnTo>
                    <a:pt x="1597161" y="505833"/>
                  </a:lnTo>
                  <a:lnTo>
                    <a:pt x="1594881" y="505344"/>
                  </a:lnTo>
                  <a:lnTo>
                    <a:pt x="1587550" y="500457"/>
                  </a:lnTo>
                  <a:lnTo>
                    <a:pt x="1584292" y="500457"/>
                  </a:lnTo>
                  <a:cubicBezTo>
                    <a:pt x="1584292" y="500457"/>
                    <a:pt x="1583314" y="498828"/>
                    <a:pt x="1583314" y="498828"/>
                  </a:cubicBezTo>
                  <a:lnTo>
                    <a:pt x="1581359" y="497199"/>
                  </a:lnTo>
                  <a:lnTo>
                    <a:pt x="1578753" y="497199"/>
                  </a:lnTo>
                  <a:cubicBezTo>
                    <a:pt x="1578753" y="497199"/>
                    <a:pt x="1578264" y="494592"/>
                    <a:pt x="1578264" y="494592"/>
                  </a:cubicBezTo>
                  <a:lnTo>
                    <a:pt x="1580870" y="490519"/>
                  </a:lnTo>
                  <a:lnTo>
                    <a:pt x="1582988" y="490194"/>
                  </a:lnTo>
                  <a:lnTo>
                    <a:pt x="1585432" y="485958"/>
                  </a:lnTo>
                  <a:lnTo>
                    <a:pt x="1585106" y="482374"/>
                  </a:lnTo>
                  <a:lnTo>
                    <a:pt x="1581522" y="475695"/>
                  </a:lnTo>
                  <a:lnTo>
                    <a:pt x="1579567" y="474066"/>
                  </a:lnTo>
                  <a:lnTo>
                    <a:pt x="1579567" y="477813"/>
                  </a:lnTo>
                  <a:cubicBezTo>
                    <a:pt x="1579567" y="477813"/>
                    <a:pt x="1581848" y="479930"/>
                    <a:pt x="1581848" y="479930"/>
                  </a:cubicBezTo>
                  <a:lnTo>
                    <a:pt x="1582174" y="483840"/>
                  </a:lnTo>
                  <a:lnTo>
                    <a:pt x="1580545" y="486610"/>
                  </a:lnTo>
                  <a:lnTo>
                    <a:pt x="1576635" y="486610"/>
                  </a:lnTo>
                  <a:cubicBezTo>
                    <a:pt x="1576635" y="486610"/>
                    <a:pt x="1575169" y="488076"/>
                    <a:pt x="1575169" y="488076"/>
                  </a:cubicBezTo>
                  <a:lnTo>
                    <a:pt x="1575820" y="489053"/>
                  </a:lnTo>
                  <a:lnTo>
                    <a:pt x="1576309" y="492311"/>
                  </a:lnTo>
                  <a:lnTo>
                    <a:pt x="1573377" y="495570"/>
                  </a:lnTo>
                  <a:lnTo>
                    <a:pt x="1570933" y="495081"/>
                  </a:lnTo>
                  <a:lnTo>
                    <a:pt x="1567675" y="489868"/>
                  </a:lnTo>
                  <a:lnTo>
                    <a:pt x="1567675" y="486773"/>
                  </a:lnTo>
                  <a:cubicBezTo>
                    <a:pt x="1567675" y="486773"/>
                    <a:pt x="1566697" y="483677"/>
                    <a:pt x="1566697" y="483677"/>
                  </a:cubicBezTo>
                  <a:lnTo>
                    <a:pt x="1569304" y="477650"/>
                  </a:lnTo>
                  <a:lnTo>
                    <a:pt x="1568489" y="475369"/>
                  </a:lnTo>
                  <a:lnTo>
                    <a:pt x="1568815" y="472111"/>
                  </a:lnTo>
                  <a:lnTo>
                    <a:pt x="1566371" y="474554"/>
                  </a:lnTo>
                  <a:lnTo>
                    <a:pt x="1565068" y="478790"/>
                  </a:lnTo>
                  <a:lnTo>
                    <a:pt x="1562625" y="483026"/>
                  </a:lnTo>
                  <a:lnTo>
                    <a:pt x="1563113" y="484981"/>
                  </a:lnTo>
                  <a:lnTo>
                    <a:pt x="1562462" y="489053"/>
                  </a:lnTo>
                  <a:lnTo>
                    <a:pt x="1557411" y="488727"/>
                  </a:lnTo>
                  <a:lnTo>
                    <a:pt x="1554316" y="486121"/>
                  </a:lnTo>
                  <a:lnTo>
                    <a:pt x="1551384" y="486121"/>
                  </a:lnTo>
                  <a:cubicBezTo>
                    <a:pt x="1551384" y="486121"/>
                    <a:pt x="1550081" y="483677"/>
                    <a:pt x="1550081" y="483677"/>
                  </a:cubicBezTo>
                  <a:lnTo>
                    <a:pt x="1552198" y="479442"/>
                  </a:lnTo>
                  <a:lnTo>
                    <a:pt x="1552850" y="473577"/>
                  </a:lnTo>
                  <a:lnTo>
                    <a:pt x="1554316" y="471785"/>
                  </a:lnTo>
                  <a:lnTo>
                    <a:pt x="1554316" y="467223"/>
                  </a:lnTo>
                  <a:cubicBezTo>
                    <a:pt x="1554316" y="467223"/>
                    <a:pt x="1559692" y="457286"/>
                    <a:pt x="1559692" y="457286"/>
                  </a:cubicBezTo>
                  <a:lnTo>
                    <a:pt x="1556434" y="459241"/>
                  </a:lnTo>
                  <a:lnTo>
                    <a:pt x="1552850" y="460707"/>
                  </a:lnTo>
                  <a:lnTo>
                    <a:pt x="1550569" y="470645"/>
                  </a:lnTo>
                  <a:lnTo>
                    <a:pt x="1550244" y="477487"/>
                  </a:lnTo>
                  <a:lnTo>
                    <a:pt x="1546822" y="481397"/>
                  </a:lnTo>
                  <a:lnTo>
                    <a:pt x="1545030" y="479930"/>
                  </a:lnTo>
                  <a:lnTo>
                    <a:pt x="1547637" y="475369"/>
                  </a:lnTo>
                  <a:lnTo>
                    <a:pt x="1547963" y="474066"/>
                  </a:lnTo>
                  <a:lnTo>
                    <a:pt x="1546497" y="473740"/>
                  </a:lnTo>
                  <a:lnTo>
                    <a:pt x="1543564" y="480419"/>
                  </a:lnTo>
                  <a:lnTo>
                    <a:pt x="1537862" y="480419"/>
                  </a:lnTo>
                  <a:lnTo>
                    <a:pt x="1536559" y="477324"/>
                  </a:lnTo>
                  <a:lnTo>
                    <a:pt x="1536559" y="471133"/>
                  </a:lnTo>
                  <a:cubicBezTo>
                    <a:pt x="1536559" y="471133"/>
                    <a:pt x="1535419" y="468364"/>
                    <a:pt x="1535419" y="468364"/>
                  </a:cubicBezTo>
                  <a:lnTo>
                    <a:pt x="1536396" y="464780"/>
                  </a:lnTo>
                  <a:lnTo>
                    <a:pt x="1542098" y="461196"/>
                  </a:lnTo>
                  <a:lnTo>
                    <a:pt x="1543401" y="457612"/>
                  </a:lnTo>
                  <a:lnTo>
                    <a:pt x="1542912" y="455168"/>
                  </a:lnTo>
                  <a:lnTo>
                    <a:pt x="1544542" y="451095"/>
                  </a:lnTo>
                  <a:lnTo>
                    <a:pt x="1548289" y="447511"/>
                  </a:lnTo>
                  <a:lnTo>
                    <a:pt x="1551873" y="446697"/>
                  </a:lnTo>
                  <a:lnTo>
                    <a:pt x="1554316" y="444742"/>
                  </a:lnTo>
                  <a:lnTo>
                    <a:pt x="1561484" y="444253"/>
                  </a:lnTo>
                  <a:lnTo>
                    <a:pt x="1564091" y="440669"/>
                  </a:lnTo>
                  <a:lnTo>
                    <a:pt x="1568652" y="439040"/>
                  </a:lnTo>
                  <a:lnTo>
                    <a:pt x="1571910" y="438063"/>
                  </a:lnTo>
                  <a:lnTo>
                    <a:pt x="1571910" y="435130"/>
                  </a:lnTo>
                  <a:cubicBezTo>
                    <a:pt x="1571910" y="435130"/>
                    <a:pt x="1574191" y="433013"/>
                    <a:pt x="1574191" y="433013"/>
                  </a:cubicBezTo>
                  <a:lnTo>
                    <a:pt x="1578590" y="433013"/>
                  </a:lnTo>
                  <a:cubicBezTo>
                    <a:pt x="1578590" y="433013"/>
                    <a:pt x="1585269" y="435619"/>
                    <a:pt x="1585269" y="435619"/>
                  </a:cubicBezTo>
                  <a:lnTo>
                    <a:pt x="1593252" y="435945"/>
                  </a:lnTo>
                  <a:lnTo>
                    <a:pt x="1596510" y="433827"/>
                  </a:lnTo>
                  <a:lnTo>
                    <a:pt x="1600419" y="434967"/>
                  </a:lnTo>
                  <a:lnTo>
                    <a:pt x="1602374" y="439855"/>
                  </a:lnTo>
                  <a:lnTo>
                    <a:pt x="1606121" y="439855"/>
                  </a:lnTo>
                  <a:cubicBezTo>
                    <a:pt x="1606121" y="439855"/>
                    <a:pt x="1606610" y="436759"/>
                    <a:pt x="1606610" y="436759"/>
                  </a:cubicBezTo>
                  <a:lnTo>
                    <a:pt x="1609705" y="436434"/>
                  </a:lnTo>
                  <a:lnTo>
                    <a:pt x="1614593" y="440343"/>
                  </a:lnTo>
                  <a:lnTo>
                    <a:pt x="1616710" y="439203"/>
                  </a:lnTo>
                  <a:lnTo>
                    <a:pt x="1621272" y="439692"/>
                  </a:lnTo>
                  <a:lnTo>
                    <a:pt x="1623390" y="437411"/>
                  </a:lnTo>
                  <a:lnTo>
                    <a:pt x="1621435" y="435619"/>
                  </a:lnTo>
                  <a:lnTo>
                    <a:pt x="1617688" y="436434"/>
                  </a:lnTo>
                  <a:lnTo>
                    <a:pt x="1614593" y="433338"/>
                  </a:lnTo>
                  <a:lnTo>
                    <a:pt x="1611986" y="433013"/>
                  </a:lnTo>
                  <a:lnTo>
                    <a:pt x="1612475" y="431221"/>
                  </a:lnTo>
                  <a:lnTo>
                    <a:pt x="1615733" y="428940"/>
                  </a:lnTo>
                  <a:lnTo>
                    <a:pt x="1616059" y="426333"/>
                  </a:lnTo>
                  <a:lnTo>
                    <a:pt x="1612149" y="424704"/>
                  </a:lnTo>
                  <a:lnTo>
                    <a:pt x="1612963" y="423401"/>
                  </a:lnTo>
                  <a:lnTo>
                    <a:pt x="1618014" y="423401"/>
                  </a:lnTo>
                  <a:cubicBezTo>
                    <a:pt x="1618014" y="423401"/>
                    <a:pt x="1619154" y="422098"/>
                    <a:pt x="1619154" y="422098"/>
                  </a:cubicBezTo>
                  <a:lnTo>
                    <a:pt x="1613778" y="420143"/>
                  </a:lnTo>
                  <a:lnTo>
                    <a:pt x="1612638" y="421772"/>
                  </a:lnTo>
                  <a:lnTo>
                    <a:pt x="1609217" y="422261"/>
                  </a:lnTo>
                  <a:lnTo>
                    <a:pt x="1606284" y="417862"/>
                  </a:lnTo>
                  <a:lnTo>
                    <a:pt x="1607262" y="414930"/>
                  </a:lnTo>
                  <a:lnTo>
                    <a:pt x="1611660" y="411509"/>
                  </a:lnTo>
                  <a:lnTo>
                    <a:pt x="1611660" y="408739"/>
                  </a:lnTo>
                  <a:cubicBezTo>
                    <a:pt x="1611660" y="408739"/>
                    <a:pt x="1609705" y="408576"/>
                    <a:pt x="1609705" y="408576"/>
                  </a:cubicBezTo>
                  <a:lnTo>
                    <a:pt x="1607913" y="404829"/>
                  </a:lnTo>
                  <a:lnTo>
                    <a:pt x="1607913" y="396195"/>
                  </a:lnTo>
                  <a:cubicBezTo>
                    <a:pt x="1607913" y="396195"/>
                    <a:pt x="1609543" y="394403"/>
                    <a:pt x="1609543" y="394403"/>
                  </a:cubicBezTo>
                  <a:lnTo>
                    <a:pt x="1608402" y="390005"/>
                  </a:lnTo>
                  <a:lnTo>
                    <a:pt x="1608891" y="385606"/>
                  </a:lnTo>
                  <a:lnTo>
                    <a:pt x="1612801" y="385117"/>
                  </a:lnTo>
                  <a:lnTo>
                    <a:pt x="1617199" y="383651"/>
                  </a:lnTo>
                  <a:lnTo>
                    <a:pt x="1622738" y="383651"/>
                  </a:lnTo>
                  <a:cubicBezTo>
                    <a:pt x="1622738" y="383651"/>
                    <a:pt x="1626159" y="383162"/>
                    <a:pt x="1626159" y="383162"/>
                  </a:cubicBezTo>
                  <a:lnTo>
                    <a:pt x="1631372" y="384954"/>
                  </a:lnTo>
                  <a:lnTo>
                    <a:pt x="1635608" y="384954"/>
                  </a:lnTo>
                  <a:lnTo>
                    <a:pt x="1640658" y="391471"/>
                  </a:lnTo>
                  <a:lnTo>
                    <a:pt x="1643102" y="401571"/>
                  </a:lnTo>
                  <a:lnTo>
                    <a:pt x="1643102" y="415907"/>
                  </a:lnTo>
                  <a:cubicBezTo>
                    <a:pt x="1643102" y="415907"/>
                    <a:pt x="1641310" y="422586"/>
                    <a:pt x="1641310" y="422586"/>
                  </a:cubicBezTo>
                  <a:lnTo>
                    <a:pt x="1643590" y="424867"/>
                  </a:lnTo>
                  <a:lnTo>
                    <a:pt x="1646686" y="423238"/>
                  </a:lnTo>
                  <a:lnTo>
                    <a:pt x="1655971" y="428288"/>
                  </a:lnTo>
                  <a:lnTo>
                    <a:pt x="1659230" y="434316"/>
                  </a:lnTo>
                  <a:lnTo>
                    <a:pt x="1662325" y="435293"/>
                  </a:lnTo>
                  <a:lnTo>
                    <a:pt x="1662325" y="432035"/>
                  </a:lnTo>
                  <a:lnTo>
                    <a:pt x="1672751" y="432035"/>
                  </a:lnTo>
                  <a:cubicBezTo>
                    <a:pt x="1672751" y="432035"/>
                    <a:pt x="1679430" y="437900"/>
                    <a:pt x="1679430" y="437900"/>
                  </a:cubicBezTo>
                  <a:lnTo>
                    <a:pt x="1681874" y="435945"/>
                  </a:lnTo>
                  <a:lnTo>
                    <a:pt x="1678942" y="433013"/>
                  </a:lnTo>
                  <a:lnTo>
                    <a:pt x="1682852" y="429754"/>
                  </a:lnTo>
                  <a:lnTo>
                    <a:pt x="1690345" y="426333"/>
                  </a:lnTo>
                  <a:lnTo>
                    <a:pt x="1695559" y="419002"/>
                  </a:lnTo>
                  <a:lnTo>
                    <a:pt x="1705170" y="413138"/>
                  </a:lnTo>
                  <a:lnTo>
                    <a:pt x="1713641" y="404178"/>
                  </a:lnTo>
                  <a:lnTo>
                    <a:pt x="1713967" y="399453"/>
                  </a:lnTo>
                  <a:lnTo>
                    <a:pt x="1717388" y="396521"/>
                  </a:lnTo>
                  <a:lnTo>
                    <a:pt x="1713641" y="396521"/>
                  </a:lnTo>
                  <a:cubicBezTo>
                    <a:pt x="1713641" y="396521"/>
                    <a:pt x="1710546" y="399453"/>
                    <a:pt x="1710546" y="399453"/>
                  </a:cubicBezTo>
                  <a:lnTo>
                    <a:pt x="1710220" y="403526"/>
                  </a:lnTo>
                  <a:lnTo>
                    <a:pt x="1701912" y="412160"/>
                  </a:lnTo>
                  <a:lnTo>
                    <a:pt x="1696210" y="415418"/>
                  </a:lnTo>
                  <a:lnTo>
                    <a:pt x="1696210" y="417047"/>
                  </a:lnTo>
                  <a:lnTo>
                    <a:pt x="1688716" y="423564"/>
                  </a:lnTo>
                  <a:lnTo>
                    <a:pt x="1680082" y="426822"/>
                  </a:lnTo>
                  <a:lnTo>
                    <a:pt x="1677150" y="424704"/>
                  </a:lnTo>
                  <a:lnTo>
                    <a:pt x="1674217" y="424704"/>
                  </a:lnTo>
                  <a:cubicBezTo>
                    <a:pt x="1674217" y="424704"/>
                    <a:pt x="1673566" y="426007"/>
                    <a:pt x="1673566" y="426007"/>
                  </a:cubicBezTo>
                  <a:lnTo>
                    <a:pt x="1667701" y="426007"/>
                  </a:lnTo>
                  <a:lnTo>
                    <a:pt x="1661022" y="422098"/>
                  </a:lnTo>
                  <a:lnTo>
                    <a:pt x="1661510" y="419002"/>
                  </a:lnTo>
                  <a:lnTo>
                    <a:pt x="1665420" y="415581"/>
                  </a:lnTo>
                  <a:lnTo>
                    <a:pt x="1670145" y="412486"/>
                  </a:lnTo>
                  <a:lnTo>
                    <a:pt x="1670633" y="407925"/>
                  </a:lnTo>
                  <a:lnTo>
                    <a:pt x="1665094" y="412160"/>
                  </a:lnTo>
                  <a:lnTo>
                    <a:pt x="1663140" y="415418"/>
                  </a:lnTo>
                  <a:lnTo>
                    <a:pt x="1659067" y="415418"/>
                  </a:lnTo>
                  <a:cubicBezTo>
                    <a:pt x="1659067" y="415418"/>
                    <a:pt x="1655971" y="409065"/>
                    <a:pt x="1655971" y="409065"/>
                  </a:cubicBezTo>
                  <a:lnTo>
                    <a:pt x="1655971" y="406784"/>
                  </a:lnTo>
                  <a:lnTo>
                    <a:pt x="1659067" y="406295"/>
                  </a:lnTo>
                  <a:lnTo>
                    <a:pt x="1663465" y="404178"/>
                  </a:lnTo>
                  <a:lnTo>
                    <a:pt x="1663954" y="402386"/>
                  </a:lnTo>
                  <a:lnTo>
                    <a:pt x="1659556" y="402386"/>
                  </a:lnTo>
                  <a:lnTo>
                    <a:pt x="1659556" y="399942"/>
                  </a:lnTo>
                  <a:lnTo>
                    <a:pt x="1662162" y="397987"/>
                  </a:lnTo>
                  <a:lnTo>
                    <a:pt x="1665909" y="399453"/>
                  </a:lnTo>
                  <a:lnTo>
                    <a:pt x="1669493" y="399127"/>
                  </a:lnTo>
                  <a:lnTo>
                    <a:pt x="1669982" y="396195"/>
                  </a:lnTo>
                  <a:lnTo>
                    <a:pt x="1665746" y="396195"/>
                  </a:lnTo>
                  <a:lnTo>
                    <a:pt x="1662814" y="394403"/>
                  </a:lnTo>
                  <a:lnTo>
                    <a:pt x="1660859" y="397010"/>
                  </a:lnTo>
                  <a:lnTo>
                    <a:pt x="1656949" y="396684"/>
                  </a:lnTo>
                  <a:lnTo>
                    <a:pt x="1654994" y="392937"/>
                  </a:lnTo>
                  <a:lnTo>
                    <a:pt x="1656623" y="390167"/>
                  </a:lnTo>
                  <a:lnTo>
                    <a:pt x="1660859" y="389190"/>
                  </a:lnTo>
                  <a:lnTo>
                    <a:pt x="1664117" y="386909"/>
                  </a:lnTo>
                  <a:lnTo>
                    <a:pt x="1669330" y="387235"/>
                  </a:lnTo>
                  <a:lnTo>
                    <a:pt x="1674543" y="389190"/>
                  </a:lnTo>
                  <a:lnTo>
                    <a:pt x="1678453" y="386746"/>
                  </a:lnTo>
                  <a:lnTo>
                    <a:pt x="1672751" y="386746"/>
                  </a:lnTo>
                  <a:lnTo>
                    <a:pt x="1671774" y="383977"/>
                  </a:lnTo>
                  <a:lnTo>
                    <a:pt x="1676172" y="379415"/>
                  </a:lnTo>
                  <a:lnTo>
                    <a:pt x="1679919" y="379415"/>
                  </a:lnTo>
                  <a:cubicBezTo>
                    <a:pt x="1679919" y="379415"/>
                    <a:pt x="1681548" y="376972"/>
                    <a:pt x="1681548" y="376972"/>
                  </a:cubicBezTo>
                  <a:lnTo>
                    <a:pt x="1677638" y="376972"/>
                  </a:lnTo>
                  <a:lnTo>
                    <a:pt x="1677638" y="374365"/>
                  </a:lnTo>
                  <a:cubicBezTo>
                    <a:pt x="1677638" y="374365"/>
                    <a:pt x="1680571" y="369641"/>
                    <a:pt x="1680571" y="369641"/>
                  </a:cubicBezTo>
                  <a:lnTo>
                    <a:pt x="1684969" y="368826"/>
                  </a:lnTo>
                  <a:lnTo>
                    <a:pt x="1683014" y="364754"/>
                  </a:lnTo>
                  <a:lnTo>
                    <a:pt x="1689205" y="355305"/>
                  </a:lnTo>
                  <a:lnTo>
                    <a:pt x="1693441" y="352698"/>
                  </a:lnTo>
                  <a:lnTo>
                    <a:pt x="1694581" y="349440"/>
                  </a:lnTo>
                  <a:lnTo>
                    <a:pt x="1690183" y="350255"/>
                  </a:lnTo>
                  <a:lnTo>
                    <a:pt x="1683177" y="358889"/>
                  </a:lnTo>
                  <a:lnTo>
                    <a:pt x="1677638" y="369315"/>
                  </a:lnTo>
                  <a:lnTo>
                    <a:pt x="1670145" y="375343"/>
                  </a:lnTo>
                  <a:lnTo>
                    <a:pt x="1664117" y="381533"/>
                  </a:lnTo>
                  <a:lnTo>
                    <a:pt x="1660044" y="380230"/>
                  </a:lnTo>
                  <a:lnTo>
                    <a:pt x="1652551" y="380230"/>
                  </a:lnTo>
                  <a:cubicBezTo>
                    <a:pt x="1652551" y="380230"/>
                    <a:pt x="1652387" y="377135"/>
                    <a:pt x="1652387" y="377135"/>
                  </a:cubicBezTo>
                  <a:lnTo>
                    <a:pt x="1656297" y="371596"/>
                  </a:lnTo>
                  <a:lnTo>
                    <a:pt x="1661673" y="369152"/>
                  </a:lnTo>
                  <a:lnTo>
                    <a:pt x="1661673" y="364102"/>
                  </a:lnTo>
                  <a:lnTo>
                    <a:pt x="1654179" y="369641"/>
                  </a:lnTo>
                  <a:lnTo>
                    <a:pt x="1647500" y="368826"/>
                  </a:lnTo>
                  <a:lnTo>
                    <a:pt x="1647500" y="372573"/>
                  </a:lnTo>
                  <a:cubicBezTo>
                    <a:pt x="1647500" y="372573"/>
                    <a:pt x="1643427" y="375506"/>
                    <a:pt x="1643427" y="375506"/>
                  </a:cubicBezTo>
                  <a:lnTo>
                    <a:pt x="1636585" y="375017"/>
                  </a:lnTo>
                  <a:lnTo>
                    <a:pt x="1630069" y="369152"/>
                  </a:lnTo>
                  <a:lnTo>
                    <a:pt x="1633327" y="366546"/>
                  </a:lnTo>
                  <a:lnTo>
                    <a:pt x="1637889" y="366057"/>
                  </a:lnTo>
                  <a:lnTo>
                    <a:pt x="1636260" y="363450"/>
                  </a:lnTo>
                  <a:lnTo>
                    <a:pt x="1633327" y="363450"/>
                  </a:lnTo>
                  <a:cubicBezTo>
                    <a:pt x="1633327" y="363450"/>
                    <a:pt x="1634305" y="357748"/>
                    <a:pt x="1634305" y="357748"/>
                  </a:cubicBezTo>
                  <a:lnTo>
                    <a:pt x="1640332" y="352698"/>
                  </a:lnTo>
                  <a:lnTo>
                    <a:pt x="1641147" y="348788"/>
                  </a:lnTo>
                  <a:lnTo>
                    <a:pt x="1646686" y="346508"/>
                  </a:lnTo>
                  <a:lnTo>
                    <a:pt x="1651247" y="343250"/>
                  </a:lnTo>
                  <a:lnTo>
                    <a:pt x="1656460" y="342435"/>
                  </a:lnTo>
                  <a:lnTo>
                    <a:pt x="1656786" y="336407"/>
                  </a:lnTo>
                  <a:lnTo>
                    <a:pt x="1660370" y="329728"/>
                  </a:lnTo>
                  <a:lnTo>
                    <a:pt x="1667375" y="321257"/>
                  </a:lnTo>
                  <a:lnTo>
                    <a:pt x="1671448" y="322723"/>
                  </a:lnTo>
                  <a:lnTo>
                    <a:pt x="1681385" y="320442"/>
                  </a:lnTo>
                  <a:lnTo>
                    <a:pt x="1688716" y="322234"/>
                  </a:lnTo>
                  <a:lnTo>
                    <a:pt x="1692626" y="319954"/>
                  </a:lnTo>
                  <a:lnTo>
                    <a:pt x="1696699" y="319954"/>
                  </a:lnTo>
                  <a:cubicBezTo>
                    <a:pt x="1696699" y="319954"/>
                    <a:pt x="1701912" y="316695"/>
                    <a:pt x="1701912" y="316695"/>
                  </a:cubicBezTo>
                  <a:lnTo>
                    <a:pt x="1705822" y="316207"/>
                  </a:lnTo>
                  <a:lnTo>
                    <a:pt x="1706636" y="317999"/>
                  </a:lnTo>
                  <a:lnTo>
                    <a:pt x="1712827" y="324678"/>
                  </a:lnTo>
                  <a:lnTo>
                    <a:pt x="1716085" y="324678"/>
                  </a:lnTo>
                  <a:cubicBezTo>
                    <a:pt x="1716085" y="324678"/>
                    <a:pt x="1727326" y="332498"/>
                    <a:pt x="1727326" y="332498"/>
                  </a:cubicBezTo>
                  <a:lnTo>
                    <a:pt x="1729118" y="336570"/>
                  </a:lnTo>
                  <a:lnTo>
                    <a:pt x="1732050" y="340806"/>
                  </a:lnTo>
                  <a:lnTo>
                    <a:pt x="1734983" y="340806"/>
                  </a:lnTo>
                  <a:cubicBezTo>
                    <a:pt x="1734983" y="340806"/>
                    <a:pt x="1741825" y="351069"/>
                    <a:pt x="1741825" y="351069"/>
                  </a:cubicBezTo>
                  <a:lnTo>
                    <a:pt x="1741825" y="343738"/>
                  </a:lnTo>
                  <a:cubicBezTo>
                    <a:pt x="1741825" y="343738"/>
                    <a:pt x="1746549" y="343412"/>
                    <a:pt x="1746549" y="343412"/>
                  </a:cubicBezTo>
                  <a:lnTo>
                    <a:pt x="1745572" y="340154"/>
                  </a:lnTo>
                  <a:lnTo>
                    <a:pt x="1739544" y="339666"/>
                  </a:lnTo>
                  <a:lnTo>
                    <a:pt x="1737100" y="338688"/>
                  </a:lnTo>
                  <a:lnTo>
                    <a:pt x="1737100" y="334452"/>
                  </a:lnTo>
                  <a:cubicBezTo>
                    <a:pt x="1737100" y="334452"/>
                    <a:pt x="1741662" y="332823"/>
                    <a:pt x="1741662" y="332823"/>
                  </a:cubicBezTo>
                  <a:lnTo>
                    <a:pt x="1752414" y="332823"/>
                  </a:lnTo>
                  <a:lnTo>
                    <a:pt x="1757464" y="335430"/>
                  </a:lnTo>
                  <a:lnTo>
                    <a:pt x="1759093" y="333149"/>
                  </a:lnTo>
                  <a:lnTo>
                    <a:pt x="1759419" y="327284"/>
                  </a:lnTo>
                  <a:lnTo>
                    <a:pt x="1762026" y="322234"/>
                  </a:lnTo>
                  <a:lnTo>
                    <a:pt x="1761700" y="318813"/>
                  </a:lnTo>
                  <a:lnTo>
                    <a:pt x="1758767" y="320116"/>
                  </a:lnTo>
                  <a:lnTo>
                    <a:pt x="1757953" y="324189"/>
                  </a:lnTo>
                  <a:lnTo>
                    <a:pt x="1752740" y="327610"/>
                  </a:lnTo>
                  <a:lnTo>
                    <a:pt x="1748993" y="331031"/>
                  </a:lnTo>
                  <a:lnTo>
                    <a:pt x="1739381" y="327610"/>
                  </a:lnTo>
                  <a:lnTo>
                    <a:pt x="1731887" y="327610"/>
                  </a:lnTo>
                  <a:cubicBezTo>
                    <a:pt x="1731887" y="327610"/>
                    <a:pt x="1728792" y="323538"/>
                    <a:pt x="1728792" y="323538"/>
                  </a:cubicBezTo>
                  <a:lnTo>
                    <a:pt x="1724882" y="321257"/>
                  </a:lnTo>
                  <a:lnTo>
                    <a:pt x="1717388" y="322234"/>
                  </a:lnTo>
                  <a:lnTo>
                    <a:pt x="1711361" y="310831"/>
                  </a:lnTo>
                  <a:lnTo>
                    <a:pt x="1711361" y="302196"/>
                  </a:lnTo>
                  <a:cubicBezTo>
                    <a:pt x="1711361" y="302196"/>
                    <a:pt x="1713967" y="299590"/>
                    <a:pt x="1713967" y="299590"/>
                  </a:cubicBezTo>
                  <a:lnTo>
                    <a:pt x="1719180" y="302359"/>
                  </a:lnTo>
                  <a:lnTo>
                    <a:pt x="1720321" y="307410"/>
                  </a:lnTo>
                  <a:lnTo>
                    <a:pt x="1722601" y="310831"/>
                  </a:lnTo>
                  <a:lnTo>
                    <a:pt x="1726022" y="304966"/>
                  </a:lnTo>
                  <a:lnTo>
                    <a:pt x="1727652" y="298124"/>
                  </a:lnTo>
                  <a:lnTo>
                    <a:pt x="1723905" y="299101"/>
                  </a:lnTo>
                  <a:lnTo>
                    <a:pt x="1722276" y="297635"/>
                  </a:lnTo>
                  <a:lnTo>
                    <a:pt x="1721950" y="292422"/>
                  </a:lnTo>
                  <a:lnTo>
                    <a:pt x="1726185" y="284276"/>
                  </a:lnTo>
                  <a:lnTo>
                    <a:pt x="1726185" y="277434"/>
                  </a:lnTo>
                  <a:cubicBezTo>
                    <a:pt x="1726185" y="277434"/>
                    <a:pt x="1729444" y="269778"/>
                    <a:pt x="1729444" y="269778"/>
                  </a:cubicBezTo>
                  <a:lnTo>
                    <a:pt x="1727977" y="256093"/>
                  </a:lnTo>
                  <a:lnTo>
                    <a:pt x="1725534" y="248925"/>
                  </a:lnTo>
                  <a:lnTo>
                    <a:pt x="1722764" y="246482"/>
                  </a:lnTo>
                  <a:lnTo>
                    <a:pt x="1720646" y="241268"/>
                  </a:lnTo>
                  <a:lnTo>
                    <a:pt x="1721624" y="237522"/>
                  </a:lnTo>
                  <a:lnTo>
                    <a:pt x="1724719" y="236381"/>
                  </a:lnTo>
                  <a:lnTo>
                    <a:pt x="1727326" y="235078"/>
                  </a:lnTo>
                  <a:lnTo>
                    <a:pt x="1730095" y="237847"/>
                  </a:lnTo>
                  <a:lnTo>
                    <a:pt x="1734005" y="238825"/>
                  </a:lnTo>
                  <a:lnTo>
                    <a:pt x="1736937" y="244527"/>
                  </a:lnTo>
                  <a:lnTo>
                    <a:pt x="1738729" y="243875"/>
                  </a:lnTo>
                  <a:lnTo>
                    <a:pt x="1738729" y="239802"/>
                  </a:lnTo>
                  <a:cubicBezTo>
                    <a:pt x="1738729" y="239802"/>
                    <a:pt x="1736123" y="233775"/>
                    <a:pt x="1736123" y="233775"/>
                  </a:cubicBezTo>
                  <a:lnTo>
                    <a:pt x="1730747" y="232146"/>
                  </a:lnTo>
                  <a:lnTo>
                    <a:pt x="1727652" y="229539"/>
                  </a:lnTo>
                  <a:lnTo>
                    <a:pt x="1727326" y="224978"/>
                  </a:lnTo>
                  <a:lnTo>
                    <a:pt x="1729118" y="219113"/>
                  </a:lnTo>
                  <a:lnTo>
                    <a:pt x="1744920" y="201844"/>
                  </a:lnTo>
                  <a:lnTo>
                    <a:pt x="1752088" y="200215"/>
                  </a:lnTo>
                  <a:lnTo>
                    <a:pt x="1756812" y="202170"/>
                  </a:lnTo>
                  <a:lnTo>
                    <a:pt x="1758604" y="206895"/>
                  </a:lnTo>
                  <a:lnTo>
                    <a:pt x="1764469" y="211456"/>
                  </a:lnTo>
                  <a:lnTo>
                    <a:pt x="1768868" y="211456"/>
                  </a:lnTo>
                  <a:lnTo>
                    <a:pt x="1779945" y="218787"/>
                  </a:lnTo>
                  <a:lnTo>
                    <a:pt x="1779945" y="224326"/>
                  </a:lnTo>
                  <a:lnTo>
                    <a:pt x="1785810" y="231168"/>
                  </a:lnTo>
                  <a:lnTo>
                    <a:pt x="1788580" y="243549"/>
                  </a:lnTo>
                  <a:lnTo>
                    <a:pt x="1787765" y="252509"/>
                  </a:lnTo>
                  <a:lnTo>
                    <a:pt x="1788905" y="261143"/>
                  </a:lnTo>
                  <a:lnTo>
                    <a:pt x="1792652" y="266194"/>
                  </a:lnTo>
                  <a:lnTo>
                    <a:pt x="1794281" y="263587"/>
                  </a:lnTo>
                  <a:lnTo>
                    <a:pt x="1796236" y="263261"/>
                  </a:lnTo>
                  <a:lnTo>
                    <a:pt x="1800961" y="267660"/>
                  </a:lnTo>
                  <a:lnTo>
                    <a:pt x="1801938" y="272221"/>
                  </a:lnTo>
                  <a:lnTo>
                    <a:pt x="1803241" y="268963"/>
                  </a:lnTo>
                  <a:lnTo>
                    <a:pt x="1806662" y="267008"/>
                  </a:lnTo>
                  <a:lnTo>
                    <a:pt x="1812201" y="267497"/>
                  </a:lnTo>
                  <a:lnTo>
                    <a:pt x="1808129" y="264890"/>
                  </a:lnTo>
                  <a:lnTo>
                    <a:pt x="1801938" y="263913"/>
                  </a:lnTo>
                  <a:lnTo>
                    <a:pt x="1798517" y="259351"/>
                  </a:lnTo>
                  <a:lnTo>
                    <a:pt x="1794770" y="256908"/>
                  </a:lnTo>
                  <a:lnTo>
                    <a:pt x="1794770" y="253975"/>
                  </a:lnTo>
                  <a:cubicBezTo>
                    <a:pt x="1794770" y="253975"/>
                    <a:pt x="1799494" y="248599"/>
                    <a:pt x="1799494" y="248599"/>
                  </a:cubicBezTo>
                  <a:lnTo>
                    <a:pt x="1799006" y="245341"/>
                  </a:lnTo>
                  <a:lnTo>
                    <a:pt x="1798517" y="227095"/>
                  </a:lnTo>
                  <a:lnTo>
                    <a:pt x="1796888" y="222045"/>
                  </a:lnTo>
                  <a:lnTo>
                    <a:pt x="1798517" y="216343"/>
                  </a:lnTo>
                  <a:lnTo>
                    <a:pt x="1808129" y="215855"/>
                  </a:lnTo>
                  <a:lnTo>
                    <a:pt x="1811387" y="218135"/>
                  </a:lnTo>
                  <a:lnTo>
                    <a:pt x="1818718" y="220090"/>
                  </a:lnTo>
                  <a:lnTo>
                    <a:pt x="1825886" y="220579"/>
                  </a:lnTo>
                  <a:lnTo>
                    <a:pt x="1834031" y="223511"/>
                  </a:lnTo>
                  <a:lnTo>
                    <a:pt x="1843806" y="223186"/>
                  </a:lnTo>
                  <a:lnTo>
                    <a:pt x="1851626" y="219439"/>
                  </a:lnTo>
                  <a:lnTo>
                    <a:pt x="1856350" y="220253"/>
                  </a:lnTo>
                  <a:lnTo>
                    <a:pt x="1861074" y="224163"/>
                  </a:lnTo>
                  <a:lnTo>
                    <a:pt x="1871175" y="225303"/>
                  </a:lnTo>
                  <a:lnTo>
                    <a:pt x="1875899" y="228399"/>
                  </a:lnTo>
                  <a:lnTo>
                    <a:pt x="1881275" y="226770"/>
                  </a:lnTo>
                  <a:lnTo>
                    <a:pt x="1881275" y="224163"/>
                  </a:lnTo>
                  <a:cubicBezTo>
                    <a:pt x="1881275" y="224163"/>
                    <a:pt x="1876713" y="221068"/>
                    <a:pt x="1876713" y="221068"/>
                  </a:cubicBezTo>
                  <a:lnTo>
                    <a:pt x="1869871" y="221068"/>
                  </a:lnTo>
                  <a:lnTo>
                    <a:pt x="1862052" y="219439"/>
                  </a:lnTo>
                  <a:lnTo>
                    <a:pt x="1860097" y="216506"/>
                  </a:lnTo>
                  <a:lnTo>
                    <a:pt x="1860911" y="214877"/>
                  </a:lnTo>
                  <a:lnTo>
                    <a:pt x="1864821" y="214877"/>
                  </a:lnTo>
                  <a:cubicBezTo>
                    <a:pt x="1864821" y="214877"/>
                    <a:pt x="1872152" y="211782"/>
                    <a:pt x="1872152" y="211782"/>
                  </a:cubicBezTo>
                  <a:lnTo>
                    <a:pt x="1889583" y="209990"/>
                  </a:lnTo>
                  <a:lnTo>
                    <a:pt x="1901313" y="209012"/>
                  </a:lnTo>
                  <a:lnTo>
                    <a:pt x="1910761" y="212271"/>
                  </a:lnTo>
                  <a:lnTo>
                    <a:pt x="1916463" y="216995"/>
                  </a:lnTo>
                  <a:lnTo>
                    <a:pt x="1920699" y="214714"/>
                  </a:lnTo>
                  <a:lnTo>
                    <a:pt x="1926889" y="213411"/>
                  </a:lnTo>
                  <a:lnTo>
                    <a:pt x="1923794" y="210316"/>
                  </a:lnTo>
                  <a:lnTo>
                    <a:pt x="1921025" y="210316"/>
                  </a:lnTo>
                  <a:cubicBezTo>
                    <a:pt x="1921025" y="210316"/>
                    <a:pt x="1916626" y="208361"/>
                    <a:pt x="1916626" y="208361"/>
                  </a:cubicBezTo>
                  <a:lnTo>
                    <a:pt x="1916626" y="205591"/>
                  </a:lnTo>
                  <a:cubicBezTo>
                    <a:pt x="1916626" y="205591"/>
                    <a:pt x="1911902" y="202659"/>
                    <a:pt x="1911902" y="202659"/>
                  </a:cubicBezTo>
                  <a:lnTo>
                    <a:pt x="1905711" y="202659"/>
                  </a:lnTo>
                  <a:cubicBezTo>
                    <a:pt x="1905711" y="202659"/>
                    <a:pt x="1902453" y="200215"/>
                    <a:pt x="1902453" y="200215"/>
                  </a:cubicBezTo>
                  <a:lnTo>
                    <a:pt x="1889258" y="201519"/>
                  </a:lnTo>
                  <a:lnTo>
                    <a:pt x="1889258" y="199564"/>
                  </a:lnTo>
                  <a:cubicBezTo>
                    <a:pt x="1889258" y="199564"/>
                    <a:pt x="1891701" y="197120"/>
                    <a:pt x="1891701" y="197120"/>
                  </a:cubicBezTo>
                  <a:lnTo>
                    <a:pt x="1894796" y="190278"/>
                  </a:lnTo>
                  <a:lnTo>
                    <a:pt x="1900498" y="189626"/>
                  </a:lnTo>
                  <a:lnTo>
                    <a:pt x="1905874" y="185065"/>
                  </a:lnTo>
                  <a:lnTo>
                    <a:pt x="1908481" y="178386"/>
                  </a:lnTo>
                  <a:lnTo>
                    <a:pt x="1922002" y="170240"/>
                  </a:lnTo>
                  <a:lnTo>
                    <a:pt x="1929496" y="169914"/>
                  </a:lnTo>
                  <a:lnTo>
                    <a:pt x="1941714" y="164050"/>
                  </a:lnTo>
                  <a:lnTo>
                    <a:pt x="1941714" y="160954"/>
                  </a:lnTo>
                  <a:cubicBezTo>
                    <a:pt x="1941714" y="160954"/>
                    <a:pt x="1927378" y="166819"/>
                    <a:pt x="1927378" y="166819"/>
                  </a:cubicBezTo>
                  <a:lnTo>
                    <a:pt x="1917767" y="167796"/>
                  </a:lnTo>
                  <a:lnTo>
                    <a:pt x="1904082" y="177897"/>
                  </a:lnTo>
                  <a:lnTo>
                    <a:pt x="1904082" y="183273"/>
                  </a:lnTo>
                  <a:lnTo>
                    <a:pt x="1901313" y="183273"/>
                  </a:lnTo>
                  <a:lnTo>
                    <a:pt x="1899521" y="178060"/>
                  </a:lnTo>
                  <a:lnTo>
                    <a:pt x="1897566" y="177734"/>
                  </a:lnTo>
                  <a:lnTo>
                    <a:pt x="1894308" y="182784"/>
                  </a:lnTo>
                  <a:lnTo>
                    <a:pt x="1889746" y="183273"/>
                  </a:lnTo>
                  <a:lnTo>
                    <a:pt x="1883067" y="191255"/>
                  </a:lnTo>
                  <a:lnTo>
                    <a:pt x="1885836" y="191255"/>
                  </a:lnTo>
                  <a:cubicBezTo>
                    <a:pt x="1885836" y="191255"/>
                    <a:pt x="1886814" y="193862"/>
                    <a:pt x="1886814" y="193862"/>
                  </a:cubicBezTo>
                  <a:lnTo>
                    <a:pt x="1877528" y="200867"/>
                  </a:lnTo>
                  <a:lnTo>
                    <a:pt x="1872152" y="201844"/>
                  </a:lnTo>
                  <a:lnTo>
                    <a:pt x="1853906" y="209175"/>
                  </a:lnTo>
                  <a:lnTo>
                    <a:pt x="1848367" y="210316"/>
                  </a:lnTo>
                  <a:lnTo>
                    <a:pt x="1843643" y="209338"/>
                  </a:lnTo>
                  <a:lnTo>
                    <a:pt x="1828655" y="209664"/>
                  </a:lnTo>
                  <a:lnTo>
                    <a:pt x="1821976" y="202985"/>
                  </a:lnTo>
                  <a:lnTo>
                    <a:pt x="1814808" y="203962"/>
                  </a:lnTo>
                  <a:lnTo>
                    <a:pt x="1810735" y="203148"/>
                  </a:lnTo>
                  <a:lnTo>
                    <a:pt x="1810246" y="198912"/>
                  </a:lnTo>
                  <a:lnTo>
                    <a:pt x="1817089" y="192722"/>
                  </a:lnTo>
                  <a:lnTo>
                    <a:pt x="1823768" y="192722"/>
                  </a:lnTo>
                  <a:cubicBezTo>
                    <a:pt x="1823768" y="192722"/>
                    <a:pt x="1828167" y="190767"/>
                    <a:pt x="1828167" y="190767"/>
                  </a:cubicBezTo>
                  <a:lnTo>
                    <a:pt x="1837452" y="189626"/>
                  </a:lnTo>
                  <a:lnTo>
                    <a:pt x="1841851" y="185228"/>
                  </a:lnTo>
                  <a:lnTo>
                    <a:pt x="1838104" y="184902"/>
                  </a:lnTo>
                  <a:lnTo>
                    <a:pt x="1831913" y="187346"/>
                  </a:lnTo>
                  <a:lnTo>
                    <a:pt x="1826211" y="186694"/>
                  </a:lnTo>
                  <a:lnTo>
                    <a:pt x="1819369" y="189463"/>
                  </a:lnTo>
                  <a:lnTo>
                    <a:pt x="1814645" y="188160"/>
                  </a:lnTo>
                  <a:lnTo>
                    <a:pt x="1814645" y="183924"/>
                  </a:lnTo>
                  <a:lnTo>
                    <a:pt x="1820673" y="180829"/>
                  </a:lnTo>
                  <a:lnTo>
                    <a:pt x="1816274" y="180340"/>
                  </a:lnTo>
                  <a:lnTo>
                    <a:pt x="1808129" y="182621"/>
                  </a:lnTo>
                  <a:lnTo>
                    <a:pt x="1807314" y="189952"/>
                  </a:lnTo>
                  <a:lnTo>
                    <a:pt x="1799983" y="197283"/>
                  </a:lnTo>
                  <a:lnTo>
                    <a:pt x="1792001" y="197609"/>
                  </a:lnTo>
                  <a:lnTo>
                    <a:pt x="1780923" y="194188"/>
                  </a:lnTo>
                  <a:lnTo>
                    <a:pt x="1771148" y="193862"/>
                  </a:lnTo>
                  <a:lnTo>
                    <a:pt x="1766750" y="188812"/>
                  </a:lnTo>
                  <a:lnTo>
                    <a:pt x="1766750" y="185716"/>
                  </a:lnTo>
                  <a:cubicBezTo>
                    <a:pt x="1766750" y="185716"/>
                    <a:pt x="1760885" y="185391"/>
                    <a:pt x="1760885" y="185391"/>
                  </a:cubicBezTo>
                  <a:lnTo>
                    <a:pt x="1755509" y="180992"/>
                  </a:lnTo>
                  <a:lnTo>
                    <a:pt x="1755998" y="178223"/>
                  </a:lnTo>
                  <a:lnTo>
                    <a:pt x="1760233" y="174639"/>
                  </a:lnTo>
                  <a:lnTo>
                    <a:pt x="1763818" y="168448"/>
                  </a:lnTo>
                  <a:lnTo>
                    <a:pt x="1771474" y="164050"/>
                  </a:lnTo>
                  <a:lnTo>
                    <a:pt x="1776036" y="158185"/>
                  </a:lnTo>
                  <a:lnTo>
                    <a:pt x="1783203" y="154275"/>
                  </a:lnTo>
                  <a:lnTo>
                    <a:pt x="1786136" y="151017"/>
                  </a:lnTo>
                  <a:lnTo>
                    <a:pt x="1791349" y="152483"/>
                  </a:lnTo>
                  <a:lnTo>
                    <a:pt x="1801612" y="153298"/>
                  </a:lnTo>
                  <a:lnTo>
                    <a:pt x="1804708" y="151668"/>
                  </a:lnTo>
                  <a:lnTo>
                    <a:pt x="1809758" y="151994"/>
                  </a:lnTo>
                  <a:lnTo>
                    <a:pt x="1819207" y="157370"/>
                  </a:lnTo>
                  <a:lnTo>
                    <a:pt x="1827841" y="157696"/>
                  </a:lnTo>
                  <a:lnTo>
                    <a:pt x="1832402" y="159325"/>
                  </a:lnTo>
                  <a:lnTo>
                    <a:pt x="1840548" y="158185"/>
                  </a:lnTo>
                  <a:lnTo>
                    <a:pt x="1841688" y="156719"/>
                  </a:lnTo>
                  <a:lnTo>
                    <a:pt x="1837941" y="154275"/>
                  </a:lnTo>
                  <a:lnTo>
                    <a:pt x="1828167" y="154927"/>
                  </a:lnTo>
                  <a:lnTo>
                    <a:pt x="1817415" y="152972"/>
                  </a:lnTo>
                  <a:lnTo>
                    <a:pt x="1810898" y="149062"/>
                  </a:lnTo>
                  <a:lnTo>
                    <a:pt x="1804219" y="149062"/>
                  </a:lnTo>
                  <a:cubicBezTo>
                    <a:pt x="1804219" y="149062"/>
                    <a:pt x="1794444" y="149876"/>
                    <a:pt x="1794444" y="149876"/>
                  </a:cubicBezTo>
                  <a:lnTo>
                    <a:pt x="1783529" y="147596"/>
                  </a:lnTo>
                  <a:lnTo>
                    <a:pt x="1780597" y="147596"/>
                  </a:lnTo>
                  <a:cubicBezTo>
                    <a:pt x="1780597" y="147596"/>
                    <a:pt x="1777991" y="150691"/>
                    <a:pt x="1777991" y="150691"/>
                  </a:cubicBezTo>
                  <a:lnTo>
                    <a:pt x="1772777" y="156393"/>
                  </a:lnTo>
                  <a:lnTo>
                    <a:pt x="1763980" y="161769"/>
                  </a:lnTo>
                  <a:lnTo>
                    <a:pt x="1754532" y="166167"/>
                  </a:lnTo>
                  <a:lnTo>
                    <a:pt x="1748667" y="173987"/>
                  </a:lnTo>
                  <a:lnTo>
                    <a:pt x="1746712" y="174964"/>
                  </a:lnTo>
                  <a:lnTo>
                    <a:pt x="1742476" y="173172"/>
                  </a:lnTo>
                  <a:lnTo>
                    <a:pt x="1735634" y="164050"/>
                  </a:lnTo>
                  <a:lnTo>
                    <a:pt x="1732539" y="163235"/>
                  </a:lnTo>
                  <a:lnTo>
                    <a:pt x="1729606" y="160628"/>
                  </a:lnTo>
                  <a:lnTo>
                    <a:pt x="1727652" y="154112"/>
                  </a:lnTo>
                  <a:lnTo>
                    <a:pt x="1727652" y="146781"/>
                  </a:lnTo>
                  <a:cubicBezTo>
                    <a:pt x="1727652" y="146781"/>
                    <a:pt x="1725045" y="143849"/>
                    <a:pt x="1725045" y="143849"/>
                  </a:cubicBezTo>
                  <a:lnTo>
                    <a:pt x="1724393" y="137170"/>
                  </a:lnTo>
                  <a:lnTo>
                    <a:pt x="1726348" y="135052"/>
                  </a:lnTo>
                  <a:lnTo>
                    <a:pt x="1731399" y="136192"/>
                  </a:lnTo>
                  <a:lnTo>
                    <a:pt x="1736611" y="135052"/>
                  </a:lnTo>
                  <a:lnTo>
                    <a:pt x="1739707" y="137332"/>
                  </a:lnTo>
                  <a:lnTo>
                    <a:pt x="1754694" y="137007"/>
                  </a:lnTo>
                  <a:lnTo>
                    <a:pt x="1762351" y="142220"/>
                  </a:lnTo>
                  <a:lnTo>
                    <a:pt x="1766913" y="142220"/>
                  </a:lnTo>
                  <a:cubicBezTo>
                    <a:pt x="1766913" y="142220"/>
                    <a:pt x="1769519" y="144012"/>
                    <a:pt x="1769519" y="144012"/>
                  </a:cubicBezTo>
                  <a:lnTo>
                    <a:pt x="1774244" y="144338"/>
                  </a:lnTo>
                  <a:lnTo>
                    <a:pt x="1780271" y="141242"/>
                  </a:lnTo>
                  <a:lnTo>
                    <a:pt x="1786625" y="143197"/>
                  </a:lnTo>
                  <a:lnTo>
                    <a:pt x="1788091" y="141568"/>
                  </a:lnTo>
                  <a:lnTo>
                    <a:pt x="1793141" y="140265"/>
                  </a:lnTo>
                  <a:lnTo>
                    <a:pt x="1796073" y="138310"/>
                  </a:lnTo>
                  <a:lnTo>
                    <a:pt x="1806337" y="136029"/>
                  </a:lnTo>
                  <a:lnTo>
                    <a:pt x="1815785" y="134400"/>
                  </a:lnTo>
                  <a:lnTo>
                    <a:pt x="1817089" y="131468"/>
                  </a:lnTo>
                  <a:lnTo>
                    <a:pt x="1816763" y="128372"/>
                  </a:lnTo>
                  <a:lnTo>
                    <a:pt x="1813668" y="129350"/>
                  </a:lnTo>
                  <a:lnTo>
                    <a:pt x="1810898" y="130164"/>
                  </a:lnTo>
                  <a:lnTo>
                    <a:pt x="1807314" y="132282"/>
                  </a:lnTo>
                  <a:lnTo>
                    <a:pt x="1801124" y="133748"/>
                  </a:lnTo>
                  <a:lnTo>
                    <a:pt x="1790860" y="132934"/>
                  </a:lnTo>
                  <a:lnTo>
                    <a:pt x="1783041" y="137658"/>
                  </a:lnTo>
                  <a:lnTo>
                    <a:pt x="1779457" y="138310"/>
                  </a:lnTo>
                  <a:lnTo>
                    <a:pt x="1772452" y="137170"/>
                  </a:lnTo>
                  <a:lnTo>
                    <a:pt x="1769845" y="138473"/>
                  </a:lnTo>
                  <a:lnTo>
                    <a:pt x="1765446" y="138473"/>
                  </a:lnTo>
                  <a:cubicBezTo>
                    <a:pt x="1765446" y="138473"/>
                    <a:pt x="1759582" y="133097"/>
                    <a:pt x="1759582" y="133097"/>
                  </a:cubicBezTo>
                  <a:lnTo>
                    <a:pt x="1755998" y="133097"/>
                  </a:lnTo>
                  <a:cubicBezTo>
                    <a:pt x="1755998" y="133097"/>
                    <a:pt x="1753717" y="131468"/>
                    <a:pt x="1753717" y="131468"/>
                  </a:cubicBezTo>
                  <a:lnTo>
                    <a:pt x="1747689" y="131468"/>
                  </a:lnTo>
                  <a:cubicBezTo>
                    <a:pt x="1747689" y="131468"/>
                    <a:pt x="1739544" y="127232"/>
                    <a:pt x="1739544" y="127232"/>
                  </a:cubicBezTo>
                  <a:lnTo>
                    <a:pt x="1733679" y="129839"/>
                  </a:lnTo>
                  <a:lnTo>
                    <a:pt x="1728466" y="127069"/>
                  </a:lnTo>
                  <a:lnTo>
                    <a:pt x="1727000" y="123485"/>
                  </a:lnTo>
                  <a:lnTo>
                    <a:pt x="1729444" y="121041"/>
                  </a:lnTo>
                  <a:lnTo>
                    <a:pt x="1729444" y="114688"/>
                  </a:lnTo>
                  <a:cubicBezTo>
                    <a:pt x="1729444" y="114688"/>
                    <a:pt x="1733027" y="112081"/>
                    <a:pt x="1733027" y="112081"/>
                  </a:cubicBezTo>
                  <a:lnTo>
                    <a:pt x="1735797" y="112081"/>
                  </a:lnTo>
                  <a:cubicBezTo>
                    <a:pt x="1735797" y="112081"/>
                    <a:pt x="1739381" y="116317"/>
                    <a:pt x="1739381" y="116317"/>
                  </a:cubicBezTo>
                  <a:lnTo>
                    <a:pt x="1747038" y="115828"/>
                  </a:lnTo>
                  <a:lnTo>
                    <a:pt x="1750133" y="114525"/>
                  </a:lnTo>
                  <a:lnTo>
                    <a:pt x="1745735" y="111104"/>
                  </a:lnTo>
                  <a:lnTo>
                    <a:pt x="1741499" y="111104"/>
                  </a:lnTo>
                  <a:cubicBezTo>
                    <a:pt x="1741499" y="111104"/>
                    <a:pt x="1737915" y="106543"/>
                    <a:pt x="1737915" y="106543"/>
                  </a:cubicBezTo>
                  <a:lnTo>
                    <a:pt x="1739381" y="104262"/>
                  </a:lnTo>
                  <a:lnTo>
                    <a:pt x="1746549" y="104262"/>
                  </a:lnTo>
                  <a:cubicBezTo>
                    <a:pt x="1746549" y="104262"/>
                    <a:pt x="1753065" y="98886"/>
                    <a:pt x="1753065" y="98886"/>
                  </a:cubicBezTo>
                  <a:lnTo>
                    <a:pt x="1761700" y="98886"/>
                  </a:lnTo>
                  <a:cubicBezTo>
                    <a:pt x="1761700" y="98886"/>
                    <a:pt x="1765446" y="95791"/>
                    <a:pt x="1765446" y="95791"/>
                  </a:cubicBezTo>
                  <a:lnTo>
                    <a:pt x="1770334" y="95791"/>
                  </a:lnTo>
                  <a:cubicBezTo>
                    <a:pt x="1770334" y="95791"/>
                    <a:pt x="1773592" y="97420"/>
                    <a:pt x="1773592" y="97420"/>
                  </a:cubicBezTo>
                  <a:lnTo>
                    <a:pt x="1777827" y="96442"/>
                  </a:lnTo>
                  <a:lnTo>
                    <a:pt x="1777827" y="93347"/>
                  </a:lnTo>
                  <a:cubicBezTo>
                    <a:pt x="1777827" y="93347"/>
                    <a:pt x="1775221" y="91066"/>
                    <a:pt x="1775221" y="91066"/>
                  </a:cubicBezTo>
                  <a:lnTo>
                    <a:pt x="1764469" y="92695"/>
                  </a:lnTo>
                  <a:lnTo>
                    <a:pt x="1755672" y="93510"/>
                  </a:lnTo>
                  <a:lnTo>
                    <a:pt x="1748830" y="96116"/>
                  </a:lnTo>
                  <a:lnTo>
                    <a:pt x="1744105" y="96931"/>
                  </a:lnTo>
                  <a:lnTo>
                    <a:pt x="1741010" y="100189"/>
                  </a:lnTo>
                  <a:lnTo>
                    <a:pt x="1736775" y="100189"/>
                  </a:lnTo>
                  <a:cubicBezTo>
                    <a:pt x="1736775" y="100189"/>
                    <a:pt x="1736775" y="96442"/>
                    <a:pt x="1736775" y="96442"/>
                  </a:cubicBezTo>
                  <a:lnTo>
                    <a:pt x="1735471" y="91392"/>
                  </a:lnTo>
                  <a:lnTo>
                    <a:pt x="1741499" y="88948"/>
                  </a:lnTo>
                  <a:lnTo>
                    <a:pt x="1748830" y="83247"/>
                  </a:lnTo>
                  <a:lnTo>
                    <a:pt x="1756812" y="82758"/>
                  </a:lnTo>
                  <a:lnTo>
                    <a:pt x="1760722" y="80640"/>
                  </a:lnTo>
                  <a:lnTo>
                    <a:pt x="1755346" y="80314"/>
                  </a:lnTo>
                  <a:lnTo>
                    <a:pt x="1753065" y="77871"/>
                  </a:lnTo>
                  <a:lnTo>
                    <a:pt x="1753880" y="70865"/>
                  </a:lnTo>
                  <a:lnTo>
                    <a:pt x="1751599" y="71843"/>
                  </a:lnTo>
                  <a:lnTo>
                    <a:pt x="1750459" y="76893"/>
                  </a:lnTo>
                  <a:lnTo>
                    <a:pt x="1747852" y="78522"/>
                  </a:lnTo>
                  <a:lnTo>
                    <a:pt x="1746386" y="73635"/>
                  </a:lnTo>
                  <a:lnTo>
                    <a:pt x="1743454" y="74124"/>
                  </a:lnTo>
                  <a:lnTo>
                    <a:pt x="1741010" y="76730"/>
                  </a:lnTo>
                  <a:lnTo>
                    <a:pt x="1735797" y="77219"/>
                  </a:lnTo>
                  <a:lnTo>
                    <a:pt x="1735797" y="81455"/>
                  </a:lnTo>
                  <a:cubicBezTo>
                    <a:pt x="1735797" y="81455"/>
                    <a:pt x="1733842" y="84550"/>
                    <a:pt x="1733842" y="84550"/>
                  </a:cubicBezTo>
                  <a:lnTo>
                    <a:pt x="1727326" y="86342"/>
                  </a:lnTo>
                  <a:lnTo>
                    <a:pt x="1726837" y="81617"/>
                  </a:lnTo>
                  <a:lnTo>
                    <a:pt x="1727326" y="76241"/>
                  </a:lnTo>
                  <a:lnTo>
                    <a:pt x="1725371" y="75753"/>
                  </a:lnTo>
                  <a:lnTo>
                    <a:pt x="1724230" y="71191"/>
                  </a:lnTo>
                  <a:lnTo>
                    <a:pt x="1725697" y="69562"/>
                  </a:lnTo>
                  <a:lnTo>
                    <a:pt x="1729444" y="71354"/>
                  </a:lnTo>
                  <a:lnTo>
                    <a:pt x="1730258" y="65489"/>
                  </a:lnTo>
                  <a:lnTo>
                    <a:pt x="1734331" y="63535"/>
                  </a:lnTo>
                  <a:lnTo>
                    <a:pt x="1740195" y="63860"/>
                  </a:lnTo>
                  <a:lnTo>
                    <a:pt x="1742639" y="58973"/>
                  </a:lnTo>
                  <a:lnTo>
                    <a:pt x="1748830" y="56041"/>
                  </a:lnTo>
                  <a:lnTo>
                    <a:pt x="1752902" y="56692"/>
                  </a:lnTo>
                  <a:lnTo>
                    <a:pt x="1760396" y="52620"/>
                  </a:lnTo>
                  <a:lnTo>
                    <a:pt x="1770985" y="51805"/>
                  </a:lnTo>
                  <a:lnTo>
                    <a:pt x="1773429" y="49850"/>
                  </a:lnTo>
                  <a:lnTo>
                    <a:pt x="1777339" y="51316"/>
                  </a:lnTo>
                  <a:lnTo>
                    <a:pt x="1777827" y="54900"/>
                  </a:lnTo>
                  <a:lnTo>
                    <a:pt x="1776036" y="57507"/>
                  </a:lnTo>
                  <a:lnTo>
                    <a:pt x="1775710" y="69562"/>
                  </a:lnTo>
                  <a:lnTo>
                    <a:pt x="1779294" y="68422"/>
                  </a:lnTo>
                  <a:lnTo>
                    <a:pt x="1781737" y="60928"/>
                  </a:lnTo>
                  <a:lnTo>
                    <a:pt x="1784996" y="57996"/>
                  </a:lnTo>
                  <a:lnTo>
                    <a:pt x="1786625" y="60439"/>
                  </a:lnTo>
                  <a:lnTo>
                    <a:pt x="1784996" y="62557"/>
                  </a:lnTo>
                  <a:lnTo>
                    <a:pt x="1785647" y="66304"/>
                  </a:lnTo>
                  <a:lnTo>
                    <a:pt x="1788580" y="64349"/>
                  </a:lnTo>
                  <a:lnTo>
                    <a:pt x="1788580" y="60276"/>
                  </a:lnTo>
                  <a:lnTo>
                    <a:pt x="1790209" y="57833"/>
                  </a:lnTo>
                  <a:lnTo>
                    <a:pt x="1789557" y="54249"/>
                  </a:lnTo>
                  <a:lnTo>
                    <a:pt x="1790535" y="48221"/>
                  </a:lnTo>
                  <a:lnTo>
                    <a:pt x="1793630" y="47569"/>
                  </a:lnTo>
                  <a:lnTo>
                    <a:pt x="1800146" y="41868"/>
                  </a:lnTo>
                  <a:lnTo>
                    <a:pt x="1802590" y="42356"/>
                  </a:lnTo>
                  <a:lnTo>
                    <a:pt x="1803241" y="46755"/>
                  </a:lnTo>
                  <a:lnTo>
                    <a:pt x="1803241" y="52945"/>
                  </a:lnTo>
                  <a:lnTo>
                    <a:pt x="1807803" y="55389"/>
                  </a:lnTo>
                  <a:lnTo>
                    <a:pt x="1808780" y="61905"/>
                  </a:lnTo>
                  <a:lnTo>
                    <a:pt x="1807477" y="65652"/>
                  </a:lnTo>
                  <a:lnTo>
                    <a:pt x="1809269" y="69562"/>
                  </a:lnTo>
                  <a:lnTo>
                    <a:pt x="1808618" y="73472"/>
                  </a:lnTo>
                  <a:lnTo>
                    <a:pt x="1812201" y="76079"/>
                  </a:lnTo>
                  <a:lnTo>
                    <a:pt x="1814156" y="74449"/>
                  </a:lnTo>
                  <a:lnTo>
                    <a:pt x="1812038" y="70865"/>
                  </a:lnTo>
                  <a:lnTo>
                    <a:pt x="1811713" y="65001"/>
                  </a:lnTo>
                  <a:lnTo>
                    <a:pt x="1814808" y="63535"/>
                  </a:lnTo>
                  <a:lnTo>
                    <a:pt x="1820021" y="55226"/>
                  </a:lnTo>
                  <a:lnTo>
                    <a:pt x="1822791" y="55226"/>
                  </a:lnTo>
                  <a:cubicBezTo>
                    <a:pt x="1822791" y="55226"/>
                    <a:pt x="1827189" y="61905"/>
                    <a:pt x="1827189" y="61905"/>
                  </a:cubicBezTo>
                  <a:lnTo>
                    <a:pt x="1827515" y="68259"/>
                  </a:lnTo>
                  <a:lnTo>
                    <a:pt x="1826211" y="73472"/>
                  </a:lnTo>
                  <a:lnTo>
                    <a:pt x="1828818" y="76079"/>
                  </a:lnTo>
                  <a:lnTo>
                    <a:pt x="1829959" y="79663"/>
                  </a:lnTo>
                  <a:lnTo>
                    <a:pt x="1832402" y="76567"/>
                  </a:lnTo>
                  <a:lnTo>
                    <a:pt x="1832076" y="69725"/>
                  </a:lnTo>
                  <a:lnTo>
                    <a:pt x="1835172" y="69236"/>
                  </a:lnTo>
                  <a:lnTo>
                    <a:pt x="1838104" y="66956"/>
                  </a:lnTo>
                  <a:lnTo>
                    <a:pt x="1839244" y="70214"/>
                  </a:lnTo>
                  <a:lnTo>
                    <a:pt x="1837615" y="72006"/>
                  </a:lnTo>
                  <a:lnTo>
                    <a:pt x="1838104" y="76567"/>
                  </a:lnTo>
                  <a:lnTo>
                    <a:pt x="1840385" y="79337"/>
                  </a:lnTo>
                  <a:lnTo>
                    <a:pt x="1844132" y="74449"/>
                  </a:lnTo>
                  <a:lnTo>
                    <a:pt x="1846575" y="74449"/>
                  </a:lnTo>
                  <a:cubicBezTo>
                    <a:pt x="1846575" y="74449"/>
                    <a:pt x="1845761" y="79988"/>
                    <a:pt x="1845761" y="79988"/>
                  </a:cubicBezTo>
                  <a:lnTo>
                    <a:pt x="1848367" y="77056"/>
                  </a:lnTo>
                  <a:lnTo>
                    <a:pt x="1848367" y="71191"/>
                  </a:lnTo>
                  <a:cubicBezTo>
                    <a:pt x="1848367" y="71191"/>
                    <a:pt x="1843806" y="64023"/>
                    <a:pt x="1843806" y="64023"/>
                  </a:cubicBezTo>
                  <a:lnTo>
                    <a:pt x="1841362" y="64023"/>
                  </a:lnTo>
                  <a:cubicBezTo>
                    <a:pt x="1841362" y="64023"/>
                    <a:pt x="1838918" y="60276"/>
                    <a:pt x="1838918" y="60276"/>
                  </a:cubicBezTo>
                  <a:lnTo>
                    <a:pt x="1838918" y="54900"/>
                  </a:lnTo>
                  <a:cubicBezTo>
                    <a:pt x="1838918" y="54900"/>
                    <a:pt x="1835660" y="51153"/>
                    <a:pt x="1835660" y="51153"/>
                  </a:cubicBezTo>
                  <a:lnTo>
                    <a:pt x="1833380" y="46592"/>
                  </a:lnTo>
                  <a:lnTo>
                    <a:pt x="1830773" y="43985"/>
                  </a:lnTo>
                  <a:lnTo>
                    <a:pt x="1831913" y="38284"/>
                  </a:lnTo>
                  <a:lnTo>
                    <a:pt x="1836964" y="38609"/>
                  </a:lnTo>
                  <a:lnTo>
                    <a:pt x="1840548" y="41868"/>
                  </a:lnTo>
                  <a:lnTo>
                    <a:pt x="1845924" y="40239"/>
                  </a:lnTo>
                  <a:lnTo>
                    <a:pt x="1850322" y="41705"/>
                  </a:lnTo>
                  <a:lnTo>
                    <a:pt x="1852277" y="39261"/>
                  </a:lnTo>
                  <a:lnTo>
                    <a:pt x="1852766" y="29975"/>
                  </a:lnTo>
                  <a:lnTo>
                    <a:pt x="1849019" y="26228"/>
                  </a:lnTo>
                  <a:lnTo>
                    <a:pt x="1850648" y="21667"/>
                  </a:lnTo>
                  <a:lnTo>
                    <a:pt x="1857001" y="20038"/>
                  </a:lnTo>
                  <a:lnTo>
                    <a:pt x="1858793" y="21504"/>
                  </a:lnTo>
                  <a:lnTo>
                    <a:pt x="1867916" y="22807"/>
                  </a:lnTo>
                  <a:lnTo>
                    <a:pt x="1871826" y="25577"/>
                  </a:lnTo>
                  <a:lnTo>
                    <a:pt x="1871337" y="29324"/>
                  </a:lnTo>
                  <a:lnTo>
                    <a:pt x="1867753" y="32745"/>
                  </a:lnTo>
                  <a:lnTo>
                    <a:pt x="1868894" y="35514"/>
                  </a:lnTo>
                  <a:lnTo>
                    <a:pt x="1878343" y="38935"/>
                  </a:lnTo>
                  <a:lnTo>
                    <a:pt x="1878668" y="42031"/>
                  </a:lnTo>
                  <a:lnTo>
                    <a:pt x="1877202" y="49036"/>
                  </a:lnTo>
                  <a:lnTo>
                    <a:pt x="1878180" y="60113"/>
                  </a:lnTo>
                  <a:lnTo>
                    <a:pt x="1882252" y="58647"/>
                  </a:lnTo>
                  <a:lnTo>
                    <a:pt x="1885185" y="52620"/>
                  </a:lnTo>
                  <a:lnTo>
                    <a:pt x="1887140" y="52620"/>
                  </a:lnTo>
                  <a:cubicBezTo>
                    <a:pt x="1887140" y="52620"/>
                    <a:pt x="1887465" y="57181"/>
                    <a:pt x="1887465" y="57181"/>
                  </a:cubicBezTo>
                  <a:lnTo>
                    <a:pt x="1889420" y="60113"/>
                  </a:lnTo>
                  <a:lnTo>
                    <a:pt x="1893493" y="57833"/>
                  </a:lnTo>
                  <a:lnTo>
                    <a:pt x="1895774" y="53923"/>
                  </a:lnTo>
                  <a:lnTo>
                    <a:pt x="1901150" y="51479"/>
                  </a:lnTo>
                  <a:lnTo>
                    <a:pt x="1902453" y="48710"/>
                  </a:lnTo>
                  <a:lnTo>
                    <a:pt x="1899358" y="39261"/>
                  </a:lnTo>
                  <a:lnTo>
                    <a:pt x="1902290" y="35514"/>
                  </a:lnTo>
                  <a:lnTo>
                    <a:pt x="1906037" y="35514"/>
                  </a:lnTo>
                  <a:cubicBezTo>
                    <a:pt x="1906037" y="35514"/>
                    <a:pt x="1908318" y="37143"/>
                    <a:pt x="1908318" y="37143"/>
                  </a:cubicBezTo>
                  <a:lnTo>
                    <a:pt x="1916952" y="38121"/>
                  </a:lnTo>
                  <a:lnTo>
                    <a:pt x="1916626" y="34374"/>
                  </a:lnTo>
                  <a:lnTo>
                    <a:pt x="1908644" y="28672"/>
                  </a:lnTo>
                  <a:lnTo>
                    <a:pt x="1907177" y="22156"/>
                  </a:lnTo>
                  <a:lnTo>
                    <a:pt x="1908807" y="19712"/>
                  </a:lnTo>
                  <a:lnTo>
                    <a:pt x="1910273" y="14662"/>
                  </a:lnTo>
                  <a:lnTo>
                    <a:pt x="1913531" y="14336"/>
                  </a:lnTo>
                  <a:lnTo>
                    <a:pt x="1923143" y="19549"/>
                  </a:lnTo>
                  <a:lnTo>
                    <a:pt x="1924283" y="27206"/>
                  </a:lnTo>
                  <a:lnTo>
                    <a:pt x="1925586" y="32419"/>
                  </a:lnTo>
                  <a:lnTo>
                    <a:pt x="1925097" y="38609"/>
                  </a:lnTo>
                  <a:lnTo>
                    <a:pt x="1927541" y="42356"/>
                  </a:lnTo>
                  <a:lnTo>
                    <a:pt x="1929007" y="49036"/>
                  </a:lnTo>
                  <a:lnTo>
                    <a:pt x="1931288" y="53434"/>
                  </a:lnTo>
                  <a:lnTo>
                    <a:pt x="1933569" y="51479"/>
                  </a:lnTo>
                  <a:lnTo>
                    <a:pt x="1933569" y="45615"/>
                  </a:lnTo>
                  <a:cubicBezTo>
                    <a:pt x="1933569" y="45615"/>
                    <a:pt x="1932917" y="41705"/>
                    <a:pt x="1932917" y="41705"/>
                  </a:cubicBezTo>
                  <a:lnTo>
                    <a:pt x="1932266" y="35188"/>
                  </a:lnTo>
                  <a:lnTo>
                    <a:pt x="1929659" y="27857"/>
                  </a:lnTo>
                  <a:lnTo>
                    <a:pt x="1930636" y="19223"/>
                  </a:lnTo>
                  <a:lnTo>
                    <a:pt x="1929985" y="10100"/>
                  </a:lnTo>
                  <a:lnTo>
                    <a:pt x="1931777" y="4724"/>
                  </a:lnTo>
                  <a:lnTo>
                    <a:pt x="1935035" y="5050"/>
                  </a:lnTo>
                  <a:lnTo>
                    <a:pt x="1939922" y="9612"/>
                  </a:lnTo>
                  <a:lnTo>
                    <a:pt x="1943180" y="9612"/>
                  </a:lnTo>
                  <a:cubicBezTo>
                    <a:pt x="1943180" y="9612"/>
                    <a:pt x="1944972" y="11241"/>
                    <a:pt x="1944972" y="11241"/>
                  </a:cubicBezTo>
                  <a:lnTo>
                    <a:pt x="1945298" y="18409"/>
                  </a:lnTo>
                  <a:lnTo>
                    <a:pt x="1948231" y="23622"/>
                  </a:lnTo>
                  <a:lnTo>
                    <a:pt x="1947416" y="29812"/>
                  </a:lnTo>
                  <a:lnTo>
                    <a:pt x="1948393" y="37958"/>
                  </a:lnTo>
                  <a:lnTo>
                    <a:pt x="1950837" y="38935"/>
                  </a:lnTo>
                  <a:lnTo>
                    <a:pt x="1950511" y="34700"/>
                  </a:lnTo>
                  <a:lnTo>
                    <a:pt x="1952303" y="31116"/>
                  </a:lnTo>
                  <a:lnTo>
                    <a:pt x="1954258" y="30790"/>
                  </a:lnTo>
                  <a:lnTo>
                    <a:pt x="1963218" y="41053"/>
                  </a:lnTo>
                  <a:lnTo>
                    <a:pt x="1964196" y="39261"/>
                  </a:lnTo>
                  <a:lnTo>
                    <a:pt x="1968105" y="38121"/>
                  </a:lnTo>
                  <a:lnTo>
                    <a:pt x="1968431" y="35840"/>
                  </a:lnTo>
                  <a:lnTo>
                    <a:pt x="1964847" y="34863"/>
                  </a:lnTo>
                  <a:lnTo>
                    <a:pt x="1960449" y="29324"/>
                  </a:lnTo>
                  <a:lnTo>
                    <a:pt x="1961915" y="27532"/>
                  </a:lnTo>
                  <a:lnTo>
                    <a:pt x="1962404" y="24436"/>
                  </a:lnTo>
                  <a:lnTo>
                    <a:pt x="1956539" y="19549"/>
                  </a:lnTo>
                  <a:lnTo>
                    <a:pt x="1954910" y="15802"/>
                  </a:lnTo>
                  <a:lnTo>
                    <a:pt x="1956376" y="13684"/>
                  </a:lnTo>
                  <a:lnTo>
                    <a:pt x="1962241" y="13196"/>
                  </a:lnTo>
                  <a:lnTo>
                    <a:pt x="1959634" y="10752"/>
                  </a:lnTo>
                  <a:lnTo>
                    <a:pt x="1955724" y="10100"/>
                  </a:lnTo>
                  <a:lnTo>
                    <a:pt x="1952629" y="6191"/>
                  </a:lnTo>
                  <a:lnTo>
                    <a:pt x="1955561" y="4561"/>
                  </a:lnTo>
                  <a:lnTo>
                    <a:pt x="1959960" y="4561"/>
                  </a:lnTo>
                  <a:lnTo>
                    <a:pt x="1965173" y="0"/>
                  </a:lnTo>
                  <a:lnTo>
                    <a:pt x="1975925" y="1792"/>
                  </a:lnTo>
                  <a:lnTo>
                    <a:pt x="1977880" y="4399"/>
                  </a:lnTo>
                  <a:lnTo>
                    <a:pt x="1977880" y="9775"/>
                  </a:lnTo>
                  <a:cubicBezTo>
                    <a:pt x="1977880" y="9775"/>
                    <a:pt x="1974785" y="14336"/>
                    <a:pt x="1974785" y="14336"/>
                  </a:cubicBezTo>
                  <a:lnTo>
                    <a:pt x="1976088" y="16780"/>
                  </a:lnTo>
                  <a:lnTo>
                    <a:pt x="1979346" y="16454"/>
                  </a:lnTo>
                  <a:lnTo>
                    <a:pt x="1982930" y="10100"/>
                  </a:lnTo>
                  <a:lnTo>
                    <a:pt x="1985374" y="8308"/>
                  </a:lnTo>
                  <a:lnTo>
                    <a:pt x="1987166" y="11078"/>
                  </a:lnTo>
                  <a:lnTo>
                    <a:pt x="1984885" y="18409"/>
                  </a:lnTo>
                  <a:lnTo>
                    <a:pt x="1987492" y="20038"/>
                  </a:lnTo>
                  <a:lnTo>
                    <a:pt x="1990587" y="19386"/>
                  </a:lnTo>
                  <a:lnTo>
                    <a:pt x="1991564" y="16943"/>
                  </a:lnTo>
                  <a:lnTo>
                    <a:pt x="1997918" y="10915"/>
                  </a:lnTo>
                  <a:lnTo>
                    <a:pt x="1999873" y="13359"/>
                  </a:lnTo>
                  <a:lnTo>
                    <a:pt x="1999221" y="19386"/>
                  </a:lnTo>
                  <a:lnTo>
                    <a:pt x="1996940" y="23622"/>
                  </a:lnTo>
                  <a:lnTo>
                    <a:pt x="1998732" y="32093"/>
                  </a:lnTo>
                  <a:lnTo>
                    <a:pt x="1995800" y="35840"/>
                  </a:lnTo>
                  <a:lnTo>
                    <a:pt x="1998081" y="38121"/>
                  </a:lnTo>
                  <a:lnTo>
                    <a:pt x="2003783" y="36980"/>
                  </a:lnTo>
                  <a:lnTo>
                    <a:pt x="2007041" y="37958"/>
                  </a:lnTo>
                  <a:lnTo>
                    <a:pt x="2009321" y="36003"/>
                  </a:lnTo>
                  <a:lnTo>
                    <a:pt x="2009647" y="28672"/>
                  </a:lnTo>
                  <a:lnTo>
                    <a:pt x="2012580" y="19875"/>
                  </a:lnTo>
                  <a:lnTo>
                    <a:pt x="2008670" y="8634"/>
                  </a:lnTo>
                  <a:lnTo>
                    <a:pt x="2009810" y="1792"/>
                  </a:lnTo>
                  <a:lnTo>
                    <a:pt x="2013231" y="0"/>
                  </a:lnTo>
                  <a:lnTo>
                    <a:pt x="2016652" y="2444"/>
                  </a:lnTo>
                  <a:lnTo>
                    <a:pt x="2020236" y="2444"/>
                  </a:lnTo>
                  <a:cubicBezTo>
                    <a:pt x="2020236" y="2444"/>
                    <a:pt x="2024961" y="4236"/>
                    <a:pt x="2024961" y="4236"/>
                  </a:cubicBezTo>
                  <a:lnTo>
                    <a:pt x="2031314" y="1629"/>
                  </a:lnTo>
                  <a:lnTo>
                    <a:pt x="2037179" y="3258"/>
                  </a:lnTo>
                  <a:lnTo>
                    <a:pt x="2039134" y="7331"/>
                  </a:lnTo>
                  <a:lnTo>
                    <a:pt x="2045650" y="9612"/>
                  </a:lnTo>
                  <a:lnTo>
                    <a:pt x="2051678" y="7657"/>
                  </a:lnTo>
                  <a:lnTo>
                    <a:pt x="2057868" y="12055"/>
                  </a:lnTo>
                  <a:lnTo>
                    <a:pt x="2059172" y="16128"/>
                  </a:lnTo>
                  <a:lnTo>
                    <a:pt x="2061127" y="18735"/>
                  </a:lnTo>
                  <a:lnTo>
                    <a:pt x="2061941" y="25088"/>
                  </a:lnTo>
                  <a:lnTo>
                    <a:pt x="2059335" y="30953"/>
                  </a:lnTo>
                  <a:lnTo>
                    <a:pt x="2060475" y="33885"/>
                  </a:lnTo>
                  <a:lnTo>
                    <a:pt x="2064548" y="32908"/>
                  </a:lnTo>
                  <a:lnTo>
                    <a:pt x="2070087" y="26554"/>
                  </a:lnTo>
                  <a:lnTo>
                    <a:pt x="2077906" y="20852"/>
                  </a:lnTo>
                  <a:lnTo>
                    <a:pt x="2081327" y="16617"/>
                  </a:lnTo>
                  <a:lnTo>
                    <a:pt x="2086377" y="16617"/>
                  </a:lnTo>
                  <a:cubicBezTo>
                    <a:pt x="2086377" y="16617"/>
                    <a:pt x="2092242" y="19875"/>
                    <a:pt x="2092242" y="19875"/>
                  </a:cubicBezTo>
                  <a:lnTo>
                    <a:pt x="2098759" y="19875"/>
                  </a:lnTo>
                  <a:cubicBezTo>
                    <a:pt x="2098759" y="19875"/>
                    <a:pt x="2097944" y="23296"/>
                    <a:pt x="2097944" y="23296"/>
                  </a:cubicBezTo>
                  <a:lnTo>
                    <a:pt x="2092405" y="28835"/>
                  </a:lnTo>
                  <a:lnTo>
                    <a:pt x="2095337" y="33559"/>
                  </a:lnTo>
                  <a:lnTo>
                    <a:pt x="2097781" y="32093"/>
                  </a:lnTo>
                  <a:lnTo>
                    <a:pt x="2099084" y="27532"/>
                  </a:lnTo>
                  <a:lnTo>
                    <a:pt x="2104623" y="23296"/>
                  </a:lnTo>
                  <a:lnTo>
                    <a:pt x="2109674" y="21504"/>
                  </a:lnTo>
                  <a:lnTo>
                    <a:pt x="2117656" y="24925"/>
                  </a:lnTo>
                  <a:lnTo>
                    <a:pt x="2127268" y="26717"/>
                  </a:lnTo>
                  <a:lnTo>
                    <a:pt x="2130363" y="30138"/>
                  </a:lnTo>
                  <a:lnTo>
                    <a:pt x="2127757" y="32908"/>
                  </a:lnTo>
                  <a:lnTo>
                    <a:pt x="2125150" y="33233"/>
                  </a:lnTo>
                  <a:lnTo>
                    <a:pt x="2126616" y="37143"/>
                  </a:lnTo>
                  <a:lnTo>
                    <a:pt x="2122869" y="40239"/>
                  </a:lnTo>
                  <a:lnTo>
                    <a:pt x="2125476" y="43497"/>
                  </a:lnTo>
                  <a:lnTo>
                    <a:pt x="2128571" y="40890"/>
                  </a:lnTo>
                  <a:lnTo>
                    <a:pt x="2133295" y="38609"/>
                  </a:lnTo>
                  <a:lnTo>
                    <a:pt x="2134273" y="44148"/>
                  </a:lnTo>
                  <a:lnTo>
                    <a:pt x="2137368" y="45452"/>
                  </a:lnTo>
                  <a:lnTo>
                    <a:pt x="2140300" y="41216"/>
                  </a:lnTo>
                  <a:lnTo>
                    <a:pt x="2148120" y="40076"/>
                  </a:lnTo>
                  <a:lnTo>
                    <a:pt x="2148446" y="43985"/>
                  </a:lnTo>
                  <a:lnTo>
                    <a:pt x="2145676" y="47081"/>
                  </a:lnTo>
                  <a:lnTo>
                    <a:pt x="2146817" y="50991"/>
                  </a:lnTo>
                  <a:lnTo>
                    <a:pt x="2150238" y="51968"/>
                  </a:lnTo>
                  <a:lnTo>
                    <a:pt x="2152193" y="49524"/>
                  </a:lnTo>
                  <a:lnTo>
                    <a:pt x="2156591" y="46592"/>
                  </a:lnTo>
                  <a:lnTo>
                    <a:pt x="2158872" y="46592"/>
                  </a:lnTo>
                  <a:lnTo>
                    <a:pt x="2160664" y="50665"/>
                  </a:lnTo>
                  <a:lnTo>
                    <a:pt x="2169461" y="56041"/>
                  </a:lnTo>
                  <a:lnTo>
                    <a:pt x="2174511" y="56041"/>
                  </a:lnTo>
                  <a:cubicBezTo>
                    <a:pt x="2174511" y="56041"/>
                    <a:pt x="2175978" y="58321"/>
                    <a:pt x="2175978" y="58321"/>
                  </a:cubicBezTo>
                  <a:lnTo>
                    <a:pt x="2173534" y="61254"/>
                  </a:lnTo>
                  <a:lnTo>
                    <a:pt x="2163922" y="65327"/>
                  </a:lnTo>
                  <a:lnTo>
                    <a:pt x="2159035" y="71680"/>
                  </a:lnTo>
                  <a:lnTo>
                    <a:pt x="2153170" y="72495"/>
                  </a:lnTo>
                  <a:lnTo>
                    <a:pt x="2146002" y="76241"/>
                  </a:lnTo>
                  <a:lnTo>
                    <a:pt x="2142092" y="76241"/>
                  </a:lnTo>
                  <a:cubicBezTo>
                    <a:pt x="2142092" y="76241"/>
                    <a:pt x="2138183" y="74612"/>
                    <a:pt x="2138183" y="74612"/>
                  </a:cubicBezTo>
                  <a:lnTo>
                    <a:pt x="2135902" y="77545"/>
                  </a:lnTo>
                  <a:lnTo>
                    <a:pt x="2128571" y="79663"/>
                  </a:lnTo>
                  <a:lnTo>
                    <a:pt x="2139323" y="79174"/>
                  </a:lnTo>
                  <a:lnTo>
                    <a:pt x="2149260" y="80477"/>
                  </a:lnTo>
                  <a:lnTo>
                    <a:pt x="2153008" y="82595"/>
                  </a:lnTo>
                  <a:lnTo>
                    <a:pt x="2156754" y="82595"/>
                  </a:lnTo>
                  <a:lnTo>
                    <a:pt x="2159687" y="78033"/>
                  </a:lnTo>
                  <a:lnTo>
                    <a:pt x="2162130" y="76241"/>
                  </a:lnTo>
                  <a:lnTo>
                    <a:pt x="2167343" y="76241"/>
                  </a:lnTo>
                  <a:cubicBezTo>
                    <a:pt x="2167343" y="76241"/>
                    <a:pt x="2170113" y="71517"/>
                    <a:pt x="2170113" y="71517"/>
                  </a:cubicBezTo>
                  <a:lnTo>
                    <a:pt x="2177281" y="67770"/>
                  </a:lnTo>
                  <a:lnTo>
                    <a:pt x="2183146" y="67444"/>
                  </a:lnTo>
                  <a:lnTo>
                    <a:pt x="2184286" y="71191"/>
                  </a:lnTo>
                  <a:lnTo>
                    <a:pt x="2181679" y="76730"/>
                  </a:lnTo>
                  <a:lnTo>
                    <a:pt x="2183634" y="79337"/>
                  </a:lnTo>
                  <a:lnTo>
                    <a:pt x="2186078" y="78033"/>
                  </a:lnTo>
                  <a:lnTo>
                    <a:pt x="2188684" y="72495"/>
                  </a:lnTo>
                  <a:lnTo>
                    <a:pt x="2193898" y="68748"/>
                  </a:lnTo>
                  <a:lnTo>
                    <a:pt x="2195852" y="70865"/>
                  </a:lnTo>
                  <a:lnTo>
                    <a:pt x="2193409" y="75264"/>
                  </a:lnTo>
                  <a:lnTo>
                    <a:pt x="2193409" y="78033"/>
                  </a:lnTo>
                  <a:cubicBezTo>
                    <a:pt x="2193409" y="78033"/>
                    <a:pt x="2190802" y="81455"/>
                    <a:pt x="2190802" y="81455"/>
                  </a:cubicBezTo>
                  <a:lnTo>
                    <a:pt x="2192757" y="83898"/>
                  </a:lnTo>
                  <a:lnTo>
                    <a:pt x="2196504" y="82432"/>
                  </a:lnTo>
                  <a:lnTo>
                    <a:pt x="2199111" y="79988"/>
                  </a:lnTo>
                  <a:lnTo>
                    <a:pt x="2199925" y="75590"/>
                  </a:lnTo>
                  <a:lnTo>
                    <a:pt x="2205627" y="74287"/>
                  </a:lnTo>
                  <a:lnTo>
                    <a:pt x="2209863" y="75590"/>
                  </a:lnTo>
                  <a:lnTo>
                    <a:pt x="2206930" y="86179"/>
                  </a:lnTo>
                  <a:lnTo>
                    <a:pt x="2203509" y="88134"/>
                  </a:lnTo>
                  <a:lnTo>
                    <a:pt x="2205790" y="89437"/>
                  </a:lnTo>
                  <a:lnTo>
                    <a:pt x="2207582" y="94813"/>
                  </a:lnTo>
                  <a:lnTo>
                    <a:pt x="2206605" y="101655"/>
                  </a:lnTo>
                  <a:lnTo>
                    <a:pt x="2202369" y="104588"/>
                  </a:lnTo>
                  <a:lnTo>
                    <a:pt x="2201066" y="108335"/>
                  </a:lnTo>
                  <a:lnTo>
                    <a:pt x="2195201" y="116480"/>
                  </a:lnTo>
                  <a:lnTo>
                    <a:pt x="2197156" y="118272"/>
                  </a:lnTo>
                  <a:lnTo>
                    <a:pt x="2200577" y="116806"/>
                  </a:lnTo>
                  <a:lnTo>
                    <a:pt x="2203672" y="111756"/>
                  </a:lnTo>
                  <a:lnTo>
                    <a:pt x="2208234" y="111430"/>
                  </a:lnTo>
                  <a:lnTo>
                    <a:pt x="2209374" y="110289"/>
                  </a:lnTo>
                  <a:lnTo>
                    <a:pt x="2212958" y="110289"/>
                  </a:lnTo>
                  <a:lnTo>
                    <a:pt x="2219311" y="114199"/>
                  </a:lnTo>
                  <a:lnTo>
                    <a:pt x="2221755" y="120064"/>
                  </a:lnTo>
                  <a:lnTo>
                    <a:pt x="2222570" y="127884"/>
                  </a:lnTo>
                  <a:lnTo>
                    <a:pt x="2220615" y="139776"/>
                  </a:lnTo>
                  <a:lnTo>
                    <a:pt x="2214587" y="151180"/>
                  </a:lnTo>
                  <a:lnTo>
                    <a:pt x="2204975" y="156393"/>
                  </a:lnTo>
                  <a:lnTo>
                    <a:pt x="2202695" y="158836"/>
                  </a:lnTo>
                  <a:lnTo>
                    <a:pt x="2197644" y="157696"/>
                  </a:lnTo>
                  <a:lnTo>
                    <a:pt x="2193083" y="159325"/>
                  </a:lnTo>
                  <a:lnTo>
                    <a:pt x="2193083" y="161932"/>
                  </a:lnTo>
                  <a:cubicBezTo>
                    <a:pt x="2193083" y="161932"/>
                    <a:pt x="2189988" y="164701"/>
                    <a:pt x="2189988" y="164701"/>
                  </a:cubicBezTo>
                  <a:lnTo>
                    <a:pt x="2174511" y="172195"/>
                  </a:lnTo>
                  <a:lnTo>
                    <a:pt x="2168809" y="176431"/>
                  </a:lnTo>
                  <a:lnTo>
                    <a:pt x="2163759" y="177571"/>
                  </a:lnTo>
                  <a:lnTo>
                    <a:pt x="2156754" y="180340"/>
                  </a:lnTo>
                  <a:lnTo>
                    <a:pt x="2149424" y="180340"/>
                  </a:lnTo>
                  <a:cubicBezTo>
                    <a:pt x="2149424" y="180340"/>
                    <a:pt x="2145839" y="176919"/>
                    <a:pt x="2145839" y="176919"/>
                  </a:cubicBezTo>
                  <a:lnTo>
                    <a:pt x="2143396" y="181970"/>
                  </a:lnTo>
                  <a:lnTo>
                    <a:pt x="2140789" y="183436"/>
                  </a:lnTo>
                  <a:lnTo>
                    <a:pt x="2134925" y="179200"/>
                  </a:lnTo>
                  <a:lnTo>
                    <a:pt x="2129223" y="176431"/>
                  </a:lnTo>
                  <a:lnTo>
                    <a:pt x="2121240" y="174964"/>
                  </a:lnTo>
                  <a:lnTo>
                    <a:pt x="2121240" y="178548"/>
                  </a:lnTo>
                  <a:lnTo>
                    <a:pt x="2127268" y="179689"/>
                  </a:lnTo>
                  <a:lnTo>
                    <a:pt x="2130526" y="181481"/>
                  </a:lnTo>
                  <a:lnTo>
                    <a:pt x="2126616" y="183762"/>
                  </a:lnTo>
                  <a:lnTo>
                    <a:pt x="2119937" y="182132"/>
                  </a:lnTo>
                  <a:lnTo>
                    <a:pt x="2116353" y="182621"/>
                  </a:lnTo>
                  <a:lnTo>
                    <a:pt x="2113095" y="180015"/>
                  </a:lnTo>
                  <a:lnTo>
                    <a:pt x="2103809" y="179526"/>
                  </a:lnTo>
                  <a:lnTo>
                    <a:pt x="2100876" y="176594"/>
                  </a:lnTo>
                  <a:lnTo>
                    <a:pt x="2097944" y="178223"/>
                  </a:lnTo>
                  <a:lnTo>
                    <a:pt x="2095175" y="178223"/>
                  </a:lnTo>
                  <a:cubicBezTo>
                    <a:pt x="2095175" y="178223"/>
                    <a:pt x="2087518" y="169100"/>
                    <a:pt x="2087518" y="169100"/>
                  </a:cubicBezTo>
                  <a:lnTo>
                    <a:pt x="2082305" y="163724"/>
                  </a:lnTo>
                  <a:lnTo>
                    <a:pt x="2083445" y="169426"/>
                  </a:lnTo>
                  <a:lnTo>
                    <a:pt x="2088821" y="174802"/>
                  </a:lnTo>
                  <a:lnTo>
                    <a:pt x="2089799" y="177897"/>
                  </a:lnTo>
                  <a:lnTo>
                    <a:pt x="2085237" y="178223"/>
                  </a:lnTo>
                  <a:lnTo>
                    <a:pt x="2078069" y="175453"/>
                  </a:lnTo>
                  <a:lnTo>
                    <a:pt x="2080839" y="179689"/>
                  </a:lnTo>
                  <a:lnTo>
                    <a:pt x="2097455" y="182132"/>
                  </a:lnTo>
                  <a:lnTo>
                    <a:pt x="2107393" y="184250"/>
                  </a:lnTo>
                  <a:lnTo>
                    <a:pt x="2110325" y="187183"/>
                  </a:lnTo>
                  <a:lnTo>
                    <a:pt x="2107067" y="190278"/>
                  </a:lnTo>
                  <a:lnTo>
                    <a:pt x="2084423" y="199238"/>
                  </a:lnTo>
                  <a:lnTo>
                    <a:pt x="2070250" y="201519"/>
                  </a:lnTo>
                  <a:lnTo>
                    <a:pt x="2064385" y="201519"/>
                  </a:lnTo>
                  <a:cubicBezTo>
                    <a:pt x="2064385" y="201519"/>
                    <a:pt x="2056565" y="203311"/>
                    <a:pt x="2056565" y="203311"/>
                  </a:cubicBezTo>
                  <a:lnTo>
                    <a:pt x="2050049" y="202333"/>
                  </a:lnTo>
                  <a:lnTo>
                    <a:pt x="2049071" y="199075"/>
                  </a:lnTo>
                  <a:lnTo>
                    <a:pt x="2044184" y="201030"/>
                  </a:lnTo>
                  <a:lnTo>
                    <a:pt x="2040437" y="199890"/>
                  </a:lnTo>
                  <a:lnTo>
                    <a:pt x="2035387" y="200867"/>
                  </a:lnTo>
                  <a:lnTo>
                    <a:pt x="2032780" y="205591"/>
                  </a:lnTo>
                  <a:lnTo>
                    <a:pt x="2037831" y="205103"/>
                  </a:lnTo>
                  <a:lnTo>
                    <a:pt x="2038808" y="209827"/>
                  </a:lnTo>
                  <a:lnTo>
                    <a:pt x="2045976" y="205754"/>
                  </a:lnTo>
                  <a:lnTo>
                    <a:pt x="2060149" y="205754"/>
                  </a:lnTo>
                  <a:cubicBezTo>
                    <a:pt x="2060149" y="205754"/>
                    <a:pt x="2066666" y="206895"/>
                    <a:pt x="2066666" y="206895"/>
                  </a:cubicBezTo>
                  <a:lnTo>
                    <a:pt x="2085726" y="205428"/>
                  </a:lnTo>
                  <a:lnTo>
                    <a:pt x="2098596" y="203311"/>
                  </a:lnTo>
                  <a:lnTo>
                    <a:pt x="2106741" y="195165"/>
                  </a:lnTo>
                  <a:lnTo>
                    <a:pt x="2112280" y="195165"/>
                  </a:lnTo>
                  <a:cubicBezTo>
                    <a:pt x="2112280" y="195165"/>
                    <a:pt x="2116353" y="196468"/>
                    <a:pt x="2116353" y="196468"/>
                  </a:cubicBezTo>
                  <a:lnTo>
                    <a:pt x="2122218" y="195328"/>
                  </a:lnTo>
                  <a:lnTo>
                    <a:pt x="2130363" y="195328"/>
                  </a:lnTo>
                  <a:cubicBezTo>
                    <a:pt x="2130363" y="195328"/>
                    <a:pt x="2127105" y="202496"/>
                    <a:pt x="2127105" y="202496"/>
                  </a:cubicBezTo>
                  <a:lnTo>
                    <a:pt x="2123358" y="209827"/>
                  </a:lnTo>
                  <a:lnTo>
                    <a:pt x="2114561" y="214226"/>
                  </a:lnTo>
                  <a:lnTo>
                    <a:pt x="2111954" y="216343"/>
                  </a:lnTo>
                  <a:lnTo>
                    <a:pt x="2102017" y="218135"/>
                  </a:lnTo>
                  <a:lnTo>
                    <a:pt x="2098107" y="223511"/>
                  </a:lnTo>
                  <a:lnTo>
                    <a:pt x="2094360" y="224000"/>
                  </a:lnTo>
                  <a:lnTo>
                    <a:pt x="2088495" y="229702"/>
                  </a:lnTo>
                  <a:lnTo>
                    <a:pt x="2080676" y="233286"/>
                  </a:lnTo>
                  <a:lnTo>
                    <a:pt x="2075463" y="233775"/>
                  </a:lnTo>
                  <a:lnTo>
                    <a:pt x="2071879" y="235241"/>
                  </a:lnTo>
                  <a:lnTo>
                    <a:pt x="2066340" y="234263"/>
                  </a:lnTo>
                  <a:lnTo>
                    <a:pt x="2061290" y="238825"/>
                  </a:lnTo>
                  <a:lnTo>
                    <a:pt x="2051841" y="240780"/>
                  </a:lnTo>
                  <a:lnTo>
                    <a:pt x="2048745" y="245993"/>
                  </a:lnTo>
                  <a:lnTo>
                    <a:pt x="2038482" y="247785"/>
                  </a:lnTo>
                  <a:lnTo>
                    <a:pt x="2034084" y="250228"/>
                  </a:lnTo>
                  <a:lnTo>
                    <a:pt x="2030337" y="249088"/>
                  </a:lnTo>
                  <a:lnTo>
                    <a:pt x="2025938" y="252998"/>
                  </a:lnTo>
                  <a:lnTo>
                    <a:pt x="2021702" y="252672"/>
                  </a:lnTo>
                  <a:lnTo>
                    <a:pt x="2019910" y="254627"/>
                  </a:lnTo>
                  <a:lnTo>
                    <a:pt x="2019910" y="260329"/>
                  </a:lnTo>
                  <a:cubicBezTo>
                    <a:pt x="2019910" y="260329"/>
                    <a:pt x="2015023" y="264239"/>
                    <a:pt x="2015023" y="264239"/>
                  </a:cubicBezTo>
                  <a:lnTo>
                    <a:pt x="2011928" y="268637"/>
                  </a:lnTo>
                  <a:lnTo>
                    <a:pt x="1999873" y="268637"/>
                  </a:lnTo>
                  <a:cubicBezTo>
                    <a:pt x="1999873" y="268637"/>
                    <a:pt x="1996452" y="271407"/>
                    <a:pt x="1996452" y="271407"/>
                  </a:cubicBezTo>
                  <a:lnTo>
                    <a:pt x="1992542" y="270103"/>
                  </a:lnTo>
                  <a:lnTo>
                    <a:pt x="1991564" y="267171"/>
                  </a:lnTo>
                  <a:lnTo>
                    <a:pt x="1993845" y="263913"/>
                  </a:lnTo>
                  <a:lnTo>
                    <a:pt x="1993845" y="259514"/>
                  </a:lnTo>
                  <a:lnTo>
                    <a:pt x="1990424" y="256582"/>
                  </a:lnTo>
                  <a:lnTo>
                    <a:pt x="1991401" y="263587"/>
                  </a:lnTo>
                  <a:lnTo>
                    <a:pt x="1988958" y="266194"/>
                  </a:lnTo>
                  <a:lnTo>
                    <a:pt x="1987329" y="269940"/>
                  </a:lnTo>
                  <a:lnTo>
                    <a:pt x="1993193" y="273687"/>
                  </a:lnTo>
                  <a:lnTo>
                    <a:pt x="1994334" y="277434"/>
                  </a:lnTo>
                  <a:lnTo>
                    <a:pt x="1989284" y="282810"/>
                  </a:lnTo>
                  <a:lnTo>
                    <a:pt x="1987003" y="283136"/>
                  </a:lnTo>
                  <a:lnTo>
                    <a:pt x="1981790" y="279389"/>
                  </a:lnTo>
                  <a:lnTo>
                    <a:pt x="1978532" y="281344"/>
                  </a:lnTo>
                  <a:lnTo>
                    <a:pt x="1969735" y="278249"/>
                  </a:lnTo>
                  <a:lnTo>
                    <a:pt x="1966802" y="280204"/>
                  </a:lnTo>
                  <a:lnTo>
                    <a:pt x="1963544" y="280530"/>
                  </a:lnTo>
                  <a:lnTo>
                    <a:pt x="1963055" y="276131"/>
                  </a:lnTo>
                  <a:lnTo>
                    <a:pt x="1960937" y="274502"/>
                  </a:lnTo>
                  <a:lnTo>
                    <a:pt x="1958983" y="279063"/>
                  </a:lnTo>
                  <a:lnTo>
                    <a:pt x="1954584" y="279389"/>
                  </a:lnTo>
                  <a:lnTo>
                    <a:pt x="1953607" y="282322"/>
                  </a:lnTo>
                  <a:lnTo>
                    <a:pt x="1963544" y="284276"/>
                  </a:lnTo>
                  <a:lnTo>
                    <a:pt x="1976902" y="284602"/>
                  </a:lnTo>
                  <a:lnTo>
                    <a:pt x="1979998" y="288675"/>
                  </a:lnTo>
                  <a:lnTo>
                    <a:pt x="1979020" y="293074"/>
                  </a:lnTo>
                  <a:lnTo>
                    <a:pt x="1973807" y="296169"/>
                  </a:lnTo>
                  <a:lnTo>
                    <a:pt x="1967291" y="295028"/>
                  </a:lnTo>
                  <a:lnTo>
                    <a:pt x="1960449" y="296658"/>
                  </a:lnTo>
                  <a:lnTo>
                    <a:pt x="1958657" y="298612"/>
                  </a:lnTo>
                  <a:lnTo>
                    <a:pt x="1961100" y="300567"/>
                  </a:lnTo>
                  <a:lnTo>
                    <a:pt x="1963544" y="299264"/>
                  </a:lnTo>
                  <a:lnTo>
                    <a:pt x="1967128" y="301382"/>
                  </a:lnTo>
                  <a:lnTo>
                    <a:pt x="1966476" y="305455"/>
                  </a:lnTo>
                  <a:lnTo>
                    <a:pt x="1958331" y="313437"/>
                  </a:lnTo>
                  <a:lnTo>
                    <a:pt x="1951326" y="312948"/>
                  </a:lnTo>
                  <a:lnTo>
                    <a:pt x="1938619" y="312623"/>
                  </a:lnTo>
                  <a:lnTo>
                    <a:pt x="1936827" y="310016"/>
                  </a:lnTo>
                  <a:lnTo>
                    <a:pt x="1931614" y="309364"/>
                  </a:lnTo>
                  <a:lnTo>
                    <a:pt x="1929985" y="306758"/>
                  </a:lnTo>
                  <a:lnTo>
                    <a:pt x="1929333" y="298287"/>
                  </a:lnTo>
                  <a:lnTo>
                    <a:pt x="1922165" y="296983"/>
                  </a:lnTo>
                  <a:lnTo>
                    <a:pt x="1919884" y="294540"/>
                  </a:lnTo>
                  <a:lnTo>
                    <a:pt x="1920210" y="289978"/>
                  </a:lnTo>
                  <a:lnTo>
                    <a:pt x="1916952" y="287046"/>
                  </a:lnTo>
                  <a:lnTo>
                    <a:pt x="1914020" y="288512"/>
                  </a:lnTo>
                  <a:lnTo>
                    <a:pt x="1910436" y="287209"/>
                  </a:lnTo>
                  <a:lnTo>
                    <a:pt x="1902290" y="288186"/>
                  </a:lnTo>
                  <a:lnTo>
                    <a:pt x="1901801" y="290630"/>
                  </a:lnTo>
                  <a:lnTo>
                    <a:pt x="1905060" y="292422"/>
                  </a:lnTo>
                  <a:lnTo>
                    <a:pt x="1906689" y="290956"/>
                  </a:lnTo>
                  <a:lnTo>
                    <a:pt x="1910924" y="291444"/>
                  </a:lnTo>
                  <a:lnTo>
                    <a:pt x="1922002" y="302522"/>
                  </a:lnTo>
                  <a:lnTo>
                    <a:pt x="1921676" y="316695"/>
                  </a:lnTo>
                  <a:lnTo>
                    <a:pt x="1919884" y="319139"/>
                  </a:lnTo>
                  <a:lnTo>
                    <a:pt x="1914508" y="318487"/>
                  </a:lnTo>
                  <a:lnTo>
                    <a:pt x="1910110" y="314252"/>
                  </a:lnTo>
                  <a:lnTo>
                    <a:pt x="1907177" y="314740"/>
                  </a:lnTo>
                  <a:lnTo>
                    <a:pt x="1906852" y="318813"/>
                  </a:lnTo>
                  <a:lnTo>
                    <a:pt x="1904897" y="320279"/>
                  </a:lnTo>
                  <a:lnTo>
                    <a:pt x="1900172" y="315229"/>
                  </a:lnTo>
                  <a:lnTo>
                    <a:pt x="1895937" y="315555"/>
                  </a:lnTo>
                  <a:lnTo>
                    <a:pt x="1892516" y="319628"/>
                  </a:lnTo>
                  <a:lnTo>
                    <a:pt x="1890072" y="319139"/>
                  </a:lnTo>
                  <a:lnTo>
                    <a:pt x="1887791" y="316044"/>
                  </a:lnTo>
                  <a:lnTo>
                    <a:pt x="1882578" y="314578"/>
                  </a:lnTo>
                  <a:lnTo>
                    <a:pt x="1879320" y="309202"/>
                  </a:lnTo>
                  <a:lnTo>
                    <a:pt x="1876713" y="310994"/>
                  </a:lnTo>
                  <a:lnTo>
                    <a:pt x="1875410" y="305455"/>
                  </a:lnTo>
                  <a:lnTo>
                    <a:pt x="1872641" y="303826"/>
                  </a:lnTo>
                  <a:lnTo>
                    <a:pt x="1865147" y="303011"/>
                  </a:lnTo>
                  <a:lnTo>
                    <a:pt x="1862215" y="298775"/>
                  </a:lnTo>
                  <a:lnTo>
                    <a:pt x="1860423" y="300567"/>
                  </a:lnTo>
                  <a:lnTo>
                    <a:pt x="1861074" y="304151"/>
                  </a:lnTo>
                  <a:lnTo>
                    <a:pt x="1865799" y="307247"/>
                  </a:lnTo>
                  <a:lnTo>
                    <a:pt x="1872152" y="308876"/>
                  </a:lnTo>
                  <a:lnTo>
                    <a:pt x="1877854" y="318487"/>
                  </a:lnTo>
                  <a:lnTo>
                    <a:pt x="1875736" y="321094"/>
                  </a:lnTo>
                  <a:lnTo>
                    <a:pt x="1862052" y="317999"/>
                  </a:lnTo>
                  <a:lnTo>
                    <a:pt x="1858142" y="314740"/>
                  </a:lnTo>
                  <a:lnTo>
                    <a:pt x="1857816" y="309527"/>
                  </a:lnTo>
                  <a:lnTo>
                    <a:pt x="1854558" y="306106"/>
                  </a:lnTo>
                  <a:lnTo>
                    <a:pt x="1852766" y="308550"/>
                  </a:lnTo>
                  <a:lnTo>
                    <a:pt x="1853743" y="310994"/>
                  </a:lnTo>
                  <a:lnTo>
                    <a:pt x="1852114" y="314415"/>
                  </a:lnTo>
                  <a:lnTo>
                    <a:pt x="1847553" y="313111"/>
                  </a:lnTo>
                  <a:lnTo>
                    <a:pt x="1844946" y="310179"/>
                  </a:lnTo>
                  <a:lnTo>
                    <a:pt x="1840385" y="311482"/>
                  </a:lnTo>
                  <a:lnTo>
                    <a:pt x="1840873" y="314740"/>
                  </a:lnTo>
                  <a:lnTo>
                    <a:pt x="1847716" y="317510"/>
                  </a:lnTo>
                  <a:lnTo>
                    <a:pt x="1847390" y="322071"/>
                  </a:lnTo>
                  <a:lnTo>
                    <a:pt x="1850322" y="322071"/>
                  </a:lnTo>
                  <a:lnTo>
                    <a:pt x="1852603" y="320279"/>
                  </a:lnTo>
                  <a:lnTo>
                    <a:pt x="1856350" y="320279"/>
                  </a:lnTo>
                  <a:cubicBezTo>
                    <a:pt x="1856350" y="320279"/>
                    <a:pt x="1860260" y="324026"/>
                    <a:pt x="1860260" y="324026"/>
                  </a:cubicBezTo>
                  <a:lnTo>
                    <a:pt x="1865799" y="325981"/>
                  </a:lnTo>
                  <a:lnTo>
                    <a:pt x="1870360" y="330380"/>
                  </a:lnTo>
                  <a:lnTo>
                    <a:pt x="1873292" y="330380"/>
                  </a:lnTo>
                  <a:lnTo>
                    <a:pt x="1877365" y="329076"/>
                  </a:lnTo>
                  <a:lnTo>
                    <a:pt x="1891538" y="332172"/>
                  </a:lnTo>
                  <a:lnTo>
                    <a:pt x="1894308" y="335104"/>
                  </a:lnTo>
                  <a:lnTo>
                    <a:pt x="1889583" y="338525"/>
                  </a:lnTo>
                  <a:lnTo>
                    <a:pt x="1891212" y="341132"/>
                  </a:lnTo>
                  <a:lnTo>
                    <a:pt x="1890724" y="345693"/>
                  </a:lnTo>
                  <a:lnTo>
                    <a:pt x="1891864" y="350580"/>
                  </a:lnTo>
                  <a:lnTo>
                    <a:pt x="1888443" y="353839"/>
                  </a:lnTo>
                  <a:lnTo>
                    <a:pt x="1886325" y="353350"/>
                  </a:lnTo>
                  <a:lnTo>
                    <a:pt x="1883067" y="350092"/>
                  </a:lnTo>
                  <a:lnTo>
                    <a:pt x="1876062" y="348300"/>
                  </a:lnTo>
                  <a:lnTo>
                    <a:pt x="1869383" y="343087"/>
                  </a:lnTo>
                  <a:lnTo>
                    <a:pt x="1867753" y="339828"/>
                  </a:lnTo>
                  <a:lnTo>
                    <a:pt x="1868568" y="333475"/>
                  </a:lnTo>
                  <a:lnTo>
                    <a:pt x="1865799" y="329076"/>
                  </a:lnTo>
                  <a:lnTo>
                    <a:pt x="1858305" y="328751"/>
                  </a:lnTo>
                  <a:lnTo>
                    <a:pt x="1846901" y="326959"/>
                  </a:lnTo>
                  <a:lnTo>
                    <a:pt x="1842665" y="323863"/>
                  </a:lnTo>
                  <a:lnTo>
                    <a:pt x="1837941" y="324515"/>
                  </a:lnTo>
                  <a:lnTo>
                    <a:pt x="1837127" y="326796"/>
                  </a:lnTo>
                  <a:lnTo>
                    <a:pt x="1843643" y="329402"/>
                  </a:lnTo>
                  <a:lnTo>
                    <a:pt x="1853743" y="330217"/>
                  </a:lnTo>
                  <a:lnTo>
                    <a:pt x="1864332" y="334127"/>
                  </a:lnTo>
                  <a:lnTo>
                    <a:pt x="1864332" y="339503"/>
                  </a:lnTo>
                  <a:cubicBezTo>
                    <a:pt x="1864332" y="339503"/>
                    <a:pt x="1862215" y="340154"/>
                    <a:pt x="1862215" y="340154"/>
                  </a:cubicBezTo>
                  <a:lnTo>
                    <a:pt x="1856838" y="336244"/>
                  </a:lnTo>
                  <a:lnTo>
                    <a:pt x="1847553" y="336244"/>
                  </a:lnTo>
                  <a:cubicBezTo>
                    <a:pt x="1847553" y="336244"/>
                    <a:pt x="1839896" y="338036"/>
                    <a:pt x="1839896" y="338036"/>
                  </a:cubicBezTo>
                  <a:lnTo>
                    <a:pt x="1839896" y="335267"/>
                  </a:lnTo>
                  <a:cubicBezTo>
                    <a:pt x="1839896" y="335267"/>
                    <a:pt x="1837289" y="332335"/>
                    <a:pt x="1837289" y="332335"/>
                  </a:cubicBezTo>
                  <a:lnTo>
                    <a:pt x="1828655" y="331031"/>
                  </a:lnTo>
                  <a:lnTo>
                    <a:pt x="1824583" y="328588"/>
                  </a:lnTo>
                  <a:lnTo>
                    <a:pt x="1825560" y="331357"/>
                  </a:lnTo>
                  <a:lnTo>
                    <a:pt x="1834846" y="335593"/>
                  </a:lnTo>
                  <a:lnTo>
                    <a:pt x="1833705" y="337874"/>
                  </a:lnTo>
                  <a:lnTo>
                    <a:pt x="1833705" y="341458"/>
                  </a:lnTo>
                  <a:lnTo>
                    <a:pt x="1837941" y="341458"/>
                  </a:lnTo>
                  <a:cubicBezTo>
                    <a:pt x="1837941" y="341458"/>
                    <a:pt x="1839081" y="340969"/>
                    <a:pt x="1839081" y="340969"/>
                  </a:cubicBezTo>
                  <a:lnTo>
                    <a:pt x="1840873" y="342272"/>
                  </a:lnTo>
                  <a:lnTo>
                    <a:pt x="1844946" y="340643"/>
                  </a:lnTo>
                  <a:lnTo>
                    <a:pt x="1846086" y="339340"/>
                  </a:lnTo>
                  <a:lnTo>
                    <a:pt x="1848693" y="340643"/>
                  </a:lnTo>
                  <a:lnTo>
                    <a:pt x="1853254" y="340154"/>
                  </a:lnTo>
                  <a:lnTo>
                    <a:pt x="1857001" y="341620"/>
                  </a:lnTo>
                  <a:lnTo>
                    <a:pt x="1864332" y="348463"/>
                  </a:lnTo>
                  <a:lnTo>
                    <a:pt x="1864332" y="350906"/>
                  </a:lnTo>
                  <a:cubicBezTo>
                    <a:pt x="1864332" y="350906"/>
                    <a:pt x="1857816" y="351232"/>
                    <a:pt x="1857816" y="351232"/>
                  </a:cubicBezTo>
                  <a:lnTo>
                    <a:pt x="1852603" y="353676"/>
                  </a:lnTo>
                  <a:lnTo>
                    <a:pt x="1851788" y="356282"/>
                  </a:lnTo>
                  <a:lnTo>
                    <a:pt x="1856513" y="354979"/>
                  </a:lnTo>
                  <a:lnTo>
                    <a:pt x="1861074" y="354979"/>
                  </a:lnTo>
                  <a:cubicBezTo>
                    <a:pt x="1861074" y="354979"/>
                    <a:pt x="1865310" y="354164"/>
                    <a:pt x="1865310" y="354164"/>
                  </a:cubicBezTo>
                  <a:lnTo>
                    <a:pt x="1870034" y="358726"/>
                  </a:lnTo>
                  <a:lnTo>
                    <a:pt x="1874596" y="361495"/>
                  </a:lnTo>
                  <a:lnTo>
                    <a:pt x="1874596" y="366057"/>
                  </a:lnTo>
                  <a:cubicBezTo>
                    <a:pt x="1874596" y="366057"/>
                    <a:pt x="1868731" y="375506"/>
                    <a:pt x="1868731" y="375506"/>
                  </a:cubicBezTo>
                  <a:lnTo>
                    <a:pt x="1866776" y="383325"/>
                  </a:lnTo>
                  <a:lnTo>
                    <a:pt x="1864495" y="383814"/>
                  </a:lnTo>
                  <a:lnTo>
                    <a:pt x="1857327" y="389190"/>
                  </a:lnTo>
                  <a:lnTo>
                    <a:pt x="1854069" y="387398"/>
                  </a:lnTo>
                  <a:lnTo>
                    <a:pt x="1849670" y="387398"/>
                  </a:lnTo>
                  <a:cubicBezTo>
                    <a:pt x="1849670" y="387398"/>
                    <a:pt x="1845924" y="385443"/>
                    <a:pt x="1845924" y="385443"/>
                  </a:cubicBezTo>
                  <a:lnTo>
                    <a:pt x="1845109" y="382837"/>
                  </a:lnTo>
                  <a:lnTo>
                    <a:pt x="1841362" y="380556"/>
                  </a:lnTo>
                  <a:lnTo>
                    <a:pt x="1835335" y="380556"/>
                  </a:lnTo>
                  <a:cubicBezTo>
                    <a:pt x="1835335" y="380556"/>
                    <a:pt x="1836149" y="382837"/>
                    <a:pt x="1836149" y="382837"/>
                  </a:cubicBezTo>
                  <a:lnTo>
                    <a:pt x="1841688" y="385117"/>
                  </a:lnTo>
                  <a:lnTo>
                    <a:pt x="1842502" y="387724"/>
                  </a:lnTo>
                  <a:lnTo>
                    <a:pt x="1846086" y="388701"/>
                  </a:lnTo>
                  <a:lnTo>
                    <a:pt x="1852440" y="392774"/>
                  </a:lnTo>
                  <a:lnTo>
                    <a:pt x="1853418" y="399127"/>
                  </a:lnTo>
                  <a:lnTo>
                    <a:pt x="1851462" y="402060"/>
                  </a:lnTo>
                  <a:lnTo>
                    <a:pt x="1847390" y="402874"/>
                  </a:lnTo>
                  <a:lnTo>
                    <a:pt x="1841851" y="407762"/>
                  </a:lnTo>
                  <a:lnTo>
                    <a:pt x="1838593" y="408576"/>
                  </a:lnTo>
                  <a:lnTo>
                    <a:pt x="1830773" y="401897"/>
                  </a:lnTo>
                  <a:lnTo>
                    <a:pt x="1826211" y="403363"/>
                  </a:lnTo>
                  <a:lnTo>
                    <a:pt x="1823768" y="400594"/>
                  </a:lnTo>
                  <a:lnTo>
                    <a:pt x="1818718" y="400105"/>
                  </a:lnTo>
                  <a:lnTo>
                    <a:pt x="1815460" y="401897"/>
                  </a:lnTo>
                  <a:lnTo>
                    <a:pt x="1816600" y="405318"/>
                  </a:lnTo>
                  <a:lnTo>
                    <a:pt x="1831751" y="413463"/>
                  </a:lnTo>
                  <a:lnTo>
                    <a:pt x="1837615" y="413952"/>
                  </a:lnTo>
                  <a:lnTo>
                    <a:pt x="1837615" y="417047"/>
                  </a:lnTo>
                  <a:lnTo>
                    <a:pt x="1833380" y="419002"/>
                  </a:lnTo>
                  <a:lnTo>
                    <a:pt x="1829307" y="423890"/>
                  </a:lnTo>
                  <a:lnTo>
                    <a:pt x="1824908" y="424867"/>
                  </a:lnTo>
                  <a:lnTo>
                    <a:pt x="1820999" y="420469"/>
                  </a:lnTo>
                  <a:lnTo>
                    <a:pt x="1817089" y="420469"/>
                  </a:lnTo>
                  <a:cubicBezTo>
                    <a:pt x="1817089" y="420469"/>
                    <a:pt x="1812364" y="424215"/>
                    <a:pt x="1812364" y="424215"/>
                  </a:cubicBezTo>
                  <a:lnTo>
                    <a:pt x="1804545" y="423890"/>
                  </a:lnTo>
                  <a:lnTo>
                    <a:pt x="1801286" y="420143"/>
                  </a:lnTo>
                  <a:lnTo>
                    <a:pt x="1791023" y="417699"/>
                  </a:lnTo>
                  <a:lnTo>
                    <a:pt x="1784507" y="419328"/>
                  </a:lnTo>
                  <a:lnTo>
                    <a:pt x="1783203" y="428614"/>
                  </a:lnTo>
                  <a:lnTo>
                    <a:pt x="1778316" y="433175"/>
                  </a:lnTo>
                  <a:lnTo>
                    <a:pt x="1782878" y="433175"/>
                  </a:lnTo>
                  <a:cubicBezTo>
                    <a:pt x="1782878" y="433175"/>
                    <a:pt x="1784507" y="434316"/>
                    <a:pt x="1784507" y="434316"/>
                  </a:cubicBezTo>
                  <a:lnTo>
                    <a:pt x="1784507" y="439366"/>
                  </a:lnTo>
                  <a:cubicBezTo>
                    <a:pt x="1784507" y="439366"/>
                    <a:pt x="1777339" y="443276"/>
                    <a:pt x="1777339" y="443276"/>
                  </a:cubicBezTo>
                  <a:lnTo>
                    <a:pt x="1777013" y="448815"/>
                  </a:lnTo>
                  <a:lnTo>
                    <a:pt x="1771148" y="451910"/>
                  </a:lnTo>
                  <a:lnTo>
                    <a:pt x="1769030" y="449955"/>
                  </a:lnTo>
                  <a:lnTo>
                    <a:pt x="1767727" y="451584"/>
                  </a:lnTo>
                  <a:lnTo>
                    <a:pt x="1766913" y="455168"/>
                  </a:lnTo>
                  <a:lnTo>
                    <a:pt x="1761862" y="457286"/>
                  </a:lnTo>
                  <a:lnTo>
                    <a:pt x="1758278" y="456309"/>
                  </a:lnTo>
                  <a:lnTo>
                    <a:pt x="1760559" y="453376"/>
                  </a:lnTo>
                  <a:lnTo>
                    <a:pt x="1758116" y="453376"/>
                  </a:lnTo>
                  <a:lnTo>
                    <a:pt x="1755183" y="456146"/>
                  </a:lnTo>
                  <a:lnTo>
                    <a:pt x="1751599" y="463151"/>
                  </a:lnTo>
                  <a:lnTo>
                    <a:pt x="1748993" y="464943"/>
                  </a:lnTo>
                  <a:lnTo>
                    <a:pt x="1737100" y="458589"/>
                  </a:lnTo>
                  <a:lnTo>
                    <a:pt x="1730258" y="458589"/>
                  </a:lnTo>
                  <a:cubicBezTo>
                    <a:pt x="1730258" y="458589"/>
                    <a:pt x="1729281" y="460381"/>
                    <a:pt x="1729281" y="460381"/>
                  </a:cubicBezTo>
                  <a:lnTo>
                    <a:pt x="1722927" y="459078"/>
                  </a:lnTo>
                  <a:lnTo>
                    <a:pt x="1712012" y="446045"/>
                  </a:lnTo>
                  <a:lnTo>
                    <a:pt x="1709732" y="434967"/>
                  </a:lnTo>
                  <a:lnTo>
                    <a:pt x="1712664" y="432850"/>
                  </a:lnTo>
                  <a:lnTo>
                    <a:pt x="1713478" y="428614"/>
                  </a:lnTo>
                  <a:lnTo>
                    <a:pt x="1711849" y="425519"/>
                  </a:lnTo>
                  <a:lnTo>
                    <a:pt x="1712338" y="422098"/>
                  </a:lnTo>
                  <a:lnTo>
                    <a:pt x="1707614" y="427799"/>
                  </a:lnTo>
                  <a:lnTo>
                    <a:pt x="1707614" y="431383"/>
                  </a:lnTo>
                  <a:cubicBezTo>
                    <a:pt x="1707614" y="431383"/>
                    <a:pt x="1705659" y="438714"/>
                    <a:pt x="1705659" y="438714"/>
                  </a:cubicBezTo>
                  <a:lnTo>
                    <a:pt x="1703378" y="442624"/>
                  </a:lnTo>
                  <a:lnTo>
                    <a:pt x="1707451" y="448163"/>
                  </a:lnTo>
                  <a:lnTo>
                    <a:pt x="1706636" y="450770"/>
                  </a:lnTo>
                  <a:lnTo>
                    <a:pt x="1704030" y="450118"/>
                  </a:lnTo>
                  <a:lnTo>
                    <a:pt x="1697025" y="451095"/>
                  </a:lnTo>
                  <a:lnTo>
                    <a:pt x="1695884" y="450281"/>
                  </a:lnTo>
                  <a:lnTo>
                    <a:pt x="1691160" y="451095"/>
                  </a:lnTo>
                  <a:lnTo>
                    <a:pt x="1695559" y="455005"/>
                  </a:lnTo>
                  <a:lnTo>
                    <a:pt x="1692952" y="462825"/>
                  </a:lnTo>
                  <a:lnTo>
                    <a:pt x="1696536" y="462825"/>
                  </a:lnTo>
                  <a:lnTo>
                    <a:pt x="1702238" y="455983"/>
                  </a:lnTo>
                  <a:lnTo>
                    <a:pt x="1705007" y="455983"/>
                  </a:lnTo>
                  <a:cubicBezTo>
                    <a:pt x="1705007" y="455983"/>
                    <a:pt x="1707288" y="454028"/>
                    <a:pt x="1707288" y="454028"/>
                  </a:cubicBezTo>
                  <a:lnTo>
                    <a:pt x="1710709" y="452725"/>
                  </a:lnTo>
                  <a:lnTo>
                    <a:pt x="1716574" y="456960"/>
                  </a:lnTo>
                  <a:lnTo>
                    <a:pt x="1720321" y="462662"/>
                  </a:lnTo>
                  <a:lnTo>
                    <a:pt x="1718040" y="467875"/>
                  </a:lnTo>
                  <a:lnTo>
                    <a:pt x="1723905" y="463639"/>
                  </a:lnTo>
                  <a:lnTo>
                    <a:pt x="1733191" y="461196"/>
                  </a:lnTo>
                  <a:lnTo>
                    <a:pt x="1739544" y="464128"/>
                  </a:lnTo>
                  <a:lnTo>
                    <a:pt x="1740521" y="469178"/>
                  </a:lnTo>
                  <a:lnTo>
                    <a:pt x="1737915" y="472274"/>
                  </a:lnTo>
                  <a:lnTo>
                    <a:pt x="1734819" y="480419"/>
                  </a:lnTo>
                  <a:lnTo>
                    <a:pt x="1731887" y="481234"/>
                  </a:lnTo>
                  <a:lnTo>
                    <a:pt x="1730421" y="484655"/>
                  </a:lnTo>
                  <a:lnTo>
                    <a:pt x="1732050" y="486121"/>
                  </a:lnTo>
                  <a:lnTo>
                    <a:pt x="1736611" y="485795"/>
                  </a:lnTo>
                  <a:lnTo>
                    <a:pt x="1735797" y="489379"/>
                  </a:lnTo>
                  <a:lnTo>
                    <a:pt x="1731724" y="493941"/>
                  </a:lnTo>
                  <a:lnTo>
                    <a:pt x="1736449" y="493615"/>
                  </a:lnTo>
                  <a:lnTo>
                    <a:pt x="1738729" y="490194"/>
                  </a:lnTo>
                  <a:lnTo>
                    <a:pt x="1744920" y="486610"/>
                  </a:lnTo>
                  <a:lnTo>
                    <a:pt x="1748341" y="486610"/>
                  </a:lnTo>
                  <a:cubicBezTo>
                    <a:pt x="1748341" y="486610"/>
                    <a:pt x="1750622" y="485306"/>
                    <a:pt x="1750622" y="485306"/>
                  </a:cubicBezTo>
                  <a:lnTo>
                    <a:pt x="1753228" y="486610"/>
                  </a:lnTo>
                  <a:lnTo>
                    <a:pt x="1752088" y="491660"/>
                  </a:lnTo>
                  <a:lnTo>
                    <a:pt x="1753554" y="494918"/>
                  </a:lnTo>
                  <a:lnTo>
                    <a:pt x="1751762" y="503389"/>
                  </a:lnTo>
                  <a:lnTo>
                    <a:pt x="1746223" y="513490"/>
                  </a:lnTo>
                  <a:lnTo>
                    <a:pt x="1741336" y="513490"/>
                  </a:lnTo>
                  <a:cubicBezTo>
                    <a:pt x="1741336" y="513490"/>
                    <a:pt x="1736286" y="516748"/>
                    <a:pt x="1736286" y="516748"/>
                  </a:cubicBezTo>
                  <a:lnTo>
                    <a:pt x="1733191" y="522124"/>
                  </a:lnTo>
                  <a:lnTo>
                    <a:pt x="1728466" y="525708"/>
                  </a:lnTo>
                  <a:lnTo>
                    <a:pt x="1726674" y="524079"/>
                  </a:lnTo>
                  <a:lnTo>
                    <a:pt x="1728466" y="518214"/>
                  </a:lnTo>
                  <a:lnTo>
                    <a:pt x="1729281" y="512023"/>
                  </a:lnTo>
                  <a:lnTo>
                    <a:pt x="1728140" y="510883"/>
                  </a:lnTo>
                  <a:lnTo>
                    <a:pt x="1724556" y="513164"/>
                  </a:lnTo>
                  <a:lnTo>
                    <a:pt x="1720972" y="520006"/>
                  </a:lnTo>
                  <a:lnTo>
                    <a:pt x="1716737" y="521146"/>
                  </a:lnTo>
                  <a:lnTo>
                    <a:pt x="1709732" y="527663"/>
                  </a:lnTo>
                  <a:lnTo>
                    <a:pt x="1707614" y="526197"/>
                  </a:lnTo>
                  <a:lnTo>
                    <a:pt x="1702727" y="526197"/>
                  </a:lnTo>
                  <a:cubicBezTo>
                    <a:pt x="1702727" y="526197"/>
                    <a:pt x="1694744" y="532387"/>
                    <a:pt x="1694744" y="532387"/>
                  </a:cubicBezTo>
                  <a:lnTo>
                    <a:pt x="1692463" y="531084"/>
                  </a:lnTo>
                  <a:lnTo>
                    <a:pt x="1687902" y="533039"/>
                  </a:lnTo>
                  <a:lnTo>
                    <a:pt x="1683014" y="532713"/>
                  </a:lnTo>
                  <a:lnTo>
                    <a:pt x="1681385" y="529129"/>
                  </a:lnTo>
                  <a:lnTo>
                    <a:pt x="1679105" y="527500"/>
                  </a:lnTo>
                  <a:lnTo>
                    <a:pt x="1683503" y="524079"/>
                  </a:lnTo>
                  <a:lnTo>
                    <a:pt x="1686761" y="519354"/>
                  </a:lnTo>
                  <a:lnTo>
                    <a:pt x="1686761" y="515282"/>
                  </a:lnTo>
                  <a:cubicBezTo>
                    <a:pt x="1686761" y="515282"/>
                    <a:pt x="1681548" y="507625"/>
                    <a:pt x="1681548" y="507625"/>
                  </a:cubicBezTo>
                  <a:lnTo>
                    <a:pt x="1678127" y="510883"/>
                  </a:lnTo>
                  <a:lnTo>
                    <a:pt x="1671122" y="508277"/>
                  </a:lnTo>
                  <a:lnTo>
                    <a:pt x="1670145" y="505181"/>
                  </a:lnTo>
                  <a:lnTo>
                    <a:pt x="1672751" y="498991"/>
                  </a:lnTo>
                  <a:lnTo>
                    <a:pt x="1676498" y="498013"/>
                  </a:lnTo>
                  <a:lnTo>
                    <a:pt x="1673403" y="496384"/>
                  </a:lnTo>
                  <a:lnTo>
                    <a:pt x="1669819" y="495407"/>
                  </a:lnTo>
                  <a:lnTo>
                    <a:pt x="1666886" y="488402"/>
                  </a:lnTo>
                  <a:lnTo>
                    <a:pt x="1668516" y="484329"/>
                  </a:lnTo>
                  <a:lnTo>
                    <a:pt x="1668516" y="479767"/>
                  </a:lnTo>
                  <a:cubicBezTo>
                    <a:pt x="1668516" y="479767"/>
                    <a:pt x="1666561" y="475695"/>
                    <a:pt x="1666561" y="475695"/>
                  </a:cubicBezTo>
                  <a:lnTo>
                    <a:pt x="1666561" y="481234"/>
                  </a:lnTo>
                  <a:lnTo>
                    <a:pt x="1662977" y="489379"/>
                  </a:lnTo>
                  <a:lnTo>
                    <a:pt x="1667212" y="497036"/>
                  </a:lnTo>
                  <a:lnTo>
                    <a:pt x="1667701" y="500620"/>
                  </a:lnTo>
                  <a:lnTo>
                    <a:pt x="1665094" y="503389"/>
                  </a:lnTo>
                  <a:lnTo>
                    <a:pt x="1665094" y="509091"/>
                  </a:lnTo>
                  <a:cubicBezTo>
                    <a:pt x="1665094" y="509091"/>
                    <a:pt x="1661510" y="511046"/>
                    <a:pt x="1661510" y="511046"/>
                  </a:cubicBezTo>
                  <a:lnTo>
                    <a:pt x="1657601" y="509254"/>
                  </a:lnTo>
                  <a:lnTo>
                    <a:pt x="1653202" y="510557"/>
                  </a:lnTo>
                  <a:lnTo>
                    <a:pt x="1649618" y="506973"/>
                  </a:lnTo>
                  <a:lnTo>
                    <a:pt x="1648967" y="503715"/>
                  </a:lnTo>
                  <a:lnTo>
                    <a:pt x="1652551" y="494592"/>
                  </a:lnTo>
                  <a:lnTo>
                    <a:pt x="1650759" y="490031"/>
                  </a:lnTo>
                  <a:lnTo>
                    <a:pt x="1651736" y="485469"/>
                  </a:lnTo>
                  <a:lnTo>
                    <a:pt x="1656460" y="480419"/>
                  </a:lnTo>
                  <a:lnTo>
                    <a:pt x="1651247" y="481397"/>
                  </a:lnTo>
                  <a:lnTo>
                    <a:pt x="1647663" y="485469"/>
                  </a:lnTo>
                  <a:lnTo>
                    <a:pt x="1646523" y="491497"/>
                  </a:lnTo>
                  <a:lnTo>
                    <a:pt x="1648478" y="496384"/>
                  </a:lnTo>
                  <a:lnTo>
                    <a:pt x="1644242" y="504204"/>
                  </a:lnTo>
                  <a:lnTo>
                    <a:pt x="1639844" y="505507"/>
                  </a:lnTo>
                  <a:lnTo>
                    <a:pt x="1635282" y="502738"/>
                  </a:lnTo>
                  <a:lnTo>
                    <a:pt x="1635608" y="498339"/>
                  </a:lnTo>
                  <a:lnTo>
                    <a:pt x="1633816" y="496384"/>
                  </a:lnTo>
                  <a:lnTo>
                    <a:pt x="1634142" y="492963"/>
                  </a:lnTo>
                  <a:lnTo>
                    <a:pt x="1636260" y="488890"/>
                  </a:lnTo>
                  <a:lnTo>
                    <a:pt x="1637237" y="485958"/>
                  </a:lnTo>
                  <a:lnTo>
                    <a:pt x="1635934" y="480745"/>
                  </a:lnTo>
                  <a:lnTo>
                    <a:pt x="1634142" y="480256"/>
                  </a:lnTo>
                  <a:lnTo>
                    <a:pt x="1633164" y="482537"/>
                  </a:lnTo>
                  <a:lnTo>
                    <a:pt x="1632350" y="487913"/>
                  </a:lnTo>
                  <a:lnTo>
                    <a:pt x="1629417" y="490682"/>
                  </a:lnTo>
                  <a:lnTo>
                    <a:pt x="1629417" y="494429"/>
                  </a:lnTo>
                  <a:cubicBezTo>
                    <a:pt x="1629417" y="494429"/>
                    <a:pt x="1627788" y="496384"/>
                    <a:pt x="1627788" y="496384"/>
                  </a:cubicBezTo>
                  <a:lnTo>
                    <a:pt x="1623716" y="496710"/>
                  </a:lnTo>
                  <a:lnTo>
                    <a:pt x="1622738" y="498339"/>
                  </a:lnTo>
                  <a:lnTo>
                    <a:pt x="1619480" y="498828"/>
                  </a:lnTo>
                  <a:lnTo>
                    <a:pt x="1619480" y="498828"/>
                  </a:lnTo>
                  <a:close/>
                  <a:moveTo>
                    <a:pt x="1755509" y="1259451"/>
                  </a:moveTo>
                  <a:lnTo>
                    <a:pt x="1754532" y="1267596"/>
                  </a:lnTo>
                  <a:lnTo>
                    <a:pt x="1753065" y="1273298"/>
                  </a:lnTo>
                  <a:lnTo>
                    <a:pt x="1755346" y="1277371"/>
                  </a:lnTo>
                  <a:lnTo>
                    <a:pt x="1756975" y="1275416"/>
                  </a:lnTo>
                  <a:lnTo>
                    <a:pt x="1756161" y="1271995"/>
                  </a:lnTo>
                  <a:lnTo>
                    <a:pt x="1757790" y="1266130"/>
                  </a:lnTo>
                  <a:lnTo>
                    <a:pt x="1757138" y="1261080"/>
                  </a:lnTo>
                  <a:lnTo>
                    <a:pt x="1755346" y="1259451"/>
                  </a:lnTo>
                  <a:lnTo>
                    <a:pt x="1755346" y="1259451"/>
                  </a:lnTo>
                  <a:close/>
                  <a:moveTo>
                    <a:pt x="1750948" y="1231919"/>
                  </a:moveTo>
                  <a:lnTo>
                    <a:pt x="1749318" y="1229638"/>
                  </a:lnTo>
                  <a:lnTo>
                    <a:pt x="1751273" y="1227683"/>
                  </a:lnTo>
                  <a:lnTo>
                    <a:pt x="1752577" y="1229149"/>
                  </a:lnTo>
                  <a:lnTo>
                    <a:pt x="1752577" y="1232408"/>
                  </a:lnTo>
                  <a:cubicBezTo>
                    <a:pt x="1752577" y="1232408"/>
                    <a:pt x="1750785" y="1232082"/>
                    <a:pt x="1750785" y="1232082"/>
                  </a:cubicBezTo>
                  <a:lnTo>
                    <a:pt x="1750785" y="1232082"/>
                  </a:lnTo>
                  <a:close/>
                  <a:moveTo>
                    <a:pt x="1742965" y="1215954"/>
                  </a:moveTo>
                  <a:lnTo>
                    <a:pt x="1746386" y="1210578"/>
                  </a:lnTo>
                  <a:lnTo>
                    <a:pt x="1750296" y="1208786"/>
                  </a:lnTo>
                  <a:lnTo>
                    <a:pt x="1750948" y="1211718"/>
                  </a:lnTo>
                  <a:lnTo>
                    <a:pt x="1747201" y="1214651"/>
                  </a:lnTo>
                  <a:lnTo>
                    <a:pt x="1745409" y="1216931"/>
                  </a:lnTo>
                  <a:lnTo>
                    <a:pt x="1742965" y="1216117"/>
                  </a:lnTo>
                  <a:lnTo>
                    <a:pt x="1742965" y="1216117"/>
                  </a:lnTo>
                  <a:close/>
                  <a:moveTo>
                    <a:pt x="1702564" y="834095"/>
                  </a:moveTo>
                  <a:lnTo>
                    <a:pt x="1702238" y="830348"/>
                  </a:lnTo>
                  <a:lnTo>
                    <a:pt x="1704193" y="828393"/>
                  </a:lnTo>
                  <a:lnTo>
                    <a:pt x="1704193" y="833280"/>
                  </a:lnTo>
                  <a:cubicBezTo>
                    <a:pt x="1704193" y="833280"/>
                    <a:pt x="1702564" y="834095"/>
                    <a:pt x="1702564" y="834095"/>
                  </a:cubicBezTo>
                  <a:lnTo>
                    <a:pt x="1702564" y="834095"/>
                  </a:lnTo>
                  <a:close/>
                  <a:moveTo>
                    <a:pt x="1709569" y="838656"/>
                  </a:moveTo>
                  <a:lnTo>
                    <a:pt x="1708428" y="835724"/>
                  </a:lnTo>
                  <a:lnTo>
                    <a:pt x="1708428" y="832140"/>
                  </a:lnTo>
                  <a:lnTo>
                    <a:pt x="1711035" y="830511"/>
                  </a:lnTo>
                  <a:lnTo>
                    <a:pt x="1712990" y="833769"/>
                  </a:lnTo>
                  <a:lnTo>
                    <a:pt x="1711686" y="837842"/>
                  </a:lnTo>
                  <a:lnTo>
                    <a:pt x="1709406" y="838493"/>
                  </a:lnTo>
                  <a:lnTo>
                    <a:pt x="1709406" y="838493"/>
                  </a:lnTo>
                  <a:close/>
                  <a:moveTo>
                    <a:pt x="1700935" y="851689"/>
                  </a:moveTo>
                  <a:lnTo>
                    <a:pt x="1699143" y="847779"/>
                  </a:lnTo>
                  <a:lnTo>
                    <a:pt x="1700283" y="845499"/>
                  </a:lnTo>
                  <a:lnTo>
                    <a:pt x="1699957" y="840448"/>
                  </a:lnTo>
                  <a:lnTo>
                    <a:pt x="1702401" y="838493"/>
                  </a:lnTo>
                  <a:lnTo>
                    <a:pt x="1704193" y="842077"/>
                  </a:lnTo>
                  <a:lnTo>
                    <a:pt x="1705822" y="841589"/>
                  </a:lnTo>
                  <a:lnTo>
                    <a:pt x="1708428" y="843381"/>
                  </a:lnTo>
                  <a:lnTo>
                    <a:pt x="1704681" y="846313"/>
                  </a:lnTo>
                  <a:lnTo>
                    <a:pt x="1702727" y="850874"/>
                  </a:lnTo>
                  <a:lnTo>
                    <a:pt x="1701097" y="851852"/>
                  </a:lnTo>
                  <a:lnTo>
                    <a:pt x="1701097" y="851852"/>
                  </a:lnTo>
                  <a:close/>
                  <a:moveTo>
                    <a:pt x="1778316" y="965400"/>
                  </a:moveTo>
                  <a:lnTo>
                    <a:pt x="1780923" y="962467"/>
                  </a:lnTo>
                  <a:lnTo>
                    <a:pt x="1784833" y="963933"/>
                  </a:lnTo>
                  <a:lnTo>
                    <a:pt x="1782226" y="966703"/>
                  </a:lnTo>
                  <a:lnTo>
                    <a:pt x="1779294" y="966703"/>
                  </a:lnTo>
                  <a:lnTo>
                    <a:pt x="1778316" y="965400"/>
                  </a:lnTo>
                  <a:lnTo>
                    <a:pt x="1778316" y="965400"/>
                  </a:lnTo>
                  <a:close/>
                  <a:moveTo>
                    <a:pt x="1768868" y="963933"/>
                  </a:moveTo>
                  <a:lnTo>
                    <a:pt x="1768868" y="960675"/>
                  </a:lnTo>
                  <a:cubicBezTo>
                    <a:pt x="1768868" y="960675"/>
                    <a:pt x="1774081" y="959861"/>
                    <a:pt x="1774081" y="959861"/>
                  </a:cubicBezTo>
                  <a:lnTo>
                    <a:pt x="1775873" y="958395"/>
                  </a:lnTo>
                  <a:lnTo>
                    <a:pt x="1777339" y="960675"/>
                  </a:lnTo>
                  <a:lnTo>
                    <a:pt x="1773429" y="965400"/>
                  </a:lnTo>
                  <a:lnTo>
                    <a:pt x="1770008" y="965725"/>
                  </a:lnTo>
                  <a:lnTo>
                    <a:pt x="1768868" y="963933"/>
                  </a:lnTo>
                  <a:lnTo>
                    <a:pt x="1768868" y="963933"/>
                  </a:lnTo>
                  <a:close/>
                  <a:moveTo>
                    <a:pt x="1753880" y="1016716"/>
                  </a:moveTo>
                  <a:lnTo>
                    <a:pt x="1756975" y="1018997"/>
                  </a:lnTo>
                  <a:lnTo>
                    <a:pt x="1759582" y="1018019"/>
                  </a:lnTo>
                  <a:lnTo>
                    <a:pt x="1757301" y="1016390"/>
                  </a:lnTo>
                  <a:lnTo>
                    <a:pt x="1753717" y="1016716"/>
                  </a:lnTo>
                  <a:lnTo>
                    <a:pt x="1753717" y="1016716"/>
                  </a:lnTo>
                  <a:close/>
                  <a:moveTo>
                    <a:pt x="1774895" y="1039686"/>
                  </a:moveTo>
                  <a:lnTo>
                    <a:pt x="1779619" y="1042781"/>
                  </a:lnTo>
                  <a:lnTo>
                    <a:pt x="1781411" y="1041315"/>
                  </a:lnTo>
                  <a:lnTo>
                    <a:pt x="1780434" y="1038220"/>
                  </a:lnTo>
                  <a:lnTo>
                    <a:pt x="1777665" y="1038220"/>
                  </a:lnTo>
                  <a:cubicBezTo>
                    <a:pt x="1777665" y="1038220"/>
                    <a:pt x="1774569" y="1039686"/>
                    <a:pt x="1774732" y="1039686"/>
                  </a:cubicBezTo>
                  <a:lnTo>
                    <a:pt x="1774732" y="1039686"/>
                  </a:lnTo>
                  <a:close/>
                  <a:moveTo>
                    <a:pt x="1814482" y="1078947"/>
                  </a:moveTo>
                  <a:lnTo>
                    <a:pt x="1813179" y="1072920"/>
                  </a:lnTo>
                  <a:lnTo>
                    <a:pt x="1816437" y="1069662"/>
                  </a:lnTo>
                  <a:lnTo>
                    <a:pt x="1819532" y="1072431"/>
                  </a:lnTo>
                  <a:lnTo>
                    <a:pt x="1819858" y="1077644"/>
                  </a:lnTo>
                  <a:lnTo>
                    <a:pt x="1817252" y="1078784"/>
                  </a:lnTo>
                  <a:lnTo>
                    <a:pt x="1814645" y="1078784"/>
                  </a:lnTo>
                  <a:close/>
                  <a:moveTo>
                    <a:pt x="1834194" y="1103058"/>
                  </a:moveTo>
                  <a:lnTo>
                    <a:pt x="1834683" y="1098171"/>
                  </a:lnTo>
                  <a:lnTo>
                    <a:pt x="1838430" y="1096053"/>
                  </a:lnTo>
                  <a:lnTo>
                    <a:pt x="1840222" y="1094749"/>
                  </a:lnTo>
                  <a:lnTo>
                    <a:pt x="1842665" y="1096216"/>
                  </a:lnTo>
                  <a:lnTo>
                    <a:pt x="1839896" y="1100940"/>
                  </a:lnTo>
                  <a:lnTo>
                    <a:pt x="1836312" y="1102080"/>
                  </a:lnTo>
                  <a:cubicBezTo>
                    <a:pt x="1836312" y="1102080"/>
                    <a:pt x="1834357" y="1103384"/>
                    <a:pt x="1834357" y="1103058"/>
                  </a:cubicBezTo>
                  <a:lnTo>
                    <a:pt x="1834357" y="1103058"/>
                  </a:lnTo>
                  <a:close/>
                  <a:moveTo>
                    <a:pt x="1692952" y="557149"/>
                  </a:moveTo>
                  <a:lnTo>
                    <a:pt x="1692463" y="551122"/>
                  </a:lnTo>
                  <a:lnTo>
                    <a:pt x="1695070" y="549493"/>
                  </a:lnTo>
                  <a:lnTo>
                    <a:pt x="1698165" y="544931"/>
                  </a:lnTo>
                  <a:lnTo>
                    <a:pt x="1709569" y="537600"/>
                  </a:lnTo>
                  <a:lnTo>
                    <a:pt x="1714130" y="536623"/>
                  </a:lnTo>
                  <a:lnTo>
                    <a:pt x="1711198" y="541836"/>
                  </a:lnTo>
                  <a:lnTo>
                    <a:pt x="1703867" y="547538"/>
                  </a:lnTo>
                  <a:lnTo>
                    <a:pt x="1702238" y="551447"/>
                  </a:lnTo>
                  <a:lnTo>
                    <a:pt x="1704193" y="554543"/>
                  </a:lnTo>
                  <a:lnTo>
                    <a:pt x="1703541" y="557149"/>
                  </a:lnTo>
                  <a:lnTo>
                    <a:pt x="1700935" y="556498"/>
                  </a:lnTo>
                  <a:lnTo>
                    <a:pt x="1698979" y="553239"/>
                  </a:lnTo>
                  <a:lnTo>
                    <a:pt x="1696699" y="554869"/>
                  </a:lnTo>
                  <a:lnTo>
                    <a:pt x="1695070" y="557312"/>
                  </a:lnTo>
                  <a:lnTo>
                    <a:pt x="1692789" y="556986"/>
                  </a:lnTo>
                  <a:lnTo>
                    <a:pt x="1692789" y="556986"/>
                  </a:lnTo>
                  <a:close/>
                  <a:moveTo>
                    <a:pt x="1667701" y="533039"/>
                  </a:moveTo>
                  <a:cubicBezTo>
                    <a:pt x="1667701" y="533039"/>
                    <a:pt x="1669819" y="535482"/>
                    <a:pt x="1669819" y="535482"/>
                  </a:cubicBezTo>
                  <a:lnTo>
                    <a:pt x="1672425" y="535971"/>
                  </a:lnTo>
                  <a:lnTo>
                    <a:pt x="1674217" y="532713"/>
                  </a:lnTo>
                  <a:lnTo>
                    <a:pt x="1672751" y="530758"/>
                  </a:lnTo>
                  <a:lnTo>
                    <a:pt x="1667701" y="533039"/>
                  </a:lnTo>
                  <a:lnTo>
                    <a:pt x="1667701" y="533039"/>
                  </a:lnTo>
                  <a:close/>
                  <a:moveTo>
                    <a:pt x="1529717" y="471622"/>
                  </a:moveTo>
                  <a:lnTo>
                    <a:pt x="1523852" y="469667"/>
                  </a:lnTo>
                  <a:lnTo>
                    <a:pt x="1523363" y="464617"/>
                  </a:lnTo>
                  <a:lnTo>
                    <a:pt x="1524178" y="455168"/>
                  </a:lnTo>
                  <a:lnTo>
                    <a:pt x="1522386" y="452725"/>
                  </a:lnTo>
                  <a:lnTo>
                    <a:pt x="1522386" y="447023"/>
                  </a:lnTo>
                  <a:cubicBezTo>
                    <a:pt x="1522386" y="447023"/>
                    <a:pt x="1521409" y="445719"/>
                    <a:pt x="1521409" y="445719"/>
                  </a:cubicBezTo>
                  <a:lnTo>
                    <a:pt x="1526459" y="443602"/>
                  </a:lnTo>
                  <a:lnTo>
                    <a:pt x="1533953" y="446860"/>
                  </a:lnTo>
                  <a:lnTo>
                    <a:pt x="1534767" y="452725"/>
                  </a:lnTo>
                  <a:lnTo>
                    <a:pt x="1531346" y="462825"/>
                  </a:lnTo>
                  <a:lnTo>
                    <a:pt x="1530206" y="465757"/>
                  </a:lnTo>
                  <a:lnTo>
                    <a:pt x="1531672" y="467549"/>
                  </a:lnTo>
                  <a:lnTo>
                    <a:pt x="1532649" y="471459"/>
                  </a:lnTo>
                  <a:lnTo>
                    <a:pt x="1530043" y="471459"/>
                  </a:lnTo>
                  <a:close/>
                  <a:moveTo>
                    <a:pt x="1528414" y="188975"/>
                  </a:moveTo>
                  <a:lnTo>
                    <a:pt x="1533790" y="183436"/>
                  </a:lnTo>
                  <a:lnTo>
                    <a:pt x="1537048" y="176431"/>
                  </a:lnTo>
                  <a:lnTo>
                    <a:pt x="1537536" y="172684"/>
                  </a:lnTo>
                  <a:lnTo>
                    <a:pt x="1543890" y="167796"/>
                  </a:lnTo>
                  <a:lnTo>
                    <a:pt x="1546985" y="161117"/>
                  </a:lnTo>
                  <a:lnTo>
                    <a:pt x="1545519" y="157696"/>
                  </a:lnTo>
                  <a:lnTo>
                    <a:pt x="1539492" y="157370"/>
                  </a:lnTo>
                  <a:lnTo>
                    <a:pt x="1535745" y="155904"/>
                  </a:lnTo>
                  <a:lnTo>
                    <a:pt x="1538025" y="150691"/>
                  </a:lnTo>
                  <a:lnTo>
                    <a:pt x="1536070" y="151017"/>
                  </a:lnTo>
                  <a:lnTo>
                    <a:pt x="1529880" y="156230"/>
                  </a:lnTo>
                  <a:lnTo>
                    <a:pt x="1522386" y="158674"/>
                  </a:lnTo>
                  <a:lnTo>
                    <a:pt x="1521409" y="162583"/>
                  </a:lnTo>
                  <a:lnTo>
                    <a:pt x="1518313" y="165516"/>
                  </a:lnTo>
                  <a:lnTo>
                    <a:pt x="1518313" y="169426"/>
                  </a:lnTo>
                  <a:cubicBezTo>
                    <a:pt x="1518313" y="169426"/>
                    <a:pt x="1524667" y="171380"/>
                    <a:pt x="1524667" y="171380"/>
                  </a:cubicBezTo>
                  <a:lnTo>
                    <a:pt x="1529228" y="169751"/>
                  </a:lnTo>
                  <a:lnTo>
                    <a:pt x="1529228" y="174313"/>
                  </a:lnTo>
                  <a:lnTo>
                    <a:pt x="1524667" y="178711"/>
                  </a:lnTo>
                  <a:lnTo>
                    <a:pt x="1524667" y="182621"/>
                  </a:lnTo>
                  <a:cubicBezTo>
                    <a:pt x="1524667" y="182621"/>
                    <a:pt x="1526947" y="184902"/>
                    <a:pt x="1526947" y="184902"/>
                  </a:cubicBezTo>
                  <a:lnTo>
                    <a:pt x="1528577" y="189138"/>
                  </a:lnTo>
                  <a:lnTo>
                    <a:pt x="1528577" y="189138"/>
                  </a:lnTo>
                  <a:close/>
                  <a:moveTo>
                    <a:pt x="1462273" y="342109"/>
                  </a:moveTo>
                  <a:lnTo>
                    <a:pt x="1462273" y="336570"/>
                  </a:lnTo>
                  <a:cubicBezTo>
                    <a:pt x="1462273" y="336570"/>
                    <a:pt x="1465042" y="332660"/>
                    <a:pt x="1465042" y="332660"/>
                  </a:cubicBezTo>
                  <a:lnTo>
                    <a:pt x="1462436" y="329891"/>
                  </a:lnTo>
                  <a:lnTo>
                    <a:pt x="1462110" y="324026"/>
                  </a:lnTo>
                  <a:lnTo>
                    <a:pt x="1457548" y="321257"/>
                  </a:lnTo>
                  <a:lnTo>
                    <a:pt x="1459177" y="317999"/>
                  </a:lnTo>
                  <a:lnTo>
                    <a:pt x="1460806" y="314252"/>
                  </a:lnTo>
                  <a:lnTo>
                    <a:pt x="1466671" y="315066"/>
                  </a:lnTo>
                  <a:lnTo>
                    <a:pt x="1471884" y="319302"/>
                  </a:lnTo>
                  <a:lnTo>
                    <a:pt x="1473839" y="319302"/>
                  </a:lnTo>
                  <a:cubicBezTo>
                    <a:pt x="1473839" y="319302"/>
                    <a:pt x="1474328" y="315229"/>
                    <a:pt x="1474328" y="315229"/>
                  </a:cubicBezTo>
                  <a:lnTo>
                    <a:pt x="1469115" y="307572"/>
                  </a:lnTo>
                  <a:lnTo>
                    <a:pt x="1464065" y="304640"/>
                  </a:lnTo>
                  <a:lnTo>
                    <a:pt x="1463087" y="301871"/>
                  </a:lnTo>
                  <a:lnTo>
                    <a:pt x="1468137" y="301871"/>
                  </a:lnTo>
                  <a:cubicBezTo>
                    <a:pt x="1468137" y="301871"/>
                    <a:pt x="1465205" y="296658"/>
                    <a:pt x="1465205" y="296658"/>
                  </a:cubicBezTo>
                  <a:lnTo>
                    <a:pt x="1468300" y="291933"/>
                  </a:lnTo>
                  <a:lnTo>
                    <a:pt x="1468626" y="283788"/>
                  </a:lnTo>
                  <a:lnTo>
                    <a:pt x="1471395" y="276946"/>
                  </a:lnTo>
                  <a:lnTo>
                    <a:pt x="1474817" y="277271"/>
                  </a:lnTo>
                  <a:lnTo>
                    <a:pt x="1478238" y="274828"/>
                  </a:lnTo>
                  <a:lnTo>
                    <a:pt x="1478726" y="267497"/>
                  </a:lnTo>
                  <a:lnTo>
                    <a:pt x="1481985" y="264076"/>
                  </a:lnTo>
                  <a:lnTo>
                    <a:pt x="1488175" y="258700"/>
                  </a:lnTo>
                  <a:lnTo>
                    <a:pt x="1493225" y="258700"/>
                  </a:lnTo>
                  <a:cubicBezTo>
                    <a:pt x="1493225" y="258700"/>
                    <a:pt x="1499416" y="266845"/>
                    <a:pt x="1499416" y="266845"/>
                  </a:cubicBezTo>
                  <a:lnTo>
                    <a:pt x="1501696" y="272547"/>
                  </a:lnTo>
                  <a:lnTo>
                    <a:pt x="1501208" y="276457"/>
                  </a:lnTo>
                  <a:lnTo>
                    <a:pt x="1502674" y="279715"/>
                  </a:lnTo>
                  <a:lnTo>
                    <a:pt x="1505606" y="280855"/>
                  </a:lnTo>
                  <a:lnTo>
                    <a:pt x="1505932" y="286394"/>
                  </a:lnTo>
                  <a:lnTo>
                    <a:pt x="1508865" y="287860"/>
                  </a:lnTo>
                  <a:lnTo>
                    <a:pt x="1509190" y="290630"/>
                  </a:lnTo>
                  <a:lnTo>
                    <a:pt x="1511634" y="296332"/>
                  </a:lnTo>
                  <a:lnTo>
                    <a:pt x="1516684" y="296820"/>
                  </a:lnTo>
                  <a:lnTo>
                    <a:pt x="1516684" y="299264"/>
                  </a:lnTo>
                  <a:lnTo>
                    <a:pt x="1518965" y="303663"/>
                  </a:lnTo>
                  <a:lnTo>
                    <a:pt x="1521246" y="313437"/>
                  </a:lnTo>
                  <a:lnTo>
                    <a:pt x="1516033" y="317347"/>
                  </a:lnTo>
                  <a:lnTo>
                    <a:pt x="1513100" y="320279"/>
                  </a:lnTo>
                  <a:lnTo>
                    <a:pt x="1508539" y="320279"/>
                  </a:lnTo>
                  <a:cubicBezTo>
                    <a:pt x="1508539" y="320279"/>
                    <a:pt x="1505606" y="321583"/>
                    <a:pt x="1505606" y="321583"/>
                  </a:cubicBezTo>
                  <a:lnTo>
                    <a:pt x="1507887" y="323863"/>
                  </a:lnTo>
                  <a:lnTo>
                    <a:pt x="1510657" y="323863"/>
                  </a:lnTo>
                  <a:cubicBezTo>
                    <a:pt x="1510657" y="323863"/>
                    <a:pt x="1511960" y="332009"/>
                    <a:pt x="1511960" y="332009"/>
                  </a:cubicBezTo>
                  <a:lnTo>
                    <a:pt x="1510982" y="336733"/>
                  </a:lnTo>
                  <a:lnTo>
                    <a:pt x="1502185" y="342598"/>
                  </a:lnTo>
                  <a:lnTo>
                    <a:pt x="1499579" y="345204"/>
                  </a:lnTo>
                  <a:lnTo>
                    <a:pt x="1496484" y="344716"/>
                  </a:lnTo>
                  <a:lnTo>
                    <a:pt x="1496158" y="340643"/>
                  </a:lnTo>
                  <a:lnTo>
                    <a:pt x="1493714" y="338851"/>
                  </a:lnTo>
                  <a:lnTo>
                    <a:pt x="1487849" y="343087"/>
                  </a:lnTo>
                  <a:lnTo>
                    <a:pt x="1483777" y="341295"/>
                  </a:lnTo>
                  <a:lnTo>
                    <a:pt x="1476609" y="343575"/>
                  </a:lnTo>
                  <a:lnTo>
                    <a:pt x="1472862" y="343250"/>
                  </a:lnTo>
                  <a:lnTo>
                    <a:pt x="1472047" y="337548"/>
                  </a:lnTo>
                  <a:lnTo>
                    <a:pt x="1467974" y="337222"/>
                  </a:lnTo>
                  <a:lnTo>
                    <a:pt x="1466997" y="340643"/>
                  </a:lnTo>
                  <a:lnTo>
                    <a:pt x="1461784" y="342435"/>
                  </a:lnTo>
                  <a:lnTo>
                    <a:pt x="1461784" y="342435"/>
                  </a:lnTo>
                  <a:close/>
                  <a:moveTo>
                    <a:pt x="1520757" y="334290"/>
                  </a:moveTo>
                  <a:lnTo>
                    <a:pt x="1523038" y="333964"/>
                  </a:lnTo>
                  <a:lnTo>
                    <a:pt x="1524341" y="330054"/>
                  </a:lnTo>
                  <a:lnTo>
                    <a:pt x="1523201" y="321420"/>
                  </a:lnTo>
                  <a:lnTo>
                    <a:pt x="1520431" y="321420"/>
                  </a:lnTo>
                  <a:cubicBezTo>
                    <a:pt x="1520431" y="321420"/>
                    <a:pt x="1519128" y="324352"/>
                    <a:pt x="1519128" y="324352"/>
                  </a:cubicBezTo>
                  <a:lnTo>
                    <a:pt x="1519128" y="330217"/>
                  </a:lnTo>
                  <a:cubicBezTo>
                    <a:pt x="1519128" y="330217"/>
                    <a:pt x="1520757" y="334290"/>
                    <a:pt x="1520757" y="334290"/>
                  </a:cubicBezTo>
                  <a:lnTo>
                    <a:pt x="1520757" y="334290"/>
                  </a:lnTo>
                  <a:close/>
                  <a:moveTo>
                    <a:pt x="1540143" y="411834"/>
                  </a:moveTo>
                  <a:lnTo>
                    <a:pt x="1540143" y="416070"/>
                  </a:lnTo>
                  <a:cubicBezTo>
                    <a:pt x="1540143" y="416070"/>
                    <a:pt x="1543727" y="419817"/>
                    <a:pt x="1543727" y="419817"/>
                  </a:cubicBezTo>
                  <a:lnTo>
                    <a:pt x="1549429" y="419817"/>
                  </a:lnTo>
                  <a:cubicBezTo>
                    <a:pt x="1549429" y="419817"/>
                    <a:pt x="1555131" y="417536"/>
                    <a:pt x="1555131" y="417536"/>
                  </a:cubicBezTo>
                  <a:lnTo>
                    <a:pt x="1560344" y="408902"/>
                  </a:lnTo>
                  <a:lnTo>
                    <a:pt x="1560833" y="405807"/>
                  </a:lnTo>
                  <a:lnTo>
                    <a:pt x="1558715" y="403852"/>
                  </a:lnTo>
                  <a:lnTo>
                    <a:pt x="1559529" y="401571"/>
                  </a:lnTo>
                  <a:lnTo>
                    <a:pt x="1557086" y="397824"/>
                  </a:lnTo>
                  <a:lnTo>
                    <a:pt x="1553176" y="397498"/>
                  </a:lnTo>
                  <a:lnTo>
                    <a:pt x="1550569" y="392285"/>
                  </a:lnTo>
                  <a:lnTo>
                    <a:pt x="1546822" y="392285"/>
                  </a:lnTo>
                  <a:cubicBezTo>
                    <a:pt x="1546822" y="392285"/>
                    <a:pt x="1541446" y="396032"/>
                    <a:pt x="1541446" y="396032"/>
                  </a:cubicBezTo>
                  <a:lnTo>
                    <a:pt x="1540795" y="401245"/>
                  </a:lnTo>
                  <a:lnTo>
                    <a:pt x="1538840" y="406295"/>
                  </a:lnTo>
                  <a:lnTo>
                    <a:pt x="1540469" y="411671"/>
                  </a:lnTo>
                  <a:lnTo>
                    <a:pt x="1540469" y="411671"/>
                  </a:lnTo>
                  <a:close/>
                  <a:moveTo>
                    <a:pt x="1533301" y="413952"/>
                  </a:moveTo>
                  <a:lnTo>
                    <a:pt x="1532486" y="416885"/>
                  </a:lnTo>
                  <a:lnTo>
                    <a:pt x="1533464" y="421283"/>
                  </a:lnTo>
                  <a:lnTo>
                    <a:pt x="1536396" y="423075"/>
                  </a:lnTo>
                  <a:lnTo>
                    <a:pt x="1538025" y="421283"/>
                  </a:lnTo>
                  <a:lnTo>
                    <a:pt x="1537536" y="418351"/>
                  </a:lnTo>
                  <a:lnTo>
                    <a:pt x="1535419" y="416885"/>
                  </a:lnTo>
                  <a:lnTo>
                    <a:pt x="1534767" y="413301"/>
                  </a:lnTo>
                  <a:lnTo>
                    <a:pt x="1533464" y="413789"/>
                  </a:lnTo>
                  <a:lnTo>
                    <a:pt x="1533464" y="413789"/>
                  </a:lnTo>
                  <a:close/>
                  <a:moveTo>
                    <a:pt x="1458037" y="374202"/>
                  </a:moveTo>
                  <a:lnTo>
                    <a:pt x="1457222" y="366708"/>
                  </a:lnTo>
                  <a:lnTo>
                    <a:pt x="1459992" y="358726"/>
                  </a:lnTo>
                  <a:lnTo>
                    <a:pt x="1463902" y="354490"/>
                  </a:lnTo>
                  <a:lnTo>
                    <a:pt x="1469115" y="354490"/>
                  </a:lnTo>
                  <a:cubicBezTo>
                    <a:pt x="1469115" y="354490"/>
                    <a:pt x="1472862" y="354002"/>
                    <a:pt x="1472862" y="354002"/>
                  </a:cubicBezTo>
                  <a:lnTo>
                    <a:pt x="1476771" y="355305"/>
                  </a:lnTo>
                  <a:lnTo>
                    <a:pt x="1480518" y="354490"/>
                  </a:lnTo>
                  <a:lnTo>
                    <a:pt x="1483288" y="355305"/>
                  </a:lnTo>
                  <a:lnTo>
                    <a:pt x="1483777" y="358074"/>
                  </a:lnTo>
                  <a:lnTo>
                    <a:pt x="1488175" y="358563"/>
                  </a:lnTo>
                  <a:lnTo>
                    <a:pt x="1489967" y="357097"/>
                  </a:lnTo>
                  <a:lnTo>
                    <a:pt x="1493877" y="359378"/>
                  </a:lnTo>
                  <a:lnTo>
                    <a:pt x="1497787" y="359866"/>
                  </a:lnTo>
                  <a:lnTo>
                    <a:pt x="1503000" y="366057"/>
                  </a:lnTo>
                  <a:lnTo>
                    <a:pt x="1506747" y="368012"/>
                  </a:lnTo>
                  <a:lnTo>
                    <a:pt x="1504792" y="369967"/>
                  </a:lnTo>
                  <a:lnTo>
                    <a:pt x="1506258" y="372410"/>
                  </a:lnTo>
                  <a:lnTo>
                    <a:pt x="1509679" y="372410"/>
                  </a:lnTo>
                  <a:lnTo>
                    <a:pt x="1513426" y="370455"/>
                  </a:lnTo>
                  <a:lnTo>
                    <a:pt x="1516521" y="374691"/>
                  </a:lnTo>
                  <a:lnTo>
                    <a:pt x="1519617" y="377298"/>
                  </a:lnTo>
                  <a:lnTo>
                    <a:pt x="1519128" y="380393"/>
                  </a:lnTo>
                  <a:lnTo>
                    <a:pt x="1520268" y="382837"/>
                  </a:lnTo>
                  <a:lnTo>
                    <a:pt x="1517987" y="384791"/>
                  </a:lnTo>
                  <a:lnTo>
                    <a:pt x="1512449" y="383325"/>
                  </a:lnTo>
                  <a:lnTo>
                    <a:pt x="1505932" y="389190"/>
                  </a:lnTo>
                  <a:lnTo>
                    <a:pt x="1501534" y="390330"/>
                  </a:lnTo>
                  <a:lnTo>
                    <a:pt x="1495343" y="386258"/>
                  </a:lnTo>
                  <a:lnTo>
                    <a:pt x="1487849" y="386258"/>
                  </a:lnTo>
                  <a:cubicBezTo>
                    <a:pt x="1487849" y="386258"/>
                    <a:pt x="1480844" y="381044"/>
                    <a:pt x="1480844" y="381044"/>
                  </a:cubicBezTo>
                  <a:lnTo>
                    <a:pt x="1475142" y="381044"/>
                  </a:lnTo>
                  <a:lnTo>
                    <a:pt x="1470092" y="378438"/>
                  </a:lnTo>
                  <a:lnTo>
                    <a:pt x="1466834" y="374039"/>
                  </a:lnTo>
                  <a:lnTo>
                    <a:pt x="1461458" y="374528"/>
                  </a:lnTo>
                  <a:lnTo>
                    <a:pt x="1458363" y="374039"/>
                  </a:lnTo>
                  <a:lnTo>
                    <a:pt x="1458363" y="374039"/>
                  </a:lnTo>
                  <a:close/>
                  <a:moveTo>
                    <a:pt x="1396131" y="289164"/>
                  </a:moveTo>
                  <a:lnTo>
                    <a:pt x="1397109" y="287046"/>
                  </a:lnTo>
                  <a:lnTo>
                    <a:pt x="1399878" y="285254"/>
                  </a:lnTo>
                  <a:lnTo>
                    <a:pt x="1401182" y="286720"/>
                  </a:lnTo>
                  <a:lnTo>
                    <a:pt x="1399878" y="290467"/>
                  </a:lnTo>
                  <a:lnTo>
                    <a:pt x="1397272" y="290467"/>
                  </a:lnTo>
                  <a:cubicBezTo>
                    <a:pt x="1397272" y="290467"/>
                    <a:pt x="1396131" y="289164"/>
                    <a:pt x="1396131" y="289164"/>
                  </a:cubicBezTo>
                  <a:lnTo>
                    <a:pt x="1396131" y="289164"/>
                  </a:lnTo>
                  <a:close/>
                  <a:moveTo>
                    <a:pt x="1399878" y="318650"/>
                  </a:moveTo>
                  <a:lnTo>
                    <a:pt x="1402485" y="326144"/>
                  </a:lnTo>
                  <a:lnTo>
                    <a:pt x="1405254" y="330706"/>
                  </a:lnTo>
                  <a:lnTo>
                    <a:pt x="1408024" y="330706"/>
                  </a:lnTo>
                  <a:cubicBezTo>
                    <a:pt x="1408024" y="330706"/>
                    <a:pt x="1412585" y="329891"/>
                    <a:pt x="1412585" y="329891"/>
                  </a:cubicBezTo>
                  <a:lnTo>
                    <a:pt x="1415192" y="332172"/>
                  </a:lnTo>
                  <a:lnTo>
                    <a:pt x="1418450" y="332172"/>
                  </a:lnTo>
                  <a:lnTo>
                    <a:pt x="1426270" y="326959"/>
                  </a:lnTo>
                  <a:lnTo>
                    <a:pt x="1426270" y="324189"/>
                  </a:lnTo>
                  <a:lnTo>
                    <a:pt x="1430179" y="321583"/>
                  </a:lnTo>
                  <a:lnTo>
                    <a:pt x="1434415" y="316044"/>
                  </a:lnTo>
                  <a:lnTo>
                    <a:pt x="1434741" y="309853"/>
                  </a:lnTo>
                  <a:lnTo>
                    <a:pt x="1436696" y="301871"/>
                  </a:lnTo>
                  <a:lnTo>
                    <a:pt x="1440443" y="295354"/>
                  </a:lnTo>
                  <a:lnTo>
                    <a:pt x="1437836" y="293399"/>
                  </a:lnTo>
                  <a:lnTo>
                    <a:pt x="1437836" y="290630"/>
                  </a:lnTo>
                  <a:lnTo>
                    <a:pt x="1440769" y="287860"/>
                  </a:lnTo>
                  <a:lnTo>
                    <a:pt x="1444027" y="281181"/>
                  </a:lnTo>
                  <a:lnTo>
                    <a:pt x="1447448" y="280692"/>
                  </a:lnTo>
                  <a:lnTo>
                    <a:pt x="1451358" y="276620"/>
                  </a:lnTo>
                  <a:lnTo>
                    <a:pt x="1457222" y="272547"/>
                  </a:lnTo>
                  <a:lnTo>
                    <a:pt x="1458363" y="265542"/>
                  </a:lnTo>
                  <a:lnTo>
                    <a:pt x="1458037" y="261632"/>
                  </a:lnTo>
                  <a:lnTo>
                    <a:pt x="1462436" y="258211"/>
                  </a:lnTo>
                  <a:lnTo>
                    <a:pt x="1462436" y="254953"/>
                  </a:lnTo>
                  <a:cubicBezTo>
                    <a:pt x="1462436" y="254953"/>
                    <a:pt x="1460969" y="250554"/>
                    <a:pt x="1460969" y="250554"/>
                  </a:cubicBezTo>
                  <a:lnTo>
                    <a:pt x="1459666" y="244527"/>
                  </a:lnTo>
                  <a:lnTo>
                    <a:pt x="1456734" y="244527"/>
                  </a:lnTo>
                  <a:cubicBezTo>
                    <a:pt x="1456734" y="244527"/>
                    <a:pt x="1452172" y="242735"/>
                    <a:pt x="1452172" y="242735"/>
                  </a:cubicBezTo>
                  <a:lnTo>
                    <a:pt x="1446796" y="242735"/>
                  </a:lnTo>
                  <a:lnTo>
                    <a:pt x="1445167" y="239965"/>
                  </a:lnTo>
                  <a:lnTo>
                    <a:pt x="1447448" y="236055"/>
                  </a:lnTo>
                  <a:lnTo>
                    <a:pt x="1454779" y="231820"/>
                  </a:lnTo>
                  <a:lnTo>
                    <a:pt x="1454779" y="229050"/>
                  </a:lnTo>
                  <a:cubicBezTo>
                    <a:pt x="1454779" y="229050"/>
                    <a:pt x="1452172" y="225629"/>
                    <a:pt x="1452172" y="225629"/>
                  </a:cubicBezTo>
                  <a:lnTo>
                    <a:pt x="1452172" y="219439"/>
                  </a:lnTo>
                  <a:lnTo>
                    <a:pt x="1453476" y="215203"/>
                  </a:lnTo>
                  <a:lnTo>
                    <a:pt x="1448914" y="210153"/>
                  </a:lnTo>
                  <a:lnTo>
                    <a:pt x="1445493" y="210153"/>
                  </a:lnTo>
                  <a:cubicBezTo>
                    <a:pt x="1445493" y="210153"/>
                    <a:pt x="1439465" y="214388"/>
                    <a:pt x="1439465" y="214388"/>
                  </a:cubicBezTo>
                  <a:lnTo>
                    <a:pt x="1432134" y="215692"/>
                  </a:lnTo>
                  <a:lnTo>
                    <a:pt x="1431157" y="219764"/>
                  </a:lnTo>
                  <a:lnTo>
                    <a:pt x="1427247" y="223837"/>
                  </a:lnTo>
                  <a:lnTo>
                    <a:pt x="1423500" y="223511"/>
                  </a:lnTo>
                  <a:lnTo>
                    <a:pt x="1422523" y="218950"/>
                  </a:lnTo>
                  <a:lnTo>
                    <a:pt x="1427736" y="216018"/>
                  </a:lnTo>
                  <a:lnTo>
                    <a:pt x="1430668" y="212271"/>
                  </a:lnTo>
                  <a:lnTo>
                    <a:pt x="1430668" y="205428"/>
                  </a:lnTo>
                  <a:lnTo>
                    <a:pt x="1432623" y="196631"/>
                  </a:lnTo>
                  <a:lnTo>
                    <a:pt x="1430994" y="191418"/>
                  </a:lnTo>
                  <a:lnTo>
                    <a:pt x="1427899" y="188323"/>
                  </a:lnTo>
                  <a:lnTo>
                    <a:pt x="1426433" y="184087"/>
                  </a:lnTo>
                  <a:lnTo>
                    <a:pt x="1419916" y="180340"/>
                  </a:lnTo>
                  <a:lnTo>
                    <a:pt x="1415518" y="182132"/>
                  </a:lnTo>
                  <a:lnTo>
                    <a:pt x="1409490" y="180340"/>
                  </a:lnTo>
                  <a:lnTo>
                    <a:pt x="1402974" y="185879"/>
                  </a:lnTo>
                  <a:lnTo>
                    <a:pt x="1399553" y="184739"/>
                  </a:lnTo>
                  <a:lnTo>
                    <a:pt x="1398901" y="177245"/>
                  </a:lnTo>
                  <a:lnTo>
                    <a:pt x="1397761" y="175290"/>
                  </a:lnTo>
                  <a:lnTo>
                    <a:pt x="1393525" y="179037"/>
                  </a:lnTo>
                  <a:lnTo>
                    <a:pt x="1392222" y="183110"/>
                  </a:lnTo>
                  <a:lnTo>
                    <a:pt x="1386845" y="186042"/>
                  </a:lnTo>
                  <a:lnTo>
                    <a:pt x="1385054" y="191418"/>
                  </a:lnTo>
                  <a:lnTo>
                    <a:pt x="1379841" y="198098"/>
                  </a:lnTo>
                  <a:lnTo>
                    <a:pt x="1379841" y="202333"/>
                  </a:lnTo>
                  <a:cubicBezTo>
                    <a:pt x="1379841" y="202333"/>
                    <a:pt x="1384076" y="205103"/>
                    <a:pt x="1384076" y="205103"/>
                  </a:cubicBezTo>
                  <a:lnTo>
                    <a:pt x="1386520" y="203148"/>
                  </a:lnTo>
                  <a:lnTo>
                    <a:pt x="1392385" y="201844"/>
                  </a:lnTo>
                  <a:lnTo>
                    <a:pt x="1393851" y="204125"/>
                  </a:lnTo>
                  <a:lnTo>
                    <a:pt x="1388149" y="209664"/>
                  </a:lnTo>
                  <a:lnTo>
                    <a:pt x="1381307" y="212596"/>
                  </a:lnTo>
                  <a:lnTo>
                    <a:pt x="1376745" y="220090"/>
                  </a:lnTo>
                  <a:lnTo>
                    <a:pt x="1377723" y="222045"/>
                  </a:lnTo>
                  <a:lnTo>
                    <a:pt x="1384728" y="218787"/>
                  </a:lnTo>
                  <a:lnTo>
                    <a:pt x="1391733" y="212759"/>
                  </a:lnTo>
                  <a:lnTo>
                    <a:pt x="1394177" y="212759"/>
                  </a:lnTo>
                  <a:lnTo>
                    <a:pt x="1397923" y="210804"/>
                  </a:lnTo>
                  <a:lnTo>
                    <a:pt x="1400856" y="214877"/>
                  </a:lnTo>
                  <a:lnTo>
                    <a:pt x="1399064" y="220416"/>
                  </a:lnTo>
                  <a:lnTo>
                    <a:pt x="1396131" y="220416"/>
                  </a:lnTo>
                  <a:cubicBezTo>
                    <a:pt x="1396131" y="220416"/>
                    <a:pt x="1390104" y="225629"/>
                    <a:pt x="1390104" y="225629"/>
                  </a:cubicBezTo>
                  <a:lnTo>
                    <a:pt x="1388475" y="230028"/>
                  </a:lnTo>
                  <a:lnTo>
                    <a:pt x="1390430" y="233123"/>
                  </a:lnTo>
                  <a:lnTo>
                    <a:pt x="1397272" y="231657"/>
                  </a:lnTo>
                  <a:lnTo>
                    <a:pt x="1401345" y="234100"/>
                  </a:lnTo>
                  <a:lnTo>
                    <a:pt x="1395969" y="238010"/>
                  </a:lnTo>
                  <a:lnTo>
                    <a:pt x="1388801" y="240617"/>
                  </a:lnTo>
                  <a:lnTo>
                    <a:pt x="1384728" y="239314"/>
                  </a:lnTo>
                  <a:lnTo>
                    <a:pt x="1384402" y="242409"/>
                  </a:lnTo>
                  <a:lnTo>
                    <a:pt x="1389778" y="244038"/>
                  </a:lnTo>
                  <a:lnTo>
                    <a:pt x="1389778" y="247296"/>
                  </a:lnTo>
                  <a:lnTo>
                    <a:pt x="1382121" y="254464"/>
                  </a:lnTo>
                  <a:lnTo>
                    <a:pt x="1379841" y="254464"/>
                  </a:lnTo>
                  <a:lnTo>
                    <a:pt x="1377234" y="247622"/>
                  </a:lnTo>
                  <a:lnTo>
                    <a:pt x="1372836" y="245341"/>
                  </a:lnTo>
                  <a:lnTo>
                    <a:pt x="1368763" y="239476"/>
                  </a:lnTo>
                  <a:lnTo>
                    <a:pt x="1358825" y="244201"/>
                  </a:lnTo>
                  <a:lnTo>
                    <a:pt x="1358825" y="247133"/>
                  </a:lnTo>
                  <a:lnTo>
                    <a:pt x="1353612" y="255767"/>
                  </a:lnTo>
                  <a:lnTo>
                    <a:pt x="1357848" y="262284"/>
                  </a:lnTo>
                  <a:lnTo>
                    <a:pt x="1357848" y="267008"/>
                  </a:lnTo>
                  <a:lnTo>
                    <a:pt x="1361758" y="268800"/>
                  </a:lnTo>
                  <a:lnTo>
                    <a:pt x="1365504" y="265053"/>
                  </a:lnTo>
                  <a:lnTo>
                    <a:pt x="1369740" y="265053"/>
                  </a:lnTo>
                  <a:cubicBezTo>
                    <a:pt x="1369740" y="265053"/>
                    <a:pt x="1377723" y="267660"/>
                    <a:pt x="1377723" y="267660"/>
                  </a:cubicBezTo>
                  <a:lnTo>
                    <a:pt x="1385705" y="267660"/>
                  </a:lnTo>
                  <a:cubicBezTo>
                    <a:pt x="1385705" y="267660"/>
                    <a:pt x="1387171" y="269289"/>
                    <a:pt x="1387171" y="269289"/>
                  </a:cubicBezTo>
                  <a:lnTo>
                    <a:pt x="1395154" y="267334"/>
                  </a:lnTo>
                  <a:lnTo>
                    <a:pt x="1394828" y="271244"/>
                  </a:lnTo>
                  <a:lnTo>
                    <a:pt x="1390430" y="272384"/>
                  </a:lnTo>
                  <a:lnTo>
                    <a:pt x="1388801" y="275154"/>
                  </a:lnTo>
                  <a:lnTo>
                    <a:pt x="1389615" y="280367"/>
                  </a:lnTo>
                  <a:lnTo>
                    <a:pt x="1396946" y="279389"/>
                  </a:lnTo>
                  <a:lnTo>
                    <a:pt x="1402322" y="283788"/>
                  </a:lnTo>
                  <a:lnTo>
                    <a:pt x="1405580" y="291933"/>
                  </a:lnTo>
                  <a:lnTo>
                    <a:pt x="1408838" y="291933"/>
                  </a:lnTo>
                  <a:lnTo>
                    <a:pt x="1411119" y="294214"/>
                  </a:lnTo>
                  <a:lnTo>
                    <a:pt x="1409327" y="297472"/>
                  </a:lnTo>
                  <a:lnTo>
                    <a:pt x="1409327" y="303174"/>
                  </a:lnTo>
                  <a:lnTo>
                    <a:pt x="1400693" y="318976"/>
                  </a:lnTo>
                  <a:lnTo>
                    <a:pt x="1400693" y="318976"/>
                  </a:lnTo>
                  <a:close/>
                  <a:moveTo>
                    <a:pt x="1373161" y="281018"/>
                  </a:moveTo>
                  <a:lnTo>
                    <a:pt x="1374139" y="276294"/>
                  </a:lnTo>
                  <a:lnTo>
                    <a:pt x="1380655" y="273036"/>
                  </a:lnTo>
                  <a:lnTo>
                    <a:pt x="1385054" y="273036"/>
                  </a:lnTo>
                  <a:cubicBezTo>
                    <a:pt x="1385054" y="273036"/>
                    <a:pt x="1382121" y="275316"/>
                    <a:pt x="1382121" y="275316"/>
                  </a:cubicBezTo>
                  <a:lnTo>
                    <a:pt x="1381144" y="278575"/>
                  </a:lnTo>
                  <a:lnTo>
                    <a:pt x="1375768" y="281833"/>
                  </a:lnTo>
                  <a:lnTo>
                    <a:pt x="1373161" y="281181"/>
                  </a:lnTo>
                  <a:lnTo>
                    <a:pt x="1373161" y="281181"/>
                  </a:lnTo>
                  <a:close/>
                  <a:moveTo>
                    <a:pt x="1362572" y="309364"/>
                  </a:moveTo>
                  <a:lnTo>
                    <a:pt x="1364853" y="304314"/>
                  </a:lnTo>
                  <a:lnTo>
                    <a:pt x="1373650" y="303337"/>
                  </a:lnTo>
                  <a:lnTo>
                    <a:pt x="1380492" y="305292"/>
                  </a:lnTo>
                  <a:lnTo>
                    <a:pt x="1387986" y="314252"/>
                  </a:lnTo>
                  <a:lnTo>
                    <a:pt x="1387497" y="318976"/>
                  </a:lnTo>
                  <a:lnTo>
                    <a:pt x="1388149" y="327284"/>
                  </a:lnTo>
                  <a:lnTo>
                    <a:pt x="1384728" y="328099"/>
                  </a:lnTo>
                  <a:lnTo>
                    <a:pt x="1379515" y="325004"/>
                  </a:lnTo>
                  <a:lnTo>
                    <a:pt x="1374953" y="326796"/>
                  </a:lnTo>
                  <a:lnTo>
                    <a:pt x="1371532" y="326796"/>
                  </a:lnTo>
                  <a:lnTo>
                    <a:pt x="1367785" y="320605"/>
                  </a:lnTo>
                  <a:lnTo>
                    <a:pt x="1361920" y="316044"/>
                  </a:lnTo>
                  <a:lnTo>
                    <a:pt x="1362735" y="309202"/>
                  </a:lnTo>
                  <a:lnTo>
                    <a:pt x="1362735" y="309202"/>
                  </a:lnTo>
                  <a:close/>
                  <a:moveTo>
                    <a:pt x="1298060" y="352372"/>
                  </a:moveTo>
                  <a:lnTo>
                    <a:pt x="1301807" y="349440"/>
                  </a:lnTo>
                  <a:lnTo>
                    <a:pt x="1309138" y="349440"/>
                  </a:lnTo>
                  <a:lnTo>
                    <a:pt x="1307346" y="353350"/>
                  </a:lnTo>
                  <a:lnTo>
                    <a:pt x="1301481" y="354816"/>
                  </a:lnTo>
                  <a:lnTo>
                    <a:pt x="1298223" y="352372"/>
                  </a:lnTo>
                  <a:lnTo>
                    <a:pt x="1298223" y="352372"/>
                  </a:lnTo>
                  <a:close/>
                  <a:moveTo>
                    <a:pt x="1294639" y="345693"/>
                  </a:moveTo>
                  <a:lnTo>
                    <a:pt x="1291381" y="338851"/>
                  </a:lnTo>
                  <a:lnTo>
                    <a:pt x="1293662" y="334290"/>
                  </a:lnTo>
                  <a:lnTo>
                    <a:pt x="1295128" y="327447"/>
                  </a:lnTo>
                  <a:lnTo>
                    <a:pt x="1295128" y="322234"/>
                  </a:lnTo>
                  <a:cubicBezTo>
                    <a:pt x="1295128" y="322234"/>
                    <a:pt x="1300829" y="317999"/>
                    <a:pt x="1300829" y="317999"/>
                  </a:cubicBezTo>
                  <a:lnTo>
                    <a:pt x="1300829" y="314740"/>
                  </a:lnTo>
                  <a:cubicBezTo>
                    <a:pt x="1300829" y="314740"/>
                    <a:pt x="1302459" y="313111"/>
                    <a:pt x="1302459" y="313111"/>
                  </a:cubicBezTo>
                  <a:lnTo>
                    <a:pt x="1302459" y="309853"/>
                  </a:lnTo>
                  <a:lnTo>
                    <a:pt x="1306206" y="302685"/>
                  </a:lnTo>
                  <a:lnTo>
                    <a:pt x="1306206" y="297635"/>
                  </a:lnTo>
                  <a:lnTo>
                    <a:pt x="1308812" y="295191"/>
                  </a:lnTo>
                  <a:lnTo>
                    <a:pt x="1312559" y="298124"/>
                  </a:lnTo>
                  <a:lnTo>
                    <a:pt x="1313536" y="304966"/>
                  </a:lnTo>
                  <a:lnTo>
                    <a:pt x="1315003" y="308061"/>
                  </a:lnTo>
                  <a:lnTo>
                    <a:pt x="1310930" y="317836"/>
                  </a:lnTo>
                  <a:lnTo>
                    <a:pt x="1311745" y="322071"/>
                  </a:lnTo>
                  <a:lnTo>
                    <a:pt x="1308486" y="327610"/>
                  </a:lnTo>
                  <a:lnTo>
                    <a:pt x="1311093" y="330868"/>
                  </a:lnTo>
                  <a:lnTo>
                    <a:pt x="1307183" y="343250"/>
                  </a:lnTo>
                  <a:lnTo>
                    <a:pt x="1301155" y="346508"/>
                  </a:lnTo>
                  <a:lnTo>
                    <a:pt x="1295128" y="345530"/>
                  </a:lnTo>
                  <a:lnTo>
                    <a:pt x="1295128" y="345530"/>
                  </a:lnTo>
                  <a:close/>
                  <a:moveTo>
                    <a:pt x="1236480" y="228399"/>
                  </a:moveTo>
                  <a:lnTo>
                    <a:pt x="1232734" y="223837"/>
                  </a:lnTo>
                  <a:lnTo>
                    <a:pt x="1231430" y="218298"/>
                  </a:lnTo>
                  <a:lnTo>
                    <a:pt x="1234037" y="215203"/>
                  </a:lnTo>
                  <a:lnTo>
                    <a:pt x="1230616" y="212271"/>
                  </a:lnTo>
                  <a:lnTo>
                    <a:pt x="1226054" y="212922"/>
                  </a:lnTo>
                  <a:lnTo>
                    <a:pt x="1222959" y="211619"/>
                  </a:lnTo>
                  <a:lnTo>
                    <a:pt x="1219701" y="213085"/>
                  </a:lnTo>
                  <a:lnTo>
                    <a:pt x="1214162" y="212596"/>
                  </a:lnTo>
                  <a:lnTo>
                    <a:pt x="1209437" y="214063"/>
                  </a:lnTo>
                  <a:lnTo>
                    <a:pt x="1209437" y="209664"/>
                  </a:lnTo>
                  <a:cubicBezTo>
                    <a:pt x="1209437" y="209664"/>
                    <a:pt x="1213673" y="204940"/>
                    <a:pt x="1213673" y="204940"/>
                  </a:cubicBezTo>
                  <a:lnTo>
                    <a:pt x="1214813" y="201519"/>
                  </a:lnTo>
                  <a:lnTo>
                    <a:pt x="1220353" y="201193"/>
                  </a:lnTo>
                  <a:lnTo>
                    <a:pt x="1225728" y="201193"/>
                  </a:lnTo>
                  <a:lnTo>
                    <a:pt x="1240390" y="196957"/>
                  </a:lnTo>
                  <a:lnTo>
                    <a:pt x="1244952" y="197935"/>
                  </a:lnTo>
                  <a:lnTo>
                    <a:pt x="1249513" y="201030"/>
                  </a:lnTo>
                  <a:lnTo>
                    <a:pt x="1252445" y="200541"/>
                  </a:lnTo>
                  <a:lnTo>
                    <a:pt x="1258310" y="200541"/>
                  </a:lnTo>
                  <a:cubicBezTo>
                    <a:pt x="1258310" y="200541"/>
                    <a:pt x="1264501" y="195817"/>
                    <a:pt x="1264501" y="195817"/>
                  </a:cubicBezTo>
                  <a:lnTo>
                    <a:pt x="1272809" y="195491"/>
                  </a:lnTo>
                  <a:lnTo>
                    <a:pt x="1275416" y="196143"/>
                  </a:lnTo>
                  <a:lnTo>
                    <a:pt x="1278022" y="193699"/>
                  </a:lnTo>
                  <a:lnTo>
                    <a:pt x="1281769" y="195165"/>
                  </a:lnTo>
                  <a:lnTo>
                    <a:pt x="1281444" y="198586"/>
                  </a:lnTo>
                  <a:lnTo>
                    <a:pt x="1284376" y="204288"/>
                  </a:lnTo>
                  <a:lnTo>
                    <a:pt x="1284376" y="208361"/>
                  </a:lnTo>
                  <a:lnTo>
                    <a:pt x="1280140" y="215040"/>
                  </a:lnTo>
                  <a:lnTo>
                    <a:pt x="1283236" y="222045"/>
                  </a:lnTo>
                  <a:lnTo>
                    <a:pt x="1279326" y="232308"/>
                  </a:lnTo>
                  <a:lnTo>
                    <a:pt x="1273624" y="235241"/>
                  </a:lnTo>
                  <a:lnTo>
                    <a:pt x="1269062" y="239965"/>
                  </a:lnTo>
                  <a:lnTo>
                    <a:pt x="1264827" y="238988"/>
                  </a:lnTo>
                  <a:lnTo>
                    <a:pt x="1260265" y="238988"/>
                  </a:lnTo>
                  <a:cubicBezTo>
                    <a:pt x="1260265" y="238988"/>
                    <a:pt x="1257985" y="235892"/>
                    <a:pt x="1257985" y="235892"/>
                  </a:cubicBezTo>
                  <a:lnTo>
                    <a:pt x="1252771" y="237359"/>
                  </a:lnTo>
                  <a:lnTo>
                    <a:pt x="1246255" y="230191"/>
                  </a:lnTo>
                  <a:lnTo>
                    <a:pt x="1246581" y="224163"/>
                  </a:lnTo>
                  <a:lnTo>
                    <a:pt x="1242671" y="218461"/>
                  </a:lnTo>
                  <a:lnTo>
                    <a:pt x="1240390" y="220905"/>
                  </a:lnTo>
                  <a:lnTo>
                    <a:pt x="1240390" y="224978"/>
                  </a:lnTo>
                  <a:cubicBezTo>
                    <a:pt x="1240390" y="224978"/>
                    <a:pt x="1236318" y="228724"/>
                    <a:pt x="1236318" y="228724"/>
                  </a:cubicBezTo>
                  <a:lnTo>
                    <a:pt x="1236318" y="228724"/>
                  </a:lnTo>
                  <a:close/>
                  <a:moveTo>
                    <a:pt x="1165289" y="268148"/>
                  </a:moveTo>
                  <a:lnTo>
                    <a:pt x="1169525" y="263098"/>
                  </a:lnTo>
                  <a:lnTo>
                    <a:pt x="1169851" y="259351"/>
                  </a:lnTo>
                  <a:lnTo>
                    <a:pt x="1175389" y="253812"/>
                  </a:lnTo>
                  <a:lnTo>
                    <a:pt x="1175715" y="248274"/>
                  </a:lnTo>
                  <a:lnTo>
                    <a:pt x="1181417" y="245993"/>
                  </a:lnTo>
                  <a:lnTo>
                    <a:pt x="1185653" y="242735"/>
                  </a:lnTo>
                  <a:lnTo>
                    <a:pt x="1189563" y="242735"/>
                  </a:lnTo>
                  <a:lnTo>
                    <a:pt x="1201781" y="240128"/>
                  </a:lnTo>
                  <a:lnTo>
                    <a:pt x="1204550" y="242083"/>
                  </a:lnTo>
                  <a:lnTo>
                    <a:pt x="1209112" y="242083"/>
                  </a:lnTo>
                  <a:lnTo>
                    <a:pt x="1212859" y="243875"/>
                  </a:lnTo>
                  <a:lnTo>
                    <a:pt x="1218397" y="243875"/>
                  </a:lnTo>
                  <a:lnTo>
                    <a:pt x="1221330" y="242735"/>
                  </a:lnTo>
                  <a:lnTo>
                    <a:pt x="1229150" y="244364"/>
                  </a:lnTo>
                  <a:lnTo>
                    <a:pt x="1229638" y="246156"/>
                  </a:lnTo>
                  <a:lnTo>
                    <a:pt x="1236969" y="245830"/>
                  </a:lnTo>
                  <a:lnTo>
                    <a:pt x="1242671" y="247296"/>
                  </a:lnTo>
                  <a:lnTo>
                    <a:pt x="1244300" y="249251"/>
                  </a:lnTo>
                  <a:lnTo>
                    <a:pt x="1250491" y="250228"/>
                  </a:lnTo>
                  <a:lnTo>
                    <a:pt x="1251794" y="252672"/>
                  </a:lnTo>
                  <a:lnTo>
                    <a:pt x="1247070" y="261143"/>
                  </a:lnTo>
                  <a:lnTo>
                    <a:pt x="1242997" y="260003"/>
                  </a:lnTo>
                  <a:lnTo>
                    <a:pt x="1230616" y="264076"/>
                  </a:lnTo>
                  <a:lnTo>
                    <a:pt x="1226054" y="264402"/>
                  </a:lnTo>
                  <a:lnTo>
                    <a:pt x="1220027" y="270103"/>
                  </a:lnTo>
                  <a:lnTo>
                    <a:pt x="1220027" y="273036"/>
                  </a:lnTo>
                  <a:lnTo>
                    <a:pt x="1225566" y="273362"/>
                  </a:lnTo>
                  <a:lnTo>
                    <a:pt x="1227358" y="272384"/>
                  </a:lnTo>
                  <a:lnTo>
                    <a:pt x="1228335" y="276294"/>
                  </a:lnTo>
                  <a:lnTo>
                    <a:pt x="1222145" y="283788"/>
                  </a:lnTo>
                  <a:lnTo>
                    <a:pt x="1220515" y="287209"/>
                  </a:lnTo>
                  <a:lnTo>
                    <a:pt x="1216117" y="288349"/>
                  </a:lnTo>
                  <a:lnTo>
                    <a:pt x="1216117" y="291119"/>
                  </a:lnTo>
                  <a:cubicBezTo>
                    <a:pt x="1216117" y="291119"/>
                    <a:pt x="1213185" y="295354"/>
                    <a:pt x="1213185" y="295354"/>
                  </a:cubicBezTo>
                  <a:lnTo>
                    <a:pt x="1207971" y="295354"/>
                  </a:lnTo>
                  <a:lnTo>
                    <a:pt x="1202595" y="297961"/>
                  </a:lnTo>
                  <a:lnTo>
                    <a:pt x="1196731" y="297961"/>
                  </a:lnTo>
                  <a:lnTo>
                    <a:pt x="1191680" y="294051"/>
                  </a:lnTo>
                  <a:lnTo>
                    <a:pt x="1188748" y="295517"/>
                  </a:lnTo>
                  <a:lnTo>
                    <a:pt x="1183535" y="294540"/>
                  </a:lnTo>
                  <a:lnTo>
                    <a:pt x="1177996" y="294866"/>
                  </a:lnTo>
                  <a:lnTo>
                    <a:pt x="1176530" y="292911"/>
                  </a:lnTo>
                  <a:lnTo>
                    <a:pt x="1179462" y="289652"/>
                  </a:lnTo>
                  <a:lnTo>
                    <a:pt x="1175715" y="283462"/>
                  </a:lnTo>
                  <a:lnTo>
                    <a:pt x="1170665" y="280041"/>
                  </a:lnTo>
                  <a:lnTo>
                    <a:pt x="1167407" y="279552"/>
                  </a:lnTo>
                  <a:lnTo>
                    <a:pt x="1166429" y="273362"/>
                  </a:lnTo>
                  <a:lnTo>
                    <a:pt x="1165126" y="267823"/>
                  </a:lnTo>
                  <a:lnTo>
                    <a:pt x="1165126" y="267823"/>
                  </a:lnTo>
                  <a:close/>
                  <a:moveTo>
                    <a:pt x="1159099" y="249903"/>
                  </a:moveTo>
                  <a:lnTo>
                    <a:pt x="1162520" y="251695"/>
                  </a:lnTo>
                  <a:lnTo>
                    <a:pt x="1169199" y="249740"/>
                  </a:lnTo>
                  <a:lnTo>
                    <a:pt x="1173272" y="244201"/>
                  </a:lnTo>
                  <a:lnTo>
                    <a:pt x="1173272" y="238173"/>
                  </a:lnTo>
                  <a:cubicBezTo>
                    <a:pt x="1173272" y="238173"/>
                    <a:pt x="1174412" y="234752"/>
                    <a:pt x="1174412" y="234752"/>
                  </a:cubicBezTo>
                  <a:lnTo>
                    <a:pt x="1174086" y="230842"/>
                  </a:lnTo>
                  <a:lnTo>
                    <a:pt x="1175715" y="224163"/>
                  </a:lnTo>
                  <a:lnTo>
                    <a:pt x="1171480" y="225629"/>
                  </a:lnTo>
                  <a:lnTo>
                    <a:pt x="1168547" y="225629"/>
                  </a:lnTo>
                  <a:cubicBezTo>
                    <a:pt x="1168547" y="225629"/>
                    <a:pt x="1164475" y="223674"/>
                    <a:pt x="1164475" y="223674"/>
                  </a:cubicBezTo>
                  <a:lnTo>
                    <a:pt x="1161216" y="226607"/>
                  </a:lnTo>
                  <a:lnTo>
                    <a:pt x="1158121" y="226932"/>
                  </a:lnTo>
                  <a:lnTo>
                    <a:pt x="1156329" y="231494"/>
                  </a:lnTo>
                  <a:lnTo>
                    <a:pt x="1156329" y="237359"/>
                  </a:lnTo>
                  <a:cubicBezTo>
                    <a:pt x="1156329" y="237359"/>
                    <a:pt x="1155352" y="242572"/>
                    <a:pt x="1155352" y="242572"/>
                  </a:cubicBezTo>
                  <a:lnTo>
                    <a:pt x="1159262" y="249903"/>
                  </a:lnTo>
                  <a:lnTo>
                    <a:pt x="1159262" y="249903"/>
                  </a:lnTo>
                  <a:close/>
                  <a:moveTo>
                    <a:pt x="1590319" y="627037"/>
                  </a:moveTo>
                  <a:cubicBezTo>
                    <a:pt x="1590319" y="627037"/>
                    <a:pt x="1595532" y="628666"/>
                    <a:pt x="1595532" y="628666"/>
                  </a:cubicBezTo>
                  <a:lnTo>
                    <a:pt x="1600419" y="626386"/>
                  </a:lnTo>
                  <a:lnTo>
                    <a:pt x="1601397" y="631599"/>
                  </a:lnTo>
                  <a:lnTo>
                    <a:pt x="1606121" y="631599"/>
                  </a:lnTo>
                  <a:lnTo>
                    <a:pt x="1607099" y="633717"/>
                  </a:lnTo>
                  <a:lnTo>
                    <a:pt x="1611823" y="633717"/>
                  </a:lnTo>
                  <a:cubicBezTo>
                    <a:pt x="1611823" y="633717"/>
                    <a:pt x="1620620" y="628015"/>
                    <a:pt x="1620620" y="628015"/>
                  </a:cubicBezTo>
                  <a:lnTo>
                    <a:pt x="1625019" y="627526"/>
                  </a:lnTo>
                  <a:lnTo>
                    <a:pt x="1632838" y="631273"/>
                  </a:lnTo>
                  <a:lnTo>
                    <a:pt x="1637400" y="630784"/>
                  </a:lnTo>
                  <a:lnTo>
                    <a:pt x="1640332" y="632413"/>
                  </a:lnTo>
                  <a:lnTo>
                    <a:pt x="1643102" y="629807"/>
                  </a:lnTo>
                  <a:lnTo>
                    <a:pt x="1643102" y="627200"/>
                  </a:lnTo>
                  <a:cubicBezTo>
                    <a:pt x="1643102" y="627200"/>
                    <a:pt x="1646197" y="620684"/>
                    <a:pt x="1646197" y="620684"/>
                  </a:cubicBezTo>
                  <a:lnTo>
                    <a:pt x="1649292" y="620684"/>
                  </a:lnTo>
                  <a:cubicBezTo>
                    <a:pt x="1649292" y="620684"/>
                    <a:pt x="1649455" y="617589"/>
                    <a:pt x="1649455" y="617589"/>
                  </a:cubicBezTo>
                  <a:lnTo>
                    <a:pt x="1646849" y="612050"/>
                  </a:lnTo>
                  <a:lnTo>
                    <a:pt x="1646849" y="606348"/>
                  </a:lnTo>
                  <a:lnTo>
                    <a:pt x="1649781" y="609443"/>
                  </a:lnTo>
                  <a:lnTo>
                    <a:pt x="1649781" y="612538"/>
                  </a:lnTo>
                  <a:cubicBezTo>
                    <a:pt x="1649781" y="612538"/>
                    <a:pt x="1653854" y="618566"/>
                    <a:pt x="1653854" y="618566"/>
                  </a:cubicBezTo>
                  <a:lnTo>
                    <a:pt x="1656135" y="615145"/>
                  </a:lnTo>
                  <a:lnTo>
                    <a:pt x="1659230" y="615634"/>
                  </a:lnTo>
                  <a:lnTo>
                    <a:pt x="1662488" y="614982"/>
                  </a:lnTo>
                  <a:lnTo>
                    <a:pt x="1664932" y="616285"/>
                  </a:lnTo>
                  <a:lnTo>
                    <a:pt x="1665909" y="613516"/>
                  </a:lnTo>
                  <a:lnTo>
                    <a:pt x="1664443" y="607977"/>
                  </a:lnTo>
                  <a:lnTo>
                    <a:pt x="1664932" y="604719"/>
                  </a:lnTo>
                  <a:lnTo>
                    <a:pt x="1661836" y="602275"/>
                  </a:lnTo>
                  <a:lnTo>
                    <a:pt x="1656297" y="604067"/>
                  </a:lnTo>
                  <a:lnTo>
                    <a:pt x="1650433" y="604393"/>
                  </a:lnTo>
                  <a:lnTo>
                    <a:pt x="1649129" y="600157"/>
                  </a:lnTo>
                  <a:lnTo>
                    <a:pt x="1651573" y="598691"/>
                  </a:lnTo>
                  <a:lnTo>
                    <a:pt x="1654668" y="599994"/>
                  </a:lnTo>
                  <a:lnTo>
                    <a:pt x="1660044" y="598202"/>
                  </a:lnTo>
                  <a:lnTo>
                    <a:pt x="1662977" y="593804"/>
                  </a:lnTo>
                  <a:lnTo>
                    <a:pt x="1665746" y="596410"/>
                  </a:lnTo>
                  <a:lnTo>
                    <a:pt x="1668841" y="595922"/>
                  </a:lnTo>
                  <a:lnTo>
                    <a:pt x="1671611" y="591197"/>
                  </a:lnTo>
                  <a:lnTo>
                    <a:pt x="1670959" y="588265"/>
                  </a:lnTo>
                  <a:lnTo>
                    <a:pt x="1673566" y="583215"/>
                  </a:lnTo>
                  <a:lnTo>
                    <a:pt x="1672425" y="580119"/>
                  </a:lnTo>
                  <a:lnTo>
                    <a:pt x="1675358" y="579305"/>
                  </a:lnTo>
                  <a:lnTo>
                    <a:pt x="1676172" y="576861"/>
                  </a:lnTo>
                  <a:lnTo>
                    <a:pt x="1670145" y="575232"/>
                  </a:lnTo>
                  <a:lnTo>
                    <a:pt x="1665420" y="576373"/>
                  </a:lnTo>
                  <a:lnTo>
                    <a:pt x="1667212" y="572300"/>
                  </a:lnTo>
                  <a:lnTo>
                    <a:pt x="1670145" y="571160"/>
                  </a:lnTo>
                  <a:lnTo>
                    <a:pt x="1670470" y="566435"/>
                  </a:lnTo>
                  <a:lnTo>
                    <a:pt x="1666072" y="563503"/>
                  </a:lnTo>
                  <a:lnTo>
                    <a:pt x="1656135" y="563503"/>
                  </a:lnTo>
                  <a:cubicBezTo>
                    <a:pt x="1656135" y="563503"/>
                    <a:pt x="1654179" y="560570"/>
                    <a:pt x="1654179" y="560570"/>
                  </a:cubicBezTo>
                  <a:lnTo>
                    <a:pt x="1654668" y="557638"/>
                  </a:lnTo>
                  <a:lnTo>
                    <a:pt x="1657275" y="556498"/>
                  </a:lnTo>
                  <a:lnTo>
                    <a:pt x="1655646" y="551936"/>
                  </a:lnTo>
                  <a:lnTo>
                    <a:pt x="1647500" y="545257"/>
                  </a:lnTo>
                  <a:lnTo>
                    <a:pt x="1643427" y="545257"/>
                  </a:lnTo>
                  <a:lnTo>
                    <a:pt x="1639518" y="547701"/>
                  </a:lnTo>
                  <a:lnTo>
                    <a:pt x="1632838" y="547701"/>
                  </a:lnTo>
                  <a:lnTo>
                    <a:pt x="1625019" y="549981"/>
                  </a:lnTo>
                  <a:lnTo>
                    <a:pt x="1616385" y="543954"/>
                  </a:lnTo>
                  <a:lnTo>
                    <a:pt x="1615081" y="540044"/>
                  </a:lnTo>
                  <a:lnTo>
                    <a:pt x="1612312" y="538578"/>
                  </a:lnTo>
                  <a:lnTo>
                    <a:pt x="1607751" y="541510"/>
                  </a:lnTo>
                  <a:lnTo>
                    <a:pt x="1604329" y="541184"/>
                  </a:lnTo>
                  <a:lnTo>
                    <a:pt x="1601560" y="542487"/>
                  </a:lnTo>
                  <a:lnTo>
                    <a:pt x="1595858" y="542487"/>
                  </a:lnTo>
                  <a:cubicBezTo>
                    <a:pt x="1595858" y="542487"/>
                    <a:pt x="1593903" y="547538"/>
                    <a:pt x="1593903" y="547538"/>
                  </a:cubicBezTo>
                  <a:lnTo>
                    <a:pt x="1591297" y="544442"/>
                  </a:lnTo>
                  <a:lnTo>
                    <a:pt x="1587224" y="541836"/>
                  </a:lnTo>
                  <a:lnTo>
                    <a:pt x="1582500" y="543628"/>
                  </a:lnTo>
                  <a:lnTo>
                    <a:pt x="1576635" y="544605"/>
                  </a:lnTo>
                  <a:lnTo>
                    <a:pt x="1576635" y="547701"/>
                  </a:lnTo>
                  <a:cubicBezTo>
                    <a:pt x="1576635" y="547701"/>
                    <a:pt x="1574843" y="549493"/>
                    <a:pt x="1574843" y="549493"/>
                  </a:cubicBezTo>
                  <a:lnTo>
                    <a:pt x="1574843" y="546234"/>
                  </a:lnTo>
                  <a:lnTo>
                    <a:pt x="1572562" y="543954"/>
                  </a:lnTo>
                  <a:lnTo>
                    <a:pt x="1567838" y="545420"/>
                  </a:lnTo>
                  <a:lnTo>
                    <a:pt x="1556760" y="543791"/>
                  </a:lnTo>
                  <a:lnTo>
                    <a:pt x="1555294" y="545257"/>
                  </a:lnTo>
                  <a:lnTo>
                    <a:pt x="1558878" y="548678"/>
                  </a:lnTo>
                  <a:lnTo>
                    <a:pt x="1558878" y="552588"/>
                  </a:lnTo>
                  <a:cubicBezTo>
                    <a:pt x="1558878" y="552588"/>
                    <a:pt x="1562787" y="556009"/>
                    <a:pt x="1562787" y="556009"/>
                  </a:cubicBezTo>
                  <a:lnTo>
                    <a:pt x="1557411" y="554869"/>
                  </a:lnTo>
                  <a:lnTo>
                    <a:pt x="1555457" y="551610"/>
                  </a:lnTo>
                  <a:lnTo>
                    <a:pt x="1552036" y="550633"/>
                  </a:lnTo>
                  <a:lnTo>
                    <a:pt x="1545356" y="552262"/>
                  </a:lnTo>
                  <a:lnTo>
                    <a:pt x="1542424" y="550633"/>
                  </a:lnTo>
                  <a:lnTo>
                    <a:pt x="1547800" y="548678"/>
                  </a:lnTo>
                  <a:lnTo>
                    <a:pt x="1547800" y="544768"/>
                  </a:lnTo>
                  <a:cubicBezTo>
                    <a:pt x="1547800" y="544768"/>
                    <a:pt x="1542587" y="538741"/>
                    <a:pt x="1542587" y="538741"/>
                  </a:cubicBezTo>
                  <a:lnTo>
                    <a:pt x="1543076" y="535645"/>
                  </a:lnTo>
                  <a:lnTo>
                    <a:pt x="1541446" y="532876"/>
                  </a:lnTo>
                  <a:lnTo>
                    <a:pt x="1535419" y="536297"/>
                  </a:lnTo>
                  <a:lnTo>
                    <a:pt x="1536559" y="539718"/>
                  </a:lnTo>
                  <a:lnTo>
                    <a:pt x="1535256" y="542650"/>
                  </a:lnTo>
                  <a:lnTo>
                    <a:pt x="1531020" y="541184"/>
                  </a:lnTo>
                  <a:lnTo>
                    <a:pt x="1532812" y="538089"/>
                  </a:lnTo>
                  <a:lnTo>
                    <a:pt x="1532323" y="534994"/>
                  </a:lnTo>
                  <a:lnTo>
                    <a:pt x="1527599" y="533690"/>
                  </a:lnTo>
                  <a:lnTo>
                    <a:pt x="1524667" y="535971"/>
                  </a:lnTo>
                  <a:lnTo>
                    <a:pt x="1521246" y="535971"/>
                  </a:lnTo>
                  <a:lnTo>
                    <a:pt x="1522712" y="531410"/>
                  </a:lnTo>
                  <a:lnTo>
                    <a:pt x="1522223" y="528966"/>
                  </a:lnTo>
                  <a:lnTo>
                    <a:pt x="1522223" y="523427"/>
                  </a:lnTo>
                  <a:cubicBezTo>
                    <a:pt x="1522223" y="523427"/>
                    <a:pt x="1516521" y="524893"/>
                    <a:pt x="1516521" y="524893"/>
                  </a:cubicBezTo>
                  <a:lnTo>
                    <a:pt x="1511308" y="530758"/>
                  </a:lnTo>
                  <a:lnTo>
                    <a:pt x="1511797" y="536786"/>
                  </a:lnTo>
                  <a:lnTo>
                    <a:pt x="1508539" y="536786"/>
                  </a:lnTo>
                  <a:cubicBezTo>
                    <a:pt x="1508539" y="536786"/>
                    <a:pt x="1506584" y="532387"/>
                    <a:pt x="1506584" y="532387"/>
                  </a:cubicBezTo>
                  <a:lnTo>
                    <a:pt x="1508539" y="528314"/>
                  </a:lnTo>
                  <a:lnTo>
                    <a:pt x="1508539" y="525056"/>
                  </a:lnTo>
                  <a:lnTo>
                    <a:pt x="1511471" y="517562"/>
                  </a:lnTo>
                  <a:lnTo>
                    <a:pt x="1508050" y="513815"/>
                  </a:lnTo>
                  <a:lnTo>
                    <a:pt x="1502185" y="516259"/>
                  </a:lnTo>
                  <a:lnTo>
                    <a:pt x="1502185" y="513490"/>
                  </a:lnTo>
                  <a:lnTo>
                    <a:pt x="1506095" y="511861"/>
                  </a:lnTo>
                  <a:lnTo>
                    <a:pt x="1508702" y="506159"/>
                  </a:lnTo>
                  <a:lnTo>
                    <a:pt x="1508213" y="502249"/>
                  </a:lnTo>
                  <a:lnTo>
                    <a:pt x="1504792" y="503715"/>
                  </a:lnTo>
                  <a:lnTo>
                    <a:pt x="1500393" y="502412"/>
                  </a:lnTo>
                  <a:lnTo>
                    <a:pt x="1498601" y="503878"/>
                  </a:lnTo>
                  <a:lnTo>
                    <a:pt x="1494203" y="503878"/>
                  </a:lnTo>
                  <a:cubicBezTo>
                    <a:pt x="1494203" y="503878"/>
                    <a:pt x="1496972" y="501923"/>
                    <a:pt x="1496972" y="501923"/>
                  </a:cubicBezTo>
                  <a:lnTo>
                    <a:pt x="1496158" y="499479"/>
                  </a:lnTo>
                  <a:lnTo>
                    <a:pt x="1492085" y="499479"/>
                  </a:lnTo>
                  <a:lnTo>
                    <a:pt x="1488990" y="502575"/>
                  </a:lnTo>
                  <a:lnTo>
                    <a:pt x="1482962" y="503715"/>
                  </a:lnTo>
                  <a:lnTo>
                    <a:pt x="1482962" y="501109"/>
                  </a:lnTo>
                  <a:lnTo>
                    <a:pt x="1486057" y="499479"/>
                  </a:lnTo>
                  <a:lnTo>
                    <a:pt x="1488501" y="495407"/>
                  </a:lnTo>
                  <a:lnTo>
                    <a:pt x="1489641" y="491497"/>
                  </a:lnTo>
                  <a:lnTo>
                    <a:pt x="1492900" y="491497"/>
                  </a:lnTo>
                  <a:cubicBezTo>
                    <a:pt x="1492900" y="491497"/>
                    <a:pt x="1497135" y="496058"/>
                    <a:pt x="1497135" y="496058"/>
                  </a:cubicBezTo>
                  <a:lnTo>
                    <a:pt x="1504140" y="496058"/>
                  </a:lnTo>
                  <a:lnTo>
                    <a:pt x="1503326" y="493126"/>
                  </a:lnTo>
                  <a:lnTo>
                    <a:pt x="1498927" y="488076"/>
                  </a:lnTo>
                  <a:lnTo>
                    <a:pt x="1494366" y="487587"/>
                  </a:lnTo>
                  <a:lnTo>
                    <a:pt x="1496972" y="485958"/>
                  </a:lnTo>
                  <a:lnTo>
                    <a:pt x="1490945" y="479767"/>
                  </a:lnTo>
                  <a:lnTo>
                    <a:pt x="1485894" y="476998"/>
                  </a:lnTo>
                  <a:lnTo>
                    <a:pt x="1488664" y="476346"/>
                  </a:lnTo>
                  <a:lnTo>
                    <a:pt x="1489153" y="473088"/>
                  </a:lnTo>
                  <a:lnTo>
                    <a:pt x="1491759" y="473088"/>
                  </a:lnTo>
                  <a:lnTo>
                    <a:pt x="1494203" y="478138"/>
                  </a:lnTo>
                  <a:lnTo>
                    <a:pt x="1499253" y="483351"/>
                  </a:lnTo>
                  <a:lnTo>
                    <a:pt x="1505281" y="484981"/>
                  </a:lnTo>
                  <a:lnTo>
                    <a:pt x="1509516" y="489216"/>
                  </a:lnTo>
                  <a:lnTo>
                    <a:pt x="1512123" y="486284"/>
                  </a:lnTo>
                  <a:lnTo>
                    <a:pt x="1515055" y="489705"/>
                  </a:lnTo>
                  <a:lnTo>
                    <a:pt x="1523038" y="491497"/>
                  </a:lnTo>
                  <a:lnTo>
                    <a:pt x="1528414" y="491497"/>
                  </a:lnTo>
                  <a:lnTo>
                    <a:pt x="1530206" y="487261"/>
                  </a:lnTo>
                  <a:lnTo>
                    <a:pt x="1528577" y="481559"/>
                  </a:lnTo>
                  <a:lnTo>
                    <a:pt x="1518313" y="473740"/>
                  </a:lnTo>
                  <a:lnTo>
                    <a:pt x="1513915" y="469015"/>
                  </a:lnTo>
                  <a:lnTo>
                    <a:pt x="1510819" y="469504"/>
                  </a:lnTo>
                  <a:lnTo>
                    <a:pt x="1509679" y="465106"/>
                  </a:lnTo>
                  <a:lnTo>
                    <a:pt x="1505118" y="460544"/>
                  </a:lnTo>
                  <a:lnTo>
                    <a:pt x="1502674" y="460544"/>
                  </a:lnTo>
                  <a:cubicBezTo>
                    <a:pt x="1502674" y="460544"/>
                    <a:pt x="1500393" y="457775"/>
                    <a:pt x="1500393" y="457775"/>
                  </a:cubicBezTo>
                  <a:lnTo>
                    <a:pt x="1502022" y="454842"/>
                  </a:lnTo>
                  <a:lnTo>
                    <a:pt x="1505769" y="456146"/>
                  </a:lnTo>
                  <a:lnTo>
                    <a:pt x="1509190" y="460381"/>
                  </a:lnTo>
                  <a:lnTo>
                    <a:pt x="1512611" y="460381"/>
                  </a:lnTo>
                  <a:lnTo>
                    <a:pt x="1513752" y="464780"/>
                  </a:lnTo>
                  <a:lnTo>
                    <a:pt x="1516684" y="465106"/>
                  </a:lnTo>
                  <a:lnTo>
                    <a:pt x="1518476" y="461685"/>
                  </a:lnTo>
                  <a:lnTo>
                    <a:pt x="1516521" y="453376"/>
                  </a:lnTo>
                  <a:lnTo>
                    <a:pt x="1510819" y="446045"/>
                  </a:lnTo>
                  <a:lnTo>
                    <a:pt x="1506584" y="446045"/>
                  </a:lnTo>
                  <a:cubicBezTo>
                    <a:pt x="1506584" y="446045"/>
                    <a:pt x="1505281" y="445068"/>
                    <a:pt x="1505281" y="445068"/>
                  </a:cubicBezTo>
                  <a:lnTo>
                    <a:pt x="1500068" y="445068"/>
                  </a:lnTo>
                  <a:cubicBezTo>
                    <a:pt x="1500068" y="445068"/>
                    <a:pt x="1494366" y="448815"/>
                    <a:pt x="1494366" y="448815"/>
                  </a:cubicBezTo>
                  <a:lnTo>
                    <a:pt x="1489804" y="448815"/>
                  </a:lnTo>
                  <a:lnTo>
                    <a:pt x="1485406" y="445557"/>
                  </a:lnTo>
                  <a:lnTo>
                    <a:pt x="1481985" y="446208"/>
                  </a:lnTo>
                  <a:lnTo>
                    <a:pt x="1478889" y="442135"/>
                  </a:lnTo>
                  <a:lnTo>
                    <a:pt x="1473676" y="449955"/>
                  </a:lnTo>
                  <a:lnTo>
                    <a:pt x="1466671" y="453702"/>
                  </a:lnTo>
                  <a:lnTo>
                    <a:pt x="1465368" y="457612"/>
                  </a:lnTo>
                  <a:lnTo>
                    <a:pt x="1461621" y="459893"/>
                  </a:lnTo>
                  <a:lnTo>
                    <a:pt x="1461621" y="456471"/>
                  </a:lnTo>
                  <a:cubicBezTo>
                    <a:pt x="1461621" y="456471"/>
                    <a:pt x="1464879" y="451910"/>
                    <a:pt x="1464879" y="451910"/>
                  </a:cubicBezTo>
                  <a:lnTo>
                    <a:pt x="1467649" y="450770"/>
                  </a:lnTo>
                  <a:lnTo>
                    <a:pt x="1478075" y="440832"/>
                  </a:lnTo>
                  <a:lnTo>
                    <a:pt x="1479052" y="437737"/>
                  </a:lnTo>
                  <a:lnTo>
                    <a:pt x="1476609" y="432687"/>
                  </a:lnTo>
                  <a:lnTo>
                    <a:pt x="1476609" y="421446"/>
                  </a:lnTo>
                  <a:cubicBezTo>
                    <a:pt x="1476609" y="421446"/>
                    <a:pt x="1478238" y="419980"/>
                    <a:pt x="1478238" y="419980"/>
                  </a:cubicBezTo>
                  <a:lnTo>
                    <a:pt x="1474491" y="415581"/>
                  </a:lnTo>
                  <a:lnTo>
                    <a:pt x="1472210" y="418188"/>
                  </a:lnTo>
                  <a:lnTo>
                    <a:pt x="1466671" y="417862"/>
                  </a:lnTo>
                  <a:lnTo>
                    <a:pt x="1464065" y="415255"/>
                  </a:lnTo>
                  <a:lnTo>
                    <a:pt x="1464065" y="410694"/>
                  </a:lnTo>
                  <a:cubicBezTo>
                    <a:pt x="1464065" y="410694"/>
                    <a:pt x="1463087" y="407599"/>
                    <a:pt x="1463087" y="407599"/>
                  </a:cubicBezTo>
                  <a:lnTo>
                    <a:pt x="1454779" y="404829"/>
                  </a:lnTo>
                  <a:lnTo>
                    <a:pt x="1450543" y="400268"/>
                  </a:lnTo>
                  <a:lnTo>
                    <a:pt x="1445493" y="400268"/>
                  </a:lnTo>
                  <a:lnTo>
                    <a:pt x="1439954" y="397498"/>
                  </a:lnTo>
                  <a:lnTo>
                    <a:pt x="1437673" y="399942"/>
                  </a:lnTo>
                  <a:lnTo>
                    <a:pt x="1428387" y="401082"/>
                  </a:lnTo>
                  <a:lnTo>
                    <a:pt x="1427247" y="402874"/>
                  </a:lnTo>
                  <a:lnTo>
                    <a:pt x="1424641" y="402874"/>
                  </a:lnTo>
                  <a:cubicBezTo>
                    <a:pt x="1424641" y="402874"/>
                    <a:pt x="1422686" y="407599"/>
                    <a:pt x="1422686" y="407599"/>
                  </a:cubicBezTo>
                  <a:lnTo>
                    <a:pt x="1425944" y="412160"/>
                  </a:lnTo>
                  <a:lnTo>
                    <a:pt x="1428225" y="416885"/>
                  </a:lnTo>
                  <a:lnTo>
                    <a:pt x="1424803" y="416885"/>
                  </a:lnTo>
                  <a:cubicBezTo>
                    <a:pt x="1424803" y="416885"/>
                    <a:pt x="1419102" y="408576"/>
                    <a:pt x="1419102" y="408576"/>
                  </a:cubicBezTo>
                  <a:lnTo>
                    <a:pt x="1417961" y="413952"/>
                  </a:lnTo>
                  <a:lnTo>
                    <a:pt x="1419590" y="418677"/>
                  </a:lnTo>
                  <a:lnTo>
                    <a:pt x="1424803" y="420957"/>
                  </a:lnTo>
                  <a:lnTo>
                    <a:pt x="1429528" y="429591"/>
                  </a:lnTo>
                  <a:lnTo>
                    <a:pt x="1434089" y="429591"/>
                  </a:lnTo>
                  <a:lnTo>
                    <a:pt x="1431157" y="432361"/>
                  </a:lnTo>
                  <a:lnTo>
                    <a:pt x="1426921" y="432361"/>
                  </a:lnTo>
                  <a:cubicBezTo>
                    <a:pt x="1426921" y="432361"/>
                    <a:pt x="1425944" y="437085"/>
                    <a:pt x="1425944" y="437085"/>
                  </a:cubicBezTo>
                  <a:lnTo>
                    <a:pt x="1432134" y="445394"/>
                  </a:lnTo>
                  <a:lnTo>
                    <a:pt x="1437185" y="447349"/>
                  </a:lnTo>
                  <a:lnTo>
                    <a:pt x="1437185" y="450933"/>
                  </a:lnTo>
                  <a:cubicBezTo>
                    <a:pt x="1437185" y="450933"/>
                    <a:pt x="1435230" y="448978"/>
                    <a:pt x="1435230" y="448978"/>
                  </a:cubicBezTo>
                  <a:lnTo>
                    <a:pt x="1427247" y="448489"/>
                  </a:lnTo>
                  <a:lnTo>
                    <a:pt x="1427247" y="451095"/>
                  </a:lnTo>
                  <a:lnTo>
                    <a:pt x="1424478" y="453050"/>
                  </a:lnTo>
                  <a:lnTo>
                    <a:pt x="1423011" y="456960"/>
                  </a:lnTo>
                  <a:lnTo>
                    <a:pt x="1429854" y="454191"/>
                  </a:lnTo>
                  <a:lnTo>
                    <a:pt x="1433112" y="456960"/>
                  </a:lnTo>
                  <a:lnTo>
                    <a:pt x="1441257" y="454028"/>
                  </a:lnTo>
                  <a:lnTo>
                    <a:pt x="1442072" y="457286"/>
                  </a:lnTo>
                  <a:lnTo>
                    <a:pt x="1447611" y="458426"/>
                  </a:lnTo>
                  <a:lnTo>
                    <a:pt x="1448262" y="461685"/>
                  </a:lnTo>
                  <a:lnTo>
                    <a:pt x="1455104" y="467223"/>
                  </a:lnTo>
                  <a:lnTo>
                    <a:pt x="1457711" y="467223"/>
                  </a:lnTo>
                  <a:cubicBezTo>
                    <a:pt x="1457711" y="467223"/>
                    <a:pt x="1458037" y="463802"/>
                    <a:pt x="1458037" y="463802"/>
                  </a:cubicBezTo>
                  <a:lnTo>
                    <a:pt x="1459992" y="465757"/>
                  </a:lnTo>
                  <a:lnTo>
                    <a:pt x="1464716" y="462988"/>
                  </a:lnTo>
                  <a:lnTo>
                    <a:pt x="1468137" y="463802"/>
                  </a:lnTo>
                  <a:lnTo>
                    <a:pt x="1469278" y="467061"/>
                  </a:lnTo>
                  <a:lnTo>
                    <a:pt x="1467323" y="471622"/>
                  </a:lnTo>
                  <a:lnTo>
                    <a:pt x="1467323" y="480582"/>
                  </a:lnTo>
                  <a:lnTo>
                    <a:pt x="1465368" y="486773"/>
                  </a:lnTo>
                  <a:lnTo>
                    <a:pt x="1465368" y="491171"/>
                  </a:lnTo>
                  <a:lnTo>
                    <a:pt x="1468626" y="496221"/>
                  </a:lnTo>
                  <a:lnTo>
                    <a:pt x="1466997" y="502249"/>
                  </a:lnTo>
                  <a:lnTo>
                    <a:pt x="1466997" y="505670"/>
                  </a:lnTo>
                  <a:lnTo>
                    <a:pt x="1465042" y="511535"/>
                  </a:lnTo>
                  <a:lnTo>
                    <a:pt x="1458037" y="516585"/>
                  </a:lnTo>
                  <a:lnTo>
                    <a:pt x="1451846" y="518051"/>
                  </a:lnTo>
                  <a:lnTo>
                    <a:pt x="1450869" y="522287"/>
                  </a:lnTo>
                  <a:lnTo>
                    <a:pt x="1445493" y="528966"/>
                  </a:lnTo>
                  <a:lnTo>
                    <a:pt x="1445493" y="532224"/>
                  </a:lnTo>
                  <a:cubicBezTo>
                    <a:pt x="1445493" y="532224"/>
                    <a:pt x="1441257" y="535157"/>
                    <a:pt x="1441257" y="535157"/>
                  </a:cubicBezTo>
                  <a:lnTo>
                    <a:pt x="1438488" y="539392"/>
                  </a:lnTo>
                  <a:lnTo>
                    <a:pt x="1438814" y="544931"/>
                  </a:lnTo>
                  <a:lnTo>
                    <a:pt x="1442235" y="546071"/>
                  </a:lnTo>
                  <a:lnTo>
                    <a:pt x="1442235" y="549330"/>
                  </a:lnTo>
                  <a:lnTo>
                    <a:pt x="1437673" y="551285"/>
                  </a:lnTo>
                  <a:lnTo>
                    <a:pt x="1436696" y="555031"/>
                  </a:lnTo>
                  <a:lnTo>
                    <a:pt x="1439139" y="557475"/>
                  </a:lnTo>
                  <a:lnTo>
                    <a:pt x="1435393" y="562199"/>
                  </a:lnTo>
                  <a:lnTo>
                    <a:pt x="1434089" y="566761"/>
                  </a:lnTo>
                  <a:lnTo>
                    <a:pt x="1436370" y="572137"/>
                  </a:lnTo>
                  <a:lnTo>
                    <a:pt x="1439465" y="573114"/>
                  </a:lnTo>
                  <a:lnTo>
                    <a:pt x="1439465" y="576373"/>
                  </a:lnTo>
                  <a:lnTo>
                    <a:pt x="1443538" y="580119"/>
                  </a:lnTo>
                  <a:lnTo>
                    <a:pt x="1446307" y="579631"/>
                  </a:lnTo>
                  <a:lnTo>
                    <a:pt x="1446796" y="575069"/>
                  </a:lnTo>
                  <a:lnTo>
                    <a:pt x="1448425" y="572463"/>
                  </a:lnTo>
                  <a:lnTo>
                    <a:pt x="1450869" y="574255"/>
                  </a:lnTo>
                  <a:lnTo>
                    <a:pt x="1453150" y="574255"/>
                  </a:lnTo>
                  <a:cubicBezTo>
                    <a:pt x="1453150" y="574255"/>
                    <a:pt x="1457711" y="568064"/>
                    <a:pt x="1457711" y="568064"/>
                  </a:cubicBezTo>
                  <a:lnTo>
                    <a:pt x="1459340" y="570019"/>
                  </a:lnTo>
                  <a:lnTo>
                    <a:pt x="1456734" y="576698"/>
                  </a:lnTo>
                  <a:lnTo>
                    <a:pt x="1452335" y="577839"/>
                  </a:lnTo>
                  <a:lnTo>
                    <a:pt x="1451520" y="580282"/>
                  </a:lnTo>
                  <a:lnTo>
                    <a:pt x="1453312" y="582726"/>
                  </a:lnTo>
                  <a:lnTo>
                    <a:pt x="1453801" y="585495"/>
                  </a:lnTo>
                  <a:lnTo>
                    <a:pt x="1458526" y="591360"/>
                  </a:lnTo>
                  <a:lnTo>
                    <a:pt x="1463250" y="589894"/>
                  </a:lnTo>
                  <a:lnTo>
                    <a:pt x="1464553" y="591849"/>
                  </a:lnTo>
                  <a:lnTo>
                    <a:pt x="1470744" y="592664"/>
                  </a:lnTo>
                  <a:lnTo>
                    <a:pt x="1473676" y="589894"/>
                  </a:lnTo>
                  <a:lnTo>
                    <a:pt x="1479541" y="587613"/>
                  </a:lnTo>
                  <a:lnTo>
                    <a:pt x="1479215" y="581749"/>
                  </a:lnTo>
                  <a:lnTo>
                    <a:pt x="1482147" y="581749"/>
                  </a:lnTo>
                  <a:cubicBezTo>
                    <a:pt x="1482147" y="581749"/>
                    <a:pt x="1484428" y="579305"/>
                    <a:pt x="1484428" y="579305"/>
                  </a:cubicBezTo>
                  <a:lnTo>
                    <a:pt x="1485406" y="582237"/>
                  </a:lnTo>
                  <a:lnTo>
                    <a:pt x="1484265" y="583866"/>
                  </a:lnTo>
                  <a:lnTo>
                    <a:pt x="1484591" y="587939"/>
                  </a:lnTo>
                  <a:lnTo>
                    <a:pt x="1487198" y="586799"/>
                  </a:lnTo>
                  <a:lnTo>
                    <a:pt x="1490130" y="579468"/>
                  </a:lnTo>
                  <a:lnTo>
                    <a:pt x="1493062" y="578165"/>
                  </a:lnTo>
                  <a:lnTo>
                    <a:pt x="1494528" y="580608"/>
                  </a:lnTo>
                  <a:lnTo>
                    <a:pt x="1493225" y="586147"/>
                  </a:lnTo>
                  <a:lnTo>
                    <a:pt x="1486546" y="594781"/>
                  </a:lnTo>
                  <a:lnTo>
                    <a:pt x="1483614" y="597877"/>
                  </a:lnTo>
                  <a:lnTo>
                    <a:pt x="1483614" y="601786"/>
                  </a:lnTo>
                  <a:cubicBezTo>
                    <a:pt x="1483614" y="601786"/>
                    <a:pt x="1488990" y="603578"/>
                    <a:pt x="1488990" y="603578"/>
                  </a:cubicBezTo>
                  <a:lnTo>
                    <a:pt x="1493225" y="606999"/>
                  </a:lnTo>
                  <a:lnTo>
                    <a:pt x="1497624" y="606674"/>
                  </a:lnTo>
                  <a:lnTo>
                    <a:pt x="1499090" y="608303"/>
                  </a:lnTo>
                  <a:lnTo>
                    <a:pt x="1504466" y="608791"/>
                  </a:lnTo>
                  <a:lnTo>
                    <a:pt x="1505932" y="605045"/>
                  </a:lnTo>
                  <a:lnTo>
                    <a:pt x="1511145" y="605533"/>
                  </a:lnTo>
                  <a:lnTo>
                    <a:pt x="1509516" y="607977"/>
                  </a:lnTo>
                  <a:lnTo>
                    <a:pt x="1510005" y="610583"/>
                  </a:lnTo>
                  <a:lnTo>
                    <a:pt x="1513752" y="611724"/>
                  </a:lnTo>
                  <a:lnTo>
                    <a:pt x="1517173" y="614330"/>
                  </a:lnTo>
                  <a:lnTo>
                    <a:pt x="1520268" y="612376"/>
                  </a:lnTo>
                  <a:lnTo>
                    <a:pt x="1519128" y="609443"/>
                  </a:lnTo>
                  <a:lnTo>
                    <a:pt x="1519128" y="605370"/>
                  </a:lnTo>
                  <a:cubicBezTo>
                    <a:pt x="1519128" y="605370"/>
                    <a:pt x="1522060" y="600972"/>
                    <a:pt x="1522060" y="600972"/>
                  </a:cubicBezTo>
                  <a:lnTo>
                    <a:pt x="1523363" y="604719"/>
                  </a:lnTo>
                  <a:lnTo>
                    <a:pt x="1522060" y="609117"/>
                  </a:lnTo>
                  <a:lnTo>
                    <a:pt x="1523201" y="614493"/>
                  </a:lnTo>
                  <a:lnTo>
                    <a:pt x="1526622" y="614493"/>
                  </a:lnTo>
                  <a:cubicBezTo>
                    <a:pt x="1526622" y="614493"/>
                    <a:pt x="1527925" y="609280"/>
                    <a:pt x="1527925" y="609280"/>
                  </a:cubicBezTo>
                  <a:lnTo>
                    <a:pt x="1529554" y="606511"/>
                  </a:lnTo>
                  <a:lnTo>
                    <a:pt x="1533301" y="606022"/>
                  </a:lnTo>
                  <a:lnTo>
                    <a:pt x="1533301" y="608954"/>
                  </a:lnTo>
                  <a:cubicBezTo>
                    <a:pt x="1533301" y="608954"/>
                    <a:pt x="1530694" y="610909"/>
                    <a:pt x="1530694" y="610909"/>
                  </a:cubicBezTo>
                  <a:lnTo>
                    <a:pt x="1530694" y="614982"/>
                  </a:lnTo>
                  <a:cubicBezTo>
                    <a:pt x="1530694" y="614982"/>
                    <a:pt x="1537536" y="615145"/>
                    <a:pt x="1537536" y="615145"/>
                  </a:cubicBezTo>
                  <a:lnTo>
                    <a:pt x="1541446" y="612376"/>
                  </a:lnTo>
                  <a:lnTo>
                    <a:pt x="1545030" y="604556"/>
                  </a:lnTo>
                  <a:lnTo>
                    <a:pt x="1545682" y="608629"/>
                  </a:lnTo>
                  <a:lnTo>
                    <a:pt x="1543401" y="611724"/>
                  </a:lnTo>
                  <a:lnTo>
                    <a:pt x="1543401" y="615471"/>
                  </a:lnTo>
                  <a:lnTo>
                    <a:pt x="1549266" y="614330"/>
                  </a:lnTo>
                  <a:lnTo>
                    <a:pt x="1551221" y="607325"/>
                  </a:lnTo>
                  <a:lnTo>
                    <a:pt x="1553176" y="604393"/>
                  </a:lnTo>
                  <a:lnTo>
                    <a:pt x="1551873" y="614819"/>
                  </a:lnTo>
                  <a:lnTo>
                    <a:pt x="1552850" y="618240"/>
                  </a:lnTo>
                  <a:lnTo>
                    <a:pt x="1557574" y="618240"/>
                  </a:lnTo>
                  <a:cubicBezTo>
                    <a:pt x="1557574" y="618240"/>
                    <a:pt x="1564579" y="622476"/>
                    <a:pt x="1564579" y="622476"/>
                  </a:cubicBezTo>
                  <a:lnTo>
                    <a:pt x="1568978" y="620847"/>
                  </a:lnTo>
                  <a:lnTo>
                    <a:pt x="1572236" y="619706"/>
                  </a:lnTo>
                  <a:lnTo>
                    <a:pt x="1573539" y="622639"/>
                  </a:lnTo>
                  <a:lnTo>
                    <a:pt x="1579404" y="621010"/>
                  </a:lnTo>
                  <a:lnTo>
                    <a:pt x="1582825" y="619055"/>
                  </a:lnTo>
                  <a:lnTo>
                    <a:pt x="1582825" y="613679"/>
                  </a:lnTo>
                  <a:lnTo>
                    <a:pt x="1587550" y="609280"/>
                  </a:lnTo>
                  <a:lnTo>
                    <a:pt x="1589342" y="606022"/>
                  </a:lnTo>
                  <a:lnTo>
                    <a:pt x="1586898" y="600972"/>
                  </a:lnTo>
                  <a:lnTo>
                    <a:pt x="1589179" y="596736"/>
                  </a:lnTo>
                  <a:lnTo>
                    <a:pt x="1591134" y="597551"/>
                  </a:lnTo>
                  <a:lnTo>
                    <a:pt x="1591460" y="603578"/>
                  </a:lnTo>
                  <a:lnTo>
                    <a:pt x="1594392" y="604067"/>
                  </a:lnTo>
                  <a:lnTo>
                    <a:pt x="1594718" y="606674"/>
                  </a:lnTo>
                  <a:lnTo>
                    <a:pt x="1590971" y="609932"/>
                  </a:lnTo>
                  <a:lnTo>
                    <a:pt x="1588364" y="616774"/>
                  </a:lnTo>
                  <a:lnTo>
                    <a:pt x="1589342" y="627526"/>
                  </a:lnTo>
                  <a:lnTo>
                    <a:pt x="1589342" y="627526"/>
                  </a:lnTo>
                  <a:close/>
                  <a:moveTo>
                    <a:pt x="1415355" y="395706"/>
                  </a:moveTo>
                  <a:lnTo>
                    <a:pt x="1418939" y="394729"/>
                  </a:lnTo>
                  <a:lnTo>
                    <a:pt x="1418939" y="392448"/>
                  </a:lnTo>
                  <a:lnTo>
                    <a:pt x="1415680" y="391471"/>
                  </a:lnTo>
                  <a:lnTo>
                    <a:pt x="1413237" y="393751"/>
                  </a:lnTo>
                  <a:lnTo>
                    <a:pt x="1415518" y="395706"/>
                  </a:lnTo>
                  <a:lnTo>
                    <a:pt x="1415518" y="395706"/>
                  </a:lnTo>
                  <a:close/>
                  <a:moveTo>
                    <a:pt x="1405906" y="426822"/>
                  </a:moveTo>
                  <a:lnTo>
                    <a:pt x="1409001" y="423238"/>
                  </a:lnTo>
                  <a:lnTo>
                    <a:pt x="1410630" y="419654"/>
                  </a:lnTo>
                  <a:lnTo>
                    <a:pt x="1410956" y="423564"/>
                  </a:lnTo>
                  <a:lnTo>
                    <a:pt x="1408350" y="426170"/>
                  </a:lnTo>
                  <a:lnTo>
                    <a:pt x="1406069" y="426659"/>
                  </a:lnTo>
                  <a:lnTo>
                    <a:pt x="1406069" y="426659"/>
                  </a:lnTo>
                  <a:close/>
                  <a:moveTo>
                    <a:pt x="1283236" y="470970"/>
                  </a:moveTo>
                  <a:lnTo>
                    <a:pt x="1282095" y="473251"/>
                  </a:lnTo>
                  <a:lnTo>
                    <a:pt x="1283887" y="475532"/>
                  </a:lnTo>
                  <a:lnTo>
                    <a:pt x="1285027" y="472925"/>
                  </a:lnTo>
                  <a:lnTo>
                    <a:pt x="1283236" y="470970"/>
                  </a:lnTo>
                  <a:lnTo>
                    <a:pt x="1283236" y="470970"/>
                  </a:lnTo>
                  <a:close/>
                  <a:moveTo>
                    <a:pt x="1363061" y="393751"/>
                  </a:moveTo>
                  <a:lnTo>
                    <a:pt x="1363061" y="396032"/>
                  </a:lnTo>
                  <a:cubicBezTo>
                    <a:pt x="1363061" y="396032"/>
                    <a:pt x="1365830" y="400268"/>
                    <a:pt x="1365830" y="400268"/>
                  </a:cubicBezTo>
                  <a:lnTo>
                    <a:pt x="1366808" y="402874"/>
                  </a:lnTo>
                  <a:lnTo>
                    <a:pt x="1369252" y="401734"/>
                  </a:lnTo>
                  <a:lnTo>
                    <a:pt x="1368274" y="397172"/>
                  </a:lnTo>
                  <a:lnTo>
                    <a:pt x="1365179" y="393914"/>
                  </a:lnTo>
                  <a:lnTo>
                    <a:pt x="1363061" y="393914"/>
                  </a:lnTo>
                  <a:close/>
                  <a:moveTo>
                    <a:pt x="1324614" y="395543"/>
                  </a:moveTo>
                  <a:lnTo>
                    <a:pt x="1324614" y="398476"/>
                  </a:lnTo>
                  <a:lnTo>
                    <a:pt x="1326895" y="400757"/>
                  </a:lnTo>
                  <a:lnTo>
                    <a:pt x="1330316" y="398476"/>
                  </a:lnTo>
                  <a:lnTo>
                    <a:pt x="1335529" y="397335"/>
                  </a:lnTo>
                  <a:lnTo>
                    <a:pt x="1339113" y="398313"/>
                  </a:lnTo>
                  <a:lnTo>
                    <a:pt x="1346607" y="393914"/>
                  </a:lnTo>
                  <a:lnTo>
                    <a:pt x="1350517" y="393914"/>
                  </a:lnTo>
                  <a:cubicBezTo>
                    <a:pt x="1350517" y="393914"/>
                    <a:pt x="1355078" y="391959"/>
                    <a:pt x="1355078" y="391959"/>
                  </a:cubicBezTo>
                  <a:lnTo>
                    <a:pt x="1353449" y="390330"/>
                  </a:lnTo>
                  <a:lnTo>
                    <a:pt x="1345955" y="389353"/>
                  </a:lnTo>
                  <a:lnTo>
                    <a:pt x="1340254" y="390493"/>
                  </a:lnTo>
                  <a:cubicBezTo>
                    <a:pt x="1340254" y="390493"/>
                    <a:pt x="1336507" y="393100"/>
                    <a:pt x="1335855" y="393100"/>
                  </a:cubicBezTo>
                  <a:cubicBezTo>
                    <a:pt x="1335203" y="393100"/>
                    <a:pt x="1332108" y="392285"/>
                    <a:pt x="1332108" y="392285"/>
                  </a:cubicBezTo>
                  <a:lnTo>
                    <a:pt x="1327384" y="393751"/>
                  </a:lnTo>
                  <a:lnTo>
                    <a:pt x="1324614" y="395543"/>
                  </a:lnTo>
                  <a:lnTo>
                    <a:pt x="1324614" y="395543"/>
                  </a:lnTo>
                  <a:close/>
                  <a:moveTo>
                    <a:pt x="1285190" y="409065"/>
                  </a:moveTo>
                  <a:lnTo>
                    <a:pt x="1282584" y="405970"/>
                  </a:lnTo>
                  <a:lnTo>
                    <a:pt x="1275416" y="405155"/>
                  </a:lnTo>
                  <a:lnTo>
                    <a:pt x="1270366" y="403689"/>
                  </a:lnTo>
                  <a:lnTo>
                    <a:pt x="1268899" y="396847"/>
                  </a:lnTo>
                  <a:lnTo>
                    <a:pt x="1272809" y="393100"/>
                  </a:lnTo>
                  <a:lnTo>
                    <a:pt x="1273624" y="389516"/>
                  </a:lnTo>
                  <a:lnTo>
                    <a:pt x="1272483" y="386746"/>
                  </a:lnTo>
                  <a:lnTo>
                    <a:pt x="1273298" y="381696"/>
                  </a:lnTo>
                  <a:lnTo>
                    <a:pt x="1276393" y="379415"/>
                  </a:lnTo>
                  <a:lnTo>
                    <a:pt x="1283072" y="379415"/>
                  </a:lnTo>
                  <a:lnTo>
                    <a:pt x="1285027" y="380882"/>
                  </a:lnTo>
                  <a:lnTo>
                    <a:pt x="1286982" y="382185"/>
                  </a:lnTo>
                  <a:lnTo>
                    <a:pt x="1288123" y="384629"/>
                  </a:lnTo>
                  <a:lnTo>
                    <a:pt x="1285027" y="386258"/>
                  </a:lnTo>
                  <a:lnTo>
                    <a:pt x="1283887" y="389027"/>
                  </a:lnTo>
                  <a:lnTo>
                    <a:pt x="1285842" y="389679"/>
                  </a:lnTo>
                  <a:lnTo>
                    <a:pt x="1290566" y="389679"/>
                  </a:lnTo>
                  <a:cubicBezTo>
                    <a:pt x="1290566" y="389679"/>
                    <a:pt x="1290403" y="391959"/>
                    <a:pt x="1290403" y="391959"/>
                  </a:cubicBezTo>
                  <a:lnTo>
                    <a:pt x="1288611" y="394892"/>
                  </a:lnTo>
                  <a:lnTo>
                    <a:pt x="1290403" y="398476"/>
                  </a:lnTo>
                  <a:lnTo>
                    <a:pt x="1290403" y="403526"/>
                  </a:lnTo>
                  <a:cubicBezTo>
                    <a:pt x="1290403" y="403526"/>
                    <a:pt x="1288774" y="407436"/>
                    <a:pt x="1288774" y="407436"/>
                  </a:cubicBezTo>
                  <a:lnTo>
                    <a:pt x="1285516" y="408902"/>
                  </a:lnTo>
                  <a:lnTo>
                    <a:pt x="1285516" y="408902"/>
                  </a:lnTo>
                  <a:close/>
                  <a:moveTo>
                    <a:pt x="1278185" y="427637"/>
                  </a:moveTo>
                  <a:lnTo>
                    <a:pt x="1288286" y="428614"/>
                  </a:lnTo>
                  <a:lnTo>
                    <a:pt x="1291870" y="425519"/>
                  </a:lnTo>
                  <a:lnTo>
                    <a:pt x="1295454" y="418351"/>
                  </a:lnTo>
                  <a:lnTo>
                    <a:pt x="1292033" y="413789"/>
                  </a:lnTo>
                  <a:lnTo>
                    <a:pt x="1287634" y="414278"/>
                  </a:lnTo>
                  <a:lnTo>
                    <a:pt x="1281280" y="411671"/>
                  </a:lnTo>
                  <a:lnTo>
                    <a:pt x="1274927" y="412160"/>
                  </a:lnTo>
                  <a:lnTo>
                    <a:pt x="1270366" y="411020"/>
                  </a:lnTo>
                  <a:lnTo>
                    <a:pt x="1266619" y="410694"/>
                  </a:lnTo>
                  <a:lnTo>
                    <a:pt x="1264012" y="412975"/>
                  </a:lnTo>
                  <a:lnTo>
                    <a:pt x="1260917" y="414604"/>
                  </a:lnTo>
                  <a:lnTo>
                    <a:pt x="1260102" y="418351"/>
                  </a:lnTo>
                  <a:lnTo>
                    <a:pt x="1260917" y="420469"/>
                  </a:lnTo>
                  <a:lnTo>
                    <a:pt x="1262872" y="420794"/>
                  </a:lnTo>
                  <a:lnTo>
                    <a:pt x="1264501" y="423727"/>
                  </a:lnTo>
                  <a:lnTo>
                    <a:pt x="1268411" y="424541"/>
                  </a:lnTo>
                  <a:lnTo>
                    <a:pt x="1272320" y="426985"/>
                  </a:lnTo>
                  <a:lnTo>
                    <a:pt x="1278185" y="427637"/>
                  </a:lnTo>
                  <a:lnTo>
                    <a:pt x="1278185" y="427637"/>
                  </a:lnTo>
                  <a:close/>
                  <a:moveTo>
                    <a:pt x="1259939" y="434805"/>
                  </a:moveTo>
                  <a:lnTo>
                    <a:pt x="1271669" y="438063"/>
                  </a:lnTo>
                  <a:lnTo>
                    <a:pt x="1276230" y="435945"/>
                  </a:lnTo>
                  <a:lnTo>
                    <a:pt x="1280629" y="435945"/>
                  </a:lnTo>
                  <a:lnTo>
                    <a:pt x="1282584" y="437411"/>
                  </a:lnTo>
                  <a:lnTo>
                    <a:pt x="1286005" y="435782"/>
                  </a:lnTo>
                  <a:lnTo>
                    <a:pt x="1290729" y="435130"/>
                  </a:lnTo>
                  <a:lnTo>
                    <a:pt x="1290729" y="431872"/>
                  </a:lnTo>
                  <a:cubicBezTo>
                    <a:pt x="1290729" y="431872"/>
                    <a:pt x="1287145" y="430895"/>
                    <a:pt x="1287145" y="430895"/>
                  </a:cubicBezTo>
                  <a:lnTo>
                    <a:pt x="1275742" y="432035"/>
                  </a:lnTo>
                  <a:lnTo>
                    <a:pt x="1271017" y="433338"/>
                  </a:lnTo>
                  <a:lnTo>
                    <a:pt x="1269225" y="431221"/>
                  </a:lnTo>
                  <a:lnTo>
                    <a:pt x="1263035" y="430732"/>
                  </a:lnTo>
                  <a:lnTo>
                    <a:pt x="1259125" y="432361"/>
                  </a:lnTo>
                  <a:lnTo>
                    <a:pt x="1260102" y="434805"/>
                  </a:lnTo>
                  <a:lnTo>
                    <a:pt x="1260102" y="434805"/>
                  </a:lnTo>
                  <a:close/>
                  <a:moveTo>
                    <a:pt x="1258147" y="447837"/>
                  </a:moveTo>
                  <a:lnTo>
                    <a:pt x="1261731" y="446534"/>
                  </a:lnTo>
                  <a:lnTo>
                    <a:pt x="1265641" y="446534"/>
                  </a:lnTo>
                  <a:cubicBezTo>
                    <a:pt x="1265641" y="446534"/>
                    <a:pt x="1271343" y="442624"/>
                    <a:pt x="1271343" y="442624"/>
                  </a:cubicBezTo>
                  <a:lnTo>
                    <a:pt x="1281932" y="440343"/>
                  </a:lnTo>
                  <a:lnTo>
                    <a:pt x="1284376" y="440995"/>
                  </a:lnTo>
                  <a:lnTo>
                    <a:pt x="1287471" y="439692"/>
                  </a:lnTo>
                  <a:lnTo>
                    <a:pt x="1290566" y="439692"/>
                  </a:lnTo>
                  <a:cubicBezTo>
                    <a:pt x="1290566" y="439692"/>
                    <a:pt x="1291544" y="442624"/>
                    <a:pt x="1291544" y="442624"/>
                  </a:cubicBezTo>
                  <a:lnTo>
                    <a:pt x="1287634" y="445231"/>
                  </a:lnTo>
                  <a:lnTo>
                    <a:pt x="1283724" y="445882"/>
                  </a:lnTo>
                  <a:lnTo>
                    <a:pt x="1277859" y="446371"/>
                  </a:lnTo>
                  <a:lnTo>
                    <a:pt x="1276556" y="448815"/>
                  </a:lnTo>
                  <a:lnTo>
                    <a:pt x="1271017" y="452562"/>
                  </a:lnTo>
                  <a:lnTo>
                    <a:pt x="1265967" y="449629"/>
                  </a:lnTo>
                  <a:lnTo>
                    <a:pt x="1261569" y="449629"/>
                  </a:lnTo>
                  <a:cubicBezTo>
                    <a:pt x="1261569" y="449629"/>
                    <a:pt x="1259451" y="450933"/>
                    <a:pt x="1259451" y="450933"/>
                  </a:cubicBezTo>
                  <a:lnTo>
                    <a:pt x="1257659" y="449792"/>
                  </a:lnTo>
                  <a:lnTo>
                    <a:pt x="1258310" y="447511"/>
                  </a:lnTo>
                  <a:lnTo>
                    <a:pt x="1258310" y="447511"/>
                  </a:lnTo>
                  <a:close/>
                  <a:moveTo>
                    <a:pt x="1137920" y="294051"/>
                  </a:moveTo>
                  <a:lnTo>
                    <a:pt x="1135803" y="292748"/>
                  </a:lnTo>
                  <a:lnTo>
                    <a:pt x="1137432" y="289490"/>
                  </a:lnTo>
                  <a:lnTo>
                    <a:pt x="1143296" y="289001"/>
                  </a:lnTo>
                  <a:lnTo>
                    <a:pt x="1140853" y="292748"/>
                  </a:lnTo>
                  <a:lnTo>
                    <a:pt x="1137758" y="294051"/>
                  </a:lnTo>
                  <a:lnTo>
                    <a:pt x="1137758" y="294051"/>
                  </a:lnTo>
                  <a:close/>
                  <a:moveTo>
                    <a:pt x="1103546" y="309364"/>
                  </a:moveTo>
                  <a:lnTo>
                    <a:pt x="1107456" y="308387"/>
                  </a:lnTo>
                  <a:lnTo>
                    <a:pt x="1110552" y="306595"/>
                  </a:lnTo>
                  <a:lnTo>
                    <a:pt x="1117720" y="309853"/>
                  </a:lnTo>
                  <a:lnTo>
                    <a:pt x="1121467" y="309039"/>
                  </a:lnTo>
                  <a:lnTo>
                    <a:pt x="1124888" y="310505"/>
                  </a:lnTo>
                  <a:lnTo>
                    <a:pt x="1125702" y="313926"/>
                  </a:lnTo>
                  <a:lnTo>
                    <a:pt x="1127657" y="316532"/>
                  </a:lnTo>
                  <a:lnTo>
                    <a:pt x="1124725" y="320279"/>
                  </a:lnTo>
                  <a:lnTo>
                    <a:pt x="1120163" y="322723"/>
                  </a:lnTo>
                  <a:lnTo>
                    <a:pt x="1116091" y="320768"/>
                  </a:lnTo>
                  <a:lnTo>
                    <a:pt x="1112507" y="320442"/>
                  </a:lnTo>
                  <a:lnTo>
                    <a:pt x="1110715" y="315555"/>
                  </a:lnTo>
                  <a:lnTo>
                    <a:pt x="1107294" y="311808"/>
                  </a:lnTo>
                  <a:lnTo>
                    <a:pt x="1104198" y="310668"/>
                  </a:lnTo>
                  <a:cubicBezTo>
                    <a:pt x="1104198" y="310668"/>
                    <a:pt x="1103710" y="309364"/>
                    <a:pt x="1103710" y="309364"/>
                  </a:cubicBezTo>
                  <a:lnTo>
                    <a:pt x="1103710" y="309364"/>
                  </a:lnTo>
                  <a:close/>
                  <a:moveTo>
                    <a:pt x="923695" y="319139"/>
                  </a:moveTo>
                  <a:lnTo>
                    <a:pt x="919133" y="317184"/>
                  </a:lnTo>
                  <a:lnTo>
                    <a:pt x="917993" y="315229"/>
                  </a:lnTo>
                  <a:lnTo>
                    <a:pt x="919785" y="313600"/>
                  </a:lnTo>
                  <a:lnTo>
                    <a:pt x="924998" y="315229"/>
                  </a:lnTo>
                  <a:lnTo>
                    <a:pt x="925813" y="318162"/>
                  </a:lnTo>
                  <a:lnTo>
                    <a:pt x="923858" y="319302"/>
                  </a:lnTo>
                  <a:lnTo>
                    <a:pt x="923858" y="319302"/>
                  </a:lnTo>
                  <a:close/>
                  <a:moveTo>
                    <a:pt x="942918" y="344227"/>
                  </a:moveTo>
                  <a:lnTo>
                    <a:pt x="948131" y="339991"/>
                  </a:lnTo>
                  <a:lnTo>
                    <a:pt x="948131" y="342272"/>
                  </a:lnTo>
                  <a:lnTo>
                    <a:pt x="942918" y="346019"/>
                  </a:lnTo>
                  <a:cubicBezTo>
                    <a:pt x="942918" y="346019"/>
                    <a:pt x="942918" y="344064"/>
                    <a:pt x="942918" y="344064"/>
                  </a:cubicBezTo>
                  <a:lnTo>
                    <a:pt x="942918" y="344064"/>
                  </a:lnTo>
                  <a:close/>
                  <a:moveTo>
                    <a:pt x="952204" y="336570"/>
                  </a:moveTo>
                  <a:lnTo>
                    <a:pt x="954322" y="334615"/>
                  </a:lnTo>
                  <a:lnTo>
                    <a:pt x="954648" y="329565"/>
                  </a:lnTo>
                  <a:lnTo>
                    <a:pt x="955951" y="328751"/>
                  </a:lnTo>
                  <a:lnTo>
                    <a:pt x="958232" y="322071"/>
                  </a:lnTo>
                  <a:lnTo>
                    <a:pt x="961001" y="321583"/>
                  </a:lnTo>
                  <a:lnTo>
                    <a:pt x="966866" y="318976"/>
                  </a:lnTo>
                  <a:lnTo>
                    <a:pt x="969472" y="320116"/>
                  </a:lnTo>
                  <a:lnTo>
                    <a:pt x="969147" y="324026"/>
                  </a:lnTo>
                  <a:lnTo>
                    <a:pt x="964585" y="326959"/>
                  </a:lnTo>
                  <a:lnTo>
                    <a:pt x="961490" y="332986"/>
                  </a:lnTo>
                  <a:lnTo>
                    <a:pt x="963445" y="336896"/>
                  </a:lnTo>
                  <a:lnTo>
                    <a:pt x="960186" y="339828"/>
                  </a:lnTo>
                  <a:lnTo>
                    <a:pt x="958394" y="344064"/>
                  </a:lnTo>
                  <a:lnTo>
                    <a:pt x="960675" y="347159"/>
                  </a:lnTo>
                  <a:lnTo>
                    <a:pt x="963119" y="344390"/>
                  </a:lnTo>
                  <a:lnTo>
                    <a:pt x="966377" y="344879"/>
                  </a:lnTo>
                  <a:lnTo>
                    <a:pt x="966703" y="348626"/>
                  </a:lnTo>
                  <a:lnTo>
                    <a:pt x="968495" y="348951"/>
                  </a:lnTo>
                  <a:lnTo>
                    <a:pt x="976803" y="343901"/>
                  </a:lnTo>
                  <a:lnTo>
                    <a:pt x="980061" y="339503"/>
                  </a:lnTo>
                  <a:lnTo>
                    <a:pt x="983157" y="339991"/>
                  </a:lnTo>
                  <a:lnTo>
                    <a:pt x="986415" y="335430"/>
                  </a:lnTo>
                  <a:lnTo>
                    <a:pt x="986089" y="329728"/>
                  </a:lnTo>
                  <a:lnTo>
                    <a:pt x="989021" y="329728"/>
                  </a:lnTo>
                  <a:cubicBezTo>
                    <a:pt x="989021" y="329728"/>
                    <a:pt x="992280" y="325330"/>
                    <a:pt x="992280" y="325330"/>
                  </a:cubicBezTo>
                  <a:lnTo>
                    <a:pt x="992605" y="319302"/>
                  </a:lnTo>
                  <a:lnTo>
                    <a:pt x="994886" y="317510"/>
                  </a:lnTo>
                  <a:lnTo>
                    <a:pt x="996678" y="318976"/>
                  </a:lnTo>
                  <a:lnTo>
                    <a:pt x="995375" y="323375"/>
                  </a:lnTo>
                  <a:lnTo>
                    <a:pt x="996352" y="326633"/>
                  </a:lnTo>
                  <a:lnTo>
                    <a:pt x="994886" y="332660"/>
                  </a:lnTo>
                  <a:lnTo>
                    <a:pt x="996841" y="337548"/>
                  </a:lnTo>
                  <a:lnTo>
                    <a:pt x="999122" y="337548"/>
                  </a:lnTo>
                  <a:lnTo>
                    <a:pt x="1003846" y="332172"/>
                  </a:lnTo>
                  <a:lnTo>
                    <a:pt x="1004172" y="326959"/>
                  </a:lnTo>
                  <a:lnTo>
                    <a:pt x="1005475" y="324515"/>
                  </a:lnTo>
                  <a:lnTo>
                    <a:pt x="1009222" y="323375"/>
                  </a:lnTo>
                  <a:lnTo>
                    <a:pt x="1014598" y="316207"/>
                  </a:lnTo>
                  <a:lnTo>
                    <a:pt x="1015738" y="310668"/>
                  </a:lnTo>
                  <a:lnTo>
                    <a:pt x="1014924" y="305618"/>
                  </a:lnTo>
                  <a:lnTo>
                    <a:pt x="1017042" y="301219"/>
                  </a:lnTo>
                  <a:lnTo>
                    <a:pt x="1020137" y="306269"/>
                  </a:lnTo>
                  <a:lnTo>
                    <a:pt x="1028771" y="300567"/>
                  </a:lnTo>
                  <a:lnTo>
                    <a:pt x="1031541" y="293888"/>
                  </a:lnTo>
                  <a:lnTo>
                    <a:pt x="1032029" y="289164"/>
                  </a:lnTo>
                  <a:lnTo>
                    <a:pt x="1036917" y="288349"/>
                  </a:lnTo>
                  <a:lnTo>
                    <a:pt x="1039523" y="286394"/>
                  </a:lnTo>
                  <a:lnTo>
                    <a:pt x="1042781" y="289001"/>
                  </a:lnTo>
                  <a:lnTo>
                    <a:pt x="1047017" y="284928"/>
                  </a:lnTo>
                  <a:lnTo>
                    <a:pt x="1049298" y="286720"/>
                  </a:lnTo>
                  <a:lnTo>
                    <a:pt x="1047017" y="295680"/>
                  </a:lnTo>
                  <a:lnTo>
                    <a:pt x="1040664" y="302522"/>
                  </a:lnTo>
                  <a:lnTo>
                    <a:pt x="1039523" y="308224"/>
                  </a:lnTo>
                  <a:lnTo>
                    <a:pt x="1036265" y="311482"/>
                  </a:lnTo>
                  <a:lnTo>
                    <a:pt x="1035613" y="313926"/>
                  </a:lnTo>
                  <a:lnTo>
                    <a:pt x="1031704" y="316207"/>
                  </a:lnTo>
                  <a:lnTo>
                    <a:pt x="1025024" y="325818"/>
                  </a:lnTo>
                  <a:lnTo>
                    <a:pt x="1025024" y="328914"/>
                  </a:lnTo>
                  <a:cubicBezTo>
                    <a:pt x="1025024" y="328914"/>
                    <a:pt x="1027305" y="333149"/>
                    <a:pt x="1027305" y="333149"/>
                  </a:cubicBezTo>
                  <a:lnTo>
                    <a:pt x="1026328" y="337548"/>
                  </a:lnTo>
                  <a:lnTo>
                    <a:pt x="1030400" y="338688"/>
                  </a:lnTo>
                  <a:lnTo>
                    <a:pt x="1035125" y="340643"/>
                  </a:lnTo>
                  <a:lnTo>
                    <a:pt x="1037731" y="337548"/>
                  </a:lnTo>
                  <a:lnTo>
                    <a:pt x="1042781" y="335104"/>
                  </a:lnTo>
                  <a:lnTo>
                    <a:pt x="1043922" y="330868"/>
                  </a:lnTo>
                  <a:lnTo>
                    <a:pt x="1043433" y="325818"/>
                  </a:lnTo>
                  <a:lnTo>
                    <a:pt x="1047343" y="322723"/>
                  </a:lnTo>
                  <a:lnTo>
                    <a:pt x="1049787" y="318324"/>
                  </a:lnTo>
                  <a:lnTo>
                    <a:pt x="1053696" y="318324"/>
                  </a:lnTo>
                  <a:lnTo>
                    <a:pt x="1055977" y="316695"/>
                  </a:lnTo>
                  <a:lnTo>
                    <a:pt x="1058421" y="319302"/>
                  </a:lnTo>
                  <a:lnTo>
                    <a:pt x="1063145" y="319302"/>
                  </a:lnTo>
                  <a:lnTo>
                    <a:pt x="1066240" y="316370"/>
                  </a:lnTo>
                  <a:lnTo>
                    <a:pt x="1074060" y="316370"/>
                  </a:lnTo>
                  <a:cubicBezTo>
                    <a:pt x="1074060" y="316370"/>
                    <a:pt x="1077155" y="311808"/>
                    <a:pt x="1077155" y="311808"/>
                  </a:cubicBezTo>
                  <a:lnTo>
                    <a:pt x="1079599" y="303174"/>
                  </a:lnTo>
                  <a:lnTo>
                    <a:pt x="1084161" y="295680"/>
                  </a:lnTo>
                  <a:lnTo>
                    <a:pt x="1084161" y="290630"/>
                  </a:lnTo>
                  <a:cubicBezTo>
                    <a:pt x="1084161" y="290630"/>
                    <a:pt x="1085138" y="288675"/>
                    <a:pt x="1085138" y="288675"/>
                  </a:cubicBezTo>
                  <a:lnTo>
                    <a:pt x="1089536" y="294540"/>
                  </a:lnTo>
                  <a:lnTo>
                    <a:pt x="1093446" y="295517"/>
                  </a:lnTo>
                  <a:lnTo>
                    <a:pt x="1095238" y="293236"/>
                  </a:lnTo>
                  <a:lnTo>
                    <a:pt x="1094912" y="289978"/>
                  </a:lnTo>
                  <a:lnTo>
                    <a:pt x="1090188" y="282484"/>
                  </a:lnTo>
                  <a:lnTo>
                    <a:pt x="1090188" y="279226"/>
                  </a:lnTo>
                  <a:cubicBezTo>
                    <a:pt x="1090188" y="279226"/>
                    <a:pt x="1095727" y="274502"/>
                    <a:pt x="1095727" y="274502"/>
                  </a:cubicBezTo>
                  <a:lnTo>
                    <a:pt x="1100777" y="274176"/>
                  </a:lnTo>
                  <a:lnTo>
                    <a:pt x="1105990" y="271407"/>
                  </a:lnTo>
                  <a:lnTo>
                    <a:pt x="1109086" y="273036"/>
                  </a:lnTo>
                  <a:lnTo>
                    <a:pt x="1112344" y="272547"/>
                  </a:lnTo>
                  <a:lnTo>
                    <a:pt x="1116579" y="267008"/>
                  </a:lnTo>
                  <a:lnTo>
                    <a:pt x="1115602" y="262935"/>
                  </a:lnTo>
                  <a:lnTo>
                    <a:pt x="1114624" y="252835"/>
                  </a:lnTo>
                  <a:lnTo>
                    <a:pt x="1116254" y="250228"/>
                  </a:lnTo>
                  <a:lnTo>
                    <a:pt x="1115113" y="247785"/>
                  </a:lnTo>
                  <a:lnTo>
                    <a:pt x="1113973" y="241594"/>
                  </a:lnTo>
                  <a:lnTo>
                    <a:pt x="1111366" y="240291"/>
                  </a:lnTo>
                  <a:lnTo>
                    <a:pt x="1107456" y="242083"/>
                  </a:lnTo>
                  <a:lnTo>
                    <a:pt x="1101592" y="244852"/>
                  </a:lnTo>
                  <a:lnTo>
                    <a:pt x="1101266" y="251532"/>
                  </a:lnTo>
                  <a:lnTo>
                    <a:pt x="1100777" y="254953"/>
                  </a:lnTo>
                  <a:lnTo>
                    <a:pt x="1101754" y="258048"/>
                  </a:lnTo>
                  <a:lnTo>
                    <a:pt x="1097356" y="259026"/>
                  </a:lnTo>
                  <a:lnTo>
                    <a:pt x="1095890" y="254301"/>
                  </a:lnTo>
                  <a:lnTo>
                    <a:pt x="1094424" y="254301"/>
                  </a:lnTo>
                  <a:cubicBezTo>
                    <a:pt x="1094424" y="254301"/>
                    <a:pt x="1093609" y="257559"/>
                    <a:pt x="1093609" y="257559"/>
                  </a:cubicBezTo>
                  <a:lnTo>
                    <a:pt x="1091980" y="259514"/>
                  </a:lnTo>
                  <a:lnTo>
                    <a:pt x="1089373" y="256093"/>
                  </a:lnTo>
                  <a:lnTo>
                    <a:pt x="1088396" y="248762"/>
                  </a:lnTo>
                  <a:lnTo>
                    <a:pt x="1083672" y="243549"/>
                  </a:lnTo>
                  <a:lnTo>
                    <a:pt x="1081065" y="243549"/>
                  </a:lnTo>
                  <a:lnTo>
                    <a:pt x="1079273" y="245830"/>
                  </a:lnTo>
                  <a:lnTo>
                    <a:pt x="1073571" y="245830"/>
                  </a:lnTo>
                  <a:cubicBezTo>
                    <a:pt x="1073571" y="245830"/>
                    <a:pt x="1068195" y="243386"/>
                    <a:pt x="1068195" y="243386"/>
                  </a:cubicBezTo>
                  <a:lnTo>
                    <a:pt x="1064937" y="244038"/>
                  </a:lnTo>
                  <a:lnTo>
                    <a:pt x="1053859" y="242898"/>
                  </a:lnTo>
                  <a:lnTo>
                    <a:pt x="1048157" y="245667"/>
                  </a:lnTo>
                  <a:lnTo>
                    <a:pt x="1046691" y="250717"/>
                  </a:lnTo>
                  <a:lnTo>
                    <a:pt x="1044085" y="253812"/>
                  </a:lnTo>
                  <a:lnTo>
                    <a:pt x="1042130" y="252835"/>
                  </a:lnTo>
                  <a:lnTo>
                    <a:pt x="1039197" y="252835"/>
                  </a:lnTo>
                  <a:lnTo>
                    <a:pt x="1026979" y="262284"/>
                  </a:lnTo>
                  <a:lnTo>
                    <a:pt x="1023232" y="265379"/>
                  </a:lnTo>
                  <a:lnTo>
                    <a:pt x="1018997" y="265705"/>
                  </a:lnTo>
                  <a:lnTo>
                    <a:pt x="1012480" y="270266"/>
                  </a:lnTo>
                  <a:lnTo>
                    <a:pt x="1008082" y="271244"/>
                  </a:lnTo>
                  <a:lnTo>
                    <a:pt x="1004009" y="274502"/>
                  </a:lnTo>
                  <a:lnTo>
                    <a:pt x="1003195" y="277760"/>
                  </a:lnTo>
                  <a:lnTo>
                    <a:pt x="994723" y="277760"/>
                  </a:lnTo>
                  <a:lnTo>
                    <a:pt x="992280" y="279552"/>
                  </a:lnTo>
                  <a:lnTo>
                    <a:pt x="987229" y="278575"/>
                  </a:lnTo>
                  <a:lnTo>
                    <a:pt x="984623" y="280855"/>
                  </a:lnTo>
                  <a:lnTo>
                    <a:pt x="981202" y="280855"/>
                  </a:lnTo>
                  <a:lnTo>
                    <a:pt x="972731" y="287535"/>
                  </a:lnTo>
                  <a:lnTo>
                    <a:pt x="967192" y="290793"/>
                  </a:lnTo>
                  <a:lnTo>
                    <a:pt x="961327" y="288838"/>
                  </a:lnTo>
                  <a:lnTo>
                    <a:pt x="956602" y="291282"/>
                  </a:lnTo>
                  <a:lnTo>
                    <a:pt x="944873" y="293236"/>
                  </a:lnTo>
                  <a:lnTo>
                    <a:pt x="939823" y="300893"/>
                  </a:lnTo>
                  <a:lnTo>
                    <a:pt x="935750" y="300893"/>
                  </a:lnTo>
                  <a:cubicBezTo>
                    <a:pt x="935750" y="300893"/>
                    <a:pt x="928908" y="302685"/>
                    <a:pt x="928908" y="302685"/>
                  </a:cubicBezTo>
                  <a:lnTo>
                    <a:pt x="926139" y="308061"/>
                  </a:lnTo>
                  <a:lnTo>
                    <a:pt x="930863" y="308061"/>
                  </a:lnTo>
                  <a:cubicBezTo>
                    <a:pt x="930863" y="308061"/>
                    <a:pt x="932818" y="310016"/>
                    <a:pt x="932818" y="310016"/>
                  </a:cubicBezTo>
                  <a:lnTo>
                    <a:pt x="928745" y="310505"/>
                  </a:lnTo>
                  <a:lnTo>
                    <a:pt x="927442" y="312948"/>
                  </a:lnTo>
                  <a:lnTo>
                    <a:pt x="930537" y="315881"/>
                  </a:lnTo>
                  <a:lnTo>
                    <a:pt x="929234" y="319139"/>
                  </a:lnTo>
                  <a:lnTo>
                    <a:pt x="922066" y="321746"/>
                  </a:lnTo>
                  <a:lnTo>
                    <a:pt x="922066" y="324189"/>
                  </a:lnTo>
                  <a:lnTo>
                    <a:pt x="927442" y="325818"/>
                  </a:lnTo>
                  <a:lnTo>
                    <a:pt x="932655" y="324841"/>
                  </a:lnTo>
                  <a:lnTo>
                    <a:pt x="934610" y="320605"/>
                  </a:lnTo>
                  <a:lnTo>
                    <a:pt x="938357" y="319302"/>
                  </a:lnTo>
                  <a:lnTo>
                    <a:pt x="942918" y="321908"/>
                  </a:lnTo>
                  <a:lnTo>
                    <a:pt x="946665" y="328099"/>
                  </a:lnTo>
                  <a:lnTo>
                    <a:pt x="946991" y="333475"/>
                  </a:lnTo>
                  <a:lnTo>
                    <a:pt x="951552" y="335756"/>
                  </a:lnTo>
                  <a:lnTo>
                    <a:pt x="951552" y="335756"/>
                  </a:lnTo>
                  <a:close/>
                  <a:moveTo>
                    <a:pt x="1439465" y="623290"/>
                  </a:moveTo>
                  <a:lnTo>
                    <a:pt x="1440931" y="621335"/>
                  </a:lnTo>
                  <a:lnTo>
                    <a:pt x="1447448" y="623128"/>
                  </a:lnTo>
                  <a:lnTo>
                    <a:pt x="1448262" y="625408"/>
                  </a:lnTo>
                  <a:lnTo>
                    <a:pt x="1445004" y="627363"/>
                  </a:lnTo>
                  <a:lnTo>
                    <a:pt x="1442561" y="626712"/>
                  </a:lnTo>
                  <a:lnTo>
                    <a:pt x="1439302" y="623290"/>
                  </a:lnTo>
                  <a:lnTo>
                    <a:pt x="1439302" y="623290"/>
                  </a:lnTo>
                  <a:close/>
                  <a:moveTo>
                    <a:pt x="1383099" y="511372"/>
                  </a:moveTo>
                  <a:lnTo>
                    <a:pt x="1379026" y="508114"/>
                  </a:lnTo>
                  <a:lnTo>
                    <a:pt x="1375116" y="507788"/>
                  </a:lnTo>
                  <a:lnTo>
                    <a:pt x="1373324" y="510557"/>
                  </a:lnTo>
                  <a:lnTo>
                    <a:pt x="1377886" y="510557"/>
                  </a:lnTo>
                  <a:cubicBezTo>
                    <a:pt x="1377886" y="510557"/>
                    <a:pt x="1379678" y="512675"/>
                    <a:pt x="1379678" y="512675"/>
                  </a:cubicBezTo>
                  <a:lnTo>
                    <a:pt x="1379026" y="514630"/>
                  </a:lnTo>
                  <a:lnTo>
                    <a:pt x="1372510" y="515445"/>
                  </a:lnTo>
                  <a:lnTo>
                    <a:pt x="1370229" y="516911"/>
                  </a:lnTo>
                  <a:lnTo>
                    <a:pt x="1372510" y="521798"/>
                  </a:lnTo>
                  <a:lnTo>
                    <a:pt x="1373650" y="522287"/>
                  </a:lnTo>
                  <a:lnTo>
                    <a:pt x="1373650" y="524079"/>
                  </a:lnTo>
                  <a:cubicBezTo>
                    <a:pt x="1373650" y="524079"/>
                    <a:pt x="1368111" y="522287"/>
                    <a:pt x="1368111" y="522287"/>
                  </a:cubicBezTo>
                  <a:lnTo>
                    <a:pt x="1362246" y="523753"/>
                  </a:lnTo>
                  <a:lnTo>
                    <a:pt x="1358336" y="527337"/>
                  </a:lnTo>
                  <a:lnTo>
                    <a:pt x="1356219" y="532224"/>
                  </a:lnTo>
                  <a:lnTo>
                    <a:pt x="1354753" y="533853"/>
                  </a:lnTo>
                  <a:lnTo>
                    <a:pt x="1355730" y="535157"/>
                  </a:lnTo>
                  <a:lnTo>
                    <a:pt x="1358011" y="535645"/>
                  </a:lnTo>
                  <a:lnTo>
                    <a:pt x="1356870" y="538252"/>
                  </a:lnTo>
                  <a:lnTo>
                    <a:pt x="1356545" y="541510"/>
                  </a:lnTo>
                  <a:lnTo>
                    <a:pt x="1357685" y="541836"/>
                  </a:lnTo>
                  <a:lnTo>
                    <a:pt x="1360943" y="538089"/>
                  </a:lnTo>
                  <a:lnTo>
                    <a:pt x="1362083" y="538741"/>
                  </a:lnTo>
                  <a:lnTo>
                    <a:pt x="1360291" y="543954"/>
                  </a:lnTo>
                  <a:lnTo>
                    <a:pt x="1360943" y="546234"/>
                  </a:lnTo>
                  <a:lnTo>
                    <a:pt x="1364527" y="548515"/>
                  </a:lnTo>
                  <a:lnTo>
                    <a:pt x="1366645" y="547375"/>
                  </a:lnTo>
                  <a:lnTo>
                    <a:pt x="1368274" y="548515"/>
                  </a:lnTo>
                  <a:lnTo>
                    <a:pt x="1368763" y="553077"/>
                  </a:lnTo>
                  <a:lnTo>
                    <a:pt x="1370392" y="552751"/>
                  </a:lnTo>
                  <a:lnTo>
                    <a:pt x="1372184" y="549981"/>
                  </a:lnTo>
                  <a:lnTo>
                    <a:pt x="1375442" y="550633"/>
                  </a:lnTo>
                  <a:lnTo>
                    <a:pt x="1375116" y="557312"/>
                  </a:lnTo>
                  <a:lnTo>
                    <a:pt x="1375931" y="559756"/>
                  </a:lnTo>
                  <a:lnTo>
                    <a:pt x="1380655" y="558778"/>
                  </a:lnTo>
                  <a:lnTo>
                    <a:pt x="1381795" y="563829"/>
                  </a:lnTo>
                  <a:lnTo>
                    <a:pt x="1386520" y="563829"/>
                  </a:lnTo>
                  <a:cubicBezTo>
                    <a:pt x="1386520" y="563829"/>
                    <a:pt x="1392710" y="567575"/>
                    <a:pt x="1392710" y="567575"/>
                  </a:cubicBezTo>
                  <a:lnTo>
                    <a:pt x="1397272" y="567575"/>
                  </a:lnTo>
                  <a:cubicBezTo>
                    <a:pt x="1397272" y="567575"/>
                    <a:pt x="1398738" y="569042"/>
                    <a:pt x="1398738" y="569042"/>
                  </a:cubicBezTo>
                  <a:lnTo>
                    <a:pt x="1400204" y="567413"/>
                  </a:lnTo>
                  <a:lnTo>
                    <a:pt x="1398901" y="563829"/>
                  </a:lnTo>
                  <a:lnTo>
                    <a:pt x="1403136" y="562525"/>
                  </a:lnTo>
                  <a:lnTo>
                    <a:pt x="1405743" y="555846"/>
                  </a:lnTo>
                  <a:lnTo>
                    <a:pt x="1404603" y="550633"/>
                  </a:lnTo>
                  <a:lnTo>
                    <a:pt x="1408350" y="543628"/>
                  </a:lnTo>
                  <a:lnTo>
                    <a:pt x="1410142" y="541673"/>
                  </a:lnTo>
                  <a:lnTo>
                    <a:pt x="1412748" y="533039"/>
                  </a:lnTo>
                  <a:lnTo>
                    <a:pt x="1412748" y="526685"/>
                  </a:lnTo>
                  <a:cubicBezTo>
                    <a:pt x="1412748" y="526685"/>
                    <a:pt x="1414703" y="524893"/>
                    <a:pt x="1414703" y="524893"/>
                  </a:cubicBezTo>
                  <a:lnTo>
                    <a:pt x="1413074" y="519843"/>
                  </a:lnTo>
                  <a:lnTo>
                    <a:pt x="1409164" y="516259"/>
                  </a:lnTo>
                  <a:lnTo>
                    <a:pt x="1409164" y="511046"/>
                  </a:lnTo>
                  <a:cubicBezTo>
                    <a:pt x="1409164" y="511046"/>
                    <a:pt x="1406884" y="508439"/>
                    <a:pt x="1406884" y="508439"/>
                  </a:cubicBezTo>
                  <a:lnTo>
                    <a:pt x="1405743" y="504204"/>
                  </a:lnTo>
                  <a:lnTo>
                    <a:pt x="1399064" y="501109"/>
                  </a:lnTo>
                  <a:lnTo>
                    <a:pt x="1394014" y="503063"/>
                  </a:lnTo>
                  <a:lnTo>
                    <a:pt x="1389615" y="501760"/>
                  </a:lnTo>
                  <a:lnTo>
                    <a:pt x="1383425" y="502412"/>
                  </a:lnTo>
                  <a:lnTo>
                    <a:pt x="1381795" y="504855"/>
                  </a:lnTo>
                  <a:lnTo>
                    <a:pt x="1384728" y="508602"/>
                  </a:lnTo>
                  <a:lnTo>
                    <a:pt x="1384728" y="511209"/>
                  </a:lnTo>
                  <a:cubicBezTo>
                    <a:pt x="1384728" y="511209"/>
                    <a:pt x="1382936" y="510883"/>
                    <a:pt x="1382936" y="510883"/>
                  </a:cubicBezTo>
                  <a:lnTo>
                    <a:pt x="1382936" y="510883"/>
                  </a:lnTo>
                  <a:close/>
                  <a:moveTo>
                    <a:pt x="1416169" y="471133"/>
                  </a:moveTo>
                  <a:lnTo>
                    <a:pt x="1412911" y="469178"/>
                  </a:lnTo>
                  <a:lnTo>
                    <a:pt x="1413888" y="466898"/>
                  </a:lnTo>
                  <a:lnTo>
                    <a:pt x="1417798" y="466572"/>
                  </a:lnTo>
                  <a:cubicBezTo>
                    <a:pt x="1417798" y="466572"/>
                    <a:pt x="1416495" y="471133"/>
                    <a:pt x="1416169" y="471133"/>
                  </a:cubicBezTo>
                  <a:lnTo>
                    <a:pt x="1416169" y="471133"/>
                  </a:lnTo>
                  <a:close/>
                  <a:moveTo>
                    <a:pt x="1409979" y="497199"/>
                  </a:moveTo>
                  <a:lnTo>
                    <a:pt x="1409001" y="493126"/>
                  </a:lnTo>
                  <a:lnTo>
                    <a:pt x="1407209" y="491660"/>
                  </a:lnTo>
                  <a:lnTo>
                    <a:pt x="1407209" y="489216"/>
                  </a:lnTo>
                  <a:cubicBezTo>
                    <a:pt x="1407209" y="489216"/>
                    <a:pt x="1409490" y="487424"/>
                    <a:pt x="1409490" y="487424"/>
                  </a:cubicBezTo>
                  <a:lnTo>
                    <a:pt x="1409164" y="481722"/>
                  </a:lnTo>
                  <a:lnTo>
                    <a:pt x="1410468" y="479442"/>
                  </a:lnTo>
                  <a:lnTo>
                    <a:pt x="1417310" y="479442"/>
                  </a:lnTo>
                  <a:lnTo>
                    <a:pt x="1414214" y="490519"/>
                  </a:lnTo>
                  <a:lnTo>
                    <a:pt x="1411608" y="495244"/>
                  </a:lnTo>
                  <a:cubicBezTo>
                    <a:pt x="1411608" y="495244"/>
                    <a:pt x="1409816" y="497036"/>
                    <a:pt x="1409979" y="497036"/>
                  </a:cubicBezTo>
                  <a:lnTo>
                    <a:pt x="1409979" y="497036"/>
                  </a:lnTo>
                  <a:close/>
                  <a:moveTo>
                    <a:pt x="1374627" y="485958"/>
                  </a:moveTo>
                  <a:lnTo>
                    <a:pt x="1372998" y="483677"/>
                  </a:lnTo>
                  <a:lnTo>
                    <a:pt x="1375116" y="481071"/>
                  </a:lnTo>
                  <a:lnTo>
                    <a:pt x="1380166" y="480256"/>
                  </a:lnTo>
                  <a:lnTo>
                    <a:pt x="1380981" y="481397"/>
                  </a:lnTo>
                  <a:lnTo>
                    <a:pt x="1378374" y="483026"/>
                  </a:lnTo>
                  <a:lnTo>
                    <a:pt x="1377234" y="485306"/>
                  </a:lnTo>
                  <a:lnTo>
                    <a:pt x="1374790" y="485795"/>
                  </a:lnTo>
                  <a:lnTo>
                    <a:pt x="1374790" y="485795"/>
                  </a:lnTo>
                  <a:close/>
                  <a:moveTo>
                    <a:pt x="1365504" y="492311"/>
                  </a:moveTo>
                  <a:lnTo>
                    <a:pt x="1364527" y="490357"/>
                  </a:lnTo>
                  <a:lnTo>
                    <a:pt x="1367622" y="488239"/>
                  </a:lnTo>
                  <a:lnTo>
                    <a:pt x="1369740" y="488239"/>
                  </a:lnTo>
                  <a:cubicBezTo>
                    <a:pt x="1369740" y="488239"/>
                    <a:pt x="1367460" y="491171"/>
                    <a:pt x="1367460" y="491171"/>
                  </a:cubicBezTo>
                  <a:lnTo>
                    <a:pt x="1365504" y="492311"/>
                  </a:lnTo>
                  <a:lnTo>
                    <a:pt x="1365504" y="492311"/>
                  </a:lnTo>
                  <a:close/>
                  <a:moveTo>
                    <a:pt x="1372510" y="503552"/>
                  </a:moveTo>
                  <a:lnTo>
                    <a:pt x="1373324" y="500294"/>
                  </a:lnTo>
                  <a:lnTo>
                    <a:pt x="1371858" y="498502"/>
                  </a:lnTo>
                  <a:lnTo>
                    <a:pt x="1372672" y="494266"/>
                  </a:lnTo>
                  <a:lnTo>
                    <a:pt x="1374627" y="493778"/>
                  </a:lnTo>
                  <a:lnTo>
                    <a:pt x="1377071" y="496058"/>
                  </a:lnTo>
                  <a:lnTo>
                    <a:pt x="1379026" y="499642"/>
                  </a:lnTo>
                  <a:lnTo>
                    <a:pt x="1374953" y="503226"/>
                  </a:lnTo>
                  <a:lnTo>
                    <a:pt x="1372672" y="503552"/>
                  </a:lnTo>
                  <a:lnTo>
                    <a:pt x="1372672" y="503552"/>
                  </a:lnTo>
                  <a:close/>
                  <a:moveTo>
                    <a:pt x="1362572" y="508277"/>
                  </a:moveTo>
                  <a:lnTo>
                    <a:pt x="1359477" y="506485"/>
                  </a:lnTo>
                  <a:lnTo>
                    <a:pt x="1358499" y="499805"/>
                  </a:lnTo>
                  <a:lnTo>
                    <a:pt x="1360454" y="498339"/>
                  </a:lnTo>
                  <a:lnTo>
                    <a:pt x="1362572" y="496547"/>
                  </a:lnTo>
                  <a:lnTo>
                    <a:pt x="1365668" y="495895"/>
                  </a:lnTo>
                  <a:lnTo>
                    <a:pt x="1368437" y="497687"/>
                  </a:lnTo>
                  <a:lnTo>
                    <a:pt x="1369903" y="499154"/>
                  </a:lnTo>
                  <a:lnTo>
                    <a:pt x="1368600" y="501434"/>
                  </a:lnTo>
                  <a:lnTo>
                    <a:pt x="1368600" y="504693"/>
                  </a:lnTo>
                  <a:cubicBezTo>
                    <a:pt x="1368600" y="504693"/>
                    <a:pt x="1365668" y="505507"/>
                    <a:pt x="1365668" y="505507"/>
                  </a:cubicBezTo>
                  <a:lnTo>
                    <a:pt x="1364201" y="507788"/>
                  </a:lnTo>
                  <a:lnTo>
                    <a:pt x="1362409" y="508439"/>
                  </a:lnTo>
                  <a:lnTo>
                    <a:pt x="1362409" y="508439"/>
                  </a:lnTo>
                  <a:close/>
                  <a:moveTo>
                    <a:pt x="1349051" y="510883"/>
                  </a:moveTo>
                  <a:lnTo>
                    <a:pt x="1348562" y="506973"/>
                  </a:lnTo>
                  <a:lnTo>
                    <a:pt x="1350517" y="505833"/>
                  </a:lnTo>
                  <a:lnTo>
                    <a:pt x="1351494" y="507462"/>
                  </a:lnTo>
                  <a:lnTo>
                    <a:pt x="1350517" y="510069"/>
                  </a:lnTo>
                  <a:lnTo>
                    <a:pt x="1348888" y="510883"/>
                  </a:lnTo>
                  <a:lnTo>
                    <a:pt x="1348888" y="510883"/>
                  </a:lnTo>
                  <a:close/>
                  <a:moveTo>
                    <a:pt x="1296594" y="517399"/>
                  </a:moveTo>
                  <a:lnTo>
                    <a:pt x="1293987" y="514793"/>
                  </a:lnTo>
                  <a:lnTo>
                    <a:pt x="1289426" y="515119"/>
                  </a:lnTo>
                  <a:lnTo>
                    <a:pt x="1286494" y="512349"/>
                  </a:lnTo>
                  <a:lnTo>
                    <a:pt x="1286494" y="507299"/>
                  </a:lnTo>
                  <a:lnTo>
                    <a:pt x="1287960" y="505344"/>
                  </a:lnTo>
                  <a:lnTo>
                    <a:pt x="1287471" y="502738"/>
                  </a:lnTo>
                  <a:lnTo>
                    <a:pt x="1289752" y="497687"/>
                  </a:lnTo>
                  <a:lnTo>
                    <a:pt x="1291544" y="498176"/>
                  </a:lnTo>
                  <a:lnTo>
                    <a:pt x="1293987" y="501434"/>
                  </a:lnTo>
                  <a:lnTo>
                    <a:pt x="1296268" y="501109"/>
                  </a:lnTo>
                  <a:lnTo>
                    <a:pt x="1293499" y="497362"/>
                  </a:lnTo>
                  <a:lnTo>
                    <a:pt x="1294802" y="494429"/>
                  </a:lnTo>
                  <a:lnTo>
                    <a:pt x="1291055" y="493452"/>
                  </a:lnTo>
                  <a:lnTo>
                    <a:pt x="1288286" y="490845"/>
                  </a:lnTo>
                  <a:lnTo>
                    <a:pt x="1288286" y="488239"/>
                  </a:lnTo>
                  <a:lnTo>
                    <a:pt x="1287634" y="486447"/>
                  </a:lnTo>
                  <a:lnTo>
                    <a:pt x="1289426" y="486447"/>
                  </a:lnTo>
                  <a:cubicBezTo>
                    <a:pt x="1289426" y="486447"/>
                    <a:pt x="1292033" y="488890"/>
                    <a:pt x="1292033" y="488890"/>
                  </a:cubicBezTo>
                  <a:lnTo>
                    <a:pt x="1293499" y="487098"/>
                  </a:lnTo>
                  <a:lnTo>
                    <a:pt x="1292847" y="484655"/>
                  </a:lnTo>
                  <a:lnTo>
                    <a:pt x="1295779" y="482863"/>
                  </a:lnTo>
                  <a:lnTo>
                    <a:pt x="1299689" y="484329"/>
                  </a:lnTo>
                  <a:lnTo>
                    <a:pt x="1307672" y="486121"/>
                  </a:lnTo>
                  <a:lnTo>
                    <a:pt x="1310115" y="484655"/>
                  </a:lnTo>
                  <a:lnTo>
                    <a:pt x="1307346" y="482211"/>
                  </a:lnTo>
                  <a:lnTo>
                    <a:pt x="1303273" y="482211"/>
                  </a:lnTo>
                  <a:cubicBezTo>
                    <a:pt x="1303273" y="482211"/>
                    <a:pt x="1305880" y="481559"/>
                    <a:pt x="1305880" y="481559"/>
                  </a:cubicBezTo>
                  <a:lnTo>
                    <a:pt x="1313699" y="480419"/>
                  </a:lnTo>
                  <a:lnTo>
                    <a:pt x="1318750" y="477650"/>
                  </a:lnTo>
                  <a:lnTo>
                    <a:pt x="1324940" y="477650"/>
                  </a:lnTo>
                  <a:lnTo>
                    <a:pt x="1330479" y="478464"/>
                  </a:lnTo>
                  <a:lnTo>
                    <a:pt x="1334226" y="475858"/>
                  </a:lnTo>
                  <a:lnTo>
                    <a:pt x="1331456" y="473577"/>
                  </a:lnTo>
                  <a:lnTo>
                    <a:pt x="1310767" y="469830"/>
                  </a:lnTo>
                  <a:lnTo>
                    <a:pt x="1305554" y="469830"/>
                  </a:lnTo>
                  <a:cubicBezTo>
                    <a:pt x="1305554" y="469830"/>
                    <a:pt x="1301644" y="468201"/>
                    <a:pt x="1301644" y="468201"/>
                  </a:cubicBezTo>
                  <a:lnTo>
                    <a:pt x="1294802" y="469178"/>
                  </a:lnTo>
                  <a:lnTo>
                    <a:pt x="1289426" y="466409"/>
                  </a:lnTo>
                  <a:lnTo>
                    <a:pt x="1286331" y="467223"/>
                  </a:lnTo>
                  <a:lnTo>
                    <a:pt x="1283072" y="465757"/>
                  </a:lnTo>
                  <a:lnTo>
                    <a:pt x="1278511" y="465757"/>
                  </a:lnTo>
                  <a:lnTo>
                    <a:pt x="1276230" y="467386"/>
                  </a:lnTo>
                  <a:lnTo>
                    <a:pt x="1273624" y="466246"/>
                  </a:lnTo>
                  <a:lnTo>
                    <a:pt x="1270691" y="466572"/>
                  </a:lnTo>
                  <a:lnTo>
                    <a:pt x="1268736" y="464617"/>
                  </a:lnTo>
                  <a:lnTo>
                    <a:pt x="1268736" y="458915"/>
                  </a:lnTo>
                  <a:lnTo>
                    <a:pt x="1272646" y="459730"/>
                  </a:lnTo>
                  <a:lnTo>
                    <a:pt x="1275579" y="456960"/>
                  </a:lnTo>
                  <a:lnTo>
                    <a:pt x="1278511" y="458752"/>
                  </a:lnTo>
                  <a:lnTo>
                    <a:pt x="1281444" y="457612"/>
                  </a:lnTo>
                  <a:lnTo>
                    <a:pt x="1279488" y="454842"/>
                  </a:lnTo>
                  <a:lnTo>
                    <a:pt x="1280955" y="451584"/>
                  </a:lnTo>
                  <a:lnTo>
                    <a:pt x="1283724" y="449303"/>
                  </a:lnTo>
                  <a:lnTo>
                    <a:pt x="1288774" y="449303"/>
                  </a:lnTo>
                  <a:cubicBezTo>
                    <a:pt x="1288774" y="449303"/>
                    <a:pt x="1291218" y="448000"/>
                    <a:pt x="1291218" y="448000"/>
                  </a:cubicBezTo>
                  <a:lnTo>
                    <a:pt x="1291707" y="452399"/>
                  </a:lnTo>
                  <a:lnTo>
                    <a:pt x="1294313" y="453865"/>
                  </a:lnTo>
                  <a:lnTo>
                    <a:pt x="1294313" y="460870"/>
                  </a:lnTo>
                  <a:cubicBezTo>
                    <a:pt x="1294313" y="460870"/>
                    <a:pt x="1296268" y="462010"/>
                    <a:pt x="1296268" y="462010"/>
                  </a:cubicBezTo>
                  <a:lnTo>
                    <a:pt x="1298549" y="459241"/>
                  </a:lnTo>
                  <a:lnTo>
                    <a:pt x="1297734" y="454191"/>
                  </a:lnTo>
                  <a:lnTo>
                    <a:pt x="1295128" y="450770"/>
                  </a:lnTo>
                  <a:lnTo>
                    <a:pt x="1296757" y="446534"/>
                  </a:lnTo>
                  <a:lnTo>
                    <a:pt x="1302133" y="444742"/>
                  </a:lnTo>
                  <a:lnTo>
                    <a:pt x="1302459" y="441973"/>
                  </a:lnTo>
                  <a:lnTo>
                    <a:pt x="1298223" y="440343"/>
                  </a:lnTo>
                  <a:lnTo>
                    <a:pt x="1299689" y="433664"/>
                  </a:lnTo>
                  <a:lnTo>
                    <a:pt x="1304739" y="431872"/>
                  </a:lnTo>
                  <a:lnTo>
                    <a:pt x="1305880" y="428777"/>
                  </a:lnTo>
                  <a:lnTo>
                    <a:pt x="1311093" y="427148"/>
                  </a:lnTo>
                  <a:lnTo>
                    <a:pt x="1308323" y="423727"/>
                  </a:lnTo>
                  <a:lnTo>
                    <a:pt x="1305717" y="423727"/>
                  </a:lnTo>
                  <a:cubicBezTo>
                    <a:pt x="1305717" y="423727"/>
                    <a:pt x="1303110" y="422912"/>
                    <a:pt x="1303110" y="422912"/>
                  </a:cubicBezTo>
                  <a:lnTo>
                    <a:pt x="1303925" y="419980"/>
                  </a:lnTo>
                  <a:lnTo>
                    <a:pt x="1308649" y="416070"/>
                  </a:lnTo>
                  <a:lnTo>
                    <a:pt x="1309790" y="413952"/>
                  </a:lnTo>
                  <a:lnTo>
                    <a:pt x="1315003" y="411671"/>
                  </a:lnTo>
                  <a:lnTo>
                    <a:pt x="1317283" y="413463"/>
                  </a:lnTo>
                  <a:lnTo>
                    <a:pt x="1317935" y="417862"/>
                  </a:lnTo>
                  <a:lnTo>
                    <a:pt x="1320379" y="420306"/>
                  </a:lnTo>
                  <a:lnTo>
                    <a:pt x="1320867" y="424378"/>
                  </a:lnTo>
                  <a:lnTo>
                    <a:pt x="1319564" y="426170"/>
                  </a:lnTo>
                  <a:lnTo>
                    <a:pt x="1320867" y="429917"/>
                  </a:lnTo>
                  <a:lnTo>
                    <a:pt x="1323800" y="433175"/>
                  </a:lnTo>
                  <a:lnTo>
                    <a:pt x="1325266" y="447186"/>
                  </a:lnTo>
                  <a:lnTo>
                    <a:pt x="1324126" y="451747"/>
                  </a:lnTo>
                  <a:lnTo>
                    <a:pt x="1324614" y="454354"/>
                  </a:lnTo>
                  <a:lnTo>
                    <a:pt x="1329013" y="457123"/>
                  </a:lnTo>
                  <a:lnTo>
                    <a:pt x="1334063" y="453376"/>
                  </a:lnTo>
                  <a:lnTo>
                    <a:pt x="1331619" y="449955"/>
                  </a:lnTo>
                  <a:lnTo>
                    <a:pt x="1332923" y="442461"/>
                  </a:lnTo>
                  <a:lnTo>
                    <a:pt x="1337158" y="441484"/>
                  </a:lnTo>
                  <a:lnTo>
                    <a:pt x="1337158" y="437411"/>
                  </a:lnTo>
                  <a:lnTo>
                    <a:pt x="1329176" y="432035"/>
                  </a:lnTo>
                  <a:lnTo>
                    <a:pt x="1330153" y="429754"/>
                  </a:lnTo>
                  <a:lnTo>
                    <a:pt x="1334063" y="430243"/>
                  </a:lnTo>
                  <a:lnTo>
                    <a:pt x="1338625" y="432850"/>
                  </a:lnTo>
                  <a:lnTo>
                    <a:pt x="1337647" y="429103"/>
                  </a:lnTo>
                  <a:lnTo>
                    <a:pt x="1333086" y="424053"/>
                  </a:lnTo>
                  <a:lnTo>
                    <a:pt x="1331619" y="417699"/>
                  </a:lnTo>
                  <a:lnTo>
                    <a:pt x="1332760" y="414930"/>
                  </a:lnTo>
                  <a:lnTo>
                    <a:pt x="1333248" y="408250"/>
                  </a:lnTo>
                  <a:lnTo>
                    <a:pt x="1336181" y="406295"/>
                  </a:lnTo>
                  <a:lnTo>
                    <a:pt x="1340417" y="405807"/>
                  </a:lnTo>
                  <a:lnTo>
                    <a:pt x="1342209" y="403200"/>
                  </a:lnTo>
                  <a:lnTo>
                    <a:pt x="1346607" y="403526"/>
                  </a:lnTo>
                  <a:cubicBezTo>
                    <a:pt x="1346607" y="403526"/>
                    <a:pt x="1351494" y="400431"/>
                    <a:pt x="1351983" y="400431"/>
                  </a:cubicBezTo>
                  <a:cubicBezTo>
                    <a:pt x="1352472" y="400431"/>
                    <a:pt x="1355404" y="400919"/>
                    <a:pt x="1355404" y="400919"/>
                  </a:cubicBezTo>
                  <a:lnTo>
                    <a:pt x="1356707" y="404503"/>
                  </a:lnTo>
                  <a:lnTo>
                    <a:pt x="1360617" y="406458"/>
                  </a:lnTo>
                  <a:lnTo>
                    <a:pt x="1364038" y="405318"/>
                  </a:lnTo>
                  <a:lnTo>
                    <a:pt x="1366482" y="407925"/>
                  </a:lnTo>
                  <a:lnTo>
                    <a:pt x="1365016" y="418188"/>
                  </a:lnTo>
                  <a:lnTo>
                    <a:pt x="1361758" y="422098"/>
                  </a:lnTo>
                  <a:lnTo>
                    <a:pt x="1362246" y="425682"/>
                  </a:lnTo>
                  <a:lnTo>
                    <a:pt x="1364853" y="425682"/>
                  </a:lnTo>
                  <a:cubicBezTo>
                    <a:pt x="1364853" y="425682"/>
                    <a:pt x="1366808" y="422912"/>
                    <a:pt x="1366808" y="422912"/>
                  </a:cubicBezTo>
                  <a:lnTo>
                    <a:pt x="1369252" y="423401"/>
                  </a:lnTo>
                  <a:lnTo>
                    <a:pt x="1371858" y="420957"/>
                  </a:lnTo>
                  <a:lnTo>
                    <a:pt x="1372184" y="413301"/>
                  </a:lnTo>
                  <a:lnTo>
                    <a:pt x="1375768" y="410205"/>
                  </a:lnTo>
                  <a:lnTo>
                    <a:pt x="1379678" y="413138"/>
                  </a:lnTo>
                  <a:lnTo>
                    <a:pt x="1383425" y="411997"/>
                  </a:lnTo>
                  <a:lnTo>
                    <a:pt x="1383099" y="407436"/>
                  </a:lnTo>
                  <a:lnTo>
                    <a:pt x="1381958" y="405644"/>
                  </a:lnTo>
                  <a:lnTo>
                    <a:pt x="1385542" y="405644"/>
                  </a:lnTo>
                  <a:cubicBezTo>
                    <a:pt x="1385542" y="405644"/>
                    <a:pt x="1387171" y="409554"/>
                    <a:pt x="1387171" y="409554"/>
                  </a:cubicBezTo>
                  <a:lnTo>
                    <a:pt x="1386357" y="412812"/>
                  </a:lnTo>
                  <a:lnTo>
                    <a:pt x="1387334" y="414930"/>
                  </a:lnTo>
                  <a:lnTo>
                    <a:pt x="1386194" y="417210"/>
                  </a:lnTo>
                  <a:lnTo>
                    <a:pt x="1383587" y="417210"/>
                  </a:lnTo>
                  <a:cubicBezTo>
                    <a:pt x="1383587" y="417210"/>
                    <a:pt x="1386031" y="421446"/>
                    <a:pt x="1386031" y="421446"/>
                  </a:cubicBezTo>
                  <a:lnTo>
                    <a:pt x="1390755" y="423075"/>
                  </a:lnTo>
                  <a:lnTo>
                    <a:pt x="1392710" y="427637"/>
                  </a:lnTo>
                  <a:lnTo>
                    <a:pt x="1391407" y="432524"/>
                  </a:lnTo>
                  <a:lnTo>
                    <a:pt x="1386683" y="435782"/>
                  </a:lnTo>
                  <a:lnTo>
                    <a:pt x="1382284" y="443602"/>
                  </a:lnTo>
                  <a:lnTo>
                    <a:pt x="1382936" y="449141"/>
                  </a:lnTo>
                  <a:lnTo>
                    <a:pt x="1381633" y="452562"/>
                  </a:lnTo>
                  <a:lnTo>
                    <a:pt x="1377071" y="455168"/>
                  </a:lnTo>
                  <a:lnTo>
                    <a:pt x="1371532" y="461522"/>
                  </a:lnTo>
                  <a:lnTo>
                    <a:pt x="1369903" y="464454"/>
                  </a:lnTo>
                  <a:lnTo>
                    <a:pt x="1365016" y="469830"/>
                  </a:lnTo>
                  <a:lnTo>
                    <a:pt x="1365016" y="472437"/>
                  </a:lnTo>
                  <a:cubicBezTo>
                    <a:pt x="1365016" y="472437"/>
                    <a:pt x="1363387" y="476509"/>
                    <a:pt x="1363387" y="476509"/>
                  </a:cubicBezTo>
                  <a:lnTo>
                    <a:pt x="1359803" y="476509"/>
                  </a:lnTo>
                  <a:cubicBezTo>
                    <a:pt x="1359803" y="476509"/>
                    <a:pt x="1357033" y="476021"/>
                    <a:pt x="1357033" y="476021"/>
                  </a:cubicBezTo>
                  <a:lnTo>
                    <a:pt x="1354590" y="477975"/>
                  </a:lnTo>
                  <a:lnTo>
                    <a:pt x="1354590" y="480256"/>
                  </a:lnTo>
                  <a:cubicBezTo>
                    <a:pt x="1354590" y="480256"/>
                    <a:pt x="1360780" y="483514"/>
                    <a:pt x="1360780" y="483514"/>
                  </a:cubicBezTo>
                  <a:lnTo>
                    <a:pt x="1360291" y="485958"/>
                  </a:lnTo>
                  <a:lnTo>
                    <a:pt x="1354264" y="494592"/>
                  </a:lnTo>
                  <a:lnTo>
                    <a:pt x="1352472" y="497362"/>
                  </a:lnTo>
                  <a:lnTo>
                    <a:pt x="1352146" y="494103"/>
                  </a:lnTo>
                  <a:lnTo>
                    <a:pt x="1352146" y="491008"/>
                  </a:lnTo>
                  <a:lnTo>
                    <a:pt x="1349051" y="489705"/>
                  </a:lnTo>
                  <a:lnTo>
                    <a:pt x="1346444" y="491008"/>
                  </a:lnTo>
                  <a:lnTo>
                    <a:pt x="1346118" y="494266"/>
                  </a:lnTo>
                  <a:lnTo>
                    <a:pt x="1343186" y="496058"/>
                  </a:lnTo>
                  <a:lnTo>
                    <a:pt x="1340742" y="499479"/>
                  </a:lnTo>
                  <a:lnTo>
                    <a:pt x="1335692" y="500294"/>
                  </a:lnTo>
                  <a:lnTo>
                    <a:pt x="1333900" y="504693"/>
                  </a:lnTo>
                  <a:lnTo>
                    <a:pt x="1336670" y="505996"/>
                  </a:lnTo>
                  <a:lnTo>
                    <a:pt x="1341068" y="505344"/>
                  </a:lnTo>
                  <a:lnTo>
                    <a:pt x="1340254" y="508114"/>
                  </a:lnTo>
                  <a:lnTo>
                    <a:pt x="1338136" y="511046"/>
                  </a:lnTo>
                  <a:lnTo>
                    <a:pt x="1338136" y="513164"/>
                  </a:lnTo>
                  <a:cubicBezTo>
                    <a:pt x="1338136" y="513164"/>
                    <a:pt x="1338136" y="517725"/>
                    <a:pt x="1338136" y="517725"/>
                  </a:cubicBezTo>
                  <a:lnTo>
                    <a:pt x="1336507" y="519680"/>
                  </a:lnTo>
                  <a:lnTo>
                    <a:pt x="1333574" y="514793"/>
                  </a:lnTo>
                  <a:lnTo>
                    <a:pt x="1333086" y="509906"/>
                  </a:lnTo>
                  <a:lnTo>
                    <a:pt x="1331945" y="507136"/>
                  </a:lnTo>
                  <a:lnTo>
                    <a:pt x="1330153" y="509580"/>
                  </a:lnTo>
                  <a:lnTo>
                    <a:pt x="1329339" y="513653"/>
                  </a:lnTo>
                  <a:lnTo>
                    <a:pt x="1330479" y="516911"/>
                  </a:lnTo>
                  <a:lnTo>
                    <a:pt x="1326895" y="521798"/>
                  </a:lnTo>
                  <a:lnTo>
                    <a:pt x="1313536" y="520983"/>
                  </a:lnTo>
                  <a:lnTo>
                    <a:pt x="1312885" y="516748"/>
                  </a:lnTo>
                  <a:lnTo>
                    <a:pt x="1311256" y="514467"/>
                  </a:lnTo>
                  <a:lnTo>
                    <a:pt x="1307672" y="518214"/>
                  </a:lnTo>
                  <a:lnTo>
                    <a:pt x="1303925" y="517725"/>
                  </a:lnTo>
                  <a:lnTo>
                    <a:pt x="1303273" y="514630"/>
                  </a:lnTo>
                  <a:lnTo>
                    <a:pt x="1307020" y="510069"/>
                  </a:lnTo>
                  <a:lnTo>
                    <a:pt x="1300667" y="512675"/>
                  </a:lnTo>
                  <a:lnTo>
                    <a:pt x="1298875" y="516259"/>
                  </a:lnTo>
                  <a:lnTo>
                    <a:pt x="1296920" y="516748"/>
                  </a:lnTo>
                  <a:lnTo>
                    <a:pt x="1296920" y="516748"/>
                  </a:lnTo>
                  <a:close/>
                  <a:moveTo>
                    <a:pt x="963933" y="377623"/>
                  </a:moveTo>
                  <a:lnTo>
                    <a:pt x="961653" y="375994"/>
                  </a:lnTo>
                  <a:lnTo>
                    <a:pt x="964422" y="370292"/>
                  </a:lnTo>
                  <a:lnTo>
                    <a:pt x="974523" y="361821"/>
                  </a:lnTo>
                  <a:lnTo>
                    <a:pt x="981528" y="359540"/>
                  </a:lnTo>
                  <a:lnTo>
                    <a:pt x="985763" y="356119"/>
                  </a:lnTo>
                  <a:lnTo>
                    <a:pt x="988859" y="355794"/>
                  </a:lnTo>
                  <a:lnTo>
                    <a:pt x="995701" y="351069"/>
                  </a:lnTo>
                  <a:lnTo>
                    <a:pt x="1003195" y="349766"/>
                  </a:lnTo>
                  <a:lnTo>
                    <a:pt x="1007104" y="347811"/>
                  </a:lnTo>
                  <a:lnTo>
                    <a:pt x="1009711" y="348137"/>
                  </a:lnTo>
                  <a:lnTo>
                    <a:pt x="1018345" y="345856"/>
                  </a:lnTo>
                  <a:lnTo>
                    <a:pt x="1020626" y="346345"/>
                  </a:lnTo>
                  <a:lnTo>
                    <a:pt x="1019160" y="350092"/>
                  </a:lnTo>
                  <a:lnTo>
                    <a:pt x="1011666" y="355794"/>
                  </a:lnTo>
                  <a:lnTo>
                    <a:pt x="1003683" y="361007"/>
                  </a:lnTo>
                  <a:lnTo>
                    <a:pt x="988533" y="372410"/>
                  </a:lnTo>
                  <a:lnTo>
                    <a:pt x="983482" y="378601"/>
                  </a:lnTo>
                  <a:lnTo>
                    <a:pt x="979410" y="379904"/>
                  </a:lnTo>
                  <a:lnTo>
                    <a:pt x="976477" y="379904"/>
                  </a:lnTo>
                  <a:lnTo>
                    <a:pt x="974034" y="383162"/>
                  </a:lnTo>
                  <a:lnTo>
                    <a:pt x="971753" y="383162"/>
                  </a:lnTo>
                  <a:cubicBezTo>
                    <a:pt x="971753" y="383162"/>
                    <a:pt x="969798" y="377786"/>
                    <a:pt x="969798" y="377786"/>
                  </a:cubicBezTo>
                  <a:lnTo>
                    <a:pt x="966540" y="376809"/>
                  </a:lnTo>
                  <a:lnTo>
                    <a:pt x="963771" y="377461"/>
                  </a:lnTo>
                  <a:lnTo>
                    <a:pt x="963771" y="377461"/>
                  </a:lnTo>
                  <a:close/>
                  <a:moveTo>
                    <a:pt x="1210578" y="482048"/>
                  </a:moveTo>
                  <a:lnTo>
                    <a:pt x="1209112" y="479767"/>
                  </a:lnTo>
                  <a:lnTo>
                    <a:pt x="1210415" y="478138"/>
                  </a:lnTo>
                  <a:lnTo>
                    <a:pt x="1215628" y="476346"/>
                  </a:lnTo>
                  <a:lnTo>
                    <a:pt x="1217583" y="472599"/>
                  </a:lnTo>
                  <a:lnTo>
                    <a:pt x="1217583" y="470156"/>
                  </a:lnTo>
                  <a:lnTo>
                    <a:pt x="1225077" y="465920"/>
                  </a:lnTo>
                  <a:lnTo>
                    <a:pt x="1226380" y="464128"/>
                  </a:lnTo>
                  <a:lnTo>
                    <a:pt x="1231104" y="464128"/>
                  </a:lnTo>
                  <a:cubicBezTo>
                    <a:pt x="1231104" y="464128"/>
                    <a:pt x="1231104" y="468690"/>
                    <a:pt x="1231104" y="468690"/>
                  </a:cubicBezTo>
                  <a:lnTo>
                    <a:pt x="1232082" y="471622"/>
                  </a:lnTo>
                  <a:lnTo>
                    <a:pt x="1232082" y="478138"/>
                  </a:lnTo>
                  <a:lnTo>
                    <a:pt x="1230779" y="482700"/>
                  </a:lnTo>
                  <a:lnTo>
                    <a:pt x="1226217" y="486610"/>
                  </a:lnTo>
                  <a:lnTo>
                    <a:pt x="1221656" y="486284"/>
                  </a:lnTo>
                  <a:lnTo>
                    <a:pt x="1219212" y="487913"/>
                  </a:lnTo>
                  <a:lnTo>
                    <a:pt x="1215302" y="487913"/>
                  </a:lnTo>
                  <a:lnTo>
                    <a:pt x="1213836" y="484166"/>
                  </a:lnTo>
                  <a:lnTo>
                    <a:pt x="1210252" y="481722"/>
                  </a:lnTo>
                  <a:lnTo>
                    <a:pt x="1210252" y="481722"/>
                  </a:lnTo>
                  <a:close/>
                  <a:moveTo>
                    <a:pt x="1013132" y="475043"/>
                  </a:moveTo>
                  <a:lnTo>
                    <a:pt x="1014598" y="469504"/>
                  </a:lnTo>
                  <a:lnTo>
                    <a:pt x="1013784" y="465431"/>
                  </a:lnTo>
                  <a:lnTo>
                    <a:pt x="1014598" y="457286"/>
                  </a:lnTo>
                  <a:lnTo>
                    <a:pt x="1022418" y="455820"/>
                  </a:lnTo>
                  <a:lnTo>
                    <a:pt x="1030237" y="458101"/>
                  </a:lnTo>
                  <a:lnTo>
                    <a:pt x="1033984" y="455494"/>
                  </a:lnTo>
                  <a:lnTo>
                    <a:pt x="1039849" y="456960"/>
                  </a:lnTo>
                  <a:lnTo>
                    <a:pt x="1044573" y="456146"/>
                  </a:lnTo>
                  <a:lnTo>
                    <a:pt x="1051253" y="452399"/>
                  </a:lnTo>
                  <a:lnTo>
                    <a:pt x="1059398" y="452399"/>
                  </a:lnTo>
                  <a:lnTo>
                    <a:pt x="1067218" y="455331"/>
                  </a:lnTo>
                  <a:lnTo>
                    <a:pt x="1073571" y="455331"/>
                  </a:lnTo>
                  <a:lnTo>
                    <a:pt x="1076829" y="456797"/>
                  </a:lnTo>
                  <a:lnTo>
                    <a:pt x="1080902" y="453050"/>
                  </a:lnTo>
                  <a:lnTo>
                    <a:pt x="1093446" y="452725"/>
                  </a:lnTo>
                  <a:lnTo>
                    <a:pt x="1094587" y="449466"/>
                  </a:lnTo>
                  <a:lnTo>
                    <a:pt x="1097519" y="446860"/>
                  </a:lnTo>
                  <a:lnTo>
                    <a:pt x="1095727" y="444253"/>
                  </a:lnTo>
                  <a:lnTo>
                    <a:pt x="1092469" y="448000"/>
                  </a:lnTo>
                  <a:lnTo>
                    <a:pt x="1085464" y="448000"/>
                  </a:lnTo>
                  <a:lnTo>
                    <a:pt x="1085138" y="445068"/>
                  </a:lnTo>
                  <a:lnTo>
                    <a:pt x="1077807" y="448326"/>
                  </a:lnTo>
                  <a:lnTo>
                    <a:pt x="1071616" y="448326"/>
                  </a:lnTo>
                  <a:lnTo>
                    <a:pt x="1071616" y="444253"/>
                  </a:lnTo>
                  <a:lnTo>
                    <a:pt x="1068358" y="441647"/>
                  </a:lnTo>
                  <a:lnTo>
                    <a:pt x="1064611" y="444579"/>
                  </a:lnTo>
                  <a:lnTo>
                    <a:pt x="1059072" y="445394"/>
                  </a:lnTo>
                  <a:lnTo>
                    <a:pt x="1055000" y="446534"/>
                  </a:lnTo>
                  <a:lnTo>
                    <a:pt x="1052393" y="444742"/>
                  </a:lnTo>
                  <a:lnTo>
                    <a:pt x="1047669" y="445882"/>
                  </a:lnTo>
                  <a:lnTo>
                    <a:pt x="1041478" y="444090"/>
                  </a:lnTo>
                  <a:lnTo>
                    <a:pt x="1041478" y="439692"/>
                  </a:lnTo>
                  <a:lnTo>
                    <a:pt x="1047017" y="435619"/>
                  </a:lnTo>
                  <a:lnTo>
                    <a:pt x="1052882" y="431221"/>
                  </a:lnTo>
                  <a:lnTo>
                    <a:pt x="1049624" y="430895"/>
                  </a:lnTo>
                  <a:lnTo>
                    <a:pt x="1044085" y="432035"/>
                  </a:lnTo>
                  <a:lnTo>
                    <a:pt x="1040827" y="436108"/>
                  </a:lnTo>
                  <a:lnTo>
                    <a:pt x="1038220" y="430569"/>
                  </a:lnTo>
                  <a:lnTo>
                    <a:pt x="1036428" y="432850"/>
                  </a:lnTo>
                  <a:lnTo>
                    <a:pt x="1035613" y="437574"/>
                  </a:lnTo>
                  <a:lnTo>
                    <a:pt x="1027142" y="441973"/>
                  </a:lnTo>
                  <a:lnTo>
                    <a:pt x="1025676" y="445231"/>
                  </a:lnTo>
                  <a:lnTo>
                    <a:pt x="1021278" y="446371"/>
                  </a:lnTo>
                  <a:lnTo>
                    <a:pt x="1015413" y="442298"/>
                  </a:lnTo>
                  <a:lnTo>
                    <a:pt x="1015738" y="438226"/>
                  </a:lnTo>
                  <a:lnTo>
                    <a:pt x="1018345" y="434479"/>
                  </a:lnTo>
                  <a:lnTo>
                    <a:pt x="1013946" y="434805"/>
                  </a:lnTo>
                  <a:lnTo>
                    <a:pt x="1011666" y="433013"/>
                  </a:lnTo>
                  <a:lnTo>
                    <a:pt x="1010851" y="439692"/>
                  </a:lnTo>
                  <a:lnTo>
                    <a:pt x="1007593" y="442298"/>
                  </a:lnTo>
                  <a:lnTo>
                    <a:pt x="1002869" y="440018"/>
                  </a:lnTo>
                  <a:lnTo>
                    <a:pt x="1003195" y="434153"/>
                  </a:lnTo>
                  <a:lnTo>
                    <a:pt x="997656" y="430080"/>
                  </a:lnTo>
                  <a:lnTo>
                    <a:pt x="999122" y="426007"/>
                  </a:lnTo>
                  <a:lnTo>
                    <a:pt x="996189" y="424867"/>
                  </a:lnTo>
                  <a:lnTo>
                    <a:pt x="995375" y="430080"/>
                  </a:lnTo>
                  <a:lnTo>
                    <a:pt x="992443" y="429754"/>
                  </a:lnTo>
                  <a:lnTo>
                    <a:pt x="987229" y="422423"/>
                  </a:lnTo>
                  <a:lnTo>
                    <a:pt x="978432" y="416885"/>
                  </a:lnTo>
                  <a:lnTo>
                    <a:pt x="978432" y="414604"/>
                  </a:lnTo>
                  <a:lnTo>
                    <a:pt x="984297" y="414278"/>
                  </a:lnTo>
                  <a:lnTo>
                    <a:pt x="984297" y="409554"/>
                  </a:lnTo>
                  <a:lnTo>
                    <a:pt x="982016" y="406295"/>
                  </a:lnTo>
                  <a:lnTo>
                    <a:pt x="991954" y="399616"/>
                  </a:lnTo>
                  <a:lnTo>
                    <a:pt x="997493" y="398150"/>
                  </a:lnTo>
                  <a:lnTo>
                    <a:pt x="1000099" y="399616"/>
                  </a:lnTo>
                  <a:lnTo>
                    <a:pt x="1009385" y="399290"/>
                  </a:lnTo>
                  <a:lnTo>
                    <a:pt x="1015738" y="403363"/>
                  </a:lnTo>
                  <a:lnTo>
                    <a:pt x="1022092" y="404178"/>
                  </a:lnTo>
                  <a:lnTo>
                    <a:pt x="1025839" y="401245"/>
                  </a:lnTo>
                  <a:lnTo>
                    <a:pt x="1032192" y="400919"/>
                  </a:lnTo>
                  <a:lnTo>
                    <a:pt x="1038057" y="396847"/>
                  </a:lnTo>
                  <a:lnTo>
                    <a:pt x="1034310" y="394240"/>
                  </a:lnTo>
                  <a:lnTo>
                    <a:pt x="1031704" y="391959"/>
                  </a:lnTo>
                  <a:lnTo>
                    <a:pt x="1026165" y="391959"/>
                  </a:lnTo>
                  <a:lnTo>
                    <a:pt x="1020952" y="393426"/>
                  </a:lnTo>
                  <a:lnTo>
                    <a:pt x="1012480" y="390167"/>
                  </a:lnTo>
                  <a:lnTo>
                    <a:pt x="1006941" y="390167"/>
                  </a:lnTo>
                  <a:lnTo>
                    <a:pt x="1005475" y="388375"/>
                  </a:lnTo>
                  <a:lnTo>
                    <a:pt x="1012806" y="381370"/>
                  </a:lnTo>
                  <a:lnTo>
                    <a:pt x="1018671" y="374365"/>
                  </a:lnTo>
                  <a:lnTo>
                    <a:pt x="1023884" y="373551"/>
                  </a:lnTo>
                  <a:lnTo>
                    <a:pt x="1027142" y="374691"/>
                  </a:lnTo>
                  <a:lnTo>
                    <a:pt x="1036754" y="372899"/>
                  </a:lnTo>
                  <a:lnTo>
                    <a:pt x="1047832" y="374039"/>
                  </a:lnTo>
                  <a:lnTo>
                    <a:pt x="1054185" y="375831"/>
                  </a:lnTo>
                  <a:lnTo>
                    <a:pt x="1056792" y="374691"/>
                  </a:lnTo>
                  <a:lnTo>
                    <a:pt x="1055326" y="371759"/>
                  </a:lnTo>
                  <a:lnTo>
                    <a:pt x="1052393" y="371759"/>
                  </a:lnTo>
                  <a:lnTo>
                    <a:pt x="1047180" y="369152"/>
                  </a:lnTo>
                  <a:lnTo>
                    <a:pt x="1041967" y="369152"/>
                  </a:lnTo>
                  <a:lnTo>
                    <a:pt x="1031704" y="366220"/>
                  </a:lnTo>
                  <a:lnTo>
                    <a:pt x="1028445" y="361821"/>
                  </a:lnTo>
                  <a:lnTo>
                    <a:pt x="1034310" y="357423"/>
                  </a:lnTo>
                  <a:lnTo>
                    <a:pt x="1037243" y="353024"/>
                  </a:lnTo>
                  <a:lnTo>
                    <a:pt x="1040501" y="350418"/>
                  </a:lnTo>
                  <a:lnTo>
                    <a:pt x="1043759" y="350418"/>
                  </a:lnTo>
                  <a:lnTo>
                    <a:pt x="1049624" y="347485"/>
                  </a:lnTo>
                  <a:lnTo>
                    <a:pt x="1054022" y="347485"/>
                  </a:lnTo>
                  <a:lnTo>
                    <a:pt x="1055814" y="350092"/>
                  </a:lnTo>
                  <a:lnTo>
                    <a:pt x="1060213" y="350092"/>
                  </a:lnTo>
                  <a:lnTo>
                    <a:pt x="1065752" y="354816"/>
                  </a:lnTo>
                  <a:lnTo>
                    <a:pt x="1069010" y="356282"/>
                  </a:lnTo>
                  <a:lnTo>
                    <a:pt x="1066729" y="351558"/>
                  </a:lnTo>
                  <a:lnTo>
                    <a:pt x="1061190" y="347485"/>
                  </a:lnTo>
                  <a:lnTo>
                    <a:pt x="1060376" y="343412"/>
                  </a:lnTo>
                  <a:lnTo>
                    <a:pt x="1058095" y="341132"/>
                  </a:lnTo>
                  <a:lnTo>
                    <a:pt x="1061027" y="338199"/>
                  </a:lnTo>
                  <a:lnTo>
                    <a:pt x="1074712" y="335267"/>
                  </a:lnTo>
                  <a:lnTo>
                    <a:pt x="1079110" y="336407"/>
                  </a:lnTo>
                  <a:lnTo>
                    <a:pt x="1087256" y="336082"/>
                  </a:lnTo>
                  <a:lnTo>
                    <a:pt x="1092469" y="340480"/>
                  </a:lnTo>
                  <a:lnTo>
                    <a:pt x="1094750" y="348300"/>
                  </a:lnTo>
                  <a:lnTo>
                    <a:pt x="1090677" y="350580"/>
                  </a:lnTo>
                  <a:lnTo>
                    <a:pt x="1086604" y="356934"/>
                  </a:lnTo>
                  <a:lnTo>
                    <a:pt x="1088070" y="361332"/>
                  </a:lnTo>
                  <a:lnTo>
                    <a:pt x="1097845" y="360681"/>
                  </a:lnTo>
                  <a:lnTo>
                    <a:pt x="1100940" y="358726"/>
                  </a:lnTo>
                  <a:lnTo>
                    <a:pt x="1104035" y="360681"/>
                  </a:lnTo>
                  <a:lnTo>
                    <a:pt x="1107131" y="360681"/>
                  </a:lnTo>
                  <a:lnTo>
                    <a:pt x="1108760" y="363939"/>
                  </a:lnTo>
                  <a:lnTo>
                    <a:pt x="1109574" y="366871"/>
                  </a:lnTo>
                  <a:lnTo>
                    <a:pt x="1112507" y="369804"/>
                  </a:lnTo>
                  <a:lnTo>
                    <a:pt x="1112181" y="373225"/>
                  </a:lnTo>
                  <a:lnTo>
                    <a:pt x="1109086" y="374854"/>
                  </a:lnTo>
                  <a:lnTo>
                    <a:pt x="1107294" y="378275"/>
                  </a:lnTo>
                  <a:lnTo>
                    <a:pt x="1111692" y="383977"/>
                  </a:lnTo>
                  <a:lnTo>
                    <a:pt x="1112507" y="394403"/>
                  </a:lnTo>
                  <a:lnTo>
                    <a:pt x="1110715" y="397824"/>
                  </a:lnTo>
                  <a:lnTo>
                    <a:pt x="1105502" y="396195"/>
                  </a:lnTo>
                  <a:lnTo>
                    <a:pt x="1100940" y="397987"/>
                  </a:lnTo>
                  <a:lnTo>
                    <a:pt x="1102243" y="401082"/>
                  </a:lnTo>
                  <a:lnTo>
                    <a:pt x="1106805" y="400105"/>
                  </a:lnTo>
                  <a:lnTo>
                    <a:pt x="1112507" y="402548"/>
                  </a:lnTo>
                  <a:lnTo>
                    <a:pt x="1115928" y="402548"/>
                  </a:lnTo>
                  <a:lnTo>
                    <a:pt x="1112507" y="412975"/>
                  </a:lnTo>
                  <a:lnTo>
                    <a:pt x="1108597" y="416233"/>
                  </a:lnTo>
                  <a:lnTo>
                    <a:pt x="1108271" y="425519"/>
                  </a:lnTo>
                  <a:lnTo>
                    <a:pt x="1111040" y="426985"/>
                  </a:lnTo>
                  <a:lnTo>
                    <a:pt x="1116742" y="425519"/>
                  </a:lnTo>
                  <a:lnTo>
                    <a:pt x="1119675" y="422098"/>
                  </a:lnTo>
                  <a:lnTo>
                    <a:pt x="1121955" y="424378"/>
                  </a:lnTo>
                  <a:lnTo>
                    <a:pt x="1123096" y="428125"/>
                  </a:lnTo>
                  <a:lnTo>
                    <a:pt x="1128797" y="428777"/>
                  </a:lnTo>
                  <a:lnTo>
                    <a:pt x="1131730" y="428125"/>
                  </a:lnTo>
                  <a:lnTo>
                    <a:pt x="1141016" y="430569"/>
                  </a:lnTo>
                  <a:lnTo>
                    <a:pt x="1144763" y="436271"/>
                  </a:lnTo>
                  <a:lnTo>
                    <a:pt x="1148021" y="435130"/>
                  </a:lnTo>
                  <a:lnTo>
                    <a:pt x="1147206" y="431872"/>
                  </a:lnTo>
                  <a:lnTo>
                    <a:pt x="1145577" y="430406"/>
                  </a:lnTo>
                  <a:lnTo>
                    <a:pt x="1153397" y="426496"/>
                  </a:lnTo>
                  <a:lnTo>
                    <a:pt x="1151442" y="418025"/>
                  </a:lnTo>
                  <a:lnTo>
                    <a:pt x="1146880" y="412812"/>
                  </a:lnTo>
                  <a:lnTo>
                    <a:pt x="1147206" y="409065"/>
                  </a:lnTo>
                  <a:lnTo>
                    <a:pt x="1144274" y="404829"/>
                  </a:lnTo>
                  <a:lnTo>
                    <a:pt x="1146718" y="402223"/>
                  </a:lnTo>
                  <a:lnTo>
                    <a:pt x="1149813" y="402223"/>
                  </a:lnTo>
                  <a:lnTo>
                    <a:pt x="1157144" y="399290"/>
                  </a:lnTo>
                  <a:lnTo>
                    <a:pt x="1162520" y="399779"/>
                  </a:lnTo>
                  <a:lnTo>
                    <a:pt x="1165126" y="392611"/>
                  </a:lnTo>
                  <a:lnTo>
                    <a:pt x="1161868" y="385117"/>
                  </a:lnTo>
                  <a:lnTo>
                    <a:pt x="1159424" y="382511"/>
                  </a:lnTo>
                  <a:lnTo>
                    <a:pt x="1159750" y="376809"/>
                  </a:lnTo>
                  <a:lnTo>
                    <a:pt x="1157307" y="370781"/>
                  </a:lnTo>
                  <a:lnTo>
                    <a:pt x="1161868" y="364265"/>
                  </a:lnTo>
                  <a:lnTo>
                    <a:pt x="1165941" y="361658"/>
                  </a:lnTo>
                  <a:lnTo>
                    <a:pt x="1168547" y="362636"/>
                  </a:lnTo>
                  <a:lnTo>
                    <a:pt x="1173761" y="362636"/>
                  </a:lnTo>
                  <a:cubicBezTo>
                    <a:pt x="1173761" y="362636"/>
                    <a:pt x="1172457" y="359866"/>
                    <a:pt x="1172457" y="359866"/>
                  </a:cubicBezTo>
                  <a:lnTo>
                    <a:pt x="1174738" y="355468"/>
                  </a:lnTo>
                  <a:lnTo>
                    <a:pt x="1180603" y="353513"/>
                  </a:lnTo>
                  <a:lnTo>
                    <a:pt x="1192006" y="342761"/>
                  </a:lnTo>
                  <a:lnTo>
                    <a:pt x="1195264" y="343087"/>
                  </a:lnTo>
                  <a:lnTo>
                    <a:pt x="1202432" y="346671"/>
                  </a:lnTo>
                  <a:lnTo>
                    <a:pt x="1201292" y="349603"/>
                  </a:lnTo>
                  <a:lnTo>
                    <a:pt x="1203247" y="353676"/>
                  </a:lnTo>
                  <a:lnTo>
                    <a:pt x="1201781" y="356771"/>
                  </a:lnTo>
                  <a:lnTo>
                    <a:pt x="1197219" y="356771"/>
                  </a:lnTo>
                  <a:cubicBezTo>
                    <a:pt x="1197219" y="356771"/>
                    <a:pt x="1194287" y="359866"/>
                    <a:pt x="1194287" y="359866"/>
                  </a:cubicBezTo>
                  <a:lnTo>
                    <a:pt x="1194287" y="363939"/>
                  </a:lnTo>
                  <a:lnTo>
                    <a:pt x="1192821" y="368989"/>
                  </a:lnTo>
                  <a:lnTo>
                    <a:pt x="1192821" y="375180"/>
                  </a:lnTo>
                  <a:lnTo>
                    <a:pt x="1194287" y="376972"/>
                  </a:lnTo>
                  <a:lnTo>
                    <a:pt x="1194287" y="389353"/>
                  </a:lnTo>
                  <a:lnTo>
                    <a:pt x="1191843" y="391634"/>
                  </a:lnTo>
                  <a:lnTo>
                    <a:pt x="1189237" y="391634"/>
                  </a:lnTo>
                  <a:lnTo>
                    <a:pt x="1182069" y="398150"/>
                  </a:lnTo>
                  <a:lnTo>
                    <a:pt x="1177996" y="401082"/>
                  </a:lnTo>
                  <a:lnTo>
                    <a:pt x="1177996" y="402874"/>
                  </a:lnTo>
                  <a:lnTo>
                    <a:pt x="1180603" y="402874"/>
                  </a:lnTo>
                  <a:cubicBezTo>
                    <a:pt x="1180603" y="402874"/>
                    <a:pt x="1185001" y="401734"/>
                    <a:pt x="1185001" y="401734"/>
                  </a:cubicBezTo>
                  <a:lnTo>
                    <a:pt x="1192332" y="402060"/>
                  </a:lnTo>
                  <a:lnTo>
                    <a:pt x="1193635" y="404666"/>
                  </a:lnTo>
                  <a:lnTo>
                    <a:pt x="1189888" y="410368"/>
                  </a:lnTo>
                  <a:lnTo>
                    <a:pt x="1181743" y="414930"/>
                  </a:lnTo>
                  <a:lnTo>
                    <a:pt x="1174738" y="421120"/>
                  </a:lnTo>
                  <a:lnTo>
                    <a:pt x="1173109" y="425682"/>
                  </a:lnTo>
                  <a:lnTo>
                    <a:pt x="1175064" y="428288"/>
                  </a:lnTo>
                  <a:lnTo>
                    <a:pt x="1177507" y="423564"/>
                  </a:lnTo>
                  <a:lnTo>
                    <a:pt x="1186304" y="419491"/>
                  </a:lnTo>
                  <a:lnTo>
                    <a:pt x="1189563" y="416233"/>
                  </a:lnTo>
                  <a:lnTo>
                    <a:pt x="1192658" y="414930"/>
                  </a:lnTo>
                  <a:lnTo>
                    <a:pt x="1199500" y="418188"/>
                  </a:lnTo>
                  <a:lnTo>
                    <a:pt x="1198686" y="424704"/>
                  </a:lnTo>
                  <a:lnTo>
                    <a:pt x="1194776" y="432035"/>
                  </a:lnTo>
                  <a:lnTo>
                    <a:pt x="1195916" y="434805"/>
                  </a:lnTo>
                  <a:lnTo>
                    <a:pt x="1200640" y="429591"/>
                  </a:lnTo>
                  <a:lnTo>
                    <a:pt x="1204713" y="430080"/>
                  </a:lnTo>
                  <a:lnTo>
                    <a:pt x="1205691" y="427148"/>
                  </a:lnTo>
                  <a:lnTo>
                    <a:pt x="1204550" y="425845"/>
                  </a:lnTo>
                  <a:lnTo>
                    <a:pt x="1207483" y="421120"/>
                  </a:lnTo>
                  <a:lnTo>
                    <a:pt x="1208134" y="415907"/>
                  </a:lnTo>
                  <a:lnTo>
                    <a:pt x="1216117" y="410205"/>
                  </a:lnTo>
                  <a:lnTo>
                    <a:pt x="1219212" y="410205"/>
                  </a:lnTo>
                  <a:cubicBezTo>
                    <a:pt x="1219212" y="410205"/>
                    <a:pt x="1225403" y="414115"/>
                    <a:pt x="1225403" y="414115"/>
                  </a:cubicBezTo>
                  <a:lnTo>
                    <a:pt x="1228335" y="422261"/>
                  </a:lnTo>
                  <a:lnTo>
                    <a:pt x="1230616" y="426170"/>
                  </a:lnTo>
                  <a:lnTo>
                    <a:pt x="1229150" y="433338"/>
                  </a:lnTo>
                  <a:lnTo>
                    <a:pt x="1222633" y="445394"/>
                  </a:lnTo>
                  <a:lnTo>
                    <a:pt x="1216769" y="450607"/>
                  </a:lnTo>
                  <a:lnTo>
                    <a:pt x="1212044" y="452887"/>
                  </a:lnTo>
                  <a:lnTo>
                    <a:pt x="1208623" y="453213"/>
                  </a:lnTo>
                  <a:lnTo>
                    <a:pt x="1207320" y="455494"/>
                  </a:lnTo>
                  <a:lnTo>
                    <a:pt x="1208134" y="459404"/>
                  </a:lnTo>
                  <a:lnTo>
                    <a:pt x="1202758" y="466735"/>
                  </a:lnTo>
                  <a:lnTo>
                    <a:pt x="1198686" y="466735"/>
                  </a:lnTo>
                  <a:cubicBezTo>
                    <a:pt x="1198686" y="466735"/>
                    <a:pt x="1193961" y="470482"/>
                    <a:pt x="1193961" y="470482"/>
                  </a:cubicBezTo>
                  <a:lnTo>
                    <a:pt x="1193961" y="474717"/>
                  </a:lnTo>
                  <a:cubicBezTo>
                    <a:pt x="1193961" y="474717"/>
                    <a:pt x="1192332" y="477324"/>
                    <a:pt x="1192332" y="477324"/>
                  </a:cubicBezTo>
                  <a:lnTo>
                    <a:pt x="1189400" y="477324"/>
                  </a:lnTo>
                  <a:cubicBezTo>
                    <a:pt x="1189400" y="477324"/>
                    <a:pt x="1187119" y="478953"/>
                    <a:pt x="1187119" y="478953"/>
                  </a:cubicBezTo>
                  <a:lnTo>
                    <a:pt x="1187119" y="481722"/>
                  </a:lnTo>
                  <a:lnTo>
                    <a:pt x="1184675" y="483026"/>
                  </a:lnTo>
                  <a:lnTo>
                    <a:pt x="1181091" y="479930"/>
                  </a:lnTo>
                  <a:lnTo>
                    <a:pt x="1176693" y="481885"/>
                  </a:lnTo>
                  <a:lnTo>
                    <a:pt x="1173109" y="481071"/>
                  </a:lnTo>
                  <a:lnTo>
                    <a:pt x="1164800" y="485306"/>
                  </a:lnTo>
                  <a:lnTo>
                    <a:pt x="1157307" y="486447"/>
                  </a:lnTo>
                  <a:lnTo>
                    <a:pt x="1151279" y="483840"/>
                  </a:lnTo>
                  <a:lnTo>
                    <a:pt x="1149976" y="480419"/>
                  </a:lnTo>
                  <a:lnTo>
                    <a:pt x="1153071" y="476183"/>
                  </a:lnTo>
                  <a:lnTo>
                    <a:pt x="1152582" y="473088"/>
                  </a:lnTo>
                  <a:lnTo>
                    <a:pt x="1150953" y="472762"/>
                  </a:lnTo>
                  <a:lnTo>
                    <a:pt x="1145577" y="475206"/>
                  </a:lnTo>
                  <a:lnTo>
                    <a:pt x="1144437" y="478301"/>
                  </a:lnTo>
                  <a:lnTo>
                    <a:pt x="1140527" y="479767"/>
                  </a:lnTo>
                  <a:lnTo>
                    <a:pt x="1134011" y="477813"/>
                  </a:lnTo>
                  <a:lnTo>
                    <a:pt x="1134011" y="474717"/>
                  </a:lnTo>
                  <a:lnTo>
                    <a:pt x="1136128" y="472111"/>
                  </a:lnTo>
                  <a:lnTo>
                    <a:pt x="1134825" y="468364"/>
                  </a:lnTo>
                  <a:lnTo>
                    <a:pt x="1131567" y="467223"/>
                  </a:lnTo>
                  <a:lnTo>
                    <a:pt x="1131241" y="470319"/>
                  </a:lnTo>
                  <a:lnTo>
                    <a:pt x="1128146" y="472274"/>
                  </a:lnTo>
                  <a:lnTo>
                    <a:pt x="1124399" y="472274"/>
                  </a:lnTo>
                  <a:lnTo>
                    <a:pt x="1116254" y="475858"/>
                  </a:lnTo>
                  <a:lnTo>
                    <a:pt x="1113810" y="477813"/>
                  </a:lnTo>
                  <a:lnTo>
                    <a:pt x="1108434" y="477813"/>
                  </a:lnTo>
                  <a:cubicBezTo>
                    <a:pt x="1108434" y="477813"/>
                    <a:pt x="1106642" y="476021"/>
                    <a:pt x="1106642" y="476021"/>
                  </a:cubicBezTo>
                  <a:lnTo>
                    <a:pt x="1100126" y="476835"/>
                  </a:lnTo>
                  <a:lnTo>
                    <a:pt x="1097030" y="474554"/>
                  </a:lnTo>
                  <a:lnTo>
                    <a:pt x="1095075" y="477487"/>
                  </a:lnTo>
                  <a:lnTo>
                    <a:pt x="1091328" y="477487"/>
                  </a:lnTo>
                  <a:cubicBezTo>
                    <a:pt x="1091328" y="477487"/>
                    <a:pt x="1087745" y="478953"/>
                    <a:pt x="1087745" y="478953"/>
                  </a:cubicBezTo>
                  <a:lnTo>
                    <a:pt x="1086930" y="483026"/>
                  </a:lnTo>
                  <a:lnTo>
                    <a:pt x="1084323" y="485143"/>
                  </a:lnTo>
                  <a:lnTo>
                    <a:pt x="1078296" y="485143"/>
                  </a:lnTo>
                  <a:cubicBezTo>
                    <a:pt x="1078296" y="485143"/>
                    <a:pt x="1077155" y="487913"/>
                    <a:pt x="1077155" y="487913"/>
                  </a:cubicBezTo>
                  <a:lnTo>
                    <a:pt x="1071942" y="489542"/>
                  </a:lnTo>
                  <a:lnTo>
                    <a:pt x="1070313" y="488727"/>
                  </a:lnTo>
                  <a:lnTo>
                    <a:pt x="1064937" y="491008"/>
                  </a:lnTo>
                  <a:lnTo>
                    <a:pt x="1059235" y="491008"/>
                  </a:lnTo>
                  <a:lnTo>
                    <a:pt x="1057443" y="488239"/>
                  </a:lnTo>
                  <a:lnTo>
                    <a:pt x="1050601" y="488239"/>
                  </a:lnTo>
                  <a:cubicBezTo>
                    <a:pt x="1050601" y="488239"/>
                    <a:pt x="1043922" y="490519"/>
                    <a:pt x="1043922" y="490519"/>
                  </a:cubicBezTo>
                  <a:lnTo>
                    <a:pt x="1036428" y="490519"/>
                  </a:lnTo>
                  <a:lnTo>
                    <a:pt x="1028934" y="486773"/>
                  </a:lnTo>
                  <a:lnTo>
                    <a:pt x="1022255" y="485469"/>
                  </a:lnTo>
                  <a:lnTo>
                    <a:pt x="1018997" y="480745"/>
                  </a:lnTo>
                  <a:lnTo>
                    <a:pt x="1013946" y="475369"/>
                  </a:lnTo>
                  <a:lnTo>
                    <a:pt x="1013946" y="475369"/>
                  </a:lnTo>
                  <a:close/>
                  <a:moveTo>
                    <a:pt x="708818" y="634694"/>
                  </a:moveTo>
                  <a:lnTo>
                    <a:pt x="708818" y="625082"/>
                  </a:lnTo>
                  <a:lnTo>
                    <a:pt x="713216" y="616937"/>
                  </a:lnTo>
                  <a:lnTo>
                    <a:pt x="710936" y="610583"/>
                  </a:lnTo>
                  <a:lnTo>
                    <a:pt x="712728" y="603578"/>
                  </a:lnTo>
                  <a:lnTo>
                    <a:pt x="713379" y="597714"/>
                  </a:lnTo>
                  <a:lnTo>
                    <a:pt x="710121" y="594781"/>
                  </a:lnTo>
                  <a:lnTo>
                    <a:pt x="706048" y="581097"/>
                  </a:lnTo>
                  <a:lnTo>
                    <a:pt x="711913" y="582889"/>
                  </a:lnTo>
                  <a:lnTo>
                    <a:pt x="711913" y="578490"/>
                  </a:lnTo>
                  <a:lnTo>
                    <a:pt x="703116" y="578490"/>
                  </a:lnTo>
                  <a:lnTo>
                    <a:pt x="694645" y="575558"/>
                  </a:lnTo>
                  <a:lnTo>
                    <a:pt x="694319" y="571160"/>
                  </a:lnTo>
                  <a:lnTo>
                    <a:pt x="698391" y="572626"/>
                  </a:lnTo>
                  <a:lnTo>
                    <a:pt x="703605" y="568553"/>
                  </a:lnTo>
                  <a:lnTo>
                    <a:pt x="710284" y="565295"/>
                  </a:lnTo>
                  <a:lnTo>
                    <a:pt x="710936" y="561222"/>
                  </a:lnTo>
                  <a:lnTo>
                    <a:pt x="713868" y="561222"/>
                  </a:lnTo>
                  <a:lnTo>
                    <a:pt x="717941" y="556498"/>
                  </a:lnTo>
                  <a:lnTo>
                    <a:pt x="722339" y="555683"/>
                  </a:lnTo>
                  <a:lnTo>
                    <a:pt x="724946" y="548352"/>
                  </a:lnTo>
                  <a:lnTo>
                    <a:pt x="734557" y="546071"/>
                  </a:lnTo>
                  <a:lnTo>
                    <a:pt x="735372" y="543791"/>
                  </a:lnTo>
                  <a:lnTo>
                    <a:pt x="738630" y="542325"/>
                  </a:lnTo>
                  <a:lnTo>
                    <a:pt x="743029" y="535645"/>
                  </a:lnTo>
                  <a:lnTo>
                    <a:pt x="743843" y="527174"/>
                  </a:lnTo>
                  <a:lnTo>
                    <a:pt x="745309" y="530106"/>
                  </a:lnTo>
                  <a:lnTo>
                    <a:pt x="759320" y="531898"/>
                  </a:lnTo>
                  <a:lnTo>
                    <a:pt x="759645" y="524893"/>
                  </a:lnTo>
                  <a:lnTo>
                    <a:pt x="756713" y="517562"/>
                  </a:lnTo>
                  <a:lnTo>
                    <a:pt x="757039" y="513815"/>
                  </a:lnTo>
                  <a:lnTo>
                    <a:pt x="762252" y="512023"/>
                  </a:lnTo>
                  <a:lnTo>
                    <a:pt x="773656" y="503552"/>
                  </a:lnTo>
                  <a:lnTo>
                    <a:pt x="778380" y="496547"/>
                  </a:lnTo>
                  <a:lnTo>
                    <a:pt x="788643" y="492800"/>
                  </a:lnTo>
                  <a:lnTo>
                    <a:pt x="790924" y="488076"/>
                  </a:lnTo>
                  <a:lnTo>
                    <a:pt x="797603" y="481397"/>
                  </a:lnTo>
                  <a:lnTo>
                    <a:pt x="803468" y="481397"/>
                  </a:lnTo>
                  <a:lnTo>
                    <a:pt x="806726" y="477324"/>
                  </a:lnTo>
                  <a:lnTo>
                    <a:pt x="802979" y="472599"/>
                  </a:lnTo>
                  <a:lnTo>
                    <a:pt x="804445" y="462336"/>
                  </a:lnTo>
                  <a:lnTo>
                    <a:pt x="804445" y="455331"/>
                  </a:lnTo>
                  <a:lnTo>
                    <a:pt x="807052" y="450444"/>
                  </a:lnTo>
                  <a:lnTo>
                    <a:pt x="804771" y="447837"/>
                  </a:lnTo>
                  <a:lnTo>
                    <a:pt x="806563" y="443765"/>
                  </a:lnTo>
                  <a:lnTo>
                    <a:pt x="814383" y="441484"/>
                  </a:lnTo>
                  <a:lnTo>
                    <a:pt x="818456" y="442624"/>
                  </a:lnTo>
                  <a:lnTo>
                    <a:pt x="833932" y="441484"/>
                  </a:lnTo>
                  <a:lnTo>
                    <a:pt x="837679" y="443276"/>
                  </a:lnTo>
                  <a:lnTo>
                    <a:pt x="854621" y="443276"/>
                  </a:lnTo>
                  <a:lnTo>
                    <a:pt x="866351" y="438551"/>
                  </a:lnTo>
                  <a:lnTo>
                    <a:pt x="880361" y="442624"/>
                  </a:lnTo>
                  <a:lnTo>
                    <a:pt x="878895" y="448163"/>
                  </a:lnTo>
                  <a:lnTo>
                    <a:pt x="882153" y="450770"/>
                  </a:lnTo>
                  <a:lnTo>
                    <a:pt x="885411" y="456634"/>
                  </a:lnTo>
                  <a:lnTo>
                    <a:pt x="898770" y="463639"/>
                  </a:lnTo>
                  <a:lnTo>
                    <a:pt x="899584" y="467386"/>
                  </a:lnTo>
                  <a:lnTo>
                    <a:pt x="896326" y="471133"/>
                  </a:lnTo>
                  <a:lnTo>
                    <a:pt x="900399" y="470319"/>
                  </a:lnTo>
                  <a:lnTo>
                    <a:pt x="904797" y="468038"/>
                  </a:lnTo>
                  <a:lnTo>
                    <a:pt x="910011" y="470970"/>
                  </a:lnTo>
                  <a:lnTo>
                    <a:pt x="908219" y="477650"/>
                  </a:lnTo>
                  <a:lnTo>
                    <a:pt x="901213" y="484981"/>
                  </a:lnTo>
                  <a:lnTo>
                    <a:pt x="901539" y="487587"/>
                  </a:lnTo>
                  <a:lnTo>
                    <a:pt x="911477" y="481397"/>
                  </a:lnTo>
                  <a:lnTo>
                    <a:pt x="911477" y="475532"/>
                  </a:lnTo>
                  <a:lnTo>
                    <a:pt x="915224" y="472274"/>
                  </a:lnTo>
                  <a:lnTo>
                    <a:pt x="922229" y="473088"/>
                  </a:lnTo>
                  <a:lnTo>
                    <a:pt x="928908" y="470807"/>
                  </a:lnTo>
                  <a:lnTo>
                    <a:pt x="931840" y="471948"/>
                  </a:lnTo>
                  <a:lnTo>
                    <a:pt x="933306" y="476672"/>
                  </a:lnTo>
                  <a:lnTo>
                    <a:pt x="942918" y="486610"/>
                  </a:lnTo>
                  <a:lnTo>
                    <a:pt x="944059" y="499154"/>
                  </a:lnTo>
                  <a:lnTo>
                    <a:pt x="941778" y="503878"/>
                  </a:lnTo>
                  <a:lnTo>
                    <a:pt x="945525" y="512349"/>
                  </a:lnTo>
                  <a:lnTo>
                    <a:pt x="945199" y="519680"/>
                  </a:lnTo>
                  <a:lnTo>
                    <a:pt x="943407" y="522287"/>
                  </a:lnTo>
                  <a:lnTo>
                    <a:pt x="946013" y="525545"/>
                  </a:lnTo>
                  <a:lnTo>
                    <a:pt x="946013" y="530758"/>
                  </a:lnTo>
                  <a:lnTo>
                    <a:pt x="947154" y="535482"/>
                  </a:lnTo>
                  <a:lnTo>
                    <a:pt x="942755" y="541347"/>
                  </a:lnTo>
                  <a:lnTo>
                    <a:pt x="933144" y="543628"/>
                  </a:lnTo>
                  <a:lnTo>
                    <a:pt x="929397" y="546234"/>
                  </a:lnTo>
                  <a:lnTo>
                    <a:pt x="918645" y="547538"/>
                  </a:lnTo>
                  <a:lnTo>
                    <a:pt x="910825" y="546886"/>
                  </a:lnTo>
                  <a:lnTo>
                    <a:pt x="896815" y="553077"/>
                  </a:lnTo>
                  <a:lnTo>
                    <a:pt x="887855" y="553728"/>
                  </a:lnTo>
                  <a:lnTo>
                    <a:pt x="876777" y="558941"/>
                  </a:lnTo>
                  <a:lnTo>
                    <a:pt x="872378" y="558941"/>
                  </a:lnTo>
                  <a:cubicBezTo>
                    <a:pt x="872378" y="558941"/>
                    <a:pt x="866840" y="562851"/>
                    <a:pt x="866840" y="562851"/>
                  </a:cubicBezTo>
                  <a:lnTo>
                    <a:pt x="858043" y="563177"/>
                  </a:lnTo>
                  <a:lnTo>
                    <a:pt x="854621" y="565621"/>
                  </a:lnTo>
                  <a:lnTo>
                    <a:pt x="852015" y="562851"/>
                  </a:lnTo>
                  <a:lnTo>
                    <a:pt x="848920" y="564317"/>
                  </a:lnTo>
                  <a:lnTo>
                    <a:pt x="840285" y="566109"/>
                  </a:lnTo>
                  <a:lnTo>
                    <a:pt x="837842" y="572789"/>
                  </a:lnTo>
                  <a:lnTo>
                    <a:pt x="833280" y="577839"/>
                  </a:lnTo>
                  <a:lnTo>
                    <a:pt x="830348" y="577839"/>
                  </a:lnTo>
                  <a:cubicBezTo>
                    <a:pt x="830348" y="577839"/>
                    <a:pt x="828556" y="585170"/>
                    <a:pt x="828556" y="585170"/>
                  </a:cubicBezTo>
                  <a:lnTo>
                    <a:pt x="821877" y="586636"/>
                  </a:lnTo>
                  <a:lnTo>
                    <a:pt x="816175" y="591849"/>
                  </a:lnTo>
                  <a:lnTo>
                    <a:pt x="809170" y="591360"/>
                  </a:lnTo>
                  <a:lnTo>
                    <a:pt x="804771" y="584681"/>
                  </a:lnTo>
                  <a:lnTo>
                    <a:pt x="802002" y="591197"/>
                  </a:lnTo>
                  <a:lnTo>
                    <a:pt x="801350" y="596410"/>
                  </a:lnTo>
                  <a:lnTo>
                    <a:pt x="795485" y="598691"/>
                  </a:lnTo>
                  <a:lnTo>
                    <a:pt x="788969" y="605370"/>
                  </a:lnTo>
                  <a:lnTo>
                    <a:pt x="787666" y="609280"/>
                  </a:lnTo>
                  <a:lnTo>
                    <a:pt x="781801" y="615797"/>
                  </a:lnTo>
                  <a:lnTo>
                    <a:pt x="782778" y="619381"/>
                  </a:lnTo>
                  <a:lnTo>
                    <a:pt x="775448" y="626386"/>
                  </a:lnTo>
                  <a:lnTo>
                    <a:pt x="770886" y="631762"/>
                  </a:lnTo>
                  <a:lnTo>
                    <a:pt x="763392" y="631273"/>
                  </a:lnTo>
                  <a:lnTo>
                    <a:pt x="756713" y="634531"/>
                  </a:lnTo>
                  <a:lnTo>
                    <a:pt x="752477" y="634531"/>
                  </a:lnTo>
                  <a:cubicBezTo>
                    <a:pt x="752477" y="634531"/>
                    <a:pt x="749545" y="630133"/>
                    <a:pt x="749545" y="630133"/>
                  </a:cubicBezTo>
                  <a:lnTo>
                    <a:pt x="753455" y="627037"/>
                  </a:lnTo>
                  <a:lnTo>
                    <a:pt x="753129" y="620847"/>
                  </a:lnTo>
                  <a:lnTo>
                    <a:pt x="750360" y="617914"/>
                  </a:lnTo>
                  <a:lnTo>
                    <a:pt x="746124" y="621824"/>
                  </a:lnTo>
                  <a:lnTo>
                    <a:pt x="746124" y="624268"/>
                  </a:lnTo>
                  <a:cubicBezTo>
                    <a:pt x="746124" y="624268"/>
                    <a:pt x="743191" y="625734"/>
                    <a:pt x="743191" y="625734"/>
                  </a:cubicBezTo>
                  <a:lnTo>
                    <a:pt x="735698" y="632576"/>
                  </a:lnTo>
                  <a:lnTo>
                    <a:pt x="729181" y="634205"/>
                  </a:lnTo>
                  <a:lnTo>
                    <a:pt x="724620" y="633391"/>
                  </a:lnTo>
                  <a:lnTo>
                    <a:pt x="719244" y="634857"/>
                  </a:lnTo>
                  <a:lnTo>
                    <a:pt x="715171" y="638767"/>
                  </a:lnTo>
                  <a:lnTo>
                    <a:pt x="712728" y="637626"/>
                  </a:lnTo>
                  <a:lnTo>
                    <a:pt x="708818" y="637626"/>
                  </a:lnTo>
                  <a:cubicBezTo>
                    <a:pt x="708818" y="637626"/>
                    <a:pt x="709306" y="635346"/>
                    <a:pt x="709306" y="635346"/>
                  </a:cubicBezTo>
                  <a:lnTo>
                    <a:pt x="709306" y="635346"/>
                  </a:lnTo>
                  <a:close/>
                  <a:moveTo>
                    <a:pt x="1359314" y="558127"/>
                  </a:moveTo>
                  <a:lnTo>
                    <a:pt x="1361432" y="559267"/>
                  </a:lnTo>
                  <a:lnTo>
                    <a:pt x="1363387" y="563014"/>
                  </a:lnTo>
                  <a:lnTo>
                    <a:pt x="1362083" y="567575"/>
                  </a:lnTo>
                  <a:lnTo>
                    <a:pt x="1360291" y="568879"/>
                  </a:lnTo>
                  <a:lnTo>
                    <a:pt x="1358499" y="566435"/>
                  </a:lnTo>
                  <a:lnTo>
                    <a:pt x="1357033" y="560733"/>
                  </a:lnTo>
                  <a:lnTo>
                    <a:pt x="1359314" y="558127"/>
                  </a:lnTo>
                  <a:lnTo>
                    <a:pt x="1359314" y="558127"/>
                  </a:lnTo>
                  <a:close/>
                  <a:moveTo>
                    <a:pt x="1309138" y="558941"/>
                  </a:moveTo>
                  <a:lnTo>
                    <a:pt x="1312396" y="553565"/>
                  </a:lnTo>
                  <a:lnTo>
                    <a:pt x="1318424" y="551122"/>
                  </a:lnTo>
                  <a:lnTo>
                    <a:pt x="1322008" y="553565"/>
                  </a:lnTo>
                  <a:lnTo>
                    <a:pt x="1320379" y="556498"/>
                  </a:lnTo>
                  <a:lnTo>
                    <a:pt x="1316795" y="556498"/>
                  </a:lnTo>
                  <a:cubicBezTo>
                    <a:pt x="1316795" y="556498"/>
                    <a:pt x="1313374" y="559267"/>
                    <a:pt x="1313374" y="559267"/>
                  </a:cubicBezTo>
                  <a:lnTo>
                    <a:pt x="1309301" y="558778"/>
                  </a:lnTo>
                  <a:lnTo>
                    <a:pt x="1309301" y="558778"/>
                  </a:lnTo>
                  <a:close/>
                  <a:moveTo>
                    <a:pt x="1260591" y="587125"/>
                  </a:moveTo>
                  <a:lnTo>
                    <a:pt x="1262546" y="590383"/>
                  </a:lnTo>
                  <a:lnTo>
                    <a:pt x="1268899" y="592175"/>
                  </a:lnTo>
                  <a:lnTo>
                    <a:pt x="1275416" y="597062"/>
                  </a:lnTo>
                  <a:lnTo>
                    <a:pt x="1277696" y="594456"/>
                  </a:lnTo>
                  <a:lnTo>
                    <a:pt x="1282421" y="596247"/>
                  </a:lnTo>
                  <a:lnTo>
                    <a:pt x="1288448" y="593152"/>
                  </a:lnTo>
                  <a:lnTo>
                    <a:pt x="1292358" y="594618"/>
                  </a:lnTo>
                  <a:lnTo>
                    <a:pt x="1295942" y="593641"/>
                  </a:lnTo>
                  <a:lnTo>
                    <a:pt x="1299363" y="589731"/>
                  </a:lnTo>
                  <a:lnTo>
                    <a:pt x="1305717" y="590057"/>
                  </a:lnTo>
                  <a:lnTo>
                    <a:pt x="1305228" y="586310"/>
                  </a:lnTo>
                  <a:lnTo>
                    <a:pt x="1297897" y="581912"/>
                  </a:lnTo>
                  <a:lnTo>
                    <a:pt x="1293825" y="584355"/>
                  </a:lnTo>
                  <a:lnTo>
                    <a:pt x="1287797" y="585170"/>
                  </a:lnTo>
                  <a:lnTo>
                    <a:pt x="1285353" y="583704"/>
                  </a:lnTo>
                  <a:lnTo>
                    <a:pt x="1280303" y="586636"/>
                  </a:lnTo>
                  <a:lnTo>
                    <a:pt x="1273461" y="583378"/>
                  </a:lnTo>
                  <a:lnTo>
                    <a:pt x="1268248" y="587125"/>
                  </a:lnTo>
                  <a:lnTo>
                    <a:pt x="1262383" y="586473"/>
                  </a:lnTo>
                  <a:lnTo>
                    <a:pt x="1260754" y="587287"/>
                  </a:lnTo>
                  <a:lnTo>
                    <a:pt x="1260754" y="587287"/>
                  </a:lnTo>
                  <a:close/>
                  <a:moveTo>
                    <a:pt x="1231919" y="765347"/>
                  </a:moveTo>
                  <a:lnTo>
                    <a:pt x="1230290" y="763555"/>
                  </a:lnTo>
                  <a:lnTo>
                    <a:pt x="1231593" y="760460"/>
                  </a:lnTo>
                  <a:lnTo>
                    <a:pt x="1233874" y="759645"/>
                  </a:lnTo>
                  <a:lnTo>
                    <a:pt x="1233874" y="764370"/>
                  </a:lnTo>
                  <a:lnTo>
                    <a:pt x="1232082" y="765184"/>
                  </a:lnTo>
                  <a:lnTo>
                    <a:pt x="1232082" y="765184"/>
                  </a:lnTo>
                  <a:close/>
                  <a:moveTo>
                    <a:pt x="1201618" y="760297"/>
                  </a:moveTo>
                  <a:lnTo>
                    <a:pt x="1198523" y="757690"/>
                  </a:lnTo>
                  <a:lnTo>
                    <a:pt x="1198197" y="751989"/>
                  </a:lnTo>
                  <a:lnTo>
                    <a:pt x="1196242" y="749708"/>
                  </a:lnTo>
                  <a:lnTo>
                    <a:pt x="1193147" y="752477"/>
                  </a:lnTo>
                  <a:lnTo>
                    <a:pt x="1192006" y="749708"/>
                  </a:lnTo>
                  <a:lnTo>
                    <a:pt x="1193310" y="744658"/>
                  </a:lnTo>
                  <a:lnTo>
                    <a:pt x="1192169" y="739282"/>
                  </a:lnTo>
                  <a:lnTo>
                    <a:pt x="1188748" y="735535"/>
                  </a:lnTo>
                  <a:lnTo>
                    <a:pt x="1191680" y="729833"/>
                  </a:lnTo>
                  <a:lnTo>
                    <a:pt x="1190703" y="722502"/>
                  </a:lnTo>
                  <a:lnTo>
                    <a:pt x="1192332" y="719407"/>
                  </a:lnTo>
                  <a:lnTo>
                    <a:pt x="1188585" y="717615"/>
                  </a:lnTo>
                  <a:lnTo>
                    <a:pt x="1186304" y="713216"/>
                  </a:lnTo>
                  <a:lnTo>
                    <a:pt x="1186304" y="709144"/>
                  </a:lnTo>
                  <a:lnTo>
                    <a:pt x="1182069" y="703768"/>
                  </a:lnTo>
                  <a:lnTo>
                    <a:pt x="1182395" y="695785"/>
                  </a:lnTo>
                  <a:lnTo>
                    <a:pt x="1179136" y="689757"/>
                  </a:lnTo>
                  <a:lnTo>
                    <a:pt x="1176530" y="689757"/>
                  </a:lnTo>
                  <a:lnTo>
                    <a:pt x="1174901" y="687314"/>
                  </a:lnTo>
                  <a:lnTo>
                    <a:pt x="1175227" y="681612"/>
                  </a:lnTo>
                  <a:lnTo>
                    <a:pt x="1172457" y="680146"/>
                  </a:lnTo>
                  <a:lnTo>
                    <a:pt x="1168547" y="682589"/>
                  </a:lnTo>
                  <a:lnTo>
                    <a:pt x="1166593" y="680634"/>
                  </a:lnTo>
                  <a:lnTo>
                    <a:pt x="1162845" y="681286"/>
                  </a:lnTo>
                  <a:lnTo>
                    <a:pt x="1160402" y="678842"/>
                  </a:lnTo>
                  <a:lnTo>
                    <a:pt x="1160076" y="673304"/>
                  </a:lnTo>
                  <a:lnTo>
                    <a:pt x="1165289" y="670534"/>
                  </a:lnTo>
                  <a:lnTo>
                    <a:pt x="1166429" y="663366"/>
                  </a:lnTo>
                  <a:lnTo>
                    <a:pt x="1163823" y="659945"/>
                  </a:lnTo>
                  <a:lnTo>
                    <a:pt x="1165126" y="657013"/>
                  </a:lnTo>
                  <a:lnTo>
                    <a:pt x="1165126" y="648378"/>
                  </a:lnTo>
                  <a:lnTo>
                    <a:pt x="1163334" y="644957"/>
                  </a:lnTo>
                  <a:lnTo>
                    <a:pt x="1169362" y="637138"/>
                  </a:lnTo>
                  <a:lnTo>
                    <a:pt x="1174412" y="635346"/>
                  </a:lnTo>
                  <a:lnTo>
                    <a:pt x="1176367" y="632087"/>
                  </a:lnTo>
                  <a:lnTo>
                    <a:pt x="1178974" y="631273"/>
                  </a:lnTo>
                  <a:lnTo>
                    <a:pt x="1180440" y="633717"/>
                  </a:lnTo>
                  <a:lnTo>
                    <a:pt x="1187934" y="631273"/>
                  </a:lnTo>
                  <a:lnTo>
                    <a:pt x="1192332" y="632576"/>
                  </a:lnTo>
                  <a:lnTo>
                    <a:pt x="1194613" y="635672"/>
                  </a:lnTo>
                  <a:lnTo>
                    <a:pt x="1192658" y="638115"/>
                  </a:lnTo>
                  <a:lnTo>
                    <a:pt x="1190377" y="638767"/>
                  </a:lnTo>
                  <a:lnTo>
                    <a:pt x="1190377" y="641373"/>
                  </a:lnTo>
                  <a:cubicBezTo>
                    <a:pt x="1190377" y="641373"/>
                    <a:pt x="1194450" y="642188"/>
                    <a:pt x="1194450" y="642188"/>
                  </a:cubicBezTo>
                  <a:lnTo>
                    <a:pt x="1195427" y="645120"/>
                  </a:lnTo>
                  <a:lnTo>
                    <a:pt x="1194939" y="649519"/>
                  </a:lnTo>
                  <a:lnTo>
                    <a:pt x="1201129" y="656361"/>
                  </a:lnTo>
                  <a:lnTo>
                    <a:pt x="1201129" y="660760"/>
                  </a:lnTo>
                  <a:cubicBezTo>
                    <a:pt x="1201129" y="660760"/>
                    <a:pt x="1204224" y="664995"/>
                    <a:pt x="1204224" y="664995"/>
                  </a:cubicBezTo>
                  <a:lnTo>
                    <a:pt x="1208949" y="665810"/>
                  </a:lnTo>
                  <a:lnTo>
                    <a:pt x="1211229" y="664018"/>
                  </a:lnTo>
                  <a:lnTo>
                    <a:pt x="1210252" y="659782"/>
                  </a:lnTo>
                  <a:lnTo>
                    <a:pt x="1213021" y="657827"/>
                  </a:lnTo>
                  <a:lnTo>
                    <a:pt x="1216280" y="652288"/>
                  </a:lnTo>
                  <a:lnTo>
                    <a:pt x="1215302" y="649030"/>
                  </a:lnTo>
                  <a:lnTo>
                    <a:pt x="1218723" y="645772"/>
                  </a:lnTo>
                  <a:lnTo>
                    <a:pt x="1219538" y="642025"/>
                  </a:lnTo>
                  <a:lnTo>
                    <a:pt x="1217746" y="637626"/>
                  </a:lnTo>
                  <a:lnTo>
                    <a:pt x="1219538" y="635346"/>
                  </a:lnTo>
                  <a:lnTo>
                    <a:pt x="1224099" y="634205"/>
                  </a:lnTo>
                  <a:lnTo>
                    <a:pt x="1227358" y="635509"/>
                  </a:lnTo>
                  <a:lnTo>
                    <a:pt x="1229801" y="640722"/>
                  </a:lnTo>
                  <a:lnTo>
                    <a:pt x="1233222" y="640722"/>
                  </a:lnTo>
                  <a:lnTo>
                    <a:pt x="1232734" y="637626"/>
                  </a:lnTo>
                  <a:lnTo>
                    <a:pt x="1228987" y="631599"/>
                  </a:lnTo>
                  <a:lnTo>
                    <a:pt x="1227846" y="626874"/>
                  </a:lnTo>
                  <a:lnTo>
                    <a:pt x="1226380" y="626874"/>
                  </a:lnTo>
                  <a:lnTo>
                    <a:pt x="1223936" y="631436"/>
                  </a:lnTo>
                  <a:lnTo>
                    <a:pt x="1218235" y="631925"/>
                  </a:lnTo>
                  <a:lnTo>
                    <a:pt x="1213836" y="625734"/>
                  </a:lnTo>
                  <a:lnTo>
                    <a:pt x="1213836" y="622476"/>
                  </a:lnTo>
                  <a:lnTo>
                    <a:pt x="1209763" y="617263"/>
                  </a:lnTo>
                  <a:lnTo>
                    <a:pt x="1209763" y="611398"/>
                  </a:lnTo>
                  <a:cubicBezTo>
                    <a:pt x="1209763" y="611398"/>
                    <a:pt x="1212696" y="608303"/>
                    <a:pt x="1212696" y="608303"/>
                  </a:cubicBezTo>
                  <a:lnTo>
                    <a:pt x="1216605" y="608791"/>
                  </a:lnTo>
                  <a:lnTo>
                    <a:pt x="1217746" y="604719"/>
                  </a:lnTo>
                  <a:lnTo>
                    <a:pt x="1221656" y="606999"/>
                  </a:lnTo>
                  <a:lnTo>
                    <a:pt x="1224262" y="611398"/>
                  </a:lnTo>
                  <a:lnTo>
                    <a:pt x="1225891" y="621335"/>
                  </a:lnTo>
                  <a:lnTo>
                    <a:pt x="1227032" y="621335"/>
                  </a:lnTo>
                  <a:cubicBezTo>
                    <a:pt x="1227032" y="621335"/>
                    <a:pt x="1228172" y="616122"/>
                    <a:pt x="1228172" y="616122"/>
                  </a:cubicBezTo>
                  <a:lnTo>
                    <a:pt x="1229964" y="613679"/>
                  </a:lnTo>
                  <a:lnTo>
                    <a:pt x="1229964" y="608303"/>
                  </a:lnTo>
                  <a:cubicBezTo>
                    <a:pt x="1229964" y="608303"/>
                    <a:pt x="1226054" y="606348"/>
                    <a:pt x="1226054" y="606348"/>
                  </a:cubicBezTo>
                  <a:lnTo>
                    <a:pt x="1225566" y="601624"/>
                  </a:lnTo>
                  <a:lnTo>
                    <a:pt x="1224425" y="596573"/>
                  </a:lnTo>
                  <a:lnTo>
                    <a:pt x="1226706" y="595270"/>
                  </a:lnTo>
                  <a:lnTo>
                    <a:pt x="1228172" y="590057"/>
                  </a:lnTo>
                  <a:lnTo>
                    <a:pt x="1232896" y="588265"/>
                  </a:lnTo>
                  <a:lnTo>
                    <a:pt x="1235177" y="589405"/>
                  </a:lnTo>
                  <a:lnTo>
                    <a:pt x="1237621" y="588591"/>
                  </a:lnTo>
                  <a:lnTo>
                    <a:pt x="1241368" y="594130"/>
                  </a:lnTo>
                  <a:lnTo>
                    <a:pt x="1247395" y="595596"/>
                  </a:lnTo>
                  <a:lnTo>
                    <a:pt x="1249839" y="591360"/>
                  </a:lnTo>
                  <a:lnTo>
                    <a:pt x="1244789" y="591360"/>
                  </a:lnTo>
                  <a:cubicBezTo>
                    <a:pt x="1244789" y="591360"/>
                    <a:pt x="1242508" y="588754"/>
                    <a:pt x="1242508" y="588754"/>
                  </a:cubicBezTo>
                  <a:lnTo>
                    <a:pt x="1245115" y="586799"/>
                  </a:lnTo>
                  <a:lnTo>
                    <a:pt x="1249024" y="585007"/>
                  </a:lnTo>
                  <a:lnTo>
                    <a:pt x="1255704" y="585821"/>
                  </a:lnTo>
                  <a:lnTo>
                    <a:pt x="1257170" y="588265"/>
                  </a:lnTo>
                  <a:lnTo>
                    <a:pt x="1254889" y="590057"/>
                  </a:lnTo>
                  <a:lnTo>
                    <a:pt x="1254889" y="593152"/>
                  </a:lnTo>
                  <a:cubicBezTo>
                    <a:pt x="1254889" y="593152"/>
                    <a:pt x="1258636" y="595596"/>
                    <a:pt x="1258636" y="595596"/>
                  </a:cubicBezTo>
                  <a:lnTo>
                    <a:pt x="1262220" y="600483"/>
                  </a:lnTo>
                  <a:lnTo>
                    <a:pt x="1266293" y="599017"/>
                  </a:lnTo>
                  <a:lnTo>
                    <a:pt x="1271506" y="601461"/>
                  </a:lnTo>
                  <a:lnTo>
                    <a:pt x="1277534" y="601786"/>
                  </a:lnTo>
                  <a:lnTo>
                    <a:pt x="1280140" y="599343"/>
                  </a:lnTo>
                  <a:lnTo>
                    <a:pt x="1284050" y="600320"/>
                  </a:lnTo>
                  <a:lnTo>
                    <a:pt x="1296268" y="600320"/>
                  </a:lnTo>
                  <a:lnTo>
                    <a:pt x="1300178" y="604556"/>
                  </a:lnTo>
                  <a:lnTo>
                    <a:pt x="1303273" y="603578"/>
                  </a:lnTo>
                  <a:lnTo>
                    <a:pt x="1304251" y="606674"/>
                  </a:lnTo>
                  <a:lnTo>
                    <a:pt x="1303599" y="609443"/>
                  </a:lnTo>
                  <a:lnTo>
                    <a:pt x="1304902" y="613190"/>
                  </a:lnTo>
                  <a:lnTo>
                    <a:pt x="1302459" y="617263"/>
                  </a:lnTo>
                  <a:lnTo>
                    <a:pt x="1295942" y="621173"/>
                  </a:lnTo>
                  <a:lnTo>
                    <a:pt x="1292033" y="619543"/>
                  </a:lnTo>
                  <a:lnTo>
                    <a:pt x="1291055" y="617100"/>
                  </a:lnTo>
                  <a:lnTo>
                    <a:pt x="1288448" y="619706"/>
                  </a:lnTo>
                  <a:lnTo>
                    <a:pt x="1285353" y="620847"/>
                  </a:lnTo>
                  <a:lnTo>
                    <a:pt x="1286494" y="623616"/>
                  </a:lnTo>
                  <a:lnTo>
                    <a:pt x="1292033" y="627037"/>
                  </a:lnTo>
                  <a:lnTo>
                    <a:pt x="1290240" y="630133"/>
                  </a:lnTo>
                  <a:lnTo>
                    <a:pt x="1289263" y="636649"/>
                  </a:lnTo>
                  <a:lnTo>
                    <a:pt x="1286656" y="637952"/>
                  </a:lnTo>
                  <a:lnTo>
                    <a:pt x="1284864" y="636160"/>
                  </a:lnTo>
                  <a:lnTo>
                    <a:pt x="1281118" y="636486"/>
                  </a:lnTo>
                  <a:lnTo>
                    <a:pt x="1275742" y="637789"/>
                  </a:lnTo>
                  <a:lnTo>
                    <a:pt x="1273950" y="640559"/>
                  </a:lnTo>
                  <a:lnTo>
                    <a:pt x="1264175" y="642839"/>
                  </a:lnTo>
                  <a:lnTo>
                    <a:pt x="1258310" y="647564"/>
                  </a:lnTo>
                  <a:lnTo>
                    <a:pt x="1255378" y="647890"/>
                  </a:lnTo>
                  <a:lnTo>
                    <a:pt x="1251305" y="654080"/>
                  </a:lnTo>
                  <a:lnTo>
                    <a:pt x="1251305" y="657013"/>
                  </a:lnTo>
                  <a:cubicBezTo>
                    <a:pt x="1251305" y="657013"/>
                    <a:pt x="1254726" y="656687"/>
                    <a:pt x="1254726" y="656687"/>
                  </a:cubicBezTo>
                  <a:lnTo>
                    <a:pt x="1256029" y="654406"/>
                  </a:lnTo>
                  <a:lnTo>
                    <a:pt x="1263523" y="652777"/>
                  </a:lnTo>
                  <a:lnTo>
                    <a:pt x="1266293" y="651637"/>
                  </a:lnTo>
                  <a:lnTo>
                    <a:pt x="1274112" y="656035"/>
                  </a:lnTo>
                  <a:lnTo>
                    <a:pt x="1275579" y="661411"/>
                  </a:lnTo>
                  <a:lnTo>
                    <a:pt x="1273298" y="663040"/>
                  </a:lnTo>
                  <a:lnTo>
                    <a:pt x="1270040" y="663529"/>
                  </a:lnTo>
                  <a:lnTo>
                    <a:pt x="1273787" y="665158"/>
                  </a:lnTo>
                  <a:lnTo>
                    <a:pt x="1274764" y="669231"/>
                  </a:lnTo>
                  <a:lnTo>
                    <a:pt x="1274275" y="673955"/>
                  </a:lnTo>
                  <a:lnTo>
                    <a:pt x="1270366" y="676562"/>
                  </a:lnTo>
                  <a:lnTo>
                    <a:pt x="1270366" y="681775"/>
                  </a:lnTo>
                  <a:lnTo>
                    <a:pt x="1271832" y="684056"/>
                  </a:lnTo>
                  <a:lnTo>
                    <a:pt x="1274764" y="678354"/>
                  </a:lnTo>
                  <a:lnTo>
                    <a:pt x="1280303" y="676399"/>
                  </a:lnTo>
                  <a:lnTo>
                    <a:pt x="1282095" y="674118"/>
                  </a:lnTo>
                  <a:lnTo>
                    <a:pt x="1285027" y="674118"/>
                  </a:lnTo>
                  <a:cubicBezTo>
                    <a:pt x="1285027" y="674118"/>
                    <a:pt x="1282258" y="677539"/>
                    <a:pt x="1282258" y="677539"/>
                  </a:cubicBezTo>
                  <a:lnTo>
                    <a:pt x="1282747" y="684870"/>
                  </a:lnTo>
                  <a:lnTo>
                    <a:pt x="1279814" y="692690"/>
                  </a:lnTo>
                  <a:lnTo>
                    <a:pt x="1279814" y="697251"/>
                  </a:lnTo>
                  <a:lnTo>
                    <a:pt x="1271343" y="702301"/>
                  </a:lnTo>
                  <a:lnTo>
                    <a:pt x="1267270" y="702301"/>
                  </a:lnTo>
                  <a:cubicBezTo>
                    <a:pt x="1267270" y="702301"/>
                    <a:pt x="1265804" y="704908"/>
                    <a:pt x="1265804" y="704908"/>
                  </a:cubicBezTo>
                  <a:lnTo>
                    <a:pt x="1267433" y="707677"/>
                  </a:lnTo>
                  <a:lnTo>
                    <a:pt x="1265153" y="714520"/>
                  </a:lnTo>
                  <a:lnTo>
                    <a:pt x="1262383" y="715171"/>
                  </a:lnTo>
                  <a:lnTo>
                    <a:pt x="1261080" y="712890"/>
                  </a:lnTo>
                  <a:lnTo>
                    <a:pt x="1257821" y="714682"/>
                  </a:lnTo>
                  <a:lnTo>
                    <a:pt x="1257821" y="716963"/>
                  </a:lnTo>
                  <a:cubicBezTo>
                    <a:pt x="1257821" y="716963"/>
                    <a:pt x="1264501" y="720384"/>
                    <a:pt x="1264501" y="720384"/>
                  </a:cubicBezTo>
                  <a:lnTo>
                    <a:pt x="1263198" y="722991"/>
                  </a:lnTo>
                  <a:lnTo>
                    <a:pt x="1258147" y="723317"/>
                  </a:lnTo>
                  <a:lnTo>
                    <a:pt x="1261080" y="727878"/>
                  </a:lnTo>
                  <a:lnTo>
                    <a:pt x="1255541" y="732602"/>
                  </a:lnTo>
                  <a:lnTo>
                    <a:pt x="1253260" y="730322"/>
                  </a:lnTo>
                  <a:lnTo>
                    <a:pt x="1250165" y="733091"/>
                  </a:lnTo>
                  <a:lnTo>
                    <a:pt x="1245440" y="733091"/>
                  </a:lnTo>
                  <a:cubicBezTo>
                    <a:pt x="1245440" y="733091"/>
                    <a:pt x="1239576" y="735698"/>
                    <a:pt x="1239576" y="735698"/>
                  </a:cubicBezTo>
                  <a:lnTo>
                    <a:pt x="1239576" y="739608"/>
                  </a:lnTo>
                  <a:cubicBezTo>
                    <a:pt x="1239576" y="739608"/>
                    <a:pt x="1232408" y="741888"/>
                    <a:pt x="1232408" y="741888"/>
                  </a:cubicBezTo>
                  <a:lnTo>
                    <a:pt x="1226543" y="737816"/>
                  </a:lnTo>
                  <a:lnTo>
                    <a:pt x="1221493" y="740585"/>
                  </a:lnTo>
                  <a:lnTo>
                    <a:pt x="1218235" y="739445"/>
                  </a:lnTo>
                  <a:lnTo>
                    <a:pt x="1216280" y="729507"/>
                  </a:lnTo>
                  <a:lnTo>
                    <a:pt x="1220678" y="723317"/>
                  </a:lnTo>
                  <a:lnTo>
                    <a:pt x="1221004" y="719570"/>
                  </a:lnTo>
                  <a:lnTo>
                    <a:pt x="1212533" y="727715"/>
                  </a:lnTo>
                  <a:lnTo>
                    <a:pt x="1211881" y="732440"/>
                  </a:lnTo>
                  <a:lnTo>
                    <a:pt x="1215628" y="742051"/>
                  </a:lnTo>
                  <a:lnTo>
                    <a:pt x="1218235" y="744658"/>
                  </a:lnTo>
                  <a:lnTo>
                    <a:pt x="1216931" y="749219"/>
                  </a:lnTo>
                  <a:lnTo>
                    <a:pt x="1211067" y="752966"/>
                  </a:lnTo>
                  <a:lnTo>
                    <a:pt x="1208623" y="758342"/>
                  </a:lnTo>
                  <a:cubicBezTo>
                    <a:pt x="1208623" y="758342"/>
                    <a:pt x="1201944" y="760297"/>
                    <a:pt x="1201781" y="760297"/>
                  </a:cubicBezTo>
                  <a:lnTo>
                    <a:pt x="1201781" y="760297"/>
                  </a:lnTo>
                  <a:close/>
                  <a:moveTo>
                    <a:pt x="1287308" y="641373"/>
                  </a:moveTo>
                  <a:lnTo>
                    <a:pt x="1286982" y="643654"/>
                  </a:lnTo>
                  <a:lnTo>
                    <a:pt x="1289426" y="644143"/>
                  </a:lnTo>
                  <a:lnTo>
                    <a:pt x="1290403" y="641699"/>
                  </a:lnTo>
                  <a:lnTo>
                    <a:pt x="1287308" y="641373"/>
                  </a:lnTo>
                  <a:lnTo>
                    <a:pt x="1287308" y="641373"/>
                  </a:lnTo>
                  <a:close/>
                  <a:moveTo>
                    <a:pt x="1283561" y="662226"/>
                  </a:moveTo>
                  <a:lnTo>
                    <a:pt x="1286005" y="661411"/>
                  </a:lnTo>
                  <a:lnTo>
                    <a:pt x="1290078" y="656035"/>
                  </a:lnTo>
                  <a:lnTo>
                    <a:pt x="1290566" y="652451"/>
                  </a:lnTo>
                  <a:lnTo>
                    <a:pt x="1288937" y="650170"/>
                  </a:lnTo>
                  <a:lnTo>
                    <a:pt x="1287797" y="646261"/>
                  </a:lnTo>
                  <a:lnTo>
                    <a:pt x="1284213" y="647727"/>
                  </a:lnTo>
                  <a:lnTo>
                    <a:pt x="1282910" y="651637"/>
                  </a:lnTo>
                  <a:lnTo>
                    <a:pt x="1280303" y="653266"/>
                  </a:lnTo>
                  <a:lnTo>
                    <a:pt x="1280792" y="659130"/>
                  </a:lnTo>
                  <a:lnTo>
                    <a:pt x="1283236" y="662063"/>
                  </a:lnTo>
                  <a:lnTo>
                    <a:pt x="1283236" y="662063"/>
                  </a:lnTo>
                  <a:close/>
                  <a:moveTo>
                    <a:pt x="1280466" y="673141"/>
                  </a:moveTo>
                  <a:lnTo>
                    <a:pt x="1282747" y="671349"/>
                  </a:lnTo>
                  <a:lnTo>
                    <a:pt x="1285190" y="664995"/>
                  </a:lnTo>
                  <a:lnTo>
                    <a:pt x="1281444" y="664995"/>
                  </a:lnTo>
                  <a:cubicBezTo>
                    <a:pt x="1281444" y="664995"/>
                    <a:pt x="1277696" y="668253"/>
                    <a:pt x="1277696" y="668253"/>
                  </a:cubicBezTo>
                  <a:lnTo>
                    <a:pt x="1277371" y="671512"/>
                  </a:lnTo>
                  <a:lnTo>
                    <a:pt x="1280466" y="672978"/>
                  </a:lnTo>
                  <a:lnTo>
                    <a:pt x="1280466" y="672978"/>
                  </a:lnTo>
                  <a:close/>
                  <a:moveTo>
                    <a:pt x="1085301" y="563829"/>
                  </a:moveTo>
                  <a:lnTo>
                    <a:pt x="1085301" y="566924"/>
                  </a:lnTo>
                  <a:cubicBezTo>
                    <a:pt x="1085301" y="566924"/>
                    <a:pt x="1086930" y="568553"/>
                    <a:pt x="1086930" y="568553"/>
                  </a:cubicBezTo>
                  <a:lnTo>
                    <a:pt x="1090025" y="567250"/>
                  </a:lnTo>
                  <a:lnTo>
                    <a:pt x="1093609" y="568716"/>
                  </a:lnTo>
                  <a:lnTo>
                    <a:pt x="1095401" y="566761"/>
                  </a:lnTo>
                  <a:lnTo>
                    <a:pt x="1093283" y="563829"/>
                  </a:lnTo>
                  <a:lnTo>
                    <a:pt x="1087256" y="562851"/>
                  </a:lnTo>
                  <a:lnTo>
                    <a:pt x="1085301" y="563991"/>
                  </a:lnTo>
                  <a:lnTo>
                    <a:pt x="1085301" y="563991"/>
                  </a:lnTo>
                  <a:close/>
                  <a:moveTo>
                    <a:pt x="1118208" y="627689"/>
                  </a:moveTo>
                  <a:lnTo>
                    <a:pt x="1114462" y="623128"/>
                  </a:lnTo>
                  <a:lnTo>
                    <a:pt x="1113973" y="612538"/>
                  </a:lnTo>
                  <a:lnTo>
                    <a:pt x="1111040" y="607325"/>
                  </a:lnTo>
                  <a:lnTo>
                    <a:pt x="1111040" y="603253"/>
                  </a:lnTo>
                  <a:lnTo>
                    <a:pt x="1112018" y="600483"/>
                  </a:lnTo>
                  <a:lnTo>
                    <a:pt x="1110552" y="594618"/>
                  </a:lnTo>
                  <a:lnTo>
                    <a:pt x="1110552" y="588754"/>
                  </a:lnTo>
                  <a:lnTo>
                    <a:pt x="1106479" y="582889"/>
                  </a:lnTo>
                  <a:lnTo>
                    <a:pt x="1102080" y="578979"/>
                  </a:lnTo>
                  <a:lnTo>
                    <a:pt x="1102080" y="576210"/>
                  </a:lnTo>
                  <a:cubicBezTo>
                    <a:pt x="1102080" y="576210"/>
                    <a:pt x="1110226" y="570019"/>
                    <a:pt x="1110226" y="570019"/>
                  </a:cubicBezTo>
                  <a:lnTo>
                    <a:pt x="1114136" y="568553"/>
                  </a:lnTo>
                  <a:lnTo>
                    <a:pt x="1118860" y="563991"/>
                  </a:lnTo>
                  <a:lnTo>
                    <a:pt x="1125702" y="563177"/>
                  </a:lnTo>
                  <a:lnTo>
                    <a:pt x="1129612" y="566272"/>
                  </a:lnTo>
                  <a:lnTo>
                    <a:pt x="1133033" y="566272"/>
                  </a:lnTo>
                  <a:cubicBezTo>
                    <a:pt x="1133033" y="566272"/>
                    <a:pt x="1137432" y="569367"/>
                    <a:pt x="1137432" y="569367"/>
                  </a:cubicBezTo>
                  <a:lnTo>
                    <a:pt x="1140364" y="568390"/>
                  </a:lnTo>
                  <a:lnTo>
                    <a:pt x="1145414" y="570345"/>
                  </a:lnTo>
                  <a:lnTo>
                    <a:pt x="1148347" y="569367"/>
                  </a:lnTo>
                  <a:lnTo>
                    <a:pt x="1152094" y="569367"/>
                  </a:lnTo>
                  <a:cubicBezTo>
                    <a:pt x="1152094" y="569367"/>
                    <a:pt x="1156655" y="576047"/>
                    <a:pt x="1156655" y="576047"/>
                  </a:cubicBezTo>
                  <a:lnTo>
                    <a:pt x="1156655" y="579794"/>
                  </a:lnTo>
                  <a:cubicBezTo>
                    <a:pt x="1156655" y="579794"/>
                    <a:pt x="1155189" y="582074"/>
                    <a:pt x="1155189" y="582074"/>
                  </a:cubicBezTo>
                  <a:lnTo>
                    <a:pt x="1158121" y="587287"/>
                  </a:lnTo>
                  <a:lnTo>
                    <a:pt x="1158121" y="590383"/>
                  </a:lnTo>
                  <a:lnTo>
                    <a:pt x="1155840" y="592338"/>
                  </a:lnTo>
                  <a:lnTo>
                    <a:pt x="1155840" y="596247"/>
                  </a:lnTo>
                  <a:cubicBezTo>
                    <a:pt x="1155840" y="596247"/>
                    <a:pt x="1149813" y="602112"/>
                    <a:pt x="1149813" y="602112"/>
                  </a:cubicBezTo>
                  <a:lnTo>
                    <a:pt x="1147206" y="602112"/>
                  </a:lnTo>
                  <a:lnTo>
                    <a:pt x="1140038" y="608954"/>
                  </a:lnTo>
                  <a:lnTo>
                    <a:pt x="1133522" y="613027"/>
                  </a:lnTo>
                  <a:lnTo>
                    <a:pt x="1127657" y="620195"/>
                  </a:lnTo>
                  <a:lnTo>
                    <a:pt x="1122933" y="620195"/>
                  </a:lnTo>
                  <a:lnTo>
                    <a:pt x="1119837" y="622476"/>
                  </a:lnTo>
                  <a:lnTo>
                    <a:pt x="1120163" y="626223"/>
                  </a:lnTo>
                  <a:lnTo>
                    <a:pt x="1118371" y="627689"/>
                  </a:lnTo>
                  <a:lnTo>
                    <a:pt x="1118371" y="627689"/>
                  </a:lnTo>
                  <a:close/>
                  <a:moveTo>
                    <a:pt x="1301807" y="732602"/>
                  </a:moveTo>
                  <a:lnTo>
                    <a:pt x="1293987" y="725923"/>
                  </a:lnTo>
                  <a:lnTo>
                    <a:pt x="1290240" y="727389"/>
                  </a:lnTo>
                  <a:lnTo>
                    <a:pt x="1281444" y="726249"/>
                  </a:lnTo>
                  <a:lnTo>
                    <a:pt x="1284864" y="720873"/>
                  </a:lnTo>
                  <a:lnTo>
                    <a:pt x="1288937" y="719081"/>
                  </a:lnTo>
                  <a:lnTo>
                    <a:pt x="1291870" y="720384"/>
                  </a:lnTo>
                  <a:lnTo>
                    <a:pt x="1293499" y="718755"/>
                  </a:lnTo>
                  <a:lnTo>
                    <a:pt x="1292684" y="716474"/>
                  </a:lnTo>
                  <a:lnTo>
                    <a:pt x="1288286" y="716474"/>
                  </a:lnTo>
                  <a:cubicBezTo>
                    <a:pt x="1288286" y="716474"/>
                    <a:pt x="1286982" y="714845"/>
                    <a:pt x="1286982" y="714845"/>
                  </a:cubicBezTo>
                  <a:lnTo>
                    <a:pt x="1293173" y="706374"/>
                  </a:lnTo>
                  <a:lnTo>
                    <a:pt x="1295942" y="697903"/>
                  </a:lnTo>
                  <a:lnTo>
                    <a:pt x="1295942" y="693341"/>
                  </a:lnTo>
                  <a:cubicBezTo>
                    <a:pt x="1295942" y="693341"/>
                    <a:pt x="1298386" y="691875"/>
                    <a:pt x="1298386" y="691875"/>
                  </a:cubicBezTo>
                  <a:lnTo>
                    <a:pt x="1298386" y="688943"/>
                  </a:lnTo>
                  <a:lnTo>
                    <a:pt x="1294313" y="685847"/>
                  </a:lnTo>
                  <a:lnTo>
                    <a:pt x="1296920" y="682426"/>
                  </a:lnTo>
                  <a:lnTo>
                    <a:pt x="1296920" y="676562"/>
                  </a:lnTo>
                  <a:cubicBezTo>
                    <a:pt x="1296920" y="676562"/>
                    <a:pt x="1301644" y="666298"/>
                    <a:pt x="1301644" y="666298"/>
                  </a:cubicBezTo>
                  <a:lnTo>
                    <a:pt x="1305065" y="663855"/>
                  </a:lnTo>
                  <a:lnTo>
                    <a:pt x="1305065" y="659293"/>
                  </a:lnTo>
                  <a:lnTo>
                    <a:pt x="1309301" y="656198"/>
                  </a:lnTo>
                  <a:lnTo>
                    <a:pt x="1311745" y="650822"/>
                  </a:lnTo>
                  <a:lnTo>
                    <a:pt x="1313374" y="647564"/>
                  </a:lnTo>
                  <a:lnTo>
                    <a:pt x="1314025" y="642025"/>
                  </a:lnTo>
                  <a:lnTo>
                    <a:pt x="1320542" y="635020"/>
                  </a:lnTo>
                  <a:lnTo>
                    <a:pt x="1322008" y="628015"/>
                  </a:lnTo>
                  <a:lnTo>
                    <a:pt x="1326244" y="627200"/>
                  </a:lnTo>
                  <a:lnTo>
                    <a:pt x="1326732" y="623942"/>
                  </a:lnTo>
                  <a:lnTo>
                    <a:pt x="1325429" y="621987"/>
                  </a:lnTo>
                  <a:lnTo>
                    <a:pt x="1329176" y="615797"/>
                  </a:lnTo>
                  <a:lnTo>
                    <a:pt x="1332271" y="616937"/>
                  </a:lnTo>
                  <a:lnTo>
                    <a:pt x="1336344" y="622965"/>
                  </a:lnTo>
                  <a:lnTo>
                    <a:pt x="1337647" y="627689"/>
                  </a:lnTo>
                  <a:lnTo>
                    <a:pt x="1343023" y="628178"/>
                  </a:lnTo>
                  <a:lnTo>
                    <a:pt x="1342045" y="622639"/>
                  </a:lnTo>
                  <a:lnTo>
                    <a:pt x="1338136" y="618240"/>
                  </a:lnTo>
                  <a:lnTo>
                    <a:pt x="1338950" y="615960"/>
                  </a:lnTo>
                  <a:lnTo>
                    <a:pt x="1342697" y="614656"/>
                  </a:lnTo>
                  <a:lnTo>
                    <a:pt x="1338625" y="609606"/>
                  </a:lnTo>
                  <a:lnTo>
                    <a:pt x="1343023" y="602601"/>
                  </a:lnTo>
                  <a:lnTo>
                    <a:pt x="1354264" y="599994"/>
                  </a:lnTo>
                  <a:lnTo>
                    <a:pt x="1361758" y="599994"/>
                  </a:lnTo>
                  <a:cubicBezTo>
                    <a:pt x="1361758" y="599994"/>
                    <a:pt x="1365993" y="598691"/>
                    <a:pt x="1365993" y="598691"/>
                  </a:cubicBezTo>
                  <a:lnTo>
                    <a:pt x="1368437" y="600483"/>
                  </a:lnTo>
                  <a:lnTo>
                    <a:pt x="1372998" y="599994"/>
                  </a:lnTo>
                  <a:lnTo>
                    <a:pt x="1374302" y="603741"/>
                  </a:lnTo>
                  <a:lnTo>
                    <a:pt x="1377723" y="600809"/>
                  </a:lnTo>
                  <a:lnTo>
                    <a:pt x="1384239" y="600809"/>
                  </a:lnTo>
                  <a:cubicBezTo>
                    <a:pt x="1384239" y="600809"/>
                    <a:pt x="1387497" y="606674"/>
                    <a:pt x="1387497" y="606674"/>
                  </a:cubicBezTo>
                  <a:lnTo>
                    <a:pt x="1392547" y="608140"/>
                  </a:lnTo>
                  <a:lnTo>
                    <a:pt x="1393688" y="609443"/>
                  </a:lnTo>
                  <a:lnTo>
                    <a:pt x="1396131" y="609443"/>
                  </a:lnTo>
                  <a:lnTo>
                    <a:pt x="1398901" y="614168"/>
                  </a:lnTo>
                  <a:lnTo>
                    <a:pt x="1398412" y="618240"/>
                  </a:lnTo>
                  <a:lnTo>
                    <a:pt x="1400367" y="619869"/>
                  </a:lnTo>
                  <a:lnTo>
                    <a:pt x="1403788" y="618240"/>
                  </a:lnTo>
                  <a:lnTo>
                    <a:pt x="1410956" y="619055"/>
                  </a:lnTo>
                  <a:lnTo>
                    <a:pt x="1422523" y="620521"/>
                  </a:lnTo>
                  <a:lnTo>
                    <a:pt x="1429365" y="624757"/>
                  </a:lnTo>
                  <a:lnTo>
                    <a:pt x="1429365" y="628829"/>
                  </a:lnTo>
                  <a:cubicBezTo>
                    <a:pt x="1429365" y="628829"/>
                    <a:pt x="1432623" y="631110"/>
                    <a:pt x="1432623" y="631110"/>
                  </a:cubicBezTo>
                  <a:lnTo>
                    <a:pt x="1433926" y="635183"/>
                  </a:lnTo>
                  <a:lnTo>
                    <a:pt x="1431971" y="633880"/>
                  </a:lnTo>
                  <a:lnTo>
                    <a:pt x="1429691" y="634205"/>
                  </a:lnTo>
                  <a:lnTo>
                    <a:pt x="1427247" y="639907"/>
                  </a:lnTo>
                  <a:lnTo>
                    <a:pt x="1419916" y="646749"/>
                  </a:lnTo>
                  <a:lnTo>
                    <a:pt x="1416006" y="652288"/>
                  </a:lnTo>
                  <a:lnTo>
                    <a:pt x="1411608" y="653591"/>
                  </a:lnTo>
                  <a:lnTo>
                    <a:pt x="1411608" y="655546"/>
                  </a:lnTo>
                  <a:lnTo>
                    <a:pt x="1401182" y="663692"/>
                  </a:lnTo>
                  <a:lnTo>
                    <a:pt x="1395806" y="671023"/>
                  </a:lnTo>
                  <a:lnTo>
                    <a:pt x="1390104" y="671023"/>
                  </a:lnTo>
                  <a:lnTo>
                    <a:pt x="1389452" y="673466"/>
                  </a:lnTo>
                  <a:lnTo>
                    <a:pt x="1391244" y="675095"/>
                  </a:lnTo>
                  <a:lnTo>
                    <a:pt x="1388638" y="678842"/>
                  </a:lnTo>
                  <a:lnTo>
                    <a:pt x="1380818" y="684544"/>
                  </a:lnTo>
                  <a:lnTo>
                    <a:pt x="1374627" y="691061"/>
                  </a:lnTo>
                  <a:lnTo>
                    <a:pt x="1365342" y="697088"/>
                  </a:lnTo>
                  <a:lnTo>
                    <a:pt x="1359477" y="699858"/>
                  </a:lnTo>
                  <a:lnTo>
                    <a:pt x="1356382" y="698392"/>
                  </a:lnTo>
                  <a:lnTo>
                    <a:pt x="1355404" y="696111"/>
                  </a:lnTo>
                  <a:lnTo>
                    <a:pt x="1352146" y="696599"/>
                  </a:lnTo>
                  <a:lnTo>
                    <a:pt x="1345467" y="691224"/>
                  </a:lnTo>
                  <a:lnTo>
                    <a:pt x="1344652" y="686825"/>
                  </a:lnTo>
                  <a:lnTo>
                    <a:pt x="1341068" y="685196"/>
                  </a:lnTo>
                  <a:lnTo>
                    <a:pt x="1337484" y="687151"/>
                  </a:lnTo>
                  <a:lnTo>
                    <a:pt x="1332597" y="685847"/>
                  </a:lnTo>
                  <a:lnTo>
                    <a:pt x="1328361" y="685847"/>
                  </a:lnTo>
                  <a:cubicBezTo>
                    <a:pt x="1328361" y="685847"/>
                    <a:pt x="1324777" y="683893"/>
                    <a:pt x="1324777" y="683893"/>
                  </a:cubicBezTo>
                  <a:lnTo>
                    <a:pt x="1320867" y="683893"/>
                  </a:lnTo>
                  <a:cubicBezTo>
                    <a:pt x="1320867" y="683893"/>
                    <a:pt x="1320216" y="686988"/>
                    <a:pt x="1320216" y="686988"/>
                  </a:cubicBezTo>
                  <a:lnTo>
                    <a:pt x="1322171" y="689432"/>
                  </a:lnTo>
                  <a:lnTo>
                    <a:pt x="1331782" y="689920"/>
                  </a:lnTo>
                  <a:lnTo>
                    <a:pt x="1330153" y="693667"/>
                  </a:lnTo>
                  <a:lnTo>
                    <a:pt x="1326569" y="697414"/>
                  </a:lnTo>
                  <a:lnTo>
                    <a:pt x="1329176" y="700021"/>
                  </a:lnTo>
                  <a:lnTo>
                    <a:pt x="1329502" y="705560"/>
                  </a:lnTo>
                  <a:lnTo>
                    <a:pt x="1327058" y="710121"/>
                  </a:lnTo>
                  <a:lnTo>
                    <a:pt x="1323800" y="712402"/>
                  </a:lnTo>
                  <a:lnTo>
                    <a:pt x="1320867" y="715660"/>
                  </a:lnTo>
                  <a:lnTo>
                    <a:pt x="1315817" y="715660"/>
                  </a:lnTo>
                  <a:cubicBezTo>
                    <a:pt x="1315817" y="715660"/>
                    <a:pt x="1312722" y="718104"/>
                    <a:pt x="1312722" y="718104"/>
                  </a:cubicBezTo>
                  <a:lnTo>
                    <a:pt x="1310278" y="722991"/>
                  </a:lnTo>
                  <a:lnTo>
                    <a:pt x="1306531" y="726738"/>
                  </a:lnTo>
                  <a:lnTo>
                    <a:pt x="1302785" y="726412"/>
                  </a:lnTo>
                  <a:lnTo>
                    <a:pt x="1302459" y="730973"/>
                  </a:lnTo>
                  <a:cubicBezTo>
                    <a:pt x="1302459" y="730973"/>
                    <a:pt x="1300829" y="732765"/>
                    <a:pt x="1300993" y="732928"/>
                  </a:cubicBezTo>
                  <a:lnTo>
                    <a:pt x="1300993" y="732928"/>
                  </a:lnTo>
                  <a:close/>
                  <a:moveTo>
                    <a:pt x="1616385" y="753944"/>
                  </a:moveTo>
                  <a:lnTo>
                    <a:pt x="1609543" y="750522"/>
                  </a:lnTo>
                  <a:lnTo>
                    <a:pt x="1604166" y="749056"/>
                  </a:lnTo>
                  <a:lnTo>
                    <a:pt x="1601886" y="743029"/>
                  </a:lnTo>
                  <a:lnTo>
                    <a:pt x="1598790" y="741400"/>
                  </a:lnTo>
                  <a:lnTo>
                    <a:pt x="1596510" y="736675"/>
                  </a:lnTo>
                  <a:lnTo>
                    <a:pt x="1598139" y="730159"/>
                  </a:lnTo>
                  <a:lnTo>
                    <a:pt x="1603352" y="727064"/>
                  </a:lnTo>
                  <a:lnTo>
                    <a:pt x="1602863" y="723154"/>
                  </a:lnTo>
                  <a:lnTo>
                    <a:pt x="1605633" y="719733"/>
                  </a:lnTo>
                  <a:lnTo>
                    <a:pt x="1604655" y="715660"/>
                  </a:lnTo>
                  <a:lnTo>
                    <a:pt x="1600257" y="715008"/>
                  </a:lnTo>
                  <a:lnTo>
                    <a:pt x="1595532" y="711098"/>
                  </a:lnTo>
                  <a:lnTo>
                    <a:pt x="1600257" y="700672"/>
                  </a:lnTo>
                  <a:lnTo>
                    <a:pt x="1603515" y="701161"/>
                  </a:lnTo>
                  <a:lnTo>
                    <a:pt x="1604981" y="697903"/>
                  </a:lnTo>
                  <a:lnTo>
                    <a:pt x="1604003" y="693178"/>
                  </a:lnTo>
                  <a:lnTo>
                    <a:pt x="1606936" y="689432"/>
                  </a:lnTo>
                  <a:lnTo>
                    <a:pt x="1608565" y="682589"/>
                  </a:lnTo>
                  <a:lnTo>
                    <a:pt x="1612963" y="680960"/>
                  </a:lnTo>
                  <a:lnTo>
                    <a:pt x="1616222" y="684056"/>
                  </a:lnTo>
                  <a:lnTo>
                    <a:pt x="1617362" y="688291"/>
                  </a:lnTo>
                  <a:lnTo>
                    <a:pt x="1627136" y="691549"/>
                  </a:lnTo>
                  <a:lnTo>
                    <a:pt x="1630884" y="695459"/>
                  </a:lnTo>
                  <a:lnTo>
                    <a:pt x="1636585" y="696925"/>
                  </a:lnTo>
                  <a:lnTo>
                    <a:pt x="1638540" y="694970"/>
                  </a:lnTo>
                  <a:lnTo>
                    <a:pt x="1647826" y="698066"/>
                  </a:lnTo>
                  <a:lnTo>
                    <a:pt x="1655157" y="698066"/>
                  </a:lnTo>
                  <a:cubicBezTo>
                    <a:pt x="1655157" y="698066"/>
                    <a:pt x="1658252" y="700346"/>
                    <a:pt x="1658252" y="700346"/>
                  </a:cubicBezTo>
                  <a:lnTo>
                    <a:pt x="1659556" y="704908"/>
                  </a:lnTo>
                  <a:lnTo>
                    <a:pt x="1666724" y="709306"/>
                  </a:lnTo>
                  <a:lnTo>
                    <a:pt x="1669167" y="714520"/>
                  </a:lnTo>
                  <a:lnTo>
                    <a:pt x="1667212" y="720058"/>
                  </a:lnTo>
                  <a:lnTo>
                    <a:pt x="1667538" y="723154"/>
                  </a:lnTo>
                  <a:lnTo>
                    <a:pt x="1671774" y="726249"/>
                  </a:lnTo>
                  <a:lnTo>
                    <a:pt x="1670633" y="729018"/>
                  </a:lnTo>
                  <a:lnTo>
                    <a:pt x="1671774" y="733417"/>
                  </a:lnTo>
                  <a:lnTo>
                    <a:pt x="1671448" y="736512"/>
                  </a:lnTo>
                  <a:lnTo>
                    <a:pt x="1674054" y="742214"/>
                  </a:lnTo>
                  <a:lnTo>
                    <a:pt x="1673077" y="745961"/>
                  </a:lnTo>
                  <a:lnTo>
                    <a:pt x="1670633" y="749545"/>
                  </a:lnTo>
                  <a:lnTo>
                    <a:pt x="1676824" y="751337"/>
                  </a:lnTo>
                  <a:lnTo>
                    <a:pt x="1676824" y="753944"/>
                  </a:lnTo>
                  <a:lnTo>
                    <a:pt x="1673729" y="756387"/>
                  </a:lnTo>
                  <a:lnTo>
                    <a:pt x="1672100" y="759157"/>
                  </a:lnTo>
                  <a:lnTo>
                    <a:pt x="1662488" y="757202"/>
                  </a:lnTo>
                  <a:lnTo>
                    <a:pt x="1661022" y="755410"/>
                  </a:lnTo>
                  <a:lnTo>
                    <a:pt x="1651573" y="753129"/>
                  </a:lnTo>
                  <a:lnTo>
                    <a:pt x="1648641" y="750522"/>
                  </a:lnTo>
                  <a:lnTo>
                    <a:pt x="1641961" y="749219"/>
                  </a:lnTo>
                  <a:lnTo>
                    <a:pt x="1639355" y="749219"/>
                  </a:lnTo>
                  <a:lnTo>
                    <a:pt x="1635282" y="746613"/>
                  </a:lnTo>
                  <a:lnTo>
                    <a:pt x="1628114" y="748893"/>
                  </a:lnTo>
                  <a:lnTo>
                    <a:pt x="1623716" y="749219"/>
                  </a:lnTo>
                  <a:lnTo>
                    <a:pt x="1618665" y="753781"/>
                  </a:lnTo>
                  <a:lnTo>
                    <a:pt x="1615896" y="754269"/>
                  </a:lnTo>
                  <a:lnTo>
                    <a:pt x="1615896" y="754269"/>
                  </a:lnTo>
                  <a:close/>
                  <a:moveTo>
                    <a:pt x="1587061" y="761926"/>
                  </a:moveTo>
                  <a:lnTo>
                    <a:pt x="1586572" y="756713"/>
                  </a:lnTo>
                  <a:lnTo>
                    <a:pt x="1588364" y="754106"/>
                  </a:lnTo>
                  <a:lnTo>
                    <a:pt x="1589993" y="756387"/>
                  </a:lnTo>
                  <a:lnTo>
                    <a:pt x="1589993" y="759482"/>
                  </a:lnTo>
                  <a:lnTo>
                    <a:pt x="1587061" y="761926"/>
                  </a:lnTo>
                  <a:lnTo>
                    <a:pt x="1587061" y="761926"/>
                  </a:lnTo>
                  <a:close/>
                  <a:moveTo>
                    <a:pt x="1594718" y="766488"/>
                  </a:moveTo>
                  <a:lnTo>
                    <a:pt x="1592926" y="763229"/>
                  </a:lnTo>
                  <a:lnTo>
                    <a:pt x="1594881" y="761437"/>
                  </a:lnTo>
                  <a:lnTo>
                    <a:pt x="1596673" y="761763"/>
                  </a:lnTo>
                  <a:lnTo>
                    <a:pt x="1597324" y="765347"/>
                  </a:lnTo>
                  <a:lnTo>
                    <a:pt x="1594718" y="766650"/>
                  </a:lnTo>
                  <a:lnTo>
                    <a:pt x="1594718" y="766650"/>
                  </a:lnTo>
                  <a:close/>
                  <a:moveTo>
                    <a:pt x="1608076" y="766488"/>
                  </a:moveTo>
                  <a:lnTo>
                    <a:pt x="1604492" y="765510"/>
                  </a:lnTo>
                  <a:lnTo>
                    <a:pt x="1604003" y="762578"/>
                  </a:lnTo>
                  <a:lnTo>
                    <a:pt x="1606284" y="762089"/>
                  </a:lnTo>
                  <a:lnTo>
                    <a:pt x="1609868" y="765021"/>
                  </a:lnTo>
                  <a:lnTo>
                    <a:pt x="1608239" y="766650"/>
                  </a:lnTo>
                  <a:lnTo>
                    <a:pt x="1608239" y="766650"/>
                  </a:lnTo>
                  <a:close/>
                  <a:moveTo>
                    <a:pt x="1290892" y="874822"/>
                  </a:moveTo>
                  <a:lnTo>
                    <a:pt x="1289752" y="872541"/>
                  </a:lnTo>
                  <a:lnTo>
                    <a:pt x="1291544" y="870098"/>
                  </a:lnTo>
                  <a:lnTo>
                    <a:pt x="1294802" y="870098"/>
                  </a:lnTo>
                  <a:lnTo>
                    <a:pt x="1296757" y="871401"/>
                  </a:lnTo>
                  <a:lnTo>
                    <a:pt x="1295617" y="873845"/>
                  </a:lnTo>
                  <a:lnTo>
                    <a:pt x="1293499" y="873845"/>
                  </a:lnTo>
                  <a:cubicBezTo>
                    <a:pt x="1293499" y="873845"/>
                    <a:pt x="1290892" y="874822"/>
                    <a:pt x="1290892" y="874822"/>
                  </a:cubicBezTo>
                  <a:lnTo>
                    <a:pt x="1290892" y="874822"/>
                  </a:lnTo>
                  <a:close/>
                  <a:moveTo>
                    <a:pt x="1306043" y="900562"/>
                  </a:moveTo>
                  <a:lnTo>
                    <a:pt x="1306369" y="906752"/>
                  </a:lnTo>
                  <a:lnTo>
                    <a:pt x="1309301" y="904146"/>
                  </a:lnTo>
                  <a:lnTo>
                    <a:pt x="1310604" y="904146"/>
                  </a:lnTo>
                  <a:cubicBezTo>
                    <a:pt x="1310604" y="904146"/>
                    <a:pt x="1310767" y="899910"/>
                    <a:pt x="1310767" y="899910"/>
                  </a:cubicBezTo>
                  <a:lnTo>
                    <a:pt x="1308486" y="898281"/>
                  </a:lnTo>
                  <a:lnTo>
                    <a:pt x="1306043" y="900562"/>
                  </a:lnTo>
                  <a:lnTo>
                    <a:pt x="1306043" y="900562"/>
                  </a:lnTo>
                  <a:close/>
                  <a:moveTo>
                    <a:pt x="1301481" y="900888"/>
                  </a:moveTo>
                  <a:lnTo>
                    <a:pt x="1299852" y="904309"/>
                  </a:lnTo>
                  <a:lnTo>
                    <a:pt x="1302133" y="906915"/>
                  </a:lnTo>
                  <a:lnTo>
                    <a:pt x="1302133" y="909359"/>
                  </a:lnTo>
                  <a:cubicBezTo>
                    <a:pt x="1302133" y="909359"/>
                    <a:pt x="1303273" y="910825"/>
                    <a:pt x="1303273" y="910825"/>
                  </a:cubicBezTo>
                  <a:lnTo>
                    <a:pt x="1304577" y="908870"/>
                  </a:lnTo>
                  <a:lnTo>
                    <a:pt x="1304251" y="902028"/>
                  </a:lnTo>
                  <a:lnTo>
                    <a:pt x="1302621" y="900073"/>
                  </a:lnTo>
                  <a:lnTo>
                    <a:pt x="1301481" y="901051"/>
                  </a:lnTo>
                  <a:lnTo>
                    <a:pt x="1301481" y="901051"/>
                  </a:lnTo>
                  <a:close/>
                  <a:moveTo>
                    <a:pt x="1399715" y="883293"/>
                  </a:moveTo>
                  <a:lnTo>
                    <a:pt x="1398412" y="881013"/>
                  </a:lnTo>
                  <a:lnTo>
                    <a:pt x="1394665" y="881013"/>
                  </a:lnTo>
                  <a:cubicBezTo>
                    <a:pt x="1394665" y="881013"/>
                    <a:pt x="1391733" y="877917"/>
                    <a:pt x="1391733" y="877917"/>
                  </a:cubicBezTo>
                  <a:lnTo>
                    <a:pt x="1390755" y="880035"/>
                  </a:lnTo>
                  <a:lnTo>
                    <a:pt x="1387660" y="879221"/>
                  </a:lnTo>
                  <a:lnTo>
                    <a:pt x="1387660" y="874822"/>
                  </a:lnTo>
                  <a:cubicBezTo>
                    <a:pt x="1387660" y="874822"/>
                    <a:pt x="1385379" y="873193"/>
                    <a:pt x="1385379" y="873193"/>
                  </a:cubicBezTo>
                  <a:lnTo>
                    <a:pt x="1390593" y="871890"/>
                  </a:lnTo>
                  <a:lnTo>
                    <a:pt x="1391570" y="870261"/>
                  </a:lnTo>
                  <a:lnTo>
                    <a:pt x="1395643" y="870586"/>
                  </a:lnTo>
                  <a:lnTo>
                    <a:pt x="1398412" y="874333"/>
                  </a:lnTo>
                  <a:lnTo>
                    <a:pt x="1403788" y="875311"/>
                  </a:lnTo>
                  <a:lnTo>
                    <a:pt x="1404603" y="879384"/>
                  </a:lnTo>
                  <a:lnTo>
                    <a:pt x="1402974" y="882316"/>
                  </a:lnTo>
                  <a:cubicBezTo>
                    <a:pt x="1402974" y="882316"/>
                    <a:pt x="1399715" y="883130"/>
                    <a:pt x="1399878" y="883130"/>
                  </a:cubicBezTo>
                  <a:lnTo>
                    <a:pt x="1399878" y="883130"/>
                  </a:lnTo>
                  <a:close/>
                  <a:moveTo>
                    <a:pt x="1455593" y="905612"/>
                  </a:moveTo>
                  <a:lnTo>
                    <a:pt x="1452335" y="905612"/>
                  </a:lnTo>
                  <a:cubicBezTo>
                    <a:pt x="1452335" y="905612"/>
                    <a:pt x="1450217" y="900399"/>
                    <a:pt x="1450217" y="900399"/>
                  </a:cubicBezTo>
                  <a:lnTo>
                    <a:pt x="1453150" y="901539"/>
                  </a:lnTo>
                  <a:lnTo>
                    <a:pt x="1456082" y="901539"/>
                  </a:lnTo>
                  <a:lnTo>
                    <a:pt x="1456896" y="904309"/>
                  </a:lnTo>
                  <a:lnTo>
                    <a:pt x="1455593" y="905449"/>
                  </a:lnTo>
                  <a:lnTo>
                    <a:pt x="1455593" y="905449"/>
                  </a:lnTo>
                  <a:close/>
                  <a:moveTo>
                    <a:pt x="1461295" y="906264"/>
                  </a:moveTo>
                  <a:lnTo>
                    <a:pt x="1465205" y="907404"/>
                  </a:lnTo>
                  <a:lnTo>
                    <a:pt x="1463576" y="904797"/>
                  </a:lnTo>
                  <a:lnTo>
                    <a:pt x="1461295" y="906264"/>
                  </a:lnTo>
                  <a:lnTo>
                    <a:pt x="1461295" y="906264"/>
                  </a:lnTo>
                  <a:close/>
                  <a:moveTo>
                    <a:pt x="1469603" y="908870"/>
                  </a:moveTo>
                  <a:lnTo>
                    <a:pt x="1472699" y="909359"/>
                  </a:lnTo>
                  <a:lnTo>
                    <a:pt x="1474654" y="911314"/>
                  </a:lnTo>
                  <a:lnTo>
                    <a:pt x="1477423" y="910825"/>
                  </a:lnTo>
                  <a:lnTo>
                    <a:pt x="1477423" y="908544"/>
                  </a:lnTo>
                  <a:cubicBezTo>
                    <a:pt x="1477423" y="908544"/>
                    <a:pt x="1473513" y="906426"/>
                    <a:pt x="1473513" y="906426"/>
                  </a:cubicBezTo>
                  <a:lnTo>
                    <a:pt x="1473025" y="905123"/>
                  </a:lnTo>
                  <a:lnTo>
                    <a:pt x="1469115" y="905123"/>
                  </a:lnTo>
                  <a:lnTo>
                    <a:pt x="1468137" y="907567"/>
                  </a:lnTo>
                  <a:lnTo>
                    <a:pt x="1469603" y="908870"/>
                  </a:lnTo>
                  <a:lnTo>
                    <a:pt x="1469603" y="908870"/>
                  </a:lnTo>
                  <a:close/>
                  <a:moveTo>
                    <a:pt x="1528577" y="988696"/>
                  </a:moveTo>
                  <a:lnTo>
                    <a:pt x="1528577" y="986089"/>
                  </a:lnTo>
                  <a:lnTo>
                    <a:pt x="1530531" y="983645"/>
                  </a:lnTo>
                  <a:lnTo>
                    <a:pt x="1529228" y="978921"/>
                  </a:lnTo>
                  <a:lnTo>
                    <a:pt x="1531672" y="979899"/>
                  </a:lnTo>
                  <a:lnTo>
                    <a:pt x="1534441" y="981853"/>
                  </a:lnTo>
                  <a:lnTo>
                    <a:pt x="1533301" y="984949"/>
                  </a:lnTo>
                  <a:lnTo>
                    <a:pt x="1532812" y="988370"/>
                  </a:lnTo>
                  <a:lnTo>
                    <a:pt x="1528739" y="988696"/>
                  </a:lnTo>
                  <a:lnTo>
                    <a:pt x="1528739" y="988696"/>
                  </a:lnTo>
                  <a:close/>
                  <a:moveTo>
                    <a:pt x="1524015" y="1004172"/>
                  </a:moveTo>
                  <a:lnTo>
                    <a:pt x="1522223" y="998144"/>
                  </a:lnTo>
                  <a:lnTo>
                    <a:pt x="1524341" y="994235"/>
                  </a:lnTo>
                  <a:lnTo>
                    <a:pt x="1525807" y="995212"/>
                  </a:lnTo>
                  <a:lnTo>
                    <a:pt x="1530043" y="995538"/>
                  </a:lnTo>
                  <a:lnTo>
                    <a:pt x="1530043" y="998796"/>
                  </a:lnTo>
                  <a:cubicBezTo>
                    <a:pt x="1530043" y="998796"/>
                    <a:pt x="1526133" y="999611"/>
                    <a:pt x="1526133" y="999611"/>
                  </a:cubicBezTo>
                  <a:lnTo>
                    <a:pt x="1525644" y="1002869"/>
                  </a:lnTo>
                  <a:lnTo>
                    <a:pt x="1524015" y="1004009"/>
                  </a:lnTo>
                  <a:lnTo>
                    <a:pt x="1524015" y="1004009"/>
                  </a:lnTo>
                  <a:close/>
                  <a:moveTo>
                    <a:pt x="1488501" y="926953"/>
                  </a:moveTo>
                  <a:lnTo>
                    <a:pt x="1486872" y="924672"/>
                  </a:lnTo>
                  <a:lnTo>
                    <a:pt x="1489153" y="925161"/>
                  </a:lnTo>
                  <a:lnTo>
                    <a:pt x="1488501" y="926953"/>
                  </a:lnTo>
                  <a:lnTo>
                    <a:pt x="1488501" y="926953"/>
                  </a:lnTo>
                  <a:close/>
                  <a:moveTo>
                    <a:pt x="1481333" y="927768"/>
                  </a:moveTo>
                  <a:lnTo>
                    <a:pt x="1478889" y="923369"/>
                  </a:lnTo>
                  <a:lnTo>
                    <a:pt x="1481496" y="924835"/>
                  </a:lnTo>
                  <a:lnTo>
                    <a:pt x="1481985" y="926627"/>
                  </a:lnTo>
                  <a:lnTo>
                    <a:pt x="1481170" y="927768"/>
                  </a:lnTo>
                  <a:lnTo>
                    <a:pt x="1481170" y="927768"/>
                  </a:lnTo>
                  <a:close/>
                  <a:moveTo>
                    <a:pt x="1482799" y="931189"/>
                  </a:moveTo>
                  <a:lnTo>
                    <a:pt x="1484591" y="933469"/>
                  </a:lnTo>
                  <a:lnTo>
                    <a:pt x="1487198" y="933144"/>
                  </a:lnTo>
                  <a:lnTo>
                    <a:pt x="1490456" y="934610"/>
                  </a:lnTo>
                  <a:lnTo>
                    <a:pt x="1490782" y="931677"/>
                  </a:lnTo>
                  <a:lnTo>
                    <a:pt x="1488012" y="929885"/>
                  </a:lnTo>
                  <a:lnTo>
                    <a:pt x="1484102" y="929885"/>
                  </a:lnTo>
                  <a:cubicBezTo>
                    <a:pt x="1484102" y="929885"/>
                    <a:pt x="1482962" y="931352"/>
                    <a:pt x="1482962" y="931352"/>
                  </a:cubicBezTo>
                  <a:lnTo>
                    <a:pt x="1482962" y="931352"/>
                  </a:lnTo>
                  <a:close/>
                  <a:moveTo>
                    <a:pt x="1515870" y="917830"/>
                  </a:moveTo>
                  <a:lnTo>
                    <a:pt x="1519617" y="918645"/>
                  </a:lnTo>
                  <a:lnTo>
                    <a:pt x="1520594" y="921251"/>
                  </a:lnTo>
                  <a:lnTo>
                    <a:pt x="1521897" y="922880"/>
                  </a:lnTo>
                  <a:lnTo>
                    <a:pt x="1521246" y="925161"/>
                  </a:lnTo>
                  <a:lnTo>
                    <a:pt x="1522386" y="927605"/>
                  </a:lnTo>
                  <a:lnTo>
                    <a:pt x="1525318" y="926464"/>
                  </a:lnTo>
                  <a:lnTo>
                    <a:pt x="1525644" y="923043"/>
                  </a:lnTo>
                  <a:lnTo>
                    <a:pt x="1528739" y="924347"/>
                  </a:lnTo>
                  <a:lnTo>
                    <a:pt x="1532649" y="923369"/>
                  </a:lnTo>
                  <a:lnTo>
                    <a:pt x="1534441" y="923858"/>
                  </a:lnTo>
                  <a:lnTo>
                    <a:pt x="1537211" y="921088"/>
                  </a:lnTo>
                  <a:lnTo>
                    <a:pt x="1534767" y="917830"/>
                  </a:lnTo>
                  <a:lnTo>
                    <a:pt x="1528414" y="916690"/>
                  </a:lnTo>
                  <a:lnTo>
                    <a:pt x="1524667" y="913106"/>
                  </a:lnTo>
                  <a:lnTo>
                    <a:pt x="1520105" y="912291"/>
                  </a:lnTo>
                  <a:lnTo>
                    <a:pt x="1519617" y="914898"/>
                  </a:lnTo>
                  <a:cubicBezTo>
                    <a:pt x="1519617" y="914898"/>
                    <a:pt x="1515544" y="917504"/>
                    <a:pt x="1515707" y="917667"/>
                  </a:cubicBezTo>
                  <a:lnTo>
                    <a:pt x="1515707" y="917667"/>
                  </a:lnTo>
                  <a:close/>
                  <a:moveTo>
                    <a:pt x="1573377" y="913920"/>
                  </a:moveTo>
                  <a:lnTo>
                    <a:pt x="1574191" y="910662"/>
                  </a:lnTo>
                  <a:lnTo>
                    <a:pt x="1576635" y="909685"/>
                  </a:lnTo>
                  <a:lnTo>
                    <a:pt x="1575332" y="913432"/>
                  </a:lnTo>
                  <a:lnTo>
                    <a:pt x="1573377" y="914083"/>
                  </a:lnTo>
                  <a:lnTo>
                    <a:pt x="1573377" y="914083"/>
                  </a:lnTo>
                  <a:close/>
                  <a:moveTo>
                    <a:pt x="1553339" y="937379"/>
                  </a:moveTo>
                  <a:lnTo>
                    <a:pt x="1556434" y="934121"/>
                  </a:lnTo>
                  <a:lnTo>
                    <a:pt x="1559041" y="929560"/>
                  </a:lnTo>
                  <a:lnTo>
                    <a:pt x="1562787" y="929560"/>
                  </a:lnTo>
                  <a:cubicBezTo>
                    <a:pt x="1562787" y="929560"/>
                    <a:pt x="1564905" y="926301"/>
                    <a:pt x="1564905" y="926301"/>
                  </a:cubicBezTo>
                  <a:lnTo>
                    <a:pt x="1566697" y="925976"/>
                  </a:lnTo>
                  <a:lnTo>
                    <a:pt x="1568652" y="928582"/>
                  </a:lnTo>
                  <a:lnTo>
                    <a:pt x="1568327" y="930863"/>
                  </a:lnTo>
                  <a:lnTo>
                    <a:pt x="1563439" y="933144"/>
                  </a:lnTo>
                  <a:lnTo>
                    <a:pt x="1559366" y="936402"/>
                  </a:lnTo>
                  <a:lnTo>
                    <a:pt x="1555782" y="936402"/>
                  </a:lnTo>
                  <a:cubicBezTo>
                    <a:pt x="1555782" y="936402"/>
                    <a:pt x="1553339" y="937216"/>
                    <a:pt x="1553339" y="937216"/>
                  </a:cubicBezTo>
                  <a:lnTo>
                    <a:pt x="1553339" y="937216"/>
                  </a:lnTo>
                  <a:close/>
                  <a:moveTo>
                    <a:pt x="1534604" y="968658"/>
                  </a:moveTo>
                  <a:lnTo>
                    <a:pt x="1544216" y="960675"/>
                  </a:lnTo>
                  <a:lnTo>
                    <a:pt x="1546171" y="957091"/>
                  </a:lnTo>
                  <a:lnTo>
                    <a:pt x="1548777" y="957091"/>
                  </a:lnTo>
                  <a:lnTo>
                    <a:pt x="1553013" y="952856"/>
                  </a:lnTo>
                  <a:lnTo>
                    <a:pt x="1557249" y="949434"/>
                  </a:lnTo>
                  <a:lnTo>
                    <a:pt x="1556923" y="944384"/>
                  </a:lnTo>
                  <a:lnTo>
                    <a:pt x="1554479" y="943081"/>
                  </a:lnTo>
                  <a:lnTo>
                    <a:pt x="1550569" y="944059"/>
                  </a:lnTo>
                  <a:lnTo>
                    <a:pt x="1549592" y="948131"/>
                  </a:lnTo>
                  <a:lnTo>
                    <a:pt x="1547148" y="948131"/>
                  </a:lnTo>
                  <a:lnTo>
                    <a:pt x="1542750" y="952856"/>
                  </a:lnTo>
                  <a:lnTo>
                    <a:pt x="1538840" y="954648"/>
                  </a:lnTo>
                  <a:lnTo>
                    <a:pt x="1532161" y="954648"/>
                  </a:lnTo>
                  <a:cubicBezTo>
                    <a:pt x="1532161" y="954648"/>
                    <a:pt x="1528414" y="956440"/>
                    <a:pt x="1528414" y="956440"/>
                  </a:cubicBezTo>
                  <a:lnTo>
                    <a:pt x="1526622" y="960512"/>
                  </a:lnTo>
                  <a:lnTo>
                    <a:pt x="1522875" y="963119"/>
                  </a:lnTo>
                  <a:lnTo>
                    <a:pt x="1524341" y="968821"/>
                  </a:lnTo>
                  <a:lnTo>
                    <a:pt x="1526133" y="967355"/>
                  </a:lnTo>
                  <a:lnTo>
                    <a:pt x="1530857" y="968495"/>
                  </a:lnTo>
                  <a:lnTo>
                    <a:pt x="1534116" y="968495"/>
                  </a:lnTo>
                  <a:close/>
                  <a:moveTo>
                    <a:pt x="1575657" y="963933"/>
                  </a:moveTo>
                  <a:lnTo>
                    <a:pt x="1574354" y="956603"/>
                  </a:lnTo>
                  <a:lnTo>
                    <a:pt x="1576146" y="954648"/>
                  </a:lnTo>
                  <a:lnTo>
                    <a:pt x="1578753" y="949109"/>
                  </a:lnTo>
                  <a:lnTo>
                    <a:pt x="1581522" y="949597"/>
                  </a:lnTo>
                  <a:lnTo>
                    <a:pt x="1587224" y="950086"/>
                  </a:lnTo>
                  <a:lnTo>
                    <a:pt x="1588201" y="955788"/>
                  </a:lnTo>
                  <a:lnTo>
                    <a:pt x="1585921" y="960024"/>
                  </a:lnTo>
                  <a:lnTo>
                    <a:pt x="1582825" y="960349"/>
                  </a:lnTo>
                  <a:lnTo>
                    <a:pt x="1579730" y="964585"/>
                  </a:lnTo>
                  <a:lnTo>
                    <a:pt x="1575657" y="963933"/>
                  </a:lnTo>
                  <a:lnTo>
                    <a:pt x="1575657" y="963933"/>
                  </a:lnTo>
                  <a:close/>
                  <a:moveTo>
                    <a:pt x="1609054" y="1005638"/>
                  </a:moveTo>
                  <a:lnTo>
                    <a:pt x="1608076" y="998307"/>
                  </a:lnTo>
                  <a:lnTo>
                    <a:pt x="1609054" y="991465"/>
                  </a:lnTo>
                  <a:lnTo>
                    <a:pt x="1606447" y="987555"/>
                  </a:lnTo>
                  <a:lnTo>
                    <a:pt x="1603841" y="988370"/>
                  </a:lnTo>
                  <a:lnTo>
                    <a:pt x="1603515" y="992768"/>
                  </a:lnTo>
                  <a:lnTo>
                    <a:pt x="1601071" y="997981"/>
                  </a:lnTo>
                  <a:lnTo>
                    <a:pt x="1601886" y="1002706"/>
                  </a:lnTo>
                  <a:lnTo>
                    <a:pt x="1603678" y="1005149"/>
                  </a:lnTo>
                  <a:lnTo>
                    <a:pt x="1604329" y="1008733"/>
                  </a:lnTo>
                  <a:lnTo>
                    <a:pt x="1606773" y="1006941"/>
                  </a:lnTo>
                  <a:lnTo>
                    <a:pt x="1609054" y="1005964"/>
                  </a:lnTo>
                  <a:lnTo>
                    <a:pt x="1609054" y="1005964"/>
                  </a:lnTo>
                  <a:close/>
                  <a:moveTo>
                    <a:pt x="1612963" y="1001891"/>
                  </a:moveTo>
                  <a:lnTo>
                    <a:pt x="1611823" y="997981"/>
                  </a:lnTo>
                  <a:lnTo>
                    <a:pt x="1613127" y="992280"/>
                  </a:lnTo>
                  <a:lnTo>
                    <a:pt x="1614593" y="997167"/>
                  </a:lnTo>
                  <a:lnTo>
                    <a:pt x="1616222" y="1000099"/>
                  </a:lnTo>
                  <a:lnTo>
                    <a:pt x="1614593" y="1002217"/>
                  </a:lnTo>
                  <a:lnTo>
                    <a:pt x="1612801" y="1002217"/>
                  </a:lnTo>
                  <a:close/>
                  <a:moveTo>
                    <a:pt x="1619969" y="1012480"/>
                  </a:moveTo>
                  <a:lnTo>
                    <a:pt x="1618177" y="1009548"/>
                  </a:lnTo>
                  <a:lnTo>
                    <a:pt x="1619806" y="1006290"/>
                  </a:lnTo>
                  <a:lnTo>
                    <a:pt x="1621109" y="1007267"/>
                  </a:lnTo>
                  <a:lnTo>
                    <a:pt x="1621435" y="1011177"/>
                  </a:lnTo>
                  <a:lnTo>
                    <a:pt x="1619969" y="1012643"/>
                  </a:lnTo>
                  <a:lnTo>
                    <a:pt x="1619969" y="1012643"/>
                  </a:lnTo>
                  <a:close/>
                  <a:moveTo>
                    <a:pt x="1603189" y="1022907"/>
                  </a:moveTo>
                  <a:lnTo>
                    <a:pt x="1602211" y="1024699"/>
                  </a:lnTo>
                  <a:lnTo>
                    <a:pt x="1603515" y="1029260"/>
                  </a:lnTo>
                  <a:lnTo>
                    <a:pt x="1604492" y="1035613"/>
                  </a:lnTo>
                  <a:lnTo>
                    <a:pt x="1606610" y="1037080"/>
                  </a:lnTo>
                  <a:lnTo>
                    <a:pt x="1609379" y="1035939"/>
                  </a:lnTo>
                  <a:lnTo>
                    <a:pt x="1613941" y="1037243"/>
                  </a:lnTo>
                  <a:lnTo>
                    <a:pt x="1616385" y="1038383"/>
                  </a:lnTo>
                  <a:lnTo>
                    <a:pt x="1620457" y="1037568"/>
                  </a:lnTo>
                  <a:lnTo>
                    <a:pt x="1625019" y="1039035"/>
                  </a:lnTo>
                  <a:lnTo>
                    <a:pt x="1626811" y="1035776"/>
                  </a:lnTo>
                  <a:lnTo>
                    <a:pt x="1625345" y="1032844"/>
                  </a:lnTo>
                  <a:lnTo>
                    <a:pt x="1625670" y="1027631"/>
                  </a:lnTo>
                  <a:lnTo>
                    <a:pt x="1620620" y="1027305"/>
                  </a:lnTo>
                  <a:lnTo>
                    <a:pt x="1618340" y="1023721"/>
                  </a:lnTo>
                  <a:lnTo>
                    <a:pt x="1614430" y="1023232"/>
                  </a:lnTo>
                  <a:lnTo>
                    <a:pt x="1612638" y="1024210"/>
                  </a:lnTo>
                  <a:lnTo>
                    <a:pt x="1612638" y="1021603"/>
                  </a:lnTo>
                  <a:cubicBezTo>
                    <a:pt x="1612638" y="1021603"/>
                    <a:pt x="1612312" y="1018834"/>
                    <a:pt x="1612312" y="1018834"/>
                  </a:cubicBezTo>
                  <a:lnTo>
                    <a:pt x="1610520" y="1019485"/>
                  </a:lnTo>
                  <a:lnTo>
                    <a:pt x="1608728" y="1022581"/>
                  </a:lnTo>
                  <a:lnTo>
                    <a:pt x="1606284" y="1023069"/>
                  </a:lnTo>
                  <a:lnTo>
                    <a:pt x="1603026" y="1023069"/>
                  </a:lnTo>
                  <a:close/>
                  <a:moveTo>
                    <a:pt x="1469115" y="1210415"/>
                  </a:moveTo>
                  <a:lnTo>
                    <a:pt x="1474654" y="1210904"/>
                  </a:lnTo>
                  <a:lnTo>
                    <a:pt x="1476446" y="1209600"/>
                  </a:lnTo>
                  <a:lnTo>
                    <a:pt x="1474002" y="1207157"/>
                  </a:lnTo>
                  <a:lnTo>
                    <a:pt x="1470581" y="1207645"/>
                  </a:lnTo>
                  <a:lnTo>
                    <a:pt x="1469115" y="1210252"/>
                  </a:lnTo>
                  <a:lnTo>
                    <a:pt x="1469115" y="1210252"/>
                  </a:lnTo>
                  <a:close/>
                  <a:moveTo>
                    <a:pt x="1394177" y="1086115"/>
                  </a:moveTo>
                  <a:lnTo>
                    <a:pt x="1397923" y="1089048"/>
                  </a:lnTo>
                  <a:lnTo>
                    <a:pt x="1400530" y="1089536"/>
                  </a:lnTo>
                  <a:lnTo>
                    <a:pt x="1400856" y="1087744"/>
                  </a:lnTo>
                  <a:lnTo>
                    <a:pt x="1397923" y="1085627"/>
                  </a:lnTo>
                  <a:lnTo>
                    <a:pt x="1395480" y="1085138"/>
                  </a:lnTo>
                  <a:lnTo>
                    <a:pt x="1394177" y="1086115"/>
                  </a:lnTo>
                  <a:lnTo>
                    <a:pt x="1394177" y="1086115"/>
                  </a:lnTo>
                  <a:close/>
                  <a:moveTo>
                    <a:pt x="1377560" y="1114624"/>
                  </a:moveTo>
                  <a:lnTo>
                    <a:pt x="1377560" y="1111203"/>
                  </a:lnTo>
                  <a:lnTo>
                    <a:pt x="1374790" y="1108271"/>
                  </a:lnTo>
                  <a:lnTo>
                    <a:pt x="1370066" y="1105664"/>
                  </a:lnTo>
                  <a:lnTo>
                    <a:pt x="1370718" y="1102569"/>
                  </a:lnTo>
                  <a:lnTo>
                    <a:pt x="1369252" y="1098008"/>
                  </a:lnTo>
                  <a:lnTo>
                    <a:pt x="1366156" y="1095401"/>
                  </a:lnTo>
                  <a:lnTo>
                    <a:pt x="1366482" y="1088722"/>
                  </a:lnTo>
                  <a:lnTo>
                    <a:pt x="1367948" y="1086930"/>
                  </a:lnTo>
                  <a:lnTo>
                    <a:pt x="1369414" y="1092143"/>
                  </a:lnTo>
                  <a:lnTo>
                    <a:pt x="1373976" y="1093935"/>
                  </a:lnTo>
                  <a:lnTo>
                    <a:pt x="1375116" y="1097193"/>
                  </a:lnTo>
                  <a:lnTo>
                    <a:pt x="1378049" y="1099637"/>
                  </a:lnTo>
                  <a:lnTo>
                    <a:pt x="1378049" y="1106805"/>
                  </a:lnTo>
                  <a:lnTo>
                    <a:pt x="1383262" y="1109411"/>
                  </a:lnTo>
                  <a:lnTo>
                    <a:pt x="1386683" y="1109737"/>
                  </a:lnTo>
                  <a:lnTo>
                    <a:pt x="1385868" y="1114950"/>
                  </a:lnTo>
                  <a:lnTo>
                    <a:pt x="1380818" y="1113810"/>
                  </a:lnTo>
                  <a:lnTo>
                    <a:pt x="1377397" y="1114787"/>
                  </a:lnTo>
                  <a:lnTo>
                    <a:pt x="1377397" y="1114787"/>
                  </a:lnTo>
                  <a:close/>
                  <a:moveTo>
                    <a:pt x="1347910" y="1112995"/>
                  </a:moveTo>
                  <a:lnTo>
                    <a:pt x="1348236" y="1108434"/>
                  </a:lnTo>
                  <a:lnTo>
                    <a:pt x="1347096" y="1105664"/>
                  </a:lnTo>
                  <a:lnTo>
                    <a:pt x="1348073" y="1102406"/>
                  </a:lnTo>
                  <a:lnTo>
                    <a:pt x="1348073" y="1095401"/>
                  </a:lnTo>
                  <a:lnTo>
                    <a:pt x="1349702" y="1091328"/>
                  </a:lnTo>
                  <a:lnTo>
                    <a:pt x="1352798" y="1091328"/>
                  </a:lnTo>
                  <a:cubicBezTo>
                    <a:pt x="1352798" y="1091328"/>
                    <a:pt x="1353775" y="1095727"/>
                    <a:pt x="1353775" y="1095727"/>
                  </a:cubicBezTo>
                  <a:lnTo>
                    <a:pt x="1351820" y="1097193"/>
                  </a:lnTo>
                  <a:lnTo>
                    <a:pt x="1352146" y="1100288"/>
                  </a:lnTo>
                  <a:lnTo>
                    <a:pt x="1354427" y="1103710"/>
                  </a:lnTo>
                  <a:lnTo>
                    <a:pt x="1351006" y="1112018"/>
                  </a:lnTo>
                  <a:lnTo>
                    <a:pt x="1348073" y="1112995"/>
                  </a:lnTo>
                  <a:lnTo>
                    <a:pt x="1348073" y="1112995"/>
                  </a:lnTo>
                  <a:close/>
                  <a:moveTo>
                    <a:pt x="1345793" y="991954"/>
                  </a:moveTo>
                  <a:lnTo>
                    <a:pt x="1345304" y="996515"/>
                  </a:lnTo>
                  <a:lnTo>
                    <a:pt x="1346770" y="997819"/>
                  </a:lnTo>
                  <a:lnTo>
                    <a:pt x="1352146" y="997819"/>
                  </a:lnTo>
                  <a:lnTo>
                    <a:pt x="1355241" y="994560"/>
                  </a:lnTo>
                  <a:lnTo>
                    <a:pt x="1354590" y="992605"/>
                  </a:lnTo>
                  <a:lnTo>
                    <a:pt x="1349865" y="991791"/>
                  </a:lnTo>
                  <a:lnTo>
                    <a:pt x="1345955" y="991791"/>
                  </a:lnTo>
                  <a:close/>
                  <a:moveTo>
                    <a:pt x="1346770" y="989836"/>
                  </a:moveTo>
                  <a:lnTo>
                    <a:pt x="1349214" y="985437"/>
                  </a:lnTo>
                  <a:lnTo>
                    <a:pt x="1349214" y="980224"/>
                  </a:lnTo>
                  <a:cubicBezTo>
                    <a:pt x="1349214" y="980224"/>
                    <a:pt x="1354753" y="975174"/>
                    <a:pt x="1354753" y="975174"/>
                  </a:cubicBezTo>
                  <a:lnTo>
                    <a:pt x="1358336" y="972079"/>
                  </a:lnTo>
                  <a:lnTo>
                    <a:pt x="1359151" y="973545"/>
                  </a:lnTo>
                  <a:lnTo>
                    <a:pt x="1359151" y="978758"/>
                  </a:lnTo>
                  <a:lnTo>
                    <a:pt x="1358011" y="983971"/>
                  </a:lnTo>
                  <a:lnTo>
                    <a:pt x="1358011" y="988696"/>
                  </a:lnTo>
                  <a:lnTo>
                    <a:pt x="1353775" y="990162"/>
                  </a:lnTo>
                  <a:lnTo>
                    <a:pt x="1346933" y="989836"/>
                  </a:lnTo>
                  <a:lnTo>
                    <a:pt x="1346933" y="989836"/>
                  </a:lnTo>
                  <a:close/>
                  <a:moveTo>
                    <a:pt x="1101103" y="939008"/>
                  </a:moveTo>
                  <a:lnTo>
                    <a:pt x="1104035" y="937379"/>
                  </a:lnTo>
                  <a:lnTo>
                    <a:pt x="1104035" y="932981"/>
                  </a:lnTo>
                  <a:lnTo>
                    <a:pt x="1099474" y="932981"/>
                  </a:lnTo>
                  <a:lnTo>
                    <a:pt x="1099474" y="937053"/>
                  </a:lnTo>
                  <a:cubicBezTo>
                    <a:pt x="1099474" y="937053"/>
                    <a:pt x="1101103" y="939008"/>
                    <a:pt x="1101103" y="939008"/>
                  </a:cubicBezTo>
                  <a:lnTo>
                    <a:pt x="1101103" y="939008"/>
                  </a:lnTo>
                  <a:close/>
                  <a:moveTo>
                    <a:pt x="891928" y="880361"/>
                  </a:moveTo>
                  <a:lnTo>
                    <a:pt x="894371" y="877917"/>
                  </a:lnTo>
                  <a:lnTo>
                    <a:pt x="898118" y="877917"/>
                  </a:lnTo>
                  <a:lnTo>
                    <a:pt x="895023" y="880198"/>
                  </a:lnTo>
                  <a:cubicBezTo>
                    <a:pt x="895023" y="880198"/>
                    <a:pt x="891765" y="880361"/>
                    <a:pt x="892090" y="880361"/>
                  </a:cubicBezTo>
                  <a:lnTo>
                    <a:pt x="892090" y="880361"/>
                  </a:lnTo>
                  <a:close/>
                  <a:moveTo>
                    <a:pt x="874985" y="888018"/>
                  </a:moveTo>
                  <a:lnTo>
                    <a:pt x="880524" y="888018"/>
                  </a:lnTo>
                  <a:cubicBezTo>
                    <a:pt x="880524" y="888018"/>
                    <a:pt x="879709" y="885737"/>
                    <a:pt x="879709" y="885737"/>
                  </a:cubicBezTo>
                  <a:lnTo>
                    <a:pt x="876614" y="885085"/>
                  </a:lnTo>
                  <a:lnTo>
                    <a:pt x="874985" y="888018"/>
                  </a:lnTo>
                  <a:lnTo>
                    <a:pt x="874985" y="888018"/>
                  </a:lnTo>
                  <a:close/>
                  <a:moveTo>
                    <a:pt x="882479" y="906264"/>
                  </a:moveTo>
                  <a:lnTo>
                    <a:pt x="881990" y="903331"/>
                  </a:lnTo>
                  <a:lnTo>
                    <a:pt x="883131" y="902191"/>
                  </a:lnTo>
                  <a:lnTo>
                    <a:pt x="884434" y="906426"/>
                  </a:lnTo>
                  <a:lnTo>
                    <a:pt x="882642" y="906426"/>
                  </a:lnTo>
                  <a:close/>
                  <a:moveTo>
                    <a:pt x="882642" y="908381"/>
                  </a:moveTo>
                  <a:lnTo>
                    <a:pt x="879384" y="901865"/>
                  </a:lnTo>
                  <a:lnTo>
                    <a:pt x="878080" y="904146"/>
                  </a:lnTo>
                  <a:lnTo>
                    <a:pt x="879872" y="906752"/>
                  </a:lnTo>
                  <a:lnTo>
                    <a:pt x="882642" y="908381"/>
                  </a:lnTo>
                  <a:lnTo>
                    <a:pt x="882642" y="908381"/>
                  </a:lnTo>
                  <a:close/>
                  <a:moveTo>
                    <a:pt x="890787" y="920274"/>
                  </a:moveTo>
                  <a:lnTo>
                    <a:pt x="892742" y="926790"/>
                  </a:lnTo>
                  <a:lnTo>
                    <a:pt x="894697" y="927605"/>
                  </a:lnTo>
                  <a:lnTo>
                    <a:pt x="898444" y="923043"/>
                  </a:lnTo>
                  <a:lnTo>
                    <a:pt x="896978" y="921251"/>
                  </a:lnTo>
                  <a:lnTo>
                    <a:pt x="899421" y="918482"/>
                  </a:lnTo>
                  <a:lnTo>
                    <a:pt x="896326" y="918482"/>
                  </a:lnTo>
                  <a:lnTo>
                    <a:pt x="894697" y="921414"/>
                  </a:lnTo>
                  <a:lnTo>
                    <a:pt x="893231" y="919622"/>
                  </a:lnTo>
                  <a:lnTo>
                    <a:pt x="890787" y="920600"/>
                  </a:lnTo>
                  <a:lnTo>
                    <a:pt x="890787" y="920600"/>
                  </a:lnTo>
                  <a:close/>
                  <a:moveTo>
                    <a:pt x="883782" y="951064"/>
                  </a:moveTo>
                  <a:lnTo>
                    <a:pt x="882153" y="942918"/>
                  </a:lnTo>
                  <a:lnTo>
                    <a:pt x="884597" y="940149"/>
                  </a:lnTo>
                  <a:lnTo>
                    <a:pt x="884923" y="936239"/>
                  </a:lnTo>
                  <a:lnTo>
                    <a:pt x="888181" y="930537"/>
                  </a:lnTo>
                  <a:lnTo>
                    <a:pt x="889647" y="933307"/>
                  </a:lnTo>
                  <a:lnTo>
                    <a:pt x="888506" y="936565"/>
                  </a:lnTo>
                  <a:lnTo>
                    <a:pt x="890461" y="938845"/>
                  </a:lnTo>
                  <a:lnTo>
                    <a:pt x="888995" y="941615"/>
                  </a:lnTo>
                  <a:lnTo>
                    <a:pt x="890461" y="944710"/>
                  </a:lnTo>
                  <a:lnTo>
                    <a:pt x="887203" y="946502"/>
                  </a:lnTo>
                  <a:lnTo>
                    <a:pt x="886063" y="949434"/>
                  </a:lnTo>
                  <a:lnTo>
                    <a:pt x="883619" y="950901"/>
                  </a:lnTo>
                  <a:lnTo>
                    <a:pt x="883619" y="950901"/>
                  </a:lnTo>
                  <a:close/>
                  <a:moveTo>
                    <a:pt x="1073571" y="834584"/>
                  </a:moveTo>
                  <a:lnTo>
                    <a:pt x="1073571" y="832140"/>
                  </a:lnTo>
                  <a:cubicBezTo>
                    <a:pt x="1073571" y="832140"/>
                    <a:pt x="1075363" y="830348"/>
                    <a:pt x="1075363" y="830348"/>
                  </a:cubicBezTo>
                  <a:lnTo>
                    <a:pt x="1076015" y="832466"/>
                  </a:lnTo>
                  <a:lnTo>
                    <a:pt x="1075037" y="835398"/>
                  </a:lnTo>
                  <a:lnTo>
                    <a:pt x="1073408" y="834584"/>
                  </a:lnTo>
                  <a:lnTo>
                    <a:pt x="1073408" y="834584"/>
                  </a:lnTo>
                  <a:close/>
                  <a:moveTo>
                    <a:pt x="1136943" y="795974"/>
                  </a:moveTo>
                  <a:lnTo>
                    <a:pt x="1135966" y="789621"/>
                  </a:lnTo>
                  <a:lnTo>
                    <a:pt x="1134336" y="787829"/>
                  </a:lnTo>
                  <a:lnTo>
                    <a:pt x="1135477" y="781638"/>
                  </a:lnTo>
                  <a:lnTo>
                    <a:pt x="1138409" y="780498"/>
                  </a:lnTo>
                  <a:lnTo>
                    <a:pt x="1140201" y="782616"/>
                  </a:lnTo>
                  <a:lnTo>
                    <a:pt x="1139875" y="785059"/>
                  </a:lnTo>
                  <a:lnTo>
                    <a:pt x="1142319" y="787829"/>
                  </a:lnTo>
                  <a:lnTo>
                    <a:pt x="1139712" y="790761"/>
                  </a:lnTo>
                  <a:lnTo>
                    <a:pt x="1139224" y="795811"/>
                  </a:lnTo>
                  <a:lnTo>
                    <a:pt x="1136943" y="795811"/>
                  </a:lnTo>
                  <a:close/>
                  <a:moveTo>
                    <a:pt x="1065915" y="872867"/>
                  </a:moveTo>
                  <a:lnTo>
                    <a:pt x="1066403" y="870912"/>
                  </a:lnTo>
                  <a:lnTo>
                    <a:pt x="1065426" y="867980"/>
                  </a:lnTo>
                  <a:lnTo>
                    <a:pt x="1068521" y="864396"/>
                  </a:lnTo>
                  <a:lnTo>
                    <a:pt x="1068521" y="862278"/>
                  </a:lnTo>
                  <a:lnTo>
                    <a:pt x="1070965" y="859346"/>
                  </a:lnTo>
                  <a:lnTo>
                    <a:pt x="1070639" y="856088"/>
                  </a:lnTo>
                  <a:lnTo>
                    <a:pt x="1066729" y="856088"/>
                  </a:lnTo>
                  <a:cubicBezTo>
                    <a:pt x="1066729" y="856088"/>
                    <a:pt x="1065915" y="852178"/>
                    <a:pt x="1065915" y="852178"/>
                  </a:cubicBezTo>
                  <a:lnTo>
                    <a:pt x="1067544" y="848105"/>
                  </a:lnTo>
                  <a:lnTo>
                    <a:pt x="1071454" y="847290"/>
                  </a:lnTo>
                  <a:lnTo>
                    <a:pt x="1071942" y="842892"/>
                  </a:lnTo>
                  <a:lnTo>
                    <a:pt x="1066729" y="839960"/>
                  </a:lnTo>
                  <a:lnTo>
                    <a:pt x="1063471" y="841100"/>
                  </a:lnTo>
                  <a:lnTo>
                    <a:pt x="1063145" y="844195"/>
                  </a:lnTo>
                  <a:lnTo>
                    <a:pt x="1061353" y="845987"/>
                  </a:lnTo>
                  <a:lnTo>
                    <a:pt x="1058421" y="844195"/>
                  </a:lnTo>
                  <a:lnTo>
                    <a:pt x="1052230" y="844195"/>
                  </a:lnTo>
                  <a:cubicBezTo>
                    <a:pt x="1052230" y="844195"/>
                    <a:pt x="1046203" y="850223"/>
                    <a:pt x="1046203" y="850223"/>
                  </a:cubicBezTo>
                  <a:lnTo>
                    <a:pt x="1041315" y="853481"/>
                  </a:lnTo>
                  <a:lnTo>
                    <a:pt x="1041315" y="851200"/>
                  </a:lnTo>
                  <a:cubicBezTo>
                    <a:pt x="1041315" y="851200"/>
                    <a:pt x="1046854" y="847779"/>
                    <a:pt x="1046854" y="847779"/>
                  </a:cubicBezTo>
                  <a:lnTo>
                    <a:pt x="1049624" y="844195"/>
                  </a:lnTo>
                  <a:lnTo>
                    <a:pt x="1049624" y="838493"/>
                  </a:lnTo>
                  <a:cubicBezTo>
                    <a:pt x="1049624" y="838493"/>
                    <a:pt x="1047343" y="841752"/>
                    <a:pt x="1047343" y="841752"/>
                  </a:cubicBezTo>
                  <a:lnTo>
                    <a:pt x="1045062" y="840611"/>
                  </a:lnTo>
                  <a:lnTo>
                    <a:pt x="1045062" y="836538"/>
                  </a:lnTo>
                  <a:cubicBezTo>
                    <a:pt x="1045062" y="836538"/>
                    <a:pt x="1049135" y="833443"/>
                    <a:pt x="1049135" y="833443"/>
                  </a:cubicBezTo>
                  <a:lnTo>
                    <a:pt x="1045877" y="827253"/>
                  </a:lnTo>
                  <a:lnTo>
                    <a:pt x="1048809" y="823343"/>
                  </a:lnTo>
                  <a:lnTo>
                    <a:pt x="1052230" y="823343"/>
                  </a:lnTo>
                  <a:cubicBezTo>
                    <a:pt x="1052230" y="823343"/>
                    <a:pt x="1051579" y="826275"/>
                    <a:pt x="1051579" y="826275"/>
                  </a:cubicBezTo>
                  <a:lnTo>
                    <a:pt x="1053859" y="833280"/>
                  </a:lnTo>
                  <a:lnTo>
                    <a:pt x="1057118" y="836538"/>
                  </a:lnTo>
                  <a:lnTo>
                    <a:pt x="1059561" y="835398"/>
                  </a:lnTo>
                  <a:lnTo>
                    <a:pt x="1064774" y="835398"/>
                  </a:lnTo>
                  <a:cubicBezTo>
                    <a:pt x="1064774" y="835398"/>
                    <a:pt x="1067218" y="829533"/>
                    <a:pt x="1067218" y="829533"/>
                  </a:cubicBezTo>
                  <a:lnTo>
                    <a:pt x="1064448" y="827090"/>
                  </a:lnTo>
                  <a:lnTo>
                    <a:pt x="1064448" y="825135"/>
                  </a:lnTo>
                  <a:cubicBezTo>
                    <a:pt x="1064448" y="825135"/>
                    <a:pt x="1068195" y="824972"/>
                    <a:pt x="1068195" y="824972"/>
                  </a:cubicBezTo>
                  <a:lnTo>
                    <a:pt x="1069824" y="826764"/>
                  </a:lnTo>
                  <a:lnTo>
                    <a:pt x="1072431" y="826112"/>
                  </a:lnTo>
                  <a:lnTo>
                    <a:pt x="1076504" y="822202"/>
                  </a:lnTo>
                  <a:lnTo>
                    <a:pt x="1078133" y="816826"/>
                  </a:lnTo>
                  <a:lnTo>
                    <a:pt x="1079110" y="821225"/>
                  </a:lnTo>
                  <a:lnTo>
                    <a:pt x="1080902" y="821225"/>
                  </a:lnTo>
                  <a:cubicBezTo>
                    <a:pt x="1080902" y="821225"/>
                    <a:pt x="1085138" y="817478"/>
                    <a:pt x="1085138" y="817478"/>
                  </a:cubicBezTo>
                  <a:lnTo>
                    <a:pt x="1081391" y="825624"/>
                  </a:lnTo>
                  <a:lnTo>
                    <a:pt x="1081717" y="832140"/>
                  </a:lnTo>
                  <a:lnTo>
                    <a:pt x="1083672" y="831000"/>
                  </a:lnTo>
                  <a:lnTo>
                    <a:pt x="1085953" y="832303"/>
                  </a:lnTo>
                  <a:lnTo>
                    <a:pt x="1083672" y="836376"/>
                  </a:lnTo>
                  <a:lnTo>
                    <a:pt x="1086767" y="836376"/>
                  </a:lnTo>
                  <a:lnTo>
                    <a:pt x="1089048" y="830837"/>
                  </a:lnTo>
                  <a:lnTo>
                    <a:pt x="1091654" y="829045"/>
                  </a:lnTo>
                  <a:lnTo>
                    <a:pt x="1095564" y="821551"/>
                  </a:lnTo>
                  <a:lnTo>
                    <a:pt x="1098659" y="820248"/>
                  </a:lnTo>
                  <a:lnTo>
                    <a:pt x="1097519" y="825624"/>
                  </a:lnTo>
                  <a:lnTo>
                    <a:pt x="1093446" y="830348"/>
                  </a:lnTo>
                  <a:lnTo>
                    <a:pt x="1094587" y="838330"/>
                  </a:lnTo>
                  <a:lnTo>
                    <a:pt x="1098334" y="838330"/>
                  </a:lnTo>
                  <a:cubicBezTo>
                    <a:pt x="1098334" y="838330"/>
                    <a:pt x="1101429" y="840611"/>
                    <a:pt x="1101429" y="840611"/>
                  </a:cubicBezTo>
                  <a:lnTo>
                    <a:pt x="1103710" y="837190"/>
                  </a:lnTo>
                  <a:lnTo>
                    <a:pt x="1109411" y="832140"/>
                  </a:lnTo>
                  <a:lnTo>
                    <a:pt x="1111203" y="824809"/>
                  </a:lnTo>
                  <a:lnTo>
                    <a:pt x="1113647" y="819433"/>
                  </a:lnTo>
                  <a:lnTo>
                    <a:pt x="1112344" y="813894"/>
                  </a:lnTo>
                  <a:lnTo>
                    <a:pt x="1114136" y="811613"/>
                  </a:lnTo>
                  <a:lnTo>
                    <a:pt x="1113484" y="809007"/>
                  </a:lnTo>
                  <a:lnTo>
                    <a:pt x="1110552" y="809333"/>
                  </a:lnTo>
                  <a:lnTo>
                    <a:pt x="1107782" y="808029"/>
                  </a:lnTo>
                  <a:lnTo>
                    <a:pt x="1104850" y="810310"/>
                  </a:lnTo>
                  <a:lnTo>
                    <a:pt x="1104850" y="804771"/>
                  </a:lnTo>
                  <a:lnTo>
                    <a:pt x="1107131" y="803305"/>
                  </a:lnTo>
                  <a:lnTo>
                    <a:pt x="1105664" y="800698"/>
                  </a:lnTo>
                  <a:lnTo>
                    <a:pt x="1100940" y="801187"/>
                  </a:lnTo>
                  <a:lnTo>
                    <a:pt x="1100126" y="798906"/>
                  </a:lnTo>
                  <a:lnTo>
                    <a:pt x="1095401" y="795160"/>
                  </a:lnTo>
                  <a:lnTo>
                    <a:pt x="1095401" y="791413"/>
                  </a:lnTo>
                  <a:cubicBezTo>
                    <a:pt x="1095401" y="791413"/>
                    <a:pt x="1091817" y="783593"/>
                    <a:pt x="1091817" y="783593"/>
                  </a:cubicBezTo>
                  <a:lnTo>
                    <a:pt x="1091165" y="777240"/>
                  </a:lnTo>
                  <a:lnTo>
                    <a:pt x="1093609" y="771864"/>
                  </a:lnTo>
                  <a:lnTo>
                    <a:pt x="1091328" y="764533"/>
                  </a:lnTo>
                  <a:lnTo>
                    <a:pt x="1088396" y="770397"/>
                  </a:lnTo>
                  <a:lnTo>
                    <a:pt x="1088722" y="775448"/>
                  </a:lnTo>
                  <a:lnTo>
                    <a:pt x="1084812" y="770072"/>
                  </a:lnTo>
                  <a:lnTo>
                    <a:pt x="1079436" y="767139"/>
                  </a:lnTo>
                  <a:lnTo>
                    <a:pt x="1077970" y="756713"/>
                  </a:lnTo>
                  <a:lnTo>
                    <a:pt x="1074875" y="754921"/>
                  </a:lnTo>
                  <a:lnTo>
                    <a:pt x="1073897" y="746613"/>
                  </a:lnTo>
                  <a:lnTo>
                    <a:pt x="1070476" y="742051"/>
                  </a:lnTo>
                  <a:lnTo>
                    <a:pt x="1070476" y="737001"/>
                  </a:lnTo>
                  <a:cubicBezTo>
                    <a:pt x="1070476" y="737001"/>
                    <a:pt x="1068521" y="733743"/>
                    <a:pt x="1068521" y="733743"/>
                  </a:cubicBezTo>
                  <a:lnTo>
                    <a:pt x="1068521" y="730322"/>
                  </a:lnTo>
                  <a:lnTo>
                    <a:pt x="1073734" y="729833"/>
                  </a:lnTo>
                  <a:lnTo>
                    <a:pt x="1075363" y="724457"/>
                  </a:lnTo>
                  <a:lnTo>
                    <a:pt x="1078621" y="724457"/>
                  </a:lnTo>
                  <a:lnTo>
                    <a:pt x="1079599" y="725923"/>
                  </a:lnTo>
                  <a:lnTo>
                    <a:pt x="1082857" y="723642"/>
                  </a:lnTo>
                  <a:lnTo>
                    <a:pt x="1082857" y="719244"/>
                  </a:lnTo>
                  <a:cubicBezTo>
                    <a:pt x="1082857" y="719244"/>
                    <a:pt x="1087581" y="709306"/>
                    <a:pt x="1087581" y="709306"/>
                  </a:cubicBezTo>
                  <a:lnTo>
                    <a:pt x="1087581" y="702627"/>
                  </a:lnTo>
                  <a:lnTo>
                    <a:pt x="1088722" y="699858"/>
                  </a:lnTo>
                  <a:lnTo>
                    <a:pt x="1084975" y="691549"/>
                  </a:lnTo>
                  <a:lnTo>
                    <a:pt x="1086767" y="685685"/>
                  </a:lnTo>
                  <a:lnTo>
                    <a:pt x="1089862" y="685196"/>
                  </a:lnTo>
                  <a:lnTo>
                    <a:pt x="1090188" y="677865"/>
                  </a:lnTo>
                  <a:lnTo>
                    <a:pt x="1095401" y="670860"/>
                  </a:lnTo>
                  <a:lnTo>
                    <a:pt x="1095890" y="666624"/>
                  </a:lnTo>
                  <a:lnTo>
                    <a:pt x="1098659" y="663366"/>
                  </a:lnTo>
                  <a:lnTo>
                    <a:pt x="1098659" y="653591"/>
                  </a:lnTo>
                  <a:lnTo>
                    <a:pt x="1101754" y="652288"/>
                  </a:lnTo>
                  <a:lnTo>
                    <a:pt x="1101754" y="647564"/>
                  </a:lnTo>
                  <a:lnTo>
                    <a:pt x="1107294" y="641373"/>
                  </a:lnTo>
                  <a:lnTo>
                    <a:pt x="1106805" y="635834"/>
                  </a:lnTo>
                  <a:lnTo>
                    <a:pt x="1107294" y="632413"/>
                  </a:lnTo>
                  <a:lnTo>
                    <a:pt x="1110552" y="631436"/>
                  </a:lnTo>
                  <a:lnTo>
                    <a:pt x="1110878" y="626386"/>
                  </a:lnTo>
                  <a:lnTo>
                    <a:pt x="1108271" y="621010"/>
                  </a:lnTo>
                  <a:lnTo>
                    <a:pt x="1109086" y="617914"/>
                  </a:lnTo>
                  <a:lnTo>
                    <a:pt x="1109086" y="614005"/>
                  </a:lnTo>
                  <a:lnTo>
                    <a:pt x="1104687" y="611561"/>
                  </a:lnTo>
                  <a:lnTo>
                    <a:pt x="1102406" y="604230"/>
                  </a:lnTo>
                  <a:lnTo>
                    <a:pt x="1104035" y="601786"/>
                  </a:lnTo>
                  <a:lnTo>
                    <a:pt x="1100614" y="593152"/>
                  </a:lnTo>
                  <a:lnTo>
                    <a:pt x="1096053" y="592175"/>
                  </a:lnTo>
                  <a:lnTo>
                    <a:pt x="1094098" y="589894"/>
                  </a:lnTo>
                  <a:lnTo>
                    <a:pt x="1092143" y="590220"/>
                  </a:lnTo>
                  <a:lnTo>
                    <a:pt x="1091165" y="596899"/>
                  </a:lnTo>
                  <a:lnTo>
                    <a:pt x="1088722" y="596899"/>
                  </a:lnTo>
                  <a:cubicBezTo>
                    <a:pt x="1088722" y="596899"/>
                    <a:pt x="1083346" y="586962"/>
                    <a:pt x="1083346" y="586962"/>
                  </a:cubicBezTo>
                  <a:lnTo>
                    <a:pt x="1080088" y="586473"/>
                  </a:lnTo>
                  <a:lnTo>
                    <a:pt x="1076667" y="582400"/>
                  </a:lnTo>
                  <a:lnTo>
                    <a:pt x="1073408" y="584192"/>
                  </a:lnTo>
                  <a:lnTo>
                    <a:pt x="1074386" y="590709"/>
                  </a:lnTo>
                  <a:lnTo>
                    <a:pt x="1072594" y="592012"/>
                  </a:lnTo>
                  <a:lnTo>
                    <a:pt x="1069173" y="591034"/>
                  </a:lnTo>
                  <a:lnTo>
                    <a:pt x="1066566" y="597062"/>
                  </a:lnTo>
                  <a:lnTo>
                    <a:pt x="1066566" y="600157"/>
                  </a:lnTo>
                  <a:lnTo>
                    <a:pt x="1063471" y="601949"/>
                  </a:lnTo>
                  <a:lnTo>
                    <a:pt x="1059398" y="614330"/>
                  </a:lnTo>
                  <a:lnTo>
                    <a:pt x="1059398" y="619543"/>
                  </a:lnTo>
                  <a:lnTo>
                    <a:pt x="1056629" y="623616"/>
                  </a:lnTo>
                  <a:lnTo>
                    <a:pt x="1056303" y="629644"/>
                  </a:lnTo>
                  <a:lnTo>
                    <a:pt x="1054674" y="631110"/>
                  </a:lnTo>
                  <a:lnTo>
                    <a:pt x="1054348" y="635346"/>
                  </a:lnTo>
                  <a:lnTo>
                    <a:pt x="1050601" y="637789"/>
                  </a:lnTo>
                  <a:lnTo>
                    <a:pt x="1050112" y="648053"/>
                  </a:lnTo>
                  <a:lnTo>
                    <a:pt x="1046203" y="650659"/>
                  </a:lnTo>
                  <a:lnTo>
                    <a:pt x="1043922" y="649682"/>
                  </a:lnTo>
                  <a:lnTo>
                    <a:pt x="1040501" y="657990"/>
                  </a:lnTo>
                  <a:lnTo>
                    <a:pt x="1042130" y="660922"/>
                  </a:lnTo>
                  <a:lnTo>
                    <a:pt x="1040664" y="665647"/>
                  </a:lnTo>
                  <a:lnTo>
                    <a:pt x="1040175" y="670860"/>
                  </a:lnTo>
                  <a:lnTo>
                    <a:pt x="1036428" y="675584"/>
                  </a:lnTo>
                  <a:lnTo>
                    <a:pt x="1039035" y="679494"/>
                  </a:lnTo>
                  <a:lnTo>
                    <a:pt x="1038220" y="683241"/>
                  </a:lnTo>
                  <a:lnTo>
                    <a:pt x="1032844" y="683241"/>
                  </a:lnTo>
                  <a:lnTo>
                    <a:pt x="1034799" y="685685"/>
                  </a:lnTo>
                  <a:lnTo>
                    <a:pt x="1039197" y="687640"/>
                  </a:lnTo>
                  <a:lnTo>
                    <a:pt x="1039197" y="692038"/>
                  </a:lnTo>
                  <a:lnTo>
                    <a:pt x="1036102" y="690572"/>
                  </a:lnTo>
                  <a:lnTo>
                    <a:pt x="1032844" y="691224"/>
                  </a:lnTo>
                  <a:lnTo>
                    <a:pt x="1028771" y="693993"/>
                  </a:lnTo>
                  <a:lnTo>
                    <a:pt x="1025676" y="692853"/>
                  </a:lnTo>
                  <a:lnTo>
                    <a:pt x="1023395" y="695296"/>
                  </a:lnTo>
                  <a:lnTo>
                    <a:pt x="1023721" y="700346"/>
                  </a:lnTo>
                  <a:lnTo>
                    <a:pt x="1021440" y="702627"/>
                  </a:lnTo>
                  <a:lnTo>
                    <a:pt x="1018019" y="700672"/>
                  </a:lnTo>
                  <a:lnTo>
                    <a:pt x="1017530" y="695459"/>
                  </a:lnTo>
                  <a:lnTo>
                    <a:pt x="1018997" y="691549"/>
                  </a:lnTo>
                  <a:lnTo>
                    <a:pt x="1016227" y="688291"/>
                  </a:lnTo>
                  <a:lnTo>
                    <a:pt x="1016227" y="680797"/>
                  </a:lnTo>
                  <a:cubicBezTo>
                    <a:pt x="1016227" y="680797"/>
                    <a:pt x="1019648" y="673304"/>
                    <a:pt x="1019648" y="673304"/>
                  </a:cubicBezTo>
                  <a:lnTo>
                    <a:pt x="1020626" y="667113"/>
                  </a:lnTo>
                  <a:lnTo>
                    <a:pt x="1024047" y="664181"/>
                  </a:lnTo>
                  <a:lnTo>
                    <a:pt x="1024373" y="659945"/>
                  </a:lnTo>
                  <a:lnTo>
                    <a:pt x="1025676" y="655709"/>
                  </a:lnTo>
                  <a:lnTo>
                    <a:pt x="1028445" y="644957"/>
                  </a:lnTo>
                  <a:lnTo>
                    <a:pt x="1034310" y="641862"/>
                  </a:lnTo>
                  <a:lnTo>
                    <a:pt x="1034799" y="635834"/>
                  </a:lnTo>
                  <a:lnTo>
                    <a:pt x="1031867" y="636323"/>
                  </a:lnTo>
                  <a:lnTo>
                    <a:pt x="1029423" y="635834"/>
                  </a:lnTo>
                  <a:lnTo>
                    <a:pt x="1029749" y="632087"/>
                  </a:lnTo>
                  <a:lnTo>
                    <a:pt x="1032844" y="628666"/>
                  </a:lnTo>
                  <a:lnTo>
                    <a:pt x="1033333" y="618240"/>
                  </a:lnTo>
                  <a:lnTo>
                    <a:pt x="1030563" y="616448"/>
                  </a:lnTo>
                  <a:lnTo>
                    <a:pt x="1028283" y="610583"/>
                  </a:lnTo>
                  <a:lnTo>
                    <a:pt x="1029912" y="608629"/>
                  </a:lnTo>
                  <a:lnTo>
                    <a:pt x="1030237" y="602601"/>
                  </a:lnTo>
                  <a:lnTo>
                    <a:pt x="1027142" y="602112"/>
                  </a:lnTo>
                  <a:lnTo>
                    <a:pt x="1022581" y="596085"/>
                  </a:lnTo>
                  <a:lnTo>
                    <a:pt x="1015413" y="598528"/>
                  </a:lnTo>
                  <a:lnTo>
                    <a:pt x="1013784" y="603904"/>
                  </a:lnTo>
                  <a:lnTo>
                    <a:pt x="1018508" y="607651"/>
                  </a:lnTo>
                  <a:lnTo>
                    <a:pt x="1018508" y="612050"/>
                  </a:lnTo>
                  <a:cubicBezTo>
                    <a:pt x="1018508" y="612050"/>
                    <a:pt x="1020952" y="615145"/>
                    <a:pt x="1020952" y="615145"/>
                  </a:cubicBezTo>
                  <a:lnTo>
                    <a:pt x="1020952" y="619055"/>
                  </a:lnTo>
                  <a:lnTo>
                    <a:pt x="1017694" y="619055"/>
                  </a:lnTo>
                  <a:cubicBezTo>
                    <a:pt x="1017694" y="619055"/>
                    <a:pt x="1016064" y="614493"/>
                    <a:pt x="1016064" y="614493"/>
                  </a:cubicBezTo>
                  <a:lnTo>
                    <a:pt x="1012643" y="614493"/>
                  </a:lnTo>
                  <a:lnTo>
                    <a:pt x="1010851" y="620032"/>
                  </a:lnTo>
                  <a:lnTo>
                    <a:pt x="1013132" y="621498"/>
                  </a:lnTo>
                  <a:lnTo>
                    <a:pt x="1014435" y="625734"/>
                  </a:lnTo>
                  <a:lnTo>
                    <a:pt x="1016227" y="631762"/>
                  </a:lnTo>
                  <a:lnTo>
                    <a:pt x="1013621" y="633554"/>
                  </a:lnTo>
                  <a:lnTo>
                    <a:pt x="1012806" y="631599"/>
                  </a:lnTo>
                  <a:lnTo>
                    <a:pt x="1010525" y="629318"/>
                  </a:lnTo>
                  <a:lnTo>
                    <a:pt x="1009222" y="635183"/>
                  </a:lnTo>
                  <a:lnTo>
                    <a:pt x="1004987" y="631925"/>
                  </a:lnTo>
                  <a:lnTo>
                    <a:pt x="1004987" y="627689"/>
                  </a:lnTo>
                  <a:lnTo>
                    <a:pt x="1001891" y="628178"/>
                  </a:lnTo>
                  <a:lnTo>
                    <a:pt x="999122" y="633391"/>
                  </a:lnTo>
                  <a:lnTo>
                    <a:pt x="997167" y="632413"/>
                  </a:lnTo>
                  <a:lnTo>
                    <a:pt x="997167" y="627037"/>
                  </a:lnTo>
                  <a:lnTo>
                    <a:pt x="1000262" y="623779"/>
                  </a:lnTo>
                  <a:lnTo>
                    <a:pt x="998796" y="622639"/>
                  </a:lnTo>
                  <a:lnTo>
                    <a:pt x="992117" y="625245"/>
                  </a:lnTo>
                  <a:lnTo>
                    <a:pt x="986415" y="630784"/>
                  </a:lnTo>
                  <a:lnTo>
                    <a:pt x="982994" y="624757"/>
                  </a:lnTo>
                  <a:lnTo>
                    <a:pt x="979736" y="625082"/>
                  </a:lnTo>
                  <a:lnTo>
                    <a:pt x="976640" y="628178"/>
                  </a:lnTo>
                  <a:lnTo>
                    <a:pt x="970939" y="628178"/>
                  </a:lnTo>
                  <a:cubicBezTo>
                    <a:pt x="970939" y="628178"/>
                    <a:pt x="969798" y="625571"/>
                    <a:pt x="969798" y="625571"/>
                  </a:cubicBezTo>
                  <a:lnTo>
                    <a:pt x="964096" y="626549"/>
                  </a:lnTo>
                  <a:lnTo>
                    <a:pt x="961653" y="624268"/>
                  </a:lnTo>
                  <a:lnTo>
                    <a:pt x="965725" y="620521"/>
                  </a:lnTo>
                  <a:lnTo>
                    <a:pt x="972242" y="619869"/>
                  </a:lnTo>
                  <a:lnTo>
                    <a:pt x="975337" y="621010"/>
                  </a:lnTo>
                  <a:lnTo>
                    <a:pt x="981039" y="619543"/>
                  </a:lnTo>
                  <a:lnTo>
                    <a:pt x="981365" y="616448"/>
                  </a:lnTo>
                  <a:lnTo>
                    <a:pt x="984623" y="615308"/>
                  </a:lnTo>
                  <a:lnTo>
                    <a:pt x="988044" y="616448"/>
                  </a:lnTo>
                  <a:lnTo>
                    <a:pt x="993257" y="612050"/>
                  </a:lnTo>
                  <a:lnTo>
                    <a:pt x="993257" y="607814"/>
                  </a:lnTo>
                  <a:lnTo>
                    <a:pt x="994235" y="604882"/>
                  </a:lnTo>
                  <a:lnTo>
                    <a:pt x="990976" y="601949"/>
                  </a:lnTo>
                  <a:lnTo>
                    <a:pt x="986741" y="593478"/>
                  </a:lnTo>
                  <a:lnTo>
                    <a:pt x="981039" y="591686"/>
                  </a:lnTo>
                  <a:lnTo>
                    <a:pt x="980387" y="588102"/>
                  </a:lnTo>
                  <a:lnTo>
                    <a:pt x="972568" y="580934"/>
                  </a:lnTo>
                  <a:lnTo>
                    <a:pt x="971427" y="578165"/>
                  </a:lnTo>
                  <a:lnTo>
                    <a:pt x="967192" y="578165"/>
                  </a:lnTo>
                  <a:lnTo>
                    <a:pt x="961653" y="582237"/>
                  </a:lnTo>
                  <a:lnTo>
                    <a:pt x="958394" y="582563"/>
                  </a:lnTo>
                  <a:lnTo>
                    <a:pt x="950249" y="590871"/>
                  </a:lnTo>
                  <a:lnTo>
                    <a:pt x="952204" y="592664"/>
                  </a:lnTo>
                  <a:lnTo>
                    <a:pt x="952204" y="595922"/>
                  </a:lnTo>
                  <a:cubicBezTo>
                    <a:pt x="952204" y="595922"/>
                    <a:pt x="948946" y="597062"/>
                    <a:pt x="948946" y="597062"/>
                  </a:cubicBezTo>
                  <a:lnTo>
                    <a:pt x="945525" y="598691"/>
                  </a:lnTo>
                  <a:lnTo>
                    <a:pt x="945525" y="596410"/>
                  </a:lnTo>
                  <a:cubicBezTo>
                    <a:pt x="945525" y="596410"/>
                    <a:pt x="941452" y="597225"/>
                    <a:pt x="941452" y="597225"/>
                  </a:cubicBezTo>
                  <a:lnTo>
                    <a:pt x="937705" y="594618"/>
                  </a:lnTo>
                  <a:lnTo>
                    <a:pt x="932655" y="594944"/>
                  </a:lnTo>
                  <a:lnTo>
                    <a:pt x="930374" y="596899"/>
                  </a:lnTo>
                  <a:lnTo>
                    <a:pt x="925161" y="596899"/>
                  </a:lnTo>
                  <a:cubicBezTo>
                    <a:pt x="925161" y="596899"/>
                    <a:pt x="923206" y="594944"/>
                    <a:pt x="923206" y="594944"/>
                  </a:cubicBezTo>
                  <a:lnTo>
                    <a:pt x="924998" y="593152"/>
                  </a:lnTo>
                  <a:lnTo>
                    <a:pt x="932329" y="591523"/>
                  </a:lnTo>
                  <a:lnTo>
                    <a:pt x="934121" y="587125"/>
                  </a:lnTo>
                  <a:lnTo>
                    <a:pt x="938357" y="585495"/>
                  </a:lnTo>
                  <a:lnTo>
                    <a:pt x="941452" y="586310"/>
                  </a:lnTo>
                  <a:lnTo>
                    <a:pt x="945199" y="581260"/>
                  </a:lnTo>
                  <a:lnTo>
                    <a:pt x="945525" y="575395"/>
                  </a:lnTo>
                  <a:lnTo>
                    <a:pt x="947480" y="572626"/>
                  </a:lnTo>
                  <a:lnTo>
                    <a:pt x="951552" y="572626"/>
                  </a:lnTo>
                  <a:lnTo>
                    <a:pt x="955299" y="565458"/>
                  </a:lnTo>
                  <a:lnTo>
                    <a:pt x="954811" y="557964"/>
                  </a:lnTo>
                  <a:lnTo>
                    <a:pt x="956114" y="553891"/>
                  </a:lnTo>
                  <a:lnTo>
                    <a:pt x="954648" y="549330"/>
                  </a:lnTo>
                  <a:lnTo>
                    <a:pt x="950412" y="549330"/>
                  </a:lnTo>
                  <a:cubicBezTo>
                    <a:pt x="950412" y="549330"/>
                    <a:pt x="942592" y="551610"/>
                    <a:pt x="942592" y="551610"/>
                  </a:cubicBezTo>
                  <a:lnTo>
                    <a:pt x="933144" y="553565"/>
                  </a:lnTo>
                  <a:lnTo>
                    <a:pt x="923369" y="557475"/>
                  </a:lnTo>
                  <a:lnTo>
                    <a:pt x="904797" y="560408"/>
                  </a:lnTo>
                  <a:lnTo>
                    <a:pt x="881990" y="569205"/>
                  </a:lnTo>
                  <a:lnTo>
                    <a:pt x="876125" y="574418"/>
                  </a:lnTo>
                  <a:lnTo>
                    <a:pt x="862115" y="577676"/>
                  </a:lnTo>
                  <a:lnTo>
                    <a:pt x="843544" y="586310"/>
                  </a:lnTo>
                  <a:lnTo>
                    <a:pt x="837027" y="592175"/>
                  </a:lnTo>
                  <a:lnTo>
                    <a:pt x="836538" y="596085"/>
                  </a:lnTo>
                  <a:lnTo>
                    <a:pt x="840774" y="596410"/>
                  </a:lnTo>
                  <a:lnTo>
                    <a:pt x="843381" y="598365"/>
                  </a:lnTo>
                  <a:lnTo>
                    <a:pt x="838331" y="602112"/>
                  </a:lnTo>
                  <a:lnTo>
                    <a:pt x="833606" y="602112"/>
                  </a:lnTo>
                  <a:lnTo>
                    <a:pt x="825461" y="609443"/>
                  </a:lnTo>
                  <a:lnTo>
                    <a:pt x="818456" y="609769"/>
                  </a:lnTo>
                  <a:lnTo>
                    <a:pt x="814872" y="612701"/>
                  </a:lnTo>
                  <a:lnTo>
                    <a:pt x="813568" y="617263"/>
                  </a:lnTo>
                  <a:lnTo>
                    <a:pt x="806726" y="622313"/>
                  </a:lnTo>
                  <a:lnTo>
                    <a:pt x="803631" y="626223"/>
                  </a:lnTo>
                  <a:lnTo>
                    <a:pt x="803305" y="632576"/>
                  </a:lnTo>
                  <a:lnTo>
                    <a:pt x="806889" y="630784"/>
                  </a:lnTo>
                  <a:lnTo>
                    <a:pt x="810310" y="633717"/>
                  </a:lnTo>
                  <a:lnTo>
                    <a:pt x="808355" y="636975"/>
                  </a:lnTo>
                  <a:lnTo>
                    <a:pt x="809984" y="638278"/>
                  </a:lnTo>
                  <a:lnTo>
                    <a:pt x="812917" y="637626"/>
                  </a:lnTo>
                  <a:lnTo>
                    <a:pt x="817315" y="635020"/>
                  </a:lnTo>
                  <a:lnTo>
                    <a:pt x="822040" y="635509"/>
                  </a:lnTo>
                  <a:lnTo>
                    <a:pt x="825949" y="638115"/>
                  </a:lnTo>
                  <a:lnTo>
                    <a:pt x="824320" y="642025"/>
                  </a:lnTo>
                  <a:lnTo>
                    <a:pt x="818456" y="644469"/>
                  </a:lnTo>
                  <a:lnTo>
                    <a:pt x="812754" y="641373"/>
                  </a:lnTo>
                  <a:lnTo>
                    <a:pt x="809007" y="643491"/>
                  </a:lnTo>
                  <a:lnTo>
                    <a:pt x="810147" y="648053"/>
                  </a:lnTo>
                  <a:lnTo>
                    <a:pt x="818944" y="652614"/>
                  </a:lnTo>
                  <a:lnTo>
                    <a:pt x="821877" y="650822"/>
                  </a:lnTo>
                  <a:lnTo>
                    <a:pt x="822854" y="647075"/>
                  </a:lnTo>
                  <a:lnTo>
                    <a:pt x="825786" y="647075"/>
                  </a:lnTo>
                  <a:cubicBezTo>
                    <a:pt x="825786" y="647075"/>
                    <a:pt x="827578" y="649519"/>
                    <a:pt x="827578" y="649519"/>
                  </a:cubicBezTo>
                  <a:lnTo>
                    <a:pt x="825624" y="653103"/>
                  </a:lnTo>
                  <a:lnTo>
                    <a:pt x="829696" y="652614"/>
                  </a:lnTo>
                  <a:lnTo>
                    <a:pt x="838168" y="654080"/>
                  </a:lnTo>
                  <a:lnTo>
                    <a:pt x="846150" y="651799"/>
                  </a:lnTo>
                  <a:lnTo>
                    <a:pt x="851037" y="651799"/>
                  </a:lnTo>
                  <a:lnTo>
                    <a:pt x="858205" y="654895"/>
                  </a:lnTo>
                  <a:lnTo>
                    <a:pt x="863581" y="653754"/>
                  </a:lnTo>
                  <a:lnTo>
                    <a:pt x="868632" y="656035"/>
                  </a:lnTo>
                  <a:lnTo>
                    <a:pt x="871564" y="660271"/>
                  </a:lnTo>
                  <a:lnTo>
                    <a:pt x="875474" y="660760"/>
                  </a:lnTo>
                  <a:lnTo>
                    <a:pt x="873845" y="663366"/>
                  </a:lnTo>
                  <a:lnTo>
                    <a:pt x="870098" y="663366"/>
                  </a:lnTo>
                  <a:lnTo>
                    <a:pt x="863093" y="658805"/>
                  </a:lnTo>
                  <a:lnTo>
                    <a:pt x="853318" y="658805"/>
                  </a:lnTo>
                  <a:cubicBezTo>
                    <a:pt x="853318" y="658805"/>
                    <a:pt x="851526" y="660434"/>
                    <a:pt x="851526" y="660434"/>
                  </a:cubicBezTo>
                  <a:lnTo>
                    <a:pt x="857717" y="662714"/>
                  </a:lnTo>
                  <a:lnTo>
                    <a:pt x="859183" y="665484"/>
                  </a:lnTo>
                  <a:lnTo>
                    <a:pt x="850874" y="665484"/>
                  </a:lnTo>
                  <a:lnTo>
                    <a:pt x="847128" y="662389"/>
                  </a:lnTo>
                  <a:lnTo>
                    <a:pt x="835887" y="663692"/>
                  </a:lnTo>
                  <a:lnTo>
                    <a:pt x="832954" y="666461"/>
                  </a:lnTo>
                  <a:lnTo>
                    <a:pt x="829696" y="664506"/>
                  </a:lnTo>
                  <a:lnTo>
                    <a:pt x="826764" y="664506"/>
                  </a:lnTo>
                  <a:lnTo>
                    <a:pt x="822854" y="665647"/>
                  </a:lnTo>
                  <a:lnTo>
                    <a:pt x="818944" y="665321"/>
                  </a:lnTo>
                  <a:lnTo>
                    <a:pt x="806889" y="665973"/>
                  </a:lnTo>
                  <a:lnTo>
                    <a:pt x="804934" y="667602"/>
                  </a:lnTo>
                  <a:lnTo>
                    <a:pt x="795323" y="669394"/>
                  </a:lnTo>
                  <a:lnTo>
                    <a:pt x="793693" y="674770"/>
                  </a:lnTo>
                  <a:lnTo>
                    <a:pt x="794997" y="688780"/>
                  </a:lnTo>
                  <a:lnTo>
                    <a:pt x="796137" y="691549"/>
                  </a:lnTo>
                  <a:lnTo>
                    <a:pt x="796137" y="696925"/>
                  </a:lnTo>
                  <a:cubicBezTo>
                    <a:pt x="796137" y="696925"/>
                    <a:pt x="794182" y="698229"/>
                    <a:pt x="794182" y="698229"/>
                  </a:cubicBezTo>
                  <a:lnTo>
                    <a:pt x="794671" y="701813"/>
                  </a:lnTo>
                  <a:lnTo>
                    <a:pt x="796952" y="703768"/>
                  </a:lnTo>
                  <a:lnTo>
                    <a:pt x="801350" y="703116"/>
                  </a:lnTo>
                  <a:lnTo>
                    <a:pt x="803957" y="703116"/>
                  </a:lnTo>
                  <a:cubicBezTo>
                    <a:pt x="803957" y="703116"/>
                    <a:pt x="806889" y="705234"/>
                    <a:pt x="806889" y="705234"/>
                  </a:cubicBezTo>
                  <a:lnTo>
                    <a:pt x="811450" y="705234"/>
                  </a:lnTo>
                  <a:cubicBezTo>
                    <a:pt x="811450" y="705234"/>
                    <a:pt x="812591" y="703279"/>
                    <a:pt x="812591" y="703279"/>
                  </a:cubicBezTo>
                  <a:lnTo>
                    <a:pt x="813731" y="702790"/>
                  </a:lnTo>
                  <a:lnTo>
                    <a:pt x="816989" y="704419"/>
                  </a:lnTo>
                  <a:lnTo>
                    <a:pt x="818944" y="706211"/>
                  </a:lnTo>
                  <a:lnTo>
                    <a:pt x="821551" y="705234"/>
                  </a:lnTo>
                  <a:lnTo>
                    <a:pt x="824483" y="708003"/>
                  </a:lnTo>
                  <a:lnTo>
                    <a:pt x="824972" y="710936"/>
                  </a:lnTo>
                  <a:lnTo>
                    <a:pt x="828067" y="711913"/>
                  </a:lnTo>
                  <a:lnTo>
                    <a:pt x="832140" y="710773"/>
                  </a:lnTo>
                  <a:lnTo>
                    <a:pt x="835235" y="710773"/>
                  </a:lnTo>
                  <a:cubicBezTo>
                    <a:pt x="835235" y="710773"/>
                    <a:pt x="837190" y="713053"/>
                    <a:pt x="837190" y="713053"/>
                  </a:cubicBezTo>
                  <a:lnTo>
                    <a:pt x="842729" y="713053"/>
                  </a:lnTo>
                  <a:cubicBezTo>
                    <a:pt x="842729" y="713053"/>
                    <a:pt x="846313" y="712565"/>
                    <a:pt x="846313" y="712565"/>
                  </a:cubicBezTo>
                  <a:lnTo>
                    <a:pt x="850874" y="714520"/>
                  </a:lnTo>
                  <a:lnTo>
                    <a:pt x="854947" y="712565"/>
                  </a:lnTo>
                  <a:lnTo>
                    <a:pt x="858043" y="713868"/>
                  </a:lnTo>
                  <a:lnTo>
                    <a:pt x="864070" y="714357"/>
                  </a:lnTo>
                  <a:lnTo>
                    <a:pt x="869283" y="713053"/>
                  </a:lnTo>
                  <a:lnTo>
                    <a:pt x="873356" y="714845"/>
                  </a:lnTo>
                  <a:lnTo>
                    <a:pt x="874985" y="718429"/>
                  </a:lnTo>
                  <a:lnTo>
                    <a:pt x="878080" y="716312"/>
                  </a:lnTo>
                  <a:lnTo>
                    <a:pt x="878895" y="720547"/>
                  </a:lnTo>
                  <a:lnTo>
                    <a:pt x="883293" y="724131"/>
                  </a:lnTo>
                  <a:lnTo>
                    <a:pt x="883293" y="726086"/>
                  </a:lnTo>
                  <a:cubicBezTo>
                    <a:pt x="883293" y="726086"/>
                    <a:pt x="885085" y="728367"/>
                    <a:pt x="885085" y="728367"/>
                  </a:cubicBezTo>
                  <a:lnTo>
                    <a:pt x="889810" y="728367"/>
                  </a:lnTo>
                  <a:lnTo>
                    <a:pt x="892905" y="729833"/>
                  </a:lnTo>
                  <a:lnTo>
                    <a:pt x="894045" y="733254"/>
                  </a:lnTo>
                  <a:lnTo>
                    <a:pt x="896815" y="734069"/>
                  </a:lnTo>
                  <a:lnTo>
                    <a:pt x="899747" y="737327"/>
                  </a:lnTo>
                  <a:lnTo>
                    <a:pt x="899096" y="739119"/>
                  </a:lnTo>
                  <a:lnTo>
                    <a:pt x="898770" y="742866"/>
                  </a:lnTo>
                  <a:lnTo>
                    <a:pt x="903331" y="747590"/>
                  </a:lnTo>
                  <a:lnTo>
                    <a:pt x="909848" y="751826"/>
                  </a:lnTo>
                  <a:lnTo>
                    <a:pt x="909848" y="754595"/>
                  </a:lnTo>
                  <a:cubicBezTo>
                    <a:pt x="909848" y="754595"/>
                    <a:pt x="908707" y="756061"/>
                    <a:pt x="908707" y="756061"/>
                  </a:cubicBezTo>
                  <a:lnTo>
                    <a:pt x="909848" y="758831"/>
                  </a:lnTo>
                  <a:lnTo>
                    <a:pt x="907404" y="757528"/>
                  </a:lnTo>
                  <a:lnTo>
                    <a:pt x="898607" y="755410"/>
                  </a:lnTo>
                  <a:lnTo>
                    <a:pt x="891276" y="753292"/>
                  </a:lnTo>
                  <a:lnTo>
                    <a:pt x="887529" y="754432"/>
                  </a:lnTo>
                  <a:lnTo>
                    <a:pt x="883782" y="753292"/>
                  </a:lnTo>
                  <a:lnTo>
                    <a:pt x="882642" y="754269"/>
                  </a:lnTo>
                  <a:lnTo>
                    <a:pt x="879058" y="754269"/>
                  </a:lnTo>
                  <a:lnTo>
                    <a:pt x="875474" y="750034"/>
                  </a:lnTo>
                  <a:lnTo>
                    <a:pt x="872216" y="750034"/>
                  </a:lnTo>
                  <a:cubicBezTo>
                    <a:pt x="872216" y="750034"/>
                    <a:pt x="869283" y="745635"/>
                    <a:pt x="869283" y="745635"/>
                  </a:cubicBezTo>
                  <a:lnTo>
                    <a:pt x="867002" y="744821"/>
                  </a:lnTo>
                  <a:lnTo>
                    <a:pt x="861627" y="745635"/>
                  </a:lnTo>
                  <a:lnTo>
                    <a:pt x="858694" y="744821"/>
                  </a:lnTo>
                  <a:lnTo>
                    <a:pt x="856413" y="742540"/>
                  </a:lnTo>
                  <a:lnTo>
                    <a:pt x="850874" y="740422"/>
                  </a:lnTo>
                  <a:lnTo>
                    <a:pt x="849897" y="736512"/>
                  </a:lnTo>
                  <a:lnTo>
                    <a:pt x="847942" y="736512"/>
                  </a:lnTo>
                  <a:lnTo>
                    <a:pt x="845010" y="735372"/>
                  </a:lnTo>
                  <a:lnTo>
                    <a:pt x="839634" y="735698"/>
                  </a:lnTo>
                  <a:lnTo>
                    <a:pt x="837190" y="734232"/>
                  </a:lnTo>
                  <a:lnTo>
                    <a:pt x="825949" y="734720"/>
                  </a:lnTo>
                  <a:lnTo>
                    <a:pt x="819270" y="734069"/>
                  </a:lnTo>
                  <a:lnTo>
                    <a:pt x="814220" y="732602"/>
                  </a:lnTo>
                  <a:lnTo>
                    <a:pt x="794182" y="732277"/>
                  </a:lnTo>
                  <a:lnTo>
                    <a:pt x="790924" y="733580"/>
                  </a:lnTo>
                  <a:lnTo>
                    <a:pt x="785059" y="735209"/>
                  </a:lnTo>
                  <a:lnTo>
                    <a:pt x="782290" y="739119"/>
                  </a:lnTo>
                  <a:lnTo>
                    <a:pt x="781801" y="746938"/>
                  </a:lnTo>
                  <a:lnTo>
                    <a:pt x="777402" y="753944"/>
                  </a:lnTo>
                  <a:lnTo>
                    <a:pt x="778706" y="761763"/>
                  </a:lnTo>
                  <a:lnTo>
                    <a:pt x="777077" y="764858"/>
                  </a:lnTo>
                  <a:lnTo>
                    <a:pt x="778217" y="767465"/>
                  </a:lnTo>
                  <a:lnTo>
                    <a:pt x="781801" y="768931"/>
                  </a:lnTo>
                  <a:lnTo>
                    <a:pt x="780824" y="771701"/>
                  </a:lnTo>
                  <a:lnTo>
                    <a:pt x="778869" y="773167"/>
                  </a:lnTo>
                  <a:lnTo>
                    <a:pt x="782453" y="783756"/>
                  </a:lnTo>
                  <a:lnTo>
                    <a:pt x="786200" y="786851"/>
                  </a:lnTo>
                  <a:lnTo>
                    <a:pt x="787340" y="789295"/>
                  </a:lnTo>
                  <a:lnTo>
                    <a:pt x="794671" y="793530"/>
                  </a:lnTo>
                  <a:lnTo>
                    <a:pt x="796789" y="795811"/>
                  </a:lnTo>
                  <a:lnTo>
                    <a:pt x="800861" y="794834"/>
                  </a:lnTo>
                  <a:lnTo>
                    <a:pt x="803468" y="797766"/>
                  </a:lnTo>
                  <a:lnTo>
                    <a:pt x="806889" y="798418"/>
                  </a:lnTo>
                  <a:lnTo>
                    <a:pt x="812102" y="796137"/>
                  </a:lnTo>
                  <a:lnTo>
                    <a:pt x="815197" y="796137"/>
                  </a:lnTo>
                  <a:cubicBezTo>
                    <a:pt x="815197" y="796137"/>
                    <a:pt x="818781" y="800047"/>
                    <a:pt x="818781" y="800047"/>
                  </a:cubicBezTo>
                  <a:lnTo>
                    <a:pt x="824320" y="800047"/>
                  </a:lnTo>
                  <a:cubicBezTo>
                    <a:pt x="824320" y="800047"/>
                    <a:pt x="827578" y="805749"/>
                    <a:pt x="827578" y="805749"/>
                  </a:cubicBezTo>
                  <a:lnTo>
                    <a:pt x="830511" y="806889"/>
                  </a:lnTo>
                  <a:lnTo>
                    <a:pt x="831651" y="809658"/>
                  </a:lnTo>
                  <a:lnTo>
                    <a:pt x="826275" y="811450"/>
                  </a:lnTo>
                  <a:lnTo>
                    <a:pt x="826764" y="814383"/>
                  </a:lnTo>
                  <a:lnTo>
                    <a:pt x="824320" y="816989"/>
                  </a:lnTo>
                  <a:lnTo>
                    <a:pt x="824646" y="819433"/>
                  </a:lnTo>
                  <a:lnTo>
                    <a:pt x="822854" y="822691"/>
                  </a:lnTo>
                  <a:lnTo>
                    <a:pt x="816664" y="825786"/>
                  </a:lnTo>
                  <a:lnTo>
                    <a:pt x="816338" y="828230"/>
                  </a:lnTo>
                  <a:lnTo>
                    <a:pt x="814546" y="831488"/>
                  </a:lnTo>
                  <a:lnTo>
                    <a:pt x="818456" y="834258"/>
                  </a:lnTo>
                  <a:lnTo>
                    <a:pt x="818781" y="840285"/>
                  </a:lnTo>
                  <a:lnTo>
                    <a:pt x="821388" y="846150"/>
                  </a:lnTo>
                  <a:lnTo>
                    <a:pt x="820899" y="849245"/>
                  </a:lnTo>
                  <a:lnTo>
                    <a:pt x="815034" y="850549"/>
                  </a:lnTo>
                  <a:lnTo>
                    <a:pt x="816827" y="852504"/>
                  </a:lnTo>
                  <a:lnTo>
                    <a:pt x="825298" y="854133"/>
                  </a:lnTo>
                  <a:lnTo>
                    <a:pt x="828719" y="853155"/>
                  </a:lnTo>
                  <a:lnTo>
                    <a:pt x="831162" y="853481"/>
                  </a:lnTo>
                  <a:lnTo>
                    <a:pt x="832792" y="855273"/>
                  </a:lnTo>
                  <a:lnTo>
                    <a:pt x="834909" y="852341"/>
                  </a:lnTo>
                  <a:lnTo>
                    <a:pt x="837679" y="851852"/>
                  </a:lnTo>
                  <a:lnTo>
                    <a:pt x="839797" y="853318"/>
                  </a:lnTo>
                  <a:lnTo>
                    <a:pt x="846313" y="853318"/>
                  </a:lnTo>
                  <a:lnTo>
                    <a:pt x="854296" y="857065"/>
                  </a:lnTo>
                  <a:lnTo>
                    <a:pt x="857391" y="853318"/>
                  </a:lnTo>
                  <a:lnTo>
                    <a:pt x="863907" y="853644"/>
                  </a:lnTo>
                  <a:lnTo>
                    <a:pt x="865211" y="856088"/>
                  </a:lnTo>
                  <a:lnTo>
                    <a:pt x="866677" y="856576"/>
                  </a:lnTo>
                  <a:lnTo>
                    <a:pt x="868469" y="855273"/>
                  </a:lnTo>
                  <a:lnTo>
                    <a:pt x="872216" y="854296"/>
                  </a:lnTo>
                  <a:lnTo>
                    <a:pt x="874496" y="855273"/>
                  </a:lnTo>
                  <a:lnTo>
                    <a:pt x="875311" y="858368"/>
                  </a:lnTo>
                  <a:lnTo>
                    <a:pt x="878243" y="857880"/>
                  </a:lnTo>
                  <a:lnTo>
                    <a:pt x="880035" y="856739"/>
                  </a:lnTo>
                  <a:lnTo>
                    <a:pt x="882479" y="858205"/>
                  </a:lnTo>
                  <a:lnTo>
                    <a:pt x="883456" y="861952"/>
                  </a:lnTo>
                  <a:lnTo>
                    <a:pt x="885900" y="861952"/>
                  </a:lnTo>
                  <a:cubicBezTo>
                    <a:pt x="885900" y="861952"/>
                    <a:pt x="888018" y="859672"/>
                    <a:pt x="888018" y="859672"/>
                  </a:cubicBezTo>
                  <a:lnTo>
                    <a:pt x="894371" y="859020"/>
                  </a:lnTo>
                  <a:lnTo>
                    <a:pt x="897304" y="855925"/>
                  </a:lnTo>
                  <a:lnTo>
                    <a:pt x="901539" y="854458"/>
                  </a:lnTo>
                  <a:lnTo>
                    <a:pt x="905286" y="854458"/>
                  </a:lnTo>
                  <a:lnTo>
                    <a:pt x="910499" y="849408"/>
                  </a:lnTo>
                  <a:lnTo>
                    <a:pt x="916527" y="846802"/>
                  </a:lnTo>
                  <a:lnTo>
                    <a:pt x="920762" y="845824"/>
                  </a:lnTo>
                  <a:lnTo>
                    <a:pt x="921903" y="843544"/>
                  </a:lnTo>
                  <a:lnTo>
                    <a:pt x="925324" y="843544"/>
                  </a:lnTo>
                  <a:cubicBezTo>
                    <a:pt x="925324" y="843544"/>
                    <a:pt x="930537" y="844521"/>
                    <a:pt x="930537" y="844521"/>
                  </a:cubicBezTo>
                  <a:lnTo>
                    <a:pt x="933958" y="844032"/>
                  </a:lnTo>
                  <a:lnTo>
                    <a:pt x="937542" y="845824"/>
                  </a:lnTo>
                  <a:lnTo>
                    <a:pt x="947317" y="845824"/>
                  </a:lnTo>
                  <a:lnTo>
                    <a:pt x="957417" y="839145"/>
                  </a:lnTo>
                  <a:lnTo>
                    <a:pt x="959046" y="836050"/>
                  </a:lnTo>
                  <a:lnTo>
                    <a:pt x="960838" y="836050"/>
                  </a:lnTo>
                  <a:cubicBezTo>
                    <a:pt x="960838" y="836050"/>
                    <a:pt x="962467" y="837679"/>
                    <a:pt x="962467" y="837679"/>
                  </a:cubicBezTo>
                  <a:lnTo>
                    <a:pt x="963933" y="834909"/>
                  </a:lnTo>
                  <a:lnTo>
                    <a:pt x="967843" y="832629"/>
                  </a:lnTo>
                  <a:lnTo>
                    <a:pt x="967843" y="829533"/>
                  </a:lnTo>
                  <a:cubicBezTo>
                    <a:pt x="967843" y="829533"/>
                    <a:pt x="969147" y="827578"/>
                    <a:pt x="969147" y="827578"/>
                  </a:cubicBezTo>
                  <a:lnTo>
                    <a:pt x="971101" y="828393"/>
                  </a:lnTo>
                  <a:lnTo>
                    <a:pt x="974197" y="827904"/>
                  </a:lnTo>
                  <a:lnTo>
                    <a:pt x="975989" y="825298"/>
                  </a:lnTo>
                  <a:lnTo>
                    <a:pt x="975663" y="822691"/>
                  </a:lnTo>
                  <a:lnTo>
                    <a:pt x="977781" y="823669"/>
                  </a:lnTo>
                  <a:lnTo>
                    <a:pt x="980224" y="823180"/>
                  </a:lnTo>
                  <a:lnTo>
                    <a:pt x="981853" y="826112"/>
                  </a:lnTo>
                  <a:lnTo>
                    <a:pt x="981853" y="828556"/>
                  </a:lnTo>
                  <a:lnTo>
                    <a:pt x="983645" y="831000"/>
                  </a:lnTo>
                  <a:lnTo>
                    <a:pt x="979898" y="833443"/>
                  </a:lnTo>
                  <a:lnTo>
                    <a:pt x="979898" y="836538"/>
                  </a:lnTo>
                  <a:lnTo>
                    <a:pt x="977781" y="839797"/>
                  </a:lnTo>
                  <a:lnTo>
                    <a:pt x="975337" y="841426"/>
                  </a:lnTo>
                  <a:lnTo>
                    <a:pt x="975663" y="843218"/>
                  </a:lnTo>
                  <a:lnTo>
                    <a:pt x="979084" y="843869"/>
                  </a:lnTo>
                  <a:lnTo>
                    <a:pt x="982994" y="846965"/>
                  </a:lnTo>
                  <a:lnTo>
                    <a:pt x="984460" y="845824"/>
                  </a:lnTo>
                  <a:lnTo>
                    <a:pt x="987555" y="845499"/>
                  </a:lnTo>
                  <a:lnTo>
                    <a:pt x="991628" y="847453"/>
                  </a:lnTo>
                  <a:lnTo>
                    <a:pt x="993094" y="852015"/>
                  </a:lnTo>
                  <a:lnTo>
                    <a:pt x="995212" y="853970"/>
                  </a:lnTo>
                  <a:lnTo>
                    <a:pt x="995538" y="851689"/>
                  </a:lnTo>
                  <a:lnTo>
                    <a:pt x="997004" y="850060"/>
                  </a:lnTo>
                  <a:lnTo>
                    <a:pt x="1000099" y="851526"/>
                  </a:lnTo>
                  <a:lnTo>
                    <a:pt x="1000099" y="854784"/>
                  </a:lnTo>
                  <a:cubicBezTo>
                    <a:pt x="1000099" y="854784"/>
                    <a:pt x="997004" y="857880"/>
                    <a:pt x="997004" y="857880"/>
                  </a:cubicBezTo>
                  <a:lnTo>
                    <a:pt x="993257" y="857880"/>
                  </a:lnTo>
                  <a:lnTo>
                    <a:pt x="990488" y="861301"/>
                  </a:lnTo>
                  <a:lnTo>
                    <a:pt x="991139" y="863744"/>
                  </a:lnTo>
                  <a:lnTo>
                    <a:pt x="993746" y="863744"/>
                  </a:lnTo>
                  <a:lnTo>
                    <a:pt x="996841" y="864559"/>
                  </a:lnTo>
                  <a:lnTo>
                    <a:pt x="1000751" y="867817"/>
                  </a:lnTo>
                  <a:lnTo>
                    <a:pt x="1004009" y="866840"/>
                  </a:lnTo>
                  <a:lnTo>
                    <a:pt x="1007756" y="861789"/>
                  </a:lnTo>
                  <a:lnTo>
                    <a:pt x="1009385" y="861789"/>
                  </a:lnTo>
                  <a:cubicBezTo>
                    <a:pt x="1009385" y="861789"/>
                    <a:pt x="1009059" y="866025"/>
                    <a:pt x="1009059" y="866025"/>
                  </a:cubicBezTo>
                  <a:lnTo>
                    <a:pt x="1011829" y="871075"/>
                  </a:lnTo>
                  <a:lnTo>
                    <a:pt x="1014924" y="872053"/>
                  </a:lnTo>
                  <a:lnTo>
                    <a:pt x="1017856" y="870098"/>
                  </a:lnTo>
                  <a:lnTo>
                    <a:pt x="1021766" y="871075"/>
                  </a:lnTo>
                  <a:lnTo>
                    <a:pt x="1023884" y="874333"/>
                  </a:lnTo>
                  <a:lnTo>
                    <a:pt x="1027631" y="874333"/>
                  </a:lnTo>
                  <a:lnTo>
                    <a:pt x="1029912" y="877103"/>
                  </a:lnTo>
                  <a:lnTo>
                    <a:pt x="1031704" y="877103"/>
                  </a:lnTo>
                  <a:cubicBezTo>
                    <a:pt x="1031704" y="877103"/>
                    <a:pt x="1031541" y="873193"/>
                    <a:pt x="1031541" y="873193"/>
                  </a:cubicBezTo>
                  <a:lnTo>
                    <a:pt x="1033821" y="873193"/>
                  </a:lnTo>
                  <a:lnTo>
                    <a:pt x="1037405" y="872053"/>
                  </a:lnTo>
                  <a:lnTo>
                    <a:pt x="1039360" y="873682"/>
                  </a:lnTo>
                  <a:lnTo>
                    <a:pt x="1039360" y="877266"/>
                  </a:lnTo>
                  <a:cubicBezTo>
                    <a:pt x="1039360" y="877266"/>
                    <a:pt x="1040989" y="878243"/>
                    <a:pt x="1040989" y="878243"/>
                  </a:cubicBezTo>
                  <a:lnTo>
                    <a:pt x="1044899" y="877103"/>
                  </a:lnTo>
                  <a:lnTo>
                    <a:pt x="1047506" y="873356"/>
                  </a:lnTo>
                  <a:lnTo>
                    <a:pt x="1049461" y="874496"/>
                  </a:lnTo>
                  <a:lnTo>
                    <a:pt x="1050438" y="877592"/>
                  </a:lnTo>
                  <a:lnTo>
                    <a:pt x="1052393" y="877592"/>
                  </a:lnTo>
                  <a:cubicBezTo>
                    <a:pt x="1052393" y="877592"/>
                    <a:pt x="1054022" y="875311"/>
                    <a:pt x="1054022" y="875311"/>
                  </a:cubicBezTo>
                  <a:lnTo>
                    <a:pt x="1055163" y="874822"/>
                  </a:lnTo>
                  <a:lnTo>
                    <a:pt x="1058095" y="871890"/>
                  </a:lnTo>
                  <a:lnTo>
                    <a:pt x="1061353" y="872216"/>
                  </a:lnTo>
                  <a:lnTo>
                    <a:pt x="1062330" y="874008"/>
                  </a:lnTo>
                  <a:lnTo>
                    <a:pt x="1064286" y="874822"/>
                  </a:lnTo>
                  <a:lnTo>
                    <a:pt x="1066403" y="873845"/>
                  </a:lnTo>
                  <a:lnTo>
                    <a:pt x="1066403" y="873845"/>
                  </a:lnTo>
                  <a:close/>
                  <a:moveTo>
                    <a:pt x="1543238" y="1053045"/>
                  </a:moveTo>
                  <a:lnTo>
                    <a:pt x="1544868" y="1047343"/>
                  </a:lnTo>
                  <a:lnTo>
                    <a:pt x="1543401" y="1045388"/>
                  </a:lnTo>
                  <a:lnTo>
                    <a:pt x="1543890" y="1039686"/>
                  </a:lnTo>
                  <a:lnTo>
                    <a:pt x="1544379" y="1033984"/>
                  </a:lnTo>
                  <a:lnTo>
                    <a:pt x="1551058" y="1027305"/>
                  </a:lnTo>
                  <a:lnTo>
                    <a:pt x="1553827" y="1021603"/>
                  </a:lnTo>
                  <a:lnTo>
                    <a:pt x="1557737" y="1018997"/>
                  </a:lnTo>
                  <a:lnTo>
                    <a:pt x="1565068" y="1008245"/>
                  </a:lnTo>
                  <a:lnTo>
                    <a:pt x="1570118" y="1005149"/>
                  </a:lnTo>
                  <a:lnTo>
                    <a:pt x="1572562" y="1005149"/>
                  </a:lnTo>
                  <a:lnTo>
                    <a:pt x="1574517" y="1002869"/>
                  </a:lnTo>
                  <a:lnTo>
                    <a:pt x="1577449" y="1004335"/>
                  </a:lnTo>
                  <a:lnTo>
                    <a:pt x="1582500" y="1001728"/>
                  </a:lnTo>
                  <a:lnTo>
                    <a:pt x="1587876" y="1003357"/>
                  </a:lnTo>
                  <a:lnTo>
                    <a:pt x="1590319" y="1006616"/>
                  </a:lnTo>
                  <a:lnTo>
                    <a:pt x="1593089" y="1006616"/>
                  </a:lnTo>
                  <a:lnTo>
                    <a:pt x="1596510" y="1010525"/>
                  </a:lnTo>
                  <a:lnTo>
                    <a:pt x="1598302" y="1015576"/>
                  </a:lnTo>
                  <a:lnTo>
                    <a:pt x="1598302" y="1019485"/>
                  </a:lnTo>
                  <a:cubicBezTo>
                    <a:pt x="1598302" y="1019485"/>
                    <a:pt x="1593740" y="1023232"/>
                    <a:pt x="1593740" y="1023232"/>
                  </a:cubicBezTo>
                  <a:lnTo>
                    <a:pt x="1591460" y="1028283"/>
                  </a:lnTo>
                  <a:lnTo>
                    <a:pt x="1591134" y="1033496"/>
                  </a:lnTo>
                  <a:lnTo>
                    <a:pt x="1584454" y="1043759"/>
                  </a:lnTo>
                  <a:lnTo>
                    <a:pt x="1582174" y="1047669"/>
                  </a:lnTo>
                  <a:lnTo>
                    <a:pt x="1578101" y="1048972"/>
                  </a:lnTo>
                  <a:lnTo>
                    <a:pt x="1571910" y="1052067"/>
                  </a:lnTo>
                  <a:lnTo>
                    <a:pt x="1570444" y="1053696"/>
                  </a:lnTo>
                  <a:lnTo>
                    <a:pt x="1566697" y="1054185"/>
                  </a:lnTo>
                  <a:lnTo>
                    <a:pt x="1561158" y="1056629"/>
                  </a:lnTo>
                  <a:lnTo>
                    <a:pt x="1558226" y="1054674"/>
                  </a:lnTo>
                  <a:lnTo>
                    <a:pt x="1551058" y="1056140"/>
                  </a:lnTo>
                  <a:lnTo>
                    <a:pt x="1546985" y="1054674"/>
                  </a:lnTo>
                  <a:lnTo>
                    <a:pt x="1543890" y="1054674"/>
                  </a:lnTo>
                  <a:cubicBezTo>
                    <a:pt x="1543890" y="1054674"/>
                    <a:pt x="1543076" y="1053208"/>
                    <a:pt x="1543076" y="1053208"/>
                  </a:cubicBezTo>
                  <a:lnTo>
                    <a:pt x="1543076" y="1053208"/>
                  </a:lnTo>
                  <a:close/>
                  <a:moveTo>
                    <a:pt x="1089862" y="856739"/>
                  </a:moveTo>
                  <a:lnTo>
                    <a:pt x="1089048" y="854296"/>
                  </a:lnTo>
                  <a:lnTo>
                    <a:pt x="1090025" y="851363"/>
                  </a:lnTo>
                  <a:lnTo>
                    <a:pt x="1093446" y="850223"/>
                  </a:lnTo>
                  <a:lnTo>
                    <a:pt x="1090840" y="846639"/>
                  </a:lnTo>
                  <a:lnTo>
                    <a:pt x="1092469" y="843544"/>
                  </a:lnTo>
                  <a:lnTo>
                    <a:pt x="1094912" y="843055"/>
                  </a:lnTo>
                  <a:lnTo>
                    <a:pt x="1094912" y="846313"/>
                  </a:lnTo>
                  <a:lnTo>
                    <a:pt x="1097356" y="848594"/>
                  </a:lnTo>
                  <a:lnTo>
                    <a:pt x="1097356" y="851526"/>
                  </a:lnTo>
                  <a:lnTo>
                    <a:pt x="1095401" y="854621"/>
                  </a:lnTo>
                  <a:lnTo>
                    <a:pt x="1093446" y="854133"/>
                  </a:lnTo>
                  <a:lnTo>
                    <a:pt x="1091817" y="856902"/>
                  </a:lnTo>
                  <a:lnTo>
                    <a:pt x="1090025" y="856576"/>
                  </a:lnTo>
                  <a:lnTo>
                    <a:pt x="1090025" y="856576"/>
                  </a:lnTo>
                  <a:close/>
                  <a:moveTo>
                    <a:pt x="1046528" y="896326"/>
                  </a:moveTo>
                  <a:lnTo>
                    <a:pt x="1050438" y="894045"/>
                  </a:lnTo>
                  <a:lnTo>
                    <a:pt x="1051579" y="891113"/>
                  </a:lnTo>
                  <a:lnTo>
                    <a:pt x="1051253" y="888344"/>
                  </a:lnTo>
                  <a:lnTo>
                    <a:pt x="1052067" y="885248"/>
                  </a:lnTo>
                  <a:lnTo>
                    <a:pt x="1051090" y="884271"/>
                  </a:lnTo>
                  <a:lnTo>
                    <a:pt x="1047506" y="886715"/>
                  </a:lnTo>
                  <a:lnTo>
                    <a:pt x="1046691" y="888507"/>
                  </a:lnTo>
                  <a:lnTo>
                    <a:pt x="1041641" y="888181"/>
                  </a:lnTo>
                  <a:lnTo>
                    <a:pt x="1040501" y="890461"/>
                  </a:lnTo>
                  <a:lnTo>
                    <a:pt x="1043922" y="894860"/>
                  </a:lnTo>
                  <a:lnTo>
                    <a:pt x="1046365" y="896326"/>
                  </a:lnTo>
                  <a:lnTo>
                    <a:pt x="1046365" y="896326"/>
                  </a:lnTo>
                  <a:close/>
                  <a:moveTo>
                    <a:pt x="1097519" y="887366"/>
                  </a:moveTo>
                  <a:lnTo>
                    <a:pt x="1092795" y="890136"/>
                  </a:lnTo>
                  <a:lnTo>
                    <a:pt x="1091980" y="893068"/>
                  </a:lnTo>
                  <a:lnTo>
                    <a:pt x="1090025" y="895674"/>
                  </a:lnTo>
                  <a:lnTo>
                    <a:pt x="1086930" y="891113"/>
                  </a:lnTo>
                  <a:lnTo>
                    <a:pt x="1086930" y="888181"/>
                  </a:lnTo>
                  <a:cubicBezTo>
                    <a:pt x="1086930" y="888181"/>
                    <a:pt x="1091654" y="881013"/>
                    <a:pt x="1091654" y="881013"/>
                  </a:cubicBezTo>
                  <a:lnTo>
                    <a:pt x="1091328" y="877429"/>
                  </a:lnTo>
                  <a:lnTo>
                    <a:pt x="1093609" y="874659"/>
                  </a:lnTo>
                  <a:lnTo>
                    <a:pt x="1096704" y="875148"/>
                  </a:lnTo>
                  <a:lnTo>
                    <a:pt x="1096704" y="878080"/>
                  </a:lnTo>
                  <a:cubicBezTo>
                    <a:pt x="1096704" y="878080"/>
                    <a:pt x="1100288" y="882316"/>
                    <a:pt x="1100288" y="882316"/>
                  </a:cubicBezTo>
                  <a:lnTo>
                    <a:pt x="1097356" y="887366"/>
                  </a:lnTo>
                  <a:lnTo>
                    <a:pt x="1097356" y="887366"/>
                  </a:lnTo>
                  <a:close/>
                  <a:moveTo>
                    <a:pt x="1103546" y="881013"/>
                  </a:moveTo>
                  <a:lnTo>
                    <a:pt x="1102895" y="877755"/>
                  </a:lnTo>
                  <a:lnTo>
                    <a:pt x="1101103" y="875962"/>
                  </a:lnTo>
                  <a:lnTo>
                    <a:pt x="1104687" y="868957"/>
                  </a:lnTo>
                  <a:lnTo>
                    <a:pt x="1106805" y="868143"/>
                  </a:lnTo>
                  <a:lnTo>
                    <a:pt x="1109411" y="872867"/>
                  </a:lnTo>
                  <a:lnTo>
                    <a:pt x="1106805" y="875962"/>
                  </a:lnTo>
                  <a:lnTo>
                    <a:pt x="1105990" y="880035"/>
                  </a:lnTo>
                  <a:cubicBezTo>
                    <a:pt x="1105990" y="880035"/>
                    <a:pt x="1103384" y="881013"/>
                    <a:pt x="1103546" y="880850"/>
                  </a:cubicBezTo>
                  <a:lnTo>
                    <a:pt x="1103546" y="880850"/>
                  </a:lnTo>
                  <a:close/>
                  <a:moveTo>
                    <a:pt x="1198034" y="882316"/>
                  </a:moveTo>
                  <a:lnTo>
                    <a:pt x="1200478" y="874008"/>
                  </a:lnTo>
                  <a:lnTo>
                    <a:pt x="1205854" y="868957"/>
                  </a:lnTo>
                  <a:lnTo>
                    <a:pt x="1211881" y="870912"/>
                  </a:lnTo>
                  <a:lnTo>
                    <a:pt x="1211881" y="875311"/>
                  </a:lnTo>
                  <a:cubicBezTo>
                    <a:pt x="1211881" y="875311"/>
                    <a:pt x="1207157" y="883619"/>
                    <a:pt x="1207157" y="883619"/>
                  </a:cubicBezTo>
                  <a:lnTo>
                    <a:pt x="1203736" y="885248"/>
                  </a:lnTo>
                  <a:lnTo>
                    <a:pt x="1204387" y="881338"/>
                  </a:lnTo>
                  <a:lnTo>
                    <a:pt x="1204062" y="876940"/>
                  </a:lnTo>
                  <a:lnTo>
                    <a:pt x="1202270" y="879547"/>
                  </a:lnTo>
                  <a:lnTo>
                    <a:pt x="1201455" y="882479"/>
                  </a:lnTo>
                  <a:cubicBezTo>
                    <a:pt x="1201455" y="882479"/>
                    <a:pt x="1198197" y="882316"/>
                    <a:pt x="1198197" y="882153"/>
                  </a:cubicBezTo>
                  <a:lnTo>
                    <a:pt x="1198197" y="882153"/>
                  </a:lnTo>
                  <a:close/>
                  <a:moveTo>
                    <a:pt x="1194124" y="876125"/>
                  </a:moveTo>
                  <a:lnTo>
                    <a:pt x="1196405" y="876940"/>
                  </a:lnTo>
                  <a:lnTo>
                    <a:pt x="1199174" y="871401"/>
                  </a:lnTo>
                  <a:lnTo>
                    <a:pt x="1196242" y="865536"/>
                  </a:lnTo>
                  <a:lnTo>
                    <a:pt x="1193961" y="868957"/>
                  </a:lnTo>
                  <a:lnTo>
                    <a:pt x="1193961" y="876125"/>
                  </a:lnTo>
                  <a:lnTo>
                    <a:pt x="1194124" y="876125"/>
                  </a:lnTo>
                  <a:close/>
                  <a:moveTo>
                    <a:pt x="1190703" y="920437"/>
                  </a:moveTo>
                  <a:lnTo>
                    <a:pt x="1192984" y="917830"/>
                  </a:lnTo>
                  <a:lnTo>
                    <a:pt x="1200152" y="913106"/>
                  </a:lnTo>
                  <a:lnTo>
                    <a:pt x="1200152" y="909196"/>
                  </a:lnTo>
                  <a:cubicBezTo>
                    <a:pt x="1200152" y="909196"/>
                    <a:pt x="1194450" y="911477"/>
                    <a:pt x="1194450" y="911477"/>
                  </a:cubicBezTo>
                  <a:lnTo>
                    <a:pt x="1191843" y="907567"/>
                  </a:lnTo>
                  <a:lnTo>
                    <a:pt x="1197056" y="896815"/>
                  </a:lnTo>
                  <a:lnTo>
                    <a:pt x="1198523" y="891765"/>
                  </a:lnTo>
                  <a:lnTo>
                    <a:pt x="1192821" y="895023"/>
                  </a:lnTo>
                  <a:lnTo>
                    <a:pt x="1189237" y="902517"/>
                  </a:lnTo>
                  <a:lnTo>
                    <a:pt x="1188911" y="897792"/>
                  </a:lnTo>
                  <a:lnTo>
                    <a:pt x="1192658" y="885900"/>
                  </a:lnTo>
                  <a:lnTo>
                    <a:pt x="1190051" y="868957"/>
                  </a:lnTo>
                  <a:lnTo>
                    <a:pt x="1183046" y="864233"/>
                  </a:lnTo>
                  <a:lnTo>
                    <a:pt x="1183046" y="859020"/>
                  </a:lnTo>
                  <a:lnTo>
                    <a:pt x="1178974" y="858694"/>
                  </a:lnTo>
                  <a:lnTo>
                    <a:pt x="1174901" y="863907"/>
                  </a:lnTo>
                  <a:lnTo>
                    <a:pt x="1175227" y="858042"/>
                  </a:lnTo>
                  <a:lnTo>
                    <a:pt x="1178974" y="854784"/>
                  </a:lnTo>
                  <a:lnTo>
                    <a:pt x="1176693" y="849571"/>
                  </a:lnTo>
                  <a:lnTo>
                    <a:pt x="1177507" y="845499"/>
                  </a:lnTo>
                  <a:lnTo>
                    <a:pt x="1177507" y="839960"/>
                  </a:lnTo>
                  <a:lnTo>
                    <a:pt x="1170177" y="842240"/>
                  </a:lnTo>
                  <a:lnTo>
                    <a:pt x="1162845" y="848594"/>
                  </a:lnTo>
                  <a:lnTo>
                    <a:pt x="1159587" y="857391"/>
                  </a:lnTo>
                  <a:lnTo>
                    <a:pt x="1161379" y="865210"/>
                  </a:lnTo>
                  <a:lnTo>
                    <a:pt x="1157307" y="863744"/>
                  </a:lnTo>
                  <a:lnTo>
                    <a:pt x="1155515" y="857065"/>
                  </a:lnTo>
                  <a:lnTo>
                    <a:pt x="1153234" y="856739"/>
                  </a:lnTo>
                  <a:lnTo>
                    <a:pt x="1152094" y="862604"/>
                  </a:lnTo>
                  <a:lnTo>
                    <a:pt x="1148835" y="862930"/>
                  </a:lnTo>
                  <a:lnTo>
                    <a:pt x="1151442" y="867654"/>
                  </a:lnTo>
                  <a:lnTo>
                    <a:pt x="1148510" y="872053"/>
                  </a:lnTo>
                  <a:lnTo>
                    <a:pt x="1144437" y="872053"/>
                  </a:lnTo>
                  <a:lnTo>
                    <a:pt x="1141504" y="876451"/>
                  </a:lnTo>
                  <a:lnTo>
                    <a:pt x="1133359" y="875637"/>
                  </a:lnTo>
                  <a:lnTo>
                    <a:pt x="1130101" y="877103"/>
                  </a:lnTo>
                  <a:lnTo>
                    <a:pt x="1126843" y="876288"/>
                  </a:lnTo>
                  <a:lnTo>
                    <a:pt x="1115439" y="883293"/>
                  </a:lnTo>
                  <a:lnTo>
                    <a:pt x="1116579" y="888507"/>
                  </a:lnTo>
                  <a:lnTo>
                    <a:pt x="1121792" y="895186"/>
                  </a:lnTo>
                  <a:lnTo>
                    <a:pt x="1126191" y="892579"/>
                  </a:lnTo>
                  <a:lnTo>
                    <a:pt x="1125051" y="889647"/>
                  </a:lnTo>
                  <a:lnTo>
                    <a:pt x="1126517" y="885900"/>
                  </a:lnTo>
                  <a:lnTo>
                    <a:pt x="1131241" y="889973"/>
                  </a:lnTo>
                  <a:lnTo>
                    <a:pt x="1129449" y="896978"/>
                  </a:lnTo>
                  <a:lnTo>
                    <a:pt x="1134988" y="901376"/>
                  </a:lnTo>
                  <a:lnTo>
                    <a:pt x="1137920" y="896163"/>
                  </a:lnTo>
                  <a:lnTo>
                    <a:pt x="1139712" y="899421"/>
                  </a:lnTo>
                  <a:lnTo>
                    <a:pt x="1137920" y="903820"/>
                  </a:lnTo>
                  <a:lnTo>
                    <a:pt x="1143785" y="910499"/>
                  </a:lnTo>
                  <a:lnTo>
                    <a:pt x="1148510" y="911640"/>
                  </a:lnTo>
                  <a:lnTo>
                    <a:pt x="1151116" y="918971"/>
                  </a:lnTo>
                  <a:lnTo>
                    <a:pt x="1154374" y="922717"/>
                  </a:lnTo>
                  <a:lnTo>
                    <a:pt x="1158447" y="916364"/>
                  </a:lnTo>
                  <a:lnTo>
                    <a:pt x="1158773" y="921088"/>
                  </a:lnTo>
                  <a:lnTo>
                    <a:pt x="1165452" y="926627"/>
                  </a:lnTo>
                  <a:lnTo>
                    <a:pt x="1169199" y="926301"/>
                  </a:lnTo>
                  <a:lnTo>
                    <a:pt x="1173923" y="926301"/>
                  </a:lnTo>
                  <a:lnTo>
                    <a:pt x="1179136" y="921088"/>
                  </a:lnTo>
                  <a:lnTo>
                    <a:pt x="1182883" y="920274"/>
                  </a:lnTo>
                  <a:lnTo>
                    <a:pt x="1188748" y="915875"/>
                  </a:lnTo>
                  <a:lnTo>
                    <a:pt x="1191029" y="919948"/>
                  </a:lnTo>
                  <a:lnTo>
                    <a:pt x="1191029" y="919948"/>
                  </a:lnTo>
                  <a:close/>
                  <a:moveTo>
                    <a:pt x="1713478" y="885085"/>
                  </a:moveTo>
                  <a:lnTo>
                    <a:pt x="1713153" y="881176"/>
                  </a:lnTo>
                  <a:lnTo>
                    <a:pt x="1711524" y="878569"/>
                  </a:lnTo>
                  <a:lnTo>
                    <a:pt x="1713967" y="874333"/>
                  </a:lnTo>
                  <a:lnTo>
                    <a:pt x="1718366" y="871564"/>
                  </a:lnTo>
                  <a:lnTo>
                    <a:pt x="1722113" y="872704"/>
                  </a:lnTo>
                  <a:lnTo>
                    <a:pt x="1723090" y="876288"/>
                  </a:lnTo>
                  <a:lnTo>
                    <a:pt x="1726348" y="876288"/>
                  </a:lnTo>
                  <a:lnTo>
                    <a:pt x="1728629" y="878406"/>
                  </a:lnTo>
                  <a:lnTo>
                    <a:pt x="1725697" y="882316"/>
                  </a:lnTo>
                  <a:lnTo>
                    <a:pt x="1721624" y="883456"/>
                  </a:lnTo>
                  <a:lnTo>
                    <a:pt x="1719506" y="881990"/>
                  </a:lnTo>
                  <a:lnTo>
                    <a:pt x="1716411" y="883456"/>
                  </a:lnTo>
                  <a:lnTo>
                    <a:pt x="1714782" y="885900"/>
                  </a:lnTo>
                  <a:cubicBezTo>
                    <a:pt x="1714782" y="885900"/>
                    <a:pt x="1712990" y="884922"/>
                    <a:pt x="1713316" y="884922"/>
                  </a:cubicBezTo>
                  <a:lnTo>
                    <a:pt x="1713316" y="884922"/>
                  </a:lnTo>
                  <a:close/>
                  <a:moveTo>
                    <a:pt x="1701912" y="1333248"/>
                  </a:moveTo>
                  <a:lnTo>
                    <a:pt x="1697351" y="1333248"/>
                  </a:lnTo>
                  <a:lnTo>
                    <a:pt x="1692952" y="1330479"/>
                  </a:lnTo>
                  <a:lnTo>
                    <a:pt x="1685132" y="1327873"/>
                  </a:lnTo>
                  <a:lnTo>
                    <a:pt x="1681548" y="1325103"/>
                  </a:lnTo>
                  <a:lnTo>
                    <a:pt x="1678127" y="1324614"/>
                  </a:lnTo>
                  <a:lnTo>
                    <a:pt x="1671122" y="1318587"/>
                  </a:lnTo>
                  <a:lnTo>
                    <a:pt x="1669819" y="1315654"/>
                  </a:lnTo>
                  <a:lnTo>
                    <a:pt x="1666072" y="1313536"/>
                  </a:lnTo>
                  <a:lnTo>
                    <a:pt x="1663140" y="1314025"/>
                  </a:lnTo>
                  <a:lnTo>
                    <a:pt x="1660207" y="1312885"/>
                  </a:lnTo>
                  <a:lnTo>
                    <a:pt x="1658252" y="1314514"/>
                  </a:lnTo>
                  <a:lnTo>
                    <a:pt x="1650595" y="1311419"/>
                  </a:lnTo>
                  <a:lnTo>
                    <a:pt x="1649618" y="1308649"/>
                  </a:lnTo>
                  <a:lnTo>
                    <a:pt x="1646849" y="1306043"/>
                  </a:lnTo>
                  <a:lnTo>
                    <a:pt x="1643265" y="1306043"/>
                  </a:lnTo>
                  <a:lnTo>
                    <a:pt x="1638052" y="1300015"/>
                  </a:lnTo>
                  <a:lnTo>
                    <a:pt x="1638052" y="1296757"/>
                  </a:lnTo>
                  <a:cubicBezTo>
                    <a:pt x="1638052" y="1296757"/>
                    <a:pt x="1635771" y="1297083"/>
                    <a:pt x="1635771" y="1297083"/>
                  </a:cubicBezTo>
                  <a:lnTo>
                    <a:pt x="1632676" y="1294965"/>
                  </a:lnTo>
                  <a:lnTo>
                    <a:pt x="1630395" y="1290566"/>
                  </a:lnTo>
                  <a:lnTo>
                    <a:pt x="1632513" y="1288611"/>
                  </a:lnTo>
                  <a:lnTo>
                    <a:pt x="1634956" y="1286982"/>
                  </a:lnTo>
                  <a:lnTo>
                    <a:pt x="1630232" y="1285027"/>
                  </a:lnTo>
                  <a:lnTo>
                    <a:pt x="1628603" y="1286168"/>
                  </a:lnTo>
                  <a:lnTo>
                    <a:pt x="1627300" y="1287960"/>
                  </a:lnTo>
                  <a:lnTo>
                    <a:pt x="1624693" y="1286331"/>
                  </a:lnTo>
                  <a:lnTo>
                    <a:pt x="1624693" y="1284213"/>
                  </a:lnTo>
                  <a:cubicBezTo>
                    <a:pt x="1624693" y="1284213"/>
                    <a:pt x="1620620" y="1284213"/>
                    <a:pt x="1620620" y="1284213"/>
                  </a:cubicBezTo>
                  <a:lnTo>
                    <a:pt x="1612801" y="1278837"/>
                  </a:lnTo>
                  <a:lnTo>
                    <a:pt x="1609543" y="1278837"/>
                  </a:lnTo>
                  <a:cubicBezTo>
                    <a:pt x="1609543" y="1278837"/>
                    <a:pt x="1606936" y="1276230"/>
                    <a:pt x="1606936" y="1276230"/>
                  </a:cubicBezTo>
                  <a:lnTo>
                    <a:pt x="1602211" y="1272320"/>
                  </a:lnTo>
                  <a:lnTo>
                    <a:pt x="1602537" y="1269714"/>
                  </a:lnTo>
                  <a:lnTo>
                    <a:pt x="1599279" y="1269225"/>
                  </a:lnTo>
                  <a:lnTo>
                    <a:pt x="1596347" y="1265641"/>
                  </a:lnTo>
                  <a:lnTo>
                    <a:pt x="1593252" y="1261406"/>
                  </a:lnTo>
                  <a:lnTo>
                    <a:pt x="1592763" y="1255378"/>
                  </a:lnTo>
                  <a:lnTo>
                    <a:pt x="1588038" y="1252934"/>
                  </a:lnTo>
                  <a:lnTo>
                    <a:pt x="1589668" y="1250979"/>
                  </a:lnTo>
                  <a:lnTo>
                    <a:pt x="1596510" y="1251305"/>
                  </a:lnTo>
                  <a:lnTo>
                    <a:pt x="1605795" y="1245115"/>
                  </a:lnTo>
                  <a:lnTo>
                    <a:pt x="1607587" y="1242508"/>
                  </a:lnTo>
                  <a:lnTo>
                    <a:pt x="1600257" y="1243486"/>
                  </a:lnTo>
                  <a:lnTo>
                    <a:pt x="1596836" y="1238110"/>
                  </a:lnTo>
                  <a:lnTo>
                    <a:pt x="1595206" y="1232571"/>
                  </a:lnTo>
                  <a:lnTo>
                    <a:pt x="1596347" y="1230616"/>
                  </a:lnTo>
                  <a:lnTo>
                    <a:pt x="1593577" y="1231919"/>
                  </a:lnTo>
                  <a:lnTo>
                    <a:pt x="1591134" y="1236480"/>
                  </a:lnTo>
                  <a:lnTo>
                    <a:pt x="1590645" y="1240227"/>
                  </a:lnTo>
                  <a:lnTo>
                    <a:pt x="1586409" y="1235992"/>
                  </a:lnTo>
                  <a:lnTo>
                    <a:pt x="1589342" y="1232245"/>
                  </a:lnTo>
                  <a:lnTo>
                    <a:pt x="1590319" y="1224425"/>
                  </a:lnTo>
                  <a:lnTo>
                    <a:pt x="1587224" y="1229964"/>
                  </a:lnTo>
                  <a:lnTo>
                    <a:pt x="1584943" y="1227683"/>
                  </a:lnTo>
                  <a:lnTo>
                    <a:pt x="1584943" y="1222144"/>
                  </a:lnTo>
                  <a:lnTo>
                    <a:pt x="1580870" y="1222959"/>
                  </a:lnTo>
                  <a:lnTo>
                    <a:pt x="1579730" y="1218398"/>
                  </a:lnTo>
                  <a:lnTo>
                    <a:pt x="1580056" y="1213999"/>
                  </a:lnTo>
                  <a:lnTo>
                    <a:pt x="1577612" y="1207320"/>
                  </a:lnTo>
                  <a:lnTo>
                    <a:pt x="1573702" y="1205039"/>
                  </a:lnTo>
                  <a:lnTo>
                    <a:pt x="1573702" y="1201129"/>
                  </a:lnTo>
                  <a:cubicBezTo>
                    <a:pt x="1573702" y="1201129"/>
                    <a:pt x="1579241" y="1195916"/>
                    <a:pt x="1579241" y="1195916"/>
                  </a:cubicBezTo>
                  <a:lnTo>
                    <a:pt x="1577938" y="1193472"/>
                  </a:lnTo>
                  <a:lnTo>
                    <a:pt x="1569304" y="1200803"/>
                  </a:lnTo>
                  <a:lnTo>
                    <a:pt x="1568978" y="1205202"/>
                  </a:lnTo>
                  <a:lnTo>
                    <a:pt x="1567512" y="1201781"/>
                  </a:lnTo>
                  <a:lnTo>
                    <a:pt x="1570444" y="1195916"/>
                  </a:lnTo>
                  <a:lnTo>
                    <a:pt x="1566535" y="1194613"/>
                  </a:lnTo>
                  <a:lnTo>
                    <a:pt x="1564091" y="1196079"/>
                  </a:lnTo>
                  <a:lnTo>
                    <a:pt x="1562787" y="1194776"/>
                  </a:lnTo>
                  <a:lnTo>
                    <a:pt x="1560018" y="1203247"/>
                  </a:lnTo>
                  <a:lnTo>
                    <a:pt x="1555782" y="1205853"/>
                  </a:lnTo>
                  <a:lnTo>
                    <a:pt x="1555457" y="1200478"/>
                  </a:lnTo>
                  <a:lnTo>
                    <a:pt x="1559041" y="1196242"/>
                  </a:lnTo>
                  <a:lnTo>
                    <a:pt x="1558715" y="1191192"/>
                  </a:lnTo>
                  <a:lnTo>
                    <a:pt x="1559692" y="1188096"/>
                  </a:lnTo>
                  <a:lnTo>
                    <a:pt x="1555457" y="1189563"/>
                  </a:lnTo>
                  <a:lnTo>
                    <a:pt x="1551547" y="1193472"/>
                  </a:lnTo>
                  <a:lnTo>
                    <a:pt x="1549103" y="1193472"/>
                  </a:lnTo>
                  <a:cubicBezTo>
                    <a:pt x="1549103" y="1193472"/>
                    <a:pt x="1546171" y="1197708"/>
                    <a:pt x="1546171" y="1197708"/>
                  </a:cubicBezTo>
                  <a:lnTo>
                    <a:pt x="1544542" y="1200640"/>
                  </a:lnTo>
                  <a:lnTo>
                    <a:pt x="1538514" y="1199337"/>
                  </a:lnTo>
                  <a:lnTo>
                    <a:pt x="1535419" y="1195590"/>
                  </a:lnTo>
                  <a:lnTo>
                    <a:pt x="1531672" y="1195590"/>
                  </a:lnTo>
                  <a:lnTo>
                    <a:pt x="1526622" y="1187282"/>
                  </a:lnTo>
                  <a:lnTo>
                    <a:pt x="1524667" y="1187282"/>
                  </a:lnTo>
                  <a:cubicBezTo>
                    <a:pt x="1524667" y="1187282"/>
                    <a:pt x="1523201" y="1190703"/>
                    <a:pt x="1523201" y="1190703"/>
                  </a:cubicBezTo>
                  <a:lnTo>
                    <a:pt x="1523201" y="1195753"/>
                  </a:lnTo>
                  <a:lnTo>
                    <a:pt x="1520757" y="1198197"/>
                  </a:lnTo>
                  <a:lnTo>
                    <a:pt x="1516684" y="1196731"/>
                  </a:lnTo>
                  <a:lnTo>
                    <a:pt x="1513589" y="1198034"/>
                  </a:lnTo>
                  <a:lnTo>
                    <a:pt x="1508213" y="1198034"/>
                  </a:lnTo>
                  <a:cubicBezTo>
                    <a:pt x="1508213" y="1198034"/>
                    <a:pt x="1506421" y="1200803"/>
                    <a:pt x="1506421" y="1200803"/>
                  </a:cubicBezTo>
                  <a:lnTo>
                    <a:pt x="1501371" y="1200478"/>
                  </a:lnTo>
                  <a:lnTo>
                    <a:pt x="1499090" y="1202921"/>
                  </a:lnTo>
                  <a:lnTo>
                    <a:pt x="1494528" y="1201292"/>
                  </a:lnTo>
                  <a:lnTo>
                    <a:pt x="1487035" y="1200803"/>
                  </a:lnTo>
                  <a:lnTo>
                    <a:pt x="1488012" y="1197708"/>
                  </a:lnTo>
                  <a:lnTo>
                    <a:pt x="1482799" y="1191843"/>
                  </a:lnTo>
                  <a:lnTo>
                    <a:pt x="1480355" y="1193472"/>
                  </a:lnTo>
                  <a:lnTo>
                    <a:pt x="1475957" y="1189237"/>
                  </a:lnTo>
                  <a:lnTo>
                    <a:pt x="1472699" y="1179462"/>
                  </a:lnTo>
                  <a:lnTo>
                    <a:pt x="1474491" y="1173760"/>
                  </a:lnTo>
                  <a:lnTo>
                    <a:pt x="1478401" y="1171154"/>
                  </a:lnTo>
                  <a:lnTo>
                    <a:pt x="1478401" y="1166430"/>
                  </a:lnTo>
                  <a:lnTo>
                    <a:pt x="1482147" y="1162520"/>
                  </a:lnTo>
                  <a:lnTo>
                    <a:pt x="1487686" y="1162031"/>
                  </a:lnTo>
                  <a:lnTo>
                    <a:pt x="1490619" y="1158773"/>
                  </a:lnTo>
                  <a:lnTo>
                    <a:pt x="1495343" y="1157795"/>
                  </a:lnTo>
                  <a:lnTo>
                    <a:pt x="1497624" y="1158121"/>
                  </a:lnTo>
                  <a:lnTo>
                    <a:pt x="1498438" y="1154048"/>
                  </a:lnTo>
                  <a:lnTo>
                    <a:pt x="1496320" y="1150790"/>
                  </a:lnTo>
                  <a:lnTo>
                    <a:pt x="1495995" y="1147695"/>
                  </a:lnTo>
                  <a:lnTo>
                    <a:pt x="1497135" y="1146718"/>
                  </a:lnTo>
                  <a:lnTo>
                    <a:pt x="1499904" y="1147532"/>
                  </a:lnTo>
                  <a:lnTo>
                    <a:pt x="1500719" y="1145251"/>
                  </a:lnTo>
                  <a:lnTo>
                    <a:pt x="1500230" y="1142156"/>
                  </a:lnTo>
                  <a:lnTo>
                    <a:pt x="1501860" y="1140201"/>
                  </a:lnTo>
                  <a:lnTo>
                    <a:pt x="1507073" y="1148184"/>
                  </a:lnTo>
                  <a:lnTo>
                    <a:pt x="1512286" y="1149161"/>
                  </a:lnTo>
                  <a:lnTo>
                    <a:pt x="1517662" y="1153071"/>
                  </a:lnTo>
                  <a:lnTo>
                    <a:pt x="1521409" y="1157307"/>
                  </a:lnTo>
                  <a:lnTo>
                    <a:pt x="1524015" y="1157958"/>
                  </a:lnTo>
                  <a:lnTo>
                    <a:pt x="1529554" y="1160728"/>
                  </a:lnTo>
                  <a:lnTo>
                    <a:pt x="1532812" y="1157795"/>
                  </a:lnTo>
                  <a:lnTo>
                    <a:pt x="1536559" y="1157795"/>
                  </a:lnTo>
                  <a:cubicBezTo>
                    <a:pt x="1536559" y="1157795"/>
                    <a:pt x="1538514" y="1160728"/>
                    <a:pt x="1538514" y="1160728"/>
                  </a:cubicBezTo>
                  <a:lnTo>
                    <a:pt x="1541772" y="1160728"/>
                  </a:lnTo>
                  <a:cubicBezTo>
                    <a:pt x="1541772" y="1160728"/>
                    <a:pt x="1547474" y="1162031"/>
                    <a:pt x="1547474" y="1162031"/>
                  </a:cubicBezTo>
                  <a:lnTo>
                    <a:pt x="1550895" y="1158121"/>
                  </a:lnTo>
                  <a:lnTo>
                    <a:pt x="1553339" y="1153397"/>
                  </a:lnTo>
                  <a:lnTo>
                    <a:pt x="1559855" y="1153397"/>
                  </a:lnTo>
                  <a:lnTo>
                    <a:pt x="1559855" y="1155352"/>
                  </a:lnTo>
                  <a:lnTo>
                    <a:pt x="1558389" y="1157307"/>
                  </a:lnTo>
                  <a:lnTo>
                    <a:pt x="1561810" y="1159262"/>
                  </a:lnTo>
                  <a:lnTo>
                    <a:pt x="1566535" y="1155189"/>
                  </a:lnTo>
                  <a:lnTo>
                    <a:pt x="1568489" y="1150627"/>
                  </a:lnTo>
                  <a:lnTo>
                    <a:pt x="1573214" y="1147858"/>
                  </a:lnTo>
                  <a:lnTo>
                    <a:pt x="1575169" y="1150627"/>
                  </a:lnTo>
                  <a:lnTo>
                    <a:pt x="1575169" y="1157632"/>
                  </a:lnTo>
                  <a:cubicBezTo>
                    <a:pt x="1575169" y="1157632"/>
                    <a:pt x="1576798" y="1161868"/>
                    <a:pt x="1576798" y="1161868"/>
                  </a:cubicBezTo>
                  <a:lnTo>
                    <a:pt x="1577775" y="1156655"/>
                  </a:lnTo>
                  <a:lnTo>
                    <a:pt x="1580545" y="1154374"/>
                  </a:lnTo>
                  <a:lnTo>
                    <a:pt x="1582988" y="1155678"/>
                  </a:lnTo>
                  <a:lnTo>
                    <a:pt x="1585432" y="1153397"/>
                  </a:lnTo>
                  <a:lnTo>
                    <a:pt x="1584128" y="1140690"/>
                  </a:lnTo>
                  <a:lnTo>
                    <a:pt x="1579893" y="1134174"/>
                  </a:lnTo>
                  <a:lnTo>
                    <a:pt x="1579078" y="1129775"/>
                  </a:lnTo>
                  <a:lnTo>
                    <a:pt x="1575983" y="1125214"/>
                  </a:lnTo>
                  <a:lnTo>
                    <a:pt x="1577449" y="1119349"/>
                  </a:lnTo>
                  <a:lnTo>
                    <a:pt x="1579730" y="1117068"/>
                  </a:lnTo>
                  <a:lnTo>
                    <a:pt x="1582500" y="1117068"/>
                  </a:lnTo>
                  <a:cubicBezTo>
                    <a:pt x="1582500" y="1117068"/>
                    <a:pt x="1589830" y="1111040"/>
                    <a:pt x="1589830" y="1111040"/>
                  </a:cubicBezTo>
                  <a:lnTo>
                    <a:pt x="1598627" y="1105664"/>
                  </a:lnTo>
                  <a:lnTo>
                    <a:pt x="1602049" y="1103710"/>
                  </a:lnTo>
                  <a:lnTo>
                    <a:pt x="1608239" y="1097193"/>
                  </a:lnTo>
                  <a:lnTo>
                    <a:pt x="1610846" y="1097193"/>
                  </a:lnTo>
                  <a:lnTo>
                    <a:pt x="1613778" y="1099637"/>
                  </a:lnTo>
                  <a:lnTo>
                    <a:pt x="1617525" y="1098496"/>
                  </a:lnTo>
                  <a:lnTo>
                    <a:pt x="1619969" y="1098171"/>
                  </a:lnTo>
                  <a:lnTo>
                    <a:pt x="1613289" y="1094424"/>
                  </a:lnTo>
                  <a:lnTo>
                    <a:pt x="1613289" y="1090514"/>
                  </a:lnTo>
                  <a:cubicBezTo>
                    <a:pt x="1613289" y="1090514"/>
                    <a:pt x="1622249" y="1083183"/>
                    <a:pt x="1622249" y="1083183"/>
                  </a:cubicBezTo>
                  <a:lnTo>
                    <a:pt x="1623390" y="1079436"/>
                  </a:lnTo>
                  <a:lnTo>
                    <a:pt x="1626159" y="1077807"/>
                  </a:lnTo>
                  <a:lnTo>
                    <a:pt x="1633490" y="1079436"/>
                  </a:lnTo>
                  <a:lnTo>
                    <a:pt x="1640984" y="1076829"/>
                  </a:lnTo>
                  <a:lnTo>
                    <a:pt x="1641961" y="1073571"/>
                  </a:lnTo>
                  <a:lnTo>
                    <a:pt x="1639192" y="1068847"/>
                  </a:lnTo>
                  <a:lnTo>
                    <a:pt x="1641798" y="1065100"/>
                  </a:lnTo>
                  <a:lnTo>
                    <a:pt x="1642939" y="1055814"/>
                  </a:lnTo>
                  <a:lnTo>
                    <a:pt x="1643427" y="1054022"/>
                  </a:lnTo>
                  <a:lnTo>
                    <a:pt x="1642287" y="1052556"/>
                  </a:lnTo>
                  <a:lnTo>
                    <a:pt x="1642287" y="1048483"/>
                  </a:lnTo>
                  <a:lnTo>
                    <a:pt x="1644894" y="1043759"/>
                  </a:lnTo>
                  <a:lnTo>
                    <a:pt x="1644894" y="1039197"/>
                  </a:lnTo>
                  <a:cubicBezTo>
                    <a:pt x="1644894" y="1039197"/>
                    <a:pt x="1641473" y="1038057"/>
                    <a:pt x="1641473" y="1038057"/>
                  </a:cubicBezTo>
                  <a:lnTo>
                    <a:pt x="1641473" y="1035939"/>
                  </a:lnTo>
                  <a:cubicBezTo>
                    <a:pt x="1641473" y="1035939"/>
                    <a:pt x="1643590" y="1028934"/>
                    <a:pt x="1643590" y="1028934"/>
                  </a:cubicBezTo>
                  <a:lnTo>
                    <a:pt x="1647011" y="1028283"/>
                  </a:lnTo>
                  <a:lnTo>
                    <a:pt x="1647500" y="1024536"/>
                  </a:lnTo>
                  <a:lnTo>
                    <a:pt x="1649944" y="1020300"/>
                  </a:lnTo>
                  <a:lnTo>
                    <a:pt x="1649618" y="1017368"/>
                  </a:lnTo>
                  <a:lnTo>
                    <a:pt x="1647011" y="1017856"/>
                  </a:lnTo>
                  <a:lnTo>
                    <a:pt x="1644405" y="1020952"/>
                  </a:lnTo>
                  <a:lnTo>
                    <a:pt x="1644405" y="1023884"/>
                  </a:lnTo>
                  <a:cubicBezTo>
                    <a:pt x="1644405" y="1023884"/>
                    <a:pt x="1642124" y="1024699"/>
                    <a:pt x="1642124" y="1024699"/>
                  </a:cubicBezTo>
                  <a:lnTo>
                    <a:pt x="1641798" y="1021440"/>
                  </a:lnTo>
                  <a:lnTo>
                    <a:pt x="1642124" y="1017042"/>
                  </a:lnTo>
                  <a:lnTo>
                    <a:pt x="1640332" y="1015901"/>
                  </a:lnTo>
                  <a:lnTo>
                    <a:pt x="1630232" y="1015576"/>
                  </a:lnTo>
                  <a:lnTo>
                    <a:pt x="1626974" y="1012155"/>
                  </a:lnTo>
                  <a:lnTo>
                    <a:pt x="1627951" y="1010037"/>
                  </a:lnTo>
                  <a:lnTo>
                    <a:pt x="1635282" y="1006941"/>
                  </a:lnTo>
                  <a:lnTo>
                    <a:pt x="1634305" y="1004987"/>
                  </a:lnTo>
                  <a:lnTo>
                    <a:pt x="1630721" y="1002869"/>
                  </a:lnTo>
                  <a:lnTo>
                    <a:pt x="1633327" y="998144"/>
                  </a:lnTo>
                  <a:lnTo>
                    <a:pt x="1633327" y="994723"/>
                  </a:lnTo>
                  <a:lnTo>
                    <a:pt x="1627788" y="990651"/>
                  </a:lnTo>
                  <a:lnTo>
                    <a:pt x="1625670" y="991465"/>
                  </a:lnTo>
                  <a:lnTo>
                    <a:pt x="1625345" y="994560"/>
                  </a:lnTo>
                  <a:lnTo>
                    <a:pt x="1626974" y="997656"/>
                  </a:lnTo>
                  <a:lnTo>
                    <a:pt x="1625670" y="1000425"/>
                  </a:lnTo>
                  <a:lnTo>
                    <a:pt x="1619806" y="1001891"/>
                  </a:lnTo>
                  <a:lnTo>
                    <a:pt x="1617851" y="997330"/>
                  </a:lnTo>
                  <a:lnTo>
                    <a:pt x="1615570" y="996515"/>
                  </a:lnTo>
                  <a:lnTo>
                    <a:pt x="1614755" y="990325"/>
                  </a:lnTo>
                  <a:lnTo>
                    <a:pt x="1618828" y="986415"/>
                  </a:lnTo>
                  <a:lnTo>
                    <a:pt x="1617525" y="983157"/>
                  </a:lnTo>
                  <a:lnTo>
                    <a:pt x="1610846" y="983971"/>
                  </a:lnTo>
                  <a:lnTo>
                    <a:pt x="1611497" y="982342"/>
                  </a:lnTo>
                  <a:lnTo>
                    <a:pt x="1616873" y="980550"/>
                  </a:lnTo>
                  <a:lnTo>
                    <a:pt x="1617199" y="978432"/>
                  </a:lnTo>
                  <a:lnTo>
                    <a:pt x="1614430" y="977292"/>
                  </a:lnTo>
                  <a:lnTo>
                    <a:pt x="1617036" y="975337"/>
                  </a:lnTo>
                  <a:lnTo>
                    <a:pt x="1620132" y="973871"/>
                  </a:lnTo>
                  <a:lnTo>
                    <a:pt x="1620620" y="971264"/>
                  </a:lnTo>
                  <a:lnTo>
                    <a:pt x="1618177" y="969147"/>
                  </a:lnTo>
                  <a:lnTo>
                    <a:pt x="1613778" y="972568"/>
                  </a:lnTo>
                  <a:lnTo>
                    <a:pt x="1610357" y="978107"/>
                  </a:lnTo>
                  <a:lnTo>
                    <a:pt x="1607099" y="980224"/>
                  </a:lnTo>
                  <a:lnTo>
                    <a:pt x="1605307" y="978595"/>
                  </a:lnTo>
                  <a:lnTo>
                    <a:pt x="1604655" y="972893"/>
                  </a:lnTo>
                  <a:lnTo>
                    <a:pt x="1602211" y="974523"/>
                  </a:lnTo>
                  <a:lnTo>
                    <a:pt x="1599768" y="978921"/>
                  </a:lnTo>
                  <a:lnTo>
                    <a:pt x="1596021" y="978921"/>
                  </a:lnTo>
                  <a:cubicBezTo>
                    <a:pt x="1596021" y="978921"/>
                    <a:pt x="1592926" y="981202"/>
                    <a:pt x="1592926" y="981202"/>
                  </a:cubicBezTo>
                  <a:lnTo>
                    <a:pt x="1588364" y="981202"/>
                  </a:lnTo>
                  <a:cubicBezTo>
                    <a:pt x="1588364" y="981202"/>
                    <a:pt x="1585106" y="982342"/>
                    <a:pt x="1585106" y="982342"/>
                  </a:cubicBezTo>
                  <a:lnTo>
                    <a:pt x="1584454" y="983971"/>
                  </a:lnTo>
                  <a:lnTo>
                    <a:pt x="1581848" y="983971"/>
                  </a:lnTo>
                  <a:lnTo>
                    <a:pt x="1581033" y="981365"/>
                  </a:lnTo>
                  <a:lnTo>
                    <a:pt x="1583803" y="978107"/>
                  </a:lnTo>
                  <a:lnTo>
                    <a:pt x="1583314" y="975663"/>
                  </a:lnTo>
                  <a:lnTo>
                    <a:pt x="1581359" y="974523"/>
                  </a:lnTo>
                  <a:lnTo>
                    <a:pt x="1584943" y="969472"/>
                  </a:lnTo>
                  <a:lnTo>
                    <a:pt x="1587224" y="968495"/>
                  </a:lnTo>
                  <a:lnTo>
                    <a:pt x="1590319" y="970124"/>
                  </a:lnTo>
                  <a:lnTo>
                    <a:pt x="1592926" y="971753"/>
                  </a:lnTo>
                  <a:lnTo>
                    <a:pt x="1595532" y="970450"/>
                  </a:lnTo>
                  <a:lnTo>
                    <a:pt x="1598627" y="970124"/>
                  </a:lnTo>
                  <a:lnTo>
                    <a:pt x="1602537" y="966377"/>
                  </a:lnTo>
                  <a:lnTo>
                    <a:pt x="1604003" y="961979"/>
                  </a:lnTo>
                  <a:lnTo>
                    <a:pt x="1602374" y="959046"/>
                  </a:lnTo>
                  <a:lnTo>
                    <a:pt x="1599442" y="956114"/>
                  </a:lnTo>
                  <a:lnTo>
                    <a:pt x="1594555" y="954485"/>
                  </a:lnTo>
                  <a:lnTo>
                    <a:pt x="1592437" y="950901"/>
                  </a:lnTo>
                  <a:lnTo>
                    <a:pt x="1592437" y="947642"/>
                  </a:lnTo>
                  <a:cubicBezTo>
                    <a:pt x="1592437" y="947642"/>
                    <a:pt x="1590645" y="945525"/>
                    <a:pt x="1590645" y="945525"/>
                  </a:cubicBezTo>
                  <a:lnTo>
                    <a:pt x="1590645" y="942104"/>
                  </a:lnTo>
                  <a:cubicBezTo>
                    <a:pt x="1590645" y="942104"/>
                    <a:pt x="1585921" y="941615"/>
                    <a:pt x="1585921" y="941615"/>
                  </a:cubicBezTo>
                  <a:lnTo>
                    <a:pt x="1585269" y="940312"/>
                  </a:lnTo>
                  <a:lnTo>
                    <a:pt x="1582336" y="938682"/>
                  </a:lnTo>
                  <a:lnTo>
                    <a:pt x="1581359" y="935587"/>
                  </a:lnTo>
                  <a:lnTo>
                    <a:pt x="1585106" y="933958"/>
                  </a:lnTo>
                  <a:lnTo>
                    <a:pt x="1586898" y="936402"/>
                  </a:lnTo>
                  <a:lnTo>
                    <a:pt x="1588853" y="935261"/>
                  </a:lnTo>
                  <a:lnTo>
                    <a:pt x="1589668" y="932492"/>
                  </a:lnTo>
                  <a:lnTo>
                    <a:pt x="1594229" y="930048"/>
                  </a:lnTo>
                  <a:lnTo>
                    <a:pt x="1587550" y="928908"/>
                  </a:lnTo>
                  <a:lnTo>
                    <a:pt x="1584943" y="925813"/>
                  </a:lnTo>
                  <a:lnTo>
                    <a:pt x="1581848" y="925813"/>
                  </a:lnTo>
                  <a:cubicBezTo>
                    <a:pt x="1581848" y="925813"/>
                    <a:pt x="1581522" y="924184"/>
                    <a:pt x="1581522" y="924184"/>
                  </a:cubicBezTo>
                  <a:lnTo>
                    <a:pt x="1577449" y="923206"/>
                  </a:lnTo>
                  <a:lnTo>
                    <a:pt x="1575494" y="927605"/>
                  </a:lnTo>
                  <a:lnTo>
                    <a:pt x="1573865" y="928093"/>
                  </a:lnTo>
                  <a:lnTo>
                    <a:pt x="1573865" y="925161"/>
                  </a:lnTo>
                  <a:lnTo>
                    <a:pt x="1577449" y="917178"/>
                  </a:lnTo>
                  <a:lnTo>
                    <a:pt x="1581848" y="910499"/>
                  </a:lnTo>
                  <a:lnTo>
                    <a:pt x="1582174" y="908544"/>
                  </a:lnTo>
                  <a:lnTo>
                    <a:pt x="1584780" y="901865"/>
                  </a:lnTo>
                  <a:lnTo>
                    <a:pt x="1584780" y="896978"/>
                  </a:lnTo>
                  <a:cubicBezTo>
                    <a:pt x="1584780" y="896978"/>
                    <a:pt x="1586409" y="894371"/>
                    <a:pt x="1586409" y="894371"/>
                  </a:cubicBezTo>
                  <a:lnTo>
                    <a:pt x="1584780" y="891602"/>
                  </a:lnTo>
                  <a:lnTo>
                    <a:pt x="1580219" y="894045"/>
                  </a:lnTo>
                  <a:lnTo>
                    <a:pt x="1577449" y="892090"/>
                  </a:lnTo>
                  <a:lnTo>
                    <a:pt x="1575657" y="893068"/>
                  </a:lnTo>
                  <a:lnTo>
                    <a:pt x="1575169" y="896000"/>
                  </a:lnTo>
                  <a:lnTo>
                    <a:pt x="1572562" y="895186"/>
                  </a:lnTo>
                  <a:lnTo>
                    <a:pt x="1566209" y="888507"/>
                  </a:lnTo>
                  <a:lnTo>
                    <a:pt x="1565883" y="884922"/>
                  </a:lnTo>
                  <a:lnTo>
                    <a:pt x="1563602" y="881827"/>
                  </a:lnTo>
                  <a:lnTo>
                    <a:pt x="1561321" y="880687"/>
                  </a:lnTo>
                  <a:lnTo>
                    <a:pt x="1562299" y="874985"/>
                  </a:lnTo>
                  <a:lnTo>
                    <a:pt x="1567023" y="873030"/>
                  </a:lnTo>
                  <a:lnTo>
                    <a:pt x="1568001" y="870586"/>
                  </a:lnTo>
                  <a:lnTo>
                    <a:pt x="1566371" y="867654"/>
                  </a:lnTo>
                  <a:lnTo>
                    <a:pt x="1566046" y="862604"/>
                  </a:lnTo>
                  <a:lnTo>
                    <a:pt x="1563113" y="863256"/>
                  </a:lnTo>
                  <a:lnTo>
                    <a:pt x="1560344" y="866188"/>
                  </a:lnTo>
                  <a:lnTo>
                    <a:pt x="1560344" y="873356"/>
                  </a:lnTo>
                  <a:cubicBezTo>
                    <a:pt x="1560344" y="873356"/>
                    <a:pt x="1557411" y="877592"/>
                    <a:pt x="1557411" y="877592"/>
                  </a:cubicBezTo>
                  <a:lnTo>
                    <a:pt x="1556271" y="873030"/>
                  </a:lnTo>
                  <a:lnTo>
                    <a:pt x="1553827" y="871075"/>
                  </a:lnTo>
                  <a:lnTo>
                    <a:pt x="1552687" y="872216"/>
                  </a:lnTo>
                  <a:lnTo>
                    <a:pt x="1552361" y="875311"/>
                  </a:lnTo>
                  <a:lnTo>
                    <a:pt x="1549918" y="876125"/>
                  </a:lnTo>
                  <a:lnTo>
                    <a:pt x="1549103" y="881501"/>
                  </a:lnTo>
                  <a:lnTo>
                    <a:pt x="1553176" y="887203"/>
                  </a:lnTo>
                  <a:lnTo>
                    <a:pt x="1556108" y="886715"/>
                  </a:lnTo>
                  <a:lnTo>
                    <a:pt x="1560018" y="895837"/>
                  </a:lnTo>
                  <a:lnTo>
                    <a:pt x="1562462" y="898607"/>
                  </a:lnTo>
                  <a:lnTo>
                    <a:pt x="1560833" y="903331"/>
                  </a:lnTo>
                  <a:lnTo>
                    <a:pt x="1560507" y="907404"/>
                  </a:lnTo>
                  <a:lnTo>
                    <a:pt x="1557086" y="912617"/>
                  </a:lnTo>
                  <a:lnTo>
                    <a:pt x="1553665" y="915061"/>
                  </a:lnTo>
                  <a:lnTo>
                    <a:pt x="1542424" y="915061"/>
                  </a:lnTo>
                  <a:cubicBezTo>
                    <a:pt x="1542424" y="915061"/>
                    <a:pt x="1540958" y="913432"/>
                    <a:pt x="1540958" y="913432"/>
                  </a:cubicBezTo>
                  <a:lnTo>
                    <a:pt x="1536559" y="913757"/>
                  </a:lnTo>
                  <a:lnTo>
                    <a:pt x="1531509" y="910499"/>
                  </a:lnTo>
                  <a:lnTo>
                    <a:pt x="1532649" y="908544"/>
                  </a:lnTo>
                  <a:lnTo>
                    <a:pt x="1532649" y="903983"/>
                  </a:lnTo>
                  <a:lnTo>
                    <a:pt x="1524667" y="903983"/>
                  </a:lnTo>
                  <a:cubicBezTo>
                    <a:pt x="1524667" y="903983"/>
                    <a:pt x="1516358" y="899910"/>
                    <a:pt x="1516358" y="899910"/>
                  </a:cubicBezTo>
                  <a:lnTo>
                    <a:pt x="1509190" y="899259"/>
                  </a:lnTo>
                  <a:lnTo>
                    <a:pt x="1512611" y="908381"/>
                  </a:lnTo>
                  <a:lnTo>
                    <a:pt x="1514892" y="913920"/>
                  </a:lnTo>
                  <a:lnTo>
                    <a:pt x="1513915" y="915061"/>
                  </a:lnTo>
                  <a:lnTo>
                    <a:pt x="1509842" y="915061"/>
                  </a:lnTo>
                  <a:cubicBezTo>
                    <a:pt x="1509842" y="915061"/>
                    <a:pt x="1507561" y="909848"/>
                    <a:pt x="1507561" y="909848"/>
                  </a:cubicBezTo>
                  <a:lnTo>
                    <a:pt x="1503326" y="905286"/>
                  </a:lnTo>
                  <a:lnTo>
                    <a:pt x="1501534" y="904634"/>
                  </a:lnTo>
                  <a:lnTo>
                    <a:pt x="1500230" y="900888"/>
                  </a:lnTo>
                  <a:lnTo>
                    <a:pt x="1495343" y="895837"/>
                  </a:lnTo>
                  <a:lnTo>
                    <a:pt x="1491596" y="891276"/>
                  </a:lnTo>
                  <a:lnTo>
                    <a:pt x="1490782" y="888669"/>
                  </a:lnTo>
                  <a:lnTo>
                    <a:pt x="1487361" y="887855"/>
                  </a:lnTo>
                  <a:lnTo>
                    <a:pt x="1483125" y="882479"/>
                  </a:lnTo>
                  <a:lnTo>
                    <a:pt x="1480030" y="881176"/>
                  </a:lnTo>
                  <a:lnTo>
                    <a:pt x="1478563" y="879221"/>
                  </a:lnTo>
                  <a:lnTo>
                    <a:pt x="1474491" y="876940"/>
                  </a:lnTo>
                  <a:lnTo>
                    <a:pt x="1475468" y="880850"/>
                  </a:lnTo>
                  <a:lnTo>
                    <a:pt x="1485243" y="888669"/>
                  </a:lnTo>
                  <a:lnTo>
                    <a:pt x="1487523" y="892579"/>
                  </a:lnTo>
                  <a:lnTo>
                    <a:pt x="1490945" y="896815"/>
                  </a:lnTo>
                  <a:lnTo>
                    <a:pt x="1494854" y="899421"/>
                  </a:lnTo>
                  <a:lnTo>
                    <a:pt x="1496320" y="903168"/>
                  </a:lnTo>
                  <a:lnTo>
                    <a:pt x="1493714" y="906426"/>
                  </a:lnTo>
                  <a:lnTo>
                    <a:pt x="1491922" y="904797"/>
                  </a:lnTo>
                  <a:lnTo>
                    <a:pt x="1489315" y="907404"/>
                  </a:lnTo>
                  <a:lnTo>
                    <a:pt x="1482147" y="902842"/>
                  </a:lnTo>
                  <a:lnTo>
                    <a:pt x="1479378" y="903657"/>
                  </a:lnTo>
                  <a:lnTo>
                    <a:pt x="1476934" y="899747"/>
                  </a:lnTo>
                  <a:lnTo>
                    <a:pt x="1472373" y="898118"/>
                  </a:lnTo>
                  <a:lnTo>
                    <a:pt x="1470581" y="893882"/>
                  </a:lnTo>
                  <a:lnTo>
                    <a:pt x="1462273" y="895023"/>
                  </a:lnTo>
                  <a:lnTo>
                    <a:pt x="1458037" y="897467"/>
                  </a:lnTo>
                  <a:lnTo>
                    <a:pt x="1454290" y="894371"/>
                  </a:lnTo>
                  <a:lnTo>
                    <a:pt x="1448751" y="893231"/>
                  </a:lnTo>
                  <a:lnTo>
                    <a:pt x="1444190" y="893557"/>
                  </a:lnTo>
                  <a:lnTo>
                    <a:pt x="1441583" y="890136"/>
                  </a:lnTo>
                  <a:lnTo>
                    <a:pt x="1435718" y="886226"/>
                  </a:lnTo>
                  <a:lnTo>
                    <a:pt x="1435718" y="883130"/>
                  </a:lnTo>
                  <a:cubicBezTo>
                    <a:pt x="1435718" y="883130"/>
                    <a:pt x="1442723" y="876451"/>
                    <a:pt x="1442723" y="876451"/>
                  </a:cubicBezTo>
                  <a:lnTo>
                    <a:pt x="1445656" y="874985"/>
                  </a:lnTo>
                  <a:lnTo>
                    <a:pt x="1445656" y="873030"/>
                  </a:lnTo>
                  <a:cubicBezTo>
                    <a:pt x="1445656" y="873030"/>
                    <a:pt x="1442235" y="873193"/>
                    <a:pt x="1442235" y="873193"/>
                  </a:cubicBezTo>
                  <a:lnTo>
                    <a:pt x="1437836" y="877755"/>
                  </a:lnTo>
                  <a:lnTo>
                    <a:pt x="1434415" y="881827"/>
                  </a:lnTo>
                  <a:lnTo>
                    <a:pt x="1431809" y="882805"/>
                  </a:lnTo>
                  <a:lnTo>
                    <a:pt x="1427736" y="879547"/>
                  </a:lnTo>
                  <a:lnTo>
                    <a:pt x="1423011" y="878569"/>
                  </a:lnTo>
                  <a:lnTo>
                    <a:pt x="1421057" y="879384"/>
                  </a:lnTo>
                  <a:lnTo>
                    <a:pt x="1425292" y="882316"/>
                  </a:lnTo>
                  <a:lnTo>
                    <a:pt x="1422849" y="884108"/>
                  </a:lnTo>
                  <a:lnTo>
                    <a:pt x="1416169" y="883782"/>
                  </a:lnTo>
                  <a:lnTo>
                    <a:pt x="1409979" y="878406"/>
                  </a:lnTo>
                  <a:lnTo>
                    <a:pt x="1409001" y="871564"/>
                  </a:lnTo>
                  <a:lnTo>
                    <a:pt x="1404603" y="868306"/>
                  </a:lnTo>
                  <a:lnTo>
                    <a:pt x="1405417" y="864070"/>
                  </a:lnTo>
                  <a:lnTo>
                    <a:pt x="1414052" y="859672"/>
                  </a:lnTo>
                  <a:lnTo>
                    <a:pt x="1416006" y="856576"/>
                  </a:lnTo>
                  <a:lnTo>
                    <a:pt x="1414377" y="855436"/>
                  </a:lnTo>
                  <a:lnTo>
                    <a:pt x="1410468" y="858368"/>
                  </a:lnTo>
                  <a:lnTo>
                    <a:pt x="1404440" y="859183"/>
                  </a:lnTo>
                  <a:lnTo>
                    <a:pt x="1402159" y="864559"/>
                  </a:lnTo>
                  <a:lnTo>
                    <a:pt x="1399553" y="865048"/>
                  </a:lnTo>
                  <a:lnTo>
                    <a:pt x="1398575" y="861301"/>
                  </a:lnTo>
                  <a:lnTo>
                    <a:pt x="1399715" y="857228"/>
                  </a:lnTo>
                  <a:lnTo>
                    <a:pt x="1397761" y="855436"/>
                  </a:lnTo>
                  <a:lnTo>
                    <a:pt x="1395317" y="856088"/>
                  </a:lnTo>
                  <a:lnTo>
                    <a:pt x="1394339" y="859346"/>
                  </a:lnTo>
                  <a:lnTo>
                    <a:pt x="1394991" y="861952"/>
                  </a:lnTo>
                  <a:lnTo>
                    <a:pt x="1393688" y="864559"/>
                  </a:lnTo>
                  <a:lnTo>
                    <a:pt x="1390104" y="863418"/>
                  </a:lnTo>
                  <a:lnTo>
                    <a:pt x="1387009" y="859997"/>
                  </a:lnTo>
                  <a:lnTo>
                    <a:pt x="1382936" y="859020"/>
                  </a:lnTo>
                  <a:lnTo>
                    <a:pt x="1379515" y="859997"/>
                  </a:lnTo>
                  <a:lnTo>
                    <a:pt x="1379026" y="863093"/>
                  </a:lnTo>
                  <a:lnTo>
                    <a:pt x="1376419" y="863093"/>
                  </a:lnTo>
                  <a:cubicBezTo>
                    <a:pt x="1376419" y="863093"/>
                    <a:pt x="1373161" y="859183"/>
                    <a:pt x="1373161" y="859183"/>
                  </a:cubicBezTo>
                  <a:lnTo>
                    <a:pt x="1371858" y="855110"/>
                  </a:lnTo>
                  <a:lnTo>
                    <a:pt x="1373324" y="855436"/>
                  </a:lnTo>
                  <a:lnTo>
                    <a:pt x="1375931" y="857228"/>
                  </a:lnTo>
                  <a:lnTo>
                    <a:pt x="1375931" y="855436"/>
                  </a:lnTo>
                  <a:cubicBezTo>
                    <a:pt x="1375931" y="855436"/>
                    <a:pt x="1371044" y="850874"/>
                    <a:pt x="1371044" y="850874"/>
                  </a:cubicBezTo>
                  <a:lnTo>
                    <a:pt x="1365016" y="847290"/>
                  </a:lnTo>
                  <a:lnTo>
                    <a:pt x="1364201" y="843055"/>
                  </a:lnTo>
                  <a:lnTo>
                    <a:pt x="1365016" y="837516"/>
                  </a:lnTo>
                  <a:lnTo>
                    <a:pt x="1364364" y="831325"/>
                  </a:lnTo>
                  <a:lnTo>
                    <a:pt x="1362083" y="823669"/>
                  </a:lnTo>
                  <a:lnTo>
                    <a:pt x="1363550" y="819922"/>
                  </a:lnTo>
                  <a:lnTo>
                    <a:pt x="1366645" y="819922"/>
                  </a:lnTo>
                  <a:lnTo>
                    <a:pt x="1366645" y="816989"/>
                  </a:lnTo>
                  <a:lnTo>
                    <a:pt x="1364853" y="811125"/>
                  </a:lnTo>
                  <a:lnTo>
                    <a:pt x="1365504" y="809170"/>
                  </a:lnTo>
                  <a:lnTo>
                    <a:pt x="1370229" y="810473"/>
                  </a:lnTo>
                  <a:lnTo>
                    <a:pt x="1372021" y="813080"/>
                  </a:lnTo>
                  <a:lnTo>
                    <a:pt x="1380329" y="813568"/>
                  </a:lnTo>
                  <a:lnTo>
                    <a:pt x="1384728" y="816989"/>
                  </a:lnTo>
                  <a:lnTo>
                    <a:pt x="1386194" y="821714"/>
                  </a:lnTo>
                  <a:lnTo>
                    <a:pt x="1395154" y="825135"/>
                  </a:lnTo>
                  <a:lnTo>
                    <a:pt x="1403299" y="825135"/>
                  </a:lnTo>
                  <a:lnTo>
                    <a:pt x="1405743" y="823669"/>
                  </a:lnTo>
                  <a:lnTo>
                    <a:pt x="1412911" y="823669"/>
                  </a:lnTo>
                  <a:cubicBezTo>
                    <a:pt x="1412911" y="823669"/>
                    <a:pt x="1409816" y="820899"/>
                    <a:pt x="1409816" y="820899"/>
                  </a:cubicBezTo>
                  <a:lnTo>
                    <a:pt x="1409001" y="817641"/>
                  </a:lnTo>
                  <a:lnTo>
                    <a:pt x="1402322" y="813568"/>
                  </a:lnTo>
                  <a:lnTo>
                    <a:pt x="1401507" y="806726"/>
                  </a:lnTo>
                  <a:lnTo>
                    <a:pt x="1394828" y="806726"/>
                  </a:lnTo>
                  <a:lnTo>
                    <a:pt x="1389126" y="803305"/>
                  </a:lnTo>
                  <a:lnTo>
                    <a:pt x="1385217" y="803305"/>
                  </a:lnTo>
                  <a:lnTo>
                    <a:pt x="1379352" y="799395"/>
                  </a:lnTo>
                  <a:lnTo>
                    <a:pt x="1374302" y="799395"/>
                  </a:lnTo>
                  <a:cubicBezTo>
                    <a:pt x="1374302" y="799395"/>
                    <a:pt x="1365342" y="794182"/>
                    <a:pt x="1365342" y="794182"/>
                  </a:cubicBezTo>
                  <a:lnTo>
                    <a:pt x="1362898" y="789621"/>
                  </a:lnTo>
                  <a:lnTo>
                    <a:pt x="1364690" y="781475"/>
                  </a:lnTo>
                  <a:lnTo>
                    <a:pt x="1368926" y="778706"/>
                  </a:lnTo>
                  <a:lnTo>
                    <a:pt x="1368600" y="774959"/>
                  </a:lnTo>
                  <a:lnTo>
                    <a:pt x="1370229" y="769257"/>
                  </a:lnTo>
                  <a:lnTo>
                    <a:pt x="1374302" y="769257"/>
                  </a:lnTo>
                  <a:lnTo>
                    <a:pt x="1376908" y="764207"/>
                  </a:lnTo>
                  <a:lnTo>
                    <a:pt x="1376908" y="755247"/>
                  </a:lnTo>
                  <a:lnTo>
                    <a:pt x="1378537" y="751500"/>
                  </a:lnTo>
                  <a:lnTo>
                    <a:pt x="1382284" y="750360"/>
                  </a:lnTo>
                  <a:lnTo>
                    <a:pt x="1383587" y="745961"/>
                  </a:lnTo>
                  <a:lnTo>
                    <a:pt x="1390430" y="742214"/>
                  </a:lnTo>
                  <a:lnTo>
                    <a:pt x="1394502" y="741888"/>
                  </a:lnTo>
                  <a:lnTo>
                    <a:pt x="1395643" y="738467"/>
                  </a:lnTo>
                  <a:lnTo>
                    <a:pt x="1394014" y="738467"/>
                  </a:lnTo>
                  <a:cubicBezTo>
                    <a:pt x="1394014" y="738467"/>
                    <a:pt x="1391570" y="739608"/>
                    <a:pt x="1391570" y="739608"/>
                  </a:cubicBezTo>
                  <a:lnTo>
                    <a:pt x="1391081" y="735535"/>
                  </a:lnTo>
                  <a:lnTo>
                    <a:pt x="1396294" y="727715"/>
                  </a:lnTo>
                  <a:lnTo>
                    <a:pt x="1400204" y="720384"/>
                  </a:lnTo>
                  <a:lnTo>
                    <a:pt x="1401996" y="718592"/>
                  </a:lnTo>
                  <a:lnTo>
                    <a:pt x="1405906" y="713542"/>
                  </a:lnTo>
                  <a:lnTo>
                    <a:pt x="1409653" y="713542"/>
                  </a:lnTo>
                  <a:lnTo>
                    <a:pt x="1411445" y="714031"/>
                  </a:lnTo>
                  <a:lnTo>
                    <a:pt x="1413726" y="706048"/>
                  </a:lnTo>
                  <a:lnTo>
                    <a:pt x="1416169" y="706374"/>
                  </a:lnTo>
                  <a:lnTo>
                    <a:pt x="1417961" y="710284"/>
                  </a:lnTo>
                  <a:lnTo>
                    <a:pt x="1420568" y="706863"/>
                  </a:lnTo>
                  <a:lnTo>
                    <a:pt x="1418776" y="703605"/>
                  </a:lnTo>
                  <a:lnTo>
                    <a:pt x="1424641" y="694319"/>
                  </a:lnTo>
                  <a:lnTo>
                    <a:pt x="1428713" y="694319"/>
                  </a:lnTo>
                  <a:cubicBezTo>
                    <a:pt x="1428713" y="694319"/>
                    <a:pt x="1428387" y="689920"/>
                    <a:pt x="1428387" y="689920"/>
                  </a:cubicBezTo>
                  <a:lnTo>
                    <a:pt x="1432623" y="684056"/>
                  </a:lnTo>
                  <a:lnTo>
                    <a:pt x="1437999" y="684056"/>
                  </a:lnTo>
                  <a:cubicBezTo>
                    <a:pt x="1437999" y="684056"/>
                    <a:pt x="1441094" y="679494"/>
                    <a:pt x="1441094" y="679494"/>
                  </a:cubicBezTo>
                  <a:lnTo>
                    <a:pt x="1445004" y="679494"/>
                  </a:lnTo>
                  <a:cubicBezTo>
                    <a:pt x="1445004" y="679494"/>
                    <a:pt x="1448099" y="681286"/>
                    <a:pt x="1448099" y="681286"/>
                  </a:cubicBezTo>
                  <a:lnTo>
                    <a:pt x="1446470" y="676725"/>
                  </a:lnTo>
                  <a:lnTo>
                    <a:pt x="1447774" y="672000"/>
                  </a:lnTo>
                  <a:lnTo>
                    <a:pt x="1456734" y="667928"/>
                  </a:lnTo>
                  <a:lnTo>
                    <a:pt x="1465368" y="660434"/>
                  </a:lnTo>
                  <a:lnTo>
                    <a:pt x="1479215" y="655872"/>
                  </a:lnTo>
                  <a:lnTo>
                    <a:pt x="1488338" y="655384"/>
                  </a:lnTo>
                  <a:lnTo>
                    <a:pt x="1492248" y="653917"/>
                  </a:lnTo>
                  <a:lnTo>
                    <a:pt x="1498927" y="655221"/>
                  </a:lnTo>
                  <a:lnTo>
                    <a:pt x="1502837" y="653917"/>
                  </a:lnTo>
                  <a:lnTo>
                    <a:pt x="1505606" y="655058"/>
                  </a:lnTo>
                  <a:lnTo>
                    <a:pt x="1513752" y="655058"/>
                  </a:lnTo>
                  <a:cubicBezTo>
                    <a:pt x="1513752" y="655058"/>
                    <a:pt x="1519128" y="658968"/>
                    <a:pt x="1519128" y="658968"/>
                  </a:cubicBezTo>
                  <a:lnTo>
                    <a:pt x="1529880" y="664181"/>
                  </a:lnTo>
                  <a:lnTo>
                    <a:pt x="1530694" y="667276"/>
                  </a:lnTo>
                  <a:lnTo>
                    <a:pt x="1529391" y="671349"/>
                  </a:lnTo>
                  <a:lnTo>
                    <a:pt x="1522875" y="674118"/>
                  </a:lnTo>
                  <a:lnTo>
                    <a:pt x="1514566" y="677376"/>
                  </a:lnTo>
                  <a:lnTo>
                    <a:pt x="1509516" y="677376"/>
                  </a:lnTo>
                  <a:cubicBezTo>
                    <a:pt x="1509516" y="677376"/>
                    <a:pt x="1507073" y="681123"/>
                    <a:pt x="1507073" y="681123"/>
                  </a:cubicBezTo>
                  <a:lnTo>
                    <a:pt x="1502837" y="686499"/>
                  </a:lnTo>
                  <a:lnTo>
                    <a:pt x="1497298" y="687965"/>
                  </a:lnTo>
                  <a:lnTo>
                    <a:pt x="1487849" y="696925"/>
                  </a:lnTo>
                  <a:lnTo>
                    <a:pt x="1478889" y="708166"/>
                  </a:lnTo>
                  <a:lnTo>
                    <a:pt x="1471395" y="713216"/>
                  </a:lnTo>
                  <a:lnTo>
                    <a:pt x="1468463" y="714682"/>
                  </a:lnTo>
                  <a:lnTo>
                    <a:pt x="1463739" y="724457"/>
                  </a:lnTo>
                  <a:lnTo>
                    <a:pt x="1462924" y="730322"/>
                  </a:lnTo>
                  <a:lnTo>
                    <a:pt x="1464879" y="735372"/>
                  </a:lnTo>
                  <a:lnTo>
                    <a:pt x="1467649" y="738793"/>
                  </a:lnTo>
                  <a:lnTo>
                    <a:pt x="1467649" y="743192"/>
                  </a:lnTo>
                  <a:lnTo>
                    <a:pt x="1463413" y="745472"/>
                  </a:lnTo>
                  <a:lnTo>
                    <a:pt x="1459666" y="750522"/>
                  </a:lnTo>
                  <a:lnTo>
                    <a:pt x="1455104" y="755736"/>
                  </a:lnTo>
                  <a:lnTo>
                    <a:pt x="1454779" y="760949"/>
                  </a:lnTo>
                  <a:lnTo>
                    <a:pt x="1451684" y="767465"/>
                  </a:lnTo>
                  <a:lnTo>
                    <a:pt x="1449077" y="769257"/>
                  </a:lnTo>
                  <a:lnTo>
                    <a:pt x="1448751" y="773167"/>
                  </a:lnTo>
                  <a:lnTo>
                    <a:pt x="1451195" y="777565"/>
                  </a:lnTo>
                  <a:lnTo>
                    <a:pt x="1452335" y="784896"/>
                  </a:lnTo>
                  <a:lnTo>
                    <a:pt x="1454127" y="788154"/>
                  </a:lnTo>
                  <a:lnTo>
                    <a:pt x="1454127" y="794834"/>
                  </a:lnTo>
                  <a:lnTo>
                    <a:pt x="1458526" y="800698"/>
                  </a:lnTo>
                  <a:lnTo>
                    <a:pt x="1459503" y="803305"/>
                  </a:lnTo>
                  <a:lnTo>
                    <a:pt x="1464227" y="806074"/>
                  </a:lnTo>
                  <a:lnTo>
                    <a:pt x="1464227" y="811288"/>
                  </a:lnTo>
                  <a:lnTo>
                    <a:pt x="1462273" y="815849"/>
                  </a:lnTo>
                  <a:lnTo>
                    <a:pt x="1460644" y="811613"/>
                  </a:lnTo>
                  <a:lnTo>
                    <a:pt x="1458037" y="811613"/>
                  </a:lnTo>
                  <a:lnTo>
                    <a:pt x="1457711" y="814057"/>
                  </a:lnTo>
                  <a:lnTo>
                    <a:pt x="1454616" y="814383"/>
                  </a:lnTo>
                  <a:lnTo>
                    <a:pt x="1451358" y="815686"/>
                  </a:lnTo>
                  <a:lnTo>
                    <a:pt x="1448914" y="816664"/>
                  </a:lnTo>
                  <a:lnTo>
                    <a:pt x="1450869" y="817804"/>
                  </a:lnTo>
                  <a:lnTo>
                    <a:pt x="1453964" y="821714"/>
                  </a:lnTo>
                  <a:lnTo>
                    <a:pt x="1457548" y="821225"/>
                  </a:lnTo>
                  <a:lnTo>
                    <a:pt x="1458526" y="820248"/>
                  </a:lnTo>
                  <a:lnTo>
                    <a:pt x="1460155" y="822040"/>
                  </a:lnTo>
                  <a:lnTo>
                    <a:pt x="1456245" y="825786"/>
                  </a:lnTo>
                  <a:lnTo>
                    <a:pt x="1454290" y="833117"/>
                  </a:lnTo>
                  <a:lnTo>
                    <a:pt x="1454290" y="837842"/>
                  </a:lnTo>
                  <a:cubicBezTo>
                    <a:pt x="1454290" y="837842"/>
                    <a:pt x="1452987" y="840774"/>
                    <a:pt x="1452987" y="840774"/>
                  </a:cubicBezTo>
                  <a:lnTo>
                    <a:pt x="1459340" y="834584"/>
                  </a:lnTo>
                  <a:lnTo>
                    <a:pt x="1459340" y="831162"/>
                  </a:lnTo>
                  <a:lnTo>
                    <a:pt x="1464716" y="821714"/>
                  </a:lnTo>
                  <a:lnTo>
                    <a:pt x="1467160" y="819433"/>
                  </a:lnTo>
                  <a:lnTo>
                    <a:pt x="1468463" y="810147"/>
                  </a:lnTo>
                  <a:lnTo>
                    <a:pt x="1470581" y="807052"/>
                  </a:lnTo>
                  <a:lnTo>
                    <a:pt x="1474979" y="803957"/>
                  </a:lnTo>
                  <a:lnTo>
                    <a:pt x="1474979" y="799232"/>
                  </a:lnTo>
                  <a:lnTo>
                    <a:pt x="1473513" y="796137"/>
                  </a:lnTo>
                  <a:lnTo>
                    <a:pt x="1474491" y="792879"/>
                  </a:lnTo>
                  <a:lnTo>
                    <a:pt x="1471233" y="790598"/>
                  </a:lnTo>
                  <a:lnTo>
                    <a:pt x="1468137" y="789946"/>
                  </a:lnTo>
                  <a:lnTo>
                    <a:pt x="1467811" y="783593"/>
                  </a:lnTo>
                  <a:lnTo>
                    <a:pt x="1466834" y="781964"/>
                  </a:lnTo>
                  <a:lnTo>
                    <a:pt x="1466508" y="775610"/>
                  </a:lnTo>
                  <a:lnTo>
                    <a:pt x="1463739" y="770560"/>
                  </a:lnTo>
                  <a:lnTo>
                    <a:pt x="1463087" y="765510"/>
                  </a:lnTo>
                  <a:lnTo>
                    <a:pt x="1465368" y="764207"/>
                  </a:lnTo>
                  <a:lnTo>
                    <a:pt x="1466997" y="767954"/>
                  </a:lnTo>
                  <a:lnTo>
                    <a:pt x="1469278" y="765999"/>
                  </a:lnTo>
                  <a:lnTo>
                    <a:pt x="1474491" y="764370"/>
                  </a:lnTo>
                  <a:lnTo>
                    <a:pt x="1477423" y="760623"/>
                  </a:lnTo>
                  <a:lnTo>
                    <a:pt x="1476283" y="757365"/>
                  </a:lnTo>
                  <a:lnTo>
                    <a:pt x="1478889" y="753129"/>
                  </a:lnTo>
                  <a:lnTo>
                    <a:pt x="1482799" y="754269"/>
                  </a:lnTo>
                  <a:lnTo>
                    <a:pt x="1485894" y="760949"/>
                  </a:lnTo>
                  <a:lnTo>
                    <a:pt x="1484591" y="763881"/>
                  </a:lnTo>
                  <a:lnTo>
                    <a:pt x="1487035" y="765673"/>
                  </a:lnTo>
                  <a:lnTo>
                    <a:pt x="1490293" y="761763"/>
                  </a:lnTo>
                  <a:lnTo>
                    <a:pt x="1490293" y="757202"/>
                  </a:lnTo>
                  <a:lnTo>
                    <a:pt x="1493714" y="752966"/>
                  </a:lnTo>
                  <a:lnTo>
                    <a:pt x="1496972" y="752966"/>
                  </a:lnTo>
                  <a:lnTo>
                    <a:pt x="1496484" y="750197"/>
                  </a:lnTo>
                  <a:lnTo>
                    <a:pt x="1498438" y="748568"/>
                  </a:lnTo>
                  <a:lnTo>
                    <a:pt x="1503000" y="747101"/>
                  </a:lnTo>
                  <a:lnTo>
                    <a:pt x="1501371" y="744332"/>
                  </a:lnTo>
                  <a:lnTo>
                    <a:pt x="1497787" y="743843"/>
                  </a:lnTo>
                  <a:lnTo>
                    <a:pt x="1489478" y="749708"/>
                  </a:lnTo>
                  <a:lnTo>
                    <a:pt x="1486057" y="749708"/>
                  </a:lnTo>
                  <a:cubicBezTo>
                    <a:pt x="1486057" y="749708"/>
                    <a:pt x="1484591" y="744495"/>
                    <a:pt x="1484591" y="744495"/>
                  </a:cubicBezTo>
                  <a:lnTo>
                    <a:pt x="1481822" y="741725"/>
                  </a:lnTo>
                  <a:lnTo>
                    <a:pt x="1482147" y="738793"/>
                  </a:lnTo>
                  <a:lnTo>
                    <a:pt x="1487523" y="737001"/>
                  </a:lnTo>
                  <a:lnTo>
                    <a:pt x="1484428" y="732765"/>
                  </a:lnTo>
                  <a:lnTo>
                    <a:pt x="1486220" y="725760"/>
                  </a:lnTo>
                  <a:lnTo>
                    <a:pt x="1489967" y="718918"/>
                  </a:lnTo>
                  <a:lnTo>
                    <a:pt x="1490456" y="715008"/>
                  </a:lnTo>
                  <a:lnTo>
                    <a:pt x="1494366" y="711098"/>
                  </a:lnTo>
                  <a:lnTo>
                    <a:pt x="1500393" y="711587"/>
                  </a:lnTo>
                  <a:lnTo>
                    <a:pt x="1504629" y="716149"/>
                  </a:lnTo>
                  <a:lnTo>
                    <a:pt x="1505118" y="719407"/>
                  </a:lnTo>
                  <a:lnTo>
                    <a:pt x="1511960" y="723154"/>
                  </a:lnTo>
                  <a:lnTo>
                    <a:pt x="1515055" y="727715"/>
                  </a:lnTo>
                  <a:lnTo>
                    <a:pt x="1519779" y="728041"/>
                  </a:lnTo>
                  <a:lnTo>
                    <a:pt x="1515870" y="724946"/>
                  </a:lnTo>
                  <a:lnTo>
                    <a:pt x="1514892" y="721199"/>
                  </a:lnTo>
                  <a:lnTo>
                    <a:pt x="1507724" y="716474"/>
                  </a:lnTo>
                  <a:lnTo>
                    <a:pt x="1506421" y="711261"/>
                  </a:lnTo>
                  <a:lnTo>
                    <a:pt x="1505118" y="708492"/>
                  </a:lnTo>
                  <a:lnTo>
                    <a:pt x="1499742" y="708492"/>
                  </a:lnTo>
                  <a:lnTo>
                    <a:pt x="1497461" y="706048"/>
                  </a:lnTo>
                  <a:lnTo>
                    <a:pt x="1499090" y="705234"/>
                  </a:lnTo>
                  <a:lnTo>
                    <a:pt x="1507724" y="704745"/>
                  </a:lnTo>
                  <a:lnTo>
                    <a:pt x="1509190" y="702301"/>
                  </a:lnTo>
                  <a:lnTo>
                    <a:pt x="1511471" y="702301"/>
                  </a:lnTo>
                  <a:lnTo>
                    <a:pt x="1519454" y="710936"/>
                  </a:lnTo>
                  <a:lnTo>
                    <a:pt x="1526296" y="714845"/>
                  </a:lnTo>
                  <a:lnTo>
                    <a:pt x="1528739" y="714845"/>
                  </a:lnTo>
                  <a:cubicBezTo>
                    <a:pt x="1528739" y="714845"/>
                    <a:pt x="1522549" y="710936"/>
                    <a:pt x="1522549" y="710936"/>
                  </a:cubicBezTo>
                  <a:lnTo>
                    <a:pt x="1518150" y="703605"/>
                  </a:lnTo>
                  <a:lnTo>
                    <a:pt x="1512286" y="699369"/>
                  </a:lnTo>
                  <a:lnTo>
                    <a:pt x="1512286" y="696274"/>
                  </a:lnTo>
                  <a:cubicBezTo>
                    <a:pt x="1512286" y="696274"/>
                    <a:pt x="1514078" y="691712"/>
                    <a:pt x="1514078" y="691712"/>
                  </a:cubicBezTo>
                  <a:lnTo>
                    <a:pt x="1521409" y="690246"/>
                  </a:lnTo>
                  <a:lnTo>
                    <a:pt x="1524015" y="691386"/>
                  </a:lnTo>
                  <a:lnTo>
                    <a:pt x="1523363" y="695785"/>
                  </a:lnTo>
                  <a:lnTo>
                    <a:pt x="1524015" y="699206"/>
                  </a:lnTo>
                  <a:lnTo>
                    <a:pt x="1526296" y="696925"/>
                  </a:lnTo>
                  <a:lnTo>
                    <a:pt x="1526296" y="693341"/>
                  </a:lnTo>
                  <a:cubicBezTo>
                    <a:pt x="1526296" y="693341"/>
                    <a:pt x="1529065" y="689594"/>
                    <a:pt x="1529065" y="689594"/>
                  </a:cubicBezTo>
                  <a:lnTo>
                    <a:pt x="1534767" y="689594"/>
                  </a:lnTo>
                  <a:lnTo>
                    <a:pt x="1537536" y="695133"/>
                  </a:lnTo>
                  <a:lnTo>
                    <a:pt x="1539817" y="696925"/>
                  </a:lnTo>
                  <a:lnTo>
                    <a:pt x="1541609" y="703442"/>
                  </a:lnTo>
                  <a:lnTo>
                    <a:pt x="1544053" y="700672"/>
                  </a:lnTo>
                  <a:lnTo>
                    <a:pt x="1544053" y="696762"/>
                  </a:lnTo>
                  <a:lnTo>
                    <a:pt x="1539328" y="691061"/>
                  </a:lnTo>
                  <a:lnTo>
                    <a:pt x="1540795" y="688128"/>
                  </a:lnTo>
                  <a:lnTo>
                    <a:pt x="1553502" y="685196"/>
                  </a:lnTo>
                  <a:lnTo>
                    <a:pt x="1560833" y="681938"/>
                  </a:lnTo>
                  <a:lnTo>
                    <a:pt x="1567023" y="681449"/>
                  </a:lnTo>
                  <a:lnTo>
                    <a:pt x="1572725" y="677376"/>
                  </a:lnTo>
                  <a:lnTo>
                    <a:pt x="1580056" y="679983"/>
                  </a:lnTo>
                  <a:lnTo>
                    <a:pt x="1588201" y="680309"/>
                  </a:lnTo>
                  <a:lnTo>
                    <a:pt x="1596021" y="682101"/>
                  </a:lnTo>
                  <a:lnTo>
                    <a:pt x="1596673" y="685196"/>
                  </a:lnTo>
                  <a:lnTo>
                    <a:pt x="1595206" y="687151"/>
                  </a:lnTo>
                  <a:lnTo>
                    <a:pt x="1594229" y="698392"/>
                  </a:lnTo>
                  <a:lnTo>
                    <a:pt x="1593089" y="701324"/>
                  </a:lnTo>
                  <a:lnTo>
                    <a:pt x="1589830" y="705071"/>
                  </a:lnTo>
                  <a:lnTo>
                    <a:pt x="1586409" y="711424"/>
                  </a:lnTo>
                  <a:lnTo>
                    <a:pt x="1587550" y="714031"/>
                  </a:lnTo>
                  <a:lnTo>
                    <a:pt x="1592111" y="716149"/>
                  </a:lnTo>
                  <a:lnTo>
                    <a:pt x="1594066" y="720221"/>
                  </a:lnTo>
                  <a:lnTo>
                    <a:pt x="1593089" y="722828"/>
                  </a:lnTo>
                  <a:lnTo>
                    <a:pt x="1586084" y="730648"/>
                  </a:lnTo>
                  <a:lnTo>
                    <a:pt x="1584780" y="733743"/>
                  </a:lnTo>
                  <a:lnTo>
                    <a:pt x="1584292" y="738793"/>
                  </a:lnTo>
                  <a:lnTo>
                    <a:pt x="1588364" y="742540"/>
                  </a:lnTo>
                  <a:lnTo>
                    <a:pt x="1588364" y="744984"/>
                  </a:lnTo>
                  <a:cubicBezTo>
                    <a:pt x="1588364" y="744984"/>
                    <a:pt x="1584943" y="750360"/>
                    <a:pt x="1584943" y="750360"/>
                  </a:cubicBezTo>
                  <a:lnTo>
                    <a:pt x="1581033" y="750685"/>
                  </a:lnTo>
                  <a:lnTo>
                    <a:pt x="1577612" y="754758"/>
                  </a:lnTo>
                  <a:lnTo>
                    <a:pt x="1573214" y="756061"/>
                  </a:lnTo>
                  <a:lnTo>
                    <a:pt x="1569793" y="759320"/>
                  </a:lnTo>
                  <a:lnTo>
                    <a:pt x="1566697" y="763718"/>
                  </a:lnTo>
                  <a:lnTo>
                    <a:pt x="1563439" y="767628"/>
                  </a:lnTo>
                  <a:lnTo>
                    <a:pt x="1566860" y="767302"/>
                  </a:lnTo>
                  <a:lnTo>
                    <a:pt x="1572236" y="761926"/>
                  </a:lnTo>
                  <a:lnTo>
                    <a:pt x="1578753" y="756876"/>
                  </a:lnTo>
                  <a:lnTo>
                    <a:pt x="1581359" y="756876"/>
                  </a:lnTo>
                  <a:cubicBezTo>
                    <a:pt x="1581359" y="756876"/>
                    <a:pt x="1583640" y="756713"/>
                    <a:pt x="1583640" y="756713"/>
                  </a:cubicBezTo>
                  <a:lnTo>
                    <a:pt x="1580382" y="760460"/>
                  </a:lnTo>
                  <a:lnTo>
                    <a:pt x="1579241" y="764207"/>
                  </a:lnTo>
                  <a:lnTo>
                    <a:pt x="1572073" y="770886"/>
                  </a:lnTo>
                  <a:lnTo>
                    <a:pt x="1567349" y="773330"/>
                  </a:lnTo>
                  <a:lnTo>
                    <a:pt x="1567023" y="775122"/>
                  </a:lnTo>
                  <a:lnTo>
                    <a:pt x="1567349" y="777565"/>
                  </a:lnTo>
                  <a:lnTo>
                    <a:pt x="1566535" y="780172"/>
                  </a:lnTo>
                  <a:lnTo>
                    <a:pt x="1563928" y="778706"/>
                  </a:lnTo>
                  <a:lnTo>
                    <a:pt x="1560670" y="779032"/>
                  </a:lnTo>
                  <a:lnTo>
                    <a:pt x="1560670" y="781801"/>
                  </a:lnTo>
                  <a:cubicBezTo>
                    <a:pt x="1560670" y="781801"/>
                    <a:pt x="1563113" y="781964"/>
                    <a:pt x="1563113" y="781964"/>
                  </a:cubicBezTo>
                  <a:lnTo>
                    <a:pt x="1565068" y="784245"/>
                  </a:lnTo>
                  <a:lnTo>
                    <a:pt x="1564743" y="788154"/>
                  </a:lnTo>
                  <a:lnTo>
                    <a:pt x="1560833" y="791087"/>
                  </a:lnTo>
                  <a:lnTo>
                    <a:pt x="1564905" y="791087"/>
                  </a:lnTo>
                  <a:lnTo>
                    <a:pt x="1567023" y="788154"/>
                  </a:lnTo>
                  <a:lnTo>
                    <a:pt x="1570607" y="786688"/>
                  </a:lnTo>
                  <a:lnTo>
                    <a:pt x="1573865" y="782127"/>
                  </a:lnTo>
                  <a:lnTo>
                    <a:pt x="1573865" y="778543"/>
                  </a:lnTo>
                  <a:cubicBezTo>
                    <a:pt x="1573865" y="778543"/>
                    <a:pt x="1578590" y="776914"/>
                    <a:pt x="1578590" y="776914"/>
                  </a:cubicBezTo>
                  <a:lnTo>
                    <a:pt x="1580382" y="772678"/>
                  </a:lnTo>
                  <a:lnTo>
                    <a:pt x="1581848" y="773981"/>
                  </a:lnTo>
                  <a:lnTo>
                    <a:pt x="1581848" y="780498"/>
                  </a:lnTo>
                  <a:lnTo>
                    <a:pt x="1584780" y="782290"/>
                  </a:lnTo>
                  <a:lnTo>
                    <a:pt x="1584780" y="776588"/>
                  </a:lnTo>
                  <a:lnTo>
                    <a:pt x="1583477" y="771375"/>
                  </a:lnTo>
                  <a:lnTo>
                    <a:pt x="1584454" y="767628"/>
                  </a:lnTo>
                  <a:lnTo>
                    <a:pt x="1586735" y="765999"/>
                  </a:lnTo>
                  <a:lnTo>
                    <a:pt x="1591460" y="767139"/>
                  </a:lnTo>
                  <a:lnTo>
                    <a:pt x="1590808" y="772841"/>
                  </a:lnTo>
                  <a:lnTo>
                    <a:pt x="1592437" y="775610"/>
                  </a:lnTo>
                  <a:lnTo>
                    <a:pt x="1595044" y="773004"/>
                  </a:lnTo>
                  <a:lnTo>
                    <a:pt x="1600419" y="767465"/>
                  </a:lnTo>
                  <a:lnTo>
                    <a:pt x="1601886" y="771864"/>
                  </a:lnTo>
                  <a:lnTo>
                    <a:pt x="1605144" y="775610"/>
                  </a:lnTo>
                  <a:lnTo>
                    <a:pt x="1603678" y="779846"/>
                  </a:lnTo>
                  <a:lnTo>
                    <a:pt x="1597487" y="788480"/>
                  </a:lnTo>
                  <a:lnTo>
                    <a:pt x="1592437" y="792390"/>
                  </a:lnTo>
                  <a:lnTo>
                    <a:pt x="1589993" y="795811"/>
                  </a:lnTo>
                  <a:lnTo>
                    <a:pt x="1594718" y="796952"/>
                  </a:lnTo>
                  <a:lnTo>
                    <a:pt x="1599116" y="799232"/>
                  </a:lnTo>
                  <a:lnTo>
                    <a:pt x="1602374" y="796952"/>
                  </a:lnTo>
                  <a:lnTo>
                    <a:pt x="1599605" y="793693"/>
                  </a:lnTo>
                  <a:lnTo>
                    <a:pt x="1601886" y="788643"/>
                  </a:lnTo>
                  <a:lnTo>
                    <a:pt x="1605959" y="783919"/>
                  </a:lnTo>
                  <a:lnTo>
                    <a:pt x="1609379" y="790435"/>
                  </a:lnTo>
                  <a:lnTo>
                    <a:pt x="1609379" y="794997"/>
                  </a:lnTo>
                  <a:cubicBezTo>
                    <a:pt x="1609379" y="794997"/>
                    <a:pt x="1610846" y="791738"/>
                    <a:pt x="1610846" y="791738"/>
                  </a:cubicBezTo>
                  <a:lnTo>
                    <a:pt x="1610031" y="785548"/>
                  </a:lnTo>
                  <a:lnTo>
                    <a:pt x="1607425" y="780824"/>
                  </a:lnTo>
                  <a:lnTo>
                    <a:pt x="1607425" y="771375"/>
                  </a:lnTo>
                  <a:cubicBezTo>
                    <a:pt x="1607425" y="771375"/>
                    <a:pt x="1609217" y="770234"/>
                    <a:pt x="1609217" y="770234"/>
                  </a:cubicBezTo>
                  <a:lnTo>
                    <a:pt x="1614593" y="772678"/>
                  </a:lnTo>
                  <a:lnTo>
                    <a:pt x="1613452" y="777402"/>
                  </a:lnTo>
                  <a:lnTo>
                    <a:pt x="1611823" y="781312"/>
                  </a:lnTo>
                  <a:lnTo>
                    <a:pt x="1614593" y="780009"/>
                  </a:lnTo>
                  <a:lnTo>
                    <a:pt x="1618665" y="779194"/>
                  </a:lnTo>
                  <a:lnTo>
                    <a:pt x="1626974" y="787177"/>
                  </a:lnTo>
                  <a:lnTo>
                    <a:pt x="1626974" y="790435"/>
                  </a:lnTo>
                  <a:lnTo>
                    <a:pt x="1632676" y="790435"/>
                  </a:lnTo>
                  <a:lnTo>
                    <a:pt x="1636422" y="792716"/>
                  </a:lnTo>
                  <a:lnTo>
                    <a:pt x="1638866" y="792716"/>
                  </a:lnTo>
                  <a:lnTo>
                    <a:pt x="1636422" y="787503"/>
                  </a:lnTo>
                  <a:lnTo>
                    <a:pt x="1633001" y="786688"/>
                  </a:lnTo>
                  <a:lnTo>
                    <a:pt x="1631535" y="784245"/>
                  </a:lnTo>
                  <a:lnTo>
                    <a:pt x="1622249" y="776099"/>
                  </a:lnTo>
                  <a:lnTo>
                    <a:pt x="1618828" y="774959"/>
                  </a:lnTo>
                  <a:lnTo>
                    <a:pt x="1617199" y="772515"/>
                  </a:lnTo>
                  <a:lnTo>
                    <a:pt x="1622412" y="764858"/>
                  </a:lnTo>
                  <a:lnTo>
                    <a:pt x="1628114" y="764858"/>
                  </a:lnTo>
                  <a:cubicBezTo>
                    <a:pt x="1628114" y="764858"/>
                    <a:pt x="1632838" y="760297"/>
                    <a:pt x="1632838" y="760297"/>
                  </a:cubicBezTo>
                  <a:lnTo>
                    <a:pt x="1640332" y="758994"/>
                  </a:lnTo>
                  <a:lnTo>
                    <a:pt x="1646523" y="759482"/>
                  </a:lnTo>
                  <a:lnTo>
                    <a:pt x="1648803" y="761926"/>
                  </a:lnTo>
                  <a:lnTo>
                    <a:pt x="1651247" y="761600"/>
                  </a:lnTo>
                  <a:lnTo>
                    <a:pt x="1658252" y="764858"/>
                  </a:lnTo>
                  <a:lnTo>
                    <a:pt x="1658578" y="767954"/>
                  </a:lnTo>
                  <a:lnTo>
                    <a:pt x="1662651" y="771375"/>
                  </a:lnTo>
                  <a:lnTo>
                    <a:pt x="1665746" y="772678"/>
                  </a:lnTo>
                  <a:lnTo>
                    <a:pt x="1666235" y="776751"/>
                  </a:lnTo>
                  <a:lnTo>
                    <a:pt x="1668841" y="776751"/>
                  </a:lnTo>
                  <a:cubicBezTo>
                    <a:pt x="1668841" y="776751"/>
                    <a:pt x="1669982" y="774470"/>
                    <a:pt x="1669982" y="774470"/>
                  </a:cubicBezTo>
                  <a:lnTo>
                    <a:pt x="1674054" y="775285"/>
                  </a:lnTo>
                  <a:lnTo>
                    <a:pt x="1675846" y="779357"/>
                  </a:lnTo>
                  <a:lnTo>
                    <a:pt x="1681385" y="781964"/>
                  </a:lnTo>
                  <a:lnTo>
                    <a:pt x="1681385" y="785222"/>
                  </a:lnTo>
                  <a:cubicBezTo>
                    <a:pt x="1681385" y="785222"/>
                    <a:pt x="1681222" y="788643"/>
                    <a:pt x="1681222" y="788643"/>
                  </a:cubicBezTo>
                  <a:lnTo>
                    <a:pt x="1682526" y="791250"/>
                  </a:lnTo>
                  <a:lnTo>
                    <a:pt x="1683014" y="794508"/>
                  </a:lnTo>
                  <a:lnTo>
                    <a:pt x="1678616" y="799721"/>
                  </a:lnTo>
                  <a:lnTo>
                    <a:pt x="1674543" y="799069"/>
                  </a:lnTo>
                  <a:lnTo>
                    <a:pt x="1669982" y="797766"/>
                  </a:lnTo>
                  <a:lnTo>
                    <a:pt x="1662814" y="799721"/>
                  </a:lnTo>
                  <a:lnTo>
                    <a:pt x="1655157" y="806889"/>
                  </a:lnTo>
                  <a:lnTo>
                    <a:pt x="1663791" y="801350"/>
                  </a:lnTo>
                  <a:lnTo>
                    <a:pt x="1672100" y="800861"/>
                  </a:lnTo>
                  <a:lnTo>
                    <a:pt x="1673729" y="803468"/>
                  </a:lnTo>
                  <a:lnTo>
                    <a:pt x="1670308" y="806889"/>
                  </a:lnTo>
                  <a:lnTo>
                    <a:pt x="1664769" y="810310"/>
                  </a:lnTo>
                  <a:lnTo>
                    <a:pt x="1659067" y="818618"/>
                  </a:lnTo>
                  <a:lnTo>
                    <a:pt x="1654994" y="821714"/>
                  </a:lnTo>
                  <a:lnTo>
                    <a:pt x="1652225" y="822040"/>
                  </a:lnTo>
                  <a:lnTo>
                    <a:pt x="1651410" y="825949"/>
                  </a:lnTo>
                  <a:lnTo>
                    <a:pt x="1654017" y="826275"/>
                  </a:lnTo>
                  <a:lnTo>
                    <a:pt x="1663302" y="816826"/>
                  </a:lnTo>
                  <a:lnTo>
                    <a:pt x="1667212" y="810799"/>
                  </a:lnTo>
                  <a:lnTo>
                    <a:pt x="1673892" y="808355"/>
                  </a:lnTo>
                  <a:lnTo>
                    <a:pt x="1679268" y="803142"/>
                  </a:lnTo>
                  <a:lnTo>
                    <a:pt x="1684481" y="804771"/>
                  </a:lnTo>
                  <a:lnTo>
                    <a:pt x="1686761" y="807052"/>
                  </a:lnTo>
                  <a:lnTo>
                    <a:pt x="1690345" y="807378"/>
                  </a:lnTo>
                  <a:lnTo>
                    <a:pt x="1690345" y="811125"/>
                  </a:lnTo>
                  <a:lnTo>
                    <a:pt x="1688390" y="815034"/>
                  </a:lnTo>
                  <a:lnTo>
                    <a:pt x="1688716" y="818944"/>
                  </a:lnTo>
                  <a:lnTo>
                    <a:pt x="1683177" y="820736"/>
                  </a:lnTo>
                  <a:lnTo>
                    <a:pt x="1680571" y="825949"/>
                  </a:lnTo>
                  <a:lnTo>
                    <a:pt x="1675195" y="826275"/>
                  </a:lnTo>
                  <a:lnTo>
                    <a:pt x="1672751" y="824483"/>
                  </a:lnTo>
                  <a:lnTo>
                    <a:pt x="1668190" y="824483"/>
                  </a:lnTo>
                  <a:lnTo>
                    <a:pt x="1665583" y="827741"/>
                  </a:lnTo>
                  <a:lnTo>
                    <a:pt x="1670796" y="827741"/>
                  </a:lnTo>
                  <a:lnTo>
                    <a:pt x="1671937" y="830511"/>
                  </a:lnTo>
                  <a:lnTo>
                    <a:pt x="1663140" y="835235"/>
                  </a:lnTo>
                  <a:lnTo>
                    <a:pt x="1666398" y="836050"/>
                  </a:lnTo>
                  <a:lnTo>
                    <a:pt x="1669330" y="833117"/>
                  </a:lnTo>
                  <a:lnTo>
                    <a:pt x="1674869" y="831488"/>
                  </a:lnTo>
                  <a:lnTo>
                    <a:pt x="1677801" y="829859"/>
                  </a:lnTo>
                  <a:lnTo>
                    <a:pt x="1678616" y="832303"/>
                  </a:lnTo>
                  <a:lnTo>
                    <a:pt x="1676661" y="835072"/>
                  </a:lnTo>
                  <a:lnTo>
                    <a:pt x="1671285" y="836213"/>
                  </a:lnTo>
                  <a:lnTo>
                    <a:pt x="1666561" y="840122"/>
                  </a:lnTo>
                  <a:lnTo>
                    <a:pt x="1670308" y="839634"/>
                  </a:lnTo>
                  <a:lnTo>
                    <a:pt x="1671774" y="840774"/>
                  </a:lnTo>
                  <a:lnTo>
                    <a:pt x="1669004" y="845173"/>
                  </a:lnTo>
                  <a:lnTo>
                    <a:pt x="1663628" y="849734"/>
                  </a:lnTo>
                  <a:lnTo>
                    <a:pt x="1659881" y="852829"/>
                  </a:lnTo>
                  <a:lnTo>
                    <a:pt x="1663140" y="853318"/>
                  </a:lnTo>
                  <a:lnTo>
                    <a:pt x="1669004" y="849408"/>
                  </a:lnTo>
                  <a:lnTo>
                    <a:pt x="1673077" y="841426"/>
                  </a:lnTo>
                  <a:lnTo>
                    <a:pt x="1676335" y="837353"/>
                  </a:lnTo>
                  <a:lnTo>
                    <a:pt x="1684155" y="831651"/>
                  </a:lnTo>
                  <a:lnTo>
                    <a:pt x="1685458" y="833443"/>
                  </a:lnTo>
                  <a:lnTo>
                    <a:pt x="1685458" y="836050"/>
                  </a:lnTo>
                  <a:lnTo>
                    <a:pt x="1689694" y="834095"/>
                  </a:lnTo>
                  <a:lnTo>
                    <a:pt x="1690508" y="830674"/>
                  </a:lnTo>
                  <a:lnTo>
                    <a:pt x="1696699" y="826601"/>
                  </a:lnTo>
                  <a:lnTo>
                    <a:pt x="1699957" y="826927"/>
                  </a:lnTo>
                  <a:lnTo>
                    <a:pt x="1699631" y="830022"/>
                  </a:lnTo>
                  <a:lnTo>
                    <a:pt x="1691811" y="836701"/>
                  </a:lnTo>
                  <a:lnTo>
                    <a:pt x="1683177" y="842403"/>
                  </a:lnTo>
                  <a:lnTo>
                    <a:pt x="1679756" y="843381"/>
                  </a:lnTo>
                  <a:lnTo>
                    <a:pt x="1679756" y="845824"/>
                  </a:lnTo>
                  <a:lnTo>
                    <a:pt x="1682037" y="846965"/>
                  </a:lnTo>
                  <a:lnTo>
                    <a:pt x="1679430" y="851363"/>
                  </a:lnTo>
                  <a:lnTo>
                    <a:pt x="1678453" y="855925"/>
                  </a:lnTo>
                  <a:lnTo>
                    <a:pt x="1680082" y="856576"/>
                  </a:lnTo>
                  <a:lnTo>
                    <a:pt x="1683014" y="852341"/>
                  </a:lnTo>
                  <a:lnTo>
                    <a:pt x="1683992" y="847942"/>
                  </a:lnTo>
                  <a:lnTo>
                    <a:pt x="1690834" y="842077"/>
                  </a:lnTo>
                  <a:lnTo>
                    <a:pt x="1696210" y="838656"/>
                  </a:lnTo>
                  <a:lnTo>
                    <a:pt x="1696210" y="841914"/>
                  </a:lnTo>
                  <a:cubicBezTo>
                    <a:pt x="1696210" y="841914"/>
                    <a:pt x="1696699" y="844847"/>
                    <a:pt x="1696699" y="844847"/>
                  </a:cubicBezTo>
                  <a:lnTo>
                    <a:pt x="1694255" y="848105"/>
                  </a:lnTo>
                  <a:lnTo>
                    <a:pt x="1688065" y="853970"/>
                  </a:lnTo>
                  <a:lnTo>
                    <a:pt x="1687250" y="857065"/>
                  </a:lnTo>
                  <a:lnTo>
                    <a:pt x="1683340" y="863907"/>
                  </a:lnTo>
                  <a:lnTo>
                    <a:pt x="1680734" y="866188"/>
                  </a:lnTo>
                  <a:lnTo>
                    <a:pt x="1681060" y="867491"/>
                  </a:lnTo>
                  <a:lnTo>
                    <a:pt x="1685621" y="866188"/>
                  </a:lnTo>
                  <a:lnTo>
                    <a:pt x="1687576" y="862441"/>
                  </a:lnTo>
                  <a:lnTo>
                    <a:pt x="1693929" y="853970"/>
                  </a:lnTo>
                  <a:lnTo>
                    <a:pt x="1697839" y="852178"/>
                  </a:lnTo>
                  <a:lnTo>
                    <a:pt x="1699794" y="855436"/>
                  </a:lnTo>
                  <a:lnTo>
                    <a:pt x="1701097" y="856413"/>
                  </a:lnTo>
                  <a:lnTo>
                    <a:pt x="1701097" y="859020"/>
                  </a:lnTo>
                  <a:cubicBezTo>
                    <a:pt x="1701097" y="859020"/>
                    <a:pt x="1697513" y="860323"/>
                    <a:pt x="1697513" y="860323"/>
                  </a:cubicBezTo>
                  <a:lnTo>
                    <a:pt x="1692952" y="867003"/>
                  </a:lnTo>
                  <a:lnTo>
                    <a:pt x="1691811" y="873356"/>
                  </a:lnTo>
                  <a:lnTo>
                    <a:pt x="1693767" y="874170"/>
                  </a:lnTo>
                  <a:lnTo>
                    <a:pt x="1695559" y="870586"/>
                  </a:lnTo>
                  <a:lnTo>
                    <a:pt x="1696536" y="866677"/>
                  </a:lnTo>
                  <a:lnTo>
                    <a:pt x="1699794" y="861626"/>
                  </a:lnTo>
                  <a:lnTo>
                    <a:pt x="1705007" y="859346"/>
                  </a:lnTo>
                  <a:lnTo>
                    <a:pt x="1705007" y="854296"/>
                  </a:lnTo>
                  <a:lnTo>
                    <a:pt x="1706962" y="850386"/>
                  </a:lnTo>
                  <a:lnTo>
                    <a:pt x="1710872" y="848431"/>
                  </a:lnTo>
                  <a:lnTo>
                    <a:pt x="1711361" y="844684"/>
                  </a:lnTo>
                  <a:lnTo>
                    <a:pt x="1712664" y="842077"/>
                  </a:lnTo>
                  <a:lnTo>
                    <a:pt x="1714945" y="841100"/>
                  </a:lnTo>
                  <a:lnTo>
                    <a:pt x="1717225" y="837516"/>
                  </a:lnTo>
                  <a:lnTo>
                    <a:pt x="1717551" y="833932"/>
                  </a:lnTo>
                  <a:lnTo>
                    <a:pt x="1719506" y="832954"/>
                  </a:lnTo>
                  <a:lnTo>
                    <a:pt x="1723416" y="840774"/>
                  </a:lnTo>
                  <a:lnTo>
                    <a:pt x="1727000" y="842892"/>
                  </a:lnTo>
                  <a:lnTo>
                    <a:pt x="1731399" y="847453"/>
                  </a:lnTo>
                  <a:lnTo>
                    <a:pt x="1732376" y="852015"/>
                  </a:lnTo>
                  <a:lnTo>
                    <a:pt x="1733353" y="856902"/>
                  </a:lnTo>
                  <a:lnTo>
                    <a:pt x="1738078" y="862115"/>
                  </a:lnTo>
                  <a:lnTo>
                    <a:pt x="1738403" y="864396"/>
                  </a:lnTo>
                  <a:lnTo>
                    <a:pt x="1735145" y="867654"/>
                  </a:lnTo>
                  <a:lnTo>
                    <a:pt x="1730258" y="873682"/>
                  </a:lnTo>
                  <a:lnTo>
                    <a:pt x="1727326" y="873682"/>
                  </a:lnTo>
                  <a:cubicBezTo>
                    <a:pt x="1727326" y="873682"/>
                    <a:pt x="1724068" y="871075"/>
                    <a:pt x="1724068" y="871075"/>
                  </a:cubicBezTo>
                  <a:lnTo>
                    <a:pt x="1719669" y="867491"/>
                  </a:lnTo>
                  <a:lnTo>
                    <a:pt x="1717225" y="867817"/>
                  </a:lnTo>
                  <a:lnTo>
                    <a:pt x="1714945" y="869609"/>
                  </a:lnTo>
                  <a:lnTo>
                    <a:pt x="1711849" y="870749"/>
                  </a:lnTo>
                  <a:lnTo>
                    <a:pt x="1709569" y="875474"/>
                  </a:lnTo>
                  <a:lnTo>
                    <a:pt x="1705985" y="877429"/>
                  </a:lnTo>
                  <a:lnTo>
                    <a:pt x="1703052" y="877429"/>
                  </a:lnTo>
                  <a:cubicBezTo>
                    <a:pt x="1703052" y="877429"/>
                    <a:pt x="1700283" y="880687"/>
                    <a:pt x="1700283" y="880687"/>
                  </a:cubicBezTo>
                  <a:lnTo>
                    <a:pt x="1705822" y="879872"/>
                  </a:lnTo>
                  <a:lnTo>
                    <a:pt x="1708428" y="879872"/>
                  </a:lnTo>
                  <a:lnTo>
                    <a:pt x="1709569" y="882805"/>
                  </a:lnTo>
                  <a:lnTo>
                    <a:pt x="1705659" y="887203"/>
                  </a:lnTo>
                  <a:lnTo>
                    <a:pt x="1701423" y="889158"/>
                  </a:lnTo>
                  <a:lnTo>
                    <a:pt x="1697351" y="891276"/>
                  </a:lnTo>
                  <a:lnTo>
                    <a:pt x="1703378" y="891276"/>
                  </a:lnTo>
                  <a:cubicBezTo>
                    <a:pt x="1703378" y="891276"/>
                    <a:pt x="1707451" y="888995"/>
                    <a:pt x="1707451" y="888995"/>
                  </a:cubicBezTo>
                  <a:lnTo>
                    <a:pt x="1712827" y="888181"/>
                  </a:lnTo>
                  <a:lnTo>
                    <a:pt x="1716737" y="888995"/>
                  </a:lnTo>
                  <a:lnTo>
                    <a:pt x="1721135" y="885411"/>
                  </a:lnTo>
                  <a:lnTo>
                    <a:pt x="1725697" y="885411"/>
                  </a:lnTo>
                  <a:cubicBezTo>
                    <a:pt x="1725697" y="885411"/>
                    <a:pt x="1728629" y="887855"/>
                    <a:pt x="1728629" y="887855"/>
                  </a:cubicBezTo>
                  <a:lnTo>
                    <a:pt x="1729118" y="890136"/>
                  </a:lnTo>
                  <a:lnTo>
                    <a:pt x="1728303" y="891928"/>
                  </a:lnTo>
                  <a:lnTo>
                    <a:pt x="1730258" y="890624"/>
                  </a:lnTo>
                  <a:lnTo>
                    <a:pt x="1731561" y="884922"/>
                  </a:lnTo>
                  <a:lnTo>
                    <a:pt x="1731236" y="880687"/>
                  </a:lnTo>
                  <a:lnTo>
                    <a:pt x="1734168" y="876940"/>
                  </a:lnTo>
                  <a:lnTo>
                    <a:pt x="1741499" y="873519"/>
                  </a:lnTo>
                  <a:lnTo>
                    <a:pt x="1742802" y="874822"/>
                  </a:lnTo>
                  <a:lnTo>
                    <a:pt x="1742151" y="878080"/>
                  </a:lnTo>
                  <a:lnTo>
                    <a:pt x="1743617" y="882316"/>
                  </a:lnTo>
                  <a:lnTo>
                    <a:pt x="1741173" y="886715"/>
                  </a:lnTo>
                  <a:lnTo>
                    <a:pt x="1736775" y="892742"/>
                  </a:lnTo>
                  <a:lnTo>
                    <a:pt x="1731561" y="894697"/>
                  </a:lnTo>
                  <a:lnTo>
                    <a:pt x="1727977" y="897955"/>
                  </a:lnTo>
                  <a:lnTo>
                    <a:pt x="1727000" y="900073"/>
                  </a:lnTo>
                  <a:lnTo>
                    <a:pt x="1722438" y="900073"/>
                  </a:lnTo>
                  <a:cubicBezTo>
                    <a:pt x="1722438" y="900073"/>
                    <a:pt x="1719506" y="898607"/>
                    <a:pt x="1719506" y="898607"/>
                  </a:cubicBezTo>
                  <a:lnTo>
                    <a:pt x="1716574" y="898607"/>
                  </a:lnTo>
                  <a:cubicBezTo>
                    <a:pt x="1716574" y="898607"/>
                    <a:pt x="1713967" y="901865"/>
                    <a:pt x="1713967" y="901865"/>
                  </a:cubicBezTo>
                  <a:lnTo>
                    <a:pt x="1713153" y="905286"/>
                  </a:lnTo>
                  <a:lnTo>
                    <a:pt x="1708591" y="909848"/>
                  </a:lnTo>
                  <a:lnTo>
                    <a:pt x="1707940" y="912780"/>
                  </a:lnTo>
                  <a:lnTo>
                    <a:pt x="1706636" y="915712"/>
                  </a:lnTo>
                  <a:lnTo>
                    <a:pt x="1709080" y="915224"/>
                  </a:lnTo>
                  <a:lnTo>
                    <a:pt x="1714945" y="908870"/>
                  </a:lnTo>
                  <a:lnTo>
                    <a:pt x="1718692" y="902517"/>
                  </a:lnTo>
                  <a:lnTo>
                    <a:pt x="1721461" y="901376"/>
                  </a:lnTo>
                  <a:lnTo>
                    <a:pt x="1722764" y="902842"/>
                  </a:lnTo>
                  <a:lnTo>
                    <a:pt x="1724719" y="902842"/>
                  </a:lnTo>
                  <a:cubicBezTo>
                    <a:pt x="1724719" y="902842"/>
                    <a:pt x="1725208" y="905123"/>
                    <a:pt x="1725208" y="905123"/>
                  </a:cubicBezTo>
                  <a:lnTo>
                    <a:pt x="1722927" y="907567"/>
                  </a:lnTo>
                  <a:lnTo>
                    <a:pt x="1719832" y="913269"/>
                  </a:lnTo>
                  <a:lnTo>
                    <a:pt x="1713478" y="919459"/>
                  </a:lnTo>
                  <a:lnTo>
                    <a:pt x="1709569" y="923206"/>
                  </a:lnTo>
                  <a:lnTo>
                    <a:pt x="1709569" y="924672"/>
                  </a:lnTo>
                  <a:cubicBezTo>
                    <a:pt x="1709569" y="924672"/>
                    <a:pt x="1717714" y="920437"/>
                    <a:pt x="1717714" y="920437"/>
                  </a:cubicBezTo>
                  <a:lnTo>
                    <a:pt x="1726185" y="910988"/>
                  </a:lnTo>
                  <a:lnTo>
                    <a:pt x="1729606" y="903168"/>
                  </a:lnTo>
                  <a:lnTo>
                    <a:pt x="1730421" y="899747"/>
                  </a:lnTo>
                  <a:lnTo>
                    <a:pt x="1732376" y="897141"/>
                  </a:lnTo>
                  <a:lnTo>
                    <a:pt x="1735308" y="897141"/>
                  </a:lnTo>
                  <a:cubicBezTo>
                    <a:pt x="1735308" y="897141"/>
                    <a:pt x="1742639" y="892090"/>
                    <a:pt x="1742639" y="892090"/>
                  </a:cubicBezTo>
                  <a:lnTo>
                    <a:pt x="1749156" y="889321"/>
                  </a:lnTo>
                  <a:lnTo>
                    <a:pt x="1752414" y="888344"/>
                  </a:lnTo>
                  <a:lnTo>
                    <a:pt x="1752902" y="890136"/>
                  </a:lnTo>
                  <a:lnTo>
                    <a:pt x="1751110" y="893231"/>
                  </a:lnTo>
                  <a:lnTo>
                    <a:pt x="1745897" y="898607"/>
                  </a:lnTo>
                  <a:lnTo>
                    <a:pt x="1740847" y="898607"/>
                  </a:lnTo>
                  <a:lnTo>
                    <a:pt x="1737915" y="901051"/>
                  </a:lnTo>
                  <a:lnTo>
                    <a:pt x="1737263" y="905286"/>
                  </a:lnTo>
                  <a:lnTo>
                    <a:pt x="1738403" y="906264"/>
                  </a:lnTo>
                  <a:lnTo>
                    <a:pt x="1741662" y="902842"/>
                  </a:lnTo>
                  <a:lnTo>
                    <a:pt x="1746712" y="902354"/>
                  </a:lnTo>
                  <a:lnTo>
                    <a:pt x="1751273" y="898444"/>
                  </a:lnTo>
                  <a:lnTo>
                    <a:pt x="1755020" y="897304"/>
                  </a:lnTo>
                  <a:lnTo>
                    <a:pt x="1757464" y="895349"/>
                  </a:lnTo>
                  <a:lnTo>
                    <a:pt x="1761048" y="893068"/>
                  </a:lnTo>
                  <a:lnTo>
                    <a:pt x="1764632" y="893557"/>
                  </a:lnTo>
                  <a:lnTo>
                    <a:pt x="1766750" y="898118"/>
                  </a:lnTo>
                  <a:lnTo>
                    <a:pt x="1772126" y="904146"/>
                  </a:lnTo>
                  <a:lnTo>
                    <a:pt x="1775058" y="908544"/>
                  </a:lnTo>
                  <a:lnTo>
                    <a:pt x="1778968" y="910499"/>
                  </a:lnTo>
                  <a:lnTo>
                    <a:pt x="1779945" y="913269"/>
                  </a:lnTo>
                  <a:lnTo>
                    <a:pt x="1779294" y="917504"/>
                  </a:lnTo>
                  <a:lnTo>
                    <a:pt x="1774244" y="922229"/>
                  </a:lnTo>
                  <a:lnTo>
                    <a:pt x="1772289" y="921088"/>
                  </a:lnTo>
                  <a:lnTo>
                    <a:pt x="1772777" y="916038"/>
                  </a:lnTo>
                  <a:lnTo>
                    <a:pt x="1769682" y="916853"/>
                  </a:lnTo>
                  <a:lnTo>
                    <a:pt x="1768705" y="919296"/>
                  </a:lnTo>
                  <a:lnTo>
                    <a:pt x="1766424" y="922066"/>
                  </a:lnTo>
                  <a:lnTo>
                    <a:pt x="1763166" y="925161"/>
                  </a:lnTo>
                  <a:lnTo>
                    <a:pt x="1755183" y="925650"/>
                  </a:lnTo>
                  <a:lnTo>
                    <a:pt x="1751599" y="927279"/>
                  </a:lnTo>
                  <a:lnTo>
                    <a:pt x="1746223" y="926953"/>
                  </a:lnTo>
                  <a:lnTo>
                    <a:pt x="1739381" y="931515"/>
                  </a:lnTo>
                  <a:lnTo>
                    <a:pt x="1735145" y="931840"/>
                  </a:lnTo>
                  <a:lnTo>
                    <a:pt x="1728140" y="935750"/>
                  </a:lnTo>
                  <a:lnTo>
                    <a:pt x="1732702" y="935261"/>
                  </a:lnTo>
                  <a:lnTo>
                    <a:pt x="1735145" y="936565"/>
                  </a:lnTo>
                  <a:lnTo>
                    <a:pt x="1733842" y="939823"/>
                  </a:lnTo>
                  <a:lnTo>
                    <a:pt x="1727489" y="941289"/>
                  </a:lnTo>
                  <a:lnTo>
                    <a:pt x="1725697" y="943570"/>
                  </a:lnTo>
                  <a:lnTo>
                    <a:pt x="1734168" y="942429"/>
                  </a:lnTo>
                  <a:lnTo>
                    <a:pt x="1739218" y="937216"/>
                  </a:lnTo>
                  <a:lnTo>
                    <a:pt x="1746549" y="930700"/>
                  </a:lnTo>
                  <a:lnTo>
                    <a:pt x="1751925" y="930374"/>
                  </a:lnTo>
                  <a:lnTo>
                    <a:pt x="1755835" y="931515"/>
                  </a:lnTo>
                  <a:lnTo>
                    <a:pt x="1759419" y="930048"/>
                  </a:lnTo>
                  <a:lnTo>
                    <a:pt x="1762677" y="930048"/>
                  </a:lnTo>
                  <a:cubicBezTo>
                    <a:pt x="1762677" y="930048"/>
                    <a:pt x="1762840" y="931840"/>
                    <a:pt x="1762840" y="931840"/>
                  </a:cubicBezTo>
                  <a:lnTo>
                    <a:pt x="1762351" y="937053"/>
                  </a:lnTo>
                  <a:lnTo>
                    <a:pt x="1759093" y="939497"/>
                  </a:lnTo>
                  <a:lnTo>
                    <a:pt x="1754694" y="942267"/>
                  </a:lnTo>
                  <a:lnTo>
                    <a:pt x="1751925" y="942267"/>
                  </a:lnTo>
                  <a:cubicBezTo>
                    <a:pt x="1751925" y="942267"/>
                    <a:pt x="1748015" y="943896"/>
                    <a:pt x="1748015" y="943896"/>
                  </a:cubicBezTo>
                  <a:lnTo>
                    <a:pt x="1745083" y="948457"/>
                  </a:lnTo>
                  <a:lnTo>
                    <a:pt x="1741010" y="950249"/>
                  </a:lnTo>
                  <a:lnTo>
                    <a:pt x="1737100" y="948131"/>
                  </a:lnTo>
                  <a:lnTo>
                    <a:pt x="1734331" y="949272"/>
                  </a:lnTo>
                  <a:lnTo>
                    <a:pt x="1729932" y="953507"/>
                  </a:lnTo>
                  <a:lnTo>
                    <a:pt x="1732539" y="953019"/>
                  </a:lnTo>
                  <a:lnTo>
                    <a:pt x="1736937" y="951389"/>
                  </a:lnTo>
                  <a:lnTo>
                    <a:pt x="1740521" y="952204"/>
                  </a:lnTo>
                  <a:lnTo>
                    <a:pt x="1742965" y="953670"/>
                  </a:lnTo>
                  <a:lnTo>
                    <a:pt x="1748178" y="949434"/>
                  </a:lnTo>
                  <a:lnTo>
                    <a:pt x="1751436" y="944873"/>
                  </a:lnTo>
                  <a:lnTo>
                    <a:pt x="1755835" y="943407"/>
                  </a:lnTo>
                  <a:lnTo>
                    <a:pt x="1759093" y="944710"/>
                  </a:lnTo>
                  <a:lnTo>
                    <a:pt x="1763654" y="945688"/>
                  </a:lnTo>
                  <a:lnTo>
                    <a:pt x="1766913" y="941778"/>
                  </a:lnTo>
                  <a:lnTo>
                    <a:pt x="1771800" y="939497"/>
                  </a:lnTo>
                  <a:lnTo>
                    <a:pt x="1773592" y="938031"/>
                  </a:lnTo>
                  <a:lnTo>
                    <a:pt x="1773592" y="935099"/>
                  </a:lnTo>
                  <a:lnTo>
                    <a:pt x="1771963" y="933469"/>
                  </a:lnTo>
                  <a:lnTo>
                    <a:pt x="1774895" y="929234"/>
                  </a:lnTo>
                  <a:lnTo>
                    <a:pt x="1774895" y="926627"/>
                  </a:lnTo>
                  <a:cubicBezTo>
                    <a:pt x="1774895" y="926627"/>
                    <a:pt x="1778479" y="925650"/>
                    <a:pt x="1778479" y="925650"/>
                  </a:cubicBezTo>
                  <a:lnTo>
                    <a:pt x="1779619" y="926790"/>
                  </a:lnTo>
                  <a:lnTo>
                    <a:pt x="1781575" y="925976"/>
                  </a:lnTo>
                  <a:lnTo>
                    <a:pt x="1783041" y="931352"/>
                  </a:lnTo>
                  <a:lnTo>
                    <a:pt x="1787602" y="941452"/>
                  </a:lnTo>
                  <a:lnTo>
                    <a:pt x="1788743" y="947642"/>
                  </a:lnTo>
                  <a:lnTo>
                    <a:pt x="1791512" y="951389"/>
                  </a:lnTo>
                  <a:lnTo>
                    <a:pt x="1790535" y="955299"/>
                  </a:lnTo>
                  <a:lnTo>
                    <a:pt x="1788254" y="958883"/>
                  </a:lnTo>
                  <a:lnTo>
                    <a:pt x="1782878" y="958557"/>
                  </a:lnTo>
                  <a:lnTo>
                    <a:pt x="1779619" y="956114"/>
                  </a:lnTo>
                  <a:lnTo>
                    <a:pt x="1772614" y="955625"/>
                  </a:lnTo>
                  <a:lnTo>
                    <a:pt x="1768868" y="957580"/>
                  </a:lnTo>
                  <a:lnTo>
                    <a:pt x="1764958" y="960186"/>
                  </a:lnTo>
                  <a:lnTo>
                    <a:pt x="1761862" y="960186"/>
                  </a:lnTo>
                  <a:cubicBezTo>
                    <a:pt x="1761862" y="960186"/>
                    <a:pt x="1760233" y="959046"/>
                    <a:pt x="1760233" y="959046"/>
                  </a:cubicBezTo>
                  <a:lnTo>
                    <a:pt x="1756324" y="959372"/>
                  </a:lnTo>
                  <a:lnTo>
                    <a:pt x="1753228" y="962304"/>
                  </a:lnTo>
                  <a:lnTo>
                    <a:pt x="1745409" y="963445"/>
                  </a:lnTo>
                  <a:lnTo>
                    <a:pt x="1748830" y="964748"/>
                  </a:lnTo>
                  <a:lnTo>
                    <a:pt x="1757627" y="963445"/>
                  </a:lnTo>
                  <a:lnTo>
                    <a:pt x="1762188" y="964748"/>
                  </a:lnTo>
                  <a:lnTo>
                    <a:pt x="1769030" y="971101"/>
                  </a:lnTo>
                  <a:lnTo>
                    <a:pt x="1772614" y="973056"/>
                  </a:lnTo>
                  <a:lnTo>
                    <a:pt x="1775221" y="971590"/>
                  </a:lnTo>
                  <a:lnTo>
                    <a:pt x="1778153" y="970776"/>
                  </a:lnTo>
                  <a:lnTo>
                    <a:pt x="1780597" y="972405"/>
                  </a:lnTo>
                  <a:lnTo>
                    <a:pt x="1784670" y="975011"/>
                  </a:lnTo>
                  <a:lnTo>
                    <a:pt x="1789720" y="976966"/>
                  </a:lnTo>
                  <a:lnTo>
                    <a:pt x="1790372" y="980713"/>
                  </a:lnTo>
                  <a:lnTo>
                    <a:pt x="1792815" y="984623"/>
                  </a:lnTo>
                  <a:lnTo>
                    <a:pt x="1792815" y="989999"/>
                  </a:lnTo>
                  <a:cubicBezTo>
                    <a:pt x="1792815" y="989999"/>
                    <a:pt x="1791023" y="991628"/>
                    <a:pt x="1791023" y="991628"/>
                  </a:cubicBezTo>
                  <a:lnTo>
                    <a:pt x="1787439" y="991628"/>
                  </a:lnTo>
                  <a:cubicBezTo>
                    <a:pt x="1787439" y="991628"/>
                    <a:pt x="1784996" y="987392"/>
                    <a:pt x="1784996" y="987392"/>
                  </a:cubicBezTo>
                  <a:lnTo>
                    <a:pt x="1783203" y="987718"/>
                  </a:lnTo>
                  <a:lnTo>
                    <a:pt x="1780923" y="990325"/>
                  </a:lnTo>
                  <a:lnTo>
                    <a:pt x="1778642" y="989184"/>
                  </a:lnTo>
                  <a:lnTo>
                    <a:pt x="1777013" y="986578"/>
                  </a:lnTo>
                  <a:lnTo>
                    <a:pt x="1774407" y="988044"/>
                  </a:lnTo>
                  <a:lnTo>
                    <a:pt x="1771311" y="987229"/>
                  </a:lnTo>
                  <a:lnTo>
                    <a:pt x="1765446" y="980713"/>
                  </a:lnTo>
                  <a:lnTo>
                    <a:pt x="1763003" y="979899"/>
                  </a:lnTo>
                  <a:lnTo>
                    <a:pt x="1759745" y="980387"/>
                  </a:lnTo>
                  <a:lnTo>
                    <a:pt x="1755509" y="980876"/>
                  </a:lnTo>
                  <a:lnTo>
                    <a:pt x="1751762" y="979084"/>
                  </a:lnTo>
                  <a:lnTo>
                    <a:pt x="1753228" y="981202"/>
                  </a:lnTo>
                  <a:lnTo>
                    <a:pt x="1758116" y="982831"/>
                  </a:lnTo>
                  <a:lnTo>
                    <a:pt x="1762026" y="983645"/>
                  </a:lnTo>
                  <a:lnTo>
                    <a:pt x="1760722" y="985763"/>
                  </a:lnTo>
                  <a:lnTo>
                    <a:pt x="1754694" y="986252"/>
                  </a:lnTo>
                  <a:lnTo>
                    <a:pt x="1752251" y="987555"/>
                  </a:lnTo>
                  <a:lnTo>
                    <a:pt x="1746712" y="987555"/>
                  </a:lnTo>
                  <a:lnTo>
                    <a:pt x="1742639" y="990162"/>
                  </a:lnTo>
                  <a:lnTo>
                    <a:pt x="1743454" y="993420"/>
                  </a:lnTo>
                  <a:lnTo>
                    <a:pt x="1745897" y="992931"/>
                  </a:lnTo>
                  <a:lnTo>
                    <a:pt x="1747038" y="990813"/>
                  </a:lnTo>
                  <a:lnTo>
                    <a:pt x="1753391" y="990813"/>
                  </a:lnTo>
                  <a:cubicBezTo>
                    <a:pt x="1753391" y="990813"/>
                    <a:pt x="1757301" y="988696"/>
                    <a:pt x="1757301" y="988696"/>
                  </a:cubicBezTo>
                  <a:lnTo>
                    <a:pt x="1761211" y="988044"/>
                  </a:lnTo>
                  <a:lnTo>
                    <a:pt x="1763818" y="991628"/>
                  </a:lnTo>
                  <a:lnTo>
                    <a:pt x="1763818" y="993420"/>
                  </a:lnTo>
                  <a:cubicBezTo>
                    <a:pt x="1763818" y="993420"/>
                    <a:pt x="1766913" y="994723"/>
                    <a:pt x="1766913" y="994723"/>
                  </a:cubicBezTo>
                  <a:lnTo>
                    <a:pt x="1767401" y="996515"/>
                  </a:lnTo>
                  <a:lnTo>
                    <a:pt x="1766261" y="997167"/>
                  </a:lnTo>
                  <a:lnTo>
                    <a:pt x="1761537" y="997167"/>
                  </a:lnTo>
                  <a:lnTo>
                    <a:pt x="1759256" y="998796"/>
                  </a:lnTo>
                  <a:lnTo>
                    <a:pt x="1757138" y="997493"/>
                  </a:lnTo>
                  <a:lnTo>
                    <a:pt x="1755835" y="995538"/>
                  </a:lnTo>
                  <a:lnTo>
                    <a:pt x="1753065" y="995864"/>
                  </a:lnTo>
                  <a:lnTo>
                    <a:pt x="1751762" y="996841"/>
                  </a:lnTo>
                  <a:lnTo>
                    <a:pt x="1755509" y="999611"/>
                  </a:lnTo>
                  <a:lnTo>
                    <a:pt x="1759093" y="1001077"/>
                  </a:lnTo>
                  <a:lnTo>
                    <a:pt x="1761048" y="1003357"/>
                  </a:lnTo>
                  <a:lnTo>
                    <a:pt x="1761048" y="1006453"/>
                  </a:lnTo>
                  <a:cubicBezTo>
                    <a:pt x="1761048" y="1006453"/>
                    <a:pt x="1762677" y="1008733"/>
                    <a:pt x="1762677" y="1008733"/>
                  </a:cubicBezTo>
                  <a:lnTo>
                    <a:pt x="1760070" y="1009222"/>
                  </a:lnTo>
                  <a:lnTo>
                    <a:pt x="1750296" y="1006453"/>
                  </a:lnTo>
                  <a:lnTo>
                    <a:pt x="1744268" y="1006453"/>
                  </a:lnTo>
                  <a:cubicBezTo>
                    <a:pt x="1744268" y="1006453"/>
                    <a:pt x="1734819" y="1002706"/>
                    <a:pt x="1734819" y="1002706"/>
                  </a:cubicBezTo>
                  <a:lnTo>
                    <a:pt x="1730910" y="1003195"/>
                  </a:lnTo>
                  <a:lnTo>
                    <a:pt x="1732213" y="1004824"/>
                  </a:lnTo>
                  <a:lnTo>
                    <a:pt x="1737752" y="1006290"/>
                  </a:lnTo>
                  <a:lnTo>
                    <a:pt x="1750785" y="1012806"/>
                  </a:lnTo>
                  <a:lnTo>
                    <a:pt x="1751436" y="1015413"/>
                  </a:lnTo>
                  <a:lnTo>
                    <a:pt x="1749156" y="1015901"/>
                  </a:lnTo>
                  <a:lnTo>
                    <a:pt x="1741987" y="1011503"/>
                  </a:lnTo>
                  <a:lnTo>
                    <a:pt x="1739707" y="1012155"/>
                  </a:lnTo>
                  <a:lnTo>
                    <a:pt x="1736286" y="1016064"/>
                  </a:lnTo>
                  <a:lnTo>
                    <a:pt x="1739544" y="1015576"/>
                  </a:lnTo>
                  <a:lnTo>
                    <a:pt x="1741825" y="1017042"/>
                  </a:lnTo>
                  <a:lnTo>
                    <a:pt x="1744594" y="1019485"/>
                  </a:lnTo>
                  <a:lnTo>
                    <a:pt x="1746223" y="1018508"/>
                  </a:lnTo>
                  <a:lnTo>
                    <a:pt x="1748504" y="1019648"/>
                  </a:lnTo>
                  <a:lnTo>
                    <a:pt x="1748830" y="1022907"/>
                  </a:lnTo>
                  <a:lnTo>
                    <a:pt x="1750459" y="1025676"/>
                  </a:lnTo>
                  <a:lnTo>
                    <a:pt x="1752251" y="1024373"/>
                  </a:lnTo>
                  <a:lnTo>
                    <a:pt x="1752740" y="1021603"/>
                  </a:lnTo>
                  <a:lnTo>
                    <a:pt x="1756975" y="1021603"/>
                  </a:lnTo>
                  <a:lnTo>
                    <a:pt x="1756649" y="1024210"/>
                  </a:lnTo>
                  <a:lnTo>
                    <a:pt x="1755020" y="1026165"/>
                  </a:lnTo>
                  <a:lnTo>
                    <a:pt x="1755020" y="1028120"/>
                  </a:lnTo>
                  <a:lnTo>
                    <a:pt x="1757790" y="1028120"/>
                  </a:lnTo>
                  <a:cubicBezTo>
                    <a:pt x="1757790" y="1028120"/>
                    <a:pt x="1757953" y="1023395"/>
                    <a:pt x="1757953" y="1023395"/>
                  </a:cubicBezTo>
                  <a:lnTo>
                    <a:pt x="1761537" y="1023395"/>
                  </a:lnTo>
                  <a:lnTo>
                    <a:pt x="1766587" y="1026002"/>
                  </a:lnTo>
                  <a:lnTo>
                    <a:pt x="1771148" y="1027468"/>
                  </a:lnTo>
                  <a:lnTo>
                    <a:pt x="1775058" y="1027468"/>
                  </a:lnTo>
                  <a:cubicBezTo>
                    <a:pt x="1775058" y="1027468"/>
                    <a:pt x="1773429" y="1031378"/>
                    <a:pt x="1773429" y="1031378"/>
                  </a:cubicBezTo>
                  <a:lnTo>
                    <a:pt x="1772614" y="1033659"/>
                  </a:lnTo>
                  <a:lnTo>
                    <a:pt x="1768216" y="1032192"/>
                  </a:lnTo>
                  <a:lnTo>
                    <a:pt x="1765446" y="1030400"/>
                  </a:lnTo>
                  <a:lnTo>
                    <a:pt x="1759745" y="1031378"/>
                  </a:lnTo>
                  <a:lnTo>
                    <a:pt x="1751925" y="1035125"/>
                  </a:lnTo>
                  <a:lnTo>
                    <a:pt x="1751925" y="1038872"/>
                  </a:lnTo>
                  <a:cubicBezTo>
                    <a:pt x="1751925" y="1038872"/>
                    <a:pt x="1755020" y="1035451"/>
                    <a:pt x="1755020" y="1035451"/>
                  </a:cubicBezTo>
                  <a:lnTo>
                    <a:pt x="1761048" y="1035451"/>
                  </a:lnTo>
                  <a:lnTo>
                    <a:pt x="1765446" y="1036754"/>
                  </a:lnTo>
                  <a:lnTo>
                    <a:pt x="1761374" y="1037568"/>
                  </a:lnTo>
                  <a:lnTo>
                    <a:pt x="1759908" y="1040664"/>
                  </a:lnTo>
                  <a:lnTo>
                    <a:pt x="1763003" y="1039197"/>
                  </a:lnTo>
                  <a:lnTo>
                    <a:pt x="1769193" y="1039197"/>
                  </a:lnTo>
                  <a:cubicBezTo>
                    <a:pt x="1769193" y="1039197"/>
                    <a:pt x="1771474" y="1041641"/>
                    <a:pt x="1771474" y="1041641"/>
                  </a:cubicBezTo>
                  <a:lnTo>
                    <a:pt x="1770171" y="1043107"/>
                  </a:lnTo>
                  <a:lnTo>
                    <a:pt x="1774407" y="1044736"/>
                  </a:lnTo>
                  <a:lnTo>
                    <a:pt x="1776199" y="1047832"/>
                  </a:lnTo>
                  <a:lnTo>
                    <a:pt x="1774732" y="1050601"/>
                  </a:lnTo>
                  <a:lnTo>
                    <a:pt x="1772289" y="1056303"/>
                  </a:lnTo>
                  <a:lnTo>
                    <a:pt x="1772777" y="1059398"/>
                  </a:lnTo>
                  <a:lnTo>
                    <a:pt x="1774407" y="1057932"/>
                  </a:lnTo>
                  <a:lnTo>
                    <a:pt x="1774895" y="1054511"/>
                  </a:lnTo>
                  <a:lnTo>
                    <a:pt x="1778153" y="1051090"/>
                  </a:lnTo>
                  <a:lnTo>
                    <a:pt x="1781575" y="1050764"/>
                  </a:lnTo>
                  <a:lnTo>
                    <a:pt x="1782389" y="1054674"/>
                  </a:lnTo>
                  <a:lnTo>
                    <a:pt x="1780597" y="1057443"/>
                  </a:lnTo>
                  <a:lnTo>
                    <a:pt x="1775873" y="1065589"/>
                  </a:lnTo>
                  <a:lnTo>
                    <a:pt x="1773918" y="1070150"/>
                  </a:lnTo>
                  <a:lnTo>
                    <a:pt x="1773918" y="1073734"/>
                  </a:lnTo>
                  <a:lnTo>
                    <a:pt x="1776199" y="1072268"/>
                  </a:lnTo>
                  <a:lnTo>
                    <a:pt x="1779783" y="1066078"/>
                  </a:lnTo>
                  <a:lnTo>
                    <a:pt x="1779783" y="1063145"/>
                  </a:lnTo>
                  <a:lnTo>
                    <a:pt x="1782226" y="1059887"/>
                  </a:lnTo>
                  <a:lnTo>
                    <a:pt x="1786951" y="1057606"/>
                  </a:lnTo>
                  <a:lnTo>
                    <a:pt x="1786625" y="1056303"/>
                  </a:lnTo>
                  <a:lnTo>
                    <a:pt x="1788417" y="1052882"/>
                  </a:lnTo>
                  <a:lnTo>
                    <a:pt x="1792001" y="1050275"/>
                  </a:lnTo>
                  <a:lnTo>
                    <a:pt x="1793304" y="1051416"/>
                  </a:lnTo>
                  <a:lnTo>
                    <a:pt x="1792001" y="1055000"/>
                  </a:lnTo>
                  <a:lnTo>
                    <a:pt x="1787439" y="1061190"/>
                  </a:lnTo>
                  <a:lnTo>
                    <a:pt x="1785321" y="1064774"/>
                  </a:lnTo>
                  <a:lnTo>
                    <a:pt x="1785321" y="1069336"/>
                  </a:lnTo>
                  <a:cubicBezTo>
                    <a:pt x="1785321" y="1069336"/>
                    <a:pt x="1785647" y="1073897"/>
                    <a:pt x="1785647" y="1073897"/>
                  </a:cubicBezTo>
                  <a:lnTo>
                    <a:pt x="1787602" y="1072431"/>
                  </a:lnTo>
                  <a:lnTo>
                    <a:pt x="1787276" y="1069336"/>
                  </a:lnTo>
                  <a:lnTo>
                    <a:pt x="1787765" y="1064774"/>
                  </a:lnTo>
                  <a:lnTo>
                    <a:pt x="1791023" y="1062005"/>
                  </a:lnTo>
                  <a:lnTo>
                    <a:pt x="1793630" y="1058258"/>
                  </a:lnTo>
                  <a:lnTo>
                    <a:pt x="1799494" y="1053533"/>
                  </a:lnTo>
                  <a:lnTo>
                    <a:pt x="1803404" y="1050438"/>
                  </a:lnTo>
                  <a:lnTo>
                    <a:pt x="1804545" y="1052230"/>
                  </a:lnTo>
                  <a:lnTo>
                    <a:pt x="1804219" y="1057932"/>
                  </a:lnTo>
                  <a:lnTo>
                    <a:pt x="1801938" y="1060213"/>
                  </a:lnTo>
                  <a:lnTo>
                    <a:pt x="1796399" y="1061516"/>
                  </a:lnTo>
                  <a:lnTo>
                    <a:pt x="1795585" y="1065752"/>
                  </a:lnTo>
                  <a:lnTo>
                    <a:pt x="1793793" y="1069662"/>
                  </a:lnTo>
                  <a:lnTo>
                    <a:pt x="1795259" y="1070639"/>
                  </a:lnTo>
                  <a:lnTo>
                    <a:pt x="1796888" y="1069010"/>
                  </a:lnTo>
                  <a:lnTo>
                    <a:pt x="1799169" y="1070639"/>
                  </a:lnTo>
                  <a:lnTo>
                    <a:pt x="1801775" y="1068684"/>
                  </a:lnTo>
                  <a:lnTo>
                    <a:pt x="1807640" y="1066729"/>
                  </a:lnTo>
                  <a:lnTo>
                    <a:pt x="1809269" y="1069499"/>
                  </a:lnTo>
                  <a:lnTo>
                    <a:pt x="1810898" y="1075526"/>
                  </a:lnTo>
                  <a:lnTo>
                    <a:pt x="1810572" y="1078459"/>
                  </a:lnTo>
                  <a:lnTo>
                    <a:pt x="1806662" y="1080251"/>
                  </a:lnTo>
                  <a:lnTo>
                    <a:pt x="1806662" y="1081717"/>
                  </a:lnTo>
                  <a:cubicBezTo>
                    <a:pt x="1806662" y="1081717"/>
                    <a:pt x="1809758" y="1082368"/>
                    <a:pt x="1809758" y="1082368"/>
                  </a:cubicBezTo>
                  <a:lnTo>
                    <a:pt x="1812038" y="1086441"/>
                  </a:lnTo>
                  <a:lnTo>
                    <a:pt x="1808454" y="1087582"/>
                  </a:lnTo>
                  <a:lnTo>
                    <a:pt x="1805359" y="1087093"/>
                  </a:lnTo>
                  <a:lnTo>
                    <a:pt x="1808454" y="1089048"/>
                  </a:lnTo>
                  <a:lnTo>
                    <a:pt x="1812527" y="1090840"/>
                  </a:lnTo>
                  <a:lnTo>
                    <a:pt x="1802753" y="1093120"/>
                  </a:lnTo>
                  <a:lnTo>
                    <a:pt x="1798028" y="1092795"/>
                  </a:lnTo>
                  <a:lnTo>
                    <a:pt x="1800472" y="1095238"/>
                  </a:lnTo>
                  <a:lnTo>
                    <a:pt x="1805196" y="1094912"/>
                  </a:lnTo>
                  <a:lnTo>
                    <a:pt x="1811876" y="1096379"/>
                  </a:lnTo>
                  <a:lnTo>
                    <a:pt x="1813830" y="1094098"/>
                  </a:lnTo>
                  <a:lnTo>
                    <a:pt x="1818392" y="1093120"/>
                  </a:lnTo>
                  <a:lnTo>
                    <a:pt x="1819532" y="1093446"/>
                  </a:lnTo>
                  <a:lnTo>
                    <a:pt x="1815785" y="1098496"/>
                  </a:lnTo>
                  <a:lnTo>
                    <a:pt x="1813830" y="1103547"/>
                  </a:lnTo>
                  <a:lnTo>
                    <a:pt x="1818229" y="1099148"/>
                  </a:lnTo>
                  <a:lnTo>
                    <a:pt x="1822139" y="1097845"/>
                  </a:lnTo>
                  <a:lnTo>
                    <a:pt x="1825071" y="1094587"/>
                  </a:lnTo>
                  <a:lnTo>
                    <a:pt x="1829796" y="1091166"/>
                  </a:lnTo>
                  <a:lnTo>
                    <a:pt x="1833543" y="1092306"/>
                  </a:lnTo>
                  <a:lnTo>
                    <a:pt x="1832565" y="1094749"/>
                  </a:lnTo>
                  <a:lnTo>
                    <a:pt x="1829633" y="1098008"/>
                  </a:lnTo>
                  <a:lnTo>
                    <a:pt x="1827678" y="1098008"/>
                  </a:lnTo>
                  <a:cubicBezTo>
                    <a:pt x="1827678" y="1098008"/>
                    <a:pt x="1825397" y="1102080"/>
                    <a:pt x="1825397" y="1102080"/>
                  </a:cubicBezTo>
                  <a:lnTo>
                    <a:pt x="1823116" y="1107131"/>
                  </a:lnTo>
                  <a:lnTo>
                    <a:pt x="1817415" y="1109411"/>
                  </a:lnTo>
                  <a:lnTo>
                    <a:pt x="1814971" y="1113810"/>
                  </a:lnTo>
                  <a:lnTo>
                    <a:pt x="1814971" y="1116905"/>
                  </a:lnTo>
                  <a:cubicBezTo>
                    <a:pt x="1814971" y="1116905"/>
                    <a:pt x="1818066" y="1117394"/>
                    <a:pt x="1818066" y="1117394"/>
                  </a:cubicBezTo>
                  <a:lnTo>
                    <a:pt x="1821813" y="1113484"/>
                  </a:lnTo>
                  <a:lnTo>
                    <a:pt x="1821813" y="1111529"/>
                  </a:lnTo>
                  <a:lnTo>
                    <a:pt x="1826863" y="1105502"/>
                  </a:lnTo>
                  <a:lnTo>
                    <a:pt x="1831262" y="1103872"/>
                  </a:lnTo>
                  <a:lnTo>
                    <a:pt x="1830936" y="1107294"/>
                  </a:lnTo>
                  <a:lnTo>
                    <a:pt x="1827678" y="1112832"/>
                  </a:lnTo>
                  <a:lnTo>
                    <a:pt x="1827189" y="1118208"/>
                  </a:lnTo>
                  <a:lnTo>
                    <a:pt x="1825723" y="1121467"/>
                  </a:lnTo>
                  <a:lnTo>
                    <a:pt x="1828492" y="1119512"/>
                  </a:lnTo>
                  <a:lnTo>
                    <a:pt x="1831913" y="1113321"/>
                  </a:lnTo>
                  <a:lnTo>
                    <a:pt x="1831913" y="1110226"/>
                  </a:lnTo>
                  <a:cubicBezTo>
                    <a:pt x="1831913" y="1110226"/>
                    <a:pt x="1833868" y="1109248"/>
                    <a:pt x="1833868" y="1109248"/>
                  </a:cubicBezTo>
                  <a:lnTo>
                    <a:pt x="1835335" y="1110389"/>
                  </a:lnTo>
                  <a:lnTo>
                    <a:pt x="1835823" y="1117394"/>
                  </a:lnTo>
                  <a:lnTo>
                    <a:pt x="1838430" y="1119675"/>
                  </a:lnTo>
                  <a:lnTo>
                    <a:pt x="1840059" y="1119675"/>
                  </a:lnTo>
                  <a:cubicBezTo>
                    <a:pt x="1840059" y="1119675"/>
                    <a:pt x="1839244" y="1114136"/>
                    <a:pt x="1839244" y="1114136"/>
                  </a:cubicBezTo>
                  <a:lnTo>
                    <a:pt x="1841036" y="1111040"/>
                  </a:lnTo>
                  <a:lnTo>
                    <a:pt x="1847227" y="1107782"/>
                  </a:lnTo>
                  <a:lnTo>
                    <a:pt x="1848530" y="1109411"/>
                  </a:lnTo>
                  <a:lnTo>
                    <a:pt x="1846250" y="1112344"/>
                  </a:lnTo>
                  <a:lnTo>
                    <a:pt x="1847716" y="1112832"/>
                  </a:lnTo>
                  <a:lnTo>
                    <a:pt x="1851788" y="1112832"/>
                  </a:lnTo>
                  <a:cubicBezTo>
                    <a:pt x="1851788" y="1112832"/>
                    <a:pt x="1854232" y="1115765"/>
                    <a:pt x="1854232" y="1115765"/>
                  </a:cubicBezTo>
                  <a:lnTo>
                    <a:pt x="1852440" y="1120978"/>
                  </a:lnTo>
                  <a:lnTo>
                    <a:pt x="1856676" y="1120489"/>
                  </a:lnTo>
                  <a:lnTo>
                    <a:pt x="1858305" y="1122933"/>
                  </a:lnTo>
                  <a:lnTo>
                    <a:pt x="1858631" y="1126191"/>
                  </a:lnTo>
                  <a:lnTo>
                    <a:pt x="1861563" y="1128798"/>
                  </a:lnTo>
                  <a:lnTo>
                    <a:pt x="1862215" y="1131893"/>
                  </a:lnTo>
                  <a:lnTo>
                    <a:pt x="1860911" y="1133359"/>
                  </a:lnTo>
                  <a:lnTo>
                    <a:pt x="1858956" y="1134988"/>
                  </a:lnTo>
                  <a:lnTo>
                    <a:pt x="1853743" y="1134988"/>
                  </a:lnTo>
                  <a:cubicBezTo>
                    <a:pt x="1853743" y="1134988"/>
                    <a:pt x="1854069" y="1131893"/>
                    <a:pt x="1854069" y="1131893"/>
                  </a:cubicBezTo>
                  <a:lnTo>
                    <a:pt x="1851788" y="1128635"/>
                  </a:lnTo>
                  <a:lnTo>
                    <a:pt x="1849182" y="1127331"/>
                  </a:lnTo>
                  <a:lnTo>
                    <a:pt x="1847553" y="1126028"/>
                  </a:lnTo>
                  <a:lnTo>
                    <a:pt x="1845272" y="1127983"/>
                  </a:lnTo>
                  <a:lnTo>
                    <a:pt x="1842665" y="1131567"/>
                  </a:lnTo>
                  <a:lnTo>
                    <a:pt x="1845924" y="1130101"/>
                  </a:lnTo>
                  <a:lnTo>
                    <a:pt x="1848367" y="1130752"/>
                  </a:lnTo>
                  <a:lnTo>
                    <a:pt x="1849996" y="1132870"/>
                  </a:lnTo>
                  <a:lnTo>
                    <a:pt x="1848367" y="1133848"/>
                  </a:lnTo>
                  <a:lnTo>
                    <a:pt x="1850648" y="1135151"/>
                  </a:lnTo>
                  <a:lnTo>
                    <a:pt x="1851626" y="1137757"/>
                  </a:lnTo>
                  <a:lnTo>
                    <a:pt x="1849508" y="1138735"/>
                  </a:lnTo>
                  <a:lnTo>
                    <a:pt x="1845924" y="1137757"/>
                  </a:lnTo>
                  <a:lnTo>
                    <a:pt x="1842991" y="1139549"/>
                  </a:lnTo>
                  <a:lnTo>
                    <a:pt x="1844620" y="1141016"/>
                  </a:lnTo>
                  <a:lnTo>
                    <a:pt x="1850811" y="1141016"/>
                  </a:lnTo>
                  <a:cubicBezTo>
                    <a:pt x="1850811" y="1141016"/>
                    <a:pt x="1853254" y="1141179"/>
                    <a:pt x="1853254" y="1141179"/>
                  </a:cubicBezTo>
                  <a:lnTo>
                    <a:pt x="1853580" y="1142971"/>
                  </a:lnTo>
                  <a:lnTo>
                    <a:pt x="1851137" y="1145903"/>
                  </a:lnTo>
                  <a:lnTo>
                    <a:pt x="1847227" y="1145903"/>
                  </a:lnTo>
                  <a:lnTo>
                    <a:pt x="1843643" y="1146718"/>
                  </a:lnTo>
                  <a:lnTo>
                    <a:pt x="1838756" y="1145903"/>
                  </a:lnTo>
                  <a:lnTo>
                    <a:pt x="1834683" y="1145088"/>
                  </a:lnTo>
                  <a:lnTo>
                    <a:pt x="1835823" y="1141504"/>
                  </a:lnTo>
                  <a:lnTo>
                    <a:pt x="1835497" y="1139224"/>
                  </a:lnTo>
                  <a:lnTo>
                    <a:pt x="1832076" y="1137269"/>
                  </a:lnTo>
                  <a:lnTo>
                    <a:pt x="1830773" y="1135640"/>
                  </a:lnTo>
                  <a:lnTo>
                    <a:pt x="1828655" y="1136291"/>
                  </a:lnTo>
                  <a:lnTo>
                    <a:pt x="1829144" y="1138898"/>
                  </a:lnTo>
                  <a:lnTo>
                    <a:pt x="1831425" y="1140527"/>
                  </a:lnTo>
                  <a:lnTo>
                    <a:pt x="1832565" y="1144437"/>
                  </a:lnTo>
                  <a:lnTo>
                    <a:pt x="1831751" y="1146392"/>
                  </a:lnTo>
                  <a:lnTo>
                    <a:pt x="1828329" y="1146718"/>
                  </a:lnTo>
                  <a:lnTo>
                    <a:pt x="1824745" y="1144274"/>
                  </a:lnTo>
                  <a:lnTo>
                    <a:pt x="1824094" y="1141830"/>
                  </a:lnTo>
                  <a:lnTo>
                    <a:pt x="1823279" y="1146229"/>
                  </a:lnTo>
                  <a:lnTo>
                    <a:pt x="1825886" y="1148998"/>
                  </a:lnTo>
                  <a:lnTo>
                    <a:pt x="1830936" y="1148998"/>
                  </a:lnTo>
                  <a:lnTo>
                    <a:pt x="1833543" y="1151279"/>
                  </a:lnTo>
                  <a:lnTo>
                    <a:pt x="1836475" y="1152256"/>
                  </a:lnTo>
                  <a:lnTo>
                    <a:pt x="1837127" y="1155189"/>
                  </a:lnTo>
                  <a:lnTo>
                    <a:pt x="1835660" y="1158773"/>
                  </a:lnTo>
                  <a:lnTo>
                    <a:pt x="1828492" y="1158447"/>
                  </a:lnTo>
                  <a:lnTo>
                    <a:pt x="1826863" y="1155515"/>
                  </a:lnTo>
                  <a:lnTo>
                    <a:pt x="1822302" y="1152582"/>
                  </a:lnTo>
                  <a:lnTo>
                    <a:pt x="1820184" y="1150302"/>
                  </a:lnTo>
                  <a:lnTo>
                    <a:pt x="1818881" y="1150302"/>
                  </a:lnTo>
                  <a:cubicBezTo>
                    <a:pt x="1818881" y="1150302"/>
                    <a:pt x="1820021" y="1152582"/>
                    <a:pt x="1820021" y="1152582"/>
                  </a:cubicBezTo>
                  <a:lnTo>
                    <a:pt x="1825071" y="1156329"/>
                  </a:lnTo>
                  <a:lnTo>
                    <a:pt x="1827026" y="1160239"/>
                  </a:lnTo>
                  <a:lnTo>
                    <a:pt x="1827026" y="1165778"/>
                  </a:lnTo>
                  <a:cubicBezTo>
                    <a:pt x="1827026" y="1165778"/>
                    <a:pt x="1825234" y="1168710"/>
                    <a:pt x="1825234" y="1168710"/>
                  </a:cubicBezTo>
                  <a:lnTo>
                    <a:pt x="1822953" y="1168384"/>
                  </a:lnTo>
                  <a:lnTo>
                    <a:pt x="1821650" y="1164963"/>
                  </a:lnTo>
                  <a:lnTo>
                    <a:pt x="1818555" y="1162520"/>
                  </a:lnTo>
                  <a:lnTo>
                    <a:pt x="1815134" y="1161379"/>
                  </a:lnTo>
                  <a:lnTo>
                    <a:pt x="1815948" y="1162683"/>
                  </a:lnTo>
                  <a:lnTo>
                    <a:pt x="1817740" y="1164312"/>
                  </a:lnTo>
                  <a:lnTo>
                    <a:pt x="1817740" y="1168873"/>
                  </a:lnTo>
                  <a:cubicBezTo>
                    <a:pt x="1817740" y="1168873"/>
                    <a:pt x="1817415" y="1174901"/>
                    <a:pt x="1817415" y="1174901"/>
                  </a:cubicBezTo>
                  <a:lnTo>
                    <a:pt x="1816111" y="1175878"/>
                  </a:lnTo>
                  <a:lnTo>
                    <a:pt x="1813668" y="1175878"/>
                  </a:lnTo>
                  <a:lnTo>
                    <a:pt x="1812038" y="1174249"/>
                  </a:lnTo>
                  <a:lnTo>
                    <a:pt x="1812038" y="1169688"/>
                  </a:lnTo>
                  <a:cubicBezTo>
                    <a:pt x="1812038" y="1169688"/>
                    <a:pt x="1810409" y="1170502"/>
                    <a:pt x="1810409" y="1170502"/>
                  </a:cubicBezTo>
                  <a:lnTo>
                    <a:pt x="1809595" y="1173272"/>
                  </a:lnTo>
                  <a:lnTo>
                    <a:pt x="1806174" y="1173923"/>
                  </a:lnTo>
                  <a:lnTo>
                    <a:pt x="1803893" y="1172946"/>
                  </a:lnTo>
                  <a:lnTo>
                    <a:pt x="1804545" y="1169688"/>
                  </a:lnTo>
                  <a:lnTo>
                    <a:pt x="1803404" y="1166104"/>
                  </a:lnTo>
                  <a:lnTo>
                    <a:pt x="1803078" y="1162194"/>
                  </a:lnTo>
                  <a:lnTo>
                    <a:pt x="1801449" y="1160402"/>
                  </a:lnTo>
                  <a:lnTo>
                    <a:pt x="1800798" y="1163171"/>
                  </a:lnTo>
                  <a:lnTo>
                    <a:pt x="1800798" y="1169851"/>
                  </a:lnTo>
                  <a:lnTo>
                    <a:pt x="1798517" y="1171643"/>
                  </a:lnTo>
                  <a:lnTo>
                    <a:pt x="1795259" y="1171643"/>
                  </a:lnTo>
                  <a:cubicBezTo>
                    <a:pt x="1795259" y="1171643"/>
                    <a:pt x="1796399" y="1173109"/>
                    <a:pt x="1796399" y="1173109"/>
                  </a:cubicBezTo>
                  <a:lnTo>
                    <a:pt x="1799006" y="1173598"/>
                  </a:lnTo>
                  <a:lnTo>
                    <a:pt x="1799820" y="1175552"/>
                  </a:lnTo>
                  <a:lnTo>
                    <a:pt x="1797702" y="1178159"/>
                  </a:lnTo>
                  <a:lnTo>
                    <a:pt x="1794770" y="1177507"/>
                  </a:lnTo>
                  <a:lnTo>
                    <a:pt x="1793467" y="1176693"/>
                  </a:lnTo>
                  <a:lnTo>
                    <a:pt x="1793141" y="1178159"/>
                  </a:lnTo>
                  <a:lnTo>
                    <a:pt x="1795910" y="1180440"/>
                  </a:lnTo>
                  <a:lnTo>
                    <a:pt x="1798028" y="1180440"/>
                  </a:lnTo>
                  <a:lnTo>
                    <a:pt x="1798517" y="1182395"/>
                  </a:lnTo>
                  <a:lnTo>
                    <a:pt x="1798028" y="1185490"/>
                  </a:lnTo>
                  <a:lnTo>
                    <a:pt x="1796073" y="1186304"/>
                  </a:lnTo>
                  <a:lnTo>
                    <a:pt x="1795585" y="1188585"/>
                  </a:lnTo>
                  <a:lnTo>
                    <a:pt x="1797214" y="1192332"/>
                  </a:lnTo>
                  <a:lnTo>
                    <a:pt x="1797214" y="1195102"/>
                  </a:lnTo>
                  <a:lnTo>
                    <a:pt x="1795585" y="1195102"/>
                  </a:lnTo>
                  <a:lnTo>
                    <a:pt x="1793630" y="1193635"/>
                  </a:lnTo>
                  <a:lnTo>
                    <a:pt x="1792652" y="1194124"/>
                  </a:lnTo>
                  <a:lnTo>
                    <a:pt x="1795748" y="1197545"/>
                  </a:lnTo>
                  <a:lnTo>
                    <a:pt x="1796236" y="1200315"/>
                  </a:lnTo>
                  <a:lnTo>
                    <a:pt x="1795585" y="1204224"/>
                  </a:lnTo>
                  <a:lnTo>
                    <a:pt x="1790697" y="1205853"/>
                  </a:lnTo>
                  <a:lnTo>
                    <a:pt x="1789557" y="1207808"/>
                  </a:lnTo>
                  <a:lnTo>
                    <a:pt x="1787602" y="1206994"/>
                  </a:lnTo>
                  <a:lnTo>
                    <a:pt x="1787113" y="1204876"/>
                  </a:lnTo>
                  <a:lnTo>
                    <a:pt x="1786136" y="1203899"/>
                  </a:lnTo>
                  <a:lnTo>
                    <a:pt x="1786136" y="1201944"/>
                  </a:lnTo>
                  <a:cubicBezTo>
                    <a:pt x="1786136" y="1201944"/>
                    <a:pt x="1783692" y="1200966"/>
                    <a:pt x="1783692" y="1200966"/>
                  </a:cubicBezTo>
                  <a:lnTo>
                    <a:pt x="1783203" y="1199337"/>
                  </a:lnTo>
                  <a:lnTo>
                    <a:pt x="1784996" y="1196731"/>
                  </a:lnTo>
                  <a:lnTo>
                    <a:pt x="1784996" y="1194613"/>
                  </a:lnTo>
                  <a:lnTo>
                    <a:pt x="1783529" y="1194939"/>
                  </a:lnTo>
                  <a:lnTo>
                    <a:pt x="1779945" y="1196405"/>
                  </a:lnTo>
                  <a:lnTo>
                    <a:pt x="1778805" y="1199011"/>
                  </a:lnTo>
                  <a:lnTo>
                    <a:pt x="1777176" y="1198686"/>
                  </a:lnTo>
                  <a:lnTo>
                    <a:pt x="1774895" y="1195753"/>
                  </a:lnTo>
                  <a:lnTo>
                    <a:pt x="1776524" y="1193472"/>
                  </a:lnTo>
                  <a:lnTo>
                    <a:pt x="1774732" y="1191192"/>
                  </a:lnTo>
                  <a:lnTo>
                    <a:pt x="1774732" y="1189563"/>
                  </a:lnTo>
                  <a:cubicBezTo>
                    <a:pt x="1774732" y="1189563"/>
                    <a:pt x="1776524" y="1187934"/>
                    <a:pt x="1776524" y="1187934"/>
                  </a:cubicBezTo>
                  <a:lnTo>
                    <a:pt x="1776524" y="1185979"/>
                  </a:lnTo>
                  <a:cubicBezTo>
                    <a:pt x="1776524" y="1185979"/>
                    <a:pt x="1777339" y="1183698"/>
                    <a:pt x="1777339" y="1183698"/>
                  </a:cubicBezTo>
                  <a:lnTo>
                    <a:pt x="1776524" y="1183209"/>
                  </a:lnTo>
                  <a:lnTo>
                    <a:pt x="1773918" y="1185979"/>
                  </a:lnTo>
                  <a:lnTo>
                    <a:pt x="1771800" y="1190866"/>
                  </a:lnTo>
                  <a:lnTo>
                    <a:pt x="1769030" y="1193961"/>
                  </a:lnTo>
                  <a:lnTo>
                    <a:pt x="1768216" y="1192821"/>
                  </a:lnTo>
                  <a:lnTo>
                    <a:pt x="1768216" y="1189888"/>
                  </a:lnTo>
                  <a:cubicBezTo>
                    <a:pt x="1768216" y="1189888"/>
                    <a:pt x="1766261" y="1186793"/>
                    <a:pt x="1766261" y="1186793"/>
                  </a:cubicBezTo>
                  <a:lnTo>
                    <a:pt x="1765284" y="1183861"/>
                  </a:lnTo>
                  <a:lnTo>
                    <a:pt x="1766913" y="1181906"/>
                  </a:lnTo>
                  <a:lnTo>
                    <a:pt x="1771474" y="1180114"/>
                  </a:lnTo>
                  <a:lnTo>
                    <a:pt x="1771474" y="1178974"/>
                  </a:lnTo>
                  <a:cubicBezTo>
                    <a:pt x="1771474" y="1178974"/>
                    <a:pt x="1774081" y="1177996"/>
                    <a:pt x="1774081" y="1177996"/>
                  </a:cubicBezTo>
                  <a:lnTo>
                    <a:pt x="1773103" y="1176693"/>
                  </a:lnTo>
                  <a:lnTo>
                    <a:pt x="1769356" y="1176367"/>
                  </a:lnTo>
                  <a:lnTo>
                    <a:pt x="1766261" y="1177182"/>
                  </a:lnTo>
                  <a:lnTo>
                    <a:pt x="1763003" y="1176367"/>
                  </a:lnTo>
                  <a:lnTo>
                    <a:pt x="1762188" y="1174738"/>
                  </a:lnTo>
                  <a:lnTo>
                    <a:pt x="1763166" y="1172457"/>
                  </a:lnTo>
                  <a:lnTo>
                    <a:pt x="1767076" y="1171480"/>
                  </a:lnTo>
                  <a:lnTo>
                    <a:pt x="1770334" y="1167244"/>
                  </a:lnTo>
                  <a:lnTo>
                    <a:pt x="1768053" y="1167896"/>
                  </a:lnTo>
                  <a:lnTo>
                    <a:pt x="1764958" y="1169199"/>
                  </a:lnTo>
                  <a:lnTo>
                    <a:pt x="1762840" y="1168222"/>
                  </a:lnTo>
                  <a:lnTo>
                    <a:pt x="1762514" y="1165778"/>
                  </a:lnTo>
                  <a:lnTo>
                    <a:pt x="1764958" y="1164637"/>
                  </a:lnTo>
                  <a:lnTo>
                    <a:pt x="1768379" y="1163171"/>
                  </a:lnTo>
                  <a:lnTo>
                    <a:pt x="1771800" y="1162194"/>
                  </a:lnTo>
                  <a:lnTo>
                    <a:pt x="1768868" y="1160891"/>
                  </a:lnTo>
                  <a:lnTo>
                    <a:pt x="1765121" y="1160891"/>
                  </a:lnTo>
                  <a:cubicBezTo>
                    <a:pt x="1765121" y="1160891"/>
                    <a:pt x="1762677" y="1162683"/>
                    <a:pt x="1762677" y="1162683"/>
                  </a:cubicBezTo>
                  <a:lnTo>
                    <a:pt x="1761048" y="1161542"/>
                  </a:lnTo>
                  <a:lnTo>
                    <a:pt x="1761374" y="1159262"/>
                  </a:lnTo>
                  <a:lnTo>
                    <a:pt x="1765284" y="1153723"/>
                  </a:lnTo>
                  <a:lnTo>
                    <a:pt x="1767727" y="1152908"/>
                  </a:lnTo>
                  <a:lnTo>
                    <a:pt x="1772940" y="1151931"/>
                  </a:lnTo>
                  <a:lnTo>
                    <a:pt x="1776850" y="1148510"/>
                  </a:lnTo>
                  <a:lnTo>
                    <a:pt x="1780108" y="1146555"/>
                  </a:lnTo>
                  <a:lnTo>
                    <a:pt x="1782063" y="1142319"/>
                  </a:lnTo>
                  <a:lnTo>
                    <a:pt x="1785810" y="1138246"/>
                  </a:lnTo>
                  <a:lnTo>
                    <a:pt x="1787928" y="1137106"/>
                  </a:lnTo>
                  <a:lnTo>
                    <a:pt x="1787439" y="1135314"/>
                  </a:lnTo>
                  <a:lnTo>
                    <a:pt x="1785321" y="1135640"/>
                  </a:lnTo>
                  <a:lnTo>
                    <a:pt x="1780760" y="1139387"/>
                  </a:lnTo>
                  <a:lnTo>
                    <a:pt x="1778153" y="1140853"/>
                  </a:lnTo>
                  <a:lnTo>
                    <a:pt x="1776036" y="1144600"/>
                  </a:lnTo>
                  <a:lnTo>
                    <a:pt x="1770008" y="1147532"/>
                  </a:lnTo>
                  <a:lnTo>
                    <a:pt x="1766913" y="1147532"/>
                  </a:lnTo>
                  <a:cubicBezTo>
                    <a:pt x="1766913" y="1147532"/>
                    <a:pt x="1760396" y="1152094"/>
                    <a:pt x="1760396" y="1152094"/>
                  </a:cubicBezTo>
                  <a:lnTo>
                    <a:pt x="1755672" y="1152745"/>
                  </a:lnTo>
                  <a:lnTo>
                    <a:pt x="1752414" y="1151442"/>
                  </a:lnTo>
                  <a:lnTo>
                    <a:pt x="1752414" y="1149650"/>
                  </a:lnTo>
                  <a:cubicBezTo>
                    <a:pt x="1752414" y="1149650"/>
                    <a:pt x="1759419" y="1142482"/>
                    <a:pt x="1759419" y="1142482"/>
                  </a:cubicBezTo>
                  <a:lnTo>
                    <a:pt x="1764632" y="1139712"/>
                  </a:lnTo>
                  <a:lnTo>
                    <a:pt x="1765935" y="1137269"/>
                  </a:lnTo>
                  <a:lnTo>
                    <a:pt x="1767727" y="1135151"/>
                  </a:lnTo>
                  <a:lnTo>
                    <a:pt x="1767401" y="1131567"/>
                  </a:lnTo>
                  <a:lnTo>
                    <a:pt x="1763818" y="1136943"/>
                  </a:lnTo>
                  <a:lnTo>
                    <a:pt x="1754206" y="1142808"/>
                  </a:lnTo>
                  <a:lnTo>
                    <a:pt x="1751110" y="1144437"/>
                  </a:lnTo>
                  <a:lnTo>
                    <a:pt x="1748830" y="1143622"/>
                  </a:lnTo>
                  <a:lnTo>
                    <a:pt x="1747689" y="1141830"/>
                  </a:lnTo>
                  <a:lnTo>
                    <a:pt x="1748341" y="1138246"/>
                  </a:lnTo>
                  <a:lnTo>
                    <a:pt x="1747038" y="1136617"/>
                  </a:lnTo>
                  <a:lnTo>
                    <a:pt x="1744431" y="1137432"/>
                  </a:lnTo>
                  <a:lnTo>
                    <a:pt x="1741987" y="1135966"/>
                  </a:lnTo>
                  <a:lnTo>
                    <a:pt x="1743128" y="1134174"/>
                  </a:lnTo>
                  <a:lnTo>
                    <a:pt x="1745572" y="1133359"/>
                  </a:lnTo>
                  <a:lnTo>
                    <a:pt x="1745572" y="1130915"/>
                  </a:lnTo>
                  <a:lnTo>
                    <a:pt x="1743780" y="1129449"/>
                  </a:lnTo>
                  <a:lnTo>
                    <a:pt x="1741336" y="1129449"/>
                  </a:lnTo>
                  <a:lnTo>
                    <a:pt x="1740847" y="1128146"/>
                  </a:lnTo>
                  <a:lnTo>
                    <a:pt x="1741336" y="1123421"/>
                  </a:lnTo>
                  <a:lnTo>
                    <a:pt x="1743128" y="1122444"/>
                  </a:lnTo>
                  <a:lnTo>
                    <a:pt x="1743128" y="1119675"/>
                  </a:lnTo>
                  <a:cubicBezTo>
                    <a:pt x="1743128" y="1119675"/>
                    <a:pt x="1740521" y="1118208"/>
                    <a:pt x="1740521" y="1118208"/>
                  </a:cubicBezTo>
                  <a:lnTo>
                    <a:pt x="1738567" y="1115602"/>
                  </a:lnTo>
                  <a:lnTo>
                    <a:pt x="1737589" y="1115602"/>
                  </a:lnTo>
                  <a:cubicBezTo>
                    <a:pt x="1737589" y="1115602"/>
                    <a:pt x="1737589" y="1119186"/>
                    <a:pt x="1737589" y="1119186"/>
                  </a:cubicBezTo>
                  <a:lnTo>
                    <a:pt x="1738403" y="1121792"/>
                  </a:lnTo>
                  <a:lnTo>
                    <a:pt x="1734494" y="1123421"/>
                  </a:lnTo>
                  <a:lnTo>
                    <a:pt x="1732213" y="1121467"/>
                  </a:lnTo>
                  <a:lnTo>
                    <a:pt x="1729606" y="1119023"/>
                  </a:lnTo>
                  <a:lnTo>
                    <a:pt x="1725208" y="1119023"/>
                  </a:lnTo>
                  <a:cubicBezTo>
                    <a:pt x="1725208" y="1119023"/>
                    <a:pt x="1729932" y="1121955"/>
                    <a:pt x="1729932" y="1121955"/>
                  </a:cubicBezTo>
                  <a:lnTo>
                    <a:pt x="1732702" y="1126843"/>
                  </a:lnTo>
                  <a:lnTo>
                    <a:pt x="1733353" y="1131078"/>
                  </a:lnTo>
                  <a:lnTo>
                    <a:pt x="1730258" y="1130264"/>
                  </a:lnTo>
                  <a:lnTo>
                    <a:pt x="1729444" y="1131567"/>
                  </a:lnTo>
                  <a:lnTo>
                    <a:pt x="1730095" y="1132707"/>
                  </a:lnTo>
                  <a:lnTo>
                    <a:pt x="1726348" y="1133359"/>
                  </a:lnTo>
                  <a:lnTo>
                    <a:pt x="1724068" y="1130590"/>
                  </a:lnTo>
                  <a:lnTo>
                    <a:pt x="1722927" y="1125539"/>
                  </a:lnTo>
                  <a:lnTo>
                    <a:pt x="1720972" y="1124073"/>
                  </a:lnTo>
                  <a:lnTo>
                    <a:pt x="1719506" y="1125539"/>
                  </a:lnTo>
                  <a:lnTo>
                    <a:pt x="1722113" y="1128146"/>
                  </a:lnTo>
                  <a:lnTo>
                    <a:pt x="1722601" y="1131404"/>
                  </a:lnTo>
                  <a:lnTo>
                    <a:pt x="1721135" y="1134988"/>
                  </a:lnTo>
                  <a:lnTo>
                    <a:pt x="1724230" y="1135640"/>
                  </a:lnTo>
                  <a:lnTo>
                    <a:pt x="1727326" y="1139549"/>
                  </a:lnTo>
                  <a:lnTo>
                    <a:pt x="1728955" y="1143785"/>
                  </a:lnTo>
                  <a:lnTo>
                    <a:pt x="1728629" y="1147043"/>
                  </a:lnTo>
                  <a:lnTo>
                    <a:pt x="1730584" y="1147695"/>
                  </a:lnTo>
                  <a:lnTo>
                    <a:pt x="1730095" y="1149813"/>
                  </a:lnTo>
                  <a:lnTo>
                    <a:pt x="1727326" y="1150790"/>
                  </a:lnTo>
                  <a:lnTo>
                    <a:pt x="1722113" y="1150139"/>
                  </a:lnTo>
                  <a:lnTo>
                    <a:pt x="1719995" y="1147369"/>
                  </a:lnTo>
                  <a:lnTo>
                    <a:pt x="1718692" y="1151768"/>
                  </a:lnTo>
                  <a:lnTo>
                    <a:pt x="1717062" y="1151768"/>
                  </a:lnTo>
                  <a:lnTo>
                    <a:pt x="1712338" y="1146392"/>
                  </a:lnTo>
                  <a:lnTo>
                    <a:pt x="1711524" y="1143133"/>
                  </a:lnTo>
                  <a:lnTo>
                    <a:pt x="1713153" y="1140201"/>
                  </a:lnTo>
                  <a:lnTo>
                    <a:pt x="1712338" y="1137269"/>
                  </a:lnTo>
                  <a:lnTo>
                    <a:pt x="1708265" y="1134662"/>
                  </a:lnTo>
                  <a:lnTo>
                    <a:pt x="1704193" y="1134662"/>
                  </a:lnTo>
                  <a:cubicBezTo>
                    <a:pt x="1704193" y="1134662"/>
                    <a:pt x="1703378" y="1132219"/>
                    <a:pt x="1703378" y="1132219"/>
                  </a:cubicBezTo>
                  <a:lnTo>
                    <a:pt x="1701423" y="1128798"/>
                  </a:lnTo>
                  <a:lnTo>
                    <a:pt x="1698979" y="1130590"/>
                  </a:lnTo>
                  <a:lnTo>
                    <a:pt x="1694581" y="1131730"/>
                  </a:lnTo>
                  <a:lnTo>
                    <a:pt x="1688879" y="1131404"/>
                  </a:lnTo>
                  <a:lnTo>
                    <a:pt x="1691160" y="1134011"/>
                  </a:lnTo>
                  <a:lnTo>
                    <a:pt x="1697351" y="1134499"/>
                  </a:lnTo>
                  <a:lnTo>
                    <a:pt x="1701260" y="1136128"/>
                  </a:lnTo>
                  <a:lnTo>
                    <a:pt x="1706636" y="1137757"/>
                  </a:lnTo>
                  <a:lnTo>
                    <a:pt x="1706636" y="1142808"/>
                  </a:lnTo>
                  <a:cubicBezTo>
                    <a:pt x="1706636" y="1142808"/>
                    <a:pt x="1703704" y="1146229"/>
                    <a:pt x="1703704" y="1146229"/>
                  </a:cubicBezTo>
                  <a:lnTo>
                    <a:pt x="1703704" y="1149161"/>
                  </a:lnTo>
                  <a:cubicBezTo>
                    <a:pt x="1703704" y="1149161"/>
                    <a:pt x="1706636" y="1148510"/>
                    <a:pt x="1706636" y="1148510"/>
                  </a:cubicBezTo>
                  <a:lnTo>
                    <a:pt x="1708265" y="1150790"/>
                  </a:lnTo>
                  <a:lnTo>
                    <a:pt x="1706473" y="1153397"/>
                  </a:lnTo>
                  <a:lnTo>
                    <a:pt x="1708591" y="1154374"/>
                  </a:lnTo>
                  <a:lnTo>
                    <a:pt x="1712827" y="1154374"/>
                  </a:lnTo>
                  <a:lnTo>
                    <a:pt x="1713153" y="1156655"/>
                  </a:lnTo>
                  <a:lnTo>
                    <a:pt x="1710220" y="1161053"/>
                  </a:lnTo>
                  <a:lnTo>
                    <a:pt x="1703541" y="1166918"/>
                  </a:lnTo>
                  <a:lnTo>
                    <a:pt x="1699305" y="1170339"/>
                  </a:lnTo>
                  <a:lnTo>
                    <a:pt x="1708428" y="1168222"/>
                  </a:lnTo>
                  <a:lnTo>
                    <a:pt x="1711198" y="1164963"/>
                  </a:lnTo>
                  <a:lnTo>
                    <a:pt x="1712175" y="1162845"/>
                  </a:lnTo>
                  <a:lnTo>
                    <a:pt x="1719343" y="1162845"/>
                  </a:lnTo>
                  <a:cubicBezTo>
                    <a:pt x="1719343" y="1162845"/>
                    <a:pt x="1721461" y="1165289"/>
                    <a:pt x="1721461" y="1165289"/>
                  </a:cubicBezTo>
                  <a:lnTo>
                    <a:pt x="1721461" y="1166918"/>
                  </a:lnTo>
                  <a:lnTo>
                    <a:pt x="1717062" y="1169362"/>
                  </a:lnTo>
                  <a:lnTo>
                    <a:pt x="1714782" y="1172457"/>
                  </a:lnTo>
                  <a:lnTo>
                    <a:pt x="1716574" y="1173923"/>
                  </a:lnTo>
                  <a:lnTo>
                    <a:pt x="1720972" y="1174412"/>
                  </a:lnTo>
                  <a:lnTo>
                    <a:pt x="1723742" y="1177182"/>
                  </a:lnTo>
                  <a:lnTo>
                    <a:pt x="1721298" y="1178811"/>
                  </a:lnTo>
                  <a:lnTo>
                    <a:pt x="1716737" y="1179299"/>
                  </a:lnTo>
                  <a:lnTo>
                    <a:pt x="1715433" y="1181254"/>
                  </a:lnTo>
                  <a:lnTo>
                    <a:pt x="1717877" y="1182069"/>
                  </a:lnTo>
                  <a:lnTo>
                    <a:pt x="1718692" y="1185164"/>
                  </a:lnTo>
                  <a:lnTo>
                    <a:pt x="1718040" y="1185653"/>
                  </a:lnTo>
                  <a:lnTo>
                    <a:pt x="1718529" y="1187282"/>
                  </a:lnTo>
                  <a:lnTo>
                    <a:pt x="1720321" y="1187282"/>
                  </a:lnTo>
                  <a:lnTo>
                    <a:pt x="1719506" y="1191192"/>
                  </a:lnTo>
                  <a:lnTo>
                    <a:pt x="1721624" y="1191680"/>
                  </a:lnTo>
                  <a:lnTo>
                    <a:pt x="1722601" y="1195264"/>
                  </a:lnTo>
                  <a:lnTo>
                    <a:pt x="1723090" y="1201455"/>
                  </a:lnTo>
                  <a:lnTo>
                    <a:pt x="1724230" y="1202270"/>
                  </a:lnTo>
                  <a:lnTo>
                    <a:pt x="1725534" y="1199337"/>
                  </a:lnTo>
                  <a:lnTo>
                    <a:pt x="1726022" y="1194613"/>
                  </a:lnTo>
                  <a:lnTo>
                    <a:pt x="1728303" y="1193147"/>
                  </a:lnTo>
                  <a:lnTo>
                    <a:pt x="1731236" y="1195753"/>
                  </a:lnTo>
                  <a:lnTo>
                    <a:pt x="1731887" y="1200966"/>
                  </a:lnTo>
                  <a:lnTo>
                    <a:pt x="1733842" y="1203247"/>
                  </a:lnTo>
                  <a:lnTo>
                    <a:pt x="1732865" y="1205039"/>
                  </a:lnTo>
                  <a:lnTo>
                    <a:pt x="1729118" y="1207320"/>
                  </a:lnTo>
                  <a:lnTo>
                    <a:pt x="1729932" y="1209112"/>
                  </a:lnTo>
                  <a:lnTo>
                    <a:pt x="1736123" y="1208297"/>
                  </a:lnTo>
                  <a:lnTo>
                    <a:pt x="1737426" y="1207157"/>
                  </a:lnTo>
                  <a:lnTo>
                    <a:pt x="1737752" y="1210415"/>
                  </a:lnTo>
                  <a:lnTo>
                    <a:pt x="1739870" y="1206994"/>
                  </a:lnTo>
                  <a:lnTo>
                    <a:pt x="1739870" y="1204387"/>
                  </a:lnTo>
                  <a:cubicBezTo>
                    <a:pt x="1739870" y="1204387"/>
                    <a:pt x="1742802" y="1204713"/>
                    <a:pt x="1742802" y="1204713"/>
                  </a:cubicBezTo>
                  <a:lnTo>
                    <a:pt x="1745083" y="1208460"/>
                  </a:lnTo>
                  <a:lnTo>
                    <a:pt x="1744105" y="1212696"/>
                  </a:lnTo>
                  <a:lnTo>
                    <a:pt x="1740847" y="1215954"/>
                  </a:lnTo>
                  <a:lnTo>
                    <a:pt x="1740195" y="1218886"/>
                  </a:lnTo>
                  <a:lnTo>
                    <a:pt x="1739218" y="1220515"/>
                  </a:lnTo>
                  <a:lnTo>
                    <a:pt x="1741662" y="1222796"/>
                  </a:lnTo>
                  <a:lnTo>
                    <a:pt x="1747689" y="1222144"/>
                  </a:lnTo>
                  <a:lnTo>
                    <a:pt x="1750785" y="1220678"/>
                  </a:lnTo>
                  <a:lnTo>
                    <a:pt x="1752902" y="1222633"/>
                  </a:lnTo>
                  <a:lnTo>
                    <a:pt x="1748993" y="1225566"/>
                  </a:lnTo>
                  <a:lnTo>
                    <a:pt x="1748015" y="1227357"/>
                  </a:lnTo>
                  <a:lnTo>
                    <a:pt x="1742639" y="1228335"/>
                  </a:lnTo>
                  <a:lnTo>
                    <a:pt x="1745572" y="1231756"/>
                  </a:lnTo>
                  <a:lnTo>
                    <a:pt x="1748504" y="1237132"/>
                  </a:lnTo>
                  <a:lnTo>
                    <a:pt x="1747364" y="1240879"/>
                  </a:lnTo>
                  <a:lnTo>
                    <a:pt x="1749644" y="1241531"/>
                  </a:lnTo>
                  <a:lnTo>
                    <a:pt x="1750622" y="1247721"/>
                  </a:lnTo>
                  <a:lnTo>
                    <a:pt x="1756161" y="1256355"/>
                  </a:lnTo>
                  <a:lnTo>
                    <a:pt x="1757790" y="1257822"/>
                  </a:lnTo>
                  <a:lnTo>
                    <a:pt x="1754532" y="1259614"/>
                  </a:lnTo>
                  <a:lnTo>
                    <a:pt x="1754043" y="1266619"/>
                  </a:lnTo>
                  <a:lnTo>
                    <a:pt x="1751599" y="1271832"/>
                  </a:lnTo>
                  <a:lnTo>
                    <a:pt x="1752740" y="1277208"/>
                  </a:lnTo>
                  <a:lnTo>
                    <a:pt x="1751273" y="1279000"/>
                  </a:lnTo>
                  <a:lnTo>
                    <a:pt x="1744757" y="1271669"/>
                  </a:lnTo>
                  <a:lnTo>
                    <a:pt x="1743291" y="1265967"/>
                  </a:lnTo>
                  <a:lnTo>
                    <a:pt x="1744105" y="1260754"/>
                  </a:lnTo>
                  <a:lnTo>
                    <a:pt x="1742476" y="1253586"/>
                  </a:lnTo>
                  <a:lnTo>
                    <a:pt x="1741987" y="1260102"/>
                  </a:lnTo>
                  <a:lnTo>
                    <a:pt x="1741010" y="1267270"/>
                  </a:lnTo>
                  <a:lnTo>
                    <a:pt x="1744105" y="1275742"/>
                  </a:lnTo>
                  <a:lnTo>
                    <a:pt x="1743617" y="1283724"/>
                  </a:lnTo>
                  <a:lnTo>
                    <a:pt x="1741987" y="1287797"/>
                  </a:lnTo>
                  <a:lnTo>
                    <a:pt x="1744757" y="1292521"/>
                  </a:lnTo>
                  <a:lnTo>
                    <a:pt x="1743291" y="1294150"/>
                  </a:lnTo>
                  <a:lnTo>
                    <a:pt x="1738892" y="1293173"/>
                  </a:lnTo>
                  <a:lnTo>
                    <a:pt x="1736611" y="1289426"/>
                  </a:lnTo>
                  <a:lnTo>
                    <a:pt x="1732539" y="1289426"/>
                  </a:lnTo>
                  <a:lnTo>
                    <a:pt x="1735308" y="1298875"/>
                  </a:lnTo>
                  <a:lnTo>
                    <a:pt x="1734983" y="1304902"/>
                  </a:lnTo>
                  <a:lnTo>
                    <a:pt x="1736449" y="1306369"/>
                  </a:lnTo>
                  <a:lnTo>
                    <a:pt x="1736449" y="1309627"/>
                  </a:lnTo>
                  <a:lnTo>
                    <a:pt x="1731887" y="1309138"/>
                  </a:lnTo>
                  <a:lnTo>
                    <a:pt x="1729118" y="1306043"/>
                  </a:lnTo>
                  <a:lnTo>
                    <a:pt x="1727326" y="1298060"/>
                  </a:lnTo>
                  <a:lnTo>
                    <a:pt x="1728955" y="1295616"/>
                  </a:lnTo>
                  <a:lnTo>
                    <a:pt x="1728955" y="1290566"/>
                  </a:lnTo>
                  <a:lnTo>
                    <a:pt x="1726674" y="1293336"/>
                  </a:lnTo>
                  <a:lnTo>
                    <a:pt x="1723253" y="1293824"/>
                  </a:lnTo>
                  <a:lnTo>
                    <a:pt x="1721298" y="1290892"/>
                  </a:lnTo>
                  <a:lnTo>
                    <a:pt x="1721298" y="1283561"/>
                  </a:lnTo>
                  <a:lnTo>
                    <a:pt x="1718529" y="1285190"/>
                  </a:lnTo>
                  <a:lnTo>
                    <a:pt x="1718203" y="1288937"/>
                  </a:lnTo>
                  <a:lnTo>
                    <a:pt x="1717062" y="1287308"/>
                  </a:lnTo>
                  <a:lnTo>
                    <a:pt x="1717062" y="1284213"/>
                  </a:lnTo>
                  <a:cubicBezTo>
                    <a:pt x="1717062" y="1284213"/>
                    <a:pt x="1715596" y="1279651"/>
                    <a:pt x="1715596" y="1279651"/>
                  </a:cubicBezTo>
                  <a:lnTo>
                    <a:pt x="1712501" y="1278837"/>
                  </a:lnTo>
                  <a:lnTo>
                    <a:pt x="1712501" y="1280792"/>
                  </a:lnTo>
                  <a:lnTo>
                    <a:pt x="1714293" y="1283235"/>
                  </a:lnTo>
                  <a:lnTo>
                    <a:pt x="1712827" y="1286168"/>
                  </a:lnTo>
                  <a:lnTo>
                    <a:pt x="1709732" y="1283887"/>
                  </a:lnTo>
                  <a:lnTo>
                    <a:pt x="1707288" y="1283073"/>
                  </a:lnTo>
                  <a:lnTo>
                    <a:pt x="1706799" y="1279000"/>
                  </a:lnTo>
                  <a:lnTo>
                    <a:pt x="1707288" y="1274601"/>
                  </a:lnTo>
                  <a:lnTo>
                    <a:pt x="1704518" y="1266782"/>
                  </a:lnTo>
                  <a:lnTo>
                    <a:pt x="1704518" y="1263686"/>
                  </a:lnTo>
                  <a:lnTo>
                    <a:pt x="1703215" y="1268085"/>
                  </a:lnTo>
                  <a:lnTo>
                    <a:pt x="1703541" y="1275579"/>
                  </a:lnTo>
                  <a:lnTo>
                    <a:pt x="1704844" y="1280303"/>
                  </a:lnTo>
                  <a:lnTo>
                    <a:pt x="1702075" y="1283235"/>
                  </a:lnTo>
                  <a:lnTo>
                    <a:pt x="1698654" y="1274927"/>
                  </a:lnTo>
                  <a:lnTo>
                    <a:pt x="1695233" y="1271506"/>
                  </a:lnTo>
                  <a:lnTo>
                    <a:pt x="1695233" y="1269062"/>
                  </a:lnTo>
                  <a:lnTo>
                    <a:pt x="1691811" y="1268411"/>
                  </a:lnTo>
                  <a:lnTo>
                    <a:pt x="1689368" y="1260428"/>
                  </a:lnTo>
                  <a:lnTo>
                    <a:pt x="1687087" y="1258473"/>
                  </a:lnTo>
                  <a:lnTo>
                    <a:pt x="1687087" y="1255867"/>
                  </a:lnTo>
                  <a:lnTo>
                    <a:pt x="1684806" y="1252120"/>
                  </a:lnTo>
                  <a:lnTo>
                    <a:pt x="1682200" y="1253586"/>
                  </a:lnTo>
                  <a:lnTo>
                    <a:pt x="1681874" y="1255867"/>
                  </a:lnTo>
                  <a:lnTo>
                    <a:pt x="1684318" y="1261731"/>
                  </a:lnTo>
                  <a:lnTo>
                    <a:pt x="1684644" y="1265804"/>
                  </a:lnTo>
                  <a:lnTo>
                    <a:pt x="1682363" y="1263523"/>
                  </a:lnTo>
                  <a:lnTo>
                    <a:pt x="1682037" y="1260265"/>
                  </a:lnTo>
                  <a:lnTo>
                    <a:pt x="1679430" y="1257984"/>
                  </a:lnTo>
                  <a:lnTo>
                    <a:pt x="1673729" y="1255215"/>
                  </a:lnTo>
                  <a:lnTo>
                    <a:pt x="1670470" y="1248699"/>
                  </a:lnTo>
                  <a:lnTo>
                    <a:pt x="1670145" y="1243974"/>
                  </a:lnTo>
                  <a:lnTo>
                    <a:pt x="1665094" y="1242834"/>
                  </a:lnTo>
                  <a:lnTo>
                    <a:pt x="1663140" y="1246092"/>
                  </a:lnTo>
                  <a:lnTo>
                    <a:pt x="1659881" y="1244300"/>
                  </a:lnTo>
                  <a:lnTo>
                    <a:pt x="1659393" y="1248536"/>
                  </a:lnTo>
                  <a:lnTo>
                    <a:pt x="1660696" y="1254726"/>
                  </a:lnTo>
                  <a:lnTo>
                    <a:pt x="1667701" y="1260591"/>
                  </a:lnTo>
                  <a:lnTo>
                    <a:pt x="1667701" y="1263035"/>
                  </a:lnTo>
                  <a:cubicBezTo>
                    <a:pt x="1667701" y="1263035"/>
                    <a:pt x="1668516" y="1266456"/>
                    <a:pt x="1668516" y="1266456"/>
                  </a:cubicBezTo>
                  <a:lnTo>
                    <a:pt x="1669004" y="1272483"/>
                  </a:lnTo>
                  <a:lnTo>
                    <a:pt x="1670959" y="1272157"/>
                  </a:lnTo>
                  <a:lnTo>
                    <a:pt x="1676824" y="1273298"/>
                  </a:lnTo>
                  <a:lnTo>
                    <a:pt x="1679919" y="1277534"/>
                  </a:lnTo>
                  <a:lnTo>
                    <a:pt x="1678616" y="1280303"/>
                  </a:lnTo>
                  <a:lnTo>
                    <a:pt x="1680897" y="1279977"/>
                  </a:lnTo>
                  <a:lnTo>
                    <a:pt x="1684155" y="1280792"/>
                  </a:lnTo>
                  <a:lnTo>
                    <a:pt x="1681385" y="1284539"/>
                  </a:lnTo>
                  <a:lnTo>
                    <a:pt x="1685947" y="1284539"/>
                  </a:lnTo>
                  <a:cubicBezTo>
                    <a:pt x="1685947" y="1284539"/>
                    <a:pt x="1687576" y="1287960"/>
                    <a:pt x="1687576" y="1287960"/>
                  </a:cubicBezTo>
                  <a:lnTo>
                    <a:pt x="1690183" y="1292684"/>
                  </a:lnTo>
                  <a:lnTo>
                    <a:pt x="1689205" y="1296920"/>
                  </a:lnTo>
                  <a:lnTo>
                    <a:pt x="1693278" y="1296431"/>
                  </a:lnTo>
                  <a:lnTo>
                    <a:pt x="1695884" y="1297571"/>
                  </a:lnTo>
                  <a:lnTo>
                    <a:pt x="1697025" y="1303273"/>
                  </a:lnTo>
                  <a:lnTo>
                    <a:pt x="1692952" y="1307835"/>
                  </a:lnTo>
                  <a:lnTo>
                    <a:pt x="1695559" y="1307835"/>
                  </a:lnTo>
                  <a:cubicBezTo>
                    <a:pt x="1695559" y="1307835"/>
                    <a:pt x="1696862" y="1310930"/>
                    <a:pt x="1696862" y="1310930"/>
                  </a:cubicBezTo>
                  <a:lnTo>
                    <a:pt x="1696862" y="1313374"/>
                  </a:lnTo>
                  <a:cubicBezTo>
                    <a:pt x="1696862" y="1313374"/>
                    <a:pt x="1701260" y="1309138"/>
                    <a:pt x="1701260" y="1309138"/>
                  </a:cubicBezTo>
                  <a:lnTo>
                    <a:pt x="1702401" y="1310278"/>
                  </a:lnTo>
                  <a:lnTo>
                    <a:pt x="1701749" y="1315654"/>
                  </a:lnTo>
                  <a:lnTo>
                    <a:pt x="1703215" y="1317609"/>
                  </a:lnTo>
                  <a:lnTo>
                    <a:pt x="1705170" y="1316469"/>
                  </a:lnTo>
                  <a:lnTo>
                    <a:pt x="1706636" y="1319401"/>
                  </a:lnTo>
                  <a:lnTo>
                    <a:pt x="1705170" y="1322496"/>
                  </a:lnTo>
                  <a:lnTo>
                    <a:pt x="1701423" y="1321519"/>
                  </a:lnTo>
                  <a:lnTo>
                    <a:pt x="1699468" y="1323800"/>
                  </a:lnTo>
                  <a:lnTo>
                    <a:pt x="1701423" y="1327058"/>
                  </a:lnTo>
                  <a:lnTo>
                    <a:pt x="1704518" y="1330642"/>
                  </a:lnTo>
                  <a:lnTo>
                    <a:pt x="1704518" y="1333574"/>
                  </a:lnTo>
                  <a:cubicBezTo>
                    <a:pt x="1704518" y="1333574"/>
                    <a:pt x="1703215" y="1334878"/>
                    <a:pt x="1703215" y="1334878"/>
                  </a:cubicBezTo>
                  <a:lnTo>
                    <a:pt x="1703215" y="1334878"/>
                  </a:lnTo>
                  <a:close/>
                  <a:moveTo>
                    <a:pt x="1274764" y="1206994"/>
                  </a:moveTo>
                  <a:cubicBezTo>
                    <a:pt x="1274764" y="1206994"/>
                    <a:pt x="1277045" y="1206994"/>
                    <a:pt x="1277045" y="1206994"/>
                  </a:cubicBezTo>
                  <a:lnTo>
                    <a:pt x="1278022" y="1202595"/>
                  </a:lnTo>
                  <a:lnTo>
                    <a:pt x="1280466" y="1201618"/>
                  </a:lnTo>
                  <a:lnTo>
                    <a:pt x="1282258" y="1202921"/>
                  </a:lnTo>
                  <a:lnTo>
                    <a:pt x="1285516" y="1204713"/>
                  </a:lnTo>
                  <a:lnTo>
                    <a:pt x="1289426" y="1204713"/>
                  </a:lnTo>
                  <a:lnTo>
                    <a:pt x="1291381" y="1203573"/>
                  </a:lnTo>
                  <a:lnTo>
                    <a:pt x="1293825" y="1203573"/>
                  </a:lnTo>
                  <a:cubicBezTo>
                    <a:pt x="1293825" y="1203573"/>
                    <a:pt x="1296594" y="1205528"/>
                    <a:pt x="1296594" y="1205528"/>
                  </a:cubicBezTo>
                  <a:lnTo>
                    <a:pt x="1297409" y="1208460"/>
                  </a:lnTo>
                  <a:lnTo>
                    <a:pt x="1293662" y="1213510"/>
                  </a:lnTo>
                  <a:lnTo>
                    <a:pt x="1294476" y="1217583"/>
                  </a:lnTo>
                  <a:lnTo>
                    <a:pt x="1291544" y="1221656"/>
                  </a:lnTo>
                  <a:lnTo>
                    <a:pt x="1291544" y="1228498"/>
                  </a:lnTo>
                  <a:cubicBezTo>
                    <a:pt x="1291544" y="1228498"/>
                    <a:pt x="1292684" y="1230453"/>
                    <a:pt x="1292684" y="1230453"/>
                  </a:cubicBezTo>
                  <a:lnTo>
                    <a:pt x="1295454" y="1228987"/>
                  </a:lnTo>
                  <a:lnTo>
                    <a:pt x="1297245" y="1230453"/>
                  </a:lnTo>
                  <a:lnTo>
                    <a:pt x="1300993" y="1230453"/>
                  </a:lnTo>
                  <a:cubicBezTo>
                    <a:pt x="1300993" y="1230453"/>
                    <a:pt x="1303762" y="1228824"/>
                    <a:pt x="1303762" y="1228824"/>
                  </a:cubicBezTo>
                  <a:lnTo>
                    <a:pt x="1307835" y="1228824"/>
                  </a:lnTo>
                  <a:cubicBezTo>
                    <a:pt x="1307835" y="1228824"/>
                    <a:pt x="1308975" y="1226869"/>
                    <a:pt x="1308975" y="1226869"/>
                  </a:cubicBezTo>
                  <a:lnTo>
                    <a:pt x="1312722" y="1224751"/>
                  </a:lnTo>
                  <a:lnTo>
                    <a:pt x="1316306" y="1224751"/>
                  </a:lnTo>
                  <a:cubicBezTo>
                    <a:pt x="1316306" y="1224751"/>
                    <a:pt x="1320542" y="1221004"/>
                    <a:pt x="1320542" y="1221004"/>
                  </a:cubicBezTo>
                  <a:lnTo>
                    <a:pt x="1321845" y="1215628"/>
                  </a:lnTo>
                  <a:lnTo>
                    <a:pt x="1325103" y="1212696"/>
                  </a:lnTo>
                  <a:lnTo>
                    <a:pt x="1327547" y="1208786"/>
                  </a:lnTo>
                  <a:lnTo>
                    <a:pt x="1329827" y="1208786"/>
                  </a:lnTo>
                  <a:cubicBezTo>
                    <a:pt x="1329827" y="1208786"/>
                    <a:pt x="1332108" y="1210904"/>
                    <a:pt x="1332108" y="1210904"/>
                  </a:cubicBezTo>
                  <a:lnTo>
                    <a:pt x="1335855" y="1208297"/>
                  </a:lnTo>
                  <a:lnTo>
                    <a:pt x="1338299" y="1206668"/>
                  </a:lnTo>
                  <a:lnTo>
                    <a:pt x="1341394" y="1207157"/>
                  </a:lnTo>
                  <a:lnTo>
                    <a:pt x="1343186" y="1200640"/>
                  </a:lnTo>
                  <a:lnTo>
                    <a:pt x="1342697" y="1194450"/>
                  </a:lnTo>
                  <a:lnTo>
                    <a:pt x="1347096" y="1191518"/>
                  </a:lnTo>
                  <a:lnTo>
                    <a:pt x="1348725" y="1188259"/>
                  </a:lnTo>
                  <a:lnTo>
                    <a:pt x="1351820" y="1188259"/>
                  </a:lnTo>
                  <a:cubicBezTo>
                    <a:pt x="1351820" y="1188259"/>
                    <a:pt x="1354101" y="1190214"/>
                    <a:pt x="1354101" y="1190214"/>
                  </a:cubicBezTo>
                  <a:lnTo>
                    <a:pt x="1356545" y="1187608"/>
                  </a:lnTo>
                  <a:lnTo>
                    <a:pt x="1359477" y="1186467"/>
                  </a:lnTo>
                  <a:lnTo>
                    <a:pt x="1361920" y="1187771"/>
                  </a:lnTo>
                  <a:lnTo>
                    <a:pt x="1362572" y="1191843"/>
                  </a:lnTo>
                  <a:lnTo>
                    <a:pt x="1359314" y="1194613"/>
                  </a:lnTo>
                  <a:lnTo>
                    <a:pt x="1357196" y="1197382"/>
                  </a:lnTo>
                  <a:lnTo>
                    <a:pt x="1361106" y="1199826"/>
                  </a:lnTo>
                  <a:lnTo>
                    <a:pt x="1368274" y="1199826"/>
                  </a:lnTo>
                  <a:lnTo>
                    <a:pt x="1371695" y="1201129"/>
                  </a:lnTo>
                  <a:lnTo>
                    <a:pt x="1372836" y="1204713"/>
                  </a:lnTo>
                  <a:lnTo>
                    <a:pt x="1369740" y="1209438"/>
                  </a:lnTo>
                  <a:lnTo>
                    <a:pt x="1366645" y="1210415"/>
                  </a:lnTo>
                  <a:lnTo>
                    <a:pt x="1366319" y="1216443"/>
                  </a:lnTo>
                  <a:lnTo>
                    <a:pt x="1369414" y="1217909"/>
                  </a:lnTo>
                  <a:lnTo>
                    <a:pt x="1371369" y="1216606"/>
                  </a:lnTo>
                  <a:lnTo>
                    <a:pt x="1374790" y="1216606"/>
                  </a:lnTo>
                  <a:cubicBezTo>
                    <a:pt x="1374790" y="1216606"/>
                    <a:pt x="1376419" y="1218235"/>
                    <a:pt x="1376419" y="1218235"/>
                  </a:cubicBezTo>
                  <a:lnTo>
                    <a:pt x="1379515" y="1217583"/>
                  </a:lnTo>
                  <a:lnTo>
                    <a:pt x="1380981" y="1220678"/>
                  </a:lnTo>
                  <a:lnTo>
                    <a:pt x="1385542" y="1221004"/>
                  </a:lnTo>
                  <a:lnTo>
                    <a:pt x="1388312" y="1223611"/>
                  </a:lnTo>
                  <a:lnTo>
                    <a:pt x="1391244" y="1223611"/>
                  </a:lnTo>
                  <a:lnTo>
                    <a:pt x="1397435" y="1227357"/>
                  </a:lnTo>
                  <a:lnTo>
                    <a:pt x="1399715" y="1225891"/>
                  </a:lnTo>
                  <a:lnTo>
                    <a:pt x="1402485" y="1220027"/>
                  </a:lnTo>
                  <a:lnTo>
                    <a:pt x="1405417" y="1219049"/>
                  </a:lnTo>
                  <a:lnTo>
                    <a:pt x="1409327" y="1214976"/>
                  </a:lnTo>
                  <a:lnTo>
                    <a:pt x="1413563" y="1214976"/>
                  </a:lnTo>
                  <a:cubicBezTo>
                    <a:pt x="1413563" y="1214976"/>
                    <a:pt x="1414540" y="1212370"/>
                    <a:pt x="1414540" y="1212370"/>
                  </a:cubicBezTo>
                  <a:lnTo>
                    <a:pt x="1411445" y="1210904"/>
                  </a:lnTo>
                  <a:lnTo>
                    <a:pt x="1409001" y="1207808"/>
                  </a:lnTo>
                  <a:lnTo>
                    <a:pt x="1412096" y="1206831"/>
                  </a:lnTo>
                  <a:lnTo>
                    <a:pt x="1413726" y="1203899"/>
                  </a:lnTo>
                  <a:lnTo>
                    <a:pt x="1410630" y="1202595"/>
                  </a:lnTo>
                  <a:lnTo>
                    <a:pt x="1408676" y="1198686"/>
                  </a:lnTo>
                  <a:lnTo>
                    <a:pt x="1406884" y="1199500"/>
                  </a:lnTo>
                  <a:lnTo>
                    <a:pt x="1406884" y="1202595"/>
                  </a:lnTo>
                  <a:cubicBezTo>
                    <a:pt x="1406884" y="1202595"/>
                    <a:pt x="1405091" y="1204062"/>
                    <a:pt x="1405091" y="1204062"/>
                  </a:cubicBezTo>
                  <a:lnTo>
                    <a:pt x="1403136" y="1202758"/>
                  </a:lnTo>
                  <a:lnTo>
                    <a:pt x="1398738" y="1200803"/>
                  </a:lnTo>
                  <a:lnTo>
                    <a:pt x="1398412" y="1197545"/>
                  </a:lnTo>
                  <a:lnTo>
                    <a:pt x="1396620" y="1198360"/>
                  </a:lnTo>
                  <a:lnTo>
                    <a:pt x="1393362" y="1201944"/>
                  </a:lnTo>
                  <a:lnTo>
                    <a:pt x="1385542" y="1201618"/>
                  </a:lnTo>
                  <a:lnTo>
                    <a:pt x="1382284" y="1198848"/>
                  </a:lnTo>
                  <a:lnTo>
                    <a:pt x="1386683" y="1196242"/>
                  </a:lnTo>
                  <a:lnTo>
                    <a:pt x="1389941" y="1196242"/>
                  </a:lnTo>
                  <a:cubicBezTo>
                    <a:pt x="1389941" y="1196242"/>
                    <a:pt x="1393688" y="1193472"/>
                    <a:pt x="1393688" y="1193472"/>
                  </a:cubicBezTo>
                  <a:lnTo>
                    <a:pt x="1393688" y="1189888"/>
                  </a:lnTo>
                  <a:cubicBezTo>
                    <a:pt x="1393688" y="1189888"/>
                    <a:pt x="1392222" y="1188422"/>
                    <a:pt x="1392222" y="1188422"/>
                  </a:cubicBezTo>
                  <a:lnTo>
                    <a:pt x="1391733" y="1182883"/>
                  </a:lnTo>
                  <a:lnTo>
                    <a:pt x="1393362" y="1179788"/>
                  </a:lnTo>
                  <a:lnTo>
                    <a:pt x="1393362" y="1177182"/>
                  </a:lnTo>
                  <a:lnTo>
                    <a:pt x="1390593" y="1174738"/>
                  </a:lnTo>
                  <a:lnTo>
                    <a:pt x="1390593" y="1171317"/>
                  </a:lnTo>
                  <a:lnTo>
                    <a:pt x="1383913" y="1163823"/>
                  </a:lnTo>
                  <a:lnTo>
                    <a:pt x="1377723" y="1161216"/>
                  </a:lnTo>
                  <a:lnTo>
                    <a:pt x="1377234" y="1158936"/>
                  </a:lnTo>
                  <a:lnTo>
                    <a:pt x="1375605" y="1153071"/>
                  </a:lnTo>
                  <a:lnTo>
                    <a:pt x="1372184" y="1153071"/>
                  </a:lnTo>
                  <a:lnTo>
                    <a:pt x="1370880" y="1149976"/>
                  </a:lnTo>
                  <a:lnTo>
                    <a:pt x="1371858" y="1144111"/>
                  </a:lnTo>
                  <a:lnTo>
                    <a:pt x="1370229" y="1140364"/>
                  </a:lnTo>
                  <a:lnTo>
                    <a:pt x="1364038" y="1140364"/>
                  </a:lnTo>
                  <a:cubicBezTo>
                    <a:pt x="1364038" y="1140364"/>
                    <a:pt x="1355730" y="1137106"/>
                    <a:pt x="1355730" y="1137106"/>
                  </a:cubicBezTo>
                  <a:lnTo>
                    <a:pt x="1353286" y="1132056"/>
                  </a:lnTo>
                  <a:lnTo>
                    <a:pt x="1355241" y="1129449"/>
                  </a:lnTo>
                  <a:lnTo>
                    <a:pt x="1355241" y="1126843"/>
                  </a:lnTo>
                  <a:cubicBezTo>
                    <a:pt x="1355241" y="1126843"/>
                    <a:pt x="1351494" y="1123910"/>
                    <a:pt x="1351494" y="1123910"/>
                  </a:cubicBezTo>
                  <a:lnTo>
                    <a:pt x="1350354" y="1120489"/>
                  </a:lnTo>
                  <a:lnTo>
                    <a:pt x="1348725" y="1120163"/>
                  </a:lnTo>
                  <a:lnTo>
                    <a:pt x="1344163" y="1125702"/>
                  </a:lnTo>
                  <a:lnTo>
                    <a:pt x="1343186" y="1130101"/>
                  </a:lnTo>
                  <a:lnTo>
                    <a:pt x="1340417" y="1132544"/>
                  </a:lnTo>
                  <a:lnTo>
                    <a:pt x="1338136" y="1130590"/>
                  </a:lnTo>
                  <a:lnTo>
                    <a:pt x="1338462" y="1124399"/>
                  </a:lnTo>
                  <a:lnTo>
                    <a:pt x="1336181" y="1119675"/>
                  </a:lnTo>
                  <a:lnTo>
                    <a:pt x="1336995" y="1116742"/>
                  </a:lnTo>
                  <a:lnTo>
                    <a:pt x="1339602" y="1117231"/>
                  </a:lnTo>
                  <a:lnTo>
                    <a:pt x="1343023" y="1117231"/>
                  </a:lnTo>
                  <a:lnTo>
                    <a:pt x="1341720" y="1113973"/>
                  </a:lnTo>
                  <a:lnTo>
                    <a:pt x="1342697" y="1109900"/>
                  </a:lnTo>
                  <a:lnTo>
                    <a:pt x="1341394" y="1105339"/>
                  </a:lnTo>
                  <a:lnTo>
                    <a:pt x="1336995" y="1106479"/>
                  </a:lnTo>
                  <a:lnTo>
                    <a:pt x="1336995" y="1103221"/>
                  </a:lnTo>
                  <a:cubicBezTo>
                    <a:pt x="1336995" y="1103221"/>
                    <a:pt x="1340905" y="1098496"/>
                    <a:pt x="1340905" y="1098496"/>
                  </a:cubicBezTo>
                  <a:lnTo>
                    <a:pt x="1338462" y="1097356"/>
                  </a:lnTo>
                  <a:lnTo>
                    <a:pt x="1328687" y="1101429"/>
                  </a:lnTo>
                  <a:lnTo>
                    <a:pt x="1323637" y="1105664"/>
                  </a:lnTo>
                  <a:lnTo>
                    <a:pt x="1319727" y="1115439"/>
                  </a:lnTo>
                  <a:lnTo>
                    <a:pt x="1315166" y="1122281"/>
                  </a:lnTo>
                  <a:lnTo>
                    <a:pt x="1315166" y="1126028"/>
                  </a:lnTo>
                  <a:cubicBezTo>
                    <a:pt x="1315166" y="1126028"/>
                    <a:pt x="1311907" y="1130264"/>
                    <a:pt x="1311907" y="1130264"/>
                  </a:cubicBezTo>
                  <a:lnTo>
                    <a:pt x="1311582" y="1133359"/>
                  </a:lnTo>
                  <a:lnTo>
                    <a:pt x="1306531" y="1141504"/>
                  </a:lnTo>
                  <a:lnTo>
                    <a:pt x="1308323" y="1144925"/>
                  </a:lnTo>
                  <a:lnTo>
                    <a:pt x="1305554" y="1146392"/>
                  </a:lnTo>
                  <a:lnTo>
                    <a:pt x="1304251" y="1150953"/>
                  </a:lnTo>
                  <a:lnTo>
                    <a:pt x="1303925" y="1155026"/>
                  </a:lnTo>
                  <a:lnTo>
                    <a:pt x="1297409" y="1160728"/>
                  </a:lnTo>
                  <a:lnTo>
                    <a:pt x="1295128" y="1164963"/>
                  </a:lnTo>
                  <a:lnTo>
                    <a:pt x="1295128" y="1171968"/>
                  </a:lnTo>
                  <a:lnTo>
                    <a:pt x="1293825" y="1174738"/>
                  </a:lnTo>
                  <a:lnTo>
                    <a:pt x="1293825" y="1182069"/>
                  </a:lnTo>
                  <a:cubicBezTo>
                    <a:pt x="1293825" y="1182069"/>
                    <a:pt x="1291055" y="1185164"/>
                    <a:pt x="1291055" y="1185164"/>
                  </a:cubicBezTo>
                  <a:lnTo>
                    <a:pt x="1284864" y="1185653"/>
                  </a:lnTo>
                  <a:lnTo>
                    <a:pt x="1276556" y="1188911"/>
                  </a:lnTo>
                  <a:lnTo>
                    <a:pt x="1276556" y="1193472"/>
                  </a:lnTo>
                  <a:lnTo>
                    <a:pt x="1273950" y="1202107"/>
                  </a:lnTo>
                  <a:lnTo>
                    <a:pt x="1274927" y="1207483"/>
                  </a:lnTo>
                  <a:lnTo>
                    <a:pt x="1274927" y="1207483"/>
                  </a:lnTo>
                  <a:close/>
                  <a:moveTo>
                    <a:pt x="1316306" y="1281443"/>
                  </a:moveTo>
                  <a:cubicBezTo>
                    <a:pt x="1316306" y="1281443"/>
                    <a:pt x="1317446" y="1282910"/>
                    <a:pt x="1317446" y="1282910"/>
                  </a:cubicBezTo>
                  <a:lnTo>
                    <a:pt x="1319401" y="1281932"/>
                  </a:lnTo>
                  <a:lnTo>
                    <a:pt x="1323800" y="1276393"/>
                  </a:lnTo>
                  <a:lnTo>
                    <a:pt x="1327058" y="1275904"/>
                  </a:lnTo>
                  <a:lnTo>
                    <a:pt x="1329502" y="1276556"/>
                  </a:lnTo>
                  <a:lnTo>
                    <a:pt x="1330316" y="1279326"/>
                  </a:lnTo>
                  <a:lnTo>
                    <a:pt x="1334063" y="1279326"/>
                  </a:lnTo>
                  <a:cubicBezTo>
                    <a:pt x="1334063" y="1279326"/>
                    <a:pt x="1341068" y="1273624"/>
                    <a:pt x="1341068" y="1273624"/>
                  </a:cubicBezTo>
                  <a:lnTo>
                    <a:pt x="1344815" y="1272483"/>
                  </a:lnTo>
                  <a:lnTo>
                    <a:pt x="1349214" y="1269551"/>
                  </a:lnTo>
                  <a:lnTo>
                    <a:pt x="1353286" y="1263523"/>
                  </a:lnTo>
                  <a:lnTo>
                    <a:pt x="1357522" y="1263523"/>
                  </a:lnTo>
                  <a:lnTo>
                    <a:pt x="1363387" y="1259288"/>
                  </a:lnTo>
                  <a:lnTo>
                    <a:pt x="1363387" y="1255867"/>
                  </a:lnTo>
                  <a:cubicBezTo>
                    <a:pt x="1363387" y="1255867"/>
                    <a:pt x="1367622" y="1251142"/>
                    <a:pt x="1367622" y="1251142"/>
                  </a:cubicBezTo>
                  <a:lnTo>
                    <a:pt x="1365830" y="1249676"/>
                  </a:lnTo>
                  <a:lnTo>
                    <a:pt x="1361269" y="1249676"/>
                  </a:lnTo>
                  <a:cubicBezTo>
                    <a:pt x="1361269" y="1249676"/>
                    <a:pt x="1358988" y="1248373"/>
                    <a:pt x="1358988" y="1248373"/>
                  </a:cubicBezTo>
                  <a:lnTo>
                    <a:pt x="1355567" y="1248373"/>
                  </a:lnTo>
                  <a:cubicBezTo>
                    <a:pt x="1355567" y="1248373"/>
                    <a:pt x="1351657" y="1250165"/>
                    <a:pt x="1351657" y="1250165"/>
                  </a:cubicBezTo>
                  <a:lnTo>
                    <a:pt x="1349702" y="1248699"/>
                  </a:lnTo>
                  <a:lnTo>
                    <a:pt x="1347096" y="1249676"/>
                  </a:lnTo>
                  <a:lnTo>
                    <a:pt x="1344001" y="1253423"/>
                  </a:lnTo>
                  <a:lnTo>
                    <a:pt x="1339928" y="1251468"/>
                  </a:lnTo>
                  <a:lnTo>
                    <a:pt x="1338462" y="1246907"/>
                  </a:lnTo>
                  <a:lnTo>
                    <a:pt x="1336670" y="1248047"/>
                  </a:lnTo>
                  <a:lnTo>
                    <a:pt x="1332108" y="1249350"/>
                  </a:lnTo>
                  <a:lnTo>
                    <a:pt x="1326732" y="1256030"/>
                  </a:lnTo>
                  <a:lnTo>
                    <a:pt x="1326406" y="1258473"/>
                  </a:lnTo>
                  <a:lnTo>
                    <a:pt x="1324452" y="1261080"/>
                  </a:lnTo>
                  <a:lnTo>
                    <a:pt x="1315491" y="1263523"/>
                  </a:lnTo>
                  <a:lnTo>
                    <a:pt x="1314514" y="1266619"/>
                  </a:lnTo>
                  <a:lnTo>
                    <a:pt x="1316795" y="1268574"/>
                  </a:lnTo>
                  <a:lnTo>
                    <a:pt x="1318261" y="1273624"/>
                  </a:lnTo>
                  <a:lnTo>
                    <a:pt x="1316795" y="1277371"/>
                  </a:lnTo>
                  <a:lnTo>
                    <a:pt x="1316795" y="1281932"/>
                  </a:lnTo>
                  <a:lnTo>
                    <a:pt x="1316795" y="1281932"/>
                  </a:lnTo>
                  <a:close/>
                  <a:moveTo>
                    <a:pt x="1728792" y="1314677"/>
                  </a:moveTo>
                  <a:lnTo>
                    <a:pt x="1729932" y="1315654"/>
                  </a:lnTo>
                  <a:lnTo>
                    <a:pt x="1733842" y="1315654"/>
                  </a:lnTo>
                  <a:cubicBezTo>
                    <a:pt x="1733842" y="1315654"/>
                    <a:pt x="1738241" y="1320053"/>
                    <a:pt x="1738241" y="1320053"/>
                  </a:cubicBezTo>
                  <a:lnTo>
                    <a:pt x="1740521" y="1318587"/>
                  </a:lnTo>
                  <a:lnTo>
                    <a:pt x="1741336" y="1315166"/>
                  </a:lnTo>
                  <a:lnTo>
                    <a:pt x="1742639" y="1313211"/>
                  </a:lnTo>
                  <a:lnTo>
                    <a:pt x="1742965" y="1310767"/>
                  </a:lnTo>
                  <a:lnTo>
                    <a:pt x="1740195" y="1309790"/>
                  </a:lnTo>
                  <a:lnTo>
                    <a:pt x="1736775" y="1311419"/>
                  </a:lnTo>
                  <a:lnTo>
                    <a:pt x="1732213" y="1312559"/>
                  </a:lnTo>
                  <a:lnTo>
                    <a:pt x="1728629" y="1314840"/>
                  </a:lnTo>
                  <a:lnTo>
                    <a:pt x="1728629" y="1314840"/>
                  </a:lnTo>
                  <a:close/>
                  <a:moveTo>
                    <a:pt x="1599931" y="1280303"/>
                  </a:moveTo>
                  <a:lnTo>
                    <a:pt x="1601071" y="1281769"/>
                  </a:lnTo>
                  <a:lnTo>
                    <a:pt x="1606284" y="1283398"/>
                  </a:lnTo>
                  <a:lnTo>
                    <a:pt x="1607099" y="1286005"/>
                  </a:lnTo>
                  <a:lnTo>
                    <a:pt x="1606773" y="1287471"/>
                  </a:lnTo>
                  <a:lnTo>
                    <a:pt x="1607262" y="1290729"/>
                  </a:lnTo>
                  <a:lnTo>
                    <a:pt x="1610357" y="1292358"/>
                  </a:lnTo>
                  <a:lnTo>
                    <a:pt x="1612312" y="1293824"/>
                  </a:lnTo>
                  <a:lnTo>
                    <a:pt x="1615407" y="1293499"/>
                  </a:lnTo>
                  <a:lnTo>
                    <a:pt x="1616385" y="1292032"/>
                  </a:lnTo>
                  <a:lnTo>
                    <a:pt x="1617362" y="1291544"/>
                  </a:lnTo>
                  <a:lnTo>
                    <a:pt x="1617362" y="1288448"/>
                  </a:lnTo>
                  <a:cubicBezTo>
                    <a:pt x="1617362" y="1288448"/>
                    <a:pt x="1614104" y="1285516"/>
                    <a:pt x="1614104" y="1285516"/>
                  </a:cubicBezTo>
                  <a:lnTo>
                    <a:pt x="1610846" y="1283887"/>
                  </a:lnTo>
                  <a:lnTo>
                    <a:pt x="1609705" y="1282747"/>
                  </a:lnTo>
                  <a:lnTo>
                    <a:pt x="1605144" y="1280140"/>
                  </a:lnTo>
                  <a:lnTo>
                    <a:pt x="1601723" y="1280140"/>
                  </a:lnTo>
                  <a:cubicBezTo>
                    <a:pt x="1601723" y="1280140"/>
                    <a:pt x="1600257" y="1280140"/>
                    <a:pt x="1600257" y="1280140"/>
                  </a:cubicBezTo>
                  <a:lnTo>
                    <a:pt x="1600257" y="1280140"/>
                  </a:lnTo>
                  <a:close/>
                  <a:moveTo>
                    <a:pt x="1723742" y="1347422"/>
                  </a:moveTo>
                  <a:lnTo>
                    <a:pt x="1719017" y="1343838"/>
                  </a:lnTo>
                  <a:lnTo>
                    <a:pt x="1719017" y="1340742"/>
                  </a:lnTo>
                  <a:lnTo>
                    <a:pt x="1716900" y="1338950"/>
                  </a:lnTo>
                  <a:lnTo>
                    <a:pt x="1716900" y="1336507"/>
                  </a:lnTo>
                  <a:lnTo>
                    <a:pt x="1719180" y="1334552"/>
                  </a:lnTo>
                  <a:lnTo>
                    <a:pt x="1721461" y="1337810"/>
                  </a:lnTo>
                  <a:lnTo>
                    <a:pt x="1722276" y="1340091"/>
                  </a:lnTo>
                  <a:lnTo>
                    <a:pt x="1724556" y="1343023"/>
                  </a:lnTo>
                  <a:lnTo>
                    <a:pt x="1725045" y="1346770"/>
                  </a:lnTo>
                  <a:lnTo>
                    <a:pt x="1723905" y="1347585"/>
                  </a:lnTo>
                  <a:lnTo>
                    <a:pt x="1723905" y="1347585"/>
                  </a:lnTo>
                  <a:close/>
                  <a:moveTo>
                    <a:pt x="1718854" y="1362898"/>
                  </a:moveTo>
                  <a:lnTo>
                    <a:pt x="1717062" y="1361106"/>
                  </a:lnTo>
                  <a:lnTo>
                    <a:pt x="1716737" y="1358174"/>
                  </a:lnTo>
                  <a:lnTo>
                    <a:pt x="1714293" y="1356382"/>
                  </a:lnTo>
                  <a:lnTo>
                    <a:pt x="1711686" y="1355893"/>
                  </a:lnTo>
                  <a:lnTo>
                    <a:pt x="1708591" y="1352146"/>
                  </a:lnTo>
                  <a:lnTo>
                    <a:pt x="1708591" y="1349377"/>
                  </a:lnTo>
                  <a:lnTo>
                    <a:pt x="1710709" y="1348888"/>
                  </a:lnTo>
                  <a:lnTo>
                    <a:pt x="1713153" y="1347422"/>
                  </a:lnTo>
                  <a:lnTo>
                    <a:pt x="1720646" y="1348562"/>
                  </a:lnTo>
                  <a:lnTo>
                    <a:pt x="1725534" y="1351494"/>
                  </a:lnTo>
                  <a:lnTo>
                    <a:pt x="1725860" y="1353449"/>
                  </a:lnTo>
                  <a:lnTo>
                    <a:pt x="1723416" y="1355241"/>
                  </a:lnTo>
                  <a:lnTo>
                    <a:pt x="1722927" y="1358174"/>
                  </a:lnTo>
                  <a:lnTo>
                    <a:pt x="1721135" y="1359803"/>
                  </a:lnTo>
                  <a:lnTo>
                    <a:pt x="1719995" y="1362409"/>
                  </a:lnTo>
                  <a:lnTo>
                    <a:pt x="1718854" y="1362735"/>
                  </a:lnTo>
                  <a:lnTo>
                    <a:pt x="1718854" y="1362735"/>
                  </a:lnTo>
                  <a:close/>
                  <a:moveTo>
                    <a:pt x="1591622" y="1439954"/>
                  </a:moveTo>
                  <a:lnTo>
                    <a:pt x="1590808" y="1442398"/>
                  </a:lnTo>
                  <a:lnTo>
                    <a:pt x="1592274" y="1441094"/>
                  </a:lnTo>
                  <a:lnTo>
                    <a:pt x="1591460" y="1439954"/>
                  </a:lnTo>
                  <a:lnTo>
                    <a:pt x="1591460" y="1439954"/>
                  </a:lnTo>
                  <a:close/>
                  <a:moveTo>
                    <a:pt x="1594392" y="1440769"/>
                  </a:moveTo>
                  <a:lnTo>
                    <a:pt x="1593252" y="1443375"/>
                  </a:lnTo>
                  <a:lnTo>
                    <a:pt x="1594555" y="1443375"/>
                  </a:lnTo>
                  <a:cubicBezTo>
                    <a:pt x="1594555" y="1443375"/>
                    <a:pt x="1594555" y="1440769"/>
                    <a:pt x="1594555" y="1440769"/>
                  </a:cubicBezTo>
                  <a:lnTo>
                    <a:pt x="1594555" y="1440769"/>
                  </a:lnTo>
                  <a:close/>
                  <a:moveTo>
                    <a:pt x="1597161" y="1439954"/>
                  </a:moveTo>
                  <a:lnTo>
                    <a:pt x="1595858" y="1442561"/>
                  </a:lnTo>
                  <a:lnTo>
                    <a:pt x="1596836" y="1446796"/>
                  </a:lnTo>
                  <a:lnTo>
                    <a:pt x="1596836" y="1448914"/>
                  </a:lnTo>
                  <a:cubicBezTo>
                    <a:pt x="1596836" y="1448914"/>
                    <a:pt x="1598302" y="1448425"/>
                    <a:pt x="1598302" y="1448425"/>
                  </a:cubicBezTo>
                  <a:lnTo>
                    <a:pt x="1598790" y="1444027"/>
                  </a:lnTo>
                  <a:lnTo>
                    <a:pt x="1597161" y="1439791"/>
                  </a:lnTo>
                  <a:lnTo>
                    <a:pt x="1597161" y="1439791"/>
                  </a:lnTo>
                  <a:close/>
                  <a:moveTo>
                    <a:pt x="1631046" y="1401833"/>
                  </a:moveTo>
                  <a:lnTo>
                    <a:pt x="1630232" y="1398738"/>
                  </a:lnTo>
                  <a:lnTo>
                    <a:pt x="1631861" y="1394502"/>
                  </a:lnTo>
                  <a:lnTo>
                    <a:pt x="1633979" y="1392059"/>
                  </a:lnTo>
                  <a:lnTo>
                    <a:pt x="1634305" y="1389778"/>
                  </a:lnTo>
                  <a:lnTo>
                    <a:pt x="1639518" y="1385379"/>
                  </a:lnTo>
                  <a:lnTo>
                    <a:pt x="1645382" y="1384728"/>
                  </a:lnTo>
                  <a:lnTo>
                    <a:pt x="1645871" y="1386520"/>
                  </a:lnTo>
                  <a:lnTo>
                    <a:pt x="1645382" y="1389126"/>
                  </a:lnTo>
                  <a:lnTo>
                    <a:pt x="1646686" y="1389941"/>
                  </a:lnTo>
                  <a:lnTo>
                    <a:pt x="1646686" y="1392222"/>
                  </a:lnTo>
                  <a:cubicBezTo>
                    <a:pt x="1646686" y="1392222"/>
                    <a:pt x="1642776" y="1394991"/>
                    <a:pt x="1642776" y="1394991"/>
                  </a:cubicBezTo>
                  <a:lnTo>
                    <a:pt x="1640984" y="1397761"/>
                  </a:lnTo>
                  <a:lnTo>
                    <a:pt x="1637726" y="1397761"/>
                  </a:lnTo>
                  <a:cubicBezTo>
                    <a:pt x="1637726" y="1397761"/>
                    <a:pt x="1633001" y="1401507"/>
                    <a:pt x="1633001" y="1401507"/>
                  </a:cubicBezTo>
                  <a:lnTo>
                    <a:pt x="1631046" y="1401507"/>
                  </a:lnTo>
                  <a:close/>
                  <a:moveTo>
                    <a:pt x="1519779" y="1275579"/>
                  </a:moveTo>
                  <a:lnTo>
                    <a:pt x="1523689" y="1278348"/>
                  </a:lnTo>
                  <a:lnTo>
                    <a:pt x="1527110" y="1281932"/>
                  </a:lnTo>
                  <a:lnTo>
                    <a:pt x="1530857" y="1282421"/>
                  </a:lnTo>
                  <a:lnTo>
                    <a:pt x="1535908" y="1284213"/>
                  </a:lnTo>
                  <a:lnTo>
                    <a:pt x="1534278" y="1282258"/>
                  </a:lnTo>
                  <a:lnTo>
                    <a:pt x="1530206" y="1280303"/>
                  </a:lnTo>
                  <a:lnTo>
                    <a:pt x="1524504" y="1275742"/>
                  </a:lnTo>
                  <a:lnTo>
                    <a:pt x="1521409" y="1275090"/>
                  </a:lnTo>
                  <a:lnTo>
                    <a:pt x="1519617" y="1275579"/>
                  </a:lnTo>
                  <a:lnTo>
                    <a:pt x="1519617" y="1275579"/>
                  </a:lnTo>
                  <a:close/>
                  <a:moveTo>
                    <a:pt x="1481333" y="1241042"/>
                  </a:moveTo>
                  <a:lnTo>
                    <a:pt x="1482473" y="1242182"/>
                  </a:lnTo>
                  <a:lnTo>
                    <a:pt x="1485406" y="1242182"/>
                  </a:lnTo>
                  <a:lnTo>
                    <a:pt x="1487198" y="1243811"/>
                  </a:lnTo>
                  <a:lnTo>
                    <a:pt x="1489478" y="1242671"/>
                  </a:lnTo>
                  <a:lnTo>
                    <a:pt x="1489967" y="1241042"/>
                  </a:lnTo>
                  <a:lnTo>
                    <a:pt x="1491596" y="1240553"/>
                  </a:lnTo>
                  <a:lnTo>
                    <a:pt x="1492085" y="1238110"/>
                  </a:lnTo>
                  <a:lnTo>
                    <a:pt x="1489315" y="1236318"/>
                  </a:lnTo>
                  <a:lnTo>
                    <a:pt x="1491596" y="1234688"/>
                  </a:lnTo>
                  <a:lnTo>
                    <a:pt x="1491596" y="1233385"/>
                  </a:lnTo>
                  <a:lnTo>
                    <a:pt x="1487361" y="1229801"/>
                  </a:lnTo>
                  <a:lnTo>
                    <a:pt x="1483614" y="1229475"/>
                  </a:lnTo>
                  <a:lnTo>
                    <a:pt x="1483125" y="1227846"/>
                  </a:lnTo>
                  <a:lnTo>
                    <a:pt x="1481822" y="1226380"/>
                  </a:lnTo>
                  <a:lnTo>
                    <a:pt x="1479378" y="1226706"/>
                  </a:lnTo>
                  <a:lnTo>
                    <a:pt x="1477097" y="1225240"/>
                  </a:lnTo>
                  <a:lnTo>
                    <a:pt x="1473676" y="1226380"/>
                  </a:lnTo>
                  <a:lnTo>
                    <a:pt x="1472536" y="1227683"/>
                  </a:lnTo>
                  <a:lnTo>
                    <a:pt x="1473676" y="1230779"/>
                  </a:lnTo>
                  <a:lnTo>
                    <a:pt x="1475142" y="1230779"/>
                  </a:lnTo>
                  <a:cubicBezTo>
                    <a:pt x="1475142" y="1230779"/>
                    <a:pt x="1477097" y="1232082"/>
                    <a:pt x="1477097" y="1232082"/>
                  </a:cubicBezTo>
                  <a:lnTo>
                    <a:pt x="1478563" y="1234688"/>
                  </a:lnTo>
                  <a:lnTo>
                    <a:pt x="1480844" y="1237295"/>
                  </a:lnTo>
                  <a:lnTo>
                    <a:pt x="1481170" y="1241042"/>
                  </a:lnTo>
                  <a:lnTo>
                    <a:pt x="1481170" y="1241042"/>
                  </a:lnTo>
                  <a:close/>
                  <a:moveTo>
                    <a:pt x="1454942" y="1253423"/>
                  </a:moveTo>
                  <a:lnTo>
                    <a:pt x="1458852" y="1252771"/>
                  </a:lnTo>
                  <a:lnTo>
                    <a:pt x="1461295" y="1251142"/>
                  </a:lnTo>
                  <a:lnTo>
                    <a:pt x="1464065" y="1250653"/>
                  </a:lnTo>
                  <a:lnTo>
                    <a:pt x="1466345" y="1249024"/>
                  </a:lnTo>
                  <a:lnTo>
                    <a:pt x="1466345" y="1246418"/>
                  </a:lnTo>
                  <a:cubicBezTo>
                    <a:pt x="1466345" y="1246418"/>
                    <a:pt x="1466671" y="1244626"/>
                    <a:pt x="1466671" y="1244626"/>
                  </a:cubicBezTo>
                  <a:lnTo>
                    <a:pt x="1466345" y="1238110"/>
                  </a:lnTo>
                  <a:lnTo>
                    <a:pt x="1463902" y="1236806"/>
                  </a:lnTo>
                  <a:lnTo>
                    <a:pt x="1458688" y="1236318"/>
                  </a:lnTo>
                  <a:lnTo>
                    <a:pt x="1456082" y="1233874"/>
                  </a:lnTo>
                  <a:lnTo>
                    <a:pt x="1452987" y="1230616"/>
                  </a:lnTo>
                  <a:lnTo>
                    <a:pt x="1451358" y="1232082"/>
                  </a:lnTo>
                  <a:lnTo>
                    <a:pt x="1446959" y="1232408"/>
                  </a:lnTo>
                  <a:lnTo>
                    <a:pt x="1444678" y="1231104"/>
                  </a:lnTo>
                  <a:lnTo>
                    <a:pt x="1443701" y="1233711"/>
                  </a:lnTo>
                  <a:lnTo>
                    <a:pt x="1444678" y="1238110"/>
                  </a:lnTo>
                  <a:lnTo>
                    <a:pt x="1448425" y="1241042"/>
                  </a:lnTo>
                  <a:lnTo>
                    <a:pt x="1450543" y="1246092"/>
                  </a:lnTo>
                  <a:lnTo>
                    <a:pt x="1452335" y="1247721"/>
                  </a:lnTo>
                  <a:lnTo>
                    <a:pt x="1453150" y="1251631"/>
                  </a:lnTo>
                  <a:lnTo>
                    <a:pt x="1455268" y="1253423"/>
                  </a:lnTo>
                  <a:lnTo>
                    <a:pt x="1455268" y="1253423"/>
                  </a:lnTo>
                  <a:close/>
                  <a:moveTo>
                    <a:pt x="1450706" y="1275579"/>
                  </a:moveTo>
                  <a:cubicBezTo>
                    <a:pt x="1450706" y="1275579"/>
                    <a:pt x="1451520" y="1273787"/>
                    <a:pt x="1451520" y="1273787"/>
                  </a:cubicBezTo>
                  <a:lnTo>
                    <a:pt x="1446145" y="1272646"/>
                  </a:lnTo>
                  <a:lnTo>
                    <a:pt x="1445004" y="1273298"/>
                  </a:lnTo>
                  <a:lnTo>
                    <a:pt x="1446307" y="1275090"/>
                  </a:lnTo>
                  <a:lnTo>
                    <a:pt x="1450706" y="1275416"/>
                  </a:lnTo>
                  <a:lnTo>
                    <a:pt x="1450706" y="1275416"/>
                  </a:lnTo>
                  <a:close/>
                  <a:moveTo>
                    <a:pt x="1393851" y="1314840"/>
                  </a:moveTo>
                  <a:lnTo>
                    <a:pt x="1395154" y="1314840"/>
                  </a:lnTo>
                  <a:cubicBezTo>
                    <a:pt x="1395154" y="1314840"/>
                    <a:pt x="1396457" y="1312885"/>
                    <a:pt x="1396457" y="1312885"/>
                  </a:cubicBezTo>
                  <a:lnTo>
                    <a:pt x="1397109" y="1310930"/>
                  </a:lnTo>
                  <a:lnTo>
                    <a:pt x="1398901" y="1308486"/>
                  </a:lnTo>
                  <a:lnTo>
                    <a:pt x="1399227" y="1306206"/>
                  </a:lnTo>
                  <a:lnTo>
                    <a:pt x="1398086" y="1305065"/>
                  </a:lnTo>
                  <a:lnTo>
                    <a:pt x="1398901" y="1302784"/>
                  </a:lnTo>
                  <a:lnTo>
                    <a:pt x="1403299" y="1299038"/>
                  </a:lnTo>
                  <a:lnTo>
                    <a:pt x="1406232" y="1294802"/>
                  </a:lnTo>
                  <a:lnTo>
                    <a:pt x="1408838" y="1294150"/>
                  </a:lnTo>
                  <a:lnTo>
                    <a:pt x="1409816" y="1293010"/>
                  </a:lnTo>
                  <a:lnTo>
                    <a:pt x="1409816" y="1291218"/>
                  </a:lnTo>
                  <a:cubicBezTo>
                    <a:pt x="1409816" y="1291218"/>
                    <a:pt x="1409164" y="1288286"/>
                    <a:pt x="1409164" y="1288286"/>
                  </a:cubicBezTo>
                  <a:lnTo>
                    <a:pt x="1411445" y="1285842"/>
                  </a:lnTo>
                  <a:lnTo>
                    <a:pt x="1413563" y="1282584"/>
                  </a:lnTo>
                  <a:lnTo>
                    <a:pt x="1412585" y="1279977"/>
                  </a:lnTo>
                  <a:lnTo>
                    <a:pt x="1412585" y="1276882"/>
                  </a:lnTo>
                  <a:cubicBezTo>
                    <a:pt x="1412585" y="1276882"/>
                    <a:pt x="1410956" y="1275253"/>
                    <a:pt x="1410956" y="1275253"/>
                  </a:cubicBezTo>
                  <a:lnTo>
                    <a:pt x="1408512" y="1276393"/>
                  </a:lnTo>
                  <a:lnTo>
                    <a:pt x="1406232" y="1276393"/>
                  </a:lnTo>
                  <a:lnTo>
                    <a:pt x="1403788" y="1273461"/>
                  </a:lnTo>
                  <a:lnTo>
                    <a:pt x="1401996" y="1272809"/>
                  </a:lnTo>
                  <a:lnTo>
                    <a:pt x="1400041" y="1275579"/>
                  </a:lnTo>
                  <a:lnTo>
                    <a:pt x="1395317" y="1280140"/>
                  </a:lnTo>
                  <a:lnTo>
                    <a:pt x="1393362" y="1280629"/>
                  </a:lnTo>
                  <a:lnTo>
                    <a:pt x="1390430" y="1283561"/>
                  </a:lnTo>
                  <a:lnTo>
                    <a:pt x="1389452" y="1288123"/>
                  </a:lnTo>
                  <a:lnTo>
                    <a:pt x="1390593" y="1291870"/>
                  </a:lnTo>
                  <a:lnTo>
                    <a:pt x="1387497" y="1293824"/>
                  </a:lnTo>
                  <a:lnTo>
                    <a:pt x="1386194" y="1296757"/>
                  </a:lnTo>
                  <a:lnTo>
                    <a:pt x="1386683" y="1301155"/>
                  </a:lnTo>
                  <a:lnTo>
                    <a:pt x="1384565" y="1304088"/>
                  </a:lnTo>
                  <a:lnTo>
                    <a:pt x="1385868" y="1305880"/>
                  </a:lnTo>
                  <a:lnTo>
                    <a:pt x="1389615" y="1306531"/>
                  </a:lnTo>
                  <a:lnTo>
                    <a:pt x="1390918" y="1309627"/>
                  </a:lnTo>
                  <a:lnTo>
                    <a:pt x="1392710" y="1310604"/>
                  </a:lnTo>
                  <a:lnTo>
                    <a:pt x="1393688" y="1314514"/>
                  </a:lnTo>
                  <a:lnTo>
                    <a:pt x="1393688" y="1314514"/>
                  </a:lnTo>
                  <a:close/>
                  <a:moveTo>
                    <a:pt x="1342534" y="1528739"/>
                  </a:moveTo>
                  <a:lnTo>
                    <a:pt x="1343675" y="1531020"/>
                  </a:lnTo>
                  <a:lnTo>
                    <a:pt x="1344815" y="1529880"/>
                  </a:lnTo>
                  <a:lnTo>
                    <a:pt x="1344001" y="1528414"/>
                  </a:lnTo>
                  <a:lnTo>
                    <a:pt x="1342371" y="1528739"/>
                  </a:lnTo>
                  <a:lnTo>
                    <a:pt x="1342371" y="1528739"/>
                  </a:lnTo>
                  <a:close/>
                  <a:moveTo>
                    <a:pt x="1345630" y="1550569"/>
                  </a:moveTo>
                  <a:lnTo>
                    <a:pt x="1348888" y="1546334"/>
                  </a:lnTo>
                  <a:lnTo>
                    <a:pt x="1350028" y="1542424"/>
                  </a:lnTo>
                  <a:lnTo>
                    <a:pt x="1351494" y="1542098"/>
                  </a:lnTo>
                  <a:lnTo>
                    <a:pt x="1351494" y="1548126"/>
                  </a:lnTo>
                  <a:cubicBezTo>
                    <a:pt x="1351494" y="1548126"/>
                    <a:pt x="1347585" y="1550895"/>
                    <a:pt x="1347585" y="1550895"/>
                  </a:cubicBezTo>
                  <a:cubicBezTo>
                    <a:pt x="1347585" y="1550895"/>
                    <a:pt x="1345630" y="1550895"/>
                    <a:pt x="1345630" y="1550732"/>
                  </a:cubicBezTo>
                  <a:lnTo>
                    <a:pt x="1345630" y="1550732"/>
                  </a:lnTo>
                  <a:close/>
                  <a:moveTo>
                    <a:pt x="1315654" y="1543890"/>
                  </a:moveTo>
                  <a:lnTo>
                    <a:pt x="1317935" y="1538677"/>
                  </a:lnTo>
                  <a:lnTo>
                    <a:pt x="1321356" y="1538677"/>
                  </a:lnTo>
                  <a:cubicBezTo>
                    <a:pt x="1321356" y="1538677"/>
                    <a:pt x="1322822" y="1537048"/>
                    <a:pt x="1322822" y="1537048"/>
                  </a:cubicBezTo>
                  <a:lnTo>
                    <a:pt x="1324614" y="1537048"/>
                  </a:lnTo>
                  <a:lnTo>
                    <a:pt x="1328198" y="1534767"/>
                  </a:lnTo>
                  <a:lnTo>
                    <a:pt x="1330479" y="1532975"/>
                  </a:lnTo>
                  <a:lnTo>
                    <a:pt x="1327384" y="1538840"/>
                  </a:lnTo>
                  <a:lnTo>
                    <a:pt x="1320867" y="1543238"/>
                  </a:lnTo>
                  <a:lnTo>
                    <a:pt x="1316795" y="1544705"/>
                  </a:lnTo>
                  <a:lnTo>
                    <a:pt x="1315491" y="1543727"/>
                  </a:lnTo>
                  <a:lnTo>
                    <a:pt x="1315491" y="1543727"/>
                  </a:lnTo>
                  <a:close/>
                  <a:moveTo>
                    <a:pt x="1336181" y="1553176"/>
                  </a:moveTo>
                  <a:lnTo>
                    <a:pt x="1342045" y="1545030"/>
                  </a:lnTo>
                  <a:lnTo>
                    <a:pt x="1343349" y="1541772"/>
                  </a:lnTo>
                  <a:lnTo>
                    <a:pt x="1345141" y="1541446"/>
                  </a:lnTo>
                  <a:lnTo>
                    <a:pt x="1344815" y="1544705"/>
                  </a:lnTo>
                  <a:lnTo>
                    <a:pt x="1338299" y="1552361"/>
                  </a:lnTo>
                  <a:lnTo>
                    <a:pt x="1336670" y="1556108"/>
                  </a:lnTo>
                  <a:lnTo>
                    <a:pt x="1339602" y="1554153"/>
                  </a:lnTo>
                  <a:lnTo>
                    <a:pt x="1345304" y="1547148"/>
                  </a:lnTo>
                  <a:lnTo>
                    <a:pt x="1347259" y="1545356"/>
                  </a:lnTo>
                  <a:lnTo>
                    <a:pt x="1348073" y="1539817"/>
                  </a:lnTo>
                  <a:lnTo>
                    <a:pt x="1346118" y="1537537"/>
                  </a:lnTo>
                  <a:lnTo>
                    <a:pt x="1344815" y="1537537"/>
                  </a:lnTo>
                  <a:lnTo>
                    <a:pt x="1344815" y="1533953"/>
                  </a:lnTo>
                  <a:lnTo>
                    <a:pt x="1341068" y="1531998"/>
                  </a:lnTo>
                  <a:lnTo>
                    <a:pt x="1339276" y="1534441"/>
                  </a:lnTo>
                  <a:lnTo>
                    <a:pt x="1336995" y="1541446"/>
                  </a:lnTo>
                  <a:lnTo>
                    <a:pt x="1333248" y="1545030"/>
                  </a:lnTo>
                  <a:lnTo>
                    <a:pt x="1329339" y="1547637"/>
                  </a:lnTo>
                  <a:lnTo>
                    <a:pt x="1330316" y="1544379"/>
                  </a:lnTo>
                  <a:lnTo>
                    <a:pt x="1334389" y="1540632"/>
                  </a:lnTo>
                  <a:lnTo>
                    <a:pt x="1335855" y="1536233"/>
                  </a:lnTo>
                  <a:lnTo>
                    <a:pt x="1334878" y="1534767"/>
                  </a:lnTo>
                  <a:lnTo>
                    <a:pt x="1331619" y="1537211"/>
                  </a:lnTo>
                  <a:lnTo>
                    <a:pt x="1328524" y="1543238"/>
                  </a:lnTo>
                  <a:lnTo>
                    <a:pt x="1322822" y="1548777"/>
                  </a:lnTo>
                  <a:lnTo>
                    <a:pt x="1322171" y="1551384"/>
                  </a:lnTo>
                  <a:lnTo>
                    <a:pt x="1318424" y="1555945"/>
                  </a:lnTo>
                  <a:lnTo>
                    <a:pt x="1319564" y="1559041"/>
                  </a:lnTo>
                  <a:lnTo>
                    <a:pt x="1321356" y="1558552"/>
                  </a:lnTo>
                  <a:lnTo>
                    <a:pt x="1326406" y="1551873"/>
                  </a:lnTo>
                  <a:lnTo>
                    <a:pt x="1329013" y="1551221"/>
                  </a:lnTo>
                  <a:lnTo>
                    <a:pt x="1327710" y="1554479"/>
                  </a:lnTo>
                  <a:lnTo>
                    <a:pt x="1324452" y="1559692"/>
                  </a:lnTo>
                  <a:lnTo>
                    <a:pt x="1326080" y="1560181"/>
                  </a:lnTo>
                  <a:lnTo>
                    <a:pt x="1329502" y="1558063"/>
                  </a:lnTo>
                  <a:lnTo>
                    <a:pt x="1332108" y="1558063"/>
                  </a:lnTo>
                  <a:cubicBezTo>
                    <a:pt x="1332108" y="1558063"/>
                    <a:pt x="1335855" y="1553176"/>
                    <a:pt x="1335855" y="1553339"/>
                  </a:cubicBezTo>
                  <a:lnTo>
                    <a:pt x="1335855" y="1553339"/>
                  </a:lnTo>
                  <a:close/>
                  <a:moveTo>
                    <a:pt x="1331456" y="1553502"/>
                  </a:moveTo>
                  <a:lnTo>
                    <a:pt x="1332271" y="1549755"/>
                  </a:lnTo>
                  <a:lnTo>
                    <a:pt x="1339113" y="1542750"/>
                  </a:lnTo>
                  <a:lnTo>
                    <a:pt x="1336181" y="1548777"/>
                  </a:lnTo>
                  <a:lnTo>
                    <a:pt x="1333086" y="1553013"/>
                  </a:lnTo>
                  <a:lnTo>
                    <a:pt x="1331456" y="1553502"/>
                  </a:lnTo>
                  <a:lnTo>
                    <a:pt x="1331456" y="1553502"/>
                  </a:lnTo>
                  <a:close/>
                  <a:moveTo>
                    <a:pt x="1676172" y="1903756"/>
                  </a:moveTo>
                  <a:lnTo>
                    <a:pt x="1674217" y="1903430"/>
                  </a:lnTo>
                  <a:lnTo>
                    <a:pt x="1673240" y="1901476"/>
                  </a:lnTo>
                  <a:lnTo>
                    <a:pt x="1675032" y="1900498"/>
                  </a:lnTo>
                  <a:lnTo>
                    <a:pt x="1676172" y="1897403"/>
                  </a:lnTo>
                  <a:lnTo>
                    <a:pt x="1680082" y="1894308"/>
                  </a:lnTo>
                  <a:lnTo>
                    <a:pt x="1680082" y="1894959"/>
                  </a:lnTo>
                  <a:cubicBezTo>
                    <a:pt x="1680082" y="1894959"/>
                    <a:pt x="1680571" y="1893656"/>
                    <a:pt x="1680571" y="1893656"/>
                  </a:cubicBezTo>
                  <a:lnTo>
                    <a:pt x="1679593" y="1893656"/>
                  </a:lnTo>
                  <a:cubicBezTo>
                    <a:pt x="1679593" y="1893656"/>
                    <a:pt x="1675195" y="1897240"/>
                    <a:pt x="1675195" y="1897240"/>
                  </a:cubicBezTo>
                  <a:lnTo>
                    <a:pt x="1672425" y="1901313"/>
                  </a:lnTo>
                  <a:lnTo>
                    <a:pt x="1673892" y="1903919"/>
                  </a:lnTo>
                  <a:lnTo>
                    <a:pt x="1675521" y="1904571"/>
                  </a:lnTo>
                  <a:lnTo>
                    <a:pt x="1676498" y="1903593"/>
                  </a:lnTo>
                  <a:lnTo>
                    <a:pt x="1676498" y="1903593"/>
                  </a:lnTo>
                  <a:close/>
                  <a:moveTo>
                    <a:pt x="1802264" y="1926564"/>
                  </a:moveTo>
                  <a:lnTo>
                    <a:pt x="1800961" y="1923631"/>
                  </a:lnTo>
                  <a:lnTo>
                    <a:pt x="1802101" y="1920210"/>
                  </a:lnTo>
                  <a:lnTo>
                    <a:pt x="1801286" y="1916300"/>
                  </a:lnTo>
                  <a:lnTo>
                    <a:pt x="1799820" y="1912879"/>
                  </a:lnTo>
                  <a:lnTo>
                    <a:pt x="1801449" y="1910761"/>
                  </a:lnTo>
                  <a:lnTo>
                    <a:pt x="1803241" y="1908969"/>
                  </a:lnTo>
                  <a:lnTo>
                    <a:pt x="1802916" y="1910761"/>
                  </a:lnTo>
                  <a:lnTo>
                    <a:pt x="1804545" y="1912716"/>
                  </a:lnTo>
                  <a:lnTo>
                    <a:pt x="1804545" y="1915649"/>
                  </a:lnTo>
                  <a:cubicBezTo>
                    <a:pt x="1804545" y="1915649"/>
                    <a:pt x="1802590" y="1917278"/>
                    <a:pt x="1802590" y="1917278"/>
                  </a:cubicBezTo>
                  <a:lnTo>
                    <a:pt x="1802590" y="1919559"/>
                  </a:lnTo>
                  <a:cubicBezTo>
                    <a:pt x="1802590" y="1919559"/>
                    <a:pt x="1804219" y="1921025"/>
                    <a:pt x="1804219" y="1921025"/>
                  </a:cubicBezTo>
                  <a:lnTo>
                    <a:pt x="1805196" y="1923143"/>
                  </a:lnTo>
                  <a:lnTo>
                    <a:pt x="1803567" y="1926401"/>
                  </a:lnTo>
                  <a:lnTo>
                    <a:pt x="1802264" y="1926401"/>
                  </a:lnTo>
                  <a:close/>
                  <a:moveTo>
                    <a:pt x="1806826" y="1928844"/>
                  </a:moveTo>
                  <a:lnTo>
                    <a:pt x="1807477" y="1926238"/>
                  </a:lnTo>
                  <a:lnTo>
                    <a:pt x="1809432" y="1925586"/>
                  </a:lnTo>
                  <a:lnTo>
                    <a:pt x="1809432" y="1928030"/>
                  </a:lnTo>
                  <a:cubicBezTo>
                    <a:pt x="1809432" y="1928030"/>
                    <a:pt x="1807966" y="1930473"/>
                    <a:pt x="1807966" y="1930473"/>
                  </a:cubicBezTo>
                  <a:lnTo>
                    <a:pt x="1806826" y="1928844"/>
                  </a:lnTo>
                  <a:lnTo>
                    <a:pt x="1806826" y="1928844"/>
                  </a:lnTo>
                  <a:close/>
                  <a:moveTo>
                    <a:pt x="1856513" y="1749318"/>
                  </a:moveTo>
                  <a:lnTo>
                    <a:pt x="1858468" y="1744594"/>
                  </a:lnTo>
                  <a:lnTo>
                    <a:pt x="1861563" y="1742150"/>
                  </a:lnTo>
                  <a:lnTo>
                    <a:pt x="1861563" y="1745409"/>
                  </a:lnTo>
                  <a:cubicBezTo>
                    <a:pt x="1861563" y="1745409"/>
                    <a:pt x="1860097" y="1748830"/>
                    <a:pt x="1860097" y="1748830"/>
                  </a:cubicBezTo>
                  <a:lnTo>
                    <a:pt x="1857653" y="1750459"/>
                  </a:lnTo>
                  <a:cubicBezTo>
                    <a:pt x="1857653" y="1750459"/>
                    <a:pt x="1856350" y="1749481"/>
                    <a:pt x="1856513" y="1749481"/>
                  </a:cubicBezTo>
                  <a:lnTo>
                    <a:pt x="1856513" y="1749481"/>
                  </a:lnTo>
                  <a:close/>
                  <a:moveTo>
                    <a:pt x="1841362" y="1786462"/>
                  </a:moveTo>
                  <a:lnTo>
                    <a:pt x="1841362" y="1789231"/>
                  </a:lnTo>
                  <a:cubicBezTo>
                    <a:pt x="1841362" y="1789231"/>
                    <a:pt x="1842991" y="1790046"/>
                    <a:pt x="1842991" y="1790046"/>
                  </a:cubicBezTo>
                  <a:lnTo>
                    <a:pt x="1843969" y="1789068"/>
                  </a:lnTo>
                  <a:lnTo>
                    <a:pt x="1845598" y="1789068"/>
                  </a:lnTo>
                  <a:lnTo>
                    <a:pt x="1845598" y="1786299"/>
                  </a:lnTo>
                  <a:lnTo>
                    <a:pt x="1843806" y="1785810"/>
                  </a:lnTo>
                  <a:lnTo>
                    <a:pt x="1841362" y="1786625"/>
                  </a:lnTo>
                  <a:lnTo>
                    <a:pt x="1841362" y="1786625"/>
                  </a:lnTo>
                  <a:close/>
                  <a:moveTo>
                    <a:pt x="1867591" y="1829633"/>
                  </a:moveTo>
                  <a:lnTo>
                    <a:pt x="1866613" y="1824420"/>
                  </a:lnTo>
                  <a:lnTo>
                    <a:pt x="1866613" y="1823116"/>
                  </a:lnTo>
                  <a:cubicBezTo>
                    <a:pt x="1866613" y="1823116"/>
                    <a:pt x="1868242" y="1823605"/>
                    <a:pt x="1868242" y="1823605"/>
                  </a:cubicBezTo>
                  <a:lnTo>
                    <a:pt x="1869220" y="1825071"/>
                  </a:lnTo>
                  <a:lnTo>
                    <a:pt x="1870360" y="1824257"/>
                  </a:lnTo>
                  <a:lnTo>
                    <a:pt x="1872641" y="1825886"/>
                  </a:lnTo>
                  <a:lnTo>
                    <a:pt x="1873129" y="1828004"/>
                  </a:lnTo>
                  <a:lnTo>
                    <a:pt x="1870197" y="1830284"/>
                  </a:lnTo>
                  <a:cubicBezTo>
                    <a:pt x="1870197" y="1830284"/>
                    <a:pt x="1867591" y="1829958"/>
                    <a:pt x="1867591" y="1829958"/>
                  </a:cubicBezTo>
                  <a:lnTo>
                    <a:pt x="1867591" y="1829958"/>
                  </a:lnTo>
                  <a:close/>
                  <a:moveTo>
                    <a:pt x="1855372" y="1828492"/>
                  </a:moveTo>
                  <a:lnTo>
                    <a:pt x="1857979" y="1829633"/>
                  </a:lnTo>
                  <a:lnTo>
                    <a:pt x="1859608" y="1829144"/>
                  </a:lnTo>
                  <a:lnTo>
                    <a:pt x="1860748" y="1826374"/>
                  </a:lnTo>
                  <a:lnTo>
                    <a:pt x="1860423" y="1824908"/>
                  </a:lnTo>
                  <a:lnTo>
                    <a:pt x="1861400" y="1825234"/>
                  </a:lnTo>
                  <a:lnTo>
                    <a:pt x="1862052" y="1828004"/>
                  </a:lnTo>
                  <a:lnTo>
                    <a:pt x="1859934" y="1831588"/>
                  </a:lnTo>
                  <a:lnTo>
                    <a:pt x="1856187" y="1833380"/>
                  </a:lnTo>
                  <a:lnTo>
                    <a:pt x="1854069" y="1831913"/>
                  </a:lnTo>
                  <a:lnTo>
                    <a:pt x="1854069" y="1829796"/>
                  </a:lnTo>
                  <a:cubicBezTo>
                    <a:pt x="1854069" y="1829796"/>
                    <a:pt x="1855209" y="1828492"/>
                    <a:pt x="1855209" y="1828492"/>
                  </a:cubicBezTo>
                  <a:lnTo>
                    <a:pt x="1855209" y="1828492"/>
                  </a:lnTo>
                  <a:close/>
                  <a:moveTo>
                    <a:pt x="1814482" y="1894470"/>
                  </a:moveTo>
                  <a:lnTo>
                    <a:pt x="1815785" y="1892027"/>
                  </a:lnTo>
                  <a:lnTo>
                    <a:pt x="1817089" y="1893656"/>
                  </a:lnTo>
                  <a:lnTo>
                    <a:pt x="1815948" y="1894959"/>
                  </a:lnTo>
                  <a:lnTo>
                    <a:pt x="1814482" y="1894470"/>
                  </a:lnTo>
                  <a:lnTo>
                    <a:pt x="1814482" y="1894470"/>
                  </a:lnTo>
                  <a:close/>
                  <a:moveTo>
                    <a:pt x="1868079" y="1879483"/>
                  </a:moveTo>
                  <a:lnTo>
                    <a:pt x="1868079" y="1881275"/>
                  </a:lnTo>
                  <a:lnTo>
                    <a:pt x="1870523" y="1882415"/>
                  </a:lnTo>
                  <a:lnTo>
                    <a:pt x="1874433" y="1882415"/>
                  </a:lnTo>
                  <a:lnTo>
                    <a:pt x="1875084" y="1880623"/>
                  </a:lnTo>
                  <a:lnTo>
                    <a:pt x="1870034" y="1879157"/>
                  </a:lnTo>
                  <a:lnTo>
                    <a:pt x="1867916" y="1879483"/>
                  </a:lnTo>
                  <a:lnTo>
                    <a:pt x="1867916" y="1879483"/>
                  </a:lnTo>
                  <a:close/>
                  <a:moveTo>
                    <a:pt x="1810898" y="1781900"/>
                  </a:moveTo>
                  <a:lnTo>
                    <a:pt x="1808618" y="1784670"/>
                  </a:lnTo>
                  <a:lnTo>
                    <a:pt x="1804056" y="1787928"/>
                  </a:lnTo>
                  <a:lnTo>
                    <a:pt x="1801449" y="1789394"/>
                  </a:lnTo>
                  <a:lnTo>
                    <a:pt x="1802101" y="1790697"/>
                  </a:lnTo>
                  <a:lnTo>
                    <a:pt x="1800798" y="1792489"/>
                  </a:lnTo>
                  <a:lnTo>
                    <a:pt x="1798843" y="1792978"/>
                  </a:lnTo>
                  <a:lnTo>
                    <a:pt x="1798843" y="1795422"/>
                  </a:lnTo>
                  <a:cubicBezTo>
                    <a:pt x="1798843" y="1795422"/>
                    <a:pt x="1800798" y="1796562"/>
                    <a:pt x="1800798" y="1796562"/>
                  </a:cubicBezTo>
                  <a:lnTo>
                    <a:pt x="1799006" y="1798191"/>
                  </a:lnTo>
                  <a:lnTo>
                    <a:pt x="1795748" y="1798517"/>
                  </a:lnTo>
                  <a:lnTo>
                    <a:pt x="1793304" y="1802101"/>
                  </a:lnTo>
                  <a:lnTo>
                    <a:pt x="1793304" y="1804056"/>
                  </a:lnTo>
                  <a:cubicBezTo>
                    <a:pt x="1793304" y="1804056"/>
                    <a:pt x="1794444" y="1804056"/>
                    <a:pt x="1794444" y="1804056"/>
                  </a:cubicBezTo>
                  <a:lnTo>
                    <a:pt x="1795910" y="1804870"/>
                  </a:lnTo>
                  <a:lnTo>
                    <a:pt x="1793304" y="1806337"/>
                  </a:lnTo>
                  <a:lnTo>
                    <a:pt x="1790372" y="1806825"/>
                  </a:lnTo>
                  <a:lnTo>
                    <a:pt x="1787439" y="1811224"/>
                  </a:lnTo>
                  <a:lnTo>
                    <a:pt x="1786788" y="1813830"/>
                  </a:lnTo>
                  <a:lnTo>
                    <a:pt x="1781411" y="1821813"/>
                  </a:lnTo>
                  <a:lnTo>
                    <a:pt x="1781411" y="1824420"/>
                  </a:lnTo>
                  <a:cubicBezTo>
                    <a:pt x="1781411" y="1824420"/>
                    <a:pt x="1783203" y="1826374"/>
                    <a:pt x="1783203" y="1826374"/>
                  </a:cubicBezTo>
                  <a:lnTo>
                    <a:pt x="1783203" y="1828981"/>
                  </a:lnTo>
                  <a:lnTo>
                    <a:pt x="1781575" y="1829307"/>
                  </a:lnTo>
                  <a:lnTo>
                    <a:pt x="1780434" y="1827841"/>
                  </a:lnTo>
                  <a:lnTo>
                    <a:pt x="1778968" y="1828166"/>
                  </a:lnTo>
                  <a:lnTo>
                    <a:pt x="1774407" y="1830447"/>
                  </a:lnTo>
                  <a:lnTo>
                    <a:pt x="1772614" y="1833705"/>
                  </a:lnTo>
                  <a:lnTo>
                    <a:pt x="1772940" y="1835660"/>
                  </a:lnTo>
                  <a:lnTo>
                    <a:pt x="1775547" y="1836149"/>
                  </a:lnTo>
                  <a:lnTo>
                    <a:pt x="1777339" y="1837941"/>
                  </a:lnTo>
                  <a:lnTo>
                    <a:pt x="1775710" y="1839407"/>
                  </a:lnTo>
                  <a:lnTo>
                    <a:pt x="1775221" y="1842014"/>
                  </a:lnTo>
                  <a:lnTo>
                    <a:pt x="1772289" y="1844294"/>
                  </a:lnTo>
                  <a:lnTo>
                    <a:pt x="1766913" y="1842665"/>
                  </a:lnTo>
                  <a:lnTo>
                    <a:pt x="1765772" y="1844132"/>
                  </a:lnTo>
                  <a:lnTo>
                    <a:pt x="1765446" y="1846412"/>
                  </a:lnTo>
                  <a:lnTo>
                    <a:pt x="1762514" y="1849508"/>
                  </a:lnTo>
                  <a:lnTo>
                    <a:pt x="1759908" y="1854721"/>
                  </a:lnTo>
                  <a:lnTo>
                    <a:pt x="1757464" y="1858142"/>
                  </a:lnTo>
                  <a:lnTo>
                    <a:pt x="1755835" y="1858142"/>
                  </a:lnTo>
                  <a:cubicBezTo>
                    <a:pt x="1755835" y="1858142"/>
                    <a:pt x="1755509" y="1854395"/>
                    <a:pt x="1755509" y="1854395"/>
                  </a:cubicBezTo>
                  <a:lnTo>
                    <a:pt x="1753880" y="1857979"/>
                  </a:lnTo>
                  <a:lnTo>
                    <a:pt x="1751925" y="1854721"/>
                  </a:lnTo>
                  <a:lnTo>
                    <a:pt x="1752577" y="1852603"/>
                  </a:lnTo>
                  <a:lnTo>
                    <a:pt x="1755509" y="1850485"/>
                  </a:lnTo>
                  <a:lnTo>
                    <a:pt x="1756486" y="1848041"/>
                  </a:lnTo>
                  <a:lnTo>
                    <a:pt x="1755346" y="1849508"/>
                  </a:lnTo>
                  <a:lnTo>
                    <a:pt x="1751762" y="1852114"/>
                  </a:lnTo>
                  <a:lnTo>
                    <a:pt x="1745897" y="1855698"/>
                  </a:lnTo>
                  <a:lnTo>
                    <a:pt x="1743454" y="1861889"/>
                  </a:lnTo>
                  <a:lnTo>
                    <a:pt x="1745246" y="1861889"/>
                  </a:lnTo>
                  <a:cubicBezTo>
                    <a:pt x="1745246" y="1861889"/>
                    <a:pt x="1748830" y="1860748"/>
                    <a:pt x="1748830" y="1860748"/>
                  </a:cubicBezTo>
                  <a:lnTo>
                    <a:pt x="1755998" y="1859934"/>
                  </a:lnTo>
                  <a:lnTo>
                    <a:pt x="1761700" y="1859934"/>
                  </a:lnTo>
                  <a:cubicBezTo>
                    <a:pt x="1761700" y="1859934"/>
                    <a:pt x="1758278" y="1863192"/>
                    <a:pt x="1758278" y="1863192"/>
                  </a:cubicBezTo>
                  <a:lnTo>
                    <a:pt x="1753554" y="1869057"/>
                  </a:lnTo>
                  <a:lnTo>
                    <a:pt x="1750622" y="1873781"/>
                  </a:lnTo>
                  <a:lnTo>
                    <a:pt x="1744757" y="1876876"/>
                  </a:lnTo>
                  <a:lnTo>
                    <a:pt x="1740033" y="1881275"/>
                  </a:lnTo>
                  <a:lnTo>
                    <a:pt x="1737100" y="1881275"/>
                  </a:lnTo>
                  <a:cubicBezTo>
                    <a:pt x="1737100" y="1881275"/>
                    <a:pt x="1736123" y="1884044"/>
                    <a:pt x="1736123" y="1884044"/>
                  </a:cubicBezTo>
                  <a:lnTo>
                    <a:pt x="1737263" y="1886651"/>
                  </a:lnTo>
                  <a:lnTo>
                    <a:pt x="1736286" y="1890398"/>
                  </a:lnTo>
                  <a:lnTo>
                    <a:pt x="1737100" y="1892353"/>
                  </a:lnTo>
                  <a:lnTo>
                    <a:pt x="1739870" y="1892678"/>
                  </a:lnTo>
                  <a:lnTo>
                    <a:pt x="1744920" y="1894308"/>
                  </a:lnTo>
                  <a:lnTo>
                    <a:pt x="1750622" y="1893493"/>
                  </a:lnTo>
                  <a:lnTo>
                    <a:pt x="1754043" y="1890724"/>
                  </a:lnTo>
                  <a:lnTo>
                    <a:pt x="1758278" y="1890235"/>
                  </a:lnTo>
                  <a:lnTo>
                    <a:pt x="1761537" y="1887302"/>
                  </a:lnTo>
                  <a:lnTo>
                    <a:pt x="1762514" y="1885348"/>
                  </a:lnTo>
                  <a:lnTo>
                    <a:pt x="1763003" y="1886977"/>
                  </a:lnTo>
                  <a:lnTo>
                    <a:pt x="1760559" y="1890561"/>
                  </a:lnTo>
                  <a:lnTo>
                    <a:pt x="1765772" y="1891538"/>
                  </a:lnTo>
                  <a:lnTo>
                    <a:pt x="1769682" y="1890072"/>
                  </a:lnTo>
                  <a:lnTo>
                    <a:pt x="1771474" y="1892516"/>
                  </a:lnTo>
                  <a:lnTo>
                    <a:pt x="1778153" y="1892841"/>
                  </a:lnTo>
                  <a:lnTo>
                    <a:pt x="1782226" y="1891701"/>
                  </a:lnTo>
                  <a:lnTo>
                    <a:pt x="1783041" y="1893493"/>
                  </a:lnTo>
                  <a:lnTo>
                    <a:pt x="1784833" y="1895448"/>
                  </a:lnTo>
                  <a:lnTo>
                    <a:pt x="1789394" y="1895774"/>
                  </a:lnTo>
                  <a:lnTo>
                    <a:pt x="1791023" y="1895122"/>
                  </a:lnTo>
                  <a:lnTo>
                    <a:pt x="1792001" y="1896588"/>
                  </a:lnTo>
                  <a:lnTo>
                    <a:pt x="1794933" y="1896588"/>
                  </a:lnTo>
                  <a:cubicBezTo>
                    <a:pt x="1794933" y="1896588"/>
                    <a:pt x="1797051" y="1894959"/>
                    <a:pt x="1797051" y="1894959"/>
                  </a:cubicBezTo>
                  <a:lnTo>
                    <a:pt x="1797051" y="1893330"/>
                  </a:lnTo>
                  <a:cubicBezTo>
                    <a:pt x="1797051" y="1893330"/>
                    <a:pt x="1800961" y="1893493"/>
                    <a:pt x="1800961" y="1893493"/>
                  </a:cubicBezTo>
                  <a:lnTo>
                    <a:pt x="1802264" y="1894959"/>
                  </a:lnTo>
                  <a:lnTo>
                    <a:pt x="1804382" y="1894633"/>
                  </a:lnTo>
                  <a:lnTo>
                    <a:pt x="1806011" y="1892841"/>
                  </a:lnTo>
                  <a:lnTo>
                    <a:pt x="1808454" y="1892841"/>
                  </a:lnTo>
                  <a:lnTo>
                    <a:pt x="1810898" y="1893982"/>
                  </a:lnTo>
                  <a:lnTo>
                    <a:pt x="1811876" y="1891701"/>
                  </a:lnTo>
                  <a:lnTo>
                    <a:pt x="1811387" y="1889583"/>
                  </a:lnTo>
                  <a:lnTo>
                    <a:pt x="1811713" y="1885836"/>
                  </a:lnTo>
                  <a:lnTo>
                    <a:pt x="1813016" y="1887302"/>
                  </a:lnTo>
                  <a:lnTo>
                    <a:pt x="1814645" y="1884370"/>
                  </a:lnTo>
                  <a:lnTo>
                    <a:pt x="1816437" y="1883881"/>
                  </a:lnTo>
                  <a:lnTo>
                    <a:pt x="1815297" y="1885022"/>
                  </a:lnTo>
                  <a:lnTo>
                    <a:pt x="1813993" y="1889909"/>
                  </a:lnTo>
                  <a:lnTo>
                    <a:pt x="1814971" y="1891049"/>
                  </a:lnTo>
                  <a:lnTo>
                    <a:pt x="1816111" y="1888606"/>
                  </a:lnTo>
                  <a:lnTo>
                    <a:pt x="1818881" y="1885673"/>
                  </a:lnTo>
                  <a:lnTo>
                    <a:pt x="1820021" y="1885348"/>
                  </a:lnTo>
                  <a:lnTo>
                    <a:pt x="1820021" y="1888443"/>
                  </a:lnTo>
                  <a:lnTo>
                    <a:pt x="1818392" y="1891049"/>
                  </a:lnTo>
                  <a:lnTo>
                    <a:pt x="1818392" y="1893004"/>
                  </a:lnTo>
                  <a:cubicBezTo>
                    <a:pt x="1818392" y="1893004"/>
                    <a:pt x="1821650" y="1892190"/>
                    <a:pt x="1821650" y="1892190"/>
                  </a:cubicBezTo>
                  <a:lnTo>
                    <a:pt x="1822953" y="1891864"/>
                  </a:lnTo>
                  <a:lnTo>
                    <a:pt x="1822627" y="1892841"/>
                  </a:lnTo>
                  <a:lnTo>
                    <a:pt x="1817577" y="1895937"/>
                  </a:lnTo>
                  <a:lnTo>
                    <a:pt x="1812853" y="1897892"/>
                  </a:lnTo>
                  <a:lnTo>
                    <a:pt x="1814156" y="1898869"/>
                  </a:lnTo>
                  <a:lnTo>
                    <a:pt x="1815460" y="1898055"/>
                  </a:lnTo>
                  <a:lnTo>
                    <a:pt x="1818392" y="1898055"/>
                  </a:lnTo>
                  <a:cubicBezTo>
                    <a:pt x="1818392" y="1898055"/>
                    <a:pt x="1819369" y="1899358"/>
                    <a:pt x="1819369" y="1899358"/>
                  </a:cubicBezTo>
                  <a:lnTo>
                    <a:pt x="1822302" y="1899358"/>
                  </a:lnTo>
                  <a:cubicBezTo>
                    <a:pt x="1822302" y="1899358"/>
                    <a:pt x="1823442" y="1900987"/>
                    <a:pt x="1823442" y="1900987"/>
                  </a:cubicBezTo>
                  <a:lnTo>
                    <a:pt x="1825234" y="1899684"/>
                  </a:lnTo>
                  <a:lnTo>
                    <a:pt x="1828167" y="1898869"/>
                  </a:lnTo>
                  <a:lnTo>
                    <a:pt x="1829796" y="1895285"/>
                  </a:lnTo>
                  <a:lnTo>
                    <a:pt x="1829307" y="1892678"/>
                  </a:lnTo>
                  <a:lnTo>
                    <a:pt x="1831425" y="1894145"/>
                  </a:lnTo>
                  <a:lnTo>
                    <a:pt x="1835335" y="1894959"/>
                  </a:lnTo>
                  <a:lnTo>
                    <a:pt x="1837289" y="1897240"/>
                  </a:lnTo>
                  <a:lnTo>
                    <a:pt x="1840059" y="1896588"/>
                  </a:lnTo>
                  <a:lnTo>
                    <a:pt x="1842502" y="1894959"/>
                  </a:lnTo>
                  <a:lnTo>
                    <a:pt x="1845924" y="1895448"/>
                  </a:lnTo>
                  <a:lnTo>
                    <a:pt x="1842991" y="1897240"/>
                  </a:lnTo>
                  <a:lnTo>
                    <a:pt x="1842665" y="1898869"/>
                  </a:lnTo>
                  <a:lnTo>
                    <a:pt x="1838267" y="1900661"/>
                  </a:lnTo>
                  <a:lnTo>
                    <a:pt x="1834031" y="1901150"/>
                  </a:lnTo>
                  <a:lnTo>
                    <a:pt x="1831588" y="1903756"/>
                  </a:lnTo>
                  <a:lnTo>
                    <a:pt x="1831262" y="1905711"/>
                  </a:lnTo>
                  <a:lnTo>
                    <a:pt x="1829959" y="1906363"/>
                  </a:lnTo>
                  <a:lnTo>
                    <a:pt x="1829144" y="1908318"/>
                  </a:lnTo>
                  <a:lnTo>
                    <a:pt x="1826049" y="1908318"/>
                  </a:lnTo>
                  <a:cubicBezTo>
                    <a:pt x="1826049" y="1908318"/>
                    <a:pt x="1824257" y="1908969"/>
                    <a:pt x="1824257" y="1908969"/>
                  </a:cubicBezTo>
                  <a:lnTo>
                    <a:pt x="1823116" y="1910761"/>
                  </a:lnTo>
                  <a:lnTo>
                    <a:pt x="1821324" y="1912390"/>
                  </a:lnTo>
                  <a:lnTo>
                    <a:pt x="1816926" y="1913531"/>
                  </a:lnTo>
                  <a:lnTo>
                    <a:pt x="1813179" y="1916463"/>
                  </a:lnTo>
                  <a:lnTo>
                    <a:pt x="1812527" y="1918418"/>
                  </a:lnTo>
                  <a:lnTo>
                    <a:pt x="1813668" y="1919884"/>
                  </a:lnTo>
                  <a:lnTo>
                    <a:pt x="1814645" y="1921513"/>
                  </a:lnTo>
                  <a:lnTo>
                    <a:pt x="1817903" y="1921513"/>
                  </a:lnTo>
                  <a:lnTo>
                    <a:pt x="1819207" y="1919559"/>
                  </a:lnTo>
                  <a:lnTo>
                    <a:pt x="1820836" y="1917929"/>
                  </a:lnTo>
                  <a:lnTo>
                    <a:pt x="1822791" y="1918418"/>
                  </a:lnTo>
                  <a:lnTo>
                    <a:pt x="1822791" y="1920536"/>
                  </a:lnTo>
                  <a:cubicBezTo>
                    <a:pt x="1822791" y="1920536"/>
                    <a:pt x="1824583" y="1922002"/>
                    <a:pt x="1824583" y="1922002"/>
                  </a:cubicBezTo>
                  <a:lnTo>
                    <a:pt x="1828329" y="1920536"/>
                  </a:lnTo>
                  <a:lnTo>
                    <a:pt x="1830610" y="1918092"/>
                  </a:lnTo>
                  <a:lnTo>
                    <a:pt x="1832076" y="1915160"/>
                  </a:lnTo>
                  <a:lnTo>
                    <a:pt x="1833217" y="1915160"/>
                  </a:lnTo>
                  <a:lnTo>
                    <a:pt x="1834194" y="1912390"/>
                  </a:lnTo>
                  <a:lnTo>
                    <a:pt x="1834846" y="1909132"/>
                  </a:lnTo>
                  <a:lnTo>
                    <a:pt x="1836638" y="1908481"/>
                  </a:lnTo>
                  <a:lnTo>
                    <a:pt x="1841036" y="1903593"/>
                  </a:lnTo>
                  <a:lnTo>
                    <a:pt x="1843154" y="1902290"/>
                  </a:lnTo>
                  <a:lnTo>
                    <a:pt x="1845272" y="1903919"/>
                  </a:lnTo>
                  <a:lnTo>
                    <a:pt x="1848530" y="1903593"/>
                  </a:lnTo>
                  <a:lnTo>
                    <a:pt x="1845598" y="1905385"/>
                  </a:lnTo>
                  <a:lnTo>
                    <a:pt x="1848204" y="1905060"/>
                  </a:lnTo>
                  <a:lnTo>
                    <a:pt x="1850485" y="1903430"/>
                  </a:lnTo>
                  <a:lnTo>
                    <a:pt x="1852440" y="1897729"/>
                  </a:lnTo>
                  <a:lnTo>
                    <a:pt x="1854884" y="1892678"/>
                  </a:lnTo>
                  <a:lnTo>
                    <a:pt x="1854884" y="1887954"/>
                  </a:lnTo>
                  <a:cubicBezTo>
                    <a:pt x="1854884" y="1887954"/>
                    <a:pt x="1855861" y="1886488"/>
                    <a:pt x="1855861" y="1886488"/>
                  </a:cubicBezTo>
                  <a:lnTo>
                    <a:pt x="1857327" y="1886488"/>
                  </a:lnTo>
                  <a:cubicBezTo>
                    <a:pt x="1857327" y="1886488"/>
                    <a:pt x="1859119" y="1888280"/>
                    <a:pt x="1859119" y="1888280"/>
                  </a:cubicBezTo>
                  <a:lnTo>
                    <a:pt x="1860748" y="1888606"/>
                  </a:lnTo>
                  <a:lnTo>
                    <a:pt x="1862540" y="1890235"/>
                  </a:lnTo>
                  <a:lnTo>
                    <a:pt x="1863029" y="1895285"/>
                  </a:lnTo>
                  <a:lnTo>
                    <a:pt x="1862215" y="1898217"/>
                  </a:lnTo>
                  <a:lnTo>
                    <a:pt x="1861563" y="1901801"/>
                  </a:lnTo>
                  <a:lnTo>
                    <a:pt x="1862866" y="1904245"/>
                  </a:lnTo>
                  <a:lnTo>
                    <a:pt x="1861726" y="1906852"/>
                  </a:lnTo>
                  <a:lnTo>
                    <a:pt x="1857979" y="1909947"/>
                  </a:lnTo>
                  <a:lnTo>
                    <a:pt x="1855209" y="1917278"/>
                  </a:lnTo>
                  <a:lnTo>
                    <a:pt x="1855209" y="1920536"/>
                  </a:lnTo>
                  <a:cubicBezTo>
                    <a:pt x="1855209" y="1920536"/>
                    <a:pt x="1853580" y="1922002"/>
                    <a:pt x="1853580" y="1922002"/>
                  </a:cubicBezTo>
                  <a:lnTo>
                    <a:pt x="1853580" y="1924935"/>
                  </a:lnTo>
                  <a:cubicBezTo>
                    <a:pt x="1853580" y="1924935"/>
                    <a:pt x="1856187" y="1925749"/>
                    <a:pt x="1856187" y="1925749"/>
                  </a:cubicBezTo>
                  <a:lnTo>
                    <a:pt x="1859934" y="1923468"/>
                  </a:lnTo>
                  <a:lnTo>
                    <a:pt x="1863355" y="1916952"/>
                  </a:lnTo>
                  <a:lnTo>
                    <a:pt x="1865147" y="1916952"/>
                  </a:lnTo>
                  <a:cubicBezTo>
                    <a:pt x="1865147" y="1916952"/>
                    <a:pt x="1868731" y="1912553"/>
                    <a:pt x="1868731" y="1912553"/>
                  </a:cubicBezTo>
                  <a:lnTo>
                    <a:pt x="1870523" y="1909947"/>
                  </a:lnTo>
                  <a:lnTo>
                    <a:pt x="1871175" y="1911576"/>
                  </a:lnTo>
                  <a:lnTo>
                    <a:pt x="1875247" y="1911576"/>
                  </a:lnTo>
                  <a:cubicBezTo>
                    <a:pt x="1875247" y="1911576"/>
                    <a:pt x="1875247" y="1913205"/>
                    <a:pt x="1875247" y="1913205"/>
                  </a:cubicBezTo>
                  <a:lnTo>
                    <a:pt x="1872152" y="1913857"/>
                  </a:lnTo>
                  <a:lnTo>
                    <a:pt x="1867753" y="1918418"/>
                  </a:lnTo>
                  <a:lnTo>
                    <a:pt x="1867753" y="1921513"/>
                  </a:lnTo>
                  <a:cubicBezTo>
                    <a:pt x="1867753" y="1921513"/>
                    <a:pt x="1866776" y="1924935"/>
                    <a:pt x="1866776" y="1924935"/>
                  </a:cubicBezTo>
                  <a:lnTo>
                    <a:pt x="1867916" y="1926564"/>
                  </a:lnTo>
                  <a:lnTo>
                    <a:pt x="1868405" y="1931125"/>
                  </a:lnTo>
                  <a:lnTo>
                    <a:pt x="1870849" y="1933406"/>
                  </a:lnTo>
                  <a:lnTo>
                    <a:pt x="1871500" y="1929985"/>
                  </a:lnTo>
                  <a:lnTo>
                    <a:pt x="1873781" y="1927541"/>
                  </a:lnTo>
                  <a:cubicBezTo>
                    <a:pt x="1873781" y="1927541"/>
                    <a:pt x="1875573" y="1927541"/>
                    <a:pt x="1876062" y="1927541"/>
                  </a:cubicBezTo>
                  <a:cubicBezTo>
                    <a:pt x="1876551" y="1927541"/>
                    <a:pt x="1878180" y="1930799"/>
                    <a:pt x="1878180" y="1930799"/>
                  </a:cubicBezTo>
                  <a:lnTo>
                    <a:pt x="1880460" y="1931614"/>
                  </a:lnTo>
                  <a:lnTo>
                    <a:pt x="1883881" y="1929333"/>
                  </a:lnTo>
                  <a:lnTo>
                    <a:pt x="1883881" y="1926889"/>
                  </a:lnTo>
                  <a:lnTo>
                    <a:pt x="1885348" y="1926564"/>
                  </a:lnTo>
                  <a:lnTo>
                    <a:pt x="1886325" y="1924120"/>
                  </a:lnTo>
                  <a:lnTo>
                    <a:pt x="1886325" y="1920862"/>
                  </a:lnTo>
                  <a:cubicBezTo>
                    <a:pt x="1886325" y="1920862"/>
                    <a:pt x="1887302" y="1920536"/>
                    <a:pt x="1887302" y="1920536"/>
                  </a:cubicBezTo>
                  <a:lnTo>
                    <a:pt x="1888117" y="1918255"/>
                  </a:lnTo>
                  <a:lnTo>
                    <a:pt x="1886814" y="1915649"/>
                  </a:lnTo>
                  <a:lnTo>
                    <a:pt x="1887791" y="1911576"/>
                  </a:lnTo>
                  <a:lnTo>
                    <a:pt x="1892027" y="1905711"/>
                  </a:lnTo>
                  <a:lnTo>
                    <a:pt x="1894634" y="1901639"/>
                  </a:lnTo>
                  <a:lnTo>
                    <a:pt x="1894308" y="1894308"/>
                  </a:lnTo>
                  <a:lnTo>
                    <a:pt x="1893819" y="1891701"/>
                  </a:lnTo>
                  <a:lnTo>
                    <a:pt x="1892516" y="1891701"/>
                  </a:lnTo>
                  <a:cubicBezTo>
                    <a:pt x="1892516" y="1891701"/>
                    <a:pt x="1892516" y="1893493"/>
                    <a:pt x="1892516" y="1893493"/>
                  </a:cubicBezTo>
                  <a:lnTo>
                    <a:pt x="1890724" y="1897403"/>
                  </a:lnTo>
                  <a:lnTo>
                    <a:pt x="1887140" y="1899684"/>
                  </a:lnTo>
                  <a:lnTo>
                    <a:pt x="1884044" y="1903268"/>
                  </a:lnTo>
                  <a:lnTo>
                    <a:pt x="1881927" y="1903919"/>
                  </a:lnTo>
                  <a:lnTo>
                    <a:pt x="1880297" y="1900824"/>
                  </a:lnTo>
                  <a:lnTo>
                    <a:pt x="1880949" y="1897240"/>
                  </a:lnTo>
                  <a:lnTo>
                    <a:pt x="1880949" y="1893330"/>
                  </a:lnTo>
                  <a:lnTo>
                    <a:pt x="1885348" y="1890072"/>
                  </a:lnTo>
                  <a:lnTo>
                    <a:pt x="1886325" y="1888280"/>
                  </a:lnTo>
                  <a:lnTo>
                    <a:pt x="1890072" y="1884696"/>
                  </a:lnTo>
                  <a:lnTo>
                    <a:pt x="1891375" y="1884696"/>
                  </a:lnTo>
                  <a:lnTo>
                    <a:pt x="1893167" y="1883718"/>
                  </a:lnTo>
                  <a:lnTo>
                    <a:pt x="1892190" y="1881275"/>
                  </a:lnTo>
                  <a:lnTo>
                    <a:pt x="1889909" y="1883230"/>
                  </a:lnTo>
                  <a:lnTo>
                    <a:pt x="1888117" y="1883556"/>
                  </a:lnTo>
                  <a:lnTo>
                    <a:pt x="1885022" y="1885185"/>
                  </a:lnTo>
                  <a:lnTo>
                    <a:pt x="1882089" y="1885673"/>
                  </a:lnTo>
                  <a:lnTo>
                    <a:pt x="1878994" y="1888606"/>
                  </a:lnTo>
                  <a:lnTo>
                    <a:pt x="1878343" y="1891212"/>
                  </a:lnTo>
                  <a:lnTo>
                    <a:pt x="1873292" y="1895122"/>
                  </a:lnTo>
                  <a:lnTo>
                    <a:pt x="1872967" y="1896914"/>
                  </a:lnTo>
                  <a:lnTo>
                    <a:pt x="1870523" y="1898706"/>
                  </a:lnTo>
                  <a:lnTo>
                    <a:pt x="1866939" y="1895611"/>
                  </a:lnTo>
                  <a:lnTo>
                    <a:pt x="1866613" y="1893004"/>
                  </a:lnTo>
                  <a:lnTo>
                    <a:pt x="1865473" y="1890072"/>
                  </a:lnTo>
                  <a:lnTo>
                    <a:pt x="1865147" y="1887140"/>
                  </a:lnTo>
                  <a:lnTo>
                    <a:pt x="1866939" y="1889909"/>
                  </a:lnTo>
                  <a:lnTo>
                    <a:pt x="1868568" y="1889583"/>
                  </a:lnTo>
                  <a:lnTo>
                    <a:pt x="1871500" y="1885022"/>
                  </a:lnTo>
                  <a:lnTo>
                    <a:pt x="1869545" y="1885510"/>
                  </a:lnTo>
                  <a:lnTo>
                    <a:pt x="1865799" y="1884044"/>
                  </a:lnTo>
                  <a:lnTo>
                    <a:pt x="1868242" y="1884044"/>
                  </a:lnTo>
                  <a:cubicBezTo>
                    <a:pt x="1868242" y="1884044"/>
                    <a:pt x="1872152" y="1883881"/>
                    <a:pt x="1872152" y="1883881"/>
                  </a:cubicBezTo>
                  <a:lnTo>
                    <a:pt x="1868079" y="1883067"/>
                  </a:lnTo>
                  <a:lnTo>
                    <a:pt x="1866124" y="1881275"/>
                  </a:lnTo>
                  <a:lnTo>
                    <a:pt x="1866124" y="1878505"/>
                  </a:lnTo>
                  <a:cubicBezTo>
                    <a:pt x="1866124" y="1878505"/>
                    <a:pt x="1867591" y="1877528"/>
                    <a:pt x="1867591" y="1877528"/>
                  </a:cubicBezTo>
                  <a:lnTo>
                    <a:pt x="1871989" y="1877528"/>
                  </a:lnTo>
                  <a:cubicBezTo>
                    <a:pt x="1871989" y="1877528"/>
                    <a:pt x="1873292" y="1876713"/>
                    <a:pt x="1873292" y="1876713"/>
                  </a:cubicBezTo>
                  <a:lnTo>
                    <a:pt x="1877039" y="1873618"/>
                  </a:lnTo>
                  <a:lnTo>
                    <a:pt x="1878668" y="1869382"/>
                  </a:lnTo>
                  <a:lnTo>
                    <a:pt x="1882578" y="1869382"/>
                  </a:lnTo>
                  <a:lnTo>
                    <a:pt x="1883718" y="1870849"/>
                  </a:lnTo>
                  <a:lnTo>
                    <a:pt x="1888280" y="1867916"/>
                  </a:lnTo>
                  <a:lnTo>
                    <a:pt x="1889746" y="1864658"/>
                  </a:lnTo>
                  <a:lnTo>
                    <a:pt x="1889746" y="1861074"/>
                  </a:lnTo>
                  <a:lnTo>
                    <a:pt x="1888443" y="1858468"/>
                  </a:lnTo>
                  <a:lnTo>
                    <a:pt x="1885185" y="1862052"/>
                  </a:lnTo>
                  <a:lnTo>
                    <a:pt x="1882578" y="1863681"/>
                  </a:lnTo>
                  <a:lnTo>
                    <a:pt x="1881764" y="1862052"/>
                  </a:lnTo>
                  <a:lnTo>
                    <a:pt x="1878994" y="1861563"/>
                  </a:lnTo>
                  <a:lnTo>
                    <a:pt x="1878994" y="1863681"/>
                  </a:lnTo>
                  <a:cubicBezTo>
                    <a:pt x="1878994" y="1863681"/>
                    <a:pt x="1878343" y="1866939"/>
                    <a:pt x="1878343" y="1866939"/>
                  </a:cubicBezTo>
                  <a:lnTo>
                    <a:pt x="1876388" y="1867916"/>
                  </a:lnTo>
                  <a:lnTo>
                    <a:pt x="1874433" y="1867916"/>
                  </a:lnTo>
                  <a:cubicBezTo>
                    <a:pt x="1874433" y="1867916"/>
                    <a:pt x="1871175" y="1870197"/>
                    <a:pt x="1871175" y="1870197"/>
                  </a:cubicBezTo>
                  <a:lnTo>
                    <a:pt x="1868731" y="1871663"/>
                  </a:lnTo>
                  <a:lnTo>
                    <a:pt x="1868405" y="1874270"/>
                  </a:lnTo>
                  <a:lnTo>
                    <a:pt x="1866613" y="1875084"/>
                  </a:lnTo>
                  <a:lnTo>
                    <a:pt x="1867427" y="1872966"/>
                  </a:lnTo>
                  <a:lnTo>
                    <a:pt x="1867753" y="1869871"/>
                  </a:lnTo>
                  <a:lnTo>
                    <a:pt x="1866124" y="1871500"/>
                  </a:lnTo>
                  <a:lnTo>
                    <a:pt x="1863518" y="1871174"/>
                  </a:lnTo>
                  <a:lnTo>
                    <a:pt x="1866124" y="1869708"/>
                  </a:lnTo>
                  <a:lnTo>
                    <a:pt x="1868568" y="1867102"/>
                  </a:lnTo>
                  <a:lnTo>
                    <a:pt x="1869708" y="1865636"/>
                  </a:lnTo>
                  <a:lnTo>
                    <a:pt x="1867916" y="1864495"/>
                  </a:lnTo>
                  <a:lnTo>
                    <a:pt x="1870034" y="1862703"/>
                  </a:lnTo>
                  <a:lnTo>
                    <a:pt x="1871500" y="1859119"/>
                  </a:lnTo>
                  <a:lnTo>
                    <a:pt x="1869708" y="1858305"/>
                  </a:lnTo>
                  <a:lnTo>
                    <a:pt x="1867753" y="1860585"/>
                  </a:lnTo>
                  <a:lnTo>
                    <a:pt x="1868731" y="1857979"/>
                  </a:lnTo>
                  <a:lnTo>
                    <a:pt x="1869057" y="1855209"/>
                  </a:lnTo>
                  <a:lnTo>
                    <a:pt x="1867427" y="1854721"/>
                  </a:lnTo>
                  <a:lnTo>
                    <a:pt x="1864495" y="1855861"/>
                  </a:lnTo>
                  <a:lnTo>
                    <a:pt x="1859771" y="1855047"/>
                  </a:lnTo>
                  <a:lnTo>
                    <a:pt x="1864495" y="1855047"/>
                  </a:lnTo>
                  <a:cubicBezTo>
                    <a:pt x="1864495" y="1855047"/>
                    <a:pt x="1865799" y="1853743"/>
                    <a:pt x="1865799" y="1853743"/>
                  </a:cubicBezTo>
                  <a:lnTo>
                    <a:pt x="1870197" y="1852929"/>
                  </a:lnTo>
                  <a:lnTo>
                    <a:pt x="1873455" y="1851300"/>
                  </a:lnTo>
                  <a:lnTo>
                    <a:pt x="1875084" y="1849508"/>
                  </a:lnTo>
                  <a:lnTo>
                    <a:pt x="1877528" y="1849019"/>
                  </a:lnTo>
                  <a:lnTo>
                    <a:pt x="1879972" y="1847390"/>
                  </a:lnTo>
                  <a:lnTo>
                    <a:pt x="1880297" y="1844132"/>
                  </a:lnTo>
                  <a:lnTo>
                    <a:pt x="1882089" y="1842339"/>
                  </a:lnTo>
                  <a:lnTo>
                    <a:pt x="1882578" y="1839896"/>
                  </a:lnTo>
                  <a:lnTo>
                    <a:pt x="1879483" y="1838104"/>
                  </a:lnTo>
                  <a:lnTo>
                    <a:pt x="1875247" y="1834031"/>
                  </a:lnTo>
                  <a:lnTo>
                    <a:pt x="1871012" y="1833705"/>
                  </a:lnTo>
                  <a:lnTo>
                    <a:pt x="1866613" y="1834683"/>
                  </a:lnTo>
                  <a:lnTo>
                    <a:pt x="1864658" y="1834683"/>
                  </a:lnTo>
                  <a:cubicBezTo>
                    <a:pt x="1864658" y="1834683"/>
                    <a:pt x="1864495" y="1837126"/>
                    <a:pt x="1864495" y="1837126"/>
                  </a:cubicBezTo>
                  <a:lnTo>
                    <a:pt x="1862703" y="1840710"/>
                  </a:lnTo>
                  <a:lnTo>
                    <a:pt x="1861726" y="1844783"/>
                  </a:lnTo>
                  <a:lnTo>
                    <a:pt x="1858956" y="1846738"/>
                  </a:lnTo>
                  <a:lnTo>
                    <a:pt x="1860748" y="1844457"/>
                  </a:lnTo>
                  <a:lnTo>
                    <a:pt x="1861400" y="1840222"/>
                  </a:lnTo>
                  <a:lnTo>
                    <a:pt x="1860260" y="1838593"/>
                  </a:lnTo>
                  <a:lnTo>
                    <a:pt x="1861400" y="1836149"/>
                  </a:lnTo>
                  <a:lnTo>
                    <a:pt x="1863192" y="1832565"/>
                  </a:lnTo>
                  <a:lnTo>
                    <a:pt x="1861563" y="1832239"/>
                  </a:lnTo>
                  <a:lnTo>
                    <a:pt x="1857979" y="1834846"/>
                  </a:lnTo>
                  <a:lnTo>
                    <a:pt x="1856187" y="1837452"/>
                  </a:lnTo>
                  <a:lnTo>
                    <a:pt x="1853418" y="1839244"/>
                  </a:lnTo>
                  <a:lnTo>
                    <a:pt x="1851951" y="1837778"/>
                  </a:lnTo>
                  <a:lnTo>
                    <a:pt x="1850648" y="1839407"/>
                  </a:lnTo>
                  <a:lnTo>
                    <a:pt x="1848042" y="1840385"/>
                  </a:lnTo>
                  <a:lnTo>
                    <a:pt x="1846412" y="1838756"/>
                  </a:lnTo>
                  <a:lnTo>
                    <a:pt x="1843154" y="1841036"/>
                  </a:lnTo>
                  <a:lnTo>
                    <a:pt x="1842502" y="1845924"/>
                  </a:lnTo>
                  <a:lnTo>
                    <a:pt x="1839081" y="1848367"/>
                  </a:lnTo>
                  <a:lnTo>
                    <a:pt x="1841525" y="1845761"/>
                  </a:lnTo>
                  <a:lnTo>
                    <a:pt x="1842502" y="1839570"/>
                  </a:lnTo>
                  <a:lnTo>
                    <a:pt x="1845272" y="1834846"/>
                  </a:lnTo>
                  <a:lnTo>
                    <a:pt x="1844132" y="1834194"/>
                  </a:lnTo>
                  <a:lnTo>
                    <a:pt x="1841362" y="1835335"/>
                  </a:lnTo>
                  <a:lnTo>
                    <a:pt x="1840059" y="1837778"/>
                  </a:lnTo>
                  <a:lnTo>
                    <a:pt x="1837289" y="1840710"/>
                  </a:lnTo>
                  <a:lnTo>
                    <a:pt x="1836312" y="1838918"/>
                  </a:lnTo>
                  <a:lnTo>
                    <a:pt x="1838104" y="1837126"/>
                  </a:lnTo>
                  <a:lnTo>
                    <a:pt x="1838756" y="1834520"/>
                  </a:lnTo>
                  <a:lnTo>
                    <a:pt x="1838267" y="1833543"/>
                  </a:lnTo>
                  <a:lnTo>
                    <a:pt x="1835009" y="1834194"/>
                  </a:lnTo>
                  <a:lnTo>
                    <a:pt x="1830773" y="1837941"/>
                  </a:lnTo>
                  <a:lnTo>
                    <a:pt x="1828981" y="1837452"/>
                  </a:lnTo>
                  <a:lnTo>
                    <a:pt x="1827678" y="1833543"/>
                  </a:lnTo>
                  <a:lnTo>
                    <a:pt x="1826537" y="1833054"/>
                  </a:lnTo>
                  <a:lnTo>
                    <a:pt x="1822791" y="1836149"/>
                  </a:lnTo>
                  <a:lnTo>
                    <a:pt x="1820836" y="1835823"/>
                  </a:lnTo>
                  <a:lnTo>
                    <a:pt x="1820510" y="1834683"/>
                  </a:lnTo>
                  <a:lnTo>
                    <a:pt x="1824583" y="1831913"/>
                  </a:lnTo>
                  <a:lnTo>
                    <a:pt x="1827189" y="1827678"/>
                  </a:lnTo>
                  <a:lnTo>
                    <a:pt x="1828329" y="1824420"/>
                  </a:lnTo>
                  <a:lnTo>
                    <a:pt x="1826700" y="1824745"/>
                  </a:lnTo>
                  <a:lnTo>
                    <a:pt x="1824745" y="1824745"/>
                  </a:lnTo>
                  <a:cubicBezTo>
                    <a:pt x="1824745" y="1824745"/>
                    <a:pt x="1821161" y="1827678"/>
                    <a:pt x="1821161" y="1827678"/>
                  </a:cubicBezTo>
                  <a:lnTo>
                    <a:pt x="1822953" y="1824582"/>
                  </a:lnTo>
                  <a:lnTo>
                    <a:pt x="1826863" y="1821324"/>
                  </a:lnTo>
                  <a:lnTo>
                    <a:pt x="1831099" y="1820998"/>
                  </a:lnTo>
                  <a:lnTo>
                    <a:pt x="1833054" y="1819858"/>
                  </a:lnTo>
                  <a:lnTo>
                    <a:pt x="1836801" y="1819044"/>
                  </a:lnTo>
                  <a:lnTo>
                    <a:pt x="1839081" y="1816600"/>
                  </a:lnTo>
                  <a:lnTo>
                    <a:pt x="1839081" y="1814645"/>
                  </a:lnTo>
                  <a:cubicBezTo>
                    <a:pt x="1839081" y="1814645"/>
                    <a:pt x="1837778" y="1815297"/>
                    <a:pt x="1837778" y="1815297"/>
                  </a:cubicBezTo>
                  <a:lnTo>
                    <a:pt x="1833380" y="1816600"/>
                  </a:lnTo>
                  <a:lnTo>
                    <a:pt x="1830773" y="1815785"/>
                  </a:lnTo>
                  <a:lnTo>
                    <a:pt x="1827026" y="1812853"/>
                  </a:lnTo>
                  <a:lnTo>
                    <a:pt x="1825071" y="1813342"/>
                  </a:lnTo>
                  <a:lnTo>
                    <a:pt x="1823116" y="1814808"/>
                  </a:lnTo>
                  <a:lnTo>
                    <a:pt x="1825071" y="1810409"/>
                  </a:lnTo>
                  <a:lnTo>
                    <a:pt x="1826537" y="1809106"/>
                  </a:lnTo>
                  <a:lnTo>
                    <a:pt x="1826211" y="1808129"/>
                  </a:lnTo>
                  <a:lnTo>
                    <a:pt x="1823605" y="1808780"/>
                  </a:lnTo>
                  <a:lnTo>
                    <a:pt x="1820510" y="1811224"/>
                  </a:lnTo>
                  <a:lnTo>
                    <a:pt x="1818555" y="1814319"/>
                  </a:lnTo>
                  <a:lnTo>
                    <a:pt x="1815460" y="1817577"/>
                  </a:lnTo>
                  <a:lnTo>
                    <a:pt x="1813016" y="1819206"/>
                  </a:lnTo>
                  <a:lnTo>
                    <a:pt x="1812038" y="1821976"/>
                  </a:lnTo>
                  <a:lnTo>
                    <a:pt x="1808454" y="1824257"/>
                  </a:lnTo>
                  <a:lnTo>
                    <a:pt x="1805685" y="1827352"/>
                  </a:lnTo>
                  <a:lnTo>
                    <a:pt x="1805685" y="1823279"/>
                  </a:lnTo>
                  <a:cubicBezTo>
                    <a:pt x="1805685" y="1823279"/>
                    <a:pt x="1806337" y="1820021"/>
                    <a:pt x="1806337" y="1820021"/>
                  </a:cubicBezTo>
                  <a:lnTo>
                    <a:pt x="1808618" y="1816437"/>
                  </a:lnTo>
                  <a:lnTo>
                    <a:pt x="1808618" y="1813993"/>
                  </a:lnTo>
                  <a:cubicBezTo>
                    <a:pt x="1808618" y="1813993"/>
                    <a:pt x="1810898" y="1809758"/>
                    <a:pt x="1810898" y="1809758"/>
                  </a:cubicBezTo>
                  <a:lnTo>
                    <a:pt x="1814156" y="1806500"/>
                  </a:lnTo>
                  <a:lnTo>
                    <a:pt x="1814482" y="1804545"/>
                  </a:lnTo>
                  <a:lnTo>
                    <a:pt x="1816763" y="1802264"/>
                  </a:lnTo>
                  <a:lnTo>
                    <a:pt x="1818392" y="1800635"/>
                  </a:lnTo>
                  <a:lnTo>
                    <a:pt x="1820673" y="1796399"/>
                  </a:lnTo>
                  <a:lnTo>
                    <a:pt x="1823605" y="1794444"/>
                  </a:lnTo>
                  <a:lnTo>
                    <a:pt x="1825560" y="1791512"/>
                  </a:lnTo>
                  <a:lnTo>
                    <a:pt x="1828004" y="1790697"/>
                  </a:lnTo>
                  <a:lnTo>
                    <a:pt x="1828655" y="1789068"/>
                  </a:lnTo>
                  <a:lnTo>
                    <a:pt x="1828655" y="1786788"/>
                  </a:lnTo>
                  <a:cubicBezTo>
                    <a:pt x="1828655" y="1786788"/>
                    <a:pt x="1830121" y="1784018"/>
                    <a:pt x="1830121" y="1784018"/>
                  </a:cubicBezTo>
                  <a:lnTo>
                    <a:pt x="1831425" y="1780923"/>
                  </a:lnTo>
                  <a:lnTo>
                    <a:pt x="1831099" y="1783692"/>
                  </a:lnTo>
                  <a:lnTo>
                    <a:pt x="1830447" y="1785973"/>
                  </a:lnTo>
                  <a:lnTo>
                    <a:pt x="1831913" y="1788091"/>
                  </a:lnTo>
                  <a:lnTo>
                    <a:pt x="1834846" y="1783366"/>
                  </a:lnTo>
                  <a:lnTo>
                    <a:pt x="1839570" y="1778642"/>
                  </a:lnTo>
                  <a:lnTo>
                    <a:pt x="1840873" y="1776035"/>
                  </a:lnTo>
                  <a:lnTo>
                    <a:pt x="1839244" y="1773755"/>
                  </a:lnTo>
                  <a:lnTo>
                    <a:pt x="1837452" y="1773755"/>
                  </a:lnTo>
                  <a:lnTo>
                    <a:pt x="1835172" y="1775547"/>
                  </a:lnTo>
                  <a:lnTo>
                    <a:pt x="1834357" y="1771963"/>
                  </a:lnTo>
                  <a:lnTo>
                    <a:pt x="1832728" y="1770497"/>
                  </a:lnTo>
                  <a:lnTo>
                    <a:pt x="1833868" y="1768216"/>
                  </a:lnTo>
                  <a:lnTo>
                    <a:pt x="1836475" y="1767564"/>
                  </a:lnTo>
                  <a:lnTo>
                    <a:pt x="1840222" y="1768379"/>
                  </a:lnTo>
                  <a:lnTo>
                    <a:pt x="1843969" y="1770497"/>
                  </a:lnTo>
                  <a:lnTo>
                    <a:pt x="1845924" y="1769519"/>
                  </a:lnTo>
                  <a:lnTo>
                    <a:pt x="1847716" y="1766750"/>
                  </a:lnTo>
                  <a:lnTo>
                    <a:pt x="1847716" y="1760396"/>
                  </a:lnTo>
                  <a:cubicBezTo>
                    <a:pt x="1847716" y="1760396"/>
                    <a:pt x="1844457" y="1760559"/>
                    <a:pt x="1844457" y="1760559"/>
                  </a:cubicBezTo>
                  <a:lnTo>
                    <a:pt x="1841525" y="1761700"/>
                  </a:lnTo>
                  <a:lnTo>
                    <a:pt x="1841851" y="1763492"/>
                  </a:lnTo>
                  <a:lnTo>
                    <a:pt x="1839570" y="1763492"/>
                  </a:lnTo>
                  <a:cubicBezTo>
                    <a:pt x="1839570" y="1763492"/>
                    <a:pt x="1839896" y="1760885"/>
                    <a:pt x="1839896" y="1760885"/>
                  </a:cubicBezTo>
                  <a:lnTo>
                    <a:pt x="1839407" y="1759093"/>
                  </a:lnTo>
                  <a:lnTo>
                    <a:pt x="1837127" y="1760559"/>
                  </a:lnTo>
                  <a:lnTo>
                    <a:pt x="1834683" y="1763166"/>
                  </a:lnTo>
                  <a:lnTo>
                    <a:pt x="1831588" y="1763166"/>
                  </a:lnTo>
                  <a:lnTo>
                    <a:pt x="1829796" y="1765446"/>
                  </a:lnTo>
                  <a:lnTo>
                    <a:pt x="1826700" y="1767727"/>
                  </a:lnTo>
                  <a:lnTo>
                    <a:pt x="1822627" y="1767727"/>
                  </a:lnTo>
                  <a:cubicBezTo>
                    <a:pt x="1822627" y="1767727"/>
                    <a:pt x="1818881" y="1770822"/>
                    <a:pt x="1818881" y="1770822"/>
                  </a:cubicBezTo>
                  <a:lnTo>
                    <a:pt x="1814319" y="1774081"/>
                  </a:lnTo>
                  <a:lnTo>
                    <a:pt x="1813830" y="1777990"/>
                  </a:lnTo>
                  <a:lnTo>
                    <a:pt x="1811224" y="1778479"/>
                  </a:lnTo>
                  <a:lnTo>
                    <a:pt x="1808943" y="1777827"/>
                  </a:lnTo>
                  <a:lnTo>
                    <a:pt x="1808454" y="1778642"/>
                  </a:lnTo>
                  <a:lnTo>
                    <a:pt x="1809758" y="1780271"/>
                  </a:lnTo>
                  <a:lnTo>
                    <a:pt x="1809758" y="1782715"/>
                  </a:lnTo>
                  <a:lnTo>
                    <a:pt x="1809758" y="1782715"/>
                  </a:lnTo>
                  <a:close/>
                  <a:moveTo>
                    <a:pt x="1646849" y="1828981"/>
                  </a:moveTo>
                  <a:lnTo>
                    <a:pt x="1649455" y="1829307"/>
                  </a:lnTo>
                  <a:lnTo>
                    <a:pt x="1659067" y="1836475"/>
                  </a:lnTo>
                  <a:lnTo>
                    <a:pt x="1666235" y="1836475"/>
                  </a:lnTo>
                  <a:lnTo>
                    <a:pt x="1671285" y="1837615"/>
                  </a:lnTo>
                  <a:lnTo>
                    <a:pt x="1675032" y="1840548"/>
                  </a:lnTo>
                  <a:lnTo>
                    <a:pt x="1678453" y="1841036"/>
                  </a:lnTo>
                  <a:lnTo>
                    <a:pt x="1683177" y="1842991"/>
                  </a:lnTo>
                  <a:lnTo>
                    <a:pt x="1689205" y="1841036"/>
                  </a:lnTo>
                  <a:lnTo>
                    <a:pt x="1689857" y="1838104"/>
                  </a:lnTo>
                  <a:lnTo>
                    <a:pt x="1686924" y="1835497"/>
                  </a:lnTo>
                  <a:lnTo>
                    <a:pt x="1685621" y="1833054"/>
                  </a:lnTo>
                  <a:lnTo>
                    <a:pt x="1683014" y="1830773"/>
                  </a:lnTo>
                  <a:lnTo>
                    <a:pt x="1679593" y="1829633"/>
                  </a:lnTo>
                  <a:lnTo>
                    <a:pt x="1675521" y="1824908"/>
                  </a:lnTo>
                  <a:lnTo>
                    <a:pt x="1669819" y="1820673"/>
                  </a:lnTo>
                  <a:lnTo>
                    <a:pt x="1667538" y="1820347"/>
                  </a:lnTo>
                  <a:lnTo>
                    <a:pt x="1662651" y="1814971"/>
                  </a:lnTo>
                  <a:lnTo>
                    <a:pt x="1656623" y="1812690"/>
                  </a:lnTo>
                  <a:lnTo>
                    <a:pt x="1649944" y="1812201"/>
                  </a:lnTo>
                  <a:lnTo>
                    <a:pt x="1638052" y="1808129"/>
                  </a:lnTo>
                  <a:lnTo>
                    <a:pt x="1633490" y="1806174"/>
                  </a:lnTo>
                  <a:lnTo>
                    <a:pt x="1628440" y="1809106"/>
                  </a:lnTo>
                  <a:lnTo>
                    <a:pt x="1630721" y="1813505"/>
                  </a:lnTo>
                  <a:lnTo>
                    <a:pt x="1635771" y="1815785"/>
                  </a:lnTo>
                  <a:lnTo>
                    <a:pt x="1644242" y="1822302"/>
                  </a:lnTo>
                  <a:lnTo>
                    <a:pt x="1645219" y="1826863"/>
                  </a:lnTo>
                  <a:lnTo>
                    <a:pt x="1646523" y="1828981"/>
                  </a:lnTo>
                  <a:lnTo>
                    <a:pt x="1646523" y="1828981"/>
                  </a:lnTo>
                  <a:close/>
                  <a:moveTo>
                    <a:pt x="1648641" y="1945624"/>
                  </a:moveTo>
                  <a:lnTo>
                    <a:pt x="1642613" y="1942855"/>
                  </a:lnTo>
                  <a:lnTo>
                    <a:pt x="1641147" y="1937641"/>
                  </a:lnTo>
                  <a:lnTo>
                    <a:pt x="1629580" y="1936175"/>
                  </a:lnTo>
                  <a:lnTo>
                    <a:pt x="1626322" y="1934546"/>
                  </a:lnTo>
                  <a:lnTo>
                    <a:pt x="1625833" y="1931614"/>
                  </a:lnTo>
                  <a:lnTo>
                    <a:pt x="1623553" y="1929007"/>
                  </a:lnTo>
                  <a:lnTo>
                    <a:pt x="1621598" y="1929007"/>
                  </a:lnTo>
                  <a:cubicBezTo>
                    <a:pt x="1621598" y="1929007"/>
                    <a:pt x="1619806" y="1925749"/>
                    <a:pt x="1619806" y="1925749"/>
                  </a:cubicBezTo>
                  <a:lnTo>
                    <a:pt x="1616873" y="1924772"/>
                  </a:lnTo>
                  <a:lnTo>
                    <a:pt x="1616873" y="1920862"/>
                  </a:lnTo>
                  <a:lnTo>
                    <a:pt x="1614593" y="1918744"/>
                  </a:lnTo>
                  <a:lnTo>
                    <a:pt x="1611823" y="1919233"/>
                  </a:lnTo>
                  <a:lnTo>
                    <a:pt x="1610357" y="1917441"/>
                  </a:lnTo>
                  <a:lnTo>
                    <a:pt x="1612312" y="1913368"/>
                  </a:lnTo>
                  <a:lnTo>
                    <a:pt x="1621761" y="1906689"/>
                  </a:lnTo>
                  <a:lnTo>
                    <a:pt x="1622738" y="1911087"/>
                  </a:lnTo>
                  <a:lnTo>
                    <a:pt x="1619480" y="1914345"/>
                  </a:lnTo>
                  <a:lnTo>
                    <a:pt x="1619480" y="1916137"/>
                  </a:lnTo>
                  <a:cubicBezTo>
                    <a:pt x="1619480" y="1916137"/>
                    <a:pt x="1621272" y="1918744"/>
                    <a:pt x="1621272" y="1918744"/>
                  </a:cubicBezTo>
                  <a:lnTo>
                    <a:pt x="1621272" y="1923143"/>
                  </a:lnTo>
                  <a:cubicBezTo>
                    <a:pt x="1621272" y="1923143"/>
                    <a:pt x="1625345" y="1925423"/>
                    <a:pt x="1625345" y="1925423"/>
                  </a:cubicBezTo>
                  <a:lnTo>
                    <a:pt x="1626159" y="1922165"/>
                  </a:lnTo>
                  <a:lnTo>
                    <a:pt x="1629906" y="1922165"/>
                  </a:lnTo>
                  <a:cubicBezTo>
                    <a:pt x="1629906" y="1922165"/>
                    <a:pt x="1636422" y="1927215"/>
                    <a:pt x="1636422" y="1927215"/>
                  </a:cubicBezTo>
                  <a:lnTo>
                    <a:pt x="1639192" y="1927215"/>
                  </a:lnTo>
                  <a:lnTo>
                    <a:pt x="1641636" y="1929496"/>
                  </a:lnTo>
                  <a:lnTo>
                    <a:pt x="1648967" y="1929496"/>
                  </a:lnTo>
                  <a:cubicBezTo>
                    <a:pt x="1648967" y="1929496"/>
                    <a:pt x="1650921" y="1927052"/>
                    <a:pt x="1650921" y="1927052"/>
                  </a:cubicBezTo>
                  <a:lnTo>
                    <a:pt x="1655320" y="1928356"/>
                  </a:lnTo>
                  <a:lnTo>
                    <a:pt x="1662651" y="1928681"/>
                  </a:lnTo>
                  <a:lnTo>
                    <a:pt x="1660370" y="1930310"/>
                  </a:lnTo>
                  <a:lnTo>
                    <a:pt x="1654831" y="1931288"/>
                  </a:lnTo>
                  <a:lnTo>
                    <a:pt x="1653202" y="1936012"/>
                  </a:lnTo>
                  <a:lnTo>
                    <a:pt x="1653854" y="1939108"/>
                  </a:lnTo>
                  <a:lnTo>
                    <a:pt x="1652062" y="1944158"/>
                  </a:lnTo>
                  <a:lnTo>
                    <a:pt x="1648315" y="1945624"/>
                  </a:lnTo>
                  <a:lnTo>
                    <a:pt x="1648315" y="1945624"/>
                  </a:lnTo>
                  <a:close/>
                  <a:moveTo>
                    <a:pt x="1685621" y="1962892"/>
                  </a:moveTo>
                  <a:lnTo>
                    <a:pt x="1683829" y="1959308"/>
                  </a:lnTo>
                  <a:lnTo>
                    <a:pt x="1676009" y="1955561"/>
                  </a:lnTo>
                  <a:lnTo>
                    <a:pt x="1675521" y="1948556"/>
                  </a:lnTo>
                  <a:lnTo>
                    <a:pt x="1673729" y="1945298"/>
                  </a:lnTo>
                  <a:lnTo>
                    <a:pt x="1675684" y="1941551"/>
                  </a:lnTo>
                  <a:lnTo>
                    <a:pt x="1682852" y="1937479"/>
                  </a:lnTo>
                  <a:lnTo>
                    <a:pt x="1688227" y="1929496"/>
                  </a:lnTo>
                  <a:lnTo>
                    <a:pt x="1690671" y="1927052"/>
                  </a:lnTo>
                  <a:lnTo>
                    <a:pt x="1693115" y="1921676"/>
                  </a:lnTo>
                  <a:lnTo>
                    <a:pt x="1699143" y="1916952"/>
                  </a:lnTo>
                  <a:lnTo>
                    <a:pt x="1701423" y="1913042"/>
                  </a:lnTo>
                  <a:lnTo>
                    <a:pt x="1705170" y="1912390"/>
                  </a:lnTo>
                  <a:lnTo>
                    <a:pt x="1705659" y="1914508"/>
                  </a:lnTo>
                  <a:lnTo>
                    <a:pt x="1703378" y="1918092"/>
                  </a:lnTo>
                  <a:lnTo>
                    <a:pt x="1707777" y="1918581"/>
                  </a:lnTo>
                  <a:lnTo>
                    <a:pt x="1707777" y="1921839"/>
                  </a:lnTo>
                  <a:cubicBezTo>
                    <a:pt x="1707777" y="1921839"/>
                    <a:pt x="1702401" y="1931288"/>
                    <a:pt x="1702401" y="1931288"/>
                  </a:cubicBezTo>
                  <a:lnTo>
                    <a:pt x="1698979" y="1934383"/>
                  </a:lnTo>
                  <a:lnTo>
                    <a:pt x="1704193" y="1936175"/>
                  </a:lnTo>
                  <a:lnTo>
                    <a:pt x="1706148" y="1939922"/>
                  </a:lnTo>
                  <a:lnTo>
                    <a:pt x="1703704" y="1943180"/>
                  </a:lnTo>
                  <a:lnTo>
                    <a:pt x="1705496" y="1945298"/>
                  </a:lnTo>
                  <a:lnTo>
                    <a:pt x="1708591" y="1943343"/>
                  </a:lnTo>
                  <a:lnTo>
                    <a:pt x="1708591" y="1939596"/>
                  </a:lnTo>
                  <a:cubicBezTo>
                    <a:pt x="1708591" y="1939596"/>
                    <a:pt x="1711686" y="1938782"/>
                    <a:pt x="1711686" y="1938782"/>
                  </a:cubicBezTo>
                  <a:lnTo>
                    <a:pt x="1716737" y="1940574"/>
                  </a:lnTo>
                  <a:lnTo>
                    <a:pt x="1717714" y="1946276"/>
                  </a:lnTo>
                  <a:lnTo>
                    <a:pt x="1719017" y="1948393"/>
                  </a:lnTo>
                  <a:lnTo>
                    <a:pt x="1714293" y="1950022"/>
                  </a:lnTo>
                  <a:lnTo>
                    <a:pt x="1711686" y="1952140"/>
                  </a:lnTo>
                  <a:lnTo>
                    <a:pt x="1704518" y="1953118"/>
                  </a:lnTo>
                  <a:lnTo>
                    <a:pt x="1696699" y="1958983"/>
                  </a:lnTo>
                  <a:lnTo>
                    <a:pt x="1692137" y="1958983"/>
                  </a:lnTo>
                  <a:lnTo>
                    <a:pt x="1690183" y="1956376"/>
                  </a:lnTo>
                  <a:lnTo>
                    <a:pt x="1688227" y="1957190"/>
                  </a:lnTo>
                  <a:lnTo>
                    <a:pt x="1687250" y="1961915"/>
                  </a:lnTo>
                  <a:lnTo>
                    <a:pt x="1685784" y="1962892"/>
                  </a:lnTo>
                  <a:lnTo>
                    <a:pt x="1685784" y="1962892"/>
                  </a:lnTo>
                  <a:close/>
                  <a:moveTo>
                    <a:pt x="1289589" y="1654017"/>
                  </a:moveTo>
                  <a:lnTo>
                    <a:pt x="1289915" y="1659393"/>
                  </a:lnTo>
                  <a:lnTo>
                    <a:pt x="1291218" y="1661022"/>
                  </a:lnTo>
                  <a:lnTo>
                    <a:pt x="1292358" y="1658578"/>
                  </a:lnTo>
                  <a:lnTo>
                    <a:pt x="1292358" y="1652713"/>
                  </a:lnTo>
                  <a:lnTo>
                    <a:pt x="1290892" y="1653691"/>
                  </a:lnTo>
                  <a:lnTo>
                    <a:pt x="1289589" y="1654017"/>
                  </a:lnTo>
                  <a:lnTo>
                    <a:pt x="1289589" y="1654017"/>
                  </a:lnTo>
                  <a:close/>
                  <a:moveTo>
                    <a:pt x="1288448" y="1711686"/>
                  </a:moveTo>
                  <a:lnTo>
                    <a:pt x="1290240" y="1707777"/>
                  </a:lnTo>
                  <a:lnTo>
                    <a:pt x="1293987" y="1706962"/>
                  </a:lnTo>
                  <a:lnTo>
                    <a:pt x="1295779" y="1705333"/>
                  </a:lnTo>
                  <a:lnTo>
                    <a:pt x="1297083" y="1709406"/>
                  </a:lnTo>
                  <a:lnTo>
                    <a:pt x="1291381" y="1712501"/>
                  </a:lnTo>
                  <a:lnTo>
                    <a:pt x="1288611" y="1711686"/>
                  </a:lnTo>
                  <a:lnTo>
                    <a:pt x="1288611" y="1711686"/>
                  </a:lnTo>
                  <a:close/>
                  <a:moveTo>
                    <a:pt x="1241368" y="1670959"/>
                  </a:moveTo>
                  <a:lnTo>
                    <a:pt x="1246418" y="1664769"/>
                  </a:lnTo>
                  <a:lnTo>
                    <a:pt x="1250491" y="1665583"/>
                  </a:lnTo>
                  <a:lnTo>
                    <a:pt x="1250817" y="1661999"/>
                  </a:lnTo>
                  <a:lnTo>
                    <a:pt x="1253423" y="1660044"/>
                  </a:lnTo>
                  <a:lnTo>
                    <a:pt x="1258473" y="1660044"/>
                  </a:lnTo>
                  <a:lnTo>
                    <a:pt x="1259613" y="1662162"/>
                  </a:lnTo>
                  <a:lnTo>
                    <a:pt x="1263686" y="1661673"/>
                  </a:lnTo>
                  <a:lnTo>
                    <a:pt x="1269551" y="1666723"/>
                  </a:lnTo>
                  <a:lnTo>
                    <a:pt x="1270691" y="1672099"/>
                  </a:lnTo>
                  <a:lnTo>
                    <a:pt x="1271995" y="1674380"/>
                  </a:lnTo>
                  <a:lnTo>
                    <a:pt x="1270854" y="1678127"/>
                  </a:lnTo>
                  <a:lnTo>
                    <a:pt x="1258799" y="1675684"/>
                  </a:lnTo>
                  <a:lnTo>
                    <a:pt x="1254726" y="1673077"/>
                  </a:lnTo>
                  <a:lnTo>
                    <a:pt x="1250165" y="1673077"/>
                  </a:lnTo>
                  <a:cubicBezTo>
                    <a:pt x="1250165" y="1673077"/>
                    <a:pt x="1250002" y="1676009"/>
                    <a:pt x="1250002" y="1676009"/>
                  </a:cubicBezTo>
                  <a:lnTo>
                    <a:pt x="1250491" y="1677801"/>
                  </a:lnTo>
                  <a:lnTo>
                    <a:pt x="1247721" y="1675195"/>
                  </a:lnTo>
                  <a:lnTo>
                    <a:pt x="1247232" y="1672751"/>
                  </a:lnTo>
                  <a:lnTo>
                    <a:pt x="1242834" y="1673240"/>
                  </a:lnTo>
                  <a:lnTo>
                    <a:pt x="1241205" y="1671122"/>
                  </a:lnTo>
                  <a:lnTo>
                    <a:pt x="1241205" y="1671122"/>
                  </a:lnTo>
                  <a:close/>
                  <a:moveTo>
                    <a:pt x="194676" y="1691649"/>
                  </a:moveTo>
                  <a:lnTo>
                    <a:pt x="200215" y="1695884"/>
                  </a:lnTo>
                  <a:lnTo>
                    <a:pt x="204777" y="1702564"/>
                  </a:lnTo>
                  <a:lnTo>
                    <a:pt x="203311" y="1705170"/>
                  </a:lnTo>
                  <a:lnTo>
                    <a:pt x="195980" y="1698491"/>
                  </a:lnTo>
                  <a:lnTo>
                    <a:pt x="194676" y="1691649"/>
                  </a:lnTo>
                  <a:lnTo>
                    <a:pt x="194676" y="1691649"/>
                  </a:lnTo>
                  <a:close/>
                  <a:moveTo>
                    <a:pt x="185554" y="1680082"/>
                  </a:moveTo>
                  <a:lnTo>
                    <a:pt x="184413" y="1672751"/>
                  </a:lnTo>
                  <a:lnTo>
                    <a:pt x="188160" y="1671611"/>
                  </a:lnTo>
                  <a:lnTo>
                    <a:pt x="185554" y="1680082"/>
                  </a:lnTo>
                  <a:lnTo>
                    <a:pt x="185554" y="1680082"/>
                  </a:lnTo>
                  <a:close/>
                  <a:moveTo>
                    <a:pt x="157370" y="1655646"/>
                  </a:moveTo>
                  <a:lnTo>
                    <a:pt x="164538" y="1658741"/>
                  </a:lnTo>
                  <a:lnTo>
                    <a:pt x="164212" y="1654831"/>
                  </a:lnTo>
                  <a:lnTo>
                    <a:pt x="157370" y="1655646"/>
                  </a:lnTo>
                  <a:lnTo>
                    <a:pt x="157370" y="1655646"/>
                  </a:lnTo>
                  <a:close/>
                  <a:moveTo>
                    <a:pt x="114688" y="1636911"/>
                  </a:moveTo>
                  <a:lnTo>
                    <a:pt x="116969" y="1643916"/>
                  </a:lnTo>
                  <a:lnTo>
                    <a:pt x="119249" y="1644242"/>
                  </a:lnTo>
                  <a:lnTo>
                    <a:pt x="121530" y="1650595"/>
                  </a:lnTo>
                  <a:lnTo>
                    <a:pt x="134074" y="1652062"/>
                  </a:lnTo>
                  <a:lnTo>
                    <a:pt x="128861" y="1654994"/>
                  </a:lnTo>
                  <a:lnTo>
                    <a:pt x="122508" y="1654668"/>
                  </a:lnTo>
                  <a:lnTo>
                    <a:pt x="118761" y="1660207"/>
                  </a:lnTo>
                  <a:lnTo>
                    <a:pt x="121693" y="1661999"/>
                  </a:lnTo>
                  <a:lnTo>
                    <a:pt x="118924" y="1668190"/>
                  </a:lnTo>
                  <a:lnTo>
                    <a:pt x="120390" y="1669819"/>
                  </a:lnTo>
                  <a:lnTo>
                    <a:pt x="126255" y="1667864"/>
                  </a:lnTo>
                  <a:lnTo>
                    <a:pt x="127069" y="1672588"/>
                  </a:lnTo>
                  <a:lnTo>
                    <a:pt x="132608" y="1672262"/>
                  </a:lnTo>
                  <a:lnTo>
                    <a:pt x="132608" y="1677313"/>
                  </a:lnTo>
                  <a:cubicBezTo>
                    <a:pt x="132608" y="1677313"/>
                    <a:pt x="137821" y="1680734"/>
                    <a:pt x="137821" y="1680734"/>
                  </a:cubicBezTo>
                  <a:lnTo>
                    <a:pt x="143197" y="1677801"/>
                  </a:lnTo>
                  <a:lnTo>
                    <a:pt x="136355" y="1685784"/>
                  </a:lnTo>
                  <a:lnTo>
                    <a:pt x="139450" y="1691974"/>
                  </a:lnTo>
                  <a:lnTo>
                    <a:pt x="143197" y="1690671"/>
                  </a:lnTo>
                  <a:lnTo>
                    <a:pt x="143686" y="1686110"/>
                  </a:lnTo>
                  <a:lnTo>
                    <a:pt x="150365" y="1684318"/>
                  </a:lnTo>
                  <a:lnTo>
                    <a:pt x="148736" y="1690345"/>
                  </a:lnTo>
                  <a:lnTo>
                    <a:pt x="144500" y="1694255"/>
                  </a:lnTo>
                  <a:lnTo>
                    <a:pt x="144826" y="1698491"/>
                  </a:lnTo>
                  <a:lnTo>
                    <a:pt x="147433" y="1697513"/>
                  </a:lnTo>
                  <a:lnTo>
                    <a:pt x="148899" y="1703541"/>
                  </a:lnTo>
                  <a:lnTo>
                    <a:pt x="157696" y="1702564"/>
                  </a:lnTo>
                  <a:lnTo>
                    <a:pt x="157207" y="1706799"/>
                  </a:lnTo>
                  <a:lnTo>
                    <a:pt x="160465" y="1707288"/>
                  </a:lnTo>
                  <a:lnTo>
                    <a:pt x="162258" y="1712012"/>
                  </a:lnTo>
                  <a:lnTo>
                    <a:pt x="160628" y="1716737"/>
                  </a:lnTo>
                  <a:lnTo>
                    <a:pt x="166330" y="1721950"/>
                  </a:lnTo>
                  <a:lnTo>
                    <a:pt x="170240" y="1718529"/>
                  </a:lnTo>
                  <a:lnTo>
                    <a:pt x="172684" y="1721135"/>
                  </a:lnTo>
                  <a:lnTo>
                    <a:pt x="177245" y="1721135"/>
                  </a:lnTo>
                  <a:lnTo>
                    <a:pt x="170077" y="1728629"/>
                  </a:lnTo>
                  <a:lnTo>
                    <a:pt x="179689" y="1738404"/>
                  </a:lnTo>
                  <a:lnTo>
                    <a:pt x="182947" y="1739381"/>
                  </a:lnTo>
                  <a:lnTo>
                    <a:pt x="184902" y="1743128"/>
                  </a:lnTo>
                  <a:lnTo>
                    <a:pt x="200541" y="1752088"/>
                  </a:lnTo>
                  <a:lnTo>
                    <a:pt x="203148" y="1750296"/>
                  </a:lnTo>
                  <a:lnTo>
                    <a:pt x="207709" y="1750785"/>
                  </a:lnTo>
                  <a:lnTo>
                    <a:pt x="204288" y="1737752"/>
                  </a:lnTo>
                  <a:lnTo>
                    <a:pt x="205266" y="1731073"/>
                  </a:lnTo>
                  <a:lnTo>
                    <a:pt x="203474" y="1727000"/>
                  </a:lnTo>
                  <a:lnTo>
                    <a:pt x="204614" y="1717062"/>
                  </a:lnTo>
                  <a:lnTo>
                    <a:pt x="200378" y="1711198"/>
                  </a:lnTo>
                  <a:lnTo>
                    <a:pt x="188812" y="1703215"/>
                  </a:lnTo>
                  <a:lnTo>
                    <a:pt x="187671" y="1688553"/>
                  </a:lnTo>
                  <a:lnTo>
                    <a:pt x="181644" y="1679268"/>
                  </a:lnTo>
                  <a:lnTo>
                    <a:pt x="181644" y="1670470"/>
                  </a:lnTo>
                  <a:cubicBezTo>
                    <a:pt x="181644" y="1670470"/>
                    <a:pt x="178711" y="1667538"/>
                    <a:pt x="178711" y="1667538"/>
                  </a:cubicBezTo>
                  <a:lnTo>
                    <a:pt x="173335" y="1666723"/>
                  </a:lnTo>
                  <a:lnTo>
                    <a:pt x="164375" y="1661999"/>
                  </a:lnTo>
                  <a:lnTo>
                    <a:pt x="159162" y="1661999"/>
                  </a:lnTo>
                  <a:lnTo>
                    <a:pt x="153460" y="1659718"/>
                  </a:lnTo>
                  <a:lnTo>
                    <a:pt x="151180" y="1655320"/>
                  </a:lnTo>
                  <a:lnTo>
                    <a:pt x="143034" y="1650921"/>
                  </a:lnTo>
                  <a:lnTo>
                    <a:pt x="139287" y="1646523"/>
                  </a:lnTo>
                  <a:lnTo>
                    <a:pt x="137984" y="1641798"/>
                  </a:lnTo>
                  <a:lnTo>
                    <a:pt x="132119" y="1642124"/>
                  </a:lnTo>
                  <a:lnTo>
                    <a:pt x="129024" y="1636585"/>
                  </a:lnTo>
                  <a:lnTo>
                    <a:pt x="124463" y="1635445"/>
                  </a:lnTo>
                  <a:lnTo>
                    <a:pt x="122508" y="1637237"/>
                  </a:lnTo>
                  <a:lnTo>
                    <a:pt x="114851" y="1636748"/>
                  </a:lnTo>
                  <a:lnTo>
                    <a:pt x="114851" y="1636748"/>
                  </a:lnTo>
                  <a:close/>
                  <a:moveTo>
                    <a:pt x="160954" y="1648152"/>
                  </a:moveTo>
                  <a:lnTo>
                    <a:pt x="164212" y="1648152"/>
                  </a:lnTo>
                  <a:cubicBezTo>
                    <a:pt x="164212" y="1648152"/>
                    <a:pt x="165679" y="1645871"/>
                    <a:pt x="165679" y="1645871"/>
                  </a:cubicBezTo>
                  <a:lnTo>
                    <a:pt x="168774" y="1648152"/>
                  </a:lnTo>
                  <a:lnTo>
                    <a:pt x="164864" y="1651573"/>
                  </a:lnTo>
                  <a:lnTo>
                    <a:pt x="160465" y="1651899"/>
                  </a:lnTo>
                  <a:lnTo>
                    <a:pt x="160791" y="1647989"/>
                  </a:lnTo>
                  <a:lnTo>
                    <a:pt x="160791" y="1647989"/>
                  </a:lnTo>
                  <a:close/>
                  <a:moveTo>
                    <a:pt x="156230" y="1644079"/>
                  </a:moveTo>
                  <a:lnTo>
                    <a:pt x="159325" y="1640169"/>
                  </a:lnTo>
                  <a:lnTo>
                    <a:pt x="161280" y="1644568"/>
                  </a:lnTo>
                  <a:lnTo>
                    <a:pt x="156067" y="1644079"/>
                  </a:lnTo>
                  <a:lnTo>
                    <a:pt x="156067" y="1644079"/>
                  </a:lnTo>
                  <a:close/>
                  <a:moveTo>
                    <a:pt x="126906" y="1531346"/>
                  </a:moveTo>
                  <a:lnTo>
                    <a:pt x="126906" y="1537862"/>
                  </a:lnTo>
                  <a:lnTo>
                    <a:pt x="129513" y="1535582"/>
                  </a:lnTo>
                  <a:lnTo>
                    <a:pt x="126906" y="1531346"/>
                  </a:lnTo>
                  <a:lnTo>
                    <a:pt x="126906" y="1531346"/>
                  </a:lnTo>
                  <a:close/>
                  <a:moveTo>
                    <a:pt x="140265" y="1584129"/>
                  </a:moveTo>
                  <a:lnTo>
                    <a:pt x="139939" y="1580056"/>
                  </a:lnTo>
                  <a:lnTo>
                    <a:pt x="142220" y="1578590"/>
                  </a:lnTo>
                  <a:lnTo>
                    <a:pt x="143523" y="1580545"/>
                  </a:lnTo>
                  <a:lnTo>
                    <a:pt x="141731" y="1584129"/>
                  </a:lnTo>
                  <a:lnTo>
                    <a:pt x="140102" y="1584129"/>
                  </a:lnTo>
                  <a:close/>
                  <a:moveTo>
                    <a:pt x="139287" y="1600094"/>
                  </a:moveTo>
                  <a:lnTo>
                    <a:pt x="135866" y="1603841"/>
                  </a:lnTo>
                  <a:lnTo>
                    <a:pt x="136192" y="1608402"/>
                  </a:lnTo>
                  <a:lnTo>
                    <a:pt x="138961" y="1611497"/>
                  </a:lnTo>
                  <a:lnTo>
                    <a:pt x="140428" y="1604492"/>
                  </a:lnTo>
                  <a:lnTo>
                    <a:pt x="139287" y="1600094"/>
                  </a:lnTo>
                  <a:lnTo>
                    <a:pt x="139287" y="1600094"/>
                  </a:lnTo>
                  <a:close/>
                  <a:moveTo>
                    <a:pt x="143523" y="1594229"/>
                  </a:moveTo>
                  <a:lnTo>
                    <a:pt x="146781" y="1588038"/>
                  </a:lnTo>
                  <a:lnTo>
                    <a:pt x="144826" y="1585758"/>
                  </a:lnTo>
                  <a:lnTo>
                    <a:pt x="138799" y="1589179"/>
                  </a:lnTo>
                  <a:lnTo>
                    <a:pt x="137658" y="1594229"/>
                  </a:lnTo>
                  <a:lnTo>
                    <a:pt x="139939" y="1593903"/>
                  </a:lnTo>
                  <a:cubicBezTo>
                    <a:pt x="139939" y="1593903"/>
                    <a:pt x="143197" y="1594229"/>
                    <a:pt x="143686" y="1594229"/>
                  </a:cubicBezTo>
                  <a:lnTo>
                    <a:pt x="143686" y="1594229"/>
                  </a:lnTo>
                  <a:close/>
                  <a:moveTo>
                    <a:pt x="148247" y="1589016"/>
                  </a:moveTo>
                  <a:lnTo>
                    <a:pt x="154275" y="1580382"/>
                  </a:lnTo>
                  <a:lnTo>
                    <a:pt x="158185" y="1580382"/>
                  </a:lnTo>
                  <a:cubicBezTo>
                    <a:pt x="158185" y="1580382"/>
                    <a:pt x="161932" y="1575820"/>
                    <a:pt x="161932" y="1575820"/>
                  </a:cubicBezTo>
                  <a:lnTo>
                    <a:pt x="168937" y="1573377"/>
                  </a:lnTo>
                  <a:lnTo>
                    <a:pt x="168285" y="1576146"/>
                  </a:lnTo>
                  <a:lnTo>
                    <a:pt x="160791" y="1583151"/>
                  </a:lnTo>
                  <a:lnTo>
                    <a:pt x="156881" y="1583640"/>
                  </a:lnTo>
                  <a:lnTo>
                    <a:pt x="151342" y="1588690"/>
                  </a:lnTo>
                  <a:lnTo>
                    <a:pt x="148410" y="1589016"/>
                  </a:lnTo>
                  <a:lnTo>
                    <a:pt x="148410" y="1589016"/>
                  </a:lnTo>
                  <a:close/>
                  <a:moveTo>
                    <a:pt x="144338" y="1561484"/>
                  </a:moveTo>
                  <a:lnTo>
                    <a:pt x="144338" y="1555782"/>
                  </a:lnTo>
                  <a:lnTo>
                    <a:pt x="147596" y="1551221"/>
                  </a:lnTo>
                  <a:lnTo>
                    <a:pt x="149225" y="1556434"/>
                  </a:lnTo>
                  <a:lnTo>
                    <a:pt x="146455" y="1558389"/>
                  </a:lnTo>
                  <a:lnTo>
                    <a:pt x="146455" y="1560018"/>
                  </a:lnTo>
                  <a:lnTo>
                    <a:pt x="144175" y="1561484"/>
                  </a:lnTo>
                  <a:lnTo>
                    <a:pt x="144175" y="1561484"/>
                  </a:lnTo>
                  <a:close/>
                  <a:moveTo>
                    <a:pt x="133748" y="1560018"/>
                  </a:moveTo>
                  <a:lnTo>
                    <a:pt x="139613" y="1562787"/>
                  </a:lnTo>
                  <a:lnTo>
                    <a:pt x="141568" y="1559855"/>
                  </a:lnTo>
                  <a:lnTo>
                    <a:pt x="139939" y="1556923"/>
                  </a:lnTo>
                  <a:lnTo>
                    <a:pt x="133748" y="1560018"/>
                  </a:lnTo>
                  <a:lnTo>
                    <a:pt x="133748" y="1560018"/>
                  </a:lnTo>
                  <a:close/>
                  <a:moveTo>
                    <a:pt x="126255" y="1544705"/>
                  </a:moveTo>
                  <a:lnTo>
                    <a:pt x="125603" y="1554153"/>
                  </a:lnTo>
                  <a:lnTo>
                    <a:pt x="128698" y="1556434"/>
                  </a:lnTo>
                  <a:lnTo>
                    <a:pt x="128698" y="1560181"/>
                  </a:lnTo>
                  <a:cubicBezTo>
                    <a:pt x="128698" y="1560181"/>
                    <a:pt x="131793" y="1555457"/>
                    <a:pt x="131793" y="1555457"/>
                  </a:cubicBezTo>
                  <a:lnTo>
                    <a:pt x="129838" y="1549755"/>
                  </a:lnTo>
                  <a:lnTo>
                    <a:pt x="126417" y="1545030"/>
                  </a:lnTo>
                  <a:lnTo>
                    <a:pt x="126417" y="1545030"/>
                  </a:lnTo>
                  <a:close/>
                  <a:moveTo>
                    <a:pt x="130327" y="1540306"/>
                  </a:moveTo>
                  <a:lnTo>
                    <a:pt x="134400" y="1541121"/>
                  </a:lnTo>
                  <a:lnTo>
                    <a:pt x="133097" y="1544379"/>
                  </a:lnTo>
                  <a:lnTo>
                    <a:pt x="133097" y="1548289"/>
                  </a:lnTo>
                  <a:cubicBezTo>
                    <a:pt x="133097" y="1548289"/>
                    <a:pt x="137169" y="1549103"/>
                    <a:pt x="137169" y="1549103"/>
                  </a:cubicBezTo>
                  <a:lnTo>
                    <a:pt x="142220" y="1544053"/>
                  </a:lnTo>
                  <a:lnTo>
                    <a:pt x="139613" y="1549918"/>
                  </a:lnTo>
                  <a:lnTo>
                    <a:pt x="140428" y="1554642"/>
                  </a:lnTo>
                  <a:lnTo>
                    <a:pt x="145641" y="1549103"/>
                  </a:lnTo>
                  <a:lnTo>
                    <a:pt x="146618" y="1537211"/>
                  </a:lnTo>
                  <a:lnTo>
                    <a:pt x="140916" y="1534115"/>
                  </a:lnTo>
                  <a:lnTo>
                    <a:pt x="135703" y="1535419"/>
                  </a:lnTo>
                  <a:lnTo>
                    <a:pt x="130490" y="1540469"/>
                  </a:lnTo>
                  <a:lnTo>
                    <a:pt x="130490" y="1540469"/>
                  </a:lnTo>
                  <a:close/>
                  <a:moveTo>
                    <a:pt x="130327" y="1528902"/>
                  </a:moveTo>
                  <a:lnTo>
                    <a:pt x="133748" y="1532812"/>
                  </a:lnTo>
                  <a:lnTo>
                    <a:pt x="135052" y="1529880"/>
                  </a:lnTo>
                  <a:lnTo>
                    <a:pt x="133097" y="1526948"/>
                  </a:lnTo>
                  <a:lnTo>
                    <a:pt x="130327" y="1528902"/>
                  </a:lnTo>
                  <a:lnTo>
                    <a:pt x="130327" y="1528902"/>
                  </a:lnTo>
                  <a:close/>
                  <a:moveTo>
                    <a:pt x="139776" y="1520757"/>
                  </a:moveTo>
                  <a:lnTo>
                    <a:pt x="141731" y="1514892"/>
                  </a:lnTo>
                  <a:lnTo>
                    <a:pt x="146944" y="1511960"/>
                  </a:lnTo>
                  <a:lnTo>
                    <a:pt x="149388" y="1512286"/>
                  </a:lnTo>
                  <a:lnTo>
                    <a:pt x="147759" y="1516521"/>
                  </a:lnTo>
                  <a:lnTo>
                    <a:pt x="142871" y="1518313"/>
                  </a:lnTo>
                  <a:lnTo>
                    <a:pt x="139613" y="1520757"/>
                  </a:lnTo>
                  <a:lnTo>
                    <a:pt x="139613" y="1520757"/>
                  </a:lnTo>
                  <a:close/>
                  <a:moveTo>
                    <a:pt x="108823" y="1505932"/>
                  </a:moveTo>
                  <a:lnTo>
                    <a:pt x="119249" y="1518313"/>
                  </a:lnTo>
                  <a:lnTo>
                    <a:pt x="123159" y="1525644"/>
                  </a:lnTo>
                  <a:lnTo>
                    <a:pt x="120879" y="1529880"/>
                  </a:lnTo>
                  <a:lnTo>
                    <a:pt x="116969" y="1528251"/>
                  </a:lnTo>
                  <a:lnTo>
                    <a:pt x="116969" y="1522549"/>
                  </a:lnTo>
                  <a:lnTo>
                    <a:pt x="109475" y="1514240"/>
                  </a:lnTo>
                  <a:lnTo>
                    <a:pt x="107194" y="1509190"/>
                  </a:lnTo>
                  <a:cubicBezTo>
                    <a:pt x="107194" y="1509190"/>
                    <a:pt x="108334" y="1505769"/>
                    <a:pt x="108660" y="1505932"/>
                  </a:cubicBezTo>
                  <a:lnTo>
                    <a:pt x="108660" y="1505932"/>
                  </a:lnTo>
                  <a:close/>
                  <a:moveTo>
                    <a:pt x="118761" y="1500719"/>
                  </a:moveTo>
                  <a:lnTo>
                    <a:pt x="119249" y="1507235"/>
                  </a:lnTo>
                  <a:lnTo>
                    <a:pt x="122996" y="1513263"/>
                  </a:lnTo>
                  <a:lnTo>
                    <a:pt x="123811" y="1520431"/>
                  </a:lnTo>
                  <a:lnTo>
                    <a:pt x="129024" y="1524667"/>
                  </a:lnTo>
                  <a:lnTo>
                    <a:pt x="129838" y="1516521"/>
                  </a:lnTo>
                  <a:lnTo>
                    <a:pt x="125277" y="1506584"/>
                  </a:lnTo>
                  <a:lnTo>
                    <a:pt x="122833" y="1499742"/>
                  </a:lnTo>
                  <a:lnTo>
                    <a:pt x="120390" y="1498927"/>
                  </a:lnTo>
                  <a:lnTo>
                    <a:pt x="118924" y="1500556"/>
                  </a:lnTo>
                  <a:lnTo>
                    <a:pt x="118924" y="1500556"/>
                  </a:lnTo>
                  <a:close/>
                  <a:moveTo>
                    <a:pt x="109801" y="1493714"/>
                  </a:moveTo>
                  <a:lnTo>
                    <a:pt x="117132" y="1493714"/>
                  </a:lnTo>
                  <a:lnTo>
                    <a:pt x="117132" y="1496483"/>
                  </a:lnTo>
                  <a:lnTo>
                    <a:pt x="121042" y="1496483"/>
                  </a:lnTo>
                  <a:lnTo>
                    <a:pt x="123485" y="1490619"/>
                  </a:lnTo>
                  <a:lnTo>
                    <a:pt x="119087" y="1487035"/>
                  </a:lnTo>
                  <a:lnTo>
                    <a:pt x="112896" y="1489804"/>
                  </a:lnTo>
                  <a:lnTo>
                    <a:pt x="109964" y="1493714"/>
                  </a:lnTo>
                  <a:lnTo>
                    <a:pt x="109964" y="1493714"/>
                  </a:lnTo>
                  <a:close/>
                  <a:moveTo>
                    <a:pt x="55878" y="1496809"/>
                  </a:moveTo>
                  <a:lnTo>
                    <a:pt x="54575" y="1487849"/>
                  </a:lnTo>
                  <a:lnTo>
                    <a:pt x="62557" y="1474654"/>
                  </a:lnTo>
                  <a:lnTo>
                    <a:pt x="70703" y="1477097"/>
                  </a:lnTo>
                  <a:lnTo>
                    <a:pt x="69399" y="1483288"/>
                  </a:lnTo>
                  <a:lnTo>
                    <a:pt x="72332" y="1481985"/>
                  </a:lnTo>
                  <a:lnTo>
                    <a:pt x="75590" y="1479052"/>
                  </a:lnTo>
                  <a:lnTo>
                    <a:pt x="79011" y="1480681"/>
                  </a:lnTo>
                  <a:lnTo>
                    <a:pt x="79011" y="1483939"/>
                  </a:lnTo>
                  <a:cubicBezTo>
                    <a:pt x="79011" y="1483939"/>
                    <a:pt x="78685" y="1489804"/>
                    <a:pt x="78685" y="1489804"/>
                  </a:cubicBezTo>
                  <a:lnTo>
                    <a:pt x="74287" y="1494040"/>
                  </a:lnTo>
                  <a:lnTo>
                    <a:pt x="64675" y="1497787"/>
                  </a:lnTo>
                  <a:lnTo>
                    <a:pt x="67607" y="1500230"/>
                  </a:lnTo>
                  <a:lnTo>
                    <a:pt x="68259" y="1503000"/>
                  </a:lnTo>
                  <a:lnTo>
                    <a:pt x="73961" y="1501697"/>
                  </a:lnTo>
                  <a:lnTo>
                    <a:pt x="77219" y="1493714"/>
                  </a:lnTo>
                  <a:lnTo>
                    <a:pt x="83409" y="1486220"/>
                  </a:lnTo>
                  <a:lnTo>
                    <a:pt x="91392" y="1482310"/>
                  </a:lnTo>
                  <a:lnTo>
                    <a:pt x="93836" y="1482799"/>
                  </a:lnTo>
                  <a:lnTo>
                    <a:pt x="84550" y="1493062"/>
                  </a:lnTo>
                  <a:lnTo>
                    <a:pt x="82595" y="1501045"/>
                  </a:lnTo>
                  <a:lnTo>
                    <a:pt x="78033" y="1506584"/>
                  </a:lnTo>
                  <a:lnTo>
                    <a:pt x="77545" y="1515055"/>
                  </a:lnTo>
                  <a:lnTo>
                    <a:pt x="71843" y="1519617"/>
                  </a:lnTo>
                  <a:lnTo>
                    <a:pt x="67281" y="1519617"/>
                  </a:lnTo>
                  <a:lnTo>
                    <a:pt x="63534" y="1523852"/>
                  </a:lnTo>
                  <a:lnTo>
                    <a:pt x="67770" y="1523852"/>
                  </a:lnTo>
                  <a:cubicBezTo>
                    <a:pt x="67770" y="1523852"/>
                    <a:pt x="70865" y="1522223"/>
                    <a:pt x="70865" y="1522223"/>
                  </a:cubicBezTo>
                  <a:lnTo>
                    <a:pt x="76567" y="1522875"/>
                  </a:lnTo>
                  <a:lnTo>
                    <a:pt x="77056" y="1528902"/>
                  </a:lnTo>
                  <a:lnTo>
                    <a:pt x="70214" y="1528902"/>
                  </a:lnTo>
                  <a:cubicBezTo>
                    <a:pt x="70214" y="1528902"/>
                    <a:pt x="67118" y="1534930"/>
                    <a:pt x="67118" y="1534930"/>
                  </a:cubicBezTo>
                  <a:lnTo>
                    <a:pt x="68748" y="1540306"/>
                  </a:lnTo>
                  <a:lnTo>
                    <a:pt x="67770" y="1547474"/>
                  </a:lnTo>
                  <a:lnTo>
                    <a:pt x="70540" y="1556108"/>
                  </a:lnTo>
                  <a:lnTo>
                    <a:pt x="72006" y="1562625"/>
                  </a:lnTo>
                  <a:lnTo>
                    <a:pt x="75753" y="1562625"/>
                  </a:lnTo>
                  <a:cubicBezTo>
                    <a:pt x="75753" y="1562625"/>
                    <a:pt x="78033" y="1565557"/>
                    <a:pt x="78033" y="1565557"/>
                  </a:cubicBezTo>
                  <a:lnTo>
                    <a:pt x="75264" y="1569793"/>
                  </a:lnTo>
                  <a:lnTo>
                    <a:pt x="68585" y="1568326"/>
                  </a:lnTo>
                  <a:lnTo>
                    <a:pt x="60765" y="1551710"/>
                  </a:lnTo>
                  <a:lnTo>
                    <a:pt x="59951" y="1544542"/>
                  </a:lnTo>
                  <a:lnTo>
                    <a:pt x="61417" y="1541121"/>
                  </a:lnTo>
                  <a:lnTo>
                    <a:pt x="55552" y="1539980"/>
                  </a:lnTo>
                  <a:lnTo>
                    <a:pt x="54086" y="1535582"/>
                  </a:lnTo>
                  <a:lnTo>
                    <a:pt x="56041" y="1531835"/>
                  </a:lnTo>
                  <a:lnTo>
                    <a:pt x="61905" y="1532649"/>
                  </a:lnTo>
                  <a:lnTo>
                    <a:pt x="57344" y="1527436"/>
                  </a:lnTo>
                  <a:lnTo>
                    <a:pt x="54249" y="1526133"/>
                  </a:lnTo>
                  <a:lnTo>
                    <a:pt x="57181" y="1520757"/>
                  </a:lnTo>
                  <a:lnTo>
                    <a:pt x="53271" y="1516358"/>
                  </a:lnTo>
                  <a:lnTo>
                    <a:pt x="53923" y="1513589"/>
                  </a:lnTo>
                  <a:lnTo>
                    <a:pt x="58159" y="1514078"/>
                  </a:lnTo>
                  <a:lnTo>
                    <a:pt x="60602" y="1515544"/>
                  </a:lnTo>
                  <a:lnTo>
                    <a:pt x="60602" y="1511145"/>
                  </a:lnTo>
                  <a:cubicBezTo>
                    <a:pt x="60602" y="1511145"/>
                    <a:pt x="57181" y="1507073"/>
                    <a:pt x="57181" y="1507073"/>
                  </a:cubicBezTo>
                  <a:lnTo>
                    <a:pt x="52945" y="1506095"/>
                  </a:lnTo>
                  <a:lnTo>
                    <a:pt x="52620" y="1501534"/>
                  </a:lnTo>
                  <a:lnTo>
                    <a:pt x="55552" y="1496483"/>
                  </a:lnTo>
                  <a:lnTo>
                    <a:pt x="55552" y="1496483"/>
                  </a:lnTo>
                  <a:close/>
                  <a:moveTo>
                    <a:pt x="117457" y="1470255"/>
                  </a:moveTo>
                  <a:lnTo>
                    <a:pt x="116480" y="1465042"/>
                  </a:lnTo>
                  <a:lnTo>
                    <a:pt x="120390" y="1462598"/>
                  </a:lnTo>
                  <a:lnTo>
                    <a:pt x="120390" y="1467323"/>
                  </a:lnTo>
                  <a:cubicBezTo>
                    <a:pt x="120390" y="1467323"/>
                    <a:pt x="117457" y="1470092"/>
                    <a:pt x="117457" y="1470092"/>
                  </a:cubicBezTo>
                  <a:lnTo>
                    <a:pt x="117457" y="1470092"/>
                  </a:lnTo>
                  <a:close/>
                  <a:moveTo>
                    <a:pt x="638278" y="690572"/>
                  </a:moveTo>
                  <a:lnTo>
                    <a:pt x="641373" y="693178"/>
                  </a:lnTo>
                  <a:lnTo>
                    <a:pt x="643654" y="692038"/>
                  </a:lnTo>
                  <a:lnTo>
                    <a:pt x="643654" y="689757"/>
                  </a:lnTo>
                  <a:cubicBezTo>
                    <a:pt x="643654" y="689757"/>
                    <a:pt x="645935" y="688454"/>
                    <a:pt x="645935" y="688454"/>
                  </a:cubicBezTo>
                  <a:lnTo>
                    <a:pt x="640233" y="687802"/>
                  </a:lnTo>
                  <a:lnTo>
                    <a:pt x="638115" y="690572"/>
                  </a:lnTo>
                  <a:lnTo>
                    <a:pt x="638115" y="690572"/>
                  </a:lnTo>
                  <a:close/>
                  <a:moveTo>
                    <a:pt x="589242" y="641373"/>
                  </a:moveTo>
                  <a:lnTo>
                    <a:pt x="592338" y="643165"/>
                  </a:lnTo>
                  <a:lnTo>
                    <a:pt x="597062" y="640559"/>
                  </a:lnTo>
                  <a:lnTo>
                    <a:pt x="597062" y="634857"/>
                  </a:lnTo>
                  <a:cubicBezTo>
                    <a:pt x="597062" y="634857"/>
                    <a:pt x="591360" y="637952"/>
                    <a:pt x="591360" y="637952"/>
                  </a:cubicBezTo>
                  <a:lnTo>
                    <a:pt x="589079" y="641536"/>
                  </a:lnTo>
                  <a:lnTo>
                    <a:pt x="589079" y="641536"/>
                  </a:lnTo>
                  <a:close/>
                  <a:moveTo>
                    <a:pt x="409228" y="656850"/>
                  </a:moveTo>
                  <a:lnTo>
                    <a:pt x="411671" y="658479"/>
                  </a:lnTo>
                  <a:lnTo>
                    <a:pt x="414441" y="654406"/>
                  </a:lnTo>
                  <a:lnTo>
                    <a:pt x="412160" y="653591"/>
                  </a:lnTo>
                  <a:cubicBezTo>
                    <a:pt x="412160" y="653591"/>
                    <a:pt x="409065" y="656850"/>
                    <a:pt x="409065" y="656850"/>
                  </a:cubicBezTo>
                  <a:lnTo>
                    <a:pt x="409065" y="656850"/>
                  </a:lnTo>
                  <a:close/>
                  <a:moveTo>
                    <a:pt x="408413" y="665647"/>
                  </a:moveTo>
                  <a:lnTo>
                    <a:pt x="407273" y="663203"/>
                  </a:lnTo>
                  <a:lnTo>
                    <a:pt x="409879" y="662063"/>
                  </a:lnTo>
                  <a:lnTo>
                    <a:pt x="411346" y="664506"/>
                  </a:lnTo>
                  <a:lnTo>
                    <a:pt x="408576" y="665647"/>
                  </a:lnTo>
                  <a:lnTo>
                    <a:pt x="408576" y="665647"/>
                  </a:lnTo>
                  <a:close/>
                  <a:moveTo>
                    <a:pt x="399127" y="681286"/>
                  </a:moveTo>
                  <a:lnTo>
                    <a:pt x="399453" y="689269"/>
                  </a:lnTo>
                  <a:lnTo>
                    <a:pt x="396521" y="693504"/>
                  </a:lnTo>
                  <a:lnTo>
                    <a:pt x="397498" y="698066"/>
                  </a:lnTo>
                  <a:lnTo>
                    <a:pt x="402549" y="698066"/>
                  </a:lnTo>
                  <a:cubicBezTo>
                    <a:pt x="402549" y="698066"/>
                    <a:pt x="405970" y="695296"/>
                    <a:pt x="405970" y="695296"/>
                  </a:cubicBezTo>
                  <a:lnTo>
                    <a:pt x="410368" y="694970"/>
                  </a:lnTo>
                  <a:lnTo>
                    <a:pt x="427474" y="680797"/>
                  </a:lnTo>
                  <a:lnTo>
                    <a:pt x="434967" y="676725"/>
                  </a:lnTo>
                  <a:lnTo>
                    <a:pt x="438226" y="670534"/>
                  </a:lnTo>
                  <a:lnTo>
                    <a:pt x="435130" y="672163"/>
                  </a:lnTo>
                  <a:lnTo>
                    <a:pt x="432361" y="669882"/>
                  </a:lnTo>
                  <a:lnTo>
                    <a:pt x="431220" y="661085"/>
                  </a:lnTo>
                  <a:lnTo>
                    <a:pt x="427474" y="661574"/>
                  </a:lnTo>
                  <a:lnTo>
                    <a:pt x="424378" y="667765"/>
                  </a:lnTo>
                  <a:lnTo>
                    <a:pt x="419328" y="669720"/>
                  </a:lnTo>
                  <a:lnTo>
                    <a:pt x="420306" y="673792"/>
                  </a:lnTo>
                  <a:lnTo>
                    <a:pt x="416233" y="673466"/>
                  </a:lnTo>
                  <a:lnTo>
                    <a:pt x="414441" y="675095"/>
                  </a:lnTo>
                  <a:lnTo>
                    <a:pt x="412649" y="679494"/>
                  </a:lnTo>
                  <a:lnTo>
                    <a:pt x="410205" y="675095"/>
                  </a:lnTo>
                  <a:lnTo>
                    <a:pt x="412160" y="672489"/>
                  </a:lnTo>
                  <a:lnTo>
                    <a:pt x="409065" y="669557"/>
                  </a:lnTo>
                  <a:lnTo>
                    <a:pt x="405970" y="673466"/>
                  </a:lnTo>
                  <a:lnTo>
                    <a:pt x="404178" y="672326"/>
                  </a:lnTo>
                  <a:lnTo>
                    <a:pt x="401734" y="677865"/>
                  </a:lnTo>
                  <a:lnTo>
                    <a:pt x="398964" y="681123"/>
                  </a:lnTo>
                  <a:lnTo>
                    <a:pt x="398964" y="681123"/>
                  </a:lnTo>
                  <a:close/>
                  <a:moveTo>
                    <a:pt x="380719" y="696925"/>
                  </a:moveTo>
                  <a:lnTo>
                    <a:pt x="382348" y="692364"/>
                  </a:lnTo>
                  <a:lnTo>
                    <a:pt x="382348" y="682101"/>
                  </a:lnTo>
                  <a:cubicBezTo>
                    <a:pt x="382348" y="682101"/>
                    <a:pt x="377135" y="686825"/>
                    <a:pt x="377135" y="686825"/>
                  </a:cubicBezTo>
                  <a:lnTo>
                    <a:pt x="376157" y="691386"/>
                  </a:lnTo>
                  <a:lnTo>
                    <a:pt x="374202" y="693016"/>
                  </a:lnTo>
                  <a:lnTo>
                    <a:pt x="375994" y="694645"/>
                  </a:lnTo>
                  <a:cubicBezTo>
                    <a:pt x="375994" y="694645"/>
                    <a:pt x="380067" y="696599"/>
                    <a:pt x="380556" y="696925"/>
                  </a:cubicBezTo>
                  <a:lnTo>
                    <a:pt x="380556" y="696925"/>
                  </a:lnTo>
                  <a:close/>
                  <a:moveTo>
                    <a:pt x="381859" y="700346"/>
                  </a:moveTo>
                  <a:lnTo>
                    <a:pt x="385117" y="698554"/>
                  </a:lnTo>
                  <a:lnTo>
                    <a:pt x="386746" y="695296"/>
                  </a:lnTo>
                  <a:lnTo>
                    <a:pt x="384303" y="689757"/>
                  </a:lnTo>
                  <a:lnTo>
                    <a:pt x="384629" y="680146"/>
                  </a:lnTo>
                  <a:lnTo>
                    <a:pt x="387561" y="677050"/>
                  </a:lnTo>
                  <a:lnTo>
                    <a:pt x="390167" y="678842"/>
                  </a:lnTo>
                  <a:lnTo>
                    <a:pt x="390982" y="675584"/>
                  </a:lnTo>
                  <a:lnTo>
                    <a:pt x="393751" y="674281"/>
                  </a:lnTo>
                  <a:lnTo>
                    <a:pt x="396032" y="679820"/>
                  </a:lnTo>
                  <a:lnTo>
                    <a:pt x="395380" y="692201"/>
                  </a:lnTo>
                  <a:lnTo>
                    <a:pt x="392774" y="696111"/>
                  </a:lnTo>
                  <a:lnTo>
                    <a:pt x="395055" y="700184"/>
                  </a:lnTo>
                  <a:lnTo>
                    <a:pt x="388212" y="703605"/>
                  </a:lnTo>
                  <a:lnTo>
                    <a:pt x="382022" y="700509"/>
                  </a:lnTo>
                  <a:lnTo>
                    <a:pt x="382022" y="700509"/>
                  </a:lnTo>
                  <a:close/>
                  <a:moveTo>
                    <a:pt x="389842" y="726412"/>
                  </a:moveTo>
                  <a:lnTo>
                    <a:pt x="392611" y="722013"/>
                  </a:lnTo>
                  <a:lnTo>
                    <a:pt x="389679" y="713542"/>
                  </a:lnTo>
                  <a:lnTo>
                    <a:pt x="389679" y="705560"/>
                  </a:lnTo>
                  <a:lnTo>
                    <a:pt x="384140" y="705560"/>
                  </a:lnTo>
                  <a:lnTo>
                    <a:pt x="377460" y="699043"/>
                  </a:lnTo>
                  <a:lnTo>
                    <a:pt x="374528" y="699532"/>
                  </a:lnTo>
                  <a:lnTo>
                    <a:pt x="374528" y="702953"/>
                  </a:lnTo>
                  <a:lnTo>
                    <a:pt x="383977" y="710936"/>
                  </a:lnTo>
                  <a:lnTo>
                    <a:pt x="377298" y="709958"/>
                  </a:lnTo>
                  <a:lnTo>
                    <a:pt x="377298" y="712890"/>
                  </a:lnTo>
                  <a:lnTo>
                    <a:pt x="382674" y="717126"/>
                  </a:lnTo>
                  <a:lnTo>
                    <a:pt x="389842" y="726086"/>
                  </a:lnTo>
                  <a:lnTo>
                    <a:pt x="389842" y="726086"/>
                  </a:lnTo>
                  <a:close/>
                  <a:moveTo>
                    <a:pt x="332660" y="633554"/>
                  </a:moveTo>
                  <a:lnTo>
                    <a:pt x="336407" y="639418"/>
                  </a:lnTo>
                  <a:lnTo>
                    <a:pt x="339666" y="638441"/>
                  </a:lnTo>
                  <a:lnTo>
                    <a:pt x="344390" y="641047"/>
                  </a:lnTo>
                  <a:lnTo>
                    <a:pt x="346182" y="639744"/>
                  </a:lnTo>
                  <a:lnTo>
                    <a:pt x="340969" y="632576"/>
                  </a:lnTo>
                  <a:lnTo>
                    <a:pt x="335919" y="630784"/>
                  </a:lnTo>
                  <a:lnTo>
                    <a:pt x="332660" y="633391"/>
                  </a:lnTo>
                  <a:lnTo>
                    <a:pt x="332660" y="633391"/>
                  </a:lnTo>
                  <a:close/>
                  <a:moveTo>
                    <a:pt x="225955" y="1726022"/>
                  </a:moveTo>
                  <a:lnTo>
                    <a:pt x="225955" y="1726022"/>
                  </a:lnTo>
                  <a:cubicBezTo>
                    <a:pt x="225955" y="1726022"/>
                    <a:pt x="222045" y="1725208"/>
                    <a:pt x="222045" y="1725208"/>
                  </a:cubicBezTo>
                  <a:lnTo>
                    <a:pt x="220416" y="1716574"/>
                  </a:lnTo>
                  <a:lnTo>
                    <a:pt x="225140" y="1706310"/>
                  </a:lnTo>
                  <a:lnTo>
                    <a:pt x="226607" y="1699794"/>
                  </a:lnTo>
                  <a:lnTo>
                    <a:pt x="223511" y="1702726"/>
                  </a:lnTo>
                  <a:lnTo>
                    <a:pt x="217647" y="1704681"/>
                  </a:lnTo>
                  <a:lnTo>
                    <a:pt x="211456" y="1708102"/>
                  </a:lnTo>
                  <a:lnTo>
                    <a:pt x="206895" y="1701423"/>
                  </a:lnTo>
                  <a:lnTo>
                    <a:pt x="206895" y="1696210"/>
                  </a:lnTo>
                  <a:cubicBezTo>
                    <a:pt x="206895" y="1696210"/>
                    <a:pt x="209827" y="1696699"/>
                    <a:pt x="209827" y="1696699"/>
                  </a:cubicBezTo>
                  <a:lnTo>
                    <a:pt x="211619" y="1700934"/>
                  </a:lnTo>
                  <a:lnTo>
                    <a:pt x="214063" y="1701423"/>
                  </a:lnTo>
                  <a:lnTo>
                    <a:pt x="214388" y="1698491"/>
                  </a:lnTo>
                  <a:lnTo>
                    <a:pt x="211945" y="1694255"/>
                  </a:lnTo>
                  <a:lnTo>
                    <a:pt x="210642" y="1690019"/>
                  </a:lnTo>
                  <a:lnTo>
                    <a:pt x="206895" y="1690019"/>
                  </a:lnTo>
                  <a:lnTo>
                    <a:pt x="203636" y="1692300"/>
                  </a:lnTo>
                  <a:lnTo>
                    <a:pt x="198260" y="1689694"/>
                  </a:lnTo>
                  <a:lnTo>
                    <a:pt x="194513" y="1683014"/>
                  </a:lnTo>
                  <a:lnTo>
                    <a:pt x="194513" y="1680571"/>
                  </a:lnTo>
                  <a:cubicBezTo>
                    <a:pt x="194513" y="1680571"/>
                    <a:pt x="201193" y="1676172"/>
                    <a:pt x="201193" y="1676172"/>
                  </a:cubicBezTo>
                  <a:lnTo>
                    <a:pt x="203962" y="1670145"/>
                  </a:lnTo>
                  <a:lnTo>
                    <a:pt x="207220" y="1666886"/>
                  </a:lnTo>
                  <a:lnTo>
                    <a:pt x="205754" y="1665420"/>
                  </a:lnTo>
                  <a:lnTo>
                    <a:pt x="201030" y="1666886"/>
                  </a:lnTo>
                  <a:lnTo>
                    <a:pt x="195491" y="1666886"/>
                  </a:lnTo>
                  <a:lnTo>
                    <a:pt x="194188" y="1664931"/>
                  </a:lnTo>
                  <a:lnTo>
                    <a:pt x="197935" y="1661022"/>
                  </a:lnTo>
                  <a:lnTo>
                    <a:pt x="202333" y="1654180"/>
                  </a:lnTo>
                  <a:lnTo>
                    <a:pt x="202333" y="1647011"/>
                  </a:lnTo>
                  <a:cubicBezTo>
                    <a:pt x="202333" y="1647011"/>
                    <a:pt x="204614" y="1644405"/>
                    <a:pt x="204614" y="1644405"/>
                  </a:cubicBezTo>
                  <a:lnTo>
                    <a:pt x="204614" y="1641310"/>
                  </a:lnTo>
                  <a:lnTo>
                    <a:pt x="201519" y="1642287"/>
                  </a:lnTo>
                  <a:lnTo>
                    <a:pt x="199564" y="1646523"/>
                  </a:lnTo>
                  <a:lnTo>
                    <a:pt x="198912" y="1655483"/>
                  </a:lnTo>
                  <a:lnTo>
                    <a:pt x="193210" y="1663139"/>
                  </a:lnTo>
                  <a:lnTo>
                    <a:pt x="190115" y="1663628"/>
                  </a:lnTo>
                  <a:lnTo>
                    <a:pt x="187183" y="1661673"/>
                  </a:lnTo>
                  <a:lnTo>
                    <a:pt x="184413" y="1660696"/>
                  </a:lnTo>
                  <a:lnTo>
                    <a:pt x="184413" y="1658089"/>
                  </a:lnTo>
                  <a:cubicBezTo>
                    <a:pt x="184413" y="1658089"/>
                    <a:pt x="186042" y="1655809"/>
                    <a:pt x="186042" y="1655809"/>
                  </a:cubicBezTo>
                  <a:lnTo>
                    <a:pt x="186042" y="1653528"/>
                  </a:lnTo>
                  <a:lnTo>
                    <a:pt x="181969" y="1656134"/>
                  </a:lnTo>
                  <a:lnTo>
                    <a:pt x="179689" y="1659230"/>
                  </a:lnTo>
                  <a:lnTo>
                    <a:pt x="178060" y="1659230"/>
                  </a:lnTo>
                  <a:cubicBezTo>
                    <a:pt x="178060" y="1659230"/>
                    <a:pt x="176756" y="1656460"/>
                    <a:pt x="176756" y="1656460"/>
                  </a:cubicBezTo>
                  <a:lnTo>
                    <a:pt x="173987" y="1657112"/>
                  </a:lnTo>
                  <a:lnTo>
                    <a:pt x="171380" y="1659393"/>
                  </a:lnTo>
                  <a:lnTo>
                    <a:pt x="167959" y="1657438"/>
                  </a:lnTo>
                  <a:lnTo>
                    <a:pt x="167959" y="1655646"/>
                  </a:lnTo>
                  <a:cubicBezTo>
                    <a:pt x="167959" y="1655646"/>
                    <a:pt x="171380" y="1651736"/>
                    <a:pt x="171380" y="1651736"/>
                  </a:cubicBezTo>
                  <a:lnTo>
                    <a:pt x="175616" y="1651410"/>
                  </a:lnTo>
                  <a:lnTo>
                    <a:pt x="181644" y="1649781"/>
                  </a:lnTo>
                  <a:lnTo>
                    <a:pt x="188323" y="1645057"/>
                  </a:lnTo>
                  <a:lnTo>
                    <a:pt x="190767" y="1640332"/>
                  </a:lnTo>
                  <a:lnTo>
                    <a:pt x="190767" y="1634956"/>
                  </a:lnTo>
                  <a:cubicBezTo>
                    <a:pt x="190767" y="1634956"/>
                    <a:pt x="189789" y="1639355"/>
                    <a:pt x="189789" y="1639355"/>
                  </a:cubicBezTo>
                  <a:lnTo>
                    <a:pt x="185228" y="1642450"/>
                  </a:lnTo>
                  <a:lnTo>
                    <a:pt x="182295" y="1647826"/>
                  </a:lnTo>
                  <a:lnTo>
                    <a:pt x="179526" y="1649618"/>
                  </a:lnTo>
                  <a:lnTo>
                    <a:pt x="172521" y="1647174"/>
                  </a:lnTo>
                  <a:lnTo>
                    <a:pt x="171055" y="1643427"/>
                  </a:lnTo>
                  <a:lnTo>
                    <a:pt x="166656" y="1643102"/>
                  </a:lnTo>
                  <a:lnTo>
                    <a:pt x="166656" y="1641310"/>
                  </a:lnTo>
                  <a:lnTo>
                    <a:pt x="170403" y="1639844"/>
                  </a:lnTo>
                  <a:lnTo>
                    <a:pt x="168448" y="1638052"/>
                  </a:lnTo>
                  <a:lnTo>
                    <a:pt x="161932" y="1639355"/>
                  </a:lnTo>
                  <a:lnTo>
                    <a:pt x="157859" y="1637074"/>
                  </a:lnTo>
                  <a:lnTo>
                    <a:pt x="154438" y="1637400"/>
                  </a:lnTo>
                  <a:lnTo>
                    <a:pt x="153460" y="1641310"/>
                  </a:lnTo>
                  <a:lnTo>
                    <a:pt x="147596" y="1637237"/>
                  </a:lnTo>
                  <a:lnTo>
                    <a:pt x="145152" y="1632187"/>
                  </a:lnTo>
                  <a:lnTo>
                    <a:pt x="146944" y="1630395"/>
                  </a:lnTo>
                  <a:lnTo>
                    <a:pt x="150039" y="1632838"/>
                  </a:lnTo>
                  <a:lnTo>
                    <a:pt x="155904" y="1634305"/>
                  </a:lnTo>
                  <a:lnTo>
                    <a:pt x="161769" y="1633164"/>
                  </a:lnTo>
                  <a:lnTo>
                    <a:pt x="162095" y="1630558"/>
                  </a:lnTo>
                  <a:lnTo>
                    <a:pt x="159325" y="1630884"/>
                  </a:lnTo>
                  <a:lnTo>
                    <a:pt x="152483" y="1630884"/>
                  </a:lnTo>
                  <a:cubicBezTo>
                    <a:pt x="152483" y="1630884"/>
                    <a:pt x="150854" y="1629417"/>
                    <a:pt x="150854" y="1629417"/>
                  </a:cubicBezTo>
                  <a:lnTo>
                    <a:pt x="151831" y="1628114"/>
                  </a:lnTo>
                  <a:lnTo>
                    <a:pt x="156230" y="1629254"/>
                  </a:lnTo>
                  <a:lnTo>
                    <a:pt x="161280" y="1628114"/>
                  </a:lnTo>
                  <a:lnTo>
                    <a:pt x="162095" y="1625833"/>
                  </a:lnTo>
                  <a:lnTo>
                    <a:pt x="155578" y="1625833"/>
                  </a:lnTo>
                  <a:cubicBezTo>
                    <a:pt x="155578" y="1625833"/>
                    <a:pt x="152320" y="1624041"/>
                    <a:pt x="152320" y="1624041"/>
                  </a:cubicBezTo>
                  <a:lnTo>
                    <a:pt x="146781" y="1625345"/>
                  </a:lnTo>
                  <a:lnTo>
                    <a:pt x="143360" y="1625345"/>
                  </a:lnTo>
                  <a:lnTo>
                    <a:pt x="140916" y="1623390"/>
                  </a:lnTo>
                  <a:lnTo>
                    <a:pt x="142057" y="1618991"/>
                  </a:lnTo>
                  <a:lnTo>
                    <a:pt x="146618" y="1617851"/>
                  </a:lnTo>
                  <a:lnTo>
                    <a:pt x="149713" y="1620131"/>
                  </a:lnTo>
                  <a:lnTo>
                    <a:pt x="154764" y="1620457"/>
                  </a:lnTo>
                  <a:lnTo>
                    <a:pt x="157696" y="1617688"/>
                  </a:lnTo>
                  <a:lnTo>
                    <a:pt x="152646" y="1617688"/>
                  </a:lnTo>
                  <a:lnTo>
                    <a:pt x="148899" y="1615733"/>
                  </a:lnTo>
                  <a:lnTo>
                    <a:pt x="142871" y="1615733"/>
                  </a:lnTo>
                  <a:cubicBezTo>
                    <a:pt x="142871" y="1615733"/>
                    <a:pt x="143360" y="1613778"/>
                    <a:pt x="143360" y="1613778"/>
                  </a:cubicBezTo>
                  <a:lnTo>
                    <a:pt x="150528" y="1611986"/>
                  </a:lnTo>
                  <a:lnTo>
                    <a:pt x="153297" y="1613289"/>
                  </a:lnTo>
                  <a:lnTo>
                    <a:pt x="156393" y="1612312"/>
                  </a:lnTo>
                  <a:lnTo>
                    <a:pt x="155415" y="1609868"/>
                  </a:lnTo>
                  <a:lnTo>
                    <a:pt x="155415" y="1607262"/>
                  </a:lnTo>
                  <a:lnTo>
                    <a:pt x="158348" y="1604492"/>
                  </a:lnTo>
                  <a:lnTo>
                    <a:pt x="164864" y="1604492"/>
                  </a:lnTo>
                  <a:lnTo>
                    <a:pt x="169263" y="1605470"/>
                  </a:lnTo>
                  <a:lnTo>
                    <a:pt x="170729" y="1604003"/>
                  </a:lnTo>
                  <a:lnTo>
                    <a:pt x="162746" y="1602863"/>
                  </a:lnTo>
                  <a:lnTo>
                    <a:pt x="160303" y="1600257"/>
                  </a:lnTo>
                  <a:lnTo>
                    <a:pt x="157859" y="1599442"/>
                  </a:lnTo>
                  <a:lnTo>
                    <a:pt x="155252" y="1603515"/>
                  </a:lnTo>
                  <a:lnTo>
                    <a:pt x="150691" y="1605795"/>
                  </a:lnTo>
                  <a:lnTo>
                    <a:pt x="147433" y="1608239"/>
                  </a:lnTo>
                  <a:lnTo>
                    <a:pt x="145804" y="1606773"/>
                  </a:lnTo>
                  <a:lnTo>
                    <a:pt x="146129" y="1603026"/>
                  </a:lnTo>
                  <a:lnTo>
                    <a:pt x="145315" y="1599279"/>
                  </a:lnTo>
                  <a:lnTo>
                    <a:pt x="147107" y="1595206"/>
                  </a:lnTo>
                  <a:lnTo>
                    <a:pt x="153623" y="1592111"/>
                  </a:lnTo>
                  <a:lnTo>
                    <a:pt x="156393" y="1588690"/>
                  </a:lnTo>
                  <a:lnTo>
                    <a:pt x="168122" y="1580056"/>
                  </a:lnTo>
                  <a:lnTo>
                    <a:pt x="171869" y="1578264"/>
                  </a:lnTo>
                  <a:lnTo>
                    <a:pt x="173824" y="1581359"/>
                  </a:lnTo>
                  <a:lnTo>
                    <a:pt x="173824" y="1588364"/>
                  </a:lnTo>
                  <a:cubicBezTo>
                    <a:pt x="173824" y="1588364"/>
                    <a:pt x="176756" y="1592437"/>
                    <a:pt x="176756" y="1592437"/>
                  </a:cubicBezTo>
                  <a:lnTo>
                    <a:pt x="178385" y="1591134"/>
                  </a:lnTo>
                  <a:lnTo>
                    <a:pt x="176756" y="1584943"/>
                  </a:lnTo>
                  <a:lnTo>
                    <a:pt x="176756" y="1577612"/>
                  </a:lnTo>
                  <a:lnTo>
                    <a:pt x="181481" y="1575657"/>
                  </a:lnTo>
                  <a:lnTo>
                    <a:pt x="187183" y="1575657"/>
                  </a:lnTo>
                  <a:lnTo>
                    <a:pt x="182621" y="1574191"/>
                  </a:lnTo>
                  <a:lnTo>
                    <a:pt x="176756" y="1574191"/>
                  </a:lnTo>
                  <a:lnTo>
                    <a:pt x="173335" y="1575331"/>
                  </a:lnTo>
                  <a:lnTo>
                    <a:pt x="170892" y="1572399"/>
                  </a:lnTo>
                  <a:lnTo>
                    <a:pt x="172195" y="1569141"/>
                  </a:lnTo>
                  <a:lnTo>
                    <a:pt x="177408" y="1567186"/>
                  </a:lnTo>
                  <a:lnTo>
                    <a:pt x="182621" y="1563439"/>
                  </a:lnTo>
                  <a:lnTo>
                    <a:pt x="186531" y="1556923"/>
                  </a:lnTo>
                  <a:lnTo>
                    <a:pt x="185228" y="1553176"/>
                  </a:lnTo>
                  <a:lnTo>
                    <a:pt x="183599" y="1554153"/>
                  </a:lnTo>
                  <a:lnTo>
                    <a:pt x="182295" y="1558552"/>
                  </a:lnTo>
                  <a:lnTo>
                    <a:pt x="178060" y="1562462"/>
                  </a:lnTo>
                  <a:lnTo>
                    <a:pt x="172847" y="1562787"/>
                  </a:lnTo>
                  <a:lnTo>
                    <a:pt x="168122" y="1569304"/>
                  </a:lnTo>
                  <a:lnTo>
                    <a:pt x="160954" y="1574680"/>
                  </a:lnTo>
                  <a:lnTo>
                    <a:pt x="153786" y="1577286"/>
                  </a:lnTo>
                  <a:lnTo>
                    <a:pt x="150365" y="1572888"/>
                  </a:lnTo>
                  <a:lnTo>
                    <a:pt x="151505" y="1570444"/>
                  </a:lnTo>
                  <a:lnTo>
                    <a:pt x="155578" y="1569304"/>
                  </a:lnTo>
                  <a:lnTo>
                    <a:pt x="151668" y="1568326"/>
                  </a:lnTo>
                  <a:lnTo>
                    <a:pt x="144500" y="1570933"/>
                  </a:lnTo>
                  <a:lnTo>
                    <a:pt x="141894" y="1568489"/>
                  </a:lnTo>
                  <a:lnTo>
                    <a:pt x="143034" y="1566046"/>
                  </a:lnTo>
                  <a:lnTo>
                    <a:pt x="149225" y="1561810"/>
                  </a:lnTo>
                  <a:lnTo>
                    <a:pt x="153460" y="1559855"/>
                  </a:lnTo>
                  <a:lnTo>
                    <a:pt x="157696" y="1560507"/>
                  </a:lnTo>
                  <a:lnTo>
                    <a:pt x="159325" y="1558552"/>
                  </a:lnTo>
                  <a:lnTo>
                    <a:pt x="159325" y="1556108"/>
                  </a:lnTo>
                  <a:cubicBezTo>
                    <a:pt x="159325" y="1556108"/>
                    <a:pt x="156556" y="1553827"/>
                    <a:pt x="156556" y="1553827"/>
                  </a:cubicBezTo>
                  <a:lnTo>
                    <a:pt x="157533" y="1551873"/>
                  </a:lnTo>
                  <a:lnTo>
                    <a:pt x="159977" y="1549592"/>
                  </a:lnTo>
                  <a:lnTo>
                    <a:pt x="158022" y="1547637"/>
                  </a:lnTo>
                  <a:lnTo>
                    <a:pt x="153949" y="1549918"/>
                  </a:lnTo>
                  <a:lnTo>
                    <a:pt x="151505" y="1549918"/>
                  </a:lnTo>
                  <a:lnTo>
                    <a:pt x="149713" y="1545845"/>
                  </a:lnTo>
                  <a:lnTo>
                    <a:pt x="148899" y="1535093"/>
                  </a:lnTo>
                  <a:lnTo>
                    <a:pt x="146455" y="1531672"/>
                  </a:lnTo>
                  <a:lnTo>
                    <a:pt x="146129" y="1527599"/>
                  </a:lnTo>
                  <a:lnTo>
                    <a:pt x="147921" y="1523852"/>
                  </a:lnTo>
                  <a:lnTo>
                    <a:pt x="154438" y="1524341"/>
                  </a:lnTo>
                  <a:lnTo>
                    <a:pt x="159162" y="1526622"/>
                  </a:lnTo>
                  <a:lnTo>
                    <a:pt x="165353" y="1526296"/>
                  </a:lnTo>
                  <a:lnTo>
                    <a:pt x="170892" y="1529065"/>
                  </a:lnTo>
                  <a:lnTo>
                    <a:pt x="169100" y="1526296"/>
                  </a:lnTo>
                  <a:lnTo>
                    <a:pt x="165027" y="1524993"/>
                  </a:lnTo>
                  <a:lnTo>
                    <a:pt x="160303" y="1524993"/>
                  </a:lnTo>
                  <a:lnTo>
                    <a:pt x="156881" y="1521246"/>
                  </a:lnTo>
                  <a:lnTo>
                    <a:pt x="152646" y="1517987"/>
                  </a:lnTo>
                  <a:lnTo>
                    <a:pt x="152646" y="1515544"/>
                  </a:lnTo>
                  <a:cubicBezTo>
                    <a:pt x="152646" y="1515544"/>
                    <a:pt x="155578" y="1510331"/>
                    <a:pt x="155578" y="1510331"/>
                  </a:cubicBezTo>
                  <a:lnTo>
                    <a:pt x="158348" y="1509190"/>
                  </a:lnTo>
                  <a:lnTo>
                    <a:pt x="160791" y="1504629"/>
                  </a:lnTo>
                  <a:lnTo>
                    <a:pt x="160465" y="1499253"/>
                  </a:lnTo>
                  <a:lnTo>
                    <a:pt x="158511" y="1499742"/>
                  </a:lnTo>
                  <a:lnTo>
                    <a:pt x="153949" y="1505281"/>
                  </a:lnTo>
                  <a:lnTo>
                    <a:pt x="149551" y="1508376"/>
                  </a:lnTo>
                  <a:lnTo>
                    <a:pt x="141731" y="1510819"/>
                  </a:lnTo>
                  <a:lnTo>
                    <a:pt x="137821" y="1514892"/>
                  </a:lnTo>
                  <a:lnTo>
                    <a:pt x="136844" y="1518802"/>
                  </a:lnTo>
                  <a:lnTo>
                    <a:pt x="133911" y="1517987"/>
                  </a:lnTo>
                  <a:lnTo>
                    <a:pt x="130164" y="1510657"/>
                  </a:lnTo>
                  <a:lnTo>
                    <a:pt x="127884" y="1503163"/>
                  </a:lnTo>
                  <a:lnTo>
                    <a:pt x="129024" y="1490130"/>
                  </a:lnTo>
                  <a:lnTo>
                    <a:pt x="130816" y="1481822"/>
                  </a:lnTo>
                  <a:lnTo>
                    <a:pt x="130001" y="1478563"/>
                  </a:lnTo>
                  <a:lnTo>
                    <a:pt x="125603" y="1478075"/>
                  </a:lnTo>
                  <a:lnTo>
                    <a:pt x="125603" y="1470907"/>
                  </a:lnTo>
                  <a:cubicBezTo>
                    <a:pt x="125603" y="1470907"/>
                    <a:pt x="129024" y="1468463"/>
                    <a:pt x="129024" y="1468463"/>
                  </a:cubicBezTo>
                  <a:lnTo>
                    <a:pt x="131468" y="1470744"/>
                  </a:lnTo>
                  <a:lnTo>
                    <a:pt x="134237" y="1471884"/>
                  </a:lnTo>
                  <a:lnTo>
                    <a:pt x="133097" y="1466508"/>
                  </a:lnTo>
                  <a:lnTo>
                    <a:pt x="138147" y="1462435"/>
                  </a:lnTo>
                  <a:lnTo>
                    <a:pt x="140754" y="1455593"/>
                  </a:lnTo>
                  <a:lnTo>
                    <a:pt x="144826" y="1454616"/>
                  </a:lnTo>
                  <a:lnTo>
                    <a:pt x="150365" y="1455593"/>
                  </a:lnTo>
                  <a:lnTo>
                    <a:pt x="153135" y="1453150"/>
                  </a:lnTo>
                  <a:lnTo>
                    <a:pt x="149876" y="1452824"/>
                  </a:lnTo>
                  <a:lnTo>
                    <a:pt x="149388" y="1451195"/>
                  </a:lnTo>
                  <a:lnTo>
                    <a:pt x="156393" y="1443212"/>
                  </a:lnTo>
                  <a:lnTo>
                    <a:pt x="159162" y="1438814"/>
                  </a:lnTo>
                  <a:lnTo>
                    <a:pt x="166167" y="1434741"/>
                  </a:lnTo>
                  <a:lnTo>
                    <a:pt x="166656" y="1432297"/>
                  </a:lnTo>
                  <a:lnTo>
                    <a:pt x="163398" y="1431483"/>
                  </a:lnTo>
                  <a:lnTo>
                    <a:pt x="162420" y="1428876"/>
                  </a:lnTo>
                  <a:lnTo>
                    <a:pt x="156230" y="1434089"/>
                  </a:lnTo>
                  <a:lnTo>
                    <a:pt x="155252" y="1439628"/>
                  </a:lnTo>
                  <a:lnTo>
                    <a:pt x="146781" y="1449240"/>
                  </a:lnTo>
                  <a:lnTo>
                    <a:pt x="145152" y="1449240"/>
                  </a:lnTo>
                  <a:lnTo>
                    <a:pt x="145641" y="1445819"/>
                  </a:lnTo>
                  <a:lnTo>
                    <a:pt x="151017" y="1438651"/>
                  </a:lnTo>
                  <a:lnTo>
                    <a:pt x="151994" y="1430342"/>
                  </a:lnTo>
                  <a:lnTo>
                    <a:pt x="158673" y="1417798"/>
                  </a:lnTo>
                  <a:lnTo>
                    <a:pt x="161117" y="1412259"/>
                  </a:lnTo>
                  <a:lnTo>
                    <a:pt x="159651" y="1411608"/>
                  </a:lnTo>
                  <a:lnTo>
                    <a:pt x="159977" y="1409979"/>
                  </a:lnTo>
                  <a:lnTo>
                    <a:pt x="159977" y="1406069"/>
                  </a:lnTo>
                  <a:lnTo>
                    <a:pt x="161769" y="1405254"/>
                  </a:lnTo>
                  <a:lnTo>
                    <a:pt x="161769" y="1402811"/>
                  </a:lnTo>
                  <a:cubicBezTo>
                    <a:pt x="161769" y="1402811"/>
                    <a:pt x="162746" y="1400856"/>
                    <a:pt x="162746" y="1400856"/>
                  </a:cubicBezTo>
                  <a:lnTo>
                    <a:pt x="161606" y="1398086"/>
                  </a:lnTo>
                  <a:lnTo>
                    <a:pt x="158999" y="1396783"/>
                  </a:lnTo>
                  <a:lnTo>
                    <a:pt x="158673" y="1391733"/>
                  </a:lnTo>
                  <a:lnTo>
                    <a:pt x="156067" y="1386683"/>
                  </a:lnTo>
                  <a:lnTo>
                    <a:pt x="150691" y="1382936"/>
                  </a:lnTo>
                  <a:lnTo>
                    <a:pt x="147433" y="1380492"/>
                  </a:lnTo>
                  <a:lnTo>
                    <a:pt x="146292" y="1377071"/>
                  </a:lnTo>
                  <a:lnTo>
                    <a:pt x="141568" y="1370555"/>
                  </a:lnTo>
                  <a:lnTo>
                    <a:pt x="137984" y="1369089"/>
                  </a:lnTo>
                  <a:lnTo>
                    <a:pt x="133585" y="1369089"/>
                  </a:lnTo>
                  <a:cubicBezTo>
                    <a:pt x="133585" y="1369089"/>
                    <a:pt x="133585" y="1367134"/>
                    <a:pt x="133585" y="1367134"/>
                  </a:cubicBezTo>
                  <a:lnTo>
                    <a:pt x="135215" y="1364690"/>
                  </a:lnTo>
                  <a:lnTo>
                    <a:pt x="134563" y="1360943"/>
                  </a:lnTo>
                  <a:lnTo>
                    <a:pt x="132282" y="1358825"/>
                  </a:lnTo>
                  <a:lnTo>
                    <a:pt x="131142" y="1355893"/>
                  </a:lnTo>
                  <a:lnTo>
                    <a:pt x="134074" y="1353449"/>
                  </a:lnTo>
                  <a:lnTo>
                    <a:pt x="135866" y="1352798"/>
                  </a:lnTo>
                  <a:lnTo>
                    <a:pt x="135215" y="1350517"/>
                  </a:lnTo>
                  <a:lnTo>
                    <a:pt x="132282" y="1348562"/>
                  </a:lnTo>
                  <a:lnTo>
                    <a:pt x="129676" y="1348562"/>
                  </a:lnTo>
                  <a:lnTo>
                    <a:pt x="129676" y="1345467"/>
                  </a:lnTo>
                  <a:lnTo>
                    <a:pt x="133911" y="1342534"/>
                  </a:lnTo>
                  <a:lnTo>
                    <a:pt x="132934" y="1323800"/>
                  </a:lnTo>
                  <a:lnTo>
                    <a:pt x="132934" y="1305717"/>
                  </a:lnTo>
                  <a:cubicBezTo>
                    <a:pt x="132934" y="1305717"/>
                    <a:pt x="134889" y="1291055"/>
                    <a:pt x="134889" y="1291055"/>
                  </a:cubicBezTo>
                  <a:lnTo>
                    <a:pt x="133423" y="1286657"/>
                  </a:lnTo>
                  <a:lnTo>
                    <a:pt x="132934" y="1282095"/>
                  </a:lnTo>
                  <a:lnTo>
                    <a:pt x="135377" y="1277371"/>
                  </a:lnTo>
                  <a:lnTo>
                    <a:pt x="134563" y="1272809"/>
                  </a:lnTo>
                  <a:lnTo>
                    <a:pt x="132119" y="1268736"/>
                  </a:lnTo>
                  <a:lnTo>
                    <a:pt x="131142" y="1259451"/>
                  </a:lnTo>
                  <a:lnTo>
                    <a:pt x="125440" y="1252934"/>
                  </a:lnTo>
                  <a:lnTo>
                    <a:pt x="123648" y="1243486"/>
                  </a:lnTo>
                  <a:lnTo>
                    <a:pt x="124951" y="1239087"/>
                  </a:lnTo>
                  <a:lnTo>
                    <a:pt x="119575" y="1224425"/>
                  </a:lnTo>
                  <a:lnTo>
                    <a:pt x="120716" y="1220841"/>
                  </a:lnTo>
                  <a:lnTo>
                    <a:pt x="124625" y="1213999"/>
                  </a:lnTo>
                  <a:lnTo>
                    <a:pt x="123322" y="1210089"/>
                  </a:lnTo>
                  <a:lnTo>
                    <a:pt x="123322" y="1205365"/>
                  </a:lnTo>
                  <a:cubicBezTo>
                    <a:pt x="123322" y="1205365"/>
                    <a:pt x="117783" y="1201129"/>
                    <a:pt x="117783" y="1201129"/>
                  </a:cubicBezTo>
                  <a:lnTo>
                    <a:pt x="109964" y="1201618"/>
                  </a:lnTo>
                  <a:lnTo>
                    <a:pt x="101167" y="1204224"/>
                  </a:lnTo>
                  <a:lnTo>
                    <a:pt x="99212" y="1205528"/>
                  </a:lnTo>
                  <a:lnTo>
                    <a:pt x="89926" y="1208460"/>
                  </a:lnTo>
                  <a:lnTo>
                    <a:pt x="84224" y="1214162"/>
                  </a:lnTo>
                  <a:lnTo>
                    <a:pt x="77056" y="1224914"/>
                  </a:lnTo>
                  <a:lnTo>
                    <a:pt x="71028" y="1228172"/>
                  </a:lnTo>
                  <a:lnTo>
                    <a:pt x="62557" y="1229312"/>
                  </a:lnTo>
                  <a:lnTo>
                    <a:pt x="52783" y="1230942"/>
                  </a:lnTo>
                  <a:lnTo>
                    <a:pt x="50991" y="1231267"/>
                  </a:lnTo>
                  <a:lnTo>
                    <a:pt x="50991" y="1227195"/>
                  </a:lnTo>
                  <a:cubicBezTo>
                    <a:pt x="50991" y="1227195"/>
                    <a:pt x="55715" y="1220353"/>
                    <a:pt x="55715" y="1220353"/>
                  </a:cubicBezTo>
                  <a:lnTo>
                    <a:pt x="53108" y="1213673"/>
                  </a:lnTo>
                  <a:lnTo>
                    <a:pt x="45777" y="1184349"/>
                  </a:lnTo>
                  <a:lnTo>
                    <a:pt x="41216" y="1171154"/>
                  </a:lnTo>
                  <a:lnTo>
                    <a:pt x="39261" y="1164963"/>
                  </a:lnTo>
                  <a:lnTo>
                    <a:pt x="44637" y="1153723"/>
                  </a:lnTo>
                  <a:lnTo>
                    <a:pt x="31930" y="1152094"/>
                  </a:lnTo>
                  <a:lnTo>
                    <a:pt x="22156" y="1157470"/>
                  </a:lnTo>
                  <a:lnTo>
                    <a:pt x="16780" y="1154700"/>
                  </a:lnTo>
                  <a:lnTo>
                    <a:pt x="0" y="1154700"/>
                  </a:lnTo>
                  <a:cubicBezTo>
                    <a:pt x="0" y="1154700"/>
                    <a:pt x="296332" y="613842"/>
                    <a:pt x="296332" y="613842"/>
                  </a:cubicBezTo>
                  <a:lnTo>
                    <a:pt x="297472" y="617100"/>
                  </a:lnTo>
                  <a:lnTo>
                    <a:pt x="300404" y="617100"/>
                  </a:lnTo>
                  <a:lnTo>
                    <a:pt x="314740" y="627526"/>
                  </a:lnTo>
                  <a:lnTo>
                    <a:pt x="319139" y="627526"/>
                  </a:lnTo>
                  <a:cubicBezTo>
                    <a:pt x="319139" y="627526"/>
                    <a:pt x="323700" y="631762"/>
                    <a:pt x="323700" y="631762"/>
                  </a:cubicBezTo>
                  <a:lnTo>
                    <a:pt x="325492" y="635509"/>
                  </a:lnTo>
                  <a:lnTo>
                    <a:pt x="327447" y="635509"/>
                  </a:lnTo>
                  <a:cubicBezTo>
                    <a:pt x="327447" y="635509"/>
                    <a:pt x="332498" y="639256"/>
                    <a:pt x="332498" y="639256"/>
                  </a:cubicBezTo>
                  <a:lnTo>
                    <a:pt x="332498" y="643654"/>
                  </a:lnTo>
                  <a:lnTo>
                    <a:pt x="338199" y="649682"/>
                  </a:lnTo>
                  <a:lnTo>
                    <a:pt x="337059" y="652614"/>
                  </a:lnTo>
                  <a:lnTo>
                    <a:pt x="337874" y="654243"/>
                  </a:lnTo>
                  <a:lnTo>
                    <a:pt x="335430" y="659945"/>
                  </a:lnTo>
                  <a:lnTo>
                    <a:pt x="337385" y="665321"/>
                  </a:lnTo>
                  <a:lnTo>
                    <a:pt x="339829" y="666461"/>
                  </a:lnTo>
                  <a:lnTo>
                    <a:pt x="341620" y="664018"/>
                  </a:lnTo>
                  <a:lnTo>
                    <a:pt x="343087" y="664995"/>
                  </a:lnTo>
                  <a:lnTo>
                    <a:pt x="343087" y="672978"/>
                  </a:lnTo>
                  <a:cubicBezTo>
                    <a:pt x="343087" y="672978"/>
                    <a:pt x="345042" y="680472"/>
                    <a:pt x="345042" y="680472"/>
                  </a:cubicBezTo>
                  <a:lnTo>
                    <a:pt x="353513" y="689269"/>
                  </a:lnTo>
                  <a:lnTo>
                    <a:pt x="357911" y="692690"/>
                  </a:lnTo>
                  <a:lnTo>
                    <a:pt x="359703" y="691224"/>
                  </a:lnTo>
                  <a:lnTo>
                    <a:pt x="362962" y="693178"/>
                  </a:lnTo>
                  <a:lnTo>
                    <a:pt x="363613" y="697414"/>
                  </a:lnTo>
                  <a:lnTo>
                    <a:pt x="366871" y="699043"/>
                  </a:lnTo>
                  <a:lnTo>
                    <a:pt x="368175" y="698717"/>
                  </a:lnTo>
                  <a:lnTo>
                    <a:pt x="373551" y="706537"/>
                  </a:lnTo>
                  <a:lnTo>
                    <a:pt x="374039" y="713216"/>
                  </a:lnTo>
                  <a:lnTo>
                    <a:pt x="376972" y="714520"/>
                  </a:lnTo>
                  <a:lnTo>
                    <a:pt x="379252" y="718592"/>
                  </a:lnTo>
                  <a:lnTo>
                    <a:pt x="382999" y="718592"/>
                  </a:lnTo>
                  <a:cubicBezTo>
                    <a:pt x="382999" y="718592"/>
                    <a:pt x="388701" y="726575"/>
                    <a:pt x="388701" y="726575"/>
                  </a:cubicBezTo>
                  <a:lnTo>
                    <a:pt x="388701" y="729833"/>
                  </a:lnTo>
                  <a:lnTo>
                    <a:pt x="391308" y="731136"/>
                  </a:lnTo>
                  <a:lnTo>
                    <a:pt x="390330" y="735046"/>
                  </a:lnTo>
                  <a:lnTo>
                    <a:pt x="385280" y="740911"/>
                  </a:lnTo>
                  <a:lnTo>
                    <a:pt x="382185" y="745472"/>
                  </a:lnTo>
                  <a:lnTo>
                    <a:pt x="392937" y="736186"/>
                  </a:lnTo>
                  <a:lnTo>
                    <a:pt x="396847" y="734232"/>
                  </a:lnTo>
                  <a:lnTo>
                    <a:pt x="399290" y="735209"/>
                  </a:lnTo>
                  <a:lnTo>
                    <a:pt x="400594" y="728367"/>
                  </a:lnTo>
                  <a:lnTo>
                    <a:pt x="399616" y="714194"/>
                  </a:lnTo>
                  <a:lnTo>
                    <a:pt x="400105" y="705885"/>
                  </a:lnTo>
                  <a:lnTo>
                    <a:pt x="402874" y="701161"/>
                  </a:lnTo>
                  <a:lnTo>
                    <a:pt x="411346" y="698392"/>
                  </a:lnTo>
                  <a:lnTo>
                    <a:pt x="418025" y="694645"/>
                  </a:lnTo>
                  <a:lnTo>
                    <a:pt x="422098" y="690898"/>
                  </a:lnTo>
                  <a:lnTo>
                    <a:pt x="426822" y="689594"/>
                  </a:lnTo>
                  <a:lnTo>
                    <a:pt x="429266" y="686336"/>
                  </a:lnTo>
                  <a:lnTo>
                    <a:pt x="432687" y="685847"/>
                  </a:lnTo>
                  <a:lnTo>
                    <a:pt x="436434" y="684056"/>
                  </a:lnTo>
                  <a:lnTo>
                    <a:pt x="442298" y="684056"/>
                  </a:lnTo>
                  <a:lnTo>
                    <a:pt x="443602" y="684870"/>
                  </a:lnTo>
                  <a:lnTo>
                    <a:pt x="448815" y="684870"/>
                  </a:lnTo>
                  <a:lnTo>
                    <a:pt x="451095" y="686662"/>
                  </a:lnTo>
                  <a:lnTo>
                    <a:pt x="457612" y="679494"/>
                  </a:lnTo>
                  <a:lnTo>
                    <a:pt x="460055" y="673955"/>
                  </a:lnTo>
                  <a:lnTo>
                    <a:pt x="463314" y="673466"/>
                  </a:lnTo>
                  <a:lnTo>
                    <a:pt x="467712" y="674607"/>
                  </a:lnTo>
                  <a:lnTo>
                    <a:pt x="470482" y="672815"/>
                  </a:lnTo>
                  <a:lnTo>
                    <a:pt x="469830" y="670860"/>
                  </a:lnTo>
                  <a:lnTo>
                    <a:pt x="473577" y="670860"/>
                  </a:lnTo>
                  <a:cubicBezTo>
                    <a:pt x="473577" y="670860"/>
                    <a:pt x="476020" y="673466"/>
                    <a:pt x="476020" y="673466"/>
                  </a:cubicBezTo>
                  <a:lnTo>
                    <a:pt x="490519" y="672163"/>
                  </a:lnTo>
                  <a:lnTo>
                    <a:pt x="502575" y="668253"/>
                  </a:lnTo>
                  <a:lnTo>
                    <a:pt x="506973" y="665321"/>
                  </a:lnTo>
                  <a:lnTo>
                    <a:pt x="509417" y="665321"/>
                  </a:lnTo>
                  <a:cubicBezTo>
                    <a:pt x="509417" y="665321"/>
                    <a:pt x="512023" y="669231"/>
                    <a:pt x="512023" y="669231"/>
                  </a:cubicBezTo>
                  <a:lnTo>
                    <a:pt x="515282" y="667439"/>
                  </a:lnTo>
                  <a:lnTo>
                    <a:pt x="517074" y="662226"/>
                  </a:lnTo>
                  <a:lnTo>
                    <a:pt x="525545" y="658479"/>
                  </a:lnTo>
                  <a:lnTo>
                    <a:pt x="530921" y="658479"/>
                  </a:lnTo>
                  <a:lnTo>
                    <a:pt x="532387" y="660434"/>
                  </a:lnTo>
                  <a:lnTo>
                    <a:pt x="534994" y="660434"/>
                  </a:lnTo>
                  <a:lnTo>
                    <a:pt x="536297" y="663203"/>
                  </a:lnTo>
                  <a:lnTo>
                    <a:pt x="540533" y="662226"/>
                  </a:lnTo>
                  <a:lnTo>
                    <a:pt x="540533" y="658805"/>
                  </a:lnTo>
                  <a:cubicBezTo>
                    <a:pt x="540533" y="658805"/>
                    <a:pt x="542324" y="656198"/>
                    <a:pt x="542324" y="656198"/>
                  </a:cubicBezTo>
                  <a:lnTo>
                    <a:pt x="546071" y="658479"/>
                  </a:lnTo>
                  <a:lnTo>
                    <a:pt x="546071" y="663203"/>
                  </a:lnTo>
                  <a:lnTo>
                    <a:pt x="548678" y="665647"/>
                  </a:lnTo>
                  <a:lnTo>
                    <a:pt x="546723" y="668090"/>
                  </a:lnTo>
                  <a:lnTo>
                    <a:pt x="544279" y="668090"/>
                  </a:lnTo>
                  <a:lnTo>
                    <a:pt x="542976" y="672815"/>
                  </a:lnTo>
                  <a:lnTo>
                    <a:pt x="531573" y="675910"/>
                  </a:lnTo>
                  <a:lnTo>
                    <a:pt x="521635" y="678842"/>
                  </a:lnTo>
                  <a:lnTo>
                    <a:pt x="518377" y="683241"/>
                  </a:lnTo>
                  <a:lnTo>
                    <a:pt x="512349" y="684870"/>
                  </a:lnTo>
                  <a:lnTo>
                    <a:pt x="508277" y="684381"/>
                  </a:lnTo>
                  <a:lnTo>
                    <a:pt x="504530" y="687151"/>
                  </a:lnTo>
                  <a:lnTo>
                    <a:pt x="501923" y="687151"/>
                  </a:lnTo>
                  <a:lnTo>
                    <a:pt x="500131" y="683730"/>
                  </a:lnTo>
                  <a:lnTo>
                    <a:pt x="492149" y="687477"/>
                  </a:lnTo>
                  <a:lnTo>
                    <a:pt x="484329" y="687151"/>
                  </a:lnTo>
                  <a:lnTo>
                    <a:pt x="482863" y="688943"/>
                  </a:lnTo>
                  <a:lnTo>
                    <a:pt x="473903" y="688128"/>
                  </a:lnTo>
                  <a:lnTo>
                    <a:pt x="468364" y="690409"/>
                  </a:lnTo>
                  <a:lnTo>
                    <a:pt x="464454" y="696274"/>
                  </a:lnTo>
                  <a:lnTo>
                    <a:pt x="452724" y="701487"/>
                  </a:lnTo>
                  <a:lnTo>
                    <a:pt x="451910" y="699206"/>
                  </a:lnTo>
                  <a:lnTo>
                    <a:pt x="445882" y="703605"/>
                  </a:lnTo>
                  <a:lnTo>
                    <a:pt x="444905" y="707351"/>
                  </a:lnTo>
                  <a:lnTo>
                    <a:pt x="440995" y="709144"/>
                  </a:lnTo>
                  <a:lnTo>
                    <a:pt x="438388" y="706537"/>
                  </a:lnTo>
                  <a:lnTo>
                    <a:pt x="433664" y="710610"/>
                  </a:lnTo>
                  <a:lnTo>
                    <a:pt x="430569" y="715660"/>
                  </a:lnTo>
                  <a:lnTo>
                    <a:pt x="426985" y="715660"/>
                  </a:lnTo>
                  <a:cubicBezTo>
                    <a:pt x="426985" y="715660"/>
                    <a:pt x="424378" y="720058"/>
                    <a:pt x="424378" y="720058"/>
                  </a:cubicBezTo>
                  <a:lnTo>
                    <a:pt x="428777" y="725760"/>
                  </a:lnTo>
                  <a:lnTo>
                    <a:pt x="433827" y="728367"/>
                  </a:lnTo>
                  <a:lnTo>
                    <a:pt x="428777" y="722502"/>
                  </a:lnTo>
                  <a:lnTo>
                    <a:pt x="429591" y="720710"/>
                  </a:lnTo>
                  <a:lnTo>
                    <a:pt x="434316" y="722176"/>
                  </a:lnTo>
                  <a:lnTo>
                    <a:pt x="436922" y="720384"/>
                  </a:lnTo>
                  <a:lnTo>
                    <a:pt x="441321" y="721850"/>
                  </a:lnTo>
                  <a:lnTo>
                    <a:pt x="439529" y="717452"/>
                  </a:lnTo>
                  <a:lnTo>
                    <a:pt x="445719" y="710773"/>
                  </a:lnTo>
                  <a:lnTo>
                    <a:pt x="454191" y="708492"/>
                  </a:lnTo>
                  <a:lnTo>
                    <a:pt x="458915" y="708492"/>
                  </a:lnTo>
                  <a:lnTo>
                    <a:pt x="472274" y="700021"/>
                  </a:lnTo>
                  <a:lnTo>
                    <a:pt x="473414" y="695948"/>
                  </a:lnTo>
                  <a:lnTo>
                    <a:pt x="477487" y="694808"/>
                  </a:lnTo>
                  <a:lnTo>
                    <a:pt x="480745" y="698554"/>
                  </a:lnTo>
                  <a:lnTo>
                    <a:pt x="484003" y="695948"/>
                  </a:lnTo>
                  <a:lnTo>
                    <a:pt x="487750" y="695296"/>
                  </a:lnTo>
                  <a:lnTo>
                    <a:pt x="488565" y="697577"/>
                  </a:lnTo>
                  <a:lnTo>
                    <a:pt x="496384" y="692364"/>
                  </a:lnTo>
                  <a:lnTo>
                    <a:pt x="498176" y="695296"/>
                  </a:lnTo>
                  <a:lnTo>
                    <a:pt x="491986" y="703442"/>
                  </a:lnTo>
                  <a:lnTo>
                    <a:pt x="492637" y="707514"/>
                  </a:lnTo>
                  <a:lnTo>
                    <a:pt x="498176" y="698717"/>
                  </a:lnTo>
                  <a:lnTo>
                    <a:pt x="506322" y="696925"/>
                  </a:lnTo>
                  <a:lnTo>
                    <a:pt x="521146" y="685847"/>
                  </a:lnTo>
                  <a:lnTo>
                    <a:pt x="528966" y="685847"/>
                  </a:lnTo>
                  <a:lnTo>
                    <a:pt x="534831" y="682101"/>
                  </a:lnTo>
                  <a:lnTo>
                    <a:pt x="544116" y="681775"/>
                  </a:lnTo>
                  <a:lnTo>
                    <a:pt x="548515" y="679168"/>
                  </a:lnTo>
                  <a:lnTo>
                    <a:pt x="552914" y="679168"/>
                  </a:lnTo>
                  <a:lnTo>
                    <a:pt x="551447" y="684381"/>
                  </a:lnTo>
                  <a:lnTo>
                    <a:pt x="544768" y="686662"/>
                  </a:lnTo>
                  <a:lnTo>
                    <a:pt x="544768" y="690735"/>
                  </a:lnTo>
                  <a:lnTo>
                    <a:pt x="548841" y="693667"/>
                  </a:lnTo>
                  <a:lnTo>
                    <a:pt x="555032" y="686662"/>
                  </a:lnTo>
                  <a:lnTo>
                    <a:pt x="566924" y="681123"/>
                  </a:lnTo>
                  <a:lnTo>
                    <a:pt x="569530" y="681449"/>
                  </a:lnTo>
                  <a:lnTo>
                    <a:pt x="569205" y="678191"/>
                  </a:lnTo>
                  <a:lnTo>
                    <a:pt x="573929" y="674444"/>
                  </a:lnTo>
                  <a:lnTo>
                    <a:pt x="578002" y="676236"/>
                  </a:lnTo>
                  <a:lnTo>
                    <a:pt x="578328" y="672163"/>
                  </a:lnTo>
                  <a:lnTo>
                    <a:pt x="579794" y="669231"/>
                  </a:lnTo>
                  <a:lnTo>
                    <a:pt x="583052" y="672489"/>
                  </a:lnTo>
                  <a:lnTo>
                    <a:pt x="587125" y="673629"/>
                  </a:lnTo>
                  <a:lnTo>
                    <a:pt x="588265" y="665810"/>
                  </a:lnTo>
                  <a:lnTo>
                    <a:pt x="585984" y="660271"/>
                  </a:lnTo>
                  <a:lnTo>
                    <a:pt x="588591" y="657338"/>
                  </a:lnTo>
                  <a:lnTo>
                    <a:pt x="585658" y="654080"/>
                  </a:lnTo>
                  <a:lnTo>
                    <a:pt x="590057" y="647401"/>
                  </a:lnTo>
                  <a:lnTo>
                    <a:pt x="597388" y="644469"/>
                  </a:lnTo>
                  <a:lnTo>
                    <a:pt x="597388" y="651148"/>
                  </a:lnTo>
                  <a:lnTo>
                    <a:pt x="598854" y="670697"/>
                  </a:lnTo>
                  <a:lnTo>
                    <a:pt x="595922" y="676236"/>
                  </a:lnTo>
                  <a:lnTo>
                    <a:pt x="596736" y="692038"/>
                  </a:lnTo>
                  <a:lnTo>
                    <a:pt x="592338" y="701324"/>
                  </a:lnTo>
                  <a:lnTo>
                    <a:pt x="592012" y="724131"/>
                  </a:lnTo>
                  <a:lnTo>
                    <a:pt x="594293" y="730322"/>
                  </a:lnTo>
                  <a:lnTo>
                    <a:pt x="599832" y="732114"/>
                  </a:lnTo>
                  <a:lnTo>
                    <a:pt x="603090" y="739445"/>
                  </a:lnTo>
                  <a:lnTo>
                    <a:pt x="611235" y="735046"/>
                  </a:lnTo>
                  <a:lnTo>
                    <a:pt x="608629" y="731299"/>
                  </a:lnTo>
                  <a:lnTo>
                    <a:pt x="603904" y="731299"/>
                  </a:lnTo>
                  <a:lnTo>
                    <a:pt x="602438" y="728041"/>
                  </a:lnTo>
                  <a:lnTo>
                    <a:pt x="607162" y="725109"/>
                  </a:lnTo>
                  <a:lnTo>
                    <a:pt x="611887" y="726901"/>
                  </a:lnTo>
                  <a:lnTo>
                    <a:pt x="613353" y="721362"/>
                  </a:lnTo>
                  <a:lnTo>
                    <a:pt x="610421" y="720221"/>
                  </a:lnTo>
                  <a:lnTo>
                    <a:pt x="615634" y="715823"/>
                  </a:lnTo>
                  <a:lnTo>
                    <a:pt x="622313" y="716149"/>
                  </a:lnTo>
                  <a:lnTo>
                    <a:pt x="623128" y="720221"/>
                  </a:lnTo>
                  <a:lnTo>
                    <a:pt x="627200" y="716474"/>
                  </a:lnTo>
                  <a:lnTo>
                    <a:pt x="621987" y="706863"/>
                  </a:lnTo>
                  <a:lnTo>
                    <a:pt x="626711" y="707677"/>
                  </a:lnTo>
                  <a:lnTo>
                    <a:pt x="636323" y="701813"/>
                  </a:lnTo>
                  <a:lnTo>
                    <a:pt x="636323" y="697740"/>
                  </a:lnTo>
                  <a:lnTo>
                    <a:pt x="642188" y="696274"/>
                  </a:lnTo>
                  <a:lnTo>
                    <a:pt x="643328" y="702138"/>
                  </a:lnTo>
                  <a:lnTo>
                    <a:pt x="643328" y="705885"/>
                  </a:lnTo>
                  <a:cubicBezTo>
                    <a:pt x="643328" y="705885"/>
                    <a:pt x="638278" y="710447"/>
                    <a:pt x="638278" y="710447"/>
                  </a:cubicBezTo>
                  <a:lnTo>
                    <a:pt x="638930" y="713216"/>
                  </a:lnTo>
                  <a:lnTo>
                    <a:pt x="633879" y="717452"/>
                  </a:lnTo>
                  <a:lnTo>
                    <a:pt x="633228" y="720547"/>
                  </a:lnTo>
                  <a:lnTo>
                    <a:pt x="635183" y="722502"/>
                  </a:lnTo>
                  <a:lnTo>
                    <a:pt x="638930" y="721362"/>
                  </a:lnTo>
                  <a:lnTo>
                    <a:pt x="640233" y="724131"/>
                  </a:lnTo>
                  <a:lnTo>
                    <a:pt x="639093" y="726086"/>
                  </a:lnTo>
                  <a:lnTo>
                    <a:pt x="635183" y="727878"/>
                  </a:lnTo>
                  <a:lnTo>
                    <a:pt x="630621" y="732440"/>
                  </a:lnTo>
                  <a:lnTo>
                    <a:pt x="627526" y="731951"/>
                  </a:lnTo>
                  <a:lnTo>
                    <a:pt x="625734" y="734394"/>
                  </a:lnTo>
                  <a:lnTo>
                    <a:pt x="621987" y="739119"/>
                  </a:lnTo>
                  <a:lnTo>
                    <a:pt x="624920" y="742051"/>
                  </a:lnTo>
                  <a:lnTo>
                    <a:pt x="632250" y="743192"/>
                  </a:lnTo>
                  <a:lnTo>
                    <a:pt x="636323" y="746124"/>
                  </a:lnTo>
                  <a:lnTo>
                    <a:pt x="641048" y="745798"/>
                  </a:lnTo>
                  <a:lnTo>
                    <a:pt x="645446" y="741725"/>
                  </a:lnTo>
                  <a:lnTo>
                    <a:pt x="650659" y="740585"/>
                  </a:lnTo>
                  <a:lnTo>
                    <a:pt x="655872" y="731299"/>
                  </a:lnTo>
                  <a:lnTo>
                    <a:pt x="661737" y="725434"/>
                  </a:lnTo>
                  <a:lnTo>
                    <a:pt x="667276" y="723642"/>
                  </a:lnTo>
                  <a:lnTo>
                    <a:pt x="670534" y="726575"/>
                  </a:lnTo>
                  <a:lnTo>
                    <a:pt x="675747" y="727226"/>
                  </a:lnTo>
                  <a:lnTo>
                    <a:pt x="679820" y="730485"/>
                  </a:lnTo>
                  <a:lnTo>
                    <a:pt x="684218" y="730810"/>
                  </a:lnTo>
                  <a:lnTo>
                    <a:pt x="690409" y="735535"/>
                  </a:lnTo>
                  <a:lnTo>
                    <a:pt x="694807" y="735535"/>
                  </a:lnTo>
                  <a:lnTo>
                    <a:pt x="694807" y="740422"/>
                  </a:lnTo>
                  <a:lnTo>
                    <a:pt x="699206" y="752640"/>
                  </a:lnTo>
                  <a:lnTo>
                    <a:pt x="699206" y="759320"/>
                  </a:lnTo>
                  <a:lnTo>
                    <a:pt x="705071" y="768117"/>
                  </a:lnTo>
                  <a:lnTo>
                    <a:pt x="725760" y="780986"/>
                  </a:lnTo>
                  <a:lnTo>
                    <a:pt x="727226" y="785711"/>
                  </a:lnTo>
                  <a:lnTo>
                    <a:pt x="734232" y="789132"/>
                  </a:lnTo>
                  <a:lnTo>
                    <a:pt x="741725" y="797277"/>
                  </a:lnTo>
                  <a:lnTo>
                    <a:pt x="744332" y="797277"/>
                  </a:lnTo>
                  <a:lnTo>
                    <a:pt x="749545" y="800698"/>
                  </a:lnTo>
                  <a:lnTo>
                    <a:pt x="751337" y="805097"/>
                  </a:lnTo>
                  <a:lnTo>
                    <a:pt x="754432" y="807052"/>
                  </a:lnTo>
                  <a:lnTo>
                    <a:pt x="757039" y="804608"/>
                  </a:lnTo>
                  <a:lnTo>
                    <a:pt x="758668" y="807704"/>
                  </a:lnTo>
                  <a:lnTo>
                    <a:pt x="766162" y="812754"/>
                  </a:lnTo>
                  <a:lnTo>
                    <a:pt x="770397" y="812754"/>
                  </a:lnTo>
                  <a:lnTo>
                    <a:pt x="770397" y="817804"/>
                  </a:lnTo>
                  <a:lnTo>
                    <a:pt x="773818" y="822365"/>
                  </a:lnTo>
                  <a:lnTo>
                    <a:pt x="775611" y="817804"/>
                  </a:lnTo>
                  <a:lnTo>
                    <a:pt x="773330" y="814709"/>
                  </a:lnTo>
                  <a:lnTo>
                    <a:pt x="774470" y="811939"/>
                  </a:lnTo>
                  <a:lnTo>
                    <a:pt x="769909" y="808029"/>
                  </a:lnTo>
                  <a:lnTo>
                    <a:pt x="769909" y="805260"/>
                  </a:lnTo>
                  <a:lnTo>
                    <a:pt x="777240" y="809170"/>
                  </a:lnTo>
                  <a:lnTo>
                    <a:pt x="778869" y="813080"/>
                  </a:lnTo>
                  <a:lnTo>
                    <a:pt x="781149" y="813080"/>
                  </a:lnTo>
                  <a:cubicBezTo>
                    <a:pt x="781149" y="813080"/>
                    <a:pt x="782615" y="809007"/>
                    <a:pt x="782615" y="809007"/>
                  </a:cubicBezTo>
                  <a:lnTo>
                    <a:pt x="784570" y="808518"/>
                  </a:lnTo>
                  <a:lnTo>
                    <a:pt x="791413" y="815197"/>
                  </a:lnTo>
                  <a:lnTo>
                    <a:pt x="792553" y="818618"/>
                  </a:lnTo>
                  <a:lnTo>
                    <a:pt x="795811" y="820085"/>
                  </a:lnTo>
                  <a:lnTo>
                    <a:pt x="798581" y="826601"/>
                  </a:lnTo>
                  <a:lnTo>
                    <a:pt x="801187" y="831000"/>
                  </a:lnTo>
                  <a:lnTo>
                    <a:pt x="801676" y="837190"/>
                  </a:lnTo>
                  <a:lnTo>
                    <a:pt x="804120" y="843055"/>
                  </a:lnTo>
                  <a:lnTo>
                    <a:pt x="801676" y="848105"/>
                  </a:lnTo>
                  <a:lnTo>
                    <a:pt x="801187" y="853807"/>
                  </a:lnTo>
                  <a:lnTo>
                    <a:pt x="796626" y="859020"/>
                  </a:lnTo>
                  <a:lnTo>
                    <a:pt x="785385" y="854947"/>
                  </a:lnTo>
                  <a:lnTo>
                    <a:pt x="779194" y="854458"/>
                  </a:lnTo>
                  <a:lnTo>
                    <a:pt x="779194" y="856413"/>
                  </a:lnTo>
                  <a:cubicBezTo>
                    <a:pt x="779194" y="856413"/>
                    <a:pt x="777240" y="858042"/>
                    <a:pt x="777240" y="858042"/>
                  </a:cubicBezTo>
                  <a:lnTo>
                    <a:pt x="770723" y="855436"/>
                  </a:lnTo>
                  <a:lnTo>
                    <a:pt x="766488" y="855436"/>
                  </a:lnTo>
                  <a:cubicBezTo>
                    <a:pt x="766488" y="855436"/>
                    <a:pt x="767791" y="859183"/>
                    <a:pt x="767791" y="859183"/>
                  </a:cubicBezTo>
                  <a:lnTo>
                    <a:pt x="763555" y="862115"/>
                  </a:lnTo>
                  <a:lnTo>
                    <a:pt x="763066" y="867491"/>
                  </a:lnTo>
                  <a:lnTo>
                    <a:pt x="757690" y="867003"/>
                  </a:lnTo>
                  <a:lnTo>
                    <a:pt x="753129" y="868632"/>
                  </a:lnTo>
                  <a:lnTo>
                    <a:pt x="754921" y="871238"/>
                  </a:lnTo>
                  <a:lnTo>
                    <a:pt x="759971" y="873519"/>
                  </a:lnTo>
                  <a:lnTo>
                    <a:pt x="761437" y="879221"/>
                  </a:lnTo>
                  <a:lnTo>
                    <a:pt x="765673" y="882642"/>
                  </a:lnTo>
                  <a:lnTo>
                    <a:pt x="768768" y="880687"/>
                  </a:lnTo>
                  <a:lnTo>
                    <a:pt x="774633" y="885411"/>
                  </a:lnTo>
                  <a:lnTo>
                    <a:pt x="774959" y="889810"/>
                  </a:lnTo>
                  <a:lnTo>
                    <a:pt x="781964" y="889810"/>
                  </a:lnTo>
                  <a:lnTo>
                    <a:pt x="789946" y="894534"/>
                  </a:lnTo>
                  <a:lnTo>
                    <a:pt x="798418" y="895023"/>
                  </a:lnTo>
                  <a:lnTo>
                    <a:pt x="809170" y="899747"/>
                  </a:lnTo>
                  <a:lnTo>
                    <a:pt x="815686" y="900073"/>
                  </a:lnTo>
                  <a:lnTo>
                    <a:pt x="815686" y="897304"/>
                  </a:lnTo>
                  <a:lnTo>
                    <a:pt x="818293" y="896978"/>
                  </a:lnTo>
                  <a:lnTo>
                    <a:pt x="822854" y="899584"/>
                  </a:lnTo>
                  <a:lnTo>
                    <a:pt x="822528" y="903657"/>
                  </a:lnTo>
                  <a:lnTo>
                    <a:pt x="829859" y="897792"/>
                  </a:lnTo>
                  <a:lnTo>
                    <a:pt x="832466" y="900725"/>
                  </a:lnTo>
                  <a:lnTo>
                    <a:pt x="835561" y="900399"/>
                  </a:lnTo>
                  <a:lnTo>
                    <a:pt x="839145" y="896326"/>
                  </a:lnTo>
                  <a:lnTo>
                    <a:pt x="841426" y="896326"/>
                  </a:lnTo>
                  <a:cubicBezTo>
                    <a:pt x="841426" y="896326"/>
                    <a:pt x="841263" y="898933"/>
                    <a:pt x="841263" y="898933"/>
                  </a:cubicBezTo>
                  <a:lnTo>
                    <a:pt x="844032" y="900073"/>
                  </a:lnTo>
                  <a:lnTo>
                    <a:pt x="852178" y="895837"/>
                  </a:lnTo>
                  <a:lnTo>
                    <a:pt x="866188" y="890624"/>
                  </a:lnTo>
                  <a:lnTo>
                    <a:pt x="870424" y="889647"/>
                  </a:lnTo>
                  <a:lnTo>
                    <a:pt x="870424" y="894371"/>
                  </a:lnTo>
                  <a:cubicBezTo>
                    <a:pt x="870424" y="894371"/>
                    <a:pt x="868957" y="896978"/>
                    <a:pt x="868957" y="896978"/>
                  </a:cubicBezTo>
                  <a:lnTo>
                    <a:pt x="868957" y="898770"/>
                  </a:lnTo>
                  <a:lnTo>
                    <a:pt x="871401" y="898770"/>
                  </a:lnTo>
                  <a:cubicBezTo>
                    <a:pt x="871401" y="898770"/>
                    <a:pt x="871727" y="904309"/>
                    <a:pt x="871727" y="904309"/>
                  </a:cubicBezTo>
                  <a:lnTo>
                    <a:pt x="871075" y="908219"/>
                  </a:lnTo>
                  <a:lnTo>
                    <a:pt x="872378" y="910988"/>
                  </a:lnTo>
                  <a:lnTo>
                    <a:pt x="874008" y="912128"/>
                  </a:lnTo>
                  <a:lnTo>
                    <a:pt x="876940" y="909033"/>
                  </a:lnTo>
                  <a:lnTo>
                    <a:pt x="880035" y="911803"/>
                  </a:lnTo>
                  <a:lnTo>
                    <a:pt x="879384" y="916201"/>
                  </a:lnTo>
                  <a:lnTo>
                    <a:pt x="876125" y="924347"/>
                  </a:lnTo>
                  <a:lnTo>
                    <a:pt x="877266" y="929723"/>
                  </a:lnTo>
                  <a:lnTo>
                    <a:pt x="878732" y="930863"/>
                  </a:lnTo>
                  <a:lnTo>
                    <a:pt x="882479" y="927116"/>
                  </a:lnTo>
                  <a:lnTo>
                    <a:pt x="883293" y="920925"/>
                  </a:lnTo>
                  <a:lnTo>
                    <a:pt x="885085" y="917830"/>
                  </a:lnTo>
                  <a:lnTo>
                    <a:pt x="886552" y="917830"/>
                  </a:lnTo>
                  <a:lnTo>
                    <a:pt x="886063" y="924672"/>
                  </a:lnTo>
                  <a:lnTo>
                    <a:pt x="882479" y="932981"/>
                  </a:lnTo>
                  <a:lnTo>
                    <a:pt x="878732" y="938520"/>
                  </a:lnTo>
                  <a:lnTo>
                    <a:pt x="878406" y="947480"/>
                  </a:lnTo>
                  <a:lnTo>
                    <a:pt x="881827" y="953019"/>
                  </a:lnTo>
                  <a:lnTo>
                    <a:pt x="881827" y="961816"/>
                  </a:lnTo>
                  <a:cubicBezTo>
                    <a:pt x="881827" y="961816"/>
                    <a:pt x="880198" y="968006"/>
                    <a:pt x="880198" y="968006"/>
                  </a:cubicBezTo>
                  <a:lnTo>
                    <a:pt x="885574" y="971916"/>
                  </a:lnTo>
                  <a:lnTo>
                    <a:pt x="885574" y="975011"/>
                  </a:lnTo>
                  <a:lnTo>
                    <a:pt x="883293" y="979247"/>
                  </a:lnTo>
                  <a:lnTo>
                    <a:pt x="885574" y="981853"/>
                  </a:lnTo>
                  <a:lnTo>
                    <a:pt x="888344" y="989347"/>
                  </a:lnTo>
                  <a:lnTo>
                    <a:pt x="889321" y="1005149"/>
                  </a:lnTo>
                  <a:lnTo>
                    <a:pt x="889647" y="989347"/>
                  </a:lnTo>
                  <a:lnTo>
                    <a:pt x="886877" y="976803"/>
                  </a:lnTo>
                  <a:lnTo>
                    <a:pt x="888344" y="965725"/>
                  </a:lnTo>
                  <a:lnTo>
                    <a:pt x="894208" y="954973"/>
                  </a:lnTo>
                  <a:lnTo>
                    <a:pt x="897629" y="954973"/>
                  </a:lnTo>
                  <a:lnTo>
                    <a:pt x="897629" y="959698"/>
                  </a:lnTo>
                  <a:lnTo>
                    <a:pt x="895837" y="960512"/>
                  </a:lnTo>
                  <a:lnTo>
                    <a:pt x="895023" y="964585"/>
                  </a:lnTo>
                  <a:lnTo>
                    <a:pt x="896815" y="965888"/>
                  </a:lnTo>
                  <a:lnTo>
                    <a:pt x="900073" y="963608"/>
                  </a:lnTo>
                  <a:lnTo>
                    <a:pt x="901376" y="965563"/>
                  </a:lnTo>
                  <a:lnTo>
                    <a:pt x="903657" y="963119"/>
                  </a:lnTo>
                  <a:lnTo>
                    <a:pt x="903657" y="957906"/>
                  </a:lnTo>
                  <a:lnTo>
                    <a:pt x="900725" y="953344"/>
                  </a:lnTo>
                  <a:lnTo>
                    <a:pt x="900725" y="950412"/>
                  </a:lnTo>
                  <a:cubicBezTo>
                    <a:pt x="900725" y="950412"/>
                    <a:pt x="905286" y="949109"/>
                    <a:pt x="905286" y="949109"/>
                  </a:cubicBezTo>
                  <a:lnTo>
                    <a:pt x="906589" y="946502"/>
                  </a:lnTo>
                  <a:lnTo>
                    <a:pt x="902028" y="942755"/>
                  </a:lnTo>
                  <a:lnTo>
                    <a:pt x="902354" y="939334"/>
                  </a:lnTo>
                  <a:lnTo>
                    <a:pt x="904797" y="929723"/>
                  </a:lnTo>
                  <a:lnTo>
                    <a:pt x="909196" y="916853"/>
                  </a:lnTo>
                  <a:lnTo>
                    <a:pt x="908056" y="912617"/>
                  </a:lnTo>
                  <a:lnTo>
                    <a:pt x="908056" y="908544"/>
                  </a:lnTo>
                  <a:lnTo>
                    <a:pt x="911314" y="905938"/>
                  </a:lnTo>
                  <a:lnTo>
                    <a:pt x="918482" y="905123"/>
                  </a:lnTo>
                  <a:lnTo>
                    <a:pt x="918808" y="903494"/>
                  </a:lnTo>
                  <a:lnTo>
                    <a:pt x="921088" y="900562"/>
                  </a:lnTo>
                  <a:lnTo>
                    <a:pt x="924672" y="900073"/>
                  </a:lnTo>
                  <a:lnTo>
                    <a:pt x="926953" y="902680"/>
                  </a:lnTo>
                  <a:lnTo>
                    <a:pt x="930700" y="901051"/>
                  </a:lnTo>
                  <a:lnTo>
                    <a:pt x="933795" y="896815"/>
                  </a:lnTo>
                  <a:lnTo>
                    <a:pt x="936239" y="896815"/>
                  </a:lnTo>
                  <a:cubicBezTo>
                    <a:pt x="936239" y="896815"/>
                    <a:pt x="936239" y="900073"/>
                    <a:pt x="936239" y="900073"/>
                  </a:cubicBezTo>
                  <a:lnTo>
                    <a:pt x="938845" y="898770"/>
                  </a:lnTo>
                  <a:lnTo>
                    <a:pt x="944384" y="897792"/>
                  </a:lnTo>
                  <a:lnTo>
                    <a:pt x="946991" y="892742"/>
                  </a:lnTo>
                  <a:lnTo>
                    <a:pt x="949923" y="892742"/>
                  </a:lnTo>
                  <a:lnTo>
                    <a:pt x="951552" y="896652"/>
                  </a:lnTo>
                  <a:lnTo>
                    <a:pt x="953996" y="897141"/>
                  </a:lnTo>
                  <a:lnTo>
                    <a:pt x="955299" y="903657"/>
                  </a:lnTo>
                  <a:lnTo>
                    <a:pt x="955299" y="897141"/>
                  </a:lnTo>
                  <a:cubicBezTo>
                    <a:pt x="955299" y="897141"/>
                    <a:pt x="953507" y="891602"/>
                    <a:pt x="953507" y="891602"/>
                  </a:cubicBezTo>
                  <a:lnTo>
                    <a:pt x="957580" y="883945"/>
                  </a:lnTo>
                  <a:lnTo>
                    <a:pt x="961001" y="883945"/>
                  </a:lnTo>
                  <a:cubicBezTo>
                    <a:pt x="961001" y="883945"/>
                    <a:pt x="963445" y="885574"/>
                    <a:pt x="963445" y="885574"/>
                  </a:cubicBezTo>
                  <a:lnTo>
                    <a:pt x="967680" y="885574"/>
                  </a:lnTo>
                  <a:cubicBezTo>
                    <a:pt x="967680" y="885574"/>
                    <a:pt x="970450" y="883619"/>
                    <a:pt x="970450" y="883619"/>
                  </a:cubicBezTo>
                  <a:lnTo>
                    <a:pt x="973545" y="886063"/>
                  </a:lnTo>
                  <a:lnTo>
                    <a:pt x="979247" y="879872"/>
                  </a:lnTo>
                  <a:lnTo>
                    <a:pt x="977455" y="876614"/>
                  </a:lnTo>
                  <a:lnTo>
                    <a:pt x="980713" y="873193"/>
                  </a:lnTo>
                  <a:lnTo>
                    <a:pt x="976152" y="872867"/>
                  </a:lnTo>
                  <a:lnTo>
                    <a:pt x="975663" y="871401"/>
                  </a:lnTo>
                  <a:lnTo>
                    <a:pt x="971753" y="871401"/>
                  </a:lnTo>
                  <a:cubicBezTo>
                    <a:pt x="971753" y="871401"/>
                    <a:pt x="961490" y="875311"/>
                    <a:pt x="961490" y="875311"/>
                  </a:cubicBezTo>
                  <a:lnTo>
                    <a:pt x="958557" y="874985"/>
                  </a:lnTo>
                  <a:lnTo>
                    <a:pt x="957091" y="878406"/>
                  </a:lnTo>
                  <a:lnTo>
                    <a:pt x="952693" y="878732"/>
                  </a:lnTo>
                  <a:lnTo>
                    <a:pt x="952693" y="881827"/>
                  </a:lnTo>
                  <a:lnTo>
                    <a:pt x="951552" y="884434"/>
                  </a:lnTo>
                  <a:lnTo>
                    <a:pt x="947317" y="879221"/>
                  </a:lnTo>
                  <a:lnTo>
                    <a:pt x="947805" y="875148"/>
                  </a:lnTo>
                  <a:lnTo>
                    <a:pt x="944873" y="877592"/>
                  </a:lnTo>
                  <a:lnTo>
                    <a:pt x="943733" y="881990"/>
                  </a:lnTo>
                  <a:lnTo>
                    <a:pt x="940312" y="883456"/>
                  </a:lnTo>
                  <a:lnTo>
                    <a:pt x="935587" y="880361"/>
                  </a:lnTo>
                  <a:lnTo>
                    <a:pt x="931677" y="880361"/>
                  </a:lnTo>
                  <a:lnTo>
                    <a:pt x="930863" y="877917"/>
                  </a:lnTo>
                  <a:lnTo>
                    <a:pt x="927605" y="878895"/>
                  </a:lnTo>
                  <a:lnTo>
                    <a:pt x="927116" y="881827"/>
                  </a:lnTo>
                  <a:lnTo>
                    <a:pt x="930537" y="885411"/>
                  </a:lnTo>
                  <a:lnTo>
                    <a:pt x="930537" y="888344"/>
                  </a:lnTo>
                  <a:lnTo>
                    <a:pt x="925161" y="889973"/>
                  </a:lnTo>
                  <a:lnTo>
                    <a:pt x="923695" y="887529"/>
                  </a:lnTo>
                  <a:lnTo>
                    <a:pt x="916853" y="886552"/>
                  </a:lnTo>
                  <a:lnTo>
                    <a:pt x="915875" y="883945"/>
                  </a:lnTo>
                  <a:lnTo>
                    <a:pt x="918970" y="881176"/>
                  </a:lnTo>
                  <a:lnTo>
                    <a:pt x="920437" y="876614"/>
                  </a:lnTo>
                  <a:lnTo>
                    <a:pt x="918482" y="876614"/>
                  </a:lnTo>
                  <a:cubicBezTo>
                    <a:pt x="918482" y="876614"/>
                    <a:pt x="915549" y="878243"/>
                    <a:pt x="915549" y="878243"/>
                  </a:cubicBezTo>
                  <a:lnTo>
                    <a:pt x="911640" y="876288"/>
                  </a:lnTo>
                  <a:lnTo>
                    <a:pt x="913594" y="872216"/>
                  </a:lnTo>
                  <a:lnTo>
                    <a:pt x="918156" y="869446"/>
                  </a:lnTo>
                  <a:lnTo>
                    <a:pt x="924672" y="860160"/>
                  </a:lnTo>
                  <a:lnTo>
                    <a:pt x="929234" y="860160"/>
                  </a:lnTo>
                  <a:lnTo>
                    <a:pt x="934773" y="861626"/>
                  </a:lnTo>
                  <a:lnTo>
                    <a:pt x="953344" y="860812"/>
                  </a:lnTo>
                  <a:lnTo>
                    <a:pt x="966377" y="856739"/>
                  </a:lnTo>
                  <a:lnTo>
                    <a:pt x="969961" y="857554"/>
                  </a:lnTo>
                  <a:lnTo>
                    <a:pt x="976477" y="855273"/>
                  </a:lnTo>
                  <a:lnTo>
                    <a:pt x="978921" y="859020"/>
                  </a:lnTo>
                  <a:lnTo>
                    <a:pt x="982016" y="861789"/>
                  </a:lnTo>
                  <a:lnTo>
                    <a:pt x="984460" y="861789"/>
                  </a:lnTo>
                  <a:cubicBezTo>
                    <a:pt x="984460" y="861789"/>
                    <a:pt x="985926" y="866025"/>
                    <a:pt x="985926" y="866025"/>
                  </a:cubicBezTo>
                  <a:lnTo>
                    <a:pt x="984949" y="876288"/>
                  </a:lnTo>
                  <a:lnTo>
                    <a:pt x="983645" y="879547"/>
                  </a:lnTo>
                  <a:lnTo>
                    <a:pt x="986089" y="881013"/>
                  </a:lnTo>
                  <a:lnTo>
                    <a:pt x="985275" y="882968"/>
                  </a:lnTo>
                  <a:lnTo>
                    <a:pt x="981202" y="885574"/>
                  </a:lnTo>
                  <a:lnTo>
                    <a:pt x="981690" y="887366"/>
                  </a:lnTo>
                  <a:lnTo>
                    <a:pt x="983482" y="888832"/>
                  </a:lnTo>
                  <a:lnTo>
                    <a:pt x="984786" y="898770"/>
                  </a:lnTo>
                  <a:lnTo>
                    <a:pt x="988696" y="898770"/>
                  </a:lnTo>
                  <a:cubicBezTo>
                    <a:pt x="988696" y="898770"/>
                    <a:pt x="991791" y="900399"/>
                    <a:pt x="991791" y="900399"/>
                  </a:cubicBezTo>
                  <a:lnTo>
                    <a:pt x="991791" y="903005"/>
                  </a:lnTo>
                  <a:lnTo>
                    <a:pt x="987718" y="905938"/>
                  </a:lnTo>
                  <a:lnTo>
                    <a:pt x="987392" y="909848"/>
                  </a:lnTo>
                  <a:lnTo>
                    <a:pt x="985437" y="913106"/>
                  </a:lnTo>
                  <a:lnTo>
                    <a:pt x="990488" y="913106"/>
                  </a:lnTo>
                  <a:cubicBezTo>
                    <a:pt x="990488" y="913106"/>
                    <a:pt x="995049" y="914898"/>
                    <a:pt x="995049" y="914898"/>
                  </a:cubicBezTo>
                  <a:lnTo>
                    <a:pt x="996027" y="916690"/>
                  </a:lnTo>
                  <a:lnTo>
                    <a:pt x="997981" y="916201"/>
                  </a:lnTo>
                  <a:lnTo>
                    <a:pt x="1001403" y="920111"/>
                  </a:lnTo>
                  <a:lnTo>
                    <a:pt x="1006779" y="920111"/>
                  </a:lnTo>
                  <a:cubicBezTo>
                    <a:pt x="1006779" y="920111"/>
                    <a:pt x="1011177" y="917667"/>
                    <a:pt x="1011177" y="917667"/>
                  </a:cubicBezTo>
                  <a:lnTo>
                    <a:pt x="1012969" y="918808"/>
                  </a:lnTo>
                  <a:lnTo>
                    <a:pt x="1012643" y="922229"/>
                  </a:lnTo>
                  <a:lnTo>
                    <a:pt x="1013946" y="923695"/>
                  </a:lnTo>
                  <a:lnTo>
                    <a:pt x="1016390" y="922717"/>
                  </a:lnTo>
                  <a:lnTo>
                    <a:pt x="1018997" y="925813"/>
                  </a:lnTo>
                  <a:lnTo>
                    <a:pt x="1017694" y="928256"/>
                  </a:lnTo>
                  <a:lnTo>
                    <a:pt x="1017694" y="931352"/>
                  </a:lnTo>
                  <a:lnTo>
                    <a:pt x="1019974" y="932329"/>
                  </a:lnTo>
                  <a:lnTo>
                    <a:pt x="1020952" y="935424"/>
                  </a:lnTo>
                  <a:lnTo>
                    <a:pt x="1027957" y="942104"/>
                  </a:lnTo>
                  <a:lnTo>
                    <a:pt x="1027957" y="945851"/>
                  </a:lnTo>
                  <a:lnTo>
                    <a:pt x="1033496" y="941941"/>
                  </a:lnTo>
                  <a:lnTo>
                    <a:pt x="1035288" y="943407"/>
                  </a:lnTo>
                  <a:lnTo>
                    <a:pt x="1036102" y="947805"/>
                  </a:lnTo>
                  <a:lnTo>
                    <a:pt x="1037405" y="948294"/>
                  </a:lnTo>
                  <a:lnTo>
                    <a:pt x="1042781" y="952693"/>
                  </a:lnTo>
                  <a:lnTo>
                    <a:pt x="1048483" y="949760"/>
                  </a:lnTo>
                  <a:lnTo>
                    <a:pt x="1056954" y="950086"/>
                  </a:lnTo>
                  <a:lnTo>
                    <a:pt x="1059561" y="946013"/>
                  </a:lnTo>
                  <a:lnTo>
                    <a:pt x="1066403" y="942267"/>
                  </a:lnTo>
                  <a:lnTo>
                    <a:pt x="1067870" y="942267"/>
                  </a:lnTo>
                  <a:lnTo>
                    <a:pt x="1069336" y="945199"/>
                  </a:lnTo>
                  <a:lnTo>
                    <a:pt x="1079273" y="944710"/>
                  </a:lnTo>
                  <a:lnTo>
                    <a:pt x="1087745" y="951389"/>
                  </a:lnTo>
                  <a:lnTo>
                    <a:pt x="1091654" y="952530"/>
                  </a:lnTo>
                  <a:lnTo>
                    <a:pt x="1095564" y="956277"/>
                  </a:lnTo>
                  <a:lnTo>
                    <a:pt x="1097845" y="954485"/>
                  </a:lnTo>
                  <a:lnTo>
                    <a:pt x="1106968" y="952530"/>
                  </a:lnTo>
                  <a:lnTo>
                    <a:pt x="1110226" y="956928"/>
                  </a:lnTo>
                  <a:lnTo>
                    <a:pt x="1112832" y="955299"/>
                  </a:lnTo>
                  <a:lnTo>
                    <a:pt x="1112018" y="949760"/>
                  </a:lnTo>
                  <a:lnTo>
                    <a:pt x="1108108" y="945362"/>
                  </a:lnTo>
                  <a:lnTo>
                    <a:pt x="1106642" y="938357"/>
                  </a:lnTo>
                  <a:lnTo>
                    <a:pt x="1108434" y="936076"/>
                  </a:lnTo>
                  <a:lnTo>
                    <a:pt x="1111366" y="936565"/>
                  </a:lnTo>
                  <a:lnTo>
                    <a:pt x="1114136" y="944873"/>
                  </a:lnTo>
                  <a:lnTo>
                    <a:pt x="1115439" y="951552"/>
                  </a:lnTo>
                  <a:lnTo>
                    <a:pt x="1122444" y="960024"/>
                  </a:lnTo>
                  <a:lnTo>
                    <a:pt x="1126028" y="962793"/>
                  </a:lnTo>
                  <a:lnTo>
                    <a:pt x="1127657" y="968495"/>
                  </a:lnTo>
                  <a:lnTo>
                    <a:pt x="1127983" y="958069"/>
                  </a:lnTo>
                  <a:lnTo>
                    <a:pt x="1125377" y="954648"/>
                  </a:lnTo>
                  <a:lnTo>
                    <a:pt x="1118371" y="951715"/>
                  </a:lnTo>
                  <a:lnTo>
                    <a:pt x="1116742" y="944384"/>
                  </a:lnTo>
                  <a:lnTo>
                    <a:pt x="1114136" y="934284"/>
                  </a:lnTo>
                  <a:lnTo>
                    <a:pt x="1115439" y="930863"/>
                  </a:lnTo>
                  <a:lnTo>
                    <a:pt x="1117394" y="931352"/>
                  </a:lnTo>
                  <a:lnTo>
                    <a:pt x="1117394" y="934610"/>
                  </a:lnTo>
                  <a:cubicBezTo>
                    <a:pt x="1117394" y="934610"/>
                    <a:pt x="1119675" y="936565"/>
                    <a:pt x="1119675" y="936565"/>
                  </a:cubicBezTo>
                  <a:lnTo>
                    <a:pt x="1122444" y="934284"/>
                  </a:lnTo>
                  <a:lnTo>
                    <a:pt x="1122444" y="930863"/>
                  </a:lnTo>
                  <a:lnTo>
                    <a:pt x="1120163" y="926627"/>
                  </a:lnTo>
                  <a:lnTo>
                    <a:pt x="1121792" y="923858"/>
                  </a:lnTo>
                  <a:lnTo>
                    <a:pt x="1120326" y="921088"/>
                  </a:lnTo>
                  <a:lnTo>
                    <a:pt x="1121304" y="917993"/>
                  </a:lnTo>
                  <a:lnTo>
                    <a:pt x="1125213" y="917993"/>
                  </a:lnTo>
                  <a:cubicBezTo>
                    <a:pt x="1125213" y="917993"/>
                    <a:pt x="1127983" y="922066"/>
                    <a:pt x="1127983" y="922066"/>
                  </a:cubicBezTo>
                  <a:lnTo>
                    <a:pt x="1127983" y="925324"/>
                  </a:lnTo>
                  <a:cubicBezTo>
                    <a:pt x="1127983" y="925324"/>
                    <a:pt x="1129938" y="926627"/>
                    <a:pt x="1129938" y="926627"/>
                  </a:cubicBezTo>
                  <a:lnTo>
                    <a:pt x="1130915" y="924672"/>
                  </a:lnTo>
                  <a:lnTo>
                    <a:pt x="1136128" y="921740"/>
                  </a:lnTo>
                  <a:lnTo>
                    <a:pt x="1137920" y="916527"/>
                  </a:lnTo>
                  <a:lnTo>
                    <a:pt x="1142319" y="916527"/>
                  </a:lnTo>
                  <a:lnTo>
                    <a:pt x="1144763" y="920763"/>
                  </a:lnTo>
                  <a:lnTo>
                    <a:pt x="1143134" y="923695"/>
                  </a:lnTo>
                  <a:lnTo>
                    <a:pt x="1143134" y="926627"/>
                  </a:lnTo>
                  <a:lnTo>
                    <a:pt x="1144437" y="923369"/>
                  </a:lnTo>
                  <a:lnTo>
                    <a:pt x="1147043" y="922555"/>
                  </a:lnTo>
                  <a:lnTo>
                    <a:pt x="1150953" y="925813"/>
                  </a:lnTo>
                  <a:lnTo>
                    <a:pt x="1150139" y="931515"/>
                  </a:lnTo>
                  <a:lnTo>
                    <a:pt x="1148510" y="934773"/>
                  </a:lnTo>
                  <a:lnTo>
                    <a:pt x="1151442" y="938194"/>
                  </a:lnTo>
                  <a:lnTo>
                    <a:pt x="1155515" y="937053"/>
                  </a:lnTo>
                  <a:lnTo>
                    <a:pt x="1158773" y="938845"/>
                  </a:lnTo>
                  <a:lnTo>
                    <a:pt x="1157470" y="942918"/>
                  </a:lnTo>
                  <a:lnTo>
                    <a:pt x="1151605" y="945362"/>
                  </a:lnTo>
                  <a:lnTo>
                    <a:pt x="1150627" y="947317"/>
                  </a:lnTo>
                  <a:lnTo>
                    <a:pt x="1154048" y="948783"/>
                  </a:lnTo>
                  <a:lnTo>
                    <a:pt x="1159750" y="944873"/>
                  </a:lnTo>
                  <a:lnTo>
                    <a:pt x="1162845" y="939660"/>
                  </a:lnTo>
                  <a:lnTo>
                    <a:pt x="1169036" y="938031"/>
                  </a:lnTo>
                  <a:lnTo>
                    <a:pt x="1174249" y="938520"/>
                  </a:lnTo>
                  <a:lnTo>
                    <a:pt x="1174249" y="940475"/>
                  </a:lnTo>
                  <a:cubicBezTo>
                    <a:pt x="1174249" y="940475"/>
                    <a:pt x="1170502" y="941615"/>
                    <a:pt x="1170502" y="941615"/>
                  </a:cubicBezTo>
                  <a:lnTo>
                    <a:pt x="1167407" y="944384"/>
                  </a:lnTo>
                  <a:lnTo>
                    <a:pt x="1166918" y="950412"/>
                  </a:lnTo>
                  <a:lnTo>
                    <a:pt x="1159424" y="954973"/>
                  </a:lnTo>
                  <a:lnTo>
                    <a:pt x="1158936" y="958069"/>
                  </a:lnTo>
                  <a:lnTo>
                    <a:pt x="1151605" y="964911"/>
                  </a:lnTo>
                  <a:lnTo>
                    <a:pt x="1151605" y="968169"/>
                  </a:lnTo>
                  <a:lnTo>
                    <a:pt x="1149650" y="970938"/>
                  </a:lnTo>
                  <a:lnTo>
                    <a:pt x="1148510" y="966703"/>
                  </a:lnTo>
                  <a:lnTo>
                    <a:pt x="1145414" y="971264"/>
                  </a:lnTo>
                  <a:lnTo>
                    <a:pt x="1143459" y="979736"/>
                  </a:lnTo>
                  <a:lnTo>
                    <a:pt x="1143948" y="982668"/>
                  </a:lnTo>
                  <a:lnTo>
                    <a:pt x="1148021" y="980713"/>
                  </a:lnTo>
                  <a:lnTo>
                    <a:pt x="1150953" y="980713"/>
                  </a:lnTo>
                  <a:cubicBezTo>
                    <a:pt x="1150953" y="980713"/>
                    <a:pt x="1150790" y="985112"/>
                    <a:pt x="1150790" y="985112"/>
                  </a:cubicBezTo>
                  <a:lnTo>
                    <a:pt x="1145414" y="988859"/>
                  </a:lnTo>
                  <a:lnTo>
                    <a:pt x="1145088" y="991791"/>
                  </a:lnTo>
                  <a:lnTo>
                    <a:pt x="1151931" y="989836"/>
                  </a:lnTo>
                  <a:lnTo>
                    <a:pt x="1155515" y="986578"/>
                  </a:lnTo>
                  <a:lnTo>
                    <a:pt x="1159262" y="986904"/>
                  </a:lnTo>
                  <a:lnTo>
                    <a:pt x="1156003" y="992280"/>
                  </a:lnTo>
                  <a:lnTo>
                    <a:pt x="1152582" y="994886"/>
                  </a:lnTo>
                  <a:lnTo>
                    <a:pt x="1155678" y="995864"/>
                  </a:lnTo>
                  <a:lnTo>
                    <a:pt x="1159750" y="994235"/>
                  </a:lnTo>
                  <a:lnTo>
                    <a:pt x="1157470" y="1000751"/>
                  </a:lnTo>
                  <a:lnTo>
                    <a:pt x="1156981" y="1004824"/>
                  </a:lnTo>
                  <a:lnTo>
                    <a:pt x="1153397" y="1007756"/>
                  </a:lnTo>
                  <a:lnTo>
                    <a:pt x="1147858" y="1005475"/>
                  </a:lnTo>
                  <a:lnTo>
                    <a:pt x="1145414" y="1000914"/>
                  </a:lnTo>
                  <a:lnTo>
                    <a:pt x="1139387" y="1003846"/>
                  </a:lnTo>
                  <a:lnTo>
                    <a:pt x="1137106" y="996841"/>
                  </a:lnTo>
                  <a:lnTo>
                    <a:pt x="1135151" y="996841"/>
                  </a:lnTo>
                  <a:cubicBezTo>
                    <a:pt x="1135151" y="996841"/>
                    <a:pt x="1133522" y="1004009"/>
                    <a:pt x="1133522" y="1004009"/>
                  </a:cubicBezTo>
                  <a:lnTo>
                    <a:pt x="1136780" y="1009059"/>
                  </a:lnTo>
                  <a:lnTo>
                    <a:pt x="1138735" y="1015739"/>
                  </a:lnTo>
                  <a:lnTo>
                    <a:pt x="1136943" y="1026816"/>
                  </a:lnTo>
                  <a:lnTo>
                    <a:pt x="1141342" y="1016716"/>
                  </a:lnTo>
                  <a:lnTo>
                    <a:pt x="1139875" y="1008733"/>
                  </a:lnTo>
                  <a:lnTo>
                    <a:pt x="1142971" y="1005964"/>
                  </a:lnTo>
                  <a:lnTo>
                    <a:pt x="1146066" y="1009059"/>
                  </a:lnTo>
                  <a:lnTo>
                    <a:pt x="1151605" y="1009385"/>
                  </a:lnTo>
                  <a:lnTo>
                    <a:pt x="1155840" y="1012480"/>
                  </a:lnTo>
                  <a:lnTo>
                    <a:pt x="1159262" y="1009548"/>
                  </a:lnTo>
                  <a:lnTo>
                    <a:pt x="1159750" y="1003846"/>
                  </a:lnTo>
                  <a:lnTo>
                    <a:pt x="1166429" y="1001891"/>
                  </a:lnTo>
                  <a:lnTo>
                    <a:pt x="1170828" y="996841"/>
                  </a:lnTo>
                  <a:lnTo>
                    <a:pt x="1175715" y="996841"/>
                  </a:lnTo>
                  <a:cubicBezTo>
                    <a:pt x="1175715" y="996841"/>
                    <a:pt x="1179136" y="992117"/>
                    <a:pt x="1179136" y="992117"/>
                  </a:cubicBezTo>
                  <a:lnTo>
                    <a:pt x="1174901" y="995049"/>
                  </a:lnTo>
                  <a:lnTo>
                    <a:pt x="1169851" y="994235"/>
                  </a:lnTo>
                  <a:lnTo>
                    <a:pt x="1167407" y="997981"/>
                  </a:lnTo>
                  <a:lnTo>
                    <a:pt x="1164149" y="999448"/>
                  </a:lnTo>
                  <a:lnTo>
                    <a:pt x="1162357" y="999448"/>
                  </a:lnTo>
                  <a:cubicBezTo>
                    <a:pt x="1162357" y="999448"/>
                    <a:pt x="1164800" y="993746"/>
                    <a:pt x="1164800" y="993746"/>
                  </a:cubicBezTo>
                  <a:lnTo>
                    <a:pt x="1168059" y="991139"/>
                  </a:lnTo>
                  <a:lnTo>
                    <a:pt x="1166104" y="988044"/>
                  </a:lnTo>
                  <a:lnTo>
                    <a:pt x="1166104" y="984623"/>
                  </a:lnTo>
                  <a:cubicBezTo>
                    <a:pt x="1166104" y="984623"/>
                    <a:pt x="1169199" y="977292"/>
                    <a:pt x="1169199" y="977292"/>
                  </a:cubicBezTo>
                  <a:lnTo>
                    <a:pt x="1168873" y="973545"/>
                  </a:lnTo>
                  <a:lnTo>
                    <a:pt x="1166267" y="970613"/>
                  </a:lnTo>
                  <a:lnTo>
                    <a:pt x="1167896" y="968332"/>
                  </a:lnTo>
                  <a:lnTo>
                    <a:pt x="1172131" y="961816"/>
                  </a:lnTo>
                  <a:lnTo>
                    <a:pt x="1173923" y="955299"/>
                  </a:lnTo>
                  <a:lnTo>
                    <a:pt x="1179136" y="951064"/>
                  </a:lnTo>
                  <a:lnTo>
                    <a:pt x="1180603" y="953019"/>
                  </a:lnTo>
                  <a:lnTo>
                    <a:pt x="1179299" y="955299"/>
                  </a:lnTo>
                  <a:lnTo>
                    <a:pt x="1182232" y="954322"/>
                  </a:lnTo>
                  <a:lnTo>
                    <a:pt x="1185001" y="950249"/>
                  </a:lnTo>
                  <a:lnTo>
                    <a:pt x="1186304" y="952693"/>
                  </a:lnTo>
                  <a:lnTo>
                    <a:pt x="1188259" y="952693"/>
                  </a:lnTo>
                  <a:cubicBezTo>
                    <a:pt x="1188259" y="952693"/>
                    <a:pt x="1189726" y="955462"/>
                    <a:pt x="1189726" y="955462"/>
                  </a:cubicBezTo>
                  <a:lnTo>
                    <a:pt x="1194287" y="954485"/>
                  </a:lnTo>
                  <a:lnTo>
                    <a:pt x="1197219" y="950249"/>
                  </a:lnTo>
                  <a:lnTo>
                    <a:pt x="1208786" y="945525"/>
                  </a:lnTo>
                  <a:lnTo>
                    <a:pt x="1211229" y="941126"/>
                  </a:lnTo>
                  <a:lnTo>
                    <a:pt x="1211229" y="938520"/>
                  </a:lnTo>
                  <a:cubicBezTo>
                    <a:pt x="1211229" y="938520"/>
                    <a:pt x="1214162" y="937542"/>
                    <a:pt x="1214162" y="937542"/>
                  </a:cubicBezTo>
                  <a:lnTo>
                    <a:pt x="1218886" y="932329"/>
                  </a:lnTo>
                  <a:lnTo>
                    <a:pt x="1226054" y="931515"/>
                  </a:lnTo>
                  <a:lnTo>
                    <a:pt x="1229475" y="927442"/>
                  </a:lnTo>
                  <a:lnTo>
                    <a:pt x="1229150" y="924347"/>
                  </a:lnTo>
                  <a:lnTo>
                    <a:pt x="1230453" y="917667"/>
                  </a:lnTo>
                  <a:lnTo>
                    <a:pt x="1233874" y="911640"/>
                  </a:lnTo>
                  <a:lnTo>
                    <a:pt x="1234851" y="907078"/>
                  </a:lnTo>
                  <a:lnTo>
                    <a:pt x="1233059" y="904634"/>
                  </a:lnTo>
                  <a:lnTo>
                    <a:pt x="1230127" y="906915"/>
                  </a:lnTo>
                  <a:lnTo>
                    <a:pt x="1226054" y="907567"/>
                  </a:lnTo>
                  <a:lnTo>
                    <a:pt x="1227032" y="909522"/>
                  </a:lnTo>
                  <a:lnTo>
                    <a:pt x="1224588" y="913757"/>
                  </a:lnTo>
                  <a:lnTo>
                    <a:pt x="1219864" y="914735"/>
                  </a:lnTo>
                  <a:lnTo>
                    <a:pt x="1217257" y="912780"/>
                  </a:lnTo>
                  <a:lnTo>
                    <a:pt x="1213999" y="912780"/>
                  </a:lnTo>
                  <a:lnTo>
                    <a:pt x="1212859" y="910988"/>
                  </a:lnTo>
                  <a:lnTo>
                    <a:pt x="1216280" y="904309"/>
                  </a:lnTo>
                  <a:lnTo>
                    <a:pt x="1219375" y="904309"/>
                  </a:lnTo>
                  <a:lnTo>
                    <a:pt x="1222307" y="900562"/>
                  </a:lnTo>
                  <a:lnTo>
                    <a:pt x="1228987" y="897629"/>
                  </a:lnTo>
                  <a:lnTo>
                    <a:pt x="1229312" y="894371"/>
                  </a:lnTo>
                  <a:lnTo>
                    <a:pt x="1226543" y="891928"/>
                  </a:lnTo>
                  <a:lnTo>
                    <a:pt x="1230942" y="886389"/>
                  </a:lnTo>
                  <a:lnTo>
                    <a:pt x="1236643" y="885248"/>
                  </a:lnTo>
                  <a:lnTo>
                    <a:pt x="1242345" y="886877"/>
                  </a:lnTo>
                  <a:lnTo>
                    <a:pt x="1238110" y="889647"/>
                  </a:lnTo>
                  <a:lnTo>
                    <a:pt x="1237458" y="894860"/>
                  </a:lnTo>
                  <a:lnTo>
                    <a:pt x="1239087" y="896000"/>
                  </a:lnTo>
                  <a:lnTo>
                    <a:pt x="1244300" y="893394"/>
                  </a:lnTo>
                  <a:lnTo>
                    <a:pt x="1248699" y="883782"/>
                  </a:lnTo>
                  <a:lnTo>
                    <a:pt x="1248699" y="879709"/>
                  </a:lnTo>
                  <a:cubicBezTo>
                    <a:pt x="1248699" y="879709"/>
                    <a:pt x="1243486" y="878406"/>
                    <a:pt x="1243486" y="878406"/>
                  </a:cubicBezTo>
                  <a:lnTo>
                    <a:pt x="1239087" y="878406"/>
                  </a:lnTo>
                  <a:cubicBezTo>
                    <a:pt x="1239087" y="878406"/>
                    <a:pt x="1235992" y="876125"/>
                    <a:pt x="1235992" y="876125"/>
                  </a:cubicBezTo>
                  <a:lnTo>
                    <a:pt x="1228824" y="874496"/>
                  </a:lnTo>
                  <a:lnTo>
                    <a:pt x="1226217" y="867328"/>
                  </a:lnTo>
                  <a:lnTo>
                    <a:pt x="1227358" y="861626"/>
                  </a:lnTo>
                  <a:lnTo>
                    <a:pt x="1223611" y="867003"/>
                  </a:lnTo>
                  <a:lnTo>
                    <a:pt x="1220841" y="867003"/>
                  </a:lnTo>
                  <a:lnTo>
                    <a:pt x="1218235" y="862441"/>
                  </a:lnTo>
                  <a:lnTo>
                    <a:pt x="1213673" y="859672"/>
                  </a:lnTo>
                  <a:lnTo>
                    <a:pt x="1212370" y="853970"/>
                  </a:lnTo>
                  <a:lnTo>
                    <a:pt x="1210089" y="852829"/>
                  </a:lnTo>
                  <a:lnTo>
                    <a:pt x="1206342" y="853318"/>
                  </a:lnTo>
                  <a:lnTo>
                    <a:pt x="1205202" y="849245"/>
                  </a:lnTo>
                  <a:lnTo>
                    <a:pt x="1203573" y="846965"/>
                  </a:lnTo>
                  <a:lnTo>
                    <a:pt x="1206016" y="842729"/>
                  </a:lnTo>
                  <a:lnTo>
                    <a:pt x="1206016" y="838656"/>
                  </a:lnTo>
                  <a:cubicBezTo>
                    <a:pt x="1206016" y="838656"/>
                    <a:pt x="1203736" y="833932"/>
                    <a:pt x="1203736" y="833932"/>
                  </a:cubicBezTo>
                  <a:lnTo>
                    <a:pt x="1204387" y="821551"/>
                  </a:lnTo>
                  <a:lnTo>
                    <a:pt x="1207971" y="817315"/>
                  </a:lnTo>
                  <a:lnTo>
                    <a:pt x="1216443" y="809658"/>
                  </a:lnTo>
                  <a:lnTo>
                    <a:pt x="1221493" y="807704"/>
                  </a:lnTo>
                  <a:lnTo>
                    <a:pt x="1225728" y="807704"/>
                  </a:lnTo>
                  <a:cubicBezTo>
                    <a:pt x="1225728" y="807704"/>
                    <a:pt x="1226217" y="805912"/>
                    <a:pt x="1226217" y="805912"/>
                  </a:cubicBezTo>
                  <a:lnTo>
                    <a:pt x="1230290" y="802653"/>
                  </a:lnTo>
                  <a:lnTo>
                    <a:pt x="1230779" y="799558"/>
                  </a:lnTo>
                  <a:lnTo>
                    <a:pt x="1228009" y="799558"/>
                  </a:lnTo>
                  <a:cubicBezTo>
                    <a:pt x="1228009" y="799558"/>
                    <a:pt x="1223936" y="802165"/>
                    <a:pt x="1223936" y="802165"/>
                  </a:cubicBezTo>
                  <a:lnTo>
                    <a:pt x="1221330" y="801024"/>
                  </a:lnTo>
                  <a:lnTo>
                    <a:pt x="1221330" y="797929"/>
                  </a:lnTo>
                  <a:cubicBezTo>
                    <a:pt x="1221330" y="797929"/>
                    <a:pt x="1219538" y="792553"/>
                    <a:pt x="1219538" y="792553"/>
                  </a:cubicBezTo>
                  <a:lnTo>
                    <a:pt x="1220190" y="787177"/>
                  </a:lnTo>
                  <a:lnTo>
                    <a:pt x="1226706" y="780009"/>
                  </a:lnTo>
                  <a:lnTo>
                    <a:pt x="1230779" y="771049"/>
                  </a:lnTo>
                  <a:lnTo>
                    <a:pt x="1233874" y="769746"/>
                  </a:lnTo>
                  <a:lnTo>
                    <a:pt x="1237458" y="763066"/>
                  </a:lnTo>
                  <a:lnTo>
                    <a:pt x="1240716" y="763066"/>
                  </a:lnTo>
                  <a:cubicBezTo>
                    <a:pt x="1240716" y="763066"/>
                    <a:pt x="1244463" y="757202"/>
                    <a:pt x="1244463" y="757202"/>
                  </a:cubicBezTo>
                  <a:lnTo>
                    <a:pt x="1250491" y="754595"/>
                  </a:lnTo>
                  <a:lnTo>
                    <a:pt x="1253912" y="757528"/>
                  </a:lnTo>
                  <a:lnTo>
                    <a:pt x="1252120" y="763066"/>
                  </a:lnTo>
                  <a:lnTo>
                    <a:pt x="1254889" y="765836"/>
                  </a:lnTo>
                  <a:lnTo>
                    <a:pt x="1253749" y="769583"/>
                  </a:lnTo>
                  <a:lnTo>
                    <a:pt x="1258962" y="766813"/>
                  </a:lnTo>
                  <a:lnTo>
                    <a:pt x="1259777" y="763555"/>
                  </a:lnTo>
                  <a:lnTo>
                    <a:pt x="1265641" y="754758"/>
                  </a:lnTo>
                  <a:lnTo>
                    <a:pt x="1265641" y="752477"/>
                  </a:lnTo>
                  <a:lnTo>
                    <a:pt x="1261569" y="751989"/>
                  </a:lnTo>
                  <a:lnTo>
                    <a:pt x="1257333" y="750197"/>
                  </a:lnTo>
                  <a:lnTo>
                    <a:pt x="1254075" y="745635"/>
                  </a:lnTo>
                  <a:lnTo>
                    <a:pt x="1258473" y="741562"/>
                  </a:lnTo>
                  <a:lnTo>
                    <a:pt x="1265315" y="741562"/>
                  </a:lnTo>
                  <a:lnTo>
                    <a:pt x="1267107" y="738630"/>
                  </a:lnTo>
                  <a:lnTo>
                    <a:pt x="1274112" y="734069"/>
                  </a:lnTo>
                  <a:lnTo>
                    <a:pt x="1274112" y="729833"/>
                  </a:lnTo>
                  <a:cubicBezTo>
                    <a:pt x="1274112" y="729833"/>
                    <a:pt x="1277534" y="728041"/>
                    <a:pt x="1277534" y="728041"/>
                  </a:cubicBezTo>
                  <a:lnTo>
                    <a:pt x="1283236" y="729996"/>
                  </a:lnTo>
                  <a:lnTo>
                    <a:pt x="1291544" y="731788"/>
                  </a:lnTo>
                  <a:lnTo>
                    <a:pt x="1292033" y="736512"/>
                  </a:lnTo>
                  <a:lnTo>
                    <a:pt x="1290892" y="738793"/>
                  </a:lnTo>
                  <a:lnTo>
                    <a:pt x="1293987" y="740096"/>
                  </a:lnTo>
                  <a:lnTo>
                    <a:pt x="1298060" y="744169"/>
                  </a:lnTo>
                  <a:lnTo>
                    <a:pt x="1301970" y="746776"/>
                  </a:lnTo>
                  <a:lnTo>
                    <a:pt x="1300178" y="751826"/>
                  </a:lnTo>
                  <a:lnTo>
                    <a:pt x="1297734" y="752966"/>
                  </a:lnTo>
                  <a:lnTo>
                    <a:pt x="1298712" y="757365"/>
                  </a:lnTo>
                  <a:lnTo>
                    <a:pt x="1297897" y="761274"/>
                  </a:lnTo>
                  <a:lnTo>
                    <a:pt x="1302133" y="765347"/>
                  </a:lnTo>
                  <a:lnTo>
                    <a:pt x="1303599" y="769420"/>
                  </a:lnTo>
                  <a:lnTo>
                    <a:pt x="1302621" y="778217"/>
                  </a:lnTo>
                  <a:lnTo>
                    <a:pt x="1305717" y="780498"/>
                  </a:lnTo>
                  <a:lnTo>
                    <a:pt x="1305717" y="782941"/>
                  </a:lnTo>
                  <a:lnTo>
                    <a:pt x="1301970" y="787992"/>
                  </a:lnTo>
                  <a:lnTo>
                    <a:pt x="1301970" y="791901"/>
                  </a:lnTo>
                  <a:cubicBezTo>
                    <a:pt x="1301970" y="791901"/>
                    <a:pt x="1297897" y="797766"/>
                    <a:pt x="1297897" y="797766"/>
                  </a:cubicBezTo>
                  <a:lnTo>
                    <a:pt x="1297897" y="804282"/>
                  </a:lnTo>
                  <a:cubicBezTo>
                    <a:pt x="1297897" y="804282"/>
                    <a:pt x="1295128" y="805912"/>
                    <a:pt x="1295128" y="805912"/>
                  </a:cubicBezTo>
                  <a:lnTo>
                    <a:pt x="1297571" y="810473"/>
                  </a:lnTo>
                  <a:lnTo>
                    <a:pt x="1295779" y="815523"/>
                  </a:lnTo>
                  <a:lnTo>
                    <a:pt x="1300993" y="821551"/>
                  </a:lnTo>
                  <a:lnTo>
                    <a:pt x="1300993" y="825624"/>
                  </a:lnTo>
                  <a:lnTo>
                    <a:pt x="1299526" y="827416"/>
                  </a:lnTo>
                  <a:lnTo>
                    <a:pt x="1300993" y="831814"/>
                  </a:lnTo>
                  <a:lnTo>
                    <a:pt x="1299526" y="836376"/>
                  </a:lnTo>
                  <a:lnTo>
                    <a:pt x="1299526" y="839797"/>
                  </a:lnTo>
                  <a:lnTo>
                    <a:pt x="1302785" y="840774"/>
                  </a:lnTo>
                  <a:lnTo>
                    <a:pt x="1306043" y="845336"/>
                  </a:lnTo>
                  <a:lnTo>
                    <a:pt x="1305554" y="849571"/>
                  </a:lnTo>
                  <a:lnTo>
                    <a:pt x="1301807" y="852829"/>
                  </a:lnTo>
                  <a:lnTo>
                    <a:pt x="1298712" y="851200"/>
                  </a:lnTo>
                  <a:lnTo>
                    <a:pt x="1294313" y="852178"/>
                  </a:lnTo>
                  <a:lnTo>
                    <a:pt x="1291707" y="847453"/>
                  </a:lnTo>
                  <a:lnTo>
                    <a:pt x="1293336" y="841914"/>
                  </a:lnTo>
                  <a:lnTo>
                    <a:pt x="1287471" y="844521"/>
                  </a:lnTo>
                  <a:lnTo>
                    <a:pt x="1285027" y="849897"/>
                  </a:lnTo>
                  <a:lnTo>
                    <a:pt x="1280629" y="851689"/>
                  </a:lnTo>
                  <a:lnTo>
                    <a:pt x="1280629" y="853970"/>
                  </a:lnTo>
                  <a:lnTo>
                    <a:pt x="1287145" y="852341"/>
                  </a:lnTo>
                  <a:lnTo>
                    <a:pt x="1290403" y="855599"/>
                  </a:lnTo>
                  <a:lnTo>
                    <a:pt x="1289752" y="858205"/>
                  </a:lnTo>
                  <a:lnTo>
                    <a:pt x="1276067" y="867817"/>
                  </a:lnTo>
                  <a:lnTo>
                    <a:pt x="1272646" y="868306"/>
                  </a:lnTo>
                  <a:lnTo>
                    <a:pt x="1271832" y="871075"/>
                  </a:lnTo>
                  <a:lnTo>
                    <a:pt x="1268736" y="872541"/>
                  </a:lnTo>
                  <a:lnTo>
                    <a:pt x="1267433" y="877592"/>
                  </a:lnTo>
                  <a:lnTo>
                    <a:pt x="1270040" y="880361"/>
                  </a:lnTo>
                  <a:lnTo>
                    <a:pt x="1275090" y="879058"/>
                  </a:lnTo>
                  <a:lnTo>
                    <a:pt x="1278185" y="880198"/>
                  </a:lnTo>
                  <a:lnTo>
                    <a:pt x="1278674" y="884922"/>
                  </a:lnTo>
                  <a:lnTo>
                    <a:pt x="1283236" y="889484"/>
                  </a:lnTo>
                  <a:lnTo>
                    <a:pt x="1289752" y="887529"/>
                  </a:lnTo>
                  <a:lnTo>
                    <a:pt x="1290729" y="883619"/>
                  </a:lnTo>
                  <a:lnTo>
                    <a:pt x="1294639" y="882642"/>
                  </a:lnTo>
                  <a:lnTo>
                    <a:pt x="1296268" y="884597"/>
                  </a:lnTo>
                  <a:lnTo>
                    <a:pt x="1293825" y="886552"/>
                  </a:lnTo>
                  <a:lnTo>
                    <a:pt x="1293825" y="888018"/>
                  </a:lnTo>
                  <a:lnTo>
                    <a:pt x="1298223" y="889647"/>
                  </a:lnTo>
                  <a:lnTo>
                    <a:pt x="1301318" y="892905"/>
                  </a:lnTo>
                  <a:lnTo>
                    <a:pt x="1305880" y="889484"/>
                  </a:lnTo>
                  <a:lnTo>
                    <a:pt x="1309464" y="891439"/>
                  </a:lnTo>
                  <a:lnTo>
                    <a:pt x="1306206" y="895186"/>
                  </a:lnTo>
                  <a:lnTo>
                    <a:pt x="1301481" y="895186"/>
                  </a:lnTo>
                  <a:cubicBezTo>
                    <a:pt x="1301481" y="895186"/>
                    <a:pt x="1296268" y="901213"/>
                    <a:pt x="1296268" y="901213"/>
                  </a:cubicBezTo>
                  <a:lnTo>
                    <a:pt x="1294476" y="902842"/>
                  </a:lnTo>
                  <a:lnTo>
                    <a:pt x="1293336" y="896815"/>
                  </a:lnTo>
                  <a:lnTo>
                    <a:pt x="1290892" y="896815"/>
                  </a:lnTo>
                  <a:cubicBezTo>
                    <a:pt x="1290892" y="896815"/>
                    <a:pt x="1288937" y="895837"/>
                    <a:pt x="1288937" y="895837"/>
                  </a:cubicBezTo>
                  <a:lnTo>
                    <a:pt x="1288937" y="898444"/>
                  </a:lnTo>
                  <a:lnTo>
                    <a:pt x="1291707" y="903005"/>
                  </a:lnTo>
                  <a:lnTo>
                    <a:pt x="1291707" y="906915"/>
                  </a:lnTo>
                  <a:lnTo>
                    <a:pt x="1296431" y="914409"/>
                  </a:lnTo>
                  <a:lnTo>
                    <a:pt x="1295779" y="920600"/>
                  </a:lnTo>
                  <a:lnTo>
                    <a:pt x="1296594" y="921740"/>
                  </a:lnTo>
                  <a:lnTo>
                    <a:pt x="1296105" y="926790"/>
                  </a:lnTo>
                  <a:lnTo>
                    <a:pt x="1292521" y="928908"/>
                  </a:lnTo>
                  <a:lnTo>
                    <a:pt x="1292195" y="933795"/>
                  </a:lnTo>
                  <a:lnTo>
                    <a:pt x="1291381" y="939008"/>
                  </a:lnTo>
                  <a:lnTo>
                    <a:pt x="1286494" y="945036"/>
                  </a:lnTo>
                  <a:lnTo>
                    <a:pt x="1287797" y="947805"/>
                  </a:lnTo>
                  <a:lnTo>
                    <a:pt x="1288123" y="953181"/>
                  </a:lnTo>
                  <a:lnTo>
                    <a:pt x="1285027" y="954648"/>
                  </a:lnTo>
                  <a:lnTo>
                    <a:pt x="1285516" y="958069"/>
                  </a:lnTo>
                  <a:lnTo>
                    <a:pt x="1288611" y="958069"/>
                  </a:lnTo>
                  <a:cubicBezTo>
                    <a:pt x="1288611" y="958069"/>
                    <a:pt x="1292684" y="953344"/>
                    <a:pt x="1292684" y="953344"/>
                  </a:cubicBezTo>
                  <a:lnTo>
                    <a:pt x="1294476" y="949760"/>
                  </a:lnTo>
                  <a:lnTo>
                    <a:pt x="1300993" y="946502"/>
                  </a:lnTo>
                  <a:lnTo>
                    <a:pt x="1302133" y="944221"/>
                  </a:lnTo>
                  <a:lnTo>
                    <a:pt x="1301155" y="942755"/>
                  </a:lnTo>
                  <a:lnTo>
                    <a:pt x="1304088" y="939334"/>
                  </a:lnTo>
                  <a:lnTo>
                    <a:pt x="1307020" y="941778"/>
                  </a:lnTo>
                  <a:lnTo>
                    <a:pt x="1309464" y="939334"/>
                  </a:lnTo>
                  <a:lnTo>
                    <a:pt x="1309464" y="930537"/>
                  </a:lnTo>
                  <a:lnTo>
                    <a:pt x="1310604" y="925487"/>
                  </a:lnTo>
                  <a:lnTo>
                    <a:pt x="1317120" y="920111"/>
                  </a:lnTo>
                  <a:lnTo>
                    <a:pt x="1322985" y="911151"/>
                  </a:lnTo>
                  <a:lnTo>
                    <a:pt x="1324777" y="905938"/>
                  </a:lnTo>
                  <a:lnTo>
                    <a:pt x="1327058" y="905612"/>
                  </a:lnTo>
                  <a:lnTo>
                    <a:pt x="1329339" y="907893"/>
                  </a:lnTo>
                  <a:lnTo>
                    <a:pt x="1330316" y="912454"/>
                  </a:lnTo>
                  <a:lnTo>
                    <a:pt x="1334226" y="921088"/>
                  </a:lnTo>
                  <a:lnTo>
                    <a:pt x="1335203" y="927768"/>
                  </a:lnTo>
                  <a:lnTo>
                    <a:pt x="1339765" y="933469"/>
                  </a:lnTo>
                  <a:lnTo>
                    <a:pt x="1339765" y="939008"/>
                  </a:lnTo>
                  <a:lnTo>
                    <a:pt x="1337973" y="943733"/>
                  </a:lnTo>
                  <a:lnTo>
                    <a:pt x="1339602" y="953996"/>
                  </a:lnTo>
                  <a:lnTo>
                    <a:pt x="1336507" y="959209"/>
                  </a:lnTo>
                  <a:lnTo>
                    <a:pt x="1332760" y="960838"/>
                  </a:lnTo>
                  <a:lnTo>
                    <a:pt x="1329827" y="958232"/>
                  </a:lnTo>
                  <a:lnTo>
                    <a:pt x="1326895" y="960838"/>
                  </a:lnTo>
                  <a:lnTo>
                    <a:pt x="1324614" y="965237"/>
                  </a:lnTo>
                  <a:lnTo>
                    <a:pt x="1325918" y="970613"/>
                  </a:lnTo>
                  <a:lnTo>
                    <a:pt x="1322171" y="975174"/>
                  </a:lnTo>
                  <a:lnTo>
                    <a:pt x="1319890" y="981365"/>
                  </a:lnTo>
                  <a:lnTo>
                    <a:pt x="1321519" y="984623"/>
                  </a:lnTo>
                  <a:lnTo>
                    <a:pt x="1321519" y="993094"/>
                  </a:lnTo>
                  <a:cubicBezTo>
                    <a:pt x="1321519" y="993094"/>
                    <a:pt x="1325755" y="1010851"/>
                    <a:pt x="1325755" y="1010851"/>
                  </a:cubicBezTo>
                  <a:lnTo>
                    <a:pt x="1329664" y="1018182"/>
                  </a:lnTo>
                  <a:lnTo>
                    <a:pt x="1328198" y="1023232"/>
                  </a:lnTo>
                  <a:lnTo>
                    <a:pt x="1332108" y="1027142"/>
                  </a:lnTo>
                  <a:lnTo>
                    <a:pt x="1335855" y="1027142"/>
                  </a:lnTo>
                  <a:lnTo>
                    <a:pt x="1334878" y="1020952"/>
                  </a:lnTo>
                  <a:lnTo>
                    <a:pt x="1333248" y="1019160"/>
                  </a:lnTo>
                  <a:lnTo>
                    <a:pt x="1336995" y="1015413"/>
                  </a:lnTo>
                  <a:lnTo>
                    <a:pt x="1340091" y="1015087"/>
                  </a:lnTo>
                  <a:lnTo>
                    <a:pt x="1342697" y="1021115"/>
                  </a:lnTo>
                  <a:lnTo>
                    <a:pt x="1345304" y="1020626"/>
                  </a:lnTo>
                  <a:lnTo>
                    <a:pt x="1346444" y="1014924"/>
                  </a:lnTo>
                  <a:lnTo>
                    <a:pt x="1350191" y="1010851"/>
                  </a:lnTo>
                  <a:lnTo>
                    <a:pt x="1350843" y="1002869"/>
                  </a:lnTo>
                  <a:lnTo>
                    <a:pt x="1354915" y="1001077"/>
                  </a:lnTo>
                  <a:lnTo>
                    <a:pt x="1359640" y="994397"/>
                  </a:lnTo>
                  <a:lnTo>
                    <a:pt x="1361432" y="994072"/>
                  </a:lnTo>
                  <a:lnTo>
                    <a:pt x="1364201" y="989673"/>
                  </a:lnTo>
                  <a:lnTo>
                    <a:pt x="1373161" y="982994"/>
                  </a:lnTo>
                  <a:lnTo>
                    <a:pt x="1379189" y="972731"/>
                  </a:lnTo>
                  <a:lnTo>
                    <a:pt x="1383587" y="961816"/>
                  </a:lnTo>
                  <a:lnTo>
                    <a:pt x="1387823" y="952856"/>
                  </a:lnTo>
                  <a:lnTo>
                    <a:pt x="1392547" y="949434"/>
                  </a:lnTo>
                  <a:lnTo>
                    <a:pt x="1396294" y="954811"/>
                  </a:lnTo>
                  <a:lnTo>
                    <a:pt x="1399390" y="951878"/>
                  </a:lnTo>
                  <a:lnTo>
                    <a:pt x="1402159" y="953833"/>
                  </a:lnTo>
                  <a:lnTo>
                    <a:pt x="1406884" y="953019"/>
                  </a:lnTo>
                  <a:lnTo>
                    <a:pt x="1406884" y="950086"/>
                  </a:lnTo>
                  <a:cubicBezTo>
                    <a:pt x="1406884" y="950086"/>
                    <a:pt x="1404277" y="949923"/>
                    <a:pt x="1404277" y="949923"/>
                  </a:cubicBezTo>
                  <a:lnTo>
                    <a:pt x="1400041" y="945688"/>
                  </a:lnTo>
                  <a:lnTo>
                    <a:pt x="1401996" y="942755"/>
                  </a:lnTo>
                  <a:lnTo>
                    <a:pt x="1407372" y="941941"/>
                  </a:lnTo>
                  <a:lnTo>
                    <a:pt x="1410142" y="944384"/>
                  </a:lnTo>
                  <a:lnTo>
                    <a:pt x="1412422" y="942592"/>
                  </a:lnTo>
                  <a:lnTo>
                    <a:pt x="1416169" y="942918"/>
                  </a:lnTo>
                  <a:lnTo>
                    <a:pt x="1418124" y="941452"/>
                  </a:lnTo>
                  <a:lnTo>
                    <a:pt x="1415680" y="936728"/>
                  </a:lnTo>
                  <a:lnTo>
                    <a:pt x="1413400" y="936402"/>
                  </a:lnTo>
                  <a:lnTo>
                    <a:pt x="1410956" y="932003"/>
                  </a:lnTo>
                  <a:lnTo>
                    <a:pt x="1408187" y="932003"/>
                  </a:lnTo>
                  <a:cubicBezTo>
                    <a:pt x="1408187" y="932003"/>
                    <a:pt x="1408512" y="924184"/>
                    <a:pt x="1408512" y="924184"/>
                  </a:cubicBezTo>
                  <a:lnTo>
                    <a:pt x="1411445" y="920925"/>
                  </a:lnTo>
                  <a:lnTo>
                    <a:pt x="1411934" y="916364"/>
                  </a:lnTo>
                  <a:lnTo>
                    <a:pt x="1415355" y="916364"/>
                  </a:lnTo>
                  <a:cubicBezTo>
                    <a:pt x="1415355" y="916364"/>
                    <a:pt x="1412748" y="912128"/>
                    <a:pt x="1412748" y="912128"/>
                  </a:cubicBezTo>
                  <a:lnTo>
                    <a:pt x="1413237" y="908870"/>
                  </a:lnTo>
                  <a:lnTo>
                    <a:pt x="1416984" y="904960"/>
                  </a:lnTo>
                  <a:lnTo>
                    <a:pt x="1415355" y="903168"/>
                  </a:lnTo>
                  <a:lnTo>
                    <a:pt x="1415355" y="901702"/>
                  </a:lnTo>
                  <a:cubicBezTo>
                    <a:pt x="1415355" y="901702"/>
                    <a:pt x="1419916" y="901702"/>
                    <a:pt x="1419916" y="901702"/>
                  </a:cubicBezTo>
                  <a:lnTo>
                    <a:pt x="1421545" y="897141"/>
                  </a:lnTo>
                  <a:lnTo>
                    <a:pt x="1417636" y="894860"/>
                  </a:lnTo>
                  <a:lnTo>
                    <a:pt x="1416332" y="892253"/>
                  </a:lnTo>
                  <a:lnTo>
                    <a:pt x="1421545" y="892905"/>
                  </a:lnTo>
                  <a:lnTo>
                    <a:pt x="1423826" y="896652"/>
                  </a:lnTo>
                  <a:lnTo>
                    <a:pt x="1427736" y="896978"/>
                  </a:lnTo>
                  <a:lnTo>
                    <a:pt x="1430994" y="894697"/>
                  </a:lnTo>
                  <a:lnTo>
                    <a:pt x="1438977" y="895186"/>
                  </a:lnTo>
                  <a:lnTo>
                    <a:pt x="1445982" y="900399"/>
                  </a:lnTo>
                  <a:lnTo>
                    <a:pt x="1446470" y="903005"/>
                  </a:lnTo>
                  <a:lnTo>
                    <a:pt x="1448751" y="906101"/>
                  </a:lnTo>
                  <a:lnTo>
                    <a:pt x="1458363" y="910825"/>
                  </a:lnTo>
                  <a:lnTo>
                    <a:pt x="1462761" y="907893"/>
                  </a:lnTo>
                  <a:lnTo>
                    <a:pt x="1467811" y="911314"/>
                  </a:lnTo>
                  <a:lnTo>
                    <a:pt x="1474002" y="913920"/>
                  </a:lnTo>
                  <a:lnTo>
                    <a:pt x="1474002" y="916690"/>
                  </a:lnTo>
                  <a:lnTo>
                    <a:pt x="1471395" y="918319"/>
                  </a:lnTo>
                  <a:lnTo>
                    <a:pt x="1474328" y="921577"/>
                  </a:lnTo>
                  <a:lnTo>
                    <a:pt x="1471233" y="923206"/>
                  </a:lnTo>
                  <a:lnTo>
                    <a:pt x="1467811" y="919948"/>
                  </a:lnTo>
                  <a:lnTo>
                    <a:pt x="1464390" y="919622"/>
                  </a:lnTo>
                  <a:lnTo>
                    <a:pt x="1464879" y="922392"/>
                  </a:lnTo>
                  <a:lnTo>
                    <a:pt x="1475631" y="929234"/>
                  </a:lnTo>
                  <a:lnTo>
                    <a:pt x="1476120" y="934610"/>
                  </a:lnTo>
                  <a:lnTo>
                    <a:pt x="1471884" y="936239"/>
                  </a:lnTo>
                  <a:lnTo>
                    <a:pt x="1474491" y="937705"/>
                  </a:lnTo>
                  <a:lnTo>
                    <a:pt x="1478889" y="936239"/>
                  </a:lnTo>
                  <a:lnTo>
                    <a:pt x="1486383" y="938031"/>
                  </a:lnTo>
                  <a:lnTo>
                    <a:pt x="1488012" y="941126"/>
                  </a:lnTo>
                  <a:lnTo>
                    <a:pt x="1490945" y="942104"/>
                  </a:lnTo>
                  <a:lnTo>
                    <a:pt x="1491759" y="944384"/>
                  </a:lnTo>
                  <a:lnTo>
                    <a:pt x="1488664" y="949434"/>
                  </a:lnTo>
                  <a:lnTo>
                    <a:pt x="1480681" y="955625"/>
                  </a:lnTo>
                  <a:lnTo>
                    <a:pt x="1475957" y="956603"/>
                  </a:lnTo>
                  <a:lnTo>
                    <a:pt x="1472373" y="958395"/>
                  </a:lnTo>
                  <a:lnTo>
                    <a:pt x="1479215" y="958395"/>
                  </a:lnTo>
                  <a:cubicBezTo>
                    <a:pt x="1479215" y="958395"/>
                    <a:pt x="1481659" y="960024"/>
                    <a:pt x="1481659" y="960024"/>
                  </a:cubicBezTo>
                  <a:lnTo>
                    <a:pt x="1482147" y="963933"/>
                  </a:lnTo>
                  <a:lnTo>
                    <a:pt x="1483939" y="963933"/>
                  </a:lnTo>
                  <a:cubicBezTo>
                    <a:pt x="1483939" y="963933"/>
                    <a:pt x="1485569" y="965237"/>
                    <a:pt x="1485569" y="965237"/>
                  </a:cubicBezTo>
                  <a:lnTo>
                    <a:pt x="1482473" y="970287"/>
                  </a:lnTo>
                  <a:lnTo>
                    <a:pt x="1484265" y="972079"/>
                  </a:lnTo>
                  <a:lnTo>
                    <a:pt x="1478238" y="976152"/>
                  </a:lnTo>
                  <a:lnTo>
                    <a:pt x="1471233" y="978595"/>
                  </a:lnTo>
                  <a:lnTo>
                    <a:pt x="1467486" y="977781"/>
                  </a:lnTo>
                  <a:lnTo>
                    <a:pt x="1465042" y="980876"/>
                  </a:lnTo>
                  <a:lnTo>
                    <a:pt x="1461132" y="979573"/>
                  </a:lnTo>
                  <a:lnTo>
                    <a:pt x="1457060" y="974848"/>
                  </a:lnTo>
                  <a:lnTo>
                    <a:pt x="1452498" y="974848"/>
                  </a:lnTo>
                  <a:cubicBezTo>
                    <a:pt x="1452498" y="974848"/>
                    <a:pt x="1451032" y="972079"/>
                    <a:pt x="1451032" y="972079"/>
                  </a:cubicBezTo>
                  <a:lnTo>
                    <a:pt x="1447936" y="972405"/>
                  </a:lnTo>
                  <a:lnTo>
                    <a:pt x="1447936" y="976477"/>
                  </a:lnTo>
                  <a:cubicBezTo>
                    <a:pt x="1447936" y="976477"/>
                    <a:pt x="1445493" y="977944"/>
                    <a:pt x="1445493" y="977944"/>
                  </a:cubicBezTo>
                  <a:lnTo>
                    <a:pt x="1449728" y="978921"/>
                  </a:lnTo>
                  <a:lnTo>
                    <a:pt x="1452824" y="981528"/>
                  </a:lnTo>
                  <a:lnTo>
                    <a:pt x="1451358" y="984949"/>
                  </a:lnTo>
                  <a:lnTo>
                    <a:pt x="1448425" y="988044"/>
                  </a:lnTo>
                  <a:lnTo>
                    <a:pt x="1452661" y="988370"/>
                  </a:lnTo>
                  <a:lnTo>
                    <a:pt x="1449728" y="992768"/>
                  </a:lnTo>
                  <a:lnTo>
                    <a:pt x="1450054" y="995864"/>
                  </a:lnTo>
                  <a:lnTo>
                    <a:pt x="1451684" y="996189"/>
                  </a:lnTo>
                  <a:lnTo>
                    <a:pt x="1454779" y="993094"/>
                  </a:lnTo>
                  <a:lnTo>
                    <a:pt x="1456408" y="993094"/>
                  </a:lnTo>
                  <a:cubicBezTo>
                    <a:pt x="1456408" y="993094"/>
                    <a:pt x="1455104" y="997004"/>
                    <a:pt x="1455104" y="997004"/>
                  </a:cubicBezTo>
                  <a:lnTo>
                    <a:pt x="1449077" y="999448"/>
                  </a:lnTo>
                  <a:lnTo>
                    <a:pt x="1446796" y="1004009"/>
                  </a:lnTo>
                  <a:lnTo>
                    <a:pt x="1447774" y="1009548"/>
                  </a:lnTo>
                  <a:lnTo>
                    <a:pt x="1453638" y="1013947"/>
                  </a:lnTo>
                  <a:lnTo>
                    <a:pt x="1452661" y="1017368"/>
                  </a:lnTo>
                  <a:lnTo>
                    <a:pt x="1458200" y="1028283"/>
                  </a:lnTo>
                  <a:lnTo>
                    <a:pt x="1457385" y="1034473"/>
                  </a:lnTo>
                  <a:lnTo>
                    <a:pt x="1455593" y="1035776"/>
                  </a:lnTo>
                  <a:lnTo>
                    <a:pt x="1454942" y="1039523"/>
                  </a:lnTo>
                  <a:lnTo>
                    <a:pt x="1448099" y="1045388"/>
                  </a:lnTo>
                  <a:lnTo>
                    <a:pt x="1449403" y="1049949"/>
                  </a:lnTo>
                  <a:lnTo>
                    <a:pt x="1446959" y="1053208"/>
                  </a:lnTo>
                  <a:lnTo>
                    <a:pt x="1442561" y="1051416"/>
                  </a:lnTo>
                  <a:lnTo>
                    <a:pt x="1434578" y="1051416"/>
                  </a:lnTo>
                  <a:cubicBezTo>
                    <a:pt x="1434578" y="1051416"/>
                    <a:pt x="1431157" y="1054022"/>
                    <a:pt x="1431157" y="1054022"/>
                  </a:cubicBezTo>
                  <a:lnTo>
                    <a:pt x="1429854" y="1059887"/>
                  </a:lnTo>
                  <a:lnTo>
                    <a:pt x="1424803" y="1062819"/>
                  </a:lnTo>
                  <a:lnTo>
                    <a:pt x="1422360" y="1066078"/>
                  </a:lnTo>
                  <a:lnTo>
                    <a:pt x="1418287" y="1066078"/>
                  </a:lnTo>
                  <a:cubicBezTo>
                    <a:pt x="1418287" y="1066078"/>
                    <a:pt x="1411119" y="1074060"/>
                    <a:pt x="1411119" y="1074060"/>
                  </a:cubicBezTo>
                  <a:lnTo>
                    <a:pt x="1408512" y="1073083"/>
                  </a:lnTo>
                  <a:lnTo>
                    <a:pt x="1404277" y="1073083"/>
                  </a:lnTo>
                  <a:cubicBezTo>
                    <a:pt x="1404277" y="1073083"/>
                    <a:pt x="1401670" y="1078296"/>
                    <a:pt x="1401670" y="1078296"/>
                  </a:cubicBezTo>
                  <a:lnTo>
                    <a:pt x="1389289" y="1081717"/>
                  </a:lnTo>
                  <a:lnTo>
                    <a:pt x="1386845" y="1079436"/>
                  </a:lnTo>
                  <a:lnTo>
                    <a:pt x="1388638" y="1076341"/>
                  </a:lnTo>
                  <a:lnTo>
                    <a:pt x="1387009" y="1070313"/>
                  </a:lnTo>
                  <a:lnTo>
                    <a:pt x="1383587" y="1066403"/>
                  </a:lnTo>
                  <a:lnTo>
                    <a:pt x="1383587" y="1063634"/>
                  </a:lnTo>
                  <a:lnTo>
                    <a:pt x="1386520" y="1062494"/>
                  </a:lnTo>
                  <a:lnTo>
                    <a:pt x="1386520" y="1058421"/>
                  </a:lnTo>
                  <a:cubicBezTo>
                    <a:pt x="1386520" y="1058421"/>
                    <a:pt x="1390755" y="1051416"/>
                    <a:pt x="1390755" y="1051416"/>
                  </a:cubicBezTo>
                  <a:lnTo>
                    <a:pt x="1385379" y="1056629"/>
                  </a:lnTo>
                  <a:lnTo>
                    <a:pt x="1383587" y="1057117"/>
                  </a:lnTo>
                  <a:lnTo>
                    <a:pt x="1383099" y="1046366"/>
                  </a:lnTo>
                  <a:lnTo>
                    <a:pt x="1380655" y="1045388"/>
                  </a:lnTo>
                  <a:lnTo>
                    <a:pt x="1377723" y="1040664"/>
                  </a:lnTo>
                  <a:lnTo>
                    <a:pt x="1372998" y="1043433"/>
                  </a:lnTo>
                  <a:lnTo>
                    <a:pt x="1371369" y="1041804"/>
                  </a:lnTo>
                  <a:lnTo>
                    <a:pt x="1366971" y="1042130"/>
                  </a:lnTo>
                  <a:lnTo>
                    <a:pt x="1362409" y="1049135"/>
                  </a:lnTo>
                  <a:lnTo>
                    <a:pt x="1364853" y="1049624"/>
                  </a:lnTo>
                  <a:lnTo>
                    <a:pt x="1371532" y="1045225"/>
                  </a:lnTo>
                  <a:lnTo>
                    <a:pt x="1374139" y="1046528"/>
                  </a:lnTo>
                  <a:lnTo>
                    <a:pt x="1373813" y="1050927"/>
                  </a:lnTo>
                  <a:lnTo>
                    <a:pt x="1378211" y="1052882"/>
                  </a:lnTo>
                  <a:lnTo>
                    <a:pt x="1381307" y="1060702"/>
                  </a:lnTo>
                  <a:lnTo>
                    <a:pt x="1380003" y="1068032"/>
                  </a:lnTo>
                  <a:lnTo>
                    <a:pt x="1382447" y="1069499"/>
                  </a:lnTo>
                  <a:lnTo>
                    <a:pt x="1383587" y="1076504"/>
                  </a:lnTo>
                  <a:lnTo>
                    <a:pt x="1381633" y="1079599"/>
                  </a:lnTo>
                  <a:lnTo>
                    <a:pt x="1383262" y="1081391"/>
                  </a:lnTo>
                  <a:lnTo>
                    <a:pt x="1382936" y="1085464"/>
                  </a:lnTo>
                  <a:lnTo>
                    <a:pt x="1380329" y="1085464"/>
                  </a:lnTo>
                  <a:cubicBezTo>
                    <a:pt x="1380329" y="1085464"/>
                    <a:pt x="1372184" y="1078621"/>
                    <a:pt x="1372184" y="1078621"/>
                  </a:cubicBezTo>
                  <a:lnTo>
                    <a:pt x="1371369" y="1074386"/>
                  </a:lnTo>
                  <a:lnTo>
                    <a:pt x="1367948" y="1073083"/>
                  </a:lnTo>
                  <a:lnTo>
                    <a:pt x="1366808" y="1069010"/>
                  </a:lnTo>
                  <a:lnTo>
                    <a:pt x="1363875" y="1073245"/>
                  </a:lnTo>
                  <a:lnTo>
                    <a:pt x="1368600" y="1077644"/>
                  </a:lnTo>
                  <a:lnTo>
                    <a:pt x="1367460" y="1081880"/>
                  </a:lnTo>
                  <a:lnTo>
                    <a:pt x="1361595" y="1078621"/>
                  </a:lnTo>
                  <a:lnTo>
                    <a:pt x="1357685" y="1077644"/>
                  </a:lnTo>
                  <a:lnTo>
                    <a:pt x="1356707" y="1075200"/>
                  </a:lnTo>
                  <a:lnTo>
                    <a:pt x="1353286" y="1076829"/>
                  </a:lnTo>
                  <a:lnTo>
                    <a:pt x="1353286" y="1073245"/>
                  </a:lnTo>
                  <a:cubicBezTo>
                    <a:pt x="1353286" y="1073245"/>
                    <a:pt x="1355567" y="1065915"/>
                    <a:pt x="1355567" y="1065915"/>
                  </a:cubicBezTo>
                  <a:lnTo>
                    <a:pt x="1356707" y="1064611"/>
                  </a:lnTo>
                  <a:lnTo>
                    <a:pt x="1353938" y="1063308"/>
                  </a:lnTo>
                  <a:lnTo>
                    <a:pt x="1353938" y="1060864"/>
                  </a:lnTo>
                  <a:cubicBezTo>
                    <a:pt x="1353938" y="1060864"/>
                    <a:pt x="1346444" y="1063797"/>
                    <a:pt x="1346444" y="1063797"/>
                  </a:cubicBezTo>
                  <a:lnTo>
                    <a:pt x="1340579" y="1063797"/>
                  </a:lnTo>
                  <a:lnTo>
                    <a:pt x="1336344" y="1060702"/>
                  </a:lnTo>
                  <a:lnTo>
                    <a:pt x="1332108" y="1061353"/>
                  </a:lnTo>
                  <a:lnTo>
                    <a:pt x="1326569" y="1057606"/>
                  </a:lnTo>
                  <a:lnTo>
                    <a:pt x="1325592" y="1061516"/>
                  </a:lnTo>
                  <a:lnTo>
                    <a:pt x="1327058" y="1064611"/>
                  </a:lnTo>
                  <a:lnTo>
                    <a:pt x="1324614" y="1066240"/>
                  </a:lnTo>
                  <a:lnTo>
                    <a:pt x="1324940" y="1071291"/>
                  </a:lnTo>
                  <a:lnTo>
                    <a:pt x="1327384" y="1075037"/>
                  </a:lnTo>
                  <a:lnTo>
                    <a:pt x="1333574" y="1076178"/>
                  </a:lnTo>
                  <a:lnTo>
                    <a:pt x="1336344" y="1080739"/>
                  </a:lnTo>
                  <a:lnTo>
                    <a:pt x="1332271" y="1087744"/>
                  </a:lnTo>
                  <a:lnTo>
                    <a:pt x="1329013" y="1088885"/>
                  </a:lnTo>
                  <a:lnTo>
                    <a:pt x="1317120" y="1097519"/>
                  </a:lnTo>
                  <a:lnTo>
                    <a:pt x="1311907" y="1104198"/>
                  </a:lnTo>
                  <a:lnTo>
                    <a:pt x="1306043" y="1111529"/>
                  </a:lnTo>
                  <a:lnTo>
                    <a:pt x="1302296" y="1110063"/>
                  </a:lnTo>
                  <a:lnTo>
                    <a:pt x="1298386" y="1112670"/>
                  </a:lnTo>
                  <a:lnTo>
                    <a:pt x="1296431" y="1118697"/>
                  </a:lnTo>
                  <a:lnTo>
                    <a:pt x="1291870" y="1120489"/>
                  </a:lnTo>
                  <a:lnTo>
                    <a:pt x="1275904" y="1117068"/>
                  </a:lnTo>
                  <a:lnTo>
                    <a:pt x="1272483" y="1112018"/>
                  </a:lnTo>
                  <a:lnTo>
                    <a:pt x="1270203" y="1106479"/>
                  </a:lnTo>
                  <a:lnTo>
                    <a:pt x="1262220" y="1103058"/>
                  </a:lnTo>
                  <a:lnTo>
                    <a:pt x="1262220" y="1100614"/>
                  </a:lnTo>
                  <a:cubicBezTo>
                    <a:pt x="1262220" y="1100614"/>
                    <a:pt x="1264990" y="1100451"/>
                    <a:pt x="1264990" y="1100451"/>
                  </a:cubicBezTo>
                  <a:lnTo>
                    <a:pt x="1266945" y="1098822"/>
                  </a:lnTo>
                  <a:lnTo>
                    <a:pt x="1264338" y="1096053"/>
                  </a:lnTo>
                  <a:lnTo>
                    <a:pt x="1259613" y="1094749"/>
                  </a:lnTo>
                  <a:lnTo>
                    <a:pt x="1254237" y="1084649"/>
                  </a:lnTo>
                  <a:lnTo>
                    <a:pt x="1248047" y="1079599"/>
                  </a:lnTo>
                  <a:lnTo>
                    <a:pt x="1237784" y="1079599"/>
                  </a:lnTo>
                  <a:lnTo>
                    <a:pt x="1230453" y="1075200"/>
                  </a:lnTo>
                  <a:lnTo>
                    <a:pt x="1218723" y="1074549"/>
                  </a:lnTo>
                  <a:lnTo>
                    <a:pt x="1214162" y="1073083"/>
                  </a:lnTo>
                  <a:lnTo>
                    <a:pt x="1214162" y="1076504"/>
                  </a:lnTo>
                  <a:cubicBezTo>
                    <a:pt x="1214162" y="1076504"/>
                    <a:pt x="1217094" y="1079925"/>
                    <a:pt x="1217094" y="1079925"/>
                  </a:cubicBezTo>
                  <a:lnTo>
                    <a:pt x="1218886" y="1077481"/>
                  </a:lnTo>
                  <a:lnTo>
                    <a:pt x="1221982" y="1076992"/>
                  </a:lnTo>
                  <a:lnTo>
                    <a:pt x="1233385" y="1081065"/>
                  </a:lnTo>
                  <a:lnTo>
                    <a:pt x="1243811" y="1081065"/>
                  </a:lnTo>
                  <a:cubicBezTo>
                    <a:pt x="1243811" y="1081065"/>
                    <a:pt x="1247070" y="1083020"/>
                    <a:pt x="1247070" y="1083020"/>
                  </a:cubicBezTo>
                  <a:lnTo>
                    <a:pt x="1245929" y="1085952"/>
                  </a:lnTo>
                  <a:lnTo>
                    <a:pt x="1243974" y="1085952"/>
                  </a:lnTo>
                  <a:cubicBezTo>
                    <a:pt x="1243974" y="1085952"/>
                    <a:pt x="1242345" y="1087744"/>
                    <a:pt x="1242345" y="1087744"/>
                  </a:cubicBezTo>
                  <a:lnTo>
                    <a:pt x="1243811" y="1089211"/>
                  </a:lnTo>
                  <a:lnTo>
                    <a:pt x="1244463" y="1097682"/>
                  </a:lnTo>
                  <a:lnTo>
                    <a:pt x="1246744" y="1097682"/>
                  </a:lnTo>
                  <a:cubicBezTo>
                    <a:pt x="1246744" y="1097682"/>
                    <a:pt x="1252283" y="1108760"/>
                    <a:pt x="1252283" y="1108760"/>
                  </a:cubicBezTo>
                  <a:lnTo>
                    <a:pt x="1255541" y="1116253"/>
                  </a:lnTo>
                  <a:lnTo>
                    <a:pt x="1264990" y="1119349"/>
                  </a:lnTo>
                  <a:lnTo>
                    <a:pt x="1274927" y="1121141"/>
                  </a:lnTo>
                  <a:lnTo>
                    <a:pt x="1293173" y="1126354"/>
                  </a:lnTo>
                  <a:lnTo>
                    <a:pt x="1293987" y="1131893"/>
                  </a:lnTo>
                  <a:lnTo>
                    <a:pt x="1291707" y="1133685"/>
                  </a:lnTo>
                  <a:lnTo>
                    <a:pt x="1286005" y="1137920"/>
                  </a:lnTo>
                  <a:lnTo>
                    <a:pt x="1281444" y="1140364"/>
                  </a:lnTo>
                  <a:lnTo>
                    <a:pt x="1274112" y="1150139"/>
                  </a:lnTo>
                  <a:lnTo>
                    <a:pt x="1272972" y="1148184"/>
                  </a:lnTo>
                  <a:lnTo>
                    <a:pt x="1270691" y="1149813"/>
                  </a:lnTo>
                  <a:lnTo>
                    <a:pt x="1269877" y="1152908"/>
                  </a:lnTo>
                  <a:lnTo>
                    <a:pt x="1253586" y="1169688"/>
                  </a:lnTo>
                  <a:lnTo>
                    <a:pt x="1246907" y="1172783"/>
                  </a:lnTo>
                  <a:lnTo>
                    <a:pt x="1242508" y="1180440"/>
                  </a:lnTo>
                  <a:lnTo>
                    <a:pt x="1238110" y="1181417"/>
                  </a:lnTo>
                  <a:lnTo>
                    <a:pt x="1235666" y="1179625"/>
                  </a:lnTo>
                  <a:lnTo>
                    <a:pt x="1232734" y="1179625"/>
                  </a:lnTo>
                  <a:lnTo>
                    <a:pt x="1231593" y="1182395"/>
                  </a:lnTo>
                  <a:lnTo>
                    <a:pt x="1225403" y="1175064"/>
                  </a:lnTo>
                  <a:lnTo>
                    <a:pt x="1221493" y="1173435"/>
                  </a:lnTo>
                  <a:lnTo>
                    <a:pt x="1218561" y="1177182"/>
                  </a:lnTo>
                  <a:lnTo>
                    <a:pt x="1217257" y="1173598"/>
                  </a:lnTo>
                  <a:lnTo>
                    <a:pt x="1215302" y="1172620"/>
                  </a:lnTo>
                  <a:lnTo>
                    <a:pt x="1219049" y="1167570"/>
                  </a:lnTo>
                  <a:lnTo>
                    <a:pt x="1217420" y="1166267"/>
                  </a:lnTo>
                  <a:lnTo>
                    <a:pt x="1216280" y="1163660"/>
                  </a:lnTo>
                  <a:lnTo>
                    <a:pt x="1211229" y="1166430"/>
                  </a:lnTo>
                  <a:lnTo>
                    <a:pt x="1207320" y="1176530"/>
                  </a:lnTo>
                  <a:lnTo>
                    <a:pt x="1206994" y="1171968"/>
                  </a:lnTo>
                  <a:lnTo>
                    <a:pt x="1204224" y="1163823"/>
                  </a:lnTo>
                  <a:lnTo>
                    <a:pt x="1201944" y="1170991"/>
                  </a:lnTo>
                  <a:lnTo>
                    <a:pt x="1204550" y="1174086"/>
                  </a:lnTo>
                  <a:lnTo>
                    <a:pt x="1204062" y="1183698"/>
                  </a:lnTo>
                  <a:lnTo>
                    <a:pt x="1198034" y="1192169"/>
                  </a:lnTo>
                  <a:lnTo>
                    <a:pt x="1194776" y="1191192"/>
                  </a:lnTo>
                  <a:lnTo>
                    <a:pt x="1193635" y="1188096"/>
                  </a:lnTo>
                  <a:lnTo>
                    <a:pt x="1189888" y="1182069"/>
                  </a:lnTo>
                  <a:lnTo>
                    <a:pt x="1188585" y="1186630"/>
                  </a:lnTo>
                  <a:lnTo>
                    <a:pt x="1192006" y="1189400"/>
                  </a:lnTo>
                  <a:lnTo>
                    <a:pt x="1186793" y="1192169"/>
                  </a:lnTo>
                  <a:lnTo>
                    <a:pt x="1186304" y="1197708"/>
                  </a:lnTo>
                  <a:lnTo>
                    <a:pt x="1184512" y="1195916"/>
                  </a:lnTo>
                  <a:lnTo>
                    <a:pt x="1178974" y="1194124"/>
                  </a:lnTo>
                  <a:lnTo>
                    <a:pt x="1178322" y="1190377"/>
                  </a:lnTo>
                  <a:lnTo>
                    <a:pt x="1174086" y="1187608"/>
                  </a:lnTo>
                  <a:lnTo>
                    <a:pt x="1169036" y="1180928"/>
                  </a:lnTo>
                  <a:lnTo>
                    <a:pt x="1158936" y="1177182"/>
                  </a:lnTo>
                  <a:lnTo>
                    <a:pt x="1149324" y="1171643"/>
                  </a:lnTo>
                  <a:lnTo>
                    <a:pt x="1146229" y="1164149"/>
                  </a:lnTo>
                  <a:lnTo>
                    <a:pt x="1142156" y="1162683"/>
                  </a:lnTo>
                  <a:lnTo>
                    <a:pt x="1135151" y="1157307"/>
                  </a:lnTo>
                  <a:lnTo>
                    <a:pt x="1132707" y="1153234"/>
                  </a:lnTo>
                  <a:lnTo>
                    <a:pt x="1132381" y="1160728"/>
                  </a:lnTo>
                  <a:lnTo>
                    <a:pt x="1127983" y="1159587"/>
                  </a:lnTo>
                  <a:lnTo>
                    <a:pt x="1130753" y="1166918"/>
                  </a:lnTo>
                  <a:lnTo>
                    <a:pt x="1135151" y="1170828"/>
                  </a:lnTo>
                  <a:lnTo>
                    <a:pt x="1136780" y="1168873"/>
                  </a:lnTo>
                  <a:lnTo>
                    <a:pt x="1134825" y="1165126"/>
                  </a:lnTo>
                  <a:lnTo>
                    <a:pt x="1135803" y="1162845"/>
                  </a:lnTo>
                  <a:lnTo>
                    <a:pt x="1137758" y="1162845"/>
                  </a:lnTo>
                  <a:cubicBezTo>
                    <a:pt x="1137758" y="1162845"/>
                    <a:pt x="1148021" y="1173760"/>
                    <a:pt x="1148021" y="1173760"/>
                  </a:cubicBezTo>
                  <a:lnTo>
                    <a:pt x="1157307" y="1179462"/>
                  </a:lnTo>
                  <a:lnTo>
                    <a:pt x="1158284" y="1181743"/>
                  </a:lnTo>
                  <a:lnTo>
                    <a:pt x="1152256" y="1185816"/>
                  </a:lnTo>
                  <a:lnTo>
                    <a:pt x="1146229" y="1186793"/>
                  </a:lnTo>
                  <a:lnTo>
                    <a:pt x="1142971" y="1185816"/>
                  </a:lnTo>
                  <a:lnTo>
                    <a:pt x="1144111" y="1188911"/>
                  </a:lnTo>
                  <a:lnTo>
                    <a:pt x="1144111" y="1190540"/>
                  </a:lnTo>
                  <a:lnTo>
                    <a:pt x="1146718" y="1189237"/>
                  </a:lnTo>
                  <a:lnTo>
                    <a:pt x="1156655" y="1188585"/>
                  </a:lnTo>
                  <a:lnTo>
                    <a:pt x="1162031" y="1183209"/>
                  </a:lnTo>
                  <a:lnTo>
                    <a:pt x="1164475" y="1182720"/>
                  </a:lnTo>
                  <a:lnTo>
                    <a:pt x="1167570" y="1186467"/>
                  </a:lnTo>
                  <a:lnTo>
                    <a:pt x="1168710" y="1192984"/>
                  </a:lnTo>
                  <a:lnTo>
                    <a:pt x="1178322" y="1204224"/>
                  </a:lnTo>
                  <a:lnTo>
                    <a:pt x="1177345" y="1215791"/>
                  </a:lnTo>
                  <a:lnTo>
                    <a:pt x="1170665" y="1222796"/>
                  </a:lnTo>
                  <a:lnTo>
                    <a:pt x="1166429" y="1223122"/>
                  </a:lnTo>
                  <a:lnTo>
                    <a:pt x="1163497" y="1225566"/>
                  </a:lnTo>
                  <a:lnTo>
                    <a:pt x="1157632" y="1225240"/>
                  </a:lnTo>
                  <a:lnTo>
                    <a:pt x="1153397" y="1222307"/>
                  </a:lnTo>
                  <a:lnTo>
                    <a:pt x="1141993" y="1220027"/>
                  </a:lnTo>
                  <a:lnTo>
                    <a:pt x="1135314" y="1211392"/>
                  </a:lnTo>
                  <a:lnTo>
                    <a:pt x="1132870" y="1203084"/>
                  </a:lnTo>
                  <a:lnTo>
                    <a:pt x="1129123" y="1199663"/>
                  </a:lnTo>
                  <a:lnTo>
                    <a:pt x="1127820" y="1201618"/>
                  </a:lnTo>
                  <a:lnTo>
                    <a:pt x="1128635" y="1204876"/>
                  </a:lnTo>
                  <a:lnTo>
                    <a:pt x="1128635" y="1209926"/>
                  </a:lnTo>
                  <a:cubicBezTo>
                    <a:pt x="1128635" y="1209926"/>
                    <a:pt x="1132870" y="1215465"/>
                    <a:pt x="1132870" y="1215465"/>
                  </a:cubicBezTo>
                  <a:lnTo>
                    <a:pt x="1136617" y="1225891"/>
                  </a:lnTo>
                  <a:lnTo>
                    <a:pt x="1141830" y="1234688"/>
                  </a:lnTo>
                  <a:lnTo>
                    <a:pt x="1138898" y="1237295"/>
                  </a:lnTo>
                  <a:lnTo>
                    <a:pt x="1135966" y="1235829"/>
                  </a:lnTo>
                  <a:lnTo>
                    <a:pt x="1131241" y="1236480"/>
                  </a:lnTo>
                  <a:lnTo>
                    <a:pt x="1129612" y="1229801"/>
                  </a:lnTo>
                  <a:lnTo>
                    <a:pt x="1128635" y="1233059"/>
                  </a:lnTo>
                  <a:lnTo>
                    <a:pt x="1126680" y="1234526"/>
                  </a:lnTo>
                  <a:lnTo>
                    <a:pt x="1128309" y="1237621"/>
                  </a:lnTo>
                  <a:lnTo>
                    <a:pt x="1132545" y="1239413"/>
                  </a:lnTo>
                  <a:lnTo>
                    <a:pt x="1134011" y="1242508"/>
                  </a:lnTo>
                  <a:lnTo>
                    <a:pt x="1125051" y="1240227"/>
                  </a:lnTo>
                  <a:lnTo>
                    <a:pt x="1122770" y="1238435"/>
                  </a:lnTo>
                  <a:lnTo>
                    <a:pt x="1122444" y="1242834"/>
                  </a:lnTo>
                  <a:lnTo>
                    <a:pt x="1125377" y="1245440"/>
                  </a:lnTo>
                  <a:lnTo>
                    <a:pt x="1125377" y="1249350"/>
                  </a:lnTo>
                  <a:lnTo>
                    <a:pt x="1121467" y="1254400"/>
                  </a:lnTo>
                  <a:lnTo>
                    <a:pt x="1120489" y="1248536"/>
                  </a:lnTo>
                  <a:lnTo>
                    <a:pt x="1117394" y="1248047"/>
                  </a:lnTo>
                  <a:lnTo>
                    <a:pt x="1119023" y="1250328"/>
                  </a:lnTo>
                  <a:lnTo>
                    <a:pt x="1118045" y="1254238"/>
                  </a:lnTo>
                  <a:lnTo>
                    <a:pt x="1116416" y="1252934"/>
                  </a:lnTo>
                  <a:lnTo>
                    <a:pt x="1110226" y="1252608"/>
                  </a:lnTo>
                  <a:lnTo>
                    <a:pt x="1107782" y="1255704"/>
                  </a:lnTo>
                  <a:lnTo>
                    <a:pt x="1100288" y="1258636"/>
                  </a:lnTo>
                  <a:lnTo>
                    <a:pt x="1104361" y="1261243"/>
                  </a:lnTo>
                  <a:lnTo>
                    <a:pt x="1105339" y="1264990"/>
                  </a:lnTo>
                  <a:lnTo>
                    <a:pt x="1103058" y="1265967"/>
                  </a:lnTo>
                  <a:lnTo>
                    <a:pt x="1102080" y="1263686"/>
                  </a:lnTo>
                  <a:lnTo>
                    <a:pt x="1096379" y="1259451"/>
                  </a:lnTo>
                  <a:lnTo>
                    <a:pt x="1092306" y="1258636"/>
                  </a:lnTo>
                  <a:lnTo>
                    <a:pt x="1091980" y="1261731"/>
                  </a:lnTo>
                  <a:lnTo>
                    <a:pt x="1089373" y="1263198"/>
                  </a:lnTo>
                  <a:lnTo>
                    <a:pt x="1095564" y="1267759"/>
                  </a:lnTo>
                  <a:lnTo>
                    <a:pt x="1093283" y="1270528"/>
                  </a:lnTo>
                  <a:lnTo>
                    <a:pt x="1093283" y="1273298"/>
                  </a:lnTo>
                  <a:lnTo>
                    <a:pt x="1088233" y="1273298"/>
                  </a:lnTo>
                  <a:cubicBezTo>
                    <a:pt x="1088233" y="1273298"/>
                    <a:pt x="1084161" y="1279814"/>
                    <a:pt x="1084161" y="1279814"/>
                  </a:cubicBezTo>
                  <a:lnTo>
                    <a:pt x="1077970" y="1283073"/>
                  </a:lnTo>
                  <a:lnTo>
                    <a:pt x="1080576" y="1286331"/>
                  </a:lnTo>
                  <a:lnTo>
                    <a:pt x="1079273" y="1289263"/>
                  </a:lnTo>
                  <a:lnTo>
                    <a:pt x="1076015" y="1289263"/>
                  </a:lnTo>
                  <a:lnTo>
                    <a:pt x="1073083" y="1293173"/>
                  </a:lnTo>
                  <a:lnTo>
                    <a:pt x="1074060" y="1297408"/>
                  </a:lnTo>
                  <a:lnTo>
                    <a:pt x="1069662" y="1299200"/>
                  </a:lnTo>
                  <a:lnTo>
                    <a:pt x="1062168" y="1307672"/>
                  </a:lnTo>
                  <a:lnTo>
                    <a:pt x="1056629" y="1309138"/>
                  </a:lnTo>
                  <a:lnTo>
                    <a:pt x="1056303" y="1313536"/>
                  </a:lnTo>
                  <a:lnTo>
                    <a:pt x="1051090" y="1318261"/>
                  </a:lnTo>
                  <a:lnTo>
                    <a:pt x="1045551" y="1314514"/>
                  </a:lnTo>
                  <a:lnTo>
                    <a:pt x="1045225" y="1317446"/>
                  </a:lnTo>
                  <a:lnTo>
                    <a:pt x="1047832" y="1323311"/>
                  </a:lnTo>
                  <a:lnTo>
                    <a:pt x="1043107" y="1328035"/>
                  </a:lnTo>
                  <a:lnTo>
                    <a:pt x="1041315" y="1337321"/>
                  </a:lnTo>
                  <a:lnTo>
                    <a:pt x="1038383" y="1342046"/>
                  </a:lnTo>
                  <a:lnTo>
                    <a:pt x="1036102" y="1348725"/>
                  </a:lnTo>
                  <a:lnTo>
                    <a:pt x="1032029" y="1351006"/>
                  </a:lnTo>
                  <a:lnTo>
                    <a:pt x="1028283" y="1361269"/>
                  </a:lnTo>
                  <a:lnTo>
                    <a:pt x="1030237" y="1363550"/>
                  </a:lnTo>
                  <a:lnTo>
                    <a:pt x="1030237" y="1370881"/>
                  </a:lnTo>
                  <a:lnTo>
                    <a:pt x="1025676" y="1378863"/>
                  </a:lnTo>
                  <a:lnTo>
                    <a:pt x="1024047" y="1383262"/>
                  </a:lnTo>
                  <a:lnTo>
                    <a:pt x="1019486" y="1384728"/>
                  </a:lnTo>
                  <a:lnTo>
                    <a:pt x="1017205" y="1387171"/>
                  </a:lnTo>
                  <a:lnTo>
                    <a:pt x="1022581" y="1388312"/>
                  </a:lnTo>
                  <a:lnTo>
                    <a:pt x="1023884" y="1392222"/>
                  </a:lnTo>
                  <a:lnTo>
                    <a:pt x="1022418" y="1396783"/>
                  </a:lnTo>
                  <a:lnTo>
                    <a:pt x="1025024" y="1399878"/>
                  </a:lnTo>
                  <a:lnTo>
                    <a:pt x="1025024" y="1406558"/>
                  </a:lnTo>
                  <a:cubicBezTo>
                    <a:pt x="1025024" y="1406558"/>
                    <a:pt x="1026816" y="1407698"/>
                    <a:pt x="1026816" y="1407698"/>
                  </a:cubicBezTo>
                  <a:lnTo>
                    <a:pt x="1022092" y="1419753"/>
                  </a:lnTo>
                  <a:lnTo>
                    <a:pt x="1015413" y="1426270"/>
                  </a:lnTo>
                  <a:lnTo>
                    <a:pt x="1001565" y="1429365"/>
                  </a:lnTo>
                  <a:lnTo>
                    <a:pt x="999611" y="1434578"/>
                  </a:lnTo>
                  <a:lnTo>
                    <a:pt x="1006453" y="1428876"/>
                  </a:lnTo>
                  <a:lnTo>
                    <a:pt x="1018182" y="1427410"/>
                  </a:lnTo>
                  <a:lnTo>
                    <a:pt x="1026979" y="1416495"/>
                  </a:lnTo>
                  <a:lnTo>
                    <a:pt x="1033496" y="1403788"/>
                  </a:lnTo>
                  <a:lnTo>
                    <a:pt x="1048157" y="1403299"/>
                  </a:lnTo>
                  <a:lnTo>
                    <a:pt x="1052556" y="1405254"/>
                  </a:lnTo>
                  <a:lnTo>
                    <a:pt x="1052556" y="1409979"/>
                  </a:lnTo>
                  <a:lnTo>
                    <a:pt x="1050601" y="1415518"/>
                  </a:lnTo>
                  <a:lnTo>
                    <a:pt x="1050601" y="1421545"/>
                  </a:lnTo>
                  <a:lnTo>
                    <a:pt x="1053534" y="1428387"/>
                  </a:lnTo>
                  <a:lnTo>
                    <a:pt x="1053534" y="1438651"/>
                  </a:lnTo>
                  <a:lnTo>
                    <a:pt x="1049624" y="1448588"/>
                  </a:lnTo>
                  <a:lnTo>
                    <a:pt x="1052719" y="1452987"/>
                  </a:lnTo>
                  <a:lnTo>
                    <a:pt x="1054511" y="1462924"/>
                  </a:lnTo>
                  <a:lnTo>
                    <a:pt x="1052556" y="1468137"/>
                  </a:lnTo>
                  <a:lnTo>
                    <a:pt x="1036917" y="1483125"/>
                  </a:lnTo>
                  <a:lnTo>
                    <a:pt x="1029423" y="1485731"/>
                  </a:lnTo>
                  <a:lnTo>
                    <a:pt x="1023884" y="1484754"/>
                  </a:lnTo>
                  <a:lnTo>
                    <a:pt x="1029586" y="1487198"/>
                  </a:lnTo>
                  <a:lnTo>
                    <a:pt x="1037080" y="1487198"/>
                  </a:lnTo>
                  <a:cubicBezTo>
                    <a:pt x="1037080" y="1487198"/>
                    <a:pt x="1055326" y="1481496"/>
                    <a:pt x="1055326" y="1481496"/>
                  </a:cubicBezTo>
                  <a:lnTo>
                    <a:pt x="1073734" y="1475468"/>
                  </a:lnTo>
                  <a:lnTo>
                    <a:pt x="1082694" y="1474491"/>
                  </a:lnTo>
                  <a:lnTo>
                    <a:pt x="1094261" y="1481985"/>
                  </a:lnTo>
                  <a:lnTo>
                    <a:pt x="1101754" y="1488827"/>
                  </a:lnTo>
                  <a:lnTo>
                    <a:pt x="1112832" y="1492085"/>
                  </a:lnTo>
                  <a:lnTo>
                    <a:pt x="1115765" y="1494691"/>
                  </a:lnTo>
                  <a:lnTo>
                    <a:pt x="1120815" y="1495995"/>
                  </a:lnTo>
                  <a:lnTo>
                    <a:pt x="1128961" y="1504303"/>
                  </a:lnTo>
                  <a:lnTo>
                    <a:pt x="1132870" y="1505932"/>
                  </a:lnTo>
                  <a:lnTo>
                    <a:pt x="1136943" y="1513426"/>
                  </a:lnTo>
                  <a:lnTo>
                    <a:pt x="1141342" y="1516195"/>
                  </a:lnTo>
                  <a:lnTo>
                    <a:pt x="1141342" y="1520594"/>
                  </a:lnTo>
                  <a:lnTo>
                    <a:pt x="1144600" y="1524341"/>
                  </a:lnTo>
                  <a:lnTo>
                    <a:pt x="1148184" y="1532975"/>
                  </a:lnTo>
                  <a:lnTo>
                    <a:pt x="1148184" y="1535419"/>
                  </a:lnTo>
                  <a:cubicBezTo>
                    <a:pt x="1148184" y="1535419"/>
                    <a:pt x="1151442" y="1533953"/>
                    <a:pt x="1151442" y="1533953"/>
                  </a:cubicBezTo>
                  <a:lnTo>
                    <a:pt x="1153886" y="1536722"/>
                  </a:lnTo>
                  <a:lnTo>
                    <a:pt x="1164312" y="1543727"/>
                  </a:lnTo>
                  <a:lnTo>
                    <a:pt x="1168059" y="1544705"/>
                  </a:lnTo>
                  <a:lnTo>
                    <a:pt x="1175553" y="1550081"/>
                  </a:lnTo>
                  <a:lnTo>
                    <a:pt x="1179462" y="1551384"/>
                  </a:lnTo>
                  <a:lnTo>
                    <a:pt x="1188096" y="1559041"/>
                  </a:lnTo>
                  <a:lnTo>
                    <a:pt x="1189074" y="1562787"/>
                  </a:lnTo>
                  <a:lnTo>
                    <a:pt x="1195590" y="1568978"/>
                  </a:lnTo>
                  <a:lnTo>
                    <a:pt x="1194613" y="1571422"/>
                  </a:lnTo>
                  <a:lnTo>
                    <a:pt x="1196242" y="1573051"/>
                  </a:lnTo>
                  <a:lnTo>
                    <a:pt x="1204387" y="1573051"/>
                  </a:lnTo>
                  <a:cubicBezTo>
                    <a:pt x="1204387" y="1573051"/>
                    <a:pt x="1206831" y="1574191"/>
                    <a:pt x="1206831" y="1574191"/>
                  </a:cubicBezTo>
                  <a:lnTo>
                    <a:pt x="1212533" y="1572888"/>
                  </a:lnTo>
                  <a:lnTo>
                    <a:pt x="1223448" y="1573214"/>
                  </a:lnTo>
                  <a:lnTo>
                    <a:pt x="1226054" y="1575657"/>
                  </a:lnTo>
                  <a:lnTo>
                    <a:pt x="1228009" y="1575657"/>
                  </a:lnTo>
                  <a:lnTo>
                    <a:pt x="1235992" y="1578101"/>
                  </a:lnTo>
                  <a:lnTo>
                    <a:pt x="1244626" y="1579730"/>
                  </a:lnTo>
                  <a:lnTo>
                    <a:pt x="1250817" y="1577775"/>
                  </a:lnTo>
                  <a:lnTo>
                    <a:pt x="1254563" y="1577775"/>
                  </a:lnTo>
                  <a:lnTo>
                    <a:pt x="1254563" y="1579567"/>
                  </a:lnTo>
                  <a:cubicBezTo>
                    <a:pt x="1254563" y="1579567"/>
                    <a:pt x="1256029" y="1578590"/>
                    <a:pt x="1256029" y="1578590"/>
                  </a:cubicBezTo>
                  <a:lnTo>
                    <a:pt x="1258636" y="1578590"/>
                  </a:lnTo>
                  <a:lnTo>
                    <a:pt x="1259613" y="1586083"/>
                  </a:lnTo>
                  <a:lnTo>
                    <a:pt x="1252934" y="1598627"/>
                  </a:lnTo>
                  <a:lnTo>
                    <a:pt x="1252609" y="1603026"/>
                  </a:lnTo>
                  <a:lnTo>
                    <a:pt x="1249187" y="1607750"/>
                  </a:lnTo>
                  <a:lnTo>
                    <a:pt x="1245440" y="1614593"/>
                  </a:lnTo>
                  <a:lnTo>
                    <a:pt x="1246418" y="1620294"/>
                  </a:lnTo>
                  <a:lnTo>
                    <a:pt x="1248047" y="1621761"/>
                  </a:lnTo>
                  <a:lnTo>
                    <a:pt x="1248373" y="1632838"/>
                  </a:lnTo>
                  <a:lnTo>
                    <a:pt x="1241694" y="1643102"/>
                  </a:lnTo>
                  <a:lnTo>
                    <a:pt x="1241694" y="1647500"/>
                  </a:lnTo>
                  <a:lnTo>
                    <a:pt x="1239739" y="1654180"/>
                  </a:lnTo>
                  <a:lnTo>
                    <a:pt x="1234688" y="1658415"/>
                  </a:lnTo>
                  <a:lnTo>
                    <a:pt x="1231919" y="1668515"/>
                  </a:lnTo>
                  <a:lnTo>
                    <a:pt x="1234200" y="1672751"/>
                  </a:lnTo>
                  <a:lnTo>
                    <a:pt x="1239413" y="1676824"/>
                  </a:lnTo>
                  <a:lnTo>
                    <a:pt x="1239413" y="1683014"/>
                  </a:lnTo>
                  <a:lnTo>
                    <a:pt x="1243323" y="1684969"/>
                  </a:lnTo>
                  <a:lnTo>
                    <a:pt x="1246255" y="1689205"/>
                  </a:lnTo>
                  <a:lnTo>
                    <a:pt x="1245115" y="1693441"/>
                  </a:lnTo>
                  <a:lnTo>
                    <a:pt x="1245929" y="1695721"/>
                  </a:lnTo>
                  <a:lnTo>
                    <a:pt x="1245603" y="1699468"/>
                  </a:lnTo>
                  <a:lnTo>
                    <a:pt x="1250328" y="1701260"/>
                  </a:lnTo>
                  <a:lnTo>
                    <a:pt x="1256355" y="1704356"/>
                  </a:lnTo>
                  <a:lnTo>
                    <a:pt x="1257659" y="1704356"/>
                  </a:lnTo>
                  <a:lnTo>
                    <a:pt x="1258473" y="1707777"/>
                  </a:lnTo>
                  <a:lnTo>
                    <a:pt x="1261569" y="1712012"/>
                  </a:lnTo>
                  <a:lnTo>
                    <a:pt x="1262546" y="1720158"/>
                  </a:lnTo>
                  <a:lnTo>
                    <a:pt x="1263849" y="1723416"/>
                  </a:lnTo>
                  <a:lnTo>
                    <a:pt x="1261894" y="1730584"/>
                  </a:lnTo>
                  <a:lnTo>
                    <a:pt x="1252120" y="1739218"/>
                  </a:lnTo>
                  <a:lnTo>
                    <a:pt x="1259451" y="1735471"/>
                  </a:lnTo>
                  <a:lnTo>
                    <a:pt x="1265641" y="1730910"/>
                  </a:lnTo>
                  <a:lnTo>
                    <a:pt x="1272483" y="1733353"/>
                  </a:lnTo>
                  <a:lnTo>
                    <a:pt x="1276882" y="1737589"/>
                  </a:lnTo>
                  <a:lnTo>
                    <a:pt x="1281118" y="1737915"/>
                  </a:lnTo>
                  <a:lnTo>
                    <a:pt x="1282584" y="1733679"/>
                  </a:lnTo>
                  <a:lnTo>
                    <a:pt x="1282584" y="1729281"/>
                  </a:lnTo>
                  <a:lnTo>
                    <a:pt x="1291218" y="1718529"/>
                  </a:lnTo>
                  <a:lnTo>
                    <a:pt x="1293173" y="1718529"/>
                  </a:lnTo>
                  <a:cubicBezTo>
                    <a:pt x="1293173" y="1718529"/>
                    <a:pt x="1292033" y="1722601"/>
                    <a:pt x="1292033" y="1722601"/>
                  </a:cubicBezTo>
                  <a:lnTo>
                    <a:pt x="1292847" y="1725371"/>
                  </a:lnTo>
                  <a:lnTo>
                    <a:pt x="1295779" y="1726185"/>
                  </a:lnTo>
                  <a:lnTo>
                    <a:pt x="1297571" y="1735145"/>
                  </a:lnTo>
                  <a:lnTo>
                    <a:pt x="1296594" y="1742150"/>
                  </a:lnTo>
                  <a:lnTo>
                    <a:pt x="1302459" y="1746712"/>
                  </a:lnTo>
                  <a:lnTo>
                    <a:pt x="1311093" y="1747689"/>
                  </a:lnTo>
                  <a:lnTo>
                    <a:pt x="1306369" y="1745409"/>
                  </a:lnTo>
                  <a:lnTo>
                    <a:pt x="1301318" y="1739870"/>
                  </a:lnTo>
                  <a:lnTo>
                    <a:pt x="1300341" y="1733842"/>
                  </a:lnTo>
                  <a:lnTo>
                    <a:pt x="1301481" y="1725860"/>
                  </a:lnTo>
                  <a:lnTo>
                    <a:pt x="1304088" y="1722276"/>
                  </a:lnTo>
                  <a:lnTo>
                    <a:pt x="1301481" y="1719180"/>
                  </a:lnTo>
                  <a:lnTo>
                    <a:pt x="1301155" y="1714130"/>
                  </a:lnTo>
                  <a:lnTo>
                    <a:pt x="1303110" y="1715270"/>
                  </a:lnTo>
                  <a:lnTo>
                    <a:pt x="1305880" y="1714293"/>
                  </a:lnTo>
                  <a:lnTo>
                    <a:pt x="1308323" y="1706962"/>
                  </a:lnTo>
                  <a:lnTo>
                    <a:pt x="1314351" y="1701097"/>
                  </a:lnTo>
                  <a:lnTo>
                    <a:pt x="1312559" y="1699142"/>
                  </a:lnTo>
                  <a:lnTo>
                    <a:pt x="1311745" y="1691649"/>
                  </a:lnTo>
                  <a:lnTo>
                    <a:pt x="1308812" y="1690019"/>
                  </a:lnTo>
                  <a:lnTo>
                    <a:pt x="1308812" y="1684644"/>
                  </a:lnTo>
                  <a:cubicBezTo>
                    <a:pt x="1308812" y="1684644"/>
                    <a:pt x="1313862" y="1678779"/>
                    <a:pt x="1313862" y="1678779"/>
                  </a:cubicBezTo>
                  <a:lnTo>
                    <a:pt x="1311907" y="1676009"/>
                  </a:lnTo>
                  <a:lnTo>
                    <a:pt x="1311907" y="1673077"/>
                  </a:lnTo>
                  <a:cubicBezTo>
                    <a:pt x="1311907" y="1673077"/>
                    <a:pt x="1309464" y="1672099"/>
                    <a:pt x="1309464" y="1672099"/>
                  </a:cubicBezTo>
                  <a:lnTo>
                    <a:pt x="1308649" y="1668841"/>
                  </a:lnTo>
                  <a:lnTo>
                    <a:pt x="1312722" y="1656297"/>
                  </a:lnTo>
                  <a:lnTo>
                    <a:pt x="1311419" y="1651247"/>
                  </a:lnTo>
                  <a:lnTo>
                    <a:pt x="1312722" y="1642776"/>
                  </a:lnTo>
                  <a:lnTo>
                    <a:pt x="1315491" y="1640006"/>
                  </a:lnTo>
                  <a:lnTo>
                    <a:pt x="1314351" y="1635282"/>
                  </a:lnTo>
                  <a:lnTo>
                    <a:pt x="1316795" y="1633653"/>
                  </a:lnTo>
                  <a:lnTo>
                    <a:pt x="1315003" y="1629417"/>
                  </a:lnTo>
                  <a:lnTo>
                    <a:pt x="1317935" y="1627137"/>
                  </a:lnTo>
                  <a:lnTo>
                    <a:pt x="1315166" y="1626322"/>
                  </a:lnTo>
                  <a:lnTo>
                    <a:pt x="1313536" y="1623064"/>
                  </a:lnTo>
                  <a:lnTo>
                    <a:pt x="1316143" y="1621598"/>
                  </a:lnTo>
                  <a:lnTo>
                    <a:pt x="1314188" y="1617688"/>
                  </a:lnTo>
                  <a:lnTo>
                    <a:pt x="1314188" y="1613126"/>
                  </a:lnTo>
                  <a:cubicBezTo>
                    <a:pt x="1314188" y="1613126"/>
                    <a:pt x="1312233" y="1609054"/>
                    <a:pt x="1312233" y="1609054"/>
                  </a:cubicBezTo>
                  <a:lnTo>
                    <a:pt x="1311745" y="1603841"/>
                  </a:lnTo>
                  <a:lnTo>
                    <a:pt x="1310115" y="1601071"/>
                  </a:lnTo>
                  <a:lnTo>
                    <a:pt x="1316958" y="1597976"/>
                  </a:lnTo>
                  <a:lnTo>
                    <a:pt x="1327058" y="1596347"/>
                  </a:lnTo>
                  <a:lnTo>
                    <a:pt x="1332108" y="1592437"/>
                  </a:lnTo>
                  <a:lnTo>
                    <a:pt x="1337973" y="1592437"/>
                  </a:lnTo>
                  <a:cubicBezTo>
                    <a:pt x="1337973" y="1592437"/>
                    <a:pt x="1340742" y="1590482"/>
                    <a:pt x="1340742" y="1590482"/>
                  </a:cubicBezTo>
                  <a:lnTo>
                    <a:pt x="1350680" y="1585432"/>
                  </a:lnTo>
                  <a:lnTo>
                    <a:pt x="1366482" y="1579567"/>
                  </a:lnTo>
                  <a:lnTo>
                    <a:pt x="1366482" y="1577775"/>
                  </a:lnTo>
                  <a:cubicBezTo>
                    <a:pt x="1366482" y="1577775"/>
                    <a:pt x="1369903" y="1574680"/>
                    <a:pt x="1369903" y="1574680"/>
                  </a:cubicBezTo>
                  <a:lnTo>
                    <a:pt x="1381958" y="1569467"/>
                  </a:lnTo>
                  <a:lnTo>
                    <a:pt x="1382610" y="1565068"/>
                  </a:lnTo>
                  <a:lnTo>
                    <a:pt x="1388475" y="1562299"/>
                  </a:lnTo>
                  <a:lnTo>
                    <a:pt x="1395480" y="1551221"/>
                  </a:lnTo>
                  <a:lnTo>
                    <a:pt x="1398575" y="1551547"/>
                  </a:lnTo>
                  <a:lnTo>
                    <a:pt x="1401019" y="1553990"/>
                  </a:lnTo>
                  <a:lnTo>
                    <a:pt x="1406232" y="1553665"/>
                  </a:lnTo>
                  <a:lnTo>
                    <a:pt x="1410142" y="1549429"/>
                  </a:lnTo>
                  <a:lnTo>
                    <a:pt x="1405580" y="1543564"/>
                  </a:lnTo>
                  <a:lnTo>
                    <a:pt x="1405254" y="1537048"/>
                  </a:lnTo>
                  <a:lnTo>
                    <a:pt x="1402159" y="1539817"/>
                  </a:lnTo>
                  <a:lnTo>
                    <a:pt x="1401019" y="1545030"/>
                  </a:lnTo>
                  <a:lnTo>
                    <a:pt x="1398738" y="1545519"/>
                  </a:lnTo>
                  <a:lnTo>
                    <a:pt x="1400530" y="1538840"/>
                  </a:lnTo>
                  <a:lnTo>
                    <a:pt x="1405091" y="1526459"/>
                  </a:lnTo>
                  <a:lnTo>
                    <a:pt x="1406884" y="1524504"/>
                  </a:lnTo>
                  <a:lnTo>
                    <a:pt x="1406884" y="1515707"/>
                  </a:lnTo>
                  <a:lnTo>
                    <a:pt x="1407535" y="1509516"/>
                  </a:lnTo>
                  <a:lnTo>
                    <a:pt x="1403462" y="1501859"/>
                  </a:lnTo>
                  <a:lnTo>
                    <a:pt x="1404114" y="1486383"/>
                  </a:lnTo>
                  <a:lnTo>
                    <a:pt x="1402485" y="1472699"/>
                  </a:lnTo>
                  <a:lnTo>
                    <a:pt x="1394665" y="1460806"/>
                  </a:lnTo>
                  <a:lnTo>
                    <a:pt x="1389126" y="1457059"/>
                  </a:lnTo>
                  <a:lnTo>
                    <a:pt x="1387660" y="1451683"/>
                  </a:lnTo>
                  <a:lnTo>
                    <a:pt x="1382447" y="1450217"/>
                  </a:lnTo>
                  <a:lnTo>
                    <a:pt x="1380981" y="1446144"/>
                  </a:lnTo>
                  <a:lnTo>
                    <a:pt x="1383913" y="1436207"/>
                  </a:lnTo>
                  <a:lnTo>
                    <a:pt x="1388963" y="1434089"/>
                  </a:lnTo>
                  <a:lnTo>
                    <a:pt x="1402485" y="1420079"/>
                  </a:lnTo>
                  <a:lnTo>
                    <a:pt x="1406720" y="1419590"/>
                  </a:lnTo>
                  <a:lnTo>
                    <a:pt x="1409979" y="1415681"/>
                  </a:lnTo>
                  <a:lnTo>
                    <a:pt x="1409979" y="1412259"/>
                  </a:lnTo>
                  <a:cubicBezTo>
                    <a:pt x="1409979" y="1412259"/>
                    <a:pt x="1408024" y="1411119"/>
                    <a:pt x="1408024" y="1411119"/>
                  </a:cubicBezTo>
                  <a:lnTo>
                    <a:pt x="1408024" y="1409164"/>
                  </a:lnTo>
                  <a:cubicBezTo>
                    <a:pt x="1408024" y="1409164"/>
                    <a:pt x="1413237" y="1402159"/>
                    <a:pt x="1413237" y="1402159"/>
                  </a:cubicBezTo>
                  <a:lnTo>
                    <a:pt x="1416006" y="1402159"/>
                  </a:lnTo>
                  <a:lnTo>
                    <a:pt x="1419102" y="1408187"/>
                  </a:lnTo>
                  <a:lnTo>
                    <a:pt x="1422360" y="1409816"/>
                  </a:lnTo>
                  <a:lnTo>
                    <a:pt x="1420568" y="1407046"/>
                  </a:lnTo>
                  <a:lnTo>
                    <a:pt x="1420894" y="1401182"/>
                  </a:lnTo>
                  <a:lnTo>
                    <a:pt x="1426433" y="1398738"/>
                  </a:lnTo>
                  <a:lnTo>
                    <a:pt x="1431809" y="1388963"/>
                  </a:lnTo>
                  <a:lnTo>
                    <a:pt x="1430831" y="1385705"/>
                  </a:lnTo>
                  <a:lnTo>
                    <a:pt x="1423826" y="1385705"/>
                  </a:lnTo>
                  <a:lnTo>
                    <a:pt x="1423337" y="1383424"/>
                  </a:lnTo>
                  <a:lnTo>
                    <a:pt x="1427899" y="1377560"/>
                  </a:lnTo>
                  <a:lnTo>
                    <a:pt x="1425129" y="1375279"/>
                  </a:lnTo>
                  <a:lnTo>
                    <a:pt x="1423500" y="1371532"/>
                  </a:lnTo>
                  <a:lnTo>
                    <a:pt x="1426921" y="1367459"/>
                  </a:lnTo>
                  <a:lnTo>
                    <a:pt x="1431971" y="1365830"/>
                  </a:lnTo>
                  <a:lnTo>
                    <a:pt x="1426433" y="1364853"/>
                  </a:lnTo>
                  <a:lnTo>
                    <a:pt x="1426107" y="1362083"/>
                  </a:lnTo>
                  <a:lnTo>
                    <a:pt x="1428387" y="1354915"/>
                  </a:lnTo>
                  <a:lnTo>
                    <a:pt x="1432297" y="1352472"/>
                  </a:lnTo>
                  <a:lnTo>
                    <a:pt x="1429365" y="1351983"/>
                  </a:lnTo>
                  <a:lnTo>
                    <a:pt x="1420894" y="1352798"/>
                  </a:lnTo>
                  <a:lnTo>
                    <a:pt x="1418450" y="1351657"/>
                  </a:lnTo>
                  <a:lnTo>
                    <a:pt x="1418776" y="1347747"/>
                  </a:lnTo>
                  <a:lnTo>
                    <a:pt x="1429691" y="1339113"/>
                  </a:lnTo>
                  <a:lnTo>
                    <a:pt x="1436533" y="1329339"/>
                  </a:lnTo>
                  <a:lnTo>
                    <a:pt x="1437673" y="1323474"/>
                  </a:lnTo>
                  <a:lnTo>
                    <a:pt x="1440931" y="1323963"/>
                  </a:lnTo>
                  <a:lnTo>
                    <a:pt x="1443212" y="1321193"/>
                  </a:lnTo>
                  <a:lnTo>
                    <a:pt x="1443212" y="1315328"/>
                  </a:lnTo>
                  <a:lnTo>
                    <a:pt x="1440443" y="1314188"/>
                  </a:lnTo>
                  <a:lnTo>
                    <a:pt x="1440117" y="1311907"/>
                  </a:lnTo>
                  <a:lnTo>
                    <a:pt x="1437510" y="1311419"/>
                  </a:lnTo>
                  <a:lnTo>
                    <a:pt x="1434415" y="1306369"/>
                  </a:lnTo>
                  <a:lnTo>
                    <a:pt x="1434415" y="1296594"/>
                  </a:lnTo>
                  <a:cubicBezTo>
                    <a:pt x="1434415" y="1296594"/>
                    <a:pt x="1438162" y="1289100"/>
                    <a:pt x="1438162" y="1289100"/>
                  </a:cubicBezTo>
                  <a:lnTo>
                    <a:pt x="1438162" y="1282584"/>
                  </a:lnTo>
                  <a:cubicBezTo>
                    <a:pt x="1438162" y="1282584"/>
                    <a:pt x="1442398" y="1280303"/>
                    <a:pt x="1442398" y="1280303"/>
                  </a:cubicBezTo>
                  <a:lnTo>
                    <a:pt x="1444353" y="1281769"/>
                  </a:lnTo>
                  <a:lnTo>
                    <a:pt x="1447285" y="1281769"/>
                  </a:lnTo>
                  <a:lnTo>
                    <a:pt x="1447285" y="1278511"/>
                  </a:lnTo>
                  <a:lnTo>
                    <a:pt x="1450869" y="1275090"/>
                  </a:lnTo>
                  <a:lnTo>
                    <a:pt x="1453964" y="1274764"/>
                  </a:lnTo>
                  <a:lnTo>
                    <a:pt x="1457060" y="1273461"/>
                  </a:lnTo>
                  <a:lnTo>
                    <a:pt x="1460155" y="1275416"/>
                  </a:lnTo>
                  <a:lnTo>
                    <a:pt x="1468626" y="1275904"/>
                  </a:lnTo>
                  <a:lnTo>
                    <a:pt x="1477260" y="1280629"/>
                  </a:lnTo>
                  <a:lnTo>
                    <a:pt x="1488664" y="1286819"/>
                  </a:lnTo>
                  <a:lnTo>
                    <a:pt x="1495017" y="1286819"/>
                  </a:lnTo>
                  <a:lnTo>
                    <a:pt x="1493551" y="1291544"/>
                  </a:lnTo>
                  <a:lnTo>
                    <a:pt x="1486872" y="1294150"/>
                  </a:lnTo>
                  <a:lnTo>
                    <a:pt x="1495343" y="1293824"/>
                  </a:lnTo>
                  <a:lnTo>
                    <a:pt x="1502348" y="1288611"/>
                  </a:lnTo>
                  <a:lnTo>
                    <a:pt x="1507073" y="1288937"/>
                  </a:lnTo>
                  <a:lnTo>
                    <a:pt x="1509679" y="1291870"/>
                  </a:lnTo>
                  <a:lnTo>
                    <a:pt x="1513426" y="1291870"/>
                  </a:lnTo>
                  <a:lnTo>
                    <a:pt x="1517173" y="1297083"/>
                  </a:lnTo>
                  <a:lnTo>
                    <a:pt x="1517173" y="1291544"/>
                  </a:lnTo>
                  <a:lnTo>
                    <a:pt x="1523038" y="1294150"/>
                  </a:lnTo>
                  <a:lnTo>
                    <a:pt x="1525644" y="1291218"/>
                  </a:lnTo>
                  <a:lnTo>
                    <a:pt x="1529717" y="1290892"/>
                  </a:lnTo>
                  <a:lnTo>
                    <a:pt x="1536396" y="1286819"/>
                  </a:lnTo>
                  <a:lnTo>
                    <a:pt x="1545193" y="1293824"/>
                  </a:lnTo>
                  <a:lnTo>
                    <a:pt x="1545193" y="1299038"/>
                  </a:lnTo>
                  <a:lnTo>
                    <a:pt x="1551058" y="1303762"/>
                  </a:lnTo>
                  <a:lnTo>
                    <a:pt x="1555457" y="1303762"/>
                  </a:lnTo>
                  <a:lnTo>
                    <a:pt x="1555457" y="1311907"/>
                  </a:lnTo>
                  <a:lnTo>
                    <a:pt x="1552524" y="1315980"/>
                  </a:lnTo>
                  <a:lnTo>
                    <a:pt x="1552524" y="1319727"/>
                  </a:lnTo>
                  <a:lnTo>
                    <a:pt x="1555782" y="1317446"/>
                  </a:lnTo>
                  <a:lnTo>
                    <a:pt x="1561321" y="1322659"/>
                  </a:lnTo>
                  <a:lnTo>
                    <a:pt x="1563928" y="1328198"/>
                  </a:lnTo>
                  <a:lnTo>
                    <a:pt x="1559855" y="1329339"/>
                  </a:lnTo>
                  <a:lnTo>
                    <a:pt x="1564254" y="1332597"/>
                  </a:lnTo>
                  <a:lnTo>
                    <a:pt x="1568001" y="1329339"/>
                  </a:lnTo>
                  <a:lnTo>
                    <a:pt x="1572399" y="1335529"/>
                  </a:lnTo>
                  <a:lnTo>
                    <a:pt x="1571747" y="1338462"/>
                  </a:lnTo>
                  <a:lnTo>
                    <a:pt x="1567349" y="1335203"/>
                  </a:lnTo>
                  <a:lnTo>
                    <a:pt x="1565068" y="1339928"/>
                  </a:lnTo>
                  <a:lnTo>
                    <a:pt x="1560670" y="1339928"/>
                  </a:lnTo>
                  <a:lnTo>
                    <a:pt x="1567023" y="1346118"/>
                  </a:lnTo>
                  <a:lnTo>
                    <a:pt x="1567023" y="1350843"/>
                  </a:lnTo>
                  <a:lnTo>
                    <a:pt x="1571422" y="1346770"/>
                  </a:lnTo>
                  <a:lnTo>
                    <a:pt x="1571422" y="1350843"/>
                  </a:lnTo>
                  <a:lnTo>
                    <a:pt x="1575494" y="1348236"/>
                  </a:lnTo>
                  <a:lnTo>
                    <a:pt x="1583640" y="1355241"/>
                  </a:lnTo>
                  <a:lnTo>
                    <a:pt x="1586572" y="1354101"/>
                  </a:lnTo>
                  <a:lnTo>
                    <a:pt x="1588364" y="1356707"/>
                  </a:lnTo>
                  <a:lnTo>
                    <a:pt x="1593903" y="1354101"/>
                  </a:lnTo>
                  <a:lnTo>
                    <a:pt x="1600582" y="1356382"/>
                  </a:lnTo>
                  <a:lnTo>
                    <a:pt x="1599442" y="1365667"/>
                  </a:lnTo>
                  <a:lnTo>
                    <a:pt x="1602049" y="1369740"/>
                  </a:lnTo>
                  <a:lnTo>
                    <a:pt x="1607913" y="1365342"/>
                  </a:lnTo>
                  <a:lnTo>
                    <a:pt x="1609054" y="1357522"/>
                  </a:lnTo>
                  <a:lnTo>
                    <a:pt x="1613127" y="1357196"/>
                  </a:lnTo>
                  <a:lnTo>
                    <a:pt x="1613452" y="1365993"/>
                  </a:lnTo>
                  <a:lnTo>
                    <a:pt x="1611986" y="1374465"/>
                  </a:lnTo>
                  <a:lnTo>
                    <a:pt x="1605307" y="1375931"/>
                  </a:lnTo>
                  <a:lnTo>
                    <a:pt x="1600582" y="1383262"/>
                  </a:lnTo>
                  <a:lnTo>
                    <a:pt x="1601723" y="1395806"/>
                  </a:lnTo>
                  <a:lnTo>
                    <a:pt x="1599442" y="1400204"/>
                  </a:lnTo>
                  <a:lnTo>
                    <a:pt x="1598302" y="1393525"/>
                  </a:lnTo>
                  <a:lnTo>
                    <a:pt x="1596021" y="1396457"/>
                  </a:lnTo>
                  <a:lnTo>
                    <a:pt x="1594555" y="1404277"/>
                  </a:lnTo>
                  <a:lnTo>
                    <a:pt x="1583477" y="1402811"/>
                  </a:lnTo>
                  <a:lnTo>
                    <a:pt x="1570118" y="1398738"/>
                  </a:lnTo>
                  <a:lnTo>
                    <a:pt x="1582011" y="1405091"/>
                  </a:lnTo>
                  <a:lnTo>
                    <a:pt x="1591622" y="1406883"/>
                  </a:lnTo>
                  <a:lnTo>
                    <a:pt x="1598465" y="1412748"/>
                  </a:lnTo>
                  <a:lnTo>
                    <a:pt x="1597976" y="1421545"/>
                  </a:lnTo>
                  <a:lnTo>
                    <a:pt x="1593577" y="1428062"/>
                  </a:lnTo>
                  <a:lnTo>
                    <a:pt x="1592926" y="1431157"/>
                  </a:lnTo>
                  <a:lnTo>
                    <a:pt x="1587550" y="1437999"/>
                  </a:lnTo>
                  <a:lnTo>
                    <a:pt x="1589016" y="1438651"/>
                  </a:lnTo>
                  <a:lnTo>
                    <a:pt x="1595369" y="1448425"/>
                  </a:lnTo>
                  <a:lnTo>
                    <a:pt x="1599605" y="1449728"/>
                  </a:lnTo>
                  <a:lnTo>
                    <a:pt x="1596998" y="1450869"/>
                  </a:lnTo>
                  <a:lnTo>
                    <a:pt x="1588201" y="1446633"/>
                  </a:lnTo>
                  <a:lnTo>
                    <a:pt x="1594066" y="1455430"/>
                  </a:lnTo>
                  <a:lnTo>
                    <a:pt x="1598627" y="1458689"/>
                  </a:lnTo>
                  <a:lnTo>
                    <a:pt x="1600257" y="1458689"/>
                  </a:lnTo>
                  <a:cubicBezTo>
                    <a:pt x="1600257" y="1458689"/>
                    <a:pt x="1598627" y="1453150"/>
                    <a:pt x="1598627" y="1453150"/>
                  </a:cubicBezTo>
                  <a:lnTo>
                    <a:pt x="1603189" y="1453150"/>
                  </a:lnTo>
                  <a:cubicBezTo>
                    <a:pt x="1603189" y="1453150"/>
                    <a:pt x="1608402" y="1457385"/>
                    <a:pt x="1608402" y="1457385"/>
                  </a:cubicBezTo>
                  <a:lnTo>
                    <a:pt x="1611171" y="1462598"/>
                  </a:lnTo>
                  <a:lnTo>
                    <a:pt x="1610031" y="1468137"/>
                  </a:lnTo>
                  <a:lnTo>
                    <a:pt x="1610357" y="1473839"/>
                  </a:lnTo>
                  <a:lnTo>
                    <a:pt x="1604818" y="1482473"/>
                  </a:lnTo>
                  <a:lnTo>
                    <a:pt x="1603678" y="1488012"/>
                  </a:lnTo>
                  <a:lnTo>
                    <a:pt x="1599931" y="1492736"/>
                  </a:lnTo>
                  <a:lnTo>
                    <a:pt x="1605307" y="1489967"/>
                  </a:lnTo>
                  <a:lnTo>
                    <a:pt x="1611986" y="1476446"/>
                  </a:lnTo>
                  <a:lnTo>
                    <a:pt x="1618665" y="1469766"/>
                  </a:lnTo>
                  <a:lnTo>
                    <a:pt x="1620132" y="1470255"/>
                  </a:lnTo>
                  <a:lnTo>
                    <a:pt x="1619480" y="1475142"/>
                  </a:lnTo>
                  <a:lnTo>
                    <a:pt x="1619969" y="1485406"/>
                  </a:lnTo>
                  <a:lnTo>
                    <a:pt x="1618502" y="1487361"/>
                  </a:lnTo>
                  <a:lnTo>
                    <a:pt x="1618828" y="1491596"/>
                  </a:lnTo>
                  <a:lnTo>
                    <a:pt x="1616873" y="1496646"/>
                  </a:lnTo>
                  <a:lnTo>
                    <a:pt x="1622575" y="1490130"/>
                  </a:lnTo>
                  <a:lnTo>
                    <a:pt x="1623390" y="1484265"/>
                  </a:lnTo>
                  <a:lnTo>
                    <a:pt x="1628929" y="1479867"/>
                  </a:lnTo>
                  <a:lnTo>
                    <a:pt x="1633490" y="1479378"/>
                  </a:lnTo>
                  <a:lnTo>
                    <a:pt x="1637889" y="1475305"/>
                  </a:lnTo>
                  <a:lnTo>
                    <a:pt x="1641636" y="1475794"/>
                  </a:lnTo>
                  <a:lnTo>
                    <a:pt x="1642450" y="1478238"/>
                  </a:lnTo>
                  <a:lnTo>
                    <a:pt x="1644731" y="1475631"/>
                  </a:lnTo>
                  <a:lnTo>
                    <a:pt x="1649292" y="1474491"/>
                  </a:lnTo>
                  <a:lnTo>
                    <a:pt x="1650107" y="1469766"/>
                  </a:lnTo>
                  <a:lnTo>
                    <a:pt x="1653365" y="1465205"/>
                  </a:lnTo>
                  <a:lnTo>
                    <a:pt x="1660207" y="1460155"/>
                  </a:lnTo>
                  <a:lnTo>
                    <a:pt x="1663465" y="1463413"/>
                  </a:lnTo>
                  <a:lnTo>
                    <a:pt x="1664932" y="1470744"/>
                  </a:lnTo>
                  <a:lnTo>
                    <a:pt x="1663954" y="1476609"/>
                  </a:lnTo>
                  <a:lnTo>
                    <a:pt x="1667375" y="1468626"/>
                  </a:lnTo>
                  <a:lnTo>
                    <a:pt x="1667049" y="1461132"/>
                  </a:lnTo>
                  <a:lnTo>
                    <a:pt x="1669330" y="1460643"/>
                  </a:lnTo>
                  <a:lnTo>
                    <a:pt x="1668841" y="1458200"/>
                  </a:lnTo>
                  <a:lnTo>
                    <a:pt x="1671774" y="1453475"/>
                  </a:lnTo>
                  <a:lnTo>
                    <a:pt x="1676009" y="1452824"/>
                  </a:lnTo>
                  <a:lnTo>
                    <a:pt x="1677313" y="1446144"/>
                  </a:lnTo>
                  <a:lnTo>
                    <a:pt x="1681222" y="1443538"/>
                  </a:lnTo>
                  <a:lnTo>
                    <a:pt x="1684318" y="1438814"/>
                  </a:lnTo>
                  <a:lnTo>
                    <a:pt x="1685947" y="1435555"/>
                  </a:lnTo>
                  <a:lnTo>
                    <a:pt x="1688716" y="1435555"/>
                  </a:lnTo>
                  <a:cubicBezTo>
                    <a:pt x="1688716" y="1435555"/>
                    <a:pt x="1692952" y="1439791"/>
                    <a:pt x="1692952" y="1439791"/>
                  </a:cubicBezTo>
                  <a:lnTo>
                    <a:pt x="1692952" y="1436696"/>
                  </a:lnTo>
                  <a:cubicBezTo>
                    <a:pt x="1692952" y="1436696"/>
                    <a:pt x="1690997" y="1432786"/>
                    <a:pt x="1690997" y="1432786"/>
                  </a:cubicBezTo>
                  <a:lnTo>
                    <a:pt x="1686761" y="1432786"/>
                  </a:lnTo>
                  <a:cubicBezTo>
                    <a:pt x="1686761" y="1432786"/>
                    <a:pt x="1686598" y="1429528"/>
                    <a:pt x="1686598" y="1429528"/>
                  </a:cubicBezTo>
                  <a:lnTo>
                    <a:pt x="1689857" y="1421708"/>
                  </a:lnTo>
                  <a:lnTo>
                    <a:pt x="1692463" y="1420405"/>
                  </a:lnTo>
                  <a:lnTo>
                    <a:pt x="1695395" y="1423500"/>
                  </a:lnTo>
                  <a:lnTo>
                    <a:pt x="1695070" y="1418776"/>
                  </a:lnTo>
                  <a:lnTo>
                    <a:pt x="1698165" y="1416495"/>
                  </a:lnTo>
                  <a:lnTo>
                    <a:pt x="1698654" y="1412585"/>
                  </a:lnTo>
                  <a:lnTo>
                    <a:pt x="1704193" y="1406558"/>
                  </a:lnTo>
                  <a:lnTo>
                    <a:pt x="1706636" y="1402322"/>
                  </a:lnTo>
                  <a:lnTo>
                    <a:pt x="1705496" y="1398901"/>
                  </a:lnTo>
                  <a:lnTo>
                    <a:pt x="1709894" y="1393036"/>
                  </a:lnTo>
                  <a:lnTo>
                    <a:pt x="1715108" y="1391407"/>
                  </a:lnTo>
                  <a:lnTo>
                    <a:pt x="1717062" y="1393362"/>
                  </a:lnTo>
                  <a:lnTo>
                    <a:pt x="1712990" y="1396783"/>
                  </a:lnTo>
                  <a:lnTo>
                    <a:pt x="1717388" y="1394991"/>
                  </a:lnTo>
                  <a:lnTo>
                    <a:pt x="1719017" y="1397272"/>
                  </a:lnTo>
                  <a:lnTo>
                    <a:pt x="1715922" y="1399553"/>
                  </a:lnTo>
                  <a:lnTo>
                    <a:pt x="1715433" y="1402974"/>
                  </a:lnTo>
                  <a:lnTo>
                    <a:pt x="1718692" y="1405254"/>
                  </a:lnTo>
                  <a:lnTo>
                    <a:pt x="1715759" y="1409327"/>
                  </a:lnTo>
                  <a:lnTo>
                    <a:pt x="1712990" y="1409816"/>
                  </a:lnTo>
                  <a:lnTo>
                    <a:pt x="1712990" y="1410956"/>
                  </a:lnTo>
                  <a:cubicBezTo>
                    <a:pt x="1712990" y="1410956"/>
                    <a:pt x="1715922" y="1411608"/>
                    <a:pt x="1715922" y="1411608"/>
                  </a:cubicBezTo>
                  <a:lnTo>
                    <a:pt x="1719017" y="1412097"/>
                  </a:lnTo>
                  <a:lnTo>
                    <a:pt x="1717551" y="1416332"/>
                  </a:lnTo>
                  <a:lnTo>
                    <a:pt x="1716085" y="1418287"/>
                  </a:lnTo>
                  <a:lnTo>
                    <a:pt x="1719832" y="1418287"/>
                  </a:lnTo>
                  <a:cubicBezTo>
                    <a:pt x="1719832" y="1418287"/>
                    <a:pt x="1720158" y="1422523"/>
                    <a:pt x="1720158" y="1422523"/>
                  </a:cubicBezTo>
                  <a:lnTo>
                    <a:pt x="1716900" y="1424803"/>
                  </a:lnTo>
                  <a:lnTo>
                    <a:pt x="1718040" y="1429854"/>
                  </a:lnTo>
                  <a:lnTo>
                    <a:pt x="1722764" y="1434252"/>
                  </a:lnTo>
                  <a:lnTo>
                    <a:pt x="1723090" y="1440606"/>
                  </a:lnTo>
                  <a:lnTo>
                    <a:pt x="1721135" y="1442561"/>
                  </a:lnTo>
                  <a:lnTo>
                    <a:pt x="1718692" y="1440443"/>
                  </a:lnTo>
                  <a:lnTo>
                    <a:pt x="1715270" y="1441909"/>
                  </a:lnTo>
                  <a:lnTo>
                    <a:pt x="1718692" y="1445004"/>
                  </a:lnTo>
                  <a:lnTo>
                    <a:pt x="1719832" y="1448099"/>
                  </a:lnTo>
                  <a:lnTo>
                    <a:pt x="1721950" y="1448099"/>
                  </a:lnTo>
                  <a:lnTo>
                    <a:pt x="1725208" y="1444841"/>
                  </a:lnTo>
                  <a:lnTo>
                    <a:pt x="1725697" y="1448425"/>
                  </a:lnTo>
                  <a:lnTo>
                    <a:pt x="1729281" y="1450543"/>
                  </a:lnTo>
                  <a:lnTo>
                    <a:pt x="1725534" y="1456897"/>
                  </a:lnTo>
                  <a:lnTo>
                    <a:pt x="1720972" y="1458363"/>
                  </a:lnTo>
                  <a:lnTo>
                    <a:pt x="1715596" y="1457385"/>
                  </a:lnTo>
                  <a:lnTo>
                    <a:pt x="1712990" y="1460481"/>
                  </a:lnTo>
                  <a:lnTo>
                    <a:pt x="1716900" y="1462761"/>
                  </a:lnTo>
                  <a:lnTo>
                    <a:pt x="1728629" y="1459503"/>
                  </a:lnTo>
                  <a:lnTo>
                    <a:pt x="1732539" y="1460318"/>
                  </a:lnTo>
                  <a:lnTo>
                    <a:pt x="1731073" y="1464879"/>
                  </a:lnTo>
                  <a:lnTo>
                    <a:pt x="1726674" y="1469929"/>
                  </a:lnTo>
                  <a:lnTo>
                    <a:pt x="1730421" y="1471558"/>
                  </a:lnTo>
                  <a:lnTo>
                    <a:pt x="1734657" y="1468952"/>
                  </a:lnTo>
                  <a:lnTo>
                    <a:pt x="1734657" y="1474654"/>
                  </a:lnTo>
                  <a:lnTo>
                    <a:pt x="1730421" y="1480681"/>
                  </a:lnTo>
                  <a:lnTo>
                    <a:pt x="1722438" y="1480681"/>
                  </a:lnTo>
                  <a:lnTo>
                    <a:pt x="1718692" y="1477912"/>
                  </a:lnTo>
                  <a:lnTo>
                    <a:pt x="1716737" y="1481333"/>
                  </a:lnTo>
                  <a:lnTo>
                    <a:pt x="1717877" y="1484917"/>
                  </a:lnTo>
                  <a:lnTo>
                    <a:pt x="1716085" y="1488990"/>
                  </a:lnTo>
                  <a:lnTo>
                    <a:pt x="1723090" y="1485894"/>
                  </a:lnTo>
                  <a:lnTo>
                    <a:pt x="1731073" y="1485894"/>
                  </a:lnTo>
                  <a:cubicBezTo>
                    <a:pt x="1731073" y="1485894"/>
                    <a:pt x="1736611" y="1483614"/>
                    <a:pt x="1736611" y="1483614"/>
                  </a:cubicBezTo>
                  <a:lnTo>
                    <a:pt x="1738078" y="1485080"/>
                  </a:lnTo>
                  <a:lnTo>
                    <a:pt x="1735145" y="1488338"/>
                  </a:lnTo>
                  <a:lnTo>
                    <a:pt x="1735145" y="1490782"/>
                  </a:lnTo>
                  <a:lnTo>
                    <a:pt x="1730747" y="1493551"/>
                  </a:lnTo>
                  <a:lnTo>
                    <a:pt x="1726022" y="1493551"/>
                  </a:lnTo>
                  <a:lnTo>
                    <a:pt x="1718692" y="1502511"/>
                  </a:lnTo>
                  <a:lnTo>
                    <a:pt x="1726837" y="1498764"/>
                  </a:lnTo>
                  <a:lnTo>
                    <a:pt x="1732376" y="1498764"/>
                  </a:lnTo>
                  <a:lnTo>
                    <a:pt x="1736123" y="1497461"/>
                  </a:lnTo>
                  <a:lnTo>
                    <a:pt x="1740684" y="1498438"/>
                  </a:lnTo>
                  <a:lnTo>
                    <a:pt x="1740684" y="1503000"/>
                  </a:lnTo>
                  <a:lnTo>
                    <a:pt x="1736611" y="1503489"/>
                  </a:lnTo>
                  <a:lnTo>
                    <a:pt x="1731236" y="1506910"/>
                  </a:lnTo>
                  <a:lnTo>
                    <a:pt x="1729769" y="1511960"/>
                  </a:lnTo>
                  <a:lnTo>
                    <a:pt x="1732865" y="1508865"/>
                  </a:lnTo>
                  <a:lnTo>
                    <a:pt x="1737589" y="1510331"/>
                  </a:lnTo>
                  <a:lnTo>
                    <a:pt x="1740359" y="1507235"/>
                  </a:lnTo>
                  <a:lnTo>
                    <a:pt x="1745083" y="1511634"/>
                  </a:lnTo>
                  <a:lnTo>
                    <a:pt x="1747527" y="1520105"/>
                  </a:lnTo>
                  <a:lnTo>
                    <a:pt x="1742313" y="1524341"/>
                  </a:lnTo>
                  <a:lnTo>
                    <a:pt x="1738892" y="1523038"/>
                  </a:lnTo>
                  <a:lnTo>
                    <a:pt x="1736286" y="1525318"/>
                  </a:lnTo>
                  <a:lnTo>
                    <a:pt x="1731236" y="1525318"/>
                  </a:lnTo>
                  <a:lnTo>
                    <a:pt x="1734983" y="1528577"/>
                  </a:lnTo>
                  <a:lnTo>
                    <a:pt x="1738403" y="1527762"/>
                  </a:lnTo>
                  <a:lnTo>
                    <a:pt x="1740684" y="1529228"/>
                  </a:lnTo>
                  <a:lnTo>
                    <a:pt x="1746223" y="1529228"/>
                  </a:lnTo>
                  <a:cubicBezTo>
                    <a:pt x="1746223" y="1529228"/>
                    <a:pt x="1748504" y="1531672"/>
                    <a:pt x="1748504" y="1531672"/>
                  </a:cubicBezTo>
                  <a:lnTo>
                    <a:pt x="1747038" y="1535744"/>
                  </a:lnTo>
                  <a:lnTo>
                    <a:pt x="1743617" y="1538188"/>
                  </a:lnTo>
                  <a:lnTo>
                    <a:pt x="1748178" y="1539817"/>
                  </a:lnTo>
                  <a:lnTo>
                    <a:pt x="1751925" y="1539003"/>
                  </a:lnTo>
                  <a:lnTo>
                    <a:pt x="1756649" y="1543238"/>
                  </a:lnTo>
                  <a:lnTo>
                    <a:pt x="1755509" y="1547637"/>
                  </a:lnTo>
                  <a:lnTo>
                    <a:pt x="1751599" y="1549592"/>
                  </a:lnTo>
                  <a:lnTo>
                    <a:pt x="1745409" y="1554805"/>
                  </a:lnTo>
                  <a:lnTo>
                    <a:pt x="1741499" y="1553339"/>
                  </a:lnTo>
                  <a:lnTo>
                    <a:pt x="1740033" y="1555619"/>
                  </a:lnTo>
                  <a:lnTo>
                    <a:pt x="1744594" y="1557574"/>
                  </a:lnTo>
                  <a:lnTo>
                    <a:pt x="1744920" y="1560670"/>
                  </a:lnTo>
                  <a:lnTo>
                    <a:pt x="1739544" y="1561158"/>
                  </a:lnTo>
                  <a:lnTo>
                    <a:pt x="1732865" y="1557248"/>
                  </a:lnTo>
                  <a:lnTo>
                    <a:pt x="1725697" y="1557248"/>
                  </a:lnTo>
                  <a:cubicBezTo>
                    <a:pt x="1725697" y="1557248"/>
                    <a:pt x="1732376" y="1561158"/>
                    <a:pt x="1732376" y="1561158"/>
                  </a:cubicBezTo>
                  <a:lnTo>
                    <a:pt x="1732376" y="1565883"/>
                  </a:lnTo>
                  <a:cubicBezTo>
                    <a:pt x="1732376" y="1565883"/>
                    <a:pt x="1737752" y="1570607"/>
                    <a:pt x="1737752" y="1570607"/>
                  </a:cubicBezTo>
                  <a:lnTo>
                    <a:pt x="1740033" y="1573539"/>
                  </a:lnTo>
                  <a:lnTo>
                    <a:pt x="1739055" y="1575983"/>
                  </a:lnTo>
                  <a:lnTo>
                    <a:pt x="1733516" y="1576635"/>
                  </a:lnTo>
                  <a:lnTo>
                    <a:pt x="1731561" y="1579567"/>
                  </a:lnTo>
                  <a:lnTo>
                    <a:pt x="1724556" y="1579078"/>
                  </a:lnTo>
                  <a:lnTo>
                    <a:pt x="1733516" y="1581685"/>
                  </a:lnTo>
                  <a:lnTo>
                    <a:pt x="1736775" y="1580870"/>
                  </a:lnTo>
                  <a:lnTo>
                    <a:pt x="1737263" y="1579078"/>
                  </a:lnTo>
                  <a:lnTo>
                    <a:pt x="1744268" y="1577612"/>
                  </a:lnTo>
                  <a:lnTo>
                    <a:pt x="1747038" y="1578101"/>
                  </a:lnTo>
                  <a:lnTo>
                    <a:pt x="1747038" y="1581522"/>
                  </a:lnTo>
                  <a:lnTo>
                    <a:pt x="1748993" y="1583966"/>
                  </a:lnTo>
                  <a:lnTo>
                    <a:pt x="1746549" y="1586246"/>
                  </a:lnTo>
                  <a:lnTo>
                    <a:pt x="1749644" y="1586572"/>
                  </a:lnTo>
                  <a:lnTo>
                    <a:pt x="1750622" y="1588038"/>
                  </a:lnTo>
                  <a:lnTo>
                    <a:pt x="1749644" y="1591948"/>
                  </a:lnTo>
                  <a:lnTo>
                    <a:pt x="1751110" y="1593740"/>
                  </a:lnTo>
                  <a:lnTo>
                    <a:pt x="1755835" y="1590645"/>
                  </a:lnTo>
                  <a:lnTo>
                    <a:pt x="1757464" y="1591622"/>
                  </a:lnTo>
                  <a:lnTo>
                    <a:pt x="1760722" y="1592600"/>
                  </a:lnTo>
                  <a:lnTo>
                    <a:pt x="1760396" y="1599116"/>
                  </a:lnTo>
                  <a:lnTo>
                    <a:pt x="1758604" y="1602049"/>
                  </a:lnTo>
                  <a:lnTo>
                    <a:pt x="1758604" y="1604492"/>
                  </a:lnTo>
                  <a:lnTo>
                    <a:pt x="1761048" y="1604166"/>
                  </a:lnTo>
                  <a:lnTo>
                    <a:pt x="1766098" y="1597324"/>
                  </a:lnTo>
                  <a:lnTo>
                    <a:pt x="1767238" y="1598139"/>
                  </a:lnTo>
                  <a:lnTo>
                    <a:pt x="1766424" y="1602374"/>
                  </a:lnTo>
                  <a:lnTo>
                    <a:pt x="1769356" y="1605633"/>
                  </a:lnTo>
                  <a:lnTo>
                    <a:pt x="1763329" y="1609542"/>
                  </a:lnTo>
                  <a:lnTo>
                    <a:pt x="1755672" y="1619643"/>
                  </a:lnTo>
                  <a:lnTo>
                    <a:pt x="1751273" y="1623064"/>
                  </a:lnTo>
                  <a:lnTo>
                    <a:pt x="1745897" y="1621598"/>
                  </a:lnTo>
                  <a:lnTo>
                    <a:pt x="1750948" y="1624530"/>
                  </a:lnTo>
                  <a:lnTo>
                    <a:pt x="1755346" y="1623227"/>
                  </a:lnTo>
                  <a:lnTo>
                    <a:pt x="1764795" y="1614267"/>
                  </a:lnTo>
                  <a:lnTo>
                    <a:pt x="1768542" y="1614267"/>
                  </a:lnTo>
                  <a:lnTo>
                    <a:pt x="1768542" y="1617036"/>
                  </a:lnTo>
                  <a:cubicBezTo>
                    <a:pt x="1768542" y="1617036"/>
                    <a:pt x="1764469" y="1620131"/>
                    <a:pt x="1764469" y="1620131"/>
                  </a:cubicBezTo>
                  <a:lnTo>
                    <a:pt x="1762026" y="1624693"/>
                  </a:lnTo>
                  <a:lnTo>
                    <a:pt x="1764632" y="1625670"/>
                  </a:lnTo>
                  <a:lnTo>
                    <a:pt x="1769845" y="1619806"/>
                  </a:lnTo>
                  <a:lnTo>
                    <a:pt x="1774244" y="1614593"/>
                  </a:lnTo>
                  <a:lnTo>
                    <a:pt x="1779783" y="1613615"/>
                  </a:lnTo>
                  <a:lnTo>
                    <a:pt x="1779783" y="1615896"/>
                  </a:lnTo>
                  <a:lnTo>
                    <a:pt x="1775873" y="1618177"/>
                  </a:lnTo>
                  <a:lnTo>
                    <a:pt x="1773592" y="1620457"/>
                  </a:lnTo>
                  <a:lnTo>
                    <a:pt x="1775221" y="1621598"/>
                  </a:lnTo>
                  <a:lnTo>
                    <a:pt x="1782063" y="1618665"/>
                  </a:lnTo>
                  <a:lnTo>
                    <a:pt x="1784344" y="1620620"/>
                  </a:lnTo>
                  <a:lnTo>
                    <a:pt x="1777013" y="1626159"/>
                  </a:lnTo>
                  <a:lnTo>
                    <a:pt x="1773918" y="1630069"/>
                  </a:lnTo>
                  <a:lnTo>
                    <a:pt x="1776361" y="1630558"/>
                  </a:lnTo>
                  <a:lnTo>
                    <a:pt x="1780434" y="1627299"/>
                  </a:lnTo>
                  <a:lnTo>
                    <a:pt x="1790046" y="1618991"/>
                  </a:lnTo>
                  <a:lnTo>
                    <a:pt x="1791838" y="1619806"/>
                  </a:lnTo>
                  <a:lnTo>
                    <a:pt x="1789231" y="1622086"/>
                  </a:lnTo>
                  <a:lnTo>
                    <a:pt x="1788743" y="1624693"/>
                  </a:lnTo>
                  <a:lnTo>
                    <a:pt x="1795748" y="1619969"/>
                  </a:lnTo>
                  <a:lnTo>
                    <a:pt x="1795096" y="1622575"/>
                  </a:lnTo>
                  <a:lnTo>
                    <a:pt x="1795096" y="1630721"/>
                  </a:lnTo>
                  <a:cubicBezTo>
                    <a:pt x="1795096" y="1630721"/>
                    <a:pt x="1792001" y="1631698"/>
                    <a:pt x="1792001" y="1631698"/>
                  </a:cubicBezTo>
                  <a:lnTo>
                    <a:pt x="1792815" y="1634793"/>
                  </a:lnTo>
                  <a:lnTo>
                    <a:pt x="1798354" y="1633979"/>
                  </a:lnTo>
                  <a:lnTo>
                    <a:pt x="1804219" y="1637563"/>
                  </a:lnTo>
                  <a:lnTo>
                    <a:pt x="1808129" y="1633001"/>
                  </a:lnTo>
                  <a:lnTo>
                    <a:pt x="1815297" y="1631209"/>
                  </a:lnTo>
                  <a:lnTo>
                    <a:pt x="1818555" y="1632513"/>
                  </a:lnTo>
                  <a:lnTo>
                    <a:pt x="1816111" y="1637237"/>
                  </a:lnTo>
                  <a:lnTo>
                    <a:pt x="1813016" y="1637237"/>
                  </a:lnTo>
                  <a:lnTo>
                    <a:pt x="1811224" y="1639192"/>
                  </a:lnTo>
                  <a:lnTo>
                    <a:pt x="1823442" y="1642613"/>
                  </a:lnTo>
                  <a:lnTo>
                    <a:pt x="1828167" y="1646849"/>
                  </a:lnTo>
                  <a:lnTo>
                    <a:pt x="1820021" y="1647989"/>
                  </a:lnTo>
                  <a:lnTo>
                    <a:pt x="1820021" y="1649781"/>
                  </a:lnTo>
                  <a:lnTo>
                    <a:pt x="1810084" y="1651573"/>
                  </a:lnTo>
                  <a:lnTo>
                    <a:pt x="1808129" y="1649781"/>
                  </a:lnTo>
                  <a:lnTo>
                    <a:pt x="1800146" y="1652876"/>
                  </a:lnTo>
                  <a:lnTo>
                    <a:pt x="1795910" y="1657438"/>
                  </a:lnTo>
                  <a:lnTo>
                    <a:pt x="1786136" y="1657764"/>
                  </a:lnTo>
                  <a:lnTo>
                    <a:pt x="1772940" y="1660207"/>
                  </a:lnTo>
                  <a:lnTo>
                    <a:pt x="1772289" y="1663791"/>
                  </a:lnTo>
                  <a:lnTo>
                    <a:pt x="1782063" y="1661510"/>
                  </a:lnTo>
                  <a:lnTo>
                    <a:pt x="1791838" y="1658578"/>
                  </a:lnTo>
                  <a:lnTo>
                    <a:pt x="1795096" y="1659556"/>
                  </a:lnTo>
                  <a:lnTo>
                    <a:pt x="1795910" y="1661836"/>
                  </a:lnTo>
                  <a:lnTo>
                    <a:pt x="1786136" y="1663302"/>
                  </a:lnTo>
                  <a:lnTo>
                    <a:pt x="1776687" y="1665094"/>
                  </a:lnTo>
                  <a:lnTo>
                    <a:pt x="1768216" y="1669493"/>
                  </a:lnTo>
                  <a:lnTo>
                    <a:pt x="1764958" y="1672588"/>
                  </a:lnTo>
                  <a:lnTo>
                    <a:pt x="1759093" y="1672588"/>
                  </a:lnTo>
                  <a:cubicBezTo>
                    <a:pt x="1759093" y="1672588"/>
                    <a:pt x="1758441" y="1677313"/>
                    <a:pt x="1758441" y="1677313"/>
                  </a:cubicBezTo>
                  <a:lnTo>
                    <a:pt x="1756486" y="1679919"/>
                  </a:lnTo>
                  <a:lnTo>
                    <a:pt x="1747527" y="1673892"/>
                  </a:lnTo>
                  <a:lnTo>
                    <a:pt x="1742151" y="1664606"/>
                  </a:lnTo>
                  <a:lnTo>
                    <a:pt x="1742639" y="1668841"/>
                  </a:lnTo>
                  <a:lnTo>
                    <a:pt x="1741173" y="1671448"/>
                  </a:lnTo>
                  <a:lnTo>
                    <a:pt x="1744920" y="1673077"/>
                  </a:lnTo>
                  <a:lnTo>
                    <a:pt x="1745897" y="1675195"/>
                  </a:lnTo>
                  <a:lnTo>
                    <a:pt x="1755998" y="1683666"/>
                  </a:lnTo>
                  <a:lnTo>
                    <a:pt x="1754532" y="1686761"/>
                  </a:lnTo>
                  <a:lnTo>
                    <a:pt x="1751599" y="1685784"/>
                  </a:lnTo>
                  <a:lnTo>
                    <a:pt x="1748341" y="1688716"/>
                  </a:lnTo>
                  <a:lnTo>
                    <a:pt x="1750296" y="1692626"/>
                  </a:lnTo>
                  <a:lnTo>
                    <a:pt x="1752902" y="1693115"/>
                  </a:lnTo>
                  <a:lnTo>
                    <a:pt x="1754694" y="1690834"/>
                  </a:lnTo>
                  <a:lnTo>
                    <a:pt x="1757953" y="1690834"/>
                  </a:lnTo>
                  <a:cubicBezTo>
                    <a:pt x="1757953" y="1690834"/>
                    <a:pt x="1762188" y="1682200"/>
                    <a:pt x="1762188" y="1682200"/>
                  </a:cubicBezTo>
                  <a:lnTo>
                    <a:pt x="1769682" y="1682526"/>
                  </a:lnTo>
                  <a:lnTo>
                    <a:pt x="1775058" y="1677964"/>
                  </a:lnTo>
                  <a:lnTo>
                    <a:pt x="1778968" y="1677638"/>
                  </a:lnTo>
                  <a:lnTo>
                    <a:pt x="1780923" y="1672914"/>
                  </a:lnTo>
                  <a:lnTo>
                    <a:pt x="1785810" y="1667375"/>
                  </a:lnTo>
                  <a:lnTo>
                    <a:pt x="1791675" y="1666561"/>
                  </a:lnTo>
                  <a:lnTo>
                    <a:pt x="1799820" y="1663139"/>
                  </a:lnTo>
                  <a:lnTo>
                    <a:pt x="1806500" y="1663791"/>
                  </a:lnTo>
                  <a:lnTo>
                    <a:pt x="1811876" y="1663465"/>
                  </a:lnTo>
                  <a:lnTo>
                    <a:pt x="1809595" y="1661999"/>
                  </a:lnTo>
                  <a:lnTo>
                    <a:pt x="1803730" y="1661999"/>
                  </a:lnTo>
                  <a:lnTo>
                    <a:pt x="1802101" y="1660533"/>
                  </a:lnTo>
                  <a:lnTo>
                    <a:pt x="1805848" y="1659067"/>
                  </a:lnTo>
                  <a:lnTo>
                    <a:pt x="1816600" y="1657764"/>
                  </a:lnTo>
                  <a:lnTo>
                    <a:pt x="1825234" y="1660044"/>
                  </a:lnTo>
                  <a:lnTo>
                    <a:pt x="1828981" y="1668190"/>
                  </a:lnTo>
                  <a:lnTo>
                    <a:pt x="1828167" y="1672751"/>
                  </a:lnTo>
                  <a:lnTo>
                    <a:pt x="1822465" y="1677964"/>
                  </a:lnTo>
                  <a:lnTo>
                    <a:pt x="1819695" y="1677964"/>
                  </a:lnTo>
                  <a:cubicBezTo>
                    <a:pt x="1819695" y="1677964"/>
                    <a:pt x="1815948" y="1682037"/>
                    <a:pt x="1815948" y="1682037"/>
                  </a:cubicBezTo>
                  <a:lnTo>
                    <a:pt x="1822465" y="1682363"/>
                  </a:lnTo>
                  <a:lnTo>
                    <a:pt x="1824257" y="1686598"/>
                  </a:lnTo>
                  <a:lnTo>
                    <a:pt x="1826863" y="1684155"/>
                  </a:lnTo>
                  <a:lnTo>
                    <a:pt x="1828492" y="1679756"/>
                  </a:lnTo>
                  <a:lnTo>
                    <a:pt x="1835823" y="1675846"/>
                  </a:lnTo>
                  <a:lnTo>
                    <a:pt x="1841362" y="1675846"/>
                  </a:lnTo>
                  <a:cubicBezTo>
                    <a:pt x="1841362" y="1675846"/>
                    <a:pt x="1842340" y="1678127"/>
                    <a:pt x="1842340" y="1678127"/>
                  </a:cubicBezTo>
                  <a:lnTo>
                    <a:pt x="1840548" y="1678779"/>
                  </a:lnTo>
                  <a:lnTo>
                    <a:pt x="1839733" y="1681874"/>
                  </a:lnTo>
                  <a:lnTo>
                    <a:pt x="1846738" y="1682200"/>
                  </a:lnTo>
                  <a:lnTo>
                    <a:pt x="1853254" y="1685132"/>
                  </a:lnTo>
                  <a:lnTo>
                    <a:pt x="1854395" y="1688065"/>
                  </a:lnTo>
                  <a:lnTo>
                    <a:pt x="1849834" y="1685621"/>
                  </a:lnTo>
                  <a:lnTo>
                    <a:pt x="1847390" y="1686435"/>
                  </a:lnTo>
                  <a:lnTo>
                    <a:pt x="1848693" y="1690997"/>
                  </a:lnTo>
                  <a:lnTo>
                    <a:pt x="1855698" y="1693929"/>
                  </a:lnTo>
                  <a:lnTo>
                    <a:pt x="1857001" y="1697676"/>
                  </a:lnTo>
                  <a:lnTo>
                    <a:pt x="1852929" y="1700934"/>
                  </a:lnTo>
                  <a:lnTo>
                    <a:pt x="1848856" y="1699631"/>
                  </a:lnTo>
                  <a:lnTo>
                    <a:pt x="1844783" y="1703378"/>
                  </a:lnTo>
                  <a:lnTo>
                    <a:pt x="1852277" y="1705822"/>
                  </a:lnTo>
                  <a:lnTo>
                    <a:pt x="1850322" y="1710546"/>
                  </a:lnTo>
                  <a:lnTo>
                    <a:pt x="1847064" y="1711686"/>
                  </a:lnTo>
                  <a:lnTo>
                    <a:pt x="1845435" y="1716085"/>
                  </a:lnTo>
                  <a:lnTo>
                    <a:pt x="1841362" y="1718203"/>
                  </a:lnTo>
                  <a:lnTo>
                    <a:pt x="1835335" y="1714293"/>
                  </a:lnTo>
                  <a:lnTo>
                    <a:pt x="1837941" y="1718366"/>
                  </a:lnTo>
                  <a:lnTo>
                    <a:pt x="1845109" y="1721461"/>
                  </a:lnTo>
                  <a:lnTo>
                    <a:pt x="1849182" y="1721135"/>
                  </a:lnTo>
                  <a:lnTo>
                    <a:pt x="1852766" y="1725208"/>
                  </a:lnTo>
                  <a:lnTo>
                    <a:pt x="1849019" y="1726348"/>
                  </a:lnTo>
                  <a:lnTo>
                    <a:pt x="1844457" y="1725534"/>
                  </a:lnTo>
                  <a:lnTo>
                    <a:pt x="1842014" y="1725534"/>
                  </a:lnTo>
                  <a:cubicBezTo>
                    <a:pt x="1842014" y="1725534"/>
                    <a:pt x="1845598" y="1728629"/>
                    <a:pt x="1845598" y="1728629"/>
                  </a:cubicBezTo>
                  <a:lnTo>
                    <a:pt x="1849834" y="1727489"/>
                  </a:lnTo>
                  <a:lnTo>
                    <a:pt x="1852929" y="1729118"/>
                  </a:lnTo>
                  <a:lnTo>
                    <a:pt x="1850322" y="1733842"/>
                  </a:lnTo>
                  <a:lnTo>
                    <a:pt x="1849508" y="1738404"/>
                  </a:lnTo>
                  <a:lnTo>
                    <a:pt x="1845761" y="1738404"/>
                  </a:lnTo>
                  <a:cubicBezTo>
                    <a:pt x="1845761" y="1738404"/>
                    <a:pt x="1843969" y="1742639"/>
                    <a:pt x="1843969" y="1742639"/>
                  </a:cubicBezTo>
                  <a:lnTo>
                    <a:pt x="1836964" y="1747852"/>
                  </a:lnTo>
                  <a:lnTo>
                    <a:pt x="1831262" y="1748178"/>
                  </a:lnTo>
                  <a:lnTo>
                    <a:pt x="1826211" y="1752414"/>
                  </a:lnTo>
                  <a:lnTo>
                    <a:pt x="1823931" y="1752414"/>
                  </a:lnTo>
                  <a:lnTo>
                    <a:pt x="1820021" y="1756486"/>
                  </a:lnTo>
                  <a:lnTo>
                    <a:pt x="1817089" y="1756486"/>
                  </a:lnTo>
                  <a:cubicBezTo>
                    <a:pt x="1817089" y="1756486"/>
                    <a:pt x="1815948" y="1759419"/>
                    <a:pt x="1815948" y="1759419"/>
                  </a:cubicBezTo>
                  <a:lnTo>
                    <a:pt x="1811550" y="1760070"/>
                  </a:lnTo>
                  <a:lnTo>
                    <a:pt x="1808780" y="1757301"/>
                  </a:lnTo>
                  <a:lnTo>
                    <a:pt x="1805034" y="1759582"/>
                  </a:lnTo>
                  <a:lnTo>
                    <a:pt x="1800961" y="1759093"/>
                  </a:lnTo>
                  <a:lnTo>
                    <a:pt x="1799657" y="1757301"/>
                  </a:lnTo>
                  <a:lnTo>
                    <a:pt x="1794444" y="1761048"/>
                  </a:lnTo>
                  <a:lnTo>
                    <a:pt x="1788743" y="1760233"/>
                  </a:lnTo>
                  <a:lnTo>
                    <a:pt x="1786299" y="1756486"/>
                  </a:lnTo>
                  <a:lnTo>
                    <a:pt x="1784670" y="1757953"/>
                  </a:lnTo>
                  <a:lnTo>
                    <a:pt x="1785159" y="1761048"/>
                  </a:lnTo>
                  <a:lnTo>
                    <a:pt x="1780434" y="1762188"/>
                  </a:lnTo>
                  <a:lnTo>
                    <a:pt x="1775221" y="1761862"/>
                  </a:lnTo>
                  <a:lnTo>
                    <a:pt x="1773592" y="1763817"/>
                  </a:lnTo>
                  <a:lnTo>
                    <a:pt x="1775547" y="1764632"/>
                  </a:lnTo>
                  <a:lnTo>
                    <a:pt x="1774895" y="1767727"/>
                  </a:lnTo>
                  <a:lnTo>
                    <a:pt x="1771148" y="1771311"/>
                  </a:lnTo>
                  <a:lnTo>
                    <a:pt x="1768053" y="1770822"/>
                  </a:lnTo>
                  <a:lnTo>
                    <a:pt x="1768053" y="1775221"/>
                  </a:lnTo>
                  <a:cubicBezTo>
                    <a:pt x="1768053" y="1775221"/>
                    <a:pt x="1764306" y="1782389"/>
                    <a:pt x="1764306" y="1782389"/>
                  </a:cubicBezTo>
                  <a:lnTo>
                    <a:pt x="1760233" y="1781574"/>
                  </a:lnTo>
                  <a:lnTo>
                    <a:pt x="1758767" y="1783855"/>
                  </a:lnTo>
                  <a:lnTo>
                    <a:pt x="1754369" y="1786299"/>
                  </a:lnTo>
                  <a:lnTo>
                    <a:pt x="1751110" y="1791349"/>
                  </a:lnTo>
                  <a:lnTo>
                    <a:pt x="1749156" y="1790697"/>
                  </a:lnTo>
                  <a:lnTo>
                    <a:pt x="1746223" y="1792489"/>
                  </a:lnTo>
                  <a:lnTo>
                    <a:pt x="1740847" y="1792489"/>
                  </a:lnTo>
                  <a:cubicBezTo>
                    <a:pt x="1740847" y="1792489"/>
                    <a:pt x="1739707" y="1795585"/>
                    <a:pt x="1739707" y="1795585"/>
                  </a:cubicBezTo>
                  <a:lnTo>
                    <a:pt x="1735145" y="1797539"/>
                  </a:lnTo>
                  <a:lnTo>
                    <a:pt x="1731887" y="1795585"/>
                  </a:lnTo>
                  <a:lnTo>
                    <a:pt x="1723742" y="1795585"/>
                  </a:lnTo>
                  <a:cubicBezTo>
                    <a:pt x="1723742" y="1795585"/>
                    <a:pt x="1721787" y="1793793"/>
                    <a:pt x="1721787" y="1793793"/>
                  </a:cubicBezTo>
                  <a:lnTo>
                    <a:pt x="1716085" y="1795585"/>
                  </a:lnTo>
                  <a:lnTo>
                    <a:pt x="1713316" y="1795585"/>
                  </a:lnTo>
                  <a:cubicBezTo>
                    <a:pt x="1713316" y="1795585"/>
                    <a:pt x="1701749" y="1799494"/>
                    <a:pt x="1701749" y="1799494"/>
                  </a:cubicBezTo>
                  <a:lnTo>
                    <a:pt x="1697025" y="1798191"/>
                  </a:lnTo>
                  <a:lnTo>
                    <a:pt x="1698165" y="1795422"/>
                  </a:lnTo>
                  <a:lnTo>
                    <a:pt x="1694418" y="1794444"/>
                  </a:lnTo>
                  <a:lnTo>
                    <a:pt x="1689857" y="1796236"/>
                  </a:lnTo>
                  <a:lnTo>
                    <a:pt x="1685947" y="1796236"/>
                  </a:lnTo>
                  <a:cubicBezTo>
                    <a:pt x="1685947" y="1796236"/>
                    <a:pt x="1678616" y="1793141"/>
                    <a:pt x="1678616" y="1793141"/>
                  </a:cubicBezTo>
                  <a:lnTo>
                    <a:pt x="1676172" y="1793793"/>
                  </a:lnTo>
                  <a:lnTo>
                    <a:pt x="1670308" y="1793141"/>
                  </a:lnTo>
                  <a:lnTo>
                    <a:pt x="1666072" y="1790046"/>
                  </a:lnTo>
                  <a:lnTo>
                    <a:pt x="1663465" y="1790046"/>
                  </a:lnTo>
                  <a:lnTo>
                    <a:pt x="1660044" y="1792815"/>
                  </a:lnTo>
                  <a:lnTo>
                    <a:pt x="1652551" y="1792001"/>
                  </a:lnTo>
                  <a:lnTo>
                    <a:pt x="1646523" y="1788091"/>
                  </a:lnTo>
                  <a:lnTo>
                    <a:pt x="1642450" y="1790697"/>
                  </a:lnTo>
                  <a:lnTo>
                    <a:pt x="1637889" y="1790697"/>
                  </a:lnTo>
                  <a:cubicBezTo>
                    <a:pt x="1637889" y="1790697"/>
                    <a:pt x="1633979" y="1787765"/>
                    <a:pt x="1633979" y="1787765"/>
                  </a:cubicBezTo>
                  <a:lnTo>
                    <a:pt x="1628277" y="1790860"/>
                  </a:lnTo>
                  <a:lnTo>
                    <a:pt x="1625345" y="1789883"/>
                  </a:lnTo>
                  <a:lnTo>
                    <a:pt x="1622086" y="1789883"/>
                  </a:lnTo>
                  <a:cubicBezTo>
                    <a:pt x="1622086" y="1789883"/>
                    <a:pt x="1614430" y="1786950"/>
                    <a:pt x="1614430" y="1786950"/>
                  </a:cubicBezTo>
                  <a:lnTo>
                    <a:pt x="1604003" y="1788580"/>
                  </a:lnTo>
                  <a:lnTo>
                    <a:pt x="1597813" y="1786788"/>
                  </a:lnTo>
                  <a:lnTo>
                    <a:pt x="1593252" y="1782226"/>
                  </a:lnTo>
                  <a:lnTo>
                    <a:pt x="1589179" y="1784181"/>
                  </a:lnTo>
                  <a:lnTo>
                    <a:pt x="1586572" y="1787113"/>
                  </a:lnTo>
                  <a:lnTo>
                    <a:pt x="1589016" y="1789557"/>
                  </a:lnTo>
                  <a:lnTo>
                    <a:pt x="1586735" y="1791838"/>
                  </a:lnTo>
                  <a:lnTo>
                    <a:pt x="1582174" y="1792815"/>
                  </a:lnTo>
                  <a:lnTo>
                    <a:pt x="1572888" y="1801286"/>
                  </a:lnTo>
                  <a:lnTo>
                    <a:pt x="1567023" y="1804056"/>
                  </a:lnTo>
                  <a:lnTo>
                    <a:pt x="1566697" y="1807966"/>
                  </a:lnTo>
                  <a:lnTo>
                    <a:pt x="1564417" y="1810735"/>
                  </a:lnTo>
                  <a:lnTo>
                    <a:pt x="1563602" y="1816926"/>
                  </a:lnTo>
                  <a:lnTo>
                    <a:pt x="1560507" y="1821161"/>
                  </a:lnTo>
                  <a:lnTo>
                    <a:pt x="1552687" y="1821161"/>
                  </a:lnTo>
                  <a:lnTo>
                    <a:pt x="1548614" y="1823116"/>
                  </a:lnTo>
                  <a:lnTo>
                    <a:pt x="1539817" y="1823605"/>
                  </a:lnTo>
                  <a:lnTo>
                    <a:pt x="1535745" y="1829307"/>
                  </a:lnTo>
                  <a:lnTo>
                    <a:pt x="1532812" y="1830121"/>
                  </a:lnTo>
                  <a:lnTo>
                    <a:pt x="1530857" y="1828166"/>
                  </a:lnTo>
                  <a:lnTo>
                    <a:pt x="1526622" y="1830773"/>
                  </a:lnTo>
                  <a:lnTo>
                    <a:pt x="1524667" y="1835986"/>
                  </a:lnTo>
                  <a:lnTo>
                    <a:pt x="1519617" y="1837126"/>
                  </a:lnTo>
                  <a:lnTo>
                    <a:pt x="1514241" y="1841199"/>
                  </a:lnTo>
                  <a:lnTo>
                    <a:pt x="1512937" y="1843806"/>
                  </a:lnTo>
                  <a:lnTo>
                    <a:pt x="1510168" y="1844783"/>
                  </a:lnTo>
                  <a:lnTo>
                    <a:pt x="1504140" y="1854069"/>
                  </a:lnTo>
                  <a:lnTo>
                    <a:pt x="1494040" y="1859282"/>
                  </a:lnTo>
                  <a:lnTo>
                    <a:pt x="1491433" y="1868079"/>
                  </a:lnTo>
                  <a:lnTo>
                    <a:pt x="1484591" y="1871500"/>
                  </a:lnTo>
                  <a:lnTo>
                    <a:pt x="1478889" y="1877365"/>
                  </a:lnTo>
                  <a:lnTo>
                    <a:pt x="1473676" y="1878668"/>
                  </a:lnTo>
                  <a:lnTo>
                    <a:pt x="1471884" y="1885185"/>
                  </a:lnTo>
                  <a:lnTo>
                    <a:pt x="1468463" y="1890561"/>
                  </a:lnTo>
                  <a:lnTo>
                    <a:pt x="1456734" y="1897566"/>
                  </a:lnTo>
                  <a:lnTo>
                    <a:pt x="1455919" y="1901476"/>
                  </a:lnTo>
                  <a:lnTo>
                    <a:pt x="1442398" y="1907340"/>
                  </a:lnTo>
                  <a:lnTo>
                    <a:pt x="1434741" y="1909295"/>
                  </a:lnTo>
                  <a:lnTo>
                    <a:pt x="1440931" y="1909621"/>
                  </a:lnTo>
                  <a:lnTo>
                    <a:pt x="1454127" y="1903919"/>
                  </a:lnTo>
                  <a:lnTo>
                    <a:pt x="1465531" y="1898380"/>
                  </a:lnTo>
                  <a:lnTo>
                    <a:pt x="1474165" y="1893004"/>
                  </a:lnTo>
                  <a:lnTo>
                    <a:pt x="1481007" y="1884370"/>
                  </a:lnTo>
                  <a:lnTo>
                    <a:pt x="1486709" y="1878343"/>
                  </a:lnTo>
                  <a:lnTo>
                    <a:pt x="1490945" y="1876388"/>
                  </a:lnTo>
                  <a:lnTo>
                    <a:pt x="1503652" y="1864658"/>
                  </a:lnTo>
                  <a:lnTo>
                    <a:pt x="1520920" y="1852603"/>
                  </a:lnTo>
                  <a:lnTo>
                    <a:pt x="1532323" y="1845272"/>
                  </a:lnTo>
                  <a:lnTo>
                    <a:pt x="1539654" y="1844294"/>
                  </a:lnTo>
                  <a:lnTo>
                    <a:pt x="1546334" y="1840385"/>
                  </a:lnTo>
                  <a:lnTo>
                    <a:pt x="1559366" y="1838104"/>
                  </a:lnTo>
                  <a:lnTo>
                    <a:pt x="1575332" y="1832565"/>
                  </a:lnTo>
                  <a:lnTo>
                    <a:pt x="1580708" y="1832239"/>
                  </a:lnTo>
                  <a:lnTo>
                    <a:pt x="1585758" y="1829470"/>
                  </a:lnTo>
                  <a:lnTo>
                    <a:pt x="1603026" y="1829796"/>
                  </a:lnTo>
                  <a:lnTo>
                    <a:pt x="1612312" y="1833217"/>
                  </a:lnTo>
                  <a:lnTo>
                    <a:pt x="1622412" y="1839244"/>
                  </a:lnTo>
                  <a:lnTo>
                    <a:pt x="1622412" y="1841688"/>
                  </a:lnTo>
                  <a:lnTo>
                    <a:pt x="1614593" y="1840222"/>
                  </a:lnTo>
                  <a:lnTo>
                    <a:pt x="1615081" y="1841362"/>
                  </a:lnTo>
                  <a:lnTo>
                    <a:pt x="1614430" y="1842991"/>
                  </a:lnTo>
                  <a:lnTo>
                    <a:pt x="1618502" y="1842665"/>
                  </a:lnTo>
                  <a:lnTo>
                    <a:pt x="1624041" y="1844946"/>
                  </a:lnTo>
                  <a:lnTo>
                    <a:pt x="1625996" y="1848041"/>
                  </a:lnTo>
                  <a:lnTo>
                    <a:pt x="1622901" y="1849345"/>
                  </a:lnTo>
                  <a:lnTo>
                    <a:pt x="1625345" y="1851137"/>
                  </a:lnTo>
                  <a:lnTo>
                    <a:pt x="1621435" y="1859934"/>
                  </a:lnTo>
                  <a:lnTo>
                    <a:pt x="1615896" y="1861237"/>
                  </a:lnTo>
                  <a:lnTo>
                    <a:pt x="1610683" y="1865473"/>
                  </a:lnTo>
                  <a:lnTo>
                    <a:pt x="1606610" y="1865798"/>
                  </a:lnTo>
                  <a:lnTo>
                    <a:pt x="1599768" y="1871012"/>
                  </a:lnTo>
                  <a:lnTo>
                    <a:pt x="1594229" y="1871012"/>
                  </a:lnTo>
                  <a:cubicBezTo>
                    <a:pt x="1594229" y="1871012"/>
                    <a:pt x="1589993" y="1867265"/>
                    <a:pt x="1589993" y="1867265"/>
                  </a:cubicBezTo>
                  <a:lnTo>
                    <a:pt x="1584454" y="1865310"/>
                  </a:lnTo>
                  <a:lnTo>
                    <a:pt x="1580708" y="1867753"/>
                  </a:lnTo>
                  <a:lnTo>
                    <a:pt x="1575169" y="1868894"/>
                  </a:lnTo>
                  <a:lnTo>
                    <a:pt x="1569630" y="1867753"/>
                  </a:lnTo>
                  <a:lnTo>
                    <a:pt x="1562787" y="1870849"/>
                  </a:lnTo>
                  <a:lnTo>
                    <a:pt x="1569955" y="1869871"/>
                  </a:lnTo>
                  <a:lnTo>
                    <a:pt x="1576961" y="1870686"/>
                  </a:lnTo>
                  <a:lnTo>
                    <a:pt x="1586898" y="1873455"/>
                  </a:lnTo>
                  <a:lnTo>
                    <a:pt x="1588364" y="1878180"/>
                  </a:lnTo>
                  <a:lnTo>
                    <a:pt x="1590156" y="1881438"/>
                  </a:lnTo>
                  <a:lnTo>
                    <a:pt x="1595858" y="1878831"/>
                  </a:lnTo>
                  <a:lnTo>
                    <a:pt x="1600908" y="1875410"/>
                  </a:lnTo>
                  <a:lnTo>
                    <a:pt x="1605959" y="1875410"/>
                  </a:lnTo>
                  <a:lnTo>
                    <a:pt x="1607425" y="1877691"/>
                  </a:lnTo>
                  <a:lnTo>
                    <a:pt x="1611171" y="1877365"/>
                  </a:lnTo>
                  <a:lnTo>
                    <a:pt x="1612312" y="1880623"/>
                  </a:lnTo>
                  <a:lnTo>
                    <a:pt x="1607587" y="1884696"/>
                  </a:lnTo>
                  <a:lnTo>
                    <a:pt x="1601071" y="1897566"/>
                  </a:lnTo>
                  <a:lnTo>
                    <a:pt x="1597976" y="1898055"/>
                  </a:lnTo>
                  <a:lnTo>
                    <a:pt x="1594718" y="1901313"/>
                  </a:lnTo>
                  <a:lnTo>
                    <a:pt x="1604329" y="1901313"/>
                  </a:lnTo>
                  <a:lnTo>
                    <a:pt x="1604329" y="1903919"/>
                  </a:lnTo>
                  <a:lnTo>
                    <a:pt x="1601397" y="1908155"/>
                  </a:lnTo>
                  <a:lnTo>
                    <a:pt x="1604818" y="1912065"/>
                  </a:lnTo>
                  <a:lnTo>
                    <a:pt x="1604003" y="1916626"/>
                  </a:lnTo>
                  <a:lnTo>
                    <a:pt x="1604492" y="1923631"/>
                  </a:lnTo>
                  <a:lnTo>
                    <a:pt x="1606936" y="1925423"/>
                  </a:lnTo>
                  <a:lnTo>
                    <a:pt x="1609705" y="1931940"/>
                  </a:lnTo>
                  <a:lnTo>
                    <a:pt x="1614918" y="1931940"/>
                  </a:lnTo>
                  <a:lnTo>
                    <a:pt x="1617199" y="1933894"/>
                  </a:lnTo>
                  <a:lnTo>
                    <a:pt x="1624530" y="1934220"/>
                  </a:lnTo>
                  <a:lnTo>
                    <a:pt x="1623227" y="1937967"/>
                  </a:lnTo>
                  <a:lnTo>
                    <a:pt x="1617525" y="1939759"/>
                  </a:lnTo>
                  <a:lnTo>
                    <a:pt x="1624530" y="1944484"/>
                  </a:lnTo>
                  <a:lnTo>
                    <a:pt x="1632513" y="1944484"/>
                  </a:lnTo>
                  <a:lnTo>
                    <a:pt x="1637237" y="1946764"/>
                  </a:lnTo>
                  <a:lnTo>
                    <a:pt x="1639518" y="1945298"/>
                  </a:lnTo>
                  <a:lnTo>
                    <a:pt x="1646523" y="1947905"/>
                  </a:lnTo>
                  <a:lnTo>
                    <a:pt x="1647826" y="1950674"/>
                  </a:lnTo>
                  <a:lnTo>
                    <a:pt x="1656460" y="1952140"/>
                  </a:lnTo>
                  <a:lnTo>
                    <a:pt x="1658089" y="1949697"/>
                  </a:lnTo>
                  <a:lnTo>
                    <a:pt x="1665420" y="1944484"/>
                  </a:lnTo>
                  <a:lnTo>
                    <a:pt x="1666235" y="1948719"/>
                  </a:lnTo>
                  <a:lnTo>
                    <a:pt x="1664932" y="1950674"/>
                  </a:lnTo>
                  <a:lnTo>
                    <a:pt x="1671122" y="1951652"/>
                  </a:lnTo>
                  <a:lnTo>
                    <a:pt x="1679756" y="1956050"/>
                  </a:lnTo>
                  <a:lnTo>
                    <a:pt x="1679756" y="1958657"/>
                  </a:lnTo>
                  <a:cubicBezTo>
                    <a:pt x="1679756" y="1958657"/>
                    <a:pt x="1676498" y="1959634"/>
                    <a:pt x="1676498" y="1959634"/>
                  </a:cubicBezTo>
                  <a:lnTo>
                    <a:pt x="1674217" y="1960123"/>
                  </a:lnTo>
                  <a:lnTo>
                    <a:pt x="1678942" y="1962892"/>
                  </a:lnTo>
                  <a:lnTo>
                    <a:pt x="1683992" y="1962567"/>
                  </a:lnTo>
                  <a:lnTo>
                    <a:pt x="1686436" y="1965336"/>
                  </a:lnTo>
                  <a:lnTo>
                    <a:pt x="1682363" y="1967128"/>
                  </a:lnTo>
                  <a:lnTo>
                    <a:pt x="1679268" y="1965825"/>
                  </a:lnTo>
                  <a:lnTo>
                    <a:pt x="1674543" y="1966313"/>
                  </a:lnTo>
                  <a:lnTo>
                    <a:pt x="1667212" y="1968268"/>
                  </a:lnTo>
                  <a:lnTo>
                    <a:pt x="1655646" y="1974785"/>
                  </a:lnTo>
                  <a:lnTo>
                    <a:pt x="1651084" y="1974785"/>
                  </a:lnTo>
                  <a:cubicBezTo>
                    <a:pt x="1651084" y="1974785"/>
                    <a:pt x="1642287" y="1977391"/>
                    <a:pt x="1642287" y="1977391"/>
                  </a:cubicBezTo>
                  <a:lnTo>
                    <a:pt x="1634305" y="1979183"/>
                  </a:lnTo>
                  <a:lnTo>
                    <a:pt x="1626322" y="1983582"/>
                  </a:lnTo>
                  <a:lnTo>
                    <a:pt x="1622249" y="1983582"/>
                  </a:lnTo>
                  <a:lnTo>
                    <a:pt x="1622738" y="1986025"/>
                  </a:lnTo>
                  <a:lnTo>
                    <a:pt x="1615896" y="1985211"/>
                  </a:lnTo>
                  <a:lnTo>
                    <a:pt x="1613615" y="1979835"/>
                  </a:lnTo>
                  <a:lnTo>
                    <a:pt x="1611171" y="1979509"/>
                  </a:lnTo>
                  <a:lnTo>
                    <a:pt x="1609379" y="1982441"/>
                  </a:lnTo>
                  <a:lnTo>
                    <a:pt x="1606447" y="1982116"/>
                  </a:lnTo>
                  <a:lnTo>
                    <a:pt x="1602537" y="1987980"/>
                  </a:lnTo>
                  <a:lnTo>
                    <a:pt x="1604329" y="1990587"/>
                  </a:lnTo>
                  <a:lnTo>
                    <a:pt x="1596510" y="1996777"/>
                  </a:lnTo>
                  <a:lnTo>
                    <a:pt x="1589668" y="2005737"/>
                  </a:lnTo>
                  <a:lnTo>
                    <a:pt x="1584617" y="2006715"/>
                  </a:lnTo>
                  <a:lnTo>
                    <a:pt x="1578916" y="2011113"/>
                  </a:lnTo>
                  <a:lnTo>
                    <a:pt x="1575983" y="2010788"/>
                  </a:lnTo>
                  <a:lnTo>
                    <a:pt x="1574028" y="2012091"/>
                  </a:lnTo>
                  <a:lnTo>
                    <a:pt x="1573539" y="2016652"/>
                  </a:lnTo>
                  <a:lnTo>
                    <a:pt x="1571259" y="2018607"/>
                  </a:lnTo>
                  <a:lnTo>
                    <a:pt x="1568652" y="2016164"/>
                  </a:lnTo>
                  <a:lnTo>
                    <a:pt x="1565883" y="2018118"/>
                  </a:lnTo>
                  <a:lnTo>
                    <a:pt x="1561810" y="2015186"/>
                  </a:lnTo>
                  <a:lnTo>
                    <a:pt x="1561321" y="2009321"/>
                  </a:lnTo>
                  <a:lnTo>
                    <a:pt x="1558715" y="2007692"/>
                  </a:lnTo>
                  <a:lnTo>
                    <a:pt x="1556108" y="2009321"/>
                  </a:lnTo>
                  <a:lnTo>
                    <a:pt x="1555294" y="2004108"/>
                  </a:lnTo>
                  <a:lnTo>
                    <a:pt x="1553665" y="1999384"/>
                  </a:lnTo>
                  <a:lnTo>
                    <a:pt x="1553990" y="1993519"/>
                  </a:lnTo>
                  <a:lnTo>
                    <a:pt x="1557737" y="1985537"/>
                  </a:lnTo>
                  <a:lnTo>
                    <a:pt x="1563928" y="1980487"/>
                  </a:lnTo>
                  <a:lnTo>
                    <a:pt x="1564905" y="1976414"/>
                  </a:lnTo>
                  <a:lnTo>
                    <a:pt x="1574517" y="1971038"/>
                  </a:lnTo>
                  <a:lnTo>
                    <a:pt x="1585432" y="1968268"/>
                  </a:lnTo>
                  <a:lnTo>
                    <a:pt x="1593903" y="1962404"/>
                  </a:lnTo>
                  <a:lnTo>
                    <a:pt x="1602049" y="1960449"/>
                  </a:lnTo>
                  <a:lnTo>
                    <a:pt x="1605307" y="1961752"/>
                  </a:lnTo>
                  <a:lnTo>
                    <a:pt x="1606284" y="1966313"/>
                  </a:lnTo>
                  <a:lnTo>
                    <a:pt x="1609379" y="1968757"/>
                  </a:lnTo>
                  <a:lnTo>
                    <a:pt x="1608891" y="1966313"/>
                  </a:lnTo>
                  <a:lnTo>
                    <a:pt x="1609705" y="1963381"/>
                  </a:lnTo>
                  <a:lnTo>
                    <a:pt x="1614755" y="1962404"/>
                  </a:lnTo>
                  <a:lnTo>
                    <a:pt x="1621598" y="1961426"/>
                  </a:lnTo>
                  <a:lnTo>
                    <a:pt x="1627300" y="1958657"/>
                  </a:lnTo>
                  <a:lnTo>
                    <a:pt x="1619643" y="1959145"/>
                  </a:lnTo>
                  <a:lnTo>
                    <a:pt x="1608891" y="1958168"/>
                  </a:lnTo>
                  <a:lnTo>
                    <a:pt x="1605144" y="1955724"/>
                  </a:lnTo>
                  <a:lnTo>
                    <a:pt x="1600419" y="1955724"/>
                  </a:lnTo>
                  <a:lnTo>
                    <a:pt x="1597161" y="1959960"/>
                  </a:lnTo>
                  <a:lnTo>
                    <a:pt x="1591297" y="1958331"/>
                  </a:lnTo>
                  <a:lnTo>
                    <a:pt x="1596510" y="1951814"/>
                  </a:lnTo>
                  <a:lnTo>
                    <a:pt x="1601560" y="1950674"/>
                  </a:lnTo>
                  <a:lnTo>
                    <a:pt x="1606936" y="1945135"/>
                  </a:lnTo>
                  <a:lnTo>
                    <a:pt x="1606936" y="1942366"/>
                  </a:lnTo>
                  <a:cubicBezTo>
                    <a:pt x="1606936" y="1942366"/>
                    <a:pt x="1603841" y="1944158"/>
                    <a:pt x="1603841" y="1944158"/>
                  </a:cubicBezTo>
                  <a:lnTo>
                    <a:pt x="1603352" y="1941225"/>
                  </a:lnTo>
                  <a:lnTo>
                    <a:pt x="1597813" y="1949045"/>
                  </a:lnTo>
                  <a:lnTo>
                    <a:pt x="1593577" y="1950185"/>
                  </a:lnTo>
                  <a:lnTo>
                    <a:pt x="1588201" y="1955724"/>
                  </a:lnTo>
                  <a:lnTo>
                    <a:pt x="1581685" y="1956213"/>
                  </a:lnTo>
                  <a:lnTo>
                    <a:pt x="1579893" y="1959308"/>
                  </a:lnTo>
                  <a:lnTo>
                    <a:pt x="1568489" y="1962241"/>
                  </a:lnTo>
                  <a:lnTo>
                    <a:pt x="1566535" y="1960937"/>
                  </a:lnTo>
                  <a:lnTo>
                    <a:pt x="1567675" y="1958331"/>
                  </a:lnTo>
                  <a:lnTo>
                    <a:pt x="1566046" y="1958331"/>
                  </a:lnTo>
                  <a:cubicBezTo>
                    <a:pt x="1566046" y="1958331"/>
                    <a:pt x="1569141" y="1952955"/>
                    <a:pt x="1569141" y="1952955"/>
                  </a:cubicBezTo>
                  <a:lnTo>
                    <a:pt x="1564743" y="1957679"/>
                  </a:lnTo>
                  <a:lnTo>
                    <a:pt x="1562136" y="1962404"/>
                  </a:lnTo>
                  <a:lnTo>
                    <a:pt x="1556108" y="1963870"/>
                  </a:lnTo>
                  <a:lnTo>
                    <a:pt x="1552198" y="1962078"/>
                  </a:lnTo>
                  <a:lnTo>
                    <a:pt x="1549592" y="1965336"/>
                  </a:lnTo>
                  <a:lnTo>
                    <a:pt x="1546660" y="1964684"/>
                  </a:lnTo>
                  <a:lnTo>
                    <a:pt x="1545519" y="1960937"/>
                  </a:lnTo>
                  <a:lnTo>
                    <a:pt x="1539817" y="1961589"/>
                  </a:lnTo>
                  <a:lnTo>
                    <a:pt x="1532323" y="1959960"/>
                  </a:lnTo>
                  <a:lnTo>
                    <a:pt x="1531998" y="1959960"/>
                  </a:lnTo>
                  <a:cubicBezTo>
                    <a:pt x="1531998" y="1959960"/>
                    <a:pt x="1530857" y="1958168"/>
                    <a:pt x="1530857" y="1958168"/>
                  </a:cubicBezTo>
                  <a:lnTo>
                    <a:pt x="1532161" y="1955887"/>
                  </a:lnTo>
                  <a:lnTo>
                    <a:pt x="1531672" y="1953444"/>
                  </a:lnTo>
                  <a:lnTo>
                    <a:pt x="1532161" y="1950837"/>
                  </a:lnTo>
                  <a:lnTo>
                    <a:pt x="1532161" y="1946601"/>
                  </a:lnTo>
                  <a:cubicBezTo>
                    <a:pt x="1532161" y="1946601"/>
                    <a:pt x="1530206" y="1943832"/>
                    <a:pt x="1530206" y="1943832"/>
                  </a:cubicBezTo>
                  <a:lnTo>
                    <a:pt x="1528577" y="1940900"/>
                  </a:lnTo>
                  <a:lnTo>
                    <a:pt x="1526296" y="1940411"/>
                  </a:lnTo>
                  <a:lnTo>
                    <a:pt x="1527599" y="1936664"/>
                  </a:lnTo>
                  <a:lnTo>
                    <a:pt x="1533138" y="1904408"/>
                  </a:lnTo>
                  <a:lnTo>
                    <a:pt x="1532812" y="1896100"/>
                  </a:lnTo>
                  <a:lnTo>
                    <a:pt x="1522875" y="1886488"/>
                  </a:lnTo>
                  <a:lnTo>
                    <a:pt x="1520594" y="1888443"/>
                  </a:lnTo>
                  <a:lnTo>
                    <a:pt x="1513589" y="1886651"/>
                  </a:lnTo>
                  <a:lnTo>
                    <a:pt x="1508213" y="1888117"/>
                  </a:lnTo>
                  <a:lnTo>
                    <a:pt x="1504629" y="1884696"/>
                  </a:lnTo>
                  <a:lnTo>
                    <a:pt x="1501534" y="1882578"/>
                  </a:lnTo>
                  <a:lnTo>
                    <a:pt x="1499904" y="1883067"/>
                  </a:lnTo>
                  <a:lnTo>
                    <a:pt x="1495506" y="1887302"/>
                  </a:lnTo>
                  <a:lnTo>
                    <a:pt x="1493551" y="1891375"/>
                  </a:lnTo>
                  <a:lnTo>
                    <a:pt x="1484428" y="1901476"/>
                  </a:lnTo>
                  <a:lnTo>
                    <a:pt x="1480030" y="1907177"/>
                  </a:lnTo>
                  <a:lnTo>
                    <a:pt x="1480355" y="1911576"/>
                  </a:lnTo>
                  <a:lnTo>
                    <a:pt x="1473839" y="1914997"/>
                  </a:lnTo>
                  <a:lnTo>
                    <a:pt x="1473025" y="1920699"/>
                  </a:lnTo>
                  <a:lnTo>
                    <a:pt x="1470744" y="1926401"/>
                  </a:lnTo>
                  <a:lnTo>
                    <a:pt x="1464227" y="1934383"/>
                  </a:lnTo>
                  <a:lnTo>
                    <a:pt x="1460969" y="1935524"/>
                  </a:lnTo>
                  <a:lnTo>
                    <a:pt x="1452824" y="1944321"/>
                  </a:lnTo>
                  <a:lnTo>
                    <a:pt x="1451520" y="1948068"/>
                  </a:lnTo>
                  <a:lnTo>
                    <a:pt x="1448588" y="1950022"/>
                  </a:lnTo>
                  <a:lnTo>
                    <a:pt x="1444027" y="1948882"/>
                  </a:lnTo>
                  <a:lnTo>
                    <a:pt x="1440769" y="1948882"/>
                  </a:lnTo>
                  <a:cubicBezTo>
                    <a:pt x="1440769" y="1948882"/>
                    <a:pt x="1438488" y="1950837"/>
                    <a:pt x="1438488" y="1950837"/>
                  </a:cubicBezTo>
                  <a:lnTo>
                    <a:pt x="1436370" y="1951326"/>
                  </a:lnTo>
                  <a:lnTo>
                    <a:pt x="1430668" y="1956702"/>
                  </a:lnTo>
                  <a:lnTo>
                    <a:pt x="1356056" y="1955398"/>
                  </a:lnTo>
                  <a:lnTo>
                    <a:pt x="1347096" y="1956702"/>
                  </a:lnTo>
                  <a:lnTo>
                    <a:pt x="1342697" y="1960937"/>
                  </a:lnTo>
                  <a:lnTo>
                    <a:pt x="1336344" y="1963544"/>
                  </a:lnTo>
                  <a:lnTo>
                    <a:pt x="1331294" y="1967617"/>
                  </a:lnTo>
                  <a:lnTo>
                    <a:pt x="1319890" y="1978369"/>
                  </a:lnTo>
                  <a:lnTo>
                    <a:pt x="1312885" y="1979672"/>
                  </a:lnTo>
                  <a:lnTo>
                    <a:pt x="1308161" y="1983093"/>
                  </a:lnTo>
                  <a:lnTo>
                    <a:pt x="1286819" y="1999058"/>
                  </a:lnTo>
                  <a:lnTo>
                    <a:pt x="1238598" y="2013068"/>
                  </a:lnTo>
                  <a:lnTo>
                    <a:pt x="1236480" y="2025612"/>
                  </a:lnTo>
                  <a:lnTo>
                    <a:pt x="1225403" y="2029196"/>
                  </a:lnTo>
                  <a:lnTo>
                    <a:pt x="1137595" y="2052818"/>
                  </a:lnTo>
                  <a:lnTo>
                    <a:pt x="1133196" y="2045161"/>
                  </a:lnTo>
                  <a:lnTo>
                    <a:pt x="1138246" y="2038971"/>
                  </a:lnTo>
                  <a:lnTo>
                    <a:pt x="1148021" y="2034247"/>
                  </a:lnTo>
                  <a:lnTo>
                    <a:pt x="1151931" y="2028871"/>
                  </a:lnTo>
                  <a:lnTo>
                    <a:pt x="1154700" y="2023332"/>
                  </a:lnTo>
                  <a:lnTo>
                    <a:pt x="1157307" y="2017141"/>
                  </a:lnTo>
                  <a:lnTo>
                    <a:pt x="1159424" y="1982930"/>
                  </a:lnTo>
                  <a:lnTo>
                    <a:pt x="1142808" y="1904571"/>
                  </a:lnTo>
                  <a:lnTo>
                    <a:pt x="1127169" y="1892190"/>
                  </a:lnTo>
                  <a:lnTo>
                    <a:pt x="1120489" y="1884044"/>
                  </a:lnTo>
                  <a:lnTo>
                    <a:pt x="1018345" y="1836149"/>
                  </a:lnTo>
                  <a:lnTo>
                    <a:pt x="1014435" y="1833380"/>
                  </a:lnTo>
                  <a:lnTo>
                    <a:pt x="1008408" y="1832076"/>
                  </a:lnTo>
                  <a:lnTo>
                    <a:pt x="1005801" y="1829633"/>
                  </a:lnTo>
                  <a:lnTo>
                    <a:pt x="993746" y="1828818"/>
                  </a:lnTo>
                  <a:lnTo>
                    <a:pt x="991791" y="1824582"/>
                  </a:lnTo>
                  <a:lnTo>
                    <a:pt x="989184" y="1822139"/>
                  </a:lnTo>
                  <a:lnTo>
                    <a:pt x="985112" y="1824745"/>
                  </a:lnTo>
                  <a:lnTo>
                    <a:pt x="976803" y="1824745"/>
                  </a:lnTo>
                  <a:cubicBezTo>
                    <a:pt x="976803" y="1824745"/>
                    <a:pt x="972893" y="1823116"/>
                    <a:pt x="972893" y="1823116"/>
                  </a:cubicBezTo>
                  <a:lnTo>
                    <a:pt x="969309" y="1819206"/>
                  </a:lnTo>
                  <a:lnTo>
                    <a:pt x="964259" y="1817740"/>
                  </a:lnTo>
                  <a:lnTo>
                    <a:pt x="955462" y="1814971"/>
                  </a:lnTo>
                  <a:lnTo>
                    <a:pt x="952856" y="1809269"/>
                  </a:lnTo>
                  <a:lnTo>
                    <a:pt x="949597" y="1809269"/>
                  </a:lnTo>
                  <a:lnTo>
                    <a:pt x="943570" y="1804545"/>
                  </a:lnTo>
                  <a:lnTo>
                    <a:pt x="938845" y="1805033"/>
                  </a:lnTo>
                  <a:lnTo>
                    <a:pt x="934936" y="1803730"/>
                  </a:lnTo>
                  <a:lnTo>
                    <a:pt x="930211" y="1805033"/>
                  </a:lnTo>
                  <a:lnTo>
                    <a:pt x="928256" y="1805522"/>
                  </a:lnTo>
                  <a:lnTo>
                    <a:pt x="925813" y="1802264"/>
                  </a:lnTo>
                  <a:lnTo>
                    <a:pt x="920437" y="1800798"/>
                  </a:lnTo>
                  <a:lnTo>
                    <a:pt x="919622" y="1799494"/>
                  </a:lnTo>
                  <a:lnTo>
                    <a:pt x="914409" y="1797702"/>
                  </a:lnTo>
                  <a:lnTo>
                    <a:pt x="913432" y="1796888"/>
                  </a:lnTo>
                  <a:lnTo>
                    <a:pt x="910011" y="1793304"/>
                  </a:lnTo>
                  <a:lnTo>
                    <a:pt x="909522" y="1791349"/>
                  </a:lnTo>
                  <a:lnTo>
                    <a:pt x="903820" y="1786625"/>
                  </a:lnTo>
                  <a:lnTo>
                    <a:pt x="897955" y="1786625"/>
                  </a:lnTo>
                  <a:cubicBezTo>
                    <a:pt x="897955" y="1786625"/>
                    <a:pt x="893068" y="1786299"/>
                    <a:pt x="893068" y="1786299"/>
                  </a:cubicBezTo>
                  <a:lnTo>
                    <a:pt x="228887" y="1719995"/>
                  </a:lnTo>
                  <a:close/>
                </a:path>
              </a:pathLst>
            </a:custGeom>
            <a:solidFill>
              <a:schemeClr val="bg2"/>
            </a:solidFill>
            <a:ln w="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50" name="Forma livre: Forma 49">
              <a:extLst>
                <a:ext uri="{FF2B5EF4-FFF2-40B4-BE49-F238E27FC236}">
                  <a16:creationId xmlns:a16="http://schemas.microsoft.com/office/drawing/2014/main" id="{A7A4F155-03D4-A1BE-6C5E-5F2BC394B497}"/>
                </a:ext>
              </a:extLst>
            </p:cNvPr>
            <p:cNvSpPr/>
            <p:nvPr/>
          </p:nvSpPr>
          <p:spPr>
            <a:xfrm>
              <a:off x="1632154" y="2019994"/>
              <a:ext cx="1421719" cy="1082661"/>
            </a:xfrm>
            <a:custGeom>
              <a:avLst/>
              <a:gdLst>
                <a:gd name="connsiteX0" fmla="*/ 1239087 w 1375767"/>
                <a:gd name="connsiteY0" fmla="*/ 1004009 h 1047668"/>
                <a:gd name="connsiteX1" fmla="*/ 1239413 w 1375767"/>
                <a:gd name="connsiteY1" fmla="*/ 1002380 h 1047668"/>
                <a:gd name="connsiteX2" fmla="*/ 1239413 w 1375767"/>
                <a:gd name="connsiteY2" fmla="*/ 998470 h 1047668"/>
                <a:gd name="connsiteX3" fmla="*/ 1241205 w 1375767"/>
                <a:gd name="connsiteY3" fmla="*/ 997656 h 1047668"/>
                <a:gd name="connsiteX4" fmla="*/ 1241205 w 1375767"/>
                <a:gd name="connsiteY4" fmla="*/ 995212 h 1047668"/>
                <a:gd name="connsiteX5" fmla="*/ 1242182 w 1375767"/>
                <a:gd name="connsiteY5" fmla="*/ 993257 h 1047668"/>
                <a:gd name="connsiteX6" fmla="*/ 1241042 w 1375767"/>
                <a:gd name="connsiteY6" fmla="*/ 990488 h 1047668"/>
                <a:gd name="connsiteX7" fmla="*/ 1238435 w 1375767"/>
                <a:gd name="connsiteY7" fmla="*/ 989184 h 1047668"/>
                <a:gd name="connsiteX8" fmla="*/ 1238110 w 1375767"/>
                <a:gd name="connsiteY8" fmla="*/ 984134 h 1047668"/>
                <a:gd name="connsiteX9" fmla="*/ 1235503 w 1375767"/>
                <a:gd name="connsiteY9" fmla="*/ 979084 h 1047668"/>
                <a:gd name="connsiteX10" fmla="*/ 1230127 w 1375767"/>
                <a:gd name="connsiteY10" fmla="*/ 975337 h 1047668"/>
                <a:gd name="connsiteX11" fmla="*/ 1226869 w 1375767"/>
                <a:gd name="connsiteY11" fmla="*/ 972893 h 1047668"/>
                <a:gd name="connsiteX12" fmla="*/ 1225729 w 1375767"/>
                <a:gd name="connsiteY12" fmla="*/ 969472 h 1047668"/>
                <a:gd name="connsiteX13" fmla="*/ 1221004 w 1375767"/>
                <a:gd name="connsiteY13" fmla="*/ 962956 h 1047668"/>
                <a:gd name="connsiteX14" fmla="*/ 1217420 w 1375767"/>
                <a:gd name="connsiteY14" fmla="*/ 961490 h 1047668"/>
                <a:gd name="connsiteX15" fmla="*/ 1213022 w 1375767"/>
                <a:gd name="connsiteY15" fmla="*/ 961490 h 1047668"/>
                <a:gd name="connsiteX16" fmla="*/ 1213022 w 1375767"/>
                <a:gd name="connsiteY16" fmla="*/ 959535 h 1047668"/>
                <a:gd name="connsiteX17" fmla="*/ 1214651 w 1375767"/>
                <a:gd name="connsiteY17" fmla="*/ 957091 h 1047668"/>
                <a:gd name="connsiteX18" fmla="*/ 1213999 w 1375767"/>
                <a:gd name="connsiteY18" fmla="*/ 953344 h 1047668"/>
                <a:gd name="connsiteX19" fmla="*/ 1211718 w 1375767"/>
                <a:gd name="connsiteY19" fmla="*/ 951227 h 1047668"/>
                <a:gd name="connsiteX20" fmla="*/ 1210578 w 1375767"/>
                <a:gd name="connsiteY20" fmla="*/ 948294 h 1047668"/>
                <a:gd name="connsiteX21" fmla="*/ 1213510 w 1375767"/>
                <a:gd name="connsiteY21" fmla="*/ 945851 h 1047668"/>
                <a:gd name="connsiteX22" fmla="*/ 1215302 w 1375767"/>
                <a:gd name="connsiteY22" fmla="*/ 945199 h 1047668"/>
                <a:gd name="connsiteX23" fmla="*/ 1214651 w 1375767"/>
                <a:gd name="connsiteY23" fmla="*/ 942918 h 1047668"/>
                <a:gd name="connsiteX24" fmla="*/ 1211718 w 1375767"/>
                <a:gd name="connsiteY24" fmla="*/ 940963 h 1047668"/>
                <a:gd name="connsiteX25" fmla="*/ 1209112 w 1375767"/>
                <a:gd name="connsiteY25" fmla="*/ 940963 h 1047668"/>
                <a:gd name="connsiteX26" fmla="*/ 1209112 w 1375767"/>
                <a:gd name="connsiteY26" fmla="*/ 937868 h 1047668"/>
                <a:gd name="connsiteX27" fmla="*/ 1213347 w 1375767"/>
                <a:gd name="connsiteY27" fmla="*/ 934936 h 1047668"/>
                <a:gd name="connsiteX28" fmla="*/ 1212370 w 1375767"/>
                <a:gd name="connsiteY28" fmla="*/ 916201 h 1047668"/>
                <a:gd name="connsiteX29" fmla="*/ 1212370 w 1375767"/>
                <a:gd name="connsiteY29" fmla="*/ 898118 h 1047668"/>
                <a:gd name="connsiteX30" fmla="*/ 1214325 w 1375767"/>
                <a:gd name="connsiteY30" fmla="*/ 883456 h 1047668"/>
                <a:gd name="connsiteX31" fmla="*/ 1212859 w 1375767"/>
                <a:gd name="connsiteY31" fmla="*/ 879058 h 1047668"/>
                <a:gd name="connsiteX32" fmla="*/ 1212370 w 1375767"/>
                <a:gd name="connsiteY32" fmla="*/ 874496 h 1047668"/>
                <a:gd name="connsiteX33" fmla="*/ 1214814 w 1375767"/>
                <a:gd name="connsiteY33" fmla="*/ 869772 h 1047668"/>
                <a:gd name="connsiteX34" fmla="*/ 1213999 w 1375767"/>
                <a:gd name="connsiteY34" fmla="*/ 865211 h 1047668"/>
                <a:gd name="connsiteX35" fmla="*/ 1211555 w 1375767"/>
                <a:gd name="connsiteY35" fmla="*/ 861138 h 1047668"/>
                <a:gd name="connsiteX36" fmla="*/ 1210578 w 1375767"/>
                <a:gd name="connsiteY36" fmla="*/ 851852 h 1047668"/>
                <a:gd name="connsiteX37" fmla="*/ 1204876 w 1375767"/>
                <a:gd name="connsiteY37" fmla="*/ 845336 h 1047668"/>
                <a:gd name="connsiteX38" fmla="*/ 1203084 w 1375767"/>
                <a:gd name="connsiteY38" fmla="*/ 835887 h 1047668"/>
                <a:gd name="connsiteX39" fmla="*/ 1204387 w 1375767"/>
                <a:gd name="connsiteY39" fmla="*/ 831488 h 1047668"/>
                <a:gd name="connsiteX40" fmla="*/ 1199011 w 1375767"/>
                <a:gd name="connsiteY40" fmla="*/ 816826 h 1047668"/>
                <a:gd name="connsiteX41" fmla="*/ 1200152 w 1375767"/>
                <a:gd name="connsiteY41" fmla="*/ 813242 h 1047668"/>
                <a:gd name="connsiteX42" fmla="*/ 1204062 w 1375767"/>
                <a:gd name="connsiteY42" fmla="*/ 806400 h 1047668"/>
                <a:gd name="connsiteX43" fmla="*/ 1202758 w 1375767"/>
                <a:gd name="connsiteY43" fmla="*/ 802490 h 1047668"/>
                <a:gd name="connsiteX44" fmla="*/ 1202758 w 1375767"/>
                <a:gd name="connsiteY44" fmla="*/ 797766 h 1047668"/>
                <a:gd name="connsiteX45" fmla="*/ 1197219 w 1375767"/>
                <a:gd name="connsiteY45" fmla="*/ 793530 h 1047668"/>
                <a:gd name="connsiteX46" fmla="*/ 1189400 w 1375767"/>
                <a:gd name="connsiteY46" fmla="*/ 794019 h 1047668"/>
                <a:gd name="connsiteX47" fmla="*/ 1180603 w 1375767"/>
                <a:gd name="connsiteY47" fmla="*/ 796626 h 1047668"/>
                <a:gd name="connsiteX48" fmla="*/ 1178648 w 1375767"/>
                <a:gd name="connsiteY48" fmla="*/ 797929 h 1047668"/>
                <a:gd name="connsiteX49" fmla="*/ 1169362 w 1375767"/>
                <a:gd name="connsiteY49" fmla="*/ 800861 h 1047668"/>
                <a:gd name="connsiteX50" fmla="*/ 1163660 w 1375767"/>
                <a:gd name="connsiteY50" fmla="*/ 806563 h 1047668"/>
                <a:gd name="connsiteX51" fmla="*/ 1156492 w 1375767"/>
                <a:gd name="connsiteY51" fmla="*/ 817315 h 1047668"/>
                <a:gd name="connsiteX52" fmla="*/ 1150464 w 1375767"/>
                <a:gd name="connsiteY52" fmla="*/ 820573 h 1047668"/>
                <a:gd name="connsiteX53" fmla="*/ 1141993 w 1375767"/>
                <a:gd name="connsiteY53" fmla="*/ 821714 h 1047668"/>
                <a:gd name="connsiteX54" fmla="*/ 1132219 w 1375767"/>
                <a:gd name="connsiteY54" fmla="*/ 823343 h 1047668"/>
                <a:gd name="connsiteX55" fmla="*/ 1130427 w 1375767"/>
                <a:gd name="connsiteY55" fmla="*/ 823669 h 1047668"/>
                <a:gd name="connsiteX56" fmla="*/ 1130427 w 1375767"/>
                <a:gd name="connsiteY56" fmla="*/ 819596 h 1047668"/>
                <a:gd name="connsiteX57" fmla="*/ 1135151 w 1375767"/>
                <a:gd name="connsiteY57" fmla="*/ 812754 h 1047668"/>
                <a:gd name="connsiteX58" fmla="*/ 1132544 w 1375767"/>
                <a:gd name="connsiteY58" fmla="*/ 806074 h 1047668"/>
                <a:gd name="connsiteX59" fmla="*/ 1125214 w 1375767"/>
                <a:gd name="connsiteY59" fmla="*/ 776751 h 1047668"/>
                <a:gd name="connsiteX60" fmla="*/ 1120652 w 1375767"/>
                <a:gd name="connsiteY60" fmla="*/ 763555 h 1047668"/>
                <a:gd name="connsiteX61" fmla="*/ 1118697 w 1375767"/>
                <a:gd name="connsiteY61" fmla="*/ 757365 h 1047668"/>
                <a:gd name="connsiteX62" fmla="*/ 1124073 w 1375767"/>
                <a:gd name="connsiteY62" fmla="*/ 746124 h 1047668"/>
                <a:gd name="connsiteX63" fmla="*/ 1111366 w 1375767"/>
                <a:gd name="connsiteY63" fmla="*/ 744495 h 1047668"/>
                <a:gd name="connsiteX64" fmla="*/ 1101592 w 1375767"/>
                <a:gd name="connsiteY64" fmla="*/ 749871 h 1047668"/>
                <a:gd name="connsiteX65" fmla="*/ 1096216 w 1375767"/>
                <a:gd name="connsiteY65" fmla="*/ 747101 h 1047668"/>
                <a:gd name="connsiteX66" fmla="*/ 1079436 w 1375767"/>
                <a:gd name="connsiteY66" fmla="*/ 747101 h 1047668"/>
                <a:gd name="connsiteX67" fmla="*/ 1375768 w 1375767"/>
                <a:gd name="connsiteY67" fmla="*/ 206243 h 1047668"/>
                <a:gd name="connsiteX68" fmla="*/ 1374953 w 1375767"/>
                <a:gd name="connsiteY68" fmla="*/ 203962 h 1047668"/>
                <a:gd name="connsiteX69" fmla="*/ 1369577 w 1375767"/>
                <a:gd name="connsiteY69" fmla="*/ 202333 h 1047668"/>
                <a:gd name="connsiteX70" fmla="*/ 1365505 w 1375767"/>
                <a:gd name="connsiteY70" fmla="*/ 203148 h 1047668"/>
                <a:gd name="connsiteX71" fmla="*/ 1362735 w 1375767"/>
                <a:gd name="connsiteY71" fmla="*/ 200052 h 1047668"/>
                <a:gd name="connsiteX72" fmla="*/ 1360943 w 1375767"/>
                <a:gd name="connsiteY72" fmla="*/ 190115 h 1047668"/>
                <a:gd name="connsiteX73" fmla="*/ 1358174 w 1375767"/>
                <a:gd name="connsiteY73" fmla="*/ 184739 h 1047668"/>
                <a:gd name="connsiteX74" fmla="*/ 1354915 w 1375767"/>
                <a:gd name="connsiteY74" fmla="*/ 182784 h 1047668"/>
                <a:gd name="connsiteX75" fmla="*/ 1353775 w 1375767"/>
                <a:gd name="connsiteY75" fmla="*/ 177245 h 1047668"/>
                <a:gd name="connsiteX76" fmla="*/ 1350517 w 1375767"/>
                <a:gd name="connsiteY76" fmla="*/ 170566 h 1047668"/>
                <a:gd name="connsiteX77" fmla="*/ 1348236 w 1375767"/>
                <a:gd name="connsiteY77" fmla="*/ 168285 h 1047668"/>
                <a:gd name="connsiteX78" fmla="*/ 1339276 w 1375767"/>
                <a:gd name="connsiteY78" fmla="*/ 167959 h 1047668"/>
                <a:gd name="connsiteX79" fmla="*/ 1337810 w 1375767"/>
                <a:gd name="connsiteY79" fmla="*/ 169426 h 1047668"/>
                <a:gd name="connsiteX80" fmla="*/ 1330479 w 1375767"/>
                <a:gd name="connsiteY80" fmla="*/ 168448 h 1047668"/>
                <a:gd name="connsiteX81" fmla="*/ 1323963 w 1375767"/>
                <a:gd name="connsiteY81" fmla="*/ 169914 h 1047668"/>
                <a:gd name="connsiteX82" fmla="*/ 1321030 w 1375767"/>
                <a:gd name="connsiteY82" fmla="*/ 167633 h 1047668"/>
                <a:gd name="connsiteX83" fmla="*/ 1319076 w 1375767"/>
                <a:gd name="connsiteY83" fmla="*/ 168448 h 1047668"/>
                <a:gd name="connsiteX84" fmla="*/ 1316795 w 1375767"/>
                <a:gd name="connsiteY84" fmla="*/ 167145 h 1047668"/>
                <a:gd name="connsiteX85" fmla="*/ 1315166 w 1375767"/>
                <a:gd name="connsiteY85" fmla="*/ 168611 h 1047668"/>
                <a:gd name="connsiteX86" fmla="*/ 1312233 w 1375767"/>
                <a:gd name="connsiteY86" fmla="*/ 168122 h 1047668"/>
                <a:gd name="connsiteX87" fmla="*/ 1311907 w 1375767"/>
                <a:gd name="connsiteY87" fmla="*/ 166819 h 1047668"/>
                <a:gd name="connsiteX88" fmla="*/ 1314351 w 1375767"/>
                <a:gd name="connsiteY88" fmla="*/ 166330 h 1047668"/>
                <a:gd name="connsiteX89" fmla="*/ 1314677 w 1375767"/>
                <a:gd name="connsiteY89" fmla="*/ 163887 h 1047668"/>
                <a:gd name="connsiteX90" fmla="*/ 1310278 w 1375767"/>
                <a:gd name="connsiteY90" fmla="*/ 160954 h 1047668"/>
                <a:gd name="connsiteX91" fmla="*/ 1307346 w 1375767"/>
                <a:gd name="connsiteY91" fmla="*/ 162583 h 1047668"/>
                <a:gd name="connsiteX92" fmla="*/ 1304088 w 1375767"/>
                <a:gd name="connsiteY92" fmla="*/ 161280 h 1047668"/>
                <a:gd name="connsiteX93" fmla="*/ 1304739 w 1375767"/>
                <a:gd name="connsiteY93" fmla="*/ 159651 h 1047668"/>
                <a:gd name="connsiteX94" fmla="*/ 1307020 w 1375767"/>
                <a:gd name="connsiteY94" fmla="*/ 158022 h 1047668"/>
                <a:gd name="connsiteX95" fmla="*/ 1305228 w 1375767"/>
                <a:gd name="connsiteY95" fmla="*/ 156067 h 1047668"/>
                <a:gd name="connsiteX96" fmla="*/ 1302296 w 1375767"/>
                <a:gd name="connsiteY96" fmla="*/ 156393 h 1047668"/>
                <a:gd name="connsiteX97" fmla="*/ 1298386 w 1375767"/>
                <a:gd name="connsiteY97" fmla="*/ 155741 h 1047668"/>
                <a:gd name="connsiteX98" fmla="*/ 1298712 w 1375767"/>
                <a:gd name="connsiteY98" fmla="*/ 153135 h 1047668"/>
                <a:gd name="connsiteX99" fmla="*/ 1294965 w 1375767"/>
                <a:gd name="connsiteY99" fmla="*/ 149388 h 1047668"/>
                <a:gd name="connsiteX100" fmla="*/ 1287471 w 1375767"/>
                <a:gd name="connsiteY100" fmla="*/ 143849 h 1047668"/>
                <a:gd name="connsiteX101" fmla="*/ 1285842 w 1375767"/>
                <a:gd name="connsiteY101" fmla="*/ 144337 h 1047668"/>
                <a:gd name="connsiteX102" fmla="*/ 1283887 w 1375767"/>
                <a:gd name="connsiteY102" fmla="*/ 142871 h 1047668"/>
                <a:gd name="connsiteX103" fmla="*/ 1281606 w 1375767"/>
                <a:gd name="connsiteY103" fmla="*/ 142871 h 1047668"/>
                <a:gd name="connsiteX104" fmla="*/ 1279163 w 1375767"/>
                <a:gd name="connsiteY104" fmla="*/ 145152 h 1047668"/>
                <a:gd name="connsiteX105" fmla="*/ 1279651 w 1375767"/>
                <a:gd name="connsiteY105" fmla="*/ 143360 h 1047668"/>
                <a:gd name="connsiteX106" fmla="*/ 1279000 w 1375767"/>
                <a:gd name="connsiteY106" fmla="*/ 141405 h 1047668"/>
                <a:gd name="connsiteX107" fmla="*/ 1275253 w 1375767"/>
                <a:gd name="connsiteY107" fmla="*/ 139450 h 1047668"/>
                <a:gd name="connsiteX108" fmla="*/ 1272321 w 1375767"/>
                <a:gd name="connsiteY108" fmla="*/ 144012 h 1047668"/>
                <a:gd name="connsiteX109" fmla="*/ 1269714 w 1375767"/>
                <a:gd name="connsiteY109" fmla="*/ 142220 h 1047668"/>
                <a:gd name="connsiteX110" fmla="*/ 1269714 w 1375767"/>
                <a:gd name="connsiteY110" fmla="*/ 139124 h 1047668"/>
                <a:gd name="connsiteX111" fmla="*/ 1271669 w 1375767"/>
                <a:gd name="connsiteY111" fmla="*/ 137821 h 1047668"/>
                <a:gd name="connsiteX112" fmla="*/ 1270203 w 1375767"/>
                <a:gd name="connsiteY112" fmla="*/ 135540 h 1047668"/>
                <a:gd name="connsiteX113" fmla="*/ 1266130 w 1375767"/>
                <a:gd name="connsiteY113" fmla="*/ 133911 h 1047668"/>
                <a:gd name="connsiteX114" fmla="*/ 1262383 w 1375767"/>
                <a:gd name="connsiteY114" fmla="*/ 134889 h 1047668"/>
                <a:gd name="connsiteX115" fmla="*/ 1263686 w 1375767"/>
                <a:gd name="connsiteY115" fmla="*/ 132608 h 1047668"/>
                <a:gd name="connsiteX116" fmla="*/ 1263360 w 1375767"/>
                <a:gd name="connsiteY116" fmla="*/ 130816 h 1047668"/>
                <a:gd name="connsiteX117" fmla="*/ 1259125 w 1375767"/>
                <a:gd name="connsiteY117" fmla="*/ 128047 h 1047668"/>
                <a:gd name="connsiteX118" fmla="*/ 1255704 w 1375767"/>
                <a:gd name="connsiteY118" fmla="*/ 123648 h 1047668"/>
                <a:gd name="connsiteX119" fmla="*/ 1256355 w 1375767"/>
                <a:gd name="connsiteY119" fmla="*/ 122182 h 1047668"/>
                <a:gd name="connsiteX120" fmla="*/ 1254889 w 1375767"/>
                <a:gd name="connsiteY120" fmla="*/ 120390 h 1047668"/>
                <a:gd name="connsiteX121" fmla="*/ 1251631 w 1375767"/>
                <a:gd name="connsiteY121" fmla="*/ 119412 h 1047668"/>
                <a:gd name="connsiteX122" fmla="*/ 1249350 w 1375767"/>
                <a:gd name="connsiteY122" fmla="*/ 121204 h 1047668"/>
                <a:gd name="connsiteX123" fmla="*/ 1239413 w 1375767"/>
                <a:gd name="connsiteY123" fmla="*/ 130490 h 1047668"/>
                <a:gd name="connsiteX124" fmla="*/ 1228661 w 1375767"/>
                <a:gd name="connsiteY124" fmla="*/ 135866 h 1047668"/>
                <a:gd name="connsiteX125" fmla="*/ 1238110 w 1375767"/>
                <a:gd name="connsiteY125" fmla="*/ 129350 h 1047668"/>
                <a:gd name="connsiteX126" fmla="*/ 1243811 w 1375767"/>
                <a:gd name="connsiteY126" fmla="*/ 120716 h 1047668"/>
                <a:gd name="connsiteX127" fmla="*/ 1249513 w 1375767"/>
                <a:gd name="connsiteY127" fmla="*/ 115014 h 1047668"/>
                <a:gd name="connsiteX128" fmla="*/ 1250817 w 1375767"/>
                <a:gd name="connsiteY128" fmla="*/ 108823 h 1047668"/>
                <a:gd name="connsiteX129" fmla="*/ 1247558 w 1375767"/>
                <a:gd name="connsiteY129" fmla="*/ 106543 h 1047668"/>
                <a:gd name="connsiteX130" fmla="*/ 1240716 w 1375767"/>
                <a:gd name="connsiteY130" fmla="*/ 101818 h 1047668"/>
                <a:gd name="connsiteX131" fmla="*/ 1234526 w 1375767"/>
                <a:gd name="connsiteY131" fmla="*/ 101818 h 1047668"/>
                <a:gd name="connsiteX132" fmla="*/ 1228009 w 1375767"/>
                <a:gd name="connsiteY132" fmla="*/ 104425 h 1047668"/>
                <a:gd name="connsiteX133" fmla="*/ 1223937 w 1375767"/>
                <a:gd name="connsiteY133" fmla="*/ 104425 h 1047668"/>
                <a:gd name="connsiteX134" fmla="*/ 1221982 w 1375767"/>
                <a:gd name="connsiteY134" fmla="*/ 105891 h 1047668"/>
                <a:gd name="connsiteX135" fmla="*/ 1214814 w 1375767"/>
                <a:gd name="connsiteY135" fmla="*/ 107031 h 1047668"/>
                <a:gd name="connsiteX136" fmla="*/ 1207971 w 1375767"/>
                <a:gd name="connsiteY136" fmla="*/ 114525 h 1047668"/>
                <a:gd name="connsiteX137" fmla="*/ 1202107 w 1375767"/>
                <a:gd name="connsiteY137" fmla="*/ 118924 h 1047668"/>
                <a:gd name="connsiteX138" fmla="*/ 1206831 w 1375767"/>
                <a:gd name="connsiteY138" fmla="*/ 113548 h 1047668"/>
                <a:gd name="connsiteX139" fmla="*/ 1206179 w 1375767"/>
                <a:gd name="connsiteY139" fmla="*/ 106705 h 1047668"/>
                <a:gd name="connsiteX140" fmla="*/ 1207157 w 1375767"/>
                <a:gd name="connsiteY140" fmla="*/ 100841 h 1047668"/>
                <a:gd name="connsiteX141" fmla="*/ 1207157 w 1375767"/>
                <a:gd name="connsiteY141" fmla="*/ 96605 h 1047668"/>
                <a:gd name="connsiteX142" fmla="*/ 1198848 w 1375767"/>
                <a:gd name="connsiteY142" fmla="*/ 91718 h 1047668"/>
                <a:gd name="connsiteX143" fmla="*/ 1198848 w 1375767"/>
                <a:gd name="connsiteY143" fmla="*/ 89600 h 1047668"/>
                <a:gd name="connsiteX144" fmla="*/ 1203573 w 1375767"/>
                <a:gd name="connsiteY144" fmla="*/ 87808 h 1047668"/>
                <a:gd name="connsiteX145" fmla="*/ 1207646 w 1375767"/>
                <a:gd name="connsiteY145" fmla="*/ 87808 h 1047668"/>
                <a:gd name="connsiteX146" fmla="*/ 1207320 w 1375767"/>
                <a:gd name="connsiteY146" fmla="*/ 85527 h 1047668"/>
                <a:gd name="connsiteX147" fmla="*/ 1194939 w 1375767"/>
                <a:gd name="connsiteY147" fmla="*/ 78522 h 1047668"/>
                <a:gd name="connsiteX148" fmla="*/ 1193798 w 1375767"/>
                <a:gd name="connsiteY148" fmla="*/ 75427 h 1047668"/>
                <a:gd name="connsiteX149" fmla="*/ 1196405 w 1375767"/>
                <a:gd name="connsiteY149" fmla="*/ 71517 h 1047668"/>
                <a:gd name="connsiteX150" fmla="*/ 1203247 w 1375767"/>
                <a:gd name="connsiteY150" fmla="*/ 68259 h 1047668"/>
                <a:gd name="connsiteX151" fmla="*/ 1206831 w 1375767"/>
                <a:gd name="connsiteY151" fmla="*/ 64349 h 1047668"/>
                <a:gd name="connsiteX152" fmla="*/ 1204225 w 1375767"/>
                <a:gd name="connsiteY152" fmla="*/ 61417 h 1047668"/>
                <a:gd name="connsiteX153" fmla="*/ 1201455 w 1375767"/>
                <a:gd name="connsiteY153" fmla="*/ 55878 h 1047668"/>
                <a:gd name="connsiteX154" fmla="*/ 1199174 w 1375767"/>
                <a:gd name="connsiteY154" fmla="*/ 55878 h 1047668"/>
                <a:gd name="connsiteX155" fmla="*/ 1196568 w 1375767"/>
                <a:gd name="connsiteY155" fmla="*/ 57018 h 1047668"/>
                <a:gd name="connsiteX156" fmla="*/ 1194613 w 1375767"/>
                <a:gd name="connsiteY156" fmla="*/ 53597 h 1047668"/>
                <a:gd name="connsiteX157" fmla="*/ 1190703 w 1375767"/>
                <a:gd name="connsiteY157" fmla="*/ 51642 h 1047668"/>
                <a:gd name="connsiteX158" fmla="*/ 1185816 w 1375767"/>
                <a:gd name="connsiteY158" fmla="*/ 52131 h 1047668"/>
                <a:gd name="connsiteX159" fmla="*/ 1179951 w 1375767"/>
                <a:gd name="connsiteY159" fmla="*/ 49687 h 1047668"/>
                <a:gd name="connsiteX160" fmla="*/ 1177019 w 1375767"/>
                <a:gd name="connsiteY160" fmla="*/ 48710 h 1047668"/>
                <a:gd name="connsiteX161" fmla="*/ 1173272 w 1375767"/>
                <a:gd name="connsiteY161" fmla="*/ 49850 h 1047668"/>
                <a:gd name="connsiteX162" fmla="*/ 1167570 w 1375767"/>
                <a:gd name="connsiteY162" fmla="*/ 49850 h 1047668"/>
                <a:gd name="connsiteX163" fmla="*/ 1164963 w 1375767"/>
                <a:gd name="connsiteY163" fmla="*/ 54086 h 1047668"/>
                <a:gd name="connsiteX164" fmla="*/ 1164963 w 1375767"/>
                <a:gd name="connsiteY164" fmla="*/ 56367 h 1047668"/>
                <a:gd name="connsiteX165" fmla="*/ 1161868 w 1375767"/>
                <a:gd name="connsiteY165" fmla="*/ 52131 h 1047668"/>
                <a:gd name="connsiteX166" fmla="*/ 1163660 w 1375767"/>
                <a:gd name="connsiteY166" fmla="*/ 47895 h 1047668"/>
                <a:gd name="connsiteX167" fmla="*/ 1165941 w 1375767"/>
                <a:gd name="connsiteY167" fmla="*/ 46429 h 1047668"/>
                <a:gd name="connsiteX168" fmla="*/ 1165615 w 1375767"/>
                <a:gd name="connsiteY168" fmla="*/ 42193 h 1047668"/>
                <a:gd name="connsiteX169" fmla="*/ 1167407 w 1375767"/>
                <a:gd name="connsiteY169" fmla="*/ 38609 h 1047668"/>
                <a:gd name="connsiteX170" fmla="*/ 1170014 w 1375767"/>
                <a:gd name="connsiteY170" fmla="*/ 37143 h 1047668"/>
                <a:gd name="connsiteX171" fmla="*/ 1170502 w 1375767"/>
                <a:gd name="connsiteY171" fmla="*/ 32419 h 1047668"/>
                <a:gd name="connsiteX172" fmla="*/ 1171968 w 1375767"/>
                <a:gd name="connsiteY172" fmla="*/ 28020 h 1047668"/>
                <a:gd name="connsiteX173" fmla="*/ 1170502 w 1375767"/>
                <a:gd name="connsiteY173" fmla="*/ 25088 h 1047668"/>
                <a:gd name="connsiteX174" fmla="*/ 1168873 w 1375767"/>
                <a:gd name="connsiteY174" fmla="*/ 25088 h 1047668"/>
                <a:gd name="connsiteX175" fmla="*/ 1162846 w 1375767"/>
                <a:gd name="connsiteY175" fmla="*/ 30627 h 1047668"/>
                <a:gd name="connsiteX176" fmla="*/ 1161542 w 1375767"/>
                <a:gd name="connsiteY176" fmla="*/ 35025 h 1047668"/>
                <a:gd name="connsiteX177" fmla="*/ 1160239 w 1375767"/>
                <a:gd name="connsiteY177" fmla="*/ 35025 h 1047668"/>
                <a:gd name="connsiteX178" fmla="*/ 1156655 w 1375767"/>
                <a:gd name="connsiteY178" fmla="*/ 32582 h 1047668"/>
                <a:gd name="connsiteX179" fmla="*/ 1151605 w 1375767"/>
                <a:gd name="connsiteY179" fmla="*/ 34537 h 1047668"/>
                <a:gd name="connsiteX180" fmla="*/ 1150627 w 1375767"/>
                <a:gd name="connsiteY180" fmla="*/ 37143 h 1047668"/>
                <a:gd name="connsiteX181" fmla="*/ 1151605 w 1375767"/>
                <a:gd name="connsiteY181" fmla="*/ 42193 h 1047668"/>
                <a:gd name="connsiteX182" fmla="*/ 1148347 w 1375767"/>
                <a:gd name="connsiteY182" fmla="*/ 45777 h 1047668"/>
                <a:gd name="connsiteX183" fmla="*/ 1145903 w 1375767"/>
                <a:gd name="connsiteY183" fmla="*/ 46103 h 1047668"/>
                <a:gd name="connsiteX184" fmla="*/ 1144600 w 1375767"/>
                <a:gd name="connsiteY184" fmla="*/ 44148 h 1047668"/>
                <a:gd name="connsiteX185" fmla="*/ 1141830 w 1375767"/>
                <a:gd name="connsiteY185" fmla="*/ 50502 h 1047668"/>
                <a:gd name="connsiteX186" fmla="*/ 1141830 w 1375767"/>
                <a:gd name="connsiteY186" fmla="*/ 55715 h 1047668"/>
                <a:gd name="connsiteX187" fmla="*/ 1139713 w 1375767"/>
                <a:gd name="connsiteY187" fmla="*/ 50502 h 1047668"/>
                <a:gd name="connsiteX188" fmla="*/ 1139713 w 1375767"/>
                <a:gd name="connsiteY188" fmla="*/ 45289 h 1047668"/>
                <a:gd name="connsiteX189" fmla="*/ 1142156 w 1375767"/>
                <a:gd name="connsiteY189" fmla="*/ 40890 h 1047668"/>
                <a:gd name="connsiteX190" fmla="*/ 1139875 w 1375767"/>
                <a:gd name="connsiteY190" fmla="*/ 40076 h 1047668"/>
                <a:gd name="connsiteX191" fmla="*/ 1136617 w 1375767"/>
                <a:gd name="connsiteY191" fmla="*/ 43660 h 1047668"/>
                <a:gd name="connsiteX192" fmla="*/ 1135314 w 1375767"/>
                <a:gd name="connsiteY192" fmla="*/ 46918 h 1047668"/>
                <a:gd name="connsiteX193" fmla="*/ 1131404 w 1375767"/>
                <a:gd name="connsiteY193" fmla="*/ 48058 h 1047668"/>
                <a:gd name="connsiteX194" fmla="*/ 1134336 w 1375767"/>
                <a:gd name="connsiteY194" fmla="*/ 40401 h 1047668"/>
                <a:gd name="connsiteX195" fmla="*/ 1131404 w 1375767"/>
                <a:gd name="connsiteY195" fmla="*/ 35514 h 1047668"/>
                <a:gd name="connsiteX196" fmla="*/ 1126843 w 1375767"/>
                <a:gd name="connsiteY196" fmla="*/ 36003 h 1047668"/>
                <a:gd name="connsiteX197" fmla="*/ 1127657 w 1375767"/>
                <a:gd name="connsiteY197" fmla="*/ 32745 h 1047668"/>
                <a:gd name="connsiteX198" fmla="*/ 1133522 w 1375767"/>
                <a:gd name="connsiteY198" fmla="*/ 28183 h 1047668"/>
                <a:gd name="connsiteX199" fmla="*/ 1138572 w 1375767"/>
                <a:gd name="connsiteY199" fmla="*/ 26880 h 1047668"/>
                <a:gd name="connsiteX200" fmla="*/ 1144111 w 1375767"/>
                <a:gd name="connsiteY200" fmla="*/ 31279 h 1047668"/>
                <a:gd name="connsiteX201" fmla="*/ 1151116 w 1375767"/>
                <a:gd name="connsiteY201" fmla="*/ 28346 h 1047668"/>
                <a:gd name="connsiteX202" fmla="*/ 1155678 w 1375767"/>
                <a:gd name="connsiteY202" fmla="*/ 27043 h 1047668"/>
                <a:gd name="connsiteX203" fmla="*/ 1160728 w 1375767"/>
                <a:gd name="connsiteY203" fmla="*/ 21993 h 1047668"/>
                <a:gd name="connsiteX204" fmla="*/ 1161217 w 1375767"/>
                <a:gd name="connsiteY204" fmla="*/ 19712 h 1047668"/>
                <a:gd name="connsiteX205" fmla="*/ 1162520 w 1375767"/>
                <a:gd name="connsiteY205" fmla="*/ 17268 h 1047668"/>
                <a:gd name="connsiteX206" fmla="*/ 1161379 w 1375767"/>
                <a:gd name="connsiteY206" fmla="*/ 14988 h 1047668"/>
                <a:gd name="connsiteX207" fmla="*/ 1155352 w 1375767"/>
                <a:gd name="connsiteY207" fmla="*/ 12544 h 1047668"/>
                <a:gd name="connsiteX208" fmla="*/ 1153397 w 1375767"/>
                <a:gd name="connsiteY208" fmla="*/ 12544 h 1047668"/>
                <a:gd name="connsiteX209" fmla="*/ 1153071 w 1375767"/>
                <a:gd name="connsiteY209" fmla="*/ 8308 h 1047668"/>
                <a:gd name="connsiteX210" fmla="*/ 1151116 w 1375767"/>
                <a:gd name="connsiteY210" fmla="*/ 6353 h 1047668"/>
                <a:gd name="connsiteX211" fmla="*/ 1149487 w 1375767"/>
                <a:gd name="connsiteY211" fmla="*/ 4887 h 1047668"/>
                <a:gd name="connsiteX212" fmla="*/ 1150464 w 1375767"/>
                <a:gd name="connsiteY212" fmla="*/ 3421 h 1047668"/>
                <a:gd name="connsiteX213" fmla="*/ 1153071 w 1375767"/>
                <a:gd name="connsiteY213" fmla="*/ 2444 h 1047668"/>
                <a:gd name="connsiteX214" fmla="*/ 1154048 w 1375767"/>
                <a:gd name="connsiteY214" fmla="*/ 489 h 1047668"/>
                <a:gd name="connsiteX215" fmla="*/ 1151605 w 1375767"/>
                <a:gd name="connsiteY215" fmla="*/ 0 h 1047668"/>
                <a:gd name="connsiteX216" fmla="*/ 1142156 w 1375767"/>
                <a:gd name="connsiteY216" fmla="*/ 4724 h 1047668"/>
                <a:gd name="connsiteX217" fmla="*/ 1139875 w 1375767"/>
                <a:gd name="connsiteY217" fmla="*/ 6842 h 1047668"/>
                <a:gd name="connsiteX218" fmla="*/ 1133196 w 1375767"/>
                <a:gd name="connsiteY218" fmla="*/ 7331 h 1047668"/>
                <a:gd name="connsiteX219" fmla="*/ 1127820 w 1375767"/>
                <a:gd name="connsiteY219" fmla="*/ 10589 h 1047668"/>
                <a:gd name="connsiteX220" fmla="*/ 1116905 w 1375767"/>
                <a:gd name="connsiteY220" fmla="*/ 19386 h 1047668"/>
                <a:gd name="connsiteX221" fmla="*/ 1110389 w 1375767"/>
                <a:gd name="connsiteY221" fmla="*/ 21830 h 1047668"/>
                <a:gd name="connsiteX222" fmla="*/ 1098334 w 1375767"/>
                <a:gd name="connsiteY222" fmla="*/ 21830 h 1047668"/>
                <a:gd name="connsiteX223" fmla="*/ 1091654 w 1375767"/>
                <a:gd name="connsiteY223" fmla="*/ 17594 h 1047668"/>
                <a:gd name="connsiteX224" fmla="*/ 1088885 w 1375767"/>
                <a:gd name="connsiteY224" fmla="*/ 15639 h 1047668"/>
                <a:gd name="connsiteX225" fmla="*/ 1088396 w 1375767"/>
                <a:gd name="connsiteY225" fmla="*/ 18409 h 1047668"/>
                <a:gd name="connsiteX226" fmla="*/ 1084649 w 1375767"/>
                <a:gd name="connsiteY226" fmla="*/ 17920 h 1047668"/>
                <a:gd name="connsiteX227" fmla="*/ 1079436 w 1375767"/>
                <a:gd name="connsiteY227" fmla="*/ 13521 h 1047668"/>
                <a:gd name="connsiteX228" fmla="*/ 1075200 w 1375767"/>
                <a:gd name="connsiteY228" fmla="*/ 15476 h 1047668"/>
                <a:gd name="connsiteX229" fmla="*/ 1073734 w 1375767"/>
                <a:gd name="connsiteY229" fmla="*/ 19549 h 1047668"/>
                <a:gd name="connsiteX230" fmla="*/ 1071128 w 1375767"/>
                <a:gd name="connsiteY230" fmla="*/ 19549 h 1047668"/>
                <a:gd name="connsiteX231" fmla="*/ 1069824 w 1375767"/>
                <a:gd name="connsiteY231" fmla="*/ 16454 h 1047668"/>
                <a:gd name="connsiteX232" fmla="*/ 1070965 w 1375767"/>
                <a:gd name="connsiteY232" fmla="*/ 13359 h 1047668"/>
                <a:gd name="connsiteX233" fmla="*/ 1075363 w 1375767"/>
                <a:gd name="connsiteY233" fmla="*/ 11567 h 1047668"/>
                <a:gd name="connsiteX234" fmla="*/ 1072920 w 1375767"/>
                <a:gd name="connsiteY234" fmla="*/ 9286 h 1047668"/>
                <a:gd name="connsiteX235" fmla="*/ 1066892 w 1375767"/>
                <a:gd name="connsiteY235" fmla="*/ 11078 h 1047668"/>
                <a:gd name="connsiteX236" fmla="*/ 1057281 w 1375767"/>
                <a:gd name="connsiteY236" fmla="*/ 16291 h 1047668"/>
                <a:gd name="connsiteX237" fmla="*/ 1050275 w 1375767"/>
                <a:gd name="connsiteY237" fmla="*/ 19712 h 1047668"/>
                <a:gd name="connsiteX238" fmla="*/ 1047669 w 1375767"/>
                <a:gd name="connsiteY238" fmla="*/ 25088 h 1047668"/>
                <a:gd name="connsiteX239" fmla="*/ 1048809 w 1375767"/>
                <a:gd name="connsiteY239" fmla="*/ 29487 h 1047668"/>
                <a:gd name="connsiteX240" fmla="*/ 1054837 w 1375767"/>
                <a:gd name="connsiteY240" fmla="*/ 30953 h 1047668"/>
                <a:gd name="connsiteX241" fmla="*/ 1051416 w 1375767"/>
                <a:gd name="connsiteY241" fmla="*/ 33885 h 1047668"/>
                <a:gd name="connsiteX242" fmla="*/ 1044736 w 1375767"/>
                <a:gd name="connsiteY242" fmla="*/ 33885 h 1047668"/>
                <a:gd name="connsiteX243" fmla="*/ 1038220 w 1375767"/>
                <a:gd name="connsiteY243" fmla="*/ 39424 h 1047668"/>
                <a:gd name="connsiteX244" fmla="*/ 1033170 w 1375767"/>
                <a:gd name="connsiteY244" fmla="*/ 50665 h 1047668"/>
                <a:gd name="connsiteX245" fmla="*/ 1030400 w 1375767"/>
                <a:gd name="connsiteY245" fmla="*/ 59299 h 1047668"/>
                <a:gd name="connsiteX246" fmla="*/ 1027957 w 1375767"/>
                <a:gd name="connsiteY246" fmla="*/ 59625 h 1047668"/>
                <a:gd name="connsiteX247" fmla="*/ 1026816 w 1375767"/>
                <a:gd name="connsiteY247" fmla="*/ 57833 h 1047668"/>
                <a:gd name="connsiteX248" fmla="*/ 1028445 w 1375767"/>
                <a:gd name="connsiteY248" fmla="*/ 49199 h 1047668"/>
                <a:gd name="connsiteX249" fmla="*/ 1035939 w 1375767"/>
                <a:gd name="connsiteY249" fmla="*/ 37795 h 1047668"/>
                <a:gd name="connsiteX250" fmla="*/ 1036265 w 1375767"/>
                <a:gd name="connsiteY250" fmla="*/ 34537 h 1047668"/>
                <a:gd name="connsiteX251" fmla="*/ 1033659 w 1375767"/>
                <a:gd name="connsiteY251" fmla="*/ 34537 h 1047668"/>
                <a:gd name="connsiteX252" fmla="*/ 1020789 w 1375767"/>
                <a:gd name="connsiteY252" fmla="*/ 39913 h 1047668"/>
                <a:gd name="connsiteX253" fmla="*/ 1015413 w 1375767"/>
                <a:gd name="connsiteY253" fmla="*/ 39913 h 1047668"/>
                <a:gd name="connsiteX254" fmla="*/ 1012155 w 1375767"/>
                <a:gd name="connsiteY254" fmla="*/ 38284 h 1047668"/>
                <a:gd name="connsiteX255" fmla="*/ 1008245 w 1375767"/>
                <a:gd name="connsiteY255" fmla="*/ 33071 h 1047668"/>
                <a:gd name="connsiteX256" fmla="*/ 1002217 w 1375767"/>
                <a:gd name="connsiteY256" fmla="*/ 31604 h 1047668"/>
                <a:gd name="connsiteX257" fmla="*/ 999122 w 1375767"/>
                <a:gd name="connsiteY257" fmla="*/ 31604 h 1047668"/>
                <a:gd name="connsiteX258" fmla="*/ 999611 w 1375767"/>
                <a:gd name="connsiteY258" fmla="*/ 33559 h 1047668"/>
                <a:gd name="connsiteX259" fmla="*/ 1007104 w 1375767"/>
                <a:gd name="connsiteY259" fmla="*/ 36817 h 1047668"/>
                <a:gd name="connsiteX260" fmla="*/ 1009874 w 1375767"/>
                <a:gd name="connsiteY260" fmla="*/ 40076 h 1047668"/>
                <a:gd name="connsiteX261" fmla="*/ 1007267 w 1375767"/>
                <a:gd name="connsiteY261" fmla="*/ 41542 h 1047668"/>
                <a:gd name="connsiteX262" fmla="*/ 999936 w 1375767"/>
                <a:gd name="connsiteY262" fmla="*/ 39750 h 1047668"/>
                <a:gd name="connsiteX263" fmla="*/ 991302 w 1375767"/>
                <a:gd name="connsiteY263" fmla="*/ 38447 h 1047668"/>
                <a:gd name="connsiteX264" fmla="*/ 980876 w 1375767"/>
                <a:gd name="connsiteY264" fmla="*/ 43660 h 1047668"/>
                <a:gd name="connsiteX265" fmla="*/ 967680 w 1375767"/>
                <a:gd name="connsiteY265" fmla="*/ 54737 h 1047668"/>
                <a:gd name="connsiteX266" fmla="*/ 953019 w 1375767"/>
                <a:gd name="connsiteY266" fmla="*/ 61743 h 1047668"/>
                <a:gd name="connsiteX267" fmla="*/ 942918 w 1375767"/>
                <a:gd name="connsiteY267" fmla="*/ 69236 h 1047668"/>
                <a:gd name="connsiteX268" fmla="*/ 932166 w 1375767"/>
                <a:gd name="connsiteY268" fmla="*/ 78848 h 1047668"/>
                <a:gd name="connsiteX269" fmla="*/ 919296 w 1375767"/>
                <a:gd name="connsiteY269" fmla="*/ 90415 h 1047668"/>
                <a:gd name="connsiteX270" fmla="*/ 910825 w 1375767"/>
                <a:gd name="connsiteY270" fmla="*/ 93836 h 1047668"/>
                <a:gd name="connsiteX271" fmla="*/ 906427 w 1375767"/>
                <a:gd name="connsiteY271" fmla="*/ 94487 h 1047668"/>
                <a:gd name="connsiteX272" fmla="*/ 899259 w 1375767"/>
                <a:gd name="connsiteY272" fmla="*/ 98723 h 1047668"/>
                <a:gd name="connsiteX273" fmla="*/ 893557 w 1375767"/>
                <a:gd name="connsiteY273" fmla="*/ 99049 h 1047668"/>
                <a:gd name="connsiteX274" fmla="*/ 884923 w 1375767"/>
                <a:gd name="connsiteY274" fmla="*/ 104425 h 1047668"/>
                <a:gd name="connsiteX275" fmla="*/ 877429 w 1375767"/>
                <a:gd name="connsiteY275" fmla="*/ 104425 h 1047668"/>
                <a:gd name="connsiteX276" fmla="*/ 873519 w 1375767"/>
                <a:gd name="connsiteY276" fmla="*/ 101655 h 1047668"/>
                <a:gd name="connsiteX277" fmla="*/ 866025 w 1375767"/>
                <a:gd name="connsiteY277" fmla="*/ 100841 h 1047668"/>
                <a:gd name="connsiteX278" fmla="*/ 859020 w 1375767"/>
                <a:gd name="connsiteY278" fmla="*/ 96605 h 1047668"/>
                <a:gd name="connsiteX279" fmla="*/ 853807 w 1375767"/>
                <a:gd name="connsiteY279" fmla="*/ 93836 h 1047668"/>
                <a:gd name="connsiteX280" fmla="*/ 845987 w 1375767"/>
                <a:gd name="connsiteY280" fmla="*/ 89926 h 1047668"/>
                <a:gd name="connsiteX281" fmla="*/ 843055 w 1375767"/>
                <a:gd name="connsiteY281" fmla="*/ 90740 h 1047668"/>
                <a:gd name="connsiteX282" fmla="*/ 837027 w 1375767"/>
                <a:gd name="connsiteY282" fmla="*/ 96605 h 1047668"/>
                <a:gd name="connsiteX283" fmla="*/ 828067 w 1375767"/>
                <a:gd name="connsiteY283" fmla="*/ 106380 h 1047668"/>
                <a:gd name="connsiteX284" fmla="*/ 825624 w 1375767"/>
                <a:gd name="connsiteY284" fmla="*/ 112244 h 1047668"/>
                <a:gd name="connsiteX285" fmla="*/ 820573 w 1375767"/>
                <a:gd name="connsiteY285" fmla="*/ 116969 h 1047668"/>
                <a:gd name="connsiteX286" fmla="*/ 817967 w 1375767"/>
                <a:gd name="connsiteY286" fmla="*/ 123159 h 1047668"/>
                <a:gd name="connsiteX287" fmla="*/ 814057 w 1375767"/>
                <a:gd name="connsiteY287" fmla="*/ 122671 h 1047668"/>
                <a:gd name="connsiteX288" fmla="*/ 810799 w 1375767"/>
                <a:gd name="connsiteY288" fmla="*/ 120227 h 1047668"/>
                <a:gd name="connsiteX289" fmla="*/ 807866 w 1375767"/>
                <a:gd name="connsiteY289" fmla="*/ 122182 h 1047668"/>
                <a:gd name="connsiteX290" fmla="*/ 812428 w 1375767"/>
                <a:gd name="connsiteY290" fmla="*/ 132934 h 1047668"/>
                <a:gd name="connsiteX291" fmla="*/ 818618 w 1375767"/>
                <a:gd name="connsiteY291" fmla="*/ 155578 h 1047668"/>
                <a:gd name="connsiteX292" fmla="*/ 824972 w 1375767"/>
                <a:gd name="connsiteY292" fmla="*/ 172847 h 1047668"/>
                <a:gd name="connsiteX293" fmla="*/ 827579 w 1375767"/>
                <a:gd name="connsiteY293" fmla="*/ 188323 h 1047668"/>
                <a:gd name="connsiteX294" fmla="*/ 826112 w 1375767"/>
                <a:gd name="connsiteY294" fmla="*/ 202333 h 1047668"/>
                <a:gd name="connsiteX295" fmla="*/ 820248 w 1375767"/>
                <a:gd name="connsiteY295" fmla="*/ 212922 h 1047668"/>
                <a:gd name="connsiteX296" fmla="*/ 815849 w 1375767"/>
                <a:gd name="connsiteY296" fmla="*/ 219439 h 1047668"/>
                <a:gd name="connsiteX297" fmla="*/ 815849 w 1375767"/>
                <a:gd name="connsiteY297" fmla="*/ 222208 h 1047668"/>
                <a:gd name="connsiteX298" fmla="*/ 825461 w 1375767"/>
                <a:gd name="connsiteY298" fmla="*/ 233775 h 1047668"/>
                <a:gd name="connsiteX299" fmla="*/ 830837 w 1375767"/>
                <a:gd name="connsiteY299" fmla="*/ 236218 h 1047668"/>
                <a:gd name="connsiteX300" fmla="*/ 830837 w 1375767"/>
                <a:gd name="connsiteY300" fmla="*/ 230679 h 1047668"/>
                <a:gd name="connsiteX301" fmla="*/ 833280 w 1375767"/>
                <a:gd name="connsiteY301" fmla="*/ 233123 h 1047668"/>
                <a:gd name="connsiteX302" fmla="*/ 837353 w 1375767"/>
                <a:gd name="connsiteY302" fmla="*/ 230516 h 1047668"/>
                <a:gd name="connsiteX303" fmla="*/ 841100 w 1375767"/>
                <a:gd name="connsiteY303" fmla="*/ 230516 h 1047668"/>
                <a:gd name="connsiteX304" fmla="*/ 837353 w 1375767"/>
                <a:gd name="connsiteY304" fmla="*/ 233612 h 1047668"/>
                <a:gd name="connsiteX305" fmla="*/ 837027 w 1375767"/>
                <a:gd name="connsiteY305" fmla="*/ 236870 h 1047668"/>
                <a:gd name="connsiteX306" fmla="*/ 849571 w 1375767"/>
                <a:gd name="connsiteY306" fmla="*/ 246807 h 1047668"/>
                <a:gd name="connsiteX307" fmla="*/ 846476 w 1375767"/>
                <a:gd name="connsiteY307" fmla="*/ 248925 h 1047668"/>
                <a:gd name="connsiteX308" fmla="*/ 841100 w 1375767"/>
                <a:gd name="connsiteY308" fmla="*/ 248274 h 1047668"/>
                <a:gd name="connsiteX309" fmla="*/ 839634 w 1375767"/>
                <a:gd name="connsiteY309" fmla="*/ 251858 h 1047668"/>
                <a:gd name="connsiteX310" fmla="*/ 838982 w 1375767"/>
                <a:gd name="connsiteY310" fmla="*/ 265216 h 1047668"/>
                <a:gd name="connsiteX311" fmla="*/ 839471 w 1375767"/>
                <a:gd name="connsiteY311" fmla="*/ 270918 h 1047668"/>
                <a:gd name="connsiteX312" fmla="*/ 842077 w 1375767"/>
                <a:gd name="connsiteY312" fmla="*/ 273036 h 1047668"/>
                <a:gd name="connsiteX313" fmla="*/ 845824 w 1375767"/>
                <a:gd name="connsiteY313" fmla="*/ 269940 h 1047668"/>
                <a:gd name="connsiteX314" fmla="*/ 851526 w 1375767"/>
                <a:gd name="connsiteY314" fmla="*/ 268311 h 1047668"/>
                <a:gd name="connsiteX315" fmla="*/ 855599 w 1375767"/>
                <a:gd name="connsiteY315" fmla="*/ 270103 h 1047668"/>
                <a:gd name="connsiteX316" fmla="*/ 857391 w 1375767"/>
                <a:gd name="connsiteY316" fmla="*/ 273362 h 1047668"/>
                <a:gd name="connsiteX317" fmla="*/ 864070 w 1375767"/>
                <a:gd name="connsiteY317" fmla="*/ 271407 h 1047668"/>
                <a:gd name="connsiteX318" fmla="*/ 872053 w 1375767"/>
                <a:gd name="connsiteY318" fmla="*/ 273850 h 1047668"/>
                <a:gd name="connsiteX319" fmla="*/ 878895 w 1375767"/>
                <a:gd name="connsiteY319" fmla="*/ 277597 h 1047668"/>
                <a:gd name="connsiteX320" fmla="*/ 872216 w 1375767"/>
                <a:gd name="connsiteY320" fmla="*/ 281018 h 1047668"/>
                <a:gd name="connsiteX321" fmla="*/ 873682 w 1375767"/>
                <a:gd name="connsiteY321" fmla="*/ 286720 h 1047668"/>
                <a:gd name="connsiteX322" fmla="*/ 872053 w 1375767"/>
                <a:gd name="connsiteY322" fmla="*/ 291933 h 1047668"/>
                <a:gd name="connsiteX323" fmla="*/ 863581 w 1375767"/>
                <a:gd name="connsiteY323" fmla="*/ 292911 h 1047668"/>
                <a:gd name="connsiteX324" fmla="*/ 864233 w 1375767"/>
                <a:gd name="connsiteY324" fmla="*/ 289490 h 1047668"/>
                <a:gd name="connsiteX325" fmla="*/ 859020 w 1375767"/>
                <a:gd name="connsiteY325" fmla="*/ 286557 h 1047668"/>
                <a:gd name="connsiteX326" fmla="*/ 855925 w 1375767"/>
                <a:gd name="connsiteY326" fmla="*/ 288349 h 1047668"/>
                <a:gd name="connsiteX327" fmla="*/ 849245 w 1375767"/>
                <a:gd name="connsiteY327" fmla="*/ 287535 h 1047668"/>
                <a:gd name="connsiteX328" fmla="*/ 846476 w 1375767"/>
                <a:gd name="connsiteY328" fmla="*/ 284765 h 1047668"/>
                <a:gd name="connsiteX329" fmla="*/ 844032 w 1375767"/>
                <a:gd name="connsiteY329" fmla="*/ 277597 h 1047668"/>
                <a:gd name="connsiteX330" fmla="*/ 839634 w 1375767"/>
                <a:gd name="connsiteY330" fmla="*/ 275968 h 1047668"/>
                <a:gd name="connsiteX331" fmla="*/ 837190 w 1375767"/>
                <a:gd name="connsiteY331" fmla="*/ 276294 h 1047668"/>
                <a:gd name="connsiteX332" fmla="*/ 831163 w 1375767"/>
                <a:gd name="connsiteY332" fmla="*/ 271570 h 1047668"/>
                <a:gd name="connsiteX333" fmla="*/ 831977 w 1375767"/>
                <a:gd name="connsiteY333" fmla="*/ 263750 h 1047668"/>
                <a:gd name="connsiteX334" fmla="*/ 837516 w 1375767"/>
                <a:gd name="connsiteY334" fmla="*/ 248599 h 1047668"/>
                <a:gd name="connsiteX335" fmla="*/ 836701 w 1375767"/>
                <a:gd name="connsiteY335" fmla="*/ 243875 h 1047668"/>
                <a:gd name="connsiteX336" fmla="*/ 834747 w 1375767"/>
                <a:gd name="connsiteY336" fmla="*/ 243875 h 1047668"/>
                <a:gd name="connsiteX337" fmla="*/ 830348 w 1375767"/>
                <a:gd name="connsiteY337" fmla="*/ 248436 h 1047668"/>
                <a:gd name="connsiteX338" fmla="*/ 829859 w 1375767"/>
                <a:gd name="connsiteY338" fmla="*/ 263424 h 1047668"/>
                <a:gd name="connsiteX339" fmla="*/ 827416 w 1375767"/>
                <a:gd name="connsiteY339" fmla="*/ 273199 h 1047668"/>
                <a:gd name="connsiteX340" fmla="*/ 822854 w 1375767"/>
                <a:gd name="connsiteY340" fmla="*/ 278412 h 1047668"/>
                <a:gd name="connsiteX341" fmla="*/ 822854 w 1375767"/>
                <a:gd name="connsiteY341" fmla="*/ 282484 h 1047668"/>
                <a:gd name="connsiteX342" fmla="*/ 826112 w 1375767"/>
                <a:gd name="connsiteY342" fmla="*/ 277108 h 1047668"/>
                <a:gd name="connsiteX343" fmla="*/ 829533 w 1375767"/>
                <a:gd name="connsiteY343" fmla="*/ 277108 h 1047668"/>
                <a:gd name="connsiteX344" fmla="*/ 831977 w 1375767"/>
                <a:gd name="connsiteY344" fmla="*/ 279552 h 1047668"/>
                <a:gd name="connsiteX345" fmla="*/ 838168 w 1375767"/>
                <a:gd name="connsiteY345" fmla="*/ 279552 h 1047668"/>
                <a:gd name="connsiteX346" fmla="*/ 840774 w 1375767"/>
                <a:gd name="connsiteY346" fmla="*/ 285417 h 1047668"/>
                <a:gd name="connsiteX347" fmla="*/ 840448 w 1375767"/>
                <a:gd name="connsiteY347" fmla="*/ 294377 h 1047668"/>
                <a:gd name="connsiteX348" fmla="*/ 835235 w 1375767"/>
                <a:gd name="connsiteY348" fmla="*/ 300079 h 1047668"/>
                <a:gd name="connsiteX349" fmla="*/ 827904 w 1375767"/>
                <a:gd name="connsiteY349" fmla="*/ 302848 h 1047668"/>
                <a:gd name="connsiteX350" fmla="*/ 834584 w 1375767"/>
                <a:gd name="connsiteY350" fmla="*/ 294377 h 1047668"/>
                <a:gd name="connsiteX351" fmla="*/ 834258 w 1375767"/>
                <a:gd name="connsiteY351" fmla="*/ 291444 h 1047668"/>
                <a:gd name="connsiteX352" fmla="*/ 831000 w 1375767"/>
                <a:gd name="connsiteY352" fmla="*/ 289815 h 1047668"/>
                <a:gd name="connsiteX353" fmla="*/ 829045 w 1375767"/>
                <a:gd name="connsiteY353" fmla="*/ 288023 h 1047668"/>
                <a:gd name="connsiteX354" fmla="*/ 826112 w 1375767"/>
                <a:gd name="connsiteY354" fmla="*/ 290630 h 1047668"/>
                <a:gd name="connsiteX355" fmla="*/ 818456 w 1375767"/>
                <a:gd name="connsiteY355" fmla="*/ 296658 h 1047668"/>
                <a:gd name="connsiteX356" fmla="*/ 817967 w 1375767"/>
                <a:gd name="connsiteY356" fmla="*/ 301056 h 1047668"/>
                <a:gd name="connsiteX357" fmla="*/ 813405 w 1375767"/>
                <a:gd name="connsiteY357" fmla="*/ 302685 h 1047668"/>
                <a:gd name="connsiteX358" fmla="*/ 808844 w 1375767"/>
                <a:gd name="connsiteY358" fmla="*/ 304966 h 1047668"/>
                <a:gd name="connsiteX359" fmla="*/ 807541 w 1375767"/>
                <a:gd name="connsiteY359" fmla="*/ 300242 h 1047668"/>
                <a:gd name="connsiteX360" fmla="*/ 805586 w 1375767"/>
                <a:gd name="connsiteY360" fmla="*/ 299101 h 1047668"/>
                <a:gd name="connsiteX361" fmla="*/ 799069 w 1375767"/>
                <a:gd name="connsiteY361" fmla="*/ 299590 h 1047668"/>
                <a:gd name="connsiteX362" fmla="*/ 795811 w 1375767"/>
                <a:gd name="connsiteY362" fmla="*/ 297961 h 1047668"/>
                <a:gd name="connsiteX363" fmla="*/ 795160 w 1375767"/>
                <a:gd name="connsiteY363" fmla="*/ 292585 h 1047668"/>
                <a:gd name="connsiteX364" fmla="*/ 791739 w 1375767"/>
                <a:gd name="connsiteY364" fmla="*/ 291607 h 1047668"/>
                <a:gd name="connsiteX365" fmla="*/ 788969 w 1375767"/>
                <a:gd name="connsiteY365" fmla="*/ 292748 h 1047668"/>
                <a:gd name="connsiteX366" fmla="*/ 784570 w 1375767"/>
                <a:gd name="connsiteY366" fmla="*/ 292748 h 1047668"/>
                <a:gd name="connsiteX367" fmla="*/ 784082 w 1375767"/>
                <a:gd name="connsiteY367" fmla="*/ 288512 h 1047668"/>
                <a:gd name="connsiteX368" fmla="*/ 780661 w 1375767"/>
                <a:gd name="connsiteY368" fmla="*/ 286068 h 1047668"/>
                <a:gd name="connsiteX369" fmla="*/ 777077 w 1375767"/>
                <a:gd name="connsiteY369" fmla="*/ 288023 h 1047668"/>
                <a:gd name="connsiteX370" fmla="*/ 774796 w 1375767"/>
                <a:gd name="connsiteY370" fmla="*/ 287698 h 1047668"/>
                <a:gd name="connsiteX371" fmla="*/ 774470 w 1375767"/>
                <a:gd name="connsiteY371" fmla="*/ 282159 h 1047668"/>
                <a:gd name="connsiteX372" fmla="*/ 772515 w 1375767"/>
                <a:gd name="connsiteY372" fmla="*/ 278086 h 1047668"/>
                <a:gd name="connsiteX373" fmla="*/ 772515 w 1375767"/>
                <a:gd name="connsiteY373" fmla="*/ 275154 h 1047668"/>
                <a:gd name="connsiteX374" fmla="*/ 777240 w 1375767"/>
                <a:gd name="connsiteY374" fmla="*/ 273524 h 1047668"/>
                <a:gd name="connsiteX375" fmla="*/ 782616 w 1375767"/>
                <a:gd name="connsiteY375" fmla="*/ 265705 h 1047668"/>
                <a:gd name="connsiteX376" fmla="*/ 785548 w 1375767"/>
                <a:gd name="connsiteY376" fmla="*/ 265216 h 1047668"/>
                <a:gd name="connsiteX377" fmla="*/ 788643 w 1375767"/>
                <a:gd name="connsiteY377" fmla="*/ 261469 h 1047668"/>
                <a:gd name="connsiteX378" fmla="*/ 788317 w 1375767"/>
                <a:gd name="connsiteY378" fmla="*/ 258374 h 1047668"/>
                <a:gd name="connsiteX379" fmla="*/ 781638 w 1375767"/>
                <a:gd name="connsiteY379" fmla="*/ 251369 h 1047668"/>
                <a:gd name="connsiteX380" fmla="*/ 777565 w 1375767"/>
                <a:gd name="connsiteY380" fmla="*/ 249577 h 1047668"/>
                <a:gd name="connsiteX381" fmla="*/ 772515 w 1375767"/>
                <a:gd name="connsiteY381" fmla="*/ 249577 h 1047668"/>
                <a:gd name="connsiteX382" fmla="*/ 764370 w 1375767"/>
                <a:gd name="connsiteY382" fmla="*/ 253812 h 1047668"/>
                <a:gd name="connsiteX383" fmla="*/ 759808 w 1375767"/>
                <a:gd name="connsiteY383" fmla="*/ 253812 h 1047668"/>
                <a:gd name="connsiteX384" fmla="*/ 755573 w 1375767"/>
                <a:gd name="connsiteY384" fmla="*/ 251043 h 1047668"/>
                <a:gd name="connsiteX385" fmla="*/ 751174 w 1375767"/>
                <a:gd name="connsiteY385" fmla="*/ 251043 h 1047668"/>
                <a:gd name="connsiteX386" fmla="*/ 735861 w 1375767"/>
                <a:gd name="connsiteY386" fmla="*/ 257559 h 1047668"/>
                <a:gd name="connsiteX387" fmla="*/ 734720 w 1375767"/>
                <a:gd name="connsiteY387" fmla="*/ 260166 h 1047668"/>
                <a:gd name="connsiteX388" fmla="*/ 737164 w 1375767"/>
                <a:gd name="connsiteY388" fmla="*/ 262772 h 1047668"/>
                <a:gd name="connsiteX389" fmla="*/ 742866 w 1375767"/>
                <a:gd name="connsiteY389" fmla="*/ 267986 h 1047668"/>
                <a:gd name="connsiteX390" fmla="*/ 741888 w 1375767"/>
                <a:gd name="connsiteY390" fmla="*/ 269615 h 1047668"/>
                <a:gd name="connsiteX391" fmla="*/ 737653 w 1375767"/>
                <a:gd name="connsiteY391" fmla="*/ 268963 h 1047668"/>
                <a:gd name="connsiteX392" fmla="*/ 733254 w 1375767"/>
                <a:gd name="connsiteY392" fmla="*/ 268963 h 1047668"/>
                <a:gd name="connsiteX393" fmla="*/ 731462 w 1375767"/>
                <a:gd name="connsiteY393" fmla="*/ 266356 h 1047668"/>
                <a:gd name="connsiteX394" fmla="*/ 726738 w 1375767"/>
                <a:gd name="connsiteY394" fmla="*/ 264727 h 1047668"/>
                <a:gd name="connsiteX395" fmla="*/ 717778 w 1375767"/>
                <a:gd name="connsiteY395" fmla="*/ 263261 h 1047668"/>
                <a:gd name="connsiteX396" fmla="*/ 708003 w 1375767"/>
                <a:gd name="connsiteY396" fmla="*/ 264727 h 1047668"/>
                <a:gd name="connsiteX397" fmla="*/ 704745 w 1375767"/>
                <a:gd name="connsiteY397" fmla="*/ 267497 h 1047668"/>
                <a:gd name="connsiteX398" fmla="*/ 704419 w 1375767"/>
                <a:gd name="connsiteY398" fmla="*/ 270103 h 1047668"/>
                <a:gd name="connsiteX399" fmla="*/ 699206 w 1375767"/>
                <a:gd name="connsiteY399" fmla="*/ 270103 h 1047668"/>
                <a:gd name="connsiteX400" fmla="*/ 698066 w 1375767"/>
                <a:gd name="connsiteY400" fmla="*/ 268637 h 1047668"/>
                <a:gd name="connsiteX401" fmla="*/ 694156 w 1375767"/>
                <a:gd name="connsiteY401" fmla="*/ 268637 h 1047668"/>
                <a:gd name="connsiteX402" fmla="*/ 686988 w 1375767"/>
                <a:gd name="connsiteY402" fmla="*/ 272873 h 1047668"/>
                <a:gd name="connsiteX403" fmla="*/ 686988 w 1375767"/>
                <a:gd name="connsiteY403" fmla="*/ 275642 h 1047668"/>
                <a:gd name="connsiteX404" fmla="*/ 683078 w 1375767"/>
                <a:gd name="connsiteY404" fmla="*/ 277108 h 1047668"/>
                <a:gd name="connsiteX405" fmla="*/ 675258 w 1375767"/>
                <a:gd name="connsiteY405" fmla="*/ 280530 h 1047668"/>
                <a:gd name="connsiteX406" fmla="*/ 669882 w 1375767"/>
                <a:gd name="connsiteY406" fmla="*/ 283951 h 1047668"/>
                <a:gd name="connsiteX407" fmla="*/ 666787 w 1375767"/>
                <a:gd name="connsiteY407" fmla="*/ 284439 h 1047668"/>
                <a:gd name="connsiteX408" fmla="*/ 668090 w 1375767"/>
                <a:gd name="connsiteY408" fmla="*/ 282647 h 1047668"/>
                <a:gd name="connsiteX409" fmla="*/ 669394 w 1375767"/>
                <a:gd name="connsiteY409" fmla="*/ 279552 h 1047668"/>
                <a:gd name="connsiteX410" fmla="*/ 665158 w 1375767"/>
                <a:gd name="connsiteY410" fmla="*/ 281344 h 1047668"/>
                <a:gd name="connsiteX411" fmla="*/ 661085 w 1375767"/>
                <a:gd name="connsiteY411" fmla="*/ 287372 h 1047668"/>
                <a:gd name="connsiteX412" fmla="*/ 661085 w 1375767"/>
                <a:gd name="connsiteY412" fmla="*/ 289164 h 1047668"/>
                <a:gd name="connsiteX413" fmla="*/ 667928 w 1375767"/>
                <a:gd name="connsiteY413" fmla="*/ 297798 h 1047668"/>
                <a:gd name="connsiteX414" fmla="*/ 674607 w 1375767"/>
                <a:gd name="connsiteY414" fmla="*/ 308061 h 1047668"/>
                <a:gd name="connsiteX415" fmla="*/ 681775 w 1375767"/>
                <a:gd name="connsiteY415" fmla="*/ 309853 h 1047668"/>
                <a:gd name="connsiteX416" fmla="*/ 687151 w 1375767"/>
                <a:gd name="connsiteY416" fmla="*/ 317184 h 1047668"/>
                <a:gd name="connsiteX417" fmla="*/ 692690 w 1375767"/>
                <a:gd name="connsiteY417" fmla="*/ 320116 h 1047668"/>
                <a:gd name="connsiteX418" fmla="*/ 694970 w 1375767"/>
                <a:gd name="connsiteY418" fmla="*/ 326144 h 1047668"/>
                <a:gd name="connsiteX419" fmla="*/ 700184 w 1375767"/>
                <a:gd name="connsiteY419" fmla="*/ 327447 h 1047668"/>
                <a:gd name="connsiteX420" fmla="*/ 706048 w 1375767"/>
                <a:gd name="connsiteY420" fmla="*/ 330543 h 1047668"/>
                <a:gd name="connsiteX421" fmla="*/ 704256 w 1375767"/>
                <a:gd name="connsiteY421" fmla="*/ 332009 h 1047668"/>
                <a:gd name="connsiteX422" fmla="*/ 695622 w 1375767"/>
                <a:gd name="connsiteY422" fmla="*/ 332009 h 1047668"/>
                <a:gd name="connsiteX423" fmla="*/ 694645 w 1375767"/>
                <a:gd name="connsiteY423" fmla="*/ 326959 h 1047668"/>
                <a:gd name="connsiteX424" fmla="*/ 688780 w 1375767"/>
                <a:gd name="connsiteY424" fmla="*/ 322886 h 1047668"/>
                <a:gd name="connsiteX425" fmla="*/ 685359 w 1375767"/>
                <a:gd name="connsiteY425" fmla="*/ 320116 h 1047668"/>
                <a:gd name="connsiteX426" fmla="*/ 682915 w 1375767"/>
                <a:gd name="connsiteY426" fmla="*/ 320442 h 1047668"/>
                <a:gd name="connsiteX427" fmla="*/ 677213 w 1375767"/>
                <a:gd name="connsiteY427" fmla="*/ 326307 h 1047668"/>
                <a:gd name="connsiteX428" fmla="*/ 674118 w 1375767"/>
                <a:gd name="connsiteY428" fmla="*/ 326307 h 1047668"/>
                <a:gd name="connsiteX429" fmla="*/ 670697 w 1375767"/>
                <a:gd name="connsiteY429" fmla="*/ 321257 h 1047668"/>
                <a:gd name="connsiteX430" fmla="*/ 675096 w 1375767"/>
                <a:gd name="connsiteY430" fmla="*/ 316532 h 1047668"/>
                <a:gd name="connsiteX431" fmla="*/ 675096 w 1375767"/>
                <a:gd name="connsiteY431" fmla="*/ 314578 h 1047668"/>
                <a:gd name="connsiteX432" fmla="*/ 671023 w 1375767"/>
                <a:gd name="connsiteY432" fmla="*/ 314903 h 1047668"/>
                <a:gd name="connsiteX433" fmla="*/ 667113 w 1375767"/>
                <a:gd name="connsiteY433" fmla="*/ 320279 h 1047668"/>
                <a:gd name="connsiteX434" fmla="*/ 668253 w 1375767"/>
                <a:gd name="connsiteY434" fmla="*/ 330543 h 1047668"/>
                <a:gd name="connsiteX435" fmla="*/ 669720 w 1375767"/>
                <a:gd name="connsiteY435" fmla="*/ 332335 h 1047668"/>
                <a:gd name="connsiteX436" fmla="*/ 669720 w 1375767"/>
                <a:gd name="connsiteY436" fmla="*/ 336245 h 1047668"/>
                <a:gd name="connsiteX437" fmla="*/ 664344 w 1375767"/>
                <a:gd name="connsiteY437" fmla="*/ 341458 h 1047668"/>
                <a:gd name="connsiteX438" fmla="*/ 660271 w 1375767"/>
                <a:gd name="connsiteY438" fmla="*/ 347974 h 1047668"/>
                <a:gd name="connsiteX439" fmla="*/ 658968 w 1375767"/>
                <a:gd name="connsiteY439" fmla="*/ 355142 h 1047668"/>
                <a:gd name="connsiteX440" fmla="*/ 659782 w 1375767"/>
                <a:gd name="connsiteY440" fmla="*/ 361984 h 1047668"/>
                <a:gd name="connsiteX441" fmla="*/ 668579 w 1375767"/>
                <a:gd name="connsiteY441" fmla="*/ 371922 h 1047668"/>
                <a:gd name="connsiteX442" fmla="*/ 677050 w 1375767"/>
                <a:gd name="connsiteY442" fmla="*/ 375180 h 1047668"/>
                <a:gd name="connsiteX443" fmla="*/ 682589 w 1375767"/>
                <a:gd name="connsiteY443" fmla="*/ 381207 h 1047668"/>
                <a:gd name="connsiteX444" fmla="*/ 685848 w 1375767"/>
                <a:gd name="connsiteY444" fmla="*/ 381207 h 1047668"/>
                <a:gd name="connsiteX445" fmla="*/ 692527 w 1375767"/>
                <a:gd name="connsiteY445" fmla="*/ 376646 h 1047668"/>
                <a:gd name="connsiteX446" fmla="*/ 699695 w 1375767"/>
                <a:gd name="connsiteY446" fmla="*/ 374202 h 1047668"/>
                <a:gd name="connsiteX447" fmla="*/ 705560 w 1375767"/>
                <a:gd name="connsiteY447" fmla="*/ 377461 h 1047668"/>
                <a:gd name="connsiteX448" fmla="*/ 716963 w 1375767"/>
                <a:gd name="connsiteY448" fmla="*/ 378927 h 1047668"/>
                <a:gd name="connsiteX449" fmla="*/ 721199 w 1375767"/>
                <a:gd name="connsiteY449" fmla="*/ 381859 h 1047668"/>
                <a:gd name="connsiteX450" fmla="*/ 722828 w 1375767"/>
                <a:gd name="connsiteY450" fmla="*/ 387887 h 1047668"/>
                <a:gd name="connsiteX451" fmla="*/ 725597 w 1375767"/>
                <a:gd name="connsiteY451" fmla="*/ 389353 h 1047668"/>
                <a:gd name="connsiteX452" fmla="*/ 727878 w 1375767"/>
                <a:gd name="connsiteY452" fmla="*/ 386746 h 1047668"/>
                <a:gd name="connsiteX453" fmla="*/ 727552 w 1375767"/>
                <a:gd name="connsiteY453" fmla="*/ 379741 h 1047668"/>
                <a:gd name="connsiteX454" fmla="*/ 729181 w 1375767"/>
                <a:gd name="connsiteY454" fmla="*/ 377461 h 1047668"/>
                <a:gd name="connsiteX455" fmla="*/ 734394 w 1375767"/>
                <a:gd name="connsiteY455" fmla="*/ 379253 h 1047668"/>
                <a:gd name="connsiteX456" fmla="*/ 734394 w 1375767"/>
                <a:gd name="connsiteY456" fmla="*/ 382185 h 1047668"/>
                <a:gd name="connsiteX457" fmla="*/ 729018 w 1375767"/>
                <a:gd name="connsiteY457" fmla="*/ 388375 h 1047668"/>
                <a:gd name="connsiteX458" fmla="*/ 729018 w 1375767"/>
                <a:gd name="connsiteY458" fmla="*/ 393100 h 1047668"/>
                <a:gd name="connsiteX459" fmla="*/ 731788 w 1375767"/>
                <a:gd name="connsiteY459" fmla="*/ 393263 h 1047668"/>
                <a:gd name="connsiteX460" fmla="*/ 738467 w 1375767"/>
                <a:gd name="connsiteY460" fmla="*/ 387561 h 1047668"/>
                <a:gd name="connsiteX461" fmla="*/ 740259 w 1375767"/>
                <a:gd name="connsiteY461" fmla="*/ 384628 h 1047668"/>
                <a:gd name="connsiteX462" fmla="*/ 748568 w 1375767"/>
                <a:gd name="connsiteY462" fmla="*/ 382836 h 1047668"/>
                <a:gd name="connsiteX463" fmla="*/ 758994 w 1375767"/>
                <a:gd name="connsiteY463" fmla="*/ 376320 h 1047668"/>
                <a:gd name="connsiteX464" fmla="*/ 766325 w 1375767"/>
                <a:gd name="connsiteY464" fmla="*/ 375506 h 1047668"/>
                <a:gd name="connsiteX465" fmla="*/ 769583 w 1375767"/>
                <a:gd name="connsiteY465" fmla="*/ 370293 h 1047668"/>
                <a:gd name="connsiteX466" fmla="*/ 771538 w 1375767"/>
                <a:gd name="connsiteY466" fmla="*/ 370293 h 1047668"/>
                <a:gd name="connsiteX467" fmla="*/ 772678 w 1375767"/>
                <a:gd name="connsiteY467" fmla="*/ 373388 h 1047668"/>
                <a:gd name="connsiteX468" fmla="*/ 775285 w 1375767"/>
                <a:gd name="connsiteY468" fmla="*/ 374365 h 1047668"/>
                <a:gd name="connsiteX469" fmla="*/ 783919 w 1375767"/>
                <a:gd name="connsiteY469" fmla="*/ 368989 h 1047668"/>
                <a:gd name="connsiteX470" fmla="*/ 790598 w 1375767"/>
                <a:gd name="connsiteY470" fmla="*/ 368663 h 1047668"/>
                <a:gd name="connsiteX471" fmla="*/ 793205 w 1375767"/>
                <a:gd name="connsiteY471" fmla="*/ 366871 h 1047668"/>
                <a:gd name="connsiteX472" fmla="*/ 790924 w 1375767"/>
                <a:gd name="connsiteY472" fmla="*/ 370618 h 1047668"/>
                <a:gd name="connsiteX473" fmla="*/ 785222 w 1375767"/>
                <a:gd name="connsiteY473" fmla="*/ 374691 h 1047668"/>
                <a:gd name="connsiteX474" fmla="*/ 785222 w 1375767"/>
                <a:gd name="connsiteY474" fmla="*/ 376646 h 1047668"/>
                <a:gd name="connsiteX475" fmla="*/ 788154 w 1375767"/>
                <a:gd name="connsiteY475" fmla="*/ 378112 h 1047668"/>
                <a:gd name="connsiteX476" fmla="*/ 783593 w 1375767"/>
                <a:gd name="connsiteY476" fmla="*/ 386583 h 1047668"/>
                <a:gd name="connsiteX477" fmla="*/ 776262 w 1375767"/>
                <a:gd name="connsiteY477" fmla="*/ 387724 h 1047668"/>
                <a:gd name="connsiteX478" fmla="*/ 773818 w 1375767"/>
                <a:gd name="connsiteY478" fmla="*/ 385280 h 1047668"/>
                <a:gd name="connsiteX479" fmla="*/ 770723 w 1375767"/>
                <a:gd name="connsiteY479" fmla="*/ 384954 h 1047668"/>
                <a:gd name="connsiteX480" fmla="*/ 763881 w 1375767"/>
                <a:gd name="connsiteY480" fmla="*/ 390330 h 1047668"/>
                <a:gd name="connsiteX481" fmla="*/ 764370 w 1375767"/>
                <a:gd name="connsiteY481" fmla="*/ 391634 h 1047668"/>
                <a:gd name="connsiteX482" fmla="*/ 769909 w 1375767"/>
                <a:gd name="connsiteY482" fmla="*/ 392448 h 1047668"/>
                <a:gd name="connsiteX483" fmla="*/ 773004 w 1375767"/>
                <a:gd name="connsiteY483" fmla="*/ 395869 h 1047668"/>
                <a:gd name="connsiteX484" fmla="*/ 772515 w 1375767"/>
                <a:gd name="connsiteY484" fmla="*/ 402874 h 1047668"/>
                <a:gd name="connsiteX485" fmla="*/ 764370 w 1375767"/>
                <a:gd name="connsiteY485" fmla="*/ 411834 h 1047668"/>
                <a:gd name="connsiteX486" fmla="*/ 763066 w 1375767"/>
                <a:gd name="connsiteY486" fmla="*/ 417862 h 1047668"/>
                <a:gd name="connsiteX487" fmla="*/ 760623 w 1375767"/>
                <a:gd name="connsiteY487" fmla="*/ 421772 h 1047668"/>
                <a:gd name="connsiteX488" fmla="*/ 759320 w 1375767"/>
                <a:gd name="connsiteY488" fmla="*/ 424704 h 1047668"/>
                <a:gd name="connsiteX489" fmla="*/ 760786 w 1375767"/>
                <a:gd name="connsiteY489" fmla="*/ 427148 h 1047668"/>
                <a:gd name="connsiteX490" fmla="*/ 761600 w 1375767"/>
                <a:gd name="connsiteY490" fmla="*/ 431058 h 1047668"/>
                <a:gd name="connsiteX491" fmla="*/ 759971 w 1375767"/>
                <a:gd name="connsiteY491" fmla="*/ 436108 h 1047668"/>
                <a:gd name="connsiteX492" fmla="*/ 755247 w 1375767"/>
                <a:gd name="connsiteY492" fmla="*/ 442298 h 1047668"/>
                <a:gd name="connsiteX493" fmla="*/ 751011 w 1375767"/>
                <a:gd name="connsiteY493" fmla="*/ 445557 h 1047668"/>
                <a:gd name="connsiteX494" fmla="*/ 745961 w 1375767"/>
                <a:gd name="connsiteY494" fmla="*/ 445068 h 1047668"/>
                <a:gd name="connsiteX495" fmla="*/ 742703 w 1375767"/>
                <a:gd name="connsiteY495" fmla="*/ 446860 h 1047668"/>
                <a:gd name="connsiteX496" fmla="*/ 737490 w 1375767"/>
                <a:gd name="connsiteY496" fmla="*/ 451584 h 1047668"/>
                <a:gd name="connsiteX497" fmla="*/ 733580 w 1375767"/>
                <a:gd name="connsiteY497" fmla="*/ 453050 h 1047668"/>
                <a:gd name="connsiteX498" fmla="*/ 728204 w 1375767"/>
                <a:gd name="connsiteY498" fmla="*/ 452236 h 1047668"/>
                <a:gd name="connsiteX499" fmla="*/ 720710 w 1375767"/>
                <a:gd name="connsiteY499" fmla="*/ 447837 h 1047668"/>
                <a:gd name="connsiteX500" fmla="*/ 718266 w 1375767"/>
                <a:gd name="connsiteY500" fmla="*/ 448815 h 1047668"/>
                <a:gd name="connsiteX501" fmla="*/ 716312 w 1375767"/>
                <a:gd name="connsiteY501" fmla="*/ 446208 h 1047668"/>
                <a:gd name="connsiteX502" fmla="*/ 712402 w 1375767"/>
                <a:gd name="connsiteY502" fmla="*/ 441647 h 1047668"/>
                <a:gd name="connsiteX503" fmla="*/ 710773 w 1375767"/>
                <a:gd name="connsiteY503" fmla="*/ 442461 h 1047668"/>
                <a:gd name="connsiteX504" fmla="*/ 706048 w 1375767"/>
                <a:gd name="connsiteY504" fmla="*/ 449141 h 1047668"/>
                <a:gd name="connsiteX505" fmla="*/ 700184 w 1375767"/>
                <a:gd name="connsiteY505" fmla="*/ 452887 h 1047668"/>
                <a:gd name="connsiteX506" fmla="*/ 696437 w 1375767"/>
                <a:gd name="connsiteY506" fmla="*/ 457938 h 1047668"/>
                <a:gd name="connsiteX507" fmla="*/ 686173 w 1375767"/>
                <a:gd name="connsiteY507" fmla="*/ 461522 h 1047668"/>
                <a:gd name="connsiteX508" fmla="*/ 683241 w 1375767"/>
                <a:gd name="connsiteY508" fmla="*/ 464128 h 1047668"/>
                <a:gd name="connsiteX509" fmla="*/ 678680 w 1375767"/>
                <a:gd name="connsiteY509" fmla="*/ 464128 h 1047668"/>
                <a:gd name="connsiteX510" fmla="*/ 673955 w 1375767"/>
                <a:gd name="connsiteY510" fmla="*/ 462988 h 1047668"/>
                <a:gd name="connsiteX511" fmla="*/ 665973 w 1375767"/>
                <a:gd name="connsiteY511" fmla="*/ 462988 h 1047668"/>
                <a:gd name="connsiteX512" fmla="*/ 659782 w 1375767"/>
                <a:gd name="connsiteY512" fmla="*/ 467549 h 1047668"/>
                <a:gd name="connsiteX513" fmla="*/ 653917 w 1375767"/>
                <a:gd name="connsiteY513" fmla="*/ 468038 h 1047668"/>
                <a:gd name="connsiteX514" fmla="*/ 650659 w 1375767"/>
                <a:gd name="connsiteY514" fmla="*/ 470482 h 1047668"/>
                <a:gd name="connsiteX515" fmla="*/ 650659 w 1375767"/>
                <a:gd name="connsiteY515" fmla="*/ 476835 h 1047668"/>
                <a:gd name="connsiteX516" fmla="*/ 646912 w 1375767"/>
                <a:gd name="connsiteY516" fmla="*/ 485632 h 1047668"/>
                <a:gd name="connsiteX517" fmla="*/ 643165 w 1375767"/>
                <a:gd name="connsiteY517" fmla="*/ 489379 h 1047668"/>
                <a:gd name="connsiteX518" fmla="*/ 642677 w 1375767"/>
                <a:gd name="connsiteY518" fmla="*/ 485958 h 1047668"/>
                <a:gd name="connsiteX519" fmla="*/ 636812 w 1375767"/>
                <a:gd name="connsiteY519" fmla="*/ 479605 h 1047668"/>
                <a:gd name="connsiteX520" fmla="*/ 629481 w 1375767"/>
                <a:gd name="connsiteY520" fmla="*/ 479279 h 1047668"/>
                <a:gd name="connsiteX521" fmla="*/ 626223 w 1375767"/>
                <a:gd name="connsiteY521" fmla="*/ 480908 h 1047668"/>
                <a:gd name="connsiteX522" fmla="*/ 627200 w 1375767"/>
                <a:gd name="connsiteY522" fmla="*/ 484655 h 1047668"/>
                <a:gd name="connsiteX523" fmla="*/ 630296 w 1375767"/>
                <a:gd name="connsiteY523" fmla="*/ 487424 h 1047668"/>
                <a:gd name="connsiteX524" fmla="*/ 628015 w 1375767"/>
                <a:gd name="connsiteY524" fmla="*/ 491497 h 1047668"/>
                <a:gd name="connsiteX525" fmla="*/ 625571 w 1375767"/>
                <a:gd name="connsiteY525" fmla="*/ 491497 h 1047668"/>
                <a:gd name="connsiteX526" fmla="*/ 623616 w 1375767"/>
                <a:gd name="connsiteY526" fmla="*/ 486935 h 1047668"/>
                <a:gd name="connsiteX527" fmla="*/ 619381 w 1375767"/>
                <a:gd name="connsiteY527" fmla="*/ 481722 h 1047668"/>
                <a:gd name="connsiteX528" fmla="*/ 617100 w 1375767"/>
                <a:gd name="connsiteY528" fmla="*/ 481722 h 1047668"/>
                <a:gd name="connsiteX529" fmla="*/ 609769 w 1375767"/>
                <a:gd name="connsiteY529" fmla="*/ 489053 h 1047668"/>
                <a:gd name="connsiteX530" fmla="*/ 606837 w 1375767"/>
                <a:gd name="connsiteY530" fmla="*/ 495407 h 1047668"/>
                <a:gd name="connsiteX531" fmla="*/ 603741 w 1375767"/>
                <a:gd name="connsiteY531" fmla="*/ 496873 h 1047668"/>
                <a:gd name="connsiteX532" fmla="*/ 600809 w 1375767"/>
                <a:gd name="connsiteY532" fmla="*/ 496873 h 1047668"/>
                <a:gd name="connsiteX533" fmla="*/ 589568 w 1375767"/>
                <a:gd name="connsiteY533" fmla="*/ 507299 h 1047668"/>
                <a:gd name="connsiteX534" fmla="*/ 587613 w 1375767"/>
                <a:gd name="connsiteY534" fmla="*/ 515119 h 1047668"/>
                <a:gd name="connsiteX535" fmla="*/ 585333 w 1375767"/>
                <a:gd name="connsiteY535" fmla="*/ 516748 h 1047668"/>
                <a:gd name="connsiteX536" fmla="*/ 579794 w 1375767"/>
                <a:gd name="connsiteY536" fmla="*/ 518051 h 1047668"/>
                <a:gd name="connsiteX537" fmla="*/ 574906 w 1375767"/>
                <a:gd name="connsiteY537" fmla="*/ 516259 h 1047668"/>
                <a:gd name="connsiteX538" fmla="*/ 573766 w 1375767"/>
                <a:gd name="connsiteY538" fmla="*/ 517562 h 1047668"/>
                <a:gd name="connsiteX539" fmla="*/ 578979 w 1375767"/>
                <a:gd name="connsiteY539" fmla="*/ 523427 h 1047668"/>
                <a:gd name="connsiteX540" fmla="*/ 577839 w 1375767"/>
                <a:gd name="connsiteY540" fmla="*/ 527011 h 1047668"/>
                <a:gd name="connsiteX541" fmla="*/ 574744 w 1375767"/>
                <a:gd name="connsiteY541" fmla="*/ 527337 h 1047668"/>
                <a:gd name="connsiteX542" fmla="*/ 572137 w 1375767"/>
                <a:gd name="connsiteY542" fmla="*/ 522938 h 1047668"/>
                <a:gd name="connsiteX543" fmla="*/ 569856 w 1375767"/>
                <a:gd name="connsiteY543" fmla="*/ 523264 h 1047668"/>
                <a:gd name="connsiteX544" fmla="*/ 567413 w 1375767"/>
                <a:gd name="connsiteY544" fmla="*/ 527989 h 1047668"/>
                <a:gd name="connsiteX545" fmla="*/ 561385 w 1375767"/>
                <a:gd name="connsiteY545" fmla="*/ 535157 h 1047668"/>
                <a:gd name="connsiteX546" fmla="*/ 561385 w 1375767"/>
                <a:gd name="connsiteY546" fmla="*/ 538252 h 1047668"/>
                <a:gd name="connsiteX547" fmla="*/ 565784 w 1375767"/>
                <a:gd name="connsiteY547" fmla="*/ 544768 h 1047668"/>
                <a:gd name="connsiteX548" fmla="*/ 566598 w 1375767"/>
                <a:gd name="connsiteY548" fmla="*/ 551122 h 1047668"/>
                <a:gd name="connsiteX549" fmla="*/ 565621 w 1375767"/>
                <a:gd name="connsiteY549" fmla="*/ 555357 h 1047668"/>
                <a:gd name="connsiteX550" fmla="*/ 563177 w 1375767"/>
                <a:gd name="connsiteY550" fmla="*/ 559919 h 1047668"/>
                <a:gd name="connsiteX551" fmla="*/ 564317 w 1375767"/>
                <a:gd name="connsiteY551" fmla="*/ 564154 h 1047668"/>
                <a:gd name="connsiteX552" fmla="*/ 567413 w 1375767"/>
                <a:gd name="connsiteY552" fmla="*/ 563340 h 1047668"/>
                <a:gd name="connsiteX553" fmla="*/ 570345 w 1375767"/>
                <a:gd name="connsiteY553" fmla="*/ 559430 h 1047668"/>
                <a:gd name="connsiteX554" fmla="*/ 571485 w 1375767"/>
                <a:gd name="connsiteY554" fmla="*/ 562199 h 1047668"/>
                <a:gd name="connsiteX555" fmla="*/ 572300 w 1375767"/>
                <a:gd name="connsiteY555" fmla="*/ 569367 h 1047668"/>
                <a:gd name="connsiteX556" fmla="*/ 569856 w 1375767"/>
                <a:gd name="connsiteY556" fmla="*/ 570834 h 1047668"/>
                <a:gd name="connsiteX557" fmla="*/ 568064 w 1375767"/>
                <a:gd name="connsiteY557" fmla="*/ 573277 h 1047668"/>
                <a:gd name="connsiteX558" fmla="*/ 569530 w 1375767"/>
                <a:gd name="connsiteY558" fmla="*/ 575232 h 1047668"/>
                <a:gd name="connsiteX559" fmla="*/ 572952 w 1375767"/>
                <a:gd name="connsiteY559" fmla="*/ 574743 h 1047668"/>
                <a:gd name="connsiteX560" fmla="*/ 575232 w 1375767"/>
                <a:gd name="connsiteY560" fmla="*/ 572626 h 1047668"/>
                <a:gd name="connsiteX561" fmla="*/ 578165 w 1375767"/>
                <a:gd name="connsiteY561" fmla="*/ 572626 h 1047668"/>
                <a:gd name="connsiteX562" fmla="*/ 579794 w 1375767"/>
                <a:gd name="connsiteY562" fmla="*/ 574418 h 1047668"/>
                <a:gd name="connsiteX563" fmla="*/ 580282 w 1375767"/>
                <a:gd name="connsiteY563" fmla="*/ 577187 h 1047668"/>
                <a:gd name="connsiteX564" fmla="*/ 585821 w 1375767"/>
                <a:gd name="connsiteY564" fmla="*/ 577839 h 1047668"/>
                <a:gd name="connsiteX565" fmla="*/ 589894 w 1375767"/>
                <a:gd name="connsiteY565" fmla="*/ 580771 h 1047668"/>
                <a:gd name="connsiteX566" fmla="*/ 595270 w 1375767"/>
                <a:gd name="connsiteY566" fmla="*/ 580445 h 1047668"/>
                <a:gd name="connsiteX567" fmla="*/ 599343 w 1375767"/>
                <a:gd name="connsiteY567" fmla="*/ 576861 h 1047668"/>
                <a:gd name="connsiteX568" fmla="*/ 601461 w 1375767"/>
                <a:gd name="connsiteY568" fmla="*/ 567575 h 1047668"/>
                <a:gd name="connsiteX569" fmla="*/ 604556 w 1375767"/>
                <a:gd name="connsiteY569" fmla="*/ 563829 h 1047668"/>
                <a:gd name="connsiteX570" fmla="*/ 613842 w 1375767"/>
                <a:gd name="connsiteY570" fmla="*/ 563829 h 1047668"/>
                <a:gd name="connsiteX571" fmla="*/ 617752 w 1375767"/>
                <a:gd name="connsiteY571" fmla="*/ 561059 h 1047668"/>
                <a:gd name="connsiteX572" fmla="*/ 613190 w 1375767"/>
                <a:gd name="connsiteY572" fmla="*/ 566272 h 1047668"/>
                <a:gd name="connsiteX573" fmla="*/ 609117 w 1375767"/>
                <a:gd name="connsiteY573" fmla="*/ 566761 h 1047668"/>
                <a:gd name="connsiteX574" fmla="*/ 600972 w 1375767"/>
                <a:gd name="connsiteY574" fmla="*/ 574743 h 1047668"/>
                <a:gd name="connsiteX575" fmla="*/ 599994 w 1375767"/>
                <a:gd name="connsiteY575" fmla="*/ 579631 h 1047668"/>
                <a:gd name="connsiteX576" fmla="*/ 596736 w 1375767"/>
                <a:gd name="connsiteY576" fmla="*/ 583052 h 1047668"/>
                <a:gd name="connsiteX577" fmla="*/ 601461 w 1375767"/>
                <a:gd name="connsiteY577" fmla="*/ 588265 h 1047668"/>
                <a:gd name="connsiteX578" fmla="*/ 601786 w 1375767"/>
                <a:gd name="connsiteY578" fmla="*/ 591849 h 1047668"/>
                <a:gd name="connsiteX579" fmla="*/ 595107 w 1375767"/>
                <a:gd name="connsiteY579" fmla="*/ 593641 h 1047668"/>
                <a:gd name="connsiteX580" fmla="*/ 592826 w 1375767"/>
                <a:gd name="connsiteY580" fmla="*/ 591686 h 1047668"/>
                <a:gd name="connsiteX581" fmla="*/ 592826 w 1375767"/>
                <a:gd name="connsiteY581" fmla="*/ 588591 h 1047668"/>
                <a:gd name="connsiteX582" fmla="*/ 590546 w 1375767"/>
                <a:gd name="connsiteY582" fmla="*/ 585984 h 1047668"/>
                <a:gd name="connsiteX583" fmla="*/ 585984 w 1375767"/>
                <a:gd name="connsiteY583" fmla="*/ 586310 h 1047668"/>
                <a:gd name="connsiteX584" fmla="*/ 583541 w 1375767"/>
                <a:gd name="connsiteY584" fmla="*/ 582074 h 1047668"/>
                <a:gd name="connsiteX585" fmla="*/ 576536 w 1375767"/>
                <a:gd name="connsiteY585" fmla="*/ 580934 h 1047668"/>
                <a:gd name="connsiteX586" fmla="*/ 574092 w 1375767"/>
                <a:gd name="connsiteY586" fmla="*/ 577350 h 1047668"/>
                <a:gd name="connsiteX587" fmla="*/ 570182 w 1375767"/>
                <a:gd name="connsiteY587" fmla="*/ 580445 h 1047668"/>
                <a:gd name="connsiteX588" fmla="*/ 565946 w 1375767"/>
                <a:gd name="connsiteY588" fmla="*/ 581423 h 1047668"/>
                <a:gd name="connsiteX589" fmla="*/ 564643 w 1375767"/>
                <a:gd name="connsiteY589" fmla="*/ 585658 h 1047668"/>
                <a:gd name="connsiteX590" fmla="*/ 560896 w 1375767"/>
                <a:gd name="connsiteY590" fmla="*/ 588265 h 1047668"/>
                <a:gd name="connsiteX591" fmla="*/ 555520 w 1375767"/>
                <a:gd name="connsiteY591" fmla="*/ 586962 h 1047668"/>
                <a:gd name="connsiteX592" fmla="*/ 554543 w 1375767"/>
                <a:gd name="connsiteY592" fmla="*/ 590546 h 1047668"/>
                <a:gd name="connsiteX593" fmla="*/ 557149 w 1375767"/>
                <a:gd name="connsiteY593" fmla="*/ 594618 h 1047668"/>
                <a:gd name="connsiteX594" fmla="*/ 559593 w 1375767"/>
                <a:gd name="connsiteY594" fmla="*/ 594944 h 1047668"/>
                <a:gd name="connsiteX595" fmla="*/ 556498 w 1375767"/>
                <a:gd name="connsiteY595" fmla="*/ 598854 h 1047668"/>
                <a:gd name="connsiteX596" fmla="*/ 555520 w 1375767"/>
                <a:gd name="connsiteY596" fmla="*/ 605533 h 1047668"/>
                <a:gd name="connsiteX597" fmla="*/ 556986 w 1375767"/>
                <a:gd name="connsiteY597" fmla="*/ 610095 h 1047668"/>
                <a:gd name="connsiteX598" fmla="*/ 560570 w 1375767"/>
                <a:gd name="connsiteY598" fmla="*/ 610421 h 1047668"/>
                <a:gd name="connsiteX599" fmla="*/ 561059 w 1375767"/>
                <a:gd name="connsiteY599" fmla="*/ 619055 h 1047668"/>
                <a:gd name="connsiteX600" fmla="*/ 561874 w 1375767"/>
                <a:gd name="connsiteY600" fmla="*/ 621987 h 1047668"/>
                <a:gd name="connsiteX601" fmla="*/ 561874 w 1375767"/>
                <a:gd name="connsiteY601" fmla="*/ 625897 h 1047668"/>
                <a:gd name="connsiteX602" fmla="*/ 566435 w 1375767"/>
                <a:gd name="connsiteY602" fmla="*/ 629970 h 1047668"/>
                <a:gd name="connsiteX603" fmla="*/ 566435 w 1375767"/>
                <a:gd name="connsiteY603" fmla="*/ 631925 h 1047668"/>
                <a:gd name="connsiteX604" fmla="*/ 560896 w 1375767"/>
                <a:gd name="connsiteY604" fmla="*/ 632739 h 1047668"/>
                <a:gd name="connsiteX605" fmla="*/ 559430 w 1375767"/>
                <a:gd name="connsiteY605" fmla="*/ 635509 h 1047668"/>
                <a:gd name="connsiteX606" fmla="*/ 576210 w 1375767"/>
                <a:gd name="connsiteY606" fmla="*/ 643328 h 1047668"/>
                <a:gd name="connsiteX607" fmla="*/ 582726 w 1375767"/>
                <a:gd name="connsiteY607" fmla="*/ 643328 h 1047668"/>
                <a:gd name="connsiteX608" fmla="*/ 590220 w 1375767"/>
                <a:gd name="connsiteY608" fmla="*/ 640070 h 1047668"/>
                <a:gd name="connsiteX609" fmla="*/ 594293 w 1375767"/>
                <a:gd name="connsiteY609" fmla="*/ 638441 h 1047668"/>
                <a:gd name="connsiteX610" fmla="*/ 597225 w 1375767"/>
                <a:gd name="connsiteY610" fmla="*/ 640233 h 1047668"/>
                <a:gd name="connsiteX611" fmla="*/ 600320 w 1375767"/>
                <a:gd name="connsiteY611" fmla="*/ 639907 h 1047668"/>
                <a:gd name="connsiteX612" fmla="*/ 607162 w 1375767"/>
                <a:gd name="connsiteY612" fmla="*/ 630784 h 1047668"/>
                <a:gd name="connsiteX613" fmla="*/ 607162 w 1375767"/>
                <a:gd name="connsiteY613" fmla="*/ 626386 h 1047668"/>
                <a:gd name="connsiteX614" fmla="*/ 604719 w 1375767"/>
                <a:gd name="connsiteY614" fmla="*/ 622639 h 1047668"/>
                <a:gd name="connsiteX615" fmla="*/ 604719 w 1375767"/>
                <a:gd name="connsiteY615" fmla="*/ 620358 h 1047668"/>
                <a:gd name="connsiteX616" fmla="*/ 611398 w 1375767"/>
                <a:gd name="connsiteY616" fmla="*/ 616774 h 1047668"/>
                <a:gd name="connsiteX617" fmla="*/ 618729 w 1375767"/>
                <a:gd name="connsiteY617" fmla="*/ 611072 h 1047668"/>
                <a:gd name="connsiteX618" fmla="*/ 630133 w 1375767"/>
                <a:gd name="connsiteY618" fmla="*/ 603578 h 1047668"/>
                <a:gd name="connsiteX619" fmla="*/ 634857 w 1375767"/>
                <a:gd name="connsiteY619" fmla="*/ 604719 h 1047668"/>
                <a:gd name="connsiteX620" fmla="*/ 629644 w 1375767"/>
                <a:gd name="connsiteY620" fmla="*/ 605207 h 1047668"/>
                <a:gd name="connsiteX621" fmla="*/ 619055 w 1375767"/>
                <a:gd name="connsiteY621" fmla="*/ 615797 h 1047668"/>
                <a:gd name="connsiteX622" fmla="*/ 612538 w 1375767"/>
                <a:gd name="connsiteY622" fmla="*/ 619706 h 1047668"/>
                <a:gd name="connsiteX623" fmla="*/ 612213 w 1375767"/>
                <a:gd name="connsiteY623" fmla="*/ 622639 h 1047668"/>
                <a:gd name="connsiteX624" fmla="*/ 616448 w 1375767"/>
                <a:gd name="connsiteY624" fmla="*/ 626223 h 1047668"/>
                <a:gd name="connsiteX625" fmla="*/ 616448 w 1375767"/>
                <a:gd name="connsiteY625" fmla="*/ 629155 h 1047668"/>
                <a:gd name="connsiteX626" fmla="*/ 612050 w 1375767"/>
                <a:gd name="connsiteY626" fmla="*/ 636486 h 1047668"/>
                <a:gd name="connsiteX627" fmla="*/ 606511 w 1375767"/>
                <a:gd name="connsiteY627" fmla="*/ 640070 h 1047668"/>
                <a:gd name="connsiteX628" fmla="*/ 605696 w 1375767"/>
                <a:gd name="connsiteY628" fmla="*/ 645446 h 1047668"/>
                <a:gd name="connsiteX629" fmla="*/ 607000 w 1375767"/>
                <a:gd name="connsiteY629" fmla="*/ 651962 h 1047668"/>
                <a:gd name="connsiteX630" fmla="*/ 605370 w 1375767"/>
                <a:gd name="connsiteY630" fmla="*/ 656850 h 1047668"/>
                <a:gd name="connsiteX631" fmla="*/ 605696 w 1375767"/>
                <a:gd name="connsiteY631" fmla="*/ 659456 h 1047668"/>
                <a:gd name="connsiteX632" fmla="*/ 605370 w 1375767"/>
                <a:gd name="connsiteY632" fmla="*/ 663855 h 1047668"/>
                <a:gd name="connsiteX633" fmla="*/ 606185 w 1375767"/>
                <a:gd name="connsiteY633" fmla="*/ 669557 h 1047668"/>
                <a:gd name="connsiteX634" fmla="*/ 599180 w 1375767"/>
                <a:gd name="connsiteY634" fmla="*/ 671837 h 1047668"/>
                <a:gd name="connsiteX635" fmla="*/ 596085 w 1375767"/>
                <a:gd name="connsiteY635" fmla="*/ 674444 h 1047668"/>
                <a:gd name="connsiteX636" fmla="*/ 594781 w 1375767"/>
                <a:gd name="connsiteY636" fmla="*/ 678354 h 1047668"/>
                <a:gd name="connsiteX637" fmla="*/ 592338 w 1375767"/>
                <a:gd name="connsiteY637" fmla="*/ 677376 h 1047668"/>
                <a:gd name="connsiteX638" fmla="*/ 590383 w 1375767"/>
                <a:gd name="connsiteY638" fmla="*/ 679005 h 1047668"/>
                <a:gd name="connsiteX639" fmla="*/ 592175 w 1375767"/>
                <a:gd name="connsiteY639" fmla="*/ 684056 h 1047668"/>
                <a:gd name="connsiteX640" fmla="*/ 592175 w 1375767"/>
                <a:gd name="connsiteY640" fmla="*/ 689269 h 1047668"/>
                <a:gd name="connsiteX641" fmla="*/ 594618 w 1375767"/>
                <a:gd name="connsiteY641" fmla="*/ 690246 h 1047668"/>
                <a:gd name="connsiteX642" fmla="*/ 599180 w 1375767"/>
                <a:gd name="connsiteY642" fmla="*/ 688780 h 1047668"/>
                <a:gd name="connsiteX643" fmla="*/ 602764 w 1375767"/>
                <a:gd name="connsiteY643" fmla="*/ 688780 h 1047668"/>
                <a:gd name="connsiteX644" fmla="*/ 603578 w 1375767"/>
                <a:gd name="connsiteY644" fmla="*/ 691386 h 1047668"/>
                <a:gd name="connsiteX645" fmla="*/ 600972 w 1375767"/>
                <a:gd name="connsiteY645" fmla="*/ 694482 h 1047668"/>
                <a:gd name="connsiteX646" fmla="*/ 595107 w 1375767"/>
                <a:gd name="connsiteY646" fmla="*/ 694482 h 1047668"/>
                <a:gd name="connsiteX647" fmla="*/ 592989 w 1375767"/>
                <a:gd name="connsiteY647" fmla="*/ 696599 h 1047668"/>
                <a:gd name="connsiteX648" fmla="*/ 594130 w 1375767"/>
                <a:gd name="connsiteY648" fmla="*/ 699532 h 1047668"/>
                <a:gd name="connsiteX649" fmla="*/ 593478 w 1375767"/>
                <a:gd name="connsiteY649" fmla="*/ 701487 h 1047668"/>
                <a:gd name="connsiteX650" fmla="*/ 594781 w 1375767"/>
                <a:gd name="connsiteY650" fmla="*/ 705234 h 1047668"/>
                <a:gd name="connsiteX651" fmla="*/ 591849 w 1375767"/>
                <a:gd name="connsiteY651" fmla="*/ 707514 h 1047668"/>
                <a:gd name="connsiteX652" fmla="*/ 587776 w 1375767"/>
                <a:gd name="connsiteY652" fmla="*/ 708329 h 1047668"/>
                <a:gd name="connsiteX653" fmla="*/ 583215 w 1375767"/>
                <a:gd name="connsiteY653" fmla="*/ 711261 h 1047668"/>
                <a:gd name="connsiteX654" fmla="*/ 579957 w 1375767"/>
                <a:gd name="connsiteY654" fmla="*/ 710447 h 1047668"/>
                <a:gd name="connsiteX655" fmla="*/ 578002 w 1375767"/>
                <a:gd name="connsiteY655" fmla="*/ 711424 h 1047668"/>
                <a:gd name="connsiteX656" fmla="*/ 581097 w 1375767"/>
                <a:gd name="connsiteY656" fmla="*/ 713868 h 1047668"/>
                <a:gd name="connsiteX657" fmla="*/ 585821 w 1375767"/>
                <a:gd name="connsiteY657" fmla="*/ 714520 h 1047668"/>
                <a:gd name="connsiteX658" fmla="*/ 588917 w 1375767"/>
                <a:gd name="connsiteY658" fmla="*/ 716963 h 1047668"/>
                <a:gd name="connsiteX659" fmla="*/ 594618 w 1375767"/>
                <a:gd name="connsiteY659" fmla="*/ 711587 h 1047668"/>
                <a:gd name="connsiteX660" fmla="*/ 605208 w 1375767"/>
                <a:gd name="connsiteY660" fmla="*/ 704745 h 1047668"/>
                <a:gd name="connsiteX661" fmla="*/ 607325 w 1375767"/>
                <a:gd name="connsiteY661" fmla="*/ 705234 h 1047668"/>
                <a:gd name="connsiteX662" fmla="*/ 611235 w 1375767"/>
                <a:gd name="connsiteY662" fmla="*/ 705885 h 1047668"/>
                <a:gd name="connsiteX663" fmla="*/ 614982 w 1375767"/>
                <a:gd name="connsiteY663" fmla="*/ 701975 h 1047668"/>
                <a:gd name="connsiteX664" fmla="*/ 623128 w 1375767"/>
                <a:gd name="connsiteY664" fmla="*/ 698880 h 1047668"/>
                <a:gd name="connsiteX665" fmla="*/ 621987 w 1375767"/>
                <a:gd name="connsiteY665" fmla="*/ 702301 h 1047668"/>
                <a:gd name="connsiteX666" fmla="*/ 618403 w 1375767"/>
                <a:gd name="connsiteY666" fmla="*/ 704582 h 1047668"/>
                <a:gd name="connsiteX667" fmla="*/ 618403 w 1375767"/>
                <a:gd name="connsiteY667" fmla="*/ 706374 h 1047668"/>
                <a:gd name="connsiteX668" fmla="*/ 622313 w 1375767"/>
                <a:gd name="connsiteY668" fmla="*/ 708003 h 1047668"/>
                <a:gd name="connsiteX669" fmla="*/ 623290 w 1375767"/>
                <a:gd name="connsiteY669" fmla="*/ 712890 h 1047668"/>
                <a:gd name="connsiteX670" fmla="*/ 622476 w 1375767"/>
                <a:gd name="connsiteY670" fmla="*/ 715497 h 1047668"/>
                <a:gd name="connsiteX671" fmla="*/ 626060 w 1375767"/>
                <a:gd name="connsiteY671" fmla="*/ 717452 h 1047668"/>
                <a:gd name="connsiteX672" fmla="*/ 630458 w 1375767"/>
                <a:gd name="connsiteY672" fmla="*/ 714357 h 1047668"/>
                <a:gd name="connsiteX673" fmla="*/ 632902 w 1375767"/>
                <a:gd name="connsiteY673" fmla="*/ 710447 h 1047668"/>
                <a:gd name="connsiteX674" fmla="*/ 634694 w 1375767"/>
                <a:gd name="connsiteY674" fmla="*/ 712890 h 1047668"/>
                <a:gd name="connsiteX675" fmla="*/ 633065 w 1375767"/>
                <a:gd name="connsiteY675" fmla="*/ 715334 h 1047668"/>
                <a:gd name="connsiteX676" fmla="*/ 636323 w 1375767"/>
                <a:gd name="connsiteY676" fmla="*/ 721199 h 1047668"/>
                <a:gd name="connsiteX677" fmla="*/ 637952 w 1375767"/>
                <a:gd name="connsiteY677" fmla="*/ 729181 h 1047668"/>
                <a:gd name="connsiteX678" fmla="*/ 636812 w 1375767"/>
                <a:gd name="connsiteY678" fmla="*/ 733743 h 1047668"/>
                <a:gd name="connsiteX679" fmla="*/ 639256 w 1375767"/>
                <a:gd name="connsiteY679" fmla="*/ 740259 h 1047668"/>
                <a:gd name="connsiteX680" fmla="*/ 642188 w 1375767"/>
                <a:gd name="connsiteY680" fmla="*/ 740748 h 1047668"/>
                <a:gd name="connsiteX681" fmla="*/ 644632 w 1375767"/>
                <a:gd name="connsiteY681" fmla="*/ 734557 h 1047668"/>
                <a:gd name="connsiteX682" fmla="*/ 644143 w 1375767"/>
                <a:gd name="connsiteY682" fmla="*/ 729507 h 1047668"/>
                <a:gd name="connsiteX683" fmla="*/ 648704 w 1375767"/>
                <a:gd name="connsiteY683" fmla="*/ 722013 h 1047668"/>
                <a:gd name="connsiteX684" fmla="*/ 649519 w 1375767"/>
                <a:gd name="connsiteY684" fmla="*/ 717778 h 1047668"/>
                <a:gd name="connsiteX685" fmla="*/ 655058 w 1375767"/>
                <a:gd name="connsiteY685" fmla="*/ 713216 h 1047668"/>
                <a:gd name="connsiteX686" fmla="*/ 656687 w 1375767"/>
                <a:gd name="connsiteY686" fmla="*/ 713216 h 1047668"/>
                <a:gd name="connsiteX687" fmla="*/ 661737 w 1375767"/>
                <a:gd name="connsiteY687" fmla="*/ 709306 h 1047668"/>
                <a:gd name="connsiteX688" fmla="*/ 669068 w 1375767"/>
                <a:gd name="connsiteY688" fmla="*/ 708981 h 1047668"/>
                <a:gd name="connsiteX689" fmla="*/ 662552 w 1375767"/>
                <a:gd name="connsiteY689" fmla="*/ 712076 h 1047668"/>
                <a:gd name="connsiteX690" fmla="*/ 655384 w 1375767"/>
                <a:gd name="connsiteY690" fmla="*/ 719733 h 1047668"/>
                <a:gd name="connsiteX691" fmla="*/ 655384 w 1375767"/>
                <a:gd name="connsiteY691" fmla="*/ 722665 h 1047668"/>
                <a:gd name="connsiteX692" fmla="*/ 661411 w 1375767"/>
                <a:gd name="connsiteY692" fmla="*/ 729996 h 1047668"/>
                <a:gd name="connsiteX693" fmla="*/ 664669 w 1375767"/>
                <a:gd name="connsiteY693" fmla="*/ 730810 h 1047668"/>
                <a:gd name="connsiteX694" fmla="*/ 672000 w 1375767"/>
                <a:gd name="connsiteY694" fmla="*/ 727064 h 1047668"/>
                <a:gd name="connsiteX695" fmla="*/ 682101 w 1375767"/>
                <a:gd name="connsiteY695" fmla="*/ 725597 h 1047668"/>
                <a:gd name="connsiteX696" fmla="*/ 686825 w 1375767"/>
                <a:gd name="connsiteY696" fmla="*/ 721850 h 1047668"/>
                <a:gd name="connsiteX697" fmla="*/ 689920 w 1375767"/>
                <a:gd name="connsiteY697" fmla="*/ 721850 h 1047668"/>
                <a:gd name="connsiteX698" fmla="*/ 698880 w 1375767"/>
                <a:gd name="connsiteY698" fmla="*/ 717289 h 1047668"/>
                <a:gd name="connsiteX699" fmla="*/ 701813 w 1375767"/>
                <a:gd name="connsiteY699" fmla="*/ 717289 h 1047668"/>
                <a:gd name="connsiteX700" fmla="*/ 698554 w 1375767"/>
                <a:gd name="connsiteY700" fmla="*/ 718755 h 1047668"/>
                <a:gd name="connsiteX701" fmla="*/ 693016 w 1375767"/>
                <a:gd name="connsiteY701" fmla="*/ 725272 h 1047668"/>
                <a:gd name="connsiteX702" fmla="*/ 693016 w 1375767"/>
                <a:gd name="connsiteY702" fmla="*/ 728204 h 1047668"/>
                <a:gd name="connsiteX703" fmla="*/ 689594 w 1375767"/>
                <a:gd name="connsiteY703" fmla="*/ 731462 h 1047668"/>
                <a:gd name="connsiteX704" fmla="*/ 675421 w 1375767"/>
                <a:gd name="connsiteY704" fmla="*/ 739119 h 1047668"/>
                <a:gd name="connsiteX705" fmla="*/ 669068 w 1375767"/>
                <a:gd name="connsiteY705" fmla="*/ 744495 h 1047668"/>
                <a:gd name="connsiteX706" fmla="*/ 664832 w 1375767"/>
                <a:gd name="connsiteY706" fmla="*/ 752477 h 1047668"/>
                <a:gd name="connsiteX707" fmla="*/ 664018 w 1375767"/>
                <a:gd name="connsiteY707" fmla="*/ 757365 h 1047668"/>
                <a:gd name="connsiteX708" fmla="*/ 665973 w 1375767"/>
                <a:gd name="connsiteY708" fmla="*/ 761600 h 1047668"/>
                <a:gd name="connsiteX709" fmla="*/ 670697 w 1375767"/>
                <a:gd name="connsiteY709" fmla="*/ 764695 h 1047668"/>
                <a:gd name="connsiteX710" fmla="*/ 662226 w 1375767"/>
                <a:gd name="connsiteY710" fmla="*/ 763229 h 1047668"/>
                <a:gd name="connsiteX711" fmla="*/ 658968 w 1375767"/>
                <a:gd name="connsiteY711" fmla="*/ 764370 h 1047668"/>
                <a:gd name="connsiteX712" fmla="*/ 654406 w 1375767"/>
                <a:gd name="connsiteY712" fmla="*/ 770397 h 1047668"/>
                <a:gd name="connsiteX713" fmla="*/ 652614 w 1375767"/>
                <a:gd name="connsiteY713" fmla="*/ 776588 h 1047668"/>
                <a:gd name="connsiteX714" fmla="*/ 646098 w 1375767"/>
                <a:gd name="connsiteY714" fmla="*/ 783919 h 1047668"/>
                <a:gd name="connsiteX715" fmla="*/ 643002 w 1375767"/>
                <a:gd name="connsiteY715" fmla="*/ 788806 h 1047668"/>
                <a:gd name="connsiteX716" fmla="*/ 644469 w 1375767"/>
                <a:gd name="connsiteY716" fmla="*/ 791413 h 1047668"/>
                <a:gd name="connsiteX717" fmla="*/ 646261 w 1375767"/>
                <a:gd name="connsiteY717" fmla="*/ 793368 h 1047668"/>
                <a:gd name="connsiteX718" fmla="*/ 645446 w 1375767"/>
                <a:gd name="connsiteY718" fmla="*/ 797115 h 1047668"/>
                <a:gd name="connsiteX719" fmla="*/ 642188 w 1375767"/>
                <a:gd name="connsiteY719" fmla="*/ 795974 h 1047668"/>
                <a:gd name="connsiteX720" fmla="*/ 640885 w 1375767"/>
                <a:gd name="connsiteY720" fmla="*/ 792716 h 1047668"/>
                <a:gd name="connsiteX721" fmla="*/ 637464 w 1375767"/>
                <a:gd name="connsiteY721" fmla="*/ 792064 h 1047668"/>
                <a:gd name="connsiteX722" fmla="*/ 633717 w 1375767"/>
                <a:gd name="connsiteY722" fmla="*/ 797115 h 1047668"/>
                <a:gd name="connsiteX723" fmla="*/ 626712 w 1375767"/>
                <a:gd name="connsiteY723" fmla="*/ 801024 h 1047668"/>
                <a:gd name="connsiteX724" fmla="*/ 628829 w 1375767"/>
                <a:gd name="connsiteY724" fmla="*/ 804120 h 1047668"/>
                <a:gd name="connsiteX725" fmla="*/ 626874 w 1375767"/>
                <a:gd name="connsiteY725" fmla="*/ 807703 h 1047668"/>
                <a:gd name="connsiteX726" fmla="*/ 623290 w 1375767"/>
                <a:gd name="connsiteY726" fmla="*/ 807052 h 1047668"/>
                <a:gd name="connsiteX727" fmla="*/ 622150 w 1375767"/>
                <a:gd name="connsiteY727" fmla="*/ 804445 h 1047668"/>
                <a:gd name="connsiteX728" fmla="*/ 619218 w 1375767"/>
                <a:gd name="connsiteY728" fmla="*/ 806237 h 1047668"/>
                <a:gd name="connsiteX729" fmla="*/ 607977 w 1375767"/>
                <a:gd name="connsiteY729" fmla="*/ 815197 h 1047668"/>
                <a:gd name="connsiteX730" fmla="*/ 605045 w 1375767"/>
                <a:gd name="connsiteY730" fmla="*/ 820411 h 1047668"/>
                <a:gd name="connsiteX731" fmla="*/ 605696 w 1375767"/>
                <a:gd name="connsiteY731" fmla="*/ 823506 h 1047668"/>
                <a:gd name="connsiteX732" fmla="*/ 603904 w 1375767"/>
                <a:gd name="connsiteY732" fmla="*/ 825786 h 1047668"/>
                <a:gd name="connsiteX733" fmla="*/ 599994 w 1375767"/>
                <a:gd name="connsiteY733" fmla="*/ 824157 h 1047668"/>
                <a:gd name="connsiteX734" fmla="*/ 599994 w 1375767"/>
                <a:gd name="connsiteY734" fmla="*/ 819107 h 1047668"/>
                <a:gd name="connsiteX735" fmla="*/ 592664 w 1375767"/>
                <a:gd name="connsiteY735" fmla="*/ 822365 h 1047668"/>
                <a:gd name="connsiteX736" fmla="*/ 586962 w 1375767"/>
                <a:gd name="connsiteY736" fmla="*/ 826275 h 1047668"/>
                <a:gd name="connsiteX737" fmla="*/ 582400 w 1375767"/>
                <a:gd name="connsiteY737" fmla="*/ 828067 h 1047668"/>
                <a:gd name="connsiteX738" fmla="*/ 581749 w 1375767"/>
                <a:gd name="connsiteY738" fmla="*/ 831814 h 1047668"/>
                <a:gd name="connsiteX739" fmla="*/ 577513 w 1375767"/>
                <a:gd name="connsiteY739" fmla="*/ 833769 h 1047668"/>
                <a:gd name="connsiteX740" fmla="*/ 570345 w 1375767"/>
                <a:gd name="connsiteY740" fmla="*/ 833769 h 1047668"/>
                <a:gd name="connsiteX741" fmla="*/ 563503 w 1375767"/>
                <a:gd name="connsiteY741" fmla="*/ 840285 h 1047668"/>
                <a:gd name="connsiteX742" fmla="*/ 551610 w 1375767"/>
                <a:gd name="connsiteY742" fmla="*/ 844521 h 1047668"/>
                <a:gd name="connsiteX743" fmla="*/ 543628 w 1375767"/>
                <a:gd name="connsiteY743" fmla="*/ 851037 h 1047668"/>
                <a:gd name="connsiteX744" fmla="*/ 540533 w 1375767"/>
                <a:gd name="connsiteY744" fmla="*/ 858205 h 1047668"/>
                <a:gd name="connsiteX745" fmla="*/ 540044 w 1375767"/>
                <a:gd name="connsiteY745" fmla="*/ 860975 h 1047668"/>
                <a:gd name="connsiteX746" fmla="*/ 541999 w 1375767"/>
                <a:gd name="connsiteY746" fmla="*/ 865048 h 1047668"/>
                <a:gd name="connsiteX747" fmla="*/ 541673 w 1375767"/>
                <a:gd name="connsiteY747" fmla="*/ 868632 h 1047668"/>
                <a:gd name="connsiteX748" fmla="*/ 540044 w 1375767"/>
                <a:gd name="connsiteY748" fmla="*/ 869772 h 1047668"/>
                <a:gd name="connsiteX749" fmla="*/ 537111 w 1375767"/>
                <a:gd name="connsiteY749" fmla="*/ 865536 h 1047668"/>
                <a:gd name="connsiteX750" fmla="*/ 534505 w 1375767"/>
                <a:gd name="connsiteY750" fmla="*/ 865536 h 1047668"/>
                <a:gd name="connsiteX751" fmla="*/ 533527 w 1375767"/>
                <a:gd name="connsiteY751" fmla="*/ 867980 h 1047668"/>
                <a:gd name="connsiteX752" fmla="*/ 534342 w 1375767"/>
                <a:gd name="connsiteY752" fmla="*/ 871727 h 1047668"/>
                <a:gd name="connsiteX753" fmla="*/ 531898 w 1375767"/>
                <a:gd name="connsiteY753" fmla="*/ 873193 h 1047668"/>
                <a:gd name="connsiteX754" fmla="*/ 528966 w 1375767"/>
                <a:gd name="connsiteY754" fmla="*/ 869609 h 1047668"/>
                <a:gd name="connsiteX755" fmla="*/ 528966 w 1375767"/>
                <a:gd name="connsiteY755" fmla="*/ 865211 h 1047668"/>
                <a:gd name="connsiteX756" fmla="*/ 530921 w 1375767"/>
                <a:gd name="connsiteY756" fmla="*/ 861789 h 1047668"/>
                <a:gd name="connsiteX757" fmla="*/ 527337 w 1375767"/>
                <a:gd name="connsiteY757" fmla="*/ 859997 h 1047668"/>
                <a:gd name="connsiteX758" fmla="*/ 522287 w 1375767"/>
                <a:gd name="connsiteY758" fmla="*/ 860486 h 1047668"/>
                <a:gd name="connsiteX759" fmla="*/ 519843 w 1375767"/>
                <a:gd name="connsiteY759" fmla="*/ 859346 h 1047668"/>
                <a:gd name="connsiteX760" fmla="*/ 514793 w 1375767"/>
                <a:gd name="connsiteY760" fmla="*/ 860812 h 1047668"/>
                <a:gd name="connsiteX761" fmla="*/ 507299 w 1375767"/>
                <a:gd name="connsiteY761" fmla="*/ 861627 h 1047668"/>
                <a:gd name="connsiteX762" fmla="*/ 502738 w 1375767"/>
                <a:gd name="connsiteY762" fmla="*/ 863581 h 1047668"/>
                <a:gd name="connsiteX763" fmla="*/ 499642 w 1375767"/>
                <a:gd name="connsiteY763" fmla="*/ 867817 h 1047668"/>
                <a:gd name="connsiteX764" fmla="*/ 492963 w 1375767"/>
                <a:gd name="connsiteY764" fmla="*/ 870424 h 1047668"/>
                <a:gd name="connsiteX765" fmla="*/ 487261 w 1375767"/>
                <a:gd name="connsiteY765" fmla="*/ 874170 h 1047668"/>
                <a:gd name="connsiteX766" fmla="*/ 480908 w 1375767"/>
                <a:gd name="connsiteY766" fmla="*/ 880687 h 1047668"/>
                <a:gd name="connsiteX767" fmla="*/ 482048 w 1375767"/>
                <a:gd name="connsiteY767" fmla="*/ 882805 h 1047668"/>
                <a:gd name="connsiteX768" fmla="*/ 480093 w 1375767"/>
                <a:gd name="connsiteY768" fmla="*/ 885248 h 1047668"/>
                <a:gd name="connsiteX769" fmla="*/ 477650 w 1375767"/>
                <a:gd name="connsiteY769" fmla="*/ 884760 h 1047668"/>
                <a:gd name="connsiteX770" fmla="*/ 471459 w 1375767"/>
                <a:gd name="connsiteY770" fmla="*/ 887040 h 1047668"/>
                <a:gd name="connsiteX771" fmla="*/ 468038 w 1375767"/>
                <a:gd name="connsiteY771" fmla="*/ 889647 h 1047668"/>
                <a:gd name="connsiteX772" fmla="*/ 467549 w 1375767"/>
                <a:gd name="connsiteY772" fmla="*/ 892579 h 1047668"/>
                <a:gd name="connsiteX773" fmla="*/ 465431 w 1375767"/>
                <a:gd name="connsiteY773" fmla="*/ 893068 h 1047668"/>
                <a:gd name="connsiteX774" fmla="*/ 461033 w 1375767"/>
                <a:gd name="connsiteY774" fmla="*/ 891765 h 1047668"/>
                <a:gd name="connsiteX775" fmla="*/ 455983 w 1375767"/>
                <a:gd name="connsiteY775" fmla="*/ 893068 h 1047668"/>
                <a:gd name="connsiteX776" fmla="*/ 454354 w 1375767"/>
                <a:gd name="connsiteY776" fmla="*/ 896326 h 1047668"/>
                <a:gd name="connsiteX777" fmla="*/ 453376 w 1375767"/>
                <a:gd name="connsiteY777" fmla="*/ 901865 h 1047668"/>
                <a:gd name="connsiteX778" fmla="*/ 454517 w 1375767"/>
                <a:gd name="connsiteY778" fmla="*/ 904960 h 1047668"/>
                <a:gd name="connsiteX779" fmla="*/ 457775 w 1375767"/>
                <a:gd name="connsiteY779" fmla="*/ 903494 h 1047668"/>
                <a:gd name="connsiteX780" fmla="*/ 459241 w 1375767"/>
                <a:gd name="connsiteY780" fmla="*/ 900236 h 1047668"/>
                <a:gd name="connsiteX781" fmla="*/ 458752 w 1375767"/>
                <a:gd name="connsiteY781" fmla="*/ 897141 h 1047668"/>
                <a:gd name="connsiteX782" fmla="*/ 462336 w 1375767"/>
                <a:gd name="connsiteY782" fmla="*/ 895349 h 1047668"/>
                <a:gd name="connsiteX783" fmla="*/ 463639 w 1375767"/>
                <a:gd name="connsiteY783" fmla="*/ 897141 h 1047668"/>
                <a:gd name="connsiteX784" fmla="*/ 463314 w 1375767"/>
                <a:gd name="connsiteY784" fmla="*/ 900725 h 1047668"/>
                <a:gd name="connsiteX785" fmla="*/ 463639 w 1375767"/>
                <a:gd name="connsiteY785" fmla="*/ 902354 h 1047668"/>
                <a:gd name="connsiteX786" fmla="*/ 468201 w 1375767"/>
                <a:gd name="connsiteY786" fmla="*/ 902354 h 1047668"/>
                <a:gd name="connsiteX787" fmla="*/ 472274 w 1375767"/>
                <a:gd name="connsiteY787" fmla="*/ 894208 h 1047668"/>
                <a:gd name="connsiteX788" fmla="*/ 474554 w 1375767"/>
                <a:gd name="connsiteY788" fmla="*/ 893068 h 1047668"/>
                <a:gd name="connsiteX789" fmla="*/ 476509 w 1375767"/>
                <a:gd name="connsiteY789" fmla="*/ 896489 h 1047668"/>
                <a:gd name="connsiteX790" fmla="*/ 475532 w 1375767"/>
                <a:gd name="connsiteY790" fmla="*/ 899258 h 1047668"/>
                <a:gd name="connsiteX791" fmla="*/ 476183 w 1375767"/>
                <a:gd name="connsiteY791" fmla="*/ 901376 h 1047668"/>
                <a:gd name="connsiteX792" fmla="*/ 480419 w 1375767"/>
                <a:gd name="connsiteY792" fmla="*/ 901376 h 1047668"/>
                <a:gd name="connsiteX793" fmla="*/ 483189 w 1375767"/>
                <a:gd name="connsiteY793" fmla="*/ 896489 h 1047668"/>
                <a:gd name="connsiteX794" fmla="*/ 483840 w 1375767"/>
                <a:gd name="connsiteY794" fmla="*/ 899584 h 1047668"/>
                <a:gd name="connsiteX795" fmla="*/ 485469 w 1375767"/>
                <a:gd name="connsiteY795" fmla="*/ 900073 h 1047668"/>
                <a:gd name="connsiteX796" fmla="*/ 486447 w 1375767"/>
                <a:gd name="connsiteY796" fmla="*/ 896489 h 1047668"/>
                <a:gd name="connsiteX797" fmla="*/ 489542 w 1375767"/>
                <a:gd name="connsiteY797" fmla="*/ 894534 h 1047668"/>
                <a:gd name="connsiteX798" fmla="*/ 494429 w 1375767"/>
                <a:gd name="connsiteY798" fmla="*/ 894860 h 1047668"/>
                <a:gd name="connsiteX799" fmla="*/ 499154 w 1375767"/>
                <a:gd name="connsiteY799" fmla="*/ 891928 h 1047668"/>
                <a:gd name="connsiteX800" fmla="*/ 502086 w 1375767"/>
                <a:gd name="connsiteY800" fmla="*/ 886226 h 1047668"/>
                <a:gd name="connsiteX801" fmla="*/ 501271 w 1375767"/>
                <a:gd name="connsiteY801" fmla="*/ 881990 h 1047668"/>
                <a:gd name="connsiteX802" fmla="*/ 505344 w 1375767"/>
                <a:gd name="connsiteY802" fmla="*/ 879546 h 1047668"/>
                <a:gd name="connsiteX803" fmla="*/ 509580 w 1375767"/>
                <a:gd name="connsiteY803" fmla="*/ 874822 h 1047668"/>
                <a:gd name="connsiteX804" fmla="*/ 512186 w 1375767"/>
                <a:gd name="connsiteY804" fmla="*/ 874822 h 1047668"/>
                <a:gd name="connsiteX805" fmla="*/ 517399 w 1375767"/>
                <a:gd name="connsiteY805" fmla="*/ 878732 h 1047668"/>
                <a:gd name="connsiteX806" fmla="*/ 515933 w 1375767"/>
                <a:gd name="connsiteY806" fmla="*/ 881013 h 1047668"/>
                <a:gd name="connsiteX807" fmla="*/ 512023 w 1375767"/>
                <a:gd name="connsiteY807" fmla="*/ 881827 h 1047668"/>
                <a:gd name="connsiteX808" fmla="*/ 509091 w 1375767"/>
                <a:gd name="connsiteY808" fmla="*/ 886063 h 1047668"/>
                <a:gd name="connsiteX809" fmla="*/ 509091 w 1375767"/>
                <a:gd name="connsiteY809" fmla="*/ 890461 h 1047668"/>
                <a:gd name="connsiteX810" fmla="*/ 510720 w 1375767"/>
                <a:gd name="connsiteY810" fmla="*/ 891602 h 1047668"/>
                <a:gd name="connsiteX811" fmla="*/ 518051 w 1375767"/>
                <a:gd name="connsiteY811" fmla="*/ 886552 h 1047668"/>
                <a:gd name="connsiteX812" fmla="*/ 519191 w 1375767"/>
                <a:gd name="connsiteY812" fmla="*/ 882805 h 1047668"/>
                <a:gd name="connsiteX813" fmla="*/ 522124 w 1375767"/>
                <a:gd name="connsiteY813" fmla="*/ 881501 h 1047668"/>
                <a:gd name="connsiteX814" fmla="*/ 523427 w 1375767"/>
                <a:gd name="connsiteY814" fmla="*/ 883945 h 1047668"/>
                <a:gd name="connsiteX815" fmla="*/ 524567 w 1375767"/>
                <a:gd name="connsiteY815" fmla="*/ 881176 h 1047668"/>
                <a:gd name="connsiteX816" fmla="*/ 527174 w 1375767"/>
                <a:gd name="connsiteY816" fmla="*/ 881176 h 1047668"/>
                <a:gd name="connsiteX817" fmla="*/ 528314 w 1375767"/>
                <a:gd name="connsiteY817" fmla="*/ 884434 h 1047668"/>
                <a:gd name="connsiteX818" fmla="*/ 526685 w 1375767"/>
                <a:gd name="connsiteY818" fmla="*/ 887692 h 1047668"/>
                <a:gd name="connsiteX819" fmla="*/ 528477 w 1375767"/>
                <a:gd name="connsiteY819" fmla="*/ 888018 h 1047668"/>
                <a:gd name="connsiteX820" fmla="*/ 531898 w 1375767"/>
                <a:gd name="connsiteY820" fmla="*/ 882805 h 1047668"/>
                <a:gd name="connsiteX821" fmla="*/ 535808 w 1375767"/>
                <a:gd name="connsiteY821" fmla="*/ 883293 h 1047668"/>
                <a:gd name="connsiteX822" fmla="*/ 539718 w 1375767"/>
                <a:gd name="connsiteY822" fmla="*/ 880198 h 1047668"/>
                <a:gd name="connsiteX823" fmla="*/ 544117 w 1375767"/>
                <a:gd name="connsiteY823" fmla="*/ 880198 h 1047668"/>
                <a:gd name="connsiteX824" fmla="*/ 548841 w 1375767"/>
                <a:gd name="connsiteY824" fmla="*/ 873193 h 1047668"/>
                <a:gd name="connsiteX825" fmla="*/ 553402 w 1375767"/>
                <a:gd name="connsiteY825" fmla="*/ 870586 h 1047668"/>
                <a:gd name="connsiteX826" fmla="*/ 556661 w 1375767"/>
                <a:gd name="connsiteY826" fmla="*/ 871890 h 1047668"/>
                <a:gd name="connsiteX827" fmla="*/ 556661 w 1375767"/>
                <a:gd name="connsiteY827" fmla="*/ 874822 h 1047668"/>
                <a:gd name="connsiteX828" fmla="*/ 553240 w 1375767"/>
                <a:gd name="connsiteY828" fmla="*/ 879384 h 1047668"/>
                <a:gd name="connsiteX829" fmla="*/ 550144 w 1375767"/>
                <a:gd name="connsiteY829" fmla="*/ 884923 h 1047668"/>
                <a:gd name="connsiteX830" fmla="*/ 550144 w 1375767"/>
                <a:gd name="connsiteY830" fmla="*/ 886877 h 1047668"/>
                <a:gd name="connsiteX831" fmla="*/ 552751 w 1375767"/>
                <a:gd name="connsiteY831" fmla="*/ 887040 h 1047668"/>
                <a:gd name="connsiteX832" fmla="*/ 559756 w 1375767"/>
                <a:gd name="connsiteY832" fmla="*/ 879709 h 1047668"/>
                <a:gd name="connsiteX833" fmla="*/ 560082 w 1375767"/>
                <a:gd name="connsiteY833" fmla="*/ 871890 h 1047668"/>
                <a:gd name="connsiteX834" fmla="*/ 560896 w 1375767"/>
                <a:gd name="connsiteY834" fmla="*/ 870261 h 1047668"/>
                <a:gd name="connsiteX835" fmla="*/ 563666 w 1375767"/>
                <a:gd name="connsiteY835" fmla="*/ 873356 h 1047668"/>
                <a:gd name="connsiteX836" fmla="*/ 566761 w 1375767"/>
                <a:gd name="connsiteY836" fmla="*/ 871564 h 1047668"/>
                <a:gd name="connsiteX837" fmla="*/ 570508 w 1375767"/>
                <a:gd name="connsiteY837" fmla="*/ 872541 h 1047668"/>
                <a:gd name="connsiteX838" fmla="*/ 575721 w 1375767"/>
                <a:gd name="connsiteY838" fmla="*/ 872541 h 1047668"/>
                <a:gd name="connsiteX839" fmla="*/ 580282 w 1375767"/>
                <a:gd name="connsiteY839" fmla="*/ 866840 h 1047668"/>
                <a:gd name="connsiteX840" fmla="*/ 581749 w 1375767"/>
                <a:gd name="connsiteY840" fmla="*/ 866514 h 1047668"/>
                <a:gd name="connsiteX841" fmla="*/ 582889 w 1375767"/>
                <a:gd name="connsiteY841" fmla="*/ 867817 h 1047668"/>
                <a:gd name="connsiteX842" fmla="*/ 585496 w 1375767"/>
                <a:gd name="connsiteY842" fmla="*/ 862115 h 1047668"/>
                <a:gd name="connsiteX843" fmla="*/ 588428 w 1375767"/>
                <a:gd name="connsiteY843" fmla="*/ 859672 h 1047668"/>
                <a:gd name="connsiteX844" fmla="*/ 589405 w 1375767"/>
                <a:gd name="connsiteY844" fmla="*/ 861301 h 1047668"/>
                <a:gd name="connsiteX845" fmla="*/ 588591 w 1375767"/>
                <a:gd name="connsiteY845" fmla="*/ 864722 h 1047668"/>
                <a:gd name="connsiteX846" fmla="*/ 588917 w 1375767"/>
                <a:gd name="connsiteY846" fmla="*/ 869283 h 1047668"/>
                <a:gd name="connsiteX847" fmla="*/ 591686 w 1375767"/>
                <a:gd name="connsiteY847" fmla="*/ 867980 h 1047668"/>
                <a:gd name="connsiteX848" fmla="*/ 595596 w 1375767"/>
                <a:gd name="connsiteY848" fmla="*/ 863744 h 1047668"/>
                <a:gd name="connsiteX849" fmla="*/ 593641 w 1375767"/>
                <a:gd name="connsiteY849" fmla="*/ 862604 h 1047668"/>
                <a:gd name="connsiteX850" fmla="*/ 597551 w 1375767"/>
                <a:gd name="connsiteY850" fmla="*/ 859672 h 1047668"/>
                <a:gd name="connsiteX851" fmla="*/ 597551 w 1375767"/>
                <a:gd name="connsiteY851" fmla="*/ 857391 h 1047668"/>
                <a:gd name="connsiteX852" fmla="*/ 589405 w 1375767"/>
                <a:gd name="connsiteY852" fmla="*/ 857391 h 1047668"/>
                <a:gd name="connsiteX853" fmla="*/ 587776 w 1375767"/>
                <a:gd name="connsiteY853" fmla="*/ 855925 h 1047668"/>
                <a:gd name="connsiteX854" fmla="*/ 594293 w 1375767"/>
                <a:gd name="connsiteY854" fmla="*/ 854133 h 1047668"/>
                <a:gd name="connsiteX855" fmla="*/ 602112 w 1375767"/>
                <a:gd name="connsiteY855" fmla="*/ 849897 h 1047668"/>
                <a:gd name="connsiteX856" fmla="*/ 612050 w 1375767"/>
                <a:gd name="connsiteY856" fmla="*/ 849408 h 1047668"/>
                <a:gd name="connsiteX857" fmla="*/ 614493 w 1375767"/>
                <a:gd name="connsiteY857" fmla="*/ 847128 h 1047668"/>
                <a:gd name="connsiteX858" fmla="*/ 614005 w 1375767"/>
                <a:gd name="connsiteY858" fmla="*/ 843869 h 1047668"/>
                <a:gd name="connsiteX859" fmla="*/ 612050 w 1375767"/>
                <a:gd name="connsiteY859" fmla="*/ 843381 h 1047668"/>
                <a:gd name="connsiteX860" fmla="*/ 614493 w 1375767"/>
                <a:gd name="connsiteY860" fmla="*/ 841915 h 1047668"/>
                <a:gd name="connsiteX861" fmla="*/ 618403 w 1375767"/>
                <a:gd name="connsiteY861" fmla="*/ 841100 h 1047668"/>
                <a:gd name="connsiteX862" fmla="*/ 621498 w 1375767"/>
                <a:gd name="connsiteY862" fmla="*/ 838819 h 1047668"/>
                <a:gd name="connsiteX863" fmla="*/ 624105 w 1375767"/>
                <a:gd name="connsiteY863" fmla="*/ 838819 h 1047668"/>
                <a:gd name="connsiteX864" fmla="*/ 625408 w 1375767"/>
                <a:gd name="connsiteY864" fmla="*/ 843218 h 1047668"/>
                <a:gd name="connsiteX865" fmla="*/ 627852 w 1375767"/>
                <a:gd name="connsiteY865" fmla="*/ 843218 h 1047668"/>
                <a:gd name="connsiteX866" fmla="*/ 629644 w 1375767"/>
                <a:gd name="connsiteY866" fmla="*/ 839960 h 1047668"/>
                <a:gd name="connsiteX867" fmla="*/ 628666 w 1375767"/>
                <a:gd name="connsiteY867" fmla="*/ 838330 h 1047668"/>
                <a:gd name="connsiteX868" fmla="*/ 632413 w 1375767"/>
                <a:gd name="connsiteY868" fmla="*/ 835398 h 1047668"/>
                <a:gd name="connsiteX869" fmla="*/ 632413 w 1375767"/>
                <a:gd name="connsiteY869" fmla="*/ 831000 h 1047668"/>
                <a:gd name="connsiteX870" fmla="*/ 634694 w 1375767"/>
                <a:gd name="connsiteY870" fmla="*/ 829208 h 1047668"/>
                <a:gd name="connsiteX871" fmla="*/ 636486 w 1375767"/>
                <a:gd name="connsiteY871" fmla="*/ 831488 h 1047668"/>
                <a:gd name="connsiteX872" fmla="*/ 636486 w 1375767"/>
                <a:gd name="connsiteY872" fmla="*/ 834746 h 1047668"/>
                <a:gd name="connsiteX873" fmla="*/ 639093 w 1375767"/>
                <a:gd name="connsiteY873" fmla="*/ 836538 h 1047668"/>
                <a:gd name="connsiteX874" fmla="*/ 645283 w 1375767"/>
                <a:gd name="connsiteY874" fmla="*/ 832466 h 1047668"/>
                <a:gd name="connsiteX875" fmla="*/ 647564 w 1375767"/>
                <a:gd name="connsiteY875" fmla="*/ 828719 h 1047668"/>
                <a:gd name="connsiteX876" fmla="*/ 651311 w 1375767"/>
                <a:gd name="connsiteY876" fmla="*/ 828719 h 1047668"/>
                <a:gd name="connsiteX877" fmla="*/ 654080 w 1375767"/>
                <a:gd name="connsiteY877" fmla="*/ 824646 h 1047668"/>
                <a:gd name="connsiteX878" fmla="*/ 655709 w 1375767"/>
                <a:gd name="connsiteY878" fmla="*/ 823506 h 1047668"/>
                <a:gd name="connsiteX879" fmla="*/ 658153 w 1375767"/>
                <a:gd name="connsiteY879" fmla="*/ 826112 h 1047668"/>
                <a:gd name="connsiteX880" fmla="*/ 662389 w 1375767"/>
                <a:gd name="connsiteY880" fmla="*/ 825135 h 1047668"/>
                <a:gd name="connsiteX881" fmla="*/ 667765 w 1375767"/>
                <a:gd name="connsiteY881" fmla="*/ 818619 h 1047668"/>
                <a:gd name="connsiteX882" fmla="*/ 667765 w 1375767"/>
                <a:gd name="connsiteY882" fmla="*/ 814546 h 1047668"/>
                <a:gd name="connsiteX883" fmla="*/ 666461 w 1375767"/>
                <a:gd name="connsiteY883" fmla="*/ 814383 h 1047668"/>
                <a:gd name="connsiteX884" fmla="*/ 663040 w 1375767"/>
                <a:gd name="connsiteY884" fmla="*/ 814383 h 1047668"/>
                <a:gd name="connsiteX885" fmla="*/ 662063 w 1375767"/>
                <a:gd name="connsiteY885" fmla="*/ 813894 h 1047668"/>
                <a:gd name="connsiteX886" fmla="*/ 669068 w 1375767"/>
                <a:gd name="connsiteY886" fmla="*/ 808681 h 1047668"/>
                <a:gd name="connsiteX887" fmla="*/ 673629 w 1375767"/>
                <a:gd name="connsiteY887" fmla="*/ 807052 h 1047668"/>
                <a:gd name="connsiteX888" fmla="*/ 677376 w 1375767"/>
                <a:gd name="connsiteY888" fmla="*/ 802816 h 1047668"/>
                <a:gd name="connsiteX889" fmla="*/ 679168 w 1375767"/>
                <a:gd name="connsiteY889" fmla="*/ 803142 h 1047668"/>
                <a:gd name="connsiteX890" fmla="*/ 680797 w 1375767"/>
                <a:gd name="connsiteY890" fmla="*/ 804934 h 1047668"/>
                <a:gd name="connsiteX891" fmla="*/ 686173 w 1375767"/>
                <a:gd name="connsiteY891" fmla="*/ 799395 h 1047668"/>
                <a:gd name="connsiteX892" fmla="*/ 690735 w 1375767"/>
                <a:gd name="connsiteY892" fmla="*/ 797440 h 1047668"/>
                <a:gd name="connsiteX893" fmla="*/ 692201 w 1375767"/>
                <a:gd name="connsiteY893" fmla="*/ 793530 h 1047668"/>
                <a:gd name="connsiteX894" fmla="*/ 695133 w 1375767"/>
                <a:gd name="connsiteY894" fmla="*/ 792390 h 1047668"/>
                <a:gd name="connsiteX895" fmla="*/ 696762 w 1375767"/>
                <a:gd name="connsiteY895" fmla="*/ 789946 h 1047668"/>
                <a:gd name="connsiteX896" fmla="*/ 700184 w 1375767"/>
                <a:gd name="connsiteY896" fmla="*/ 789458 h 1047668"/>
                <a:gd name="connsiteX897" fmla="*/ 701813 w 1375767"/>
                <a:gd name="connsiteY897" fmla="*/ 792390 h 1047668"/>
                <a:gd name="connsiteX898" fmla="*/ 704093 w 1375767"/>
                <a:gd name="connsiteY898" fmla="*/ 793693 h 1047668"/>
                <a:gd name="connsiteX899" fmla="*/ 705397 w 1375767"/>
                <a:gd name="connsiteY899" fmla="*/ 789946 h 1047668"/>
                <a:gd name="connsiteX900" fmla="*/ 709632 w 1375767"/>
                <a:gd name="connsiteY900" fmla="*/ 789946 h 1047668"/>
                <a:gd name="connsiteX901" fmla="*/ 711587 w 1375767"/>
                <a:gd name="connsiteY901" fmla="*/ 788317 h 1047668"/>
                <a:gd name="connsiteX902" fmla="*/ 711587 w 1375767"/>
                <a:gd name="connsiteY902" fmla="*/ 785222 h 1047668"/>
                <a:gd name="connsiteX903" fmla="*/ 715823 w 1375767"/>
                <a:gd name="connsiteY903" fmla="*/ 784082 h 1047668"/>
                <a:gd name="connsiteX904" fmla="*/ 717289 w 1375767"/>
                <a:gd name="connsiteY904" fmla="*/ 782127 h 1047668"/>
                <a:gd name="connsiteX905" fmla="*/ 718592 w 1375767"/>
                <a:gd name="connsiteY905" fmla="*/ 783430 h 1047668"/>
                <a:gd name="connsiteX906" fmla="*/ 725923 w 1375767"/>
                <a:gd name="connsiteY906" fmla="*/ 784245 h 1047668"/>
                <a:gd name="connsiteX907" fmla="*/ 727389 w 1375767"/>
                <a:gd name="connsiteY907" fmla="*/ 779846 h 1047668"/>
                <a:gd name="connsiteX908" fmla="*/ 729670 w 1375767"/>
                <a:gd name="connsiteY908" fmla="*/ 779846 h 1047668"/>
                <a:gd name="connsiteX909" fmla="*/ 729996 w 1375767"/>
                <a:gd name="connsiteY909" fmla="*/ 782290 h 1047668"/>
                <a:gd name="connsiteX910" fmla="*/ 731788 w 1375767"/>
                <a:gd name="connsiteY910" fmla="*/ 782290 h 1047668"/>
                <a:gd name="connsiteX911" fmla="*/ 734394 w 1375767"/>
                <a:gd name="connsiteY911" fmla="*/ 779846 h 1047668"/>
                <a:gd name="connsiteX912" fmla="*/ 736675 w 1375767"/>
                <a:gd name="connsiteY912" fmla="*/ 781801 h 1047668"/>
                <a:gd name="connsiteX913" fmla="*/ 738467 w 1375767"/>
                <a:gd name="connsiteY913" fmla="*/ 780498 h 1047668"/>
                <a:gd name="connsiteX914" fmla="*/ 740911 w 1375767"/>
                <a:gd name="connsiteY914" fmla="*/ 773330 h 1047668"/>
                <a:gd name="connsiteX915" fmla="*/ 738630 w 1375767"/>
                <a:gd name="connsiteY915" fmla="*/ 773330 h 1047668"/>
                <a:gd name="connsiteX916" fmla="*/ 736024 w 1375767"/>
                <a:gd name="connsiteY916" fmla="*/ 774470 h 1047668"/>
                <a:gd name="connsiteX917" fmla="*/ 737653 w 1375767"/>
                <a:gd name="connsiteY917" fmla="*/ 770723 h 1047668"/>
                <a:gd name="connsiteX918" fmla="*/ 742703 w 1375767"/>
                <a:gd name="connsiteY918" fmla="*/ 766650 h 1047668"/>
                <a:gd name="connsiteX919" fmla="*/ 745309 w 1375767"/>
                <a:gd name="connsiteY919" fmla="*/ 766650 h 1047668"/>
                <a:gd name="connsiteX920" fmla="*/ 747101 w 1375767"/>
                <a:gd name="connsiteY920" fmla="*/ 768117 h 1047668"/>
                <a:gd name="connsiteX921" fmla="*/ 748079 w 1375767"/>
                <a:gd name="connsiteY921" fmla="*/ 766650 h 1047668"/>
                <a:gd name="connsiteX922" fmla="*/ 746287 w 1375767"/>
                <a:gd name="connsiteY922" fmla="*/ 763718 h 1047668"/>
                <a:gd name="connsiteX923" fmla="*/ 743354 w 1375767"/>
                <a:gd name="connsiteY923" fmla="*/ 762252 h 1047668"/>
                <a:gd name="connsiteX924" fmla="*/ 745961 w 1375767"/>
                <a:gd name="connsiteY924" fmla="*/ 760949 h 1047668"/>
                <a:gd name="connsiteX925" fmla="*/ 750523 w 1375767"/>
                <a:gd name="connsiteY925" fmla="*/ 762578 h 1047668"/>
                <a:gd name="connsiteX926" fmla="*/ 755898 w 1375767"/>
                <a:gd name="connsiteY926" fmla="*/ 757202 h 1047668"/>
                <a:gd name="connsiteX927" fmla="*/ 761926 w 1375767"/>
                <a:gd name="connsiteY927" fmla="*/ 757202 h 1047668"/>
                <a:gd name="connsiteX928" fmla="*/ 767139 w 1375767"/>
                <a:gd name="connsiteY928" fmla="*/ 752966 h 1047668"/>
                <a:gd name="connsiteX929" fmla="*/ 770886 w 1375767"/>
                <a:gd name="connsiteY929" fmla="*/ 752152 h 1047668"/>
                <a:gd name="connsiteX930" fmla="*/ 776914 w 1375767"/>
                <a:gd name="connsiteY930" fmla="*/ 746450 h 1047668"/>
                <a:gd name="connsiteX931" fmla="*/ 776914 w 1375767"/>
                <a:gd name="connsiteY931" fmla="*/ 738956 h 1047668"/>
                <a:gd name="connsiteX932" fmla="*/ 774959 w 1375767"/>
                <a:gd name="connsiteY932" fmla="*/ 737164 h 1047668"/>
                <a:gd name="connsiteX933" fmla="*/ 773493 w 1375767"/>
                <a:gd name="connsiteY933" fmla="*/ 737164 h 1047668"/>
                <a:gd name="connsiteX934" fmla="*/ 771701 w 1375767"/>
                <a:gd name="connsiteY934" fmla="*/ 731625 h 1047668"/>
                <a:gd name="connsiteX935" fmla="*/ 769094 w 1375767"/>
                <a:gd name="connsiteY935" fmla="*/ 729996 h 1047668"/>
                <a:gd name="connsiteX936" fmla="*/ 762252 w 1375767"/>
                <a:gd name="connsiteY936" fmla="*/ 729996 h 1047668"/>
                <a:gd name="connsiteX937" fmla="*/ 763392 w 1375767"/>
                <a:gd name="connsiteY937" fmla="*/ 725434 h 1047668"/>
                <a:gd name="connsiteX938" fmla="*/ 763066 w 1375767"/>
                <a:gd name="connsiteY938" fmla="*/ 720710 h 1047668"/>
                <a:gd name="connsiteX939" fmla="*/ 769909 w 1375767"/>
                <a:gd name="connsiteY939" fmla="*/ 717941 h 1047668"/>
                <a:gd name="connsiteX940" fmla="*/ 771212 w 1375767"/>
                <a:gd name="connsiteY940" fmla="*/ 715334 h 1047668"/>
                <a:gd name="connsiteX941" fmla="*/ 774796 w 1375767"/>
                <a:gd name="connsiteY941" fmla="*/ 714520 h 1047668"/>
                <a:gd name="connsiteX942" fmla="*/ 776099 w 1375767"/>
                <a:gd name="connsiteY942" fmla="*/ 711424 h 1047668"/>
                <a:gd name="connsiteX943" fmla="*/ 774796 w 1375767"/>
                <a:gd name="connsiteY943" fmla="*/ 710936 h 1047668"/>
                <a:gd name="connsiteX944" fmla="*/ 777565 w 1375767"/>
                <a:gd name="connsiteY944" fmla="*/ 708981 h 1047668"/>
                <a:gd name="connsiteX945" fmla="*/ 782779 w 1375767"/>
                <a:gd name="connsiteY945" fmla="*/ 710121 h 1047668"/>
                <a:gd name="connsiteX946" fmla="*/ 789295 w 1375767"/>
                <a:gd name="connsiteY946" fmla="*/ 705560 h 1047668"/>
                <a:gd name="connsiteX947" fmla="*/ 793856 w 1375767"/>
                <a:gd name="connsiteY947" fmla="*/ 709632 h 1047668"/>
                <a:gd name="connsiteX948" fmla="*/ 800047 w 1375767"/>
                <a:gd name="connsiteY948" fmla="*/ 706211 h 1047668"/>
                <a:gd name="connsiteX949" fmla="*/ 799232 w 1375767"/>
                <a:gd name="connsiteY949" fmla="*/ 709958 h 1047668"/>
                <a:gd name="connsiteX950" fmla="*/ 800536 w 1375767"/>
                <a:gd name="connsiteY950" fmla="*/ 712728 h 1047668"/>
                <a:gd name="connsiteX951" fmla="*/ 803468 w 1375767"/>
                <a:gd name="connsiteY951" fmla="*/ 712402 h 1047668"/>
                <a:gd name="connsiteX952" fmla="*/ 809007 w 1375767"/>
                <a:gd name="connsiteY952" fmla="*/ 706537 h 1047668"/>
                <a:gd name="connsiteX953" fmla="*/ 807541 w 1375767"/>
                <a:gd name="connsiteY953" fmla="*/ 704256 h 1047668"/>
                <a:gd name="connsiteX954" fmla="*/ 804934 w 1375767"/>
                <a:gd name="connsiteY954" fmla="*/ 703279 h 1047668"/>
                <a:gd name="connsiteX955" fmla="*/ 803957 w 1375767"/>
                <a:gd name="connsiteY955" fmla="*/ 700672 h 1047668"/>
                <a:gd name="connsiteX956" fmla="*/ 806563 w 1375767"/>
                <a:gd name="connsiteY956" fmla="*/ 699695 h 1047668"/>
                <a:gd name="connsiteX957" fmla="*/ 811288 w 1375767"/>
                <a:gd name="connsiteY957" fmla="*/ 701487 h 1047668"/>
                <a:gd name="connsiteX958" fmla="*/ 820085 w 1375767"/>
                <a:gd name="connsiteY958" fmla="*/ 698717 h 1047668"/>
                <a:gd name="connsiteX959" fmla="*/ 821877 w 1375767"/>
                <a:gd name="connsiteY959" fmla="*/ 691875 h 1047668"/>
                <a:gd name="connsiteX960" fmla="*/ 819922 w 1375767"/>
                <a:gd name="connsiteY960" fmla="*/ 686173 h 1047668"/>
                <a:gd name="connsiteX961" fmla="*/ 812591 w 1375767"/>
                <a:gd name="connsiteY961" fmla="*/ 681123 h 1047668"/>
                <a:gd name="connsiteX962" fmla="*/ 809658 w 1375767"/>
                <a:gd name="connsiteY962" fmla="*/ 681449 h 1047668"/>
                <a:gd name="connsiteX963" fmla="*/ 806889 w 1375767"/>
                <a:gd name="connsiteY963" fmla="*/ 683730 h 1047668"/>
                <a:gd name="connsiteX964" fmla="*/ 806889 w 1375767"/>
                <a:gd name="connsiteY964" fmla="*/ 682426 h 1047668"/>
                <a:gd name="connsiteX965" fmla="*/ 810310 w 1375767"/>
                <a:gd name="connsiteY965" fmla="*/ 679657 h 1047668"/>
                <a:gd name="connsiteX966" fmla="*/ 816827 w 1375767"/>
                <a:gd name="connsiteY966" fmla="*/ 679168 h 1047668"/>
                <a:gd name="connsiteX967" fmla="*/ 820573 w 1375767"/>
                <a:gd name="connsiteY967" fmla="*/ 682426 h 1047668"/>
                <a:gd name="connsiteX968" fmla="*/ 827416 w 1375767"/>
                <a:gd name="connsiteY968" fmla="*/ 681938 h 1047668"/>
                <a:gd name="connsiteX969" fmla="*/ 832466 w 1375767"/>
                <a:gd name="connsiteY969" fmla="*/ 677376 h 1047668"/>
                <a:gd name="connsiteX970" fmla="*/ 832466 w 1375767"/>
                <a:gd name="connsiteY970" fmla="*/ 674444 h 1047668"/>
                <a:gd name="connsiteX971" fmla="*/ 843869 w 1375767"/>
                <a:gd name="connsiteY971" fmla="*/ 668579 h 1047668"/>
                <a:gd name="connsiteX972" fmla="*/ 850060 w 1375767"/>
                <a:gd name="connsiteY972" fmla="*/ 663203 h 1047668"/>
                <a:gd name="connsiteX973" fmla="*/ 855436 w 1375767"/>
                <a:gd name="connsiteY973" fmla="*/ 662877 h 1047668"/>
                <a:gd name="connsiteX974" fmla="*/ 857717 w 1375767"/>
                <a:gd name="connsiteY974" fmla="*/ 660434 h 1047668"/>
                <a:gd name="connsiteX975" fmla="*/ 857717 w 1375767"/>
                <a:gd name="connsiteY975" fmla="*/ 657501 h 1047668"/>
                <a:gd name="connsiteX976" fmla="*/ 868632 w 1375767"/>
                <a:gd name="connsiteY976" fmla="*/ 649356 h 1047668"/>
                <a:gd name="connsiteX977" fmla="*/ 877592 w 1375767"/>
                <a:gd name="connsiteY977" fmla="*/ 648378 h 1047668"/>
                <a:gd name="connsiteX978" fmla="*/ 888018 w 1375767"/>
                <a:gd name="connsiteY978" fmla="*/ 638930 h 1047668"/>
                <a:gd name="connsiteX979" fmla="*/ 895837 w 1375767"/>
                <a:gd name="connsiteY979" fmla="*/ 638115 h 1047668"/>
                <a:gd name="connsiteX980" fmla="*/ 904472 w 1375767"/>
                <a:gd name="connsiteY980" fmla="*/ 627200 h 1047668"/>
                <a:gd name="connsiteX981" fmla="*/ 901539 w 1375767"/>
                <a:gd name="connsiteY981" fmla="*/ 633879 h 1047668"/>
                <a:gd name="connsiteX982" fmla="*/ 901865 w 1375767"/>
                <a:gd name="connsiteY982" fmla="*/ 639581 h 1047668"/>
                <a:gd name="connsiteX983" fmla="*/ 904472 w 1375767"/>
                <a:gd name="connsiteY983" fmla="*/ 641048 h 1047668"/>
                <a:gd name="connsiteX984" fmla="*/ 908381 w 1375767"/>
                <a:gd name="connsiteY984" fmla="*/ 641862 h 1047668"/>
                <a:gd name="connsiteX985" fmla="*/ 909848 w 1375767"/>
                <a:gd name="connsiteY985" fmla="*/ 643654 h 1047668"/>
                <a:gd name="connsiteX986" fmla="*/ 916364 w 1375767"/>
                <a:gd name="connsiteY986" fmla="*/ 636649 h 1047668"/>
                <a:gd name="connsiteX987" fmla="*/ 921414 w 1375767"/>
                <a:gd name="connsiteY987" fmla="*/ 634857 h 1047668"/>
                <a:gd name="connsiteX988" fmla="*/ 931840 w 1375767"/>
                <a:gd name="connsiteY988" fmla="*/ 631762 h 1047668"/>
                <a:gd name="connsiteX989" fmla="*/ 935099 w 1375767"/>
                <a:gd name="connsiteY989" fmla="*/ 628015 h 1047668"/>
                <a:gd name="connsiteX990" fmla="*/ 933144 w 1375767"/>
                <a:gd name="connsiteY990" fmla="*/ 633391 h 1047668"/>
                <a:gd name="connsiteX991" fmla="*/ 925161 w 1375767"/>
                <a:gd name="connsiteY991" fmla="*/ 638115 h 1047668"/>
                <a:gd name="connsiteX992" fmla="*/ 919133 w 1375767"/>
                <a:gd name="connsiteY992" fmla="*/ 638604 h 1047668"/>
                <a:gd name="connsiteX993" fmla="*/ 908056 w 1375767"/>
                <a:gd name="connsiteY993" fmla="*/ 650008 h 1047668"/>
                <a:gd name="connsiteX994" fmla="*/ 907078 w 1375767"/>
                <a:gd name="connsiteY994" fmla="*/ 654406 h 1047668"/>
                <a:gd name="connsiteX995" fmla="*/ 912617 w 1375767"/>
                <a:gd name="connsiteY995" fmla="*/ 662552 h 1047668"/>
                <a:gd name="connsiteX996" fmla="*/ 914083 w 1375767"/>
                <a:gd name="connsiteY996" fmla="*/ 668253 h 1047668"/>
                <a:gd name="connsiteX997" fmla="*/ 908707 w 1375767"/>
                <a:gd name="connsiteY997" fmla="*/ 664181 h 1047668"/>
                <a:gd name="connsiteX998" fmla="*/ 904635 w 1375767"/>
                <a:gd name="connsiteY998" fmla="*/ 663855 h 1047668"/>
                <a:gd name="connsiteX999" fmla="*/ 902191 w 1375767"/>
                <a:gd name="connsiteY999" fmla="*/ 664995 h 1047668"/>
                <a:gd name="connsiteX1000" fmla="*/ 898281 w 1375767"/>
                <a:gd name="connsiteY1000" fmla="*/ 664995 h 1047668"/>
                <a:gd name="connsiteX1001" fmla="*/ 893068 w 1375767"/>
                <a:gd name="connsiteY1001" fmla="*/ 661574 h 1047668"/>
                <a:gd name="connsiteX1002" fmla="*/ 891765 w 1375767"/>
                <a:gd name="connsiteY1002" fmla="*/ 655058 h 1047668"/>
                <a:gd name="connsiteX1003" fmla="*/ 883619 w 1375767"/>
                <a:gd name="connsiteY1003" fmla="*/ 658805 h 1047668"/>
                <a:gd name="connsiteX1004" fmla="*/ 879547 w 1375767"/>
                <a:gd name="connsiteY1004" fmla="*/ 659130 h 1047668"/>
                <a:gd name="connsiteX1005" fmla="*/ 872216 w 1375767"/>
                <a:gd name="connsiteY1005" fmla="*/ 664344 h 1047668"/>
                <a:gd name="connsiteX1006" fmla="*/ 865373 w 1375767"/>
                <a:gd name="connsiteY1006" fmla="*/ 664344 h 1047668"/>
                <a:gd name="connsiteX1007" fmla="*/ 860160 w 1375767"/>
                <a:gd name="connsiteY1007" fmla="*/ 669068 h 1047668"/>
                <a:gd name="connsiteX1008" fmla="*/ 859835 w 1375767"/>
                <a:gd name="connsiteY1008" fmla="*/ 674118 h 1047668"/>
                <a:gd name="connsiteX1009" fmla="*/ 860812 w 1375767"/>
                <a:gd name="connsiteY1009" fmla="*/ 676725 h 1047668"/>
                <a:gd name="connsiteX1010" fmla="*/ 856739 w 1375767"/>
                <a:gd name="connsiteY1010" fmla="*/ 684707 h 1047668"/>
                <a:gd name="connsiteX1011" fmla="*/ 850875 w 1375767"/>
                <a:gd name="connsiteY1011" fmla="*/ 688128 h 1047668"/>
                <a:gd name="connsiteX1012" fmla="*/ 848431 w 1375767"/>
                <a:gd name="connsiteY1012" fmla="*/ 695133 h 1047668"/>
                <a:gd name="connsiteX1013" fmla="*/ 833769 w 1375767"/>
                <a:gd name="connsiteY1013" fmla="*/ 707840 h 1047668"/>
                <a:gd name="connsiteX1014" fmla="*/ 829859 w 1375767"/>
                <a:gd name="connsiteY1014" fmla="*/ 713053 h 1047668"/>
                <a:gd name="connsiteX1015" fmla="*/ 830348 w 1375767"/>
                <a:gd name="connsiteY1015" fmla="*/ 716800 h 1047668"/>
                <a:gd name="connsiteX1016" fmla="*/ 835398 w 1375767"/>
                <a:gd name="connsiteY1016" fmla="*/ 723968 h 1047668"/>
                <a:gd name="connsiteX1017" fmla="*/ 838168 w 1375767"/>
                <a:gd name="connsiteY1017" fmla="*/ 719895 h 1047668"/>
                <a:gd name="connsiteX1018" fmla="*/ 840774 w 1375767"/>
                <a:gd name="connsiteY1018" fmla="*/ 719895 h 1047668"/>
                <a:gd name="connsiteX1019" fmla="*/ 845336 w 1375767"/>
                <a:gd name="connsiteY1019" fmla="*/ 716637 h 1047668"/>
                <a:gd name="connsiteX1020" fmla="*/ 849245 w 1375767"/>
                <a:gd name="connsiteY1020" fmla="*/ 717289 h 1047668"/>
                <a:gd name="connsiteX1021" fmla="*/ 849245 w 1375767"/>
                <a:gd name="connsiteY1021" fmla="*/ 720058 h 1047668"/>
                <a:gd name="connsiteX1022" fmla="*/ 840448 w 1375767"/>
                <a:gd name="connsiteY1022" fmla="*/ 727064 h 1047668"/>
                <a:gd name="connsiteX1023" fmla="*/ 836376 w 1375767"/>
                <a:gd name="connsiteY1023" fmla="*/ 727064 h 1047668"/>
                <a:gd name="connsiteX1024" fmla="*/ 833932 w 1375767"/>
                <a:gd name="connsiteY1024" fmla="*/ 731788 h 1047668"/>
                <a:gd name="connsiteX1025" fmla="*/ 829208 w 1375767"/>
                <a:gd name="connsiteY1025" fmla="*/ 729507 h 1047668"/>
                <a:gd name="connsiteX1026" fmla="*/ 825298 w 1375767"/>
                <a:gd name="connsiteY1026" fmla="*/ 729507 h 1047668"/>
                <a:gd name="connsiteX1027" fmla="*/ 821388 w 1375767"/>
                <a:gd name="connsiteY1027" fmla="*/ 731136 h 1047668"/>
                <a:gd name="connsiteX1028" fmla="*/ 821388 w 1375767"/>
                <a:gd name="connsiteY1028" fmla="*/ 735535 h 1047668"/>
                <a:gd name="connsiteX1029" fmla="*/ 818130 w 1375767"/>
                <a:gd name="connsiteY1029" fmla="*/ 734557 h 1047668"/>
                <a:gd name="connsiteX1030" fmla="*/ 814057 w 1375767"/>
                <a:gd name="connsiteY1030" fmla="*/ 735535 h 1047668"/>
                <a:gd name="connsiteX1031" fmla="*/ 814057 w 1375767"/>
                <a:gd name="connsiteY1031" fmla="*/ 741725 h 1047668"/>
                <a:gd name="connsiteX1032" fmla="*/ 821225 w 1375767"/>
                <a:gd name="connsiteY1032" fmla="*/ 749382 h 1047668"/>
                <a:gd name="connsiteX1033" fmla="*/ 823506 w 1375767"/>
                <a:gd name="connsiteY1033" fmla="*/ 748242 h 1047668"/>
                <a:gd name="connsiteX1034" fmla="*/ 825949 w 1375767"/>
                <a:gd name="connsiteY1034" fmla="*/ 744821 h 1047668"/>
                <a:gd name="connsiteX1035" fmla="*/ 828719 w 1375767"/>
                <a:gd name="connsiteY1035" fmla="*/ 747753 h 1047668"/>
                <a:gd name="connsiteX1036" fmla="*/ 830511 w 1375767"/>
                <a:gd name="connsiteY1036" fmla="*/ 742051 h 1047668"/>
                <a:gd name="connsiteX1037" fmla="*/ 834258 w 1375767"/>
                <a:gd name="connsiteY1037" fmla="*/ 742051 h 1047668"/>
                <a:gd name="connsiteX1038" fmla="*/ 834095 w 1375767"/>
                <a:gd name="connsiteY1038" fmla="*/ 746450 h 1047668"/>
                <a:gd name="connsiteX1039" fmla="*/ 837190 w 1375767"/>
                <a:gd name="connsiteY1039" fmla="*/ 744495 h 1047668"/>
                <a:gd name="connsiteX1040" fmla="*/ 838168 w 1375767"/>
                <a:gd name="connsiteY1040" fmla="*/ 741562 h 1047668"/>
                <a:gd name="connsiteX1041" fmla="*/ 842077 w 1375767"/>
                <a:gd name="connsiteY1041" fmla="*/ 739770 h 1047668"/>
                <a:gd name="connsiteX1042" fmla="*/ 847128 w 1375767"/>
                <a:gd name="connsiteY1042" fmla="*/ 736024 h 1047668"/>
                <a:gd name="connsiteX1043" fmla="*/ 847616 w 1375767"/>
                <a:gd name="connsiteY1043" fmla="*/ 730485 h 1047668"/>
                <a:gd name="connsiteX1044" fmla="*/ 851037 w 1375767"/>
                <a:gd name="connsiteY1044" fmla="*/ 727226 h 1047668"/>
                <a:gd name="connsiteX1045" fmla="*/ 851526 w 1375767"/>
                <a:gd name="connsiteY1045" fmla="*/ 729833 h 1047668"/>
                <a:gd name="connsiteX1046" fmla="*/ 849734 w 1375767"/>
                <a:gd name="connsiteY1046" fmla="*/ 732440 h 1047668"/>
                <a:gd name="connsiteX1047" fmla="*/ 852015 w 1375767"/>
                <a:gd name="connsiteY1047" fmla="*/ 735372 h 1047668"/>
                <a:gd name="connsiteX1048" fmla="*/ 857717 w 1375767"/>
                <a:gd name="connsiteY1048" fmla="*/ 735372 h 1047668"/>
                <a:gd name="connsiteX1049" fmla="*/ 865536 w 1375767"/>
                <a:gd name="connsiteY1049" fmla="*/ 728856 h 1047668"/>
                <a:gd name="connsiteX1050" fmla="*/ 871075 w 1375767"/>
                <a:gd name="connsiteY1050" fmla="*/ 728856 h 1047668"/>
                <a:gd name="connsiteX1051" fmla="*/ 872379 w 1375767"/>
                <a:gd name="connsiteY1051" fmla="*/ 731625 h 1047668"/>
                <a:gd name="connsiteX1052" fmla="*/ 875474 w 1375767"/>
                <a:gd name="connsiteY1052" fmla="*/ 729344 h 1047668"/>
                <a:gd name="connsiteX1053" fmla="*/ 877755 w 1375767"/>
                <a:gd name="connsiteY1053" fmla="*/ 720384 h 1047668"/>
                <a:gd name="connsiteX1054" fmla="*/ 883456 w 1375767"/>
                <a:gd name="connsiteY1054" fmla="*/ 716474 h 1047668"/>
                <a:gd name="connsiteX1055" fmla="*/ 886063 w 1375767"/>
                <a:gd name="connsiteY1055" fmla="*/ 716963 h 1047668"/>
                <a:gd name="connsiteX1056" fmla="*/ 880035 w 1375767"/>
                <a:gd name="connsiteY1056" fmla="*/ 723480 h 1047668"/>
                <a:gd name="connsiteX1057" fmla="*/ 880035 w 1375767"/>
                <a:gd name="connsiteY1057" fmla="*/ 727552 h 1047668"/>
                <a:gd name="connsiteX1058" fmla="*/ 883293 w 1375767"/>
                <a:gd name="connsiteY1058" fmla="*/ 725272 h 1047668"/>
                <a:gd name="connsiteX1059" fmla="*/ 888669 w 1375767"/>
                <a:gd name="connsiteY1059" fmla="*/ 718103 h 1047668"/>
                <a:gd name="connsiteX1060" fmla="*/ 891765 w 1375767"/>
                <a:gd name="connsiteY1060" fmla="*/ 709632 h 1047668"/>
                <a:gd name="connsiteX1061" fmla="*/ 895512 w 1375767"/>
                <a:gd name="connsiteY1061" fmla="*/ 707514 h 1047668"/>
                <a:gd name="connsiteX1062" fmla="*/ 895512 w 1375767"/>
                <a:gd name="connsiteY1062" fmla="*/ 711261 h 1047668"/>
                <a:gd name="connsiteX1063" fmla="*/ 891928 w 1375767"/>
                <a:gd name="connsiteY1063" fmla="*/ 717289 h 1047668"/>
                <a:gd name="connsiteX1064" fmla="*/ 892416 w 1375767"/>
                <a:gd name="connsiteY1064" fmla="*/ 719244 h 1047668"/>
                <a:gd name="connsiteX1065" fmla="*/ 898607 w 1375767"/>
                <a:gd name="connsiteY1065" fmla="*/ 713216 h 1047668"/>
                <a:gd name="connsiteX1066" fmla="*/ 900399 w 1375767"/>
                <a:gd name="connsiteY1066" fmla="*/ 716312 h 1047668"/>
                <a:gd name="connsiteX1067" fmla="*/ 900073 w 1375767"/>
                <a:gd name="connsiteY1067" fmla="*/ 719570 h 1047668"/>
                <a:gd name="connsiteX1068" fmla="*/ 905612 w 1375767"/>
                <a:gd name="connsiteY1068" fmla="*/ 720384 h 1047668"/>
                <a:gd name="connsiteX1069" fmla="*/ 907893 w 1375767"/>
                <a:gd name="connsiteY1069" fmla="*/ 722176 h 1047668"/>
                <a:gd name="connsiteX1070" fmla="*/ 911965 w 1375767"/>
                <a:gd name="connsiteY1070" fmla="*/ 718918 h 1047668"/>
                <a:gd name="connsiteX1071" fmla="*/ 914246 w 1375767"/>
                <a:gd name="connsiteY1071" fmla="*/ 713216 h 1047668"/>
                <a:gd name="connsiteX1072" fmla="*/ 921088 w 1375767"/>
                <a:gd name="connsiteY1072" fmla="*/ 712565 h 1047668"/>
                <a:gd name="connsiteX1073" fmla="*/ 925324 w 1375767"/>
                <a:gd name="connsiteY1073" fmla="*/ 709632 h 1047668"/>
                <a:gd name="connsiteX1074" fmla="*/ 922229 w 1375767"/>
                <a:gd name="connsiteY1074" fmla="*/ 708003 h 1047668"/>
                <a:gd name="connsiteX1075" fmla="*/ 923858 w 1375767"/>
                <a:gd name="connsiteY1075" fmla="*/ 702627 h 1047668"/>
                <a:gd name="connsiteX1076" fmla="*/ 933307 w 1375767"/>
                <a:gd name="connsiteY1076" fmla="*/ 699369 h 1047668"/>
                <a:gd name="connsiteX1077" fmla="*/ 934936 w 1375767"/>
                <a:gd name="connsiteY1077" fmla="*/ 695948 h 1047668"/>
                <a:gd name="connsiteX1078" fmla="*/ 934936 w 1375767"/>
                <a:gd name="connsiteY1078" fmla="*/ 690898 h 1047668"/>
                <a:gd name="connsiteX1079" fmla="*/ 930537 w 1375767"/>
                <a:gd name="connsiteY1079" fmla="*/ 691712 h 1047668"/>
                <a:gd name="connsiteX1080" fmla="*/ 927279 w 1375767"/>
                <a:gd name="connsiteY1080" fmla="*/ 689432 h 1047668"/>
                <a:gd name="connsiteX1081" fmla="*/ 921577 w 1375767"/>
                <a:gd name="connsiteY1081" fmla="*/ 688617 h 1047668"/>
                <a:gd name="connsiteX1082" fmla="*/ 923532 w 1375767"/>
                <a:gd name="connsiteY1082" fmla="*/ 685522 h 1047668"/>
                <a:gd name="connsiteX1083" fmla="*/ 927931 w 1375767"/>
                <a:gd name="connsiteY1083" fmla="*/ 685522 h 1047668"/>
                <a:gd name="connsiteX1084" fmla="*/ 931840 w 1375767"/>
                <a:gd name="connsiteY1084" fmla="*/ 686825 h 1047668"/>
                <a:gd name="connsiteX1085" fmla="*/ 934121 w 1375767"/>
                <a:gd name="connsiteY1085" fmla="*/ 683893 h 1047668"/>
                <a:gd name="connsiteX1086" fmla="*/ 934121 w 1375767"/>
                <a:gd name="connsiteY1086" fmla="*/ 679657 h 1047668"/>
                <a:gd name="connsiteX1087" fmla="*/ 929723 w 1375767"/>
                <a:gd name="connsiteY1087" fmla="*/ 681449 h 1047668"/>
                <a:gd name="connsiteX1088" fmla="*/ 924509 w 1375767"/>
                <a:gd name="connsiteY1088" fmla="*/ 677213 h 1047668"/>
                <a:gd name="connsiteX1089" fmla="*/ 924509 w 1375767"/>
                <a:gd name="connsiteY1089" fmla="*/ 673141 h 1047668"/>
                <a:gd name="connsiteX1090" fmla="*/ 931026 w 1375767"/>
                <a:gd name="connsiteY1090" fmla="*/ 672326 h 1047668"/>
                <a:gd name="connsiteX1091" fmla="*/ 933958 w 1375767"/>
                <a:gd name="connsiteY1091" fmla="*/ 670860 h 1047668"/>
                <a:gd name="connsiteX1092" fmla="*/ 936239 w 1375767"/>
                <a:gd name="connsiteY1092" fmla="*/ 672326 h 1047668"/>
                <a:gd name="connsiteX1093" fmla="*/ 937053 w 1375767"/>
                <a:gd name="connsiteY1093" fmla="*/ 669882 h 1047668"/>
                <a:gd name="connsiteX1094" fmla="*/ 935261 w 1375767"/>
                <a:gd name="connsiteY1094" fmla="*/ 664018 h 1047668"/>
                <a:gd name="connsiteX1095" fmla="*/ 943570 w 1375767"/>
                <a:gd name="connsiteY1095" fmla="*/ 660597 h 1047668"/>
                <a:gd name="connsiteX1096" fmla="*/ 948294 w 1375767"/>
                <a:gd name="connsiteY1096" fmla="*/ 664018 h 1047668"/>
                <a:gd name="connsiteX1097" fmla="*/ 951715 w 1375767"/>
                <a:gd name="connsiteY1097" fmla="*/ 663040 h 1047668"/>
                <a:gd name="connsiteX1098" fmla="*/ 957906 w 1375767"/>
                <a:gd name="connsiteY1098" fmla="*/ 663040 h 1047668"/>
                <a:gd name="connsiteX1099" fmla="*/ 948457 w 1375767"/>
                <a:gd name="connsiteY1099" fmla="*/ 669557 h 1047668"/>
                <a:gd name="connsiteX1100" fmla="*/ 948946 w 1375767"/>
                <a:gd name="connsiteY1100" fmla="*/ 673792 h 1047668"/>
                <a:gd name="connsiteX1101" fmla="*/ 950575 w 1375767"/>
                <a:gd name="connsiteY1101" fmla="*/ 682264 h 1047668"/>
                <a:gd name="connsiteX1102" fmla="*/ 952856 w 1375767"/>
                <a:gd name="connsiteY1102" fmla="*/ 681775 h 1047668"/>
                <a:gd name="connsiteX1103" fmla="*/ 955951 w 1375767"/>
                <a:gd name="connsiteY1103" fmla="*/ 672000 h 1047668"/>
                <a:gd name="connsiteX1104" fmla="*/ 959861 w 1375767"/>
                <a:gd name="connsiteY1104" fmla="*/ 669394 h 1047668"/>
                <a:gd name="connsiteX1105" fmla="*/ 962304 w 1375767"/>
                <a:gd name="connsiteY1105" fmla="*/ 669394 h 1047668"/>
                <a:gd name="connsiteX1106" fmla="*/ 960675 w 1375767"/>
                <a:gd name="connsiteY1106" fmla="*/ 672489 h 1047668"/>
                <a:gd name="connsiteX1107" fmla="*/ 958069 w 1375767"/>
                <a:gd name="connsiteY1107" fmla="*/ 676399 h 1047668"/>
                <a:gd name="connsiteX1108" fmla="*/ 959046 w 1375767"/>
                <a:gd name="connsiteY1108" fmla="*/ 679657 h 1047668"/>
                <a:gd name="connsiteX1109" fmla="*/ 965074 w 1375767"/>
                <a:gd name="connsiteY1109" fmla="*/ 675258 h 1047668"/>
                <a:gd name="connsiteX1110" fmla="*/ 966377 w 1375767"/>
                <a:gd name="connsiteY1110" fmla="*/ 672326 h 1047668"/>
                <a:gd name="connsiteX1111" fmla="*/ 970287 w 1375767"/>
                <a:gd name="connsiteY1111" fmla="*/ 675258 h 1047668"/>
                <a:gd name="connsiteX1112" fmla="*/ 975337 w 1375767"/>
                <a:gd name="connsiteY1112" fmla="*/ 671512 h 1047668"/>
                <a:gd name="connsiteX1113" fmla="*/ 977292 w 1375767"/>
                <a:gd name="connsiteY1113" fmla="*/ 671512 h 1047668"/>
                <a:gd name="connsiteX1114" fmla="*/ 982342 w 1375767"/>
                <a:gd name="connsiteY1114" fmla="*/ 667765 h 1047668"/>
                <a:gd name="connsiteX1115" fmla="*/ 988044 w 1375767"/>
                <a:gd name="connsiteY1115" fmla="*/ 666624 h 1047668"/>
                <a:gd name="connsiteX1116" fmla="*/ 992280 w 1375767"/>
                <a:gd name="connsiteY1116" fmla="*/ 668090 h 1047668"/>
                <a:gd name="connsiteX1117" fmla="*/ 991302 w 1375767"/>
                <a:gd name="connsiteY1117" fmla="*/ 669882 h 1047668"/>
                <a:gd name="connsiteX1118" fmla="*/ 985926 w 1375767"/>
                <a:gd name="connsiteY1118" fmla="*/ 669882 h 1047668"/>
                <a:gd name="connsiteX1119" fmla="*/ 980550 w 1375767"/>
                <a:gd name="connsiteY1119" fmla="*/ 675584 h 1047668"/>
                <a:gd name="connsiteX1120" fmla="*/ 977129 w 1375767"/>
                <a:gd name="connsiteY1120" fmla="*/ 675584 h 1047668"/>
                <a:gd name="connsiteX1121" fmla="*/ 974523 w 1375767"/>
                <a:gd name="connsiteY1121" fmla="*/ 679005 h 1047668"/>
                <a:gd name="connsiteX1122" fmla="*/ 976477 w 1375767"/>
                <a:gd name="connsiteY1122" fmla="*/ 681775 h 1047668"/>
                <a:gd name="connsiteX1123" fmla="*/ 986089 w 1375767"/>
                <a:gd name="connsiteY1123" fmla="*/ 683730 h 1047668"/>
                <a:gd name="connsiteX1124" fmla="*/ 989347 w 1375767"/>
                <a:gd name="connsiteY1124" fmla="*/ 686988 h 1047668"/>
                <a:gd name="connsiteX1125" fmla="*/ 988859 w 1375767"/>
                <a:gd name="connsiteY1125" fmla="*/ 689594 h 1047668"/>
                <a:gd name="connsiteX1126" fmla="*/ 983320 w 1375767"/>
                <a:gd name="connsiteY1126" fmla="*/ 685033 h 1047668"/>
                <a:gd name="connsiteX1127" fmla="*/ 976477 w 1375767"/>
                <a:gd name="connsiteY1127" fmla="*/ 684218 h 1047668"/>
                <a:gd name="connsiteX1128" fmla="*/ 972242 w 1375767"/>
                <a:gd name="connsiteY1128" fmla="*/ 686173 h 1047668"/>
                <a:gd name="connsiteX1129" fmla="*/ 971753 w 1375767"/>
                <a:gd name="connsiteY1129" fmla="*/ 690409 h 1047668"/>
                <a:gd name="connsiteX1130" fmla="*/ 975500 w 1375767"/>
                <a:gd name="connsiteY1130" fmla="*/ 691712 h 1047668"/>
                <a:gd name="connsiteX1131" fmla="*/ 979736 w 1375767"/>
                <a:gd name="connsiteY1131" fmla="*/ 689269 h 1047668"/>
                <a:gd name="connsiteX1132" fmla="*/ 983808 w 1375767"/>
                <a:gd name="connsiteY1132" fmla="*/ 692201 h 1047668"/>
                <a:gd name="connsiteX1133" fmla="*/ 981365 w 1375767"/>
                <a:gd name="connsiteY1133" fmla="*/ 693504 h 1047668"/>
                <a:gd name="connsiteX1134" fmla="*/ 975989 w 1375767"/>
                <a:gd name="connsiteY1134" fmla="*/ 693504 h 1047668"/>
                <a:gd name="connsiteX1135" fmla="*/ 976477 w 1375767"/>
                <a:gd name="connsiteY1135" fmla="*/ 697414 h 1047668"/>
                <a:gd name="connsiteX1136" fmla="*/ 983483 w 1375767"/>
                <a:gd name="connsiteY1136" fmla="*/ 699206 h 1047668"/>
                <a:gd name="connsiteX1137" fmla="*/ 985926 w 1375767"/>
                <a:gd name="connsiteY1137" fmla="*/ 702464 h 1047668"/>
                <a:gd name="connsiteX1138" fmla="*/ 982016 w 1375767"/>
                <a:gd name="connsiteY1138" fmla="*/ 703768 h 1047668"/>
                <a:gd name="connsiteX1139" fmla="*/ 977944 w 1375767"/>
                <a:gd name="connsiteY1139" fmla="*/ 705234 h 1047668"/>
                <a:gd name="connsiteX1140" fmla="*/ 978432 w 1375767"/>
                <a:gd name="connsiteY1140" fmla="*/ 708003 h 1047668"/>
                <a:gd name="connsiteX1141" fmla="*/ 983483 w 1375767"/>
                <a:gd name="connsiteY1141" fmla="*/ 708003 h 1047668"/>
                <a:gd name="connsiteX1142" fmla="*/ 988696 w 1375767"/>
                <a:gd name="connsiteY1142" fmla="*/ 705722 h 1047668"/>
                <a:gd name="connsiteX1143" fmla="*/ 993094 w 1375767"/>
                <a:gd name="connsiteY1143" fmla="*/ 709632 h 1047668"/>
                <a:gd name="connsiteX1144" fmla="*/ 997493 w 1375767"/>
                <a:gd name="connsiteY1144" fmla="*/ 711587 h 1047668"/>
                <a:gd name="connsiteX1145" fmla="*/ 1004661 w 1375767"/>
                <a:gd name="connsiteY1145" fmla="*/ 708818 h 1047668"/>
                <a:gd name="connsiteX1146" fmla="*/ 1006941 w 1375767"/>
                <a:gd name="connsiteY1146" fmla="*/ 711750 h 1047668"/>
                <a:gd name="connsiteX1147" fmla="*/ 1006941 w 1375767"/>
                <a:gd name="connsiteY1147" fmla="*/ 714194 h 1047668"/>
                <a:gd name="connsiteX1148" fmla="*/ 1003683 w 1375767"/>
                <a:gd name="connsiteY1148" fmla="*/ 716312 h 1047668"/>
                <a:gd name="connsiteX1149" fmla="*/ 1004498 w 1375767"/>
                <a:gd name="connsiteY1149" fmla="*/ 719244 h 1047668"/>
                <a:gd name="connsiteX1150" fmla="*/ 1006779 w 1375767"/>
                <a:gd name="connsiteY1150" fmla="*/ 720221 h 1047668"/>
                <a:gd name="connsiteX1151" fmla="*/ 1007593 w 1375767"/>
                <a:gd name="connsiteY1151" fmla="*/ 723317 h 1047668"/>
                <a:gd name="connsiteX1152" fmla="*/ 1011666 w 1375767"/>
                <a:gd name="connsiteY1152" fmla="*/ 724783 h 1047668"/>
                <a:gd name="connsiteX1153" fmla="*/ 1014924 w 1375767"/>
                <a:gd name="connsiteY1153" fmla="*/ 719570 h 1047668"/>
                <a:gd name="connsiteX1154" fmla="*/ 1013458 w 1375767"/>
                <a:gd name="connsiteY1154" fmla="*/ 717289 h 1047668"/>
                <a:gd name="connsiteX1155" fmla="*/ 1014761 w 1375767"/>
                <a:gd name="connsiteY1155" fmla="*/ 715008 h 1047668"/>
                <a:gd name="connsiteX1156" fmla="*/ 1020952 w 1375767"/>
                <a:gd name="connsiteY1156" fmla="*/ 715008 h 1047668"/>
                <a:gd name="connsiteX1157" fmla="*/ 1017205 w 1375767"/>
                <a:gd name="connsiteY1157" fmla="*/ 720058 h 1047668"/>
                <a:gd name="connsiteX1158" fmla="*/ 1017531 w 1375767"/>
                <a:gd name="connsiteY1158" fmla="*/ 723154 h 1047668"/>
                <a:gd name="connsiteX1159" fmla="*/ 1011014 w 1375767"/>
                <a:gd name="connsiteY1159" fmla="*/ 729670 h 1047668"/>
                <a:gd name="connsiteX1160" fmla="*/ 1016064 w 1375767"/>
                <a:gd name="connsiteY1160" fmla="*/ 734232 h 1047668"/>
                <a:gd name="connsiteX1161" fmla="*/ 1013784 w 1375767"/>
                <a:gd name="connsiteY1161" fmla="*/ 735535 h 1047668"/>
                <a:gd name="connsiteX1162" fmla="*/ 1011177 w 1375767"/>
                <a:gd name="connsiteY1162" fmla="*/ 734394 h 1047668"/>
                <a:gd name="connsiteX1163" fmla="*/ 1008082 w 1375767"/>
                <a:gd name="connsiteY1163" fmla="*/ 735535 h 1047668"/>
                <a:gd name="connsiteX1164" fmla="*/ 1009711 w 1375767"/>
                <a:gd name="connsiteY1164" fmla="*/ 738630 h 1047668"/>
                <a:gd name="connsiteX1165" fmla="*/ 1021929 w 1375767"/>
                <a:gd name="connsiteY1165" fmla="*/ 741074 h 1047668"/>
                <a:gd name="connsiteX1166" fmla="*/ 1025513 w 1375767"/>
                <a:gd name="connsiteY1166" fmla="*/ 739608 h 1047668"/>
                <a:gd name="connsiteX1167" fmla="*/ 1029260 w 1375767"/>
                <a:gd name="connsiteY1167" fmla="*/ 740585 h 1047668"/>
                <a:gd name="connsiteX1168" fmla="*/ 1034310 w 1375767"/>
                <a:gd name="connsiteY1168" fmla="*/ 740096 h 1047668"/>
                <a:gd name="connsiteX1169" fmla="*/ 1040664 w 1375767"/>
                <a:gd name="connsiteY1169" fmla="*/ 740585 h 1047668"/>
                <a:gd name="connsiteX1170" fmla="*/ 1046365 w 1375767"/>
                <a:gd name="connsiteY1170" fmla="*/ 739445 h 1047668"/>
                <a:gd name="connsiteX1171" fmla="*/ 1048809 w 1375767"/>
                <a:gd name="connsiteY1171" fmla="*/ 740259 h 1047668"/>
                <a:gd name="connsiteX1172" fmla="*/ 1048809 w 1375767"/>
                <a:gd name="connsiteY1172" fmla="*/ 744006 h 1047668"/>
                <a:gd name="connsiteX1173" fmla="*/ 1052230 w 1375767"/>
                <a:gd name="connsiteY1173" fmla="*/ 744332 h 1047668"/>
                <a:gd name="connsiteX1174" fmla="*/ 1055489 w 1375767"/>
                <a:gd name="connsiteY1174" fmla="*/ 748405 h 1047668"/>
                <a:gd name="connsiteX1175" fmla="*/ 1058747 w 1375767"/>
                <a:gd name="connsiteY1175" fmla="*/ 750848 h 1047668"/>
                <a:gd name="connsiteX1176" fmla="*/ 1060050 w 1375767"/>
                <a:gd name="connsiteY1176" fmla="*/ 754269 h 1047668"/>
                <a:gd name="connsiteX1177" fmla="*/ 1064448 w 1375767"/>
                <a:gd name="connsiteY1177" fmla="*/ 754269 h 1047668"/>
                <a:gd name="connsiteX1178" fmla="*/ 1071454 w 1375767"/>
                <a:gd name="connsiteY1178" fmla="*/ 750522 h 1047668"/>
                <a:gd name="connsiteX1179" fmla="*/ 1072920 w 1375767"/>
                <a:gd name="connsiteY1179" fmla="*/ 748893 h 1047668"/>
                <a:gd name="connsiteX1180" fmla="*/ 1075526 w 1375767"/>
                <a:gd name="connsiteY1180" fmla="*/ 750197 h 1047668"/>
                <a:gd name="connsiteX1181" fmla="*/ 1075200 w 1375767"/>
                <a:gd name="connsiteY1181" fmla="*/ 754106 h 1047668"/>
                <a:gd name="connsiteX1182" fmla="*/ 1071454 w 1375767"/>
                <a:gd name="connsiteY1182" fmla="*/ 757039 h 1047668"/>
                <a:gd name="connsiteX1183" fmla="*/ 1066729 w 1375767"/>
                <a:gd name="connsiteY1183" fmla="*/ 758342 h 1047668"/>
                <a:gd name="connsiteX1184" fmla="*/ 1067707 w 1375767"/>
                <a:gd name="connsiteY1184" fmla="*/ 760786 h 1047668"/>
                <a:gd name="connsiteX1185" fmla="*/ 1075038 w 1375767"/>
                <a:gd name="connsiteY1185" fmla="*/ 762578 h 1047668"/>
                <a:gd name="connsiteX1186" fmla="*/ 1076341 w 1375767"/>
                <a:gd name="connsiteY1186" fmla="*/ 767139 h 1047668"/>
                <a:gd name="connsiteX1187" fmla="*/ 1079436 w 1375767"/>
                <a:gd name="connsiteY1187" fmla="*/ 770072 h 1047668"/>
                <a:gd name="connsiteX1188" fmla="*/ 1087093 w 1375767"/>
                <a:gd name="connsiteY1188" fmla="*/ 772515 h 1047668"/>
                <a:gd name="connsiteX1189" fmla="*/ 1096542 w 1375767"/>
                <a:gd name="connsiteY1189" fmla="*/ 770234 h 1047668"/>
                <a:gd name="connsiteX1190" fmla="*/ 1100614 w 1375767"/>
                <a:gd name="connsiteY1190" fmla="*/ 768768 h 1047668"/>
                <a:gd name="connsiteX1191" fmla="*/ 1101918 w 1375767"/>
                <a:gd name="connsiteY1191" fmla="*/ 771375 h 1047668"/>
                <a:gd name="connsiteX1192" fmla="*/ 1104850 w 1375767"/>
                <a:gd name="connsiteY1192" fmla="*/ 767465 h 1047668"/>
                <a:gd name="connsiteX1193" fmla="*/ 1111529 w 1375767"/>
                <a:gd name="connsiteY1193" fmla="*/ 762741 h 1047668"/>
                <a:gd name="connsiteX1194" fmla="*/ 1114136 w 1375767"/>
                <a:gd name="connsiteY1194" fmla="*/ 762741 h 1047668"/>
                <a:gd name="connsiteX1195" fmla="*/ 1112181 w 1375767"/>
                <a:gd name="connsiteY1195" fmla="*/ 765999 h 1047668"/>
                <a:gd name="connsiteX1196" fmla="*/ 1107456 w 1375767"/>
                <a:gd name="connsiteY1196" fmla="*/ 769746 h 1047668"/>
                <a:gd name="connsiteX1197" fmla="*/ 1106479 w 1375767"/>
                <a:gd name="connsiteY1197" fmla="*/ 778543 h 1047668"/>
                <a:gd name="connsiteX1198" fmla="*/ 1104198 w 1375767"/>
                <a:gd name="connsiteY1198" fmla="*/ 783919 h 1047668"/>
                <a:gd name="connsiteX1199" fmla="*/ 1100940 w 1375767"/>
                <a:gd name="connsiteY1199" fmla="*/ 784408 h 1047668"/>
                <a:gd name="connsiteX1200" fmla="*/ 1095564 w 1375767"/>
                <a:gd name="connsiteY1200" fmla="*/ 781475 h 1047668"/>
                <a:gd name="connsiteX1201" fmla="*/ 1093772 w 1375767"/>
                <a:gd name="connsiteY1201" fmla="*/ 782127 h 1047668"/>
                <a:gd name="connsiteX1202" fmla="*/ 1097193 w 1375767"/>
                <a:gd name="connsiteY1202" fmla="*/ 788154 h 1047668"/>
                <a:gd name="connsiteX1203" fmla="*/ 1098497 w 1375767"/>
                <a:gd name="connsiteY1203" fmla="*/ 793042 h 1047668"/>
                <a:gd name="connsiteX1204" fmla="*/ 1101592 w 1375767"/>
                <a:gd name="connsiteY1204" fmla="*/ 795648 h 1047668"/>
                <a:gd name="connsiteX1205" fmla="*/ 1105827 w 1375767"/>
                <a:gd name="connsiteY1205" fmla="*/ 794345 h 1047668"/>
                <a:gd name="connsiteX1206" fmla="*/ 1108760 w 1375767"/>
                <a:gd name="connsiteY1206" fmla="*/ 795974 h 1047668"/>
                <a:gd name="connsiteX1207" fmla="*/ 1107294 w 1375767"/>
                <a:gd name="connsiteY1207" fmla="*/ 799069 h 1047668"/>
                <a:gd name="connsiteX1208" fmla="*/ 1104361 w 1375767"/>
                <a:gd name="connsiteY1208" fmla="*/ 799069 h 1047668"/>
                <a:gd name="connsiteX1209" fmla="*/ 1104361 w 1375767"/>
                <a:gd name="connsiteY1209" fmla="*/ 800861 h 1047668"/>
                <a:gd name="connsiteX1210" fmla="*/ 1111692 w 1375767"/>
                <a:gd name="connsiteY1210" fmla="*/ 808029 h 1047668"/>
                <a:gd name="connsiteX1211" fmla="*/ 1114136 w 1375767"/>
                <a:gd name="connsiteY1211" fmla="*/ 806563 h 1047668"/>
                <a:gd name="connsiteX1212" fmla="*/ 1119838 w 1375767"/>
                <a:gd name="connsiteY1212" fmla="*/ 807378 h 1047668"/>
                <a:gd name="connsiteX1213" fmla="*/ 1122281 w 1375767"/>
                <a:gd name="connsiteY1213" fmla="*/ 802328 h 1047668"/>
                <a:gd name="connsiteX1214" fmla="*/ 1128146 w 1375767"/>
                <a:gd name="connsiteY1214" fmla="*/ 791576 h 1047668"/>
                <a:gd name="connsiteX1215" fmla="*/ 1125376 w 1375767"/>
                <a:gd name="connsiteY1215" fmla="*/ 799884 h 1047668"/>
                <a:gd name="connsiteX1216" fmla="*/ 1125376 w 1375767"/>
                <a:gd name="connsiteY1216" fmla="*/ 805586 h 1047668"/>
                <a:gd name="connsiteX1217" fmla="*/ 1124073 w 1375767"/>
                <a:gd name="connsiteY1217" fmla="*/ 809007 h 1047668"/>
                <a:gd name="connsiteX1218" fmla="*/ 1121304 w 1375767"/>
                <a:gd name="connsiteY1218" fmla="*/ 810636 h 1047668"/>
                <a:gd name="connsiteX1219" fmla="*/ 1117720 w 1375767"/>
                <a:gd name="connsiteY1219" fmla="*/ 814709 h 1047668"/>
                <a:gd name="connsiteX1220" fmla="*/ 1118534 w 1375767"/>
                <a:gd name="connsiteY1220" fmla="*/ 817641 h 1047668"/>
                <a:gd name="connsiteX1221" fmla="*/ 1122444 w 1375767"/>
                <a:gd name="connsiteY1221" fmla="*/ 820411 h 1047668"/>
                <a:gd name="connsiteX1222" fmla="*/ 1120652 w 1375767"/>
                <a:gd name="connsiteY1222" fmla="*/ 823180 h 1047668"/>
                <a:gd name="connsiteX1223" fmla="*/ 1120652 w 1375767"/>
                <a:gd name="connsiteY1223" fmla="*/ 834746 h 1047668"/>
                <a:gd name="connsiteX1224" fmla="*/ 1123096 w 1375767"/>
                <a:gd name="connsiteY1224" fmla="*/ 837353 h 1047668"/>
                <a:gd name="connsiteX1225" fmla="*/ 1126680 w 1375767"/>
                <a:gd name="connsiteY1225" fmla="*/ 837353 h 1047668"/>
                <a:gd name="connsiteX1226" fmla="*/ 1125376 w 1375767"/>
                <a:gd name="connsiteY1226" fmla="*/ 841752 h 1047668"/>
                <a:gd name="connsiteX1227" fmla="*/ 1126843 w 1375767"/>
                <a:gd name="connsiteY1227" fmla="*/ 846150 h 1047668"/>
                <a:gd name="connsiteX1228" fmla="*/ 1134336 w 1375767"/>
                <a:gd name="connsiteY1228" fmla="*/ 854784 h 1047668"/>
                <a:gd name="connsiteX1229" fmla="*/ 1137106 w 1375767"/>
                <a:gd name="connsiteY1229" fmla="*/ 856088 h 1047668"/>
                <a:gd name="connsiteX1230" fmla="*/ 1137595 w 1375767"/>
                <a:gd name="connsiteY1230" fmla="*/ 858857 h 1047668"/>
                <a:gd name="connsiteX1231" fmla="*/ 1140364 w 1375767"/>
                <a:gd name="connsiteY1231" fmla="*/ 856576 h 1047668"/>
                <a:gd name="connsiteX1232" fmla="*/ 1143134 w 1375767"/>
                <a:gd name="connsiteY1232" fmla="*/ 859997 h 1047668"/>
                <a:gd name="connsiteX1233" fmla="*/ 1146881 w 1375767"/>
                <a:gd name="connsiteY1233" fmla="*/ 858694 h 1047668"/>
                <a:gd name="connsiteX1234" fmla="*/ 1145251 w 1375767"/>
                <a:gd name="connsiteY1234" fmla="*/ 856413 h 1047668"/>
                <a:gd name="connsiteX1235" fmla="*/ 1146718 w 1375767"/>
                <a:gd name="connsiteY1235" fmla="*/ 854133 h 1047668"/>
                <a:gd name="connsiteX1236" fmla="*/ 1148672 w 1375767"/>
                <a:gd name="connsiteY1236" fmla="*/ 856576 h 1047668"/>
                <a:gd name="connsiteX1237" fmla="*/ 1151605 w 1375767"/>
                <a:gd name="connsiteY1237" fmla="*/ 857391 h 1047668"/>
                <a:gd name="connsiteX1238" fmla="*/ 1153397 w 1375767"/>
                <a:gd name="connsiteY1238" fmla="*/ 853318 h 1047668"/>
                <a:gd name="connsiteX1239" fmla="*/ 1150464 w 1375767"/>
                <a:gd name="connsiteY1239" fmla="*/ 846150 h 1047668"/>
                <a:gd name="connsiteX1240" fmla="*/ 1147695 w 1375767"/>
                <a:gd name="connsiteY1240" fmla="*/ 846150 h 1047668"/>
                <a:gd name="connsiteX1241" fmla="*/ 1145903 w 1375767"/>
                <a:gd name="connsiteY1241" fmla="*/ 847453 h 1047668"/>
                <a:gd name="connsiteX1242" fmla="*/ 1144274 w 1375767"/>
                <a:gd name="connsiteY1242" fmla="*/ 845824 h 1047668"/>
                <a:gd name="connsiteX1243" fmla="*/ 1147858 w 1375767"/>
                <a:gd name="connsiteY1243" fmla="*/ 841263 h 1047668"/>
                <a:gd name="connsiteX1244" fmla="*/ 1147532 w 1375767"/>
                <a:gd name="connsiteY1244" fmla="*/ 838005 h 1047668"/>
                <a:gd name="connsiteX1245" fmla="*/ 1146066 w 1375767"/>
                <a:gd name="connsiteY1245" fmla="*/ 834584 h 1047668"/>
                <a:gd name="connsiteX1246" fmla="*/ 1142645 w 1375767"/>
                <a:gd name="connsiteY1246" fmla="*/ 833117 h 1047668"/>
                <a:gd name="connsiteX1247" fmla="*/ 1142645 w 1375767"/>
                <a:gd name="connsiteY1247" fmla="*/ 830511 h 1047668"/>
                <a:gd name="connsiteX1248" fmla="*/ 1144274 w 1375767"/>
                <a:gd name="connsiteY1248" fmla="*/ 828067 h 1047668"/>
                <a:gd name="connsiteX1249" fmla="*/ 1145089 w 1375767"/>
                <a:gd name="connsiteY1249" fmla="*/ 822365 h 1047668"/>
                <a:gd name="connsiteX1250" fmla="*/ 1148021 w 1375767"/>
                <a:gd name="connsiteY1250" fmla="*/ 822691 h 1047668"/>
                <a:gd name="connsiteX1251" fmla="*/ 1148347 w 1375767"/>
                <a:gd name="connsiteY1251" fmla="*/ 827904 h 1047668"/>
                <a:gd name="connsiteX1252" fmla="*/ 1149976 w 1375767"/>
                <a:gd name="connsiteY1252" fmla="*/ 831000 h 1047668"/>
                <a:gd name="connsiteX1253" fmla="*/ 1152908 w 1375767"/>
                <a:gd name="connsiteY1253" fmla="*/ 826275 h 1047668"/>
                <a:gd name="connsiteX1254" fmla="*/ 1154374 w 1375767"/>
                <a:gd name="connsiteY1254" fmla="*/ 829208 h 1047668"/>
                <a:gd name="connsiteX1255" fmla="*/ 1156166 w 1375767"/>
                <a:gd name="connsiteY1255" fmla="*/ 832629 h 1047668"/>
                <a:gd name="connsiteX1256" fmla="*/ 1154374 w 1375767"/>
                <a:gd name="connsiteY1256" fmla="*/ 837679 h 1047668"/>
                <a:gd name="connsiteX1257" fmla="*/ 1155515 w 1375767"/>
                <a:gd name="connsiteY1257" fmla="*/ 841589 h 1047668"/>
                <a:gd name="connsiteX1258" fmla="*/ 1158284 w 1375767"/>
                <a:gd name="connsiteY1258" fmla="*/ 842240 h 1047668"/>
                <a:gd name="connsiteX1259" fmla="*/ 1162683 w 1375767"/>
                <a:gd name="connsiteY1259" fmla="*/ 838005 h 1047668"/>
                <a:gd name="connsiteX1260" fmla="*/ 1164963 w 1375767"/>
                <a:gd name="connsiteY1260" fmla="*/ 837679 h 1047668"/>
                <a:gd name="connsiteX1261" fmla="*/ 1163497 w 1375767"/>
                <a:gd name="connsiteY1261" fmla="*/ 841752 h 1047668"/>
                <a:gd name="connsiteX1262" fmla="*/ 1159750 w 1375767"/>
                <a:gd name="connsiteY1262" fmla="*/ 845010 h 1047668"/>
                <a:gd name="connsiteX1263" fmla="*/ 1159750 w 1375767"/>
                <a:gd name="connsiteY1263" fmla="*/ 848920 h 1047668"/>
                <a:gd name="connsiteX1264" fmla="*/ 1161217 w 1375767"/>
                <a:gd name="connsiteY1264" fmla="*/ 853481 h 1047668"/>
                <a:gd name="connsiteX1265" fmla="*/ 1159424 w 1375767"/>
                <a:gd name="connsiteY1265" fmla="*/ 858857 h 1047668"/>
                <a:gd name="connsiteX1266" fmla="*/ 1160891 w 1375767"/>
                <a:gd name="connsiteY1266" fmla="*/ 861464 h 1047668"/>
                <a:gd name="connsiteX1267" fmla="*/ 1166267 w 1375767"/>
                <a:gd name="connsiteY1267" fmla="*/ 862930 h 1047668"/>
                <a:gd name="connsiteX1268" fmla="*/ 1166918 w 1375767"/>
                <a:gd name="connsiteY1268" fmla="*/ 860649 h 1047668"/>
                <a:gd name="connsiteX1269" fmla="*/ 1169525 w 1375767"/>
                <a:gd name="connsiteY1269" fmla="*/ 856576 h 1047668"/>
                <a:gd name="connsiteX1270" fmla="*/ 1170014 w 1375767"/>
                <a:gd name="connsiteY1270" fmla="*/ 860323 h 1047668"/>
                <a:gd name="connsiteX1271" fmla="*/ 1168547 w 1375767"/>
                <a:gd name="connsiteY1271" fmla="*/ 862115 h 1047668"/>
                <a:gd name="connsiteX1272" fmla="*/ 1170176 w 1375767"/>
                <a:gd name="connsiteY1272" fmla="*/ 868632 h 1047668"/>
                <a:gd name="connsiteX1273" fmla="*/ 1173435 w 1375767"/>
                <a:gd name="connsiteY1273" fmla="*/ 871075 h 1047668"/>
                <a:gd name="connsiteX1274" fmla="*/ 1177833 w 1375767"/>
                <a:gd name="connsiteY1274" fmla="*/ 862604 h 1047668"/>
                <a:gd name="connsiteX1275" fmla="*/ 1178322 w 1375767"/>
                <a:gd name="connsiteY1275" fmla="*/ 856088 h 1047668"/>
                <a:gd name="connsiteX1276" fmla="*/ 1180114 w 1375767"/>
                <a:gd name="connsiteY1276" fmla="*/ 852341 h 1047668"/>
                <a:gd name="connsiteX1277" fmla="*/ 1181091 w 1375767"/>
                <a:gd name="connsiteY1277" fmla="*/ 839960 h 1047668"/>
                <a:gd name="connsiteX1278" fmla="*/ 1184838 w 1375767"/>
                <a:gd name="connsiteY1278" fmla="*/ 829045 h 1047668"/>
                <a:gd name="connsiteX1279" fmla="*/ 1184838 w 1375767"/>
                <a:gd name="connsiteY1279" fmla="*/ 818293 h 1047668"/>
                <a:gd name="connsiteX1280" fmla="*/ 1183535 w 1375767"/>
                <a:gd name="connsiteY1280" fmla="*/ 810962 h 1047668"/>
                <a:gd name="connsiteX1281" fmla="*/ 1181743 w 1375767"/>
                <a:gd name="connsiteY1281" fmla="*/ 807215 h 1047668"/>
                <a:gd name="connsiteX1282" fmla="*/ 1182069 w 1375767"/>
                <a:gd name="connsiteY1282" fmla="*/ 806237 h 1047668"/>
                <a:gd name="connsiteX1283" fmla="*/ 1183861 w 1375767"/>
                <a:gd name="connsiteY1283" fmla="*/ 807215 h 1047668"/>
                <a:gd name="connsiteX1284" fmla="*/ 1186305 w 1375767"/>
                <a:gd name="connsiteY1284" fmla="*/ 813405 h 1047668"/>
                <a:gd name="connsiteX1285" fmla="*/ 1189074 w 1375767"/>
                <a:gd name="connsiteY1285" fmla="*/ 814546 h 1047668"/>
                <a:gd name="connsiteX1286" fmla="*/ 1191681 w 1375767"/>
                <a:gd name="connsiteY1286" fmla="*/ 808355 h 1047668"/>
                <a:gd name="connsiteX1287" fmla="*/ 1197056 w 1375767"/>
                <a:gd name="connsiteY1287" fmla="*/ 804445 h 1047668"/>
                <a:gd name="connsiteX1288" fmla="*/ 1193635 w 1375767"/>
                <a:gd name="connsiteY1288" fmla="*/ 811450 h 1047668"/>
                <a:gd name="connsiteX1289" fmla="*/ 1191681 w 1375767"/>
                <a:gd name="connsiteY1289" fmla="*/ 820248 h 1047668"/>
                <a:gd name="connsiteX1290" fmla="*/ 1193147 w 1375767"/>
                <a:gd name="connsiteY1290" fmla="*/ 827416 h 1047668"/>
                <a:gd name="connsiteX1291" fmla="*/ 1188422 w 1375767"/>
                <a:gd name="connsiteY1291" fmla="*/ 836864 h 1047668"/>
                <a:gd name="connsiteX1292" fmla="*/ 1187934 w 1375767"/>
                <a:gd name="connsiteY1292" fmla="*/ 842892 h 1047668"/>
                <a:gd name="connsiteX1293" fmla="*/ 1189563 w 1375767"/>
                <a:gd name="connsiteY1293" fmla="*/ 845987 h 1047668"/>
                <a:gd name="connsiteX1294" fmla="*/ 1186305 w 1375767"/>
                <a:gd name="connsiteY1294" fmla="*/ 848920 h 1047668"/>
                <a:gd name="connsiteX1295" fmla="*/ 1185979 w 1375767"/>
                <a:gd name="connsiteY1295" fmla="*/ 856413 h 1047668"/>
                <a:gd name="connsiteX1296" fmla="*/ 1186956 w 1375767"/>
                <a:gd name="connsiteY1296" fmla="*/ 860649 h 1047668"/>
                <a:gd name="connsiteX1297" fmla="*/ 1188097 w 1375767"/>
                <a:gd name="connsiteY1297" fmla="*/ 865862 h 1047668"/>
                <a:gd name="connsiteX1298" fmla="*/ 1192495 w 1375767"/>
                <a:gd name="connsiteY1298" fmla="*/ 870098 h 1047668"/>
                <a:gd name="connsiteX1299" fmla="*/ 1193310 w 1375767"/>
                <a:gd name="connsiteY1299" fmla="*/ 875962 h 1047668"/>
                <a:gd name="connsiteX1300" fmla="*/ 1195753 w 1375767"/>
                <a:gd name="connsiteY1300" fmla="*/ 875962 h 1047668"/>
                <a:gd name="connsiteX1301" fmla="*/ 1196079 w 1375767"/>
                <a:gd name="connsiteY1301" fmla="*/ 881501 h 1047668"/>
                <a:gd name="connsiteX1302" fmla="*/ 1199826 w 1375767"/>
                <a:gd name="connsiteY1302" fmla="*/ 884597 h 1047668"/>
                <a:gd name="connsiteX1303" fmla="*/ 1202595 w 1375767"/>
                <a:gd name="connsiteY1303" fmla="*/ 882642 h 1047668"/>
                <a:gd name="connsiteX1304" fmla="*/ 1205365 w 1375767"/>
                <a:gd name="connsiteY1304" fmla="*/ 884271 h 1047668"/>
                <a:gd name="connsiteX1305" fmla="*/ 1209601 w 1375767"/>
                <a:gd name="connsiteY1305" fmla="*/ 882479 h 1047668"/>
                <a:gd name="connsiteX1306" fmla="*/ 1215791 w 1375767"/>
                <a:gd name="connsiteY1306" fmla="*/ 882153 h 1047668"/>
                <a:gd name="connsiteX1307" fmla="*/ 1215791 w 1375767"/>
                <a:gd name="connsiteY1307" fmla="*/ 883619 h 1047668"/>
                <a:gd name="connsiteX1308" fmla="*/ 1208786 w 1375767"/>
                <a:gd name="connsiteY1308" fmla="*/ 888018 h 1047668"/>
                <a:gd name="connsiteX1309" fmla="*/ 1206179 w 1375767"/>
                <a:gd name="connsiteY1309" fmla="*/ 889158 h 1047668"/>
                <a:gd name="connsiteX1310" fmla="*/ 1206179 w 1375767"/>
                <a:gd name="connsiteY1310" fmla="*/ 891439 h 1047668"/>
                <a:gd name="connsiteX1311" fmla="*/ 1209438 w 1375767"/>
                <a:gd name="connsiteY1311" fmla="*/ 894045 h 1047668"/>
                <a:gd name="connsiteX1312" fmla="*/ 1207157 w 1375767"/>
                <a:gd name="connsiteY1312" fmla="*/ 895837 h 1047668"/>
                <a:gd name="connsiteX1313" fmla="*/ 1203247 w 1375767"/>
                <a:gd name="connsiteY1313" fmla="*/ 896326 h 1047668"/>
                <a:gd name="connsiteX1314" fmla="*/ 1203573 w 1375767"/>
                <a:gd name="connsiteY1314" fmla="*/ 899096 h 1047668"/>
                <a:gd name="connsiteX1315" fmla="*/ 1206994 w 1375767"/>
                <a:gd name="connsiteY1315" fmla="*/ 904797 h 1047668"/>
                <a:gd name="connsiteX1316" fmla="*/ 1206994 w 1375767"/>
                <a:gd name="connsiteY1316" fmla="*/ 909848 h 1047668"/>
                <a:gd name="connsiteX1317" fmla="*/ 1205039 w 1375767"/>
                <a:gd name="connsiteY1317" fmla="*/ 910825 h 1047668"/>
                <a:gd name="connsiteX1318" fmla="*/ 1201129 w 1375767"/>
                <a:gd name="connsiteY1318" fmla="*/ 907893 h 1047668"/>
                <a:gd name="connsiteX1319" fmla="*/ 1199337 w 1375767"/>
                <a:gd name="connsiteY1319" fmla="*/ 903820 h 1047668"/>
                <a:gd name="connsiteX1320" fmla="*/ 1198034 w 1375767"/>
                <a:gd name="connsiteY1320" fmla="*/ 905612 h 1047668"/>
                <a:gd name="connsiteX1321" fmla="*/ 1199337 w 1375767"/>
                <a:gd name="connsiteY1321" fmla="*/ 908707 h 1047668"/>
                <a:gd name="connsiteX1322" fmla="*/ 1196731 w 1375767"/>
                <a:gd name="connsiteY1322" fmla="*/ 912617 h 1047668"/>
                <a:gd name="connsiteX1323" fmla="*/ 1197056 w 1375767"/>
                <a:gd name="connsiteY1323" fmla="*/ 918156 h 1047668"/>
                <a:gd name="connsiteX1324" fmla="*/ 1198360 w 1375767"/>
                <a:gd name="connsiteY1324" fmla="*/ 919948 h 1047668"/>
                <a:gd name="connsiteX1325" fmla="*/ 1196568 w 1375767"/>
                <a:gd name="connsiteY1325" fmla="*/ 922392 h 1047668"/>
                <a:gd name="connsiteX1326" fmla="*/ 1193147 w 1375767"/>
                <a:gd name="connsiteY1326" fmla="*/ 922880 h 1047668"/>
                <a:gd name="connsiteX1327" fmla="*/ 1190866 w 1375767"/>
                <a:gd name="connsiteY1327" fmla="*/ 926790 h 1047668"/>
                <a:gd name="connsiteX1328" fmla="*/ 1191681 w 1375767"/>
                <a:gd name="connsiteY1328" fmla="*/ 928745 h 1047668"/>
                <a:gd name="connsiteX1329" fmla="*/ 1194613 w 1375767"/>
                <a:gd name="connsiteY1329" fmla="*/ 929071 h 1047668"/>
                <a:gd name="connsiteX1330" fmla="*/ 1197545 w 1375767"/>
                <a:gd name="connsiteY1330" fmla="*/ 928745 h 1047668"/>
                <a:gd name="connsiteX1331" fmla="*/ 1199011 w 1375767"/>
                <a:gd name="connsiteY1331" fmla="*/ 932981 h 1047668"/>
                <a:gd name="connsiteX1332" fmla="*/ 1202433 w 1375767"/>
                <a:gd name="connsiteY1332" fmla="*/ 936239 h 1047668"/>
                <a:gd name="connsiteX1333" fmla="*/ 1205365 w 1375767"/>
                <a:gd name="connsiteY1333" fmla="*/ 935750 h 1047668"/>
                <a:gd name="connsiteX1334" fmla="*/ 1207971 w 1375767"/>
                <a:gd name="connsiteY1334" fmla="*/ 937705 h 1047668"/>
                <a:gd name="connsiteX1335" fmla="*/ 1207971 w 1375767"/>
                <a:gd name="connsiteY1335" fmla="*/ 939334 h 1047668"/>
                <a:gd name="connsiteX1336" fmla="*/ 1204062 w 1375767"/>
                <a:gd name="connsiteY1336" fmla="*/ 939008 h 1047668"/>
                <a:gd name="connsiteX1337" fmla="*/ 1202433 w 1375767"/>
                <a:gd name="connsiteY1337" fmla="*/ 940474 h 1047668"/>
                <a:gd name="connsiteX1338" fmla="*/ 1203410 w 1375767"/>
                <a:gd name="connsiteY1338" fmla="*/ 943244 h 1047668"/>
                <a:gd name="connsiteX1339" fmla="*/ 1206994 w 1375767"/>
                <a:gd name="connsiteY1339" fmla="*/ 945688 h 1047668"/>
                <a:gd name="connsiteX1340" fmla="*/ 1208623 w 1375767"/>
                <a:gd name="connsiteY1340" fmla="*/ 950086 h 1047668"/>
                <a:gd name="connsiteX1341" fmla="*/ 1212696 w 1375767"/>
                <a:gd name="connsiteY1341" fmla="*/ 953670 h 1047668"/>
                <a:gd name="connsiteX1342" fmla="*/ 1215139 w 1375767"/>
                <a:gd name="connsiteY1342" fmla="*/ 953670 h 1047668"/>
                <a:gd name="connsiteX1343" fmla="*/ 1212044 w 1375767"/>
                <a:gd name="connsiteY1343" fmla="*/ 954973 h 1047668"/>
                <a:gd name="connsiteX1344" fmla="*/ 1208949 w 1375767"/>
                <a:gd name="connsiteY1344" fmla="*/ 955462 h 1047668"/>
                <a:gd name="connsiteX1345" fmla="*/ 1205854 w 1375767"/>
                <a:gd name="connsiteY1345" fmla="*/ 959535 h 1047668"/>
                <a:gd name="connsiteX1346" fmla="*/ 1206505 w 1375767"/>
                <a:gd name="connsiteY1346" fmla="*/ 965074 h 1047668"/>
                <a:gd name="connsiteX1347" fmla="*/ 1210904 w 1375767"/>
                <a:gd name="connsiteY1347" fmla="*/ 972405 h 1047668"/>
                <a:gd name="connsiteX1348" fmla="*/ 1214814 w 1375767"/>
                <a:gd name="connsiteY1348" fmla="*/ 975011 h 1047668"/>
                <a:gd name="connsiteX1349" fmla="*/ 1220352 w 1375767"/>
                <a:gd name="connsiteY1349" fmla="*/ 975011 h 1047668"/>
                <a:gd name="connsiteX1350" fmla="*/ 1223285 w 1375767"/>
                <a:gd name="connsiteY1350" fmla="*/ 975989 h 1047668"/>
                <a:gd name="connsiteX1351" fmla="*/ 1217909 w 1375767"/>
                <a:gd name="connsiteY1351" fmla="*/ 978921 h 1047668"/>
                <a:gd name="connsiteX1352" fmla="*/ 1212370 w 1375767"/>
                <a:gd name="connsiteY1352" fmla="*/ 977781 h 1047668"/>
                <a:gd name="connsiteX1353" fmla="*/ 1208949 w 1375767"/>
                <a:gd name="connsiteY1353" fmla="*/ 978758 h 1047668"/>
                <a:gd name="connsiteX1354" fmla="*/ 1205854 w 1375767"/>
                <a:gd name="connsiteY1354" fmla="*/ 985437 h 1047668"/>
                <a:gd name="connsiteX1355" fmla="*/ 1198197 w 1375767"/>
                <a:gd name="connsiteY1355" fmla="*/ 993746 h 1047668"/>
                <a:gd name="connsiteX1356" fmla="*/ 1192495 w 1375767"/>
                <a:gd name="connsiteY1356" fmla="*/ 998307 h 1047668"/>
                <a:gd name="connsiteX1357" fmla="*/ 1192495 w 1375767"/>
                <a:gd name="connsiteY1357" fmla="*/ 1003357 h 1047668"/>
                <a:gd name="connsiteX1358" fmla="*/ 1194450 w 1375767"/>
                <a:gd name="connsiteY1358" fmla="*/ 1008082 h 1047668"/>
                <a:gd name="connsiteX1359" fmla="*/ 1199826 w 1375767"/>
                <a:gd name="connsiteY1359" fmla="*/ 1003520 h 1047668"/>
                <a:gd name="connsiteX1360" fmla="*/ 1202921 w 1375767"/>
                <a:gd name="connsiteY1360" fmla="*/ 996352 h 1047668"/>
                <a:gd name="connsiteX1361" fmla="*/ 1203247 w 1375767"/>
                <a:gd name="connsiteY1361" fmla="*/ 994072 h 1047668"/>
                <a:gd name="connsiteX1362" fmla="*/ 1207320 w 1375767"/>
                <a:gd name="connsiteY1362" fmla="*/ 993094 h 1047668"/>
                <a:gd name="connsiteX1363" fmla="*/ 1213185 w 1375767"/>
                <a:gd name="connsiteY1363" fmla="*/ 987229 h 1047668"/>
                <a:gd name="connsiteX1364" fmla="*/ 1214325 w 1375767"/>
                <a:gd name="connsiteY1364" fmla="*/ 989184 h 1047668"/>
                <a:gd name="connsiteX1365" fmla="*/ 1218235 w 1375767"/>
                <a:gd name="connsiteY1365" fmla="*/ 988859 h 1047668"/>
                <a:gd name="connsiteX1366" fmla="*/ 1224425 w 1375767"/>
                <a:gd name="connsiteY1366" fmla="*/ 988370 h 1047668"/>
                <a:gd name="connsiteX1367" fmla="*/ 1220515 w 1375767"/>
                <a:gd name="connsiteY1367" fmla="*/ 992768 h 1047668"/>
                <a:gd name="connsiteX1368" fmla="*/ 1221330 w 1375767"/>
                <a:gd name="connsiteY1368" fmla="*/ 994397 h 1047668"/>
                <a:gd name="connsiteX1369" fmla="*/ 1227195 w 1375767"/>
                <a:gd name="connsiteY1369" fmla="*/ 994397 h 1047668"/>
                <a:gd name="connsiteX1370" fmla="*/ 1227195 w 1375767"/>
                <a:gd name="connsiteY1370" fmla="*/ 996678 h 1047668"/>
                <a:gd name="connsiteX1371" fmla="*/ 1221982 w 1375767"/>
                <a:gd name="connsiteY1371" fmla="*/ 1001403 h 1047668"/>
                <a:gd name="connsiteX1372" fmla="*/ 1221982 w 1375767"/>
                <a:gd name="connsiteY1372" fmla="*/ 1005801 h 1047668"/>
                <a:gd name="connsiteX1373" fmla="*/ 1222959 w 1375767"/>
                <a:gd name="connsiteY1373" fmla="*/ 1009059 h 1047668"/>
                <a:gd name="connsiteX1374" fmla="*/ 1219375 w 1375767"/>
                <a:gd name="connsiteY1374" fmla="*/ 1014924 h 1047668"/>
                <a:gd name="connsiteX1375" fmla="*/ 1217746 w 1375767"/>
                <a:gd name="connsiteY1375" fmla="*/ 1018508 h 1047668"/>
                <a:gd name="connsiteX1376" fmla="*/ 1219049 w 1375767"/>
                <a:gd name="connsiteY1376" fmla="*/ 1021115 h 1047668"/>
                <a:gd name="connsiteX1377" fmla="*/ 1220190 w 1375767"/>
                <a:gd name="connsiteY1377" fmla="*/ 1023558 h 1047668"/>
                <a:gd name="connsiteX1378" fmla="*/ 1216768 w 1375767"/>
                <a:gd name="connsiteY1378" fmla="*/ 1023069 h 1047668"/>
                <a:gd name="connsiteX1379" fmla="*/ 1212044 w 1375767"/>
                <a:gd name="connsiteY1379" fmla="*/ 1023395 h 1047668"/>
                <a:gd name="connsiteX1380" fmla="*/ 1208460 w 1375767"/>
                <a:gd name="connsiteY1380" fmla="*/ 1027305 h 1047668"/>
                <a:gd name="connsiteX1381" fmla="*/ 1208460 w 1375767"/>
                <a:gd name="connsiteY1381" fmla="*/ 1029260 h 1047668"/>
                <a:gd name="connsiteX1382" fmla="*/ 1212533 w 1375767"/>
                <a:gd name="connsiteY1382" fmla="*/ 1029749 h 1047668"/>
                <a:gd name="connsiteX1383" fmla="*/ 1214814 w 1375767"/>
                <a:gd name="connsiteY1383" fmla="*/ 1028608 h 1047668"/>
                <a:gd name="connsiteX1384" fmla="*/ 1219864 w 1375767"/>
                <a:gd name="connsiteY1384" fmla="*/ 1028608 h 1047668"/>
                <a:gd name="connsiteX1385" fmla="*/ 1220352 w 1375767"/>
                <a:gd name="connsiteY1385" fmla="*/ 1030237 h 1047668"/>
                <a:gd name="connsiteX1386" fmla="*/ 1216117 w 1375767"/>
                <a:gd name="connsiteY1386" fmla="*/ 1033984 h 1047668"/>
                <a:gd name="connsiteX1387" fmla="*/ 1212696 w 1375767"/>
                <a:gd name="connsiteY1387" fmla="*/ 1033496 h 1047668"/>
                <a:gd name="connsiteX1388" fmla="*/ 1210089 w 1375767"/>
                <a:gd name="connsiteY1388" fmla="*/ 1033496 h 1047668"/>
                <a:gd name="connsiteX1389" fmla="*/ 1207483 w 1375767"/>
                <a:gd name="connsiteY1389" fmla="*/ 1035776 h 1047668"/>
                <a:gd name="connsiteX1390" fmla="*/ 1206342 w 1375767"/>
                <a:gd name="connsiteY1390" fmla="*/ 1041641 h 1047668"/>
                <a:gd name="connsiteX1391" fmla="*/ 1208786 w 1375767"/>
                <a:gd name="connsiteY1391" fmla="*/ 1046854 h 1047668"/>
                <a:gd name="connsiteX1392" fmla="*/ 1212044 w 1375767"/>
                <a:gd name="connsiteY1392" fmla="*/ 1045062 h 1047668"/>
                <a:gd name="connsiteX1393" fmla="*/ 1212696 w 1375767"/>
                <a:gd name="connsiteY1393" fmla="*/ 1041478 h 1047668"/>
                <a:gd name="connsiteX1394" fmla="*/ 1215954 w 1375767"/>
                <a:gd name="connsiteY1394" fmla="*/ 1041967 h 1047668"/>
                <a:gd name="connsiteX1395" fmla="*/ 1220515 w 1375767"/>
                <a:gd name="connsiteY1395" fmla="*/ 1040012 h 1047668"/>
                <a:gd name="connsiteX1396" fmla="*/ 1226869 w 1375767"/>
                <a:gd name="connsiteY1396" fmla="*/ 1032681 h 1047668"/>
                <a:gd name="connsiteX1397" fmla="*/ 1232245 w 1375767"/>
                <a:gd name="connsiteY1397" fmla="*/ 1024861 h 1047668"/>
                <a:gd name="connsiteX1398" fmla="*/ 1234200 w 1375767"/>
                <a:gd name="connsiteY1398" fmla="*/ 1014435 h 1047668"/>
                <a:gd name="connsiteX1399" fmla="*/ 1239902 w 1375767"/>
                <a:gd name="connsiteY1399" fmla="*/ 1002380 h 1047668"/>
                <a:gd name="connsiteX1400" fmla="*/ 1241856 w 1375767"/>
                <a:gd name="connsiteY1400" fmla="*/ 1000751 h 1047668"/>
                <a:gd name="connsiteX1401" fmla="*/ 1241856 w 1375767"/>
                <a:gd name="connsiteY1401" fmla="*/ 1000751 h 1047668"/>
                <a:gd name="connsiteX1402" fmla="*/ 1163660 w 1375767"/>
                <a:gd name="connsiteY1402" fmla="*/ 1032029 h 1047668"/>
                <a:gd name="connsiteX1403" fmla="*/ 1161868 w 1375767"/>
                <a:gd name="connsiteY1403" fmla="*/ 1029749 h 1047668"/>
                <a:gd name="connsiteX1404" fmla="*/ 1163009 w 1375767"/>
                <a:gd name="connsiteY1404" fmla="*/ 1026165 h 1047668"/>
                <a:gd name="connsiteX1405" fmla="*/ 1164801 w 1375767"/>
                <a:gd name="connsiteY1405" fmla="*/ 1029097 h 1047668"/>
                <a:gd name="connsiteX1406" fmla="*/ 1163660 w 1375767"/>
                <a:gd name="connsiteY1406" fmla="*/ 1032029 h 1047668"/>
                <a:gd name="connsiteX1407" fmla="*/ 1163660 w 1375767"/>
                <a:gd name="connsiteY1407" fmla="*/ 1032029 h 1047668"/>
                <a:gd name="connsiteX1408" fmla="*/ 1191518 w 1375767"/>
                <a:gd name="connsiteY1408" fmla="*/ 1041152 h 1047668"/>
                <a:gd name="connsiteX1409" fmla="*/ 1195753 w 1375767"/>
                <a:gd name="connsiteY1409" fmla="*/ 1038057 h 1047668"/>
                <a:gd name="connsiteX1410" fmla="*/ 1199500 w 1375767"/>
                <a:gd name="connsiteY1410" fmla="*/ 1040501 h 1047668"/>
                <a:gd name="connsiteX1411" fmla="*/ 1196079 w 1375767"/>
                <a:gd name="connsiteY1411" fmla="*/ 1044573 h 1047668"/>
                <a:gd name="connsiteX1412" fmla="*/ 1191681 w 1375767"/>
                <a:gd name="connsiteY1412" fmla="*/ 1041315 h 1047668"/>
                <a:gd name="connsiteX1413" fmla="*/ 1191681 w 1375767"/>
                <a:gd name="connsiteY1413" fmla="*/ 1041315 h 1047668"/>
                <a:gd name="connsiteX1414" fmla="*/ 1193310 w 1375767"/>
                <a:gd name="connsiteY1414" fmla="*/ 1027305 h 1047668"/>
                <a:gd name="connsiteX1415" fmla="*/ 1197545 w 1375767"/>
                <a:gd name="connsiteY1415" fmla="*/ 1025513 h 1047668"/>
                <a:gd name="connsiteX1416" fmla="*/ 1200152 w 1375767"/>
                <a:gd name="connsiteY1416" fmla="*/ 1031378 h 1047668"/>
                <a:gd name="connsiteX1417" fmla="*/ 1195427 w 1375767"/>
                <a:gd name="connsiteY1417" fmla="*/ 1035939 h 1047668"/>
                <a:gd name="connsiteX1418" fmla="*/ 1191681 w 1375767"/>
                <a:gd name="connsiteY1418" fmla="*/ 1033333 h 1047668"/>
                <a:gd name="connsiteX1419" fmla="*/ 1194450 w 1375767"/>
                <a:gd name="connsiteY1419" fmla="*/ 1030726 h 1047668"/>
                <a:gd name="connsiteX1420" fmla="*/ 1193310 w 1375767"/>
                <a:gd name="connsiteY1420" fmla="*/ 1027305 h 1047668"/>
                <a:gd name="connsiteX1421" fmla="*/ 1193310 w 1375767"/>
                <a:gd name="connsiteY1421" fmla="*/ 1027305 h 1047668"/>
                <a:gd name="connsiteX1422" fmla="*/ 1192169 w 1375767"/>
                <a:gd name="connsiteY1422" fmla="*/ 1015901 h 1047668"/>
                <a:gd name="connsiteX1423" fmla="*/ 1196079 w 1375767"/>
                <a:gd name="connsiteY1423" fmla="*/ 1021440 h 1047668"/>
                <a:gd name="connsiteX1424" fmla="*/ 1191681 w 1375767"/>
                <a:gd name="connsiteY1424" fmla="*/ 1025513 h 1047668"/>
                <a:gd name="connsiteX1425" fmla="*/ 1192169 w 1375767"/>
                <a:gd name="connsiteY1425" fmla="*/ 1021115 h 1047668"/>
                <a:gd name="connsiteX1426" fmla="*/ 1189889 w 1375767"/>
                <a:gd name="connsiteY1426" fmla="*/ 1018508 h 1047668"/>
                <a:gd name="connsiteX1427" fmla="*/ 1192169 w 1375767"/>
                <a:gd name="connsiteY1427" fmla="*/ 1015901 h 1047668"/>
                <a:gd name="connsiteX1428" fmla="*/ 1192169 w 1375767"/>
                <a:gd name="connsiteY1428" fmla="*/ 1015901 h 1047668"/>
                <a:gd name="connsiteX1429" fmla="*/ 1197056 w 1375767"/>
                <a:gd name="connsiteY1429" fmla="*/ 1015250 h 1047668"/>
                <a:gd name="connsiteX1430" fmla="*/ 1201292 w 1375767"/>
                <a:gd name="connsiteY1430" fmla="*/ 1011014 h 1047668"/>
                <a:gd name="connsiteX1431" fmla="*/ 1200966 w 1375767"/>
                <a:gd name="connsiteY1431" fmla="*/ 1008571 h 1047668"/>
                <a:gd name="connsiteX1432" fmla="*/ 1203573 w 1375767"/>
                <a:gd name="connsiteY1432" fmla="*/ 1001565 h 1047668"/>
                <a:gd name="connsiteX1433" fmla="*/ 1208786 w 1375767"/>
                <a:gd name="connsiteY1433" fmla="*/ 999285 h 1047668"/>
                <a:gd name="connsiteX1434" fmla="*/ 1208786 w 1375767"/>
                <a:gd name="connsiteY1434" fmla="*/ 996678 h 1047668"/>
                <a:gd name="connsiteX1435" fmla="*/ 1214814 w 1375767"/>
                <a:gd name="connsiteY1435" fmla="*/ 996515 h 1047668"/>
                <a:gd name="connsiteX1436" fmla="*/ 1216768 w 1375767"/>
                <a:gd name="connsiteY1436" fmla="*/ 1001891 h 1047668"/>
                <a:gd name="connsiteX1437" fmla="*/ 1214814 w 1375767"/>
                <a:gd name="connsiteY1437" fmla="*/ 1007593 h 1047668"/>
                <a:gd name="connsiteX1438" fmla="*/ 1216443 w 1375767"/>
                <a:gd name="connsiteY1438" fmla="*/ 1011829 h 1047668"/>
                <a:gd name="connsiteX1439" fmla="*/ 1209763 w 1375767"/>
                <a:gd name="connsiteY1439" fmla="*/ 1021440 h 1047668"/>
                <a:gd name="connsiteX1440" fmla="*/ 1202107 w 1375767"/>
                <a:gd name="connsiteY1440" fmla="*/ 1027631 h 1047668"/>
                <a:gd name="connsiteX1441" fmla="*/ 1199663 w 1375767"/>
                <a:gd name="connsiteY1441" fmla="*/ 1025024 h 1047668"/>
                <a:gd name="connsiteX1442" fmla="*/ 1202921 w 1375767"/>
                <a:gd name="connsiteY1442" fmla="*/ 1019323 h 1047668"/>
                <a:gd name="connsiteX1443" fmla="*/ 1208134 w 1375767"/>
                <a:gd name="connsiteY1443" fmla="*/ 1015576 h 1047668"/>
                <a:gd name="connsiteX1444" fmla="*/ 1208134 w 1375767"/>
                <a:gd name="connsiteY1444" fmla="*/ 1013295 h 1047668"/>
                <a:gd name="connsiteX1445" fmla="*/ 1198686 w 1375767"/>
                <a:gd name="connsiteY1445" fmla="*/ 1017856 h 1047668"/>
                <a:gd name="connsiteX1446" fmla="*/ 1197056 w 1375767"/>
                <a:gd name="connsiteY1446" fmla="*/ 1014924 h 1047668"/>
                <a:gd name="connsiteX1447" fmla="*/ 1197056 w 1375767"/>
                <a:gd name="connsiteY1447" fmla="*/ 1014924 h 1047668"/>
                <a:gd name="connsiteX1448" fmla="*/ 1151931 w 1375767"/>
                <a:gd name="connsiteY1448" fmla="*/ 1031215 h 1047668"/>
                <a:gd name="connsiteX1449" fmla="*/ 1154048 w 1375767"/>
                <a:gd name="connsiteY1449" fmla="*/ 1030563 h 1047668"/>
                <a:gd name="connsiteX1450" fmla="*/ 1157307 w 1375767"/>
                <a:gd name="connsiteY1450" fmla="*/ 1032518 h 1047668"/>
                <a:gd name="connsiteX1451" fmla="*/ 1156655 w 1375767"/>
                <a:gd name="connsiteY1451" fmla="*/ 1035451 h 1047668"/>
                <a:gd name="connsiteX1452" fmla="*/ 1160239 w 1375767"/>
                <a:gd name="connsiteY1452" fmla="*/ 1041478 h 1047668"/>
                <a:gd name="connsiteX1453" fmla="*/ 1156166 w 1375767"/>
                <a:gd name="connsiteY1453" fmla="*/ 1047669 h 1047668"/>
                <a:gd name="connsiteX1454" fmla="*/ 1154374 w 1375767"/>
                <a:gd name="connsiteY1454" fmla="*/ 1045714 h 1047668"/>
                <a:gd name="connsiteX1455" fmla="*/ 1154374 w 1375767"/>
                <a:gd name="connsiteY1455" fmla="*/ 1040827 h 1047668"/>
                <a:gd name="connsiteX1456" fmla="*/ 1150464 w 1375767"/>
                <a:gd name="connsiteY1456" fmla="*/ 1034636 h 1047668"/>
                <a:gd name="connsiteX1457" fmla="*/ 1151768 w 1375767"/>
                <a:gd name="connsiteY1457" fmla="*/ 1031052 h 1047668"/>
                <a:gd name="connsiteX1458" fmla="*/ 1151768 w 1375767"/>
                <a:gd name="connsiteY1458" fmla="*/ 1031052 h 1047668"/>
                <a:gd name="connsiteX1459" fmla="*/ 1152582 w 1375767"/>
                <a:gd name="connsiteY1459" fmla="*/ 1024373 h 1047668"/>
                <a:gd name="connsiteX1460" fmla="*/ 1154700 w 1375767"/>
                <a:gd name="connsiteY1460" fmla="*/ 1023069 h 1047668"/>
                <a:gd name="connsiteX1461" fmla="*/ 1157144 w 1375767"/>
                <a:gd name="connsiteY1461" fmla="*/ 1023558 h 1047668"/>
                <a:gd name="connsiteX1462" fmla="*/ 1158610 w 1375767"/>
                <a:gd name="connsiteY1462" fmla="*/ 1027142 h 1047668"/>
                <a:gd name="connsiteX1463" fmla="*/ 1154537 w 1375767"/>
                <a:gd name="connsiteY1463" fmla="*/ 1028934 h 1047668"/>
                <a:gd name="connsiteX1464" fmla="*/ 1152582 w 1375767"/>
                <a:gd name="connsiteY1464" fmla="*/ 1024373 h 1047668"/>
                <a:gd name="connsiteX1465" fmla="*/ 1152582 w 1375767"/>
                <a:gd name="connsiteY1465" fmla="*/ 1024373 h 1047668"/>
                <a:gd name="connsiteX1466" fmla="*/ 1150464 w 1375767"/>
                <a:gd name="connsiteY1466" fmla="*/ 1018671 h 1047668"/>
                <a:gd name="connsiteX1467" fmla="*/ 1153723 w 1375767"/>
                <a:gd name="connsiteY1467" fmla="*/ 1014761 h 1047668"/>
                <a:gd name="connsiteX1468" fmla="*/ 1153723 w 1375767"/>
                <a:gd name="connsiteY1468" fmla="*/ 1020463 h 1047668"/>
                <a:gd name="connsiteX1469" fmla="*/ 1150464 w 1375767"/>
                <a:gd name="connsiteY1469" fmla="*/ 1018671 h 1047668"/>
                <a:gd name="connsiteX1470" fmla="*/ 1150464 w 1375767"/>
                <a:gd name="connsiteY1470" fmla="*/ 1018671 h 1047668"/>
                <a:gd name="connsiteX1471" fmla="*/ 1146718 w 1375767"/>
                <a:gd name="connsiteY1471" fmla="*/ 1011014 h 1047668"/>
                <a:gd name="connsiteX1472" fmla="*/ 1150627 w 1375767"/>
                <a:gd name="connsiteY1472" fmla="*/ 1012480 h 1047668"/>
                <a:gd name="connsiteX1473" fmla="*/ 1146229 w 1375767"/>
                <a:gd name="connsiteY1473" fmla="*/ 1017693 h 1047668"/>
                <a:gd name="connsiteX1474" fmla="*/ 1146718 w 1375767"/>
                <a:gd name="connsiteY1474" fmla="*/ 1011014 h 1047668"/>
                <a:gd name="connsiteX1475" fmla="*/ 1146718 w 1375767"/>
                <a:gd name="connsiteY1475" fmla="*/ 1011014 h 1047668"/>
                <a:gd name="connsiteX1476" fmla="*/ 1144274 w 1375767"/>
                <a:gd name="connsiteY1476" fmla="*/ 987229 h 1047668"/>
                <a:gd name="connsiteX1477" fmla="*/ 1143134 w 1375767"/>
                <a:gd name="connsiteY1477" fmla="*/ 983157 h 1047668"/>
                <a:gd name="connsiteX1478" fmla="*/ 1146881 w 1375767"/>
                <a:gd name="connsiteY1478" fmla="*/ 984949 h 1047668"/>
                <a:gd name="connsiteX1479" fmla="*/ 1144274 w 1375767"/>
                <a:gd name="connsiteY1479" fmla="*/ 987229 h 1047668"/>
                <a:gd name="connsiteX1480" fmla="*/ 1144274 w 1375767"/>
                <a:gd name="connsiteY1480" fmla="*/ 987229 h 1047668"/>
                <a:gd name="connsiteX1481" fmla="*/ 1157470 w 1375767"/>
                <a:gd name="connsiteY1481" fmla="*/ 993583 h 1047668"/>
                <a:gd name="connsiteX1482" fmla="*/ 1160402 w 1375767"/>
                <a:gd name="connsiteY1482" fmla="*/ 991628 h 1047668"/>
                <a:gd name="connsiteX1483" fmla="*/ 1162194 w 1375767"/>
                <a:gd name="connsiteY1483" fmla="*/ 994723 h 1047668"/>
                <a:gd name="connsiteX1484" fmla="*/ 1159587 w 1375767"/>
                <a:gd name="connsiteY1484" fmla="*/ 996515 h 1047668"/>
                <a:gd name="connsiteX1485" fmla="*/ 1157307 w 1375767"/>
                <a:gd name="connsiteY1485" fmla="*/ 993583 h 1047668"/>
                <a:gd name="connsiteX1486" fmla="*/ 1157307 w 1375767"/>
                <a:gd name="connsiteY1486" fmla="*/ 993583 h 1047668"/>
                <a:gd name="connsiteX1487" fmla="*/ 1158610 w 1375767"/>
                <a:gd name="connsiteY1487" fmla="*/ 985763 h 1047668"/>
                <a:gd name="connsiteX1488" fmla="*/ 1162520 w 1375767"/>
                <a:gd name="connsiteY1488" fmla="*/ 979899 h 1047668"/>
                <a:gd name="connsiteX1489" fmla="*/ 1166918 w 1375767"/>
                <a:gd name="connsiteY1489" fmla="*/ 978432 h 1047668"/>
                <a:gd name="connsiteX1490" fmla="*/ 1170176 w 1375767"/>
                <a:gd name="connsiteY1490" fmla="*/ 981202 h 1047668"/>
                <a:gd name="connsiteX1491" fmla="*/ 1167244 w 1375767"/>
                <a:gd name="connsiteY1491" fmla="*/ 984460 h 1047668"/>
                <a:gd name="connsiteX1492" fmla="*/ 1164475 w 1375767"/>
                <a:gd name="connsiteY1492" fmla="*/ 984460 h 1047668"/>
                <a:gd name="connsiteX1493" fmla="*/ 1161054 w 1375767"/>
                <a:gd name="connsiteY1493" fmla="*/ 986904 h 1047668"/>
                <a:gd name="connsiteX1494" fmla="*/ 1158610 w 1375767"/>
                <a:gd name="connsiteY1494" fmla="*/ 985926 h 1047668"/>
                <a:gd name="connsiteX1495" fmla="*/ 1158610 w 1375767"/>
                <a:gd name="connsiteY1495" fmla="*/ 985926 h 1047668"/>
                <a:gd name="connsiteX1496" fmla="*/ 1170176 w 1375767"/>
                <a:gd name="connsiteY1496" fmla="*/ 989510 h 1047668"/>
                <a:gd name="connsiteX1497" fmla="*/ 1172457 w 1375767"/>
                <a:gd name="connsiteY1497" fmla="*/ 982342 h 1047668"/>
                <a:gd name="connsiteX1498" fmla="*/ 1171317 w 1375767"/>
                <a:gd name="connsiteY1498" fmla="*/ 977455 h 1047668"/>
                <a:gd name="connsiteX1499" fmla="*/ 1167733 w 1375767"/>
                <a:gd name="connsiteY1499" fmla="*/ 973219 h 1047668"/>
                <a:gd name="connsiteX1500" fmla="*/ 1170665 w 1375767"/>
                <a:gd name="connsiteY1500" fmla="*/ 970613 h 1047668"/>
                <a:gd name="connsiteX1501" fmla="*/ 1174901 w 1375767"/>
                <a:gd name="connsiteY1501" fmla="*/ 971753 h 1047668"/>
                <a:gd name="connsiteX1502" fmla="*/ 1178159 w 1375767"/>
                <a:gd name="connsiteY1502" fmla="*/ 977129 h 1047668"/>
                <a:gd name="connsiteX1503" fmla="*/ 1174901 w 1375767"/>
                <a:gd name="connsiteY1503" fmla="*/ 981853 h 1047668"/>
                <a:gd name="connsiteX1504" fmla="*/ 1173760 w 1375767"/>
                <a:gd name="connsiteY1504" fmla="*/ 984786 h 1047668"/>
                <a:gd name="connsiteX1505" fmla="*/ 1176693 w 1375767"/>
                <a:gd name="connsiteY1505" fmla="*/ 987881 h 1047668"/>
                <a:gd name="connsiteX1506" fmla="*/ 1177996 w 1375767"/>
                <a:gd name="connsiteY1506" fmla="*/ 987066 h 1047668"/>
                <a:gd name="connsiteX1507" fmla="*/ 1183698 w 1375767"/>
                <a:gd name="connsiteY1507" fmla="*/ 990325 h 1047668"/>
                <a:gd name="connsiteX1508" fmla="*/ 1183698 w 1375767"/>
                <a:gd name="connsiteY1508" fmla="*/ 997819 h 1047668"/>
                <a:gd name="connsiteX1509" fmla="*/ 1180440 w 1375767"/>
                <a:gd name="connsiteY1509" fmla="*/ 998144 h 1047668"/>
                <a:gd name="connsiteX1510" fmla="*/ 1184675 w 1375767"/>
                <a:gd name="connsiteY1510" fmla="*/ 1002706 h 1047668"/>
                <a:gd name="connsiteX1511" fmla="*/ 1184675 w 1375767"/>
                <a:gd name="connsiteY1511" fmla="*/ 1006453 h 1047668"/>
                <a:gd name="connsiteX1512" fmla="*/ 1180929 w 1375767"/>
                <a:gd name="connsiteY1512" fmla="*/ 1006778 h 1047668"/>
                <a:gd name="connsiteX1513" fmla="*/ 1179625 w 1375767"/>
                <a:gd name="connsiteY1513" fmla="*/ 1005475 h 1047668"/>
                <a:gd name="connsiteX1514" fmla="*/ 1177344 w 1375767"/>
                <a:gd name="connsiteY1514" fmla="*/ 1010200 h 1047668"/>
                <a:gd name="connsiteX1515" fmla="*/ 1183046 w 1375767"/>
                <a:gd name="connsiteY1515" fmla="*/ 1014272 h 1047668"/>
                <a:gd name="connsiteX1516" fmla="*/ 1185653 w 1375767"/>
                <a:gd name="connsiteY1516" fmla="*/ 1018671 h 1047668"/>
                <a:gd name="connsiteX1517" fmla="*/ 1180440 w 1375767"/>
                <a:gd name="connsiteY1517" fmla="*/ 1021766 h 1047668"/>
                <a:gd name="connsiteX1518" fmla="*/ 1179951 w 1375767"/>
                <a:gd name="connsiteY1518" fmla="*/ 1023395 h 1047668"/>
                <a:gd name="connsiteX1519" fmla="*/ 1183535 w 1375767"/>
                <a:gd name="connsiteY1519" fmla="*/ 1022907 h 1047668"/>
                <a:gd name="connsiteX1520" fmla="*/ 1185490 w 1375767"/>
                <a:gd name="connsiteY1520" fmla="*/ 1024047 h 1047668"/>
                <a:gd name="connsiteX1521" fmla="*/ 1185490 w 1375767"/>
                <a:gd name="connsiteY1521" fmla="*/ 1027794 h 1047668"/>
                <a:gd name="connsiteX1522" fmla="*/ 1180929 w 1375767"/>
                <a:gd name="connsiteY1522" fmla="*/ 1030889 h 1047668"/>
                <a:gd name="connsiteX1523" fmla="*/ 1177996 w 1375767"/>
                <a:gd name="connsiteY1523" fmla="*/ 1031704 h 1047668"/>
                <a:gd name="connsiteX1524" fmla="*/ 1175715 w 1375767"/>
                <a:gd name="connsiteY1524" fmla="*/ 1035776 h 1047668"/>
                <a:gd name="connsiteX1525" fmla="*/ 1177996 w 1375767"/>
                <a:gd name="connsiteY1525" fmla="*/ 1035776 h 1047668"/>
                <a:gd name="connsiteX1526" fmla="*/ 1179951 w 1375767"/>
                <a:gd name="connsiteY1526" fmla="*/ 1038546 h 1047668"/>
                <a:gd name="connsiteX1527" fmla="*/ 1177670 w 1375767"/>
                <a:gd name="connsiteY1527" fmla="*/ 1040827 h 1047668"/>
                <a:gd name="connsiteX1528" fmla="*/ 1179625 w 1375767"/>
                <a:gd name="connsiteY1528" fmla="*/ 1044248 h 1047668"/>
                <a:gd name="connsiteX1529" fmla="*/ 1176856 w 1375767"/>
                <a:gd name="connsiteY1529" fmla="*/ 1046854 h 1047668"/>
                <a:gd name="connsiteX1530" fmla="*/ 1172620 w 1375767"/>
                <a:gd name="connsiteY1530" fmla="*/ 1046854 h 1047668"/>
                <a:gd name="connsiteX1531" fmla="*/ 1170176 w 1375767"/>
                <a:gd name="connsiteY1531" fmla="*/ 1045062 h 1047668"/>
                <a:gd name="connsiteX1532" fmla="*/ 1171643 w 1375767"/>
                <a:gd name="connsiteY1532" fmla="*/ 1040827 h 1047668"/>
                <a:gd name="connsiteX1533" fmla="*/ 1166918 w 1375767"/>
                <a:gd name="connsiteY1533" fmla="*/ 1036917 h 1047668"/>
                <a:gd name="connsiteX1534" fmla="*/ 1167570 w 1375767"/>
                <a:gd name="connsiteY1534" fmla="*/ 1033007 h 1047668"/>
                <a:gd name="connsiteX1535" fmla="*/ 1170828 w 1375767"/>
                <a:gd name="connsiteY1535" fmla="*/ 1030075 h 1047668"/>
                <a:gd name="connsiteX1536" fmla="*/ 1168059 w 1375767"/>
                <a:gd name="connsiteY1536" fmla="*/ 1026979 h 1047668"/>
                <a:gd name="connsiteX1537" fmla="*/ 1169036 w 1375767"/>
                <a:gd name="connsiteY1537" fmla="*/ 1024210 h 1047668"/>
                <a:gd name="connsiteX1538" fmla="*/ 1172783 w 1375767"/>
                <a:gd name="connsiteY1538" fmla="*/ 1021929 h 1047668"/>
                <a:gd name="connsiteX1539" fmla="*/ 1170828 w 1375767"/>
                <a:gd name="connsiteY1539" fmla="*/ 1019485 h 1047668"/>
                <a:gd name="connsiteX1540" fmla="*/ 1167570 w 1375767"/>
                <a:gd name="connsiteY1540" fmla="*/ 1020300 h 1047668"/>
                <a:gd name="connsiteX1541" fmla="*/ 1166104 w 1375767"/>
                <a:gd name="connsiteY1541" fmla="*/ 1022907 h 1047668"/>
                <a:gd name="connsiteX1542" fmla="*/ 1164149 w 1375767"/>
                <a:gd name="connsiteY1542" fmla="*/ 1020463 h 1047668"/>
                <a:gd name="connsiteX1543" fmla="*/ 1160402 w 1375767"/>
                <a:gd name="connsiteY1543" fmla="*/ 1020463 h 1047668"/>
                <a:gd name="connsiteX1544" fmla="*/ 1158936 w 1375767"/>
                <a:gd name="connsiteY1544" fmla="*/ 1017856 h 1047668"/>
                <a:gd name="connsiteX1545" fmla="*/ 1160728 w 1375767"/>
                <a:gd name="connsiteY1545" fmla="*/ 1015087 h 1047668"/>
                <a:gd name="connsiteX1546" fmla="*/ 1163497 w 1375767"/>
                <a:gd name="connsiteY1546" fmla="*/ 1015087 h 1047668"/>
                <a:gd name="connsiteX1547" fmla="*/ 1164801 w 1375767"/>
                <a:gd name="connsiteY1547" fmla="*/ 1011503 h 1047668"/>
                <a:gd name="connsiteX1548" fmla="*/ 1164801 w 1375767"/>
                <a:gd name="connsiteY1548" fmla="*/ 1009222 h 1047668"/>
                <a:gd name="connsiteX1549" fmla="*/ 1170014 w 1375767"/>
                <a:gd name="connsiteY1549" fmla="*/ 1005312 h 1047668"/>
                <a:gd name="connsiteX1550" fmla="*/ 1170014 w 1375767"/>
                <a:gd name="connsiteY1550" fmla="*/ 1002869 h 1047668"/>
                <a:gd name="connsiteX1551" fmla="*/ 1167081 w 1375767"/>
                <a:gd name="connsiteY1551" fmla="*/ 1002054 h 1047668"/>
                <a:gd name="connsiteX1552" fmla="*/ 1164149 w 1375767"/>
                <a:gd name="connsiteY1552" fmla="*/ 1003032 h 1047668"/>
                <a:gd name="connsiteX1553" fmla="*/ 1162846 w 1375767"/>
                <a:gd name="connsiteY1553" fmla="*/ 1001077 h 1047668"/>
                <a:gd name="connsiteX1554" fmla="*/ 1164312 w 1375767"/>
                <a:gd name="connsiteY1554" fmla="*/ 998796 h 1047668"/>
                <a:gd name="connsiteX1555" fmla="*/ 1169036 w 1375767"/>
                <a:gd name="connsiteY1555" fmla="*/ 997493 h 1047668"/>
                <a:gd name="connsiteX1556" fmla="*/ 1170339 w 1375767"/>
                <a:gd name="connsiteY1556" fmla="*/ 992768 h 1047668"/>
                <a:gd name="connsiteX1557" fmla="*/ 1170014 w 1375767"/>
                <a:gd name="connsiteY1557" fmla="*/ 989021 h 1047668"/>
                <a:gd name="connsiteX1558" fmla="*/ 1170014 w 1375767"/>
                <a:gd name="connsiteY1558" fmla="*/ 989021 h 1047668"/>
                <a:gd name="connsiteX1559" fmla="*/ 1200640 w 1375767"/>
                <a:gd name="connsiteY1559" fmla="*/ 984623 h 1047668"/>
                <a:gd name="connsiteX1560" fmla="*/ 1197871 w 1375767"/>
                <a:gd name="connsiteY1560" fmla="*/ 980713 h 1047668"/>
                <a:gd name="connsiteX1561" fmla="*/ 1199663 w 1375767"/>
                <a:gd name="connsiteY1561" fmla="*/ 978107 h 1047668"/>
                <a:gd name="connsiteX1562" fmla="*/ 1202107 w 1375767"/>
                <a:gd name="connsiteY1562" fmla="*/ 973871 h 1047668"/>
                <a:gd name="connsiteX1563" fmla="*/ 1203736 w 1375767"/>
                <a:gd name="connsiteY1563" fmla="*/ 975337 h 1047668"/>
                <a:gd name="connsiteX1564" fmla="*/ 1203736 w 1375767"/>
                <a:gd name="connsiteY1564" fmla="*/ 980876 h 1047668"/>
                <a:gd name="connsiteX1565" fmla="*/ 1200640 w 1375767"/>
                <a:gd name="connsiteY1565" fmla="*/ 984623 h 1047668"/>
                <a:gd name="connsiteX1566" fmla="*/ 1200640 w 1375767"/>
                <a:gd name="connsiteY1566" fmla="*/ 984623 h 1047668"/>
                <a:gd name="connsiteX1567" fmla="*/ 1190540 w 1375767"/>
                <a:gd name="connsiteY1567" fmla="*/ 990813 h 1047668"/>
                <a:gd name="connsiteX1568" fmla="*/ 1194287 w 1375767"/>
                <a:gd name="connsiteY1568" fmla="*/ 983157 h 1047668"/>
                <a:gd name="connsiteX1569" fmla="*/ 1197056 w 1375767"/>
                <a:gd name="connsiteY1569" fmla="*/ 983808 h 1047668"/>
                <a:gd name="connsiteX1570" fmla="*/ 1197056 w 1375767"/>
                <a:gd name="connsiteY1570" fmla="*/ 989184 h 1047668"/>
                <a:gd name="connsiteX1571" fmla="*/ 1193310 w 1375767"/>
                <a:gd name="connsiteY1571" fmla="*/ 991628 h 1047668"/>
                <a:gd name="connsiteX1572" fmla="*/ 1190540 w 1375767"/>
                <a:gd name="connsiteY1572" fmla="*/ 990813 h 1047668"/>
                <a:gd name="connsiteX1573" fmla="*/ 1190540 w 1375767"/>
                <a:gd name="connsiteY1573" fmla="*/ 990813 h 1047668"/>
                <a:gd name="connsiteX1574" fmla="*/ 1187119 w 1375767"/>
                <a:gd name="connsiteY1574" fmla="*/ 985112 h 1047668"/>
                <a:gd name="connsiteX1575" fmla="*/ 1187934 w 1375767"/>
                <a:gd name="connsiteY1575" fmla="*/ 980876 h 1047668"/>
                <a:gd name="connsiteX1576" fmla="*/ 1196242 w 1375767"/>
                <a:gd name="connsiteY1576" fmla="*/ 975500 h 1047668"/>
                <a:gd name="connsiteX1577" fmla="*/ 1196242 w 1375767"/>
                <a:gd name="connsiteY1577" fmla="*/ 978921 h 1047668"/>
                <a:gd name="connsiteX1578" fmla="*/ 1193635 w 1375767"/>
                <a:gd name="connsiteY1578" fmla="*/ 981528 h 1047668"/>
                <a:gd name="connsiteX1579" fmla="*/ 1190866 w 1375767"/>
                <a:gd name="connsiteY1579" fmla="*/ 985763 h 1047668"/>
                <a:gd name="connsiteX1580" fmla="*/ 1187119 w 1375767"/>
                <a:gd name="connsiteY1580" fmla="*/ 984949 h 1047668"/>
                <a:gd name="connsiteX1581" fmla="*/ 1187119 w 1375767"/>
                <a:gd name="connsiteY1581" fmla="*/ 984949 h 1047668"/>
                <a:gd name="connsiteX1582" fmla="*/ 1181906 w 1375767"/>
                <a:gd name="connsiteY1582" fmla="*/ 972405 h 1047668"/>
                <a:gd name="connsiteX1583" fmla="*/ 1186142 w 1375767"/>
                <a:gd name="connsiteY1583" fmla="*/ 968169 h 1047668"/>
                <a:gd name="connsiteX1584" fmla="*/ 1194287 w 1375767"/>
                <a:gd name="connsiteY1584" fmla="*/ 968821 h 1047668"/>
                <a:gd name="connsiteX1585" fmla="*/ 1193635 w 1375767"/>
                <a:gd name="connsiteY1585" fmla="*/ 972079 h 1047668"/>
                <a:gd name="connsiteX1586" fmla="*/ 1188911 w 1375767"/>
                <a:gd name="connsiteY1586" fmla="*/ 978107 h 1047668"/>
                <a:gd name="connsiteX1587" fmla="*/ 1184675 w 1375767"/>
                <a:gd name="connsiteY1587" fmla="*/ 976315 h 1047668"/>
                <a:gd name="connsiteX1588" fmla="*/ 1182069 w 1375767"/>
                <a:gd name="connsiteY1588" fmla="*/ 972242 h 1047668"/>
                <a:gd name="connsiteX1589" fmla="*/ 1182069 w 1375767"/>
                <a:gd name="connsiteY1589" fmla="*/ 972242 h 1047668"/>
                <a:gd name="connsiteX1590" fmla="*/ 1188911 w 1375767"/>
                <a:gd name="connsiteY1590" fmla="*/ 959861 h 1047668"/>
                <a:gd name="connsiteX1591" fmla="*/ 1193635 w 1375767"/>
                <a:gd name="connsiteY1591" fmla="*/ 952693 h 1047668"/>
                <a:gd name="connsiteX1592" fmla="*/ 1197382 w 1375767"/>
                <a:gd name="connsiteY1592" fmla="*/ 950901 h 1047668"/>
                <a:gd name="connsiteX1593" fmla="*/ 1199989 w 1375767"/>
                <a:gd name="connsiteY1593" fmla="*/ 959046 h 1047668"/>
                <a:gd name="connsiteX1594" fmla="*/ 1196894 w 1375767"/>
                <a:gd name="connsiteY1594" fmla="*/ 963770 h 1047668"/>
                <a:gd name="connsiteX1595" fmla="*/ 1190866 w 1375767"/>
                <a:gd name="connsiteY1595" fmla="*/ 965400 h 1047668"/>
                <a:gd name="connsiteX1596" fmla="*/ 1189074 w 1375767"/>
                <a:gd name="connsiteY1596" fmla="*/ 962956 h 1047668"/>
                <a:gd name="connsiteX1597" fmla="*/ 1189074 w 1375767"/>
                <a:gd name="connsiteY1597" fmla="*/ 959861 h 1047668"/>
                <a:gd name="connsiteX1598" fmla="*/ 1189074 w 1375767"/>
                <a:gd name="connsiteY1598" fmla="*/ 959861 h 1047668"/>
                <a:gd name="connsiteX1599" fmla="*/ 1172131 w 1375767"/>
                <a:gd name="connsiteY1599" fmla="*/ 966703 h 1047668"/>
                <a:gd name="connsiteX1600" fmla="*/ 1172131 w 1375767"/>
                <a:gd name="connsiteY1600" fmla="*/ 960512 h 1047668"/>
                <a:gd name="connsiteX1601" fmla="*/ 1175390 w 1375767"/>
                <a:gd name="connsiteY1601" fmla="*/ 948946 h 1047668"/>
                <a:gd name="connsiteX1602" fmla="*/ 1177833 w 1375767"/>
                <a:gd name="connsiteY1602" fmla="*/ 945525 h 1047668"/>
                <a:gd name="connsiteX1603" fmla="*/ 1173272 w 1375767"/>
                <a:gd name="connsiteY1603" fmla="*/ 943733 h 1047668"/>
                <a:gd name="connsiteX1604" fmla="*/ 1174412 w 1375767"/>
                <a:gd name="connsiteY1604" fmla="*/ 939497 h 1047668"/>
                <a:gd name="connsiteX1605" fmla="*/ 1172457 w 1375767"/>
                <a:gd name="connsiteY1605" fmla="*/ 936565 h 1047668"/>
                <a:gd name="connsiteX1606" fmla="*/ 1172946 w 1375767"/>
                <a:gd name="connsiteY1606" fmla="*/ 933307 h 1047668"/>
                <a:gd name="connsiteX1607" fmla="*/ 1179462 w 1375767"/>
                <a:gd name="connsiteY1607" fmla="*/ 933307 h 1047668"/>
                <a:gd name="connsiteX1608" fmla="*/ 1184675 w 1375767"/>
                <a:gd name="connsiteY1608" fmla="*/ 938845 h 1047668"/>
                <a:gd name="connsiteX1609" fmla="*/ 1189400 w 1375767"/>
                <a:gd name="connsiteY1609" fmla="*/ 938845 h 1047668"/>
                <a:gd name="connsiteX1610" fmla="*/ 1192821 w 1375767"/>
                <a:gd name="connsiteY1610" fmla="*/ 943407 h 1047668"/>
                <a:gd name="connsiteX1611" fmla="*/ 1192821 w 1375767"/>
                <a:gd name="connsiteY1611" fmla="*/ 949923 h 1047668"/>
                <a:gd name="connsiteX1612" fmla="*/ 1188911 w 1375767"/>
                <a:gd name="connsiteY1612" fmla="*/ 956440 h 1047668"/>
                <a:gd name="connsiteX1613" fmla="*/ 1186467 w 1375767"/>
                <a:gd name="connsiteY1613" fmla="*/ 957091 h 1047668"/>
                <a:gd name="connsiteX1614" fmla="*/ 1185653 w 1375767"/>
                <a:gd name="connsiteY1614" fmla="*/ 950412 h 1047668"/>
                <a:gd name="connsiteX1615" fmla="*/ 1182883 w 1375767"/>
                <a:gd name="connsiteY1615" fmla="*/ 951552 h 1047668"/>
                <a:gd name="connsiteX1616" fmla="*/ 1182883 w 1375767"/>
                <a:gd name="connsiteY1616" fmla="*/ 957091 h 1047668"/>
                <a:gd name="connsiteX1617" fmla="*/ 1180929 w 1375767"/>
                <a:gd name="connsiteY1617" fmla="*/ 959372 h 1047668"/>
                <a:gd name="connsiteX1618" fmla="*/ 1183698 w 1375767"/>
                <a:gd name="connsiteY1618" fmla="*/ 963608 h 1047668"/>
                <a:gd name="connsiteX1619" fmla="*/ 1180440 w 1375767"/>
                <a:gd name="connsiteY1619" fmla="*/ 965888 h 1047668"/>
                <a:gd name="connsiteX1620" fmla="*/ 1178485 w 1375767"/>
                <a:gd name="connsiteY1620" fmla="*/ 964259 h 1047668"/>
                <a:gd name="connsiteX1621" fmla="*/ 1175552 w 1375767"/>
                <a:gd name="connsiteY1621" fmla="*/ 968006 h 1047668"/>
                <a:gd name="connsiteX1622" fmla="*/ 1172294 w 1375767"/>
                <a:gd name="connsiteY1622" fmla="*/ 967192 h 1047668"/>
                <a:gd name="connsiteX1623" fmla="*/ 1172294 w 1375767"/>
                <a:gd name="connsiteY1623" fmla="*/ 967192 h 1047668"/>
                <a:gd name="connsiteX1624" fmla="*/ 1159262 w 1375767"/>
                <a:gd name="connsiteY1624" fmla="*/ 959372 h 1047668"/>
                <a:gd name="connsiteX1625" fmla="*/ 1155189 w 1375767"/>
                <a:gd name="connsiteY1625" fmla="*/ 956603 h 1047668"/>
                <a:gd name="connsiteX1626" fmla="*/ 1158936 w 1375767"/>
                <a:gd name="connsiteY1626" fmla="*/ 951389 h 1047668"/>
                <a:gd name="connsiteX1627" fmla="*/ 1156329 w 1375767"/>
                <a:gd name="connsiteY1627" fmla="*/ 949109 h 1047668"/>
                <a:gd name="connsiteX1628" fmla="*/ 1156818 w 1375767"/>
                <a:gd name="connsiteY1628" fmla="*/ 943733 h 1047668"/>
                <a:gd name="connsiteX1629" fmla="*/ 1158773 w 1375767"/>
                <a:gd name="connsiteY1629" fmla="*/ 940637 h 1047668"/>
                <a:gd name="connsiteX1630" fmla="*/ 1163171 w 1375767"/>
                <a:gd name="connsiteY1630" fmla="*/ 942429 h 1047668"/>
                <a:gd name="connsiteX1631" fmla="*/ 1163171 w 1375767"/>
                <a:gd name="connsiteY1631" fmla="*/ 937216 h 1047668"/>
                <a:gd name="connsiteX1632" fmla="*/ 1165452 w 1375767"/>
                <a:gd name="connsiteY1632" fmla="*/ 937216 h 1047668"/>
                <a:gd name="connsiteX1633" fmla="*/ 1169851 w 1375767"/>
                <a:gd name="connsiteY1633" fmla="*/ 943244 h 1047668"/>
                <a:gd name="connsiteX1634" fmla="*/ 1167896 w 1375767"/>
                <a:gd name="connsiteY1634" fmla="*/ 947317 h 1047668"/>
                <a:gd name="connsiteX1635" fmla="*/ 1168385 w 1375767"/>
                <a:gd name="connsiteY1635" fmla="*/ 950412 h 1047668"/>
                <a:gd name="connsiteX1636" fmla="*/ 1170991 w 1375767"/>
                <a:gd name="connsiteY1636" fmla="*/ 947480 h 1047668"/>
                <a:gd name="connsiteX1637" fmla="*/ 1172620 w 1375767"/>
                <a:gd name="connsiteY1637" fmla="*/ 950086 h 1047668"/>
                <a:gd name="connsiteX1638" fmla="*/ 1168710 w 1375767"/>
                <a:gd name="connsiteY1638" fmla="*/ 960186 h 1047668"/>
                <a:gd name="connsiteX1639" fmla="*/ 1161217 w 1375767"/>
                <a:gd name="connsiteY1639" fmla="*/ 968169 h 1047668"/>
                <a:gd name="connsiteX1640" fmla="*/ 1161217 w 1375767"/>
                <a:gd name="connsiteY1640" fmla="*/ 972568 h 1047668"/>
                <a:gd name="connsiteX1641" fmla="*/ 1158773 w 1375767"/>
                <a:gd name="connsiteY1641" fmla="*/ 976315 h 1047668"/>
                <a:gd name="connsiteX1642" fmla="*/ 1153560 w 1375767"/>
                <a:gd name="connsiteY1642" fmla="*/ 977944 h 1047668"/>
                <a:gd name="connsiteX1643" fmla="*/ 1155352 w 1375767"/>
                <a:gd name="connsiteY1643" fmla="*/ 973219 h 1047668"/>
                <a:gd name="connsiteX1644" fmla="*/ 1153723 w 1375767"/>
                <a:gd name="connsiteY1644" fmla="*/ 970450 h 1047668"/>
                <a:gd name="connsiteX1645" fmla="*/ 1150790 w 1375767"/>
                <a:gd name="connsiteY1645" fmla="*/ 979410 h 1047668"/>
                <a:gd name="connsiteX1646" fmla="*/ 1148835 w 1375767"/>
                <a:gd name="connsiteY1646" fmla="*/ 976966 h 1047668"/>
                <a:gd name="connsiteX1647" fmla="*/ 1149487 w 1375767"/>
                <a:gd name="connsiteY1647" fmla="*/ 973382 h 1047668"/>
                <a:gd name="connsiteX1648" fmla="*/ 1151605 w 1375767"/>
                <a:gd name="connsiteY1648" fmla="*/ 969309 h 1047668"/>
                <a:gd name="connsiteX1649" fmla="*/ 1151279 w 1375767"/>
                <a:gd name="connsiteY1649" fmla="*/ 966540 h 1047668"/>
                <a:gd name="connsiteX1650" fmla="*/ 1153234 w 1375767"/>
                <a:gd name="connsiteY1650" fmla="*/ 962793 h 1047668"/>
                <a:gd name="connsiteX1651" fmla="*/ 1156166 w 1375767"/>
                <a:gd name="connsiteY1651" fmla="*/ 965237 h 1047668"/>
                <a:gd name="connsiteX1652" fmla="*/ 1158773 w 1375767"/>
                <a:gd name="connsiteY1652" fmla="*/ 962467 h 1047668"/>
                <a:gd name="connsiteX1653" fmla="*/ 1158773 w 1375767"/>
                <a:gd name="connsiteY1653" fmla="*/ 959209 h 1047668"/>
                <a:gd name="connsiteX1654" fmla="*/ 1158936 w 1375767"/>
                <a:gd name="connsiteY1654" fmla="*/ 959209 h 1047668"/>
                <a:gd name="connsiteX1655" fmla="*/ 1156003 w 1375767"/>
                <a:gd name="connsiteY1655" fmla="*/ 915061 h 1047668"/>
                <a:gd name="connsiteX1656" fmla="*/ 1159750 w 1375767"/>
                <a:gd name="connsiteY1656" fmla="*/ 915061 h 1047668"/>
                <a:gd name="connsiteX1657" fmla="*/ 1158284 w 1375767"/>
                <a:gd name="connsiteY1657" fmla="*/ 918808 h 1047668"/>
                <a:gd name="connsiteX1658" fmla="*/ 1156003 w 1375767"/>
                <a:gd name="connsiteY1658" fmla="*/ 915061 h 1047668"/>
                <a:gd name="connsiteX1659" fmla="*/ 1156003 w 1375767"/>
                <a:gd name="connsiteY1659" fmla="*/ 915061 h 1047668"/>
                <a:gd name="connsiteX1660" fmla="*/ 1143622 w 1375767"/>
                <a:gd name="connsiteY1660" fmla="*/ 916364 h 1047668"/>
                <a:gd name="connsiteX1661" fmla="*/ 1148184 w 1375767"/>
                <a:gd name="connsiteY1661" fmla="*/ 914572 h 1047668"/>
                <a:gd name="connsiteX1662" fmla="*/ 1150464 w 1375767"/>
                <a:gd name="connsiteY1662" fmla="*/ 911965 h 1047668"/>
                <a:gd name="connsiteX1663" fmla="*/ 1153234 w 1375767"/>
                <a:gd name="connsiteY1663" fmla="*/ 912943 h 1047668"/>
                <a:gd name="connsiteX1664" fmla="*/ 1155189 w 1375767"/>
                <a:gd name="connsiteY1664" fmla="*/ 919948 h 1047668"/>
                <a:gd name="connsiteX1665" fmla="*/ 1155840 w 1375767"/>
                <a:gd name="connsiteY1665" fmla="*/ 928908 h 1047668"/>
                <a:gd name="connsiteX1666" fmla="*/ 1154374 w 1375767"/>
                <a:gd name="connsiteY1666" fmla="*/ 937053 h 1047668"/>
                <a:gd name="connsiteX1667" fmla="*/ 1152094 w 1375767"/>
                <a:gd name="connsiteY1667" fmla="*/ 939334 h 1047668"/>
                <a:gd name="connsiteX1668" fmla="*/ 1150627 w 1375767"/>
                <a:gd name="connsiteY1668" fmla="*/ 948457 h 1047668"/>
                <a:gd name="connsiteX1669" fmla="*/ 1147695 w 1375767"/>
                <a:gd name="connsiteY1669" fmla="*/ 951552 h 1047668"/>
                <a:gd name="connsiteX1670" fmla="*/ 1145740 w 1375767"/>
                <a:gd name="connsiteY1670" fmla="*/ 958232 h 1047668"/>
                <a:gd name="connsiteX1671" fmla="*/ 1144926 w 1375767"/>
                <a:gd name="connsiteY1671" fmla="*/ 964585 h 1047668"/>
                <a:gd name="connsiteX1672" fmla="*/ 1143622 w 1375767"/>
                <a:gd name="connsiteY1672" fmla="*/ 968495 h 1047668"/>
                <a:gd name="connsiteX1673" fmla="*/ 1141505 w 1375767"/>
                <a:gd name="connsiteY1673" fmla="*/ 969635 h 1047668"/>
                <a:gd name="connsiteX1674" fmla="*/ 1140853 w 1375767"/>
                <a:gd name="connsiteY1674" fmla="*/ 966051 h 1047668"/>
                <a:gd name="connsiteX1675" fmla="*/ 1141830 w 1375767"/>
                <a:gd name="connsiteY1675" fmla="*/ 962141 h 1047668"/>
                <a:gd name="connsiteX1676" fmla="*/ 1139387 w 1375767"/>
                <a:gd name="connsiteY1676" fmla="*/ 960349 h 1047668"/>
                <a:gd name="connsiteX1677" fmla="*/ 1137758 w 1375767"/>
                <a:gd name="connsiteY1677" fmla="*/ 953670 h 1047668"/>
                <a:gd name="connsiteX1678" fmla="*/ 1139713 w 1375767"/>
                <a:gd name="connsiteY1678" fmla="*/ 949760 h 1047668"/>
                <a:gd name="connsiteX1679" fmla="*/ 1143134 w 1375767"/>
                <a:gd name="connsiteY1679" fmla="*/ 949109 h 1047668"/>
                <a:gd name="connsiteX1680" fmla="*/ 1145740 w 1375767"/>
                <a:gd name="connsiteY1680" fmla="*/ 946991 h 1047668"/>
                <a:gd name="connsiteX1681" fmla="*/ 1145089 w 1375767"/>
                <a:gd name="connsiteY1681" fmla="*/ 944710 h 1047668"/>
                <a:gd name="connsiteX1682" fmla="*/ 1142156 w 1375767"/>
                <a:gd name="connsiteY1682" fmla="*/ 946339 h 1047668"/>
                <a:gd name="connsiteX1683" fmla="*/ 1139713 w 1375767"/>
                <a:gd name="connsiteY1683" fmla="*/ 946339 h 1047668"/>
                <a:gd name="connsiteX1684" fmla="*/ 1139387 w 1375767"/>
                <a:gd name="connsiteY1684" fmla="*/ 943244 h 1047668"/>
                <a:gd name="connsiteX1685" fmla="*/ 1141505 w 1375767"/>
                <a:gd name="connsiteY1685" fmla="*/ 941941 h 1047668"/>
                <a:gd name="connsiteX1686" fmla="*/ 1142645 w 1375767"/>
                <a:gd name="connsiteY1686" fmla="*/ 939660 h 1047668"/>
                <a:gd name="connsiteX1687" fmla="*/ 1137106 w 1375767"/>
                <a:gd name="connsiteY1687" fmla="*/ 938031 h 1047668"/>
                <a:gd name="connsiteX1688" fmla="*/ 1137106 w 1375767"/>
                <a:gd name="connsiteY1688" fmla="*/ 935750 h 1047668"/>
                <a:gd name="connsiteX1689" fmla="*/ 1141667 w 1375767"/>
                <a:gd name="connsiteY1689" fmla="*/ 935099 h 1047668"/>
                <a:gd name="connsiteX1690" fmla="*/ 1144111 w 1375767"/>
                <a:gd name="connsiteY1690" fmla="*/ 931515 h 1047668"/>
                <a:gd name="connsiteX1691" fmla="*/ 1144600 w 1375767"/>
                <a:gd name="connsiteY1691" fmla="*/ 926464 h 1047668"/>
                <a:gd name="connsiteX1692" fmla="*/ 1147532 w 1375767"/>
                <a:gd name="connsiteY1692" fmla="*/ 923369 h 1047668"/>
                <a:gd name="connsiteX1693" fmla="*/ 1143785 w 1375767"/>
                <a:gd name="connsiteY1693" fmla="*/ 920111 h 1047668"/>
                <a:gd name="connsiteX1694" fmla="*/ 1143134 w 1375767"/>
                <a:gd name="connsiteY1694" fmla="*/ 917016 h 1047668"/>
                <a:gd name="connsiteX1695" fmla="*/ 1143134 w 1375767"/>
                <a:gd name="connsiteY1695" fmla="*/ 917016 h 1047668"/>
                <a:gd name="connsiteX1696" fmla="*/ 1134336 w 1375767"/>
                <a:gd name="connsiteY1696" fmla="*/ 917341 h 1047668"/>
                <a:gd name="connsiteX1697" fmla="*/ 1137595 w 1375767"/>
                <a:gd name="connsiteY1697" fmla="*/ 914735 h 1047668"/>
                <a:gd name="connsiteX1698" fmla="*/ 1139061 w 1375767"/>
                <a:gd name="connsiteY1698" fmla="*/ 918482 h 1047668"/>
                <a:gd name="connsiteX1699" fmla="*/ 1137920 w 1375767"/>
                <a:gd name="connsiteY1699" fmla="*/ 922066 h 1047668"/>
                <a:gd name="connsiteX1700" fmla="*/ 1137269 w 1375767"/>
                <a:gd name="connsiteY1700" fmla="*/ 927442 h 1047668"/>
                <a:gd name="connsiteX1701" fmla="*/ 1133033 w 1375767"/>
                <a:gd name="connsiteY1701" fmla="*/ 928745 h 1047668"/>
                <a:gd name="connsiteX1702" fmla="*/ 1132056 w 1375767"/>
                <a:gd name="connsiteY1702" fmla="*/ 926139 h 1047668"/>
                <a:gd name="connsiteX1703" fmla="*/ 1134988 w 1375767"/>
                <a:gd name="connsiteY1703" fmla="*/ 923043 h 1047668"/>
                <a:gd name="connsiteX1704" fmla="*/ 1134011 w 1375767"/>
                <a:gd name="connsiteY1704" fmla="*/ 921414 h 1047668"/>
                <a:gd name="connsiteX1705" fmla="*/ 1134499 w 1375767"/>
                <a:gd name="connsiteY1705" fmla="*/ 917341 h 1047668"/>
                <a:gd name="connsiteX1706" fmla="*/ 1134499 w 1375767"/>
                <a:gd name="connsiteY1706" fmla="*/ 917341 h 1047668"/>
                <a:gd name="connsiteX1707" fmla="*/ 1158447 w 1375767"/>
                <a:gd name="connsiteY1707" fmla="*/ 929397 h 1047668"/>
                <a:gd name="connsiteX1708" fmla="*/ 1161217 w 1375767"/>
                <a:gd name="connsiteY1708" fmla="*/ 924021 h 1047668"/>
                <a:gd name="connsiteX1709" fmla="*/ 1161542 w 1375767"/>
                <a:gd name="connsiteY1709" fmla="*/ 918319 h 1047668"/>
                <a:gd name="connsiteX1710" fmla="*/ 1164801 w 1375767"/>
                <a:gd name="connsiteY1710" fmla="*/ 915224 h 1047668"/>
                <a:gd name="connsiteX1711" fmla="*/ 1170665 w 1375767"/>
                <a:gd name="connsiteY1711" fmla="*/ 915224 h 1047668"/>
                <a:gd name="connsiteX1712" fmla="*/ 1168873 w 1375767"/>
                <a:gd name="connsiteY1712" fmla="*/ 912291 h 1047668"/>
                <a:gd name="connsiteX1713" fmla="*/ 1171317 w 1375767"/>
                <a:gd name="connsiteY1713" fmla="*/ 909196 h 1047668"/>
                <a:gd name="connsiteX1714" fmla="*/ 1167081 w 1375767"/>
                <a:gd name="connsiteY1714" fmla="*/ 906915 h 1047668"/>
                <a:gd name="connsiteX1715" fmla="*/ 1168059 w 1375767"/>
                <a:gd name="connsiteY1715" fmla="*/ 898444 h 1047668"/>
                <a:gd name="connsiteX1716" fmla="*/ 1173109 w 1375767"/>
                <a:gd name="connsiteY1716" fmla="*/ 891602 h 1047668"/>
                <a:gd name="connsiteX1717" fmla="*/ 1174249 w 1375767"/>
                <a:gd name="connsiteY1717" fmla="*/ 875800 h 1047668"/>
                <a:gd name="connsiteX1718" fmla="*/ 1177670 w 1375767"/>
                <a:gd name="connsiteY1718" fmla="*/ 868957 h 1047668"/>
                <a:gd name="connsiteX1719" fmla="*/ 1179299 w 1375767"/>
                <a:gd name="connsiteY1719" fmla="*/ 871564 h 1047668"/>
                <a:gd name="connsiteX1720" fmla="*/ 1179299 w 1375767"/>
                <a:gd name="connsiteY1720" fmla="*/ 876288 h 1047668"/>
                <a:gd name="connsiteX1721" fmla="*/ 1185816 w 1375767"/>
                <a:gd name="connsiteY1721" fmla="*/ 880524 h 1047668"/>
                <a:gd name="connsiteX1722" fmla="*/ 1188911 w 1375767"/>
                <a:gd name="connsiteY1722" fmla="*/ 884597 h 1047668"/>
                <a:gd name="connsiteX1723" fmla="*/ 1190214 w 1375767"/>
                <a:gd name="connsiteY1723" fmla="*/ 903168 h 1047668"/>
                <a:gd name="connsiteX1724" fmla="*/ 1187282 w 1375767"/>
                <a:gd name="connsiteY1724" fmla="*/ 910499 h 1047668"/>
                <a:gd name="connsiteX1725" fmla="*/ 1185001 w 1375767"/>
                <a:gd name="connsiteY1725" fmla="*/ 908870 h 1047668"/>
                <a:gd name="connsiteX1726" fmla="*/ 1186142 w 1375767"/>
                <a:gd name="connsiteY1726" fmla="*/ 897466 h 1047668"/>
                <a:gd name="connsiteX1727" fmla="*/ 1184187 w 1375767"/>
                <a:gd name="connsiteY1727" fmla="*/ 886877 h 1047668"/>
                <a:gd name="connsiteX1728" fmla="*/ 1182883 w 1375767"/>
                <a:gd name="connsiteY1728" fmla="*/ 891602 h 1047668"/>
                <a:gd name="connsiteX1729" fmla="*/ 1182558 w 1375767"/>
                <a:gd name="connsiteY1729" fmla="*/ 909033 h 1047668"/>
                <a:gd name="connsiteX1730" fmla="*/ 1181091 w 1375767"/>
                <a:gd name="connsiteY1730" fmla="*/ 912128 h 1047668"/>
                <a:gd name="connsiteX1731" fmla="*/ 1180603 w 1375767"/>
                <a:gd name="connsiteY1731" fmla="*/ 916527 h 1047668"/>
                <a:gd name="connsiteX1732" fmla="*/ 1177996 w 1375767"/>
                <a:gd name="connsiteY1732" fmla="*/ 918808 h 1047668"/>
                <a:gd name="connsiteX1733" fmla="*/ 1174086 w 1375767"/>
                <a:gd name="connsiteY1733" fmla="*/ 917178 h 1047668"/>
                <a:gd name="connsiteX1734" fmla="*/ 1172783 w 1375767"/>
                <a:gd name="connsiteY1734" fmla="*/ 924672 h 1047668"/>
                <a:gd name="connsiteX1735" fmla="*/ 1165452 w 1375767"/>
                <a:gd name="connsiteY1735" fmla="*/ 928908 h 1047668"/>
                <a:gd name="connsiteX1736" fmla="*/ 1161217 w 1375767"/>
                <a:gd name="connsiteY1736" fmla="*/ 932818 h 1047668"/>
                <a:gd name="connsiteX1737" fmla="*/ 1158610 w 1375767"/>
                <a:gd name="connsiteY1737" fmla="*/ 929071 h 1047668"/>
                <a:gd name="connsiteX1738" fmla="*/ 1158610 w 1375767"/>
                <a:gd name="connsiteY1738" fmla="*/ 929071 h 1047668"/>
                <a:gd name="connsiteX1739" fmla="*/ 1145903 w 1375767"/>
                <a:gd name="connsiteY1739" fmla="*/ 871075 h 1047668"/>
                <a:gd name="connsiteX1740" fmla="*/ 1152745 w 1375767"/>
                <a:gd name="connsiteY1740" fmla="*/ 869446 h 1047668"/>
                <a:gd name="connsiteX1741" fmla="*/ 1157795 w 1375767"/>
                <a:gd name="connsiteY1741" fmla="*/ 872216 h 1047668"/>
                <a:gd name="connsiteX1742" fmla="*/ 1157795 w 1375767"/>
                <a:gd name="connsiteY1742" fmla="*/ 876288 h 1047668"/>
                <a:gd name="connsiteX1743" fmla="*/ 1155352 w 1375767"/>
                <a:gd name="connsiteY1743" fmla="*/ 879546 h 1047668"/>
                <a:gd name="connsiteX1744" fmla="*/ 1156818 w 1375767"/>
                <a:gd name="connsiteY1744" fmla="*/ 882642 h 1047668"/>
                <a:gd name="connsiteX1745" fmla="*/ 1158773 w 1375767"/>
                <a:gd name="connsiteY1745" fmla="*/ 879872 h 1047668"/>
                <a:gd name="connsiteX1746" fmla="*/ 1162846 w 1375767"/>
                <a:gd name="connsiteY1746" fmla="*/ 878243 h 1047668"/>
                <a:gd name="connsiteX1747" fmla="*/ 1168385 w 1375767"/>
                <a:gd name="connsiteY1747" fmla="*/ 882642 h 1047668"/>
                <a:gd name="connsiteX1748" fmla="*/ 1168385 w 1375767"/>
                <a:gd name="connsiteY1748" fmla="*/ 886552 h 1047668"/>
                <a:gd name="connsiteX1749" fmla="*/ 1163823 w 1375767"/>
                <a:gd name="connsiteY1749" fmla="*/ 887692 h 1047668"/>
                <a:gd name="connsiteX1750" fmla="*/ 1165289 w 1375767"/>
                <a:gd name="connsiteY1750" fmla="*/ 890787 h 1047668"/>
                <a:gd name="connsiteX1751" fmla="*/ 1162520 w 1375767"/>
                <a:gd name="connsiteY1751" fmla="*/ 893557 h 1047668"/>
                <a:gd name="connsiteX1752" fmla="*/ 1158773 w 1375767"/>
                <a:gd name="connsiteY1752" fmla="*/ 892416 h 1047668"/>
                <a:gd name="connsiteX1753" fmla="*/ 1155026 w 1375767"/>
                <a:gd name="connsiteY1753" fmla="*/ 886877 h 1047668"/>
                <a:gd name="connsiteX1754" fmla="*/ 1149161 w 1375767"/>
                <a:gd name="connsiteY1754" fmla="*/ 881501 h 1047668"/>
                <a:gd name="connsiteX1755" fmla="*/ 1148835 w 1375767"/>
                <a:gd name="connsiteY1755" fmla="*/ 882805 h 1047668"/>
                <a:gd name="connsiteX1756" fmla="*/ 1155026 w 1375767"/>
                <a:gd name="connsiteY1756" fmla="*/ 892742 h 1047668"/>
                <a:gd name="connsiteX1757" fmla="*/ 1155026 w 1375767"/>
                <a:gd name="connsiteY1757" fmla="*/ 896815 h 1047668"/>
                <a:gd name="connsiteX1758" fmla="*/ 1160565 w 1375767"/>
                <a:gd name="connsiteY1758" fmla="*/ 897466 h 1047668"/>
                <a:gd name="connsiteX1759" fmla="*/ 1163171 w 1375767"/>
                <a:gd name="connsiteY1759" fmla="*/ 901539 h 1047668"/>
                <a:gd name="connsiteX1760" fmla="*/ 1160565 w 1375767"/>
                <a:gd name="connsiteY1760" fmla="*/ 904146 h 1047668"/>
                <a:gd name="connsiteX1761" fmla="*/ 1160239 w 1375767"/>
                <a:gd name="connsiteY1761" fmla="*/ 911314 h 1047668"/>
                <a:gd name="connsiteX1762" fmla="*/ 1157144 w 1375767"/>
                <a:gd name="connsiteY1762" fmla="*/ 911803 h 1047668"/>
                <a:gd name="connsiteX1763" fmla="*/ 1152094 w 1375767"/>
                <a:gd name="connsiteY1763" fmla="*/ 906264 h 1047668"/>
                <a:gd name="connsiteX1764" fmla="*/ 1152094 w 1375767"/>
                <a:gd name="connsiteY1764" fmla="*/ 901213 h 1047668"/>
                <a:gd name="connsiteX1765" fmla="*/ 1145903 w 1375767"/>
                <a:gd name="connsiteY1765" fmla="*/ 890299 h 1047668"/>
                <a:gd name="connsiteX1766" fmla="*/ 1144763 w 1375767"/>
                <a:gd name="connsiteY1766" fmla="*/ 895349 h 1047668"/>
                <a:gd name="connsiteX1767" fmla="*/ 1147858 w 1375767"/>
                <a:gd name="connsiteY1767" fmla="*/ 902517 h 1047668"/>
                <a:gd name="connsiteX1768" fmla="*/ 1147858 w 1375767"/>
                <a:gd name="connsiteY1768" fmla="*/ 908056 h 1047668"/>
                <a:gd name="connsiteX1769" fmla="*/ 1144926 w 1375767"/>
                <a:gd name="connsiteY1769" fmla="*/ 911965 h 1047668"/>
                <a:gd name="connsiteX1770" fmla="*/ 1140364 w 1375767"/>
                <a:gd name="connsiteY1770" fmla="*/ 911640 h 1047668"/>
                <a:gd name="connsiteX1771" fmla="*/ 1136128 w 1375767"/>
                <a:gd name="connsiteY1771" fmla="*/ 906264 h 1047668"/>
                <a:gd name="connsiteX1772" fmla="*/ 1139061 w 1375767"/>
                <a:gd name="connsiteY1772" fmla="*/ 902354 h 1047668"/>
                <a:gd name="connsiteX1773" fmla="*/ 1135966 w 1375767"/>
                <a:gd name="connsiteY1773" fmla="*/ 899910 h 1047668"/>
                <a:gd name="connsiteX1774" fmla="*/ 1137269 w 1375767"/>
                <a:gd name="connsiteY1774" fmla="*/ 894860 h 1047668"/>
                <a:gd name="connsiteX1775" fmla="*/ 1133848 w 1375767"/>
                <a:gd name="connsiteY1775" fmla="*/ 888181 h 1047668"/>
                <a:gd name="connsiteX1776" fmla="*/ 1136617 w 1375767"/>
                <a:gd name="connsiteY1776" fmla="*/ 883131 h 1047668"/>
                <a:gd name="connsiteX1777" fmla="*/ 1139387 w 1375767"/>
                <a:gd name="connsiteY1777" fmla="*/ 885737 h 1047668"/>
                <a:gd name="connsiteX1778" fmla="*/ 1141342 w 1375767"/>
                <a:gd name="connsiteY1778" fmla="*/ 882805 h 1047668"/>
                <a:gd name="connsiteX1779" fmla="*/ 1138409 w 1375767"/>
                <a:gd name="connsiteY1779" fmla="*/ 880850 h 1047668"/>
                <a:gd name="connsiteX1780" fmla="*/ 1137595 w 1375767"/>
                <a:gd name="connsiteY1780" fmla="*/ 874822 h 1047668"/>
                <a:gd name="connsiteX1781" fmla="*/ 1140038 w 1375767"/>
                <a:gd name="connsiteY1781" fmla="*/ 869283 h 1047668"/>
                <a:gd name="connsiteX1782" fmla="*/ 1142319 w 1375767"/>
                <a:gd name="connsiteY1782" fmla="*/ 874333 h 1047668"/>
                <a:gd name="connsiteX1783" fmla="*/ 1144926 w 1375767"/>
                <a:gd name="connsiteY1783" fmla="*/ 873356 h 1047668"/>
                <a:gd name="connsiteX1784" fmla="*/ 1145740 w 1375767"/>
                <a:gd name="connsiteY1784" fmla="*/ 870749 h 1047668"/>
                <a:gd name="connsiteX1785" fmla="*/ 1145740 w 1375767"/>
                <a:gd name="connsiteY1785" fmla="*/ 870749 h 1047668"/>
                <a:gd name="connsiteX1786" fmla="*/ 1147043 w 1375767"/>
                <a:gd name="connsiteY1786" fmla="*/ 865536 h 1047668"/>
                <a:gd name="connsiteX1787" fmla="*/ 1151768 w 1375767"/>
                <a:gd name="connsiteY1787" fmla="*/ 861464 h 1047668"/>
                <a:gd name="connsiteX1788" fmla="*/ 1153560 w 1375767"/>
                <a:gd name="connsiteY1788" fmla="*/ 864396 h 1047668"/>
                <a:gd name="connsiteX1789" fmla="*/ 1149813 w 1375767"/>
                <a:gd name="connsiteY1789" fmla="*/ 867165 h 1047668"/>
                <a:gd name="connsiteX1790" fmla="*/ 1147043 w 1375767"/>
                <a:gd name="connsiteY1790" fmla="*/ 865536 h 1047668"/>
                <a:gd name="connsiteX1791" fmla="*/ 1147043 w 1375767"/>
                <a:gd name="connsiteY1791" fmla="*/ 865536 h 1047668"/>
                <a:gd name="connsiteX1792" fmla="*/ 382022 w 1375767"/>
                <a:gd name="connsiteY1792" fmla="*/ 549818 h 1047668"/>
                <a:gd name="connsiteX1793" fmla="*/ 380882 w 1375767"/>
                <a:gd name="connsiteY1793" fmla="*/ 547863 h 1047668"/>
                <a:gd name="connsiteX1794" fmla="*/ 383162 w 1375767"/>
                <a:gd name="connsiteY1794" fmla="*/ 545257 h 1047668"/>
                <a:gd name="connsiteX1795" fmla="*/ 384791 w 1375767"/>
                <a:gd name="connsiteY1795" fmla="*/ 549004 h 1047668"/>
                <a:gd name="connsiteX1796" fmla="*/ 381859 w 1375767"/>
                <a:gd name="connsiteY1796" fmla="*/ 549818 h 1047668"/>
                <a:gd name="connsiteX1797" fmla="*/ 381859 w 1375767"/>
                <a:gd name="connsiteY1797" fmla="*/ 549818 h 1047668"/>
                <a:gd name="connsiteX1798" fmla="*/ 381370 w 1375767"/>
                <a:gd name="connsiteY1798" fmla="*/ 553077 h 1047668"/>
                <a:gd name="connsiteX1799" fmla="*/ 384303 w 1375767"/>
                <a:gd name="connsiteY1799" fmla="*/ 555032 h 1047668"/>
                <a:gd name="connsiteX1800" fmla="*/ 384303 w 1375767"/>
                <a:gd name="connsiteY1800" fmla="*/ 559430 h 1047668"/>
                <a:gd name="connsiteX1801" fmla="*/ 391471 w 1375767"/>
                <a:gd name="connsiteY1801" fmla="*/ 566761 h 1047668"/>
                <a:gd name="connsiteX1802" fmla="*/ 390493 w 1375767"/>
                <a:gd name="connsiteY1802" fmla="*/ 570997 h 1047668"/>
                <a:gd name="connsiteX1803" fmla="*/ 381207 w 1375767"/>
                <a:gd name="connsiteY1803" fmla="*/ 563829 h 1047668"/>
                <a:gd name="connsiteX1804" fmla="*/ 380230 w 1375767"/>
                <a:gd name="connsiteY1804" fmla="*/ 558778 h 1047668"/>
                <a:gd name="connsiteX1805" fmla="*/ 378601 w 1375767"/>
                <a:gd name="connsiteY1805" fmla="*/ 555032 h 1047668"/>
                <a:gd name="connsiteX1806" fmla="*/ 381207 w 1375767"/>
                <a:gd name="connsiteY1806" fmla="*/ 553077 h 1047668"/>
                <a:gd name="connsiteX1807" fmla="*/ 381207 w 1375767"/>
                <a:gd name="connsiteY1807" fmla="*/ 553077 h 1047668"/>
                <a:gd name="connsiteX1808" fmla="*/ 647075 w 1375767"/>
                <a:gd name="connsiteY1808" fmla="*/ 466898 h 1047668"/>
                <a:gd name="connsiteX1809" fmla="*/ 644306 w 1375767"/>
                <a:gd name="connsiteY1809" fmla="*/ 472762 h 1047668"/>
                <a:gd name="connsiteX1810" fmla="*/ 643165 w 1375767"/>
                <a:gd name="connsiteY1810" fmla="*/ 484003 h 1047668"/>
                <a:gd name="connsiteX1811" fmla="*/ 639418 w 1375767"/>
                <a:gd name="connsiteY1811" fmla="*/ 481722 h 1047668"/>
                <a:gd name="connsiteX1812" fmla="*/ 639418 w 1375767"/>
                <a:gd name="connsiteY1812" fmla="*/ 478464 h 1047668"/>
                <a:gd name="connsiteX1813" fmla="*/ 635997 w 1375767"/>
                <a:gd name="connsiteY1813" fmla="*/ 476183 h 1047668"/>
                <a:gd name="connsiteX1814" fmla="*/ 630133 w 1375767"/>
                <a:gd name="connsiteY1814" fmla="*/ 477813 h 1047668"/>
                <a:gd name="connsiteX1815" fmla="*/ 625082 w 1375767"/>
                <a:gd name="connsiteY1815" fmla="*/ 474391 h 1047668"/>
                <a:gd name="connsiteX1816" fmla="*/ 625082 w 1375767"/>
                <a:gd name="connsiteY1816" fmla="*/ 471296 h 1047668"/>
                <a:gd name="connsiteX1817" fmla="*/ 638930 w 1375767"/>
                <a:gd name="connsiteY1817" fmla="*/ 457286 h 1047668"/>
                <a:gd name="connsiteX1818" fmla="*/ 644794 w 1375767"/>
                <a:gd name="connsiteY1818" fmla="*/ 454191 h 1047668"/>
                <a:gd name="connsiteX1819" fmla="*/ 647238 w 1375767"/>
                <a:gd name="connsiteY1819" fmla="*/ 456309 h 1047668"/>
                <a:gd name="connsiteX1820" fmla="*/ 646912 w 1375767"/>
                <a:gd name="connsiteY1820" fmla="*/ 466735 h 1047668"/>
                <a:gd name="connsiteX1821" fmla="*/ 646912 w 1375767"/>
                <a:gd name="connsiteY1821" fmla="*/ 466735 h 1047668"/>
                <a:gd name="connsiteX1822" fmla="*/ 651311 w 1375767"/>
                <a:gd name="connsiteY1822" fmla="*/ 466572 h 1047668"/>
                <a:gd name="connsiteX1823" fmla="*/ 653917 w 1375767"/>
                <a:gd name="connsiteY1823" fmla="*/ 463965 h 1047668"/>
                <a:gd name="connsiteX1824" fmla="*/ 654406 w 1375767"/>
                <a:gd name="connsiteY1824" fmla="*/ 461359 h 1047668"/>
                <a:gd name="connsiteX1825" fmla="*/ 651311 w 1375767"/>
                <a:gd name="connsiteY1825" fmla="*/ 458263 h 1047668"/>
                <a:gd name="connsiteX1826" fmla="*/ 651800 w 1375767"/>
                <a:gd name="connsiteY1826" fmla="*/ 454354 h 1047668"/>
                <a:gd name="connsiteX1827" fmla="*/ 647401 w 1375767"/>
                <a:gd name="connsiteY1827" fmla="*/ 449955 h 1047668"/>
                <a:gd name="connsiteX1828" fmla="*/ 651311 w 1375767"/>
                <a:gd name="connsiteY1828" fmla="*/ 447837 h 1047668"/>
                <a:gd name="connsiteX1829" fmla="*/ 660922 w 1375767"/>
                <a:gd name="connsiteY1829" fmla="*/ 447023 h 1047668"/>
                <a:gd name="connsiteX1830" fmla="*/ 669882 w 1375767"/>
                <a:gd name="connsiteY1830" fmla="*/ 452887 h 1047668"/>
                <a:gd name="connsiteX1831" fmla="*/ 670371 w 1375767"/>
                <a:gd name="connsiteY1831" fmla="*/ 456146 h 1047668"/>
                <a:gd name="connsiteX1832" fmla="*/ 664995 w 1375767"/>
                <a:gd name="connsiteY1832" fmla="*/ 458589 h 1047668"/>
                <a:gd name="connsiteX1833" fmla="*/ 654569 w 1375767"/>
                <a:gd name="connsiteY1833" fmla="*/ 467875 h 1047668"/>
                <a:gd name="connsiteX1834" fmla="*/ 651311 w 1375767"/>
                <a:gd name="connsiteY1834" fmla="*/ 466572 h 1047668"/>
                <a:gd name="connsiteX1835" fmla="*/ 651311 w 1375767"/>
                <a:gd name="connsiteY1835" fmla="*/ 466572 h 1047668"/>
                <a:gd name="connsiteX1836" fmla="*/ 700346 w 1375767"/>
                <a:gd name="connsiteY1836" fmla="*/ 434153 h 1047668"/>
                <a:gd name="connsiteX1837" fmla="*/ 702627 w 1375767"/>
                <a:gd name="connsiteY1837" fmla="*/ 432524 h 1047668"/>
                <a:gd name="connsiteX1838" fmla="*/ 708655 w 1375767"/>
                <a:gd name="connsiteY1838" fmla="*/ 432035 h 1047668"/>
                <a:gd name="connsiteX1839" fmla="*/ 711587 w 1375767"/>
                <a:gd name="connsiteY1839" fmla="*/ 435945 h 1047668"/>
                <a:gd name="connsiteX1840" fmla="*/ 709958 w 1375767"/>
                <a:gd name="connsiteY1840" fmla="*/ 439692 h 1047668"/>
                <a:gd name="connsiteX1841" fmla="*/ 706863 w 1375767"/>
                <a:gd name="connsiteY1841" fmla="*/ 440180 h 1047668"/>
                <a:gd name="connsiteX1842" fmla="*/ 700346 w 1375767"/>
                <a:gd name="connsiteY1842" fmla="*/ 433990 h 1047668"/>
                <a:gd name="connsiteX1843" fmla="*/ 700346 w 1375767"/>
                <a:gd name="connsiteY1843" fmla="*/ 433990 h 1047668"/>
                <a:gd name="connsiteX1844" fmla="*/ 961327 w 1375767"/>
                <a:gd name="connsiteY1844" fmla="*/ 680960 h 1047668"/>
                <a:gd name="connsiteX1845" fmla="*/ 963933 w 1375767"/>
                <a:gd name="connsiteY1845" fmla="*/ 678517 h 1047668"/>
                <a:gd name="connsiteX1846" fmla="*/ 967355 w 1375767"/>
                <a:gd name="connsiteY1846" fmla="*/ 679820 h 1047668"/>
                <a:gd name="connsiteX1847" fmla="*/ 964911 w 1375767"/>
                <a:gd name="connsiteY1847" fmla="*/ 682101 h 1047668"/>
                <a:gd name="connsiteX1848" fmla="*/ 961327 w 1375767"/>
                <a:gd name="connsiteY1848" fmla="*/ 680960 h 1047668"/>
                <a:gd name="connsiteX1849" fmla="*/ 961327 w 1375767"/>
                <a:gd name="connsiteY1849" fmla="*/ 680960 h 1047668"/>
                <a:gd name="connsiteX1850" fmla="*/ 936565 w 1375767"/>
                <a:gd name="connsiteY1850" fmla="*/ 757365 h 1047668"/>
                <a:gd name="connsiteX1851" fmla="*/ 941126 w 1375767"/>
                <a:gd name="connsiteY1851" fmla="*/ 754432 h 1047668"/>
                <a:gd name="connsiteX1852" fmla="*/ 944059 w 1375767"/>
                <a:gd name="connsiteY1852" fmla="*/ 756876 h 1047668"/>
                <a:gd name="connsiteX1853" fmla="*/ 936565 w 1375767"/>
                <a:gd name="connsiteY1853" fmla="*/ 757365 h 1047668"/>
                <a:gd name="connsiteX1854" fmla="*/ 936565 w 1375767"/>
                <a:gd name="connsiteY1854" fmla="*/ 757365 h 1047668"/>
                <a:gd name="connsiteX1855" fmla="*/ 992768 w 1375767"/>
                <a:gd name="connsiteY1855" fmla="*/ 743843 h 1047668"/>
                <a:gd name="connsiteX1856" fmla="*/ 998796 w 1375767"/>
                <a:gd name="connsiteY1856" fmla="*/ 741399 h 1047668"/>
                <a:gd name="connsiteX1857" fmla="*/ 1002054 w 1375767"/>
                <a:gd name="connsiteY1857" fmla="*/ 741399 h 1047668"/>
                <a:gd name="connsiteX1858" fmla="*/ 997493 w 1375767"/>
                <a:gd name="connsiteY1858" fmla="*/ 746776 h 1047668"/>
                <a:gd name="connsiteX1859" fmla="*/ 992443 w 1375767"/>
                <a:gd name="connsiteY1859" fmla="*/ 748079 h 1047668"/>
                <a:gd name="connsiteX1860" fmla="*/ 992443 w 1375767"/>
                <a:gd name="connsiteY1860" fmla="*/ 743843 h 1047668"/>
                <a:gd name="connsiteX1861" fmla="*/ 992605 w 1375767"/>
                <a:gd name="connsiteY1861" fmla="*/ 743843 h 1047668"/>
                <a:gd name="connsiteX1862" fmla="*/ 951552 w 1375767"/>
                <a:gd name="connsiteY1862" fmla="*/ 691386 h 1047668"/>
                <a:gd name="connsiteX1863" fmla="*/ 952367 w 1375767"/>
                <a:gd name="connsiteY1863" fmla="*/ 687965 h 1047668"/>
                <a:gd name="connsiteX1864" fmla="*/ 956114 w 1375767"/>
                <a:gd name="connsiteY1864" fmla="*/ 688291 h 1047668"/>
                <a:gd name="connsiteX1865" fmla="*/ 956603 w 1375767"/>
                <a:gd name="connsiteY1865" fmla="*/ 692201 h 1047668"/>
                <a:gd name="connsiteX1866" fmla="*/ 951552 w 1375767"/>
                <a:gd name="connsiteY1866" fmla="*/ 691386 h 1047668"/>
                <a:gd name="connsiteX1867" fmla="*/ 951552 w 1375767"/>
                <a:gd name="connsiteY1867" fmla="*/ 691386 h 1047668"/>
                <a:gd name="connsiteX1868" fmla="*/ 958395 w 1375767"/>
                <a:gd name="connsiteY1868" fmla="*/ 711913 h 1047668"/>
                <a:gd name="connsiteX1869" fmla="*/ 958395 w 1375767"/>
                <a:gd name="connsiteY1869" fmla="*/ 703768 h 1047668"/>
                <a:gd name="connsiteX1870" fmla="*/ 961490 w 1375767"/>
                <a:gd name="connsiteY1870" fmla="*/ 701487 h 1047668"/>
                <a:gd name="connsiteX1871" fmla="*/ 964585 w 1375767"/>
                <a:gd name="connsiteY1871" fmla="*/ 702953 h 1047668"/>
                <a:gd name="connsiteX1872" fmla="*/ 964585 w 1375767"/>
                <a:gd name="connsiteY1872" fmla="*/ 707352 h 1047668"/>
                <a:gd name="connsiteX1873" fmla="*/ 968006 w 1375767"/>
                <a:gd name="connsiteY1873" fmla="*/ 707352 h 1047668"/>
                <a:gd name="connsiteX1874" fmla="*/ 969635 w 1375767"/>
                <a:gd name="connsiteY1874" fmla="*/ 710773 h 1047668"/>
                <a:gd name="connsiteX1875" fmla="*/ 965237 w 1375767"/>
                <a:gd name="connsiteY1875" fmla="*/ 712728 h 1047668"/>
                <a:gd name="connsiteX1876" fmla="*/ 958232 w 1375767"/>
                <a:gd name="connsiteY1876" fmla="*/ 711587 h 1047668"/>
                <a:gd name="connsiteX1877" fmla="*/ 958232 w 1375767"/>
                <a:gd name="connsiteY1877" fmla="*/ 711587 h 1047668"/>
                <a:gd name="connsiteX1878" fmla="*/ 917341 w 1375767"/>
                <a:gd name="connsiteY1878" fmla="*/ 732602 h 1047668"/>
                <a:gd name="connsiteX1879" fmla="*/ 920925 w 1375767"/>
                <a:gd name="connsiteY1879" fmla="*/ 731625 h 1047668"/>
                <a:gd name="connsiteX1880" fmla="*/ 922880 w 1375767"/>
                <a:gd name="connsiteY1880" fmla="*/ 730322 h 1047668"/>
                <a:gd name="connsiteX1881" fmla="*/ 923532 w 1375767"/>
                <a:gd name="connsiteY1881" fmla="*/ 727552 h 1047668"/>
                <a:gd name="connsiteX1882" fmla="*/ 932981 w 1375767"/>
                <a:gd name="connsiteY1882" fmla="*/ 719895 h 1047668"/>
                <a:gd name="connsiteX1883" fmla="*/ 937379 w 1375767"/>
                <a:gd name="connsiteY1883" fmla="*/ 718592 h 1047668"/>
                <a:gd name="connsiteX1884" fmla="*/ 942592 w 1375767"/>
                <a:gd name="connsiteY1884" fmla="*/ 712728 h 1047668"/>
                <a:gd name="connsiteX1885" fmla="*/ 944873 w 1375767"/>
                <a:gd name="connsiteY1885" fmla="*/ 712076 h 1047668"/>
                <a:gd name="connsiteX1886" fmla="*/ 949923 w 1375767"/>
                <a:gd name="connsiteY1886" fmla="*/ 705722 h 1047668"/>
                <a:gd name="connsiteX1887" fmla="*/ 950901 w 1375767"/>
                <a:gd name="connsiteY1887" fmla="*/ 708492 h 1047668"/>
                <a:gd name="connsiteX1888" fmla="*/ 949597 w 1375767"/>
                <a:gd name="connsiteY1888" fmla="*/ 711261 h 1047668"/>
                <a:gd name="connsiteX1889" fmla="*/ 952041 w 1375767"/>
                <a:gd name="connsiteY1889" fmla="*/ 713216 h 1047668"/>
                <a:gd name="connsiteX1890" fmla="*/ 949272 w 1375767"/>
                <a:gd name="connsiteY1890" fmla="*/ 715823 h 1047668"/>
                <a:gd name="connsiteX1891" fmla="*/ 943570 w 1375767"/>
                <a:gd name="connsiteY1891" fmla="*/ 718103 h 1047668"/>
                <a:gd name="connsiteX1892" fmla="*/ 936076 w 1375767"/>
                <a:gd name="connsiteY1892" fmla="*/ 726738 h 1047668"/>
                <a:gd name="connsiteX1893" fmla="*/ 931515 w 1375767"/>
                <a:gd name="connsiteY1893" fmla="*/ 728204 h 1047668"/>
                <a:gd name="connsiteX1894" fmla="*/ 932492 w 1375767"/>
                <a:gd name="connsiteY1894" fmla="*/ 731299 h 1047668"/>
                <a:gd name="connsiteX1895" fmla="*/ 931189 w 1375767"/>
                <a:gd name="connsiteY1895" fmla="*/ 734069 h 1047668"/>
                <a:gd name="connsiteX1896" fmla="*/ 925487 w 1375767"/>
                <a:gd name="connsiteY1896" fmla="*/ 732765 h 1047668"/>
                <a:gd name="connsiteX1897" fmla="*/ 922555 w 1375767"/>
                <a:gd name="connsiteY1897" fmla="*/ 734720 h 1047668"/>
                <a:gd name="connsiteX1898" fmla="*/ 917341 w 1375767"/>
                <a:gd name="connsiteY1898" fmla="*/ 734720 h 1047668"/>
                <a:gd name="connsiteX1899" fmla="*/ 917341 w 1375767"/>
                <a:gd name="connsiteY1899" fmla="*/ 732440 h 1047668"/>
                <a:gd name="connsiteX1900" fmla="*/ 917504 w 1375767"/>
                <a:gd name="connsiteY1900" fmla="*/ 732440 h 1047668"/>
                <a:gd name="connsiteX1901" fmla="*/ 916038 w 1375767"/>
                <a:gd name="connsiteY1901" fmla="*/ 722828 h 1047668"/>
                <a:gd name="connsiteX1902" fmla="*/ 922880 w 1375767"/>
                <a:gd name="connsiteY1902" fmla="*/ 717452 h 1047668"/>
                <a:gd name="connsiteX1903" fmla="*/ 923206 w 1375767"/>
                <a:gd name="connsiteY1903" fmla="*/ 721362 h 1047668"/>
                <a:gd name="connsiteX1904" fmla="*/ 918645 w 1375767"/>
                <a:gd name="connsiteY1904" fmla="*/ 724131 h 1047668"/>
                <a:gd name="connsiteX1905" fmla="*/ 916038 w 1375767"/>
                <a:gd name="connsiteY1905" fmla="*/ 722828 h 1047668"/>
                <a:gd name="connsiteX1906" fmla="*/ 916038 w 1375767"/>
                <a:gd name="connsiteY1906" fmla="*/ 722828 h 1047668"/>
                <a:gd name="connsiteX1907" fmla="*/ 928908 w 1375767"/>
                <a:gd name="connsiteY1907" fmla="*/ 710610 h 1047668"/>
                <a:gd name="connsiteX1908" fmla="*/ 936076 w 1375767"/>
                <a:gd name="connsiteY1908" fmla="*/ 703442 h 1047668"/>
                <a:gd name="connsiteX1909" fmla="*/ 936565 w 1375767"/>
                <a:gd name="connsiteY1909" fmla="*/ 700183 h 1047668"/>
                <a:gd name="connsiteX1910" fmla="*/ 939660 w 1375767"/>
                <a:gd name="connsiteY1910" fmla="*/ 696599 h 1047668"/>
                <a:gd name="connsiteX1911" fmla="*/ 942755 w 1375767"/>
                <a:gd name="connsiteY1911" fmla="*/ 696925 h 1047668"/>
                <a:gd name="connsiteX1912" fmla="*/ 943896 w 1375767"/>
                <a:gd name="connsiteY1912" fmla="*/ 699043 h 1047668"/>
                <a:gd name="connsiteX1913" fmla="*/ 940475 w 1375767"/>
                <a:gd name="connsiteY1913" fmla="*/ 702627 h 1047668"/>
                <a:gd name="connsiteX1914" fmla="*/ 938194 w 1375767"/>
                <a:gd name="connsiteY1914" fmla="*/ 706211 h 1047668"/>
                <a:gd name="connsiteX1915" fmla="*/ 933144 w 1375767"/>
                <a:gd name="connsiteY1915" fmla="*/ 710610 h 1047668"/>
                <a:gd name="connsiteX1916" fmla="*/ 932329 w 1375767"/>
                <a:gd name="connsiteY1916" fmla="*/ 713216 h 1047668"/>
                <a:gd name="connsiteX1917" fmla="*/ 929885 w 1375767"/>
                <a:gd name="connsiteY1917" fmla="*/ 712890 h 1047668"/>
                <a:gd name="connsiteX1918" fmla="*/ 928745 w 1375767"/>
                <a:gd name="connsiteY1918" fmla="*/ 710447 h 1047668"/>
                <a:gd name="connsiteX1919" fmla="*/ 928745 w 1375767"/>
                <a:gd name="connsiteY1919" fmla="*/ 710447 h 1047668"/>
                <a:gd name="connsiteX1920" fmla="*/ 936402 w 1375767"/>
                <a:gd name="connsiteY1920" fmla="*/ 677702 h 1047668"/>
                <a:gd name="connsiteX1921" fmla="*/ 939334 w 1375767"/>
                <a:gd name="connsiteY1921" fmla="*/ 673955 h 1047668"/>
                <a:gd name="connsiteX1922" fmla="*/ 942755 w 1375767"/>
                <a:gd name="connsiteY1922" fmla="*/ 675584 h 1047668"/>
                <a:gd name="connsiteX1923" fmla="*/ 941778 w 1375767"/>
                <a:gd name="connsiteY1923" fmla="*/ 678517 h 1047668"/>
                <a:gd name="connsiteX1924" fmla="*/ 942592 w 1375767"/>
                <a:gd name="connsiteY1924" fmla="*/ 681123 h 1047668"/>
                <a:gd name="connsiteX1925" fmla="*/ 940963 w 1375767"/>
                <a:gd name="connsiteY1925" fmla="*/ 683567 h 1047668"/>
                <a:gd name="connsiteX1926" fmla="*/ 936402 w 1375767"/>
                <a:gd name="connsiteY1926" fmla="*/ 677539 h 1047668"/>
                <a:gd name="connsiteX1927" fmla="*/ 936402 w 1375767"/>
                <a:gd name="connsiteY1927" fmla="*/ 677539 h 1047668"/>
                <a:gd name="connsiteX1928" fmla="*/ 628504 w 1375767"/>
                <a:gd name="connsiteY1928" fmla="*/ 321746 h 1047668"/>
                <a:gd name="connsiteX1929" fmla="*/ 632250 w 1375767"/>
                <a:gd name="connsiteY1929" fmla="*/ 320931 h 1047668"/>
                <a:gd name="connsiteX1930" fmla="*/ 635997 w 1375767"/>
                <a:gd name="connsiteY1930" fmla="*/ 321746 h 1047668"/>
                <a:gd name="connsiteX1931" fmla="*/ 632413 w 1375767"/>
                <a:gd name="connsiteY1931" fmla="*/ 325493 h 1047668"/>
                <a:gd name="connsiteX1932" fmla="*/ 628666 w 1375767"/>
                <a:gd name="connsiteY1932" fmla="*/ 321746 h 1047668"/>
                <a:gd name="connsiteX1933" fmla="*/ 628666 w 1375767"/>
                <a:gd name="connsiteY1933" fmla="*/ 321746 h 1047668"/>
                <a:gd name="connsiteX1934" fmla="*/ 529292 w 1375767"/>
                <a:gd name="connsiteY1934" fmla="*/ 428940 h 1047668"/>
                <a:gd name="connsiteX1935" fmla="*/ 533853 w 1375767"/>
                <a:gd name="connsiteY1935" fmla="*/ 422261 h 1047668"/>
                <a:gd name="connsiteX1936" fmla="*/ 532387 w 1375767"/>
                <a:gd name="connsiteY1936" fmla="*/ 416233 h 1047668"/>
                <a:gd name="connsiteX1937" fmla="*/ 526685 w 1375767"/>
                <a:gd name="connsiteY1937" fmla="*/ 413301 h 1047668"/>
                <a:gd name="connsiteX1938" fmla="*/ 527989 w 1375767"/>
                <a:gd name="connsiteY1938" fmla="*/ 406784 h 1047668"/>
                <a:gd name="connsiteX1939" fmla="*/ 526197 w 1375767"/>
                <a:gd name="connsiteY1939" fmla="*/ 398313 h 1047668"/>
                <a:gd name="connsiteX1940" fmla="*/ 520658 w 1375767"/>
                <a:gd name="connsiteY1940" fmla="*/ 393914 h 1047668"/>
                <a:gd name="connsiteX1941" fmla="*/ 512186 w 1375767"/>
                <a:gd name="connsiteY1941" fmla="*/ 393914 h 1047668"/>
                <a:gd name="connsiteX1942" fmla="*/ 510394 w 1375767"/>
                <a:gd name="connsiteY1942" fmla="*/ 397987 h 1047668"/>
                <a:gd name="connsiteX1943" fmla="*/ 505181 w 1375767"/>
                <a:gd name="connsiteY1943" fmla="*/ 397987 h 1047668"/>
                <a:gd name="connsiteX1944" fmla="*/ 499968 w 1375767"/>
                <a:gd name="connsiteY1944" fmla="*/ 392122 h 1047668"/>
                <a:gd name="connsiteX1945" fmla="*/ 499968 w 1375767"/>
                <a:gd name="connsiteY1945" fmla="*/ 385606 h 1047668"/>
                <a:gd name="connsiteX1946" fmla="*/ 511698 w 1375767"/>
                <a:gd name="connsiteY1946" fmla="*/ 374854 h 1047668"/>
                <a:gd name="connsiteX1947" fmla="*/ 515933 w 1375767"/>
                <a:gd name="connsiteY1947" fmla="*/ 364916 h 1047668"/>
                <a:gd name="connsiteX1948" fmla="*/ 518866 w 1375767"/>
                <a:gd name="connsiteY1948" fmla="*/ 364916 h 1047668"/>
                <a:gd name="connsiteX1949" fmla="*/ 518866 w 1375767"/>
                <a:gd name="connsiteY1949" fmla="*/ 374528 h 1047668"/>
                <a:gd name="connsiteX1950" fmla="*/ 516585 w 1375767"/>
                <a:gd name="connsiteY1950" fmla="*/ 377786 h 1047668"/>
                <a:gd name="connsiteX1951" fmla="*/ 523101 w 1375767"/>
                <a:gd name="connsiteY1951" fmla="*/ 380230 h 1047668"/>
                <a:gd name="connsiteX1952" fmla="*/ 523101 w 1375767"/>
                <a:gd name="connsiteY1952" fmla="*/ 383488 h 1047668"/>
                <a:gd name="connsiteX1953" fmla="*/ 529129 w 1375767"/>
                <a:gd name="connsiteY1953" fmla="*/ 384140 h 1047668"/>
                <a:gd name="connsiteX1954" fmla="*/ 531736 w 1375767"/>
                <a:gd name="connsiteY1954" fmla="*/ 381696 h 1047668"/>
                <a:gd name="connsiteX1955" fmla="*/ 541347 w 1375767"/>
                <a:gd name="connsiteY1955" fmla="*/ 382674 h 1047668"/>
                <a:gd name="connsiteX1956" fmla="*/ 546397 w 1375767"/>
                <a:gd name="connsiteY1956" fmla="*/ 387398 h 1047668"/>
                <a:gd name="connsiteX1957" fmla="*/ 545909 w 1375767"/>
                <a:gd name="connsiteY1957" fmla="*/ 390493 h 1047668"/>
                <a:gd name="connsiteX1958" fmla="*/ 542976 w 1375767"/>
                <a:gd name="connsiteY1958" fmla="*/ 393263 h 1047668"/>
                <a:gd name="connsiteX1959" fmla="*/ 545909 w 1375767"/>
                <a:gd name="connsiteY1959" fmla="*/ 399779 h 1047668"/>
                <a:gd name="connsiteX1960" fmla="*/ 550959 w 1375767"/>
                <a:gd name="connsiteY1960" fmla="*/ 403363 h 1047668"/>
                <a:gd name="connsiteX1961" fmla="*/ 550959 w 1375767"/>
                <a:gd name="connsiteY1961" fmla="*/ 408576 h 1047668"/>
                <a:gd name="connsiteX1962" fmla="*/ 560245 w 1375767"/>
                <a:gd name="connsiteY1962" fmla="*/ 417536 h 1047668"/>
                <a:gd name="connsiteX1963" fmla="*/ 561711 w 1375767"/>
                <a:gd name="connsiteY1963" fmla="*/ 422261 h 1047668"/>
                <a:gd name="connsiteX1964" fmla="*/ 557475 w 1375767"/>
                <a:gd name="connsiteY1964" fmla="*/ 425193 h 1047668"/>
                <a:gd name="connsiteX1965" fmla="*/ 550796 w 1375767"/>
                <a:gd name="connsiteY1965" fmla="*/ 420957 h 1047668"/>
                <a:gd name="connsiteX1966" fmla="*/ 548026 w 1375767"/>
                <a:gd name="connsiteY1966" fmla="*/ 422098 h 1047668"/>
                <a:gd name="connsiteX1967" fmla="*/ 546071 w 1375767"/>
                <a:gd name="connsiteY1967" fmla="*/ 424704 h 1047668"/>
                <a:gd name="connsiteX1968" fmla="*/ 540858 w 1375767"/>
                <a:gd name="connsiteY1968" fmla="*/ 424704 h 1047668"/>
                <a:gd name="connsiteX1969" fmla="*/ 533690 w 1375767"/>
                <a:gd name="connsiteY1969" fmla="*/ 430732 h 1047668"/>
                <a:gd name="connsiteX1970" fmla="*/ 529455 w 1375767"/>
                <a:gd name="connsiteY1970" fmla="*/ 428777 h 1047668"/>
                <a:gd name="connsiteX1971" fmla="*/ 529455 w 1375767"/>
                <a:gd name="connsiteY1971" fmla="*/ 428777 h 1047668"/>
                <a:gd name="connsiteX1972" fmla="*/ 495081 w 1375767"/>
                <a:gd name="connsiteY1972" fmla="*/ 602275 h 1047668"/>
                <a:gd name="connsiteX1973" fmla="*/ 501109 w 1375767"/>
                <a:gd name="connsiteY1973" fmla="*/ 601949 h 1047668"/>
                <a:gd name="connsiteX1974" fmla="*/ 507136 w 1375767"/>
                <a:gd name="connsiteY1974" fmla="*/ 603904 h 1047668"/>
                <a:gd name="connsiteX1975" fmla="*/ 512186 w 1375767"/>
                <a:gd name="connsiteY1975" fmla="*/ 603578 h 1047668"/>
                <a:gd name="connsiteX1976" fmla="*/ 516259 w 1375767"/>
                <a:gd name="connsiteY1976" fmla="*/ 605370 h 1047668"/>
                <a:gd name="connsiteX1977" fmla="*/ 522287 w 1375767"/>
                <a:gd name="connsiteY1977" fmla="*/ 599994 h 1047668"/>
                <a:gd name="connsiteX1978" fmla="*/ 529292 w 1375767"/>
                <a:gd name="connsiteY1978" fmla="*/ 598528 h 1047668"/>
                <a:gd name="connsiteX1979" fmla="*/ 528803 w 1375767"/>
                <a:gd name="connsiteY1979" fmla="*/ 602438 h 1047668"/>
                <a:gd name="connsiteX1980" fmla="*/ 534668 w 1375767"/>
                <a:gd name="connsiteY1980" fmla="*/ 606674 h 1047668"/>
                <a:gd name="connsiteX1981" fmla="*/ 535157 w 1375767"/>
                <a:gd name="connsiteY1981" fmla="*/ 610909 h 1047668"/>
                <a:gd name="connsiteX1982" fmla="*/ 530432 w 1375767"/>
                <a:gd name="connsiteY1982" fmla="*/ 617914 h 1047668"/>
                <a:gd name="connsiteX1983" fmla="*/ 528640 w 1375767"/>
                <a:gd name="connsiteY1983" fmla="*/ 624105 h 1047668"/>
                <a:gd name="connsiteX1984" fmla="*/ 521798 w 1375767"/>
                <a:gd name="connsiteY1984" fmla="*/ 624105 h 1047668"/>
                <a:gd name="connsiteX1985" fmla="*/ 517074 w 1375767"/>
                <a:gd name="connsiteY1985" fmla="*/ 622313 h 1047668"/>
                <a:gd name="connsiteX1986" fmla="*/ 512675 w 1375767"/>
                <a:gd name="connsiteY1986" fmla="*/ 625408 h 1047668"/>
                <a:gd name="connsiteX1987" fmla="*/ 508114 w 1375767"/>
                <a:gd name="connsiteY1987" fmla="*/ 621987 h 1047668"/>
                <a:gd name="connsiteX1988" fmla="*/ 503063 w 1375767"/>
                <a:gd name="connsiteY1988" fmla="*/ 621010 h 1047668"/>
                <a:gd name="connsiteX1989" fmla="*/ 497687 w 1375767"/>
                <a:gd name="connsiteY1989" fmla="*/ 611724 h 1047668"/>
                <a:gd name="connsiteX1990" fmla="*/ 495081 w 1375767"/>
                <a:gd name="connsiteY1990" fmla="*/ 602112 h 1047668"/>
                <a:gd name="connsiteX1991" fmla="*/ 495081 w 1375767"/>
                <a:gd name="connsiteY1991" fmla="*/ 602112 h 1047668"/>
                <a:gd name="connsiteX1992" fmla="*/ 834258 w 1375767"/>
                <a:gd name="connsiteY1992" fmla="*/ 680797 h 1047668"/>
                <a:gd name="connsiteX1993" fmla="*/ 841426 w 1375767"/>
                <a:gd name="connsiteY1993" fmla="*/ 673141 h 1047668"/>
                <a:gd name="connsiteX1994" fmla="*/ 845336 w 1375767"/>
                <a:gd name="connsiteY1994" fmla="*/ 673141 h 1047668"/>
                <a:gd name="connsiteX1995" fmla="*/ 845499 w 1375767"/>
                <a:gd name="connsiteY1995" fmla="*/ 677050 h 1047668"/>
                <a:gd name="connsiteX1996" fmla="*/ 838982 w 1375767"/>
                <a:gd name="connsiteY1996" fmla="*/ 681449 h 1047668"/>
                <a:gd name="connsiteX1997" fmla="*/ 834258 w 1375767"/>
                <a:gd name="connsiteY1997" fmla="*/ 680960 h 1047668"/>
                <a:gd name="connsiteX1998" fmla="*/ 834258 w 1375767"/>
                <a:gd name="connsiteY1998" fmla="*/ 680960 h 1047668"/>
                <a:gd name="connsiteX1999" fmla="*/ 780824 w 1375767"/>
                <a:gd name="connsiteY1999" fmla="*/ 717289 h 1047668"/>
                <a:gd name="connsiteX2000" fmla="*/ 784733 w 1375767"/>
                <a:gd name="connsiteY2000" fmla="*/ 716312 h 1047668"/>
                <a:gd name="connsiteX2001" fmla="*/ 788480 w 1375767"/>
                <a:gd name="connsiteY2001" fmla="*/ 717615 h 1047668"/>
                <a:gd name="connsiteX2002" fmla="*/ 784570 w 1375767"/>
                <a:gd name="connsiteY2002" fmla="*/ 719733 h 1047668"/>
                <a:gd name="connsiteX2003" fmla="*/ 780661 w 1375767"/>
                <a:gd name="connsiteY2003" fmla="*/ 717289 h 1047668"/>
                <a:gd name="connsiteX2004" fmla="*/ 780661 w 1375767"/>
                <a:gd name="connsiteY2004" fmla="*/ 717289 h 1047668"/>
                <a:gd name="connsiteX2005" fmla="*/ 780987 w 1375767"/>
                <a:gd name="connsiteY2005" fmla="*/ 760786 h 1047668"/>
                <a:gd name="connsiteX2006" fmla="*/ 783267 w 1375767"/>
                <a:gd name="connsiteY2006" fmla="*/ 760297 h 1047668"/>
                <a:gd name="connsiteX2007" fmla="*/ 787014 w 1375767"/>
                <a:gd name="connsiteY2007" fmla="*/ 760623 h 1047668"/>
                <a:gd name="connsiteX2008" fmla="*/ 786688 w 1375767"/>
                <a:gd name="connsiteY2008" fmla="*/ 764533 h 1047668"/>
                <a:gd name="connsiteX2009" fmla="*/ 782779 w 1375767"/>
                <a:gd name="connsiteY2009" fmla="*/ 767465 h 1047668"/>
                <a:gd name="connsiteX2010" fmla="*/ 779846 w 1375767"/>
                <a:gd name="connsiteY2010" fmla="*/ 765184 h 1047668"/>
                <a:gd name="connsiteX2011" fmla="*/ 781149 w 1375767"/>
                <a:gd name="connsiteY2011" fmla="*/ 760949 h 1047668"/>
                <a:gd name="connsiteX2012" fmla="*/ 781149 w 1375767"/>
                <a:gd name="connsiteY2012" fmla="*/ 760949 h 1047668"/>
                <a:gd name="connsiteX2013" fmla="*/ 760134 w 1375767"/>
                <a:gd name="connsiteY2013" fmla="*/ 785385 h 1047668"/>
                <a:gd name="connsiteX2014" fmla="*/ 759157 w 1375767"/>
                <a:gd name="connsiteY2014" fmla="*/ 783267 h 1047668"/>
                <a:gd name="connsiteX2015" fmla="*/ 761437 w 1375767"/>
                <a:gd name="connsiteY2015" fmla="*/ 780986 h 1047668"/>
                <a:gd name="connsiteX2016" fmla="*/ 764533 w 1375767"/>
                <a:gd name="connsiteY2016" fmla="*/ 782453 h 1047668"/>
                <a:gd name="connsiteX2017" fmla="*/ 766976 w 1375767"/>
                <a:gd name="connsiteY2017" fmla="*/ 780498 h 1047668"/>
                <a:gd name="connsiteX2018" fmla="*/ 769909 w 1375767"/>
                <a:gd name="connsiteY2018" fmla="*/ 781964 h 1047668"/>
                <a:gd name="connsiteX2019" fmla="*/ 772841 w 1375767"/>
                <a:gd name="connsiteY2019" fmla="*/ 777565 h 1047668"/>
                <a:gd name="connsiteX2020" fmla="*/ 770886 w 1375767"/>
                <a:gd name="connsiteY2020" fmla="*/ 774959 h 1047668"/>
                <a:gd name="connsiteX2021" fmla="*/ 773167 w 1375767"/>
                <a:gd name="connsiteY2021" fmla="*/ 771701 h 1047668"/>
                <a:gd name="connsiteX2022" fmla="*/ 777891 w 1375767"/>
                <a:gd name="connsiteY2022" fmla="*/ 770234 h 1047668"/>
                <a:gd name="connsiteX2023" fmla="*/ 780824 w 1375767"/>
                <a:gd name="connsiteY2023" fmla="*/ 771375 h 1047668"/>
                <a:gd name="connsiteX2024" fmla="*/ 779846 w 1375767"/>
                <a:gd name="connsiteY2024" fmla="*/ 775936 h 1047668"/>
                <a:gd name="connsiteX2025" fmla="*/ 782127 w 1375767"/>
                <a:gd name="connsiteY2025" fmla="*/ 776425 h 1047668"/>
                <a:gd name="connsiteX2026" fmla="*/ 783267 w 1375767"/>
                <a:gd name="connsiteY2026" fmla="*/ 774144 h 1047668"/>
                <a:gd name="connsiteX2027" fmla="*/ 786525 w 1375767"/>
                <a:gd name="connsiteY2027" fmla="*/ 773167 h 1047668"/>
                <a:gd name="connsiteX2028" fmla="*/ 788480 w 1375767"/>
                <a:gd name="connsiteY2028" fmla="*/ 777077 h 1047668"/>
                <a:gd name="connsiteX2029" fmla="*/ 786037 w 1375767"/>
                <a:gd name="connsiteY2029" fmla="*/ 779357 h 1047668"/>
                <a:gd name="connsiteX2030" fmla="*/ 784245 w 1375767"/>
                <a:gd name="connsiteY2030" fmla="*/ 782941 h 1047668"/>
                <a:gd name="connsiteX2031" fmla="*/ 787340 w 1375767"/>
                <a:gd name="connsiteY2031" fmla="*/ 783919 h 1047668"/>
                <a:gd name="connsiteX2032" fmla="*/ 788969 w 1375767"/>
                <a:gd name="connsiteY2032" fmla="*/ 787014 h 1047668"/>
                <a:gd name="connsiteX2033" fmla="*/ 785059 w 1375767"/>
                <a:gd name="connsiteY2033" fmla="*/ 787992 h 1047668"/>
                <a:gd name="connsiteX2034" fmla="*/ 782453 w 1375767"/>
                <a:gd name="connsiteY2034" fmla="*/ 786037 h 1047668"/>
                <a:gd name="connsiteX2035" fmla="*/ 778543 w 1375767"/>
                <a:gd name="connsiteY2035" fmla="*/ 790109 h 1047668"/>
                <a:gd name="connsiteX2036" fmla="*/ 775936 w 1375767"/>
                <a:gd name="connsiteY2036" fmla="*/ 790109 h 1047668"/>
                <a:gd name="connsiteX2037" fmla="*/ 774796 w 1375767"/>
                <a:gd name="connsiteY2037" fmla="*/ 786851 h 1047668"/>
                <a:gd name="connsiteX2038" fmla="*/ 770072 w 1375767"/>
                <a:gd name="connsiteY2038" fmla="*/ 790924 h 1047668"/>
                <a:gd name="connsiteX2039" fmla="*/ 766488 w 1375767"/>
                <a:gd name="connsiteY2039" fmla="*/ 790924 h 1047668"/>
                <a:gd name="connsiteX2040" fmla="*/ 760786 w 1375767"/>
                <a:gd name="connsiteY2040" fmla="*/ 785385 h 1047668"/>
                <a:gd name="connsiteX2041" fmla="*/ 760786 w 1375767"/>
                <a:gd name="connsiteY2041" fmla="*/ 785385 h 1047668"/>
                <a:gd name="connsiteX2042" fmla="*/ 707026 w 1375767"/>
                <a:gd name="connsiteY2042" fmla="*/ 838656 h 1047668"/>
                <a:gd name="connsiteX2043" fmla="*/ 706211 w 1375767"/>
                <a:gd name="connsiteY2043" fmla="*/ 841589 h 1047668"/>
                <a:gd name="connsiteX2044" fmla="*/ 702953 w 1375767"/>
                <a:gd name="connsiteY2044" fmla="*/ 842403 h 1047668"/>
                <a:gd name="connsiteX2045" fmla="*/ 699695 w 1375767"/>
                <a:gd name="connsiteY2045" fmla="*/ 840448 h 1047668"/>
                <a:gd name="connsiteX2046" fmla="*/ 699206 w 1375767"/>
                <a:gd name="connsiteY2046" fmla="*/ 835235 h 1047668"/>
                <a:gd name="connsiteX2047" fmla="*/ 701650 w 1375767"/>
                <a:gd name="connsiteY2047" fmla="*/ 832140 h 1047668"/>
                <a:gd name="connsiteX2048" fmla="*/ 702790 w 1375767"/>
                <a:gd name="connsiteY2048" fmla="*/ 826927 h 1047668"/>
                <a:gd name="connsiteX2049" fmla="*/ 702464 w 1375767"/>
                <a:gd name="connsiteY2049" fmla="*/ 820573 h 1047668"/>
                <a:gd name="connsiteX2050" fmla="*/ 700835 w 1375767"/>
                <a:gd name="connsiteY2050" fmla="*/ 818130 h 1047668"/>
                <a:gd name="connsiteX2051" fmla="*/ 701976 w 1375767"/>
                <a:gd name="connsiteY2051" fmla="*/ 815034 h 1047668"/>
                <a:gd name="connsiteX2052" fmla="*/ 708655 w 1375767"/>
                <a:gd name="connsiteY2052" fmla="*/ 809821 h 1047668"/>
                <a:gd name="connsiteX2053" fmla="*/ 719733 w 1375767"/>
                <a:gd name="connsiteY2053" fmla="*/ 804282 h 1047668"/>
                <a:gd name="connsiteX2054" fmla="*/ 726249 w 1375767"/>
                <a:gd name="connsiteY2054" fmla="*/ 803468 h 1047668"/>
                <a:gd name="connsiteX2055" fmla="*/ 728041 w 1375767"/>
                <a:gd name="connsiteY2055" fmla="*/ 804608 h 1047668"/>
                <a:gd name="connsiteX2056" fmla="*/ 728367 w 1375767"/>
                <a:gd name="connsiteY2056" fmla="*/ 814546 h 1047668"/>
                <a:gd name="connsiteX2057" fmla="*/ 730159 w 1375767"/>
                <a:gd name="connsiteY2057" fmla="*/ 815523 h 1047668"/>
                <a:gd name="connsiteX2058" fmla="*/ 734557 w 1375767"/>
                <a:gd name="connsiteY2058" fmla="*/ 809984 h 1047668"/>
                <a:gd name="connsiteX2059" fmla="*/ 732928 w 1375767"/>
                <a:gd name="connsiteY2059" fmla="*/ 805423 h 1047668"/>
                <a:gd name="connsiteX2060" fmla="*/ 734069 w 1375767"/>
                <a:gd name="connsiteY2060" fmla="*/ 804608 h 1047668"/>
                <a:gd name="connsiteX2061" fmla="*/ 737490 w 1375767"/>
                <a:gd name="connsiteY2061" fmla="*/ 806889 h 1047668"/>
                <a:gd name="connsiteX2062" fmla="*/ 738793 w 1375767"/>
                <a:gd name="connsiteY2062" fmla="*/ 802816 h 1047668"/>
                <a:gd name="connsiteX2063" fmla="*/ 734394 w 1375767"/>
                <a:gd name="connsiteY2063" fmla="*/ 799721 h 1047668"/>
                <a:gd name="connsiteX2064" fmla="*/ 733254 w 1375767"/>
                <a:gd name="connsiteY2064" fmla="*/ 797277 h 1047668"/>
                <a:gd name="connsiteX2065" fmla="*/ 737816 w 1375767"/>
                <a:gd name="connsiteY2065" fmla="*/ 792227 h 1047668"/>
                <a:gd name="connsiteX2066" fmla="*/ 741237 w 1375767"/>
                <a:gd name="connsiteY2066" fmla="*/ 791901 h 1047668"/>
                <a:gd name="connsiteX2067" fmla="*/ 744495 w 1375767"/>
                <a:gd name="connsiteY2067" fmla="*/ 794345 h 1047668"/>
                <a:gd name="connsiteX2068" fmla="*/ 744495 w 1375767"/>
                <a:gd name="connsiteY2068" fmla="*/ 799395 h 1047668"/>
                <a:gd name="connsiteX2069" fmla="*/ 742377 w 1375767"/>
                <a:gd name="connsiteY2069" fmla="*/ 801839 h 1047668"/>
                <a:gd name="connsiteX2070" fmla="*/ 742377 w 1375767"/>
                <a:gd name="connsiteY2070" fmla="*/ 805586 h 1047668"/>
                <a:gd name="connsiteX2071" fmla="*/ 745309 w 1375767"/>
                <a:gd name="connsiteY2071" fmla="*/ 804771 h 1047668"/>
                <a:gd name="connsiteX2072" fmla="*/ 747590 w 1375767"/>
                <a:gd name="connsiteY2072" fmla="*/ 800536 h 1047668"/>
                <a:gd name="connsiteX2073" fmla="*/ 749708 w 1375767"/>
                <a:gd name="connsiteY2073" fmla="*/ 799395 h 1047668"/>
                <a:gd name="connsiteX2074" fmla="*/ 752314 w 1375767"/>
                <a:gd name="connsiteY2074" fmla="*/ 800861 h 1047668"/>
                <a:gd name="connsiteX2075" fmla="*/ 753129 w 1375767"/>
                <a:gd name="connsiteY2075" fmla="*/ 796300 h 1047668"/>
                <a:gd name="connsiteX2076" fmla="*/ 751826 w 1375767"/>
                <a:gd name="connsiteY2076" fmla="*/ 793205 h 1047668"/>
                <a:gd name="connsiteX2077" fmla="*/ 754432 w 1375767"/>
                <a:gd name="connsiteY2077" fmla="*/ 791413 h 1047668"/>
                <a:gd name="connsiteX2078" fmla="*/ 758831 w 1375767"/>
                <a:gd name="connsiteY2078" fmla="*/ 794508 h 1047668"/>
                <a:gd name="connsiteX2079" fmla="*/ 758831 w 1375767"/>
                <a:gd name="connsiteY2079" fmla="*/ 798418 h 1047668"/>
                <a:gd name="connsiteX2080" fmla="*/ 756387 w 1375767"/>
                <a:gd name="connsiteY2080" fmla="*/ 800210 h 1047668"/>
                <a:gd name="connsiteX2081" fmla="*/ 756387 w 1375767"/>
                <a:gd name="connsiteY2081" fmla="*/ 802002 h 1047668"/>
                <a:gd name="connsiteX2082" fmla="*/ 759320 w 1375767"/>
                <a:gd name="connsiteY2082" fmla="*/ 802816 h 1047668"/>
                <a:gd name="connsiteX2083" fmla="*/ 763881 w 1375767"/>
                <a:gd name="connsiteY2083" fmla="*/ 797277 h 1047668"/>
                <a:gd name="connsiteX2084" fmla="*/ 768443 w 1375767"/>
                <a:gd name="connsiteY2084" fmla="*/ 796300 h 1047668"/>
                <a:gd name="connsiteX2085" fmla="*/ 771864 w 1375767"/>
                <a:gd name="connsiteY2085" fmla="*/ 797440 h 1047668"/>
                <a:gd name="connsiteX2086" fmla="*/ 773818 w 1375767"/>
                <a:gd name="connsiteY2086" fmla="*/ 802816 h 1047668"/>
                <a:gd name="connsiteX2087" fmla="*/ 769420 w 1375767"/>
                <a:gd name="connsiteY2087" fmla="*/ 803957 h 1047668"/>
                <a:gd name="connsiteX2088" fmla="*/ 764696 w 1375767"/>
                <a:gd name="connsiteY2088" fmla="*/ 803957 h 1047668"/>
                <a:gd name="connsiteX2089" fmla="*/ 764533 w 1375767"/>
                <a:gd name="connsiteY2089" fmla="*/ 807052 h 1047668"/>
                <a:gd name="connsiteX2090" fmla="*/ 766976 w 1375767"/>
                <a:gd name="connsiteY2090" fmla="*/ 808518 h 1047668"/>
                <a:gd name="connsiteX2091" fmla="*/ 768443 w 1375767"/>
                <a:gd name="connsiteY2091" fmla="*/ 811939 h 1047668"/>
                <a:gd name="connsiteX2092" fmla="*/ 765184 w 1375767"/>
                <a:gd name="connsiteY2092" fmla="*/ 817315 h 1047668"/>
                <a:gd name="connsiteX2093" fmla="*/ 761275 w 1375767"/>
                <a:gd name="connsiteY2093" fmla="*/ 816664 h 1047668"/>
                <a:gd name="connsiteX2094" fmla="*/ 760134 w 1375767"/>
                <a:gd name="connsiteY2094" fmla="*/ 814220 h 1047668"/>
                <a:gd name="connsiteX2095" fmla="*/ 756876 w 1375767"/>
                <a:gd name="connsiteY2095" fmla="*/ 815360 h 1047668"/>
                <a:gd name="connsiteX2096" fmla="*/ 753618 w 1375767"/>
                <a:gd name="connsiteY2096" fmla="*/ 813731 h 1047668"/>
                <a:gd name="connsiteX2097" fmla="*/ 749871 w 1375767"/>
                <a:gd name="connsiteY2097" fmla="*/ 814220 h 1047668"/>
                <a:gd name="connsiteX2098" fmla="*/ 747590 w 1375767"/>
                <a:gd name="connsiteY2098" fmla="*/ 816664 h 1047668"/>
                <a:gd name="connsiteX2099" fmla="*/ 752314 w 1375767"/>
                <a:gd name="connsiteY2099" fmla="*/ 817804 h 1047668"/>
                <a:gd name="connsiteX2100" fmla="*/ 754758 w 1375767"/>
                <a:gd name="connsiteY2100" fmla="*/ 823017 h 1047668"/>
                <a:gd name="connsiteX2101" fmla="*/ 751663 w 1375767"/>
                <a:gd name="connsiteY2101" fmla="*/ 827416 h 1047668"/>
                <a:gd name="connsiteX2102" fmla="*/ 747753 w 1375767"/>
                <a:gd name="connsiteY2102" fmla="*/ 827090 h 1047668"/>
                <a:gd name="connsiteX2103" fmla="*/ 744821 w 1375767"/>
                <a:gd name="connsiteY2103" fmla="*/ 822203 h 1047668"/>
                <a:gd name="connsiteX2104" fmla="*/ 738467 w 1375767"/>
                <a:gd name="connsiteY2104" fmla="*/ 821714 h 1047668"/>
                <a:gd name="connsiteX2105" fmla="*/ 734557 w 1375767"/>
                <a:gd name="connsiteY2105" fmla="*/ 823343 h 1047668"/>
                <a:gd name="connsiteX2106" fmla="*/ 739770 w 1375767"/>
                <a:gd name="connsiteY2106" fmla="*/ 825624 h 1047668"/>
                <a:gd name="connsiteX2107" fmla="*/ 741074 w 1375767"/>
                <a:gd name="connsiteY2107" fmla="*/ 828882 h 1047668"/>
                <a:gd name="connsiteX2108" fmla="*/ 738304 w 1375767"/>
                <a:gd name="connsiteY2108" fmla="*/ 831162 h 1047668"/>
                <a:gd name="connsiteX2109" fmla="*/ 734069 w 1375767"/>
                <a:gd name="connsiteY2109" fmla="*/ 830185 h 1047668"/>
                <a:gd name="connsiteX2110" fmla="*/ 729344 w 1375767"/>
                <a:gd name="connsiteY2110" fmla="*/ 831325 h 1047668"/>
                <a:gd name="connsiteX2111" fmla="*/ 727064 w 1375767"/>
                <a:gd name="connsiteY2111" fmla="*/ 830674 h 1047668"/>
                <a:gd name="connsiteX2112" fmla="*/ 724457 w 1375767"/>
                <a:gd name="connsiteY2112" fmla="*/ 836213 h 1047668"/>
                <a:gd name="connsiteX2113" fmla="*/ 722176 w 1375767"/>
                <a:gd name="connsiteY2113" fmla="*/ 836538 h 1047668"/>
                <a:gd name="connsiteX2114" fmla="*/ 719244 w 1375767"/>
                <a:gd name="connsiteY2114" fmla="*/ 838493 h 1047668"/>
                <a:gd name="connsiteX2115" fmla="*/ 720547 w 1375767"/>
                <a:gd name="connsiteY2115" fmla="*/ 841263 h 1047668"/>
                <a:gd name="connsiteX2116" fmla="*/ 714845 w 1375767"/>
                <a:gd name="connsiteY2116" fmla="*/ 844358 h 1047668"/>
                <a:gd name="connsiteX2117" fmla="*/ 714845 w 1375767"/>
                <a:gd name="connsiteY2117" fmla="*/ 847779 h 1047668"/>
                <a:gd name="connsiteX2118" fmla="*/ 711587 w 1375767"/>
                <a:gd name="connsiteY2118" fmla="*/ 849571 h 1047668"/>
                <a:gd name="connsiteX2119" fmla="*/ 709306 w 1375767"/>
                <a:gd name="connsiteY2119" fmla="*/ 852666 h 1047668"/>
                <a:gd name="connsiteX2120" fmla="*/ 704093 w 1375767"/>
                <a:gd name="connsiteY2120" fmla="*/ 851852 h 1047668"/>
                <a:gd name="connsiteX2121" fmla="*/ 704908 w 1375767"/>
                <a:gd name="connsiteY2121" fmla="*/ 849408 h 1047668"/>
                <a:gd name="connsiteX2122" fmla="*/ 714031 w 1375767"/>
                <a:gd name="connsiteY2122" fmla="*/ 842240 h 1047668"/>
                <a:gd name="connsiteX2123" fmla="*/ 714031 w 1375767"/>
                <a:gd name="connsiteY2123" fmla="*/ 839471 h 1047668"/>
                <a:gd name="connsiteX2124" fmla="*/ 717126 w 1375767"/>
                <a:gd name="connsiteY2124" fmla="*/ 834909 h 1047668"/>
                <a:gd name="connsiteX2125" fmla="*/ 715171 w 1375767"/>
                <a:gd name="connsiteY2125" fmla="*/ 834909 h 1047668"/>
                <a:gd name="connsiteX2126" fmla="*/ 711261 w 1375767"/>
                <a:gd name="connsiteY2126" fmla="*/ 838005 h 1047668"/>
                <a:gd name="connsiteX2127" fmla="*/ 709306 w 1375767"/>
                <a:gd name="connsiteY2127" fmla="*/ 836050 h 1047668"/>
                <a:gd name="connsiteX2128" fmla="*/ 710773 w 1375767"/>
                <a:gd name="connsiteY2128" fmla="*/ 833606 h 1047668"/>
                <a:gd name="connsiteX2129" fmla="*/ 705234 w 1375767"/>
                <a:gd name="connsiteY2129" fmla="*/ 833606 h 1047668"/>
                <a:gd name="connsiteX2130" fmla="*/ 702627 w 1375767"/>
                <a:gd name="connsiteY2130" fmla="*/ 836050 h 1047668"/>
                <a:gd name="connsiteX2131" fmla="*/ 705071 w 1375767"/>
                <a:gd name="connsiteY2131" fmla="*/ 836701 h 1047668"/>
                <a:gd name="connsiteX2132" fmla="*/ 706374 w 1375767"/>
                <a:gd name="connsiteY2132" fmla="*/ 838330 h 1047668"/>
                <a:gd name="connsiteX2133" fmla="*/ 706374 w 1375767"/>
                <a:gd name="connsiteY2133" fmla="*/ 838330 h 1047668"/>
                <a:gd name="connsiteX2134" fmla="*/ 696762 w 1375767"/>
                <a:gd name="connsiteY2134" fmla="*/ 858531 h 1047668"/>
                <a:gd name="connsiteX2135" fmla="*/ 700509 w 1375767"/>
                <a:gd name="connsiteY2135" fmla="*/ 858042 h 1047668"/>
                <a:gd name="connsiteX2136" fmla="*/ 698554 w 1375767"/>
                <a:gd name="connsiteY2136" fmla="*/ 861138 h 1047668"/>
                <a:gd name="connsiteX2137" fmla="*/ 696925 w 1375767"/>
                <a:gd name="connsiteY2137" fmla="*/ 858531 h 1047668"/>
                <a:gd name="connsiteX2138" fmla="*/ 696925 w 1375767"/>
                <a:gd name="connsiteY2138" fmla="*/ 858531 h 1047668"/>
                <a:gd name="connsiteX2139" fmla="*/ 682264 w 1375767"/>
                <a:gd name="connsiteY2139" fmla="*/ 864233 h 1047668"/>
                <a:gd name="connsiteX2140" fmla="*/ 686173 w 1375767"/>
                <a:gd name="connsiteY2140" fmla="*/ 857554 h 1047668"/>
                <a:gd name="connsiteX2141" fmla="*/ 696600 w 1375767"/>
                <a:gd name="connsiteY2141" fmla="*/ 853807 h 1047668"/>
                <a:gd name="connsiteX2142" fmla="*/ 686825 w 1375767"/>
                <a:gd name="connsiteY2142" fmla="*/ 863581 h 1047668"/>
                <a:gd name="connsiteX2143" fmla="*/ 682264 w 1375767"/>
                <a:gd name="connsiteY2143" fmla="*/ 864070 h 1047668"/>
                <a:gd name="connsiteX2144" fmla="*/ 682264 w 1375767"/>
                <a:gd name="connsiteY2144" fmla="*/ 864070 h 1047668"/>
                <a:gd name="connsiteX2145" fmla="*/ 647727 w 1375767"/>
                <a:gd name="connsiteY2145" fmla="*/ 893231 h 1047668"/>
                <a:gd name="connsiteX2146" fmla="*/ 645446 w 1375767"/>
                <a:gd name="connsiteY2146" fmla="*/ 892905 h 1047668"/>
                <a:gd name="connsiteX2147" fmla="*/ 645935 w 1375767"/>
                <a:gd name="connsiteY2147" fmla="*/ 889810 h 1047668"/>
                <a:gd name="connsiteX2148" fmla="*/ 651474 w 1375767"/>
                <a:gd name="connsiteY2148" fmla="*/ 888018 h 1047668"/>
                <a:gd name="connsiteX2149" fmla="*/ 650496 w 1375767"/>
                <a:gd name="connsiteY2149" fmla="*/ 891928 h 1047668"/>
                <a:gd name="connsiteX2150" fmla="*/ 647727 w 1375767"/>
                <a:gd name="connsiteY2150" fmla="*/ 893068 h 1047668"/>
                <a:gd name="connsiteX2151" fmla="*/ 647727 w 1375767"/>
                <a:gd name="connsiteY2151" fmla="*/ 893068 h 1047668"/>
                <a:gd name="connsiteX2152" fmla="*/ 628666 w 1375767"/>
                <a:gd name="connsiteY2152" fmla="*/ 847290 h 1047668"/>
                <a:gd name="connsiteX2153" fmla="*/ 633717 w 1375767"/>
                <a:gd name="connsiteY2153" fmla="*/ 847290 h 1047668"/>
                <a:gd name="connsiteX2154" fmla="*/ 636486 w 1375767"/>
                <a:gd name="connsiteY2154" fmla="*/ 849897 h 1047668"/>
                <a:gd name="connsiteX2155" fmla="*/ 632902 w 1375767"/>
                <a:gd name="connsiteY2155" fmla="*/ 851526 h 1047668"/>
                <a:gd name="connsiteX2156" fmla="*/ 628504 w 1375767"/>
                <a:gd name="connsiteY2156" fmla="*/ 847128 h 1047668"/>
                <a:gd name="connsiteX2157" fmla="*/ 628504 w 1375767"/>
                <a:gd name="connsiteY2157" fmla="*/ 847128 h 1047668"/>
                <a:gd name="connsiteX2158" fmla="*/ 529455 w 1375767"/>
                <a:gd name="connsiteY2158" fmla="*/ 892742 h 1047668"/>
                <a:gd name="connsiteX2159" fmla="*/ 531573 w 1375767"/>
                <a:gd name="connsiteY2159" fmla="*/ 891113 h 1047668"/>
                <a:gd name="connsiteX2160" fmla="*/ 532713 w 1375767"/>
                <a:gd name="connsiteY2160" fmla="*/ 894045 h 1047668"/>
                <a:gd name="connsiteX2161" fmla="*/ 529455 w 1375767"/>
                <a:gd name="connsiteY2161" fmla="*/ 892905 h 1047668"/>
                <a:gd name="connsiteX2162" fmla="*/ 529455 w 1375767"/>
                <a:gd name="connsiteY2162" fmla="*/ 892905 h 1047668"/>
                <a:gd name="connsiteX2163" fmla="*/ 523590 w 1375767"/>
                <a:gd name="connsiteY2163" fmla="*/ 894208 h 1047668"/>
                <a:gd name="connsiteX2164" fmla="*/ 527174 w 1375767"/>
                <a:gd name="connsiteY2164" fmla="*/ 895837 h 1047668"/>
                <a:gd name="connsiteX2165" fmla="*/ 524242 w 1375767"/>
                <a:gd name="connsiteY2165" fmla="*/ 898770 h 1047668"/>
                <a:gd name="connsiteX2166" fmla="*/ 523753 w 1375767"/>
                <a:gd name="connsiteY2166" fmla="*/ 894208 h 1047668"/>
                <a:gd name="connsiteX2167" fmla="*/ 523753 w 1375767"/>
                <a:gd name="connsiteY2167" fmla="*/ 894208 h 1047668"/>
                <a:gd name="connsiteX2168" fmla="*/ 546397 w 1375767"/>
                <a:gd name="connsiteY2168" fmla="*/ 913269 h 1047668"/>
                <a:gd name="connsiteX2169" fmla="*/ 546723 w 1375767"/>
                <a:gd name="connsiteY2169" fmla="*/ 916690 h 1047668"/>
                <a:gd name="connsiteX2170" fmla="*/ 544605 w 1375767"/>
                <a:gd name="connsiteY2170" fmla="*/ 918970 h 1047668"/>
                <a:gd name="connsiteX2171" fmla="*/ 543791 w 1375767"/>
                <a:gd name="connsiteY2171" fmla="*/ 915875 h 1047668"/>
                <a:gd name="connsiteX2172" fmla="*/ 546397 w 1375767"/>
                <a:gd name="connsiteY2172" fmla="*/ 913269 h 1047668"/>
                <a:gd name="connsiteX2173" fmla="*/ 546397 w 1375767"/>
                <a:gd name="connsiteY2173" fmla="*/ 913269 h 1047668"/>
                <a:gd name="connsiteX2174" fmla="*/ 541673 w 1375767"/>
                <a:gd name="connsiteY2174" fmla="*/ 911314 h 1047668"/>
                <a:gd name="connsiteX2175" fmla="*/ 544931 w 1375767"/>
                <a:gd name="connsiteY2175" fmla="*/ 905449 h 1047668"/>
                <a:gd name="connsiteX2176" fmla="*/ 544605 w 1375767"/>
                <a:gd name="connsiteY2176" fmla="*/ 909685 h 1047668"/>
                <a:gd name="connsiteX2177" fmla="*/ 541673 w 1375767"/>
                <a:gd name="connsiteY2177" fmla="*/ 911314 h 1047668"/>
                <a:gd name="connsiteX2178" fmla="*/ 541673 w 1375767"/>
                <a:gd name="connsiteY2178" fmla="*/ 911314 h 1047668"/>
                <a:gd name="connsiteX2179" fmla="*/ 520984 w 1375767"/>
                <a:gd name="connsiteY2179" fmla="*/ 917830 h 1047668"/>
                <a:gd name="connsiteX2180" fmla="*/ 523753 w 1375767"/>
                <a:gd name="connsiteY2180" fmla="*/ 910825 h 1047668"/>
                <a:gd name="connsiteX2181" fmla="*/ 529292 w 1375767"/>
                <a:gd name="connsiteY2181" fmla="*/ 906101 h 1047668"/>
                <a:gd name="connsiteX2182" fmla="*/ 529618 w 1375767"/>
                <a:gd name="connsiteY2182" fmla="*/ 904146 h 1047668"/>
                <a:gd name="connsiteX2183" fmla="*/ 536297 w 1375767"/>
                <a:gd name="connsiteY2183" fmla="*/ 903820 h 1047668"/>
                <a:gd name="connsiteX2184" fmla="*/ 532550 w 1375767"/>
                <a:gd name="connsiteY2184" fmla="*/ 907241 h 1047668"/>
                <a:gd name="connsiteX2185" fmla="*/ 531247 w 1375767"/>
                <a:gd name="connsiteY2185" fmla="*/ 910499 h 1047668"/>
                <a:gd name="connsiteX2186" fmla="*/ 524405 w 1375767"/>
                <a:gd name="connsiteY2186" fmla="*/ 914083 h 1047668"/>
                <a:gd name="connsiteX2187" fmla="*/ 521146 w 1375767"/>
                <a:gd name="connsiteY2187" fmla="*/ 917993 h 1047668"/>
                <a:gd name="connsiteX2188" fmla="*/ 521146 w 1375767"/>
                <a:gd name="connsiteY2188" fmla="*/ 917993 h 1047668"/>
                <a:gd name="connsiteX2189" fmla="*/ 514304 w 1375767"/>
                <a:gd name="connsiteY2189" fmla="*/ 902191 h 1047668"/>
                <a:gd name="connsiteX2190" fmla="*/ 512023 w 1375767"/>
                <a:gd name="connsiteY2190" fmla="*/ 898933 h 1047668"/>
                <a:gd name="connsiteX2191" fmla="*/ 513653 w 1375767"/>
                <a:gd name="connsiteY2191" fmla="*/ 894208 h 1047668"/>
                <a:gd name="connsiteX2192" fmla="*/ 517237 w 1375767"/>
                <a:gd name="connsiteY2192" fmla="*/ 892416 h 1047668"/>
                <a:gd name="connsiteX2193" fmla="*/ 520332 w 1375767"/>
                <a:gd name="connsiteY2193" fmla="*/ 895023 h 1047668"/>
                <a:gd name="connsiteX2194" fmla="*/ 518051 w 1375767"/>
                <a:gd name="connsiteY2194" fmla="*/ 899258 h 1047668"/>
                <a:gd name="connsiteX2195" fmla="*/ 517562 w 1375767"/>
                <a:gd name="connsiteY2195" fmla="*/ 902191 h 1047668"/>
                <a:gd name="connsiteX2196" fmla="*/ 514304 w 1375767"/>
                <a:gd name="connsiteY2196" fmla="*/ 902191 h 1047668"/>
                <a:gd name="connsiteX2197" fmla="*/ 488890 w 1375767"/>
                <a:gd name="connsiteY2197" fmla="*/ 899096 h 1047668"/>
                <a:gd name="connsiteX2198" fmla="*/ 491823 w 1375767"/>
                <a:gd name="connsiteY2198" fmla="*/ 898770 h 1047668"/>
                <a:gd name="connsiteX2199" fmla="*/ 494755 w 1375767"/>
                <a:gd name="connsiteY2199" fmla="*/ 901865 h 1047668"/>
                <a:gd name="connsiteX2200" fmla="*/ 490845 w 1375767"/>
                <a:gd name="connsiteY2200" fmla="*/ 904146 h 1047668"/>
                <a:gd name="connsiteX2201" fmla="*/ 489053 w 1375767"/>
                <a:gd name="connsiteY2201" fmla="*/ 899096 h 1047668"/>
                <a:gd name="connsiteX2202" fmla="*/ 489053 w 1375767"/>
                <a:gd name="connsiteY2202" fmla="*/ 899096 h 1047668"/>
                <a:gd name="connsiteX2203" fmla="*/ 472599 w 1375767"/>
                <a:gd name="connsiteY2203" fmla="*/ 911640 h 1047668"/>
                <a:gd name="connsiteX2204" fmla="*/ 470156 w 1375767"/>
                <a:gd name="connsiteY2204" fmla="*/ 907567 h 1047668"/>
                <a:gd name="connsiteX2205" fmla="*/ 475043 w 1375767"/>
                <a:gd name="connsiteY2205" fmla="*/ 904146 h 1047668"/>
                <a:gd name="connsiteX2206" fmla="*/ 476021 w 1375767"/>
                <a:gd name="connsiteY2206" fmla="*/ 907893 h 1047668"/>
                <a:gd name="connsiteX2207" fmla="*/ 472599 w 1375767"/>
                <a:gd name="connsiteY2207" fmla="*/ 911640 h 1047668"/>
                <a:gd name="connsiteX2208" fmla="*/ 472599 w 1375767"/>
                <a:gd name="connsiteY2208" fmla="*/ 911640 h 1047668"/>
                <a:gd name="connsiteX2209" fmla="*/ 454028 w 1375767"/>
                <a:gd name="connsiteY2209" fmla="*/ 923858 h 1047668"/>
                <a:gd name="connsiteX2210" fmla="*/ 458915 w 1375767"/>
                <a:gd name="connsiteY2210" fmla="*/ 928419 h 1047668"/>
                <a:gd name="connsiteX2211" fmla="*/ 455168 w 1375767"/>
                <a:gd name="connsiteY2211" fmla="*/ 930700 h 1047668"/>
                <a:gd name="connsiteX2212" fmla="*/ 450933 w 1375767"/>
                <a:gd name="connsiteY2212" fmla="*/ 926790 h 1047668"/>
                <a:gd name="connsiteX2213" fmla="*/ 453865 w 1375767"/>
                <a:gd name="connsiteY2213" fmla="*/ 923858 h 1047668"/>
                <a:gd name="connsiteX2214" fmla="*/ 453865 w 1375767"/>
                <a:gd name="connsiteY2214" fmla="*/ 923858 h 1047668"/>
                <a:gd name="connsiteX2215" fmla="*/ 2769 w 1375767"/>
                <a:gd name="connsiteY2215" fmla="*/ 1011503 h 1047668"/>
                <a:gd name="connsiteX2216" fmla="*/ 0 w 1375767"/>
                <a:gd name="connsiteY2216" fmla="*/ 1016716 h 1047668"/>
                <a:gd name="connsiteX2217" fmla="*/ 5050 w 1375767"/>
                <a:gd name="connsiteY2217" fmla="*/ 1015087 h 1047668"/>
                <a:gd name="connsiteX2218" fmla="*/ 2769 w 1375767"/>
                <a:gd name="connsiteY2218" fmla="*/ 1011666 h 1047668"/>
                <a:gd name="connsiteX2219" fmla="*/ 2769 w 1375767"/>
                <a:gd name="connsiteY2219" fmla="*/ 1011666 h 1047668"/>
                <a:gd name="connsiteX2220" fmla="*/ 6353 w 1375767"/>
                <a:gd name="connsiteY2220" fmla="*/ 1000588 h 1047668"/>
                <a:gd name="connsiteX2221" fmla="*/ 3095 w 1375767"/>
                <a:gd name="connsiteY2221" fmla="*/ 1003032 h 1047668"/>
                <a:gd name="connsiteX2222" fmla="*/ 6028 w 1375767"/>
                <a:gd name="connsiteY2222" fmla="*/ 1006778 h 1047668"/>
                <a:gd name="connsiteX2223" fmla="*/ 11241 w 1375767"/>
                <a:gd name="connsiteY2223" fmla="*/ 1002706 h 1047668"/>
                <a:gd name="connsiteX2224" fmla="*/ 6516 w 1375767"/>
                <a:gd name="connsiteY2224" fmla="*/ 1000751 h 1047668"/>
                <a:gd name="connsiteX2225" fmla="*/ 6516 w 1375767"/>
                <a:gd name="connsiteY2225" fmla="*/ 1000751 h 1047668"/>
                <a:gd name="connsiteX2226" fmla="*/ 12870 w 1375767"/>
                <a:gd name="connsiteY2226" fmla="*/ 988696 h 1047668"/>
                <a:gd name="connsiteX2227" fmla="*/ 16128 w 1375767"/>
                <a:gd name="connsiteY2227" fmla="*/ 991954 h 1047668"/>
                <a:gd name="connsiteX2228" fmla="*/ 16780 w 1375767"/>
                <a:gd name="connsiteY2228" fmla="*/ 986741 h 1047668"/>
                <a:gd name="connsiteX2229" fmla="*/ 12707 w 1375767"/>
                <a:gd name="connsiteY2229" fmla="*/ 988533 h 1047668"/>
                <a:gd name="connsiteX2230" fmla="*/ 12707 w 1375767"/>
                <a:gd name="connsiteY2230" fmla="*/ 988533 h 1047668"/>
                <a:gd name="connsiteX2231" fmla="*/ 45126 w 1375767"/>
                <a:gd name="connsiteY2231" fmla="*/ 992443 h 1047668"/>
                <a:gd name="connsiteX2232" fmla="*/ 39098 w 1375767"/>
                <a:gd name="connsiteY2232" fmla="*/ 986089 h 1047668"/>
                <a:gd name="connsiteX2233" fmla="*/ 35351 w 1375767"/>
                <a:gd name="connsiteY2233" fmla="*/ 985600 h 1047668"/>
                <a:gd name="connsiteX2234" fmla="*/ 31604 w 1375767"/>
                <a:gd name="connsiteY2234" fmla="*/ 988859 h 1047668"/>
                <a:gd name="connsiteX2235" fmla="*/ 32582 w 1375767"/>
                <a:gd name="connsiteY2235" fmla="*/ 991628 h 1047668"/>
                <a:gd name="connsiteX2236" fmla="*/ 37958 w 1375767"/>
                <a:gd name="connsiteY2236" fmla="*/ 994072 h 1047668"/>
                <a:gd name="connsiteX2237" fmla="*/ 33722 w 1375767"/>
                <a:gd name="connsiteY2237" fmla="*/ 995212 h 1047668"/>
                <a:gd name="connsiteX2238" fmla="*/ 35188 w 1375767"/>
                <a:gd name="connsiteY2238" fmla="*/ 999122 h 1047668"/>
                <a:gd name="connsiteX2239" fmla="*/ 38935 w 1375767"/>
                <a:gd name="connsiteY2239" fmla="*/ 998307 h 1047668"/>
                <a:gd name="connsiteX2240" fmla="*/ 42031 w 1375767"/>
                <a:gd name="connsiteY2240" fmla="*/ 994397 h 1047668"/>
                <a:gd name="connsiteX2241" fmla="*/ 45126 w 1375767"/>
                <a:gd name="connsiteY2241" fmla="*/ 992605 h 1047668"/>
                <a:gd name="connsiteX2242" fmla="*/ 45126 w 1375767"/>
                <a:gd name="connsiteY2242" fmla="*/ 992605 h 1047668"/>
                <a:gd name="connsiteX2243" fmla="*/ 48058 w 1375767"/>
                <a:gd name="connsiteY2243" fmla="*/ 1002543 h 1047668"/>
                <a:gd name="connsiteX2244" fmla="*/ 50991 w 1375767"/>
                <a:gd name="connsiteY2244" fmla="*/ 1004172 h 1047668"/>
                <a:gd name="connsiteX2245" fmla="*/ 57018 w 1375767"/>
                <a:gd name="connsiteY2245" fmla="*/ 1000262 h 1047668"/>
                <a:gd name="connsiteX2246" fmla="*/ 57670 w 1375767"/>
                <a:gd name="connsiteY2246" fmla="*/ 995701 h 1047668"/>
                <a:gd name="connsiteX2247" fmla="*/ 60439 w 1375767"/>
                <a:gd name="connsiteY2247" fmla="*/ 991628 h 1047668"/>
                <a:gd name="connsiteX2248" fmla="*/ 58647 w 1375767"/>
                <a:gd name="connsiteY2248" fmla="*/ 990325 h 1047668"/>
                <a:gd name="connsiteX2249" fmla="*/ 54086 w 1375767"/>
                <a:gd name="connsiteY2249" fmla="*/ 994886 h 1047668"/>
                <a:gd name="connsiteX2250" fmla="*/ 52131 w 1375767"/>
                <a:gd name="connsiteY2250" fmla="*/ 999448 h 1047668"/>
                <a:gd name="connsiteX2251" fmla="*/ 47895 w 1375767"/>
                <a:gd name="connsiteY2251" fmla="*/ 1002543 h 1047668"/>
                <a:gd name="connsiteX2252" fmla="*/ 47895 w 1375767"/>
                <a:gd name="connsiteY2252" fmla="*/ 1002543 h 1047668"/>
                <a:gd name="connsiteX2253" fmla="*/ 74612 w 1375767"/>
                <a:gd name="connsiteY2253" fmla="*/ 998959 h 1047668"/>
                <a:gd name="connsiteX2254" fmla="*/ 72820 w 1375767"/>
                <a:gd name="connsiteY2254" fmla="*/ 992443 h 1047668"/>
                <a:gd name="connsiteX2255" fmla="*/ 70377 w 1375767"/>
                <a:gd name="connsiteY2255" fmla="*/ 991628 h 1047668"/>
                <a:gd name="connsiteX2256" fmla="*/ 68748 w 1375767"/>
                <a:gd name="connsiteY2256" fmla="*/ 997330 h 1047668"/>
                <a:gd name="connsiteX2257" fmla="*/ 66141 w 1375767"/>
                <a:gd name="connsiteY2257" fmla="*/ 998307 h 1047668"/>
                <a:gd name="connsiteX2258" fmla="*/ 63209 w 1375767"/>
                <a:gd name="connsiteY2258" fmla="*/ 1004661 h 1047668"/>
                <a:gd name="connsiteX2259" fmla="*/ 68585 w 1375767"/>
                <a:gd name="connsiteY2259" fmla="*/ 1004661 h 1047668"/>
                <a:gd name="connsiteX2260" fmla="*/ 74775 w 1375767"/>
                <a:gd name="connsiteY2260" fmla="*/ 999122 h 1047668"/>
                <a:gd name="connsiteX2261" fmla="*/ 74775 w 1375767"/>
                <a:gd name="connsiteY2261" fmla="*/ 999122 h 1047668"/>
                <a:gd name="connsiteX2262" fmla="*/ 136192 w 1375767"/>
                <a:gd name="connsiteY2262" fmla="*/ 997004 h 1047668"/>
                <a:gd name="connsiteX2263" fmla="*/ 135866 w 1375767"/>
                <a:gd name="connsiteY2263" fmla="*/ 992605 h 1047668"/>
                <a:gd name="connsiteX2264" fmla="*/ 139613 w 1375767"/>
                <a:gd name="connsiteY2264" fmla="*/ 990162 h 1047668"/>
                <a:gd name="connsiteX2265" fmla="*/ 138636 w 1375767"/>
                <a:gd name="connsiteY2265" fmla="*/ 984786 h 1047668"/>
                <a:gd name="connsiteX2266" fmla="*/ 135052 w 1375767"/>
                <a:gd name="connsiteY2266" fmla="*/ 983482 h 1047668"/>
                <a:gd name="connsiteX2267" fmla="*/ 130002 w 1375767"/>
                <a:gd name="connsiteY2267" fmla="*/ 986904 h 1047668"/>
                <a:gd name="connsiteX2268" fmla="*/ 129676 w 1375767"/>
                <a:gd name="connsiteY2268" fmla="*/ 990813 h 1047668"/>
                <a:gd name="connsiteX2269" fmla="*/ 127232 w 1375767"/>
                <a:gd name="connsiteY2269" fmla="*/ 992280 h 1047668"/>
                <a:gd name="connsiteX2270" fmla="*/ 124788 w 1375767"/>
                <a:gd name="connsiteY2270" fmla="*/ 991302 h 1047668"/>
                <a:gd name="connsiteX2271" fmla="*/ 120879 w 1375767"/>
                <a:gd name="connsiteY2271" fmla="*/ 995049 h 1047668"/>
                <a:gd name="connsiteX2272" fmla="*/ 117457 w 1375767"/>
                <a:gd name="connsiteY2272" fmla="*/ 995049 h 1047668"/>
                <a:gd name="connsiteX2273" fmla="*/ 113385 w 1375767"/>
                <a:gd name="connsiteY2273" fmla="*/ 993746 h 1047668"/>
                <a:gd name="connsiteX2274" fmla="*/ 111919 w 1375767"/>
                <a:gd name="connsiteY2274" fmla="*/ 996189 h 1047668"/>
                <a:gd name="connsiteX2275" fmla="*/ 115666 w 1375767"/>
                <a:gd name="connsiteY2275" fmla="*/ 998959 h 1047668"/>
                <a:gd name="connsiteX2276" fmla="*/ 118435 w 1375767"/>
                <a:gd name="connsiteY2276" fmla="*/ 997981 h 1047668"/>
                <a:gd name="connsiteX2277" fmla="*/ 123648 w 1375767"/>
                <a:gd name="connsiteY2277" fmla="*/ 998470 h 1047668"/>
                <a:gd name="connsiteX2278" fmla="*/ 129839 w 1375767"/>
                <a:gd name="connsiteY2278" fmla="*/ 996189 h 1047668"/>
                <a:gd name="connsiteX2279" fmla="*/ 136029 w 1375767"/>
                <a:gd name="connsiteY2279" fmla="*/ 997004 h 1047668"/>
                <a:gd name="connsiteX2280" fmla="*/ 136029 w 1375767"/>
                <a:gd name="connsiteY2280" fmla="*/ 997004 h 1047668"/>
                <a:gd name="connsiteX2281" fmla="*/ 144500 w 1375767"/>
                <a:gd name="connsiteY2281" fmla="*/ 998796 h 1047668"/>
                <a:gd name="connsiteX2282" fmla="*/ 156719 w 1375767"/>
                <a:gd name="connsiteY2282" fmla="*/ 1001240 h 1047668"/>
                <a:gd name="connsiteX2283" fmla="*/ 160303 w 1375767"/>
                <a:gd name="connsiteY2283" fmla="*/ 1000425 h 1047668"/>
                <a:gd name="connsiteX2284" fmla="*/ 164212 w 1375767"/>
                <a:gd name="connsiteY2284" fmla="*/ 1003357 h 1047668"/>
                <a:gd name="connsiteX2285" fmla="*/ 158185 w 1375767"/>
                <a:gd name="connsiteY2285" fmla="*/ 1004824 h 1047668"/>
                <a:gd name="connsiteX2286" fmla="*/ 146618 w 1375767"/>
                <a:gd name="connsiteY2286" fmla="*/ 1001891 h 1047668"/>
                <a:gd name="connsiteX2287" fmla="*/ 142546 w 1375767"/>
                <a:gd name="connsiteY2287" fmla="*/ 1003032 h 1047668"/>
                <a:gd name="connsiteX2288" fmla="*/ 139939 w 1375767"/>
                <a:gd name="connsiteY2288" fmla="*/ 1000262 h 1047668"/>
                <a:gd name="connsiteX2289" fmla="*/ 144663 w 1375767"/>
                <a:gd name="connsiteY2289" fmla="*/ 998796 h 1047668"/>
                <a:gd name="connsiteX2290" fmla="*/ 144663 w 1375767"/>
                <a:gd name="connsiteY2290" fmla="*/ 998796 h 1047668"/>
                <a:gd name="connsiteX2291" fmla="*/ 186857 w 1375767"/>
                <a:gd name="connsiteY2291" fmla="*/ 992443 h 1047668"/>
                <a:gd name="connsiteX2292" fmla="*/ 182132 w 1375767"/>
                <a:gd name="connsiteY2292" fmla="*/ 989347 h 1047668"/>
                <a:gd name="connsiteX2293" fmla="*/ 175942 w 1375767"/>
                <a:gd name="connsiteY2293" fmla="*/ 990162 h 1047668"/>
                <a:gd name="connsiteX2294" fmla="*/ 174313 w 1375767"/>
                <a:gd name="connsiteY2294" fmla="*/ 995375 h 1047668"/>
                <a:gd name="connsiteX2295" fmla="*/ 181481 w 1375767"/>
                <a:gd name="connsiteY2295" fmla="*/ 995375 h 1047668"/>
                <a:gd name="connsiteX2296" fmla="*/ 187020 w 1375767"/>
                <a:gd name="connsiteY2296" fmla="*/ 992605 h 1047668"/>
                <a:gd name="connsiteX2297" fmla="*/ 187020 w 1375767"/>
                <a:gd name="connsiteY2297" fmla="*/ 992605 h 1047668"/>
                <a:gd name="connsiteX2298" fmla="*/ 215040 w 1375767"/>
                <a:gd name="connsiteY2298" fmla="*/ 990651 h 1047668"/>
                <a:gd name="connsiteX2299" fmla="*/ 212759 w 1375767"/>
                <a:gd name="connsiteY2299" fmla="*/ 984134 h 1047668"/>
                <a:gd name="connsiteX2300" fmla="*/ 210479 w 1375767"/>
                <a:gd name="connsiteY2300" fmla="*/ 988859 h 1047668"/>
                <a:gd name="connsiteX2301" fmla="*/ 214877 w 1375767"/>
                <a:gd name="connsiteY2301" fmla="*/ 990488 h 1047668"/>
                <a:gd name="connsiteX2302" fmla="*/ 214877 w 1375767"/>
                <a:gd name="connsiteY2302" fmla="*/ 990488 h 1047668"/>
                <a:gd name="connsiteX2303" fmla="*/ 234100 w 1375767"/>
                <a:gd name="connsiteY2303" fmla="*/ 982342 h 1047668"/>
                <a:gd name="connsiteX2304" fmla="*/ 229376 w 1375767"/>
                <a:gd name="connsiteY2304" fmla="*/ 977944 h 1047668"/>
                <a:gd name="connsiteX2305" fmla="*/ 224978 w 1375767"/>
                <a:gd name="connsiteY2305" fmla="*/ 982016 h 1047668"/>
                <a:gd name="connsiteX2306" fmla="*/ 224652 w 1375767"/>
                <a:gd name="connsiteY2306" fmla="*/ 986578 h 1047668"/>
                <a:gd name="connsiteX2307" fmla="*/ 230191 w 1375767"/>
                <a:gd name="connsiteY2307" fmla="*/ 982016 h 1047668"/>
                <a:gd name="connsiteX2308" fmla="*/ 234263 w 1375767"/>
                <a:gd name="connsiteY2308" fmla="*/ 982342 h 1047668"/>
                <a:gd name="connsiteX2309" fmla="*/ 234263 w 1375767"/>
                <a:gd name="connsiteY2309" fmla="*/ 982342 h 1047668"/>
                <a:gd name="connsiteX2310" fmla="*/ 246807 w 1375767"/>
                <a:gd name="connsiteY2310" fmla="*/ 981528 h 1047668"/>
                <a:gd name="connsiteX2311" fmla="*/ 243875 w 1375767"/>
                <a:gd name="connsiteY2311" fmla="*/ 978921 h 1047668"/>
                <a:gd name="connsiteX2312" fmla="*/ 240780 w 1375767"/>
                <a:gd name="connsiteY2312" fmla="*/ 981365 h 1047668"/>
                <a:gd name="connsiteX2313" fmla="*/ 244201 w 1375767"/>
                <a:gd name="connsiteY2313" fmla="*/ 982994 h 1047668"/>
                <a:gd name="connsiteX2314" fmla="*/ 246807 w 1375767"/>
                <a:gd name="connsiteY2314" fmla="*/ 981528 h 1047668"/>
                <a:gd name="connsiteX2315" fmla="*/ 246807 w 1375767"/>
                <a:gd name="connsiteY2315" fmla="*/ 981528 h 1047668"/>
                <a:gd name="connsiteX2316" fmla="*/ 248762 w 1375767"/>
                <a:gd name="connsiteY2316" fmla="*/ 973545 h 1047668"/>
                <a:gd name="connsiteX2317" fmla="*/ 247459 w 1375767"/>
                <a:gd name="connsiteY2317" fmla="*/ 970613 h 1047668"/>
                <a:gd name="connsiteX2318" fmla="*/ 244038 w 1375767"/>
                <a:gd name="connsiteY2318" fmla="*/ 973708 h 1047668"/>
                <a:gd name="connsiteX2319" fmla="*/ 248762 w 1375767"/>
                <a:gd name="connsiteY2319" fmla="*/ 973708 h 1047668"/>
                <a:gd name="connsiteX2320" fmla="*/ 249740 w 1375767"/>
                <a:gd name="connsiteY2320" fmla="*/ 976640 h 1047668"/>
                <a:gd name="connsiteX2321" fmla="*/ 253487 w 1375767"/>
                <a:gd name="connsiteY2321" fmla="*/ 979573 h 1047668"/>
                <a:gd name="connsiteX2322" fmla="*/ 257234 w 1375767"/>
                <a:gd name="connsiteY2322" fmla="*/ 977129 h 1047668"/>
                <a:gd name="connsiteX2323" fmla="*/ 255279 w 1375767"/>
                <a:gd name="connsiteY2323" fmla="*/ 974360 h 1047668"/>
                <a:gd name="connsiteX2324" fmla="*/ 249903 w 1375767"/>
                <a:gd name="connsiteY2324" fmla="*/ 976640 h 1047668"/>
                <a:gd name="connsiteX2325" fmla="*/ 249903 w 1375767"/>
                <a:gd name="connsiteY2325" fmla="*/ 976640 h 1047668"/>
                <a:gd name="connsiteX2326" fmla="*/ 308876 w 1375767"/>
                <a:gd name="connsiteY2326" fmla="*/ 949272 h 1047668"/>
                <a:gd name="connsiteX2327" fmla="*/ 310505 w 1375767"/>
                <a:gd name="connsiteY2327" fmla="*/ 954648 h 1047668"/>
                <a:gd name="connsiteX2328" fmla="*/ 313600 w 1375767"/>
                <a:gd name="connsiteY2328" fmla="*/ 955788 h 1047668"/>
                <a:gd name="connsiteX2329" fmla="*/ 308550 w 1375767"/>
                <a:gd name="connsiteY2329" fmla="*/ 957743 h 1047668"/>
                <a:gd name="connsiteX2330" fmla="*/ 306921 w 1375767"/>
                <a:gd name="connsiteY2330" fmla="*/ 962467 h 1047668"/>
                <a:gd name="connsiteX2331" fmla="*/ 299427 w 1375767"/>
                <a:gd name="connsiteY2331" fmla="*/ 965237 h 1047668"/>
                <a:gd name="connsiteX2332" fmla="*/ 291282 w 1375767"/>
                <a:gd name="connsiteY2332" fmla="*/ 974197 h 1047668"/>
                <a:gd name="connsiteX2333" fmla="*/ 284439 w 1375767"/>
                <a:gd name="connsiteY2333" fmla="*/ 974197 h 1047668"/>
                <a:gd name="connsiteX2334" fmla="*/ 278900 w 1375767"/>
                <a:gd name="connsiteY2334" fmla="*/ 980713 h 1047668"/>
                <a:gd name="connsiteX2335" fmla="*/ 269289 w 1375767"/>
                <a:gd name="connsiteY2335" fmla="*/ 980713 h 1047668"/>
                <a:gd name="connsiteX2336" fmla="*/ 274339 w 1375767"/>
                <a:gd name="connsiteY2336" fmla="*/ 976477 h 1047668"/>
                <a:gd name="connsiteX2337" fmla="*/ 277271 w 1375767"/>
                <a:gd name="connsiteY2337" fmla="*/ 976477 h 1047668"/>
                <a:gd name="connsiteX2338" fmla="*/ 280692 w 1375767"/>
                <a:gd name="connsiteY2338" fmla="*/ 970613 h 1047668"/>
                <a:gd name="connsiteX2339" fmla="*/ 283788 w 1375767"/>
                <a:gd name="connsiteY2339" fmla="*/ 968821 h 1047668"/>
                <a:gd name="connsiteX2340" fmla="*/ 283788 w 1375767"/>
                <a:gd name="connsiteY2340" fmla="*/ 966214 h 1047668"/>
                <a:gd name="connsiteX2341" fmla="*/ 289978 w 1375767"/>
                <a:gd name="connsiteY2341" fmla="*/ 960838 h 1047668"/>
                <a:gd name="connsiteX2342" fmla="*/ 295029 w 1375767"/>
                <a:gd name="connsiteY2342" fmla="*/ 959861 h 1047668"/>
                <a:gd name="connsiteX2343" fmla="*/ 296983 w 1375767"/>
                <a:gd name="connsiteY2343" fmla="*/ 955136 h 1047668"/>
                <a:gd name="connsiteX2344" fmla="*/ 295680 w 1375767"/>
                <a:gd name="connsiteY2344" fmla="*/ 952204 h 1047668"/>
                <a:gd name="connsiteX2345" fmla="*/ 303826 w 1375767"/>
                <a:gd name="connsiteY2345" fmla="*/ 951878 h 1047668"/>
                <a:gd name="connsiteX2346" fmla="*/ 308550 w 1375767"/>
                <a:gd name="connsiteY2346" fmla="*/ 949272 h 1047668"/>
                <a:gd name="connsiteX2347" fmla="*/ 308550 w 1375767"/>
                <a:gd name="connsiteY2347" fmla="*/ 949272 h 1047668"/>
                <a:gd name="connsiteX2348" fmla="*/ 351721 w 1375767"/>
                <a:gd name="connsiteY2348" fmla="*/ 932003 h 1047668"/>
                <a:gd name="connsiteX2349" fmla="*/ 347322 w 1375767"/>
                <a:gd name="connsiteY2349" fmla="*/ 932492 h 1047668"/>
                <a:gd name="connsiteX2350" fmla="*/ 342272 w 1375767"/>
                <a:gd name="connsiteY2350" fmla="*/ 936890 h 1047668"/>
                <a:gd name="connsiteX2351" fmla="*/ 342272 w 1375767"/>
                <a:gd name="connsiteY2351" fmla="*/ 940800 h 1047668"/>
                <a:gd name="connsiteX2352" fmla="*/ 346345 w 1375767"/>
                <a:gd name="connsiteY2352" fmla="*/ 944710 h 1047668"/>
                <a:gd name="connsiteX2353" fmla="*/ 344390 w 1375767"/>
                <a:gd name="connsiteY2353" fmla="*/ 946176 h 1047668"/>
                <a:gd name="connsiteX2354" fmla="*/ 339177 w 1375767"/>
                <a:gd name="connsiteY2354" fmla="*/ 943733 h 1047668"/>
                <a:gd name="connsiteX2355" fmla="*/ 334778 w 1375767"/>
                <a:gd name="connsiteY2355" fmla="*/ 947480 h 1047668"/>
                <a:gd name="connsiteX2356" fmla="*/ 335104 w 1375767"/>
                <a:gd name="connsiteY2356" fmla="*/ 950738 h 1047668"/>
                <a:gd name="connsiteX2357" fmla="*/ 332661 w 1375767"/>
                <a:gd name="connsiteY2357" fmla="*/ 951552 h 1047668"/>
                <a:gd name="connsiteX2358" fmla="*/ 328099 w 1375767"/>
                <a:gd name="connsiteY2358" fmla="*/ 957091 h 1047668"/>
                <a:gd name="connsiteX2359" fmla="*/ 325167 w 1375767"/>
                <a:gd name="connsiteY2359" fmla="*/ 957417 h 1047668"/>
                <a:gd name="connsiteX2360" fmla="*/ 319139 w 1375767"/>
                <a:gd name="connsiteY2360" fmla="*/ 961653 h 1047668"/>
                <a:gd name="connsiteX2361" fmla="*/ 314578 w 1375767"/>
                <a:gd name="connsiteY2361" fmla="*/ 961653 h 1047668"/>
                <a:gd name="connsiteX2362" fmla="*/ 311319 w 1375767"/>
                <a:gd name="connsiteY2362" fmla="*/ 962141 h 1047668"/>
                <a:gd name="connsiteX2363" fmla="*/ 314578 w 1375767"/>
                <a:gd name="connsiteY2363" fmla="*/ 965400 h 1047668"/>
                <a:gd name="connsiteX2364" fmla="*/ 322723 w 1375767"/>
                <a:gd name="connsiteY2364" fmla="*/ 965400 h 1047668"/>
                <a:gd name="connsiteX2365" fmla="*/ 329891 w 1375767"/>
                <a:gd name="connsiteY2365" fmla="*/ 963119 h 1047668"/>
                <a:gd name="connsiteX2366" fmla="*/ 335267 w 1375767"/>
                <a:gd name="connsiteY2366" fmla="*/ 956765 h 1047668"/>
                <a:gd name="connsiteX2367" fmla="*/ 335919 w 1375767"/>
                <a:gd name="connsiteY2367" fmla="*/ 961327 h 1047668"/>
                <a:gd name="connsiteX2368" fmla="*/ 338525 w 1375767"/>
                <a:gd name="connsiteY2368" fmla="*/ 962304 h 1047668"/>
                <a:gd name="connsiteX2369" fmla="*/ 340317 w 1375767"/>
                <a:gd name="connsiteY2369" fmla="*/ 957417 h 1047668"/>
                <a:gd name="connsiteX2370" fmla="*/ 341783 w 1375767"/>
                <a:gd name="connsiteY2370" fmla="*/ 953344 h 1047668"/>
                <a:gd name="connsiteX2371" fmla="*/ 344716 w 1375767"/>
                <a:gd name="connsiteY2371" fmla="*/ 954322 h 1047668"/>
                <a:gd name="connsiteX2372" fmla="*/ 346019 w 1375767"/>
                <a:gd name="connsiteY2372" fmla="*/ 957091 h 1047668"/>
                <a:gd name="connsiteX2373" fmla="*/ 348626 w 1375767"/>
                <a:gd name="connsiteY2373" fmla="*/ 956440 h 1047668"/>
                <a:gd name="connsiteX2374" fmla="*/ 352535 w 1375767"/>
                <a:gd name="connsiteY2374" fmla="*/ 951552 h 1047668"/>
                <a:gd name="connsiteX2375" fmla="*/ 359378 w 1375767"/>
                <a:gd name="connsiteY2375" fmla="*/ 948294 h 1047668"/>
                <a:gd name="connsiteX2376" fmla="*/ 359378 w 1375767"/>
                <a:gd name="connsiteY2376" fmla="*/ 946176 h 1047668"/>
                <a:gd name="connsiteX2377" fmla="*/ 355305 w 1375767"/>
                <a:gd name="connsiteY2377" fmla="*/ 945036 h 1047668"/>
                <a:gd name="connsiteX2378" fmla="*/ 360355 w 1375767"/>
                <a:gd name="connsiteY2378" fmla="*/ 941289 h 1047668"/>
                <a:gd name="connsiteX2379" fmla="*/ 359052 w 1375767"/>
                <a:gd name="connsiteY2379" fmla="*/ 936728 h 1047668"/>
                <a:gd name="connsiteX2380" fmla="*/ 353513 w 1375767"/>
                <a:gd name="connsiteY2380" fmla="*/ 935099 h 1047668"/>
                <a:gd name="connsiteX2381" fmla="*/ 351721 w 1375767"/>
                <a:gd name="connsiteY2381" fmla="*/ 931840 h 1047668"/>
                <a:gd name="connsiteX2382" fmla="*/ 351721 w 1375767"/>
                <a:gd name="connsiteY2382" fmla="*/ 931840 h 1047668"/>
                <a:gd name="connsiteX2383" fmla="*/ 367849 w 1375767"/>
                <a:gd name="connsiteY2383" fmla="*/ 939334 h 1047668"/>
                <a:gd name="connsiteX2384" fmla="*/ 367849 w 1375767"/>
                <a:gd name="connsiteY2384" fmla="*/ 936402 h 1047668"/>
                <a:gd name="connsiteX2385" fmla="*/ 363939 w 1375767"/>
                <a:gd name="connsiteY2385" fmla="*/ 934121 h 1047668"/>
                <a:gd name="connsiteX2386" fmla="*/ 363450 w 1375767"/>
                <a:gd name="connsiteY2386" fmla="*/ 937216 h 1047668"/>
                <a:gd name="connsiteX2387" fmla="*/ 367849 w 1375767"/>
                <a:gd name="connsiteY2387" fmla="*/ 939334 h 1047668"/>
                <a:gd name="connsiteX2388" fmla="*/ 367849 w 1375767"/>
                <a:gd name="connsiteY2388" fmla="*/ 939334 h 1047668"/>
                <a:gd name="connsiteX2389" fmla="*/ 393751 w 1375767"/>
                <a:gd name="connsiteY2389" fmla="*/ 935424 h 1047668"/>
                <a:gd name="connsiteX2390" fmla="*/ 393263 w 1375767"/>
                <a:gd name="connsiteY2390" fmla="*/ 932981 h 1047668"/>
                <a:gd name="connsiteX2391" fmla="*/ 397824 w 1375767"/>
                <a:gd name="connsiteY2391" fmla="*/ 932981 h 1047668"/>
                <a:gd name="connsiteX2392" fmla="*/ 399290 w 1375767"/>
                <a:gd name="connsiteY2392" fmla="*/ 935587 h 1047668"/>
                <a:gd name="connsiteX2393" fmla="*/ 394729 w 1375767"/>
                <a:gd name="connsiteY2393" fmla="*/ 936239 h 1047668"/>
                <a:gd name="connsiteX2394" fmla="*/ 393751 w 1375767"/>
                <a:gd name="connsiteY2394" fmla="*/ 935424 h 1047668"/>
                <a:gd name="connsiteX2395" fmla="*/ 393751 w 1375767"/>
                <a:gd name="connsiteY2395" fmla="*/ 935424 h 1047668"/>
                <a:gd name="connsiteX2396" fmla="*/ 385117 w 1375767"/>
                <a:gd name="connsiteY2396" fmla="*/ 936402 h 1047668"/>
                <a:gd name="connsiteX2397" fmla="*/ 387724 w 1375767"/>
                <a:gd name="connsiteY2397" fmla="*/ 934121 h 1047668"/>
                <a:gd name="connsiteX2398" fmla="*/ 390330 w 1375767"/>
                <a:gd name="connsiteY2398" fmla="*/ 936565 h 1047668"/>
                <a:gd name="connsiteX2399" fmla="*/ 385117 w 1375767"/>
                <a:gd name="connsiteY2399" fmla="*/ 936565 h 1047668"/>
                <a:gd name="connsiteX2400" fmla="*/ 382022 w 1375767"/>
                <a:gd name="connsiteY2400" fmla="*/ 931515 h 1047668"/>
                <a:gd name="connsiteX2401" fmla="*/ 383162 w 1375767"/>
                <a:gd name="connsiteY2401" fmla="*/ 927768 h 1047668"/>
                <a:gd name="connsiteX2402" fmla="*/ 383162 w 1375767"/>
                <a:gd name="connsiteY2402" fmla="*/ 923695 h 1047668"/>
                <a:gd name="connsiteX2403" fmla="*/ 385117 w 1375767"/>
                <a:gd name="connsiteY2403" fmla="*/ 924347 h 1047668"/>
                <a:gd name="connsiteX2404" fmla="*/ 386421 w 1375767"/>
                <a:gd name="connsiteY2404" fmla="*/ 929560 h 1047668"/>
                <a:gd name="connsiteX2405" fmla="*/ 382022 w 1375767"/>
                <a:gd name="connsiteY2405" fmla="*/ 931515 h 1047668"/>
                <a:gd name="connsiteX2406" fmla="*/ 382022 w 1375767"/>
                <a:gd name="connsiteY2406" fmla="*/ 931515 h 1047668"/>
                <a:gd name="connsiteX2407" fmla="*/ 373714 w 1375767"/>
                <a:gd name="connsiteY2407" fmla="*/ 926790 h 1047668"/>
                <a:gd name="connsiteX2408" fmla="*/ 368663 w 1375767"/>
                <a:gd name="connsiteY2408" fmla="*/ 928419 h 1047668"/>
                <a:gd name="connsiteX2409" fmla="*/ 368989 w 1375767"/>
                <a:gd name="connsiteY2409" fmla="*/ 932329 h 1047668"/>
                <a:gd name="connsiteX2410" fmla="*/ 373551 w 1375767"/>
                <a:gd name="connsiteY2410" fmla="*/ 936076 h 1047668"/>
                <a:gd name="connsiteX2411" fmla="*/ 377298 w 1375767"/>
                <a:gd name="connsiteY2411" fmla="*/ 933958 h 1047668"/>
                <a:gd name="connsiteX2412" fmla="*/ 378601 w 1375767"/>
                <a:gd name="connsiteY2412" fmla="*/ 931515 h 1047668"/>
                <a:gd name="connsiteX2413" fmla="*/ 375831 w 1375767"/>
                <a:gd name="connsiteY2413" fmla="*/ 930537 h 1047668"/>
                <a:gd name="connsiteX2414" fmla="*/ 373877 w 1375767"/>
                <a:gd name="connsiteY2414" fmla="*/ 926953 h 1047668"/>
                <a:gd name="connsiteX2415" fmla="*/ 373877 w 1375767"/>
                <a:gd name="connsiteY2415" fmla="*/ 926953 h 1047668"/>
                <a:gd name="connsiteX2416" fmla="*/ 609932 w 1375767"/>
                <a:gd name="connsiteY2416" fmla="*/ 718918 h 1047668"/>
                <a:gd name="connsiteX2417" fmla="*/ 608466 w 1375767"/>
                <a:gd name="connsiteY2417" fmla="*/ 716963 h 1047668"/>
                <a:gd name="connsiteX2418" fmla="*/ 613027 w 1375767"/>
                <a:gd name="connsiteY2418" fmla="*/ 715171 h 1047668"/>
                <a:gd name="connsiteX2419" fmla="*/ 611724 w 1375767"/>
                <a:gd name="connsiteY2419" fmla="*/ 718103 h 1047668"/>
                <a:gd name="connsiteX2420" fmla="*/ 609932 w 1375767"/>
                <a:gd name="connsiteY2420" fmla="*/ 718918 h 1047668"/>
                <a:gd name="connsiteX2421" fmla="*/ 609932 w 1375767"/>
                <a:gd name="connsiteY2421" fmla="*/ 718918 h 1047668"/>
                <a:gd name="connsiteX2422" fmla="*/ 599669 w 1375767"/>
                <a:gd name="connsiteY2422" fmla="*/ 721199 h 1047668"/>
                <a:gd name="connsiteX2423" fmla="*/ 597062 w 1375767"/>
                <a:gd name="connsiteY2423" fmla="*/ 720058 h 1047668"/>
                <a:gd name="connsiteX2424" fmla="*/ 597551 w 1375767"/>
                <a:gd name="connsiteY2424" fmla="*/ 715660 h 1047668"/>
                <a:gd name="connsiteX2425" fmla="*/ 603578 w 1375767"/>
                <a:gd name="connsiteY2425" fmla="*/ 711913 h 1047668"/>
                <a:gd name="connsiteX2426" fmla="*/ 607814 w 1375767"/>
                <a:gd name="connsiteY2426" fmla="*/ 709469 h 1047668"/>
                <a:gd name="connsiteX2427" fmla="*/ 608303 w 1375767"/>
                <a:gd name="connsiteY2427" fmla="*/ 712076 h 1047668"/>
                <a:gd name="connsiteX2428" fmla="*/ 602601 w 1375767"/>
                <a:gd name="connsiteY2428" fmla="*/ 719081 h 1047668"/>
                <a:gd name="connsiteX2429" fmla="*/ 599506 w 1375767"/>
                <a:gd name="connsiteY2429" fmla="*/ 721525 h 1047668"/>
                <a:gd name="connsiteX2430" fmla="*/ 599506 w 1375767"/>
                <a:gd name="connsiteY2430" fmla="*/ 721525 h 1047668"/>
                <a:gd name="connsiteX2431" fmla="*/ 403852 w 1375767"/>
                <a:gd name="connsiteY2431" fmla="*/ 915224 h 1047668"/>
                <a:gd name="connsiteX2432" fmla="*/ 405318 w 1375767"/>
                <a:gd name="connsiteY2432" fmla="*/ 910662 h 1047668"/>
                <a:gd name="connsiteX2433" fmla="*/ 407436 w 1375767"/>
                <a:gd name="connsiteY2433" fmla="*/ 908219 h 1047668"/>
                <a:gd name="connsiteX2434" fmla="*/ 409879 w 1375767"/>
                <a:gd name="connsiteY2434" fmla="*/ 909033 h 1047668"/>
                <a:gd name="connsiteX2435" fmla="*/ 414278 w 1375767"/>
                <a:gd name="connsiteY2435" fmla="*/ 905938 h 1047668"/>
                <a:gd name="connsiteX2436" fmla="*/ 416233 w 1375767"/>
                <a:gd name="connsiteY2436" fmla="*/ 904797 h 1047668"/>
                <a:gd name="connsiteX2437" fmla="*/ 420306 w 1375767"/>
                <a:gd name="connsiteY2437" fmla="*/ 896326 h 1047668"/>
                <a:gd name="connsiteX2438" fmla="*/ 422098 w 1375767"/>
                <a:gd name="connsiteY2438" fmla="*/ 896652 h 1047668"/>
                <a:gd name="connsiteX2439" fmla="*/ 426822 w 1375767"/>
                <a:gd name="connsiteY2439" fmla="*/ 900725 h 1047668"/>
                <a:gd name="connsiteX2440" fmla="*/ 429266 w 1375767"/>
                <a:gd name="connsiteY2440" fmla="*/ 898607 h 1047668"/>
                <a:gd name="connsiteX2441" fmla="*/ 433990 w 1375767"/>
                <a:gd name="connsiteY2441" fmla="*/ 899096 h 1047668"/>
                <a:gd name="connsiteX2442" fmla="*/ 438063 w 1375767"/>
                <a:gd name="connsiteY2442" fmla="*/ 897304 h 1047668"/>
                <a:gd name="connsiteX2443" fmla="*/ 439366 w 1375767"/>
                <a:gd name="connsiteY2443" fmla="*/ 895023 h 1047668"/>
                <a:gd name="connsiteX2444" fmla="*/ 446208 w 1375767"/>
                <a:gd name="connsiteY2444" fmla="*/ 895512 h 1047668"/>
                <a:gd name="connsiteX2445" fmla="*/ 449466 w 1375767"/>
                <a:gd name="connsiteY2445" fmla="*/ 900073 h 1047668"/>
                <a:gd name="connsiteX2446" fmla="*/ 447023 w 1375767"/>
                <a:gd name="connsiteY2446" fmla="*/ 904635 h 1047668"/>
                <a:gd name="connsiteX2447" fmla="*/ 453865 w 1375767"/>
                <a:gd name="connsiteY2447" fmla="*/ 911151 h 1047668"/>
                <a:gd name="connsiteX2448" fmla="*/ 453865 w 1375767"/>
                <a:gd name="connsiteY2448" fmla="*/ 913757 h 1047668"/>
                <a:gd name="connsiteX2449" fmla="*/ 447186 w 1375767"/>
                <a:gd name="connsiteY2449" fmla="*/ 912128 h 1047668"/>
                <a:gd name="connsiteX2450" fmla="*/ 443439 w 1375767"/>
                <a:gd name="connsiteY2450" fmla="*/ 915386 h 1047668"/>
                <a:gd name="connsiteX2451" fmla="*/ 435619 w 1375767"/>
                <a:gd name="connsiteY2451" fmla="*/ 916364 h 1047668"/>
                <a:gd name="connsiteX2452" fmla="*/ 430243 w 1375767"/>
                <a:gd name="connsiteY2452" fmla="*/ 914735 h 1047668"/>
                <a:gd name="connsiteX2453" fmla="*/ 420957 w 1375767"/>
                <a:gd name="connsiteY2453" fmla="*/ 914735 h 1047668"/>
                <a:gd name="connsiteX2454" fmla="*/ 415581 w 1375767"/>
                <a:gd name="connsiteY2454" fmla="*/ 920762 h 1047668"/>
                <a:gd name="connsiteX2455" fmla="*/ 413463 w 1375767"/>
                <a:gd name="connsiteY2455" fmla="*/ 920437 h 1047668"/>
                <a:gd name="connsiteX2456" fmla="*/ 409717 w 1375767"/>
                <a:gd name="connsiteY2456" fmla="*/ 922229 h 1047668"/>
                <a:gd name="connsiteX2457" fmla="*/ 404829 w 1375767"/>
                <a:gd name="connsiteY2457" fmla="*/ 919622 h 1047668"/>
                <a:gd name="connsiteX2458" fmla="*/ 403689 w 1375767"/>
                <a:gd name="connsiteY2458" fmla="*/ 915224 h 10476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  <a:cxn ang="0">
                  <a:pos x="connsiteX1317" y="connsiteY1317"/>
                </a:cxn>
                <a:cxn ang="0">
                  <a:pos x="connsiteX1318" y="connsiteY1318"/>
                </a:cxn>
                <a:cxn ang="0">
                  <a:pos x="connsiteX1319" y="connsiteY1319"/>
                </a:cxn>
                <a:cxn ang="0">
                  <a:pos x="connsiteX1320" y="connsiteY1320"/>
                </a:cxn>
                <a:cxn ang="0">
                  <a:pos x="connsiteX1321" y="connsiteY1321"/>
                </a:cxn>
                <a:cxn ang="0">
                  <a:pos x="connsiteX1322" y="connsiteY1322"/>
                </a:cxn>
                <a:cxn ang="0">
                  <a:pos x="connsiteX1323" y="connsiteY1323"/>
                </a:cxn>
                <a:cxn ang="0">
                  <a:pos x="connsiteX1324" y="connsiteY1324"/>
                </a:cxn>
                <a:cxn ang="0">
                  <a:pos x="connsiteX1325" y="connsiteY1325"/>
                </a:cxn>
                <a:cxn ang="0">
                  <a:pos x="connsiteX1326" y="connsiteY1326"/>
                </a:cxn>
                <a:cxn ang="0">
                  <a:pos x="connsiteX1327" y="connsiteY1327"/>
                </a:cxn>
                <a:cxn ang="0">
                  <a:pos x="connsiteX1328" y="connsiteY1328"/>
                </a:cxn>
                <a:cxn ang="0">
                  <a:pos x="connsiteX1329" y="connsiteY1329"/>
                </a:cxn>
                <a:cxn ang="0">
                  <a:pos x="connsiteX1330" y="connsiteY1330"/>
                </a:cxn>
                <a:cxn ang="0">
                  <a:pos x="connsiteX1331" y="connsiteY1331"/>
                </a:cxn>
                <a:cxn ang="0">
                  <a:pos x="connsiteX1332" y="connsiteY1332"/>
                </a:cxn>
                <a:cxn ang="0">
                  <a:pos x="connsiteX1333" y="connsiteY1333"/>
                </a:cxn>
                <a:cxn ang="0">
                  <a:pos x="connsiteX1334" y="connsiteY1334"/>
                </a:cxn>
                <a:cxn ang="0">
                  <a:pos x="connsiteX1335" y="connsiteY1335"/>
                </a:cxn>
                <a:cxn ang="0">
                  <a:pos x="connsiteX1336" y="connsiteY1336"/>
                </a:cxn>
                <a:cxn ang="0">
                  <a:pos x="connsiteX1337" y="connsiteY1337"/>
                </a:cxn>
                <a:cxn ang="0">
                  <a:pos x="connsiteX1338" y="connsiteY1338"/>
                </a:cxn>
                <a:cxn ang="0">
                  <a:pos x="connsiteX1339" y="connsiteY1339"/>
                </a:cxn>
                <a:cxn ang="0">
                  <a:pos x="connsiteX1340" y="connsiteY1340"/>
                </a:cxn>
                <a:cxn ang="0">
                  <a:pos x="connsiteX1341" y="connsiteY1341"/>
                </a:cxn>
                <a:cxn ang="0">
                  <a:pos x="connsiteX1342" y="connsiteY1342"/>
                </a:cxn>
                <a:cxn ang="0">
                  <a:pos x="connsiteX1343" y="connsiteY1343"/>
                </a:cxn>
                <a:cxn ang="0">
                  <a:pos x="connsiteX1344" y="connsiteY1344"/>
                </a:cxn>
                <a:cxn ang="0">
                  <a:pos x="connsiteX1345" y="connsiteY1345"/>
                </a:cxn>
                <a:cxn ang="0">
                  <a:pos x="connsiteX1346" y="connsiteY1346"/>
                </a:cxn>
                <a:cxn ang="0">
                  <a:pos x="connsiteX1347" y="connsiteY1347"/>
                </a:cxn>
                <a:cxn ang="0">
                  <a:pos x="connsiteX1348" y="connsiteY1348"/>
                </a:cxn>
                <a:cxn ang="0">
                  <a:pos x="connsiteX1349" y="connsiteY1349"/>
                </a:cxn>
                <a:cxn ang="0">
                  <a:pos x="connsiteX1350" y="connsiteY1350"/>
                </a:cxn>
                <a:cxn ang="0">
                  <a:pos x="connsiteX1351" y="connsiteY1351"/>
                </a:cxn>
                <a:cxn ang="0">
                  <a:pos x="connsiteX1352" y="connsiteY1352"/>
                </a:cxn>
                <a:cxn ang="0">
                  <a:pos x="connsiteX1353" y="connsiteY1353"/>
                </a:cxn>
                <a:cxn ang="0">
                  <a:pos x="connsiteX1354" y="connsiteY1354"/>
                </a:cxn>
                <a:cxn ang="0">
                  <a:pos x="connsiteX1355" y="connsiteY1355"/>
                </a:cxn>
                <a:cxn ang="0">
                  <a:pos x="connsiteX1356" y="connsiteY1356"/>
                </a:cxn>
                <a:cxn ang="0">
                  <a:pos x="connsiteX1357" y="connsiteY1357"/>
                </a:cxn>
                <a:cxn ang="0">
                  <a:pos x="connsiteX1358" y="connsiteY1358"/>
                </a:cxn>
                <a:cxn ang="0">
                  <a:pos x="connsiteX1359" y="connsiteY1359"/>
                </a:cxn>
                <a:cxn ang="0">
                  <a:pos x="connsiteX1360" y="connsiteY1360"/>
                </a:cxn>
                <a:cxn ang="0">
                  <a:pos x="connsiteX1361" y="connsiteY1361"/>
                </a:cxn>
                <a:cxn ang="0">
                  <a:pos x="connsiteX1362" y="connsiteY1362"/>
                </a:cxn>
                <a:cxn ang="0">
                  <a:pos x="connsiteX1363" y="connsiteY1363"/>
                </a:cxn>
                <a:cxn ang="0">
                  <a:pos x="connsiteX1364" y="connsiteY1364"/>
                </a:cxn>
                <a:cxn ang="0">
                  <a:pos x="connsiteX1365" y="connsiteY1365"/>
                </a:cxn>
                <a:cxn ang="0">
                  <a:pos x="connsiteX1366" y="connsiteY1366"/>
                </a:cxn>
                <a:cxn ang="0">
                  <a:pos x="connsiteX1367" y="connsiteY1367"/>
                </a:cxn>
                <a:cxn ang="0">
                  <a:pos x="connsiteX1368" y="connsiteY1368"/>
                </a:cxn>
                <a:cxn ang="0">
                  <a:pos x="connsiteX1369" y="connsiteY1369"/>
                </a:cxn>
                <a:cxn ang="0">
                  <a:pos x="connsiteX1370" y="connsiteY1370"/>
                </a:cxn>
                <a:cxn ang="0">
                  <a:pos x="connsiteX1371" y="connsiteY1371"/>
                </a:cxn>
                <a:cxn ang="0">
                  <a:pos x="connsiteX1372" y="connsiteY1372"/>
                </a:cxn>
                <a:cxn ang="0">
                  <a:pos x="connsiteX1373" y="connsiteY1373"/>
                </a:cxn>
                <a:cxn ang="0">
                  <a:pos x="connsiteX1374" y="connsiteY1374"/>
                </a:cxn>
                <a:cxn ang="0">
                  <a:pos x="connsiteX1375" y="connsiteY1375"/>
                </a:cxn>
                <a:cxn ang="0">
                  <a:pos x="connsiteX1376" y="connsiteY1376"/>
                </a:cxn>
                <a:cxn ang="0">
                  <a:pos x="connsiteX1377" y="connsiteY1377"/>
                </a:cxn>
                <a:cxn ang="0">
                  <a:pos x="connsiteX1378" y="connsiteY1378"/>
                </a:cxn>
                <a:cxn ang="0">
                  <a:pos x="connsiteX1379" y="connsiteY1379"/>
                </a:cxn>
                <a:cxn ang="0">
                  <a:pos x="connsiteX1380" y="connsiteY1380"/>
                </a:cxn>
                <a:cxn ang="0">
                  <a:pos x="connsiteX1381" y="connsiteY1381"/>
                </a:cxn>
                <a:cxn ang="0">
                  <a:pos x="connsiteX1382" y="connsiteY1382"/>
                </a:cxn>
                <a:cxn ang="0">
                  <a:pos x="connsiteX1383" y="connsiteY1383"/>
                </a:cxn>
                <a:cxn ang="0">
                  <a:pos x="connsiteX1384" y="connsiteY1384"/>
                </a:cxn>
                <a:cxn ang="0">
                  <a:pos x="connsiteX1385" y="connsiteY1385"/>
                </a:cxn>
                <a:cxn ang="0">
                  <a:pos x="connsiteX1386" y="connsiteY1386"/>
                </a:cxn>
                <a:cxn ang="0">
                  <a:pos x="connsiteX1387" y="connsiteY1387"/>
                </a:cxn>
                <a:cxn ang="0">
                  <a:pos x="connsiteX1388" y="connsiteY1388"/>
                </a:cxn>
                <a:cxn ang="0">
                  <a:pos x="connsiteX1389" y="connsiteY1389"/>
                </a:cxn>
                <a:cxn ang="0">
                  <a:pos x="connsiteX1390" y="connsiteY1390"/>
                </a:cxn>
                <a:cxn ang="0">
                  <a:pos x="connsiteX1391" y="connsiteY1391"/>
                </a:cxn>
                <a:cxn ang="0">
                  <a:pos x="connsiteX1392" y="connsiteY1392"/>
                </a:cxn>
                <a:cxn ang="0">
                  <a:pos x="connsiteX1393" y="connsiteY1393"/>
                </a:cxn>
                <a:cxn ang="0">
                  <a:pos x="connsiteX1394" y="connsiteY1394"/>
                </a:cxn>
                <a:cxn ang="0">
                  <a:pos x="connsiteX1395" y="connsiteY1395"/>
                </a:cxn>
                <a:cxn ang="0">
                  <a:pos x="connsiteX1396" y="connsiteY1396"/>
                </a:cxn>
                <a:cxn ang="0">
                  <a:pos x="connsiteX1397" y="connsiteY1397"/>
                </a:cxn>
                <a:cxn ang="0">
                  <a:pos x="connsiteX1398" y="connsiteY1398"/>
                </a:cxn>
                <a:cxn ang="0">
                  <a:pos x="connsiteX1399" y="connsiteY1399"/>
                </a:cxn>
                <a:cxn ang="0">
                  <a:pos x="connsiteX1400" y="connsiteY1400"/>
                </a:cxn>
                <a:cxn ang="0">
                  <a:pos x="connsiteX1401" y="connsiteY1401"/>
                </a:cxn>
                <a:cxn ang="0">
                  <a:pos x="connsiteX1402" y="connsiteY1402"/>
                </a:cxn>
                <a:cxn ang="0">
                  <a:pos x="connsiteX1403" y="connsiteY1403"/>
                </a:cxn>
                <a:cxn ang="0">
                  <a:pos x="connsiteX1404" y="connsiteY1404"/>
                </a:cxn>
                <a:cxn ang="0">
                  <a:pos x="connsiteX1405" y="connsiteY1405"/>
                </a:cxn>
                <a:cxn ang="0">
                  <a:pos x="connsiteX1406" y="connsiteY1406"/>
                </a:cxn>
                <a:cxn ang="0">
                  <a:pos x="connsiteX1407" y="connsiteY1407"/>
                </a:cxn>
                <a:cxn ang="0">
                  <a:pos x="connsiteX1408" y="connsiteY1408"/>
                </a:cxn>
                <a:cxn ang="0">
                  <a:pos x="connsiteX1409" y="connsiteY1409"/>
                </a:cxn>
                <a:cxn ang="0">
                  <a:pos x="connsiteX1410" y="connsiteY1410"/>
                </a:cxn>
                <a:cxn ang="0">
                  <a:pos x="connsiteX1411" y="connsiteY1411"/>
                </a:cxn>
                <a:cxn ang="0">
                  <a:pos x="connsiteX1412" y="connsiteY1412"/>
                </a:cxn>
                <a:cxn ang="0">
                  <a:pos x="connsiteX1413" y="connsiteY1413"/>
                </a:cxn>
                <a:cxn ang="0">
                  <a:pos x="connsiteX1414" y="connsiteY1414"/>
                </a:cxn>
                <a:cxn ang="0">
                  <a:pos x="connsiteX1415" y="connsiteY1415"/>
                </a:cxn>
                <a:cxn ang="0">
                  <a:pos x="connsiteX1416" y="connsiteY1416"/>
                </a:cxn>
                <a:cxn ang="0">
                  <a:pos x="connsiteX1417" y="connsiteY1417"/>
                </a:cxn>
                <a:cxn ang="0">
                  <a:pos x="connsiteX1418" y="connsiteY1418"/>
                </a:cxn>
                <a:cxn ang="0">
                  <a:pos x="connsiteX1419" y="connsiteY1419"/>
                </a:cxn>
                <a:cxn ang="0">
                  <a:pos x="connsiteX1420" y="connsiteY1420"/>
                </a:cxn>
                <a:cxn ang="0">
                  <a:pos x="connsiteX1421" y="connsiteY1421"/>
                </a:cxn>
                <a:cxn ang="0">
                  <a:pos x="connsiteX1422" y="connsiteY1422"/>
                </a:cxn>
                <a:cxn ang="0">
                  <a:pos x="connsiteX1423" y="connsiteY1423"/>
                </a:cxn>
                <a:cxn ang="0">
                  <a:pos x="connsiteX1424" y="connsiteY1424"/>
                </a:cxn>
                <a:cxn ang="0">
                  <a:pos x="connsiteX1425" y="connsiteY1425"/>
                </a:cxn>
                <a:cxn ang="0">
                  <a:pos x="connsiteX1426" y="connsiteY1426"/>
                </a:cxn>
                <a:cxn ang="0">
                  <a:pos x="connsiteX1427" y="connsiteY1427"/>
                </a:cxn>
                <a:cxn ang="0">
                  <a:pos x="connsiteX1428" y="connsiteY1428"/>
                </a:cxn>
                <a:cxn ang="0">
                  <a:pos x="connsiteX1429" y="connsiteY1429"/>
                </a:cxn>
                <a:cxn ang="0">
                  <a:pos x="connsiteX1430" y="connsiteY1430"/>
                </a:cxn>
                <a:cxn ang="0">
                  <a:pos x="connsiteX1431" y="connsiteY1431"/>
                </a:cxn>
                <a:cxn ang="0">
                  <a:pos x="connsiteX1432" y="connsiteY1432"/>
                </a:cxn>
                <a:cxn ang="0">
                  <a:pos x="connsiteX1433" y="connsiteY1433"/>
                </a:cxn>
                <a:cxn ang="0">
                  <a:pos x="connsiteX1434" y="connsiteY1434"/>
                </a:cxn>
                <a:cxn ang="0">
                  <a:pos x="connsiteX1435" y="connsiteY1435"/>
                </a:cxn>
                <a:cxn ang="0">
                  <a:pos x="connsiteX1436" y="connsiteY1436"/>
                </a:cxn>
                <a:cxn ang="0">
                  <a:pos x="connsiteX1437" y="connsiteY1437"/>
                </a:cxn>
                <a:cxn ang="0">
                  <a:pos x="connsiteX1438" y="connsiteY1438"/>
                </a:cxn>
                <a:cxn ang="0">
                  <a:pos x="connsiteX1439" y="connsiteY1439"/>
                </a:cxn>
                <a:cxn ang="0">
                  <a:pos x="connsiteX1440" y="connsiteY1440"/>
                </a:cxn>
                <a:cxn ang="0">
                  <a:pos x="connsiteX1441" y="connsiteY1441"/>
                </a:cxn>
                <a:cxn ang="0">
                  <a:pos x="connsiteX1442" y="connsiteY1442"/>
                </a:cxn>
                <a:cxn ang="0">
                  <a:pos x="connsiteX1443" y="connsiteY1443"/>
                </a:cxn>
                <a:cxn ang="0">
                  <a:pos x="connsiteX1444" y="connsiteY1444"/>
                </a:cxn>
                <a:cxn ang="0">
                  <a:pos x="connsiteX1445" y="connsiteY1445"/>
                </a:cxn>
                <a:cxn ang="0">
                  <a:pos x="connsiteX1446" y="connsiteY1446"/>
                </a:cxn>
                <a:cxn ang="0">
                  <a:pos x="connsiteX1447" y="connsiteY1447"/>
                </a:cxn>
                <a:cxn ang="0">
                  <a:pos x="connsiteX1448" y="connsiteY1448"/>
                </a:cxn>
                <a:cxn ang="0">
                  <a:pos x="connsiteX1449" y="connsiteY1449"/>
                </a:cxn>
                <a:cxn ang="0">
                  <a:pos x="connsiteX1450" y="connsiteY1450"/>
                </a:cxn>
                <a:cxn ang="0">
                  <a:pos x="connsiteX1451" y="connsiteY1451"/>
                </a:cxn>
                <a:cxn ang="0">
                  <a:pos x="connsiteX1452" y="connsiteY1452"/>
                </a:cxn>
                <a:cxn ang="0">
                  <a:pos x="connsiteX1453" y="connsiteY1453"/>
                </a:cxn>
                <a:cxn ang="0">
                  <a:pos x="connsiteX1454" y="connsiteY1454"/>
                </a:cxn>
                <a:cxn ang="0">
                  <a:pos x="connsiteX1455" y="connsiteY1455"/>
                </a:cxn>
                <a:cxn ang="0">
                  <a:pos x="connsiteX1456" y="connsiteY1456"/>
                </a:cxn>
                <a:cxn ang="0">
                  <a:pos x="connsiteX1457" y="connsiteY1457"/>
                </a:cxn>
                <a:cxn ang="0">
                  <a:pos x="connsiteX1458" y="connsiteY1458"/>
                </a:cxn>
                <a:cxn ang="0">
                  <a:pos x="connsiteX1459" y="connsiteY1459"/>
                </a:cxn>
                <a:cxn ang="0">
                  <a:pos x="connsiteX1460" y="connsiteY1460"/>
                </a:cxn>
                <a:cxn ang="0">
                  <a:pos x="connsiteX1461" y="connsiteY1461"/>
                </a:cxn>
                <a:cxn ang="0">
                  <a:pos x="connsiteX1462" y="connsiteY1462"/>
                </a:cxn>
                <a:cxn ang="0">
                  <a:pos x="connsiteX1463" y="connsiteY1463"/>
                </a:cxn>
                <a:cxn ang="0">
                  <a:pos x="connsiteX1464" y="connsiteY1464"/>
                </a:cxn>
                <a:cxn ang="0">
                  <a:pos x="connsiteX1465" y="connsiteY1465"/>
                </a:cxn>
                <a:cxn ang="0">
                  <a:pos x="connsiteX1466" y="connsiteY1466"/>
                </a:cxn>
                <a:cxn ang="0">
                  <a:pos x="connsiteX1467" y="connsiteY1467"/>
                </a:cxn>
                <a:cxn ang="0">
                  <a:pos x="connsiteX1468" y="connsiteY1468"/>
                </a:cxn>
                <a:cxn ang="0">
                  <a:pos x="connsiteX1469" y="connsiteY1469"/>
                </a:cxn>
                <a:cxn ang="0">
                  <a:pos x="connsiteX1470" y="connsiteY1470"/>
                </a:cxn>
                <a:cxn ang="0">
                  <a:pos x="connsiteX1471" y="connsiteY1471"/>
                </a:cxn>
                <a:cxn ang="0">
                  <a:pos x="connsiteX1472" y="connsiteY1472"/>
                </a:cxn>
                <a:cxn ang="0">
                  <a:pos x="connsiteX1473" y="connsiteY1473"/>
                </a:cxn>
                <a:cxn ang="0">
                  <a:pos x="connsiteX1474" y="connsiteY1474"/>
                </a:cxn>
                <a:cxn ang="0">
                  <a:pos x="connsiteX1475" y="connsiteY1475"/>
                </a:cxn>
                <a:cxn ang="0">
                  <a:pos x="connsiteX1476" y="connsiteY1476"/>
                </a:cxn>
                <a:cxn ang="0">
                  <a:pos x="connsiteX1477" y="connsiteY1477"/>
                </a:cxn>
                <a:cxn ang="0">
                  <a:pos x="connsiteX1478" y="connsiteY1478"/>
                </a:cxn>
                <a:cxn ang="0">
                  <a:pos x="connsiteX1479" y="connsiteY1479"/>
                </a:cxn>
                <a:cxn ang="0">
                  <a:pos x="connsiteX1480" y="connsiteY1480"/>
                </a:cxn>
                <a:cxn ang="0">
                  <a:pos x="connsiteX1481" y="connsiteY1481"/>
                </a:cxn>
                <a:cxn ang="0">
                  <a:pos x="connsiteX1482" y="connsiteY1482"/>
                </a:cxn>
                <a:cxn ang="0">
                  <a:pos x="connsiteX1483" y="connsiteY1483"/>
                </a:cxn>
                <a:cxn ang="0">
                  <a:pos x="connsiteX1484" y="connsiteY1484"/>
                </a:cxn>
                <a:cxn ang="0">
                  <a:pos x="connsiteX1485" y="connsiteY1485"/>
                </a:cxn>
                <a:cxn ang="0">
                  <a:pos x="connsiteX1486" y="connsiteY1486"/>
                </a:cxn>
                <a:cxn ang="0">
                  <a:pos x="connsiteX1487" y="connsiteY1487"/>
                </a:cxn>
                <a:cxn ang="0">
                  <a:pos x="connsiteX1488" y="connsiteY1488"/>
                </a:cxn>
                <a:cxn ang="0">
                  <a:pos x="connsiteX1489" y="connsiteY1489"/>
                </a:cxn>
                <a:cxn ang="0">
                  <a:pos x="connsiteX1490" y="connsiteY1490"/>
                </a:cxn>
                <a:cxn ang="0">
                  <a:pos x="connsiteX1491" y="connsiteY1491"/>
                </a:cxn>
                <a:cxn ang="0">
                  <a:pos x="connsiteX1492" y="connsiteY1492"/>
                </a:cxn>
                <a:cxn ang="0">
                  <a:pos x="connsiteX1493" y="connsiteY1493"/>
                </a:cxn>
                <a:cxn ang="0">
                  <a:pos x="connsiteX1494" y="connsiteY1494"/>
                </a:cxn>
                <a:cxn ang="0">
                  <a:pos x="connsiteX1495" y="connsiteY1495"/>
                </a:cxn>
                <a:cxn ang="0">
                  <a:pos x="connsiteX1496" y="connsiteY1496"/>
                </a:cxn>
                <a:cxn ang="0">
                  <a:pos x="connsiteX1497" y="connsiteY1497"/>
                </a:cxn>
                <a:cxn ang="0">
                  <a:pos x="connsiteX1498" y="connsiteY1498"/>
                </a:cxn>
                <a:cxn ang="0">
                  <a:pos x="connsiteX1499" y="connsiteY1499"/>
                </a:cxn>
                <a:cxn ang="0">
                  <a:pos x="connsiteX1500" y="connsiteY1500"/>
                </a:cxn>
                <a:cxn ang="0">
                  <a:pos x="connsiteX1501" y="connsiteY1501"/>
                </a:cxn>
                <a:cxn ang="0">
                  <a:pos x="connsiteX1502" y="connsiteY1502"/>
                </a:cxn>
                <a:cxn ang="0">
                  <a:pos x="connsiteX1503" y="connsiteY1503"/>
                </a:cxn>
                <a:cxn ang="0">
                  <a:pos x="connsiteX1504" y="connsiteY1504"/>
                </a:cxn>
                <a:cxn ang="0">
                  <a:pos x="connsiteX1505" y="connsiteY1505"/>
                </a:cxn>
                <a:cxn ang="0">
                  <a:pos x="connsiteX1506" y="connsiteY1506"/>
                </a:cxn>
                <a:cxn ang="0">
                  <a:pos x="connsiteX1507" y="connsiteY1507"/>
                </a:cxn>
                <a:cxn ang="0">
                  <a:pos x="connsiteX1508" y="connsiteY1508"/>
                </a:cxn>
                <a:cxn ang="0">
                  <a:pos x="connsiteX1509" y="connsiteY1509"/>
                </a:cxn>
                <a:cxn ang="0">
                  <a:pos x="connsiteX1510" y="connsiteY1510"/>
                </a:cxn>
                <a:cxn ang="0">
                  <a:pos x="connsiteX1511" y="connsiteY1511"/>
                </a:cxn>
                <a:cxn ang="0">
                  <a:pos x="connsiteX1512" y="connsiteY1512"/>
                </a:cxn>
                <a:cxn ang="0">
                  <a:pos x="connsiteX1513" y="connsiteY1513"/>
                </a:cxn>
                <a:cxn ang="0">
                  <a:pos x="connsiteX1514" y="connsiteY1514"/>
                </a:cxn>
                <a:cxn ang="0">
                  <a:pos x="connsiteX1515" y="connsiteY1515"/>
                </a:cxn>
                <a:cxn ang="0">
                  <a:pos x="connsiteX1516" y="connsiteY1516"/>
                </a:cxn>
                <a:cxn ang="0">
                  <a:pos x="connsiteX1517" y="connsiteY1517"/>
                </a:cxn>
                <a:cxn ang="0">
                  <a:pos x="connsiteX1518" y="connsiteY1518"/>
                </a:cxn>
                <a:cxn ang="0">
                  <a:pos x="connsiteX1519" y="connsiteY1519"/>
                </a:cxn>
                <a:cxn ang="0">
                  <a:pos x="connsiteX1520" y="connsiteY1520"/>
                </a:cxn>
                <a:cxn ang="0">
                  <a:pos x="connsiteX1521" y="connsiteY1521"/>
                </a:cxn>
                <a:cxn ang="0">
                  <a:pos x="connsiteX1522" y="connsiteY1522"/>
                </a:cxn>
                <a:cxn ang="0">
                  <a:pos x="connsiteX1523" y="connsiteY1523"/>
                </a:cxn>
                <a:cxn ang="0">
                  <a:pos x="connsiteX1524" y="connsiteY1524"/>
                </a:cxn>
                <a:cxn ang="0">
                  <a:pos x="connsiteX1525" y="connsiteY1525"/>
                </a:cxn>
                <a:cxn ang="0">
                  <a:pos x="connsiteX1526" y="connsiteY1526"/>
                </a:cxn>
                <a:cxn ang="0">
                  <a:pos x="connsiteX1527" y="connsiteY1527"/>
                </a:cxn>
                <a:cxn ang="0">
                  <a:pos x="connsiteX1528" y="connsiteY1528"/>
                </a:cxn>
                <a:cxn ang="0">
                  <a:pos x="connsiteX1529" y="connsiteY1529"/>
                </a:cxn>
                <a:cxn ang="0">
                  <a:pos x="connsiteX1530" y="connsiteY1530"/>
                </a:cxn>
                <a:cxn ang="0">
                  <a:pos x="connsiteX1531" y="connsiteY1531"/>
                </a:cxn>
                <a:cxn ang="0">
                  <a:pos x="connsiteX1532" y="connsiteY1532"/>
                </a:cxn>
                <a:cxn ang="0">
                  <a:pos x="connsiteX1533" y="connsiteY1533"/>
                </a:cxn>
                <a:cxn ang="0">
                  <a:pos x="connsiteX1534" y="connsiteY1534"/>
                </a:cxn>
                <a:cxn ang="0">
                  <a:pos x="connsiteX1535" y="connsiteY1535"/>
                </a:cxn>
                <a:cxn ang="0">
                  <a:pos x="connsiteX1536" y="connsiteY1536"/>
                </a:cxn>
                <a:cxn ang="0">
                  <a:pos x="connsiteX1537" y="connsiteY1537"/>
                </a:cxn>
                <a:cxn ang="0">
                  <a:pos x="connsiteX1538" y="connsiteY1538"/>
                </a:cxn>
                <a:cxn ang="0">
                  <a:pos x="connsiteX1539" y="connsiteY1539"/>
                </a:cxn>
                <a:cxn ang="0">
                  <a:pos x="connsiteX1540" y="connsiteY1540"/>
                </a:cxn>
                <a:cxn ang="0">
                  <a:pos x="connsiteX1541" y="connsiteY1541"/>
                </a:cxn>
                <a:cxn ang="0">
                  <a:pos x="connsiteX1542" y="connsiteY1542"/>
                </a:cxn>
                <a:cxn ang="0">
                  <a:pos x="connsiteX1543" y="connsiteY1543"/>
                </a:cxn>
                <a:cxn ang="0">
                  <a:pos x="connsiteX1544" y="connsiteY1544"/>
                </a:cxn>
                <a:cxn ang="0">
                  <a:pos x="connsiteX1545" y="connsiteY1545"/>
                </a:cxn>
                <a:cxn ang="0">
                  <a:pos x="connsiteX1546" y="connsiteY1546"/>
                </a:cxn>
                <a:cxn ang="0">
                  <a:pos x="connsiteX1547" y="connsiteY1547"/>
                </a:cxn>
                <a:cxn ang="0">
                  <a:pos x="connsiteX1548" y="connsiteY1548"/>
                </a:cxn>
                <a:cxn ang="0">
                  <a:pos x="connsiteX1549" y="connsiteY1549"/>
                </a:cxn>
                <a:cxn ang="0">
                  <a:pos x="connsiteX1550" y="connsiteY1550"/>
                </a:cxn>
                <a:cxn ang="0">
                  <a:pos x="connsiteX1551" y="connsiteY1551"/>
                </a:cxn>
                <a:cxn ang="0">
                  <a:pos x="connsiteX1552" y="connsiteY1552"/>
                </a:cxn>
                <a:cxn ang="0">
                  <a:pos x="connsiteX1553" y="connsiteY1553"/>
                </a:cxn>
                <a:cxn ang="0">
                  <a:pos x="connsiteX1554" y="connsiteY1554"/>
                </a:cxn>
                <a:cxn ang="0">
                  <a:pos x="connsiteX1555" y="connsiteY1555"/>
                </a:cxn>
                <a:cxn ang="0">
                  <a:pos x="connsiteX1556" y="connsiteY1556"/>
                </a:cxn>
                <a:cxn ang="0">
                  <a:pos x="connsiteX1557" y="connsiteY1557"/>
                </a:cxn>
                <a:cxn ang="0">
                  <a:pos x="connsiteX1558" y="connsiteY1558"/>
                </a:cxn>
                <a:cxn ang="0">
                  <a:pos x="connsiteX1559" y="connsiteY1559"/>
                </a:cxn>
                <a:cxn ang="0">
                  <a:pos x="connsiteX1560" y="connsiteY1560"/>
                </a:cxn>
                <a:cxn ang="0">
                  <a:pos x="connsiteX1561" y="connsiteY1561"/>
                </a:cxn>
                <a:cxn ang="0">
                  <a:pos x="connsiteX1562" y="connsiteY1562"/>
                </a:cxn>
                <a:cxn ang="0">
                  <a:pos x="connsiteX1563" y="connsiteY1563"/>
                </a:cxn>
                <a:cxn ang="0">
                  <a:pos x="connsiteX1564" y="connsiteY1564"/>
                </a:cxn>
                <a:cxn ang="0">
                  <a:pos x="connsiteX1565" y="connsiteY1565"/>
                </a:cxn>
                <a:cxn ang="0">
                  <a:pos x="connsiteX1566" y="connsiteY1566"/>
                </a:cxn>
                <a:cxn ang="0">
                  <a:pos x="connsiteX1567" y="connsiteY1567"/>
                </a:cxn>
                <a:cxn ang="0">
                  <a:pos x="connsiteX1568" y="connsiteY1568"/>
                </a:cxn>
                <a:cxn ang="0">
                  <a:pos x="connsiteX1569" y="connsiteY1569"/>
                </a:cxn>
                <a:cxn ang="0">
                  <a:pos x="connsiteX1570" y="connsiteY1570"/>
                </a:cxn>
                <a:cxn ang="0">
                  <a:pos x="connsiteX1571" y="connsiteY1571"/>
                </a:cxn>
                <a:cxn ang="0">
                  <a:pos x="connsiteX1572" y="connsiteY1572"/>
                </a:cxn>
                <a:cxn ang="0">
                  <a:pos x="connsiteX1573" y="connsiteY1573"/>
                </a:cxn>
                <a:cxn ang="0">
                  <a:pos x="connsiteX1574" y="connsiteY1574"/>
                </a:cxn>
                <a:cxn ang="0">
                  <a:pos x="connsiteX1575" y="connsiteY1575"/>
                </a:cxn>
                <a:cxn ang="0">
                  <a:pos x="connsiteX1576" y="connsiteY1576"/>
                </a:cxn>
                <a:cxn ang="0">
                  <a:pos x="connsiteX1577" y="connsiteY1577"/>
                </a:cxn>
                <a:cxn ang="0">
                  <a:pos x="connsiteX1578" y="connsiteY1578"/>
                </a:cxn>
                <a:cxn ang="0">
                  <a:pos x="connsiteX1579" y="connsiteY1579"/>
                </a:cxn>
                <a:cxn ang="0">
                  <a:pos x="connsiteX1580" y="connsiteY1580"/>
                </a:cxn>
                <a:cxn ang="0">
                  <a:pos x="connsiteX1581" y="connsiteY1581"/>
                </a:cxn>
                <a:cxn ang="0">
                  <a:pos x="connsiteX1582" y="connsiteY1582"/>
                </a:cxn>
                <a:cxn ang="0">
                  <a:pos x="connsiteX1583" y="connsiteY1583"/>
                </a:cxn>
                <a:cxn ang="0">
                  <a:pos x="connsiteX1584" y="connsiteY1584"/>
                </a:cxn>
                <a:cxn ang="0">
                  <a:pos x="connsiteX1585" y="connsiteY1585"/>
                </a:cxn>
                <a:cxn ang="0">
                  <a:pos x="connsiteX1586" y="connsiteY1586"/>
                </a:cxn>
                <a:cxn ang="0">
                  <a:pos x="connsiteX1587" y="connsiteY1587"/>
                </a:cxn>
                <a:cxn ang="0">
                  <a:pos x="connsiteX1588" y="connsiteY1588"/>
                </a:cxn>
                <a:cxn ang="0">
                  <a:pos x="connsiteX1589" y="connsiteY1589"/>
                </a:cxn>
                <a:cxn ang="0">
                  <a:pos x="connsiteX1590" y="connsiteY1590"/>
                </a:cxn>
                <a:cxn ang="0">
                  <a:pos x="connsiteX1591" y="connsiteY1591"/>
                </a:cxn>
                <a:cxn ang="0">
                  <a:pos x="connsiteX1592" y="connsiteY1592"/>
                </a:cxn>
                <a:cxn ang="0">
                  <a:pos x="connsiteX1593" y="connsiteY1593"/>
                </a:cxn>
                <a:cxn ang="0">
                  <a:pos x="connsiteX1594" y="connsiteY1594"/>
                </a:cxn>
                <a:cxn ang="0">
                  <a:pos x="connsiteX1595" y="connsiteY1595"/>
                </a:cxn>
                <a:cxn ang="0">
                  <a:pos x="connsiteX1596" y="connsiteY1596"/>
                </a:cxn>
                <a:cxn ang="0">
                  <a:pos x="connsiteX1597" y="connsiteY1597"/>
                </a:cxn>
                <a:cxn ang="0">
                  <a:pos x="connsiteX1598" y="connsiteY1598"/>
                </a:cxn>
                <a:cxn ang="0">
                  <a:pos x="connsiteX1599" y="connsiteY1599"/>
                </a:cxn>
                <a:cxn ang="0">
                  <a:pos x="connsiteX1600" y="connsiteY1600"/>
                </a:cxn>
                <a:cxn ang="0">
                  <a:pos x="connsiteX1601" y="connsiteY1601"/>
                </a:cxn>
                <a:cxn ang="0">
                  <a:pos x="connsiteX1602" y="connsiteY1602"/>
                </a:cxn>
                <a:cxn ang="0">
                  <a:pos x="connsiteX1603" y="connsiteY1603"/>
                </a:cxn>
                <a:cxn ang="0">
                  <a:pos x="connsiteX1604" y="connsiteY1604"/>
                </a:cxn>
                <a:cxn ang="0">
                  <a:pos x="connsiteX1605" y="connsiteY1605"/>
                </a:cxn>
                <a:cxn ang="0">
                  <a:pos x="connsiteX1606" y="connsiteY1606"/>
                </a:cxn>
                <a:cxn ang="0">
                  <a:pos x="connsiteX1607" y="connsiteY1607"/>
                </a:cxn>
                <a:cxn ang="0">
                  <a:pos x="connsiteX1608" y="connsiteY1608"/>
                </a:cxn>
                <a:cxn ang="0">
                  <a:pos x="connsiteX1609" y="connsiteY1609"/>
                </a:cxn>
                <a:cxn ang="0">
                  <a:pos x="connsiteX1610" y="connsiteY1610"/>
                </a:cxn>
                <a:cxn ang="0">
                  <a:pos x="connsiteX1611" y="connsiteY1611"/>
                </a:cxn>
                <a:cxn ang="0">
                  <a:pos x="connsiteX1612" y="connsiteY1612"/>
                </a:cxn>
                <a:cxn ang="0">
                  <a:pos x="connsiteX1613" y="connsiteY1613"/>
                </a:cxn>
                <a:cxn ang="0">
                  <a:pos x="connsiteX1614" y="connsiteY1614"/>
                </a:cxn>
                <a:cxn ang="0">
                  <a:pos x="connsiteX1615" y="connsiteY1615"/>
                </a:cxn>
                <a:cxn ang="0">
                  <a:pos x="connsiteX1616" y="connsiteY1616"/>
                </a:cxn>
                <a:cxn ang="0">
                  <a:pos x="connsiteX1617" y="connsiteY1617"/>
                </a:cxn>
                <a:cxn ang="0">
                  <a:pos x="connsiteX1618" y="connsiteY1618"/>
                </a:cxn>
                <a:cxn ang="0">
                  <a:pos x="connsiteX1619" y="connsiteY1619"/>
                </a:cxn>
                <a:cxn ang="0">
                  <a:pos x="connsiteX1620" y="connsiteY1620"/>
                </a:cxn>
                <a:cxn ang="0">
                  <a:pos x="connsiteX1621" y="connsiteY1621"/>
                </a:cxn>
                <a:cxn ang="0">
                  <a:pos x="connsiteX1622" y="connsiteY1622"/>
                </a:cxn>
                <a:cxn ang="0">
                  <a:pos x="connsiteX1623" y="connsiteY1623"/>
                </a:cxn>
                <a:cxn ang="0">
                  <a:pos x="connsiteX1624" y="connsiteY1624"/>
                </a:cxn>
                <a:cxn ang="0">
                  <a:pos x="connsiteX1625" y="connsiteY1625"/>
                </a:cxn>
                <a:cxn ang="0">
                  <a:pos x="connsiteX1626" y="connsiteY1626"/>
                </a:cxn>
                <a:cxn ang="0">
                  <a:pos x="connsiteX1627" y="connsiteY1627"/>
                </a:cxn>
                <a:cxn ang="0">
                  <a:pos x="connsiteX1628" y="connsiteY1628"/>
                </a:cxn>
                <a:cxn ang="0">
                  <a:pos x="connsiteX1629" y="connsiteY1629"/>
                </a:cxn>
                <a:cxn ang="0">
                  <a:pos x="connsiteX1630" y="connsiteY1630"/>
                </a:cxn>
                <a:cxn ang="0">
                  <a:pos x="connsiteX1631" y="connsiteY1631"/>
                </a:cxn>
                <a:cxn ang="0">
                  <a:pos x="connsiteX1632" y="connsiteY1632"/>
                </a:cxn>
                <a:cxn ang="0">
                  <a:pos x="connsiteX1633" y="connsiteY1633"/>
                </a:cxn>
                <a:cxn ang="0">
                  <a:pos x="connsiteX1634" y="connsiteY1634"/>
                </a:cxn>
                <a:cxn ang="0">
                  <a:pos x="connsiteX1635" y="connsiteY1635"/>
                </a:cxn>
                <a:cxn ang="0">
                  <a:pos x="connsiteX1636" y="connsiteY1636"/>
                </a:cxn>
                <a:cxn ang="0">
                  <a:pos x="connsiteX1637" y="connsiteY1637"/>
                </a:cxn>
                <a:cxn ang="0">
                  <a:pos x="connsiteX1638" y="connsiteY1638"/>
                </a:cxn>
                <a:cxn ang="0">
                  <a:pos x="connsiteX1639" y="connsiteY1639"/>
                </a:cxn>
                <a:cxn ang="0">
                  <a:pos x="connsiteX1640" y="connsiteY1640"/>
                </a:cxn>
                <a:cxn ang="0">
                  <a:pos x="connsiteX1641" y="connsiteY1641"/>
                </a:cxn>
                <a:cxn ang="0">
                  <a:pos x="connsiteX1642" y="connsiteY1642"/>
                </a:cxn>
                <a:cxn ang="0">
                  <a:pos x="connsiteX1643" y="connsiteY1643"/>
                </a:cxn>
                <a:cxn ang="0">
                  <a:pos x="connsiteX1644" y="connsiteY1644"/>
                </a:cxn>
                <a:cxn ang="0">
                  <a:pos x="connsiteX1645" y="connsiteY1645"/>
                </a:cxn>
                <a:cxn ang="0">
                  <a:pos x="connsiteX1646" y="connsiteY1646"/>
                </a:cxn>
                <a:cxn ang="0">
                  <a:pos x="connsiteX1647" y="connsiteY1647"/>
                </a:cxn>
                <a:cxn ang="0">
                  <a:pos x="connsiteX1648" y="connsiteY1648"/>
                </a:cxn>
                <a:cxn ang="0">
                  <a:pos x="connsiteX1649" y="connsiteY1649"/>
                </a:cxn>
                <a:cxn ang="0">
                  <a:pos x="connsiteX1650" y="connsiteY1650"/>
                </a:cxn>
                <a:cxn ang="0">
                  <a:pos x="connsiteX1651" y="connsiteY1651"/>
                </a:cxn>
                <a:cxn ang="0">
                  <a:pos x="connsiteX1652" y="connsiteY1652"/>
                </a:cxn>
                <a:cxn ang="0">
                  <a:pos x="connsiteX1653" y="connsiteY1653"/>
                </a:cxn>
                <a:cxn ang="0">
                  <a:pos x="connsiteX1654" y="connsiteY1654"/>
                </a:cxn>
                <a:cxn ang="0">
                  <a:pos x="connsiteX1655" y="connsiteY1655"/>
                </a:cxn>
                <a:cxn ang="0">
                  <a:pos x="connsiteX1656" y="connsiteY1656"/>
                </a:cxn>
                <a:cxn ang="0">
                  <a:pos x="connsiteX1657" y="connsiteY1657"/>
                </a:cxn>
                <a:cxn ang="0">
                  <a:pos x="connsiteX1658" y="connsiteY1658"/>
                </a:cxn>
                <a:cxn ang="0">
                  <a:pos x="connsiteX1659" y="connsiteY1659"/>
                </a:cxn>
                <a:cxn ang="0">
                  <a:pos x="connsiteX1660" y="connsiteY1660"/>
                </a:cxn>
                <a:cxn ang="0">
                  <a:pos x="connsiteX1661" y="connsiteY1661"/>
                </a:cxn>
                <a:cxn ang="0">
                  <a:pos x="connsiteX1662" y="connsiteY1662"/>
                </a:cxn>
                <a:cxn ang="0">
                  <a:pos x="connsiteX1663" y="connsiteY1663"/>
                </a:cxn>
                <a:cxn ang="0">
                  <a:pos x="connsiteX1664" y="connsiteY1664"/>
                </a:cxn>
                <a:cxn ang="0">
                  <a:pos x="connsiteX1665" y="connsiteY1665"/>
                </a:cxn>
                <a:cxn ang="0">
                  <a:pos x="connsiteX1666" y="connsiteY1666"/>
                </a:cxn>
                <a:cxn ang="0">
                  <a:pos x="connsiteX1667" y="connsiteY1667"/>
                </a:cxn>
                <a:cxn ang="0">
                  <a:pos x="connsiteX1668" y="connsiteY1668"/>
                </a:cxn>
                <a:cxn ang="0">
                  <a:pos x="connsiteX1669" y="connsiteY1669"/>
                </a:cxn>
                <a:cxn ang="0">
                  <a:pos x="connsiteX1670" y="connsiteY1670"/>
                </a:cxn>
                <a:cxn ang="0">
                  <a:pos x="connsiteX1671" y="connsiteY1671"/>
                </a:cxn>
                <a:cxn ang="0">
                  <a:pos x="connsiteX1672" y="connsiteY1672"/>
                </a:cxn>
                <a:cxn ang="0">
                  <a:pos x="connsiteX1673" y="connsiteY1673"/>
                </a:cxn>
                <a:cxn ang="0">
                  <a:pos x="connsiteX1674" y="connsiteY1674"/>
                </a:cxn>
                <a:cxn ang="0">
                  <a:pos x="connsiteX1675" y="connsiteY1675"/>
                </a:cxn>
                <a:cxn ang="0">
                  <a:pos x="connsiteX1676" y="connsiteY1676"/>
                </a:cxn>
                <a:cxn ang="0">
                  <a:pos x="connsiteX1677" y="connsiteY1677"/>
                </a:cxn>
                <a:cxn ang="0">
                  <a:pos x="connsiteX1678" y="connsiteY1678"/>
                </a:cxn>
                <a:cxn ang="0">
                  <a:pos x="connsiteX1679" y="connsiteY1679"/>
                </a:cxn>
                <a:cxn ang="0">
                  <a:pos x="connsiteX1680" y="connsiteY1680"/>
                </a:cxn>
                <a:cxn ang="0">
                  <a:pos x="connsiteX1681" y="connsiteY1681"/>
                </a:cxn>
                <a:cxn ang="0">
                  <a:pos x="connsiteX1682" y="connsiteY1682"/>
                </a:cxn>
                <a:cxn ang="0">
                  <a:pos x="connsiteX1683" y="connsiteY1683"/>
                </a:cxn>
                <a:cxn ang="0">
                  <a:pos x="connsiteX1684" y="connsiteY1684"/>
                </a:cxn>
                <a:cxn ang="0">
                  <a:pos x="connsiteX1685" y="connsiteY1685"/>
                </a:cxn>
                <a:cxn ang="0">
                  <a:pos x="connsiteX1686" y="connsiteY1686"/>
                </a:cxn>
                <a:cxn ang="0">
                  <a:pos x="connsiteX1687" y="connsiteY1687"/>
                </a:cxn>
                <a:cxn ang="0">
                  <a:pos x="connsiteX1688" y="connsiteY1688"/>
                </a:cxn>
                <a:cxn ang="0">
                  <a:pos x="connsiteX1689" y="connsiteY1689"/>
                </a:cxn>
                <a:cxn ang="0">
                  <a:pos x="connsiteX1690" y="connsiteY1690"/>
                </a:cxn>
                <a:cxn ang="0">
                  <a:pos x="connsiteX1691" y="connsiteY1691"/>
                </a:cxn>
                <a:cxn ang="0">
                  <a:pos x="connsiteX1692" y="connsiteY1692"/>
                </a:cxn>
                <a:cxn ang="0">
                  <a:pos x="connsiteX1693" y="connsiteY1693"/>
                </a:cxn>
                <a:cxn ang="0">
                  <a:pos x="connsiteX1694" y="connsiteY1694"/>
                </a:cxn>
                <a:cxn ang="0">
                  <a:pos x="connsiteX1695" y="connsiteY1695"/>
                </a:cxn>
                <a:cxn ang="0">
                  <a:pos x="connsiteX1696" y="connsiteY1696"/>
                </a:cxn>
                <a:cxn ang="0">
                  <a:pos x="connsiteX1697" y="connsiteY1697"/>
                </a:cxn>
                <a:cxn ang="0">
                  <a:pos x="connsiteX1698" y="connsiteY1698"/>
                </a:cxn>
                <a:cxn ang="0">
                  <a:pos x="connsiteX1699" y="connsiteY1699"/>
                </a:cxn>
                <a:cxn ang="0">
                  <a:pos x="connsiteX1700" y="connsiteY1700"/>
                </a:cxn>
                <a:cxn ang="0">
                  <a:pos x="connsiteX1701" y="connsiteY1701"/>
                </a:cxn>
                <a:cxn ang="0">
                  <a:pos x="connsiteX1702" y="connsiteY1702"/>
                </a:cxn>
                <a:cxn ang="0">
                  <a:pos x="connsiteX1703" y="connsiteY1703"/>
                </a:cxn>
                <a:cxn ang="0">
                  <a:pos x="connsiteX1704" y="connsiteY1704"/>
                </a:cxn>
                <a:cxn ang="0">
                  <a:pos x="connsiteX1705" y="connsiteY1705"/>
                </a:cxn>
                <a:cxn ang="0">
                  <a:pos x="connsiteX1706" y="connsiteY1706"/>
                </a:cxn>
                <a:cxn ang="0">
                  <a:pos x="connsiteX1707" y="connsiteY1707"/>
                </a:cxn>
                <a:cxn ang="0">
                  <a:pos x="connsiteX1708" y="connsiteY1708"/>
                </a:cxn>
                <a:cxn ang="0">
                  <a:pos x="connsiteX1709" y="connsiteY1709"/>
                </a:cxn>
                <a:cxn ang="0">
                  <a:pos x="connsiteX1710" y="connsiteY1710"/>
                </a:cxn>
                <a:cxn ang="0">
                  <a:pos x="connsiteX1711" y="connsiteY1711"/>
                </a:cxn>
                <a:cxn ang="0">
                  <a:pos x="connsiteX1712" y="connsiteY1712"/>
                </a:cxn>
                <a:cxn ang="0">
                  <a:pos x="connsiteX1713" y="connsiteY1713"/>
                </a:cxn>
                <a:cxn ang="0">
                  <a:pos x="connsiteX1714" y="connsiteY1714"/>
                </a:cxn>
                <a:cxn ang="0">
                  <a:pos x="connsiteX1715" y="connsiteY1715"/>
                </a:cxn>
                <a:cxn ang="0">
                  <a:pos x="connsiteX1716" y="connsiteY1716"/>
                </a:cxn>
                <a:cxn ang="0">
                  <a:pos x="connsiteX1717" y="connsiteY1717"/>
                </a:cxn>
                <a:cxn ang="0">
                  <a:pos x="connsiteX1718" y="connsiteY1718"/>
                </a:cxn>
                <a:cxn ang="0">
                  <a:pos x="connsiteX1719" y="connsiteY1719"/>
                </a:cxn>
                <a:cxn ang="0">
                  <a:pos x="connsiteX1720" y="connsiteY1720"/>
                </a:cxn>
                <a:cxn ang="0">
                  <a:pos x="connsiteX1721" y="connsiteY1721"/>
                </a:cxn>
                <a:cxn ang="0">
                  <a:pos x="connsiteX1722" y="connsiteY1722"/>
                </a:cxn>
                <a:cxn ang="0">
                  <a:pos x="connsiteX1723" y="connsiteY1723"/>
                </a:cxn>
                <a:cxn ang="0">
                  <a:pos x="connsiteX1724" y="connsiteY1724"/>
                </a:cxn>
                <a:cxn ang="0">
                  <a:pos x="connsiteX1725" y="connsiteY1725"/>
                </a:cxn>
                <a:cxn ang="0">
                  <a:pos x="connsiteX1726" y="connsiteY1726"/>
                </a:cxn>
                <a:cxn ang="0">
                  <a:pos x="connsiteX1727" y="connsiteY1727"/>
                </a:cxn>
                <a:cxn ang="0">
                  <a:pos x="connsiteX1728" y="connsiteY1728"/>
                </a:cxn>
                <a:cxn ang="0">
                  <a:pos x="connsiteX1729" y="connsiteY1729"/>
                </a:cxn>
                <a:cxn ang="0">
                  <a:pos x="connsiteX1730" y="connsiteY1730"/>
                </a:cxn>
                <a:cxn ang="0">
                  <a:pos x="connsiteX1731" y="connsiteY1731"/>
                </a:cxn>
                <a:cxn ang="0">
                  <a:pos x="connsiteX1732" y="connsiteY1732"/>
                </a:cxn>
                <a:cxn ang="0">
                  <a:pos x="connsiteX1733" y="connsiteY1733"/>
                </a:cxn>
                <a:cxn ang="0">
                  <a:pos x="connsiteX1734" y="connsiteY1734"/>
                </a:cxn>
                <a:cxn ang="0">
                  <a:pos x="connsiteX1735" y="connsiteY1735"/>
                </a:cxn>
                <a:cxn ang="0">
                  <a:pos x="connsiteX1736" y="connsiteY1736"/>
                </a:cxn>
                <a:cxn ang="0">
                  <a:pos x="connsiteX1737" y="connsiteY1737"/>
                </a:cxn>
                <a:cxn ang="0">
                  <a:pos x="connsiteX1738" y="connsiteY1738"/>
                </a:cxn>
                <a:cxn ang="0">
                  <a:pos x="connsiteX1739" y="connsiteY1739"/>
                </a:cxn>
                <a:cxn ang="0">
                  <a:pos x="connsiteX1740" y="connsiteY1740"/>
                </a:cxn>
                <a:cxn ang="0">
                  <a:pos x="connsiteX1741" y="connsiteY1741"/>
                </a:cxn>
                <a:cxn ang="0">
                  <a:pos x="connsiteX1742" y="connsiteY1742"/>
                </a:cxn>
                <a:cxn ang="0">
                  <a:pos x="connsiteX1743" y="connsiteY1743"/>
                </a:cxn>
                <a:cxn ang="0">
                  <a:pos x="connsiteX1744" y="connsiteY1744"/>
                </a:cxn>
                <a:cxn ang="0">
                  <a:pos x="connsiteX1745" y="connsiteY1745"/>
                </a:cxn>
                <a:cxn ang="0">
                  <a:pos x="connsiteX1746" y="connsiteY1746"/>
                </a:cxn>
                <a:cxn ang="0">
                  <a:pos x="connsiteX1747" y="connsiteY1747"/>
                </a:cxn>
                <a:cxn ang="0">
                  <a:pos x="connsiteX1748" y="connsiteY1748"/>
                </a:cxn>
                <a:cxn ang="0">
                  <a:pos x="connsiteX1749" y="connsiteY1749"/>
                </a:cxn>
                <a:cxn ang="0">
                  <a:pos x="connsiteX1750" y="connsiteY1750"/>
                </a:cxn>
                <a:cxn ang="0">
                  <a:pos x="connsiteX1751" y="connsiteY1751"/>
                </a:cxn>
                <a:cxn ang="0">
                  <a:pos x="connsiteX1752" y="connsiteY1752"/>
                </a:cxn>
                <a:cxn ang="0">
                  <a:pos x="connsiteX1753" y="connsiteY1753"/>
                </a:cxn>
                <a:cxn ang="0">
                  <a:pos x="connsiteX1754" y="connsiteY1754"/>
                </a:cxn>
                <a:cxn ang="0">
                  <a:pos x="connsiteX1755" y="connsiteY1755"/>
                </a:cxn>
                <a:cxn ang="0">
                  <a:pos x="connsiteX1756" y="connsiteY1756"/>
                </a:cxn>
                <a:cxn ang="0">
                  <a:pos x="connsiteX1757" y="connsiteY1757"/>
                </a:cxn>
                <a:cxn ang="0">
                  <a:pos x="connsiteX1758" y="connsiteY1758"/>
                </a:cxn>
                <a:cxn ang="0">
                  <a:pos x="connsiteX1759" y="connsiteY1759"/>
                </a:cxn>
                <a:cxn ang="0">
                  <a:pos x="connsiteX1760" y="connsiteY1760"/>
                </a:cxn>
                <a:cxn ang="0">
                  <a:pos x="connsiteX1761" y="connsiteY1761"/>
                </a:cxn>
                <a:cxn ang="0">
                  <a:pos x="connsiteX1762" y="connsiteY1762"/>
                </a:cxn>
                <a:cxn ang="0">
                  <a:pos x="connsiteX1763" y="connsiteY1763"/>
                </a:cxn>
                <a:cxn ang="0">
                  <a:pos x="connsiteX1764" y="connsiteY1764"/>
                </a:cxn>
                <a:cxn ang="0">
                  <a:pos x="connsiteX1765" y="connsiteY1765"/>
                </a:cxn>
                <a:cxn ang="0">
                  <a:pos x="connsiteX1766" y="connsiteY1766"/>
                </a:cxn>
                <a:cxn ang="0">
                  <a:pos x="connsiteX1767" y="connsiteY1767"/>
                </a:cxn>
                <a:cxn ang="0">
                  <a:pos x="connsiteX1768" y="connsiteY1768"/>
                </a:cxn>
                <a:cxn ang="0">
                  <a:pos x="connsiteX1769" y="connsiteY1769"/>
                </a:cxn>
                <a:cxn ang="0">
                  <a:pos x="connsiteX1770" y="connsiteY1770"/>
                </a:cxn>
                <a:cxn ang="0">
                  <a:pos x="connsiteX1771" y="connsiteY1771"/>
                </a:cxn>
                <a:cxn ang="0">
                  <a:pos x="connsiteX1772" y="connsiteY1772"/>
                </a:cxn>
                <a:cxn ang="0">
                  <a:pos x="connsiteX1773" y="connsiteY1773"/>
                </a:cxn>
                <a:cxn ang="0">
                  <a:pos x="connsiteX1774" y="connsiteY1774"/>
                </a:cxn>
                <a:cxn ang="0">
                  <a:pos x="connsiteX1775" y="connsiteY1775"/>
                </a:cxn>
                <a:cxn ang="0">
                  <a:pos x="connsiteX1776" y="connsiteY1776"/>
                </a:cxn>
                <a:cxn ang="0">
                  <a:pos x="connsiteX1777" y="connsiteY1777"/>
                </a:cxn>
                <a:cxn ang="0">
                  <a:pos x="connsiteX1778" y="connsiteY1778"/>
                </a:cxn>
                <a:cxn ang="0">
                  <a:pos x="connsiteX1779" y="connsiteY1779"/>
                </a:cxn>
                <a:cxn ang="0">
                  <a:pos x="connsiteX1780" y="connsiteY1780"/>
                </a:cxn>
                <a:cxn ang="0">
                  <a:pos x="connsiteX1781" y="connsiteY1781"/>
                </a:cxn>
                <a:cxn ang="0">
                  <a:pos x="connsiteX1782" y="connsiteY1782"/>
                </a:cxn>
                <a:cxn ang="0">
                  <a:pos x="connsiteX1783" y="connsiteY1783"/>
                </a:cxn>
                <a:cxn ang="0">
                  <a:pos x="connsiteX1784" y="connsiteY1784"/>
                </a:cxn>
                <a:cxn ang="0">
                  <a:pos x="connsiteX1785" y="connsiteY1785"/>
                </a:cxn>
                <a:cxn ang="0">
                  <a:pos x="connsiteX1786" y="connsiteY1786"/>
                </a:cxn>
                <a:cxn ang="0">
                  <a:pos x="connsiteX1787" y="connsiteY1787"/>
                </a:cxn>
                <a:cxn ang="0">
                  <a:pos x="connsiteX1788" y="connsiteY1788"/>
                </a:cxn>
                <a:cxn ang="0">
                  <a:pos x="connsiteX1789" y="connsiteY1789"/>
                </a:cxn>
                <a:cxn ang="0">
                  <a:pos x="connsiteX1790" y="connsiteY1790"/>
                </a:cxn>
                <a:cxn ang="0">
                  <a:pos x="connsiteX1791" y="connsiteY1791"/>
                </a:cxn>
                <a:cxn ang="0">
                  <a:pos x="connsiteX1792" y="connsiteY1792"/>
                </a:cxn>
                <a:cxn ang="0">
                  <a:pos x="connsiteX1793" y="connsiteY1793"/>
                </a:cxn>
                <a:cxn ang="0">
                  <a:pos x="connsiteX1794" y="connsiteY1794"/>
                </a:cxn>
                <a:cxn ang="0">
                  <a:pos x="connsiteX1795" y="connsiteY1795"/>
                </a:cxn>
                <a:cxn ang="0">
                  <a:pos x="connsiteX1796" y="connsiteY1796"/>
                </a:cxn>
                <a:cxn ang="0">
                  <a:pos x="connsiteX1797" y="connsiteY1797"/>
                </a:cxn>
                <a:cxn ang="0">
                  <a:pos x="connsiteX1798" y="connsiteY1798"/>
                </a:cxn>
                <a:cxn ang="0">
                  <a:pos x="connsiteX1799" y="connsiteY1799"/>
                </a:cxn>
                <a:cxn ang="0">
                  <a:pos x="connsiteX1800" y="connsiteY1800"/>
                </a:cxn>
                <a:cxn ang="0">
                  <a:pos x="connsiteX1801" y="connsiteY1801"/>
                </a:cxn>
                <a:cxn ang="0">
                  <a:pos x="connsiteX1802" y="connsiteY1802"/>
                </a:cxn>
                <a:cxn ang="0">
                  <a:pos x="connsiteX1803" y="connsiteY1803"/>
                </a:cxn>
                <a:cxn ang="0">
                  <a:pos x="connsiteX1804" y="connsiteY1804"/>
                </a:cxn>
                <a:cxn ang="0">
                  <a:pos x="connsiteX1805" y="connsiteY1805"/>
                </a:cxn>
                <a:cxn ang="0">
                  <a:pos x="connsiteX1806" y="connsiteY1806"/>
                </a:cxn>
                <a:cxn ang="0">
                  <a:pos x="connsiteX1807" y="connsiteY1807"/>
                </a:cxn>
                <a:cxn ang="0">
                  <a:pos x="connsiteX1808" y="connsiteY1808"/>
                </a:cxn>
                <a:cxn ang="0">
                  <a:pos x="connsiteX1809" y="connsiteY1809"/>
                </a:cxn>
                <a:cxn ang="0">
                  <a:pos x="connsiteX1810" y="connsiteY1810"/>
                </a:cxn>
                <a:cxn ang="0">
                  <a:pos x="connsiteX1811" y="connsiteY1811"/>
                </a:cxn>
                <a:cxn ang="0">
                  <a:pos x="connsiteX1812" y="connsiteY1812"/>
                </a:cxn>
                <a:cxn ang="0">
                  <a:pos x="connsiteX1813" y="connsiteY1813"/>
                </a:cxn>
                <a:cxn ang="0">
                  <a:pos x="connsiteX1814" y="connsiteY1814"/>
                </a:cxn>
                <a:cxn ang="0">
                  <a:pos x="connsiteX1815" y="connsiteY1815"/>
                </a:cxn>
                <a:cxn ang="0">
                  <a:pos x="connsiteX1816" y="connsiteY1816"/>
                </a:cxn>
                <a:cxn ang="0">
                  <a:pos x="connsiteX1817" y="connsiteY1817"/>
                </a:cxn>
                <a:cxn ang="0">
                  <a:pos x="connsiteX1818" y="connsiteY1818"/>
                </a:cxn>
                <a:cxn ang="0">
                  <a:pos x="connsiteX1819" y="connsiteY1819"/>
                </a:cxn>
                <a:cxn ang="0">
                  <a:pos x="connsiteX1820" y="connsiteY1820"/>
                </a:cxn>
                <a:cxn ang="0">
                  <a:pos x="connsiteX1821" y="connsiteY1821"/>
                </a:cxn>
                <a:cxn ang="0">
                  <a:pos x="connsiteX1822" y="connsiteY1822"/>
                </a:cxn>
                <a:cxn ang="0">
                  <a:pos x="connsiteX1823" y="connsiteY1823"/>
                </a:cxn>
                <a:cxn ang="0">
                  <a:pos x="connsiteX1824" y="connsiteY1824"/>
                </a:cxn>
                <a:cxn ang="0">
                  <a:pos x="connsiteX1825" y="connsiteY1825"/>
                </a:cxn>
                <a:cxn ang="0">
                  <a:pos x="connsiteX1826" y="connsiteY1826"/>
                </a:cxn>
                <a:cxn ang="0">
                  <a:pos x="connsiteX1827" y="connsiteY1827"/>
                </a:cxn>
                <a:cxn ang="0">
                  <a:pos x="connsiteX1828" y="connsiteY1828"/>
                </a:cxn>
                <a:cxn ang="0">
                  <a:pos x="connsiteX1829" y="connsiteY1829"/>
                </a:cxn>
                <a:cxn ang="0">
                  <a:pos x="connsiteX1830" y="connsiteY1830"/>
                </a:cxn>
                <a:cxn ang="0">
                  <a:pos x="connsiteX1831" y="connsiteY1831"/>
                </a:cxn>
                <a:cxn ang="0">
                  <a:pos x="connsiteX1832" y="connsiteY1832"/>
                </a:cxn>
                <a:cxn ang="0">
                  <a:pos x="connsiteX1833" y="connsiteY1833"/>
                </a:cxn>
                <a:cxn ang="0">
                  <a:pos x="connsiteX1834" y="connsiteY1834"/>
                </a:cxn>
                <a:cxn ang="0">
                  <a:pos x="connsiteX1835" y="connsiteY1835"/>
                </a:cxn>
                <a:cxn ang="0">
                  <a:pos x="connsiteX1836" y="connsiteY1836"/>
                </a:cxn>
                <a:cxn ang="0">
                  <a:pos x="connsiteX1837" y="connsiteY1837"/>
                </a:cxn>
                <a:cxn ang="0">
                  <a:pos x="connsiteX1838" y="connsiteY1838"/>
                </a:cxn>
                <a:cxn ang="0">
                  <a:pos x="connsiteX1839" y="connsiteY1839"/>
                </a:cxn>
                <a:cxn ang="0">
                  <a:pos x="connsiteX1840" y="connsiteY1840"/>
                </a:cxn>
                <a:cxn ang="0">
                  <a:pos x="connsiteX1841" y="connsiteY1841"/>
                </a:cxn>
                <a:cxn ang="0">
                  <a:pos x="connsiteX1842" y="connsiteY1842"/>
                </a:cxn>
                <a:cxn ang="0">
                  <a:pos x="connsiteX1843" y="connsiteY1843"/>
                </a:cxn>
                <a:cxn ang="0">
                  <a:pos x="connsiteX1844" y="connsiteY1844"/>
                </a:cxn>
                <a:cxn ang="0">
                  <a:pos x="connsiteX1845" y="connsiteY1845"/>
                </a:cxn>
                <a:cxn ang="0">
                  <a:pos x="connsiteX1846" y="connsiteY1846"/>
                </a:cxn>
                <a:cxn ang="0">
                  <a:pos x="connsiteX1847" y="connsiteY1847"/>
                </a:cxn>
                <a:cxn ang="0">
                  <a:pos x="connsiteX1848" y="connsiteY1848"/>
                </a:cxn>
                <a:cxn ang="0">
                  <a:pos x="connsiteX1849" y="connsiteY1849"/>
                </a:cxn>
                <a:cxn ang="0">
                  <a:pos x="connsiteX1850" y="connsiteY1850"/>
                </a:cxn>
                <a:cxn ang="0">
                  <a:pos x="connsiteX1851" y="connsiteY1851"/>
                </a:cxn>
                <a:cxn ang="0">
                  <a:pos x="connsiteX1852" y="connsiteY1852"/>
                </a:cxn>
                <a:cxn ang="0">
                  <a:pos x="connsiteX1853" y="connsiteY1853"/>
                </a:cxn>
                <a:cxn ang="0">
                  <a:pos x="connsiteX1854" y="connsiteY1854"/>
                </a:cxn>
                <a:cxn ang="0">
                  <a:pos x="connsiteX1855" y="connsiteY1855"/>
                </a:cxn>
                <a:cxn ang="0">
                  <a:pos x="connsiteX1856" y="connsiteY1856"/>
                </a:cxn>
                <a:cxn ang="0">
                  <a:pos x="connsiteX1857" y="connsiteY1857"/>
                </a:cxn>
                <a:cxn ang="0">
                  <a:pos x="connsiteX1858" y="connsiteY1858"/>
                </a:cxn>
                <a:cxn ang="0">
                  <a:pos x="connsiteX1859" y="connsiteY1859"/>
                </a:cxn>
                <a:cxn ang="0">
                  <a:pos x="connsiteX1860" y="connsiteY1860"/>
                </a:cxn>
                <a:cxn ang="0">
                  <a:pos x="connsiteX1861" y="connsiteY1861"/>
                </a:cxn>
                <a:cxn ang="0">
                  <a:pos x="connsiteX1862" y="connsiteY1862"/>
                </a:cxn>
                <a:cxn ang="0">
                  <a:pos x="connsiteX1863" y="connsiteY1863"/>
                </a:cxn>
                <a:cxn ang="0">
                  <a:pos x="connsiteX1864" y="connsiteY1864"/>
                </a:cxn>
                <a:cxn ang="0">
                  <a:pos x="connsiteX1865" y="connsiteY1865"/>
                </a:cxn>
                <a:cxn ang="0">
                  <a:pos x="connsiteX1866" y="connsiteY1866"/>
                </a:cxn>
                <a:cxn ang="0">
                  <a:pos x="connsiteX1867" y="connsiteY1867"/>
                </a:cxn>
                <a:cxn ang="0">
                  <a:pos x="connsiteX1868" y="connsiteY1868"/>
                </a:cxn>
                <a:cxn ang="0">
                  <a:pos x="connsiteX1869" y="connsiteY1869"/>
                </a:cxn>
                <a:cxn ang="0">
                  <a:pos x="connsiteX1870" y="connsiteY1870"/>
                </a:cxn>
                <a:cxn ang="0">
                  <a:pos x="connsiteX1871" y="connsiteY1871"/>
                </a:cxn>
                <a:cxn ang="0">
                  <a:pos x="connsiteX1872" y="connsiteY1872"/>
                </a:cxn>
                <a:cxn ang="0">
                  <a:pos x="connsiteX1873" y="connsiteY1873"/>
                </a:cxn>
                <a:cxn ang="0">
                  <a:pos x="connsiteX1874" y="connsiteY1874"/>
                </a:cxn>
                <a:cxn ang="0">
                  <a:pos x="connsiteX1875" y="connsiteY1875"/>
                </a:cxn>
                <a:cxn ang="0">
                  <a:pos x="connsiteX1876" y="connsiteY1876"/>
                </a:cxn>
                <a:cxn ang="0">
                  <a:pos x="connsiteX1877" y="connsiteY1877"/>
                </a:cxn>
                <a:cxn ang="0">
                  <a:pos x="connsiteX1878" y="connsiteY1878"/>
                </a:cxn>
                <a:cxn ang="0">
                  <a:pos x="connsiteX1879" y="connsiteY1879"/>
                </a:cxn>
                <a:cxn ang="0">
                  <a:pos x="connsiteX1880" y="connsiteY1880"/>
                </a:cxn>
                <a:cxn ang="0">
                  <a:pos x="connsiteX1881" y="connsiteY1881"/>
                </a:cxn>
                <a:cxn ang="0">
                  <a:pos x="connsiteX1882" y="connsiteY1882"/>
                </a:cxn>
                <a:cxn ang="0">
                  <a:pos x="connsiteX1883" y="connsiteY1883"/>
                </a:cxn>
                <a:cxn ang="0">
                  <a:pos x="connsiteX1884" y="connsiteY1884"/>
                </a:cxn>
                <a:cxn ang="0">
                  <a:pos x="connsiteX1885" y="connsiteY1885"/>
                </a:cxn>
                <a:cxn ang="0">
                  <a:pos x="connsiteX1886" y="connsiteY1886"/>
                </a:cxn>
                <a:cxn ang="0">
                  <a:pos x="connsiteX1887" y="connsiteY1887"/>
                </a:cxn>
                <a:cxn ang="0">
                  <a:pos x="connsiteX1888" y="connsiteY1888"/>
                </a:cxn>
                <a:cxn ang="0">
                  <a:pos x="connsiteX1889" y="connsiteY1889"/>
                </a:cxn>
                <a:cxn ang="0">
                  <a:pos x="connsiteX1890" y="connsiteY1890"/>
                </a:cxn>
                <a:cxn ang="0">
                  <a:pos x="connsiteX1891" y="connsiteY1891"/>
                </a:cxn>
                <a:cxn ang="0">
                  <a:pos x="connsiteX1892" y="connsiteY1892"/>
                </a:cxn>
                <a:cxn ang="0">
                  <a:pos x="connsiteX1893" y="connsiteY1893"/>
                </a:cxn>
                <a:cxn ang="0">
                  <a:pos x="connsiteX1894" y="connsiteY1894"/>
                </a:cxn>
                <a:cxn ang="0">
                  <a:pos x="connsiteX1895" y="connsiteY1895"/>
                </a:cxn>
                <a:cxn ang="0">
                  <a:pos x="connsiteX1896" y="connsiteY1896"/>
                </a:cxn>
                <a:cxn ang="0">
                  <a:pos x="connsiteX1897" y="connsiteY1897"/>
                </a:cxn>
                <a:cxn ang="0">
                  <a:pos x="connsiteX1898" y="connsiteY1898"/>
                </a:cxn>
                <a:cxn ang="0">
                  <a:pos x="connsiteX1899" y="connsiteY1899"/>
                </a:cxn>
                <a:cxn ang="0">
                  <a:pos x="connsiteX1900" y="connsiteY1900"/>
                </a:cxn>
                <a:cxn ang="0">
                  <a:pos x="connsiteX1901" y="connsiteY1901"/>
                </a:cxn>
                <a:cxn ang="0">
                  <a:pos x="connsiteX1902" y="connsiteY1902"/>
                </a:cxn>
                <a:cxn ang="0">
                  <a:pos x="connsiteX1903" y="connsiteY1903"/>
                </a:cxn>
                <a:cxn ang="0">
                  <a:pos x="connsiteX1904" y="connsiteY1904"/>
                </a:cxn>
                <a:cxn ang="0">
                  <a:pos x="connsiteX1905" y="connsiteY1905"/>
                </a:cxn>
                <a:cxn ang="0">
                  <a:pos x="connsiteX1906" y="connsiteY1906"/>
                </a:cxn>
                <a:cxn ang="0">
                  <a:pos x="connsiteX1907" y="connsiteY1907"/>
                </a:cxn>
                <a:cxn ang="0">
                  <a:pos x="connsiteX1908" y="connsiteY1908"/>
                </a:cxn>
                <a:cxn ang="0">
                  <a:pos x="connsiteX1909" y="connsiteY1909"/>
                </a:cxn>
                <a:cxn ang="0">
                  <a:pos x="connsiteX1910" y="connsiteY1910"/>
                </a:cxn>
                <a:cxn ang="0">
                  <a:pos x="connsiteX1911" y="connsiteY1911"/>
                </a:cxn>
                <a:cxn ang="0">
                  <a:pos x="connsiteX1912" y="connsiteY1912"/>
                </a:cxn>
                <a:cxn ang="0">
                  <a:pos x="connsiteX1913" y="connsiteY1913"/>
                </a:cxn>
                <a:cxn ang="0">
                  <a:pos x="connsiteX1914" y="connsiteY1914"/>
                </a:cxn>
                <a:cxn ang="0">
                  <a:pos x="connsiteX1915" y="connsiteY1915"/>
                </a:cxn>
                <a:cxn ang="0">
                  <a:pos x="connsiteX1916" y="connsiteY1916"/>
                </a:cxn>
                <a:cxn ang="0">
                  <a:pos x="connsiteX1917" y="connsiteY1917"/>
                </a:cxn>
                <a:cxn ang="0">
                  <a:pos x="connsiteX1918" y="connsiteY1918"/>
                </a:cxn>
                <a:cxn ang="0">
                  <a:pos x="connsiteX1919" y="connsiteY1919"/>
                </a:cxn>
                <a:cxn ang="0">
                  <a:pos x="connsiteX1920" y="connsiteY1920"/>
                </a:cxn>
                <a:cxn ang="0">
                  <a:pos x="connsiteX1921" y="connsiteY1921"/>
                </a:cxn>
                <a:cxn ang="0">
                  <a:pos x="connsiteX1922" y="connsiteY1922"/>
                </a:cxn>
                <a:cxn ang="0">
                  <a:pos x="connsiteX1923" y="connsiteY1923"/>
                </a:cxn>
                <a:cxn ang="0">
                  <a:pos x="connsiteX1924" y="connsiteY1924"/>
                </a:cxn>
                <a:cxn ang="0">
                  <a:pos x="connsiteX1925" y="connsiteY1925"/>
                </a:cxn>
                <a:cxn ang="0">
                  <a:pos x="connsiteX1926" y="connsiteY1926"/>
                </a:cxn>
                <a:cxn ang="0">
                  <a:pos x="connsiteX1927" y="connsiteY1927"/>
                </a:cxn>
                <a:cxn ang="0">
                  <a:pos x="connsiteX1928" y="connsiteY1928"/>
                </a:cxn>
                <a:cxn ang="0">
                  <a:pos x="connsiteX1929" y="connsiteY1929"/>
                </a:cxn>
                <a:cxn ang="0">
                  <a:pos x="connsiteX1930" y="connsiteY1930"/>
                </a:cxn>
                <a:cxn ang="0">
                  <a:pos x="connsiteX1931" y="connsiteY1931"/>
                </a:cxn>
                <a:cxn ang="0">
                  <a:pos x="connsiteX1932" y="connsiteY1932"/>
                </a:cxn>
                <a:cxn ang="0">
                  <a:pos x="connsiteX1933" y="connsiteY1933"/>
                </a:cxn>
                <a:cxn ang="0">
                  <a:pos x="connsiteX1934" y="connsiteY1934"/>
                </a:cxn>
                <a:cxn ang="0">
                  <a:pos x="connsiteX1935" y="connsiteY1935"/>
                </a:cxn>
                <a:cxn ang="0">
                  <a:pos x="connsiteX1936" y="connsiteY1936"/>
                </a:cxn>
                <a:cxn ang="0">
                  <a:pos x="connsiteX1937" y="connsiteY1937"/>
                </a:cxn>
                <a:cxn ang="0">
                  <a:pos x="connsiteX1938" y="connsiteY1938"/>
                </a:cxn>
                <a:cxn ang="0">
                  <a:pos x="connsiteX1939" y="connsiteY1939"/>
                </a:cxn>
                <a:cxn ang="0">
                  <a:pos x="connsiteX1940" y="connsiteY1940"/>
                </a:cxn>
                <a:cxn ang="0">
                  <a:pos x="connsiteX1941" y="connsiteY1941"/>
                </a:cxn>
                <a:cxn ang="0">
                  <a:pos x="connsiteX1942" y="connsiteY1942"/>
                </a:cxn>
                <a:cxn ang="0">
                  <a:pos x="connsiteX1943" y="connsiteY1943"/>
                </a:cxn>
                <a:cxn ang="0">
                  <a:pos x="connsiteX1944" y="connsiteY1944"/>
                </a:cxn>
                <a:cxn ang="0">
                  <a:pos x="connsiteX1945" y="connsiteY1945"/>
                </a:cxn>
                <a:cxn ang="0">
                  <a:pos x="connsiteX1946" y="connsiteY1946"/>
                </a:cxn>
                <a:cxn ang="0">
                  <a:pos x="connsiteX1947" y="connsiteY1947"/>
                </a:cxn>
                <a:cxn ang="0">
                  <a:pos x="connsiteX1948" y="connsiteY1948"/>
                </a:cxn>
                <a:cxn ang="0">
                  <a:pos x="connsiteX1949" y="connsiteY1949"/>
                </a:cxn>
                <a:cxn ang="0">
                  <a:pos x="connsiteX1950" y="connsiteY1950"/>
                </a:cxn>
                <a:cxn ang="0">
                  <a:pos x="connsiteX1951" y="connsiteY1951"/>
                </a:cxn>
                <a:cxn ang="0">
                  <a:pos x="connsiteX1952" y="connsiteY1952"/>
                </a:cxn>
                <a:cxn ang="0">
                  <a:pos x="connsiteX1953" y="connsiteY1953"/>
                </a:cxn>
                <a:cxn ang="0">
                  <a:pos x="connsiteX1954" y="connsiteY1954"/>
                </a:cxn>
                <a:cxn ang="0">
                  <a:pos x="connsiteX1955" y="connsiteY1955"/>
                </a:cxn>
                <a:cxn ang="0">
                  <a:pos x="connsiteX1956" y="connsiteY1956"/>
                </a:cxn>
                <a:cxn ang="0">
                  <a:pos x="connsiteX1957" y="connsiteY1957"/>
                </a:cxn>
                <a:cxn ang="0">
                  <a:pos x="connsiteX1958" y="connsiteY1958"/>
                </a:cxn>
                <a:cxn ang="0">
                  <a:pos x="connsiteX1959" y="connsiteY1959"/>
                </a:cxn>
                <a:cxn ang="0">
                  <a:pos x="connsiteX1960" y="connsiteY1960"/>
                </a:cxn>
                <a:cxn ang="0">
                  <a:pos x="connsiteX1961" y="connsiteY1961"/>
                </a:cxn>
                <a:cxn ang="0">
                  <a:pos x="connsiteX1962" y="connsiteY1962"/>
                </a:cxn>
                <a:cxn ang="0">
                  <a:pos x="connsiteX1963" y="connsiteY1963"/>
                </a:cxn>
                <a:cxn ang="0">
                  <a:pos x="connsiteX1964" y="connsiteY1964"/>
                </a:cxn>
                <a:cxn ang="0">
                  <a:pos x="connsiteX1965" y="connsiteY1965"/>
                </a:cxn>
                <a:cxn ang="0">
                  <a:pos x="connsiteX1966" y="connsiteY1966"/>
                </a:cxn>
                <a:cxn ang="0">
                  <a:pos x="connsiteX1967" y="connsiteY1967"/>
                </a:cxn>
                <a:cxn ang="0">
                  <a:pos x="connsiteX1968" y="connsiteY1968"/>
                </a:cxn>
                <a:cxn ang="0">
                  <a:pos x="connsiteX1969" y="connsiteY1969"/>
                </a:cxn>
                <a:cxn ang="0">
                  <a:pos x="connsiteX1970" y="connsiteY1970"/>
                </a:cxn>
                <a:cxn ang="0">
                  <a:pos x="connsiteX1971" y="connsiteY1971"/>
                </a:cxn>
                <a:cxn ang="0">
                  <a:pos x="connsiteX1972" y="connsiteY1972"/>
                </a:cxn>
                <a:cxn ang="0">
                  <a:pos x="connsiteX1973" y="connsiteY1973"/>
                </a:cxn>
                <a:cxn ang="0">
                  <a:pos x="connsiteX1974" y="connsiteY1974"/>
                </a:cxn>
                <a:cxn ang="0">
                  <a:pos x="connsiteX1975" y="connsiteY1975"/>
                </a:cxn>
                <a:cxn ang="0">
                  <a:pos x="connsiteX1976" y="connsiteY1976"/>
                </a:cxn>
                <a:cxn ang="0">
                  <a:pos x="connsiteX1977" y="connsiteY1977"/>
                </a:cxn>
                <a:cxn ang="0">
                  <a:pos x="connsiteX1978" y="connsiteY1978"/>
                </a:cxn>
                <a:cxn ang="0">
                  <a:pos x="connsiteX1979" y="connsiteY1979"/>
                </a:cxn>
                <a:cxn ang="0">
                  <a:pos x="connsiteX1980" y="connsiteY1980"/>
                </a:cxn>
                <a:cxn ang="0">
                  <a:pos x="connsiteX1981" y="connsiteY1981"/>
                </a:cxn>
                <a:cxn ang="0">
                  <a:pos x="connsiteX1982" y="connsiteY1982"/>
                </a:cxn>
                <a:cxn ang="0">
                  <a:pos x="connsiteX1983" y="connsiteY1983"/>
                </a:cxn>
                <a:cxn ang="0">
                  <a:pos x="connsiteX1984" y="connsiteY1984"/>
                </a:cxn>
                <a:cxn ang="0">
                  <a:pos x="connsiteX1985" y="connsiteY1985"/>
                </a:cxn>
                <a:cxn ang="0">
                  <a:pos x="connsiteX1986" y="connsiteY1986"/>
                </a:cxn>
                <a:cxn ang="0">
                  <a:pos x="connsiteX1987" y="connsiteY1987"/>
                </a:cxn>
                <a:cxn ang="0">
                  <a:pos x="connsiteX1988" y="connsiteY1988"/>
                </a:cxn>
                <a:cxn ang="0">
                  <a:pos x="connsiteX1989" y="connsiteY1989"/>
                </a:cxn>
                <a:cxn ang="0">
                  <a:pos x="connsiteX1990" y="connsiteY1990"/>
                </a:cxn>
                <a:cxn ang="0">
                  <a:pos x="connsiteX1991" y="connsiteY1991"/>
                </a:cxn>
                <a:cxn ang="0">
                  <a:pos x="connsiteX1992" y="connsiteY1992"/>
                </a:cxn>
                <a:cxn ang="0">
                  <a:pos x="connsiteX1993" y="connsiteY1993"/>
                </a:cxn>
                <a:cxn ang="0">
                  <a:pos x="connsiteX1994" y="connsiteY1994"/>
                </a:cxn>
                <a:cxn ang="0">
                  <a:pos x="connsiteX1995" y="connsiteY1995"/>
                </a:cxn>
                <a:cxn ang="0">
                  <a:pos x="connsiteX1996" y="connsiteY1996"/>
                </a:cxn>
                <a:cxn ang="0">
                  <a:pos x="connsiteX1997" y="connsiteY1997"/>
                </a:cxn>
                <a:cxn ang="0">
                  <a:pos x="connsiteX1998" y="connsiteY1998"/>
                </a:cxn>
                <a:cxn ang="0">
                  <a:pos x="connsiteX1999" y="connsiteY1999"/>
                </a:cxn>
                <a:cxn ang="0">
                  <a:pos x="connsiteX2000" y="connsiteY2000"/>
                </a:cxn>
                <a:cxn ang="0">
                  <a:pos x="connsiteX2001" y="connsiteY2001"/>
                </a:cxn>
                <a:cxn ang="0">
                  <a:pos x="connsiteX2002" y="connsiteY2002"/>
                </a:cxn>
                <a:cxn ang="0">
                  <a:pos x="connsiteX2003" y="connsiteY2003"/>
                </a:cxn>
                <a:cxn ang="0">
                  <a:pos x="connsiteX2004" y="connsiteY2004"/>
                </a:cxn>
                <a:cxn ang="0">
                  <a:pos x="connsiteX2005" y="connsiteY2005"/>
                </a:cxn>
                <a:cxn ang="0">
                  <a:pos x="connsiteX2006" y="connsiteY2006"/>
                </a:cxn>
                <a:cxn ang="0">
                  <a:pos x="connsiteX2007" y="connsiteY2007"/>
                </a:cxn>
                <a:cxn ang="0">
                  <a:pos x="connsiteX2008" y="connsiteY2008"/>
                </a:cxn>
                <a:cxn ang="0">
                  <a:pos x="connsiteX2009" y="connsiteY2009"/>
                </a:cxn>
                <a:cxn ang="0">
                  <a:pos x="connsiteX2010" y="connsiteY2010"/>
                </a:cxn>
                <a:cxn ang="0">
                  <a:pos x="connsiteX2011" y="connsiteY2011"/>
                </a:cxn>
                <a:cxn ang="0">
                  <a:pos x="connsiteX2012" y="connsiteY2012"/>
                </a:cxn>
                <a:cxn ang="0">
                  <a:pos x="connsiteX2013" y="connsiteY2013"/>
                </a:cxn>
                <a:cxn ang="0">
                  <a:pos x="connsiteX2014" y="connsiteY2014"/>
                </a:cxn>
                <a:cxn ang="0">
                  <a:pos x="connsiteX2015" y="connsiteY2015"/>
                </a:cxn>
                <a:cxn ang="0">
                  <a:pos x="connsiteX2016" y="connsiteY2016"/>
                </a:cxn>
                <a:cxn ang="0">
                  <a:pos x="connsiteX2017" y="connsiteY2017"/>
                </a:cxn>
                <a:cxn ang="0">
                  <a:pos x="connsiteX2018" y="connsiteY2018"/>
                </a:cxn>
                <a:cxn ang="0">
                  <a:pos x="connsiteX2019" y="connsiteY2019"/>
                </a:cxn>
                <a:cxn ang="0">
                  <a:pos x="connsiteX2020" y="connsiteY2020"/>
                </a:cxn>
                <a:cxn ang="0">
                  <a:pos x="connsiteX2021" y="connsiteY2021"/>
                </a:cxn>
                <a:cxn ang="0">
                  <a:pos x="connsiteX2022" y="connsiteY2022"/>
                </a:cxn>
                <a:cxn ang="0">
                  <a:pos x="connsiteX2023" y="connsiteY2023"/>
                </a:cxn>
                <a:cxn ang="0">
                  <a:pos x="connsiteX2024" y="connsiteY2024"/>
                </a:cxn>
                <a:cxn ang="0">
                  <a:pos x="connsiteX2025" y="connsiteY2025"/>
                </a:cxn>
                <a:cxn ang="0">
                  <a:pos x="connsiteX2026" y="connsiteY2026"/>
                </a:cxn>
                <a:cxn ang="0">
                  <a:pos x="connsiteX2027" y="connsiteY2027"/>
                </a:cxn>
                <a:cxn ang="0">
                  <a:pos x="connsiteX2028" y="connsiteY2028"/>
                </a:cxn>
                <a:cxn ang="0">
                  <a:pos x="connsiteX2029" y="connsiteY2029"/>
                </a:cxn>
                <a:cxn ang="0">
                  <a:pos x="connsiteX2030" y="connsiteY2030"/>
                </a:cxn>
                <a:cxn ang="0">
                  <a:pos x="connsiteX2031" y="connsiteY2031"/>
                </a:cxn>
                <a:cxn ang="0">
                  <a:pos x="connsiteX2032" y="connsiteY2032"/>
                </a:cxn>
                <a:cxn ang="0">
                  <a:pos x="connsiteX2033" y="connsiteY2033"/>
                </a:cxn>
                <a:cxn ang="0">
                  <a:pos x="connsiteX2034" y="connsiteY2034"/>
                </a:cxn>
                <a:cxn ang="0">
                  <a:pos x="connsiteX2035" y="connsiteY2035"/>
                </a:cxn>
                <a:cxn ang="0">
                  <a:pos x="connsiteX2036" y="connsiteY2036"/>
                </a:cxn>
                <a:cxn ang="0">
                  <a:pos x="connsiteX2037" y="connsiteY2037"/>
                </a:cxn>
                <a:cxn ang="0">
                  <a:pos x="connsiteX2038" y="connsiteY2038"/>
                </a:cxn>
                <a:cxn ang="0">
                  <a:pos x="connsiteX2039" y="connsiteY2039"/>
                </a:cxn>
                <a:cxn ang="0">
                  <a:pos x="connsiteX2040" y="connsiteY2040"/>
                </a:cxn>
                <a:cxn ang="0">
                  <a:pos x="connsiteX2041" y="connsiteY2041"/>
                </a:cxn>
                <a:cxn ang="0">
                  <a:pos x="connsiteX2042" y="connsiteY2042"/>
                </a:cxn>
                <a:cxn ang="0">
                  <a:pos x="connsiteX2043" y="connsiteY2043"/>
                </a:cxn>
                <a:cxn ang="0">
                  <a:pos x="connsiteX2044" y="connsiteY2044"/>
                </a:cxn>
                <a:cxn ang="0">
                  <a:pos x="connsiteX2045" y="connsiteY2045"/>
                </a:cxn>
                <a:cxn ang="0">
                  <a:pos x="connsiteX2046" y="connsiteY2046"/>
                </a:cxn>
                <a:cxn ang="0">
                  <a:pos x="connsiteX2047" y="connsiteY2047"/>
                </a:cxn>
                <a:cxn ang="0">
                  <a:pos x="connsiteX2048" y="connsiteY2048"/>
                </a:cxn>
                <a:cxn ang="0">
                  <a:pos x="connsiteX2049" y="connsiteY2049"/>
                </a:cxn>
                <a:cxn ang="0">
                  <a:pos x="connsiteX2050" y="connsiteY2050"/>
                </a:cxn>
                <a:cxn ang="0">
                  <a:pos x="connsiteX2051" y="connsiteY2051"/>
                </a:cxn>
                <a:cxn ang="0">
                  <a:pos x="connsiteX2052" y="connsiteY2052"/>
                </a:cxn>
                <a:cxn ang="0">
                  <a:pos x="connsiteX2053" y="connsiteY2053"/>
                </a:cxn>
                <a:cxn ang="0">
                  <a:pos x="connsiteX2054" y="connsiteY2054"/>
                </a:cxn>
                <a:cxn ang="0">
                  <a:pos x="connsiteX2055" y="connsiteY2055"/>
                </a:cxn>
                <a:cxn ang="0">
                  <a:pos x="connsiteX2056" y="connsiteY2056"/>
                </a:cxn>
                <a:cxn ang="0">
                  <a:pos x="connsiteX2057" y="connsiteY2057"/>
                </a:cxn>
                <a:cxn ang="0">
                  <a:pos x="connsiteX2058" y="connsiteY2058"/>
                </a:cxn>
                <a:cxn ang="0">
                  <a:pos x="connsiteX2059" y="connsiteY2059"/>
                </a:cxn>
                <a:cxn ang="0">
                  <a:pos x="connsiteX2060" y="connsiteY2060"/>
                </a:cxn>
                <a:cxn ang="0">
                  <a:pos x="connsiteX2061" y="connsiteY2061"/>
                </a:cxn>
                <a:cxn ang="0">
                  <a:pos x="connsiteX2062" y="connsiteY2062"/>
                </a:cxn>
                <a:cxn ang="0">
                  <a:pos x="connsiteX2063" y="connsiteY2063"/>
                </a:cxn>
                <a:cxn ang="0">
                  <a:pos x="connsiteX2064" y="connsiteY2064"/>
                </a:cxn>
                <a:cxn ang="0">
                  <a:pos x="connsiteX2065" y="connsiteY2065"/>
                </a:cxn>
                <a:cxn ang="0">
                  <a:pos x="connsiteX2066" y="connsiteY2066"/>
                </a:cxn>
                <a:cxn ang="0">
                  <a:pos x="connsiteX2067" y="connsiteY2067"/>
                </a:cxn>
                <a:cxn ang="0">
                  <a:pos x="connsiteX2068" y="connsiteY2068"/>
                </a:cxn>
                <a:cxn ang="0">
                  <a:pos x="connsiteX2069" y="connsiteY2069"/>
                </a:cxn>
                <a:cxn ang="0">
                  <a:pos x="connsiteX2070" y="connsiteY2070"/>
                </a:cxn>
                <a:cxn ang="0">
                  <a:pos x="connsiteX2071" y="connsiteY2071"/>
                </a:cxn>
                <a:cxn ang="0">
                  <a:pos x="connsiteX2072" y="connsiteY2072"/>
                </a:cxn>
                <a:cxn ang="0">
                  <a:pos x="connsiteX2073" y="connsiteY2073"/>
                </a:cxn>
                <a:cxn ang="0">
                  <a:pos x="connsiteX2074" y="connsiteY2074"/>
                </a:cxn>
                <a:cxn ang="0">
                  <a:pos x="connsiteX2075" y="connsiteY2075"/>
                </a:cxn>
                <a:cxn ang="0">
                  <a:pos x="connsiteX2076" y="connsiteY2076"/>
                </a:cxn>
                <a:cxn ang="0">
                  <a:pos x="connsiteX2077" y="connsiteY2077"/>
                </a:cxn>
                <a:cxn ang="0">
                  <a:pos x="connsiteX2078" y="connsiteY2078"/>
                </a:cxn>
                <a:cxn ang="0">
                  <a:pos x="connsiteX2079" y="connsiteY2079"/>
                </a:cxn>
                <a:cxn ang="0">
                  <a:pos x="connsiteX2080" y="connsiteY2080"/>
                </a:cxn>
                <a:cxn ang="0">
                  <a:pos x="connsiteX2081" y="connsiteY2081"/>
                </a:cxn>
                <a:cxn ang="0">
                  <a:pos x="connsiteX2082" y="connsiteY2082"/>
                </a:cxn>
                <a:cxn ang="0">
                  <a:pos x="connsiteX2083" y="connsiteY2083"/>
                </a:cxn>
                <a:cxn ang="0">
                  <a:pos x="connsiteX2084" y="connsiteY2084"/>
                </a:cxn>
                <a:cxn ang="0">
                  <a:pos x="connsiteX2085" y="connsiteY2085"/>
                </a:cxn>
                <a:cxn ang="0">
                  <a:pos x="connsiteX2086" y="connsiteY2086"/>
                </a:cxn>
                <a:cxn ang="0">
                  <a:pos x="connsiteX2087" y="connsiteY2087"/>
                </a:cxn>
                <a:cxn ang="0">
                  <a:pos x="connsiteX2088" y="connsiteY2088"/>
                </a:cxn>
                <a:cxn ang="0">
                  <a:pos x="connsiteX2089" y="connsiteY2089"/>
                </a:cxn>
                <a:cxn ang="0">
                  <a:pos x="connsiteX2090" y="connsiteY2090"/>
                </a:cxn>
                <a:cxn ang="0">
                  <a:pos x="connsiteX2091" y="connsiteY2091"/>
                </a:cxn>
                <a:cxn ang="0">
                  <a:pos x="connsiteX2092" y="connsiteY2092"/>
                </a:cxn>
                <a:cxn ang="0">
                  <a:pos x="connsiteX2093" y="connsiteY2093"/>
                </a:cxn>
                <a:cxn ang="0">
                  <a:pos x="connsiteX2094" y="connsiteY2094"/>
                </a:cxn>
                <a:cxn ang="0">
                  <a:pos x="connsiteX2095" y="connsiteY2095"/>
                </a:cxn>
                <a:cxn ang="0">
                  <a:pos x="connsiteX2096" y="connsiteY2096"/>
                </a:cxn>
                <a:cxn ang="0">
                  <a:pos x="connsiteX2097" y="connsiteY2097"/>
                </a:cxn>
                <a:cxn ang="0">
                  <a:pos x="connsiteX2098" y="connsiteY2098"/>
                </a:cxn>
                <a:cxn ang="0">
                  <a:pos x="connsiteX2099" y="connsiteY2099"/>
                </a:cxn>
                <a:cxn ang="0">
                  <a:pos x="connsiteX2100" y="connsiteY2100"/>
                </a:cxn>
                <a:cxn ang="0">
                  <a:pos x="connsiteX2101" y="connsiteY2101"/>
                </a:cxn>
                <a:cxn ang="0">
                  <a:pos x="connsiteX2102" y="connsiteY2102"/>
                </a:cxn>
                <a:cxn ang="0">
                  <a:pos x="connsiteX2103" y="connsiteY2103"/>
                </a:cxn>
                <a:cxn ang="0">
                  <a:pos x="connsiteX2104" y="connsiteY2104"/>
                </a:cxn>
                <a:cxn ang="0">
                  <a:pos x="connsiteX2105" y="connsiteY2105"/>
                </a:cxn>
                <a:cxn ang="0">
                  <a:pos x="connsiteX2106" y="connsiteY2106"/>
                </a:cxn>
                <a:cxn ang="0">
                  <a:pos x="connsiteX2107" y="connsiteY2107"/>
                </a:cxn>
                <a:cxn ang="0">
                  <a:pos x="connsiteX2108" y="connsiteY2108"/>
                </a:cxn>
                <a:cxn ang="0">
                  <a:pos x="connsiteX2109" y="connsiteY2109"/>
                </a:cxn>
                <a:cxn ang="0">
                  <a:pos x="connsiteX2110" y="connsiteY2110"/>
                </a:cxn>
                <a:cxn ang="0">
                  <a:pos x="connsiteX2111" y="connsiteY2111"/>
                </a:cxn>
                <a:cxn ang="0">
                  <a:pos x="connsiteX2112" y="connsiteY2112"/>
                </a:cxn>
                <a:cxn ang="0">
                  <a:pos x="connsiteX2113" y="connsiteY2113"/>
                </a:cxn>
                <a:cxn ang="0">
                  <a:pos x="connsiteX2114" y="connsiteY2114"/>
                </a:cxn>
                <a:cxn ang="0">
                  <a:pos x="connsiteX2115" y="connsiteY2115"/>
                </a:cxn>
                <a:cxn ang="0">
                  <a:pos x="connsiteX2116" y="connsiteY2116"/>
                </a:cxn>
                <a:cxn ang="0">
                  <a:pos x="connsiteX2117" y="connsiteY2117"/>
                </a:cxn>
                <a:cxn ang="0">
                  <a:pos x="connsiteX2118" y="connsiteY2118"/>
                </a:cxn>
                <a:cxn ang="0">
                  <a:pos x="connsiteX2119" y="connsiteY2119"/>
                </a:cxn>
                <a:cxn ang="0">
                  <a:pos x="connsiteX2120" y="connsiteY2120"/>
                </a:cxn>
                <a:cxn ang="0">
                  <a:pos x="connsiteX2121" y="connsiteY2121"/>
                </a:cxn>
                <a:cxn ang="0">
                  <a:pos x="connsiteX2122" y="connsiteY2122"/>
                </a:cxn>
                <a:cxn ang="0">
                  <a:pos x="connsiteX2123" y="connsiteY2123"/>
                </a:cxn>
                <a:cxn ang="0">
                  <a:pos x="connsiteX2124" y="connsiteY2124"/>
                </a:cxn>
                <a:cxn ang="0">
                  <a:pos x="connsiteX2125" y="connsiteY2125"/>
                </a:cxn>
                <a:cxn ang="0">
                  <a:pos x="connsiteX2126" y="connsiteY2126"/>
                </a:cxn>
                <a:cxn ang="0">
                  <a:pos x="connsiteX2127" y="connsiteY2127"/>
                </a:cxn>
                <a:cxn ang="0">
                  <a:pos x="connsiteX2128" y="connsiteY2128"/>
                </a:cxn>
                <a:cxn ang="0">
                  <a:pos x="connsiteX2129" y="connsiteY2129"/>
                </a:cxn>
                <a:cxn ang="0">
                  <a:pos x="connsiteX2130" y="connsiteY2130"/>
                </a:cxn>
                <a:cxn ang="0">
                  <a:pos x="connsiteX2131" y="connsiteY2131"/>
                </a:cxn>
                <a:cxn ang="0">
                  <a:pos x="connsiteX2132" y="connsiteY2132"/>
                </a:cxn>
                <a:cxn ang="0">
                  <a:pos x="connsiteX2133" y="connsiteY2133"/>
                </a:cxn>
                <a:cxn ang="0">
                  <a:pos x="connsiteX2134" y="connsiteY2134"/>
                </a:cxn>
                <a:cxn ang="0">
                  <a:pos x="connsiteX2135" y="connsiteY2135"/>
                </a:cxn>
                <a:cxn ang="0">
                  <a:pos x="connsiteX2136" y="connsiteY2136"/>
                </a:cxn>
                <a:cxn ang="0">
                  <a:pos x="connsiteX2137" y="connsiteY2137"/>
                </a:cxn>
                <a:cxn ang="0">
                  <a:pos x="connsiteX2138" y="connsiteY2138"/>
                </a:cxn>
                <a:cxn ang="0">
                  <a:pos x="connsiteX2139" y="connsiteY2139"/>
                </a:cxn>
                <a:cxn ang="0">
                  <a:pos x="connsiteX2140" y="connsiteY2140"/>
                </a:cxn>
                <a:cxn ang="0">
                  <a:pos x="connsiteX2141" y="connsiteY2141"/>
                </a:cxn>
                <a:cxn ang="0">
                  <a:pos x="connsiteX2142" y="connsiteY2142"/>
                </a:cxn>
                <a:cxn ang="0">
                  <a:pos x="connsiteX2143" y="connsiteY2143"/>
                </a:cxn>
                <a:cxn ang="0">
                  <a:pos x="connsiteX2144" y="connsiteY2144"/>
                </a:cxn>
                <a:cxn ang="0">
                  <a:pos x="connsiteX2145" y="connsiteY2145"/>
                </a:cxn>
                <a:cxn ang="0">
                  <a:pos x="connsiteX2146" y="connsiteY2146"/>
                </a:cxn>
                <a:cxn ang="0">
                  <a:pos x="connsiteX2147" y="connsiteY2147"/>
                </a:cxn>
                <a:cxn ang="0">
                  <a:pos x="connsiteX2148" y="connsiteY2148"/>
                </a:cxn>
                <a:cxn ang="0">
                  <a:pos x="connsiteX2149" y="connsiteY2149"/>
                </a:cxn>
                <a:cxn ang="0">
                  <a:pos x="connsiteX2150" y="connsiteY2150"/>
                </a:cxn>
                <a:cxn ang="0">
                  <a:pos x="connsiteX2151" y="connsiteY2151"/>
                </a:cxn>
                <a:cxn ang="0">
                  <a:pos x="connsiteX2152" y="connsiteY2152"/>
                </a:cxn>
                <a:cxn ang="0">
                  <a:pos x="connsiteX2153" y="connsiteY2153"/>
                </a:cxn>
                <a:cxn ang="0">
                  <a:pos x="connsiteX2154" y="connsiteY2154"/>
                </a:cxn>
                <a:cxn ang="0">
                  <a:pos x="connsiteX2155" y="connsiteY2155"/>
                </a:cxn>
                <a:cxn ang="0">
                  <a:pos x="connsiteX2156" y="connsiteY2156"/>
                </a:cxn>
                <a:cxn ang="0">
                  <a:pos x="connsiteX2157" y="connsiteY2157"/>
                </a:cxn>
                <a:cxn ang="0">
                  <a:pos x="connsiteX2158" y="connsiteY2158"/>
                </a:cxn>
                <a:cxn ang="0">
                  <a:pos x="connsiteX2159" y="connsiteY2159"/>
                </a:cxn>
                <a:cxn ang="0">
                  <a:pos x="connsiteX2160" y="connsiteY2160"/>
                </a:cxn>
                <a:cxn ang="0">
                  <a:pos x="connsiteX2161" y="connsiteY2161"/>
                </a:cxn>
                <a:cxn ang="0">
                  <a:pos x="connsiteX2162" y="connsiteY2162"/>
                </a:cxn>
                <a:cxn ang="0">
                  <a:pos x="connsiteX2163" y="connsiteY2163"/>
                </a:cxn>
                <a:cxn ang="0">
                  <a:pos x="connsiteX2164" y="connsiteY2164"/>
                </a:cxn>
                <a:cxn ang="0">
                  <a:pos x="connsiteX2165" y="connsiteY2165"/>
                </a:cxn>
                <a:cxn ang="0">
                  <a:pos x="connsiteX2166" y="connsiteY2166"/>
                </a:cxn>
                <a:cxn ang="0">
                  <a:pos x="connsiteX2167" y="connsiteY2167"/>
                </a:cxn>
                <a:cxn ang="0">
                  <a:pos x="connsiteX2168" y="connsiteY2168"/>
                </a:cxn>
                <a:cxn ang="0">
                  <a:pos x="connsiteX2169" y="connsiteY2169"/>
                </a:cxn>
                <a:cxn ang="0">
                  <a:pos x="connsiteX2170" y="connsiteY2170"/>
                </a:cxn>
                <a:cxn ang="0">
                  <a:pos x="connsiteX2171" y="connsiteY2171"/>
                </a:cxn>
                <a:cxn ang="0">
                  <a:pos x="connsiteX2172" y="connsiteY2172"/>
                </a:cxn>
                <a:cxn ang="0">
                  <a:pos x="connsiteX2173" y="connsiteY2173"/>
                </a:cxn>
                <a:cxn ang="0">
                  <a:pos x="connsiteX2174" y="connsiteY2174"/>
                </a:cxn>
                <a:cxn ang="0">
                  <a:pos x="connsiteX2175" y="connsiteY2175"/>
                </a:cxn>
                <a:cxn ang="0">
                  <a:pos x="connsiteX2176" y="connsiteY2176"/>
                </a:cxn>
                <a:cxn ang="0">
                  <a:pos x="connsiteX2177" y="connsiteY2177"/>
                </a:cxn>
                <a:cxn ang="0">
                  <a:pos x="connsiteX2178" y="connsiteY2178"/>
                </a:cxn>
                <a:cxn ang="0">
                  <a:pos x="connsiteX2179" y="connsiteY2179"/>
                </a:cxn>
                <a:cxn ang="0">
                  <a:pos x="connsiteX2180" y="connsiteY2180"/>
                </a:cxn>
                <a:cxn ang="0">
                  <a:pos x="connsiteX2181" y="connsiteY2181"/>
                </a:cxn>
                <a:cxn ang="0">
                  <a:pos x="connsiteX2182" y="connsiteY2182"/>
                </a:cxn>
                <a:cxn ang="0">
                  <a:pos x="connsiteX2183" y="connsiteY2183"/>
                </a:cxn>
                <a:cxn ang="0">
                  <a:pos x="connsiteX2184" y="connsiteY2184"/>
                </a:cxn>
                <a:cxn ang="0">
                  <a:pos x="connsiteX2185" y="connsiteY2185"/>
                </a:cxn>
                <a:cxn ang="0">
                  <a:pos x="connsiteX2186" y="connsiteY2186"/>
                </a:cxn>
                <a:cxn ang="0">
                  <a:pos x="connsiteX2187" y="connsiteY2187"/>
                </a:cxn>
                <a:cxn ang="0">
                  <a:pos x="connsiteX2188" y="connsiteY2188"/>
                </a:cxn>
                <a:cxn ang="0">
                  <a:pos x="connsiteX2189" y="connsiteY2189"/>
                </a:cxn>
                <a:cxn ang="0">
                  <a:pos x="connsiteX2190" y="connsiteY2190"/>
                </a:cxn>
                <a:cxn ang="0">
                  <a:pos x="connsiteX2191" y="connsiteY2191"/>
                </a:cxn>
                <a:cxn ang="0">
                  <a:pos x="connsiteX2192" y="connsiteY2192"/>
                </a:cxn>
                <a:cxn ang="0">
                  <a:pos x="connsiteX2193" y="connsiteY2193"/>
                </a:cxn>
                <a:cxn ang="0">
                  <a:pos x="connsiteX2194" y="connsiteY2194"/>
                </a:cxn>
                <a:cxn ang="0">
                  <a:pos x="connsiteX2195" y="connsiteY2195"/>
                </a:cxn>
                <a:cxn ang="0">
                  <a:pos x="connsiteX2196" y="connsiteY2196"/>
                </a:cxn>
                <a:cxn ang="0">
                  <a:pos x="connsiteX2197" y="connsiteY2197"/>
                </a:cxn>
                <a:cxn ang="0">
                  <a:pos x="connsiteX2198" y="connsiteY2198"/>
                </a:cxn>
                <a:cxn ang="0">
                  <a:pos x="connsiteX2199" y="connsiteY2199"/>
                </a:cxn>
                <a:cxn ang="0">
                  <a:pos x="connsiteX2200" y="connsiteY2200"/>
                </a:cxn>
                <a:cxn ang="0">
                  <a:pos x="connsiteX2201" y="connsiteY2201"/>
                </a:cxn>
                <a:cxn ang="0">
                  <a:pos x="connsiteX2202" y="connsiteY2202"/>
                </a:cxn>
                <a:cxn ang="0">
                  <a:pos x="connsiteX2203" y="connsiteY2203"/>
                </a:cxn>
                <a:cxn ang="0">
                  <a:pos x="connsiteX2204" y="connsiteY2204"/>
                </a:cxn>
                <a:cxn ang="0">
                  <a:pos x="connsiteX2205" y="connsiteY2205"/>
                </a:cxn>
                <a:cxn ang="0">
                  <a:pos x="connsiteX2206" y="connsiteY2206"/>
                </a:cxn>
                <a:cxn ang="0">
                  <a:pos x="connsiteX2207" y="connsiteY2207"/>
                </a:cxn>
                <a:cxn ang="0">
                  <a:pos x="connsiteX2208" y="connsiteY2208"/>
                </a:cxn>
                <a:cxn ang="0">
                  <a:pos x="connsiteX2209" y="connsiteY2209"/>
                </a:cxn>
                <a:cxn ang="0">
                  <a:pos x="connsiteX2210" y="connsiteY2210"/>
                </a:cxn>
                <a:cxn ang="0">
                  <a:pos x="connsiteX2211" y="connsiteY2211"/>
                </a:cxn>
                <a:cxn ang="0">
                  <a:pos x="connsiteX2212" y="connsiteY2212"/>
                </a:cxn>
                <a:cxn ang="0">
                  <a:pos x="connsiteX2213" y="connsiteY2213"/>
                </a:cxn>
                <a:cxn ang="0">
                  <a:pos x="connsiteX2214" y="connsiteY2214"/>
                </a:cxn>
                <a:cxn ang="0">
                  <a:pos x="connsiteX2215" y="connsiteY2215"/>
                </a:cxn>
                <a:cxn ang="0">
                  <a:pos x="connsiteX2216" y="connsiteY2216"/>
                </a:cxn>
                <a:cxn ang="0">
                  <a:pos x="connsiteX2217" y="connsiteY2217"/>
                </a:cxn>
                <a:cxn ang="0">
                  <a:pos x="connsiteX2218" y="connsiteY2218"/>
                </a:cxn>
                <a:cxn ang="0">
                  <a:pos x="connsiteX2219" y="connsiteY2219"/>
                </a:cxn>
                <a:cxn ang="0">
                  <a:pos x="connsiteX2220" y="connsiteY2220"/>
                </a:cxn>
                <a:cxn ang="0">
                  <a:pos x="connsiteX2221" y="connsiteY2221"/>
                </a:cxn>
                <a:cxn ang="0">
                  <a:pos x="connsiteX2222" y="connsiteY2222"/>
                </a:cxn>
                <a:cxn ang="0">
                  <a:pos x="connsiteX2223" y="connsiteY2223"/>
                </a:cxn>
                <a:cxn ang="0">
                  <a:pos x="connsiteX2224" y="connsiteY2224"/>
                </a:cxn>
                <a:cxn ang="0">
                  <a:pos x="connsiteX2225" y="connsiteY2225"/>
                </a:cxn>
                <a:cxn ang="0">
                  <a:pos x="connsiteX2226" y="connsiteY2226"/>
                </a:cxn>
                <a:cxn ang="0">
                  <a:pos x="connsiteX2227" y="connsiteY2227"/>
                </a:cxn>
                <a:cxn ang="0">
                  <a:pos x="connsiteX2228" y="connsiteY2228"/>
                </a:cxn>
                <a:cxn ang="0">
                  <a:pos x="connsiteX2229" y="connsiteY2229"/>
                </a:cxn>
                <a:cxn ang="0">
                  <a:pos x="connsiteX2230" y="connsiteY2230"/>
                </a:cxn>
                <a:cxn ang="0">
                  <a:pos x="connsiteX2231" y="connsiteY2231"/>
                </a:cxn>
                <a:cxn ang="0">
                  <a:pos x="connsiteX2232" y="connsiteY2232"/>
                </a:cxn>
                <a:cxn ang="0">
                  <a:pos x="connsiteX2233" y="connsiteY2233"/>
                </a:cxn>
                <a:cxn ang="0">
                  <a:pos x="connsiteX2234" y="connsiteY2234"/>
                </a:cxn>
                <a:cxn ang="0">
                  <a:pos x="connsiteX2235" y="connsiteY2235"/>
                </a:cxn>
                <a:cxn ang="0">
                  <a:pos x="connsiteX2236" y="connsiteY2236"/>
                </a:cxn>
                <a:cxn ang="0">
                  <a:pos x="connsiteX2237" y="connsiteY2237"/>
                </a:cxn>
                <a:cxn ang="0">
                  <a:pos x="connsiteX2238" y="connsiteY2238"/>
                </a:cxn>
                <a:cxn ang="0">
                  <a:pos x="connsiteX2239" y="connsiteY2239"/>
                </a:cxn>
                <a:cxn ang="0">
                  <a:pos x="connsiteX2240" y="connsiteY2240"/>
                </a:cxn>
                <a:cxn ang="0">
                  <a:pos x="connsiteX2241" y="connsiteY2241"/>
                </a:cxn>
                <a:cxn ang="0">
                  <a:pos x="connsiteX2242" y="connsiteY2242"/>
                </a:cxn>
                <a:cxn ang="0">
                  <a:pos x="connsiteX2243" y="connsiteY2243"/>
                </a:cxn>
                <a:cxn ang="0">
                  <a:pos x="connsiteX2244" y="connsiteY2244"/>
                </a:cxn>
                <a:cxn ang="0">
                  <a:pos x="connsiteX2245" y="connsiteY2245"/>
                </a:cxn>
                <a:cxn ang="0">
                  <a:pos x="connsiteX2246" y="connsiteY2246"/>
                </a:cxn>
                <a:cxn ang="0">
                  <a:pos x="connsiteX2247" y="connsiteY2247"/>
                </a:cxn>
                <a:cxn ang="0">
                  <a:pos x="connsiteX2248" y="connsiteY2248"/>
                </a:cxn>
                <a:cxn ang="0">
                  <a:pos x="connsiteX2249" y="connsiteY2249"/>
                </a:cxn>
                <a:cxn ang="0">
                  <a:pos x="connsiteX2250" y="connsiteY2250"/>
                </a:cxn>
                <a:cxn ang="0">
                  <a:pos x="connsiteX2251" y="connsiteY2251"/>
                </a:cxn>
                <a:cxn ang="0">
                  <a:pos x="connsiteX2252" y="connsiteY2252"/>
                </a:cxn>
                <a:cxn ang="0">
                  <a:pos x="connsiteX2253" y="connsiteY2253"/>
                </a:cxn>
                <a:cxn ang="0">
                  <a:pos x="connsiteX2254" y="connsiteY2254"/>
                </a:cxn>
                <a:cxn ang="0">
                  <a:pos x="connsiteX2255" y="connsiteY2255"/>
                </a:cxn>
                <a:cxn ang="0">
                  <a:pos x="connsiteX2256" y="connsiteY2256"/>
                </a:cxn>
                <a:cxn ang="0">
                  <a:pos x="connsiteX2257" y="connsiteY2257"/>
                </a:cxn>
                <a:cxn ang="0">
                  <a:pos x="connsiteX2258" y="connsiteY2258"/>
                </a:cxn>
                <a:cxn ang="0">
                  <a:pos x="connsiteX2259" y="connsiteY2259"/>
                </a:cxn>
                <a:cxn ang="0">
                  <a:pos x="connsiteX2260" y="connsiteY2260"/>
                </a:cxn>
                <a:cxn ang="0">
                  <a:pos x="connsiteX2261" y="connsiteY2261"/>
                </a:cxn>
                <a:cxn ang="0">
                  <a:pos x="connsiteX2262" y="connsiteY2262"/>
                </a:cxn>
                <a:cxn ang="0">
                  <a:pos x="connsiteX2263" y="connsiteY2263"/>
                </a:cxn>
                <a:cxn ang="0">
                  <a:pos x="connsiteX2264" y="connsiteY2264"/>
                </a:cxn>
                <a:cxn ang="0">
                  <a:pos x="connsiteX2265" y="connsiteY2265"/>
                </a:cxn>
                <a:cxn ang="0">
                  <a:pos x="connsiteX2266" y="connsiteY2266"/>
                </a:cxn>
                <a:cxn ang="0">
                  <a:pos x="connsiteX2267" y="connsiteY2267"/>
                </a:cxn>
                <a:cxn ang="0">
                  <a:pos x="connsiteX2268" y="connsiteY2268"/>
                </a:cxn>
                <a:cxn ang="0">
                  <a:pos x="connsiteX2269" y="connsiteY2269"/>
                </a:cxn>
                <a:cxn ang="0">
                  <a:pos x="connsiteX2270" y="connsiteY2270"/>
                </a:cxn>
                <a:cxn ang="0">
                  <a:pos x="connsiteX2271" y="connsiteY2271"/>
                </a:cxn>
                <a:cxn ang="0">
                  <a:pos x="connsiteX2272" y="connsiteY2272"/>
                </a:cxn>
                <a:cxn ang="0">
                  <a:pos x="connsiteX2273" y="connsiteY2273"/>
                </a:cxn>
                <a:cxn ang="0">
                  <a:pos x="connsiteX2274" y="connsiteY2274"/>
                </a:cxn>
                <a:cxn ang="0">
                  <a:pos x="connsiteX2275" y="connsiteY2275"/>
                </a:cxn>
                <a:cxn ang="0">
                  <a:pos x="connsiteX2276" y="connsiteY2276"/>
                </a:cxn>
                <a:cxn ang="0">
                  <a:pos x="connsiteX2277" y="connsiteY2277"/>
                </a:cxn>
                <a:cxn ang="0">
                  <a:pos x="connsiteX2278" y="connsiteY2278"/>
                </a:cxn>
                <a:cxn ang="0">
                  <a:pos x="connsiteX2279" y="connsiteY2279"/>
                </a:cxn>
                <a:cxn ang="0">
                  <a:pos x="connsiteX2280" y="connsiteY2280"/>
                </a:cxn>
                <a:cxn ang="0">
                  <a:pos x="connsiteX2281" y="connsiteY2281"/>
                </a:cxn>
                <a:cxn ang="0">
                  <a:pos x="connsiteX2282" y="connsiteY2282"/>
                </a:cxn>
                <a:cxn ang="0">
                  <a:pos x="connsiteX2283" y="connsiteY2283"/>
                </a:cxn>
                <a:cxn ang="0">
                  <a:pos x="connsiteX2284" y="connsiteY2284"/>
                </a:cxn>
                <a:cxn ang="0">
                  <a:pos x="connsiteX2285" y="connsiteY2285"/>
                </a:cxn>
                <a:cxn ang="0">
                  <a:pos x="connsiteX2286" y="connsiteY2286"/>
                </a:cxn>
                <a:cxn ang="0">
                  <a:pos x="connsiteX2287" y="connsiteY2287"/>
                </a:cxn>
                <a:cxn ang="0">
                  <a:pos x="connsiteX2288" y="connsiteY2288"/>
                </a:cxn>
                <a:cxn ang="0">
                  <a:pos x="connsiteX2289" y="connsiteY2289"/>
                </a:cxn>
                <a:cxn ang="0">
                  <a:pos x="connsiteX2290" y="connsiteY2290"/>
                </a:cxn>
                <a:cxn ang="0">
                  <a:pos x="connsiteX2291" y="connsiteY2291"/>
                </a:cxn>
                <a:cxn ang="0">
                  <a:pos x="connsiteX2292" y="connsiteY2292"/>
                </a:cxn>
                <a:cxn ang="0">
                  <a:pos x="connsiteX2293" y="connsiteY2293"/>
                </a:cxn>
                <a:cxn ang="0">
                  <a:pos x="connsiteX2294" y="connsiteY2294"/>
                </a:cxn>
                <a:cxn ang="0">
                  <a:pos x="connsiteX2295" y="connsiteY2295"/>
                </a:cxn>
                <a:cxn ang="0">
                  <a:pos x="connsiteX2296" y="connsiteY2296"/>
                </a:cxn>
                <a:cxn ang="0">
                  <a:pos x="connsiteX2297" y="connsiteY2297"/>
                </a:cxn>
                <a:cxn ang="0">
                  <a:pos x="connsiteX2298" y="connsiteY2298"/>
                </a:cxn>
                <a:cxn ang="0">
                  <a:pos x="connsiteX2299" y="connsiteY2299"/>
                </a:cxn>
                <a:cxn ang="0">
                  <a:pos x="connsiteX2300" y="connsiteY2300"/>
                </a:cxn>
                <a:cxn ang="0">
                  <a:pos x="connsiteX2301" y="connsiteY2301"/>
                </a:cxn>
                <a:cxn ang="0">
                  <a:pos x="connsiteX2302" y="connsiteY2302"/>
                </a:cxn>
                <a:cxn ang="0">
                  <a:pos x="connsiteX2303" y="connsiteY2303"/>
                </a:cxn>
                <a:cxn ang="0">
                  <a:pos x="connsiteX2304" y="connsiteY2304"/>
                </a:cxn>
                <a:cxn ang="0">
                  <a:pos x="connsiteX2305" y="connsiteY2305"/>
                </a:cxn>
                <a:cxn ang="0">
                  <a:pos x="connsiteX2306" y="connsiteY2306"/>
                </a:cxn>
                <a:cxn ang="0">
                  <a:pos x="connsiteX2307" y="connsiteY2307"/>
                </a:cxn>
                <a:cxn ang="0">
                  <a:pos x="connsiteX2308" y="connsiteY2308"/>
                </a:cxn>
                <a:cxn ang="0">
                  <a:pos x="connsiteX2309" y="connsiteY2309"/>
                </a:cxn>
                <a:cxn ang="0">
                  <a:pos x="connsiteX2310" y="connsiteY2310"/>
                </a:cxn>
                <a:cxn ang="0">
                  <a:pos x="connsiteX2311" y="connsiteY2311"/>
                </a:cxn>
                <a:cxn ang="0">
                  <a:pos x="connsiteX2312" y="connsiteY2312"/>
                </a:cxn>
                <a:cxn ang="0">
                  <a:pos x="connsiteX2313" y="connsiteY2313"/>
                </a:cxn>
                <a:cxn ang="0">
                  <a:pos x="connsiteX2314" y="connsiteY2314"/>
                </a:cxn>
                <a:cxn ang="0">
                  <a:pos x="connsiteX2315" y="connsiteY2315"/>
                </a:cxn>
                <a:cxn ang="0">
                  <a:pos x="connsiteX2316" y="connsiteY2316"/>
                </a:cxn>
                <a:cxn ang="0">
                  <a:pos x="connsiteX2317" y="connsiteY2317"/>
                </a:cxn>
                <a:cxn ang="0">
                  <a:pos x="connsiteX2318" y="connsiteY2318"/>
                </a:cxn>
                <a:cxn ang="0">
                  <a:pos x="connsiteX2319" y="connsiteY2319"/>
                </a:cxn>
                <a:cxn ang="0">
                  <a:pos x="connsiteX2320" y="connsiteY2320"/>
                </a:cxn>
                <a:cxn ang="0">
                  <a:pos x="connsiteX2321" y="connsiteY2321"/>
                </a:cxn>
                <a:cxn ang="0">
                  <a:pos x="connsiteX2322" y="connsiteY2322"/>
                </a:cxn>
                <a:cxn ang="0">
                  <a:pos x="connsiteX2323" y="connsiteY2323"/>
                </a:cxn>
                <a:cxn ang="0">
                  <a:pos x="connsiteX2324" y="connsiteY2324"/>
                </a:cxn>
                <a:cxn ang="0">
                  <a:pos x="connsiteX2325" y="connsiteY2325"/>
                </a:cxn>
                <a:cxn ang="0">
                  <a:pos x="connsiteX2326" y="connsiteY2326"/>
                </a:cxn>
                <a:cxn ang="0">
                  <a:pos x="connsiteX2327" y="connsiteY2327"/>
                </a:cxn>
                <a:cxn ang="0">
                  <a:pos x="connsiteX2328" y="connsiteY2328"/>
                </a:cxn>
                <a:cxn ang="0">
                  <a:pos x="connsiteX2329" y="connsiteY2329"/>
                </a:cxn>
                <a:cxn ang="0">
                  <a:pos x="connsiteX2330" y="connsiteY2330"/>
                </a:cxn>
                <a:cxn ang="0">
                  <a:pos x="connsiteX2331" y="connsiteY2331"/>
                </a:cxn>
                <a:cxn ang="0">
                  <a:pos x="connsiteX2332" y="connsiteY2332"/>
                </a:cxn>
                <a:cxn ang="0">
                  <a:pos x="connsiteX2333" y="connsiteY2333"/>
                </a:cxn>
                <a:cxn ang="0">
                  <a:pos x="connsiteX2334" y="connsiteY2334"/>
                </a:cxn>
                <a:cxn ang="0">
                  <a:pos x="connsiteX2335" y="connsiteY2335"/>
                </a:cxn>
                <a:cxn ang="0">
                  <a:pos x="connsiteX2336" y="connsiteY2336"/>
                </a:cxn>
                <a:cxn ang="0">
                  <a:pos x="connsiteX2337" y="connsiteY2337"/>
                </a:cxn>
                <a:cxn ang="0">
                  <a:pos x="connsiteX2338" y="connsiteY2338"/>
                </a:cxn>
                <a:cxn ang="0">
                  <a:pos x="connsiteX2339" y="connsiteY2339"/>
                </a:cxn>
                <a:cxn ang="0">
                  <a:pos x="connsiteX2340" y="connsiteY2340"/>
                </a:cxn>
                <a:cxn ang="0">
                  <a:pos x="connsiteX2341" y="connsiteY2341"/>
                </a:cxn>
                <a:cxn ang="0">
                  <a:pos x="connsiteX2342" y="connsiteY2342"/>
                </a:cxn>
                <a:cxn ang="0">
                  <a:pos x="connsiteX2343" y="connsiteY2343"/>
                </a:cxn>
                <a:cxn ang="0">
                  <a:pos x="connsiteX2344" y="connsiteY2344"/>
                </a:cxn>
                <a:cxn ang="0">
                  <a:pos x="connsiteX2345" y="connsiteY2345"/>
                </a:cxn>
                <a:cxn ang="0">
                  <a:pos x="connsiteX2346" y="connsiteY2346"/>
                </a:cxn>
                <a:cxn ang="0">
                  <a:pos x="connsiteX2347" y="connsiteY2347"/>
                </a:cxn>
                <a:cxn ang="0">
                  <a:pos x="connsiteX2348" y="connsiteY2348"/>
                </a:cxn>
                <a:cxn ang="0">
                  <a:pos x="connsiteX2349" y="connsiteY2349"/>
                </a:cxn>
                <a:cxn ang="0">
                  <a:pos x="connsiteX2350" y="connsiteY2350"/>
                </a:cxn>
                <a:cxn ang="0">
                  <a:pos x="connsiteX2351" y="connsiteY2351"/>
                </a:cxn>
                <a:cxn ang="0">
                  <a:pos x="connsiteX2352" y="connsiteY2352"/>
                </a:cxn>
                <a:cxn ang="0">
                  <a:pos x="connsiteX2353" y="connsiteY2353"/>
                </a:cxn>
                <a:cxn ang="0">
                  <a:pos x="connsiteX2354" y="connsiteY2354"/>
                </a:cxn>
                <a:cxn ang="0">
                  <a:pos x="connsiteX2355" y="connsiteY2355"/>
                </a:cxn>
                <a:cxn ang="0">
                  <a:pos x="connsiteX2356" y="connsiteY2356"/>
                </a:cxn>
                <a:cxn ang="0">
                  <a:pos x="connsiteX2357" y="connsiteY2357"/>
                </a:cxn>
                <a:cxn ang="0">
                  <a:pos x="connsiteX2358" y="connsiteY2358"/>
                </a:cxn>
                <a:cxn ang="0">
                  <a:pos x="connsiteX2359" y="connsiteY2359"/>
                </a:cxn>
                <a:cxn ang="0">
                  <a:pos x="connsiteX2360" y="connsiteY2360"/>
                </a:cxn>
                <a:cxn ang="0">
                  <a:pos x="connsiteX2361" y="connsiteY2361"/>
                </a:cxn>
                <a:cxn ang="0">
                  <a:pos x="connsiteX2362" y="connsiteY2362"/>
                </a:cxn>
                <a:cxn ang="0">
                  <a:pos x="connsiteX2363" y="connsiteY2363"/>
                </a:cxn>
                <a:cxn ang="0">
                  <a:pos x="connsiteX2364" y="connsiteY2364"/>
                </a:cxn>
                <a:cxn ang="0">
                  <a:pos x="connsiteX2365" y="connsiteY2365"/>
                </a:cxn>
                <a:cxn ang="0">
                  <a:pos x="connsiteX2366" y="connsiteY2366"/>
                </a:cxn>
                <a:cxn ang="0">
                  <a:pos x="connsiteX2367" y="connsiteY2367"/>
                </a:cxn>
                <a:cxn ang="0">
                  <a:pos x="connsiteX2368" y="connsiteY2368"/>
                </a:cxn>
                <a:cxn ang="0">
                  <a:pos x="connsiteX2369" y="connsiteY2369"/>
                </a:cxn>
                <a:cxn ang="0">
                  <a:pos x="connsiteX2370" y="connsiteY2370"/>
                </a:cxn>
                <a:cxn ang="0">
                  <a:pos x="connsiteX2371" y="connsiteY2371"/>
                </a:cxn>
                <a:cxn ang="0">
                  <a:pos x="connsiteX2372" y="connsiteY2372"/>
                </a:cxn>
                <a:cxn ang="0">
                  <a:pos x="connsiteX2373" y="connsiteY2373"/>
                </a:cxn>
                <a:cxn ang="0">
                  <a:pos x="connsiteX2374" y="connsiteY2374"/>
                </a:cxn>
                <a:cxn ang="0">
                  <a:pos x="connsiteX2375" y="connsiteY2375"/>
                </a:cxn>
                <a:cxn ang="0">
                  <a:pos x="connsiteX2376" y="connsiteY2376"/>
                </a:cxn>
                <a:cxn ang="0">
                  <a:pos x="connsiteX2377" y="connsiteY2377"/>
                </a:cxn>
                <a:cxn ang="0">
                  <a:pos x="connsiteX2378" y="connsiteY2378"/>
                </a:cxn>
                <a:cxn ang="0">
                  <a:pos x="connsiteX2379" y="connsiteY2379"/>
                </a:cxn>
                <a:cxn ang="0">
                  <a:pos x="connsiteX2380" y="connsiteY2380"/>
                </a:cxn>
                <a:cxn ang="0">
                  <a:pos x="connsiteX2381" y="connsiteY2381"/>
                </a:cxn>
                <a:cxn ang="0">
                  <a:pos x="connsiteX2382" y="connsiteY2382"/>
                </a:cxn>
                <a:cxn ang="0">
                  <a:pos x="connsiteX2383" y="connsiteY2383"/>
                </a:cxn>
                <a:cxn ang="0">
                  <a:pos x="connsiteX2384" y="connsiteY2384"/>
                </a:cxn>
                <a:cxn ang="0">
                  <a:pos x="connsiteX2385" y="connsiteY2385"/>
                </a:cxn>
                <a:cxn ang="0">
                  <a:pos x="connsiteX2386" y="connsiteY2386"/>
                </a:cxn>
                <a:cxn ang="0">
                  <a:pos x="connsiteX2387" y="connsiteY2387"/>
                </a:cxn>
                <a:cxn ang="0">
                  <a:pos x="connsiteX2388" y="connsiteY2388"/>
                </a:cxn>
                <a:cxn ang="0">
                  <a:pos x="connsiteX2389" y="connsiteY2389"/>
                </a:cxn>
                <a:cxn ang="0">
                  <a:pos x="connsiteX2390" y="connsiteY2390"/>
                </a:cxn>
                <a:cxn ang="0">
                  <a:pos x="connsiteX2391" y="connsiteY2391"/>
                </a:cxn>
                <a:cxn ang="0">
                  <a:pos x="connsiteX2392" y="connsiteY2392"/>
                </a:cxn>
                <a:cxn ang="0">
                  <a:pos x="connsiteX2393" y="connsiteY2393"/>
                </a:cxn>
                <a:cxn ang="0">
                  <a:pos x="connsiteX2394" y="connsiteY2394"/>
                </a:cxn>
                <a:cxn ang="0">
                  <a:pos x="connsiteX2395" y="connsiteY2395"/>
                </a:cxn>
                <a:cxn ang="0">
                  <a:pos x="connsiteX2396" y="connsiteY2396"/>
                </a:cxn>
                <a:cxn ang="0">
                  <a:pos x="connsiteX2397" y="connsiteY2397"/>
                </a:cxn>
                <a:cxn ang="0">
                  <a:pos x="connsiteX2398" y="connsiteY2398"/>
                </a:cxn>
                <a:cxn ang="0">
                  <a:pos x="connsiteX2399" y="connsiteY2399"/>
                </a:cxn>
                <a:cxn ang="0">
                  <a:pos x="connsiteX2400" y="connsiteY2400"/>
                </a:cxn>
                <a:cxn ang="0">
                  <a:pos x="connsiteX2401" y="connsiteY2401"/>
                </a:cxn>
                <a:cxn ang="0">
                  <a:pos x="connsiteX2402" y="connsiteY2402"/>
                </a:cxn>
                <a:cxn ang="0">
                  <a:pos x="connsiteX2403" y="connsiteY2403"/>
                </a:cxn>
                <a:cxn ang="0">
                  <a:pos x="connsiteX2404" y="connsiteY2404"/>
                </a:cxn>
                <a:cxn ang="0">
                  <a:pos x="connsiteX2405" y="connsiteY2405"/>
                </a:cxn>
                <a:cxn ang="0">
                  <a:pos x="connsiteX2406" y="connsiteY2406"/>
                </a:cxn>
                <a:cxn ang="0">
                  <a:pos x="connsiteX2407" y="connsiteY2407"/>
                </a:cxn>
                <a:cxn ang="0">
                  <a:pos x="connsiteX2408" y="connsiteY2408"/>
                </a:cxn>
                <a:cxn ang="0">
                  <a:pos x="connsiteX2409" y="connsiteY2409"/>
                </a:cxn>
                <a:cxn ang="0">
                  <a:pos x="connsiteX2410" y="connsiteY2410"/>
                </a:cxn>
                <a:cxn ang="0">
                  <a:pos x="connsiteX2411" y="connsiteY2411"/>
                </a:cxn>
                <a:cxn ang="0">
                  <a:pos x="connsiteX2412" y="connsiteY2412"/>
                </a:cxn>
                <a:cxn ang="0">
                  <a:pos x="connsiteX2413" y="connsiteY2413"/>
                </a:cxn>
                <a:cxn ang="0">
                  <a:pos x="connsiteX2414" y="connsiteY2414"/>
                </a:cxn>
                <a:cxn ang="0">
                  <a:pos x="connsiteX2415" y="connsiteY2415"/>
                </a:cxn>
                <a:cxn ang="0">
                  <a:pos x="connsiteX2416" y="connsiteY2416"/>
                </a:cxn>
                <a:cxn ang="0">
                  <a:pos x="connsiteX2417" y="connsiteY2417"/>
                </a:cxn>
                <a:cxn ang="0">
                  <a:pos x="connsiteX2418" y="connsiteY2418"/>
                </a:cxn>
                <a:cxn ang="0">
                  <a:pos x="connsiteX2419" y="connsiteY2419"/>
                </a:cxn>
                <a:cxn ang="0">
                  <a:pos x="connsiteX2420" y="connsiteY2420"/>
                </a:cxn>
                <a:cxn ang="0">
                  <a:pos x="connsiteX2421" y="connsiteY2421"/>
                </a:cxn>
                <a:cxn ang="0">
                  <a:pos x="connsiteX2422" y="connsiteY2422"/>
                </a:cxn>
                <a:cxn ang="0">
                  <a:pos x="connsiteX2423" y="connsiteY2423"/>
                </a:cxn>
                <a:cxn ang="0">
                  <a:pos x="connsiteX2424" y="connsiteY2424"/>
                </a:cxn>
                <a:cxn ang="0">
                  <a:pos x="connsiteX2425" y="connsiteY2425"/>
                </a:cxn>
                <a:cxn ang="0">
                  <a:pos x="connsiteX2426" y="connsiteY2426"/>
                </a:cxn>
                <a:cxn ang="0">
                  <a:pos x="connsiteX2427" y="connsiteY2427"/>
                </a:cxn>
                <a:cxn ang="0">
                  <a:pos x="connsiteX2428" y="connsiteY2428"/>
                </a:cxn>
                <a:cxn ang="0">
                  <a:pos x="connsiteX2429" y="connsiteY2429"/>
                </a:cxn>
                <a:cxn ang="0">
                  <a:pos x="connsiteX2430" y="connsiteY2430"/>
                </a:cxn>
                <a:cxn ang="0">
                  <a:pos x="connsiteX2431" y="connsiteY2431"/>
                </a:cxn>
                <a:cxn ang="0">
                  <a:pos x="connsiteX2432" y="connsiteY2432"/>
                </a:cxn>
                <a:cxn ang="0">
                  <a:pos x="connsiteX2433" y="connsiteY2433"/>
                </a:cxn>
                <a:cxn ang="0">
                  <a:pos x="connsiteX2434" y="connsiteY2434"/>
                </a:cxn>
                <a:cxn ang="0">
                  <a:pos x="connsiteX2435" y="connsiteY2435"/>
                </a:cxn>
                <a:cxn ang="0">
                  <a:pos x="connsiteX2436" y="connsiteY2436"/>
                </a:cxn>
                <a:cxn ang="0">
                  <a:pos x="connsiteX2437" y="connsiteY2437"/>
                </a:cxn>
                <a:cxn ang="0">
                  <a:pos x="connsiteX2438" y="connsiteY2438"/>
                </a:cxn>
                <a:cxn ang="0">
                  <a:pos x="connsiteX2439" y="connsiteY2439"/>
                </a:cxn>
                <a:cxn ang="0">
                  <a:pos x="connsiteX2440" y="connsiteY2440"/>
                </a:cxn>
                <a:cxn ang="0">
                  <a:pos x="connsiteX2441" y="connsiteY2441"/>
                </a:cxn>
                <a:cxn ang="0">
                  <a:pos x="connsiteX2442" y="connsiteY2442"/>
                </a:cxn>
                <a:cxn ang="0">
                  <a:pos x="connsiteX2443" y="connsiteY2443"/>
                </a:cxn>
                <a:cxn ang="0">
                  <a:pos x="connsiteX2444" y="connsiteY2444"/>
                </a:cxn>
                <a:cxn ang="0">
                  <a:pos x="connsiteX2445" y="connsiteY2445"/>
                </a:cxn>
                <a:cxn ang="0">
                  <a:pos x="connsiteX2446" y="connsiteY2446"/>
                </a:cxn>
                <a:cxn ang="0">
                  <a:pos x="connsiteX2447" y="connsiteY2447"/>
                </a:cxn>
                <a:cxn ang="0">
                  <a:pos x="connsiteX2448" y="connsiteY2448"/>
                </a:cxn>
                <a:cxn ang="0">
                  <a:pos x="connsiteX2449" y="connsiteY2449"/>
                </a:cxn>
                <a:cxn ang="0">
                  <a:pos x="connsiteX2450" y="connsiteY2450"/>
                </a:cxn>
                <a:cxn ang="0">
                  <a:pos x="connsiteX2451" y="connsiteY2451"/>
                </a:cxn>
                <a:cxn ang="0">
                  <a:pos x="connsiteX2452" y="connsiteY2452"/>
                </a:cxn>
                <a:cxn ang="0">
                  <a:pos x="connsiteX2453" y="connsiteY2453"/>
                </a:cxn>
                <a:cxn ang="0">
                  <a:pos x="connsiteX2454" y="connsiteY2454"/>
                </a:cxn>
                <a:cxn ang="0">
                  <a:pos x="connsiteX2455" y="connsiteY2455"/>
                </a:cxn>
                <a:cxn ang="0">
                  <a:pos x="connsiteX2456" y="connsiteY2456"/>
                </a:cxn>
                <a:cxn ang="0">
                  <a:pos x="connsiteX2457" y="connsiteY2457"/>
                </a:cxn>
                <a:cxn ang="0">
                  <a:pos x="connsiteX2458" y="connsiteY2458"/>
                </a:cxn>
              </a:cxnLst>
              <a:rect l="l" t="t" r="r" b="b"/>
              <a:pathLst>
                <a:path w="1375767" h="1047668">
                  <a:moveTo>
                    <a:pt x="1239087" y="1004009"/>
                  </a:moveTo>
                  <a:lnTo>
                    <a:pt x="1239413" y="1002380"/>
                  </a:lnTo>
                  <a:lnTo>
                    <a:pt x="1239413" y="998470"/>
                  </a:lnTo>
                  <a:lnTo>
                    <a:pt x="1241205" y="997656"/>
                  </a:lnTo>
                  <a:lnTo>
                    <a:pt x="1241205" y="995212"/>
                  </a:lnTo>
                  <a:cubicBezTo>
                    <a:pt x="1241205" y="995212"/>
                    <a:pt x="1242182" y="993257"/>
                    <a:pt x="1242182" y="993257"/>
                  </a:cubicBezTo>
                  <a:lnTo>
                    <a:pt x="1241042" y="990488"/>
                  </a:lnTo>
                  <a:lnTo>
                    <a:pt x="1238435" y="989184"/>
                  </a:lnTo>
                  <a:lnTo>
                    <a:pt x="1238110" y="984134"/>
                  </a:lnTo>
                  <a:lnTo>
                    <a:pt x="1235503" y="979084"/>
                  </a:lnTo>
                  <a:lnTo>
                    <a:pt x="1230127" y="975337"/>
                  </a:lnTo>
                  <a:lnTo>
                    <a:pt x="1226869" y="972893"/>
                  </a:lnTo>
                  <a:lnTo>
                    <a:pt x="1225729" y="969472"/>
                  </a:lnTo>
                  <a:lnTo>
                    <a:pt x="1221004" y="962956"/>
                  </a:lnTo>
                  <a:lnTo>
                    <a:pt x="1217420" y="961490"/>
                  </a:lnTo>
                  <a:lnTo>
                    <a:pt x="1213022" y="961490"/>
                  </a:lnTo>
                  <a:cubicBezTo>
                    <a:pt x="1213022" y="961490"/>
                    <a:pt x="1213022" y="959535"/>
                    <a:pt x="1213022" y="959535"/>
                  </a:cubicBezTo>
                  <a:lnTo>
                    <a:pt x="1214651" y="957091"/>
                  </a:lnTo>
                  <a:lnTo>
                    <a:pt x="1213999" y="953344"/>
                  </a:lnTo>
                  <a:lnTo>
                    <a:pt x="1211718" y="951227"/>
                  </a:lnTo>
                  <a:lnTo>
                    <a:pt x="1210578" y="948294"/>
                  </a:lnTo>
                  <a:lnTo>
                    <a:pt x="1213510" y="945851"/>
                  </a:lnTo>
                  <a:lnTo>
                    <a:pt x="1215302" y="945199"/>
                  </a:lnTo>
                  <a:lnTo>
                    <a:pt x="1214651" y="942918"/>
                  </a:lnTo>
                  <a:lnTo>
                    <a:pt x="1211718" y="940963"/>
                  </a:lnTo>
                  <a:lnTo>
                    <a:pt x="1209112" y="940963"/>
                  </a:lnTo>
                  <a:lnTo>
                    <a:pt x="1209112" y="937868"/>
                  </a:lnTo>
                  <a:lnTo>
                    <a:pt x="1213347" y="934936"/>
                  </a:lnTo>
                  <a:lnTo>
                    <a:pt x="1212370" y="916201"/>
                  </a:lnTo>
                  <a:lnTo>
                    <a:pt x="1212370" y="898118"/>
                  </a:lnTo>
                  <a:cubicBezTo>
                    <a:pt x="1212370" y="898118"/>
                    <a:pt x="1214325" y="883456"/>
                    <a:pt x="1214325" y="883456"/>
                  </a:cubicBezTo>
                  <a:lnTo>
                    <a:pt x="1212859" y="879058"/>
                  </a:lnTo>
                  <a:lnTo>
                    <a:pt x="1212370" y="874496"/>
                  </a:lnTo>
                  <a:lnTo>
                    <a:pt x="1214814" y="869772"/>
                  </a:lnTo>
                  <a:lnTo>
                    <a:pt x="1213999" y="865211"/>
                  </a:lnTo>
                  <a:lnTo>
                    <a:pt x="1211555" y="861138"/>
                  </a:lnTo>
                  <a:lnTo>
                    <a:pt x="1210578" y="851852"/>
                  </a:lnTo>
                  <a:lnTo>
                    <a:pt x="1204876" y="845336"/>
                  </a:lnTo>
                  <a:lnTo>
                    <a:pt x="1203084" y="835887"/>
                  </a:lnTo>
                  <a:lnTo>
                    <a:pt x="1204387" y="831488"/>
                  </a:lnTo>
                  <a:lnTo>
                    <a:pt x="1199011" y="816826"/>
                  </a:lnTo>
                  <a:lnTo>
                    <a:pt x="1200152" y="813242"/>
                  </a:lnTo>
                  <a:lnTo>
                    <a:pt x="1204062" y="806400"/>
                  </a:lnTo>
                  <a:lnTo>
                    <a:pt x="1202758" y="802490"/>
                  </a:lnTo>
                  <a:lnTo>
                    <a:pt x="1202758" y="797766"/>
                  </a:lnTo>
                  <a:cubicBezTo>
                    <a:pt x="1202758" y="797766"/>
                    <a:pt x="1197219" y="793530"/>
                    <a:pt x="1197219" y="793530"/>
                  </a:cubicBezTo>
                  <a:lnTo>
                    <a:pt x="1189400" y="794019"/>
                  </a:lnTo>
                  <a:lnTo>
                    <a:pt x="1180603" y="796626"/>
                  </a:lnTo>
                  <a:lnTo>
                    <a:pt x="1178648" y="797929"/>
                  </a:lnTo>
                  <a:lnTo>
                    <a:pt x="1169362" y="800861"/>
                  </a:lnTo>
                  <a:lnTo>
                    <a:pt x="1163660" y="806563"/>
                  </a:lnTo>
                  <a:lnTo>
                    <a:pt x="1156492" y="817315"/>
                  </a:lnTo>
                  <a:lnTo>
                    <a:pt x="1150464" y="820573"/>
                  </a:lnTo>
                  <a:lnTo>
                    <a:pt x="1141993" y="821714"/>
                  </a:lnTo>
                  <a:lnTo>
                    <a:pt x="1132219" y="823343"/>
                  </a:lnTo>
                  <a:lnTo>
                    <a:pt x="1130427" y="823669"/>
                  </a:lnTo>
                  <a:lnTo>
                    <a:pt x="1130427" y="819596"/>
                  </a:lnTo>
                  <a:cubicBezTo>
                    <a:pt x="1130427" y="819596"/>
                    <a:pt x="1135151" y="812754"/>
                    <a:pt x="1135151" y="812754"/>
                  </a:cubicBezTo>
                  <a:lnTo>
                    <a:pt x="1132544" y="806074"/>
                  </a:lnTo>
                  <a:lnTo>
                    <a:pt x="1125214" y="776751"/>
                  </a:lnTo>
                  <a:lnTo>
                    <a:pt x="1120652" y="763555"/>
                  </a:lnTo>
                  <a:lnTo>
                    <a:pt x="1118697" y="757365"/>
                  </a:lnTo>
                  <a:lnTo>
                    <a:pt x="1124073" y="746124"/>
                  </a:lnTo>
                  <a:lnTo>
                    <a:pt x="1111366" y="744495"/>
                  </a:lnTo>
                  <a:lnTo>
                    <a:pt x="1101592" y="749871"/>
                  </a:lnTo>
                  <a:lnTo>
                    <a:pt x="1096216" y="747101"/>
                  </a:lnTo>
                  <a:lnTo>
                    <a:pt x="1079436" y="747101"/>
                  </a:lnTo>
                  <a:cubicBezTo>
                    <a:pt x="1079436" y="747101"/>
                    <a:pt x="1375768" y="206243"/>
                    <a:pt x="1375768" y="206243"/>
                  </a:cubicBezTo>
                  <a:lnTo>
                    <a:pt x="1374953" y="203962"/>
                  </a:lnTo>
                  <a:lnTo>
                    <a:pt x="1369577" y="202333"/>
                  </a:lnTo>
                  <a:lnTo>
                    <a:pt x="1365505" y="203148"/>
                  </a:lnTo>
                  <a:lnTo>
                    <a:pt x="1362735" y="200052"/>
                  </a:lnTo>
                  <a:lnTo>
                    <a:pt x="1360943" y="190115"/>
                  </a:lnTo>
                  <a:lnTo>
                    <a:pt x="1358174" y="184739"/>
                  </a:lnTo>
                  <a:lnTo>
                    <a:pt x="1354915" y="182784"/>
                  </a:lnTo>
                  <a:lnTo>
                    <a:pt x="1353775" y="177245"/>
                  </a:lnTo>
                  <a:lnTo>
                    <a:pt x="1350517" y="170566"/>
                  </a:lnTo>
                  <a:lnTo>
                    <a:pt x="1348236" y="168285"/>
                  </a:lnTo>
                  <a:lnTo>
                    <a:pt x="1339276" y="167959"/>
                  </a:lnTo>
                  <a:lnTo>
                    <a:pt x="1337810" y="169426"/>
                  </a:lnTo>
                  <a:lnTo>
                    <a:pt x="1330479" y="168448"/>
                  </a:lnTo>
                  <a:lnTo>
                    <a:pt x="1323963" y="169914"/>
                  </a:lnTo>
                  <a:lnTo>
                    <a:pt x="1321030" y="167633"/>
                  </a:lnTo>
                  <a:lnTo>
                    <a:pt x="1319076" y="168448"/>
                  </a:lnTo>
                  <a:lnTo>
                    <a:pt x="1316795" y="167145"/>
                  </a:lnTo>
                  <a:lnTo>
                    <a:pt x="1315166" y="168611"/>
                  </a:lnTo>
                  <a:lnTo>
                    <a:pt x="1312233" y="168122"/>
                  </a:lnTo>
                  <a:lnTo>
                    <a:pt x="1311907" y="166819"/>
                  </a:lnTo>
                  <a:lnTo>
                    <a:pt x="1314351" y="166330"/>
                  </a:lnTo>
                  <a:lnTo>
                    <a:pt x="1314677" y="163887"/>
                  </a:lnTo>
                  <a:lnTo>
                    <a:pt x="1310278" y="160954"/>
                  </a:lnTo>
                  <a:lnTo>
                    <a:pt x="1307346" y="162583"/>
                  </a:lnTo>
                  <a:lnTo>
                    <a:pt x="1304088" y="161280"/>
                  </a:lnTo>
                  <a:lnTo>
                    <a:pt x="1304739" y="159651"/>
                  </a:lnTo>
                  <a:lnTo>
                    <a:pt x="1307020" y="158022"/>
                  </a:lnTo>
                  <a:lnTo>
                    <a:pt x="1305228" y="156067"/>
                  </a:lnTo>
                  <a:lnTo>
                    <a:pt x="1302296" y="156393"/>
                  </a:lnTo>
                  <a:lnTo>
                    <a:pt x="1298386" y="155741"/>
                  </a:lnTo>
                  <a:lnTo>
                    <a:pt x="1298712" y="153135"/>
                  </a:lnTo>
                  <a:lnTo>
                    <a:pt x="1294965" y="149388"/>
                  </a:lnTo>
                  <a:lnTo>
                    <a:pt x="1287471" y="143849"/>
                  </a:lnTo>
                  <a:lnTo>
                    <a:pt x="1285842" y="144337"/>
                  </a:lnTo>
                  <a:lnTo>
                    <a:pt x="1283887" y="142871"/>
                  </a:lnTo>
                  <a:lnTo>
                    <a:pt x="1281606" y="142871"/>
                  </a:lnTo>
                  <a:lnTo>
                    <a:pt x="1279163" y="145152"/>
                  </a:lnTo>
                  <a:lnTo>
                    <a:pt x="1279651" y="143360"/>
                  </a:lnTo>
                  <a:lnTo>
                    <a:pt x="1279000" y="141405"/>
                  </a:lnTo>
                  <a:lnTo>
                    <a:pt x="1275253" y="139450"/>
                  </a:lnTo>
                  <a:lnTo>
                    <a:pt x="1272321" y="144012"/>
                  </a:lnTo>
                  <a:lnTo>
                    <a:pt x="1269714" y="142220"/>
                  </a:lnTo>
                  <a:lnTo>
                    <a:pt x="1269714" y="139124"/>
                  </a:lnTo>
                  <a:cubicBezTo>
                    <a:pt x="1269714" y="139124"/>
                    <a:pt x="1271669" y="137821"/>
                    <a:pt x="1271669" y="137821"/>
                  </a:cubicBezTo>
                  <a:lnTo>
                    <a:pt x="1270203" y="135540"/>
                  </a:lnTo>
                  <a:lnTo>
                    <a:pt x="1266130" y="133911"/>
                  </a:lnTo>
                  <a:lnTo>
                    <a:pt x="1262383" y="134889"/>
                  </a:lnTo>
                  <a:lnTo>
                    <a:pt x="1263686" y="132608"/>
                  </a:lnTo>
                  <a:lnTo>
                    <a:pt x="1263360" y="130816"/>
                  </a:lnTo>
                  <a:lnTo>
                    <a:pt x="1259125" y="128047"/>
                  </a:lnTo>
                  <a:lnTo>
                    <a:pt x="1255704" y="123648"/>
                  </a:lnTo>
                  <a:lnTo>
                    <a:pt x="1256355" y="122182"/>
                  </a:lnTo>
                  <a:lnTo>
                    <a:pt x="1254889" y="120390"/>
                  </a:lnTo>
                  <a:lnTo>
                    <a:pt x="1251631" y="119412"/>
                  </a:lnTo>
                  <a:lnTo>
                    <a:pt x="1249350" y="121204"/>
                  </a:lnTo>
                  <a:lnTo>
                    <a:pt x="1239413" y="130490"/>
                  </a:lnTo>
                  <a:lnTo>
                    <a:pt x="1228661" y="135866"/>
                  </a:lnTo>
                  <a:lnTo>
                    <a:pt x="1238110" y="129350"/>
                  </a:lnTo>
                  <a:lnTo>
                    <a:pt x="1243811" y="120716"/>
                  </a:lnTo>
                  <a:lnTo>
                    <a:pt x="1249513" y="115014"/>
                  </a:lnTo>
                  <a:lnTo>
                    <a:pt x="1250817" y="108823"/>
                  </a:lnTo>
                  <a:lnTo>
                    <a:pt x="1247558" y="106543"/>
                  </a:lnTo>
                  <a:lnTo>
                    <a:pt x="1240716" y="101818"/>
                  </a:lnTo>
                  <a:lnTo>
                    <a:pt x="1234526" y="101818"/>
                  </a:lnTo>
                  <a:lnTo>
                    <a:pt x="1228009" y="104425"/>
                  </a:lnTo>
                  <a:lnTo>
                    <a:pt x="1223937" y="104425"/>
                  </a:lnTo>
                  <a:lnTo>
                    <a:pt x="1221982" y="105891"/>
                  </a:lnTo>
                  <a:lnTo>
                    <a:pt x="1214814" y="107031"/>
                  </a:lnTo>
                  <a:lnTo>
                    <a:pt x="1207971" y="114525"/>
                  </a:lnTo>
                  <a:lnTo>
                    <a:pt x="1202107" y="118924"/>
                  </a:lnTo>
                  <a:lnTo>
                    <a:pt x="1206831" y="113548"/>
                  </a:lnTo>
                  <a:lnTo>
                    <a:pt x="1206179" y="106705"/>
                  </a:lnTo>
                  <a:lnTo>
                    <a:pt x="1207157" y="100841"/>
                  </a:lnTo>
                  <a:lnTo>
                    <a:pt x="1207157" y="96605"/>
                  </a:lnTo>
                  <a:cubicBezTo>
                    <a:pt x="1207157" y="96605"/>
                    <a:pt x="1198848" y="91718"/>
                    <a:pt x="1198848" y="91718"/>
                  </a:cubicBezTo>
                  <a:lnTo>
                    <a:pt x="1198848" y="89600"/>
                  </a:lnTo>
                  <a:lnTo>
                    <a:pt x="1203573" y="87808"/>
                  </a:lnTo>
                  <a:lnTo>
                    <a:pt x="1207646" y="87808"/>
                  </a:lnTo>
                  <a:cubicBezTo>
                    <a:pt x="1207646" y="87808"/>
                    <a:pt x="1207320" y="85527"/>
                    <a:pt x="1207320" y="85527"/>
                  </a:cubicBezTo>
                  <a:lnTo>
                    <a:pt x="1194939" y="78522"/>
                  </a:lnTo>
                  <a:lnTo>
                    <a:pt x="1193798" y="75427"/>
                  </a:lnTo>
                  <a:lnTo>
                    <a:pt x="1196405" y="71517"/>
                  </a:lnTo>
                  <a:lnTo>
                    <a:pt x="1203247" y="68259"/>
                  </a:lnTo>
                  <a:lnTo>
                    <a:pt x="1206831" y="64349"/>
                  </a:lnTo>
                  <a:lnTo>
                    <a:pt x="1204225" y="61417"/>
                  </a:lnTo>
                  <a:lnTo>
                    <a:pt x="1201455" y="55878"/>
                  </a:lnTo>
                  <a:lnTo>
                    <a:pt x="1199174" y="55878"/>
                  </a:lnTo>
                  <a:cubicBezTo>
                    <a:pt x="1199174" y="55878"/>
                    <a:pt x="1196568" y="57018"/>
                    <a:pt x="1196568" y="57018"/>
                  </a:cubicBezTo>
                  <a:lnTo>
                    <a:pt x="1194613" y="53597"/>
                  </a:lnTo>
                  <a:lnTo>
                    <a:pt x="1190703" y="51642"/>
                  </a:lnTo>
                  <a:lnTo>
                    <a:pt x="1185816" y="52131"/>
                  </a:lnTo>
                  <a:lnTo>
                    <a:pt x="1179951" y="49687"/>
                  </a:lnTo>
                  <a:lnTo>
                    <a:pt x="1177019" y="48710"/>
                  </a:lnTo>
                  <a:lnTo>
                    <a:pt x="1173272" y="49850"/>
                  </a:lnTo>
                  <a:lnTo>
                    <a:pt x="1167570" y="49850"/>
                  </a:lnTo>
                  <a:cubicBezTo>
                    <a:pt x="1167570" y="49850"/>
                    <a:pt x="1164963" y="54086"/>
                    <a:pt x="1164963" y="54086"/>
                  </a:cubicBezTo>
                  <a:lnTo>
                    <a:pt x="1164963" y="56367"/>
                  </a:lnTo>
                  <a:cubicBezTo>
                    <a:pt x="1164963" y="56367"/>
                    <a:pt x="1161868" y="52131"/>
                    <a:pt x="1161868" y="52131"/>
                  </a:cubicBezTo>
                  <a:lnTo>
                    <a:pt x="1163660" y="47895"/>
                  </a:lnTo>
                  <a:lnTo>
                    <a:pt x="1165941" y="46429"/>
                  </a:lnTo>
                  <a:lnTo>
                    <a:pt x="1165615" y="42193"/>
                  </a:lnTo>
                  <a:lnTo>
                    <a:pt x="1167407" y="38609"/>
                  </a:lnTo>
                  <a:lnTo>
                    <a:pt x="1170014" y="37143"/>
                  </a:lnTo>
                  <a:lnTo>
                    <a:pt x="1170502" y="32419"/>
                  </a:lnTo>
                  <a:lnTo>
                    <a:pt x="1171968" y="28020"/>
                  </a:lnTo>
                  <a:lnTo>
                    <a:pt x="1170502" y="25088"/>
                  </a:lnTo>
                  <a:lnTo>
                    <a:pt x="1168873" y="25088"/>
                  </a:lnTo>
                  <a:cubicBezTo>
                    <a:pt x="1168873" y="25088"/>
                    <a:pt x="1162846" y="30627"/>
                    <a:pt x="1162846" y="30627"/>
                  </a:cubicBezTo>
                  <a:lnTo>
                    <a:pt x="1161542" y="35025"/>
                  </a:lnTo>
                  <a:lnTo>
                    <a:pt x="1160239" y="35025"/>
                  </a:lnTo>
                  <a:cubicBezTo>
                    <a:pt x="1160239" y="35025"/>
                    <a:pt x="1156655" y="32582"/>
                    <a:pt x="1156655" y="32582"/>
                  </a:cubicBezTo>
                  <a:lnTo>
                    <a:pt x="1151605" y="34537"/>
                  </a:lnTo>
                  <a:lnTo>
                    <a:pt x="1150627" y="37143"/>
                  </a:lnTo>
                  <a:lnTo>
                    <a:pt x="1151605" y="42193"/>
                  </a:lnTo>
                  <a:lnTo>
                    <a:pt x="1148347" y="45777"/>
                  </a:lnTo>
                  <a:lnTo>
                    <a:pt x="1145903" y="46103"/>
                  </a:lnTo>
                  <a:lnTo>
                    <a:pt x="1144600" y="44148"/>
                  </a:lnTo>
                  <a:lnTo>
                    <a:pt x="1141830" y="50502"/>
                  </a:lnTo>
                  <a:lnTo>
                    <a:pt x="1141830" y="55715"/>
                  </a:lnTo>
                  <a:cubicBezTo>
                    <a:pt x="1141830" y="55715"/>
                    <a:pt x="1139713" y="50502"/>
                    <a:pt x="1139713" y="50502"/>
                  </a:cubicBezTo>
                  <a:lnTo>
                    <a:pt x="1139713" y="45289"/>
                  </a:lnTo>
                  <a:cubicBezTo>
                    <a:pt x="1139713" y="45289"/>
                    <a:pt x="1142156" y="40890"/>
                    <a:pt x="1142156" y="40890"/>
                  </a:cubicBezTo>
                  <a:lnTo>
                    <a:pt x="1139875" y="40076"/>
                  </a:lnTo>
                  <a:lnTo>
                    <a:pt x="1136617" y="43660"/>
                  </a:lnTo>
                  <a:lnTo>
                    <a:pt x="1135314" y="46918"/>
                  </a:lnTo>
                  <a:lnTo>
                    <a:pt x="1131404" y="48058"/>
                  </a:lnTo>
                  <a:lnTo>
                    <a:pt x="1134336" y="40401"/>
                  </a:lnTo>
                  <a:lnTo>
                    <a:pt x="1131404" y="35514"/>
                  </a:lnTo>
                  <a:lnTo>
                    <a:pt x="1126843" y="36003"/>
                  </a:lnTo>
                  <a:lnTo>
                    <a:pt x="1127657" y="32745"/>
                  </a:lnTo>
                  <a:lnTo>
                    <a:pt x="1133522" y="28183"/>
                  </a:lnTo>
                  <a:lnTo>
                    <a:pt x="1138572" y="26880"/>
                  </a:lnTo>
                  <a:lnTo>
                    <a:pt x="1144111" y="31279"/>
                  </a:lnTo>
                  <a:lnTo>
                    <a:pt x="1151116" y="28346"/>
                  </a:lnTo>
                  <a:lnTo>
                    <a:pt x="1155678" y="27043"/>
                  </a:lnTo>
                  <a:lnTo>
                    <a:pt x="1160728" y="21993"/>
                  </a:lnTo>
                  <a:lnTo>
                    <a:pt x="1161217" y="19712"/>
                  </a:lnTo>
                  <a:lnTo>
                    <a:pt x="1162520" y="17268"/>
                  </a:lnTo>
                  <a:lnTo>
                    <a:pt x="1161379" y="14988"/>
                  </a:lnTo>
                  <a:lnTo>
                    <a:pt x="1155352" y="12544"/>
                  </a:lnTo>
                  <a:lnTo>
                    <a:pt x="1153397" y="12544"/>
                  </a:lnTo>
                  <a:cubicBezTo>
                    <a:pt x="1153397" y="12544"/>
                    <a:pt x="1153071" y="8308"/>
                    <a:pt x="1153071" y="8308"/>
                  </a:cubicBezTo>
                  <a:lnTo>
                    <a:pt x="1151116" y="6353"/>
                  </a:lnTo>
                  <a:lnTo>
                    <a:pt x="1149487" y="4887"/>
                  </a:lnTo>
                  <a:lnTo>
                    <a:pt x="1150464" y="3421"/>
                  </a:lnTo>
                  <a:lnTo>
                    <a:pt x="1153071" y="2444"/>
                  </a:lnTo>
                  <a:lnTo>
                    <a:pt x="1154048" y="489"/>
                  </a:lnTo>
                  <a:lnTo>
                    <a:pt x="1151605" y="0"/>
                  </a:lnTo>
                  <a:lnTo>
                    <a:pt x="1142156" y="4724"/>
                  </a:lnTo>
                  <a:lnTo>
                    <a:pt x="1139875" y="6842"/>
                  </a:lnTo>
                  <a:lnTo>
                    <a:pt x="1133196" y="7331"/>
                  </a:lnTo>
                  <a:lnTo>
                    <a:pt x="1127820" y="10589"/>
                  </a:lnTo>
                  <a:lnTo>
                    <a:pt x="1116905" y="19386"/>
                  </a:lnTo>
                  <a:lnTo>
                    <a:pt x="1110389" y="21830"/>
                  </a:lnTo>
                  <a:lnTo>
                    <a:pt x="1098334" y="21830"/>
                  </a:lnTo>
                  <a:cubicBezTo>
                    <a:pt x="1098334" y="21830"/>
                    <a:pt x="1091654" y="17594"/>
                    <a:pt x="1091654" y="17594"/>
                  </a:cubicBezTo>
                  <a:lnTo>
                    <a:pt x="1088885" y="15639"/>
                  </a:lnTo>
                  <a:lnTo>
                    <a:pt x="1088396" y="18409"/>
                  </a:lnTo>
                  <a:lnTo>
                    <a:pt x="1084649" y="17920"/>
                  </a:lnTo>
                  <a:lnTo>
                    <a:pt x="1079436" y="13521"/>
                  </a:lnTo>
                  <a:lnTo>
                    <a:pt x="1075200" y="15476"/>
                  </a:lnTo>
                  <a:lnTo>
                    <a:pt x="1073734" y="19549"/>
                  </a:lnTo>
                  <a:lnTo>
                    <a:pt x="1071128" y="19549"/>
                  </a:lnTo>
                  <a:cubicBezTo>
                    <a:pt x="1071128" y="19549"/>
                    <a:pt x="1069824" y="16454"/>
                    <a:pt x="1069824" y="16454"/>
                  </a:cubicBezTo>
                  <a:lnTo>
                    <a:pt x="1070965" y="13359"/>
                  </a:lnTo>
                  <a:lnTo>
                    <a:pt x="1075363" y="11567"/>
                  </a:lnTo>
                  <a:lnTo>
                    <a:pt x="1072920" y="9286"/>
                  </a:lnTo>
                  <a:lnTo>
                    <a:pt x="1066892" y="11078"/>
                  </a:lnTo>
                  <a:lnTo>
                    <a:pt x="1057281" y="16291"/>
                  </a:lnTo>
                  <a:lnTo>
                    <a:pt x="1050275" y="19712"/>
                  </a:lnTo>
                  <a:lnTo>
                    <a:pt x="1047669" y="25088"/>
                  </a:lnTo>
                  <a:lnTo>
                    <a:pt x="1048809" y="29487"/>
                  </a:lnTo>
                  <a:lnTo>
                    <a:pt x="1054837" y="30953"/>
                  </a:lnTo>
                  <a:lnTo>
                    <a:pt x="1051416" y="33885"/>
                  </a:lnTo>
                  <a:lnTo>
                    <a:pt x="1044736" y="33885"/>
                  </a:lnTo>
                  <a:lnTo>
                    <a:pt x="1038220" y="39424"/>
                  </a:lnTo>
                  <a:lnTo>
                    <a:pt x="1033170" y="50665"/>
                  </a:lnTo>
                  <a:lnTo>
                    <a:pt x="1030400" y="59299"/>
                  </a:lnTo>
                  <a:lnTo>
                    <a:pt x="1027957" y="59625"/>
                  </a:lnTo>
                  <a:lnTo>
                    <a:pt x="1026816" y="57833"/>
                  </a:lnTo>
                  <a:lnTo>
                    <a:pt x="1028445" y="49199"/>
                  </a:lnTo>
                  <a:lnTo>
                    <a:pt x="1035939" y="37795"/>
                  </a:lnTo>
                  <a:lnTo>
                    <a:pt x="1036265" y="34537"/>
                  </a:lnTo>
                  <a:lnTo>
                    <a:pt x="1033659" y="34537"/>
                  </a:lnTo>
                  <a:cubicBezTo>
                    <a:pt x="1033659" y="34537"/>
                    <a:pt x="1020789" y="39913"/>
                    <a:pt x="1020789" y="39913"/>
                  </a:cubicBezTo>
                  <a:lnTo>
                    <a:pt x="1015413" y="39913"/>
                  </a:lnTo>
                  <a:lnTo>
                    <a:pt x="1012155" y="38284"/>
                  </a:lnTo>
                  <a:lnTo>
                    <a:pt x="1008245" y="33071"/>
                  </a:lnTo>
                  <a:lnTo>
                    <a:pt x="1002217" y="31604"/>
                  </a:lnTo>
                  <a:lnTo>
                    <a:pt x="999122" y="31604"/>
                  </a:lnTo>
                  <a:cubicBezTo>
                    <a:pt x="999122" y="31604"/>
                    <a:pt x="999611" y="33559"/>
                    <a:pt x="999611" y="33559"/>
                  </a:cubicBezTo>
                  <a:lnTo>
                    <a:pt x="1007104" y="36817"/>
                  </a:lnTo>
                  <a:lnTo>
                    <a:pt x="1009874" y="40076"/>
                  </a:lnTo>
                  <a:lnTo>
                    <a:pt x="1007267" y="41542"/>
                  </a:lnTo>
                  <a:lnTo>
                    <a:pt x="999936" y="39750"/>
                  </a:lnTo>
                  <a:lnTo>
                    <a:pt x="991302" y="38447"/>
                  </a:lnTo>
                  <a:lnTo>
                    <a:pt x="980876" y="43660"/>
                  </a:lnTo>
                  <a:lnTo>
                    <a:pt x="967680" y="54737"/>
                  </a:lnTo>
                  <a:lnTo>
                    <a:pt x="953019" y="61743"/>
                  </a:lnTo>
                  <a:lnTo>
                    <a:pt x="942918" y="69236"/>
                  </a:lnTo>
                  <a:lnTo>
                    <a:pt x="932166" y="78848"/>
                  </a:lnTo>
                  <a:lnTo>
                    <a:pt x="919296" y="90415"/>
                  </a:lnTo>
                  <a:lnTo>
                    <a:pt x="910825" y="93836"/>
                  </a:lnTo>
                  <a:lnTo>
                    <a:pt x="906427" y="94487"/>
                  </a:lnTo>
                  <a:lnTo>
                    <a:pt x="899259" y="98723"/>
                  </a:lnTo>
                  <a:lnTo>
                    <a:pt x="893557" y="99049"/>
                  </a:lnTo>
                  <a:lnTo>
                    <a:pt x="884923" y="104425"/>
                  </a:lnTo>
                  <a:lnTo>
                    <a:pt x="877429" y="104425"/>
                  </a:lnTo>
                  <a:cubicBezTo>
                    <a:pt x="877429" y="104425"/>
                    <a:pt x="873519" y="101655"/>
                    <a:pt x="873519" y="101655"/>
                  </a:cubicBezTo>
                  <a:lnTo>
                    <a:pt x="866025" y="100841"/>
                  </a:lnTo>
                  <a:lnTo>
                    <a:pt x="859020" y="96605"/>
                  </a:lnTo>
                  <a:lnTo>
                    <a:pt x="853807" y="93836"/>
                  </a:lnTo>
                  <a:lnTo>
                    <a:pt x="845987" y="89926"/>
                  </a:lnTo>
                  <a:lnTo>
                    <a:pt x="843055" y="90740"/>
                  </a:lnTo>
                  <a:lnTo>
                    <a:pt x="837027" y="96605"/>
                  </a:lnTo>
                  <a:lnTo>
                    <a:pt x="828067" y="106380"/>
                  </a:lnTo>
                  <a:lnTo>
                    <a:pt x="825624" y="112244"/>
                  </a:lnTo>
                  <a:lnTo>
                    <a:pt x="820573" y="116969"/>
                  </a:lnTo>
                  <a:lnTo>
                    <a:pt x="817967" y="123159"/>
                  </a:lnTo>
                  <a:lnTo>
                    <a:pt x="814057" y="122671"/>
                  </a:lnTo>
                  <a:lnTo>
                    <a:pt x="810799" y="120227"/>
                  </a:lnTo>
                  <a:lnTo>
                    <a:pt x="807866" y="122182"/>
                  </a:lnTo>
                  <a:lnTo>
                    <a:pt x="812428" y="132934"/>
                  </a:lnTo>
                  <a:lnTo>
                    <a:pt x="818618" y="155578"/>
                  </a:lnTo>
                  <a:lnTo>
                    <a:pt x="824972" y="172847"/>
                  </a:lnTo>
                  <a:lnTo>
                    <a:pt x="827579" y="188323"/>
                  </a:lnTo>
                  <a:lnTo>
                    <a:pt x="826112" y="202333"/>
                  </a:lnTo>
                  <a:lnTo>
                    <a:pt x="820248" y="212922"/>
                  </a:lnTo>
                  <a:lnTo>
                    <a:pt x="815849" y="219439"/>
                  </a:lnTo>
                  <a:lnTo>
                    <a:pt x="815849" y="222208"/>
                  </a:lnTo>
                  <a:lnTo>
                    <a:pt x="825461" y="233775"/>
                  </a:lnTo>
                  <a:lnTo>
                    <a:pt x="830837" y="236218"/>
                  </a:lnTo>
                  <a:lnTo>
                    <a:pt x="830837" y="230679"/>
                  </a:lnTo>
                  <a:cubicBezTo>
                    <a:pt x="830837" y="230679"/>
                    <a:pt x="833280" y="233123"/>
                    <a:pt x="833280" y="233123"/>
                  </a:cubicBezTo>
                  <a:lnTo>
                    <a:pt x="837353" y="230516"/>
                  </a:lnTo>
                  <a:lnTo>
                    <a:pt x="841100" y="230516"/>
                  </a:lnTo>
                  <a:lnTo>
                    <a:pt x="837353" y="233612"/>
                  </a:lnTo>
                  <a:lnTo>
                    <a:pt x="837027" y="236870"/>
                  </a:lnTo>
                  <a:lnTo>
                    <a:pt x="849571" y="246807"/>
                  </a:lnTo>
                  <a:lnTo>
                    <a:pt x="846476" y="248925"/>
                  </a:lnTo>
                  <a:lnTo>
                    <a:pt x="841100" y="248274"/>
                  </a:lnTo>
                  <a:lnTo>
                    <a:pt x="839634" y="251858"/>
                  </a:lnTo>
                  <a:lnTo>
                    <a:pt x="838982" y="265216"/>
                  </a:lnTo>
                  <a:lnTo>
                    <a:pt x="839471" y="270918"/>
                  </a:lnTo>
                  <a:lnTo>
                    <a:pt x="842077" y="273036"/>
                  </a:lnTo>
                  <a:lnTo>
                    <a:pt x="845824" y="269940"/>
                  </a:lnTo>
                  <a:lnTo>
                    <a:pt x="851526" y="268311"/>
                  </a:lnTo>
                  <a:lnTo>
                    <a:pt x="855599" y="270103"/>
                  </a:lnTo>
                  <a:lnTo>
                    <a:pt x="857391" y="273362"/>
                  </a:lnTo>
                  <a:lnTo>
                    <a:pt x="864070" y="271407"/>
                  </a:lnTo>
                  <a:lnTo>
                    <a:pt x="872053" y="273850"/>
                  </a:lnTo>
                  <a:lnTo>
                    <a:pt x="878895" y="277597"/>
                  </a:lnTo>
                  <a:lnTo>
                    <a:pt x="872216" y="281018"/>
                  </a:lnTo>
                  <a:lnTo>
                    <a:pt x="873682" y="286720"/>
                  </a:lnTo>
                  <a:lnTo>
                    <a:pt x="872053" y="291933"/>
                  </a:lnTo>
                  <a:lnTo>
                    <a:pt x="863581" y="292911"/>
                  </a:lnTo>
                  <a:lnTo>
                    <a:pt x="864233" y="289490"/>
                  </a:lnTo>
                  <a:lnTo>
                    <a:pt x="859020" y="286557"/>
                  </a:lnTo>
                  <a:lnTo>
                    <a:pt x="855925" y="288349"/>
                  </a:lnTo>
                  <a:lnTo>
                    <a:pt x="849245" y="287535"/>
                  </a:lnTo>
                  <a:lnTo>
                    <a:pt x="846476" y="284765"/>
                  </a:lnTo>
                  <a:lnTo>
                    <a:pt x="844032" y="277597"/>
                  </a:lnTo>
                  <a:lnTo>
                    <a:pt x="839634" y="275968"/>
                  </a:lnTo>
                  <a:lnTo>
                    <a:pt x="837190" y="276294"/>
                  </a:lnTo>
                  <a:lnTo>
                    <a:pt x="831163" y="271570"/>
                  </a:lnTo>
                  <a:lnTo>
                    <a:pt x="831977" y="263750"/>
                  </a:lnTo>
                  <a:lnTo>
                    <a:pt x="837516" y="248599"/>
                  </a:lnTo>
                  <a:lnTo>
                    <a:pt x="836701" y="243875"/>
                  </a:lnTo>
                  <a:lnTo>
                    <a:pt x="834747" y="243875"/>
                  </a:lnTo>
                  <a:cubicBezTo>
                    <a:pt x="834747" y="243875"/>
                    <a:pt x="830348" y="248436"/>
                    <a:pt x="830348" y="248436"/>
                  </a:cubicBezTo>
                  <a:lnTo>
                    <a:pt x="829859" y="263424"/>
                  </a:lnTo>
                  <a:lnTo>
                    <a:pt x="827416" y="273199"/>
                  </a:lnTo>
                  <a:lnTo>
                    <a:pt x="822854" y="278412"/>
                  </a:lnTo>
                  <a:lnTo>
                    <a:pt x="822854" y="282484"/>
                  </a:lnTo>
                  <a:lnTo>
                    <a:pt x="826112" y="277108"/>
                  </a:lnTo>
                  <a:lnTo>
                    <a:pt x="829533" y="277108"/>
                  </a:lnTo>
                  <a:lnTo>
                    <a:pt x="831977" y="279552"/>
                  </a:lnTo>
                  <a:lnTo>
                    <a:pt x="838168" y="279552"/>
                  </a:lnTo>
                  <a:lnTo>
                    <a:pt x="840774" y="285417"/>
                  </a:lnTo>
                  <a:lnTo>
                    <a:pt x="840448" y="294377"/>
                  </a:lnTo>
                  <a:lnTo>
                    <a:pt x="835235" y="300079"/>
                  </a:lnTo>
                  <a:lnTo>
                    <a:pt x="827904" y="302848"/>
                  </a:lnTo>
                  <a:lnTo>
                    <a:pt x="834584" y="294377"/>
                  </a:lnTo>
                  <a:lnTo>
                    <a:pt x="834258" y="291444"/>
                  </a:lnTo>
                  <a:lnTo>
                    <a:pt x="831000" y="289815"/>
                  </a:lnTo>
                  <a:lnTo>
                    <a:pt x="829045" y="288023"/>
                  </a:lnTo>
                  <a:lnTo>
                    <a:pt x="826112" y="290630"/>
                  </a:lnTo>
                  <a:lnTo>
                    <a:pt x="818456" y="296658"/>
                  </a:lnTo>
                  <a:lnTo>
                    <a:pt x="817967" y="301056"/>
                  </a:lnTo>
                  <a:lnTo>
                    <a:pt x="813405" y="302685"/>
                  </a:lnTo>
                  <a:lnTo>
                    <a:pt x="808844" y="304966"/>
                  </a:lnTo>
                  <a:lnTo>
                    <a:pt x="807541" y="300242"/>
                  </a:lnTo>
                  <a:lnTo>
                    <a:pt x="805586" y="299101"/>
                  </a:lnTo>
                  <a:lnTo>
                    <a:pt x="799069" y="299590"/>
                  </a:lnTo>
                  <a:lnTo>
                    <a:pt x="795811" y="297961"/>
                  </a:lnTo>
                  <a:lnTo>
                    <a:pt x="795160" y="292585"/>
                  </a:lnTo>
                  <a:lnTo>
                    <a:pt x="791739" y="291607"/>
                  </a:lnTo>
                  <a:lnTo>
                    <a:pt x="788969" y="292748"/>
                  </a:lnTo>
                  <a:lnTo>
                    <a:pt x="784570" y="292748"/>
                  </a:lnTo>
                  <a:cubicBezTo>
                    <a:pt x="784570" y="292748"/>
                    <a:pt x="784082" y="288512"/>
                    <a:pt x="784082" y="288512"/>
                  </a:cubicBezTo>
                  <a:lnTo>
                    <a:pt x="780661" y="286068"/>
                  </a:lnTo>
                  <a:lnTo>
                    <a:pt x="777077" y="288023"/>
                  </a:lnTo>
                  <a:lnTo>
                    <a:pt x="774796" y="287698"/>
                  </a:lnTo>
                  <a:lnTo>
                    <a:pt x="774470" y="282159"/>
                  </a:lnTo>
                  <a:lnTo>
                    <a:pt x="772515" y="278086"/>
                  </a:lnTo>
                  <a:lnTo>
                    <a:pt x="772515" y="275154"/>
                  </a:lnTo>
                  <a:cubicBezTo>
                    <a:pt x="772515" y="275154"/>
                    <a:pt x="777240" y="273524"/>
                    <a:pt x="777240" y="273524"/>
                  </a:cubicBezTo>
                  <a:lnTo>
                    <a:pt x="782616" y="265705"/>
                  </a:lnTo>
                  <a:lnTo>
                    <a:pt x="785548" y="265216"/>
                  </a:lnTo>
                  <a:lnTo>
                    <a:pt x="788643" y="261469"/>
                  </a:lnTo>
                  <a:lnTo>
                    <a:pt x="788317" y="258374"/>
                  </a:lnTo>
                  <a:lnTo>
                    <a:pt x="781638" y="251369"/>
                  </a:lnTo>
                  <a:lnTo>
                    <a:pt x="777565" y="249577"/>
                  </a:lnTo>
                  <a:lnTo>
                    <a:pt x="772515" y="249577"/>
                  </a:lnTo>
                  <a:cubicBezTo>
                    <a:pt x="772515" y="249577"/>
                    <a:pt x="764370" y="253812"/>
                    <a:pt x="764370" y="253812"/>
                  </a:cubicBezTo>
                  <a:lnTo>
                    <a:pt x="759808" y="253812"/>
                  </a:lnTo>
                  <a:cubicBezTo>
                    <a:pt x="759808" y="253812"/>
                    <a:pt x="755573" y="251043"/>
                    <a:pt x="755573" y="251043"/>
                  </a:cubicBezTo>
                  <a:lnTo>
                    <a:pt x="751174" y="251043"/>
                  </a:lnTo>
                  <a:cubicBezTo>
                    <a:pt x="751174" y="251043"/>
                    <a:pt x="735861" y="257559"/>
                    <a:pt x="735861" y="257559"/>
                  </a:cubicBezTo>
                  <a:lnTo>
                    <a:pt x="734720" y="260166"/>
                  </a:lnTo>
                  <a:lnTo>
                    <a:pt x="737164" y="262772"/>
                  </a:lnTo>
                  <a:lnTo>
                    <a:pt x="742866" y="267986"/>
                  </a:lnTo>
                  <a:lnTo>
                    <a:pt x="741888" y="269615"/>
                  </a:lnTo>
                  <a:lnTo>
                    <a:pt x="737653" y="268963"/>
                  </a:lnTo>
                  <a:lnTo>
                    <a:pt x="733254" y="268963"/>
                  </a:lnTo>
                  <a:lnTo>
                    <a:pt x="731462" y="266356"/>
                  </a:lnTo>
                  <a:lnTo>
                    <a:pt x="726738" y="264727"/>
                  </a:lnTo>
                  <a:lnTo>
                    <a:pt x="717778" y="263261"/>
                  </a:lnTo>
                  <a:lnTo>
                    <a:pt x="708003" y="264727"/>
                  </a:lnTo>
                  <a:lnTo>
                    <a:pt x="704745" y="267497"/>
                  </a:lnTo>
                  <a:lnTo>
                    <a:pt x="704419" y="270103"/>
                  </a:lnTo>
                  <a:lnTo>
                    <a:pt x="699206" y="270103"/>
                  </a:lnTo>
                  <a:cubicBezTo>
                    <a:pt x="699206" y="270103"/>
                    <a:pt x="698066" y="268637"/>
                    <a:pt x="698066" y="268637"/>
                  </a:cubicBezTo>
                  <a:lnTo>
                    <a:pt x="694156" y="268637"/>
                  </a:lnTo>
                  <a:lnTo>
                    <a:pt x="686988" y="272873"/>
                  </a:lnTo>
                  <a:lnTo>
                    <a:pt x="686988" y="275642"/>
                  </a:lnTo>
                  <a:lnTo>
                    <a:pt x="683078" y="277108"/>
                  </a:lnTo>
                  <a:lnTo>
                    <a:pt x="675258" y="280530"/>
                  </a:lnTo>
                  <a:lnTo>
                    <a:pt x="669882" y="283951"/>
                  </a:lnTo>
                  <a:lnTo>
                    <a:pt x="666787" y="284439"/>
                  </a:lnTo>
                  <a:lnTo>
                    <a:pt x="668090" y="282647"/>
                  </a:lnTo>
                  <a:lnTo>
                    <a:pt x="669394" y="279552"/>
                  </a:lnTo>
                  <a:lnTo>
                    <a:pt x="665158" y="281344"/>
                  </a:lnTo>
                  <a:lnTo>
                    <a:pt x="661085" y="287372"/>
                  </a:lnTo>
                  <a:lnTo>
                    <a:pt x="661085" y="289164"/>
                  </a:lnTo>
                  <a:cubicBezTo>
                    <a:pt x="661085" y="289164"/>
                    <a:pt x="667928" y="297798"/>
                    <a:pt x="667928" y="297798"/>
                  </a:cubicBezTo>
                  <a:lnTo>
                    <a:pt x="674607" y="308061"/>
                  </a:lnTo>
                  <a:lnTo>
                    <a:pt x="681775" y="309853"/>
                  </a:lnTo>
                  <a:lnTo>
                    <a:pt x="687151" y="317184"/>
                  </a:lnTo>
                  <a:lnTo>
                    <a:pt x="692690" y="320116"/>
                  </a:lnTo>
                  <a:lnTo>
                    <a:pt x="694970" y="326144"/>
                  </a:lnTo>
                  <a:lnTo>
                    <a:pt x="700184" y="327447"/>
                  </a:lnTo>
                  <a:lnTo>
                    <a:pt x="706048" y="330543"/>
                  </a:lnTo>
                  <a:lnTo>
                    <a:pt x="704256" y="332009"/>
                  </a:lnTo>
                  <a:lnTo>
                    <a:pt x="695622" y="332009"/>
                  </a:lnTo>
                  <a:cubicBezTo>
                    <a:pt x="695622" y="332009"/>
                    <a:pt x="694645" y="326959"/>
                    <a:pt x="694645" y="326959"/>
                  </a:cubicBezTo>
                  <a:lnTo>
                    <a:pt x="688780" y="322886"/>
                  </a:lnTo>
                  <a:lnTo>
                    <a:pt x="685359" y="320116"/>
                  </a:lnTo>
                  <a:lnTo>
                    <a:pt x="682915" y="320442"/>
                  </a:lnTo>
                  <a:lnTo>
                    <a:pt x="677213" y="326307"/>
                  </a:lnTo>
                  <a:lnTo>
                    <a:pt x="674118" y="326307"/>
                  </a:lnTo>
                  <a:lnTo>
                    <a:pt x="670697" y="321257"/>
                  </a:lnTo>
                  <a:lnTo>
                    <a:pt x="675096" y="316532"/>
                  </a:lnTo>
                  <a:lnTo>
                    <a:pt x="675096" y="314578"/>
                  </a:lnTo>
                  <a:lnTo>
                    <a:pt x="671023" y="314903"/>
                  </a:lnTo>
                  <a:lnTo>
                    <a:pt x="667113" y="320279"/>
                  </a:lnTo>
                  <a:lnTo>
                    <a:pt x="668253" y="330543"/>
                  </a:lnTo>
                  <a:lnTo>
                    <a:pt x="669720" y="332335"/>
                  </a:lnTo>
                  <a:lnTo>
                    <a:pt x="669720" y="336245"/>
                  </a:lnTo>
                  <a:cubicBezTo>
                    <a:pt x="669720" y="336245"/>
                    <a:pt x="664344" y="341458"/>
                    <a:pt x="664344" y="341458"/>
                  </a:cubicBezTo>
                  <a:lnTo>
                    <a:pt x="660271" y="347974"/>
                  </a:lnTo>
                  <a:lnTo>
                    <a:pt x="658968" y="355142"/>
                  </a:lnTo>
                  <a:lnTo>
                    <a:pt x="659782" y="361984"/>
                  </a:lnTo>
                  <a:lnTo>
                    <a:pt x="668579" y="371922"/>
                  </a:lnTo>
                  <a:lnTo>
                    <a:pt x="677050" y="375180"/>
                  </a:lnTo>
                  <a:lnTo>
                    <a:pt x="682589" y="381207"/>
                  </a:lnTo>
                  <a:lnTo>
                    <a:pt x="685848" y="381207"/>
                  </a:lnTo>
                  <a:cubicBezTo>
                    <a:pt x="685848" y="381207"/>
                    <a:pt x="692527" y="376646"/>
                    <a:pt x="692527" y="376646"/>
                  </a:cubicBezTo>
                  <a:lnTo>
                    <a:pt x="699695" y="374202"/>
                  </a:lnTo>
                  <a:lnTo>
                    <a:pt x="705560" y="377461"/>
                  </a:lnTo>
                  <a:lnTo>
                    <a:pt x="716963" y="378927"/>
                  </a:lnTo>
                  <a:lnTo>
                    <a:pt x="721199" y="381859"/>
                  </a:lnTo>
                  <a:lnTo>
                    <a:pt x="722828" y="387887"/>
                  </a:lnTo>
                  <a:lnTo>
                    <a:pt x="725597" y="389353"/>
                  </a:lnTo>
                  <a:lnTo>
                    <a:pt x="727878" y="386746"/>
                  </a:lnTo>
                  <a:lnTo>
                    <a:pt x="727552" y="379741"/>
                  </a:lnTo>
                  <a:lnTo>
                    <a:pt x="729181" y="377461"/>
                  </a:lnTo>
                  <a:lnTo>
                    <a:pt x="734394" y="379253"/>
                  </a:lnTo>
                  <a:lnTo>
                    <a:pt x="734394" y="382185"/>
                  </a:lnTo>
                  <a:cubicBezTo>
                    <a:pt x="734394" y="382185"/>
                    <a:pt x="729018" y="388375"/>
                    <a:pt x="729018" y="388375"/>
                  </a:cubicBezTo>
                  <a:lnTo>
                    <a:pt x="729018" y="393100"/>
                  </a:lnTo>
                  <a:cubicBezTo>
                    <a:pt x="729018" y="393100"/>
                    <a:pt x="731788" y="393263"/>
                    <a:pt x="731788" y="393263"/>
                  </a:cubicBezTo>
                  <a:lnTo>
                    <a:pt x="738467" y="387561"/>
                  </a:lnTo>
                  <a:lnTo>
                    <a:pt x="740259" y="384628"/>
                  </a:lnTo>
                  <a:lnTo>
                    <a:pt x="748568" y="382836"/>
                  </a:lnTo>
                  <a:lnTo>
                    <a:pt x="758994" y="376320"/>
                  </a:lnTo>
                  <a:lnTo>
                    <a:pt x="766325" y="375506"/>
                  </a:lnTo>
                  <a:lnTo>
                    <a:pt x="769583" y="370293"/>
                  </a:lnTo>
                  <a:lnTo>
                    <a:pt x="771538" y="370293"/>
                  </a:lnTo>
                  <a:lnTo>
                    <a:pt x="772678" y="373388"/>
                  </a:lnTo>
                  <a:lnTo>
                    <a:pt x="775285" y="374365"/>
                  </a:lnTo>
                  <a:lnTo>
                    <a:pt x="783919" y="368989"/>
                  </a:lnTo>
                  <a:lnTo>
                    <a:pt x="790598" y="368663"/>
                  </a:lnTo>
                  <a:lnTo>
                    <a:pt x="793205" y="366871"/>
                  </a:lnTo>
                  <a:lnTo>
                    <a:pt x="790924" y="370618"/>
                  </a:lnTo>
                  <a:lnTo>
                    <a:pt x="785222" y="374691"/>
                  </a:lnTo>
                  <a:lnTo>
                    <a:pt x="785222" y="376646"/>
                  </a:lnTo>
                  <a:cubicBezTo>
                    <a:pt x="785222" y="376646"/>
                    <a:pt x="788154" y="378112"/>
                    <a:pt x="788154" y="378112"/>
                  </a:cubicBezTo>
                  <a:lnTo>
                    <a:pt x="783593" y="386583"/>
                  </a:lnTo>
                  <a:lnTo>
                    <a:pt x="776262" y="387724"/>
                  </a:lnTo>
                  <a:lnTo>
                    <a:pt x="773818" y="385280"/>
                  </a:lnTo>
                  <a:lnTo>
                    <a:pt x="770723" y="384954"/>
                  </a:lnTo>
                  <a:lnTo>
                    <a:pt x="763881" y="390330"/>
                  </a:lnTo>
                  <a:lnTo>
                    <a:pt x="764370" y="391634"/>
                  </a:lnTo>
                  <a:lnTo>
                    <a:pt x="769909" y="392448"/>
                  </a:lnTo>
                  <a:lnTo>
                    <a:pt x="773004" y="395869"/>
                  </a:lnTo>
                  <a:lnTo>
                    <a:pt x="772515" y="402874"/>
                  </a:lnTo>
                  <a:lnTo>
                    <a:pt x="764370" y="411834"/>
                  </a:lnTo>
                  <a:lnTo>
                    <a:pt x="763066" y="417862"/>
                  </a:lnTo>
                  <a:lnTo>
                    <a:pt x="760623" y="421772"/>
                  </a:lnTo>
                  <a:lnTo>
                    <a:pt x="759320" y="424704"/>
                  </a:lnTo>
                  <a:lnTo>
                    <a:pt x="760786" y="427148"/>
                  </a:lnTo>
                  <a:lnTo>
                    <a:pt x="761600" y="431058"/>
                  </a:lnTo>
                  <a:lnTo>
                    <a:pt x="759971" y="436108"/>
                  </a:lnTo>
                  <a:lnTo>
                    <a:pt x="755247" y="442298"/>
                  </a:lnTo>
                  <a:lnTo>
                    <a:pt x="751011" y="445557"/>
                  </a:lnTo>
                  <a:lnTo>
                    <a:pt x="745961" y="445068"/>
                  </a:lnTo>
                  <a:lnTo>
                    <a:pt x="742703" y="446860"/>
                  </a:lnTo>
                  <a:lnTo>
                    <a:pt x="737490" y="451584"/>
                  </a:lnTo>
                  <a:lnTo>
                    <a:pt x="733580" y="453050"/>
                  </a:lnTo>
                  <a:lnTo>
                    <a:pt x="728204" y="452236"/>
                  </a:lnTo>
                  <a:lnTo>
                    <a:pt x="720710" y="447837"/>
                  </a:lnTo>
                  <a:lnTo>
                    <a:pt x="718266" y="448815"/>
                  </a:lnTo>
                  <a:lnTo>
                    <a:pt x="716312" y="446208"/>
                  </a:lnTo>
                  <a:lnTo>
                    <a:pt x="712402" y="441647"/>
                  </a:lnTo>
                  <a:lnTo>
                    <a:pt x="710773" y="442461"/>
                  </a:lnTo>
                  <a:lnTo>
                    <a:pt x="706048" y="449141"/>
                  </a:lnTo>
                  <a:lnTo>
                    <a:pt x="700184" y="452887"/>
                  </a:lnTo>
                  <a:lnTo>
                    <a:pt x="696437" y="457938"/>
                  </a:lnTo>
                  <a:lnTo>
                    <a:pt x="686173" y="461522"/>
                  </a:lnTo>
                  <a:lnTo>
                    <a:pt x="683241" y="464128"/>
                  </a:lnTo>
                  <a:lnTo>
                    <a:pt x="678680" y="464128"/>
                  </a:lnTo>
                  <a:cubicBezTo>
                    <a:pt x="678680" y="464128"/>
                    <a:pt x="673955" y="462988"/>
                    <a:pt x="673955" y="462988"/>
                  </a:cubicBezTo>
                  <a:lnTo>
                    <a:pt x="665973" y="462988"/>
                  </a:lnTo>
                  <a:lnTo>
                    <a:pt x="659782" y="467549"/>
                  </a:lnTo>
                  <a:lnTo>
                    <a:pt x="653917" y="468038"/>
                  </a:lnTo>
                  <a:lnTo>
                    <a:pt x="650659" y="470482"/>
                  </a:lnTo>
                  <a:lnTo>
                    <a:pt x="650659" y="476835"/>
                  </a:lnTo>
                  <a:cubicBezTo>
                    <a:pt x="650659" y="476835"/>
                    <a:pt x="646912" y="485632"/>
                    <a:pt x="646912" y="485632"/>
                  </a:cubicBezTo>
                  <a:lnTo>
                    <a:pt x="643165" y="489379"/>
                  </a:lnTo>
                  <a:lnTo>
                    <a:pt x="642677" y="485958"/>
                  </a:lnTo>
                  <a:lnTo>
                    <a:pt x="636812" y="479605"/>
                  </a:lnTo>
                  <a:lnTo>
                    <a:pt x="629481" y="479279"/>
                  </a:lnTo>
                  <a:lnTo>
                    <a:pt x="626223" y="480908"/>
                  </a:lnTo>
                  <a:lnTo>
                    <a:pt x="627200" y="484655"/>
                  </a:lnTo>
                  <a:lnTo>
                    <a:pt x="630296" y="487424"/>
                  </a:lnTo>
                  <a:lnTo>
                    <a:pt x="628015" y="491497"/>
                  </a:lnTo>
                  <a:lnTo>
                    <a:pt x="625571" y="491497"/>
                  </a:lnTo>
                  <a:lnTo>
                    <a:pt x="623616" y="486935"/>
                  </a:lnTo>
                  <a:lnTo>
                    <a:pt x="619381" y="481722"/>
                  </a:lnTo>
                  <a:lnTo>
                    <a:pt x="617100" y="481722"/>
                  </a:lnTo>
                  <a:cubicBezTo>
                    <a:pt x="617100" y="481722"/>
                    <a:pt x="609769" y="489053"/>
                    <a:pt x="609769" y="489053"/>
                  </a:cubicBezTo>
                  <a:lnTo>
                    <a:pt x="606837" y="495407"/>
                  </a:lnTo>
                  <a:lnTo>
                    <a:pt x="603741" y="496873"/>
                  </a:lnTo>
                  <a:lnTo>
                    <a:pt x="600809" y="496873"/>
                  </a:lnTo>
                  <a:cubicBezTo>
                    <a:pt x="600809" y="496873"/>
                    <a:pt x="589568" y="507299"/>
                    <a:pt x="589568" y="507299"/>
                  </a:cubicBezTo>
                  <a:lnTo>
                    <a:pt x="587613" y="515119"/>
                  </a:lnTo>
                  <a:lnTo>
                    <a:pt x="585333" y="516748"/>
                  </a:lnTo>
                  <a:lnTo>
                    <a:pt x="579794" y="518051"/>
                  </a:lnTo>
                  <a:lnTo>
                    <a:pt x="574906" y="516259"/>
                  </a:lnTo>
                  <a:lnTo>
                    <a:pt x="573766" y="517562"/>
                  </a:lnTo>
                  <a:lnTo>
                    <a:pt x="578979" y="523427"/>
                  </a:lnTo>
                  <a:lnTo>
                    <a:pt x="577839" y="527011"/>
                  </a:lnTo>
                  <a:lnTo>
                    <a:pt x="574744" y="527337"/>
                  </a:lnTo>
                  <a:lnTo>
                    <a:pt x="572137" y="522938"/>
                  </a:lnTo>
                  <a:lnTo>
                    <a:pt x="569856" y="523264"/>
                  </a:lnTo>
                  <a:lnTo>
                    <a:pt x="567413" y="527989"/>
                  </a:lnTo>
                  <a:lnTo>
                    <a:pt x="561385" y="535157"/>
                  </a:lnTo>
                  <a:lnTo>
                    <a:pt x="561385" y="538252"/>
                  </a:lnTo>
                  <a:lnTo>
                    <a:pt x="565784" y="544768"/>
                  </a:lnTo>
                  <a:lnTo>
                    <a:pt x="566598" y="551122"/>
                  </a:lnTo>
                  <a:lnTo>
                    <a:pt x="565621" y="555357"/>
                  </a:lnTo>
                  <a:lnTo>
                    <a:pt x="563177" y="559919"/>
                  </a:lnTo>
                  <a:lnTo>
                    <a:pt x="564317" y="564154"/>
                  </a:lnTo>
                  <a:lnTo>
                    <a:pt x="567413" y="563340"/>
                  </a:lnTo>
                  <a:lnTo>
                    <a:pt x="570345" y="559430"/>
                  </a:lnTo>
                  <a:lnTo>
                    <a:pt x="571485" y="562199"/>
                  </a:lnTo>
                  <a:lnTo>
                    <a:pt x="572300" y="569367"/>
                  </a:lnTo>
                  <a:lnTo>
                    <a:pt x="569856" y="570834"/>
                  </a:lnTo>
                  <a:lnTo>
                    <a:pt x="568064" y="573277"/>
                  </a:lnTo>
                  <a:lnTo>
                    <a:pt x="569530" y="575232"/>
                  </a:lnTo>
                  <a:lnTo>
                    <a:pt x="572952" y="574743"/>
                  </a:lnTo>
                  <a:lnTo>
                    <a:pt x="575232" y="572626"/>
                  </a:lnTo>
                  <a:lnTo>
                    <a:pt x="578165" y="572626"/>
                  </a:lnTo>
                  <a:cubicBezTo>
                    <a:pt x="578165" y="572626"/>
                    <a:pt x="579794" y="574418"/>
                    <a:pt x="579794" y="574418"/>
                  </a:cubicBezTo>
                  <a:lnTo>
                    <a:pt x="580282" y="577187"/>
                  </a:lnTo>
                  <a:lnTo>
                    <a:pt x="585821" y="577839"/>
                  </a:lnTo>
                  <a:lnTo>
                    <a:pt x="589894" y="580771"/>
                  </a:lnTo>
                  <a:lnTo>
                    <a:pt x="595270" y="580445"/>
                  </a:lnTo>
                  <a:lnTo>
                    <a:pt x="599343" y="576861"/>
                  </a:lnTo>
                  <a:lnTo>
                    <a:pt x="601461" y="567575"/>
                  </a:lnTo>
                  <a:lnTo>
                    <a:pt x="604556" y="563829"/>
                  </a:lnTo>
                  <a:lnTo>
                    <a:pt x="613842" y="563829"/>
                  </a:lnTo>
                  <a:lnTo>
                    <a:pt x="617752" y="561059"/>
                  </a:lnTo>
                  <a:lnTo>
                    <a:pt x="613190" y="566272"/>
                  </a:lnTo>
                  <a:lnTo>
                    <a:pt x="609117" y="566761"/>
                  </a:lnTo>
                  <a:lnTo>
                    <a:pt x="600972" y="574743"/>
                  </a:lnTo>
                  <a:lnTo>
                    <a:pt x="599994" y="579631"/>
                  </a:lnTo>
                  <a:lnTo>
                    <a:pt x="596736" y="583052"/>
                  </a:lnTo>
                  <a:lnTo>
                    <a:pt x="601461" y="588265"/>
                  </a:lnTo>
                  <a:lnTo>
                    <a:pt x="601786" y="591849"/>
                  </a:lnTo>
                  <a:lnTo>
                    <a:pt x="595107" y="593641"/>
                  </a:lnTo>
                  <a:lnTo>
                    <a:pt x="592826" y="591686"/>
                  </a:lnTo>
                  <a:lnTo>
                    <a:pt x="592826" y="588591"/>
                  </a:lnTo>
                  <a:lnTo>
                    <a:pt x="590546" y="585984"/>
                  </a:lnTo>
                  <a:lnTo>
                    <a:pt x="585984" y="586310"/>
                  </a:lnTo>
                  <a:lnTo>
                    <a:pt x="583541" y="582074"/>
                  </a:lnTo>
                  <a:lnTo>
                    <a:pt x="576536" y="580934"/>
                  </a:lnTo>
                  <a:lnTo>
                    <a:pt x="574092" y="577350"/>
                  </a:lnTo>
                  <a:lnTo>
                    <a:pt x="570182" y="580445"/>
                  </a:lnTo>
                  <a:lnTo>
                    <a:pt x="565946" y="581423"/>
                  </a:lnTo>
                  <a:lnTo>
                    <a:pt x="564643" y="585658"/>
                  </a:lnTo>
                  <a:lnTo>
                    <a:pt x="560896" y="588265"/>
                  </a:lnTo>
                  <a:lnTo>
                    <a:pt x="555520" y="586962"/>
                  </a:lnTo>
                  <a:lnTo>
                    <a:pt x="554543" y="590546"/>
                  </a:lnTo>
                  <a:lnTo>
                    <a:pt x="557149" y="594618"/>
                  </a:lnTo>
                  <a:lnTo>
                    <a:pt x="559593" y="594944"/>
                  </a:lnTo>
                  <a:lnTo>
                    <a:pt x="556498" y="598854"/>
                  </a:lnTo>
                  <a:lnTo>
                    <a:pt x="555520" y="605533"/>
                  </a:lnTo>
                  <a:lnTo>
                    <a:pt x="556986" y="610095"/>
                  </a:lnTo>
                  <a:lnTo>
                    <a:pt x="560570" y="610421"/>
                  </a:lnTo>
                  <a:lnTo>
                    <a:pt x="561059" y="619055"/>
                  </a:lnTo>
                  <a:lnTo>
                    <a:pt x="561874" y="621987"/>
                  </a:lnTo>
                  <a:lnTo>
                    <a:pt x="561874" y="625897"/>
                  </a:lnTo>
                  <a:cubicBezTo>
                    <a:pt x="561874" y="625897"/>
                    <a:pt x="566435" y="629970"/>
                    <a:pt x="566435" y="629970"/>
                  </a:cubicBezTo>
                  <a:lnTo>
                    <a:pt x="566435" y="631925"/>
                  </a:lnTo>
                  <a:cubicBezTo>
                    <a:pt x="566435" y="631925"/>
                    <a:pt x="560896" y="632739"/>
                    <a:pt x="560896" y="632739"/>
                  </a:cubicBezTo>
                  <a:lnTo>
                    <a:pt x="559430" y="635509"/>
                  </a:lnTo>
                  <a:lnTo>
                    <a:pt x="576210" y="643328"/>
                  </a:lnTo>
                  <a:lnTo>
                    <a:pt x="582726" y="643328"/>
                  </a:lnTo>
                  <a:cubicBezTo>
                    <a:pt x="582726" y="643328"/>
                    <a:pt x="590220" y="640070"/>
                    <a:pt x="590220" y="640070"/>
                  </a:cubicBezTo>
                  <a:lnTo>
                    <a:pt x="594293" y="638441"/>
                  </a:lnTo>
                  <a:lnTo>
                    <a:pt x="597225" y="640233"/>
                  </a:lnTo>
                  <a:lnTo>
                    <a:pt x="600320" y="639907"/>
                  </a:lnTo>
                  <a:lnTo>
                    <a:pt x="607162" y="630784"/>
                  </a:lnTo>
                  <a:lnTo>
                    <a:pt x="607162" y="626386"/>
                  </a:lnTo>
                  <a:cubicBezTo>
                    <a:pt x="607162" y="626386"/>
                    <a:pt x="604719" y="622639"/>
                    <a:pt x="604719" y="622639"/>
                  </a:cubicBezTo>
                  <a:lnTo>
                    <a:pt x="604719" y="620358"/>
                  </a:lnTo>
                  <a:cubicBezTo>
                    <a:pt x="604719" y="620358"/>
                    <a:pt x="611398" y="616774"/>
                    <a:pt x="611398" y="616774"/>
                  </a:cubicBezTo>
                  <a:lnTo>
                    <a:pt x="618729" y="611072"/>
                  </a:lnTo>
                  <a:lnTo>
                    <a:pt x="630133" y="603578"/>
                  </a:lnTo>
                  <a:lnTo>
                    <a:pt x="634857" y="604719"/>
                  </a:lnTo>
                  <a:lnTo>
                    <a:pt x="629644" y="605207"/>
                  </a:lnTo>
                  <a:lnTo>
                    <a:pt x="619055" y="615797"/>
                  </a:lnTo>
                  <a:lnTo>
                    <a:pt x="612538" y="619706"/>
                  </a:lnTo>
                  <a:lnTo>
                    <a:pt x="612213" y="622639"/>
                  </a:lnTo>
                  <a:lnTo>
                    <a:pt x="616448" y="626223"/>
                  </a:lnTo>
                  <a:lnTo>
                    <a:pt x="616448" y="629155"/>
                  </a:lnTo>
                  <a:cubicBezTo>
                    <a:pt x="616448" y="629155"/>
                    <a:pt x="612050" y="636486"/>
                    <a:pt x="612050" y="636486"/>
                  </a:cubicBezTo>
                  <a:lnTo>
                    <a:pt x="606511" y="640070"/>
                  </a:lnTo>
                  <a:lnTo>
                    <a:pt x="605696" y="645446"/>
                  </a:lnTo>
                  <a:lnTo>
                    <a:pt x="607000" y="651962"/>
                  </a:lnTo>
                  <a:lnTo>
                    <a:pt x="605370" y="656850"/>
                  </a:lnTo>
                  <a:lnTo>
                    <a:pt x="605696" y="659456"/>
                  </a:lnTo>
                  <a:lnTo>
                    <a:pt x="605370" y="663855"/>
                  </a:lnTo>
                  <a:lnTo>
                    <a:pt x="606185" y="669557"/>
                  </a:lnTo>
                  <a:lnTo>
                    <a:pt x="599180" y="671837"/>
                  </a:lnTo>
                  <a:lnTo>
                    <a:pt x="596085" y="674444"/>
                  </a:lnTo>
                  <a:lnTo>
                    <a:pt x="594781" y="678354"/>
                  </a:lnTo>
                  <a:lnTo>
                    <a:pt x="592338" y="677376"/>
                  </a:lnTo>
                  <a:lnTo>
                    <a:pt x="590383" y="679005"/>
                  </a:lnTo>
                  <a:lnTo>
                    <a:pt x="592175" y="684056"/>
                  </a:lnTo>
                  <a:lnTo>
                    <a:pt x="592175" y="689269"/>
                  </a:lnTo>
                  <a:cubicBezTo>
                    <a:pt x="592175" y="689269"/>
                    <a:pt x="594618" y="690246"/>
                    <a:pt x="594618" y="690246"/>
                  </a:cubicBezTo>
                  <a:lnTo>
                    <a:pt x="599180" y="688780"/>
                  </a:lnTo>
                  <a:lnTo>
                    <a:pt x="602764" y="688780"/>
                  </a:lnTo>
                  <a:cubicBezTo>
                    <a:pt x="602764" y="688780"/>
                    <a:pt x="603578" y="691386"/>
                    <a:pt x="603578" y="691386"/>
                  </a:cubicBezTo>
                  <a:lnTo>
                    <a:pt x="600972" y="694482"/>
                  </a:lnTo>
                  <a:lnTo>
                    <a:pt x="595107" y="694482"/>
                  </a:lnTo>
                  <a:cubicBezTo>
                    <a:pt x="595107" y="694482"/>
                    <a:pt x="592989" y="696599"/>
                    <a:pt x="592989" y="696599"/>
                  </a:cubicBezTo>
                  <a:lnTo>
                    <a:pt x="594130" y="699532"/>
                  </a:lnTo>
                  <a:lnTo>
                    <a:pt x="593478" y="701487"/>
                  </a:lnTo>
                  <a:lnTo>
                    <a:pt x="594781" y="705234"/>
                  </a:lnTo>
                  <a:lnTo>
                    <a:pt x="591849" y="707514"/>
                  </a:lnTo>
                  <a:lnTo>
                    <a:pt x="587776" y="708329"/>
                  </a:lnTo>
                  <a:lnTo>
                    <a:pt x="583215" y="711261"/>
                  </a:lnTo>
                  <a:lnTo>
                    <a:pt x="579957" y="710447"/>
                  </a:lnTo>
                  <a:lnTo>
                    <a:pt x="578002" y="711424"/>
                  </a:lnTo>
                  <a:lnTo>
                    <a:pt x="581097" y="713868"/>
                  </a:lnTo>
                  <a:lnTo>
                    <a:pt x="585821" y="714520"/>
                  </a:lnTo>
                  <a:lnTo>
                    <a:pt x="588917" y="716963"/>
                  </a:lnTo>
                  <a:lnTo>
                    <a:pt x="594618" y="711587"/>
                  </a:lnTo>
                  <a:lnTo>
                    <a:pt x="605208" y="704745"/>
                  </a:lnTo>
                  <a:lnTo>
                    <a:pt x="607325" y="705234"/>
                  </a:lnTo>
                  <a:lnTo>
                    <a:pt x="611235" y="705885"/>
                  </a:lnTo>
                  <a:lnTo>
                    <a:pt x="614982" y="701975"/>
                  </a:lnTo>
                  <a:lnTo>
                    <a:pt x="623128" y="698880"/>
                  </a:lnTo>
                  <a:lnTo>
                    <a:pt x="621987" y="702301"/>
                  </a:lnTo>
                  <a:lnTo>
                    <a:pt x="618403" y="704582"/>
                  </a:lnTo>
                  <a:lnTo>
                    <a:pt x="618403" y="706374"/>
                  </a:lnTo>
                  <a:lnTo>
                    <a:pt x="622313" y="708003"/>
                  </a:lnTo>
                  <a:lnTo>
                    <a:pt x="623290" y="712890"/>
                  </a:lnTo>
                  <a:lnTo>
                    <a:pt x="622476" y="715497"/>
                  </a:lnTo>
                  <a:lnTo>
                    <a:pt x="626060" y="717452"/>
                  </a:lnTo>
                  <a:lnTo>
                    <a:pt x="630458" y="714357"/>
                  </a:lnTo>
                  <a:lnTo>
                    <a:pt x="632902" y="710447"/>
                  </a:lnTo>
                  <a:lnTo>
                    <a:pt x="634694" y="712890"/>
                  </a:lnTo>
                  <a:lnTo>
                    <a:pt x="633065" y="715334"/>
                  </a:lnTo>
                  <a:lnTo>
                    <a:pt x="636323" y="721199"/>
                  </a:lnTo>
                  <a:lnTo>
                    <a:pt x="637952" y="729181"/>
                  </a:lnTo>
                  <a:lnTo>
                    <a:pt x="636812" y="733743"/>
                  </a:lnTo>
                  <a:lnTo>
                    <a:pt x="639256" y="740259"/>
                  </a:lnTo>
                  <a:lnTo>
                    <a:pt x="642188" y="740748"/>
                  </a:lnTo>
                  <a:lnTo>
                    <a:pt x="644632" y="734557"/>
                  </a:lnTo>
                  <a:lnTo>
                    <a:pt x="644143" y="729507"/>
                  </a:lnTo>
                  <a:lnTo>
                    <a:pt x="648704" y="722013"/>
                  </a:lnTo>
                  <a:lnTo>
                    <a:pt x="649519" y="717778"/>
                  </a:lnTo>
                  <a:lnTo>
                    <a:pt x="655058" y="713216"/>
                  </a:lnTo>
                  <a:lnTo>
                    <a:pt x="656687" y="713216"/>
                  </a:lnTo>
                  <a:cubicBezTo>
                    <a:pt x="656687" y="713216"/>
                    <a:pt x="661737" y="709306"/>
                    <a:pt x="661737" y="709306"/>
                  </a:cubicBezTo>
                  <a:lnTo>
                    <a:pt x="669068" y="708981"/>
                  </a:lnTo>
                  <a:lnTo>
                    <a:pt x="662552" y="712076"/>
                  </a:lnTo>
                  <a:lnTo>
                    <a:pt x="655384" y="719733"/>
                  </a:lnTo>
                  <a:lnTo>
                    <a:pt x="655384" y="722665"/>
                  </a:lnTo>
                  <a:cubicBezTo>
                    <a:pt x="655384" y="722665"/>
                    <a:pt x="661411" y="729996"/>
                    <a:pt x="661411" y="729996"/>
                  </a:cubicBezTo>
                  <a:lnTo>
                    <a:pt x="664669" y="730810"/>
                  </a:lnTo>
                  <a:lnTo>
                    <a:pt x="672000" y="727064"/>
                  </a:lnTo>
                  <a:lnTo>
                    <a:pt x="682101" y="725597"/>
                  </a:lnTo>
                  <a:lnTo>
                    <a:pt x="686825" y="721850"/>
                  </a:lnTo>
                  <a:lnTo>
                    <a:pt x="689920" y="721850"/>
                  </a:lnTo>
                  <a:cubicBezTo>
                    <a:pt x="689920" y="721850"/>
                    <a:pt x="698880" y="717289"/>
                    <a:pt x="698880" y="717289"/>
                  </a:cubicBezTo>
                  <a:lnTo>
                    <a:pt x="701813" y="717289"/>
                  </a:lnTo>
                  <a:lnTo>
                    <a:pt x="698554" y="718755"/>
                  </a:lnTo>
                  <a:lnTo>
                    <a:pt x="693016" y="725272"/>
                  </a:lnTo>
                  <a:lnTo>
                    <a:pt x="693016" y="728204"/>
                  </a:lnTo>
                  <a:cubicBezTo>
                    <a:pt x="693016" y="728204"/>
                    <a:pt x="689594" y="731462"/>
                    <a:pt x="689594" y="731462"/>
                  </a:cubicBezTo>
                  <a:lnTo>
                    <a:pt x="675421" y="739119"/>
                  </a:lnTo>
                  <a:lnTo>
                    <a:pt x="669068" y="744495"/>
                  </a:lnTo>
                  <a:lnTo>
                    <a:pt x="664832" y="752477"/>
                  </a:lnTo>
                  <a:lnTo>
                    <a:pt x="664018" y="757365"/>
                  </a:lnTo>
                  <a:lnTo>
                    <a:pt x="665973" y="761600"/>
                  </a:lnTo>
                  <a:lnTo>
                    <a:pt x="670697" y="764695"/>
                  </a:lnTo>
                  <a:lnTo>
                    <a:pt x="662226" y="763229"/>
                  </a:lnTo>
                  <a:lnTo>
                    <a:pt x="658968" y="764370"/>
                  </a:lnTo>
                  <a:lnTo>
                    <a:pt x="654406" y="770397"/>
                  </a:lnTo>
                  <a:lnTo>
                    <a:pt x="652614" y="776588"/>
                  </a:lnTo>
                  <a:lnTo>
                    <a:pt x="646098" y="783919"/>
                  </a:lnTo>
                  <a:lnTo>
                    <a:pt x="643002" y="788806"/>
                  </a:lnTo>
                  <a:lnTo>
                    <a:pt x="644469" y="791413"/>
                  </a:lnTo>
                  <a:lnTo>
                    <a:pt x="646261" y="793368"/>
                  </a:lnTo>
                  <a:lnTo>
                    <a:pt x="645446" y="797115"/>
                  </a:lnTo>
                  <a:lnTo>
                    <a:pt x="642188" y="795974"/>
                  </a:lnTo>
                  <a:lnTo>
                    <a:pt x="640885" y="792716"/>
                  </a:lnTo>
                  <a:lnTo>
                    <a:pt x="637464" y="792064"/>
                  </a:lnTo>
                  <a:lnTo>
                    <a:pt x="633717" y="797115"/>
                  </a:lnTo>
                  <a:lnTo>
                    <a:pt x="626712" y="801024"/>
                  </a:lnTo>
                  <a:lnTo>
                    <a:pt x="628829" y="804120"/>
                  </a:lnTo>
                  <a:lnTo>
                    <a:pt x="626874" y="807703"/>
                  </a:lnTo>
                  <a:lnTo>
                    <a:pt x="623290" y="807052"/>
                  </a:lnTo>
                  <a:lnTo>
                    <a:pt x="622150" y="804445"/>
                  </a:lnTo>
                  <a:lnTo>
                    <a:pt x="619218" y="806237"/>
                  </a:lnTo>
                  <a:lnTo>
                    <a:pt x="607977" y="815197"/>
                  </a:lnTo>
                  <a:lnTo>
                    <a:pt x="605045" y="820411"/>
                  </a:lnTo>
                  <a:lnTo>
                    <a:pt x="605696" y="823506"/>
                  </a:lnTo>
                  <a:lnTo>
                    <a:pt x="603904" y="825786"/>
                  </a:lnTo>
                  <a:lnTo>
                    <a:pt x="599994" y="824157"/>
                  </a:lnTo>
                  <a:lnTo>
                    <a:pt x="599994" y="819107"/>
                  </a:lnTo>
                  <a:lnTo>
                    <a:pt x="592664" y="822365"/>
                  </a:lnTo>
                  <a:lnTo>
                    <a:pt x="586962" y="826275"/>
                  </a:lnTo>
                  <a:lnTo>
                    <a:pt x="582400" y="828067"/>
                  </a:lnTo>
                  <a:lnTo>
                    <a:pt x="581749" y="831814"/>
                  </a:lnTo>
                  <a:lnTo>
                    <a:pt x="577513" y="833769"/>
                  </a:lnTo>
                  <a:lnTo>
                    <a:pt x="570345" y="833769"/>
                  </a:lnTo>
                  <a:lnTo>
                    <a:pt x="563503" y="840285"/>
                  </a:lnTo>
                  <a:lnTo>
                    <a:pt x="551610" y="844521"/>
                  </a:lnTo>
                  <a:lnTo>
                    <a:pt x="543628" y="851037"/>
                  </a:lnTo>
                  <a:lnTo>
                    <a:pt x="540533" y="858205"/>
                  </a:lnTo>
                  <a:lnTo>
                    <a:pt x="540044" y="860975"/>
                  </a:lnTo>
                  <a:lnTo>
                    <a:pt x="541999" y="865048"/>
                  </a:lnTo>
                  <a:lnTo>
                    <a:pt x="541673" y="868632"/>
                  </a:lnTo>
                  <a:lnTo>
                    <a:pt x="540044" y="869772"/>
                  </a:lnTo>
                  <a:lnTo>
                    <a:pt x="537111" y="865536"/>
                  </a:lnTo>
                  <a:lnTo>
                    <a:pt x="534505" y="865536"/>
                  </a:lnTo>
                  <a:lnTo>
                    <a:pt x="533527" y="867980"/>
                  </a:lnTo>
                  <a:lnTo>
                    <a:pt x="534342" y="871727"/>
                  </a:lnTo>
                  <a:lnTo>
                    <a:pt x="531898" y="873193"/>
                  </a:lnTo>
                  <a:lnTo>
                    <a:pt x="528966" y="869609"/>
                  </a:lnTo>
                  <a:lnTo>
                    <a:pt x="528966" y="865211"/>
                  </a:lnTo>
                  <a:lnTo>
                    <a:pt x="530921" y="861789"/>
                  </a:lnTo>
                  <a:lnTo>
                    <a:pt x="527337" y="859997"/>
                  </a:lnTo>
                  <a:lnTo>
                    <a:pt x="522287" y="860486"/>
                  </a:lnTo>
                  <a:lnTo>
                    <a:pt x="519843" y="859346"/>
                  </a:lnTo>
                  <a:lnTo>
                    <a:pt x="514793" y="860812"/>
                  </a:lnTo>
                  <a:lnTo>
                    <a:pt x="507299" y="861627"/>
                  </a:lnTo>
                  <a:lnTo>
                    <a:pt x="502738" y="863581"/>
                  </a:lnTo>
                  <a:lnTo>
                    <a:pt x="499642" y="867817"/>
                  </a:lnTo>
                  <a:lnTo>
                    <a:pt x="492963" y="870424"/>
                  </a:lnTo>
                  <a:lnTo>
                    <a:pt x="487261" y="874170"/>
                  </a:lnTo>
                  <a:lnTo>
                    <a:pt x="480908" y="880687"/>
                  </a:lnTo>
                  <a:lnTo>
                    <a:pt x="482048" y="882805"/>
                  </a:lnTo>
                  <a:lnTo>
                    <a:pt x="480093" y="885248"/>
                  </a:lnTo>
                  <a:lnTo>
                    <a:pt x="477650" y="884760"/>
                  </a:lnTo>
                  <a:lnTo>
                    <a:pt x="471459" y="887040"/>
                  </a:lnTo>
                  <a:lnTo>
                    <a:pt x="468038" y="889647"/>
                  </a:lnTo>
                  <a:lnTo>
                    <a:pt x="467549" y="892579"/>
                  </a:lnTo>
                  <a:lnTo>
                    <a:pt x="465431" y="893068"/>
                  </a:lnTo>
                  <a:lnTo>
                    <a:pt x="461033" y="891765"/>
                  </a:lnTo>
                  <a:lnTo>
                    <a:pt x="455983" y="893068"/>
                  </a:lnTo>
                  <a:lnTo>
                    <a:pt x="454354" y="896326"/>
                  </a:lnTo>
                  <a:lnTo>
                    <a:pt x="453376" y="901865"/>
                  </a:lnTo>
                  <a:lnTo>
                    <a:pt x="454517" y="904960"/>
                  </a:lnTo>
                  <a:lnTo>
                    <a:pt x="457775" y="903494"/>
                  </a:lnTo>
                  <a:lnTo>
                    <a:pt x="459241" y="900236"/>
                  </a:lnTo>
                  <a:lnTo>
                    <a:pt x="458752" y="897141"/>
                  </a:lnTo>
                  <a:lnTo>
                    <a:pt x="462336" y="895349"/>
                  </a:lnTo>
                  <a:lnTo>
                    <a:pt x="463639" y="897141"/>
                  </a:lnTo>
                  <a:lnTo>
                    <a:pt x="463314" y="900725"/>
                  </a:lnTo>
                  <a:lnTo>
                    <a:pt x="463639" y="902354"/>
                  </a:lnTo>
                  <a:lnTo>
                    <a:pt x="468201" y="902354"/>
                  </a:lnTo>
                  <a:cubicBezTo>
                    <a:pt x="468201" y="902354"/>
                    <a:pt x="472274" y="894208"/>
                    <a:pt x="472274" y="894208"/>
                  </a:cubicBezTo>
                  <a:lnTo>
                    <a:pt x="474554" y="893068"/>
                  </a:lnTo>
                  <a:lnTo>
                    <a:pt x="476509" y="896489"/>
                  </a:lnTo>
                  <a:lnTo>
                    <a:pt x="475532" y="899258"/>
                  </a:lnTo>
                  <a:lnTo>
                    <a:pt x="476183" y="901376"/>
                  </a:lnTo>
                  <a:lnTo>
                    <a:pt x="480419" y="901376"/>
                  </a:lnTo>
                  <a:cubicBezTo>
                    <a:pt x="480419" y="901376"/>
                    <a:pt x="483189" y="896489"/>
                    <a:pt x="483189" y="896489"/>
                  </a:cubicBezTo>
                  <a:lnTo>
                    <a:pt x="483840" y="899584"/>
                  </a:lnTo>
                  <a:lnTo>
                    <a:pt x="485469" y="900073"/>
                  </a:lnTo>
                  <a:lnTo>
                    <a:pt x="486447" y="896489"/>
                  </a:lnTo>
                  <a:lnTo>
                    <a:pt x="489542" y="894534"/>
                  </a:lnTo>
                  <a:lnTo>
                    <a:pt x="494429" y="894860"/>
                  </a:lnTo>
                  <a:lnTo>
                    <a:pt x="499154" y="891928"/>
                  </a:lnTo>
                  <a:lnTo>
                    <a:pt x="502086" y="886226"/>
                  </a:lnTo>
                  <a:lnTo>
                    <a:pt x="501271" y="881990"/>
                  </a:lnTo>
                  <a:lnTo>
                    <a:pt x="505344" y="879546"/>
                  </a:lnTo>
                  <a:lnTo>
                    <a:pt x="509580" y="874822"/>
                  </a:lnTo>
                  <a:lnTo>
                    <a:pt x="512186" y="874822"/>
                  </a:lnTo>
                  <a:cubicBezTo>
                    <a:pt x="512186" y="874822"/>
                    <a:pt x="517399" y="878732"/>
                    <a:pt x="517399" y="878732"/>
                  </a:cubicBezTo>
                  <a:lnTo>
                    <a:pt x="515933" y="881013"/>
                  </a:lnTo>
                  <a:lnTo>
                    <a:pt x="512023" y="881827"/>
                  </a:lnTo>
                  <a:lnTo>
                    <a:pt x="509091" y="886063"/>
                  </a:lnTo>
                  <a:lnTo>
                    <a:pt x="509091" y="890461"/>
                  </a:lnTo>
                  <a:lnTo>
                    <a:pt x="510720" y="891602"/>
                  </a:lnTo>
                  <a:lnTo>
                    <a:pt x="518051" y="886552"/>
                  </a:lnTo>
                  <a:lnTo>
                    <a:pt x="519191" y="882805"/>
                  </a:lnTo>
                  <a:lnTo>
                    <a:pt x="522124" y="881501"/>
                  </a:lnTo>
                  <a:lnTo>
                    <a:pt x="523427" y="883945"/>
                  </a:lnTo>
                  <a:lnTo>
                    <a:pt x="524567" y="881176"/>
                  </a:lnTo>
                  <a:lnTo>
                    <a:pt x="527174" y="881176"/>
                  </a:lnTo>
                  <a:cubicBezTo>
                    <a:pt x="527174" y="881176"/>
                    <a:pt x="528314" y="884434"/>
                    <a:pt x="528314" y="884434"/>
                  </a:cubicBezTo>
                  <a:lnTo>
                    <a:pt x="526685" y="887692"/>
                  </a:lnTo>
                  <a:lnTo>
                    <a:pt x="528477" y="888018"/>
                  </a:lnTo>
                  <a:lnTo>
                    <a:pt x="531898" y="882805"/>
                  </a:lnTo>
                  <a:lnTo>
                    <a:pt x="535808" y="883293"/>
                  </a:lnTo>
                  <a:lnTo>
                    <a:pt x="539718" y="880198"/>
                  </a:lnTo>
                  <a:lnTo>
                    <a:pt x="544117" y="880198"/>
                  </a:lnTo>
                  <a:lnTo>
                    <a:pt x="548841" y="873193"/>
                  </a:lnTo>
                  <a:lnTo>
                    <a:pt x="553402" y="870586"/>
                  </a:lnTo>
                  <a:lnTo>
                    <a:pt x="556661" y="871890"/>
                  </a:lnTo>
                  <a:lnTo>
                    <a:pt x="556661" y="874822"/>
                  </a:lnTo>
                  <a:lnTo>
                    <a:pt x="553240" y="879384"/>
                  </a:lnTo>
                  <a:lnTo>
                    <a:pt x="550144" y="884923"/>
                  </a:lnTo>
                  <a:lnTo>
                    <a:pt x="550144" y="886877"/>
                  </a:lnTo>
                  <a:cubicBezTo>
                    <a:pt x="550144" y="886877"/>
                    <a:pt x="552751" y="887040"/>
                    <a:pt x="552751" y="887040"/>
                  </a:cubicBezTo>
                  <a:lnTo>
                    <a:pt x="559756" y="879709"/>
                  </a:lnTo>
                  <a:lnTo>
                    <a:pt x="560082" y="871890"/>
                  </a:lnTo>
                  <a:lnTo>
                    <a:pt x="560896" y="870261"/>
                  </a:lnTo>
                  <a:lnTo>
                    <a:pt x="563666" y="873356"/>
                  </a:lnTo>
                  <a:lnTo>
                    <a:pt x="566761" y="871564"/>
                  </a:lnTo>
                  <a:lnTo>
                    <a:pt x="570508" y="872541"/>
                  </a:lnTo>
                  <a:lnTo>
                    <a:pt x="575721" y="872541"/>
                  </a:lnTo>
                  <a:cubicBezTo>
                    <a:pt x="575721" y="872541"/>
                    <a:pt x="580282" y="866840"/>
                    <a:pt x="580282" y="866840"/>
                  </a:cubicBezTo>
                  <a:lnTo>
                    <a:pt x="581749" y="866514"/>
                  </a:lnTo>
                  <a:lnTo>
                    <a:pt x="582889" y="867817"/>
                  </a:lnTo>
                  <a:lnTo>
                    <a:pt x="585496" y="862115"/>
                  </a:lnTo>
                  <a:lnTo>
                    <a:pt x="588428" y="859672"/>
                  </a:lnTo>
                  <a:lnTo>
                    <a:pt x="589405" y="861301"/>
                  </a:lnTo>
                  <a:lnTo>
                    <a:pt x="588591" y="864722"/>
                  </a:lnTo>
                  <a:lnTo>
                    <a:pt x="588917" y="869283"/>
                  </a:lnTo>
                  <a:lnTo>
                    <a:pt x="591686" y="867980"/>
                  </a:lnTo>
                  <a:lnTo>
                    <a:pt x="595596" y="863744"/>
                  </a:lnTo>
                  <a:lnTo>
                    <a:pt x="593641" y="862604"/>
                  </a:lnTo>
                  <a:lnTo>
                    <a:pt x="597551" y="859672"/>
                  </a:lnTo>
                  <a:lnTo>
                    <a:pt x="597551" y="857391"/>
                  </a:lnTo>
                  <a:cubicBezTo>
                    <a:pt x="597551" y="857391"/>
                    <a:pt x="589405" y="857391"/>
                    <a:pt x="589405" y="857391"/>
                  </a:cubicBezTo>
                  <a:lnTo>
                    <a:pt x="587776" y="855925"/>
                  </a:lnTo>
                  <a:lnTo>
                    <a:pt x="594293" y="854133"/>
                  </a:lnTo>
                  <a:lnTo>
                    <a:pt x="602112" y="849897"/>
                  </a:lnTo>
                  <a:lnTo>
                    <a:pt x="612050" y="849408"/>
                  </a:lnTo>
                  <a:lnTo>
                    <a:pt x="614493" y="847128"/>
                  </a:lnTo>
                  <a:lnTo>
                    <a:pt x="614005" y="843869"/>
                  </a:lnTo>
                  <a:lnTo>
                    <a:pt x="612050" y="843381"/>
                  </a:lnTo>
                  <a:lnTo>
                    <a:pt x="614493" y="841915"/>
                  </a:lnTo>
                  <a:lnTo>
                    <a:pt x="618403" y="841100"/>
                  </a:lnTo>
                  <a:lnTo>
                    <a:pt x="621498" y="838819"/>
                  </a:lnTo>
                  <a:lnTo>
                    <a:pt x="624105" y="838819"/>
                  </a:lnTo>
                  <a:cubicBezTo>
                    <a:pt x="624105" y="838819"/>
                    <a:pt x="625408" y="843218"/>
                    <a:pt x="625408" y="843218"/>
                  </a:cubicBezTo>
                  <a:lnTo>
                    <a:pt x="627852" y="843218"/>
                  </a:lnTo>
                  <a:lnTo>
                    <a:pt x="629644" y="839960"/>
                  </a:lnTo>
                  <a:lnTo>
                    <a:pt x="628666" y="838330"/>
                  </a:lnTo>
                  <a:lnTo>
                    <a:pt x="632413" y="835398"/>
                  </a:lnTo>
                  <a:lnTo>
                    <a:pt x="632413" y="831000"/>
                  </a:lnTo>
                  <a:cubicBezTo>
                    <a:pt x="632413" y="831000"/>
                    <a:pt x="634694" y="829208"/>
                    <a:pt x="634694" y="829208"/>
                  </a:cubicBezTo>
                  <a:lnTo>
                    <a:pt x="636486" y="831488"/>
                  </a:lnTo>
                  <a:lnTo>
                    <a:pt x="636486" y="834746"/>
                  </a:lnTo>
                  <a:lnTo>
                    <a:pt x="639093" y="836538"/>
                  </a:lnTo>
                  <a:lnTo>
                    <a:pt x="645283" y="832466"/>
                  </a:lnTo>
                  <a:lnTo>
                    <a:pt x="647564" y="828719"/>
                  </a:lnTo>
                  <a:lnTo>
                    <a:pt x="651311" y="828719"/>
                  </a:lnTo>
                  <a:cubicBezTo>
                    <a:pt x="651311" y="828719"/>
                    <a:pt x="654080" y="824646"/>
                    <a:pt x="654080" y="824646"/>
                  </a:cubicBezTo>
                  <a:lnTo>
                    <a:pt x="655709" y="823506"/>
                  </a:lnTo>
                  <a:lnTo>
                    <a:pt x="658153" y="826112"/>
                  </a:lnTo>
                  <a:lnTo>
                    <a:pt x="662389" y="825135"/>
                  </a:lnTo>
                  <a:lnTo>
                    <a:pt x="667765" y="818619"/>
                  </a:lnTo>
                  <a:lnTo>
                    <a:pt x="667765" y="814546"/>
                  </a:lnTo>
                  <a:cubicBezTo>
                    <a:pt x="667765" y="814546"/>
                    <a:pt x="666461" y="814383"/>
                    <a:pt x="666461" y="814383"/>
                  </a:cubicBezTo>
                  <a:lnTo>
                    <a:pt x="663040" y="814383"/>
                  </a:lnTo>
                  <a:cubicBezTo>
                    <a:pt x="663040" y="814383"/>
                    <a:pt x="662063" y="813894"/>
                    <a:pt x="662063" y="813894"/>
                  </a:cubicBezTo>
                  <a:lnTo>
                    <a:pt x="669068" y="808681"/>
                  </a:lnTo>
                  <a:lnTo>
                    <a:pt x="673629" y="807052"/>
                  </a:lnTo>
                  <a:lnTo>
                    <a:pt x="677376" y="802816"/>
                  </a:lnTo>
                  <a:lnTo>
                    <a:pt x="679168" y="803142"/>
                  </a:lnTo>
                  <a:lnTo>
                    <a:pt x="680797" y="804934"/>
                  </a:lnTo>
                  <a:lnTo>
                    <a:pt x="686173" y="799395"/>
                  </a:lnTo>
                  <a:lnTo>
                    <a:pt x="690735" y="797440"/>
                  </a:lnTo>
                  <a:lnTo>
                    <a:pt x="692201" y="793530"/>
                  </a:lnTo>
                  <a:lnTo>
                    <a:pt x="695133" y="792390"/>
                  </a:lnTo>
                  <a:lnTo>
                    <a:pt x="696762" y="789946"/>
                  </a:lnTo>
                  <a:lnTo>
                    <a:pt x="700184" y="789458"/>
                  </a:lnTo>
                  <a:lnTo>
                    <a:pt x="701813" y="792390"/>
                  </a:lnTo>
                  <a:lnTo>
                    <a:pt x="704093" y="793693"/>
                  </a:lnTo>
                  <a:lnTo>
                    <a:pt x="705397" y="789946"/>
                  </a:lnTo>
                  <a:lnTo>
                    <a:pt x="709632" y="789946"/>
                  </a:lnTo>
                  <a:lnTo>
                    <a:pt x="711587" y="788317"/>
                  </a:lnTo>
                  <a:lnTo>
                    <a:pt x="711587" y="785222"/>
                  </a:lnTo>
                  <a:cubicBezTo>
                    <a:pt x="711587" y="785222"/>
                    <a:pt x="715823" y="784082"/>
                    <a:pt x="715823" y="784082"/>
                  </a:cubicBezTo>
                  <a:lnTo>
                    <a:pt x="717289" y="782127"/>
                  </a:lnTo>
                  <a:lnTo>
                    <a:pt x="718592" y="783430"/>
                  </a:lnTo>
                  <a:lnTo>
                    <a:pt x="725923" y="784245"/>
                  </a:lnTo>
                  <a:lnTo>
                    <a:pt x="727389" y="779846"/>
                  </a:lnTo>
                  <a:lnTo>
                    <a:pt x="729670" y="779846"/>
                  </a:lnTo>
                  <a:cubicBezTo>
                    <a:pt x="729670" y="779846"/>
                    <a:pt x="729996" y="782290"/>
                    <a:pt x="729996" y="782290"/>
                  </a:cubicBezTo>
                  <a:lnTo>
                    <a:pt x="731788" y="782290"/>
                  </a:lnTo>
                  <a:cubicBezTo>
                    <a:pt x="731788" y="782290"/>
                    <a:pt x="734394" y="779846"/>
                    <a:pt x="734394" y="779846"/>
                  </a:cubicBezTo>
                  <a:lnTo>
                    <a:pt x="736675" y="781801"/>
                  </a:lnTo>
                  <a:lnTo>
                    <a:pt x="738467" y="780498"/>
                  </a:lnTo>
                  <a:lnTo>
                    <a:pt x="740911" y="773330"/>
                  </a:lnTo>
                  <a:lnTo>
                    <a:pt x="738630" y="773330"/>
                  </a:lnTo>
                  <a:lnTo>
                    <a:pt x="736024" y="774470"/>
                  </a:lnTo>
                  <a:lnTo>
                    <a:pt x="737653" y="770723"/>
                  </a:lnTo>
                  <a:lnTo>
                    <a:pt x="742703" y="766650"/>
                  </a:lnTo>
                  <a:lnTo>
                    <a:pt x="745309" y="766650"/>
                  </a:lnTo>
                  <a:lnTo>
                    <a:pt x="747101" y="768117"/>
                  </a:lnTo>
                  <a:lnTo>
                    <a:pt x="748079" y="766650"/>
                  </a:lnTo>
                  <a:lnTo>
                    <a:pt x="746287" y="763718"/>
                  </a:lnTo>
                  <a:lnTo>
                    <a:pt x="743354" y="762252"/>
                  </a:lnTo>
                  <a:lnTo>
                    <a:pt x="745961" y="760949"/>
                  </a:lnTo>
                  <a:lnTo>
                    <a:pt x="750523" y="762578"/>
                  </a:lnTo>
                  <a:lnTo>
                    <a:pt x="755898" y="757202"/>
                  </a:lnTo>
                  <a:lnTo>
                    <a:pt x="761926" y="757202"/>
                  </a:lnTo>
                  <a:lnTo>
                    <a:pt x="767139" y="752966"/>
                  </a:lnTo>
                  <a:lnTo>
                    <a:pt x="770886" y="752152"/>
                  </a:lnTo>
                  <a:lnTo>
                    <a:pt x="776914" y="746450"/>
                  </a:lnTo>
                  <a:lnTo>
                    <a:pt x="776914" y="738956"/>
                  </a:lnTo>
                  <a:lnTo>
                    <a:pt x="774959" y="737164"/>
                  </a:lnTo>
                  <a:lnTo>
                    <a:pt x="773493" y="737164"/>
                  </a:lnTo>
                  <a:lnTo>
                    <a:pt x="771701" y="731625"/>
                  </a:lnTo>
                  <a:lnTo>
                    <a:pt x="769094" y="729996"/>
                  </a:lnTo>
                  <a:lnTo>
                    <a:pt x="762252" y="729996"/>
                  </a:lnTo>
                  <a:cubicBezTo>
                    <a:pt x="762252" y="729996"/>
                    <a:pt x="763392" y="725434"/>
                    <a:pt x="763392" y="725434"/>
                  </a:cubicBezTo>
                  <a:lnTo>
                    <a:pt x="763066" y="720710"/>
                  </a:lnTo>
                  <a:lnTo>
                    <a:pt x="769909" y="717941"/>
                  </a:lnTo>
                  <a:lnTo>
                    <a:pt x="771212" y="715334"/>
                  </a:lnTo>
                  <a:lnTo>
                    <a:pt x="774796" y="714520"/>
                  </a:lnTo>
                  <a:lnTo>
                    <a:pt x="776099" y="711424"/>
                  </a:lnTo>
                  <a:lnTo>
                    <a:pt x="774796" y="710936"/>
                  </a:lnTo>
                  <a:lnTo>
                    <a:pt x="777565" y="708981"/>
                  </a:lnTo>
                  <a:lnTo>
                    <a:pt x="782779" y="710121"/>
                  </a:lnTo>
                  <a:lnTo>
                    <a:pt x="789295" y="705560"/>
                  </a:lnTo>
                  <a:lnTo>
                    <a:pt x="793856" y="709632"/>
                  </a:lnTo>
                  <a:lnTo>
                    <a:pt x="800047" y="706211"/>
                  </a:lnTo>
                  <a:lnTo>
                    <a:pt x="799232" y="709958"/>
                  </a:lnTo>
                  <a:lnTo>
                    <a:pt x="800536" y="712728"/>
                  </a:lnTo>
                  <a:lnTo>
                    <a:pt x="803468" y="712402"/>
                  </a:lnTo>
                  <a:lnTo>
                    <a:pt x="809007" y="706537"/>
                  </a:lnTo>
                  <a:lnTo>
                    <a:pt x="807541" y="704256"/>
                  </a:lnTo>
                  <a:lnTo>
                    <a:pt x="804934" y="703279"/>
                  </a:lnTo>
                  <a:lnTo>
                    <a:pt x="803957" y="700672"/>
                  </a:lnTo>
                  <a:lnTo>
                    <a:pt x="806563" y="699695"/>
                  </a:lnTo>
                  <a:lnTo>
                    <a:pt x="811288" y="701487"/>
                  </a:lnTo>
                  <a:lnTo>
                    <a:pt x="820085" y="698717"/>
                  </a:lnTo>
                  <a:lnTo>
                    <a:pt x="821877" y="691875"/>
                  </a:lnTo>
                  <a:lnTo>
                    <a:pt x="819922" y="686173"/>
                  </a:lnTo>
                  <a:lnTo>
                    <a:pt x="812591" y="681123"/>
                  </a:lnTo>
                  <a:lnTo>
                    <a:pt x="809658" y="681449"/>
                  </a:lnTo>
                  <a:lnTo>
                    <a:pt x="806889" y="683730"/>
                  </a:lnTo>
                  <a:lnTo>
                    <a:pt x="806889" y="682426"/>
                  </a:lnTo>
                  <a:lnTo>
                    <a:pt x="810310" y="679657"/>
                  </a:lnTo>
                  <a:lnTo>
                    <a:pt x="816827" y="679168"/>
                  </a:lnTo>
                  <a:lnTo>
                    <a:pt x="820573" y="682426"/>
                  </a:lnTo>
                  <a:lnTo>
                    <a:pt x="827416" y="681938"/>
                  </a:lnTo>
                  <a:lnTo>
                    <a:pt x="832466" y="677376"/>
                  </a:lnTo>
                  <a:lnTo>
                    <a:pt x="832466" y="674444"/>
                  </a:lnTo>
                  <a:cubicBezTo>
                    <a:pt x="832466" y="674444"/>
                    <a:pt x="843869" y="668579"/>
                    <a:pt x="843869" y="668579"/>
                  </a:cubicBezTo>
                  <a:lnTo>
                    <a:pt x="850060" y="663203"/>
                  </a:lnTo>
                  <a:lnTo>
                    <a:pt x="855436" y="662877"/>
                  </a:lnTo>
                  <a:lnTo>
                    <a:pt x="857717" y="660434"/>
                  </a:lnTo>
                  <a:lnTo>
                    <a:pt x="857717" y="657501"/>
                  </a:lnTo>
                  <a:lnTo>
                    <a:pt x="868632" y="649356"/>
                  </a:lnTo>
                  <a:lnTo>
                    <a:pt x="877592" y="648378"/>
                  </a:lnTo>
                  <a:lnTo>
                    <a:pt x="888018" y="638930"/>
                  </a:lnTo>
                  <a:lnTo>
                    <a:pt x="895837" y="638115"/>
                  </a:lnTo>
                  <a:lnTo>
                    <a:pt x="904472" y="627200"/>
                  </a:lnTo>
                  <a:lnTo>
                    <a:pt x="901539" y="633879"/>
                  </a:lnTo>
                  <a:lnTo>
                    <a:pt x="901865" y="639581"/>
                  </a:lnTo>
                  <a:lnTo>
                    <a:pt x="904472" y="641048"/>
                  </a:lnTo>
                  <a:lnTo>
                    <a:pt x="908381" y="641862"/>
                  </a:lnTo>
                  <a:lnTo>
                    <a:pt x="909848" y="643654"/>
                  </a:lnTo>
                  <a:lnTo>
                    <a:pt x="916364" y="636649"/>
                  </a:lnTo>
                  <a:lnTo>
                    <a:pt x="921414" y="634857"/>
                  </a:lnTo>
                  <a:lnTo>
                    <a:pt x="931840" y="631762"/>
                  </a:lnTo>
                  <a:lnTo>
                    <a:pt x="935099" y="628015"/>
                  </a:lnTo>
                  <a:lnTo>
                    <a:pt x="933144" y="633391"/>
                  </a:lnTo>
                  <a:lnTo>
                    <a:pt x="925161" y="638115"/>
                  </a:lnTo>
                  <a:lnTo>
                    <a:pt x="919133" y="638604"/>
                  </a:lnTo>
                  <a:lnTo>
                    <a:pt x="908056" y="650008"/>
                  </a:lnTo>
                  <a:lnTo>
                    <a:pt x="907078" y="654406"/>
                  </a:lnTo>
                  <a:lnTo>
                    <a:pt x="912617" y="662552"/>
                  </a:lnTo>
                  <a:lnTo>
                    <a:pt x="914083" y="668253"/>
                  </a:lnTo>
                  <a:lnTo>
                    <a:pt x="908707" y="664181"/>
                  </a:lnTo>
                  <a:lnTo>
                    <a:pt x="904635" y="663855"/>
                  </a:lnTo>
                  <a:lnTo>
                    <a:pt x="902191" y="664995"/>
                  </a:lnTo>
                  <a:lnTo>
                    <a:pt x="898281" y="664995"/>
                  </a:lnTo>
                  <a:lnTo>
                    <a:pt x="893068" y="661574"/>
                  </a:lnTo>
                  <a:lnTo>
                    <a:pt x="891765" y="655058"/>
                  </a:lnTo>
                  <a:lnTo>
                    <a:pt x="883619" y="658805"/>
                  </a:lnTo>
                  <a:lnTo>
                    <a:pt x="879547" y="659130"/>
                  </a:lnTo>
                  <a:lnTo>
                    <a:pt x="872216" y="664344"/>
                  </a:lnTo>
                  <a:lnTo>
                    <a:pt x="865373" y="664344"/>
                  </a:lnTo>
                  <a:lnTo>
                    <a:pt x="860160" y="669068"/>
                  </a:lnTo>
                  <a:lnTo>
                    <a:pt x="859835" y="674118"/>
                  </a:lnTo>
                  <a:lnTo>
                    <a:pt x="860812" y="676725"/>
                  </a:lnTo>
                  <a:lnTo>
                    <a:pt x="856739" y="684707"/>
                  </a:lnTo>
                  <a:lnTo>
                    <a:pt x="850875" y="688128"/>
                  </a:lnTo>
                  <a:lnTo>
                    <a:pt x="848431" y="695133"/>
                  </a:lnTo>
                  <a:lnTo>
                    <a:pt x="833769" y="707840"/>
                  </a:lnTo>
                  <a:lnTo>
                    <a:pt x="829859" y="713053"/>
                  </a:lnTo>
                  <a:lnTo>
                    <a:pt x="830348" y="716800"/>
                  </a:lnTo>
                  <a:lnTo>
                    <a:pt x="835398" y="723968"/>
                  </a:lnTo>
                  <a:lnTo>
                    <a:pt x="838168" y="719895"/>
                  </a:lnTo>
                  <a:lnTo>
                    <a:pt x="840774" y="719895"/>
                  </a:lnTo>
                  <a:cubicBezTo>
                    <a:pt x="840774" y="719895"/>
                    <a:pt x="845336" y="716637"/>
                    <a:pt x="845336" y="716637"/>
                  </a:cubicBezTo>
                  <a:lnTo>
                    <a:pt x="849245" y="717289"/>
                  </a:lnTo>
                  <a:lnTo>
                    <a:pt x="849245" y="720058"/>
                  </a:lnTo>
                  <a:lnTo>
                    <a:pt x="840448" y="727064"/>
                  </a:lnTo>
                  <a:lnTo>
                    <a:pt x="836376" y="727064"/>
                  </a:lnTo>
                  <a:cubicBezTo>
                    <a:pt x="836376" y="727064"/>
                    <a:pt x="833932" y="731788"/>
                    <a:pt x="833932" y="731788"/>
                  </a:cubicBezTo>
                  <a:lnTo>
                    <a:pt x="829208" y="729507"/>
                  </a:lnTo>
                  <a:lnTo>
                    <a:pt x="825298" y="729507"/>
                  </a:lnTo>
                  <a:cubicBezTo>
                    <a:pt x="825298" y="729507"/>
                    <a:pt x="821388" y="731136"/>
                    <a:pt x="821388" y="731136"/>
                  </a:cubicBezTo>
                  <a:lnTo>
                    <a:pt x="821388" y="735535"/>
                  </a:lnTo>
                  <a:lnTo>
                    <a:pt x="818130" y="734557"/>
                  </a:lnTo>
                  <a:lnTo>
                    <a:pt x="814057" y="735535"/>
                  </a:lnTo>
                  <a:lnTo>
                    <a:pt x="814057" y="741725"/>
                  </a:lnTo>
                  <a:cubicBezTo>
                    <a:pt x="814057" y="741725"/>
                    <a:pt x="821225" y="749382"/>
                    <a:pt x="821225" y="749382"/>
                  </a:cubicBezTo>
                  <a:lnTo>
                    <a:pt x="823506" y="748242"/>
                  </a:lnTo>
                  <a:lnTo>
                    <a:pt x="825949" y="744821"/>
                  </a:lnTo>
                  <a:lnTo>
                    <a:pt x="828719" y="747753"/>
                  </a:lnTo>
                  <a:lnTo>
                    <a:pt x="830511" y="742051"/>
                  </a:lnTo>
                  <a:lnTo>
                    <a:pt x="834258" y="742051"/>
                  </a:lnTo>
                  <a:cubicBezTo>
                    <a:pt x="834258" y="742051"/>
                    <a:pt x="834095" y="746450"/>
                    <a:pt x="834095" y="746450"/>
                  </a:cubicBezTo>
                  <a:lnTo>
                    <a:pt x="837190" y="744495"/>
                  </a:lnTo>
                  <a:lnTo>
                    <a:pt x="838168" y="741562"/>
                  </a:lnTo>
                  <a:lnTo>
                    <a:pt x="842077" y="739770"/>
                  </a:lnTo>
                  <a:lnTo>
                    <a:pt x="847128" y="736024"/>
                  </a:lnTo>
                  <a:lnTo>
                    <a:pt x="847616" y="730485"/>
                  </a:lnTo>
                  <a:lnTo>
                    <a:pt x="851037" y="727226"/>
                  </a:lnTo>
                  <a:lnTo>
                    <a:pt x="851526" y="729833"/>
                  </a:lnTo>
                  <a:lnTo>
                    <a:pt x="849734" y="732440"/>
                  </a:lnTo>
                  <a:lnTo>
                    <a:pt x="852015" y="735372"/>
                  </a:lnTo>
                  <a:lnTo>
                    <a:pt x="857717" y="735372"/>
                  </a:lnTo>
                  <a:cubicBezTo>
                    <a:pt x="857717" y="735372"/>
                    <a:pt x="865536" y="728856"/>
                    <a:pt x="865536" y="728856"/>
                  </a:cubicBezTo>
                  <a:lnTo>
                    <a:pt x="871075" y="728856"/>
                  </a:lnTo>
                  <a:cubicBezTo>
                    <a:pt x="871075" y="728856"/>
                    <a:pt x="872379" y="731625"/>
                    <a:pt x="872379" y="731625"/>
                  </a:cubicBezTo>
                  <a:lnTo>
                    <a:pt x="875474" y="729344"/>
                  </a:lnTo>
                  <a:lnTo>
                    <a:pt x="877755" y="720384"/>
                  </a:lnTo>
                  <a:lnTo>
                    <a:pt x="883456" y="716474"/>
                  </a:lnTo>
                  <a:lnTo>
                    <a:pt x="886063" y="716963"/>
                  </a:lnTo>
                  <a:lnTo>
                    <a:pt x="880035" y="723480"/>
                  </a:lnTo>
                  <a:lnTo>
                    <a:pt x="880035" y="727552"/>
                  </a:lnTo>
                  <a:cubicBezTo>
                    <a:pt x="880035" y="727552"/>
                    <a:pt x="883293" y="725272"/>
                    <a:pt x="883293" y="725272"/>
                  </a:cubicBezTo>
                  <a:lnTo>
                    <a:pt x="888669" y="718103"/>
                  </a:lnTo>
                  <a:lnTo>
                    <a:pt x="891765" y="709632"/>
                  </a:lnTo>
                  <a:lnTo>
                    <a:pt x="895512" y="707514"/>
                  </a:lnTo>
                  <a:lnTo>
                    <a:pt x="895512" y="711261"/>
                  </a:lnTo>
                  <a:cubicBezTo>
                    <a:pt x="895512" y="711261"/>
                    <a:pt x="891928" y="717289"/>
                    <a:pt x="891928" y="717289"/>
                  </a:cubicBezTo>
                  <a:lnTo>
                    <a:pt x="892416" y="719244"/>
                  </a:lnTo>
                  <a:lnTo>
                    <a:pt x="898607" y="713216"/>
                  </a:lnTo>
                  <a:lnTo>
                    <a:pt x="900399" y="716312"/>
                  </a:lnTo>
                  <a:lnTo>
                    <a:pt x="900073" y="719570"/>
                  </a:lnTo>
                  <a:lnTo>
                    <a:pt x="905612" y="720384"/>
                  </a:lnTo>
                  <a:lnTo>
                    <a:pt x="907893" y="722176"/>
                  </a:lnTo>
                  <a:lnTo>
                    <a:pt x="911965" y="718918"/>
                  </a:lnTo>
                  <a:lnTo>
                    <a:pt x="914246" y="713216"/>
                  </a:lnTo>
                  <a:lnTo>
                    <a:pt x="921088" y="712565"/>
                  </a:lnTo>
                  <a:lnTo>
                    <a:pt x="925324" y="709632"/>
                  </a:lnTo>
                  <a:lnTo>
                    <a:pt x="922229" y="708003"/>
                  </a:lnTo>
                  <a:lnTo>
                    <a:pt x="923858" y="702627"/>
                  </a:lnTo>
                  <a:lnTo>
                    <a:pt x="933307" y="699369"/>
                  </a:lnTo>
                  <a:lnTo>
                    <a:pt x="934936" y="695948"/>
                  </a:lnTo>
                  <a:lnTo>
                    <a:pt x="934936" y="690898"/>
                  </a:lnTo>
                  <a:cubicBezTo>
                    <a:pt x="934936" y="690898"/>
                    <a:pt x="930537" y="691712"/>
                    <a:pt x="930537" y="691712"/>
                  </a:cubicBezTo>
                  <a:lnTo>
                    <a:pt x="927279" y="689432"/>
                  </a:lnTo>
                  <a:lnTo>
                    <a:pt x="921577" y="688617"/>
                  </a:lnTo>
                  <a:lnTo>
                    <a:pt x="923532" y="685522"/>
                  </a:lnTo>
                  <a:lnTo>
                    <a:pt x="927931" y="685522"/>
                  </a:lnTo>
                  <a:cubicBezTo>
                    <a:pt x="927931" y="685522"/>
                    <a:pt x="931840" y="686825"/>
                    <a:pt x="931840" y="686825"/>
                  </a:cubicBezTo>
                  <a:lnTo>
                    <a:pt x="934121" y="683893"/>
                  </a:lnTo>
                  <a:lnTo>
                    <a:pt x="934121" y="679657"/>
                  </a:lnTo>
                  <a:lnTo>
                    <a:pt x="929723" y="681449"/>
                  </a:lnTo>
                  <a:lnTo>
                    <a:pt x="924509" y="677213"/>
                  </a:lnTo>
                  <a:lnTo>
                    <a:pt x="924509" y="673141"/>
                  </a:lnTo>
                  <a:cubicBezTo>
                    <a:pt x="924509" y="673141"/>
                    <a:pt x="931026" y="672326"/>
                    <a:pt x="931026" y="672326"/>
                  </a:cubicBezTo>
                  <a:lnTo>
                    <a:pt x="933958" y="670860"/>
                  </a:lnTo>
                  <a:lnTo>
                    <a:pt x="936239" y="672326"/>
                  </a:lnTo>
                  <a:lnTo>
                    <a:pt x="937053" y="669882"/>
                  </a:lnTo>
                  <a:lnTo>
                    <a:pt x="935261" y="664018"/>
                  </a:lnTo>
                  <a:lnTo>
                    <a:pt x="943570" y="660597"/>
                  </a:lnTo>
                  <a:lnTo>
                    <a:pt x="948294" y="664018"/>
                  </a:lnTo>
                  <a:lnTo>
                    <a:pt x="951715" y="663040"/>
                  </a:lnTo>
                  <a:lnTo>
                    <a:pt x="957906" y="663040"/>
                  </a:lnTo>
                  <a:lnTo>
                    <a:pt x="948457" y="669557"/>
                  </a:lnTo>
                  <a:lnTo>
                    <a:pt x="948946" y="673792"/>
                  </a:lnTo>
                  <a:lnTo>
                    <a:pt x="950575" y="682264"/>
                  </a:lnTo>
                  <a:lnTo>
                    <a:pt x="952856" y="681775"/>
                  </a:lnTo>
                  <a:lnTo>
                    <a:pt x="955951" y="672000"/>
                  </a:lnTo>
                  <a:lnTo>
                    <a:pt x="959861" y="669394"/>
                  </a:lnTo>
                  <a:lnTo>
                    <a:pt x="962304" y="669394"/>
                  </a:lnTo>
                  <a:lnTo>
                    <a:pt x="960675" y="672489"/>
                  </a:lnTo>
                  <a:lnTo>
                    <a:pt x="958069" y="676399"/>
                  </a:lnTo>
                  <a:lnTo>
                    <a:pt x="959046" y="679657"/>
                  </a:lnTo>
                  <a:lnTo>
                    <a:pt x="965074" y="675258"/>
                  </a:lnTo>
                  <a:lnTo>
                    <a:pt x="966377" y="672326"/>
                  </a:lnTo>
                  <a:lnTo>
                    <a:pt x="970287" y="675258"/>
                  </a:lnTo>
                  <a:lnTo>
                    <a:pt x="975337" y="671512"/>
                  </a:lnTo>
                  <a:lnTo>
                    <a:pt x="977292" y="671512"/>
                  </a:lnTo>
                  <a:cubicBezTo>
                    <a:pt x="977292" y="671512"/>
                    <a:pt x="982342" y="667765"/>
                    <a:pt x="982342" y="667765"/>
                  </a:cubicBezTo>
                  <a:lnTo>
                    <a:pt x="988044" y="666624"/>
                  </a:lnTo>
                  <a:lnTo>
                    <a:pt x="992280" y="668090"/>
                  </a:lnTo>
                  <a:lnTo>
                    <a:pt x="991302" y="669882"/>
                  </a:lnTo>
                  <a:lnTo>
                    <a:pt x="985926" y="669882"/>
                  </a:lnTo>
                  <a:cubicBezTo>
                    <a:pt x="985926" y="669882"/>
                    <a:pt x="980550" y="675584"/>
                    <a:pt x="980550" y="675584"/>
                  </a:cubicBezTo>
                  <a:lnTo>
                    <a:pt x="977129" y="675584"/>
                  </a:lnTo>
                  <a:lnTo>
                    <a:pt x="974523" y="679005"/>
                  </a:lnTo>
                  <a:lnTo>
                    <a:pt x="976477" y="681775"/>
                  </a:lnTo>
                  <a:lnTo>
                    <a:pt x="986089" y="683730"/>
                  </a:lnTo>
                  <a:lnTo>
                    <a:pt x="989347" y="686988"/>
                  </a:lnTo>
                  <a:lnTo>
                    <a:pt x="988859" y="689594"/>
                  </a:lnTo>
                  <a:lnTo>
                    <a:pt x="983320" y="685033"/>
                  </a:lnTo>
                  <a:lnTo>
                    <a:pt x="976477" y="684218"/>
                  </a:lnTo>
                  <a:lnTo>
                    <a:pt x="972242" y="686173"/>
                  </a:lnTo>
                  <a:lnTo>
                    <a:pt x="971753" y="690409"/>
                  </a:lnTo>
                  <a:lnTo>
                    <a:pt x="975500" y="691712"/>
                  </a:lnTo>
                  <a:lnTo>
                    <a:pt x="979736" y="689269"/>
                  </a:lnTo>
                  <a:lnTo>
                    <a:pt x="983808" y="692201"/>
                  </a:lnTo>
                  <a:lnTo>
                    <a:pt x="981365" y="693504"/>
                  </a:lnTo>
                  <a:lnTo>
                    <a:pt x="975989" y="693504"/>
                  </a:lnTo>
                  <a:cubicBezTo>
                    <a:pt x="975989" y="693504"/>
                    <a:pt x="976477" y="697414"/>
                    <a:pt x="976477" y="697414"/>
                  </a:cubicBezTo>
                  <a:lnTo>
                    <a:pt x="983483" y="699206"/>
                  </a:lnTo>
                  <a:lnTo>
                    <a:pt x="985926" y="702464"/>
                  </a:lnTo>
                  <a:lnTo>
                    <a:pt x="982016" y="703768"/>
                  </a:lnTo>
                  <a:lnTo>
                    <a:pt x="977944" y="705234"/>
                  </a:lnTo>
                  <a:lnTo>
                    <a:pt x="978432" y="708003"/>
                  </a:lnTo>
                  <a:lnTo>
                    <a:pt x="983483" y="708003"/>
                  </a:lnTo>
                  <a:lnTo>
                    <a:pt x="988696" y="705722"/>
                  </a:lnTo>
                  <a:lnTo>
                    <a:pt x="993094" y="709632"/>
                  </a:lnTo>
                  <a:lnTo>
                    <a:pt x="997493" y="711587"/>
                  </a:lnTo>
                  <a:lnTo>
                    <a:pt x="1004661" y="708818"/>
                  </a:lnTo>
                  <a:lnTo>
                    <a:pt x="1006941" y="711750"/>
                  </a:lnTo>
                  <a:lnTo>
                    <a:pt x="1006941" y="714194"/>
                  </a:lnTo>
                  <a:cubicBezTo>
                    <a:pt x="1006941" y="714194"/>
                    <a:pt x="1003683" y="716312"/>
                    <a:pt x="1003683" y="716312"/>
                  </a:cubicBezTo>
                  <a:lnTo>
                    <a:pt x="1004498" y="719244"/>
                  </a:lnTo>
                  <a:lnTo>
                    <a:pt x="1006779" y="720221"/>
                  </a:lnTo>
                  <a:lnTo>
                    <a:pt x="1007593" y="723317"/>
                  </a:lnTo>
                  <a:lnTo>
                    <a:pt x="1011666" y="724783"/>
                  </a:lnTo>
                  <a:lnTo>
                    <a:pt x="1014924" y="719570"/>
                  </a:lnTo>
                  <a:lnTo>
                    <a:pt x="1013458" y="717289"/>
                  </a:lnTo>
                  <a:lnTo>
                    <a:pt x="1014761" y="715008"/>
                  </a:lnTo>
                  <a:lnTo>
                    <a:pt x="1020952" y="715008"/>
                  </a:lnTo>
                  <a:cubicBezTo>
                    <a:pt x="1020952" y="715008"/>
                    <a:pt x="1017205" y="720058"/>
                    <a:pt x="1017205" y="720058"/>
                  </a:cubicBezTo>
                  <a:lnTo>
                    <a:pt x="1017531" y="723154"/>
                  </a:lnTo>
                  <a:lnTo>
                    <a:pt x="1011014" y="729670"/>
                  </a:lnTo>
                  <a:lnTo>
                    <a:pt x="1016064" y="734232"/>
                  </a:lnTo>
                  <a:lnTo>
                    <a:pt x="1013784" y="735535"/>
                  </a:lnTo>
                  <a:lnTo>
                    <a:pt x="1011177" y="734394"/>
                  </a:lnTo>
                  <a:lnTo>
                    <a:pt x="1008082" y="735535"/>
                  </a:lnTo>
                  <a:lnTo>
                    <a:pt x="1009711" y="738630"/>
                  </a:lnTo>
                  <a:lnTo>
                    <a:pt x="1021929" y="741074"/>
                  </a:lnTo>
                  <a:lnTo>
                    <a:pt x="1025513" y="739608"/>
                  </a:lnTo>
                  <a:lnTo>
                    <a:pt x="1029260" y="740585"/>
                  </a:lnTo>
                  <a:lnTo>
                    <a:pt x="1034310" y="740096"/>
                  </a:lnTo>
                  <a:lnTo>
                    <a:pt x="1040664" y="740585"/>
                  </a:lnTo>
                  <a:lnTo>
                    <a:pt x="1046365" y="739445"/>
                  </a:lnTo>
                  <a:lnTo>
                    <a:pt x="1048809" y="740259"/>
                  </a:lnTo>
                  <a:lnTo>
                    <a:pt x="1048809" y="744006"/>
                  </a:lnTo>
                  <a:cubicBezTo>
                    <a:pt x="1048809" y="744006"/>
                    <a:pt x="1052230" y="744332"/>
                    <a:pt x="1052230" y="744332"/>
                  </a:cubicBezTo>
                  <a:lnTo>
                    <a:pt x="1055489" y="748405"/>
                  </a:lnTo>
                  <a:lnTo>
                    <a:pt x="1058747" y="750848"/>
                  </a:lnTo>
                  <a:lnTo>
                    <a:pt x="1060050" y="754269"/>
                  </a:lnTo>
                  <a:lnTo>
                    <a:pt x="1064448" y="754269"/>
                  </a:lnTo>
                  <a:cubicBezTo>
                    <a:pt x="1064448" y="754269"/>
                    <a:pt x="1071454" y="750522"/>
                    <a:pt x="1071454" y="750522"/>
                  </a:cubicBezTo>
                  <a:lnTo>
                    <a:pt x="1072920" y="748893"/>
                  </a:lnTo>
                  <a:lnTo>
                    <a:pt x="1075526" y="750197"/>
                  </a:lnTo>
                  <a:lnTo>
                    <a:pt x="1075200" y="754106"/>
                  </a:lnTo>
                  <a:lnTo>
                    <a:pt x="1071454" y="757039"/>
                  </a:lnTo>
                  <a:lnTo>
                    <a:pt x="1066729" y="758342"/>
                  </a:lnTo>
                  <a:lnTo>
                    <a:pt x="1067707" y="760786"/>
                  </a:lnTo>
                  <a:lnTo>
                    <a:pt x="1075038" y="762578"/>
                  </a:lnTo>
                  <a:lnTo>
                    <a:pt x="1076341" y="767139"/>
                  </a:lnTo>
                  <a:lnTo>
                    <a:pt x="1079436" y="770072"/>
                  </a:lnTo>
                  <a:lnTo>
                    <a:pt x="1087093" y="772515"/>
                  </a:lnTo>
                  <a:lnTo>
                    <a:pt x="1096542" y="770234"/>
                  </a:lnTo>
                  <a:lnTo>
                    <a:pt x="1100614" y="768768"/>
                  </a:lnTo>
                  <a:lnTo>
                    <a:pt x="1101918" y="771375"/>
                  </a:lnTo>
                  <a:lnTo>
                    <a:pt x="1104850" y="767465"/>
                  </a:lnTo>
                  <a:lnTo>
                    <a:pt x="1111529" y="762741"/>
                  </a:lnTo>
                  <a:lnTo>
                    <a:pt x="1114136" y="762741"/>
                  </a:lnTo>
                  <a:cubicBezTo>
                    <a:pt x="1114136" y="762741"/>
                    <a:pt x="1112181" y="765999"/>
                    <a:pt x="1112181" y="765999"/>
                  </a:cubicBezTo>
                  <a:lnTo>
                    <a:pt x="1107456" y="769746"/>
                  </a:lnTo>
                  <a:lnTo>
                    <a:pt x="1106479" y="778543"/>
                  </a:lnTo>
                  <a:lnTo>
                    <a:pt x="1104198" y="783919"/>
                  </a:lnTo>
                  <a:lnTo>
                    <a:pt x="1100940" y="784408"/>
                  </a:lnTo>
                  <a:lnTo>
                    <a:pt x="1095564" y="781475"/>
                  </a:lnTo>
                  <a:lnTo>
                    <a:pt x="1093772" y="782127"/>
                  </a:lnTo>
                  <a:lnTo>
                    <a:pt x="1097193" y="788154"/>
                  </a:lnTo>
                  <a:lnTo>
                    <a:pt x="1098497" y="793042"/>
                  </a:lnTo>
                  <a:lnTo>
                    <a:pt x="1101592" y="795648"/>
                  </a:lnTo>
                  <a:lnTo>
                    <a:pt x="1105827" y="794345"/>
                  </a:lnTo>
                  <a:lnTo>
                    <a:pt x="1108760" y="795974"/>
                  </a:lnTo>
                  <a:lnTo>
                    <a:pt x="1107294" y="799069"/>
                  </a:lnTo>
                  <a:lnTo>
                    <a:pt x="1104361" y="799069"/>
                  </a:lnTo>
                  <a:lnTo>
                    <a:pt x="1104361" y="800861"/>
                  </a:lnTo>
                  <a:lnTo>
                    <a:pt x="1111692" y="808029"/>
                  </a:lnTo>
                  <a:lnTo>
                    <a:pt x="1114136" y="806563"/>
                  </a:lnTo>
                  <a:lnTo>
                    <a:pt x="1119838" y="807378"/>
                  </a:lnTo>
                  <a:lnTo>
                    <a:pt x="1122281" y="802328"/>
                  </a:lnTo>
                  <a:lnTo>
                    <a:pt x="1128146" y="791576"/>
                  </a:lnTo>
                  <a:lnTo>
                    <a:pt x="1125376" y="799884"/>
                  </a:lnTo>
                  <a:lnTo>
                    <a:pt x="1125376" y="805586"/>
                  </a:lnTo>
                  <a:lnTo>
                    <a:pt x="1124073" y="809007"/>
                  </a:lnTo>
                  <a:lnTo>
                    <a:pt x="1121304" y="810636"/>
                  </a:lnTo>
                  <a:lnTo>
                    <a:pt x="1117720" y="814709"/>
                  </a:lnTo>
                  <a:lnTo>
                    <a:pt x="1118534" y="817641"/>
                  </a:lnTo>
                  <a:lnTo>
                    <a:pt x="1122444" y="820411"/>
                  </a:lnTo>
                  <a:lnTo>
                    <a:pt x="1120652" y="823180"/>
                  </a:lnTo>
                  <a:lnTo>
                    <a:pt x="1120652" y="834746"/>
                  </a:lnTo>
                  <a:cubicBezTo>
                    <a:pt x="1120652" y="834746"/>
                    <a:pt x="1123096" y="837353"/>
                    <a:pt x="1123096" y="837353"/>
                  </a:cubicBezTo>
                  <a:lnTo>
                    <a:pt x="1126680" y="837353"/>
                  </a:lnTo>
                  <a:cubicBezTo>
                    <a:pt x="1126680" y="837353"/>
                    <a:pt x="1125376" y="841752"/>
                    <a:pt x="1125376" y="841752"/>
                  </a:cubicBezTo>
                  <a:lnTo>
                    <a:pt x="1126843" y="846150"/>
                  </a:lnTo>
                  <a:lnTo>
                    <a:pt x="1134336" y="854784"/>
                  </a:lnTo>
                  <a:lnTo>
                    <a:pt x="1137106" y="856088"/>
                  </a:lnTo>
                  <a:lnTo>
                    <a:pt x="1137595" y="858857"/>
                  </a:lnTo>
                  <a:lnTo>
                    <a:pt x="1140364" y="856576"/>
                  </a:lnTo>
                  <a:lnTo>
                    <a:pt x="1143134" y="859997"/>
                  </a:lnTo>
                  <a:lnTo>
                    <a:pt x="1146881" y="858694"/>
                  </a:lnTo>
                  <a:lnTo>
                    <a:pt x="1145251" y="856413"/>
                  </a:lnTo>
                  <a:lnTo>
                    <a:pt x="1146718" y="854133"/>
                  </a:lnTo>
                  <a:lnTo>
                    <a:pt x="1148672" y="856576"/>
                  </a:lnTo>
                  <a:lnTo>
                    <a:pt x="1151605" y="857391"/>
                  </a:lnTo>
                  <a:lnTo>
                    <a:pt x="1153397" y="853318"/>
                  </a:lnTo>
                  <a:lnTo>
                    <a:pt x="1150464" y="846150"/>
                  </a:lnTo>
                  <a:lnTo>
                    <a:pt x="1147695" y="846150"/>
                  </a:lnTo>
                  <a:cubicBezTo>
                    <a:pt x="1147695" y="846150"/>
                    <a:pt x="1145903" y="847453"/>
                    <a:pt x="1145903" y="847453"/>
                  </a:cubicBezTo>
                  <a:lnTo>
                    <a:pt x="1144274" y="845824"/>
                  </a:lnTo>
                  <a:lnTo>
                    <a:pt x="1147858" y="841263"/>
                  </a:lnTo>
                  <a:lnTo>
                    <a:pt x="1147532" y="838005"/>
                  </a:lnTo>
                  <a:lnTo>
                    <a:pt x="1146066" y="834584"/>
                  </a:lnTo>
                  <a:lnTo>
                    <a:pt x="1142645" y="833117"/>
                  </a:lnTo>
                  <a:lnTo>
                    <a:pt x="1142645" y="830511"/>
                  </a:lnTo>
                  <a:cubicBezTo>
                    <a:pt x="1142645" y="830511"/>
                    <a:pt x="1144274" y="828067"/>
                    <a:pt x="1144274" y="828067"/>
                  </a:cubicBezTo>
                  <a:lnTo>
                    <a:pt x="1145089" y="822365"/>
                  </a:lnTo>
                  <a:lnTo>
                    <a:pt x="1148021" y="822691"/>
                  </a:lnTo>
                  <a:lnTo>
                    <a:pt x="1148347" y="827904"/>
                  </a:lnTo>
                  <a:lnTo>
                    <a:pt x="1149976" y="831000"/>
                  </a:lnTo>
                  <a:lnTo>
                    <a:pt x="1152908" y="826275"/>
                  </a:lnTo>
                  <a:lnTo>
                    <a:pt x="1154374" y="829208"/>
                  </a:lnTo>
                  <a:lnTo>
                    <a:pt x="1156166" y="832629"/>
                  </a:lnTo>
                  <a:lnTo>
                    <a:pt x="1154374" y="837679"/>
                  </a:lnTo>
                  <a:lnTo>
                    <a:pt x="1155515" y="841589"/>
                  </a:lnTo>
                  <a:lnTo>
                    <a:pt x="1158284" y="842240"/>
                  </a:lnTo>
                  <a:lnTo>
                    <a:pt x="1162683" y="838005"/>
                  </a:lnTo>
                  <a:lnTo>
                    <a:pt x="1164963" y="837679"/>
                  </a:lnTo>
                  <a:lnTo>
                    <a:pt x="1163497" y="841752"/>
                  </a:lnTo>
                  <a:lnTo>
                    <a:pt x="1159750" y="845010"/>
                  </a:lnTo>
                  <a:lnTo>
                    <a:pt x="1159750" y="848920"/>
                  </a:lnTo>
                  <a:cubicBezTo>
                    <a:pt x="1159750" y="848920"/>
                    <a:pt x="1161217" y="853481"/>
                    <a:pt x="1161217" y="853481"/>
                  </a:cubicBezTo>
                  <a:lnTo>
                    <a:pt x="1159424" y="858857"/>
                  </a:lnTo>
                  <a:lnTo>
                    <a:pt x="1160891" y="861464"/>
                  </a:lnTo>
                  <a:lnTo>
                    <a:pt x="1166267" y="862930"/>
                  </a:lnTo>
                  <a:lnTo>
                    <a:pt x="1166918" y="860649"/>
                  </a:lnTo>
                  <a:lnTo>
                    <a:pt x="1169525" y="856576"/>
                  </a:lnTo>
                  <a:lnTo>
                    <a:pt x="1170014" y="860323"/>
                  </a:lnTo>
                  <a:lnTo>
                    <a:pt x="1168547" y="862115"/>
                  </a:lnTo>
                  <a:lnTo>
                    <a:pt x="1170176" y="868632"/>
                  </a:lnTo>
                  <a:lnTo>
                    <a:pt x="1173435" y="871075"/>
                  </a:lnTo>
                  <a:lnTo>
                    <a:pt x="1177833" y="862604"/>
                  </a:lnTo>
                  <a:lnTo>
                    <a:pt x="1178322" y="856088"/>
                  </a:lnTo>
                  <a:lnTo>
                    <a:pt x="1180114" y="852341"/>
                  </a:lnTo>
                  <a:lnTo>
                    <a:pt x="1181091" y="839960"/>
                  </a:lnTo>
                  <a:lnTo>
                    <a:pt x="1184838" y="829045"/>
                  </a:lnTo>
                  <a:lnTo>
                    <a:pt x="1184838" y="818293"/>
                  </a:lnTo>
                  <a:lnTo>
                    <a:pt x="1183535" y="810962"/>
                  </a:lnTo>
                  <a:lnTo>
                    <a:pt x="1181743" y="807215"/>
                  </a:lnTo>
                  <a:lnTo>
                    <a:pt x="1182069" y="806237"/>
                  </a:lnTo>
                  <a:lnTo>
                    <a:pt x="1183861" y="807215"/>
                  </a:lnTo>
                  <a:lnTo>
                    <a:pt x="1186305" y="813405"/>
                  </a:lnTo>
                  <a:lnTo>
                    <a:pt x="1189074" y="814546"/>
                  </a:lnTo>
                  <a:lnTo>
                    <a:pt x="1191681" y="808355"/>
                  </a:lnTo>
                  <a:lnTo>
                    <a:pt x="1197056" y="804445"/>
                  </a:lnTo>
                  <a:lnTo>
                    <a:pt x="1193635" y="811450"/>
                  </a:lnTo>
                  <a:lnTo>
                    <a:pt x="1191681" y="820248"/>
                  </a:lnTo>
                  <a:lnTo>
                    <a:pt x="1193147" y="827416"/>
                  </a:lnTo>
                  <a:lnTo>
                    <a:pt x="1188422" y="836864"/>
                  </a:lnTo>
                  <a:lnTo>
                    <a:pt x="1187934" y="842892"/>
                  </a:lnTo>
                  <a:lnTo>
                    <a:pt x="1189563" y="845987"/>
                  </a:lnTo>
                  <a:lnTo>
                    <a:pt x="1186305" y="848920"/>
                  </a:lnTo>
                  <a:lnTo>
                    <a:pt x="1185979" y="856413"/>
                  </a:lnTo>
                  <a:lnTo>
                    <a:pt x="1186956" y="860649"/>
                  </a:lnTo>
                  <a:lnTo>
                    <a:pt x="1188097" y="865862"/>
                  </a:lnTo>
                  <a:lnTo>
                    <a:pt x="1192495" y="870098"/>
                  </a:lnTo>
                  <a:lnTo>
                    <a:pt x="1193310" y="875962"/>
                  </a:lnTo>
                  <a:lnTo>
                    <a:pt x="1195753" y="875962"/>
                  </a:lnTo>
                  <a:lnTo>
                    <a:pt x="1196079" y="881501"/>
                  </a:lnTo>
                  <a:lnTo>
                    <a:pt x="1199826" y="884597"/>
                  </a:lnTo>
                  <a:lnTo>
                    <a:pt x="1202595" y="882642"/>
                  </a:lnTo>
                  <a:lnTo>
                    <a:pt x="1205365" y="884271"/>
                  </a:lnTo>
                  <a:lnTo>
                    <a:pt x="1209601" y="882479"/>
                  </a:lnTo>
                  <a:lnTo>
                    <a:pt x="1215791" y="882153"/>
                  </a:lnTo>
                  <a:lnTo>
                    <a:pt x="1215791" y="883619"/>
                  </a:lnTo>
                  <a:cubicBezTo>
                    <a:pt x="1215791" y="883619"/>
                    <a:pt x="1208786" y="888018"/>
                    <a:pt x="1208786" y="888018"/>
                  </a:cubicBezTo>
                  <a:lnTo>
                    <a:pt x="1206179" y="889158"/>
                  </a:lnTo>
                  <a:lnTo>
                    <a:pt x="1206179" y="891439"/>
                  </a:lnTo>
                  <a:lnTo>
                    <a:pt x="1209438" y="894045"/>
                  </a:lnTo>
                  <a:lnTo>
                    <a:pt x="1207157" y="895837"/>
                  </a:lnTo>
                  <a:lnTo>
                    <a:pt x="1203247" y="896326"/>
                  </a:lnTo>
                  <a:lnTo>
                    <a:pt x="1203573" y="899096"/>
                  </a:lnTo>
                  <a:lnTo>
                    <a:pt x="1206994" y="904797"/>
                  </a:lnTo>
                  <a:lnTo>
                    <a:pt x="1206994" y="909848"/>
                  </a:lnTo>
                  <a:lnTo>
                    <a:pt x="1205039" y="910825"/>
                  </a:lnTo>
                  <a:lnTo>
                    <a:pt x="1201129" y="907893"/>
                  </a:lnTo>
                  <a:lnTo>
                    <a:pt x="1199337" y="903820"/>
                  </a:lnTo>
                  <a:lnTo>
                    <a:pt x="1198034" y="905612"/>
                  </a:lnTo>
                  <a:lnTo>
                    <a:pt x="1199337" y="908707"/>
                  </a:lnTo>
                  <a:lnTo>
                    <a:pt x="1196731" y="912617"/>
                  </a:lnTo>
                  <a:lnTo>
                    <a:pt x="1197056" y="918156"/>
                  </a:lnTo>
                  <a:lnTo>
                    <a:pt x="1198360" y="919948"/>
                  </a:lnTo>
                  <a:lnTo>
                    <a:pt x="1196568" y="922392"/>
                  </a:lnTo>
                  <a:lnTo>
                    <a:pt x="1193147" y="922880"/>
                  </a:lnTo>
                  <a:lnTo>
                    <a:pt x="1190866" y="926790"/>
                  </a:lnTo>
                  <a:lnTo>
                    <a:pt x="1191681" y="928745"/>
                  </a:lnTo>
                  <a:lnTo>
                    <a:pt x="1194613" y="929071"/>
                  </a:lnTo>
                  <a:lnTo>
                    <a:pt x="1197545" y="928745"/>
                  </a:lnTo>
                  <a:lnTo>
                    <a:pt x="1199011" y="932981"/>
                  </a:lnTo>
                  <a:lnTo>
                    <a:pt x="1202433" y="936239"/>
                  </a:lnTo>
                  <a:lnTo>
                    <a:pt x="1205365" y="935750"/>
                  </a:lnTo>
                  <a:lnTo>
                    <a:pt x="1207971" y="937705"/>
                  </a:lnTo>
                  <a:lnTo>
                    <a:pt x="1207971" y="939334"/>
                  </a:lnTo>
                  <a:cubicBezTo>
                    <a:pt x="1207971" y="939334"/>
                    <a:pt x="1204062" y="939008"/>
                    <a:pt x="1204062" y="939008"/>
                  </a:cubicBezTo>
                  <a:lnTo>
                    <a:pt x="1202433" y="940474"/>
                  </a:lnTo>
                  <a:lnTo>
                    <a:pt x="1203410" y="943244"/>
                  </a:lnTo>
                  <a:lnTo>
                    <a:pt x="1206994" y="945688"/>
                  </a:lnTo>
                  <a:lnTo>
                    <a:pt x="1208623" y="950086"/>
                  </a:lnTo>
                  <a:lnTo>
                    <a:pt x="1212696" y="953670"/>
                  </a:lnTo>
                  <a:lnTo>
                    <a:pt x="1215139" y="953670"/>
                  </a:lnTo>
                  <a:cubicBezTo>
                    <a:pt x="1215139" y="953670"/>
                    <a:pt x="1212044" y="954973"/>
                    <a:pt x="1212044" y="954973"/>
                  </a:cubicBezTo>
                  <a:lnTo>
                    <a:pt x="1208949" y="955462"/>
                  </a:lnTo>
                  <a:lnTo>
                    <a:pt x="1205854" y="959535"/>
                  </a:lnTo>
                  <a:lnTo>
                    <a:pt x="1206505" y="965074"/>
                  </a:lnTo>
                  <a:lnTo>
                    <a:pt x="1210904" y="972405"/>
                  </a:lnTo>
                  <a:lnTo>
                    <a:pt x="1214814" y="975011"/>
                  </a:lnTo>
                  <a:lnTo>
                    <a:pt x="1220352" y="975011"/>
                  </a:lnTo>
                  <a:cubicBezTo>
                    <a:pt x="1220352" y="975011"/>
                    <a:pt x="1223285" y="975989"/>
                    <a:pt x="1223285" y="975989"/>
                  </a:cubicBezTo>
                  <a:lnTo>
                    <a:pt x="1217909" y="978921"/>
                  </a:lnTo>
                  <a:lnTo>
                    <a:pt x="1212370" y="977781"/>
                  </a:lnTo>
                  <a:lnTo>
                    <a:pt x="1208949" y="978758"/>
                  </a:lnTo>
                  <a:lnTo>
                    <a:pt x="1205854" y="985437"/>
                  </a:lnTo>
                  <a:lnTo>
                    <a:pt x="1198197" y="993746"/>
                  </a:lnTo>
                  <a:lnTo>
                    <a:pt x="1192495" y="998307"/>
                  </a:lnTo>
                  <a:lnTo>
                    <a:pt x="1192495" y="1003357"/>
                  </a:lnTo>
                  <a:lnTo>
                    <a:pt x="1194450" y="1008082"/>
                  </a:lnTo>
                  <a:lnTo>
                    <a:pt x="1199826" y="1003520"/>
                  </a:lnTo>
                  <a:lnTo>
                    <a:pt x="1202921" y="996352"/>
                  </a:lnTo>
                  <a:lnTo>
                    <a:pt x="1203247" y="994072"/>
                  </a:lnTo>
                  <a:lnTo>
                    <a:pt x="1207320" y="993094"/>
                  </a:lnTo>
                  <a:lnTo>
                    <a:pt x="1213185" y="987229"/>
                  </a:lnTo>
                  <a:lnTo>
                    <a:pt x="1214325" y="989184"/>
                  </a:lnTo>
                  <a:lnTo>
                    <a:pt x="1218235" y="988859"/>
                  </a:lnTo>
                  <a:lnTo>
                    <a:pt x="1224425" y="988370"/>
                  </a:lnTo>
                  <a:lnTo>
                    <a:pt x="1220515" y="992768"/>
                  </a:lnTo>
                  <a:lnTo>
                    <a:pt x="1221330" y="994397"/>
                  </a:lnTo>
                  <a:lnTo>
                    <a:pt x="1227195" y="994397"/>
                  </a:lnTo>
                  <a:lnTo>
                    <a:pt x="1227195" y="996678"/>
                  </a:lnTo>
                  <a:lnTo>
                    <a:pt x="1221982" y="1001403"/>
                  </a:lnTo>
                  <a:lnTo>
                    <a:pt x="1221982" y="1005801"/>
                  </a:lnTo>
                  <a:lnTo>
                    <a:pt x="1222959" y="1009059"/>
                  </a:lnTo>
                  <a:lnTo>
                    <a:pt x="1219375" y="1014924"/>
                  </a:lnTo>
                  <a:lnTo>
                    <a:pt x="1217746" y="1018508"/>
                  </a:lnTo>
                  <a:lnTo>
                    <a:pt x="1219049" y="1021115"/>
                  </a:lnTo>
                  <a:lnTo>
                    <a:pt x="1220190" y="1023558"/>
                  </a:lnTo>
                  <a:lnTo>
                    <a:pt x="1216768" y="1023069"/>
                  </a:lnTo>
                  <a:lnTo>
                    <a:pt x="1212044" y="1023395"/>
                  </a:lnTo>
                  <a:lnTo>
                    <a:pt x="1208460" y="1027305"/>
                  </a:lnTo>
                  <a:lnTo>
                    <a:pt x="1208460" y="1029260"/>
                  </a:lnTo>
                  <a:cubicBezTo>
                    <a:pt x="1208460" y="1029260"/>
                    <a:pt x="1212533" y="1029749"/>
                    <a:pt x="1212533" y="1029749"/>
                  </a:cubicBezTo>
                  <a:lnTo>
                    <a:pt x="1214814" y="1028608"/>
                  </a:lnTo>
                  <a:lnTo>
                    <a:pt x="1219864" y="1028608"/>
                  </a:lnTo>
                  <a:cubicBezTo>
                    <a:pt x="1219864" y="1028608"/>
                    <a:pt x="1220352" y="1030237"/>
                    <a:pt x="1220352" y="1030237"/>
                  </a:cubicBezTo>
                  <a:lnTo>
                    <a:pt x="1216117" y="1033984"/>
                  </a:lnTo>
                  <a:lnTo>
                    <a:pt x="1212696" y="1033496"/>
                  </a:lnTo>
                  <a:lnTo>
                    <a:pt x="1210089" y="1033496"/>
                  </a:lnTo>
                  <a:cubicBezTo>
                    <a:pt x="1210089" y="1033496"/>
                    <a:pt x="1207483" y="1035776"/>
                    <a:pt x="1207483" y="1035776"/>
                  </a:cubicBezTo>
                  <a:lnTo>
                    <a:pt x="1206342" y="1041641"/>
                  </a:lnTo>
                  <a:lnTo>
                    <a:pt x="1208786" y="1046854"/>
                  </a:lnTo>
                  <a:lnTo>
                    <a:pt x="1212044" y="1045062"/>
                  </a:lnTo>
                  <a:lnTo>
                    <a:pt x="1212696" y="1041478"/>
                  </a:lnTo>
                  <a:lnTo>
                    <a:pt x="1215954" y="1041967"/>
                  </a:lnTo>
                  <a:lnTo>
                    <a:pt x="1220515" y="1040012"/>
                  </a:lnTo>
                  <a:lnTo>
                    <a:pt x="1226869" y="1032681"/>
                  </a:lnTo>
                  <a:lnTo>
                    <a:pt x="1232245" y="1024861"/>
                  </a:lnTo>
                  <a:lnTo>
                    <a:pt x="1234200" y="1014435"/>
                  </a:lnTo>
                  <a:lnTo>
                    <a:pt x="1239902" y="1002380"/>
                  </a:lnTo>
                  <a:lnTo>
                    <a:pt x="1241856" y="1000751"/>
                  </a:lnTo>
                  <a:lnTo>
                    <a:pt x="1241856" y="1000751"/>
                  </a:lnTo>
                  <a:close/>
                  <a:moveTo>
                    <a:pt x="1163660" y="1032029"/>
                  </a:moveTo>
                  <a:lnTo>
                    <a:pt x="1161868" y="1029749"/>
                  </a:lnTo>
                  <a:lnTo>
                    <a:pt x="1163009" y="1026165"/>
                  </a:lnTo>
                  <a:lnTo>
                    <a:pt x="1164801" y="1029097"/>
                  </a:lnTo>
                  <a:lnTo>
                    <a:pt x="1163660" y="1032029"/>
                  </a:lnTo>
                  <a:lnTo>
                    <a:pt x="1163660" y="1032029"/>
                  </a:lnTo>
                  <a:close/>
                  <a:moveTo>
                    <a:pt x="1191518" y="1041152"/>
                  </a:moveTo>
                  <a:lnTo>
                    <a:pt x="1195753" y="1038057"/>
                  </a:lnTo>
                  <a:lnTo>
                    <a:pt x="1199500" y="1040501"/>
                  </a:lnTo>
                  <a:lnTo>
                    <a:pt x="1196079" y="1044573"/>
                  </a:lnTo>
                  <a:lnTo>
                    <a:pt x="1191681" y="1041315"/>
                  </a:lnTo>
                  <a:lnTo>
                    <a:pt x="1191681" y="1041315"/>
                  </a:lnTo>
                  <a:close/>
                  <a:moveTo>
                    <a:pt x="1193310" y="1027305"/>
                  </a:moveTo>
                  <a:lnTo>
                    <a:pt x="1197545" y="1025513"/>
                  </a:lnTo>
                  <a:lnTo>
                    <a:pt x="1200152" y="1031378"/>
                  </a:lnTo>
                  <a:lnTo>
                    <a:pt x="1195427" y="1035939"/>
                  </a:lnTo>
                  <a:lnTo>
                    <a:pt x="1191681" y="1033333"/>
                  </a:lnTo>
                  <a:lnTo>
                    <a:pt x="1194450" y="1030726"/>
                  </a:lnTo>
                  <a:lnTo>
                    <a:pt x="1193310" y="1027305"/>
                  </a:lnTo>
                  <a:lnTo>
                    <a:pt x="1193310" y="1027305"/>
                  </a:lnTo>
                  <a:close/>
                  <a:moveTo>
                    <a:pt x="1192169" y="1015901"/>
                  </a:moveTo>
                  <a:lnTo>
                    <a:pt x="1196079" y="1021440"/>
                  </a:lnTo>
                  <a:lnTo>
                    <a:pt x="1191681" y="1025513"/>
                  </a:lnTo>
                  <a:lnTo>
                    <a:pt x="1192169" y="1021115"/>
                  </a:lnTo>
                  <a:lnTo>
                    <a:pt x="1189889" y="1018508"/>
                  </a:lnTo>
                  <a:lnTo>
                    <a:pt x="1192169" y="1015901"/>
                  </a:lnTo>
                  <a:lnTo>
                    <a:pt x="1192169" y="1015901"/>
                  </a:lnTo>
                  <a:close/>
                  <a:moveTo>
                    <a:pt x="1197056" y="1015250"/>
                  </a:moveTo>
                  <a:lnTo>
                    <a:pt x="1201292" y="1011014"/>
                  </a:lnTo>
                  <a:lnTo>
                    <a:pt x="1200966" y="1008571"/>
                  </a:lnTo>
                  <a:lnTo>
                    <a:pt x="1203573" y="1001565"/>
                  </a:lnTo>
                  <a:lnTo>
                    <a:pt x="1208786" y="999285"/>
                  </a:lnTo>
                  <a:lnTo>
                    <a:pt x="1208786" y="996678"/>
                  </a:lnTo>
                  <a:cubicBezTo>
                    <a:pt x="1208786" y="996678"/>
                    <a:pt x="1214814" y="996515"/>
                    <a:pt x="1214814" y="996515"/>
                  </a:cubicBezTo>
                  <a:lnTo>
                    <a:pt x="1216768" y="1001891"/>
                  </a:lnTo>
                  <a:lnTo>
                    <a:pt x="1214814" y="1007593"/>
                  </a:lnTo>
                  <a:lnTo>
                    <a:pt x="1216443" y="1011829"/>
                  </a:lnTo>
                  <a:lnTo>
                    <a:pt x="1209763" y="1021440"/>
                  </a:lnTo>
                  <a:lnTo>
                    <a:pt x="1202107" y="1027631"/>
                  </a:lnTo>
                  <a:lnTo>
                    <a:pt x="1199663" y="1025024"/>
                  </a:lnTo>
                  <a:lnTo>
                    <a:pt x="1202921" y="1019323"/>
                  </a:lnTo>
                  <a:lnTo>
                    <a:pt x="1208134" y="1015576"/>
                  </a:lnTo>
                  <a:lnTo>
                    <a:pt x="1208134" y="1013295"/>
                  </a:lnTo>
                  <a:lnTo>
                    <a:pt x="1198686" y="1017856"/>
                  </a:lnTo>
                  <a:lnTo>
                    <a:pt x="1197056" y="1014924"/>
                  </a:lnTo>
                  <a:lnTo>
                    <a:pt x="1197056" y="1014924"/>
                  </a:lnTo>
                  <a:close/>
                  <a:moveTo>
                    <a:pt x="1151931" y="1031215"/>
                  </a:moveTo>
                  <a:lnTo>
                    <a:pt x="1154048" y="1030563"/>
                  </a:lnTo>
                  <a:lnTo>
                    <a:pt x="1157307" y="1032518"/>
                  </a:lnTo>
                  <a:lnTo>
                    <a:pt x="1156655" y="1035451"/>
                  </a:lnTo>
                  <a:lnTo>
                    <a:pt x="1160239" y="1041478"/>
                  </a:lnTo>
                  <a:lnTo>
                    <a:pt x="1156166" y="1047669"/>
                  </a:lnTo>
                  <a:lnTo>
                    <a:pt x="1154374" y="1045714"/>
                  </a:lnTo>
                  <a:lnTo>
                    <a:pt x="1154374" y="1040827"/>
                  </a:lnTo>
                  <a:cubicBezTo>
                    <a:pt x="1154374" y="1040827"/>
                    <a:pt x="1150464" y="1034636"/>
                    <a:pt x="1150464" y="1034636"/>
                  </a:cubicBezTo>
                  <a:lnTo>
                    <a:pt x="1151768" y="1031052"/>
                  </a:lnTo>
                  <a:lnTo>
                    <a:pt x="1151768" y="1031052"/>
                  </a:lnTo>
                  <a:close/>
                  <a:moveTo>
                    <a:pt x="1152582" y="1024373"/>
                  </a:moveTo>
                  <a:lnTo>
                    <a:pt x="1154700" y="1023069"/>
                  </a:lnTo>
                  <a:lnTo>
                    <a:pt x="1157144" y="1023558"/>
                  </a:lnTo>
                  <a:lnTo>
                    <a:pt x="1158610" y="1027142"/>
                  </a:lnTo>
                  <a:lnTo>
                    <a:pt x="1154537" y="1028934"/>
                  </a:lnTo>
                  <a:lnTo>
                    <a:pt x="1152582" y="1024373"/>
                  </a:lnTo>
                  <a:lnTo>
                    <a:pt x="1152582" y="1024373"/>
                  </a:lnTo>
                  <a:close/>
                  <a:moveTo>
                    <a:pt x="1150464" y="1018671"/>
                  </a:moveTo>
                  <a:lnTo>
                    <a:pt x="1153723" y="1014761"/>
                  </a:lnTo>
                  <a:lnTo>
                    <a:pt x="1153723" y="1020463"/>
                  </a:lnTo>
                  <a:cubicBezTo>
                    <a:pt x="1153723" y="1020463"/>
                    <a:pt x="1150464" y="1018671"/>
                    <a:pt x="1150464" y="1018671"/>
                  </a:cubicBezTo>
                  <a:lnTo>
                    <a:pt x="1150464" y="1018671"/>
                  </a:lnTo>
                  <a:close/>
                  <a:moveTo>
                    <a:pt x="1146718" y="1011014"/>
                  </a:moveTo>
                  <a:lnTo>
                    <a:pt x="1150627" y="1012480"/>
                  </a:lnTo>
                  <a:lnTo>
                    <a:pt x="1146229" y="1017693"/>
                  </a:lnTo>
                  <a:lnTo>
                    <a:pt x="1146718" y="1011014"/>
                  </a:lnTo>
                  <a:lnTo>
                    <a:pt x="1146718" y="1011014"/>
                  </a:lnTo>
                  <a:close/>
                  <a:moveTo>
                    <a:pt x="1144274" y="987229"/>
                  </a:moveTo>
                  <a:lnTo>
                    <a:pt x="1143134" y="983157"/>
                  </a:lnTo>
                  <a:lnTo>
                    <a:pt x="1146881" y="984949"/>
                  </a:lnTo>
                  <a:lnTo>
                    <a:pt x="1144274" y="987229"/>
                  </a:lnTo>
                  <a:lnTo>
                    <a:pt x="1144274" y="987229"/>
                  </a:lnTo>
                  <a:close/>
                  <a:moveTo>
                    <a:pt x="1157470" y="993583"/>
                  </a:moveTo>
                  <a:lnTo>
                    <a:pt x="1160402" y="991628"/>
                  </a:lnTo>
                  <a:lnTo>
                    <a:pt x="1162194" y="994723"/>
                  </a:lnTo>
                  <a:lnTo>
                    <a:pt x="1159587" y="996515"/>
                  </a:lnTo>
                  <a:lnTo>
                    <a:pt x="1157307" y="993583"/>
                  </a:lnTo>
                  <a:lnTo>
                    <a:pt x="1157307" y="993583"/>
                  </a:lnTo>
                  <a:close/>
                  <a:moveTo>
                    <a:pt x="1158610" y="985763"/>
                  </a:moveTo>
                  <a:lnTo>
                    <a:pt x="1162520" y="979899"/>
                  </a:lnTo>
                  <a:lnTo>
                    <a:pt x="1166918" y="978432"/>
                  </a:lnTo>
                  <a:lnTo>
                    <a:pt x="1170176" y="981202"/>
                  </a:lnTo>
                  <a:lnTo>
                    <a:pt x="1167244" y="984460"/>
                  </a:lnTo>
                  <a:lnTo>
                    <a:pt x="1164475" y="984460"/>
                  </a:lnTo>
                  <a:lnTo>
                    <a:pt x="1161054" y="986904"/>
                  </a:lnTo>
                  <a:lnTo>
                    <a:pt x="1158610" y="985926"/>
                  </a:lnTo>
                  <a:lnTo>
                    <a:pt x="1158610" y="985926"/>
                  </a:lnTo>
                  <a:close/>
                  <a:moveTo>
                    <a:pt x="1170176" y="989510"/>
                  </a:moveTo>
                  <a:lnTo>
                    <a:pt x="1172457" y="982342"/>
                  </a:lnTo>
                  <a:lnTo>
                    <a:pt x="1171317" y="977455"/>
                  </a:lnTo>
                  <a:lnTo>
                    <a:pt x="1167733" y="973219"/>
                  </a:lnTo>
                  <a:lnTo>
                    <a:pt x="1170665" y="970613"/>
                  </a:lnTo>
                  <a:lnTo>
                    <a:pt x="1174901" y="971753"/>
                  </a:lnTo>
                  <a:lnTo>
                    <a:pt x="1178159" y="977129"/>
                  </a:lnTo>
                  <a:lnTo>
                    <a:pt x="1174901" y="981853"/>
                  </a:lnTo>
                  <a:lnTo>
                    <a:pt x="1173760" y="984786"/>
                  </a:lnTo>
                  <a:lnTo>
                    <a:pt x="1176693" y="987881"/>
                  </a:lnTo>
                  <a:lnTo>
                    <a:pt x="1177996" y="987066"/>
                  </a:lnTo>
                  <a:lnTo>
                    <a:pt x="1183698" y="990325"/>
                  </a:lnTo>
                  <a:lnTo>
                    <a:pt x="1183698" y="997819"/>
                  </a:lnTo>
                  <a:cubicBezTo>
                    <a:pt x="1183698" y="997819"/>
                    <a:pt x="1180440" y="998144"/>
                    <a:pt x="1180440" y="998144"/>
                  </a:cubicBezTo>
                  <a:lnTo>
                    <a:pt x="1184675" y="1002706"/>
                  </a:lnTo>
                  <a:lnTo>
                    <a:pt x="1184675" y="1006453"/>
                  </a:lnTo>
                  <a:lnTo>
                    <a:pt x="1180929" y="1006778"/>
                  </a:lnTo>
                  <a:lnTo>
                    <a:pt x="1179625" y="1005475"/>
                  </a:lnTo>
                  <a:lnTo>
                    <a:pt x="1177344" y="1010200"/>
                  </a:lnTo>
                  <a:lnTo>
                    <a:pt x="1183046" y="1014272"/>
                  </a:lnTo>
                  <a:lnTo>
                    <a:pt x="1185653" y="1018671"/>
                  </a:lnTo>
                  <a:lnTo>
                    <a:pt x="1180440" y="1021766"/>
                  </a:lnTo>
                  <a:lnTo>
                    <a:pt x="1179951" y="1023395"/>
                  </a:lnTo>
                  <a:lnTo>
                    <a:pt x="1183535" y="1022907"/>
                  </a:lnTo>
                  <a:lnTo>
                    <a:pt x="1185490" y="1024047"/>
                  </a:lnTo>
                  <a:lnTo>
                    <a:pt x="1185490" y="1027794"/>
                  </a:lnTo>
                  <a:lnTo>
                    <a:pt x="1180929" y="1030889"/>
                  </a:lnTo>
                  <a:lnTo>
                    <a:pt x="1177996" y="1031704"/>
                  </a:lnTo>
                  <a:lnTo>
                    <a:pt x="1175715" y="1035776"/>
                  </a:lnTo>
                  <a:lnTo>
                    <a:pt x="1177996" y="1035776"/>
                  </a:lnTo>
                  <a:cubicBezTo>
                    <a:pt x="1177996" y="1035776"/>
                    <a:pt x="1179951" y="1038546"/>
                    <a:pt x="1179951" y="1038546"/>
                  </a:cubicBezTo>
                  <a:lnTo>
                    <a:pt x="1177670" y="1040827"/>
                  </a:lnTo>
                  <a:lnTo>
                    <a:pt x="1179625" y="1044248"/>
                  </a:lnTo>
                  <a:lnTo>
                    <a:pt x="1176856" y="1046854"/>
                  </a:lnTo>
                  <a:lnTo>
                    <a:pt x="1172620" y="1046854"/>
                  </a:lnTo>
                  <a:cubicBezTo>
                    <a:pt x="1172620" y="1046854"/>
                    <a:pt x="1170176" y="1045062"/>
                    <a:pt x="1170176" y="1045062"/>
                  </a:cubicBezTo>
                  <a:lnTo>
                    <a:pt x="1171643" y="1040827"/>
                  </a:lnTo>
                  <a:lnTo>
                    <a:pt x="1166918" y="1036917"/>
                  </a:lnTo>
                  <a:lnTo>
                    <a:pt x="1167570" y="1033007"/>
                  </a:lnTo>
                  <a:lnTo>
                    <a:pt x="1170828" y="1030075"/>
                  </a:lnTo>
                  <a:lnTo>
                    <a:pt x="1168059" y="1026979"/>
                  </a:lnTo>
                  <a:lnTo>
                    <a:pt x="1169036" y="1024210"/>
                  </a:lnTo>
                  <a:lnTo>
                    <a:pt x="1172783" y="1021929"/>
                  </a:lnTo>
                  <a:lnTo>
                    <a:pt x="1170828" y="1019485"/>
                  </a:lnTo>
                  <a:lnTo>
                    <a:pt x="1167570" y="1020300"/>
                  </a:lnTo>
                  <a:lnTo>
                    <a:pt x="1166104" y="1022907"/>
                  </a:lnTo>
                  <a:lnTo>
                    <a:pt x="1164149" y="1020463"/>
                  </a:lnTo>
                  <a:lnTo>
                    <a:pt x="1160402" y="1020463"/>
                  </a:lnTo>
                  <a:lnTo>
                    <a:pt x="1158936" y="1017856"/>
                  </a:lnTo>
                  <a:lnTo>
                    <a:pt x="1160728" y="1015087"/>
                  </a:lnTo>
                  <a:lnTo>
                    <a:pt x="1163497" y="1015087"/>
                  </a:lnTo>
                  <a:lnTo>
                    <a:pt x="1164801" y="1011503"/>
                  </a:lnTo>
                  <a:lnTo>
                    <a:pt x="1164801" y="1009222"/>
                  </a:lnTo>
                  <a:lnTo>
                    <a:pt x="1170014" y="1005312"/>
                  </a:lnTo>
                  <a:lnTo>
                    <a:pt x="1170014" y="1002869"/>
                  </a:lnTo>
                  <a:lnTo>
                    <a:pt x="1167081" y="1002054"/>
                  </a:lnTo>
                  <a:lnTo>
                    <a:pt x="1164149" y="1003032"/>
                  </a:lnTo>
                  <a:lnTo>
                    <a:pt x="1162846" y="1001077"/>
                  </a:lnTo>
                  <a:lnTo>
                    <a:pt x="1164312" y="998796"/>
                  </a:lnTo>
                  <a:lnTo>
                    <a:pt x="1169036" y="997493"/>
                  </a:lnTo>
                  <a:lnTo>
                    <a:pt x="1170339" y="992768"/>
                  </a:lnTo>
                  <a:lnTo>
                    <a:pt x="1170014" y="989021"/>
                  </a:lnTo>
                  <a:lnTo>
                    <a:pt x="1170014" y="989021"/>
                  </a:lnTo>
                  <a:close/>
                  <a:moveTo>
                    <a:pt x="1200640" y="984623"/>
                  </a:moveTo>
                  <a:lnTo>
                    <a:pt x="1197871" y="980713"/>
                  </a:lnTo>
                  <a:lnTo>
                    <a:pt x="1199663" y="978107"/>
                  </a:lnTo>
                  <a:lnTo>
                    <a:pt x="1202107" y="973871"/>
                  </a:lnTo>
                  <a:lnTo>
                    <a:pt x="1203736" y="975337"/>
                  </a:lnTo>
                  <a:lnTo>
                    <a:pt x="1203736" y="980876"/>
                  </a:lnTo>
                  <a:cubicBezTo>
                    <a:pt x="1203736" y="980876"/>
                    <a:pt x="1200640" y="984623"/>
                    <a:pt x="1200640" y="984623"/>
                  </a:cubicBezTo>
                  <a:lnTo>
                    <a:pt x="1200640" y="984623"/>
                  </a:lnTo>
                  <a:close/>
                  <a:moveTo>
                    <a:pt x="1190540" y="990813"/>
                  </a:moveTo>
                  <a:lnTo>
                    <a:pt x="1194287" y="983157"/>
                  </a:lnTo>
                  <a:lnTo>
                    <a:pt x="1197056" y="983808"/>
                  </a:lnTo>
                  <a:lnTo>
                    <a:pt x="1197056" y="989184"/>
                  </a:lnTo>
                  <a:lnTo>
                    <a:pt x="1193310" y="991628"/>
                  </a:lnTo>
                  <a:lnTo>
                    <a:pt x="1190540" y="990813"/>
                  </a:lnTo>
                  <a:lnTo>
                    <a:pt x="1190540" y="990813"/>
                  </a:lnTo>
                  <a:close/>
                  <a:moveTo>
                    <a:pt x="1187119" y="985112"/>
                  </a:moveTo>
                  <a:lnTo>
                    <a:pt x="1187934" y="980876"/>
                  </a:lnTo>
                  <a:lnTo>
                    <a:pt x="1196242" y="975500"/>
                  </a:lnTo>
                  <a:lnTo>
                    <a:pt x="1196242" y="978921"/>
                  </a:lnTo>
                  <a:lnTo>
                    <a:pt x="1193635" y="981528"/>
                  </a:lnTo>
                  <a:lnTo>
                    <a:pt x="1190866" y="985763"/>
                  </a:lnTo>
                  <a:lnTo>
                    <a:pt x="1187119" y="984949"/>
                  </a:lnTo>
                  <a:lnTo>
                    <a:pt x="1187119" y="984949"/>
                  </a:lnTo>
                  <a:close/>
                  <a:moveTo>
                    <a:pt x="1181906" y="972405"/>
                  </a:moveTo>
                  <a:lnTo>
                    <a:pt x="1186142" y="968169"/>
                  </a:lnTo>
                  <a:lnTo>
                    <a:pt x="1194287" y="968821"/>
                  </a:lnTo>
                  <a:lnTo>
                    <a:pt x="1193635" y="972079"/>
                  </a:lnTo>
                  <a:lnTo>
                    <a:pt x="1188911" y="978107"/>
                  </a:lnTo>
                  <a:lnTo>
                    <a:pt x="1184675" y="976315"/>
                  </a:lnTo>
                  <a:lnTo>
                    <a:pt x="1182069" y="972242"/>
                  </a:lnTo>
                  <a:lnTo>
                    <a:pt x="1182069" y="972242"/>
                  </a:lnTo>
                  <a:close/>
                  <a:moveTo>
                    <a:pt x="1188911" y="959861"/>
                  </a:moveTo>
                  <a:lnTo>
                    <a:pt x="1193635" y="952693"/>
                  </a:lnTo>
                  <a:lnTo>
                    <a:pt x="1197382" y="950901"/>
                  </a:lnTo>
                  <a:lnTo>
                    <a:pt x="1199989" y="959046"/>
                  </a:lnTo>
                  <a:lnTo>
                    <a:pt x="1196894" y="963770"/>
                  </a:lnTo>
                  <a:lnTo>
                    <a:pt x="1190866" y="965400"/>
                  </a:lnTo>
                  <a:lnTo>
                    <a:pt x="1189074" y="962956"/>
                  </a:lnTo>
                  <a:lnTo>
                    <a:pt x="1189074" y="959861"/>
                  </a:lnTo>
                  <a:lnTo>
                    <a:pt x="1189074" y="959861"/>
                  </a:lnTo>
                  <a:close/>
                  <a:moveTo>
                    <a:pt x="1172131" y="966703"/>
                  </a:moveTo>
                  <a:lnTo>
                    <a:pt x="1172131" y="960512"/>
                  </a:lnTo>
                  <a:cubicBezTo>
                    <a:pt x="1172131" y="960512"/>
                    <a:pt x="1175390" y="948946"/>
                    <a:pt x="1175390" y="948946"/>
                  </a:cubicBezTo>
                  <a:lnTo>
                    <a:pt x="1177833" y="945525"/>
                  </a:lnTo>
                  <a:lnTo>
                    <a:pt x="1173272" y="943733"/>
                  </a:lnTo>
                  <a:lnTo>
                    <a:pt x="1174412" y="939497"/>
                  </a:lnTo>
                  <a:lnTo>
                    <a:pt x="1172457" y="936565"/>
                  </a:lnTo>
                  <a:lnTo>
                    <a:pt x="1172946" y="933307"/>
                  </a:lnTo>
                  <a:lnTo>
                    <a:pt x="1179462" y="933307"/>
                  </a:lnTo>
                  <a:cubicBezTo>
                    <a:pt x="1179462" y="933307"/>
                    <a:pt x="1184675" y="938845"/>
                    <a:pt x="1184675" y="938845"/>
                  </a:cubicBezTo>
                  <a:lnTo>
                    <a:pt x="1189400" y="938845"/>
                  </a:lnTo>
                  <a:lnTo>
                    <a:pt x="1192821" y="943407"/>
                  </a:lnTo>
                  <a:lnTo>
                    <a:pt x="1192821" y="949923"/>
                  </a:lnTo>
                  <a:lnTo>
                    <a:pt x="1188911" y="956440"/>
                  </a:lnTo>
                  <a:lnTo>
                    <a:pt x="1186467" y="957091"/>
                  </a:lnTo>
                  <a:lnTo>
                    <a:pt x="1185653" y="950412"/>
                  </a:lnTo>
                  <a:lnTo>
                    <a:pt x="1182883" y="951552"/>
                  </a:lnTo>
                  <a:lnTo>
                    <a:pt x="1182883" y="957091"/>
                  </a:lnTo>
                  <a:lnTo>
                    <a:pt x="1180929" y="959372"/>
                  </a:lnTo>
                  <a:lnTo>
                    <a:pt x="1183698" y="963608"/>
                  </a:lnTo>
                  <a:lnTo>
                    <a:pt x="1180440" y="965888"/>
                  </a:lnTo>
                  <a:lnTo>
                    <a:pt x="1178485" y="964259"/>
                  </a:lnTo>
                  <a:lnTo>
                    <a:pt x="1175552" y="968006"/>
                  </a:lnTo>
                  <a:lnTo>
                    <a:pt x="1172294" y="967192"/>
                  </a:lnTo>
                  <a:lnTo>
                    <a:pt x="1172294" y="967192"/>
                  </a:lnTo>
                  <a:close/>
                  <a:moveTo>
                    <a:pt x="1159262" y="959372"/>
                  </a:moveTo>
                  <a:lnTo>
                    <a:pt x="1155189" y="956603"/>
                  </a:lnTo>
                  <a:lnTo>
                    <a:pt x="1158936" y="951389"/>
                  </a:lnTo>
                  <a:lnTo>
                    <a:pt x="1156329" y="949109"/>
                  </a:lnTo>
                  <a:lnTo>
                    <a:pt x="1156818" y="943733"/>
                  </a:lnTo>
                  <a:lnTo>
                    <a:pt x="1158773" y="940637"/>
                  </a:lnTo>
                  <a:lnTo>
                    <a:pt x="1163171" y="942429"/>
                  </a:lnTo>
                  <a:lnTo>
                    <a:pt x="1163171" y="937216"/>
                  </a:lnTo>
                  <a:cubicBezTo>
                    <a:pt x="1163171" y="937216"/>
                    <a:pt x="1165452" y="937216"/>
                    <a:pt x="1165452" y="937216"/>
                  </a:cubicBezTo>
                  <a:lnTo>
                    <a:pt x="1169851" y="943244"/>
                  </a:lnTo>
                  <a:lnTo>
                    <a:pt x="1167896" y="947317"/>
                  </a:lnTo>
                  <a:lnTo>
                    <a:pt x="1168385" y="950412"/>
                  </a:lnTo>
                  <a:lnTo>
                    <a:pt x="1170991" y="947480"/>
                  </a:lnTo>
                  <a:lnTo>
                    <a:pt x="1172620" y="950086"/>
                  </a:lnTo>
                  <a:lnTo>
                    <a:pt x="1168710" y="960186"/>
                  </a:lnTo>
                  <a:lnTo>
                    <a:pt x="1161217" y="968169"/>
                  </a:lnTo>
                  <a:lnTo>
                    <a:pt x="1161217" y="972568"/>
                  </a:lnTo>
                  <a:cubicBezTo>
                    <a:pt x="1161217" y="972568"/>
                    <a:pt x="1158773" y="976315"/>
                    <a:pt x="1158773" y="976315"/>
                  </a:cubicBezTo>
                  <a:lnTo>
                    <a:pt x="1153560" y="977944"/>
                  </a:lnTo>
                  <a:lnTo>
                    <a:pt x="1155352" y="973219"/>
                  </a:lnTo>
                  <a:lnTo>
                    <a:pt x="1153723" y="970450"/>
                  </a:lnTo>
                  <a:lnTo>
                    <a:pt x="1150790" y="979410"/>
                  </a:lnTo>
                  <a:lnTo>
                    <a:pt x="1148835" y="976966"/>
                  </a:lnTo>
                  <a:lnTo>
                    <a:pt x="1149487" y="973382"/>
                  </a:lnTo>
                  <a:lnTo>
                    <a:pt x="1151605" y="969309"/>
                  </a:lnTo>
                  <a:lnTo>
                    <a:pt x="1151279" y="966540"/>
                  </a:lnTo>
                  <a:lnTo>
                    <a:pt x="1153234" y="962793"/>
                  </a:lnTo>
                  <a:lnTo>
                    <a:pt x="1156166" y="965237"/>
                  </a:lnTo>
                  <a:lnTo>
                    <a:pt x="1158773" y="962467"/>
                  </a:lnTo>
                  <a:lnTo>
                    <a:pt x="1158773" y="959209"/>
                  </a:lnTo>
                  <a:lnTo>
                    <a:pt x="1158936" y="959209"/>
                  </a:lnTo>
                  <a:close/>
                  <a:moveTo>
                    <a:pt x="1156003" y="915061"/>
                  </a:moveTo>
                  <a:lnTo>
                    <a:pt x="1159750" y="915061"/>
                  </a:lnTo>
                  <a:cubicBezTo>
                    <a:pt x="1159750" y="915061"/>
                    <a:pt x="1158284" y="918808"/>
                    <a:pt x="1158284" y="918808"/>
                  </a:cubicBezTo>
                  <a:lnTo>
                    <a:pt x="1156003" y="915061"/>
                  </a:lnTo>
                  <a:lnTo>
                    <a:pt x="1156003" y="915061"/>
                  </a:lnTo>
                  <a:close/>
                  <a:moveTo>
                    <a:pt x="1143622" y="916364"/>
                  </a:moveTo>
                  <a:lnTo>
                    <a:pt x="1148184" y="914572"/>
                  </a:lnTo>
                  <a:lnTo>
                    <a:pt x="1150464" y="911965"/>
                  </a:lnTo>
                  <a:lnTo>
                    <a:pt x="1153234" y="912943"/>
                  </a:lnTo>
                  <a:lnTo>
                    <a:pt x="1155189" y="919948"/>
                  </a:lnTo>
                  <a:lnTo>
                    <a:pt x="1155840" y="928908"/>
                  </a:lnTo>
                  <a:lnTo>
                    <a:pt x="1154374" y="937053"/>
                  </a:lnTo>
                  <a:lnTo>
                    <a:pt x="1152094" y="939334"/>
                  </a:lnTo>
                  <a:lnTo>
                    <a:pt x="1150627" y="948457"/>
                  </a:lnTo>
                  <a:lnTo>
                    <a:pt x="1147695" y="951552"/>
                  </a:lnTo>
                  <a:lnTo>
                    <a:pt x="1145740" y="958232"/>
                  </a:lnTo>
                  <a:lnTo>
                    <a:pt x="1144926" y="964585"/>
                  </a:lnTo>
                  <a:lnTo>
                    <a:pt x="1143622" y="968495"/>
                  </a:lnTo>
                  <a:lnTo>
                    <a:pt x="1141505" y="969635"/>
                  </a:lnTo>
                  <a:lnTo>
                    <a:pt x="1140853" y="966051"/>
                  </a:lnTo>
                  <a:lnTo>
                    <a:pt x="1141830" y="962141"/>
                  </a:lnTo>
                  <a:lnTo>
                    <a:pt x="1139387" y="960349"/>
                  </a:lnTo>
                  <a:lnTo>
                    <a:pt x="1137758" y="953670"/>
                  </a:lnTo>
                  <a:lnTo>
                    <a:pt x="1139713" y="949760"/>
                  </a:lnTo>
                  <a:lnTo>
                    <a:pt x="1143134" y="949109"/>
                  </a:lnTo>
                  <a:lnTo>
                    <a:pt x="1145740" y="946991"/>
                  </a:lnTo>
                  <a:lnTo>
                    <a:pt x="1145089" y="944710"/>
                  </a:lnTo>
                  <a:lnTo>
                    <a:pt x="1142156" y="946339"/>
                  </a:lnTo>
                  <a:lnTo>
                    <a:pt x="1139713" y="946339"/>
                  </a:lnTo>
                  <a:cubicBezTo>
                    <a:pt x="1139713" y="946339"/>
                    <a:pt x="1139387" y="943244"/>
                    <a:pt x="1139387" y="943244"/>
                  </a:cubicBezTo>
                  <a:lnTo>
                    <a:pt x="1141505" y="941941"/>
                  </a:lnTo>
                  <a:lnTo>
                    <a:pt x="1142645" y="939660"/>
                  </a:lnTo>
                  <a:lnTo>
                    <a:pt x="1137106" y="938031"/>
                  </a:lnTo>
                  <a:lnTo>
                    <a:pt x="1137106" y="935750"/>
                  </a:lnTo>
                  <a:cubicBezTo>
                    <a:pt x="1137106" y="935750"/>
                    <a:pt x="1141667" y="935099"/>
                    <a:pt x="1141667" y="935099"/>
                  </a:cubicBezTo>
                  <a:lnTo>
                    <a:pt x="1144111" y="931515"/>
                  </a:lnTo>
                  <a:lnTo>
                    <a:pt x="1144600" y="926464"/>
                  </a:lnTo>
                  <a:lnTo>
                    <a:pt x="1147532" y="923369"/>
                  </a:lnTo>
                  <a:lnTo>
                    <a:pt x="1143785" y="920111"/>
                  </a:lnTo>
                  <a:lnTo>
                    <a:pt x="1143134" y="917016"/>
                  </a:lnTo>
                  <a:lnTo>
                    <a:pt x="1143134" y="917016"/>
                  </a:lnTo>
                  <a:close/>
                  <a:moveTo>
                    <a:pt x="1134336" y="917341"/>
                  </a:moveTo>
                  <a:lnTo>
                    <a:pt x="1137595" y="914735"/>
                  </a:lnTo>
                  <a:lnTo>
                    <a:pt x="1139061" y="918482"/>
                  </a:lnTo>
                  <a:lnTo>
                    <a:pt x="1137920" y="922066"/>
                  </a:lnTo>
                  <a:lnTo>
                    <a:pt x="1137269" y="927442"/>
                  </a:lnTo>
                  <a:lnTo>
                    <a:pt x="1133033" y="928745"/>
                  </a:lnTo>
                  <a:lnTo>
                    <a:pt x="1132056" y="926139"/>
                  </a:lnTo>
                  <a:lnTo>
                    <a:pt x="1134988" y="923043"/>
                  </a:lnTo>
                  <a:lnTo>
                    <a:pt x="1134011" y="921414"/>
                  </a:lnTo>
                  <a:lnTo>
                    <a:pt x="1134499" y="917341"/>
                  </a:lnTo>
                  <a:lnTo>
                    <a:pt x="1134499" y="917341"/>
                  </a:lnTo>
                  <a:close/>
                  <a:moveTo>
                    <a:pt x="1158447" y="929397"/>
                  </a:moveTo>
                  <a:lnTo>
                    <a:pt x="1161217" y="924021"/>
                  </a:lnTo>
                  <a:lnTo>
                    <a:pt x="1161542" y="918319"/>
                  </a:lnTo>
                  <a:lnTo>
                    <a:pt x="1164801" y="915224"/>
                  </a:lnTo>
                  <a:lnTo>
                    <a:pt x="1170665" y="915224"/>
                  </a:lnTo>
                  <a:cubicBezTo>
                    <a:pt x="1170665" y="915224"/>
                    <a:pt x="1168873" y="912291"/>
                    <a:pt x="1168873" y="912291"/>
                  </a:cubicBezTo>
                  <a:lnTo>
                    <a:pt x="1171317" y="909196"/>
                  </a:lnTo>
                  <a:lnTo>
                    <a:pt x="1167081" y="906915"/>
                  </a:lnTo>
                  <a:lnTo>
                    <a:pt x="1168059" y="898444"/>
                  </a:lnTo>
                  <a:lnTo>
                    <a:pt x="1173109" y="891602"/>
                  </a:lnTo>
                  <a:lnTo>
                    <a:pt x="1174249" y="875800"/>
                  </a:lnTo>
                  <a:lnTo>
                    <a:pt x="1177670" y="868957"/>
                  </a:lnTo>
                  <a:lnTo>
                    <a:pt x="1179299" y="871564"/>
                  </a:lnTo>
                  <a:lnTo>
                    <a:pt x="1179299" y="876288"/>
                  </a:lnTo>
                  <a:lnTo>
                    <a:pt x="1185816" y="880524"/>
                  </a:lnTo>
                  <a:lnTo>
                    <a:pt x="1188911" y="884597"/>
                  </a:lnTo>
                  <a:lnTo>
                    <a:pt x="1190214" y="903168"/>
                  </a:lnTo>
                  <a:lnTo>
                    <a:pt x="1187282" y="910499"/>
                  </a:lnTo>
                  <a:lnTo>
                    <a:pt x="1185001" y="908870"/>
                  </a:lnTo>
                  <a:lnTo>
                    <a:pt x="1186142" y="897466"/>
                  </a:lnTo>
                  <a:lnTo>
                    <a:pt x="1184187" y="886877"/>
                  </a:lnTo>
                  <a:lnTo>
                    <a:pt x="1182883" y="891602"/>
                  </a:lnTo>
                  <a:lnTo>
                    <a:pt x="1182558" y="909033"/>
                  </a:lnTo>
                  <a:lnTo>
                    <a:pt x="1181091" y="912128"/>
                  </a:lnTo>
                  <a:lnTo>
                    <a:pt x="1180603" y="916527"/>
                  </a:lnTo>
                  <a:lnTo>
                    <a:pt x="1177996" y="918808"/>
                  </a:lnTo>
                  <a:lnTo>
                    <a:pt x="1174086" y="917178"/>
                  </a:lnTo>
                  <a:lnTo>
                    <a:pt x="1172783" y="924672"/>
                  </a:lnTo>
                  <a:lnTo>
                    <a:pt x="1165452" y="928908"/>
                  </a:lnTo>
                  <a:lnTo>
                    <a:pt x="1161217" y="932818"/>
                  </a:lnTo>
                  <a:lnTo>
                    <a:pt x="1158610" y="929071"/>
                  </a:lnTo>
                  <a:lnTo>
                    <a:pt x="1158610" y="929071"/>
                  </a:lnTo>
                  <a:close/>
                  <a:moveTo>
                    <a:pt x="1145903" y="871075"/>
                  </a:moveTo>
                  <a:lnTo>
                    <a:pt x="1152745" y="869446"/>
                  </a:lnTo>
                  <a:lnTo>
                    <a:pt x="1157795" y="872216"/>
                  </a:lnTo>
                  <a:lnTo>
                    <a:pt x="1157795" y="876288"/>
                  </a:lnTo>
                  <a:lnTo>
                    <a:pt x="1155352" y="879546"/>
                  </a:lnTo>
                  <a:lnTo>
                    <a:pt x="1156818" y="882642"/>
                  </a:lnTo>
                  <a:lnTo>
                    <a:pt x="1158773" y="879872"/>
                  </a:lnTo>
                  <a:lnTo>
                    <a:pt x="1162846" y="878243"/>
                  </a:lnTo>
                  <a:lnTo>
                    <a:pt x="1168385" y="882642"/>
                  </a:lnTo>
                  <a:lnTo>
                    <a:pt x="1168385" y="886552"/>
                  </a:lnTo>
                  <a:lnTo>
                    <a:pt x="1163823" y="887692"/>
                  </a:lnTo>
                  <a:lnTo>
                    <a:pt x="1165289" y="890787"/>
                  </a:lnTo>
                  <a:lnTo>
                    <a:pt x="1162520" y="893557"/>
                  </a:lnTo>
                  <a:lnTo>
                    <a:pt x="1158773" y="892416"/>
                  </a:lnTo>
                  <a:lnTo>
                    <a:pt x="1155026" y="886877"/>
                  </a:lnTo>
                  <a:lnTo>
                    <a:pt x="1149161" y="881501"/>
                  </a:lnTo>
                  <a:lnTo>
                    <a:pt x="1148835" y="882805"/>
                  </a:lnTo>
                  <a:lnTo>
                    <a:pt x="1155026" y="892742"/>
                  </a:lnTo>
                  <a:lnTo>
                    <a:pt x="1155026" y="896815"/>
                  </a:lnTo>
                  <a:lnTo>
                    <a:pt x="1160565" y="897466"/>
                  </a:lnTo>
                  <a:lnTo>
                    <a:pt x="1163171" y="901539"/>
                  </a:lnTo>
                  <a:lnTo>
                    <a:pt x="1160565" y="904146"/>
                  </a:lnTo>
                  <a:lnTo>
                    <a:pt x="1160239" y="911314"/>
                  </a:lnTo>
                  <a:lnTo>
                    <a:pt x="1157144" y="911803"/>
                  </a:lnTo>
                  <a:lnTo>
                    <a:pt x="1152094" y="906264"/>
                  </a:lnTo>
                  <a:lnTo>
                    <a:pt x="1152094" y="901213"/>
                  </a:lnTo>
                  <a:cubicBezTo>
                    <a:pt x="1152094" y="901213"/>
                    <a:pt x="1145903" y="890299"/>
                    <a:pt x="1145903" y="890299"/>
                  </a:cubicBezTo>
                  <a:lnTo>
                    <a:pt x="1144763" y="895349"/>
                  </a:lnTo>
                  <a:lnTo>
                    <a:pt x="1147858" y="902517"/>
                  </a:lnTo>
                  <a:lnTo>
                    <a:pt x="1147858" y="908056"/>
                  </a:lnTo>
                  <a:cubicBezTo>
                    <a:pt x="1147858" y="908056"/>
                    <a:pt x="1144926" y="911965"/>
                    <a:pt x="1144926" y="911965"/>
                  </a:cubicBezTo>
                  <a:lnTo>
                    <a:pt x="1140364" y="911640"/>
                  </a:lnTo>
                  <a:lnTo>
                    <a:pt x="1136128" y="906264"/>
                  </a:lnTo>
                  <a:lnTo>
                    <a:pt x="1139061" y="902354"/>
                  </a:lnTo>
                  <a:lnTo>
                    <a:pt x="1135966" y="899910"/>
                  </a:lnTo>
                  <a:lnTo>
                    <a:pt x="1137269" y="894860"/>
                  </a:lnTo>
                  <a:lnTo>
                    <a:pt x="1133848" y="888181"/>
                  </a:lnTo>
                  <a:lnTo>
                    <a:pt x="1136617" y="883131"/>
                  </a:lnTo>
                  <a:lnTo>
                    <a:pt x="1139387" y="885737"/>
                  </a:lnTo>
                  <a:lnTo>
                    <a:pt x="1141342" y="882805"/>
                  </a:lnTo>
                  <a:lnTo>
                    <a:pt x="1138409" y="880850"/>
                  </a:lnTo>
                  <a:lnTo>
                    <a:pt x="1137595" y="874822"/>
                  </a:lnTo>
                  <a:lnTo>
                    <a:pt x="1140038" y="869283"/>
                  </a:lnTo>
                  <a:lnTo>
                    <a:pt x="1142319" y="874333"/>
                  </a:lnTo>
                  <a:lnTo>
                    <a:pt x="1144926" y="873356"/>
                  </a:lnTo>
                  <a:lnTo>
                    <a:pt x="1145740" y="870749"/>
                  </a:lnTo>
                  <a:lnTo>
                    <a:pt x="1145740" y="870749"/>
                  </a:lnTo>
                  <a:close/>
                  <a:moveTo>
                    <a:pt x="1147043" y="865536"/>
                  </a:moveTo>
                  <a:lnTo>
                    <a:pt x="1151768" y="861464"/>
                  </a:lnTo>
                  <a:lnTo>
                    <a:pt x="1153560" y="864396"/>
                  </a:lnTo>
                  <a:lnTo>
                    <a:pt x="1149813" y="867165"/>
                  </a:lnTo>
                  <a:lnTo>
                    <a:pt x="1147043" y="865536"/>
                  </a:lnTo>
                  <a:lnTo>
                    <a:pt x="1147043" y="865536"/>
                  </a:lnTo>
                  <a:close/>
                  <a:moveTo>
                    <a:pt x="382022" y="549818"/>
                  </a:moveTo>
                  <a:lnTo>
                    <a:pt x="380882" y="547863"/>
                  </a:lnTo>
                  <a:lnTo>
                    <a:pt x="383162" y="545257"/>
                  </a:lnTo>
                  <a:lnTo>
                    <a:pt x="384791" y="549004"/>
                  </a:lnTo>
                  <a:lnTo>
                    <a:pt x="381859" y="549818"/>
                  </a:lnTo>
                  <a:lnTo>
                    <a:pt x="381859" y="549818"/>
                  </a:lnTo>
                  <a:close/>
                  <a:moveTo>
                    <a:pt x="381370" y="553077"/>
                  </a:moveTo>
                  <a:lnTo>
                    <a:pt x="384303" y="555032"/>
                  </a:lnTo>
                  <a:lnTo>
                    <a:pt x="384303" y="559430"/>
                  </a:lnTo>
                  <a:cubicBezTo>
                    <a:pt x="384303" y="559430"/>
                    <a:pt x="391471" y="566761"/>
                    <a:pt x="391471" y="566761"/>
                  </a:cubicBezTo>
                  <a:lnTo>
                    <a:pt x="390493" y="570997"/>
                  </a:lnTo>
                  <a:lnTo>
                    <a:pt x="381207" y="563829"/>
                  </a:lnTo>
                  <a:lnTo>
                    <a:pt x="380230" y="558778"/>
                  </a:lnTo>
                  <a:lnTo>
                    <a:pt x="378601" y="555032"/>
                  </a:lnTo>
                  <a:cubicBezTo>
                    <a:pt x="378601" y="555032"/>
                    <a:pt x="381045" y="553077"/>
                    <a:pt x="381207" y="553077"/>
                  </a:cubicBezTo>
                  <a:lnTo>
                    <a:pt x="381207" y="553077"/>
                  </a:lnTo>
                  <a:close/>
                  <a:moveTo>
                    <a:pt x="647075" y="466898"/>
                  </a:moveTo>
                  <a:lnTo>
                    <a:pt x="644306" y="472762"/>
                  </a:lnTo>
                  <a:lnTo>
                    <a:pt x="643165" y="484003"/>
                  </a:lnTo>
                  <a:lnTo>
                    <a:pt x="639418" y="481722"/>
                  </a:lnTo>
                  <a:lnTo>
                    <a:pt x="639418" y="478464"/>
                  </a:lnTo>
                  <a:cubicBezTo>
                    <a:pt x="639418" y="478464"/>
                    <a:pt x="635997" y="476183"/>
                    <a:pt x="635997" y="476183"/>
                  </a:cubicBezTo>
                  <a:lnTo>
                    <a:pt x="630133" y="477813"/>
                  </a:lnTo>
                  <a:lnTo>
                    <a:pt x="625082" y="474391"/>
                  </a:lnTo>
                  <a:lnTo>
                    <a:pt x="625082" y="471296"/>
                  </a:lnTo>
                  <a:cubicBezTo>
                    <a:pt x="625082" y="471296"/>
                    <a:pt x="638930" y="457286"/>
                    <a:pt x="638930" y="457286"/>
                  </a:cubicBezTo>
                  <a:lnTo>
                    <a:pt x="644794" y="454191"/>
                  </a:lnTo>
                  <a:lnTo>
                    <a:pt x="647238" y="456309"/>
                  </a:lnTo>
                  <a:lnTo>
                    <a:pt x="646912" y="466735"/>
                  </a:lnTo>
                  <a:lnTo>
                    <a:pt x="646912" y="466735"/>
                  </a:lnTo>
                  <a:close/>
                  <a:moveTo>
                    <a:pt x="651311" y="466572"/>
                  </a:moveTo>
                  <a:cubicBezTo>
                    <a:pt x="651311" y="466572"/>
                    <a:pt x="653917" y="463965"/>
                    <a:pt x="653917" y="463965"/>
                  </a:cubicBezTo>
                  <a:lnTo>
                    <a:pt x="654406" y="461359"/>
                  </a:lnTo>
                  <a:lnTo>
                    <a:pt x="651311" y="458263"/>
                  </a:lnTo>
                  <a:lnTo>
                    <a:pt x="651800" y="454354"/>
                  </a:lnTo>
                  <a:lnTo>
                    <a:pt x="647401" y="449955"/>
                  </a:lnTo>
                  <a:lnTo>
                    <a:pt x="651311" y="447837"/>
                  </a:lnTo>
                  <a:lnTo>
                    <a:pt x="660922" y="447023"/>
                  </a:lnTo>
                  <a:lnTo>
                    <a:pt x="669882" y="452887"/>
                  </a:lnTo>
                  <a:lnTo>
                    <a:pt x="670371" y="456146"/>
                  </a:lnTo>
                  <a:lnTo>
                    <a:pt x="664995" y="458589"/>
                  </a:lnTo>
                  <a:lnTo>
                    <a:pt x="654569" y="467875"/>
                  </a:lnTo>
                  <a:lnTo>
                    <a:pt x="651311" y="466572"/>
                  </a:lnTo>
                  <a:lnTo>
                    <a:pt x="651311" y="466572"/>
                  </a:lnTo>
                  <a:close/>
                  <a:moveTo>
                    <a:pt x="700346" y="434153"/>
                  </a:moveTo>
                  <a:lnTo>
                    <a:pt x="702627" y="432524"/>
                  </a:lnTo>
                  <a:lnTo>
                    <a:pt x="708655" y="432035"/>
                  </a:lnTo>
                  <a:lnTo>
                    <a:pt x="711587" y="435945"/>
                  </a:lnTo>
                  <a:lnTo>
                    <a:pt x="709958" y="439692"/>
                  </a:lnTo>
                  <a:lnTo>
                    <a:pt x="706863" y="440180"/>
                  </a:lnTo>
                  <a:lnTo>
                    <a:pt x="700346" y="433990"/>
                  </a:lnTo>
                  <a:lnTo>
                    <a:pt x="700346" y="433990"/>
                  </a:lnTo>
                  <a:close/>
                  <a:moveTo>
                    <a:pt x="961327" y="680960"/>
                  </a:moveTo>
                  <a:lnTo>
                    <a:pt x="963933" y="678517"/>
                  </a:lnTo>
                  <a:lnTo>
                    <a:pt x="967355" y="679820"/>
                  </a:lnTo>
                  <a:lnTo>
                    <a:pt x="964911" y="682101"/>
                  </a:lnTo>
                  <a:lnTo>
                    <a:pt x="961327" y="680960"/>
                  </a:lnTo>
                  <a:lnTo>
                    <a:pt x="961327" y="680960"/>
                  </a:lnTo>
                  <a:close/>
                  <a:moveTo>
                    <a:pt x="936565" y="757365"/>
                  </a:moveTo>
                  <a:lnTo>
                    <a:pt x="941126" y="754432"/>
                  </a:lnTo>
                  <a:lnTo>
                    <a:pt x="944059" y="756876"/>
                  </a:lnTo>
                  <a:lnTo>
                    <a:pt x="936565" y="757365"/>
                  </a:lnTo>
                  <a:lnTo>
                    <a:pt x="936565" y="757365"/>
                  </a:lnTo>
                  <a:close/>
                  <a:moveTo>
                    <a:pt x="992768" y="743843"/>
                  </a:moveTo>
                  <a:lnTo>
                    <a:pt x="998796" y="741399"/>
                  </a:lnTo>
                  <a:lnTo>
                    <a:pt x="1002054" y="741399"/>
                  </a:lnTo>
                  <a:lnTo>
                    <a:pt x="997493" y="746776"/>
                  </a:lnTo>
                  <a:lnTo>
                    <a:pt x="992443" y="748079"/>
                  </a:lnTo>
                  <a:lnTo>
                    <a:pt x="992443" y="743843"/>
                  </a:lnTo>
                  <a:lnTo>
                    <a:pt x="992605" y="743843"/>
                  </a:lnTo>
                  <a:close/>
                  <a:moveTo>
                    <a:pt x="951552" y="691386"/>
                  </a:moveTo>
                  <a:lnTo>
                    <a:pt x="952367" y="687965"/>
                  </a:lnTo>
                  <a:lnTo>
                    <a:pt x="956114" y="688291"/>
                  </a:lnTo>
                  <a:lnTo>
                    <a:pt x="956603" y="692201"/>
                  </a:lnTo>
                  <a:lnTo>
                    <a:pt x="951552" y="691386"/>
                  </a:lnTo>
                  <a:lnTo>
                    <a:pt x="951552" y="691386"/>
                  </a:lnTo>
                  <a:close/>
                  <a:moveTo>
                    <a:pt x="958395" y="711913"/>
                  </a:moveTo>
                  <a:lnTo>
                    <a:pt x="958395" y="703768"/>
                  </a:lnTo>
                  <a:cubicBezTo>
                    <a:pt x="958395" y="703768"/>
                    <a:pt x="961490" y="701487"/>
                    <a:pt x="961490" y="701487"/>
                  </a:cubicBezTo>
                  <a:lnTo>
                    <a:pt x="964585" y="702953"/>
                  </a:lnTo>
                  <a:lnTo>
                    <a:pt x="964585" y="707352"/>
                  </a:lnTo>
                  <a:lnTo>
                    <a:pt x="968006" y="707352"/>
                  </a:lnTo>
                  <a:lnTo>
                    <a:pt x="969635" y="710773"/>
                  </a:lnTo>
                  <a:lnTo>
                    <a:pt x="965237" y="712728"/>
                  </a:lnTo>
                  <a:lnTo>
                    <a:pt x="958232" y="711587"/>
                  </a:lnTo>
                  <a:lnTo>
                    <a:pt x="958232" y="711587"/>
                  </a:lnTo>
                  <a:close/>
                  <a:moveTo>
                    <a:pt x="917341" y="732602"/>
                  </a:moveTo>
                  <a:lnTo>
                    <a:pt x="920925" y="731625"/>
                  </a:lnTo>
                  <a:lnTo>
                    <a:pt x="922880" y="730322"/>
                  </a:lnTo>
                  <a:lnTo>
                    <a:pt x="923532" y="727552"/>
                  </a:lnTo>
                  <a:lnTo>
                    <a:pt x="932981" y="719895"/>
                  </a:lnTo>
                  <a:lnTo>
                    <a:pt x="937379" y="718592"/>
                  </a:lnTo>
                  <a:lnTo>
                    <a:pt x="942592" y="712728"/>
                  </a:lnTo>
                  <a:lnTo>
                    <a:pt x="944873" y="712076"/>
                  </a:lnTo>
                  <a:lnTo>
                    <a:pt x="949923" y="705722"/>
                  </a:lnTo>
                  <a:lnTo>
                    <a:pt x="950901" y="708492"/>
                  </a:lnTo>
                  <a:lnTo>
                    <a:pt x="949597" y="711261"/>
                  </a:lnTo>
                  <a:lnTo>
                    <a:pt x="952041" y="713216"/>
                  </a:lnTo>
                  <a:lnTo>
                    <a:pt x="949272" y="715823"/>
                  </a:lnTo>
                  <a:lnTo>
                    <a:pt x="943570" y="718103"/>
                  </a:lnTo>
                  <a:lnTo>
                    <a:pt x="936076" y="726738"/>
                  </a:lnTo>
                  <a:lnTo>
                    <a:pt x="931515" y="728204"/>
                  </a:lnTo>
                  <a:lnTo>
                    <a:pt x="932492" y="731299"/>
                  </a:lnTo>
                  <a:lnTo>
                    <a:pt x="931189" y="734069"/>
                  </a:lnTo>
                  <a:lnTo>
                    <a:pt x="925487" y="732765"/>
                  </a:lnTo>
                  <a:lnTo>
                    <a:pt x="922555" y="734720"/>
                  </a:lnTo>
                  <a:lnTo>
                    <a:pt x="917341" y="734720"/>
                  </a:lnTo>
                  <a:lnTo>
                    <a:pt x="917341" y="732440"/>
                  </a:lnTo>
                  <a:lnTo>
                    <a:pt x="917504" y="732440"/>
                  </a:lnTo>
                  <a:close/>
                  <a:moveTo>
                    <a:pt x="916038" y="722828"/>
                  </a:moveTo>
                  <a:lnTo>
                    <a:pt x="922880" y="717452"/>
                  </a:lnTo>
                  <a:lnTo>
                    <a:pt x="923206" y="721362"/>
                  </a:lnTo>
                  <a:lnTo>
                    <a:pt x="918645" y="724131"/>
                  </a:lnTo>
                  <a:cubicBezTo>
                    <a:pt x="918645" y="724131"/>
                    <a:pt x="916201" y="723154"/>
                    <a:pt x="916038" y="722828"/>
                  </a:cubicBezTo>
                  <a:lnTo>
                    <a:pt x="916038" y="722828"/>
                  </a:lnTo>
                  <a:close/>
                  <a:moveTo>
                    <a:pt x="928908" y="710610"/>
                  </a:moveTo>
                  <a:lnTo>
                    <a:pt x="936076" y="703442"/>
                  </a:lnTo>
                  <a:lnTo>
                    <a:pt x="936565" y="700183"/>
                  </a:lnTo>
                  <a:lnTo>
                    <a:pt x="939660" y="696599"/>
                  </a:lnTo>
                  <a:lnTo>
                    <a:pt x="942755" y="696925"/>
                  </a:lnTo>
                  <a:lnTo>
                    <a:pt x="943896" y="699043"/>
                  </a:lnTo>
                  <a:lnTo>
                    <a:pt x="940475" y="702627"/>
                  </a:lnTo>
                  <a:lnTo>
                    <a:pt x="938194" y="706211"/>
                  </a:lnTo>
                  <a:lnTo>
                    <a:pt x="933144" y="710610"/>
                  </a:lnTo>
                  <a:lnTo>
                    <a:pt x="932329" y="713216"/>
                  </a:lnTo>
                  <a:lnTo>
                    <a:pt x="929885" y="712890"/>
                  </a:lnTo>
                  <a:lnTo>
                    <a:pt x="928745" y="710447"/>
                  </a:lnTo>
                  <a:lnTo>
                    <a:pt x="928745" y="710447"/>
                  </a:lnTo>
                  <a:close/>
                  <a:moveTo>
                    <a:pt x="936402" y="677702"/>
                  </a:moveTo>
                  <a:lnTo>
                    <a:pt x="939334" y="673955"/>
                  </a:lnTo>
                  <a:lnTo>
                    <a:pt x="942755" y="675584"/>
                  </a:lnTo>
                  <a:lnTo>
                    <a:pt x="941778" y="678517"/>
                  </a:lnTo>
                  <a:lnTo>
                    <a:pt x="942592" y="681123"/>
                  </a:lnTo>
                  <a:lnTo>
                    <a:pt x="940963" y="683567"/>
                  </a:lnTo>
                  <a:lnTo>
                    <a:pt x="936402" y="677539"/>
                  </a:lnTo>
                  <a:lnTo>
                    <a:pt x="936402" y="677539"/>
                  </a:lnTo>
                  <a:close/>
                  <a:moveTo>
                    <a:pt x="628504" y="321746"/>
                  </a:moveTo>
                  <a:cubicBezTo>
                    <a:pt x="628504" y="321746"/>
                    <a:pt x="632250" y="320931"/>
                    <a:pt x="632250" y="320931"/>
                  </a:cubicBezTo>
                  <a:lnTo>
                    <a:pt x="635997" y="321746"/>
                  </a:lnTo>
                  <a:lnTo>
                    <a:pt x="632413" y="325493"/>
                  </a:lnTo>
                  <a:lnTo>
                    <a:pt x="628666" y="321746"/>
                  </a:lnTo>
                  <a:lnTo>
                    <a:pt x="628666" y="321746"/>
                  </a:lnTo>
                  <a:close/>
                  <a:moveTo>
                    <a:pt x="529292" y="428940"/>
                  </a:moveTo>
                  <a:lnTo>
                    <a:pt x="533853" y="422261"/>
                  </a:lnTo>
                  <a:lnTo>
                    <a:pt x="532387" y="416233"/>
                  </a:lnTo>
                  <a:lnTo>
                    <a:pt x="526685" y="413301"/>
                  </a:lnTo>
                  <a:lnTo>
                    <a:pt x="527989" y="406784"/>
                  </a:lnTo>
                  <a:lnTo>
                    <a:pt x="526197" y="398313"/>
                  </a:lnTo>
                  <a:lnTo>
                    <a:pt x="520658" y="393914"/>
                  </a:lnTo>
                  <a:lnTo>
                    <a:pt x="512186" y="393914"/>
                  </a:lnTo>
                  <a:cubicBezTo>
                    <a:pt x="512186" y="393914"/>
                    <a:pt x="510394" y="397987"/>
                    <a:pt x="510394" y="397987"/>
                  </a:cubicBezTo>
                  <a:lnTo>
                    <a:pt x="505181" y="397987"/>
                  </a:lnTo>
                  <a:cubicBezTo>
                    <a:pt x="505181" y="397987"/>
                    <a:pt x="499968" y="392122"/>
                    <a:pt x="499968" y="392122"/>
                  </a:cubicBezTo>
                  <a:lnTo>
                    <a:pt x="499968" y="385606"/>
                  </a:lnTo>
                  <a:lnTo>
                    <a:pt x="511698" y="374854"/>
                  </a:lnTo>
                  <a:lnTo>
                    <a:pt x="515933" y="364916"/>
                  </a:lnTo>
                  <a:lnTo>
                    <a:pt x="518866" y="364916"/>
                  </a:lnTo>
                  <a:lnTo>
                    <a:pt x="518866" y="374528"/>
                  </a:lnTo>
                  <a:lnTo>
                    <a:pt x="516585" y="377786"/>
                  </a:lnTo>
                  <a:lnTo>
                    <a:pt x="523101" y="380230"/>
                  </a:lnTo>
                  <a:lnTo>
                    <a:pt x="523101" y="383488"/>
                  </a:lnTo>
                  <a:cubicBezTo>
                    <a:pt x="523101" y="383488"/>
                    <a:pt x="529129" y="384140"/>
                    <a:pt x="529129" y="384140"/>
                  </a:cubicBezTo>
                  <a:lnTo>
                    <a:pt x="531736" y="381696"/>
                  </a:lnTo>
                  <a:lnTo>
                    <a:pt x="541347" y="382674"/>
                  </a:lnTo>
                  <a:lnTo>
                    <a:pt x="546397" y="387398"/>
                  </a:lnTo>
                  <a:lnTo>
                    <a:pt x="545909" y="390493"/>
                  </a:lnTo>
                  <a:lnTo>
                    <a:pt x="542976" y="393263"/>
                  </a:lnTo>
                  <a:lnTo>
                    <a:pt x="545909" y="399779"/>
                  </a:lnTo>
                  <a:lnTo>
                    <a:pt x="550959" y="403363"/>
                  </a:lnTo>
                  <a:lnTo>
                    <a:pt x="550959" y="408576"/>
                  </a:lnTo>
                  <a:cubicBezTo>
                    <a:pt x="550959" y="408576"/>
                    <a:pt x="560245" y="417536"/>
                    <a:pt x="560245" y="417536"/>
                  </a:cubicBezTo>
                  <a:lnTo>
                    <a:pt x="561711" y="422261"/>
                  </a:lnTo>
                  <a:lnTo>
                    <a:pt x="557475" y="425193"/>
                  </a:lnTo>
                  <a:lnTo>
                    <a:pt x="550796" y="420957"/>
                  </a:lnTo>
                  <a:lnTo>
                    <a:pt x="548026" y="422098"/>
                  </a:lnTo>
                  <a:lnTo>
                    <a:pt x="546071" y="424704"/>
                  </a:lnTo>
                  <a:lnTo>
                    <a:pt x="540858" y="424704"/>
                  </a:lnTo>
                  <a:cubicBezTo>
                    <a:pt x="540858" y="424704"/>
                    <a:pt x="533690" y="430732"/>
                    <a:pt x="533690" y="430732"/>
                  </a:cubicBezTo>
                  <a:lnTo>
                    <a:pt x="529455" y="428777"/>
                  </a:lnTo>
                  <a:lnTo>
                    <a:pt x="529455" y="428777"/>
                  </a:lnTo>
                  <a:close/>
                  <a:moveTo>
                    <a:pt x="495081" y="602275"/>
                  </a:moveTo>
                  <a:lnTo>
                    <a:pt x="501109" y="601949"/>
                  </a:lnTo>
                  <a:lnTo>
                    <a:pt x="507136" y="603904"/>
                  </a:lnTo>
                  <a:lnTo>
                    <a:pt x="512186" y="603578"/>
                  </a:lnTo>
                  <a:lnTo>
                    <a:pt x="516259" y="605370"/>
                  </a:lnTo>
                  <a:lnTo>
                    <a:pt x="522287" y="599994"/>
                  </a:lnTo>
                  <a:lnTo>
                    <a:pt x="529292" y="598528"/>
                  </a:lnTo>
                  <a:lnTo>
                    <a:pt x="528803" y="602438"/>
                  </a:lnTo>
                  <a:lnTo>
                    <a:pt x="534668" y="606674"/>
                  </a:lnTo>
                  <a:lnTo>
                    <a:pt x="535157" y="610909"/>
                  </a:lnTo>
                  <a:lnTo>
                    <a:pt x="530432" y="617914"/>
                  </a:lnTo>
                  <a:lnTo>
                    <a:pt x="528640" y="624105"/>
                  </a:lnTo>
                  <a:lnTo>
                    <a:pt x="521798" y="624105"/>
                  </a:lnTo>
                  <a:lnTo>
                    <a:pt x="517074" y="622313"/>
                  </a:lnTo>
                  <a:lnTo>
                    <a:pt x="512675" y="625408"/>
                  </a:lnTo>
                  <a:lnTo>
                    <a:pt x="508114" y="621987"/>
                  </a:lnTo>
                  <a:lnTo>
                    <a:pt x="503063" y="621010"/>
                  </a:lnTo>
                  <a:lnTo>
                    <a:pt x="497687" y="611724"/>
                  </a:lnTo>
                  <a:lnTo>
                    <a:pt x="495081" y="602112"/>
                  </a:lnTo>
                  <a:lnTo>
                    <a:pt x="495081" y="602112"/>
                  </a:lnTo>
                  <a:close/>
                  <a:moveTo>
                    <a:pt x="834258" y="680797"/>
                  </a:moveTo>
                  <a:lnTo>
                    <a:pt x="841426" y="673141"/>
                  </a:lnTo>
                  <a:lnTo>
                    <a:pt x="845336" y="673141"/>
                  </a:lnTo>
                  <a:cubicBezTo>
                    <a:pt x="845336" y="673141"/>
                    <a:pt x="845499" y="677050"/>
                    <a:pt x="845499" y="677050"/>
                  </a:cubicBezTo>
                  <a:lnTo>
                    <a:pt x="838982" y="681449"/>
                  </a:lnTo>
                  <a:lnTo>
                    <a:pt x="834258" y="680960"/>
                  </a:lnTo>
                  <a:lnTo>
                    <a:pt x="834258" y="680960"/>
                  </a:lnTo>
                  <a:close/>
                  <a:moveTo>
                    <a:pt x="780824" y="717289"/>
                  </a:moveTo>
                  <a:lnTo>
                    <a:pt x="784733" y="716312"/>
                  </a:lnTo>
                  <a:lnTo>
                    <a:pt x="788480" y="717615"/>
                  </a:lnTo>
                  <a:lnTo>
                    <a:pt x="784570" y="719733"/>
                  </a:lnTo>
                  <a:lnTo>
                    <a:pt x="780661" y="717289"/>
                  </a:lnTo>
                  <a:lnTo>
                    <a:pt x="780661" y="717289"/>
                  </a:lnTo>
                  <a:close/>
                  <a:moveTo>
                    <a:pt x="780987" y="760786"/>
                  </a:moveTo>
                  <a:lnTo>
                    <a:pt x="783267" y="760297"/>
                  </a:lnTo>
                  <a:lnTo>
                    <a:pt x="787014" y="760623"/>
                  </a:lnTo>
                  <a:lnTo>
                    <a:pt x="786688" y="764533"/>
                  </a:lnTo>
                  <a:lnTo>
                    <a:pt x="782779" y="767465"/>
                  </a:lnTo>
                  <a:lnTo>
                    <a:pt x="779846" y="765184"/>
                  </a:lnTo>
                  <a:lnTo>
                    <a:pt x="781149" y="760949"/>
                  </a:lnTo>
                  <a:lnTo>
                    <a:pt x="781149" y="760949"/>
                  </a:lnTo>
                  <a:close/>
                  <a:moveTo>
                    <a:pt x="760134" y="785385"/>
                  </a:moveTo>
                  <a:lnTo>
                    <a:pt x="759157" y="783267"/>
                  </a:lnTo>
                  <a:lnTo>
                    <a:pt x="761437" y="780986"/>
                  </a:lnTo>
                  <a:lnTo>
                    <a:pt x="764533" y="782453"/>
                  </a:lnTo>
                  <a:lnTo>
                    <a:pt x="766976" y="780498"/>
                  </a:lnTo>
                  <a:lnTo>
                    <a:pt x="769909" y="781964"/>
                  </a:lnTo>
                  <a:lnTo>
                    <a:pt x="772841" y="777565"/>
                  </a:lnTo>
                  <a:lnTo>
                    <a:pt x="770886" y="774959"/>
                  </a:lnTo>
                  <a:lnTo>
                    <a:pt x="773167" y="771701"/>
                  </a:lnTo>
                  <a:lnTo>
                    <a:pt x="777891" y="770234"/>
                  </a:lnTo>
                  <a:lnTo>
                    <a:pt x="780824" y="771375"/>
                  </a:lnTo>
                  <a:lnTo>
                    <a:pt x="779846" y="775936"/>
                  </a:lnTo>
                  <a:lnTo>
                    <a:pt x="782127" y="776425"/>
                  </a:lnTo>
                  <a:lnTo>
                    <a:pt x="783267" y="774144"/>
                  </a:lnTo>
                  <a:lnTo>
                    <a:pt x="786525" y="773167"/>
                  </a:lnTo>
                  <a:lnTo>
                    <a:pt x="788480" y="777077"/>
                  </a:lnTo>
                  <a:lnTo>
                    <a:pt x="786037" y="779357"/>
                  </a:lnTo>
                  <a:lnTo>
                    <a:pt x="784245" y="782941"/>
                  </a:lnTo>
                  <a:lnTo>
                    <a:pt x="787340" y="783919"/>
                  </a:lnTo>
                  <a:lnTo>
                    <a:pt x="788969" y="787014"/>
                  </a:lnTo>
                  <a:lnTo>
                    <a:pt x="785059" y="787992"/>
                  </a:lnTo>
                  <a:lnTo>
                    <a:pt x="782453" y="786037"/>
                  </a:lnTo>
                  <a:lnTo>
                    <a:pt x="778543" y="790109"/>
                  </a:lnTo>
                  <a:lnTo>
                    <a:pt x="775936" y="790109"/>
                  </a:lnTo>
                  <a:lnTo>
                    <a:pt x="774796" y="786851"/>
                  </a:lnTo>
                  <a:lnTo>
                    <a:pt x="770072" y="790924"/>
                  </a:lnTo>
                  <a:lnTo>
                    <a:pt x="766488" y="790924"/>
                  </a:lnTo>
                  <a:cubicBezTo>
                    <a:pt x="766488" y="790924"/>
                    <a:pt x="760786" y="785385"/>
                    <a:pt x="760786" y="785385"/>
                  </a:cubicBezTo>
                  <a:lnTo>
                    <a:pt x="760786" y="785385"/>
                  </a:lnTo>
                  <a:close/>
                  <a:moveTo>
                    <a:pt x="707026" y="838656"/>
                  </a:moveTo>
                  <a:lnTo>
                    <a:pt x="706211" y="841589"/>
                  </a:lnTo>
                  <a:lnTo>
                    <a:pt x="702953" y="842403"/>
                  </a:lnTo>
                  <a:lnTo>
                    <a:pt x="699695" y="840448"/>
                  </a:lnTo>
                  <a:lnTo>
                    <a:pt x="699206" y="835235"/>
                  </a:lnTo>
                  <a:lnTo>
                    <a:pt x="701650" y="832140"/>
                  </a:lnTo>
                  <a:lnTo>
                    <a:pt x="702790" y="826927"/>
                  </a:lnTo>
                  <a:lnTo>
                    <a:pt x="702464" y="820573"/>
                  </a:lnTo>
                  <a:lnTo>
                    <a:pt x="700835" y="818130"/>
                  </a:lnTo>
                  <a:lnTo>
                    <a:pt x="701976" y="815034"/>
                  </a:lnTo>
                  <a:lnTo>
                    <a:pt x="708655" y="809821"/>
                  </a:lnTo>
                  <a:lnTo>
                    <a:pt x="719733" y="804282"/>
                  </a:lnTo>
                  <a:lnTo>
                    <a:pt x="726249" y="803468"/>
                  </a:lnTo>
                  <a:lnTo>
                    <a:pt x="728041" y="804608"/>
                  </a:lnTo>
                  <a:lnTo>
                    <a:pt x="728367" y="814546"/>
                  </a:lnTo>
                  <a:lnTo>
                    <a:pt x="730159" y="815523"/>
                  </a:lnTo>
                  <a:lnTo>
                    <a:pt x="734557" y="809984"/>
                  </a:lnTo>
                  <a:lnTo>
                    <a:pt x="732928" y="805423"/>
                  </a:lnTo>
                  <a:lnTo>
                    <a:pt x="734069" y="804608"/>
                  </a:lnTo>
                  <a:lnTo>
                    <a:pt x="737490" y="806889"/>
                  </a:lnTo>
                  <a:lnTo>
                    <a:pt x="738793" y="802816"/>
                  </a:lnTo>
                  <a:lnTo>
                    <a:pt x="734394" y="799721"/>
                  </a:lnTo>
                  <a:lnTo>
                    <a:pt x="733254" y="797277"/>
                  </a:lnTo>
                  <a:lnTo>
                    <a:pt x="737816" y="792227"/>
                  </a:lnTo>
                  <a:lnTo>
                    <a:pt x="741237" y="791901"/>
                  </a:lnTo>
                  <a:lnTo>
                    <a:pt x="744495" y="794345"/>
                  </a:lnTo>
                  <a:lnTo>
                    <a:pt x="744495" y="799395"/>
                  </a:lnTo>
                  <a:cubicBezTo>
                    <a:pt x="744495" y="799395"/>
                    <a:pt x="742377" y="801839"/>
                    <a:pt x="742377" y="801839"/>
                  </a:cubicBezTo>
                  <a:lnTo>
                    <a:pt x="742377" y="805586"/>
                  </a:lnTo>
                  <a:lnTo>
                    <a:pt x="745309" y="804771"/>
                  </a:lnTo>
                  <a:lnTo>
                    <a:pt x="747590" y="800536"/>
                  </a:lnTo>
                  <a:lnTo>
                    <a:pt x="749708" y="799395"/>
                  </a:lnTo>
                  <a:lnTo>
                    <a:pt x="752314" y="800861"/>
                  </a:lnTo>
                  <a:lnTo>
                    <a:pt x="753129" y="796300"/>
                  </a:lnTo>
                  <a:lnTo>
                    <a:pt x="751826" y="793205"/>
                  </a:lnTo>
                  <a:lnTo>
                    <a:pt x="754432" y="791413"/>
                  </a:lnTo>
                  <a:lnTo>
                    <a:pt x="758831" y="794508"/>
                  </a:lnTo>
                  <a:lnTo>
                    <a:pt x="758831" y="798418"/>
                  </a:lnTo>
                  <a:lnTo>
                    <a:pt x="756387" y="800210"/>
                  </a:lnTo>
                  <a:lnTo>
                    <a:pt x="756387" y="802002"/>
                  </a:lnTo>
                  <a:lnTo>
                    <a:pt x="759320" y="802816"/>
                  </a:lnTo>
                  <a:lnTo>
                    <a:pt x="763881" y="797277"/>
                  </a:lnTo>
                  <a:lnTo>
                    <a:pt x="768443" y="796300"/>
                  </a:lnTo>
                  <a:lnTo>
                    <a:pt x="771864" y="797440"/>
                  </a:lnTo>
                  <a:lnTo>
                    <a:pt x="773818" y="802816"/>
                  </a:lnTo>
                  <a:lnTo>
                    <a:pt x="769420" y="803957"/>
                  </a:lnTo>
                  <a:lnTo>
                    <a:pt x="764696" y="803957"/>
                  </a:lnTo>
                  <a:cubicBezTo>
                    <a:pt x="764696" y="803957"/>
                    <a:pt x="764533" y="807052"/>
                    <a:pt x="764533" y="807052"/>
                  </a:cubicBezTo>
                  <a:lnTo>
                    <a:pt x="766976" y="808518"/>
                  </a:lnTo>
                  <a:lnTo>
                    <a:pt x="768443" y="811939"/>
                  </a:lnTo>
                  <a:lnTo>
                    <a:pt x="765184" y="817315"/>
                  </a:lnTo>
                  <a:lnTo>
                    <a:pt x="761275" y="816664"/>
                  </a:lnTo>
                  <a:lnTo>
                    <a:pt x="760134" y="814220"/>
                  </a:lnTo>
                  <a:lnTo>
                    <a:pt x="756876" y="815360"/>
                  </a:lnTo>
                  <a:lnTo>
                    <a:pt x="753618" y="813731"/>
                  </a:lnTo>
                  <a:lnTo>
                    <a:pt x="749871" y="814220"/>
                  </a:lnTo>
                  <a:lnTo>
                    <a:pt x="747590" y="816664"/>
                  </a:lnTo>
                  <a:lnTo>
                    <a:pt x="752314" y="817804"/>
                  </a:lnTo>
                  <a:lnTo>
                    <a:pt x="754758" y="823017"/>
                  </a:lnTo>
                  <a:lnTo>
                    <a:pt x="751663" y="827416"/>
                  </a:lnTo>
                  <a:lnTo>
                    <a:pt x="747753" y="827090"/>
                  </a:lnTo>
                  <a:lnTo>
                    <a:pt x="744821" y="822203"/>
                  </a:lnTo>
                  <a:lnTo>
                    <a:pt x="738467" y="821714"/>
                  </a:lnTo>
                  <a:lnTo>
                    <a:pt x="734557" y="823343"/>
                  </a:lnTo>
                  <a:lnTo>
                    <a:pt x="739770" y="825624"/>
                  </a:lnTo>
                  <a:lnTo>
                    <a:pt x="741074" y="828882"/>
                  </a:lnTo>
                  <a:lnTo>
                    <a:pt x="738304" y="831162"/>
                  </a:lnTo>
                  <a:lnTo>
                    <a:pt x="734069" y="830185"/>
                  </a:lnTo>
                  <a:lnTo>
                    <a:pt x="729344" y="831325"/>
                  </a:lnTo>
                  <a:lnTo>
                    <a:pt x="727064" y="830674"/>
                  </a:lnTo>
                  <a:lnTo>
                    <a:pt x="724457" y="836213"/>
                  </a:lnTo>
                  <a:lnTo>
                    <a:pt x="722176" y="836538"/>
                  </a:lnTo>
                  <a:lnTo>
                    <a:pt x="719244" y="838493"/>
                  </a:lnTo>
                  <a:lnTo>
                    <a:pt x="720547" y="841263"/>
                  </a:lnTo>
                  <a:lnTo>
                    <a:pt x="714845" y="844358"/>
                  </a:lnTo>
                  <a:lnTo>
                    <a:pt x="714845" y="847779"/>
                  </a:lnTo>
                  <a:cubicBezTo>
                    <a:pt x="714845" y="847779"/>
                    <a:pt x="711587" y="849571"/>
                    <a:pt x="711587" y="849571"/>
                  </a:cubicBezTo>
                  <a:lnTo>
                    <a:pt x="709306" y="852666"/>
                  </a:lnTo>
                  <a:lnTo>
                    <a:pt x="704093" y="851852"/>
                  </a:lnTo>
                  <a:lnTo>
                    <a:pt x="704908" y="849408"/>
                  </a:lnTo>
                  <a:lnTo>
                    <a:pt x="714031" y="842240"/>
                  </a:lnTo>
                  <a:lnTo>
                    <a:pt x="714031" y="839471"/>
                  </a:lnTo>
                  <a:lnTo>
                    <a:pt x="717126" y="834909"/>
                  </a:lnTo>
                  <a:lnTo>
                    <a:pt x="715171" y="834909"/>
                  </a:lnTo>
                  <a:cubicBezTo>
                    <a:pt x="715171" y="834909"/>
                    <a:pt x="711261" y="838005"/>
                    <a:pt x="711261" y="838005"/>
                  </a:cubicBezTo>
                  <a:lnTo>
                    <a:pt x="709306" y="836050"/>
                  </a:lnTo>
                  <a:lnTo>
                    <a:pt x="710773" y="833606"/>
                  </a:lnTo>
                  <a:lnTo>
                    <a:pt x="705234" y="833606"/>
                  </a:lnTo>
                  <a:cubicBezTo>
                    <a:pt x="705234" y="833606"/>
                    <a:pt x="702627" y="836050"/>
                    <a:pt x="702627" y="836050"/>
                  </a:cubicBezTo>
                  <a:lnTo>
                    <a:pt x="705071" y="836701"/>
                  </a:lnTo>
                  <a:lnTo>
                    <a:pt x="706374" y="838330"/>
                  </a:lnTo>
                  <a:lnTo>
                    <a:pt x="706374" y="838330"/>
                  </a:lnTo>
                  <a:close/>
                  <a:moveTo>
                    <a:pt x="696762" y="858531"/>
                  </a:moveTo>
                  <a:lnTo>
                    <a:pt x="700509" y="858042"/>
                  </a:lnTo>
                  <a:lnTo>
                    <a:pt x="698554" y="861138"/>
                  </a:lnTo>
                  <a:lnTo>
                    <a:pt x="696925" y="858531"/>
                  </a:lnTo>
                  <a:lnTo>
                    <a:pt x="696925" y="858531"/>
                  </a:lnTo>
                  <a:close/>
                  <a:moveTo>
                    <a:pt x="682264" y="864233"/>
                  </a:moveTo>
                  <a:lnTo>
                    <a:pt x="686173" y="857554"/>
                  </a:lnTo>
                  <a:lnTo>
                    <a:pt x="696600" y="853807"/>
                  </a:lnTo>
                  <a:lnTo>
                    <a:pt x="686825" y="863581"/>
                  </a:lnTo>
                  <a:lnTo>
                    <a:pt x="682264" y="864070"/>
                  </a:lnTo>
                  <a:lnTo>
                    <a:pt x="682264" y="864070"/>
                  </a:lnTo>
                  <a:close/>
                  <a:moveTo>
                    <a:pt x="647727" y="893231"/>
                  </a:moveTo>
                  <a:lnTo>
                    <a:pt x="645446" y="892905"/>
                  </a:lnTo>
                  <a:lnTo>
                    <a:pt x="645935" y="889810"/>
                  </a:lnTo>
                  <a:lnTo>
                    <a:pt x="651474" y="888018"/>
                  </a:lnTo>
                  <a:lnTo>
                    <a:pt x="650496" y="891928"/>
                  </a:lnTo>
                  <a:lnTo>
                    <a:pt x="647727" y="893068"/>
                  </a:lnTo>
                  <a:lnTo>
                    <a:pt x="647727" y="893068"/>
                  </a:lnTo>
                  <a:close/>
                  <a:moveTo>
                    <a:pt x="628666" y="847290"/>
                  </a:moveTo>
                  <a:lnTo>
                    <a:pt x="633717" y="847290"/>
                  </a:lnTo>
                  <a:cubicBezTo>
                    <a:pt x="633717" y="847290"/>
                    <a:pt x="636486" y="849897"/>
                    <a:pt x="636486" y="849897"/>
                  </a:cubicBezTo>
                  <a:lnTo>
                    <a:pt x="632902" y="851526"/>
                  </a:lnTo>
                  <a:lnTo>
                    <a:pt x="628504" y="847128"/>
                  </a:lnTo>
                  <a:lnTo>
                    <a:pt x="628504" y="847128"/>
                  </a:lnTo>
                  <a:close/>
                  <a:moveTo>
                    <a:pt x="529455" y="892742"/>
                  </a:moveTo>
                  <a:cubicBezTo>
                    <a:pt x="529455" y="892742"/>
                    <a:pt x="531573" y="891113"/>
                    <a:pt x="531573" y="891113"/>
                  </a:cubicBezTo>
                  <a:lnTo>
                    <a:pt x="532713" y="894045"/>
                  </a:lnTo>
                  <a:lnTo>
                    <a:pt x="529455" y="892905"/>
                  </a:lnTo>
                  <a:lnTo>
                    <a:pt x="529455" y="892905"/>
                  </a:lnTo>
                  <a:close/>
                  <a:moveTo>
                    <a:pt x="523590" y="894208"/>
                  </a:moveTo>
                  <a:lnTo>
                    <a:pt x="527174" y="895837"/>
                  </a:lnTo>
                  <a:lnTo>
                    <a:pt x="524242" y="898770"/>
                  </a:lnTo>
                  <a:lnTo>
                    <a:pt x="523753" y="894208"/>
                  </a:lnTo>
                  <a:lnTo>
                    <a:pt x="523753" y="894208"/>
                  </a:lnTo>
                  <a:close/>
                  <a:moveTo>
                    <a:pt x="546397" y="913269"/>
                  </a:moveTo>
                  <a:lnTo>
                    <a:pt x="546723" y="916690"/>
                  </a:lnTo>
                  <a:lnTo>
                    <a:pt x="544605" y="918970"/>
                  </a:lnTo>
                  <a:lnTo>
                    <a:pt x="543791" y="915875"/>
                  </a:lnTo>
                  <a:lnTo>
                    <a:pt x="546397" y="913269"/>
                  </a:lnTo>
                  <a:lnTo>
                    <a:pt x="546397" y="913269"/>
                  </a:lnTo>
                  <a:close/>
                  <a:moveTo>
                    <a:pt x="541673" y="911314"/>
                  </a:moveTo>
                  <a:lnTo>
                    <a:pt x="544931" y="905449"/>
                  </a:lnTo>
                  <a:lnTo>
                    <a:pt x="544605" y="909685"/>
                  </a:lnTo>
                  <a:cubicBezTo>
                    <a:pt x="544605" y="909685"/>
                    <a:pt x="541510" y="911477"/>
                    <a:pt x="541673" y="911314"/>
                  </a:cubicBezTo>
                  <a:lnTo>
                    <a:pt x="541673" y="911314"/>
                  </a:lnTo>
                  <a:close/>
                  <a:moveTo>
                    <a:pt x="520984" y="917830"/>
                  </a:moveTo>
                  <a:lnTo>
                    <a:pt x="523753" y="910825"/>
                  </a:lnTo>
                  <a:lnTo>
                    <a:pt x="529292" y="906101"/>
                  </a:lnTo>
                  <a:lnTo>
                    <a:pt x="529618" y="904146"/>
                  </a:lnTo>
                  <a:lnTo>
                    <a:pt x="536297" y="903820"/>
                  </a:lnTo>
                  <a:lnTo>
                    <a:pt x="532550" y="907241"/>
                  </a:lnTo>
                  <a:lnTo>
                    <a:pt x="531247" y="910499"/>
                  </a:lnTo>
                  <a:lnTo>
                    <a:pt x="524405" y="914083"/>
                  </a:lnTo>
                  <a:lnTo>
                    <a:pt x="521146" y="917993"/>
                  </a:lnTo>
                  <a:lnTo>
                    <a:pt x="521146" y="917993"/>
                  </a:lnTo>
                  <a:close/>
                  <a:moveTo>
                    <a:pt x="514304" y="902191"/>
                  </a:moveTo>
                  <a:lnTo>
                    <a:pt x="512023" y="898933"/>
                  </a:lnTo>
                  <a:lnTo>
                    <a:pt x="513653" y="894208"/>
                  </a:lnTo>
                  <a:lnTo>
                    <a:pt x="517237" y="892416"/>
                  </a:lnTo>
                  <a:lnTo>
                    <a:pt x="520332" y="895023"/>
                  </a:lnTo>
                  <a:lnTo>
                    <a:pt x="518051" y="899258"/>
                  </a:lnTo>
                  <a:lnTo>
                    <a:pt x="517562" y="902191"/>
                  </a:lnTo>
                  <a:lnTo>
                    <a:pt x="514304" y="902191"/>
                  </a:lnTo>
                  <a:close/>
                  <a:moveTo>
                    <a:pt x="488890" y="899096"/>
                  </a:moveTo>
                  <a:lnTo>
                    <a:pt x="491823" y="898770"/>
                  </a:lnTo>
                  <a:lnTo>
                    <a:pt x="494755" y="901865"/>
                  </a:lnTo>
                  <a:lnTo>
                    <a:pt x="490845" y="904146"/>
                  </a:lnTo>
                  <a:lnTo>
                    <a:pt x="489053" y="899096"/>
                  </a:lnTo>
                  <a:lnTo>
                    <a:pt x="489053" y="899096"/>
                  </a:lnTo>
                  <a:close/>
                  <a:moveTo>
                    <a:pt x="472599" y="911640"/>
                  </a:moveTo>
                  <a:lnTo>
                    <a:pt x="470156" y="907567"/>
                  </a:lnTo>
                  <a:lnTo>
                    <a:pt x="475043" y="904146"/>
                  </a:lnTo>
                  <a:lnTo>
                    <a:pt x="476021" y="907893"/>
                  </a:lnTo>
                  <a:lnTo>
                    <a:pt x="472599" y="911640"/>
                  </a:lnTo>
                  <a:lnTo>
                    <a:pt x="472599" y="911640"/>
                  </a:lnTo>
                  <a:close/>
                  <a:moveTo>
                    <a:pt x="454028" y="923858"/>
                  </a:moveTo>
                  <a:lnTo>
                    <a:pt x="458915" y="928419"/>
                  </a:lnTo>
                  <a:lnTo>
                    <a:pt x="455168" y="930700"/>
                  </a:lnTo>
                  <a:lnTo>
                    <a:pt x="450933" y="926790"/>
                  </a:lnTo>
                  <a:lnTo>
                    <a:pt x="453865" y="923858"/>
                  </a:lnTo>
                  <a:lnTo>
                    <a:pt x="453865" y="923858"/>
                  </a:lnTo>
                  <a:close/>
                  <a:moveTo>
                    <a:pt x="2769" y="1011503"/>
                  </a:moveTo>
                  <a:lnTo>
                    <a:pt x="0" y="1016716"/>
                  </a:lnTo>
                  <a:lnTo>
                    <a:pt x="5050" y="1015087"/>
                  </a:lnTo>
                  <a:lnTo>
                    <a:pt x="2769" y="1011666"/>
                  </a:lnTo>
                  <a:lnTo>
                    <a:pt x="2769" y="1011666"/>
                  </a:lnTo>
                  <a:close/>
                  <a:moveTo>
                    <a:pt x="6353" y="1000588"/>
                  </a:moveTo>
                  <a:lnTo>
                    <a:pt x="3095" y="1003032"/>
                  </a:lnTo>
                  <a:lnTo>
                    <a:pt x="6028" y="1006778"/>
                  </a:lnTo>
                  <a:lnTo>
                    <a:pt x="11241" y="1002706"/>
                  </a:lnTo>
                  <a:lnTo>
                    <a:pt x="6516" y="1000751"/>
                  </a:lnTo>
                  <a:lnTo>
                    <a:pt x="6516" y="1000751"/>
                  </a:lnTo>
                  <a:close/>
                  <a:moveTo>
                    <a:pt x="12870" y="988696"/>
                  </a:moveTo>
                  <a:lnTo>
                    <a:pt x="16128" y="991954"/>
                  </a:lnTo>
                  <a:lnTo>
                    <a:pt x="16780" y="986741"/>
                  </a:lnTo>
                  <a:lnTo>
                    <a:pt x="12707" y="988533"/>
                  </a:lnTo>
                  <a:lnTo>
                    <a:pt x="12707" y="988533"/>
                  </a:lnTo>
                  <a:close/>
                  <a:moveTo>
                    <a:pt x="45126" y="992443"/>
                  </a:moveTo>
                  <a:lnTo>
                    <a:pt x="39098" y="986089"/>
                  </a:lnTo>
                  <a:lnTo>
                    <a:pt x="35351" y="985600"/>
                  </a:lnTo>
                  <a:lnTo>
                    <a:pt x="31604" y="988859"/>
                  </a:lnTo>
                  <a:lnTo>
                    <a:pt x="32582" y="991628"/>
                  </a:lnTo>
                  <a:lnTo>
                    <a:pt x="37958" y="994072"/>
                  </a:lnTo>
                  <a:lnTo>
                    <a:pt x="33722" y="995212"/>
                  </a:lnTo>
                  <a:lnTo>
                    <a:pt x="35188" y="999122"/>
                  </a:lnTo>
                  <a:lnTo>
                    <a:pt x="38935" y="998307"/>
                  </a:lnTo>
                  <a:lnTo>
                    <a:pt x="42031" y="994397"/>
                  </a:lnTo>
                  <a:lnTo>
                    <a:pt x="45126" y="992605"/>
                  </a:lnTo>
                  <a:lnTo>
                    <a:pt x="45126" y="992605"/>
                  </a:lnTo>
                  <a:close/>
                  <a:moveTo>
                    <a:pt x="48058" y="1002543"/>
                  </a:moveTo>
                  <a:lnTo>
                    <a:pt x="50991" y="1004172"/>
                  </a:lnTo>
                  <a:lnTo>
                    <a:pt x="57018" y="1000262"/>
                  </a:lnTo>
                  <a:lnTo>
                    <a:pt x="57670" y="995701"/>
                  </a:lnTo>
                  <a:lnTo>
                    <a:pt x="60439" y="991628"/>
                  </a:lnTo>
                  <a:lnTo>
                    <a:pt x="58647" y="990325"/>
                  </a:lnTo>
                  <a:lnTo>
                    <a:pt x="54086" y="994886"/>
                  </a:lnTo>
                  <a:lnTo>
                    <a:pt x="52131" y="999448"/>
                  </a:lnTo>
                  <a:lnTo>
                    <a:pt x="47895" y="1002543"/>
                  </a:lnTo>
                  <a:lnTo>
                    <a:pt x="47895" y="1002543"/>
                  </a:lnTo>
                  <a:close/>
                  <a:moveTo>
                    <a:pt x="74612" y="998959"/>
                  </a:moveTo>
                  <a:lnTo>
                    <a:pt x="72820" y="992443"/>
                  </a:lnTo>
                  <a:lnTo>
                    <a:pt x="70377" y="991628"/>
                  </a:lnTo>
                  <a:lnTo>
                    <a:pt x="68748" y="997330"/>
                  </a:lnTo>
                  <a:lnTo>
                    <a:pt x="66141" y="998307"/>
                  </a:lnTo>
                  <a:lnTo>
                    <a:pt x="63209" y="1004661"/>
                  </a:lnTo>
                  <a:lnTo>
                    <a:pt x="68585" y="1004661"/>
                  </a:lnTo>
                  <a:lnTo>
                    <a:pt x="74775" y="999122"/>
                  </a:lnTo>
                  <a:lnTo>
                    <a:pt x="74775" y="999122"/>
                  </a:lnTo>
                  <a:close/>
                  <a:moveTo>
                    <a:pt x="136192" y="997004"/>
                  </a:moveTo>
                  <a:lnTo>
                    <a:pt x="135866" y="992605"/>
                  </a:lnTo>
                  <a:lnTo>
                    <a:pt x="139613" y="990162"/>
                  </a:lnTo>
                  <a:lnTo>
                    <a:pt x="138636" y="984786"/>
                  </a:lnTo>
                  <a:lnTo>
                    <a:pt x="135052" y="983482"/>
                  </a:lnTo>
                  <a:lnTo>
                    <a:pt x="130002" y="986904"/>
                  </a:lnTo>
                  <a:lnTo>
                    <a:pt x="129676" y="990813"/>
                  </a:lnTo>
                  <a:lnTo>
                    <a:pt x="127232" y="992280"/>
                  </a:lnTo>
                  <a:lnTo>
                    <a:pt x="124788" y="991302"/>
                  </a:lnTo>
                  <a:lnTo>
                    <a:pt x="120879" y="995049"/>
                  </a:lnTo>
                  <a:lnTo>
                    <a:pt x="117457" y="995049"/>
                  </a:lnTo>
                  <a:cubicBezTo>
                    <a:pt x="117457" y="995049"/>
                    <a:pt x="113385" y="993746"/>
                    <a:pt x="113385" y="993746"/>
                  </a:cubicBezTo>
                  <a:lnTo>
                    <a:pt x="111919" y="996189"/>
                  </a:lnTo>
                  <a:lnTo>
                    <a:pt x="115666" y="998959"/>
                  </a:lnTo>
                  <a:lnTo>
                    <a:pt x="118435" y="997981"/>
                  </a:lnTo>
                  <a:lnTo>
                    <a:pt x="123648" y="998470"/>
                  </a:lnTo>
                  <a:lnTo>
                    <a:pt x="129839" y="996189"/>
                  </a:lnTo>
                  <a:lnTo>
                    <a:pt x="136029" y="997004"/>
                  </a:lnTo>
                  <a:lnTo>
                    <a:pt x="136029" y="997004"/>
                  </a:lnTo>
                  <a:close/>
                  <a:moveTo>
                    <a:pt x="144500" y="998796"/>
                  </a:moveTo>
                  <a:lnTo>
                    <a:pt x="156719" y="1001240"/>
                  </a:lnTo>
                  <a:lnTo>
                    <a:pt x="160303" y="1000425"/>
                  </a:lnTo>
                  <a:lnTo>
                    <a:pt x="164212" y="1003357"/>
                  </a:lnTo>
                  <a:lnTo>
                    <a:pt x="158185" y="1004824"/>
                  </a:lnTo>
                  <a:lnTo>
                    <a:pt x="146618" y="1001891"/>
                  </a:lnTo>
                  <a:lnTo>
                    <a:pt x="142546" y="1003032"/>
                  </a:lnTo>
                  <a:lnTo>
                    <a:pt x="139939" y="1000262"/>
                  </a:lnTo>
                  <a:cubicBezTo>
                    <a:pt x="139939" y="1000262"/>
                    <a:pt x="144663" y="998959"/>
                    <a:pt x="144663" y="998796"/>
                  </a:cubicBezTo>
                  <a:lnTo>
                    <a:pt x="144663" y="998796"/>
                  </a:lnTo>
                  <a:close/>
                  <a:moveTo>
                    <a:pt x="186857" y="992443"/>
                  </a:moveTo>
                  <a:lnTo>
                    <a:pt x="182132" y="989347"/>
                  </a:lnTo>
                  <a:lnTo>
                    <a:pt x="175942" y="990162"/>
                  </a:lnTo>
                  <a:lnTo>
                    <a:pt x="174313" y="995375"/>
                  </a:lnTo>
                  <a:lnTo>
                    <a:pt x="181481" y="995375"/>
                  </a:lnTo>
                  <a:lnTo>
                    <a:pt x="187020" y="992605"/>
                  </a:lnTo>
                  <a:lnTo>
                    <a:pt x="187020" y="992605"/>
                  </a:lnTo>
                  <a:close/>
                  <a:moveTo>
                    <a:pt x="215040" y="990651"/>
                  </a:moveTo>
                  <a:lnTo>
                    <a:pt x="212759" y="984134"/>
                  </a:lnTo>
                  <a:lnTo>
                    <a:pt x="210479" y="988859"/>
                  </a:lnTo>
                  <a:lnTo>
                    <a:pt x="214877" y="990488"/>
                  </a:lnTo>
                  <a:lnTo>
                    <a:pt x="214877" y="990488"/>
                  </a:lnTo>
                  <a:close/>
                  <a:moveTo>
                    <a:pt x="234100" y="982342"/>
                  </a:moveTo>
                  <a:lnTo>
                    <a:pt x="229376" y="977944"/>
                  </a:lnTo>
                  <a:lnTo>
                    <a:pt x="224978" y="982016"/>
                  </a:lnTo>
                  <a:lnTo>
                    <a:pt x="224652" y="986578"/>
                  </a:lnTo>
                  <a:lnTo>
                    <a:pt x="230191" y="982016"/>
                  </a:lnTo>
                  <a:lnTo>
                    <a:pt x="234263" y="982342"/>
                  </a:lnTo>
                  <a:lnTo>
                    <a:pt x="234263" y="982342"/>
                  </a:lnTo>
                  <a:close/>
                  <a:moveTo>
                    <a:pt x="246807" y="981528"/>
                  </a:moveTo>
                  <a:lnTo>
                    <a:pt x="243875" y="978921"/>
                  </a:lnTo>
                  <a:lnTo>
                    <a:pt x="240780" y="981365"/>
                  </a:lnTo>
                  <a:lnTo>
                    <a:pt x="244201" y="982994"/>
                  </a:lnTo>
                  <a:lnTo>
                    <a:pt x="246807" y="981528"/>
                  </a:lnTo>
                  <a:lnTo>
                    <a:pt x="246807" y="981528"/>
                  </a:lnTo>
                  <a:close/>
                  <a:moveTo>
                    <a:pt x="248762" y="973545"/>
                  </a:moveTo>
                  <a:lnTo>
                    <a:pt x="247459" y="970613"/>
                  </a:lnTo>
                  <a:lnTo>
                    <a:pt x="244038" y="973708"/>
                  </a:lnTo>
                  <a:lnTo>
                    <a:pt x="248762" y="973708"/>
                  </a:lnTo>
                  <a:close/>
                  <a:moveTo>
                    <a:pt x="249740" y="976640"/>
                  </a:moveTo>
                  <a:lnTo>
                    <a:pt x="253487" y="979573"/>
                  </a:lnTo>
                  <a:lnTo>
                    <a:pt x="257234" y="977129"/>
                  </a:lnTo>
                  <a:lnTo>
                    <a:pt x="255279" y="974360"/>
                  </a:lnTo>
                  <a:lnTo>
                    <a:pt x="249903" y="976640"/>
                  </a:lnTo>
                  <a:lnTo>
                    <a:pt x="249903" y="976640"/>
                  </a:lnTo>
                  <a:close/>
                  <a:moveTo>
                    <a:pt x="308876" y="949272"/>
                  </a:moveTo>
                  <a:lnTo>
                    <a:pt x="310505" y="954648"/>
                  </a:lnTo>
                  <a:lnTo>
                    <a:pt x="313600" y="955788"/>
                  </a:lnTo>
                  <a:lnTo>
                    <a:pt x="308550" y="957743"/>
                  </a:lnTo>
                  <a:lnTo>
                    <a:pt x="306921" y="962467"/>
                  </a:lnTo>
                  <a:lnTo>
                    <a:pt x="299427" y="965237"/>
                  </a:lnTo>
                  <a:lnTo>
                    <a:pt x="291282" y="974197"/>
                  </a:lnTo>
                  <a:lnTo>
                    <a:pt x="284439" y="974197"/>
                  </a:lnTo>
                  <a:cubicBezTo>
                    <a:pt x="284439" y="974197"/>
                    <a:pt x="278900" y="980713"/>
                    <a:pt x="278900" y="980713"/>
                  </a:cubicBezTo>
                  <a:lnTo>
                    <a:pt x="269289" y="980713"/>
                  </a:lnTo>
                  <a:cubicBezTo>
                    <a:pt x="269289" y="980713"/>
                    <a:pt x="274339" y="976477"/>
                    <a:pt x="274339" y="976477"/>
                  </a:cubicBezTo>
                  <a:lnTo>
                    <a:pt x="277271" y="976477"/>
                  </a:lnTo>
                  <a:cubicBezTo>
                    <a:pt x="277271" y="976477"/>
                    <a:pt x="280692" y="970613"/>
                    <a:pt x="280692" y="970613"/>
                  </a:cubicBezTo>
                  <a:lnTo>
                    <a:pt x="283788" y="968821"/>
                  </a:lnTo>
                  <a:lnTo>
                    <a:pt x="283788" y="966214"/>
                  </a:lnTo>
                  <a:lnTo>
                    <a:pt x="289978" y="960838"/>
                  </a:lnTo>
                  <a:lnTo>
                    <a:pt x="295029" y="959861"/>
                  </a:lnTo>
                  <a:lnTo>
                    <a:pt x="296983" y="955136"/>
                  </a:lnTo>
                  <a:lnTo>
                    <a:pt x="295680" y="952204"/>
                  </a:lnTo>
                  <a:lnTo>
                    <a:pt x="303826" y="951878"/>
                  </a:lnTo>
                  <a:cubicBezTo>
                    <a:pt x="303826" y="951878"/>
                    <a:pt x="308550" y="949597"/>
                    <a:pt x="308550" y="949272"/>
                  </a:cubicBezTo>
                  <a:lnTo>
                    <a:pt x="308550" y="949272"/>
                  </a:lnTo>
                  <a:close/>
                  <a:moveTo>
                    <a:pt x="351721" y="932003"/>
                  </a:moveTo>
                  <a:lnTo>
                    <a:pt x="347322" y="932492"/>
                  </a:lnTo>
                  <a:lnTo>
                    <a:pt x="342272" y="936890"/>
                  </a:lnTo>
                  <a:lnTo>
                    <a:pt x="342272" y="940800"/>
                  </a:lnTo>
                  <a:lnTo>
                    <a:pt x="346345" y="944710"/>
                  </a:lnTo>
                  <a:lnTo>
                    <a:pt x="344390" y="946176"/>
                  </a:lnTo>
                  <a:lnTo>
                    <a:pt x="339177" y="943733"/>
                  </a:lnTo>
                  <a:lnTo>
                    <a:pt x="334778" y="947480"/>
                  </a:lnTo>
                  <a:lnTo>
                    <a:pt x="335104" y="950738"/>
                  </a:lnTo>
                  <a:lnTo>
                    <a:pt x="332661" y="951552"/>
                  </a:lnTo>
                  <a:lnTo>
                    <a:pt x="328099" y="957091"/>
                  </a:lnTo>
                  <a:lnTo>
                    <a:pt x="325167" y="957417"/>
                  </a:lnTo>
                  <a:lnTo>
                    <a:pt x="319139" y="961653"/>
                  </a:lnTo>
                  <a:lnTo>
                    <a:pt x="314578" y="961653"/>
                  </a:lnTo>
                  <a:cubicBezTo>
                    <a:pt x="314578" y="961653"/>
                    <a:pt x="311319" y="962141"/>
                    <a:pt x="311319" y="962141"/>
                  </a:cubicBezTo>
                  <a:lnTo>
                    <a:pt x="314578" y="965400"/>
                  </a:lnTo>
                  <a:lnTo>
                    <a:pt x="322723" y="965400"/>
                  </a:lnTo>
                  <a:cubicBezTo>
                    <a:pt x="322723" y="965400"/>
                    <a:pt x="329891" y="963119"/>
                    <a:pt x="329891" y="963119"/>
                  </a:cubicBezTo>
                  <a:lnTo>
                    <a:pt x="335267" y="956765"/>
                  </a:lnTo>
                  <a:lnTo>
                    <a:pt x="335919" y="961327"/>
                  </a:lnTo>
                  <a:lnTo>
                    <a:pt x="338525" y="962304"/>
                  </a:lnTo>
                  <a:lnTo>
                    <a:pt x="340317" y="957417"/>
                  </a:lnTo>
                  <a:lnTo>
                    <a:pt x="341783" y="953344"/>
                  </a:lnTo>
                  <a:lnTo>
                    <a:pt x="344716" y="954322"/>
                  </a:lnTo>
                  <a:lnTo>
                    <a:pt x="346019" y="957091"/>
                  </a:lnTo>
                  <a:lnTo>
                    <a:pt x="348626" y="956440"/>
                  </a:lnTo>
                  <a:lnTo>
                    <a:pt x="352535" y="951552"/>
                  </a:lnTo>
                  <a:lnTo>
                    <a:pt x="359378" y="948294"/>
                  </a:lnTo>
                  <a:lnTo>
                    <a:pt x="359378" y="946176"/>
                  </a:lnTo>
                  <a:cubicBezTo>
                    <a:pt x="359378" y="946176"/>
                    <a:pt x="355305" y="945036"/>
                    <a:pt x="355305" y="945036"/>
                  </a:cubicBezTo>
                  <a:lnTo>
                    <a:pt x="360355" y="941289"/>
                  </a:lnTo>
                  <a:lnTo>
                    <a:pt x="359052" y="936728"/>
                  </a:lnTo>
                  <a:lnTo>
                    <a:pt x="353513" y="935099"/>
                  </a:lnTo>
                  <a:lnTo>
                    <a:pt x="351721" y="931840"/>
                  </a:lnTo>
                  <a:lnTo>
                    <a:pt x="351721" y="931840"/>
                  </a:lnTo>
                  <a:close/>
                  <a:moveTo>
                    <a:pt x="367849" y="939334"/>
                  </a:moveTo>
                  <a:lnTo>
                    <a:pt x="367849" y="936402"/>
                  </a:lnTo>
                  <a:cubicBezTo>
                    <a:pt x="367849" y="936402"/>
                    <a:pt x="363939" y="934121"/>
                    <a:pt x="363939" y="934121"/>
                  </a:cubicBezTo>
                  <a:lnTo>
                    <a:pt x="363450" y="937216"/>
                  </a:lnTo>
                  <a:lnTo>
                    <a:pt x="367849" y="939334"/>
                  </a:lnTo>
                  <a:lnTo>
                    <a:pt x="367849" y="939334"/>
                  </a:lnTo>
                  <a:close/>
                  <a:moveTo>
                    <a:pt x="393751" y="935424"/>
                  </a:moveTo>
                  <a:lnTo>
                    <a:pt x="393263" y="932981"/>
                  </a:lnTo>
                  <a:lnTo>
                    <a:pt x="397824" y="932981"/>
                  </a:lnTo>
                  <a:cubicBezTo>
                    <a:pt x="397824" y="932981"/>
                    <a:pt x="399290" y="935587"/>
                    <a:pt x="399290" y="935587"/>
                  </a:cubicBezTo>
                  <a:lnTo>
                    <a:pt x="394729" y="936239"/>
                  </a:lnTo>
                  <a:lnTo>
                    <a:pt x="393751" y="935424"/>
                  </a:lnTo>
                  <a:lnTo>
                    <a:pt x="393751" y="935424"/>
                  </a:lnTo>
                  <a:close/>
                  <a:moveTo>
                    <a:pt x="385117" y="936402"/>
                  </a:moveTo>
                  <a:lnTo>
                    <a:pt x="387724" y="934121"/>
                  </a:lnTo>
                  <a:lnTo>
                    <a:pt x="390330" y="936565"/>
                  </a:lnTo>
                  <a:lnTo>
                    <a:pt x="385117" y="936565"/>
                  </a:lnTo>
                  <a:close/>
                  <a:moveTo>
                    <a:pt x="382022" y="931515"/>
                  </a:moveTo>
                  <a:lnTo>
                    <a:pt x="383162" y="927768"/>
                  </a:lnTo>
                  <a:lnTo>
                    <a:pt x="383162" y="923695"/>
                  </a:lnTo>
                  <a:cubicBezTo>
                    <a:pt x="383162" y="923695"/>
                    <a:pt x="385117" y="924347"/>
                    <a:pt x="385117" y="924347"/>
                  </a:cubicBezTo>
                  <a:lnTo>
                    <a:pt x="386421" y="929560"/>
                  </a:lnTo>
                  <a:lnTo>
                    <a:pt x="382022" y="931515"/>
                  </a:lnTo>
                  <a:lnTo>
                    <a:pt x="382022" y="931515"/>
                  </a:lnTo>
                  <a:close/>
                  <a:moveTo>
                    <a:pt x="373714" y="926790"/>
                  </a:moveTo>
                  <a:lnTo>
                    <a:pt x="368663" y="928419"/>
                  </a:lnTo>
                  <a:lnTo>
                    <a:pt x="368989" y="932329"/>
                  </a:lnTo>
                  <a:lnTo>
                    <a:pt x="373551" y="936076"/>
                  </a:lnTo>
                  <a:lnTo>
                    <a:pt x="377298" y="933958"/>
                  </a:lnTo>
                  <a:lnTo>
                    <a:pt x="378601" y="931515"/>
                  </a:lnTo>
                  <a:lnTo>
                    <a:pt x="375831" y="930537"/>
                  </a:lnTo>
                  <a:lnTo>
                    <a:pt x="373877" y="926953"/>
                  </a:lnTo>
                  <a:lnTo>
                    <a:pt x="373877" y="926953"/>
                  </a:lnTo>
                  <a:close/>
                  <a:moveTo>
                    <a:pt x="609932" y="718918"/>
                  </a:moveTo>
                  <a:lnTo>
                    <a:pt x="608466" y="716963"/>
                  </a:lnTo>
                  <a:lnTo>
                    <a:pt x="613027" y="715171"/>
                  </a:lnTo>
                  <a:lnTo>
                    <a:pt x="611724" y="718103"/>
                  </a:lnTo>
                  <a:lnTo>
                    <a:pt x="609932" y="718918"/>
                  </a:lnTo>
                  <a:lnTo>
                    <a:pt x="609932" y="718918"/>
                  </a:lnTo>
                  <a:close/>
                  <a:moveTo>
                    <a:pt x="599669" y="721199"/>
                  </a:moveTo>
                  <a:lnTo>
                    <a:pt x="597062" y="720058"/>
                  </a:lnTo>
                  <a:lnTo>
                    <a:pt x="597551" y="715660"/>
                  </a:lnTo>
                  <a:lnTo>
                    <a:pt x="603578" y="711913"/>
                  </a:lnTo>
                  <a:lnTo>
                    <a:pt x="607814" y="709469"/>
                  </a:lnTo>
                  <a:lnTo>
                    <a:pt x="608303" y="712076"/>
                  </a:lnTo>
                  <a:lnTo>
                    <a:pt x="602601" y="719081"/>
                  </a:lnTo>
                  <a:lnTo>
                    <a:pt x="599506" y="721525"/>
                  </a:lnTo>
                  <a:lnTo>
                    <a:pt x="599506" y="721525"/>
                  </a:lnTo>
                  <a:close/>
                  <a:moveTo>
                    <a:pt x="403852" y="915224"/>
                  </a:moveTo>
                  <a:lnTo>
                    <a:pt x="405318" y="910662"/>
                  </a:lnTo>
                  <a:lnTo>
                    <a:pt x="407436" y="908219"/>
                  </a:lnTo>
                  <a:lnTo>
                    <a:pt x="409879" y="909033"/>
                  </a:lnTo>
                  <a:lnTo>
                    <a:pt x="414278" y="905938"/>
                  </a:lnTo>
                  <a:lnTo>
                    <a:pt x="416233" y="904797"/>
                  </a:lnTo>
                  <a:lnTo>
                    <a:pt x="420306" y="896326"/>
                  </a:lnTo>
                  <a:lnTo>
                    <a:pt x="422098" y="896652"/>
                  </a:lnTo>
                  <a:lnTo>
                    <a:pt x="426822" y="900725"/>
                  </a:lnTo>
                  <a:lnTo>
                    <a:pt x="429266" y="898607"/>
                  </a:lnTo>
                  <a:lnTo>
                    <a:pt x="433990" y="899096"/>
                  </a:lnTo>
                  <a:lnTo>
                    <a:pt x="438063" y="897304"/>
                  </a:lnTo>
                  <a:lnTo>
                    <a:pt x="439366" y="895023"/>
                  </a:lnTo>
                  <a:lnTo>
                    <a:pt x="446208" y="895512"/>
                  </a:lnTo>
                  <a:lnTo>
                    <a:pt x="449466" y="900073"/>
                  </a:lnTo>
                  <a:lnTo>
                    <a:pt x="447023" y="904635"/>
                  </a:lnTo>
                  <a:lnTo>
                    <a:pt x="453865" y="911151"/>
                  </a:lnTo>
                  <a:lnTo>
                    <a:pt x="453865" y="913757"/>
                  </a:lnTo>
                  <a:cubicBezTo>
                    <a:pt x="453865" y="913757"/>
                    <a:pt x="447186" y="912128"/>
                    <a:pt x="447186" y="912128"/>
                  </a:cubicBezTo>
                  <a:lnTo>
                    <a:pt x="443439" y="915386"/>
                  </a:lnTo>
                  <a:lnTo>
                    <a:pt x="435619" y="916364"/>
                  </a:lnTo>
                  <a:lnTo>
                    <a:pt x="430243" y="914735"/>
                  </a:lnTo>
                  <a:lnTo>
                    <a:pt x="420957" y="914735"/>
                  </a:lnTo>
                  <a:cubicBezTo>
                    <a:pt x="420957" y="914735"/>
                    <a:pt x="415581" y="920762"/>
                    <a:pt x="415581" y="920762"/>
                  </a:cubicBezTo>
                  <a:lnTo>
                    <a:pt x="413463" y="920437"/>
                  </a:lnTo>
                  <a:lnTo>
                    <a:pt x="409717" y="922229"/>
                  </a:lnTo>
                  <a:lnTo>
                    <a:pt x="404829" y="919622"/>
                  </a:lnTo>
                  <a:lnTo>
                    <a:pt x="403689" y="915224"/>
                  </a:lnTo>
                  <a:close/>
                </a:path>
              </a:pathLst>
            </a:custGeom>
            <a:solidFill>
              <a:schemeClr val="bg2"/>
            </a:solidFill>
            <a:ln w="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51" name="Forma livre: Forma 50">
              <a:extLst>
                <a:ext uri="{FF2B5EF4-FFF2-40B4-BE49-F238E27FC236}">
                  <a16:creationId xmlns:a16="http://schemas.microsoft.com/office/drawing/2014/main" id="{CD04CCA7-E2FF-FDCD-3BE2-3AF90E5760B6}"/>
                </a:ext>
              </a:extLst>
            </p:cNvPr>
            <p:cNvSpPr/>
            <p:nvPr/>
          </p:nvSpPr>
          <p:spPr>
            <a:xfrm>
              <a:off x="3867176" y="4433299"/>
              <a:ext cx="7071" cy="4713"/>
            </a:xfrm>
            <a:custGeom>
              <a:avLst/>
              <a:gdLst>
                <a:gd name="connsiteX0" fmla="*/ 6842 w 6842"/>
                <a:gd name="connsiteY0" fmla="*/ 0 h 4561"/>
                <a:gd name="connsiteX1" fmla="*/ 1792 w 6842"/>
                <a:gd name="connsiteY1" fmla="*/ 326 h 4561"/>
                <a:gd name="connsiteX2" fmla="*/ 0 w 6842"/>
                <a:gd name="connsiteY2" fmla="*/ 4561 h 4561"/>
                <a:gd name="connsiteX3" fmla="*/ 5213 w 6842"/>
                <a:gd name="connsiteY3" fmla="*/ 3747 h 4561"/>
                <a:gd name="connsiteX4" fmla="*/ 6842 w 6842"/>
                <a:gd name="connsiteY4" fmla="*/ 0 h 45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842" h="4561">
                  <a:moveTo>
                    <a:pt x="6842" y="0"/>
                  </a:moveTo>
                  <a:lnTo>
                    <a:pt x="1792" y="326"/>
                  </a:lnTo>
                  <a:lnTo>
                    <a:pt x="0" y="4561"/>
                  </a:lnTo>
                  <a:lnTo>
                    <a:pt x="5213" y="3747"/>
                  </a:lnTo>
                  <a:lnTo>
                    <a:pt x="6842" y="0"/>
                  </a:lnTo>
                  <a:close/>
                </a:path>
              </a:pathLst>
            </a:custGeom>
            <a:solidFill>
              <a:schemeClr val="bg2"/>
            </a:solidFill>
            <a:ln w="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52" name="Forma livre: Forma 51">
              <a:extLst>
                <a:ext uri="{FF2B5EF4-FFF2-40B4-BE49-F238E27FC236}">
                  <a16:creationId xmlns:a16="http://schemas.microsoft.com/office/drawing/2014/main" id="{60F9943A-FB2B-8790-D56C-0679A13369BE}"/>
                </a:ext>
              </a:extLst>
            </p:cNvPr>
            <p:cNvSpPr/>
            <p:nvPr/>
          </p:nvSpPr>
          <p:spPr>
            <a:xfrm>
              <a:off x="3946469" y="4457036"/>
              <a:ext cx="59427" cy="23906"/>
            </a:xfrm>
            <a:custGeom>
              <a:avLst/>
              <a:gdLst>
                <a:gd name="connsiteX0" fmla="*/ 7168 w 57506"/>
                <a:gd name="connsiteY0" fmla="*/ 1466 h 23133"/>
                <a:gd name="connsiteX1" fmla="*/ 12870 w 57506"/>
                <a:gd name="connsiteY1" fmla="*/ 1955 h 23133"/>
                <a:gd name="connsiteX2" fmla="*/ 22482 w 57506"/>
                <a:gd name="connsiteY2" fmla="*/ 0 h 23133"/>
                <a:gd name="connsiteX3" fmla="*/ 42031 w 57506"/>
                <a:gd name="connsiteY3" fmla="*/ 1140 h 23133"/>
                <a:gd name="connsiteX4" fmla="*/ 46755 w 57506"/>
                <a:gd name="connsiteY4" fmla="*/ 8960 h 23133"/>
                <a:gd name="connsiteX5" fmla="*/ 53271 w 57506"/>
                <a:gd name="connsiteY5" fmla="*/ 10263 h 23133"/>
                <a:gd name="connsiteX6" fmla="*/ 57507 w 57506"/>
                <a:gd name="connsiteY6" fmla="*/ 14662 h 23133"/>
                <a:gd name="connsiteX7" fmla="*/ 56855 w 57506"/>
                <a:gd name="connsiteY7" fmla="*/ 17106 h 23133"/>
                <a:gd name="connsiteX8" fmla="*/ 48384 w 57506"/>
                <a:gd name="connsiteY8" fmla="*/ 17106 h 23133"/>
                <a:gd name="connsiteX9" fmla="*/ 44963 w 57506"/>
                <a:gd name="connsiteY9" fmla="*/ 15313 h 23133"/>
                <a:gd name="connsiteX10" fmla="*/ 43008 w 57506"/>
                <a:gd name="connsiteY10" fmla="*/ 19549 h 23133"/>
                <a:gd name="connsiteX11" fmla="*/ 40402 w 57506"/>
                <a:gd name="connsiteY11" fmla="*/ 20201 h 23133"/>
                <a:gd name="connsiteX12" fmla="*/ 38284 w 57506"/>
                <a:gd name="connsiteY12" fmla="*/ 17757 h 23133"/>
                <a:gd name="connsiteX13" fmla="*/ 33885 w 57506"/>
                <a:gd name="connsiteY13" fmla="*/ 17757 h 23133"/>
                <a:gd name="connsiteX14" fmla="*/ 33722 w 57506"/>
                <a:gd name="connsiteY14" fmla="*/ 23133 h 23133"/>
                <a:gd name="connsiteX15" fmla="*/ 27695 w 57506"/>
                <a:gd name="connsiteY15" fmla="*/ 22970 h 23133"/>
                <a:gd name="connsiteX16" fmla="*/ 23622 w 57506"/>
                <a:gd name="connsiteY16" fmla="*/ 19875 h 23133"/>
                <a:gd name="connsiteX17" fmla="*/ 17757 w 57506"/>
                <a:gd name="connsiteY17" fmla="*/ 20038 h 23133"/>
                <a:gd name="connsiteX18" fmla="*/ 14173 w 57506"/>
                <a:gd name="connsiteY18" fmla="*/ 17268 h 23133"/>
                <a:gd name="connsiteX19" fmla="*/ 11241 w 57506"/>
                <a:gd name="connsiteY19" fmla="*/ 10589 h 23133"/>
                <a:gd name="connsiteX20" fmla="*/ 8145 w 57506"/>
                <a:gd name="connsiteY20" fmla="*/ 9123 h 23133"/>
                <a:gd name="connsiteX21" fmla="*/ 4725 w 57506"/>
                <a:gd name="connsiteY21" fmla="*/ 10263 h 23133"/>
                <a:gd name="connsiteX22" fmla="*/ 0 w 57506"/>
                <a:gd name="connsiteY22" fmla="*/ 6516 h 23133"/>
                <a:gd name="connsiteX23" fmla="*/ 2932 w 57506"/>
                <a:gd name="connsiteY23" fmla="*/ 2281 h 23133"/>
                <a:gd name="connsiteX24" fmla="*/ 7168 w 57506"/>
                <a:gd name="connsiteY24" fmla="*/ 1466 h 231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57506" h="23133">
                  <a:moveTo>
                    <a:pt x="7168" y="1466"/>
                  </a:moveTo>
                  <a:lnTo>
                    <a:pt x="12870" y="1955"/>
                  </a:lnTo>
                  <a:lnTo>
                    <a:pt x="22482" y="0"/>
                  </a:lnTo>
                  <a:lnTo>
                    <a:pt x="42031" y="1140"/>
                  </a:lnTo>
                  <a:lnTo>
                    <a:pt x="46755" y="8960"/>
                  </a:lnTo>
                  <a:lnTo>
                    <a:pt x="53271" y="10263"/>
                  </a:lnTo>
                  <a:lnTo>
                    <a:pt x="57507" y="14662"/>
                  </a:lnTo>
                  <a:lnTo>
                    <a:pt x="56855" y="17106"/>
                  </a:lnTo>
                  <a:lnTo>
                    <a:pt x="48384" y="17106"/>
                  </a:lnTo>
                  <a:lnTo>
                    <a:pt x="44963" y="15313"/>
                  </a:lnTo>
                  <a:lnTo>
                    <a:pt x="43008" y="19549"/>
                  </a:lnTo>
                  <a:lnTo>
                    <a:pt x="40402" y="20201"/>
                  </a:lnTo>
                  <a:lnTo>
                    <a:pt x="38284" y="17757"/>
                  </a:lnTo>
                  <a:lnTo>
                    <a:pt x="33885" y="17757"/>
                  </a:lnTo>
                  <a:lnTo>
                    <a:pt x="33722" y="23133"/>
                  </a:lnTo>
                  <a:lnTo>
                    <a:pt x="27695" y="22970"/>
                  </a:lnTo>
                  <a:lnTo>
                    <a:pt x="23622" y="19875"/>
                  </a:lnTo>
                  <a:lnTo>
                    <a:pt x="17757" y="20038"/>
                  </a:lnTo>
                  <a:lnTo>
                    <a:pt x="14173" y="17268"/>
                  </a:lnTo>
                  <a:lnTo>
                    <a:pt x="11241" y="10589"/>
                  </a:lnTo>
                  <a:lnTo>
                    <a:pt x="8145" y="9123"/>
                  </a:lnTo>
                  <a:lnTo>
                    <a:pt x="4725" y="10263"/>
                  </a:lnTo>
                  <a:lnTo>
                    <a:pt x="0" y="6516"/>
                  </a:lnTo>
                  <a:lnTo>
                    <a:pt x="2932" y="2281"/>
                  </a:lnTo>
                  <a:lnTo>
                    <a:pt x="7168" y="1466"/>
                  </a:lnTo>
                  <a:close/>
                </a:path>
              </a:pathLst>
            </a:custGeom>
            <a:solidFill>
              <a:schemeClr val="bg2"/>
            </a:solidFill>
            <a:ln w="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53" name="Forma livre: Forma 52">
              <a:extLst>
                <a:ext uri="{FF2B5EF4-FFF2-40B4-BE49-F238E27FC236}">
                  <a16:creationId xmlns:a16="http://schemas.microsoft.com/office/drawing/2014/main" id="{72CE425C-2B28-CBB4-04B8-E4A3BD3D4188}"/>
                </a:ext>
              </a:extLst>
            </p:cNvPr>
            <p:cNvSpPr/>
            <p:nvPr/>
          </p:nvSpPr>
          <p:spPr>
            <a:xfrm>
              <a:off x="4051183" y="4409560"/>
              <a:ext cx="73737" cy="61952"/>
            </a:xfrm>
            <a:custGeom>
              <a:avLst/>
              <a:gdLst>
                <a:gd name="connsiteX0" fmla="*/ 60602 w 71354"/>
                <a:gd name="connsiteY0" fmla="*/ 56855 h 59950"/>
                <a:gd name="connsiteX1" fmla="*/ 60114 w 71354"/>
                <a:gd name="connsiteY1" fmla="*/ 54086 h 59950"/>
                <a:gd name="connsiteX2" fmla="*/ 66141 w 71354"/>
                <a:gd name="connsiteY2" fmla="*/ 47569 h 59950"/>
                <a:gd name="connsiteX3" fmla="*/ 66467 w 71354"/>
                <a:gd name="connsiteY3" fmla="*/ 44474 h 59950"/>
                <a:gd name="connsiteX4" fmla="*/ 66467 w 71354"/>
                <a:gd name="connsiteY4" fmla="*/ 40239 h 59950"/>
                <a:gd name="connsiteX5" fmla="*/ 64186 w 71354"/>
                <a:gd name="connsiteY5" fmla="*/ 34863 h 59950"/>
                <a:gd name="connsiteX6" fmla="*/ 65001 w 71354"/>
                <a:gd name="connsiteY6" fmla="*/ 32908 h 59950"/>
                <a:gd name="connsiteX7" fmla="*/ 69074 w 71354"/>
                <a:gd name="connsiteY7" fmla="*/ 30953 h 59950"/>
                <a:gd name="connsiteX8" fmla="*/ 70703 w 71354"/>
                <a:gd name="connsiteY8" fmla="*/ 25414 h 59950"/>
                <a:gd name="connsiteX9" fmla="*/ 68748 w 71354"/>
                <a:gd name="connsiteY9" fmla="*/ 21341 h 59950"/>
                <a:gd name="connsiteX10" fmla="*/ 71354 w 71354"/>
                <a:gd name="connsiteY10" fmla="*/ 16617 h 59950"/>
                <a:gd name="connsiteX11" fmla="*/ 70540 w 71354"/>
                <a:gd name="connsiteY11" fmla="*/ 14010 h 59950"/>
                <a:gd name="connsiteX12" fmla="*/ 70540 w 71354"/>
                <a:gd name="connsiteY12" fmla="*/ 14010 h 59950"/>
                <a:gd name="connsiteX13" fmla="*/ 65978 w 71354"/>
                <a:gd name="connsiteY13" fmla="*/ 13033 h 59950"/>
                <a:gd name="connsiteX14" fmla="*/ 61580 w 71354"/>
                <a:gd name="connsiteY14" fmla="*/ 14010 h 59950"/>
                <a:gd name="connsiteX15" fmla="*/ 57181 w 71354"/>
                <a:gd name="connsiteY15" fmla="*/ 9612 h 59950"/>
                <a:gd name="connsiteX16" fmla="*/ 46266 w 71354"/>
                <a:gd name="connsiteY16" fmla="*/ 8309 h 59950"/>
                <a:gd name="connsiteX17" fmla="*/ 43171 w 71354"/>
                <a:gd name="connsiteY17" fmla="*/ 10101 h 59950"/>
                <a:gd name="connsiteX18" fmla="*/ 38772 w 71354"/>
                <a:gd name="connsiteY18" fmla="*/ 8634 h 59950"/>
                <a:gd name="connsiteX19" fmla="*/ 29161 w 71354"/>
                <a:gd name="connsiteY19" fmla="*/ 8634 h 59950"/>
                <a:gd name="connsiteX20" fmla="*/ 27695 w 71354"/>
                <a:gd name="connsiteY20" fmla="*/ 11404 h 59950"/>
                <a:gd name="connsiteX21" fmla="*/ 32908 w 71354"/>
                <a:gd name="connsiteY21" fmla="*/ 14336 h 59950"/>
                <a:gd name="connsiteX22" fmla="*/ 46592 w 71354"/>
                <a:gd name="connsiteY22" fmla="*/ 18898 h 59950"/>
                <a:gd name="connsiteX23" fmla="*/ 45126 w 71354"/>
                <a:gd name="connsiteY23" fmla="*/ 21504 h 59950"/>
                <a:gd name="connsiteX24" fmla="*/ 46918 w 71354"/>
                <a:gd name="connsiteY24" fmla="*/ 25577 h 59950"/>
                <a:gd name="connsiteX25" fmla="*/ 45126 w 71354"/>
                <a:gd name="connsiteY25" fmla="*/ 32093 h 59950"/>
                <a:gd name="connsiteX26" fmla="*/ 47569 w 71354"/>
                <a:gd name="connsiteY26" fmla="*/ 36492 h 59950"/>
                <a:gd name="connsiteX27" fmla="*/ 52294 w 71354"/>
                <a:gd name="connsiteY27" fmla="*/ 37795 h 59950"/>
                <a:gd name="connsiteX28" fmla="*/ 57833 w 71354"/>
                <a:gd name="connsiteY28" fmla="*/ 42845 h 59950"/>
                <a:gd name="connsiteX29" fmla="*/ 56529 w 71354"/>
                <a:gd name="connsiteY29" fmla="*/ 45940 h 59950"/>
                <a:gd name="connsiteX30" fmla="*/ 46103 w 71354"/>
                <a:gd name="connsiteY30" fmla="*/ 45615 h 59950"/>
                <a:gd name="connsiteX31" fmla="*/ 44148 w 71354"/>
                <a:gd name="connsiteY31" fmla="*/ 47081 h 59950"/>
                <a:gd name="connsiteX32" fmla="*/ 39750 w 71354"/>
                <a:gd name="connsiteY32" fmla="*/ 45777 h 59950"/>
                <a:gd name="connsiteX33" fmla="*/ 33722 w 71354"/>
                <a:gd name="connsiteY33" fmla="*/ 46266 h 59950"/>
                <a:gd name="connsiteX34" fmla="*/ 28346 w 71354"/>
                <a:gd name="connsiteY34" fmla="*/ 43985 h 59950"/>
                <a:gd name="connsiteX35" fmla="*/ 22156 w 71354"/>
                <a:gd name="connsiteY35" fmla="*/ 46592 h 59950"/>
                <a:gd name="connsiteX36" fmla="*/ 21830 w 71354"/>
                <a:gd name="connsiteY36" fmla="*/ 43985 h 59950"/>
                <a:gd name="connsiteX37" fmla="*/ 19549 w 71354"/>
                <a:gd name="connsiteY37" fmla="*/ 43008 h 59950"/>
                <a:gd name="connsiteX38" fmla="*/ 11567 w 71354"/>
                <a:gd name="connsiteY38" fmla="*/ 44963 h 59950"/>
                <a:gd name="connsiteX39" fmla="*/ 7331 w 71354"/>
                <a:gd name="connsiteY39" fmla="*/ 40890 h 59950"/>
                <a:gd name="connsiteX40" fmla="*/ 1955 w 71354"/>
                <a:gd name="connsiteY40" fmla="*/ 43660 h 59950"/>
                <a:gd name="connsiteX41" fmla="*/ 0 w 71354"/>
                <a:gd name="connsiteY41" fmla="*/ 46755 h 59950"/>
                <a:gd name="connsiteX42" fmla="*/ 1792 w 71354"/>
                <a:gd name="connsiteY42" fmla="*/ 50991 h 59950"/>
                <a:gd name="connsiteX43" fmla="*/ 7820 w 71354"/>
                <a:gd name="connsiteY43" fmla="*/ 51805 h 59950"/>
                <a:gd name="connsiteX44" fmla="*/ 14010 w 71354"/>
                <a:gd name="connsiteY44" fmla="*/ 58973 h 59950"/>
                <a:gd name="connsiteX45" fmla="*/ 16780 w 71354"/>
                <a:gd name="connsiteY45" fmla="*/ 59951 h 59950"/>
                <a:gd name="connsiteX46" fmla="*/ 17268 w 71354"/>
                <a:gd name="connsiteY46" fmla="*/ 55552 h 59950"/>
                <a:gd name="connsiteX47" fmla="*/ 20038 w 71354"/>
                <a:gd name="connsiteY47" fmla="*/ 53271 h 59950"/>
                <a:gd name="connsiteX48" fmla="*/ 31279 w 71354"/>
                <a:gd name="connsiteY48" fmla="*/ 53271 h 59950"/>
                <a:gd name="connsiteX49" fmla="*/ 36003 w 71354"/>
                <a:gd name="connsiteY49" fmla="*/ 55878 h 59950"/>
                <a:gd name="connsiteX50" fmla="*/ 50013 w 71354"/>
                <a:gd name="connsiteY50" fmla="*/ 56204 h 59950"/>
                <a:gd name="connsiteX51" fmla="*/ 52620 w 71354"/>
                <a:gd name="connsiteY51" fmla="*/ 54575 h 59950"/>
                <a:gd name="connsiteX52" fmla="*/ 56855 w 71354"/>
                <a:gd name="connsiteY52" fmla="*/ 56529 h 59950"/>
                <a:gd name="connsiteX53" fmla="*/ 60602 w 71354"/>
                <a:gd name="connsiteY53" fmla="*/ 56855 h 59950"/>
                <a:gd name="connsiteX54" fmla="*/ 60602 w 71354"/>
                <a:gd name="connsiteY54" fmla="*/ 56855 h 59950"/>
                <a:gd name="connsiteX55" fmla="*/ 40727 w 71354"/>
                <a:gd name="connsiteY55" fmla="*/ 2607 h 59950"/>
                <a:gd name="connsiteX56" fmla="*/ 45289 w 71354"/>
                <a:gd name="connsiteY56" fmla="*/ 0 h 59950"/>
                <a:gd name="connsiteX57" fmla="*/ 54086 w 71354"/>
                <a:gd name="connsiteY57" fmla="*/ 5213 h 59950"/>
                <a:gd name="connsiteX58" fmla="*/ 44474 w 71354"/>
                <a:gd name="connsiteY58" fmla="*/ 5213 h 59950"/>
                <a:gd name="connsiteX59" fmla="*/ 40564 w 71354"/>
                <a:gd name="connsiteY59" fmla="*/ 2607 h 59950"/>
                <a:gd name="connsiteX60" fmla="*/ 40564 w 71354"/>
                <a:gd name="connsiteY60" fmla="*/ 2607 h 59950"/>
                <a:gd name="connsiteX61" fmla="*/ 31116 w 71354"/>
                <a:gd name="connsiteY61" fmla="*/ 34374 h 59950"/>
                <a:gd name="connsiteX62" fmla="*/ 35514 w 71354"/>
                <a:gd name="connsiteY62" fmla="*/ 32093 h 59950"/>
                <a:gd name="connsiteX63" fmla="*/ 40564 w 71354"/>
                <a:gd name="connsiteY63" fmla="*/ 35840 h 59950"/>
                <a:gd name="connsiteX64" fmla="*/ 41705 w 71354"/>
                <a:gd name="connsiteY64" fmla="*/ 39750 h 59950"/>
                <a:gd name="connsiteX65" fmla="*/ 34537 w 71354"/>
                <a:gd name="connsiteY65" fmla="*/ 37143 h 59950"/>
                <a:gd name="connsiteX66" fmla="*/ 31279 w 71354"/>
                <a:gd name="connsiteY66" fmla="*/ 34374 h 599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71354" h="59950">
                  <a:moveTo>
                    <a:pt x="60602" y="56855"/>
                  </a:moveTo>
                  <a:lnTo>
                    <a:pt x="60114" y="54086"/>
                  </a:lnTo>
                  <a:lnTo>
                    <a:pt x="66141" y="47569"/>
                  </a:lnTo>
                  <a:lnTo>
                    <a:pt x="66467" y="44474"/>
                  </a:lnTo>
                  <a:lnTo>
                    <a:pt x="66467" y="40239"/>
                  </a:lnTo>
                  <a:cubicBezTo>
                    <a:pt x="66467" y="40239"/>
                    <a:pt x="64186" y="34863"/>
                    <a:pt x="64186" y="34863"/>
                  </a:cubicBezTo>
                  <a:lnTo>
                    <a:pt x="65001" y="32908"/>
                  </a:lnTo>
                  <a:lnTo>
                    <a:pt x="69074" y="30953"/>
                  </a:lnTo>
                  <a:lnTo>
                    <a:pt x="70703" y="25414"/>
                  </a:lnTo>
                  <a:lnTo>
                    <a:pt x="68748" y="21341"/>
                  </a:lnTo>
                  <a:lnTo>
                    <a:pt x="71354" y="16617"/>
                  </a:lnTo>
                  <a:lnTo>
                    <a:pt x="70540" y="14010"/>
                  </a:lnTo>
                  <a:lnTo>
                    <a:pt x="70540" y="14010"/>
                  </a:lnTo>
                  <a:cubicBezTo>
                    <a:pt x="70540" y="14010"/>
                    <a:pt x="65978" y="13033"/>
                    <a:pt x="65978" y="13033"/>
                  </a:cubicBezTo>
                  <a:lnTo>
                    <a:pt x="61580" y="14010"/>
                  </a:lnTo>
                  <a:lnTo>
                    <a:pt x="57181" y="9612"/>
                  </a:lnTo>
                  <a:lnTo>
                    <a:pt x="46266" y="8309"/>
                  </a:lnTo>
                  <a:lnTo>
                    <a:pt x="43171" y="10101"/>
                  </a:lnTo>
                  <a:lnTo>
                    <a:pt x="38772" y="8634"/>
                  </a:lnTo>
                  <a:lnTo>
                    <a:pt x="29161" y="8634"/>
                  </a:lnTo>
                  <a:lnTo>
                    <a:pt x="27695" y="11404"/>
                  </a:lnTo>
                  <a:cubicBezTo>
                    <a:pt x="27695" y="11404"/>
                    <a:pt x="32908" y="14336"/>
                    <a:pt x="32908" y="14336"/>
                  </a:cubicBezTo>
                  <a:lnTo>
                    <a:pt x="46592" y="18898"/>
                  </a:lnTo>
                  <a:lnTo>
                    <a:pt x="45126" y="21504"/>
                  </a:lnTo>
                  <a:lnTo>
                    <a:pt x="46918" y="25577"/>
                  </a:lnTo>
                  <a:lnTo>
                    <a:pt x="45126" y="32093"/>
                  </a:lnTo>
                  <a:lnTo>
                    <a:pt x="47569" y="36492"/>
                  </a:lnTo>
                  <a:lnTo>
                    <a:pt x="52294" y="37795"/>
                  </a:lnTo>
                  <a:lnTo>
                    <a:pt x="57833" y="42845"/>
                  </a:lnTo>
                  <a:lnTo>
                    <a:pt x="56529" y="45940"/>
                  </a:lnTo>
                  <a:lnTo>
                    <a:pt x="46103" y="45615"/>
                  </a:lnTo>
                  <a:lnTo>
                    <a:pt x="44148" y="47081"/>
                  </a:lnTo>
                  <a:lnTo>
                    <a:pt x="39750" y="45777"/>
                  </a:lnTo>
                  <a:lnTo>
                    <a:pt x="33722" y="46266"/>
                  </a:lnTo>
                  <a:lnTo>
                    <a:pt x="28346" y="43985"/>
                  </a:lnTo>
                  <a:lnTo>
                    <a:pt x="22156" y="46592"/>
                  </a:lnTo>
                  <a:lnTo>
                    <a:pt x="21830" y="43985"/>
                  </a:lnTo>
                  <a:lnTo>
                    <a:pt x="19549" y="43008"/>
                  </a:lnTo>
                  <a:lnTo>
                    <a:pt x="11567" y="44963"/>
                  </a:lnTo>
                  <a:lnTo>
                    <a:pt x="7331" y="40890"/>
                  </a:lnTo>
                  <a:lnTo>
                    <a:pt x="1955" y="43660"/>
                  </a:lnTo>
                  <a:lnTo>
                    <a:pt x="0" y="46755"/>
                  </a:lnTo>
                  <a:lnTo>
                    <a:pt x="1792" y="50991"/>
                  </a:lnTo>
                  <a:lnTo>
                    <a:pt x="7820" y="51805"/>
                  </a:lnTo>
                  <a:lnTo>
                    <a:pt x="14010" y="58973"/>
                  </a:lnTo>
                  <a:lnTo>
                    <a:pt x="16780" y="59951"/>
                  </a:lnTo>
                  <a:lnTo>
                    <a:pt x="17268" y="55552"/>
                  </a:lnTo>
                  <a:lnTo>
                    <a:pt x="20038" y="53271"/>
                  </a:lnTo>
                  <a:lnTo>
                    <a:pt x="31279" y="53271"/>
                  </a:lnTo>
                  <a:lnTo>
                    <a:pt x="36003" y="55878"/>
                  </a:lnTo>
                  <a:lnTo>
                    <a:pt x="50013" y="56204"/>
                  </a:lnTo>
                  <a:lnTo>
                    <a:pt x="52620" y="54575"/>
                  </a:lnTo>
                  <a:lnTo>
                    <a:pt x="56855" y="56529"/>
                  </a:lnTo>
                  <a:lnTo>
                    <a:pt x="60602" y="56855"/>
                  </a:lnTo>
                  <a:lnTo>
                    <a:pt x="60602" y="56855"/>
                  </a:lnTo>
                  <a:close/>
                  <a:moveTo>
                    <a:pt x="40727" y="2607"/>
                  </a:moveTo>
                  <a:lnTo>
                    <a:pt x="45289" y="0"/>
                  </a:lnTo>
                  <a:lnTo>
                    <a:pt x="54086" y="5213"/>
                  </a:lnTo>
                  <a:lnTo>
                    <a:pt x="44474" y="5213"/>
                  </a:lnTo>
                  <a:cubicBezTo>
                    <a:pt x="44474" y="5213"/>
                    <a:pt x="40564" y="2607"/>
                    <a:pt x="40564" y="2607"/>
                  </a:cubicBezTo>
                  <a:lnTo>
                    <a:pt x="40564" y="2607"/>
                  </a:lnTo>
                  <a:close/>
                  <a:moveTo>
                    <a:pt x="31116" y="34374"/>
                  </a:moveTo>
                  <a:lnTo>
                    <a:pt x="35514" y="32093"/>
                  </a:lnTo>
                  <a:lnTo>
                    <a:pt x="40564" y="35840"/>
                  </a:lnTo>
                  <a:lnTo>
                    <a:pt x="41705" y="39750"/>
                  </a:lnTo>
                  <a:lnTo>
                    <a:pt x="34537" y="37143"/>
                  </a:lnTo>
                  <a:lnTo>
                    <a:pt x="31279" y="34374"/>
                  </a:lnTo>
                  <a:close/>
                </a:path>
              </a:pathLst>
            </a:custGeom>
            <a:solidFill>
              <a:schemeClr val="bg2"/>
            </a:solidFill>
            <a:ln w="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54" name="Forma livre: Forma 53">
              <a:extLst>
                <a:ext uri="{FF2B5EF4-FFF2-40B4-BE49-F238E27FC236}">
                  <a16:creationId xmlns:a16="http://schemas.microsoft.com/office/drawing/2014/main" id="{186EBB96-F2DE-15B5-061D-4F87DC6E1B5B}"/>
                </a:ext>
              </a:extLst>
            </p:cNvPr>
            <p:cNvSpPr/>
            <p:nvPr/>
          </p:nvSpPr>
          <p:spPr>
            <a:xfrm>
              <a:off x="3779465" y="4321008"/>
              <a:ext cx="281482" cy="100841"/>
            </a:xfrm>
            <a:custGeom>
              <a:avLst/>
              <a:gdLst>
                <a:gd name="connsiteX0" fmla="*/ 51317 w 272384"/>
                <a:gd name="connsiteY0" fmla="*/ 40076 h 97582"/>
                <a:gd name="connsiteX1" fmla="*/ 53109 w 272384"/>
                <a:gd name="connsiteY1" fmla="*/ 36329 h 97582"/>
                <a:gd name="connsiteX2" fmla="*/ 57670 w 272384"/>
                <a:gd name="connsiteY2" fmla="*/ 37306 h 97582"/>
                <a:gd name="connsiteX3" fmla="*/ 62068 w 272384"/>
                <a:gd name="connsiteY3" fmla="*/ 42519 h 97582"/>
                <a:gd name="connsiteX4" fmla="*/ 61254 w 272384"/>
                <a:gd name="connsiteY4" fmla="*/ 47244 h 97582"/>
                <a:gd name="connsiteX5" fmla="*/ 54086 w 272384"/>
                <a:gd name="connsiteY5" fmla="*/ 49361 h 97582"/>
                <a:gd name="connsiteX6" fmla="*/ 48384 w 272384"/>
                <a:gd name="connsiteY6" fmla="*/ 47081 h 97582"/>
                <a:gd name="connsiteX7" fmla="*/ 47569 w 272384"/>
                <a:gd name="connsiteY7" fmla="*/ 44474 h 97582"/>
                <a:gd name="connsiteX8" fmla="*/ 49850 w 272384"/>
                <a:gd name="connsiteY8" fmla="*/ 46103 h 97582"/>
                <a:gd name="connsiteX9" fmla="*/ 52457 w 272384"/>
                <a:gd name="connsiteY9" fmla="*/ 46592 h 97582"/>
                <a:gd name="connsiteX10" fmla="*/ 54900 w 272384"/>
                <a:gd name="connsiteY10" fmla="*/ 44637 h 97582"/>
                <a:gd name="connsiteX11" fmla="*/ 52457 w 272384"/>
                <a:gd name="connsiteY11" fmla="*/ 43008 h 97582"/>
                <a:gd name="connsiteX12" fmla="*/ 51153 w 272384"/>
                <a:gd name="connsiteY12" fmla="*/ 40076 h 97582"/>
                <a:gd name="connsiteX13" fmla="*/ 51153 w 272384"/>
                <a:gd name="connsiteY13" fmla="*/ 40076 h 97582"/>
                <a:gd name="connsiteX14" fmla="*/ 15314 w 272384"/>
                <a:gd name="connsiteY14" fmla="*/ 27532 h 97582"/>
                <a:gd name="connsiteX15" fmla="*/ 18246 w 272384"/>
                <a:gd name="connsiteY15" fmla="*/ 31441 h 97582"/>
                <a:gd name="connsiteX16" fmla="*/ 16943 w 272384"/>
                <a:gd name="connsiteY16" fmla="*/ 33885 h 97582"/>
                <a:gd name="connsiteX17" fmla="*/ 12707 w 272384"/>
                <a:gd name="connsiteY17" fmla="*/ 31441 h 97582"/>
                <a:gd name="connsiteX18" fmla="*/ 3747 w 272384"/>
                <a:gd name="connsiteY18" fmla="*/ 36817 h 97582"/>
                <a:gd name="connsiteX19" fmla="*/ 0 w 272384"/>
                <a:gd name="connsiteY19" fmla="*/ 35677 h 97582"/>
                <a:gd name="connsiteX20" fmla="*/ 0 w 272384"/>
                <a:gd name="connsiteY20" fmla="*/ 38935 h 97582"/>
                <a:gd name="connsiteX21" fmla="*/ 4561 w 272384"/>
                <a:gd name="connsiteY21" fmla="*/ 41379 h 97582"/>
                <a:gd name="connsiteX22" fmla="*/ 9775 w 272384"/>
                <a:gd name="connsiteY22" fmla="*/ 35514 h 97582"/>
                <a:gd name="connsiteX23" fmla="*/ 11567 w 272384"/>
                <a:gd name="connsiteY23" fmla="*/ 36655 h 97582"/>
                <a:gd name="connsiteX24" fmla="*/ 11567 w 272384"/>
                <a:gd name="connsiteY24" fmla="*/ 40727 h 97582"/>
                <a:gd name="connsiteX25" fmla="*/ 18083 w 272384"/>
                <a:gd name="connsiteY25" fmla="*/ 36980 h 97582"/>
                <a:gd name="connsiteX26" fmla="*/ 22482 w 272384"/>
                <a:gd name="connsiteY26" fmla="*/ 36655 h 97582"/>
                <a:gd name="connsiteX27" fmla="*/ 27695 w 272384"/>
                <a:gd name="connsiteY27" fmla="*/ 28672 h 97582"/>
                <a:gd name="connsiteX28" fmla="*/ 34374 w 272384"/>
                <a:gd name="connsiteY28" fmla="*/ 29975 h 97582"/>
                <a:gd name="connsiteX29" fmla="*/ 36980 w 272384"/>
                <a:gd name="connsiteY29" fmla="*/ 27695 h 97582"/>
                <a:gd name="connsiteX30" fmla="*/ 40239 w 272384"/>
                <a:gd name="connsiteY30" fmla="*/ 30301 h 97582"/>
                <a:gd name="connsiteX31" fmla="*/ 45452 w 272384"/>
                <a:gd name="connsiteY31" fmla="*/ 29324 h 97582"/>
                <a:gd name="connsiteX32" fmla="*/ 52945 w 272384"/>
                <a:gd name="connsiteY32" fmla="*/ 20038 h 97582"/>
                <a:gd name="connsiteX33" fmla="*/ 57344 w 272384"/>
                <a:gd name="connsiteY33" fmla="*/ 19060 h 97582"/>
                <a:gd name="connsiteX34" fmla="*/ 60439 w 272384"/>
                <a:gd name="connsiteY34" fmla="*/ 15639 h 97582"/>
                <a:gd name="connsiteX35" fmla="*/ 67444 w 272384"/>
                <a:gd name="connsiteY35" fmla="*/ 16780 h 97582"/>
                <a:gd name="connsiteX36" fmla="*/ 72495 w 272384"/>
                <a:gd name="connsiteY36" fmla="*/ 16780 h 97582"/>
                <a:gd name="connsiteX37" fmla="*/ 83735 w 272384"/>
                <a:gd name="connsiteY37" fmla="*/ 17920 h 97582"/>
                <a:gd name="connsiteX38" fmla="*/ 86668 w 272384"/>
                <a:gd name="connsiteY38" fmla="*/ 20690 h 97582"/>
                <a:gd name="connsiteX39" fmla="*/ 83735 w 272384"/>
                <a:gd name="connsiteY39" fmla="*/ 23133 h 97582"/>
                <a:gd name="connsiteX40" fmla="*/ 78034 w 272384"/>
                <a:gd name="connsiteY40" fmla="*/ 22644 h 97582"/>
                <a:gd name="connsiteX41" fmla="*/ 74124 w 272384"/>
                <a:gd name="connsiteY41" fmla="*/ 25414 h 97582"/>
                <a:gd name="connsiteX42" fmla="*/ 78034 w 272384"/>
                <a:gd name="connsiteY42" fmla="*/ 28509 h 97582"/>
                <a:gd name="connsiteX43" fmla="*/ 93184 w 272384"/>
                <a:gd name="connsiteY43" fmla="*/ 30953 h 97582"/>
                <a:gd name="connsiteX44" fmla="*/ 96279 w 272384"/>
                <a:gd name="connsiteY44" fmla="*/ 29812 h 97582"/>
                <a:gd name="connsiteX45" fmla="*/ 100841 w 272384"/>
                <a:gd name="connsiteY45" fmla="*/ 29812 h 97582"/>
                <a:gd name="connsiteX46" fmla="*/ 104914 w 272384"/>
                <a:gd name="connsiteY46" fmla="*/ 33233 h 97582"/>
                <a:gd name="connsiteX47" fmla="*/ 112082 w 272384"/>
                <a:gd name="connsiteY47" fmla="*/ 34211 h 97582"/>
                <a:gd name="connsiteX48" fmla="*/ 115503 w 272384"/>
                <a:gd name="connsiteY48" fmla="*/ 34211 h 97582"/>
                <a:gd name="connsiteX49" fmla="*/ 117458 w 272384"/>
                <a:gd name="connsiteY49" fmla="*/ 31279 h 97582"/>
                <a:gd name="connsiteX50" fmla="*/ 120716 w 272384"/>
                <a:gd name="connsiteY50" fmla="*/ 33722 h 97582"/>
                <a:gd name="connsiteX51" fmla="*/ 121042 w 272384"/>
                <a:gd name="connsiteY51" fmla="*/ 36491 h 97582"/>
                <a:gd name="connsiteX52" fmla="*/ 129350 w 272384"/>
                <a:gd name="connsiteY52" fmla="*/ 42519 h 97582"/>
                <a:gd name="connsiteX53" fmla="*/ 135866 w 272384"/>
                <a:gd name="connsiteY53" fmla="*/ 43660 h 97582"/>
                <a:gd name="connsiteX54" fmla="*/ 138636 w 272384"/>
                <a:gd name="connsiteY54" fmla="*/ 42031 h 97582"/>
                <a:gd name="connsiteX55" fmla="*/ 143034 w 272384"/>
                <a:gd name="connsiteY55" fmla="*/ 45777 h 97582"/>
                <a:gd name="connsiteX56" fmla="*/ 147759 w 272384"/>
                <a:gd name="connsiteY56" fmla="*/ 44963 h 97582"/>
                <a:gd name="connsiteX57" fmla="*/ 151506 w 272384"/>
                <a:gd name="connsiteY57" fmla="*/ 46755 h 97582"/>
                <a:gd name="connsiteX58" fmla="*/ 158674 w 272384"/>
                <a:gd name="connsiteY58" fmla="*/ 44311 h 97582"/>
                <a:gd name="connsiteX59" fmla="*/ 161769 w 272384"/>
                <a:gd name="connsiteY59" fmla="*/ 45452 h 97582"/>
                <a:gd name="connsiteX60" fmla="*/ 166004 w 272384"/>
                <a:gd name="connsiteY60" fmla="*/ 60602 h 97582"/>
                <a:gd name="connsiteX61" fmla="*/ 174476 w 272384"/>
                <a:gd name="connsiteY61" fmla="*/ 70703 h 97582"/>
                <a:gd name="connsiteX62" fmla="*/ 178711 w 272384"/>
                <a:gd name="connsiteY62" fmla="*/ 70703 h 97582"/>
                <a:gd name="connsiteX63" fmla="*/ 180503 w 272384"/>
                <a:gd name="connsiteY63" fmla="*/ 69073 h 97582"/>
                <a:gd name="connsiteX64" fmla="*/ 186205 w 272384"/>
                <a:gd name="connsiteY64" fmla="*/ 72495 h 97582"/>
                <a:gd name="connsiteX65" fmla="*/ 195328 w 272384"/>
                <a:gd name="connsiteY65" fmla="*/ 72495 h 97582"/>
                <a:gd name="connsiteX66" fmla="*/ 196631 w 272384"/>
                <a:gd name="connsiteY66" fmla="*/ 75101 h 97582"/>
                <a:gd name="connsiteX67" fmla="*/ 200867 w 272384"/>
                <a:gd name="connsiteY67" fmla="*/ 76567 h 97582"/>
                <a:gd name="connsiteX68" fmla="*/ 200215 w 272384"/>
                <a:gd name="connsiteY68" fmla="*/ 81617 h 97582"/>
                <a:gd name="connsiteX69" fmla="*/ 193699 w 272384"/>
                <a:gd name="connsiteY69" fmla="*/ 83247 h 97582"/>
                <a:gd name="connsiteX70" fmla="*/ 185228 w 272384"/>
                <a:gd name="connsiteY70" fmla="*/ 90903 h 97582"/>
                <a:gd name="connsiteX71" fmla="*/ 185228 w 272384"/>
                <a:gd name="connsiteY71" fmla="*/ 95465 h 97582"/>
                <a:gd name="connsiteX72" fmla="*/ 193862 w 272384"/>
                <a:gd name="connsiteY72" fmla="*/ 97094 h 97582"/>
                <a:gd name="connsiteX73" fmla="*/ 199890 w 272384"/>
                <a:gd name="connsiteY73" fmla="*/ 93999 h 97582"/>
                <a:gd name="connsiteX74" fmla="*/ 204288 w 272384"/>
                <a:gd name="connsiteY74" fmla="*/ 95791 h 97582"/>
                <a:gd name="connsiteX75" fmla="*/ 216832 w 272384"/>
                <a:gd name="connsiteY75" fmla="*/ 92858 h 97582"/>
                <a:gd name="connsiteX76" fmla="*/ 223837 w 272384"/>
                <a:gd name="connsiteY76" fmla="*/ 93673 h 97582"/>
                <a:gd name="connsiteX77" fmla="*/ 232634 w 272384"/>
                <a:gd name="connsiteY77" fmla="*/ 97582 h 97582"/>
                <a:gd name="connsiteX78" fmla="*/ 245830 w 272384"/>
                <a:gd name="connsiteY78" fmla="*/ 94487 h 97582"/>
                <a:gd name="connsiteX79" fmla="*/ 247622 w 272384"/>
                <a:gd name="connsiteY79" fmla="*/ 91718 h 97582"/>
                <a:gd name="connsiteX80" fmla="*/ 250717 w 272384"/>
                <a:gd name="connsiteY80" fmla="*/ 92207 h 97582"/>
                <a:gd name="connsiteX81" fmla="*/ 254464 w 272384"/>
                <a:gd name="connsiteY81" fmla="*/ 89274 h 97582"/>
                <a:gd name="connsiteX82" fmla="*/ 263098 w 272384"/>
                <a:gd name="connsiteY82" fmla="*/ 90415 h 97582"/>
                <a:gd name="connsiteX83" fmla="*/ 269615 w 272384"/>
                <a:gd name="connsiteY83" fmla="*/ 88785 h 97582"/>
                <a:gd name="connsiteX84" fmla="*/ 272384 w 272384"/>
                <a:gd name="connsiteY84" fmla="*/ 83572 h 97582"/>
                <a:gd name="connsiteX85" fmla="*/ 270103 w 272384"/>
                <a:gd name="connsiteY85" fmla="*/ 81129 h 97582"/>
                <a:gd name="connsiteX86" fmla="*/ 265542 w 272384"/>
                <a:gd name="connsiteY86" fmla="*/ 80640 h 97582"/>
                <a:gd name="connsiteX87" fmla="*/ 262447 w 272384"/>
                <a:gd name="connsiteY87" fmla="*/ 73635 h 97582"/>
                <a:gd name="connsiteX88" fmla="*/ 251206 w 272384"/>
                <a:gd name="connsiteY88" fmla="*/ 69073 h 97582"/>
                <a:gd name="connsiteX89" fmla="*/ 238010 w 272384"/>
                <a:gd name="connsiteY89" fmla="*/ 69073 h 97582"/>
                <a:gd name="connsiteX90" fmla="*/ 234589 w 272384"/>
                <a:gd name="connsiteY90" fmla="*/ 67770 h 97582"/>
                <a:gd name="connsiteX91" fmla="*/ 237359 w 272384"/>
                <a:gd name="connsiteY91" fmla="*/ 65164 h 97582"/>
                <a:gd name="connsiteX92" fmla="*/ 239151 w 272384"/>
                <a:gd name="connsiteY92" fmla="*/ 58973 h 97582"/>
                <a:gd name="connsiteX93" fmla="*/ 236055 w 272384"/>
                <a:gd name="connsiteY93" fmla="*/ 57833 h 97582"/>
                <a:gd name="connsiteX94" fmla="*/ 231820 w 272384"/>
                <a:gd name="connsiteY94" fmla="*/ 59462 h 97582"/>
                <a:gd name="connsiteX95" fmla="*/ 227095 w 272384"/>
                <a:gd name="connsiteY95" fmla="*/ 59136 h 97582"/>
                <a:gd name="connsiteX96" fmla="*/ 217809 w 272384"/>
                <a:gd name="connsiteY96" fmla="*/ 52294 h 97582"/>
                <a:gd name="connsiteX97" fmla="*/ 215203 w 272384"/>
                <a:gd name="connsiteY97" fmla="*/ 54737 h 97582"/>
                <a:gd name="connsiteX98" fmla="*/ 211130 w 272384"/>
                <a:gd name="connsiteY98" fmla="*/ 50991 h 97582"/>
                <a:gd name="connsiteX99" fmla="*/ 204288 w 272384"/>
                <a:gd name="connsiteY99" fmla="*/ 45777 h 97582"/>
                <a:gd name="connsiteX100" fmla="*/ 200215 w 272384"/>
                <a:gd name="connsiteY100" fmla="*/ 50013 h 97582"/>
                <a:gd name="connsiteX101" fmla="*/ 198260 w 272384"/>
                <a:gd name="connsiteY101" fmla="*/ 47569 h 97582"/>
                <a:gd name="connsiteX102" fmla="*/ 199401 w 272384"/>
                <a:gd name="connsiteY102" fmla="*/ 44474 h 97582"/>
                <a:gd name="connsiteX103" fmla="*/ 196631 w 272384"/>
                <a:gd name="connsiteY103" fmla="*/ 43171 h 97582"/>
                <a:gd name="connsiteX104" fmla="*/ 195002 w 272384"/>
                <a:gd name="connsiteY104" fmla="*/ 46266 h 97582"/>
                <a:gd name="connsiteX105" fmla="*/ 191907 w 272384"/>
                <a:gd name="connsiteY105" fmla="*/ 43008 h 97582"/>
                <a:gd name="connsiteX106" fmla="*/ 182133 w 272384"/>
                <a:gd name="connsiteY106" fmla="*/ 40890 h 97582"/>
                <a:gd name="connsiteX107" fmla="*/ 175616 w 272384"/>
                <a:gd name="connsiteY107" fmla="*/ 34863 h 97582"/>
                <a:gd name="connsiteX108" fmla="*/ 169751 w 272384"/>
                <a:gd name="connsiteY108" fmla="*/ 31604 h 97582"/>
                <a:gd name="connsiteX109" fmla="*/ 163235 w 272384"/>
                <a:gd name="connsiteY109" fmla="*/ 26554 h 97582"/>
                <a:gd name="connsiteX110" fmla="*/ 149062 w 272384"/>
                <a:gd name="connsiteY110" fmla="*/ 25740 h 97582"/>
                <a:gd name="connsiteX111" fmla="*/ 143849 w 272384"/>
                <a:gd name="connsiteY111" fmla="*/ 23296 h 97582"/>
                <a:gd name="connsiteX112" fmla="*/ 142057 w 272384"/>
                <a:gd name="connsiteY112" fmla="*/ 17757 h 97582"/>
                <a:gd name="connsiteX113" fmla="*/ 136192 w 272384"/>
                <a:gd name="connsiteY113" fmla="*/ 11241 h 97582"/>
                <a:gd name="connsiteX114" fmla="*/ 131631 w 272384"/>
                <a:gd name="connsiteY114" fmla="*/ 12381 h 97582"/>
                <a:gd name="connsiteX115" fmla="*/ 129187 w 272384"/>
                <a:gd name="connsiteY115" fmla="*/ 9449 h 97582"/>
                <a:gd name="connsiteX116" fmla="*/ 110290 w 272384"/>
                <a:gd name="connsiteY116" fmla="*/ 6679 h 97582"/>
                <a:gd name="connsiteX117" fmla="*/ 104099 w 272384"/>
                <a:gd name="connsiteY117" fmla="*/ 9123 h 97582"/>
                <a:gd name="connsiteX118" fmla="*/ 96117 w 272384"/>
                <a:gd name="connsiteY118" fmla="*/ 7494 h 97582"/>
                <a:gd name="connsiteX119" fmla="*/ 91555 w 272384"/>
                <a:gd name="connsiteY119" fmla="*/ 1955 h 97582"/>
                <a:gd name="connsiteX120" fmla="*/ 79826 w 272384"/>
                <a:gd name="connsiteY120" fmla="*/ 0 h 97582"/>
                <a:gd name="connsiteX121" fmla="*/ 69562 w 272384"/>
                <a:gd name="connsiteY121" fmla="*/ 326 h 97582"/>
                <a:gd name="connsiteX122" fmla="*/ 64349 w 272384"/>
                <a:gd name="connsiteY122" fmla="*/ 4561 h 97582"/>
                <a:gd name="connsiteX123" fmla="*/ 50339 w 272384"/>
                <a:gd name="connsiteY123" fmla="*/ 5213 h 97582"/>
                <a:gd name="connsiteX124" fmla="*/ 39587 w 272384"/>
                <a:gd name="connsiteY124" fmla="*/ 7820 h 97582"/>
                <a:gd name="connsiteX125" fmla="*/ 35677 w 272384"/>
                <a:gd name="connsiteY125" fmla="*/ 11241 h 97582"/>
                <a:gd name="connsiteX126" fmla="*/ 24762 w 272384"/>
                <a:gd name="connsiteY126" fmla="*/ 14336 h 97582"/>
                <a:gd name="connsiteX127" fmla="*/ 21015 w 272384"/>
                <a:gd name="connsiteY127" fmla="*/ 18734 h 97582"/>
                <a:gd name="connsiteX128" fmla="*/ 16454 w 272384"/>
                <a:gd name="connsiteY128" fmla="*/ 21341 h 97582"/>
                <a:gd name="connsiteX129" fmla="*/ 15639 w 272384"/>
                <a:gd name="connsiteY129" fmla="*/ 27206 h 975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</a:cxnLst>
              <a:rect l="l" t="t" r="r" b="b"/>
              <a:pathLst>
                <a:path w="272384" h="97582">
                  <a:moveTo>
                    <a:pt x="51317" y="40076"/>
                  </a:moveTo>
                  <a:lnTo>
                    <a:pt x="53109" y="36329"/>
                  </a:lnTo>
                  <a:lnTo>
                    <a:pt x="57670" y="37306"/>
                  </a:lnTo>
                  <a:lnTo>
                    <a:pt x="62068" y="42519"/>
                  </a:lnTo>
                  <a:lnTo>
                    <a:pt x="61254" y="47244"/>
                  </a:lnTo>
                  <a:lnTo>
                    <a:pt x="54086" y="49361"/>
                  </a:lnTo>
                  <a:lnTo>
                    <a:pt x="48384" y="47081"/>
                  </a:lnTo>
                  <a:lnTo>
                    <a:pt x="47569" y="44474"/>
                  </a:lnTo>
                  <a:lnTo>
                    <a:pt x="49850" y="46103"/>
                  </a:lnTo>
                  <a:lnTo>
                    <a:pt x="52457" y="46592"/>
                  </a:lnTo>
                  <a:lnTo>
                    <a:pt x="54900" y="44637"/>
                  </a:lnTo>
                  <a:lnTo>
                    <a:pt x="52457" y="43008"/>
                  </a:lnTo>
                  <a:lnTo>
                    <a:pt x="51153" y="40076"/>
                  </a:lnTo>
                  <a:lnTo>
                    <a:pt x="51153" y="40076"/>
                  </a:lnTo>
                  <a:close/>
                  <a:moveTo>
                    <a:pt x="15314" y="27532"/>
                  </a:moveTo>
                  <a:lnTo>
                    <a:pt x="18246" y="31441"/>
                  </a:lnTo>
                  <a:lnTo>
                    <a:pt x="16943" y="33885"/>
                  </a:lnTo>
                  <a:lnTo>
                    <a:pt x="12707" y="31441"/>
                  </a:lnTo>
                  <a:lnTo>
                    <a:pt x="3747" y="36817"/>
                  </a:lnTo>
                  <a:lnTo>
                    <a:pt x="0" y="35677"/>
                  </a:lnTo>
                  <a:lnTo>
                    <a:pt x="0" y="38935"/>
                  </a:lnTo>
                  <a:cubicBezTo>
                    <a:pt x="0" y="38935"/>
                    <a:pt x="4561" y="41379"/>
                    <a:pt x="4561" y="41379"/>
                  </a:cubicBezTo>
                  <a:lnTo>
                    <a:pt x="9775" y="35514"/>
                  </a:lnTo>
                  <a:lnTo>
                    <a:pt x="11567" y="36655"/>
                  </a:lnTo>
                  <a:lnTo>
                    <a:pt x="11567" y="40727"/>
                  </a:lnTo>
                  <a:cubicBezTo>
                    <a:pt x="11567" y="40727"/>
                    <a:pt x="18083" y="36980"/>
                    <a:pt x="18083" y="36980"/>
                  </a:cubicBezTo>
                  <a:lnTo>
                    <a:pt x="22482" y="36655"/>
                  </a:lnTo>
                  <a:lnTo>
                    <a:pt x="27695" y="28672"/>
                  </a:lnTo>
                  <a:lnTo>
                    <a:pt x="34374" y="29975"/>
                  </a:lnTo>
                  <a:lnTo>
                    <a:pt x="36980" y="27695"/>
                  </a:lnTo>
                  <a:lnTo>
                    <a:pt x="40239" y="30301"/>
                  </a:lnTo>
                  <a:lnTo>
                    <a:pt x="45452" y="29324"/>
                  </a:lnTo>
                  <a:lnTo>
                    <a:pt x="52945" y="20038"/>
                  </a:lnTo>
                  <a:lnTo>
                    <a:pt x="57344" y="19060"/>
                  </a:lnTo>
                  <a:lnTo>
                    <a:pt x="60439" y="15639"/>
                  </a:lnTo>
                  <a:lnTo>
                    <a:pt x="67444" y="16780"/>
                  </a:lnTo>
                  <a:lnTo>
                    <a:pt x="72495" y="16780"/>
                  </a:lnTo>
                  <a:cubicBezTo>
                    <a:pt x="72495" y="16780"/>
                    <a:pt x="83735" y="17920"/>
                    <a:pt x="83735" y="17920"/>
                  </a:cubicBezTo>
                  <a:lnTo>
                    <a:pt x="86668" y="20690"/>
                  </a:lnTo>
                  <a:lnTo>
                    <a:pt x="83735" y="23133"/>
                  </a:lnTo>
                  <a:lnTo>
                    <a:pt x="78034" y="22644"/>
                  </a:lnTo>
                  <a:lnTo>
                    <a:pt x="74124" y="25414"/>
                  </a:lnTo>
                  <a:lnTo>
                    <a:pt x="78034" y="28509"/>
                  </a:lnTo>
                  <a:lnTo>
                    <a:pt x="93184" y="30953"/>
                  </a:lnTo>
                  <a:lnTo>
                    <a:pt x="96279" y="29812"/>
                  </a:lnTo>
                  <a:lnTo>
                    <a:pt x="100841" y="29812"/>
                  </a:lnTo>
                  <a:lnTo>
                    <a:pt x="104914" y="33233"/>
                  </a:lnTo>
                  <a:lnTo>
                    <a:pt x="112082" y="34211"/>
                  </a:lnTo>
                  <a:lnTo>
                    <a:pt x="115503" y="34211"/>
                  </a:lnTo>
                  <a:cubicBezTo>
                    <a:pt x="115503" y="34211"/>
                    <a:pt x="117458" y="31279"/>
                    <a:pt x="117458" y="31279"/>
                  </a:cubicBezTo>
                  <a:lnTo>
                    <a:pt x="120716" y="33722"/>
                  </a:lnTo>
                  <a:lnTo>
                    <a:pt x="121042" y="36491"/>
                  </a:lnTo>
                  <a:lnTo>
                    <a:pt x="129350" y="42519"/>
                  </a:lnTo>
                  <a:lnTo>
                    <a:pt x="135866" y="43660"/>
                  </a:lnTo>
                  <a:lnTo>
                    <a:pt x="138636" y="42031"/>
                  </a:lnTo>
                  <a:lnTo>
                    <a:pt x="143034" y="45777"/>
                  </a:lnTo>
                  <a:lnTo>
                    <a:pt x="147759" y="44963"/>
                  </a:lnTo>
                  <a:lnTo>
                    <a:pt x="151506" y="46755"/>
                  </a:lnTo>
                  <a:lnTo>
                    <a:pt x="158674" y="44311"/>
                  </a:lnTo>
                  <a:lnTo>
                    <a:pt x="161769" y="45452"/>
                  </a:lnTo>
                  <a:lnTo>
                    <a:pt x="166004" y="60602"/>
                  </a:lnTo>
                  <a:lnTo>
                    <a:pt x="174476" y="70703"/>
                  </a:lnTo>
                  <a:lnTo>
                    <a:pt x="178711" y="70703"/>
                  </a:lnTo>
                  <a:cubicBezTo>
                    <a:pt x="178711" y="70703"/>
                    <a:pt x="180503" y="69073"/>
                    <a:pt x="180503" y="69073"/>
                  </a:cubicBezTo>
                  <a:lnTo>
                    <a:pt x="186205" y="72495"/>
                  </a:lnTo>
                  <a:lnTo>
                    <a:pt x="195328" y="72495"/>
                  </a:lnTo>
                  <a:cubicBezTo>
                    <a:pt x="195328" y="72495"/>
                    <a:pt x="196631" y="75101"/>
                    <a:pt x="196631" y="75101"/>
                  </a:cubicBezTo>
                  <a:lnTo>
                    <a:pt x="200867" y="76567"/>
                  </a:lnTo>
                  <a:lnTo>
                    <a:pt x="200215" y="81617"/>
                  </a:lnTo>
                  <a:lnTo>
                    <a:pt x="193699" y="83247"/>
                  </a:lnTo>
                  <a:lnTo>
                    <a:pt x="185228" y="90903"/>
                  </a:lnTo>
                  <a:lnTo>
                    <a:pt x="185228" y="95465"/>
                  </a:lnTo>
                  <a:cubicBezTo>
                    <a:pt x="185228" y="95465"/>
                    <a:pt x="193862" y="97094"/>
                    <a:pt x="193862" y="97094"/>
                  </a:cubicBezTo>
                  <a:lnTo>
                    <a:pt x="199890" y="93999"/>
                  </a:lnTo>
                  <a:lnTo>
                    <a:pt x="204288" y="95791"/>
                  </a:lnTo>
                  <a:lnTo>
                    <a:pt x="216832" y="92858"/>
                  </a:lnTo>
                  <a:lnTo>
                    <a:pt x="223837" y="93673"/>
                  </a:lnTo>
                  <a:lnTo>
                    <a:pt x="232634" y="97582"/>
                  </a:lnTo>
                  <a:lnTo>
                    <a:pt x="245830" y="94487"/>
                  </a:lnTo>
                  <a:lnTo>
                    <a:pt x="247622" y="91718"/>
                  </a:lnTo>
                  <a:lnTo>
                    <a:pt x="250717" y="92207"/>
                  </a:lnTo>
                  <a:lnTo>
                    <a:pt x="254464" y="89274"/>
                  </a:lnTo>
                  <a:lnTo>
                    <a:pt x="263098" y="90415"/>
                  </a:lnTo>
                  <a:lnTo>
                    <a:pt x="269615" y="88785"/>
                  </a:lnTo>
                  <a:lnTo>
                    <a:pt x="272384" y="83572"/>
                  </a:lnTo>
                  <a:lnTo>
                    <a:pt x="270103" y="81129"/>
                  </a:lnTo>
                  <a:lnTo>
                    <a:pt x="265542" y="80640"/>
                  </a:lnTo>
                  <a:lnTo>
                    <a:pt x="262447" y="73635"/>
                  </a:lnTo>
                  <a:lnTo>
                    <a:pt x="251206" y="69073"/>
                  </a:lnTo>
                  <a:lnTo>
                    <a:pt x="238010" y="69073"/>
                  </a:lnTo>
                  <a:lnTo>
                    <a:pt x="234589" y="67770"/>
                  </a:lnTo>
                  <a:lnTo>
                    <a:pt x="237359" y="65164"/>
                  </a:lnTo>
                  <a:lnTo>
                    <a:pt x="239151" y="58973"/>
                  </a:lnTo>
                  <a:lnTo>
                    <a:pt x="236055" y="57833"/>
                  </a:lnTo>
                  <a:lnTo>
                    <a:pt x="231820" y="59462"/>
                  </a:lnTo>
                  <a:lnTo>
                    <a:pt x="227095" y="59136"/>
                  </a:lnTo>
                  <a:lnTo>
                    <a:pt x="217809" y="52294"/>
                  </a:lnTo>
                  <a:lnTo>
                    <a:pt x="215203" y="54737"/>
                  </a:lnTo>
                  <a:lnTo>
                    <a:pt x="211130" y="50991"/>
                  </a:lnTo>
                  <a:lnTo>
                    <a:pt x="204288" y="45777"/>
                  </a:lnTo>
                  <a:lnTo>
                    <a:pt x="200215" y="50013"/>
                  </a:lnTo>
                  <a:lnTo>
                    <a:pt x="198260" y="47569"/>
                  </a:lnTo>
                  <a:lnTo>
                    <a:pt x="199401" y="44474"/>
                  </a:lnTo>
                  <a:lnTo>
                    <a:pt x="196631" y="43171"/>
                  </a:lnTo>
                  <a:lnTo>
                    <a:pt x="195002" y="46266"/>
                  </a:lnTo>
                  <a:lnTo>
                    <a:pt x="191907" y="43008"/>
                  </a:lnTo>
                  <a:lnTo>
                    <a:pt x="182133" y="40890"/>
                  </a:lnTo>
                  <a:lnTo>
                    <a:pt x="175616" y="34863"/>
                  </a:lnTo>
                  <a:lnTo>
                    <a:pt x="169751" y="31604"/>
                  </a:lnTo>
                  <a:lnTo>
                    <a:pt x="163235" y="26554"/>
                  </a:lnTo>
                  <a:lnTo>
                    <a:pt x="149062" y="25740"/>
                  </a:lnTo>
                  <a:lnTo>
                    <a:pt x="143849" y="23296"/>
                  </a:lnTo>
                  <a:lnTo>
                    <a:pt x="142057" y="17757"/>
                  </a:lnTo>
                  <a:lnTo>
                    <a:pt x="136192" y="11241"/>
                  </a:lnTo>
                  <a:lnTo>
                    <a:pt x="131631" y="12381"/>
                  </a:lnTo>
                  <a:lnTo>
                    <a:pt x="129187" y="9449"/>
                  </a:lnTo>
                  <a:lnTo>
                    <a:pt x="110290" y="6679"/>
                  </a:lnTo>
                  <a:lnTo>
                    <a:pt x="104099" y="9123"/>
                  </a:lnTo>
                  <a:lnTo>
                    <a:pt x="96117" y="7494"/>
                  </a:lnTo>
                  <a:lnTo>
                    <a:pt x="91555" y="1955"/>
                  </a:lnTo>
                  <a:lnTo>
                    <a:pt x="79826" y="0"/>
                  </a:lnTo>
                  <a:lnTo>
                    <a:pt x="69562" y="326"/>
                  </a:lnTo>
                  <a:lnTo>
                    <a:pt x="64349" y="4561"/>
                  </a:lnTo>
                  <a:lnTo>
                    <a:pt x="50339" y="5213"/>
                  </a:lnTo>
                  <a:lnTo>
                    <a:pt x="39587" y="7820"/>
                  </a:lnTo>
                  <a:lnTo>
                    <a:pt x="35677" y="11241"/>
                  </a:lnTo>
                  <a:lnTo>
                    <a:pt x="24762" y="14336"/>
                  </a:lnTo>
                  <a:lnTo>
                    <a:pt x="21015" y="18734"/>
                  </a:lnTo>
                  <a:lnTo>
                    <a:pt x="16454" y="21341"/>
                  </a:lnTo>
                  <a:lnTo>
                    <a:pt x="15639" y="27206"/>
                  </a:lnTo>
                  <a:close/>
                </a:path>
              </a:pathLst>
            </a:custGeom>
            <a:solidFill>
              <a:schemeClr val="bg2"/>
            </a:solidFill>
            <a:ln w="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55" name="Forma livre: Forma 54">
              <a:extLst>
                <a:ext uri="{FF2B5EF4-FFF2-40B4-BE49-F238E27FC236}">
                  <a16:creationId xmlns:a16="http://schemas.microsoft.com/office/drawing/2014/main" id="{FA71AFA7-C552-228A-802A-2620299525E2}"/>
                </a:ext>
              </a:extLst>
            </p:cNvPr>
            <p:cNvSpPr/>
            <p:nvPr/>
          </p:nvSpPr>
          <p:spPr>
            <a:xfrm>
              <a:off x="3952361" y="4212591"/>
              <a:ext cx="150336" cy="178282"/>
            </a:xfrm>
            <a:custGeom>
              <a:avLst/>
              <a:gdLst>
                <a:gd name="connsiteX0" fmla="*/ 136029 w 145477"/>
                <a:gd name="connsiteY0" fmla="*/ 154764 h 172520"/>
                <a:gd name="connsiteX1" fmla="*/ 138799 w 145477"/>
                <a:gd name="connsiteY1" fmla="*/ 156393 h 172520"/>
                <a:gd name="connsiteX2" fmla="*/ 138799 w 145477"/>
                <a:gd name="connsiteY2" fmla="*/ 151831 h 172520"/>
                <a:gd name="connsiteX3" fmla="*/ 136029 w 145477"/>
                <a:gd name="connsiteY3" fmla="*/ 154764 h 172520"/>
                <a:gd name="connsiteX4" fmla="*/ 136029 w 145477"/>
                <a:gd name="connsiteY4" fmla="*/ 154764 h 172520"/>
                <a:gd name="connsiteX5" fmla="*/ 118435 w 145477"/>
                <a:gd name="connsiteY5" fmla="*/ 172358 h 172520"/>
                <a:gd name="connsiteX6" fmla="*/ 131631 w 145477"/>
                <a:gd name="connsiteY6" fmla="*/ 170892 h 172520"/>
                <a:gd name="connsiteX7" fmla="*/ 135866 w 145477"/>
                <a:gd name="connsiteY7" fmla="*/ 165190 h 172520"/>
                <a:gd name="connsiteX8" fmla="*/ 135866 w 145477"/>
                <a:gd name="connsiteY8" fmla="*/ 159162 h 172520"/>
                <a:gd name="connsiteX9" fmla="*/ 134074 w 145477"/>
                <a:gd name="connsiteY9" fmla="*/ 160303 h 172520"/>
                <a:gd name="connsiteX10" fmla="*/ 130979 w 145477"/>
                <a:gd name="connsiteY10" fmla="*/ 164050 h 172520"/>
                <a:gd name="connsiteX11" fmla="*/ 125766 w 145477"/>
                <a:gd name="connsiteY11" fmla="*/ 161117 h 172520"/>
                <a:gd name="connsiteX12" fmla="*/ 119738 w 145477"/>
                <a:gd name="connsiteY12" fmla="*/ 165027 h 172520"/>
                <a:gd name="connsiteX13" fmla="*/ 118435 w 145477"/>
                <a:gd name="connsiteY13" fmla="*/ 172521 h 172520"/>
                <a:gd name="connsiteX14" fmla="*/ 118435 w 145477"/>
                <a:gd name="connsiteY14" fmla="*/ 172521 h 172520"/>
                <a:gd name="connsiteX15" fmla="*/ 133260 w 145477"/>
                <a:gd name="connsiteY15" fmla="*/ 130001 h 172520"/>
                <a:gd name="connsiteX16" fmla="*/ 137658 w 145477"/>
                <a:gd name="connsiteY16" fmla="*/ 128047 h 172520"/>
                <a:gd name="connsiteX17" fmla="*/ 145478 w 145477"/>
                <a:gd name="connsiteY17" fmla="*/ 132445 h 172520"/>
                <a:gd name="connsiteX18" fmla="*/ 145152 w 145477"/>
                <a:gd name="connsiteY18" fmla="*/ 134400 h 172520"/>
                <a:gd name="connsiteX19" fmla="*/ 140428 w 145477"/>
                <a:gd name="connsiteY19" fmla="*/ 132119 h 172520"/>
                <a:gd name="connsiteX20" fmla="*/ 135703 w 145477"/>
                <a:gd name="connsiteY20" fmla="*/ 132445 h 172520"/>
                <a:gd name="connsiteX21" fmla="*/ 133423 w 145477"/>
                <a:gd name="connsiteY21" fmla="*/ 129839 h 172520"/>
                <a:gd name="connsiteX22" fmla="*/ 133423 w 145477"/>
                <a:gd name="connsiteY22" fmla="*/ 129839 h 172520"/>
                <a:gd name="connsiteX23" fmla="*/ 119249 w 145477"/>
                <a:gd name="connsiteY23" fmla="*/ 117458 h 172520"/>
                <a:gd name="connsiteX24" fmla="*/ 114199 w 145477"/>
                <a:gd name="connsiteY24" fmla="*/ 118924 h 172520"/>
                <a:gd name="connsiteX25" fmla="*/ 114525 w 145477"/>
                <a:gd name="connsiteY25" fmla="*/ 123159 h 172520"/>
                <a:gd name="connsiteX26" fmla="*/ 109312 w 145477"/>
                <a:gd name="connsiteY26" fmla="*/ 128861 h 172520"/>
                <a:gd name="connsiteX27" fmla="*/ 106542 w 145477"/>
                <a:gd name="connsiteY27" fmla="*/ 129187 h 172520"/>
                <a:gd name="connsiteX28" fmla="*/ 106054 w 145477"/>
                <a:gd name="connsiteY28" fmla="*/ 131957 h 172520"/>
                <a:gd name="connsiteX29" fmla="*/ 108660 w 145477"/>
                <a:gd name="connsiteY29" fmla="*/ 131957 h 172520"/>
                <a:gd name="connsiteX30" fmla="*/ 119738 w 145477"/>
                <a:gd name="connsiteY30" fmla="*/ 125766 h 172520"/>
                <a:gd name="connsiteX31" fmla="*/ 120064 w 145477"/>
                <a:gd name="connsiteY31" fmla="*/ 119901 h 172520"/>
                <a:gd name="connsiteX32" fmla="*/ 119087 w 145477"/>
                <a:gd name="connsiteY32" fmla="*/ 117458 h 172520"/>
                <a:gd name="connsiteX33" fmla="*/ 119087 w 145477"/>
                <a:gd name="connsiteY33" fmla="*/ 117458 h 172520"/>
                <a:gd name="connsiteX34" fmla="*/ 104425 w 145477"/>
                <a:gd name="connsiteY34" fmla="*/ 113222 h 172520"/>
                <a:gd name="connsiteX35" fmla="*/ 110452 w 145477"/>
                <a:gd name="connsiteY35" fmla="*/ 116480 h 172520"/>
                <a:gd name="connsiteX36" fmla="*/ 110941 w 145477"/>
                <a:gd name="connsiteY36" fmla="*/ 120716 h 172520"/>
                <a:gd name="connsiteX37" fmla="*/ 107031 w 145477"/>
                <a:gd name="connsiteY37" fmla="*/ 119901 h 172520"/>
                <a:gd name="connsiteX38" fmla="*/ 103936 w 145477"/>
                <a:gd name="connsiteY38" fmla="*/ 116154 h 172520"/>
                <a:gd name="connsiteX39" fmla="*/ 104262 w 145477"/>
                <a:gd name="connsiteY39" fmla="*/ 113059 h 172520"/>
                <a:gd name="connsiteX40" fmla="*/ 104262 w 145477"/>
                <a:gd name="connsiteY40" fmla="*/ 113059 h 172520"/>
                <a:gd name="connsiteX41" fmla="*/ 84550 w 145477"/>
                <a:gd name="connsiteY41" fmla="*/ 93184 h 172520"/>
                <a:gd name="connsiteX42" fmla="*/ 88948 w 145477"/>
                <a:gd name="connsiteY42" fmla="*/ 101330 h 172520"/>
                <a:gd name="connsiteX43" fmla="*/ 90415 w 145477"/>
                <a:gd name="connsiteY43" fmla="*/ 107520 h 172520"/>
                <a:gd name="connsiteX44" fmla="*/ 94813 w 145477"/>
                <a:gd name="connsiteY44" fmla="*/ 115666 h 172520"/>
                <a:gd name="connsiteX45" fmla="*/ 91718 w 145477"/>
                <a:gd name="connsiteY45" fmla="*/ 115340 h 172520"/>
                <a:gd name="connsiteX46" fmla="*/ 88623 w 145477"/>
                <a:gd name="connsiteY46" fmla="*/ 111430 h 172520"/>
                <a:gd name="connsiteX47" fmla="*/ 84387 w 145477"/>
                <a:gd name="connsiteY47" fmla="*/ 104588 h 172520"/>
                <a:gd name="connsiteX48" fmla="*/ 87156 w 145477"/>
                <a:gd name="connsiteY48" fmla="*/ 102796 h 172520"/>
                <a:gd name="connsiteX49" fmla="*/ 83898 w 145477"/>
                <a:gd name="connsiteY49" fmla="*/ 96279 h 172520"/>
                <a:gd name="connsiteX50" fmla="*/ 84550 w 145477"/>
                <a:gd name="connsiteY50" fmla="*/ 93184 h 172520"/>
                <a:gd name="connsiteX51" fmla="*/ 84550 w 145477"/>
                <a:gd name="connsiteY51" fmla="*/ 93184 h 172520"/>
                <a:gd name="connsiteX52" fmla="*/ 66304 w 145477"/>
                <a:gd name="connsiteY52" fmla="*/ 90741 h 172520"/>
                <a:gd name="connsiteX53" fmla="*/ 65326 w 145477"/>
                <a:gd name="connsiteY53" fmla="*/ 94976 h 172520"/>
                <a:gd name="connsiteX54" fmla="*/ 69399 w 145477"/>
                <a:gd name="connsiteY54" fmla="*/ 94976 h 172520"/>
                <a:gd name="connsiteX55" fmla="*/ 66304 w 145477"/>
                <a:gd name="connsiteY55" fmla="*/ 90741 h 172520"/>
                <a:gd name="connsiteX56" fmla="*/ 66304 w 145477"/>
                <a:gd name="connsiteY56" fmla="*/ 90741 h 172520"/>
                <a:gd name="connsiteX57" fmla="*/ 106054 w 145477"/>
                <a:gd name="connsiteY57" fmla="*/ 80314 h 172520"/>
                <a:gd name="connsiteX58" fmla="*/ 102958 w 145477"/>
                <a:gd name="connsiteY58" fmla="*/ 85527 h 172520"/>
                <a:gd name="connsiteX59" fmla="*/ 105565 w 145477"/>
                <a:gd name="connsiteY59" fmla="*/ 87971 h 172520"/>
                <a:gd name="connsiteX60" fmla="*/ 107846 w 145477"/>
                <a:gd name="connsiteY60" fmla="*/ 83735 h 172520"/>
                <a:gd name="connsiteX61" fmla="*/ 106217 w 145477"/>
                <a:gd name="connsiteY61" fmla="*/ 80477 h 172520"/>
                <a:gd name="connsiteX62" fmla="*/ 106217 w 145477"/>
                <a:gd name="connsiteY62" fmla="*/ 80477 h 172520"/>
                <a:gd name="connsiteX63" fmla="*/ 78033 w 145477"/>
                <a:gd name="connsiteY63" fmla="*/ 66141 h 172520"/>
                <a:gd name="connsiteX64" fmla="*/ 77219 w 145477"/>
                <a:gd name="connsiteY64" fmla="*/ 69236 h 172520"/>
                <a:gd name="connsiteX65" fmla="*/ 81129 w 145477"/>
                <a:gd name="connsiteY65" fmla="*/ 73635 h 172520"/>
                <a:gd name="connsiteX66" fmla="*/ 82106 w 145477"/>
                <a:gd name="connsiteY66" fmla="*/ 80640 h 172520"/>
                <a:gd name="connsiteX67" fmla="*/ 79988 w 145477"/>
                <a:gd name="connsiteY67" fmla="*/ 83084 h 172520"/>
                <a:gd name="connsiteX68" fmla="*/ 82269 w 145477"/>
                <a:gd name="connsiteY68" fmla="*/ 86016 h 172520"/>
                <a:gd name="connsiteX69" fmla="*/ 88297 w 145477"/>
                <a:gd name="connsiteY69" fmla="*/ 85527 h 172520"/>
                <a:gd name="connsiteX70" fmla="*/ 88623 w 145477"/>
                <a:gd name="connsiteY70" fmla="*/ 82432 h 172520"/>
                <a:gd name="connsiteX71" fmla="*/ 84713 w 145477"/>
                <a:gd name="connsiteY71" fmla="*/ 75264 h 172520"/>
                <a:gd name="connsiteX72" fmla="*/ 83409 w 145477"/>
                <a:gd name="connsiteY72" fmla="*/ 69888 h 172520"/>
                <a:gd name="connsiteX73" fmla="*/ 78359 w 145477"/>
                <a:gd name="connsiteY73" fmla="*/ 66141 h 172520"/>
                <a:gd name="connsiteX74" fmla="*/ 78359 w 145477"/>
                <a:gd name="connsiteY74" fmla="*/ 66141 h 172520"/>
                <a:gd name="connsiteX75" fmla="*/ 57507 w 145477"/>
                <a:gd name="connsiteY75" fmla="*/ 44311 h 172520"/>
                <a:gd name="connsiteX76" fmla="*/ 64675 w 145477"/>
                <a:gd name="connsiteY76" fmla="*/ 48384 h 172520"/>
                <a:gd name="connsiteX77" fmla="*/ 69236 w 145477"/>
                <a:gd name="connsiteY77" fmla="*/ 54900 h 172520"/>
                <a:gd name="connsiteX78" fmla="*/ 67282 w 145477"/>
                <a:gd name="connsiteY78" fmla="*/ 62883 h 172520"/>
                <a:gd name="connsiteX79" fmla="*/ 64349 w 145477"/>
                <a:gd name="connsiteY79" fmla="*/ 63698 h 172520"/>
                <a:gd name="connsiteX80" fmla="*/ 62068 w 145477"/>
                <a:gd name="connsiteY80" fmla="*/ 61091 h 172520"/>
                <a:gd name="connsiteX81" fmla="*/ 65164 w 145477"/>
                <a:gd name="connsiteY81" fmla="*/ 59462 h 172520"/>
                <a:gd name="connsiteX82" fmla="*/ 66956 w 145477"/>
                <a:gd name="connsiteY82" fmla="*/ 55552 h 172520"/>
                <a:gd name="connsiteX83" fmla="*/ 63209 w 145477"/>
                <a:gd name="connsiteY83" fmla="*/ 50176 h 172520"/>
                <a:gd name="connsiteX84" fmla="*/ 57181 w 145477"/>
                <a:gd name="connsiteY84" fmla="*/ 47895 h 172520"/>
                <a:gd name="connsiteX85" fmla="*/ 57670 w 145477"/>
                <a:gd name="connsiteY85" fmla="*/ 44148 h 172520"/>
                <a:gd name="connsiteX86" fmla="*/ 57670 w 145477"/>
                <a:gd name="connsiteY86" fmla="*/ 44148 h 172520"/>
                <a:gd name="connsiteX87" fmla="*/ 30953 w 145477"/>
                <a:gd name="connsiteY87" fmla="*/ 0 h 172520"/>
                <a:gd name="connsiteX88" fmla="*/ 38121 w 145477"/>
                <a:gd name="connsiteY88" fmla="*/ 0 h 172520"/>
                <a:gd name="connsiteX89" fmla="*/ 45777 w 145477"/>
                <a:gd name="connsiteY89" fmla="*/ 5213 h 172520"/>
                <a:gd name="connsiteX90" fmla="*/ 46755 w 145477"/>
                <a:gd name="connsiteY90" fmla="*/ 10263 h 172520"/>
                <a:gd name="connsiteX91" fmla="*/ 50502 w 145477"/>
                <a:gd name="connsiteY91" fmla="*/ 12707 h 172520"/>
                <a:gd name="connsiteX92" fmla="*/ 50502 w 145477"/>
                <a:gd name="connsiteY92" fmla="*/ 19712 h 172520"/>
                <a:gd name="connsiteX93" fmla="*/ 45452 w 145477"/>
                <a:gd name="connsiteY93" fmla="*/ 22807 h 172520"/>
                <a:gd name="connsiteX94" fmla="*/ 45777 w 145477"/>
                <a:gd name="connsiteY94" fmla="*/ 27206 h 172520"/>
                <a:gd name="connsiteX95" fmla="*/ 41542 w 145477"/>
                <a:gd name="connsiteY95" fmla="*/ 31604 h 172520"/>
                <a:gd name="connsiteX96" fmla="*/ 43334 w 145477"/>
                <a:gd name="connsiteY96" fmla="*/ 23133 h 172520"/>
                <a:gd name="connsiteX97" fmla="*/ 41868 w 145477"/>
                <a:gd name="connsiteY97" fmla="*/ 18409 h 172520"/>
                <a:gd name="connsiteX98" fmla="*/ 45126 w 145477"/>
                <a:gd name="connsiteY98" fmla="*/ 15313 h 172520"/>
                <a:gd name="connsiteX99" fmla="*/ 39424 w 145477"/>
                <a:gd name="connsiteY99" fmla="*/ 7983 h 172520"/>
                <a:gd name="connsiteX100" fmla="*/ 38447 w 145477"/>
                <a:gd name="connsiteY100" fmla="*/ 2769 h 172520"/>
                <a:gd name="connsiteX101" fmla="*/ 30627 w 145477"/>
                <a:gd name="connsiteY101" fmla="*/ 163 h 172520"/>
                <a:gd name="connsiteX102" fmla="*/ 30627 w 145477"/>
                <a:gd name="connsiteY102" fmla="*/ 163 h 172520"/>
                <a:gd name="connsiteX103" fmla="*/ 163 w 145477"/>
                <a:gd name="connsiteY103" fmla="*/ 5050 h 172520"/>
                <a:gd name="connsiteX104" fmla="*/ 6679 w 145477"/>
                <a:gd name="connsiteY104" fmla="*/ 5050 h 172520"/>
                <a:gd name="connsiteX105" fmla="*/ 9774 w 145477"/>
                <a:gd name="connsiteY105" fmla="*/ 7331 h 172520"/>
                <a:gd name="connsiteX106" fmla="*/ 16942 w 145477"/>
                <a:gd name="connsiteY106" fmla="*/ 2932 h 172520"/>
                <a:gd name="connsiteX107" fmla="*/ 24925 w 145477"/>
                <a:gd name="connsiteY107" fmla="*/ 2932 h 172520"/>
                <a:gd name="connsiteX108" fmla="*/ 30464 w 145477"/>
                <a:gd name="connsiteY108" fmla="*/ 8145 h 172520"/>
                <a:gd name="connsiteX109" fmla="*/ 26391 w 145477"/>
                <a:gd name="connsiteY109" fmla="*/ 7657 h 172520"/>
                <a:gd name="connsiteX110" fmla="*/ 21341 w 145477"/>
                <a:gd name="connsiteY110" fmla="*/ 6516 h 172520"/>
                <a:gd name="connsiteX111" fmla="*/ 11729 w 145477"/>
                <a:gd name="connsiteY111" fmla="*/ 13359 h 172520"/>
                <a:gd name="connsiteX112" fmla="*/ 6516 w 145477"/>
                <a:gd name="connsiteY112" fmla="*/ 12381 h 172520"/>
                <a:gd name="connsiteX113" fmla="*/ 0 w 145477"/>
                <a:gd name="connsiteY113" fmla="*/ 5213 h 172520"/>
                <a:gd name="connsiteX114" fmla="*/ 0 w 145477"/>
                <a:gd name="connsiteY114" fmla="*/ 5213 h 172520"/>
                <a:gd name="connsiteX115" fmla="*/ 31604 w 145477"/>
                <a:gd name="connsiteY115" fmla="*/ 53760 h 172520"/>
                <a:gd name="connsiteX116" fmla="*/ 38121 w 145477"/>
                <a:gd name="connsiteY116" fmla="*/ 50339 h 172520"/>
                <a:gd name="connsiteX117" fmla="*/ 43985 w 145477"/>
                <a:gd name="connsiteY117" fmla="*/ 51805 h 172520"/>
                <a:gd name="connsiteX118" fmla="*/ 41868 w 145477"/>
                <a:gd name="connsiteY118" fmla="*/ 55715 h 172520"/>
                <a:gd name="connsiteX119" fmla="*/ 34863 w 145477"/>
                <a:gd name="connsiteY119" fmla="*/ 55715 h 172520"/>
                <a:gd name="connsiteX120" fmla="*/ 31604 w 145477"/>
                <a:gd name="connsiteY120" fmla="*/ 53923 h 172520"/>
                <a:gd name="connsiteX121" fmla="*/ 31604 w 145477"/>
                <a:gd name="connsiteY121" fmla="*/ 53923 h 172520"/>
                <a:gd name="connsiteX122" fmla="*/ 24599 w 145477"/>
                <a:gd name="connsiteY122" fmla="*/ 78359 h 172520"/>
                <a:gd name="connsiteX123" fmla="*/ 22970 w 145477"/>
                <a:gd name="connsiteY123" fmla="*/ 75916 h 172520"/>
                <a:gd name="connsiteX124" fmla="*/ 27532 w 145477"/>
                <a:gd name="connsiteY124" fmla="*/ 74450 h 172520"/>
                <a:gd name="connsiteX125" fmla="*/ 24599 w 145477"/>
                <a:gd name="connsiteY125" fmla="*/ 78359 h 172520"/>
                <a:gd name="connsiteX126" fmla="*/ 24599 w 145477"/>
                <a:gd name="connsiteY126" fmla="*/ 78359 h 172520"/>
                <a:gd name="connsiteX127" fmla="*/ 19549 w 145477"/>
                <a:gd name="connsiteY127" fmla="*/ 79663 h 172520"/>
                <a:gd name="connsiteX128" fmla="*/ 21830 w 145477"/>
                <a:gd name="connsiteY128" fmla="*/ 77708 h 172520"/>
                <a:gd name="connsiteX129" fmla="*/ 22318 w 145477"/>
                <a:gd name="connsiteY129" fmla="*/ 80966 h 172520"/>
                <a:gd name="connsiteX130" fmla="*/ 19549 w 145477"/>
                <a:gd name="connsiteY130" fmla="*/ 79663 h 172520"/>
                <a:gd name="connsiteX131" fmla="*/ 19549 w 145477"/>
                <a:gd name="connsiteY131" fmla="*/ 79663 h 172520"/>
                <a:gd name="connsiteX132" fmla="*/ 20690 w 145477"/>
                <a:gd name="connsiteY132" fmla="*/ 72332 h 172520"/>
                <a:gd name="connsiteX133" fmla="*/ 26717 w 145477"/>
                <a:gd name="connsiteY133" fmla="*/ 68259 h 172520"/>
                <a:gd name="connsiteX134" fmla="*/ 22318 w 145477"/>
                <a:gd name="connsiteY134" fmla="*/ 60276 h 172520"/>
                <a:gd name="connsiteX135" fmla="*/ 21178 w 145477"/>
                <a:gd name="connsiteY135" fmla="*/ 54249 h 172520"/>
                <a:gd name="connsiteX136" fmla="*/ 17594 w 145477"/>
                <a:gd name="connsiteY136" fmla="*/ 52783 h 172520"/>
                <a:gd name="connsiteX137" fmla="*/ 15639 w 145477"/>
                <a:gd name="connsiteY137" fmla="*/ 59788 h 172520"/>
                <a:gd name="connsiteX138" fmla="*/ 11729 w 145477"/>
                <a:gd name="connsiteY138" fmla="*/ 66793 h 172520"/>
                <a:gd name="connsiteX139" fmla="*/ 15314 w 145477"/>
                <a:gd name="connsiteY139" fmla="*/ 70051 h 172520"/>
                <a:gd name="connsiteX140" fmla="*/ 19549 w 145477"/>
                <a:gd name="connsiteY140" fmla="*/ 67770 h 172520"/>
                <a:gd name="connsiteX141" fmla="*/ 20690 w 145477"/>
                <a:gd name="connsiteY141" fmla="*/ 72332 h 172520"/>
                <a:gd name="connsiteX142" fmla="*/ 20690 w 145477"/>
                <a:gd name="connsiteY142" fmla="*/ 72332 h 172520"/>
                <a:gd name="connsiteX143" fmla="*/ 28020 w 145477"/>
                <a:gd name="connsiteY143" fmla="*/ 79337 h 172520"/>
                <a:gd name="connsiteX144" fmla="*/ 21504 w 145477"/>
                <a:gd name="connsiteY144" fmla="*/ 82921 h 172520"/>
                <a:gd name="connsiteX145" fmla="*/ 21504 w 145477"/>
                <a:gd name="connsiteY145" fmla="*/ 87319 h 172520"/>
                <a:gd name="connsiteX146" fmla="*/ 24274 w 145477"/>
                <a:gd name="connsiteY146" fmla="*/ 93673 h 172520"/>
                <a:gd name="connsiteX147" fmla="*/ 28509 w 145477"/>
                <a:gd name="connsiteY147" fmla="*/ 92858 h 172520"/>
                <a:gd name="connsiteX148" fmla="*/ 30790 w 145477"/>
                <a:gd name="connsiteY148" fmla="*/ 88297 h 172520"/>
                <a:gd name="connsiteX149" fmla="*/ 29487 w 145477"/>
                <a:gd name="connsiteY149" fmla="*/ 85039 h 172520"/>
                <a:gd name="connsiteX150" fmla="*/ 30138 w 145477"/>
                <a:gd name="connsiteY150" fmla="*/ 81455 h 172520"/>
                <a:gd name="connsiteX151" fmla="*/ 28183 w 145477"/>
                <a:gd name="connsiteY151" fmla="*/ 79337 h 1725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</a:cxnLst>
              <a:rect l="l" t="t" r="r" b="b"/>
              <a:pathLst>
                <a:path w="145477" h="172520">
                  <a:moveTo>
                    <a:pt x="136029" y="154764"/>
                  </a:moveTo>
                  <a:lnTo>
                    <a:pt x="138799" y="156393"/>
                  </a:lnTo>
                  <a:lnTo>
                    <a:pt x="138799" y="151831"/>
                  </a:lnTo>
                  <a:lnTo>
                    <a:pt x="136029" y="154764"/>
                  </a:lnTo>
                  <a:lnTo>
                    <a:pt x="136029" y="154764"/>
                  </a:lnTo>
                  <a:close/>
                  <a:moveTo>
                    <a:pt x="118435" y="172358"/>
                  </a:moveTo>
                  <a:lnTo>
                    <a:pt x="131631" y="170892"/>
                  </a:lnTo>
                  <a:lnTo>
                    <a:pt x="135866" y="165190"/>
                  </a:lnTo>
                  <a:lnTo>
                    <a:pt x="135866" y="159162"/>
                  </a:lnTo>
                  <a:lnTo>
                    <a:pt x="134074" y="160303"/>
                  </a:lnTo>
                  <a:lnTo>
                    <a:pt x="130979" y="164050"/>
                  </a:lnTo>
                  <a:lnTo>
                    <a:pt x="125766" y="161117"/>
                  </a:lnTo>
                  <a:lnTo>
                    <a:pt x="119738" y="165027"/>
                  </a:lnTo>
                  <a:lnTo>
                    <a:pt x="118435" y="172521"/>
                  </a:lnTo>
                  <a:lnTo>
                    <a:pt x="118435" y="172521"/>
                  </a:lnTo>
                  <a:close/>
                  <a:moveTo>
                    <a:pt x="133260" y="130001"/>
                  </a:moveTo>
                  <a:lnTo>
                    <a:pt x="137658" y="128047"/>
                  </a:lnTo>
                  <a:lnTo>
                    <a:pt x="145478" y="132445"/>
                  </a:lnTo>
                  <a:lnTo>
                    <a:pt x="145152" y="134400"/>
                  </a:lnTo>
                  <a:lnTo>
                    <a:pt x="140428" y="132119"/>
                  </a:lnTo>
                  <a:lnTo>
                    <a:pt x="135703" y="132445"/>
                  </a:lnTo>
                  <a:lnTo>
                    <a:pt x="133423" y="129839"/>
                  </a:lnTo>
                  <a:lnTo>
                    <a:pt x="133423" y="129839"/>
                  </a:lnTo>
                  <a:close/>
                  <a:moveTo>
                    <a:pt x="119249" y="117458"/>
                  </a:moveTo>
                  <a:lnTo>
                    <a:pt x="114199" y="118924"/>
                  </a:lnTo>
                  <a:lnTo>
                    <a:pt x="114525" y="123159"/>
                  </a:lnTo>
                  <a:lnTo>
                    <a:pt x="109312" y="128861"/>
                  </a:lnTo>
                  <a:lnTo>
                    <a:pt x="106542" y="129187"/>
                  </a:lnTo>
                  <a:lnTo>
                    <a:pt x="106054" y="131957"/>
                  </a:lnTo>
                  <a:lnTo>
                    <a:pt x="108660" y="131957"/>
                  </a:lnTo>
                  <a:cubicBezTo>
                    <a:pt x="108660" y="131957"/>
                    <a:pt x="119738" y="125766"/>
                    <a:pt x="119738" y="125766"/>
                  </a:cubicBezTo>
                  <a:lnTo>
                    <a:pt x="120064" y="119901"/>
                  </a:lnTo>
                  <a:lnTo>
                    <a:pt x="119087" y="117458"/>
                  </a:lnTo>
                  <a:lnTo>
                    <a:pt x="119087" y="117458"/>
                  </a:lnTo>
                  <a:close/>
                  <a:moveTo>
                    <a:pt x="104425" y="113222"/>
                  </a:moveTo>
                  <a:lnTo>
                    <a:pt x="110452" y="116480"/>
                  </a:lnTo>
                  <a:lnTo>
                    <a:pt x="110941" y="120716"/>
                  </a:lnTo>
                  <a:lnTo>
                    <a:pt x="107031" y="119901"/>
                  </a:lnTo>
                  <a:lnTo>
                    <a:pt x="103936" y="116154"/>
                  </a:lnTo>
                  <a:lnTo>
                    <a:pt x="104262" y="113059"/>
                  </a:lnTo>
                  <a:lnTo>
                    <a:pt x="104262" y="113059"/>
                  </a:lnTo>
                  <a:close/>
                  <a:moveTo>
                    <a:pt x="84550" y="93184"/>
                  </a:moveTo>
                  <a:lnTo>
                    <a:pt x="88948" y="101330"/>
                  </a:lnTo>
                  <a:lnTo>
                    <a:pt x="90415" y="107520"/>
                  </a:lnTo>
                  <a:lnTo>
                    <a:pt x="94813" y="115666"/>
                  </a:lnTo>
                  <a:lnTo>
                    <a:pt x="91718" y="115340"/>
                  </a:lnTo>
                  <a:lnTo>
                    <a:pt x="88623" y="111430"/>
                  </a:lnTo>
                  <a:lnTo>
                    <a:pt x="84387" y="104588"/>
                  </a:lnTo>
                  <a:lnTo>
                    <a:pt x="87156" y="102796"/>
                  </a:lnTo>
                  <a:lnTo>
                    <a:pt x="83898" y="96279"/>
                  </a:lnTo>
                  <a:lnTo>
                    <a:pt x="84550" y="93184"/>
                  </a:lnTo>
                  <a:lnTo>
                    <a:pt x="84550" y="93184"/>
                  </a:lnTo>
                  <a:close/>
                  <a:moveTo>
                    <a:pt x="66304" y="90741"/>
                  </a:moveTo>
                  <a:lnTo>
                    <a:pt x="65326" y="94976"/>
                  </a:lnTo>
                  <a:lnTo>
                    <a:pt x="69399" y="94976"/>
                  </a:lnTo>
                  <a:lnTo>
                    <a:pt x="66304" y="90741"/>
                  </a:lnTo>
                  <a:lnTo>
                    <a:pt x="66304" y="90741"/>
                  </a:lnTo>
                  <a:close/>
                  <a:moveTo>
                    <a:pt x="106054" y="80314"/>
                  </a:moveTo>
                  <a:lnTo>
                    <a:pt x="102958" y="85527"/>
                  </a:lnTo>
                  <a:lnTo>
                    <a:pt x="105565" y="87971"/>
                  </a:lnTo>
                  <a:lnTo>
                    <a:pt x="107846" y="83735"/>
                  </a:lnTo>
                  <a:lnTo>
                    <a:pt x="106217" y="80477"/>
                  </a:lnTo>
                  <a:lnTo>
                    <a:pt x="106217" y="80477"/>
                  </a:lnTo>
                  <a:close/>
                  <a:moveTo>
                    <a:pt x="78033" y="66141"/>
                  </a:moveTo>
                  <a:lnTo>
                    <a:pt x="77219" y="69236"/>
                  </a:lnTo>
                  <a:lnTo>
                    <a:pt x="81129" y="73635"/>
                  </a:lnTo>
                  <a:lnTo>
                    <a:pt x="82106" y="80640"/>
                  </a:lnTo>
                  <a:lnTo>
                    <a:pt x="79988" y="83084"/>
                  </a:lnTo>
                  <a:lnTo>
                    <a:pt x="82269" y="86016"/>
                  </a:lnTo>
                  <a:lnTo>
                    <a:pt x="88297" y="85527"/>
                  </a:lnTo>
                  <a:lnTo>
                    <a:pt x="88623" y="82432"/>
                  </a:lnTo>
                  <a:lnTo>
                    <a:pt x="84713" y="75264"/>
                  </a:lnTo>
                  <a:lnTo>
                    <a:pt x="83409" y="69888"/>
                  </a:lnTo>
                  <a:lnTo>
                    <a:pt x="78359" y="66141"/>
                  </a:lnTo>
                  <a:lnTo>
                    <a:pt x="78359" y="66141"/>
                  </a:lnTo>
                  <a:close/>
                  <a:moveTo>
                    <a:pt x="57507" y="44311"/>
                  </a:moveTo>
                  <a:lnTo>
                    <a:pt x="64675" y="48384"/>
                  </a:lnTo>
                  <a:lnTo>
                    <a:pt x="69236" y="54900"/>
                  </a:lnTo>
                  <a:lnTo>
                    <a:pt x="67282" y="62883"/>
                  </a:lnTo>
                  <a:lnTo>
                    <a:pt x="64349" y="63698"/>
                  </a:lnTo>
                  <a:lnTo>
                    <a:pt x="62068" y="61091"/>
                  </a:lnTo>
                  <a:lnTo>
                    <a:pt x="65164" y="59462"/>
                  </a:lnTo>
                  <a:lnTo>
                    <a:pt x="66956" y="55552"/>
                  </a:lnTo>
                  <a:lnTo>
                    <a:pt x="63209" y="50176"/>
                  </a:lnTo>
                  <a:lnTo>
                    <a:pt x="57181" y="47895"/>
                  </a:lnTo>
                  <a:lnTo>
                    <a:pt x="57670" y="44148"/>
                  </a:lnTo>
                  <a:lnTo>
                    <a:pt x="57670" y="44148"/>
                  </a:lnTo>
                  <a:close/>
                  <a:moveTo>
                    <a:pt x="30953" y="0"/>
                  </a:moveTo>
                  <a:lnTo>
                    <a:pt x="38121" y="0"/>
                  </a:lnTo>
                  <a:cubicBezTo>
                    <a:pt x="38121" y="0"/>
                    <a:pt x="45777" y="5213"/>
                    <a:pt x="45777" y="5213"/>
                  </a:cubicBezTo>
                  <a:lnTo>
                    <a:pt x="46755" y="10263"/>
                  </a:lnTo>
                  <a:lnTo>
                    <a:pt x="50502" y="12707"/>
                  </a:lnTo>
                  <a:lnTo>
                    <a:pt x="50502" y="19712"/>
                  </a:lnTo>
                  <a:lnTo>
                    <a:pt x="45452" y="22807"/>
                  </a:lnTo>
                  <a:lnTo>
                    <a:pt x="45777" y="27206"/>
                  </a:lnTo>
                  <a:lnTo>
                    <a:pt x="41542" y="31604"/>
                  </a:lnTo>
                  <a:lnTo>
                    <a:pt x="43334" y="23133"/>
                  </a:lnTo>
                  <a:lnTo>
                    <a:pt x="41868" y="18409"/>
                  </a:lnTo>
                  <a:lnTo>
                    <a:pt x="45126" y="15313"/>
                  </a:lnTo>
                  <a:lnTo>
                    <a:pt x="39424" y="7983"/>
                  </a:lnTo>
                  <a:lnTo>
                    <a:pt x="38447" y="2769"/>
                  </a:lnTo>
                  <a:lnTo>
                    <a:pt x="30627" y="163"/>
                  </a:lnTo>
                  <a:lnTo>
                    <a:pt x="30627" y="163"/>
                  </a:lnTo>
                  <a:close/>
                  <a:moveTo>
                    <a:pt x="163" y="5050"/>
                  </a:moveTo>
                  <a:lnTo>
                    <a:pt x="6679" y="5050"/>
                  </a:lnTo>
                  <a:lnTo>
                    <a:pt x="9774" y="7331"/>
                  </a:lnTo>
                  <a:lnTo>
                    <a:pt x="16942" y="2932"/>
                  </a:lnTo>
                  <a:lnTo>
                    <a:pt x="24925" y="2932"/>
                  </a:lnTo>
                  <a:lnTo>
                    <a:pt x="30464" y="8145"/>
                  </a:lnTo>
                  <a:lnTo>
                    <a:pt x="26391" y="7657"/>
                  </a:lnTo>
                  <a:lnTo>
                    <a:pt x="21341" y="6516"/>
                  </a:lnTo>
                  <a:lnTo>
                    <a:pt x="11729" y="13359"/>
                  </a:lnTo>
                  <a:lnTo>
                    <a:pt x="6516" y="12381"/>
                  </a:lnTo>
                  <a:lnTo>
                    <a:pt x="0" y="5213"/>
                  </a:lnTo>
                  <a:lnTo>
                    <a:pt x="0" y="5213"/>
                  </a:lnTo>
                  <a:close/>
                  <a:moveTo>
                    <a:pt x="31604" y="53760"/>
                  </a:moveTo>
                  <a:lnTo>
                    <a:pt x="38121" y="50339"/>
                  </a:lnTo>
                  <a:lnTo>
                    <a:pt x="43985" y="51805"/>
                  </a:lnTo>
                  <a:lnTo>
                    <a:pt x="41868" y="55715"/>
                  </a:lnTo>
                  <a:lnTo>
                    <a:pt x="34863" y="55715"/>
                  </a:lnTo>
                  <a:cubicBezTo>
                    <a:pt x="34863" y="55715"/>
                    <a:pt x="31604" y="53923"/>
                    <a:pt x="31604" y="53923"/>
                  </a:cubicBezTo>
                  <a:lnTo>
                    <a:pt x="31604" y="53923"/>
                  </a:lnTo>
                  <a:close/>
                  <a:moveTo>
                    <a:pt x="24599" y="78359"/>
                  </a:moveTo>
                  <a:lnTo>
                    <a:pt x="22970" y="75916"/>
                  </a:lnTo>
                  <a:lnTo>
                    <a:pt x="27532" y="74450"/>
                  </a:lnTo>
                  <a:lnTo>
                    <a:pt x="24599" y="78359"/>
                  </a:lnTo>
                  <a:lnTo>
                    <a:pt x="24599" y="78359"/>
                  </a:lnTo>
                  <a:close/>
                  <a:moveTo>
                    <a:pt x="19549" y="79663"/>
                  </a:moveTo>
                  <a:lnTo>
                    <a:pt x="21830" y="77708"/>
                  </a:lnTo>
                  <a:lnTo>
                    <a:pt x="22318" y="80966"/>
                  </a:lnTo>
                  <a:lnTo>
                    <a:pt x="19549" y="79663"/>
                  </a:lnTo>
                  <a:lnTo>
                    <a:pt x="19549" y="79663"/>
                  </a:lnTo>
                  <a:close/>
                  <a:moveTo>
                    <a:pt x="20690" y="72332"/>
                  </a:moveTo>
                  <a:lnTo>
                    <a:pt x="26717" y="68259"/>
                  </a:lnTo>
                  <a:lnTo>
                    <a:pt x="22318" y="60276"/>
                  </a:lnTo>
                  <a:lnTo>
                    <a:pt x="21178" y="54249"/>
                  </a:lnTo>
                  <a:lnTo>
                    <a:pt x="17594" y="52783"/>
                  </a:lnTo>
                  <a:lnTo>
                    <a:pt x="15639" y="59788"/>
                  </a:lnTo>
                  <a:lnTo>
                    <a:pt x="11729" y="66793"/>
                  </a:lnTo>
                  <a:lnTo>
                    <a:pt x="15314" y="70051"/>
                  </a:lnTo>
                  <a:lnTo>
                    <a:pt x="19549" y="67770"/>
                  </a:lnTo>
                  <a:lnTo>
                    <a:pt x="20690" y="72332"/>
                  </a:lnTo>
                  <a:lnTo>
                    <a:pt x="20690" y="72332"/>
                  </a:lnTo>
                  <a:close/>
                  <a:moveTo>
                    <a:pt x="28020" y="79337"/>
                  </a:moveTo>
                  <a:lnTo>
                    <a:pt x="21504" y="82921"/>
                  </a:lnTo>
                  <a:lnTo>
                    <a:pt x="21504" y="87319"/>
                  </a:lnTo>
                  <a:cubicBezTo>
                    <a:pt x="21504" y="87319"/>
                    <a:pt x="24274" y="93673"/>
                    <a:pt x="24274" y="93673"/>
                  </a:cubicBezTo>
                  <a:lnTo>
                    <a:pt x="28509" y="92858"/>
                  </a:lnTo>
                  <a:lnTo>
                    <a:pt x="30790" y="88297"/>
                  </a:lnTo>
                  <a:lnTo>
                    <a:pt x="29487" y="85039"/>
                  </a:lnTo>
                  <a:lnTo>
                    <a:pt x="30138" y="81455"/>
                  </a:lnTo>
                  <a:lnTo>
                    <a:pt x="28183" y="79337"/>
                  </a:lnTo>
                  <a:close/>
                </a:path>
              </a:pathLst>
            </a:custGeom>
            <a:solidFill>
              <a:schemeClr val="bg2"/>
            </a:solidFill>
            <a:ln w="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56" name="Forma livre: Forma 55">
              <a:extLst>
                <a:ext uri="{FF2B5EF4-FFF2-40B4-BE49-F238E27FC236}">
                  <a16:creationId xmlns:a16="http://schemas.microsoft.com/office/drawing/2014/main" id="{2FD4E91D-68C0-545C-4B5D-392003B888D4}"/>
                </a:ext>
              </a:extLst>
            </p:cNvPr>
            <p:cNvSpPr/>
            <p:nvPr/>
          </p:nvSpPr>
          <p:spPr>
            <a:xfrm>
              <a:off x="2853706" y="3381107"/>
              <a:ext cx="1494110" cy="883840"/>
            </a:xfrm>
            <a:custGeom>
              <a:avLst/>
              <a:gdLst>
                <a:gd name="connsiteX0" fmla="*/ 123811 w 1445818"/>
                <a:gd name="connsiteY0" fmla="*/ 1466 h 855273"/>
                <a:gd name="connsiteX1" fmla="*/ 787992 w 1445818"/>
                <a:gd name="connsiteY1" fmla="*/ 67770 h 855273"/>
                <a:gd name="connsiteX2" fmla="*/ 792879 w 1445818"/>
                <a:gd name="connsiteY2" fmla="*/ 68422 h 855273"/>
                <a:gd name="connsiteX3" fmla="*/ 798744 w 1445818"/>
                <a:gd name="connsiteY3" fmla="*/ 68422 h 855273"/>
                <a:gd name="connsiteX4" fmla="*/ 804445 w 1445818"/>
                <a:gd name="connsiteY4" fmla="*/ 72983 h 855273"/>
                <a:gd name="connsiteX5" fmla="*/ 804934 w 1445818"/>
                <a:gd name="connsiteY5" fmla="*/ 74938 h 855273"/>
                <a:gd name="connsiteX6" fmla="*/ 808355 w 1445818"/>
                <a:gd name="connsiteY6" fmla="*/ 78522 h 855273"/>
                <a:gd name="connsiteX7" fmla="*/ 809333 w 1445818"/>
                <a:gd name="connsiteY7" fmla="*/ 79337 h 855273"/>
                <a:gd name="connsiteX8" fmla="*/ 814546 w 1445818"/>
                <a:gd name="connsiteY8" fmla="*/ 81129 h 855273"/>
                <a:gd name="connsiteX9" fmla="*/ 815360 w 1445818"/>
                <a:gd name="connsiteY9" fmla="*/ 82432 h 855273"/>
                <a:gd name="connsiteX10" fmla="*/ 820736 w 1445818"/>
                <a:gd name="connsiteY10" fmla="*/ 83898 h 855273"/>
                <a:gd name="connsiteX11" fmla="*/ 823180 w 1445818"/>
                <a:gd name="connsiteY11" fmla="*/ 87156 h 855273"/>
                <a:gd name="connsiteX12" fmla="*/ 825135 w 1445818"/>
                <a:gd name="connsiteY12" fmla="*/ 86668 h 855273"/>
                <a:gd name="connsiteX13" fmla="*/ 829859 w 1445818"/>
                <a:gd name="connsiteY13" fmla="*/ 85364 h 855273"/>
                <a:gd name="connsiteX14" fmla="*/ 833769 w 1445818"/>
                <a:gd name="connsiteY14" fmla="*/ 86668 h 855273"/>
                <a:gd name="connsiteX15" fmla="*/ 838493 w 1445818"/>
                <a:gd name="connsiteY15" fmla="*/ 86179 h 855273"/>
                <a:gd name="connsiteX16" fmla="*/ 844521 w 1445818"/>
                <a:gd name="connsiteY16" fmla="*/ 90903 h 855273"/>
                <a:gd name="connsiteX17" fmla="*/ 847779 w 1445818"/>
                <a:gd name="connsiteY17" fmla="*/ 90903 h 855273"/>
                <a:gd name="connsiteX18" fmla="*/ 850386 w 1445818"/>
                <a:gd name="connsiteY18" fmla="*/ 96605 h 855273"/>
                <a:gd name="connsiteX19" fmla="*/ 859183 w 1445818"/>
                <a:gd name="connsiteY19" fmla="*/ 99375 h 855273"/>
                <a:gd name="connsiteX20" fmla="*/ 864233 w 1445818"/>
                <a:gd name="connsiteY20" fmla="*/ 100841 h 855273"/>
                <a:gd name="connsiteX21" fmla="*/ 867817 w 1445818"/>
                <a:gd name="connsiteY21" fmla="*/ 104751 h 855273"/>
                <a:gd name="connsiteX22" fmla="*/ 871727 w 1445818"/>
                <a:gd name="connsiteY22" fmla="*/ 106543 h 855273"/>
                <a:gd name="connsiteX23" fmla="*/ 880035 w 1445818"/>
                <a:gd name="connsiteY23" fmla="*/ 106543 h 855273"/>
                <a:gd name="connsiteX24" fmla="*/ 884108 w 1445818"/>
                <a:gd name="connsiteY24" fmla="*/ 103773 h 855273"/>
                <a:gd name="connsiteX25" fmla="*/ 886715 w 1445818"/>
                <a:gd name="connsiteY25" fmla="*/ 106217 h 855273"/>
                <a:gd name="connsiteX26" fmla="*/ 888670 w 1445818"/>
                <a:gd name="connsiteY26" fmla="*/ 110452 h 855273"/>
                <a:gd name="connsiteX27" fmla="*/ 900725 w 1445818"/>
                <a:gd name="connsiteY27" fmla="*/ 111267 h 855273"/>
                <a:gd name="connsiteX28" fmla="*/ 903331 w 1445818"/>
                <a:gd name="connsiteY28" fmla="*/ 113711 h 855273"/>
                <a:gd name="connsiteX29" fmla="*/ 909359 w 1445818"/>
                <a:gd name="connsiteY29" fmla="*/ 115014 h 855273"/>
                <a:gd name="connsiteX30" fmla="*/ 913269 w 1445818"/>
                <a:gd name="connsiteY30" fmla="*/ 117783 h 855273"/>
                <a:gd name="connsiteX31" fmla="*/ 1015413 w 1445818"/>
                <a:gd name="connsiteY31" fmla="*/ 165679 h 855273"/>
                <a:gd name="connsiteX32" fmla="*/ 1022092 w 1445818"/>
                <a:gd name="connsiteY32" fmla="*/ 173824 h 855273"/>
                <a:gd name="connsiteX33" fmla="*/ 1037731 w 1445818"/>
                <a:gd name="connsiteY33" fmla="*/ 186205 h 855273"/>
                <a:gd name="connsiteX34" fmla="*/ 1054348 w 1445818"/>
                <a:gd name="connsiteY34" fmla="*/ 264564 h 855273"/>
                <a:gd name="connsiteX35" fmla="*/ 1052230 w 1445818"/>
                <a:gd name="connsiteY35" fmla="*/ 298775 h 855273"/>
                <a:gd name="connsiteX36" fmla="*/ 1049624 w 1445818"/>
                <a:gd name="connsiteY36" fmla="*/ 304966 h 855273"/>
                <a:gd name="connsiteX37" fmla="*/ 1046854 w 1445818"/>
                <a:gd name="connsiteY37" fmla="*/ 310505 h 855273"/>
                <a:gd name="connsiteX38" fmla="*/ 1042944 w 1445818"/>
                <a:gd name="connsiteY38" fmla="*/ 315881 h 855273"/>
                <a:gd name="connsiteX39" fmla="*/ 1033170 w 1445818"/>
                <a:gd name="connsiteY39" fmla="*/ 320605 h 855273"/>
                <a:gd name="connsiteX40" fmla="*/ 1028120 w 1445818"/>
                <a:gd name="connsiteY40" fmla="*/ 326796 h 855273"/>
                <a:gd name="connsiteX41" fmla="*/ 1032518 w 1445818"/>
                <a:gd name="connsiteY41" fmla="*/ 334452 h 855273"/>
                <a:gd name="connsiteX42" fmla="*/ 1120326 w 1445818"/>
                <a:gd name="connsiteY42" fmla="*/ 310831 h 855273"/>
                <a:gd name="connsiteX43" fmla="*/ 1131404 w 1445818"/>
                <a:gd name="connsiteY43" fmla="*/ 307247 h 855273"/>
                <a:gd name="connsiteX44" fmla="*/ 1133522 w 1445818"/>
                <a:gd name="connsiteY44" fmla="*/ 294703 h 855273"/>
                <a:gd name="connsiteX45" fmla="*/ 1181743 w 1445818"/>
                <a:gd name="connsiteY45" fmla="*/ 280692 h 855273"/>
                <a:gd name="connsiteX46" fmla="*/ 1203084 w 1445818"/>
                <a:gd name="connsiteY46" fmla="*/ 264727 h 855273"/>
                <a:gd name="connsiteX47" fmla="*/ 1207809 w 1445818"/>
                <a:gd name="connsiteY47" fmla="*/ 261306 h 855273"/>
                <a:gd name="connsiteX48" fmla="*/ 1214814 w 1445818"/>
                <a:gd name="connsiteY48" fmla="*/ 260003 h 855273"/>
                <a:gd name="connsiteX49" fmla="*/ 1226217 w 1445818"/>
                <a:gd name="connsiteY49" fmla="*/ 249251 h 855273"/>
                <a:gd name="connsiteX50" fmla="*/ 1231267 w 1445818"/>
                <a:gd name="connsiteY50" fmla="*/ 245178 h 855273"/>
                <a:gd name="connsiteX51" fmla="*/ 1237621 w 1445818"/>
                <a:gd name="connsiteY51" fmla="*/ 242572 h 855273"/>
                <a:gd name="connsiteX52" fmla="*/ 1242019 w 1445818"/>
                <a:gd name="connsiteY52" fmla="*/ 238336 h 855273"/>
                <a:gd name="connsiteX53" fmla="*/ 1250979 w 1445818"/>
                <a:gd name="connsiteY53" fmla="*/ 237033 h 855273"/>
                <a:gd name="connsiteX54" fmla="*/ 1325592 w 1445818"/>
                <a:gd name="connsiteY54" fmla="*/ 238336 h 855273"/>
                <a:gd name="connsiteX55" fmla="*/ 1331294 w 1445818"/>
                <a:gd name="connsiteY55" fmla="*/ 232960 h 855273"/>
                <a:gd name="connsiteX56" fmla="*/ 1333411 w 1445818"/>
                <a:gd name="connsiteY56" fmla="*/ 232471 h 855273"/>
                <a:gd name="connsiteX57" fmla="*/ 1335692 w 1445818"/>
                <a:gd name="connsiteY57" fmla="*/ 230679 h 855273"/>
                <a:gd name="connsiteX58" fmla="*/ 1338950 w 1445818"/>
                <a:gd name="connsiteY58" fmla="*/ 230679 h 855273"/>
                <a:gd name="connsiteX59" fmla="*/ 1343512 w 1445818"/>
                <a:gd name="connsiteY59" fmla="*/ 231657 h 855273"/>
                <a:gd name="connsiteX60" fmla="*/ 1346444 w 1445818"/>
                <a:gd name="connsiteY60" fmla="*/ 229702 h 855273"/>
                <a:gd name="connsiteX61" fmla="*/ 1347748 w 1445818"/>
                <a:gd name="connsiteY61" fmla="*/ 225955 h 855273"/>
                <a:gd name="connsiteX62" fmla="*/ 1355893 w 1445818"/>
                <a:gd name="connsiteY62" fmla="*/ 217158 h 855273"/>
                <a:gd name="connsiteX63" fmla="*/ 1359151 w 1445818"/>
                <a:gd name="connsiteY63" fmla="*/ 216018 h 855273"/>
                <a:gd name="connsiteX64" fmla="*/ 1365667 w 1445818"/>
                <a:gd name="connsiteY64" fmla="*/ 208035 h 855273"/>
                <a:gd name="connsiteX65" fmla="*/ 1367948 w 1445818"/>
                <a:gd name="connsiteY65" fmla="*/ 202333 h 855273"/>
                <a:gd name="connsiteX66" fmla="*/ 1368763 w 1445818"/>
                <a:gd name="connsiteY66" fmla="*/ 196631 h 855273"/>
                <a:gd name="connsiteX67" fmla="*/ 1375279 w 1445818"/>
                <a:gd name="connsiteY67" fmla="*/ 193210 h 855273"/>
                <a:gd name="connsiteX68" fmla="*/ 1374953 w 1445818"/>
                <a:gd name="connsiteY68" fmla="*/ 188812 h 855273"/>
                <a:gd name="connsiteX69" fmla="*/ 1379352 w 1445818"/>
                <a:gd name="connsiteY69" fmla="*/ 183110 h 855273"/>
                <a:gd name="connsiteX70" fmla="*/ 1388475 w 1445818"/>
                <a:gd name="connsiteY70" fmla="*/ 173010 h 855273"/>
                <a:gd name="connsiteX71" fmla="*/ 1390430 w 1445818"/>
                <a:gd name="connsiteY71" fmla="*/ 168937 h 855273"/>
                <a:gd name="connsiteX72" fmla="*/ 1394828 w 1445818"/>
                <a:gd name="connsiteY72" fmla="*/ 164701 h 855273"/>
                <a:gd name="connsiteX73" fmla="*/ 1396457 w 1445818"/>
                <a:gd name="connsiteY73" fmla="*/ 164212 h 855273"/>
                <a:gd name="connsiteX74" fmla="*/ 1399553 w 1445818"/>
                <a:gd name="connsiteY74" fmla="*/ 166330 h 855273"/>
                <a:gd name="connsiteX75" fmla="*/ 1403137 w 1445818"/>
                <a:gd name="connsiteY75" fmla="*/ 169751 h 855273"/>
                <a:gd name="connsiteX76" fmla="*/ 1408513 w 1445818"/>
                <a:gd name="connsiteY76" fmla="*/ 168285 h 855273"/>
                <a:gd name="connsiteX77" fmla="*/ 1415518 w 1445818"/>
                <a:gd name="connsiteY77" fmla="*/ 170077 h 855273"/>
                <a:gd name="connsiteX78" fmla="*/ 1417799 w 1445818"/>
                <a:gd name="connsiteY78" fmla="*/ 168122 h 855273"/>
                <a:gd name="connsiteX79" fmla="*/ 1427736 w 1445818"/>
                <a:gd name="connsiteY79" fmla="*/ 177734 h 855273"/>
                <a:gd name="connsiteX80" fmla="*/ 1428062 w 1445818"/>
                <a:gd name="connsiteY80" fmla="*/ 186042 h 855273"/>
                <a:gd name="connsiteX81" fmla="*/ 1422523 w 1445818"/>
                <a:gd name="connsiteY81" fmla="*/ 218298 h 855273"/>
                <a:gd name="connsiteX82" fmla="*/ 1421219 w 1445818"/>
                <a:gd name="connsiteY82" fmla="*/ 222045 h 855273"/>
                <a:gd name="connsiteX83" fmla="*/ 1423500 w 1445818"/>
                <a:gd name="connsiteY83" fmla="*/ 222534 h 855273"/>
                <a:gd name="connsiteX84" fmla="*/ 1425129 w 1445818"/>
                <a:gd name="connsiteY84" fmla="*/ 225466 h 855273"/>
                <a:gd name="connsiteX85" fmla="*/ 1427410 w 1445818"/>
                <a:gd name="connsiteY85" fmla="*/ 228236 h 855273"/>
                <a:gd name="connsiteX86" fmla="*/ 1427410 w 1445818"/>
                <a:gd name="connsiteY86" fmla="*/ 232471 h 855273"/>
                <a:gd name="connsiteX87" fmla="*/ 1426758 w 1445818"/>
                <a:gd name="connsiteY87" fmla="*/ 235078 h 855273"/>
                <a:gd name="connsiteX88" fmla="*/ 1427247 w 1445818"/>
                <a:gd name="connsiteY88" fmla="*/ 237522 h 855273"/>
                <a:gd name="connsiteX89" fmla="*/ 1425944 w 1445818"/>
                <a:gd name="connsiteY89" fmla="*/ 239802 h 855273"/>
                <a:gd name="connsiteX90" fmla="*/ 1427084 w 1445818"/>
                <a:gd name="connsiteY90" fmla="*/ 241431 h 855273"/>
                <a:gd name="connsiteX91" fmla="*/ 1427410 w 1445818"/>
                <a:gd name="connsiteY91" fmla="*/ 241431 h 855273"/>
                <a:gd name="connsiteX92" fmla="*/ 1427410 w 1445818"/>
                <a:gd name="connsiteY92" fmla="*/ 241431 h 855273"/>
                <a:gd name="connsiteX93" fmla="*/ 1437022 w 1445818"/>
                <a:gd name="connsiteY93" fmla="*/ 246970 h 855273"/>
                <a:gd name="connsiteX94" fmla="*/ 1435230 w 1445818"/>
                <a:gd name="connsiteY94" fmla="*/ 252672 h 855273"/>
                <a:gd name="connsiteX95" fmla="*/ 1438814 w 1445818"/>
                <a:gd name="connsiteY95" fmla="*/ 256582 h 855273"/>
                <a:gd name="connsiteX96" fmla="*/ 1440932 w 1445818"/>
                <a:gd name="connsiteY96" fmla="*/ 252998 h 855273"/>
                <a:gd name="connsiteX97" fmla="*/ 1445819 w 1445818"/>
                <a:gd name="connsiteY97" fmla="*/ 255930 h 855273"/>
                <a:gd name="connsiteX98" fmla="*/ 1442398 w 1445818"/>
                <a:gd name="connsiteY98" fmla="*/ 260166 h 855273"/>
                <a:gd name="connsiteX99" fmla="*/ 1437836 w 1445818"/>
                <a:gd name="connsiteY99" fmla="*/ 260818 h 855273"/>
                <a:gd name="connsiteX100" fmla="*/ 1436044 w 1445818"/>
                <a:gd name="connsiteY100" fmla="*/ 257722 h 855273"/>
                <a:gd name="connsiteX101" fmla="*/ 1429854 w 1445818"/>
                <a:gd name="connsiteY101" fmla="*/ 261306 h 855273"/>
                <a:gd name="connsiteX102" fmla="*/ 1425944 w 1445818"/>
                <a:gd name="connsiteY102" fmla="*/ 260980 h 855273"/>
                <a:gd name="connsiteX103" fmla="*/ 1421383 w 1445818"/>
                <a:gd name="connsiteY103" fmla="*/ 264076 h 855273"/>
                <a:gd name="connsiteX104" fmla="*/ 1418613 w 1445818"/>
                <a:gd name="connsiteY104" fmla="*/ 265542 h 855273"/>
                <a:gd name="connsiteX105" fmla="*/ 1414703 w 1445818"/>
                <a:gd name="connsiteY105" fmla="*/ 263913 h 855273"/>
                <a:gd name="connsiteX106" fmla="*/ 1410467 w 1445818"/>
                <a:gd name="connsiteY106" fmla="*/ 269615 h 855273"/>
                <a:gd name="connsiteX107" fmla="*/ 1406883 w 1445818"/>
                <a:gd name="connsiteY107" fmla="*/ 269615 h 855273"/>
                <a:gd name="connsiteX108" fmla="*/ 1405417 w 1445818"/>
                <a:gd name="connsiteY108" fmla="*/ 263913 h 855273"/>
                <a:gd name="connsiteX109" fmla="*/ 1399716 w 1445818"/>
                <a:gd name="connsiteY109" fmla="*/ 263913 h 855273"/>
                <a:gd name="connsiteX110" fmla="*/ 1395317 w 1445818"/>
                <a:gd name="connsiteY110" fmla="*/ 268637 h 855273"/>
                <a:gd name="connsiteX111" fmla="*/ 1390592 w 1445818"/>
                <a:gd name="connsiteY111" fmla="*/ 269452 h 855273"/>
                <a:gd name="connsiteX112" fmla="*/ 1389289 w 1445818"/>
                <a:gd name="connsiteY112" fmla="*/ 265379 h 855273"/>
                <a:gd name="connsiteX113" fmla="*/ 1390756 w 1445818"/>
                <a:gd name="connsiteY113" fmla="*/ 260329 h 855273"/>
                <a:gd name="connsiteX114" fmla="*/ 1384076 w 1445818"/>
                <a:gd name="connsiteY114" fmla="*/ 268637 h 855273"/>
                <a:gd name="connsiteX115" fmla="*/ 1379352 w 1445818"/>
                <a:gd name="connsiteY115" fmla="*/ 276620 h 855273"/>
                <a:gd name="connsiteX116" fmla="*/ 1376419 w 1445818"/>
                <a:gd name="connsiteY116" fmla="*/ 278575 h 855273"/>
                <a:gd name="connsiteX117" fmla="*/ 1374953 w 1445818"/>
                <a:gd name="connsiteY117" fmla="*/ 276131 h 855273"/>
                <a:gd name="connsiteX118" fmla="*/ 1372021 w 1445818"/>
                <a:gd name="connsiteY118" fmla="*/ 281833 h 855273"/>
                <a:gd name="connsiteX119" fmla="*/ 1369089 w 1445818"/>
                <a:gd name="connsiteY119" fmla="*/ 281833 h 855273"/>
                <a:gd name="connsiteX120" fmla="*/ 1368437 w 1445818"/>
                <a:gd name="connsiteY120" fmla="*/ 276457 h 855273"/>
                <a:gd name="connsiteX121" fmla="*/ 1365667 w 1445818"/>
                <a:gd name="connsiteY121" fmla="*/ 281670 h 855273"/>
                <a:gd name="connsiteX122" fmla="*/ 1363224 w 1445818"/>
                <a:gd name="connsiteY122" fmla="*/ 284765 h 855273"/>
                <a:gd name="connsiteX123" fmla="*/ 1359803 w 1445818"/>
                <a:gd name="connsiteY123" fmla="*/ 283625 h 855273"/>
                <a:gd name="connsiteX124" fmla="*/ 1359477 w 1445818"/>
                <a:gd name="connsiteY124" fmla="*/ 280367 h 855273"/>
                <a:gd name="connsiteX125" fmla="*/ 1356545 w 1445818"/>
                <a:gd name="connsiteY125" fmla="*/ 284928 h 855273"/>
                <a:gd name="connsiteX126" fmla="*/ 1353775 w 1445818"/>
                <a:gd name="connsiteY126" fmla="*/ 284928 h 855273"/>
                <a:gd name="connsiteX127" fmla="*/ 1350680 w 1445818"/>
                <a:gd name="connsiteY127" fmla="*/ 291770 h 855273"/>
                <a:gd name="connsiteX128" fmla="*/ 1341231 w 1445818"/>
                <a:gd name="connsiteY128" fmla="*/ 299101 h 855273"/>
                <a:gd name="connsiteX129" fmla="*/ 1337973 w 1445818"/>
                <a:gd name="connsiteY129" fmla="*/ 308061 h 855273"/>
                <a:gd name="connsiteX130" fmla="*/ 1334878 w 1445818"/>
                <a:gd name="connsiteY130" fmla="*/ 311971 h 855273"/>
                <a:gd name="connsiteX131" fmla="*/ 1333737 w 1445818"/>
                <a:gd name="connsiteY131" fmla="*/ 315718 h 855273"/>
                <a:gd name="connsiteX132" fmla="*/ 1331131 w 1445818"/>
                <a:gd name="connsiteY132" fmla="*/ 317673 h 855273"/>
                <a:gd name="connsiteX133" fmla="*/ 1330642 w 1445818"/>
                <a:gd name="connsiteY133" fmla="*/ 320768 h 855273"/>
                <a:gd name="connsiteX134" fmla="*/ 1333900 w 1445818"/>
                <a:gd name="connsiteY134" fmla="*/ 320768 h 855273"/>
                <a:gd name="connsiteX135" fmla="*/ 1334226 w 1445818"/>
                <a:gd name="connsiteY135" fmla="*/ 324678 h 855273"/>
                <a:gd name="connsiteX136" fmla="*/ 1325266 w 1445818"/>
                <a:gd name="connsiteY136" fmla="*/ 332823 h 855273"/>
                <a:gd name="connsiteX137" fmla="*/ 1325266 w 1445818"/>
                <a:gd name="connsiteY137" fmla="*/ 335267 h 855273"/>
                <a:gd name="connsiteX138" fmla="*/ 1331782 w 1445818"/>
                <a:gd name="connsiteY138" fmla="*/ 339014 h 855273"/>
                <a:gd name="connsiteX139" fmla="*/ 1334552 w 1445818"/>
                <a:gd name="connsiteY139" fmla="*/ 347322 h 855273"/>
                <a:gd name="connsiteX140" fmla="*/ 1335366 w 1445818"/>
                <a:gd name="connsiteY140" fmla="*/ 351558 h 855273"/>
                <a:gd name="connsiteX141" fmla="*/ 1342697 w 1445818"/>
                <a:gd name="connsiteY141" fmla="*/ 351558 h 855273"/>
                <a:gd name="connsiteX142" fmla="*/ 1344652 w 1445818"/>
                <a:gd name="connsiteY142" fmla="*/ 345693 h 855273"/>
                <a:gd name="connsiteX143" fmla="*/ 1344164 w 1445818"/>
                <a:gd name="connsiteY143" fmla="*/ 341295 h 855273"/>
                <a:gd name="connsiteX144" fmla="*/ 1346607 w 1445818"/>
                <a:gd name="connsiteY144" fmla="*/ 340480 h 855273"/>
                <a:gd name="connsiteX145" fmla="*/ 1349051 w 1445818"/>
                <a:gd name="connsiteY145" fmla="*/ 349114 h 855273"/>
                <a:gd name="connsiteX146" fmla="*/ 1345956 w 1445818"/>
                <a:gd name="connsiteY146" fmla="*/ 354490 h 855273"/>
                <a:gd name="connsiteX147" fmla="*/ 1334063 w 1445818"/>
                <a:gd name="connsiteY147" fmla="*/ 360355 h 855273"/>
                <a:gd name="connsiteX148" fmla="*/ 1330968 w 1445818"/>
                <a:gd name="connsiteY148" fmla="*/ 359215 h 855273"/>
                <a:gd name="connsiteX149" fmla="*/ 1330968 w 1445818"/>
                <a:gd name="connsiteY149" fmla="*/ 355794 h 855273"/>
                <a:gd name="connsiteX150" fmla="*/ 1328687 w 1445818"/>
                <a:gd name="connsiteY150" fmla="*/ 351069 h 855273"/>
                <a:gd name="connsiteX151" fmla="*/ 1323963 w 1445818"/>
                <a:gd name="connsiteY151" fmla="*/ 359866 h 855273"/>
                <a:gd name="connsiteX152" fmla="*/ 1319401 w 1445818"/>
                <a:gd name="connsiteY152" fmla="*/ 364591 h 855273"/>
                <a:gd name="connsiteX153" fmla="*/ 1316143 w 1445818"/>
                <a:gd name="connsiteY153" fmla="*/ 364102 h 855273"/>
                <a:gd name="connsiteX154" fmla="*/ 1316632 w 1445818"/>
                <a:gd name="connsiteY154" fmla="*/ 360681 h 855273"/>
                <a:gd name="connsiteX155" fmla="*/ 1316632 w 1445818"/>
                <a:gd name="connsiteY155" fmla="*/ 355631 h 855273"/>
                <a:gd name="connsiteX156" fmla="*/ 1311419 w 1445818"/>
                <a:gd name="connsiteY156" fmla="*/ 350092 h 855273"/>
                <a:gd name="connsiteX157" fmla="*/ 1311419 w 1445818"/>
                <a:gd name="connsiteY157" fmla="*/ 355956 h 855273"/>
                <a:gd name="connsiteX158" fmla="*/ 1310604 w 1445818"/>
                <a:gd name="connsiteY158" fmla="*/ 362799 h 855273"/>
                <a:gd name="connsiteX159" fmla="*/ 1312559 w 1445818"/>
                <a:gd name="connsiteY159" fmla="*/ 365242 h 855273"/>
                <a:gd name="connsiteX160" fmla="*/ 1309627 w 1445818"/>
                <a:gd name="connsiteY160" fmla="*/ 366383 h 855273"/>
                <a:gd name="connsiteX161" fmla="*/ 1299201 w 1445818"/>
                <a:gd name="connsiteY161" fmla="*/ 367197 h 855273"/>
                <a:gd name="connsiteX162" fmla="*/ 1292684 w 1445818"/>
                <a:gd name="connsiteY162" fmla="*/ 368663 h 855273"/>
                <a:gd name="connsiteX163" fmla="*/ 1287960 w 1445818"/>
                <a:gd name="connsiteY163" fmla="*/ 367360 h 855273"/>
                <a:gd name="connsiteX164" fmla="*/ 1277859 w 1445818"/>
                <a:gd name="connsiteY164" fmla="*/ 368175 h 855273"/>
                <a:gd name="connsiteX165" fmla="*/ 1275905 w 1445818"/>
                <a:gd name="connsiteY165" fmla="*/ 366546 h 855273"/>
                <a:gd name="connsiteX166" fmla="*/ 1272972 w 1445818"/>
                <a:gd name="connsiteY166" fmla="*/ 366546 h 855273"/>
                <a:gd name="connsiteX167" fmla="*/ 1264827 w 1445818"/>
                <a:gd name="connsiteY167" fmla="*/ 372410 h 855273"/>
                <a:gd name="connsiteX168" fmla="*/ 1259288 w 1445818"/>
                <a:gd name="connsiteY168" fmla="*/ 372410 h 855273"/>
                <a:gd name="connsiteX169" fmla="*/ 1251305 w 1445818"/>
                <a:gd name="connsiteY169" fmla="*/ 376809 h 855273"/>
                <a:gd name="connsiteX170" fmla="*/ 1246744 w 1445818"/>
                <a:gd name="connsiteY170" fmla="*/ 378275 h 855273"/>
                <a:gd name="connsiteX171" fmla="*/ 1242671 w 1445818"/>
                <a:gd name="connsiteY171" fmla="*/ 381696 h 855273"/>
                <a:gd name="connsiteX172" fmla="*/ 1242671 w 1445818"/>
                <a:gd name="connsiteY172" fmla="*/ 385117 h 855273"/>
                <a:gd name="connsiteX173" fmla="*/ 1235666 w 1445818"/>
                <a:gd name="connsiteY173" fmla="*/ 389027 h 855273"/>
                <a:gd name="connsiteX174" fmla="*/ 1237621 w 1445818"/>
                <a:gd name="connsiteY174" fmla="*/ 392448 h 855273"/>
                <a:gd name="connsiteX175" fmla="*/ 1240879 w 1445818"/>
                <a:gd name="connsiteY175" fmla="*/ 395055 h 855273"/>
                <a:gd name="connsiteX176" fmla="*/ 1241694 w 1445818"/>
                <a:gd name="connsiteY176" fmla="*/ 398150 h 855273"/>
                <a:gd name="connsiteX177" fmla="*/ 1238761 w 1445818"/>
                <a:gd name="connsiteY177" fmla="*/ 401734 h 855273"/>
                <a:gd name="connsiteX178" fmla="*/ 1238761 w 1445818"/>
                <a:gd name="connsiteY178" fmla="*/ 403526 h 855273"/>
                <a:gd name="connsiteX179" fmla="*/ 1236806 w 1445818"/>
                <a:gd name="connsiteY179" fmla="*/ 408250 h 855273"/>
                <a:gd name="connsiteX180" fmla="*/ 1237621 w 1445818"/>
                <a:gd name="connsiteY180" fmla="*/ 410531 h 855273"/>
                <a:gd name="connsiteX181" fmla="*/ 1235666 w 1445818"/>
                <a:gd name="connsiteY181" fmla="*/ 413789 h 855273"/>
                <a:gd name="connsiteX182" fmla="*/ 1233711 w 1445818"/>
                <a:gd name="connsiteY182" fmla="*/ 419165 h 855273"/>
                <a:gd name="connsiteX183" fmla="*/ 1231430 w 1445818"/>
                <a:gd name="connsiteY183" fmla="*/ 419165 h 855273"/>
                <a:gd name="connsiteX184" fmla="*/ 1228987 w 1445818"/>
                <a:gd name="connsiteY184" fmla="*/ 422098 h 855273"/>
                <a:gd name="connsiteX185" fmla="*/ 1226706 w 1445818"/>
                <a:gd name="connsiteY185" fmla="*/ 429754 h 855273"/>
                <a:gd name="connsiteX186" fmla="*/ 1223122 w 1445818"/>
                <a:gd name="connsiteY186" fmla="*/ 430895 h 855273"/>
                <a:gd name="connsiteX187" fmla="*/ 1221167 w 1445818"/>
                <a:gd name="connsiteY187" fmla="*/ 433827 h 855273"/>
                <a:gd name="connsiteX188" fmla="*/ 1219049 w 1445818"/>
                <a:gd name="connsiteY188" fmla="*/ 433827 h 855273"/>
                <a:gd name="connsiteX189" fmla="*/ 1218560 w 1445818"/>
                <a:gd name="connsiteY189" fmla="*/ 436922 h 855273"/>
                <a:gd name="connsiteX190" fmla="*/ 1214488 w 1445818"/>
                <a:gd name="connsiteY190" fmla="*/ 441973 h 855273"/>
                <a:gd name="connsiteX191" fmla="*/ 1213999 w 1445818"/>
                <a:gd name="connsiteY191" fmla="*/ 440506 h 855273"/>
                <a:gd name="connsiteX192" fmla="*/ 1210252 w 1445818"/>
                <a:gd name="connsiteY192" fmla="*/ 443276 h 855273"/>
                <a:gd name="connsiteX193" fmla="*/ 1213022 w 1445818"/>
                <a:gd name="connsiteY193" fmla="*/ 436433 h 855273"/>
                <a:gd name="connsiteX194" fmla="*/ 1210904 w 1445818"/>
                <a:gd name="connsiteY194" fmla="*/ 434153 h 855273"/>
                <a:gd name="connsiteX195" fmla="*/ 1207157 w 1445818"/>
                <a:gd name="connsiteY195" fmla="*/ 435130 h 855273"/>
                <a:gd name="connsiteX196" fmla="*/ 1201292 w 1445818"/>
                <a:gd name="connsiteY196" fmla="*/ 429266 h 855273"/>
                <a:gd name="connsiteX197" fmla="*/ 1199174 w 1445818"/>
                <a:gd name="connsiteY197" fmla="*/ 425519 h 855273"/>
                <a:gd name="connsiteX198" fmla="*/ 1200641 w 1445818"/>
                <a:gd name="connsiteY198" fmla="*/ 421772 h 855273"/>
                <a:gd name="connsiteX199" fmla="*/ 1208949 w 1445818"/>
                <a:gd name="connsiteY199" fmla="*/ 412812 h 855273"/>
                <a:gd name="connsiteX200" fmla="*/ 1203410 w 1445818"/>
                <a:gd name="connsiteY200" fmla="*/ 415581 h 855273"/>
                <a:gd name="connsiteX201" fmla="*/ 1198849 w 1445818"/>
                <a:gd name="connsiteY201" fmla="*/ 419817 h 855273"/>
                <a:gd name="connsiteX202" fmla="*/ 1196405 w 1445818"/>
                <a:gd name="connsiteY202" fmla="*/ 424704 h 855273"/>
                <a:gd name="connsiteX203" fmla="*/ 1197057 w 1445818"/>
                <a:gd name="connsiteY203" fmla="*/ 429917 h 855273"/>
                <a:gd name="connsiteX204" fmla="*/ 1199337 w 1445818"/>
                <a:gd name="connsiteY204" fmla="*/ 432361 h 855273"/>
                <a:gd name="connsiteX205" fmla="*/ 1199989 w 1445818"/>
                <a:gd name="connsiteY205" fmla="*/ 439366 h 855273"/>
                <a:gd name="connsiteX206" fmla="*/ 1202433 w 1445818"/>
                <a:gd name="connsiteY206" fmla="*/ 441973 h 855273"/>
                <a:gd name="connsiteX207" fmla="*/ 1205691 w 1445818"/>
                <a:gd name="connsiteY207" fmla="*/ 450444 h 855273"/>
                <a:gd name="connsiteX208" fmla="*/ 1205691 w 1445818"/>
                <a:gd name="connsiteY208" fmla="*/ 456960 h 855273"/>
                <a:gd name="connsiteX209" fmla="*/ 1201292 w 1445818"/>
                <a:gd name="connsiteY209" fmla="*/ 466572 h 855273"/>
                <a:gd name="connsiteX210" fmla="*/ 1195590 w 1445818"/>
                <a:gd name="connsiteY210" fmla="*/ 469830 h 855273"/>
                <a:gd name="connsiteX211" fmla="*/ 1191518 w 1445818"/>
                <a:gd name="connsiteY211" fmla="*/ 480093 h 855273"/>
                <a:gd name="connsiteX212" fmla="*/ 1188585 w 1445818"/>
                <a:gd name="connsiteY212" fmla="*/ 485143 h 855273"/>
                <a:gd name="connsiteX213" fmla="*/ 1188585 w 1445818"/>
                <a:gd name="connsiteY213" fmla="*/ 488239 h 855273"/>
                <a:gd name="connsiteX214" fmla="*/ 1187119 w 1445818"/>
                <a:gd name="connsiteY214" fmla="*/ 490194 h 855273"/>
                <a:gd name="connsiteX215" fmla="*/ 1186793 w 1445818"/>
                <a:gd name="connsiteY215" fmla="*/ 488239 h 855273"/>
                <a:gd name="connsiteX216" fmla="*/ 1186304 w 1445818"/>
                <a:gd name="connsiteY216" fmla="*/ 486447 h 855273"/>
                <a:gd name="connsiteX217" fmla="*/ 1181092 w 1445818"/>
                <a:gd name="connsiteY217" fmla="*/ 495732 h 855273"/>
                <a:gd name="connsiteX218" fmla="*/ 1180603 w 1445818"/>
                <a:gd name="connsiteY218" fmla="*/ 498176 h 855273"/>
                <a:gd name="connsiteX219" fmla="*/ 1179300 w 1445818"/>
                <a:gd name="connsiteY219" fmla="*/ 500131 h 855273"/>
                <a:gd name="connsiteX220" fmla="*/ 1178811 w 1445818"/>
                <a:gd name="connsiteY220" fmla="*/ 495081 h 855273"/>
                <a:gd name="connsiteX221" fmla="*/ 1180114 w 1445818"/>
                <a:gd name="connsiteY221" fmla="*/ 489542 h 855273"/>
                <a:gd name="connsiteX222" fmla="*/ 1183046 w 1445818"/>
                <a:gd name="connsiteY222" fmla="*/ 484655 h 855273"/>
                <a:gd name="connsiteX223" fmla="*/ 1182232 w 1445818"/>
                <a:gd name="connsiteY223" fmla="*/ 481397 h 855273"/>
                <a:gd name="connsiteX224" fmla="*/ 1185327 w 1445818"/>
                <a:gd name="connsiteY224" fmla="*/ 477324 h 855273"/>
                <a:gd name="connsiteX225" fmla="*/ 1184512 w 1445818"/>
                <a:gd name="connsiteY225" fmla="*/ 476183 h 855273"/>
                <a:gd name="connsiteX226" fmla="*/ 1188911 w 1445818"/>
                <a:gd name="connsiteY226" fmla="*/ 473740 h 855273"/>
                <a:gd name="connsiteX227" fmla="*/ 1182883 w 1445818"/>
                <a:gd name="connsiteY227" fmla="*/ 473740 h 855273"/>
                <a:gd name="connsiteX228" fmla="*/ 1181092 w 1445818"/>
                <a:gd name="connsiteY228" fmla="*/ 470156 h 855273"/>
                <a:gd name="connsiteX229" fmla="*/ 1182720 w 1445818"/>
                <a:gd name="connsiteY229" fmla="*/ 467712 h 855273"/>
                <a:gd name="connsiteX230" fmla="*/ 1182720 w 1445818"/>
                <a:gd name="connsiteY230" fmla="*/ 466572 h 855273"/>
                <a:gd name="connsiteX231" fmla="*/ 1180277 w 1445818"/>
                <a:gd name="connsiteY231" fmla="*/ 466735 h 855273"/>
                <a:gd name="connsiteX232" fmla="*/ 1179625 w 1445818"/>
                <a:gd name="connsiteY232" fmla="*/ 464617 h 855273"/>
                <a:gd name="connsiteX233" fmla="*/ 1177996 w 1445818"/>
                <a:gd name="connsiteY233" fmla="*/ 466572 h 855273"/>
                <a:gd name="connsiteX234" fmla="*/ 1173760 w 1445818"/>
                <a:gd name="connsiteY234" fmla="*/ 461359 h 855273"/>
                <a:gd name="connsiteX235" fmla="*/ 1173760 w 1445818"/>
                <a:gd name="connsiteY235" fmla="*/ 456472 h 855273"/>
                <a:gd name="connsiteX236" fmla="*/ 1177344 w 1445818"/>
                <a:gd name="connsiteY236" fmla="*/ 451258 h 855273"/>
                <a:gd name="connsiteX237" fmla="*/ 1178485 w 1445818"/>
                <a:gd name="connsiteY237" fmla="*/ 443927 h 855273"/>
                <a:gd name="connsiteX238" fmla="*/ 1174412 w 1445818"/>
                <a:gd name="connsiteY238" fmla="*/ 437248 h 855273"/>
                <a:gd name="connsiteX239" fmla="*/ 1177344 w 1445818"/>
                <a:gd name="connsiteY239" fmla="*/ 431872 h 855273"/>
                <a:gd name="connsiteX240" fmla="*/ 1181580 w 1445818"/>
                <a:gd name="connsiteY240" fmla="*/ 429266 h 855273"/>
                <a:gd name="connsiteX241" fmla="*/ 1180277 w 1445818"/>
                <a:gd name="connsiteY241" fmla="*/ 427637 h 855273"/>
                <a:gd name="connsiteX242" fmla="*/ 1181417 w 1445818"/>
                <a:gd name="connsiteY242" fmla="*/ 422912 h 855273"/>
                <a:gd name="connsiteX243" fmla="*/ 1180114 w 1445818"/>
                <a:gd name="connsiteY243" fmla="*/ 420957 h 855273"/>
                <a:gd name="connsiteX244" fmla="*/ 1180114 w 1445818"/>
                <a:gd name="connsiteY244" fmla="*/ 422423 h 855273"/>
                <a:gd name="connsiteX245" fmla="*/ 1178974 w 1445818"/>
                <a:gd name="connsiteY245" fmla="*/ 427148 h 855273"/>
                <a:gd name="connsiteX246" fmla="*/ 1173923 w 1445818"/>
                <a:gd name="connsiteY246" fmla="*/ 431221 h 855273"/>
                <a:gd name="connsiteX247" fmla="*/ 1170665 w 1445818"/>
                <a:gd name="connsiteY247" fmla="*/ 433664 h 855273"/>
                <a:gd name="connsiteX248" fmla="*/ 1168547 w 1445818"/>
                <a:gd name="connsiteY248" fmla="*/ 433338 h 855273"/>
                <a:gd name="connsiteX249" fmla="*/ 1170991 w 1445818"/>
                <a:gd name="connsiteY249" fmla="*/ 436922 h 855273"/>
                <a:gd name="connsiteX250" fmla="*/ 1170014 w 1445818"/>
                <a:gd name="connsiteY250" fmla="*/ 439855 h 855273"/>
                <a:gd name="connsiteX251" fmla="*/ 1169199 w 1445818"/>
                <a:gd name="connsiteY251" fmla="*/ 447349 h 855273"/>
                <a:gd name="connsiteX252" fmla="*/ 1170339 w 1445818"/>
                <a:gd name="connsiteY252" fmla="*/ 450281 h 855273"/>
                <a:gd name="connsiteX253" fmla="*/ 1169688 w 1445818"/>
                <a:gd name="connsiteY253" fmla="*/ 453702 h 855273"/>
                <a:gd name="connsiteX254" fmla="*/ 1170014 w 1445818"/>
                <a:gd name="connsiteY254" fmla="*/ 458752 h 855273"/>
                <a:gd name="connsiteX255" fmla="*/ 1169525 w 1445818"/>
                <a:gd name="connsiteY255" fmla="*/ 468690 h 855273"/>
                <a:gd name="connsiteX256" fmla="*/ 1168059 w 1445818"/>
                <a:gd name="connsiteY256" fmla="*/ 469015 h 855273"/>
                <a:gd name="connsiteX257" fmla="*/ 1162031 w 1445818"/>
                <a:gd name="connsiteY257" fmla="*/ 461848 h 855273"/>
                <a:gd name="connsiteX258" fmla="*/ 1156981 w 1445818"/>
                <a:gd name="connsiteY258" fmla="*/ 461033 h 855273"/>
                <a:gd name="connsiteX259" fmla="*/ 1153885 w 1445818"/>
                <a:gd name="connsiteY259" fmla="*/ 455331 h 855273"/>
                <a:gd name="connsiteX260" fmla="*/ 1151442 w 1445818"/>
                <a:gd name="connsiteY260" fmla="*/ 455331 h 855273"/>
                <a:gd name="connsiteX261" fmla="*/ 1150465 w 1445818"/>
                <a:gd name="connsiteY261" fmla="*/ 452562 h 855273"/>
                <a:gd name="connsiteX262" fmla="*/ 1152745 w 1445818"/>
                <a:gd name="connsiteY262" fmla="*/ 447186 h 855273"/>
                <a:gd name="connsiteX263" fmla="*/ 1148998 w 1445818"/>
                <a:gd name="connsiteY263" fmla="*/ 452236 h 855273"/>
                <a:gd name="connsiteX264" fmla="*/ 1148998 w 1445818"/>
                <a:gd name="connsiteY264" fmla="*/ 456634 h 855273"/>
                <a:gd name="connsiteX265" fmla="*/ 1152745 w 1445818"/>
                <a:gd name="connsiteY265" fmla="*/ 458264 h 855273"/>
                <a:gd name="connsiteX266" fmla="*/ 1155677 w 1445818"/>
                <a:gd name="connsiteY266" fmla="*/ 462988 h 855273"/>
                <a:gd name="connsiteX267" fmla="*/ 1161379 w 1445818"/>
                <a:gd name="connsiteY267" fmla="*/ 465268 h 855273"/>
                <a:gd name="connsiteX268" fmla="*/ 1167081 w 1445818"/>
                <a:gd name="connsiteY268" fmla="*/ 472274 h 855273"/>
                <a:gd name="connsiteX269" fmla="*/ 1170828 w 1445818"/>
                <a:gd name="connsiteY269" fmla="*/ 474554 h 855273"/>
                <a:gd name="connsiteX270" fmla="*/ 1171643 w 1445818"/>
                <a:gd name="connsiteY270" fmla="*/ 478953 h 855273"/>
                <a:gd name="connsiteX271" fmla="*/ 1170176 w 1445818"/>
                <a:gd name="connsiteY271" fmla="*/ 484329 h 855273"/>
                <a:gd name="connsiteX272" fmla="*/ 1166430 w 1445818"/>
                <a:gd name="connsiteY272" fmla="*/ 484003 h 855273"/>
                <a:gd name="connsiteX273" fmla="*/ 1164801 w 1445818"/>
                <a:gd name="connsiteY273" fmla="*/ 479605 h 855273"/>
                <a:gd name="connsiteX274" fmla="*/ 1162357 w 1445818"/>
                <a:gd name="connsiteY274" fmla="*/ 478464 h 855273"/>
                <a:gd name="connsiteX275" fmla="*/ 1164638 w 1445818"/>
                <a:gd name="connsiteY275" fmla="*/ 484655 h 855273"/>
                <a:gd name="connsiteX276" fmla="*/ 1170176 w 1445818"/>
                <a:gd name="connsiteY276" fmla="*/ 488076 h 855273"/>
                <a:gd name="connsiteX277" fmla="*/ 1171643 w 1445818"/>
                <a:gd name="connsiteY277" fmla="*/ 491497 h 855273"/>
                <a:gd name="connsiteX278" fmla="*/ 1170014 w 1445818"/>
                <a:gd name="connsiteY278" fmla="*/ 492963 h 855273"/>
                <a:gd name="connsiteX279" fmla="*/ 1169688 w 1445818"/>
                <a:gd name="connsiteY279" fmla="*/ 495407 h 855273"/>
                <a:gd name="connsiteX280" fmla="*/ 1164312 w 1445818"/>
                <a:gd name="connsiteY280" fmla="*/ 494266 h 855273"/>
                <a:gd name="connsiteX281" fmla="*/ 1170828 w 1445818"/>
                <a:gd name="connsiteY281" fmla="*/ 499805 h 855273"/>
                <a:gd name="connsiteX282" fmla="*/ 1168873 w 1445818"/>
                <a:gd name="connsiteY282" fmla="*/ 503226 h 855273"/>
                <a:gd name="connsiteX283" fmla="*/ 1165778 w 1445818"/>
                <a:gd name="connsiteY283" fmla="*/ 501760 h 855273"/>
                <a:gd name="connsiteX284" fmla="*/ 1163171 w 1445818"/>
                <a:gd name="connsiteY284" fmla="*/ 497199 h 855273"/>
                <a:gd name="connsiteX285" fmla="*/ 1156981 w 1445818"/>
                <a:gd name="connsiteY285" fmla="*/ 497199 h 855273"/>
                <a:gd name="connsiteX286" fmla="*/ 1152745 w 1445818"/>
                <a:gd name="connsiteY286" fmla="*/ 494918 h 855273"/>
                <a:gd name="connsiteX287" fmla="*/ 1156166 w 1445818"/>
                <a:gd name="connsiteY287" fmla="*/ 499154 h 855273"/>
                <a:gd name="connsiteX288" fmla="*/ 1160239 w 1445818"/>
                <a:gd name="connsiteY288" fmla="*/ 500620 h 855273"/>
                <a:gd name="connsiteX289" fmla="*/ 1163334 w 1445818"/>
                <a:gd name="connsiteY289" fmla="*/ 500620 h 855273"/>
                <a:gd name="connsiteX290" fmla="*/ 1165289 w 1445818"/>
                <a:gd name="connsiteY290" fmla="*/ 506973 h 855273"/>
                <a:gd name="connsiteX291" fmla="*/ 1169688 w 1445818"/>
                <a:gd name="connsiteY291" fmla="*/ 508114 h 855273"/>
                <a:gd name="connsiteX292" fmla="*/ 1173109 w 1445818"/>
                <a:gd name="connsiteY292" fmla="*/ 507136 h 855273"/>
                <a:gd name="connsiteX293" fmla="*/ 1175552 w 1445818"/>
                <a:gd name="connsiteY293" fmla="*/ 509254 h 855273"/>
                <a:gd name="connsiteX294" fmla="*/ 1176856 w 1445818"/>
                <a:gd name="connsiteY294" fmla="*/ 513978 h 855273"/>
                <a:gd name="connsiteX295" fmla="*/ 1174901 w 1445818"/>
                <a:gd name="connsiteY295" fmla="*/ 518866 h 855273"/>
                <a:gd name="connsiteX296" fmla="*/ 1172294 w 1445818"/>
                <a:gd name="connsiteY296" fmla="*/ 517562 h 855273"/>
                <a:gd name="connsiteX297" fmla="*/ 1172294 w 1445818"/>
                <a:gd name="connsiteY297" fmla="*/ 520006 h 855273"/>
                <a:gd name="connsiteX298" fmla="*/ 1174249 w 1445818"/>
                <a:gd name="connsiteY298" fmla="*/ 522124 h 855273"/>
                <a:gd name="connsiteX299" fmla="*/ 1175227 w 1445818"/>
                <a:gd name="connsiteY299" fmla="*/ 527663 h 855273"/>
                <a:gd name="connsiteX300" fmla="*/ 1173598 w 1445818"/>
                <a:gd name="connsiteY300" fmla="*/ 530269 h 855273"/>
                <a:gd name="connsiteX301" fmla="*/ 1170339 w 1445818"/>
                <a:gd name="connsiteY301" fmla="*/ 530269 h 855273"/>
                <a:gd name="connsiteX302" fmla="*/ 1169199 w 1445818"/>
                <a:gd name="connsiteY302" fmla="*/ 531735 h 855273"/>
                <a:gd name="connsiteX303" fmla="*/ 1162357 w 1445818"/>
                <a:gd name="connsiteY303" fmla="*/ 533527 h 855273"/>
                <a:gd name="connsiteX304" fmla="*/ 1159750 w 1445818"/>
                <a:gd name="connsiteY304" fmla="*/ 535971 h 855273"/>
                <a:gd name="connsiteX305" fmla="*/ 1156492 w 1445818"/>
                <a:gd name="connsiteY305" fmla="*/ 534831 h 855273"/>
                <a:gd name="connsiteX306" fmla="*/ 1154049 w 1445818"/>
                <a:gd name="connsiteY306" fmla="*/ 529455 h 855273"/>
                <a:gd name="connsiteX307" fmla="*/ 1152257 w 1445818"/>
                <a:gd name="connsiteY307" fmla="*/ 530595 h 855273"/>
                <a:gd name="connsiteX308" fmla="*/ 1152257 w 1445818"/>
                <a:gd name="connsiteY308" fmla="*/ 538252 h 855273"/>
                <a:gd name="connsiteX309" fmla="*/ 1151116 w 1445818"/>
                <a:gd name="connsiteY309" fmla="*/ 541184 h 855273"/>
                <a:gd name="connsiteX310" fmla="*/ 1156166 w 1445818"/>
                <a:gd name="connsiteY310" fmla="*/ 539555 h 855273"/>
                <a:gd name="connsiteX311" fmla="*/ 1166430 w 1445818"/>
                <a:gd name="connsiteY311" fmla="*/ 537926 h 855273"/>
                <a:gd name="connsiteX312" fmla="*/ 1168384 w 1445818"/>
                <a:gd name="connsiteY312" fmla="*/ 538904 h 855273"/>
                <a:gd name="connsiteX313" fmla="*/ 1169199 w 1445818"/>
                <a:gd name="connsiteY313" fmla="*/ 546560 h 855273"/>
                <a:gd name="connsiteX314" fmla="*/ 1171643 w 1445818"/>
                <a:gd name="connsiteY314" fmla="*/ 547700 h 855273"/>
                <a:gd name="connsiteX315" fmla="*/ 1171968 w 1445818"/>
                <a:gd name="connsiteY315" fmla="*/ 544442 h 855273"/>
                <a:gd name="connsiteX316" fmla="*/ 1174575 w 1445818"/>
                <a:gd name="connsiteY316" fmla="*/ 539392 h 855273"/>
                <a:gd name="connsiteX317" fmla="*/ 1175878 w 1445818"/>
                <a:gd name="connsiteY317" fmla="*/ 539066 h 855273"/>
                <a:gd name="connsiteX318" fmla="*/ 1177833 w 1445818"/>
                <a:gd name="connsiteY318" fmla="*/ 543465 h 855273"/>
                <a:gd name="connsiteX319" fmla="*/ 1176693 w 1445818"/>
                <a:gd name="connsiteY319" fmla="*/ 549004 h 855273"/>
                <a:gd name="connsiteX320" fmla="*/ 1175064 w 1445818"/>
                <a:gd name="connsiteY320" fmla="*/ 549004 h 855273"/>
                <a:gd name="connsiteX321" fmla="*/ 1169688 w 1445818"/>
                <a:gd name="connsiteY321" fmla="*/ 553565 h 855273"/>
                <a:gd name="connsiteX322" fmla="*/ 1167896 w 1445818"/>
                <a:gd name="connsiteY322" fmla="*/ 557312 h 855273"/>
                <a:gd name="connsiteX323" fmla="*/ 1165778 w 1445818"/>
                <a:gd name="connsiteY323" fmla="*/ 559104 h 855273"/>
                <a:gd name="connsiteX324" fmla="*/ 1162357 w 1445818"/>
                <a:gd name="connsiteY324" fmla="*/ 556823 h 855273"/>
                <a:gd name="connsiteX325" fmla="*/ 1158773 w 1445818"/>
                <a:gd name="connsiteY325" fmla="*/ 557312 h 855273"/>
                <a:gd name="connsiteX326" fmla="*/ 1156818 w 1445818"/>
                <a:gd name="connsiteY326" fmla="*/ 551773 h 855273"/>
                <a:gd name="connsiteX327" fmla="*/ 1156329 w 1445818"/>
                <a:gd name="connsiteY327" fmla="*/ 555194 h 855273"/>
                <a:gd name="connsiteX328" fmla="*/ 1152908 w 1445818"/>
                <a:gd name="connsiteY328" fmla="*/ 556661 h 855273"/>
                <a:gd name="connsiteX329" fmla="*/ 1149487 w 1445818"/>
                <a:gd name="connsiteY329" fmla="*/ 555031 h 855273"/>
                <a:gd name="connsiteX330" fmla="*/ 1146066 w 1445818"/>
                <a:gd name="connsiteY330" fmla="*/ 555031 h 855273"/>
                <a:gd name="connsiteX331" fmla="*/ 1148835 w 1445818"/>
                <a:gd name="connsiteY331" fmla="*/ 558127 h 855273"/>
                <a:gd name="connsiteX332" fmla="*/ 1154863 w 1445818"/>
                <a:gd name="connsiteY332" fmla="*/ 559267 h 855273"/>
                <a:gd name="connsiteX333" fmla="*/ 1156492 w 1445818"/>
                <a:gd name="connsiteY333" fmla="*/ 561874 h 855273"/>
                <a:gd name="connsiteX334" fmla="*/ 1153885 w 1445818"/>
                <a:gd name="connsiteY334" fmla="*/ 564154 h 855273"/>
                <a:gd name="connsiteX335" fmla="*/ 1155026 w 1445818"/>
                <a:gd name="connsiteY335" fmla="*/ 565946 h 855273"/>
                <a:gd name="connsiteX336" fmla="*/ 1148184 w 1445818"/>
                <a:gd name="connsiteY336" fmla="*/ 568879 h 855273"/>
                <a:gd name="connsiteX337" fmla="*/ 1143622 w 1445818"/>
                <a:gd name="connsiteY337" fmla="*/ 567087 h 855273"/>
                <a:gd name="connsiteX338" fmla="*/ 1147532 w 1445818"/>
                <a:gd name="connsiteY338" fmla="*/ 570834 h 855273"/>
                <a:gd name="connsiteX339" fmla="*/ 1154049 w 1445818"/>
                <a:gd name="connsiteY339" fmla="*/ 571322 h 855273"/>
                <a:gd name="connsiteX340" fmla="*/ 1158610 w 1445818"/>
                <a:gd name="connsiteY340" fmla="*/ 567087 h 855273"/>
                <a:gd name="connsiteX341" fmla="*/ 1159750 w 1445818"/>
                <a:gd name="connsiteY341" fmla="*/ 568879 h 855273"/>
                <a:gd name="connsiteX342" fmla="*/ 1161542 w 1445818"/>
                <a:gd name="connsiteY342" fmla="*/ 569693 h 855273"/>
                <a:gd name="connsiteX343" fmla="*/ 1156818 w 1445818"/>
                <a:gd name="connsiteY343" fmla="*/ 575232 h 855273"/>
                <a:gd name="connsiteX344" fmla="*/ 1152419 w 1445818"/>
                <a:gd name="connsiteY344" fmla="*/ 575232 h 855273"/>
                <a:gd name="connsiteX345" fmla="*/ 1151931 w 1445818"/>
                <a:gd name="connsiteY345" fmla="*/ 573766 h 855273"/>
                <a:gd name="connsiteX346" fmla="*/ 1148835 w 1445818"/>
                <a:gd name="connsiteY346" fmla="*/ 574092 h 855273"/>
                <a:gd name="connsiteX347" fmla="*/ 1147206 w 1445818"/>
                <a:gd name="connsiteY347" fmla="*/ 575395 h 855273"/>
                <a:gd name="connsiteX348" fmla="*/ 1141016 w 1445818"/>
                <a:gd name="connsiteY348" fmla="*/ 575884 h 855273"/>
                <a:gd name="connsiteX349" fmla="*/ 1128960 w 1445818"/>
                <a:gd name="connsiteY349" fmla="*/ 583052 h 855273"/>
                <a:gd name="connsiteX350" fmla="*/ 1116091 w 1445818"/>
                <a:gd name="connsiteY350" fmla="*/ 593478 h 855273"/>
                <a:gd name="connsiteX351" fmla="*/ 1111855 w 1445818"/>
                <a:gd name="connsiteY351" fmla="*/ 601461 h 855273"/>
                <a:gd name="connsiteX352" fmla="*/ 1109574 w 1445818"/>
                <a:gd name="connsiteY352" fmla="*/ 601786 h 855273"/>
                <a:gd name="connsiteX353" fmla="*/ 1106968 w 1445818"/>
                <a:gd name="connsiteY353" fmla="*/ 600157 h 855273"/>
                <a:gd name="connsiteX354" fmla="*/ 1099637 w 1445818"/>
                <a:gd name="connsiteY354" fmla="*/ 601135 h 855273"/>
                <a:gd name="connsiteX355" fmla="*/ 1094587 w 1445818"/>
                <a:gd name="connsiteY355" fmla="*/ 605533 h 855273"/>
                <a:gd name="connsiteX356" fmla="*/ 1084975 w 1445818"/>
                <a:gd name="connsiteY356" fmla="*/ 618240 h 855273"/>
                <a:gd name="connsiteX357" fmla="*/ 1084975 w 1445818"/>
                <a:gd name="connsiteY357" fmla="*/ 621173 h 855273"/>
                <a:gd name="connsiteX358" fmla="*/ 1080902 w 1445818"/>
                <a:gd name="connsiteY358" fmla="*/ 624594 h 855273"/>
                <a:gd name="connsiteX359" fmla="*/ 1078296 w 1445818"/>
                <a:gd name="connsiteY359" fmla="*/ 624594 h 855273"/>
                <a:gd name="connsiteX360" fmla="*/ 1077970 w 1445818"/>
                <a:gd name="connsiteY360" fmla="*/ 627689 h 855273"/>
                <a:gd name="connsiteX361" fmla="*/ 1073571 w 1445818"/>
                <a:gd name="connsiteY361" fmla="*/ 632739 h 855273"/>
                <a:gd name="connsiteX362" fmla="*/ 1070639 w 1445818"/>
                <a:gd name="connsiteY362" fmla="*/ 631436 h 855273"/>
                <a:gd name="connsiteX363" fmla="*/ 1067869 w 1445818"/>
                <a:gd name="connsiteY363" fmla="*/ 632250 h 855273"/>
                <a:gd name="connsiteX364" fmla="*/ 1066566 w 1445818"/>
                <a:gd name="connsiteY364" fmla="*/ 634694 h 855273"/>
                <a:gd name="connsiteX365" fmla="*/ 1061190 w 1445818"/>
                <a:gd name="connsiteY365" fmla="*/ 634205 h 855273"/>
                <a:gd name="connsiteX366" fmla="*/ 1058421 w 1445818"/>
                <a:gd name="connsiteY366" fmla="*/ 637952 h 855273"/>
                <a:gd name="connsiteX367" fmla="*/ 1050764 w 1445818"/>
                <a:gd name="connsiteY367" fmla="*/ 638930 h 855273"/>
                <a:gd name="connsiteX368" fmla="*/ 1049461 w 1445818"/>
                <a:gd name="connsiteY368" fmla="*/ 641699 h 855273"/>
                <a:gd name="connsiteX369" fmla="*/ 1044410 w 1445818"/>
                <a:gd name="connsiteY369" fmla="*/ 641373 h 855273"/>
                <a:gd name="connsiteX370" fmla="*/ 1043433 w 1445818"/>
                <a:gd name="connsiteY370" fmla="*/ 644469 h 855273"/>
                <a:gd name="connsiteX371" fmla="*/ 1037406 w 1445818"/>
                <a:gd name="connsiteY371" fmla="*/ 644469 h 855273"/>
                <a:gd name="connsiteX372" fmla="*/ 1035939 w 1445818"/>
                <a:gd name="connsiteY372" fmla="*/ 645772 h 855273"/>
                <a:gd name="connsiteX373" fmla="*/ 1037731 w 1445818"/>
                <a:gd name="connsiteY373" fmla="*/ 647075 h 855273"/>
                <a:gd name="connsiteX374" fmla="*/ 1037243 w 1445818"/>
                <a:gd name="connsiteY374" fmla="*/ 651311 h 855273"/>
                <a:gd name="connsiteX375" fmla="*/ 1033821 w 1445818"/>
                <a:gd name="connsiteY375" fmla="*/ 656361 h 855273"/>
                <a:gd name="connsiteX376" fmla="*/ 1031541 w 1445818"/>
                <a:gd name="connsiteY376" fmla="*/ 656687 h 855273"/>
                <a:gd name="connsiteX377" fmla="*/ 1029260 w 1445818"/>
                <a:gd name="connsiteY377" fmla="*/ 659782 h 855273"/>
                <a:gd name="connsiteX378" fmla="*/ 1025025 w 1445818"/>
                <a:gd name="connsiteY378" fmla="*/ 660922 h 855273"/>
                <a:gd name="connsiteX379" fmla="*/ 1020626 w 1445818"/>
                <a:gd name="connsiteY379" fmla="*/ 668090 h 855273"/>
                <a:gd name="connsiteX380" fmla="*/ 1016879 w 1445818"/>
                <a:gd name="connsiteY380" fmla="*/ 675421 h 855273"/>
                <a:gd name="connsiteX381" fmla="*/ 1016879 w 1445818"/>
                <a:gd name="connsiteY381" fmla="*/ 684056 h 855273"/>
                <a:gd name="connsiteX382" fmla="*/ 1015576 w 1445818"/>
                <a:gd name="connsiteY382" fmla="*/ 699858 h 855273"/>
                <a:gd name="connsiteX383" fmla="*/ 1016390 w 1445818"/>
                <a:gd name="connsiteY383" fmla="*/ 707026 h 855273"/>
                <a:gd name="connsiteX384" fmla="*/ 1014924 w 1445818"/>
                <a:gd name="connsiteY384" fmla="*/ 718104 h 855273"/>
                <a:gd name="connsiteX385" fmla="*/ 1017693 w 1445818"/>
                <a:gd name="connsiteY385" fmla="*/ 725109 h 855273"/>
                <a:gd name="connsiteX386" fmla="*/ 1018834 w 1445818"/>
                <a:gd name="connsiteY386" fmla="*/ 736186 h 855273"/>
                <a:gd name="connsiteX387" fmla="*/ 1021115 w 1445818"/>
                <a:gd name="connsiteY387" fmla="*/ 740748 h 855273"/>
                <a:gd name="connsiteX388" fmla="*/ 1023721 w 1445818"/>
                <a:gd name="connsiteY388" fmla="*/ 753129 h 855273"/>
                <a:gd name="connsiteX389" fmla="*/ 1026979 w 1445818"/>
                <a:gd name="connsiteY389" fmla="*/ 757528 h 855273"/>
                <a:gd name="connsiteX390" fmla="*/ 1028771 w 1445818"/>
                <a:gd name="connsiteY390" fmla="*/ 762089 h 855273"/>
                <a:gd name="connsiteX391" fmla="*/ 1026491 w 1445818"/>
                <a:gd name="connsiteY391" fmla="*/ 767954 h 855273"/>
                <a:gd name="connsiteX392" fmla="*/ 1025676 w 1445818"/>
                <a:gd name="connsiteY392" fmla="*/ 775773 h 855273"/>
                <a:gd name="connsiteX393" fmla="*/ 1027468 w 1445818"/>
                <a:gd name="connsiteY393" fmla="*/ 778380 h 855273"/>
                <a:gd name="connsiteX394" fmla="*/ 1030237 w 1445818"/>
                <a:gd name="connsiteY394" fmla="*/ 794834 h 855273"/>
                <a:gd name="connsiteX395" fmla="*/ 1035451 w 1445818"/>
                <a:gd name="connsiteY395" fmla="*/ 798092 h 855273"/>
                <a:gd name="connsiteX396" fmla="*/ 1037080 w 1445818"/>
                <a:gd name="connsiteY396" fmla="*/ 805586 h 855273"/>
                <a:gd name="connsiteX397" fmla="*/ 1034147 w 1445818"/>
                <a:gd name="connsiteY397" fmla="*/ 808518 h 855273"/>
                <a:gd name="connsiteX398" fmla="*/ 1035451 w 1445818"/>
                <a:gd name="connsiteY398" fmla="*/ 810310 h 855273"/>
                <a:gd name="connsiteX399" fmla="*/ 1034473 w 1445818"/>
                <a:gd name="connsiteY399" fmla="*/ 819270 h 855273"/>
                <a:gd name="connsiteX400" fmla="*/ 1033170 w 1445818"/>
                <a:gd name="connsiteY400" fmla="*/ 821714 h 855273"/>
                <a:gd name="connsiteX401" fmla="*/ 1033659 w 1445818"/>
                <a:gd name="connsiteY401" fmla="*/ 826112 h 855273"/>
                <a:gd name="connsiteX402" fmla="*/ 1029260 w 1445818"/>
                <a:gd name="connsiteY402" fmla="*/ 835072 h 855273"/>
                <a:gd name="connsiteX403" fmla="*/ 1026817 w 1445818"/>
                <a:gd name="connsiteY403" fmla="*/ 841100 h 855273"/>
                <a:gd name="connsiteX404" fmla="*/ 1023721 w 1445818"/>
                <a:gd name="connsiteY404" fmla="*/ 845661 h 855273"/>
                <a:gd name="connsiteX405" fmla="*/ 1022907 w 1445818"/>
                <a:gd name="connsiteY405" fmla="*/ 852178 h 855273"/>
                <a:gd name="connsiteX406" fmla="*/ 1018671 w 1445818"/>
                <a:gd name="connsiteY406" fmla="*/ 853644 h 855273"/>
                <a:gd name="connsiteX407" fmla="*/ 1013947 w 1445818"/>
                <a:gd name="connsiteY407" fmla="*/ 855273 h 855273"/>
                <a:gd name="connsiteX408" fmla="*/ 1009222 w 1445818"/>
                <a:gd name="connsiteY408" fmla="*/ 853970 h 855273"/>
                <a:gd name="connsiteX409" fmla="*/ 1006779 w 1445818"/>
                <a:gd name="connsiteY409" fmla="*/ 850874 h 855273"/>
                <a:gd name="connsiteX410" fmla="*/ 1001402 w 1445818"/>
                <a:gd name="connsiteY410" fmla="*/ 849408 h 855273"/>
                <a:gd name="connsiteX411" fmla="*/ 1004335 w 1445818"/>
                <a:gd name="connsiteY411" fmla="*/ 848105 h 855273"/>
                <a:gd name="connsiteX412" fmla="*/ 998144 w 1445818"/>
                <a:gd name="connsiteY412" fmla="*/ 843055 h 855273"/>
                <a:gd name="connsiteX413" fmla="*/ 998796 w 1445818"/>
                <a:gd name="connsiteY413" fmla="*/ 838656 h 855273"/>
                <a:gd name="connsiteX414" fmla="*/ 997004 w 1445818"/>
                <a:gd name="connsiteY414" fmla="*/ 835235 h 855273"/>
                <a:gd name="connsiteX415" fmla="*/ 992605 w 1445818"/>
                <a:gd name="connsiteY415" fmla="*/ 835235 h 855273"/>
                <a:gd name="connsiteX416" fmla="*/ 990651 w 1445818"/>
                <a:gd name="connsiteY416" fmla="*/ 833280 h 855273"/>
                <a:gd name="connsiteX417" fmla="*/ 990976 w 1445818"/>
                <a:gd name="connsiteY417" fmla="*/ 826601 h 855273"/>
                <a:gd name="connsiteX418" fmla="*/ 990162 w 1445818"/>
                <a:gd name="connsiteY418" fmla="*/ 821388 h 855273"/>
                <a:gd name="connsiteX419" fmla="*/ 983971 w 1445818"/>
                <a:gd name="connsiteY419" fmla="*/ 816501 h 855273"/>
                <a:gd name="connsiteX420" fmla="*/ 983483 w 1445818"/>
                <a:gd name="connsiteY420" fmla="*/ 813405 h 855273"/>
                <a:gd name="connsiteX421" fmla="*/ 985437 w 1445818"/>
                <a:gd name="connsiteY421" fmla="*/ 810962 h 855273"/>
                <a:gd name="connsiteX422" fmla="*/ 986415 w 1445818"/>
                <a:gd name="connsiteY422" fmla="*/ 806726 h 855273"/>
                <a:gd name="connsiteX423" fmla="*/ 990162 w 1445818"/>
                <a:gd name="connsiteY423" fmla="*/ 802979 h 855273"/>
                <a:gd name="connsiteX424" fmla="*/ 985437 w 1445818"/>
                <a:gd name="connsiteY424" fmla="*/ 804282 h 855273"/>
                <a:gd name="connsiteX425" fmla="*/ 983483 w 1445818"/>
                <a:gd name="connsiteY425" fmla="*/ 802816 h 855273"/>
                <a:gd name="connsiteX426" fmla="*/ 983483 w 1445818"/>
                <a:gd name="connsiteY426" fmla="*/ 804934 h 855273"/>
                <a:gd name="connsiteX427" fmla="*/ 981853 w 1445818"/>
                <a:gd name="connsiteY427" fmla="*/ 807215 h 855273"/>
                <a:gd name="connsiteX428" fmla="*/ 980550 w 1445818"/>
                <a:gd name="connsiteY428" fmla="*/ 802490 h 855273"/>
                <a:gd name="connsiteX429" fmla="*/ 978595 w 1445818"/>
                <a:gd name="connsiteY429" fmla="*/ 802979 h 855273"/>
                <a:gd name="connsiteX430" fmla="*/ 977618 w 1445818"/>
                <a:gd name="connsiteY430" fmla="*/ 800536 h 855273"/>
                <a:gd name="connsiteX431" fmla="*/ 974523 w 1445818"/>
                <a:gd name="connsiteY431" fmla="*/ 796789 h 855273"/>
                <a:gd name="connsiteX432" fmla="*/ 974197 w 1445818"/>
                <a:gd name="connsiteY432" fmla="*/ 791901 h 855273"/>
                <a:gd name="connsiteX433" fmla="*/ 972731 w 1445818"/>
                <a:gd name="connsiteY433" fmla="*/ 788806 h 855273"/>
                <a:gd name="connsiteX434" fmla="*/ 979084 w 1445818"/>
                <a:gd name="connsiteY434" fmla="*/ 779846 h 855273"/>
                <a:gd name="connsiteX435" fmla="*/ 979084 w 1445818"/>
                <a:gd name="connsiteY435" fmla="*/ 775122 h 855273"/>
                <a:gd name="connsiteX436" fmla="*/ 975174 w 1445818"/>
                <a:gd name="connsiteY436" fmla="*/ 773493 h 855273"/>
                <a:gd name="connsiteX437" fmla="*/ 973219 w 1445818"/>
                <a:gd name="connsiteY437" fmla="*/ 775122 h 855273"/>
                <a:gd name="connsiteX438" fmla="*/ 974197 w 1445818"/>
                <a:gd name="connsiteY438" fmla="*/ 777240 h 855273"/>
                <a:gd name="connsiteX439" fmla="*/ 971264 w 1445818"/>
                <a:gd name="connsiteY439" fmla="*/ 781475 h 855273"/>
                <a:gd name="connsiteX440" fmla="*/ 969961 w 1445818"/>
                <a:gd name="connsiteY440" fmla="*/ 782779 h 855273"/>
                <a:gd name="connsiteX441" fmla="*/ 966866 w 1445818"/>
                <a:gd name="connsiteY441" fmla="*/ 777565 h 855273"/>
                <a:gd name="connsiteX442" fmla="*/ 966866 w 1445818"/>
                <a:gd name="connsiteY442" fmla="*/ 773818 h 855273"/>
                <a:gd name="connsiteX443" fmla="*/ 972079 w 1445818"/>
                <a:gd name="connsiteY443" fmla="*/ 764533 h 855273"/>
                <a:gd name="connsiteX444" fmla="*/ 975500 w 1445818"/>
                <a:gd name="connsiteY444" fmla="*/ 752640 h 855273"/>
                <a:gd name="connsiteX445" fmla="*/ 975989 w 1445818"/>
                <a:gd name="connsiteY445" fmla="*/ 746775 h 855273"/>
                <a:gd name="connsiteX446" fmla="*/ 972731 w 1445818"/>
                <a:gd name="connsiteY446" fmla="*/ 740422 h 855273"/>
                <a:gd name="connsiteX447" fmla="*/ 968984 w 1445818"/>
                <a:gd name="connsiteY447" fmla="*/ 739771 h 855273"/>
                <a:gd name="connsiteX448" fmla="*/ 966703 w 1445818"/>
                <a:gd name="connsiteY448" fmla="*/ 736023 h 855273"/>
                <a:gd name="connsiteX449" fmla="*/ 966703 w 1445818"/>
                <a:gd name="connsiteY449" fmla="*/ 734231 h 855273"/>
                <a:gd name="connsiteX450" fmla="*/ 964748 w 1445818"/>
                <a:gd name="connsiteY450" fmla="*/ 734231 h 855273"/>
                <a:gd name="connsiteX451" fmla="*/ 961001 w 1445818"/>
                <a:gd name="connsiteY451" fmla="*/ 731462 h 855273"/>
                <a:gd name="connsiteX452" fmla="*/ 960350 w 1445818"/>
                <a:gd name="connsiteY452" fmla="*/ 726249 h 855273"/>
                <a:gd name="connsiteX453" fmla="*/ 958558 w 1445818"/>
                <a:gd name="connsiteY453" fmla="*/ 725760 h 855273"/>
                <a:gd name="connsiteX454" fmla="*/ 955951 w 1445818"/>
                <a:gd name="connsiteY454" fmla="*/ 723154 h 855273"/>
                <a:gd name="connsiteX455" fmla="*/ 953344 w 1445818"/>
                <a:gd name="connsiteY455" fmla="*/ 714357 h 855273"/>
                <a:gd name="connsiteX456" fmla="*/ 947480 w 1445818"/>
                <a:gd name="connsiteY456" fmla="*/ 712402 h 855273"/>
                <a:gd name="connsiteX457" fmla="*/ 944221 w 1445818"/>
                <a:gd name="connsiteY457" fmla="*/ 710610 h 855273"/>
                <a:gd name="connsiteX458" fmla="*/ 939171 w 1445818"/>
                <a:gd name="connsiteY458" fmla="*/ 711424 h 855273"/>
                <a:gd name="connsiteX459" fmla="*/ 935750 w 1445818"/>
                <a:gd name="connsiteY459" fmla="*/ 714031 h 855273"/>
                <a:gd name="connsiteX460" fmla="*/ 935750 w 1445818"/>
                <a:gd name="connsiteY460" fmla="*/ 715171 h 855273"/>
                <a:gd name="connsiteX461" fmla="*/ 934936 w 1445818"/>
                <a:gd name="connsiteY461" fmla="*/ 715986 h 855273"/>
                <a:gd name="connsiteX462" fmla="*/ 932818 w 1445818"/>
                <a:gd name="connsiteY462" fmla="*/ 715008 h 855273"/>
                <a:gd name="connsiteX463" fmla="*/ 926301 w 1445818"/>
                <a:gd name="connsiteY463" fmla="*/ 721525 h 855273"/>
                <a:gd name="connsiteX464" fmla="*/ 921577 w 1445818"/>
                <a:gd name="connsiteY464" fmla="*/ 722013 h 855273"/>
                <a:gd name="connsiteX465" fmla="*/ 914246 w 1445818"/>
                <a:gd name="connsiteY465" fmla="*/ 723154 h 855273"/>
                <a:gd name="connsiteX466" fmla="*/ 913106 w 1445818"/>
                <a:gd name="connsiteY466" fmla="*/ 721362 h 855273"/>
                <a:gd name="connsiteX467" fmla="*/ 913758 w 1445818"/>
                <a:gd name="connsiteY467" fmla="*/ 719407 h 855273"/>
                <a:gd name="connsiteX468" fmla="*/ 914572 w 1445818"/>
                <a:gd name="connsiteY468" fmla="*/ 721036 h 855273"/>
                <a:gd name="connsiteX469" fmla="*/ 915712 w 1445818"/>
                <a:gd name="connsiteY469" fmla="*/ 720547 h 855273"/>
                <a:gd name="connsiteX470" fmla="*/ 914409 w 1445818"/>
                <a:gd name="connsiteY470" fmla="*/ 718104 h 855273"/>
                <a:gd name="connsiteX471" fmla="*/ 911966 w 1445818"/>
                <a:gd name="connsiteY471" fmla="*/ 714520 h 855273"/>
                <a:gd name="connsiteX472" fmla="*/ 905612 w 1445818"/>
                <a:gd name="connsiteY472" fmla="*/ 710121 h 855273"/>
                <a:gd name="connsiteX473" fmla="*/ 906427 w 1445818"/>
                <a:gd name="connsiteY473" fmla="*/ 709795 h 855273"/>
                <a:gd name="connsiteX474" fmla="*/ 909685 w 1445818"/>
                <a:gd name="connsiteY474" fmla="*/ 711424 h 855273"/>
                <a:gd name="connsiteX475" fmla="*/ 910499 w 1445818"/>
                <a:gd name="connsiteY475" fmla="*/ 709795 h 855273"/>
                <a:gd name="connsiteX476" fmla="*/ 905775 w 1445818"/>
                <a:gd name="connsiteY476" fmla="*/ 706374 h 855273"/>
                <a:gd name="connsiteX477" fmla="*/ 904797 w 1445818"/>
                <a:gd name="connsiteY477" fmla="*/ 703767 h 855273"/>
                <a:gd name="connsiteX478" fmla="*/ 902517 w 1445818"/>
                <a:gd name="connsiteY478" fmla="*/ 703442 h 855273"/>
                <a:gd name="connsiteX479" fmla="*/ 901865 w 1445818"/>
                <a:gd name="connsiteY479" fmla="*/ 705722 h 855273"/>
                <a:gd name="connsiteX480" fmla="*/ 904309 w 1445818"/>
                <a:gd name="connsiteY480" fmla="*/ 709144 h 855273"/>
                <a:gd name="connsiteX481" fmla="*/ 900399 w 1445818"/>
                <a:gd name="connsiteY481" fmla="*/ 706863 h 855273"/>
                <a:gd name="connsiteX482" fmla="*/ 896489 w 1445818"/>
                <a:gd name="connsiteY482" fmla="*/ 703279 h 855273"/>
                <a:gd name="connsiteX483" fmla="*/ 889973 w 1445818"/>
                <a:gd name="connsiteY483" fmla="*/ 703279 h 855273"/>
                <a:gd name="connsiteX484" fmla="*/ 883293 w 1445818"/>
                <a:gd name="connsiteY484" fmla="*/ 702301 h 855273"/>
                <a:gd name="connsiteX485" fmla="*/ 884271 w 1445818"/>
                <a:gd name="connsiteY485" fmla="*/ 700998 h 855273"/>
                <a:gd name="connsiteX486" fmla="*/ 890299 w 1445818"/>
                <a:gd name="connsiteY486" fmla="*/ 701324 h 855273"/>
                <a:gd name="connsiteX487" fmla="*/ 893394 w 1445818"/>
                <a:gd name="connsiteY487" fmla="*/ 700347 h 855273"/>
                <a:gd name="connsiteX488" fmla="*/ 892253 w 1445818"/>
                <a:gd name="connsiteY488" fmla="*/ 698717 h 855273"/>
                <a:gd name="connsiteX489" fmla="*/ 886715 w 1445818"/>
                <a:gd name="connsiteY489" fmla="*/ 698391 h 855273"/>
                <a:gd name="connsiteX490" fmla="*/ 881013 w 1445818"/>
                <a:gd name="connsiteY490" fmla="*/ 702301 h 855273"/>
                <a:gd name="connsiteX491" fmla="*/ 878732 w 1445818"/>
                <a:gd name="connsiteY491" fmla="*/ 701161 h 855273"/>
                <a:gd name="connsiteX492" fmla="*/ 871075 w 1445818"/>
                <a:gd name="connsiteY492" fmla="*/ 702139 h 855273"/>
                <a:gd name="connsiteX493" fmla="*/ 868143 w 1445818"/>
                <a:gd name="connsiteY493" fmla="*/ 700021 h 855273"/>
                <a:gd name="connsiteX494" fmla="*/ 864396 w 1445818"/>
                <a:gd name="connsiteY494" fmla="*/ 701487 h 855273"/>
                <a:gd name="connsiteX495" fmla="*/ 857228 w 1445818"/>
                <a:gd name="connsiteY495" fmla="*/ 701161 h 855273"/>
                <a:gd name="connsiteX496" fmla="*/ 853155 w 1445818"/>
                <a:gd name="connsiteY496" fmla="*/ 702790 h 855273"/>
                <a:gd name="connsiteX497" fmla="*/ 848105 w 1445818"/>
                <a:gd name="connsiteY497" fmla="*/ 698555 h 855273"/>
                <a:gd name="connsiteX498" fmla="*/ 848105 w 1445818"/>
                <a:gd name="connsiteY498" fmla="*/ 695622 h 855273"/>
                <a:gd name="connsiteX499" fmla="*/ 848594 w 1445818"/>
                <a:gd name="connsiteY499" fmla="*/ 692364 h 855273"/>
                <a:gd name="connsiteX500" fmla="*/ 845499 w 1445818"/>
                <a:gd name="connsiteY500" fmla="*/ 691875 h 855273"/>
                <a:gd name="connsiteX501" fmla="*/ 843218 w 1445818"/>
                <a:gd name="connsiteY501" fmla="*/ 696274 h 855273"/>
                <a:gd name="connsiteX502" fmla="*/ 840774 w 1445818"/>
                <a:gd name="connsiteY502" fmla="*/ 700347 h 855273"/>
                <a:gd name="connsiteX503" fmla="*/ 837027 w 1445818"/>
                <a:gd name="connsiteY503" fmla="*/ 699532 h 855273"/>
                <a:gd name="connsiteX504" fmla="*/ 833932 w 1445818"/>
                <a:gd name="connsiteY504" fmla="*/ 700672 h 855273"/>
                <a:gd name="connsiteX505" fmla="*/ 828230 w 1445818"/>
                <a:gd name="connsiteY505" fmla="*/ 699695 h 855273"/>
                <a:gd name="connsiteX506" fmla="*/ 813080 w 1445818"/>
                <a:gd name="connsiteY506" fmla="*/ 702464 h 855273"/>
                <a:gd name="connsiteX507" fmla="*/ 808844 w 1445818"/>
                <a:gd name="connsiteY507" fmla="*/ 706211 h 855273"/>
                <a:gd name="connsiteX508" fmla="*/ 800373 w 1445818"/>
                <a:gd name="connsiteY508" fmla="*/ 709632 h 855273"/>
                <a:gd name="connsiteX509" fmla="*/ 795811 w 1445818"/>
                <a:gd name="connsiteY509" fmla="*/ 714357 h 855273"/>
                <a:gd name="connsiteX510" fmla="*/ 795811 w 1445818"/>
                <a:gd name="connsiteY510" fmla="*/ 717778 h 855273"/>
                <a:gd name="connsiteX511" fmla="*/ 799069 w 1445818"/>
                <a:gd name="connsiteY511" fmla="*/ 716474 h 855273"/>
                <a:gd name="connsiteX512" fmla="*/ 802002 w 1445818"/>
                <a:gd name="connsiteY512" fmla="*/ 713542 h 855273"/>
                <a:gd name="connsiteX513" fmla="*/ 803631 w 1445818"/>
                <a:gd name="connsiteY513" fmla="*/ 713868 h 855273"/>
                <a:gd name="connsiteX514" fmla="*/ 805423 w 1445818"/>
                <a:gd name="connsiteY514" fmla="*/ 716312 h 855273"/>
                <a:gd name="connsiteX515" fmla="*/ 809821 w 1445818"/>
                <a:gd name="connsiteY515" fmla="*/ 718104 h 855273"/>
                <a:gd name="connsiteX516" fmla="*/ 808192 w 1445818"/>
                <a:gd name="connsiteY516" fmla="*/ 719896 h 855273"/>
                <a:gd name="connsiteX517" fmla="*/ 800047 w 1445818"/>
                <a:gd name="connsiteY517" fmla="*/ 722991 h 855273"/>
                <a:gd name="connsiteX518" fmla="*/ 800047 w 1445818"/>
                <a:gd name="connsiteY518" fmla="*/ 727389 h 855273"/>
                <a:gd name="connsiteX519" fmla="*/ 801676 w 1445818"/>
                <a:gd name="connsiteY519" fmla="*/ 731136 h 855273"/>
                <a:gd name="connsiteX520" fmla="*/ 809821 w 1445818"/>
                <a:gd name="connsiteY520" fmla="*/ 733906 h 855273"/>
                <a:gd name="connsiteX521" fmla="*/ 815849 w 1445818"/>
                <a:gd name="connsiteY521" fmla="*/ 738467 h 855273"/>
                <a:gd name="connsiteX522" fmla="*/ 815523 w 1445818"/>
                <a:gd name="connsiteY522" fmla="*/ 740096 h 855273"/>
                <a:gd name="connsiteX523" fmla="*/ 811613 w 1445818"/>
                <a:gd name="connsiteY523" fmla="*/ 741237 h 855273"/>
                <a:gd name="connsiteX524" fmla="*/ 809984 w 1445818"/>
                <a:gd name="connsiteY524" fmla="*/ 744332 h 855273"/>
                <a:gd name="connsiteX525" fmla="*/ 809984 w 1445818"/>
                <a:gd name="connsiteY525" fmla="*/ 739282 h 855273"/>
                <a:gd name="connsiteX526" fmla="*/ 807215 w 1445818"/>
                <a:gd name="connsiteY526" fmla="*/ 737653 h 855273"/>
                <a:gd name="connsiteX527" fmla="*/ 804283 w 1445818"/>
                <a:gd name="connsiteY527" fmla="*/ 737978 h 855273"/>
                <a:gd name="connsiteX528" fmla="*/ 801676 w 1445818"/>
                <a:gd name="connsiteY528" fmla="*/ 734557 h 855273"/>
                <a:gd name="connsiteX529" fmla="*/ 797929 w 1445818"/>
                <a:gd name="connsiteY529" fmla="*/ 733091 h 855273"/>
                <a:gd name="connsiteX530" fmla="*/ 794182 w 1445818"/>
                <a:gd name="connsiteY530" fmla="*/ 727552 h 855273"/>
                <a:gd name="connsiteX531" fmla="*/ 789621 w 1445818"/>
                <a:gd name="connsiteY531" fmla="*/ 727878 h 855273"/>
                <a:gd name="connsiteX532" fmla="*/ 791901 w 1445818"/>
                <a:gd name="connsiteY532" fmla="*/ 732114 h 855273"/>
                <a:gd name="connsiteX533" fmla="*/ 791901 w 1445818"/>
                <a:gd name="connsiteY533" fmla="*/ 738304 h 855273"/>
                <a:gd name="connsiteX534" fmla="*/ 787829 w 1445818"/>
                <a:gd name="connsiteY534" fmla="*/ 740585 h 855273"/>
                <a:gd name="connsiteX535" fmla="*/ 785874 w 1445818"/>
                <a:gd name="connsiteY535" fmla="*/ 737327 h 855273"/>
                <a:gd name="connsiteX536" fmla="*/ 781638 w 1445818"/>
                <a:gd name="connsiteY536" fmla="*/ 734231 h 855273"/>
                <a:gd name="connsiteX537" fmla="*/ 777891 w 1445818"/>
                <a:gd name="connsiteY537" fmla="*/ 737001 h 855273"/>
                <a:gd name="connsiteX538" fmla="*/ 775285 w 1445818"/>
                <a:gd name="connsiteY538" fmla="*/ 739933 h 855273"/>
                <a:gd name="connsiteX539" fmla="*/ 768931 w 1445818"/>
                <a:gd name="connsiteY539" fmla="*/ 737978 h 855273"/>
                <a:gd name="connsiteX540" fmla="*/ 765347 w 1445818"/>
                <a:gd name="connsiteY540" fmla="*/ 735861 h 855273"/>
                <a:gd name="connsiteX541" fmla="*/ 761112 w 1445818"/>
                <a:gd name="connsiteY541" fmla="*/ 736675 h 855273"/>
                <a:gd name="connsiteX542" fmla="*/ 758505 w 1445818"/>
                <a:gd name="connsiteY542" fmla="*/ 735535 h 855273"/>
                <a:gd name="connsiteX543" fmla="*/ 760460 w 1445818"/>
                <a:gd name="connsiteY543" fmla="*/ 732928 h 855273"/>
                <a:gd name="connsiteX544" fmla="*/ 763881 w 1445818"/>
                <a:gd name="connsiteY544" fmla="*/ 730322 h 855273"/>
                <a:gd name="connsiteX545" fmla="*/ 762089 w 1445818"/>
                <a:gd name="connsiteY545" fmla="*/ 727552 h 855273"/>
                <a:gd name="connsiteX546" fmla="*/ 756876 w 1445818"/>
                <a:gd name="connsiteY546" fmla="*/ 728041 h 855273"/>
                <a:gd name="connsiteX547" fmla="*/ 755247 w 1445818"/>
                <a:gd name="connsiteY547" fmla="*/ 726086 h 855273"/>
                <a:gd name="connsiteX548" fmla="*/ 755247 w 1445818"/>
                <a:gd name="connsiteY548" fmla="*/ 722339 h 855273"/>
                <a:gd name="connsiteX549" fmla="*/ 753618 w 1445818"/>
                <a:gd name="connsiteY549" fmla="*/ 720547 h 855273"/>
                <a:gd name="connsiteX550" fmla="*/ 750034 w 1445818"/>
                <a:gd name="connsiteY550" fmla="*/ 721850 h 855273"/>
                <a:gd name="connsiteX551" fmla="*/ 747264 w 1445818"/>
                <a:gd name="connsiteY551" fmla="*/ 720873 h 855273"/>
                <a:gd name="connsiteX552" fmla="*/ 749219 w 1445818"/>
                <a:gd name="connsiteY552" fmla="*/ 717940 h 855273"/>
                <a:gd name="connsiteX553" fmla="*/ 746450 w 1445818"/>
                <a:gd name="connsiteY553" fmla="*/ 716800 h 855273"/>
                <a:gd name="connsiteX554" fmla="*/ 741237 w 1445818"/>
                <a:gd name="connsiteY554" fmla="*/ 718755 h 855273"/>
                <a:gd name="connsiteX555" fmla="*/ 740911 w 1445818"/>
                <a:gd name="connsiteY555" fmla="*/ 721362 h 855273"/>
                <a:gd name="connsiteX556" fmla="*/ 741725 w 1445818"/>
                <a:gd name="connsiteY556" fmla="*/ 724457 h 855273"/>
                <a:gd name="connsiteX557" fmla="*/ 737164 w 1445818"/>
                <a:gd name="connsiteY557" fmla="*/ 725109 h 855273"/>
                <a:gd name="connsiteX558" fmla="*/ 722502 w 1445818"/>
                <a:gd name="connsiteY558" fmla="*/ 723642 h 855273"/>
                <a:gd name="connsiteX559" fmla="*/ 720547 w 1445818"/>
                <a:gd name="connsiteY559" fmla="*/ 721199 h 855273"/>
                <a:gd name="connsiteX560" fmla="*/ 708492 w 1445818"/>
                <a:gd name="connsiteY560" fmla="*/ 718266 h 855273"/>
                <a:gd name="connsiteX561" fmla="*/ 701813 w 1445818"/>
                <a:gd name="connsiteY561" fmla="*/ 718266 h 855273"/>
                <a:gd name="connsiteX562" fmla="*/ 693179 w 1445818"/>
                <a:gd name="connsiteY562" fmla="*/ 720058 h 855273"/>
                <a:gd name="connsiteX563" fmla="*/ 689757 w 1445818"/>
                <a:gd name="connsiteY563" fmla="*/ 722502 h 855273"/>
                <a:gd name="connsiteX564" fmla="*/ 686010 w 1445818"/>
                <a:gd name="connsiteY564" fmla="*/ 722828 h 855273"/>
                <a:gd name="connsiteX565" fmla="*/ 681775 w 1445818"/>
                <a:gd name="connsiteY565" fmla="*/ 728856 h 855273"/>
                <a:gd name="connsiteX566" fmla="*/ 676073 w 1445818"/>
                <a:gd name="connsiteY566" fmla="*/ 729670 h 855273"/>
                <a:gd name="connsiteX567" fmla="*/ 677050 w 1445818"/>
                <a:gd name="connsiteY567" fmla="*/ 725109 h 855273"/>
                <a:gd name="connsiteX568" fmla="*/ 675747 w 1445818"/>
                <a:gd name="connsiteY568" fmla="*/ 721199 h 855273"/>
                <a:gd name="connsiteX569" fmla="*/ 678680 w 1445818"/>
                <a:gd name="connsiteY569" fmla="*/ 717126 h 855273"/>
                <a:gd name="connsiteX570" fmla="*/ 676888 w 1445818"/>
                <a:gd name="connsiteY570" fmla="*/ 711750 h 855273"/>
                <a:gd name="connsiteX571" fmla="*/ 676562 w 1445818"/>
                <a:gd name="connsiteY571" fmla="*/ 714845 h 855273"/>
                <a:gd name="connsiteX572" fmla="*/ 671512 w 1445818"/>
                <a:gd name="connsiteY572" fmla="*/ 719081 h 855273"/>
                <a:gd name="connsiteX573" fmla="*/ 668905 w 1445818"/>
                <a:gd name="connsiteY573" fmla="*/ 719081 h 855273"/>
                <a:gd name="connsiteX574" fmla="*/ 666136 w 1445818"/>
                <a:gd name="connsiteY574" fmla="*/ 715334 h 855273"/>
                <a:gd name="connsiteX575" fmla="*/ 669068 w 1445818"/>
                <a:gd name="connsiteY575" fmla="*/ 722828 h 855273"/>
                <a:gd name="connsiteX576" fmla="*/ 669068 w 1445818"/>
                <a:gd name="connsiteY576" fmla="*/ 728041 h 855273"/>
                <a:gd name="connsiteX577" fmla="*/ 670045 w 1445818"/>
                <a:gd name="connsiteY577" fmla="*/ 733254 h 855273"/>
                <a:gd name="connsiteX578" fmla="*/ 666787 w 1445818"/>
                <a:gd name="connsiteY578" fmla="*/ 736023 h 855273"/>
                <a:gd name="connsiteX579" fmla="*/ 663529 w 1445818"/>
                <a:gd name="connsiteY579" fmla="*/ 736023 h 855273"/>
                <a:gd name="connsiteX580" fmla="*/ 655384 w 1445818"/>
                <a:gd name="connsiteY580" fmla="*/ 743355 h 855273"/>
                <a:gd name="connsiteX581" fmla="*/ 644469 w 1445818"/>
                <a:gd name="connsiteY581" fmla="*/ 748731 h 855273"/>
                <a:gd name="connsiteX582" fmla="*/ 641210 w 1445818"/>
                <a:gd name="connsiteY582" fmla="*/ 748731 h 855273"/>
                <a:gd name="connsiteX583" fmla="*/ 636486 w 1445818"/>
                <a:gd name="connsiteY583" fmla="*/ 752640 h 855273"/>
                <a:gd name="connsiteX584" fmla="*/ 633065 w 1445818"/>
                <a:gd name="connsiteY584" fmla="*/ 752966 h 855273"/>
                <a:gd name="connsiteX585" fmla="*/ 637463 w 1445818"/>
                <a:gd name="connsiteY585" fmla="*/ 749056 h 855273"/>
                <a:gd name="connsiteX586" fmla="*/ 633554 w 1445818"/>
                <a:gd name="connsiteY586" fmla="*/ 746287 h 855273"/>
                <a:gd name="connsiteX587" fmla="*/ 631110 w 1445818"/>
                <a:gd name="connsiteY587" fmla="*/ 747590 h 855273"/>
                <a:gd name="connsiteX588" fmla="*/ 629318 w 1445818"/>
                <a:gd name="connsiteY588" fmla="*/ 746287 h 855273"/>
                <a:gd name="connsiteX589" fmla="*/ 624594 w 1445818"/>
                <a:gd name="connsiteY589" fmla="*/ 749056 h 855273"/>
                <a:gd name="connsiteX590" fmla="*/ 627363 w 1445818"/>
                <a:gd name="connsiteY590" fmla="*/ 751663 h 855273"/>
                <a:gd name="connsiteX591" fmla="*/ 621987 w 1445818"/>
                <a:gd name="connsiteY591" fmla="*/ 753618 h 855273"/>
                <a:gd name="connsiteX592" fmla="*/ 619218 w 1445818"/>
                <a:gd name="connsiteY592" fmla="*/ 751337 h 855273"/>
                <a:gd name="connsiteX593" fmla="*/ 619544 w 1445818"/>
                <a:gd name="connsiteY593" fmla="*/ 757853 h 855273"/>
                <a:gd name="connsiteX594" fmla="*/ 614982 w 1445818"/>
                <a:gd name="connsiteY594" fmla="*/ 760134 h 855273"/>
                <a:gd name="connsiteX595" fmla="*/ 612376 w 1445818"/>
                <a:gd name="connsiteY595" fmla="*/ 758505 h 855273"/>
                <a:gd name="connsiteX596" fmla="*/ 607814 w 1445818"/>
                <a:gd name="connsiteY596" fmla="*/ 764207 h 855273"/>
                <a:gd name="connsiteX597" fmla="*/ 610746 w 1445818"/>
                <a:gd name="connsiteY597" fmla="*/ 767465 h 855273"/>
                <a:gd name="connsiteX598" fmla="*/ 605533 w 1445818"/>
                <a:gd name="connsiteY598" fmla="*/ 771538 h 855273"/>
                <a:gd name="connsiteX599" fmla="*/ 601786 w 1445818"/>
                <a:gd name="connsiteY599" fmla="*/ 773167 h 855273"/>
                <a:gd name="connsiteX600" fmla="*/ 603416 w 1445818"/>
                <a:gd name="connsiteY600" fmla="*/ 782941 h 855273"/>
                <a:gd name="connsiteX601" fmla="*/ 599832 w 1445818"/>
                <a:gd name="connsiteY601" fmla="*/ 787991 h 855273"/>
                <a:gd name="connsiteX602" fmla="*/ 597551 w 1445818"/>
                <a:gd name="connsiteY602" fmla="*/ 795322 h 855273"/>
                <a:gd name="connsiteX603" fmla="*/ 594618 w 1445818"/>
                <a:gd name="connsiteY603" fmla="*/ 801513 h 855273"/>
                <a:gd name="connsiteX604" fmla="*/ 596899 w 1445818"/>
                <a:gd name="connsiteY604" fmla="*/ 805423 h 855273"/>
                <a:gd name="connsiteX605" fmla="*/ 596410 w 1445818"/>
                <a:gd name="connsiteY605" fmla="*/ 816501 h 855273"/>
                <a:gd name="connsiteX606" fmla="*/ 597714 w 1445818"/>
                <a:gd name="connsiteY606" fmla="*/ 820085 h 855273"/>
                <a:gd name="connsiteX607" fmla="*/ 596085 w 1445818"/>
                <a:gd name="connsiteY607" fmla="*/ 825623 h 855273"/>
                <a:gd name="connsiteX608" fmla="*/ 593478 w 1445818"/>
                <a:gd name="connsiteY608" fmla="*/ 833117 h 855273"/>
                <a:gd name="connsiteX609" fmla="*/ 591197 w 1445818"/>
                <a:gd name="connsiteY609" fmla="*/ 831977 h 855273"/>
                <a:gd name="connsiteX610" fmla="*/ 589568 w 1445818"/>
                <a:gd name="connsiteY610" fmla="*/ 828882 h 855273"/>
                <a:gd name="connsiteX611" fmla="*/ 585007 w 1445818"/>
                <a:gd name="connsiteY611" fmla="*/ 827741 h 855273"/>
                <a:gd name="connsiteX612" fmla="*/ 580282 w 1445818"/>
                <a:gd name="connsiteY612" fmla="*/ 825298 h 855273"/>
                <a:gd name="connsiteX613" fmla="*/ 571811 w 1445818"/>
                <a:gd name="connsiteY613" fmla="*/ 822528 h 855273"/>
                <a:gd name="connsiteX614" fmla="*/ 567738 w 1445818"/>
                <a:gd name="connsiteY614" fmla="*/ 818456 h 855273"/>
                <a:gd name="connsiteX615" fmla="*/ 564480 w 1445818"/>
                <a:gd name="connsiteY615" fmla="*/ 816664 h 855273"/>
                <a:gd name="connsiteX616" fmla="*/ 561222 w 1445818"/>
                <a:gd name="connsiteY616" fmla="*/ 817152 h 855273"/>
                <a:gd name="connsiteX617" fmla="*/ 558127 w 1445818"/>
                <a:gd name="connsiteY617" fmla="*/ 816012 h 855273"/>
                <a:gd name="connsiteX618" fmla="*/ 557475 w 1445818"/>
                <a:gd name="connsiteY618" fmla="*/ 815360 h 855273"/>
                <a:gd name="connsiteX619" fmla="*/ 555357 w 1445818"/>
                <a:gd name="connsiteY619" fmla="*/ 812754 h 855273"/>
                <a:gd name="connsiteX620" fmla="*/ 555683 w 1445818"/>
                <a:gd name="connsiteY620" fmla="*/ 806074 h 855273"/>
                <a:gd name="connsiteX621" fmla="*/ 550470 w 1445818"/>
                <a:gd name="connsiteY621" fmla="*/ 791087 h 855273"/>
                <a:gd name="connsiteX622" fmla="*/ 549981 w 1445818"/>
                <a:gd name="connsiteY622" fmla="*/ 789621 h 855273"/>
                <a:gd name="connsiteX623" fmla="*/ 549981 w 1445818"/>
                <a:gd name="connsiteY623" fmla="*/ 788317 h 855273"/>
                <a:gd name="connsiteX624" fmla="*/ 550470 w 1445818"/>
                <a:gd name="connsiteY624" fmla="*/ 783593 h 855273"/>
                <a:gd name="connsiteX625" fmla="*/ 550959 w 1445818"/>
                <a:gd name="connsiteY625" fmla="*/ 779031 h 855273"/>
                <a:gd name="connsiteX626" fmla="*/ 546723 w 1445818"/>
                <a:gd name="connsiteY626" fmla="*/ 774633 h 855273"/>
                <a:gd name="connsiteX627" fmla="*/ 544280 w 1445818"/>
                <a:gd name="connsiteY627" fmla="*/ 770397 h 855273"/>
                <a:gd name="connsiteX628" fmla="*/ 543139 w 1445818"/>
                <a:gd name="connsiteY628" fmla="*/ 765347 h 855273"/>
                <a:gd name="connsiteX629" fmla="*/ 539229 w 1445818"/>
                <a:gd name="connsiteY629" fmla="*/ 763229 h 855273"/>
                <a:gd name="connsiteX630" fmla="*/ 538089 w 1445818"/>
                <a:gd name="connsiteY630" fmla="*/ 759971 h 855273"/>
                <a:gd name="connsiteX631" fmla="*/ 535971 w 1445818"/>
                <a:gd name="connsiteY631" fmla="*/ 758505 h 855273"/>
                <a:gd name="connsiteX632" fmla="*/ 532713 w 1445818"/>
                <a:gd name="connsiteY632" fmla="*/ 749219 h 855273"/>
                <a:gd name="connsiteX633" fmla="*/ 531410 w 1445818"/>
                <a:gd name="connsiteY633" fmla="*/ 745635 h 855273"/>
                <a:gd name="connsiteX634" fmla="*/ 528640 w 1445818"/>
                <a:gd name="connsiteY634" fmla="*/ 744169 h 855273"/>
                <a:gd name="connsiteX635" fmla="*/ 528314 w 1445818"/>
                <a:gd name="connsiteY635" fmla="*/ 738141 h 855273"/>
                <a:gd name="connsiteX636" fmla="*/ 527663 w 1445818"/>
                <a:gd name="connsiteY636" fmla="*/ 734231 h 855273"/>
                <a:gd name="connsiteX637" fmla="*/ 526359 w 1445818"/>
                <a:gd name="connsiteY637" fmla="*/ 731951 h 855273"/>
                <a:gd name="connsiteX638" fmla="*/ 524405 w 1445818"/>
                <a:gd name="connsiteY638" fmla="*/ 726575 h 855273"/>
                <a:gd name="connsiteX639" fmla="*/ 520495 w 1445818"/>
                <a:gd name="connsiteY639" fmla="*/ 720547 h 855273"/>
                <a:gd name="connsiteX640" fmla="*/ 515445 w 1445818"/>
                <a:gd name="connsiteY640" fmla="*/ 716312 h 855273"/>
                <a:gd name="connsiteX641" fmla="*/ 513164 w 1445818"/>
                <a:gd name="connsiteY641" fmla="*/ 712565 h 855273"/>
                <a:gd name="connsiteX642" fmla="*/ 509743 w 1445818"/>
                <a:gd name="connsiteY642" fmla="*/ 710936 h 855273"/>
                <a:gd name="connsiteX643" fmla="*/ 506485 w 1445818"/>
                <a:gd name="connsiteY643" fmla="*/ 711587 h 855273"/>
                <a:gd name="connsiteX644" fmla="*/ 505344 w 1445818"/>
                <a:gd name="connsiteY644" fmla="*/ 710121 h 855273"/>
                <a:gd name="connsiteX645" fmla="*/ 503389 w 1445818"/>
                <a:gd name="connsiteY645" fmla="*/ 709144 h 855273"/>
                <a:gd name="connsiteX646" fmla="*/ 498502 w 1445818"/>
                <a:gd name="connsiteY646" fmla="*/ 709469 h 855273"/>
                <a:gd name="connsiteX647" fmla="*/ 494104 w 1445818"/>
                <a:gd name="connsiteY647" fmla="*/ 708818 h 855273"/>
                <a:gd name="connsiteX648" fmla="*/ 489542 w 1445818"/>
                <a:gd name="connsiteY648" fmla="*/ 708818 h 855273"/>
                <a:gd name="connsiteX649" fmla="*/ 488076 w 1445818"/>
                <a:gd name="connsiteY649" fmla="*/ 711913 h 855273"/>
                <a:gd name="connsiteX650" fmla="*/ 486121 w 1445818"/>
                <a:gd name="connsiteY650" fmla="*/ 712239 h 855273"/>
                <a:gd name="connsiteX651" fmla="*/ 485632 w 1445818"/>
                <a:gd name="connsiteY651" fmla="*/ 711424 h 855273"/>
                <a:gd name="connsiteX652" fmla="*/ 483677 w 1445818"/>
                <a:gd name="connsiteY652" fmla="*/ 710936 h 855273"/>
                <a:gd name="connsiteX653" fmla="*/ 480745 w 1445818"/>
                <a:gd name="connsiteY653" fmla="*/ 711913 h 855273"/>
                <a:gd name="connsiteX654" fmla="*/ 478138 w 1445818"/>
                <a:gd name="connsiteY654" fmla="*/ 714520 h 855273"/>
                <a:gd name="connsiteX655" fmla="*/ 474392 w 1445818"/>
                <a:gd name="connsiteY655" fmla="*/ 721525 h 855273"/>
                <a:gd name="connsiteX656" fmla="*/ 472111 w 1445818"/>
                <a:gd name="connsiteY656" fmla="*/ 724294 h 855273"/>
                <a:gd name="connsiteX657" fmla="*/ 472599 w 1445818"/>
                <a:gd name="connsiteY657" fmla="*/ 725597 h 855273"/>
                <a:gd name="connsiteX658" fmla="*/ 472111 w 1445818"/>
                <a:gd name="connsiteY658" fmla="*/ 727715 h 855273"/>
                <a:gd name="connsiteX659" fmla="*/ 469504 w 1445818"/>
                <a:gd name="connsiteY659" fmla="*/ 728367 h 855273"/>
                <a:gd name="connsiteX660" fmla="*/ 465920 w 1445818"/>
                <a:gd name="connsiteY660" fmla="*/ 731299 h 855273"/>
                <a:gd name="connsiteX661" fmla="*/ 465431 w 1445818"/>
                <a:gd name="connsiteY661" fmla="*/ 732928 h 855273"/>
                <a:gd name="connsiteX662" fmla="*/ 462988 w 1445818"/>
                <a:gd name="connsiteY662" fmla="*/ 733906 h 855273"/>
                <a:gd name="connsiteX663" fmla="*/ 460870 w 1445818"/>
                <a:gd name="connsiteY663" fmla="*/ 733580 h 855273"/>
                <a:gd name="connsiteX664" fmla="*/ 459404 w 1445818"/>
                <a:gd name="connsiteY664" fmla="*/ 731788 h 855273"/>
                <a:gd name="connsiteX665" fmla="*/ 454191 w 1445818"/>
                <a:gd name="connsiteY665" fmla="*/ 729181 h 855273"/>
                <a:gd name="connsiteX666" fmla="*/ 449955 w 1445818"/>
                <a:gd name="connsiteY666" fmla="*/ 727878 h 855273"/>
                <a:gd name="connsiteX667" fmla="*/ 449303 w 1445818"/>
                <a:gd name="connsiteY667" fmla="*/ 726086 h 855273"/>
                <a:gd name="connsiteX668" fmla="*/ 444090 w 1445818"/>
                <a:gd name="connsiteY668" fmla="*/ 723480 h 855273"/>
                <a:gd name="connsiteX669" fmla="*/ 441158 w 1445818"/>
                <a:gd name="connsiteY669" fmla="*/ 723480 h 855273"/>
                <a:gd name="connsiteX670" fmla="*/ 439529 w 1445818"/>
                <a:gd name="connsiteY670" fmla="*/ 721688 h 855273"/>
                <a:gd name="connsiteX671" fmla="*/ 439203 w 1445818"/>
                <a:gd name="connsiteY671" fmla="*/ 720058 h 855273"/>
                <a:gd name="connsiteX672" fmla="*/ 438226 w 1445818"/>
                <a:gd name="connsiteY672" fmla="*/ 718266 h 855273"/>
                <a:gd name="connsiteX673" fmla="*/ 435782 w 1445818"/>
                <a:gd name="connsiteY673" fmla="*/ 717289 h 855273"/>
                <a:gd name="connsiteX674" fmla="*/ 434153 w 1445818"/>
                <a:gd name="connsiteY674" fmla="*/ 717289 h 855273"/>
                <a:gd name="connsiteX675" fmla="*/ 432035 w 1445818"/>
                <a:gd name="connsiteY675" fmla="*/ 715334 h 855273"/>
                <a:gd name="connsiteX676" fmla="*/ 430406 w 1445818"/>
                <a:gd name="connsiteY676" fmla="*/ 715334 h 855273"/>
                <a:gd name="connsiteX677" fmla="*/ 430569 w 1445818"/>
                <a:gd name="connsiteY677" fmla="*/ 714031 h 855273"/>
                <a:gd name="connsiteX678" fmla="*/ 429429 w 1445818"/>
                <a:gd name="connsiteY678" fmla="*/ 710447 h 855273"/>
                <a:gd name="connsiteX679" fmla="*/ 426007 w 1445818"/>
                <a:gd name="connsiteY679" fmla="*/ 706211 h 855273"/>
                <a:gd name="connsiteX680" fmla="*/ 421609 w 1445818"/>
                <a:gd name="connsiteY680" fmla="*/ 700998 h 855273"/>
                <a:gd name="connsiteX681" fmla="*/ 421609 w 1445818"/>
                <a:gd name="connsiteY681" fmla="*/ 699206 h 855273"/>
                <a:gd name="connsiteX682" fmla="*/ 424541 w 1445818"/>
                <a:gd name="connsiteY682" fmla="*/ 698391 h 855273"/>
                <a:gd name="connsiteX683" fmla="*/ 426007 w 1445818"/>
                <a:gd name="connsiteY683" fmla="*/ 697251 h 855273"/>
                <a:gd name="connsiteX684" fmla="*/ 426007 w 1445818"/>
                <a:gd name="connsiteY684" fmla="*/ 693341 h 855273"/>
                <a:gd name="connsiteX685" fmla="*/ 422912 w 1445818"/>
                <a:gd name="connsiteY685" fmla="*/ 690572 h 855273"/>
                <a:gd name="connsiteX686" fmla="*/ 422098 w 1445818"/>
                <a:gd name="connsiteY686" fmla="*/ 688617 h 855273"/>
                <a:gd name="connsiteX687" fmla="*/ 420631 w 1445818"/>
                <a:gd name="connsiteY687" fmla="*/ 688291 h 855273"/>
                <a:gd name="connsiteX688" fmla="*/ 418839 w 1445818"/>
                <a:gd name="connsiteY688" fmla="*/ 686173 h 855273"/>
                <a:gd name="connsiteX689" fmla="*/ 418351 w 1445818"/>
                <a:gd name="connsiteY689" fmla="*/ 680472 h 855273"/>
                <a:gd name="connsiteX690" fmla="*/ 416070 w 1445818"/>
                <a:gd name="connsiteY690" fmla="*/ 676725 h 855273"/>
                <a:gd name="connsiteX691" fmla="*/ 412486 w 1445818"/>
                <a:gd name="connsiteY691" fmla="*/ 674444 h 855273"/>
                <a:gd name="connsiteX692" fmla="*/ 409391 w 1445818"/>
                <a:gd name="connsiteY692" fmla="*/ 673466 h 855273"/>
                <a:gd name="connsiteX693" fmla="*/ 410694 w 1445818"/>
                <a:gd name="connsiteY693" fmla="*/ 671512 h 855273"/>
                <a:gd name="connsiteX694" fmla="*/ 411020 w 1445818"/>
                <a:gd name="connsiteY694" fmla="*/ 669231 h 855273"/>
                <a:gd name="connsiteX695" fmla="*/ 407110 w 1445818"/>
                <a:gd name="connsiteY695" fmla="*/ 665973 h 855273"/>
                <a:gd name="connsiteX696" fmla="*/ 403200 w 1445818"/>
                <a:gd name="connsiteY696" fmla="*/ 664506 h 855273"/>
                <a:gd name="connsiteX697" fmla="*/ 404015 w 1445818"/>
                <a:gd name="connsiteY697" fmla="*/ 662063 h 855273"/>
                <a:gd name="connsiteX698" fmla="*/ 401734 w 1445818"/>
                <a:gd name="connsiteY698" fmla="*/ 658642 h 855273"/>
                <a:gd name="connsiteX699" fmla="*/ 399127 w 1445818"/>
                <a:gd name="connsiteY699" fmla="*/ 658642 h 855273"/>
                <a:gd name="connsiteX700" fmla="*/ 398639 w 1445818"/>
                <a:gd name="connsiteY700" fmla="*/ 656198 h 855273"/>
                <a:gd name="connsiteX701" fmla="*/ 396358 w 1445818"/>
                <a:gd name="connsiteY701" fmla="*/ 653591 h 855273"/>
                <a:gd name="connsiteX702" fmla="*/ 392285 w 1445818"/>
                <a:gd name="connsiteY702" fmla="*/ 647727 h 855273"/>
                <a:gd name="connsiteX703" fmla="*/ 387561 w 1445818"/>
                <a:gd name="connsiteY703" fmla="*/ 644794 h 855273"/>
                <a:gd name="connsiteX704" fmla="*/ 346182 w 1445818"/>
                <a:gd name="connsiteY704" fmla="*/ 643491 h 855273"/>
                <a:gd name="connsiteX705" fmla="*/ 345693 w 1445818"/>
                <a:gd name="connsiteY705" fmla="*/ 652777 h 855273"/>
                <a:gd name="connsiteX706" fmla="*/ 272547 w 1445818"/>
                <a:gd name="connsiteY706" fmla="*/ 650496 h 855273"/>
                <a:gd name="connsiteX707" fmla="*/ 185554 w 1445818"/>
                <a:gd name="connsiteY707" fmla="*/ 610746 h 855273"/>
                <a:gd name="connsiteX708" fmla="*/ 186531 w 1445818"/>
                <a:gd name="connsiteY708" fmla="*/ 608791 h 855273"/>
                <a:gd name="connsiteX709" fmla="*/ 185228 w 1445818"/>
                <a:gd name="connsiteY709" fmla="*/ 606511 h 855273"/>
                <a:gd name="connsiteX710" fmla="*/ 123974 w 1445818"/>
                <a:gd name="connsiteY710" fmla="*/ 607651 h 855273"/>
                <a:gd name="connsiteX711" fmla="*/ 123485 w 1445818"/>
                <a:gd name="connsiteY711" fmla="*/ 603578 h 855273"/>
                <a:gd name="connsiteX712" fmla="*/ 124788 w 1445818"/>
                <a:gd name="connsiteY712" fmla="*/ 597388 h 855273"/>
                <a:gd name="connsiteX713" fmla="*/ 123648 w 1445818"/>
                <a:gd name="connsiteY713" fmla="*/ 589568 h 855273"/>
                <a:gd name="connsiteX714" fmla="*/ 114851 w 1445818"/>
                <a:gd name="connsiteY714" fmla="*/ 576047 h 855273"/>
                <a:gd name="connsiteX715" fmla="*/ 109149 w 1445818"/>
                <a:gd name="connsiteY715" fmla="*/ 570182 h 855273"/>
                <a:gd name="connsiteX716" fmla="*/ 105891 w 1445818"/>
                <a:gd name="connsiteY716" fmla="*/ 570997 h 855273"/>
                <a:gd name="connsiteX717" fmla="*/ 103284 w 1445818"/>
                <a:gd name="connsiteY717" fmla="*/ 570997 h 855273"/>
                <a:gd name="connsiteX718" fmla="*/ 101655 w 1445818"/>
                <a:gd name="connsiteY718" fmla="*/ 570182 h 855273"/>
                <a:gd name="connsiteX719" fmla="*/ 101655 w 1445818"/>
                <a:gd name="connsiteY719" fmla="*/ 565783 h 855273"/>
                <a:gd name="connsiteX720" fmla="*/ 100678 w 1445818"/>
                <a:gd name="connsiteY720" fmla="*/ 563014 h 855273"/>
                <a:gd name="connsiteX721" fmla="*/ 94487 w 1445818"/>
                <a:gd name="connsiteY721" fmla="*/ 561222 h 855273"/>
                <a:gd name="connsiteX722" fmla="*/ 90252 w 1445818"/>
                <a:gd name="connsiteY722" fmla="*/ 561222 h 855273"/>
                <a:gd name="connsiteX723" fmla="*/ 83410 w 1445818"/>
                <a:gd name="connsiteY723" fmla="*/ 557312 h 855273"/>
                <a:gd name="connsiteX724" fmla="*/ 83410 w 1445818"/>
                <a:gd name="connsiteY724" fmla="*/ 552914 h 855273"/>
                <a:gd name="connsiteX725" fmla="*/ 80314 w 1445818"/>
                <a:gd name="connsiteY725" fmla="*/ 549493 h 855273"/>
                <a:gd name="connsiteX726" fmla="*/ 73472 w 1445818"/>
                <a:gd name="connsiteY726" fmla="*/ 549493 h 855273"/>
                <a:gd name="connsiteX727" fmla="*/ 69725 w 1445818"/>
                <a:gd name="connsiteY727" fmla="*/ 548841 h 855273"/>
                <a:gd name="connsiteX728" fmla="*/ 65652 w 1445818"/>
                <a:gd name="connsiteY728" fmla="*/ 546397 h 855273"/>
                <a:gd name="connsiteX729" fmla="*/ 60439 w 1445818"/>
                <a:gd name="connsiteY729" fmla="*/ 544931 h 855273"/>
                <a:gd name="connsiteX730" fmla="*/ 51642 w 1445818"/>
                <a:gd name="connsiteY730" fmla="*/ 544931 h 855273"/>
                <a:gd name="connsiteX731" fmla="*/ 49036 w 1445818"/>
                <a:gd name="connsiteY731" fmla="*/ 543139 h 855273"/>
                <a:gd name="connsiteX732" fmla="*/ 47569 w 1445818"/>
                <a:gd name="connsiteY732" fmla="*/ 538904 h 855273"/>
                <a:gd name="connsiteX733" fmla="*/ 48710 w 1445818"/>
                <a:gd name="connsiteY733" fmla="*/ 538089 h 855273"/>
                <a:gd name="connsiteX734" fmla="*/ 50013 w 1445818"/>
                <a:gd name="connsiteY734" fmla="*/ 533853 h 855273"/>
                <a:gd name="connsiteX735" fmla="*/ 51805 w 1445818"/>
                <a:gd name="connsiteY735" fmla="*/ 526034 h 855273"/>
                <a:gd name="connsiteX736" fmla="*/ 50176 w 1445818"/>
                <a:gd name="connsiteY736" fmla="*/ 520821 h 855273"/>
                <a:gd name="connsiteX737" fmla="*/ 46103 w 1445818"/>
                <a:gd name="connsiteY737" fmla="*/ 516096 h 855273"/>
                <a:gd name="connsiteX738" fmla="*/ 45777 w 1445818"/>
                <a:gd name="connsiteY738" fmla="*/ 514630 h 855273"/>
                <a:gd name="connsiteX739" fmla="*/ 46755 w 1445818"/>
                <a:gd name="connsiteY739" fmla="*/ 512838 h 855273"/>
                <a:gd name="connsiteX740" fmla="*/ 44637 w 1445818"/>
                <a:gd name="connsiteY740" fmla="*/ 511209 h 855273"/>
                <a:gd name="connsiteX741" fmla="*/ 40727 w 1445818"/>
                <a:gd name="connsiteY741" fmla="*/ 505833 h 855273"/>
                <a:gd name="connsiteX742" fmla="*/ 35351 w 1445818"/>
                <a:gd name="connsiteY742" fmla="*/ 494429 h 855273"/>
                <a:gd name="connsiteX743" fmla="*/ 34211 w 1445818"/>
                <a:gd name="connsiteY743" fmla="*/ 485632 h 855273"/>
                <a:gd name="connsiteX744" fmla="*/ 30138 w 1445818"/>
                <a:gd name="connsiteY744" fmla="*/ 482700 h 855273"/>
                <a:gd name="connsiteX745" fmla="*/ 29487 w 1445818"/>
                <a:gd name="connsiteY745" fmla="*/ 479605 h 855273"/>
                <a:gd name="connsiteX746" fmla="*/ 29812 w 1445818"/>
                <a:gd name="connsiteY746" fmla="*/ 474880 h 855273"/>
                <a:gd name="connsiteX747" fmla="*/ 28509 w 1445818"/>
                <a:gd name="connsiteY747" fmla="*/ 469504 h 855273"/>
                <a:gd name="connsiteX748" fmla="*/ 28509 w 1445818"/>
                <a:gd name="connsiteY748" fmla="*/ 467223 h 855273"/>
                <a:gd name="connsiteX749" fmla="*/ 30953 w 1445818"/>
                <a:gd name="connsiteY749" fmla="*/ 467549 h 855273"/>
                <a:gd name="connsiteX750" fmla="*/ 34211 w 1445818"/>
                <a:gd name="connsiteY750" fmla="*/ 463802 h 855273"/>
                <a:gd name="connsiteX751" fmla="*/ 34211 w 1445818"/>
                <a:gd name="connsiteY751" fmla="*/ 459730 h 855273"/>
                <a:gd name="connsiteX752" fmla="*/ 31279 w 1445818"/>
                <a:gd name="connsiteY752" fmla="*/ 456960 h 855273"/>
                <a:gd name="connsiteX753" fmla="*/ 27369 w 1445818"/>
                <a:gd name="connsiteY753" fmla="*/ 454516 h 855273"/>
                <a:gd name="connsiteX754" fmla="*/ 26228 w 1445818"/>
                <a:gd name="connsiteY754" fmla="*/ 449466 h 855273"/>
                <a:gd name="connsiteX755" fmla="*/ 23785 w 1445818"/>
                <a:gd name="connsiteY755" fmla="*/ 448163 h 855273"/>
                <a:gd name="connsiteX756" fmla="*/ 23296 w 1445818"/>
                <a:gd name="connsiteY756" fmla="*/ 444090 h 855273"/>
                <a:gd name="connsiteX757" fmla="*/ 24599 w 1445818"/>
                <a:gd name="connsiteY757" fmla="*/ 439529 h 855273"/>
                <a:gd name="connsiteX758" fmla="*/ 24111 w 1445818"/>
                <a:gd name="connsiteY758" fmla="*/ 437085 h 855273"/>
                <a:gd name="connsiteX759" fmla="*/ 26554 w 1445818"/>
                <a:gd name="connsiteY759" fmla="*/ 434641 h 855273"/>
                <a:gd name="connsiteX760" fmla="*/ 26065 w 1445818"/>
                <a:gd name="connsiteY760" fmla="*/ 431546 h 855273"/>
                <a:gd name="connsiteX761" fmla="*/ 27857 w 1445818"/>
                <a:gd name="connsiteY761" fmla="*/ 428940 h 855273"/>
                <a:gd name="connsiteX762" fmla="*/ 30138 w 1445818"/>
                <a:gd name="connsiteY762" fmla="*/ 430406 h 855273"/>
                <a:gd name="connsiteX763" fmla="*/ 32419 w 1445818"/>
                <a:gd name="connsiteY763" fmla="*/ 434967 h 855273"/>
                <a:gd name="connsiteX764" fmla="*/ 36655 w 1445818"/>
                <a:gd name="connsiteY764" fmla="*/ 437248 h 855273"/>
                <a:gd name="connsiteX765" fmla="*/ 35025 w 1445818"/>
                <a:gd name="connsiteY765" fmla="*/ 434967 h 855273"/>
                <a:gd name="connsiteX766" fmla="*/ 33396 w 1445818"/>
                <a:gd name="connsiteY766" fmla="*/ 431058 h 855273"/>
                <a:gd name="connsiteX767" fmla="*/ 32745 w 1445818"/>
                <a:gd name="connsiteY767" fmla="*/ 424378 h 855273"/>
                <a:gd name="connsiteX768" fmla="*/ 30790 w 1445818"/>
                <a:gd name="connsiteY768" fmla="*/ 422912 h 855273"/>
                <a:gd name="connsiteX769" fmla="*/ 31116 w 1445818"/>
                <a:gd name="connsiteY769" fmla="*/ 419491 h 855273"/>
                <a:gd name="connsiteX770" fmla="*/ 33396 w 1445818"/>
                <a:gd name="connsiteY770" fmla="*/ 419491 h 855273"/>
                <a:gd name="connsiteX771" fmla="*/ 35188 w 1445818"/>
                <a:gd name="connsiteY771" fmla="*/ 421120 h 855273"/>
                <a:gd name="connsiteX772" fmla="*/ 39587 w 1445818"/>
                <a:gd name="connsiteY772" fmla="*/ 419817 h 855273"/>
                <a:gd name="connsiteX773" fmla="*/ 44148 w 1445818"/>
                <a:gd name="connsiteY773" fmla="*/ 418676 h 855273"/>
                <a:gd name="connsiteX774" fmla="*/ 37632 w 1445818"/>
                <a:gd name="connsiteY774" fmla="*/ 417862 h 855273"/>
                <a:gd name="connsiteX775" fmla="*/ 36329 w 1445818"/>
                <a:gd name="connsiteY775" fmla="*/ 416070 h 855273"/>
                <a:gd name="connsiteX776" fmla="*/ 32256 w 1445818"/>
                <a:gd name="connsiteY776" fmla="*/ 416070 h 855273"/>
                <a:gd name="connsiteX777" fmla="*/ 31767 w 1445818"/>
                <a:gd name="connsiteY777" fmla="*/ 413789 h 855273"/>
                <a:gd name="connsiteX778" fmla="*/ 30464 w 1445818"/>
                <a:gd name="connsiteY778" fmla="*/ 414930 h 855273"/>
                <a:gd name="connsiteX779" fmla="*/ 27206 w 1445818"/>
                <a:gd name="connsiteY779" fmla="*/ 412975 h 855273"/>
                <a:gd name="connsiteX780" fmla="*/ 27206 w 1445818"/>
                <a:gd name="connsiteY780" fmla="*/ 418676 h 855273"/>
                <a:gd name="connsiteX781" fmla="*/ 27043 w 1445818"/>
                <a:gd name="connsiteY781" fmla="*/ 424215 h 855273"/>
                <a:gd name="connsiteX782" fmla="*/ 25740 w 1445818"/>
                <a:gd name="connsiteY782" fmla="*/ 423564 h 855273"/>
                <a:gd name="connsiteX783" fmla="*/ 23785 w 1445818"/>
                <a:gd name="connsiteY783" fmla="*/ 423564 h 855273"/>
                <a:gd name="connsiteX784" fmla="*/ 22807 w 1445818"/>
                <a:gd name="connsiteY784" fmla="*/ 421120 h 855273"/>
                <a:gd name="connsiteX785" fmla="*/ 16943 w 1445818"/>
                <a:gd name="connsiteY785" fmla="*/ 415581 h 855273"/>
                <a:gd name="connsiteX786" fmla="*/ 15639 w 1445818"/>
                <a:gd name="connsiteY786" fmla="*/ 411834 h 855273"/>
                <a:gd name="connsiteX787" fmla="*/ 17106 w 1445818"/>
                <a:gd name="connsiteY787" fmla="*/ 408739 h 855273"/>
                <a:gd name="connsiteX788" fmla="*/ 16291 w 1445818"/>
                <a:gd name="connsiteY788" fmla="*/ 403689 h 855273"/>
                <a:gd name="connsiteX789" fmla="*/ 5539 w 1445818"/>
                <a:gd name="connsiteY789" fmla="*/ 387235 h 855273"/>
                <a:gd name="connsiteX790" fmla="*/ 4398 w 1445818"/>
                <a:gd name="connsiteY790" fmla="*/ 384303 h 855273"/>
                <a:gd name="connsiteX791" fmla="*/ 5376 w 1445818"/>
                <a:gd name="connsiteY791" fmla="*/ 381044 h 855273"/>
                <a:gd name="connsiteX792" fmla="*/ 7657 w 1445818"/>
                <a:gd name="connsiteY792" fmla="*/ 377135 h 855273"/>
                <a:gd name="connsiteX793" fmla="*/ 7168 w 1445818"/>
                <a:gd name="connsiteY793" fmla="*/ 371922 h 855273"/>
                <a:gd name="connsiteX794" fmla="*/ 4887 w 1445818"/>
                <a:gd name="connsiteY794" fmla="*/ 367523 h 855273"/>
                <a:gd name="connsiteX795" fmla="*/ 4887 w 1445818"/>
                <a:gd name="connsiteY795" fmla="*/ 365079 h 855273"/>
                <a:gd name="connsiteX796" fmla="*/ 7820 w 1445818"/>
                <a:gd name="connsiteY796" fmla="*/ 360518 h 855273"/>
                <a:gd name="connsiteX797" fmla="*/ 8797 w 1445818"/>
                <a:gd name="connsiteY797" fmla="*/ 354816 h 855273"/>
                <a:gd name="connsiteX798" fmla="*/ 8471 w 1445818"/>
                <a:gd name="connsiteY798" fmla="*/ 344553 h 855273"/>
                <a:gd name="connsiteX799" fmla="*/ 4398 w 1445818"/>
                <a:gd name="connsiteY799" fmla="*/ 335104 h 855273"/>
                <a:gd name="connsiteX800" fmla="*/ 0 w 1445818"/>
                <a:gd name="connsiteY800" fmla="*/ 329076 h 855273"/>
                <a:gd name="connsiteX801" fmla="*/ 0 w 1445818"/>
                <a:gd name="connsiteY801" fmla="*/ 323375 h 855273"/>
                <a:gd name="connsiteX802" fmla="*/ 2769 w 1445818"/>
                <a:gd name="connsiteY802" fmla="*/ 317510 h 855273"/>
                <a:gd name="connsiteX803" fmla="*/ 10263 w 1445818"/>
                <a:gd name="connsiteY803" fmla="*/ 312297 h 855273"/>
                <a:gd name="connsiteX804" fmla="*/ 12870 w 1445818"/>
                <a:gd name="connsiteY804" fmla="*/ 305455 h 855273"/>
                <a:gd name="connsiteX805" fmla="*/ 11241 w 1445818"/>
                <a:gd name="connsiteY805" fmla="*/ 304314 h 855273"/>
                <a:gd name="connsiteX806" fmla="*/ 10589 w 1445818"/>
                <a:gd name="connsiteY806" fmla="*/ 301056 h 855273"/>
                <a:gd name="connsiteX807" fmla="*/ 13359 w 1445818"/>
                <a:gd name="connsiteY807" fmla="*/ 298287 h 855273"/>
                <a:gd name="connsiteX808" fmla="*/ 16128 w 1445818"/>
                <a:gd name="connsiteY808" fmla="*/ 292585 h 855273"/>
                <a:gd name="connsiteX809" fmla="*/ 17268 w 1445818"/>
                <a:gd name="connsiteY809" fmla="*/ 282159 h 855273"/>
                <a:gd name="connsiteX810" fmla="*/ 15476 w 1445818"/>
                <a:gd name="connsiteY810" fmla="*/ 275968 h 855273"/>
                <a:gd name="connsiteX811" fmla="*/ 15476 w 1445818"/>
                <a:gd name="connsiteY811" fmla="*/ 271895 h 855273"/>
                <a:gd name="connsiteX812" fmla="*/ 17920 w 1445818"/>
                <a:gd name="connsiteY812" fmla="*/ 268963 h 855273"/>
                <a:gd name="connsiteX813" fmla="*/ 14499 w 1445818"/>
                <a:gd name="connsiteY813" fmla="*/ 263424 h 855273"/>
                <a:gd name="connsiteX814" fmla="*/ 14825 w 1445818"/>
                <a:gd name="connsiteY814" fmla="*/ 256745 h 855273"/>
                <a:gd name="connsiteX815" fmla="*/ 17431 w 1445818"/>
                <a:gd name="connsiteY815" fmla="*/ 246970 h 855273"/>
                <a:gd name="connsiteX816" fmla="*/ 16617 w 1445818"/>
                <a:gd name="connsiteY816" fmla="*/ 237196 h 855273"/>
                <a:gd name="connsiteX817" fmla="*/ 18409 w 1445818"/>
                <a:gd name="connsiteY817" fmla="*/ 232797 h 855273"/>
                <a:gd name="connsiteX818" fmla="*/ 25088 w 1445818"/>
                <a:gd name="connsiteY818" fmla="*/ 224326 h 855273"/>
                <a:gd name="connsiteX819" fmla="*/ 26554 w 1445818"/>
                <a:gd name="connsiteY819" fmla="*/ 219113 h 855273"/>
                <a:gd name="connsiteX820" fmla="*/ 29161 w 1445818"/>
                <a:gd name="connsiteY820" fmla="*/ 216506 h 855273"/>
                <a:gd name="connsiteX821" fmla="*/ 32093 w 1445818"/>
                <a:gd name="connsiteY821" fmla="*/ 208035 h 855273"/>
                <a:gd name="connsiteX822" fmla="*/ 36818 w 1445818"/>
                <a:gd name="connsiteY822" fmla="*/ 202496 h 855273"/>
                <a:gd name="connsiteX823" fmla="*/ 40076 w 1445818"/>
                <a:gd name="connsiteY823" fmla="*/ 195817 h 855273"/>
                <a:gd name="connsiteX824" fmla="*/ 41868 w 1445818"/>
                <a:gd name="connsiteY824" fmla="*/ 182132 h 855273"/>
                <a:gd name="connsiteX825" fmla="*/ 48221 w 1445818"/>
                <a:gd name="connsiteY825" fmla="*/ 169914 h 855273"/>
                <a:gd name="connsiteX826" fmla="*/ 49361 w 1445818"/>
                <a:gd name="connsiteY826" fmla="*/ 158511 h 855273"/>
                <a:gd name="connsiteX827" fmla="*/ 56367 w 1445818"/>
                <a:gd name="connsiteY827" fmla="*/ 143034 h 855273"/>
                <a:gd name="connsiteX828" fmla="*/ 58973 w 1445818"/>
                <a:gd name="connsiteY828" fmla="*/ 137495 h 855273"/>
                <a:gd name="connsiteX829" fmla="*/ 63046 w 1445818"/>
                <a:gd name="connsiteY829" fmla="*/ 130490 h 855273"/>
                <a:gd name="connsiteX830" fmla="*/ 62557 w 1445818"/>
                <a:gd name="connsiteY830" fmla="*/ 126743 h 855273"/>
                <a:gd name="connsiteX831" fmla="*/ 62557 w 1445818"/>
                <a:gd name="connsiteY831" fmla="*/ 122834 h 855273"/>
                <a:gd name="connsiteX832" fmla="*/ 67770 w 1445818"/>
                <a:gd name="connsiteY832" fmla="*/ 116154 h 855273"/>
                <a:gd name="connsiteX833" fmla="*/ 67770 w 1445818"/>
                <a:gd name="connsiteY833" fmla="*/ 112081 h 855273"/>
                <a:gd name="connsiteX834" fmla="*/ 69236 w 1445818"/>
                <a:gd name="connsiteY834" fmla="*/ 110778 h 855273"/>
                <a:gd name="connsiteX835" fmla="*/ 72169 w 1445818"/>
                <a:gd name="connsiteY835" fmla="*/ 113059 h 855273"/>
                <a:gd name="connsiteX836" fmla="*/ 80803 w 1445818"/>
                <a:gd name="connsiteY836" fmla="*/ 113385 h 855273"/>
                <a:gd name="connsiteX837" fmla="*/ 84550 w 1445818"/>
                <a:gd name="connsiteY837" fmla="*/ 115991 h 855273"/>
                <a:gd name="connsiteX838" fmla="*/ 87645 w 1445818"/>
                <a:gd name="connsiteY838" fmla="*/ 115503 h 855273"/>
                <a:gd name="connsiteX839" fmla="*/ 92207 w 1445818"/>
                <a:gd name="connsiteY839" fmla="*/ 118272 h 855273"/>
                <a:gd name="connsiteX840" fmla="*/ 94650 w 1445818"/>
                <a:gd name="connsiteY840" fmla="*/ 123974 h 855273"/>
                <a:gd name="connsiteX841" fmla="*/ 93673 w 1445818"/>
                <a:gd name="connsiteY841" fmla="*/ 117783 h 855273"/>
                <a:gd name="connsiteX842" fmla="*/ 91066 w 1445818"/>
                <a:gd name="connsiteY842" fmla="*/ 114525 h 855273"/>
                <a:gd name="connsiteX843" fmla="*/ 85690 w 1445818"/>
                <a:gd name="connsiteY843" fmla="*/ 113548 h 855273"/>
                <a:gd name="connsiteX844" fmla="*/ 81455 w 1445818"/>
                <a:gd name="connsiteY844" fmla="*/ 110127 h 855273"/>
                <a:gd name="connsiteX845" fmla="*/ 74449 w 1445818"/>
                <a:gd name="connsiteY845" fmla="*/ 109638 h 855273"/>
                <a:gd name="connsiteX846" fmla="*/ 67444 w 1445818"/>
                <a:gd name="connsiteY846" fmla="*/ 107846 h 855273"/>
                <a:gd name="connsiteX847" fmla="*/ 66956 w 1445818"/>
                <a:gd name="connsiteY847" fmla="*/ 105076 h 855273"/>
                <a:gd name="connsiteX848" fmla="*/ 68748 w 1445818"/>
                <a:gd name="connsiteY848" fmla="*/ 103122 h 855273"/>
                <a:gd name="connsiteX849" fmla="*/ 70377 w 1445818"/>
                <a:gd name="connsiteY849" fmla="*/ 103773 h 855273"/>
                <a:gd name="connsiteX850" fmla="*/ 73309 w 1445818"/>
                <a:gd name="connsiteY850" fmla="*/ 100352 h 855273"/>
                <a:gd name="connsiteX851" fmla="*/ 73309 w 1445818"/>
                <a:gd name="connsiteY851" fmla="*/ 95302 h 855273"/>
                <a:gd name="connsiteX852" fmla="*/ 74938 w 1445818"/>
                <a:gd name="connsiteY852" fmla="*/ 91392 h 855273"/>
                <a:gd name="connsiteX853" fmla="*/ 70865 w 1445818"/>
                <a:gd name="connsiteY853" fmla="*/ 89763 h 855273"/>
                <a:gd name="connsiteX854" fmla="*/ 69073 w 1445818"/>
                <a:gd name="connsiteY854" fmla="*/ 87482 h 855273"/>
                <a:gd name="connsiteX855" fmla="*/ 70377 w 1445818"/>
                <a:gd name="connsiteY855" fmla="*/ 83410 h 855273"/>
                <a:gd name="connsiteX856" fmla="*/ 72983 w 1445818"/>
                <a:gd name="connsiteY856" fmla="*/ 83410 h 855273"/>
                <a:gd name="connsiteX857" fmla="*/ 74938 w 1445818"/>
                <a:gd name="connsiteY857" fmla="*/ 80477 h 855273"/>
                <a:gd name="connsiteX858" fmla="*/ 74612 w 1445818"/>
                <a:gd name="connsiteY858" fmla="*/ 78685 h 855273"/>
                <a:gd name="connsiteX859" fmla="*/ 71354 w 1445818"/>
                <a:gd name="connsiteY859" fmla="*/ 77708 h 855273"/>
                <a:gd name="connsiteX860" fmla="*/ 71028 w 1445818"/>
                <a:gd name="connsiteY860" fmla="*/ 74449 h 855273"/>
                <a:gd name="connsiteX861" fmla="*/ 72169 w 1445818"/>
                <a:gd name="connsiteY861" fmla="*/ 67933 h 855273"/>
                <a:gd name="connsiteX862" fmla="*/ 70865 w 1445818"/>
                <a:gd name="connsiteY862" fmla="*/ 61254 h 855273"/>
                <a:gd name="connsiteX863" fmla="*/ 73472 w 1445818"/>
                <a:gd name="connsiteY863" fmla="*/ 48221 h 855273"/>
                <a:gd name="connsiteX864" fmla="*/ 70703 w 1445818"/>
                <a:gd name="connsiteY864" fmla="*/ 38772 h 855273"/>
                <a:gd name="connsiteX865" fmla="*/ 70703 w 1445818"/>
                <a:gd name="connsiteY865" fmla="*/ 34211 h 855273"/>
                <a:gd name="connsiteX866" fmla="*/ 74612 w 1445818"/>
                <a:gd name="connsiteY866" fmla="*/ 24762 h 855273"/>
                <a:gd name="connsiteX867" fmla="*/ 75264 w 1445818"/>
                <a:gd name="connsiteY867" fmla="*/ 19549 h 855273"/>
                <a:gd name="connsiteX868" fmla="*/ 77056 w 1445818"/>
                <a:gd name="connsiteY868" fmla="*/ 19060 h 855273"/>
                <a:gd name="connsiteX869" fmla="*/ 88785 w 1445818"/>
                <a:gd name="connsiteY869" fmla="*/ 29324 h 855273"/>
                <a:gd name="connsiteX870" fmla="*/ 94976 w 1445818"/>
                <a:gd name="connsiteY870" fmla="*/ 33396 h 855273"/>
                <a:gd name="connsiteX871" fmla="*/ 106380 w 1445818"/>
                <a:gd name="connsiteY871" fmla="*/ 34211 h 855273"/>
                <a:gd name="connsiteX872" fmla="*/ 110452 w 1445818"/>
                <a:gd name="connsiteY872" fmla="*/ 36166 h 855273"/>
                <a:gd name="connsiteX873" fmla="*/ 112896 w 1445818"/>
                <a:gd name="connsiteY873" fmla="*/ 40727 h 855273"/>
                <a:gd name="connsiteX874" fmla="*/ 115340 w 1445818"/>
                <a:gd name="connsiteY874" fmla="*/ 39587 h 855273"/>
                <a:gd name="connsiteX875" fmla="*/ 117783 w 1445818"/>
                <a:gd name="connsiteY875" fmla="*/ 39587 h 855273"/>
                <a:gd name="connsiteX876" fmla="*/ 119412 w 1445818"/>
                <a:gd name="connsiteY876" fmla="*/ 42845 h 855273"/>
                <a:gd name="connsiteX877" fmla="*/ 117946 w 1445818"/>
                <a:gd name="connsiteY877" fmla="*/ 45777 h 855273"/>
                <a:gd name="connsiteX878" fmla="*/ 112570 w 1445818"/>
                <a:gd name="connsiteY878" fmla="*/ 47732 h 855273"/>
                <a:gd name="connsiteX879" fmla="*/ 107846 w 1445818"/>
                <a:gd name="connsiteY879" fmla="*/ 52457 h 855273"/>
                <a:gd name="connsiteX880" fmla="*/ 107846 w 1445818"/>
                <a:gd name="connsiteY880" fmla="*/ 55063 h 855273"/>
                <a:gd name="connsiteX881" fmla="*/ 111756 w 1445818"/>
                <a:gd name="connsiteY881" fmla="*/ 55063 h 855273"/>
                <a:gd name="connsiteX882" fmla="*/ 113548 w 1445818"/>
                <a:gd name="connsiteY882" fmla="*/ 51968 h 855273"/>
                <a:gd name="connsiteX883" fmla="*/ 118924 w 1445818"/>
                <a:gd name="connsiteY883" fmla="*/ 47569 h 855273"/>
                <a:gd name="connsiteX884" fmla="*/ 121530 w 1445818"/>
                <a:gd name="connsiteY884" fmla="*/ 47081 h 855273"/>
                <a:gd name="connsiteX885" fmla="*/ 122019 w 1445818"/>
                <a:gd name="connsiteY885" fmla="*/ 51153 h 855273"/>
                <a:gd name="connsiteX886" fmla="*/ 118109 w 1445818"/>
                <a:gd name="connsiteY886" fmla="*/ 54412 h 855273"/>
                <a:gd name="connsiteX887" fmla="*/ 115177 w 1445818"/>
                <a:gd name="connsiteY887" fmla="*/ 60439 h 855273"/>
                <a:gd name="connsiteX888" fmla="*/ 115177 w 1445818"/>
                <a:gd name="connsiteY888" fmla="*/ 66630 h 855273"/>
                <a:gd name="connsiteX889" fmla="*/ 113385 w 1445818"/>
                <a:gd name="connsiteY889" fmla="*/ 68422 h 855273"/>
                <a:gd name="connsiteX890" fmla="*/ 112733 w 1445818"/>
                <a:gd name="connsiteY890" fmla="*/ 64512 h 855273"/>
                <a:gd name="connsiteX891" fmla="*/ 109475 w 1445818"/>
                <a:gd name="connsiteY891" fmla="*/ 67281 h 855273"/>
                <a:gd name="connsiteX892" fmla="*/ 108335 w 1445818"/>
                <a:gd name="connsiteY892" fmla="*/ 65327 h 855273"/>
                <a:gd name="connsiteX893" fmla="*/ 104588 w 1445818"/>
                <a:gd name="connsiteY893" fmla="*/ 69888 h 855273"/>
                <a:gd name="connsiteX894" fmla="*/ 106054 w 1445818"/>
                <a:gd name="connsiteY894" fmla="*/ 72495 h 855273"/>
                <a:gd name="connsiteX895" fmla="*/ 110289 w 1445818"/>
                <a:gd name="connsiteY895" fmla="*/ 74775 h 855273"/>
                <a:gd name="connsiteX896" fmla="*/ 115828 w 1445818"/>
                <a:gd name="connsiteY896" fmla="*/ 71028 h 855273"/>
                <a:gd name="connsiteX897" fmla="*/ 117457 w 1445818"/>
                <a:gd name="connsiteY897" fmla="*/ 66630 h 855273"/>
                <a:gd name="connsiteX898" fmla="*/ 120227 w 1445818"/>
                <a:gd name="connsiteY898" fmla="*/ 63535 h 855273"/>
                <a:gd name="connsiteX899" fmla="*/ 120227 w 1445818"/>
                <a:gd name="connsiteY899" fmla="*/ 57833 h 855273"/>
                <a:gd name="connsiteX900" fmla="*/ 123322 w 1445818"/>
                <a:gd name="connsiteY900" fmla="*/ 55226 h 855273"/>
                <a:gd name="connsiteX901" fmla="*/ 124788 w 1445818"/>
                <a:gd name="connsiteY901" fmla="*/ 48710 h 855273"/>
                <a:gd name="connsiteX902" fmla="*/ 129024 w 1445818"/>
                <a:gd name="connsiteY902" fmla="*/ 45940 h 855273"/>
                <a:gd name="connsiteX903" fmla="*/ 133260 w 1445818"/>
                <a:gd name="connsiteY903" fmla="*/ 40727 h 855273"/>
                <a:gd name="connsiteX904" fmla="*/ 130816 w 1445818"/>
                <a:gd name="connsiteY904" fmla="*/ 37795 h 855273"/>
                <a:gd name="connsiteX905" fmla="*/ 130490 w 1445818"/>
                <a:gd name="connsiteY905" fmla="*/ 34211 h 855273"/>
                <a:gd name="connsiteX906" fmla="*/ 128861 w 1445818"/>
                <a:gd name="connsiteY906" fmla="*/ 32745 h 855273"/>
                <a:gd name="connsiteX907" fmla="*/ 131794 w 1445818"/>
                <a:gd name="connsiteY907" fmla="*/ 28672 h 855273"/>
                <a:gd name="connsiteX908" fmla="*/ 133423 w 1445818"/>
                <a:gd name="connsiteY908" fmla="*/ 26717 h 855273"/>
                <a:gd name="connsiteX909" fmla="*/ 129676 w 1445818"/>
                <a:gd name="connsiteY909" fmla="*/ 24110 h 855273"/>
                <a:gd name="connsiteX910" fmla="*/ 129024 w 1445818"/>
                <a:gd name="connsiteY910" fmla="*/ 19875 h 855273"/>
                <a:gd name="connsiteX911" fmla="*/ 133423 w 1445818"/>
                <a:gd name="connsiteY911" fmla="*/ 16617 h 855273"/>
                <a:gd name="connsiteX912" fmla="*/ 133911 w 1445818"/>
                <a:gd name="connsiteY912" fmla="*/ 13196 h 855273"/>
                <a:gd name="connsiteX913" fmla="*/ 128372 w 1445818"/>
                <a:gd name="connsiteY913" fmla="*/ 9123 h 855273"/>
                <a:gd name="connsiteX914" fmla="*/ 126418 w 1445818"/>
                <a:gd name="connsiteY914" fmla="*/ 0 h 855273"/>
                <a:gd name="connsiteX915" fmla="*/ 126418 w 1445818"/>
                <a:gd name="connsiteY915" fmla="*/ 0 h 855273"/>
                <a:gd name="connsiteX916" fmla="*/ 1326243 w 1445818"/>
                <a:gd name="connsiteY916" fmla="*/ 365079 h 855273"/>
                <a:gd name="connsiteX917" fmla="*/ 1327221 w 1445818"/>
                <a:gd name="connsiteY917" fmla="*/ 367034 h 855273"/>
                <a:gd name="connsiteX918" fmla="*/ 1329990 w 1445818"/>
                <a:gd name="connsiteY918" fmla="*/ 367034 h 855273"/>
                <a:gd name="connsiteX919" fmla="*/ 1332271 w 1445818"/>
                <a:gd name="connsiteY919" fmla="*/ 364591 h 855273"/>
                <a:gd name="connsiteX920" fmla="*/ 1335855 w 1445818"/>
                <a:gd name="connsiteY920" fmla="*/ 364591 h 855273"/>
                <a:gd name="connsiteX921" fmla="*/ 1333574 w 1445818"/>
                <a:gd name="connsiteY921" fmla="*/ 362147 h 855273"/>
                <a:gd name="connsiteX922" fmla="*/ 1329339 w 1445818"/>
                <a:gd name="connsiteY922" fmla="*/ 362147 h 855273"/>
                <a:gd name="connsiteX923" fmla="*/ 1328361 w 1445818"/>
                <a:gd name="connsiteY923" fmla="*/ 363613 h 855273"/>
                <a:gd name="connsiteX924" fmla="*/ 1326406 w 1445818"/>
                <a:gd name="connsiteY924" fmla="*/ 365079 h 855273"/>
                <a:gd name="connsiteX925" fmla="*/ 1326406 w 1445818"/>
                <a:gd name="connsiteY925" fmla="*/ 365079 h 855273"/>
                <a:gd name="connsiteX926" fmla="*/ 1248699 w 1445818"/>
                <a:gd name="connsiteY926" fmla="*/ 386095 h 855273"/>
                <a:gd name="connsiteX927" fmla="*/ 1246581 w 1445818"/>
                <a:gd name="connsiteY927" fmla="*/ 388049 h 855273"/>
                <a:gd name="connsiteX928" fmla="*/ 1250328 w 1445818"/>
                <a:gd name="connsiteY928" fmla="*/ 386909 h 855273"/>
                <a:gd name="connsiteX929" fmla="*/ 1251957 w 1445818"/>
                <a:gd name="connsiteY929" fmla="*/ 385280 h 855273"/>
                <a:gd name="connsiteX930" fmla="*/ 1257659 w 1445818"/>
                <a:gd name="connsiteY930" fmla="*/ 384954 h 855273"/>
                <a:gd name="connsiteX931" fmla="*/ 1262872 w 1445818"/>
                <a:gd name="connsiteY931" fmla="*/ 383325 h 855273"/>
                <a:gd name="connsiteX932" fmla="*/ 1271343 w 1445818"/>
                <a:gd name="connsiteY932" fmla="*/ 383325 h 855273"/>
                <a:gd name="connsiteX933" fmla="*/ 1275253 w 1445818"/>
                <a:gd name="connsiteY933" fmla="*/ 380882 h 855273"/>
                <a:gd name="connsiteX934" fmla="*/ 1282584 w 1445818"/>
                <a:gd name="connsiteY934" fmla="*/ 381207 h 855273"/>
                <a:gd name="connsiteX935" fmla="*/ 1284376 w 1445818"/>
                <a:gd name="connsiteY935" fmla="*/ 379578 h 855273"/>
                <a:gd name="connsiteX936" fmla="*/ 1286494 w 1445818"/>
                <a:gd name="connsiteY936" fmla="*/ 380067 h 855273"/>
                <a:gd name="connsiteX937" fmla="*/ 1293336 w 1445818"/>
                <a:gd name="connsiteY937" fmla="*/ 377949 h 855273"/>
                <a:gd name="connsiteX938" fmla="*/ 1296105 w 1445818"/>
                <a:gd name="connsiteY938" fmla="*/ 375343 h 855273"/>
                <a:gd name="connsiteX939" fmla="*/ 1291870 w 1445818"/>
                <a:gd name="connsiteY939" fmla="*/ 376809 h 855273"/>
                <a:gd name="connsiteX940" fmla="*/ 1289263 w 1445818"/>
                <a:gd name="connsiteY940" fmla="*/ 375668 h 855273"/>
                <a:gd name="connsiteX941" fmla="*/ 1284376 w 1445818"/>
                <a:gd name="connsiteY941" fmla="*/ 377786 h 855273"/>
                <a:gd name="connsiteX942" fmla="*/ 1286168 w 1445818"/>
                <a:gd name="connsiteY942" fmla="*/ 375180 h 855273"/>
                <a:gd name="connsiteX943" fmla="*/ 1288123 w 1445818"/>
                <a:gd name="connsiteY943" fmla="*/ 372899 h 855273"/>
                <a:gd name="connsiteX944" fmla="*/ 1288123 w 1445818"/>
                <a:gd name="connsiteY944" fmla="*/ 371596 h 855273"/>
                <a:gd name="connsiteX945" fmla="*/ 1280792 w 1445818"/>
                <a:gd name="connsiteY945" fmla="*/ 375506 h 855273"/>
                <a:gd name="connsiteX946" fmla="*/ 1272809 w 1445818"/>
                <a:gd name="connsiteY946" fmla="*/ 375506 h 855273"/>
                <a:gd name="connsiteX947" fmla="*/ 1266293 w 1445818"/>
                <a:gd name="connsiteY947" fmla="*/ 377460 h 855273"/>
                <a:gd name="connsiteX948" fmla="*/ 1260917 w 1445818"/>
                <a:gd name="connsiteY948" fmla="*/ 376157 h 855273"/>
                <a:gd name="connsiteX949" fmla="*/ 1253586 w 1445818"/>
                <a:gd name="connsiteY949" fmla="*/ 379252 h 855273"/>
                <a:gd name="connsiteX950" fmla="*/ 1247884 w 1445818"/>
                <a:gd name="connsiteY950" fmla="*/ 380067 h 855273"/>
                <a:gd name="connsiteX951" fmla="*/ 1244952 w 1445818"/>
                <a:gd name="connsiteY951" fmla="*/ 383651 h 855273"/>
                <a:gd name="connsiteX952" fmla="*/ 1245603 w 1445818"/>
                <a:gd name="connsiteY952" fmla="*/ 385932 h 855273"/>
                <a:gd name="connsiteX953" fmla="*/ 1248862 w 1445818"/>
                <a:gd name="connsiteY953" fmla="*/ 385932 h 855273"/>
                <a:gd name="connsiteX954" fmla="*/ 123974 w 1445818"/>
                <a:gd name="connsiteY954" fmla="*/ 27043 h 855273"/>
                <a:gd name="connsiteX955" fmla="*/ 119087 w 1445818"/>
                <a:gd name="connsiteY955" fmla="*/ 31279 h 855273"/>
                <a:gd name="connsiteX956" fmla="*/ 119087 w 1445818"/>
                <a:gd name="connsiteY956" fmla="*/ 38284 h 855273"/>
                <a:gd name="connsiteX957" fmla="*/ 122508 w 1445818"/>
                <a:gd name="connsiteY957" fmla="*/ 45940 h 855273"/>
                <a:gd name="connsiteX958" fmla="*/ 124463 w 1445818"/>
                <a:gd name="connsiteY958" fmla="*/ 44311 h 855273"/>
                <a:gd name="connsiteX959" fmla="*/ 121530 w 1445818"/>
                <a:gd name="connsiteY959" fmla="*/ 34863 h 855273"/>
                <a:gd name="connsiteX960" fmla="*/ 122508 w 1445818"/>
                <a:gd name="connsiteY960" fmla="*/ 30627 h 855273"/>
                <a:gd name="connsiteX961" fmla="*/ 125440 w 1445818"/>
                <a:gd name="connsiteY961" fmla="*/ 29487 h 855273"/>
                <a:gd name="connsiteX962" fmla="*/ 123974 w 1445818"/>
                <a:gd name="connsiteY962" fmla="*/ 27206 h 855273"/>
                <a:gd name="connsiteX963" fmla="*/ 123974 w 1445818"/>
                <a:gd name="connsiteY963" fmla="*/ 27206 h 855273"/>
                <a:gd name="connsiteX964" fmla="*/ 609117 w 1445818"/>
                <a:gd name="connsiteY964" fmla="*/ 773167 h 855273"/>
                <a:gd name="connsiteX965" fmla="*/ 611235 w 1445818"/>
                <a:gd name="connsiteY965" fmla="*/ 771701 h 855273"/>
                <a:gd name="connsiteX966" fmla="*/ 616611 w 1445818"/>
                <a:gd name="connsiteY966" fmla="*/ 765184 h 855273"/>
                <a:gd name="connsiteX967" fmla="*/ 620358 w 1445818"/>
                <a:gd name="connsiteY967" fmla="*/ 760297 h 855273"/>
                <a:gd name="connsiteX968" fmla="*/ 615145 w 1445818"/>
                <a:gd name="connsiteY968" fmla="*/ 764207 h 855273"/>
                <a:gd name="connsiteX969" fmla="*/ 609280 w 1445818"/>
                <a:gd name="connsiteY969" fmla="*/ 773330 h 855273"/>
                <a:gd name="connsiteX970" fmla="*/ 609280 w 1445818"/>
                <a:gd name="connsiteY970" fmla="*/ 773330 h 855273"/>
                <a:gd name="connsiteX971" fmla="*/ 603253 w 1445818"/>
                <a:gd name="connsiteY971" fmla="*/ 786525 h 855273"/>
                <a:gd name="connsiteX972" fmla="*/ 605045 w 1445818"/>
                <a:gd name="connsiteY972" fmla="*/ 785385 h 855273"/>
                <a:gd name="connsiteX973" fmla="*/ 607488 w 1445818"/>
                <a:gd name="connsiteY973" fmla="*/ 779031 h 855273"/>
                <a:gd name="connsiteX974" fmla="*/ 607488 w 1445818"/>
                <a:gd name="connsiteY974" fmla="*/ 776588 h 855273"/>
                <a:gd name="connsiteX975" fmla="*/ 603416 w 1445818"/>
                <a:gd name="connsiteY975" fmla="*/ 786525 h 855273"/>
                <a:gd name="connsiteX976" fmla="*/ 603416 w 1445818"/>
                <a:gd name="connsiteY976" fmla="*/ 786525 h 855273"/>
                <a:gd name="connsiteX977" fmla="*/ 600972 w 1445818"/>
                <a:gd name="connsiteY977" fmla="*/ 821225 h 855273"/>
                <a:gd name="connsiteX978" fmla="*/ 598528 w 1445818"/>
                <a:gd name="connsiteY978" fmla="*/ 812591 h 855273"/>
                <a:gd name="connsiteX979" fmla="*/ 599180 w 1445818"/>
                <a:gd name="connsiteY979" fmla="*/ 801187 h 855273"/>
                <a:gd name="connsiteX980" fmla="*/ 602275 w 1445818"/>
                <a:gd name="connsiteY980" fmla="*/ 788969 h 855273"/>
                <a:gd name="connsiteX981" fmla="*/ 597714 w 1445818"/>
                <a:gd name="connsiteY981" fmla="*/ 800373 h 855273"/>
                <a:gd name="connsiteX982" fmla="*/ 597225 w 1445818"/>
                <a:gd name="connsiteY982" fmla="*/ 811939 h 855273"/>
                <a:gd name="connsiteX983" fmla="*/ 600972 w 1445818"/>
                <a:gd name="connsiteY983" fmla="*/ 821225 h 8552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</a:cxnLst>
              <a:rect l="l" t="t" r="r" b="b"/>
              <a:pathLst>
                <a:path w="1445818" h="855273">
                  <a:moveTo>
                    <a:pt x="123811" y="1466"/>
                  </a:moveTo>
                  <a:lnTo>
                    <a:pt x="787992" y="67770"/>
                  </a:lnTo>
                  <a:lnTo>
                    <a:pt x="792879" y="68422"/>
                  </a:lnTo>
                  <a:lnTo>
                    <a:pt x="798744" y="68422"/>
                  </a:lnTo>
                  <a:cubicBezTo>
                    <a:pt x="798744" y="68422"/>
                    <a:pt x="804445" y="72983"/>
                    <a:pt x="804445" y="72983"/>
                  </a:cubicBezTo>
                  <a:lnTo>
                    <a:pt x="804934" y="74938"/>
                  </a:lnTo>
                  <a:lnTo>
                    <a:pt x="808355" y="78522"/>
                  </a:lnTo>
                  <a:lnTo>
                    <a:pt x="809333" y="79337"/>
                  </a:lnTo>
                  <a:lnTo>
                    <a:pt x="814546" y="81129"/>
                  </a:lnTo>
                  <a:lnTo>
                    <a:pt x="815360" y="82432"/>
                  </a:lnTo>
                  <a:lnTo>
                    <a:pt x="820736" y="83898"/>
                  </a:lnTo>
                  <a:lnTo>
                    <a:pt x="823180" y="87156"/>
                  </a:lnTo>
                  <a:lnTo>
                    <a:pt x="825135" y="86668"/>
                  </a:lnTo>
                  <a:lnTo>
                    <a:pt x="829859" y="85364"/>
                  </a:lnTo>
                  <a:lnTo>
                    <a:pt x="833769" y="86668"/>
                  </a:lnTo>
                  <a:lnTo>
                    <a:pt x="838493" y="86179"/>
                  </a:lnTo>
                  <a:lnTo>
                    <a:pt x="844521" y="90903"/>
                  </a:lnTo>
                  <a:lnTo>
                    <a:pt x="847779" y="90903"/>
                  </a:lnTo>
                  <a:lnTo>
                    <a:pt x="850386" y="96605"/>
                  </a:lnTo>
                  <a:lnTo>
                    <a:pt x="859183" y="99375"/>
                  </a:lnTo>
                  <a:lnTo>
                    <a:pt x="864233" y="100841"/>
                  </a:lnTo>
                  <a:lnTo>
                    <a:pt x="867817" y="104751"/>
                  </a:lnTo>
                  <a:lnTo>
                    <a:pt x="871727" y="106543"/>
                  </a:lnTo>
                  <a:lnTo>
                    <a:pt x="880035" y="106543"/>
                  </a:lnTo>
                  <a:cubicBezTo>
                    <a:pt x="880035" y="106543"/>
                    <a:pt x="884108" y="103773"/>
                    <a:pt x="884108" y="103773"/>
                  </a:cubicBezTo>
                  <a:lnTo>
                    <a:pt x="886715" y="106217"/>
                  </a:lnTo>
                  <a:lnTo>
                    <a:pt x="888670" y="110452"/>
                  </a:lnTo>
                  <a:lnTo>
                    <a:pt x="900725" y="111267"/>
                  </a:lnTo>
                  <a:lnTo>
                    <a:pt x="903331" y="113711"/>
                  </a:lnTo>
                  <a:lnTo>
                    <a:pt x="909359" y="115014"/>
                  </a:lnTo>
                  <a:lnTo>
                    <a:pt x="913269" y="117783"/>
                  </a:lnTo>
                  <a:lnTo>
                    <a:pt x="1015413" y="165679"/>
                  </a:lnTo>
                  <a:lnTo>
                    <a:pt x="1022092" y="173824"/>
                  </a:lnTo>
                  <a:lnTo>
                    <a:pt x="1037731" y="186205"/>
                  </a:lnTo>
                  <a:lnTo>
                    <a:pt x="1054348" y="264564"/>
                  </a:lnTo>
                  <a:lnTo>
                    <a:pt x="1052230" y="298775"/>
                  </a:lnTo>
                  <a:lnTo>
                    <a:pt x="1049624" y="304966"/>
                  </a:lnTo>
                  <a:lnTo>
                    <a:pt x="1046854" y="310505"/>
                  </a:lnTo>
                  <a:lnTo>
                    <a:pt x="1042944" y="315881"/>
                  </a:lnTo>
                  <a:lnTo>
                    <a:pt x="1033170" y="320605"/>
                  </a:lnTo>
                  <a:lnTo>
                    <a:pt x="1028120" y="326796"/>
                  </a:lnTo>
                  <a:lnTo>
                    <a:pt x="1032518" y="334452"/>
                  </a:lnTo>
                  <a:lnTo>
                    <a:pt x="1120326" y="310831"/>
                  </a:lnTo>
                  <a:lnTo>
                    <a:pt x="1131404" y="307247"/>
                  </a:lnTo>
                  <a:lnTo>
                    <a:pt x="1133522" y="294703"/>
                  </a:lnTo>
                  <a:lnTo>
                    <a:pt x="1181743" y="280692"/>
                  </a:lnTo>
                  <a:lnTo>
                    <a:pt x="1203084" y="264727"/>
                  </a:lnTo>
                  <a:lnTo>
                    <a:pt x="1207809" y="261306"/>
                  </a:lnTo>
                  <a:lnTo>
                    <a:pt x="1214814" y="260003"/>
                  </a:lnTo>
                  <a:lnTo>
                    <a:pt x="1226217" y="249251"/>
                  </a:lnTo>
                  <a:lnTo>
                    <a:pt x="1231267" y="245178"/>
                  </a:lnTo>
                  <a:lnTo>
                    <a:pt x="1237621" y="242572"/>
                  </a:lnTo>
                  <a:lnTo>
                    <a:pt x="1242019" y="238336"/>
                  </a:lnTo>
                  <a:lnTo>
                    <a:pt x="1250979" y="237033"/>
                  </a:lnTo>
                  <a:lnTo>
                    <a:pt x="1325592" y="238336"/>
                  </a:lnTo>
                  <a:lnTo>
                    <a:pt x="1331294" y="232960"/>
                  </a:lnTo>
                  <a:lnTo>
                    <a:pt x="1333411" y="232471"/>
                  </a:lnTo>
                  <a:lnTo>
                    <a:pt x="1335692" y="230679"/>
                  </a:lnTo>
                  <a:lnTo>
                    <a:pt x="1338950" y="230679"/>
                  </a:lnTo>
                  <a:cubicBezTo>
                    <a:pt x="1338950" y="230679"/>
                    <a:pt x="1343512" y="231657"/>
                    <a:pt x="1343512" y="231657"/>
                  </a:cubicBezTo>
                  <a:lnTo>
                    <a:pt x="1346444" y="229702"/>
                  </a:lnTo>
                  <a:lnTo>
                    <a:pt x="1347748" y="225955"/>
                  </a:lnTo>
                  <a:lnTo>
                    <a:pt x="1355893" y="217158"/>
                  </a:lnTo>
                  <a:lnTo>
                    <a:pt x="1359151" y="216018"/>
                  </a:lnTo>
                  <a:lnTo>
                    <a:pt x="1365667" y="208035"/>
                  </a:lnTo>
                  <a:lnTo>
                    <a:pt x="1367948" y="202333"/>
                  </a:lnTo>
                  <a:lnTo>
                    <a:pt x="1368763" y="196631"/>
                  </a:lnTo>
                  <a:lnTo>
                    <a:pt x="1375279" y="193210"/>
                  </a:lnTo>
                  <a:lnTo>
                    <a:pt x="1374953" y="188812"/>
                  </a:lnTo>
                  <a:lnTo>
                    <a:pt x="1379352" y="183110"/>
                  </a:lnTo>
                  <a:lnTo>
                    <a:pt x="1388475" y="173010"/>
                  </a:lnTo>
                  <a:lnTo>
                    <a:pt x="1390430" y="168937"/>
                  </a:lnTo>
                  <a:lnTo>
                    <a:pt x="1394828" y="164701"/>
                  </a:lnTo>
                  <a:lnTo>
                    <a:pt x="1396457" y="164212"/>
                  </a:lnTo>
                  <a:lnTo>
                    <a:pt x="1399553" y="166330"/>
                  </a:lnTo>
                  <a:lnTo>
                    <a:pt x="1403137" y="169751"/>
                  </a:lnTo>
                  <a:lnTo>
                    <a:pt x="1408513" y="168285"/>
                  </a:lnTo>
                  <a:lnTo>
                    <a:pt x="1415518" y="170077"/>
                  </a:lnTo>
                  <a:lnTo>
                    <a:pt x="1417799" y="168122"/>
                  </a:lnTo>
                  <a:lnTo>
                    <a:pt x="1427736" y="177734"/>
                  </a:lnTo>
                  <a:lnTo>
                    <a:pt x="1428062" y="186042"/>
                  </a:lnTo>
                  <a:lnTo>
                    <a:pt x="1422523" y="218298"/>
                  </a:lnTo>
                  <a:lnTo>
                    <a:pt x="1421219" y="222045"/>
                  </a:lnTo>
                  <a:lnTo>
                    <a:pt x="1423500" y="222534"/>
                  </a:lnTo>
                  <a:lnTo>
                    <a:pt x="1425129" y="225466"/>
                  </a:lnTo>
                  <a:lnTo>
                    <a:pt x="1427410" y="228236"/>
                  </a:lnTo>
                  <a:lnTo>
                    <a:pt x="1427410" y="232471"/>
                  </a:lnTo>
                  <a:cubicBezTo>
                    <a:pt x="1427410" y="232471"/>
                    <a:pt x="1426758" y="235078"/>
                    <a:pt x="1426758" y="235078"/>
                  </a:cubicBezTo>
                  <a:lnTo>
                    <a:pt x="1427247" y="237522"/>
                  </a:lnTo>
                  <a:lnTo>
                    <a:pt x="1425944" y="239802"/>
                  </a:lnTo>
                  <a:lnTo>
                    <a:pt x="1427084" y="241431"/>
                  </a:lnTo>
                  <a:lnTo>
                    <a:pt x="1427410" y="241431"/>
                  </a:lnTo>
                  <a:cubicBezTo>
                    <a:pt x="1427410" y="241431"/>
                    <a:pt x="1427410" y="241431"/>
                    <a:pt x="1427410" y="241431"/>
                  </a:cubicBezTo>
                  <a:lnTo>
                    <a:pt x="1437022" y="246970"/>
                  </a:lnTo>
                  <a:lnTo>
                    <a:pt x="1435230" y="252672"/>
                  </a:lnTo>
                  <a:lnTo>
                    <a:pt x="1438814" y="256582"/>
                  </a:lnTo>
                  <a:lnTo>
                    <a:pt x="1440932" y="252998"/>
                  </a:lnTo>
                  <a:lnTo>
                    <a:pt x="1445819" y="255930"/>
                  </a:lnTo>
                  <a:lnTo>
                    <a:pt x="1442398" y="260166"/>
                  </a:lnTo>
                  <a:lnTo>
                    <a:pt x="1437836" y="260818"/>
                  </a:lnTo>
                  <a:lnTo>
                    <a:pt x="1436044" y="257722"/>
                  </a:lnTo>
                  <a:lnTo>
                    <a:pt x="1429854" y="261306"/>
                  </a:lnTo>
                  <a:lnTo>
                    <a:pt x="1425944" y="260980"/>
                  </a:lnTo>
                  <a:lnTo>
                    <a:pt x="1421383" y="264076"/>
                  </a:lnTo>
                  <a:lnTo>
                    <a:pt x="1418613" y="265542"/>
                  </a:lnTo>
                  <a:lnTo>
                    <a:pt x="1414703" y="263913"/>
                  </a:lnTo>
                  <a:lnTo>
                    <a:pt x="1410467" y="269615"/>
                  </a:lnTo>
                  <a:lnTo>
                    <a:pt x="1406883" y="269615"/>
                  </a:lnTo>
                  <a:lnTo>
                    <a:pt x="1405417" y="263913"/>
                  </a:lnTo>
                  <a:lnTo>
                    <a:pt x="1399716" y="263913"/>
                  </a:lnTo>
                  <a:lnTo>
                    <a:pt x="1395317" y="268637"/>
                  </a:lnTo>
                  <a:lnTo>
                    <a:pt x="1390592" y="269452"/>
                  </a:lnTo>
                  <a:lnTo>
                    <a:pt x="1389289" y="265379"/>
                  </a:lnTo>
                  <a:lnTo>
                    <a:pt x="1390756" y="260329"/>
                  </a:lnTo>
                  <a:lnTo>
                    <a:pt x="1384076" y="268637"/>
                  </a:lnTo>
                  <a:lnTo>
                    <a:pt x="1379352" y="276620"/>
                  </a:lnTo>
                  <a:lnTo>
                    <a:pt x="1376419" y="278575"/>
                  </a:lnTo>
                  <a:lnTo>
                    <a:pt x="1374953" y="276131"/>
                  </a:lnTo>
                  <a:lnTo>
                    <a:pt x="1372021" y="281833"/>
                  </a:lnTo>
                  <a:lnTo>
                    <a:pt x="1369089" y="281833"/>
                  </a:lnTo>
                  <a:lnTo>
                    <a:pt x="1368437" y="276457"/>
                  </a:lnTo>
                  <a:lnTo>
                    <a:pt x="1365667" y="281670"/>
                  </a:lnTo>
                  <a:lnTo>
                    <a:pt x="1363224" y="284765"/>
                  </a:lnTo>
                  <a:lnTo>
                    <a:pt x="1359803" y="283625"/>
                  </a:lnTo>
                  <a:lnTo>
                    <a:pt x="1359477" y="280367"/>
                  </a:lnTo>
                  <a:lnTo>
                    <a:pt x="1356545" y="284928"/>
                  </a:lnTo>
                  <a:lnTo>
                    <a:pt x="1353775" y="284928"/>
                  </a:lnTo>
                  <a:lnTo>
                    <a:pt x="1350680" y="291770"/>
                  </a:lnTo>
                  <a:lnTo>
                    <a:pt x="1341231" y="299101"/>
                  </a:lnTo>
                  <a:lnTo>
                    <a:pt x="1337973" y="308061"/>
                  </a:lnTo>
                  <a:lnTo>
                    <a:pt x="1334878" y="311971"/>
                  </a:lnTo>
                  <a:lnTo>
                    <a:pt x="1333737" y="315718"/>
                  </a:lnTo>
                  <a:lnTo>
                    <a:pt x="1331131" y="317673"/>
                  </a:lnTo>
                  <a:lnTo>
                    <a:pt x="1330642" y="320768"/>
                  </a:lnTo>
                  <a:lnTo>
                    <a:pt x="1333900" y="320768"/>
                  </a:lnTo>
                  <a:lnTo>
                    <a:pt x="1334226" y="324678"/>
                  </a:lnTo>
                  <a:lnTo>
                    <a:pt x="1325266" y="332823"/>
                  </a:lnTo>
                  <a:lnTo>
                    <a:pt x="1325266" y="335267"/>
                  </a:lnTo>
                  <a:lnTo>
                    <a:pt x="1331782" y="339014"/>
                  </a:lnTo>
                  <a:lnTo>
                    <a:pt x="1334552" y="347322"/>
                  </a:lnTo>
                  <a:lnTo>
                    <a:pt x="1335366" y="351558"/>
                  </a:lnTo>
                  <a:lnTo>
                    <a:pt x="1342697" y="351558"/>
                  </a:lnTo>
                  <a:cubicBezTo>
                    <a:pt x="1342697" y="351558"/>
                    <a:pt x="1344652" y="345693"/>
                    <a:pt x="1344652" y="345693"/>
                  </a:cubicBezTo>
                  <a:lnTo>
                    <a:pt x="1344164" y="341295"/>
                  </a:lnTo>
                  <a:lnTo>
                    <a:pt x="1346607" y="340480"/>
                  </a:lnTo>
                  <a:lnTo>
                    <a:pt x="1349051" y="349114"/>
                  </a:lnTo>
                  <a:lnTo>
                    <a:pt x="1345956" y="354490"/>
                  </a:lnTo>
                  <a:lnTo>
                    <a:pt x="1334063" y="360355"/>
                  </a:lnTo>
                  <a:lnTo>
                    <a:pt x="1330968" y="359215"/>
                  </a:lnTo>
                  <a:lnTo>
                    <a:pt x="1330968" y="355794"/>
                  </a:lnTo>
                  <a:cubicBezTo>
                    <a:pt x="1330968" y="355794"/>
                    <a:pt x="1328687" y="351069"/>
                    <a:pt x="1328687" y="351069"/>
                  </a:cubicBezTo>
                  <a:lnTo>
                    <a:pt x="1323963" y="359866"/>
                  </a:lnTo>
                  <a:lnTo>
                    <a:pt x="1319401" y="364591"/>
                  </a:lnTo>
                  <a:lnTo>
                    <a:pt x="1316143" y="364102"/>
                  </a:lnTo>
                  <a:lnTo>
                    <a:pt x="1316632" y="360681"/>
                  </a:lnTo>
                  <a:lnTo>
                    <a:pt x="1316632" y="355631"/>
                  </a:lnTo>
                  <a:lnTo>
                    <a:pt x="1311419" y="350092"/>
                  </a:lnTo>
                  <a:lnTo>
                    <a:pt x="1311419" y="355956"/>
                  </a:lnTo>
                  <a:lnTo>
                    <a:pt x="1310604" y="362799"/>
                  </a:lnTo>
                  <a:lnTo>
                    <a:pt x="1312559" y="365242"/>
                  </a:lnTo>
                  <a:lnTo>
                    <a:pt x="1309627" y="366383"/>
                  </a:lnTo>
                  <a:lnTo>
                    <a:pt x="1299201" y="367197"/>
                  </a:lnTo>
                  <a:lnTo>
                    <a:pt x="1292684" y="368663"/>
                  </a:lnTo>
                  <a:lnTo>
                    <a:pt x="1287960" y="367360"/>
                  </a:lnTo>
                  <a:lnTo>
                    <a:pt x="1277859" y="368175"/>
                  </a:lnTo>
                  <a:lnTo>
                    <a:pt x="1275905" y="366546"/>
                  </a:lnTo>
                  <a:lnTo>
                    <a:pt x="1272972" y="366546"/>
                  </a:lnTo>
                  <a:cubicBezTo>
                    <a:pt x="1272972" y="366546"/>
                    <a:pt x="1264827" y="372410"/>
                    <a:pt x="1264827" y="372410"/>
                  </a:cubicBezTo>
                  <a:lnTo>
                    <a:pt x="1259288" y="372410"/>
                  </a:lnTo>
                  <a:cubicBezTo>
                    <a:pt x="1259288" y="372410"/>
                    <a:pt x="1251305" y="376809"/>
                    <a:pt x="1251305" y="376809"/>
                  </a:cubicBezTo>
                  <a:lnTo>
                    <a:pt x="1246744" y="378275"/>
                  </a:lnTo>
                  <a:lnTo>
                    <a:pt x="1242671" y="381696"/>
                  </a:lnTo>
                  <a:lnTo>
                    <a:pt x="1242671" y="385117"/>
                  </a:lnTo>
                  <a:cubicBezTo>
                    <a:pt x="1242671" y="385117"/>
                    <a:pt x="1235666" y="389027"/>
                    <a:pt x="1235666" y="389027"/>
                  </a:cubicBezTo>
                  <a:lnTo>
                    <a:pt x="1237621" y="392448"/>
                  </a:lnTo>
                  <a:lnTo>
                    <a:pt x="1240879" y="395055"/>
                  </a:lnTo>
                  <a:lnTo>
                    <a:pt x="1241694" y="398150"/>
                  </a:lnTo>
                  <a:lnTo>
                    <a:pt x="1238761" y="401734"/>
                  </a:lnTo>
                  <a:lnTo>
                    <a:pt x="1238761" y="403526"/>
                  </a:lnTo>
                  <a:cubicBezTo>
                    <a:pt x="1238761" y="403526"/>
                    <a:pt x="1236806" y="408250"/>
                    <a:pt x="1236806" y="408250"/>
                  </a:cubicBezTo>
                  <a:lnTo>
                    <a:pt x="1237621" y="410531"/>
                  </a:lnTo>
                  <a:lnTo>
                    <a:pt x="1235666" y="413789"/>
                  </a:lnTo>
                  <a:lnTo>
                    <a:pt x="1233711" y="419165"/>
                  </a:lnTo>
                  <a:lnTo>
                    <a:pt x="1231430" y="419165"/>
                  </a:lnTo>
                  <a:lnTo>
                    <a:pt x="1228987" y="422098"/>
                  </a:lnTo>
                  <a:lnTo>
                    <a:pt x="1226706" y="429754"/>
                  </a:lnTo>
                  <a:lnTo>
                    <a:pt x="1223122" y="430895"/>
                  </a:lnTo>
                  <a:lnTo>
                    <a:pt x="1221167" y="433827"/>
                  </a:lnTo>
                  <a:lnTo>
                    <a:pt x="1219049" y="433827"/>
                  </a:lnTo>
                  <a:cubicBezTo>
                    <a:pt x="1219049" y="433827"/>
                    <a:pt x="1218560" y="436922"/>
                    <a:pt x="1218560" y="436922"/>
                  </a:cubicBezTo>
                  <a:lnTo>
                    <a:pt x="1214488" y="441973"/>
                  </a:lnTo>
                  <a:lnTo>
                    <a:pt x="1213999" y="440506"/>
                  </a:lnTo>
                  <a:lnTo>
                    <a:pt x="1210252" y="443276"/>
                  </a:lnTo>
                  <a:lnTo>
                    <a:pt x="1213022" y="436433"/>
                  </a:lnTo>
                  <a:lnTo>
                    <a:pt x="1210904" y="434153"/>
                  </a:lnTo>
                  <a:lnTo>
                    <a:pt x="1207157" y="435130"/>
                  </a:lnTo>
                  <a:lnTo>
                    <a:pt x="1201292" y="429266"/>
                  </a:lnTo>
                  <a:lnTo>
                    <a:pt x="1199174" y="425519"/>
                  </a:lnTo>
                  <a:lnTo>
                    <a:pt x="1200641" y="421772"/>
                  </a:lnTo>
                  <a:lnTo>
                    <a:pt x="1208949" y="412812"/>
                  </a:lnTo>
                  <a:lnTo>
                    <a:pt x="1203410" y="415581"/>
                  </a:lnTo>
                  <a:lnTo>
                    <a:pt x="1198849" y="419817"/>
                  </a:lnTo>
                  <a:lnTo>
                    <a:pt x="1196405" y="424704"/>
                  </a:lnTo>
                  <a:lnTo>
                    <a:pt x="1197057" y="429917"/>
                  </a:lnTo>
                  <a:lnTo>
                    <a:pt x="1199337" y="432361"/>
                  </a:lnTo>
                  <a:lnTo>
                    <a:pt x="1199989" y="439366"/>
                  </a:lnTo>
                  <a:lnTo>
                    <a:pt x="1202433" y="441973"/>
                  </a:lnTo>
                  <a:lnTo>
                    <a:pt x="1205691" y="450444"/>
                  </a:lnTo>
                  <a:lnTo>
                    <a:pt x="1205691" y="456960"/>
                  </a:lnTo>
                  <a:cubicBezTo>
                    <a:pt x="1205691" y="456960"/>
                    <a:pt x="1201292" y="466572"/>
                    <a:pt x="1201292" y="466572"/>
                  </a:cubicBezTo>
                  <a:lnTo>
                    <a:pt x="1195590" y="469830"/>
                  </a:lnTo>
                  <a:lnTo>
                    <a:pt x="1191518" y="480093"/>
                  </a:lnTo>
                  <a:lnTo>
                    <a:pt x="1188585" y="485143"/>
                  </a:lnTo>
                  <a:lnTo>
                    <a:pt x="1188585" y="488239"/>
                  </a:lnTo>
                  <a:lnTo>
                    <a:pt x="1187119" y="490194"/>
                  </a:lnTo>
                  <a:lnTo>
                    <a:pt x="1186793" y="488239"/>
                  </a:lnTo>
                  <a:lnTo>
                    <a:pt x="1186304" y="486447"/>
                  </a:lnTo>
                  <a:lnTo>
                    <a:pt x="1181092" y="495732"/>
                  </a:lnTo>
                  <a:lnTo>
                    <a:pt x="1180603" y="498176"/>
                  </a:lnTo>
                  <a:lnTo>
                    <a:pt x="1179300" y="500131"/>
                  </a:lnTo>
                  <a:lnTo>
                    <a:pt x="1178811" y="495081"/>
                  </a:lnTo>
                  <a:lnTo>
                    <a:pt x="1180114" y="489542"/>
                  </a:lnTo>
                  <a:lnTo>
                    <a:pt x="1183046" y="484655"/>
                  </a:lnTo>
                  <a:lnTo>
                    <a:pt x="1182232" y="481397"/>
                  </a:lnTo>
                  <a:lnTo>
                    <a:pt x="1185327" y="477324"/>
                  </a:lnTo>
                  <a:lnTo>
                    <a:pt x="1184512" y="476183"/>
                  </a:lnTo>
                  <a:lnTo>
                    <a:pt x="1188911" y="473740"/>
                  </a:lnTo>
                  <a:lnTo>
                    <a:pt x="1182883" y="473740"/>
                  </a:lnTo>
                  <a:cubicBezTo>
                    <a:pt x="1182883" y="473740"/>
                    <a:pt x="1181092" y="470156"/>
                    <a:pt x="1181092" y="470156"/>
                  </a:cubicBezTo>
                  <a:lnTo>
                    <a:pt x="1182720" y="467712"/>
                  </a:lnTo>
                  <a:lnTo>
                    <a:pt x="1182720" y="466572"/>
                  </a:lnTo>
                  <a:cubicBezTo>
                    <a:pt x="1182720" y="466572"/>
                    <a:pt x="1180277" y="466735"/>
                    <a:pt x="1180277" y="466735"/>
                  </a:cubicBezTo>
                  <a:lnTo>
                    <a:pt x="1179625" y="464617"/>
                  </a:lnTo>
                  <a:lnTo>
                    <a:pt x="1177996" y="466572"/>
                  </a:lnTo>
                  <a:lnTo>
                    <a:pt x="1173760" y="461359"/>
                  </a:lnTo>
                  <a:lnTo>
                    <a:pt x="1173760" y="456472"/>
                  </a:lnTo>
                  <a:cubicBezTo>
                    <a:pt x="1173760" y="456472"/>
                    <a:pt x="1177344" y="451258"/>
                    <a:pt x="1177344" y="451258"/>
                  </a:cubicBezTo>
                  <a:lnTo>
                    <a:pt x="1178485" y="443927"/>
                  </a:lnTo>
                  <a:lnTo>
                    <a:pt x="1174412" y="437248"/>
                  </a:lnTo>
                  <a:lnTo>
                    <a:pt x="1177344" y="431872"/>
                  </a:lnTo>
                  <a:lnTo>
                    <a:pt x="1181580" y="429266"/>
                  </a:lnTo>
                  <a:lnTo>
                    <a:pt x="1180277" y="427637"/>
                  </a:lnTo>
                  <a:lnTo>
                    <a:pt x="1181417" y="422912"/>
                  </a:lnTo>
                  <a:lnTo>
                    <a:pt x="1180114" y="420957"/>
                  </a:lnTo>
                  <a:lnTo>
                    <a:pt x="1180114" y="422423"/>
                  </a:lnTo>
                  <a:cubicBezTo>
                    <a:pt x="1180114" y="422423"/>
                    <a:pt x="1178974" y="427148"/>
                    <a:pt x="1178974" y="427148"/>
                  </a:cubicBezTo>
                  <a:lnTo>
                    <a:pt x="1173923" y="431221"/>
                  </a:lnTo>
                  <a:lnTo>
                    <a:pt x="1170665" y="433664"/>
                  </a:lnTo>
                  <a:lnTo>
                    <a:pt x="1168547" y="433338"/>
                  </a:lnTo>
                  <a:lnTo>
                    <a:pt x="1170991" y="436922"/>
                  </a:lnTo>
                  <a:lnTo>
                    <a:pt x="1170014" y="439855"/>
                  </a:lnTo>
                  <a:lnTo>
                    <a:pt x="1169199" y="447349"/>
                  </a:lnTo>
                  <a:lnTo>
                    <a:pt x="1170339" y="450281"/>
                  </a:lnTo>
                  <a:lnTo>
                    <a:pt x="1169688" y="453702"/>
                  </a:lnTo>
                  <a:lnTo>
                    <a:pt x="1170014" y="458752"/>
                  </a:lnTo>
                  <a:lnTo>
                    <a:pt x="1169525" y="468690"/>
                  </a:lnTo>
                  <a:lnTo>
                    <a:pt x="1168059" y="469015"/>
                  </a:lnTo>
                  <a:lnTo>
                    <a:pt x="1162031" y="461848"/>
                  </a:lnTo>
                  <a:lnTo>
                    <a:pt x="1156981" y="461033"/>
                  </a:lnTo>
                  <a:lnTo>
                    <a:pt x="1153885" y="455331"/>
                  </a:lnTo>
                  <a:lnTo>
                    <a:pt x="1151442" y="455331"/>
                  </a:lnTo>
                  <a:cubicBezTo>
                    <a:pt x="1151442" y="455331"/>
                    <a:pt x="1150465" y="452562"/>
                    <a:pt x="1150465" y="452562"/>
                  </a:cubicBezTo>
                  <a:lnTo>
                    <a:pt x="1152745" y="447186"/>
                  </a:lnTo>
                  <a:lnTo>
                    <a:pt x="1148998" y="452236"/>
                  </a:lnTo>
                  <a:lnTo>
                    <a:pt x="1148998" y="456634"/>
                  </a:lnTo>
                  <a:lnTo>
                    <a:pt x="1152745" y="458264"/>
                  </a:lnTo>
                  <a:lnTo>
                    <a:pt x="1155677" y="462988"/>
                  </a:lnTo>
                  <a:lnTo>
                    <a:pt x="1161379" y="465268"/>
                  </a:lnTo>
                  <a:lnTo>
                    <a:pt x="1167081" y="472274"/>
                  </a:lnTo>
                  <a:lnTo>
                    <a:pt x="1170828" y="474554"/>
                  </a:lnTo>
                  <a:lnTo>
                    <a:pt x="1171643" y="478953"/>
                  </a:lnTo>
                  <a:lnTo>
                    <a:pt x="1170176" y="484329"/>
                  </a:lnTo>
                  <a:lnTo>
                    <a:pt x="1166430" y="484003"/>
                  </a:lnTo>
                  <a:lnTo>
                    <a:pt x="1164801" y="479605"/>
                  </a:lnTo>
                  <a:lnTo>
                    <a:pt x="1162357" y="478464"/>
                  </a:lnTo>
                  <a:lnTo>
                    <a:pt x="1164638" y="484655"/>
                  </a:lnTo>
                  <a:lnTo>
                    <a:pt x="1170176" y="488076"/>
                  </a:lnTo>
                  <a:lnTo>
                    <a:pt x="1171643" y="491497"/>
                  </a:lnTo>
                  <a:lnTo>
                    <a:pt x="1170014" y="492963"/>
                  </a:lnTo>
                  <a:lnTo>
                    <a:pt x="1169688" y="495407"/>
                  </a:lnTo>
                  <a:lnTo>
                    <a:pt x="1164312" y="494266"/>
                  </a:lnTo>
                  <a:lnTo>
                    <a:pt x="1170828" y="499805"/>
                  </a:lnTo>
                  <a:lnTo>
                    <a:pt x="1168873" y="503226"/>
                  </a:lnTo>
                  <a:lnTo>
                    <a:pt x="1165778" y="501760"/>
                  </a:lnTo>
                  <a:lnTo>
                    <a:pt x="1163171" y="497199"/>
                  </a:lnTo>
                  <a:lnTo>
                    <a:pt x="1156981" y="497199"/>
                  </a:lnTo>
                  <a:cubicBezTo>
                    <a:pt x="1156981" y="497199"/>
                    <a:pt x="1152745" y="494918"/>
                    <a:pt x="1152745" y="494918"/>
                  </a:cubicBezTo>
                  <a:lnTo>
                    <a:pt x="1156166" y="499154"/>
                  </a:lnTo>
                  <a:lnTo>
                    <a:pt x="1160239" y="500620"/>
                  </a:lnTo>
                  <a:lnTo>
                    <a:pt x="1163334" y="500620"/>
                  </a:lnTo>
                  <a:cubicBezTo>
                    <a:pt x="1163334" y="500620"/>
                    <a:pt x="1165289" y="506973"/>
                    <a:pt x="1165289" y="506973"/>
                  </a:cubicBezTo>
                  <a:lnTo>
                    <a:pt x="1169688" y="508114"/>
                  </a:lnTo>
                  <a:lnTo>
                    <a:pt x="1173109" y="507136"/>
                  </a:lnTo>
                  <a:lnTo>
                    <a:pt x="1175552" y="509254"/>
                  </a:lnTo>
                  <a:lnTo>
                    <a:pt x="1176856" y="513978"/>
                  </a:lnTo>
                  <a:lnTo>
                    <a:pt x="1174901" y="518866"/>
                  </a:lnTo>
                  <a:lnTo>
                    <a:pt x="1172294" y="517562"/>
                  </a:lnTo>
                  <a:lnTo>
                    <a:pt x="1172294" y="520006"/>
                  </a:lnTo>
                  <a:cubicBezTo>
                    <a:pt x="1172294" y="520006"/>
                    <a:pt x="1174249" y="522124"/>
                    <a:pt x="1174249" y="522124"/>
                  </a:cubicBezTo>
                  <a:lnTo>
                    <a:pt x="1175227" y="527663"/>
                  </a:lnTo>
                  <a:lnTo>
                    <a:pt x="1173598" y="530269"/>
                  </a:lnTo>
                  <a:lnTo>
                    <a:pt x="1170339" y="530269"/>
                  </a:lnTo>
                  <a:lnTo>
                    <a:pt x="1169199" y="531735"/>
                  </a:lnTo>
                  <a:lnTo>
                    <a:pt x="1162357" y="533527"/>
                  </a:lnTo>
                  <a:lnTo>
                    <a:pt x="1159750" y="535971"/>
                  </a:lnTo>
                  <a:lnTo>
                    <a:pt x="1156492" y="534831"/>
                  </a:lnTo>
                  <a:lnTo>
                    <a:pt x="1154049" y="529455"/>
                  </a:lnTo>
                  <a:lnTo>
                    <a:pt x="1152257" y="530595"/>
                  </a:lnTo>
                  <a:lnTo>
                    <a:pt x="1152257" y="538252"/>
                  </a:lnTo>
                  <a:cubicBezTo>
                    <a:pt x="1152257" y="538252"/>
                    <a:pt x="1151116" y="541184"/>
                    <a:pt x="1151116" y="541184"/>
                  </a:cubicBezTo>
                  <a:lnTo>
                    <a:pt x="1156166" y="539555"/>
                  </a:lnTo>
                  <a:lnTo>
                    <a:pt x="1166430" y="537926"/>
                  </a:lnTo>
                  <a:lnTo>
                    <a:pt x="1168384" y="538904"/>
                  </a:lnTo>
                  <a:lnTo>
                    <a:pt x="1169199" y="546560"/>
                  </a:lnTo>
                  <a:lnTo>
                    <a:pt x="1171643" y="547700"/>
                  </a:lnTo>
                  <a:lnTo>
                    <a:pt x="1171968" y="544442"/>
                  </a:lnTo>
                  <a:lnTo>
                    <a:pt x="1174575" y="539392"/>
                  </a:lnTo>
                  <a:lnTo>
                    <a:pt x="1175878" y="539066"/>
                  </a:lnTo>
                  <a:lnTo>
                    <a:pt x="1177833" y="543465"/>
                  </a:lnTo>
                  <a:lnTo>
                    <a:pt x="1176693" y="549004"/>
                  </a:lnTo>
                  <a:lnTo>
                    <a:pt x="1175064" y="549004"/>
                  </a:lnTo>
                  <a:cubicBezTo>
                    <a:pt x="1175064" y="549004"/>
                    <a:pt x="1169688" y="553565"/>
                    <a:pt x="1169688" y="553565"/>
                  </a:cubicBezTo>
                  <a:lnTo>
                    <a:pt x="1167896" y="557312"/>
                  </a:lnTo>
                  <a:lnTo>
                    <a:pt x="1165778" y="559104"/>
                  </a:lnTo>
                  <a:lnTo>
                    <a:pt x="1162357" y="556823"/>
                  </a:lnTo>
                  <a:lnTo>
                    <a:pt x="1158773" y="557312"/>
                  </a:lnTo>
                  <a:lnTo>
                    <a:pt x="1156818" y="551773"/>
                  </a:lnTo>
                  <a:lnTo>
                    <a:pt x="1156329" y="555194"/>
                  </a:lnTo>
                  <a:lnTo>
                    <a:pt x="1152908" y="556661"/>
                  </a:lnTo>
                  <a:lnTo>
                    <a:pt x="1149487" y="555031"/>
                  </a:lnTo>
                  <a:lnTo>
                    <a:pt x="1146066" y="555031"/>
                  </a:lnTo>
                  <a:cubicBezTo>
                    <a:pt x="1146066" y="555031"/>
                    <a:pt x="1148835" y="558127"/>
                    <a:pt x="1148835" y="558127"/>
                  </a:cubicBezTo>
                  <a:lnTo>
                    <a:pt x="1154863" y="559267"/>
                  </a:lnTo>
                  <a:lnTo>
                    <a:pt x="1156492" y="561874"/>
                  </a:lnTo>
                  <a:lnTo>
                    <a:pt x="1153885" y="564154"/>
                  </a:lnTo>
                  <a:lnTo>
                    <a:pt x="1155026" y="565946"/>
                  </a:lnTo>
                  <a:lnTo>
                    <a:pt x="1148184" y="568879"/>
                  </a:lnTo>
                  <a:lnTo>
                    <a:pt x="1143622" y="567087"/>
                  </a:lnTo>
                  <a:lnTo>
                    <a:pt x="1147532" y="570834"/>
                  </a:lnTo>
                  <a:lnTo>
                    <a:pt x="1154049" y="571322"/>
                  </a:lnTo>
                  <a:lnTo>
                    <a:pt x="1158610" y="567087"/>
                  </a:lnTo>
                  <a:lnTo>
                    <a:pt x="1159750" y="568879"/>
                  </a:lnTo>
                  <a:lnTo>
                    <a:pt x="1161542" y="569693"/>
                  </a:lnTo>
                  <a:lnTo>
                    <a:pt x="1156818" y="575232"/>
                  </a:lnTo>
                  <a:lnTo>
                    <a:pt x="1152419" y="575232"/>
                  </a:lnTo>
                  <a:cubicBezTo>
                    <a:pt x="1152419" y="575232"/>
                    <a:pt x="1151931" y="573766"/>
                    <a:pt x="1151931" y="573766"/>
                  </a:cubicBezTo>
                  <a:lnTo>
                    <a:pt x="1148835" y="574092"/>
                  </a:lnTo>
                  <a:lnTo>
                    <a:pt x="1147206" y="575395"/>
                  </a:lnTo>
                  <a:lnTo>
                    <a:pt x="1141016" y="575884"/>
                  </a:lnTo>
                  <a:lnTo>
                    <a:pt x="1128960" y="583052"/>
                  </a:lnTo>
                  <a:lnTo>
                    <a:pt x="1116091" y="593478"/>
                  </a:lnTo>
                  <a:lnTo>
                    <a:pt x="1111855" y="601461"/>
                  </a:lnTo>
                  <a:lnTo>
                    <a:pt x="1109574" y="601786"/>
                  </a:lnTo>
                  <a:lnTo>
                    <a:pt x="1106968" y="600157"/>
                  </a:lnTo>
                  <a:lnTo>
                    <a:pt x="1099637" y="601135"/>
                  </a:lnTo>
                  <a:lnTo>
                    <a:pt x="1094587" y="605533"/>
                  </a:lnTo>
                  <a:lnTo>
                    <a:pt x="1084975" y="618240"/>
                  </a:lnTo>
                  <a:lnTo>
                    <a:pt x="1084975" y="621173"/>
                  </a:lnTo>
                  <a:lnTo>
                    <a:pt x="1080902" y="624594"/>
                  </a:lnTo>
                  <a:lnTo>
                    <a:pt x="1078296" y="624594"/>
                  </a:lnTo>
                  <a:cubicBezTo>
                    <a:pt x="1078296" y="624594"/>
                    <a:pt x="1077970" y="627689"/>
                    <a:pt x="1077970" y="627689"/>
                  </a:cubicBezTo>
                  <a:lnTo>
                    <a:pt x="1073571" y="632739"/>
                  </a:lnTo>
                  <a:lnTo>
                    <a:pt x="1070639" y="631436"/>
                  </a:lnTo>
                  <a:lnTo>
                    <a:pt x="1067869" y="632250"/>
                  </a:lnTo>
                  <a:lnTo>
                    <a:pt x="1066566" y="634694"/>
                  </a:lnTo>
                  <a:lnTo>
                    <a:pt x="1061190" y="634205"/>
                  </a:lnTo>
                  <a:lnTo>
                    <a:pt x="1058421" y="637952"/>
                  </a:lnTo>
                  <a:lnTo>
                    <a:pt x="1050764" y="638930"/>
                  </a:lnTo>
                  <a:lnTo>
                    <a:pt x="1049461" y="641699"/>
                  </a:lnTo>
                  <a:lnTo>
                    <a:pt x="1044410" y="641373"/>
                  </a:lnTo>
                  <a:lnTo>
                    <a:pt x="1043433" y="644469"/>
                  </a:lnTo>
                  <a:lnTo>
                    <a:pt x="1037406" y="644469"/>
                  </a:lnTo>
                  <a:lnTo>
                    <a:pt x="1035939" y="645772"/>
                  </a:lnTo>
                  <a:lnTo>
                    <a:pt x="1037731" y="647075"/>
                  </a:lnTo>
                  <a:lnTo>
                    <a:pt x="1037243" y="651311"/>
                  </a:lnTo>
                  <a:lnTo>
                    <a:pt x="1033821" y="656361"/>
                  </a:lnTo>
                  <a:lnTo>
                    <a:pt x="1031541" y="656687"/>
                  </a:lnTo>
                  <a:lnTo>
                    <a:pt x="1029260" y="659782"/>
                  </a:lnTo>
                  <a:lnTo>
                    <a:pt x="1025025" y="660922"/>
                  </a:lnTo>
                  <a:lnTo>
                    <a:pt x="1020626" y="668090"/>
                  </a:lnTo>
                  <a:lnTo>
                    <a:pt x="1016879" y="675421"/>
                  </a:lnTo>
                  <a:lnTo>
                    <a:pt x="1016879" y="684056"/>
                  </a:lnTo>
                  <a:lnTo>
                    <a:pt x="1015576" y="699858"/>
                  </a:lnTo>
                  <a:lnTo>
                    <a:pt x="1016390" y="707026"/>
                  </a:lnTo>
                  <a:lnTo>
                    <a:pt x="1014924" y="718104"/>
                  </a:lnTo>
                  <a:lnTo>
                    <a:pt x="1017693" y="725109"/>
                  </a:lnTo>
                  <a:lnTo>
                    <a:pt x="1018834" y="736186"/>
                  </a:lnTo>
                  <a:lnTo>
                    <a:pt x="1021115" y="740748"/>
                  </a:lnTo>
                  <a:lnTo>
                    <a:pt x="1023721" y="753129"/>
                  </a:lnTo>
                  <a:lnTo>
                    <a:pt x="1026979" y="757528"/>
                  </a:lnTo>
                  <a:lnTo>
                    <a:pt x="1028771" y="762089"/>
                  </a:lnTo>
                  <a:lnTo>
                    <a:pt x="1026491" y="767954"/>
                  </a:lnTo>
                  <a:lnTo>
                    <a:pt x="1025676" y="775773"/>
                  </a:lnTo>
                  <a:lnTo>
                    <a:pt x="1027468" y="778380"/>
                  </a:lnTo>
                  <a:lnTo>
                    <a:pt x="1030237" y="794834"/>
                  </a:lnTo>
                  <a:lnTo>
                    <a:pt x="1035451" y="798092"/>
                  </a:lnTo>
                  <a:lnTo>
                    <a:pt x="1037080" y="805586"/>
                  </a:lnTo>
                  <a:lnTo>
                    <a:pt x="1034147" y="808518"/>
                  </a:lnTo>
                  <a:lnTo>
                    <a:pt x="1035451" y="810310"/>
                  </a:lnTo>
                  <a:lnTo>
                    <a:pt x="1034473" y="819270"/>
                  </a:lnTo>
                  <a:lnTo>
                    <a:pt x="1033170" y="821714"/>
                  </a:lnTo>
                  <a:lnTo>
                    <a:pt x="1033659" y="826112"/>
                  </a:lnTo>
                  <a:lnTo>
                    <a:pt x="1029260" y="835072"/>
                  </a:lnTo>
                  <a:lnTo>
                    <a:pt x="1026817" y="841100"/>
                  </a:lnTo>
                  <a:lnTo>
                    <a:pt x="1023721" y="845661"/>
                  </a:lnTo>
                  <a:lnTo>
                    <a:pt x="1022907" y="852178"/>
                  </a:lnTo>
                  <a:lnTo>
                    <a:pt x="1018671" y="853644"/>
                  </a:lnTo>
                  <a:lnTo>
                    <a:pt x="1013947" y="855273"/>
                  </a:lnTo>
                  <a:lnTo>
                    <a:pt x="1009222" y="853970"/>
                  </a:lnTo>
                  <a:lnTo>
                    <a:pt x="1006779" y="850874"/>
                  </a:lnTo>
                  <a:lnTo>
                    <a:pt x="1001402" y="849408"/>
                  </a:lnTo>
                  <a:lnTo>
                    <a:pt x="1004335" y="848105"/>
                  </a:lnTo>
                  <a:lnTo>
                    <a:pt x="998144" y="843055"/>
                  </a:lnTo>
                  <a:lnTo>
                    <a:pt x="998796" y="838656"/>
                  </a:lnTo>
                  <a:lnTo>
                    <a:pt x="997004" y="835235"/>
                  </a:lnTo>
                  <a:lnTo>
                    <a:pt x="992605" y="835235"/>
                  </a:lnTo>
                  <a:cubicBezTo>
                    <a:pt x="992605" y="835235"/>
                    <a:pt x="990651" y="833280"/>
                    <a:pt x="990651" y="833280"/>
                  </a:cubicBezTo>
                  <a:lnTo>
                    <a:pt x="990976" y="826601"/>
                  </a:lnTo>
                  <a:lnTo>
                    <a:pt x="990162" y="821388"/>
                  </a:lnTo>
                  <a:lnTo>
                    <a:pt x="983971" y="816501"/>
                  </a:lnTo>
                  <a:lnTo>
                    <a:pt x="983483" y="813405"/>
                  </a:lnTo>
                  <a:lnTo>
                    <a:pt x="985437" y="810962"/>
                  </a:lnTo>
                  <a:lnTo>
                    <a:pt x="986415" y="806726"/>
                  </a:lnTo>
                  <a:lnTo>
                    <a:pt x="990162" y="802979"/>
                  </a:lnTo>
                  <a:lnTo>
                    <a:pt x="985437" y="804282"/>
                  </a:lnTo>
                  <a:lnTo>
                    <a:pt x="983483" y="802816"/>
                  </a:lnTo>
                  <a:lnTo>
                    <a:pt x="983483" y="804934"/>
                  </a:lnTo>
                  <a:lnTo>
                    <a:pt x="981853" y="807215"/>
                  </a:lnTo>
                  <a:lnTo>
                    <a:pt x="980550" y="802490"/>
                  </a:lnTo>
                  <a:lnTo>
                    <a:pt x="978595" y="802979"/>
                  </a:lnTo>
                  <a:lnTo>
                    <a:pt x="977618" y="800536"/>
                  </a:lnTo>
                  <a:lnTo>
                    <a:pt x="974523" y="796789"/>
                  </a:lnTo>
                  <a:lnTo>
                    <a:pt x="974197" y="791901"/>
                  </a:lnTo>
                  <a:lnTo>
                    <a:pt x="972731" y="788806"/>
                  </a:lnTo>
                  <a:lnTo>
                    <a:pt x="979084" y="779846"/>
                  </a:lnTo>
                  <a:lnTo>
                    <a:pt x="979084" y="775122"/>
                  </a:lnTo>
                  <a:cubicBezTo>
                    <a:pt x="979084" y="775122"/>
                    <a:pt x="975174" y="773493"/>
                    <a:pt x="975174" y="773493"/>
                  </a:cubicBezTo>
                  <a:lnTo>
                    <a:pt x="973219" y="775122"/>
                  </a:lnTo>
                  <a:lnTo>
                    <a:pt x="974197" y="777240"/>
                  </a:lnTo>
                  <a:lnTo>
                    <a:pt x="971264" y="781475"/>
                  </a:lnTo>
                  <a:lnTo>
                    <a:pt x="969961" y="782779"/>
                  </a:lnTo>
                  <a:lnTo>
                    <a:pt x="966866" y="777565"/>
                  </a:lnTo>
                  <a:lnTo>
                    <a:pt x="966866" y="773818"/>
                  </a:lnTo>
                  <a:cubicBezTo>
                    <a:pt x="966866" y="773818"/>
                    <a:pt x="972079" y="764533"/>
                    <a:pt x="972079" y="764533"/>
                  </a:cubicBezTo>
                  <a:lnTo>
                    <a:pt x="975500" y="752640"/>
                  </a:lnTo>
                  <a:lnTo>
                    <a:pt x="975989" y="746775"/>
                  </a:lnTo>
                  <a:lnTo>
                    <a:pt x="972731" y="740422"/>
                  </a:lnTo>
                  <a:lnTo>
                    <a:pt x="968984" y="739771"/>
                  </a:lnTo>
                  <a:lnTo>
                    <a:pt x="966703" y="736023"/>
                  </a:lnTo>
                  <a:lnTo>
                    <a:pt x="966703" y="734231"/>
                  </a:lnTo>
                  <a:cubicBezTo>
                    <a:pt x="966703" y="734231"/>
                    <a:pt x="964748" y="734231"/>
                    <a:pt x="964748" y="734231"/>
                  </a:cubicBezTo>
                  <a:lnTo>
                    <a:pt x="961001" y="731462"/>
                  </a:lnTo>
                  <a:lnTo>
                    <a:pt x="960350" y="726249"/>
                  </a:lnTo>
                  <a:lnTo>
                    <a:pt x="958558" y="725760"/>
                  </a:lnTo>
                  <a:lnTo>
                    <a:pt x="955951" y="723154"/>
                  </a:lnTo>
                  <a:lnTo>
                    <a:pt x="953344" y="714357"/>
                  </a:lnTo>
                  <a:lnTo>
                    <a:pt x="947480" y="712402"/>
                  </a:lnTo>
                  <a:lnTo>
                    <a:pt x="944221" y="710610"/>
                  </a:lnTo>
                  <a:lnTo>
                    <a:pt x="939171" y="711424"/>
                  </a:lnTo>
                  <a:lnTo>
                    <a:pt x="935750" y="714031"/>
                  </a:lnTo>
                  <a:lnTo>
                    <a:pt x="935750" y="715171"/>
                  </a:lnTo>
                  <a:lnTo>
                    <a:pt x="934936" y="715986"/>
                  </a:lnTo>
                  <a:lnTo>
                    <a:pt x="932818" y="715008"/>
                  </a:lnTo>
                  <a:lnTo>
                    <a:pt x="926301" y="721525"/>
                  </a:lnTo>
                  <a:lnTo>
                    <a:pt x="921577" y="722013"/>
                  </a:lnTo>
                  <a:lnTo>
                    <a:pt x="914246" y="723154"/>
                  </a:lnTo>
                  <a:lnTo>
                    <a:pt x="913106" y="721362"/>
                  </a:lnTo>
                  <a:lnTo>
                    <a:pt x="913758" y="719407"/>
                  </a:lnTo>
                  <a:lnTo>
                    <a:pt x="914572" y="721036"/>
                  </a:lnTo>
                  <a:lnTo>
                    <a:pt x="915712" y="720547"/>
                  </a:lnTo>
                  <a:lnTo>
                    <a:pt x="914409" y="718104"/>
                  </a:lnTo>
                  <a:lnTo>
                    <a:pt x="911966" y="714520"/>
                  </a:lnTo>
                  <a:lnTo>
                    <a:pt x="905612" y="710121"/>
                  </a:lnTo>
                  <a:lnTo>
                    <a:pt x="906427" y="709795"/>
                  </a:lnTo>
                  <a:lnTo>
                    <a:pt x="909685" y="711424"/>
                  </a:lnTo>
                  <a:lnTo>
                    <a:pt x="910499" y="709795"/>
                  </a:lnTo>
                  <a:lnTo>
                    <a:pt x="905775" y="706374"/>
                  </a:lnTo>
                  <a:lnTo>
                    <a:pt x="904797" y="703767"/>
                  </a:lnTo>
                  <a:lnTo>
                    <a:pt x="902517" y="703442"/>
                  </a:lnTo>
                  <a:lnTo>
                    <a:pt x="901865" y="705722"/>
                  </a:lnTo>
                  <a:lnTo>
                    <a:pt x="904309" y="709144"/>
                  </a:lnTo>
                  <a:lnTo>
                    <a:pt x="900399" y="706863"/>
                  </a:lnTo>
                  <a:lnTo>
                    <a:pt x="896489" y="703279"/>
                  </a:lnTo>
                  <a:lnTo>
                    <a:pt x="889973" y="703279"/>
                  </a:lnTo>
                  <a:lnTo>
                    <a:pt x="883293" y="702301"/>
                  </a:lnTo>
                  <a:lnTo>
                    <a:pt x="884271" y="700998"/>
                  </a:lnTo>
                  <a:lnTo>
                    <a:pt x="890299" y="701324"/>
                  </a:lnTo>
                  <a:lnTo>
                    <a:pt x="893394" y="700347"/>
                  </a:lnTo>
                  <a:lnTo>
                    <a:pt x="892253" y="698717"/>
                  </a:lnTo>
                  <a:lnTo>
                    <a:pt x="886715" y="698391"/>
                  </a:lnTo>
                  <a:lnTo>
                    <a:pt x="881013" y="702301"/>
                  </a:lnTo>
                  <a:lnTo>
                    <a:pt x="878732" y="701161"/>
                  </a:lnTo>
                  <a:lnTo>
                    <a:pt x="871075" y="702139"/>
                  </a:lnTo>
                  <a:lnTo>
                    <a:pt x="868143" y="700021"/>
                  </a:lnTo>
                  <a:lnTo>
                    <a:pt x="864396" y="701487"/>
                  </a:lnTo>
                  <a:lnTo>
                    <a:pt x="857228" y="701161"/>
                  </a:lnTo>
                  <a:lnTo>
                    <a:pt x="853155" y="702790"/>
                  </a:lnTo>
                  <a:lnTo>
                    <a:pt x="848105" y="698555"/>
                  </a:lnTo>
                  <a:lnTo>
                    <a:pt x="848105" y="695622"/>
                  </a:lnTo>
                  <a:cubicBezTo>
                    <a:pt x="848105" y="695622"/>
                    <a:pt x="848594" y="692364"/>
                    <a:pt x="848594" y="692364"/>
                  </a:cubicBezTo>
                  <a:lnTo>
                    <a:pt x="845499" y="691875"/>
                  </a:lnTo>
                  <a:lnTo>
                    <a:pt x="843218" y="696274"/>
                  </a:lnTo>
                  <a:lnTo>
                    <a:pt x="840774" y="700347"/>
                  </a:lnTo>
                  <a:lnTo>
                    <a:pt x="837027" y="699532"/>
                  </a:lnTo>
                  <a:lnTo>
                    <a:pt x="833932" y="700672"/>
                  </a:lnTo>
                  <a:lnTo>
                    <a:pt x="828230" y="699695"/>
                  </a:lnTo>
                  <a:lnTo>
                    <a:pt x="813080" y="702464"/>
                  </a:lnTo>
                  <a:lnTo>
                    <a:pt x="808844" y="706211"/>
                  </a:lnTo>
                  <a:lnTo>
                    <a:pt x="800373" y="709632"/>
                  </a:lnTo>
                  <a:lnTo>
                    <a:pt x="795811" y="714357"/>
                  </a:lnTo>
                  <a:lnTo>
                    <a:pt x="795811" y="717778"/>
                  </a:lnTo>
                  <a:lnTo>
                    <a:pt x="799069" y="716474"/>
                  </a:lnTo>
                  <a:lnTo>
                    <a:pt x="802002" y="713542"/>
                  </a:lnTo>
                  <a:lnTo>
                    <a:pt x="803631" y="713868"/>
                  </a:lnTo>
                  <a:lnTo>
                    <a:pt x="805423" y="716312"/>
                  </a:lnTo>
                  <a:lnTo>
                    <a:pt x="809821" y="718104"/>
                  </a:lnTo>
                  <a:lnTo>
                    <a:pt x="808192" y="719896"/>
                  </a:lnTo>
                  <a:lnTo>
                    <a:pt x="800047" y="722991"/>
                  </a:lnTo>
                  <a:lnTo>
                    <a:pt x="800047" y="727389"/>
                  </a:lnTo>
                  <a:cubicBezTo>
                    <a:pt x="800047" y="727389"/>
                    <a:pt x="801676" y="731136"/>
                    <a:pt x="801676" y="731136"/>
                  </a:cubicBezTo>
                  <a:lnTo>
                    <a:pt x="809821" y="733906"/>
                  </a:lnTo>
                  <a:lnTo>
                    <a:pt x="815849" y="738467"/>
                  </a:lnTo>
                  <a:lnTo>
                    <a:pt x="815523" y="740096"/>
                  </a:lnTo>
                  <a:lnTo>
                    <a:pt x="811613" y="741237"/>
                  </a:lnTo>
                  <a:lnTo>
                    <a:pt x="809984" y="744332"/>
                  </a:lnTo>
                  <a:lnTo>
                    <a:pt x="809984" y="739282"/>
                  </a:lnTo>
                  <a:cubicBezTo>
                    <a:pt x="809984" y="739282"/>
                    <a:pt x="807215" y="737653"/>
                    <a:pt x="807215" y="737653"/>
                  </a:cubicBezTo>
                  <a:lnTo>
                    <a:pt x="804283" y="737978"/>
                  </a:lnTo>
                  <a:lnTo>
                    <a:pt x="801676" y="734557"/>
                  </a:lnTo>
                  <a:lnTo>
                    <a:pt x="797929" y="733091"/>
                  </a:lnTo>
                  <a:lnTo>
                    <a:pt x="794182" y="727552"/>
                  </a:lnTo>
                  <a:lnTo>
                    <a:pt x="789621" y="727878"/>
                  </a:lnTo>
                  <a:lnTo>
                    <a:pt x="791901" y="732114"/>
                  </a:lnTo>
                  <a:lnTo>
                    <a:pt x="791901" y="738304"/>
                  </a:lnTo>
                  <a:cubicBezTo>
                    <a:pt x="791901" y="738304"/>
                    <a:pt x="787829" y="740585"/>
                    <a:pt x="787829" y="740585"/>
                  </a:cubicBezTo>
                  <a:lnTo>
                    <a:pt x="785874" y="737327"/>
                  </a:lnTo>
                  <a:lnTo>
                    <a:pt x="781638" y="734231"/>
                  </a:lnTo>
                  <a:lnTo>
                    <a:pt x="777891" y="737001"/>
                  </a:lnTo>
                  <a:lnTo>
                    <a:pt x="775285" y="739933"/>
                  </a:lnTo>
                  <a:lnTo>
                    <a:pt x="768931" y="737978"/>
                  </a:lnTo>
                  <a:lnTo>
                    <a:pt x="765347" y="735861"/>
                  </a:lnTo>
                  <a:lnTo>
                    <a:pt x="761112" y="736675"/>
                  </a:lnTo>
                  <a:lnTo>
                    <a:pt x="758505" y="735535"/>
                  </a:lnTo>
                  <a:lnTo>
                    <a:pt x="760460" y="732928"/>
                  </a:lnTo>
                  <a:lnTo>
                    <a:pt x="763881" y="730322"/>
                  </a:lnTo>
                  <a:lnTo>
                    <a:pt x="762089" y="727552"/>
                  </a:lnTo>
                  <a:lnTo>
                    <a:pt x="756876" y="728041"/>
                  </a:lnTo>
                  <a:lnTo>
                    <a:pt x="755247" y="726086"/>
                  </a:lnTo>
                  <a:lnTo>
                    <a:pt x="755247" y="722339"/>
                  </a:lnTo>
                  <a:lnTo>
                    <a:pt x="753618" y="720547"/>
                  </a:lnTo>
                  <a:lnTo>
                    <a:pt x="750034" y="721850"/>
                  </a:lnTo>
                  <a:lnTo>
                    <a:pt x="747264" y="720873"/>
                  </a:lnTo>
                  <a:lnTo>
                    <a:pt x="749219" y="717940"/>
                  </a:lnTo>
                  <a:lnTo>
                    <a:pt x="746450" y="716800"/>
                  </a:lnTo>
                  <a:lnTo>
                    <a:pt x="741237" y="718755"/>
                  </a:lnTo>
                  <a:lnTo>
                    <a:pt x="740911" y="721362"/>
                  </a:lnTo>
                  <a:lnTo>
                    <a:pt x="741725" y="724457"/>
                  </a:lnTo>
                  <a:lnTo>
                    <a:pt x="737164" y="725109"/>
                  </a:lnTo>
                  <a:lnTo>
                    <a:pt x="722502" y="723642"/>
                  </a:lnTo>
                  <a:lnTo>
                    <a:pt x="720547" y="721199"/>
                  </a:lnTo>
                  <a:lnTo>
                    <a:pt x="708492" y="718266"/>
                  </a:lnTo>
                  <a:lnTo>
                    <a:pt x="701813" y="718266"/>
                  </a:lnTo>
                  <a:lnTo>
                    <a:pt x="693179" y="720058"/>
                  </a:lnTo>
                  <a:lnTo>
                    <a:pt x="689757" y="722502"/>
                  </a:lnTo>
                  <a:lnTo>
                    <a:pt x="686010" y="722828"/>
                  </a:lnTo>
                  <a:lnTo>
                    <a:pt x="681775" y="728856"/>
                  </a:lnTo>
                  <a:lnTo>
                    <a:pt x="676073" y="729670"/>
                  </a:lnTo>
                  <a:lnTo>
                    <a:pt x="677050" y="725109"/>
                  </a:lnTo>
                  <a:lnTo>
                    <a:pt x="675747" y="721199"/>
                  </a:lnTo>
                  <a:lnTo>
                    <a:pt x="678680" y="717126"/>
                  </a:lnTo>
                  <a:lnTo>
                    <a:pt x="676888" y="711750"/>
                  </a:lnTo>
                  <a:lnTo>
                    <a:pt x="676562" y="714845"/>
                  </a:lnTo>
                  <a:lnTo>
                    <a:pt x="671512" y="719081"/>
                  </a:lnTo>
                  <a:lnTo>
                    <a:pt x="668905" y="719081"/>
                  </a:lnTo>
                  <a:lnTo>
                    <a:pt x="666136" y="715334"/>
                  </a:lnTo>
                  <a:lnTo>
                    <a:pt x="669068" y="722828"/>
                  </a:lnTo>
                  <a:lnTo>
                    <a:pt x="669068" y="728041"/>
                  </a:lnTo>
                  <a:cubicBezTo>
                    <a:pt x="669068" y="728041"/>
                    <a:pt x="670045" y="733254"/>
                    <a:pt x="670045" y="733254"/>
                  </a:cubicBezTo>
                  <a:lnTo>
                    <a:pt x="666787" y="736023"/>
                  </a:lnTo>
                  <a:lnTo>
                    <a:pt x="663529" y="736023"/>
                  </a:lnTo>
                  <a:lnTo>
                    <a:pt x="655384" y="743355"/>
                  </a:lnTo>
                  <a:lnTo>
                    <a:pt x="644469" y="748731"/>
                  </a:lnTo>
                  <a:lnTo>
                    <a:pt x="641210" y="748731"/>
                  </a:lnTo>
                  <a:cubicBezTo>
                    <a:pt x="641210" y="748731"/>
                    <a:pt x="636486" y="752640"/>
                    <a:pt x="636486" y="752640"/>
                  </a:cubicBezTo>
                  <a:lnTo>
                    <a:pt x="633065" y="752966"/>
                  </a:lnTo>
                  <a:lnTo>
                    <a:pt x="637463" y="749056"/>
                  </a:lnTo>
                  <a:lnTo>
                    <a:pt x="633554" y="746287"/>
                  </a:lnTo>
                  <a:lnTo>
                    <a:pt x="631110" y="747590"/>
                  </a:lnTo>
                  <a:lnTo>
                    <a:pt x="629318" y="746287"/>
                  </a:lnTo>
                  <a:lnTo>
                    <a:pt x="624594" y="749056"/>
                  </a:lnTo>
                  <a:lnTo>
                    <a:pt x="627363" y="751663"/>
                  </a:lnTo>
                  <a:lnTo>
                    <a:pt x="621987" y="753618"/>
                  </a:lnTo>
                  <a:lnTo>
                    <a:pt x="619218" y="751337"/>
                  </a:lnTo>
                  <a:lnTo>
                    <a:pt x="619544" y="757853"/>
                  </a:lnTo>
                  <a:lnTo>
                    <a:pt x="614982" y="760134"/>
                  </a:lnTo>
                  <a:lnTo>
                    <a:pt x="612376" y="758505"/>
                  </a:lnTo>
                  <a:lnTo>
                    <a:pt x="607814" y="764207"/>
                  </a:lnTo>
                  <a:lnTo>
                    <a:pt x="610746" y="767465"/>
                  </a:lnTo>
                  <a:lnTo>
                    <a:pt x="605533" y="771538"/>
                  </a:lnTo>
                  <a:lnTo>
                    <a:pt x="601786" y="773167"/>
                  </a:lnTo>
                  <a:lnTo>
                    <a:pt x="603416" y="782941"/>
                  </a:lnTo>
                  <a:lnTo>
                    <a:pt x="599832" y="787991"/>
                  </a:lnTo>
                  <a:lnTo>
                    <a:pt x="597551" y="795322"/>
                  </a:lnTo>
                  <a:lnTo>
                    <a:pt x="594618" y="801513"/>
                  </a:lnTo>
                  <a:lnTo>
                    <a:pt x="596899" y="805423"/>
                  </a:lnTo>
                  <a:lnTo>
                    <a:pt x="596410" y="816501"/>
                  </a:lnTo>
                  <a:lnTo>
                    <a:pt x="597714" y="820085"/>
                  </a:lnTo>
                  <a:lnTo>
                    <a:pt x="596085" y="825623"/>
                  </a:lnTo>
                  <a:lnTo>
                    <a:pt x="593478" y="833117"/>
                  </a:lnTo>
                  <a:lnTo>
                    <a:pt x="591197" y="831977"/>
                  </a:lnTo>
                  <a:lnTo>
                    <a:pt x="589568" y="828882"/>
                  </a:lnTo>
                  <a:lnTo>
                    <a:pt x="585007" y="827741"/>
                  </a:lnTo>
                  <a:lnTo>
                    <a:pt x="580282" y="825298"/>
                  </a:lnTo>
                  <a:lnTo>
                    <a:pt x="571811" y="822528"/>
                  </a:lnTo>
                  <a:lnTo>
                    <a:pt x="567738" y="818456"/>
                  </a:lnTo>
                  <a:lnTo>
                    <a:pt x="564480" y="816664"/>
                  </a:lnTo>
                  <a:lnTo>
                    <a:pt x="561222" y="817152"/>
                  </a:lnTo>
                  <a:lnTo>
                    <a:pt x="558127" y="816012"/>
                  </a:lnTo>
                  <a:lnTo>
                    <a:pt x="557475" y="815360"/>
                  </a:lnTo>
                  <a:lnTo>
                    <a:pt x="555357" y="812754"/>
                  </a:lnTo>
                  <a:lnTo>
                    <a:pt x="555683" y="806074"/>
                  </a:lnTo>
                  <a:lnTo>
                    <a:pt x="550470" y="791087"/>
                  </a:lnTo>
                  <a:lnTo>
                    <a:pt x="549981" y="789621"/>
                  </a:lnTo>
                  <a:lnTo>
                    <a:pt x="549981" y="788317"/>
                  </a:lnTo>
                  <a:cubicBezTo>
                    <a:pt x="549981" y="788317"/>
                    <a:pt x="550470" y="783593"/>
                    <a:pt x="550470" y="783593"/>
                  </a:cubicBezTo>
                  <a:lnTo>
                    <a:pt x="550959" y="779031"/>
                  </a:lnTo>
                  <a:lnTo>
                    <a:pt x="546723" y="774633"/>
                  </a:lnTo>
                  <a:lnTo>
                    <a:pt x="544280" y="770397"/>
                  </a:lnTo>
                  <a:lnTo>
                    <a:pt x="543139" y="765347"/>
                  </a:lnTo>
                  <a:lnTo>
                    <a:pt x="539229" y="763229"/>
                  </a:lnTo>
                  <a:lnTo>
                    <a:pt x="538089" y="759971"/>
                  </a:lnTo>
                  <a:lnTo>
                    <a:pt x="535971" y="758505"/>
                  </a:lnTo>
                  <a:lnTo>
                    <a:pt x="532713" y="749219"/>
                  </a:lnTo>
                  <a:lnTo>
                    <a:pt x="531410" y="745635"/>
                  </a:lnTo>
                  <a:lnTo>
                    <a:pt x="528640" y="744169"/>
                  </a:lnTo>
                  <a:lnTo>
                    <a:pt x="528314" y="738141"/>
                  </a:lnTo>
                  <a:lnTo>
                    <a:pt x="527663" y="734231"/>
                  </a:lnTo>
                  <a:lnTo>
                    <a:pt x="526359" y="731951"/>
                  </a:lnTo>
                  <a:lnTo>
                    <a:pt x="524405" y="726575"/>
                  </a:lnTo>
                  <a:lnTo>
                    <a:pt x="520495" y="720547"/>
                  </a:lnTo>
                  <a:lnTo>
                    <a:pt x="515445" y="716312"/>
                  </a:lnTo>
                  <a:lnTo>
                    <a:pt x="513164" y="712565"/>
                  </a:lnTo>
                  <a:lnTo>
                    <a:pt x="509743" y="710936"/>
                  </a:lnTo>
                  <a:lnTo>
                    <a:pt x="506485" y="711587"/>
                  </a:lnTo>
                  <a:lnTo>
                    <a:pt x="505344" y="710121"/>
                  </a:lnTo>
                  <a:lnTo>
                    <a:pt x="503389" y="709144"/>
                  </a:lnTo>
                  <a:lnTo>
                    <a:pt x="498502" y="709469"/>
                  </a:lnTo>
                  <a:lnTo>
                    <a:pt x="494104" y="708818"/>
                  </a:lnTo>
                  <a:lnTo>
                    <a:pt x="489542" y="708818"/>
                  </a:lnTo>
                  <a:cubicBezTo>
                    <a:pt x="489542" y="708818"/>
                    <a:pt x="488076" y="711913"/>
                    <a:pt x="488076" y="711913"/>
                  </a:cubicBezTo>
                  <a:lnTo>
                    <a:pt x="486121" y="712239"/>
                  </a:lnTo>
                  <a:lnTo>
                    <a:pt x="485632" y="711424"/>
                  </a:lnTo>
                  <a:lnTo>
                    <a:pt x="483677" y="710936"/>
                  </a:lnTo>
                  <a:lnTo>
                    <a:pt x="480745" y="711913"/>
                  </a:lnTo>
                  <a:lnTo>
                    <a:pt x="478138" y="714520"/>
                  </a:lnTo>
                  <a:lnTo>
                    <a:pt x="474392" y="721525"/>
                  </a:lnTo>
                  <a:lnTo>
                    <a:pt x="472111" y="724294"/>
                  </a:lnTo>
                  <a:lnTo>
                    <a:pt x="472599" y="725597"/>
                  </a:lnTo>
                  <a:lnTo>
                    <a:pt x="472111" y="727715"/>
                  </a:lnTo>
                  <a:lnTo>
                    <a:pt x="469504" y="728367"/>
                  </a:lnTo>
                  <a:lnTo>
                    <a:pt x="465920" y="731299"/>
                  </a:lnTo>
                  <a:lnTo>
                    <a:pt x="465431" y="732928"/>
                  </a:lnTo>
                  <a:lnTo>
                    <a:pt x="462988" y="733906"/>
                  </a:lnTo>
                  <a:lnTo>
                    <a:pt x="460870" y="733580"/>
                  </a:lnTo>
                  <a:lnTo>
                    <a:pt x="459404" y="731788"/>
                  </a:lnTo>
                  <a:lnTo>
                    <a:pt x="454191" y="729181"/>
                  </a:lnTo>
                  <a:lnTo>
                    <a:pt x="449955" y="727878"/>
                  </a:lnTo>
                  <a:lnTo>
                    <a:pt x="449303" y="726086"/>
                  </a:lnTo>
                  <a:lnTo>
                    <a:pt x="444090" y="723480"/>
                  </a:lnTo>
                  <a:lnTo>
                    <a:pt x="441158" y="723480"/>
                  </a:lnTo>
                  <a:cubicBezTo>
                    <a:pt x="441158" y="723480"/>
                    <a:pt x="439529" y="721688"/>
                    <a:pt x="439529" y="721688"/>
                  </a:cubicBezTo>
                  <a:lnTo>
                    <a:pt x="439203" y="720058"/>
                  </a:lnTo>
                  <a:lnTo>
                    <a:pt x="438226" y="718266"/>
                  </a:lnTo>
                  <a:lnTo>
                    <a:pt x="435782" y="717289"/>
                  </a:lnTo>
                  <a:lnTo>
                    <a:pt x="434153" y="717289"/>
                  </a:lnTo>
                  <a:cubicBezTo>
                    <a:pt x="434153" y="717289"/>
                    <a:pt x="432035" y="715334"/>
                    <a:pt x="432035" y="715334"/>
                  </a:cubicBezTo>
                  <a:lnTo>
                    <a:pt x="430406" y="715334"/>
                  </a:lnTo>
                  <a:cubicBezTo>
                    <a:pt x="430406" y="715334"/>
                    <a:pt x="430569" y="714031"/>
                    <a:pt x="430569" y="714031"/>
                  </a:cubicBezTo>
                  <a:lnTo>
                    <a:pt x="429429" y="710447"/>
                  </a:lnTo>
                  <a:lnTo>
                    <a:pt x="426007" y="706211"/>
                  </a:lnTo>
                  <a:lnTo>
                    <a:pt x="421609" y="700998"/>
                  </a:lnTo>
                  <a:lnTo>
                    <a:pt x="421609" y="699206"/>
                  </a:lnTo>
                  <a:lnTo>
                    <a:pt x="424541" y="698391"/>
                  </a:lnTo>
                  <a:lnTo>
                    <a:pt x="426007" y="697251"/>
                  </a:lnTo>
                  <a:lnTo>
                    <a:pt x="426007" y="693341"/>
                  </a:lnTo>
                  <a:cubicBezTo>
                    <a:pt x="426007" y="693341"/>
                    <a:pt x="422912" y="690572"/>
                    <a:pt x="422912" y="690572"/>
                  </a:cubicBezTo>
                  <a:lnTo>
                    <a:pt x="422098" y="688617"/>
                  </a:lnTo>
                  <a:lnTo>
                    <a:pt x="420631" y="688291"/>
                  </a:lnTo>
                  <a:lnTo>
                    <a:pt x="418839" y="686173"/>
                  </a:lnTo>
                  <a:lnTo>
                    <a:pt x="418351" y="680472"/>
                  </a:lnTo>
                  <a:lnTo>
                    <a:pt x="416070" y="676725"/>
                  </a:lnTo>
                  <a:lnTo>
                    <a:pt x="412486" y="674444"/>
                  </a:lnTo>
                  <a:lnTo>
                    <a:pt x="409391" y="673466"/>
                  </a:lnTo>
                  <a:lnTo>
                    <a:pt x="410694" y="671512"/>
                  </a:lnTo>
                  <a:lnTo>
                    <a:pt x="411020" y="669231"/>
                  </a:lnTo>
                  <a:lnTo>
                    <a:pt x="407110" y="665973"/>
                  </a:lnTo>
                  <a:lnTo>
                    <a:pt x="403200" y="664506"/>
                  </a:lnTo>
                  <a:lnTo>
                    <a:pt x="404015" y="662063"/>
                  </a:lnTo>
                  <a:lnTo>
                    <a:pt x="401734" y="658642"/>
                  </a:lnTo>
                  <a:lnTo>
                    <a:pt x="399127" y="658642"/>
                  </a:lnTo>
                  <a:cubicBezTo>
                    <a:pt x="399127" y="658642"/>
                    <a:pt x="398639" y="656198"/>
                    <a:pt x="398639" y="656198"/>
                  </a:cubicBezTo>
                  <a:lnTo>
                    <a:pt x="396358" y="653591"/>
                  </a:lnTo>
                  <a:lnTo>
                    <a:pt x="392285" y="647727"/>
                  </a:lnTo>
                  <a:lnTo>
                    <a:pt x="387561" y="644794"/>
                  </a:lnTo>
                  <a:lnTo>
                    <a:pt x="346182" y="643491"/>
                  </a:lnTo>
                  <a:lnTo>
                    <a:pt x="345693" y="652777"/>
                  </a:lnTo>
                  <a:lnTo>
                    <a:pt x="272547" y="650496"/>
                  </a:lnTo>
                  <a:lnTo>
                    <a:pt x="185554" y="610746"/>
                  </a:lnTo>
                  <a:lnTo>
                    <a:pt x="186531" y="608791"/>
                  </a:lnTo>
                  <a:lnTo>
                    <a:pt x="185228" y="606511"/>
                  </a:lnTo>
                  <a:lnTo>
                    <a:pt x="123974" y="607651"/>
                  </a:lnTo>
                  <a:lnTo>
                    <a:pt x="123485" y="603578"/>
                  </a:lnTo>
                  <a:lnTo>
                    <a:pt x="124788" y="597388"/>
                  </a:lnTo>
                  <a:lnTo>
                    <a:pt x="123648" y="589568"/>
                  </a:lnTo>
                  <a:lnTo>
                    <a:pt x="114851" y="576047"/>
                  </a:lnTo>
                  <a:lnTo>
                    <a:pt x="109149" y="570182"/>
                  </a:lnTo>
                  <a:lnTo>
                    <a:pt x="105891" y="570997"/>
                  </a:lnTo>
                  <a:lnTo>
                    <a:pt x="103284" y="570997"/>
                  </a:lnTo>
                  <a:cubicBezTo>
                    <a:pt x="103284" y="570997"/>
                    <a:pt x="101655" y="570182"/>
                    <a:pt x="101655" y="570182"/>
                  </a:cubicBezTo>
                  <a:lnTo>
                    <a:pt x="101655" y="565783"/>
                  </a:lnTo>
                  <a:cubicBezTo>
                    <a:pt x="101655" y="565783"/>
                    <a:pt x="100678" y="563014"/>
                    <a:pt x="100678" y="563014"/>
                  </a:cubicBezTo>
                  <a:lnTo>
                    <a:pt x="94487" y="561222"/>
                  </a:lnTo>
                  <a:lnTo>
                    <a:pt x="90252" y="561222"/>
                  </a:lnTo>
                  <a:cubicBezTo>
                    <a:pt x="90252" y="561222"/>
                    <a:pt x="83410" y="557312"/>
                    <a:pt x="83410" y="557312"/>
                  </a:cubicBezTo>
                  <a:lnTo>
                    <a:pt x="83410" y="552914"/>
                  </a:lnTo>
                  <a:lnTo>
                    <a:pt x="80314" y="549493"/>
                  </a:lnTo>
                  <a:lnTo>
                    <a:pt x="73472" y="549493"/>
                  </a:lnTo>
                  <a:lnTo>
                    <a:pt x="69725" y="548841"/>
                  </a:lnTo>
                  <a:lnTo>
                    <a:pt x="65652" y="546397"/>
                  </a:lnTo>
                  <a:lnTo>
                    <a:pt x="60439" y="544931"/>
                  </a:lnTo>
                  <a:lnTo>
                    <a:pt x="51642" y="544931"/>
                  </a:lnTo>
                  <a:cubicBezTo>
                    <a:pt x="51642" y="544931"/>
                    <a:pt x="49036" y="543139"/>
                    <a:pt x="49036" y="543139"/>
                  </a:cubicBezTo>
                  <a:lnTo>
                    <a:pt x="47569" y="538904"/>
                  </a:lnTo>
                  <a:lnTo>
                    <a:pt x="48710" y="538089"/>
                  </a:lnTo>
                  <a:lnTo>
                    <a:pt x="50013" y="533853"/>
                  </a:lnTo>
                  <a:lnTo>
                    <a:pt x="51805" y="526034"/>
                  </a:lnTo>
                  <a:lnTo>
                    <a:pt x="50176" y="520821"/>
                  </a:lnTo>
                  <a:lnTo>
                    <a:pt x="46103" y="516096"/>
                  </a:lnTo>
                  <a:lnTo>
                    <a:pt x="45777" y="514630"/>
                  </a:lnTo>
                  <a:lnTo>
                    <a:pt x="46755" y="512838"/>
                  </a:lnTo>
                  <a:lnTo>
                    <a:pt x="44637" y="511209"/>
                  </a:lnTo>
                  <a:lnTo>
                    <a:pt x="40727" y="505833"/>
                  </a:lnTo>
                  <a:lnTo>
                    <a:pt x="35351" y="494429"/>
                  </a:lnTo>
                  <a:lnTo>
                    <a:pt x="34211" y="485632"/>
                  </a:lnTo>
                  <a:lnTo>
                    <a:pt x="30138" y="482700"/>
                  </a:lnTo>
                  <a:lnTo>
                    <a:pt x="29487" y="479605"/>
                  </a:lnTo>
                  <a:lnTo>
                    <a:pt x="29812" y="474880"/>
                  </a:lnTo>
                  <a:lnTo>
                    <a:pt x="28509" y="469504"/>
                  </a:lnTo>
                  <a:lnTo>
                    <a:pt x="28509" y="467223"/>
                  </a:lnTo>
                  <a:cubicBezTo>
                    <a:pt x="28509" y="467223"/>
                    <a:pt x="30953" y="467549"/>
                    <a:pt x="30953" y="467549"/>
                  </a:cubicBezTo>
                  <a:lnTo>
                    <a:pt x="34211" y="463802"/>
                  </a:lnTo>
                  <a:lnTo>
                    <a:pt x="34211" y="459730"/>
                  </a:lnTo>
                  <a:cubicBezTo>
                    <a:pt x="34211" y="459730"/>
                    <a:pt x="31279" y="456960"/>
                    <a:pt x="31279" y="456960"/>
                  </a:cubicBezTo>
                  <a:lnTo>
                    <a:pt x="27369" y="454516"/>
                  </a:lnTo>
                  <a:lnTo>
                    <a:pt x="26228" y="449466"/>
                  </a:lnTo>
                  <a:lnTo>
                    <a:pt x="23785" y="448163"/>
                  </a:lnTo>
                  <a:lnTo>
                    <a:pt x="23296" y="444090"/>
                  </a:lnTo>
                  <a:lnTo>
                    <a:pt x="24599" y="439529"/>
                  </a:lnTo>
                  <a:lnTo>
                    <a:pt x="24111" y="437085"/>
                  </a:lnTo>
                  <a:lnTo>
                    <a:pt x="26554" y="434641"/>
                  </a:lnTo>
                  <a:lnTo>
                    <a:pt x="26065" y="431546"/>
                  </a:lnTo>
                  <a:lnTo>
                    <a:pt x="27857" y="428940"/>
                  </a:lnTo>
                  <a:lnTo>
                    <a:pt x="30138" y="430406"/>
                  </a:lnTo>
                  <a:lnTo>
                    <a:pt x="32419" y="434967"/>
                  </a:lnTo>
                  <a:lnTo>
                    <a:pt x="36655" y="437248"/>
                  </a:lnTo>
                  <a:lnTo>
                    <a:pt x="35025" y="434967"/>
                  </a:lnTo>
                  <a:lnTo>
                    <a:pt x="33396" y="431058"/>
                  </a:lnTo>
                  <a:lnTo>
                    <a:pt x="32745" y="424378"/>
                  </a:lnTo>
                  <a:lnTo>
                    <a:pt x="30790" y="422912"/>
                  </a:lnTo>
                  <a:lnTo>
                    <a:pt x="31116" y="419491"/>
                  </a:lnTo>
                  <a:lnTo>
                    <a:pt x="33396" y="419491"/>
                  </a:lnTo>
                  <a:lnTo>
                    <a:pt x="35188" y="421120"/>
                  </a:lnTo>
                  <a:lnTo>
                    <a:pt x="39587" y="419817"/>
                  </a:lnTo>
                  <a:lnTo>
                    <a:pt x="44148" y="418676"/>
                  </a:lnTo>
                  <a:lnTo>
                    <a:pt x="37632" y="417862"/>
                  </a:lnTo>
                  <a:lnTo>
                    <a:pt x="36329" y="416070"/>
                  </a:lnTo>
                  <a:lnTo>
                    <a:pt x="32256" y="416070"/>
                  </a:lnTo>
                  <a:cubicBezTo>
                    <a:pt x="32256" y="416070"/>
                    <a:pt x="31767" y="413789"/>
                    <a:pt x="31767" y="413789"/>
                  </a:cubicBezTo>
                  <a:lnTo>
                    <a:pt x="30464" y="414930"/>
                  </a:lnTo>
                  <a:lnTo>
                    <a:pt x="27206" y="412975"/>
                  </a:lnTo>
                  <a:lnTo>
                    <a:pt x="27206" y="418676"/>
                  </a:lnTo>
                  <a:cubicBezTo>
                    <a:pt x="27206" y="418676"/>
                    <a:pt x="27043" y="424215"/>
                    <a:pt x="27043" y="424215"/>
                  </a:cubicBezTo>
                  <a:lnTo>
                    <a:pt x="25740" y="423564"/>
                  </a:lnTo>
                  <a:lnTo>
                    <a:pt x="23785" y="423564"/>
                  </a:lnTo>
                  <a:cubicBezTo>
                    <a:pt x="23785" y="423564"/>
                    <a:pt x="22807" y="421120"/>
                    <a:pt x="22807" y="421120"/>
                  </a:cubicBezTo>
                  <a:lnTo>
                    <a:pt x="16943" y="415581"/>
                  </a:lnTo>
                  <a:lnTo>
                    <a:pt x="15639" y="411834"/>
                  </a:lnTo>
                  <a:lnTo>
                    <a:pt x="17106" y="408739"/>
                  </a:lnTo>
                  <a:lnTo>
                    <a:pt x="16291" y="403689"/>
                  </a:lnTo>
                  <a:lnTo>
                    <a:pt x="5539" y="387235"/>
                  </a:lnTo>
                  <a:lnTo>
                    <a:pt x="4398" y="384303"/>
                  </a:lnTo>
                  <a:lnTo>
                    <a:pt x="5376" y="381044"/>
                  </a:lnTo>
                  <a:lnTo>
                    <a:pt x="7657" y="377135"/>
                  </a:lnTo>
                  <a:lnTo>
                    <a:pt x="7168" y="371922"/>
                  </a:lnTo>
                  <a:lnTo>
                    <a:pt x="4887" y="367523"/>
                  </a:lnTo>
                  <a:lnTo>
                    <a:pt x="4887" y="365079"/>
                  </a:lnTo>
                  <a:lnTo>
                    <a:pt x="7820" y="360518"/>
                  </a:lnTo>
                  <a:lnTo>
                    <a:pt x="8797" y="354816"/>
                  </a:lnTo>
                  <a:lnTo>
                    <a:pt x="8471" y="344553"/>
                  </a:lnTo>
                  <a:lnTo>
                    <a:pt x="4398" y="335104"/>
                  </a:lnTo>
                  <a:lnTo>
                    <a:pt x="0" y="329076"/>
                  </a:lnTo>
                  <a:lnTo>
                    <a:pt x="0" y="323375"/>
                  </a:lnTo>
                  <a:lnTo>
                    <a:pt x="2769" y="317510"/>
                  </a:lnTo>
                  <a:lnTo>
                    <a:pt x="10263" y="312297"/>
                  </a:lnTo>
                  <a:lnTo>
                    <a:pt x="12870" y="305455"/>
                  </a:lnTo>
                  <a:lnTo>
                    <a:pt x="11241" y="304314"/>
                  </a:lnTo>
                  <a:lnTo>
                    <a:pt x="10589" y="301056"/>
                  </a:lnTo>
                  <a:lnTo>
                    <a:pt x="13359" y="298287"/>
                  </a:lnTo>
                  <a:lnTo>
                    <a:pt x="16128" y="292585"/>
                  </a:lnTo>
                  <a:lnTo>
                    <a:pt x="17268" y="282159"/>
                  </a:lnTo>
                  <a:lnTo>
                    <a:pt x="15476" y="275968"/>
                  </a:lnTo>
                  <a:lnTo>
                    <a:pt x="15476" y="271895"/>
                  </a:lnTo>
                  <a:cubicBezTo>
                    <a:pt x="15476" y="271895"/>
                    <a:pt x="17920" y="268963"/>
                    <a:pt x="17920" y="268963"/>
                  </a:cubicBezTo>
                  <a:lnTo>
                    <a:pt x="14499" y="263424"/>
                  </a:lnTo>
                  <a:lnTo>
                    <a:pt x="14825" y="256745"/>
                  </a:lnTo>
                  <a:lnTo>
                    <a:pt x="17431" y="246970"/>
                  </a:lnTo>
                  <a:lnTo>
                    <a:pt x="16617" y="237196"/>
                  </a:lnTo>
                  <a:lnTo>
                    <a:pt x="18409" y="232797"/>
                  </a:lnTo>
                  <a:lnTo>
                    <a:pt x="25088" y="224326"/>
                  </a:lnTo>
                  <a:lnTo>
                    <a:pt x="26554" y="219113"/>
                  </a:lnTo>
                  <a:lnTo>
                    <a:pt x="29161" y="216506"/>
                  </a:lnTo>
                  <a:lnTo>
                    <a:pt x="32093" y="208035"/>
                  </a:lnTo>
                  <a:lnTo>
                    <a:pt x="36818" y="202496"/>
                  </a:lnTo>
                  <a:lnTo>
                    <a:pt x="40076" y="195817"/>
                  </a:lnTo>
                  <a:lnTo>
                    <a:pt x="41868" y="182132"/>
                  </a:lnTo>
                  <a:lnTo>
                    <a:pt x="48221" y="169914"/>
                  </a:lnTo>
                  <a:lnTo>
                    <a:pt x="49361" y="158511"/>
                  </a:lnTo>
                  <a:lnTo>
                    <a:pt x="56367" y="143034"/>
                  </a:lnTo>
                  <a:lnTo>
                    <a:pt x="58973" y="137495"/>
                  </a:lnTo>
                  <a:lnTo>
                    <a:pt x="63046" y="130490"/>
                  </a:lnTo>
                  <a:lnTo>
                    <a:pt x="62557" y="126743"/>
                  </a:lnTo>
                  <a:lnTo>
                    <a:pt x="62557" y="122834"/>
                  </a:lnTo>
                  <a:lnTo>
                    <a:pt x="67770" y="116154"/>
                  </a:lnTo>
                  <a:lnTo>
                    <a:pt x="67770" y="112081"/>
                  </a:lnTo>
                  <a:cubicBezTo>
                    <a:pt x="67770" y="112081"/>
                    <a:pt x="69236" y="110778"/>
                    <a:pt x="69236" y="110778"/>
                  </a:cubicBezTo>
                  <a:lnTo>
                    <a:pt x="72169" y="113059"/>
                  </a:lnTo>
                  <a:lnTo>
                    <a:pt x="80803" y="113385"/>
                  </a:lnTo>
                  <a:lnTo>
                    <a:pt x="84550" y="115991"/>
                  </a:lnTo>
                  <a:lnTo>
                    <a:pt x="87645" y="115503"/>
                  </a:lnTo>
                  <a:lnTo>
                    <a:pt x="92207" y="118272"/>
                  </a:lnTo>
                  <a:lnTo>
                    <a:pt x="94650" y="123974"/>
                  </a:lnTo>
                  <a:lnTo>
                    <a:pt x="93673" y="117783"/>
                  </a:lnTo>
                  <a:lnTo>
                    <a:pt x="91066" y="114525"/>
                  </a:lnTo>
                  <a:lnTo>
                    <a:pt x="85690" y="113548"/>
                  </a:lnTo>
                  <a:lnTo>
                    <a:pt x="81455" y="110127"/>
                  </a:lnTo>
                  <a:lnTo>
                    <a:pt x="74449" y="109638"/>
                  </a:lnTo>
                  <a:lnTo>
                    <a:pt x="67444" y="107846"/>
                  </a:lnTo>
                  <a:lnTo>
                    <a:pt x="66956" y="105076"/>
                  </a:lnTo>
                  <a:lnTo>
                    <a:pt x="68748" y="103122"/>
                  </a:lnTo>
                  <a:lnTo>
                    <a:pt x="70377" y="103773"/>
                  </a:lnTo>
                  <a:lnTo>
                    <a:pt x="73309" y="100352"/>
                  </a:lnTo>
                  <a:lnTo>
                    <a:pt x="73309" y="95302"/>
                  </a:lnTo>
                  <a:cubicBezTo>
                    <a:pt x="73309" y="95302"/>
                    <a:pt x="74938" y="91392"/>
                    <a:pt x="74938" y="91392"/>
                  </a:cubicBezTo>
                  <a:lnTo>
                    <a:pt x="70865" y="89763"/>
                  </a:lnTo>
                  <a:lnTo>
                    <a:pt x="69073" y="87482"/>
                  </a:lnTo>
                  <a:lnTo>
                    <a:pt x="70377" y="83410"/>
                  </a:lnTo>
                  <a:lnTo>
                    <a:pt x="72983" y="83410"/>
                  </a:lnTo>
                  <a:lnTo>
                    <a:pt x="74938" y="80477"/>
                  </a:lnTo>
                  <a:lnTo>
                    <a:pt x="74612" y="78685"/>
                  </a:lnTo>
                  <a:lnTo>
                    <a:pt x="71354" y="77708"/>
                  </a:lnTo>
                  <a:lnTo>
                    <a:pt x="71028" y="74449"/>
                  </a:lnTo>
                  <a:lnTo>
                    <a:pt x="72169" y="67933"/>
                  </a:lnTo>
                  <a:lnTo>
                    <a:pt x="70865" y="61254"/>
                  </a:lnTo>
                  <a:lnTo>
                    <a:pt x="73472" y="48221"/>
                  </a:lnTo>
                  <a:lnTo>
                    <a:pt x="70703" y="38772"/>
                  </a:lnTo>
                  <a:lnTo>
                    <a:pt x="70703" y="34211"/>
                  </a:lnTo>
                  <a:cubicBezTo>
                    <a:pt x="70703" y="34211"/>
                    <a:pt x="74612" y="24762"/>
                    <a:pt x="74612" y="24762"/>
                  </a:cubicBezTo>
                  <a:lnTo>
                    <a:pt x="75264" y="19549"/>
                  </a:lnTo>
                  <a:lnTo>
                    <a:pt x="77056" y="19060"/>
                  </a:lnTo>
                  <a:lnTo>
                    <a:pt x="88785" y="29324"/>
                  </a:lnTo>
                  <a:lnTo>
                    <a:pt x="94976" y="33396"/>
                  </a:lnTo>
                  <a:lnTo>
                    <a:pt x="106380" y="34211"/>
                  </a:lnTo>
                  <a:lnTo>
                    <a:pt x="110452" y="36166"/>
                  </a:lnTo>
                  <a:lnTo>
                    <a:pt x="112896" y="40727"/>
                  </a:lnTo>
                  <a:lnTo>
                    <a:pt x="115340" y="39587"/>
                  </a:lnTo>
                  <a:lnTo>
                    <a:pt x="117783" y="39587"/>
                  </a:lnTo>
                  <a:cubicBezTo>
                    <a:pt x="117783" y="39587"/>
                    <a:pt x="119412" y="42845"/>
                    <a:pt x="119412" y="42845"/>
                  </a:cubicBezTo>
                  <a:lnTo>
                    <a:pt x="117946" y="45777"/>
                  </a:lnTo>
                  <a:lnTo>
                    <a:pt x="112570" y="47732"/>
                  </a:lnTo>
                  <a:lnTo>
                    <a:pt x="107846" y="52457"/>
                  </a:lnTo>
                  <a:lnTo>
                    <a:pt x="107846" y="55063"/>
                  </a:lnTo>
                  <a:cubicBezTo>
                    <a:pt x="107846" y="55063"/>
                    <a:pt x="111756" y="55063"/>
                    <a:pt x="111756" y="55063"/>
                  </a:cubicBezTo>
                  <a:lnTo>
                    <a:pt x="113548" y="51968"/>
                  </a:lnTo>
                  <a:lnTo>
                    <a:pt x="118924" y="47569"/>
                  </a:lnTo>
                  <a:lnTo>
                    <a:pt x="121530" y="47081"/>
                  </a:lnTo>
                  <a:lnTo>
                    <a:pt x="122019" y="51153"/>
                  </a:lnTo>
                  <a:lnTo>
                    <a:pt x="118109" y="54412"/>
                  </a:lnTo>
                  <a:lnTo>
                    <a:pt x="115177" y="60439"/>
                  </a:lnTo>
                  <a:lnTo>
                    <a:pt x="115177" y="66630"/>
                  </a:lnTo>
                  <a:cubicBezTo>
                    <a:pt x="115177" y="66630"/>
                    <a:pt x="113385" y="68422"/>
                    <a:pt x="113385" y="68422"/>
                  </a:cubicBezTo>
                  <a:lnTo>
                    <a:pt x="112733" y="64512"/>
                  </a:lnTo>
                  <a:lnTo>
                    <a:pt x="109475" y="67281"/>
                  </a:lnTo>
                  <a:lnTo>
                    <a:pt x="108335" y="65327"/>
                  </a:lnTo>
                  <a:lnTo>
                    <a:pt x="104588" y="69888"/>
                  </a:lnTo>
                  <a:lnTo>
                    <a:pt x="106054" y="72495"/>
                  </a:lnTo>
                  <a:lnTo>
                    <a:pt x="110289" y="74775"/>
                  </a:lnTo>
                  <a:lnTo>
                    <a:pt x="115828" y="71028"/>
                  </a:lnTo>
                  <a:lnTo>
                    <a:pt x="117457" y="66630"/>
                  </a:lnTo>
                  <a:lnTo>
                    <a:pt x="120227" y="63535"/>
                  </a:lnTo>
                  <a:lnTo>
                    <a:pt x="120227" y="57833"/>
                  </a:lnTo>
                  <a:cubicBezTo>
                    <a:pt x="120227" y="57833"/>
                    <a:pt x="123322" y="55226"/>
                    <a:pt x="123322" y="55226"/>
                  </a:cubicBezTo>
                  <a:lnTo>
                    <a:pt x="124788" y="48710"/>
                  </a:lnTo>
                  <a:lnTo>
                    <a:pt x="129024" y="45940"/>
                  </a:lnTo>
                  <a:lnTo>
                    <a:pt x="133260" y="40727"/>
                  </a:lnTo>
                  <a:lnTo>
                    <a:pt x="130816" y="37795"/>
                  </a:lnTo>
                  <a:lnTo>
                    <a:pt x="130490" y="34211"/>
                  </a:lnTo>
                  <a:lnTo>
                    <a:pt x="128861" y="32745"/>
                  </a:lnTo>
                  <a:lnTo>
                    <a:pt x="131794" y="28672"/>
                  </a:lnTo>
                  <a:lnTo>
                    <a:pt x="133423" y="26717"/>
                  </a:lnTo>
                  <a:lnTo>
                    <a:pt x="129676" y="24110"/>
                  </a:lnTo>
                  <a:lnTo>
                    <a:pt x="129024" y="19875"/>
                  </a:lnTo>
                  <a:lnTo>
                    <a:pt x="133423" y="16617"/>
                  </a:lnTo>
                  <a:lnTo>
                    <a:pt x="133911" y="13196"/>
                  </a:lnTo>
                  <a:lnTo>
                    <a:pt x="128372" y="9123"/>
                  </a:lnTo>
                  <a:lnTo>
                    <a:pt x="126418" y="0"/>
                  </a:lnTo>
                  <a:lnTo>
                    <a:pt x="126418" y="0"/>
                  </a:lnTo>
                  <a:close/>
                  <a:moveTo>
                    <a:pt x="1326243" y="365079"/>
                  </a:moveTo>
                  <a:lnTo>
                    <a:pt x="1327221" y="367034"/>
                  </a:lnTo>
                  <a:lnTo>
                    <a:pt x="1329990" y="367034"/>
                  </a:lnTo>
                  <a:cubicBezTo>
                    <a:pt x="1329990" y="367034"/>
                    <a:pt x="1332271" y="364591"/>
                    <a:pt x="1332271" y="364591"/>
                  </a:cubicBezTo>
                  <a:lnTo>
                    <a:pt x="1335855" y="364591"/>
                  </a:lnTo>
                  <a:cubicBezTo>
                    <a:pt x="1335855" y="364591"/>
                    <a:pt x="1333574" y="362147"/>
                    <a:pt x="1333574" y="362147"/>
                  </a:cubicBezTo>
                  <a:lnTo>
                    <a:pt x="1329339" y="362147"/>
                  </a:lnTo>
                  <a:cubicBezTo>
                    <a:pt x="1329339" y="362147"/>
                    <a:pt x="1328361" y="363613"/>
                    <a:pt x="1328361" y="363613"/>
                  </a:cubicBezTo>
                  <a:lnTo>
                    <a:pt x="1326406" y="365079"/>
                  </a:lnTo>
                  <a:lnTo>
                    <a:pt x="1326406" y="365079"/>
                  </a:lnTo>
                  <a:close/>
                  <a:moveTo>
                    <a:pt x="1248699" y="386095"/>
                  </a:moveTo>
                  <a:lnTo>
                    <a:pt x="1246581" y="388049"/>
                  </a:lnTo>
                  <a:lnTo>
                    <a:pt x="1250328" y="386909"/>
                  </a:lnTo>
                  <a:lnTo>
                    <a:pt x="1251957" y="385280"/>
                  </a:lnTo>
                  <a:lnTo>
                    <a:pt x="1257659" y="384954"/>
                  </a:lnTo>
                  <a:lnTo>
                    <a:pt x="1262872" y="383325"/>
                  </a:lnTo>
                  <a:lnTo>
                    <a:pt x="1271343" y="383325"/>
                  </a:lnTo>
                  <a:cubicBezTo>
                    <a:pt x="1271343" y="383325"/>
                    <a:pt x="1275253" y="380882"/>
                    <a:pt x="1275253" y="380882"/>
                  </a:cubicBezTo>
                  <a:lnTo>
                    <a:pt x="1282584" y="381207"/>
                  </a:lnTo>
                  <a:lnTo>
                    <a:pt x="1284376" y="379578"/>
                  </a:lnTo>
                  <a:lnTo>
                    <a:pt x="1286494" y="380067"/>
                  </a:lnTo>
                  <a:lnTo>
                    <a:pt x="1293336" y="377949"/>
                  </a:lnTo>
                  <a:lnTo>
                    <a:pt x="1296105" y="375343"/>
                  </a:lnTo>
                  <a:lnTo>
                    <a:pt x="1291870" y="376809"/>
                  </a:lnTo>
                  <a:lnTo>
                    <a:pt x="1289263" y="375668"/>
                  </a:lnTo>
                  <a:lnTo>
                    <a:pt x="1284376" y="377786"/>
                  </a:lnTo>
                  <a:lnTo>
                    <a:pt x="1286168" y="375180"/>
                  </a:lnTo>
                  <a:lnTo>
                    <a:pt x="1288123" y="372899"/>
                  </a:lnTo>
                  <a:lnTo>
                    <a:pt x="1288123" y="371596"/>
                  </a:lnTo>
                  <a:cubicBezTo>
                    <a:pt x="1288123" y="371596"/>
                    <a:pt x="1280792" y="375506"/>
                    <a:pt x="1280792" y="375506"/>
                  </a:cubicBezTo>
                  <a:lnTo>
                    <a:pt x="1272809" y="375506"/>
                  </a:lnTo>
                  <a:cubicBezTo>
                    <a:pt x="1272809" y="375506"/>
                    <a:pt x="1266293" y="377460"/>
                    <a:pt x="1266293" y="377460"/>
                  </a:cubicBezTo>
                  <a:lnTo>
                    <a:pt x="1260917" y="376157"/>
                  </a:lnTo>
                  <a:lnTo>
                    <a:pt x="1253586" y="379252"/>
                  </a:lnTo>
                  <a:lnTo>
                    <a:pt x="1247884" y="380067"/>
                  </a:lnTo>
                  <a:lnTo>
                    <a:pt x="1244952" y="383651"/>
                  </a:lnTo>
                  <a:lnTo>
                    <a:pt x="1245603" y="385932"/>
                  </a:lnTo>
                  <a:lnTo>
                    <a:pt x="1248862" y="385932"/>
                  </a:lnTo>
                  <a:close/>
                  <a:moveTo>
                    <a:pt x="123974" y="27043"/>
                  </a:moveTo>
                  <a:lnTo>
                    <a:pt x="119087" y="31279"/>
                  </a:lnTo>
                  <a:lnTo>
                    <a:pt x="119087" y="38284"/>
                  </a:lnTo>
                  <a:cubicBezTo>
                    <a:pt x="119087" y="38284"/>
                    <a:pt x="122508" y="45940"/>
                    <a:pt x="122508" y="45940"/>
                  </a:cubicBezTo>
                  <a:lnTo>
                    <a:pt x="124463" y="44311"/>
                  </a:lnTo>
                  <a:lnTo>
                    <a:pt x="121530" y="34863"/>
                  </a:lnTo>
                  <a:lnTo>
                    <a:pt x="122508" y="30627"/>
                  </a:lnTo>
                  <a:lnTo>
                    <a:pt x="125440" y="29487"/>
                  </a:lnTo>
                  <a:lnTo>
                    <a:pt x="123974" y="27206"/>
                  </a:lnTo>
                  <a:lnTo>
                    <a:pt x="123974" y="27206"/>
                  </a:lnTo>
                  <a:close/>
                  <a:moveTo>
                    <a:pt x="609117" y="773167"/>
                  </a:moveTo>
                  <a:lnTo>
                    <a:pt x="611235" y="771701"/>
                  </a:lnTo>
                  <a:lnTo>
                    <a:pt x="616611" y="765184"/>
                  </a:lnTo>
                  <a:lnTo>
                    <a:pt x="620358" y="760297"/>
                  </a:lnTo>
                  <a:lnTo>
                    <a:pt x="615145" y="764207"/>
                  </a:lnTo>
                  <a:lnTo>
                    <a:pt x="609280" y="773330"/>
                  </a:lnTo>
                  <a:lnTo>
                    <a:pt x="609280" y="773330"/>
                  </a:lnTo>
                  <a:close/>
                  <a:moveTo>
                    <a:pt x="603253" y="786525"/>
                  </a:moveTo>
                  <a:lnTo>
                    <a:pt x="605045" y="785385"/>
                  </a:lnTo>
                  <a:lnTo>
                    <a:pt x="607488" y="779031"/>
                  </a:lnTo>
                  <a:lnTo>
                    <a:pt x="607488" y="776588"/>
                  </a:lnTo>
                  <a:cubicBezTo>
                    <a:pt x="607488" y="776588"/>
                    <a:pt x="603416" y="786525"/>
                    <a:pt x="603416" y="786525"/>
                  </a:cubicBezTo>
                  <a:lnTo>
                    <a:pt x="603416" y="786525"/>
                  </a:lnTo>
                  <a:close/>
                  <a:moveTo>
                    <a:pt x="600972" y="821225"/>
                  </a:moveTo>
                  <a:lnTo>
                    <a:pt x="598528" y="812591"/>
                  </a:lnTo>
                  <a:lnTo>
                    <a:pt x="599180" y="801187"/>
                  </a:lnTo>
                  <a:lnTo>
                    <a:pt x="602275" y="788969"/>
                  </a:lnTo>
                  <a:lnTo>
                    <a:pt x="597714" y="800373"/>
                  </a:lnTo>
                  <a:lnTo>
                    <a:pt x="597225" y="811939"/>
                  </a:lnTo>
                  <a:cubicBezTo>
                    <a:pt x="597225" y="811939"/>
                    <a:pt x="601135" y="821225"/>
                    <a:pt x="600972" y="821225"/>
                  </a:cubicBezTo>
                  <a:close/>
                </a:path>
              </a:pathLst>
            </a:custGeom>
            <a:solidFill>
              <a:schemeClr val="bg2"/>
            </a:solidFill>
            <a:ln w="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57" name="Forma livre: Forma 56">
              <a:extLst>
                <a:ext uri="{FF2B5EF4-FFF2-40B4-BE49-F238E27FC236}">
                  <a16:creationId xmlns:a16="http://schemas.microsoft.com/office/drawing/2014/main" id="{08D96622-E386-DA30-D297-9AE8DC24028F}"/>
                </a:ext>
              </a:extLst>
            </p:cNvPr>
            <p:cNvSpPr/>
            <p:nvPr/>
          </p:nvSpPr>
          <p:spPr>
            <a:xfrm>
              <a:off x="3817681" y="4700975"/>
              <a:ext cx="146632" cy="67004"/>
            </a:xfrm>
            <a:custGeom>
              <a:avLst/>
              <a:gdLst>
                <a:gd name="connsiteX0" fmla="*/ 127395 w 141893"/>
                <a:gd name="connsiteY0" fmla="*/ 62069 h 64838"/>
                <a:gd name="connsiteX1" fmla="*/ 122182 w 141893"/>
                <a:gd name="connsiteY1" fmla="*/ 57344 h 64838"/>
                <a:gd name="connsiteX2" fmla="*/ 116480 w 141893"/>
                <a:gd name="connsiteY2" fmla="*/ 49361 h 64838"/>
                <a:gd name="connsiteX3" fmla="*/ 114362 w 141893"/>
                <a:gd name="connsiteY3" fmla="*/ 42682 h 64838"/>
                <a:gd name="connsiteX4" fmla="*/ 116317 w 141893"/>
                <a:gd name="connsiteY4" fmla="*/ 40727 h 64838"/>
                <a:gd name="connsiteX5" fmla="*/ 120553 w 141893"/>
                <a:gd name="connsiteY5" fmla="*/ 34374 h 64838"/>
                <a:gd name="connsiteX6" fmla="*/ 123159 w 141893"/>
                <a:gd name="connsiteY6" fmla="*/ 34048 h 64838"/>
                <a:gd name="connsiteX7" fmla="*/ 125277 w 141893"/>
                <a:gd name="connsiteY7" fmla="*/ 31767 h 64838"/>
                <a:gd name="connsiteX8" fmla="*/ 124137 w 141893"/>
                <a:gd name="connsiteY8" fmla="*/ 28183 h 64838"/>
                <a:gd name="connsiteX9" fmla="*/ 121367 w 141893"/>
                <a:gd name="connsiteY9" fmla="*/ 28346 h 64838"/>
                <a:gd name="connsiteX10" fmla="*/ 117946 w 141893"/>
                <a:gd name="connsiteY10" fmla="*/ 32256 h 64838"/>
                <a:gd name="connsiteX11" fmla="*/ 116480 w 141893"/>
                <a:gd name="connsiteY11" fmla="*/ 33559 h 64838"/>
                <a:gd name="connsiteX12" fmla="*/ 113711 w 141893"/>
                <a:gd name="connsiteY12" fmla="*/ 31442 h 64838"/>
                <a:gd name="connsiteX13" fmla="*/ 111919 w 141893"/>
                <a:gd name="connsiteY13" fmla="*/ 26717 h 64838"/>
                <a:gd name="connsiteX14" fmla="*/ 107520 w 141893"/>
                <a:gd name="connsiteY14" fmla="*/ 20690 h 64838"/>
                <a:gd name="connsiteX15" fmla="*/ 104099 w 141893"/>
                <a:gd name="connsiteY15" fmla="*/ 20201 h 64838"/>
                <a:gd name="connsiteX16" fmla="*/ 99538 w 141893"/>
                <a:gd name="connsiteY16" fmla="*/ 15639 h 64838"/>
                <a:gd name="connsiteX17" fmla="*/ 96279 w 141893"/>
                <a:gd name="connsiteY17" fmla="*/ 13847 h 64838"/>
                <a:gd name="connsiteX18" fmla="*/ 90089 w 141893"/>
                <a:gd name="connsiteY18" fmla="*/ 14336 h 64838"/>
                <a:gd name="connsiteX19" fmla="*/ 82432 w 141893"/>
                <a:gd name="connsiteY19" fmla="*/ 18409 h 64838"/>
                <a:gd name="connsiteX20" fmla="*/ 81943 w 141893"/>
                <a:gd name="connsiteY20" fmla="*/ 23296 h 64838"/>
                <a:gd name="connsiteX21" fmla="*/ 83409 w 141893"/>
                <a:gd name="connsiteY21" fmla="*/ 24599 h 64838"/>
                <a:gd name="connsiteX22" fmla="*/ 83572 w 141893"/>
                <a:gd name="connsiteY22" fmla="*/ 27043 h 64838"/>
                <a:gd name="connsiteX23" fmla="*/ 76404 w 141893"/>
                <a:gd name="connsiteY23" fmla="*/ 33559 h 64838"/>
                <a:gd name="connsiteX24" fmla="*/ 68422 w 141893"/>
                <a:gd name="connsiteY24" fmla="*/ 35351 h 64838"/>
                <a:gd name="connsiteX25" fmla="*/ 64186 w 141893"/>
                <a:gd name="connsiteY25" fmla="*/ 37469 h 64838"/>
                <a:gd name="connsiteX26" fmla="*/ 63372 w 141893"/>
                <a:gd name="connsiteY26" fmla="*/ 40402 h 64838"/>
                <a:gd name="connsiteX27" fmla="*/ 65326 w 141893"/>
                <a:gd name="connsiteY27" fmla="*/ 44474 h 64838"/>
                <a:gd name="connsiteX28" fmla="*/ 69562 w 141893"/>
                <a:gd name="connsiteY28" fmla="*/ 47569 h 64838"/>
                <a:gd name="connsiteX29" fmla="*/ 73472 w 141893"/>
                <a:gd name="connsiteY29" fmla="*/ 51153 h 64838"/>
                <a:gd name="connsiteX30" fmla="*/ 73146 w 141893"/>
                <a:gd name="connsiteY30" fmla="*/ 56204 h 64838"/>
                <a:gd name="connsiteX31" fmla="*/ 70540 w 141893"/>
                <a:gd name="connsiteY31" fmla="*/ 57181 h 64838"/>
                <a:gd name="connsiteX32" fmla="*/ 65978 w 141893"/>
                <a:gd name="connsiteY32" fmla="*/ 56367 h 64838"/>
                <a:gd name="connsiteX33" fmla="*/ 62394 w 141893"/>
                <a:gd name="connsiteY33" fmla="*/ 59951 h 64838"/>
                <a:gd name="connsiteX34" fmla="*/ 59299 w 141893"/>
                <a:gd name="connsiteY34" fmla="*/ 64838 h 64838"/>
                <a:gd name="connsiteX35" fmla="*/ 52131 w 141893"/>
                <a:gd name="connsiteY35" fmla="*/ 63698 h 64838"/>
                <a:gd name="connsiteX36" fmla="*/ 50502 w 141893"/>
                <a:gd name="connsiteY36" fmla="*/ 60765 h 64838"/>
                <a:gd name="connsiteX37" fmla="*/ 51479 w 141893"/>
                <a:gd name="connsiteY37" fmla="*/ 57181 h 64838"/>
                <a:gd name="connsiteX38" fmla="*/ 50176 w 141893"/>
                <a:gd name="connsiteY38" fmla="*/ 51968 h 64838"/>
                <a:gd name="connsiteX39" fmla="*/ 50991 w 141893"/>
                <a:gd name="connsiteY39" fmla="*/ 49199 h 64838"/>
                <a:gd name="connsiteX40" fmla="*/ 49524 w 141893"/>
                <a:gd name="connsiteY40" fmla="*/ 47081 h 64838"/>
                <a:gd name="connsiteX41" fmla="*/ 46103 w 141893"/>
                <a:gd name="connsiteY41" fmla="*/ 46429 h 64838"/>
                <a:gd name="connsiteX42" fmla="*/ 44474 w 141893"/>
                <a:gd name="connsiteY42" fmla="*/ 49199 h 64838"/>
                <a:gd name="connsiteX43" fmla="*/ 46103 w 141893"/>
                <a:gd name="connsiteY43" fmla="*/ 51153 h 64838"/>
                <a:gd name="connsiteX44" fmla="*/ 44637 w 141893"/>
                <a:gd name="connsiteY44" fmla="*/ 54086 h 64838"/>
                <a:gd name="connsiteX45" fmla="*/ 40401 w 141893"/>
                <a:gd name="connsiteY45" fmla="*/ 54412 h 64838"/>
                <a:gd name="connsiteX46" fmla="*/ 36329 w 141893"/>
                <a:gd name="connsiteY46" fmla="*/ 51968 h 64838"/>
                <a:gd name="connsiteX47" fmla="*/ 33071 w 141893"/>
                <a:gd name="connsiteY47" fmla="*/ 45289 h 64838"/>
                <a:gd name="connsiteX48" fmla="*/ 31930 w 141893"/>
                <a:gd name="connsiteY48" fmla="*/ 38772 h 64838"/>
                <a:gd name="connsiteX49" fmla="*/ 22482 w 141893"/>
                <a:gd name="connsiteY49" fmla="*/ 37469 h 64838"/>
                <a:gd name="connsiteX50" fmla="*/ 19712 w 141893"/>
                <a:gd name="connsiteY50" fmla="*/ 36655 h 64838"/>
                <a:gd name="connsiteX51" fmla="*/ 19875 w 141893"/>
                <a:gd name="connsiteY51" fmla="*/ 34863 h 64838"/>
                <a:gd name="connsiteX52" fmla="*/ 17757 w 141893"/>
                <a:gd name="connsiteY52" fmla="*/ 32419 h 64838"/>
                <a:gd name="connsiteX53" fmla="*/ 15314 w 141893"/>
                <a:gd name="connsiteY53" fmla="*/ 34211 h 64838"/>
                <a:gd name="connsiteX54" fmla="*/ 10589 w 141893"/>
                <a:gd name="connsiteY54" fmla="*/ 35026 h 64838"/>
                <a:gd name="connsiteX55" fmla="*/ 6353 w 141893"/>
                <a:gd name="connsiteY55" fmla="*/ 34211 h 64838"/>
                <a:gd name="connsiteX56" fmla="*/ 2607 w 141893"/>
                <a:gd name="connsiteY56" fmla="*/ 34700 h 64838"/>
                <a:gd name="connsiteX57" fmla="*/ 977 w 141893"/>
                <a:gd name="connsiteY57" fmla="*/ 32093 h 64838"/>
                <a:gd name="connsiteX58" fmla="*/ 815 w 141893"/>
                <a:gd name="connsiteY58" fmla="*/ 29487 h 64838"/>
                <a:gd name="connsiteX59" fmla="*/ 1955 w 141893"/>
                <a:gd name="connsiteY59" fmla="*/ 25414 h 64838"/>
                <a:gd name="connsiteX60" fmla="*/ 6028 w 141893"/>
                <a:gd name="connsiteY60" fmla="*/ 22319 h 64838"/>
                <a:gd name="connsiteX61" fmla="*/ 2932 w 141893"/>
                <a:gd name="connsiteY61" fmla="*/ 17920 h 64838"/>
                <a:gd name="connsiteX62" fmla="*/ 0 w 141893"/>
                <a:gd name="connsiteY62" fmla="*/ 16943 h 64838"/>
                <a:gd name="connsiteX63" fmla="*/ 652 w 141893"/>
                <a:gd name="connsiteY63" fmla="*/ 12870 h 64838"/>
                <a:gd name="connsiteX64" fmla="*/ 3747 w 141893"/>
                <a:gd name="connsiteY64" fmla="*/ 9449 h 64838"/>
                <a:gd name="connsiteX65" fmla="*/ 3584 w 141893"/>
                <a:gd name="connsiteY65" fmla="*/ 5050 h 64838"/>
                <a:gd name="connsiteX66" fmla="*/ 6028 w 141893"/>
                <a:gd name="connsiteY66" fmla="*/ 3258 h 64838"/>
                <a:gd name="connsiteX67" fmla="*/ 10589 w 141893"/>
                <a:gd name="connsiteY67" fmla="*/ 3584 h 64838"/>
                <a:gd name="connsiteX68" fmla="*/ 11566 w 141893"/>
                <a:gd name="connsiteY68" fmla="*/ 6353 h 64838"/>
                <a:gd name="connsiteX69" fmla="*/ 14336 w 141893"/>
                <a:gd name="connsiteY69" fmla="*/ 9286 h 64838"/>
                <a:gd name="connsiteX70" fmla="*/ 17431 w 141893"/>
                <a:gd name="connsiteY70" fmla="*/ 10263 h 64838"/>
                <a:gd name="connsiteX71" fmla="*/ 19549 w 141893"/>
                <a:gd name="connsiteY71" fmla="*/ 10101 h 64838"/>
                <a:gd name="connsiteX72" fmla="*/ 20852 w 141893"/>
                <a:gd name="connsiteY72" fmla="*/ 11729 h 64838"/>
                <a:gd name="connsiteX73" fmla="*/ 19060 w 141893"/>
                <a:gd name="connsiteY73" fmla="*/ 12218 h 64838"/>
                <a:gd name="connsiteX74" fmla="*/ 18083 w 141893"/>
                <a:gd name="connsiteY74" fmla="*/ 13359 h 64838"/>
                <a:gd name="connsiteX75" fmla="*/ 19386 w 141893"/>
                <a:gd name="connsiteY75" fmla="*/ 15313 h 64838"/>
                <a:gd name="connsiteX76" fmla="*/ 23622 w 141893"/>
                <a:gd name="connsiteY76" fmla="*/ 17594 h 64838"/>
                <a:gd name="connsiteX77" fmla="*/ 27695 w 141893"/>
                <a:gd name="connsiteY77" fmla="*/ 16780 h 64838"/>
                <a:gd name="connsiteX78" fmla="*/ 27695 w 141893"/>
                <a:gd name="connsiteY78" fmla="*/ 14173 h 64838"/>
                <a:gd name="connsiteX79" fmla="*/ 24762 w 141893"/>
                <a:gd name="connsiteY79" fmla="*/ 12381 h 64838"/>
                <a:gd name="connsiteX80" fmla="*/ 26228 w 141893"/>
                <a:gd name="connsiteY80" fmla="*/ 11078 h 64838"/>
                <a:gd name="connsiteX81" fmla="*/ 32093 w 141893"/>
                <a:gd name="connsiteY81" fmla="*/ 13847 h 64838"/>
                <a:gd name="connsiteX82" fmla="*/ 40890 w 141893"/>
                <a:gd name="connsiteY82" fmla="*/ 19875 h 64838"/>
                <a:gd name="connsiteX83" fmla="*/ 49199 w 141893"/>
                <a:gd name="connsiteY83" fmla="*/ 20364 h 64838"/>
                <a:gd name="connsiteX84" fmla="*/ 53597 w 141893"/>
                <a:gd name="connsiteY84" fmla="*/ 19712 h 64838"/>
                <a:gd name="connsiteX85" fmla="*/ 58322 w 141893"/>
                <a:gd name="connsiteY85" fmla="*/ 15313 h 64838"/>
                <a:gd name="connsiteX86" fmla="*/ 73961 w 141893"/>
                <a:gd name="connsiteY86" fmla="*/ 7331 h 64838"/>
                <a:gd name="connsiteX87" fmla="*/ 81617 w 141893"/>
                <a:gd name="connsiteY87" fmla="*/ 5539 h 64838"/>
                <a:gd name="connsiteX88" fmla="*/ 88785 w 141893"/>
                <a:gd name="connsiteY88" fmla="*/ 326 h 64838"/>
                <a:gd name="connsiteX89" fmla="*/ 91392 w 141893"/>
                <a:gd name="connsiteY89" fmla="*/ 0 h 64838"/>
                <a:gd name="connsiteX90" fmla="*/ 95302 w 141893"/>
                <a:gd name="connsiteY90" fmla="*/ 1629 h 64838"/>
                <a:gd name="connsiteX91" fmla="*/ 96768 w 141893"/>
                <a:gd name="connsiteY91" fmla="*/ 4073 h 64838"/>
                <a:gd name="connsiteX92" fmla="*/ 100515 w 141893"/>
                <a:gd name="connsiteY92" fmla="*/ 5050 h 64838"/>
                <a:gd name="connsiteX93" fmla="*/ 111756 w 141893"/>
                <a:gd name="connsiteY93" fmla="*/ 5050 h 64838"/>
                <a:gd name="connsiteX94" fmla="*/ 117946 w 141893"/>
                <a:gd name="connsiteY94" fmla="*/ 6517 h 64838"/>
                <a:gd name="connsiteX95" fmla="*/ 128698 w 141893"/>
                <a:gd name="connsiteY95" fmla="*/ 12707 h 64838"/>
                <a:gd name="connsiteX96" fmla="*/ 133260 w 141893"/>
                <a:gd name="connsiteY96" fmla="*/ 18083 h 64838"/>
                <a:gd name="connsiteX97" fmla="*/ 134237 w 141893"/>
                <a:gd name="connsiteY97" fmla="*/ 20852 h 64838"/>
                <a:gd name="connsiteX98" fmla="*/ 137658 w 141893"/>
                <a:gd name="connsiteY98" fmla="*/ 22807 h 64838"/>
                <a:gd name="connsiteX99" fmla="*/ 139776 w 141893"/>
                <a:gd name="connsiteY99" fmla="*/ 24762 h 64838"/>
                <a:gd name="connsiteX100" fmla="*/ 138636 w 141893"/>
                <a:gd name="connsiteY100" fmla="*/ 29161 h 64838"/>
                <a:gd name="connsiteX101" fmla="*/ 139450 w 141893"/>
                <a:gd name="connsiteY101" fmla="*/ 32582 h 64838"/>
                <a:gd name="connsiteX102" fmla="*/ 141894 w 141893"/>
                <a:gd name="connsiteY102" fmla="*/ 38935 h 64838"/>
                <a:gd name="connsiteX103" fmla="*/ 138147 w 141893"/>
                <a:gd name="connsiteY103" fmla="*/ 45452 h 64838"/>
                <a:gd name="connsiteX104" fmla="*/ 136355 w 141893"/>
                <a:gd name="connsiteY104" fmla="*/ 51642 h 64838"/>
                <a:gd name="connsiteX105" fmla="*/ 133260 w 141893"/>
                <a:gd name="connsiteY105" fmla="*/ 54086 h 64838"/>
                <a:gd name="connsiteX106" fmla="*/ 130816 w 141893"/>
                <a:gd name="connsiteY106" fmla="*/ 54412 h 64838"/>
                <a:gd name="connsiteX107" fmla="*/ 127395 w 141893"/>
                <a:gd name="connsiteY107" fmla="*/ 62069 h 648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</a:cxnLst>
              <a:rect l="l" t="t" r="r" b="b"/>
              <a:pathLst>
                <a:path w="141893" h="64838">
                  <a:moveTo>
                    <a:pt x="127395" y="62069"/>
                  </a:moveTo>
                  <a:lnTo>
                    <a:pt x="122182" y="57344"/>
                  </a:lnTo>
                  <a:lnTo>
                    <a:pt x="116480" y="49361"/>
                  </a:lnTo>
                  <a:lnTo>
                    <a:pt x="114362" y="42682"/>
                  </a:lnTo>
                  <a:lnTo>
                    <a:pt x="116317" y="40727"/>
                  </a:lnTo>
                  <a:lnTo>
                    <a:pt x="120553" y="34374"/>
                  </a:lnTo>
                  <a:lnTo>
                    <a:pt x="123159" y="34048"/>
                  </a:lnTo>
                  <a:lnTo>
                    <a:pt x="125277" y="31767"/>
                  </a:lnTo>
                  <a:lnTo>
                    <a:pt x="124137" y="28183"/>
                  </a:lnTo>
                  <a:lnTo>
                    <a:pt x="121367" y="28346"/>
                  </a:lnTo>
                  <a:lnTo>
                    <a:pt x="117946" y="32256"/>
                  </a:lnTo>
                  <a:lnTo>
                    <a:pt x="116480" y="33559"/>
                  </a:lnTo>
                  <a:lnTo>
                    <a:pt x="113711" y="31442"/>
                  </a:lnTo>
                  <a:lnTo>
                    <a:pt x="111919" y="26717"/>
                  </a:lnTo>
                  <a:lnTo>
                    <a:pt x="107520" y="20690"/>
                  </a:lnTo>
                  <a:lnTo>
                    <a:pt x="104099" y="20201"/>
                  </a:lnTo>
                  <a:lnTo>
                    <a:pt x="99538" y="15639"/>
                  </a:lnTo>
                  <a:lnTo>
                    <a:pt x="96279" y="13847"/>
                  </a:lnTo>
                  <a:lnTo>
                    <a:pt x="90089" y="14336"/>
                  </a:lnTo>
                  <a:lnTo>
                    <a:pt x="82432" y="18409"/>
                  </a:lnTo>
                  <a:lnTo>
                    <a:pt x="81943" y="23296"/>
                  </a:lnTo>
                  <a:lnTo>
                    <a:pt x="83409" y="24599"/>
                  </a:lnTo>
                  <a:lnTo>
                    <a:pt x="83572" y="27043"/>
                  </a:lnTo>
                  <a:lnTo>
                    <a:pt x="76404" y="33559"/>
                  </a:lnTo>
                  <a:lnTo>
                    <a:pt x="68422" y="35351"/>
                  </a:lnTo>
                  <a:lnTo>
                    <a:pt x="64186" y="37469"/>
                  </a:lnTo>
                  <a:lnTo>
                    <a:pt x="63372" y="40402"/>
                  </a:lnTo>
                  <a:lnTo>
                    <a:pt x="65326" y="44474"/>
                  </a:lnTo>
                  <a:lnTo>
                    <a:pt x="69562" y="47569"/>
                  </a:lnTo>
                  <a:lnTo>
                    <a:pt x="73472" y="51153"/>
                  </a:lnTo>
                  <a:lnTo>
                    <a:pt x="73146" y="56204"/>
                  </a:lnTo>
                  <a:lnTo>
                    <a:pt x="70540" y="57181"/>
                  </a:lnTo>
                  <a:lnTo>
                    <a:pt x="65978" y="56367"/>
                  </a:lnTo>
                  <a:lnTo>
                    <a:pt x="62394" y="59951"/>
                  </a:lnTo>
                  <a:lnTo>
                    <a:pt x="59299" y="64838"/>
                  </a:lnTo>
                  <a:lnTo>
                    <a:pt x="52131" y="63698"/>
                  </a:lnTo>
                  <a:lnTo>
                    <a:pt x="50502" y="60765"/>
                  </a:lnTo>
                  <a:lnTo>
                    <a:pt x="51479" y="57181"/>
                  </a:lnTo>
                  <a:lnTo>
                    <a:pt x="50176" y="51968"/>
                  </a:lnTo>
                  <a:lnTo>
                    <a:pt x="50991" y="49199"/>
                  </a:lnTo>
                  <a:lnTo>
                    <a:pt x="49524" y="47081"/>
                  </a:lnTo>
                  <a:lnTo>
                    <a:pt x="46103" y="46429"/>
                  </a:lnTo>
                  <a:lnTo>
                    <a:pt x="44474" y="49199"/>
                  </a:lnTo>
                  <a:lnTo>
                    <a:pt x="46103" y="51153"/>
                  </a:lnTo>
                  <a:lnTo>
                    <a:pt x="44637" y="54086"/>
                  </a:lnTo>
                  <a:lnTo>
                    <a:pt x="40401" y="54412"/>
                  </a:lnTo>
                  <a:lnTo>
                    <a:pt x="36329" y="51968"/>
                  </a:lnTo>
                  <a:lnTo>
                    <a:pt x="33071" y="45289"/>
                  </a:lnTo>
                  <a:lnTo>
                    <a:pt x="31930" y="38772"/>
                  </a:lnTo>
                  <a:lnTo>
                    <a:pt x="22482" y="37469"/>
                  </a:lnTo>
                  <a:lnTo>
                    <a:pt x="19712" y="36655"/>
                  </a:lnTo>
                  <a:lnTo>
                    <a:pt x="19875" y="34863"/>
                  </a:lnTo>
                  <a:lnTo>
                    <a:pt x="17757" y="32419"/>
                  </a:lnTo>
                  <a:lnTo>
                    <a:pt x="15314" y="34211"/>
                  </a:lnTo>
                  <a:lnTo>
                    <a:pt x="10589" y="35026"/>
                  </a:lnTo>
                  <a:lnTo>
                    <a:pt x="6353" y="34211"/>
                  </a:lnTo>
                  <a:lnTo>
                    <a:pt x="2607" y="34700"/>
                  </a:lnTo>
                  <a:lnTo>
                    <a:pt x="977" y="32093"/>
                  </a:lnTo>
                  <a:lnTo>
                    <a:pt x="815" y="29487"/>
                  </a:lnTo>
                  <a:lnTo>
                    <a:pt x="1955" y="25414"/>
                  </a:lnTo>
                  <a:lnTo>
                    <a:pt x="6028" y="22319"/>
                  </a:lnTo>
                  <a:lnTo>
                    <a:pt x="2932" y="17920"/>
                  </a:lnTo>
                  <a:lnTo>
                    <a:pt x="0" y="16943"/>
                  </a:lnTo>
                  <a:lnTo>
                    <a:pt x="652" y="12870"/>
                  </a:lnTo>
                  <a:lnTo>
                    <a:pt x="3747" y="9449"/>
                  </a:lnTo>
                  <a:lnTo>
                    <a:pt x="3584" y="5050"/>
                  </a:lnTo>
                  <a:lnTo>
                    <a:pt x="6028" y="3258"/>
                  </a:lnTo>
                  <a:lnTo>
                    <a:pt x="10589" y="3584"/>
                  </a:lnTo>
                  <a:lnTo>
                    <a:pt x="11566" y="6353"/>
                  </a:lnTo>
                  <a:lnTo>
                    <a:pt x="14336" y="9286"/>
                  </a:lnTo>
                  <a:lnTo>
                    <a:pt x="17431" y="10263"/>
                  </a:lnTo>
                  <a:lnTo>
                    <a:pt x="19549" y="10101"/>
                  </a:lnTo>
                  <a:lnTo>
                    <a:pt x="20852" y="11729"/>
                  </a:lnTo>
                  <a:lnTo>
                    <a:pt x="19060" y="12218"/>
                  </a:lnTo>
                  <a:lnTo>
                    <a:pt x="18083" y="13359"/>
                  </a:lnTo>
                  <a:lnTo>
                    <a:pt x="19386" y="15313"/>
                  </a:lnTo>
                  <a:lnTo>
                    <a:pt x="23622" y="17594"/>
                  </a:lnTo>
                  <a:lnTo>
                    <a:pt x="27695" y="16780"/>
                  </a:lnTo>
                  <a:lnTo>
                    <a:pt x="27695" y="14173"/>
                  </a:lnTo>
                  <a:lnTo>
                    <a:pt x="24762" y="12381"/>
                  </a:lnTo>
                  <a:lnTo>
                    <a:pt x="26228" y="11078"/>
                  </a:lnTo>
                  <a:lnTo>
                    <a:pt x="32093" y="13847"/>
                  </a:lnTo>
                  <a:lnTo>
                    <a:pt x="40890" y="19875"/>
                  </a:lnTo>
                  <a:lnTo>
                    <a:pt x="49199" y="20364"/>
                  </a:lnTo>
                  <a:lnTo>
                    <a:pt x="53597" y="19712"/>
                  </a:lnTo>
                  <a:lnTo>
                    <a:pt x="58322" y="15313"/>
                  </a:lnTo>
                  <a:lnTo>
                    <a:pt x="73961" y="7331"/>
                  </a:lnTo>
                  <a:lnTo>
                    <a:pt x="81617" y="5539"/>
                  </a:lnTo>
                  <a:lnTo>
                    <a:pt x="88785" y="326"/>
                  </a:lnTo>
                  <a:lnTo>
                    <a:pt x="91392" y="0"/>
                  </a:lnTo>
                  <a:lnTo>
                    <a:pt x="95302" y="1629"/>
                  </a:lnTo>
                  <a:lnTo>
                    <a:pt x="96768" y="4073"/>
                  </a:lnTo>
                  <a:lnTo>
                    <a:pt x="100515" y="5050"/>
                  </a:lnTo>
                  <a:lnTo>
                    <a:pt x="111756" y="5050"/>
                  </a:lnTo>
                  <a:lnTo>
                    <a:pt x="117946" y="6517"/>
                  </a:lnTo>
                  <a:lnTo>
                    <a:pt x="128698" y="12707"/>
                  </a:lnTo>
                  <a:lnTo>
                    <a:pt x="133260" y="18083"/>
                  </a:lnTo>
                  <a:lnTo>
                    <a:pt x="134237" y="20852"/>
                  </a:lnTo>
                  <a:lnTo>
                    <a:pt x="137658" y="22807"/>
                  </a:lnTo>
                  <a:lnTo>
                    <a:pt x="139776" y="24762"/>
                  </a:lnTo>
                  <a:lnTo>
                    <a:pt x="138636" y="29161"/>
                  </a:lnTo>
                  <a:lnTo>
                    <a:pt x="139450" y="32582"/>
                  </a:lnTo>
                  <a:lnTo>
                    <a:pt x="141894" y="38935"/>
                  </a:lnTo>
                  <a:lnTo>
                    <a:pt x="138147" y="45452"/>
                  </a:lnTo>
                  <a:lnTo>
                    <a:pt x="136355" y="51642"/>
                  </a:lnTo>
                  <a:lnTo>
                    <a:pt x="133260" y="54086"/>
                  </a:lnTo>
                  <a:lnTo>
                    <a:pt x="130816" y="54412"/>
                  </a:lnTo>
                  <a:lnTo>
                    <a:pt x="127395" y="62069"/>
                  </a:lnTo>
                  <a:close/>
                </a:path>
              </a:pathLst>
            </a:custGeom>
            <a:solidFill>
              <a:schemeClr val="bg2"/>
            </a:solidFill>
            <a:ln w="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58" name="Forma livre: Forma 57">
              <a:extLst>
                <a:ext uri="{FF2B5EF4-FFF2-40B4-BE49-F238E27FC236}">
                  <a16:creationId xmlns:a16="http://schemas.microsoft.com/office/drawing/2014/main" id="{339C9D7B-DD4B-7D87-F053-B6FFB5E52821}"/>
                </a:ext>
              </a:extLst>
            </p:cNvPr>
            <p:cNvSpPr/>
            <p:nvPr/>
          </p:nvSpPr>
          <p:spPr>
            <a:xfrm>
              <a:off x="3739566" y="4657877"/>
              <a:ext cx="89056" cy="84680"/>
            </a:xfrm>
            <a:custGeom>
              <a:avLst/>
              <a:gdLst>
                <a:gd name="connsiteX0" fmla="*/ 76730 w 86178"/>
                <a:gd name="connsiteY0" fmla="*/ 74287 h 81943"/>
                <a:gd name="connsiteX1" fmla="*/ 76567 w 86178"/>
                <a:gd name="connsiteY1" fmla="*/ 73798 h 81943"/>
                <a:gd name="connsiteX2" fmla="*/ 78196 w 86178"/>
                <a:gd name="connsiteY2" fmla="*/ 76404 h 81943"/>
                <a:gd name="connsiteX3" fmla="*/ 77545 w 86178"/>
                <a:gd name="connsiteY3" fmla="*/ 76404 h 81943"/>
                <a:gd name="connsiteX4" fmla="*/ 77871 w 86178"/>
                <a:gd name="connsiteY4" fmla="*/ 79337 h 81943"/>
                <a:gd name="connsiteX5" fmla="*/ 77056 w 86178"/>
                <a:gd name="connsiteY5" fmla="*/ 81943 h 81943"/>
                <a:gd name="connsiteX6" fmla="*/ 73798 w 86178"/>
                <a:gd name="connsiteY6" fmla="*/ 81780 h 81943"/>
                <a:gd name="connsiteX7" fmla="*/ 72006 w 86178"/>
                <a:gd name="connsiteY7" fmla="*/ 79663 h 81943"/>
                <a:gd name="connsiteX8" fmla="*/ 70540 w 86178"/>
                <a:gd name="connsiteY8" fmla="*/ 78848 h 81943"/>
                <a:gd name="connsiteX9" fmla="*/ 68748 w 86178"/>
                <a:gd name="connsiteY9" fmla="*/ 77871 h 81943"/>
                <a:gd name="connsiteX10" fmla="*/ 69073 w 86178"/>
                <a:gd name="connsiteY10" fmla="*/ 73309 h 81943"/>
                <a:gd name="connsiteX11" fmla="*/ 64512 w 86178"/>
                <a:gd name="connsiteY11" fmla="*/ 67933 h 81943"/>
                <a:gd name="connsiteX12" fmla="*/ 61742 w 86178"/>
                <a:gd name="connsiteY12" fmla="*/ 65815 h 81943"/>
                <a:gd name="connsiteX13" fmla="*/ 59950 w 86178"/>
                <a:gd name="connsiteY13" fmla="*/ 67119 h 81943"/>
                <a:gd name="connsiteX14" fmla="*/ 59950 w 86178"/>
                <a:gd name="connsiteY14" fmla="*/ 68096 h 81943"/>
                <a:gd name="connsiteX15" fmla="*/ 64349 w 86178"/>
                <a:gd name="connsiteY15" fmla="*/ 70214 h 81943"/>
                <a:gd name="connsiteX16" fmla="*/ 66793 w 86178"/>
                <a:gd name="connsiteY16" fmla="*/ 73472 h 81943"/>
                <a:gd name="connsiteX17" fmla="*/ 66304 w 86178"/>
                <a:gd name="connsiteY17" fmla="*/ 77708 h 81943"/>
                <a:gd name="connsiteX18" fmla="*/ 64186 w 86178"/>
                <a:gd name="connsiteY18" fmla="*/ 78685 h 81943"/>
                <a:gd name="connsiteX19" fmla="*/ 60114 w 86178"/>
                <a:gd name="connsiteY19" fmla="*/ 76242 h 81943"/>
                <a:gd name="connsiteX20" fmla="*/ 54086 w 86178"/>
                <a:gd name="connsiteY20" fmla="*/ 73961 h 81943"/>
                <a:gd name="connsiteX21" fmla="*/ 51805 w 86178"/>
                <a:gd name="connsiteY21" fmla="*/ 70540 h 81943"/>
                <a:gd name="connsiteX22" fmla="*/ 51805 w 86178"/>
                <a:gd name="connsiteY22" fmla="*/ 66956 h 81943"/>
                <a:gd name="connsiteX23" fmla="*/ 55226 w 86178"/>
                <a:gd name="connsiteY23" fmla="*/ 62720 h 81943"/>
                <a:gd name="connsiteX24" fmla="*/ 54249 w 86178"/>
                <a:gd name="connsiteY24" fmla="*/ 60276 h 81943"/>
                <a:gd name="connsiteX25" fmla="*/ 48710 w 86178"/>
                <a:gd name="connsiteY25" fmla="*/ 53923 h 81943"/>
                <a:gd name="connsiteX26" fmla="*/ 45452 w 86178"/>
                <a:gd name="connsiteY26" fmla="*/ 51805 h 81943"/>
                <a:gd name="connsiteX27" fmla="*/ 41053 w 86178"/>
                <a:gd name="connsiteY27" fmla="*/ 47733 h 81943"/>
                <a:gd name="connsiteX28" fmla="*/ 35188 w 86178"/>
                <a:gd name="connsiteY28" fmla="*/ 44474 h 81943"/>
                <a:gd name="connsiteX29" fmla="*/ 33396 w 86178"/>
                <a:gd name="connsiteY29" fmla="*/ 39261 h 81943"/>
                <a:gd name="connsiteX30" fmla="*/ 28509 w 86178"/>
                <a:gd name="connsiteY30" fmla="*/ 35840 h 81943"/>
                <a:gd name="connsiteX31" fmla="*/ 28183 w 86178"/>
                <a:gd name="connsiteY31" fmla="*/ 31604 h 81943"/>
                <a:gd name="connsiteX32" fmla="*/ 23296 w 86178"/>
                <a:gd name="connsiteY32" fmla="*/ 29161 h 81943"/>
                <a:gd name="connsiteX33" fmla="*/ 18897 w 86178"/>
                <a:gd name="connsiteY33" fmla="*/ 25740 h 81943"/>
                <a:gd name="connsiteX34" fmla="*/ 16617 w 86178"/>
                <a:gd name="connsiteY34" fmla="*/ 27532 h 81943"/>
                <a:gd name="connsiteX35" fmla="*/ 18409 w 86178"/>
                <a:gd name="connsiteY35" fmla="*/ 30301 h 81943"/>
                <a:gd name="connsiteX36" fmla="*/ 25088 w 86178"/>
                <a:gd name="connsiteY36" fmla="*/ 35351 h 81943"/>
                <a:gd name="connsiteX37" fmla="*/ 26391 w 86178"/>
                <a:gd name="connsiteY37" fmla="*/ 39750 h 81943"/>
                <a:gd name="connsiteX38" fmla="*/ 23459 w 86178"/>
                <a:gd name="connsiteY38" fmla="*/ 44800 h 81943"/>
                <a:gd name="connsiteX39" fmla="*/ 21178 w 86178"/>
                <a:gd name="connsiteY39" fmla="*/ 44800 h 81943"/>
                <a:gd name="connsiteX40" fmla="*/ 18734 w 86178"/>
                <a:gd name="connsiteY40" fmla="*/ 40564 h 81943"/>
                <a:gd name="connsiteX41" fmla="*/ 14662 w 86178"/>
                <a:gd name="connsiteY41" fmla="*/ 38121 h 81943"/>
                <a:gd name="connsiteX42" fmla="*/ 7820 w 86178"/>
                <a:gd name="connsiteY42" fmla="*/ 37795 h 81943"/>
                <a:gd name="connsiteX43" fmla="*/ 977 w 86178"/>
                <a:gd name="connsiteY43" fmla="*/ 31930 h 81943"/>
                <a:gd name="connsiteX44" fmla="*/ 0 w 86178"/>
                <a:gd name="connsiteY44" fmla="*/ 27043 h 81943"/>
                <a:gd name="connsiteX45" fmla="*/ 2281 w 86178"/>
                <a:gd name="connsiteY45" fmla="*/ 21015 h 81943"/>
                <a:gd name="connsiteX46" fmla="*/ 6679 w 86178"/>
                <a:gd name="connsiteY46" fmla="*/ 18572 h 81943"/>
                <a:gd name="connsiteX47" fmla="*/ 5702 w 86178"/>
                <a:gd name="connsiteY47" fmla="*/ 13359 h 81943"/>
                <a:gd name="connsiteX48" fmla="*/ 1792 w 86178"/>
                <a:gd name="connsiteY48" fmla="*/ 12381 h 81943"/>
                <a:gd name="connsiteX49" fmla="*/ 326 w 86178"/>
                <a:gd name="connsiteY49" fmla="*/ 11078 h 81943"/>
                <a:gd name="connsiteX50" fmla="*/ 1955 w 86178"/>
                <a:gd name="connsiteY50" fmla="*/ 9612 h 81943"/>
                <a:gd name="connsiteX51" fmla="*/ 3421 w 86178"/>
                <a:gd name="connsiteY51" fmla="*/ 3910 h 81943"/>
                <a:gd name="connsiteX52" fmla="*/ 2769 w 86178"/>
                <a:gd name="connsiteY52" fmla="*/ 3584 h 81943"/>
                <a:gd name="connsiteX53" fmla="*/ 4561 w 86178"/>
                <a:gd name="connsiteY53" fmla="*/ 2769 h 81943"/>
                <a:gd name="connsiteX54" fmla="*/ 4561 w 86178"/>
                <a:gd name="connsiteY54" fmla="*/ 1303 h 81943"/>
                <a:gd name="connsiteX55" fmla="*/ 13196 w 86178"/>
                <a:gd name="connsiteY55" fmla="*/ 0 h 81943"/>
                <a:gd name="connsiteX56" fmla="*/ 27043 w 86178"/>
                <a:gd name="connsiteY56" fmla="*/ 4073 h 81943"/>
                <a:gd name="connsiteX57" fmla="*/ 31767 w 86178"/>
                <a:gd name="connsiteY57" fmla="*/ 3421 h 81943"/>
                <a:gd name="connsiteX58" fmla="*/ 38609 w 86178"/>
                <a:gd name="connsiteY58" fmla="*/ 3095 h 81943"/>
                <a:gd name="connsiteX59" fmla="*/ 41379 w 86178"/>
                <a:gd name="connsiteY59" fmla="*/ 6842 h 81943"/>
                <a:gd name="connsiteX60" fmla="*/ 44800 w 86178"/>
                <a:gd name="connsiteY60" fmla="*/ 7983 h 81943"/>
                <a:gd name="connsiteX61" fmla="*/ 44800 w 86178"/>
                <a:gd name="connsiteY61" fmla="*/ 10101 h 81943"/>
                <a:gd name="connsiteX62" fmla="*/ 50176 w 86178"/>
                <a:gd name="connsiteY62" fmla="*/ 14825 h 81943"/>
                <a:gd name="connsiteX63" fmla="*/ 52620 w 86178"/>
                <a:gd name="connsiteY63" fmla="*/ 13359 h 81943"/>
                <a:gd name="connsiteX64" fmla="*/ 55389 w 86178"/>
                <a:gd name="connsiteY64" fmla="*/ 13359 h 81943"/>
                <a:gd name="connsiteX65" fmla="*/ 54249 w 86178"/>
                <a:gd name="connsiteY65" fmla="*/ 15151 h 81943"/>
                <a:gd name="connsiteX66" fmla="*/ 59625 w 86178"/>
                <a:gd name="connsiteY66" fmla="*/ 15151 h 81943"/>
                <a:gd name="connsiteX67" fmla="*/ 60276 w 86178"/>
                <a:gd name="connsiteY67" fmla="*/ 12870 h 81943"/>
                <a:gd name="connsiteX68" fmla="*/ 62720 w 86178"/>
                <a:gd name="connsiteY68" fmla="*/ 12218 h 81943"/>
                <a:gd name="connsiteX69" fmla="*/ 64512 w 86178"/>
                <a:gd name="connsiteY69" fmla="*/ 16780 h 81943"/>
                <a:gd name="connsiteX70" fmla="*/ 65326 w 86178"/>
                <a:gd name="connsiteY70" fmla="*/ 22319 h 81943"/>
                <a:gd name="connsiteX71" fmla="*/ 68422 w 86178"/>
                <a:gd name="connsiteY71" fmla="*/ 27369 h 81943"/>
                <a:gd name="connsiteX72" fmla="*/ 73635 w 86178"/>
                <a:gd name="connsiteY72" fmla="*/ 32582 h 81943"/>
                <a:gd name="connsiteX73" fmla="*/ 75101 w 86178"/>
                <a:gd name="connsiteY73" fmla="*/ 36655 h 81943"/>
                <a:gd name="connsiteX74" fmla="*/ 77871 w 86178"/>
                <a:gd name="connsiteY74" fmla="*/ 40076 h 81943"/>
                <a:gd name="connsiteX75" fmla="*/ 81943 w 86178"/>
                <a:gd name="connsiteY75" fmla="*/ 41379 h 81943"/>
                <a:gd name="connsiteX76" fmla="*/ 85690 w 86178"/>
                <a:gd name="connsiteY76" fmla="*/ 43985 h 81943"/>
                <a:gd name="connsiteX77" fmla="*/ 86179 w 86178"/>
                <a:gd name="connsiteY77" fmla="*/ 45289 h 81943"/>
                <a:gd name="connsiteX78" fmla="*/ 81617 w 86178"/>
                <a:gd name="connsiteY78" fmla="*/ 44963 h 81943"/>
                <a:gd name="connsiteX79" fmla="*/ 79174 w 86178"/>
                <a:gd name="connsiteY79" fmla="*/ 46755 h 81943"/>
                <a:gd name="connsiteX80" fmla="*/ 79337 w 86178"/>
                <a:gd name="connsiteY80" fmla="*/ 51153 h 81943"/>
                <a:gd name="connsiteX81" fmla="*/ 76241 w 86178"/>
                <a:gd name="connsiteY81" fmla="*/ 54575 h 81943"/>
                <a:gd name="connsiteX82" fmla="*/ 75590 w 86178"/>
                <a:gd name="connsiteY82" fmla="*/ 58647 h 81943"/>
                <a:gd name="connsiteX83" fmla="*/ 78522 w 86178"/>
                <a:gd name="connsiteY83" fmla="*/ 59625 h 81943"/>
                <a:gd name="connsiteX84" fmla="*/ 81617 w 86178"/>
                <a:gd name="connsiteY84" fmla="*/ 64023 h 81943"/>
                <a:gd name="connsiteX85" fmla="*/ 77545 w 86178"/>
                <a:gd name="connsiteY85" fmla="*/ 67119 h 81943"/>
                <a:gd name="connsiteX86" fmla="*/ 76404 w 86178"/>
                <a:gd name="connsiteY86" fmla="*/ 71191 h 81943"/>
                <a:gd name="connsiteX87" fmla="*/ 76567 w 86178"/>
                <a:gd name="connsiteY87" fmla="*/ 73798 h 81943"/>
                <a:gd name="connsiteX88" fmla="*/ 76567 w 86178"/>
                <a:gd name="connsiteY88" fmla="*/ 73798 h 81943"/>
                <a:gd name="connsiteX89" fmla="*/ 76730 w 86178"/>
                <a:gd name="connsiteY89" fmla="*/ 74287 h 819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</a:cxnLst>
              <a:rect l="l" t="t" r="r" b="b"/>
              <a:pathLst>
                <a:path w="86178" h="81943">
                  <a:moveTo>
                    <a:pt x="76730" y="74287"/>
                  </a:moveTo>
                  <a:lnTo>
                    <a:pt x="76567" y="73798"/>
                  </a:lnTo>
                  <a:lnTo>
                    <a:pt x="78196" y="76404"/>
                  </a:lnTo>
                  <a:lnTo>
                    <a:pt x="77545" y="76404"/>
                  </a:lnTo>
                  <a:lnTo>
                    <a:pt x="77871" y="79337"/>
                  </a:lnTo>
                  <a:lnTo>
                    <a:pt x="77056" y="81943"/>
                  </a:lnTo>
                  <a:lnTo>
                    <a:pt x="73798" y="81780"/>
                  </a:lnTo>
                  <a:lnTo>
                    <a:pt x="72006" y="79663"/>
                  </a:lnTo>
                  <a:lnTo>
                    <a:pt x="70540" y="78848"/>
                  </a:lnTo>
                  <a:lnTo>
                    <a:pt x="68748" y="77871"/>
                  </a:lnTo>
                  <a:lnTo>
                    <a:pt x="69073" y="73309"/>
                  </a:lnTo>
                  <a:lnTo>
                    <a:pt x="64512" y="67933"/>
                  </a:lnTo>
                  <a:lnTo>
                    <a:pt x="61742" y="65815"/>
                  </a:lnTo>
                  <a:lnTo>
                    <a:pt x="59950" y="67119"/>
                  </a:lnTo>
                  <a:lnTo>
                    <a:pt x="59950" y="68096"/>
                  </a:lnTo>
                  <a:lnTo>
                    <a:pt x="64349" y="70214"/>
                  </a:lnTo>
                  <a:lnTo>
                    <a:pt x="66793" y="73472"/>
                  </a:lnTo>
                  <a:lnTo>
                    <a:pt x="66304" y="77708"/>
                  </a:lnTo>
                  <a:lnTo>
                    <a:pt x="64186" y="78685"/>
                  </a:lnTo>
                  <a:lnTo>
                    <a:pt x="60114" y="76242"/>
                  </a:lnTo>
                  <a:lnTo>
                    <a:pt x="54086" y="73961"/>
                  </a:lnTo>
                  <a:lnTo>
                    <a:pt x="51805" y="70540"/>
                  </a:lnTo>
                  <a:lnTo>
                    <a:pt x="51805" y="66956"/>
                  </a:lnTo>
                  <a:lnTo>
                    <a:pt x="55226" y="62720"/>
                  </a:lnTo>
                  <a:lnTo>
                    <a:pt x="54249" y="60276"/>
                  </a:lnTo>
                  <a:lnTo>
                    <a:pt x="48710" y="53923"/>
                  </a:lnTo>
                  <a:lnTo>
                    <a:pt x="45452" y="51805"/>
                  </a:lnTo>
                  <a:lnTo>
                    <a:pt x="41053" y="47733"/>
                  </a:lnTo>
                  <a:lnTo>
                    <a:pt x="35188" y="44474"/>
                  </a:lnTo>
                  <a:lnTo>
                    <a:pt x="33396" y="39261"/>
                  </a:lnTo>
                  <a:lnTo>
                    <a:pt x="28509" y="35840"/>
                  </a:lnTo>
                  <a:lnTo>
                    <a:pt x="28183" y="31604"/>
                  </a:lnTo>
                  <a:lnTo>
                    <a:pt x="23296" y="29161"/>
                  </a:lnTo>
                  <a:lnTo>
                    <a:pt x="18897" y="25740"/>
                  </a:lnTo>
                  <a:lnTo>
                    <a:pt x="16617" y="27532"/>
                  </a:lnTo>
                  <a:lnTo>
                    <a:pt x="18409" y="30301"/>
                  </a:lnTo>
                  <a:lnTo>
                    <a:pt x="25088" y="35351"/>
                  </a:lnTo>
                  <a:lnTo>
                    <a:pt x="26391" y="39750"/>
                  </a:lnTo>
                  <a:lnTo>
                    <a:pt x="23459" y="44800"/>
                  </a:lnTo>
                  <a:lnTo>
                    <a:pt x="21178" y="44800"/>
                  </a:lnTo>
                  <a:lnTo>
                    <a:pt x="18734" y="40564"/>
                  </a:lnTo>
                  <a:lnTo>
                    <a:pt x="14662" y="38121"/>
                  </a:lnTo>
                  <a:lnTo>
                    <a:pt x="7820" y="37795"/>
                  </a:lnTo>
                  <a:lnTo>
                    <a:pt x="977" y="31930"/>
                  </a:lnTo>
                  <a:lnTo>
                    <a:pt x="0" y="27043"/>
                  </a:lnTo>
                  <a:lnTo>
                    <a:pt x="2281" y="21015"/>
                  </a:lnTo>
                  <a:lnTo>
                    <a:pt x="6679" y="18572"/>
                  </a:lnTo>
                  <a:lnTo>
                    <a:pt x="5702" y="13359"/>
                  </a:lnTo>
                  <a:lnTo>
                    <a:pt x="1792" y="12381"/>
                  </a:lnTo>
                  <a:lnTo>
                    <a:pt x="326" y="11078"/>
                  </a:lnTo>
                  <a:lnTo>
                    <a:pt x="1955" y="9612"/>
                  </a:lnTo>
                  <a:lnTo>
                    <a:pt x="3421" y="3910"/>
                  </a:lnTo>
                  <a:lnTo>
                    <a:pt x="2769" y="3584"/>
                  </a:lnTo>
                  <a:lnTo>
                    <a:pt x="4561" y="2769"/>
                  </a:lnTo>
                  <a:lnTo>
                    <a:pt x="4561" y="1303"/>
                  </a:lnTo>
                  <a:lnTo>
                    <a:pt x="13196" y="0"/>
                  </a:lnTo>
                  <a:lnTo>
                    <a:pt x="27043" y="4073"/>
                  </a:lnTo>
                  <a:lnTo>
                    <a:pt x="31767" y="3421"/>
                  </a:lnTo>
                  <a:lnTo>
                    <a:pt x="38609" y="3095"/>
                  </a:lnTo>
                  <a:lnTo>
                    <a:pt x="41379" y="6842"/>
                  </a:lnTo>
                  <a:lnTo>
                    <a:pt x="44800" y="7983"/>
                  </a:lnTo>
                  <a:lnTo>
                    <a:pt x="44800" y="10101"/>
                  </a:lnTo>
                  <a:lnTo>
                    <a:pt x="50176" y="14825"/>
                  </a:lnTo>
                  <a:lnTo>
                    <a:pt x="52620" y="13359"/>
                  </a:lnTo>
                  <a:lnTo>
                    <a:pt x="55389" y="13359"/>
                  </a:lnTo>
                  <a:lnTo>
                    <a:pt x="54249" y="15151"/>
                  </a:lnTo>
                  <a:lnTo>
                    <a:pt x="59625" y="15151"/>
                  </a:lnTo>
                  <a:lnTo>
                    <a:pt x="60276" y="12870"/>
                  </a:lnTo>
                  <a:lnTo>
                    <a:pt x="62720" y="12218"/>
                  </a:lnTo>
                  <a:lnTo>
                    <a:pt x="64512" y="16780"/>
                  </a:lnTo>
                  <a:lnTo>
                    <a:pt x="65326" y="22319"/>
                  </a:lnTo>
                  <a:lnTo>
                    <a:pt x="68422" y="27369"/>
                  </a:lnTo>
                  <a:lnTo>
                    <a:pt x="73635" y="32582"/>
                  </a:lnTo>
                  <a:lnTo>
                    <a:pt x="75101" y="36655"/>
                  </a:lnTo>
                  <a:lnTo>
                    <a:pt x="77871" y="40076"/>
                  </a:lnTo>
                  <a:lnTo>
                    <a:pt x="81943" y="41379"/>
                  </a:lnTo>
                  <a:lnTo>
                    <a:pt x="85690" y="43985"/>
                  </a:lnTo>
                  <a:lnTo>
                    <a:pt x="86179" y="45289"/>
                  </a:lnTo>
                  <a:lnTo>
                    <a:pt x="81617" y="44963"/>
                  </a:lnTo>
                  <a:lnTo>
                    <a:pt x="79174" y="46755"/>
                  </a:lnTo>
                  <a:lnTo>
                    <a:pt x="79337" y="51153"/>
                  </a:lnTo>
                  <a:lnTo>
                    <a:pt x="76241" y="54575"/>
                  </a:lnTo>
                  <a:lnTo>
                    <a:pt x="75590" y="58647"/>
                  </a:lnTo>
                  <a:lnTo>
                    <a:pt x="78522" y="59625"/>
                  </a:lnTo>
                  <a:lnTo>
                    <a:pt x="81617" y="64023"/>
                  </a:lnTo>
                  <a:lnTo>
                    <a:pt x="77545" y="67119"/>
                  </a:lnTo>
                  <a:lnTo>
                    <a:pt x="76404" y="71191"/>
                  </a:lnTo>
                  <a:lnTo>
                    <a:pt x="76567" y="73798"/>
                  </a:lnTo>
                  <a:lnTo>
                    <a:pt x="76567" y="73798"/>
                  </a:lnTo>
                  <a:lnTo>
                    <a:pt x="76730" y="74287"/>
                  </a:lnTo>
                  <a:close/>
                </a:path>
              </a:pathLst>
            </a:custGeom>
            <a:solidFill>
              <a:schemeClr val="bg2"/>
            </a:solidFill>
            <a:ln w="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59" name="Forma livre: Forma 58">
              <a:extLst>
                <a:ext uri="{FF2B5EF4-FFF2-40B4-BE49-F238E27FC236}">
                  <a16:creationId xmlns:a16="http://schemas.microsoft.com/office/drawing/2014/main" id="{1783A82D-61C6-D149-F169-0317FFD7C6EC}"/>
                </a:ext>
              </a:extLst>
            </p:cNvPr>
            <p:cNvSpPr/>
            <p:nvPr/>
          </p:nvSpPr>
          <p:spPr>
            <a:xfrm>
              <a:off x="3696637" y="4553838"/>
              <a:ext cx="121549" cy="119528"/>
            </a:xfrm>
            <a:custGeom>
              <a:avLst/>
              <a:gdLst>
                <a:gd name="connsiteX0" fmla="*/ 44311 w 117620"/>
                <a:gd name="connsiteY0" fmla="*/ 104262 h 115665"/>
                <a:gd name="connsiteX1" fmla="*/ 46103 w 117620"/>
                <a:gd name="connsiteY1" fmla="*/ 103610 h 115665"/>
                <a:gd name="connsiteX2" fmla="*/ 46103 w 117620"/>
                <a:gd name="connsiteY2" fmla="*/ 102144 h 115665"/>
                <a:gd name="connsiteX3" fmla="*/ 54737 w 117620"/>
                <a:gd name="connsiteY3" fmla="*/ 100841 h 115665"/>
                <a:gd name="connsiteX4" fmla="*/ 68585 w 117620"/>
                <a:gd name="connsiteY4" fmla="*/ 104914 h 115665"/>
                <a:gd name="connsiteX5" fmla="*/ 73146 w 117620"/>
                <a:gd name="connsiteY5" fmla="*/ 104262 h 115665"/>
                <a:gd name="connsiteX6" fmla="*/ 80151 w 117620"/>
                <a:gd name="connsiteY6" fmla="*/ 103936 h 115665"/>
                <a:gd name="connsiteX7" fmla="*/ 82921 w 117620"/>
                <a:gd name="connsiteY7" fmla="*/ 107846 h 115665"/>
                <a:gd name="connsiteX8" fmla="*/ 86179 w 117620"/>
                <a:gd name="connsiteY8" fmla="*/ 108986 h 115665"/>
                <a:gd name="connsiteX9" fmla="*/ 86179 w 117620"/>
                <a:gd name="connsiteY9" fmla="*/ 110941 h 115665"/>
                <a:gd name="connsiteX10" fmla="*/ 91555 w 117620"/>
                <a:gd name="connsiteY10" fmla="*/ 115665 h 115665"/>
                <a:gd name="connsiteX11" fmla="*/ 94161 w 117620"/>
                <a:gd name="connsiteY11" fmla="*/ 114199 h 115665"/>
                <a:gd name="connsiteX12" fmla="*/ 96931 w 117620"/>
                <a:gd name="connsiteY12" fmla="*/ 114199 h 115665"/>
                <a:gd name="connsiteX13" fmla="*/ 97257 w 117620"/>
                <a:gd name="connsiteY13" fmla="*/ 113711 h 115665"/>
                <a:gd name="connsiteX14" fmla="*/ 99700 w 117620"/>
                <a:gd name="connsiteY14" fmla="*/ 112244 h 115665"/>
                <a:gd name="connsiteX15" fmla="*/ 98886 w 117620"/>
                <a:gd name="connsiteY15" fmla="*/ 108334 h 115665"/>
                <a:gd name="connsiteX16" fmla="*/ 96116 w 117620"/>
                <a:gd name="connsiteY16" fmla="*/ 105076 h 115665"/>
                <a:gd name="connsiteX17" fmla="*/ 94813 w 117620"/>
                <a:gd name="connsiteY17" fmla="*/ 99700 h 115665"/>
                <a:gd name="connsiteX18" fmla="*/ 97908 w 117620"/>
                <a:gd name="connsiteY18" fmla="*/ 93673 h 115665"/>
                <a:gd name="connsiteX19" fmla="*/ 99538 w 117620"/>
                <a:gd name="connsiteY19" fmla="*/ 89600 h 115665"/>
                <a:gd name="connsiteX20" fmla="*/ 99538 w 117620"/>
                <a:gd name="connsiteY20" fmla="*/ 84224 h 115665"/>
                <a:gd name="connsiteX21" fmla="*/ 98234 w 117620"/>
                <a:gd name="connsiteY21" fmla="*/ 87156 h 115665"/>
                <a:gd name="connsiteX22" fmla="*/ 97420 w 117620"/>
                <a:gd name="connsiteY22" fmla="*/ 89600 h 115665"/>
                <a:gd name="connsiteX23" fmla="*/ 94813 w 117620"/>
                <a:gd name="connsiteY23" fmla="*/ 91066 h 115665"/>
                <a:gd name="connsiteX24" fmla="*/ 94813 w 117620"/>
                <a:gd name="connsiteY24" fmla="*/ 87319 h 115665"/>
                <a:gd name="connsiteX25" fmla="*/ 96116 w 117620"/>
                <a:gd name="connsiteY25" fmla="*/ 83247 h 115665"/>
                <a:gd name="connsiteX26" fmla="*/ 98560 w 117620"/>
                <a:gd name="connsiteY26" fmla="*/ 77707 h 115665"/>
                <a:gd name="connsiteX27" fmla="*/ 97745 w 117620"/>
                <a:gd name="connsiteY27" fmla="*/ 74449 h 115665"/>
                <a:gd name="connsiteX28" fmla="*/ 97745 w 117620"/>
                <a:gd name="connsiteY28" fmla="*/ 71028 h 115665"/>
                <a:gd name="connsiteX29" fmla="*/ 100841 w 117620"/>
                <a:gd name="connsiteY29" fmla="*/ 63534 h 115665"/>
                <a:gd name="connsiteX30" fmla="*/ 103122 w 117620"/>
                <a:gd name="connsiteY30" fmla="*/ 64023 h 115665"/>
                <a:gd name="connsiteX31" fmla="*/ 102144 w 117620"/>
                <a:gd name="connsiteY31" fmla="*/ 65978 h 115665"/>
                <a:gd name="connsiteX32" fmla="*/ 101981 w 117620"/>
                <a:gd name="connsiteY32" fmla="*/ 70051 h 115665"/>
                <a:gd name="connsiteX33" fmla="*/ 101981 w 117620"/>
                <a:gd name="connsiteY33" fmla="*/ 75427 h 115665"/>
                <a:gd name="connsiteX34" fmla="*/ 103447 w 117620"/>
                <a:gd name="connsiteY34" fmla="*/ 75427 h 115665"/>
                <a:gd name="connsiteX35" fmla="*/ 105402 w 117620"/>
                <a:gd name="connsiteY35" fmla="*/ 72169 h 115665"/>
                <a:gd name="connsiteX36" fmla="*/ 106542 w 117620"/>
                <a:gd name="connsiteY36" fmla="*/ 62231 h 115665"/>
                <a:gd name="connsiteX37" fmla="*/ 106542 w 117620"/>
                <a:gd name="connsiteY37" fmla="*/ 50339 h 115665"/>
                <a:gd name="connsiteX38" fmla="*/ 107357 w 117620"/>
                <a:gd name="connsiteY38" fmla="*/ 47895 h 115665"/>
                <a:gd name="connsiteX39" fmla="*/ 105402 w 117620"/>
                <a:gd name="connsiteY39" fmla="*/ 44963 h 115665"/>
                <a:gd name="connsiteX40" fmla="*/ 103773 w 117620"/>
                <a:gd name="connsiteY40" fmla="*/ 44148 h 115665"/>
                <a:gd name="connsiteX41" fmla="*/ 103773 w 117620"/>
                <a:gd name="connsiteY41" fmla="*/ 41542 h 115665"/>
                <a:gd name="connsiteX42" fmla="*/ 105565 w 117620"/>
                <a:gd name="connsiteY42" fmla="*/ 39750 h 115665"/>
                <a:gd name="connsiteX43" fmla="*/ 107194 w 117620"/>
                <a:gd name="connsiteY43" fmla="*/ 39750 h 115665"/>
                <a:gd name="connsiteX44" fmla="*/ 108172 w 117620"/>
                <a:gd name="connsiteY44" fmla="*/ 41542 h 115665"/>
                <a:gd name="connsiteX45" fmla="*/ 109801 w 117620"/>
                <a:gd name="connsiteY45" fmla="*/ 35188 h 115665"/>
                <a:gd name="connsiteX46" fmla="*/ 114036 w 117620"/>
                <a:gd name="connsiteY46" fmla="*/ 29975 h 115665"/>
                <a:gd name="connsiteX47" fmla="*/ 115991 w 117620"/>
                <a:gd name="connsiteY47" fmla="*/ 26554 h 115665"/>
                <a:gd name="connsiteX48" fmla="*/ 116480 w 117620"/>
                <a:gd name="connsiteY48" fmla="*/ 23948 h 115665"/>
                <a:gd name="connsiteX49" fmla="*/ 114036 w 117620"/>
                <a:gd name="connsiteY49" fmla="*/ 22156 h 115665"/>
                <a:gd name="connsiteX50" fmla="*/ 113711 w 117620"/>
                <a:gd name="connsiteY50" fmla="*/ 19875 h 115665"/>
                <a:gd name="connsiteX51" fmla="*/ 115177 w 117620"/>
                <a:gd name="connsiteY51" fmla="*/ 16617 h 115665"/>
                <a:gd name="connsiteX52" fmla="*/ 114362 w 117620"/>
                <a:gd name="connsiteY52" fmla="*/ 12381 h 115665"/>
                <a:gd name="connsiteX53" fmla="*/ 114688 w 117620"/>
                <a:gd name="connsiteY53" fmla="*/ 5539 h 115665"/>
                <a:gd name="connsiteX54" fmla="*/ 116154 w 117620"/>
                <a:gd name="connsiteY54" fmla="*/ 2769 h 115665"/>
                <a:gd name="connsiteX55" fmla="*/ 117620 w 117620"/>
                <a:gd name="connsiteY55" fmla="*/ 1140 h 115665"/>
                <a:gd name="connsiteX56" fmla="*/ 114688 w 117620"/>
                <a:gd name="connsiteY56" fmla="*/ 1629 h 115665"/>
                <a:gd name="connsiteX57" fmla="*/ 111104 w 117620"/>
                <a:gd name="connsiteY57" fmla="*/ 1955 h 115665"/>
                <a:gd name="connsiteX58" fmla="*/ 110127 w 117620"/>
                <a:gd name="connsiteY58" fmla="*/ 0 h 115665"/>
                <a:gd name="connsiteX59" fmla="*/ 107194 w 117620"/>
                <a:gd name="connsiteY59" fmla="*/ 0 h 115665"/>
                <a:gd name="connsiteX60" fmla="*/ 104914 w 117620"/>
                <a:gd name="connsiteY60" fmla="*/ 1140 h 115665"/>
                <a:gd name="connsiteX61" fmla="*/ 103936 w 117620"/>
                <a:gd name="connsiteY61" fmla="*/ 4561 h 115665"/>
                <a:gd name="connsiteX62" fmla="*/ 100515 w 117620"/>
                <a:gd name="connsiteY62" fmla="*/ 6190 h 115665"/>
                <a:gd name="connsiteX63" fmla="*/ 95953 w 117620"/>
                <a:gd name="connsiteY63" fmla="*/ 9449 h 115665"/>
                <a:gd name="connsiteX64" fmla="*/ 91718 w 117620"/>
                <a:gd name="connsiteY64" fmla="*/ 9774 h 115665"/>
                <a:gd name="connsiteX65" fmla="*/ 90577 w 117620"/>
                <a:gd name="connsiteY65" fmla="*/ 12870 h 115665"/>
                <a:gd name="connsiteX66" fmla="*/ 87319 w 117620"/>
                <a:gd name="connsiteY66" fmla="*/ 11892 h 115665"/>
                <a:gd name="connsiteX67" fmla="*/ 82758 w 117620"/>
                <a:gd name="connsiteY67" fmla="*/ 12544 h 115665"/>
                <a:gd name="connsiteX68" fmla="*/ 81780 w 117620"/>
                <a:gd name="connsiteY68" fmla="*/ 10426 h 115665"/>
                <a:gd name="connsiteX69" fmla="*/ 78359 w 117620"/>
                <a:gd name="connsiteY69" fmla="*/ 7657 h 115665"/>
                <a:gd name="connsiteX70" fmla="*/ 76404 w 117620"/>
                <a:gd name="connsiteY70" fmla="*/ 7657 h 115665"/>
                <a:gd name="connsiteX71" fmla="*/ 75264 w 117620"/>
                <a:gd name="connsiteY71" fmla="*/ 12381 h 115665"/>
                <a:gd name="connsiteX72" fmla="*/ 70540 w 117620"/>
                <a:gd name="connsiteY72" fmla="*/ 12381 h 115665"/>
                <a:gd name="connsiteX73" fmla="*/ 66467 w 117620"/>
                <a:gd name="connsiteY73" fmla="*/ 18897 h 115665"/>
                <a:gd name="connsiteX74" fmla="*/ 66141 w 117620"/>
                <a:gd name="connsiteY74" fmla="*/ 21667 h 115665"/>
                <a:gd name="connsiteX75" fmla="*/ 63698 w 117620"/>
                <a:gd name="connsiteY75" fmla="*/ 22970 h 115665"/>
                <a:gd name="connsiteX76" fmla="*/ 58484 w 117620"/>
                <a:gd name="connsiteY76" fmla="*/ 28020 h 115665"/>
                <a:gd name="connsiteX77" fmla="*/ 53108 w 117620"/>
                <a:gd name="connsiteY77" fmla="*/ 29975 h 115665"/>
                <a:gd name="connsiteX78" fmla="*/ 51642 w 117620"/>
                <a:gd name="connsiteY78" fmla="*/ 32745 h 115665"/>
                <a:gd name="connsiteX79" fmla="*/ 48221 w 117620"/>
                <a:gd name="connsiteY79" fmla="*/ 31441 h 115665"/>
                <a:gd name="connsiteX80" fmla="*/ 45615 w 117620"/>
                <a:gd name="connsiteY80" fmla="*/ 32093 h 115665"/>
                <a:gd name="connsiteX81" fmla="*/ 42682 w 117620"/>
                <a:gd name="connsiteY81" fmla="*/ 29324 h 115665"/>
                <a:gd name="connsiteX82" fmla="*/ 36655 w 117620"/>
                <a:gd name="connsiteY82" fmla="*/ 28183 h 115665"/>
                <a:gd name="connsiteX83" fmla="*/ 28183 w 117620"/>
                <a:gd name="connsiteY83" fmla="*/ 32745 h 115665"/>
                <a:gd name="connsiteX84" fmla="*/ 20201 w 117620"/>
                <a:gd name="connsiteY84" fmla="*/ 33722 h 115665"/>
                <a:gd name="connsiteX85" fmla="*/ 20690 w 117620"/>
                <a:gd name="connsiteY85" fmla="*/ 38447 h 115665"/>
                <a:gd name="connsiteX86" fmla="*/ 20690 w 117620"/>
                <a:gd name="connsiteY86" fmla="*/ 42193 h 115665"/>
                <a:gd name="connsiteX87" fmla="*/ 20038 w 117620"/>
                <a:gd name="connsiteY87" fmla="*/ 48873 h 115665"/>
                <a:gd name="connsiteX88" fmla="*/ 18246 w 117620"/>
                <a:gd name="connsiteY88" fmla="*/ 52620 h 115665"/>
                <a:gd name="connsiteX89" fmla="*/ 12055 w 117620"/>
                <a:gd name="connsiteY89" fmla="*/ 53108 h 115665"/>
                <a:gd name="connsiteX90" fmla="*/ 7657 w 117620"/>
                <a:gd name="connsiteY90" fmla="*/ 53760 h 115665"/>
                <a:gd name="connsiteX91" fmla="*/ 7657 w 117620"/>
                <a:gd name="connsiteY91" fmla="*/ 56529 h 115665"/>
                <a:gd name="connsiteX92" fmla="*/ 5539 w 117620"/>
                <a:gd name="connsiteY92" fmla="*/ 56855 h 115665"/>
                <a:gd name="connsiteX93" fmla="*/ 977 w 117620"/>
                <a:gd name="connsiteY93" fmla="*/ 55226 h 115665"/>
                <a:gd name="connsiteX94" fmla="*/ 0 w 117620"/>
                <a:gd name="connsiteY94" fmla="*/ 56855 h 115665"/>
                <a:gd name="connsiteX95" fmla="*/ 9286 w 117620"/>
                <a:gd name="connsiteY95" fmla="*/ 68096 h 115665"/>
                <a:gd name="connsiteX96" fmla="*/ 13684 w 117620"/>
                <a:gd name="connsiteY96" fmla="*/ 71028 h 115665"/>
                <a:gd name="connsiteX97" fmla="*/ 13684 w 117620"/>
                <a:gd name="connsiteY97" fmla="*/ 74124 h 115665"/>
                <a:gd name="connsiteX98" fmla="*/ 21015 w 117620"/>
                <a:gd name="connsiteY98" fmla="*/ 80803 h 115665"/>
                <a:gd name="connsiteX99" fmla="*/ 27532 w 117620"/>
                <a:gd name="connsiteY99" fmla="*/ 89600 h 115665"/>
                <a:gd name="connsiteX100" fmla="*/ 39261 w 117620"/>
                <a:gd name="connsiteY100" fmla="*/ 102470 h 115665"/>
                <a:gd name="connsiteX101" fmla="*/ 42356 w 117620"/>
                <a:gd name="connsiteY101" fmla="*/ 102796 h 115665"/>
                <a:gd name="connsiteX102" fmla="*/ 44148 w 117620"/>
                <a:gd name="connsiteY102" fmla="*/ 104099 h 1156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</a:cxnLst>
              <a:rect l="l" t="t" r="r" b="b"/>
              <a:pathLst>
                <a:path w="117620" h="115665">
                  <a:moveTo>
                    <a:pt x="44311" y="104262"/>
                  </a:moveTo>
                  <a:lnTo>
                    <a:pt x="46103" y="103610"/>
                  </a:lnTo>
                  <a:lnTo>
                    <a:pt x="46103" y="102144"/>
                  </a:lnTo>
                  <a:lnTo>
                    <a:pt x="54737" y="100841"/>
                  </a:lnTo>
                  <a:lnTo>
                    <a:pt x="68585" y="104914"/>
                  </a:lnTo>
                  <a:lnTo>
                    <a:pt x="73146" y="104262"/>
                  </a:lnTo>
                  <a:lnTo>
                    <a:pt x="80151" y="103936"/>
                  </a:lnTo>
                  <a:lnTo>
                    <a:pt x="82921" y="107846"/>
                  </a:lnTo>
                  <a:lnTo>
                    <a:pt x="86179" y="108986"/>
                  </a:lnTo>
                  <a:lnTo>
                    <a:pt x="86179" y="110941"/>
                  </a:lnTo>
                  <a:lnTo>
                    <a:pt x="91555" y="115665"/>
                  </a:lnTo>
                  <a:lnTo>
                    <a:pt x="94161" y="114199"/>
                  </a:lnTo>
                  <a:lnTo>
                    <a:pt x="96931" y="114199"/>
                  </a:lnTo>
                  <a:lnTo>
                    <a:pt x="97257" y="113711"/>
                  </a:lnTo>
                  <a:lnTo>
                    <a:pt x="99700" y="112244"/>
                  </a:lnTo>
                  <a:lnTo>
                    <a:pt x="98886" y="108334"/>
                  </a:lnTo>
                  <a:lnTo>
                    <a:pt x="96116" y="105076"/>
                  </a:lnTo>
                  <a:lnTo>
                    <a:pt x="94813" y="99700"/>
                  </a:lnTo>
                  <a:lnTo>
                    <a:pt x="97908" y="93673"/>
                  </a:lnTo>
                  <a:lnTo>
                    <a:pt x="99538" y="89600"/>
                  </a:lnTo>
                  <a:lnTo>
                    <a:pt x="99538" y="84224"/>
                  </a:lnTo>
                  <a:cubicBezTo>
                    <a:pt x="99538" y="84224"/>
                    <a:pt x="98234" y="87156"/>
                    <a:pt x="98234" y="87156"/>
                  </a:cubicBezTo>
                  <a:lnTo>
                    <a:pt x="97420" y="89600"/>
                  </a:lnTo>
                  <a:lnTo>
                    <a:pt x="94813" y="91066"/>
                  </a:lnTo>
                  <a:lnTo>
                    <a:pt x="94813" y="87319"/>
                  </a:lnTo>
                  <a:lnTo>
                    <a:pt x="96116" y="83247"/>
                  </a:lnTo>
                  <a:lnTo>
                    <a:pt x="98560" y="77707"/>
                  </a:lnTo>
                  <a:lnTo>
                    <a:pt x="97745" y="74449"/>
                  </a:lnTo>
                  <a:lnTo>
                    <a:pt x="97745" y="71028"/>
                  </a:lnTo>
                  <a:cubicBezTo>
                    <a:pt x="97745" y="71028"/>
                    <a:pt x="100841" y="63534"/>
                    <a:pt x="100841" y="63534"/>
                  </a:cubicBezTo>
                  <a:lnTo>
                    <a:pt x="103122" y="64023"/>
                  </a:lnTo>
                  <a:lnTo>
                    <a:pt x="102144" y="65978"/>
                  </a:lnTo>
                  <a:cubicBezTo>
                    <a:pt x="102144" y="65978"/>
                    <a:pt x="101981" y="69073"/>
                    <a:pt x="101981" y="70051"/>
                  </a:cubicBezTo>
                  <a:lnTo>
                    <a:pt x="101981" y="75427"/>
                  </a:lnTo>
                  <a:lnTo>
                    <a:pt x="103447" y="75427"/>
                  </a:lnTo>
                  <a:cubicBezTo>
                    <a:pt x="103447" y="75427"/>
                    <a:pt x="105402" y="72169"/>
                    <a:pt x="105402" y="72169"/>
                  </a:cubicBezTo>
                  <a:lnTo>
                    <a:pt x="106542" y="62231"/>
                  </a:lnTo>
                  <a:lnTo>
                    <a:pt x="106542" y="50339"/>
                  </a:lnTo>
                  <a:cubicBezTo>
                    <a:pt x="106542" y="50339"/>
                    <a:pt x="107357" y="47895"/>
                    <a:pt x="107357" y="47895"/>
                  </a:cubicBezTo>
                  <a:lnTo>
                    <a:pt x="105402" y="44963"/>
                  </a:lnTo>
                  <a:lnTo>
                    <a:pt x="103773" y="44148"/>
                  </a:lnTo>
                  <a:lnTo>
                    <a:pt x="103773" y="41542"/>
                  </a:lnTo>
                  <a:cubicBezTo>
                    <a:pt x="103773" y="41542"/>
                    <a:pt x="105565" y="39750"/>
                    <a:pt x="105565" y="39750"/>
                  </a:cubicBezTo>
                  <a:lnTo>
                    <a:pt x="107194" y="39750"/>
                  </a:lnTo>
                  <a:cubicBezTo>
                    <a:pt x="107194" y="39750"/>
                    <a:pt x="108172" y="41542"/>
                    <a:pt x="108172" y="41542"/>
                  </a:cubicBezTo>
                  <a:lnTo>
                    <a:pt x="109801" y="35188"/>
                  </a:lnTo>
                  <a:lnTo>
                    <a:pt x="114036" y="29975"/>
                  </a:lnTo>
                  <a:lnTo>
                    <a:pt x="115991" y="26554"/>
                  </a:lnTo>
                  <a:lnTo>
                    <a:pt x="116480" y="23948"/>
                  </a:lnTo>
                  <a:lnTo>
                    <a:pt x="114036" y="22156"/>
                  </a:lnTo>
                  <a:lnTo>
                    <a:pt x="113711" y="19875"/>
                  </a:lnTo>
                  <a:lnTo>
                    <a:pt x="115177" y="16617"/>
                  </a:lnTo>
                  <a:lnTo>
                    <a:pt x="114362" y="12381"/>
                  </a:lnTo>
                  <a:lnTo>
                    <a:pt x="114688" y="5539"/>
                  </a:lnTo>
                  <a:lnTo>
                    <a:pt x="116154" y="2769"/>
                  </a:lnTo>
                  <a:lnTo>
                    <a:pt x="117620" y="1140"/>
                  </a:lnTo>
                  <a:lnTo>
                    <a:pt x="114688" y="1629"/>
                  </a:lnTo>
                  <a:lnTo>
                    <a:pt x="111104" y="1955"/>
                  </a:lnTo>
                  <a:lnTo>
                    <a:pt x="110127" y="0"/>
                  </a:lnTo>
                  <a:lnTo>
                    <a:pt x="107194" y="0"/>
                  </a:lnTo>
                  <a:lnTo>
                    <a:pt x="104914" y="1140"/>
                  </a:lnTo>
                  <a:lnTo>
                    <a:pt x="103936" y="4561"/>
                  </a:lnTo>
                  <a:lnTo>
                    <a:pt x="100515" y="6190"/>
                  </a:lnTo>
                  <a:lnTo>
                    <a:pt x="95953" y="9449"/>
                  </a:lnTo>
                  <a:lnTo>
                    <a:pt x="91718" y="9774"/>
                  </a:lnTo>
                  <a:lnTo>
                    <a:pt x="90577" y="12870"/>
                  </a:lnTo>
                  <a:lnTo>
                    <a:pt x="87319" y="11892"/>
                  </a:lnTo>
                  <a:lnTo>
                    <a:pt x="82758" y="12544"/>
                  </a:lnTo>
                  <a:lnTo>
                    <a:pt x="81780" y="10426"/>
                  </a:lnTo>
                  <a:lnTo>
                    <a:pt x="78359" y="7657"/>
                  </a:lnTo>
                  <a:lnTo>
                    <a:pt x="76404" y="7657"/>
                  </a:lnTo>
                  <a:cubicBezTo>
                    <a:pt x="76404" y="7657"/>
                    <a:pt x="75264" y="12381"/>
                    <a:pt x="75264" y="12381"/>
                  </a:cubicBezTo>
                  <a:lnTo>
                    <a:pt x="70540" y="12381"/>
                  </a:lnTo>
                  <a:cubicBezTo>
                    <a:pt x="70540" y="12381"/>
                    <a:pt x="66467" y="18897"/>
                    <a:pt x="66467" y="18897"/>
                  </a:cubicBezTo>
                  <a:lnTo>
                    <a:pt x="66141" y="21667"/>
                  </a:lnTo>
                  <a:lnTo>
                    <a:pt x="63698" y="22970"/>
                  </a:lnTo>
                  <a:lnTo>
                    <a:pt x="58484" y="28020"/>
                  </a:lnTo>
                  <a:lnTo>
                    <a:pt x="53108" y="29975"/>
                  </a:lnTo>
                  <a:lnTo>
                    <a:pt x="51642" y="32745"/>
                  </a:lnTo>
                  <a:lnTo>
                    <a:pt x="48221" y="31441"/>
                  </a:lnTo>
                  <a:lnTo>
                    <a:pt x="45615" y="32093"/>
                  </a:lnTo>
                  <a:lnTo>
                    <a:pt x="42682" y="29324"/>
                  </a:lnTo>
                  <a:lnTo>
                    <a:pt x="36655" y="28183"/>
                  </a:lnTo>
                  <a:lnTo>
                    <a:pt x="28183" y="32745"/>
                  </a:lnTo>
                  <a:lnTo>
                    <a:pt x="20201" y="33722"/>
                  </a:lnTo>
                  <a:lnTo>
                    <a:pt x="20690" y="38447"/>
                  </a:lnTo>
                  <a:lnTo>
                    <a:pt x="20690" y="42193"/>
                  </a:lnTo>
                  <a:lnTo>
                    <a:pt x="20038" y="48873"/>
                  </a:lnTo>
                  <a:lnTo>
                    <a:pt x="18246" y="52620"/>
                  </a:lnTo>
                  <a:lnTo>
                    <a:pt x="12055" y="53108"/>
                  </a:lnTo>
                  <a:lnTo>
                    <a:pt x="7657" y="53760"/>
                  </a:lnTo>
                  <a:lnTo>
                    <a:pt x="7657" y="56529"/>
                  </a:lnTo>
                  <a:cubicBezTo>
                    <a:pt x="7657" y="56529"/>
                    <a:pt x="5539" y="56855"/>
                    <a:pt x="5539" y="56855"/>
                  </a:cubicBezTo>
                  <a:lnTo>
                    <a:pt x="977" y="55226"/>
                  </a:lnTo>
                  <a:lnTo>
                    <a:pt x="0" y="56855"/>
                  </a:lnTo>
                  <a:lnTo>
                    <a:pt x="9286" y="68096"/>
                  </a:lnTo>
                  <a:lnTo>
                    <a:pt x="13684" y="71028"/>
                  </a:lnTo>
                  <a:lnTo>
                    <a:pt x="13684" y="74124"/>
                  </a:lnTo>
                  <a:lnTo>
                    <a:pt x="21015" y="80803"/>
                  </a:lnTo>
                  <a:lnTo>
                    <a:pt x="27532" y="89600"/>
                  </a:lnTo>
                  <a:lnTo>
                    <a:pt x="39261" y="102470"/>
                  </a:lnTo>
                  <a:lnTo>
                    <a:pt x="42356" y="102796"/>
                  </a:lnTo>
                  <a:lnTo>
                    <a:pt x="44148" y="104099"/>
                  </a:lnTo>
                  <a:close/>
                </a:path>
              </a:pathLst>
            </a:custGeom>
            <a:solidFill>
              <a:schemeClr val="bg2"/>
            </a:solidFill>
            <a:ln w="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0" name="Forma livre: Forma 59">
              <a:extLst>
                <a:ext uri="{FF2B5EF4-FFF2-40B4-BE49-F238E27FC236}">
                  <a16:creationId xmlns:a16="http://schemas.microsoft.com/office/drawing/2014/main" id="{2AFA44DB-A492-A2B3-F02E-0E6C08061685}"/>
                </a:ext>
              </a:extLst>
            </p:cNvPr>
            <p:cNvSpPr/>
            <p:nvPr/>
          </p:nvSpPr>
          <p:spPr>
            <a:xfrm>
              <a:off x="3643775" y="4523871"/>
              <a:ext cx="176431" cy="85521"/>
            </a:xfrm>
            <a:custGeom>
              <a:avLst/>
              <a:gdLst>
                <a:gd name="connsiteX0" fmla="*/ 59136 w 170728"/>
                <a:gd name="connsiteY0" fmla="*/ 82758 h 82757"/>
                <a:gd name="connsiteX1" fmla="*/ 63372 w 170728"/>
                <a:gd name="connsiteY1" fmla="*/ 82106 h 82757"/>
                <a:gd name="connsiteX2" fmla="*/ 69725 w 170728"/>
                <a:gd name="connsiteY2" fmla="*/ 81455 h 82757"/>
                <a:gd name="connsiteX3" fmla="*/ 71517 w 170728"/>
                <a:gd name="connsiteY3" fmla="*/ 77707 h 82757"/>
                <a:gd name="connsiteX4" fmla="*/ 72169 w 170728"/>
                <a:gd name="connsiteY4" fmla="*/ 71191 h 82757"/>
                <a:gd name="connsiteX5" fmla="*/ 72169 w 170728"/>
                <a:gd name="connsiteY5" fmla="*/ 67444 h 82757"/>
                <a:gd name="connsiteX6" fmla="*/ 71680 w 170728"/>
                <a:gd name="connsiteY6" fmla="*/ 62720 h 82757"/>
                <a:gd name="connsiteX7" fmla="*/ 79663 w 170728"/>
                <a:gd name="connsiteY7" fmla="*/ 61742 h 82757"/>
                <a:gd name="connsiteX8" fmla="*/ 88134 w 170728"/>
                <a:gd name="connsiteY8" fmla="*/ 57181 h 82757"/>
                <a:gd name="connsiteX9" fmla="*/ 94161 w 170728"/>
                <a:gd name="connsiteY9" fmla="*/ 58322 h 82757"/>
                <a:gd name="connsiteX10" fmla="*/ 97094 w 170728"/>
                <a:gd name="connsiteY10" fmla="*/ 61091 h 82757"/>
                <a:gd name="connsiteX11" fmla="*/ 99700 w 170728"/>
                <a:gd name="connsiteY11" fmla="*/ 60276 h 82757"/>
                <a:gd name="connsiteX12" fmla="*/ 103122 w 170728"/>
                <a:gd name="connsiteY12" fmla="*/ 61580 h 82757"/>
                <a:gd name="connsiteX13" fmla="*/ 104588 w 170728"/>
                <a:gd name="connsiteY13" fmla="*/ 58810 h 82757"/>
                <a:gd name="connsiteX14" fmla="*/ 109964 w 170728"/>
                <a:gd name="connsiteY14" fmla="*/ 56855 h 82757"/>
                <a:gd name="connsiteX15" fmla="*/ 115177 w 170728"/>
                <a:gd name="connsiteY15" fmla="*/ 51805 h 82757"/>
                <a:gd name="connsiteX16" fmla="*/ 117620 w 170728"/>
                <a:gd name="connsiteY16" fmla="*/ 50502 h 82757"/>
                <a:gd name="connsiteX17" fmla="*/ 117946 w 170728"/>
                <a:gd name="connsiteY17" fmla="*/ 47732 h 82757"/>
                <a:gd name="connsiteX18" fmla="*/ 122019 w 170728"/>
                <a:gd name="connsiteY18" fmla="*/ 41542 h 82757"/>
                <a:gd name="connsiteX19" fmla="*/ 126743 w 170728"/>
                <a:gd name="connsiteY19" fmla="*/ 41379 h 82757"/>
                <a:gd name="connsiteX20" fmla="*/ 127884 w 170728"/>
                <a:gd name="connsiteY20" fmla="*/ 36655 h 82757"/>
                <a:gd name="connsiteX21" fmla="*/ 129839 w 170728"/>
                <a:gd name="connsiteY21" fmla="*/ 36491 h 82757"/>
                <a:gd name="connsiteX22" fmla="*/ 133423 w 170728"/>
                <a:gd name="connsiteY22" fmla="*/ 39261 h 82757"/>
                <a:gd name="connsiteX23" fmla="*/ 134400 w 170728"/>
                <a:gd name="connsiteY23" fmla="*/ 41542 h 82757"/>
                <a:gd name="connsiteX24" fmla="*/ 138961 w 170728"/>
                <a:gd name="connsiteY24" fmla="*/ 40727 h 82757"/>
                <a:gd name="connsiteX25" fmla="*/ 142220 w 170728"/>
                <a:gd name="connsiteY25" fmla="*/ 41705 h 82757"/>
                <a:gd name="connsiteX26" fmla="*/ 143360 w 170728"/>
                <a:gd name="connsiteY26" fmla="*/ 38609 h 82757"/>
                <a:gd name="connsiteX27" fmla="*/ 147596 w 170728"/>
                <a:gd name="connsiteY27" fmla="*/ 38121 h 82757"/>
                <a:gd name="connsiteX28" fmla="*/ 152157 w 170728"/>
                <a:gd name="connsiteY28" fmla="*/ 35025 h 82757"/>
                <a:gd name="connsiteX29" fmla="*/ 155578 w 170728"/>
                <a:gd name="connsiteY29" fmla="*/ 33396 h 82757"/>
                <a:gd name="connsiteX30" fmla="*/ 156556 w 170728"/>
                <a:gd name="connsiteY30" fmla="*/ 29975 h 82757"/>
                <a:gd name="connsiteX31" fmla="*/ 158674 w 170728"/>
                <a:gd name="connsiteY31" fmla="*/ 28835 h 82757"/>
                <a:gd name="connsiteX32" fmla="*/ 161606 w 170728"/>
                <a:gd name="connsiteY32" fmla="*/ 28835 h 82757"/>
                <a:gd name="connsiteX33" fmla="*/ 162583 w 170728"/>
                <a:gd name="connsiteY33" fmla="*/ 30790 h 82757"/>
                <a:gd name="connsiteX34" fmla="*/ 166167 w 170728"/>
                <a:gd name="connsiteY34" fmla="*/ 30464 h 82757"/>
                <a:gd name="connsiteX35" fmla="*/ 169100 w 170728"/>
                <a:gd name="connsiteY35" fmla="*/ 29975 h 82757"/>
                <a:gd name="connsiteX36" fmla="*/ 170729 w 170728"/>
                <a:gd name="connsiteY36" fmla="*/ 28183 h 82757"/>
                <a:gd name="connsiteX37" fmla="*/ 169263 w 170728"/>
                <a:gd name="connsiteY37" fmla="*/ 25740 h 82757"/>
                <a:gd name="connsiteX38" fmla="*/ 163398 w 170728"/>
                <a:gd name="connsiteY38" fmla="*/ 20852 h 82757"/>
                <a:gd name="connsiteX39" fmla="*/ 157859 w 170728"/>
                <a:gd name="connsiteY39" fmla="*/ 18409 h 82757"/>
                <a:gd name="connsiteX40" fmla="*/ 157533 w 170728"/>
                <a:gd name="connsiteY40" fmla="*/ 19386 h 82757"/>
                <a:gd name="connsiteX41" fmla="*/ 159651 w 170728"/>
                <a:gd name="connsiteY41" fmla="*/ 23622 h 82757"/>
                <a:gd name="connsiteX42" fmla="*/ 154112 w 170728"/>
                <a:gd name="connsiteY42" fmla="*/ 23459 h 82757"/>
                <a:gd name="connsiteX43" fmla="*/ 147596 w 170728"/>
                <a:gd name="connsiteY43" fmla="*/ 22644 h 82757"/>
                <a:gd name="connsiteX44" fmla="*/ 144989 w 170728"/>
                <a:gd name="connsiteY44" fmla="*/ 20689 h 82757"/>
                <a:gd name="connsiteX45" fmla="*/ 140102 w 170728"/>
                <a:gd name="connsiteY45" fmla="*/ 20201 h 82757"/>
                <a:gd name="connsiteX46" fmla="*/ 135866 w 170728"/>
                <a:gd name="connsiteY46" fmla="*/ 20201 h 82757"/>
                <a:gd name="connsiteX47" fmla="*/ 137007 w 170728"/>
                <a:gd name="connsiteY47" fmla="*/ 18083 h 82757"/>
                <a:gd name="connsiteX48" fmla="*/ 140265 w 170728"/>
                <a:gd name="connsiteY48" fmla="*/ 17268 h 82757"/>
                <a:gd name="connsiteX49" fmla="*/ 139939 w 170728"/>
                <a:gd name="connsiteY49" fmla="*/ 14825 h 82757"/>
                <a:gd name="connsiteX50" fmla="*/ 142220 w 170728"/>
                <a:gd name="connsiteY50" fmla="*/ 14173 h 82757"/>
                <a:gd name="connsiteX51" fmla="*/ 146292 w 170728"/>
                <a:gd name="connsiteY51" fmla="*/ 15150 h 82757"/>
                <a:gd name="connsiteX52" fmla="*/ 152972 w 170728"/>
                <a:gd name="connsiteY52" fmla="*/ 17268 h 82757"/>
                <a:gd name="connsiteX53" fmla="*/ 153949 w 170728"/>
                <a:gd name="connsiteY53" fmla="*/ 16454 h 82757"/>
                <a:gd name="connsiteX54" fmla="*/ 149388 w 170728"/>
                <a:gd name="connsiteY54" fmla="*/ 12707 h 82757"/>
                <a:gd name="connsiteX55" fmla="*/ 143034 w 170728"/>
                <a:gd name="connsiteY55" fmla="*/ 9286 h 82757"/>
                <a:gd name="connsiteX56" fmla="*/ 138636 w 170728"/>
                <a:gd name="connsiteY56" fmla="*/ 8960 h 82757"/>
                <a:gd name="connsiteX57" fmla="*/ 134400 w 170728"/>
                <a:gd name="connsiteY57" fmla="*/ 9774 h 82757"/>
                <a:gd name="connsiteX58" fmla="*/ 131631 w 170728"/>
                <a:gd name="connsiteY58" fmla="*/ 8471 h 82757"/>
                <a:gd name="connsiteX59" fmla="*/ 130490 w 170728"/>
                <a:gd name="connsiteY59" fmla="*/ 11729 h 82757"/>
                <a:gd name="connsiteX60" fmla="*/ 127232 w 170728"/>
                <a:gd name="connsiteY60" fmla="*/ 9286 h 82757"/>
                <a:gd name="connsiteX61" fmla="*/ 115991 w 170728"/>
                <a:gd name="connsiteY61" fmla="*/ 8145 h 82757"/>
                <a:gd name="connsiteX62" fmla="*/ 105076 w 170728"/>
                <a:gd name="connsiteY62" fmla="*/ 7657 h 82757"/>
                <a:gd name="connsiteX63" fmla="*/ 99212 w 170728"/>
                <a:gd name="connsiteY63" fmla="*/ 2606 h 82757"/>
                <a:gd name="connsiteX64" fmla="*/ 93836 w 170728"/>
                <a:gd name="connsiteY64" fmla="*/ 0 h 82757"/>
                <a:gd name="connsiteX65" fmla="*/ 92858 w 170728"/>
                <a:gd name="connsiteY65" fmla="*/ 3258 h 82757"/>
                <a:gd name="connsiteX66" fmla="*/ 94813 w 170728"/>
                <a:gd name="connsiteY66" fmla="*/ 4724 h 82757"/>
                <a:gd name="connsiteX67" fmla="*/ 90740 w 170728"/>
                <a:gd name="connsiteY67" fmla="*/ 6353 h 82757"/>
                <a:gd name="connsiteX68" fmla="*/ 88134 w 170728"/>
                <a:gd name="connsiteY68" fmla="*/ 8145 h 82757"/>
                <a:gd name="connsiteX69" fmla="*/ 83898 w 170728"/>
                <a:gd name="connsiteY69" fmla="*/ 6679 h 82757"/>
                <a:gd name="connsiteX70" fmla="*/ 75427 w 170728"/>
                <a:gd name="connsiteY70" fmla="*/ 8960 h 82757"/>
                <a:gd name="connsiteX71" fmla="*/ 64675 w 170728"/>
                <a:gd name="connsiteY71" fmla="*/ 7982 h 82757"/>
                <a:gd name="connsiteX72" fmla="*/ 49524 w 170728"/>
                <a:gd name="connsiteY72" fmla="*/ 8308 h 82757"/>
                <a:gd name="connsiteX73" fmla="*/ 42845 w 170728"/>
                <a:gd name="connsiteY73" fmla="*/ 12055 h 82757"/>
                <a:gd name="connsiteX74" fmla="*/ 39750 w 170728"/>
                <a:gd name="connsiteY74" fmla="*/ 9449 h 82757"/>
                <a:gd name="connsiteX75" fmla="*/ 38935 w 170728"/>
                <a:gd name="connsiteY75" fmla="*/ 11566 h 82757"/>
                <a:gd name="connsiteX76" fmla="*/ 35514 w 170728"/>
                <a:gd name="connsiteY76" fmla="*/ 14010 h 82757"/>
                <a:gd name="connsiteX77" fmla="*/ 33885 w 170728"/>
                <a:gd name="connsiteY77" fmla="*/ 18409 h 82757"/>
                <a:gd name="connsiteX78" fmla="*/ 26717 w 170728"/>
                <a:gd name="connsiteY78" fmla="*/ 22644 h 82757"/>
                <a:gd name="connsiteX79" fmla="*/ 22807 w 170728"/>
                <a:gd name="connsiteY79" fmla="*/ 22481 h 82757"/>
                <a:gd name="connsiteX80" fmla="*/ 16291 w 170728"/>
                <a:gd name="connsiteY80" fmla="*/ 29323 h 82757"/>
                <a:gd name="connsiteX81" fmla="*/ 12218 w 170728"/>
                <a:gd name="connsiteY81" fmla="*/ 33559 h 82757"/>
                <a:gd name="connsiteX82" fmla="*/ 13521 w 170728"/>
                <a:gd name="connsiteY82" fmla="*/ 37958 h 82757"/>
                <a:gd name="connsiteX83" fmla="*/ 10263 w 170728"/>
                <a:gd name="connsiteY83" fmla="*/ 44800 h 82757"/>
                <a:gd name="connsiteX84" fmla="*/ 3584 w 170728"/>
                <a:gd name="connsiteY84" fmla="*/ 49850 h 82757"/>
                <a:gd name="connsiteX85" fmla="*/ 3258 w 170728"/>
                <a:gd name="connsiteY85" fmla="*/ 50828 h 82757"/>
                <a:gd name="connsiteX86" fmla="*/ 3258 w 170728"/>
                <a:gd name="connsiteY86" fmla="*/ 52782 h 82757"/>
                <a:gd name="connsiteX87" fmla="*/ 2932 w 170728"/>
                <a:gd name="connsiteY87" fmla="*/ 52782 h 82757"/>
                <a:gd name="connsiteX88" fmla="*/ 0 w 170728"/>
                <a:gd name="connsiteY88" fmla="*/ 66304 h 82757"/>
                <a:gd name="connsiteX89" fmla="*/ 3910 w 170728"/>
                <a:gd name="connsiteY89" fmla="*/ 72006 h 82757"/>
                <a:gd name="connsiteX90" fmla="*/ 6028 w 170728"/>
                <a:gd name="connsiteY90" fmla="*/ 72006 h 82757"/>
                <a:gd name="connsiteX91" fmla="*/ 14662 w 170728"/>
                <a:gd name="connsiteY91" fmla="*/ 75753 h 82757"/>
                <a:gd name="connsiteX92" fmla="*/ 22807 w 170728"/>
                <a:gd name="connsiteY92" fmla="*/ 80151 h 82757"/>
                <a:gd name="connsiteX93" fmla="*/ 23948 w 170728"/>
                <a:gd name="connsiteY93" fmla="*/ 78033 h 82757"/>
                <a:gd name="connsiteX94" fmla="*/ 20201 w 170728"/>
                <a:gd name="connsiteY94" fmla="*/ 75915 h 82757"/>
                <a:gd name="connsiteX95" fmla="*/ 21993 w 170728"/>
                <a:gd name="connsiteY95" fmla="*/ 74938 h 82757"/>
                <a:gd name="connsiteX96" fmla="*/ 26717 w 170728"/>
                <a:gd name="connsiteY96" fmla="*/ 75101 h 82757"/>
                <a:gd name="connsiteX97" fmla="*/ 30464 w 170728"/>
                <a:gd name="connsiteY97" fmla="*/ 80151 h 82757"/>
                <a:gd name="connsiteX98" fmla="*/ 33233 w 170728"/>
                <a:gd name="connsiteY98" fmla="*/ 82595 h 82757"/>
                <a:gd name="connsiteX99" fmla="*/ 44963 w 170728"/>
                <a:gd name="connsiteY99" fmla="*/ 82758 h 82757"/>
                <a:gd name="connsiteX100" fmla="*/ 48221 w 170728"/>
                <a:gd name="connsiteY100" fmla="*/ 78196 h 82757"/>
                <a:gd name="connsiteX101" fmla="*/ 46918 w 170728"/>
                <a:gd name="connsiteY101" fmla="*/ 75753 h 82757"/>
                <a:gd name="connsiteX102" fmla="*/ 48547 w 170728"/>
                <a:gd name="connsiteY102" fmla="*/ 74123 h 82757"/>
                <a:gd name="connsiteX103" fmla="*/ 51316 w 170728"/>
                <a:gd name="connsiteY103" fmla="*/ 75590 h 82757"/>
                <a:gd name="connsiteX104" fmla="*/ 52620 w 170728"/>
                <a:gd name="connsiteY104" fmla="*/ 77382 h 82757"/>
                <a:gd name="connsiteX105" fmla="*/ 54900 w 170728"/>
                <a:gd name="connsiteY105" fmla="*/ 77219 h 82757"/>
                <a:gd name="connsiteX106" fmla="*/ 55878 w 170728"/>
                <a:gd name="connsiteY106" fmla="*/ 75590 h 82757"/>
                <a:gd name="connsiteX107" fmla="*/ 57996 w 170728"/>
                <a:gd name="connsiteY107" fmla="*/ 76730 h 82757"/>
                <a:gd name="connsiteX108" fmla="*/ 57996 w 170728"/>
                <a:gd name="connsiteY108" fmla="*/ 79825 h 82757"/>
                <a:gd name="connsiteX109" fmla="*/ 59136 w 170728"/>
                <a:gd name="connsiteY109" fmla="*/ 82595 h 82757"/>
                <a:gd name="connsiteX110" fmla="*/ 59136 w 170728"/>
                <a:gd name="connsiteY110" fmla="*/ 82758 h 827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</a:cxnLst>
              <a:rect l="l" t="t" r="r" b="b"/>
              <a:pathLst>
                <a:path w="170728" h="82757">
                  <a:moveTo>
                    <a:pt x="59136" y="82758"/>
                  </a:moveTo>
                  <a:lnTo>
                    <a:pt x="63372" y="82106"/>
                  </a:lnTo>
                  <a:lnTo>
                    <a:pt x="69725" y="81455"/>
                  </a:lnTo>
                  <a:lnTo>
                    <a:pt x="71517" y="77707"/>
                  </a:lnTo>
                  <a:lnTo>
                    <a:pt x="72169" y="71191"/>
                  </a:lnTo>
                  <a:lnTo>
                    <a:pt x="72169" y="67444"/>
                  </a:lnTo>
                  <a:lnTo>
                    <a:pt x="71680" y="62720"/>
                  </a:lnTo>
                  <a:lnTo>
                    <a:pt x="79663" y="61742"/>
                  </a:lnTo>
                  <a:lnTo>
                    <a:pt x="88134" y="57181"/>
                  </a:lnTo>
                  <a:lnTo>
                    <a:pt x="94161" y="58322"/>
                  </a:lnTo>
                  <a:lnTo>
                    <a:pt x="97094" y="61091"/>
                  </a:lnTo>
                  <a:lnTo>
                    <a:pt x="99700" y="60276"/>
                  </a:lnTo>
                  <a:lnTo>
                    <a:pt x="103122" y="61580"/>
                  </a:lnTo>
                  <a:lnTo>
                    <a:pt x="104588" y="58810"/>
                  </a:lnTo>
                  <a:lnTo>
                    <a:pt x="109964" y="56855"/>
                  </a:lnTo>
                  <a:lnTo>
                    <a:pt x="115177" y="51805"/>
                  </a:lnTo>
                  <a:lnTo>
                    <a:pt x="117620" y="50502"/>
                  </a:lnTo>
                  <a:lnTo>
                    <a:pt x="117946" y="47732"/>
                  </a:lnTo>
                  <a:lnTo>
                    <a:pt x="122019" y="41542"/>
                  </a:lnTo>
                  <a:lnTo>
                    <a:pt x="126743" y="41379"/>
                  </a:lnTo>
                  <a:lnTo>
                    <a:pt x="127884" y="36655"/>
                  </a:lnTo>
                  <a:lnTo>
                    <a:pt x="129839" y="36491"/>
                  </a:lnTo>
                  <a:lnTo>
                    <a:pt x="133423" y="39261"/>
                  </a:lnTo>
                  <a:lnTo>
                    <a:pt x="134400" y="41542"/>
                  </a:lnTo>
                  <a:lnTo>
                    <a:pt x="138961" y="40727"/>
                  </a:lnTo>
                  <a:lnTo>
                    <a:pt x="142220" y="41705"/>
                  </a:lnTo>
                  <a:lnTo>
                    <a:pt x="143360" y="38609"/>
                  </a:lnTo>
                  <a:lnTo>
                    <a:pt x="147596" y="38121"/>
                  </a:lnTo>
                  <a:lnTo>
                    <a:pt x="152157" y="35025"/>
                  </a:lnTo>
                  <a:lnTo>
                    <a:pt x="155578" y="33396"/>
                  </a:lnTo>
                  <a:lnTo>
                    <a:pt x="156556" y="29975"/>
                  </a:lnTo>
                  <a:lnTo>
                    <a:pt x="158674" y="28835"/>
                  </a:lnTo>
                  <a:lnTo>
                    <a:pt x="161606" y="28835"/>
                  </a:lnTo>
                  <a:lnTo>
                    <a:pt x="162583" y="30790"/>
                  </a:lnTo>
                  <a:lnTo>
                    <a:pt x="166167" y="30464"/>
                  </a:lnTo>
                  <a:lnTo>
                    <a:pt x="169100" y="29975"/>
                  </a:lnTo>
                  <a:lnTo>
                    <a:pt x="170729" y="28183"/>
                  </a:lnTo>
                  <a:lnTo>
                    <a:pt x="169263" y="25740"/>
                  </a:lnTo>
                  <a:lnTo>
                    <a:pt x="163398" y="20852"/>
                  </a:lnTo>
                  <a:lnTo>
                    <a:pt x="157859" y="18409"/>
                  </a:lnTo>
                  <a:lnTo>
                    <a:pt x="157533" y="19386"/>
                  </a:lnTo>
                  <a:lnTo>
                    <a:pt x="159651" y="23622"/>
                  </a:lnTo>
                  <a:lnTo>
                    <a:pt x="154112" y="23459"/>
                  </a:lnTo>
                  <a:lnTo>
                    <a:pt x="147596" y="22644"/>
                  </a:lnTo>
                  <a:lnTo>
                    <a:pt x="144989" y="20689"/>
                  </a:lnTo>
                  <a:lnTo>
                    <a:pt x="140102" y="20201"/>
                  </a:lnTo>
                  <a:lnTo>
                    <a:pt x="135866" y="20201"/>
                  </a:lnTo>
                  <a:lnTo>
                    <a:pt x="137007" y="18083"/>
                  </a:lnTo>
                  <a:lnTo>
                    <a:pt x="140265" y="17268"/>
                  </a:lnTo>
                  <a:lnTo>
                    <a:pt x="139939" y="14825"/>
                  </a:lnTo>
                  <a:lnTo>
                    <a:pt x="142220" y="14173"/>
                  </a:lnTo>
                  <a:lnTo>
                    <a:pt x="146292" y="15150"/>
                  </a:lnTo>
                  <a:lnTo>
                    <a:pt x="152972" y="17268"/>
                  </a:lnTo>
                  <a:lnTo>
                    <a:pt x="153949" y="16454"/>
                  </a:lnTo>
                  <a:lnTo>
                    <a:pt x="149388" y="12707"/>
                  </a:lnTo>
                  <a:lnTo>
                    <a:pt x="143034" y="9286"/>
                  </a:lnTo>
                  <a:lnTo>
                    <a:pt x="138636" y="8960"/>
                  </a:lnTo>
                  <a:lnTo>
                    <a:pt x="134400" y="9774"/>
                  </a:lnTo>
                  <a:lnTo>
                    <a:pt x="131631" y="8471"/>
                  </a:lnTo>
                  <a:lnTo>
                    <a:pt x="130490" y="11729"/>
                  </a:lnTo>
                  <a:lnTo>
                    <a:pt x="127232" y="9286"/>
                  </a:lnTo>
                  <a:lnTo>
                    <a:pt x="115991" y="8145"/>
                  </a:lnTo>
                  <a:lnTo>
                    <a:pt x="105076" y="7657"/>
                  </a:lnTo>
                  <a:lnTo>
                    <a:pt x="99212" y="2606"/>
                  </a:lnTo>
                  <a:lnTo>
                    <a:pt x="93836" y="0"/>
                  </a:lnTo>
                  <a:lnTo>
                    <a:pt x="92858" y="3258"/>
                  </a:lnTo>
                  <a:lnTo>
                    <a:pt x="94813" y="4724"/>
                  </a:lnTo>
                  <a:lnTo>
                    <a:pt x="90740" y="6353"/>
                  </a:lnTo>
                  <a:lnTo>
                    <a:pt x="88134" y="8145"/>
                  </a:lnTo>
                  <a:lnTo>
                    <a:pt x="83898" y="6679"/>
                  </a:lnTo>
                  <a:lnTo>
                    <a:pt x="75427" y="8960"/>
                  </a:lnTo>
                  <a:lnTo>
                    <a:pt x="64675" y="7982"/>
                  </a:lnTo>
                  <a:lnTo>
                    <a:pt x="49524" y="8308"/>
                  </a:lnTo>
                  <a:lnTo>
                    <a:pt x="42845" y="12055"/>
                  </a:lnTo>
                  <a:lnTo>
                    <a:pt x="39750" y="9449"/>
                  </a:lnTo>
                  <a:lnTo>
                    <a:pt x="38935" y="11566"/>
                  </a:lnTo>
                  <a:lnTo>
                    <a:pt x="35514" y="14010"/>
                  </a:lnTo>
                  <a:lnTo>
                    <a:pt x="33885" y="18409"/>
                  </a:lnTo>
                  <a:lnTo>
                    <a:pt x="26717" y="22644"/>
                  </a:lnTo>
                  <a:lnTo>
                    <a:pt x="22807" y="22481"/>
                  </a:lnTo>
                  <a:lnTo>
                    <a:pt x="16291" y="29323"/>
                  </a:lnTo>
                  <a:lnTo>
                    <a:pt x="12218" y="33559"/>
                  </a:lnTo>
                  <a:lnTo>
                    <a:pt x="13521" y="37958"/>
                  </a:lnTo>
                  <a:lnTo>
                    <a:pt x="10263" y="44800"/>
                  </a:lnTo>
                  <a:lnTo>
                    <a:pt x="3584" y="49850"/>
                  </a:lnTo>
                  <a:lnTo>
                    <a:pt x="3258" y="50828"/>
                  </a:lnTo>
                  <a:lnTo>
                    <a:pt x="3258" y="52782"/>
                  </a:lnTo>
                  <a:lnTo>
                    <a:pt x="2932" y="52782"/>
                  </a:lnTo>
                  <a:lnTo>
                    <a:pt x="0" y="66304"/>
                  </a:lnTo>
                  <a:lnTo>
                    <a:pt x="3910" y="72006"/>
                  </a:lnTo>
                  <a:lnTo>
                    <a:pt x="6028" y="72006"/>
                  </a:lnTo>
                  <a:lnTo>
                    <a:pt x="14662" y="75753"/>
                  </a:lnTo>
                  <a:lnTo>
                    <a:pt x="22807" y="80151"/>
                  </a:lnTo>
                  <a:lnTo>
                    <a:pt x="23948" y="78033"/>
                  </a:lnTo>
                  <a:lnTo>
                    <a:pt x="20201" y="75915"/>
                  </a:lnTo>
                  <a:lnTo>
                    <a:pt x="21993" y="74938"/>
                  </a:lnTo>
                  <a:lnTo>
                    <a:pt x="26717" y="75101"/>
                  </a:lnTo>
                  <a:lnTo>
                    <a:pt x="30464" y="80151"/>
                  </a:lnTo>
                  <a:lnTo>
                    <a:pt x="33233" y="82595"/>
                  </a:lnTo>
                  <a:lnTo>
                    <a:pt x="44963" y="82758"/>
                  </a:lnTo>
                  <a:lnTo>
                    <a:pt x="48221" y="78196"/>
                  </a:lnTo>
                  <a:lnTo>
                    <a:pt x="46918" y="75753"/>
                  </a:lnTo>
                  <a:lnTo>
                    <a:pt x="48547" y="74123"/>
                  </a:lnTo>
                  <a:lnTo>
                    <a:pt x="51316" y="75590"/>
                  </a:lnTo>
                  <a:lnTo>
                    <a:pt x="52620" y="77382"/>
                  </a:lnTo>
                  <a:lnTo>
                    <a:pt x="54900" y="77219"/>
                  </a:lnTo>
                  <a:lnTo>
                    <a:pt x="55878" y="75590"/>
                  </a:lnTo>
                  <a:lnTo>
                    <a:pt x="57996" y="76730"/>
                  </a:lnTo>
                  <a:lnTo>
                    <a:pt x="57996" y="79825"/>
                  </a:lnTo>
                  <a:lnTo>
                    <a:pt x="59136" y="82595"/>
                  </a:lnTo>
                  <a:lnTo>
                    <a:pt x="59136" y="82758"/>
                  </a:lnTo>
                  <a:close/>
                </a:path>
              </a:pathLst>
            </a:custGeom>
            <a:solidFill>
              <a:schemeClr val="bg2"/>
            </a:solidFill>
            <a:ln w="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1" name="Forma livre: Forma 60">
              <a:extLst>
                <a:ext uri="{FF2B5EF4-FFF2-40B4-BE49-F238E27FC236}">
                  <a16:creationId xmlns:a16="http://schemas.microsoft.com/office/drawing/2014/main" id="{6DEB4BB9-D936-5F49-E8E1-1E4EA88CF3A6}"/>
                </a:ext>
              </a:extLst>
            </p:cNvPr>
            <p:cNvSpPr/>
            <p:nvPr/>
          </p:nvSpPr>
          <p:spPr>
            <a:xfrm>
              <a:off x="3629128" y="4570672"/>
              <a:ext cx="65993" cy="38721"/>
            </a:xfrm>
            <a:custGeom>
              <a:avLst/>
              <a:gdLst>
                <a:gd name="connsiteX0" fmla="*/ 23948 w 63860"/>
                <a:gd name="connsiteY0" fmla="*/ 0 h 37469"/>
                <a:gd name="connsiteX1" fmla="*/ 28183 w 63860"/>
                <a:gd name="connsiteY1" fmla="*/ 815 h 37469"/>
                <a:gd name="connsiteX2" fmla="*/ 28998 w 63860"/>
                <a:gd name="connsiteY2" fmla="*/ 2118 h 37469"/>
                <a:gd name="connsiteX3" fmla="*/ 31930 w 63860"/>
                <a:gd name="connsiteY3" fmla="*/ 3258 h 37469"/>
                <a:gd name="connsiteX4" fmla="*/ 34211 w 63860"/>
                <a:gd name="connsiteY4" fmla="*/ 6028 h 37469"/>
                <a:gd name="connsiteX5" fmla="*/ 39098 w 63860"/>
                <a:gd name="connsiteY5" fmla="*/ 5213 h 37469"/>
                <a:gd name="connsiteX6" fmla="*/ 44311 w 63860"/>
                <a:gd name="connsiteY6" fmla="*/ 6353 h 37469"/>
                <a:gd name="connsiteX7" fmla="*/ 47407 w 63860"/>
                <a:gd name="connsiteY7" fmla="*/ 10426 h 37469"/>
                <a:gd name="connsiteX8" fmla="*/ 48221 w 63860"/>
                <a:gd name="connsiteY8" fmla="*/ 13358 h 37469"/>
                <a:gd name="connsiteX9" fmla="*/ 51479 w 63860"/>
                <a:gd name="connsiteY9" fmla="*/ 15476 h 37469"/>
                <a:gd name="connsiteX10" fmla="*/ 52457 w 63860"/>
                <a:gd name="connsiteY10" fmla="*/ 13196 h 37469"/>
                <a:gd name="connsiteX11" fmla="*/ 53597 w 63860"/>
                <a:gd name="connsiteY11" fmla="*/ 10263 h 37469"/>
                <a:gd name="connsiteX12" fmla="*/ 57833 w 63860"/>
                <a:gd name="connsiteY12" fmla="*/ 9774 h 37469"/>
                <a:gd name="connsiteX13" fmla="*/ 60439 w 63860"/>
                <a:gd name="connsiteY13" fmla="*/ 10752 h 37469"/>
                <a:gd name="connsiteX14" fmla="*/ 63860 w 63860"/>
                <a:gd name="connsiteY14" fmla="*/ 11892 h 37469"/>
                <a:gd name="connsiteX15" fmla="*/ 63860 w 63860"/>
                <a:gd name="connsiteY15" fmla="*/ 15965 h 37469"/>
                <a:gd name="connsiteX16" fmla="*/ 62720 w 63860"/>
                <a:gd name="connsiteY16" fmla="*/ 20852 h 37469"/>
                <a:gd name="connsiteX17" fmla="*/ 63209 w 63860"/>
                <a:gd name="connsiteY17" fmla="*/ 22807 h 37469"/>
                <a:gd name="connsiteX18" fmla="*/ 61906 w 63860"/>
                <a:gd name="connsiteY18" fmla="*/ 26717 h 37469"/>
                <a:gd name="connsiteX19" fmla="*/ 62557 w 63860"/>
                <a:gd name="connsiteY19" fmla="*/ 28998 h 37469"/>
                <a:gd name="connsiteX20" fmla="*/ 61091 w 63860"/>
                <a:gd name="connsiteY20" fmla="*/ 30464 h 37469"/>
                <a:gd name="connsiteX21" fmla="*/ 62394 w 63860"/>
                <a:gd name="connsiteY21" fmla="*/ 32907 h 37469"/>
                <a:gd name="connsiteX22" fmla="*/ 59136 w 63860"/>
                <a:gd name="connsiteY22" fmla="*/ 37469 h 37469"/>
                <a:gd name="connsiteX23" fmla="*/ 47407 w 63860"/>
                <a:gd name="connsiteY23" fmla="*/ 37306 h 37469"/>
                <a:gd name="connsiteX24" fmla="*/ 44637 w 63860"/>
                <a:gd name="connsiteY24" fmla="*/ 34863 h 37469"/>
                <a:gd name="connsiteX25" fmla="*/ 40890 w 63860"/>
                <a:gd name="connsiteY25" fmla="*/ 29812 h 37469"/>
                <a:gd name="connsiteX26" fmla="*/ 36166 w 63860"/>
                <a:gd name="connsiteY26" fmla="*/ 29649 h 37469"/>
                <a:gd name="connsiteX27" fmla="*/ 34374 w 63860"/>
                <a:gd name="connsiteY27" fmla="*/ 30627 h 37469"/>
                <a:gd name="connsiteX28" fmla="*/ 38121 w 63860"/>
                <a:gd name="connsiteY28" fmla="*/ 32745 h 37469"/>
                <a:gd name="connsiteX29" fmla="*/ 36980 w 63860"/>
                <a:gd name="connsiteY29" fmla="*/ 34863 h 37469"/>
                <a:gd name="connsiteX30" fmla="*/ 28835 w 63860"/>
                <a:gd name="connsiteY30" fmla="*/ 30464 h 37469"/>
                <a:gd name="connsiteX31" fmla="*/ 20201 w 63860"/>
                <a:gd name="connsiteY31" fmla="*/ 26717 h 37469"/>
                <a:gd name="connsiteX32" fmla="*/ 17268 w 63860"/>
                <a:gd name="connsiteY32" fmla="*/ 26880 h 37469"/>
                <a:gd name="connsiteX33" fmla="*/ 11404 w 63860"/>
                <a:gd name="connsiteY33" fmla="*/ 25577 h 37469"/>
                <a:gd name="connsiteX34" fmla="*/ 7331 w 63860"/>
                <a:gd name="connsiteY34" fmla="*/ 21667 h 37469"/>
                <a:gd name="connsiteX35" fmla="*/ 2281 w 63860"/>
                <a:gd name="connsiteY35" fmla="*/ 21667 h 37469"/>
                <a:gd name="connsiteX36" fmla="*/ 0 w 63860"/>
                <a:gd name="connsiteY36" fmla="*/ 20852 h 37469"/>
                <a:gd name="connsiteX37" fmla="*/ 1792 w 63860"/>
                <a:gd name="connsiteY37" fmla="*/ 17920 h 37469"/>
                <a:gd name="connsiteX38" fmla="*/ 1955 w 63860"/>
                <a:gd name="connsiteY38" fmla="*/ 15313 h 37469"/>
                <a:gd name="connsiteX39" fmla="*/ 6842 w 63860"/>
                <a:gd name="connsiteY39" fmla="*/ 10263 h 37469"/>
                <a:gd name="connsiteX40" fmla="*/ 13033 w 63860"/>
                <a:gd name="connsiteY40" fmla="*/ 8797 h 37469"/>
                <a:gd name="connsiteX41" fmla="*/ 17431 w 63860"/>
                <a:gd name="connsiteY41" fmla="*/ 7494 h 37469"/>
                <a:gd name="connsiteX42" fmla="*/ 17431 w 63860"/>
                <a:gd name="connsiteY42" fmla="*/ 4724 h 37469"/>
                <a:gd name="connsiteX43" fmla="*/ 23948 w 63860"/>
                <a:gd name="connsiteY43" fmla="*/ 0 h 374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</a:cxnLst>
              <a:rect l="l" t="t" r="r" b="b"/>
              <a:pathLst>
                <a:path w="63860" h="37469">
                  <a:moveTo>
                    <a:pt x="23948" y="0"/>
                  </a:moveTo>
                  <a:lnTo>
                    <a:pt x="28183" y="815"/>
                  </a:lnTo>
                  <a:lnTo>
                    <a:pt x="28998" y="2118"/>
                  </a:lnTo>
                  <a:lnTo>
                    <a:pt x="31930" y="3258"/>
                  </a:lnTo>
                  <a:lnTo>
                    <a:pt x="34211" y="6028"/>
                  </a:lnTo>
                  <a:lnTo>
                    <a:pt x="39098" y="5213"/>
                  </a:lnTo>
                  <a:lnTo>
                    <a:pt x="44311" y="6353"/>
                  </a:lnTo>
                  <a:lnTo>
                    <a:pt x="47407" y="10426"/>
                  </a:lnTo>
                  <a:lnTo>
                    <a:pt x="48221" y="13358"/>
                  </a:lnTo>
                  <a:lnTo>
                    <a:pt x="51479" y="15476"/>
                  </a:lnTo>
                  <a:lnTo>
                    <a:pt x="52457" y="13196"/>
                  </a:lnTo>
                  <a:lnTo>
                    <a:pt x="53597" y="10263"/>
                  </a:lnTo>
                  <a:lnTo>
                    <a:pt x="57833" y="9774"/>
                  </a:lnTo>
                  <a:lnTo>
                    <a:pt x="60439" y="10752"/>
                  </a:lnTo>
                  <a:lnTo>
                    <a:pt x="63860" y="11892"/>
                  </a:lnTo>
                  <a:lnTo>
                    <a:pt x="63860" y="15965"/>
                  </a:lnTo>
                  <a:lnTo>
                    <a:pt x="62720" y="20852"/>
                  </a:lnTo>
                  <a:lnTo>
                    <a:pt x="63209" y="22807"/>
                  </a:lnTo>
                  <a:lnTo>
                    <a:pt x="61906" y="26717"/>
                  </a:lnTo>
                  <a:lnTo>
                    <a:pt x="62557" y="28998"/>
                  </a:lnTo>
                  <a:lnTo>
                    <a:pt x="61091" y="30464"/>
                  </a:lnTo>
                  <a:lnTo>
                    <a:pt x="62394" y="32907"/>
                  </a:lnTo>
                  <a:lnTo>
                    <a:pt x="59136" y="37469"/>
                  </a:lnTo>
                  <a:lnTo>
                    <a:pt x="47407" y="37306"/>
                  </a:lnTo>
                  <a:lnTo>
                    <a:pt x="44637" y="34863"/>
                  </a:lnTo>
                  <a:lnTo>
                    <a:pt x="40890" y="29812"/>
                  </a:lnTo>
                  <a:lnTo>
                    <a:pt x="36166" y="29649"/>
                  </a:lnTo>
                  <a:lnTo>
                    <a:pt x="34374" y="30627"/>
                  </a:lnTo>
                  <a:lnTo>
                    <a:pt x="38121" y="32745"/>
                  </a:lnTo>
                  <a:lnTo>
                    <a:pt x="36980" y="34863"/>
                  </a:lnTo>
                  <a:lnTo>
                    <a:pt x="28835" y="30464"/>
                  </a:lnTo>
                  <a:lnTo>
                    <a:pt x="20201" y="26717"/>
                  </a:lnTo>
                  <a:lnTo>
                    <a:pt x="17268" y="26880"/>
                  </a:lnTo>
                  <a:lnTo>
                    <a:pt x="11404" y="25577"/>
                  </a:lnTo>
                  <a:lnTo>
                    <a:pt x="7331" y="21667"/>
                  </a:lnTo>
                  <a:lnTo>
                    <a:pt x="2281" y="21667"/>
                  </a:lnTo>
                  <a:lnTo>
                    <a:pt x="0" y="20852"/>
                  </a:lnTo>
                  <a:lnTo>
                    <a:pt x="1792" y="17920"/>
                  </a:lnTo>
                  <a:lnTo>
                    <a:pt x="1955" y="15313"/>
                  </a:lnTo>
                  <a:lnTo>
                    <a:pt x="6842" y="10263"/>
                  </a:lnTo>
                  <a:lnTo>
                    <a:pt x="13033" y="8797"/>
                  </a:lnTo>
                  <a:lnTo>
                    <a:pt x="17431" y="7494"/>
                  </a:lnTo>
                  <a:lnTo>
                    <a:pt x="17431" y="4724"/>
                  </a:lnTo>
                  <a:lnTo>
                    <a:pt x="23948" y="0"/>
                  </a:lnTo>
                  <a:close/>
                </a:path>
              </a:pathLst>
            </a:custGeom>
            <a:solidFill>
              <a:schemeClr val="bg2"/>
            </a:solidFill>
            <a:ln w="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2" name="Forma livre: Forma 61">
              <a:extLst>
                <a:ext uri="{FF2B5EF4-FFF2-40B4-BE49-F238E27FC236}">
                  <a16:creationId xmlns:a16="http://schemas.microsoft.com/office/drawing/2014/main" id="{69022CC9-5308-3DE9-FEC4-75FBB00D05F2}"/>
                </a:ext>
              </a:extLst>
            </p:cNvPr>
            <p:cNvSpPr/>
            <p:nvPr/>
          </p:nvSpPr>
          <p:spPr>
            <a:xfrm>
              <a:off x="3658757" y="4461245"/>
              <a:ext cx="30976" cy="67676"/>
            </a:xfrm>
            <a:custGeom>
              <a:avLst/>
              <a:gdLst>
                <a:gd name="connsiteX0" fmla="*/ 652 w 29975"/>
                <a:gd name="connsiteY0" fmla="*/ 16942 h 65489"/>
                <a:gd name="connsiteX1" fmla="*/ 652 w 29975"/>
                <a:gd name="connsiteY1" fmla="*/ 16942 h 65489"/>
                <a:gd name="connsiteX2" fmla="*/ 1140 w 29975"/>
                <a:gd name="connsiteY2" fmla="*/ 13196 h 65489"/>
                <a:gd name="connsiteX3" fmla="*/ 3747 w 29975"/>
                <a:gd name="connsiteY3" fmla="*/ 11404 h 65489"/>
                <a:gd name="connsiteX4" fmla="*/ 7494 w 29975"/>
                <a:gd name="connsiteY4" fmla="*/ 11566 h 65489"/>
                <a:gd name="connsiteX5" fmla="*/ 7820 w 29975"/>
                <a:gd name="connsiteY5" fmla="*/ 13521 h 65489"/>
                <a:gd name="connsiteX6" fmla="*/ 8960 w 29975"/>
                <a:gd name="connsiteY6" fmla="*/ 14336 h 65489"/>
                <a:gd name="connsiteX7" fmla="*/ 9937 w 29975"/>
                <a:gd name="connsiteY7" fmla="*/ 12870 h 65489"/>
                <a:gd name="connsiteX8" fmla="*/ 11729 w 29975"/>
                <a:gd name="connsiteY8" fmla="*/ 12544 h 65489"/>
                <a:gd name="connsiteX9" fmla="*/ 12055 w 29975"/>
                <a:gd name="connsiteY9" fmla="*/ 11404 h 65489"/>
                <a:gd name="connsiteX10" fmla="*/ 15314 w 29975"/>
                <a:gd name="connsiteY10" fmla="*/ 7005 h 65489"/>
                <a:gd name="connsiteX11" fmla="*/ 16291 w 29975"/>
                <a:gd name="connsiteY11" fmla="*/ 3095 h 65489"/>
                <a:gd name="connsiteX12" fmla="*/ 17431 w 29975"/>
                <a:gd name="connsiteY12" fmla="*/ 1140 h 65489"/>
                <a:gd name="connsiteX13" fmla="*/ 20527 w 29975"/>
                <a:gd name="connsiteY13" fmla="*/ 0 h 65489"/>
                <a:gd name="connsiteX14" fmla="*/ 22319 w 29975"/>
                <a:gd name="connsiteY14" fmla="*/ 163 h 65489"/>
                <a:gd name="connsiteX15" fmla="*/ 23622 w 29975"/>
                <a:gd name="connsiteY15" fmla="*/ 2444 h 65489"/>
                <a:gd name="connsiteX16" fmla="*/ 26228 w 29975"/>
                <a:gd name="connsiteY16" fmla="*/ 0 h 65489"/>
                <a:gd name="connsiteX17" fmla="*/ 29487 w 29975"/>
                <a:gd name="connsiteY17" fmla="*/ 0 h 65489"/>
                <a:gd name="connsiteX18" fmla="*/ 29975 w 29975"/>
                <a:gd name="connsiteY18" fmla="*/ 2769 h 65489"/>
                <a:gd name="connsiteX19" fmla="*/ 29324 w 29975"/>
                <a:gd name="connsiteY19" fmla="*/ 5539 h 65489"/>
                <a:gd name="connsiteX20" fmla="*/ 28509 w 29975"/>
                <a:gd name="connsiteY20" fmla="*/ 18083 h 65489"/>
                <a:gd name="connsiteX21" fmla="*/ 25740 w 29975"/>
                <a:gd name="connsiteY21" fmla="*/ 22644 h 65489"/>
                <a:gd name="connsiteX22" fmla="*/ 24599 w 29975"/>
                <a:gd name="connsiteY22" fmla="*/ 30301 h 65489"/>
                <a:gd name="connsiteX23" fmla="*/ 27369 w 29975"/>
                <a:gd name="connsiteY23" fmla="*/ 33071 h 65489"/>
                <a:gd name="connsiteX24" fmla="*/ 27206 w 29975"/>
                <a:gd name="connsiteY24" fmla="*/ 41542 h 65489"/>
                <a:gd name="connsiteX25" fmla="*/ 24599 w 29975"/>
                <a:gd name="connsiteY25" fmla="*/ 48547 h 65489"/>
                <a:gd name="connsiteX26" fmla="*/ 17431 w 29975"/>
                <a:gd name="connsiteY26" fmla="*/ 58484 h 65489"/>
                <a:gd name="connsiteX27" fmla="*/ 14662 w 29975"/>
                <a:gd name="connsiteY27" fmla="*/ 56041 h 65489"/>
                <a:gd name="connsiteX28" fmla="*/ 9937 w 29975"/>
                <a:gd name="connsiteY28" fmla="*/ 61091 h 65489"/>
                <a:gd name="connsiteX29" fmla="*/ 7983 w 29975"/>
                <a:gd name="connsiteY29" fmla="*/ 65326 h 65489"/>
                <a:gd name="connsiteX30" fmla="*/ 7983 w 29975"/>
                <a:gd name="connsiteY30" fmla="*/ 65326 h 65489"/>
                <a:gd name="connsiteX31" fmla="*/ 5213 w 29975"/>
                <a:gd name="connsiteY31" fmla="*/ 65489 h 65489"/>
                <a:gd name="connsiteX32" fmla="*/ 3747 w 29975"/>
                <a:gd name="connsiteY32" fmla="*/ 64675 h 65489"/>
                <a:gd name="connsiteX33" fmla="*/ 0 w 29975"/>
                <a:gd name="connsiteY33" fmla="*/ 64512 h 65489"/>
                <a:gd name="connsiteX34" fmla="*/ 815 w 29975"/>
                <a:gd name="connsiteY34" fmla="*/ 16942 h 65489"/>
                <a:gd name="connsiteX35" fmla="*/ 652 w 29975"/>
                <a:gd name="connsiteY35" fmla="*/ 16942 h 654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</a:cxnLst>
              <a:rect l="l" t="t" r="r" b="b"/>
              <a:pathLst>
                <a:path w="29975" h="65489">
                  <a:moveTo>
                    <a:pt x="652" y="16942"/>
                  </a:moveTo>
                  <a:lnTo>
                    <a:pt x="652" y="16942"/>
                  </a:lnTo>
                  <a:lnTo>
                    <a:pt x="1140" y="13196"/>
                  </a:lnTo>
                  <a:lnTo>
                    <a:pt x="3747" y="11404"/>
                  </a:lnTo>
                  <a:lnTo>
                    <a:pt x="7494" y="11566"/>
                  </a:lnTo>
                  <a:lnTo>
                    <a:pt x="7820" y="13521"/>
                  </a:lnTo>
                  <a:lnTo>
                    <a:pt x="8960" y="14336"/>
                  </a:lnTo>
                  <a:lnTo>
                    <a:pt x="9937" y="12870"/>
                  </a:lnTo>
                  <a:lnTo>
                    <a:pt x="11729" y="12544"/>
                  </a:lnTo>
                  <a:lnTo>
                    <a:pt x="12055" y="11404"/>
                  </a:lnTo>
                  <a:lnTo>
                    <a:pt x="15314" y="7005"/>
                  </a:lnTo>
                  <a:lnTo>
                    <a:pt x="16291" y="3095"/>
                  </a:lnTo>
                  <a:lnTo>
                    <a:pt x="17431" y="1140"/>
                  </a:lnTo>
                  <a:lnTo>
                    <a:pt x="20527" y="0"/>
                  </a:lnTo>
                  <a:lnTo>
                    <a:pt x="22319" y="163"/>
                  </a:lnTo>
                  <a:lnTo>
                    <a:pt x="23622" y="2444"/>
                  </a:lnTo>
                  <a:lnTo>
                    <a:pt x="26228" y="0"/>
                  </a:lnTo>
                  <a:lnTo>
                    <a:pt x="29487" y="0"/>
                  </a:lnTo>
                  <a:lnTo>
                    <a:pt x="29975" y="2769"/>
                  </a:lnTo>
                  <a:lnTo>
                    <a:pt x="29324" y="5539"/>
                  </a:lnTo>
                  <a:lnTo>
                    <a:pt x="28509" y="18083"/>
                  </a:lnTo>
                  <a:lnTo>
                    <a:pt x="25740" y="22644"/>
                  </a:lnTo>
                  <a:lnTo>
                    <a:pt x="24599" y="30301"/>
                  </a:lnTo>
                  <a:lnTo>
                    <a:pt x="27369" y="33071"/>
                  </a:lnTo>
                  <a:lnTo>
                    <a:pt x="27206" y="41542"/>
                  </a:lnTo>
                  <a:lnTo>
                    <a:pt x="24599" y="48547"/>
                  </a:lnTo>
                  <a:lnTo>
                    <a:pt x="17431" y="58484"/>
                  </a:lnTo>
                  <a:lnTo>
                    <a:pt x="14662" y="56041"/>
                  </a:lnTo>
                  <a:lnTo>
                    <a:pt x="9937" y="61091"/>
                  </a:lnTo>
                  <a:lnTo>
                    <a:pt x="7983" y="65326"/>
                  </a:lnTo>
                  <a:lnTo>
                    <a:pt x="7983" y="65326"/>
                  </a:lnTo>
                  <a:lnTo>
                    <a:pt x="5213" y="65489"/>
                  </a:lnTo>
                  <a:lnTo>
                    <a:pt x="3747" y="64675"/>
                  </a:lnTo>
                  <a:lnTo>
                    <a:pt x="0" y="64512"/>
                  </a:lnTo>
                  <a:lnTo>
                    <a:pt x="815" y="16942"/>
                  </a:lnTo>
                  <a:lnTo>
                    <a:pt x="652" y="16942"/>
                  </a:lnTo>
                  <a:close/>
                </a:path>
              </a:pathLst>
            </a:custGeom>
            <a:solidFill>
              <a:schemeClr val="bg2"/>
            </a:solidFill>
            <a:ln w="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3" name="Forma livre: Forma 62">
              <a:extLst>
                <a:ext uri="{FF2B5EF4-FFF2-40B4-BE49-F238E27FC236}">
                  <a16:creationId xmlns:a16="http://schemas.microsoft.com/office/drawing/2014/main" id="{0BA2CC25-530D-D8D8-73AE-451DCE0E7288}"/>
                </a:ext>
              </a:extLst>
            </p:cNvPr>
            <p:cNvSpPr/>
            <p:nvPr/>
          </p:nvSpPr>
          <p:spPr>
            <a:xfrm>
              <a:off x="3575425" y="4478079"/>
              <a:ext cx="109427" cy="114141"/>
            </a:xfrm>
            <a:custGeom>
              <a:avLst/>
              <a:gdLst>
                <a:gd name="connsiteX0" fmla="*/ 51968 w 105890"/>
                <a:gd name="connsiteY0" fmla="*/ 110452 h 110452"/>
                <a:gd name="connsiteX1" fmla="*/ 53760 w 105890"/>
                <a:gd name="connsiteY1" fmla="*/ 107520 h 110452"/>
                <a:gd name="connsiteX2" fmla="*/ 53923 w 105890"/>
                <a:gd name="connsiteY2" fmla="*/ 104914 h 110452"/>
                <a:gd name="connsiteX3" fmla="*/ 58810 w 105890"/>
                <a:gd name="connsiteY3" fmla="*/ 99863 h 110452"/>
                <a:gd name="connsiteX4" fmla="*/ 65001 w 105890"/>
                <a:gd name="connsiteY4" fmla="*/ 98397 h 110452"/>
                <a:gd name="connsiteX5" fmla="*/ 69399 w 105890"/>
                <a:gd name="connsiteY5" fmla="*/ 97094 h 110452"/>
                <a:gd name="connsiteX6" fmla="*/ 69399 w 105890"/>
                <a:gd name="connsiteY6" fmla="*/ 94324 h 110452"/>
                <a:gd name="connsiteX7" fmla="*/ 76404 w 105890"/>
                <a:gd name="connsiteY7" fmla="*/ 89111 h 110452"/>
                <a:gd name="connsiteX8" fmla="*/ 79663 w 105890"/>
                <a:gd name="connsiteY8" fmla="*/ 82269 h 110452"/>
                <a:gd name="connsiteX9" fmla="*/ 78359 w 105890"/>
                <a:gd name="connsiteY9" fmla="*/ 77871 h 110452"/>
                <a:gd name="connsiteX10" fmla="*/ 82432 w 105890"/>
                <a:gd name="connsiteY10" fmla="*/ 73635 h 110452"/>
                <a:gd name="connsiteX11" fmla="*/ 88948 w 105890"/>
                <a:gd name="connsiteY11" fmla="*/ 66793 h 110452"/>
                <a:gd name="connsiteX12" fmla="*/ 92858 w 105890"/>
                <a:gd name="connsiteY12" fmla="*/ 66956 h 110452"/>
                <a:gd name="connsiteX13" fmla="*/ 100026 w 105890"/>
                <a:gd name="connsiteY13" fmla="*/ 62720 h 110452"/>
                <a:gd name="connsiteX14" fmla="*/ 101655 w 105890"/>
                <a:gd name="connsiteY14" fmla="*/ 58322 h 110452"/>
                <a:gd name="connsiteX15" fmla="*/ 105076 w 105890"/>
                <a:gd name="connsiteY15" fmla="*/ 55878 h 110452"/>
                <a:gd name="connsiteX16" fmla="*/ 105891 w 105890"/>
                <a:gd name="connsiteY16" fmla="*/ 53760 h 110452"/>
                <a:gd name="connsiteX17" fmla="*/ 103773 w 105890"/>
                <a:gd name="connsiteY17" fmla="*/ 52131 h 110452"/>
                <a:gd name="connsiteX18" fmla="*/ 99212 w 105890"/>
                <a:gd name="connsiteY18" fmla="*/ 51479 h 110452"/>
                <a:gd name="connsiteX19" fmla="*/ 97908 w 105890"/>
                <a:gd name="connsiteY19" fmla="*/ 54737 h 110452"/>
                <a:gd name="connsiteX20" fmla="*/ 93836 w 105890"/>
                <a:gd name="connsiteY20" fmla="*/ 51968 h 110452"/>
                <a:gd name="connsiteX21" fmla="*/ 90252 w 105890"/>
                <a:gd name="connsiteY21" fmla="*/ 51968 h 110452"/>
                <a:gd name="connsiteX22" fmla="*/ 88622 w 105890"/>
                <a:gd name="connsiteY22" fmla="*/ 49036 h 110452"/>
                <a:gd name="connsiteX23" fmla="*/ 85853 w 105890"/>
                <a:gd name="connsiteY23" fmla="*/ 49198 h 110452"/>
                <a:gd name="connsiteX24" fmla="*/ 84387 w 105890"/>
                <a:gd name="connsiteY24" fmla="*/ 48384 h 110452"/>
                <a:gd name="connsiteX25" fmla="*/ 80640 w 105890"/>
                <a:gd name="connsiteY25" fmla="*/ 48221 h 110452"/>
                <a:gd name="connsiteX26" fmla="*/ 81455 w 105890"/>
                <a:gd name="connsiteY26" fmla="*/ 652 h 110452"/>
                <a:gd name="connsiteX27" fmla="*/ 81292 w 105890"/>
                <a:gd name="connsiteY27" fmla="*/ 652 h 110452"/>
                <a:gd name="connsiteX28" fmla="*/ 36980 w 105890"/>
                <a:gd name="connsiteY28" fmla="*/ 0 h 110452"/>
                <a:gd name="connsiteX29" fmla="*/ 35840 w 105890"/>
                <a:gd name="connsiteY29" fmla="*/ 13358 h 110452"/>
                <a:gd name="connsiteX30" fmla="*/ 25251 w 105890"/>
                <a:gd name="connsiteY30" fmla="*/ 14336 h 110452"/>
                <a:gd name="connsiteX31" fmla="*/ 28998 w 105890"/>
                <a:gd name="connsiteY31" fmla="*/ 17431 h 110452"/>
                <a:gd name="connsiteX32" fmla="*/ 30301 w 105890"/>
                <a:gd name="connsiteY32" fmla="*/ 20038 h 110452"/>
                <a:gd name="connsiteX33" fmla="*/ 34374 w 105890"/>
                <a:gd name="connsiteY33" fmla="*/ 25088 h 110452"/>
                <a:gd name="connsiteX34" fmla="*/ 38447 w 105890"/>
                <a:gd name="connsiteY34" fmla="*/ 27857 h 110452"/>
                <a:gd name="connsiteX35" fmla="*/ 41379 w 105890"/>
                <a:gd name="connsiteY35" fmla="*/ 27857 h 110452"/>
                <a:gd name="connsiteX36" fmla="*/ 43334 w 105890"/>
                <a:gd name="connsiteY36" fmla="*/ 31279 h 110452"/>
                <a:gd name="connsiteX37" fmla="*/ 43822 w 105890"/>
                <a:gd name="connsiteY37" fmla="*/ 34863 h 110452"/>
                <a:gd name="connsiteX38" fmla="*/ 45614 w 105890"/>
                <a:gd name="connsiteY38" fmla="*/ 36817 h 110452"/>
                <a:gd name="connsiteX39" fmla="*/ 50013 w 105890"/>
                <a:gd name="connsiteY39" fmla="*/ 37143 h 110452"/>
                <a:gd name="connsiteX40" fmla="*/ 52783 w 105890"/>
                <a:gd name="connsiteY40" fmla="*/ 38772 h 110452"/>
                <a:gd name="connsiteX41" fmla="*/ 52783 w 105890"/>
                <a:gd name="connsiteY41" fmla="*/ 42031 h 110452"/>
                <a:gd name="connsiteX42" fmla="*/ 50176 w 105890"/>
                <a:gd name="connsiteY42" fmla="*/ 44963 h 110452"/>
                <a:gd name="connsiteX43" fmla="*/ 17594 w 105890"/>
                <a:gd name="connsiteY43" fmla="*/ 45126 h 110452"/>
                <a:gd name="connsiteX44" fmla="*/ 2281 w 105890"/>
                <a:gd name="connsiteY44" fmla="*/ 69399 h 110452"/>
                <a:gd name="connsiteX45" fmla="*/ 2769 w 105890"/>
                <a:gd name="connsiteY45" fmla="*/ 73472 h 110452"/>
                <a:gd name="connsiteX46" fmla="*/ 3095 w 105890"/>
                <a:gd name="connsiteY46" fmla="*/ 74775 h 110452"/>
                <a:gd name="connsiteX47" fmla="*/ 2769 w 105890"/>
                <a:gd name="connsiteY47" fmla="*/ 77382 h 110452"/>
                <a:gd name="connsiteX48" fmla="*/ 3747 w 105890"/>
                <a:gd name="connsiteY48" fmla="*/ 79499 h 110452"/>
                <a:gd name="connsiteX49" fmla="*/ 4398 w 105890"/>
                <a:gd name="connsiteY49" fmla="*/ 80151 h 110452"/>
                <a:gd name="connsiteX50" fmla="*/ 4236 w 105890"/>
                <a:gd name="connsiteY50" fmla="*/ 82269 h 110452"/>
                <a:gd name="connsiteX51" fmla="*/ 1955 w 105890"/>
                <a:gd name="connsiteY51" fmla="*/ 84061 h 110452"/>
                <a:gd name="connsiteX52" fmla="*/ 977 w 105890"/>
                <a:gd name="connsiteY52" fmla="*/ 86831 h 110452"/>
                <a:gd name="connsiteX53" fmla="*/ 0 w 105890"/>
                <a:gd name="connsiteY53" fmla="*/ 87645 h 110452"/>
                <a:gd name="connsiteX54" fmla="*/ 4236 w 105890"/>
                <a:gd name="connsiteY54" fmla="*/ 92695 h 110452"/>
                <a:gd name="connsiteX55" fmla="*/ 7331 w 105890"/>
                <a:gd name="connsiteY55" fmla="*/ 97745 h 110452"/>
                <a:gd name="connsiteX56" fmla="*/ 11241 w 105890"/>
                <a:gd name="connsiteY56" fmla="*/ 98234 h 110452"/>
                <a:gd name="connsiteX57" fmla="*/ 14662 w 105890"/>
                <a:gd name="connsiteY57" fmla="*/ 102470 h 110452"/>
                <a:gd name="connsiteX58" fmla="*/ 28183 w 105890"/>
                <a:gd name="connsiteY58" fmla="*/ 107520 h 110452"/>
                <a:gd name="connsiteX59" fmla="*/ 36003 w 105890"/>
                <a:gd name="connsiteY59" fmla="*/ 107683 h 110452"/>
                <a:gd name="connsiteX60" fmla="*/ 42193 w 105890"/>
                <a:gd name="connsiteY60" fmla="*/ 107031 h 110452"/>
                <a:gd name="connsiteX61" fmla="*/ 51968 w 105890"/>
                <a:gd name="connsiteY61" fmla="*/ 110452 h 1104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</a:cxnLst>
              <a:rect l="l" t="t" r="r" b="b"/>
              <a:pathLst>
                <a:path w="105890" h="110452">
                  <a:moveTo>
                    <a:pt x="51968" y="110452"/>
                  </a:moveTo>
                  <a:lnTo>
                    <a:pt x="53760" y="107520"/>
                  </a:lnTo>
                  <a:lnTo>
                    <a:pt x="53923" y="104914"/>
                  </a:lnTo>
                  <a:lnTo>
                    <a:pt x="58810" y="99863"/>
                  </a:lnTo>
                  <a:lnTo>
                    <a:pt x="65001" y="98397"/>
                  </a:lnTo>
                  <a:lnTo>
                    <a:pt x="69399" y="97094"/>
                  </a:lnTo>
                  <a:lnTo>
                    <a:pt x="69399" y="94324"/>
                  </a:lnTo>
                  <a:lnTo>
                    <a:pt x="76404" y="89111"/>
                  </a:lnTo>
                  <a:lnTo>
                    <a:pt x="79663" y="82269"/>
                  </a:lnTo>
                  <a:lnTo>
                    <a:pt x="78359" y="77871"/>
                  </a:lnTo>
                  <a:lnTo>
                    <a:pt x="82432" y="73635"/>
                  </a:lnTo>
                  <a:lnTo>
                    <a:pt x="88948" y="66793"/>
                  </a:lnTo>
                  <a:lnTo>
                    <a:pt x="92858" y="66956"/>
                  </a:lnTo>
                  <a:lnTo>
                    <a:pt x="100026" y="62720"/>
                  </a:lnTo>
                  <a:lnTo>
                    <a:pt x="101655" y="58322"/>
                  </a:lnTo>
                  <a:lnTo>
                    <a:pt x="105076" y="55878"/>
                  </a:lnTo>
                  <a:lnTo>
                    <a:pt x="105891" y="53760"/>
                  </a:lnTo>
                  <a:lnTo>
                    <a:pt x="103773" y="52131"/>
                  </a:lnTo>
                  <a:lnTo>
                    <a:pt x="99212" y="51479"/>
                  </a:lnTo>
                  <a:lnTo>
                    <a:pt x="97908" y="54737"/>
                  </a:lnTo>
                  <a:lnTo>
                    <a:pt x="93836" y="51968"/>
                  </a:lnTo>
                  <a:lnTo>
                    <a:pt x="90252" y="51968"/>
                  </a:lnTo>
                  <a:lnTo>
                    <a:pt x="88622" y="49036"/>
                  </a:lnTo>
                  <a:lnTo>
                    <a:pt x="85853" y="49198"/>
                  </a:lnTo>
                  <a:lnTo>
                    <a:pt x="84387" y="48384"/>
                  </a:lnTo>
                  <a:lnTo>
                    <a:pt x="80640" y="48221"/>
                  </a:lnTo>
                  <a:lnTo>
                    <a:pt x="81455" y="652"/>
                  </a:lnTo>
                  <a:lnTo>
                    <a:pt x="81292" y="652"/>
                  </a:lnTo>
                  <a:lnTo>
                    <a:pt x="36980" y="0"/>
                  </a:lnTo>
                  <a:lnTo>
                    <a:pt x="35840" y="13358"/>
                  </a:lnTo>
                  <a:lnTo>
                    <a:pt x="25251" y="14336"/>
                  </a:lnTo>
                  <a:lnTo>
                    <a:pt x="28998" y="17431"/>
                  </a:lnTo>
                  <a:lnTo>
                    <a:pt x="30301" y="20038"/>
                  </a:lnTo>
                  <a:lnTo>
                    <a:pt x="34374" y="25088"/>
                  </a:lnTo>
                  <a:lnTo>
                    <a:pt x="38447" y="27857"/>
                  </a:lnTo>
                  <a:lnTo>
                    <a:pt x="41379" y="27857"/>
                  </a:lnTo>
                  <a:lnTo>
                    <a:pt x="43334" y="31279"/>
                  </a:lnTo>
                  <a:lnTo>
                    <a:pt x="43822" y="34863"/>
                  </a:lnTo>
                  <a:lnTo>
                    <a:pt x="45614" y="36817"/>
                  </a:lnTo>
                  <a:lnTo>
                    <a:pt x="50013" y="37143"/>
                  </a:lnTo>
                  <a:lnTo>
                    <a:pt x="52783" y="38772"/>
                  </a:lnTo>
                  <a:lnTo>
                    <a:pt x="52783" y="42031"/>
                  </a:lnTo>
                  <a:lnTo>
                    <a:pt x="50176" y="44963"/>
                  </a:lnTo>
                  <a:lnTo>
                    <a:pt x="17594" y="45126"/>
                  </a:lnTo>
                  <a:lnTo>
                    <a:pt x="2281" y="69399"/>
                  </a:lnTo>
                  <a:lnTo>
                    <a:pt x="2769" y="73472"/>
                  </a:lnTo>
                  <a:lnTo>
                    <a:pt x="3095" y="74775"/>
                  </a:lnTo>
                  <a:lnTo>
                    <a:pt x="2769" y="77382"/>
                  </a:lnTo>
                  <a:lnTo>
                    <a:pt x="3747" y="79499"/>
                  </a:lnTo>
                  <a:lnTo>
                    <a:pt x="4398" y="80151"/>
                  </a:lnTo>
                  <a:lnTo>
                    <a:pt x="4236" y="82269"/>
                  </a:lnTo>
                  <a:lnTo>
                    <a:pt x="1955" y="84061"/>
                  </a:lnTo>
                  <a:lnTo>
                    <a:pt x="977" y="86831"/>
                  </a:lnTo>
                  <a:lnTo>
                    <a:pt x="0" y="87645"/>
                  </a:lnTo>
                  <a:lnTo>
                    <a:pt x="4236" y="92695"/>
                  </a:lnTo>
                  <a:lnTo>
                    <a:pt x="7331" y="97745"/>
                  </a:lnTo>
                  <a:lnTo>
                    <a:pt x="11241" y="98234"/>
                  </a:lnTo>
                  <a:lnTo>
                    <a:pt x="14662" y="102470"/>
                  </a:lnTo>
                  <a:lnTo>
                    <a:pt x="28183" y="107520"/>
                  </a:lnTo>
                  <a:lnTo>
                    <a:pt x="36003" y="107683"/>
                  </a:lnTo>
                  <a:lnTo>
                    <a:pt x="42193" y="107031"/>
                  </a:lnTo>
                  <a:lnTo>
                    <a:pt x="51968" y="110452"/>
                  </a:lnTo>
                  <a:close/>
                </a:path>
              </a:pathLst>
            </a:custGeom>
            <a:solidFill>
              <a:schemeClr val="bg2"/>
            </a:solidFill>
            <a:ln w="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4" name="Forma livre: Forma 63">
              <a:extLst>
                <a:ext uri="{FF2B5EF4-FFF2-40B4-BE49-F238E27FC236}">
                  <a16:creationId xmlns:a16="http://schemas.microsoft.com/office/drawing/2014/main" id="{B68DC277-F163-0F8D-AD77-C5F8CE9C9D05}"/>
                </a:ext>
              </a:extLst>
            </p:cNvPr>
            <p:cNvSpPr/>
            <p:nvPr/>
          </p:nvSpPr>
          <p:spPr>
            <a:xfrm>
              <a:off x="2979632" y="4008550"/>
              <a:ext cx="756061" cy="561785"/>
            </a:xfrm>
            <a:custGeom>
              <a:avLst/>
              <a:gdLst>
                <a:gd name="connsiteX0" fmla="*/ 163 w 731624"/>
                <a:gd name="connsiteY0" fmla="*/ 1140 h 543627"/>
                <a:gd name="connsiteX1" fmla="*/ 61417 w 731624"/>
                <a:gd name="connsiteY1" fmla="*/ 0 h 543627"/>
                <a:gd name="connsiteX2" fmla="*/ 62720 w 731624"/>
                <a:gd name="connsiteY2" fmla="*/ 2281 h 543627"/>
                <a:gd name="connsiteX3" fmla="*/ 61742 w 731624"/>
                <a:gd name="connsiteY3" fmla="*/ 4236 h 543627"/>
                <a:gd name="connsiteX4" fmla="*/ 148736 w 731624"/>
                <a:gd name="connsiteY4" fmla="*/ 43985 h 543627"/>
                <a:gd name="connsiteX5" fmla="*/ 221882 w 731624"/>
                <a:gd name="connsiteY5" fmla="*/ 46266 h 543627"/>
                <a:gd name="connsiteX6" fmla="*/ 222371 w 731624"/>
                <a:gd name="connsiteY6" fmla="*/ 36980 h 543627"/>
                <a:gd name="connsiteX7" fmla="*/ 263750 w 731624"/>
                <a:gd name="connsiteY7" fmla="*/ 38284 h 543627"/>
                <a:gd name="connsiteX8" fmla="*/ 268474 w 731624"/>
                <a:gd name="connsiteY8" fmla="*/ 41216 h 543627"/>
                <a:gd name="connsiteX9" fmla="*/ 272547 w 731624"/>
                <a:gd name="connsiteY9" fmla="*/ 47081 h 543627"/>
                <a:gd name="connsiteX10" fmla="*/ 274828 w 731624"/>
                <a:gd name="connsiteY10" fmla="*/ 49687 h 543627"/>
                <a:gd name="connsiteX11" fmla="*/ 275316 w 731624"/>
                <a:gd name="connsiteY11" fmla="*/ 51968 h 543627"/>
                <a:gd name="connsiteX12" fmla="*/ 277923 w 731624"/>
                <a:gd name="connsiteY12" fmla="*/ 51968 h 543627"/>
                <a:gd name="connsiteX13" fmla="*/ 280204 w 731624"/>
                <a:gd name="connsiteY13" fmla="*/ 55552 h 543627"/>
                <a:gd name="connsiteX14" fmla="*/ 279389 w 731624"/>
                <a:gd name="connsiteY14" fmla="*/ 57996 h 543627"/>
                <a:gd name="connsiteX15" fmla="*/ 283299 w 731624"/>
                <a:gd name="connsiteY15" fmla="*/ 59462 h 543627"/>
                <a:gd name="connsiteX16" fmla="*/ 287209 w 731624"/>
                <a:gd name="connsiteY16" fmla="*/ 62720 h 543627"/>
                <a:gd name="connsiteX17" fmla="*/ 286883 w 731624"/>
                <a:gd name="connsiteY17" fmla="*/ 65001 h 543627"/>
                <a:gd name="connsiteX18" fmla="*/ 285580 w 731624"/>
                <a:gd name="connsiteY18" fmla="*/ 66956 h 543627"/>
                <a:gd name="connsiteX19" fmla="*/ 288675 w 731624"/>
                <a:gd name="connsiteY19" fmla="*/ 67933 h 543627"/>
                <a:gd name="connsiteX20" fmla="*/ 292259 w 731624"/>
                <a:gd name="connsiteY20" fmla="*/ 70214 h 543627"/>
                <a:gd name="connsiteX21" fmla="*/ 294540 w 731624"/>
                <a:gd name="connsiteY21" fmla="*/ 73961 h 543627"/>
                <a:gd name="connsiteX22" fmla="*/ 295028 w 731624"/>
                <a:gd name="connsiteY22" fmla="*/ 79663 h 543627"/>
                <a:gd name="connsiteX23" fmla="*/ 296820 w 731624"/>
                <a:gd name="connsiteY23" fmla="*/ 81780 h 543627"/>
                <a:gd name="connsiteX24" fmla="*/ 298287 w 731624"/>
                <a:gd name="connsiteY24" fmla="*/ 82106 h 543627"/>
                <a:gd name="connsiteX25" fmla="*/ 299101 w 731624"/>
                <a:gd name="connsiteY25" fmla="*/ 84061 h 543627"/>
                <a:gd name="connsiteX26" fmla="*/ 302033 w 731624"/>
                <a:gd name="connsiteY26" fmla="*/ 86831 h 543627"/>
                <a:gd name="connsiteX27" fmla="*/ 302033 w 731624"/>
                <a:gd name="connsiteY27" fmla="*/ 90740 h 543627"/>
                <a:gd name="connsiteX28" fmla="*/ 300730 w 731624"/>
                <a:gd name="connsiteY28" fmla="*/ 91881 h 543627"/>
                <a:gd name="connsiteX29" fmla="*/ 297798 w 731624"/>
                <a:gd name="connsiteY29" fmla="*/ 92695 h 543627"/>
                <a:gd name="connsiteX30" fmla="*/ 297798 w 731624"/>
                <a:gd name="connsiteY30" fmla="*/ 94487 h 543627"/>
                <a:gd name="connsiteX31" fmla="*/ 302196 w 731624"/>
                <a:gd name="connsiteY31" fmla="*/ 99700 h 543627"/>
                <a:gd name="connsiteX32" fmla="*/ 305617 w 731624"/>
                <a:gd name="connsiteY32" fmla="*/ 103936 h 543627"/>
                <a:gd name="connsiteX33" fmla="*/ 306758 w 731624"/>
                <a:gd name="connsiteY33" fmla="*/ 107520 h 543627"/>
                <a:gd name="connsiteX34" fmla="*/ 306758 w 731624"/>
                <a:gd name="connsiteY34" fmla="*/ 108986 h 543627"/>
                <a:gd name="connsiteX35" fmla="*/ 308061 w 731624"/>
                <a:gd name="connsiteY35" fmla="*/ 108986 h 543627"/>
                <a:gd name="connsiteX36" fmla="*/ 310179 w 731624"/>
                <a:gd name="connsiteY36" fmla="*/ 111104 h 543627"/>
                <a:gd name="connsiteX37" fmla="*/ 311808 w 731624"/>
                <a:gd name="connsiteY37" fmla="*/ 111104 h 543627"/>
                <a:gd name="connsiteX38" fmla="*/ 314252 w 731624"/>
                <a:gd name="connsiteY38" fmla="*/ 111919 h 543627"/>
                <a:gd name="connsiteX39" fmla="*/ 315229 w 731624"/>
                <a:gd name="connsiteY39" fmla="*/ 113711 h 543627"/>
                <a:gd name="connsiteX40" fmla="*/ 315555 w 731624"/>
                <a:gd name="connsiteY40" fmla="*/ 115340 h 543627"/>
                <a:gd name="connsiteX41" fmla="*/ 317184 w 731624"/>
                <a:gd name="connsiteY41" fmla="*/ 117132 h 543627"/>
                <a:gd name="connsiteX42" fmla="*/ 320116 w 731624"/>
                <a:gd name="connsiteY42" fmla="*/ 117132 h 543627"/>
                <a:gd name="connsiteX43" fmla="*/ 325329 w 731624"/>
                <a:gd name="connsiteY43" fmla="*/ 119738 h 543627"/>
                <a:gd name="connsiteX44" fmla="*/ 325981 w 731624"/>
                <a:gd name="connsiteY44" fmla="*/ 121530 h 543627"/>
                <a:gd name="connsiteX45" fmla="*/ 330217 w 731624"/>
                <a:gd name="connsiteY45" fmla="*/ 122833 h 543627"/>
                <a:gd name="connsiteX46" fmla="*/ 335430 w 731624"/>
                <a:gd name="connsiteY46" fmla="*/ 125440 h 543627"/>
                <a:gd name="connsiteX47" fmla="*/ 336896 w 731624"/>
                <a:gd name="connsiteY47" fmla="*/ 127232 h 543627"/>
                <a:gd name="connsiteX48" fmla="*/ 339014 w 731624"/>
                <a:gd name="connsiteY48" fmla="*/ 127558 h 543627"/>
                <a:gd name="connsiteX49" fmla="*/ 341458 w 731624"/>
                <a:gd name="connsiteY49" fmla="*/ 126580 h 543627"/>
                <a:gd name="connsiteX50" fmla="*/ 341946 w 731624"/>
                <a:gd name="connsiteY50" fmla="*/ 124951 h 543627"/>
                <a:gd name="connsiteX51" fmla="*/ 345530 w 731624"/>
                <a:gd name="connsiteY51" fmla="*/ 122019 h 543627"/>
                <a:gd name="connsiteX52" fmla="*/ 348137 w 731624"/>
                <a:gd name="connsiteY52" fmla="*/ 121367 h 543627"/>
                <a:gd name="connsiteX53" fmla="*/ 348625 w 731624"/>
                <a:gd name="connsiteY53" fmla="*/ 119249 h 543627"/>
                <a:gd name="connsiteX54" fmla="*/ 348137 w 731624"/>
                <a:gd name="connsiteY54" fmla="*/ 117946 h 543627"/>
                <a:gd name="connsiteX55" fmla="*/ 350418 w 731624"/>
                <a:gd name="connsiteY55" fmla="*/ 115177 h 543627"/>
                <a:gd name="connsiteX56" fmla="*/ 354164 w 731624"/>
                <a:gd name="connsiteY56" fmla="*/ 108172 h 543627"/>
                <a:gd name="connsiteX57" fmla="*/ 356771 w 731624"/>
                <a:gd name="connsiteY57" fmla="*/ 105565 h 543627"/>
                <a:gd name="connsiteX58" fmla="*/ 359703 w 731624"/>
                <a:gd name="connsiteY58" fmla="*/ 104588 h 543627"/>
                <a:gd name="connsiteX59" fmla="*/ 361658 w 731624"/>
                <a:gd name="connsiteY59" fmla="*/ 105076 h 543627"/>
                <a:gd name="connsiteX60" fmla="*/ 362147 w 731624"/>
                <a:gd name="connsiteY60" fmla="*/ 105891 h 543627"/>
                <a:gd name="connsiteX61" fmla="*/ 364102 w 731624"/>
                <a:gd name="connsiteY61" fmla="*/ 105565 h 543627"/>
                <a:gd name="connsiteX62" fmla="*/ 365568 w 731624"/>
                <a:gd name="connsiteY62" fmla="*/ 102470 h 543627"/>
                <a:gd name="connsiteX63" fmla="*/ 370130 w 731624"/>
                <a:gd name="connsiteY63" fmla="*/ 102470 h 543627"/>
                <a:gd name="connsiteX64" fmla="*/ 374528 w 731624"/>
                <a:gd name="connsiteY64" fmla="*/ 103122 h 543627"/>
                <a:gd name="connsiteX65" fmla="*/ 379415 w 731624"/>
                <a:gd name="connsiteY65" fmla="*/ 102796 h 543627"/>
                <a:gd name="connsiteX66" fmla="*/ 381370 w 731624"/>
                <a:gd name="connsiteY66" fmla="*/ 103773 h 543627"/>
                <a:gd name="connsiteX67" fmla="*/ 382511 w 731624"/>
                <a:gd name="connsiteY67" fmla="*/ 105239 h 543627"/>
                <a:gd name="connsiteX68" fmla="*/ 385769 w 731624"/>
                <a:gd name="connsiteY68" fmla="*/ 104588 h 543627"/>
                <a:gd name="connsiteX69" fmla="*/ 389190 w 731624"/>
                <a:gd name="connsiteY69" fmla="*/ 106217 h 543627"/>
                <a:gd name="connsiteX70" fmla="*/ 391471 w 731624"/>
                <a:gd name="connsiteY70" fmla="*/ 109964 h 543627"/>
                <a:gd name="connsiteX71" fmla="*/ 396521 w 731624"/>
                <a:gd name="connsiteY71" fmla="*/ 114199 h 543627"/>
                <a:gd name="connsiteX72" fmla="*/ 400431 w 731624"/>
                <a:gd name="connsiteY72" fmla="*/ 120227 h 543627"/>
                <a:gd name="connsiteX73" fmla="*/ 402386 w 731624"/>
                <a:gd name="connsiteY73" fmla="*/ 125603 h 543627"/>
                <a:gd name="connsiteX74" fmla="*/ 403689 w 731624"/>
                <a:gd name="connsiteY74" fmla="*/ 127884 h 543627"/>
                <a:gd name="connsiteX75" fmla="*/ 404341 w 731624"/>
                <a:gd name="connsiteY75" fmla="*/ 131793 h 543627"/>
                <a:gd name="connsiteX76" fmla="*/ 404666 w 731624"/>
                <a:gd name="connsiteY76" fmla="*/ 137821 h 543627"/>
                <a:gd name="connsiteX77" fmla="*/ 407436 w 731624"/>
                <a:gd name="connsiteY77" fmla="*/ 139287 h 543627"/>
                <a:gd name="connsiteX78" fmla="*/ 408739 w 731624"/>
                <a:gd name="connsiteY78" fmla="*/ 142871 h 543627"/>
                <a:gd name="connsiteX79" fmla="*/ 411997 w 731624"/>
                <a:gd name="connsiteY79" fmla="*/ 152157 h 543627"/>
                <a:gd name="connsiteX80" fmla="*/ 414115 w 731624"/>
                <a:gd name="connsiteY80" fmla="*/ 153623 h 543627"/>
                <a:gd name="connsiteX81" fmla="*/ 415255 w 731624"/>
                <a:gd name="connsiteY81" fmla="*/ 156881 h 543627"/>
                <a:gd name="connsiteX82" fmla="*/ 419165 w 731624"/>
                <a:gd name="connsiteY82" fmla="*/ 158999 h 543627"/>
                <a:gd name="connsiteX83" fmla="*/ 420306 w 731624"/>
                <a:gd name="connsiteY83" fmla="*/ 164049 h 543627"/>
                <a:gd name="connsiteX84" fmla="*/ 422749 w 731624"/>
                <a:gd name="connsiteY84" fmla="*/ 168285 h 543627"/>
                <a:gd name="connsiteX85" fmla="*/ 426985 w 731624"/>
                <a:gd name="connsiteY85" fmla="*/ 172684 h 543627"/>
                <a:gd name="connsiteX86" fmla="*/ 426496 w 731624"/>
                <a:gd name="connsiteY86" fmla="*/ 177245 h 543627"/>
                <a:gd name="connsiteX87" fmla="*/ 426007 w 731624"/>
                <a:gd name="connsiteY87" fmla="*/ 181969 h 543627"/>
                <a:gd name="connsiteX88" fmla="*/ 426007 w 731624"/>
                <a:gd name="connsiteY88" fmla="*/ 183273 h 543627"/>
                <a:gd name="connsiteX89" fmla="*/ 426333 w 731624"/>
                <a:gd name="connsiteY89" fmla="*/ 184739 h 543627"/>
                <a:gd name="connsiteX90" fmla="*/ 431546 w 731624"/>
                <a:gd name="connsiteY90" fmla="*/ 199727 h 543627"/>
                <a:gd name="connsiteX91" fmla="*/ 431220 w 731624"/>
                <a:gd name="connsiteY91" fmla="*/ 206406 h 543627"/>
                <a:gd name="connsiteX92" fmla="*/ 433338 w 731624"/>
                <a:gd name="connsiteY92" fmla="*/ 209012 h 543627"/>
                <a:gd name="connsiteX93" fmla="*/ 433990 w 731624"/>
                <a:gd name="connsiteY93" fmla="*/ 209664 h 543627"/>
                <a:gd name="connsiteX94" fmla="*/ 437085 w 731624"/>
                <a:gd name="connsiteY94" fmla="*/ 210804 h 543627"/>
                <a:gd name="connsiteX95" fmla="*/ 440343 w 731624"/>
                <a:gd name="connsiteY95" fmla="*/ 210316 h 543627"/>
                <a:gd name="connsiteX96" fmla="*/ 443602 w 731624"/>
                <a:gd name="connsiteY96" fmla="*/ 212108 h 543627"/>
                <a:gd name="connsiteX97" fmla="*/ 447674 w 731624"/>
                <a:gd name="connsiteY97" fmla="*/ 216180 h 543627"/>
                <a:gd name="connsiteX98" fmla="*/ 456146 w 731624"/>
                <a:gd name="connsiteY98" fmla="*/ 218950 h 543627"/>
                <a:gd name="connsiteX99" fmla="*/ 460870 w 731624"/>
                <a:gd name="connsiteY99" fmla="*/ 221393 h 543627"/>
                <a:gd name="connsiteX100" fmla="*/ 465431 w 731624"/>
                <a:gd name="connsiteY100" fmla="*/ 222534 h 543627"/>
                <a:gd name="connsiteX101" fmla="*/ 467061 w 731624"/>
                <a:gd name="connsiteY101" fmla="*/ 225629 h 543627"/>
                <a:gd name="connsiteX102" fmla="*/ 469341 w 731624"/>
                <a:gd name="connsiteY102" fmla="*/ 226770 h 543627"/>
                <a:gd name="connsiteX103" fmla="*/ 468038 w 731624"/>
                <a:gd name="connsiteY103" fmla="*/ 230516 h 543627"/>
                <a:gd name="connsiteX104" fmla="*/ 472437 w 731624"/>
                <a:gd name="connsiteY104" fmla="*/ 227584 h 543627"/>
                <a:gd name="connsiteX105" fmla="*/ 473903 w 731624"/>
                <a:gd name="connsiteY105" fmla="*/ 220253 h 543627"/>
                <a:gd name="connsiteX106" fmla="*/ 477324 w 731624"/>
                <a:gd name="connsiteY106" fmla="*/ 217321 h 543627"/>
                <a:gd name="connsiteX107" fmla="*/ 476509 w 731624"/>
                <a:gd name="connsiteY107" fmla="*/ 219927 h 543627"/>
                <a:gd name="connsiteX108" fmla="*/ 475695 w 731624"/>
                <a:gd name="connsiteY108" fmla="*/ 226606 h 543627"/>
                <a:gd name="connsiteX109" fmla="*/ 473740 w 731624"/>
                <a:gd name="connsiteY109" fmla="*/ 228887 h 543627"/>
                <a:gd name="connsiteX110" fmla="*/ 472274 w 731624"/>
                <a:gd name="connsiteY110" fmla="*/ 234589 h 543627"/>
                <a:gd name="connsiteX111" fmla="*/ 468364 w 731624"/>
                <a:gd name="connsiteY111" fmla="*/ 240128 h 543627"/>
                <a:gd name="connsiteX112" fmla="*/ 467712 w 731624"/>
                <a:gd name="connsiteY112" fmla="*/ 244527 h 543627"/>
                <a:gd name="connsiteX113" fmla="*/ 464780 w 731624"/>
                <a:gd name="connsiteY113" fmla="*/ 244852 h 543627"/>
                <a:gd name="connsiteX114" fmla="*/ 465757 w 731624"/>
                <a:gd name="connsiteY114" fmla="*/ 242246 h 543627"/>
                <a:gd name="connsiteX115" fmla="*/ 466572 w 731624"/>
                <a:gd name="connsiteY115" fmla="*/ 237684 h 543627"/>
                <a:gd name="connsiteX116" fmla="*/ 462173 w 731624"/>
                <a:gd name="connsiteY116" fmla="*/ 237358 h 543627"/>
                <a:gd name="connsiteX117" fmla="*/ 462173 w 731624"/>
                <a:gd name="connsiteY117" fmla="*/ 244527 h 543627"/>
                <a:gd name="connsiteX118" fmla="*/ 459078 w 731624"/>
                <a:gd name="connsiteY118" fmla="*/ 248436 h 543627"/>
                <a:gd name="connsiteX119" fmla="*/ 462336 w 731624"/>
                <a:gd name="connsiteY119" fmla="*/ 251043 h 543627"/>
                <a:gd name="connsiteX120" fmla="*/ 461196 w 731624"/>
                <a:gd name="connsiteY120" fmla="*/ 253487 h 543627"/>
                <a:gd name="connsiteX121" fmla="*/ 459567 w 731624"/>
                <a:gd name="connsiteY121" fmla="*/ 260655 h 543627"/>
                <a:gd name="connsiteX122" fmla="*/ 456960 w 731624"/>
                <a:gd name="connsiteY122" fmla="*/ 263261 h 543627"/>
                <a:gd name="connsiteX123" fmla="*/ 456960 w 731624"/>
                <a:gd name="connsiteY123" fmla="*/ 269289 h 543627"/>
                <a:gd name="connsiteX124" fmla="*/ 458589 w 731624"/>
                <a:gd name="connsiteY124" fmla="*/ 271570 h 543627"/>
                <a:gd name="connsiteX125" fmla="*/ 456797 w 731624"/>
                <a:gd name="connsiteY125" fmla="*/ 275154 h 543627"/>
                <a:gd name="connsiteX126" fmla="*/ 457123 w 731624"/>
                <a:gd name="connsiteY126" fmla="*/ 278900 h 543627"/>
                <a:gd name="connsiteX127" fmla="*/ 454354 w 731624"/>
                <a:gd name="connsiteY127" fmla="*/ 291607 h 543627"/>
                <a:gd name="connsiteX128" fmla="*/ 455657 w 731624"/>
                <a:gd name="connsiteY128" fmla="*/ 299590 h 543627"/>
                <a:gd name="connsiteX129" fmla="*/ 454354 w 731624"/>
                <a:gd name="connsiteY129" fmla="*/ 311808 h 543627"/>
                <a:gd name="connsiteX130" fmla="*/ 450281 w 731624"/>
                <a:gd name="connsiteY130" fmla="*/ 317184 h 543627"/>
                <a:gd name="connsiteX131" fmla="*/ 451584 w 731624"/>
                <a:gd name="connsiteY131" fmla="*/ 321257 h 543627"/>
                <a:gd name="connsiteX132" fmla="*/ 453213 w 731624"/>
                <a:gd name="connsiteY132" fmla="*/ 331031 h 543627"/>
                <a:gd name="connsiteX133" fmla="*/ 452399 w 731624"/>
                <a:gd name="connsiteY133" fmla="*/ 336570 h 543627"/>
                <a:gd name="connsiteX134" fmla="*/ 459078 w 731624"/>
                <a:gd name="connsiteY134" fmla="*/ 346996 h 543627"/>
                <a:gd name="connsiteX135" fmla="*/ 459078 w 731624"/>
                <a:gd name="connsiteY135" fmla="*/ 354490 h 543627"/>
                <a:gd name="connsiteX136" fmla="*/ 457612 w 731624"/>
                <a:gd name="connsiteY136" fmla="*/ 355956 h 543627"/>
                <a:gd name="connsiteX137" fmla="*/ 456797 w 731624"/>
                <a:gd name="connsiteY137" fmla="*/ 346996 h 543627"/>
                <a:gd name="connsiteX138" fmla="*/ 451095 w 731624"/>
                <a:gd name="connsiteY138" fmla="*/ 339665 h 543627"/>
                <a:gd name="connsiteX139" fmla="*/ 450444 w 731624"/>
                <a:gd name="connsiteY139" fmla="*/ 345205 h 543627"/>
                <a:gd name="connsiteX140" fmla="*/ 454354 w 731624"/>
                <a:gd name="connsiteY140" fmla="*/ 348625 h 543627"/>
                <a:gd name="connsiteX141" fmla="*/ 457286 w 731624"/>
                <a:gd name="connsiteY141" fmla="*/ 359052 h 543627"/>
                <a:gd name="connsiteX142" fmla="*/ 458589 w 731624"/>
                <a:gd name="connsiteY142" fmla="*/ 362636 h 543627"/>
                <a:gd name="connsiteX143" fmla="*/ 456797 w 731624"/>
                <a:gd name="connsiteY143" fmla="*/ 366057 h 543627"/>
                <a:gd name="connsiteX144" fmla="*/ 459730 w 731624"/>
                <a:gd name="connsiteY144" fmla="*/ 370455 h 543627"/>
                <a:gd name="connsiteX145" fmla="*/ 460870 w 731624"/>
                <a:gd name="connsiteY145" fmla="*/ 375505 h 543627"/>
                <a:gd name="connsiteX146" fmla="*/ 474880 w 731624"/>
                <a:gd name="connsiteY146" fmla="*/ 390656 h 543627"/>
                <a:gd name="connsiteX147" fmla="*/ 477161 w 731624"/>
                <a:gd name="connsiteY147" fmla="*/ 396358 h 543627"/>
                <a:gd name="connsiteX148" fmla="*/ 481885 w 731624"/>
                <a:gd name="connsiteY148" fmla="*/ 403363 h 543627"/>
                <a:gd name="connsiteX149" fmla="*/ 481559 w 731624"/>
                <a:gd name="connsiteY149" fmla="*/ 407273 h 543627"/>
                <a:gd name="connsiteX150" fmla="*/ 482863 w 731624"/>
                <a:gd name="connsiteY150" fmla="*/ 411508 h 543627"/>
                <a:gd name="connsiteX151" fmla="*/ 493452 w 731624"/>
                <a:gd name="connsiteY151" fmla="*/ 424052 h 543627"/>
                <a:gd name="connsiteX152" fmla="*/ 496873 w 731624"/>
                <a:gd name="connsiteY152" fmla="*/ 427637 h 543627"/>
                <a:gd name="connsiteX153" fmla="*/ 499316 w 731624"/>
                <a:gd name="connsiteY153" fmla="*/ 426985 h 543627"/>
                <a:gd name="connsiteX154" fmla="*/ 506322 w 731624"/>
                <a:gd name="connsiteY154" fmla="*/ 426985 h 543627"/>
                <a:gd name="connsiteX155" fmla="*/ 507951 w 731624"/>
                <a:gd name="connsiteY155" fmla="*/ 429103 h 543627"/>
                <a:gd name="connsiteX156" fmla="*/ 515445 w 731624"/>
                <a:gd name="connsiteY156" fmla="*/ 432198 h 543627"/>
                <a:gd name="connsiteX157" fmla="*/ 521309 w 731624"/>
                <a:gd name="connsiteY157" fmla="*/ 440180 h 543627"/>
                <a:gd name="connsiteX158" fmla="*/ 523264 w 731624"/>
                <a:gd name="connsiteY158" fmla="*/ 446697 h 543627"/>
                <a:gd name="connsiteX159" fmla="*/ 529455 w 731624"/>
                <a:gd name="connsiteY159" fmla="*/ 443927 h 543627"/>
                <a:gd name="connsiteX160" fmla="*/ 538089 w 731624"/>
                <a:gd name="connsiteY160" fmla="*/ 442135 h 543627"/>
                <a:gd name="connsiteX161" fmla="*/ 540370 w 731624"/>
                <a:gd name="connsiteY161" fmla="*/ 444742 h 543627"/>
                <a:gd name="connsiteX162" fmla="*/ 543302 w 731624"/>
                <a:gd name="connsiteY162" fmla="*/ 444742 h 543627"/>
                <a:gd name="connsiteX163" fmla="*/ 554054 w 731624"/>
                <a:gd name="connsiteY163" fmla="*/ 438714 h 543627"/>
                <a:gd name="connsiteX164" fmla="*/ 555520 w 731624"/>
                <a:gd name="connsiteY164" fmla="*/ 436433 h 543627"/>
                <a:gd name="connsiteX165" fmla="*/ 564480 w 731624"/>
                <a:gd name="connsiteY165" fmla="*/ 435782 h 543627"/>
                <a:gd name="connsiteX166" fmla="*/ 570345 w 731624"/>
                <a:gd name="connsiteY166" fmla="*/ 435782 h 543627"/>
                <a:gd name="connsiteX167" fmla="*/ 574906 w 731624"/>
                <a:gd name="connsiteY167" fmla="*/ 431709 h 543627"/>
                <a:gd name="connsiteX168" fmla="*/ 581749 w 731624"/>
                <a:gd name="connsiteY168" fmla="*/ 431709 h 543627"/>
                <a:gd name="connsiteX169" fmla="*/ 587287 w 731624"/>
                <a:gd name="connsiteY169" fmla="*/ 433175 h 543627"/>
                <a:gd name="connsiteX170" fmla="*/ 589568 w 731624"/>
                <a:gd name="connsiteY170" fmla="*/ 430243 h 543627"/>
                <a:gd name="connsiteX171" fmla="*/ 596736 w 731624"/>
                <a:gd name="connsiteY171" fmla="*/ 432198 h 543627"/>
                <a:gd name="connsiteX172" fmla="*/ 591686 w 731624"/>
                <a:gd name="connsiteY172" fmla="*/ 434805 h 543627"/>
                <a:gd name="connsiteX173" fmla="*/ 590383 w 731624"/>
                <a:gd name="connsiteY173" fmla="*/ 437900 h 543627"/>
                <a:gd name="connsiteX174" fmla="*/ 596248 w 731624"/>
                <a:gd name="connsiteY174" fmla="*/ 440506 h 543627"/>
                <a:gd name="connsiteX175" fmla="*/ 599180 w 731624"/>
                <a:gd name="connsiteY175" fmla="*/ 443439 h 543627"/>
                <a:gd name="connsiteX176" fmla="*/ 600320 w 731624"/>
                <a:gd name="connsiteY176" fmla="*/ 440669 h 543627"/>
                <a:gd name="connsiteX177" fmla="*/ 603253 w 731624"/>
                <a:gd name="connsiteY177" fmla="*/ 440669 h 543627"/>
                <a:gd name="connsiteX178" fmla="*/ 608303 w 731624"/>
                <a:gd name="connsiteY178" fmla="*/ 434641 h 543627"/>
                <a:gd name="connsiteX179" fmla="*/ 608303 w 731624"/>
                <a:gd name="connsiteY179" fmla="*/ 427311 h 543627"/>
                <a:gd name="connsiteX180" fmla="*/ 609769 w 731624"/>
                <a:gd name="connsiteY180" fmla="*/ 422912 h 543627"/>
                <a:gd name="connsiteX181" fmla="*/ 604719 w 731624"/>
                <a:gd name="connsiteY181" fmla="*/ 426170 h 543627"/>
                <a:gd name="connsiteX182" fmla="*/ 603741 w 731624"/>
                <a:gd name="connsiteY182" fmla="*/ 425193 h 543627"/>
                <a:gd name="connsiteX183" fmla="*/ 615145 w 731624"/>
                <a:gd name="connsiteY183" fmla="*/ 419165 h 543627"/>
                <a:gd name="connsiteX184" fmla="*/ 619055 w 731624"/>
                <a:gd name="connsiteY184" fmla="*/ 418188 h 543627"/>
                <a:gd name="connsiteX185" fmla="*/ 623942 w 731624"/>
                <a:gd name="connsiteY185" fmla="*/ 412323 h 543627"/>
                <a:gd name="connsiteX186" fmla="*/ 623942 w 731624"/>
                <a:gd name="connsiteY186" fmla="*/ 403526 h 543627"/>
                <a:gd name="connsiteX187" fmla="*/ 633228 w 731624"/>
                <a:gd name="connsiteY187" fmla="*/ 393588 h 543627"/>
                <a:gd name="connsiteX188" fmla="*/ 632413 w 731624"/>
                <a:gd name="connsiteY188" fmla="*/ 391796 h 543627"/>
                <a:gd name="connsiteX189" fmla="*/ 633228 w 731624"/>
                <a:gd name="connsiteY189" fmla="*/ 375994 h 543627"/>
                <a:gd name="connsiteX190" fmla="*/ 642840 w 731624"/>
                <a:gd name="connsiteY190" fmla="*/ 365242 h 543627"/>
                <a:gd name="connsiteX191" fmla="*/ 638767 w 731624"/>
                <a:gd name="connsiteY191" fmla="*/ 364916 h 543627"/>
                <a:gd name="connsiteX192" fmla="*/ 638767 w 731624"/>
                <a:gd name="connsiteY192" fmla="*/ 361170 h 543627"/>
                <a:gd name="connsiteX193" fmla="*/ 655383 w 731624"/>
                <a:gd name="connsiteY193" fmla="*/ 357097 h 543627"/>
                <a:gd name="connsiteX194" fmla="*/ 677213 w 731624"/>
                <a:gd name="connsiteY194" fmla="*/ 357423 h 543627"/>
                <a:gd name="connsiteX195" fmla="*/ 680960 w 731624"/>
                <a:gd name="connsiteY195" fmla="*/ 352210 h 543627"/>
                <a:gd name="connsiteX196" fmla="*/ 687314 w 731624"/>
                <a:gd name="connsiteY196" fmla="*/ 351395 h 543627"/>
                <a:gd name="connsiteX197" fmla="*/ 689594 w 731624"/>
                <a:gd name="connsiteY197" fmla="*/ 353676 h 543627"/>
                <a:gd name="connsiteX198" fmla="*/ 695948 w 731624"/>
                <a:gd name="connsiteY198" fmla="*/ 350743 h 543627"/>
                <a:gd name="connsiteX199" fmla="*/ 695622 w 731624"/>
                <a:gd name="connsiteY199" fmla="*/ 348137 h 543627"/>
                <a:gd name="connsiteX200" fmla="*/ 705560 w 731624"/>
                <a:gd name="connsiteY200" fmla="*/ 347811 h 543627"/>
                <a:gd name="connsiteX201" fmla="*/ 717289 w 731624"/>
                <a:gd name="connsiteY201" fmla="*/ 350743 h 543627"/>
                <a:gd name="connsiteX202" fmla="*/ 720221 w 731624"/>
                <a:gd name="connsiteY202" fmla="*/ 349603 h 543627"/>
                <a:gd name="connsiteX203" fmla="*/ 719081 w 731624"/>
                <a:gd name="connsiteY203" fmla="*/ 346671 h 543627"/>
                <a:gd name="connsiteX204" fmla="*/ 723805 w 731624"/>
                <a:gd name="connsiteY204" fmla="*/ 346345 h 543627"/>
                <a:gd name="connsiteX205" fmla="*/ 731299 w 731624"/>
                <a:gd name="connsiteY205" fmla="*/ 355794 h 543627"/>
                <a:gd name="connsiteX206" fmla="*/ 731625 w 731624"/>
                <a:gd name="connsiteY206" fmla="*/ 361495 h 543627"/>
                <a:gd name="connsiteX207" fmla="*/ 727552 w 731624"/>
                <a:gd name="connsiteY207" fmla="*/ 368012 h 543627"/>
                <a:gd name="connsiteX208" fmla="*/ 721850 w 731624"/>
                <a:gd name="connsiteY208" fmla="*/ 377623 h 543627"/>
                <a:gd name="connsiteX209" fmla="*/ 710610 w 731624"/>
                <a:gd name="connsiteY209" fmla="*/ 387724 h 543627"/>
                <a:gd name="connsiteX210" fmla="*/ 708329 w 731624"/>
                <a:gd name="connsiteY210" fmla="*/ 391471 h 543627"/>
                <a:gd name="connsiteX211" fmla="*/ 707840 w 731624"/>
                <a:gd name="connsiteY211" fmla="*/ 398313 h 543627"/>
                <a:gd name="connsiteX212" fmla="*/ 702790 w 731624"/>
                <a:gd name="connsiteY212" fmla="*/ 401408 h 543627"/>
                <a:gd name="connsiteX213" fmla="*/ 701161 w 731624"/>
                <a:gd name="connsiteY213" fmla="*/ 403200 h 543627"/>
                <a:gd name="connsiteX214" fmla="*/ 704419 w 731624"/>
                <a:gd name="connsiteY214" fmla="*/ 405970 h 543627"/>
                <a:gd name="connsiteX215" fmla="*/ 708655 w 731624"/>
                <a:gd name="connsiteY215" fmla="*/ 405970 h 543627"/>
                <a:gd name="connsiteX216" fmla="*/ 707677 w 731624"/>
                <a:gd name="connsiteY216" fmla="*/ 409716 h 543627"/>
                <a:gd name="connsiteX217" fmla="*/ 701976 w 731624"/>
                <a:gd name="connsiteY217" fmla="*/ 415744 h 543627"/>
                <a:gd name="connsiteX218" fmla="*/ 701976 w 731624"/>
                <a:gd name="connsiteY218" fmla="*/ 417699 h 543627"/>
                <a:gd name="connsiteX219" fmla="*/ 704256 w 731624"/>
                <a:gd name="connsiteY219" fmla="*/ 418839 h 543627"/>
                <a:gd name="connsiteX220" fmla="*/ 706863 w 731624"/>
                <a:gd name="connsiteY220" fmla="*/ 416233 h 543627"/>
                <a:gd name="connsiteX221" fmla="*/ 709306 w 731624"/>
                <a:gd name="connsiteY221" fmla="*/ 415907 h 543627"/>
                <a:gd name="connsiteX222" fmla="*/ 706700 w 731624"/>
                <a:gd name="connsiteY222" fmla="*/ 420143 h 543627"/>
                <a:gd name="connsiteX223" fmla="*/ 702627 w 731624"/>
                <a:gd name="connsiteY223" fmla="*/ 436108 h 543627"/>
                <a:gd name="connsiteX224" fmla="*/ 697903 w 731624"/>
                <a:gd name="connsiteY224" fmla="*/ 444416 h 543627"/>
                <a:gd name="connsiteX225" fmla="*/ 696762 w 731624"/>
                <a:gd name="connsiteY225" fmla="*/ 445556 h 543627"/>
                <a:gd name="connsiteX226" fmla="*/ 694807 w 731624"/>
                <a:gd name="connsiteY226" fmla="*/ 440832 h 543627"/>
                <a:gd name="connsiteX227" fmla="*/ 689106 w 731624"/>
                <a:gd name="connsiteY227" fmla="*/ 437411 h 543627"/>
                <a:gd name="connsiteX228" fmla="*/ 689106 w 731624"/>
                <a:gd name="connsiteY228" fmla="*/ 435945 h 543627"/>
                <a:gd name="connsiteX229" fmla="*/ 691386 w 731624"/>
                <a:gd name="connsiteY229" fmla="*/ 433501 h 543627"/>
                <a:gd name="connsiteX230" fmla="*/ 691875 w 731624"/>
                <a:gd name="connsiteY230" fmla="*/ 428288 h 543627"/>
                <a:gd name="connsiteX231" fmla="*/ 688943 w 731624"/>
                <a:gd name="connsiteY231" fmla="*/ 429265 h 543627"/>
                <a:gd name="connsiteX232" fmla="*/ 683404 w 731624"/>
                <a:gd name="connsiteY232" fmla="*/ 435782 h 543627"/>
                <a:gd name="connsiteX233" fmla="*/ 679005 w 731624"/>
                <a:gd name="connsiteY233" fmla="*/ 439692 h 543627"/>
                <a:gd name="connsiteX234" fmla="*/ 679005 w 731624"/>
                <a:gd name="connsiteY234" fmla="*/ 439692 h 543627"/>
                <a:gd name="connsiteX235" fmla="*/ 677213 w 731624"/>
                <a:gd name="connsiteY235" fmla="*/ 439692 h 543627"/>
                <a:gd name="connsiteX236" fmla="*/ 674118 w 731624"/>
                <a:gd name="connsiteY236" fmla="*/ 440832 h 543627"/>
                <a:gd name="connsiteX237" fmla="*/ 673141 w 731624"/>
                <a:gd name="connsiteY237" fmla="*/ 442787 h 543627"/>
                <a:gd name="connsiteX238" fmla="*/ 672163 w 731624"/>
                <a:gd name="connsiteY238" fmla="*/ 446697 h 543627"/>
                <a:gd name="connsiteX239" fmla="*/ 668905 w 731624"/>
                <a:gd name="connsiteY239" fmla="*/ 451095 h 543627"/>
                <a:gd name="connsiteX240" fmla="*/ 668579 w 731624"/>
                <a:gd name="connsiteY240" fmla="*/ 452236 h 543627"/>
                <a:gd name="connsiteX241" fmla="*/ 666624 w 731624"/>
                <a:gd name="connsiteY241" fmla="*/ 452724 h 543627"/>
                <a:gd name="connsiteX242" fmla="*/ 665647 w 731624"/>
                <a:gd name="connsiteY242" fmla="*/ 454028 h 543627"/>
                <a:gd name="connsiteX243" fmla="*/ 664506 w 731624"/>
                <a:gd name="connsiteY243" fmla="*/ 453213 h 543627"/>
                <a:gd name="connsiteX244" fmla="*/ 664506 w 731624"/>
                <a:gd name="connsiteY244" fmla="*/ 451258 h 543627"/>
                <a:gd name="connsiteX245" fmla="*/ 660597 w 731624"/>
                <a:gd name="connsiteY245" fmla="*/ 451095 h 543627"/>
                <a:gd name="connsiteX246" fmla="*/ 657827 w 731624"/>
                <a:gd name="connsiteY246" fmla="*/ 453050 h 543627"/>
                <a:gd name="connsiteX247" fmla="*/ 657501 w 731624"/>
                <a:gd name="connsiteY247" fmla="*/ 456797 h 543627"/>
                <a:gd name="connsiteX248" fmla="*/ 613027 w 731624"/>
                <a:gd name="connsiteY248" fmla="*/ 456146 h 543627"/>
                <a:gd name="connsiteX249" fmla="*/ 612050 w 731624"/>
                <a:gd name="connsiteY249" fmla="*/ 469504 h 543627"/>
                <a:gd name="connsiteX250" fmla="*/ 601298 w 731624"/>
                <a:gd name="connsiteY250" fmla="*/ 470481 h 543627"/>
                <a:gd name="connsiteX251" fmla="*/ 605045 w 731624"/>
                <a:gd name="connsiteY251" fmla="*/ 473577 h 543627"/>
                <a:gd name="connsiteX252" fmla="*/ 606348 w 731624"/>
                <a:gd name="connsiteY252" fmla="*/ 476183 h 543627"/>
                <a:gd name="connsiteX253" fmla="*/ 610421 w 731624"/>
                <a:gd name="connsiteY253" fmla="*/ 481234 h 543627"/>
                <a:gd name="connsiteX254" fmla="*/ 614493 w 731624"/>
                <a:gd name="connsiteY254" fmla="*/ 483840 h 543627"/>
                <a:gd name="connsiteX255" fmla="*/ 617426 w 731624"/>
                <a:gd name="connsiteY255" fmla="*/ 483840 h 543627"/>
                <a:gd name="connsiteX256" fmla="*/ 619381 w 731624"/>
                <a:gd name="connsiteY256" fmla="*/ 487261 h 543627"/>
                <a:gd name="connsiteX257" fmla="*/ 619869 w 731624"/>
                <a:gd name="connsiteY257" fmla="*/ 491008 h 543627"/>
                <a:gd name="connsiteX258" fmla="*/ 621661 w 731624"/>
                <a:gd name="connsiteY258" fmla="*/ 492963 h 543627"/>
                <a:gd name="connsiteX259" fmla="*/ 626060 w 731624"/>
                <a:gd name="connsiteY259" fmla="*/ 493289 h 543627"/>
                <a:gd name="connsiteX260" fmla="*/ 628829 w 731624"/>
                <a:gd name="connsiteY260" fmla="*/ 494918 h 543627"/>
                <a:gd name="connsiteX261" fmla="*/ 628829 w 731624"/>
                <a:gd name="connsiteY261" fmla="*/ 498176 h 543627"/>
                <a:gd name="connsiteX262" fmla="*/ 626386 w 731624"/>
                <a:gd name="connsiteY262" fmla="*/ 501108 h 543627"/>
                <a:gd name="connsiteX263" fmla="*/ 593641 w 731624"/>
                <a:gd name="connsiteY263" fmla="*/ 501108 h 543627"/>
                <a:gd name="connsiteX264" fmla="*/ 578328 w 731624"/>
                <a:gd name="connsiteY264" fmla="*/ 525545 h 543627"/>
                <a:gd name="connsiteX265" fmla="*/ 578816 w 731624"/>
                <a:gd name="connsiteY265" fmla="*/ 529618 h 543627"/>
                <a:gd name="connsiteX266" fmla="*/ 579305 w 731624"/>
                <a:gd name="connsiteY266" fmla="*/ 530921 h 543627"/>
                <a:gd name="connsiteX267" fmla="*/ 578816 w 731624"/>
                <a:gd name="connsiteY267" fmla="*/ 533527 h 543627"/>
                <a:gd name="connsiteX268" fmla="*/ 579794 w 731624"/>
                <a:gd name="connsiteY268" fmla="*/ 535482 h 543627"/>
                <a:gd name="connsiteX269" fmla="*/ 580445 w 731624"/>
                <a:gd name="connsiteY269" fmla="*/ 536134 h 543627"/>
                <a:gd name="connsiteX270" fmla="*/ 580445 w 731624"/>
                <a:gd name="connsiteY270" fmla="*/ 538415 h 543627"/>
                <a:gd name="connsiteX271" fmla="*/ 577839 w 731624"/>
                <a:gd name="connsiteY271" fmla="*/ 540207 h 543627"/>
                <a:gd name="connsiteX272" fmla="*/ 576861 w 731624"/>
                <a:gd name="connsiteY272" fmla="*/ 542976 h 543627"/>
                <a:gd name="connsiteX273" fmla="*/ 576047 w 731624"/>
                <a:gd name="connsiteY273" fmla="*/ 543628 h 543627"/>
                <a:gd name="connsiteX274" fmla="*/ 571974 w 731624"/>
                <a:gd name="connsiteY274" fmla="*/ 538740 h 543627"/>
                <a:gd name="connsiteX275" fmla="*/ 564806 w 731624"/>
                <a:gd name="connsiteY275" fmla="*/ 533202 h 543627"/>
                <a:gd name="connsiteX276" fmla="*/ 563991 w 731624"/>
                <a:gd name="connsiteY276" fmla="*/ 530269 h 543627"/>
                <a:gd name="connsiteX277" fmla="*/ 558453 w 731624"/>
                <a:gd name="connsiteY277" fmla="*/ 528640 h 543627"/>
                <a:gd name="connsiteX278" fmla="*/ 540695 w 731624"/>
                <a:gd name="connsiteY278" fmla="*/ 513815 h 543627"/>
                <a:gd name="connsiteX279" fmla="*/ 538415 w 731624"/>
                <a:gd name="connsiteY279" fmla="*/ 510883 h 543627"/>
                <a:gd name="connsiteX280" fmla="*/ 538415 w 731624"/>
                <a:gd name="connsiteY280" fmla="*/ 508602 h 543627"/>
                <a:gd name="connsiteX281" fmla="*/ 534016 w 731624"/>
                <a:gd name="connsiteY281" fmla="*/ 503063 h 543627"/>
                <a:gd name="connsiteX282" fmla="*/ 529618 w 731624"/>
                <a:gd name="connsiteY282" fmla="*/ 499154 h 543627"/>
                <a:gd name="connsiteX283" fmla="*/ 524567 w 731624"/>
                <a:gd name="connsiteY283" fmla="*/ 498176 h 543627"/>
                <a:gd name="connsiteX284" fmla="*/ 523590 w 731624"/>
                <a:gd name="connsiteY284" fmla="*/ 497199 h 543627"/>
                <a:gd name="connsiteX285" fmla="*/ 521798 w 731624"/>
                <a:gd name="connsiteY285" fmla="*/ 497199 h 543627"/>
                <a:gd name="connsiteX286" fmla="*/ 522124 w 731624"/>
                <a:gd name="connsiteY286" fmla="*/ 498828 h 543627"/>
                <a:gd name="connsiteX287" fmla="*/ 530432 w 731624"/>
                <a:gd name="connsiteY287" fmla="*/ 502575 h 543627"/>
                <a:gd name="connsiteX288" fmla="*/ 536297 w 731624"/>
                <a:gd name="connsiteY288" fmla="*/ 508439 h 543627"/>
                <a:gd name="connsiteX289" fmla="*/ 536297 w 731624"/>
                <a:gd name="connsiteY289" fmla="*/ 509905 h 543627"/>
                <a:gd name="connsiteX290" fmla="*/ 532876 w 731624"/>
                <a:gd name="connsiteY290" fmla="*/ 506810 h 543627"/>
                <a:gd name="connsiteX291" fmla="*/ 525056 w 731624"/>
                <a:gd name="connsiteY291" fmla="*/ 501760 h 543627"/>
                <a:gd name="connsiteX292" fmla="*/ 520495 w 731624"/>
                <a:gd name="connsiteY292" fmla="*/ 500131 h 543627"/>
                <a:gd name="connsiteX293" fmla="*/ 516748 w 731624"/>
                <a:gd name="connsiteY293" fmla="*/ 500131 h 543627"/>
                <a:gd name="connsiteX294" fmla="*/ 514956 w 731624"/>
                <a:gd name="connsiteY294" fmla="*/ 499316 h 543627"/>
                <a:gd name="connsiteX295" fmla="*/ 516096 w 731624"/>
                <a:gd name="connsiteY295" fmla="*/ 498176 h 543627"/>
                <a:gd name="connsiteX296" fmla="*/ 518703 w 731624"/>
                <a:gd name="connsiteY296" fmla="*/ 498176 h 543627"/>
                <a:gd name="connsiteX297" fmla="*/ 518703 w 731624"/>
                <a:gd name="connsiteY297" fmla="*/ 495732 h 543627"/>
                <a:gd name="connsiteX298" fmla="*/ 515445 w 731624"/>
                <a:gd name="connsiteY298" fmla="*/ 495732 h 543627"/>
                <a:gd name="connsiteX299" fmla="*/ 512349 w 731624"/>
                <a:gd name="connsiteY299" fmla="*/ 497362 h 543627"/>
                <a:gd name="connsiteX300" fmla="*/ 512349 w 731624"/>
                <a:gd name="connsiteY300" fmla="*/ 494592 h 543627"/>
                <a:gd name="connsiteX301" fmla="*/ 510557 w 731624"/>
                <a:gd name="connsiteY301" fmla="*/ 493615 h 543627"/>
                <a:gd name="connsiteX302" fmla="*/ 504855 w 731624"/>
                <a:gd name="connsiteY302" fmla="*/ 496873 h 543627"/>
                <a:gd name="connsiteX303" fmla="*/ 504855 w 731624"/>
                <a:gd name="connsiteY303" fmla="*/ 499316 h 543627"/>
                <a:gd name="connsiteX304" fmla="*/ 508928 w 731624"/>
                <a:gd name="connsiteY304" fmla="*/ 499316 h 543627"/>
                <a:gd name="connsiteX305" fmla="*/ 513978 w 731624"/>
                <a:gd name="connsiteY305" fmla="*/ 500131 h 543627"/>
                <a:gd name="connsiteX306" fmla="*/ 513978 w 731624"/>
                <a:gd name="connsiteY306" fmla="*/ 501597 h 543627"/>
                <a:gd name="connsiteX307" fmla="*/ 511372 w 731624"/>
                <a:gd name="connsiteY307" fmla="*/ 501271 h 543627"/>
                <a:gd name="connsiteX308" fmla="*/ 504855 w 731624"/>
                <a:gd name="connsiteY308" fmla="*/ 501760 h 543627"/>
                <a:gd name="connsiteX309" fmla="*/ 499642 w 731624"/>
                <a:gd name="connsiteY309" fmla="*/ 502738 h 543627"/>
                <a:gd name="connsiteX310" fmla="*/ 492637 w 731624"/>
                <a:gd name="connsiteY310" fmla="*/ 507299 h 543627"/>
                <a:gd name="connsiteX311" fmla="*/ 487098 w 731624"/>
                <a:gd name="connsiteY311" fmla="*/ 507625 h 543627"/>
                <a:gd name="connsiteX312" fmla="*/ 474066 w 731624"/>
                <a:gd name="connsiteY312" fmla="*/ 513164 h 543627"/>
                <a:gd name="connsiteX313" fmla="*/ 468853 w 731624"/>
                <a:gd name="connsiteY313" fmla="*/ 513489 h 543627"/>
                <a:gd name="connsiteX314" fmla="*/ 456146 w 731624"/>
                <a:gd name="connsiteY314" fmla="*/ 508928 h 543627"/>
                <a:gd name="connsiteX315" fmla="*/ 449303 w 731624"/>
                <a:gd name="connsiteY315" fmla="*/ 505181 h 543627"/>
                <a:gd name="connsiteX316" fmla="*/ 440506 w 731624"/>
                <a:gd name="connsiteY316" fmla="*/ 505181 h 543627"/>
                <a:gd name="connsiteX317" fmla="*/ 431058 w 731624"/>
                <a:gd name="connsiteY317" fmla="*/ 501434 h 543627"/>
                <a:gd name="connsiteX318" fmla="*/ 426333 w 731624"/>
                <a:gd name="connsiteY318" fmla="*/ 498502 h 543627"/>
                <a:gd name="connsiteX319" fmla="*/ 424378 w 731624"/>
                <a:gd name="connsiteY319" fmla="*/ 498991 h 543627"/>
                <a:gd name="connsiteX320" fmla="*/ 420143 w 731624"/>
                <a:gd name="connsiteY320" fmla="*/ 498665 h 543627"/>
                <a:gd name="connsiteX321" fmla="*/ 413626 w 731624"/>
                <a:gd name="connsiteY321" fmla="*/ 495732 h 543627"/>
                <a:gd name="connsiteX322" fmla="*/ 410205 w 731624"/>
                <a:gd name="connsiteY322" fmla="*/ 490031 h 543627"/>
                <a:gd name="connsiteX323" fmla="*/ 408739 w 731624"/>
                <a:gd name="connsiteY323" fmla="*/ 488890 h 543627"/>
                <a:gd name="connsiteX324" fmla="*/ 404992 w 731624"/>
                <a:gd name="connsiteY324" fmla="*/ 490356 h 543627"/>
                <a:gd name="connsiteX325" fmla="*/ 398313 w 731624"/>
                <a:gd name="connsiteY325" fmla="*/ 487261 h 543627"/>
                <a:gd name="connsiteX326" fmla="*/ 391145 w 731624"/>
                <a:gd name="connsiteY326" fmla="*/ 486772 h 543627"/>
                <a:gd name="connsiteX327" fmla="*/ 388050 w 731624"/>
                <a:gd name="connsiteY327" fmla="*/ 481559 h 543627"/>
                <a:gd name="connsiteX328" fmla="*/ 382022 w 731624"/>
                <a:gd name="connsiteY328" fmla="*/ 478464 h 543627"/>
                <a:gd name="connsiteX329" fmla="*/ 369315 w 731624"/>
                <a:gd name="connsiteY329" fmla="*/ 476672 h 543627"/>
                <a:gd name="connsiteX330" fmla="*/ 358237 w 731624"/>
                <a:gd name="connsiteY330" fmla="*/ 472273 h 543627"/>
                <a:gd name="connsiteX331" fmla="*/ 350906 w 731624"/>
                <a:gd name="connsiteY331" fmla="*/ 464780 h 543627"/>
                <a:gd name="connsiteX332" fmla="*/ 347648 w 731624"/>
                <a:gd name="connsiteY332" fmla="*/ 464291 h 543627"/>
                <a:gd name="connsiteX333" fmla="*/ 335104 w 731624"/>
                <a:gd name="connsiteY333" fmla="*/ 452073 h 543627"/>
                <a:gd name="connsiteX334" fmla="*/ 332823 w 731624"/>
                <a:gd name="connsiteY334" fmla="*/ 449140 h 543627"/>
                <a:gd name="connsiteX335" fmla="*/ 329891 w 731624"/>
                <a:gd name="connsiteY335" fmla="*/ 449140 h 543627"/>
                <a:gd name="connsiteX336" fmla="*/ 328588 w 731624"/>
                <a:gd name="connsiteY336" fmla="*/ 451258 h 543627"/>
                <a:gd name="connsiteX337" fmla="*/ 324678 w 731624"/>
                <a:gd name="connsiteY337" fmla="*/ 450932 h 543627"/>
                <a:gd name="connsiteX338" fmla="*/ 314740 w 731624"/>
                <a:gd name="connsiteY338" fmla="*/ 447186 h 543627"/>
                <a:gd name="connsiteX339" fmla="*/ 311482 w 731624"/>
                <a:gd name="connsiteY339" fmla="*/ 446860 h 543627"/>
                <a:gd name="connsiteX340" fmla="*/ 306432 w 731624"/>
                <a:gd name="connsiteY340" fmla="*/ 444742 h 543627"/>
                <a:gd name="connsiteX341" fmla="*/ 304314 w 731624"/>
                <a:gd name="connsiteY341" fmla="*/ 445394 h 543627"/>
                <a:gd name="connsiteX342" fmla="*/ 299264 w 731624"/>
                <a:gd name="connsiteY342" fmla="*/ 443439 h 543627"/>
                <a:gd name="connsiteX343" fmla="*/ 295517 w 731624"/>
                <a:gd name="connsiteY343" fmla="*/ 437737 h 543627"/>
                <a:gd name="connsiteX344" fmla="*/ 291119 w 731624"/>
                <a:gd name="connsiteY344" fmla="*/ 430732 h 543627"/>
                <a:gd name="connsiteX345" fmla="*/ 284602 w 731624"/>
                <a:gd name="connsiteY345" fmla="*/ 424704 h 543627"/>
                <a:gd name="connsiteX346" fmla="*/ 278412 w 731624"/>
                <a:gd name="connsiteY346" fmla="*/ 422423 h 543627"/>
                <a:gd name="connsiteX347" fmla="*/ 278412 w 731624"/>
                <a:gd name="connsiteY347" fmla="*/ 420143 h 543627"/>
                <a:gd name="connsiteX348" fmla="*/ 280855 w 731624"/>
                <a:gd name="connsiteY348" fmla="*/ 417047 h 543627"/>
                <a:gd name="connsiteX349" fmla="*/ 277760 w 731624"/>
                <a:gd name="connsiteY349" fmla="*/ 416559 h 543627"/>
                <a:gd name="connsiteX350" fmla="*/ 272221 w 731624"/>
                <a:gd name="connsiteY350" fmla="*/ 417699 h 543627"/>
                <a:gd name="connsiteX351" fmla="*/ 264076 w 731624"/>
                <a:gd name="connsiteY351" fmla="*/ 415744 h 543627"/>
                <a:gd name="connsiteX352" fmla="*/ 262609 w 731624"/>
                <a:gd name="connsiteY352" fmla="*/ 412812 h 543627"/>
                <a:gd name="connsiteX353" fmla="*/ 258700 w 731624"/>
                <a:gd name="connsiteY353" fmla="*/ 412812 h 543627"/>
                <a:gd name="connsiteX354" fmla="*/ 256256 w 731624"/>
                <a:gd name="connsiteY354" fmla="*/ 410857 h 543627"/>
                <a:gd name="connsiteX355" fmla="*/ 254464 w 731624"/>
                <a:gd name="connsiteY355" fmla="*/ 404666 h 543627"/>
                <a:gd name="connsiteX356" fmla="*/ 249740 w 731624"/>
                <a:gd name="connsiteY356" fmla="*/ 398476 h 543627"/>
                <a:gd name="connsiteX357" fmla="*/ 249740 w 731624"/>
                <a:gd name="connsiteY357" fmla="*/ 394729 h 543627"/>
                <a:gd name="connsiteX358" fmla="*/ 246482 w 731624"/>
                <a:gd name="connsiteY358" fmla="*/ 391471 h 543627"/>
                <a:gd name="connsiteX359" fmla="*/ 243060 w 731624"/>
                <a:gd name="connsiteY359" fmla="*/ 382511 h 543627"/>
                <a:gd name="connsiteX360" fmla="*/ 243060 w 731624"/>
                <a:gd name="connsiteY360" fmla="*/ 380067 h 543627"/>
                <a:gd name="connsiteX361" fmla="*/ 246156 w 731624"/>
                <a:gd name="connsiteY361" fmla="*/ 378275 h 543627"/>
                <a:gd name="connsiteX362" fmla="*/ 252020 w 731624"/>
                <a:gd name="connsiteY362" fmla="*/ 378275 h 543627"/>
                <a:gd name="connsiteX363" fmla="*/ 254301 w 731624"/>
                <a:gd name="connsiteY363" fmla="*/ 375831 h 543627"/>
                <a:gd name="connsiteX364" fmla="*/ 251369 w 731624"/>
                <a:gd name="connsiteY364" fmla="*/ 373062 h 543627"/>
                <a:gd name="connsiteX365" fmla="*/ 248762 w 731624"/>
                <a:gd name="connsiteY365" fmla="*/ 372736 h 543627"/>
                <a:gd name="connsiteX366" fmla="*/ 249577 w 731624"/>
                <a:gd name="connsiteY366" fmla="*/ 369804 h 543627"/>
                <a:gd name="connsiteX367" fmla="*/ 255442 w 731624"/>
                <a:gd name="connsiteY367" fmla="*/ 364591 h 543627"/>
                <a:gd name="connsiteX368" fmla="*/ 258211 w 731624"/>
                <a:gd name="connsiteY368" fmla="*/ 360029 h 543627"/>
                <a:gd name="connsiteX369" fmla="*/ 257885 w 731624"/>
                <a:gd name="connsiteY369" fmla="*/ 354327 h 543627"/>
                <a:gd name="connsiteX370" fmla="*/ 252346 w 731624"/>
                <a:gd name="connsiteY370" fmla="*/ 340317 h 543627"/>
                <a:gd name="connsiteX371" fmla="*/ 249577 w 731624"/>
                <a:gd name="connsiteY371" fmla="*/ 332986 h 543627"/>
                <a:gd name="connsiteX372" fmla="*/ 247785 w 731624"/>
                <a:gd name="connsiteY372" fmla="*/ 329565 h 543627"/>
                <a:gd name="connsiteX373" fmla="*/ 249577 w 731624"/>
                <a:gd name="connsiteY373" fmla="*/ 324841 h 543627"/>
                <a:gd name="connsiteX374" fmla="*/ 248599 w 731624"/>
                <a:gd name="connsiteY374" fmla="*/ 319790 h 543627"/>
                <a:gd name="connsiteX375" fmla="*/ 239151 w 731624"/>
                <a:gd name="connsiteY375" fmla="*/ 308061 h 543627"/>
                <a:gd name="connsiteX376" fmla="*/ 239151 w 731624"/>
                <a:gd name="connsiteY376" fmla="*/ 302848 h 543627"/>
                <a:gd name="connsiteX377" fmla="*/ 230679 w 731624"/>
                <a:gd name="connsiteY377" fmla="*/ 294377 h 543627"/>
                <a:gd name="connsiteX378" fmla="*/ 224978 w 731624"/>
                <a:gd name="connsiteY378" fmla="*/ 283951 h 543627"/>
                <a:gd name="connsiteX379" fmla="*/ 217158 w 731624"/>
                <a:gd name="connsiteY379" fmla="*/ 273850 h 543627"/>
                <a:gd name="connsiteX380" fmla="*/ 210316 w 731624"/>
                <a:gd name="connsiteY380" fmla="*/ 267986 h 543627"/>
                <a:gd name="connsiteX381" fmla="*/ 207872 w 731624"/>
                <a:gd name="connsiteY381" fmla="*/ 266356 h 543627"/>
                <a:gd name="connsiteX382" fmla="*/ 207546 w 731624"/>
                <a:gd name="connsiteY382" fmla="*/ 263261 h 543627"/>
                <a:gd name="connsiteX383" fmla="*/ 200052 w 731624"/>
                <a:gd name="connsiteY383" fmla="*/ 260166 h 543627"/>
                <a:gd name="connsiteX384" fmla="*/ 195817 w 731624"/>
                <a:gd name="connsiteY384" fmla="*/ 257722 h 543627"/>
                <a:gd name="connsiteX385" fmla="*/ 195491 w 731624"/>
                <a:gd name="connsiteY385" fmla="*/ 255930 h 543627"/>
                <a:gd name="connsiteX386" fmla="*/ 198586 w 731624"/>
                <a:gd name="connsiteY386" fmla="*/ 254627 h 543627"/>
                <a:gd name="connsiteX387" fmla="*/ 200541 w 731624"/>
                <a:gd name="connsiteY387" fmla="*/ 250228 h 543627"/>
                <a:gd name="connsiteX388" fmla="*/ 198586 w 731624"/>
                <a:gd name="connsiteY388" fmla="*/ 247133 h 543627"/>
                <a:gd name="connsiteX389" fmla="*/ 196794 w 731624"/>
                <a:gd name="connsiteY389" fmla="*/ 242409 h 543627"/>
                <a:gd name="connsiteX390" fmla="*/ 195491 w 731624"/>
                <a:gd name="connsiteY390" fmla="*/ 239476 h 543627"/>
                <a:gd name="connsiteX391" fmla="*/ 192396 w 731624"/>
                <a:gd name="connsiteY391" fmla="*/ 239476 h 543627"/>
                <a:gd name="connsiteX392" fmla="*/ 186531 w 731624"/>
                <a:gd name="connsiteY392" fmla="*/ 238010 h 543627"/>
                <a:gd name="connsiteX393" fmla="*/ 176431 w 731624"/>
                <a:gd name="connsiteY393" fmla="*/ 230028 h 543627"/>
                <a:gd name="connsiteX394" fmla="*/ 173498 w 731624"/>
                <a:gd name="connsiteY394" fmla="*/ 227421 h 543627"/>
                <a:gd name="connsiteX395" fmla="*/ 168937 w 731624"/>
                <a:gd name="connsiteY395" fmla="*/ 227095 h 543627"/>
                <a:gd name="connsiteX396" fmla="*/ 164701 w 731624"/>
                <a:gd name="connsiteY396" fmla="*/ 224163 h 543627"/>
                <a:gd name="connsiteX397" fmla="*/ 163887 w 731624"/>
                <a:gd name="connsiteY397" fmla="*/ 218950 h 543627"/>
                <a:gd name="connsiteX398" fmla="*/ 166493 w 731624"/>
                <a:gd name="connsiteY398" fmla="*/ 211782 h 543627"/>
                <a:gd name="connsiteX399" fmla="*/ 170892 w 731624"/>
                <a:gd name="connsiteY399" fmla="*/ 207057 h 543627"/>
                <a:gd name="connsiteX400" fmla="*/ 174150 w 731624"/>
                <a:gd name="connsiteY400" fmla="*/ 205917 h 543627"/>
                <a:gd name="connsiteX401" fmla="*/ 176756 w 731624"/>
                <a:gd name="connsiteY401" fmla="*/ 208687 h 543627"/>
                <a:gd name="connsiteX402" fmla="*/ 178711 w 731624"/>
                <a:gd name="connsiteY402" fmla="*/ 206243 h 543627"/>
                <a:gd name="connsiteX403" fmla="*/ 178060 w 731624"/>
                <a:gd name="connsiteY403" fmla="*/ 202985 h 543627"/>
                <a:gd name="connsiteX404" fmla="*/ 176756 w 731624"/>
                <a:gd name="connsiteY404" fmla="*/ 201356 h 543627"/>
                <a:gd name="connsiteX405" fmla="*/ 175127 w 731624"/>
                <a:gd name="connsiteY405" fmla="*/ 202985 h 543627"/>
                <a:gd name="connsiteX406" fmla="*/ 171706 w 731624"/>
                <a:gd name="connsiteY406" fmla="*/ 201193 h 543627"/>
                <a:gd name="connsiteX407" fmla="*/ 171055 w 731624"/>
                <a:gd name="connsiteY407" fmla="*/ 197283 h 543627"/>
                <a:gd name="connsiteX408" fmla="*/ 166656 w 731624"/>
                <a:gd name="connsiteY408" fmla="*/ 191744 h 543627"/>
                <a:gd name="connsiteX409" fmla="*/ 162583 w 731624"/>
                <a:gd name="connsiteY409" fmla="*/ 192233 h 543627"/>
                <a:gd name="connsiteX410" fmla="*/ 158185 w 731624"/>
                <a:gd name="connsiteY410" fmla="*/ 191092 h 543627"/>
                <a:gd name="connsiteX411" fmla="*/ 155904 w 731624"/>
                <a:gd name="connsiteY411" fmla="*/ 186857 h 543627"/>
                <a:gd name="connsiteX412" fmla="*/ 157044 w 731624"/>
                <a:gd name="connsiteY412" fmla="*/ 182295 h 543627"/>
                <a:gd name="connsiteX413" fmla="*/ 153949 w 731624"/>
                <a:gd name="connsiteY413" fmla="*/ 181155 h 543627"/>
                <a:gd name="connsiteX414" fmla="*/ 150854 w 731624"/>
                <a:gd name="connsiteY414" fmla="*/ 181481 h 543627"/>
                <a:gd name="connsiteX415" fmla="*/ 142057 w 731624"/>
                <a:gd name="connsiteY415" fmla="*/ 173498 h 543627"/>
                <a:gd name="connsiteX416" fmla="*/ 141079 w 731624"/>
                <a:gd name="connsiteY416" fmla="*/ 166493 h 543627"/>
                <a:gd name="connsiteX417" fmla="*/ 143034 w 731624"/>
                <a:gd name="connsiteY417" fmla="*/ 163398 h 543627"/>
                <a:gd name="connsiteX418" fmla="*/ 143034 w 731624"/>
                <a:gd name="connsiteY418" fmla="*/ 157533 h 543627"/>
                <a:gd name="connsiteX419" fmla="*/ 140428 w 731624"/>
                <a:gd name="connsiteY419" fmla="*/ 155252 h 543627"/>
                <a:gd name="connsiteX420" fmla="*/ 137007 w 731624"/>
                <a:gd name="connsiteY420" fmla="*/ 156719 h 543627"/>
                <a:gd name="connsiteX421" fmla="*/ 135215 w 731624"/>
                <a:gd name="connsiteY421" fmla="*/ 155252 h 543627"/>
                <a:gd name="connsiteX422" fmla="*/ 131956 w 731624"/>
                <a:gd name="connsiteY422" fmla="*/ 155252 h 543627"/>
                <a:gd name="connsiteX423" fmla="*/ 130816 w 731624"/>
                <a:gd name="connsiteY423" fmla="*/ 152646 h 543627"/>
                <a:gd name="connsiteX424" fmla="*/ 127558 w 731624"/>
                <a:gd name="connsiteY424" fmla="*/ 149876 h 543627"/>
                <a:gd name="connsiteX425" fmla="*/ 126092 w 731624"/>
                <a:gd name="connsiteY425" fmla="*/ 145478 h 543627"/>
                <a:gd name="connsiteX426" fmla="*/ 123322 w 731624"/>
                <a:gd name="connsiteY426" fmla="*/ 139613 h 543627"/>
                <a:gd name="connsiteX427" fmla="*/ 120064 w 731624"/>
                <a:gd name="connsiteY427" fmla="*/ 138636 h 543627"/>
                <a:gd name="connsiteX428" fmla="*/ 118109 w 731624"/>
                <a:gd name="connsiteY428" fmla="*/ 136355 h 543627"/>
                <a:gd name="connsiteX429" fmla="*/ 117620 w 731624"/>
                <a:gd name="connsiteY429" fmla="*/ 130490 h 543627"/>
                <a:gd name="connsiteX430" fmla="*/ 116154 w 731624"/>
                <a:gd name="connsiteY430" fmla="*/ 126417 h 543627"/>
                <a:gd name="connsiteX431" fmla="*/ 112733 w 731624"/>
                <a:gd name="connsiteY431" fmla="*/ 124788 h 543627"/>
                <a:gd name="connsiteX432" fmla="*/ 109964 w 731624"/>
                <a:gd name="connsiteY432" fmla="*/ 116480 h 543627"/>
                <a:gd name="connsiteX433" fmla="*/ 108172 w 731624"/>
                <a:gd name="connsiteY433" fmla="*/ 113711 h 543627"/>
                <a:gd name="connsiteX434" fmla="*/ 106217 w 731624"/>
                <a:gd name="connsiteY434" fmla="*/ 113711 h 543627"/>
                <a:gd name="connsiteX435" fmla="*/ 104588 w 731624"/>
                <a:gd name="connsiteY435" fmla="*/ 110289 h 543627"/>
                <a:gd name="connsiteX436" fmla="*/ 106054 w 731624"/>
                <a:gd name="connsiteY436" fmla="*/ 107846 h 543627"/>
                <a:gd name="connsiteX437" fmla="*/ 106380 w 731624"/>
                <a:gd name="connsiteY437" fmla="*/ 105239 h 543627"/>
                <a:gd name="connsiteX438" fmla="*/ 100189 w 731624"/>
                <a:gd name="connsiteY438" fmla="*/ 96442 h 543627"/>
                <a:gd name="connsiteX439" fmla="*/ 98397 w 731624"/>
                <a:gd name="connsiteY439" fmla="*/ 92044 h 543627"/>
                <a:gd name="connsiteX440" fmla="*/ 99538 w 731624"/>
                <a:gd name="connsiteY440" fmla="*/ 88785 h 543627"/>
                <a:gd name="connsiteX441" fmla="*/ 98723 w 731624"/>
                <a:gd name="connsiteY441" fmla="*/ 82758 h 543627"/>
                <a:gd name="connsiteX442" fmla="*/ 96442 w 731624"/>
                <a:gd name="connsiteY442" fmla="*/ 78685 h 543627"/>
                <a:gd name="connsiteX443" fmla="*/ 95139 w 731624"/>
                <a:gd name="connsiteY443" fmla="*/ 69888 h 543627"/>
                <a:gd name="connsiteX444" fmla="*/ 92532 w 731624"/>
                <a:gd name="connsiteY444" fmla="*/ 63860 h 543627"/>
                <a:gd name="connsiteX445" fmla="*/ 92207 w 731624"/>
                <a:gd name="connsiteY445" fmla="*/ 59462 h 543627"/>
                <a:gd name="connsiteX446" fmla="*/ 95628 w 731624"/>
                <a:gd name="connsiteY446" fmla="*/ 55389 h 543627"/>
                <a:gd name="connsiteX447" fmla="*/ 95628 w 731624"/>
                <a:gd name="connsiteY447" fmla="*/ 52782 h 543627"/>
                <a:gd name="connsiteX448" fmla="*/ 90252 w 731624"/>
                <a:gd name="connsiteY448" fmla="*/ 49850 h 543627"/>
                <a:gd name="connsiteX449" fmla="*/ 85201 w 731624"/>
                <a:gd name="connsiteY449" fmla="*/ 49850 h 543627"/>
                <a:gd name="connsiteX450" fmla="*/ 83735 w 731624"/>
                <a:gd name="connsiteY450" fmla="*/ 46755 h 543627"/>
                <a:gd name="connsiteX451" fmla="*/ 79500 w 731624"/>
                <a:gd name="connsiteY451" fmla="*/ 42682 h 543627"/>
                <a:gd name="connsiteX452" fmla="*/ 77056 w 731624"/>
                <a:gd name="connsiteY452" fmla="*/ 44474 h 543627"/>
                <a:gd name="connsiteX453" fmla="*/ 72820 w 731624"/>
                <a:gd name="connsiteY453" fmla="*/ 45126 h 543627"/>
                <a:gd name="connsiteX454" fmla="*/ 69888 w 731624"/>
                <a:gd name="connsiteY454" fmla="*/ 42519 h 543627"/>
                <a:gd name="connsiteX455" fmla="*/ 65326 w 731624"/>
                <a:gd name="connsiteY455" fmla="*/ 35351 h 543627"/>
                <a:gd name="connsiteX456" fmla="*/ 58484 w 731624"/>
                <a:gd name="connsiteY456" fmla="*/ 32256 h 543627"/>
                <a:gd name="connsiteX457" fmla="*/ 55226 w 731624"/>
                <a:gd name="connsiteY457" fmla="*/ 26391 h 543627"/>
                <a:gd name="connsiteX458" fmla="*/ 57018 w 731624"/>
                <a:gd name="connsiteY458" fmla="*/ 32256 h 543627"/>
                <a:gd name="connsiteX459" fmla="*/ 57996 w 731624"/>
                <a:gd name="connsiteY459" fmla="*/ 36980 h 543627"/>
                <a:gd name="connsiteX460" fmla="*/ 55552 w 731624"/>
                <a:gd name="connsiteY460" fmla="*/ 45777 h 543627"/>
                <a:gd name="connsiteX461" fmla="*/ 53271 w 731624"/>
                <a:gd name="connsiteY461" fmla="*/ 51479 h 543627"/>
                <a:gd name="connsiteX462" fmla="*/ 54575 w 731624"/>
                <a:gd name="connsiteY462" fmla="*/ 62394 h 543627"/>
                <a:gd name="connsiteX463" fmla="*/ 55389 w 731624"/>
                <a:gd name="connsiteY463" fmla="*/ 80314 h 543627"/>
                <a:gd name="connsiteX464" fmla="*/ 53108 w 731624"/>
                <a:gd name="connsiteY464" fmla="*/ 84550 h 543627"/>
                <a:gd name="connsiteX465" fmla="*/ 55878 w 731624"/>
                <a:gd name="connsiteY465" fmla="*/ 87482 h 543627"/>
                <a:gd name="connsiteX466" fmla="*/ 59462 w 731624"/>
                <a:gd name="connsiteY466" fmla="*/ 94813 h 543627"/>
                <a:gd name="connsiteX467" fmla="*/ 59462 w 731624"/>
                <a:gd name="connsiteY467" fmla="*/ 99863 h 543627"/>
                <a:gd name="connsiteX468" fmla="*/ 62068 w 731624"/>
                <a:gd name="connsiteY468" fmla="*/ 100026 h 543627"/>
                <a:gd name="connsiteX469" fmla="*/ 64512 w 731624"/>
                <a:gd name="connsiteY469" fmla="*/ 103773 h 543627"/>
                <a:gd name="connsiteX470" fmla="*/ 71517 w 731624"/>
                <a:gd name="connsiteY470" fmla="*/ 108497 h 543627"/>
                <a:gd name="connsiteX471" fmla="*/ 72983 w 731624"/>
                <a:gd name="connsiteY471" fmla="*/ 115340 h 543627"/>
                <a:gd name="connsiteX472" fmla="*/ 72006 w 731624"/>
                <a:gd name="connsiteY472" fmla="*/ 118598 h 543627"/>
                <a:gd name="connsiteX473" fmla="*/ 73309 w 731624"/>
                <a:gd name="connsiteY473" fmla="*/ 123159 h 543627"/>
                <a:gd name="connsiteX474" fmla="*/ 77545 w 731624"/>
                <a:gd name="connsiteY474" fmla="*/ 125114 h 543627"/>
                <a:gd name="connsiteX475" fmla="*/ 80803 w 731624"/>
                <a:gd name="connsiteY475" fmla="*/ 128535 h 543627"/>
                <a:gd name="connsiteX476" fmla="*/ 81292 w 731624"/>
                <a:gd name="connsiteY476" fmla="*/ 134074 h 543627"/>
                <a:gd name="connsiteX477" fmla="*/ 83247 w 731624"/>
                <a:gd name="connsiteY477" fmla="*/ 136355 h 543627"/>
                <a:gd name="connsiteX478" fmla="*/ 86505 w 731624"/>
                <a:gd name="connsiteY478" fmla="*/ 137006 h 543627"/>
                <a:gd name="connsiteX479" fmla="*/ 90740 w 731624"/>
                <a:gd name="connsiteY479" fmla="*/ 143686 h 543627"/>
                <a:gd name="connsiteX480" fmla="*/ 90252 w 731624"/>
                <a:gd name="connsiteY480" fmla="*/ 149062 h 543627"/>
                <a:gd name="connsiteX481" fmla="*/ 90252 w 731624"/>
                <a:gd name="connsiteY481" fmla="*/ 155089 h 543627"/>
                <a:gd name="connsiteX482" fmla="*/ 95302 w 731624"/>
                <a:gd name="connsiteY482" fmla="*/ 159488 h 543627"/>
                <a:gd name="connsiteX483" fmla="*/ 97257 w 731624"/>
                <a:gd name="connsiteY483" fmla="*/ 160303 h 543627"/>
                <a:gd name="connsiteX484" fmla="*/ 101492 w 731624"/>
                <a:gd name="connsiteY484" fmla="*/ 167145 h 543627"/>
                <a:gd name="connsiteX485" fmla="*/ 102959 w 731624"/>
                <a:gd name="connsiteY485" fmla="*/ 177408 h 543627"/>
                <a:gd name="connsiteX486" fmla="*/ 105239 w 731624"/>
                <a:gd name="connsiteY486" fmla="*/ 177408 h 543627"/>
                <a:gd name="connsiteX487" fmla="*/ 106705 w 731624"/>
                <a:gd name="connsiteY487" fmla="*/ 180177 h 543627"/>
                <a:gd name="connsiteX488" fmla="*/ 105076 w 731624"/>
                <a:gd name="connsiteY488" fmla="*/ 183924 h 543627"/>
                <a:gd name="connsiteX489" fmla="*/ 105402 w 731624"/>
                <a:gd name="connsiteY489" fmla="*/ 187182 h 543627"/>
                <a:gd name="connsiteX490" fmla="*/ 109964 w 731624"/>
                <a:gd name="connsiteY490" fmla="*/ 194188 h 543627"/>
                <a:gd name="connsiteX491" fmla="*/ 111756 w 731624"/>
                <a:gd name="connsiteY491" fmla="*/ 192558 h 543627"/>
                <a:gd name="connsiteX492" fmla="*/ 111756 w 731624"/>
                <a:gd name="connsiteY492" fmla="*/ 189626 h 543627"/>
                <a:gd name="connsiteX493" fmla="*/ 111756 w 731624"/>
                <a:gd name="connsiteY493" fmla="*/ 187671 h 543627"/>
                <a:gd name="connsiteX494" fmla="*/ 113548 w 731624"/>
                <a:gd name="connsiteY494" fmla="*/ 187997 h 543627"/>
                <a:gd name="connsiteX495" fmla="*/ 115014 w 731624"/>
                <a:gd name="connsiteY495" fmla="*/ 191418 h 543627"/>
                <a:gd name="connsiteX496" fmla="*/ 118109 w 731624"/>
                <a:gd name="connsiteY496" fmla="*/ 196631 h 543627"/>
                <a:gd name="connsiteX497" fmla="*/ 119575 w 731624"/>
                <a:gd name="connsiteY497" fmla="*/ 206243 h 543627"/>
                <a:gd name="connsiteX498" fmla="*/ 118435 w 731624"/>
                <a:gd name="connsiteY498" fmla="*/ 209990 h 543627"/>
                <a:gd name="connsiteX499" fmla="*/ 118924 w 731624"/>
                <a:gd name="connsiteY499" fmla="*/ 216506 h 543627"/>
                <a:gd name="connsiteX500" fmla="*/ 120390 w 731624"/>
                <a:gd name="connsiteY500" fmla="*/ 218950 h 543627"/>
                <a:gd name="connsiteX501" fmla="*/ 120390 w 731624"/>
                <a:gd name="connsiteY501" fmla="*/ 224000 h 543627"/>
                <a:gd name="connsiteX502" fmla="*/ 123322 w 731624"/>
                <a:gd name="connsiteY502" fmla="*/ 227258 h 543627"/>
                <a:gd name="connsiteX503" fmla="*/ 123322 w 731624"/>
                <a:gd name="connsiteY503" fmla="*/ 230842 h 543627"/>
                <a:gd name="connsiteX504" fmla="*/ 125603 w 731624"/>
                <a:gd name="connsiteY504" fmla="*/ 233774 h 543627"/>
                <a:gd name="connsiteX505" fmla="*/ 125603 w 731624"/>
                <a:gd name="connsiteY505" fmla="*/ 236870 h 543627"/>
                <a:gd name="connsiteX506" fmla="*/ 124625 w 731624"/>
                <a:gd name="connsiteY506" fmla="*/ 240454 h 543627"/>
                <a:gd name="connsiteX507" fmla="*/ 128535 w 731624"/>
                <a:gd name="connsiteY507" fmla="*/ 245830 h 543627"/>
                <a:gd name="connsiteX508" fmla="*/ 128535 w 731624"/>
                <a:gd name="connsiteY508" fmla="*/ 251206 h 543627"/>
                <a:gd name="connsiteX509" fmla="*/ 126092 w 731624"/>
                <a:gd name="connsiteY509" fmla="*/ 256419 h 543627"/>
                <a:gd name="connsiteX510" fmla="*/ 126580 w 731624"/>
                <a:gd name="connsiteY510" fmla="*/ 259514 h 543627"/>
                <a:gd name="connsiteX511" fmla="*/ 130979 w 731624"/>
                <a:gd name="connsiteY511" fmla="*/ 264890 h 543627"/>
                <a:gd name="connsiteX512" fmla="*/ 134889 w 731624"/>
                <a:gd name="connsiteY512" fmla="*/ 267986 h 543627"/>
                <a:gd name="connsiteX513" fmla="*/ 135703 w 731624"/>
                <a:gd name="connsiteY513" fmla="*/ 270918 h 543627"/>
                <a:gd name="connsiteX514" fmla="*/ 137984 w 731624"/>
                <a:gd name="connsiteY514" fmla="*/ 269940 h 543627"/>
                <a:gd name="connsiteX515" fmla="*/ 137984 w 731624"/>
                <a:gd name="connsiteY515" fmla="*/ 266356 h 543627"/>
                <a:gd name="connsiteX516" fmla="*/ 139287 w 731624"/>
                <a:gd name="connsiteY516" fmla="*/ 265216 h 543627"/>
                <a:gd name="connsiteX517" fmla="*/ 141731 w 731624"/>
                <a:gd name="connsiteY517" fmla="*/ 266519 h 543627"/>
                <a:gd name="connsiteX518" fmla="*/ 144338 w 731624"/>
                <a:gd name="connsiteY518" fmla="*/ 269778 h 543627"/>
                <a:gd name="connsiteX519" fmla="*/ 145967 w 731624"/>
                <a:gd name="connsiteY519" fmla="*/ 273036 h 543627"/>
                <a:gd name="connsiteX520" fmla="*/ 149876 w 731624"/>
                <a:gd name="connsiteY520" fmla="*/ 275316 h 543627"/>
                <a:gd name="connsiteX521" fmla="*/ 151342 w 731624"/>
                <a:gd name="connsiteY521" fmla="*/ 280041 h 543627"/>
                <a:gd name="connsiteX522" fmla="*/ 153786 w 731624"/>
                <a:gd name="connsiteY522" fmla="*/ 282484 h 543627"/>
                <a:gd name="connsiteX523" fmla="*/ 155252 w 731624"/>
                <a:gd name="connsiteY523" fmla="*/ 287046 h 543627"/>
                <a:gd name="connsiteX524" fmla="*/ 158348 w 731624"/>
                <a:gd name="connsiteY524" fmla="*/ 289001 h 543627"/>
                <a:gd name="connsiteX525" fmla="*/ 158022 w 731624"/>
                <a:gd name="connsiteY525" fmla="*/ 295517 h 543627"/>
                <a:gd name="connsiteX526" fmla="*/ 153460 w 731624"/>
                <a:gd name="connsiteY526" fmla="*/ 302522 h 543627"/>
                <a:gd name="connsiteX527" fmla="*/ 145641 w 731624"/>
                <a:gd name="connsiteY527" fmla="*/ 305943 h 543627"/>
                <a:gd name="connsiteX528" fmla="*/ 142546 w 731624"/>
                <a:gd name="connsiteY528" fmla="*/ 304966 h 543627"/>
                <a:gd name="connsiteX529" fmla="*/ 140265 w 731624"/>
                <a:gd name="connsiteY529" fmla="*/ 299590 h 543627"/>
                <a:gd name="connsiteX530" fmla="*/ 139939 w 731624"/>
                <a:gd name="connsiteY530" fmla="*/ 295680 h 543627"/>
                <a:gd name="connsiteX531" fmla="*/ 137007 w 731624"/>
                <a:gd name="connsiteY531" fmla="*/ 293236 h 543627"/>
                <a:gd name="connsiteX532" fmla="*/ 136518 w 731624"/>
                <a:gd name="connsiteY532" fmla="*/ 286394 h 543627"/>
                <a:gd name="connsiteX533" fmla="*/ 134074 w 731624"/>
                <a:gd name="connsiteY533" fmla="*/ 283136 h 543627"/>
                <a:gd name="connsiteX534" fmla="*/ 128698 w 731624"/>
                <a:gd name="connsiteY534" fmla="*/ 282647 h 543627"/>
                <a:gd name="connsiteX535" fmla="*/ 124788 w 731624"/>
                <a:gd name="connsiteY535" fmla="*/ 278086 h 543627"/>
                <a:gd name="connsiteX536" fmla="*/ 122996 w 731624"/>
                <a:gd name="connsiteY536" fmla="*/ 274665 h 543627"/>
                <a:gd name="connsiteX537" fmla="*/ 119087 w 731624"/>
                <a:gd name="connsiteY537" fmla="*/ 273036 h 543627"/>
                <a:gd name="connsiteX538" fmla="*/ 108172 w 731624"/>
                <a:gd name="connsiteY538" fmla="*/ 261306 h 543627"/>
                <a:gd name="connsiteX539" fmla="*/ 105728 w 731624"/>
                <a:gd name="connsiteY539" fmla="*/ 256256 h 543627"/>
                <a:gd name="connsiteX540" fmla="*/ 100678 w 731624"/>
                <a:gd name="connsiteY540" fmla="*/ 255116 h 543627"/>
                <a:gd name="connsiteX541" fmla="*/ 99375 w 731624"/>
                <a:gd name="connsiteY541" fmla="*/ 251695 h 543627"/>
                <a:gd name="connsiteX542" fmla="*/ 97094 w 731624"/>
                <a:gd name="connsiteY542" fmla="*/ 252183 h 543627"/>
                <a:gd name="connsiteX543" fmla="*/ 92044 w 731624"/>
                <a:gd name="connsiteY543" fmla="*/ 248111 h 543627"/>
                <a:gd name="connsiteX544" fmla="*/ 91229 w 731624"/>
                <a:gd name="connsiteY544" fmla="*/ 244038 h 543627"/>
                <a:gd name="connsiteX545" fmla="*/ 95465 w 731624"/>
                <a:gd name="connsiteY545" fmla="*/ 236870 h 543627"/>
                <a:gd name="connsiteX546" fmla="*/ 97094 w 731624"/>
                <a:gd name="connsiteY546" fmla="*/ 228562 h 543627"/>
                <a:gd name="connsiteX547" fmla="*/ 96279 w 731624"/>
                <a:gd name="connsiteY547" fmla="*/ 218135 h 543627"/>
                <a:gd name="connsiteX548" fmla="*/ 93184 w 731624"/>
                <a:gd name="connsiteY548" fmla="*/ 208361 h 543627"/>
                <a:gd name="connsiteX549" fmla="*/ 90577 w 731624"/>
                <a:gd name="connsiteY549" fmla="*/ 204451 h 543627"/>
                <a:gd name="connsiteX550" fmla="*/ 87971 w 731624"/>
                <a:gd name="connsiteY550" fmla="*/ 205265 h 543627"/>
                <a:gd name="connsiteX551" fmla="*/ 84224 w 731624"/>
                <a:gd name="connsiteY551" fmla="*/ 203636 h 543627"/>
                <a:gd name="connsiteX552" fmla="*/ 75427 w 731624"/>
                <a:gd name="connsiteY552" fmla="*/ 195165 h 543627"/>
                <a:gd name="connsiteX553" fmla="*/ 74124 w 731624"/>
                <a:gd name="connsiteY553" fmla="*/ 187020 h 543627"/>
                <a:gd name="connsiteX554" fmla="*/ 75753 w 731624"/>
                <a:gd name="connsiteY554" fmla="*/ 182784 h 543627"/>
                <a:gd name="connsiteX555" fmla="*/ 73798 w 731624"/>
                <a:gd name="connsiteY555" fmla="*/ 182295 h 543627"/>
                <a:gd name="connsiteX556" fmla="*/ 69399 w 731624"/>
                <a:gd name="connsiteY556" fmla="*/ 187508 h 543627"/>
                <a:gd name="connsiteX557" fmla="*/ 66141 w 731624"/>
                <a:gd name="connsiteY557" fmla="*/ 187508 h 543627"/>
                <a:gd name="connsiteX558" fmla="*/ 62883 w 731624"/>
                <a:gd name="connsiteY558" fmla="*/ 189138 h 543627"/>
                <a:gd name="connsiteX559" fmla="*/ 61091 w 731624"/>
                <a:gd name="connsiteY559" fmla="*/ 185390 h 543627"/>
                <a:gd name="connsiteX560" fmla="*/ 61905 w 731624"/>
                <a:gd name="connsiteY560" fmla="*/ 183598 h 543627"/>
                <a:gd name="connsiteX561" fmla="*/ 58647 w 731624"/>
                <a:gd name="connsiteY561" fmla="*/ 182295 h 543627"/>
                <a:gd name="connsiteX562" fmla="*/ 55389 w 731624"/>
                <a:gd name="connsiteY562" fmla="*/ 182295 h 543627"/>
                <a:gd name="connsiteX563" fmla="*/ 55389 w 731624"/>
                <a:gd name="connsiteY563" fmla="*/ 179852 h 543627"/>
                <a:gd name="connsiteX564" fmla="*/ 49524 w 731624"/>
                <a:gd name="connsiteY564" fmla="*/ 177082 h 543627"/>
                <a:gd name="connsiteX565" fmla="*/ 45126 w 731624"/>
                <a:gd name="connsiteY565" fmla="*/ 175616 h 543627"/>
                <a:gd name="connsiteX566" fmla="*/ 42519 w 731624"/>
                <a:gd name="connsiteY566" fmla="*/ 171055 h 543627"/>
                <a:gd name="connsiteX567" fmla="*/ 42193 w 731624"/>
                <a:gd name="connsiteY567" fmla="*/ 166004 h 543627"/>
                <a:gd name="connsiteX568" fmla="*/ 37632 w 731624"/>
                <a:gd name="connsiteY568" fmla="*/ 164049 h 543627"/>
                <a:gd name="connsiteX569" fmla="*/ 32419 w 731624"/>
                <a:gd name="connsiteY569" fmla="*/ 157207 h 543627"/>
                <a:gd name="connsiteX570" fmla="*/ 33722 w 731624"/>
                <a:gd name="connsiteY570" fmla="*/ 155741 h 543627"/>
                <a:gd name="connsiteX571" fmla="*/ 40401 w 731624"/>
                <a:gd name="connsiteY571" fmla="*/ 155252 h 543627"/>
                <a:gd name="connsiteX572" fmla="*/ 44311 w 731624"/>
                <a:gd name="connsiteY572" fmla="*/ 156719 h 543627"/>
                <a:gd name="connsiteX573" fmla="*/ 50502 w 731624"/>
                <a:gd name="connsiteY573" fmla="*/ 157859 h 543627"/>
                <a:gd name="connsiteX574" fmla="*/ 53923 w 731624"/>
                <a:gd name="connsiteY574" fmla="*/ 160140 h 543627"/>
                <a:gd name="connsiteX575" fmla="*/ 55715 w 731624"/>
                <a:gd name="connsiteY575" fmla="*/ 157533 h 543627"/>
                <a:gd name="connsiteX576" fmla="*/ 56529 w 731624"/>
                <a:gd name="connsiteY576" fmla="*/ 154438 h 543627"/>
                <a:gd name="connsiteX577" fmla="*/ 52294 w 731624"/>
                <a:gd name="connsiteY577" fmla="*/ 153623 h 543627"/>
                <a:gd name="connsiteX578" fmla="*/ 51805 w 731624"/>
                <a:gd name="connsiteY578" fmla="*/ 152320 h 543627"/>
                <a:gd name="connsiteX579" fmla="*/ 54412 w 731624"/>
                <a:gd name="connsiteY579" fmla="*/ 149550 h 543627"/>
                <a:gd name="connsiteX580" fmla="*/ 57344 w 731624"/>
                <a:gd name="connsiteY580" fmla="*/ 150854 h 543627"/>
                <a:gd name="connsiteX581" fmla="*/ 58647 w 731624"/>
                <a:gd name="connsiteY581" fmla="*/ 146781 h 543627"/>
                <a:gd name="connsiteX582" fmla="*/ 56855 w 731624"/>
                <a:gd name="connsiteY582" fmla="*/ 143849 h 543627"/>
                <a:gd name="connsiteX583" fmla="*/ 56855 w 731624"/>
                <a:gd name="connsiteY583" fmla="*/ 141079 h 543627"/>
                <a:gd name="connsiteX584" fmla="*/ 59951 w 731624"/>
                <a:gd name="connsiteY584" fmla="*/ 137169 h 543627"/>
                <a:gd name="connsiteX585" fmla="*/ 56692 w 731624"/>
                <a:gd name="connsiteY585" fmla="*/ 131631 h 543627"/>
                <a:gd name="connsiteX586" fmla="*/ 54412 w 731624"/>
                <a:gd name="connsiteY586" fmla="*/ 130653 h 543627"/>
                <a:gd name="connsiteX587" fmla="*/ 51805 w 731624"/>
                <a:gd name="connsiteY587" fmla="*/ 122833 h 543627"/>
                <a:gd name="connsiteX588" fmla="*/ 45614 w 731624"/>
                <a:gd name="connsiteY588" fmla="*/ 116643 h 543627"/>
                <a:gd name="connsiteX589" fmla="*/ 44474 w 731624"/>
                <a:gd name="connsiteY589" fmla="*/ 112570 h 543627"/>
                <a:gd name="connsiteX590" fmla="*/ 40727 w 731624"/>
                <a:gd name="connsiteY590" fmla="*/ 107357 h 543627"/>
                <a:gd name="connsiteX591" fmla="*/ 33559 w 731624"/>
                <a:gd name="connsiteY591" fmla="*/ 100189 h 543627"/>
                <a:gd name="connsiteX592" fmla="*/ 30627 w 731624"/>
                <a:gd name="connsiteY592" fmla="*/ 100189 h 543627"/>
                <a:gd name="connsiteX593" fmla="*/ 26228 w 731624"/>
                <a:gd name="connsiteY593" fmla="*/ 96116 h 543627"/>
                <a:gd name="connsiteX594" fmla="*/ 23785 w 731624"/>
                <a:gd name="connsiteY594" fmla="*/ 89111 h 543627"/>
                <a:gd name="connsiteX595" fmla="*/ 23785 w 731624"/>
                <a:gd name="connsiteY595" fmla="*/ 80477 h 543627"/>
                <a:gd name="connsiteX596" fmla="*/ 22156 w 731624"/>
                <a:gd name="connsiteY596" fmla="*/ 77545 h 543627"/>
                <a:gd name="connsiteX597" fmla="*/ 19060 w 731624"/>
                <a:gd name="connsiteY597" fmla="*/ 74775 h 543627"/>
                <a:gd name="connsiteX598" fmla="*/ 19386 w 731624"/>
                <a:gd name="connsiteY598" fmla="*/ 69562 h 543627"/>
                <a:gd name="connsiteX599" fmla="*/ 21015 w 731624"/>
                <a:gd name="connsiteY599" fmla="*/ 67118 h 543627"/>
                <a:gd name="connsiteX600" fmla="*/ 20364 w 731624"/>
                <a:gd name="connsiteY600" fmla="*/ 62068 h 543627"/>
                <a:gd name="connsiteX601" fmla="*/ 14988 w 731624"/>
                <a:gd name="connsiteY601" fmla="*/ 57344 h 543627"/>
                <a:gd name="connsiteX602" fmla="*/ 13847 w 731624"/>
                <a:gd name="connsiteY602" fmla="*/ 54249 h 543627"/>
                <a:gd name="connsiteX603" fmla="*/ 15476 w 731624"/>
                <a:gd name="connsiteY603" fmla="*/ 52620 h 543627"/>
                <a:gd name="connsiteX604" fmla="*/ 15476 w 731624"/>
                <a:gd name="connsiteY604" fmla="*/ 49850 h 543627"/>
                <a:gd name="connsiteX605" fmla="*/ 8797 w 731624"/>
                <a:gd name="connsiteY605" fmla="*/ 41542 h 543627"/>
                <a:gd name="connsiteX606" fmla="*/ 7168 w 731624"/>
                <a:gd name="connsiteY606" fmla="*/ 36817 h 543627"/>
                <a:gd name="connsiteX607" fmla="*/ 7983 w 731624"/>
                <a:gd name="connsiteY607" fmla="*/ 32745 h 543627"/>
                <a:gd name="connsiteX608" fmla="*/ 9937 w 731624"/>
                <a:gd name="connsiteY608" fmla="*/ 31279 h 543627"/>
                <a:gd name="connsiteX609" fmla="*/ 7168 w 731624"/>
                <a:gd name="connsiteY609" fmla="*/ 27532 h 543627"/>
                <a:gd name="connsiteX610" fmla="*/ 4236 w 731624"/>
                <a:gd name="connsiteY610" fmla="*/ 21993 h 543627"/>
                <a:gd name="connsiteX611" fmla="*/ 814 w 731624"/>
                <a:gd name="connsiteY611" fmla="*/ 8960 h 543627"/>
                <a:gd name="connsiteX612" fmla="*/ 0 w 731624"/>
                <a:gd name="connsiteY612" fmla="*/ 2769 h 543627"/>
                <a:gd name="connsiteX613" fmla="*/ 0 w 731624"/>
                <a:gd name="connsiteY613" fmla="*/ 2769 h 543627"/>
                <a:gd name="connsiteX614" fmla="*/ 132445 w 731624"/>
                <a:gd name="connsiteY614" fmla="*/ 246644 h 543627"/>
                <a:gd name="connsiteX615" fmla="*/ 135215 w 731624"/>
                <a:gd name="connsiteY615" fmla="*/ 244852 h 543627"/>
                <a:gd name="connsiteX616" fmla="*/ 134400 w 731624"/>
                <a:gd name="connsiteY616" fmla="*/ 241105 h 543627"/>
                <a:gd name="connsiteX617" fmla="*/ 131468 w 731624"/>
                <a:gd name="connsiteY617" fmla="*/ 237033 h 543627"/>
                <a:gd name="connsiteX618" fmla="*/ 130164 w 731624"/>
                <a:gd name="connsiteY618" fmla="*/ 239314 h 543627"/>
                <a:gd name="connsiteX619" fmla="*/ 131468 w 731624"/>
                <a:gd name="connsiteY619" fmla="*/ 241594 h 543627"/>
                <a:gd name="connsiteX620" fmla="*/ 132445 w 731624"/>
                <a:gd name="connsiteY620" fmla="*/ 246807 h 543627"/>
                <a:gd name="connsiteX621" fmla="*/ 132445 w 731624"/>
                <a:gd name="connsiteY621" fmla="*/ 246807 h 543627"/>
                <a:gd name="connsiteX622" fmla="*/ 137169 w 731624"/>
                <a:gd name="connsiteY622" fmla="*/ 257885 h 543627"/>
                <a:gd name="connsiteX623" fmla="*/ 136844 w 731624"/>
                <a:gd name="connsiteY623" fmla="*/ 261143 h 543627"/>
                <a:gd name="connsiteX624" fmla="*/ 139124 w 731624"/>
                <a:gd name="connsiteY624" fmla="*/ 261143 h 543627"/>
                <a:gd name="connsiteX625" fmla="*/ 139939 w 731624"/>
                <a:gd name="connsiteY625" fmla="*/ 258537 h 543627"/>
                <a:gd name="connsiteX626" fmla="*/ 137332 w 731624"/>
                <a:gd name="connsiteY626" fmla="*/ 257722 h 543627"/>
                <a:gd name="connsiteX627" fmla="*/ 137332 w 731624"/>
                <a:gd name="connsiteY627" fmla="*/ 257722 h 543627"/>
                <a:gd name="connsiteX628" fmla="*/ 464291 w 731624"/>
                <a:gd name="connsiteY628" fmla="*/ 250391 h 543627"/>
                <a:gd name="connsiteX629" fmla="*/ 465920 w 731624"/>
                <a:gd name="connsiteY629" fmla="*/ 249740 h 543627"/>
                <a:gd name="connsiteX630" fmla="*/ 466735 w 731624"/>
                <a:gd name="connsiteY630" fmla="*/ 246807 h 543627"/>
                <a:gd name="connsiteX631" fmla="*/ 464943 w 731624"/>
                <a:gd name="connsiteY631" fmla="*/ 246807 h 543627"/>
                <a:gd name="connsiteX632" fmla="*/ 464291 w 731624"/>
                <a:gd name="connsiteY632" fmla="*/ 250391 h 543627"/>
                <a:gd name="connsiteX633" fmla="*/ 464291 w 731624"/>
                <a:gd name="connsiteY633" fmla="*/ 250391 h 543627"/>
                <a:gd name="connsiteX634" fmla="*/ 463314 w 731624"/>
                <a:gd name="connsiteY634" fmla="*/ 256582 h 543627"/>
                <a:gd name="connsiteX635" fmla="*/ 463965 w 731624"/>
                <a:gd name="connsiteY635" fmla="*/ 257396 h 543627"/>
                <a:gd name="connsiteX636" fmla="*/ 465269 w 731624"/>
                <a:gd name="connsiteY636" fmla="*/ 252998 h 543627"/>
                <a:gd name="connsiteX637" fmla="*/ 463965 w 731624"/>
                <a:gd name="connsiteY637" fmla="*/ 252998 h 543627"/>
                <a:gd name="connsiteX638" fmla="*/ 463477 w 731624"/>
                <a:gd name="connsiteY638" fmla="*/ 256582 h 543627"/>
                <a:gd name="connsiteX639" fmla="*/ 463477 w 731624"/>
                <a:gd name="connsiteY639" fmla="*/ 256582 h 543627"/>
                <a:gd name="connsiteX640" fmla="*/ 460381 w 731624"/>
                <a:gd name="connsiteY640" fmla="*/ 267823 h 543627"/>
                <a:gd name="connsiteX641" fmla="*/ 462825 w 731624"/>
                <a:gd name="connsiteY641" fmla="*/ 263424 h 543627"/>
                <a:gd name="connsiteX642" fmla="*/ 462825 w 731624"/>
                <a:gd name="connsiteY642" fmla="*/ 259514 h 543627"/>
                <a:gd name="connsiteX643" fmla="*/ 460381 w 731624"/>
                <a:gd name="connsiteY643" fmla="*/ 267823 h 5436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</a:cxnLst>
              <a:rect l="l" t="t" r="r" b="b"/>
              <a:pathLst>
                <a:path w="731624" h="543627">
                  <a:moveTo>
                    <a:pt x="163" y="1140"/>
                  </a:moveTo>
                  <a:lnTo>
                    <a:pt x="61417" y="0"/>
                  </a:lnTo>
                  <a:lnTo>
                    <a:pt x="62720" y="2281"/>
                  </a:lnTo>
                  <a:lnTo>
                    <a:pt x="61742" y="4236"/>
                  </a:lnTo>
                  <a:lnTo>
                    <a:pt x="148736" y="43985"/>
                  </a:lnTo>
                  <a:lnTo>
                    <a:pt x="221882" y="46266"/>
                  </a:lnTo>
                  <a:lnTo>
                    <a:pt x="222371" y="36980"/>
                  </a:lnTo>
                  <a:lnTo>
                    <a:pt x="263750" y="38284"/>
                  </a:lnTo>
                  <a:lnTo>
                    <a:pt x="268474" y="41216"/>
                  </a:lnTo>
                  <a:lnTo>
                    <a:pt x="272547" y="47081"/>
                  </a:lnTo>
                  <a:lnTo>
                    <a:pt x="274828" y="49687"/>
                  </a:lnTo>
                  <a:lnTo>
                    <a:pt x="275316" y="51968"/>
                  </a:lnTo>
                  <a:lnTo>
                    <a:pt x="277923" y="51968"/>
                  </a:lnTo>
                  <a:cubicBezTo>
                    <a:pt x="277923" y="51968"/>
                    <a:pt x="280204" y="55552"/>
                    <a:pt x="280204" y="55552"/>
                  </a:cubicBezTo>
                  <a:lnTo>
                    <a:pt x="279389" y="57996"/>
                  </a:lnTo>
                  <a:lnTo>
                    <a:pt x="283299" y="59462"/>
                  </a:lnTo>
                  <a:lnTo>
                    <a:pt x="287209" y="62720"/>
                  </a:lnTo>
                  <a:lnTo>
                    <a:pt x="286883" y="65001"/>
                  </a:lnTo>
                  <a:lnTo>
                    <a:pt x="285580" y="66956"/>
                  </a:lnTo>
                  <a:lnTo>
                    <a:pt x="288675" y="67933"/>
                  </a:lnTo>
                  <a:lnTo>
                    <a:pt x="292259" y="70214"/>
                  </a:lnTo>
                  <a:lnTo>
                    <a:pt x="294540" y="73961"/>
                  </a:lnTo>
                  <a:lnTo>
                    <a:pt x="295028" y="79663"/>
                  </a:lnTo>
                  <a:lnTo>
                    <a:pt x="296820" y="81780"/>
                  </a:lnTo>
                  <a:lnTo>
                    <a:pt x="298287" y="82106"/>
                  </a:lnTo>
                  <a:lnTo>
                    <a:pt x="299101" y="84061"/>
                  </a:lnTo>
                  <a:lnTo>
                    <a:pt x="302033" y="86831"/>
                  </a:lnTo>
                  <a:lnTo>
                    <a:pt x="302033" y="90740"/>
                  </a:lnTo>
                  <a:cubicBezTo>
                    <a:pt x="302033" y="90740"/>
                    <a:pt x="300730" y="91881"/>
                    <a:pt x="300730" y="91881"/>
                  </a:cubicBezTo>
                  <a:lnTo>
                    <a:pt x="297798" y="92695"/>
                  </a:lnTo>
                  <a:lnTo>
                    <a:pt x="297798" y="94487"/>
                  </a:lnTo>
                  <a:lnTo>
                    <a:pt x="302196" y="99700"/>
                  </a:lnTo>
                  <a:lnTo>
                    <a:pt x="305617" y="103936"/>
                  </a:lnTo>
                  <a:lnTo>
                    <a:pt x="306758" y="107520"/>
                  </a:lnTo>
                  <a:lnTo>
                    <a:pt x="306758" y="108986"/>
                  </a:lnTo>
                  <a:cubicBezTo>
                    <a:pt x="306758" y="108986"/>
                    <a:pt x="308061" y="108986"/>
                    <a:pt x="308061" y="108986"/>
                  </a:cubicBezTo>
                  <a:lnTo>
                    <a:pt x="310179" y="111104"/>
                  </a:lnTo>
                  <a:lnTo>
                    <a:pt x="311808" y="111104"/>
                  </a:lnTo>
                  <a:cubicBezTo>
                    <a:pt x="311808" y="111104"/>
                    <a:pt x="314252" y="111919"/>
                    <a:pt x="314252" y="111919"/>
                  </a:cubicBezTo>
                  <a:lnTo>
                    <a:pt x="315229" y="113711"/>
                  </a:lnTo>
                  <a:lnTo>
                    <a:pt x="315555" y="115340"/>
                  </a:lnTo>
                  <a:lnTo>
                    <a:pt x="317184" y="117132"/>
                  </a:lnTo>
                  <a:lnTo>
                    <a:pt x="320116" y="117132"/>
                  </a:lnTo>
                  <a:cubicBezTo>
                    <a:pt x="320116" y="117132"/>
                    <a:pt x="325329" y="119738"/>
                    <a:pt x="325329" y="119738"/>
                  </a:cubicBezTo>
                  <a:lnTo>
                    <a:pt x="325981" y="121530"/>
                  </a:lnTo>
                  <a:lnTo>
                    <a:pt x="330217" y="122833"/>
                  </a:lnTo>
                  <a:lnTo>
                    <a:pt x="335430" y="125440"/>
                  </a:lnTo>
                  <a:lnTo>
                    <a:pt x="336896" y="127232"/>
                  </a:lnTo>
                  <a:lnTo>
                    <a:pt x="339014" y="127558"/>
                  </a:lnTo>
                  <a:lnTo>
                    <a:pt x="341458" y="126580"/>
                  </a:lnTo>
                  <a:lnTo>
                    <a:pt x="341946" y="124951"/>
                  </a:lnTo>
                  <a:lnTo>
                    <a:pt x="345530" y="122019"/>
                  </a:lnTo>
                  <a:lnTo>
                    <a:pt x="348137" y="121367"/>
                  </a:lnTo>
                  <a:lnTo>
                    <a:pt x="348625" y="119249"/>
                  </a:lnTo>
                  <a:lnTo>
                    <a:pt x="348137" y="117946"/>
                  </a:lnTo>
                  <a:lnTo>
                    <a:pt x="350418" y="115177"/>
                  </a:lnTo>
                  <a:lnTo>
                    <a:pt x="354164" y="108172"/>
                  </a:lnTo>
                  <a:lnTo>
                    <a:pt x="356771" y="105565"/>
                  </a:lnTo>
                  <a:lnTo>
                    <a:pt x="359703" y="104588"/>
                  </a:lnTo>
                  <a:lnTo>
                    <a:pt x="361658" y="105076"/>
                  </a:lnTo>
                  <a:lnTo>
                    <a:pt x="362147" y="105891"/>
                  </a:lnTo>
                  <a:lnTo>
                    <a:pt x="364102" y="105565"/>
                  </a:lnTo>
                  <a:lnTo>
                    <a:pt x="365568" y="102470"/>
                  </a:lnTo>
                  <a:lnTo>
                    <a:pt x="370130" y="102470"/>
                  </a:lnTo>
                  <a:cubicBezTo>
                    <a:pt x="370130" y="102470"/>
                    <a:pt x="374528" y="103122"/>
                    <a:pt x="374528" y="103122"/>
                  </a:cubicBezTo>
                  <a:lnTo>
                    <a:pt x="379415" y="102796"/>
                  </a:lnTo>
                  <a:lnTo>
                    <a:pt x="381370" y="103773"/>
                  </a:lnTo>
                  <a:lnTo>
                    <a:pt x="382511" y="105239"/>
                  </a:lnTo>
                  <a:lnTo>
                    <a:pt x="385769" y="104588"/>
                  </a:lnTo>
                  <a:lnTo>
                    <a:pt x="389190" y="106217"/>
                  </a:lnTo>
                  <a:lnTo>
                    <a:pt x="391471" y="109964"/>
                  </a:lnTo>
                  <a:lnTo>
                    <a:pt x="396521" y="114199"/>
                  </a:lnTo>
                  <a:lnTo>
                    <a:pt x="400431" y="120227"/>
                  </a:lnTo>
                  <a:lnTo>
                    <a:pt x="402386" y="125603"/>
                  </a:lnTo>
                  <a:lnTo>
                    <a:pt x="403689" y="127884"/>
                  </a:lnTo>
                  <a:lnTo>
                    <a:pt x="404341" y="131793"/>
                  </a:lnTo>
                  <a:lnTo>
                    <a:pt x="404666" y="137821"/>
                  </a:lnTo>
                  <a:lnTo>
                    <a:pt x="407436" y="139287"/>
                  </a:lnTo>
                  <a:lnTo>
                    <a:pt x="408739" y="142871"/>
                  </a:lnTo>
                  <a:lnTo>
                    <a:pt x="411997" y="152157"/>
                  </a:lnTo>
                  <a:lnTo>
                    <a:pt x="414115" y="153623"/>
                  </a:lnTo>
                  <a:lnTo>
                    <a:pt x="415255" y="156881"/>
                  </a:lnTo>
                  <a:lnTo>
                    <a:pt x="419165" y="158999"/>
                  </a:lnTo>
                  <a:lnTo>
                    <a:pt x="420306" y="164049"/>
                  </a:lnTo>
                  <a:lnTo>
                    <a:pt x="422749" y="168285"/>
                  </a:lnTo>
                  <a:lnTo>
                    <a:pt x="426985" y="172684"/>
                  </a:lnTo>
                  <a:lnTo>
                    <a:pt x="426496" y="177245"/>
                  </a:lnTo>
                  <a:lnTo>
                    <a:pt x="426007" y="181969"/>
                  </a:lnTo>
                  <a:lnTo>
                    <a:pt x="426007" y="183273"/>
                  </a:lnTo>
                  <a:cubicBezTo>
                    <a:pt x="426007" y="183273"/>
                    <a:pt x="426333" y="184739"/>
                    <a:pt x="426333" y="184739"/>
                  </a:cubicBezTo>
                  <a:lnTo>
                    <a:pt x="431546" y="199727"/>
                  </a:lnTo>
                  <a:lnTo>
                    <a:pt x="431220" y="206406"/>
                  </a:lnTo>
                  <a:lnTo>
                    <a:pt x="433338" y="209012"/>
                  </a:lnTo>
                  <a:lnTo>
                    <a:pt x="433990" y="209664"/>
                  </a:lnTo>
                  <a:lnTo>
                    <a:pt x="437085" y="210804"/>
                  </a:lnTo>
                  <a:lnTo>
                    <a:pt x="440343" y="210316"/>
                  </a:lnTo>
                  <a:lnTo>
                    <a:pt x="443602" y="212108"/>
                  </a:lnTo>
                  <a:lnTo>
                    <a:pt x="447674" y="216180"/>
                  </a:lnTo>
                  <a:lnTo>
                    <a:pt x="456146" y="218950"/>
                  </a:lnTo>
                  <a:lnTo>
                    <a:pt x="460870" y="221393"/>
                  </a:lnTo>
                  <a:lnTo>
                    <a:pt x="465431" y="222534"/>
                  </a:lnTo>
                  <a:lnTo>
                    <a:pt x="467061" y="225629"/>
                  </a:lnTo>
                  <a:lnTo>
                    <a:pt x="469341" y="226770"/>
                  </a:lnTo>
                  <a:lnTo>
                    <a:pt x="468038" y="230516"/>
                  </a:lnTo>
                  <a:lnTo>
                    <a:pt x="472437" y="227584"/>
                  </a:lnTo>
                  <a:lnTo>
                    <a:pt x="473903" y="220253"/>
                  </a:lnTo>
                  <a:lnTo>
                    <a:pt x="477324" y="217321"/>
                  </a:lnTo>
                  <a:lnTo>
                    <a:pt x="476509" y="219927"/>
                  </a:lnTo>
                  <a:lnTo>
                    <a:pt x="475695" y="226606"/>
                  </a:lnTo>
                  <a:lnTo>
                    <a:pt x="473740" y="228887"/>
                  </a:lnTo>
                  <a:lnTo>
                    <a:pt x="472274" y="234589"/>
                  </a:lnTo>
                  <a:lnTo>
                    <a:pt x="468364" y="240128"/>
                  </a:lnTo>
                  <a:lnTo>
                    <a:pt x="467712" y="244527"/>
                  </a:lnTo>
                  <a:lnTo>
                    <a:pt x="464780" y="244852"/>
                  </a:lnTo>
                  <a:lnTo>
                    <a:pt x="465757" y="242246"/>
                  </a:lnTo>
                  <a:lnTo>
                    <a:pt x="466572" y="237684"/>
                  </a:lnTo>
                  <a:lnTo>
                    <a:pt x="462173" y="237358"/>
                  </a:lnTo>
                  <a:lnTo>
                    <a:pt x="462173" y="244527"/>
                  </a:lnTo>
                  <a:lnTo>
                    <a:pt x="459078" y="248436"/>
                  </a:lnTo>
                  <a:lnTo>
                    <a:pt x="462336" y="251043"/>
                  </a:lnTo>
                  <a:lnTo>
                    <a:pt x="461196" y="253487"/>
                  </a:lnTo>
                  <a:lnTo>
                    <a:pt x="459567" y="260655"/>
                  </a:lnTo>
                  <a:lnTo>
                    <a:pt x="456960" y="263261"/>
                  </a:lnTo>
                  <a:lnTo>
                    <a:pt x="456960" y="269289"/>
                  </a:lnTo>
                  <a:lnTo>
                    <a:pt x="458589" y="271570"/>
                  </a:lnTo>
                  <a:lnTo>
                    <a:pt x="456797" y="275154"/>
                  </a:lnTo>
                  <a:lnTo>
                    <a:pt x="457123" y="278900"/>
                  </a:lnTo>
                  <a:lnTo>
                    <a:pt x="454354" y="291607"/>
                  </a:lnTo>
                  <a:lnTo>
                    <a:pt x="455657" y="299590"/>
                  </a:lnTo>
                  <a:lnTo>
                    <a:pt x="454354" y="311808"/>
                  </a:lnTo>
                  <a:lnTo>
                    <a:pt x="450281" y="317184"/>
                  </a:lnTo>
                  <a:lnTo>
                    <a:pt x="451584" y="321257"/>
                  </a:lnTo>
                  <a:lnTo>
                    <a:pt x="453213" y="331031"/>
                  </a:lnTo>
                  <a:lnTo>
                    <a:pt x="452399" y="336570"/>
                  </a:lnTo>
                  <a:lnTo>
                    <a:pt x="459078" y="346996"/>
                  </a:lnTo>
                  <a:lnTo>
                    <a:pt x="459078" y="354490"/>
                  </a:lnTo>
                  <a:cubicBezTo>
                    <a:pt x="459078" y="354490"/>
                    <a:pt x="457612" y="355956"/>
                    <a:pt x="457612" y="355956"/>
                  </a:cubicBezTo>
                  <a:lnTo>
                    <a:pt x="456797" y="346996"/>
                  </a:lnTo>
                  <a:lnTo>
                    <a:pt x="451095" y="339665"/>
                  </a:lnTo>
                  <a:lnTo>
                    <a:pt x="450444" y="345205"/>
                  </a:lnTo>
                  <a:lnTo>
                    <a:pt x="454354" y="348625"/>
                  </a:lnTo>
                  <a:lnTo>
                    <a:pt x="457286" y="359052"/>
                  </a:lnTo>
                  <a:lnTo>
                    <a:pt x="458589" y="362636"/>
                  </a:lnTo>
                  <a:lnTo>
                    <a:pt x="456797" y="366057"/>
                  </a:lnTo>
                  <a:lnTo>
                    <a:pt x="459730" y="370455"/>
                  </a:lnTo>
                  <a:lnTo>
                    <a:pt x="460870" y="375505"/>
                  </a:lnTo>
                  <a:lnTo>
                    <a:pt x="474880" y="390656"/>
                  </a:lnTo>
                  <a:lnTo>
                    <a:pt x="477161" y="396358"/>
                  </a:lnTo>
                  <a:lnTo>
                    <a:pt x="481885" y="403363"/>
                  </a:lnTo>
                  <a:lnTo>
                    <a:pt x="481559" y="407273"/>
                  </a:lnTo>
                  <a:lnTo>
                    <a:pt x="482863" y="411508"/>
                  </a:lnTo>
                  <a:lnTo>
                    <a:pt x="493452" y="424052"/>
                  </a:lnTo>
                  <a:lnTo>
                    <a:pt x="496873" y="427637"/>
                  </a:lnTo>
                  <a:lnTo>
                    <a:pt x="499316" y="426985"/>
                  </a:lnTo>
                  <a:lnTo>
                    <a:pt x="506322" y="426985"/>
                  </a:lnTo>
                  <a:cubicBezTo>
                    <a:pt x="506322" y="426985"/>
                    <a:pt x="507951" y="429103"/>
                    <a:pt x="507951" y="429103"/>
                  </a:cubicBezTo>
                  <a:lnTo>
                    <a:pt x="515445" y="432198"/>
                  </a:lnTo>
                  <a:lnTo>
                    <a:pt x="521309" y="440180"/>
                  </a:lnTo>
                  <a:lnTo>
                    <a:pt x="523264" y="446697"/>
                  </a:lnTo>
                  <a:lnTo>
                    <a:pt x="529455" y="443927"/>
                  </a:lnTo>
                  <a:lnTo>
                    <a:pt x="538089" y="442135"/>
                  </a:lnTo>
                  <a:lnTo>
                    <a:pt x="540370" y="444742"/>
                  </a:lnTo>
                  <a:lnTo>
                    <a:pt x="543302" y="444742"/>
                  </a:lnTo>
                  <a:lnTo>
                    <a:pt x="554054" y="438714"/>
                  </a:lnTo>
                  <a:lnTo>
                    <a:pt x="555520" y="436433"/>
                  </a:lnTo>
                  <a:lnTo>
                    <a:pt x="564480" y="435782"/>
                  </a:lnTo>
                  <a:lnTo>
                    <a:pt x="570345" y="435782"/>
                  </a:lnTo>
                  <a:cubicBezTo>
                    <a:pt x="570345" y="435782"/>
                    <a:pt x="574906" y="431709"/>
                    <a:pt x="574906" y="431709"/>
                  </a:cubicBezTo>
                  <a:lnTo>
                    <a:pt x="581749" y="431709"/>
                  </a:lnTo>
                  <a:cubicBezTo>
                    <a:pt x="581749" y="431709"/>
                    <a:pt x="587287" y="433175"/>
                    <a:pt x="587287" y="433175"/>
                  </a:cubicBezTo>
                  <a:lnTo>
                    <a:pt x="589568" y="430243"/>
                  </a:lnTo>
                  <a:lnTo>
                    <a:pt x="596736" y="432198"/>
                  </a:lnTo>
                  <a:lnTo>
                    <a:pt x="591686" y="434805"/>
                  </a:lnTo>
                  <a:lnTo>
                    <a:pt x="590383" y="437900"/>
                  </a:lnTo>
                  <a:lnTo>
                    <a:pt x="596248" y="440506"/>
                  </a:lnTo>
                  <a:lnTo>
                    <a:pt x="599180" y="443439"/>
                  </a:lnTo>
                  <a:lnTo>
                    <a:pt x="600320" y="440669"/>
                  </a:lnTo>
                  <a:lnTo>
                    <a:pt x="603253" y="440669"/>
                  </a:lnTo>
                  <a:cubicBezTo>
                    <a:pt x="603253" y="440669"/>
                    <a:pt x="608303" y="434641"/>
                    <a:pt x="608303" y="434641"/>
                  </a:cubicBezTo>
                  <a:lnTo>
                    <a:pt x="608303" y="427311"/>
                  </a:lnTo>
                  <a:cubicBezTo>
                    <a:pt x="608303" y="427311"/>
                    <a:pt x="609769" y="422912"/>
                    <a:pt x="609769" y="422912"/>
                  </a:cubicBezTo>
                  <a:lnTo>
                    <a:pt x="604719" y="426170"/>
                  </a:lnTo>
                  <a:lnTo>
                    <a:pt x="603741" y="425193"/>
                  </a:lnTo>
                  <a:lnTo>
                    <a:pt x="615145" y="419165"/>
                  </a:lnTo>
                  <a:lnTo>
                    <a:pt x="619055" y="418188"/>
                  </a:lnTo>
                  <a:lnTo>
                    <a:pt x="623942" y="412323"/>
                  </a:lnTo>
                  <a:lnTo>
                    <a:pt x="623942" y="403526"/>
                  </a:lnTo>
                  <a:lnTo>
                    <a:pt x="633228" y="393588"/>
                  </a:lnTo>
                  <a:lnTo>
                    <a:pt x="632413" y="391796"/>
                  </a:lnTo>
                  <a:lnTo>
                    <a:pt x="633228" y="375994"/>
                  </a:lnTo>
                  <a:lnTo>
                    <a:pt x="642840" y="365242"/>
                  </a:lnTo>
                  <a:lnTo>
                    <a:pt x="638767" y="364916"/>
                  </a:lnTo>
                  <a:lnTo>
                    <a:pt x="638767" y="361170"/>
                  </a:lnTo>
                  <a:lnTo>
                    <a:pt x="655383" y="357097"/>
                  </a:lnTo>
                  <a:lnTo>
                    <a:pt x="677213" y="357423"/>
                  </a:lnTo>
                  <a:lnTo>
                    <a:pt x="680960" y="352210"/>
                  </a:lnTo>
                  <a:lnTo>
                    <a:pt x="687314" y="351395"/>
                  </a:lnTo>
                  <a:lnTo>
                    <a:pt x="689594" y="353676"/>
                  </a:lnTo>
                  <a:lnTo>
                    <a:pt x="695948" y="350743"/>
                  </a:lnTo>
                  <a:lnTo>
                    <a:pt x="695622" y="348137"/>
                  </a:lnTo>
                  <a:lnTo>
                    <a:pt x="705560" y="347811"/>
                  </a:lnTo>
                  <a:lnTo>
                    <a:pt x="717289" y="350743"/>
                  </a:lnTo>
                  <a:lnTo>
                    <a:pt x="720221" y="349603"/>
                  </a:lnTo>
                  <a:lnTo>
                    <a:pt x="719081" y="346671"/>
                  </a:lnTo>
                  <a:lnTo>
                    <a:pt x="723805" y="346345"/>
                  </a:lnTo>
                  <a:lnTo>
                    <a:pt x="731299" y="355794"/>
                  </a:lnTo>
                  <a:lnTo>
                    <a:pt x="731625" y="361495"/>
                  </a:lnTo>
                  <a:lnTo>
                    <a:pt x="727552" y="368012"/>
                  </a:lnTo>
                  <a:lnTo>
                    <a:pt x="721850" y="377623"/>
                  </a:lnTo>
                  <a:lnTo>
                    <a:pt x="710610" y="387724"/>
                  </a:lnTo>
                  <a:lnTo>
                    <a:pt x="708329" y="391471"/>
                  </a:lnTo>
                  <a:lnTo>
                    <a:pt x="707840" y="398313"/>
                  </a:lnTo>
                  <a:lnTo>
                    <a:pt x="702790" y="401408"/>
                  </a:lnTo>
                  <a:lnTo>
                    <a:pt x="701161" y="403200"/>
                  </a:lnTo>
                  <a:lnTo>
                    <a:pt x="704419" y="405970"/>
                  </a:lnTo>
                  <a:lnTo>
                    <a:pt x="708655" y="405970"/>
                  </a:lnTo>
                  <a:lnTo>
                    <a:pt x="707677" y="409716"/>
                  </a:lnTo>
                  <a:lnTo>
                    <a:pt x="701976" y="415744"/>
                  </a:lnTo>
                  <a:lnTo>
                    <a:pt x="701976" y="417699"/>
                  </a:lnTo>
                  <a:lnTo>
                    <a:pt x="704256" y="418839"/>
                  </a:lnTo>
                  <a:lnTo>
                    <a:pt x="706863" y="416233"/>
                  </a:lnTo>
                  <a:lnTo>
                    <a:pt x="709306" y="415907"/>
                  </a:lnTo>
                  <a:lnTo>
                    <a:pt x="706700" y="420143"/>
                  </a:lnTo>
                  <a:lnTo>
                    <a:pt x="702627" y="436108"/>
                  </a:lnTo>
                  <a:lnTo>
                    <a:pt x="697903" y="444416"/>
                  </a:lnTo>
                  <a:lnTo>
                    <a:pt x="696762" y="445556"/>
                  </a:lnTo>
                  <a:lnTo>
                    <a:pt x="694807" y="440832"/>
                  </a:lnTo>
                  <a:lnTo>
                    <a:pt x="689106" y="437411"/>
                  </a:lnTo>
                  <a:lnTo>
                    <a:pt x="689106" y="435945"/>
                  </a:lnTo>
                  <a:cubicBezTo>
                    <a:pt x="689106" y="435945"/>
                    <a:pt x="691386" y="433501"/>
                    <a:pt x="691386" y="433501"/>
                  </a:cubicBezTo>
                  <a:lnTo>
                    <a:pt x="691875" y="428288"/>
                  </a:lnTo>
                  <a:lnTo>
                    <a:pt x="688943" y="429265"/>
                  </a:lnTo>
                  <a:lnTo>
                    <a:pt x="683404" y="435782"/>
                  </a:lnTo>
                  <a:lnTo>
                    <a:pt x="679005" y="439692"/>
                  </a:lnTo>
                  <a:lnTo>
                    <a:pt x="679005" y="439692"/>
                  </a:lnTo>
                  <a:cubicBezTo>
                    <a:pt x="679005" y="439692"/>
                    <a:pt x="677213" y="439692"/>
                    <a:pt x="677213" y="439692"/>
                  </a:cubicBezTo>
                  <a:lnTo>
                    <a:pt x="674118" y="440832"/>
                  </a:lnTo>
                  <a:lnTo>
                    <a:pt x="673141" y="442787"/>
                  </a:lnTo>
                  <a:lnTo>
                    <a:pt x="672163" y="446697"/>
                  </a:lnTo>
                  <a:lnTo>
                    <a:pt x="668905" y="451095"/>
                  </a:lnTo>
                  <a:lnTo>
                    <a:pt x="668579" y="452236"/>
                  </a:lnTo>
                  <a:lnTo>
                    <a:pt x="666624" y="452724"/>
                  </a:lnTo>
                  <a:lnTo>
                    <a:pt x="665647" y="454028"/>
                  </a:lnTo>
                  <a:lnTo>
                    <a:pt x="664506" y="453213"/>
                  </a:lnTo>
                  <a:lnTo>
                    <a:pt x="664506" y="451258"/>
                  </a:lnTo>
                  <a:cubicBezTo>
                    <a:pt x="664506" y="451258"/>
                    <a:pt x="660597" y="451095"/>
                    <a:pt x="660597" y="451095"/>
                  </a:cubicBezTo>
                  <a:lnTo>
                    <a:pt x="657827" y="453050"/>
                  </a:lnTo>
                  <a:lnTo>
                    <a:pt x="657501" y="456797"/>
                  </a:lnTo>
                  <a:lnTo>
                    <a:pt x="613027" y="456146"/>
                  </a:lnTo>
                  <a:lnTo>
                    <a:pt x="612050" y="469504"/>
                  </a:lnTo>
                  <a:lnTo>
                    <a:pt x="601298" y="470481"/>
                  </a:lnTo>
                  <a:lnTo>
                    <a:pt x="605045" y="473577"/>
                  </a:lnTo>
                  <a:lnTo>
                    <a:pt x="606348" y="476183"/>
                  </a:lnTo>
                  <a:lnTo>
                    <a:pt x="610421" y="481234"/>
                  </a:lnTo>
                  <a:lnTo>
                    <a:pt x="614493" y="483840"/>
                  </a:lnTo>
                  <a:lnTo>
                    <a:pt x="617426" y="483840"/>
                  </a:lnTo>
                  <a:lnTo>
                    <a:pt x="619381" y="487261"/>
                  </a:lnTo>
                  <a:lnTo>
                    <a:pt x="619869" y="491008"/>
                  </a:lnTo>
                  <a:lnTo>
                    <a:pt x="621661" y="492963"/>
                  </a:lnTo>
                  <a:lnTo>
                    <a:pt x="626060" y="493289"/>
                  </a:lnTo>
                  <a:lnTo>
                    <a:pt x="628829" y="494918"/>
                  </a:lnTo>
                  <a:lnTo>
                    <a:pt x="628829" y="498176"/>
                  </a:lnTo>
                  <a:cubicBezTo>
                    <a:pt x="628829" y="498176"/>
                    <a:pt x="626386" y="501108"/>
                    <a:pt x="626386" y="501108"/>
                  </a:cubicBezTo>
                  <a:lnTo>
                    <a:pt x="593641" y="501108"/>
                  </a:lnTo>
                  <a:cubicBezTo>
                    <a:pt x="593641" y="501108"/>
                    <a:pt x="578328" y="525545"/>
                    <a:pt x="578328" y="525545"/>
                  </a:cubicBezTo>
                  <a:lnTo>
                    <a:pt x="578816" y="529618"/>
                  </a:lnTo>
                  <a:lnTo>
                    <a:pt x="579305" y="530921"/>
                  </a:lnTo>
                  <a:lnTo>
                    <a:pt x="578816" y="533527"/>
                  </a:lnTo>
                  <a:lnTo>
                    <a:pt x="579794" y="535482"/>
                  </a:lnTo>
                  <a:lnTo>
                    <a:pt x="580445" y="536134"/>
                  </a:lnTo>
                  <a:lnTo>
                    <a:pt x="580445" y="538415"/>
                  </a:lnTo>
                  <a:cubicBezTo>
                    <a:pt x="580445" y="538415"/>
                    <a:pt x="577839" y="540207"/>
                    <a:pt x="577839" y="540207"/>
                  </a:cubicBezTo>
                  <a:lnTo>
                    <a:pt x="576861" y="542976"/>
                  </a:lnTo>
                  <a:lnTo>
                    <a:pt x="576047" y="543628"/>
                  </a:lnTo>
                  <a:lnTo>
                    <a:pt x="571974" y="538740"/>
                  </a:lnTo>
                  <a:lnTo>
                    <a:pt x="564806" y="533202"/>
                  </a:lnTo>
                  <a:lnTo>
                    <a:pt x="563991" y="530269"/>
                  </a:lnTo>
                  <a:lnTo>
                    <a:pt x="558453" y="528640"/>
                  </a:lnTo>
                  <a:lnTo>
                    <a:pt x="540695" y="513815"/>
                  </a:lnTo>
                  <a:lnTo>
                    <a:pt x="538415" y="510883"/>
                  </a:lnTo>
                  <a:lnTo>
                    <a:pt x="538415" y="508602"/>
                  </a:lnTo>
                  <a:lnTo>
                    <a:pt x="534016" y="503063"/>
                  </a:lnTo>
                  <a:lnTo>
                    <a:pt x="529618" y="499154"/>
                  </a:lnTo>
                  <a:lnTo>
                    <a:pt x="524567" y="498176"/>
                  </a:lnTo>
                  <a:lnTo>
                    <a:pt x="523590" y="497199"/>
                  </a:lnTo>
                  <a:lnTo>
                    <a:pt x="521798" y="497199"/>
                  </a:lnTo>
                  <a:cubicBezTo>
                    <a:pt x="521798" y="497199"/>
                    <a:pt x="522124" y="498828"/>
                    <a:pt x="522124" y="498828"/>
                  </a:cubicBezTo>
                  <a:lnTo>
                    <a:pt x="530432" y="502575"/>
                  </a:lnTo>
                  <a:lnTo>
                    <a:pt x="536297" y="508439"/>
                  </a:lnTo>
                  <a:lnTo>
                    <a:pt x="536297" y="509905"/>
                  </a:lnTo>
                  <a:lnTo>
                    <a:pt x="532876" y="506810"/>
                  </a:lnTo>
                  <a:lnTo>
                    <a:pt x="525056" y="501760"/>
                  </a:lnTo>
                  <a:lnTo>
                    <a:pt x="520495" y="500131"/>
                  </a:lnTo>
                  <a:lnTo>
                    <a:pt x="516748" y="500131"/>
                  </a:lnTo>
                  <a:cubicBezTo>
                    <a:pt x="516748" y="500131"/>
                    <a:pt x="514956" y="499316"/>
                    <a:pt x="514956" y="499316"/>
                  </a:cubicBezTo>
                  <a:lnTo>
                    <a:pt x="516096" y="498176"/>
                  </a:lnTo>
                  <a:lnTo>
                    <a:pt x="518703" y="498176"/>
                  </a:lnTo>
                  <a:lnTo>
                    <a:pt x="518703" y="495732"/>
                  </a:lnTo>
                  <a:lnTo>
                    <a:pt x="515445" y="495732"/>
                  </a:lnTo>
                  <a:lnTo>
                    <a:pt x="512349" y="497362"/>
                  </a:lnTo>
                  <a:lnTo>
                    <a:pt x="512349" y="494592"/>
                  </a:lnTo>
                  <a:lnTo>
                    <a:pt x="510557" y="493615"/>
                  </a:lnTo>
                  <a:lnTo>
                    <a:pt x="504855" y="496873"/>
                  </a:lnTo>
                  <a:lnTo>
                    <a:pt x="504855" y="499316"/>
                  </a:lnTo>
                  <a:cubicBezTo>
                    <a:pt x="504855" y="499316"/>
                    <a:pt x="508928" y="499316"/>
                    <a:pt x="508928" y="499316"/>
                  </a:cubicBezTo>
                  <a:lnTo>
                    <a:pt x="513978" y="500131"/>
                  </a:lnTo>
                  <a:lnTo>
                    <a:pt x="513978" y="501597"/>
                  </a:lnTo>
                  <a:lnTo>
                    <a:pt x="511372" y="501271"/>
                  </a:lnTo>
                  <a:lnTo>
                    <a:pt x="504855" y="501760"/>
                  </a:lnTo>
                  <a:lnTo>
                    <a:pt x="499642" y="502738"/>
                  </a:lnTo>
                  <a:lnTo>
                    <a:pt x="492637" y="507299"/>
                  </a:lnTo>
                  <a:lnTo>
                    <a:pt x="487098" y="507625"/>
                  </a:lnTo>
                  <a:lnTo>
                    <a:pt x="474066" y="513164"/>
                  </a:lnTo>
                  <a:lnTo>
                    <a:pt x="468853" y="513489"/>
                  </a:lnTo>
                  <a:lnTo>
                    <a:pt x="456146" y="508928"/>
                  </a:lnTo>
                  <a:lnTo>
                    <a:pt x="449303" y="505181"/>
                  </a:lnTo>
                  <a:lnTo>
                    <a:pt x="440506" y="505181"/>
                  </a:lnTo>
                  <a:lnTo>
                    <a:pt x="431058" y="501434"/>
                  </a:lnTo>
                  <a:lnTo>
                    <a:pt x="426333" y="498502"/>
                  </a:lnTo>
                  <a:lnTo>
                    <a:pt x="424378" y="498991"/>
                  </a:lnTo>
                  <a:lnTo>
                    <a:pt x="420143" y="498665"/>
                  </a:lnTo>
                  <a:lnTo>
                    <a:pt x="413626" y="495732"/>
                  </a:lnTo>
                  <a:lnTo>
                    <a:pt x="410205" y="490031"/>
                  </a:lnTo>
                  <a:lnTo>
                    <a:pt x="408739" y="488890"/>
                  </a:lnTo>
                  <a:lnTo>
                    <a:pt x="404992" y="490356"/>
                  </a:lnTo>
                  <a:lnTo>
                    <a:pt x="398313" y="487261"/>
                  </a:lnTo>
                  <a:lnTo>
                    <a:pt x="391145" y="486772"/>
                  </a:lnTo>
                  <a:lnTo>
                    <a:pt x="388050" y="481559"/>
                  </a:lnTo>
                  <a:lnTo>
                    <a:pt x="382022" y="478464"/>
                  </a:lnTo>
                  <a:lnTo>
                    <a:pt x="369315" y="476672"/>
                  </a:lnTo>
                  <a:lnTo>
                    <a:pt x="358237" y="472273"/>
                  </a:lnTo>
                  <a:lnTo>
                    <a:pt x="350906" y="464780"/>
                  </a:lnTo>
                  <a:lnTo>
                    <a:pt x="347648" y="464291"/>
                  </a:lnTo>
                  <a:lnTo>
                    <a:pt x="335104" y="452073"/>
                  </a:lnTo>
                  <a:lnTo>
                    <a:pt x="332823" y="449140"/>
                  </a:lnTo>
                  <a:lnTo>
                    <a:pt x="329891" y="449140"/>
                  </a:lnTo>
                  <a:cubicBezTo>
                    <a:pt x="329891" y="449140"/>
                    <a:pt x="328588" y="451258"/>
                    <a:pt x="328588" y="451258"/>
                  </a:cubicBezTo>
                  <a:lnTo>
                    <a:pt x="324678" y="450932"/>
                  </a:lnTo>
                  <a:lnTo>
                    <a:pt x="314740" y="447186"/>
                  </a:lnTo>
                  <a:lnTo>
                    <a:pt x="311482" y="446860"/>
                  </a:lnTo>
                  <a:lnTo>
                    <a:pt x="306432" y="444742"/>
                  </a:lnTo>
                  <a:lnTo>
                    <a:pt x="304314" y="445394"/>
                  </a:lnTo>
                  <a:lnTo>
                    <a:pt x="299264" y="443439"/>
                  </a:lnTo>
                  <a:lnTo>
                    <a:pt x="295517" y="437737"/>
                  </a:lnTo>
                  <a:lnTo>
                    <a:pt x="291119" y="430732"/>
                  </a:lnTo>
                  <a:lnTo>
                    <a:pt x="284602" y="424704"/>
                  </a:lnTo>
                  <a:lnTo>
                    <a:pt x="278412" y="422423"/>
                  </a:lnTo>
                  <a:lnTo>
                    <a:pt x="278412" y="420143"/>
                  </a:lnTo>
                  <a:lnTo>
                    <a:pt x="280855" y="417047"/>
                  </a:lnTo>
                  <a:lnTo>
                    <a:pt x="277760" y="416559"/>
                  </a:lnTo>
                  <a:lnTo>
                    <a:pt x="272221" y="417699"/>
                  </a:lnTo>
                  <a:lnTo>
                    <a:pt x="264076" y="415744"/>
                  </a:lnTo>
                  <a:lnTo>
                    <a:pt x="262609" y="412812"/>
                  </a:lnTo>
                  <a:lnTo>
                    <a:pt x="258700" y="412812"/>
                  </a:lnTo>
                  <a:lnTo>
                    <a:pt x="256256" y="410857"/>
                  </a:lnTo>
                  <a:lnTo>
                    <a:pt x="254464" y="404666"/>
                  </a:lnTo>
                  <a:lnTo>
                    <a:pt x="249740" y="398476"/>
                  </a:lnTo>
                  <a:lnTo>
                    <a:pt x="249740" y="394729"/>
                  </a:lnTo>
                  <a:lnTo>
                    <a:pt x="246482" y="391471"/>
                  </a:lnTo>
                  <a:lnTo>
                    <a:pt x="243060" y="382511"/>
                  </a:lnTo>
                  <a:lnTo>
                    <a:pt x="243060" y="380067"/>
                  </a:lnTo>
                  <a:lnTo>
                    <a:pt x="246156" y="378275"/>
                  </a:lnTo>
                  <a:lnTo>
                    <a:pt x="252020" y="378275"/>
                  </a:lnTo>
                  <a:cubicBezTo>
                    <a:pt x="252020" y="378275"/>
                    <a:pt x="254301" y="375831"/>
                    <a:pt x="254301" y="375831"/>
                  </a:cubicBezTo>
                  <a:lnTo>
                    <a:pt x="251369" y="373062"/>
                  </a:lnTo>
                  <a:lnTo>
                    <a:pt x="248762" y="372736"/>
                  </a:lnTo>
                  <a:lnTo>
                    <a:pt x="249577" y="369804"/>
                  </a:lnTo>
                  <a:lnTo>
                    <a:pt x="255442" y="364591"/>
                  </a:lnTo>
                  <a:lnTo>
                    <a:pt x="258211" y="360029"/>
                  </a:lnTo>
                  <a:lnTo>
                    <a:pt x="257885" y="354327"/>
                  </a:lnTo>
                  <a:lnTo>
                    <a:pt x="252346" y="340317"/>
                  </a:lnTo>
                  <a:lnTo>
                    <a:pt x="249577" y="332986"/>
                  </a:lnTo>
                  <a:lnTo>
                    <a:pt x="247785" y="329565"/>
                  </a:lnTo>
                  <a:lnTo>
                    <a:pt x="249577" y="324841"/>
                  </a:lnTo>
                  <a:lnTo>
                    <a:pt x="248599" y="319790"/>
                  </a:lnTo>
                  <a:lnTo>
                    <a:pt x="239151" y="308061"/>
                  </a:lnTo>
                  <a:lnTo>
                    <a:pt x="239151" y="302848"/>
                  </a:lnTo>
                  <a:cubicBezTo>
                    <a:pt x="239151" y="302848"/>
                    <a:pt x="230679" y="294377"/>
                    <a:pt x="230679" y="294377"/>
                  </a:cubicBezTo>
                  <a:lnTo>
                    <a:pt x="224978" y="283951"/>
                  </a:lnTo>
                  <a:lnTo>
                    <a:pt x="217158" y="273850"/>
                  </a:lnTo>
                  <a:lnTo>
                    <a:pt x="210316" y="267986"/>
                  </a:lnTo>
                  <a:lnTo>
                    <a:pt x="207872" y="266356"/>
                  </a:lnTo>
                  <a:lnTo>
                    <a:pt x="207546" y="263261"/>
                  </a:lnTo>
                  <a:lnTo>
                    <a:pt x="200052" y="260166"/>
                  </a:lnTo>
                  <a:lnTo>
                    <a:pt x="195817" y="257722"/>
                  </a:lnTo>
                  <a:lnTo>
                    <a:pt x="195491" y="255930"/>
                  </a:lnTo>
                  <a:lnTo>
                    <a:pt x="198586" y="254627"/>
                  </a:lnTo>
                  <a:lnTo>
                    <a:pt x="200541" y="250228"/>
                  </a:lnTo>
                  <a:lnTo>
                    <a:pt x="198586" y="247133"/>
                  </a:lnTo>
                  <a:lnTo>
                    <a:pt x="196794" y="242409"/>
                  </a:lnTo>
                  <a:lnTo>
                    <a:pt x="195491" y="239476"/>
                  </a:lnTo>
                  <a:lnTo>
                    <a:pt x="192396" y="239476"/>
                  </a:lnTo>
                  <a:lnTo>
                    <a:pt x="186531" y="238010"/>
                  </a:lnTo>
                  <a:lnTo>
                    <a:pt x="176431" y="230028"/>
                  </a:lnTo>
                  <a:lnTo>
                    <a:pt x="173498" y="227421"/>
                  </a:lnTo>
                  <a:lnTo>
                    <a:pt x="168937" y="227095"/>
                  </a:lnTo>
                  <a:lnTo>
                    <a:pt x="164701" y="224163"/>
                  </a:lnTo>
                  <a:lnTo>
                    <a:pt x="163887" y="218950"/>
                  </a:lnTo>
                  <a:lnTo>
                    <a:pt x="166493" y="211782"/>
                  </a:lnTo>
                  <a:lnTo>
                    <a:pt x="170892" y="207057"/>
                  </a:lnTo>
                  <a:lnTo>
                    <a:pt x="174150" y="205917"/>
                  </a:lnTo>
                  <a:lnTo>
                    <a:pt x="176756" y="208687"/>
                  </a:lnTo>
                  <a:lnTo>
                    <a:pt x="178711" y="206243"/>
                  </a:lnTo>
                  <a:lnTo>
                    <a:pt x="178060" y="202985"/>
                  </a:lnTo>
                  <a:lnTo>
                    <a:pt x="176756" y="201356"/>
                  </a:lnTo>
                  <a:lnTo>
                    <a:pt x="175127" y="202985"/>
                  </a:lnTo>
                  <a:lnTo>
                    <a:pt x="171706" y="201193"/>
                  </a:lnTo>
                  <a:lnTo>
                    <a:pt x="171055" y="197283"/>
                  </a:lnTo>
                  <a:lnTo>
                    <a:pt x="166656" y="191744"/>
                  </a:lnTo>
                  <a:lnTo>
                    <a:pt x="162583" y="192233"/>
                  </a:lnTo>
                  <a:lnTo>
                    <a:pt x="158185" y="191092"/>
                  </a:lnTo>
                  <a:lnTo>
                    <a:pt x="155904" y="186857"/>
                  </a:lnTo>
                  <a:lnTo>
                    <a:pt x="157044" y="182295"/>
                  </a:lnTo>
                  <a:lnTo>
                    <a:pt x="153949" y="181155"/>
                  </a:lnTo>
                  <a:lnTo>
                    <a:pt x="150854" y="181481"/>
                  </a:lnTo>
                  <a:lnTo>
                    <a:pt x="142057" y="173498"/>
                  </a:lnTo>
                  <a:lnTo>
                    <a:pt x="141079" y="166493"/>
                  </a:lnTo>
                  <a:lnTo>
                    <a:pt x="143034" y="163398"/>
                  </a:lnTo>
                  <a:lnTo>
                    <a:pt x="143034" y="157533"/>
                  </a:lnTo>
                  <a:cubicBezTo>
                    <a:pt x="143034" y="157533"/>
                    <a:pt x="140428" y="155252"/>
                    <a:pt x="140428" y="155252"/>
                  </a:cubicBezTo>
                  <a:lnTo>
                    <a:pt x="137007" y="156719"/>
                  </a:lnTo>
                  <a:lnTo>
                    <a:pt x="135215" y="155252"/>
                  </a:lnTo>
                  <a:lnTo>
                    <a:pt x="131956" y="155252"/>
                  </a:lnTo>
                  <a:cubicBezTo>
                    <a:pt x="131956" y="155252"/>
                    <a:pt x="130816" y="152646"/>
                    <a:pt x="130816" y="152646"/>
                  </a:cubicBezTo>
                  <a:lnTo>
                    <a:pt x="127558" y="149876"/>
                  </a:lnTo>
                  <a:lnTo>
                    <a:pt x="126092" y="145478"/>
                  </a:lnTo>
                  <a:lnTo>
                    <a:pt x="123322" y="139613"/>
                  </a:lnTo>
                  <a:lnTo>
                    <a:pt x="120064" y="138636"/>
                  </a:lnTo>
                  <a:lnTo>
                    <a:pt x="118109" y="136355"/>
                  </a:lnTo>
                  <a:lnTo>
                    <a:pt x="117620" y="130490"/>
                  </a:lnTo>
                  <a:lnTo>
                    <a:pt x="116154" y="126417"/>
                  </a:lnTo>
                  <a:lnTo>
                    <a:pt x="112733" y="124788"/>
                  </a:lnTo>
                  <a:lnTo>
                    <a:pt x="109964" y="116480"/>
                  </a:lnTo>
                  <a:lnTo>
                    <a:pt x="108172" y="113711"/>
                  </a:lnTo>
                  <a:lnTo>
                    <a:pt x="106217" y="113711"/>
                  </a:lnTo>
                  <a:lnTo>
                    <a:pt x="104588" y="110289"/>
                  </a:lnTo>
                  <a:lnTo>
                    <a:pt x="106054" y="107846"/>
                  </a:lnTo>
                  <a:lnTo>
                    <a:pt x="106380" y="105239"/>
                  </a:lnTo>
                  <a:lnTo>
                    <a:pt x="100189" y="96442"/>
                  </a:lnTo>
                  <a:lnTo>
                    <a:pt x="98397" y="92044"/>
                  </a:lnTo>
                  <a:lnTo>
                    <a:pt x="99538" y="88785"/>
                  </a:lnTo>
                  <a:lnTo>
                    <a:pt x="98723" y="82758"/>
                  </a:lnTo>
                  <a:lnTo>
                    <a:pt x="96442" y="78685"/>
                  </a:lnTo>
                  <a:lnTo>
                    <a:pt x="95139" y="69888"/>
                  </a:lnTo>
                  <a:lnTo>
                    <a:pt x="92532" y="63860"/>
                  </a:lnTo>
                  <a:lnTo>
                    <a:pt x="92207" y="59462"/>
                  </a:lnTo>
                  <a:lnTo>
                    <a:pt x="95628" y="55389"/>
                  </a:lnTo>
                  <a:lnTo>
                    <a:pt x="95628" y="52782"/>
                  </a:lnTo>
                  <a:lnTo>
                    <a:pt x="90252" y="49850"/>
                  </a:lnTo>
                  <a:lnTo>
                    <a:pt x="85201" y="49850"/>
                  </a:lnTo>
                  <a:cubicBezTo>
                    <a:pt x="85201" y="49850"/>
                    <a:pt x="83735" y="46755"/>
                    <a:pt x="83735" y="46755"/>
                  </a:cubicBezTo>
                  <a:lnTo>
                    <a:pt x="79500" y="42682"/>
                  </a:lnTo>
                  <a:lnTo>
                    <a:pt x="77056" y="44474"/>
                  </a:lnTo>
                  <a:lnTo>
                    <a:pt x="72820" y="45126"/>
                  </a:lnTo>
                  <a:lnTo>
                    <a:pt x="69888" y="42519"/>
                  </a:lnTo>
                  <a:lnTo>
                    <a:pt x="65326" y="35351"/>
                  </a:lnTo>
                  <a:lnTo>
                    <a:pt x="58484" y="32256"/>
                  </a:lnTo>
                  <a:lnTo>
                    <a:pt x="55226" y="26391"/>
                  </a:lnTo>
                  <a:lnTo>
                    <a:pt x="57018" y="32256"/>
                  </a:lnTo>
                  <a:lnTo>
                    <a:pt x="57996" y="36980"/>
                  </a:lnTo>
                  <a:lnTo>
                    <a:pt x="55552" y="45777"/>
                  </a:lnTo>
                  <a:lnTo>
                    <a:pt x="53271" y="51479"/>
                  </a:lnTo>
                  <a:lnTo>
                    <a:pt x="54575" y="62394"/>
                  </a:lnTo>
                  <a:lnTo>
                    <a:pt x="55389" y="80314"/>
                  </a:lnTo>
                  <a:lnTo>
                    <a:pt x="53108" y="84550"/>
                  </a:lnTo>
                  <a:lnTo>
                    <a:pt x="55878" y="87482"/>
                  </a:lnTo>
                  <a:lnTo>
                    <a:pt x="59462" y="94813"/>
                  </a:lnTo>
                  <a:lnTo>
                    <a:pt x="59462" y="99863"/>
                  </a:lnTo>
                  <a:cubicBezTo>
                    <a:pt x="59462" y="99863"/>
                    <a:pt x="62068" y="100026"/>
                    <a:pt x="62068" y="100026"/>
                  </a:cubicBezTo>
                  <a:lnTo>
                    <a:pt x="64512" y="103773"/>
                  </a:lnTo>
                  <a:lnTo>
                    <a:pt x="71517" y="108497"/>
                  </a:lnTo>
                  <a:lnTo>
                    <a:pt x="72983" y="115340"/>
                  </a:lnTo>
                  <a:lnTo>
                    <a:pt x="72006" y="118598"/>
                  </a:lnTo>
                  <a:lnTo>
                    <a:pt x="73309" y="123159"/>
                  </a:lnTo>
                  <a:lnTo>
                    <a:pt x="77545" y="125114"/>
                  </a:lnTo>
                  <a:lnTo>
                    <a:pt x="80803" y="128535"/>
                  </a:lnTo>
                  <a:lnTo>
                    <a:pt x="81292" y="134074"/>
                  </a:lnTo>
                  <a:lnTo>
                    <a:pt x="83247" y="136355"/>
                  </a:lnTo>
                  <a:lnTo>
                    <a:pt x="86505" y="137006"/>
                  </a:lnTo>
                  <a:lnTo>
                    <a:pt x="90740" y="143686"/>
                  </a:lnTo>
                  <a:lnTo>
                    <a:pt x="90252" y="149062"/>
                  </a:lnTo>
                  <a:lnTo>
                    <a:pt x="90252" y="155089"/>
                  </a:lnTo>
                  <a:cubicBezTo>
                    <a:pt x="90252" y="155089"/>
                    <a:pt x="95302" y="159488"/>
                    <a:pt x="95302" y="159488"/>
                  </a:cubicBezTo>
                  <a:lnTo>
                    <a:pt x="97257" y="160303"/>
                  </a:lnTo>
                  <a:lnTo>
                    <a:pt x="101492" y="167145"/>
                  </a:lnTo>
                  <a:lnTo>
                    <a:pt x="102959" y="177408"/>
                  </a:lnTo>
                  <a:lnTo>
                    <a:pt x="105239" y="177408"/>
                  </a:lnTo>
                  <a:cubicBezTo>
                    <a:pt x="105239" y="177408"/>
                    <a:pt x="106705" y="180177"/>
                    <a:pt x="106705" y="180177"/>
                  </a:cubicBezTo>
                  <a:lnTo>
                    <a:pt x="105076" y="183924"/>
                  </a:lnTo>
                  <a:lnTo>
                    <a:pt x="105402" y="187182"/>
                  </a:lnTo>
                  <a:lnTo>
                    <a:pt x="109964" y="194188"/>
                  </a:lnTo>
                  <a:lnTo>
                    <a:pt x="111756" y="192558"/>
                  </a:lnTo>
                  <a:lnTo>
                    <a:pt x="111756" y="189626"/>
                  </a:lnTo>
                  <a:cubicBezTo>
                    <a:pt x="111756" y="189626"/>
                    <a:pt x="111756" y="187671"/>
                    <a:pt x="111756" y="187671"/>
                  </a:cubicBezTo>
                  <a:lnTo>
                    <a:pt x="113548" y="187997"/>
                  </a:lnTo>
                  <a:lnTo>
                    <a:pt x="115014" y="191418"/>
                  </a:lnTo>
                  <a:lnTo>
                    <a:pt x="118109" y="196631"/>
                  </a:lnTo>
                  <a:lnTo>
                    <a:pt x="119575" y="206243"/>
                  </a:lnTo>
                  <a:lnTo>
                    <a:pt x="118435" y="209990"/>
                  </a:lnTo>
                  <a:lnTo>
                    <a:pt x="118924" y="216506"/>
                  </a:lnTo>
                  <a:lnTo>
                    <a:pt x="120390" y="218950"/>
                  </a:lnTo>
                  <a:lnTo>
                    <a:pt x="120390" y="224000"/>
                  </a:lnTo>
                  <a:lnTo>
                    <a:pt x="123322" y="227258"/>
                  </a:lnTo>
                  <a:lnTo>
                    <a:pt x="123322" y="230842"/>
                  </a:lnTo>
                  <a:cubicBezTo>
                    <a:pt x="123322" y="230842"/>
                    <a:pt x="125603" y="233774"/>
                    <a:pt x="125603" y="233774"/>
                  </a:cubicBezTo>
                  <a:lnTo>
                    <a:pt x="125603" y="236870"/>
                  </a:lnTo>
                  <a:cubicBezTo>
                    <a:pt x="125603" y="236870"/>
                    <a:pt x="124625" y="240454"/>
                    <a:pt x="124625" y="240454"/>
                  </a:cubicBezTo>
                  <a:lnTo>
                    <a:pt x="128535" y="245830"/>
                  </a:lnTo>
                  <a:lnTo>
                    <a:pt x="128535" y="251206"/>
                  </a:lnTo>
                  <a:cubicBezTo>
                    <a:pt x="128535" y="251206"/>
                    <a:pt x="126092" y="256419"/>
                    <a:pt x="126092" y="256419"/>
                  </a:cubicBezTo>
                  <a:lnTo>
                    <a:pt x="126580" y="259514"/>
                  </a:lnTo>
                  <a:lnTo>
                    <a:pt x="130979" y="264890"/>
                  </a:lnTo>
                  <a:lnTo>
                    <a:pt x="134889" y="267986"/>
                  </a:lnTo>
                  <a:lnTo>
                    <a:pt x="135703" y="270918"/>
                  </a:lnTo>
                  <a:lnTo>
                    <a:pt x="137984" y="269940"/>
                  </a:lnTo>
                  <a:lnTo>
                    <a:pt x="137984" y="266356"/>
                  </a:lnTo>
                  <a:cubicBezTo>
                    <a:pt x="137984" y="266356"/>
                    <a:pt x="139287" y="265216"/>
                    <a:pt x="139287" y="265216"/>
                  </a:cubicBezTo>
                  <a:lnTo>
                    <a:pt x="141731" y="266519"/>
                  </a:lnTo>
                  <a:lnTo>
                    <a:pt x="144338" y="269778"/>
                  </a:lnTo>
                  <a:lnTo>
                    <a:pt x="145967" y="273036"/>
                  </a:lnTo>
                  <a:lnTo>
                    <a:pt x="149876" y="275316"/>
                  </a:lnTo>
                  <a:lnTo>
                    <a:pt x="151342" y="280041"/>
                  </a:lnTo>
                  <a:lnTo>
                    <a:pt x="153786" y="282484"/>
                  </a:lnTo>
                  <a:lnTo>
                    <a:pt x="155252" y="287046"/>
                  </a:lnTo>
                  <a:lnTo>
                    <a:pt x="158348" y="289001"/>
                  </a:lnTo>
                  <a:lnTo>
                    <a:pt x="158022" y="295517"/>
                  </a:lnTo>
                  <a:lnTo>
                    <a:pt x="153460" y="302522"/>
                  </a:lnTo>
                  <a:lnTo>
                    <a:pt x="145641" y="305943"/>
                  </a:lnTo>
                  <a:lnTo>
                    <a:pt x="142546" y="304966"/>
                  </a:lnTo>
                  <a:lnTo>
                    <a:pt x="140265" y="299590"/>
                  </a:lnTo>
                  <a:lnTo>
                    <a:pt x="139939" y="295680"/>
                  </a:lnTo>
                  <a:lnTo>
                    <a:pt x="137007" y="293236"/>
                  </a:lnTo>
                  <a:lnTo>
                    <a:pt x="136518" y="286394"/>
                  </a:lnTo>
                  <a:lnTo>
                    <a:pt x="134074" y="283136"/>
                  </a:lnTo>
                  <a:lnTo>
                    <a:pt x="128698" y="282647"/>
                  </a:lnTo>
                  <a:lnTo>
                    <a:pt x="124788" y="278086"/>
                  </a:lnTo>
                  <a:lnTo>
                    <a:pt x="122996" y="274665"/>
                  </a:lnTo>
                  <a:lnTo>
                    <a:pt x="119087" y="273036"/>
                  </a:lnTo>
                  <a:lnTo>
                    <a:pt x="108172" y="261306"/>
                  </a:lnTo>
                  <a:lnTo>
                    <a:pt x="105728" y="256256"/>
                  </a:lnTo>
                  <a:lnTo>
                    <a:pt x="100678" y="255116"/>
                  </a:lnTo>
                  <a:lnTo>
                    <a:pt x="99375" y="251695"/>
                  </a:lnTo>
                  <a:lnTo>
                    <a:pt x="97094" y="252183"/>
                  </a:lnTo>
                  <a:lnTo>
                    <a:pt x="92044" y="248111"/>
                  </a:lnTo>
                  <a:lnTo>
                    <a:pt x="91229" y="244038"/>
                  </a:lnTo>
                  <a:lnTo>
                    <a:pt x="95465" y="236870"/>
                  </a:lnTo>
                  <a:lnTo>
                    <a:pt x="97094" y="228562"/>
                  </a:lnTo>
                  <a:lnTo>
                    <a:pt x="96279" y="218135"/>
                  </a:lnTo>
                  <a:lnTo>
                    <a:pt x="93184" y="208361"/>
                  </a:lnTo>
                  <a:lnTo>
                    <a:pt x="90577" y="204451"/>
                  </a:lnTo>
                  <a:lnTo>
                    <a:pt x="87971" y="205265"/>
                  </a:lnTo>
                  <a:lnTo>
                    <a:pt x="84224" y="203636"/>
                  </a:lnTo>
                  <a:lnTo>
                    <a:pt x="75427" y="195165"/>
                  </a:lnTo>
                  <a:lnTo>
                    <a:pt x="74124" y="187020"/>
                  </a:lnTo>
                  <a:lnTo>
                    <a:pt x="75753" y="182784"/>
                  </a:lnTo>
                  <a:lnTo>
                    <a:pt x="73798" y="182295"/>
                  </a:lnTo>
                  <a:lnTo>
                    <a:pt x="69399" y="187508"/>
                  </a:lnTo>
                  <a:lnTo>
                    <a:pt x="66141" y="187508"/>
                  </a:lnTo>
                  <a:cubicBezTo>
                    <a:pt x="66141" y="187508"/>
                    <a:pt x="62883" y="189138"/>
                    <a:pt x="62883" y="189138"/>
                  </a:cubicBezTo>
                  <a:lnTo>
                    <a:pt x="61091" y="185390"/>
                  </a:lnTo>
                  <a:lnTo>
                    <a:pt x="61905" y="183598"/>
                  </a:lnTo>
                  <a:lnTo>
                    <a:pt x="58647" y="182295"/>
                  </a:lnTo>
                  <a:lnTo>
                    <a:pt x="55389" y="182295"/>
                  </a:lnTo>
                  <a:cubicBezTo>
                    <a:pt x="55389" y="182295"/>
                    <a:pt x="55389" y="179852"/>
                    <a:pt x="55389" y="179852"/>
                  </a:cubicBezTo>
                  <a:lnTo>
                    <a:pt x="49524" y="177082"/>
                  </a:lnTo>
                  <a:lnTo>
                    <a:pt x="45126" y="175616"/>
                  </a:lnTo>
                  <a:lnTo>
                    <a:pt x="42519" y="171055"/>
                  </a:lnTo>
                  <a:lnTo>
                    <a:pt x="42193" y="166004"/>
                  </a:lnTo>
                  <a:lnTo>
                    <a:pt x="37632" y="164049"/>
                  </a:lnTo>
                  <a:lnTo>
                    <a:pt x="32419" y="157207"/>
                  </a:lnTo>
                  <a:lnTo>
                    <a:pt x="33722" y="155741"/>
                  </a:lnTo>
                  <a:lnTo>
                    <a:pt x="40401" y="155252"/>
                  </a:lnTo>
                  <a:lnTo>
                    <a:pt x="44311" y="156719"/>
                  </a:lnTo>
                  <a:lnTo>
                    <a:pt x="50502" y="157859"/>
                  </a:lnTo>
                  <a:lnTo>
                    <a:pt x="53923" y="160140"/>
                  </a:lnTo>
                  <a:lnTo>
                    <a:pt x="55715" y="157533"/>
                  </a:lnTo>
                  <a:lnTo>
                    <a:pt x="56529" y="154438"/>
                  </a:lnTo>
                  <a:lnTo>
                    <a:pt x="52294" y="153623"/>
                  </a:lnTo>
                  <a:lnTo>
                    <a:pt x="51805" y="152320"/>
                  </a:lnTo>
                  <a:lnTo>
                    <a:pt x="54412" y="149550"/>
                  </a:lnTo>
                  <a:lnTo>
                    <a:pt x="57344" y="150854"/>
                  </a:lnTo>
                  <a:lnTo>
                    <a:pt x="58647" y="146781"/>
                  </a:lnTo>
                  <a:lnTo>
                    <a:pt x="56855" y="143849"/>
                  </a:lnTo>
                  <a:lnTo>
                    <a:pt x="56855" y="141079"/>
                  </a:lnTo>
                  <a:cubicBezTo>
                    <a:pt x="56855" y="141079"/>
                    <a:pt x="59951" y="137169"/>
                    <a:pt x="59951" y="137169"/>
                  </a:cubicBezTo>
                  <a:lnTo>
                    <a:pt x="56692" y="131631"/>
                  </a:lnTo>
                  <a:lnTo>
                    <a:pt x="54412" y="130653"/>
                  </a:lnTo>
                  <a:lnTo>
                    <a:pt x="51805" y="122833"/>
                  </a:lnTo>
                  <a:lnTo>
                    <a:pt x="45614" y="116643"/>
                  </a:lnTo>
                  <a:lnTo>
                    <a:pt x="44474" y="112570"/>
                  </a:lnTo>
                  <a:lnTo>
                    <a:pt x="40727" y="107357"/>
                  </a:lnTo>
                  <a:lnTo>
                    <a:pt x="33559" y="100189"/>
                  </a:lnTo>
                  <a:lnTo>
                    <a:pt x="30627" y="100189"/>
                  </a:lnTo>
                  <a:cubicBezTo>
                    <a:pt x="30627" y="100189"/>
                    <a:pt x="26228" y="96116"/>
                    <a:pt x="26228" y="96116"/>
                  </a:cubicBezTo>
                  <a:lnTo>
                    <a:pt x="23785" y="89111"/>
                  </a:lnTo>
                  <a:lnTo>
                    <a:pt x="23785" y="80477"/>
                  </a:lnTo>
                  <a:cubicBezTo>
                    <a:pt x="23785" y="80477"/>
                    <a:pt x="22156" y="77545"/>
                    <a:pt x="22156" y="77545"/>
                  </a:cubicBezTo>
                  <a:lnTo>
                    <a:pt x="19060" y="74775"/>
                  </a:lnTo>
                  <a:lnTo>
                    <a:pt x="19386" y="69562"/>
                  </a:lnTo>
                  <a:lnTo>
                    <a:pt x="21015" y="67118"/>
                  </a:lnTo>
                  <a:lnTo>
                    <a:pt x="20364" y="62068"/>
                  </a:lnTo>
                  <a:lnTo>
                    <a:pt x="14988" y="57344"/>
                  </a:lnTo>
                  <a:lnTo>
                    <a:pt x="13847" y="54249"/>
                  </a:lnTo>
                  <a:lnTo>
                    <a:pt x="15476" y="52620"/>
                  </a:lnTo>
                  <a:lnTo>
                    <a:pt x="15476" y="49850"/>
                  </a:lnTo>
                  <a:cubicBezTo>
                    <a:pt x="15476" y="49850"/>
                    <a:pt x="8797" y="41542"/>
                    <a:pt x="8797" y="41542"/>
                  </a:cubicBezTo>
                  <a:lnTo>
                    <a:pt x="7168" y="36817"/>
                  </a:lnTo>
                  <a:lnTo>
                    <a:pt x="7983" y="32745"/>
                  </a:lnTo>
                  <a:lnTo>
                    <a:pt x="9937" y="31279"/>
                  </a:lnTo>
                  <a:lnTo>
                    <a:pt x="7168" y="27532"/>
                  </a:lnTo>
                  <a:lnTo>
                    <a:pt x="4236" y="21993"/>
                  </a:lnTo>
                  <a:lnTo>
                    <a:pt x="814" y="8960"/>
                  </a:lnTo>
                  <a:lnTo>
                    <a:pt x="0" y="2769"/>
                  </a:lnTo>
                  <a:lnTo>
                    <a:pt x="0" y="2769"/>
                  </a:lnTo>
                  <a:close/>
                  <a:moveTo>
                    <a:pt x="132445" y="246644"/>
                  </a:moveTo>
                  <a:lnTo>
                    <a:pt x="135215" y="244852"/>
                  </a:lnTo>
                  <a:lnTo>
                    <a:pt x="134400" y="241105"/>
                  </a:lnTo>
                  <a:lnTo>
                    <a:pt x="131468" y="237033"/>
                  </a:lnTo>
                  <a:lnTo>
                    <a:pt x="130164" y="239314"/>
                  </a:lnTo>
                  <a:lnTo>
                    <a:pt x="131468" y="241594"/>
                  </a:lnTo>
                  <a:lnTo>
                    <a:pt x="132445" y="246807"/>
                  </a:lnTo>
                  <a:lnTo>
                    <a:pt x="132445" y="246807"/>
                  </a:lnTo>
                  <a:close/>
                  <a:moveTo>
                    <a:pt x="137169" y="257885"/>
                  </a:moveTo>
                  <a:lnTo>
                    <a:pt x="136844" y="261143"/>
                  </a:lnTo>
                  <a:lnTo>
                    <a:pt x="139124" y="261143"/>
                  </a:lnTo>
                  <a:cubicBezTo>
                    <a:pt x="139124" y="261143"/>
                    <a:pt x="139939" y="258537"/>
                    <a:pt x="139939" y="258537"/>
                  </a:cubicBezTo>
                  <a:lnTo>
                    <a:pt x="137332" y="257722"/>
                  </a:lnTo>
                  <a:lnTo>
                    <a:pt x="137332" y="257722"/>
                  </a:lnTo>
                  <a:close/>
                  <a:moveTo>
                    <a:pt x="464291" y="250391"/>
                  </a:moveTo>
                  <a:lnTo>
                    <a:pt x="465920" y="249740"/>
                  </a:lnTo>
                  <a:lnTo>
                    <a:pt x="466735" y="246807"/>
                  </a:lnTo>
                  <a:lnTo>
                    <a:pt x="464943" y="246807"/>
                  </a:lnTo>
                  <a:cubicBezTo>
                    <a:pt x="464943" y="246807"/>
                    <a:pt x="464291" y="250391"/>
                    <a:pt x="464291" y="250391"/>
                  </a:cubicBezTo>
                  <a:lnTo>
                    <a:pt x="464291" y="250391"/>
                  </a:lnTo>
                  <a:close/>
                  <a:moveTo>
                    <a:pt x="463314" y="256582"/>
                  </a:moveTo>
                  <a:lnTo>
                    <a:pt x="463965" y="257396"/>
                  </a:lnTo>
                  <a:lnTo>
                    <a:pt x="465269" y="252998"/>
                  </a:lnTo>
                  <a:lnTo>
                    <a:pt x="463965" y="252998"/>
                  </a:lnTo>
                  <a:lnTo>
                    <a:pt x="463477" y="256582"/>
                  </a:lnTo>
                  <a:lnTo>
                    <a:pt x="463477" y="256582"/>
                  </a:lnTo>
                  <a:close/>
                  <a:moveTo>
                    <a:pt x="460381" y="267823"/>
                  </a:moveTo>
                  <a:lnTo>
                    <a:pt x="462825" y="263424"/>
                  </a:lnTo>
                  <a:lnTo>
                    <a:pt x="462825" y="259514"/>
                  </a:lnTo>
                  <a:cubicBezTo>
                    <a:pt x="462825" y="259514"/>
                    <a:pt x="460381" y="267823"/>
                    <a:pt x="460381" y="267823"/>
                  </a:cubicBezTo>
                  <a:close/>
                </a:path>
              </a:pathLst>
            </a:custGeom>
            <a:solidFill>
              <a:schemeClr val="bg2"/>
            </a:solidFill>
            <a:ln w="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5" name="Forma livre: Forma 64">
              <a:extLst>
                <a:ext uri="{FF2B5EF4-FFF2-40B4-BE49-F238E27FC236}">
                  <a16:creationId xmlns:a16="http://schemas.microsoft.com/office/drawing/2014/main" id="{0A7FEFCB-DAEA-95EC-2E95-C3906F05F8B9}"/>
                </a:ext>
              </a:extLst>
            </p:cNvPr>
            <p:cNvSpPr/>
            <p:nvPr/>
          </p:nvSpPr>
          <p:spPr>
            <a:xfrm>
              <a:off x="4367682" y="4503668"/>
              <a:ext cx="3704" cy="5050"/>
            </a:xfrm>
            <a:custGeom>
              <a:avLst/>
              <a:gdLst>
                <a:gd name="connsiteX0" fmla="*/ 1792 w 3584"/>
                <a:gd name="connsiteY0" fmla="*/ 0 h 4887"/>
                <a:gd name="connsiteX1" fmla="*/ 0 w 3584"/>
                <a:gd name="connsiteY1" fmla="*/ 4887 h 4887"/>
                <a:gd name="connsiteX2" fmla="*/ 3584 w 3584"/>
                <a:gd name="connsiteY2" fmla="*/ 4236 h 4887"/>
                <a:gd name="connsiteX3" fmla="*/ 1792 w 3584"/>
                <a:gd name="connsiteY3" fmla="*/ 0 h 48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584" h="4887">
                  <a:moveTo>
                    <a:pt x="1792" y="0"/>
                  </a:moveTo>
                  <a:lnTo>
                    <a:pt x="0" y="4887"/>
                  </a:lnTo>
                  <a:lnTo>
                    <a:pt x="3584" y="4236"/>
                  </a:lnTo>
                  <a:lnTo>
                    <a:pt x="1792" y="0"/>
                  </a:lnTo>
                  <a:close/>
                </a:path>
              </a:pathLst>
            </a:custGeom>
            <a:solidFill>
              <a:schemeClr val="bg2"/>
            </a:solidFill>
            <a:ln w="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6" name="Forma livre: Forma 65">
              <a:extLst>
                <a:ext uri="{FF2B5EF4-FFF2-40B4-BE49-F238E27FC236}">
                  <a16:creationId xmlns:a16="http://schemas.microsoft.com/office/drawing/2014/main" id="{FE8BC4ED-0347-F035-1A80-D6B8EE8D76D7}"/>
                </a:ext>
              </a:extLst>
            </p:cNvPr>
            <p:cNvSpPr/>
            <p:nvPr/>
          </p:nvSpPr>
          <p:spPr>
            <a:xfrm>
              <a:off x="4378961" y="4509225"/>
              <a:ext cx="19023" cy="22390"/>
            </a:xfrm>
            <a:custGeom>
              <a:avLst/>
              <a:gdLst>
                <a:gd name="connsiteX0" fmla="*/ 17268 w 18408"/>
                <a:gd name="connsiteY0" fmla="*/ 17106 h 21666"/>
                <a:gd name="connsiteX1" fmla="*/ 13033 w 18408"/>
                <a:gd name="connsiteY1" fmla="*/ 20038 h 21666"/>
                <a:gd name="connsiteX2" fmla="*/ 16780 w 18408"/>
                <a:gd name="connsiteY2" fmla="*/ 21667 h 21666"/>
                <a:gd name="connsiteX3" fmla="*/ 17268 w 18408"/>
                <a:gd name="connsiteY3" fmla="*/ 17106 h 21666"/>
                <a:gd name="connsiteX4" fmla="*/ 17268 w 18408"/>
                <a:gd name="connsiteY4" fmla="*/ 17106 h 21666"/>
                <a:gd name="connsiteX5" fmla="*/ 14825 w 18408"/>
                <a:gd name="connsiteY5" fmla="*/ 163 h 21666"/>
                <a:gd name="connsiteX6" fmla="*/ 9612 w 18408"/>
                <a:gd name="connsiteY6" fmla="*/ 4887 h 21666"/>
                <a:gd name="connsiteX7" fmla="*/ 12544 w 18408"/>
                <a:gd name="connsiteY7" fmla="*/ 10263 h 21666"/>
                <a:gd name="connsiteX8" fmla="*/ 18409 w 18408"/>
                <a:gd name="connsiteY8" fmla="*/ 10752 h 21666"/>
                <a:gd name="connsiteX9" fmla="*/ 14662 w 18408"/>
                <a:gd name="connsiteY9" fmla="*/ 0 h 21666"/>
                <a:gd name="connsiteX10" fmla="*/ 14662 w 18408"/>
                <a:gd name="connsiteY10" fmla="*/ 0 h 21666"/>
                <a:gd name="connsiteX11" fmla="*/ 5050 w 18408"/>
                <a:gd name="connsiteY11" fmla="*/ 5376 h 21666"/>
                <a:gd name="connsiteX12" fmla="*/ 9775 w 18408"/>
                <a:gd name="connsiteY12" fmla="*/ 10915 h 21666"/>
                <a:gd name="connsiteX13" fmla="*/ 6517 w 18408"/>
                <a:gd name="connsiteY13" fmla="*/ 20527 h 21666"/>
                <a:gd name="connsiteX14" fmla="*/ 0 w 18408"/>
                <a:gd name="connsiteY14" fmla="*/ 10752 h 21666"/>
                <a:gd name="connsiteX15" fmla="*/ 1629 w 18408"/>
                <a:gd name="connsiteY15" fmla="*/ 5539 h 21666"/>
                <a:gd name="connsiteX16" fmla="*/ 4887 w 18408"/>
                <a:gd name="connsiteY16" fmla="*/ 5539 h 216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8408" h="21666">
                  <a:moveTo>
                    <a:pt x="17268" y="17106"/>
                  </a:moveTo>
                  <a:lnTo>
                    <a:pt x="13033" y="20038"/>
                  </a:lnTo>
                  <a:lnTo>
                    <a:pt x="16780" y="21667"/>
                  </a:lnTo>
                  <a:lnTo>
                    <a:pt x="17268" y="17106"/>
                  </a:lnTo>
                  <a:lnTo>
                    <a:pt x="17268" y="17106"/>
                  </a:lnTo>
                  <a:close/>
                  <a:moveTo>
                    <a:pt x="14825" y="163"/>
                  </a:moveTo>
                  <a:lnTo>
                    <a:pt x="9612" y="4887"/>
                  </a:lnTo>
                  <a:lnTo>
                    <a:pt x="12544" y="10263"/>
                  </a:lnTo>
                  <a:lnTo>
                    <a:pt x="18409" y="10752"/>
                  </a:lnTo>
                  <a:lnTo>
                    <a:pt x="14662" y="0"/>
                  </a:lnTo>
                  <a:lnTo>
                    <a:pt x="14662" y="0"/>
                  </a:lnTo>
                  <a:close/>
                  <a:moveTo>
                    <a:pt x="5050" y="5376"/>
                  </a:moveTo>
                  <a:lnTo>
                    <a:pt x="9775" y="10915"/>
                  </a:lnTo>
                  <a:lnTo>
                    <a:pt x="6517" y="20527"/>
                  </a:lnTo>
                  <a:lnTo>
                    <a:pt x="0" y="10752"/>
                  </a:lnTo>
                  <a:lnTo>
                    <a:pt x="1629" y="5539"/>
                  </a:lnTo>
                  <a:lnTo>
                    <a:pt x="4887" y="5539"/>
                  </a:lnTo>
                  <a:close/>
                </a:path>
              </a:pathLst>
            </a:custGeom>
            <a:solidFill>
              <a:schemeClr val="bg2"/>
            </a:solidFill>
            <a:ln w="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7" name="Forma livre: Forma 66">
              <a:extLst>
                <a:ext uri="{FF2B5EF4-FFF2-40B4-BE49-F238E27FC236}">
                  <a16:creationId xmlns:a16="http://schemas.microsoft.com/office/drawing/2014/main" id="{B5681485-7298-6847-E728-6DF45612CBE5}"/>
                </a:ext>
              </a:extLst>
            </p:cNvPr>
            <p:cNvSpPr/>
            <p:nvPr/>
          </p:nvSpPr>
          <p:spPr>
            <a:xfrm>
              <a:off x="4388052" y="4537278"/>
              <a:ext cx="6734" cy="12854"/>
            </a:xfrm>
            <a:custGeom>
              <a:avLst/>
              <a:gdLst>
                <a:gd name="connsiteX0" fmla="*/ 2606 w 6516"/>
                <a:gd name="connsiteY0" fmla="*/ 58 h 12439"/>
                <a:gd name="connsiteX1" fmla="*/ 6516 w 6516"/>
                <a:gd name="connsiteY1" fmla="*/ 4131 h 12439"/>
                <a:gd name="connsiteX2" fmla="*/ 6516 w 6516"/>
                <a:gd name="connsiteY2" fmla="*/ 11299 h 12439"/>
                <a:gd name="connsiteX3" fmla="*/ 1955 w 6516"/>
                <a:gd name="connsiteY3" fmla="*/ 12439 h 12439"/>
                <a:gd name="connsiteX4" fmla="*/ 0 w 6516"/>
                <a:gd name="connsiteY4" fmla="*/ 4457 h 12439"/>
                <a:gd name="connsiteX5" fmla="*/ 2769 w 6516"/>
                <a:gd name="connsiteY5" fmla="*/ 58 h 124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516" h="12439">
                  <a:moveTo>
                    <a:pt x="2606" y="58"/>
                  </a:moveTo>
                  <a:lnTo>
                    <a:pt x="6516" y="4131"/>
                  </a:lnTo>
                  <a:lnTo>
                    <a:pt x="6516" y="11299"/>
                  </a:lnTo>
                  <a:cubicBezTo>
                    <a:pt x="6516" y="11299"/>
                    <a:pt x="1955" y="12439"/>
                    <a:pt x="1955" y="12439"/>
                  </a:cubicBezTo>
                  <a:lnTo>
                    <a:pt x="0" y="4457"/>
                  </a:lnTo>
                  <a:cubicBezTo>
                    <a:pt x="0" y="4457"/>
                    <a:pt x="3095" y="-594"/>
                    <a:pt x="2769" y="58"/>
                  </a:cubicBezTo>
                  <a:close/>
                </a:path>
              </a:pathLst>
            </a:custGeom>
            <a:solidFill>
              <a:schemeClr val="bg2"/>
            </a:solidFill>
            <a:ln w="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8" name="Forma livre: Forma 67">
              <a:extLst>
                <a:ext uri="{FF2B5EF4-FFF2-40B4-BE49-F238E27FC236}">
                  <a16:creationId xmlns:a16="http://schemas.microsoft.com/office/drawing/2014/main" id="{32D6B252-78AF-414B-2655-8A559A967EE1}"/>
                </a:ext>
              </a:extLst>
            </p:cNvPr>
            <p:cNvSpPr/>
            <p:nvPr/>
          </p:nvSpPr>
          <p:spPr>
            <a:xfrm>
              <a:off x="4389904" y="4557373"/>
              <a:ext cx="13467" cy="37878"/>
            </a:xfrm>
            <a:custGeom>
              <a:avLst/>
              <a:gdLst>
                <a:gd name="connsiteX0" fmla="*/ 10752 w 13032"/>
                <a:gd name="connsiteY0" fmla="*/ 21667 h 36654"/>
                <a:gd name="connsiteX1" fmla="*/ 4724 w 13032"/>
                <a:gd name="connsiteY1" fmla="*/ 29812 h 36654"/>
                <a:gd name="connsiteX2" fmla="*/ 5702 w 13032"/>
                <a:gd name="connsiteY2" fmla="*/ 34700 h 36654"/>
                <a:gd name="connsiteX3" fmla="*/ 9937 w 13032"/>
                <a:gd name="connsiteY3" fmla="*/ 36655 h 36654"/>
                <a:gd name="connsiteX4" fmla="*/ 12544 w 13032"/>
                <a:gd name="connsiteY4" fmla="*/ 29650 h 36654"/>
                <a:gd name="connsiteX5" fmla="*/ 10915 w 13032"/>
                <a:gd name="connsiteY5" fmla="*/ 21504 h 36654"/>
                <a:gd name="connsiteX6" fmla="*/ 10915 w 13032"/>
                <a:gd name="connsiteY6" fmla="*/ 21504 h 36654"/>
                <a:gd name="connsiteX7" fmla="*/ 0 w 13032"/>
                <a:gd name="connsiteY7" fmla="*/ 0 h 36654"/>
                <a:gd name="connsiteX8" fmla="*/ 10426 w 13032"/>
                <a:gd name="connsiteY8" fmla="*/ 2769 h 36654"/>
                <a:gd name="connsiteX9" fmla="*/ 13033 w 13032"/>
                <a:gd name="connsiteY9" fmla="*/ 12055 h 36654"/>
                <a:gd name="connsiteX10" fmla="*/ 12707 w 13032"/>
                <a:gd name="connsiteY10" fmla="*/ 16617 h 36654"/>
                <a:gd name="connsiteX11" fmla="*/ 8634 w 13032"/>
                <a:gd name="connsiteY11" fmla="*/ 14662 h 36654"/>
                <a:gd name="connsiteX12" fmla="*/ 5376 w 13032"/>
                <a:gd name="connsiteY12" fmla="*/ 14336 h 36654"/>
                <a:gd name="connsiteX13" fmla="*/ 6516 w 13032"/>
                <a:gd name="connsiteY13" fmla="*/ 10915 h 36654"/>
                <a:gd name="connsiteX14" fmla="*/ 0 w 13032"/>
                <a:gd name="connsiteY14" fmla="*/ 4236 h 36654"/>
                <a:gd name="connsiteX15" fmla="*/ 0 w 13032"/>
                <a:gd name="connsiteY15" fmla="*/ 163 h 366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3032" h="36654">
                  <a:moveTo>
                    <a:pt x="10752" y="21667"/>
                  </a:moveTo>
                  <a:lnTo>
                    <a:pt x="4724" y="29812"/>
                  </a:lnTo>
                  <a:lnTo>
                    <a:pt x="5702" y="34700"/>
                  </a:lnTo>
                  <a:lnTo>
                    <a:pt x="9937" y="36655"/>
                  </a:lnTo>
                  <a:lnTo>
                    <a:pt x="12544" y="29650"/>
                  </a:lnTo>
                  <a:lnTo>
                    <a:pt x="10915" y="21504"/>
                  </a:lnTo>
                  <a:lnTo>
                    <a:pt x="10915" y="21504"/>
                  </a:lnTo>
                  <a:close/>
                  <a:moveTo>
                    <a:pt x="0" y="0"/>
                  </a:moveTo>
                  <a:lnTo>
                    <a:pt x="10426" y="2769"/>
                  </a:lnTo>
                  <a:lnTo>
                    <a:pt x="13033" y="12055"/>
                  </a:lnTo>
                  <a:lnTo>
                    <a:pt x="12707" y="16617"/>
                  </a:lnTo>
                  <a:lnTo>
                    <a:pt x="8634" y="14662"/>
                  </a:lnTo>
                  <a:lnTo>
                    <a:pt x="5376" y="14336"/>
                  </a:lnTo>
                  <a:lnTo>
                    <a:pt x="6516" y="10915"/>
                  </a:lnTo>
                  <a:lnTo>
                    <a:pt x="0" y="4236"/>
                  </a:lnTo>
                  <a:lnTo>
                    <a:pt x="0" y="163"/>
                  </a:lnTo>
                  <a:close/>
                </a:path>
              </a:pathLst>
            </a:custGeom>
            <a:solidFill>
              <a:schemeClr val="bg2"/>
            </a:solidFill>
            <a:ln w="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9" name="Forma livre: Forma 68">
              <a:extLst>
                <a:ext uri="{FF2B5EF4-FFF2-40B4-BE49-F238E27FC236}">
                  <a16:creationId xmlns:a16="http://schemas.microsoft.com/office/drawing/2014/main" id="{A11DC39C-647C-3B68-711D-3CE496D4513D}"/>
                </a:ext>
              </a:extLst>
            </p:cNvPr>
            <p:cNvSpPr/>
            <p:nvPr/>
          </p:nvSpPr>
          <p:spPr>
            <a:xfrm>
              <a:off x="4434349" y="4600134"/>
              <a:ext cx="9932" cy="9595"/>
            </a:xfrm>
            <a:custGeom>
              <a:avLst/>
              <a:gdLst>
                <a:gd name="connsiteX0" fmla="*/ 4724 w 9611"/>
                <a:gd name="connsiteY0" fmla="*/ 0 h 9285"/>
                <a:gd name="connsiteX1" fmla="*/ 0 w 9611"/>
                <a:gd name="connsiteY1" fmla="*/ 4887 h 9285"/>
                <a:gd name="connsiteX2" fmla="*/ 3258 w 9611"/>
                <a:gd name="connsiteY2" fmla="*/ 9286 h 9285"/>
                <a:gd name="connsiteX3" fmla="*/ 9612 w 9611"/>
                <a:gd name="connsiteY3" fmla="*/ 9123 h 9285"/>
                <a:gd name="connsiteX4" fmla="*/ 9449 w 9611"/>
                <a:gd name="connsiteY4" fmla="*/ 4398 h 9285"/>
                <a:gd name="connsiteX5" fmla="*/ 4724 w 9611"/>
                <a:gd name="connsiteY5" fmla="*/ 0 h 92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611" h="9285">
                  <a:moveTo>
                    <a:pt x="4724" y="0"/>
                  </a:moveTo>
                  <a:lnTo>
                    <a:pt x="0" y="4887"/>
                  </a:lnTo>
                  <a:lnTo>
                    <a:pt x="3258" y="9286"/>
                  </a:lnTo>
                  <a:lnTo>
                    <a:pt x="9612" y="9123"/>
                  </a:lnTo>
                  <a:lnTo>
                    <a:pt x="9449" y="4398"/>
                  </a:lnTo>
                  <a:lnTo>
                    <a:pt x="4724" y="0"/>
                  </a:lnTo>
                  <a:close/>
                </a:path>
              </a:pathLst>
            </a:custGeom>
            <a:solidFill>
              <a:schemeClr val="bg2"/>
            </a:solidFill>
            <a:ln w="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70" name="Forma livre: Forma 69">
              <a:extLst>
                <a:ext uri="{FF2B5EF4-FFF2-40B4-BE49-F238E27FC236}">
                  <a16:creationId xmlns:a16="http://schemas.microsoft.com/office/drawing/2014/main" id="{72B8D5BD-06CB-3BA3-4E68-8E0162F871F6}"/>
                </a:ext>
              </a:extLst>
            </p:cNvPr>
            <p:cNvSpPr/>
            <p:nvPr/>
          </p:nvSpPr>
          <p:spPr>
            <a:xfrm>
              <a:off x="4377446" y="4598450"/>
              <a:ext cx="18518" cy="39899"/>
            </a:xfrm>
            <a:custGeom>
              <a:avLst/>
              <a:gdLst>
                <a:gd name="connsiteX0" fmla="*/ 9123 w 17919"/>
                <a:gd name="connsiteY0" fmla="*/ 34537 h 38609"/>
                <a:gd name="connsiteX1" fmla="*/ 7168 w 17919"/>
                <a:gd name="connsiteY1" fmla="*/ 31442 h 38609"/>
                <a:gd name="connsiteX2" fmla="*/ 1792 w 17919"/>
                <a:gd name="connsiteY2" fmla="*/ 32582 h 38609"/>
                <a:gd name="connsiteX3" fmla="*/ 0 w 17919"/>
                <a:gd name="connsiteY3" fmla="*/ 38609 h 38609"/>
                <a:gd name="connsiteX4" fmla="*/ 6028 w 17919"/>
                <a:gd name="connsiteY4" fmla="*/ 38609 h 38609"/>
                <a:gd name="connsiteX5" fmla="*/ 9123 w 17919"/>
                <a:gd name="connsiteY5" fmla="*/ 34537 h 38609"/>
                <a:gd name="connsiteX6" fmla="*/ 9123 w 17919"/>
                <a:gd name="connsiteY6" fmla="*/ 34537 h 38609"/>
                <a:gd name="connsiteX7" fmla="*/ 11078 w 17919"/>
                <a:gd name="connsiteY7" fmla="*/ 22807 h 38609"/>
                <a:gd name="connsiteX8" fmla="*/ 13684 w 17919"/>
                <a:gd name="connsiteY8" fmla="*/ 27532 h 38609"/>
                <a:gd name="connsiteX9" fmla="*/ 9774 w 17919"/>
                <a:gd name="connsiteY9" fmla="*/ 27532 h 38609"/>
                <a:gd name="connsiteX10" fmla="*/ 11078 w 17919"/>
                <a:gd name="connsiteY10" fmla="*/ 22807 h 38609"/>
                <a:gd name="connsiteX11" fmla="*/ 11078 w 17919"/>
                <a:gd name="connsiteY11" fmla="*/ 22807 h 38609"/>
                <a:gd name="connsiteX12" fmla="*/ 15639 w 17919"/>
                <a:gd name="connsiteY12" fmla="*/ 0 h 38609"/>
                <a:gd name="connsiteX13" fmla="*/ 17920 w 17919"/>
                <a:gd name="connsiteY13" fmla="*/ 5702 h 38609"/>
                <a:gd name="connsiteX14" fmla="*/ 14010 w 17919"/>
                <a:gd name="connsiteY14" fmla="*/ 13196 h 38609"/>
                <a:gd name="connsiteX15" fmla="*/ 15639 w 17919"/>
                <a:gd name="connsiteY15" fmla="*/ 0 h 38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7919" h="38609">
                  <a:moveTo>
                    <a:pt x="9123" y="34537"/>
                  </a:moveTo>
                  <a:lnTo>
                    <a:pt x="7168" y="31442"/>
                  </a:lnTo>
                  <a:lnTo>
                    <a:pt x="1792" y="32582"/>
                  </a:lnTo>
                  <a:lnTo>
                    <a:pt x="0" y="38609"/>
                  </a:lnTo>
                  <a:lnTo>
                    <a:pt x="6028" y="38609"/>
                  </a:lnTo>
                  <a:cubicBezTo>
                    <a:pt x="6028" y="38609"/>
                    <a:pt x="9123" y="34537"/>
                    <a:pt x="9123" y="34537"/>
                  </a:cubicBezTo>
                  <a:lnTo>
                    <a:pt x="9123" y="34537"/>
                  </a:lnTo>
                  <a:close/>
                  <a:moveTo>
                    <a:pt x="11078" y="22807"/>
                  </a:moveTo>
                  <a:lnTo>
                    <a:pt x="13684" y="27532"/>
                  </a:lnTo>
                  <a:lnTo>
                    <a:pt x="9774" y="27532"/>
                  </a:lnTo>
                  <a:cubicBezTo>
                    <a:pt x="9774" y="27532"/>
                    <a:pt x="11241" y="22644"/>
                    <a:pt x="11078" y="22807"/>
                  </a:cubicBezTo>
                  <a:lnTo>
                    <a:pt x="11078" y="22807"/>
                  </a:lnTo>
                  <a:close/>
                  <a:moveTo>
                    <a:pt x="15639" y="0"/>
                  </a:moveTo>
                  <a:lnTo>
                    <a:pt x="17920" y="5702"/>
                  </a:lnTo>
                  <a:lnTo>
                    <a:pt x="14010" y="13196"/>
                  </a:lnTo>
                  <a:lnTo>
                    <a:pt x="15639" y="0"/>
                  </a:lnTo>
                  <a:close/>
                </a:path>
              </a:pathLst>
            </a:custGeom>
            <a:solidFill>
              <a:schemeClr val="bg2"/>
            </a:solidFill>
            <a:ln w="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71" name="Forma livre: Forma 70">
              <a:extLst>
                <a:ext uri="{FF2B5EF4-FFF2-40B4-BE49-F238E27FC236}">
                  <a16:creationId xmlns:a16="http://schemas.microsoft.com/office/drawing/2014/main" id="{EA317D01-9732-A9EE-A102-ADD5A6C905FD}"/>
                </a:ext>
              </a:extLst>
            </p:cNvPr>
            <p:cNvSpPr/>
            <p:nvPr/>
          </p:nvSpPr>
          <p:spPr>
            <a:xfrm>
              <a:off x="4372732" y="4660235"/>
              <a:ext cx="35184" cy="31986"/>
            </a:xfrm>
            <a:custGeom>
              <a:avLst/>
              <a:gdLst>
                <a:gd name="connsiteX0" fmla="*/ 28835 w 34047"/>
                <a:gd name="connsiteY0" fmla="*/ 2444 h 30952"/>
                <a:gd name="connsiteX1" fmla="*/ 34048 w 34047"/>
                <a:gd name="connsiteY1" fmla="*/ 0 h 30952"/>
                <a:gd name="connsiteX2" fmla="*/ 33071 w 34047"/>
                <a:gd name="connsiteY2" fmla="*/ 4236 h 30952"/>
                <a:gd name="connsiteX3" fmla="*/ 28672 w 34047"/>
                <a:gd name="connsiteY3" fmla="*/ 2444 h 30952"/>
                <a:gd name="connsiteX4" fmla="*/ 28672 w 34047"/>
                <a:gd name="connsiteY4" fmla="*/ 2444 h 30952"/>
                <a:gd name="connsiteX5" fmla="*/ 26228 w 34047"/>
                <a:gd name="connsiteY5" fmla="*/ 6517 h 30952"/>
                <a:gd name="connsiteX6" fmla="*/ 16942 w 34047"/>
                <a:gd name="connsiteY6" fmla="*/ 10589 h 30952"/>
                <a:gd name="connsiteX7" fmla="*/ 12381 w 34047"/>
                <a:gd name="connsiteY7" fmla="*/ 8634 h 30952"/>
                <a:gd name="connsiteX8" fmla="*/ 6679 w 34047"/>
                <a:gd name="connsiteY8" fmla="*/ 10263 h 30952"/>
                <a:gd name="connsiteX9" fmla="*/ 5050 w 34047"/>
                <a:gd name="connsiteY9" fmla="*/ 13359 h 30952"/>
                <a:gd name="connsiteX10" fmla="*/ 9937 w 34047"/>
                <a:gd name="connsiteY10" fmla="*/ 17594 h 30952"/>
                <a:gd name="connsiteX11" fmla="*/ 10263 w 34047"/>
                <a:gd name="connsiteY11" fmla="*/ 22319 h 30952"/>
                <a:gd name="connsiteX12" fmla="*/ 5213 w 34047"/>
                <a:gd name="connsiteY12" fmla="*/ 26717 h 30952"/>
                <a:gd name="connsiteX13" fmla="*/ 0 w 34047"/>
                <a:gd name="connsiteY13" fmla="*/ 28672 h 30952"/>
                <a:gd name="connsiteX14" fmla="*/ 5865 w 34047"/>
                <a:gd name="connsiteY14" fmla="*/ 30953 h 30952"/>
                <a:gd name="connsiteX15" fmla="*/ 18409 w 34047"/>
                <a:gd name="connsiteY15" fmla="*/ 28998 h 30952"/>
                <a:gd name="connsiteX16" fmla="*/ 23622 w 34047"/>
                <a:gd name="connsiteY16" fmla="*/ 24599 h 30952"/>
                <a:gd name="connsiteX17" fmla="*/ 23622 w 34047"/>
                <a:gd name="connsiteY17" fmla="*/ 18898 h 30952"/>
                <a:gd name="connsiteX18" fmla="*/ 20690 w 34047"/>
                <a:gd name="connsiteY18" fmla="*/ 14336 h 30952"/>
                <a:gd name="connsiteX19" fmla="*/ 26554 w 34047"/>
                <a:gd name="connsiteY19" fmla="*/ 8471 h 30952"/>
                <a:gd name="connsiteX20" fmla="*/ 26228 w 34047"/>
                <a:gd name="connsiteY20" fmla="*/ 6517 h 309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34047" h="30952">
                  <a:moveTo>
                    <a:pt x="28835" y="2444"/>
                  </a:moveTo>
                  <a:lnTo>
                    <a:pt x="34048" y="0"/>
                  </a:lnTo>
                  <a:lnTo>
                    <a:pt x="33071" y="4236"/>
                  </a:lnTo>
                  <a:lnTo>
                    <a:pt x="28672" y="2444"/>
                  </a:lnTo>
                  <a:lnTo>
                    <a:pt x="28672" y="2444"/>
                  </a:lnTo>
                  <a:close/>
                  <a:moveTo>
                    <a:pt x="26228" y="6517"/>
                  </a:moveTo>
                  <a:lnTo>
                    <a:pt x="16942" y="10589"/>
                  </a:lnTo>
                  <a:lnTo>
                    <a:pt x="12381" y="8634"/>
                  </a:lnTo>
                  <a:lnTo>
                    <a:pt x="6679" y="10263"/>
                  </a:lnTo>
                  <a:lnTo>
                    <a:pt x="5050" y="13359"/>
                  </a:lnTo>
                  <a:lnTo>
                    <a:pt x="9937" y="17594"/>
                  </a:lnTo>
                  <a:lnTo>
                    <a:pt x="10263" y="22319"/>
                  </a:lnTo>
                  <a:lnTo>
                    <a:pt x="5213" y="26717"/>
                  </a:lnTo>
                  <a:lnTo>
                    <a:pt x="0" y="28672"/>
                  </a:lnTo>
                  <a:lnTo>
                    <a:pt x="5865" y="30953"/>
                  </a:lnTo>
                  <a:lnTo>
                    <a:pt x="18409" y="28998"/>
                  </a:lnTo>
                  <a:lnTo>
                    <a:pt x="23622" y="24599"/>
                  </a:lnTo>
                  <a:lnTo>
                    <a:pt x="23622" y="18898"/>
                  </a:lnTo>
                  <a:cubicBezTo>
                    <a:pt x="23622" y="18898"/>
                    <a:pt x="20690" y="14336"/>
                    <a:pt x="20690" y="14336"/>
                  </a:cubicBezTo>
                  <a:lnTo>
                    <a:pt x="26554" y="8471"/>
                  </a:lnTo>
                  <a:lnTo>
                    <a:pt x="26228" y="6517"/>
                  </a:lnTo>
                  <a:close/>
                </a:path>
              </a:pathLst>
            </a:custGeom>
            <a:solidFill>
              <a:schemeClr val="bg2"/>
            </a:solidFill>
            <a:ln w="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73" name="Forma livre: Forma 72">
              <a:extLst>
                <a:ext uri="{FF2B5EF4-FFF2-40B4-BE49-F238E27FC236}">
                  <a16:creationId xmlns:a16="http://schemas.microsoft.com/office/drawing/2014/main" id="{D70612C9-E345-D598-619A-AB6C6FBD30C3}"/>
                </a:ext>
              </a:extLst>
            </p:cNvPr>
            <p:cNvSpPr/>
            <p:nvPr/>
          </p:nvSpPr>
          <p:spPr>
            <a:xfrm>
              <a:off x="10665339" y="5429934"/>
              <a:ext cx="79124" cy="67676"/>
            </a:xfrm>
            <a:custGeom>
              <a:avLst/>
              <a:gdLst>
                <a:gd name="connsiteX0" fmla="*/ 34211 w 76567"/>
                <a:gd name="connsiteY0" fmla="*/ 22644 h 65489"/>
                <a:gd name="connsiteX1" fmla="*/ 38283 w 76567"/>
                <a:gd name="connsiteY1" fmla="*/ 14499 h 65489"/>
                <a:gd name="connsiteX2" fmla="*/ 44963 w 76567"/>
                <a:gd name="connsiteY2" fmla="*/ 14499 h 65489"/>
                <a:gd name="connsiteX3" fmla="*/ 50828 w 76567"/>
                <a:gd name="connsiteY3" fmla="*/ 10752 h 65489"/>
                <a:gd name="connsiteX4" fmla="*/ 57018 w 76567"/>
                <a:gd name="connsiteY4" fmla="*/ 14010 h 65489"/>
                <a:gd name="connsiteX5" fmla="*/ 62883 w 76567"/>
                <a:gd name="connsiteY5" fmla="*/ 7005 h 65489"/>
                <a:gd name="connsiteX6" fmla="*/ 67282 w 76567"/>
                <a:gd name="connsiteY6" fmla="*/ 7005 h 65489"/>
                <a:gd name="connsiteX7" fmla="*/ 75752 w 76567"/>
                <a:gd name="connsiteY7" fmla="*/ 0 h 65489"/>
                <a:gd name="connsiteX8" fmla="*/ 76568 w 76567"/>
                <a:gd name="connsiteY8" fmla="*/ 3258 h 65489"/>
                <a:gd name="connsiteX9" fmla="*/ 71354 w 76567"/>
                <a:gd name="connsiteY9" fmla="*/ 8145 h 65489"/>
                <a:gd name="connsiteX10" fmla="*/ 71354 w 76567"/>
                <a:gd name="connsiteY10" fmla="*/ 12870 h 65489"/>
                <a:gd name="connsiteX11" fmla="*/ 63534 w 76567"/>
                <a:gd name="connsiteY11" fmla="*/ 19875 h 65489"/>
                <a:gd name="connsiteX12" fmla="*/ 67933 w 76567"/>
                <a:gd name="connsiteY12" fmla="*/ 20690 h 65489"/>
                <a:gd name="connsiteX13" fmla="*/ 72332 w 76567"/>
                <a:gd name="connsiteY13" fmla="*/ 15476 h 65489"/>
                <a:gd name="connsiteX14" fmla="*/ 73797 w 76567"/>
                <a:gd name="connsiteY14" fmla="*/ 18409 h 65489"/>
                <a:gd name="connsiteX15" fmla="*/ 70539 w 76567"/>
                <a:gd name="connsiteY15" fmla="*/ 23948 h 65489"/>
                <a:gd name="connsiteX16" fmla="*/ 57669 w 76567"/>
                <a:gd name="connsiteY16" fmla="*/ 25740 h 65489"/>
                <a:gd name="connsiteX17" fmla="*/ 57343 w 76567"/>
                <a:gd name="connsiteY17" fmla="*/ 21993 h 65489"/>
                <a:gd name="connsiteX18" fmla="*/ 51805 w 76567"/>
                <a:gd name="connsiteY18" fmla="*/ 21667 h 65489"/>
                <a:gd name="connsiteX19" fmla="*/ 50013 w 76567"/>
                <a:gd name="connsiteY19" fmla="*/ 24925 h 65489"/>
                <a:gd name="connsiteX20" fmla="*/ 43333 w 76567"/>
                <a:gd name="connsiteY20" fmla="*/ 23785 h 65489"/>
                <a:gd name="connsiteX21" fmla="*/ 41052 w 76567"/>
                <a:gd name="connsiteY21" fmla="*/ 28183 h 65489"/>
                <a:gd name="connsiteX22" fmla="*/ 34047 w 76567"/>
                <a:gd name="connsiteY22" fmla="*/ 22318 h 65489"/>
                <a:gd name="connsiteX23" fmla="*/ 34047 w 76567"/>
                <a:gd name="connsiteY23" fmla="*/ 22318 h 65489"/>
                <a:gd name="connsiteX24" fmla="*/ 5864 w 76567"/>
                <a:gd name="connsiteY24" fmla="*/ 46592 h 65489"/>
                <a:gd name="connsiteX25" fmla="*/ 14661 w 76567"/>
                <a:gd name="connsiteY25" fmla="*/ 38935 h 65489"/>
                <a:gd name="connsiteX26" fmla="*/ 25739 w 76567"/>
                <a:gd name="connsiteY26" fmla="*/ 36329 h 65489"/>
                <a:gd name="connsiteX27" fmla="*/ 35025 w 76567"/>
                <a:gd name="connsiteY27" fmla="*/ 45615 h 65489"/>
                <a:gd name="connsiteX28" fmla="*/ 37632 w 76567"/>
                <a:gd name="connsiteY28" fmla="*/ 59951 h 65489"/>
                <a:gd name="connsiteX29" fmla="*/ 30627 w 76567"/>
                <a:gd name="connsiteY29" fmla="*/ 64023 h 65489"/>
                <a:gd name="connsiteX30" fmla="*/ 23947 w 76567"/>
                <a:gd name="connsiteY30" fmla="*/ 62883 h 65489"/>
                <a:gd name="connsiteX31" fmla="*/ 19874 w 76567"/>
                <a:gd name="connsiteY31" fmla="*/ 65490 h 65489"/>
                <a:gd name="connsiteX32" fmla="*/ 8471 w 76567"/>
                <a:gd name="connsiteY32" fmla="*/ 64349 h 65489"/>
                <a:gd name="connsiteX33" fmla="*/ 0 w 76567"/>
                <a:gd name="connsiteY33" fmla="*/ 59951 h 65489"/>
                <a:gd name="connsiteX34" fmla="*/ 0 w 76567"/>
                <a:gd name="connsiteY34" fmla="*/ 53760 h 65489"/>
                <a:gd name="connsiteX35" fmla="*/ 5213 w 76567"/>
                <a:gd name="connsiteY35" fmla="*/ 51968 h 65489"/>
                <a:gd name="connsiteX36" fmla="*/ 5864 w 76567"/>
                <a:gd name="connsiteY36" fmla="*/ 46755 h 654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76567" h="65489">
                  <a:moveTo>
                    <a:pt x="34211" y="22644"/>
                  </a:moveTo>
                  <a:lnTo>
                    <a:pt x="38283" y="14499"/>
                  </a:lnTo>
                  <a:lnTo>
                    <a:pt x="44963" y="14499"/>
                  </a:lnTo>
                  <a:lnTo>
                    <a:pt x="50828" y="10752"/>
                  </a:lnTo>
                  <a:lnTo>
                    <a:pt x="57018" y="14010"/>
                  </a:lnTo>
                  <a:lnTo>
                    <a:pt x="62883" y="7005"/>
                  </a:lnTo>
                  <a:lnTo>
                    <a:pt x="67282" y="7005"/>
                  </a:lnTo>
                  <a:lnTo>
                    <a:pt x="75752" y="0"/>
                  </a:lnTo>
                  <a:lnTo>
                    <a:pt x="76568" y="3258"/>
                  </a:lnTo>
                  <a:lnTo>
                    <a:pt x="71354" y="8145"/>
                  </a:lnTo>
                  <a:lnTo>
                    <a:pt x="71354" y="12870"/>
                  </a:lnTo>
                  <a:lnTo>
                    <a:pt x="63534" y="19875"/>
                  </a:lnTo>
                  <a:lnTo>
                    <a:pt x="67933" y="20690"/>
                  </a:lnTo>
                  <a:lnTo>
                    <a:pt x="72332" y="15476"/>
                  </a:lnTo>
                  <a:lnTo>
                    <a:pt x="73797" y="18409"/>
                  </a:lnTo>
                  <a:lnTo>
                    <a:pt x="70539" y="23948"/>
                  </a:lnTo>
                  <a:lnTo>
                    <a:pt x="57669" y="25740"/>
                  </a:lnTo>
                  <a:lnTo>
                    <a:pt x="57343" y="21993"/>
                  </a:lnTo>
                  <a:lnTo>
                    <a:pt x="51805" y="21667"/>
                  </a:lnTo>
                  <a:lnTo>
                    <a:pt x="50013" y="24925"/>
                  </a:lnTo>
                  <a:lnTo>
                    <a:pt x="43333" y="23785"/>
                  </a:lnTo>
                  <a:lnTo>
                    <a:pt x="41052" y="28183"/>
                  </a:lnTo>
                  <a:lnTo>
                    <a:pt x="34047" y="22318"/>
                  </a:lnTo>
                  <a:lnTo>
                    <a:pt x="34047" y="22318"/>
                  </a:lnTo>
                  <a:close/>
                  <a:moveTo>
                    <a:pt x="5864" y="46592"/>
                  </a:moveTo>
                  <a:lnTo>
                    <a:pt x="14661" y="38935"/>
                  </a:lnTo>
                  <a:lnTo>
                    <a:pt x="25739" y="36329"/>
                  </a:lnTo>
                  <a:lnTo>
                    <a:pt x="35025" y="45615"/>
                  </a:lnTo>
                  <a:lnTo>
                    <a:pt x="37632" y="59951"/>
                  </a:lnTo>
                  <a:lnTo>
                    <a:pt x="30627" y="64023"/>
                  </a:lnTo>
                  <a:lnTo>
                    <a:pt x="23947" y="62883"/>
                  </a:lnTo>
                  <a:lnTo>
                    <a:pt x="19874" y="65490"/>
                  </a:lnTo>
                  <a:lnTo>
                    <a:pt x="8471" y="64349"/>
                  </a:lnTo>
                  <a:lnTo>
                    <a:pt x="0" y="59951"/>
                  </a:lnTo>
                  <a:lnTo>
                    <a:pt x="0" y="53760"/>
                  </a:lnTo>
                  <a:lnTo>
                    <a:pt x="5213" y="51968"/>
                  </a:lnTo>
                  <a:lnTo>
                    <a:pt x="5864" y="46755"/>
                  </a:lnTo>
                  <a:close/>
                </a:path>
              </a:pathLst>
            </a:custGeom>
            <a:solidFill>
              <a:schemeClr val="bg2"/>
            </a:solidFill>
            <a:ln w="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74" name="Forma livre: Forma 73">
              <a:extLst>
                <a:ext uri="{FF2B5EF4-FFF2-40B4-BE49-F238E27FC236}">
                  <a16:creationId xmlns:a16="http://schemas.microsoft.com/office/drawing/2014/main" id="{77C153E8-9439-0734-5BB2-58D0C54EA94E}"/>
                </a:ext>
              </a:extLst>
            </p:cNvPr>
            <p:cNvSpPr/>
            <p:nvPr/>
          </p:nvSpPr>
          <p:spPr>
            <a:xfrm>
              <a:off x="10390253" y="5381443"/>
              <a:ext cx="61111" cy="156402"/>
            </a:xfrm>
            <a:custGeom>
              <a:avLst/>
              <a:gdLst>
                <a:gd name="connsiteX0" fmla="*/ 56692 w 59136"/>
                <a:gd name="connsiteY0" fmla="*/ 143202 h 151347"/>
                <a:gd name="connsiteX1" fmla="*/ 59136 w 59136"/>
                <a:gd name="connsiteY1" fmla="*/ 147275 h 151347"/>
                <a:gd name="connsiteX2" fmla="*/ 58322 w 59136"/>
                <a:gd name="connsiteY2" fmla="*/ 151348 h 151347"/>
                <a:gd name="connsiteX3" fmla="*/ 56041 w 59136"/>
                <a:gd name="connsiteY3" fmla="*/ 147112 h 151347"/>
                <a:gd name="connsiteX4" fmla="*/ 56530 w 59136"/>
                <a:gd name="connsiteY4" fmla="*/ 143202 h 151347"/>
                <a:gd name="connsiteX5" fmla="*/ 56530 w 59136"/>
                <a:gd name="connsiteY5" fmla="*/ 143202 h 151347"/>
                <a:gd name="connsiteX6" fmla="*/ 53272 w 59136"/>
                <a:gd name="connsiteY6" fmla="*/ 119417 h 151347"/>
                <a:gd name="connsiteX7" fmla="*/ 56367 w 59136"/>
                <a:gd name="connsiteY7" fmla="*/ 123327 h 151347"/>
                <a:gd name="connsiteX8" fmla="*/ 55715 w 59136"/>
                <a:gd name="connsiteY8" fmla="*/ 131473 h 151347"/>
                <a:gd name="connsiteX9" fmla="*/ 51805 w 59136"/>
                <a:gd name="connsiteY9" fmla="*/ 126748 h 151347"/>
                <a:gd name="connsiteX10" fmla="*/ 50991 w 59136"/>
                <a:gd name="connsiteY10" fmla="*/ 121372 h 151347"/>
                <a:gd name="connsiteX11" fmla="*/ 53272 w 59136"/>
                <a:gd name="connsiteY11" fmla="*/ 119580 h 151347"/>
                <a:gd name="connsiteX12" fmla="*/ 53272 w 59136"/>
                <a:gd name="connsiteY12" fmla="*/ 119580 h 151347"/>
                <a:gd name="connsiteX13" fmla="*/ 35189 w 59136"/>
                <a:gd name="connsiteY13" fmla="*/ 87813 h 151347"/>
                <a:gd name="connsiteX14" fmla="*/ 41053 w 59136"/>
                <a:gd name="connsiteY14" fmla="*/ 85207 h 151347"/>
                <a:gd name="connsiteX15" fmla="*/ 44474 w 59136"/>
                <a:gd name="connsiteY15" fmla="*/ 89116 h 151347"/>
                <a:gd name="connsiteX16" fmla="*/ 44474 w 59136"/>
                <a:gd name="connsiteY16" fmla="*/ 93678 h 151347"/>
                <a:gd name="connsiteX17" fmla="*/ 39913 w 59136"/>
                <a:gd name="connsiteY17" fmla="*/ 96121 h 151347"/>
                <a:gd name="connsiteX18" fmla="*/ 35514 w 59136"/>
                <a:gd name="connsiteY18" fmla="*/ 92049 h 151347"/>
                <a:gd name="connsiteX19" fmla="*/ 35189 w 59136"/>
                <a:gd name="connsiteY19" fmla="*/ 87813 h 151347"/>
                <a:gd name="connsiteX20" fmla="*/ 35189 w 59136"/>
                <a:gd name="connsiteY20" fmla="*/ 87813 h 151347"/>
                <a:gd name="connsiteX21" fmla="*/ 42031 w 59136"/>
                <a:gd name="connsiteY21" fmla="*/ 6196 h 151347"/>
                <a:gd name="connsiteX22" fmla="*/ 44800 w 59136"/>
                <a:gd name="connsiteY22" fmla="*/ 15156 h 151347"/>
                <a:gd name="connsiteX23" fmla="*/ 41868 w 59136"/>
                <a:gd name="connsiteY23" fmla="*/ 20206 h 151347"/>
                <a:gd name="connsiteX24" fmla="*/ 43008 w 59136"/>
                <a:gd name="connsiteY24" fmla="*/ 14830 h 151347"/>
                <a:gd name="connsiteX25" fmla="*/ 42031 w 59136"/>
                <a:gd name="connsiteY25" fmla="*/ 6196 h 151347"/>
                <a:gd name="connsiteX26" fmla="*/ 42031 w 59136"/>
                <a:gd name="connsiteY26" fmla="*/ 6196 h 151347"/>
                <a:gd name="connsiteX27" fmla="*/ 29650 w 59136"/>
                <a:gd name="connsiteY27" fmla="*/ 22650 h 151347"/>
                <a:gd name="connsiteX28" fmla="*/ 32908 w 59136"/>
                <a:gd name="connsiteY28" fmla="*/ 23790 h 151347"/>
                <a:gd name="connsiteX29" fmla="*/ 36981 w 59136"/>
                <a:gd name="connsiteY29" fmla="*/ 20369 h 151347"/>
                <a:gd name="connsiteX30" fmla="*/ 37958 w 59136"/>
                <a:gd name="connsiteY30" fmla="*/ 17925 h 151347"/>
                <a:gd name="connsiteX31" fmla="*/ 31931 w 59136"/>
                <a:gd name="connsiteY31" fmla="*/ 19880 h 151347"/>
                <a:gd name="connsiteX32" fmla="*/ 29650 w 59136"/>
                <a:gd name="connsiteY32" fmla="*/ 22650 h 151347"/>
                <a:gd name="connsiteX33" fmla="*/ 29650 w 59136"/>
                <a:gd name="connsiteY33" fmla="*/ 22650 h 151347"/>
                <a:gd name="connsiteX34" fmla="*/ 41542 w 59136"/>
                <a:gd name="connsiteY34" fmla="*/ 27048 h 151347"/>
                <a:gd name="connsiteX35" fmla="*/ 43496 w 59136"/>
                <a:gd name="connsiteY35" fmla="*/ 29003 h 151347"/>
                <a:gd name="connsiteX36" fmla="*/ 43496 w 59136"/>
                <a:gd name="connsiteY36" fmla="*/ 34216 h 151347"/>
                <a:gd name="connsiteX37" fmla="*/ 43986 w 59136"/>
                <a:gd name="connsiteY37" fmla="*/ 38452 h 151347"/>
                <a:gd name="connsiteX38" fmla="*/ 41868 w 59136"/>
                <a:gd name="connsiteY38" fmla="*/ 38452 h 151347"/>
                <a:gd name="connsiteX39" fmla="*/ 40564 w 59136"/>
                <a:gd name="connsiteY39" fmla="*/ 32750 h 151347"/>
                <a:gd name="connsiteX40" fmla="*/ 41542 w 59136"/>
                <a:gd name="connsiteY40" fmla="*/ 27048 h 151347"/>
                <a:gd name="connsiteX41" fmla="*/ 41542 w 59136"/>
                <a:gd name="connsiteY41" fmla="*/ 27048 h 151347"/>
                <a:gd name="connsiteX42" fmla="*/ 36655 w 59136"/>
                <a:gd name="connsiteY42" fmla="*/ 65169 h 151347"/>
                <a:gd name="connsiteX43" fmla="*/ 39099 w 59136"/>
                <a:gd name="connsiteY43" fmla="*/ 60933 h 151347"/>
                <a:gd name="connsiteX44" fmla="*/ 44312 w 59136"/>
                <a:gd name="connsiteY44" fmla="*/ 64028 h 151347"/>
                <a:gd name="connsiteX45" fmla="*/ 44800 w 59136"/>
                <a:gd name="connsiteY45" fmla="*/ 66635 h 151347"/>
                <a:gd name="connsiteX46" fmla="*/ 38772 w 59136"/>
                <a:gd name="connsiteY46" fmla="*/ 66635 h 151347"/>
                <a:gd name="connsiteX47" fmla="*/ 36818 w 59136"/>
                <a:gd name="connsiteY47" fmla="*/ 65169 h 151347"/>
                <a:gd name="connsiteX48" fmla="*/ 36818 w 59136"/>
                <a:gd name="connsiteY48" fmla="*/ 65169 h 151347"/>
                <a:gd name="connsiteX49" fmla="*/ 32745 w 59136"/>
                <a:gd name="connsiteY49" fmla="*/ 50344 h 151347"/>
                <a:gd name="connsiteX50" fmla="*/ 39262 w 59136"/>
                <a:gd name="connsiteY50" fmla="*/ 45783 h 151347"/>
                <a:gd name="connsiteX51" fmla="*/ 40727 w 59136"/>
                <a:gd name="connsiteY51" fmla="*/ 49204 h 151347"/>
                <a:gd name="connsiteX52" fmla="*/ 43171 w 59136"/>
                <a:gd name="connsiteY52" fmla="*/ 50344 h 151347"/>
                <a:gd name="connsiteX53" fmla="*/ 43171 w 59136"/>
                <a:gd name="connsiteY53" fmla="*/ 54091 h 151347"/>
                <a:gd name="connsiteX54" fmla="*/ 40076 w 59136"/>
                <a:gd name="connsiteY54" fmla="*/ 54091 h 151347"/>
                <a:gd name="connsiteX55" fmla="*/ 38446 w 59136"/>
                <a:gd name="connsiteY55" fmla="*/ 55720 h 151347"/>
                <a:gd name="connsiteX56" fmla="*/ 35514 w 59136"/>
                <a:gd name="connsiteY56" fmla="*/ 55394 h 151347"/>
                <a:gd name="connsiteX57" fmla="*/ 32582 w 59136"/>
                <a:gd name="connsiteY57" fmla="*/ 53113 h 151347"/>
                <a:gd name="connsiteX58" fmla="*/ 32908 w 59136"/>
                <a:gd name="connsiteY58" fmla="*/ 50344 h 151347"/>
                <a:gd name="connsiteX59" fmla="*/ 32908 w 59136"/>
                <a:gd name="connsiteY59" fmla="*/ 50344 h 151347"/>
                <a:gd name="connsiteX60" fmla="*/ 14825 w 59136"/>
                <a:gd name="connsiteY60" fmla="*/ 37963 h 151347"/>
                <a:gd name="connsiteX61" fmla="*/ 19223 w 59136"/>
                <a:gd name="connsiteY61" fmla="*/ 37963 h 151347"/>
                <a:gd name="connsiteX62" fmla="*/ 22971 w 59136"/>
                <a:gd name="connsiteY62" fmla="*/ 41221 h 151347"/>
                <a:gd name="connsiteX63" fmla="*/ 22971 w 59136"/>
                <a:gd name="connsiteY63" fmla="*/ 45783 h 151347"/>
                <a:gd name="connsiteX64" fmla="*/ 27043 w 59136"/>
                <a:gd name="connsiteY64" fmla="*/ 52625 h 151347"/>
                <a:gd name="connsiteX65" fmla="*/ 29650 w 59136"/>
                <a:gd name="connsiteY65" fmla="*/ 55883 h 151347"/>
                <a:gd name="connsiteX66" fmla="*/ 25251 w 59136"/>
                <a:gd name="connsiteY66" fmla="*/ 57186 h 151347"/>
                <a:gd name="connsiteX67" fmla="*/ 18572 w 59136"/>
                <a:gd name="connsiteY67" fmla="*/ 60607 h 151347"/>
                <a:gd name="connsiteX68" fmla="*/ 17758 w 59136"/>
                <a:gd name="connsiteY68" fmla="*/ 56698 h 151347"/>
                <a:gd name="connsiteX69" fmla="*/ 18898 w 59136"/>
                <a:gd name="connsiteY69" fmla="*/ 49367 h 151347"/>
                <a:gd name="connsiteX70" fmla="*/ 20364 w 59136"/>
                <a:gd name="connsiteY70" fmla="*/ 46108 h 151347"/>
                <a:gd name="connsiteX71" fmla="*/ 17921 w 59136"/>
                <a:gd name="connsiteY71" fmla="*/ 43502 h 151347"/>
                <a:gd name="connsiteX72" fmla="*/ 15150 w 59136"/>
                <a:gd name="connsiteY72" fmla="*/ 43502 h 151347"/>
                <a:gd name="connsiteX73" fmla="*/ 14173 w 59136"/>
                <a:gd name="connsiteY73" fmla="*/ 40407 h 151347"/>
                <a:gd name="connsiteX74" fmla="*/ 14662 w 59136"/>
                <a:gd name="connsiteY74" fmla="*/ 37800 h 151347"/>
                <a:gd name="connsiteX75" fmla="*/ 14662 w 59136"/>
                <a:gd name="connsiteY75" fmla="*/ 37800 h 151347"/>
                <a:gd name="connsiteX76" fmla="*/ 2607 w 59136"/>
                <a:gd name="connsiteY76" fmla="*/ 5 h 151347"/>
                <a:gd name="connsiteX77" fmla="*/ 0 w 59136"/>
                <a:gd name="connsiteY77" fmla="*/ 10920 h 151347"/>
                <a:gd name="connsiteX78" fmla="*/ 1955 w 59136"/>
                <a:gd name="connsiteY78" fmla="*/ 16948 h 151347"/>
                <a:gd name="connsiteX79" fmla="*/ 1955 w 59136"/>
                <a:gd name="connsiteY79" fmla="*/ 22812 h 151347"/>
                <a:gd name="connsiteX80" fmla="*/ 4399 w 59136"/>
                <a:gd name="connsiteY80" fmla="*/ 29655 h 151347"/>
                <a:gd name="connsiteX81" fmla="*/ 8309 w 59136"/>
                <a:gd name="connsiteY81" fmla="*/ 29655 h 151347"/>
                <a:gd name="connsiteX82" fmla="*/ 10753 w 59136"/>
                <a:gd name="connsiteY82" fmla="*/ 25745 h 151347"/>
                <a:gd name="connsiteX83" fmla="*/ 14173 w 59136"/>
                <a:gd name="connsiteY83" fmla="*/ 27537 h 151347"/>
                <a:gd name="connsiteX84" fmla="*/ 17431 w 59136"/>
                <a:gd name="connsiteY84" fmla="*/ 25093 h 151347"/>
                <a:gd name="connsiteX85" fmla="*/ 17431 w 59136"/>
                <a:gd name="connsiteY85" fmla="*/ 19066 h 151347"/>
                <a:gd name="connsiteX86" fmla="*/ 14987 w 59136"/>
                <a:gd name="connsiteY86" fmla="*/ 15807 h 151347"/>
                <a:gd name="connsiteX87" fmla="*/ 16617 w 59136"/>
                <a:gd name="connsiteY87" fmla="*/ 11246 h 151347"/>
                <a:gd name="connsiteX88" fmla="*/ 13685 w 59136"/>
                <a:gd name="connsiteY88" fmla="*/ 7499 h 151347"/>
                <a:gd name="connsiteX89" fmla="*/ 12381 w 59136"/>
                <a:gd name="connsiteY89" fmla="*/ 9942 h 151347"/>
                <a:gd name="connsiteX90" fmla="*/ 12381 w 59136"/>
                <a:gd name="connsiteY90" fmla="*/ 13852 h 151347"/>
                <a:gd name="connsiteX91" fmla="*/ 8635 w 59136"/>
                <a:gd name="connsiteY91" fmla="*/ 14993 h 151347"/>
                <a:gd name="connsiteX92" fmla="*/ 6191 w 59136"/>
                <a:gd name="connsiteY92" fmla="*/ 13038 h 151347"/>
                <a:gd name="connsiteX93" fmla="*/ 5864 w 59136"/>
                <a:gd name="connsiteY93" fmla="*/ 3752 h 151347"/>
                <a:gd name="connsiteX94" fmla="*/ 2444 w 59136"/>
                <a:gd name="connsiteY94" fmla="*/ 5 h 1513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</a:cxnLst>
              <a:rect l="l" t="t" r="r" b="b"/>
              <a:pathLst>
                <a:path w="59136" h="151347">
                  <a:moveTo>
                    <a:pt x="56692" y="143202"/>
                  </a:moveTo>
                  <a:lnTo>
                    <a:pt x="59136" y="147275"/>
                  </a:lnTo>
                  <a:lnTo>
                    <a:pt x="58322" y="151348"/>
                  </a:lnTo>
                  <a:lnTo>
                    <a:pt x="56041" y="147112"/>
                  </a:lnTo>
                  <a:lnTo>
                    <a:pt x="56530" y="143202"/>
                  </a:lnTo>
                  <a:lnTo>
                    <a:pt x="56530" y="143202"/>
                  </a:lnTo>
                  <a:close/>
                  <a:moveTo>
                    <a:pt x="53272" y="119417"/>
                  </a:moveTo>
                  <a:lnTo>
                    <a:pt x="56367" y="123327"/>
                  </a:lnTo>
                  <a:lnTo>
                    <a:pt x="55715" y="131473"/>
                  </a:lnTo>
                  <a:lnTo>
                    <a:pt x="51805" y="126748"/>
                  </a:lnTo>
                  <a:lnTo>
                    <a:pt x="50991" y="121372"/>
                  </a:lnTo>
                  <a:lnTo>
                    <a:pt x="53272" y="119580"/>
                  </a:lnTo>
                  <a:lnTo>
                    <a:pt x="53272" y="119580"/>
                  </a:lnTo>
                  <a:close/>
                  <a:moveTo>
                    <a:pt x="35189" y="87813"/>
                  </a:moveTo>
                  <a:lnTo>
                    <a:pt x="41053" y="85207"/>
                  </a:lnTo>
                  <a:lnTo>
                    <a:pt x="44474" y="89116"/>
                  </a:lnTo>
                  <a:lnTo>
                    <a:pt x="44474" y="93678"/>
                  </a:lnTo>
                  <a:lnTo>
                    <a:pt x="39913" y="96121"/>
                  </a:lnTo>
                  <a:lnTo>
                    <a:pt x="35514" y="92049"/>
                  </a:lnTo>
                  <a:lnTo>
                    <a:pt x="35189" y="87813"/>
                  </a:lnTo>
                  <a:lnTo>
                    <a:pt x="35189" y="87813"/>
                  </a:lnTo>
                  <a:close/>
                  <a:moveTo>
                    <a:pt x="42031" y="6196"/>
                  </a:moveTo>
                  <a:lnTo>
                    <a:pt x="44800" y="15156"/>
                  </a:lnTo>
                  <a:lnTo>
                    <a:pt x="41868" y="20206"/>
                  </a:lnTo>
                  <a:lnTo>
                    <a:pt x="43008" y="14830"/>
                  </a:lnTo>
                  <a:lnTo>
                    <a:pt x="42031" y="6196"/>
                  </a:lnTo>
                  <a:lnTo>
                    <a:pt x="42031" y="6196"/>
                  </a:lnTo>
                  <a:close/>
                  <a:moveTo>
                    <a:pt x="29650" y="22650"/>
                  </a:moveTo>
                  <a:lnTo>
                    <a:pt x="32908" y="23790"/>
                  </a:lnTo>
                  <a:lnTo>
                    <a:pt x="36981" y="20369"/>
                  </a:lnTo>
                  <a:lnTo>
                    <a:pt x="37958" y="17925"/>
                  </a:lnTo>
                  <a:lnTo>
                    <a:pt x="31931" y="19880"/>
                  </a:lnTo>
                  <a:cubicBezTo>
                    <a:pt x="31931" y="19880"/>
                    <a:pt x="29976" y="22486"/>
                    <a:pt x="29650" y="22650"/>
                  </a:cubicBezTo>
                  <a:lnTo>
                    <a:pt x="29650" y="22650"/>
                  </a:lnTo>
                  <a:close/>
                  <a:moveTo>
                    <a:pt x="41542" y="27048"/>
                  </a:moveTo>
                  <a:lnTo>
                    <a:pt x="43496" y="29003"/>
                  </a:lnTo>
                  <a:lnTo>
                    <a:pt x="43496" y="34216"/>
                  </a:lnTo>
                  <a:cubicBezTo>
                    <a:pt x="43496" y="34216"/>
                    <a:pt x="43986" y="38452"/>
                    <a:pt x="43986" y="38452"/>
                  </a:cubicBezTo>
                  <a:lnTo>
                    <a:pt x="41868" y="38452"/>
                  </a:lnTo>
                  <a:cubicBezTo>
                    <a:pt x="41868" y="38452"/>
                    <a:pt x="40564" y="32750"/>
                    <a:pt x="40564" y="32750"/>
                  </a:cubicBezTo>
                  <a:cubicBezTo>
                    <a:pt x="40564" y="32750"/>
                    <a:pt x="41705" y="26885"/>
                    <a:pt x="41542" y="27048"/>
                  </a:cubicBezTo>
                  <a:lnTo>
                    <a:pt x="41542" y="27048"/>
                  </a:lnTo>
                  <a:close/>
                  <a:moveTo>
                    <a:pt x="36655" y="65169"/>
                  </a:moveTo>
                  <a:lnTo>
                    <a:pt x="39099" y="60933"/>
                  </a:lnTo>
                  <a:lnTo>
                    <a:pt x="44312" y="64028"/>
                  </a:lnTo>
                  <a:lnTo>
                    <a:pt x="44800" y="66635"/>
                  </a:lnTo>
                  <a:lnTo>
                    <a:pt x="38772" y="66635"/>
                  </a:lnTo>
                  <a:cubicBezTo>
                    <a:pt x="38772" y="66635"/>
                    <a:pt x="36818" y="65169"/>
                    <a:pt x="36818" y="65169"/>
                  </a:cubicBezTo>
                  <a:lnTo>
                    <a:pt x="36818" y="65169"/>
                  </a:lnTo>
                  <a:close/>
                  <a:moveTo>
                    <a:pt x="32745" y="50344"/>
                  </a:moveTo>
                  <a:lnTo>
                    <a:pt x="39262" y="45783"/>
                  </a:lnTo>
                  <a:lnTo>
                    <a:pt x="40727" y="49204"/>
                  </a:lnTo>
                  <a:lnTo>
                    <a:pt x="43171" y="50344"/>
                  </a:lnTo>
                  <a:lnTo>
                    <a:pt x="43171" y="54091"/>
                  </a:lnTo>
                  <a:lnTo>
                    <a:pt x="40076" y="54091"/>
                  </a:lnTo>
                  <a:lnTo>
                    <a:pt x="38446" y="55720"/>
                  </a:lnTo>
                  <a:lnTo>
                    <a:pt x="35514" y="55394"/>
                  </a:lnTo>
                  <a:lnTo>
                    <a:pt x="32582" y="53113"/>
                  </a:lnTo>
                  <a:lnTo>
                    <a:pt x="32908" y="50344"/>
                  </a:lnTo>
                  <a:lnTo>
                    <a:pt x="32908" y="50344"/>
                  </a:lnTo>
                  <a:close/>
                  <a:moveTo>
                    <a:pt x="14825" y="37963"/>
                  </a:moveTo>
                  <a:lnTo>
                    <a:pt x="19223" y="37963"/>
                  </a:lnTo>
                  <a:lnTo>
                    <a:pt x="22971" y="41221"/>
                  </a:lnTo>
                  <a:lnTo>
                    <a:pt x="22971" y="45783"/>
                  </a:lnTo>
                  <a:cubicBezTo>
                    <a:pt x="22971" y="45783"/>
                    <a:pt x="27043" y="52625"/>
                    <a:pt x="27043" y="52625"/>
                  </a:cubicBezTo>
                  <a:lnTo>
                    <a:pt x="29650" y="55883"/>
                  </a:lnTo>
                  <a:lnTo>
                    <a:pt x="25251" y="57186"/>
                  </a:lnTo>
                  <a:lnTo>
                    <a:pt x="18572" y="60607"/>
                  </a:lnTo>
                  <a:lnTo>
                    <a:pt x="17758" y="56698"/>
                  </a:lnTo>
                  <a:lnTo>
                    <a:pt x="18898" y="49367"/>
                  </a:lnTo>
                  <a:lnTo>
                    <a:pt x="20364" y="46108"/>
                  </a:lnTo>
                  <a:lnTo>
                    <a:pt x="17921" y="43502"/>
                  </a:lnTo>
                  <a:lnTo>
                    <a:pt x="15150" y="43502"/>
                  </a:lnTo>
                  <a:cubicBezTo>
                    <a:pt x="15150" y="43502"/>
                    <a:pt x="14173" y="40407"/>
                    <a:pt x="14173" y="40407"/>
                  </a:cubicBezTo>
                  <a:lnTo>
                    <a:pt x="14662" y="37800"/>
                  </a:lnTo>
                  <a:lnTo>
                    <a:pt x="14662" y="37800"/>
                  </a:lnTo>
                  <a:close/>
                  <a:moveTo>
                    <a:pt x="2607" y="5"/>
                  </a:moveTo>
                  <a:lnTo>
                    <a:pt x="0" y="10920"/>
                  </a:lnTo>
                  <a:lnTo>
                    <a:pt x="1955" y="16948"/>
                  </a:lnTo>
                  <a:lnTo>
                    <a:pt x="1955" y="22812"/>
                  </a:lnTo>
                  <a:cubicBezTo>
                    <a:pt x="1955" y="22812"/>
                    <a:pt x="4399" y="29655"/>
                    <a:pt x="4399" y="29655"/>
                  </a:cubicBezTo>
                  <a:lnTo>
                    <a:pt x="8309" y="29655"/>
                  </a:lnTo>
                  <a:lnTo>
                    <a:pt x="10753" y="25745"/>
                  </a:lnTo>
                  <a:lnTo>
                    <a:pt x="14173" y="27537"/>
                  </a:lnTo>
                  <a:lnTo>
                    <a:pt x="17431" y="25093"/>
                  </a:lnTo>
                  <a:lnTo>
                    <a:pt x="17431" y="19066"/>
                  </a:lnTo>
                  <a:cubicBezTo>
                    <a:pt x="17431" y="19066"/>
                    <a:pt x="14987" y="15807"/>
                    <a:pt x="14987" y="15807"/>
                  </a:cubicBezTo>
                  <a:lnTo>
                    <a:pt x="16617" y="11246"/>
                  </a:lnTo>
                  <a:lnTo>
                    <a:pt x="13685" y="7499"/>
                  </a:lnTo>
                  <a:lnTo>
                    <a:pt x="12381" y="9942"/>
                  </a:lnTo>
                  <a:lnTo>
                    <a:pt x="12381" y="13852"/>
                  </a:lnTo>
                  <a:cubicBezTo>
                    <a:pt x="12381" y="13852"/>
                    <a:pt x="8635" y="14993"/>
                    <a:pt x="8635" y="14993"/>
                  </a:cubicBezTo>
                  <a:lnTo>
                    <a:pt x="6191" y="13038"/>
                  </a:lnTo>
                  <a:lnTo>
                    <a:pt x="5864" y="3752"/>
                  </a:lnTo>
                  <a:cubicBezTo>
                    <a:pt x="5864" y="3752"/>
                    <a:pt x="2118" y="-158"/>
                    <a:pt x="2444" y="5"/>
                  </a:cubicBezTo>
                  <a:close/>
                </a:path>
              </a:pathLst>
            </a:custGeom>
            <a:solidFill>
              <a:schemeClr val="bg2"/>
            </a:solidFill>
            <a:ln w="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75" name="Forma livre: Forma 74">
              <a:extLst>
                <a:ext uri="{FF2B5EF4-FFF2-40B4-BE49-F238E27FC236}">
                  <a16:creationId xmlns:a16="http://schemas.microsoft.com/office/drawing/2014/main" id="{67506154-6F22-EAD6-3A13-682B81FC9192}"/>
                </a:ext>
              </a:extLst>
            </p:cNvPr>
            <p:cNvSpPr/>
            <p:nvPr/>
          </p:nvSpPr>
          <p:spPr>
            <a:xfrm>
              <a:off x="10131498" y="5137172"/>
              <a:ext cx="257071" cy="154545"/>
            </a:xfrm>
            <a:custGeom>
              <a:avLst/>
              <a:gdLst>
                <a:gd name="connsiteX0" fmla="*/ 238987 w 248762"/>
                <a:gd name="connsiteY0" fmla="*/ 125114 h 149550"/>
                <a:gd name="connsiteX1" fmla="*/ 242898 w 248762"/>
                <a:gd name="connsiteY1" fmla="*/ 122182 h 149550"/>
                <a:gd name="connsiteX2" fmla="*/ 247133 w 248762"/>
                <a:gd name="connsiteY2" fmla="*/ 122182 h 149550"/>
                <a:gd name="connsiteX3" fmla="*/ 248763 w 248762"/>
                <a:gd name="connsiteY3" fmla="*/ 124626 h 149550"/>
                <a:gd name="connsiteX4" fmla="*/ 244853 w 248762"/>
                <a:gd name="connsiteY4" fmla="*/ 128209 h 149550"/>
                <a:gd name="connsiteX5" fmla="*/ 239965 w 248762"/>
                <a:gd name="connsiteY5" fmla="*/ 127069 h 149550"/>
                <a:gd name="connsiteX6" fmla="*/ 238825 w 248762"/>
                <a:gd name="connsiteY6" fmla="*/ 124951 h 149550"/>
                <a:gd name="connsiteX7" fmla="*/ 238825 w 248762"/>
                <a:gd name="connsiteY7" fmla="*/ 124951 h 149550"/>
                <a:gd name="connsiteX8" fmla="*/ 94161 w 248762"/>
                <a:gd name="connsiteY8" fmla="*/ 142871 h 149550"/>
                <a:gd name="connsiteX9" fmla="*/ 99538 w 248762"/>
                <a:gd name="connsiteY9" fmla="*/ 142871 h 149550"/>
                <a:gd name="connsiteX10" fmla="*/ 103773 w 248762"/>
                <a:gd name="connsiteY10" fmla="*/ 145804 h 149550"/>
                <a:gd name="connsiteX11" fmla="*/ 108986 w 248762"/>
                <a:gd name="connsiteY11" fmla="*/ 147759 h 149550"/>
                <a:gd name="connsiteX12" fmla="*/ 105239 w 248762"/>
                <a:gd name="connsiteY12" fmla="*/ 149551 h 149550"/>
                <a:gd name="connsiteX13" fmla="*/ 101004 w 248762"/>
                <a:gd name="connsiteY13" fmla="*/ 147922 h 149550"/>
                <a:gd name="connsiteX14" fmla="*/ 96768 w 248762"/>
                <a:gd name="connsiteY14" fmla="*/ 148247 h 149550"/>
                <a:gd name="connsiteX15" fmla="*/ 94325 w 248762"/>
                <a:gd name="connsiteY15" fmla="*/ 145967 h 149550"/>
                <a:gd name="connsiteX16" fmla="*/ 94325 w 248762"/>
                <a:gd name="connsiteY16" fmla="*/ 142708 h 149550"/>
                <a:gd name="connsiteX17" fmla="*/ 94161 w 248762"/>
                <a:gd name="connsiteY17" fmla="*/ 142708 h 149550"/>
                <a:gd name="connsiteX18" fmla="*/ 129187 w 248762"/>
                <a:gd name="connsiteY18" fmla="*/ 109149 h 149550"/>
                <a:gd name="connsiteX19" fmla="*/ 134563 w 248762"/>
                <a:gd name="connsiteY19" fmla="*/ 109638 h 149550"/>
                <a:gd name="connsiteX20" fmla="*/ 139939 w 248762"/>
                <a:gd name="connsiteY20" fmla="*/ 114851 h 149550"/>
                <a:gd name="connsiteX21" fmla="*/ 149550 w 248762"/>
                <a:gd name="connsiteY21" fmla="*/ 116806 h 149550"/>
                <a:gd name="connsiteX22" fmla="*/ 152646 w 248762"/>
                <a:gd name="connsiteY22" fmla="*/ 121367 h 149550"/>
                <a:gd name="connsiteX23" fmla="*/ 152158 w 248762"/>
                <a:gd name="connsiteY23" fmla="*/ 124463 h 149550"/>
                <a:gd name="connsiteX24" fmla="*/ 153949 w 248762"/>
                <a:gd name="connsiteY24" fmla="*/ 126255 h 149550"/>
                <a:gd name="connsiteX25" fmla="*/ 147433 w 248762"/>
                <a:gd name="connsiteY25" fmla="*/ 126580 h 149550"/>
                <a:gd name="connsiteX26" fmla="*/ 139287 w 248762"/>
                <a:gd name="connsiteY26" fmla="*/ 123485 h 149550"/>
                <a:gd name="connsiteX27" fmla="*/ 132282 w 248762"/>
                <a:gd name="connsiteY27" fmla="*/ 116969 h 149550"/>
                <a:gd name="connsiteX28" fmla="*/ 131956 w 248762"/>
                <a:gd name="connsiteY28" fmla="*/ 113222 h 149550"/>
                <a:gd name="connsiteX29" fmla="*/ 129187 w 248762"/>
                <a:gd name="connsiteY29" fmla="*/ 108823 h 149550"/>
                <a:gd name="connsiteX30" fmla="*/ 129187 w 248762"/>
                <a:gd name="connsiteY30" fmla="*/ 108823 h 149550"/>
                <a:gd name="connsiteX31" fmla="*/ 92858 w 248762"/>
                <a:gd name="connsiteY31" fmla="*/ 79826 h 149550"/>
                <a:gd name="connsiteX32" fmla="*/ 97094 w 248762"/>
                <a:gd name="connsiteY32" fmla="*/ 84224 h 149550"/>
                <a:gd name="connsiteX33" fmla="*/ 103610 w 248762"/>
                <a:gd name="connsiteY33" fmla="*/ 84224 h 149550"/>
                <a:gd name="connsiteX34" fmla="*/ 111104 w 248762"/>
                <a:gd name="connsiteY34" fmla="*/ 87971 h 149550"/>
                <a:gd name="connsiteX35" fmla="*/ 114363 w 248762"/>
                <a:gd name="connsiteY35" fmla="*/ 91718 h 149550"/>
                <a:gd name="connsiteX36" fmla="*/ 117458 w 248762"/>
                <a:gd name="connsiteY36" fmla="*/ 91718 h 149550"/>
                <a:gd name="connsiteX37" fmla="*/ 118109 w 248762"/>
                <a:gd name="connsiteY37" fmla="*/ 95139 h 149550"/>
                <a:gd name="connsiteX38" fmla="*/ 116480 w 248762"/>
                <a:gd name="connsiteY38" fmla="*/ 100352 h 149550"/>
                <a:gd name="connsiteX39" fmla="*/ 111267 w 248762"/>
                <a:gd name="connsiteY39" fmla="*/ 100841 h 149550"/>
                <a:gd name="connsiteX40" fmla="*/ 106868 w 248762"/>
                <a:gd name="connsiteY40" fmla="*/ 95465 h 149550"/>
                <a:gd name="connsiteX41" fmla="*/ 101166 w 248762"/>
                <a:gd name="connsiteY41" fmla="*/ 96605 h 149550"/>
                <a:gd name="connsiteX42" fmla="*/ 94488 w 248762"/>
                <a:gd name="connsiteY42" fmla="*/ 93999 h 149550"/>
                <a:gd name="connsiteX43" fmla="*/ 88948 w 248762"/>
                <a:gd name="connsiteY43" fmla="*/ 86505 h 149550"/>
                <a:gd name="connsiteX44" fmla="*/ 89926 w 248762"/>
                <a:gd name="connsiteY44" fmla="*/ 81292 h 149550"/>
                <a:gd name="connsiteX45" fmla="*/ 92695 w 248762"/>
                <a:gd name="connsiteY45" fmla="*/ 79826 h 149550"/>
                <a:gd name="connsiteX46" fmla="*/ 92695 w 248762"/>
                <a:gd name="connsiteY46" fmla="*/ 79826 h 149550"/>
                <a:gd name="connsiteX47" fmla="*/ 109801 w 248762"/>
                <a:gd name="connsiteY47" fmla="*/ 74124 h 149550"/>
                <a:gd name="connsiteX48" fmla="*/ 104262 w 248762"/>
                <a:gd name="connsiteY48" fmla="*/ 73472 h 149550"/>
                <a:gd name="connsiteX49" fmla="*/ 105402 w 248762"/>
                <a:gd name="connsiteY49" fmla="*/ 76730 h 149550"/>
                <a:gd name="connsiteX50" fmla="*/ 109964 w 248762"/>
                <a:gd name="connsiteY50" fmla="*/ 77871 h 149550"/>
                <a:gd name="connsiteX51" fmla="*/ 109964 w 248762"/>
                <a:gd name="connsiteY51" fmla="*/ 74124 h 149550"/>
                <a:gd name="connsiteX52" fmla="*/ 109801 w 248762"/>
                <a:gd name="connsiteY52" fmla="*/ 74124 h 149550"/>
                <a:gd name="connsiteX53" fmla="*/ 112408 w 248762"/>
                <a:gd name="connsiteY53" fmla="*/ 56529 h 149550"/>
                <a:gd name="connsiteX54" fmla="*/ 112408 w 248762"/>
                <a:gd name="connsiteY54" fmla="*/ 58484 h 149550"/>
                <a:gd name="connsiteX55" fmla="*/ 116317 w 248762"/>
                <a:gd name="connsiteY55" fmla="*/ 60765 h 149550"/>
                <a:gd name="connsiteX56" fmla="*/ 115503 w 248762"/>
                <a:gd name="connsiteY56" fmla="*/ 63860 h 149550"/>
                <a:gd name="connsiteX57" fmla="*/ 118272 w 248762"/>
                <a:gd name="connsiteY57" fmla="*/ 68259 h 149550"/>
                <a:gd name="connsiteX58" fmla="*/ 119901 w 248762"/>
                <a:gd name="connsiteY58" fmla="*/ 76242 h 149550"/>
                <a:gd name="connsiteX59" fmla="*/ 130164 w 248762"/>
                <a:gd name="connsiteY59" fmla="*/ 85039 h 149550"/>
                <a:gd name="connsiteX60" fmla="*/ 134237 w 248762"/>
                <a:gd name="connsiteY60" fmla="*/ 86342 h 149550"/>
                <a:gd name="connsiteX61" fmla="*/ 135051 w 248762"/>
                <a:gd name="connsiteY61" fmla="*/ 91555 h 149550"/>
                <a:gd name="connsiteX62" fmla="*/ 138962 w 248762"/>
                <a:gd name="connsiteY62" fmla="*/ 92858 h 149550"/>
                <a:gd name="connsiteX63" fmla="*/ 140101 w 248762"/>
                <a:gd name="connsiteY63" fmla="*/ 87156 h 149550"/>
                <a:gd name="connsiteX64" fmla="*/ 135051 w 248762"/>
                <a:gd name="connsiteY64" fmla="*/ 81617 h 149550"/>
                <a:gd name="connsiteX65" fmla="*/ 131142 w 248762"/>
                <a:gd name="connsiteY65" fmla="*/ 79826 h 149550"/>
                <a:gd name="connsiteX66" fmla="*/ 128699 w 248762"/>
                <a:gd name="connsiteY66" fmla="*/ 75753 h 149550"/>
                <a:gd name="connsiteX67" fmla="*/ 122182 w 248762"/>
                <a:gd name="connsiteY67" fmla="*/ 66956 h 149550"/>
                <a:gd name="connsiteX68" fmla="*/ 123322 w 248762"/>
                <a:gd name="connsiteY68" fmla="*/ 62720 h 149550"/>
                <a:gd name="connsiteX69" fmla="*/ 118109 w 248762"/>
                <a:gd name="connsiteY69" fmla="*/ 57018 h 149550"/>
                <a:gd name="connsiteX70" fmla="*/ 112245 w 248762"/>
                <a:gd name="connsiteY70" fmla="*/ 56692 h 149550"/>
                <a:gd name="connsiteX71" fmla="*/ 112245 w 248762"/>
                <a:gd name="connsiteY71" fmla="*/ 56692 h 149550"/>
                <a:gd name="connsiteX72" fmla="*/ 60602 w 248762"/>
                <a:gd name="connsiteY72" fmla="*/ 33559 h 149550"/>
                <a:gd name="connsiteX73" fmla="*/ 69399 w 248762"/>
                <a:gd name="connsiteY73" fmla="*/ 34863 h 149550"/>
                <a:gd name="connsiteX74" fmla="*/ 76241 w 248762"/>
                <a:gd name="connsiteY74" fmla="*/ 40564 h 149550"/>
                <a:gd name="connsiteX75" fmla="*/ 84387 w 248762"/>
                <a:gd name="connsiteY75" fmla="*/ 44311 h 149550"/>
                <a:gd name="connsiteX76" fmla="*/ 93836 w 248762"/>
                <a:gd name="connsiteY76" fmla="*/ 54249 h 149550"/>
                <a:gd name="connsiteX77" fmla="*/ 91881 w 248762"/>
                <a:gd name="connsiteY77" fmla="*/ 56692 h 149550"/>
                <a:gd name="connsiteX78" fmla="*/ 93673 w 248762"/>
                <a:gd name="connsiteY78" fmla="*/ 59951 h 149550"/>
                <a:gd name="connsiteX79" fmla="*/ 89926 w 248762"/>
                <a:gd name="connsiteY79" fmla="*/ 57344 h 149550"/>
                <a:gd name="connsiteX80" fmla="*/ 87320 w 248762"/>
                <a:gd name="connsiteY80" fmla="*/ 60439 h 149550"/>
                <a:gd name="connsiteX81" fmla="*/ 86342 w 248762"/>
                <a:gd name="connsiteY81" fmla="*/ 57181 h 149550"/>
                <a:gd name="connsiteX82" fmla="*/ 83572 w 248762"/>
                <a:gd name="connsiteY82" fmla="*/ 54249 h 149550"/>
                <a:gd name="connsiteX83" fmla="*/ 78522 w 248762"/>
                <a:gd name="connsiteY83" fmla="*/ 50339 h 149550"/>
                <a:gd name="connsiteX84" fmla="*/ 66467 w 248762"/>
                <a:gd name="connsiteY84" fmla="*/ 38121 h 149550"/>
                <a:gd name="connsiteX85" fmla="*/ 60439 w 248762"/>
                <a:gd name="connsiteY85" fmla="*/ 33559 h 149550"/>
                <a:gd name="connsiteX86" fmla="*/ 60439 w 248762"/>
                <a:gd name="connsiteY86" fmla="*/ 33559 h 149550"/>
                <a:gd name="connsiteX87" fmla="*/ 45452 w 248762"/>
                <a:gd name="connsiteY87" fmla="*/ 61254 h 149550"/>
                <a:gd name="connsiteX88" fmla="*/ 50991 w 248762"/>
                <a:gd name="connsiteY88" fmla="*/ 61906 h 149550"/>
                <a:gd name="connsiteX89" fmla="*/ 50339 w 248762"/>
                <a:gd name="connsiteY89" fmla="*/ 65815 h 149550"/>
                <a:gd name="connsiteX90" fmla="*/ 47081 w 248762"/>
                <a:gd name="connsiteY90" fmla="*/ 66956 h 149550"/>
                <a:gd name="connsiteX91" fmla="*/ 45615 w 248762"/>
                <a:gd name="connsiteY91" fmla="*/ 64186 h 149550"/>
                <a:gd name="connsiteX92" fmla="*/ 45615 w 248762"/>
                <a:gd name="connsiteY92" fmla="*/ 61254 h 149550"/>
                <a:gd name="connsiteX93" fmla="*/ 45615 w 248762"/>
                <a:gd name="connsiteY93" fmla="*/ 61254 h 149550"/>
                <a:gd name="connsiteX94" fmla="*/ 29487 w 248762"/>
                <a:gd name="connsiteY94" fmla="*/ 60602 h 149550"/>
                <a:gd name="connsiteX95" fmla="*/ 31441 w 248762"/>
                <a:gd name="connsiteY95" fmla="*/ 58647 h 149550"/>
                <a:gd name="connsiteX96" fmla="*/ 34048 w 248762"/>
                <a:gd name="connsiteY96" fmla="*/ 60276 h 149550"/>
                <a:gd name="connsiteX97" fmla="*/ 33071 w 248762"/>
                <a:gd name="connsiteY97" fmla="*/ 61580 h 149550"/>
                <a:gd name="connsiteX98" fmla="*/ 29324 w 248762"/>
                <a:gd name="connsiteY98" fmla="*/ 60602 h 149550"/>
                <a:gd name="connsiteX99" fmla="*/ 29324 w 248762"/>
                <a:gd name="connsiteY99" fmla="*/ 60602 h 149550"/>
                <a:gd name="connsiteX100" fmla="*/ 30301 w 248762"/>
                <a:gd name="connsiteY100" fmla="*/ 53434 h 149550"/>
                <a:gd name="connsiteX101" fmla="*/ 33559 w 248762"/>
                <a:gd name="connsiteY101" fmla="*/ 53760 h 149550"/>
                <a:gd name="connsiteX102" fmla="*/ 36981 w 248762"/>
                <a:gd name="connsiteY102" fmla="*/ 54249 h 149550"/>
                <a:gd name="connsiteX103" fmla="*/ 38121 w 248762"/>
                <a:gd name="connsiteY103" fmla="*/ 58159 h 149550"/>
                <a:gd name="connsiteX104" fmla="*/ 41705 w 248762"/>
                <a:gd name="connsiteY104" fmla="*/ 59625 h 149550"/>
                <a:gd name="connsiteX105" fmla="*/ 44474 w 248762"/>
                <a:gd name="connsiteY105" fmla="*/ 59951 h 149550"/>
                <a:gd name="connsiteX106" fmla="*/ 44963 w 248762"/>
                <a:gd name="connsiteY106" fmla="*/ 54900 h 149550"/>
                <a:gd name="connsiteX107" fmla="*/ 43334 w 248762"/>
                <a:gd name="connsiteY107" fmla="*/ 51642 h 149550"/>
                <a:gd name="connsiteX108" fmla="*/ 38936 w 248762"/>
                <a:gd name="connsiteY108" fmla="*/ 49199 h 149550"/>
                <a:gd name="connsiteX109" fmla="*/ 37795 w 248762"/>
                <a:gd name="connsiteY109" fmla="*/ 45940 h 149550"/>
                <a:gd name="connsiteX110" fmla="*/ 35352 w 248762"/>
                <a:gd name="connsiteY110" fmla="*/ 44800 h 149550"/>
                <a:gd name="connsiteX111" fmla="*/ 32093 w 248762"/>
                <a:gd name="connsiteY111" fmla="*/ 47569 h 149550"/>
                <a:gd name="connsiteX112" fmla="*/ 30464 w 248762"/>
                <a:gd name="connsiteY112" fmla="*/ 53434 h 149550"/>
                <a:gd name="connsiteX113" fmla="*/ 30464 w 248762"/>
                <a:gd name="connsiteY113" fmla="*/ 53434 h 149550"/>
                <a:gd name="connsiteX114" fmla="*/ 22645 w 248762"/>
                <a:gd name="connsiteY114" fmla="*/ 43823 h 149550"/>
                <a:gd name="connsiteX115" fmla="*/ 25577 w 248762"/>
                <a:gd name="connsiteY115" fmla="*/ 41868 h 149550"/>
                <a:gd name="connsiteX116" fmla="*/ 30301 w 248762"/>
                <a:gd name="connsiteY116" fmla="*/ 44963 h 149550"/>
                <a:gd name="connsiteX117" fmla="*/ 29813 w 248762"/>
                <a:gd name="connsiteY117" fmla="*/ 47569 h 149550"/>
                <a:gd name="connsiteX118" fmla="*/ 25251 w 248762"/>
                <a:gd name="connsiteY118" fmla="*/ 48221 h 149550"/>
                <a:gd name="connsiteX119" fmla="*/ 22807 w 248762"/>
                <a:gd name="connsiteY119" fmla="*/ 46429 h 149550"/>
                <a:gd name="connsiteX120" fmla="*/ 22807 w 248762"/>
                <a:gd name="connsiteY120" fmla="*/ 43823 h 149550"/>
                <a:gd name="connsiteX121" fmla="*/ 22807 w 248762"/>
                <a:gd name="connsiteY121" fmla="*/ 43823 h 149550"/>
                <a:gd name="connsiteX122" fmla="*/ 14010 w 248762"/>
                <a:gd name="connsiteY122" fmla="*/ 35677 h 149550"/>
                <a:gd name="connsiteX123" fmla="*/ 19875 w 248762"/>
                <a:gd name="connsiteY123" fmla="*/ 40401 h 149550"/>
                <a:gd name="connsiteX124" fmla="*/ 18246 w 248762"/>
                <a:gd name="connsiteY124" fmla="*/ 43008 h 149550"/>
                <a:gd name="connsiteX125" fmla="*/ 15314 w 248762"/>
                <a:gd name="connsiteY125" fmla="*/ 44637 h 149550"/>
                <a:gd name="connsiteX126" fmla="*/ 15314 w 248762"/>
                <a:gd name="connsiteY126" fmla="*/ 42682 h 149550"/>
                <a:gd name="connsiteX127" fmla="*/ 13359 w 248762"/>
                <a:gd name="connsiteY127" fmla="*/ 39587 h 149550"/>
                <a:gd name="connsiteX128" fmla="*/ 13847 w 248762"/>
                <a:gd name="connsiteY128" fmla="*/ 35677 h 149550"/>
                <a:gd name="connsiteX129" fmla="*/ 13847 w 248762"/>
                <a:gd name="connsiteY129" fmla="*/ 35677 h 149550"/>
                <a:gd name="connsiteX130" fmla="*/ 14010 w 248762"/>
                <a:gd name="connsiteY130" fmla="*/ 0 h 149550"/>
                <a:gd name="connsiteX131" fmla="*/ 7982 w 248762"/>
                <a:gd name="connsiteY131" fmla="*/ 6028 h 149550"/>
                <a:gd name="connsiteX132" fmla="*/ 13196 w 248762"/>
                <a:gd name="connsiteY132" fmla="*/ 3421 h 149550"/>
                <a:gd name="connsiteX133" fmla="*/ 14173 w 248762"/>
                <a:gd name="connsiteY133" fmla="*/ 0 h 149550"/>
                <a:gd name="connsiteX134" fmla="*/ 14173 w 248762"/>
                <a:gd name="connsiteY134" fmla="*/ 0 h 149550"/>
                <a:gd name="connsiteX135" fmla="*/ 13196 w 248762"/>
                <a:gd name="connsiteY135" fmla="*/ 7331 h 149550"/>
                <a:gd name="connsiteX136" fmla="*/ 10752 w 248762"/>
                <a:gd name="connsiteY136" fmla="*/ 10263 h 149550"/>
                <a:gd name="connsiteX137" fmla="*/ 14825 w 248762"/>
                <a:gd name="connsiteY137" fmla="*/ 16943 h 149550"/>
                <a:gd name="connsiteX138" fmla="*/ 23296 w 248762"/>
                <a:gd name="connsiteY138" fmla="*/ 22807 h 149550"/>
                <a:gd name="connsiteX139" fmla="*/ 28509 w 248762"/>
                <a:gd name="connsiteY139" fmla="*/ 27858 h 149550"/>
                <a:gd name="connsiteX140" fmla="*/ 34374 w 248762"/>
                <a:gd name="connsiteY140" fmla="*/ 29324 h 149550"/>
                <a:gd name="connsiteX141" fmla="*/ 39587 w 248762"/>
                <a:gd name="connsiteY141" fmla="*/ 29324 h 149550"/>
                <a:gd name="connsiteX142" fmla="*/ 38447 w 248762"/>
                <a:gd name="connsiteY142" fmla="*/ 26228 h 149550"/>
                <a:gd name="connsiteX143" fmla="*/ 33071 w 248762"/>
                <a:gd name="connsiteY143" fmla="*/ 21504 h 149550"/>
                <a:gd name="connsiteX144" fmla="*/ 29161 w 248762"/>
                <a:gd name="connsiteY144" fmla="*/ 19712 h 149550"/>
                <a:gd name="connsiteX145" fmla="*/ 28672 w 248762"/>
                <a:gd name="connsiteY145" fmla="*/ 16617 h 149550"/>
                <a:gd name="connsiteX146" fmla="*/ 24599 w 248762"/>
                <a:gd name="connsiteY146" fmla="*/ 14010 h 149550"/>
                <a:gd name="connsiteX147" fmla="*/ 16617 w 248762"/>
                <a:gd name="connsiteY147" fmla="*/ 12870 h 149550"/>
                <a:gd name="connsiteX148" fmla="*/ 16291 w 248762"/>
                <a:gd name="connsiteY148" fmla="*/ 8471 h 149550"/>
                <a:gd name="connsiteX149" fmla="*/ 13196 w 248762"/>
                <a:gd name="connsiteY149" fmla="*/ 7494 h 149550"/>
                <a:gd name="connsiteX150" fmla="*/ 13196 w 248762"/>
                <a:gd name="connsiteY150" fmla="*/ 7494 h 149550"/>
                <a:gd name="connsiteX151" fmla="*/ 2607 w 248762"/>
                <a:gd name="connsiteY151" fmla="*/ 13196 h 149550"/>
                <a:gd name="connsiteX152" fmla="*/ 0 w 248762"/>
                <a:gd name="connsiteY152" fmla="*/ 14173 h 149550"/>
                <a:gd name="connsiteX153" fmla="*/ 3747 w 248762"/>
                <a:gd name="connsiteY153" fmla="*/ 16780 h 149550"/>
                <a:gd name="connsiteX154" fmla="*/ 2607 w 248762"/>
                <a:gd name="connsiteY154" fmla="*/ 13359 h 1495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</a:cxnLst>
              <a:rect l="l" t="t" r="r" b="b"/>
              <a:pathLst>
                <a:path w="248762" h="149550">
                  <a:moveTo>
                    <a:pt x="238987" y="125114"/>
                  </a:moveTo>
                  <a:lnTo>
                    <a:pt x="242898" y="122182"/>
                  </a:lnTo>
                  <a:lnTo>
                    <a:pt x="247133" y="122182"/>
                  </a:lnTo>
                  <a:lnTo>
                    <a:pt x="248763" y="124626"/>
                  </a:lnTo>
                  <a:lnTo>
                    <a:pt x="244853" y="128209"/>
                  </a:lnTo>
                  <a:lnTo>
                    <a:pt x="239965" y="127069"/>
                  </a:lnTo>
                  <a:lnTo>
                    <a:pt x="238825" y="124951"/>
                  </a:lnTo>
                  <a:lnTo>
                    <a:pt x="238825" y="124951"/>
                  </a:lnTo>
                  <a:close/>
                  <a:moveTo>
                    <a:pt x="94161" y="142871"/>
                  </a:moveTo>
                  <a:lnTo>
                    <a:pt x="99538" y="142871"/>
                  </a:lnTo>
                  <a:cubicBezTo>
                    <a:pt x="99538" y="142871"/>
                    <a:pt x="103773" y="145804"/>
                    <a:pt x="103773" y="145804"/>
                  </a:cubicBezTo>
                  <a:lnTo>
                    <a:pt x="108986" y="147759"/>
                  </a:lnTo>
                  <a:lnTo>
                    <a:pt x="105239" y="149551"/>
                  </a:lnTo>
                  <a:lnTo>
                    <a:pt x="101004" y="147922"/>
                  </a:lnTo>
                  <a:lnTo>
                    <a:pt x="96768" y="148247"/>
                  </a:lnTo>
                  <a:lnTo>
                    <a:pt x="94325" y="145967"/>
                  </a:lnTo>
                  <a:lnTo>
                    <a:pt x="94325" y="142708"/>
                  </a:lnTo>
                  <a:lnTo>
                    <a:pt x="94161" y="142708"/>
                  </a:lnTo>
                  <a:close/>
                  <a:moveTo>
                    <a:pt x="129187" y="109149"/>
                  </a:moveTo>
                  <a:lnTo>
                    <a:pt x="134563" y="109638"/>
                  </a:lnTo>
                  <a:lnTo>
                    <a:pt x="139939" y="114851"/>
                  </a:lnTo>
                  <a:lnTo>
                    <a:pt x="149550" y="116806"/>
                  </a:lnTo>
                  <a:lnTo>
                    <a:pt x="152646" y="121367"/>
                  </a:lnTo>
                  <a:lnTo>
                    <a:pt x="152158" y="124463"/>
                  </a:lnTo>
                  <a:lnTo>
                    <a:pt x="153949" y="126255"/>
                  </a:lnTo>
                  <a:lnTo>
                    <a:pt x="147433" y="126580"/>
                  </a:lnTo>
                  <a:lnTo>
                    <a:pt x="139287" y="123485"/>
                  </a:lnTo>
                  <a:lnTo>
                    <a:pt x="132282" y="116969"/>
                  </a:lnTo>
                  <a:lnTo>
                    <a:pt x="131956" y="113222"/>
                  </a:lnTo>
                  <a:lnTo>
                    <a:pt x="129187" y="108823"/>
                  </a:lnTo>
                  <a:lnTo>
                    <a:pt x="129187" y="108823"/>
                  </a:lnTo>
                  <a:close/>
                  <a:moveTo>
                    <a:pt x="92858" y="79826"/>
                  </a:moveTo>
                  <a:lnTo>
                    <a:pt x="97094" y="84224"/>
                  </a:lnTo>
                  <a:lnTo>
                    <a:pt x="103610" y="84224"/>
                  </a:lnTo>
                  <a:lnTo>
                    <a:pt x="111104" y="87971"/>
                  </a:lnTo>
                  <a:lnTo>
                    <a:pt x="114363" y="91718"/>
                  </a:lnTo>
                  <a:lnTo>
                    <a:pt x="117458" y="91718"/>
                  </a:lnTo>
                  <a:cubicBezTo>
                    <a:pt x="117458" y="91718"/>
                    <a:pt x="118109" y="95139"/>
                    <a:pt x="118109" y="95139"/>
                  </a:cubicBezTo>
                  <a:lnTo>
                    <a:pt x="116480" y="100352"/>
                  </a:lnTo>
                  <a:lnTo>
                    <a:pt x="111267" y="100841"/>
                  </a:lnTo>
                  <a:lnTo>
                    <a:pt x="106868" y="95465"/>
                  </a:lnTo>
                  <a:lnTo>
                    <a:pt x="101166" y="96605"/>
                  </a:lnTo>
                  <a:lnTo>
                    <a:pt x="94488" y="93999"/>
                  </a:lnTo>
                  <a:lnTo>
                    <a:pt x="88948" y="86505"/>
                  </a:lnTo>
                  <a:lnTo>
                    <a:pt x="89926" y="81292"/>
                  </a:lnTo>
                  <a:lnTo>
                    <a:pt x="92695" y="79826"/>
                  </a:lnTo>
                  <a:lnTo>
                    <a:pt x="92695" y="79826"/>
                  </a:lnTo>
                  <a:close/>
                  <a:moveTo>
                    <a:pt x="109801" y="74124"/>
                  </a:moveTo>
                  <a:lnTo>
                    <a:pt x="104262" y="73472"/>
                  </a:lnTo>
                  <a:lnTo>
                    <a:pt x="105402" y="76730"/>
                  </a:lnTo>
                  <a:lnTo>
                    <a:pt x="109964" y="77871"/>
                  </a:lnTo>
                  <a:lnTo>
                    <a:pt x="109964" y="74124"/>
                  </a:lnTo>
                  <a:lnTo>
                    <a:pt x="109801" y="74124"/>
                  </a:lnTo>
                  <a:close/>
                  <a:moveTo>
                    <a:pt x="112408" y="56529"/>
                  </a:moveTo>
                  <a:lnTo>
                    <a:pt x="112408" y="58484"/>
                  </a:lnTo>
                  <a:cubicBezTo>
                    <a:pt x="112408" y="58484"/>
                    <a:pt x="116317" y="60765"/>
                    <a:pt x="116317" y="60765"/>
                  </a:cubicBezTo>
                  <a:lnTo>
                    <a:pt x="115503" y="63860"/>
                  </a:lnTo>
                  <a:lnTo>
                    <a:pt x="118272" y="68259"/>
                  </a:lnTo>
                  <a:lnTo>
                    <a:pt x="119901" y="76242"/>
                  </a:lnTo>
                  <a:lnTo>
                    <a:pt x="130164" y="85039"/>
                  </a:lnTo>
                  <a:lnTo>
                    <a:pt x="134237" y="86342"/>
                  </a:lnTo>
                  <a:lnTo>
                    <a:pt x="135051" y="91555"/>
                  </a:lnTo>
                  <a:lnTo>
                    <a:pt x="138962" y="92858"/>
                  </a:lnTo>
                  <a:lnTo>
                    <a:pt x="140101" y="87156"/>
                  </a:lnTo>
                  <a:lnTo>
                    <a:pt x="135051" y="81617"/>
                  </a:lnTo>
                  <a:lnTo>
                    <a:pt x="131142" y="79826"/>
                  </a:lnTo>
                  <a:lnTo>
                    <a:pt x="128699" y="75753"/>
                  </a:lnTo>
                  <a:lnTo>
                    <a:pt x="122182" y="66956"/>
                  </a:lnTo>
                  <a:lnTo>
                    <a:pt x="123322" y="62720"/>
                  </a:lnTo>
                  <a:lnTo>
                    <a:pt x="118109" y="57018"/>
                  </a:lnTo>
                  <a:lnTo>
                    <a:pt x="112245" y="56692"/>
                  </a:lnTo>
                  <a:lnTo>
                    <a:pt x="112245" y="56692"/>
                  </a:lnTo>
                  <a:close/>
                  <a:moveTo>
                    <a:pt x="60602" y="33559"/>
                  </a:moveTo>
                  <a:lnTo>
                    <a:pt x="69399" y="34863"/>
                  </a:lnTo>
                  <a:lnTo>
                    <a:pt x="76241" y="40564"/>
                  </a:lnTo>
                  <a:lnTo>
                    <a:pt x="84387" y="44311"/>
                  </a:lnTo>
                  <a:lnTo>
                    <a:pt x="93836" y="54249"/>
                  </a:lnTo>
                  <a:lnTo>
                    <a:pt x="91881" y="56692"/>
                  </a:lnTo>
                  <a:lnTo>
                    <a:pt x="93673" y="59951"/>
                  </a:lnTo>
                  <a:lnTo>
                    <a:pt x="89926" y="57344"/>
                  </a:lnTo>
                  <a:lnTo>
                    <a:pt x="87320" y="60439"/>
                  </a:lnTo>
                  <a:lnTo>
                    <a:pt x="86342" y="57181"/>
                  </a:lnTo>
                  <a:lnTo>
                    <a:pt x="83572" y="54249"/>
                  </a:lnTo>
                  <a:lnTo>
                    <a:pt x="78522" y="50339"/>
                  </a:lnTo>
                  <a:lnTo>
                    <a:pt x="66467" y="38121"/>
                  </a:lnTo>
                  <a:cubicBezTo>
                    <a:pt x="66467" y="38121"/>
                    <a:pt x="60602" y="33722"/>
                    <a:pt x="60439" y="33559"/>
                  </a:cubicBezTo>
                  <a:lnTo>
                    <a:pt x="60439" y="33559"/>
                  </a:lnTo>
                  <a:close/>
                  <a:moveTo>
                    <a:pt x="45452" y="61254"/>
                  </a:moveTo>
                  <a:lnTo>
                    <a:pt x="50991" y="61906"/>
                  </a:lnTo>
                  <a:lnTo>
                    <a:pt x="50339" y="65815"/>
                  </a:lnTo>
                  <a:lnTo>
                    <a:pt x="47081" y="66956"/>
                  </a:lnTo>
                  <a:lnTo>
                    <a:pt x="45615" y="64186"/>
                  </a:lnTo>
                  <a:lnTo>
                    <a:pt x="45615" y="61254"/>
                  </a:lnTo>
                  <a:lnTo>
                    <a:pt x="45615" y="61254"/>
                  </a:lnTo>
                  <a:close/>
                  <a:moveTo>
                    <a:pt x="29487" y="60602"/>
                  </a:moveTo>
                  <a:lnTo>
                    <a:pt x="31441" y="58647"/>
                  </a:lnTo>
                  <a:lnTo>
                    <a:pt x="34048" y="60276"/>
                  </a:lnTo>
                  <a:lnTo>
                    <a:pt x="33071" y="61580"/>
                  </a:lnTo>
                  <a:lnTo>
                    <a:pt x="29324" y="60602"/>
                  </a:lnTo>
                  <a:lnTo>
                    <a:pt x="29324" y="60602"/>
                  </a:lnTo>
                  <a:close/>
                  <a:moveTo>
                    <a:pt x="30301" y="53434"/>
                  </a:moveTo>
                  <a:lnTo>
                    <a:pt x="33559" y="53760"/>
                  </a:lnTo>
                  <a:lnTo>
                    <a:pt x="36981" y="54249"/>
                  </a:lnTo>
                  <a:lnTo>
                    <a:pt x="38121" y="58159"/>
                  </a:lnTo>
                  <a:lnTo>
                    <a:pt x="41705" y="59625"/>
                  </a:lnTo>
                  <a:lnTo>
                    <a:pt x="44474" y="59951"/>
                  </a:lnTo>
                  <a:lnTo>
                    <a:pt x="44963" y="54900"/>
                  </a:lnTo>
                  <a:lnTo>
                    <a:pt x="43334" y="51642"/>
                  </a:lnTo>
                  <a:lnTo>
                    <a:pt x="38936" y="49199"/>
                  </a:lnTo>
                  <a:lnTo>
                    <a:pt x="37795" y="45940"/>
                  </a:lnTo>
                  <a:lnTo>
                    <a:pt x="35352" y="44800"/>
                  </a:lnTo>
                  <a:lnTo>
                    <a:pt x="32093" y="47569"/>
                  </a:lnTo>
                  <a:lnTo>
                    <a:pt x="30464" y="53434"/>
                  </a:lnTo>
                  <a:lnTo>
                    <a:pt x="30464" y="53434"/>
                  </a:lnTo>
                  <a:close/>
                  <a:moveTo>
                    <a:pt x="22645" y="43823"/>
                  </a:moveTo>
                  <a:lnTo>
                    <a:pt x="25577" y="41868"/>
                  </a:lnTo>
                  <a:lnTo>
                    <a:pt x="30301" y="44963"/>
                  </a:lnTo>
                  <a:lnTo>
                    <a:pt x="29813" y="47569"/>
                  </a:lnTo>
                  <a:lnTo>
                    <a:pt x="25251" y="48221"/>
                  </a:lnTo>
                  <a:lnTo>
                    <a:pt x="22807" y="46429"/>
                  </a:lnTo>
                  <a:cubicBezTo>
                    <a:pt x="22807" y="46429"/>
                    <a:pt x="22807" y="43497"/>
                    <a:pt x="22807" y="43823"/>
                  </a:cubicBezTo>
                  <a:lnTo>
                    <a:pt x="22807" y="43823"/>
                  </a:lnTo>
                  <a:close/>
                  <a:moveTo>
                    <a:pt x="14010" y="35677"/>
                  </a:moveTo>
                  <a:lnTo>
                    <a:pt x="19875" y="40401"/>
                  </a:lnTo>
                  <a:lnTo>
                    <a:pt x="18246" y="43008"/>
                  </a:lnTo>
                  <a:lnTo>
                    <a:pt x="15314" y="44637"/>
                  </a:lnTo>
                  <a:lnTo>
                    <a:pt x="15314" y="42682"/>
                  </a:lnTo>
                  <a:lnTo>
                    <a:pt x="13359" y="39587"/>
                  </a:lnTo>
                  <a:lnTo>
                    <a:pt x="13847" y="35677"/>
                  </a:lnTo>
                  <a:lnTo>
                    <a:pt x="13847" y="35677"/>
                  </a:lnTo>
                  <a:close/>
                  <a:moveTo>
                    <a:pt x="14010" y="0"/>
                  </a:moveTo>
                  <a:lnTo>
                    <a:pt x="7982" y="6028"/>
                  </a:lnTo>
                  <a:lnTo>
                    <a:pt x="13196" y="3421"/>
                  </a:lnTo>
                  <a:lnTo>
                    <a:pt x="14173" y="0"/>
                  </a:lnTo>
                  <a:lnTo>
                    <a:pt x="14173" y="0"/>
                  </a:lnTo>
                  <a:close/>
                  <a:moveTo>
                    <a:pt x="13196" y="7331"/>
                  </a:moveTo>
                  <a:lnTo>
                    <a:pt x="10752" y="10263"/>
                  </a:lnTo>
                  <a:lnTo>
                    <a:pt x="14825" y="16943"/>
                  </a:lnTo>
                  <a:lnTo>
                    <a:pt x="23296" y="22807"/>
                  </a:lnTo>
                  <a:lnTo>
                    <a:pt x="28509" y="27858"/>
                  </a:lnTo>
                  <a:lnTo>
                    <a:pt x="34374" y="29324"/>
                  </a:lnTo>
                  <a:lnTo>
                    <a:pt x="39587" y="29324"/>
                  </a:lnTo>
                  <a:lnTo>
                    <a:pt x="38447" y="26228"/>
                  </a:lnTo>
                  <a:lnTo>
                    <a:pt x="33071" y="21504"/>
                  </a:lnTo>
                  <a:lnTo>
                    <a:pt x="29161" y="19712"/>
                  </a:lnTo>
                  <a:lnTo>
                    <a:pt x="28672" y="16617"/>
                  </a:lnTo>
                  <a:lnTo>
                    <a:pt x="24599" y="14010"/>
                  </a:lnTo>
                  <a:lnTo>
                    <a:pt x="16617" y="12870"/>
                  </a:lnTo>
                  <a:lnTo>
                    <a:pt x="16291" y="8471"/>
                  </a:lnTo>
                  <a:lnTo>
                    <a:pt x="13196" y="7494"/>
                  </a:lnTo>
                  <a:lnTo>
                    <a:pt x="13196" y="7494"/>
                  </a:lnTo>
                  <a:close/>
                  <a:moveTo>
                    <a:pt x="2607" y="13196"/>
                  </a:moveTo>
                  <a:lnTo>
                    <a:pt x="0" y="14173"/>
                  </a:lnTo>
                  <a:lnTo>
                    <a:pt x="3747" y="16780"/>
                  </a:lnTo>
                  <a:lnTo>
                    <a:pt x="2607" y="13359"/>
                  </a:lnTo>
                  <a:close/>
                </a:path>
              </a:pathLst>
            </a:custGeom>
            <a:solidFill>
              <a:schemeClr val="bg2"/>
            </a:solidFill>
            <a:ln w="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76" name="Forma livre: Forma 75">
              <a:extLst>
                <a:ext uri="{FF2B5EF4-FFF2-40B4-BE49-F238E27FC236}">
                  <a16:creationId xmlns:a16="http://schemas.microsoft.com/office/drawing/2014/main" id="{AD377EBD-9543-7CE8-6B59-EA203B449C28}"/>
                </a:ext>
              </a:extLst>
            </p:cNvPr>
            <p:cNvSpPr/>
            <p:nvPr/>
          </p:nvSpPr>
          <p:spPr>
            <a:xfrm>
              <a:off x="9727962" y="4996767"/>
              <a:ext cx="401684" cy="292593"/>
            </a:xfrm>
            <a:custGeom>
              <a:avLst/>
              <a:gdLst>
                <a:gd name="connsiteX0" fmla="*/ 332823 w 388701"/>
                <a:gd name="connsiteY0" fmla="*/ 274828 h 283136"/>
                <a:gd name="connsiteX1" fmla="*/ 335919 w 388701"/>
                <a:gd name="connsiteY1" fmla="*/ 272058 h 283136"/>
                <a:gd name="connsiteX2" fmla="*/ 340317 w 388701"/>
                <a:gd name="connsiteY2" fmla="*/ 273036 h 283136"/>
                <a:gd name="connsiteX3" fmla="*/ 339503 w 388701"/>
                <a:gd name="connsiteY3" fmla="*/ 276131 h 283136"/>
                <a:gd name="connsiteX4" fmla="*/ 335430 w 388701"/>
                <a:gd name="connsiteY4" fmla="*/ 276783 h 283136"/>
                <a:gd name="connsiteX5" fmla="*/ 332986 w 388701"/>
                <a:gd name="connsiteY5" fmla="*/ 276294 h 283136"/>
                <a:gd name="connsiteX6" fmla="*/ 332986 w 388701"/>
                <a:gd name="connsiteY6" fmla="*/ 274991 h 283136"/>
                <a:gd name="connsiteX7" fmla="*/ 332986 w 388701"/>
                <a:gd name="connsiteY7" fmla="*/ 274991 h 283136"/>
                <a:gd name="connsiteX8" fmla="*/ 311645 w 388701"/>
                <a:gd name="connsiteY8" fmla="*/ 275479 h 283136"/>
                <a:gd name="connsiteX9" fmla="*/ 317673 w 388701"/>
                <a:gd name="connsiteY9" fmla="*/ 281833 h 283136"/>
                <a:gd name="connsiteX10" fmla="*/ 320931 w 388701"/>
                <a:gd name="connsiteY10" fmla="*/ 281833 h 283136"/>
                <a:gd name="connsiteX11" fmla="*/ 323863 w 388701"/>
                <a:gd name="connsiteY11" fmla="*/ 283136 h 283136"/>
                <a:gd name="connsiteX12" fmla="*/ 325493 w 388701"/>
                <a:gd name="connsiteY12" fmla="*/ 281996 h 283136"/>
                <a:gd name="connsiteX13" fmla="*/ 324352 w 388701"/>
                <a:gd name="connsiteY13" fmla="*/ 279063 h 283136"/>
                <a:gd name="connsiteX14" fmla="*/ 319954 w 388701"/>
                <a:gd name="connsiteY14" fmla="*/ 279063 h 283136"/>
                <a:gd name="connsiteX15" fmla="*/ 314578 w 388701"/>
                <a:gd name="connsiteY15" fmla="*/ 275316 h 283136"/>
                <a:gd name="connsiteX16" fmla="*/ 311482 w 388701"/>
                <a:gd name="connsiteY16" fmla="*/ 275316 h 283136"/>
                <a:gd name="connsiteX17" fmla="*/ 150691 w 388701"/>
                <a:gd name="connsiteY17" fmla="*/ 22482 h 283136"/>
                <a:gd name="connsiteX18" fmla="*/ 152320 w 388701"/>
                <a:gd name="connsiteY18" fmla="*/ 21178 h 283136"/>
                <a:gd name="connsiteX19" fmla="*/ 156393 w 388701"/>
                <a:gd name="connsiteY19" fmla="*/ 21504 h 283136"/>
                <a:gd name="connsiteX20" fmla="*/ 160629 w 388701"/>
                <a:gd name="connsiteY20" fmla="*/ 20201 h 283136"/>
                <a:gd name="connsiteX21" fmla="*/ 163724 w 388701"/>
                <a:gd name="connsiteY21" fmla="*/ 22482 h 283136"/>
                <a:gd name="connsiteX22" fmla="*/ 167634 w 388701"/>
                <a:gd name="connsiteY22" fmla="*/ 21504 h 283136"/>
                <a:gd name="connsiteX23" fmla="*/ 170566 w 388701"/>
                <a:gd name="connsiteY23" fmla="*/ 23785 h 283136"/>
                <a:gd name="connsiteX24" fmla="*/ 165027 w 388701"/>
                <a:gd name="connsiteY24" fmla="*/ 28346 h 283136"/>
                <a:gd name="connsiteX25" fmla="*/ 158511 w 388701"/>
                <a:gd name="connsiteY25" fmla="*/ 28672 h 283136"/>
                <a:gd name="connsiteX26" fmla="*/ 156230 w 388701"/>
                <a:gd name="connsiteY26" fmla="*/ 26717 h 283136"/>
                <a:gd name="connsiteX27" fmla="*/ 152157 w 388701"/>
                <a:gd name="connsiteY27" fmla="*/ 26228 h 283136"/>
                <a:gd name="connsiteX28" fmla="*/ 150528 w 388701"/>
                <a:gd name="connsiteY28" fmla="*/ 22482 h 283136"/>
                <a:gd name="connsiteX29" fmla="*/ 150528 w 388701"/>
                <a:gd name="connsiteY29" fmla="*/ 22482 h 283136"/>
                <a:gd name="connsiteX30" fmla="*/ 358238 w 388701"/>
                <a:gd name="connsiteY30" fmla="*/ 114036 h 283136"/>
                <a:gd name="connsiteX31" fmla="*/ 363776 w 388701"/>
                <a:gd name="connsiteY31" fmla="*/ 113711 h 283136"/>
                <a:gd name="connsiteX32" fmla="*/ 366546 w 388701"/>
                <a:gd name="connsiteY32" fmla="*/ 117457 h 283136"/>
                <a:gd name="connsiteX33" fmla="*/ 368338 w 388701"/>
                <a:gd name="connsiteY33" fmla="*/ 124625 h 283136"/>
                <a:gd name="connsiteX34" fmla="*/ 375180 w 388701"/>
                <a:gd name="connsiteY34" fmla="*/ 126906 h 283136"/>
                <a:gd name="connsiteX35" fmla="*/ 383488 w 388701"/>
                <a:gd name="connsiteY35" fmla="*/ 133585 h 283136"/>
                <a:gd name="connsiteX36" fmla="*/ 388702 w 388701"/>
                <a:gd name="connsiteY36" fmla="*/ 140102 h 283136"/>
                <a:gd name="connsiteX37" fmla="*/ 388213 w 388701"/>
                <a:gd name="connsiteY37" fmla="*/ 146944 h 283136"/>
                <a:gd name="connsiteX38" fmla="*/ 384791 w 388701"/>
                <a:gd name="connsiteY38" fmla="*/ 148084 h 283136"/>
                <a:gd name="connsiteX39" fmla="*/ 383651 w 388701"/>
                <a:gd name="connsiteY39" fmla="*/ 150365 h 283136"/>
                <a:gd name="connsiteX40" fmla="*/ 377461 w 388701"/>
                <a:gd name="connsiteY40" fmla="*/ 151017 h 283136"/>
                <a:gd name="connsiteX41" fmla="*/ 374039 w 388701"/>
                <a:gd name="connsiteY41" fmla="*/ 149714 h 283136"/>
                <a:gd name="connsiteX42" fmla="*/ 370130 w 388701"/>
                <a:gd name="connsiteY42" fmla="*/ 149714 h 283136"/>
                <a:gd name="connsiteX43" fmla="*/ 367197 w 388701"/>
                <a:gd name="connsiteY43" fmla="*/ 145641 h 283136"/>
                <a:gd name="connsiteX44" fmla="*/ 368664 w 388701"/>
                <a:gd name="connsiteY44" fmla="*/ 142871 h 283136"/>
                <a:gd name="connsiteX45" fmla="*/ 363939 w 388701"/>
                <a:gd name="connsiteY45" fmla="*/ 134074 h 283136"/>
                <a:gd name="connsiteX46" fmla="*/ 358726 w 388701"/>
                <a:gd name="connsiteY46" fmla="*/ 131468 h 283136"/>
                <a:gd name="connsiteX47" fmla="*/ 358726 w 388701"/>
                <a:gd name="connsiteY47" fmla="*/ 123322 h 283136"/>
                <a:gd name="connsiteX48" fmla="*/ 357586 w 388701"/>
                <a:gd name="connsiteY48" fmla="*/ 119087 h 283136"/>
                <a:gd name="connsiteX49" fmla="*/ 358563 w 388701"/>
                <a:gd name="connsiteY49" fmla="*/ 114362 h 283136"/>
                <a:gd name="connsiteX50" fmla="*/ 358563 w 388701"/>
                <a:gd name="connsiteY50" fmla="*/ 114362 h 283136"/>
                <a:gd name="connsiteX51" fmla="*/ 353024 w 388701"/>
                <a:gd name="connsiteY51" fmla="*/ 102144 h 283136"/>
                <a:gd name="connsiteX52" fmla="*/ 351721 w 388701"/>
                <a:gd name="connsiteY52" fmla="*/ 104588 h 283136"/>
                <a:gd name="connsiteX53" fmla="*/ 354002 w 388701"/>
                <a:gd name="connsiteY53" fmla="*/ 107683 h 283136"/>
                <a:gd name="connsiteX54" fmla="*/ 354002 w 388701"/>
                <a:gd name="connsiteY54" fmla="*/ 112407 h 283136"/>
                <a:gd name="connsiteX55" fmla="*/ 357260 w 388701"/>
                <a:gd name="connsiteY55" fmla="*/ 108334 h 283136"/>
                <a:gd name="connsiteX56" fmla="*/ 356934 w 388701"/>
                <a:gd name="connsiteY56" fmla="*/ 103284 h 283136"/>
                <a:gd name="connsiteX57" fmla="*/ 353024 w 388701"/>
                <a:gd name="connsiteY57" fmla="*/ 101981 h 283136"/>
                <a:gd name="connsiteX58" fmla="*/ 353024 w 388701"/>
                <a:gd name="connsiteY58" fmla="*/ 101981 h 283136"/>
                <a:gd name="connsiteX59" fmla="*/ 344390 w 388701"/>
                <a:gd name="connsiteY59" fmla="*/ 90903 h 283136"/>
                <a:gd name="connsiteX60" fmla="*/ 347486 w 388701"/>
                <a:gd name="connsiteY60" fmla="*/ 89926 h 283136"/>
                <a:gd name="connsiteX61" fmla="*/ 349114 w 388701"/>
                <a:gd name="connsiteY61" fmla="*/ 86179 h 283136"/>
                <a:gd name="connsiteX62" fmla="*/ 352047 w 388701"/>
                <a:gd name="connsiteY62" fmla="*/ 89926 h 283136"/>
                <a:gd name="connsiteX63" fmla="*/ 349277 w 388701"/>
                <a:gd name="connsiteY63" fmla="*/ 93673 h 283136"/>
                <a:gd name="connsiteX64" fmla="*/ 345205 w 388701"/>
                <a:gd name="connsiteY64" fmla="*/ 93347 h 283136"/>
                <a:gd name="connsiteX65" fmla="*/ 344227 w 388701"/>
                <a:gd name="connsiteY65" fmla="*/ 90903 h 283136"/>
                <a:gd name="connsiteX66" fmla="*/ 344227 w 388701"/>
                <a:gd name="connsiteY66" fmla="*/ 90903 h 283136"/>
                <a:gd name="connsiteX67" fmla="*/ 258863 w 388701"/>
                <a:gd name="connsiteY67" fmla="*/ 38284 h 283136"/>
                <a:gd name="connsiteX68" fmla="*/ 270266 w 388701"/>
                <a:gd name="connsiteY68" fmla="*/ 45126 h 283136"/>
                <a:gd name="connsiteX69" fmla="*/ 278249 w 388701"/>
                <a:gd name="connsiteY69" fmla="*/ 47407 h 283136"/>
                <a:gd name="connsiteX70" fmla="*/ 287698 w 388701"/>
                <a:gd name="connsiteY70" fmla="*/ 55389 h 283136"/>
                <a:gd name="connsiteX71" fmla="*/ 294866 w 388701"/>
                <a:gd name="connsiteY71" fmla="*/ 56855 h 283136"/>
                <a:gd name="connsiteX72" fmla="*/ 298775 w 388701"/>
                <a:gd name="connsiteY72" fmla="*/ 61254 h 283136"/>
                <a:gd name="connsiteX73" fmla="*/ 304640 w 388701"/>
                <a:gd name="connsiteY73" fmla="*/ 64023 h 283136"/>
                <a:gd name="connsiteX74" fmla="*/ 309039 w 388701"/>
                <a:gd name="connsiteY74" fmla="*/ 71354 h 283136"/>
                <a:gd name="connsiteX75" fmla="*/ 312460 w 388701"/>
                <a:gd name="connsiteY75" fmla="*/ 71354 h 283136"/>
                <a:gd name="connsiteX76" fmla="*/ 314415 w 388701"/>
                <a:gd name="connsiteY76" fmla="*/ 82432 h 283136"/>
                <a:gd name="connsiteX77" fmla="*/ 317184 w 388701"/>
                <a:gd name="connsiteY77" fmla="*/ 83409 h 283136"/>
                <a:gd name="connsiteX78" fmla="*/ 317184 w 388701"/>
                <a:gd name="connsiteY78" fmla="*/ 87808 h 283136"/>
                <a:gd name="connsiteX79" fmla="*/ 314904 w 388701"/>
                <a:gd name="connsiteY79" fmla="*/ 92695 h 283136"/>
                <a:gd name="connsiteX80" fmla="*/ 313111 w 388701"/>
                <a:gd name="connsiteY80" fmla="*/ 98886 h 283136"/>
                <a:gd name="connsiteX81" fmla="*/ 307898 w 388701"/>
                <a:gd name="connsiteY81" fmla="*/ 93184 h 283136"/>
                <a:gd name="connsiteX82" fmla="*/ 306432 w 388701"/>
                <a:gd name="connsiteY82" fmla="*/ 87645 h 283136"/>
                <a:gd name="connsiteX83" fmla="*/ 308224 w 388701"/>
                <a:gd name="connsiteY83" fmla="*/ 83409 h 283136"/>
                <a:gd name="connsiteX84" fmla="*/ 304477 w 388701"/>
                <a:gd name="connsiteY84" fmla="*/ 70377 h 283136"/>
                <a:gd name="connsiteX85" fmla="*/ 295517 w 388701"/>
                <a:gd name="connsiteY85" fmla="*/ 60928 h 283136"/>
                <a:gd name="connsiteX86" fmla="*/ 289490 w 388701"/>
                <a:gd name="connsiteY86" fmla="*/ 60439 h 283136"/>
                <a:gd name="connsiteX87" fmla="*/ 280204 w 388701"/>
                <a:gd name="connsiteY87" fmla="*/ 55226 h 283136"/>
                <a:gd name="connsiteX88" fmla="*/ 262447 w 388701"/>
                <a:gd name="connsiteY88" fmla="*/ 44963 h 283136"/>
                <a:gd name="connsiteX89" fmla="*/ 259352 w 388701"/>
                <a:gd name="connsiteY89" fmla="*/ 41868 h 283136"/>
                <a:gd name="connsiteX90" fmla="*/ 258700 w 388701"/>
                <a:gd name="connsiteY90" fmla="*/ 38447 h 283136"/>
                <a:gd name="connsiteX91" fmla="*/ 258700 w 388701"/>
                <a:gd name="connsiteY91" fmla="*/ 38447 h 283136"/>
                <a:gd name="connsiteX92" fmla="*/ 223674 w 388701"/>
                <a:gd name="connsiteY92" fmla="*/ 163 h 283136"/>
                <a:gd name="connsiteX93" fmla="*/ 228236 w 388701"/>
                <a:gd name="connsiteY93" fmla="*/ 163 h 283136"/>
                <a:gd name="connsiteX94" fmla="*/ 231168 w 388701"/>
                <a:gd name="connsiteY94" fmla="*/ 4724 h 283136"/>
                <a:gd name="connsiteX95" fmla="*/ 231168 w 388701"/>
                <a:gd name="connsiteY95" fmla="*/ 7820 h 283136"/>
                <a:gd name="connsiteX96" fmla="*/ 224489 w 388701"/>
                <a:gd name="connsiteY96" fmla="*/ 3584 h 283136"/>
                <a:gd name="connsiteX97" fmla="*/ 223511 w 388701"/>
                <a:gd name="connsiteY97" fmla="*/ 0 h 283136"/>
                <a:gd name="connsiteX98" fmla="*/ 223511 w 388701"/>
                <a:gd name="connsiteY98" fmla="*/ 0 h 283136"/>
                <a:gd name="connsiteX99" fmla="*/ 238662 w 388701"/>
                <a:gd name="connsiteY99" fmla="*/ 37632 h 283136"/>
                <a:gd name="connsiteX100" fmla="*/ 244527 w 388701"/>
                <a:gd name="connsiteY100" fmla="*/ 35351 h 283136"/>
                <a:gd name="connsiteX101" fmla="*/ 247948 w 388701"/>
                <a:gd name="connsiteY101" fmla="*/ 37632 h 283136"/>
                <a:gd name="connsiteX102" fmla="*/ 247948 w 388701"/>
                <a:gd name="connsiteY102" fmla="*/ 42682 h 283136"/>
                <a:gd name="connsiteX103" fmla="*/ 242735 w 388701"/>
                <a:gd name="connsiteY103" fmla="*/ 44148 h 283136"/>
                <a:gd name="connsiteX104" fmla="*/ 238825 w 388701"/>
                <a:gd name="connsiteY104" fmla="*/ 41705 h 283136"/>
                <a:gd name="connsiteX105" fmla="*/ 238499 w 388701"/>
                <a:gd name="connsiteY105" fmla="*/ 37632 h 283136"/>
                <a:gd name="connsiteX106" fmla="*/ 238499 w 388701"/>
                <a:gd name="connsiteY106" fmla="*/ 37632 h 283136"/>
                <a:gd name="connsiteX107" fmla="*/ 236218 w 388701"/>
                <a:gd name="connsiteY107" fmla="*/ 100189 h 283136"/>
                <a:gd name="connsiteX108" fmla="*/ 241431 w 388701"/>
                <a:gd name="connsiteY108" fmla="*/ 105402 h 283136"/>
                <a:gd name="connsiteX109" fmla="*/ 244201 w 388701"/>
                <a:gd name="connsiteY109" fmla="*/ 102307 h 283136"/>
                <a:gd name="connsiteX110" fmla="*/ 240943 w 388701"/>
                <a:gd name="connsiteY110" fmla="*/ 97420 h 283136"/>
                <a:gd name="connsiteX111" fmla="*/ 237196 w 388701"/>
                <a:gd name="connsiteY111" fmla="*/ 97745 h 283136"/>
                <a:gd name="connsiteX112" fmla="*/ 236218 w 388701"/>
                <a:gd name="connsiteY112" fmla="*/ 100352 h 283136"/>
                <a:gd name="connsiteX113" fmla="*/ 236218 w 388701"/>
                <a:gd name="connsiteY113" fmla="*/ 100352 h 283136"/>
                <a:gd name="connsiteX114" fmla="*/ 194839 w 388701"/>
                <a:gd name="connsiteY114" fmla="*/ 112570 h 283136"/>
                <a:gd name="connsiteX115" fmla="*/ 191093 w 388701"/>
                <a:gd name="connsiteY115" fmla="*/ 119412 h 283136"/>
                <a:gd name="connsiteX116" fmla="*/ 195328 w 388701"/>
                <a:gd name="connsiteY116" fmla="*/ 124788 h 283136"/>
                <a:gd name="connsiteX117" fmla="*/ 200867 w 388701"/>
                <a:gd name="connsiteY117" fmla="*/ 125277 h 283136"/>
                <a:gd name="connsiteX118" fmla="*/ 209175 w 388701"/>
                <a:gd name="connsiteY118" fmla="*/ 131956 h 283136"/>
                <a:gd name="connsiteX119" fmla="*/ 210153 w 388701"/>
                <a:gd name="connsiteY119" fmla="*/ 134889 h 283136"/>
                <a:gd name="connsiteX120" fmla="*/ 213900 w 388701"/>
                <a:gd name="connsiteY120" fmla="*/ 132119 h 283136"/>
                <a:gd name="connsiteX121" fmla="*/ 222371 w 388701"/>
                <a:gd name="connsiteY121" fmla="*/ 132445 h 283136"/>
                <a:gd name="connsiteX122" fmla="*/ 224978 w 388701"/>
                <a:gd name="connsiteY122" fmla="*/ 137169 h 283136"/>
                <a:gd name="connsiteX123" fmla="*/ 231005 w 388701"/>
                <a:gd name="connsiteY123" fmla="*/ 138147 h 283136"/>
                <a:gd name="connsiteX124" fmla="*/ 235078 w 388701"/>
                <a:gd name="connsiteY124" fmla="*/ 137332 h 283136"/>
                <a:gd name="connsiteX125" fmla="*/ 244527 w 388701"/>
                <a:gd name="connsiteY125" fmla="*/ 135540 h 283136"/>
                <a:gd name="connsiteX126" fmla="*/ 249577 w 388701"/>
                <a:gd name="connsiteY126" fmla="*/ 137007 h 283136"/>
                <a:gd name="connsiteX127" fmla="*/ 253813 w 388701"/>
                <a:gd name="connsiteY127" fmla="*/ 135215 h 283136"/>
                <a:gd name="connsiteX128" fmla="*/ 260003 w 388701"/>
                <a:gd name="connsiteY128" fmla="*/ 137821 h 283136"/>
                <a:gd name="connsiteX129" fmla="*/ 261958 w 388701"/>
                <a:gd name="connsiteY129" fmla="*/ 135052 h 283136"/>
                <a:gd name="connsiteX130" fmla="*/ 261958 w 388701"/>
                <a:gd name="connsiteY130" fmla="*/ 131305 h 283136"/>
                <a:gd name="connsiteX131" fmla="*/ 268474 w 388701"/>
                <a:gd name="connsiteY131" fmla="*/ 131142 h 283136"/>
                <a:gd name="connsiteX132" fmla="*/ 277434 w 388701"/>
                <a:gd name="connsiteY132" fmla="*/ 119901 h 283136"/>
                <a:gd name="connsiteX133" fmla="*/ 277434 w 388701"/>
                <a:gd name="connsiteY133" fmla="*/ 116154 h 283136"/>
                <a:gd name="connsiteX134" fmla="*/ 281181 w 388701"/>
                <a:gd name="connsiteY134" fmla="*/ 115177 h 283136"/>
                <a:gd name="connsiteX135" fmla="*/ 284439 w 388701"/>
                <a:gd name="connsiteY135" fmla="*/ 117783 h 283136"/>
                <a:gd name="connsiteX136" fmla="*/ 290630 w 388701"/>
                <a:gd name="connsiteY136" fmla="*/ 115991 h 283136"/>
                <a:gd name="connsiteX137" fmla="*/ 293563 w 388701"/>
                <a:gd name="connsiteY137" fmla="*/ 111430 h 283136"/>
                <a:gd name="connsiteX138" fmla="*/ 288023 w 388701"/>
                <a:gd name="connsiteY138" fmla="*/ 106217 h 283136"/>
                <a:gd name="connsiteX139" fmla="*/ 287698 w 388701"/>
                <a:gd name="connsiteY139" fmla="*/ 102796 h 283136"/>
                <a:gd name="connsiteX140" fmla="*/ 291119 w 388701"/>
                <a:gd name="connsiteY140" fmla="*/ 100841 h 283136"/>
                <a:gd name="connsiteX141" fmla="*/ 293888 w 388701"/>
                <a:gd name="connsiteY141" fmla="*/ 102307 h 283136"/>
                <a:gd name="connsiteX142" fmla="*/ 299916 w 388701"/>
                <a:gd name="connsiteY142" fmla="*/ 96605 h 283136"/>
                <a:gd name="connsiteX143" fmla="*/ 299916 w 388701"/>
                <a:gd name="connsiteY143" fmla="*/ 85039 h 283136"/>
                <a:gd name="connsiteX144" fmla="*/ 294051 w 388701"/>
                <a:gd name="connsiteY144" fmla="*/ 79988 h 283136"/>
                <a:gd name="connsiteX145" fmla="*/ 290956 w 388701"/>
                <a:gd name="connsiteY145" fmla="*/ 82269 h 283136"/>
                <a:gd name="connsiteX146" fmla="*/ 289164 w 388701"/>
                <a:gd name="connsiteY146" fmla="*/ 84550 h 283136"/>
                <a:gd name="connsiteX147" fmla="*/ 285906 w 388701"/>
                <a:gd name="connsiteY147" fmla="*/ 81943 h 283136"/>
                <a:gd name="connsiteX148" fmla="*/ 279878 w 388701"/>
                <a:gd name="connsiteY148" fmla="*/ 81943 h 283136"/>
                <a:gd name="connsiteX149" fmla="*/ 277272 w 388701"/>
                <a:gd name="connsiteY149" fmla="*/ 85690 h 283136"/>
                <a:gd name="connsiteX150" fmla="*/ 279878 w 388701"/>
                <a:gd name="connsiteY150" fmla="*/ 96768 h 283136"/>
                <a:gd name="connsiteX151" fmla="*/ 281670 w 388701"/>
                <a:gd name="connsiteY151" fmla="*/ 98723 h 283136"/>
                <a:gd name="connsiteX152" fmla="*/ 279063 w 388701"/>
                <a:gd name="connsiteY152" fmla="*/ 101492 h 283136"/>
                <a:gd name="connsiteX153" fmla="*/ 274013 w 388701"/>
                <a:gd name="connsiteY153" fmla="*/ 101492 h 283136"/>
                <a:gd name="connsiteX154" fmla="*/ 264239 w 388701"/>
                <a:gd name="connsiteY154" fmla="*/ 109149 h 283136"/>
                <a:gd name="connsiteX155" fmla="*/ 262447 w 388701"/>
                <a:gd name="connsiteY155" fmla="*/ 114199 h 283136"/>
                <a:gd name="connsiteX156" fmla="*/ 259352 w 388701"/>
                <a:gd name="connsiteY156" fmla="*/ 116643 h 283136"/>
                <a:gd name="connsiteX157" fmla="*/ 256745 w 388701"/>
                <a:gd name="connsiteY157" fmla="*/ 115503 h 283136"/>
                <a:gd name="connsiteX158" fmla="*/ 252998 w 388701"/>
                <a:gd name="connsiteY158" fmla="*/ 117946 h 283136"/>
                <a:gd name="connsiteX159" fmla="*/ 249740 w 388701"/>
                <a:gd name="connsiteY159" fmla="*/ 114199 h 283136"/>
                <a:gd name="connsiteX160" fmla="*/ 246645 w 388701"/>
                <a:gd name="connsiteY160" fmla="*/ 114199 h 283136"/>
                <a:gd name="connsiteX161" fmla="*/ 242898 w 388701"/>
                <a:gd name="connsiteY161" fmla="*/ 118924 h 283136"/>
                <a:gd name="connsiteX162" fmla="*/ 239639 w 388701"/>
                <a:gd name="connsiteY162" fmla="*/ 118109 h 283136"/>
                <a:gd name="connsiteX163" fmla="*/ 238173 w 388701"/>
                <a:gd name="connsiteY163" fmla="*/ 111593 h 283136"/>
                <a:gd name="connsiteX164" fmla="*/ 239314 w 388701"/>
                <a:gd name="connsiteY164" fmla="*/ 107520 h 283136"/>
                <a:gd name="connsiteX165" fmla="*/ 235404 w 388701"/>
                <a:gd name="connsiteY165" fmla="*/ 105565 h 283136"/>
                <a:gd name="connsiteX166" fmla="*/ 232797 w 388701"/>
                <a:gd name="connsiteY166" fmla="*/ 108172 h 283136"/>
                <a:gd name="connsiteX167" fmla="*/ 233612 w 388701"/>
                <a:gd name="connsiteY167" fmla="*/ 111593 h 283136"/>
                <a:gd name="connsiteX168" fmla="*/ 229702 w 388701"/>
                <a:gd name="connsiteY168" fmla="*/ 114199 h 283136"/>
                <a:gd name="connsiteX169" fmla="*/ 224489 w 388701"/>
                <a:gd name="connsiteY169" fmla="*/ 113711 h 283136"/>
                <a:gd name="connsiteX170" fmla="*/ 218624 w 388701"/>
                <a:gd name="connsiteY170" fmla="*/ 116154 h 283136"/>
                <a:gd name="connsiteX171" fmla="*/ 214225 w 388701"/>
                <a:gd name="connsiteY171" fmla="*/ 116154 h 283136"/>
                <a:gd name="connsiteX172" fmla="*/ 210804 w 388701"/>
                <a:gd name="connsiteY172" fmla="*/ 114199 h 283136"/>
                <a:gd name="connsiteX173" fmla="*/ 206243 w 388701"/>
                <a:gd name="connsiteY173" fmla="*/ 114199 h 283136"/>
                <a:gd name="connsiteX174" fmla="*/ 200052 w 388701"/>
                <a:gd name="connsiteY174" fmla="*/ 115665 h 283136"/>
                <a:gd name="connsiteX175" fmla="*/ 195165 w 388701"/>
                <a:gd name="connsiteY175" fmla="*/ 112733 h 283136"/>
                <a:gd name="connsiteX176" fmla="*/ 195165 w 388701"/>
                <a:gd name="connsiteY176" fmla="*/ 112733 h 283136"/>
                <a:gd name="connsiteX177" fmla="*/ 176593 w 388701"/>
                <a:gd name="connsiteY177" fmla="*/ 117783 h 283136"/>
                <a:gd name="connsiteX178" fmla="*/ 179689 w 388701"/>
                <a:gd name="connsiteY178" fmla="*/ 114362 h 283136"/>
                <a:gd name="connsiteX179" fmla="*/ 183762 w 388701"/>
                <a:gd name="connsiteY179" fmla="*/ 117620 h 283136"/>
                <a:gd name="connsiteX180" fmla="*/ 185065 w 388701"/>
                <a:gd name="connsiteY180" fmla="*/ 122182 h 283136"/>
                <a:gd name="connsiteX181" fmla="*/ 183762 w 388701"/>
                <a:gd name="connsiteY181" fmla="*/ 124625 h 283136"/>
                <a:gd name="connsiteX182" fmla="*/ 179363 w 388701"/>
                <a:gd name="connsiteY182" fmla="*/ 121856 h 283136"/>
                <a:gd name="connsiteX183" fmla="*/ 176593 w 388701"/>
                <a:gd name="connsiteY183" fmla="*/ 117783 h 283136"/>
                <a:gd name="connsiteX184" fmla="*/ 176593 w 388701"/>
                <a:gd name="connsiteY184" fmla="*/ 117783 h 283136"/>
                <a:gd name="connsiteX185" fmla="*/ 162095 w 388701"/>
                <a:gd name="connsiteY185" fmla="*/ 107683 h 283136"/>
                <a:gd name="connsiteX186" fmla="*/ 159814 w 388701"/>
                <a:gd name="connsiteY186" fmla="*/ 111919 h 283136"/>
                <a:gd name="connsiteX187" fmla="*/ 162095 w 388701"/>
                <a:gd name="connsiteY187" fmla="*/ 115014 h 283136"/>
                <a:gd name="connsiteX188" fmla="*/ 165190 w 388701"/>
                <a:gd name="connsiteY188" fmla="*/ 114199 h 283136"/>
                <a:gd name="connsiteX189" fmla="*/ 165190 w 388701"/>
                <a:gd name="connsiteY189" fmla="*/ 109801 h 283136"/>
                <a:gd name="connsiteX190" fmla="*/ 162095 w 388701"/>
                <a:gd name="connsiteY190" fmla="*/ 107520 h 283136"/>
                <a:gd name="connsiteX191" fmla="*/ 162095 w 388701"/>
                <a:gd name="connsiteY191" fmla="*/ 107520 h 283136"/>
                <a:gd name="connsiteX192" fmla="*/ 136844 w 388701"/>
                <a:gd name="connsiteY192" fmla="*/ 91229 h 283136"/>
                <a:gd name="connsiteX193" fmla="*/ 131142 w 388701"/>
                <a:gd name="connsiteY193" fmla="*/ 93347 h 283136"/>
                <a:gd name="connsiteX194" fmla="*/ 132771 w 388701"/>
                <a:gd name="connsiteY194" fmla="*/ 97094 h 283136"/>
                <a:gd name="connsiteX195" fmla="*/ 136192 w 388701"/>
                <a:gd name="connsiteY195" fmla="*/ 94324 h 283136"/>
                <a:gd name="connsiteX196" fmla="*/ 136681 w 388701"/>
                <a:gd name="connsiteY196" fmla="*/ 91229 h 283136"/>
                <a:gd name="connsiteX197" fmla="*/ 136681 w 388701"/>
                <a:gd name="connsiteY197" fmla="*/ 91229 h 283136"/>
                <a:gd name="connsiteX198" fmla="*/ 299264 w 388701"/>
                <a:gd name="connsiteY198" fmla="*/ 208361 h 283136"/>
                <a:gd name="connsiteX199" fmla="*/ 297961 w 388701"/>
                <a:gd name="connsiteY199" fmla="*/ 212271 h 283136"/>
                <a:gd name="connsiteX200" fmla="*/ 299264 w 388701"/>
                <a:gd name="connsiteY200" fmla="*/ 215040 h 283136"/>
                <a:gd name="connsiteX201" fmla="*/ 301219 w 388701"/>
                <a:gd name="connsiteY201" fmla="*/ 214388 h 283136"/>
                <a:gd name="connsiteX202" fmla="*/ 306921 w 388701"/>
                <a:gd name="connsiteY202" fmla="*/ 218298 h 283136"/>
                <a:gd name="connsiteX203" fmla="*/ 306432 w 388701"/>
                <a:gd name="connsiteY203" fmla="*/ 215040 h 283136"/>
                <a:gd name="connsiteX204" fmla="*/ 299264 w 388701"/>
                <a:gd name="connsiteY204" fmla="*/ 208361 h 283136"/>
                <a:gd name="connsiteX205" fmla="*/ 299264 w 388701"/>
                <a:gd name="connsiteY205" fmla="*/ 208361 h 283136"/>
                <a:gd name="connsiteX206" fmla="*/ 260981 w 388701"/>
                <a:gd name="connsiteY206" fmla="*/ 192884 h 283136"/>
                <a:gd name="connsiteX207" fmla="*/ 259840 w 388701"/>
                <a:gd name="connsiteY207" fmla="*/ 194839 h 283136"/>
                <a:gd name="connsiteX208" fmla="*/ 261795 w 388701"/>
                <a:gd name="connsiteY208" fmla="*/ 198423 h 283136"/>
                <a:gd name="connsiteX209" fmla="*/ 262936 w 388701"/>
                <a:gd name="connsiteY209" fmla="*/ 198423 h 283136"/>
                <a:gd name="connsiteX210" fmla="*/ 263424 w 388701"/>
                <a:gd name="connsiteY210" fmla="*/ 201682 h 283136"/>
                <a:gd name="connsiteX211" fmla="*/ 262936 w 388701"/>
                <a:gd name="connsiteY211" fmla="*/ 203148 h 283136"/>
                <a:gd name="connsiteX212" fmla="*/ 263913 w 388701"/>
                <a:gd name="connsiteY212" fmla="*/ 203148 h 283136"/>
                <a:gd name="connsiteX213" fmla="*/ 264727 w 388701"/>
                <a:gd name="connsiteY213" fmla="*/ 199075 h 283136"/>
                <a:gd name="connsiteX214" fmla="*/ 263913 w 388701"/>
                <a:gd name="connsiteY214" fmla="*/ 192233 h 283136"/>
                <a:gd name="connsiteX215" fmla="*/ 261143 w 388701"/>
                <a:gd name="connsiteY215" fmla="*/ 192884 h 283136"/>
                <a:gd name="connsiteX216" fmla="*/ 261143 w 388701"/>
                <a:gd name="connsiteY216" fmla="*/ 192884 h 283136"/>
                <a:gd name="connsiteX217" fmla="*/ 250391 w 388701"/>
                <a:gd name="connsiteY217" fmla="*/ 230191 h 283136"/>
                <a:gd name="connsiteX218" fmla="*/ 253650 w 388701"/>
                <a:gd name="connsiteY218" fmla="*/ 230679 h 283136"/>
                <a:gd name="connsiteX219" fmla="*/ 255930 w 388701"/>
                <a:gd name="connsiteY219" fmla="*/ 232960 h 283136"/>
                <a:gd name="connsiteX220" fmla="*/ 256256 w 388701"/>
                <a:gd name="connsiteY220" fmla="*/ 234263 h 283136"/>
                <a:gd name="connsiteX221" fmla="*/ 258211 w 388701"/>
                <a:gd name="connsiteY221" fmla="*/ 234915 h 283136"/>
                <a:gd name="connsiteX222" fmla="*/ 258863 w 388701"/>
                <a:gd name="connsiteY222" fmla="*/ 236544 h 283136"/>
                <a:gd name="connsiteX223" fmla="*/ 262121 w 388701"/>
                <a:gd name="connsiteY223" fmla="*/ 233938 h 283136"/>
                <a:gd name="connsiteX224" fmla="*/ 264402 w 388701"/>
                <a:gd name="connsiteY224" fmla="*/ 233938 h 283136"/>
                <a:gd name="connsiteX225" fmla="*/ 264890 w 388701"/>
                <a:gd name="connsiteY225" fmla="*/ 236381 h 283136"/>
                <a:gd name="connsiteX226" fmla="*/ 262609 w 388701"/>
                <a:gd name="connsiteY226" fmla="*/ 238173 h 283136"/>
                <a:gd name="connsiteX227" fmla="*/ 261958 w 388701"/>
                <a:gd name="connsiteY227" fmla="*/ 240291 h 283136"/>
                <a:gd name="connsiteX228" fmla="*/ 259189 w 388701"/>
                <a:gd name="connsiteY228" fmla="*/ 241106 h 283136"/>
                <a:gd name="connsiteX229" fmla="*/ 255768 w 388701"/>
                <a:gd name="connsiteY229" fmla="*/ 240128 h 283136"/>
                <a:gd name="connsiteX230" fmla="*/ 255768 w 388701"/>
                <a:gd name="connsiteY230" fmla="*/ 237033 h 283136"/>
                <a:gd name="connsiteX231" fmla="*/ 254627 w 388701"/>
                <a:gd name="connsiteY231" fmla="*/ 236381 h 283136"/>
                <a:gd name="connsiteX232" fmla="*/ 252509 w 388701"/>
                <a:gd name="connsiteY232" fmla="*/ 232146 h 283136"/>
                <a:gd name="connsiteX233" fmla="*/ 250717 w 388701"/>
                <a:gd name="connsiteY233" fmla="*/ 231331 h 283136"/>
                <a:gd name="connsiteX234" fmla="*/ 250717 w 388701"/>
                <a:gd name="connsiteY234" fmla="*/ 230191 h 283136"/>
                <a:gd name="connsiteX235" fmla="*/ 250554 w 388701"/>
                <a:gd name="connsiteY235" fmla="*/ 230191 h 283136"/>
                <a:gd name="connsiteX236" fmla="*/ 245830 w 388701"/>
                <a:gd name="connsiteY236" fmla="*/ 222208 h 283136"/>
                <a:gd name="connsiteX237" fmla="*/ 246807 w 388701"/>
                <a:gd name="connsiteY237" fmla="*/ 226607 h 283136"/>
                <a:gd name="connsiteX238" fmla="*/ 249088 w 388701"/>
                <a:gd name="connsiteY238" fmla="*/ 227910 h 283136"/>
                <a:gd name="connsiteX239" fmla="*/ 252509 w 388701"/>
                <a:gd name="connsiteY239" fmla="*/ 227584 h 283136"/>
                <a:gd name="connsiteX240" fmla="*/ 253487 w 388701"/>
                <a:gd name="connsiteY240" fmla="*/ 229050 h 283136"/>
                <a:gd name="connsiteX241" fmla="*/ 254790 w 388701"/>
                <a:gd name="connsiteY241" fmla="*/ 227421 h 283136"/>
                <a:gd name="connsiteX242" fmla="*/ 253324 w 388701"/>
                <a:gd name="connsiteY242" fmla="*/ 225140 h 283136"/>
                <a:gd name="connsiteX243" fmla="*/ 251695 w 388701"/>
                <a:gd name="connsiteY243" fmla="*/ 225140 h 283136"/>
                <a:gd name="connsiteX244" fmla="*/ 252347 w 388701"/>
                <a:gd name="connsiteY244" fmla="*/ 224163 h 283136"/>
                <a:gd name="connsiteX245" fmla="*/ 251532 w 388701"/>
                <a:gd name="connsiteY245" fmla="*/ 222045 h 283136"/>
                <a:gd name="connsiteX246" fmla="*/ 249577 w 388701"/>
                <a:gd name="connsiteY246" fmla="*/ 222045 h 283136"/>
                <a:gd name="connsiteX247" fmla="*/ 246645 w 388701"/>
                <a:gd name="connsiteY247" fmla="*/ 221556 h 283136"/>
                <a:gd name="connsiteX248" fmla="*/ 245504 w 388701"/>
                <a:gd name="connsiteY248" fmla="*/ 222208 h 283136"/>
                <a:gd name="connsiteX249" fmla="*/ 245504 w 388701"/>
                <a:gd name="connsiteY249" fmla="*/ 222208 h 283136"/>
                <a:gd name="connsiteX250" fmla="*/ 234915 w 388701"/>
                <a:gd name="connsiteY250" fmla="*/ 217647 h 283136"/>
                <a:gd name="connsiteX251" fmla="*/ 236707 w 388701"/>
                <a:gd name="connsiteY251" fmla="*/ 222208 h 283136"/>
                <a:gd name="connsiteX252" fmla="*/ 238825 w 388701"/>
                <a:gd name="connsiteY252" fmla="*/ 221882 h 283136"/>
                <a:gd name="connsiteX253" fmla="*/ 240943 w 388701"/>
                <a:gd name="connsiteY253" fmla="*/ 224489 h 283136"/>
                <a:gd name="connsiteX254" fmla="*/ 242898 w 388701"/>
                <a:gd name="connsiteY254" fmla="*/ 224977 h 283136"/>
                <a:gd name="connsiteX255" fmla="*/ 242898 w 388701"/>
                <a:gd name="connsiteY255" fmla="*/ 221556 h 283136"/>
                <a:gd name="connsiteX256" fmla="*/ 240291 w 388701"/>
                <a:gd name="connsiteY256" fmla="*/ 217321 h 283136"/>
                <a:gd name="connsiteX257" fmla="*/ 237359 w 388701"/>
                <a:gd name="connsiteY257" fmla="*/ 215692 h 283136"/>
                <a:gd name="connsiteX258" fmla="*/ 234752 w 388701"/>
                <a:gd name="connsiteY258" fmla="*/ 217321 h 283136"/>
                <a:gd name="connsiteX259" fmla="*/ 234752 w 388701"/>
                <a:gd name="connsiteY259" fmla="*/ 217321 h 283136"/>
                <a:gd name="connsiteX260" fmla="*/ 106868 w 388701"/>
                <a:gd name="connsiteY260" fmla="*/ 175290 h 283136"/>
                <a:gd name="connsiteX261" fmla="*/ 105239 w 388701"/>
                <a:gd name="connsiteY261" fmla="*/ 176593 h 283136"/>
                <a:gd name="connsiteX262" fmla="*/ 106868 w 388701"/>
                <a:gd name="connsiteY262" fmla="*/ 179037 h 283136"/>
                <a:gd name="connsiteX263" fmla="*/ 106868 w 388701"/>
                <a:gd name="connsiteY263" fmla="*/ 175290 h 283136"/>
                <a:gd name="connsiteX264" fmla="*/ 106868 w 388701"/>
                <a:gd name="connsiteY264" fmla="*/ 175290 h 283136"/>
                <a:gd name="connsiteX265" fmla="*/ 96442 w 388701"/>
                <a:gd name="connsiteY265" fmla="*/ 176268 h 283136"/>
                <a:gd name="connsiteX266" fmla="*/ 95791 w 388701"/>
                <a:gd name="connsiteY266" fmla="*/ 174313 h 283136"/>
                <a:gd name="connsiteX267" fmla="*/ 97909 w 388701"/>
                <a:gd name="connsiteY267" fmla="*/ 173987 h 283136"/>
                <a:gd name="connsiteX268" fmla="*/ 96605 w 388701"/>
                <a:gd name="connsiteY268" fmla="*/ 176268 h 283136"/>
                <a:gd name="connsiteX269" fmla="*/ 96605 w 388701"/>
                <a:gd name="connsiteY269" fmla="*/ 176268 h 283136"/>
                <a:gd name="connsiteX270" fmla="*/ 88786 w 388701"/>
                <a:gd name="connsiteY270" fmla="*/ 174150 h 283136"/>
                <a:gd name="connsiteX271" fmla="*/ 88460 w 388701"/>
                <a:gd name="connsiteY271" fmla="*/ 176919 h 283136"/>
                <a:gd name="connsiteX272" fmla="*/ 91555 w 388701"/>
                <a:gd name="connsiteY272" fmla="*/ 177408 h 283136"/>
                <a:gd name="connsiteX273" fmla="*/ 91066 w 388701"/>
                <a:gd name="connsiteY273" fmla="*/ 175779 h 283136"/>
                <a:gd name="connsiteX274" fmla="*/ 88786 w 388701"/>
                <a:gd name="connsiteY274" fmla="*/ 173987 h 283136"/>
                <a:gd name="connsiteX275" fmla="*/ 88786 w 388701"/>
                <a:gd name="connsiteY275" fmla="*/ 173987 h 283136"/>
                <a:gd name="connsiteX276" fmla="*/ 94813 w 388701"/>
                <a:gd name="connsiteY276" fmla="*/ 176593 h 283136"/>
                <a:gd name="connsiteX277" fmla="*/ 91555 w 388701"/>
                <a:gd name="connsiteY277" fmla="*/ 173173 h 283136"/>
                <a:gd name="connsiteX278" fmla="*/ 93021 w 388701"/>
                <a:gd name="connsiteY278" fmla="*/ 170403 h 283136"/>
                <a:gd name="connsiteX279" fmla="*/ 95628 w 388701"/>
                <a:gd name="connsiteY279" fmla="*/ 170729 h 283136"/>
                <a:gd name="connsiteX280" fmla="*/ 94488 w 388701"/>
                <a:gd name="connsiteY280" fmla="*/ 174313 h 283136"/>
                <a:gd name="connsiteX281" fmla="*/ 94813 w 388701"/>
                <a:gd name="connsiteY281" fmla="*/ 176593 h 283136"/>
                <a:gd name="connsiteX282" fmla="*/ 94813 w 388701"/>
                <a:gd name="connsiteY282" fmla="*/ 176593 h 283136"/>
                <a:gd name="connsiteX283" fmla="*/ 76404 w 388701"/>
                <a:gd name="connsiteY283" fmla="*/ 175779 h 283136"/>
                <a:gd name="connsiteX284" fmla="*/ 78522 w 388701"/>
                <a:gd name="connsiteY284" fmla="*/ 180015 h 283136"/>
                <a:gd name="connsiteX285" fmla="*/ 80314 w 388701"/>
                <a:gd name="connsiteY285" fmla="*/ 180503 h 283136"/>
                <a:gd name="connsiteX286" fmla="*/ 78685 w 388701"/>
                <a:gd name="connsiteY286" fmla="*/ 177571 h 283136"/>
                <a:gd name="connsiteX287" fmla="*/ 76404 w 388701"/>
                <a:gd name="connsiteY287" fmla="*/ 175616 h 283136"/>
                <a:gd name="connsiteX288" fmla="*/ 76404 w 388701"/>
                <a:gd name="connsiteY288" fmla="*/ 175616 h 283136"/>
                <a:gd name="connsiteX289" fmla="*/ 67770 w 388701"/>
                <a:gd name="connsiteY289" fmla="*/ 196306 h 283136"/>
                <a:gd name="connsiteX290" fmla="*/ 70703 w 388701"/>
                <a:gd name="connsiteY290" fmla="*/ 193373 h 283136"/>
                <a:gd name="connsiteX291" fmla="*/ 74613 w 388701"/>
                <a:gd name="connsiteY291" fmla="*/ 193373 h 283136"/>
                <a:gd name="connsiteX292" fmla="*/ 73309 w 388701"/>
                <a:gd name="connsiteY292" fmla="*/ 195817 h 283136"/>
                <a:gd name="connsiteX293" fmla="*/ 67770 w 388701"/>
                <a:gd name="connsiteY293" fmla="*/ 196306 h 283136"/>
                <a:gd name="connsiteX294" fmla="*/ 67770 w 388701"/>
                <a:gd name="connsiteY294" fmla="*/ 196306 h 283136"/>
                <a:gd name="connsiteX295" fmla="*/ 67445 w 388701"/>
                <a:gd name="connsiteY295" fmla="*/ 199401 h 283136"/>
                <a:gd name="connsiteX296" fmla="*/ 69399 w 388701"/>
                <a:gd name="connsiteY296" fmla="*/ 200867 h 283136"/>
                <a:gd name="connsiteX297" fmla="*/ 68748 w 388701"/>
                <a:gd name="connsiteY297" fmla="*/ 198586 h 283136"/>
                <a:gd name="connsiteX298" fmla="*/ 67445 w 388701"/>
                <a:gd name="connsiteY298" fmla="*/ 199401 h 283136"/>
                <a:gd name="connsiteX299" fmla="*/ 67445 w 388701"/>
                <a:gd name="connsiteY299" fmla="*/ 199401 h 283136"/>
                <a:gd name="connsiteX300" fmla="*/ 61580 w 388701"/>
                <a:gd name="connsiteY300" fmla="*/ 196468 h 283136"/>
                <a:gd name="connsiteX301" fmla="*/ 64675 w 388701"/>
                <a:gd name="connsiteY301" fmla="*/ 197935 h 283136"/>
                <a:gd name="connsiteX302" fmla="*/ 65979 w 388701"/>
                <a:gd name="connsiteY302" fmla="*/ 196306 h 283136"/>
                <a:gd name="connsiteX303" fmla="*/ 61580 w 388701"/>
                <a:gd name="connsiteY303" fmla="*/ 196306 h 283136"/>
                <a:gd name="connsiteX304" fmla="*/ 59788 w 388701"/>
                <a:gd name="connsiteY304" fmla="*/ 198749 h 283136"/>
                <a:gd name="connsiteX305" fmla="*/ 66956 w 388701"/>
                <a:gd name="connsiteY305" fmla="*/ 201844 h 283136"/>
                <a:gd name="connsiteX306" fmla="*/ 70214 w 388701"/>
                <a:gd name="connsiteY306" fmla="*/ 205754 h 283136"/>
                <a:gd name="connsiteX307" fmla="*/ 59625 w 388701"/>
                <a:gd name="connsiteY307" fmla="*/ 198749 h 283136"/>
                <a:gd name="connsiteX308" fmla="*/ 59625 w 388701"/>
                <a:gd name="connsiteY308" fmla="*/ 198749 h 283136"/>
                <a:gd name="connsiteX309" fmla="*/ 66793 w 388701"/>
                <a:gd name="connsiteY309" fmla="*/ 186205 h 283136"/>
                <a:gd name="connsiteX310" fmla="*/ 71191 w 388701"/>
                <a:gd name="connsiteY310" fmla="*/ 187020 h 283136"/>
                <a:gd name="connsiteX311" fmla="*/ 70051 w 388701"/>
                <a:gd name="connsiteY311" fmla="*/ 188160 h 283136"/>
                <a:gd name="connsiteX312" fmla="*/ 67445 w 388701"/>
                <a:gd name="connsiteY312" fmla="*/ 187671 h 283136"/>
                <a:gd name="connsiteX313" fmla="*/ 66630 w 388701"/>
                <a:gd name="connsiteY313" fmla="*/ 186205 h 283136"/>
                <a:gd name="connsiteX314" fmla="*/ 66630 w 388701"/>
                <a:gd name="connsiteY314" fmla="*/ 186205 h 283136"/>
                <a:gd name="connsiteX315" fmla="*/ 73309 w 388701"/>
                <a:gd name="connsiteY315" fmla="*/ 185228 h 283136"/>
                <a:gd name="connsiteX316" fmla="*/ 71191 w 388701"/>
                <a:gd name="connsiteY316" fmla="*/ 182621 h 283136"/>
                <a:gd name="connsiteX317" fmla="*/ 71191 w 388701"/>
                <a:gd name="connsiteY317" fmla="*/ 180177 h 283136"/>
                <a:gd name="connsiteX318" fmla="*/ 74287 w 388701"/>
                <a:gd name="connsiteY318" fmla="*/ 177571 h 283136"/>
                <a:gd name="connsiteX319" fmla="*/ 75916 w 388701"/>
                <a:gd name="connsiteY319" fmla="*/ 182947 h 283136"/>
                <a:gd name="connsiteX320" fmla="*/ 75264 w 388701"/>
                <a:gd name="connsiteY320" fmla="*/ 185065 h 283136"/>
                <a:gd name="connsiteX321" fmla="*/ 73472 w 388701"/>
                <a:gd name="connsiteY321" fmla="*/ 185228 h 283136"/>
                <a:gd name="connsiteX322" fmla="*/ 73472 w 388701"/>
                <a:gd name="connsiteY322" fmla="*/ 185228 h 283136"/>
                <a:gd name="connsiteX323" fmla="*/ 5865 w 388701"/>
                <a:gd name="connsiteY323" fmla="*/ 41216 h 283136"/>
                <a:gd name="connsiteX324" fmla="*/ 2607 w 388701"/>
                <a:gd name="connsiteY324" fmla="*/ 137169 h 283136"/>
                <a:gd name="connsiteX325" fmla="*/ 1140 w 388701"/>
                <a:gd name="connsiteY325" fmla="*/ 144500 h 283136"/>
                <a:gd name="connsiteX326" fmla="*/ 1140 w 388701"/>
                <a:gd name="connsiteY326" fmla="*/ 148573 h 283136"/>
                <a:gd name="connsiteX327" fmla="*/ 2118 w 388701"/>
                <a:gd name="connsiteY327" fmla="*/ 150691 h 283136"/>
                <a:gd name="connsiteX328" fmla="*/ 0 w 388701"/>
                <a:gd name="connsiteY328" fmla="*/ 212922 h 283136"/>
                <a:gd name="connsiteX329" fmla="*/ 8797 w 388701"/>
                <a:gd name="connsiteY329" fmla="*/ 212922 h 283136"/>
                <a:gd name="connsiteX330" fmla="*/ 11566 w 388701"/>
                <a:gd name="connsiteY330" fmla="*/ 214714 h 283136"/>
                <a:gd name="connsiteX331" fmla="*/ 16128 w 388701"/>
                <a:gd name="connsiteY331" fmla="*/ 213411 h 283136"/>
                <a:gd name="connsiteX332" fmla="*/ 29813 w 388701"/>
                <a:gd name="connsiteY332" fmla="*/ 213900 h 283136"/>
                <a:gd name="connsiteX333" fmla="*/ 33071 w 388701"/>
                <a:gd name="connsiteY333" fmla="*/ 212922 h 283136"/>
                <a:gd name="connsiteX334" fmla="*/ 34374 w 388701"/>
                <a:gd name="connsiteY334" fmla="*/ 216017 h 283136"/>
                <a:gd name="connsiteX335" fmla="*/ 37469 w 388701"/>
                <a:gd name="connsiteY335" fmla="*/ 219276 h 283136"/>
                <a:gd name="connsiteX336" fmla="*/ 41542 w 388701"/>
                <a:gd name="connsiteY336" fmla="*/ 220416 h 283136"/>
                <a:gd name="connsiteX337" fmla="*/ 47081 w 388701"/>
                <a:gd name="connsiteY337" fmla="*/ 217158 h 283136"/>
                <a:gd name="connsiteX338" fmla="*/ 56041 w 388701"/>
                <a:gd name="connsiteY338" fmla="*/ 214551 h 283136"/>
                <a:gd name="connsiteX339" fmla="*/ 56693 w 388701"/>
                <a:gd name="connsiteY339" fmla="*/ 212108 h 283136"/>
                <a:gd name="connsiteX340" fmla="*/ 58973 w 388701"/>
                <a:gd name="connsiteY340" fmla="*/ 213900 h 283136"/>
                <a:gd name="connsiteX341" fmla="*/ 61417 w 388701"/>
                <a:gd name="connsiteY341" fmla="*/ 211130 h 283136"/>
                <a:gd name="connsiteX342" fmla="*/ 61091 w 388701"/>
                <a:gd name="connsiteY342" fmla="*/ 203962 h 283136"/>
                <a:gd name="connsiteX343" fmla="*/ 54412 w 388701"/>
                <a:gd name="connsiteY343" fmla="*/ 198749 h 283136"/>
                <a:gd name="connsiteX344" fmla="*/ 47081 w 388701"/>
                <a:gd name="connsiteY344" fmla="*/ 195654 h 283136"/>
                <a:gd name="connsiteX345" fmla="*/ 40727 w 388701"/>
                <a:gd name="connsiteY345" fmla="*/ 194514 h 283136"/>
                <a:gd name="connsiteX346" fmla="*/ 38121 w 388701"/>
                <a:gd name="connsiteY346" fmla="*/ 192233 h 283136"/>
                <a:gd name="connsiteX347" fmla="*/ 34374 w 388701"/>
                <a:gd name="connsiteY347" fmla="*/ 190766 h 283136"/>
                <a:gd name="connsiteX348" fmla="*/ 32745 w 388701"/>
                <a:gd name="connsiteY348" fmla="*/ 190766 h 283136"/>
                <a:gd name="connsiteX349" fmla="*/ 30138 w 388701"/>
                <a:gd name="connsiteY349" fmla="*/ 188812 h 283136"/>
                <a:gd name="connsiteX350" fmla="*/ 28998 w 388701"/>
                <a:gd name="connsiteY350" fmla="*/ 182784 h 283136"/>
                <a:gd name="connsiteX351" fmla="*/ 24599 w 388701"/>
                <a:gd name="connsiteY351" fmla="*/ 176919 h 283136"/>
                <a:gd name="connsiteX352" fmla="*/ 19875 w 388701"/>
                <a:gd name="connsiteY352" fmla="*/ 174639 h 283136"/>
                <a:gd name="connsiteX353" fmla="*/ 18898 w 388701"/>
                <a:gd name="connsiteY353" fmla="*/ 171217 h 283136"/>
                <a:gd name="connsiteX354" fmla="*/ 15965 w 388701"/>
                <a:gd name="connsiteY354" fmla="*/ 168285 h 283136"/>
                <a:gd name="connsiteX355" fmla="*/ 19386 w 388701"/>
                <a:gd name="connsiteY355" fmla="*/ 170566 h 283136"/>
                <a:gd name="connsiteX356" fmla="*/ 20690 w 388701"/>
                <a:gd name="connsiteY356" fmla="*/ 174313 h 283136"/>
                <a:gd name="connsiteX357" fmla="*/ 23785 w 388701"/>
                <a:gd name="connsiteY357" fmla="*/ 175127 h 283136"/>
                <a:gd name="connsiteX358" fmla="*/ 29487 w 388701"/>
                <a:gd name="connsiteY358" fmla="*/ 178874 h 283136"/>
                <a:gd name="connsiteX359" fmla="*/ 30301 w 388701"/>
                <a:gd name="connsiteY359" fmla="*/ 183273 h 283136"/>
                <a:gd name="connsiteX360" fmla="*/ 30953 w 388701"/>
                <a:gd name="connsiteY360" fmla="*/ 188323 h 283136"/>
                <a:gd name="connsiteX361" fmla="*/ 32908 w 388701"/>
                <a:gd name="connsiteY361" fmla="*/ 188323 h 283136"/>
                <a:gd name="connsiteX362" fmla="*/ 39424 w 388701"/>
                <a:gd name="connsiteY362" fmla="*/ 190278 h 283136"/>
                <a:gd name="connsiteX363" fmla="*/ 42845 w 388701"/>
                <a:gd name="connsiteY363" fmla="*/ 193536 h 283136"/>
                <a:gd name="connsiteX364" fmla="*/ 45452 w 388701"/>
                <a:gd name="connsiteY364" fmla="*/ 193047 h 283136"/>
                <a:gd name="connsiteX365" fmla="*/ 51479 w 388701"/>
                <a:gd name="connsiteY365" fmla="*/ 193373 h 283136"/>
                <a:gd name="connsiteX366" fmla="*/ 58647 w 388701"/>
                <a:gd name="connsiteY366" fmla="*/ 191581 h 283136"/>
                <a:gd name="connsiteX367" fmla="*/ 63698 w 388701"/>
                <a:gd name="connsiteY367" fmla="*/ 191907 h 283136"/>
                <a:gd name="connsiteX368" fmla="*/ 67933 w 388701"/>
                <a:gd name="connsiteY368" fmla="*/ 190604 h 283136"/>
                <a:gd name="connsiteX369" fmla="*/ 66630 w 388701"/>
                <a:gd name="connsiteY369" fmla="*/ 188323 h 283136"/>
                <a:gd name="connsiteX370" fmla="*/ 62883 w 388701"/>
                <a:gd name="connsiteY370" fmla="*/ 185879 h 283136"/>
                <a:gd name="connsiteX371" fmla="*/ 61091 w 388701"/>
                <a:gd name="connsiteY371" fmla="*/ 182458 h 283136"/>
                <a:gd name="connsiteX372" fmla="*/ 57670 w 388701"/>
                <a:gd name="connsiteY372" fmla="*/ 182784 h 283136"/>
                <a:gd name="connsiteX373" fmla="*/ 55878 w 388701"/>
                <a:gd name="connsiteY373" fmla="*/ 179363 h 283136"/>
                <a:gd name="connsiteX374" fmla="*/ 58810 w 388701"/>
                <a:gd name="connsiteY374" fmla="*/ 181969 h 283136"/>
                <a:gd name="connsiteX375" fmla="*/ 63861 w 388701"/>
                <a:gd name="connsiteY375" fmla="*/ 180666 h 283136"/>
                <a:gd name="connsiteX376" fmla="*/ 67770 w 388701"/>
                <a:gd name="connsiteY376" fmla="*/ 185065 h 283136"/>
                <a:gd name="connsiteX377" fmla="*/ 72495 w 388701"/>
                <a:gd name="connsiteY377" fmla="*/ 185879 h 283136"/>
                <a:gd name="connsiteX378" fmla="*/ 70214 w 388701"/>
                <a:gd name="connsiteY378" fmla="*/ 182947 h 283136"/>
                <a:gd name="connsiteX379" fmla="*/ 70214 w 388701"/>
                <a:gd name="connsiteY379" fmla="*/ 179363 h 283136"/>
                <a:gd name="connsiteX380" fmla="*/ 72657 w 388701"/>
                <a:gd name="connsiteY380" fmla="*/ 177571 h 283136"/>
                <a:gd name="connsiteX381" fmla="*/ 72983 w 388701"/>
                <a:gd name="connsiteY381" fmla="*/ 174801 h 283136"/>
                <a:gd name="connsiteX382" fmla="*/ 72495 w 388701"/>
                <a:gd name="connsiteY382" fmla="*/ 170892 h 283136"/>
                <a:gd name="connsiteX383" fmla="*/ 68748 w 388701"/>
                <a:gd name="connsiteY383" fmla="*/ 167308 h 283136"/>
                <a:gd name="connsiteX384" fmla="*/ 68748 w 388701"/>
                <a:gd name="connsiteY384" fmla="*/ 165516 h 283136"/>
                <a:gd name="connsiteX385" fmla="*/ 73147 w 388701"/>
                <a:gd name="connsiteY385" fmla="*/ 167471 h 283136"/>
                <a:gd name="connsiteX386" fmla="*/ 74938 w 388701"/>
                <a:gd name="connsiteY386" fmla="*/ 170566 h 283136"/>
                <a:gd name="connsiteX387" fmla="*/ 79988 w 388701"/>
                <a:gd name="connsiteY387" fmla="*/ 175127 h 283136"/>
                <a:gd name="connsiteX388" fmla="*/ 83736 w 388701"/>
                <a:gd name="connsiteY388" fmla="*/ 176105 h 283136"/>
                <a:gd name="connsiteX389" fmla="*/ 84061 w 388701"/>
                <a:gd name="connsiteY389" fmla="*/ 173661 h 283136"/>
                <a:gd name="connsiteX390" fmla="*/ 83084 w 388701"/>
                <a:gd name="connsiteY390" fmla="*/ 170240 h 283136"/>
                <a:gd name="connsiteX391" fmla="*/ 84387 w 388701"/>
                <a:gd name="connsiteY391" fmla="*/ 171380 h 283136"/>
                <a:gd name="connsiteX392" fmla="*/ 85690 w 388701"/>
                <a:gd name="connsiteY392" fmla="*/ 175942 h 283136"/>
                <a:gd name="connsiteX393" fmla="*/ 87808 w 388701"/>
                <a:gd name="connsiteY393" fmla="*/ 175616 h 283136"/>
                <a:gd name="connsiteX394" fmla="*/ 87808 w 388701"/>
                <a:gd name="connsiteY394" fmla="*/ 172195 h 283136"/>
                <a:gd name="connsiteX395" fmla="*/ 86505 w 388701"/>
                <a:gd name="connsiteY395" fmla="*/ 169263 h 283136"/>
                <a:gd name="connsiteX396" fmla="*/ 87971 w 388701"/>
                <a:gd name="connsiteY396" fmla="*/ 163887 h 283136"/>
                <a:gd name="connsiteX397" fmla="*/ 90089 w 388701"/>
                <a:gd name="connsiteY397" fmla="*/ 166656 h 283136"/>
                <a:gd name="connsiteX398" fmla="*/ 96279 w 388701"/>
                <a:gd name="connsiteY398" fmla="*/ 168611 h 283136"/>
                <a:gd name="connsiteX399" fmla="*/ 97745 w 388701"/>
                <a:gd name="connsiteY399" fmla="*/ 172358 h 283136"/>
                <a:gd name="connsiteX400" fmla="*/ 101004 w 388701"/>
                <a:gd name="connsiteY400" fmla="*/ 173173 h 283136"/>
                <a:gd name="connsiteX401" fmla="*/ 104099 w 388701"/>
                <a:gd name="connsiteY401" fmla="*/ 173173 h 283136"/>
                <a:gd name="connsiteX402" fmla="*/ 105728 w 388701"/>
                <a:gd name="connsiteY402" fmla="*/ 174313 h 283136"/>
                <a:gd name="connsiteX403" fmla="*/ 108172 w 388701"/>
                <a:gd name="connsiteY403" fmla="*/ 171380 h 283136"/>
                <a:gd name="connsiteX404" fmla="*/ 107846 w 388701"/>
                <a:gd name="connsiteY404" fmla="*/ 174801 h 283136"/>
                <a:gd name="connsiteX405" fmla="*/ 107846 w 388701"/>
                <a:gd name="connsiteY405" fmla="*/ 177897 h 283136"/>
                <a:gd name="connsiteX406" fmla="*/ 110615 w 388701"/>
                <a:gd name="connsiteY406" fmla="*/ 178548 h 283136"/>
                <a:gd name="connsiteX407" fmla="*/ 113874 w 388701"/>
                <a:gd name="connsiteY407" fmla="*/ 181807 h 283136"/>
                <a:gd name="connsiteX408" fmla="*/ 127721 w 388701"/>
                <a:gd name="connsiteY408" fmla="*/ 185065 h 283136"/>
                <a:gd name="connsiteX409" fmla="*/ 131957 w 388701"/>
                <a:gd name="connsiteY409" fmla="*/ 187346 h 283136"/>
                <a:gd name="connsiteX410" fmla="*/ 135704 w 388701"/>
                <a:gd name="connsiteY410" fmla="*/ 192070 h 283136"/>
                <a:gd name="connsiteX411" fmla="*/ 137821 w 388701"/>
                <a:gd name="connsiteY411" fmla="*/ 199075 h 283136"/>
                <a:gd name="connsiteX412" fmla="*/ 144663 w 388701"/>
                <a:gd name="connsiteY412" fmla="*/ 207709 h 283136"/>
                <a:gd name="connsiteX413" fmla="*/ 145804 w 388701"/>
                <a:gd name="connsiteY413" fmla="*/ 211130 h 283136"/>
                <a:gd name="connsiteX414" fmla="*/ 150528 w 388701"/>
                <a:gd name="connsiteY414" fmla="*/ 212433 h 283136"/>
                <a:gd name="connsiteX415" fmla="*/ 153135 w 388701"/>
                <a:gd name="connsiteY415" fmla="*/ 216506 h 283136"/>
                <a:gd name="connsiteX416" fmla="*/ 154112 w 388701"/>
                <a:gd name="connsiteY416" fmla="*/ 219439 h 283136"/>
                <a:gd name="connsiteX417" fmla="*/ 166004 w 388701"/>
                <a:gd name="connsiteY417" fmla="*/ 231657 h 283136"/>
                <a:gd name="connsiteX418" fmla="*/ 166330 w 388701"/>
                <a:gd name="connsiteY418" fmla="*/ 235566 h 283136"/>
                <a:gd name="connsiteX419" fmla="*/ 170892 w 388701"/>
                <a:gd name="connsiteY419" fmla="*/ 238662 h 283136"/>
                <a:gd name="connsiteX420" fmla="*/ 178060 w 388701"/>
                <a:gd name="connsiteY420" fmla="*/ 241106 h 283136"/>
                <a:gd name="connsiteX421" fmla="*/ 180829 w 388701"/>
                <a:gd name="connsiteY421" fmla="*/ 239965 h 283136"/>
                <a:gd name="connsiteX422" fmla="*/ 183436 w 388701"/>
                <a:gd name="connsiteY422" fmla="*/ 239965 h 283136"/>
                <a:gd name="connsiteX423" fmla="*/ 187346 w 388701"/>
                <a:gd name="connsiteY423" fmla="*/ 241594 h 283136"/>
                <a:gd name="connsiteX424" fmla="*/ 195165 w 388701"/>
                <a:gd name="connsiteY424" fmla="*/ 240454 h 283136"/>
                <a:gd name="connsiteX425" fmla="*/ 200541 w 388701"/>
                <a:gd name="connsiteY425" fmla="*/ 242572 h 283136"/>
                <a:gd name="connsiteX426" fmla="*/ 205103 w 388701"/>
                <a:gd name="connsiteY426" fmla="*/ 242246 h 283136"/>
                <a:gd name="connsiteX427" fmla="*/ 212922 w 388701"/>
                <a:gd name="connsiteY427" fmla="*/ 243549 h 283136"/>
                <a:gd name="connsiteX428" fmla="*/ 216669 w 388701"/>
                <a:gd name="connsiteY428" fmla="*/ 245830 h 283136"/>
                <a:gd name="connsiteX429" fmla="*/ 222371 w 388701"/>
                <a:gd name="connsiteY429" fmla="*/ 244852 h 283136"/>
                <a:gd name="connsiteX430" fmla="*/ 224815 w 388701"/>
                <a:gd name="connsiteY430" fmla="*/ 247948 h 283136"/>
                <a:gd name="connsiteX431" fmla="*/ 230028 w 388701"/>
                <a:gd name="connsiteY431" fmla="*/ 247622 h 283136"/>
                <a:gd name="connsiteX432" fmla="*/ 230842 w 388701"/>
                <a:gd name="connsiteY432" fmla="*/ 249251 h 283136"/>
                <a:gd name="connsiteX433" fmla="*/ 227910 w 388701"/>
                <a:gd name="connsiteY433" fmla="*/ 251532 h 283136"/>
                <a:gd name="connsiteX434" fmla="*/ 232960 w 388701"/>
                <a:gd name="connsiteY434" fmla="*/ 252835 h 283136"/>
                <a:gd name="connsiteX435" fmla="*/ 238825 w 388701"/>
                <a:gd name="connsiteY435" fmla="*/ 256256 h 283136"/>
                <a:gd name="connsiteX436" fmla="*/ 244527 w 388701"/>
                <a:gd name="connsiteY436" fmla="*/ 254790 h 283136"/>
                <a:gd name="connsiteX437" fmla="*/ 246156 w 388701"/>
                <a:gd name="connsiteY437" fmla="*/ 251532 h 283136"/>
                <a:gd name="connsiteX438" fmla="*/ 239802 w 388701"/>
                <a:gd name="connsiteY438" fmla="*/ 247785 h 283136"/>
                <a:gd name="connsiteX439" fmla="*/ 237847 w 388701"/>
                <a:gd name="connsiteY439" fmla="*/ 247785 h 283136"/>
                <a:gd name="connsiteX440" fmla="*/ 237847 w 388701"/>
                <a:gd name="connsiteY440" fmla="*/ 245341 h 283136"/>
                <a:gd name="connsiteX441" fmla="*/ 242409 w 388701"/>
                <a:gd name="connsiteY441" fmla="*/ 243712 h 283136"/>
                <a:gd name="connsiteX442" fmla="*/ 246482 w 388701"/>
                <a:gd name="connsiteY442" fmla="*/ 245504 h 283136"/>
                <a:gd name="connsiteX443" fmla="*/ 251043 w 388701"/>
                <a:gd name="connsiteY443" fmla="*/ 242409 h 283136"/>
                <a:gd name="connsiteX444" fmla="*/ 241431 w 388701"/>
                <a:gd name="connsiteY444" fmla="*/ 240617 h 283136"/>
                <a:gd name="connsiteX445" fmla="*/ 230516 w 388701"/>
                <a:gd name="connsiteY445" fmla="*/ 239151 h 283136"/>
                <a:gd name="connsiteX446" fmla="*/ 223838 w 388701"/>
                <a:gd name="connsiteY446" fmla="*/ 235566 h 283136"/>
                <a:gd name="connsiteX447" fmla="*/ 221393 w 388701"/>
                <a:gd name="connsiteY447" fmla="*/ 232634 h 283136"/>
                <a:gd name="connsiteX448" fmla="*/ 227258 w 388701"/>
                <a:gd name="connsiteY448" fmla="*/ 230028 h 283136"/>
                <a:gd name="connsiteX449" fmla="*/ 231005 w 388701"/>
                <a:gd name="connsiteY449" fmla="*/ 230354 h 283136"/>
                <a:gd name="connsiteX450" fmla="*/ 233286 w 388701"/>
                <a:gd name="connsiteY450" fmla="*/ 228562 h 283136"/>
                <a:gd name="connsiteX451" fmla="*/ 229702 w 388701"/>
                <a:gd name="connsiteY451" fmla="*/ 226444 h 283136"/>
                <a:gd name="connsiteX452" fmla="*/ 221068 w 388701"/>
                <a:gd name="connsiteY452" fmla="*/ 226444 h 283136"/>
                <a:gd name="connsiteX453" fmla="*/ 212597 w 388701"/>
                <a:gd name="connsiteY453" fmla="*/ 225140 h 283136"/>
                <a:gd name="connsiteX454" fmla="*/ 209338 w 388701"/>
                <a:gd name="connsiteY454" fmla="*/ 222371 h 283136"/>
                <a:gd name="connsiteX455" fmla="*/ 209338 w 388701"/>
                <a:gd name="connsiteY455" fmla="*/ 218624 h 283136"/>
                <a:gd name="connsiteX456" fmla="*/ 212108 w 388701"/>
                <a:gd name="connsiteY456" fmla="*/ 215366 h 283136"/>
                <a:gd name="connsiteX457" fmla="*/ 213574 w 388701"/>
                <a:gd name="connsiteY457" fmla="*/ 211945 h 283136"/>
                <a:gd name="connsiteX458" fmla="*/ 210641 w 388701"/>
                <a:gd name="connsiteY458" fmla="*/ 209012 h 283136"/>
                <a:gd name="connsiteX459" fmla="*/ 207384 w 388701"/>
                <a:gd name="connsiteY459" fmla="*/ 209012 h 283136"/>
                <a:gd name="connsiteX460" fmla="*/ 205429 w 388701"/>
                <a:gd name="connsiteY460" fmla="*/ 210641 h 283136"/>
                <a:gd name="connsiteX461" fmla="*/ 201519 w 388701"/>
                <a:gd name="connsiteY461" fmla="*/ 209664 h 283136"/>
                <a:gd name="connsiteX462" fmla="*/ 198749 w 388701"/>
                <a:gd name="connsiteY462" fmla="*/ 209664 h 283136"/>
                <a:gd name="connsiteX463" fmla="*/ 194188 w 388701"/>
                <a:gd name="connsiteY463" fmla="*/ 204940 h 283136"/>
                <a:gd name="connsiteX464" fmla="*/ 193211 w 388701"/>
                <a:gd name="connsiteY464" fmla="*/ 197935 h 283136"/>
                <a:gd name="connsiteX465" fmla="*/ 189300 w 388701"/>
                <a:gd name="connsiteY465" fmla="*/ 195980 h 283136"/>
                <a:gd name="connsiteX466" fmla="*/ 184739 w 388701"/>
                <a:gd name="connsiteY466" fmla="*/ 184576 h 283136"/>
                <a:gd name="connsiteX467" fmla="*/ 182295 w 388701"/>
                <a:gd name="connsiteY467" fmla="*/ 183599 h 283136"/>
                <a:gd name="connsiteX468" fmla="*/ 180992 w 388701"/>
                <a:gd name="connsiteY468" fmla="*/ 179852 h 283136"/>
                <a:gd name="connsiteX469" fmla="*/ 175453 w 388701"/>
                <a:gd name="connsiteY469" fmla="*/ 179852 h 283136"/>
                <a:gd name="connsiteX470" fmla="*/ 171706 w 388701"/>
                <a:gd name="connsiteY470" fmla="*/ 177897 h 283136"/>
                <a:gd name="connsiteX471" fmla="*/ 168937 w 388701"/>
                <a:gd name="connsiteY471" fmla="*/ 172521 h 283136"/>
                <a:gd name="connsiteX472" fmla="*/ 163398 w 388701"/>
                <a:gd name="connsiteY472" fmla="*/ 166819 h 283136"/>
                <a:gd name="connsiteX473" fmla="*/ 162257 w 388701"/>
                <a:gd name="connsiteY473" fmla="*/ 160791 h 283136"/>
                <a:gd name="connsiteX474" fmla="*/ 158348 w 388701"/>
                <a:gd name="connsiteY474" fmla="*/ 157533 h 283136"/>
                <a:gd name="connsiteX475" fmla="*/ 155415 w 388701"/>
                <a:gd name="connsiteY475" fmla="*/ 152320 h 283136"/>
                <a:gd name="connsiteX476" fmla="*/ 155904 w 388701"/>
                <a:gd name="connsiteY476" fmla="*/ 150202 h 283136"/>
                <a:gd name="connsiteX477" fmla="*/ 166493 w 388701"/>
                <a:gd name="connsiteY477" fmla="*/ 151180 h 283136"/>
                <a:gd name="connsiteX478" fmla="*/ 175616 w 388701"/>
                <a:gd name="connsiteY478" fmla="*/ 146455 h 283136"/>
                <a:gd name="connsiteX479" fmla="*/ 178223 w 388701"/>
                <a:gd name="connsiteY479" fmla="*/ 141894 h 283136"/>
                <a:gd name="connsiteX480" fmla="*/ 177734 w 388701"/>
                <a:gd name="connsiteY480" fmla="*/ 136518 h 283136"/>
                <a:gd name="connsiteX481" fmla="*/ 170403 w 388701"/>
                <a:gd name="connsiteY481" fmla="*/ 128861 h 283136"/>
                <a:gd name="connsiteX482" fmla="*/ 165027 w 388701"/>
                <a:gd name="connsiteY482" fmla="*/ 127884 h 283136"/>
                <a:gd name="connsiteX483" fmla="*/ 162747 w 388701"/>
                <a:gd name="connsiteY483" fmla="*/ 129513 h 283136"/>
                <a:gd name="connsiteX484" fmla="*/ 157045 w 388701"/>
                <a:gd name="connsiteY484" fmla="*/ 126743 h 283136"/>
                <a:gd name="connsiteX485" fmla="*/ 147922 w 388701"/>
                <a:gd name="connsiteY485" fmla="*/ 122996 h 283136"/>
                <a:gd name="connsiteX486" fmla="*/ 143360 w 388701"/>
                <a:gd name="connsiteY486" fmla="*/ 118109 h 283136"/>
                <a:gd name="connsiteX487" fmla="*/ 138147 w 388701"/>
                <a:gd name="connsiteY487" fmla="*/ 118598 h 283136"/>
                <a:gd name="connsiteX488" fmla="*/ 125766 w 388701"/>
                <a:gd name="connsiteY488" fmla="*/ 114199 h 283136"/>
                <a:gd name="connsiteX489" fmla="*/ 124625 w 388701"/>
                <a:gd name="connsiteY489" fmla="*/ 110615 h 283136"/>
                <a:gd name="connsiteX490" fmla="*/ 128047 w 388701"/>
                <a:gd name="connsiteY490" fmla="*/ 104750 h 283136"/>
                <a:gd name="connsiteX491" fmla="*/ 128536 w 388701"/>
                <a:gd name="connsiteY491" fmla="*/ 100189 h 283136"/>
                <a:gd name="connsiteX492" fmla="*/ 125277 w 388701"/>
                <a:gd name="connsiteY492" fmla="*/ 95953 h 283136"/>
                <a:gd name="connsiteX493" fmla="*/ 115991 w 388701"/>
                <a:gd name="connsiteY493" fmla="*/ 86179 h 283136"/>
                <a:gd name="connsiteX494" fmla="*/ 113711 w 388701"/>
                <a:gd name="connsiteY494" fmla="*/ 86505 h 283136"/>
                <a:gd name="connsiteX495" fmla="*/ 110615 w 388701"/>
                <a:gd name="connsiteY495" fmla="*/ 87808 h 283136"/>
                <a:gd name="connsiteX496" fmla="*/ 108661 w 388701"/>
                <a:gd name="connsiteY496" fmla="*/ 83735 h 283136"/>
                <a:gd name="connsiteX497" fmla="*/ 104099 w 388701"/>
                <a:gd name="connsiteY497" fmla="*/ 80477 h 283136"/>
                <a:gd name="connsiteX498" fmla="*/ 102633 w 388701"/>
                <a:gd name="connsiteY498" fmla="*/ 76730 h 283136"/>
                <a:gd name="connsiteX499" fmla="*/ 97257 w 388701"/>
                <a:gd name="connsiteY499" fmla="*/ 75753 h 283136"/>
                <a:gd name="connsiteX500" fmla="*/ 94488 w 388701"/>
                <a:gd name="connsiteY500" fmla="*/ 72006 h 283136"/>
                <a:gd name="connsiteX501" fmla="*/ 92370 w 388701"/>
                <a:gd name="connsiteY501" fmla="*/ 72657 h 283136"/>
                <a:gd name="connsiteX502" fmla="*/ 87645 w 388701"/>
                <a:gd name="connsiteY502" fmla="*/ 70214 h 283136"/>
                <a:gd name="connsiteX503" fmla="*/ 81943 w 388701"/>
                <a:gd name="connsiteY503" fmla="*/ 69725 h 283136"/>
                <a:gd name="connsiteX504" fmla="*/ 76568 w 388701"/>
                <a:gd name="connsiteY504" fmla="*/ 65652 h 283136"/>
                <a:gd name="connsiteX505" fmla="*/ 70703 w 388701"/>
                <a:gd name="connsiteY505" fmla="*/ 64349 h 283136"/>
                <a:gd name="connsiteX506" fmla="*/ 61254 w 388701"/>
                <a:gd name="connsiteY506" fmla="*/ 58647 h 283136"/>
                <a:gd name="connsiteX507" fmla="*/ 47407 w 388701"/>
                <a:gd name="connsiteY507" fmla="*/ 57344 h 283136"/>
                <a:gd name="connsiteX508" fmla="*/ 42031 w 388701"/>
                <a:gd name="connsiteY508" fmla="*/ 55063 h 283136"/>
                <a:gd name="connsiteX509" fmla="*/ 39261 w 388701"/>
                <a:gd name="connsiteY509" fmla="*/ 51642 h 283136"/>
                <a:gd name="connsiteX510" fmla="*/ 36818 w 388701"/>
                <a:gd name="connsiteY510" fmla="*/ 51642 h 283136"/>
                <a:gd name="connsiteX511" fmla="*/ 35025 w 388701"/>
                <a:gd name="connsiteY511" fmla="*/ 52620 h 283136"/>
                <a:gd name="connsiteX512" fmla="*/ 25088 w 388701"/>
                <a:gd name="connsiteY512" fmla="*/ 48547 h 283136"/>
                <a:gd name="connsiteX513" fmla="*/ 22807 w 388701"/>
                <a:gd name="connsiteY513" fmla="*/ 46103 h 283136"/>
                <a:gd name="connsiteX514" fmla="*/ 17757 w 388701"/>
                <a:gd name="connsiteY514" fmla="*/ 44148 h 283136"/>
                <a:gd name="connsiteX515" fmla="*/ 9286 w 388701"/>
                <a:gd name="connsiteY515" fmla="*/ 40564 h 283136"/>
                <a:gd name="connsiteX516" fmla="*/ 4725 w 388701"/>
                <a:gd name="connsiteY516" fmla="*/ 40239 h 2831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</a:cxnLst>
              <a:rect l="l" t="t" r="r" b="b"/>
              <a:pathLst>
                <a:path w="388701" h="283136">
                  <a:moveTo>
                    <a:pt x="332823" y="274828"/>
                  </a:moveTo>
                  <a:lnTo>
                    <a:pt x="335919" y="272058"/>
                  </a:lnTo>
                  <a:lnTo>
                    <a:pt x="340317" y="273036"/>
                  </a:lnTo>
                  <a:lnTo>
                    <a:pt x="339503" y="276131"/>
                  </a:lnTo>
                  <a:lnTo>
                    <a:pt x="335430" y="276783"/>
                  </a:lnTo>
                  <a:lnTo>
                    <a:pt x="332986" y="276294"/>
                  </a:lnTo>
                  <a:lnTo>
                    <a:pt x="332986" y="274991"/>
                  </a:lnTo>
                  <a:lnTo>
                    <a:pt x="332986" y="274991"/>
                  </a:lnTo>
                  <a:close/>
                  <a:moveTo>
                    <a:pt x="311645" y="275479"/>
                  </a:moveTo>
                  <a:lnTo>
                    <a:pt x="317673" y="281833"/>
                  </a:lnTo>
                  <a:lnTo>
                    <a:pt x="320931" y="281833"/>
                  </a:lnTo>
                  <a:cubicBezTo>
                    <a:pt x="320931" y="281833"/>
                    <a:pt x="323863" y="283136"/>
                    <a:pt x="323863" y="283136"/>
                  </a:cubicBezTo>
                  <a:lnTo>
                    <a:pt x="325493" y="281996"/>
                  </a:lnTo>
                  <a:lnTo>
                    <a:pt x="324352" y="279063"/>
                  </a:lnTo>
                  <a:lnTo>
                    <a:pt x="319954" y="279063"/>
                  </a:lnTo>
                  <a:cubicBezTo>
                    <a:pt x="319954" y="279063"/>
                    <a:pt x="314578" y="275316"/>
                    <a:pt x="314578" y="275316"/>
                  </a:cubicBezTo>
                  <a:lnTo>
                    <a:pt x="311482" y="275316"/>
                  </a:lnTo>
                  <a:close/>
                  <a:moveTo>
                    <a:pt x="150691" y="22482"/>
                  </a:moveTo>
                  <a:lnTo>
                    <a:pt x="152320" y="21178"/>
                  </a:lnTo>
                  <a:lnTo>
                    <a:pt x="156393" y="21504"/>
                  </a:lnTo>
                  <a:lnTo>
                    <a:pt x="160629" y="20201"/>
                  </a:lnTo>
                  <a:lnTo>
                    <a:pt x="163724" y="22482"/>
                  </a:lnTo>
                  <a:lnTo>
                    <a:pt x="167634" y="21504"/>
                  </a:lnTo>
                  <a:lnTo>
                    <a:pt x="170566" y="23785"/>
                  </a:lnTo>
                  <a:lnTo>
                    <a:pt x="165027" y="28346"/>
                  </a:lnTo>
                  <a:lnTo>
                    <a:pt x="158511" y="28672"/>
                  </a:lnTo>
                  <a:lnTo>
                    <a:pt x="156230" y="26717"/>
                  </a:lnTo>
                  <a:lnTo>
                    <a:pt x="152157" y="26228"/>
                  </a:lnTo>
                  <a:cubicBezTo>
                    <a:pt x="152157" y="26228"/>
                    <a:pt x="150365" y="22156"/>
                    <a:pt x="150528" y="22482"/>
                  </a:cubicBezTo>
                  <a:lnTo>
                    <a:pt x="150528" y="22482"/>
                  </a:lnTo>
                  <a:close/>
                  <a:moveTo>
                    <a:pt x="358238" y="114036"/>
                  </a:moveTo>
                  <a:lnTo>
                    <a:pt x="363776" y="113711"/>
                  </a:lnTo>
                  <a:lnTo>
                    <a:pt x="366546" y="117457"/>
                  </a:lnTo>
                  <a:lnTo>
                    <a:pt x="368338" y="124625"/>
                  </a:lnTo>
                  <a:lnTo>
                    <a:pt x="375180" y="126906"/>
                  </a:lnTo>
                  <a:lnTo>
                    <a:pt x="383488" y="133585"/>
                  </a:lnTo>
                  <a:lnTo>
                    <a:pt x="388702" y="140102"/>
                  </a:lnTo>
                  <a:lnTo>
                    <a:pt x="388213" y="146944"/>
                  </a:lnTo>
                  <a:lnTo>
                    <a:pt x="384791" y="148084"/>
                  </a:lnTo>
                  <a:lnTo>
                    <a:pt x="383651" y="150365"/>
                  </a:lnTo>
                  <a:lnTo>
                    <a:pt x="377461" y="151017"/>
                  </a:lnTo>
                  <a:lnTo>
                    <a:pt x="374039" y="149714"/>
                  </a:lnTo>
                  <a:lnTo>
                    <a:pt x="370130" y="149714"/>
                  </a:lnTo>
                  <a:lnTo>
                    <a:pt x="367197" y="145641"/>
                  </a:lnTo>
                  <a:lnTo>
                    <a:pt x="368664" y="142871"/>
                  </a:lnTo>
                  <a:lnTo>
                    <a:pt x="363939" y="134074"/>
                  </a:lnTo>
                  <a:lnTo>
                    <a:pt x="358726" y="131468"/>
                  </a:lnTo>
                  <a:lnTo>
                    <a:pt x="358726" y="123322"/>
                  </a:lnTo>
                  <a:lnTo>
                    <a:pt x="357586" y="119087"/>
                  </a:lnTo>
                  <a:lnTo>
                    <a:pt x="358563" y="114362"/>
                  </a:lnTo>
                  <a:lnTo>
                    <a:pt x="358563" y="114362"/>
                  </a:lnTo>
                  <a:close/>
                  <a:moveTo>
                    <a:pt x="353024" y="102144"/>
                  </a:moveTo>
                  <a:lnTo>
                    <a:pt x="351721" y="104588"/>
                  </a:lnTo>
                  <a:lnTo>
                    <a:pt x="354002" y="107683"/>
                  </a:lnTo>
                  <a:lnTo>
                    <a:pt x="354002" y="112407"/>
                  </a:lnTo>
                  <a:cubicBezTo>
                    <a:pt x="354002" y="112407"/>
                    <a:pt x="357260" y="108334"/>
                    <a:pt x="357260" y="108334"/>
                  </a:cubicBezTo>
                  <a:lnTo>
                    <a:pt x="356934" y="103284"/>
                  </a:lnTo>
                  <a:lnTo>
                    <a:pt x="353024" y="101981"/>
                  </a:lnTo>
                  <a:lnTo>
                    <a:pt x="353024" y="101981"/>
                  </a:lnTo>
                  <a:close/>
                  <a:moveTo>
                    <a:pt x="344390" y="90903"/>
                  </a:moveTo>
                  <a:lnTo>
                    <a:pt x="347486" y="89926"/>
                  </a:lnTo>
                  <a:lnTo>
                    <a:pt x="349114" y="86179"/>
                  </a:lnTo>
                  <a:lnTo>
                    <a:pt x="352047" y="89926"/>
                  </a:lnTo>
                  <a:lnTo>
                    <a:pt x="349277" y="93673"/>
                  </a:lnTo>
                  <a:lnTo>
                    <a:pt x="345205" y="93347"/>
                  </a:lnTo>
                  <a:lnTo>
                    <a:pt x="344227" y="90903"/>
                  </a:lnTo>
                  <a:lnTo>
                    <a:pt x="344227" y="90903"/>
                  </a:lnTo>
                  <a:close/>
                  <a:moveTo>
                    <a:pt x="258863" y="38284"/>
                  </a:moveTo>
                  <a:lnTo>
                    <a:pt x="270266" y="45126"/>
                  </a:lnTo>
                  <a:lnTo>
                    <a:pt x="278249" y="47407"/>
                  </a:lnTo>
                  <a:lnTo>
                    <a:pt x="287698" y="55389"/>
                  </a:lnTo>
                  <a:lnTo>
                    <a:pt x="294866" y="56855"/>
                  </a:lnTo>
                  <a:lnTo>
                    <a:pt x="298775" y="61254"/>
                  </a:lnTo>
                  <a:lnTo>
                    <a:pt x="304640" y="64023"/>
                  </a:lnTo>
                  <a:lnTo>
                    <a:pt x="309039" y="71354"/>
                  </a:lnTo>
                  <a:lnTo>
                    <a:pt x="312460" y="71354"/>
                  </a:lnTo>
                  <a:cubicBezTo>
                    <a:pt x="312460" y="71354"/>
                    <a:pt x="314415" y="82432"/>
                    <a:pt x="314415" y="82432"/>
                  </a:cubicBezTo>
                  <a:lnTo>
                    <a:pt x="317184" y="83409"/>
                  </a:lnTo>
                  <a:lnTo>
                    <a:pt x="317184" y="87808"/>
                  </a:lnTo>
                  <a:cubicBezTo>
                    <a:pt x="317184" y="87808"/>
                    <a:pt x="314904" y="92695"/>
                    <a:pt x="314904" y="92695"/>
                  </a:cubicBezTo>
                  <a:lnTo>
                    <a:pt x="313111" y="98886"/>
                  </a:lnTo>
                  <a:lnTo>
                    <a:pt x="307898" y="93184"/>
                  </a:lnTo>
                  <a:lnTo>
                    <a:pt x="306432" y="87645"/>
                  </a:lnTo>
                  <a:lnTo>
                    <a:pt x="308224" y="83409"/>
                  </a:lnTo>
                  <a:lnTo>
                    <a:pt x="304477" y="70377"/>
                  </a:lnTo>
                  <a:lnTo>
                    <a:pt x="295517" y="60928"/>
                  </a:lnTo>
                  <a:lnTo>
                    <a:pt x="289490" y="60439"/>
                  </a:lnTo>
                  <a:lnTo>
                    <a:pt x="280204" y="55226"/>
                  </a:lnTo>
                  <a:lnTo>
                    <a:pt x="262447" y="44963"/>
                  </a:lnTo>
                  <a:lnTo>
                    <a:pt x="259352" y="41868"/>
                  </a:lnTo>
                  <a:lnTo>
                    <a:pt x="258700" y="38447"/>
                  </a:lnTo>
                  <a:lnTo>
                    <a:pt x="258700" y="38447"/>
                  </a:lnTo>
                  <a:close/>
                  <a:moveTo>
                    <a:pt x="223674" y="163"/>
                  </a:moveTo>
                  <a:lnTo>
                    <a:pt x="228236" y="163"/>
                  </a:lnTo>
                  <a:cubicBezTo>
                    <a:pt x="228236" y="163"/>
                    <a:pt x="231168" y="4724"/>
                    <a:pt x="231168" y="4724"/>
                  </a:cubicBezTo>
                  <a:lnTo>
                    <a:pt x="231168" y="7820"/>
                  </a:lnTo>
                  <a:cubicBezTo>
                    <a:pt x="231168" y="7820"/>
                    <a:pt x="224489" y="3584"/>
                    <a:pt x="224489" y="3584"/>
                  </a:cubicBezTo>
                  <a:lnTo>
                    <a:pt x="223511" y="0"/>
                  </a:lnTo>
                  <a:lnTo>
                    <a:pt x="223511" y="0"/>
                  </a:lnTo>
                  <a:close/>
                  <a:moveTo>
                    <a:pt x="238662" y="37632"/>
                  </a:moveTo>
                  <a:lnTo>
                    <a:pt x="244527" y="35351"/>
                  </a:lnTo>
                  <a:lnTo>
                    <a:pt x="247948" y="37632"/>
                  </a:lnTo>
                  <a:lnTo>
                    <a:pt x="247948" y="42682"/>
                  </a:lnTo>
                  <a:lnTo>
                    <a:pt x="242735" y="44148"/>
                  </a:lnTo>
                  <a:lnTo>
                    <a:pt x="238825" y="41705"/>
                  </a:lnTo>
                  <a:lnTo>
                    <a:pt x="238499" y="37632"/>
                  </a:lnTo>
                  <a:lnTo>
                    <a:pt x="238499" y="37632"/>
                  </a:lnTo>
                  <a:close/>
                  <a:moveTo>
                    <a:pt x="236218" y="100189"/>
                  </a:moveTo>
                  <a:lnTo>
                    <a:pt x="241431" y="105402"/>
                  </a:lnTo>
                  <a:lnTo>
                    <a:pt x="244201" y="102307"/>
                  </a:lnTo>
                  <a:lnTo>
                    <a:pt x="240943" y="97420"/>
                  </a:lnTo>
                  <a:lnTo>
                    <a:pt x="237196" y="97745"/>
                  </a:lnTo>
                  <a:lnTo>
                    <a:pt x="236218" y="100352"/>
                  </a:lnTo>
                  <a:lnTo>
                    <a:pt x="236218" y="100352"/>
                  </a:lnTo>
                  <a:close/>
                  <a:moveTo>
                    <a:pt x="194839" y="112570"/>
                  </a:moveTo>
                  <a:lnTo>
                    <a:pt x="191093" y="119412"/>
                  </a:lnTo>
                  <a:lnTo>
                    <a:pt x="195328" y="124788"/>
                  </a:lnTo>
                  <a:lnTo>
                    <a:pt x="200867" y="125277"/>
                  </a:lnTo>
                  <a:lnTo>
                    <a:pt x="209175" y="131956"/>
                  </a:lnTo>
                  <a:lnTo>
                    <a:pt x="210153" y="134889"/>
                  </a:lnTo>
                  <a:lnTo>
                    <a:pt x="213900" y="132119"/>
                  </a:lnTo>
                  <a:lnTo>
                    <a:pt x="222371" y="132445"/>
                  </a:lnTo>
                  <a:lnTo>
                    <a:pt x="224978" y="137169"/>
                  </a:lnTo>
                  <a:lnTo>
                    <a:pt x="231005" y="138147"/>
                  </a:lnTo>
                  <a:lnTo>
                    <a:pt x="235078" y="137332"/>
                  </a:lnTo>
                  <a:lnTo>
                    <a:pt x="244527" y="135540"/>
                  </a:lnTo>
                  <a:lnTo>
                    <a:pt x="249577" y="137007"/>
                  </a:lnTo>
                  <a:lnTo>
                    <a:pt x="253813" y="135215"/>
                  </a:lnTo>
                  <a:lnTo>
                    <a:pt x="260003" y="137821"/>
                  </a:lnTo>
                  <a:lnTo>
                    <a:pt x="261958" y="135052"/>
                  </a:lnTo>
                  <a:lnTo>
                    <a:pt x="261958" y="131305"/>
                  </a:lnTo>
                  <a:cubicBezTo>
                    <a:pt x="261958" y="131305"/>
                    <a:pt x="268474" y="131142"/>
                    <a:pt x="268474" y="131142"/>
                  </a:cubicBezTo>
                  <a:lnTo>
                    <a:pt x="277434" y="119901"/>
                  </a:lnTo>
                  <a:lnTo>
                    <a:pt x="277434" y="116154"/>
                  </a:lnTo>
                  <a:lnTo>
                    <a:pt x="281181" y="115177"/>
                  </a:lnTo>
                  <a:lnTo>
                    <a:pt x="284439" y="117783"/>
                  </a:lnTo>
                  <a:lnTo>
                    <a:pt x="290630" y="115991"/>
                  </a:lnTo>
                  <a:lnTo>
                    <a:pt x="293563" y="111430"/>
                  </a:lnTo>
                  <a:lnTo>
                    <a:pt x="288023" y="106217"/>
                  </a:lnTo>
                  <a:lnTo>
                    <a:pt x="287698" y="102796"/>
                  </a:lnTo>
                  <a:lnTo>
                    <a:pt x="291119" y="100841"/>
                  </a:lnTo>
                  <a:lnTo>
                    <a:pt x="293888" y="102307"/>
                  </a:lnTo>
                  <a:lnTo>
                    <a:pt x="299916" y="96605"/>
                  </a:lnTo>
                  <a:lnTo>
                    <a:pt x="299916" y="85039"/>
                  </a:lnTo>
                  <a:cubicBezTo>
                    <a:pt x="299916" y="85039"/>
                    <a:pt x="294051" y="79988"/>
                    <a:pt x="294051" y="79988"/>
                  </a:cubicBezTo>
                  <a:lnTo>
                    <a:pt x="290956" y="82269"/>
                  </a:lnTo>
                  <a:lnTo>
                    <a:pt x="289164" y="84550"/>
                  </a:lnTo>
                  <a:lnTo>
                    <a:pt x="285906" y="81943"/>
                  </a:lnTo>
                  <a:lnTo>
                    <a:pt x="279878" y="81943"/>
                  </a:lnTo>
                  <a:cubicBezTo>
                    <a:pt x="279878" y="81943"/>
                    <a:pt x="277272" y="85690"/>
                    <a:pt x="277272" y="85690"/>
                  </a:cubicBezTo>
                  <a:lnTo>
                    <a:pt x="279878" y="96768"/>
                  </a:lnTo>
                  <a:lnTo>
                    <a:pt x="281670" y="98723"/>
                  </a:lnTo>
                  <a:lnTo>
                    <a:pt x="279063" y="101492"/>
                  </a:lnTo>
                  <a:lnTo>
                    <a:pt x="274013" y="101492"/>
                  </a:lnTo>
                  <a:cubicBezTo>
                    <a:pt x="274013" y="101492"/>
                    <a:pt x="264239" y="109149"/>
                    <a:pt x="264239" y="109149"/>
                  </a:cubicBezTo>
                  <a:lnTo>
                    <a:pt x="262447" y="114199"/>
                  </a:lnTo>
                  <a:lnTo>
                    <a:pt x="259352" y="116643"/>
                  </a:lnTo>
                  <a:lnTo>
                    <a:pt x="256745" y="115503"/>
                  </a:lnTo>
                  <a:lnTo>
                    <a:pt x="252998" y="117946"/>
                  </a:lnTo>
                  <a:lnTo>
                    <a:pt x="249740" y="114199"/>
                  </a:lnTo>
                  <a:lnTo>
                    <a:pt x="246645" y="114199"/>
                  </a:lnTo>
                  <a:cubicBezTo>
                    <a:pt x="246645" y="114199"/>
                    <a:pt x="242898" y="118924"/>
                    <a:pt x="242898" y="118924"/>
                  </a:cubicBezTo>
                  <a:lnTo>
                    <a:pt x="239639" y="118109"/>
                  </a:lnTo>
                  <a:lnTo>
                    <a:pt x="238173" y="111593"/>
                  </a:lnTo>
                  <a:lnTo>
                    <a:pt x="239314" y="107520"/>
                  </a:lnTo>
                  <a:lnTo>
                    <a:pt x="235404" y="105565"/>
                  </a:lnTo>
                  <a:lnTo>
                    <a:pt x="232797" y="108172"/>
                  </a:lnTo>
                  <a:lnTo>
                    <a:pt x="233612" y="111593"/>
                  </a:lnTo>
                  <a:lnTo>
                    <a:pt x="229702" y="114199"/>
                  </a:lnTo>
                  <a:lnTo>
                    <a:pt x="224489" y="113711"/>
                  </a:lnTo>
                  <a:lnTo>
                    <a:pt x="218624" y="116154"/>
                  </a:lnTo>
                  <a:lnTo>
                    <a:pt x="214225" y="116154"/>
                  </a:lnTo>
                  <a:cubicBezTo>
                    <a:pt x="214225" y="116154"/>
                    <a:pt x="210804" y="114199"/>
                    <a:pt x="210804" y="114199"/>
                  </a:cubicBezTo>
                  <a:lnTo>
                    <a:pt x="206243" y="114199"/>
                  </a:lnTo>
                  <a:lnTo>
                    <a:pt x="200052" y="115665"/>
                  </a:lnTo>
                  <a:lnTo>
                    <a:pt x="195165" y="112733"/>
                  </a:lnTo>
                  <a:lnTo>
                    <a:pt x="195165" y="112733"/>
                  </a:lnTo>
                  <a:close/>
                  <a:moveTo>
                    <a:pt x="176593" y="117783"/>
                  </a:moveTo>
                  <a:lnTo>
                    <a:pt x="179689" y="114362"/>
                  </a:lnTo>
                  <a:lnTo>
                    <a:pt x="183762" y="117620"/>
                  </a:lnTo>
                  <a:lnTo>
                    <a:pt x="185065" y="122182"/>
                  </a:lnTo>
                  <a:lnTo>
                    <a:pt x="183762" y="124625"/>
                  </a:lnTo>
                  <a:lnTo>
                    <a:pt x="179363" y="121856"/>
                  </a:lnTo>
                  <a:lnTo>
                    <a:pt x="176593" y="117783"/>
                  </a:lnTo>
                  <a:lnTo>
                    <a:pt x="176593" y="117783"/>
                  </a:lnTo>
                  <a:close/>
                  <a:moveTo>
                    <a:pt x="162095" y="107683"/>
                  </a:moveTo>
                  <a:lnTo>
                    <a:pt x="159814" y="111919"/>
                  </a:lnTo>
                  <a:lnTo>
                    <a:pt x="162095" y="115014"/>
                  </a:lnTo>
                  <a:lnTo>
                    <a:pt x="165190" y="114199"/>
                  </a:lnTo>
                  <a:lnTo>
                    <a:pt x="165190" y="109801"/>
                  </a:lnTo>
                  <a:lnTo>
                    <a:pt x="162095" y="107520"/>
                  </a:lnTo>
                  <a:lnTo>
                    <a:pt x="162095" y="107520"/>
                  </a:lnTo>
                  <a:close/>
                  <a:moveTo>
                    <a:pt x="136844" y="91229"/>
                  </a:moveTo>
                  <a:lnTo>
                    <a:pt x="131142" y="93347"/>
                  </a:lnTo>
                  <a:lnTo>
                    <a:pt x="132771" y="97094"/>
                  </a:lnTo>
                  <a:lnTo>
                    <a:pt x="136192" y="94324"/>
                  </a:lnTo>
                  <a:lnTo>
                    <a:pt x="136681" y="91229"/>
                  </a:lnTo>
                  <a:lnTo>
                    <a:pt x="136681" y="91229"/>
                  </a:lnTo>
                  <a:close/>
                  <a:moveTo>
                    <a:pt x="299264" y="208361"/>
                  </a:moveTo>
                  <a:lnTo>
                    <a:pt x="297961" y="212271"/>
                  </a:lnTo>
                  <a:lnTo>
                    <a:pt x="299264" y="215040"/>
                  </a:lnTo>
                  <a:lnTo>
                    <a:pt x="301219" y="214388"/>
                  </a:lnTo>
                  <a:lnTo>
                    <a:pt x="306921" y="218298"/>
                  </a:lnTo>
                  <a:lnTo>
                    <a:pt x="306432" y="215040"/>
                  </a:lnTo>
                  <a:lnTo>
                    <a:pt x="299264" y="208361"/>
                  </a:lnTo>
                  <a:lnTo>
                    <a:pt x="299264" y="208361"/>
                  </a:lnTo>
                  <a:close/>
                  <a:moveTo>
                    <a:pt x="260981" y="192884"/>
                  </a:moveTo>
                  <a:lnTo>
                    <a:pt x="259840" y="194839"/>
                  </a:lnTo>
                  <a:lnTo>
                    <a:pt x="261795" y="198423"/>
                  </a:lnTo>
                  <a:lnTo>
                    <a:pt x="262936" y="198423"/>
                  </a:lnTo>
                  <a:cubicBezTo>
                    <a:pt x="262936" y="198423"/>
                    <a:pt x="263424" y="201682"/>
                    <a:pt x="263424" y="201682"/>
                  </a:cubicBezTo>
                  <a:lnTo>
                    <a:pt x="262936" y="203148"/>
                  </a:lnTo>
                  <a:lnTo>
                    <a:pt x="263913" y="203148"/>
                  </a:lnTo>
                  <a:lnTo>
                    <a:pt x="264727" y="199075"/>
                  </a:lnTo>
                  <a:lnTo>
                    <a:pt x="263913" y="192233"/>
                  </a:lnTo>
                  <a:lnTo>
                    <a:pt x="261143" y="192884"/>
                  </a:lnTo>
                  <a:lnTo>
                    <a:pt x="261143" y="192884"/>
                  </a:lnTo>
                  <a:close/>
                  <a:moveTo>
                    <a:pt x="250391" y="230191"/>
                  </a:moveTo>
                  <a:lnTo>
                    <a:pt x="253650" y="230679"/>
                  </a:lnTo>
                  <a:lnTo>
                    <a:pt x="255930" y="232960"/>
                  </a:lnTo>
                  <a:lnTo>
                    <a:pt x="256256" y="234263"/>
                  </a:lnTo>
                  <a:lnTo>
                    <a:pt x="258211" y="234915"/>
                  </a:lnTo>
                  <a:lnTo>
                    <a:pt x="258863" y="236544"/>
                  </a:lnTo>
                  <a:lnTo>
                    <a:pt x="262121" y="233938"/>
                  </a:lnTo>
                  <a:lnTo>
                    <a:pt x="264402" y="233938"/>
                  </a:lnTo>
                  <a:cubicBezTo>
                    <a:pt x="264402" y="233938"/>
                    <a:pt x="264890" y="236381"/>
                    <a:pt x="264890" y="236381"/>
                  </a:cubicBezTo>
                  <a:lnTo>
                    <a:pt x="262609" y="238173"/>
                  </a:lnTo>
                  <a:lnTo>
                    <a:pt x="261958" y="240291"/>
                  </a:lnTo>
                  <a:lnTo>
                    <a:pt x="259189" y="241106"/>
                  </a:lnTo>
                  <a:lnTo>
                    <a:pt x="255768" y="240128"/>
                  </a:lnTo>
                  <a:lnTo>
                    <a:pt x="255768" y="237033"/>
                  </a:lnTo>
                  <a:cubicBezTo>
                    <a:pt x="255768" y="237033"/>
                    <a:pt x="254627" y="236381"/>
                    <a:pt x="254627" y="236381"/>
                  </a:cubicBezTo>
                  <a:lnTo>
                    <a:pt x="252509" y="232146"/>
                  </a:lnTo>
                  <a:lnTo>
                    <a:pt x="250717" y="231331"/>
                  </a:lnTo>
                  <a:lnTo>
                    <a:pt x="250717" y="230191"/>
                  </a:lnTo>
                  <a:lnTo>
                    <a:pt x="250554" y="230191"/>
                  </a:lnTo>
                  <a:close/>
                  <a:moveTo>
                    <a:pt x="245830" y="222208"/>
                  </a:moveTo>
                  <a:lnTo>
                    <a:pt x="246807" y="226607"/>
                  </a:lnTo>
                  <a:lnTo>
                    <a:pt x="249088" y="227910"/>
                  </a:lnTo>
                  <a:lnTo>
                    <a:pt x="252509" y="227584"/>
                  </a:lnTo>
                  <a:lnTo>
                    <a:pt x="253487" y="229050"/>
                  </a:lnTo>
                  <a:lnTo>
                    <a:pt x="254790" y="227421"/>
                  </a:lnTo>
                  <a:lnTo>
                    <a:pt x="253324" y="225140"/>
                  </a:lnTo>
                  <a:lnTo>
                    <a:pt x="251695" y="225140"/>
                  </a:lnTo>
                  <a:lnTo>
                    <a:pt x="252347" y="224163"/>
                  </a:lnTo>
                  <a:lnTo>
                    <a:pt x="251532" y="222045"/>
                  </a:lnTo>
                  <a:lnTo>
                    <a:pt x="249577" y="222045"/>
                  </a:lnTo>
                  <a:lnTo>
                    <a:pt x="246645" y="221556"/>
                  </a:lnTo>
                  <a:lnTo>
                    <a:pt x="245504" y="222208"/>
                  </a:lnTo>
                  <a:lnTo>
                    <a:pt x="245504" y="222208"/>
                  </a:lnTo>
                  <a:close/>
                  <a:moveTo>
                    <a:pt x="234915" y="217647"/>
                  </a:moveTo>
                  <a:lnTo>
                    <a:pt x="236707" y="222208"/>
                  </a:lnTo>
                  <a:lnTo>
                    <a:pt x="238825" y="221882"/>
                  </a:lnTo>
                  <a:lnTo>
                    <a:pt x="240943" y="224489"/>
                  </a:lnTo>
                  <a:lnTo>
                    <a:pt x="242898" y="224977"/>
                  </a:lnTo>
                  <a:lnTo>
                    <a:pt x="242898" y="221556"/>
                  </a:lnTo>
                  <a:cubicBezTo>
                    <a:pt x="242898" y="221556"/>
                    <a:pt x="240291" y="217321"/>
                    <a:pt x="240291" y="217321"/>
                  </a:cubicBezTo>
                  <a:lnTo>
                    <a:pt x="237359" y="215692"/>
                  </a:lnTo>
                  <a:lnTo>
                    <a:pt x="234752" y="217321"/>
                  </a:lnTo>
                  <a:lnTo>
                    <a:pt x="234752" y="217321"/>
                  </a:lnTo>
                  <a:close/>
                  <a:moveTo>
                    <a:pt x="106868" y="175290"/>
                  </a:moveTo>
                  <a:lnTo>
                    <a:pt x="105239" y="176593"/>
                  </a:lnTo>
                  <a:lnTo>
                    <a:pt x="106868" y="179037"/>
                  </a:lnTo>
                  <a:cubicBezTo>
                    <a:pt x="106868" y="179037"/>
                    <a:pt x="106868" y="175290"/>
                    <a:pt x="106868" y="175290"/>
                  </a:cubicBezTo>
                  <a:lnTo>
                    <a:pt x="106868" y="175290"/>
                  </a:lnTo>
                  <a:close/>
                  <a:moveTo>
                    <a:pt x="96442" y="176268"/>
                  </a:moveTo>
                  <a:lnTo>
                    <a:pt x="95791" y="174313"/>
                  </a:lnTo>
                  <a:lnTo>
                    <a:pt x="97909" y="173987"/>
                  </a:lnTo>
                  <a:lnTo>
                    <a:pt x="96605" y="176268"/>
                  </a:lnTo>
                  <a:lnTo>
                    <a:pt x="96605" y="176268"/>
                  </a:lnTo>
                  <a:close/>
                  <a:moveTo>
                    <a:pt x="88786" y="174150"/>
                  </a:moveTo>
                  <a:lnTo>
                    <a:pt x="88460" y="176919"/>
                  </a:lnTo>
                  <a:lnTo>
                    <a:pt x="91555" y="177408"/>
                  </a:lnTo>
                  <a:lnTo>
                    <a:pt x="91066" y="175779"/>
                  </a:lnTo>
                  <a:lnTo>
                    <a:pt x="88786" y="173987"/>
                  </a:lnTo>
                  <a:lnTo>
                    <a:pt x="88786" y="173987"/>
                  </a:lnTo>
                  <a:close/>
                  <a:moveTo>
                    <a:pt x="94813" y="176593"/>
                  </a:moveTo>
                  <a:lnTo>
                    <a:pt x="91555" y="173173"/>
                  </a:lnTo>
                  <a:lnTo>
                    <a:pt x="93021" y="170403"/>
                  </a:lnTo>
                  <a:lnTo>
                    <a:pt x="95628" y="170729"/>
                  </a:lnTo>
                  <a:lnTo>
                    <a:pt x="94488" y="174313"/>
                  </a:lnTo>
                  <a:lnTo>
                    <a:pt x="94813" y="176593"/>
                  </a:lnTo>
                  <a:lnTo>
                    <a:pt x="94813" y="176593"/>
                  </a:lnTo>
                  <a:close/>
                  <a:moveTo>
                    <a:pt x="76404" y="175779"/>
                  </a:moveTo>
                  <a:lnTo>
                    <a:pt x="78522" y="180015"/>
                  </a:lnTo>
                  <a:lnTo>
                    <a:pt x="80314" y="180503"/>
                  </a:lnTo>
                  <a:lnTo>
                    <a:pt x="78685" y="177571"/>
                  </a:lnTo>
                  <a:lnTo>
                    <a:pt x="76404" y="175616"/>
                  </a:lnTo>
                  <a:lnTo>
                    <a:pt x="76404" y="175616"/>
                  </a:lnTo>
                  <a:close/>
                  <a:moveTo>
                    <a:pt x="67770" y="196306"/>
                  </a:moveTo>
                  <a:lnTo>
                    <a:pt x="70703" y="193373"/>
                  </a:lnTo>
                  <a:lnTo>
                    <a:pt x="74613" y="193373"/>
                  </a:lnTo>
                  <a:cubicBezTo>
                    <a:pt x="74613" y="193373"/>
                    <a:pt x="73309" y="195817"/>
                    <a:pt x="73309" y="195817"/>
                  </a:cubicBezTo>
                  <a:cubicBezTo>
                    <a:pt x="73309" y="195817"/>
                    <a:pt x="67933" y="196143"/>
                    <a:pt x="67770" y="196306"/>
                  </a:cubicBezTo>
                  <a:lnTo>
                    <a:pt x="67770" y="196306"/>
                  </a:lnTo>
                  <a:close/>
                  <a:moveTo>
                    <a:pt x="67445" y="199401"/>
                  </a:moveTo>
                  <a:lnTo>
                    <a:pt x="69399" y="200867"/>
                  </a:lnTo>
                  <a:lnTo>
                    <a:pt x="68748" y="198586"/>
                  </a:lnTo>
                  <a:lnTo>
                    <a:pt x="67445" y="199401"/>
                  </a:lnTo>
                  <a:lnTo>
                    <a:pt x="67445" y="199401"/>
                  </a:lnTo>
                  <a:close/>
                  <a:moveTo>
                    <a:pt x="61580" y="196468"/>
                  </a:moveTo>
                  <a:lnTo>
                    <a:pt x="64675" y="197935"/>
                  </a:lnTo>
                  <a:lnTo>
                    <a:pt x="65979" y="196306"/>
                  </a:lnTo>
                  <a:lnTo>
                    <a:pt x="61580" y="196306"/>
                  </a:lnTo>
                  <a:close/>
                  <a:moveTo>
                    <a:pt x="59788" y="198749"/>
                  </a:moveTo>
                  <a:cubicBezTo>
                    <a:pt x="59788" y="198749"/>
                    <a:pt x="66956" y="201844"/>
                    <a:pt x="66956" y="201844"/>
                  </a:cubicBezTo>
                  <a:lnTo>
                    <a:pt x="70214" y="205754"/>
                  </a:lnTo>
                  <a:lnTo>
                    <a:pt x="59625" y="198749"/>
                  </a:lnTo>
                  <a:lnTo>
                    <a:pt x="59625" y="198749"/>
                  </a:lnTo>
                  <a:close/>
                  <a:moveTo>
                    <a:pt x="66793" y="186205"/>
                  </a:moveTo>
                  <a:lnTo>
                    <a:pt x="71191" y="187020"/>
                  </a:lnTo>
                  <a:lnTo>
                    <a:pt x="70051" y="188160"/>
                  </a:lnTo>
                  <a:lnTo>
                    <a:pt x="67445" y="187671"/>
                  </a:lnTo>
                  <a:lnTo>
                    <a:pt x="66630" y="186205"/>
                  </a:lnTo>
                  <a:lnTo>
                    <a:pt x="66630" y="186205"/>
                  </a:lnTo>
                  <a:close/>
                  <a:moveTo>
                    <a:pt x="73309" y="185228"/>
                  </a:moveTo>
                  <a:lnTo>
                    <a:pt x="71191" y="182621"/>
                  </a:lnTo>
                  <a:lnTo>
                    <a:pt x="71191" y="180177"/>
                  </a:lnTo>
                  <a:cubicBezTo>
                    <a:pt x="71191" y="180177"/>
                    <a:pt x="74287" y="177571"/>
                    <a:pt x="74287" y="177571"/>
                  </a:cubicBezTo>
                  <a:lnTo>
                    <a:pt x="75916" y="182947"/>
                  </a:lnTo>
                  <a:lnTo>
                    <a:pt x="75264" y="185065"/>
                  </a:lnTo>
                  <a:cubicBezTo>
                    <a:pt x="75264" y="185065"/>
                    <a:pt x="73472" y="185228"/>
                    <a:pt x="73472" y="185228"/>
                  </a:cubicBezTo>
                  <a:lnTo>
                    <a:pt x="73472" y="185228"/>
                  </a:lnTo>
                  <a:close/>
                  <a:moveTo>
                    <a:pt x="5865" y="41216"/>
                  </a:moveTo>
                  <a:lnTo>
                    <a:pt x="2607" y="137169"/>
                  </a:lnTo>
                  <a:lnTo>
                    <a:pt x="1140" y="144500"/>
                  </a:lnTo>
                  <a:lnTo>
                    <a:pt x="1140" y="148573"/>
                  </a:lnTo>
                  <a:cubicBezTo>
                    <a:pt x="1140" y="148573"/>
                    <a:pt x="2118" y="150691"/>
                    <a:pt x="2118" y="150691"/>
                  </a:cubicBezTo>
                  <a:lnTo>
                    <a:pt x="0" y="212922"/>
                  </a:lnTo>
                  <a:lnTo>
                    <a:pt x="8797" y="212922"/>
                  </a:lnTo>
                  <a:cubicBezTo>
                    <a:pt x="8797" y="212922"/>
                    <a:pt x="11566" y="214714"/>
                    <a:pt x="11566" y="214714"/>
                  </a:cubicBezTo>
                  <a:lnTo>
                    <a:pt x="16128" y="213411"/>
                  </a:lnTo>
                  <a:lnTo>
                    <a:pt x="29813" y="213900"/>
                  </a:lnTo>
                  <a:lnTo>
                    <a:pt x="33071" y="212922"/>
                  </a:lnTo>
                  <a:lnTo>
                    <a:pt x="34374" y="216017"/>
                  </a:lnTo>
                  <a:lnTo>
                    <a:pt x="37469" y="219276"/>
                  </a:lnTo>
                  <a:lnTo>
                    <a:pt x="41542" y="220416"/>
                  </a:lnTo>
                  <a:lnTo>
                    <a:pt x="47081" y="217158"/>
                  </a:lnTo>
                  <a:lnTo>
                    <a:pt x="56041" y="214551"/>
                  </a:lnTo>
                  <a:lnTo>
                    <a:pt x="56693" y="212108"/>
                  </a:lnTo>
                  <a:lnTo>
                    <a:pt x="58973" y="213900"/>
                  </a:lnTo>
                  <a:lnTo>
                    <a:pt x="61417" y="211130"/>
                  </a:lnTo>
                  <a:lnTo>
                    <a:pt x="61091" y="203962"/>
                  </a:lnTo>
                  <a:lnTo>
                    <a:pt x="54412" y="198749"/>
                  </a:lnTo>
                  <a:lnTo>
                    <a:pt x="47081" y="195654"/>
                  </a:lnTo>
                  <a:lnTo>
                    <a:pt x="40727" y="194514"/>
                  </a:lnTo>
                  <a:lnTo>
                    <a:pt x="38121" y="192233"/>
                  </a:lnTo>
                  <a:lnTo>
                    <a:pt x="34374" y="190766"/>
                  </a:lnTo>
                  <a:lnTo>
                    <a:pt x="32745" y="190766"/>
                  </a:lnTo>
                  <a:cubicBezTo>
                    <a:pt x="32745" y="190766"/>
                    <a:pt x="30138" y="188812"/>
                    <a:pt x="30138" y="188812"/>
                  </a:cubicBezTo>
                  <a:lnTo>
                    <a:pt x="28998" y="182784"/>
                  </a:lnTo>
                  <a:lnTo>
                    <a:pt x="24599" y="176919"/>
                  </a:lnTo>
                  <a:lnTo>
                    <a:pt x="19875" y="174639"/>
                  </a:lnTo>
                  <a:lnTo>
                    <a:pt x="18898" y="171217"/>
                  </a:lnTo>
                  <a:lnTo>
                    <a:pt x="15965" y="168285"/>
                  </a:lnTo>
                  <a:lnTo>
                    <a:pt x="19386" y="170566"/>
                  </a:lnTo>
                  <a:lnTo>
                    <a:pt x="20690" y="174313"/>
                  </a:lnTo>
                  <a:lnTo>
                    <a:pt x="23785" y="175127"/>
                  </a:lnTo>
                  <a:lnTo>
                    <a:pt x="29487" y="178874"/>
                  </a:lnTo>
                  <a:lnTo>
                    <a:pt x="30301" y="183273"/>
                  </a:lnTo>
                  <a:lnTo>
                    <a:pt x="30953" y="188323"/>
                  </a:lnTo>
                  <a:lnTo>
                    <a:pt x="32908" y="188323"/>
                  </a:lnTo>
                  <a:cubicBezTo>
                    <a:pt x="32908" y="188323"/>
                    <a:pt x="39424" y="190278"/>
                    <a:pt x="39424" y="190278"/>
                  </a:cubicBezTo>
                  <a:lnTo>
                    <a:pt x="42845" y="193536"/>
                  </a:lnTo>
                  <a:lnTo>
                    <a:pt x="45452" y="193047"/>
                  </a:lnTo>
                  <a:lnTo>
                    <a:pt x="51479" y="193373"/>
                  </a:lnTo>
                  <a:lnTo>
                    <a:pt x="58647" y="191581"/>
                  </a:lnTo>
                  <a:lnTo>
                    <a:pt x="63698" y="191907"/>
                  </a:lnTo>
                  <a:lnTo>
                    <a:pt x="67933" y="190604"/>
                  </a:lnTo>
                  <a:lnTo>
                    <a:pt x="66630" y="188323"/>
                  </a:lnTo>
                  <a:lnTo>
                    <a:pt x="62883" y="185879"/>
                  </a:lnTo>
                  <a:lnTo>
                    <a:pt x="61091" y="182458"/>
                  </a:lnTo>
                  <a:lnTo>
                    <a:pt x="57670" y="182784"/>
                  </a:lnTo>
                  <a:lnTo>
                    <a:pt x="55878" y="179363"/>
                  </a:lnTo>
                  <a:lnTo>
                    <a:pt x="58810" y="181969"/>
                  </a:lnTo>
                  <a:lnTo>
                    <a:pt x="63861" y="180666"/>
                  </a:lnTo>
                  <a:lnTo>
                    <a:pt x="67770" y="185065"/>
                  </a:lnTo>
                  <a:lnTo>
                    <a:pt x="72495" y="185879"/>
                  </a:lnTo>
                  <a:lnTo>
                    <a:pt x="70214" y="182947"/>
                  </a:lnTo>
                  <a:lnTo>
                    <a:pt x="70214" y="179363"/>
                  </a:lnTo>
                  <a:cubicBezTo>
                    <a:pt x="70214" y="179363"/>
                    <a:pt x="72657" y="177571"/>
                    <a:pt x="72657" y="177571"/>
                  </a:cubicBezTo>
                  <a:lnTo>
                    <a:pt x="72983" y="174801"/>
                  </a:lnTo>
                  <a:lnTo>
                    <a:pt x="72495" y="170892"/>
                  </a:lnTo>
                  <a:lnTo>
                    <a:pt x="68748" y="167308"/>
                  </a:lnTo>
                  <a:lnTo>
                    <a:pt x="68748" y="165516"/>
                  </a:lnTo>
                  <a:lnTo>
                    <a:pt x="73147" y="167471"/>
                  </a:lnTo>
                  <a:lnTo>
                    <a:pt x="74938" y="170566"/>
                  </a:lnTo>
                  <a:lnTo>
                    <a:pt x="79988" y="175127"/>
                  </a:lnTo>
                  <a:lnTo>
                    <a:pt x="83736" y="176105"/>
                  </a:lnTo>
                  <a:lnTo>
                    <a:pt x="84061" y="173661"/>
                  </a:lnTo>
                  <a:lnTo>
                    <a:pt x="83084" y="170240"/>
                  </a:lnTo>
                  <a:lnTo>
                    <a:pt x="84387" y="171380"/>
                  </a:lnTo>
                  <a:lnTo>
                    <a:pt x="85690" y="175942"/>
                  </a:lnTo>
                  <a:lnTo>
                    <a:pt x="87808" y="175616"/>
                  </a:lnTo>
                  <a:lnTo>
                    <a:pt x="87808" y="172195"/>
                  </a:lnTo>
                  <a:cubicBezTo>
                    <a:pt x="87808" y="172195"/>
                    <a:pt x="86505" y="169263"/>
                    <a:pt x="86505" y="169263"/>
                  </a:cubicBezTo>
                  <a:lnTo>
                    <a:pt x="87971" y="163887"/>
                  </a:lnTo>
                  <a:lnTo>
                    <a:pt x="90089" y="166656"/>
                  </a:lnTo>
                  <a:lnTo>
                    <a:pt x="96279" y="168611"/>
                  </a:lnTo>
                  <a:lnTo>
                    <a:pt x="97745" y="172358"/>
                  </a:lnTo>
                  <a:lnTo>
                    <a:pt x="101004" y="173173"/>
                  </a:lnTo>
                  <a:lnTo>
                    <a:pt x="104099" y="173173"/>
                  </a:lnTo>
                  <a:cubicBezTo>
                    <a:pt x="104099" y="173173"/>
                    <a:pt x="105728" y="174313"/>
                    <a:pt x="105728" y="174313"/>
                  </a:cubicBezTo>
                  <a:lnTo>
                    <a:pt x="108172" y="171380"/>
                  </a:lnTo>
                  <a:lnTo>
                    <a:pt x="107846" y="174801"/>
                  </a:lnTo>
                  <a:lnTo>
                    <a:pt x="107846" y="177897"/>
                  </a:lnTo>
                  <a:cubicBezTo>
                    <a:pt x="107846" y="177897"/>
                    <a:pt x="110615" y="178548"/>
                    <a:pt x="110615" y="178548"/>
                  </a:cubicBezTo>
                  <a:lnTo>
                    <a:pt x="113874" y="181807"/>
                  </a:lnTo>
                  <a:lnTo>
                    <a:pt x="127721" y="185065"/>
                  </a:lnTo>
                  <a:lnTo>
                    <a:pt x="131957" y="187346"/>
                  </a:lnTo>
                  <a:lnTo>
                    <a:pt x="135704" y="192070"/>
                  </a:lnTo>
                  <a:lnTo>
                    <a:pt x="137821" y="199075"/>
                  </a:lnTo>
                  <a:lnTo>
                    <a:pt x="144663" y="207709"/>
                  </a:lnTo>
                  <a:lnTo>
                    <a:pt x="145804" y="211130"/>
                  </a:lnTo>
                  <a:lnTo>
                    <a:pt x="150528" y="212433"/>
                  </a:lnTo>
                  <a:lnTo>
                    <a:pt x="153135" y="216506"/>
                  </a:lnTo>
                  <a:lnTo>
                    <a:pt x="154112" y="219439"/>
                  </a:lnTo>
                  <a:lnTo>
                    <a:pt x="166004" y="231657"/>
                  </a:lnTo>
                  <a:lnTo>
                    <a:pt x="166330" y="235566"/>
                  </a:lnTo>
                  <a:lnTo>
                    <a:pt x="170892" y="238662"/>
                  </a:lnTo>
                  <a:lnTo>
                    <a:pt x="178060" y="241106"/>
                  </a:lnTo>
                  <a:lnTo>
                    <a:pt x="180829" y="239965"/>
                  </a:lnTo>
                  <a:lnTo>
                    <a:pt x="183436" y="239965"/>
                  </a:lnTo>
                  <a:lnTo>
                    <a:pt x="187346" y="241594"/>
                  </a:lnTo>
                  <a:lnTo>
                    <a:pt x="195165" y="240454"/>
                  </a:lnTo>
                  <a:lnTo>
                    <a:pt x="200541" y="242572"/>
                  </a:lnTo>
                  <a:lnTo>
                    <a:pt x="205103" y="242246"/>
                  </a:lnTo>
                  <a:lnTo>
                    <a:pt x="212922" y="243549"/>
                  </a:lnTo>
                  <a:lnTo>
                    <a:pt x="216669" y="245830"/>
                  </a:lnTo>
                  <a:lnTo>
                    <a:pt x="222371" y="244852"/>
                  </a:lnTo>
                  <a:lnTo>
                    <a:pt x="224815" y="247948"/>
                  </a:lnTo>
                  <a:lnTo>
                    <a:pt x="230028" y="247622"/>
                  </a:lnTo>
                  <a:lnTo>
                    <a:pt x="230842" y="249251"/>
                  </a:lnTo>
                  <a:lnTo>
                    <a:pt x="227910" y="251532"/>
                  </a:lnTo>
                  <a:lnTo>
                    <a:pt x="232960" y="252835"/>
                  </a:lnTo>
                  <a:lnTo>
                    <a:pt x="238825" y="256256"/>
                  </a:lnTo>
                  <a:lnTo>
                    <a:pt x="244527" y="254790"/>
                  </a:lnTo>
                  <a:lnTo>
                    <a:pt x="246156" y="251532"/>
                  </a:lnTo>
                  <a:lnTo>
                    <a:pt x="239802" y="247785"/>
                  </a:lnTo>
                  <a:lnTo>
                    <a:pt x="237847" y="247785"/>
                  </a:lnTo>
                  <a:cubicBezTo>
                    <a:pt x="237847" y="247785"/>
                    <a:pt x="237847" y="245341"/>
                    <a:pt x="237847" y="245341"/>
                  </a:cubicBezTo>
                  <a:lnTo>
                    <a:pt x="242409" y="243712"/>
                  </a:lnTo>
                  <a:lnTo>
                    <a:pt x="246482" y="245504"/>
                  </a:lnTo>
                  <a:lnTo>
                    <a:pt x="251043" y="242409"/>
                  </a:lnTo>
                  <a:lnTo>
                    <a:pt x="241431" y="240617"/>
                  </a:lnTo>
                  <a:lnTo>
                    <a:pt x="230516" y="239151"/>
                  </a:lnTo>
                  <a:lnTo>
                    <a:pt x="223838" y="235566"/>
                  </a:lnTo>
                  <a:lnTo>
                    <a:pt x="221393" y="232634"/>
                  </a:lnTo>
                  <a:lnTo>
                    <a:pt x="227258" y="230028"/>
                  </a:lnTo>
                  <a:lnTo>
                    <a:pt x="231005" y="230354"/>
                  </a:lnTo>
                  <a:lnTo>
                    <a:pt x="233286" y="228562"/>
                  </a:lnTo>
                  <a:lnTo>
                    <a:pt x="229702" y="226444"/>
                  </a:lnTo>
                  <a:lnTo>
                    <a:pt x="221068" y="226444"/>
                  </a:lnTo>
                  <a:lnTo>
                    <a:pt x="212597" y="225140"/>
                  </a:lnTo>
                  <a:lnTo>
                    <a:pt x="209338" y="222371"/>
                  </a:lnTo>
                  <a:lnTo>
                    <a:pt x="209338" y="218624"/>
                  </a:lnTo>
                  <a:cubicBezTo>
                    <a:pt x="209338" y="218624"/>
                    <a:pt x="212108" y="215366"/>
                    <a:pt x="212108" y="215366"/>
                  </a:cubicBezTo>
                  <a:lnTo>
                    <a:pt x="213574" y="211945"/>
                  </a:lnTo>
                  <a:lnTo>
                    <a:pt x="210641" y="209012"/>
                  </a:lnTo>
                  <a:lnTo>
                    <a:pt x="207384" y="209012"/>
                  </a:lnTo>
                  <a:cubicBezTo>
                    <a:pt x="207384" y="209012"/>
                    <a:pt x="205429" y="210641"/>
                    <a:pt x="205429" y="210641"/>
                  </a:cubicBezTo>
                  <a:lnTo>
                    <a:pt x="201519" y="209664"/>
                  </a:lnTo>
                  <a:lnTo>
                    <a:pt x="198749" y="209664"/>
                  </a:lnTo>
                  <a:cubicBezTo>
                    <a:pt x="198749" y="209664"/>
                    <a:pt x="194188" y="204940"/>
                    <a:pt x="194188" y="204940"/>
                  </a:cubicBezTo>
                  <a:lnTo>
                    <a:pt x="193211" y="197935"/>
                  </a:lnTo>
                  <a:lnTo>
                    <a:pt x="189300" y="195980"/>
                  </a:lnTo>
                  <a:lnTo>
                    <a:pt x="184739" y="184576"/>
                  </a:lnTo>
                  <a:lnTo>
                    <a:pt x="182295" y="183599"/>
                  </a:lnTo>
                  <a:lnTo>
                    <a:pt x="180992" y="179852"/>
                  </a:lnTo>
                  <a:lnTo>
                    <a:pt x="175453" y="179852"/>
                  </a:lnTo>
                  <a:lnTo>
                    <a:pt x="171706" y="177897"/>
                  </a:lnTo>
                  <a:lnTo>
                    <a:pt x="168937" y="172521"/>
                  </a:lnTo>
                  <a:lnTo>
                    <a:pt x="163398" y="166819"/>
                  </a:lnTo>
                  <a:lnTo>
                    <a:pt x="162257" y="160791"/>
                  </a:lnTo>
                  <a:lnTo>
                    <a:pt x="158348" y="157533"/>
                  </a:lnTo>
                  <a:lnTo>
                    <a:pt x="155415" y="152320"/>
                  </a:lnTo>
                  <a:lnTo>
                    <a:pt x="155904" y="150202"/>
                  </a:lnTo>
                  <a:lnTo>
                    <a:pt x="166493" y="151180"/>
                  </a:lnTo>
                  <a:lnTo>
                    <a:pt x="175616" y="146455"/>
                  </a:lnTo>
                  <a:lnTo>
                    <a:pt x="178223" y="141894"/>
                  </a:lnTo>
                  <a:lnTo>
                    <a:pt x="177734" y="136518"/>
                  </a:lnTo>
                  <a:lnTo>
                    <a:pt x="170403" y="128861"/>
                  </a:lnTo>
                  <a:lnTo>
                    <a:pt x="165027" y="127884"/>
                  </a:lnTo>
                  <a:lnTo>
                    <a:pt x="162747" y="129513"/>
                  </a:lnTo>
                  <a:lnTo>
                    <a:pt x="157045" y="126743"/>
                  </a:lnTo>
                  <a:lnTo>
                    <a:pt x="147922" y="122996"/>
                  </a:lnTo>
                  <a:lnTo>
                    <a:pt x="143360" y="118109"/>
                  </a:lnTo>
                  <a:lnTo>
                    <a:pt x="138147" y="118598"/>
                  </a:lnTo>
                  <a:lnTo>
                    <a:pt x="125766" y="114199"/>
                  </a:lnTo>
                  <a:lnTo>
                    <a:pt x="124625" y="110615"/>
                  </a:lnTo>
                  <a:lnTo>
                    <a:pt x="128047" y="104750"/>
                  </a:lnTo>
                  <a:lnTo>
                    <a:pt x="128536" y="100189"/>
                  </a:lnTo>
                  <a:lnTo>
                    <a:pt x="125277" y="95953"/>
                  </a:lnTo>
                  <a:lnTo>
                    <a:pt x="115991" y="86179"/>
                  </a:lnTo>
                  <a:lnTo>
                    <a:pt x="113711" y="86505"/>
                  </a:lnTo>
                  <a:lnTo>
                    <a:pt x="110615" y="87808"/>
                  </a:lnTo>
                  <a:lnTo>
                    <a:pt x="108661" y="83735"/>
                  </a:lnTo>
                  <a:lnTo>
                    <a:pt x="104099" y="80477"/>
                  </a:lnTo>
                  <a:lnTo>
                    <a:pt x="102633" y="76730"/>
                  </a:lnTo>
                  <a:lnTo>
                    <a:pt x="97257" y="75753"/>
                  </a:lnTo>
                  <a:lnTo>
                    <a:pt x="94488" y="72006"/>
                  </a:lnTo>
                  <a:lnTo>
                    <a:pt x="92370" y="72657"/>
                  </a:lnTo>
                  <a:lnTo>
                    <a:pt x="87645" y="70214"/>
                  </a:lnTo>
                  <a:lnTo>
                    <a:pt x="81943" y="69725"/>
                  </a:lnTo>
                  <a:lnTo>
                    <a:pt x="76568" y="65652"/>
                  </a:lnTo>
                  <a:lnTo>
                    <a:pt x="70703" y="64349"/>
                  </a:lnTo>
                  <a:lnTo>
                    <a:pt x="61254" y="58647"/>
                  </a:lnTo>
                  <a:lnTo>
                    <a:pt x="47407" y="57344"/>
                  </a:lnTo>
                  <a:lnTo>
                    <a:pt x="42031" y="55063"/>
                  </a:lnTo>
                  <a:lnTo>
                    <a:pt x="39261" y="51642"/>
                  </a:lnTo>
                  <a:lnTo>
                    <a:pt x="36818" y="51642"/>
                  </a:lnTo>
                  <a:lnTo>
                    <a:pt x="35025" y="52620"/>
                  </a:lnTo>
                  <a:lnTo>
                    <a:pt x="25088" y="48547"/>
                  </a:lnTo>
                  <a:lnTo>
                    <a:pt x="22807" y="46103"/>
                  </a:lnTo>
                  <a:lnTo>
                    <a:pt x="17757" y="44148"/>
                  </a:lnTo>
                  <a:lnTo>
                    <a:pt x="9286" y="40564"/>
                  </a:lnTo>
                  <a:lnTo>
                    <a:pt x="4725" y="40239"/>
                  </a:lnTo>
                  <a:close/>
                </a:path>
              </a:pathLst>
            </a:custGeom>
            <a:solidFill>
              <a:schemeClr val="bg2"/>
            </a:solidFill>
            <a:ln w="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77" name="Forma livre: Forma 76">
              <a:extLst>
                <a:ext uri="{FF2B5EF4-FFF2-40B4-BE49-F238E27FC236}">
                  <a16:creationId xmlns:a16="http://schemas.microsoft.com/office/drawing/2014/main" id="{AC4405A5-1B35-016F-932D-702DA1D7585C}"/>
                </a:ext>
              </a:extLst>
            </p:cNvPr>
            <p:cNvSpPr/>
            <p:nvPr/>
          </p:nvSpPr>
          <p:spPr>
            <a:xfrm>
              <a:off x="10308266" y="5550640"/>
              <a:ext cx="105387" cy="77104"/>
            </a:xfrm>
            <a:custGeom>
              <a:avLst/>
              <a:gdLst>
                <a:gd name="connsiteX0" fmla="*/ 1467 w 101981"/>
                <a:gd name="connsiteY0" fmla="*/ 0 h 74612"/>
                <a:gd name="connsiteX1" fmla="*/ 8472 w 101981"/>
                <a:gd name="connsiteY1" fmla="*/ 9286 h 74612"/>
                <a:gd name="connsiteX2" fmla="*/ 10100 w 101981"/>
                <a:gd name="connsiteY2" fmla="*/ 5376 h 74612"/>
                <a:gd name="connsiteX3" fmla="*/ 13033 w 101981"/>
                <a:gd name="connsiteY3" fmla="*/ 9123 h 74612"/>
                <a:gd name="connsiteX4" fmla="*/ 14173 w 101981"/>
                <a:gd name="connsiteY4" fmla="*/ 13033 h 74612"/>
                <a:gd name="connsiteX5" fmla="*/ 21015 w 101981"/>
                <a:gd name="connsiteY5" fmla="*/ 17431 h 74612"/>
                <a:gd name="connsiteX6" fmla="*/ 23785 w 101981"/>
                <a:gd name="connsiteY6" fmla="*/ 22482 h 74612"/>
                <a:gd name="connsiteX7" fmla="*/ 26391 w 101981"/>
                <a:gd name="connsiteY7" fmla="*/ 23133 h 74612"/>
                <a:gd name="connsiteX8" fmla="*/ 36655 w 101981"/>
                <a:gd name="connsiteY8" fmla="*/ 36329 h 74612"/>
                <a:gd name="connsiteX9" fmla="*/ 40890 w 101981"/>
                <a:gd name="connsiteY9" fmla="*/ 45777 h 74612"/>
                <a:gd name="connsiteX10" fmla="*/ 44312 w 101981"/>
                <a:gd name="connsiteY10" fmla="*/ 44311 h 74612"/>
                <a:gd name="connsiteX11" fmla="*/ 48710 w 101981"/>
                <a:gd name="connsiteY11" fmla="*/ 47733 h 74612"/>
                <a:gd name="connsiteX12" fmla="*/ 54900 w 101981"/>
                <a:gd name="connsiteY12" fmla="*/ 58647 h 74612"/>
                <a:gd name="connsiteX13" fmla="*/ 63860 w 101981"/>
                <a:gd name="connsiteY13" fmla="*/ 65327 h 74612"/>
                <a:gd name="connsiteX14" fmla="*/ 67608 w 101981"/>
                <a:gd name="connsiteY14" fmla="*/ 66304 h 74612"/>
                <a:gd name="connsiteX15" fmla="*/ 67933 w 101981"/>
                <a:gd name="connsiteY15" fmla="*/ 74612 h 74612"/>
                <a:gd name="connsiteX16" fmla="*/ 63860 w 101981"/>
                <a:gd name="connsiteY16" fmla="*/ 71843 h 74612"/>
                <a:gd name="connsiteX17" fmla="*/ 61254 w 101981"/>
                <a:gd name="connsiteY17" fmla="*/ 72983 h 74612"/>
                <a:gd name="connsiteX18" fmla="*/ 56855 w 101981"/>
                <a:gd name="connsiteY18" fmla="*/ 68748 h 74612"/>
                <a:gd name="connsiteX19" fmla="*/ 51642 w 101981"/>
                <a:gd name="connsiteY19" fmla="*/ 71028 h 74612"/>
                <a:gd name="connsiteX20" fmla="*/ 46918 w 101981"/>
                <a:gd name="connsiteY20" fmla="*/ 67119 h 74612"/>
                <a:gd name="connsiteX21" fmla="*/ 45777 w 101981"/>
                <a:gd name="connsiteY21" fmla="*/ 61906 h 74612"/>
                <a:gd name="connsiteX22" fmla="*/ 39750 w 101981"/>
                <a:gd name="connsiteY22" fmla="*/ 61091 h 74612"/>
                <a:gd name="connsiteX23" fmla="*/ 37469 w 101981"/>
                <a:gd name="connsiteY23" fmla="*/ 54086 h 74612"/>
                <a:gd name="connsiteX24" fmla="*/ 34537 w 101981"/>
                <a:gd name="connsiteY24" fmla="*/ 54086 h 74612"/>
                <a:gd name="connsiteX25" fmla="*/ 32256 w 101981"/>
                <a:gd name="connsiteY25" fmla="*/ 55226 h 74612"/>
                <a:gd name="connsiteX26" fmla="*/ 29487 w 101981"/>
                <a:gd name="connsiteY26" fmla="*/ 47733 h 74612"/>
                <a:gd name="connsiteX27" fmla="*/ 22645 w 101981"/>
                <a:gd name="connsiteY27" fmla="*/ 42519 h 74612"/>
                <a:gd name="connsiteX28" fmla="*/ 21830 w 101981"/>
                <a:gd name="connsiteY28" fmla="*/ 39098 h 74612"/>
                <a:gd name="connsiteX29" fmla="*/ 17920 w 101981"/>
                <a:gd name="connsiteY29" fmla="*/ 39098 h 74612"/>
                <a:gd name="connsiteX30" fmla="*/ 15314 w 101981"/>
                <a:gd name="connsiteY30" fmla="*/ 34537 h 74612"/>
                <a:gd name="connsiteX31" fmla="*/ 15314 w 101981"/>
                <a:gd name="connsiteY31" fmla="*/ 30138 h 74612"/>
                <a:gd name="connsiteX32" fmla="*/ 9937 w 101981"/>
                <a:gd name="connsiteY32" fmla="*/ 27043 h 74612"/>
                <a:gd name="connsiteX33" fmla="*/ 3095 w 101981"/>
                <a:gd name="connsiteY33" fmla="*/ 13196 h 74612"/>
                <a:gd name="connsiteX34" fmla="*/ 2607 w 101981"/>
                <a:gd name="connsiteY34" fmla="*/ 7820 h 74612"/>
                <a:gd name="connsiteX35" fmla="*/ 0 w 101981"/>
                <a:gd name="connsiteY35" fmla="*/ 5213 h 74612"/>
                <a:gd name="connsiteX36" fmla="*/ 977 w 101981"/>
                <a:gd name="connsiteY36" fmla="*/ 326 h 74612"/>
                <a:gd name="connsiteX37" fmla="*/ 977 w 101981"/>
                <a:gd name="connsiteY37" fmla="*/ 326 h 74612"/>
                <a:gd name="connsiteX38" fmla="*/ 91392 w 101981"/>
                <a:gd name="connsiteY38" fmla="*/ 44637 h 74612"/>
                <a:gd name="connsiteX39" fmla="*/ 98072 w 101981"/>
                <a:gd name="connsiteY39" fmla="*/ 43660 h 74612"/>
                <a:gd name="connsiteX40" fmla="*/ 101981 w 101981"/>
                <a:gd name="connsiteY40" fmla="*/ 46103 h 74612"/>
                <a:gd name="connsiteX41" fmla="*/ 101981 w 101981"/>
                <a:gd name="connsiteY41" fmla="*/ 51642 h 74612"/>
                <a:gd name="connsiteX42" fmla="*/ 99212 w 101981"/>
                <a:gd name="connsiteY42" fmla="*/ 51642 h 74612"/>
                <a:gd name="connsiteX43" fmla="*/ 96605 w 101981"/>
                <a:gd name="connsiteY43" fmla="*/ 54249 h 74612"/>
                <a:gd name="connsiteX44" fmla="*/ 92207 w 101981"/>
                <a:gd name="connsiteY44" fmla="*/ 49850 h 74612"/>
                <a:gd name="connsiteX45" fmla="*/ 91392 w 101981"/>
                <a:gd name="connsiteY45" fmla="*/ 44637 h 74612"/>
                <a:gd name="connsiteX46" fmla="*/ 91392 w 101981"/>
                <a:gd name="connsiteY46" fmla="*/ 44637 h 74612"/>
                <a:gd name="connsiteX47" fmla="*/ 80803 w 101981"/>
                <a:gd name="connsiteY47" fmla="*/ 19386 h 74612"/>
                <a:gd name="connsiteX48" fmla="*/ 76078 w 101981"/>
                <a:gd name="connsiteY48" fmla="*/ 22807 h 74612"/>
                <a:gd name="connsiteX49" fmla="*/ 76731 w 101981"/>
                <a:gd name="connsiteY49" fmla="*/ 25088 h 74612"/>
                <a:gd name="connsiteX50" fmla="*/ 75753 w 101981"/>
                <a:gd name="connsiteY50" fmla="*/ 28183 h 74612"/>
                <a:gd name="connsiteX51" fmla="*/ 78196 w 101981"/>
                <a:gd name="connsiteY51" fmla="*/ 32582 h 74612"/>
                <a:gd name="connsiteX52" fmla="*/ 84062 w 101981"/>
                <a:gd name="connsiteY52" fmla="*/ 35351 h 74612"/>
                <a:gd name="connsiteX53" fmla="*/ 86017 w 101981"/>
                <a:gd name="connsiteY53" fmla="*/ 33071 h 74612"/>
                <a:gd name="connsiteX54" fmla="*/ 81455 w 101981"/>
                <a:gd name="connsiteY54" fmla="*/ 29161 h 74612"/>
                <a:gd name="connsiteX55" fmla="*/ 82921 w 101981"/>
                <a:gd name="connsiteY55" fmla="*/ 25251 h 74612"/>
                <a:gd name="connsiteX56" fmla="*/ 82921 w 101981"/>
                <a:gd name="connsiteY56" fmla="*/ 20201 h 74612"/>
                <a:gd name="connsiteX57" fmla="*/ 80640 w 101981"/>
                <a:gd name="connsiteY57" fmla="*/ 19060 h 74612"/>
                <a:gd name="connsiteX58" fmla="*/ 80640 w 101981"/>
                <a:gd name="connsiteY58" fmla="*/ 19060 h 74612"/>
                <a:gd name="connsiteX59" fmla="*/ 64512 w 101981"/>
                <a:gd name="connsiteY59" fmla="*/ 12870 h 74612"/>
                <a:gd name="connsiteX60" fmla="*/ 64023 w 101981"/>
                <a:gd name="connsiteY60" fmla="*/ 16617 h 74612"/>
                <a:gd name="connsiteX61" fmla="*/ 60928 w 101981"/>
                <a:gd name="connsiteY61" fmla="*/ 20364 h 74612"/>
                <a:gd name="connsiteX62" fmla="*/ 65653 w 101981"/>
                <a:gd name="connsiteY62" fmla="*/ 20690 h 74612"/>
                <a:gd name="connsiteX63" fmla="*/ 68585 w 101981"/>
                <a:gd name="connsiteY63" fmla="*/ 15965 h 74612"/>
                <a:gd name="connsiteX64" fmla="*/ 67608 w 101981"/>
                <a:gd name="connsiteY64" fmla="*/ 13033 h 74612"/>
                <a:gd name="connsiteX65" fmla="*/ 64512 w 101981"/>
                <a:gd name="connsiteY65" fmla="*/ 13033 h 746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</a:cxnLst>
              <a:rect l="l" t="t" r="r" b="b"/>
              <a:pathLst>
                <a:path w="101981" h="74612">
                  <a:moveTo>
                    <a:pt x="1467" y="0"/>
                  </a:moveTo>
                  <a:lnTo>
                    <a:pt x="8472" y="9286"/>
                  </a:lnTo>
                  <a:lnTo>
                    <a:pt x="10100" y="5376"/>
                  </a:lnTo>
                  <a:lnTo>
                    <a:pt x="13033" y="9123"/>
                  </a:lnTo>
                  <a:lnTo>
                    <a:pt x="14173" y="13033"/>
                  </a:lnTo>
                  <a:lnTo>
                    <a:pt x="21015" y="17431"/>
                  </a:lnTo>
                  <a:lnTo>
                    <a:pt x="23785" y="22482"/>
                  </a:lnTo>
                  <a:lnTo>
                    <a:pt x="26391" y="23133"/>
                  </a:lnTo>
                  <a:lnTo>
                    <a:pt x="36655" y="36329"/>
                  </a:lnTo>
                  <a:lnTo>
                    <a:pt x="40890" y="45777"/>
                  </a:lnTo>
                  <a:lnTo>
                    <a:pt x="44312" y="44311"/>
                  </a:lnTo>
                  <a:lnTo>
                    <a:pt x="48710" y="47733"/>
                  </a:lnTo>
                  <a:lnTo>
                    <a:pt x="54900" y="58647"/>
                  </a:lnTo>
                  <a:lnTo>
                    <a:pt x="63860" y="65327"/>
                  </a:lnTo>
                  <a:lnTo>
                    <a:pt x="67608" y="66304"/>
                  </a:lnTo>
                  <a:lnTo>
                    <a:pt x="67933" y="74612"/>
                  </a:lnTo>
                  <a:lnTo>
                    <a:pt x="63860" y="71843"/>
                  </a:lnTo>
                  <a:lnTo>
                    <a:pt x="61254" y="72983"/>
                  </a:lnTo>
                  <a:lnTo>
                    <a:pt x="56855" y="68748"/>
                  </a:lnTo>
                  <a:lnTo>
                    <a:pt x="51642" y="71028"/>
                  </a:lnTo>
                  <a:lnTo>
                    <a:pt x="46918" y="67119"/>
                  </a:lnTo>
                  <a:lnTo>
                    <a:pt x="45777" y="61906"/>
                  </a:lnTo>
                  <a:lnTo>
                    <a:pt x="39750" y="61091"/>
                  </a:lnTo>
                  <a:lnTo>
                    <a:pt x="37469" y="54086"/>
                  </a:lnTo>
                  <a:lnTo>
                    <a:pt x="34537" y="54086"/>
                  </a:lnTo>
                  <a:cubicBezTo>
                    <a:pt x="34537" y="54086"/>
                    <a:pt x="32256" y="55226"/>
                    <a:pt x="32256" y="55226"/>
                  </a:cubicBezTo>
                  <a:lnTo>
                    <a:pt x="29487" y="47733"/>
                  </a:lnTo>
                  <a:lnTo>
                    <a:pt x="22645" y="42519"/>
                  </a:lnTo>
                  <a:lnTo>
                    <a:pt x="21830" y="39098"/>
                  </a:lnTo>
                  <a:lnTo>
                    <a:pt x="17920" y="39098"/>
                  </a:lnTo>
                  <a:cubicBezTo>
                    <a:pt x="17920" y="39098"/>
                    <a:pt x="15314" y="34537"/>
                    <a:pt x="15314" y="34537"/>
                  </a:cubicBezTo>
                  <a:lnTo>
                    <a:pt x="15314" y="30138"/>
                  </a:lnTo>
                  <a:lnTo>
                    <a:pt x="9937" y="27043"/>
                  </a:lnTo>
                  <a:lnTo>
                    <a:pt x="3095" y="13196"/>
                  </a:lnTo>
                  <a:lnTo>
                    <a:pt x="2607" y="7820"/>
                  </a:lnTo>
                  <a:lnTo>
                    <a:pt x="0" y="5213"/>
                  </a:lnTo>
                  <a:lnTo>
                    <a:pt x="977" y="326"/>
                  </a:lnTo>
                  <a:lnTo>
                    <a:pt x="977" y="326"/>
                  </a:lnTo>
                  <a:close/>
                  <a:moveTo>
                    <a:pt x="91392" y="44637"/>
                  </a:moveTo>
                  <a:lnTo>
                    <a:pt x="98072" y="43660"/>
                  </a:lnTo>
                  <a:lnTo>
                    <a:pt x="101981" y="46103"/>
                  </a:lnTo>
                  <a:lnTo>
                    <a:pt x="101981" y="51642"/>
                  </a:lnTo>
                  <a:lnTo>
                    <a:pt x="99212" y="51642"/>
                  </a:lnTo>
                  <a:lnTo>
                    <a:pt x="96605" y="54249"/>
                  </a:lnTo>
                  <a:lnTo>
                    <a:pt x="92207" y="49850"/>
                  </a:lnTo>
                  <a:lnTo>
                    <a:pt x="91392" y="44637"/>
                  </a:lnTo>
                  <a:lnTo>
                    <a:pt x="91392" y="44637"/>
                  </a:lnTo>
                  <a:close/>
                  <a:moveTo>
                    <a:pt x="80803" y="19386"/>
                  </a:moveTo>
                  <a:lnTo>
                    <a:pt x="76078" y="22807"/>
                  </a:lnTo>
                  <a:lnTo>
                    <a:pt x="76731" y="25088"/>
                  </a:lnTo>
                  <a:lnTo>
                    <a:pt x="75753" y="28183"/>
                  </a:lnTo>
                  <a:lnTo>
                    <a:pt x="78196" y="32582"/>
                  </a:lnTo>
                  <a:lnTo>
                    <a:pt x="84062" y="35351"/>
                  </a:lnTo>
                  <a:lnTo>
                    <a:pt x="86017" y="33071"/>
                  </a:lnTo>
                  <a:lnTo>
                    <a:pt x="81455" y="29161"/>
                  </a:lnTo>
                  <a:lnTo>
                    <a:pt x="82921" y="25251"/>
                  </a:lnTo>
                  <a:lnTo>
                    <a:pt x="82921" y="20201"/>
                  </a:lnTo>
                  <a:cubicBezTo>
                    <a:pt x="82921" y="20201"/>
                    <a:pt x="80640" y="19060"/>
                    <a:pt x="80640" y="19060"/>
                  </a:cubicBezTo>
                  <a:lnTo>
                    <a:pt x="80640" y="19060"/>
                  </a:lnTo>
                  <a:close/>
                  <a:moveTo>
                    <a:pt x="64512" y="12870"/>
                  </a:moveTo>
                  <a:lnTo>
                    <a:pt x="64023" y="16617"/>
                  </a:lnTo>
                  <a:lnTo>
                    <a:pt x="60928" y="20364"/>
                  </a:lnTo>
                  <a:lnTo>
                    <a:pt x="65653" y="20690"/>
                  </a:lnTo>
                  <a:lnTo>
                    <a:pt x="68585" y="15965"/>
                  </a:lnTo>
                  <a:lnTo>
                    <a:pt x="67608" y="13033"/>
                  </a:lnTo>
                  <a:lnTo>
                    <a:pt x="64512" y="13033"/>
                  </a:lnTo>
                  <a:close/>
                </a:path>
              </a:pathLst>
            </a:custGeom>
            <a:solidFill>
              <a:schemeClr val="bg2"/>
            </a:solidFill>
            <a:ln w="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78" name="Forma livre: Forma 77">
              <a:extLst>
                <a:ext uri="{FF2B5EF4-FFF2-40B4-BE49-F238E27FC236}">
                  <a16:creationId xmlns:a16="http://schemas.microsoft.com/office/drawing/2014/main" id="{D9FA97FC-F8A0-EF10-8B1C-5554806CF96E}"/>
                </a:ext>
              </a:extLst>
            </p:cNvPr>
            <p:cNvSpPr/>
            <p:nvPr/>
          </p:nvSpPr>
          <p:spPr>
            <a:xfrm>
              <a:off x="8932338" y="5245758"/>
              <a:ext cx="1073908" cy="1151685"/>
            </a:xfrm>
            <a:custGeom>
              <a:avLst/>
              <a:gdLst>
                <a:gd name="connsiteX0" fmla="*/ 1027142 w 1039197"/>
                <a:gd name="connsiteY0" fmla="*/ 531899 h 1114461"/>
                <a:gd name="connsiteX1" fmla="*/ 1028934 w 1039197"/>
                <a:gd name="connsiteY1" fmla="*/ 522613 h 1114461"/>
                <a:gd name="connsiteX2" fmla="*/ 1030074 w 1039197"/>
                <a:gd name="connsiteY2" fmla="*/ 528315 h 1114461"/>
                <a:gd name="connsiteX3" fmla="*/ 1027142 w 1039197"/>
                <a:gd name="connsiteY3" fmla="*/ 531899 h 1114461"/>
                <a:gd name="connsiteX4" fmla="*/ 1027142 w 1039197"/>
                <a:gd name="connsiteY4" fmla="*/ 531899 h 1114461"/>
                <a:gd name="connsiteX5" fmla="*/ 1029423 w 1039197"/>
                <a:gd name="connsiteY5" fmla="*/ 467875 h 1114461"/>
                <a:gd name="connsiteX6" fmla="*/ 1026979 w 1039197"/>
                <a:gd name="connsiteY6" fmla="*/ 460381 h 1114461"/>
                <a:gd name="connsiteX7" fmla="*/ 1027956 w 1039197"/>
                <a:gd name="connsiteY7" fmla="*/ 455168 h 1114461"/>
                <a:gd name="connsiteX8" fmla="*/ 1028608 w 1039197"/>
                <a:gd name="connsiteY8" fmla="*/ 450607 h 1114461"/>
                <a:gd name="connsiteX9" fmla="*/ 1033007 w 1039197"/>
                <a:gd name="connsiteY9" fmla="*/ 445394 h 1114461"/>
                <a:gd name="connsiteX10" fmla="*/ 1035776 w 1039197"/>
                <a:gd name="connsiteY10" fmla="*/ 439855 h 1114461"/>
                <a:gd name="connsiteX11" fmla="*/ 1034310 w 1039197"/>
                <a:gd name="connsiteY11" fmla="*/ 436434 h 1114461"/>
                <a:gd name="connsiteX12" fmla="*/ 1035776 w 1039197"/>
                <a:gd name="connsiteY12" fmla="*/ 432361 h 1114461"/>
                <a:gd name="connsiteX13" fmla="*/ 1038220 w 1039197"/>
                <a:gd name="connsiteY13" fmla="*/ 432687 h 1114461"/>
                <a:gd name="connsiteX14" fmla="*/ 1039197 w 1039197"/>
                <a:gd name="connsiteY14" fmla="*/ 438551 h 1114461"/>
                <a:gd name="connsiteX15" fmla="*/ 1038057 w 1039197"/>
                <a:gd name="connsiteY15" fmla="*/ 445719 h 1114461"/>
                <a:gd name="connsiteX16" fmla="*/ 1032355 w 1039197"/>
                <a:gd name="connsiteY16" fmla="*/ 453376 h 1114461"/>
                <a:gd name="connsiteX17" fmla="*/ 1031052 w 1039197"/>
                <a:gd name="connsiteY17" fmla="*/ 463640 h 1114461"/>
                <a:gd name="connsiteX18" fmla="*/ 1032518 w 1039197"/>
                <a:gd name="connsiteY18" fmla="*/ 468690 h 1114461"/>
                <a:gd name="connsiteX19" fmla="*/ 1029586 w 1039197"/>
                <a:gd name="connsiteY19" fmla="*/ 467712 h 1114461"/>
                <a:gd name="connsiteX20" fmla="*/ 1029586 w 1039197"/>
                <a:gd name="connsiteY20" fmla="*/ 467712 h 1114461"/>
                <a:gd name="connsiteX21" fmla="*/ 986740 w 1039197"/>
                <a:gd name="connsiteY21" fmla="*/ 392122 h 1114461"/>
                <a:gd name="connsiteX22" fmla="*/ 991302 w 1039197"/>
                <a:gd name="connsiteY22" fmla="*/ 398476 h 1114461"/>
                <a:gd name="connsiteX23" fmla="*/ 993746 w 1039197"/>
                <a:gd name="connsiteY23" fmla="*/ 403037 h 1114461"/>
                <a:gd name="connsiteX24" fmla="*/ 994723 w 1039197"/>
                <a:gd name="connsiteY24" fmla="*/ 398476 h 1114461"/>
                <a:gd name="connsiteX25" fmla="*/ 992931 w 1039197"/>
                <a:gd name="connsiteY25" fmla="*/ 396032 h 1114461"/>
                <a:gd name="connsiteX26" fmla="*/ 993257 w 1039197"/>
                <a:gd name="connsiteY26" fmla="*/ 392774 h 1114461"/>
                <a:gd name="connsiteX27" fmla="*/ 990162 w 1039197"/>
                <a:gd name="connsiteY27" fmla="*/ 392448 h 1114461"/>
                <a:gd name="connsiteX28" fmla="*/ 987718 w 1039197"/>
                <a:gd name="connsiteY28" fmla="*/ 390819 h 1114461"/>
                <a:gd name="connsiteX29" fmla="*/ 986578 w 1039197"/>
                <a:gd name="connsiteY29" fmla="*/ 392122 h 1114461"/>
                <a:gd name="connsiteX30" fmla="*/ 986578 w 1039197"/>
                <a:gd name="connsiteY30" fmla="*/ 392122 h 1114461"/>
                <a:gd name="connsiteX31" fmla="*/ 980061 w 1039197"/>
                <a:gd name="connsiteY31" fmla="*/ 355794 h 1114461"/>
                <a:gd name="connsiteX32" fmla="*/ 979572 w 1039197"/>
                <a:gd name="connsiteY32" fmla="*/ 352861 h 1114461"/>
                <a:gd name="connsiteX33" fmla="*/ 977455 w 1039197"/>
                <a:gd name="connsiteY33" fmla="*/ 354979 h 1114461"/>
                <a:gd name="connsiteX34" fmla="*/ 980061 w 1039197"/>
                <a:gd name="connsiteY34" fmla="*/ 355794 h 1114461"/>
                <a:gd name="connsiteX35" fmla="*/ 980061 w 1039197"/>
                <a:gd name="connsiteY35" fmla="*/ 355794 h 1114461"/>
                <a:gd name="connsiteX36" fmla="*/ 882642 w 1039197"/>
                <a:gd name="connsiteY36" fmla="*/ 242735 h 1114461"/>
                <a:gd name="connsiteX37" fmla="*/ 884433 w 1039197"/>
                <a:gd name="connsiteY37" fmla="*/ 238499 h 1114461"/>
                <a:gd name="connsiteX38" fmla="*/ 880687 w 1039197"/>
                <a:gd name="connsiteY38" fmla="*/ 234263 h 1114461"/>
                <a:gd name="connsiteX39" fmla="*/ 884760 w 1039197"/>
                <a:gd name="connsiteY39" fmla="*/ 233123 h 1114461"/>
                <a:gd name="connsiteX40" fmla="*/ 886551 w 1039197"/>
                <a:gd name="connsiteY40" fmla="*/ 232146 h 1114461"/>
                <a:gd name="connsiteX41" fmla="*/ 887203 w 1039197"/>
                <a:gd name="connsiteY41" fmla="*/ 240617 h 1114461"/>
                <a:gd name="connsiteX42" fmla="*/ 885085 w 1039197"/>
                <a:gd name="connsiteY42" fmla="*/ 245667 h 1114461"/>
                <a:gd name="connsiteX43" fmla="*/ 882642 w 1039197"/>
                <a:gd name="connsiteY43" fmla="*/ 242572 h 1114461"/>
                <a:gd name="connsiteX44" fmla="*/ 882642 w 1039197"/>
                <a:gd name="connsiteY44" fmla="*/ 242572 h 1114461"/>
                <a:gd name="connsiteX45" fmla="*/ 798744 w 1039197"/>
                <a:gd name="connsiteY45" fmla="*/ 0 h 1114461"/>
                <a:gd name="connsiteX46" fmla="*/ 800210 w 1039197"/>
                <a:gd name="connsiteY46" fmla="*/ 3258 h 1114461"/>
                <a:gd name="connsiteX47" fmla="*/ 802328 w 1039197"/>
                <a:gd name="connsiteY47" fmla="*/ 489 h 1114461"/>
                <a:gd name="connsiteX48" fmla="*/ 798744 w 1039197"/>
                <a:gd name="connsiteY48" fmla="*/ 0 h 1114461"/>
                <a:gd name="connsiteX49" fmla="*/ 798744 w 1039197"/>
                <a:gd name="connsiteY49" fmla="*/ 0 h 1114461"/>
                <a:gd name="connsiteX50" fmla="*/ 795160 w 1039197"/>
                <a:gd name="connsiteY50" fmla="*/ 13033 h 1114461"/>
                <a:gd name="connsiteX51" fmla="*/ 795160 w 1039197"/>
                <a:gd name="connsiteY51" fmla="*/ 19386 h 1114461"/>
                <a:gd name="connsiteX52" fmla="*/ 797603 w 1039197"/>
                <a:gd name="connsiteY52" fmla="*/ 18083 h 1114461"/>
                <a:gd name="connsiteX53" fmla="*/ 800210 w 1039197"/>
                <a:gd name="connsiteY53" fmla="*/ 18083 h 1114461"/>
                <a:gd name="connsiteX54" fmla="*/ 798417 w 1039197"/>
                <a:gd name="connsiteY54" fmla="*/ 13685 h 1114461"/>
                <a:gd name="connsiteX55" fmla="*/ 795160 w 1039197"/>
                <a:gd name="connsiteY55" fmla="*/ 13196 h 1114461"/>
                <a:gd name="connsiteX56" fmla="*/ 795160 w 1039197"/>
                <a:gd name="connsiteY56" fmla="*/ 13196 h 1114461"/>
                <a:gd name="connsiteX57" fmla="*/ 712890 w 1039197"/>
                <a:gd name="connsiteY57" fmla="*/ 197283 h 1114461"/>
                <a:gd name="connsiteX58" fmla="*/ 714356 w 1039197"/>
                <a:gd name="connsiteY58" fmla="*/ 199727 h 1114461"/>
                <a:gd name="connsiteX59" fmla="*/ 717126 w 1039197"/>
                <a:gd name="connsiteY59" fmla="*/ 198260 h 1114461"/>
                <a:gd name="connsiteX60" fmla="*/ 716800 w 1039197"/>
                <a:gd name="connsiteY60" fmla="*/ 195491 h 1114461"/>
                <a:gd name="connsiteX61" fmla="*/ 713053 w 1039197"/>
                <a:gd name="connsiteY61" fmla="*/ 197283 h 1114461"/>
                <a:gd name="connsiteX62" fmla="*/ 713053 w 1039197"/>
                <a:gd name="connsiteY62" fmla="*/ 197283 h 1114461"/>
                <a:gd name="connsiteX63" fmla="*/ 706863 w 1039197"/>
                <a:gd name="connsiteY63" fmla="*/ 186205 h 1114461"/>
                <a:gd name="connsiteX64" fmla="*/ 709144 w 1039197"/>
                <a:gd name="connsiteY64" fmla="*/ 188486 h 1114461"/>
                <a:gd name="connsiteX65" fmla="*/ 712238 w 1039197"/>
                <a:gd name="connsiteY65" fmla="*/ 187346 h 1114461"/>
                <a:gd name="connsiteX66" fmla="*/ 715334 w 1039197"/>
                <a:gd name="connsiteY66" fmla="*/ 183436 h 1114461"/>
                <a:gd name="connsiteX67" fmla="*/ 720873 w 1039197"/>
                <a:gd name="connsiteY67" fmla="*/ 182621 h 1114461"/>
                <a:gd name="connsiteX68" fmla="*/ 720873 w 1039197"/>
                <a:gd name="connsiteY68" fmla="*/ 180829 h 1114461"/>
                <a:gd name="connsiteX69" fmla="*/ 714356 w 1039197"/>
                <a:gd name="connsiteY69" fmla="*/ 179200 h 1114461"/>
                <a:gd name="connsiteX70" fmla="*/ 708166 w 1039197"/>
                <a:gd name="connsiteY70" fmla="*/ 182784 h 1114461"/>
                <a:gd name="connsiteX71" fmla="*/ 707026 w 1039197"/>
                <a:gd name="connsiteY71" fmla="*/ 186205 h 1114461"/>
                <a:gd name="connsiteX72" fmla="*/ 707026 w 1039197"/>
                <a:gd name="connsiteY72" fmla="*/ 186205 h 1114461"/>
                <a:gd name="connsiteX73" fmla="*/ 654731 w 1039197"/>
                <a:gd name="connsiteY73" fmla="*/ 161443 h 1114461"/>
                <a:gd name="connsiteX74" fmla="*/ 652940 w 1039197"/>
                <a:gd name="connsiteY74" fmla="*/ 158185 h 1114461"/>
                <a:gd name="connsiteX75" fmla="*/ 654569 w 1039197"/>
                <a:gd name="connsiteY75" fmla="*/ 154112 h 1114461"/>
                <a:gd name="connsiteX76" fmla="*/ 657501 w 1039197"/>
                <a:gd name="connsiteY76" fmla="*/ 157859 h 1114461"/>
                <a:gd name="connsiteX77" fmla="*/ 654895 w 1039197"/>
                <a:gd name="connsiteY77" fmla="*/ 161443 h 1114461"/>
                <a:gd name="connsiteX78" fmla="*/ 654895 w 1039197"/>
                <a:gd name="connsiteY78" fmla="*/ 161443 h 1114461"/>
                <a:gd name="connsiteX79" fmla="*/ 638115 w 1039197"/>
                <a:gd name="connsiteY79" fmla="*/ 106706 h 1114461"/>
                <a:gd name="connsiteX80" fmla="*/ 637463 w 1039197"/>
                <a:gd name="connsiteY80" fmla="*/ 104262 h 1114461"/>
                <a:gd name="connsiteX81" fmla="*/ 636160 w 1039197"/>
                <a:gd name="connsiteY81" fmla="*/ 105239 h 1114461"/>
                <a:gd name="connsiteX82" fmla="*/ 635671 w 1039197"/>
                <a:gd name="connsiteY82" fmla="*/ 102796 h 1114461"/>
                <a:gd name="connsiteX83" fmla="*/ 638604 w 1039197"/>
                <a:gd name="connsiteY83" fmla="*/ 100026 h 1114461"/>
                <a:gd name="connsiteX84" fmla="*/ 641047 w 1039197"/>
                <a:gd name="connsiteY84" fmla="*/ 103610 h 1114461"/>
                <a:gd name="connsiteX85" fmla="*/ 638115 w 1039197"/>
                <a:gd name="connsiteY85" fmla="*/ 106868 h 1114461"/>
                <a:gd name="connsiteX86" fmla="*/ 638115 w 1039197"/>
                <a:gd name="connsiteY86" fmla="*/ 106868 h 1114461"/>
                <a:gd name="connsiteX87" fmla="*/ 644631 w 1039197"/>
                <a:gd name="connsiteY87" fmla="*/ 112896 h 1114461"/>
                <a:gd name="connsiteX88" fmla="*/ 642025 w 1039197"/>
                <a:gd name="connsiteY88" fmla="*/ 115177 h 1114461"/>
                <a:gd name="connsiteX89" fmla="*/ 643817 w 1039197"/>
                <a:gd name="connsiteY89" fmla="*/ 115503 h 1114461"/>
                <a:gd name="connsiteX90" fmla="*/ 647890 w 1039197"/>
                <a:gd name="connsiteY90" fmla="*/ 113874 h 1114461"/>
                <a:gd name="connsiteX91" fmla="*/ 654569 w 1039197"/>
                <a:gd name="connsiteY91" fmla="*/ 115014 h 1114461"/>
                <a:gd name="connsiteX92" fmla="*/ 656035 w 1039197"/>
                <a:gd name="connsiteY92" fmla="*/ 111104 h 1114461"/>
                <a:gd name="connsiteX93" fmla="*/ 654243 w 1039197"/>
                <a:gd name="connsiteY93" fmla="*/ 110290 h 1114461"/>
                <a:gd name="connsiteX94" fmla="*/ 652125 w 1039197"/>
                <a:gd name="connsiteY94" fmla="*/ 110778 h 1114461"/>
                <a:gd name="connsiteX95" fmla="*/ 650985 w 1039197"/>
                <a:gd name="connsiteY95" fmla="*/ 109475 h 1114461"/>
                <a:gd name="connsiteX96" fmla="*/ 655220 w 1039197"/>
                <a:gd name="connsiteY96" fmla="*/ 105402 h 1114461"/>
                <a:gd name="connsiteX97" fmla="*/ 654731 w 1039197"/>
                <a:gd name="connsiteY97" fmla="*/ 104262 h 1114461"/>
                <a:gd name="connsiteX98" fmla="*/ 650496 w 1039197"/>
                <a:gd name="connsiteY98" fmla="*/ 105402 h 1114461"/>
                <a:gd name="connsiteX99" fmla="*/ 650496 w 1039197"/>
                <a:gd name="connsiteY99" fmla="*/ 101330 h 1114461"/>
                <a:gd name="connsiteX100" fmla="*/ 647564 w 1039197"/>
                <a:gd name="connsiteY100" fmla="*/ 102633 h 1114461"/>
                <a:gd name="connsiteX101" fmla="*/ 646749 w 1039197"/>
                <a:gd name="connsiteY101" fmla="*/ 104914 h 1114461"/>
                <a:gd name="connsiteX102" fmla="*/ 642839 w 1039197"/>
                <a:gd name="connsiteY102" fmla="*/ 104914 h 1114461"/>
                <a:gd name="connsiteX103" fmla="*/ 643980 w 1039197"/>
                <a:gd name="connsiteY103" fmla="*/ 106054 h 1114461"/>
                <a:gd name="connsiteX104" fmla="*/ 643002 w 1039197"/>
                <a:gd name="connsiteY104" fmla="*/ 107194 h 1114461"/>
                <a:gd name="connsiteX105" fmla="*/ 644794 w 1039197"/>
                <a:gd name="connsiteY105" fmla="*/ 112896 h 1114461"/>
                <a:gd name="connsiteX106" fmla="*/ 644794 w 1039197"/>
                <a:gd name="connsiteY106" fmla="*/ 112896 h 1114461"/>
                <a:gd name="connsiteX107" fmla="*/ 648215 w 1039197"/>
                <a:gd name="connsiteY107" fmla="*/ 34374 h 1114461"/>
                <a:gd name="connsiteX108" fmla="*/ 651637 w 1039197"/>
                <a:gd name="connsiteY108" fmla="*/ 36003 h 1114461"/>
                <a:gd name="connsiteX109" fmla="*/ 652614 w 1039197"/>
                <a:gd name="connsiteY109" fmla="*/ 32093 h 1114461"/>
                <a:gd name="connsiteX110" fmla="*/ 657012 w 1039197"/>
                <a:gd name="connsiteY110" fmla="*/ 28020 h 1114461"/>
                <a:gd name="connsiteX111" fmla="*/ 655058 w 1039197"/>
                <a:gd name="connsiteY111" fmla="*/ 25577 h 1114461"/>
                <a:gd name="connsiteX112" fmla="*/ 649844 w 1039197"/>
                <a:gd name="connsiteY112" fmla="*/ 31279 h 1114461"/>
                <a:gd name="connsiteX113" fmla="*/ 648378 w 1039197"/>
                <a:gd name="connsiteY113" fmla="*/ 34374 h 1114461"/>
                <a:gd name="connsiteX114" fmla="*/ 648378 w 1039197"/>
                <a:gd name="connsiteY114" fmla="*/ 34374 h 1114461"/>
                <a:gd name="connsiteX115" fmla="*/ 642676 w 1039197"/>
                <a:gd name="connsiteY115" fmla="*/ 38772 h 1114461"/>
                <a:gd name="connsiteX116" fmla="*/ 645609 w 1039197"/>
                <a:gd name="connsiteY116" fmla="*/ 40239 h 1114461"/>
                <a:gd name="connsiteX117" fmla="*/ 645283 w 1039197"/>
                <a:gd name="connsiteY117" fmla="*/ 37469 h 1114461"/>
                <a:gd name="connsiteX118" fmla="*/ 642839 w 1039197"/>
                <a:gd name="connsiteY118" fmla="*/ 38772 h 1114461"/>
                <a:gd name="connsiteX119" fmla="*/ 642839 w 1039197"/>
                <a:gd name="connsiteY119" fmla="*/ 38772 h 1114461"/>
                <a:gd name="connsiteX120" fmla="*/ 638767 w 1039197"/>
                <a:gd name="connsiteY120" fmla="*/ 40402 h 1114461"/>
                <a:gd name="connsiteX121" fmla="*/ 640233 w 1039197"/>
                <a:gd name="connsiteY121" fmla="*/ 42356 h 1114461"/>
                <a:gd name="connsiteX122" fmla="*/ 641862 w 1039197"/>
                <a:gd name="connsiteY122" fmla="*/ 40402 h 1114461"/>
                <a:gd name="connsiteX123" fmla="*/ 638767 w 1039197"/>
                <a:gd name="connsiteY123" fmla="*/ 40402 h 1114461"/>
                <a:gd name="connsiteX124" fmla="*/ 629481 w 1039197"/>
                <a:gd name="connsiteY124" fmla="*/ 45452 h 1114461"/>
                <a:gd name="connsiteX125" fmla="*/ 632413 w 1039197"/>
                <a:gd name="connsiteY125" fmla="*/ 45777 h 1114461"/>
                <a:gd name="connsiteX126" fmla="*/ 632413 w 1039197"/>
                <a:gd name="connsiteY126" fmla="*/ 43334 h 1114461"/>
                <a:gd name="connsiteX127" fmla="*/ 629481 w 1039197"/>
                <a:gd name="connsiteY127" fmla="*/ 45615 h 1114461"/>
                <a:gd name="connsiteX128" fmla="*/ 629481 w 1039197"/>
                <a:gd name="connsiteY128" fmla="*/ 45615 h 1114461"/>
                <a:gd name="connsiteX129" fmla="*/ 623128 w 1039197"/>
                <a:gd name="connsiteY129" fmla="*/ 52783 h 1114461"/>
                <a:gd name="connsiteX130" fmla="*/ 622638 w 1039197"/>
                <a:gd name="connsiteY130" fmla="*/ 49687 h 1114461"/>
                <a:gd name="connsiteX131" fmla="*/ 627363 w 1039197"/>
                <a:gd name="connsiteY131" fmla="*/ 46918 h 1114461"/>
                <a:gd name="connsiteX132" fmla="*/ 631599 w 1039197"/>
                <a:gd name="connsiteY132" fmla="*/ 46918 h 1114461"/>
                <a:gd name="connsiteX133" fmla="*/ 629969 w 1039197"/>
                <a:gd name="connsiteY133" fmla="*/ 49525 h 1114461"/>
                <a:gd name="connsiteX134" fmla="*/ 625571 w 1039197"/>
                <a:gd name="connsiteY134" fmla="*/ 50013 h 1114461"/>
                <a:gd name="connsiteX135" fmla="*/ 622964 w 1039197"/>
                <a:gd name="connsiteY135" fmla="*/ 52783 h 1114461"/>
                <a:gd name="connsiteX136" fmla="*/ 622964 w 1039197"/>
                <a:gd name="connsiteY136" fmla="*/ 52783 h 1114461"/>
                <a:gd name="connsiteX137" fmla="*/ 614819 w 1039197"/>
                <a:gd name="connsiteY137" fmla="*/ 54737 h 1114461"/>
                <a:gd name="connsiteX138" fmla="*/ 616774 w 1039197"/>
                <a:gd name="connsiteY138" fmla="*/ 56204 h 1114461"/>
                <a:gd name="connsiteX139" fmla="*/ 621335 w 1039197"/>
                <a:gd name="connsiteY139" fmla="*/ 54412 h 1114461"/>
                <a:gd name="connsiteX140" fmla="*/ 621010 w 1039197"/>
                <a:gd name="connsiteY140" fmla="*/ 52783 h 1114461"/>
                <a:gd name="connsiteX141" fmla="*/ 614819 w 1039197"/>
                <a:gd name="connsiteY141" fmla="*/ 54737 h 1114461"/>
                <a:gd name="connsiteX142" fmla="*/ 614819 w 1039197"/>
                <a:gd name="connsiteY142" fmla="*/ 54737 h 1114461"/>
                <a:gd name="connsiteX143" fmla="*/ 549818 w 1039197"/>
                <a:gd name="connsiteY143" fmla="*/ 34048 h 1114461"/>
                <a:gd name="connsiteX144" fmla="*/ 546886 w 1039197"/>
                <a:gd name="connsiteY144" fmla="*/ 28998 h 1114461"/>
                <a:gd name="connsiteX145" fmla="*/ 547863 w 1039197"/>
                <a:gd name="connsiteY145" fmla="*/ 25414 h 1114461"/>
                <a:gd name="connsiteX146" fmla="*/ 551773 w 1039197"/>
                <a:gd name="connsiteY146" fmla="*/ 24762 h 1114461"/>
                <a:gd name="connsiteX147" fmla="*/ 550144 w 1039197"/>
                <a:gd name="connsiteY147" fmla="*/ 29487 h 1114461"/>
                <a:gd name="connsiteX148" fmla="*/ 549818 w 1039197"/>
                <a:gd name="connsiteY148" fmla="*/ 34211 h 1114461"/>
                <a:gd name="connsiteX149" fmla="*/ 549818 w 1039197"/>
                <a:gd name="connsiteY149" fmla="*/ 34211 h 1114461"/>
                <a:gd name="connsiteX150" fmla="*/ 493289 w 1039197"/>
                <a:gd name="connsiteY150" fmla="*/ 31279 h 1114461"/>
                <a:gd name="connsiteX151" fmla="*/ 493940 w 1039197"/>
                <a:gd name="connsiteY151" fmla="*/ 37306 h 1114461"/>
                <a:gd name="connsiteX152" fmla="*/ 498176 w 1039197"/>
                <a:gd name="connsiteY152" fmla="*/ 42194 h 1114461"/>
                <a:gd name="connsiteX153" fmla="*/ 501760 w 1039197"/>
                <a:gd name="connsiteY153" fmla="*/ 46755 h 1114461"/>
                <a:gd name="connsiteX154" fmla="*/ 508928 w 1039197"/>
                <a:gd name="connsiteY154" fmla="*/ 49687 h 1114461"/>
                <a:gd name="connsiteX155" fmla="*/ 517562 w 1039197"/>
                <a:gd name="connsiteY155" fmla="*/ 40564 h 1114461"/>
                <a:gd name="connsiteX156" fmla="*/ 519843 w 1039197"/>
                <a:gd name="connsiteY156" fmla="*/ 40890 h 1114461"/>
                <a:gd name="connsiteX157" fmla="*/ 520169 w 1039197"/>
                <a:gd name="connsiteY157" fmla="*/ 38121 h 1114461"/>
                <a:gd name="connsiteX158" fmla="*/ 522612 w 1039197"/>
                <a:gd name="connsiteY158" fmla="*/ 36166 h 1114461"/>
                <a:gd name="connsiteX159" fmla="*/ 520658 w 1039197"/>
                <a:gd name="connsiteY159" fmla="*/ 34537 h 1114461"/>
                <a:gd name="connsiteX160" fmla="*/ 519191 w 1039197"/>
                <a:gd name="connsiteY160" fmla="*/ 31116 h 1114461"/>
                <a:gd name="connsiteX161" fmla="*/ 516910 w 1039197"/>
                <a:gd name="connsiteY161" fmla="*/ 31116 h 1114461"/>
                <a:gd name="connsiteX162" fmla="*/ 513815 w 1039197"/>
                <a:gd name="connsiteY162" fmla="*/ 32745 h 1114461"/>
                <a:gd name="connsiteX163" fmla="*/ 506973 w 1039197"/>
                <a:gd name="connsiteY163" fmla="*/ 32745 h 1114461"/>
                <a:gd name="connsiteX164" fmla="*/ 504040 w 1039197"/>
                <a:gd name="connsiteY164" fmla="*/ 36492 h 1114461"/>
                <a:gd name="connsiteX165" fmla="*/ 500946 w 1039197"/>
                <a:gd name="connsiteY165" fmla="*/ 34863 h 1114461"/>
                <a:gd name="connsiteX166" fmla="*/ 500294 w 1039197"/>
                <a:gd name="connsiteY166" fmla="*/ 33234 h 1114461"/>
                <a:gd name="connsiteX167" fmla="*/ 497199 w 1039197"/>
                <a:gd name="connsiteY167" fmla="*/ 32745 h 1114461"/>
                <a:gd name="connsiteX168" fmla="*/ 494103 w 1039197"/>
                <a:gd name="connsiteY168" fmla="*/ 29487 h 1114461"/>
                <a:gd name="connsiteX169" fmla="*/ 492637 w 1039197"/>
                <a:gd name="connsiteY169" fmla="*/ 29487 h 1114461"/>
                <a:gd name="connsiteX170" fmla="*/ 493451 w 1039197"/>
                <a:gd name="connsiteY170" fmla="*/ 31116 h 1114461"/>
                <a:gd name="connsiteX171" fmla="*/ 493451 w 1039197"/>
                <a:gd name="connsiteY171" fmla="*/ 31116 h 1114461"/>
                <a:gd name="connsiteX172" fmla="*/ 491497 w 1039197"/>
                <a:gd name="connsiteY172" fmla="*/ 32582 h 1114461"/>
                <a:gd name="connsiteX173" fmla="*/ 493615 w 1039197"/>
                <a:gd name="connsiteY173" fmla="*/ 41705 h 1114461"/>
                <a:gd name="connsiteX174" fmla="*/ 497850 w 1039197"/>
                <a:gd name="connsiteY174" fmla="*/ 43171 h 1114461"/>
                <a:gd name="connsiteX175" fmla="*/ 498502 w 1039197"/>
                <a:gd name="connsiteY175" fmla="*/ 44800 h 1114461"/>
                <a:gd name="connsiteX176" fmla="*/ 492637 w 1039197"/>
                <a:gd name="connsiteY176" fmla="*/ 43497 h 1114461"/>
                <a:gd name="connsiteX177" fmla="*/ 490519 w 1039197"/>
                <a:gd name="connsiteY177" fmla="*/ 43497 h 1114461"/>
                <a:gd name="connsiteX178" fmla="*/ 485143 w 1039197"/>
                <a:gd name="connsiteY178" fmla="*/ 42356 h 1114461"/>
                <a:gd name="connsiteX179" fmla="*/ 485143 w 1039197"/>
                <a:gd name="connsiteY179" fmla="*/ 39424 h 1114461"/>
                <a:gd name="connsiteX180" fmla="*/ 486935 w 1039197"/>
                <a:gd name="connsiteY180" fmla="*/ 39098 h 1114461"/>
                <a:gd name="connsiteX181" fmla="*/ 489379 w 1039197"/>
                <a:gd name="connsiteY181" fmla="*/ 39750 h 1114461"/>
                <a:gd name="connsiteX182" fmla="*/ 489379 w 1039197"/>
                <a:gd name="connsiteY182" fmla="*/ 38447 h 1114461"/>
                <a:gd name="connsiteX183" fmla="*/ 488238 w 1039197"/>
                <a:gd name="connsiteY183" fmla="*/ 37958 h 1114461"/>
                <a:gd name="connsiteX184" fmla="*/ 488238 w 1039197"/>
                <a:gd name="connsiteY184" fmla="*/ 35188 h 1114461"/>
                <a:gd name="connsiteX185" fmla="*/ 487750 w 1039197"/>
                <a:gd name="connsiteY185" fmla="*/ 34374 h 1114461"/>
                <a:gd name="connsiteX186" fmla="*/ 491334 w 1039197"/>
                <a:gd name="connsiteY186" fmla="*/ 32582 h 1114461"/>
                <a:gd name="connsiteX187" fmla="*/ 491334 w 1039197"/>
                <a:gd name="connsiteY187" fmla="*/ 32582 h 1114461"/>
                <a:gd name="connsiteX188" fmla="*/ 328099 w 1039197"/>
                <a:gd name="connsiteY188" fmla="*/ 142871 h 1114461"/>
                <a:gd name="connsiteX189" fmla="*/ 329891 w 1039197"/>
                <a:gd name="connsiteY189" fmla="*/ 145478 h 1114461"/>
                <a:gd name="connsiteX190" fmla="*/ 333964 w 1039197"/>
                <a:gd name="connsiteY190" fmla="*/ 144663 h 1114461"/>
                <a:gd name="connsiteX191" fmla="*/ 330380 w 1039197"/>
                <a:gd name="connsiteY191" fmla="*/ 140102 h 1114461"/>
                <a:gd name="connsiteX192" fmla="*/ 327936 w 1039197"/>
                <a:gd name="connsiteY192" fmla="*/ 142871 h 1114461"/>
                <a:gd name="connsiteX193" fmla="*/ 327936 w 1039197"/>
                <a:gd name="connsiteY193" fmla="*/ 142871 h 1114461"/>
                <a:gd name="connsiteX194" fmla="*/ 329239 w 1039197"/>
                <a:gd name="connsiteY194" fmla="*/ 160303 h 1114461"/>
                <a:gd name="connsiteX195" fmla="*/ 328751 w 1039197"/>
                <a:gd name="connsiteY195" fmla="*/ 154927 h 1114461"/>
                <a:gd name="connsiteX196" fmla="*/ 326307 w 1039197"/>
                <a:gd name="connsiteY196" fmla="*/ 151180 h 1114461"/>
                <a:gd name="connsiteX197" fmla="*/ 326633 w 1039197"/>
                <a:gd name="connsiteY197" fmla="*/ 158674 h 1114461"/>
                <a:gd name="connsiteX198" fmla="*/ 329239 w 1039197"/>
                <a:gd name="connsiteY198" fmla="*/ 160466 h 1114461"/>
                <a:gd name="connsiteX199" fmla="*/ 329239 w 1039197"/>
                <a:gd name="connsiteY199" fmla="*/ 160466 h 1114461"/>
                <a:gd name="connsiteX200" fmla="*/ 350743 w 1039197"/>
                <a:gd name="connsiteY200" fmla="*/ 122834 h 1114461"/>
                <a:gd name="connsiteX201" fmla="*/ 347648 w 1039197"/>
                <a:gd name="connsiteY201" fmla="*/ 122508 h 1114461"/>
                <a:gd name="connsiteX202" fmla="*/ 349114 w 1039197"/>
                <a:gd name="connsiteY202" fmla="*/ 119738 h 1114461"/>
                <a:gd name="connsiteX203" fmla="*/ 351232 w 1039197"/>
                <a:gd name="connsiteY203" fmla="*/ 120064 h 1114461"/>
                <a:gd name="connsiteX204" fmla="*/ 350743 w 1039197"/>
                <a:gd name="connsiteY204" fmla="*/ 122834 h 1114461"/>
                <a:gd name="connsiteX205" fmla="*/ 350743 w 1039197"/>
                <a:gd name="connsiteY205" fmla="*/ 122834 h 1114461"/>
                <a:gd name="connsiteX206" fmla="*/ 79662 w 1039197"/>
                <a:gd name="connsiteY206" fmla="*/ 298450 h 1114461"/>
                <a:gd name="connsiteX207" fmla="*/ 78196 w 1039197"/>
                <a:gd name="connsiteY207" fmla="*/ 295843 h 1114461"/>
                <a:gd name="connsiteX208" fmla="*/ 82921 w 1039197"/>
                <a:gd name="connsiteY208" fmla="*/ 289164 h 1114461"/>
                <a:gd name="connsiteX209" fmla="*/ 82432 w 1039197"/>
                <a:gd name="connsiteY209" fmla="*/ 294866 h 1114461"/>
                <a:gd name="connsiteX210" fmla="*/ 79662 w 1039197"/>
                <a:gd name="connsiteY210" fmla="*/ 298287 h 1114461"/>
                <a:gd name="connsiteX211" fmla="*/ 79662 w 1039197"/>
                <a:gd name="connsiteY211" fmla="*/ 298287 h 1114461"/>
                <a:gd name="connsiteX212" fmla="*/ 3421 w 1039197"/>
                <a:gd name="connsiteY212" fmla="*/ 431221 h 1114461"/>
                <a:gd name="connsiteX213" fmla="*/ 5376 w 1039197"/>
                <a:gd name="connsiteY213" fmla="*/ 420143 h 1114461"/>
                <a:gd name="connsiteX214" fmla="*/ 5864 w 1039197"/>
                <a:gd name="connsiteY214" fmla="*/ 427148 h 1114461"/>
                <a:gd name="connsiteX215" fmla="*/ 3258 w 1039197"/>
                <a:gd name="connsiteY215" fmla="*/ 431221 h 1114461"/>
                <a:gd name="connsiteX216" fmla="*/ 3258 w 1039197"/>
                <a:gd name="connsiteY216" fmla="*/ 431221 h 1114461"/>
                <a:gd name="connsiteX217" fmla="*/ 3095 w 1039197"/>
                <a:gd name="connsiteY217" fmla="*/ 450933 h 1114461"/>
                <a:gd name="connsiteX218" fmla="*/ 0 w 1039197"/>
                <a:gd name="connsiteY218" fmla="*/ 440832 h 1114461"/>
                <a:gd name="connsiteX219" fmla="*/ 2444 w 1039197"/>
                <a:gd name="connsiteY219" fmla="*/ 434968 h 1114461"/>
                <a:gd name="connsiteX220" fmla="*/ 5213 w 1039197"/>
                <a:gd name="connsiteY220" fmla="*/ 443439 h 1114461"/>
                <a:gd name="connsiteX221" fmla="*/ 3258 w 1039197"/>
                <a:gd name="connsiteY221" fmla="*/ 450933 h 1114461"/>
                <a:gd name="connsiteX222" fmla="*/ 3258 w 1039197"/>
                <a:gd name="connsiteY222" fmla="*/ 450933 h 1114461"/>
                <a:gd name="connsiteX223" fmla="*/ 569856 w 1039197"/>
                <a:gd name="connsiteY223" fmla="*/ 782616 h 1114461"/>
                <a:gd name="connsiteX224" fmla="*/ 569042 w 1039197"/>
                <a:gd name="connsiteY224" fmla="*/ 786688 h 1114461"/>
                <a:gd name="connsiteX225" fmla="*/ 570182 w 1039197"/>
                <a:gd name="connsiteY225" fmla="*/ 789132 h 1114461"/>
                <a:gd name="connsiteX226" fmla="*/ 573277 w 1039197"/>
                <a:gd name="connsiteY226" fmla="*/ 789132 h 1114461"/>
                <a:gd name="connsiteX227" fmla="*/ 571485 w 1039197"/>
                <a:gd name="connsiteY227" fmla="*/ 791250 h 1114461"/>
                <a:gd name="connsiteX228" fmla="*/ 576047 w 1039197"/>
                <a:gd name="connsiteY228" fmla="*/ 791250 h 1114461"/>
                <a:gd name="connsiteX229" fmla="*/ 578653 w 1039197"/>
                <a:gd name="connsiteY229" fmla="*/ 790272 h 1114461"/>
                <a:gd name="connsiteX230" fmla="*/ 582237 w 1039197"/>
                <a:gd name="connsiteY230" fmla="*/ 792064 h 1114461"/>
                <a:gd name="connsiteX231" fmla="*/ 578979 w 1039197"/>
                <a:gd name="connsiteY231" fmla="*/ 794997 h 1114461"/>
                <a:gd name="connsiteX232" fmla="*/ 569693 w 1039197"/>
                <a:gd name="connsiteY232" fmla="*/ 793693 h 1114461"/>
                <a:gd name="connsiteX233" fmla="*/ 567901 w 1039197"/>
                <a:gd name="connsiteY233" fmla="*/ 796137 h 1114461"/>
                <a:gd name="connsiteX234" fmla="*/ 565294 w 1039197"/>
                <a:gd name="connsiteY234" fmla="*/ 796137 h 1114461"/>
                <a:gd name="connsiteX235" fmla="*/ 564806 w 1039197"/>
                <a:gd name="connsiteY235" fmla="*/ 797766 h 1114461"/>
                <a:gd name="connsiteX236" fmla="*/ 562362 w 1039197"/>
                <a:gd name="connsiteY236" fmla="*/ 797766 h 1114461"/>
                <a:gd name="connsiteX237" fmla="*/ 560407 w 1039197"/>
                <a:gd name="connsiteY237" fmla="*/ 795323 h 1114461"/>
                <a:gd name="connsiteX238" fmla="*/ 557312 w 1039197"/>
                <a:gd name="connsiteY238" fmla="*/ 796463 h 1114461"/>
                <a:gd name="connsiteX239" fmla="*/ 552751 w 1039197"/>
                <a:gd name="connsiteY239" fmla="*/ 795648 h 1114461"/>
                <a:gd name="connsiteX240" fmla="*/ 550958 w 1039197"/>
                <a:gd name="connsiteY240" fmla="*/ 795974 h 1114461"/>
                <a:gd name="connsiteX241" fmla="*/ 545094 w 1039197"/>
                <a:gd name="connsiteY241" fmla="*/ 795974 h 1114461"/>
                <a:gd name="connsiteX242" fmla="*/ 541347 w 1039197"/>
                <a:gd name="connsiteY242" fmla="*/ 793205 h 1114461"/>
                <a:gd name="connsiteX243" fmla="*/ 541673 w 1039197"/>
                <a:gd name="connsiteY243" fmla="*/ 790272 h 1114461"/>
                <a:gd name="connsiteX244" fmla="*/ 547701 w 1039197"/>
                <a:gd name="connsiteY244" fmla="*/ 787177 h 1114461"/>
                <a:gd name="connsiteX245" fmla="*/ 561385 w 1039197"/>
                <a:gd name="connsiteY245" fmla="*/ 783430 h 1114461"/>
                <a:gd name="connsiteX246" fmla="*/ 565946 w 1039197"/>
                <a:gd name="connsiteY246" fmla="*/ 783919 h 1114461"/>
                <a:gd name="connsiteX247" fmla="*/ 569856 w 1039197"/>
                <a:gd name="connsiteY247" fmla="*/ 782616 h 1114461"/>
                <a:gd name="connsiteX248" fmla="*/ 569856 w 1039197"/>
                <a:gd name="connsiteY248" fmla="*/ 782616 h 1114461"/>
                <a:gd name="connsiteX249" fmla="*/ 736512 w 1039197"/>
                <a:gd name="connsiteY249" fmla="*/ 903983 h 1114461"/>
                <a:gd name="connsiteX250" fmla="*/ 739281 w 1039197"/>
                <a:gd name="connsiteY250" fmla="*/ 902843 h 1114461"/>
                <a:gd name="connsiteX251" fmla="*/ 740911 w 1039197"/>
                <a:gd name="connsiteY251" fmla="*/ 905123 h 1114461"/>
                <a:gd name="connsiteX252" fmla="*/ 739607 w 1039197"/>
                <a:gd name="connsiteY252" fmla="*/ 906915 h 1114461"/>
                <a:gd name="connsiteX253" fmla="*/ 736512 w 1039197"/>
                <a:gd name="connsiteY253" fmla="*/ 903983 h 1114461"/>
                <a:gd name="connsiteX254" fmla="*/ 736512 w 1039197"/>
                <a:gd name="connsiteY254" fmla="*/ 903983 h 1114461"/>
                <a:gd name="connsiteX255" fmla="*/ 762415 w 1039197"/>
                <a:gd name="connsiteY255" fmla="*/ 921414 h 1114461"/>
                <a:gd name="connsiteX256" fmla="*/ 765021 w 1039197"/>
                <a:gd name="connsiteY256" fmla="*/ 923206 h 1114461"/>
                <a:gd name="connsiteX257" fmla="*/ 766813 w 1039197"/>
                <a:gd name="connsiteY257" fmla="*/ 920925 h 1114461"/>
                <a:gd name="connsiteX258" fmla="*/ 762415 w 1039197"/>
                <a:gd name="connsiteY258" fmla="*/ 921252 h 1114461"/>
                <a:gd name="connsiteX259" fmla="*/ 762415 w 1039197"/>
                <a:gd name="connsiteY259" fmla="*/ 921252 h 1114461"/>
                <a:gd name="connsiteX260" fmla="*/ 701487 w 1039197"/>
                <a:gd name="connsiteY260" fmla="*/ 989347 h 1114461"/>
                <a:gd name="connsiteX261" fmla="*/ 702301 w 1039197"/>
                <a:gd name="connsiteY261" fmla="*/ 993257 h 1114461"/>
                <a:gd name="connsiteX262" fmla="*/ 705560 w 1039197"/>
                <a:gd name="connsiteY262" fmla="*/ 994235 h 1114461"/>
                <a:gd name="connsiteX263" fmla="*/ 708003 w 1039197"/>
                <a:gd name="connsiteY263" fmla="*/ 991791 h 1114461"/>
                <a:gd name="connsiteX264" fmla="*/ 704745 w 1039197"/>
                <a:gd name="connsiteY264" fmla="*/ 988533 h 1114461"/>
                <a:gd name="connsiteX265" fmla="*/ 701487 w 1039197"/>
                <a:gd name="connsiteY265" fmla="*/ 989347 h 1114461"/>
                <a:gd name="connsiteX266" fmla="*/ 701487 w 1039197"/>
                <a:gd name="connsiteY266" fmla="*/ 989347 h 1114461"/>
                <a:gd name="connsiteX267" fmla="*/ 703604 w 1039197"/>
                <a:gd name="connsiteY267" fmla="*/ 979898 h 1114461"/>
                <a:gd name="connsiteX268" fmla="*/ 703604 w 1039197"/>
                <a:gd name="connsiteY268" fmla="*/ 983646 h 1114461"/>
                <a:gd name="connsiteX269" fmla="*/ 706700 w 1039197"/>
                <a:gd name="connsiteY269" fmla="*/ 983320 h 1114461"/>
                <a:gd name="connsiteX270" fmla="*/ 706211 w 1039197"/>
                <a:gd name="connsiteY270" fmla="*/ 978758 h 1114461"/>
                <a:gd name="connsiteX271" fmla="*/ 703604 w 1039197"/>
                <a:gd name="connsiteY271" fmla="*/ 979898 h 1114461"/>
                <a:gd name="connsiteX272" fmla="*/ 703604 w 1039197"/>
                <a:gd name="connsiteY272" fmla="*/ 979898 h 1114461"/>
                <a:gd name="connsiteX273" fmla="*/ 699858 w 1039197"/>
                <a:gd name="connsiteY273" fmla="*/ 985926 h 1114461"/>
                <a:gd name="connsiteX274" fmla="*/ 696437 w 1039197"/>
                <a:gd name="connsiteY274" fmla="*/ 983971 h 1114461"/>
                <a:gd name="connsiteX275" fmla="*/ 697903 w 1039197"/>
                <a:gd name="connsiteY275" fmla="*/ 980061 h 1114461"/>
                <a:gd name="connsiteX276" fmla="*/ 701324 w 1039197"/>
                <a:gd name="connsiteY276" fmla="*/ 978107 h 1114461"/>
                <a:gd name="connsiteX277" fmla="*/ 701324 w 1039197"/>
                <a:gd name="connsiteY277" fmla="*/ 982505 h 1114461"/>
                <a:gd name="connsiteX278" fmla="*/ 699858 w 1039197"/>
                <a:gd name="connsiteY278" fmla="*/ 985926 h 1114461"/>
                <a:gd name="connsiteX279" fmla="*/ 699858 w 1039197"/>
                <a:gd name="connsiteY279" fmla="*/ 985926 h 1114461"/>
                <a:gd name="connsiteX280" fmla="*/ 683241 w 1039197"/>
                <a:gd name="connsiteY280" fmla="*/ 967355 h 1114461"/>
                <a:gd name="connsiteX281" fmla="*/ 683892 w 1039197"/>
                <a:gd name="connsiteY281" fmla="*/ 963771 h 1114461"/>
                <a:gd name="connsiteX282" fmla="*/ 682752 w 1039197"/>
                <a:gd name="connsiteY282" fmla="*/ 959535 h 1114461"/>
                <a:gd name="connsiteX283" fmla="*/ 686173 w 1039197"/>
                <a:gd name="connsiteY283" fmla="*/ 955136 h 1114461"/>
                <a:gd name="connsiteX284" fmla="*/ 685522 w 1039197"/>
                <a:gd name="connsiteY284" fmla="*/ 950738 h 1114461"/>
                <a:gd name="connsiteX285" fmla="*/ 688942 w 1039197"/>
                <a:gd name="connsiteY285" fmla="*/ 946502 h 1114461"/>
                <a:gd name="connsiteX286" fmla="*/ 691875 w 1039197"/>
                <a:gd name="connsiteY286" fmla="*/ 944221 h 1114461"/>
                <a:gd name="connsiteX287" fmla="*/ 694807 w 1039197"/>
                <a:gd name="connsiteY287" fmla="*/ 946665 h 1114461"/>
                <a:gd name="connsiteX288" fmla="*/ 693667 w 1039197"/>
                <a:gd name="connsiteY288" fmla="*/ 954159 h 1114461"/>
                <a:gd name="connsiteX289" fmla="*/ 695459 w 1039197"/>
                <a:gd name="connsiteY289" fmla="*/ 957743 h 1114461"/>
                <a:gd name="connsiteX290" fmla="*/ 692038 w 1039197"/>
                <a:gd name="connsiteY290" fmla="*/ 963119 h 1114461"/>
                <a:gd name="connsiteX291" fmla="*/ 691060 w 1039197"/>
                <a:gd name="connsiteY291" fmla="*/ 965888 h 1114461"/>
                <a:gd name="connsiteX292" fmla="*/ 686988 w 1039197"/>
                <a:gd name="connsiteY292" fmla="*/ 969146 h 1114461"/>
                <a:gd name="connsiteX293" fmla="*/ 683404 w 1039197"/>
                <a:gd name="connsiteY293" fmla="*/ 967355 h 1114461"/>
                <a:gd name="connsiteX294" fmla="*/ 683404 w 1039197"/>
                <a:gd name="connsiteY294" fmla="*/ 967355 h 1114461"/>
                <a:gd name="connsiteX295" fmla="*/ 784896 w 1039197"/>
                <a:gd name="connsiteY295" fmla="*/ 979898 h 1114461"/>
                <a:gd name="connsiteX296" fmla="*/ 794019 w 1039197"/>
                <a:gd name="connsiteY296" fmla="*/ 975826 h 1114461"/>
                <a:gd name="connsiteX297" fmla="*/ 794019 w 1039197"/>
                <a:gd name="connsiteY297" fmla="*/ 971427 h 1114461"/>
                <a:gd name="connsiteX298" fmla="*/ 785711 w 1039197"/>
                <a:gd name="connsiteY298" fmla="*/ 963119 h 1114461"/>
                <a:gd name="connsiteX299" fmla="*/ 781964 w 1039197"/>
                <a:gd name="connsiteY299" fmla="*/ 964422 h 1114461"/>
                <a:gd name="connsiteX300" fmla="*/ 783593 w 1039197"/>
                <a:gd name="connsiteY300" fmla="*/ 968658 h 1114461"/>
                <a:gd name="connsiteX301" fmla="*/ 781638 w 1039197"/>
                <a:gd name="connsiteY301" fmla="*/ 973382 h 1114461"/>
                <a:gd name="connsiteX302" fmla="*/ 783430 w 1039197"/>
                <a:gd name="connsiteY302" fmla="*/ 976477 h 1114461"/>
                <a:gd name="connsiteX303" fmla="*/ 784896 w 1039197"/>
                <a:gd name="connsiteY303" fmla="*/ 979898 h 1114461"/>
                <a:gd name="connsiteX304" fmla="*/ 784896 w 1039197"/>
                <a:gd name="connsiteY304" fmla="*/ 979898 h 1114461"/>
                <a:gd name="connsiteX305" fmla="*/ 780009 w 1039197"/>
                <a:gd name="connsiteY305" fmla="*/ 985763 h 1114461"/>
                <a:gd name="connsiteX306" fmla="*/ 781475 w 1039197"/>
                <a:gd name="connsiteY306" fmla="*/ 989021 h 1114461"/>
                <a:gd name="connsiteX307" fmla="*/ 789132 w 1039197"/>
                <a:gd name="connsiteY307" fmla="*/ 989347 h 1114461"/>
                <a:gd name="connsiteX308" fmla="*/ 793042 w 1039197"/>
                <a:gd name="connsiteY308" fmla="*/ 990977 h 1114461"/>
                <a:gd name="connsiteX309" fmla="*/ 793856 w 1039197"/>
                <a:gd name="connsiteY309" fmla="*/ 988044 h 1114461"/>
                <a:gd name="connsiteX310" fmla="*/ 788643 w 1039197"/>
                <a:gd name="connsiteY310" fmla="*/ 983157 h 1114461"/>
                <a:gd name="connsiteX311" fmla="*/ 782778 w 1039197"/>
                <a:gd name="connsiteY311" fmla="*/ 983809 h 1114461"/>
                <a:gd name="connsiteX312" fmla="*/ 779846 w 1039197"/>
                <a:gd name="connsiteY312" fmla="*/ 985763 h 1114461"/>
                <a:gd name="connsiteX313" fmla="*/ 779846 w 1039197"/>
                <a:gd name="connsiteY313" fmla="*/ 985763 h 1114461"/>
                <a:gd name="connsiteX314" fmla="*/ 784896 w 1039197"/>
                <a:gd name="connsiteY314" fmla="*/ 997982 h 1114461"/>
                <a:gd name="connsiteX315" fmla="*/ 782453 w 1039197"/>
                <a:gd name="connsiteY315" fmla="*/ 995049 h 1114461"/>
                <a:gd name="connsiteX316" fmla="*/ 786199 w 1039197"/>
                <a:gd name="connsiteY316" fmla="*/ 993909 h 1114461"/>
                <a:gd name="connsiteX317" fmla="*/ 785059 w 1039197"/>
                <a:gd name="connsiteY317" fmla="*/ 997982 h 1114461"/>
                <a:gd name="connsiteX318" fmla="*/ 785059 w 1039197"/>
                <a:gd name="connsiteY318" fmla="*/ 997982 h 1114461"/>
                <a:gd name="connsiteX319" fmla="*/ 757201 w 1039197"/>
                <a:gd name="connsiteY319" fmla="*/ 1080577 h 1114461"/>
                <a:gd name="connsiteX320" fmla="*/ 757201 w 1039197"/>
                <a:gd name="connsiteY320" fmla="*/ 1076341 h 1114461"/>
                <a:gd name="connsiteX321" fmla="*/ 760134 w 1039197"/>
                <a:gd name="connsiteY321" fmla="*/ 1079110 h 1114461"/>
                <a:gd name="connsiteX322" fmla="*/ 757201 w 1039197"/>
                <a:gd name="connsiteY322" fmla="*/ 1080577 h 1114461"/>
                <a:gd name="connsiteX323" fmla="*/ 757201 w 1039197"/>
                <a:gd name="connsiteY323" fmla="*/ 1080577 h 1114461"/>
                <a:gd name="connsiteX324" fmla="*/ 727878 w 1039197"/>
                <a:gd name="connsiteY324" fmla="*/ 1110714 h 1114461"/>
                <a:gd name="connsiteX325" fmla="*/ 724620 w 1039197"/>
                <a:gd name="connsiteY325" fmla="*/ 1108760 h 1114461"/>
                <a:gd name="connsiteX326" fmla="*/ 728367 w 1039197"/>
                <a:gd name="connsiteY326" fmla="*/ 1102895 h 1114461"/>
                <a:gd name="connsiteX327" fmla="*/ 728367 w 1039197"/>
                <a:gd name="connsiteY327" fmla="*/ 1098496 h 1114461"/>
                <a:gd name="connsiteX328" fmla="*/ 730810 w 1039197"/>
                <a:gd name="connsiteY328" fmla="*/ 1097356 h 1114461"/>
                <a:gd name="connsiteX329" fmla="*/ 731951 w 1039197"/>
                <a:gd name="connsiteY329" fmla="*/ 1100125 h 1114461"/>
                <a:gd name="connsiteX330" fmla="*/ 729670 w 1039197"/>
                <a:gd name="connsiteY330" fmla="*/ 1103384 h 1114461"/>
                <a:gd name="connsiteX331" fmla="*/ 727878 w 1039197"/>
                <a:gd name="connsiteY331" fmla="*/ 1110714 h 1114461"/>
                <a:gd name="connsiteX332" fmla="*/ 727878 w 1039197"/>
                <a:gd name="connsiteY332" fmla="*/ 1110714 h 1114461"/>
                <a:gd name="connsiteX333" fmla="*/ 694319 w 1039197"/>
                <a:gd name="connsiteY333" fmla="*/ 1107945 h 1114461"/>
                <a:gd name="connsiteX334" fmla="*/ 694319 w 1039197"/>
                <a:gd name="connsiteY334" fmla="*/ 1102569 h 1114461"/>
                <a:gd name="connsiteX335" fmla="*/ 697251 w 1039197"/>
                <a:gd name="connsiteY335" fmla="*/ 1099311 h 1114461"/>
                <a:gd name="connsiteX336" fmla="*/ 692364 w 1039197"/>
                <a:gd name="connsiteY336" fmla="*/ 1097519 h 1114461"/>
                <a:gd name="connsiteX337" fmla="*/ 691223 w 1039197"/>
                <a:gd name="connsiteY337" fmla="*/ 1091003 h 1114461"/>
                <a:gd name="connsiteX338" fmla="*/ 692364 w 1039197"/>
                <a:gd name="connsiteY338" fmla="*/ 1088885 h 1114461"/>
                <a:gd name="connsiteX339" fmla="*/ 689594 w 1039197"/>
                <a:gd name="connsiteY339" fmla="*/ 1086767 h 1114461"/>
                <a:gd name="connsiteX340" fmla="*/ 689594 w 1039197"/>
                <a:gd name="connsiteY340" fmla="*/ 1072431 h 1114461"/>
                <a:gd name="connsiteX341" fmla="*/ 690572 w 1039197"/>
                <a:gd name="connsiteY341" fmla="*/ 1069662 h 1114461"/>
                <a:gd name="connsiteX342" fmla="*/ 687151 w 1039197"/>
                <a:gd name="connsiteY342" fmla="*/ 1066729 h 1114461"/>
                <a:gd name="connsiteX343" fmla="*/ 686825 w 1039197"/>
                <a:gd name="connsiteY343" fmla="*/ 1057769 h 1114461"/>
                <a:gd name="connsiteX344" fmla="*/ 688942 w 1039197"/>
                <a:gd name="connsiteY344" fmla="*/ 1052719 h 1114461"/>
                <a:gd name="connsiteX345" fmla="*/ 693178 w 1039197"/>
                <a:gd name="connsiteY345" fmla="*/ 1057606 h 1114461"/>
                <a:gd name="connsiteX346" fmla="*/ 698554 w 1039197"/>
                <a:gd name="connsiteY346" fmla="*/ 1057932 h 1114461"/>
                <a:gd name="connsiteX347" fmla="*/ 693830 w 1039197"/>
                <a:gd name="connsiteY347" fmla="*/ 1053208 h 1114461"/>
                <a:gd name="connsiteX348" fmla="*/ 693830 w 1039197"/>
                <a:gd name="connsiteY348" fmla="*/ 1049950 h 1114461"/>
                <a:gd name="connsiteX349" fmla="*/ 691386 w 1039197"/>
                <a:gd name="connsiteY349" fmla="*/ 1048484 h 1114461"/>
                <a:gd name="connsiteX350" fmla="*/ 692690 w 1039197"/>
                <a:gd name="connsiteY350" fmla="*/ 1041315 h 1114461"/>
                <a:gd name="connsiteX351" fmla="*/ 691549 w 1039197"/>
                <a:gd name="connsiteY351" fmla="*/ 1032193 h 1114461"/>
                <a:gd name="connsiteX352" fmla="*/ 690897 w 1039197"/>
                <a:gd name="connsiteY352" fmla="*/ 1020952 h 1114461"/>
                <a:gd name="connsiteX353" fmla="*/ 692201 w 1039197"/>
                <a:gd name="connsiteY353" fmla="*/ 1014436 h 1114461"/>
                <a:gd name="connsiteX354" fmla="*/ 691060 w 1039197"/>
                <a:gd name="connsiteY354" fmla="*/ 1004335 h 1114461"/>
                <a:gd name="connsiteX355" fmla="*/ 691060 w 1039197"/>
                <a:gd name="connsiteY355" fmla="*/ 998959 h 1114461"/>
                <a:gd name="connsiteX356" fmla="*/ 692526 w 1039197"/>
                <a:gd name="connsiteY356" fmla="*/ 997819 h 1114461"/>
                <a:gd name="connsiteX357" fmla="*/ 692853 w 1039197"/>
                <a:gd name="connsiteY357" fmla="*/ 991954 h 1114461"/>
                <a:gd name="connsiteX358" fmla="*/ 694481 w 1039197"/>
                <a:gd name="connsiteY358" fmla="*/ 989510 h 1114461"/>
                <a:gd name="connsiteX359" fmla="*/ 699531 w 1039197"/>
                <a:gd name="connsiteY359" fmla="*/ 993094 h 1114461"/>
                <a:gd name="connsiteX360" fmla="*/ 704256 w 1039197"/>
                <a:gd name="connsiteY360" fmla="*/ 995375 h 1114461"/>
                <a:gd name="connsiteX361" fmla="*/ 708166 w 1039197"/>
                <a:gd name="connsiteY361" fmla="*/ 998470 h 1114461"/>
                <a:gd name="connsiteX362" fmla="*/ 708980 w 1039197"/>
                <a:gd name="connsiteY362" fmla="*/ 995701 h 1114461"/>
                <a:gd name="connsiteX363" fmla="*/ 711098 w 1039197"/>
                <a:gd name="connsiteY363" fmla="*/ 993257 h 1114461"/>
                <a:gd name="connsiteX364" fmla="*/ 711098 w 1039197"/>
                <a:gd name="connsiteY364" fmla="*/ 1000751 h 1114461"/>
                <a:gd name="connsiteX365" fmla="*/ 719733 w 1039197"/>
                <a:gd name="connsiteY365" fmla="*/ 1005638 h 1114461"/>
                <a:gd name="connsiteX366" fmla="*/ 726738 w 1039197"/>
                <a:gd name="connsiteY366" fmla="*/ 1011992 h 1114461"/>
                <a:gd name="connsiteX367" fmla="*/ 731625 w 1039197"/>
                <a:gd name="connsiteY367" fmla="*/ 1015413 h 1114461"/>
                <a:gd name="connsiteX368" fmla="*/ 734883 w 1039197"/>
                <a:gd name="connsiteY368" fmla="*/ 1012969 h 1114461"/>
                <a:gd name="connsiteX369" fmla="*/ 739933 w 1039197"/>
                <a:gd name="connsiteY369" fmla="*/ 1012969 h 1114461"/>
                <a:gd name="connsiteX370" fmla="*/ 743843 w 1039197"/>
                <a:gd name="connsiteY370" fmla="*/ 1016390 h 1114461"/>
                <a:gd name="connsiteX371" fmla="*/ 743843 w 1039197"/>
                <a:gd name="connsiteY371" fmla="*/ 1011666 h 1114461"/>
                <a:gd name="connsiteX372" fmla="*/ 746938 w 1039197"/>
                <a:gd name="connsiteY372" fmla="*/ 1009548 h 1114461"/>
                <a:gd name="connsiteX373" fmla="*/ 762252 w 1039197"/>
                <a:gd name="connsiteY373" fmla="*/ 1010525 h 1114461"/>
                <a:gd name="connsiteX374" fmla="*/ 765021 w 1039197"/>
                <a:gd name="connsiteY374" fmla="*/ 1008734 h 1114461"/>
                <a:gd name="connsiteX375" fmla="*/ 768442 w 1039197"/>
                <a:gd name="connsiteY375" fmla="*/ 1005964 h 1114461"/>
                <a:gd name="connsiteX376" fmla="*/ 771374 w 1039197"/>
                <a:gd name="connsiteY376" fmla="*/ 1005964 h 1114461"/>
                <a:gd name="connsiteX377" fmla="*/ 772678 w 1039197"/>
                <a:gd name="connsiteY377" fmla="*/ 1007104 h 1114461"/>
                <a:gd name="connsiteX378" fmla="*/ 775610 w 1039197"/>
                <a:gd name="connsiteY378" fmla="*/ 1002380 h 1114461"/>
                <a:gd name="connsiteX379" fmla="*/ 777891 w 1039197"/>
                <a:gd name="connsiteY379" fmla="*/ 1002380 h 1114461"/>
                <a:gd name="connsiteX380" fmla="*/ 783919 w 1039197"/>
                <a:gd name="connsiteY380" fmla="*/ 1006616 h 1114461"/>
                <a:gd name="connsiteX381" fmla="*/ 782127 w 1039197"/>
                <a:gd name="connsiteY381" fmla="*/ 1011014 h 1114461"/>
                <a:gd name="connsiteX382" fmla="*/ 779846 w 1039197"/>
                <a:gd name="connsiteY382" fmla="*/ 1024210 h 1114461"/>
                <a:gd name="connsiteX383" fmla="*/ 775447 w 1039197"/>
                <a:gd name="connsiteY383" fmla="*/ 1029586 h 1114461"/>
                <a:gd name="connsiteX384" fmla="*/ 775122 w 1039197"/>
                <a:gd name="connsiteY384" fmla="*/ 1039035 h 1114461"/>
                <a:gd name="connsiteX385" fmla="*/ 771374 w 1039197"/>
                <a:gd name="connsiteY385" fmla="*/ 1044411 h 1114461"/>
                <a:gd name="connsiteX386" fmla="*/ 772678 w 1039197"/>
                <a:gd name="connsiteY386" fmla="*/ 1050764 h 1114461"/>
                <a:gd name="connsiteX387" fmla="*/ 771374 w 1039197"/>
                <a:gd name="connsiteY387" fmla="*/ 1053045 h 1114461"/>
                <a:gd name="connsiteX388" fmla="*/ 771374 w 1039197"/>
                <a:gd name="connsiteY388" fmla="*/ 1057606 h 1114461"/>
                <a:gd name="connsiteX389" fmla="*/ 769094 w 1039197"/>
                <a:gd name="connsiteY389" fmla="*/ 1063145 h 1114461"/>
                <a:gd name="connsiteX390" fmla="*/ 768117 w 1039197"/>
                <a:gd name="connsiteY390" fmla="*/ 1059398 h 1114461"/>
                <a:gd name="connsiteX391" fmla="*/ 766650 w 1039197"/>
                <a:gd name="connsiteY391" fmla="*/ 1052068 h 1114461"/>
                <a:gd name="connsiteX392" fmla="*/ 763881 w 1039197"/>
                <a:gd name="connsiteY392" fmla="*/ 1056955 h 1114461"/>
                <a:gd name="connsiteX393" fmla="*/ 760622 w 1039197"/>
                <a:gd name="connsiteY393" fmla="*/ 1059236 h 1114461"/>
                <a:gd name="connsiteX394" fmla="*/ 759971 w 1039197"/>
                <a:gd name="connsiteY394" fmla="*/ 1070313 h 1114461"/>
                <a:gd name="connsiteX395" fmla="*/ 757853 w 1039197"/>
                <a:gd name="connsiteY395" fmla="*/ 1072431 h 1114461"/>
                <a:gd name="connsiteX396" fmla="*/ 753780 w 1039197"/>
                <a:gd name="connsiteY396" fmla="*/ 1072431 h 1114461"/>
                <a:gd name="connsiteX397" fmla="*/ 753780 w 1039197"/>
                <a:gd name="connsiteY397" fmla="*/ 1078296 h 1114461"/>
                <a:gd name="connsiteX398" fmla="*/ 750360 w 1039197"/>
                <a:gd name="connsiteY398" fmla="*/ 1083020 h 1114461"/>
                <a:gd name="connsiteX399" fmla="*/ 754432 w 1039197"/>
                <a:gd name="connsiteY399" fmla="*/ 1085789 h 1114461"/>
                <a:gd name="connsiteX400" fmla="*/ 754432 w 1039197"/>
                <a:gd name="connsiteY400" fmla="*/ 1088885 h 1114461"/>
                <a:gd name="connsiteX401" fmla="*/ 748567 w 1039197"/>
                <a:gd name="connsiteY401" fmla="*/ 1097193 h 1114461"/>
                <a:gd name="connsiteX402" fmla="*/ 746449 w 1039197"/>
                <a:gd name="connsiteY402" fmla="*/ 1096541 h 1114461"/>
                <a:gd name="connsiteX403" fmla="*/ 741888 w 1039197"/>
                <a:gd name="connsiteY403" fmla="*/ 1098822 h 1114461"/>
                <a:gd name="connsiteX404" fmla="*/ 741562 w 1039197"/>
                <a:gd name="connsiteY404" fmla="*/ 1091328 h 1114461"/>
                <a:gd name="connsiteX405" fmla="*/ 746776 w 1039197"/>
                <a:gd name="connsiteY405" fmla="*/ 1093446 h 1114461"/>
                <a:gd name="connsiteX406" fmla="*/ 747427 w 1039197"/>
                <a:gd name="connsiteY406" fmla="*/ 1089211 h 1114461"/>
                <a:gd name="connsiteX407" fmla="*/ 744495 w 1039197"/>
                <a:gd name="connsiteY407" fmla="*/ 1086767 h 1114461"/>
                <a:gd name="connsiteX408" fmla="*/ 740259 w 1039197"/>
                <a:gd name="connsiteY408" fmla="*/ 1087582 h 1114461"/>
                <a:gd name="connsiteX409" fmla="*/ 737815 w 1039197"/>
                <a:gd name="connsiteY409" fmla="*/ 1091980 h 1114461"/>
                <a:gd name="connsiteX410" fmla="*/ 734557 w 1039197"/>
                <a:gd name="connsiteY410" fmla="*/ 1090840 h 1114461"/>
                <a:gd name="connsiteX411" fmla="*/ 734557 w 1039197"/>
                <a:gd name="connsiteY411" fmla="*/ 1085464 h 1114461"/>
                <a:gd name="connsiteX412" fmla="*/ 732602 w 1039197"/>
                <a:gd name="connsiteY412" fmla="*/ 1090840 h 1114461"/>
                <a:gd name="connsiteX413" fmla="*/ 727878 w 1039197"/>
                <a:gd name="connsiteY413" fmla="*/ 1094587 h 1114461"/>
                <a:gd name="connsiteX414" fmla="*/ 726412 w 1039197"/>
                <a:gd name="connsiteY414" fmla="*/ 1097356 h 1114461"/>
                <a:gd name="connsiteX415" fmla="*/ 722990 w 1039197"/>
                <a:gd name="connsiteY415" fmla="*/ 1094098 h 1114461"/>
                <a:gd name="connsiteX416" fmla="*/ 720710 w 1039197"/>
                <a:gd name="connsiteY416" fmla="*/ 1102406 h 1114461"/>
                <a:gd name="connsiteX417" fmla="*/ 720058 w 1039197"/>
                <a:gd name="connsiteY417" fmla="*/ 1107130 h 1114461"/>
                <a:gd name="connsiteX418" fmla="*/ 715171 w 1039197"/>
                <a:gd name="connsiteY418" fmla="*/ 1114462 h 1114461"/>
                <a:gd name="connsiteX419" fmla="*/ 711098 w 1039197"/>
                <a:gd name="connsiteY419" fmla="*/ 1114462 h 1114461"/>
                <a:gd name="connsiteX420" fmla="*/ 708655 w 1039197"/>
                <a:gd name="connsiteY420" fmla="*/ 1109737 h 1114461"/>
                <a:gd name="connsiteX421" fmla="*/ 708655 w 1039197"/>
                <a:gd name="connsiteY421" fmla="*/ 1105502 h 1114461"/>
                <a:gd name="connsiteX422" fmla="*/ 704582 w 1039197"/>
                <a:gd name="connsiteY422" fmla="*/ 1110878 h 1114461"/>
                <a:gd name="connsiteX423" fmla="*/ 701161 w 1039197"/>
                <a:gd name="connsiteY423" fmla="*/ 1107457 h 1114461"/>
                <a:gd name="connsiteX424" fmla="*/ 696437 w 1039197"/>
                <a:gd name="connsiteY424" fmla="*/ 1108434 h 1114461"/>
                <a:gd name="connsiteX425" fmla="*/ 694319 w 1039197"/>
                <a:gd name="connsiteY425" fmla="*/ 1107457 h 1114461"/>
                <a:gd name="connsiteX426" fmla="*/ 694319 w 1039197"/>
                <a:gd name="connsiteY426" fmla="*/ 1107457 h 1114461"/>
                <a:gd name="connsiteX427" fmla="*/ 11729 w 1039197"/>
                <a:gd name="connsiteY427" fmla="*/ 707026 h 1114461"/>
                <a:gd name="connsiteX428" fmla="*/ 15150 w 1039197"/>
                <a:gd name="connsiteY428" fmla="*/ 710121 h 1114461"/>
                <a:gd name="connsiteX429" fmla="*/ 19060 w 1039197"/>
                <a:gd name="connsiteY429" fmla="*/ 710121 h 1114461"/>
                <a:gd name="connsiteX430" fmla="*/ 29812 w 1039197"/>
                <a:gd name="connsiteY430" fmla="*/ 721362 h 1114461"/>
                <a:gd name="connsiteX431" fmla="*/ 29812 w 1039197"/>
                <a:gd name="connsiteY431" fmla="*/ 725434 h 1114461"/>
                <a:gd name="connsiteX432" fmla="*/ 31604 w 1039197"/>
                <a:gd name="connsiteY432" fmla="*/ 727715 h 1114461"/>
                <a:gd name="connsiteX433" fmla="*/ 37143 w 1039197"/>
                <a:gd name="connsiteY433" fmla="*/ 728693 h 1114461"/>
                <a:gd name="connsiteX434" fmla="*/ 39587 w 1039197"/>
                <a:gd name="connsiteY434" fmla="*/ 731788 h 1114461"/>
                <a:gd name="connsiteX435" fmla="*/ 46917 w 1039197"/>
                <a:gd name="connsiteY435" fmla="*/ 732928 h 1114461"/>
                <a:gd name="connsiteX436" fmla="*/ 49850 w 1039197"/>
                <a:gd name="connsiteY436" fmla="*/ 732277 h 1114461"/>
                <a:gd name="connsiteX437" fmla="*/ 51316 w 1039197"/>
                <a:gd name="connsiteY437" fmla="*/ 734395 h 1114461"/>
                <a:gd name="connsiteX438" fmla="*/ 56855 w 1039197"/>
                <a:gd name="connsiteY438" fmla="*/ 735209 h 1114461"/>
                <a:gd name="connsiteX439" fmla="*/ 63371 w 1039197"/>
                <a:gd name="connsiteY439" fmla="*/ 733906 h 1114461"/>
                <a:gd name="connsiteX440" fmla="*/ 65164 w 1039197"/>
                <a:gd name="connsiteY440" fmla="*/ 737653 h 1114461"/>
                <a:gd name="connsiteX441" fmla="*/ 68096 w 1039197"/>
                <a:gd name="connsiteY441" fmla="*/ 735372 h 1114461"/>
                <a:gd name="connsiteX442" fmla="*/ 69562 w 1039197"/>
                <a:gd name="connsiteY442" fmla="*/ 736512 h 1114461"/>
                <a:gd name="connsiteX443" fmla="*/ 76893 w 1039197"/>
                <a:gd name="connsiteY443" fmla="*/ 735209 h 1114461"/>
                <a:gd name="connsiteX444" fmla="*/ 83246 w 1039197"/>
                <a:gd name="connsiteY444" fmla="*/ 734557 h 1114461"/>
                <a:gd name="connsiteX445" fmla="*/ 84061 w 1039197"/>
                <a:gd name="connsiteY445" fmla="*/ 731462 h 1114461"/>
                <a:gd name="connsiteX446" fmla="*/ 87971 w 1039197"/>
                <a:gd name="connsiteY446" fmla="*/ 730648 h 1114461"/>
                <a:gd name="connsiteX447" fmla="*/ 92206 w 1039197"/>
                <a:gd name="connsiteY447" fmla="*/ 724294 h 1114461"/>
                <a:gd name="connsiteX448" fmla="*/ 99700 w 1039197"/>
                <a:gd name="connsiteY448" fmla="*/ 725272 h 1114461"/>
                <a:gd name="connsiteX449" fmla="*/ 99700 w 1039197"/>
                <a:gd name="connsiteY449" fmla="*/ 720873 h 1114461"/>
                <a:gd name="connsiteX450" fmla="*/ 104587 w 1039197"/>
                <a:gd name="connsiteY450" fmla="*/ 718104 h 1114461"/>
                <a:gd name="connsiteX451" fmla="*/ 108497 w 1039197"/>
                <a:gd name="connsiteY451" fmla="*/ 718104 h 1114461"/>
                <a:gd name="connsiteX452" fmla="*/ 112407 w 1039197"/>
                <a:gd name="connsiteY452" fmla="*/ 722177 h 1114461"/>
                <a:gd name="connsiteX453" fmla="*/ 116480 w 1039197"/>
                <a:gd name="connsiteY453" fmla="*/ 716637 h 1114461"/>
                <a:gd name="connsiteX454" fmla="*/ 118598 w 1039197"/>
                <a:gd name="connsiteY454" fmla="*/ 717615 h 1114461"/>
                <a:gd name="connsiteX455" fmla="*/ 121041 w 1039197"/>
                <a:gd name="connsiteY455" fmla="*/ 716312 h 1114461"/>
                <a:gd name="connsiteX456" fmla="*/ 122344 w 1039197"/>
                <a:gd name="connsiteY456" fmla="*/ 710121 h 1114461"/>
                <a:gd name="connsiteX457" fmla="*/ 136517 w 1039197"/>
                <a:gd name="connsiteY457" fmla="*/ 701487 h 1114461"/>
                <a:gd name="connsiteX458" fmla="*/ 141894 w 1039197"/>
                <a:gd name="connsiteY458" fmla="*/ 702302 h 1114461"/>
                <a:gd name="connsiteX459" fmla="*/ 145315 w 1039197"/>
                <a:gd name="connsiteY459" fmla="*/ 704419 h 1114461"/>
                <a:gd name="connsiteX460" fmla="*/ 149876 w 1039197"/>
                <a:gd name="connsiteY460" fmla="*/ 701324 h 1114461"/>
                <a:gd name="connsiteX461" fmla="*/ 163398 w 1039197"/>
                <a:gd name="connsiteY461" fmla="*/ 698391 h 1114461"/>
                <a:gd name="connsiteX462" fmla="*/ 165190 w 1039197"/>
                <a:gd name="connsiteY462" fmla="*/ 701161 h 1114461"/>
                <a:gd name="connsiteX463" fmla="*/ 173824 w 1039197"/>
                <a:gd name="connsiteY463" fmla="*/ 699206 h 1114461"/>
                <a:gd name="connsiteX464" fmla="*/ 176267 w 1039197"/>
                <a:gd name="connsiteY464" fmla="*/ 700998 h 1114461"/>
                <a:gd name="connsiteX465" fmla="*/ 180340 w 1039197"/>
                <a:gd name="connsiteY465" fmla="*/ 701324 h 1114461"/>
                <a:gd name="connsiteX466" fmla="*/ 185553 w 1039197"/>
                <a:gd name="connsiteY466" fmla="*/ 699369 h 1114461"/>
                <a:gd name="connsiteX467" fmla="*/ 187508 w 1039197"/>
                <a:gd name="connsiteY467" fmla="*/ 704745 h 1114461"/>
                <a:gd name="connsiteX468" fmla="*/ 190603 w 1039197"/>
                <a:gd name="connsiteY468" fmla="*/ 704745 h 1114461"/>
                <a:gd name="connsiteX469" fmla="*/ 194676 w 1039197"/>
                <a:gd name="connsiteY469" fmla="*/ 702627 h 1114461"/>
                <a:gd name="connsiteX470" fmla="*/ 196957 w 1039197"/>
                <a:gd name="connsiteY470" fmla="*/ 705397 h 1114461"/>
                <a:gd name="connsiteX471" fmla="*/ 201030 w 1039197"/>
                <a:gd name="connsiteY471" fmla="*/ 702627 h 1114461"/>
                <a:gd name="connsiteX472" fmla="*/ 211130 w 1039197"/>
                <a:gd name="connsiteY472" fmla="*/ 702627 h 1114461"/>
                <a:gd name="connsiteX473" fmla="*/ 210478 w 1039197"/>
                <a:gd name="connsiteY473" fmla="*/ 706863 h 1114461"/>
                <a:gd name="connsiteX474" fmla="*/ 212271 w 1039197"/>
                <a:gd name="connsiteY474" fmla="*/ 707677 h 1114461"/>
                <a:gd name="connsiteX475" fmla="*/ 217809 w 1039197"/>
                <a:gd name="connsiteY475" fmla="*/ 702302 h 1114461"/>
                <a:gd name="connsiteX476" fmla="*/ 223348 w 1039197"/>
                <a:gd name="connsiteY476" fmla="*/ 703768 h 1114461"/>
                <a:gd name="connsiteX477" fmla="*/ 230028 w 1039197"/>
                <a:gd name="connsiteY477" fmla="*/ 699206 h 1114461"/>
                <a:gd name="connsiteX478" fmla="*/ 232634 w 1039197"/>
                <a:gd name="connsiteY478" fmla="*/ 693016 h 1114461"/>
                <a:gd name="connsiteX479" fmla="*/ 235078 w 1039197"/>
                <a:gd name="connsiteY479" fmla="*/ 692201 h 1114461"/>
                <a:gd name="connsiteX480" fmla="*/ 240454 w 1039197"/>
                <a:gd name="connsiteY480" fmla="*/ 686825 h 1114461"/>
                <a:gd name="connsiteX481" fmla="*/ 243549 w 1039197"/>
                <a:gd name="connsiteY481" fmla="*/ 677702 h 1114461"/>
                <a:gd name="connsiteX482" fmla="*/ 249740 w 1039197"/>
                <a:gd name="connsiteY482" fmla="*/ 672815 h 1114461"/>
                <a:gd name="connsiteX483" fmla="*/ 257071 w 1039197"/>
                <a:gd name="connsiteY483" fmla="*/ 670697 h 1114461"/>
                <a:gd name="connsiteX484" fmla="*/ 259840 w 1039197"/>
                <a:gd name="connsiteY484" fmla="*/ 672489 h 1114461"/>
                <a:gd name="connsiteX485" fmla="*/ 270429 w 1039197"/>
                <a:gd name="connsiteY485" fmla="*/ 668742 h 1114461"/>
                <a:gd name="connsiteX486" fmla="*/ 283951 w 1039197"/>
                <a:gd name="connsiteY486" fmla="*/ 660434 h 1114461"/>
                <a:gd name="connsiteX487" fmla="*/ 292259 w 1039197"/>
                <a:gd name="connsiteY487" fmla="*/ 652777 h 1114461"/>
                <a:gd name="connsiteX488" fmla="*/ 296169 w 1039197"/>
                <a:gd name="connsiteY488" fmla="*/ 651311 h 1114461"/>
                <a:gd name="connsiteX489" fmla="*/ 299915 w 1039197"/>
                <a:gd name="connsiteY489" fmla="*/ 651311 h 1114461"/>
                <a:gd name="connsiteX490" fmla="*/ 304314 w 1039197"/>
                <a:gd name="connsiteY490" fmla="*/ 651311 h 1114461"/>
                <a:gd name="connsiteX491" fmla="*/ 311808 w 1039197"/>
                <a:gd name="connsiteY491" fmla="*/ 654569 h 1114461"/>
                <a:gd name="connsiteX492" fmla="*/ 318813 w 1039197"/>
                <a:gd name="connsiteY492" fmla="*/ 654895 h 1114461"/>
                <a:gd name="connsiteX493" fmla="*/ 323700 w 1039197"/>
                <a:gd name="connsiteY493" fmla="*/ 653103 h 1114461"/>
                <a:gd name="connsiteX494" fmla="*/ 333964 w 1039197"/>
                <a:gd name="connsiteY494" fmla="*/ 653755 h 1114461"/>
                <a:gd name="connsiteX495" fmla="*/ 348137 w 1039197"/>
                <a:gd name="connsiteY495" fmla="*/ 648704 h 1114461"/>
                <a:gd name="connsiteX496" fmla="*/ 356445 w 1039197"/>
                <a:gd name="connsiteY496" fmla="*/ 646750 h 1114461"/>
                <a:gd name="connsiteX497" fmla="*/ 362635 w 1039197"/>
                <a:gd name="connsiteY497" fmla="*/ 642351 h 1114461"/>
                <a:gd name="connsiteX498" fmla="*/ 366546 w 1039197"/>
                <a:gd name="connsiteY498" fmla="*/ 642351 h 1114461"/>
                <a:gd name="connsiteX499" fmla="*/ 373713 w 1039197"/>
                <a:gd name="connsiteY499" fmla="*/ 637138 h 1114461"/>
                <a:gd name="connsiteX500" fmla="*/ 384303 w 1039197"/>
                <a:gd name="connsiteY500" fmla="*/ 636323 h 1114461"/>
                <a:gd name="connsiteX501" fmla="*/ 412323 w 1039197"/>
                <a:gd name="connsiteY501" fmla="*/ 634205 h 1114461"/>
                <a:gd name="connsiteX502" fmla="*/ 421446 w 1039197"/>
                <a:gd name="connsiteY502" fmla="*/ 636649 h 1114461"/>
                <a:gd name="connsiteX503" fmla="*/ 427637 w 1039197"/>
                <a:gd name="connsiteY503" fmla="*/ 636649 h 1114461"/>
                <a:gd name="connsiteX504" fmla="*/ 435293 w 1039197"/>
                <a:gd name="connsiteY504" fmla="*/ 634205 h 1114461"/>
                <a:gd name="connsiteX505" fmla="*/ 441483 w 1039197"/>
                <a:gd name="connsiteY505" fmla="*/ 635020 h 1114461"/>
                <a:gd name="connsiteX506" fmla="*/ 449140 w 1039197"/>
                <a:gd name="connsiteY506" fmla="*/ 642351 h 1114461"/>
                <a:gd name="connsiteX507" fmla="*/ 455168 w 1039197"/>
                <a:gd name="connsiteY507" fmla="*/ 652614 h 1114461"/>
                <a:gd name="connsiteX508" fmla="*/ 459892 w 1039197"/>
                <a:gd name="connsiteY508" fmla="*/ 654080 h 1114461"/>
                <a:gd name="connsiteX509" fmla="*/ 463151 w 1039197"/>
                <a:gd name="connsiteY509" fmla="*/ 651311 h 1114461"/>
                <a:gd name="connsiteX510" fmla="*/ 466246 w 1039197"/>
                <a:gd name="connsiteY510" fmla="*/ 650170 h 1114461"/>
                <a:gd name="connsiteX511" fmla="*/ 468526 w 1039197"/>
                <a:gd name="connsiteY511" fmla="*/ 652614 h 1114461"/>
                <a:gd name="connsiteX512" fmla="*/ 471459 w 1039197"/>
                <a:gd name="connsiteY512" fmla="*/ 651311 h 1114461"/>
                <a:gd name="connsiteX513" fmla="*/ 476835 w 1039197"/>
                <a:gd name="connsiteY513" fmla="*/ 652614 h 1114461"/>
                <a:gd name="connsiteX514" fmla="*/ 481722 w 1039197"/>
                <a:gd name="connsiteY514" fmla="*/ 658968 h 1114461"/>
                <a:gd name="connsiteX515" fmla="*/ 488238 w 1039197"/>
                <a:gd name="connsiteY515" fmla="*/ 660108 h 1114461"/>
                <a:gd name="connsiteX516" fmla="*/ 491008 w 1039197"/>
                <a:gd name="connsiteY516" fmla="*/ 658316 h 1114461"/>
                <a:gd name="connsiteX517" fmla="*/ 502249 w 1039197"/>
                <a:gd name="connsiteY517" fmla="*/ 666298 h 1114461"/>
                <a:gd name="connsiteX518" fmla="*/ 501271 w 1039197"/>
                <a:gd name="connsiteY518" fmla="*/ 671186 h 1114461"/>
                <a:gd name="connsiteX519" fmla="*/ 504692 w 1039197"/>
                <a:gd name="connsiteY519" fmla="*/ 671186 h 1114461"/>
                <a:gd name="connsiteX520" fmla="*/ 508602 w 1039197"/>
                <a:gd name="connsiteY520" fmla="*/ 675421 h 1114461"/>
                <a:gd name="connsiteX521" fmla="*/ 507136 w 1039197"/>
                <a:gd name="connsiteY521" fmla="*/ 679005 h 1114461"/>
                <a:gd name="connsiteX522" fmla="*/ 502900 w 1039197"/>
                <a:gd name="connsiteY522" fmla="*/ 679005 h 1114461"/>
                <a:gd name="connsiteX523" fmla="*/ 501923 w 1039197"/>
                <a:gd name="connsiteY523" fmla="*/ 682427 h 1114461"/>
                <a:gd name="connsiteX524" fmla="*/ 506321 w 1039197"/>
                <a:gd name="connsiteY524" fmla="*/ 692364 h 1114461"/>
                <a:gd name="connsiteX525" fmla="*/ 511046 w 1039197"/>
                <a:gd name="connsiteY525" fmla="*/ 692690 h 1114461"/>
                <a:gd name="connsiteX526" fmla="*/ 516259 w 1039197"/>
                <a:gd name="connsiteY526" fmla="*/ 698229 h 1114461"/>
                <a:gd name="connsiteX527" fmla="*/ 518051 w 1039197"/>
                <a:gd name="connsiteY527" fmla="*/ 705397 h 1114461"/>
                <a:gd name="connsiteX528" fmla="*/ 517074 w 1039197"/>
                <a:gd name="connsiteY528" fmla="*/ 710773 h 1114461"/>
                <a:gd name="connsiteX529" fmla="*/ 522612 w 1039197"/>
                <a:gd name="connsiteY529" fmla="*/ 723154 h 1114461"/>
                <a:gd name="connsiteX530" fmla="*/ 520658 w 1039197"/>
                <a:gd name="connsiteY530" fmla="*/ 728693 h 1114461"/>
                <a:gd name="connsiteX531" fmla="*/ 522938 w 1039197"/>
                <a:gd name="connsiteY531" fmla="*/ 731788 h 1114461"/>
                <a:gd name="connsiteX532" fmla="*/ 521961 w 1039197"/>
                <a:gd name="connsiteY532" fmla="*/ 738304 h 1114461"/>
                <a:gd name="connsiteX533" fmla="*/ 519843 w 1039197"/>
                <a:gd name="connsiteY533" fmla="*/ 742214 h 1114461"/>
                <a:gd name="connsiteX534" fmla="*/ 516747 w 1039197"/>
                <a:gd name="connsiteY534" fmla="*/ 740259 h 1114461"/>
                <a:gd name="connsiteX535" fmla="*/ 515281 w 1039197"/>
                <a:gd name="connsiteY535" fmla="*/ 741888 h 1114461"/>
                <a:gd name="connsiteX536" fmla="*/ 519354 w 1039197"/>
                <a:gd name="connsiteY536" fmla="*/ 747102 h 1114461"/>
                <a:gd name="connsiteX537" fmla="*/ 523264 w 1039197"/>
                <a:gd name="connsiteY537" fmla="*/ 749219 h 1114461"/>
                <a:gd name="connsiteX538" fmla="*/ 525219 w 1039197"/>
                <a:gd name="connsiteY538" fmla="*/ 754432 h 1114461"/>
                <a:gd name="connsiteX539" fmla="*/ 529455 w 1039197"/>
                <a:gd name="connsiteY539" fmla="*/ 752803 h 1114461"/>
                <a:gd name="connsiteX540" fmla="*/ 533853 w 1039197"/>
                <a:gd name="connsiteY540" fmla="*/ 756224 h 1114461"/>
                <a:gd name="connsiteX541" fmla="*/ 533853 w 1039197"/>
                <a:gd name="connsiteY541" fmla="*/ 751826 h 1114461"/>
                <a:gd name="connsiteX542" fmla="*/ 531572 w 1039197"/>
                <a:gd name="connsiteY542" fmla="*/ 747753 h 1114461"/>
                <a:gd name="connsiteX543" fmla="*/ 534505 w 1039197"/>
                <a:gd name="connsiteY543" fmla="*/ 744658 h 1114461"/>
                <a:gd name="connsiteX544" fmla="*/ 536948 w 1039197"/>
                <a:gd name="connsiteY544" fmla="*/ 739607 h 1114461"/>
                <a:gd name="connsiteX545" fmla="*/ 541021 w 1039197"/>
                <a:gd name="connsiteY545" fmla="*/ 738793 h 1114461"/>
                <a:gd name="connsiteX546" fmla="*/ 543302 w 1039197"/>
                <a:gd name="connsiteY546" fmla="*/ 734557 h 1114461"/>
                <a:gd name="connsiteX547" fmla="*/ 547701 w 1039197"/>
                <a:gd name="connsiteY547" fmla="*/ 732602 h 1114461"/>
                <a:gd name="connsiteX548" fmla="*/ 549004 w 1039197"/>
                <a:gd name="connsiteY548" fmla="*/ 728204 h 1114461"/>
                <a:gd name="connsiteX549" fmla="*/ 553728 w 1039197"/>
                <a:gd name="connsiteY549" fmla="*/ 722177 h 1114461"/>
                <a:gd name="connsiteX550" fmla="*/ 564480 w 1039197"/>
                <a:gd name="connsiteY550" fmla="*/ 716800 h 1114461"/>
                <a:gd name="connsiteX551" fmla="*/ 565620 w 1039197"/>
                <a:gd name="connsiteY551" fmla="*/ 713542 h 1114461"/>
                <a:gd name="connsiteX552" fmla="*/ 567738 w 1039197"/>
                <a:gd name="connsiteY552" fmla="*/ 713542 h 1114461"/>
                <a:gd name="connsiteX553" fmla="*/ 576210 w 1039197"/>
                <a:gd name="connsiteY553" fmla="*/ 709470 h 1114461"/>
                <a:gd name="connsiteX554" fmla="*/ 578328 w 1039197"/>
                <a:gd name="connsiteY554" fmla="*/ 702302 h 1114461"/>
                <a:gd name="connsiteX555" fmla="*/ 585169 w 1039197"/>
                <a:gd name="connsiteY555" fmla="*/ 691875 h 1114461"/>
                <a:gd name="connsiteX556" fmla="*/ 592501 w 1039197"/>
                <a:gd name="connsiteY556" fmla="*/ 690409 h 1114461"/>
                <a:gd name="connsiteX557" fmla="*/ 595433 w 1039197"/>
                <a:gd name="connsiteY557" fmla="*/ 686173 h 1114461"/>
                <a:gd name="connsiteX558" fmla="*/ 593478 w 1039197"/>
                <a:gd name="connsiteY558" fmla="*/ 680797 h 1114461"/>
                <a:gd name="connsiteX559" fmla="*/ 594618 w 1039197"/>
                <a:gd name="connsiteY559" fmla="*/ 674607 h 1114461"/>
                <a:gd name="connsiteX560" fmla="*/ 597713 w 1039197"/>
                <a:gd name="connsiteY560" fmla="*/ 681775 h 1114461"/>
                <a:gd name="connsiteX561" fmla="*/ 597713 w 1039197"/>
                <a:gd name="connsiteY561" fmla="*/ 688291 h 1114461"/>
                <a:gd name="connsiteX562" fmla="*/ 597876 w 1039197"/>
                <a:gd name="connsiteY562" fmla="*/ 694645 h 1114461"/>
                <a:gd name="connsiteX563" fmla="*/ 594781 w 1039197"/>
                <a:gd name="connsiteY563" fmla="*/ 698718 h 1114461"/>
                <a:gd name="connsiteX564" fmla="*/ 593315 w 1039197"/>
                <a:gd name="connsiteY564" fmla="*/ 711587 h 1114461"/>
                <a:gd name="connsiteX565" fmla="*/ 582726 w 1039197"/>
                <a:gd name="connsiteY565" fmla="*/ 718593 h 1114461"/>
                <a:gd name="connsiteX566" fmla="*/ 581260 w 1039197"/>
                <a:gd name="connsiteY566" fmla="*/ 724131 h 1114461"/>
                <a:gd name="connsiteX567" fmla="*/ 578164 w 1039197"/>
                <a:gd name="connsiteY567" fmla="*/ 728204 h 1114461"/>
                <a:gd name="connsiteX568" fmla="*/ 578490 w 1039197"/>
                <a:gd name="connsiteY568" fmla="*/ 734069 h 1114461"/>
                <a:gd name="connsiteX569" fmla="*/ 572299 w 1039197"/>
                <a:gd name="connsiteY569" fmla="*/ 742703 h 1114461"/>
                <a:gd name="connsiteX570" fmla="*/ 574255 w 1039197"/>
                <a:gd name="connsiteY570" fmla="*/ 745146 h 1114461"/>
                <a:gd name="connsiteX571" fmla="*/ 569856 w 1039197"/>
                <a:gd name="connsiteY571" fmla="*/ 757528 h 1114461"/>
                <a:gd name="connsiteX572" fmla="*/ 557638 w 1039197"/>
                <a:gd name="connsiteY572" fmla="*/ 756224 h 1114461"/>
                <a:gd name="connsiteX573" fmla="*/ 555194 w 1039197"/>
                <a:gd name="connsiteY573" fmla="*/ 763066 h 1114461"/>
                <a:gd name="connsiteX574" fmla="*/ 552099 w 1039197"/>
                <a:gd name="connsiteY574" fmla="*/ 768443 h 1114461"/>
                <a:gd name="connsiteX575" fmla="*/ 552099 w 1039197"/>
                <a:gd name="connsiteY575" fmla="*/ 770398 h 1114461"/>
                <a:gd name="connsiteX576" fmla="*/ 559593 w 1039197"/>
                <a:gd name="connsiteY576" fmla="*/ 768443 h 1114461"/>
                <a:gd name="connsiteX577" fmla="*/ 566924 w 1039197"/>
                <a:gd name="connsiteY577" fmla="*/ 765184 h 1114461"/>
                <a:gd name="connsiteX578" fmla="*/ 575558 w 1039197"/>
                <a:gd name="connsiteY578" fmla="*/ 768280 h 1114461"/>
                <a:gd name="connsiteX579" fmla="*/ 584029 w 1039197"/>
                <a:gd name="connsiteY579" fmla="*/ 753944 h 1114461"/>
                <a:gd name="connsiteX580" fmla="*/ 586310 w 1039197"/>
                <a:gd name="connsiteY580" fmla="*/ 740748 h 1114461"/>
                <a:gd name="connsiteX581" fmla="*/ 593478 w 1039197"/>
                <a:gd name="connsiteY581" fmla="*/ 733417 h 1114461"/>
                <a:gd name="connsiteX582" fmla="*/ 595433 w 1039197"/>
                <a:gd name="connsiteY582" fmla="*/ 735698 h 1114461"/>
                <a:gd name="connsiteX583" fmla="*/ 595433 w 1039197"/>
                <a:gd name="connsiteY583" fmla="*/ 747916 h 1114461"/>
                <a:gd name="connsiteX584" fmla="*/ 598365 w 1039197"/>
                <a:gd name="connsiteY584" fmla="*/ 755084 h 1114461"/>
                <a:gd name="connsiteX585" fmla="*/ 596085 w 1039197"/>
                <a:gd name="connsiteY585" fmla="*/ 755898 h 1114461"/>
                <a:gd name="connsiteX586" fmla="*/ 596899 w 1039197"/>
                <a:gd name="connsiteY586" fmla="*/ 768117 h 1114461"/>
                <a:gd name="connsiteX587" fmla="*/ 591360 w 1039197"/>
                <a:gd name="connsiteY587" fmla="*/ 778543 h 1114461"/>
                <a:gd name="connsiteX588" fmla="*/ 581748 w 1039197"/>
                <a:gd name="connsiteY588" fmla="*/ 782453 h 1114461"/>
                <a:gd name="connsiteX589" fmla="*/ 583378 w 1039197"/>
                <a:gd name="connsiteY589" fmla="*/ 785874 h 1114461"/>
                <a:gd name="connsiteX590" fmla="*/ 589568 w 1039197"/>
                <a:gd name="connsiteY590" fmla="*/ 785059 h 1114461"/>
                <a:gd name="connsiteX591" fmla="*/ 596247 w 1039197"/>
                <a:gd name="connsiteY591" fmla="*/ 785059 h 1114461"/>
                <a:gd name="connsiteX592" fmla="*/ 599180 w 1039197"/>
                <a:gd name="connsiteY592" fmla="*/ 782290 h 1114461"/>
                <a:gd name="connsiteX593" fmla="*/ 603578 w 1039197"/>
                <a:gd name="connsiteY593" fmla="*/ 781150 h 1114461"/>
                <a:gd name="connsiteX594" fmla="*/ 608954 w 1039197"/>
                <a:gd name="connsiteY594" fmla="*/ 776751 h 1114461"/>
                <a:gd name="connsiteX595" fmla="*/ 613353 w 1039197"/>
                <a:gd name="connsiteY595" fmla="*/ 778054 h 1114461"/>
                <a:gd name="connsiteX596" fmla="*/ 616611 w 1039197"/>
                <a:gd name="connsiteY596" fmla="*/ 777566 h 1114461"/>
                <a:gd name="connsiteX597" fmla="*/ 614004 w 1039197"/>
                <a:gd name="connsiteY597" fmla="*/ 781964 h 1114461"/>
                <a:gd name="connsiteX598" fmla="*/ 611561 w 1039197"/>
                <a:gd name="connsiteY598" fmla="*/ 786037 h 1114461"/>
                <a:gd name="connsiteX599" fmla="*/ 606999 w 1039197"/>
                <a:gd name="connsiteY599" fmla="*/ 785711 h 1114461"/>
                <a:gd name="connsiteX600" fmla="*/ 605696 w 1039197"/>
                <a:gd name="connsiteY600" fmla="*/ 788480 h 1114461"/>
                <a:gd name="connsiteX601" fmla="*/ 610258 w 1039197"/>
                <a:gd name="connsiteY601" fmla="*/ 795160 h 1114461"/>
                <a:gd name="connsiteX602" fmla="*/ 612212 w 1039197"/>
                <a:gd name="connsiteY602" fmla="*/ 800698 h 1114461"/>
                <a:gd name="connsiteX603" fmla="*/ 615471 w 1039197"/>
                <a:gd name="connsiteY603" fmla="*/ 808844 h 1114461"/>
                <a:gd name="connsiteX604" fmla="*/ 615796 w 1039197"/>
                <a:gd name="connsiteY604" fmla="*/ 818293 h 1114461"/>
                <a:gd name="connsiteX605" fmla="*/ 614819 w 1039197"/>
                <a:gd name="connsiteY605" fmla="*/ 830022 h 1114461"/>
                <a:gd name="connsiteX606" fmla="*/ 608465 w 1039197"/>
                <a:gd name="connsiteY606" fmla="*/ 836864 h 1114461"/>
                <a:gd name="connsiteX607" fmla="*/ 609606 w 1039197"/>
                <a:gd name="connsiteY607" fmla="*/ 840123 h 1114461"/>
                <a:gd name="connsiteX608" fmla="*/ 608628 w 1039197"/>
                <a:gd name="connsiteY608" fmla="*/ 849082 h 1114461"/>
                <a:gd name="connsiteX609" fmla="*/ 613027 w 1039197"/>
                <a:gd name="connsiteY609" fmla="*/ 852993 h 1114461"/>
                <a:gd name="connsiteX610" fmla="*/ 616937 w 1039197"/>
                <a:gd name="connsiteY610" fmla="*/ 859834 h 1114461"/>
                <a:gd name="connsiteX611" fmla="*/ 618077 w 1039197"/>
                <a:gd name="connsiteY611" fmla="*/ 868143 h 1114461"/>
                <a:gd name="connsiteX612" fmla="*/ 627200 w 1039197"/>
                <a:gd name="connsiteY612" fmla="*/ 880361 h 1114461"/>
                <a:gd name="connsiteX613" fmla="*/ 634205 w 1039197"/>
                <a:gd name="connsiteY613" fmla="*/ 882153 h 1114461"/>
                <a:gd name="connsiteX614" fmla="*/ 639092 w 1039197"/>
                <a:gd name="connsiteY614" fmla="*/ 885574 h 1114461"/>
                <a:gd name="connsiteX615" fmla="*/ 641373 w 1039197"/>
                <a:gd name="connsiteY615" fmla="*/ 891765 h 1114461"/>
                <a:gd name="connsiteX616" fmla="*/ 646586 w 1039197"/>
                <a:gd name="connsiteY616" fmla="*/ 892091 h 1114461"/>
                <a:gd name="connsiteX617" fmla="*/ 647726 w 1039197"/>
                <a:gd name="connsiteY617" fmla="*/ 889810 h 1114461"/>
                <a:gd name="connsiteX618" fmla="*/ 650985 w 1039197"/>
                <a:gd name="connsiteY618" fmla="*/ 888670 h 1114461"/>
                <a:gd name="connsiteX619" fmla="*/ 657501 w 1039197"/>
                <a:gd name="connsiteY619" fmla="*/ 890787 h 1114461"/>
                <a:gd name="connsiteX620" fmla="*/ 662877 w 1039197"/>
                <a:gd name="connsiteY620" fmla="*/ 897304 h 1114461"/>
                <a:gd name="connsiteX621" fmla="*/ 668742 w 1039197"/>
                <a:gd name="connsiteY621" fmla="*/ 897955 h 1114461"/>
                <a:gd name="connsiteX622" fmla="*/ 675095 w 1039197"/>
                <a:gd name="connsiteY622" fmla="*/ 903983 h 1114461"/>
                <a:gd name="connsiteX623" fmla="*/ 675910 w 1039197"/>
                <a:gd name="connsiteY623" fmla="*/ 909196 h 1114461"/>
                <a:gd name="connsiteX624" fmla="*/ 680960 w 1039197"/>
                <a:gd name="connsiteY624" fmla="*/ 910988 h 1114461"/>
                <a:gd name="connsiteX625" fmla="*/ 686173 w 1039197"/>
                <a:gd name="connsiteY625" fmla="*/ 917179 h 1114461"/>
                <a:gd name="connsiteX626" fmla="*/ 690083 w 1039197"/>
                <a:gd name="connsiteY626" fmla="*/ 917179 h 1114461"/>
                <a:gd name="connsiteX627" fmla="*/ 691875 w 1039197"/>
                <a:gd name="connsiteY627" fmla="*/ 913757 h 1114461"/>
                <a:gd name="connsiteX628" fmla="*/ 701812 w 1039197"/>
                <a:gd name="connsiteY628" fmla="*/ 909033 h 1114461"/>
                <a:gd name="connsiteX629" fmla="*/ 704908 w 1039197"/>
                <a:gd name="connsiteY629" fmla="*/ 904634 h 1114461"/>
                <a:gd name="connsiteX630" fmla="*/ 711098 w 1039197"/>
                <a:gd name="connsiteY630" fmla="*/ 904634 h 1114461"/>
                <a:gd name="connsiteX631" fmla="*/ 717615 w 1039197"/>
                <a:gd name="connsiteY631" fmla="*/ 897955 h 1114461"/>
                <a:gd name="connsiteX632" fmla="*/ 722339 w 1039197"/>
                <a:gd name="connsiteY632" fmla="*/ 898933 h 1114461"/>
                <a:gd name="connsiteX633" fmla="*/ 724457 w 1039197"/>
                <a:gd name="connsiteY633" fmla="*/ 896489 h 1114461"/>
                <a:gd name="connsiteX634" fmla="*/ 723153 w 1039197"/>
                <a:gd name="connsiteY634" fmla="*/ 893882 h 1114461"/>
                <a:gd name="connsiteX635" fmla="*/ 717615 w 1039197"/>
                <a:gd name="connsiteY635" fmla="*/ 892416 h 1114461"/>
                <a:gd name="connsiteX636" fmla="*/ 719406 w 1039197"/>
                <a:gd name="connsiteY636" fmla="*/ 888995 h 1114461"/>
                <a:gd name="connsiteX637" fmla="*/ 729507 w 1039197"/>
                <a:gd name="connsiteY637" fmla="*/ 882316 h 1114461"/>
                <a:gd name="connsiteX638" fmla="*/ 737815 w 1039197"/>
                <a:gd name="connsiteY638" fmla="*/ 888181 h 1114461"/>
                <a:gd name="connsiteX639" fmla="*/ 737490 w 1039197"/>
                <a:gd name="connsiteY639" fmla="*/ 893720 h 1114461"/>
                <a:gd name="connsiteX640" fmla="*/ 727226 w 1039197"/>
                <a:gd name="connsiteY640" fmla="*/ 899259 h 1114461"/>
                <a:gd name="connsiteX641" fmla="*/ 729670 w 1039197"/>
                <a:gd name="connsiteY641" fmla="*/ 904146 h 1114461"/>
                <a:gd name="connsiteX642" fmla="*/ 732928 w 1039197"/>
                <a:gd name="connsiteY642" fmla="*/ 904961 h 1114461"/>
                <a:gd name="connsiteX643" fmla="*/ 736675 w 1039197"/>
                <a:gd name="connsiteY643" fmla="*/ 901050 h 1114461"/>
                <a:gd name="connsiteX644" fmla="*/ 740747 w 1039197"/>
                <a:gd name="connsiteY644" fmla="*/ 897793 h 1114461"/>
                <a:gd name="connsiteX645" fmla="*/ 745961 w 1039197"/>
                <a:gd name="connsiteY645" fmla="*/ 900725 h 1114461"/>
                <a:gd name="connsiteX646" fmla="*/ 745472 w 1039197"/>
                <a:gd name="connsiteY646" fmla="*/ 905612 h 1114461"/>
                <a:gd name="connsiteX647" fmla="*/ 742377 w 1039197"/>
                <a:gd name="connsiteY647" fmla="*/ 905612 h 1114461"/>
                <a:gd name="connsiteX648" fmla="*/ 738304 w 1039197"/>
                <a:gd name="connsiteY648" fmla="*/ 909522 h 1114461"/>
                <a:gd name="connsiteX649" fmla="*/ 745146 w 1039197"/>
                <a:gd name="connsiteY649" fmla="*/ 917504 h 1114461"/>
                <a:gd name="connsiteX650" fmla="*/ 746449 w 1039197"/>
                <a:gd name="connsiteY650" fmla="*/ 926139 h 1114461"/>
                <a:gd name="connsiteX651" fmla="*/ 748893 w 1039197"/>
                <a:gd name="connsiteY651" fmla="*/ 924672 h 1114461"/>
                <a:gd name="connsiteX652" fmla="*/ 752314 w 1039197"/>
                <a:gd name="connsiteY652" fmla="*/ 924998 h 1114461"/>
                <a:gd name="connsiteX653" fmla="*/ 752640 w 1039197"/>
                <a:gd name="connsiteY653" fmla="*/ 930211 h 1114461"/>
                <a:gd name="connsiteX654" fmla="*/ 756387 w 1039197"/>
                <a:gd name="connsiteY654" fmla="*/ 935587 h 1114461"/>
                <a:gd name="connsiteX655" fmla="*/ 760134 w 1039197"/>
                <a:gd name="connsiteY655" fmla="*/ 929234 h 1114461"/>
                <a:gd name="connsiteX656" fmla="*/ 759808 w 1039197"/>
                <a:gd name="connsiteY656" fmla="*/ 922229 h 1114461"/>
                <a:gd name="connsiteX657" fmla="*/ 755735 w 1039197"/>
                <a:gd name="connsiteY657" fmla="*/ 925324 h 1114461"/>
                <a:gd name="connsiteX658" fmla="*/ 754758 w 1039197"/>
                <a:gd name="connsiteY658" fmla="*/ 922392 h 1114461"/>
                <a:gd name="connsiteX659" fmla="*/ 757853 w 1039197"/>
                <a:gd name="connsiteY659" fmla="*/ 918971 h 1114461"/>
                <a:gd name="connsiteX660" fmla="*/ 770397 w 1039197"/>
                <a:gd name="connsiteY660" fmla="*/ 919296 h 1114461"/>
                <a:gd name="connsiteX661" fmla="*/ 772026 w 1039197"/>
                <a:gd name="connsiteY661" fmla="*/ 921740 h 1114461"/>
                <a:gd name="connsiteX662" fmla="*/ 773818 w 1039197"/>
                <a:gd name="connsiteY662" fmla="*/ 918807 h 1114461"/>
                <a:gd name="connsiteX663" fmla="*/ 780172 w 1039197"/>
                <a:gd name="connsiteY663" fmla="*/ 910173 h 1114461"/>
                <a:gd name="connsiteX664" fmla="*/ 793367 w 1039197"/>
                <a:gd name="connsiteY664" fmla="*/ 902191 h 1114461"/>
                <a:gd name="connsiteX665" fmla="*/ 800698 w 1039197"/>
                <a:gd name="connsiteY665" fmla="*/ 895675 h 1114461"/>
                <a:gd name="connsiteX666" fmla="*/ 796788 w 1039197"/>
                <a:gd name="connsiteY666" fmla="*/ 895675 h 1114461"/>
                <a:gd name="connsiteX667" fmla="*/ 793856 w 1039197"/>
                <a:gd name="connsiteY667" fmla="*/ 897466 h 1114461"/>
                <a:gd name="connsiteX668" fmla="*/ 794996 w 1039197"/>
                <a:gd name="connsiteY668" fmla="*/ 896000 h 1114461"/>
                <a:gd name="connsiteX669" fmla="*/ 790598 w 1039197"/>
                <a:gd name="connsiteY669" fmla="*/ 894371 h 1114461"/>
                <a:gd name="connsiteX670" fmla="*/ 795485 w 1039197"/>
                <a:gd name="connsiteY670" fmla="*/ 894045 h 1114461"/>
                <a:gd name="connsiteX671" fmla="*/ 802001 w 1039197"/>
                <a:gd name="connsiteY671" fmla="*/ 894045 h 1114461"/>
                <a:gd name="connsiteX672" fmla="*/ 811613 w 1039197"/>
                <a:gd name="connsiteY672" fmla="*/ 891113 h 1114461"/>
                <a:gd name="connsiteX673" fmla="*/ 831325 w 1039197"/>
                <a:gd name="connsiteY673" fmla="*/ 887203 h 1114461"/>
                <a:gd name="connsiteX674" fmla="*/ 847128 w 1039197"/>
                <a:gd name="connsiteY674" fmla="*/ 890298 h 1114461"/>
                <a:gd name="connsiteX675" fmla="*/ 853644 w 1039197"/>
                <a:gd name="connsiteY675" fmla="*/ 886389 h 1114461"/>
                <a:gd name="connsiteX676" fmla="*/ 853644 w 1039197"/>
                <a:gd name="connsiteY676" fmla="*/ 882153 h 1114461"/>
                <a:gd name="connsiteX677" fmla="*/ 858368 w 1039197"/>
                <a:gd name="connsiteY677" fmla="*/ 882153 h 1114461"/>
                <a:gd name="connsiteX678" fmla="*/ 863255 w 1039197"/>
                <a:gd name="connsiteY678" fmla="*/ 878895 h 1114461"/>
                <a:gd name="connsiteX679" fmla="*/ 867654 w 1039197"/>
                <a:gd name="connsiteY679" fmla="*/ 869772 h 1114461"/>
                <a:gd name="connsiteX680" fmla="*/ 865699 w 1039197"/>
                <a:gd name="connsiteY680" fmla="*/ 859672 h 1114461"/>
                <a:gd name="connsiteX681" fmla="*/ 865699 w 1039197"/>
                <a:gd name="connsiteY681" fmla="*/ 854296 h 1114461"/>
                <a:gd name="connsiteX682" fmla="*/ 874170 w 1039197"/>
                <a:gd name="connsiteY682" fmla="*/ 845498 h 1114461"/>
                <a:gd name="connsiteX683" fmla="*/ 874170 w 1039197"/>
                <a:gd name="connsiteY683" fmla="*/ 830511 h 1114461"/>
                <a:gd name="connsiteX684" fmla="*/ 878243 w 1039197"/>
                <a:gd name="connsiteY684" fmla="*/ 824646 h 1114461"/>
                <a:gd name="connsiteX685" fmla="*/ 880035 w 1039197"/>
                <a:gd name="connsiteY685" fmla="*/ 814383 h 1114461"/>
                <a:gd name="connsiteX686" fmla="*/ 885085 w 1039197"/>
                <a:gd name="connsiteY686" fmla="*/ 812102 h 1114461"/>
                <a:gd name="connsiteX687" fmla="*/ 884760 w 1039197"/>
                <a:gd name="connsiteY687" fmla="*/ 807052 h 1114461"/>
                <a:gd name="connsiteX688" fmla="*/ 900236 w 1039197"/>
                <a:gd name="connsiteY688" fmla="*/ 787666 h 1114461"/>
                <a:gd name="connsiteX689" fmla="*/ 904471 w 1039197"/>
                <a:gd name="connsiteY689" fmla="*/ 786851 h 1114461"/>
                <a:gd name="connsiteX690" fmla="*/ 907241 w 1039197"/>
                <a:gd name="connsiteY690" fmla="*/ 776425 h 1114461"/>
                <a:gd name="connsiteX691" fmla="*/ 913431 w 1039197"/>
                <a:gd name="connsiteY691" fmla="*/ 768280 h 1114461"/>
                <a:gd name="connsiteX692" fmla="*/ 917341 w 1039197"/>
                <a:gd name="connsiteY692" fmla="*/ 757364 h 1114461"/>
                <a:gd name="connsiteX693" fmla="*/ 923532 w 1039197"/>
                <a:gd name="connsiteY693" fmla="*/ 751174 h 1114461"/>
                <a:gd name="connsiteX694" fmla="*/ 922880 w 1039197"/>
                <a:gd name="connsiteY694" fmla="*/ 745635 h 1114461"/>
                <a:gd name="connsiteX695" fmla="*/ 927279 w 1039197"/>
                <a:gd name="connsiteY695" fmla="*/ 743355 h 1114461"/>
                <a:gd name="connsiteX696" fmla="*/ 931351 w 1039197"/>
                <a:gd name="connsiteY696" fmla="*/ 733417 h 1114461"/>
                <a:gd name="connsiteX697" fmla="*/ 928093 w 1039197"/>
                <a:gd name="connsiteY697" fmla="*/ 730322 h 1114461"/>
                <a:gd name="connsiteX698" fmla="*/ 936076 w 1039197"/>
                <a:gd name="connsiteY698" fmla="*/ 726575 h 1114461"/>
                <a:gd name="connsiteX699" fmla="*/ 941452 w 1039197"/>
                <a:gd name="connsiteY699" fmla="*/ 718429 h 1114461"/>
                <a:gd name="connsiteX700" fmla="*/ 944710 w 1039197"/>
                <a:gd name="connsiteY700" fmla="*/ 715171 h 1114461"/>
                <a:gd name="connsiteX701" fmla="*/ 948620 w 1039197"/>
                <a:gd name="connsiteY701" fmla="*/ 706863 h 1114461"/>
                <a:gd name="connsiteX702" fmla="*/ 956113 w 1039197"/>
                <a:gd name="connsiteY702" fmla="*/ 704582 h 1114461"/>
                <a:gd name="connsiteX703" fmla="*/ 960838 w 1039197"/>
                <a:gd name="connsiteY703" fmla="*/ 702302 h 1114461"/>
                <a:gd name="connsiteX704" fmla="*/ 953019 w 1039197"/>
                <a:gd name="connsiteY704" fmla="*/ 702302 h 1114461"/>
                <a:gd name="connsiteX705" fmla="*/ 954973 w 1039197"/>
                <a:gd name="connsiteY705" fmla="*/ 699695 h 1114461"/>
                <a:gd name="connsiteX706" fmla="*/ 964096 w 1039197"/>
                <a:gd name="connsiteY706" fmla="*/ 699043 h 1114461"/>
                <a:gd name="connsiteX707" fmla="*/ 972242 w 1039197"/>
                <a:gd name="connsiteY707" fmla="*/ 693179 h 1114461"/>
                <a:gd name="connsiteX708" fmla="*/ 974033 w 1039197"/>
                <a:gd name="connsiteY708" fmla="*/ 687151 h 1114461"/>
                <a:gd name="connsiteX709" fmla="*/ 972893 w 1039197"/>
                <a:gd name="connsiteY709" fmla="*/ 684055 h 1114461"/>
                <a:gd name="connsiteX710" fmla="*/ 974033 w 1039197"/>
                <a:gd name="connsiteY710" fmla="*/ 678843 h 1114461"/>
                <a:gd name="connsiteX711" fmla="*/ 982342 w 1039197"/>
                <a:gd name="connsiteY711" fmla="*/ 672489 h 1114461"/>
                <a:gd name="connsiteX712" fmla="*/ 982342 w 1039197"/>
                <a:gd name="connsiteY712" fmla="*/ 667113 h 1114461"/>
                <a:gd name="connsiteX713" fmla="*/ 988370 w 1039197"/>
                <a:gd name="connsiteY713" fmla="*/ 664832 h 1114461"/>
                <a:gd name="connsiteX714" fmla="*/ 993908 w 1039197"/>
                <a:gd name="connsiteY714" fmla="*/ 655384 h 1114461"/>
                <a:gd name="connsiteX715" fmla="*/ 993094 w 1039197"/>
                <a:gd name="connsiteY715" fmla="*/ 650496 h 1114461"/>
                <a:gd name="connsiteX716" fmla="*/ 996026 w 1039197"/>
                <a:gd name="connsiteY716" fmla="*/ 642839 h 1114461"/>
                <a:gd name="connsiteX717" fmla="*/ 993908 w 1039197"/>
                <a:gd name="connsiteY717" fmla="*/ 640233 h 1114461"/>
                <a:gd name="connsiteX718" fmla="*/ 994723 w 1039197"/>
                <a:gd name="connsiteY718" fmla="*/ 636160 h 1114461"/>
                <a:gd name="connsiteX719" fmla="*/ 1001891 w 1039197"/>
                <a:gd name="connsiteY719" fmla="*/ 619543 h 1114461"/>
                <a:gd name="connsiteX720" fmla="*/ 1003683 w 1039197"/>
                <a:gd name="connsiteY720" fmla="*/ 610584 h 1114461"/>
                <a:gd name="connsiteX721" fmla="*/ 1012969 w 1039197"/>
                <a:gd name="connsiteY721" fmla="*/ 593967 h 1114461"/>
                <a:gd name="connsiteX722" fmla="*/ 1012643 w 1039197"/>
                <a:gd name="connsiteY722" fmla="*/ 587776 h 1114461"/>
                <a:gd name="connsiteX723" fmla="*/ 1017530 w 1039197"/>
                <a:gd name="connsiteY723" fmla="*/ 575721 h 1114461"/>
                <a:gd name="connsiteX724" fmla="*/ 1024535 w 1039197"/>
                <a:gd name="connsiteY724" fmla="*/ 569856 h 1114461"/>
                <a:gd name="connsiteX725" fmla="*/ 1026979 w 1039197"/>
                <a:gd name="connsiteY725" fmla="*/ 562851 h 1114461"/>
                <a:gd name="connsiteX726" fmla="*/ 1025024 w 1039197"/>
                <a:gd name="connsiteY726" fmla="*/ 555357 h 1114461"/>
                <a:gd name="connsiteX727" fmla="*/ 1029260 w 1039197"/>
                <a:gd name="connsiteY727" fmla="*/ 550144 h 1114461"/>
                <a:gd name="connsiteX728" fmla="*/ 1025350 w 1039197"/>
                <a:gd name="connsiteY728" fmla="*/ 538578 h 1114461"/>
                <a:gd name="connsiteX729" fmla="*/ 1026002 w 1039197"/>
                <a:gd name="connsiteY729" fmla="*/ 532387 h 1114461"/>
                <a:gd name="connsiteX730" fmla="*/ 1022255 w 1039197"/>
                <a:gd name="connsiteY730" fmla="*/ 522776 h 1114461"/>
                <a:gd name="connsiteX731" fmla="*/ 1020788 w 1039197"/>
                <a:gd name="connsiteY731" fmla="*/ 519680 h 1114461"/>
                <a:gd name="connsiteX732" fmla="*/ 1020788 w 1039197"/>
                <a:gd name="connsiteY732" fmla="*/ 514467 h 1114461"/>
                <a:gd name="connsiteX733" fmla="*/ 1022255 w 1039197"/>
                <a:gd name="connsiteY733" fmla="*/ 512186 h 1114461"/>
                <a:gd name="connsiteX734" fmla="*/ 1022255 w 1039197"/>
                <a:gd name="connsiteY734" fmla="*/ 506159 h 1114461"/>
                <a:gd name="connsiteX735" fmla="*/ 1026979 w 1039197"/>
                <a:gd name="connsiteY735" fmla="*/ 498339 h 1114461"/>
                <a:gd name="connsiteX736" fmla="*/ 1026653 w 1039197"/>
                <a:gd name="connsiteY736" fmla="*/ 496059 h 1114461"/>
                <a:gd name="connsiteX737" fmla="*/ 1026328 w 1039197"/>
                <a:gd name="connsiteY737" fmla="*/ 481234 h 1114461"/>
                <a:gd name="connsiteX738" fmla="*/ 1029260 w 1039197"/>
                <a:gd name="connsiteY738" fmla="*/ 476184 h 1114461"/>
                <a:gd name="connsiteX739" fmla="*/ 1027142 w 1039197"/>
                <a:gd name="connsiteY739" fmla="*/ 473251 h 1114461"/>
                <a:gd name="connsiteX740" fmla="*/ 1025838 w 1039197"/>
                <a:gd name="connsiteY740" fmla="*/ 468038 h 1114461"/>
                <a:gd name="connsiteX741" fmla="*/ 1025838 w 1039197"/>
                <a:gd name="connsiteY741" fmla="*/ 457938 h 1114461"/>
                <a:gd name="connsiteX742" fmla="*/ 1023884 w 1039197"/>
                <a:gd name="connsiteY742" fmla="*/ 457123 h 1114461"/>
                <a:gd name="connsiteX743" fmla="*/ 1026653 w 1039197"/>
                <a:gd name="connsiteY743" fmla="*/ 451584 h 1114461"/>
                <a:gd name="connsiteX744" fmla="*/ 1021603 w 1039197"/>
                <a:gd name="connsiteY744" fmla="*/ 449467 h 1114461"/>
                <a:gd name="connsiteX745" fmla="*/ 1019160 w 1039197"/>
                <a:gd name="connsiteY745" fmla="*/ 444416 h 1114461"/>
                <a:gd name="connsiteX746" fmla="*/ 1019160 w 1039197"/>
                <a:gd name="connsiteY746" fmla="*/ 438551 h 1114461"/>
                <a:gd name="connsiteX747" fmla="*/ 1013620 w 1039197"/>
                <a:gd name="connsiteY747" fmla="*/ 433501 h 1114461"/>
                <a:gd name="connsiteX748" fmla="*/ 1009874 w 1039197"/>
                <a:gd name="connsiteY748" fmla="*/ 426170 h 1114461"/>
                <a:gd name="connsiteX749" fmla="*/ 1008408 w 1039197"/>
                <a:gd name="connsiteY749" fmla="*/ 419002 h 1114461"/>
                <a:gd name="connsiteX750" fmla="*/ 1005149 w 1039197"/>
                <a:gd name="connsiteY750" fmla="*/ 412812 h 1114461"/>
                <a:gd name="connsiteX751" fmla="*/ 1001891 w 1039197"/>
                <a:gd name="connsiteY751" fmla="*/ 412812 h 1114461"/>
                <a:gd name="connsiteX752" fmla="*/ 997981 w 1039197"/>
                <a:gd name="connsiteY752" fmla="*/ 414278 h 1114461"/>
                <a:gd name="connsiteX753" fmla="*/ 994560 w 1039197"/>
                <a:gd name="connsiteY753" fmla="*/ 411020 h 1114461"/>
                <a:gd name="connsiteX754" fmla="*/ 993746 w 1039197"/>
                <a:gd name="connsiteY754" fmla="*/ 404503 h 1114461"/>
                <a:gd name="connsiteX755" fmla="*/ 991302 w 1039197"/>
                <a:gd name="connsiteY755" fmla="*/ 403363 h 1114461"/>
                <a:gd name="connsiteX756" fmla="*/ 990651 w 1039197"/>
                <a:gd name="connsiteY756" fmla="*/ 399616 h 1114461"/>
                <a:gd name="connsiteX757" fmla="*/ 984460 w 1039197"/>
                <a:gd name="connsiteY757" fmla="*/ 394240 h 1114461"/>
                <a:gd name="connsiteX758" fmla="*/ 981528 w 1039197"/>
                <a:gd name="connsiteY758" fmla="*/ 391471 h 1114461"/>
                <a:gd name="connsiteX759" fmla="*/ 982831 w 1039197"/>
                <a:gd name="connsiteY759" fmla="*/ 387561 h 1114461"/>
                <a:gd name="connsiteX760" fmla="*/ 979410 w 1039197"/>
                <a:gd name="connsiteY760" fmla="*/ 381370 h 1114461"/>
                <a:gd name="connsiteX761" fmla="*/ 984297 w 1039197"/>
                <a:gd name="connsiteY761" fmla="*/ 375180 h 1114461"/>
                <a:gd name="connsiteX762" fmla="*/ 985437 w 1039197"/>
                <a:gd name="connsiteY762" fmla="*/ 367360 h 1114461"/>
                <a:gd name="connsiteX763" fmla="*/ 983971 w 1039197"/>
                <a:gd name="connsiteY763" fmla="*/ 363613 h 1114461"/>
                <a:gd name="connsiteX764" fmla="*/ 984786 w 1039197"/>
                <a:gd name="connsiteY764" fmla="*/ 358563 h 1114461"/>
                <a:gd name="connsiteX765" fmla="*/ 981365 w 1039197"/>
                <a:gd name="connsiteY765" fmla="*/ 356608 h 1114461"/>
                <a:gd name="connsiteX766" fmla="*/ 980387 w 1039197"/>
                <a:gd name="connsiteY766" fmla="*/ 359378 h 1114461"/>
                <a:gd name="connsiteX767" fmla="*/ 981853 w 1039197"/>
                <a:gd name="connsiteY767" fmla="*/ 361659 h 1114461"/>
                <a:gd name="connsiteX768" fmla="*/ 979898 w 1039197"/>
                <a:gd name="connsiteY768" fmla="*/ 364428 h 1114461"/>
                <a:gd name="connsiteX769" fmla="*/ 968495 w 1039197"/>
                <a:gd name="connsiteY769" fmla="*/ 354002 h 1114461"/>
                <a:gd name="connsiteX770" fmla="*/ 966051 w 1039197"/>
                <a:gd name="connsiteY770" fmla="*/ 347974 h 1114461"/>
                <a:gd name="connsiteX771" fmla="*/ 963933 w 1039197"/>
                <a:gd name="connsiteY771" fmla="*/ 349114 h 1114461"/>
                <a:gd name="connsiteX772" fmla="*/ 963933 w 1039197"/>
                <a:gd name="connsiteY772" fmla="*/ 352535 h 1114461"/>
                <a:gd name="connsiteX773" fmla="*/ 962630 w 1039197"/>
                <a:gd name="connsiteY773" fmla="*/ 356445 h 1114461"/>
                <a:gd name="connsiteX774" fmla="*/ 965399 w 1039197"/>
                <a:gd name="connsiteY774" fmla="*/ 364428 h 1114461"/>
                <a:gd name="connsiteX775" fmla="*/ 959860 w 1039197"/>
                <a:gd name="connsiteY775" fmla="*/ 357586 h 1114461"/>
                <a:gd name="connsiteX776" fmla="*/ 957091 w 1039197"/>
                <a:gd name="connsiteY776" fmla="*/ 360681 h 1114461"/>
                <a:gd name="connsiteX777" fmla="*/ 957091 w 1039197"/>
                <a:gd name="connsiteY777" fmla="*/ 355794 h 1114461"/>
                <a:gd name="connsiteX778" fmla="*/ 954973 w 1039197"/>
                <a:gd name="connsiteY778" fmla="*/ 351721 h 1114461"/>
                <a:gd name="connsiteX779" fmla="*/ 953996 w 1039197"/>
                <a:gd name="connsiteY779" fmla="*/ 337385 h 1114461"/>
                <a:gd name="connsiteX780" fmla="*/ 955625 w 1039197"/>
                <a:gd name="connsiteY780" fmla="*/ 335919 h 1114461"/>
                <a:gd name="connsiteX781" fmla="*/ 955625 w 1039197"/>
                <a:gd name="connsiteY781" fmla="*/ 332498 h 1114461"/>
                <a:gd name="connsiteX782" fmla="*/ 950738 w 1039197"/>
                <a:gd name="connsiteY782" fmla="*/ 329402 h 1114461"/>
                <a:gd name="connsiteX783" fmla="*/ 952692 w 1039197"/>
                <a:gd name="connsiteY783" fmla="*/ 325167 h 1114461"/>
                <a:gd name="connsiteX784" fmla="*/ 948946 w 1039197"/>
                <a:gd name="connsiteY784" fmla="*/ 322234 h 1114461"/>
                <a:gd name="connsiteX785" fmla="*/ 950086 w 1039197"/>
                <a:gd name="connsiteY785" fmla="*/ 317836 h 1114461"/>
                <a:gd name="connsiteX786" fmla="*/ 941778 w 1039197"/>
                <a:gd name="connsiteY786" fmla="*/ 310668 h 1114461"/>
                <a:gd name="connsiteX787" fmla="*/ 939497 w 1039197"/>
                <a:gd name="connsiteY787" fmla="*/ 305618 h 1114461"/>
                <a:gd name="connsiteX788" fmla="*/ 939171 w 1039197"/>
                <a:gd name="connsiteY788" fmla="*/ 299590 h 1114461"/>
                <a:gd name="connsiteX789" fmla="*/ 943895 w 1039197"/>
                <a:gd name="connsiteY789" fmla="*/ 300730 h 1114461"/>
                <a:gd name="connsiteX790" fmla="*/ 943895 w 1039197"/>
                <a:gd name="connsiteY790" fmla="*/ 295680 h 1114461"/>
                <a:gd name="connsiteX791" fmla="*/ 939822 w 1039197"/>
                <a:gd name="connsiteY791" fmla="*/ 288349 h 1114461"/>
                <a:gd name="connsiteX792" fmla="*/ 937705 w 1039197"/>
                <a:gd name="connsiteY792" fmla="*/ 289490 h 1114461"/>
                <a:gd name="connsiteX793" fmla="*/ 933306 w 1039197"/>
                <a:gd name="connsiteY793" fmla="*/ 288838 h 1114461"/>
                <a:gd name="connsiteX794" fmla="*/ 928256 w 1039197"/>
                <a:gd name="connsiteY794" fmla="*/ 281670 h 1114461"/>
                <a:gd name="connsiteX795" fmla="*/ 924346 w 1039197"/>
                <a:gd name="connsiteY795" fmla="*/ 281670 h 1114461"/>
                <a:gd name="connsiteX796" fmla="*/ 919622 w 1039197"/>
                <a:gd name="connsiteY796" fmla="*/ 277434 h 1114461"/>
                <a:gd name="connsiteX797" fmla="*/ 916853 w 1039197"/>
                <a:gd name="connsiteY797" fmla="*/ 280367 h 1114461"/>
                <a:gd name="connsiteX798" fmla="*/ 914735 w 1039197"/>
                <a:gd name="connsiteY798" fmla="*/ 277434 h 1114461"/>
                <a:gd name="connsiteX799" fmla="*/ 909196 w 1039197"/>
                <a:gd name="connsiteY799" fmla="*/ 275479 h 1114461"/>
                <a:gd name="connsiteX800" fmla="*/ 905775 w 1039197"/>
                <a:gd name="connsiteY800" fmla="*/ 278738 h 1114461"/>
                <a:gd name="connsiteX801" fmla="*/ 908707 w 1039197"/>
                <a:gd name="connsiteY801" fmla="*/ 274013 h 1114461"/>
                <a:gd name="connsiteX802" fmla="*/ 913757 w 1039197"/>
                <a:gd name="connsiteY802" fmla="*/ 272710 h 1114461"/>
                <a:gd name="connsiteX803" fmla="*/ 914083 w 1039197"/>
                <a:gd name="connsiteY803" fmla="*/ 268963 h 1114461"/>
                <a:gd name="connsiteX804" fmla="*/ 912454 w 1039197"/>
                <a:gd name="connsiteY804" fmla="*/ 266031 h 1114461"/>
                <a:gd name="connsiteX805" fmla="*/ 906589 w 1039197"/>
                <a:gd name="connsiteY805" fmla="*/ 266682 h 1114461"/>
                <a:gd name="connsiteX806" fmla="*/ 902190 w 1039197"/>
                <a:gd name="connsiteY806" fmla="*/ 266357 h 1114461"/>
                <a:gd name="connsiteX807" fmla="*/ 900887 w 1039197"/>
                <a:gd name="connsiteY807" fmla="*/ 263261 h 1114461"/>
                <a:gd name="connsiteX808" fmla="*/ 898444 w 1039197"/>
                <a:gd name="connsiteY808" fmla="*/ 263261 h 1114461"/>
                <a:gd name="connsiteX809" fmla="*/ 887855 w 1039197"/>
                <a:gd name="connsiteY809" fmla="*/ 257234 h 1114461"/>
                <a:gd name="connsiteX810" fmla="*/ 883293 w 1039197"/>
                <a:gd name="connsiteY810" fmla="*/ 247948 h 1114461"/>
                <a:gd name="connsiteX811" fmla="*/ 882316 w 1039197"/>
                <a:gd name="connsiteY811" fmla="*/ 238662 h 1114461"/>
                <a:gd name="connsiteX812" fmla="*/ 879220 w 1039197"/>
                <a:gd name="connsiteY812" fmla="*/ 232634 h 1114461"/>
                <a:gd name="connsiteX813" fmla="*/ 879220 w 1039197"/>
                <a:gd name="connsiteY813" fmla="*/ 227747 h 1114461"/>
                <a:gd name="connsiteX814" fmla="*/ 881990 w 1039197"/>
                <a:gd name="connsiteY814" fmla="*/ 226770 h 1114461"/>
                <a:gd name="connsiteX815" fmla="*/ 884108 w 1039197"/>
                <a:gd name="connsiteY815" fmla="*/ 216506 h 1114461"/>
                <a:gd name="connsiteX816" fmla="*/ 881176 w 1039197"/>
                <a:gd name="connsiteY816" fmla="*/ 202985 h 1114461"/>
                <a:gd name="connsiteX817" fmla="*/ 878080 w 1039197"/>
                <a:gd name="connsiteY817" fmla="*/ 196794 h 1114461"/>
                <a:gd name="connsiteX818" fmla="*/ 880849 w 1039197"/>
                <a:gd name="connsiteY818" fmla="*/ 195491 h 1114461"/>
                <a:gd name="connsiteX819" fmla="*/ 877592 w 1039197"/>
                <a:gd name="connsiteY819" fmla="*/ 192396 h 1114461"/>
                <a:gd name="connsiteX820" fmla="*/ 873681 w 1039197"/>
                <a:gd name="connsiteY820" fmla="*/ 192396 h 1114461"/>
                <a:gd name="connsiteX821" fmla="*/ 868794 w 1039197"/>
                <a:gd name="connsiteY821" fmla="*/ 182295 h 1114461"/>
                <a:gd name="connsiteX822" fmla="*/ 868794 w 1039197"/>
                <a:gd name="connsiteY822" fmla="*/ 169751 h 1114461"/>
                <a:gd name="connsiteX823" fmla="*/ 870586 w 1039197"/>
                <a:gd name="connsiteY823" fmla="*/ 168285 h 1114461"/>
                <a:gd name="connsiteX824" fmla="*/ 870586 w 1039197"/>
                <a:gd name="connsiteY824" fmla="*/ 165516 h 1114461"/>
                <a:gd name="connsiteX825" fmla="*/ 868469 w 1039197"/>
                <a:gd name="connsiteY825" fmla="*/ 162584 h 1114461"/>
                <a:gd name="connsiteX826" fmla="*/ 867328 w 1039197"/>
                <a:gd name="connsiteY826" fmla="*/ 146781 h 1114461"/>
                <a:gd name="connsiteX827" fmla="*/ 868631 w 1039197"/>
                <a:gd name="connsiteY827" fmla="*/ 142546 h 1114461"/>
                <a:gd name="connsiteX828" fmla="*/ 867328 w 1039197"/>
                <a:gd name="connsiteY828" fmla="*/ 137495 h 1114461"/>
                <a:gd name="connsiteX829" fmla="*/ 869120 w 1039197"/>
                <a:gd name="connsiteY829" fmla="*/ 136029 h 1114461"/>
                <a:gd name="connsiteX830" fmla="*/ 869772 w 1039197"/>
                <a:gd name="connsiteY830" fmla="*/ 132282 h 1114461"/>
                <a:gd name="connsiteX831" fmla="*/ 860812 w 1039197"/>
                <a:gd name="connsiteY831" fmla="*/ 123811 h 1114461"/>
                <a:gd name="connsiteX832" fmla="*/ 855436 w 1039197"/>
                <a:gd name="connsiteY832" fmla="*/ 120553 h 1114461"/>
                <a:gd name="connsiteX833" fmla="*/ 856902 w 1039197"/>
                <a:gd name="connsiteY833" fmla="*/ 118272 h 1114461"/>
                <a:gd name="connsiteX834" fmla="*/ 851037 w 1039197"/>
                <a:gd name="connsiteY834" fmla="*/ 112407 h 1114461"/>
                <a:gd name="connsiteX835" fmla="*/ 845824 w 1039197"/>
                <a:gd name="connsiteY835" fmla="*/ 115828 h 1114461"/>
                <a:gd name="connsiteX836" fmla="*/ 843381 w 1039197"/>
                <a:gd name="connsiteY836" fmla="*/ 114036 h 1114461"/>
                <a:gd name="connsiteX837" fmla="*/ 840448 w 1039197"/>
                <a:gd name="connsiteY837" fmla="*/ 119576 h 1114461"/>
                <a:gd name="connsiteX838" fmla="*/ 836212 w 1039197"/>
                <a:gd name="connsiteY838" fmla="*/ 119576 h 1114461"/>
                <a:gd name="connsiteX839" fmla="*/ 830999 w 1039197"/>
                <a:gd name="connsiteY839" fmla="*/ 111756 h 1114461"/>
                <a:gd name="connsiteX840" fmla="*/ 831651 w 1039197"/>
                <a:gd name="connsiteY840" fmla="*/ 107520 h 1114461"/>
                <a:gd name="connsiteX841" fmla="*/ 828393 w 1039197"/>
                <a:gd name="connsiteY841" fmla="*/ 100352 h 1114461"/>
                <a:gd name="connsiteX842" fmla="*/ 830347 w 1039197"/>
                <a:gd name="connsiteY842" fmla="*/ 90903 h 1114461"/>
                <a:gd name="connsiteX843" fmla="*/ 829208 w 1039197"/>
                <a:gd name="connsiteY843" fmla="*/ 79500 h 1114461"/>
                <a:gd name="connsiteX844" fmla="*/ 827090 w 1039197"/>
                <a:gd name="connsiteY844" fmla="*/ 80477 h 1114461"/>
                <a:gd name="connsiteX845" fmla="*/ 825135 w 1039197"/>
                <a:gd name="connsiteY845" fmla="*/ 75753 h 1114461"/>
                <a:gd name="connsiteX846" fmla="*/ 827415 w 1039197"/>
                <a:gd name="connsiteY846" fmla="*/ 71354 h 1114461"/>
                <a:gd name="connsiteX847" fmla="*/ 823506 w 1039197"/>
                <a:gd name="connsiteY847" fmla="*/ 66141 h 1114461"/>
                <a:gd name="connsiteX848" fmla="*/ 823506 w 1039197"/>
                <a:gd name="connsiteY848" fmla="*/ 61743 h 1114461"/>
                <a:gd name="connsiteX849" fmla="*/ 820573 w 1039197"/>
                <a:gd name="connsiteY849" fmla="*/ 59951 h 1114461"/>
                <a:gd name="connsiteX850" fmla="*/ 820573 w 1039197"/>
                <a:gd name="connsiteY850" fmla="*/ 53597 h 1114461"/>
                <a:gd name="connsiteX851" fmla="*/ 823831 w 1039197"/>
                <a:gd name="connsiteY851" fmla="*/ 50502 h 1114461"/>
                <a:gd name="connsiteX852" fmla="*/ 820410 w 1039197"/>
                <a:gd name="connsiteY852" fmla="*/ 48547 h 1114461"/>
                <a:gd name="connsiteX853" fmla="*/ 816174 w 1039197"/>
                <a:gd name="connsiteY853" fmla="*/ 49525 h 1114461"/>
                <a:gd name="connsiteX854" fmla="*/ 812917 w 1039197"/>
                <a:gd name="connsiteY854" fmla="*/ 46429 h 1114461"/>
                <a:gd name="connsiteX855" fmla="*/ 814871 w 1039197"/>
                <a:gd name="connsiteY855" fmla="*/ 34211 h 1114461"/>
                <a:gd name="connsiteX856" fmla="*/ 813405 w 1039197"/>
                <a:gd name="connsiteY856" fmla="*/ 31442 h 1114461"/>
                <a:gd name="connsiteX857" fmla="*/ 811939 w 1039197"/>
                <a:gd name="connsiteY857" fmla="*/ 24274 h 1114461"/>
                <a:gd name="connsiteX858" fmla="*/ 806563 w 1039197"/>
                <a:gd name="connsiteY858" fmla="*/ 23133 h 1114461"/>
                <a:gd name="connsiteX859" fmla="*/ 806563 w 1039197"/>
                <a:gd name="connsiteY859" fmla="*/ 19875 h 1114461"/>
                <a:gd name="connsiteX860" fmla="*/ 800698 w 1039197"/>
                <a:gd name="connsiteY860" fmla="*/ 22156 h 1114461"/>
                <a:gd name="connsiteX861" fmla="*/ 797766 w 1039197"/>
                <a:gd name="connsiteY861" fmla="*/ 26228 h 1114461"/>
                <a:gd name="connsiteX862" fmla="*/ 797766 w 1039197"/>
                <a:gd name="connsiteY862" fmla="*/ 35351 h 1114461"/>
                <a:gd name="connsiteX863" fmla="*/ 794996 w 1039197"/>
                <a:gd name="connsiteY863" fmla="*/ 43008 h 1114461"/>
                <a:gd name="connsiteX864" fmla="*/ 794996 w 1039197"/>
                <a:gd name="connsiteY864" fmla="*/ 45126 h 1114461"/>
                <a:gd name="connsiteX865" fmla="*/ 793856 w 1039197"/>
                <a:gd name="connsiteY865" fmla="*/ 50339 h 1114461"/>
                <a:gd name="connsiteX866" fmla="*/ 790924 w 1039197"/>
                <a:gd name="connsiteY866" fmla="*/ 50013 h 1114461"/>
                <a:gd name="connsiteX867" fmla="*/ 787665 w 1039197"/>
                <a:gd name="connsiteY867" fmla="*/ 58322 h 1114461"/>
                <a:gd name="connsiteX868" fmla="*/ 783267 w 1039197"/>
                <a:gd name="connsiteY868" fmla="*/ 64512 h 1114461"/>
                <a:gd name="connsiteX869" fmla="*/ 787177 w 1039197"/>
                <a:gd name="connsiteY869" fmla="*/ 68259 h 1114461"/>
                <a:gd name="connsiteX870" fmla="*/ 792064 w 1039197"/>
                <a:gd name="connsiteY870" fmla="*/ 72169 h 1114461"/>
                <a:gd name="connsiteX871" fmla="*/ 788969 w 1039197"/>
                <a:gd name="connsiteY871" fmla="*/ 74287 h 1114461"/>
                <a:gd name="connsiteX872" fmla="*/ 785711 w 1039197"/>
                <a:gd name="connsiteY872" fmla="*/ 73635 h 1114461"/>
                <a:gd name="connsiteX873" fmla="*/ 783593 w 1039197"/>
                <a:gd name="connsiteY873" fmla="*/ 78685 h 1114461"/>
                <a:gd name="connsiteX874" fmla="*/ 780823 w 1039197"/>
                <a:gd name="connsiteY874" fmla="*/ 83735 h 1114461"/>
                <a:gd name="connsiteX875" fmla="*/ 784570 w 1039197"/>
                <a:gd name="connsiteY875" fmla="*/ 89763 h 1114461"/>
                <a:gd name="connsiteX876" fmla="*/ 785222 w 1039197"/>
                <a:gd name="connsiteY876" fmla="*/ 93999 h 1114461"/>
                <a:gd name="connsiteX877" fmla="*/ 781312 w 1039197"/>
                <a:gd name="connsiteY877" fmla="*/ 92533 h 1114461"/>
                <a:gd name="connsiteX878" fmla="*/ 778380 w 1039197"/>
                <a:gd name="connsiteY878" fmla="*/ 94650 h 1114461"/>
                <a:gd name="connsiteX879" fmla="*/ 776099 w 1039197"/>
                <a:gd name="connsiteY879" fmla="*/ 107194 h 1114461"/>
                <a:gd name="connsiteX880" fmla="*/ 778380 w 1039197"/>
                <a:gd name="connsiteY880" fmla="*/ 115666 h 1114461"/>
                <a:gd name="connsiteX881" fmla="*/ 776588 w 1039197"/>
                <a:gd name="connsiteY881" fmla="*/ 124951 h 1114461"/>
                <a:gd name="connsiteX882" fmla="*/ 779031 w 1039197"/>
                <a:gd name="connsiteY882" fmla="*/ 131468 h 1114461"/>
                <a:gd name="connsiteX883" fmla="*/ 778380 w 1039197"/>
                <a:gd name="connsiteY883" fmla="*/ 138961 h 1114461"/>
                <a:gd name="connsiteX884" fmla="*/ 773492 w 1039197"/>
                <a:gd name="connsiteY884" fmla="*/ 143360 h 1114461"/>
                <a:gd name="connsiteX885" fmla="*/ 773492 w 1039197"/>
                <a:gd name="connsiteY885" fmla="*/ 147596 h 1114461"/>
                <a:gd name="connsiteX886" fmla="*/ 768279 w 1039197"/>
                <a:gd name="connsiteY886" fmla="*/ 157533 h 1114461"/>
                <a:gd name="connsiteX887" fmla="*/ 767302 w 1039197"/>
                <a:gd name="connsiteY887" fmla="*/ 172032 h 1114461"/>
                <a:gd name="connsiteX888" fmla="*/ 762903 w 1039197"/>
                <a:gd name="connsiteY888" fmla="*/ 177082 h 1114461"/>
                <a:gd name="connsiteX889" fmla="*/ 764369 w 1039197"/>
                <a:gd name="connsiteY889" fmla="*/ 182295 h 1114461"/>
                <a:gd name="connsiteX890" fmla="*/ 761437 w 1039197"/>
                <a:gd name="connsiteY890" fmla="*/ 190278 h 1114461"/>
                <a:gd name="connsiteX891" fmla="*/ 756713 w 1039197"/>
                <a:gd name="connsiteY891" fmla="*/ 195002 h 1114461"/>
                <a:gd name="connsiteX892" fmla="*/ 756061 w 1039197"/>
                <a:gd name="connsiteY892" fmla="*/ 204614 h 1114461"/>
                <a:gd name="connsiteX893" fmla="*/ 748079 w 1039197"/>
                <a:gd name="connsiteY893" fmla="*/ 210642 h 1114461"/>
                <a:gd name="connsiteX894" fmla="*/ 731788 w 1039197"/>
                <a:gd name="connsiteY894" fmla="*/ 216995 h 1114461"/>
                <a:gd name="connsiteX895" fmla="*/ 725271 w 1039197"/>
                <a:gd name="connsiteY895" fmla="*/ 212271 h 1114461"/>
                <a:gd name="connsiteX896" fmla="*/ 718429 w 1039197"/>
                <a:gd name="connsiteY896" fmla="*/ 211619 h 1114461"/>
                <a:gd name="connsiteX897" fmla="*/ 715171 w 1039197"/>
                <a:gd name="connsiteY897" fmla="*/ 207220 h 1114461"/>
                <a:gd name="connsiteX898" fmla="*/ 708817 w 1039197"/>
                <a:gd name="connsiteY898" fmla="*/ 202170 h 1114461"/>
                <a:gd name="connsiteX899" fmla="*/ 708817 w 1039197"/>
                <a:gd name="connsiteY899" fmla="*/ 199075 h 1114461"/>
                <a:gd name="connsiteX900" fmla="*/ 706863 w 1039197"/>
                <a:gd name="connsiteY900" fmla="*/ 196794 h 1114461"/>
                <a:gd name="connsiteX901" fmla="*/ 705233 w 1039197"/>
                <a:gd name="connsiteY901" fmla="*/ 191255 h 1114461"/>
                <a:gd name="connsiteX902" fmla="*/ 699206 w 1039197"/>
                <a:gd name="connsiteY902" fmla="*/ 190278 h 1114461"/>
                <a:gd name="connsiteX903" fmla="*/ 694156 w 1039197"/>
                <a:gd name="connsiteY903" fmla="*/ 188160 h 1114461"/>
                <a:gd name="connsiteX904" fmla="*/ 686173 w 1039197"/>
                <a:gd name="connsiteY904" fmla="*/ 187509 h 1114461"/>
                <a:gd name="connsiteX905" fmla="*/ 678842 w 1039197"/>
                <a:gd name="connsiteY905" fmla="*/ 182784 h 1114461"/>
                <a:gd name="connsiteX906" fmla="*/ 677539 w 1039197"/>
                <a:gd name="connsiteY906" fmla="*/ 178549 h 1114461"/>
                <a:gd name="connsiteX907" fmla="*/ 672000 w 1039197"/>
                <a:gd name="connsiteY907" fmla="*/ 171380 h 1114461"/>
                <a:gd name="connsiteX908" fmla="*/ 665158 w 1039197"/>
                <a:gd name="connsiteY908" fmla="*/ 170729 h 1114461"/>
                <a:gd name="connsiteX909" fmla="*/ 659130 w 1039197"/>
                <a:gd name="connsiteY909" fmla="*/ 166819 h 1114461"/>
                <a:gd name="connsiteX910" fmla="*/ 658804 w 1039197"/>
                <a:gd name="connsiteY910" fmla="*/ 163561 h 1114461"/>
                <a:gd name="connsiteX911" fmla="*/ 655546 w 1039197"/>
                <a:gd name="connsiteY911" fmla="*/ 163235 h 1114461"/>
                <a:gd name="connsiteX912" fmla="*/ 652614 w 1039197"/>
                <a:gd name="connsiteY912" fmla="*/ 160954 h 1114461"/>
                <a:gd name="connsiteX913" fmla="*/ 647075 w 1039197"/>
                <a:gd name="connsiteY913" fmla="*/ 160954 h 1114461"/>
                <a:gd name="connsiteX914" fmla="*/ 642513 w 1039197"/>
                <a:gd name="connsiteY914" fmla="*/ 159977 h 1114461"/>
                <a:gd name="connsiteX915" fmla="*/ 643817 w 1039197"/>
                <a:gd name="connsiteY915" fmla="*/ 157859 h 1114461"/>
                <a:gd name="connsiteX916" fmla="*/ 637463 w 1039197"/>
                <a:gd name="connsiteY916" fmla="*/ 152646 h 1114461"/>
                <a:gd name="connsiteX917" fmla="*/ 636323 w 1039197"/>
                <a:gd name="connsiteY917" fmla="*/ 147596 h 1114461"/>
                <a:gd name="connsiteX918" fmla="*/ 629806 w 1039197"/>
                <a:gd name="connsiteY918" fmla="*/ 140753 h 1114461"/>
                <a:gd name="connsiteX919" fmla="*/ 625571 w 1039197"/>
                <a:gd name="connsiteY919" fmla="*/ 140102 h 1114461"/>
                <a:gd name="connsiteX920" fmla="*/ 620032 w 1039197"/>
                <a:gd name="connsiteY920" fmla="*/ 133586 h 1114461"/>
                <a:gd name="connsiteX921" fmla="*/ 620032 w 1039197"/>
                <a:gd name="connsiteY921" fmla="*/ 127232 h 1114461"/>
                <a:gd name="connsiteX922" fmla="*/ 624756 w 1039197"/>
                <a:gd name="connsiteY922" fmla="*/ 119576 h 1114461"/>
                <a:gd name="connsiteX923" fmla="*/ 625897 w 1039197"/>
                <a:gd name="connsiteY923" fmla="*/ 113385 h 1114461"/>
                <a:gd name="connsiteX924" fmla="*/ 630947 w 1039197"/>
                <a:gd name="connsiteY924" fmla="*/ 109964 h 1114461"/>
                <a:gd name="connsiteX925" fmla="*/ 632413 w 1039197"/>
                <a:gd name="connsiteY925" fmla="*/ 102796 h 1114461"/>
                <a:gd name="connsiteX926" fmla="*/ 634531 w 1039197"/>
                <a:gd name="connsiteY926" fmla="*/ 98071 h 1114461"/>
                <a:gd name="connsiteX927" fmla="*/ 630133 w 1039197"/>
                <a:gd name="connsiteY927" fmla="*/ 101330 h 1114461"/>
                <a:gd name="connsiteX928" fmla="*/ 626385 w 1039197"/>
                <a:gd name="connsiteY928" fmla="*/ 94325 h 1114461"/>
                <a:gd name="connsiteX929" fmla="*/ 631599 w 1039197"/>
                <a:gd name="connsiteY929" fmla="*/ 90903 h 1114461"/>
                <a:gd name="connsiteX930" fmla="*/ 630621 w 1039197"/>
                <a:gd name="connsiteY930" fmla="*/ 85527 h 1114461"/>
                <a:gd name="connsiteX931" fmla="*/ 633390 w 1039197"/>
                <a:gd name="connsiteY931" fmla="*/ 85527 h 1114461"/>
                <a:gd name="connsiteX932" fmla="*/ 636486 w 1039197"/>
                <a:gd name="connsiteY932" fmla="*/ 84387 h 1114461"/>
                <a:gd name="connsiteX933" fmla="*/ 637789 w 1039197"/>
                <a:gd name="connsiteY933" fmla="*/ 86342 h 1114461"/>
                <a:gd name="connsiteX934" fmla="*/ 642351 w 1039197"/>
                <a:gd name="connsiteY934" fmla="*/ 87319 h 1114461"/>
                <a:gd name="connsiteX935" fmla="*/ 648704 w 1039197"/>
                <a:gd name="connsiteY935" fmla="*/ 84387 h 1114461"/>
                <a:gd name="connsiteX936" fmla="*/ 650822 w 1039197"/>
                <a:gd name="connsiteY936" fmla="*/ 78522 h 1114461"/>
                <a:gd name="connsiteX937" fmla="*/ 646423 w 1039197"/>
                <a:gd name="connsiteY937" fmla="*/ 74775 h 1114461"/>
                <a:gd name="connsiteX938" fmla="*/ 649844 w 1039197"/>
                <a:gd name="connsiteY938" fmla="*/ 72006 h 1114461"/>
                <a:gd name="connsiteX939" fmla="*/ 653591 w 1039197"/>
                <a:gd name="connsiteY939" fmla="*/ 72983 h 1114461"/>
                <a:gd name="connsiteX940" fmla="*/ 656035 w 1039197"/>
                <a:gd name="connsiteY940" fmla="*/ 64349 h 1114461"/>
                <a:gd name="connsiteX941" fmla="*/ 659293 w 1039197"/>
                <a:gd name="connsiteY941" fmla="*/ 62557 h 1114461"/>
                <a:gd name="connsiteX942" fmla="*/ 662714 w 1039197"/>
                <a:gd name="connsiteY942" fmla="*/ 57833 h 1114461"/>
                <a:gd name="connsiteX943" fmla="*/ 662714 w 1039197"/>
                <a:gd name="connsiteY943" fmla="*/ 55389 h 1114461"/>
                <a:gd name="connsiteX944" fmla="*/ 657664 w 1039197"/>
                <a:gd name="connsiteY944" fmla="*/ 52945 h 1114461"/>
                <a:gd name="connsiteX945" fmla="*/ 654406 w 1039197"/>
                <a:gd name="connsiteY945" fmla="*/ 56855 h 1114461"/>
                <a:gd name="connsiteX946" fmla="*/ 651147 w 1039197"/>
                <a:gd name="connsiteY946" fmla="*/ 55552 h 1114461"/>
                <a:gd name="connsiteX947" fmla="*/ 650333 w 1039197"/>
                <a:gd name="connsiteY947" fmla="*/ 46918 h 1114461"/>
                <a:gd name="connsiteX948" fmla="*/ 646097 w 1039197"/>
                <a:gd name="connsiteY948" fmla="*/ 48873 h 1114461"/>
                <a:gd name="connsiteX949" fmla="*/ 640070 w 1039197"/>
                <a:gd name="connsiteY949" fmla="*/ 56041 h 1114461"/>
                <a:gd name="connsiteX950" fmla="*/ 643165 w 1039197"/>
                <a:gd name="connsiteY950" fmla="*/ 57344 h 1114461"/>
                <a:gd name="connsiteX951" fmla="*/ 643165 w 1039197"/>
                <a:gd name="connsiteY951" fmla="*/ 60765 h 1114461"/>
                <a:gd name="connsiteX952" fmla="*/ 638929 w 1039197"/>
                <a:gd name="connsiteY952" fmla="*/ 62883 h 1114461"/>
                <a:gd name="connsiteX953" fmla="*/ 634857 w 1039197"/>
                <a:gd name="connsiteY953" fmla="*/ 60439 h 1114461"/>
                <a:gd name="connsiteX954" fmla="*/ 633879 w 1039197"/>
                <a:gd name="connsiteY954" fmla="*/ 57344 h 1114461"/>
                <a:gd name="connsiteX955" fmla="*/ 631762 w 1039197"/>
                <a:gd name="connsiteY955" fmla="*/ 54412 h 1114461"/>
                <a:gd name="connsiteX956" fmla="*/ 629969 w 1039197"/>
                <a:gd name="connsiteY956" fmla="*/ 57670 h 1114461"/>
                <a:gd name="connsiteX957" fmla="*/ 626548 w 1039197"/>
                <a:gd name="connsiteY957" fmla="*/ 58647 h 1114461"/>
                <a:gd name="connsiteX958" fmla="*/ 626548 w 1039197"/>
                <a:gd name="connsiteY958" fmla="*/ 55389 h 1114461"/>
                <a:gd name="connsiteX959" fmla="*/ 629644 w 1039197"/>
                <a:gd name="connsiteY959" fmla="*/ 52294 h 1114461"/>
                <a:gd name="connsiteX960" fmla="*/ 630784 w 1039197"/>
                <a:gd name="connsiteY960" fmla="*/ 49850 h 1114461"/>
                <a:gd name="connsiteX961" fmla="*/ 627037 w 1039197"/>
                <a:gd name="connsiteY961" fmla="*/ 51317 h 1114461"/>
                <a:gd name="connsiteX962" fmla="*/ 624268 w 1039197"/>
                <a:gd name="connsiteY962" fmla="*/ 54412 h 1114461"/>
                <a:gd name="connsiteX963" fmla="*/ 618403 w 1039197"/>
                <a:gd name="connsiteY963" fmla="*/ 56367 h 1114461"/>
                <a:gd name="connsiteX964" fmla="*/ 617588 w 1039197"/>
                <a:gd name="connsiteY964" fmla="*/ 58485 h 1114461"/>
                <a:gd name="connsiteX965" fmla="*/ 614493 w 1039197"/>
                <a:gd name="connsiteY965" fmla="*/ 59136 h 1114461"/>
                <a:gd name="connsiteX966" fmla="*/ 613027 w 1039197"/>
                <a:gd name="connsiteY966" fmla="*/ 57018 h 1114461"/>
                <a:gd name="connsiteX967" fmla="*/ 608140 w 1039197"/>
                <a:gd name="connsiteY967" fmla="*/ 56693 h 1114461"/>
                <a:gd name="connsiteX968" fmla="*/ 608140 w 1039197"/>
                <a:gd name="connsiteY968" fmla="*/ 54412 h 1114461"/>
                <a:gd name="connsiteX969" fmla="*/ 604067 w 1039197"/>
                <a:gd name="connsiteY969" fmla="*/ 49036 h 1114461"/>
                <a:gd name="connsiteX970" fmla="*/ 601949 w 1039197"/>
                <a:gd name="connsiteY970" fmla="*/ 48384 h 1114461"/>
                <a:gd name="connsiteX971" fmla="*/ 595921 w 1039197"/>
                <a:gd name="connsiteY971" fmla="*/ 51642 h 1114461"/>
                <a:gd name="connsiteX972" fmla="*/ 591686 w 1039197"/>
                <a:gd name="connsiteY972" fmla="*/ 49850 h 1114461"/>
                <a:gd name="connsiteX973" fmla="*/ 589079 w 1039197"/>
                <a:gd name="connsiteY973" fmla="*/ 51317 h 1114461"/>
                <a:gd name="connsiteX974" fmla="*/ 587124 w 1039197"/>
                <a:gd name="connsiteY974" fmla="*/ 47569 h 1114461"/>
                <a:gd name="connsiteX975" fmla="*/ 584844 w 1039197"/>
                <a:gd name="connsiteY975" fmla="*/ 46918 h 1114461"/>
                <a:gd name="connsiteX976" fmla="*/ 581911 w 1039197"/>
                <a:gd name="connsiteY976" fmla="*/ 41542 h 1114461"/>
                <a:gd name="connsiteX977" fmla="*/ 576047 w 1039197"/>
                <a:gd name="connsiteY977" fmla="*/ 44311 h 1114461"/>
                <a:gd name="connsiteX978" fmla="*/ 569856 w 1039197"/>
                <a:gd name="connsiteY978" fmla="*/ 43334 h 1114461"/>
                <a:gd name="connsiteX979" fmla="*/ 564317 w 1039197"/>
                <a:gd name="connsiteY979" fmla="*/ 40890 h 1114461"/>
                <a:gd name="connsiteX980" fmla="*/ 564643 w 1039197"/>
                <a:gd name="connsiteY980" fmla="*/ 37143 h 1114461"/>
                <a:gd name="connsiteX981" fmla="*/ 560733 w 1039197"/>
                <a:gd name="connsiteY981" fmla="*/ 32256 h 1114461"/>
                <a:gd name="connsiteX982" fmla="*/ 558453 w 1039197"/>
                <a:gd name="connsiteY982" fmla="*/ 32908 h 1114461"/>
                <a:gd name="connsiteX983" fmla="*/ 559104 w 1039197"/>
                <a:gd name="connsiteY983" fmla="*/ 35026 h 1114461"/>
                <a:gd name="connsiteX984" fmla="*/ 551447 w 1039197"/>
                <a:gd name="connsiteY984" fmla="*/ 37306 h 1114461"/>
                <a:gd name="connsiteX985" fmla="*/ 549492 w 1039197"/>
                <a:gd name="connsiteY985" fmla="*/ 32582 h 1114461"/>
                <a:gd name="connsiteX986" fmla="*/ 545256 w 1039197"/>
                <a:gd name="connsiteY986" fmla="*/ 31116 h 1114461"/>
                <a:gd name="connsiteX987" fmla="*/ 538415 w 1039197"/>
                <a:gd name="connsiteY987" fmla="*/ 27206 h 1114461"/>
                <a:gd name="connsiteX988" fmla="*/ 537437 w 1039197"/>
                <a:gd name="connsiteY988" fmla="*/ 29161 h 1114461"/>
                <a:gd name="connsiteX989" fmla="*/ 534016 w 1039197"/>
                <a:gd name="connsiteY989" fmla="*/ 26717 h 1114461"/>
                <a:gd name="connsiteX990" fmla="*/ 529780 w 1039197"/>
                <a:gd name="connsiteY990" fmla="*/ 29975 h 1114461"/>
                <a:gd name="connsiteX991" fmla="*/ 534831 w 1039197"/>
                <a:gd name="connsiteY991" fmla="*/ 33885 h 1114461"/>
                <a:gd name="connsiteX992" fmla="*/ 533364 w 1039197"/>
                <a:gd name="connsiteY992" fmla="*/ 35188 h 1114461"/>
                <a:gd name="connsiteX993" fmla="*/ 538252 w 1039197"/>
                <a:gd name="connsiteY993" fmla="*/ 36329 h 1114461"/>
                <a:gd name="connsiteX994" fmla="*/ 542487 w 1039197"/>
                <a:gd name="connsiteY994" fmla="*/ 34374 h 1114461"/>
                <a:gd name="connsiteX995" fmla="*/ 549818 w 1039197"/>
                <a:gd name="connsiteY995" fmla="*/ 40564 h 1114461"/>
                <a:gd name="connsiteX996" fmla="*/ 549167 w 1039197"/>
                <a:gd name="connsiteY996" fmla="*/ 43986 h 1114461"/>
                <a:gd name="connsiteX997" fmla="*/ 550633 w 1039197"/>
                <a:gd name="connsiteY997" fmla="*/ 52131 h 1114461"/>
                <a:gd name="connsiteX998" fmla="*/ 545420 w 1039197"/>
                <a:gd name="connsiteY998" fmla="*/ 52457 h 1114461"/>
                <a:gd name="connsiteX999" fmla="*/ 543465 w 1039197"/>
                <a:gd name="connsiteY999" fmla="*/ 58322 h 1114461"/>
                <a:gd name="connsiteX1000" fmla="*/ 541673 w 1039197"/>
                <a:gd name="connsiteY1000" fmla="*/ 54901 h 1114461"/>
                <a:gd name="connsiteX1001" fmla="*/ 537763 w 1039197"/>
                <a:gd name="connsiteY1001" fmla="*/ 53760 h 1114461"/>
                <a:gd name="connsiteX1002" fmla="*/ 533690 w 1039197"/>
                <a:gd name="connsiteY1002" fmla="*/ 56529 h 1114461"/>
                <a:gd name="connsiteX1003" fmla="*/ 519028 w 1039197"/>
                <a:gd name="connsiteY1003" fmla="*/ 57344 h 1114461"/>
                <a:gd name="connsiteX1004" fmla="*/ 513489 w 1039197"/>
                <a:gd name="connsiteY1004" fmla="*/ 52457 h 1114461"/>
                <a:gd name="connsiteX1005" fmla="*/ 512675 w 1039197"/>
                <a:gd name="connsiteY1005" fmla="*/ 54575 h 1114461"/>
                <a:gd name="connsiteX1006" fmla="*/ 506810 w 1039197"/>
                <a:gd name="connsiteY1006" fmla="*/ 56693 h 1114461"/>
                <a:gd name="connsiteX1007" fmla="*/ 507462 w 1039197"/>
                <a:gd name="connsiteY1007" fmla="*/ 61580 h 1114461"/>
                <a:gd name="connsiteX1008" fmla="*/ 502574 w 1039197"/>
                <a:gd name="connsiteY1008" fmla="*/ 60602 h 1114461"/>
                <a:gd name="connsiteX1009" fmla="*/ 504204 w 1039197"/>
                <a:gd name="connsiteY1009" fmla="*/ 67444 h 1114461"/>
                <a:gd name="connsiteX1010" fmla="*/ 502412 w 1039197"/>
                <a:gd name="connsiteY1010" fmla="*/ 65001 h 1114461"/>
                <a:gd name="connsiteX1011" fmla="*/ 496384 w 1039197"/>
                <a:gd name="connsiteY1011" fmla="*/ 63046 h 1114461"/>
                <a:gd name="connsiteX1012" fmla="*/ 494103 w 1039197"/>
                <a:gd name="connsiteY1012" fmla="*/ 66467 h 1114461"/>
                <a:gd name="connsiteX1013" fmla="*/ 496384 w 1039197"/>
                <a:gd name="connsiteY1013" fmla="*/ 69725 h 1114461"/>
                <a:gd name="connsiteX1014" fmla="*/ 496058 w 1039197"/>
                <a:gd name="connsiteY1014" fmla="*/ 71843 h 1114461"/>
                <a:gd name="connsiteX1015" fmla="*/ 489705 w 1039197"/>
                <a:gd name="connsiteY1015" fmla="*/ 69888 h 1114461"/>
                <a:gd name="connsiteX1016" fmla="*/ 486447 w 1039197"/>
                <a:gd name="connsiteY1016" fmla="*/ 73146 h 1114461"/>
                <a:gd name="connsiteX1017" fmla="*/ 488890 w 1039197"/>
                <a:gd name="connsiteY1017" fmla="*/ 75916 h 1114461"/>
                <a:gd name="connsiteX1018" fmla="*/ 486121 w 1039197"/>
                <a:gd name="connsiteY1018" fmla="*/ 77219 h 1114461"/>
                <a:gd name="connsiteX1019" fmla="*/ 481885 w 1039197"/>
                <a:gd name="connsiteY1019" fmla="*/ 79663 h 1114461"/>
                <a:gd name="connsiteX1020" fmla="*/ 482211 w 1039197"/>
                <a:gd name="connsiteY1020" fmla="*/ 82921 h 1114461"/>
                <a:gd name="connsiteX1021" fmla="*/ 486121 w 1039197"/>
                <a:gd name="connsiteY1021" fmla="*/ 86831 h 1114461"/>
                <a:gd name="connsiteX1022" fmla="*/ 487261 w 1039197"/>
                <a:gd name="connsiteY1022" fmla="*/ 89763 h 1114461"/>
                <a:gd name="connsiteX1023" fmla="*/ 482699 w 1039197"/>
                <a:gd name="connsiteY1023" fmla="*/ 87156 h 1114461"/>
                <a:gd name="connsiteX1024" fmla="*/ 478953 w 1039197"/>
                <a:gd name="connsiteY1024" fmla="*/ 90252 h 1114461"/>
                <a:gd name="connsiteX1025" fmla="*/ 474554 w 1039197"/>
                <a:gd name="connsiteY1025" fmla="*/ 90252 h 1114461"/>
                <a:gd name="connsiteX1026" fmla="*/ 470156 w 1039197"/>
                <a:gd name="connsiteY1026" fmla="*/ 97420 h 1114461"/>
                <a:gd name="connsiteX1027" fmla="*/ 466083 w 1039197"/>
                <a:gd name="connsiteY1027" fmla="*/ 105565 h 1114461"/>
                <a:gd name="connsiteX1028" fmla="*/ 462824 w 1039197"/>
                <a:gd name="connsiteY1028" fmla="*/ 106543 h 1114461"/>
                <a:gd name="connsiteX1029" fmla="*/ 461358 w 1039197"/>
                <a:gd name="connsiteY1029" fmla="*/ 113385 h 1114461"/>
                <a:gd name="connsiteX1030" fmla="*/ 457286 w 1039197"/>
                <a:gd name="connsiteY1030" fmla="*/ 115828 h 1114461"/>
                <a:gd name="connsiteX1031" fmla="*/ 460707 w 1039197"/>
                <a:gd name="connsiteY1031" fmla="*/ 119576 h 1114461"/>
                <a:gd name="connsiteX1032" fmla="*/ 469341 w 1039197"/>
                <a:gd name="connsiteY1032" fmla="*/ 121042 h 1114461"/>
                <a:gd name="connsiteX1033" fmla="*/ 466083 w 1039197"/>
                <a:gd name="connsiteY1033" fmla="*/ 122019 h 1114461"/>
                <a:gd name="connsiteX1034" fmla="*/ 464128 w 1039197"/>
                <a:gd name="connsiteY1034" fmla="*/ 125766 h 1114461"/>
                <a:gd name="connsiteX1035" fmla="*/ 474554 w 1039197"/>
                <a:gd name="connsiteY1035" fmla="*/ 129187 h 1114461"/>
                <a:gd name="connsiteX1036" fmla="*/ 470481 w 1039197"/>
                <a:gd name="connsiteY1036" fmla="*/ 130979 h 1114461"/>
                <a:gd name="connsiteX1037" fmla="*/ 463965 w 1039197"/>
                <a:gd name="connsiteY1037" fmla="*/ 130164 h 1114461"/>
                <a:gd name="connsiteX1038" fmla="*/ 461847 w 1039197"/>
                <a:gd name="connsiteY1038" fmla="*/ 127069 h 1114461"/>
                <a:gd name="connsiteX1039" fmla="*/ 461847 w 1039197"/>
                <a:gd name="connsiteY1039" fmla="*/ 130164 h 1114461"/>
                <a:gd name="connsiteX1040" fmla="*/ 466246 w 1039197"/>
                <a:gd name="connsiteY1040" fmla="*/ 133423 h 1114461"/>
                <a:gd name="connsiteX1041" fmla="*/ 466246 w 1039197"/>
                <a:gd name="connsiteY1041" fmla="*/ 138961 h 1114461"/>
                <a:gd name="connsiteX1042" fmla="*/ 470481 w 1039197"/>
                <a:gd name="connsiteY1042" fmla="*/ 144989 h 1114461"/>
                <a:gd name="connsiteX1043" fmla="*/ 463965 w 1039197"/>
                <a:gd name="connsiteY1043" fmla="*/ 139776 h 1114461"/>
                <a:gd name="connsiteX1044" fmla="*/ 459892 w 1039197"/>
                <a:gd name="connsiteY1044" fmla="*/ 132282 h 1114461"/>
                <a:gd name="connsiteX1045" fmla="*/ 455005 w 1039197"/>
                <a:gd name="connsiteY1045" fmla="*/ 131631 h 1114461"/>
                <a:gd name="connsiteX1046" fmla="*/ 455005 w 1039197"/>
                <a:gd name="connsiteY1046" fmla="*/ 134726 h 1114461"/>
                <a:gd name="connsiteX1047" fmla="*/ 452887 w 1039197"/>
                <a:gd name="connsiteY1047" fmla="*/ 138147 h 1114461"/>
                <a:gd name="connsiteX1048" fmla="*/ 452235 w 1039197"/>
                <a:gd name="connsiteY1048" fmla="*/ 134074 h 1114461"/>
                <a:gd name="connsiteX1049" fmla="*/ 441483 w 1039197"/>
                <a:gd name="connsiteY1049" fmla="*/ 127069 h 1114461"/>
                <a:gd name="connsiteX1050" fmla="*/ 433501 w 1039197"/>
                <a:gd name="connsiteY1050" fmla="*/ 128535 h 1114461"/>
                <a:gd name="connsiteX1051" fmla="*/ 435945 w 1039197"/>
                <a:gd name="connsiteY1051" fmla="*/ 131468 h 1114461"/>
                <a:gd name="connsiteX1052" fmla="*/ 433175 w 1039197"/>
                <a:gd name="connsiteY1052" fmla="*/ 134237 h 1114461"/>
                <a:gd name="connsiteX1053" fmla="*/ 430406 w 1039197"/>
                <a:gd name="connsiteY1053" fmla="*/ 131957 h 1114461"/>
                <a:gd name="connsiteX1054" fmla="*/ 428288 w 1039197"/>
                <a:gd name="connsiteY1054" fmla="*/ 131957 h 1114461"/>
                <a:gd name="connsiteX1055" fmla="*/ 426007 w 1039197"/>
                <a:gd name="connsiteY1055" fmla="*/ 135052 h 1114461"/>
                <a:gd name="connsiteX1056" fmla="*/ 429754 w 1039197"/>
                <a:gd name="connsiteY1056" fmla="*/ 139939 h 1114461"/>
                <a:gd name="connsiteX1057" fmla="*/ 428777 w 1039197"/>
                <a:gd name="connsiteY1057" fmla="*/ 142871 h 1114461"/>
                <a:gd name="connsiteX1058" fmla="*/ 427962 w 1039197"/>
                <a:gd name="connsiteY1058" fmla="*/ 140753 h 1114461"/>
                <a:gd name="connsiteX1059" fmla="*/ 425519 w 1039197"/>
                <a:gd name="connsiteY1059" fmla="*/ 141405 h 1114461"/>
                <a:gd name="connsiteX1060" fmla="*/ 425519 w 1039197"/>
                <a:gd name="connsiteY1060" fmla="*/ 144012 h 1114461"/>
                <a:gd name="connsiteX1061" fmla="*/ 420468 w 1039197"/>
                <a:gd name="connsiteY1061" fmla="*/ 146944 h 1114461"/>
                <a:gd name="connsiteX1062" fmla="*/ 413137 w 1039197"/>
                <a:gd name="connsiteY1062" fmla="*/ 148247 h 1114461"/>
                <a:gd name="connsiteX1063" fmla="*/ 419002 w 1039197"/>
                <a:gd name="connsiteY1063" fmla="*/ 145478 h 1114461"/>
                <a:gd name="connsiteX1064" fmla="*/ 422912 w 1039197"/>
                <a:gd name="connsiteY1064" fmla="*/ 140265 h 1114461"/>
                <a:gd name="connsiteX1065" fmla="*/ 422586 w 1039197"/>
                <a:gd name="connsiteY1065" fmla="*/ 132282 h 1114461"/>
                <a:gd name="connsiteX1066" fmla="*/ 426659 w 1039197"/>
                <a:gd name="connsiteY1066" fmla="*/ 127232 h 1114461"/>
                <a:gd name="connsiteX1067" fmla="*/ 424215 w 1039197"/>
                <a:gd name="connsiteY1067" fmla="*/ 123974 h 1114461"/>
                <a:gd name="connsiteX1068" fmla="*/ 419980 w 1039197"/>
                <a:gd name="connsiteY1068" fmla="*/ 123322 h 1114461"/>
                <a:gd name="connsiteX1069" fmla="*/ 412649 w 1039197"/>
                <a:gd name="connsiteY1069" fmla="*/ 109964 h 1114461"/>
                <a:gd name="connsiteX1070" fmla="*/ 408739 w 1039197"/>
                <a:gd name="connsiteY1070" fmla="*/ 104099 h 1114461"/>
                <a:gd name="connsiteX1071" fmla="*/ 401571 w 1039197"/>
                <a:gd name="connsiteY1071" fmla="*/ 102307 h 1114461"/>
                <a:gd name="connsiteX1072" fmla="*/ 396683 w 1039197"/>
                <a:gd name="connsiteY1072" fmla="*/ 99212 h 1114461"/>
                <a:gd name="connsiteX1073" fmla="*/ 393588 w 1039197"/>
                <a:gd name="connsiteY1073" fmla="*/ 101167 h 1114461"/>
                <a:gd name="connsiteX1074" fmla="*/ 396032 w 1039197"/>
                <a:gd name="connsiteY1074" fmla="*/ 103610 h 1114461"/>
                <a:gd name="connsiteX1075" fmla="*/ 393099 w 1039197"/>
                <a:gd name="connsiteY1075" fmla="*/ 104588 h 1114461"/>
                <a:gd name="connsiteX1076" fmla="*/ 389678 w 1039197"/>
                <a:gd name="connsiteY1076" fmla="*/ 109801 h 1114461"/>
                <a:gd name="connsiteX1077" fmla="*/ 386257 w 1039197"/>
                <a:gd name="connsiteY1077" fmla="*/ 109149 h 1114461"/>
                <a:gd name="connsiteX1078" fmla="*/ 387398 w 1039197"/>
                <a:gd name="connsiteY1078" fmla="*/ 106217 h 1114461"/>
                <a:gd name="connsiteX1079" fmla="*/ 382673 w 1039197"/>
                <a:gd name="connsiteY1079" fmla="*/ 107520 h 1114461"/>
                <a:gd name="connsiteX1080" fmla="*/ 381533 w 1039197"/>
                <a:gd name="connsiteY1080" fmla="*/ 110615 h 1114461"/>
                <a:gd name="connsiteX1081" fmla="*/ 378112 w 1039197"/>
                <a:gd name="connsiteY1081" fmla="*/ 103285 h 1114461"/>
                <a:gd name="connsiteX1082" fmla="*/ 375180 w 1039197"/>
                <a:gd name="connsiteY1082" fmla="*/ 102470 h 1114461"/>
                <a:gd name="connsiteX1083" fmla="*/ 374365 w 1039197"/>
                <a:gd name="connsiteY1083" fmla="*/ 106706 h 1114461"/>
                <a:gd name="connsiteX1084" fmla="*/ 378112 w 1039197"/>
                <a:gd name="connsiteY1084" fmla="*/ 108823 h 1114461"/>
                <a:gd name="connsiteX1085" fmla="*/ 373062 w 1039197"/>
                <a:gd name="connsiteY1085" fmla="*/ 112570 h 1114461"/>
                <a:gd name="connsiteX1086" fmla="*/ 371270 w 1039197"/>
                <a:gd name="connsiteY1086" fmla="*/ 117783 h 1114461"/>
                <a:gd name="connsiteX1087" fmla="*/ 373062 w 1039197"/>
                <a:gd name="connsiteY1087" fmla="*/ 120879 h 1114461"/>
                <a:gd name="connsiteX1088" fmla="*/ 367849 w 1039197"/>
                <a:gd name="connsiteY1088" fmla="*/ 123974 h 1114461"/>
                <a:gd name="connsiteX1089" fmla="*/ 365568 w 1039197"/>
                <a:gd name="connsiteY1089" fmla="*/ 120227 h 1114461"/>
                <a:gd name="connsiteX1090" fmla="*/ 362635 w 1039197"/>
                <a:gd name="connsiteY1090" fmla="*/ 120227 h 1114461"/>
                <a:gd name="connsiteX1091" fmla="*/ 361658 w 1039197"/>
                <a:gd name="connsiteY1091" fmla="*/ 117295 h 1114461"/>
                <a:gd name="connsiteX1092" fmla="*/ 365405 w 1039197"/>
                <a:gd name="connsiteY1092" fmla="*/ 113059 h 1114461"/>
                <a:gd name="connsiteX1093" fmla="*/ 361495 w 1039197"/>
                <a:gd name="connsiteY1093" fmla="*/ 113059 h 1114461"/>
                <a:gd name="connsiteX1094" fmla="*/ 359540 w 1039197"/>
                <a:gd name="connsiteY1094" fmla="*/ 118598 h 1114461"/>
                <a:gd name="connsiteX1095" fmla="*/ 354164 w 1039197"/>
                <a:gd name="connsiteY1095" fmla="*/ 119901 h 1114461"/>
                <a:gd name="connsiteX1096" fmla="*/ 351883 w 1039197"/>
                <a:gd name="connsiteY1096" fmla="*/ 122996 h 1114461"/>
                <a:gd name="connsiteX1097" fmla="*/ 350906 w 1039197"/>
                <a:gd name="connsiteY1097" fmla="*/ 128535 h 1114461"/>
                <a:gd name="connsiteX1098" fmla="*/ 358726 w 1039197"/>
                <a:gd name="connsiteY1098" fmla="*/ 130816 h 1114461"/>
                <a:gd name="connsiteX1099" fmla="*/ 352210 w 1039197"/>
                <a:gd name="connsiteY1099" fmla="*/ 136355 h 1114461"/>
                <a:gd name="connsiteX1100" fmla="*/ 347159 w 1039197"/>
                <a:gd name="connsiteY1100" fmla="*/ 133586 h 1114461"/>
                <a:gd name="connsiteX1101" fmla="*/ 341131 w 1039197"/>
                <a:gd name="connsiteY1101" fmla="*/ 137658 h 1114461"/>
                <a:gd name="connsiteX1102" fmla="*/ 342272 w 1039197"/>
                <a:gd name="connsiteY1102" fmla="*/ 141405 h 1114461"/>
                <a:gd name="connsiteX1103" fmla="*/ 349440 w 1039197"/>
                <a:gd name="connsiteY1103" fmla="*/ 142383 h 1114461"/>
                <a:gd name="connsiteX1104" fmla="*/ 346996 w 1039197"/>
                <a:gd name="connsiteY1104" fmla="*/ 146455 h 1114461"/>
                <a:gd name="connsiteX1105" fmla="*/ 343575 w 1039197"/>
                <a:gd name="connsiteY1105" fmla="*/ 147270 h 1114461"/>
                <a:gd name="connsiteX1106" fmla="*/ 338525 w 1039197"/>
                <a:gd name="connsiteY1106" fmla="*/ 141242 h 1114461"/>
                <a:gd name="connsiteX1107" fmla="*/ 334289 w 1039197"/>
                <a:gd name="connsiteY1107" fmla="*/ 146130 h 1114461"/>
                <a:gd name="connsiteX1108" fmla="*/ 329239 w 1039197"/>
                <a:gd name="connsiteY1108" fmla="*/ 146944 h 1114461"/>
                <a:gd name="connsiteX1109" fmla="*/ 330217 w 1039197"/>
                <a:gd name="connsiteY1109" fmla="*/ 150691 h 1114461"/>
                <a:gd name="connsiteX1110" fmla="*/ 331194 w 1039197"/>
                <a:gd name="connsiteY1110" fmla="*/ 154275 h 1114461"/>
                <a:gd name="connsiteX1111" fmla="*/ 331520 w 1039197"/>
                <a:gd name="connsiteY1111" fmla="*/ 157533 h 1114461"/>
                <a:gd name="connsiteX1112" fmla="*/ 334615 w 1039197"/>
                <a:gd name="connsiteY1112" fmla="*/ 156393 h 1114461"/>
                <a:gd name="connsiteX1113" fmla="*/ 330868 w 1039197"/>
                <a:gd name="connsiteY1113" fmla="*/ 161443 h 1114461"/>
                <a:gd name="connsiteX1114" fmla="*/ 333312 w 1039197"/>
                <a:gd name="connsiteY1114" fmla="*/ 165190 h 1114461"/>
                <a:gd name="connsiteX1115" fmla="*/ 329076 w 1039197"/>
                <a:gd name="connsiteY1115" fmla="*/ 167308 h 1114461"/>
                <a:gd name="connsiteX1116" fmla="*/ 326307 w 1039197"/>
                <a:gd name="connsiteY1116" fmla="*/ 170729 h 1114461"/>
                <a:gd name="connsiteX1117" fmla="*/ 335267 w 1039197"/>
                <a:gd name="connsiteY1117" fmla="*/ 172195 h 1114461"/>
                <a:gd name="connsiteX1118" fmla="*/ 329728 w 1039197"/>
                <a:gd name="connsiteY1118" fmla="*/ 175127 h 1114461"/>
                <a:gd name="connsiteX1119" fmla="*/ 328587 w 1039197"/>
                <a:gd name="connsiteY1119" fmla="*/ 177408 h 1114461"/>
                <a:gd name="connsiteX1120" fmla="*/ 323700 w 1039197"/>
                <a:gd name="connsiteY1120" fmla="*/ 176268 h 1114461"/>
                <a:gd name="connsiteX1121" fmla="*/ 320931 w 1039197"/>
                <a:gd name="connsiteY1121" fmla="*/ 172521 h 1114461"/>
                <a:gd name="connsiteX1122" fmla="*/ 316858 w 1039197"/>
                <a:gd name="connsiteY1122" fmla="*/ 169751 h 1114461"/>
                <a:gd name="connsiteX1123" fmla="*/ 312948 w 1039197"/>
                <a:gd name="connsiteY1123" fmla="*/ 173010 h 1114461"/>
                <a:gd name="connsiteX1124" fmla="*/ 311156 w 1039197"/>
                <a:gd name="connsiteY1124" fmla="*/ 169263 h 1114461"/>
                <a:gd name="connsiteX1125" fmla="*/ 306269 w 1039197"/>
                <a:gd name="connsiteY1125" fmla="*/ 166168 h 1114461"/>
                <a:gd name="connsiteX1126" fmla="*/ 302848 w 1039197"/>
                <a:gd name="connsiteY1126" fmla="*/ 169100 h 1114461"/>
                <a:gd name="connsiteX1127" fmla="*/ 309201 w 1039197"/>
                <a:gd name="connsiteY1127" fmla="*/ 173498 h 1114461"/>
                <a:gd name="connsiteX1128" fmla="*/ 306921 w 1039197"/>
                <a:gd name="connsiteY1128" fmla="*/ 174639 h 1114461"/>
                <a:gd name="connsiteX1129" fmla="*/ 304151 w 1039197"/>
                <a:gd name="connsiteY1129" fmla="*/ 179689 h 1114461"/>
                <a:gd name="connsiteX1130" fmla="*/ 309364 w 1039197"/>
                <a:gd name="connsiteY1130" fmla="*/ 184413 h 1114461"/>
                <a:gd name="connsiteX1131" fmla="*/ 314578 w 1039197"/>
                <a:gd name="connsiteY1131" fmla="*/ 184413 h 1114461"/>
                <a:gd name="connsiteX1132" fmla="*/ 312297 w 1039197"/>
                <a:gd name="connsiteY1132" fmla="*/ 188486 h 1114461"/>
                <a:gd name="connsiteX1133" fmla="*/ 312297 w 1039197"/>
                <a:gd name="connsiteY1133" fmla="*/ 193210 h 1114461"/>
                <a:gd name="connsiteX1134" fmla="*/ 310016 w 1039197"/>
                <a:gd name="connsiteY1134" fmla="*/ 191255 h 1114461"/>
                <a:gd name="connsiteX1135" fmla="*/ 307246 w 1039197"/>
                <a:gd name="connsiteY1135" fmla="*/ 191255 h 1114461"/>
                <a:gd name="connsiteX1136" fmla="*/ 308224 w 1039197"/>
                <a:gd name="connsiteY1136" fmla="*/ 196631 h 1114461"/>
                <a:gd name="connsiteX1137" fmla="*/ 306106 w 1039197"/>
                <a:gd name="connsiteY1137" fmla="*/ 202496 h 1114461"/>
                <a:gd name="connsiteX1138" fmla="*/ 305292 w 1039197"/>
                <a:gd name="connsiteY1138" fmla="*/ 208850 h 1114461"/>
                <a:gd name="connsiteX1139" fmla="*/ 297146 w 1039197"/>
                <a:gd name="connsiteY1139" fmla="*/ 191418 h 1114461"/>
                <a:gd name="connsiteX1140" fmla="*/ 291770 w 1039197"/>
                <a:gd name="connsiteY1140" fmla="*/ 180829 h 1114461"/>
                <a:gd name="connsiteX1141" fmla="*/ 288838 w 1039197"/>
                <a:gd name="connsiteY1141" fmla="*/ 176757 h 1114461"/>
                <a:gd name="connsiteX1142" fmla="*/ 290141 w 1039197"/>
                <a:gd name="connsiteY1142" fmla="*/ 170566 h 1114461"/>
                <a:gd name="connsiteX1143" fmla="*/ 288186 w 1039197"/>
                <a:gd name="connsiteY1143" fmla="*/ 173498 h 1114461"/>
                <a:gd name="connsiteX1144" fmla="*/ 282810 w 1039197"/>
                <a:gd name="connsiteY1144" fmla="*/ 177571 h 1114461"/>
                <a:gd name="connsiteX1145" fmla="*/ 281507 w 1039197"/>
                <a:gd name="connsiteY1145" fmla="*/ 184413 h 1114461"/>
                <a:gd name="connsiteX1146" fmla="*/ 277434 w 1039197"/>
                <a:gd name="connsiteY1146" fmla="*/ 185391 h 1114461"/>
                <a:gd name="connsiteX1147" fmla="*/ 276783 w 1039197"/>
                <a:gd name="connsiteY1147" fmla="*/ 188323 h 1114461"/>
                <a:gd name="connsiteX1148" fmla="*/ 271732 w 1039197"/>
                <a:gd name="connsiteY1148" fmla="*/ 187997 h 1114461"/>
                <a:gd name="connsiteX1149" fmla="*/ 268800 w 1039197"/>
                <a:gd name="connsiteY1149" fmla="*/ 191907 h 1114461"/>
                <a:gd name="connsiteX1150" fmla="*/ 264564 w 1039197"/>
                <a:gd name="connsiteY1150" fmla="*/ 195654 h 1114461"/>
                <a:gd name="connsiteX1151" fmla="*/ 265542 w 1039197"/>
                <a:gd name="connsiteY1151" fmla="*/ 202170 h 1114461"/>
                <a:gd name="connsiteX1152" fmla="*/ 265542 w 1039197"/>
                <a:gd name="connsiteY1152" fmla="*/ 215529 h 1114461"/>
                <a:gd name="connsiteX1153" fmla="*/ 268148 w 1039197"/>
                <a:gd name="connsiteY1153" fmla="*/ 216832 h 1114461"/>
                <a:gd name="connsiteX1154" fmla="*/ 268148 w 1039197"/>
                <a:gd name="connsiteY1154" fmla="*/ 221557 h 1114461"/>
                <a:gd name="connsiteX1155" fmla="*/ 263424 w 1039197"/>
                <a:gd name="connsiteY1155" fmla="*/ 224000 h 1114461"/>
                <a:gd name="connsiteX1156" fmla="*/ 260655 w 1039197"/>
                <a:gd name="connsiteY1156" fmla="*/ 229050 h 1114461"/>
                <a:gd name="connsiteX1157" fmla="*/ 253649 w 1039197"/>
                <a:gd name="connsiteY1157" fmla="*/ 231005 h 1114461"/>
                <a:gd name="connsiteX1158" fmla="*/ 254301 w 1039197"/>
                <a:gd name="connsiteY1158" fmla="*/ 233938 h 1114461"/>
                <a:gd name="connsiteX1159" fmla="*/ 248273 w 1039197"/>
                <a:gd name="connsiteY1159" fmla="*/ 237847 h 1114461"/>
                <a:gd name="connsiteX1160" fmla="*/ 248273 w 1039197"/>
                <a:gd name="connsiteY1160" fmla="*/ 244364 h 1114461"/>
                <a:gd name="connsiteX1161" fmla="*/ 245178 w 1039197"/>
                <a:gd name="connsiteY1161" fmla="*/ 247459 h 1114461"/>
                <a:gd name="connsiteX1162" fmla="*/ 237196 w 1039197"/>
                <a:gd name="connsiteY1162" fmla="*/ 258537 h 1114461"/>
                <a:gd name="connsiteX1163" fmla="*/ 221882 w 1039197"/>
                <a:gd name="connsiteY1163" fmla="*/ 267660 h 1114461"/>
                <a:gd name="connsiteX1164" fmla="*/ 208524 w 1039197"/>
                <a:gd name="connsiteY1164" fmla="*/ 268800 h 1114461"/>
                <a:gd name="connsiteX1165" fmla="*/ 203310 w 1039197"/>
                <a:gd name="connsiteY1165" fmla="*/ 270755 h 1114461"/>
                <a:gd name="connsiteX1166" fmla="*/ 195654 w 1039197"/>
                <a:gd name="connsiteY1166" fmla="*/ 271407 h 1114461"/>
                <a:gd name="connsiteX1167" fmla="*/ 189463 w 1039197"/>
                <a:gd name="connsiteY1167" fmla="*/ 272873 h 1114461"/>
                <a:gd name="connsiteX1168" fmla="*/ 183273 w 1039197"/>
                <a:gd name="connsiteY1168" fmla="*/ 271407 h 1114461"/>
                <a:gd name="connsiteX1169" fmla="*/ 175290 w 1039197"/>
                <a:gd name="connsiteY1169" fmla="*/ 274502 h 1114461"/>
                <a:gd name="connsiteX1170" fmla="*/ 174313 w 1039197"/>
                <a:gd name="connsiteY1170" fmla="*/ 279226 h 1114461"/>
                <a:gd name="connsiteX1171" fmla="*/ 169099 w 1039197"/>
                <a:gd name="connsiteY1171" fmla="*/ 281670 h 1114461"/>
                <a:gd name="connsiteX1172" fmla="*/ 152483 w 1039197"/>
                <a:gd name="connsiteY1172" fmla="*/ 281018 h 1114461"/>
                <a:gd name="connsiteX1173" fmla="*/ 148247 w 1039197"/>
                <a:gd name="connsiteY1173" fmla="*/ 283462 h 1114461"/>
                <a:gd name="connsiteX1174" fmla="*/ 146944 w 1039197"/>
                <a:gd name="connsiteY1174" fmla="*/ 287860 h 1114461"/>
                <a:gd name="connsiteX1175" fmla="*/ 136517 w 1039197"/>
                <a:gd name="connsiteY1175" fmla="*/ 292096 h 1114461"/>
                <a:gd name="connsiteX1176" fmla="*/ 128535 w 1039197"/>
                <a:gd name="connsiteY1176" fmla="*/ 292096 h 1114461"/>
                <a:gd name="connsiteX1177" fmla="*/ 124299 w 1039197"/>
                <a:gd name="connsiteY1177" fmla="*/ 290304 h 1114461"/>
                <a:gd name="connsiteX1178" fmla="*/ 120227 w 1039197"/>
                <a:gd name="connsiteY1178" fmla="*/ 290630 h 1114461"/>
                <a:gd name="connsiteX1179" fmla="*/ 118598 w 1039197"/>
                <a:gd name="connsiteY1179" fmla="*/ 287698 h 1114461"/>
                <a:gd name="connsiteX1180" fmla="*/ 114362 w 1039197"/>
                <a:gd name="connsiteY1180" fmla="*/ 289816 h 1114461"/>
                <a:gd name="connsiteX1181" fmla="*/ 110289 w 1039197"/>
                <a:gd name="connsiteY1181" fmla="*/ 296006 h 1114461"/>
                <a:gd name="connsiteX1182" fmla="*/ 99537 w 1039197"/>
                <a:gd name="connsiteY1182" fmla="*/ 297961 h 1114461"/>
                <a:gd name="connsiteX1183" fmla="*/ 98560 w 1039197"/>
                <a:gd name="connsiteY1183" fmla="*/ 300242 h 1114461"/>
                <a:gd name="connsiteX1184" fmla="*/ 95628 w 1039197"/>
                <a:gd name="connsiteY1184" fmla="*/ 300242 h 1114461"/>
                <a:gd name="connsiteX1185" fmla="*/ 87156 w 1039197"/>
                <a:gd name="connsiteY1185" fmla="*/ 307735 h 1114461"/>
                <a:gd name="connsiteX1186" fmla="*/ 76078 w 1039197"/>
                <a:gd name="connsiteY1186" fmla="*/ 312949 h 1114461"/>
                <a:gd name="connsiteX1187" fmla="*/ 61580 w 1039197"/>
                <a:gd name="connsiteY1187" fmla="*/ 317347 h 1114461"/>
                <a:gd name="connsiteX1188" fmla="*/ 55226 w 1039197"/>
                <a:gd name="connsiteY1188" fmla="*/ 326307 h 1114461"/>
                <a:gd name="connsiteX1189" fmla="*/ 55226 w 1039197"/>
                <a:gd name="connsiteY1189" fmla="*/ 334452 h 1114461"/>
                <a:gd name="connsiteX1190" fmla="*/ 49198 w 1039197"/>
                <a:gd name="connsiteY1190" fmla="*/ 339503 h 1114461"/>
                <a:gd name="connsiteX1191" fmla="*/ 45126 w 1039197"/>
                <a:gd name="connsiteY1191" fmla="*/ 336733 h 1114461"/>
                <a:gd name="connsiteX1192" fmla="*/ 47080 w 1039197"/>
                <a:gd name="connsiteY1192" fmla="*/ 333801 h 1114461"/>
                <a:gd name="connsiteX1193" fmla="*/ 46266 w 1039197"/>
                <a:gd name="connsiteY1193" fmla="*/ 329728 h 1114461"/>
                <a:gd name="connsiteX1194" fmla="*/ 49035 w 1039197"/>
                <a:gd name="connsiteY1194" fmla="*/ 323375 h 1114461"/>
                <a:gd name="connsiteX1195" fmla="*/ 49035 w 1039197"/>
                <a:gd name="connsiteY1195" fmla="*/ 318813 h 1114461"/>
                <a:gd name="connsiteX1196" fmla="*/ 40727 w 1039197"/>
                <a:gd name="connsiteY1196" fmla="*/ 325004 h 1114461"/>
                <a:gd name="connsiteX1197" fmla="*/ 38772 w 1039197"/>
                <a:gd name="connsiteY1197" fmla="*/ 332498 h 1114461"/>
                <a:gd name="connsiteX1198" fmla="*/ 32907 w 1039197"/>
                <a:gd name="connsiteY1198" fmla="*/ 343576 h 1114461"/>
                <a:gd name="connsiteX1199" fmla="*/ 36817 w 1039197"/>
                <a:gd name="connsiteY1199" fmla="*/ 351232 h 1114461"/>
                <a:gd name="connsiteX1200" fmla="*/ 34048 w 1039197"/>
                <a:gd name="connsiteY1200" fmla="*/ 357586 h 1114461"/>
                <a:gd name="connsiteX1201" fmla="*/ 34374 w 1039197"/>
                <a:gd name="connsiteY1201" fmla="*/ 369315 h 1114461"/>
                <a:gd name="connsiteX1202" fmla="*/ 24436 w 1039197"/>
                <a:gd name="connsiteY1202" fmla="*/ 381696 h 1114461"/>
                <a:gd name="connsiteX1203" fmla="*/ 20526 w 1039197"/>
                <a:gd name="connsiteY1203" fmla="*/ 398476 h 1114461"/>
                <a:gd name="connsiteX1204" fmla="*/ 23296 w 1039197"/>
                <a:gd name="connsiteY1204" fmla="*/ 407273 h 1114461"/>
                <a:gd name="connsiteX1205" fmla="*/ 21992 w 1039197"/>
                <a:gd name="connsiteY1205" fmla="*/ 419491 h 1114461"/>
                <a:gd name="connsiteX1206" fmla="*/ 30953 w 1039197"/>
                <a:gd name="connsiteY1206" fmla="*/ 434642 h 1114461"/>
                <a:gd name="connsiteX1207" fmla="*/ 31278 w 1039197"/>
                <a:gd name="connsiteY1207" fmla="*/ 440506 h 1114461"/>
                <a:gd name="connsiteX1208" fmla="*/ 35025 w 1039197"/>
                <a:gd name="connsiteY1208" fmla="*/ 444742 h 1114461"/>
                <a:gd name="connsiteX1209" fmla="*/ 31767 w 1039197"/>
                <a:gd name="connsiteY1209" fmla="*/ 452236 h 1114461"/>
                <a:gd name="connsiteX1210" fmla="*/ 33722 w 1039197"/>
                <a:gd name="connsiteY1210" fmla="*/ 459078 h 1114461"/>
                <a:gd name="connsiteX1211" fmla="*/ 28346 w 1039197"/>
                <a:gd name="connsiteY1211" fmla="*/ 461196 h 1114461"/>
                <a:gd name="connsiteX1212" fmla="*/ 26065 w 1039197"/>
                <a:gd name="connsiteY1212" fmla="*/ 457123 h 1114461"/>
                <a:gd name="connsiteX1213" fmla="*/ 25739 w 1039197"/>
                <a:gd name="connsiteY1213" fmla="*/ 448163 h 1114461"/>
                <a:gd name="connsiteX1214" fmla="*/ 22481 w 1039197"/>
                <a:gd name="connsiteY1214" fmla="*/ 453050 h 1114461"/>
                <a:gd name="connsiteX1215" fmla="*/ 21015 w 1039197"/>
                <a:gd name="connsiteY1215" fmla="*/ 451259 h 1114461"/>
                <a:gd name="connsiteX1216" fmla="*/ 21341 w 1039197"/>
                <a:gd name="connsiteY1216" fmla="*/ 443113 h 1114461"/>
                <a:gd name="connsiteX1217" fmla="*/ 16128 w 1039197"/>
                <a:gd name="connsiteY1217" fmla="*/ 431872 h 1114461"/>
                <a:gd name="connsiteX1218" fmla="*/ 12869 w 1039197"/>
                <a:gd name="connsiteY1218" fmla="*/ 437411 h 1114461"/>
                <a:gd name="connsiteX1219" fmla="*/ 14010 w 1039197"/>
                <a:gd name="connsiteY1219" fmla="*/ 448652 h 1114461"/>
                <a:gd name="connsiteX1220" fmla="*/ 21015 w 1039197"/>
                <a:gd name="connsiteY1220" fmla="*/ 455657 h 1114461"/>
                <a:gd name="connsiteX1221" fmla="*/ 25902 w 1039197"/>
                <a:gd name="connsiteY1221" fmla="*/ 465268 h 1114461"/>
                <a:gd name="connsiteX1222" fmla="*/ 18734 w 1039197"/>
                <a:gd name="connsiteY1222" fmla="*/ 466409 h 1114461"/>
                <a:gd name="connsiteX1223" fmla="*/ 12869 w 1039197"/>
                <a:gd name="connsiteY1223" fmla="*/ 458589 h 1114461"/>
                <a:gd name="connsiteX1224" fmla="*/ 11566 w 1039197"/>
                <a:gd name="connsiteY1224" fmla="*/ 449467 h 1114461"/>
                <a:gd name="connsiteX1225" fmla="*/ 9285 w 1039197"/>
                <a:gd name="connsiteY1225" fmla="*/ 453376 h 1114461"/>
                <a:gd name="connsiteX1226" fmla="*/ 6353 w 1039197"/>
                <a:gd name="connsiteY1226" fmla="*/ 454842 h 1114461"/>
                <a:gd name="connsiteX1227" fmla="*/ 10752 w 1039197"/>
                <a:gd name="connsiteY1227" fmla="*/ 463314 h 1114461"/>
                <a:gd name="connsiteX1228" fmla="*/ 19712 w 1039197"/>
                <a:gd name="connsiteY1228" fmla="*/ 474392 h 1114461"/>
                <a:gd name="connsiteX1229" fmla="*/ 24925 w 1039197"/>
                <a:gd name="connsiteY1229" fmla="*/ 488891 h 1114461"/>
                <a:gd name="connsiteX1230" fmla="*/ 23947 w 1039197"/>
                <a:gd name="connsiteY1230" fmla="*/ 514793 h 1114461"/>
                <a:gd name="connsiteX1231" fmla="*/ 27694 w 1039197"/>
                <a:gd name="connsiteY1231" fmla="*/ 519680 h 1114461"/>
                <a:gd name="connsiteX1232" fmla="*/ 30464 w 1039197"/>
                <a:gd name="connsiteY1232" fmla="*/ 534179 h 1114461"/>
                <a:gd name="connsiteX1233" fmla="*/ 38283 w 1039197"/>
                <a:gd name="connsiteY1233" fmla="*/ 553240 h 1114461"/>
                <a:gd name="connsiteX1234" fmla="*/ 35514 w 1039197"/>
                <a:gd name="connsiteY1234" fmla="*/ 560082 h 1114461"/>
                <a:gd name="connsiteX1235" fmla="*/ 36328 w 1039197"/>
                <a:gd name="connsiteY1235" fmla="*/ 588754 h 1114461"/>
                <a:gd name="connsiteX1236" fmla="*/ 35188 w 1039197"/>
                <a:gd name="connsiteY1236" fmla="*/ 592664 h 1114461"/>
                <a:gd name="connsiteX1237" fmla="*/ 37958 w 1039197"/>
                <a:gd name="connsiteY1237" fmla="*/ 600646 h 1114461"/>
                <a:gd name="connsiteX1238" fmla="*/ 37958 w 1039197"/>
                <a:gd name="connsiteY1238" fmla="*/ 609606 h 1114461"/>
                <a:gd name="connsiteX1239" fmla="*/ 43171 w 1039197"/>
                <a:gd name="connsiteY1239" fmla="*/ 622150 h 1114461"/>
                <a:gd name="connsiteX1240" fmla="*/ 43171 w 1039197"/>
                <a:gd name="connsiteY1240" fmla="*/ 628341 h 1114461"/>
                <a:gd name="connsiteX1241" fmla="*/ 38446 w 1039197"/>
                <a:gd name="connsiteY1241" fmla="*/ 631762 h 1114461"/>
                <a:gd name="connsiteX1242" fmla="*/ 40890 w 1039197"/>
                <a:gd name="connsiteY1242" fmla="*/ 634531 h 1114461"/>
                <a:gd name="connsiteX1243" fmla="*/ 39098 w 1039197"/>
                <a:gd name="connsiteY1243" fmla="*/ 641373 h 1114461"/>
                <a:gd name="connsiteX1244" fmla="*/ 38121 w 1039197"/>
                <a:gd name="connsiteY1244" fmla="*/ 652614 h 1114461"/>
                <a:gd name="connsiteX1245" fmla="*/ 33722 w 1039197"/>
                <a:gd name="connsiteY1245" fmla="*/ 656687 h 1114461"/>
                <a:gd name="connsiteX1246" fmla="*/ 35025 w 1039197"/>
                <a:gd name="connsiteY1246" fmla="*/ 659945 h 1114461"/>
                <a:gd name="connsiteX1247" fmla="*/ 33722 w 1039197"/>
                <a:gd name="connsiteY1247" fmla="*/ 666787 h 1114461"/>
                <a:gd name="connsiteX1248" fmla="*/ 29323 w 1039197"/>
                <a:gd name="connsiteY1248" fmla="*/ 670045 h 1114461"/>
                <a:gd name="connsiteX1249" fmla="*/ 30301 w 1039197"/>
                <a:gd name="connsiteY1249" fmla="*/ 676562 h 1114461"/>
                <a:gd name="connsiteX1250" fmla="*/ 21992 w 1039197"/>
                <a:gd name="connsiteY1250" fmla="*/ 682915 h 1114461"/>
                <a:gd name="connsiteX1251" fmla="*/ 18246 w 1039197"/>
                <a:gd name="connsiteY1251" fmla="*/ 679657 h 1114461"/>
                <a:gd name="connsiteX1252" fmla="*/ 11892 w 1039197"/>
                <a:gd name="connsiteY1252" fmla="*/ 689269 h 1114461"/>
                <a:gd name="connsiteX1253" fmla="*/ 12218 w 1039197"/>
                <a:gd name="connsiteY1253" fmla="*/ 705071 h 11144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</a:cxnLst>
              <a:rect l="l" t="t" r="r" b="b"/>
              <a:pathLst>
                <a:path w="1039197" h="1114461">
                  <a:moveTo>
                    <a:pt x="1027142" y="531899"/>
                  </a:moveTo>
                  <a:lnTo>
                    <a:pt x="1028934" y="522613"/>
                  </a:lnTo>
                  <a:lnTo>
                    <a:pt x="1030074" y="528315"/>
                  </a:lnTo>
                  <a:lnTo>
                    <a:pt x="1027142" y="531899"/>
                  </a:lnTo>
                  <a:lnTo>
                    <a:pt x="1027142" y="531899"/>
                  </a:lnTo>
                  <a:close/>
                  <a:moveTo>
                    <a:pt x="1029423" y="467875"/>
                  </a:moveTo>
                  <a:lnTo>
                    <a:pt x="1026979" y="460381"/>
                  </a:lnTo>
                  <a:lnTo>
                    <a:pt x="1027956" y="455168"/>
                  </a:lnTo>
                  <a:lnTo>
                    <a:pt x="1028608" y="450607"/>
                  </a:lnTo>
                  <a:lnTo>
                    <a:pt x="1033007" y="445394"/>
                  </a:lnTo>
                  <a:lnTo>
                    <a:pt x="1035776" y="439855"/>
                  </a:lnTo>
                  <a:lnTo>
                    <a:pt x="1034310" y="436434"/>
                  </a:lnTo>
                  <a:lnTo>
                    <a:pt x="1035776" y="432361"/>
                  </a:lnTo>
                  <a:lnTo>
                    <a:pt x="1038220" y="432687"/>
                  </a:lnTo>
                  <a:lnTo>
                    <a:pt x="1039197" y="438551"/>
                  </a:lnTo>
                  <a:lnTo>
                    <a:pt x="1038057" y="445719"/>
                  </a:lnTo>
                  <a:lnTo>
                    <a:pt x="1032355" y="453376"/>
                  </a:lnTo>
                  <a:lnTo>
                    <a:pt x="1031052" y="463640"/>
                  </a:lnTo>
                  <a:lnTo>
                    <a:pt x="1032518" y="468690"/>
                  </a:lnTo>
                  <a:lnTo>
                    <a:pt x="1029586" y="467712"/>
                  </a:lnTo>
                  <a:lnTo>
                    <a:pt x="1029586" y="467712"/>
                  </a:lnTo>
                  <a:close/>
                  <a:moveTo>
                    <a:pt x="986740" y="392122"/>
                  </a:moveTo>
                  <a:lnTo>
                    <a:pt x="991302" y="398476"/>
                  </a:lnTo>
                  <a:lnTo>
                    <a:pt x="993746" y="403037"/>
                  </a:lnTo>
                  <a:lnTo>
                    <a:pt x="994723" y="398476"/>
                  </a:lnTo>
                  <a:lnTo>
                    <a:pt x="992931" y="396032"/>
                  </a:lnTo>
                  <a:lnTo>
                    <a:pt x="993257" y="392774"/>
                  </a:lnTo>
                  <a:lnTo>
                    <a:pt x="990162" y="392448"/>
                  </a:lnTo>
                  <a:lnTo>
                    <a:pt x="987718" y="390819"/>
                  </a:lnTo>
                  <a:lnTo>
                    <a:pt x="986578" y="392122"/>
                  </a:lnTo>
                  <a:lnTo>
                    <a:pt x="986578" y="392122"/>
                  </a:lnTo>
                  <a:close/>
                  <a:moveTo>
                    <a:pt x="980061" y="355794"/>
                  </a:moveTo>
                  <a:lnTo>
                    <a:pt x="979572" y="352861"/>
                  </a:lnTo>
                  <a:lnTo>
                    <a:pt x="977455" y="354979"/>
                  </a:lnTo>
                  <a:lnTo>
                    <a:pt x="980061" y="355794"/>
                  </a:lnTo>
                  <a:lnTo>
                    <a:pt x="980061" y="355794"/>
                  </a:lnTo>
                  <a:close/>
                  <a:moveTo>
                    <a:pt x="882642" y="242735"/>
                  </a:moveTo>
                  <a:lnTo>
                    <a:pt x="884433" y="238499"/>
                  </a:lnTo>
                  <a:lnTo>
                    <a:pt x="880687" y="234263"/>
                  </a:lnTo>
                  <a:lnTo>
                    <a:pt x="884760" y="233123"/>
                  </a:lnTo>
                  <a:lnTo>
                    <a:pt x="886551" y="232146"/>
                  </a:lnTo>
                  <a:lnTo>
                    <a:pt x="887203" y="240617"/>
                  </a:lnTo>
                  <a:lnTo>
                    <a:pt x="885085" y="245667"/>
                  </a:lnTo>
                  <a:lnTo>
                    <a:pt x="882642" y="242572"/>
                  </a:lnTo>
                  <a:lnTo>
                    <a:pt x="882642" y="242572"/>
                  </a:lnTo>
                  <a:close/>
                  <a:moveTo>
                    <a:pt x="798744" y="0"/>
                  </a:moveTo>
                  <a:lnTo>
                    <a:pt x="800210" y="3258"/>
                  </a:lnTo>
                  <a:lnTo>
                    <a:pt x="802328" y="489"/>
                  </a:lnTo>
                  <a:lnTo>
                    <a:pt x="798744" y="0"/>
                  </a:lnTo>
                  <a:lnTo>
                    <a:pt x="798744" y="0"/>
                  </a:lnTo>
                  <a:close/>
                  <a:moveTo>
                    <a:pt x="795160" y="13033"/>
                  </a:moveTo>
                  <a:lnTo>
                    <a:pt x="795160" y="19386"/>
                  </a:lnTo>
                  <a:cubicBezTo>
                    <a:pt x="795160" y="19386"/>
                    <a:pt x="797603" y="18083"/>
                    <a:pt x="797603" y="18083"/>
                  </a:cubicBezTo>
                  <a:lnTo>
                    <a:pt x="800210" y="18083"/>
                  </a:lnTo>
                  <a:cubicBezTo>
                    <a:pt x="800210" y="18083"/>
                    <a:pt x="798417" y="13685"/>
                    <a:pt x="798417" y="13685"/>
                  </a:cubicBezTo>
                  <a:lnTo>
                    <a:pt x="795160" y="13196"/>
                  </a:lnTo>
                  <a:lnTo>
                    <a:pt x="795160" y="13196"/>
                  </a:lnTo>
                  <a:close/>
                  <a:moveTo>
                    <a:pt x="712890" y="197283"/>
                  </a:moveTo>
                  <a:lnTo>
                    <a:pt x="714356" y="199727"/>
                  </a:lnTo>
                  <a:lnTo>
                    <a:pt x="717126" y="198260"/>
                  </a:lnTo>
                  <a:lnTo>
                    <a:pt x="716800" y="195491"/>
                  </a:lnTo>
                  <a:lnTo>
                    <a:pt x="713053" y="197283"/>
                  </a:lnTo>
                  <a:lnTo>
                    <a:pt x="713053" y="197283"/>
                  </a:lnTo>
                  <a:close/>
                  <a:moveTo>
                    <a:pt x="706863" y="186205"/>
                  </a:moveTo>
                  <a:lnTo>
                    <a:pt x="709144" y="188486"/>
                  </a:lnTo>
                  <a:lnTo>
                    <a:pt x="712238" y="187346"/>
                  </a:lnTo>
                  <a:lnTo>
                    <a:pt x="715334" y="183436"/>
                  </a:lnTo>
                  <a:lnTo>
                    <a:pt x="720873" y="182621"/>
                  </a:lnTo>
                  <a:lnTo>
                    <a:pt x="720873" y="180829"/>
                  </a:lnTo>
                  <a:cubicBezTo>
                    <a:pt x="720873" y="180829"/>
                    <a:pt x="714356" y="179200"/>
                    <a:pt x="714356" y="179200"/>
                  </a:cubicBezTo>
                  <a:lnTo>
                    <a:pt x="708166" y="182784"/>
                  </a:lnTo>
                  <a:cubicBezTo>
                    <a:pt x="708166" y="182784"/>
                    <a:pt x="706863" y="186368"/>
                    <a:pt x="707026" y="186205"/>
                  </a:cubicBezTo>
                  <a:lnTo>
                    <a:pt x="707026" y="186205"/>
                  </a:lnTo>
                  <a:close/>
                  <a:moveTo>
                    <a:pt x="654731" y="161443"/>
                  </a:moveTo>
                  <a:lnTo>
                    <a:pt x="652940" y="158185"/>
                  </a:lnTo>
                  <a:lnTo>
                    <a:pt x="654569" y="154112"/>
                  </a:lnTo>
                  <a:lnTo>
                    <a:pt x="657501" y="157859"/>
                  </a:lnTo>
                  <a:lnTo>
                    <a:pt x="654895" y="161443"/>
                  </a:lnTo>
                  <a:lnTo>
                    <a:pt x="654895" y="161443"/>
                  </a:lnTo>
                  <a:close/>
                  <a:moveTo>
                    <a:pt x="638115" y="106706"/>
                  </a:moveTo>
                  <a:lnTo>
                    <a:pt x="637463" y="104262"/>
                  </a:lnTo>
                  <a:lnTo>
                    <a:pt x="636160" y="105239"/>
                  </a:lnTo>
                  <a:lnTo>
                    <a:pt x="635671" y="102796"/>
                  </a:lnTo>
                  <a:lnTo>
                    <a:pt x="638604" y="100026"/>
                  </a:lnTo>
                  <a:lnTo>
                    <a:pt x="641047" y="103610"/>
                  </a:lnTo>
                  <a:lnTo>
                    <a:pt x="638115" y="106868"/>
                  </a:lnTo>
                  <a:lnTo>
                    <a:pt x="638115" y="106868"/>
                  </a:lnTo>
                  <a:close/>
                  <a:moveTo>
                    <a:pt x="644631" y="112896"/>
                  </a:moveTo>
                  <a:lnTo>
                    <a:pt x="642025" y="115177"/>
                  </a:lnTo>
                  <a:lnTo>
                    <a:pt x="643817" y="115503"/>
                  </a:lnTo>
                  <a:lnTo>
                    <a:pt x="647890" y="113874"/>
                  </a:lnTo>
                  <a:lnTo>
                    <a:pt x="654569" y="115014"/>
                  </a:lnTo>
                  <a:lnTo>
                    <a:pt x="656035" y="111104"/>
                  </a:lnTo>
                  <a:lnTo>
                    <a:pt x="654243" y="110290"/>
                  </a:lnTo>
                  <a:lnTo>
                    <a:pt x="652125" y="110778"/>
                  </a:lnTo>
                  <a:lnTo>
                    <a:pt x="650985" y="109475"/>
                  </a:lnTo>
                  <a:lnTo>
                    <a:pt x="655220" y="105402"/>
                  </a:lnTo>
                  <a:lnTo>
                    <a:pt x="654731" y="104262"/>
                  </a:lnTo>
                  <a:lnTo>
                    <a:pt x="650496" y="105402"/>
                  </a:lnTo>
                  <a:lnTo>
                    <a:pt x="650496" y="101330"/>
                  </a:lnTo>
                  <a:cubicBezTo>
                    <a:pt x="650496" y="101330"/>
                    <a:pt x="647564" y="102633"/>
                    <a:pt x="647564" y="102633"/>
                  </a:cubicBezTo>
                  <a:lnTo>
                    <a:pt x="646749" y="104914"/>
                  </a:lnTo>
                  <a:lnTo>
                    <a:pt x="642839" y="104914"/>
                  </a:lnTo>
                  <a:cubicBezTo>
                    <a:pt x="642839" y="104914"/>
                    <a:pt x="643980" y="106054"/>
                    <a:pt x="643980" y="106054"/>
                  </a:cubicBezTo>
                  <a:lnTo>
                    <a:pt x="643002" y="107194"/>
                  </a:lnTo>
                  <a:lnTo>
                    <a:pt x="644794" y="112896"/>
                  </a:lnTo>
                  <a:lnTo>
                    <a:pt x="644794" y="112896"/>
                  </a:lnTo>
                  <a:close/>
                  <a:moveTo>
                    <a:pt x="648215" y="34374"/>
                  </a:moveTo>
                  <a:lnTo>
                    <a:pt x="651637" y="36003"/>
                  </a:lnTo>
                  <a:lnTo>
                    <a:pt x="652614" y="32093"/>
                  </a:lnTo>
                  <a:lnTo>
                    <a:pt x="657012" y="28020"/>
                  </a:lnTo>
                  <a:lnTo>
                    <a:pt x="655058" y="25577"/>
                  </a:lnTo>
                  <a:lnTo>
                    <a:pt x="649844" y="31279"/>
                  </a:lnTo>
                  <a:lnTo>
                    <a:pt x="648378" y="34374"/>
                  </a:lnTo>
                  <a:lnTo>
                    <a:pt x="648378" y="34374"/>
                  </a:lnTo>
                  <a:close/>
                  <a:moveTo>
                    <a:pt x="642676" y="38772"/>
                  </a:moveTo>
                  <a:lnTo>
                    <a:pt x="645609" y="40239"/>
                  </a:lnTo>
                  <a:lnTo>
                    <a:pt x="645283" y="37469"/>
                  </a:lnTo>
                  <a:lnTo>
                    <a:pt x="642839" y="38772"/>
                  </a:lnTo>
                  <a:lnTo>
                    <a:pt x="642839" y="38772"/>
                  </a:lnTo>
                  <a:close/>
                  <a:moveTo>
                    <a:pt x="638767" y="40402"/>
                  </a:moveTo>
                  <a:lnTo>
                    <a:pt x="640233" y="42356"/>
                  </a:lnTo>
                  <a:lnTo>
                    <a:pt x="641862" y="40402"/>
                  </a:lnTo>
                  <a:lnTo>
                    <a:pt x="638767" y="40402"/>
                  </a:lnTo>
                  <a:close/>
                  <a:moveTo>
                    <a:pt x="629481" y="45452"/>
                  </a:moveTo>
                  <a:lnTo>
                    <a:pt x="632413" y="45777"/>
                  </a:lnTo>
                  <a:lnTo>
                    <a:pt x="632413" y="43334"/>
                  </a:lnTo>
                  <a:lnTo>
                    <a:pt x="629481" y="45615"/>
                  </a:lnTo>
                  <a:lnTo>
                    <a:pt x="629481" y="45615"/>
                  </a:lnTo>
                  <a:close/>
                  <a:moveTo>
                    <a:pt x="623128" y="52783"/>
                  </a:moveTo>
                  <a:lnTo>
                    <a:pt x="622638" y="49687"/>
                  </a:lnTo>
                  <a:lnTo>
                    <a:pt x="627363" y="46918"/>
                  </a:lnTo>
                  <a:lnTo>
                    <a:pt x="631599" y="46918"/>
                  </a:lnTo>
                  <a:cubicBezTo>
                    <a:pt x="631599" y="46918"/>
                    <a:pt x="629969" y="49525"/>
                    <a:pt x="629969" y="49525"/>
                  </a:cubicBezTo>
                  <a:lnTo>
                    <a:pt x="625571" y="50013"/>
                  </a:lnTo>
                  <a:lnTo>
                    <a:pt x="622964" y="52783"/>
                  </a:lnTo>
                  <a:lnTo>
                    <a:pt x="622964" y="52783"/>
                  </a:lnTo>
                  <a:close/>
                  <a:moveTo>
                    <a:pt x="614819" y="54737"/>
                  </a:moveTo>
                  <a:lnTo>
                    <a:pt x="616774" y="56204"/>
                  </a:lnTo>
                  <a:lnTo>
                    <a:pt x="621335" y="54412"/>
                  </a:lnTo>
                  <a:lnTo>
                    <a:pt x="621010" y="52783"/>
                  </a:lnTo>
                  <a:lnTo>
                    <a:pt x="614819" y="54737"/>
                  </a:lnTo>
                  <a:lnTo>
                    <a:pt x="614819" y="54737"/>
                  </a:lnTo>
                  <a:close/>
                  <a:moveTo>
                    <a:pt x="549818" y="34048"/>
                  </a:moveTo>
                  <a:lnTo>
                    <a:pt x="546886" y="28998"/>
                  </a:lnTo>
                  <a:lnTo>
                    <a:pt x="547863" y="25414"/>
                  </a:lnTo>
                  <a:lnTo>
                    <a:pt x="551773" y="24762"/>
                  </a:lnTo>
                  <a:lnTo>
                    <a:pt x="550144" y="29487"/>
                  </a:lnTo>
                  <a:lnTo>
                    <a:pt x="549818" y="34211"/>
                  </a:lnTo>
                  <a:lnTo>
                    <a:pt x="549818" y="34211"/>
                  </a:lnTo>
                  <a:close/>
                  <a:moveTo>
                    <a:pt x="493289" y="31279"/>
                  </a:moveTo>
                  <a:lnTo>
                    <a:pt x="493940" y="37306"/>
                  </a:lnTo>
                  <a:lnTo>
                    <a:pt x="498176" y="42194"/>
                  </a:lnTo>
                  <a:lnTo>
                    <a:pt x="501760" y="46755"/>
                  </a:lnTo>
                  <a:lnTo>
                    <a:pt x="508928" y="49687"/>
                  </a:lnTo>
                  <a:lnTo>
                    <a:pt x="517562" y="40564"/>
                  </a:lnTo>
                  <a:lnTo>
                    <a:pt x="519843" y="40890"/>
                  </a:lnTo>
                  <a:lnTo>
                    <a:pt x="520169" y="38121"/>
                  </a:lnTo>
                  <a:lnTo>
                    <a:pt x="522612" y="36166"/>
                  </a:lnTo>
                  <a:lnTo>
                    <a:pt x="520658" y="34537"/>
                  </a:lnTo>
                  <a:lnTo>
                    <a:pt x="519191" y="31116"/>
                  </a:lnTo>
                  <a:lnTo>
                    <a:pt x="516910" y="31116"/>
                  </a:lnTo>
                  <a:lnTo>
                    <a:pt x="513815" y="32745"/>
                  </a:lnTo>
                  <a:lnTo>
                    <a:pt x="506973" y="32745"/>
                  </a:lnTo>
                  <a:cubicBezTo>
                    <a:pt x="506973" y="32745"/>
                    <a:pt x="504040" y="36492"/>
                    <a:pt x="504040" y="36492"/>
                  </a:cubicBezTo>
                  <a:lnTo>
                    <a:pt x="500946" y="34863"/>
                  </a:lnTo>
                  <a:lnTo>
                    <a:pt x="500294" y="33234"/>
                  </a:lnTo>
                  <a:lnTo>
                    <a:pt x="497199" y="32745"/>
                  </a:lnTo>
                  <a:lnTo>
                    <a:pt x="494103" y="29487"/>
                  </a:lnTo>
                  <a:lnTo>
                    <a:pt x="492637" y="29487"/>
                  </a:lnTo>
                  <a:lnTo>
                    <a:pt x="493451" y="31116"/>
                  </a:lnTo>
                  <a:lnTo>
                    <a:pt x="493451" y="31116"/>
                  </a:lnTo>
                  <a:close/>
                  <a:moveTo>
                    <a:pt x="491497" y="32582"/>
                  </a:moveTo>
                  <a:lnTo>
                    <a:pt x="493615" y="41705"/>
                  </a:lnTo>
                  <a:lnTo>
                    <a:pt x="497850" y="43171"/>
                  </a:lnTo>
                  <a:lnTo>
                    <a:pt x="498502" y="44800"/>
                  </a:lnTo>
                  <a:lnTo>
                    <a:pt x="492637" y="43497"/>
                  </a:lnTo>
                  <a:lnTo>
                    <a:pt x="490519" y="43497"/>
                  </a:lnTo>
                  <a:cubicBezTo>
                    <a:pt x="490519" y="43497"/>
                    <a:pt x="485143" y="42356"/>
                    <a:pt x="485143" y="42356"/>
                  </a:cubicBezTo>
                  <a:lnTo>
                    <a:pt x="485143" y="39424"/>
                  </a:lnTo>
                  <a:cubicBezTo>
                    <a:pt x="485143" y="39424"/>
                    <a:pt x="486935" y="39098"/>
                    <a:pt x="486935" y="39098"/>
                  </a:cubicBezTo>
                  <a:lnTo>
                    <a:pt x="489379" y="39750"/>
                  </a:lnTo>
                  <a:lnTo>
                    <a:pt x="489379" y="38447"/>
                  </a:lnTo>
                  <a:lnTo>
                    <a:pt x="488238" y="37958"/>
                  </a:lnTo>
                  <a:lnTo>
                    <a:pt x="488238" y="35188"/>
                  </a:lnTo>
                  <a:cubicBezTo>
                    <a:pt x="488238" y="35188"/>
                    <a:pt x="487750" y="34374"/>
                    <a:pt x="487750" y="34374"/>
                  </a:cubicBezTo>
                  <a:lnTo>
                    <a:pt x="491334" y="32582"/>
                  </a:lnTo>
                  <a:lnTo>
                    <a:pt x="491334" y="32582"/>
                  </a:lnTo>
                  <a:close/>
                  <a:moveTo>
                    <a:pt x="328099" y="142871"/>
                  </a:moveTo>
                  <a:lnTo>
                    <a:pt x="329891" y="145478"/>
                  </a:lnTo>
                  <a:lnTo>
                    <a:pt x="333964" y="144663"/>
                  </a:lnTo>
                  <a:lnTo>
                    <a:pt x="330380" y="140102"/>
                  </a:lnTo>
                  <a:cubicBezTo>
                    <a:pt x="330380" y="140102"/>
                    <a:pt x="327773" y="143034"/>
                    <a:pt x="327936" y="142871"/>
                  </a:cubicBezTo>
                  <a:lnTo>
                    <a:pt x="327936" y="142871"/>
                  </a:lnTo>
                  <a:close/>
                  <a:moveTo>
                    <a:pt x="329239" y="160303"/>
                  </a:moveTo>
                  <a:lnTo>
                    <a:pt x="328751" y="154927"/>
                  </a:lnTo>
                  <a:lnTo>
                    <a:pt x="326307" y="151180"/>
                  </a:lnTo>
                  <a:lnTo>
                    <a:pt x="326633" y="158674"/>
                  </a:lnTo>
                  <a:lnTo>
                    <a:pt x="329239" y="160466"/>
                  </a:lnTo>
                  <a:lnTo>
                    <a:pt x="329239" y="160466"/>
                  </a:lnTo>
                  <a:close/>
                  <a:moveTo>
                    <a:pt x="350743" y="122834"/>
                  </a:moveTo>
                  <a:lnTo>
                    <a:pt x="347648" y="122508"/>
                  </a:lnTo>
                  <a:lnTo>
                    <a:pt x="349114" y="119738"/>
                  </a:lnTo>
                  <a:lnTo>
                    <a:pt x="351232" y="120064"/>
                  </a:lnTo>
                  <a:lnTo>
                    <a:pt x="350743" y="122834"/>
                  </a:lnTo>
                  <a:lnTo>
                    <a:pt x="350743" y="122834"/>
                  </a:lnTo>
                  <a:close/>
                  <a:moveTo>
                    <a:pt x="79662" y="298450"/>
                  </a:moveTo>
                  <a:lnTo>
                    <a:pt x="78196" y="295843"/>
                  </a:lnTo>
                  <a:lnTo>
                    <a:pt x="82921" y="289164"/>
                  </a:lnTo>
                  <a:lnTo>
                    <a:pt x="82432" y="294866"/>
                  </a:lnTo>
                  <a:lnTo>
                    <a:pt x="79662" y="298287"/>
                  </a:lnTo>
                  <a:lnTo>
                    <a:pt x="79662" y="298287"/>
                  </a:lnTo>
                  <a:close/>
                  <a:moveTo>
                    <a:pt x="3421" y="431221"/>
                  </a:moveTo>
                  <a:lnTo>
                    <a:pt x="5376" y="420143"/>
                  </a:lnTo>
                  <a:lnTo>
                    <a:pt x="5864" y="427148"/>
                  </a:lnTo>
                  <a:cubicBezTo>
                    <a:pt x="5864" y="427148"/>
                    <a:pt x="3258" y="431058"/>
                    <a:pt x="3258" y="431221"/>
                  </a:cubicBezTo>
                  <a:lnTo>
                    <a:pt x="3258" y="431221"/>
                  </a:lnTo>
                  <a:close/>
                  <a:moveTo>
                    <a:pt x="3095" y="450933"/>
                  </a:moveTo>
                  <a:lnTo>
                    <a:pt x="0" y="440832"/>
                  </a:lnTo>
                  <a:lnTo>
                    <a:pt x="2444" y="434968"/>
                  </a:lnTo>
                  <a:lnTo>
                    <a:pt x="5213" y="443439"/>
                  </a:lnTo>
                  <a:lnTo>
                    <a:pt x="3258" y="450933"/>
                  </a:lnTo>
                  <a:lnTo>
                    <a:pt x="3258" y="450933"/>
                  </a:lnTo>
                  <a:close/>
                  <a:moveTo>
                    <a:pt x="569856" y="782616"/>
                  </a:moveTo>
                  <a:lnTo>
                    <a:pt x="569042" y="786688"/>
                  </a:lnTo>
                  <a:lnTo>
                    <a:pt x="570182" y="789132"/>
                  </a:lnTo>
                  <a:lnTo>
                    <a:pt x="573277" y="789132"/>
                  </a:lnTo>
                  <a:lnTo>
                    <a:pt x="571485" y="791250"/>
                  </a:lnTo>
                  <a:lnTo>
                    <a:pt x="576047" y="791250"/>
                  </a:lnTo>
                  <a:cubicBezTo>
                    <a:pt x="576047" y="791250"/>
                    <a:pt x="578653" y="790272"/>
                    <a:pt x="578653" y="790272"/>
                  </a:cubicBezTo>
                  <a:lnTo>
                    <a:pt x="582237" y="792064"/>
                  </a:lnTo>
                  <a:lnTo>
                    <a:pt x="578979" y="794997"/>
                  </a:lnTo>
                  <a:lnTo>
                    <a:pt x="569693" y="793693"/>
                  </a:lnTo>
                  <a:lnTo>
                    <a:pt x="567901" y="796137"/>
                  </a:lnTo>
                  <a:lnTo>
                    <a:pt x="565294" y="796137"/>
                  </a:lnTo>
                  <a:cubicBezTo>
                    <a:pt x="565294" y="796137"/>
                    <a:pt x="564806" y="797766"/>
                    <a:pt x="564806" y="797766"/>
                  </a:cubicBezTo>
                  <a:lnTo>
                    <a:pt x="562362" y="797766"/>
                  </a:lnTo>
                  <a:cubicBezTo>
                    <a:pt x="562362" y="797766"/>
                    <a:pt x="560407" y="795323"/>
                    <a:pt x="560407" y="795323"/>
                  </a:cubicBezTo>
                  <a:lnTo>
                    <a:pt x="557312" y="796463"/>
                  </a:lnTo>
                  <a:lnTo>
                    <a:pt x="552751" y="795648"/>
                  </a:lnTo>
                  <a:lnTo>
                    <a:pt x="550958" y="795974"/>
                  </a:lnTo>
                  <a:lnTo>
                    <a:pt x="545094" y="795974"/>
                  </a:lnTo>
                  <a:cubicBezTo>
                    <a:pt x="545094" y="795974"/>
                    <a:pt x="541347" y="793205"/>
                    <a:pt x="541347" y="793205"/>
                  </a:cubicBezTo>
                  <a:lnTo>
                    <a:pt x="541673" y="790272"/>
                  </a:lnTo>
                  <a:lnTo>
                    <a:pt x="547701" y="787177"/>
                  </a:lnTo>
                  <a:lnTo>
                    <a:pt x="561385" y="783430"/>
                  </a:lnTo>
                  <a:lnTo>
                    <a:pt x="565946" y="783919"/>
                  </a:lnTo>
                  <a:lnTo>
                    <a:pt x="569856" y="782616"/>
                  </a:lnTo>
                  <a:lnTo>
                    <a:pt x="569856" y="782616"/>
                  </a:lnTo>
                  <a:close/>
                  <a:moveTo>
                    <a:pt x="736512" y="903983"/>
                  </a:moveTo>
                  <a:lnTo>
                    <a:pt x="739281" y="902843"/>
                  </a:lnTo>
                  <a:lnTo>
                    <a:pt x="740911" y="905123"/>
                  </a:lnTo>
                  <a:lnTo>
                    <a:pt x="739607" y="906915"/>
                  </a:lnTo>
                  <a:lnTo>
                    <a:pt x="736512" y="903983"/>
                  </a:lnTo>
                  <a:lnTo>
                    <a:pt x="736512" y="903983"/>
                  </a:lnTo>
                  <a:close/>
                  <a:moveTo>
                    <a:pt x="762415" y="921414"/>
                  </a:moveTo>
                  <a:lnTo>
                    <a:pt x="765021" y="923206"/>
                  </a:lnTo>
                  <a:lnTo>
                    <a:pt x="766813" y="920925"/>
                  </a:lnTo>
                  <a:lnTo>
                    <a:pt x="762415" y="921252"/>
                  </a:lnTo>
                  <a:lnTo>
                    <a:pt x="762415" y="921252"/>
                  </a:lnTo>
                  <a:close/>
                  <a:moveTo>
                    <a:pt x="701487" y="989347"/>
                  </a:moveTo>
                  <a:lnTo>
                    <a:pt x="702301" y="993257"/>
                  </a:lnTo>
                  <a:lnTo>
                    <a:pt x="705560" y="994235"/>
                  </a:lnTo>
                  <a:lnTo>
                    <a:pt x="708003" y="991791"/>
                  </a:lnTo>
                  <a:lnTo>
                    <a:pt x="704745" y="988533"/>
                  </a:lnTo>
                  <a:lnTo>
                    <a:pt x="701487" y="989347"/>
                  </a:lnTo>
                  <a:lnTo>
                    <a:pt x="701487" y="989347"/>
                  </a:lnTo>
                  <a:close/>
                  <a:moveTo>
                    <a:pt x="703604" y="979898"/>
                  </a:moveTo>
                  <a:lnTo>
                    <a:pt x="703604" y="983646"/>
                  </a:lnTo>
                  <a:cubicBezTo>
                    <a:pt x="703604" y="983646"/>
                    <a:pt x="706700" y="983320"/>
                    <a:pt x="706700" y="983320"/>
                  </a:cubicBezTo>
                  <a:lnTo>
                    <a:pt x="706211" y="978758"/>
                  </a:lnTo>
                  <a:lnTo>
                    <a:pt x="703604" y="979898"/>
                  </a:lnTo>
                  <a:lnTo>
                    <a:pt x="703604" y="979898"/>
                  </a:lnTo>
                  <a:close/>
                  <a:moveTo>
                    <a:pt x="699858" y="985926"/>
                  </a:moveTo>
                  <a:lnTo>
                    <a:pt x="696437" y="983971"/>
                  </a:lnTo>
                  <a:lnTo>
                    <a:pt x="697903" y="980061"/>
                  </a:lnTo>
                  <a:lnTo>
                    <a:pt x="701324" y="978107"/>
                  </a:lnTo>
                  <a:lnTo>
                    <a:pt x="701324" y="982505"/>
                  </a:lnTo>
                  <a:cubicBezTo>
                    <a:pt x="701324" y="982505"/>
                    <a:pt x="699858" y="985926"/>
                    <a:pt x="699858" y="985926"/>
                  </a:cubicBezTo>
                  <a:lnTo>
                    <a:pt x="699858" y="985926"/>
                  </a:lnTo>
                  <a:close/>
                  <a:moveTo>
                    <a:pt x="683241" y="967355"/>
                  </a:moveTo>
                  <a:lnTo>
                    <a:pt x="683892" y="963771"/>
                  </a:lnTo>
                  <a:lnTo>
                    <a:pt x="682752" y="959535"/>
                  </a:lnTo>
                  <a:lnTo>
                    <a:pt x="686173" y="955136"/>
                  </a:lnTo>
                  <a:lnTo>
                    <a:pt x="685522" y="950738"/>
                  </a:lnTo>
                  <a:lnTo>
                    <a:pt x="688942" y="946502"/>
                  </a:lnTo>
                  <a:lnTo>
                    <a:pt x="691875" y="944221"/>
                  </a:lnTo>
                  <a:lnTo>
                    <a:pt x="694807" y="946665"/>
                  </a:lnTo>
                  <a:lnTo>
                    <a:pt x="693667" y="954159"/>
                  </a:lnTo>
                  <a:lnTo>
                    <a:pt x="695459" y="957743"/>
                  </a:lnTo>
                  <a:lnTo>
                    <a:pt x="692038" y="963119"/>
                  </a:lnTo>
                  <a:lnTo>
                    <a:pt x="691060" y="965888"/>
                  </a:lnTo>
                  <a:lnTo>
                    <a:pt x="686988" y="969146"/>
                  </a:lnTo>
                  <a:lnTo>
                    <a:pt x="683404" y="967355"/>
                  </a:lnTo>
                  <a:lnTo>
                    <a:pt x="683404" y="967355"/>
                  </a:lnTo>
                  <a:close/>
                  <a:moveTo>
                    <a:pt x="784896" y="979898"/>
                  </a:moveTo>
                  <a:lnTo>
                    <a:pt x="794019" y="975826"/>
                  </a:lnTo>
                  <a:lnTo>
                    <a:pt x="794019" y="971427"/>
                  </a:lnTo>
                  <a:lnTo>
                    <a:pt x="785711" y="963119"/>
                  </a:lnTo>
                  <a:lnTo>
                    <a:pt x="781964" y="964422"/>
                  </a:lnTo>
                  <a:lnTo>
                    <a:pt x="783593" y="968658"/>
                  </a:lnTo>
                  <a:lnTo>
                    <a:pt x="781638" y="973382"/>
                  </a:lnTo>
                  <a:lnTo>
                    <a:pt x="783430" y="976477"/>
                  </a:lnTo>
                  <a:lnTo>
                    <a:pt x="784896" y="979898"/>
                  </a:lnTo>
                  <a:lnTo>
                    <a:pt x="784896" y="979898"/>
                  </a:lnTo>
                  <a:close/>
                  <a:moveTo>
                    <a:pt x="780009" y="985763"/>
                  </a:moveTo>
                  <a:lnTo>
                    <a:pt x="781475" y="989021"/>
                  </a:lnTo>
                  <a:lnTo>
                    <a:pt x="789132" y="989347"/>
                  </a:lnTo>
                  <a:lnTo>
                    <a:pt x="793042" y="990977"/>
                  </a:lnTo>
                  <a:lnTo>
                    <a:pt x="793856" y="988044"/>
                  </a:lnTo>
                  <a:lnTo>
                    <a:pt x="788643" y="983157"/>
                  </a:lnTo>
                  <a:lnTo>
                    <a:pt x="782778" y="983809"/>
                  </a:lnTo>
                  <a:lnTo>
                    <a:pt x="779846" y="985763"/>
                  </a:lnTo>
                  <a:lnTo>
                    <a:pt x="779846" y="985763"/>
                  </a:lnTo>
                  <a:close/>
                  <a:moveTo>
                    <a:pt x="784896" y="997982"/>
                  </a:moveTo>
                  <a:lnTo>
                    <a:pt x="782453" y="995049"/>
                  </a:lnTo>
                  <a:lnTo>
                    <a:pt x="786199" y="993909"/>
                  </a:lnTo>
                  <a:lnTo>
                    <a:pt x="785059" y="997982"/>
                  </a:lnTo>
                  <a:lnTo>
                    <a:pt x="785059" y="997982"/>
                  </a:lnTo>
                  <a:close/>
                  <a:moveTo>
                    <a:pt x="757201" y="1080577"/>
                  </a:moveTo>
                  <a:lnTo>
                    <a:pt x="757201" y="1076341"/>
                  </a:lnTo>
                  <a:lnTo>
                    <a:pt x="760134" y="1079110"/>
                  </a:lnTo>
                  <a:lnTo>
                    <a:pt x="757201" y="1080577"/>
                  </a:lnTo>
                  <a:lnTo>
                    <a:pt x="757201" y="1080577"/>
                  </a:lnTo>
                  <a:close/>
                  <a:moveTo>
                    <a:pt x="727878" y="1110714"/>
                  </a:moveTo>
                  <a:lnTo>
                    <a:pt x="724620" y="1108760"/>
                  </a:lnTo>
                  <a:lnTo>
                    <a:pt x="728367" y="1102895"/>
                  </a:lnTo>
                  <a:lnTo>
                    <a:pt x="728367" y="1098496"/>
                  </a:lnTo>
                  <a:lnTo>
                    <a:pt x="730810" y="1097356"/>
                  </a:lnTo>
                  <a:lnTo>
                    <a:pt x="731951" y="1100125"/>
                  </a:lnTo>
                  <a:lnTo>
                    <a:pt x="729670" y="1103384"/>
                  </a:lnTo>
                  <a:lnTo>
                    <a:pt x="727878" y="1110714"/>
                  </a:lnTo>
                  <a:lnTo>
                    <a:pt x="727878" y="1110714"/>
                  </a:lnTo>
                  <a:close/>
                  <a:moveTo>
                    <a:pt x="694319" y="1107945"/>
                  </a:moveTo>
                  <a:lnTo>
                    <a:pt x="694319" y="1102569"/>
                  </a:lnTo>
                  <a:lnTo>
                    <a:pt x="697251" y="1099311"/>
                  </a:lnTo>
                  <a:lnTo>
                    <a:pt x="692364" y="1097519"/>
                  </a:lnTo>
                  <a:lnTo>
                    <a:pt x="691223" y="1091003"/>
                  </a:lnTo>
                  <a:lnTo>
                    <a:pt x="692364" y="1088885"/>
                  </a:lnTo>
                  <a:lnTo>
                    <a:pt x="689594" y="1086767"/>
                  </a:lnTo>
                  <a:lnTo>
                    <a:pt x="689594" y="1072431"/>
                  </a:lnTo>
                  <a:cubicBezTo>
                    <a:pt x="689594" y="1072431"/>
                    <a:pt x="690572" y="1069662"/>
                    <a:pt x="690572" y="1069662"/>
                  </a:cubicBezTo>
                  <a:lnTo>
                    <a:pt x="687151" y="1066729"/>
                  </a:lnTo>
                  <a:lnTo>
                    <a:pt x="686825" y="1057769"/>
                  </a:lnTo>
                  <a:lnTo>
                    <a:pt x="688942" y="1052719"/>
                  </a:lnTo>
                  <a:lnTo>
                    <a:pt x="693178" y="1057606"/>
                  </a:lnTo>
                  <a:lnTo>
                    <a:pt x="698554" y="1057932"/>
                  </a:lnTo>
                  <a:lnTo>
                    <a:pt x="693830" y="1053208"/>
                  </a:lnTo>
                  <a:lnTo>
                    <a:pt x="693830" y="1049950"/>
                  </a:lnTo>
                  <a:cubicBezTo>
                    <a:pt x="693830" y="1049950"/>
                    <a:pt x="691386" y="1048484"/>
                    <a:pt x="691386" y="1048484"/>
                  </a:cubicBezTo>
                  <a:lnTo>
                    <a:pt x="692690" y="1041315"/>
                  </a:lnTo>
                  <a:lnTo>
                    <a:pt x="691549" y="1032193"/>
                  </a:lnTo>
                  <a:lnTo>
                    <a:pt x="690897" y="1020952"/>
                  </a:lnTo>
                  <a:lnTo>
                    <a:pt x="692201" y="1014436"/>
                  </a:lnTo>
                  <a:lnTo>
                    <a:pt x="691060" y="1004335"/>
                  </a:lnTo>
                  <a:lnTo>
                    <a:pt x="691060" y="998959"/>
                  </a:lnTo>
                  <a:lnTo>
                    <a:pt x="692526" y="997819"/>
                  </a:lnTo>
                  <a:lnTo>
                    <a:pt x="692853" y="991954"/>
                  </a:lnTo>
                  <a:lnTo>
                    <a:pt x="694481" y="989510"/>
                  </a:lnTo>
                  <a:lnTo>
                    <a:pt x="699531" y="993094"/>
                  </a:lnTo>
                  <a:lnTo>
                    <a:pt x="704256" y="995375"/>
                  </a:lnTo>
                  <a:lnTo>
                    <a:pt x="708166" y="998470"/>
                  </a:lnTo>
                  <a:lnTo>
                    <a:pt x="708980" y="995701"/>
                  </a:lnTo>
                  <a:lnTo>
                    <a:pt x="711098" y="993257"/>
                  </a:lnTo>
                  <a:lnTo>
                    <a:pt x="711098" y="1000751"/>
                  </a:lnTo>
                  <a:cubicBezTo>
                    <a:pt x="711098" y="1000751"/>
                    <a:pt x="719733" y="1005638"/>
                    <a:pt x="719733" y="1005638"/>
                  </a:cubicBezTo>
                  <a:lnTo>
                    <a:pt x="726738" y="1011992"/>
                  </a:lnTo>
                  <a:lnTo>
                    <a:pt x="731625" y="1015413"/>
                  </a:lnTo>
                  <a:lnTo>
                    <a:pt x="734883" y="1012969"/>
                  </a:lnTo>
                  <a:lnTo>
                    <a:pt x="739933" y="1012969"/>
                  </a:lnTo>
                  <a:cubicBezTo>
                    <a:pt x="739933" y="1012969"/>
                    <a:pt x="743843" y="1016390"/>
                    <a:pt x="743843" y="1016390"/>
                  </a:cubicBezTo>
                  <a:lnTo>
                    <a:pt x="743843" y="1011666"/>
                  </a:lnTo>
                  <a:cubicBezTo>
                    <a:pt x="743843" y="1011666"/>
                    <a:pt x="746938" y="1009548"/>
                    <a:pt x="746938" y="1009548"/>
                  </a:cubicBezTo>
                  <a:lnTo>
                    <a:pt x="762252" y="1010525"/>
                  </a:lnTo>
                  <a:lnTo>
                    <a:pt x="765021" y="1008734"/>
                  </a:lnTo>
                  <a:lnTo>
                    <a:pt x="768442" y="1005964"/>
                  </a:lnTo>
                  <a:lnTo>
                    <a:pt x="771374" y="1005964"/>
                  </a:lnTo>
                  <a:cubicBezTo>
                    <a:pt x="771374" y="1005964"/>
                    <a:pt x="772678" y="1007104"/>
                    <a:pt x="772678" y="1007104"/>
                  </a:cubicBezTo>
                  <a:lnTo>
                    <a:pt x="775610" y="1002380"/>
                  </a:lnTo>
                  <a:lnTo>
                    <a:pt x="777891" y="1002380"/>
                  </a:lnTo>
                  <a:lnTo>
                    <a:pt x="783919" y="1006616"/>
                  </a:lnTo>
                  <a:lnTo>
                    <a:pt x="782127" y="1011014"/>
                  </a:lnTo>
                  <a:lnTo>
                    <a:pt x="779846" y="1024210"/>
                  </a:lnTo>
                  <a:lnTo>
                    <a:pt x="775447" y="1029586"/>
                  </a:lnTo>
                  <a:lnTo>
                    <a:pt x="775122" y="1039035"/>
                  </a:lnTo>
                  <a:lnTo>
                    <a:pt x="771374" y="1044411"/>
                  </a:lnTo>
                  <a:lnTo>
                    <a:pt x="772678" y="1050764"/>
                  </a:lnTo>
                  <a:lnTo>
                    <a:pt x="771374" y="1053045"/>
                  </a:lnTo>
                  <a:lnTo>
                    <a:pt x="771374" y="1057606"/>
                  </a:lnTo>
                  <a:cubicBezTo>
                    <a:pt x="771374" y="1057606"/>
                    <a:pt x="769094" y="1063145"/>
                    <a:pt x="769094" y="1063145"/>
                  </a:cubicBezTo>
                  <a:lnTo>
                    <a:pt x="768117" y="1059398"/>
                  </a:lnTo>
                  <a:lnTo>
                    <a:pt x="766650" y="1052068"/>
                  </a:lnTo>
                  <a:lnTo>
                    <a:pt x="763881" y="1056955"/>
                  </a:lnTo>
                  <a:lnTo>
                    <a:pt x="760622" y="1059236"/>
                  </a:lnTo>
                  <a:lnTo>
                    <a:pt x="759971" y="1070313"/>
                  </a:lnTo>
                  <a:lnTo>
                    <a:pt x="757853" y="1072431"/>
                  </a:lnTo>
                  <a:lnTo>
                    <a:pt x="753780" y="1072431"/>
                  </a:lnTo>
                  <a:lnTo>
                    <a:pt x="753780" y="1078296"/>
                  </a:lnTo>
                  <a:cubicBezTo>
                    <a:pt x="753780" y="1078296"/>
                    <a:pt x="750360" y="1083020"/>
                    <a:pt x="750360" y="1083020"/>
                  </a:cubicBezTo>
                  <a:lnTo>
                    <a:pt x="754432" y="1085789"/>
                  </a:lnTo>
                  <a:lnTo>
                    <a:pt x="754432" y="1088885"/>
                  </a:lnTo>
                  <a:lnTo>
                    <a:pt x="748567" y="1097193"/>
                  </a:lnTo>
                  <a:lnTo>
                    <a:pt x="746449" y="1096541"/>
                  </a:lnTo>
                  <a:lnTo>
                    <a:pt x="741888" y="1098822"/>
                  </a:lnTo>
                  <a:lnTo>
                    <a:pt x="741562" y="1091328"/>
                  </a:lnTo>
                  <a:lnTo>
                    <a:pt x="746776" y="1093446"/>
                  </a:lnTo>
                  <a:lnTo>
                    <a:pt x="747427" y="1089211"/>
                  </a:lnTo>
                  <a:lnTo>
                    <a:pt x="744495" y="1086767"/>
                  </a:lnTo>
                  <a:lnTo>
                    <a:pt x="740259" y="1087582"/>
                  </a:lnTo>
                  <a:lnTo>
                    <a:pt x="737815" y="1091980"/>
                  </a:lnTo>
                  <a:lnTo>
                    <a:pt x="734557" y="1090840"/>
                  </a:lnTo>
                  <a:lnTo>
                    <a:pt x="734557" y="1085464"/>
                  </a:lnTo>
                  <a:lnTo>
                    <a:pt x="732602" y="1090840"/>
                  </a:lnTo>
                  <a:lnTo>
                    <a:pt x="727878" y="1094587"/>
                  </a:lnTo>
                  <a:lnTo>
                    <a:pt x="726412" y="1097356"/>
                  </a:lnTo>
                  <a:lnTo>
                    <a:pt x="722990" y="1094098"/>
                  </a:lnTo>
                  <a:lnTo>
                    <a:pt x="720710" y="1102406"/>
                  </a:lnTo>
                  <a:lnTo>
                    <a:pt x="720058" y="1107130"/>
                  </a:lnTo>
                  <a:lnTo>
                    <a:pt x="715171" y="1114462"/>
                  </a:lnTo>
                  <a:lnTo>
                    <a:pt x="711098" y="1114462"/>
                  </a:lnTo>
                  <a:lnTo>
                    <a:pt x="708655" y="1109737"/>
                  </a:lnTo>
                  <a:lnTo>
                    <a:pt x="708655" y="1105502"/>
                  </a:lnTo>
                  <a:lnTo>
                    <a:pt x="704582" y="1110878"/>
                  </a:lnTo>
                  <a:lnTo>
                    <a:pt x="701161" y="1107457"/>
                  </a:lnTo>
                  <a:lnTo>
                    <a:pt x="696437" y="1108434"/>
                  </a:lnTo>
                  <a:cubicBezTo>
                    <a:pt x="696437" y="1108434"/>
                    <a:pt x="693993" y="1107294"/>
                    <a:pt x="694319" y="1107457"/>
                  </a:cubicBezTo>
                  <a:lnTo>
                    <a:pt x="694319" y="1107457"/>
                  </a:lnTo>
                  <a:close/>
                  <a:moveTo>
                    <a:pt x="11729" y="707026"/>
                  </a:moveTo>
                  <a:lnTo>
                    <a:pt x="15150" y="710121"/>
                  </a:lnTo>
                  <a:lnTo>
                    <a:pt x="19060" y="710121"/>
                  </a:lnTo>
                  <a:cubicBezTo>
                    <a:pt x="19060" y="710121"/>
                    <a:pt x="29812" y="721362"/>
                    <a:pt x="29812" y="721362"/>
                  </a:cubicBezTo>
                  <a:lnTo>
                    <a:pt x="29812" y="725434"/>
                  </a:lnTo>
                  <a:cubicBezTo>
                    <a:pt x="29812" y="725434"/>
                    <a:pt x="31604" y="727715"/>
                    <a:pt x="31604" y="727715"/>
                  </a:cubicBezTo>
                  <a:lnTo>
                    <a:pt x="37143" y="728693"/>
                  </a:lnTo>
                  <a:lnTo>
                    <a:pt x="39587" y="731788"/>
                  </a:lnTo>
                  <a:lnTo>
                    <a:pt x="46917" y="732928"/>
                  </a:lnTo>
                  <a:lnTo>
                    <a:pt x="49850" y="732277"/>
                  </a:lnTo>
                  <a:lnTo>
                    <a:pt x="51316" y="734395"/>
                  </a:lnTo>
                  <a:lnTo>
                    <a:pt x="56855" y="735209"/>
                  </a:lnTo>
                  <a:lnTo>
                    <a:pt x="63371" y="733906"/>
                  </a:lnTo>
                  <a:lnTo>
                    <a:pt x="65164" y="737653"/>
                  </a:lnTo>
                  <a:lnTo>
                    <a:pt x="68096" y="735372"/>
                  </a:lnTo>
                  <a:lnTo>
                    <a:pt x="69562" y="736512"/>
                  </a:lnTo>
                  <a:lnTo>
                    <a:pt x="76893" y="735209"/>
                  </a:lnTo>
                  <a:lnTo>
                    <a:pt x="83246" y="734557"/>
                  </a:lnTo>
                  <a:lnTo>
                    <a:pt x="84061" y="731462"/>
                  </a:lnTo>
                  <a:lnTo>
                    <a:pt x="87971" y="730648"/>
                  </a:lnTo>
                  <a:lnTo>
                    <a:pt x="92206" y="724294"/>
                  </a:lnTo>
                  <a:lnTo>
                    <a:pt x="99700" y="725272"/>
                  </a:lnTo>
                  <a:lnTo>
                    <a:pt x="99700" y="720873"/>
                  </a:lnTo>
                  <a:lnTo>
                    <a:pt x="104587" y="718104"/>
                  </a:lnTo>
                  <a:lnTo>
                    <a:pt x="108497" y="718104"/>
                  </a:lnTo>
                  <a:lnTo>
                    <a:pt x="112407" y="722177"/>
                  </a:lnTo>
                  <a:lnTo>
                    <a:pt x="116480" y="716637"/>
                  </a:lnTo>
                  <a:lnTo>
                    <a:pt x="118598" y="717615"/>
                  </a:lnTo>
                  <a:lnTo>
                    <a:pt x="121041" y="716312"/>
                  </a:lnTo>
                  <a:lnTo>
                    <a:pt x="122344" y="710121"/>
                  </a:lnTo>
                  <a:lnTo>
                    <a:pt x="136517" y="701487"/>
                  </a:lnTo>
                  <a:lnTo>
                    <a:pt x="141894" y="702302"/>
                  </a:lnTo>
                  <a:lnTo>
                    <a:pt x="145315" y="704419"/>
                  </a:lnTo>
                  <a:lnTo>
                    <a:pt x="149876" y="701324"/>
                  </a:lnTo>
                  <a:lnTo>
                    <a:pt x="163398" y="698391"/>
                  </a:lnTo>
                  <a:lnTo>
                    <a:pt x="165190" y="701161"/>
                  </a:lnTo>
                  <a:lnTo>
                    <a:pt x="173824" y="699206"/>
                  </a:lnTo>
                  <a:lnTo>
                    <a:pt x="176267" y="700998"/>
                  </a:lnTo>
                  <a:lnTo>
                    <a:pt x="180340" y="701324"/>
                  </a:lnTo>
                  <a:lnTo>
                    <a:pt x="185553" y="699369"/>
                  </a:lnTo>
                  <a:lnTo>
                    <a:pt x="187508" y="704745"/>
                  </a:lnTo>
                  <a:lnTo>
                    <a:pt x="190603" y="704745"/>
                  </a:lnTo>
                  <a:lnTo>
                    <a:pt x="194676" y="702627"/>
                  </a:lnTo>
                  <a:lnTo>
                    <a:pt x="196957" y="705397"/>
                  </a:lnTo>
                  <a:lnTo>
                    <a:pt x="201030" y="702627"/>
                  </a:lnTo>
                  <a:lnTo>
                    <a:pt x="211130" y="702627"/>
                  </a:lnTo>
                  <a:lnTo>
                    <a:pt x="210478" y="706863"/>
                  </a:lnTo>
                  <a:lnTo>
                    <a:pt x="212271" y="707677"/>
                  </a:lnTo>
                  <a:lnTo>
                    <a:pt x="217809" y="702302"/>
                  </a:lnTo>
                  <a:lnTo>
                    <a:pt x="223348" y="703768"/>
                  </a:lnTo>
                  <a:lnTo>
                    <a:pt x="230028" y="699206"/>
                  </a:lnTo>
                  <a:lnTo>
                    <a:pt x="232634" y="693016"/>
                  </a:lnTo>
                  <a:lnTo>
                    <a:pt x="235078" y="692201"/>
                  </a:lnTo>
                  <a:lnTo>
                    <a:pt x="240454" y="686825"/>
                  </a:lnTo>
                  <a:lnTo>
                    <a:pt x="243549" y="677702"/>
                  </a:lnTo>
                  <a:lnTo>
                    <a:pt x="249740" y="672815"/>
                  </a:lnTo>
                  <a:lnTo>
                    <a:pt x="257071" y="670697"/>
                  </a:lnTo>
                  <a:lnTo>
                    <a:pt x="259840" y="672489"/>
                  </a:lnTo>
                  <a:lnTo>
                    <a:pt x="270429" y="668742"/>
                  </a:lnTo>
                  <a:lnTo>
                    <a:pt x="283951" y="660434"/>
                  </a:lnTo>
                  <a:lnTo>
                    <a:pt x="292259" y="652777"/>
                  </a:lnTo>
                  <a:lnTo>
                    <a:pt x="296169" y="651311"/>
                  </a:lnTo>
                  <a:lnTo>
                    <a:pt x="299915" y="651311"/>
                  </a:lnTo>
                  <a:cubicBezTo>
                    <a:pt x="299915" y="651311"/>
                    <a:pt x="304314" y="651311"/>
                    <a:pt x="304314" y="651311"/>
                  </a:cubicBezTo>
                  <a:lnTo>
                    <a:pt x="311808" y="654569"/>
                  </a:lnTo>
                  <a:lnTo>
                    <a:pt x="318813" y="654895"/>
                  </a:lnTo>
                  <a:lnTo>
                    <a:pt x="323700" y="653103"/>
                  </a:lnTo>
                  <a:lnTo>
                    <a:pt x="333964" y="653755"/>
                  </a:lnTo>
                  <a:lnTo>
                    <a:pt x="348137" y="648704"/>
                  </a:lnTo>
                  <a:lnTo>
                    <a:pt x="356445" y="646750"/>
                  </a:lnTo>
                  <a:lnTo>
                    <a:pt x="362635" y="642351"/>
                  </a:lnTo>
                  <a:lnTo>
                    <a:pt x="366546" y="642351"/>
                  </a:lnTo>
                  <a:lnTo>
                    <a:pt x="373713" y="637138"/>
                  </a:lnTo>
                  <a:lnTo>
                    <a:pt x="384303" y="636323"/>
                  </a:lnTo>
                  <a:lnTo>
                    <a:pt x="412323" y="634205"/>
                  </a:lnTo>
                  <a:lnTo>
                    <a:pt x="421446" y="636649"/>
                  </a:lnTo>
                  <a:lnTo>
                    <a:pt x="427637" y="636649"/>
                  </a:lnTo>
                  <a:cubicBezTo>
                    <a:pt x="427637" y="636649"/>
                    <a:pt x="435293" y="634205"/>
                    <a:pt x="435293" y="634205"/>
                  </a:cubicBezTo>
                  <a:lnTo>
                    <a:pt x="441483" y="635020"/>
                  </a:lnTo>
                  <a:lnTo>
                    <a:pt x="449140" y="642351"/>
                  </a:lnTo>
                  <a:lnTo>
                    <a:pt x="455168" y="652614"/>
                  </a:lnTo>
                  <a:lnTo>
                    <a:pt x="459892" y="654080"/>
                  </a:lnTo>
                  <a:lnTo>
                    <a:pt x="463151" y="651311"/>
                  </a:lnTo>
                  <a:lnTo>
                    <a:pt x="466246" y="650170"/>
                  </a:lnTo>
                  <a:lnTo>
                    <a:pt x="468526" y="652614"/>
                  </a:lnTo>
                  <a:lnTo>
                    <a:pt x="471459" y="651311"/>
                  </a:lnTo>
                  <a:lnTo>
                    <a:pt x="476835" y="652614"/>
                  </a:lnTo>
                  <a:lnTo>
                    <a:pt x="481722" y="658968"/>
                  </a:lnTo>
                  <a:lnTo>
                    <a:pt x="488238" y="660108"/>
                  </a:lnTo>
                  <a:lnTo>
                    <a:pt x="491008" y="658316"/>
                  </a:lnTo>
                  <a:lnTo>
                    <a:pt x="502249" y="666298"/>
                  </a:lnTo>
                  <a:lnTo>
                    <a:pt x="501271" y="671186"/>
                  </a:lnTo>
                  <a:lnTo>
                    <a:pt x="504692" y="671186"/>
                  </a:lnTo>
                  <a:cubicBezTo>
                    <a:pt x="504692" y="671186"/>
                    <a:pt x="508602" y="675421"/>
                    <a:pt x="508602" y="675421"/>
                  </a:cubicBezTo>
                  <a:lnTo>
                    <a:pt x="507136" y="679005"/>
                  </a:lnTo>
                  <a:lnTo>
                    <a:pt x="502900" y="679005"/>
                  </a:lnTo>
                  <a:lnTo>
                    <a:pt x="501923" y="682427"/>
                  </a:lnTo>
                  <a:lnTo>
                    <a:pt x="506321" y="692364"/>
                  </a:lnTo>
                  <a:lnTo>
                    <a:pt x="511046" y="692690"/>
                  </a:lnTo>
                  <a:lnTo>
                    <a:pt x="516259" y="698229"/>
                  </a:lnTo>
                  <a:lnTo>
                    <a:pt x="518051" y="705397"/>
                  </a:lnTo>
                  <a:lnTo>
                    <a:pt x="517074" y="710773"/>
                  </a:lnTo>
                  <a:lnTo>
                    <a:pt x="522612" y="723154"/>
                  </a:lnTo>
                  <a:lnTo>
                    <a:pt x="520658" y="728693"/>
                  </a:lnTo>
                  <a:lnTo>
                    <a:pt x="522938" y="731788"/>
                  </a:lnTo>
                  <a:lnTo>
                    <a:pt x="521961" y="738304"/>
                  </a:lnTo>
                  <a:lnTo>
                    <a:pt x="519843" y="742214"/>
                  </a:lnTo>
                  <a:lnTo>
                    <a:pt x="516747" y="740259"/>
                  </a:lnTo>
                  <a:lnTo>
                    <a:pt x="515281" y="741888"/>
                  </a:lnTo>
                  <a:lnTo>
                    <a:pt x="519354" y="747102"/>
                  </a:lnTo>
                  <a:lnTo>
                    <a:pt x="523264" y="749219"/>
                  </a:lnTo>
                  <a:lnTo>
                    <a:pt x="525219" y="754432"/>
                  </a:lnTo>
                  <a:lnTo>
                    <a:pt x="529455" y="752803"/>
                  </a:lnTo>
                  <a:lnTo>
                    <a:pt x="533853" y="756224"/>
                  </a:lnTo>
                  <a:lnTo>
                    <a:pt x="533853" y="751826"/>
                  </a:lnTo>
                  <a:cubicBezTo>
                    <a:pt x="533853" y="751826"/>
                    <a:pt x="531572" y="747753"/>
                    <a:pt x="531572" y="747753"/>
                  </a:cubicBezTo>
                  <a:lnTo>
                    <a:pt x="534505" y="744658"/>
                  </a:lnTo>
                  <a:lnTo>
                    <a:pt x="536948" y="739607"/>
                  </a:lnTo>
                  <a:lnTo>
                    <a:pt x="541021" y="738793"/>
                  </a:lnTo>
                  <a:lnTo>
                    <a:pt x="543302" y="734557"/>
                  </a:lnTo>
                  <a:lnTo>
                    <a:pt x="547701" y="732602"/>
                  </a:lnTo>
                  <a:lnTo>
                    <a:pt x="549004" y="728204"/>
                  </a:lnTo>
                  <a:lnTo>
                    <a:pt x="553728" y="722177"/>
                  </a:lnTo>
                  <a:lnTo>
                    <a:pt x="564480" y="716800"/>
                  </a:lnTo>
                  <a:lnTo>
                    <a:pt x="565620" y="713542"/>
                  </a:lnTo>
                  <a:lnTo>
                    <a:pt x="567738" y="713542"/>
                  </a:lnTo>
                  <a:lnTo>
                    <a:pt x="576210" y="709470"/>
                  </a:lnTo>
                  <a:lnTo>
                    <a:pt x="578328" y="702302"/>
                  </a:lnTo>
                  <a:lnTo>
                    <a:pt x="585169" y="691875"/>
                  </a:lnTo>
                  <a:lnTo>
                    <a:pt x="592501" y="690409"/>
                  </a:lnTo>
                  <a:lnTo>
                    <a:pt x="595433" y="686173"/>
                  </a:lnTo>
                  <a:lnTo>
                    <a:pt x="593478" y="680797"/>
                  </a:lnTo>
                  <a:lnTo>
                    <a:pt x="594618" y="674607"/>
                  </a:lnTo>
                  <a:lnTo>
                    <a:pt x="597713" y="681775"/>
                  </a:lnTo>
                  <a:lnTo>
                    <a:pt x="597713" y="688291"/>
                  </a:lnTo>
                  <a:cubicBezTo>
                    <a:pt x="597713" y="688291"/>
                    <a:pt x="597876" y="694645"/>
                    <a:pt x="597876" y="694645"/>
                  </a:cubicBezTo>
                  <a:lnTo>
                    <a:pt x="594781" y="698718"/>
                  </a:lnTo>
                  <a:lnTo>
                    <a:pt x="593315" y="711587"/>
                  </a:lnTo>
                  <a:lnTo>
                    <a:pt x="582726" y="718593"/>
                  </a:lnTo>
                  <a:lnTo>
                    <a:pt x="581260" y="724131"/>
                  </a:lnTo>
                  <a:lnTo>
                    <a:pt x="578164" y="728204"/>
                  </a:lnTo>
                  <a:lnTo>
                    <a:pt x="578490" y="734069"/>
                  </a:lnTo>
                  <a:lnTo>
                    <a:pt x="572299" y="742703"/>
                  </a:lnTo>
                  <a:lnTo>
                    <a:pt x="574255" y="745146"/>
                  </a:lnTo>
                  <a:lnTo>
                    <a:pt x="569856" y="757528"/>
                  </a:lnTo>
                  <a:lnTo>
                    <a:pt x="557638" y="756224"/>
                  </a:lnTo>
                  <a:lnTo>
                    <a:pt x="555194" y="763066"/>
                  </a:lnTo>
                  <a:lnTo>
                    <a:pt x="552099" y="768443"/>
                  </a:lnTo>
                  <a:lnTo>
                    <a:pt x="552099" y="770398"/>
                  </a:lnTo>
                  <a:lnTo>
                    <a:pt x="559593" y="768443"/>
                  </a:lnTo>
                  <a:lnTo>
                    <a:pt x="566924" y="765184"/>
                  </a:lnTo>
                  <a:lnTo>
                    <a:pt x="575558" y="768280"/>
                  </a:lnTo>
                  <a:lnTo>
                    <a:pt x="584029" y="753944"/>
                  </a:lnTo>
                  <a:lnTo>
                    <a:pt x="586310" y="740748"/>
                  </a:lnTo>
                  <a:lnTo>
                    <a:pt x="593478" y="733417"/>
                  </a:lnTo>
                  <a:lnTo>
                    <a:pt x="595433" y="735698"/>
                  </a:lnTo>
                  <a:lnTo>
                    <a:pt x="595433" y="747916"/>
                  </a:lnTo>
                  <a:cubicBezTo>
                    <a:pt x="595433" y="747916"/>
                    <a:pt x="598365" y="755084"/>
                    <a:pt x="598365" y="755084"/>
                  </a:cubicBezTo>
                  <a:lnTo>
                    <a:pt x="596085" y="755898"/>
                  </a:lnTo>
                  <a:lnTo>
                    <a:pt x="596899" y="768117"/>
                  </a:lnTo>
                  <a:lnTo>
                    <a:pt x="591360" y="778543"/>
                  </a:lnTo>
                  <a:lnTo>
                    <a:pt x="581748" y="782453"/>
                  </a:lnTo>
                  <a:lnTo>
                    <a:pt x="583378" y="785874"/>
                  </a:lnTo>
                  <a:lnTo>
                    <a:pt x="589568" y="785059"/>
                  </a:lnTo>
                  <a:lnTo>
                    <a:pt x="596247" y="785059"/>
                  </a:lnTo>
                  <a:cubicBezTo>
                    <a:pt x="596247" y="785059"/>
                    <a:pt x="599180" y="782290"/>
                    <a:pt x="599180" y="782290"/>
                  </a:cubicBezTo>
                  <a:lnTo>
                    <a:pt x="603578" y="781150"/>
                  </a:lnTo>
                  <a:lnTo>
                    <a:pt x="608954" y="776751"/>
                  </a:lnTo>
                  <a:lnTo>
                    <a:pt x="613353" y="778054"/>
                  </a:lnTo>
                  <a:lnTo>
                    <a:pt x="616611" y="777566"/>
                  </a:lnTo>
                  <a:lnTo>
                    <a:pt x="614004" y="781964"/>
                  </a:lnTo>
                  <a:lnTo>
                    <a:pt x="611561" y="786037"/>
                  </a:lnTo>
                  <a:lnTo>
                    <a:pt x="606999" y="785711"/>
                  </a:lnTo>
                  <a:lnTo>
                    <a:pt x="605696" y="788480"/>
                  </a:lnTo>
                  <a:lnTo>
                    <a:pt x="610258" y="795160"/>
                  </a:lnTo>
                  <a:lnTo>
                    <a:pt x="612212" y="800698"/>
                  </a:lnTo>
                  <a:lnTo>
                    <a:pt x="615471" y="808844"/>
                  </a:lnTo>
                  <a:lnTo>
                    <a:pt x="615796" y="818293"/>
                  </a:lnTo>
                  <a:lnTo>
                    <a:pt x="614819" y="830022"/>
                  </a:lnTo>
                  <a:lnTo>
                    <a:pt x="608465" y="836864"/>
                  </a:lnTo>
                  <a:lnTo>
                    <a:pt x="609606" y="840123"/>
                  </a:lnTo>
                  <a:lnTo>
                    <a:pt x="608628" y="849082"/>
                  </a:lnTo>
                  <a:lnTo>
                    <a:pt x="613027" y="852993"/>
                  </a:lnTo>
                  <a:lnTo>
                    <a:pt x="616937" y="859834"/>
                  </a:lnTo>
                  <a:lnTo>
                    <a:pt x="618077" y="868143"/>
                  </a:lnTo>
                  <a:lnTo>
                    <a:pt x="627200" y="880361"/>
                  </a:lnTo>
                  <a:lnTo>
                    <a:pt x="634205" y="882153"/>
                  </a:lnTo>
                  <a:lnTo>
                    <a:pt x="639092" y="885574"/>
                  </a:lnTo>
                  <a:lnTo>
                    <a:pt x="641373" y="891765"/>
                  </a:lnTo>
                  <a:lnTo>
                    <a:pt x="646586" y="892091"/>
                  </a:lnTo>
                  <a:lnTo>
                    <a:pt x="647726" y="889810"/>
                  </a:lnTo>
                  <a:lnTo>
                    <a:pt x="650985" y="888670"/>
                  </a:lnTo>
                  <a:lnTo>
                    <a:pt x="657501" y="890787"/>
                  </a:lnTo>
                  <a:lnTo>
                    <a:pt x="662877" y="897304"/>
                  </a:lnTo>
                  <a:lnTo>
                    <a:pt x="668742" y="897955"/>
                  </a:lnTo>
                  <a:lnTo>
                    <a:pt x="675095" y="903983"/>
                  </a:lnTo>
                  <a:lnTo>
                    <a:pt x="675910" y="909196"/>
                  </a:lnTo>
                  <a:lnTo>
                    <a:pt x="680960" y="910988"/>
                  </a:lnTo>
                  <a:lnTo>
                    <a:pt x="686173" y="917179"/>
                  </a:lnTo>
                  <a:lnTo>
                    <a:pt x="690083" y="917179"/>
                  </a:lnTo>
                  <a:lnTo>
                    <a:pt x="691875" y="913757"/>
                  </a:lnTo>
                  <a:lnTo>
                    <a:pt x="701812" y="909033"/>
                  </a:lnTo>
                  <a:lnTo>
                    <a:pt x="704908" y="904634"/>
                  </a:lnTo>
                  <a:lnTo>
                    <a:pt x="711098" y="904634"/>
                  </a:lnTo>
                  <a:cubicBezTo>
                    <a:pt x="711098" y="904634"/>
                    <a:pt x="717615" y="897955"/>
                    <a:pt x="717615" y="897955"/>
                  </a:cubicBezTo>
                  <a:lnTo>
                    <a:pt x="722339" y="898933"/>
                  </a:lnTo>
                  <a:lnTo>
                    <a:pt x="724457" y="896489"/>
                  </a:lnTo>
                  <a:lnTo>
                    <a:pt x="723153" y="893882"/>
                  </a:lnTo>
                  <a:lnTo>
                    <a:pt x="717615" y="892416"/>
                  </a:lnTo>
                  <a:lnTo>
                    <a:pt x="719406" y="888995"/>
                  </a:lnTo>
                  <a:lnTo>
                    <a:pt x="729507" y="882316"/>
                  </a:lnTo>
                  <a:lnTo>
                    <a:pt x="737815" y="888181"/>
                  </a:lnTo>
                  <a:lnTo>
                    <a:pt x="737490" y="893720"/>
                  </a:lnTo>
                  <a:lnTo>
                    <a:pt x="727226" y="899259"/>
                  </a:lnTo>
                  <a:lnTo>
                    <a:pt x="729670" y="904146"/>
                  </a:lnTo>
                  <a:lnTo>
                    <a:pt x="732928" y="904961"/>
                  </a:lnTo>
                  <a:lnTo>
                    <a:pt x="736675" y="901050"/>
                  </a:lnTo>
                  <a:lnTo>
                    <a:pt x="740747" y="897793"/>
                  </a:lnTo>
                  <a:lnTo>
                    <a:pt x="745961" y="900725"/>
                  </a:lnTo>
                  <a:lnTo>
                    <a:pt x="745472" y="905612"/>
                  </a:lnTo>
                  <a:lnTo>
                    <a:pt x="742377" y="905612"/>
                  </a:lnTo>
                  <a:cubicBezTo>
                    <a:pt x="742377" y="905612"/>
                    <a:pt x="738304" y="909522"/>
                    <a:pt x="738304" y="909522"/>
                  </a:cubicBezTo>
                  <a:lnTo>
                    <a:pt x="745146" y="917504"/>
                  </a:lnTo>
                  <a:lnTo>
                    <a:pt x="746449" y="926139"/>
                  </a:lnTo>
                  <a:lnTo>
                    <a:pt x="748893" y="924672"/>
                  </a:lnTo>
                  <a:lnTo>
                    <a:pt x="752314" y="924998"/>
                  </a:lnTo>
                  <a:lnTo>
                    <a:pt x="752640" y="930211"/>
                  </a:lnTo>
                  <a:lnTo>
                    <a:pt x="756387" y="935587"/>
                  </a:lnTo>
                  <a:lnTo>
                    <a:pt x="760134" y="929234"/>
                  </a:lnTo>
                  <a:lnTo>
                    <a:pt x="759808" y="922229"/>
                  </a:lnTo>
                  <a:lnTo>
                    <a:pt x="755735" y="925324"/>
                  </a:lnTo>
                  <a:lnTo>
                    <a:pt x="754758" y="922392"/>
                  </a:lnTo>
                  <a:lnTo>
                    <a:pt x="757853" y="918971"/>
                  </a:lnTo>
                  <a:lnTo>
                    <a:pt x="770397" y="919296"/>
                  </a:lnTo>
                  <a:lnTo>
                    <a:pt x="772026" y="921740"/>
                  </a:lnTo>
                  <a:lnTo>
                    <a:pt x="773818" y="918807"/>
                  </a:lnTo>
                  <a:lnTo>
                    <a:pt x="780172" y="910173"/>
                  </a:lnTo>
                  <a:lnTo>
                    <a:pt x="793367" y="902191"/>
                  </a:lnTo>
                  <a:lnTo>
                    <a:pt x="800698" y="895675"/>
                  </a:lnTo>
                  <a:lnTo>
                    <a:pt x="796788" y="895675"/>
                  </a:lnTo>
                  <a:lnTo>
                    <a:pt x="793856" y="897466"/>
                  </a:lnTo>
                  <a:lnTo>
                    <a:pt x="794996" y="896000"/>
                  </a:lnTo>
                  <a:lnTo>
                    <a:pt x="790598" y="894371"/>
                  </a:lnTo>
                  <a:lnTo>
                    <a:pt x="795485" y="894045"/>
                  </a:lnTo>
                  <a:lnTo>
                    <a:pt x="802001" y="894045"/>
                  </a:lnTo>
                  <a:lnTo>
                    <a:pt x="811613" y="891113"/>
                  </a:lnTo>
                  <a:lnTo>
                    <a:pt x="831325" y="887203"/>
                  </a:lnTo>
                  <a:lnTo>
                    <a:pt x="847128" y="890298"/>
                  </a:lnTo>
                  <a:lnTo>
                    <a:pt x="853644" y="886389"/>
                  </a:lnTo>
                  <a:lnTo>
                    <a:pt x="853644" y="882153"/>
                  </a:lnTo>
                  <a:lnTo>
                    <a:pt x="858368" y="882153"/>
                  </a:lnTo>
                  <a:lnTo>
                    <a:pt x="863255" y="878895"/>
                  </a:lnTo>
                  <a:lnTo>
                    <a:pt x="867654" y="869772"/>
                  </a:lnTo>
                  <a:lnTo>
                    <a:pt x="865699" y="859672"/>
                  </a:lnTo>
                  <a:lnTo>
                    <a:pt x="865699" y="854296"/>
                  </a:lnTo>
                  <a:cubicBezTo>
                    <a:pt x="865699" y="854296"/>
                    <a:pt x="874170" y="845498"/>
                    <a:pt x="874170" y="845498"/>
                  </a:cubicBezTo>
                  <a:lnTo>
                    <a:pt x="874170" y="830511"/>
                  </a:lnTo>
                  <a:lnTo>
                    <a:pt x="878243" y="824646"/>
                  </a:lnTo>
                  <a:lnTo>
                    <a:pt x="880035" y="814383"/>
                  </a:lnTo>
                  <a:lnTo>
                    <a:pt x="885085" y="812102"/>
                  </a:lnTo>
                  <a:lnTo>
                    <a:pt x="884760" y="807052"/>
                  </a:lnTo>
                  <a:lnTo>
                    <a:pt x="900236" y="787666"/>
                  </a:lnTo>
                  <a:lnTo>
                    <a:pt x="904471" y="786851"/>
                  </a:lnTo>
                  <a:lnTo>
                    <a:pt x="907241" y="776425"/>
                  </a:lnTo>
                  <a:lnTo>
                    <a:pt x="913431" y="768280"/>
                  </a:lnTo>
                  <a:lnTo>
                    <a:pt x="917341" y="757364"/>
                  </a:lnTo>
                  <a:lnTo>
                    <a:pt x="923532" y="751174"/>
                  </a:lnTo>
                  <a:lnTo>
                    <a:pt x="922880" y="745635"/>
                  </a:lnTo>
                  <a:lnTo>
                    <a:pt x="927279" y="743355"/>
                  </a:lnTo>
                  <a:lnTo>
                    <a:pt x="931351" y="733417"/>
                  </a:lnTo>
                  <a:lnTo>
                    <a:pt x="928093" y="730322"/>
                  </a:lnTo>
                  <a:lnTo>
                    <a:pt x="936076" y="726575"/>
                  </a:lnTo>
                  <a:lnTo>
                    <a:pt x="941452" y="718429"/>
                  </a:lnTo>
                  <a:lnTo>
                    <a:pt x="944710" y="715171"/>
                  </a:lnTo>
                  <a:lnTo>
                    <a:pt x="948620" y="706863"/>
                  </a:lnTo>
                  <a:lnTo>
                    <a:pt x="956113" y="704582"/>
                  </a:lnTo>
                  <a:lnTo>
                    <a:pt x="960838" y="702302"/>
                  </a:lnTo>
                  <a:lnTo>
                    <a:pt x="953019" y="702302"/>
                  </a:lnTo>
                  <a:lnTo>
                    <a:pt x="954973" y="699695"/>
                  </a:lnTo>
                  <a:lnTo>
                    <a:pt x="964096" y="699043"/>
                  </a:lnTo>
                  <a:lnTo>
                    <a:pt x="972242" y="693179"/>
                  </a:lnTo>
                  <a:lnTo>
                    <a:pt x="974033" y="687151"/>
                  </a:lnTo>
                  <a:lnTo>
                    <a:pt x="972893" y="684055"/>
                  </a:lnTo>
                  <a:lnTo>
                    <a:pt x="974033" y="678843"/>
                  </a:lnTo>
                  <a:lnTo>
                    <a:pt x="982342" y="672489"/>
                  </a:lnTo>
                  <a:lnTo>
                    <a:pt x="982342" y="667113"/>
                  </a:lnTo>
                  <a:cubicBezTo>
                    <a:pt x="982342" y="667113"/>
                    <a:pt x="988370" y="664832"/>
                    <a:pt x="988370" y="664832"/>
                  </a:cubicBezTo>
                  <a:lnTo>
                    <a:pt x="993908" y="655384"/>
                  </a:lnTo>
                  <a:lnTo>
                    <a:pt x="993094" y="650496"/>
                  </a:lnTo>
                  <a:lnTo>
                    <a:pt x="996026" y="642839"/>
                  </a:lnTo>
                  <a:lnTo>
                    <a:pt x="993908" y="640233"/>
                  </a:lnTo>
                  <a:lnTo>
                    <a:pt x="994723" y="636160"/>
                  </a:lnTo>
                  <a:lnTo>
                    <a:pt x="1001891" y="619543"/>
                  </a:lnTo>
                  <a:lnTo>
                    <a:pt x="1003683" y="610584"/>
                  </a:lnTo>
                  <a:lnTo>
                    <a:pt x="1012969" y="593967"/>
                  </a:lnTo>
                  <a:lnTo>
                    <a:pt x="1012643" y="587776"/>
                  </a:lnTo>
                  <a:lnTo>
                    <a:pt x="1017530" y="575721"/>
                  </a:lnTo>
                  <a:lnTo>
                    <a:pt x="1024535" y="569856"/>
                  </a:lnTo>
                  <a:lnTo>
                    <a:pt x="1026979" y="562851"/>
                  </a:lnTo>
                  <a:lnTo>
                    <a:pt x="1025024" y="555357"/>
                  </a:lnTo>
                  <a:lnTo>
                    <a:pt x="1029260" y="550144"/>
                  </a:lnTo>
                  <a:lnTo>
                    <a:pt x="1025350" y="538578"/>
                  </a:lnTo>
                  <a:lnTo>
                    <a:pt x="1026002" y="532387"/>
                  </a:lnTo>
                  <a:lnTo>
                    <a:pt x="1022255" y="522776"/>
                  </a:lnTo>
                  <a:lnTo>
                    <a:pt x="1020788" y="519680"/>
                  </a:lnTo>
                  <a:lnTo>
                    <a:pt x="1020788" y="514467"/>
                  </a:lnTo>
                  <a:cubicBezTo>
                    <a:pt x="1020788" y="514467"/>
                    <a:pt x="1022255" y="512186"/>
                    <a:pt x="1022255" y="512186"/>
                  </a:cubicBezTo>
                  <a:lnTo>
                    <a:pt x="1022255" y="506159"/>
                  </a:lnTo>
                  <a:cubicBezTo>
                    <a:pt x="1022255" y="506159"/>
                    <a:pt x="1026979" y="498339"/>
                    <a:pt x="1026979" y="498339"/>
                  </a:cubicBezTo>
                  <a:lnTo>
                    <a:pt x="1026653" y="496059"/>
                  </a:lnTo>
                  <a:lnTo>
                    <a:pt x="1026328" y="481234"/>
                  </a:lnTo>
                  <a:lnTo>
                    <a:pt x="1029260" y="476184"/>
                  </a:lnTo>
                  <a:lnTo>
                    <a:pt x="1027142" y="473251"/>
                  </a:lnTo>
                  <a:lnTo>
                    <a:pt x="1025838" y="468038"/>
                  </a:lnTo>
                  <a:lnTo>
                    <a:pt x="1025838" y="457938"/>
                  </a:lnTo>
                  <a:cubicBezTo>
                    <a:pt x="1025838" y="457938"/>
                    <a:pt x="1023884" y="457123"/>
                    <a:pt x="1023884" y="457123"/>
                  </a:cubicBezTo>
                  <a:lnTo>
                    <a:pt x="1026653" y="451584"/>
                  </a:lnTo>
                  <a:lnTo>
                    <a:pt x="1021603" y="449467"/>
                  </a:lnTo>
                  <a:lnTo>
                    <a:pt x="1019160" y="444416"/>
                  </a:lnTo>
                  <a:lnTo>
                    <a:pt x="1019160" y="438551"/>
                  </a:lnTo>
                  <a:cubicBezTo>
                    <a:pt x="1019160" y="438551"/>
                    <a:pt x="1013620" y="433501"/>
                    <a:pt x="1013620" y="433501"/>
                  </a:cubicBezTo>
                  <a:lnTo>
                    <a:pt x="1009874" y="426170"/>
                  </a:lnTo>
                  <a:lnTo>
                    <a:pt x="1008408" y="419002"/>
                  </a:lnTo>
                  <a:lnTo>
                    <a:pt x="1005149" y="412812"/>
                  </a:lnTo>
                  <a:lnTo>
                    <a:pt x="1001891" y="412812"/>
                  </a:lnTo>
                  <a:cubicBezTo>
                    <a:pt x="1001891" y="412812"/>
                    <a:pt x="997981" y="414278"/>
                    <a:pt x="997981" y="414278"/>
                  </a:cubicBezTo>
                  <a:lnTo>
                    <a:pt x="994560" y="411020"/>
                  </a:lnTo>
                  <a:lnTo>
                    <a:pt x="993746" y="404503"/>
                  </a:lnTo>
                  <a:lnTo>
                    <a:pt x="991302" y="403363"/>
                  </a:lnTo>
                  <a:lnTo>
                    <a:pt x="990651" y="399616"/>
                  </a:lnTo>
                  <a:lnTo>
                    <a:pt x="984460" y="394240"/>
                  </a:lnTo>
                  <a:lnTo>
                    <a:pt x="981528" y="391471"/>
                  </a:lnTo>
                  <a:lnTo>
                    <a:pt x="982831" y="387561"/>
                  </a:lnTo>
                  <a:lnTo>
                    <a:pt x="979410" y="381370"/>
                  </a:lnTo>
                  <a:lnTo>
                    <a:pt x="984297" y="375180"/>
                  </a:lnTo>
                  <a:lnTo>
                    <a:pt x="985437" y="367360"/>
                  </a:lnTo>
                  <a:lnTo>
                    <a:pt x="983971" y="363613"/>
                  </a:lnTo>
                  <a:lnTo>
                    <a:pt x="984786" y="358563"/>
                  </a:lnTo>
                  <a:lnTo>
                    <a:pt x="981365" y="356608"/>
                  </a:lnTo>
                  <a:lnTo>
                    <a:pt x="980387" y="359378"/>
                  </a:lnTo>
                  <a:lnTo>
                    <a:pt x="981853" y="361659"/>
                  </a:lnTo>
                  <a:lnTo>
                    <a:pt x="979898" y="364428"/>
                  </a:lnTo>
                  <a:lnTo>
                    <a:pt x="968495" y="354002"/>
                  </a:lnTo>
                  <a:lnTo>
                    <a:pt x="966051" y="347974"/>
                  </a:lnTo>
                  <a:lnTo>
                    <a:pt x="963933" y="349114"/>
                  </a:lnTo>
                  <a:lnTo>
                    <a:pt x="963933" y="352535"/>
                  </a:lnTo>
                  <a:lnTo>
                    <a:pt x="962630" y="356445"/>
                  </a:lnTo>
                  <a:lnTo>
                    <a:pt x="965399" y="364428"/>
                  </a:lnTo>
                  <a:lnTo>
                    <a:pt x="959860" y="357586"/>
                  </a:lnTo>
                  <a:lnTo>
                    <a:pt x="957091" y="360681"/>
                  </a:lnTo>
                  <a:lnTo>
                    <a:pt x="957091" y="355794"/>
                  </a:lnTo>
                  <a:lnTo>
                    <a:pt x="954973" y="351721"/>
                  </a:lnTo>
                  <a:lnTo>
                    <a:pt x="953996" y="337385"/>
                  </a:lnTo>
                  <a:lnTo>
                    <a:pt x="955625" y="335919"/>
                  </a:lnTo>
                  <a:lnTo>
                    <a:pt x="955625" y="332498"/>
                  </a:lnTo>
                  <a:lnTo>
                    <a:pt x="950738" y="329402"/>
                  </a:lnTo>
                  <a:lnTo>
                    <a:pt x="952692" y="325167"/>
                  </a:lnTo>
                  <a:lnTo>
                    <a:pt x="948946" y="322234"/>
                  </a:lnTo>
                  <a:lnTo>
                    <a:pt x="950086" y="317836"/>
                  </a:lnTo>
                  <a:lnTo>
                    <a:pt x="941778" y="310668"/>
                  </a:lnTo>
                  <a:lnTo>
                    <a:pt x="939497" y="305618"/>
                  </a:lnTo>
                  <a:lnTo>
                    <a:pt x="939171" y="299590"/>
                  </a:lnTo>
                  <a:lnTo>
                    <a:pt x="943895" y="300730"/>
                  </a:lnTo>
                  <a:lnTo>
                    <a:pt x="943895" y="295680"/>
                  </a:lnTo>
                  <a:lnTo>
                    <a:pt x="939822" y="288349"/>
                  </a:lnTo>
                  <a:lnTo>
                    <a:pt x="937705" y="289490"/>
                  </a:lnTo>
                  <a:lnTo>
                    <a:pt x="933306" y="288838"/>
                  </a:lnTo>
                  <a:lnTo>
                    <a:pt x="928256" y="281670"/>
                  </a:lnTo>
                  <a:lnTo>
                    <a:pt x="924346" y="281670"/>
                  </a:lnTo>
                  <a:cubicBezTo>
                    <a:pt x="924346" y="281670"/>
                    <a:pt x="919622" y="277434"/>
                    <a:pt x="919622" y="277434"/>
                  </a:cubicBezTo>
                  <a:lnTo>
                    <a:pt x="916853" y="280367"/>
                  </a:lnTo>
                  <a:lnTo>
                    <a:pt x="914735" y="277434"/>
                  </a:lnTo>
                  <a:lnTo>
                    <a:pt x="909196" y="275479"/>
                  </a:lnTo>
                  <a:lnTo>
                    <a:pt x="905775" y="278738"/>
                  </a:lnTo>
                  <a:lnTo>
                    <a:pt x="908707" y="274013"/>
                  </a:lnTo>
                  <a:lnTo>
                    <a:pt x="913757" y="272710"/>
                  </a:lnTo>
                  <a:lnTo>
                    <a:pt x="914083" y="268963"/>
                  </a:lnTo>
                  <a:lnTo>
                    <a:pt x="912454" y="266031"/>
                  </a:lnTo>
                  <a:lnTo>
                    <a:pt x="906589" y="266682"/>
                  </a:lnTo>
                  <a:lnTo>
                    <a:pt x="902190" y="266357"/>
                  </a:lnTo>
                  <a:lnTo>
                    <a:pt x="900887" y="263261"/>
                  </a:lnTo>
                  <a:lnTo>
                    <a:pt x="898444" y="263261"/>
                  </a:lnTo>
                  <a:lnTo>
                    <a:pt x="887855" y="257234"/>
                  </a:lnTo>
                  <a:lnTo>
                    <a:pt x="883293" y="247948"/>
                  </a:lnTo>
                  <a:lnTo>
                    <a:pt x="882316" y="238662"/>
                  </a:lnTo>
                  <a:lnTo>
                    <a:pt x="879220" y="232634"/>
                  </a:lnTo>
                  <a:lnTo>
                    <a:pt x="879220" y="227747"/>
                  </a:lnTo>
                  <a:cubicBezTo>
                    <a:pt x="879220" y="227747"/>
                    <a:pt x="881990" y="226770"/>
                    <a:pt x="881990" y="226770"/>
                  </a:cubicBezTo>
                  <a:lnTo>
                    <a:pt x="884108" y="216506"/>
                  </a:lnTo>
                  <a:lnTo>
                    <a:pt x="881176" y="202985"/>
                  </a:lnTo>
                  <a:lnTo>
                    <a:pt x="878080" y="196794"/>
                  </a:lnTo>
                  <a:lnTo>
                    <a:pt x="880849" y="195491"/>
                  </a:lnTo>
                  <a:lnTo>
                    <a:pt x="877592" y="192396"/>
                  </a:lnTo>
                  <a:lnTo>
                    <a:pt x="873681" y="192396"/>
                  </a:lnTo>
                  <a:lnTo>
                    <a:pt x="868794" y="182295"/>
                  </a:lnTo>
                  <a:lnTo>
                    <a:pt x="868794" y="169751"/>
                  </a:lnTo>
                  <a:cubicBezTo>
                    <a:pt x="868794" y="169751"/>
                    <a:pt x="870586" y="168285"/>
                    <a:pt x="870586" y="168285"/>
                  </a:cubicBezTo>
                  <a:lnTo>
                    <a:pt x="870586" y="165516"/>
                  </a:lnTo>
                  <a:cubicBezTo>
                    <a:pt x="870586" y="165516"/>
                    <a:pt x="868469" y="162584"/>
                    <a:pt x="868469" y="162584"/>
                  </a:cubicBezTo>
                  <a:lnTo>
                    <a:pt x="867328" y="146781"/>
                  </a:lnTo>
                  <a:lnTo>
                    <a:pt x="868631" y="142546"/>
                  </a:lnTo>
                  <a:lnTo>
                    <a:pt x="867328" y="137495"/>
                  </a:lnTo>
                  <a:lnTo>
                    <a:pt x="869120" y="136029"/>
                  </a:lnTo>
                  <a:lnTo>
                    <a:pt x="869772" y="132282"/>
                  </a:lnTo>
                  <a:lnTo>
                    <a:pt x="860812" y="123811"/>
                  </a:lnTo>
                  <a:lnTo>
                    <a:pt x="855436" y="120553"/>
                  </a:lnTo>
                  <a:lnTo>
                    <a:pt x="856902" y="118272"/>
                  </a:lnTo>
                  <a:lnTo>
                    <a:pt x="851037" y="112407"/>
                  </a:lnTo>
                  <a:lnTo>
                    <a:pt x="845824" y="115828"/>
                  </a:lnTo>
                  <a:lnTo>
                    <a:pt x="843381" y="114036"/>
                  </a:lnTo>
                  <a:lnTo>
                    <a:pt x="840448" y="119576"/>
                  </a:lnTo>
                  <a:lnTo>
                    <a:pt x="836212" y="119576"/>
                  </a:lnTo>
                  <a:cubicBezTo>
                    <a:pt x="836212" y="119576"/>
                    <a:pt x="830999" y="111756"/>
                    <a:pt x="830999" y="111756"/>
                  </a:cubicBezTo>
                  <a:lnTo>
                    <a:pt x="831651" y="107520"/>
                  </a:lnTo>
                  <a:lnTo>
                    <a:pt x="828393" y="100352"/>
                  </a:lnTo>
                  <a:lnTo>
                    <a:pt x="830347" y="90903"/>
                  </a:lnTo>
                  <a:lnTo>
                    <a:pt x="829208" y="79500"/>
                  </a:lnTo>
                  <a:lnTo>
                    <a:pt x="827090" y="80477"/>
                  </a:lnTo>
                  <a:lnTo>
                    <a:pt x="825135" y="75753"/>
                  </a:lnTo>
                  <a:lnTo>
                    <a:pt x="827415" y="71354"/>
                  </a:lnTo>
                  <a:lnTo>
                    <a:pt x="823506" y="66141"/>
                  </a:lnTo>
                  <a:lnTo>
                    <a:pt x="823506" y="61743"/>
                  </a:lnTo>
                  <a:cubicBezTo>
                    <a:pt x="823506" y="61743"/>
                    <a:pt x="820573" y="59951"/>
                    <a:pt x="820573" y="59951"/>
                  </a:cubicBezTo>
                  <a:lnTo>
                    <a:pt x="820573" y="53597"/>
                  </a:lnTo>
                  <a:cubicBezTo>
                    <a:pt x="820573" y="53597"/>
                    <a:pt x="823831" y="50502"/>
                    <a:pt x="823831" y="50502"/>
                  </a:cubicBezTo>
                  <a:lnTo>
                    <a:pt x="820410" y="48547"/>
                  </a:lnTo>
                  <a:lnTo>
                    <a:pt x="816174" y="49525"/>
                  </a:lnTo>
                  <a:lnTo>
                    <a:pt x="812917" y="46429"/>
                  </a:lnTo>
                  <a:lnTo>
                    <a:pt x="814871" y="34211"/>
                  </a:lnTo>
                  <a:lnTo>
                    <a:pt x="813405" y="31442"/>
                  </a:lnTo>
                  <a:lnTo>
                    <a:pt x="811939" y="24274"/>
                  </a:lnTo>
                  <a:lnTo>
                    <a:pt x="806563" y="23133"/>
                  </a:lnTo>
                  <a:lnTo>
                    <a:pt x="806563" y="19875"/>
                  </a:lnTo>
                  <a:cubicBezTo>
                    <a:pt x="806563" y="19875"/>
                    <a:pt x="800698" y="22156"/>
                    <a:pt x="800698" y="22156"/>
                  </a:cubicBezTo>
                  <a:lnTo>
                    <a:pt x="797766" y="26228"/>
                  </a:lnTo>
                  <a:lnTo>
                    <a:pt x="797766" y="35351"/>
                  </a:lnTo>
                  <a:lnTo>
                    <a:pt x="794996" y="43008"/>
                  </a:lnTo>
                  <a:lnTo>
                    <a:pt x="794996" y="45126"/>
                  </a:lnTo>
                  <a:lnTo>
                    <a:pt x="793856" y="50339"/>
                  </a:lnTo>
                  <a:lnTo>
                    <a:pt x="790924" y="50013"/>
                  </a:lnTo>
                  <a:lnTo>
                    <a:pt x="787665" y="58322"/>
                  </a:lnTo>
                  <a:lnTo>
                    <a:pt x="783267" y="64512"/>
                  </a:lnTo>
                  <a:lnTo>
                    <a:pt x="787177" y="68259"/>
                  </a:lnTo>
                  <a:lnTo>
                    <a:pt x="792064" y="72169"/>
                  </a:lnTo>
                  <a:lnTo>
                    <a:pt x="788969" y="74287"/>
                  </a:lnTo>
                  <a:lnTo>
                    <a:pt x="785711" y="73635"/>
                  </a:lnTo>
                  <a:lnTo>
                    <a:pt x="783593" y="78685"/>
                  </a:lnTo>
                  <a:lnTo>
                    <a:pt x="780823" y="83735"/>
                  </a:lnTo>
                  <a:lnTo>
                    <a:pt x="784570" y="89763"/>
                  </a:lnTo>
                  <a:lnTo>
                    <a:pt x="785222" y="93999"/>
                  </a:lnTo>
                  <a:lnTo>
                    <a:pt x="781312" y="92533"/>
                  </a:lnTo>
                  <a:lnTo>
                    <a:pt x="778380" y="94650"/>
                  </a:lnTo>
                  <a:lnTo>
                    <a:pt x="776099" y="107194"/>
                  </a:lnTo>
                  <a:lnTo>
                    <a:pt x="778380" y="115666"/>
                  </a:lnTo>
                  <a:lnTo>
                    <a:pt x="776588" y="124951"/>
                  </a:lnTo>
                  <a:lnTo>
                    <a:pt x="779031" y="131468"/>
                  </a:lnTo>
                  <a:lnTo>
                    <a:pt x="778380" y="138961"/>
                  </a:lnTo>
                  <a:lnTo>
                    <a:pt x="773492" y="143360"/>
                  </a:lnTo>
                  <a:lnTo>
                    <a:pt x="773492" y="147596"/>
                  </a:lnTo>
                  <a:lnTo>
                    <a:pt x="768279" y="157533"/>
                  </a:lnTo>
                  <a:lnTo>
                    <a:pt x="767302" y="172032"/>
                  </a:lnTo>
                  <a:lnTo>
                    <a:pt x="762903" y="177082"/>
                  </a:lnTo>
                  <a:lnTo>
                    <a:pt x="764369" y="182295"/>
                  </a:lnTo>
                  <a:lnTo>
                    <a:pt x="761437" y="190278"/>
                  </a:lnTo>
                  <a:lnTo>
                    <a:pt x="756713" y="195002"/>
                  </a:lnTo>
                  <a:lnTo>
                    <a:pt x="756061" y="204614"/>
                  </a:lnTo>
                  <a:lnTo>
                    <a:pt x="748079" y="210642"/>
                  </a:lnTo>
                  <a:lnTo>
                    <a:pt x="731788" y="216995"/>
                  </a:lnTo>
                  <a:lnTo>
                    <a:pt x="725271" y="212271"/>
                  </a:lnTo>
                  <a:lnTo>
                    <a:pt x="718429" y="211619"/>
                  </a:lnTo>
                  <a:lnTo>
                    <a:pt x="715171" y="207220"/>
                  </a:lnTo>
                  <a:lnTo>
                    <a:pt x="708817" y="202170"/>
                  </a:lnTo>
                  <a:lnTo>
                    <a:pt x="708817" y="199075"/>
                  </a:lnTo>
                  <a:cubicBezTo>
                    <a:pt x="708817" y="199075"/>
                    <a:pt x="706863" y="196794"/>
                    <a:pt x="706863" y="196794"/>
                  </a:cubicBezTo>
                  <a:lnTo>
                    <a:pt x="705233" y="191255"/>
                  </a:lnTo>
                  <a:lnTo>
                    <a:pt x="699206" y="190278"/>
                  </a:lnTo>
                  <a:lnTo>
                    <a:pt x="694156" y="188160"/>
                  </a:lnTo>
                  <a:lnTo>
                    <a:pt x="686173" y="187509"/>
                  </a:lnTo>
                  <a:lnTo>
                    <a:pt x="678842" y="182784"/>
                  </a:lnTo>
                  <a:lnTo>
                    <a:pt x="677539" y="178549"/>
                  </a:lnTo>
                  <a:lnTo>
                    <a:pt x="672000" y="171380"/>
                  </a:lnTo>
                  <a:lnTo>
                    <a:pt x="665158" y="170729"/>
                  </a:lnTo>
                  <a:lnTo>
                    <a:pt x="659130" y="166819"/>
                  </a:lnTo>
                  <a:lnTo>
                    <a:pt x="658804" y="163561"/>
                  </a:lnTo>
                  <a:lnTo>
                    <a:pt x="655546" y="163235"/>
                  </a:lnTo>
                  <a:lnTo>
                    <a:pt x="652614" y="160954"/>
                  </a:lnTo>
                  <a:lnTo>
                    <a:pt x="647075" y="160954"/>
                  </a:lnTo>
                  <a:cubicBezTo>
                    <a:pt x="647075" y="160954"/>
                    <a:pt x="642513" y="159977"/>
                    <a:pt x="642513" y="159977"/>
                  </a:cubicBezTo>
                  <a:lnTo>
                    <a:pt x="643817" y="157859"/>
                  </a:lnTo>
                  <a:lnTo>
                    <a:pt x="637463" y="152646"/>
                  </a:lnTo>
                  <a:lnTo>
                    <a:pt x="636323" y="147596"/>
                  </a:lnTo>
                  <a:lnTo>
                    <a:pt x="629806" y="140753"/>
                  </a:lnTo>
                  <a:lnTo>
                    <a:pt x="625571" y="140102"/>
                  </a:lnTo>
                  <a:lnTo>
                    <a:pt x="620032" y="133586"/>
                  </a:lnTo>
                  <a:lnTo>
                    <a:pt x="620032" y="127232"/>
                  </a:lnTo>
                  <a:cubicBezTo>
                    <a:pt x="620032" y="127232"/>
                    <a:pt x="624756" y="119576"/>
                    <a:pt x="624756" y="119576"/>
                  </a:cubicBezTo>
                  <a:lnTo>
                    <a:pt x="625897" y="113385"/>
                  </a:lnTo>
                  <a:lnTo>
                    <a:pt x="630947" y="109964"/>
                  </a:lnTo>
                  <a:lnTo>
                    <a:pt x="632413" y="102796"/>
                  </a:lnTo>
                  <a:lnTo>
                    <a:pt x="634531" y="98071"/>
                  </a:lnTo>
                  <a:lnTo>
                    <a:pt x="630133" y="101330"/>
                  </a:lnTo>
                  <a:lnTo>
                    <a:pt x="626385" y="94325"/>
                  </a:lnTo>
                  <a:lnTo>
                    <a:pt x="631599" y="90903"/>
                  </a:lnTo>
                  <a:lnTo>
                    <a:pt x="630621" y="85527"/>
                  </a:lnTo>
                  <a:lnTo>
                    <a:pt x="633390" y="85527"/>
                  </a:lnTo>
                  <a:cubicBezTo>
                    <a:pt x="633390" y="85527"/>
                    <a:pt x="636486" y="84387"/>
                    <a:pt x="636486" y="84387"/>
                  </a:cubicBezTo>
                  <a:lnTo>
                    <a:pt x="637789" y="86342"/>
                  </a:lnTo>
                  <a:lnTo>
                    <a:pt x="642351" y="87319"/>
                  </a:lnTo>
                  <a:lnTo>
                    <a:pt x="648704" y="84387"/>
                  </a:lnTo>
                  <a:lnTo>
                    <a:pt x="650822" y="78522"/>
                  </a:lnTo>
                  <a:lnTo>
                    <a:pt x="646423" y="74775"/>
                  </a:lnTo>
                  <a:lnTo>
                    <a:pt x="649844" y="72006"/>
                  </a:lnTo>
                  <a:lnTo>
                    <a:pt x="653591" y="72983"/>
                  </a:lnTo>
                  <a:lnTo>
                    <a:pt x="656035" y="64349"/>
                  </a:lnTo>
                  <a:lnTo>
                    <a:pt x="659293" y="62557"/>
                  </a:lnTo>
                  <a:lnTo>
                    <a:pt x="662714" y="57833"/>
                  </a:lnTo>
                  <a:lnTo>
                    <a:pt x="662714" y="55389"/>
                  </a:lnTo>
                  <a:cubicBezTo>
                    <a:pt x="662714" y="55389"/>
                    <a:pt x="657664" y="52945"/>
                    <a:pt x="657664" y="52945"/>
                  </a:cubicBezTo>
                  <a:lnTo>
                    <a:pt x="654406" y="56855"/>
                  </a:lnTo>
                  <a:lnTo>
                    <a:pt x="651147" y="55552"/>
                  </a:lnTo>
                  <a:lnTo>
                    <a:pt x="650333" y="46918"/>
                  </a:lnTo>
                  <a:lnTo>
                    <a:pt x="646097" y="48873"/>
                  </a:lnTo>
                  <a:lnTo>
                    <a:pt x="640070" y="56041"/>
                  </a:lnTo>
                  <a:lnTo>
                    <a:pt x="643165" y="57344"/>
                  </a:lnTo>
                  <a:lnTo>
                    <a:pt x="643165" y="60765"/>
                  </a:lnTo>
                  <a:lnTo>
                    <a:pt x="638929" y="62883"/>
                  </a:lnTo>
                  <a:lnTo>
                    <a:pt x="634857" y="60439"/>
                  </a:lnTo>
                  <a:lnTo>
                    <a:pt x="633879" y="57344"/>
                  </a:lnTo>
                  <a:lnTo>
                    <a:pt x="631762" y="54412"/>
                  </a:lnTo>
                  <a:lnTo>
                    <a:pt x="629969" y="57670"/>
                  </a:lnTo>
                  <a:lnTo>
                    <a:pt x="626548" y="58647"/>
                  </a:lnTo>
                  <a:lnTo>
                    <a:pt x="626548" y="55389"/>
                  </a:lnTo>
                  <a:cubicBezTo>
                    <a:pt x="626548" y="55389"/>
                    <a:pt x="629644" y="52294"/>
                    <a:pt x="629644" y="52294"/>
                  </a:cubicBezTo>
                  <a:lnTo>
                    <a:pt x="630784" y="49850"/>
                  </a:lnTo>
                  <a:lnTo>
                    <a:pt x="627037" y="51317"/>
                  </a:lnTo>
                  <a:lnTo>
                    <a:pt x="624268" y="54412"/>
                  </a:lnTo>
                  <a:lnTo>
                    <a:pt x="618403" y="56367"/>
                  </a:lnTo>
                  <a:lnTo>
                    <a:pt x="617588" y="58485"/>
                  </a:lnTo>
                  <a:lnTo>
                    <a:pt x="614493" y="59136"/>
                  </a:lnTo>
                  <a:lnTo>
                    <a:pt x="613027" y="57018"/>
                  </a:lnTo>
                  <a:lnTo>
                    <a:pt x="608140" y="56693"/>
                  </a:lnTo>
                  <a:lnTo>
                    <a:pt x="608140" y="54412"/>
                  </a:lnTo>
                  <a:cubicBezTo>
                    <a:pt x="608140" y="54412"/>
                    <a:pt x="604067" y="49036"/>
                    <a:pt x="604067" y="49036"/>
                  </a:cubicBezTo>
                  <a:lnTo>
                    <a:pt x="601949" y="48384"/>
                  </a:lnTo>
                  <a:lnTo>
                    <a:pt x="595921" y="51642"/>
                  </a:lnTo>
                  <a:lnTo>
                    <a:pt x="591686" y="49850"/>
                  </a:lnTo>
                  <a:lnTo>
                    <a:pt x="589079" y="51317"/>
                  </a:lnTo>
                  <a:lnTo>
                    <a:pt x="587124" y="47569"/>
                  </a:lnTo>
                  <a:lnTo>
                    <a:pt x="584844" y="46918"/>
                  </a:lnTo>
                  <a:lnTo>
                    <a:pt x="581911" y="41542"/>
                  </a:lnTo>
                  <a:lnTo>
                    <a:pt x="576047" y="44311"/>
                  </a:lnTo>
                  <a:lnTo>
                    <a:pt x="569856" y="43334"/>
                  </a:lnTo>
                  <a:lnTo>
                    <a:pt x="564317" y="40890"/>
                  </a:lnTo>
                  <a:lnTo>
                    <a:pt x="564643" y="37143"/>
                  </a:lnTo>
                  <a:lnTo>
                    <a:pt x="560733" y="32256"/>
                  </a:lnTo>
                  <a:lnTo>
                    <a:pt x="558453" y="32908"/>
                  </a:lnTo>
                  <a:lnTo>
                    <a:pt x="559104" y="35026"/>
                  </a:lnTo>
                  <a:lnTo>
                    <a:pt x="551447" y="37306"/>
                  </a:lnTo>
                  <a:lnTo>
                    <a:pt x="549492" y="32582"/>
                  </a:lnTo>
                  <a:lnTo>
                    <a:pt x="545256" y="31116"/>
                  </a:lnTo>
                  <a:lnTo>
                    <a:pt x="538415" y="27206"/>
                  </a:lnTo>
                  <a:lnTo>
                    <a:pt x="537437" y="29161"/>
                  </a:lnTo>
                  <a:lnTo>
                    <a:pt x="534016" y="26717"/>
                  </a:lnTo>
                  <a:lnTo>
                    <a:pt x="529780" y="29975"/>
                  </a:lnTo>
                  <a:lnTo>
                    <a:pt x="534831" y="33885"/>
                  </a:lnTo>
                  <a:lnTo>
                    <a:pt x="533364" y="35188"/>
                  </a:lnTo>
                  <a:lnTo>
                    <a:pt x="538252" y="36329"/>
                  </a:lnTo>
                  <a:lnTo>
                    <a:pt x="542487" y="34374"/>
                  </a:lnTo>
                  <a:lnTo>
                    <a:pt x="549818" y="40564"/>
                  </a:lnTo>
                  <a:lnTo>
                    <a:pt x="549167" y="43986"/>
                  </a:lnTo>
                  <a:lnTo>
                    <a:pt x="550633" y="52131"/>
                  </a:lnTo>
                  <a:lnTo>
                    <a:pt x="545420" y="52457"/>
                  </a:lnTo>
                  <a:lnTo>
                    <a:pt x="543465" y="58322"/>
                  </a:lnTo>
                  <a:lnTo>
                    <a:pt x="541673" y="54901"/>
                  </a:lnTo>
                  <a:lnTo>
                    <a:pt x="537763" y="53760"/>
                  </a:lnTo>
                  <a:lnTo>
                    <a:pt x="533690" y="56529"/>
                  </a:lnTo>
                  <a:lnTo>
                    <a:pt x="519028" y="57344"/>
                  </a:lnTo>
                  <a:lnTo>
                    <a:pt x="513489" y="52457"/>
                  </a:lnTo>
                  <a:lnTo>
                    <a:pt x="512675" y="54575"/>
                  </a:lnTo>
                  <a:lnTo>
                    <a:pt x="506810" y="56693"/>
                  </a:lnTo>
                  <a:lnTo>
                    <a:pt x="507462" y="61580"/>
                  </a:lnTo>
                  <a:lnTo>
                    <a:pt x="502574" y="60602"/>
                  </a:lnTo>
                  <a:lnTo>
                    <a:pt x="504204" y="67444"/>
                  </a:lnTo>
                  <a:lnTo>
                    <a:pt x="502412" y="65001"/>
                  </a:lnTo>
                  <a:lnTo>
                    <a:pt x="496384" y="63046"/>
                  </a:lnTo>
                  <a:lnTo>
                    <a:pt x="494103" y="66467"/>
                  </a:lnTo>
                  <a:lnTo>
                    <a:pt x="496384" y="69725"/>
                  </a:lnTo>
                  <a:lnTo>
                    <a:pt x="496058" y="71843"/>
                  </a:lnTo>
                  <a:lnTo>
                    <a:pt x="489705" y="69888"/>
                  </a:lnTo>
                  <a:lnTo>
                    <a:pt x="486447" y="73146"/>
                  </a:lnTo>
                  <a:lnTo>
                    <a:pt x="488890" y="75916"/>
                  </a:lnTo>
                  <a:lnTo>
                    <a:pt x="486121" y="77219"/>
                  </a:lnTo>
                  <a:lnTo>
                    <a:pt x="481885" y="79663"/>
                  </a:lnTo>
                  <a:lnTo>
                    <a:pt x="482211" y="82921"/>
                  </a:lnTo>
                  <a:lnTo>
                    <a:pt x="486121" y="86831"/>
                  </a:lnTo>
                  <a:lnTo>
                    <a:pt x="487261" y="89763"/>
                  </a:lnTo>
                  <a:lnTo>
                    <a:pt x="482699" y="87156"/>
                  </a:lnTo>
                  <a:lnTo>
                    <a:pt x="478953" y="90252"/>
                  </a:lnTo>
                  <a:lnTo>
                    <a:pt x="474554" y="90252"/>
                  </a:lnTo>
                  <a:lnTo>
                    <a:pt x="470156" y="97420"/>
                  </a:lnTo>
                  <a:lnTo>
                    <a:pt x="466083" y="105565"/>
                  </a:lnTo>
                  <a:lnTo>
                    <a:pt x="462824" y="106543"/>
                  </a:lnTo>
                  <a:lnTo>
                    <a:pt x="461358" y="113385"/>
                  </a:lnTo>
                  <a:lnTo>
                    <a:pt x="457286" y="115828"/>
                  </a:lnTo>
                  <a:lnTo>
                    <a:pt x="460707" y="119576"/>
                  </a:lnTo>
                  <a:lnTo>
                    <a:pt x="469341" y="121042"/>
                  </a:lnTo>
                  <a:lnTo>
                    <a:pt x="466083" y="122019"/>
                  </a:lnTo>
                  <a:lnTo>
                    <a:pt x="464128" y="125766"/>
                  </a:lnTo>
                  <a:lnTo>
                    <a:pt x="474554" y="129187"/>
                  </a:lnTo>
                  <a:lnTo>
                    <a:pt x="470481" y="130979"/>
                  </a:lnTo>
                  <a:lnTo>
                    <a:pt x="463965" y="130164"/>
                  </a:lnTo>
                  <a:lnTo>
                    <a:pt x="461847" y="127069"/>
                  </a:lnTo>
                  <a:lnTo>
                    <a:pt x="461847" y="130164"/>
                  </a:lnTo>
                  <a:cubicBezTo>
                    <a:pt x="461847" y="130164"/>
                    <a:pt x="466246" y="133423"/>
                    <a:pt x="466246" y="133423"/>
                  </a:cubicBezTo>
                  <a:lnTo>
                    <a:pt x="466246" y="138961"/>
                  </a:lnTo>
                  <a:cubicBezTo>
                    <a:pt x="466246" y="138961"/>
                    <a:pt x="470481" y="144989"/>
                    <a:pt x="470481" y="144989"/>
                  </a:cubicBezTo>
                  <a:lnTo>
                    <a:pt x="463965" y="139776"/>
                  </a:lnTo>
                  <a:lnTo>
                    <a:pt x="459892" y="132282"/>
                  </a:lnTo>
                  <a:lnTo>
                    <a:pt x="455005" y="131631"/>
                  </a:lnTo>
                  <a:lnTo>
                    <a:pt x="455005" y="134726"/>
                  </a:lnTo>
                  <a:cubicBezTo>
                    <a:pt x="455005" y="134726"/>
                    <a:pt x="452887" y="138147"/>
                    <a:pt x="452887" y="138147"/>
                  </a:cubicBezTo>
                  <a:lnTo>
                    <a:pt x="452235" y="134074"/>
                  </a:lnTo>
                  <a:lnTo>
                    <a:pt x="441483" y="127069"/>
                  </a:lnTo>
                  <a:lnTo>
                    <a:pt x="433501" y="128535"/>
                  </a:lnTo>
                  <a:lnTo>
                    <a:pt x="435945" y="131468"/>
                  </a:lnTo>
                  <a:lnTo>
                    <a:pt x="433175" y="134237"/>
                  </a:lnTo>
                  <a:lnTo>
                    <a:pt x="430406" y="131957"/>
                  </a:lnTo>
                  <a:lnTo>
                    <a:pt x="428288" y="131957"/>
                  </a:lnTo>
                  <a:lnTo>
                    <a:pt x="426007" y="135052"/>
                  </a:lnTo>
                  <a:lnTo>
                    <a:pt x="429754" y="139939"/>
                  </a:lnTo>
                  <a:lnTo>
                    <a:pt x="428777" y="142871"/>
                  </a:lnTo>
                  <a:lnTo>
                    <a:pt x="427962" y="140753"/>
                  </a:lnTo>
                  <a:lnTo>
                    <a:pt x="425519" y="141405"/>
                  </a:lnTo>
                  <a:lnTo>
                    <a:pt x="425519" y="144012"/>
                  </a:lnTo>
                  <a:lnTo>
                    <a:pt x="420468" y="146944"/>
                  </a:lnTo>
                  <a:lnTo>
                    <a:pt x="413137" y="148247"/>
                  </a:lnTo>
                  <a:lnTo>
                    <a:pt x="419002" y="145478"/>
                  </a:lnTo>
                  <a:lnTo>
                    <a:pt x="422912" y="140265"/>
                  </a:lnTo>
                  <a:lnTo>
                    <a:pt x="422586" y="132282"/>
                  </a:lnTo>
                  <a:lnTo>
                    <a:pt x="426659" y="127232"/>
                  </a:lnTo>
                  <a:lnTo>
                    <a:pt x="424215" y="123974"/>
                  </a:lnTo>
                  <a:lnTo>
                    <a:pt x="419980" y="123322"/>
                  </a:lnTo>
                  <a:lnTo>
                    <a:pt x="412649" y="109964"/>
                  </a:lnTo>
                  <a:lnTo>
                    <a:pt x="408739" y="104099"/>
                  </a:lnTo>
                  <a:lnTo>
                    <a:pt x="401571" y="102307"/>
                  </a:lnTo>
                  <a:lnTo>
                    <a:pt x="396683" y="99212"/>
                  </a:lnTo>
                  <a:lnTo>
                    <a:pt x="393588" y="101167"/>
                  </a:lnTo>
                  <a:lnTo>
                    <a:pt x="396032" y="103610"/>
                  </a:lnTo>
                  <a:lnTo>
                    <a:pt x="393099" y="104588"/>
                  </a:lnTo>
                  <a:lnTo>
                    <a:pt x="389678" y="109801"/>
                  </a:lnTo>
                  <a:lnTo>
                    <a:pt x="386257" y="109149"/>
                  </a:lnTo>
                  <a:lnTo>
                    <a:pt x="387398" y="106217"/>
                  </a:lnTo>
                  <a:lnTo>
                    <a:pt x="382673" y="107520"/>
                  </a:lnTo>
                  <a:lnTo>
                    <a:pt x="381533" y="110615"/>
                  </a:lnTo>
                  <a:lnTo>
                    <a:pt x="378112" y="103285"/>
                  </a:lnTo>
                  <a:lnTo>
                    <a:pt x="375180" y="102470"/>
                  </a:lnTo>
                  <a:lnTo>
                    <a:pt x="374365" y="106706"/>
                  </a:lnTo>
                  <a:lnTo>
                    <a:pt x="378112" y="108823"/>
                  </a:lnTo>
                  <a:lnTo>
                    <a:pt x="373062" y="112570"/>
                  </a:lnTo>
                  <a:lnTo>
                    <a:pt x="371270" y="117783"/>
                  </a:lnTo>
                  <a:lnTo>
                    <a:pt x="373062" y="120879"/>
                  </a:lnTo>
                  <a:lnTo>
                    <a:pt x="367849" y="123974"/>
                  </a:lnTo>
                  <a:lnTo>
                    <a:pt x="365568" y="120227"/>
                  </a:lnTo>
                  <a:lnTo>
                    <a:pt x="362635" y="120227"/>
                  </a:lnTo>
                  <a:cubicBezTo>
                    <a:pt x="362635" y="120227"/>
                    <a:pt x="361658" y="117295"/>
                    <a:pt x="361658" y="117295"/>
                  </a:cubicBezTo>
                  <a:lnTo>
                    <a:pt x="365405" y="113059"/>
                  </a:lnTo>
                  <a:lnTo>
                    <a:pt x="361495" y="113059"/>
                  </a:lnTo>
                  <a:cubicBezTo>
                    <a:pt x="361495" y="113059"/>
                    <a:pt x="359540" y="118598"/>
                    <a:pt x="359540" y="118598"/>
                  </a:cubicBezTo>
                  <a:lnTo>
                    <a:pt x="354164" y="119901"/>
                  </a:lnTo>
                  <a:lnTo>
                    <a:pt x="351883" y="122996"/>
                  </a:lnTo>
                  <a:lnTo>
                    <a:pt x="350906" y="128535"/>
                  </a:lnTo>
                  <a:lnTo>
                    <a:pt x="358726" y="130816"/>
                  </a:lnTo>
                  <a:lnTo>
                    <a:pt x="352210" y="136355"/>
                  </a:lnTo>
                  <a:lnTo>
                    <a:pt x="347159" y="133586"/>
                  </a:lnTo>
                  <a:lnTo>
                    <a:pt x="341131" y="137658"/>
                  </a:lnTo>
                  <a:lnTo>
                    <a:pt x="342272" y="141405"/>
                  </a:lnTo>
                  <a:lnTo>
                    <a:pt x="349440" y="142383"/>
                  </a:lnTo>
                  <a:lnTo>
                    <a:pt x="346996" y="146455"/>
                  </a:lnTo>
                  <a:lnTo>
                    <a:pt x="343575" y="147270"/>
                  </a:lnTo>
                  <a:lnTo>
                    <a:pt x="338525" y="141242"/>
                  </a:lnTo>
                  <a:lnTo>
                    <a:pt x="334289" y="146130"/>
                  </a:lnTo>
                  <a:lnTo>
                    <a:pt x="329239" y="146944"/>
                  </a:lnTo>
                  <a:lnTo>
                    <a:pt x="330217" y="150691"/>
                  </a:lnTo>
                  <a:lnTo>
                    <a:pt x="331194" y="154275"/>
                  </a:lnTo>
                  <a:lnTo>
                    <a:pt x="331520" y="157533"/>
                  </a:lnTo>
                  <a:lnTo>
                    <a:pt x="334615" y="156393"/>
                  </a:lnTo>
                  <a:lnTo>
                    <a:pt x="330868" y="161443"/>
                  </a:lnTo>
                  <a:lnTo>
                    <a:pt x="333312" y="165190"/>
                  </a:lnTo>
                  <a:lnTo>
                    <a:pt x="329076" y="167308"/>
                  </a:lnTo>
                  <a:lnTo>
                    <a:pt x="326307" y="170729"/>
                  </a:lnTo>
                  <a:lnTo>
                    <a:pt x="335267" y="172195"/>
                  </a:lnTo>
                  <a:lnTo>
                    <a:pt x="329728" y="175127"/>
                  </a:lnTo>
                  <a:lnTo>
                    <a:pt x="328587" y="177408"/>
                  </a:lnTo>
                  <a:lnTo>
                    <a:pt x="323700" y="176268"/>
                  </a:lnTo>
                  <a:lnTo>
                    <a:pt x="320931" y="172521"/>
                  </a:lnTo>
                  <a:lnTo>
                    <a:pt x="316858" y="169751"/>
                  </a:lnTo>
                  <a:lnTo>
                    <a:pt x="312948" y="173010"/>
                  </a:lnTo>
                  <a:lnTo>
                    <a:pt x="311156" y="169263"/>
                  </a:lnTo>
                  <a:lnTo>
                    <a:pt x="306269" y="166168"/>
                  </a:lnTo>
                  <a:lnTo>
                    <a:pt x="302848" y="169100"/>
                  </a:lnTo>
                  <a:lnTo>
                    <a:pt x="309201" y="173498"/>
                  </a:lnTo>
                  <a:lnTo>
                    <a:pt x="306921" y="174639"/>
                  </a:lnTo>
                  <a:lnTo>
                    <a:pt x="304151" y="179689"/>
                  </a:lnTo>
                  <a:lnTo>
                    <a:pt x="309364" y="184413"/>
                  </a:lnTo>
                  <a:lnTo>
                    <a:pt x="314578" y="184413"/>
                  </a:lnTo>
                  <a:cubicBezTo>
                    <a:pt x="314578" y="184413"/>
                    <a:pt x="312297" y="188486"/>
                    <a:pt x="312297" y="188486"/>
                  </a:cubicBezTo>
                  <a:lnTo>
                    <a:pt x="312297" y="193210"/>
                  </a:lnTo>
                  <a:cubicBezTo>
                    <a:pt x="312297" y="193210"/>
                    <a:pt x="310016" y="191255"/>
                    <a:pt x="310016" y="191255"/>
                  </a:cubicBezTo>
                  <a:lnTo>
                    <a:pt x="307246" y="191255"/>
                  </a:lnTo>
                  <a:lnTo>
                    <a:pt x="308224" y="196631"/>
                  </a:lnTo>
                  <a:lnTo>
                    <a:pt x="306106" y="202496"/>
                  </a:lnTo>
                  <a:lnTo>
                    <a:pt x="305292" y="208850"/>
                  </a:lnTo>
                  <a:lnTo>
                    <a:pt x="297146" y="191418"/>
                  </a:lnTo>
                  <a:lnTo>
                    <a:pt x="291770" y="180829"/>
                  </a:lnTo>
                  <a:lnTo>
                    <a:pt x="288838" y="176757"/>
                  </a:lnTo>
                  <a:lnTo>
                    <a:pt x="290141" y="170566"/>
                  </a:lnTo>
                  <a:lnTo>
                    <a:pt x="288186" y="173498"/>
                  </a:lnTo>
                  <a:lnTo>
                    <a:pt x="282810" y="177571"/>
                  </a:lnTo>
                  <a:lnTo>
                    <a:pt x="281507" y="184413"/>
                  </a:lnTo>
                  <a:lnTo>
                    <a:pt x="277434" y="185391"/>
                  </a:lnTo>
                  <a:lnTo>
                    <a:pt x="276783" y="188323"/>
                  </a:lnTo>
                  <a:lnTo>
                    <a:pt x="271732" y="187997"/>
                  </a:lnTo>
                  <a:lnTo>
                    <a:pt x="268800" y="191907"/>
                  </a:lnTo>
                  <a:lnTo>
                    <a:pt x="264564" y="195654"/>
                  </a:lnTo>
                  <a:lnTo>
                    <a:pt x="265542" y="202170"/>
                  </a:lnTo>
                  <a:lnTo>
                    <a:pt x="265542" y="215529"/>
                  </a:lnTo>
                  <a:lnTo>
                    <a:pt x="268148" y="216832"/>
                  </a:lnTo>
                  <a:lnTo>
                    <a:pt x="268148" y="221557"/>
                  </a:lnTo>
                  <a:lnTo>
                    <a:pt x="263424" y="224000"/>
                  </a:lnTo>
                  <a:lnTo>
                    <a:pt x="260655" y="229050"/>
                  </a:lnTo>
                  <a:lnTo>
                    <a:pt x="253649" y="231005"/>
                  </a:lnTo>
                  <a:lnTo>
                    <a:pt x="254301" y="233938"/>
                  </a:lnTo>
                  <a:lnTo>
                    <a:pt x="248273" y="237847"/>
                  </a:lnTo>
                  <a:lnTo>
                    <a:pt x="248273" y="244364"/>
                  </a:lnTo>
                  <a:cubicBezTo>
                    <a:pt x="248273" y="244364"/>
                    <a:pt x="245178" y="247459"/>
                    <a:pt x="245178" y="247459"/>
                  </a:cubicBezTo>
                  <a:lnTo>
                    <a:pt x="237196" y="258537"/>
                  </a:lnTo>
                  <a:lnTo>
                    <a:pt x="221882" y="267660"/>
                  </a:lnTo>
                  <a:lnTo>
                    <a:pt x="208524" y="268800"/>
                  </a:lnTo>
                  <a:lnTo>
                    <a:pt x="203310" y="270755"/>
                  </a:lnTo>
                  <a:lnTo>
                    <a:pt x="195654" y="271407"/>
                  </a:lnTo>
                  <a:lnTo>
                    <a:pt x="189463" y="272873"/>
                  </a:lnTo>
                  <a:lnTo>
                    <a:pt x="183273" y="271407"/>
                  </a:lnTo>
                  <a:lnTo>
                    <a:pt x="175290" y="274502"/>
                  </a:lnTo>
                  <a:lnTo>
                    <a:pt x="174313" y="279226"/>
                  </a:lnTo>
                  <a:lnTo>
                    <a:pt x="169099" y="281670"/>
                  </a:lnTo>
                  <a:lnTo>
                    <a:pt x="152483" y="281018"/>
                  </a:lnTo>
                  <a:lnTo>
                    <a:pt x="148247" y="283462"/>
                  </a:lnTo>
                  <a:lnTo>
                    <a:pt x="146944" y="287860"/>
                  </a:lnTo>
                  <a:lnTo>
                    <a:pt x="136517" y="292096"/>
                  </a:lnTo>
                  <a:lnTo>
                    <a:pt x="128535" y="292096"/>
                  </a:lnTo>
                  <a:lnTo>
                    <a:pt x="124299" y="290304"/>
                  </a:lnTo>
                  <a:lnTo>
                    <a:pt x="120227" y="290630"/>
                  </a:lnTo>
                  <a:lnTo>
                    <a:pt x="118598" y="287698"/>
                  </a:lnTo>
                  <a:lnTo>
                    <a:pt x="114362" y="289816"/>
                  </a:lnTo>
                  <a:lnTo>
                    <a:pt x="110289" y="296006"/>
                  </a:lnTo>
                  <a:lnTo>
                    <a:pt x="99537" y="297961"/>
                  </a:lnTo>
                  <a:lnTo>
                    <a:pt x="98560" y="300242"/>
                  </a:lnTo>
                  <a:lnTo>
                    <a:pt x="95628" y="300242"/>
                  </a:lnTo>
                  <a:lnTo>
                    <a:pt x="87156" y="307735"/>
                  </a:lnTo>
                  <a:lnTo>
                    <a:pt x="76078" y="312949"/>
                  </a:lnTo>
                  <a:lnTo>
                    <a:pt x="61580" y="317347"/>
                  </a:lnTo>
                  <a:lnTo>
                    <a:pt x="55226" y="326307"/>
                  </a:lnTo>
                  <a:lnTo>
                    <a:pt x="55226" y="334452"/>
                  </a:lnTo>
                  <a:cubicBezTo>
                    <a:pt x="55226" y="334452"/>
                    <a:pt x="49198" y="339503"/>
                    <a:pt x="49198" y="339503"/>
                  </a:cubicBezTo>
                  <a:lnTo>
                    <a:pt x="45126" y="336733"/>
                  </a:lnTo>
                  <a:lnTo>
                    <a:pt x="47080" y="333801"/>
                  </a:lnTo>
                  <a:lnTo>
                    <a:pt x="46266" y="329728"/>
                  </a:lnTo>
                  <a:lnTo>
                    <a:pt x="49035" y="323375"/>
                  </a:lnTo>
                  <a:lnTo>
                    <a:pt x="49035" y="318813"/>
                  </a:lnTo>
                  <a:cubicBezTo>
                    <a:pt x="49035" y="318813"/>
                    <a:pt x="40727" y="325004"/>
                    <a:pt x="40727" y="325004"/>
                  </a:cubicBezTo>
                  <a:lnTo>
                    <a:pt x="38772" y="332498"/>
                  </a:lnTo>
                  <a:lnTo>
                    <a:pt x="32907" y="343576"/>
                  </a:lnTo>
                  <a:lnTo>
                    <a:pt x="36817" y="351232"/>
                  </a:lnTo>
                  <a:lnTo>
                    <a:pt x="34048" y="357586"/>
                  </a:lnTo>
                  <a:lnTo>
                    <a:pt x="34374" y="369315"/>
                  </a:lnTo>
                  <a:lnTo>
                    <a:pt x="24436" y="381696"/>
                  </a:lnTo>
                  <a:lnTo>
                    <a:pt x="20526" y="398476"/>
                  </a:lnTo>
                  <a:lnTo>
                    <a:pt x="23296" y="407273"/>
                  </a:lnTo>
                  <a:lnTo>
                    <a:pt x="21992" y="419491"/>
                  </a:lnTo>
                  <a:lnTo>
                    <a:pt x="30953" y="434642"/>
                  </a:lnTo>
                  <a:lnTo>
                    <a:pt x="31278" y="440506"/>
                  </a:lnTo>
                  <a:lnTo>
                    <a:pt x="35025" y="444742"/>
                  </a:lnTo>
                  <a:lnTo>
                    <a:pt x="31767" y="452236"/>
                  </a:lnTo>
                  <a:lnTo>
                    <a:pt x="33722" y="459078"/>
                  </a:lnTo>
                  <a:lnTo>
                    <a:pt x="28346" y="461196"/>
                  </a:lnTo>
                  <a:lnTo>
                    <a:pt x="26065" y="457123"/>
                  </a:lnTo>
                  <a:lnTo>
                    <a:pt x="25739" y="448163"/>
                  </a:lnTo>
                  <a:lnTo>
                    <a:pt x="22481" y="453050"/>
                  </a:lnTo>
                  <a:lnTo>
                    <a:pt x="21015" y="451259"/>
                  </a:lnTo>
                  <a:lnTo>
                    <a:pt x="21341" y="443113"/>
                  </a:lnTo>
                  <a:lnTo>
                    <a:pt x="16128" y="431872"/>
                  </a:lnTo>
                  <a:lnTo>
                    <a:pt x="12869" y="437411"/>
                  </a:lnTo>
                  <a:lnTo>
                    <a:pt x="14010" y="448652"/>
                  </a:lnTo>
                  <a:lnTo>
                    <a:pt x="21015" y="455657"/>
                  </a:lnTo>
                  <a:lnTo>
                    <a:pt x="25902" y="465268"/>
                  </a:lnTo>
                  <a:lnTo>
                    <a:pt x="18734" y="466409"/>
                  </a:lnTo>
                  <a:lnTo>
                    <a:pt x="12869" y="458589"/>
                  </a:lnTo>
                  <a:lnTo>
                    <a:pt x="11566" y="449467"/>
                  </a:lnTo>
                  <a:lnTo>
                    <a:pt x="9285" y="453376"/>
                  </a:lnTo>
                  <a:lnTo>
                    <a:pt x="6353" y="454842"/>
                  </a:lnTo>
                  <a:lnTo>
                    <a:pt x="10752" y="463314"/>
                  </a:lnTo>
                  <a:lnTo>
                    <a:pt x="19712" y="474392"/>
                  </a:lnTo>
                  <a:lnTo>
                    <a:pt x="24925" y="488891"/>
                  </a:lnTo>
                  <a:lnTo>
                    <a:pt x="23947" y="514793"/>
                  </a:lnTo>
                  <a:lnTo>
                    <a:pt x="27694" y="519680"/>
                  </a:lnTo>
                  <a:lnTo>
                    <a:pt x="30464" y="534179"/>
                  </a:lnTo>
                  <a:lnTo>
                    <a:pt x="38283" y="553240"/>
                  </a:lnTo>
                  <a:lnTo>
                    <a:pt x="35514" y="560082"/>
                  </a:lnTo>
                  <a:lnTo>
                    <a:pt x="36328" y="588754"/>
                  </a:lnTo>
                  <a:lnTo>
                    <a:pt x="35188" y="592664"/>
                  </a:lnTo>
                  <a:lnTo>
                    <a:pt x="37958" y="600646"/>
                  </a:lnTo>
                  <a:lnTo>
                    <a:pt x="37958" y="609606"/>
                  </a:lnTo>
                  <a:cubicBezTo>
                    <a:pt x="37958" y="609606"/>
                    <a:pt x="43171" y="622150"/>
                    <a:pt x="43171" y="622150"/>
                  </a:cubicBezTo>
                  <a:lnTo>
                    <a:pt x="43171" y="628341"/>
                  </a:lnTo>
                  <a:cubicBezTo>
                    <a:pt x="43171" y="628341"/>
                    <a:pt x="38446" y="631762"/>
                    <a:pt x="38446" y="631762"/>
                  </a:cubicBezTo>
                  <a:lnTo>
                    <a:pt x="40890" y="634531"/>
                  </a:lnTo>
                  <a:lnTo>
                    <a:pt x="39098" y="641373"/>
                  </a:lnTo>
                  <a:lnTo>
                    <a:pt x="38121" y="652614"/>
                  </a:lnTo>
                  <a:lnTo>
                    <a:pt x="33722" y="656687"/>
                  </a:lnTo>
                  <a:lnTo>
                    <a:pt x="35025" y="659945"/>
                  </a:lnTo>
                  <a:lnTo>
                    <a:pt x="33722" y="666787"/>
                  </a:lnTo>
                  <a:lnTo>
                    <a:pt x="29323" y="670045"/>
                  </a:lnTo>
                  <a:lnTo>
                    <a:pt x="30301" y="676562"/>
                  </a:lnTo>
                  <a:lnTo>
                    <a:pt x="21992" y="682915"/>
                  </a:lnTo>
                  <a:lnTo>
                    <a:pt x="18246" y="679657"/>
                  </a:lnTo>
                  <a:lnTo>
                    <a:pt x="11892" y="689269"/>
                  </a:lnTo>
                  <a:lnTo>
                    <a:pt x="12218" y="705071"/>
                  </a:lnTo>
                  <a:close/>
                </a:path>
              </a:pathLst>
            </a:custGeom>
            <a:solidFill>
              <a:schemeClr val="bg2"/>
            </a:solidFill>
            <a:ln w="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79" name="Forma livre: Forma 78">
              <a:extLst>
                <a:ext uri="{FF2B5EF4-FFF2-40B4-BE49-F238E27FC236}">
                  <a16:creationId xmlns:a16="http://schemas.microsoft.com/office/drawing/2014/main" id="{C7891EB7-9E1F-0697-FDE2-C90BD2A2F2AB}"/>
                </a:ext>
              </a:extLst>
            </p:cNvPr>
            <p:cNvSpPr/>
            <p:nvPr/>
          </p:nvSpPr>
          <p:spPr>
            <a:xfrm>
              <a:off x="10026448" y="6074210"/>
              <a:ext cx="534344" cy="815827"/>
            </a:xfrm>
            <a:custGeom>
              <a:avLst/>
              <a:gdLst>
                <a:gd name="connsiteX0" fmla="*/ 109801 w 517073"/>
                <a:gd name="connsiteY0" fmla="*/ 458101 h 789458"/>
                <a:gd name="connsiteX1" fmla="*/ 112244 w 517073"/>
                <a:gd name="connsiteY1" fmla="*/ 459404 h 789458"/>
                <a:gd name="connsiteX2" fmla="*/ 114199 w 517073"/>
                <a:gd name="connsiteY2" fmla="*/ 458915 h 789458"/>
                <a:gd name="connsiteX3" fmla="*/ 114199 w 517073"/>
                <a:gd name="connsiteY3" fmla="*/ 455983 h 789458"/>
                <a:gd name="connsiteX4" fmla="*/ 109964 w 517073"/>
                <a:gd name="connsiteY4" fmla="*/ 455983 h 789458"/>
                <a:gd name="connsiteX5" fmla="*/ 108986 w 517073"/>
                <a:gd name="connsiteY5" fmla="*/ 457449 h 789458"/>
                <a:gd name="connsiteX6" fmla="*/ 109801 w 517073"/>
                <a:gd name="connsiteY6" fmla="*/ 458101 h 789458"/>
                <a:gd name="connsiteX7" fmla="*/ 109801 w 517073"/>
                <a:gd name="connsiteY7" fmla="*/ 458101 h 789458"/>
                <a:gd name="connsiteX8" fmla="*/ 35025 w 517073"/>
                <a:gd name="connsiteY8" fmla="*/ 785874 h 789458"/>
                <a:gd name="connsiteX9" fmla="*/ 39098 w 517073"/>
                <a:gd name="connsiteY9" fmla="*/ 789458 h 789458"/>
                <a:gd name="connsiteX10" fmla="*/ 44311 w 517073"/>
                <a:gd name="connsiteY10" fmla="*/ 788969 h 789458"/>
                <a:gd name="connsiteX11" fmla="*/ 47895 w 517073"/>
                <a:gd name="connsiteY11" fmla="*/ 782453 h 789458"/>
                <a:gd name="connsiteX12" fmla="*/ 44637 w 517073"/>
                <a:gd name="connsiteY12" fmla="*/ 779520 h 789458"/>
                <a:gd name="connsiteX13" fmla="*/ 41379 w 517073"/>
                <a:gd name="connsiteY13" fmla="*/ 784571 h 789458"/>
                <a:gd name="connsiteX14" fmla="*/ 37143 w 517073"/>
                <a:gd name="connsiteY14" fmla="*/ 784245 h 789458"/>
                <a:gd name="connsiteX15" fmla="*/ 34862 w 517073"/>
                <a:gd name="connsiteY15" fmla="*/ 786037 h 789458"/>
                <a:gd name="connsiteX16" fmla="*/ 34862 w 517073"/>
                <a:gd name="connsiteY16" fmla="*/ 786037 h 789458"/>
                <a:gd name="connsiteX17" fmla="*/ 0 w 517073"/>
                <a:gd name="connsiteY17" fmla="*/ 687802 h 789458"/>
                <a:gd name="connsiteX18" fmla="*/ 12544 w 517073"/>
                <a:gd name="connsiteY18" fmla="*/ 675259 h 789458"/>
                <a:gd name="connsiteX19" fmla="*/ 15150 w 517073"/>
                <a:gd name="connsiteY19" fmla="*/ 675259 h 789458"/>
                <a:gd name="connsiteX20" fmla="*/ 14499 w 517073"/>
                <a:gd name="connsiteY20" fmla="*/ 679983 h 789458"/>
                <a:gd name="connsiteX21" fmla="*/ 11403 w 517073"/>
                <a:gd name="connsiteY21" fmla="*/ 684056 h 789458"/>
                <a:gd name="connsiteX22" fmla="*/ 13684 w 517073"/>
                <a:gd name="connsiteY22" fmla="*/ 688617 h 789458"/>
                <a:gd name="connsiteX23" fmla="*/ 12544 w 517073"/>
                <a:gd name="connsiteY23" fmla="*/ 691550 h 789458"/>
                <a:gd name="connsiteX24" fmla="*/ 7331 w 517073"/>
                <a:gd name="connsiteY24" fmla="*/ 689269 h 789458"/>
                <a:gd name="connsiteX25" fmla="*/ 2769 w 517073"/>
                <a:gd name="connsiteY25" fmla="*/ 691061 h 789458"/>
                <a:gd name="connsiteX26" fmla="*/ 163 w 517073"/>
                <a:gd name="connsiteY26" fmla="*/ 687640 h 789458"/>
                <a:gd name="connsiteX27" fmla="*/ 163 w 517073"/>
                <a:gd name="connsiteY27" fmla="*/ 687640 h 789458"/>
                <a:gd name="connsiteX28" fmla="*/ 438877 w 517073"/>
                <a:gd name="connsiteY28" fmla="*/ 111593 h 789458"/>
                <a:gd name="connsiteX29" fmla="*/ 442461 w 517073"/>
                <a:gd name="connsiteY29" fmla="*/ 111267 h 789458"/>
                <a:gd name="connsiteX30" fmla="*/ 442461 w 517073"/>
                <a:gd name="connsiteY30" fmla="*/ 113874 h 789458"/>
                <a:gd name="connsiteX31" fmla="*/ 440018 w 517073"/>
                <a:gd name="connsiteY31" fmla="*/ 113548 h 789458"/>
                <a:gd name="connsiteX32" fmla="*/ 438877 w 517073"/>
                <a:gd name="connsiteY32" fmla="*/ 111593 h 789458"/>
                <a:gd name="connsiteX33" fmla="*/ 438877 w 517073"/>
                <a:gd name="connsiteY33" fmla="*/ 111593 h 789458"/>
                <a:gd name="connsiteX34" fmla="*/ 446208 w 517073"/>
                <a:gd name="connsiteY34" fmla="*/ 89763 h 789458"/>
                <a:gd name="connsiteX35" fmla="*/ 445068 w 517073"/>
                <a:gd name="connsiteY35" fmla="*/ 88134 h 789458"/>
                <a:gd name="connsiteX36" fmla="*/ 447023 w 517073"/>
                <a:gd name="connsiteY36" fmla="*/ 87156 h 789458"/>
                <a:gd name="connsiteX37" fmla="*/ 446208 w 517073"/>
                <a:gd name="connsiteY37" fmla="*/ 89600 h 789458"/>
                <a:gd name="connsiteX38" fmla="*/ 446208 w 517073"/>
                <a:gd name="connsiteY38" fmla="*/ 89600 h 789458"/>
                <a:gd name="connsiteX39" fmla="*/ 454517 w 517073"/>
                <a:gd name="connsiteY39" fmla="*/ 91881 h 789458"/>
                <a:gd name="connsiteX40" fmla="*/ 451584 w 517073"/>
                <a:gd name="connsiteY40" fmla="*/ 88134 h 789458"/>
                <a:gd name="connsiteX41" fmla="*/ 454517 w 517073"/>
                <a:gd name="connsiteY41" fmla="*/ 81292 h 789458"/>
                <a:gd name="connsiteX42" fmla="*/ 454842 w 517073"/>
                <a:gd name="connsiteY42" fmla="*/ 85202 h 789458"/>
                <a:gd name="connsiteX43" fmla="*/ 456472 w 517073"/>
                <a:gd name="connsiteY43" fmla="*/ 87483 h 789458"/>
                <a:gd name="connsiteX44" fmla="*/ 454842 w 517073"/>
                <a:gd name="connsiteY44" fmla="*/ 88623 h 789458"/>
                <a:gd name="connsiteX45" fmla="*/ 455494 w 517073"/>
                <a:gd name="connsiteY45" fmla="*/ 91067 h 789458"/>
                <a:gd name="connsiteX46" fmla="*/ 454517 w 517073"/>
                <a:gd name="connsiteY46" fmla="*/ 91718 h 789458"/>
                <a:gd name="connsiteX47" fmla="*/ 454517 w 517073"/>
                <a:gd name="connsiteY47" fmla="*/ 91718 h 789458"/>
                <a:gd name="connsiteX48" fmla="*/ 371596 w 517073"/>
                <a:gd name="connsiteY48" fmla="*/ 292096 h 789458"/>
                <a:gd name="connsiteX49" fmla="*/ 376809 w 517073"/>
                <a:gd name="connsiteY49" fmla="*/ 293236 h 789458"/>
                <a:gd name="connsiteX50" fmla="*/ 377949 w 517073"/>
                <a:gd name="connsiteY50" fmla="*/ 290304 h 789458"/>
                <a:gd name="connsiteX51" fmla="*/ 380229 w 517073"/>
                <a:gd name="connsiteY51" fmla="*/ 290304 h 789458"/>
                <a:gd name="connsiteX52" fmla="*/ 380392 w 517073"/>
                <a:gd name="connsiteY52" fmla="*/ 294051 h 789458"/>
                <a:gd name="connsiteX53" fmla="*/ 379904 w 517073"/>
                <a:gd name="connsiteY53" fmla="*/ 296658 h 789458"/>
                <a:gd name="connsiteX54" fmla="*/ 381208 w 517073"/>
                <a:gd name="connsiteY54" fmla="*/ 297309 h 789458"/>
                <a:gd name="connsiteX55" fmla="*/ 383163 w 517073"/>
                <a:gd name="connsiteY55" fmla="*/ 296658 h 789458"/>
                <a:gd name="connsiteX56" fmla="*/ 384628 w 517073"/>
                <a:gd name="connsiteY56" fmla="*/ 298450 h 789458"/>
                <a:gd name="connsiteX57" fmla="*/ 384302 w 517073"/>
                <a:gd name="connsiteY57" fmla="*/ 302522 h 789458"/>
                <a:gd name="connsiteX58" fmla="*/ 385443 w 517073"/>
                <a:gd name="connsiteY58" fmla="*/ 303989 h 789458"/>
                <a:gd name="connsiteX59" fmla="*/ 389353 w 517073"/>
                <a:gd name="connsiteY59" fmla="*/ 303500 h 789458"/>
                <a:gd name="connsiteX60" fmla="*/ 398638 w 517073"/>
                <a:gd name="connsiteY60" fmla="*/ 296658 h 789458"/>
                <a:gd name="connsiteX61" fmla="*/ 406784 w 517073"/>
                <a:gd name="connsiteY61" fmla="*/ 289979 h 789458"/>
                <a:gd name="connsiteX62" fmla="*/ 414278 w 517073"/>
                <a:gd name="connsiteY62" fmla="*/ 282159 h 789458"/>
                <a:gd name="connsiteX63" fmla="*/ 421446 w 517073"/>
                <a:gd name="connsiteY63" fmla="*/ 274013 h 789458"/>
                <a:gd name="connsiteX64" fmla="*/ 430081 w 517073"/>
                <a:gd name="connsiteY64" fmla="*/ 263261 h 789458"/>
                <a:gd name="connsiteX65" fmla="*/ 434805 w 517073"/>
                <a:gd name="connsiteY65" fmla="*/ 260166 h 789458"/>
                <a:gd name="connsiteX66" fmla="*/ 437900 w 517073"/>
                <a:gd name="connsiteY66" fmla="*/ 259840 h 789458"/>
                <a:gd name="connsiteX67" fmla="*/ 440018 w 517073"/>
                <a:gd name="connsiteY67" fmla="*/ 257234 h 789458"/>
                <a:gd name="connsiteX68" fmla="*/ 440343 w 517073"/>
                <a:gd name="connsiteY68" fmla="*/ 253161 h 789458"/>
                <a:gd name="connsiteX69" fmla="*/ 442299 w 517073"/>
                <a:gd name="connsiteY69" fmla="*/ 250554 h 789458"/>
                <a:gd name="connsiteX70" fmla="*/ 447349 w 517073"/>
                <a:gd name="connsiteY70" fmla="*/ 248600 h 789458"/>
                <a:gd name="connsiteX71" fmla="*/ 450606 w 517073"/>
                <a:gd name="connsiteY71" fmla="*/ 238662 h 789458"/>
                <a:gd name="connsiteX72" fmla="*/ 455820 w 517073"/>
                <a:gd name="connsiteY72" fmla="*/ 231006 h 789458"/>
                <a:gd name="connsiteX73" fmla="*/ 455820 w 517073"/>
                <a:gd name="connsiteY73" fmla="*/ 228725 h 789458"/>
                <a:gd name="connsiteX74" fmla="*/ 458427 w 517073"/>
                <a:gd name="connsiteY74" fmla="*/ 226281 h 789458"/>
                <a:gd name="connsiteX75" fmla="*/ 454517 w 517073"/>
                <a:gd name="connsiteY75" fmla="*/ 222534 h 789458"/>
                <a:gd name="connsiteX76" fmla="*/ 450281 w 517073"/>
                <a:gd name="connsiteY76" fmla="*/ 221720 h 789458"/>
                <a:gd name="connsiteX77" fmla="*/ 447023 w 517073"/>
                <a:gd name="connsiteY77" fmla="*/ 222208 h 789458"/>
                <a:gd name="connsiteX78" fmla="*/ 450444 w 517073"/>
                <a:gd name="connsiteY78" fmla="*/ 219276 h 789458"/>
                <a:gd name="connsiteX79" fmla="*/ 453539 w 517073"/>
                <a:gd name="connsiteY79" fmla="*/ 218299 h 789458"/>
                <a:gd name="connsiteX80" fmla="*/ 464942 w 517073"/>
                <a:gd name="connsiteY80" fmla="*/ 206080 h 789458"/>
                <a:gd name="connsiteX81" fmla="*/ 469993 w 517073"/>
                <a:gd name="connsiteY81" fmla="*/ 204288 h 789458"/>
                <a:gd name="connsiteX82" fmla="*/ 478301 w 517073"/>
                <a:gd name="connsiteY82" fmla="*/ 205592 h 789458"/>
                <a:gd name="connsiteX83" fmla="*/ 482537 w 517073"/>
                <a:gd name="connsiteY83" fmla="*/ 205917 h 789458"/>
                <a:gd name="connsiteX84" fmla="*/ 481722 w 517073"/>
                <a:gd name="connsiteY84" fmla="*/ 209176 h 789458"/>
                <a:gd name="connsiteX85" fmla="*/ 482211 w 517073"/>
                <a:gd name="connsiteY85" fmla="*/ 212760 h 789458"/>
                <a:gd name="connsiteX86" fmla="*/ 486447 w 517073"/>
                <a:gd name="connsiteY86" fmla="*/ 208687 h 789458"/>
                <a:gd name="connsiteX87" fmla="*/ 489542 w 517073"/>
                <a:gd name="connsiteY87" fmla="*/ 207058 h 789458"/>
                <a:gd name="connsiteX88" fmla="*/ 483514 w 517073"/>
                <a:gd name="connsiteY88" fmla="*/ 204614 h 789458"/>
                <a:gd name="connsiteX89" fmla="*/ 484166 w 517073"/>
                <a:gd name="connsiteY89" fmla="*/ 199564 h 789458"/>
                <a:gd name="connsiteX90" fmla="*/ 487424 w 517073"/>
                <a:gd name="connsiteY90" fmla="*/ 191581 h 789458"/>
                <a:gd name="connsiteX91" fmla="*/ 490193 w 517073"/>
                <a:gd name="connsiteY91" fmla="*/ 188323 h 789458"/>
                <a:gd name="connsiteX92" fmla="*/ 494429 w 517073"/>
                <a:gd name="connsiteY92" fmla="*/ 188323 h 789458"/>
                <a:gd name="connsiteX93" fmla="*/ 495569 w 517073"/>
                <a:gd name="connsiteY93" fmla="*/ 190278 h 789458"/>
                <a:gd name="connsiteX94" fmla="*/ 497850 w 517073"/>
                <a:gd name="connsiteY94" fmla="*/ 187997 h 789458"/>
                <a:gd name="connsiteX95" fmla="*/ 500456 w 517073"/>
                <a:gd name="connsiteY95" fmla="*/ 184088 h 789458"/>
                <a:gd name="connsiteX96" fmla="*/ 507136 w 517073"/>
                <a:gd name="connsiteY96" fmla="*/ 173499 h 789458"/>
                <a:gd name="connsiteX97" fmla="*/ 507136 w 517073"/>
                <a:gd name="connsiteY97" fmla="*/ 169915 h 789458"/>
                <a:gd name="connsiteX98" fmla="*/ 506810 w 517073"/>
                <a:gd name="connsiteY98" fmla="*/ 166331 h 789458"/>
                <a:gd name="connsiteX99" fmla="*/ 508765 w 517073"/>
                <a:gd name="connsiteY99" fmla="*/ 160303 h 789458"/>
                <a:gd name="connsiteX100" fmla="*/ 512675 w 517073"/>
                <a:gd name="connsiteY100" fmla="*/ 155742 h 789458"/>
                <a:gd name="connsiteX101" fmla="*/ 517074 w 517073"/>
                <a:gd name="connsiteY101" fmla="*/ 152972 h 789458"/>
                <a:gd name="connsiteX102" fmla="*/ 516259 w 517073"/>
                <a:gd name="connsiteY102" fmla="*/ 151831 h 789458"/>
                <a:gd name="connsiteX103" fmla="*/ 510232 w 517073"/>
                <a:gd name="connsiteY103" fmla="*/ 149877 h 789458"/>
                <a:gd name="connsiteX104" fmla="*/ 507951 w 517073"/>
                <a:gd name="connsiteY104" fmla="*/ 146944 h 789458"/>
                <a:gd name="connsiteX105" fmla="*/ 509905 w 517073"/>
                <a:gd name="connsiteY105" fmla="*/ 146293 h 789458"/>
                <a:gd name="connsiteX106" fmla="*/ 510232 w 517073"/>
                <a:gd name="connsiteY106" fmla="*/ 144826 h 789458"/>
                <a:gd name="connsiteX107" fmla="*/ 504367 w 517073"/>
                <a:gd name="connsiteY107" fmla="*/ 143686 h 789458"/>
                <a:gd name="connsiteX108" fmla="*/ 498991 w 517073"/>
                <a:gd name="connsiteY108" fmla="*/ 147270 h 789458"/>
                <a:gd name="connsiteX109" fmla="*/ 489705 w 517073"/>
                <a:gd name="connsiteY109" fmla="*/ 157045 h 789458"/>
                <a:gd name="connsiteX110" fmla="*/ 483677 w 517073"/>
                <a:gd name="connsiteY110" fmla="*/ 157533 h 789458"/>
                <a:gd name="connsiteX111" fmla="*/ 480419 w 517073"/>
                <a:gd name="connsiteY111" fmla="*/ 159163 h 789458"/>
                <a:gd name="connsiteX112" fmla="*/ 475858 w 517073"/>
                <a:gd name="connsiteY112" fmla="*/ 157208 h 789458"/>
                <a:gd name="connsiteX113" fmla="*/ 465595 w 517073"/>
                <a:gd name="connsiteY113" fmla="*/ 146456 h 789458"/>
                <a:gd name="connsiteX114" fmla="*/ 462499 w 517073"/>
                <a:gd name="connsiteY114" fmla="*/ 146944 h 789458"/>
                <a:gd name="connsiteX115" fmla="*/ 458590 w 517073"/>
                <a:gd name="connsiteY115" fmla="*/ 141406 h 789458"/>
                <a:gd name="connsiteX116" fmla="*/ 457123 w 517073"/>
                <a:gd name="connsiteY116" fmla="*/ 137984 h 789458"/>
                <a:gd name="connsiteX117" fmla="*/ 459729 w 517073"/>
                <a:gd name="connsiteY117" fmla="*/ 135215 h 789458"/>
                <a:gd name="connsiteX118" fmla="*/ 460707 w 517073"/>
                <a:gd name="connsiteY118" fmla="*/ 129513 h 789458"/>
                <a:gd name="connsiteX119" fmla="*/ 456797 w 517073"/>
                <a:gd name="connsiteY119" fmla="*/ 121531 h 789458"/>
                <a:gd name="connsiteX120" fmla="*/ 456797 w 517073"/>
                <a:gd name="connsiteY120" fmla="*/ 117458 h 789458"/>
                <a:gd name="connsiteX121" fmla="*/ 455168 w 517073"/>
                <a:gd name="connsiteY121" fmla="*/ 114688 h 789458"/>
                <a:gd name="connsiteX122" fmla="*/ 455656 w 517073"/>
                <a:gd name="connsiteY122" fmla="*/ 109638 h 789458"/>
                <a:gd name="connsiteX123" fmla="*/ 456960 w 517073"/>
                <a:gd name="connsiteY123" fmla="*/ 106217 h 789458"/>
                <a:gd name="connsiteX124" fmla="*/ 454354 w 517073"/>
                <a:gd name="connsiteY124" fmla="*/ 105728 h 789458"/>
                <a:gd name="connsiteX125" fmla="*/ 453539 w 517073"/>
                <a:gd name="connsiteY125" fmla="*/ 100026 h 789458"/>
                <a:gd name="connsiteX126" fmla="*/ 452236 w 517073"/>
                <a:gd name="connsiteY126" fmla="*/ 96931 h 789458"/>
                <a:gd name="connsiteX127" fmla="*/ 450444 w 517073"/>
                <a:gd name="connsiteY127" fmla="*/ 98234 h 789458"/>
                <a:gd name="connsiteX128" fmla="*/ 446371 w 517073"/>
                <a:gd name="connsiteY128" fmla="*/ 95791 h 789458"/>
                <a:gd name="connsiteX129" fmla="*/ 445068 w 517073"/>
                <a:gd name="connsiteY129" fmla="*/ 97745 h 789458"/>
                <a:gd name="connsiteX130" fmla="*/ 448815 w 517073"/>
                <a:gd name="connsiteY130" fmla="*/ 101493 h 789458"/>
                <a:gd name="connsiteX131" fmla="*/ 448815 w 517073"/>
                <a:gd name="connsiteY131" fmla="*/ 106380 h 789458"/>
                <a:gd name="connsiteX132" fmla="*/ 449304 w 517073"/>
                <a:gd name="connsiteY132" fmla="*/ 108172 h 789458"/>
                <a:gd name="connsiteX133" fmla="*/ 445393 w 517073"/>
                <a:gd name="connsiteY133" fmla="*/ 111919 h 789458"/>
                <a:gd name="connsiteX134" fmla="*/ 445393 w 517073"/>
                <a:gd name="connsiteY134" fmla="*/ 115340 h 789458"/>
                <a:gd name="connsiteX135" fmla="*/ 448815 w 517073"/>
                <a:gd name="connsiteY135" fmla="*/ 119576 h 789458"/>
                <a:gd name="connsiteX136" fmla="*/ 448815 w 517073"/>
                <a:gd name="connsiteY136" fmla="*/ 122508 h 789458"/>
                <a:gd name="connsiteX137" fmla="*/ 444742 w 517073"/>
                <a:gd name="connsiteY137" fmla="*/ 123811 h 789458"/>
                <a:gd name="connsiteX138" fmla="*/ 441810 w 517073"/>
                <a:gd name="connsiteY138" fmla="*/ 120553 h 789458"/>
                <a:gd name="connsiteX139" fmla="*/ 441320 w 517073"/>
                <a:gd name="connsiteY139" fmla="*/ 116317 h 789458"/>
                <a:gd name="connsiteX140" fmla="*/ 436108 w 517073"/>
                <a:gd name="connsiteY140" fmla="*/ 115666 h 789458"/>
                <a:gd name="connsiteX141" fmla="*/ 436108 w 517073"/>
                <a:gd name="connsiteY141" fmla="*/ 113222 h 789458"/>
                <a:gd name="connsiteX142" fmla="*/ 432035 w 517073"/>
                <a:gd name="connsiteY142" fmla="*/ 111430 h 789458"/>
                <a:gd name="connsiteX143" fmla="*/ 428940 w 517073"/>
                <a:gd name="connsiteY143" fmla="*/ 111919 h 789458"/>
                <a:gd name="connsiteX144" fmla="*/ 428614 w 517073"/>
                <a:gd name="connsiteY144" fmla="*/ 109312 h 789458"/>
                <a:gd name="connsiteX145" fmla="*/ 432524 w 517073"/>
                <a:gd name="connsiteY145" fmla="*/ 107031 h 789458"/>
                <a:gd name="connsiteX146" fmla="*/ 433990 w 517073"/>
                <a:gd name="connsiteY146" fmla="*/ 103610 h 789458"/>
                <a:gd name="connsiteX147" fmla="*/ 429918 w 517073"/>
                <a:gd name="connsiteY147" fmla="*/ 100352 h 789458"/>
                <a:gd name="connsiteX148" fmla="*/ 432850 w 517073"/>
                <a:gd name="connsiteY148" fmla="*/ 94651 h 789458"/>
                <a:gd name="connsiteX149" fmla="*/ 436759 w 517073"/>
                <a:gd name="connsiteY149" fmla="*/ 93673 h 789458"/>
                <a:gd name="connsiteX150" fmla="*/ 437900 w 517073"/>
                <a:gd name="connsiteY150" fmla="*/ 88460 h 789458"/>
                <a:gd name="connsiteX151" fmla="*/ 436270 w 517073"/>
                <a:gd name="connsiteY151" fmla="*/ 84550 h 789458"/>
                <a:gd name="connsiteX152" fmla="*/ 437411 w 517073"/>
                <a:gd name="connsiteY152" fmla="*/ 81781 h 789458"/>
                <a:gd name="connsiteX153" fmla="*/ 435782 w 517073"/>
                <a:gd name="connsiteY153" fmla="*/ 77545 h 789458"/>
                <a:gd name="connsiteX154" fmla="*/ 436108 w 517073"/>
                <a:gd name="connsiteY154" fmla="*/ 71843 h 789458"/>
                <a:gd name="connsiteX155" fmla="*/ 430732 w 517073"/>
                <a:gd name="connsiteY155" fmla="*/ 67933 h 789458"/>
                <a:gd name="connsiteX156" fmla="*/ 431220 w 517073"/>
                <a:gd name="connsiteY156" fmla="*/ 65327 h 789458"/>
                <a:gd name="connsiteX157" fmla="*/ 434315 w 517073"/>
                <a:gd name="connsiteY157" fmla="*/ 67119 h 789458"/>
                <a:gd name="connsiteX158" fmla="*/ 438551 w 517073"/>
                <a:gd name="connsiteY158" fmla="*/ 66142 h 789458"/>
                <a:gd name="connsiteX159" fmla="*/ 439529 w 517073"/>
                <a:gd name="connsiteY159" fmla="*/ 60602 h 789458"/>
                <a:gd name="connsiteX160" fmla="*/ 441320 w 517073"/>
                <a:gd name="connsiteY160" fmla="*/ 58810 h 789458"/>
                <a:gd name="connsiteX161" fmla="*/ 441320 w 517073"/>
                <a:gd name="connsiteY161" fmla="*/ 51642 h 789458"/>
                <a:gd name="connsiteX162" fmla="*/ 439529 w 517073"/>
                <a:gd name="connsiteY162" fmla="*/ 44963 h 789458"/>
                <a:gd name="connsiteX163" fmla="*/ 440343 w 517073"/>
                <a:gd name="connsiteY163" fmla="*/ 40727 h 789458"/>
                <a:gd name="connsiteX164" fmla="*/ 438063 w 517073"/>
                <a:gd name="connsiteY164" fmla="*/ 41705 h 789458"/>
                <a:gd name="connsiteX165" fmla="*/ 432035 w 517073"/>
                <a:gd name="connsiteY165" fmla="*/ 44311 h 789458"/>
                <a:gd name="connsiteX166" fmla="*/ 427473 w 517073"/>
                <a:gd name="connsiteY166" fmla="*/ 39750 h 789458"/>
                <a:gd name="connsiteX167" fmla="*/ 430243 w 517073"/>
                <a:gd name="connsiteY167" fmla="*/ 37306 h 789458"/>
                <a:gd name="connsiteX168" fmla="*/ 427473 w 517073"/>
                <a:gd name="connsiteY168" fmla="*/ 34700 h 789458"/>
                <a:gd name="connsiteX169" fmla="*/ 425519 w 517073"/>
                <a:gd name="connsiteY169" fmla="*/ 34374 h 789458"/>
                <a:gd name="connsiteX170" fmla="*/ 427310 w 517073"/>
                <a:gd name="connsiteY170" fmla="*/ 31442 h 789458"/>
                <a:gd name="connsiteX171" fmla="*/ 431383 w 517073"/>
                <a:gd name="connsiteY171" fmla="*/ 29650 h 789458"/>
                <a:gd name="connsiteX172" fmla="*/ 430732 w 517073"/>
                <a:gd name="connsiteY172" fmla="*/ 26880 h 789458"/>
                <a:gd name="connsiteX173" fmla="*/ 426008 w 517073"/>
                <a:gd name="connsiteY173" fmla="*/ 25740 h 789458"/>
                <a:gd name="connsiteX174" fmla="*/ 422913 w 517073"/>
                <a:gd name="connsiteY174" fmla="*/ 22808 h 789458"/>
                <a:gd name="connsiteX175" fmla="*/ 419817 w 517073"/>
                <a:gd name="connsiteY175" fmla="*/ 24111 h 789458"/>
                <a:gd name="connsiteX176" fmla="*/ 419165 w 517073"/>
                <a:gd name="connsiteY176" fmla="*/ 19712 h 789458"/>
                <a:gd name="connsiteX177" fmla="*/ 421120 w 517073"/>
                <a:gd name="connsiteY177" fmla="*/ 19712 h 789458"/>
                <a:gd name="connsiteX178" fmla="*/ 422749 w 517073"/>
                <a:gd name="connsiteY178" fmla="*/ 16780 h 789458"/>
                <a:gd name="connsiteX179" fmla="*/ 420142 w 517073"/>
                <a:gd name="connsiteY179" fmla="*/ 16454 h 789458"/>
                <a:gd name="connsiteX180" fmla="*/ 417536 w 517073"/>
                <a:gd name="connsiteY180" fmla="*/ 18246 h 789458"/>
                <a:gd name="connsiteX181" fmla="*/ 417536 w 517073"/>
                <a:gd name="connsiteY181" fmla="*/ 20852 h 789458"/>
                <a:gd name="connsiteX182" fmla="*/ 415418 w 517073"/>
                <a:gd name="connsiteY182" fmla="*/ 24599 h 789458"/>
                <a:gd name="connsiteX183" fmla="*/ 412160 w 517073"/>
                <a:gd name="connsiteY183" fmla="*/ 23133 h 789458"/>
                <a:gd name="connsiteX184" fmla="*/ 413464 w 517073"/>
                <a:gd name="connsiteY184" fmla="*/ 19061 h 789458"/>
                <a:gd name="connsiteX185" fmla="*/ 411509 w 517073"/>
                <a:gd name="connsiteY185" fmla="*/ 15640 h 789458"/>
                <a:gd name="connsiteX186" fmla="*/ 410205 w 517073"/>
                <a:gd name="connsiteY186" fmla="*/ 9123 h 789458"/>
                <a:gd name="connsiteX187" fmla="*/ 410531 w 517073"/>
                <a:gd name="connsiteY187" fmla="*/ 4725 h 789458"/>
                <a:gd name="connsiteX188" fmla="*/ 410531 w 517073"/>
                <a:gd name="connsiteY188" fmla="*/ 3095 h 789458"/>
                <a:gd name="connsiteX189" fmla="*/ 411834 w 517073"/>
                <a:gd name="connsiteY189" fmla="*/ 2607 h 789458"/>
                <a:gd name="connsiteX190" fmla="*/ 409554 w 517073"/>
                <a:gd name="connsiteY190" fmla="*/ 0 h 789458"/>
                <a:gd name="connsiteX191" fmla="*/ 406947 w 517073"/>
                <a:gd name="connsiteY191" fmla="*/ 1792 h 789458"/>
                <a:gd name="connsiteX192" fmla="*/ 400105 w 517073"/>
                <a:gd name="connsiteY192" fmla="*/ 1304 h 789458"/>
                <a:gd name="connsiteX193" fmla="*/ 400105 w 517073"/>
                <a:gd name="connsiteY193" fmla="*/ 2933 h 789458"/>
                <a:gd name="connsiteX194" fmla="*/ 403200 w 517073"/>
                <a:gd name="connsiteY194" fmla="*/ 6517 h 789458"/>
                <a:gd name="connsiteX195" fmla="*/ 408576 w 517073"/>
                <a:gd name="connsiteY195" fmla="*/ 19712 h 789458"/>
                <a:gd name="connsiteX196" fmla="*/ 409391 w 517073"/>
                <a:gd name="connsiteY196" fmla="*/ 24436 h 789458"/>
                <a:gd name="connsiteX197" fmla="*/ 408576 w 517073"/>
                <a:gd name="connsiteY197" fmla="*/ 32908 h 789458"/>
                <a:gd name="connsiteX198" fmla="*/ 406622 w 517073"/>
                <a:gd name="connsiteY198" fmla="*/ 35026 h 789458"/>
                <a:gd name="connsiteX199" fmla="*/ 404666 w 517073"/>
                <a:gd name="connsiteY199" fmla="*/ 35026 h 789458"/>
                <a:gd name="connsiteX200" fmla="*/ 403688 w 517073"/>
                <a:gd name="connsiteY200" fmla="*/ 36492 h 789458"/>
                <a:gd name="connsiteX201" fmla="*/ 406622 w 517073"/>
                <a:gd name="connsiteY201" fmla="*/ 47081 h 789458"/>
                <a:gd name="connsiteX202" fmla="*/ 408087 w 517073"/>
                <a:gd name="connsiteY202" fmla="*/ 48547 h 789458"/>
                <a:gd name="connsiteX203" fmla="*/ 411997 w 517073"/>
                <a:gd name="connsiteY203" fmla="*/ 45778 h 789458"/>
                <a:gd name="connsiteX204" fmla="*/ 417210 w 517073"/>
                <a:gd name="connsiteY204" fmla="*/ 45778 h 789458"/>
                <a:gd name="connsiteX205" fmla="*/ 413627 w 517073"/>
                <a:gd name="connsiteY205" fmla="*/ 46918 h 789458"/>
                <a:gd name="connsiteX206" fmla="*/ 410042 w 517073"/>
                <a:gd name="connsiteY206" fmla="*/ 51317 h 789458"/>
                <a:gd name="connsiteX207" fmla="*/ 411346 w 517073"/>
                <a:gd name="connsiteY207" fmla="*/ 57507 h 789458"/>
                <a:gd name="connsiteX208" fmla="*/ 414441 w 517073"/>
                <a:gd name="connsiteY208" fmla="*/ 64512 h 789458"/>
                <a:gd name="connsiteX209" fmla="*/ 415581 w 517073"/>
                <a:gd name="connsiteY209" fmla="*/ 77382 h 789458"/>
                <a:gd name="connsiteX210" fmla="*/ 415581 w 517073"/>
                <a:gd name="connsiteY210" fmla="*/ 85202 h 789458"/>
                <a:gd name="connsiteX211" fmla="*/ 415581 w 517073"/>
                <a:gd name="connsiteY211" fmla="*/ 90578 h 789458"/>
                <a:gd name="connsiteX212" fmla="*/ 418188 w 517073"/>
                <a:gd name="connsiteY212" fmla="*/ 89274 h 789458"/>
                <a:gd name="connsiteX213" fmla="*/ 419328 w 517073"/>
                <a:gd name="connsiteY213" fmla="*/ 84713 h 789458"/>
                <a:gd name="connsiteX214" fmla="*/ 418024 w 517073"/>
                <a:gd name="connsiteY214" fmla="*/ 81618 h 789458"/>
                <a:gd name="connsiteX215" fmla="*/ 419654 w 517073"/>
                <a:gd name="connsiteY215" fmla="*/ 80315 h 789458"/>
                <a:gd name="connsiteX216" fmla="*/ 421446 w 517073"/>
                <a:gd name="connsiteY216" fmla="*/ 83247 h 789458"/>
                <a:gd name="connsiteX217" fmla="*/ 421446 w 517073"/>
                <a:gd name="connsiteY217" fmla="*/ 87645 h 789458"/>
                <a:gd name="connsiteX218" fmla="*/ 424215 w 517073"/>
                <a:gd name="connsiteY218" fmla="*/ 87320 h 789458"/>
                <a:gd name="connsiteX219" fmla="*/ 424704 w 517073"/>
                <a:gd name="connsiteY219" fmla="*/ 85202 h 789458"/>
                <a:gd name="connsiteX220" fmla="*/ 424052 w 517073"/>
                <a:gd name="connsiteY220" fmla="*/ 83572 h 789458"/>
                <a:gd name="connsiteX221" fmla="*/ 425519 w 517073"/>
                <a:gd name="connsiteY221" fmla="*/ 83247 h 789458"/>
                <a:gd name="connsiteX222" fmla="*/ 426008 w 517073"/>
                <a:gd name="connsiteY222" fmla="*/ 86831 h 789458"/>
                <a:gd name="connsiteX223" fmla="*/ 423238 w 517073"/>
                <a:gd name="connsiteY223" fmla="*/ 91718 h 789458"/>
                <a:gd name="connsiteX224" fmla="*/ 421935 w 517073"/>
                <a:gd name="connsiteY224" fmla="*/ 95791 h 789458"/>
                <a:gd name="connsiteX225" fmla="*/ 421609 w 517073"/>
                <a:gd name="connsiteY225" fmla="*/ 98234 h 789458"/>
                <a:gd name="connsiteX226" fmla="*/ 419817 w 517073"/>
                <a:gd name="connsiteY226" fmla="*/ 98723 h 789458"/>
                <a:gd name="connsiteX227" fmla="*/ 417862 w 517073"/>
                <a:gd name="connsiteY227" fmla="*/ 95791 h 789458"/>
                <a:gd name="connsiteX228" fmla="*/ 415744 w 517073"/>
                <a:gd name="connsiteY228" fmla="*/ 95791 h 789458"/>
                <a:gd name="connsiteX229" fmla="*/ 416884 w 517073"/>
                <a:gd name="connsiteY229" fmla="*/ 103447 h 789458"/>
                <a:gd name="connsiteX230" fmla="*/ 420305 w 517073"/>
                <a:gd name="connsiteY230" fmla="*/ 113385 h 789458"/>
                <a:gd name="connsiteX231" fmla="*/ 422423 w 517073"/>
                <a:gd name="connsiteY231" fmla="*/ 114199 h 789458"/>
                <a:gd name="connsiteX232" fmla="*/ 424215 w 517073"/>
                <a:gd name="connsiteY232" fmla="*/ 113222 h 789458"/>
                <a:gd name="connsiteX233" fmla="*/ 426008 w 517073"/>
                <a:gd name="connsiteY233" fmla="*/ 116643 h 789458"/>
                <a:gd name="connsiteX234" fmla="*/ 426496 w 517073"/>
                <a:gd name="connsiteY234" fmla="*/ 119087 h 789458"/>
                <a:gd name="connsiteX235" fmla="*/ 428777 w 517073"/>
                <a:gd name="connsiteY235" fmla="*/ 120879 h 789458"/>
                <a:gd name="connsiteX236" fmla="*/ 423727 w 517073"/>
                <a:gd name="connsiteY236" fmla="*/ 124300 h 789458"/>
                <a:gd name="connsiteX237" fmla="*/ 423727 w 517073"/>
                <a:gd name="connsiteY237" fmla="*/ 126092 h 789458"/>
                <a:gd name="connsiteX238" fmla="*/ 425356 w 517073"/>
                <a:gd name="connsiteY238" fmla="*/ 127884 h 789458"/>
                <a:gd name="connsiteX239" fmla="*/ 423727 w 517073"/>
                <a:gd name="connsiteY239" fmla="*/ 131305 h 789458"/>
                <a:gd name="connsiteX240" fmla="*/ 420795 w 517073"/>
                <a:gd name="connsiteY240" fmla="*/ 140102 h 789458"/>
                <a:gd name="connsiteX241" fmla="*/ 420795 w 517073"/>
                <a:gd name="connsiteY241" fmla="*/ 144501 h 789458"/>
                <a:gd name="connsiteX242" fmla="*/ 419491 w 517073"/>
                <a:gd name="connsiteY242" fmla="*/ 146130 h 789458"/>
                <a:gd name="connsiteX243" fmla="*/ 422097 w 517073"/>
                <a:gd name="connsiteY243" fmla="*/ 148899 h 789458"/>
                <a:gd name="connsiteX244" fmla="*/ 421120 w 517073"/>
                <a:gd name="connsiteY244" fmla="*/ 150691 h 789458"/>
                <a:gd name="connsiteX245" fmla="*/ 417699 w 517073"/>
                <a:gd name="connsiteY245" fmla="*/ 151017 h 789458"/>
                <a:gd name="connsiteX246" fmla="*/ 415418 w 517073"/>
                <a:gd name="connsiteY246" fmla="*/ 154927 h 789458"/>
                <a:gd name="connsiteX247" fmla="*/ 415418 w 517073"/>
                <a:gd name="connsiteY247" fmla="*/ 157370 h 789458"/>
                <a:gd name="connsiteX248" fmla="*/ 418188 w 517073"/>
                <a:gd name="connsiteY248" fmla="*/ 160303 h 789458"/>
                <a:gd name="connsiteX249" fmla="*/ 415255 w 517073"/>
                <a:gd name="connsiteY249" fmla="*/ 161932 h 789458"/>
                <a:gd name="connsiteX250" fmla="*/ 412160 w 517073"/>
                <a:gd name="connsiteY250" fmla="*/ 162258 h 789458"/>
                <a:gd name="connsiteX251" fmla="*/ 409879 w 517073"/>
                <a:gd name="connsiteY251" fmla="*/ 167797 h 789458"/>
                <a:gd name="connsiteX252" fmla="*/ 406459 w 517073"/>
                <a:gd name="connsiteY252" fmla="*/ 185879 h 789458"/>
                <a:gd name="connsiteX253" fmla="*/ 405969 w 517073"/>
                <a:gd name="connsiteY253" fmla="*/ 190278 h 789458"/>
                <a:gd name="connsiteX254" fmla="*/ 402386 w 517073"/>
                <a:gd name="connsiteY254" fmla="*/ 192885 h 789458"/>
                <a:gd name="connsiteX255" fmla="*/ 398638 w 517073"/>
                <a:gd name="connsiteY255" fmla="*/ 193211 h 789458"/>
                <a:gd name="connsiteX256" fmla="*/ 394240 w 517073"/>
                <a:gd name="connsiteY256" fmla="*/ 191581 h 789458"/>
                <a:gd name="connsiteX257" fmla="*/ 389515 w 517073"/>
                <a:gd name="connsiteY257" fmla="*/ 192233 h 789458"/>
                <a:gd name="connsiteX258" fmla="*/ 379904 w 517073"/>
                <a:gd name="connsiteY258" fmla="*/ 196795 h 789458"/>
                <a:gd name="connsiteX259" fmla="*/ 375505 w 517073"/>
                <a:gd name="connsiteY259" fmla="*/ 201682 h 789458"/>
                <a:gd name="connsiteX260" fmla="*/ 374202 w 517073"/>
                <a:gd name="connsiteY260" fmla="*/ 207547 h 789458"/>
                <a:gd name="connsiteX261" fmla="*/ 375342 w 517073"/>
                <a:gd name="connsiteY261" fmla="*/ 215529 h 789458"/>
                <a:gd name="connsiteX262" fmla="*/ 379741 w 517073"/>
                <a:gd name="connsiteY262" fmla="*/ 219276 h 789458"/>
                <a:gd name="connsiteX263" fmla="*/ 387072 w 517073"/>
                <a:gd name="connsiteY263" fmla="*/ 223674 h 789458"/>
                <a:gd name="connsiteX264" fmla="*/ 390493 w 517073"/>
                <a:gd name="connsiteY264" fmla="*/ 230354 h 789458"/>
                <a:gd name="connsiteX265" fmla="*/ 397336 w 517073"/>
                <a:gd name="connsiteY265" fmla="*/ 232634 h 789458"/>
                <a:gd name="connsiteX266" fmla="*/ 400105 w 517073"/>
                <a:gd name="connsiteY266" fmla="*/ 235404 h 789458"/>
                <a:gd name="connsiteX267" fmla="*/ 401245 w 517073"/>
                <a:gd name="connsiteY267" fmla="*/ 246482 h 789458"/>
                <a:gd name="connsiteX268" fmla="*/ 401734 w 517073"/>
                <a:gd name="connsiteY268" fmla="*/ 247622 h 789458"/>
                <a:gd name="connsiteX269" fmla="*/ 400431 w 517073"/>
                <a:gd name="connsiteY269" fmla="*/ 248925 h 789458"/>
                <a:gd name="connsiteX270" fmla="*/ 400431 w 517073"/>
                <a:gd name="connsiteY270" fmla="*/ 254790 h 789458"/>
                <a:gd name="connsiteX271" fmla="*/ 398313 w 517073"/>
                <a:gd name="connsiteY271" fmla="*/ 259677 h 789458"/>
                <a:gd name="connsiteX272" fmla="*/ 388213 w 517073"/>
                <a:gd name="connsiteY272" fmla="*/ 272384 h 789458"/>
                <a:gd name="connsiteX273" fmla="*/ 381045 w 517073"/>
                <a:gd name="connsiteY273" fmla="*/ 279878 h 789458"/>
                <a:gd name="connsiteX274" fmla="*/ 373551 w 517073"/>
                <a:gd name="connsiteY274" fmla="*/ 286720 h 789458"/>
                <a:gd name="connsiteX275" fmla="*/ 370944 w 517073"/>
                <a:gd name="connsiteY275" fmla="*/ 289979 h 789458"/>
                <a:gd name="connsiteX276" fmla="*/ 371759 w 517073"/>
                <a:gd name="connsiteY276" fmla="*/ 292585 h 789458"/>
                <a:gd name="connsiteX277" fmla="*/ 371759 w 517073"/>
                <a:gd name="connsiteY277" fmla="*/ 292585 h 789458"/>
                <a:gd name="connsiteX278" fmla="*/ 354979 w 517073"/>
                <a:gd name="connsiteY278" fmla="*/ 272384 h 789458"/>
                <a:gd name="connsiteX279" fmla="*/ 354979 w 517073"/>
                <a:gd name="connsiteY279" fmla="*/ 268638 h 789458"/>
                <a:gd name="connsiteX280" fmla="*/ 358074 w 517073"/>
                <a:gd name="connsiteY280" fmla="*/ 264727 h 789458"/>
                <a:gd name="connsiteX281" fmla="*/ 362147 w 517073"/>
                <a:gd name="connsiteY281" fmla="*/ 265868 h 789458"/>
                <a:gd name="connsiteX282" fmla="*/ 361169 w 517073"/>
                <a:gd name="connsiteY282" fmla="*/ 268311 h 789458"/>
                <a:gd name="connsiteX283" fmla="*/ 357911 w 517073"/>
                <a:gd name="connsiteY283" fmla="*/ 270104 h 789458"/>
                <a:gd name="connsiteX284" fmla="*/ 355631 w 517073"/>
                <a:gd name="connsiteY284" fmla="*/ 273525 h 789458"/>
                <a:gd name="connsiteX285" fmla="*/ 354490 w 517073"/>
                <a:gd name="connsiteY285" fmla="*/ 273525 h 789458"/>
                <a:gd name="connsiteX286" fmla="*/ 355142 w 517073"/>
                <a:gd name="connsiteY286" fmla="*/ 272384 h 789458"/>
                <a:gd name="connsiteX287" fmla="*/ 355142 w 517073"/>
                <a:gd name="connsiteY287" fmla="*/ 272384 h 789458"/>
                <a:gd name="connsiteX288" fmla="*/ 353350 w 517073"/>
                <a:gd name="connsiteY288" fmla="*/ 279227 h 789458"/>
                <a:gd name="connsiteX289" fmla="*/ 355468 w 517073"/>
                <a:gd name="connsiteY289" fmla="*/ 276783 h 789458"/>
                <a:gd name="connsiteX290" fmla="*/ 357749 w 517073"/>
                <a:gd name="connsiteY290" fmla="*/ 276131 h 789458"/>
                <a:gd name="connsiteX291" fmla="*/ 355631 w 517073"/>
                <a:gd name="connsiteY291" fmla="*/ 279063 h 789458"/>
                <a:gd name="connsiteX292" fmla="*/ 353350 w 517073"/>
                <a:gd name="connsiteY292" fmla="*/ 279063 h 789458"/>
                <a:gd name="connsiteX293" fmla="*/ 349277 w 517073"/>
                <a:gd name="connsiteY293" fmla="*/ 278086 h 789458"/>
                <a:gd name="connsiteX294" fmla="*/ 351883 w 517073"/>
                <a:gd name="connsiteY294" fmla="*/ 278086 h 789458"/>
                <a:gd name="connsiteX295" fmla="*/ 354164 w 517073"/>
                <a:gd name="connsiteY295" fmla="*/ 276783 h 789458"/>
                <a:gd name="connsiteX296" fmla="*/ 354164 w 517073"/>
                <a:gd name="connsiteY296" fmla="*/ 275479 h 789458"/>
                <a:gd name="connsiteX297" fmla="*/ 349114 w 517073"/>
                <a:gd name="connsiteY297" fmla="*/ 278086 h 789458"/>
                <a:gd name="connsiteX298" fmla="*/ 349114 w 517073"/>
                <a:gd name="connsiteY298" fmla="*/ 278086 h 789458"/>
                <a:gd name="connsiteX299" fmla="*/ 139613 w 517073"/>
                <a:gd name="connsiteY299" fmla="*/ 515282 h 789458"/>
                <a:gd name="connsiteX300" fmla="*/ 142546 w 517073"/>
                <a:gd name="connsiteY300" fmla="*/ 513490 h 789458"/>
                <a:gd name="connsiteX301" fmla="*/ 142057 w 517073"/>
                <a:gd name="connsiteY301" fmla="*/ 515770 h 789458"/>
                <a:gd name="connsiteX302" fmla="*/ 139776 w 517073"/>
                <a:gd name="connsiteY302" fmla="*/ 515282 h 789458"/>
                <a:gd name="connsiteX303" fmla="*/ 139776 w 517073"/>
                <a:gd name="connsiteY303" fmla="*/ 515282 h 789458"/>
                <a:gd name="connsiteX304" fmla="*/ 115339 w 517073"/>
                <a:gd name="connsiteY304" fmla="*/ 525382 h 789458"/>
                <a:gd name="connsiteX305" fmla="*/ 111593 w 517073"/>
                <a:gd name="connsiteY305" fmla="*/ 529781 h 789458"/>
                <a:gd name="connsiteX306" fmla="*/ 109149 w 517073"/>
                <a:gd name="connsiteY306" fmla="*/ 529781 h 789458"/>
                <a:gd name="connsiteX307" fmla="*/ 108498 w 517073"/>
                <a:gd name="connsiteY307" fmla="*/ 527337 h 789458"/>
                <a:gd name="connsiteX308" fmla="*/ 113548 w 517073"/>
                <a:gd name="connsiteY308" fmla="*/ 522287 h 789458"/>
                <a:gd name="connsiteX309" fmla="*/ 115503 w 517073"/>
                <a:gd name="connsiteY309" fmla="*/ 520984 h 789458"/>
                <a:gd name="connsiteX310" fmla="*/ 115503 w 517073"/>
                <a:gd name="connsiteY310" fmla="*/ 517725 h 789458"/>
                <a:gd name="connsiteX311" fmla="*/ 119250 w 517073"/>
                <a:gd name="connsiteY311" fmla="*/ 517074 h 789458"/>
                <a:gd name="connsiteX312" fmla="*/ 120553 w 517073"/>
                <a:gd name="connsiteY312" fmla="*/ 512513 h 789458"/>
                <a:gd name="connsiteX313" fmla="*/ 120227 w 517073"/>
                <a:gd name="connsiteY313" fmla="*/ 507625 h 789458"/>
                <a:gd name="connsiteX314" fmla="*/ 120878 w 517073"/>
                <a:gd name="connsiteY314" fmla="*/ 504041 h 789458"/>
                <a:gd name="connsiteX315" fmla="*/ 125277 w 517073"/>
                <a:gd name="connsiteY315" fmla="*/ 502738 h 789458"/>
                <a:gd name="connsiteX316" fmla="*/ 129676 w 517073"/>
                <a:gd name="connsiteY316" fmla="*/ 507299 h 789458"/>
                <a:gd name="connsiteX317" fmla="*/ 131957 w 517073"/>
                <a:gd name="connsiteY317" fmla="*/ 512675 h 789458"/>
                <a:gd name="connsiteX318" fmla="*/ 132771 w 517073"/>
                <a:gd name="connsiteY318" fmla="*/ 514304 h 789458"/>
                <a:gd name="connsiteX319" fmla="*/ 132445 w 517073"/>
                <a:gd name="connsiteY319" fmla="*/ 515445 h 789458"/>
                <a:gd name="connsiteX320" fmla="*/ 129512 w 517073"/>
                <a:gd name="connsiteY320" fmla="*/ 515933 h 789458"/>
                <a:gd name="connsiteX321" fmla="*/ 128372 w 517073"/>
                <a:gd name="connsiteY321" fmla="*/ 514793 h 789458"/>
                <a:gd name="connsiteX322" fmla="*/ 126092 w 517073"/>
                <a:gd name="connsiteY322" fmla="*/ 515770 h 789458"/>
                <a:gd name="connsiteX323" fmla="*/ 127721 w 517073"/>
                <a:gd name="connsiteY323" fmla="*/ 516097 h 789458"/>
                <a:gd name="connsiteX324" fmla="*/ 129676 w 517073"/>
                <a:gd name="connsiteY324" fmla="*/ 518051 h 789458"/>
                <a:gd name="connsiteX325" fmla="*/ 131957 w 517073"/>
                <a:gd name="connsiteY325" fmla="*/ 519192 h 789458"/>
                <a:gd name="connsiteX326" fmla="*/ 132282 w 517073"/>
                <a:gd name="connsiteY326" fmla="*/ 521147 h 789458"/>
                <a:gd name="connsiteX327" fmla="*/ 130653 w 517073"/>
                <a:gd name="connsiteY327" fmla="*/ 523102 h 789458"/>
                <a:gd name="connsiteX328" fmla="*/ 128861 w 517073"/>
                <a:gd name="connsiteY328" fmla="*/ 522450 h 789458"/>
                <a:gd name="connsiteX329" fmla="*/ 123485 w 517073"/>
                <a:gd name="connsiteY329" fmla="*/ 524242 h 789458"/>
                <a:gd name="connsiteX330" fmla="*/ 120878 w 517073"/>
                <a:gd name="connsiteY330" fmla="*/ 526197 h 789458"/>
                <a:gd name="connsiteX331" fmla="*/ 118272 w 517073"/>
                <a:gd name="connsiteY331" fmla="*/ 526197 h 789458"/>
                <a:gd name="connsiteX332" fmla="*/ 116806 w 517073"/>
                <a:gd name="connsiteY332" fmla="*/ 525056 h 789458"/>
                <a:gd name="connsiteX333" fmla="*/ 115177 w 517073"/>
                <a:gd name="connsiteY333" fmla="*/ 525382 h 789458"/>
                <a:gd name="connsiteX334" fmla="*/ 115177 w 517073"/>
                <a:gd name="connsiteY334" fmla="*/ 525382 h 789458"/>
                <a:gd name="connsiteX335" fmla="*/ 111593 w 517073"/>
                <a:gd name="connsiteY335" fmla="*/ 482211 h 789458"/>
                <a:gd name="connsiteX336" fmla="*/ 108171 w 517073"/>
                <a:gd name="connsiteY336" fmla="*/ 478465 h 789458"/>
                <a:gd name="connsiteX337" fmla="*/ 108823 w 517073"/>
                <a:gd name="connsiteY337" fmla="*/ 473740 h 789458"/>
                <a:gd name="connsiteX338" fmla="*/ 111593 w 517073"/>
                <a:gd name="connsiteY338" fmla="*/ 472111 h 789458"/>
                <a:gd name="connsiteX339" fmla="*/ 109149 w 517073"/>
                <a:gd name="connsiteY339" fmla="*/ 471459 h 789458"/>
                <a:gd name="connsiteX340" fmla="*/ 106054 w 517073"/>
                <a:gd name="connsiteY340" fmla="*/ 470970 h 789458"/>
                <a:gd name="connsiteX341" fmla="*/ 112082 w 517073"/>
                <a:gd name="connsiteY341" fmla="*/ 464291 h 789458"/>
                <a:gd name="connsiteX342" fmla="*/ 117294 w 517073"/>
                <a:gd name="connsiteY342" fmla="*/ 463477 h 789458"/>
                <a:gd name="connsiteX343" fmla="*/ 121530 w 517073"/>
                <a:gd name="connsiteY343" fmla="*/ 463477 h 789458"/>
                <a:gd name="connsiteX344" fmla="*/ 123322 w 517073"/>
                <a:gd name="connsiteY344" fmla="*/ 462011 h 789458"/>
                <a:gd name="connsiteX345" fmla="*/ 121530 w 517073"/>
                <a:gd name="connsiteY345" fmla="*/ 459567 h 789458"/>
                <a:gd name="connsiteX346" fmla="*/ 117620 w 517073"/>
                <a:gd name="connsiteY346" fmla="*/ 455820 h 789458"/>
                <a:gd name="connsiteX347" fmla="*/ 117294 w 517073"/>
                <a:gd name="connsiteY347" fmla="*/ 452725 h 789458"/>
                <a:gd name="connsiteX348" fmla="*/ 121693 w 517073"/>
                <a:gd name="connsiteY348" fmla="*/ 445394 h 789458"/>
                <a:gd name="connsiteX349" fmla="*/ 123485 w 517073"/>
                <a:gd name="connsiteY349" fmla="*/ 444254 h 789458"/>
                <a:gd name="connsiteX350" fmla="*/ 125277 w 517073"/>
                <a:gd name="connsiteY350" fmla="*/ 441158 h 789458"/>
                <a:gd name="connsiteX351" fmla="*/ 127232 w 517073"/>
                <a:gd name="connsiteY351" fmla="*/ 442136 h 789458"/>
                <a:gd name="connsiteX352" fmla="*/ 129187 w 517073"/>
                <a:gd name="connsiteY352" fmla="*/ 446534 h 789458"/>
                <a:gd name="connsiteX353" fmla="*/ 131142 w 517073"/>
                <a:gd name="connsiteY353" fmla="*/ 444090 h 789458"/>
                <a:gd name="connsiteX354" fmla="*/ 131630 w 517073"/>
                <a:gd name="connsiteY354" fmla="*/ 435293 h 789458"/>
                <a:gd name="connsiteX355" fmla="*/ 133911 w 517073"/>
                <a:gd name="connsiteY355" fmla="*/ 432198 h 789458"/>
                <a:gd name="connsiteX356" fmla="*/ 136029 w 517073"/>
                <a:gd name="connsiteY356" fmla="*/ 432198 h 789458"/>
                <a:gd name="connsiteX357" fmla="*/ 143523 w 517073"/>
                <a:gd name="connsiteY357" fmla="*/ 423890 h 789458"/>
                <a:gd name="connsiteX358" fmla="*/ 145803 w 517073"/>
                <a:gd name="connsiteY358" fmla="*/ 425519 h 789458"/>
                <a:gd name="connsiteX359" fmla="*/ 148084 w 517073"/>
                <a:gd name="connsiteY359" fmla="*/ 423075 h 789458"/>
                <a:gd name="connsiteX360" fmla="*/ 148084 w 517073"/>
                <a:gd name="connsiteY360" fmla="*/ 416885 h 789458"/>
                <a:gd name="connsiteX361" fmla="*/ 151017 w 517073"/>
                <a:gd name="connsiteY361" fmla="*/ 414930 h 789458"/>
                <a:gd name="connsiteX362" fmla="*/ 154275 w 517073"/>
                <a:gd name="connsiteY362" fmla="*/ 411997 h 789458"/>
                <a:gd name="connsiteX363" fmla="*/ 156555 w 517073"/>
                <a:gd name="connsiteY363" fmla="*/ 413790 h 789458"/>
                <a:gd name="connsiteX364" fmla="*/ 157207 w 517073"/>
                <a:gd name="connsiteY364" fmla="*/ 416885 h 789458"/>
                <a:gd name="connsiteX365" fmla="*/ 158348 w 517073"/>
                <a:gd name="connsiteY365" fmla="*/ 410857 h 789458"/>
                <a:gd name="connsiteX366" fmla="*/ 162746 w 517073"/>
                <a:gd name="connsiteY366" fmla="*/ 405155 h 789458"/>
                <a:gd name="connsiteX367" fmla="*/ 166656 w 517073"/>
                <a:gd name="connsiteY367" fmla="*/ 404015 h 789458"/>
                <a:gd name="connsiteX368" fmla="*/ 172846 w 517073"/>
                <a:gd name="connsiteY368" fmla="*/ 398965 h 789458"/>
                <a:gd name="connsiteX369" fmla="*/ 175779 w 517073"/>
                <a:gd name="connsiteY369" fmla="*/ 395218 h 789458"/>
                <a:gd name="connsiteX370" fmla="*/ 183762 w 517073"/>
                <a:gd name="connsiteY370" fmla="*/ 388213 h 789458"/>
                <a:gd name="connsiteX371" fmla="*/ 187671 w 517073"/>
                <a:gd name="connsiteY371" fmla="*/ 387887 h 789458"/>
                <a:gd name="connsiteX372" fmla="*/ 189952 w 517073"/>
                <a:gd name="connsiteY372" fmla="*/ 389679 h 789458"/>
                <a:gd name="connsiteX373" fmla="*/ 194514 w 517073"/>
                <a:gd name="connsiteY373" fmla="*/ 388538 h 789458"/>
                <a:gd name="connsiteX374" fmla="*/ 198749 w 517073"/>
                <a:gd name="connsiteY374" fmla="*/ 387235 h 789458"/>
                <a:gd name="connsiteX375" fmla="*/ 200704 w 517073"/>
                <a:gd name="connsiteY375" fmla="*/ 388050 h 789458"/>
                <a:gd name="connsiteX376" fmla="*/ 205103 w 517073"/>
                <a:gd name="connsiteY376" fmla="*/ 392122 h 789458"/>
                <a:gd name="connsiteX377" fmla="*/ 204451 w 517073"/>
                <a:gd name="connsiteY377" fmla="*/ 386909 h 789458"/>
                <a:gd name="connsiteX378" fmla="*/ 202659 w 517073"/>
                <a:gd name="connsiteY378" fmla="*/ 382837 h 789458"/>
                <a:gd name="connsiteX379" fmla="*/ 203473 w 517073"/>
                <a:gd name="connsiteY379" fmla="*/ 379904 h 789458"/>
                <a:gd name="connsiteX380" fmla="*/ 212434 w 517073"/>
                <a:gd name="connsiteY380" fmla="*/ 374365 h 789458"/>
                <a:gd name="connsiteX381" fmla="*/ 217483 w 517073"/>
                <a:gd name="connsiteY381" fmla="*/ 373225 h 789458"/>
                <a:gd name="connsiteX382" fmla="*/ 225792 w 517073"/>
                <a:gd name="connsiteY382" fmla="*/ 365406 h 789458"/>
                <a:gd name="connsiteX383" fmla="*/ 235404 w 517073"/>
                <a:gd name="connsiteY383" fmla="*/ 360681 h 789458"/>
                <a:gd name="connsiteX384" fmla="*/ 239477 w 517073"/>
                <a:gd name="connsiteY384" fmla="*/ 360681 h 789458"/>
                <a:gd name="connsiteX385" fmla="*/ 240128 w 517073"/>
                <a:gd name="connsiteY385" fmla="*/ 357097 h 789458"/>
                <a:gd name="connsiteX386" fmla="*/ 246645 w 517073"/>
                <a:gd name="connsiteY386" fmla="*/ 353839 h 789458"/>
                <a:gd name="connsiteX387" fmla="*/ 252020 w 517073"/>
                <a:gd name="connsiteY387" fmla="*/ 353187 h 789458"/>
                <a:gd name="connsiteX388" fmla="*/ 262283 w 517073"/>
                <a:gd name="connsiteY388" fmla="*/ 345856 h 789458"/>
                <a:gd name="connsiteX389" fmla="*/ 271569 w 517073"/>
                <a:gd name="connsiteY389" fmla="*/ 334942 h 789458"/>
                <a:gd name="connsiteX390" fmla="*/ 272058 w 517073"/>
                <a:gd name="connsiteY390" fmla="*/ 330869 h 789458"/>
                <a:gd name="connsiteX391" fmla="*/ 274502 w 517073"/>
                <a:gd name="connsiteY391" fmla="*/ 327774 h 789458"/>
                <a:gd name="connsiteX392" fmla="*/ 274502 w 517073"/>
                <a:gd name="connsiteY392" fmla="*/ 322234 h 789458"/>
                <a:gd name="connsiteX393" fmla="*/ 278737 w 517073"/>
                <a:gd name="connsiteY393" fmla="*/ 317673 h 789458"/>
                <a:gd name="connsiteX394" fmla="*/ 281507 w 517073"/>
                <a:gd name="connsiteY394" fmla="*/ 316370 h 789458"/>
                <a:gd name="connsiteX395" fmla="*/ 281833 w 517073"/>
                <a:gd name="connsiteY395" fmla="*/ 311320 h 789458"/>
                <a:gd name="connsiteX396" fmla="*/ 283136 w 517073"/>
                <a:gd name="connsiteY396" fmla="*/ 306758 h 789458"/>
                <a:gd name="connsiteX397" fmla="*/ 287209 w 517073"/>
                <a:gd name="connsiteY397" fmla="*/ 303663 h 789458"/>
                <a:gd name="connsiteX398" fmla="*/ 292422 w 517073"/>
                <a:gd name="connsiteY398" fmla="*/ 304152 h 789458"/>
                <a:gd name="connsiteX399" fmla="*/ 296820 w 517073"/>
                <a:gd name="connsiteY399" fmla="*/ 302360 h 789458"/>
                <a:gd name="connsiteX400" fmla="*/ 298613 w 517073"/>
                <a:gd name="connsiteY400" fmla="*/ 298613 h 789458"/>
                <a:gd name="connsiteX401" fmla="*/ 304477 w 517073"/>
                <a:gd name="connsiteY401" fmla="*/ 291445 h 789458"/>
                <a:gd name="connsiteX402" fmla="*/ 306758 w 517073"/>
                <a:gd name="connsiteY402" fmla="*/ 290630 h 789458"/>
                <a:gd name="connsiteX403" fmla="*/ 311319 w 517073"/>
                <a:gd name="connsiteY403" fmla="*/ 284440 h 789458"/>
                <a:gd name="connsiteX404" fmla="*/ 315881 w 517073"/>
                <a:gd name="connsiteY404" fmla="*/ 272873 h 789458"/>
                <a:gd name="connsiteX405" fmla="*/ 316695 w 517073"/>
                <a:gd name="connsiteY405" fmla="*/ 266520 h 789458"/>
                <a:gd name="connsiteX406" fmla="*/ 321256 w 517073"/>
                <a:gd name="connsiteY406" fmla="*/ 262773 h 789458"/>
                <a:gd name="connsiteX407" fmla="*/ 324678 w 517073"/>
                <a:gd name="connsiteY407" fmla="*/ 261469 h 789458"/>
                <a:gd name="connsiteX408" fmla="*/ 331520 w 517073"/>
                <a:gd name="connsiteY408" fmla="*/ 256908 h 789458"/>
                <a:gd name="connsiteX409" fmla="*/ 335592 w 517073"/>
                <a:gd name="connsiteY409" fmla="*/ 257397 h 789458"/>
                <a:gd name="connsiteX410" fmla="*/ 332497 w 517073"/>
                <a:gd name="connsiteY410" fmla="*/ 261633 h 789458"/>
                <a:gd name="connsiteX411" fmla="*/ 332009 w 517073"/>
                <a:gd name="connsiteY411" fmla="*/ 264890 h 789458"/>
                <a:gd name="connsiteX412" fmla="*/ 334127 w 517073"/>
                <a:gd name="connsiteY412" fmla="*/ 267497 h 789458"/>
                <a:gd name="connsiteX413" fmla="*/ 335919 w 517073"/>
                <a:gd name="connsiteY413" fmla="*/ 268474 h 789458"/>
                <a:gd name="connsiteX414" fmla="*/ 338525 w 517073"/>
                <a:gd name="connsiteY414" fmla="*/ 266520 h 789458"/>
                <a:gd name="connsiteX415" fmla="*/ 340154 w 517073"/>
                <a:gd name="connsiteY415" fmla="*/ 268149 h 789458"/>
                <a:gd name="connsiteX416" fmla="*/ 339828 w 517073"/>
                <a:gd name="connsiteY416" fmla="*/ 270267 h 789458"/>
                <a:gd name="connsiteX417" fmla="*/ 341132 w 517073"/>
                <a:gd name="connsiteY417" fmla="*/ 270755 h 789458"/>
                <a:gd name="connsiteX418" fmla="*/ 340317 w 517073"/>
                <a:gd name="connsiteY418" fmla="*/ 273199 h 789458"/>
                <a:gd name="connsiteX419" fmla="*/ 337873 w 517073"/>
                <a:gd name="connsiteY419" fmla="*/ 276131 h 789458"/>
                <a:gd name="connsiteX420" fmla="*/ 335756 w 517073"/>
                <a:gd name="connsiteY420" fmla="*/ 277760 h 789458"/>
                <a:gd name="connsiteX421" fmla="*/ 338200 w 517073"/>
                <a:gd name="connsiteY421" fmla="*/ 285091 h 789458"/>
                <a:gd name="connsiteX422" fmla="*/ 341458 w 517073"/>
                <a:gd name="connsiteY422" fmla="*/ 286720 h 789458"/>
                <a:gd name="connsiteX423" fmla="*/ 344878 w 517073"/>
                <a:gd name="connsiteY423" fmla="*/ 281996 h 789458"/>
                <a:gd name="connsiteX424" fmla="*/ 348137 w 517073"/>
                <a:gd name="connsiteY424" fmla="*/ 279878 h 789458"/>
                <a:gd name="connsiteX425" fmla="*/ 351232 w 517073"/>
                <a:gd name="connsiteY425" fmla="*/ 280856 h 789458"/>
                <a:gd name="connsiteX426" fmla="*/ 353513 w 517073"/>
                <a:gd name="connsiteY426" fmla="*/ 280856 h 789458"/>
                <a:gd name="connsiteX427" fmla="*/ 353024 w 517073"/>
                <a:gd name="connsiteY427" fmla="*/ 283788 h 789458"/>
                <a:gd name="connsiteX428" fmla="*/ 355468 w 517073"/>
                <a:gd name="connsiteY428" fmla="*/ 286395 h 789458"/>
                <a:gd name="connsiteX429" fmla="*/ 360029 w 517073"/>
                <a:gd name="connsiteY429" fmla="*/ 283136 h 789458"/>
                <a:gd name="connsiteX430" fmla="*/ 357911 w 517073"/>
                <a:gd name="connsiteY430" fmla="*/ 282485 h 789458"/>
                <a:gd name="connsiteX431" fmla="*/ 356771 w 517073"/>
                <a:gd name="connsiteY431" fmla="*/ 281181 h 789458"/>
                <a:gd name="connsiteX432" fmla="*/ 359866 w 517073"/>
                <a:gd name="connsiteY432" fmla="*/ 275317 h 789458"/>
                <a:gd name="connsiteX433" fmla="*/ 363613 w 517073"/>
                <a:gd name="connsiteY433" fmla="*/ 276131 h 789458"/>
                <a:gd name="connsiteX434" fmla="*/ 363613 w 517073"/>
                <a:gd name="connsiteY434" fmla="*/ 279063 h 789458"/>
                <a:gd name="connsiteX435" fmla="*/ 365242 w 517073"/>
                <a:gd name="connsiteY435" fmla="*/ 279063 h 789458"/>
                <a:gd name="connsiteX436" fmla="*/ 362310 w 517073"/>
                <a:gd name="connsiteY436" fmla="*/ 284440 h 789458"/>
                <a:gd name="connsiteX437" fmla="*/ 356934 w 517073"/>
                <a:gd name="connsiteY437" fmla="*/ 287698 h 789458"/>
                <a:gd name="connsiteX438" fmla="*/ 360518 w 517073"/>
                <a:gd name="connsiteY438" fmla="*/ 287209 h 789458"/>
                <a:gd name="connsiteX439" fmla="*/ 364428 w 517073"/>
                <a:gd name="connsiteY439" fmla="*/ 286069 h 789458"/>
                <a:gd name="connsiteX440" fmla="*/ 359704 w 517073"/>
                <a:gd name="connsiteY440" fmla="*/ 292585 h 789458"/>
                <a:gd name="connsiteX441" fmla="*/ 358074 w 517073"/>
                <a:gd name="connsiteY441" fmla="*/ 292096 h 789458"/>
                <a:gd name="connsiteX442" fmla="*/ 356771 w 517073"/>
                <a:gd name="connsiteY442" fmla="*/ 296332 h 789458"/>
                <a:gd name="connsiteX443" fmla="*/ 356445 w 517073"/>
                <a:gd name="connsiteY443" fmla="*/ 300731 h 789458"/>
                <a:gd name="connsiteX444" fmla="*/ 358563 w 517073"/>
                <a:gd name="connsiteY444" fmla="*/ 305781 h 789458"/>
                <a:gd name="connsiteX445" fmla="*/ 359051 w 517073"/>
                <a:gd name="connsiteY445" fmla="*/ 310831 h 789458"/>
                <a:gd name="connsiteX446" fmla="*/ 361659 w 517073"/>
                <a:gd name="connsiteY446" fmla="*/ 311645 h 789458"/>
                <a:gd name="connsiteX447" fmla="*/ 357097 w 517073"/>
                <a:gd name="connsiteY447" fmla="*/ 314415 h 789458"/>
                <a:gd name="connsiteX448" fmla="*/ 343738 w 517073"/>
                <a:gd name="connsiteY448" fmla="*/ 325818 h 789458"/>
                <a:gd name="connsiteX449" fmla="*/ 343087 w 517073"/>
                <a:gd name="connsiteY449" fmla="*/ 328751 h 789458"/>
                <a:gd name="connsiteX450" fmla="*/ 334127 w 517073"/>
                <a:gd name="connsiteY450" fmla="*/ 338036 h 789458"/>
                <a:gd name="connsiteX451" fmla="*/ 334615 w 517073"/>
                <a:gd name="connsiteY451" fmla="*/ 339992 h 789458"/>
                <a:gd name="connsiteX452" fmla="*/ 330542 w 517073"/>
                <a:gd name="connsiteY452" fmla="*/ 339666 h 789458"/>
                <a:gd name="connsiteX453" fmla="*/ 325167 w 517073"/>
                <a:gd name="connsiteY453" fmla="*/ 345205 h 789458"/>
                <a:gd name="connsiteX454" fmla="*/ 324515 w 517073"/>
                <a:gd name="connsiteY454" fmla="*/ 350092 h 789458"/>
                <a:gd name="connsiteX455" fmla="*/ 318813 w 517073"/>
                <a:gd name="connsiteY455" fmla="*/ 356934 h 789458"/>
                <a:gd name="connsiteX456" fmla="*/ 317673 w 517073"/>
                <a:gd name="connsiteY456" fmla="*/ 359867 h 789458"/>
                <a:gd name="connsiteX457" fmla="*/ 310179 w 517073"/>
                <a:gd name="connsiteY457" fmla="*/ 364591 h 789458"/>
                <a:gd name="connsiteX458" fmla="*/ 303174 w 517073"/>
                <a:gd name="connsiteY458" fmla="*/ 366872 h 789458"/>
                <a:gd name="connsiteX459" fmla="*/ 299427 w 517073"/>
                <a:gd name="connsiteY459" fmla="*/ 368338 h 789458"/>
                <a:gd name="connsiteX460" fmla="*/ 297635 w 517073"/>
                <a:gd name="connsiteY460" fmla="*/ 376483 h 789458"/>
                <a:gd name="connsiteX461" fmla="*/ 298124 w 517073"/>
                <a:gd name="connsiteY461" fmla="*/ 382348 h 789458"/>
                <a:gd name="connsiteX462" fmla="*/ 296658 w 517073"/>
                <a:gd name="connsiteY462" fmla="*/ 384629 h 789458"/>
                <a:gd name="connsiteX463" fmla="*/ 300078 w 517073"/>
                <a:gd name="connsiteY463" fmla="*/ 385281 h 789458"/>
                <a:gd name="connsiteX464" fmla="*/ 302359 w 517073"/>
                <a:gd name="connsiteY464" fmla="*/ 388701 h 789458"/>
                <a:gd name="connsiteX465" fmla="*/ 301708 w 517073"/>
                <a:gd name="connsiteY465" fmla="*/ 395543 h 789458"/>
                <a:gd name="connsiteX466" fmla="*/ 299264 w 517073"/>
                <a:gd name="connsiteY466" fmla="*/ 397336 h 789458"/>
                <a:gd name="connsiteX467" fmla="*/ 297635 w 517073"/>
                <a:gd name="connsiteY467" fmla="*/ 396033 h 789458"/>
                <a:gd name="connsiteX468" fmla="*/ 298124 w 517073"/>
                <a:gd name="connsiteY468" fmla="*/ 390819 h 789458"/>
                <a:gd name="connsiteX469" fmla="*/ 296658 w 517073"/>
                <a:gd name="connsiteY469" fmla="*/ 389516 h 789458"/>
                <a:gd name="connsiteX470" fmla="*/ 295354 w 517073"/>
                <a:gd name="connsiteY470" fmla="*/ 391145 h 789458"/>
                <a:gd name="connsiteX471" fmla="*/ 295354 w 517073"/>
                <a:gd name="connsiteY471" fmla="*/ 394892 h 789458"/>
                <a:gd name="connsiteX472" fmla="*/ 294051 w 517073"/>
                <a:gd name="connsiteY472" fmla="*/ 397336 h 789458"/>
                <a:gd name="connsiteX473" fmla="*/ 290141 w 517073"/>
                <a:gd name="connsiteY473" fmla="*/ 395870 h 789458"/>
                <a:gd name="connsiteX474" fmla="*/ 284765 w 517073"/>
                <a:gd name="connsiteY474" fmla="*/ 395870 h 789458"/>
                <a:gd name="connsiteX475" fmla="*/ 289327 w 517073"/>
                <a:gd name="connsiteY475" fmla="*/ 393915 h 789458"/>
                <a:gd name="connsiteX476" fmla="*/ 289327 w 517073"/>
                <a:gd name="connsiteY476" fmla="*/ 391960 h 789458"/>
                <a:gd name="connsiteX477" fmla="*/ 285905 w 517073"/>
                <a:gd name="connsiteY477" fmla="*/ 390656 h 789458"/>
                <a:gd name="connsiteX478" fmla="*/ 282647 w 517073"/>
                <a:gd name="connsiteY478" fmla="*/ 393100 h 789458"/>
                <a:gd name="connsiteX479" fmla="*/ 282647 w 517073"/>
                <a:gd name="connsiteY479" fmla="*/ 395381 h 789458"/>
                <a:gd name="connsiteX480" fmla="*/ 279390 w 517073"/>
                <a:gd name="connsiteY480" fmla="*/ 396521 h 789458"/>
                <a:gd name="connsiteX481" fmla="*/ 277597 w 517073"/>
                <a:gd name="connsiteY481" fmla="*/ 396033 h 789458"/>
                <a:gd name="connsiteX482" fmla="*/ 275805 w 517073"/>
                <a:gd name="connsiteY482" fmla="*/ 390819 h 789458"/>
                <a:gd name="connsiteX483" fmla="*/ 271569 w 517073"/>
                <a:gd name="connsiteY483" fmla="*/ 389027 h 789458"/>
                <a:gd name="connsiteX484" fmla="*/ 274828 w 517073"/>
                <a:gd name="connsiteY484" fmla="*/ 392449 h 789458"/>
                <a:gd name="connsiteX485" fmla="*/ 275154 w 517073"/>
                <a:gd name="connsiteY485" fmla="*/ 396358 h 789458"/>
                <a:gd name="connsiteX486" fmla="*/ 272058 w 517073"/>
                <a:gd name="connsiteY486" fmla="*/ 400594 h 789458"/>
                <a:gd name="connsiteX487" fmla="*/ 269288 w 517073"/>
                <a:gd name="connsiteY487" fmla="*/ 401245 h 789458"/>
                <a:gd name="connsiteX488" fmla="*/ 265054 w 517073"/>
                <a:gd name="connsiteY488" fmla="*/ 401245 h 789458"/>
                <a:gd name="connsiteX489" fmla="*/ 263587 w 517073"/>
                <a:gd name="connsiteY489" fmla="*/ 405318 h 789458"/>
                <a:gd name="connsiteX490" fmla="*/ 260655 w 517073"/>
                <a:gd name="connsiteY490" fmla="*/ 405318 h 789458"/>
                <a:gd name="connsiteX491" fmla="*/ 257233 w 517073"/>
                <a:gd name="connsiteY491" fmla="*/ 402549 h 789458"/>
                <a:gd name="connsiteX492" fmla="*/ 256093 w 517073"/>
                <a:gd name="connsiteY492" fmla="*/ 407110 h 789458"/>
                <a:gd name="connsiteX493" fmla="*/ 252183 w 517073"/>
                <a:gd name="connsiteY493" fmla="*/ 408902 h 789458"/>
                <a:gd name="connsiteX494" fmla="*/ 247785 w 517073"/>
                <a:gd name="connsiteY494" fmla="*/ 414115 h 789458"/>
                <a:gd name="connsiteX495" fmla="*/ 247785 w 517073"/>
                <a:gd name="connsiteY495" fmla="*/ 418514 h 789458"/>
                <a:gd name="connsiteX496" fmla="*/ 244852 w 517073"/>
                <a:gd name="connsiteY496" fmla="*/ 422586 h 789458"/>
                <a:gd name="connsiteX497" fmla="*/ 239965 w 517073"/>
                <a:gd name="connsiteY497" fmla="*/ 430895 h 789458"/>
                <a:gd name="connsiteX498" fmla="*/ 238987 w 517073"/>
                <a:gd name="connsiteY498" fmla="*/ 436271 h 789458"/>
                <a:gd name="connsiteX499" fmla="*/ 236381 w 517073"/>
                <a:gd name="connsiteY499" fmla="*/ 440670 h 789458"/>
                <a:gd name="connsiteX500" fmla="*/ 225304 w 517073"/>
                <a:gd name="connsiteY500" fmla="*/ 448652 h 789458"/>
                <a:gd name="connsiteX501" fmla="*/ 221556 w 517073"/>
                <a:gd name="connsiteY501" fmla="*/ 452888 h 789458"/>
                <a:gd name="connsiteX502" fmla="*/ 219764 w 517073"/>
                <a:gd name="connsiteY502" fmla="*/ 460381 h 789458"/>
                <a:gd name="connsiteX503" fmla="*/ 215692 w 517073"/>
                <a:gd name="connsiteY503" fmla="*/ 467713 h 789458"/>
                <a:gd name="connsiteX504" fmla="*/ 210316 w 517073"/>
                <a:gd name="connsiteY504" fmla="*/ 474066 h 789458"/>
                <a:gd name="connsiteX505" fmla="*/ 211456 w 517073"/>
                <a:gd name="connsiteY505" fmla="*/ 474881 h 789458"/>
                <a:gd name="connsiteX506" fmla="*/ 210641 w 517073"/>
                <a:gd name="connsiteY506" fmla="*/ 476509 h 789458"/>
                <a:gd name="connsiteX507" fmla="*/ 208035 w 517073"/>
                <a:gd name="connsiteY507" fmla="*/ 478138 h 789458"/>
                <a:gd name="connsiteX508" fmla="*/ 212271 w 517073"/>
                <a:gd name="connsiteY508" fmla="*/ 477324 h 789458"/>
                <a:gd name="connsiteX509" fmla="*/ 212759 w 517073"/>
                <a:gd name="connsiteY509" fmla="*/ 478790 h 789458"/>
                <a:gd name="connsiteX510" fmla="*/ 210478 w 517073"/>
                <a:gd name="connsiteY510" fmla="*/ 480419 h 789458"/>
                <a:gd name="connsiteX511" fmla="*/ 203800 w 517073"/>
                <a:gd name="connsiteY511" fmla="*/ 480419 h 789458"/>
                <a:gd name="connsiteX512" fmla="*/ 196305 w 517073"/>
                <a:gd name="connsiteY512" fmla="*/ 483515 h 789458"/>
                <a:gd name="connsiteX513" fmla="*/ 193047 w 517073"/>
                <a:gd name="connsiteY513" fmla="*/ 488402 h 789458"/>
                <a:gd name="connsiteX514" fmla="*/ 191255 w 517073"/>
                <a:gd name="connsiteY514" fmla="*/ 494104 h 789458"/>
                <a:gd name="connsiteX515" fmla="*/ 185228 w 517073"/>
                <a:gd name="connsiteY515" fmla="*/ 496547 h 789458"/>
                <a:gd name="connsiteX516" fmla="*/ 186205 w 517073"/>
                <a:gd name="connsiteY516" fmla="*/ 493126 h 789458"/>
                <a:gd name="connsiteX517" fmla="*/ 183110 w 517073"/>
                <a:gd name="connsiteY517" fmla="*/ 490520 h 789458"/>
                <a:gd name="connsiteX518" fmla="*/ 184250 w 517073"/>
                <a:gd name="connsiteY518" fmla="*/ 494756 h 789458"/>
                <a:gd name="connsiteX519" fmla="*/ 183762 w 517073"/>
                <a:gd name="connsiteY519" fmla="*/ 497362 h 789458"/>
                <a:gd name="connsiteX520" fmla="*/ 179037 w 517073"/>
                <a:gd name="connsiteY520" fmla="*/ 499317 h 789458"/>
                <a:gd name="connsiteX521" fmla="*/ 171706 w 517073"/>
                <a:gd name="connsiteY521" fmla="*/ 505670 h 789458"/>
                <a:gd name="connsiteX522" fmla="*/ 162909 w 517073"/>
                <a:gd name="connsiteY522" fmla="*/ 509254 h 789458"/>
                <a:gd name="connsiteX523" fmla="*/ 156719 w 517073"/>
                <a:gd name="connsiteY523" fmla="*/ 510069 h 789458"/>
                <a:gd name="connsiteX524" fmla="*/ 152646 w 517073"/>
                <a:gd name="connsiteY524" fmla="*/ 508929 h 789458"/>
                <a:gd name="connsiteX525" fmla="*/ 152646 w 517073"/>
                <a:gd name="connsiteY525" fmla="*/ 506322 h 789458"/>
                <a:gd name="connsiteX526" fmla="*/ 145966 w 517073"/>
                <a:gd name="connsiteY526" fmla="*/ 509580 h 789458"/>
                <a:gd name="connsiteX527" fmla="*/ 143523 w 517073"/>
                <a:gd name="connsiteY527" fmla="*/ 509091 h 789458"/>
                <a:gd name="connsiteX528" fmla="*/ 148573 w 517073"/>
                <a:gd name="connsiteY528" fmla="*/ 506159 h 789458"/>
                <a:gd name="connsiteX529" fmla="*/ 145152 w 517073"/>
                <a:gd name="connsiteY529" fmla="*/ 503715 h 789458"/>
                <a:gd name="connsiteX530" fmla="*/ 140265 w 517073"/>
                <a:gd name="connsiteY530" fmla="*/ 499480 h 789458"/>
                <a:gd name="connsiteX531" fmla="*/ 139613 w 517073"/>
                <a:gd name="connsiteY531" fmla="*/ 494756 h 789458"/>
                <a:gd name="connsiteX532" fmla="*/ 137821 w 517073"/>
                <a:gd name="connsiteY532" fmla="*/ 492638 h 789458"/>
                <a:gd name="connsiteX533" fmla="*/ 133748 w 517073"/>
                <a:gd name="connsiteY533" fmla="*/ 492638 h 789458"/>
                <a:gd name="connsiteX534" fmla="*/ 131142 w 517073"/>
                <a:gd name="connsiteY534" fmla="*/ 490357 h 789458"/>
                <a:gd name="connsiteX535" fmla="*/ 132445 w 517073"/>
                <a:gd name="connsiteY535" fmla="*/ 488565 h 789458"/>
                <a:gd name="connsiteX536" fmla="*/ 130816 w 517073"/>
                <a:gd name="connsiteY536" fmla="*/ 484492 h 789458"/>
                <a:gd name="connsiteX537" fmla="*/ 126906 w 517073"/>
                <a:gd name="connsiteY537" fmla="*/ 482700 h 789458"/>
                <a:gd name="connsiteX538" fmla="*/ 124300 w 517073"/>
                <a:gd name="connsiteY538" fmla="*/ 483026 h 789458"/>
                <a:gd name="connsiteX539" fmla="*/ 123648 w 517073"/>
                <a:gd name="connsiteY539" fmla="*/ 485958 h 789458"/>
                <a:gd name="connsiteX540" fmla="*/ 121693 w 517073"/>
                <a:gd name="connsiteY540" fmla="*/ 485633 h 789458"/>
                <a:gd name="connsiteX541" fmla="*/ 121041 w 517073"/>
                <a:gd name="connsiteY541" fmla="*/ 484166 h 789458"/>
                <a:gd name="connsiteX542" fmla="*/ 114525 w 517073"/>
                <a:gd name="connsiteY542" fmla="*/ 483677 h 789458"/>
                <a:gd name="connsiteX543" fmla="*/ 112244 w 517073"/>
                <a:gd name="connsiteY543" fmla="*/ 482537 h 7894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</a:cxnLst>
              <a:rect l="l" t="t" r="r" b="b"/>
              <a:pathLst>
                <a:path w="517073" h="789458">
                  <a:moveTo>
                    <a:pt x="109801" y="458101"/>
                  </a:moveTo>
                  <a:lnTo>
                    <a:pt x="112244" y="459404"/>
                  </a:lnTo>
                  <a:lnTo>
                    <a:pt x="114199" y="458915"/>
                  </a:lnTo>
                  <a:lnTo>
                    <a:pt x="114199" y="455983"/>
                  </a:lnTo>
                  <a:lnTo>
                    <a:pt x="109964" y="455983"/>
                  </a:lnTo>
                  <a:cubicBezTo>
                    <a:pt x="109964" y="455983"/>
                    <a:pt x="108986" y="457449"/>
                    <a:pt x="108986" y="457449"/>
                  </a:cubicBezTo>
                  <a:lnTo>
                    <a:pt x="109801" y="458101"/>
                  </a:lnTo>
                  <a:lnTo>
                    <a:pt x="109801" y="458101"/>
                  </a:lnTo>
                  <a:close/>
                  <a:moveTo>
                    <a:pt x="35025" y="785874"/>
                  </a:moveTo>
                  <a:lnTo>
                    <a:pt x="39098" y="789458"/>
                  </a:lnTo>
                  <a:lnTo>
                    <a:pt x="44311" y="788969"/>
                  </a:lnTo>
                  <a:lnTo>
                    <a:pt x="47895" y="782453"/>
                  </a:lnTo>
                  <a:lnTo>
                    <a:pt x="44637" y="779520"/>
                  </a:lnTo>
                  <a:lnTo>
                    <a:pt x="41379" y="784571"/>
                  </a:lnTo>
                  <a:lnTo>
                    <a:pt x="37143" y="784245"/>
                  </a:lnTo>
                  <a:lnTo>
                    <a:pt x="34862" y="786037"/>
                  </a:lnTo>
                  <a:lnTo>
                    <a:pt x="34862" y="786037"/>
                  </a:lnTo>
                  <a:close/>
                  <a:moveTo>
                    <a:pt x="0" y="687802"/>
                  </a:moveTo>
                  <a:lnTo>
                    <a:pt x="12544" y="675259"/>
                  </a:lnTo>
                  <a:lnTo>
                    <a:pt x="15150" y="675259"/>
                  </a:lnTo>
                  <a:cubicBezTo>
                    <a:pt x="15150" y="675259"/>
                    <a:pt x="14499" y="679983"/>
                    <a:pt x="14499" y="679983"/>
                  </a:cubicBezTo>
                  <a:lnTo>
                    <a:pt x="11403" y="684056"/>
                  </a:lnTo>
                  <a:lnTo>
                    <a:pt x="13684" y="688617"/>
                  </a:lnTo>
                  <a:lnTo>
                    <a:pt x="12544" y="691550"/>
                  </a:lnTo>
                  <a:lnTo>
                    <a:pt x="7331" y="689269"/>
                  </a:lnTo>
                  <a:lnTo>
                    <a:pt x="2769" y="691061"/>
                  </a:lnTo>
                  <a:lnTo>
                    <a:pt x="163" y="687640"/>
                  </a:lnTo>
                  <a:lnTo>
                    <a:pt x="163" y="687640"/>
                  </a:lnTo>
                  <a:close/>
                  <a:moveTo>
                    <a:pt x="438877" y="111593"/>
                  </a:moveTo>
                  <a:lnTo>
                    <a:pt x="442461" y="111267"/>
                  </a:lnTo>
                  <a:lnTo>
                    <a:pt x="442461" y="113874"/>
                  </a:lnTo>
                  <a:cubicBezTo>
                    <a:pt x="442461" y="113874"/>
                    <a:pt x="440018" y="113548"/>
                    <a:pt x="440018" y="113548"/>
                  </a:cubicBezTo>
                  <a:lnTo>
                    <a:pt x="438877" y="111593"/>
                  </a:lnTo>
                  <a:lnTo>
                    <a:pt x="438877" y="111593"/>
                  </a:lnTo>
                  <a:close/>
                  <a:moveTo>
                    <a:pt x="446208" y="89763"/>
                  </a:moveTo>
                  <a:lnTo>
                    <a:pt x="445068" y="88134"/>
                  </a:lnTo>
                  <a:lnTo>
                    <a:pt x="447023" y="87156"/>
                  </a:lnTo>
                  <a:lnTo>
                    <a:pt x="446208" y="89600"/>
                  </a:lnTo>
                  <a:lnTo>
                    <a:pt x="446208" y="89600"/>
                  </a:lnTo>
                  <a:close/>
                  <a:moveTo>
                    <a:pt x="454517" y="91881"/>
                  </a:moveTo>
                  <a:lnTo>
                    <a:pt x="451584" y="88134"/>
                  </a:lnTo>
                  <a:lnTo>
                    <a:pt x="454517" y="81292"/>
                  </a:lnTo>
                  <a:lnTo>
                    <a:pt x="454842" y="85202"/>
                  </a:lnTo>
                  <a:lnTo>
                    <a:pt x="456472" y="87483"/>
                  </a:lnTo>
                  <a:lnTo>
                    <a:pt x="454842" y="88623"/>
                  </a:lnTo>
                  <a:lnTo>
                    <a:pt x="455494" y="91067"/>
                  </a:lnTo>
                  <a:lnTo>
                    <a:pt x="454517" y="91718"/>
                  </a:lnTo>
                  <a:lnTo>
                    <a:pt x="454517" y="91718"/>
                  </a:lnTo>
                  <a:close/>
                  <a:moveTo>
                    <a:pt x="371596" y="292096"/>
                  </a:moveTo>
                  <a:lnTo>
                    <a:pt x="376809" y="293236"/>
                  </a:lnTo>
                  <a:lnTo>
                    <a:pt x="377949" y="290304"/>
                  </a:lnTo>
                  <a:lnTo>
                    <a:pt x="380229" y="290304"/>
                  </a:lnTo>
                  <a:cubicBezTo>
                    <a:pt x="380229" y="290304"/>
                    <a:pt x="380392" y="294051"/>
                    <a:pt x="380392" y="294051"/>
                  </a:cubicBezTo>
                  <a:lnTo>
                    <a:pt x="379904" y="296658"/>
                  </a:lnTo>
                  <a:lnTo>
                    <a:pt x="381208" y="297309"/>
                  </a:lnTo>
                  <a:lnTo>
                    <a:pt x="383163" y="296658"/>
                  </a:lnTo>
                  <a:lnTo>
                    <a:pt x="384628" y="298450"/>
                  </a:lnTo>
                  <a:lnTo>
                    <a:pt x="384302" y="302522"/>
                  </a:lnTo>
                  <a:lnTo>
                    <a:pt x="385443" y="303989"/>
                  </a:lnTo>
                  <a:lnTo>
                    <a:pt x="389353" y="303500"/>
                  </a:lnTo>
                  <a:lnTo>
                    <a:pt x="398638" y="296658"/>
                  </a:lnTo>
                  <a:lnTo>
                    <a:pt x="406784" y="289979"/>
                  </a:lnTo>
                  <a:lnTo>
                    <a:pt x="414278" y="282159"/>
                  </a:lnTo>
                  <a:lnTo>
                    <a:pt x="421446" y="274013"/>
                  </a:lnTo>
                  <a:lnTo>
                    <a:pt x="430081" y="263261"/>
                  </a:lnTo>
                  <a:lnTo>
                    <a:pt x="434805" y="260166"/>
                  </a:lnTo>
                  <a:lnTo>
                    <a:pt x="437900" y="259840"/>
                  </a:lnTo>
                  <a:lnTo>
                    <a:pt x="440018" y="257234"/>
                  </a:lnTo>
                  <a:lnTo>
                    <a:pt x="440343" y="253161"/>
                  </a:lnTo>
                  <a:lnTo>
                    <a:pt x="442299" y="250554"/>
                  </a:lnTo>
                  <a:lnTo>
                    <a:pt x="447349" y="248600"/>
                  </a:lnTo>
                  <a:lnTo>
                    <a:pt x="450606" y="238662"/>
                  </a:lnTo>
                  <a:lnTo>
                    <a:pt x="455820" y="231006"/>
                  </a:lnTo>
                  <a:lnTo>
                    <a:pt x="455820" y="228725"/>
                  </a:lnTo>
                  <a:lnTo>
                    <a:pt x="458427" y="226281"/>
                  </a:lnTo>
                  <a:lnTo>
                    <a:pt x="454517" y="222534"/>
                  </a:lnTo>
                  <a:lnTo>
                    <a:pt x="450281" y="221720"/>
                  </a:lnTo>
                  <a:lnTo>
                    <a:pt x="447023" y="222208"/>
                  </a:lnTo>
                  <a:lnTo>
                    <a:pt x="450444" y="219276"/>
                  </a:lnTo>
                  <a:lnTo>
                    <a:pt x="453539" y="218299"/>
                  </a:lnTo>
                  <a:lnTo>
                    <a:pt x="464942" y="206080"/>
                  </a:lnTo>
                  <a:lnTo>
                    <a:pt x="469993" y="204288"/>
                  </a:lnTo>
                  <a:lnTo>
                    <a:pt x="478301" y="205592"/>
                  </a:lnTo>
                  <a:lnTo>
                    <a:pt x="482537" y="205917"/>
                  </a:lnTo>
                  <a:lnTo>
                    <a:pt x="481722" y="209176"/>
                  </a:lnTo>
                  <a:lnTo>
                    <a:pt x="482211" y="212760"/>
                  </a:lnTo>
                  <a:lnTo>
                    <a:pt x="486447" y="208687"/>
                  </a:lnTo>
                  <a:lnTo>
                    <a:pt x="489542" y="207058"/>
                  </a:lnTo>
                  <a:lnTo>
                    <a:pt x="483514" y="204614"/>
                  </a:lnTo>
                  <a:lnTo>
                    <a:pt x="484166" y="199564"/>
                  </a:lnTo>
                  <a:lnTo>
                    <a:pt x="487424" y="191581"/>
                  </a:lnTo>
                  <a:lnTo>
                    <a:pt x="490193" y="188323"/>
                  </a:lnTo>
                  <a:lnTo>
                    <a:pt x="494429" y="188323"/>
                  </a:lnTo>
                  <a:cubicBezTo>
                    <a:pt x="494429" y="188323"/>
                    <a:pt x="495569" y="190278"/>
                    <a:pt x="495569" y="190278"/>
                  </a:cubicBezTo>
                  <a:lnTo>
                    <a:pt x="497850" y="187997"/>
                  </a:lnTo>
                  <a:lnTo>
                    <a:pt x="500456" y="184088"/>
                  </a:lnTo>
                  <a:lnTo>
                    <a:pt x="507136" y="173499"/>
                  </a:lnTo>
                  <a:lnTo>
                    <a:pt x="507136" y="169915"/>
                  </a:lnTo>
                  <a:cubicBezTo>
                    <a:pt x="507136" y="169915"/>
                    <a:pt x="506810" y="166331"/>
                    <a:pt x="506810" y="166331"/>
                  </a:cubicBezTo>
                  <a:lnTo>
                    <a:pt x="508765" y="160303"/>
                  </a:lnTo>
                  <a:lnTo>
                    <a:pt x="512675" y="155742"/>
                  </a:lnTo>
                  <a:lnTo>
                    <a:pt x="517074" y="152972"/>
                  </a:lnTo>
                  <a:lnTo>
                    <a:pt x="516259" y="151831"/>
                  </a:lnTo>
                  <a:lnTo>
                    <a:pt x="510232" y="149877"/>
                  </a:lnTo>
                  <a:lnTo>
                    <a:pt x="507951" y="146944"/>
                  </a:lnTo>
                  <a:lnTo>
                    <a:pt x="509905" y="146293"/>
                  </a:lnTo>
                  <a:lnTo>
                    <a:pt x="510232" y="144826"/>
                  </a:lnTo>
                  <a:lnTo>
                    <a:pt x="504367" y="143686"/>
                  </a:lnTo>
                  <a:lnTo>
                    <a:pt x="498991" y="147270"/>
                  </a:lnTo>
                  <a:lnTo>
                    <a:pt x="489705" y="157045"/>
                  </a:lnTo>
                  <a:lnTo>
                    <a:pt x="483677" y="157533"/>
                  </a:lnTo>
                  <a:lnTo>
                    <a:pt x="480419" y="159163"/>
                  </a:lnTo>
                  <a:lnTo>
                    <a:pt x="475858" y="157208"/>
                  </a:lnTo>
                  <a:lnTo>
                    <a:pt x="465595" y="146456"/>
                  </a:lnTo>
                  <a:lnTo>
                    <a:pt x="462499" y="146944"/>
                  </a:lnTo>
                  <a:lnTo>
                    <a:pt x="458590" y="141406"/>
                  </a:lnTo>
                  <a:lnTo>
                    <a:pt x="457123" y="137984"/>
                  </a:lnTo>
                  <a:lnTo>
                    <a:pt x="459729" y="135215"/>
                  </a:lnTo>
                  <a:lnTo>
                    <a:pt x="460707" y="129513"/>
                  </a:lnTo>
                  <a:lnTo>
                    <a:pt x="456797" y="121531"/>
                  </a:lnTo>
                  <a:lnTo>
                    <a:pt x="456797" y="117458"/>
                  </a:lnTo>
                  <a:lnTo>
                    <a:pt x="455168" y="114688"/>
                  </a:lnTo>
                  <a:lnTo>
                    <a:pt x="455656" y="109638"/>
                  </a:lnTo>
                  <a:lnTo>
                    <a:pt x="456960" y="106217"/>
                  </a:lnTo>
                  <a:lnTo>
                    <a:pt x="454354" y="105728"/>
                  </a:lnTo>
                  <a:lnTo>
                    <a:pt x="453539" y="100026"/>
                  </a:lnTo>
                  <a:lnTo>
                    <a:pt x="452236" y="96931"/>
                  </a:lnTo>
                  <a:lnTo>
                    <a:pt x="450444" y="98234"/>
                  </a:lnTo>
                  <a:lnTo>
                    <a:pt x="446371" y="95791"/>
                  </a:lnTo>
                  <a:lnTo>
                    <a:pt x="445068" y="97745"/>
                  </a:lnTo>
                  <a:lnTo>
                    <a:pt x="448815" y="101493"/>
                  </a:lnTo>
                  <a:lnTo>
                    <a:pt x="448815" y="106380"/>
                  </a:lnTo>
                  <a:cubicBezTo>
                    <a:pt x="448815" y="106380"/>
                    <a:pt x="449304" y="108172"/>
                    <a:pt x="449304" y="108172"/>
                  </a:cubicBezTo>
                  <a:lnTo>
                    <a:pt x="445393" y="111919"/>
                  </a:lnTo>
                  <a:lnTo>
                    <a:pt x="445393" y="115340"/>
                  </a:lnTo>
                  <a:cubicBezTo>
                    <a:pt x="445393" y="115340"/>
                    <a:pt x="448815" y="119576"/>
                    <a:pt x="448815" y="119576"/>
                  </a:cubicBezTo>
                  <a:lnTo>
                    <a:pt x="448815" y="122508"/>
                  </a:lnTo>
                  <a:lnTo>
                    <a:pt x="444742" y="123811"/>
                  </a:lnTo>
                  <a:lnTo>
                    <a:pt x="441810" y="120553"/>
                  </a:lnTo>
                  <a:lnTo>
                    <a:pt x="441320" y="116317"/>
                  </a:lnTo>
                  <a:lnTo>
                    <a:pt x="436108" y="115666"/>
                  </a:lnTo>
                  <a:lnTo>
                    <a:pt x="436108" y="113222"/>
                  </a:lnTo>
                  <a:lnTo>
                    <a:pt x="432035" y="111430"/>
                  </a:lnTo>
                  <a:lnTo>
                    <a:pt x="428940" y="111919"/>
                  </a:lnTo>
                  <a:lnTo>
                    <a:pt x="428614" y="109312"/>
                  </a:lnTo>
                  <a:lnTo>
                    <a:pt x="432524" y="107031"/>
                  </a:lnTo>
                  <a:lnTo>
                    <a:pt x="433990" y="103610"/>
                  </a:lnTo>
                  <a:lnTo>
                    <a:pt x="429918" y="100352"/>
                  </a:lnTo>
                  <a:lnTo>
                    <a:pt x="432850" y="94651"/>
                  </a:lnTo>
                  <a:lnTo>
                    <a:pt x="436759" y="93673"/>
                  </a:lnTo>
                  <a:lnTo>
                    <a:pt x="437900" y="88460"/>
                  </a:lnTo>
                  <a:lnTo>
                    <a:pt x="436270" y="84550"/>
                  </a:lnTo>
                  <a:lnTo>
                    <a:pt x="437411" y="81781"/>
                  </a:lnTo>
                  <a:lnTo>
                    <a:pt x="435782" y="77545"/>
                  </a:lnTo>
                  <a:lnTo>
                    <a:pt x="436108" y="71843"/>
                  </a:lnTo>
                  <a:lnTo>
                    <a:pt x="430732" y="67933"/>
                  </a:lnTo>
                  <a:lnTo>
                    <a:pt x="431220" y="65327"/>
                  </a:lnTo>
                  <a:lnTo>
                    <a:pt x="434315" y="67119"/>
                  </a:lnTo>
                  <a:lnTo>
                    <a:pt x="438551" y="66142"/>
                  </a:lnTo>
                  <a:lnTo>
                    <a:pt x="439529" y="60602"/>
                  </a:lnTo>
                  <a:lnTo>
                    <a:pt x="441320" y="58810"/>
                  </a:lnTo>
                  <a:lnTo>
                    <a:pt x="441320" y="51642"/>
                  </a:lnTo>
                  <a:lnTo>
                    <a:pt x="439529" y="44963"/>
                  </a:lnTo>
                  <a:lnTo>
                    <a:pt x="440343" y="40727"/>
                  </a:lnTo>
                  <a:lnTo>
                    <a:pt x="438063" y="41705"/>
                  </a:lnTo>
                  <a:lnTo>
                    <a:pt x="432035" y="44311"/>
                  </a:lnTo>
                  <a:lnTo>
                    <a:pt x="427473" y="39750"/>
                  </a:lnTo>
                  <a:lnTo>
                    <a:pt x="430243" y="37306"/>
                  </a:lnTo>
                  <a:lnTo>
                    <a:pt x="427473" y="34700"/>
                  </a:lnTo>
                  <a:lnTo>
                    <a:pt x="425519" y="34374"/>
                  </a:lnTo>
                  <a:lnTo>
                    <a:pt x="427310" y="31442"/>
                  </a:lnTo>
                  <a:lnTo>
                    <a:pt x="431383" y="29650"/>
                  </a:lnTo>
                  <a:lnTo>
                    <a:pt x="430732" y="26880"/>
                  </a:lnTo>
                  <a:lnTo>
                    <a:pt x="426008" y="25740"/>
                  </a:lnTo>
                  <a:lnTo>
                    <a:pt x="422913" y="22808"/>
                  </a:lnTo>
                  <a:lnTo>
                    <a:pt x="419817" y="24111"/>
                  </a:lnTo>
                  <a:lnTo>
                    <a:pt x="419165" y="19712"/>
                  </a:lnTo>
                  <a:lnTo>
                    <a:pt x="421120" y="19712"/>
                  </a:lnTo>
                  <a:lnTo>
                    <a:pt x="422749" y="16780"/>
                  </a:lnTo>
                  <a:lnTo>
                    <a:pt x="420142" y="16454"/>
                  </a:lnTo>
                  <a:lnTo>
                    <a:pt x="417536" y="18246"/>
                  </a:lnTo>
                  <a:lnTo>
                    <a:pt x="417536" y="20852"/>
                  </a:lnTo>
                  <a:cubicBezTo>
                    <a:pt x="417536" y="20852"/>
                    <a:pt x="415418" y="24599"/>
                    <a:pt x="415418" y="24599"/>
                  </a:cubicBezTo>
                  <a:lnTo>
                    <a:pt x="412160" y="23133"/>
                  </a:lnTo>
                  <a:lnTo>
                    <a:pt x="413464" y="19061"/>
                  </a:lnTo>
                  <a:lnTo>
                    <a:pt x="411509" y="15640"/>
                  </a:lnTo>
                  <a:lnTo>
                    <a:pt x="410205" y="9123"/>
                  </a:lnTo>
                  <a:lnTo>
                    <a:pt x="410531" y="4725"/>
                  </a:lnTo>
                  <a:lnTo>
                    <a:pt x="410531" y="3095"/>
                  </a:lnTo>
                  <a:lnTo>
                    <a:pt x="411834" y="2607"/>
                  </a:lnTo>
                  <a:lnTo>
                    <a:pt x="409554" y="0"/>
                  </a:lnTo>
                  <a:lnTo>
                    <a:pt x="406947" y="1792"/>
                  </a:lnTo>
                  <a:lnTo>
                    <a:pt x="400105" y="1304"/>
                  </a:lnTo>
                  <a:lnTo>
                    <a:pt x="400105" y="2933"/>
                  </a:lnTo>
                  <a:cubicBezTo>
                    <a:pt x="400105" y="2933"/>
                    <a:pt x="403200" y="6517"/>
                    <a:pt x="403200" y="6517"/>
                  </a:cubicBezTo>
                  <a:lnTo>
                    <a:pt x="408576" y="19712"/>
                  </a:lnTo>
                  <a:lnTo>
                    <a:pt x="409391" y="24436"/>
                  </a:lnTo>
                  <a:lnTo>
                    <a:pt x="408576" y="32908"/>
                  </a:lnTo>
                  <a:lnTo>
                    <a:pt x="406622" y="35026"/>
                  </a:lnTo>
                  <a:lnTo>
                    <a:pt x="404666" y="35026"/>
                  </a:lnTo>
                  <a:lnTo>
                    <a:pt x="403688" y="36492"/>
                  </a:lnTo>
                  <a:lnTo>
                    <a:pt x="406622" y="47081"/>
                  </a:lnTo>
                  <a:lnTo>
                    <a:pt x="408087" y="48547"/>
                  </a:lnTo>
                  <a:lnTo>
                    <a:pt x="411997" y="45778"/>
                  </a:lnTo>
                  <a:lnTo>
                    <a:pt x="417210" y="45778"/>
                  </a:lnTo>
                  <a:lnTo>
                    <a:pt x="413627" y="46918"/>
                  </a:lnTo>
                  <a:lnTo>
                    <a:pt x="410042" y="51317"/>
                  </a:lnTo>
                  <a:lnTo>
                    <a:pt x="411346" y="57507"/>
                  </a:lnTo>
                  <a:lnTo>
                    <a:pt x="414441" y="64512"/>
                  </a:lnTo>
                  <a:lnTo>
                    <a:pt x="415581" y="77382"/>
                  </a:lnTo>
                  <a:lnTo>
                    <a:pt x="415581" y="85202"/>
                  </a:lnTo>
                  <a:cubicBezTo>
                    <a:pt x="415581" y="85202"/>
                    <a:pt x="415581" y="90578"/>
                    <a:pt x="415581" y="90578"/>
                  </a:cubicBezTo>
                  <a:lnTo>
                    <a:pt x="418188" y="89274"/>
                  </a:lnTo>
                  <a:lnTo>
                    <a:pt x="419328" y="84713"/>
                  </a:lnTo>
                  <a:lnTo>
                    <a:pt x="418024" y="81618"/>
                  </a:lnTo>
                  <a:lnTo>
                    <a:pt x="419654" y="80315"/>
                  </a:lnTo>
                  <a:lnTo>
                    <a:pt x="421446" y="83247"/>
                  </a:lnTo>
                  <a:lnTo>
                    <a:pt x="421446" y="87645"/>
                  </a:lnTo>
                  <a:lnTo>
                    <a:pt x="424215" y="87320"/>
                  </a:lnTo>
                  <a:lnTo>
                    <a:pt x="424704" y="85202"/>
                  </a:lnTo>
                  <a:lnTo>
                    <a:pt x="424052" y="83572"/>
                  </a:lnTo>
                  <a:lnTo>
                    <a:pt x="425519" y="83247"/>
                  </a:lnTo>
                  <a:lnTo>
                    <a:pt x="426008" y="86831"/>
                  </a:lnTo>
                  <a:lnTo>
                    <a:pt x="423238" y="91718"/>
                  </a:lnTo>
                  <a:lnTo>
                    <a:pt x="421935" y="95791"/>
                  </a:lnTo>
                  <a:lnTo>
                    <a:pt x="421609" y="98234"/>
                  </a:lnTo>
                  <a:lnTo>
                    <a:pt x="419817" y="98723"/>
                  </a:lnTo>
                  <a:lnTo>
                    <a:pt x="417862" y="95791"/>
                  </a:lnTo>
                  <a:lnTo>
                    <a:pt x="415744" y="95791"/>
                  </a:lnTo>
                  <a:lnTo>
                    <a:pt x="416884" y="103447"/>
                  </a:lnTo>
                  <a:lnTo>
                    <a:pt x="420305" y="113385"/>
                  </a:lnTo>
                  <a:lnTo>
                    <a:pt x="422423" y="114199"/>
                  </a:lnTo>
                  <a:lnTo>
                    <a:pt x="424215" y="113222"/>
                  </a:lnTo>
                  <a:lnTo>
                    <a:pt x="426008" y="116643"/>
                  </a:lnTo>
                  <a:lnTo>
                    <a:pt x="426496" y="119087"/>
                  </a:lnTo>
                  <a:lnTo>
                    <a:pt x="428777" y="120879"/>
                  </a:lnTo>
                  <a:lnTo>
                    <a:pt x="423727" y="124300"/>
                  </a:lnTo>
                  <a:lnTo>
                    <a:pt x="423727" y="126092"/>
                  </a:lnTo>
                  <a:cubicBezTo>
                    <a:pt x="423727" y="126092"/>
                    <a:pt x="425356" y="127884"/>
                    <a:pt x="425356" y="127884"/>
                  </a:cubicBezTo>
                  <a:lnTo>
                    <a:pt x="423727" y="131305"/>
                  </a:lnTo>
                  <a:lnTo>
                    <a:pt x="420795" y="140102"/>
                  </a:lnTo>
                  <a:lnTo>
                    <a:pt x="420795" y="144501"/>
                  </a:lnTo>
                  <a:cubicBezTo>
                    <a:pt x="420795" y="144501"/>
                    <a:pt x="419491" y="146130"/>
                    <a:pt x="419491" y="146130"/>
                  </a:cubicBezTo>
                  <a:lnTo>
                    <a:pt x="422097" y="148899"/>
                  </a:lnTo>
                  <a:lnTo>
                    <a:pt x="421120" y="150691"/>
                  </a:lnTo>
                  <a:lnTo>
                    <a:pt x="417699" y="151017"/>
                  </a:lnTo>
                  <a:lnTo>
                    <a:pt x="415418" y="154927"/>
                  </a:lnTo>
                  <a:lnTo>
                    <a:pt x="415418" y="157370"/>
                  </a:lnTo>
                  <a:cubicBezTo>
                    <a:pt x="415418" y="157370"/>
                    <a:pt x="418188" y="160303"/>
                    <a:pt x="418188" y="160303"/>
                  </a:cubicBezTo>
                  <a:lnTo>
                    <a:pt x="415255" y="161932"/>
                  </a:lnTo>
                  <a:lnTo>
                    <a:pt x="412160" y="162258"/>
                  </a:lnTo>
                  <a:lnTo>
                    <a:pt x="409879" y="167797"/>
                  </a:lnTo>
                  <a:lnTo>
                    <a:pt x="406459" y="185879"/>
                  </a:lnTo>
                  <a:lnTo>
                    <a:pt x="405969" y="190278"/>
                  </a:lnTo>
                  <a:lnTo>
                    <a:pt x="402386" y="192885"/>
                  </a:lnTo>
                  <a:lnTo>
                    <a:pt x="398638" y="193211"/>
                  </a:lnTo>
                  <a:lnTo>
                    <a:pt x="394240" y="191581"/>
                  </a:lnTo>
                  <a:lnTo>
                    <a:pt x="389515" y="192233"/>
                  </a:lnTo>
                  <a:lnTo>
                    <a:pt x="379904" y="196795"/>
                  </a:lnTo>
                  <a:lnTo>
                    <a:pt x="375505" y="201682"/>
                  </a:lnTo>
                  <a:lnTo>
                    <a:pt x="374202" y="207547"/>
                  </a:lnTo>
                  <a:lnTo>
                    <a:pt x="375342" y="215529"/>
                  </a:lnTo>
                  <a:lnTo>
                    <a:pt x="379741" y="219276"/>
                  </a:lnTo>
                  <a:lnTo>
                    <a:pt x="387072" y="223674"/>
                  </a:lnTo>
                  <a:lnTo>
                    <a:pt x="390493" y="230354"/>
                  </a:lnTo>
                  <a:lnTo>
                    <a:pt x="397336" y="232634"/>
                  </a:lnTo>
                  <a:lnTo>
                    <a:pt x="400105" y="235404"/>
                  </a:lnTo>
                  <a:lnTo>
                    <a:pt x="401245" y="246482"/>
                  </a:lnTo>
                  <a:lnTo>
                    <a:pt x="401734" y="247622"/>
                  </a:lnTo>
                  <a:lnTo>
                    <a:pt x="400431" y="248925"/>
                  </a:lnTo>
                  <a:lnTo>
                    <a:pt x="400431" y="254790"/>
                  </a:lnTo>
                  <a:lnTo>
                    <a:pt x="398313" y="259677"/>
                  </a:lnTo>
                  <a:lnTo>
                    <a:pt x="388213" y="272384"/>
                  </a:lnTo>
                  <a:lnTo>
                    <a:pt x="381045" y="279878"/>
                  </a:lnTo>
                  <a:lnTo>
                    <a:pt x="373551" y="286720"/>
                  </a:lnTo>
                  <a:lnTo>
                    <a:pt x="370944" y="289979"/>
                  </a:lnTo>
                  <a:lnTo>
                    <a:pt x="371759" y="292585"/>
                  </a:lnTo>
                  <a:lnTo>
                    <a:pt x="371759" y="292585"/>
                  </a:lnTo>
                  <a:close/>
                  <a:moveTo>
                    <a:pt x="354979" y="272384"/>
                  </a:moveTo>
                  <a:lnTo>
                    <a:pt x="354979" y="268638"/>
                  </a:lnTo>
                  <a:cubicBezTo>
                    <a:pt x="354979" y="268638"/>
                    <a:pt x="358074" y="264727"/>
                    <a:pt x="358074" y="264727"/>
                  </a:cubicBezTo>
                  <a:lnTo>
                    <a:pt x="362147" y="265868"/>
                  </a:lnTo>
                  <a:lnTo>
                    <a:pt x="361169" y="268311"/>
                  </a:lnTo>
                  <a:lnTo>
                    <a:pt x="357911" y="270104"/>
                  </a:lnTo>
                  <a:lnTo>
                    <a:pt x="355631" y="273525"/>
                  </a:lnTo>
                  <a:lnTo>
                    <a:pt x="354490" y="273525"/>
                  </a:lnTo>
                  <a:cubicBezTo>
                    <a:pt x="354490" y="273525"/>
                    <a:pt x="355142" y="272384"/>
                    <a:pt x="355142" y="272384"/>
                  </a:cubicBezTo>
                  <a:lnTo>
                    <a:pt x="355142" y="272384"/>
                  </a:lnTo>
                  <a:close/>
                  <a:moveTo>
                    <a:pt x="353350" y="279227"/>
                  </a:moveTo>
                  <a:lnTo>
                    <a:pt x="355468" y="276783"/>
                  </a:lnTo>
                  <a:lnTo>
                    <a:pt x="357749" y="276131"/>
                  </a:lnTo>
                  <a:lnTo>
                    <a:pt x="355631" y="279063"/>
                  </a:lnTo>
                  <a:lnTo>
                    <a:pt x="353350" y="279063"/>
                  </a:lnTo>
                  <a:close/>
                  <a:moveTo>
                    <a:pt x="349277" y="278086"/>
                  </a:moveTo>
                  <a:lnTo>
                    <a:pt x="351883" y="278086"/>
                  </a:lnTo>
                  <a:cubicBezTo>
                    <a:pt x="351883" y="278086"/>
                    <a:pt x="354164" y="276783"/>
                    <a:pt x="354164" y="276783"/>
                  </a:cubicBezTo>
                  <a:lnTo>
                    <a:pt x="354164" y="275479"/>
                  </a:lnTo>
                  <a:cubicBezTo>
                    <a:pt x="354164" y="275479"/>
                    <a:pt x="349114" y="278086"/>
                    <a:pt x="349114" y="278086"/>
                  </a:cubicBezTo>
                  <a:lnTo>
                    <a:pt x="349114" y="278086"/>
                  </a:lnTo>
                  <a:close/>
                  <a:moveTo>
                    <a:pt x="139613" y="515282"/>
                  </a:moveTo>
                  <a:lnTo>
                    <a:pt x="142546" y="513490"/>
                  </a:lnTo>
                  <a:lnTo>
                    <a:pt x="142057" y="515770"/>
                  </a:lnTo>
                  <a:lnTo>
                    <a:pt x="139776" y="515282"/>
                  </a:lnTo>
                  <a:lnTo>
                    <a:pt x="139776" y="515282"/>
                  </a:lnTo>
                  <a:close/>
                  <a:moveTo>
                    <a:pt x="115339" y="525382"/>
                  </a:moveTo>
                  <a:lnTo>
                    <a:pt x="111593" y="529781"/>
                  </a:lnTo>
                  <a:lnTo>
                    <a:pt x="109149" y="529781"/>
                  </a:lnTo>
                  <a:cubicBezTo>
                    <a:pt x="109149" y="529781"/>
                    <a:pt x="108498" y="527337"/>
                    <a:pt x="108498" y="527337"/>
                  </a:cubicBezTo>
                  <a:lnTo>
                    <a:pt x="113548" y="522287"/>
                  </a:lnTo>
                  <a:lnTo>
                    <a:pt x="115503" y="520984"/>
                  </a:lnTo>
                  <a:lnTo>
                    <a:pt x="115503" y="517725"/>
                  </a:lnTo>
                  <a:lnTo>
                    <a:pt x="119250" y="517074"/>
                  </a:lnTo>
                  <a:lnTo>
                    <a:pt x="120553" y="512513"/>
                  </a:lnTo>
                  <a:lnTo>
                    <a:pt x="120227" y="507625"/>
                  </a:lnTo>
                  <a:lnTo>
                    <a:pt x="120878" y="504041"/>
                  </a:lnTo>
                  <a:lnTo>
                    <a:pt x="125277" y="502738"/>
                  </a:lnTo>
                  <a:lnTo>
                    <a:pt x="129676" y="507299"/>
                  </a:lnTo>
                  <a:lnTo>
                    <a:pt x="131957" y="512675"/>
                  </a:lnTo>
                  <a:lnTo>
                    <a:pt x="132771" y="514304"/>
                  </a:lnTo>
                  <a:lnTo>
                    <a:pt x="132445" y="515445"/>
                  </a:lnTo>
                  <a:lnTo>
                    <a:pt x="129512" y="515933"/>
                  </a:lnTo>
                  <a:lnTo>
                    <a:pt x="128372" y="514793"/>
                  </a:lnTo>
                  <a:lnTo>
                    <a:pt x="126092" y="515770"/>
                  </a:lnTo>
                  <a:lnTo>
                    <a:pt x="127721" y="516097"/>
                  </a:lnTo>
                  <a:lnTo>
                    <a:pt x="129676" y="518051"/>
                  </a:lnTo>
                  <a:lnTo>
                    <a:pt x="131957" y="519192"/>
                  </a:lnTo>
                  <a:lnTo>
                    <a:pt x="132282" y="521147"/>
                  </a:lnTo>
                  <a:lnTo>
                    <a:pt x="130653" y="523102"/>
                  </a:lnTo>
                  <a:lnTo>
                    <a:pt x="128861" y="522450"/>
                  </a:lnTo>
                  <a:lnTo>
                    <a:pt x="123485" y="524242"/>
                  </a:lnTo>
                  <a:lnTo>
                    <a:pt x="120878" y="526197"/>
                  </a:lnTo>
                  <a:lnTo>
                    <a:pt x="118272" y="526197"/>
                  </a:lnTo>
                  <a:cubicBezTo>
                    <a:pt x="118272" y="526197"/>
                    <a:pt x="116806" y="525056"/>
                    <a:pt x="116806" y="525056"/>
                  </a:cubicBezTo>
                  <a:lnTo>
                    <a:pt x="115177" y="525382"/>
                  </a:lnTo>
                  <a:lnTo>
                    <a:pt x="115177" y="525382"/>
                  </a:lnTo>
                  <a:close/>
                  <a:moveTo>
                    <a:pt x="111593" y="482211"/>
                  </a:moveTo>
                  <a:lnTo>
                    <a:pt x="108171" y="478465"/>
                  </a:lnTo>
                  <a:lnTo>
                    <a:pt x="108823" y="473740"/>
                  </a:lnTo>
                  <a:lnTo>
                    <a:pt x="111593" y="472111"/>
                  </a:lnTo>
                  <a:lnTo>
                    <a:pt x="109149" y="471459"/>
                  </a:lnTo>
                  <a:lnTo>
                    <a:pt x="106054" y="470970"/>
                  </a:lnTo>
                  <a:lnTo>
                    <a:pt x="112082" y="464291"/>
                  </a:lnTo>
                  <a:lnTo>
                    <a:pt x="117294" y="463477"/>
                  </a:lnTo>
                  <a:lnTo>
                    <a:pt x="121530" y="463477"/>
                  </a:lnTo>
                  <a:cubicBezTo>
                    <a:pt x="121530" y="463477"/>
                    <a:pt x="123322" y="462011"/>
                    <a:pt x="123322" y="462011"/>
                  </a:cubicBezTo>
                  <a:lnTo>
                    <a:pt x="121530" y="459567"/>
                  </a:lnTo>
                  <a:lnTo>
                    <a:pt x="117620" y="455820"/>
                  </a:lnTo>
                  <a:lnTo>
                    <a:pt x="117294" y="452725"/>
                  </a:lnTo>
                  <a:lnTo>
                    <a:pt x="121693" y="445394"/>
                  </a:lnTo>
                  <a:lnTo>
                    <a:pt x="123485" y="444254"/>
                  </a:lnTo>
                  <a:lnTo>
                    <a:pt x="125277" y="441158"/>
                  </a:lnTo>
                  <a:lnTo>
                    <a:pt x="127232" y="442136"/>
                  </a:lnTo>
                  <a:lnTo>
                    <a:pt x="129187" y="446534"/>
                  </a:lnTo>
                  <a:lnTo>
                    <a:pt x="131142" y="444090"/>
                  </a:lnTo>
                  <a:lnTo>
                    <a:pt x="131630" y="435293"/>
                  </a:lnTo>
                  <a:lnTo>
                    <a:pt x="133911" y="432198"/>
                  </a:lnTo>
                  <a:lnTo>
                    <a:pt x="136029" y="432198"/>
                  </a:lnTo>
                  <a:lnTo>
                    <a:pt x="143523" y="423890"/>
                  </a:lnTo>
                  <a:lnTo>
                    <a:pt x="145803" y="425519"/>
                  </a:lnTo>
                  <a:lnTo>
                    <a:pt x="148084" y="423075"/>
                  </a:lnTo>
                  <a:lnTo>
                    <a:pt x="148084" y="416885"/>
                  </a:lnTo>
                  <a:cubicBezTo>
                    <a:pt x="148084" y="416885"/>
                    <a:pt x="151017" y="414930"/>
                    <a:pt x="151017" y="414930"/>
                  </a:cubicBezTo>
                  <a:lnTo>
                    <a:pt x="154275" y="411997"/>
                  </a:lnTo>
                  <a:lnTo>
                    <a:pt x="156555" y="413790"/>
                  </a:lnTo>
                  <a:lnTo>
                    <a:pt x="157207" y="416885"/>
                  </a:lnTo>
                  <a:lnTo>
                    <a:pt x="158348" y="410857"/>
                  </a:lnTo>
                  <a:lnTo>
                    <a:pt x="162746" y="405155"/>
                  </a:lnTo>
                  <a:lnTo>
                    <a:pt x="166656" y="404015"/>
                  </a:lnTo>
                  <a:lnTo>
                    <a:pt x="172846" y="398965"/>
                  </a:lnTo>
                  <a:lnTo>
                    <a:pt x="175779" y="395218"/>
                  </a:lnTo>
                  <a:lnTo>
                    <a:pt x="183762" y="388213"/>
                  </a:lnTo>
                  <a:lnTo>
                    <a:pt x="187671" y="387887"/>
                  </a:lnTo>
                  <a:lnTo>
                    <a:pt x="189952" y="389679"/>
                  </a:lnTo>
                  <a:lnTo>
                    <a:pt x="194514" y="388538"/>
                  </a:lnTo>
                  <a:lnTo>
                    <a:pt x="198749" y="387235"/>
                  </a:lnTo>
                  <a:lnTo>
                    <a:pt x="200704" y="388050"/>
                  </a:lnTo>
                  <a:lnTo>
                    <a:pt x="205103" y="392122"/>
                  </a:lnTo>
                  <a:lnTo>
                    <a:pt x="204451" y="386909"/>
                  </a:lnTo>
                  <a:lnTo>
                    <a:pt x="202659" y="382837"/>
                  </a:lnTo>
                  <a:lnTo>
                    <a:pt x="203473" y="379904"/>
                  </a:lnTo>
                  <a:lnTo>
                    <a:pt x="212434" y="374365"/>
                  </a:lnTo>
                  <a:lnTo>
                    <a:pt x="217483" y="373225"/>
                  </a:lnTo>
                  <a:lnTo>
                    <a:pt x="225792" y="365406"/>
                  </a:lnTo>
                  <a:lnTo>
                    <a:pt x="235404" y="360681"/>
                  </a:lnTo>
                  <a:lnTo>
                    <a:pt x="239477" y="360681"/>
                  </a:lnTo>
                  <a:cubicBezTo>
                    <a:pt x="239477" y="360681"/>
                    <a:pt x="240128" y="357097"/>
                    <a:pt x="240128" y="357097"/>
                  </a:cubicBezTo>
                  <a:lnTo>
                    <a:pt x="246645" y="353839"/>
                  </a:lnTo>
                  <a:lnTo>
                    <a:pt x="252020" y="353187"/>
                  </a:lnTo>
                  <a:lnTo>
                    <a:pt x="262283" y="345856"/>
                  </a:lnTo>
                  <a:lnTo>
                    <a:pt x="271569" y="334942"/>
                  </a:lnTo>
                  <a:lnTo>
                    <a:pt x="272058" y="330869"/>
                  </a:lnTo>
                  <a:lnTo>
                    <a:pt x="274502" y="327774"/>
                  </a:lnTo>
                  <a:lnTo>
                    <a:pt x="274502" y="322234"/>
                  </a:lnTo>
                  <a:cubicBezTo>
                    <a:pt x="274502" y="322234"/>
                    <a:pt x="278737" y="317673"/>
                    <a:pt x="278737" y="317673"/>
                  </a:cubicBezTo>
                  <a:lnTo>
                    <a:pt x="281507" y="316370"/>
                  </a:lnTo>
                  <a:lnTo>
                    <a:pt x="281833" y="311320"/>
                  </a:lnTo>
                  <a:lnTo>
                    <a:pt x="283136" y="306758"/>
                  </a:lnTo>
                  <a:lnTo>
                    <a:pt x="287209" y="303663"/>
                  </a:lnTo>
                  <a:lnTo>
                    <a:pt x="292422" y="304152"/>
                  </a:lnTo>
                  <a:lnTo>
                    <a:pt x="296820" y="302360"/>
                  </a:lnTo>
                  <a:lnTo>
                    <a:pt x="298613" y="298613"/>
                  </a:lnTo>
                  <a:lnTo>
                    <a:pt x="304477" y="291445"/>
                  </a:lnTo>
                  <a:lnTo>
                    <a:pt x="306758" y="290630"/>
                  </a:lnTo>
                  <a:lnTo>
                    <a:pt x="311319" y="284440"/>
                  </a:lnTo>
                  <a:lnTo>
                    <a:pt x="315881" y="272873"/>
                  </a:lnTo>
                  <a:lnTo>
                    <a:pt x="316695" y="266520"/>
                  </a:lnTo>
                  <a:lnTo>
                    <a:pt x="321256" y="262773"/>
                  </a:lnTo>
                  <a:lnTo>
                    <a:pt x="324678" y="261469"/>
                  </a:lnTo>
                  <a:lnTo>
                    <a:pt x="331520" y="256908"/>
                  </a:lnTo>
                  <a:lnTo>
                    <a:pt x="335592" y="257397"/>
                  </a:lnTo>
                  <a:lnTo>
                    <a:pt x="332497" y="261633"/>
                  </a:lnTo>
                  <a:lnTo>
                    <a:pt x="332009" y="264890"/>
                  </a:lnTo>
                  <a:lnTo>
                    <a:pt x="334127" y="267497"/>
                  </a:lnTo>
                  <a:lnTo>
                    <a:pt x="335919" y="268474"/>
                  </a:lnTo>
                  <a:lnTo>
                    <a:pt x="338525" y="266520"/>
                  </a:lnTo>
                  <a:lnTo>
                    <a:pt x="340154" y="268149"/>
                  </a:lnTo>
                  <a:lnTo>
                    <a:pt x="339828" y="270267"/>
                  </a:lnTo>
                  <a:lnTo>
                    <a:pt x="341132" y="270755"/>
                  </a:lnTo>
                  <a:lnTo>
                    <a:pt x="340317" y="273199"/>
                  </a:lnTo>
                  <a:lnTo>
                    <a:pt x="337873" y="276131"/>
                  </a:lnTo>
                  <a:lnTo>
                    <a:pt x="335756" y="277760"/>
                  </a:lnTo>
                  <a:lnTo>
                    <a:pt x="338200" y="285091"/>
                  </a:lnTo>
                  <a:lnTo>
                    <a:pt x="341458" y="286720"/>
                  </a:lnTo>
                  <a:lnTo>
                    <a:pt x="344878" y="281996"/>
                  </a:lnTo>
                  <a:lnTo>
                    <a:pt x="348137" y="279878"/>
                  </a:lnTo>
                  <a:lnTo>
                    <a:pt x="351232" y="280856"/>
                  </a:lnTo>
                  <a:lnTo>
                    <a:pt x="353513" y="280856"/>
                  </a:lnTo>
                  <a:cubicBezTo>
                    <a:pt x="353513" y="280856"/>
                    <a:pt x="353024" y="283788"/>
                    <a:pt x="353024" y="283788"/>
                  </a:cubicBezTo>
                  <a:lnTo>
                    <a:pt x="355468" y="286395"/>
                  </a:lnTo>
                  <a:lnTo>
                    <a:pt x="360029" y="283136"/>
                  </a:lnTo>
                  <a:lnTo>
                    <a:pt x="357911" y="282485"/>
                  </a:lnTo>
                  <a:lnTo>
                    <a:pt x="356771" y="281181"/>
                  </a:lnTo>
                  <a:lnTo>
                    <a:pt x="359866" y="275317"/>
                  </a:lnTo>
                  <a:lnTo>
                    <a:pt x="363613" y="276131"/>
                  </a:lnTo>
                  <a:lnTo>
                    <a:pt x="363613" y="279063"/>
                  </a:lnTo>
                  <a:lnTo>
                    <a:pt x="365242" y="279063"/>
                  </a:lnTo>
                  <a:lnTo>
                    <a:pt x="362310" y="284440"/>
                  </a:lnTo>
                  <a:lnTo>
                    <a:pt x="356934" y="287698"/>
                  </a:lnTo>
                  <a:lnTo>
                    <a:pt x="360518" y="287209"/>
                  </a:lnTo>
                  <a:lnTo>
                    <a:pt x="364428" y="286069"/>
                  </a:lnTo>
                  <a:lnTo>
                    <a:pt x="359704" y="292585"/>
                  </a:lnTo>
                  <a:lnTo>
                    <a:pt x="358074" y="292096"/>
                  </a:lnTo>
                  <a:lnTo>
                    <a:pt x="356771" y="296332"/>
                  </a:lnTo>
                  <a:lnTo>
                    <a:pt x="356445" y="300731"/>
                  </a:lnTo>
                  <a:lnTo>
                    <a:pt x="358563" y="305781"/>
                  </a:lnTo>
                  <a:lnTo>
                    <a:pt x="359051" y="310831"/>
                  </a:lnTo>
                  <a:lnTo>
                    <a:pt x="361659" y="311645"/>
                  </a:lnTo>
                  <a:lnTo>
                    <a:pt x="357097" y="314415"/>
                  </a:lnTo>
                  <a:lnTo>
                    <a:pt x="343738" y="325818"/>
                  </a:lnTo>
                  <a:lnTo>
                    <a:pt x="343087" y="328751"/>
                  </a:lnTo>
                  <a:lnTo>
                    <a:pt x="334127" y="338036"/>
                  </a:lnTo>
                  <a:lnTo>
                    <a:pt x="334615" y="339992"/>
                  </a:lnTo>
                  <a:lnTo>
                    <a:pt x="330542" y="339666"/>
                  </a:lnTo>
                  <a:lnTo>
                    <a:pt x="325167" y="345205"/>
                  </a:lnTo>
                  <a:lnTo>
                    <a:pt x="324515" y="350092"/>
                  </a:lnTo>
                  <a:lnTo>
                    <a:pt x="318813" y="356934"/>
                  </a:lnTo>
                  <a:lnTo>
                    <a:pt x="317673" y="359867"/>
                  </a:lnTo>
                  <a:lnTo>
                    <a:pt x="310179" y="364591"/>
                  </a:lnTo>
                  <a:lnTo>
                    <a:pt x="303174" y="366872"/>
                  </a:lnTo>
                  <a:lnTo>
                    <a:pt x="299427" y="368338"/>
                  </a:lnTo>
                  <a:lnTo>
                    <a:pt x="297635" y="376483"/>
                  </a:lnTo>
                  <a:lnTo>
                    <a:pt x="298124" y="382348"/>
                  </a:lnTo>
                  <a:lnTo>
                    <a:pt x="296658" y="384629"/>
                  </a:lnTo>
                  <a:lnTo>
                    <a:pt x="300078" y="385281"/>
                  </a:lnTo>
                  <a:lnTo>
                    <a:pt x="302359" y="388701"/>
                  </a:lnTo>
                  <a:lnTo>
                    <a:pt x="301708" y="395543"/>
                  </a:lnTo>
                  <a:lnTo>
                    <a:pt x="299264" y="397336"/>
                  </a:lnTo>
                  <a:lnTo>
                    <a:pt x="297635" y="396033"/>
                  </a:lnTo>
                  <a:lnTo>
                    <a:pt x="298124" y="390819"/>
                  </a:lnTo>
                  <a:lnTo>
                    <a:pt x="296658" y="389516"/>
                  </a:lnTo>
                  <a:lnTo>
                    <a:pt x="295354" y="391145"/>
                  </a:lnTo>
                  <a:lnTo>
                    <a:pt x="295354" y="394892"/>
                  </a:lnTo>
                  <a:cubicBezTo>
                    <a:pt x="295354" y="394892"/>
                    <a:pt x="294051" y="397336"/>
                    <a:pt x="294051" y="397336"/>
                  </a:cubicBezTo>
                  <a:lnTo>
                    <a:pt x="290141" y="395870"/>
                  </a:lnTo>
                  <a:lnTo>
                    <a:pt x="284765" y="395870"/>
                  </a:lnTo>
                  <a:cubicBezTo>
                    <a:pt x="284765" y="395870"/>
                    <a:pt x="289327" y="393915"/>
                    <a:pt x="289327" y="393915"/>
                  </a:cubicBezTo>
                  <a:lnTo>
                    <a:pt x="289327" y="391960"/>
                  </a:lnTo>
                  <a:lnTo>
                    <a:pt x="285905" y="390656"/>
                  </a:lnTo>
                  <a:lnTo>
                    <a:pt x="282647" y="393100"/>
                  </a:lnTo>
                  <a:lnTo>
                    <a:pt x="282647" y="395381"/>
                  </a:lnTo>
                  <a:cubicBezTo>
                    <a:pt x="282647" y="395381"/>
                    <a:pt x="279390" y="396521"/>
                    <a:pt x="279390" y="396521"/>
                  </a:cubicBezTo>
                  <a:lnTo>
                    <a:pt x="277597" y="396033"/>
                  </a:lnTo>
                  <a:lnTo>
                    <a:pt x="275805" y="390819"/>
                  </a:lnTo>
                  <a:lnTo>
                    <a:pt x="271569" y="389027"/>
                  </a:lnTo>
                  <a:lnTo>
                    <a:pt x="274828" y="392449"/>
                  </a:lnTo>
                  <a:lnTo>
                    <a:pt x="275154" y="396358"/>
                  </a:lnTo>
                  <a:lnTo>
                    <a:pt x="272058" y="400594"/>
                  </a:lnTo>
                  <a:lnTo>
                    <a:pt x="269288" y="401245"/>
                  </a:lnTo>
                  <a:lnTo>
                    <a:pt x="265054" y="401245"/>
                  </a:lnTo>
                  <a:cubicBezTo>
                    <a:pt x="265054" y="401245"/>
                    <a:pt x="263587" y="405318"/>
                    <a:pt x="263587" y="405318"/>
                  </a:cubicBezTo>
                  <a:lnTo>
                    <a:pt x="260655" y="405318"/>
                  </a:lnTo>
                  <a:lnTo>
                    <a:pt x="257233" y="402549"/>
                  </a:lnTo>
                  <a:lnTo>
                    <a:pt x="256093" y="407110"/>
                  </a:lnTo>
                  <a:lnTo>
                    <a:pt x="252183" y="408902"/>
                  </a:lnTo>
                  <a:lnTo>
                    <a:pt x="247785" y="414115"/>
                  </a:lnTo>
                  <a:lnTo>
                    <a:pt x="247785" y="418514"/>
                  </a:lnTo>
                  <a:cubicBezTo>
                    <a:pt x="247785" y="418514"/>
                    <a:pt x="244852" y="422586"/>
                    <a:pt x="244852" y="422586"/>
                  </a:cubicBezTo>
                  <a:lnTo>
                    <a:pt x="239965" y="430895"/>
                  </a:lnTo>
                  <a:lnTo>
                    <a:pt x="238987" y="436271"/>
                  </a:lnTo>
                  <a:lnTo>
                    <a:pt x="236381" y="440670"/>
                  </a:lnTo>
                  <a:lnTo>
                    <a:pt x="225304" y="448652"/>
                  </a:lnTo>
                  <a:lnTo>
                    <a:pt x="221556" y="452888"/>
                  </a:lnTo>
                  <a:lnTo>
                    <a:pt x="219764" y="460381"/>
                  </a:lnTo>
                  <a:lnTo>
                    <a:pt x="215692" y="467713"/>
                  </a:lnTo>
                  <a:lnTo>
                    <a:pt x="210316" y="474066"/>
                  </a:lnTo>
                  <a:lnTo>
                    <a:pt x="211456" y="474881"/>
                  </a:lnTo>
                  <a:lnTo>
                    <a:pt x="210641" y="476509"/>
                  </a:lnTo>
                  <a:lnTo>
                    <a:pt x="208035" y="478138"/>
                  </a:lnTo>
                  <a:lnTo>
                    <a:pt x="212271" y="477324"/>
                  </a:lnTo>
                  <a:lnTo>
                    <a:pt x="212759" y="478790"/>
                  </a:lnTo>
                  <a:lnTo>
                    <a:pt x="210478" y="480419"/>
                  </a:lnTo>
                  <a:lnTo>
                    <a:pt x="203800" y="480419"/>
                  </a:lnTo>
                  <a:cubicBezTo>
                    <a:pt x="203800" y="480419"/>
                    <a:pt x="196305" y="483515"/>
                    <a:pt x="196305" y="483515"/>
                  </a:cubicBezTo>
                  <a:lnTo>
                    <a:pt x="193047" y="488402"/>
                  </a:lnTo>
                  <a:lnTo>
                    <a:pt x="191255" y="494104"/>
                  </a:lnTo>
                  <a:lnTo>
                    <a:pt x="185228" y="496547"/>
                  </a:lnTo>
                  <a:lnTo>
                    <a:pt x="186205" y="493126"/>
                  </a:lnTo>
                  <a:lnTo>
                    <a:pt x="183110" y="490520"/>
                  </a:lnTo>
                  <a:lnTo>
                    <a:pt x="184250" y="494756"/>
                  </a:lnTo>
                  <a:lnTo>
                    <a:pt x="183762" y="497362"/>
                  </a:lnTo>
                  <a:lnTo>
                    <a:pt x="179037" y="499317"/>
                  </a:lnTo>
                  <a:lnTo>
                    <a:pt x="171706" y="505670"/>
                  </a:lnTo>
                  <a:lnTo>
                    <a:pt x="162909" y="509254"/>
                  </a:lnTo>
                  <a:lnTo>
                    <a:pt x="156719" y="510069"/>
                  </a:lnTo>
                  <a:lnTo>
                    <a:pt x="152646" y="508929"/>
                  </a:lnTo>
                  <a:lnTo>
                    <a:pt x="152646" y="506322"/>
                  </a:lnTo>
                  <a:lnTo>
                    <a:pt x="145966" y="509580"/>
                  </a:lnTo>
                  <a:lnTo>
                    <a:pt x="143523" y="509091"/>
                  </a:lnTo>
                  <a:lnTo>
                    <a:pt x="148573" y="506159"/>
                  </a:lnTo>
                  <a:lnTo>
                    <a:pt x="145152" y="503715"/>
                  </a:lnTo>
                  <a:lnTo>
                    <a:pt x="140265" y="499480"/>
                  </a:lnTo>
                  <a:lnTo>
                    <a:pt x="139613" y="494756"/>
                  </a:lnTo>
                  <a:lnTo>
                    <a:pt x="137821" y="492638"/>
                  </a:lnTo>
                  <a:lnTo>
                    <a:pt x="133748" y="492638"/>
                  </a:lnTo>
                  <a:cubicBezTo>
                    <a:pt x="133748" y="492638"/>
                    <a:pt x="131142" y="490357"/>
                    <a:pt x="131142" y="490357"/>
                  </a:cubicBezTo>
                  <a:lnTo>
                    <a:pt x="132445" y="488565"/>
                  </a:lnTo>
                  <a:lnTo>
                    <a:pt x="130816" y="484492"/>
                  </a:lnTo>
                  <a:lnTo>
                    <a:pt x="126906" y="482700"/>
                  </a:lnTo>
                  <a:lnTo>
                    <a:pt x="124300" y="483026"/>
                  </a:lnTo>
                  <a:lnTo>
                    <a:pt x="123648" y="485958"/>
                  </a:lnTo>
                  <a:lnTo>
                    <a:pt x="121693" y="485633"/>
                  </a:lnTo>
                  <a:lnTo>
                    <a:pt x="121041" y="484166"/>
                  </a:lnTo>
                  <a:lnTo>
                    <a:pt x="114525" y="483677"/>
                  </a:lnTo>
                  <a:lnTo>
                    <a:pt x="112244" y="482537"/>
                  </a:lnTo>
                  <a:close/>
                </a:path>
              </a:pathLst>
            </a:custGeom>
            <a:solidFill>
              <a:schemeClr val="bg2"/>
            </a:solidFill>
            <a:ln w="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1" name="Forma livre: Forma 80">
              <a:extLst>
                <a:ext uri="{FF2B5EF4-FFF2-40B4-BE49-F238E27FC236}">
                  <a16:creationId xmlns:a16="http://schemas.microsoft.com/office/drawing/2014/main" id="{DB8F49FE-E9CD-2CB3-3BAA-833E94881972}"/>
                </a:ext>
              </a:extLst>
            </p:cNvPr>
            <p:cNvSpPr/>
            <p:nvPr/>
          </p:nvSpPr>
          <p:spPr>
            <a:xfrm>
              <a:off x="7720383" y="6583807"/>
              <a:ext cx="9427" cy="9764"/>
            </a:xfrm>
            <a:custGeom>
              <a:avLst/>
              <a:gdLst>
                <a:gd name="connsiteX0" fmla="*/ 0 w 9122"/>
                <a:gd name="connsiteY0" fmla="*/ 977 h 9448"/>
                <a:gd name="connsiteX1" fmla="*/ 977 w 9122"/>
                <a:gd name="connsiteY1" fmla="*/ 4725 h 9448"/>
                <a:gd name="connsiteX2" fmla="*/ 1466 w 9122"/>
                <a:gd name="connsiteY2" fmla="*/ 7331 h 9448"/>
                <a:gd name="connsiteX3" fmla="*/ 5213 w 9122"/>
                <a:gd name="connsiteY3" fmla="*/ 7494 h 9448"/>
                <a:gd name="connsiteX4" fmla="*/ 7331 w 9122"/>
                <a:gd name="connsiteY4" fmla="*/ 9449 h 9448"/>
                <a:gd name="connsiteX5" fmla="*/ 9123 w 9122"/>
                <a:gd name="connsiteY5" fmla="*/ 9449 h 9448"/>
                <a:gd name="connsiteX6" fmla="*/ 4236 w 9122"/>
                <a:gd name="connsiteY6" fmla="*/ 2280 h 9448"/>
                <a:gd name="connsiteX7" fmla="*/ 1466 w 9122"/>
                <a:gd name="connsiteY7" fmla="*/ 0 h 9448"/>
                <a:gd name="connsiteX8" fmla="*/ 0 w 9122"/>
                <a:gd name="connsiteY8" fmla="*/ 977 h 94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9122" h="9448">
                  <a:moveTo>
                    <a:pt x="0" y="977"/>
                  </a:moveTo>
                  <a:lnTo>
                    <a:pt x="977" y="4725"/>
                  </a:lnTo>
                  <a:lnTo>
                    <a:pt x="1466" y="7331"/>
                  </a:lnTo>
                  <a:lnTo>
                    <a:pt x="5213" y="7494"/>
                  </a:lnTo>
                  <a:lnTo>
                    <a:pt x="7331" y="9449"/>
                  </a:lnTo>
                  <a:lnTo>
                    <a:pt x="9123" y="9449"/>
                  </a:lnTo>
                  <a:lnTo>
                    <a:pt x="4236" y="2280"/>
                  </a:lnTo>
                  <a:lnTo>
                    <a:pt x="1466" y="0"/>
                  </a:lnTo>
                  <a:lnTo>
                    <a:pt x="0" y="977"/>
                  </a:lnTo>
                  <a:close/>
                </a:path>
              </a:pathLst>
            </a:custGeom>
            <a:solidFill>
              <a:schemeClr val="bg2"/>
            </a:solidFill>
            <a:ln w="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2" name="Forma livre: Forma 81">
              <a:extLst>
                <a:ext uri="{FF2B5EF4-FFF2-40B4-BE49-F238E27FC236}">
                  <a16:creationId xmlns:a16="http://schemas.microsoft.com/office/drawing/2014/main" id="{709F3001-E41C-06B4-9D9C-F01DEFB484F8}"/>
                </a:ext>
              </a:extLst>
            </p:cNvPr>
            <p:cNvSpPr/>
            <p:nvPr/>
          </p:nvSpPr>
          <p:spPr>
            <a:xfrm>
              <a:off x="7642437" y="6417813"/>
              <a:ext cx="42761" cy="34175"/>
            </a:xfrm>
            <a:custGeom>
              <a:avLst/>
              <a:gdLst>
                <a:gd name="connsiteX0" fmla="*/ 14174 w 41379"/>
                <a:gd name="connsiteY0" fmla="*/ 9612 h 33070"/>
                <a:gd name="connsiteX1" fmla="*/ 16128 w 41379"/>
                <a:gd name="connsiteY1" fmla="*/ 6842 h 33070"/>
                <a:gd name="connsiteX2" fmla="*/ 20527 w 41379"/>
                <a:gd name="connsiteY2" fmla="*/ 5702 h 33070"/>
                <a:gd name="connsiteX3" fmla="*/ 20852 w 41379"/>
                <a:gd name="connsiteY3" fmla="*/ 7494 h 33070"/>
                <a:gd name="connsiteX4" fmla="*/ 17431 w 41379"/>
                <a:gd name="connsiteY4" fmla="*/ 10752 h 33070"/>
                <a:gd name="connsiteX5" fmla="*/ 14988 w 41379"/>
                <a:gd name="connsiteY5" fmla="*/ 10752 h 33070"/>
                <a:gd name="connsiteX6" fmla="*/ 14174 w 41379"/>
                <a:gd name="connsiteY6" fmla="*/ 9449 h 33070"/>
                <a:gd name="connsiteX7" fmla="*/ 14174 w 41379"/>
                <a:gd name="connsiteY7" fmla="*/ 9449 h 33070"/>
                <a:gd name="connsiteX8" fmla="*/ 1304 w 41379"/>
                <a:gd name="connsiteY8" fmla="*/ 30790 h 33070"/>
                <a:gd name="connsiteX9" fmla="*/ 4725 w 41379"/>
                <a:gd name="connsiteY9" fmla="*/ 29975 h 33070"/>
                <a:gd name="connsiteX10" fmla="*/ 9612 w 41379"/>
                <a:gd name="connsiteY10" fmla="*/ 26229 h 33070"/>
                <a:gd name="connsiteX11" fmla="*/ 13522 w 41379"/>
                <a:gd name="connsiteY11" fmla="*/ 25414 h 33070"/>
                <a:gd name="connsiteX12" fmla="*/ 14499 w 41379"/>
                <a:gd name="connsiteY12" fmla="*/ 27695 h 33070"/>
                <a:gd name="connsiteX13" fmla="*/ 18246 w 41379"/>
                <a:gd name="connsiteY13" fmla="*/ 30953 h 33070"/>
                <a:gd name="connsiteX14" fmla="*/ 21667 w 41379"/>
                <a:gd name="connsiteY14" fmla="*/ 30627 h 33070"/>
                <a:gd name="connsiteX15" fmla="*/ 23622 w 41379"/>
                <a:gd name="connsiteY15" fmla="*/ 25414 h 33070"/>
                <a:gd name="connsiteX16" fmla="*/ 24925 w 41379"/>
                <a:gd name="connsiteY16" fmla="*/ 27695 h 33070"/>
                <a:gd name="connsiteX17" fmla="*/ 25577 w 41379"/>
                <a:gd name="connsiteY17" fmla="*/ 31116 h 33070"/>
                <a:gd name="connsiteX18" fmla="*/ 28509 w 41379"/>
                <a:gd name="connsiteY18" fmla="*/ 33071 h 33070"/>
                <a:gd name="connsiteX19" fmla="*/ 33071 w 41379"/>
                <a:gd name="connsiteY19" fmla="*/ 33071 h 33070"/>
                <a:gd name="connsiteX20" fmla="*/ 37795 w 41379"/>
                <a:gd name="connsiteY20" fmla="*/ 29650 h 33070"/>
                <a:gd name="connsiteX21" fmla="*/ 37795 w 41379"/>
                <a:gd name="connsiteY21" fmla="*/ 28183 h 33070"/>
                <a:gd name="connsiteX22" fmla="*/ 31116 w 41379"/>
                <a:gd name="connsiteY22" fmla="*/ 28998 h 33070"/>
                <a:gd name="connsiteX23" fmla="*/ 28835 w 41379"/>
                <a:gd name="connsiteY23" fmla="*/ 25414 h 33070"/>
                <a:gd name="connsiteX24" fmla="*/ 30790 w 41379"/>
                <a:gd name="connsiteY24" fmla="*/ 22318 h 33070"/>
                <a:gd name="connsiteX25" fmla="*/ 34211 w 41379"/>
                <a:gd name="connsiteY25" fmla="*/ 20690 h 33070"/>
                <a:gd name="connsiteX26" fmla="*/ 39587 w 41379"/>
                <a:gd name="connsiteY26" fmla="*/ 22156 h 33070"/>
                <a:gd name="connsiteX27" fmla="*/ 41379 w 41379"/>
                <a:gd name="connsiteY27" fmla="*/ 18898 h 33070"/>
                <a:gd name="connsiteX28" fmla="*/ 39913 w 41379"/>
                <a:gd name="connsiteY28" fmla="*/ 14499 h 33070"/>
                <a:gd name="connsiteX29" fmla="*/ 36655 w 41379"/>
                <a:gd name="connsiteY29" fmla="*/ 15802 h 33070"/>
                <a:gd name="connsiteX30" fmla="*/ 33722 w 41379"/>
                <a:gd name="connsiteY30" fmla="*/ 14662 h 33070"/>
                <a:gd name="connsiteX31" fmla="*/ 28835 w 41379"/>
                <a:gd name="connsiteY31" fmla="*/ 19549 h 33070"/>
                <a:gd name="connsiteX32" fmla="*/ 25414 w 41379"/>
                <a:gd name="connsiteY32" fmla="*/ 19875 h 33070"/>
                <a:gd name="connsiteX33" fmla="*/ 23459 w 41379"/>
                <a:gd name="connsiteY33" fmla="*/ 14336 h 33070"/>
                <a:gd name="connsiteX34" fmla="*/ 25740 w 41379"/>
                <a:gd name="connsiteY34" fmla="*/ 13033 h 33070"/>
                <a:gd name="connsiteX35" fmla="*/ 25740 w 41379"/>
                <a:gd name="connsiteY35" fmla="*/ 7005 h 33070"/>
                <a:gd name="connsiteX36" fmla="*/ 23133 w 41379"/>
                <a:gd name="connsiteY36" fmla="*/ 9449 h 33070"/>
                <a:gd name="connsiteX37" fmla="*/ 21504 w 41379"/>
                <a:gd name="connsiteY37" fmla="*/ 13522 h 33070"/>
                <a:gd name="connsiteX38" fmla="*/ 18735 w 41379"/>
                <a:gd name="connsiteY38" fmla="*/ 15640 h 33070"/>
                <a:gd name="connsiteX39" fmla="*/ 15314 w 41379"/>
                <a:gd name="connsiteY39" fmla="*/ 14336 h 33070"/>
                <a:gd name="connsiteX40" fmla="*/ 11241 w 41379"/>
                <a:gd name="connsiteY40" fmla="*/ 12381 h 33070"/>
                <a:gd name="connsiteX41" fmla="*/ 8309 w 41379"/>
                <a:gd name="connsiteY41" fmla="*/ 10589 h 33070"/>
                <a:gd name="connsiteX42" fmla="*/ 9123 w 41379"/>
                <a:gd name="connsiteY42" fmla="*/ 5539 h 33070"/>
                <a:gd name="connsiteX43" fmla="*/ 8309 w 41379"/>
                <a:gd name="connsiteY43" fmla="*/ 3095 h 33070"/>
                <a:gd name="connsiteX44" fmla="*/ 10101 w 41379"/>
                <a:gd name="connsiteY44" fmla="*/ 1304 h 33070"/>
                <a:gd name="connsiteX45" fmla="*/ 9775 w 41379"/>
                <a:gd name="connsiteY45" fmla="*/ 0 h 33070"/>
                <a:gd name="connsiteX46" fmla="*/ 7494 w 41379"/>
                <a:gd name="connsiteY46" fmla="*/ 2281 h 33070"/>
                <a:gd name="connsiteX47" fmla="*/ 5376 w 41379"/>
                <a:gd name="connsiteY47" fmla="*/ 5539 h 33070"/>
                <a:gd name="connsiteX48" fmla="*/ 5702 w 41379"/>
                <a:gd name="connsiteY48" fmla="*/ 8960 h 33070"/>
                <a:gd name="connsiteX49" fmla="*/ 5702 w 41379"/>
                <a:gd name="connsiteY49" fmla="*/ 14010 h 33070"/>
                <a:gd name="connsiteX50" fmla="*/ 7657 w 41379"/>
                <a:gd name="connsiteY50" fmla="*/ 14662 h 33070"/>
                <a:gd name="connsiteX51" fmla="*/ 8472 w 41379"/>
                <a:gd name="connsiteY51" fmla="*/ 16128 h 33070"/>
                <a:gd name="connsiteX52" fmla="*/ 3421 w 41379"/>
                <a:gd name="connsiteY52" fmla="*/ 21178 h 33070"/>
                <a:gd name="connsiteX53" fmla="*/ 0 w 41379"/>
                <a:gd name="connsiteY53" fmla="*/ 26066 h 33070"/>
                <a:gd name="connsiteX54" fmla="*/ 977 w 41379"/>
                <a:gd name="connsiteY54" fmla="*/ 30953 h 330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</a:cxnLst>
              <a:rect l="l" t="t" r="r" b="b"/>
              <a:pathLst>
                <a:path w="41379" h="33070">
                  <a:moveTo>
                    <a:pt x="14174" y="9612"/>
                  </a:moveTo>
                  <a:lnTo>
                    <a:pt x="16128" y="6842"/>
                  </a:lnTo>
                  <a:lnTo>
                    <a:pt x="20527" y="5702"/>
                  </a:lnTo>
                  <a:lnTo>
                    <a:pt x="20852" y="7494"/>
                  </a:lnTo>
                  <a:lnTo>
                    <a:pt x="17431" y="10752"/>
                  </a:lnTo>
                  <a:lnTo>
                    <a:pt x="14988" y="10752"/>
                  </a:lnTo>
                  <a:cubicBezTo>
                    <a:pt x="14988" y="10752"/>
                    <a:pt x="14174" y="9449"/>
                    <a:pt x="14174" y="9449"/>
                  </a:cubicBezTo>
                  <a:lnTo>
                    <a:pt x="14174" y="9449"/>
                  </a:lnTo>
                  <a:close/>
                  <a:moveTo>
                    <a:pt x="1304" y="30790"/>
                  </a:moveTo>
                  <a:lnTo>
                    <a:pt x="4725" y="29975"/>
                  </a:lnTo>
                  <a:lnTo>
                    <a:pt x="9612" y="26229"/>
                  </a:lnTo>
                  <a:lnTo>
                    <a:pt x="13522" y="25414"/>
                  </a:lnTo>
                  <a:lnTo>
                    <a:pt x="14499" y="27695"/>
                  </a:lnTo>
                  <a:lnTo>
                    <a:pt x="18246" y="30953"/>
                  </a:lnTo>
                  <a:lnTo>
                    <a:pt x="21667" y="30627"/>
                  </a:lnTo>
                  <a:lnTo>
                    <a:pt x="23622" y="25414"/>
                  </a:lnTo>
                  <a:lnTo>
                    <a:pt x="24925" y="27695"/>
                  </a:lnTo>
                  <a:lnTo>
                    <a:pt x="25577" y="31116"/>
                  </a:lnTo>
                  <a:lnTo>
                    <a:pt x="28509" y="33071"/>
                  </a:lnTo>
                  <a:lnTo>
                    <a:pt x="33071" y="33071"/>
                  </a:lnTo>
                  <a:cubicBezTo>
                    <a:pt x="33071" y="33071"/>
                    <a:pt x="37795" y="29650"/>
                    <a:pt x="37795" y="29650"/>
                  </a:cubicBezTo>
                  <a:lnTo>
                    <a:pt x="37795" y="28183"/>
                  </a:lnTo>
                  <a:cubicBezTo>
                    <a:pt x="37795" y="28183"/>
                    <a:pt x="31116" y="28998"/>
                    <a:pt x="31116" y="28998"/>
                  </a:cubicBezTo>
                  <a:lnTo>
                    <a:pt x="28835" y="25414"/>
                  </a:lnTo>
                  <a:lnTo>
                    <a:pt x="30790" y="22318"/>
                  </a:lnTo>
                  <a:lnTo>
                    <a:pt x="34211" y="20690"/>
                  </a:lnTo>
                  <a:lnTo>
                    <a:pt x="39587" y="22156"/>
                  </a:lnTo>
                  <a:lnTo>
                    <a:pt x="41379" y="18898"/>
                  </a:lnTo>
                  <a:lnTo>
                    <a:pt x="39913" y="14499"/>
                  </a:lnTo>
                  <a:lnTo>
                    <a:pt x="36655" y="15802"/>
                  </a:lnTo>
                  <a:lnTo>
                    <a:pt x="33722" y="14662"/>
                  </a:lnTo>
                  <a:lnTo>
                    <a:pt x="28835" y="19549"/>
                  </a:lnTo>
                  <a:lnTo>
                    <a:pt x="25414" y="19875"/>
                  </a:lnTo>
                  <a:lnTo>
                    <a:pt x="23459" y="14336"/>
                  </a:lnTo>
                  <a:lnTo>
                    <a:pt x="25740" y="13033"/>
                  </a:lnTo>
                  <a:lnTo>
                    <a:pt x="25740" y="7005"/>
                  </a:lnTo>
                  <a:lnTo>
                    <a:pt x="23133" y="9449"/>
                  </a:lnTo>
                  <a:lnTo>
                    <a:pt x="21504" y="13522"/>
                  </a:lnTo>
                  <a:lnTo>
                    <a:pt x="18735" y="15640"/>
                  </a:lnTo>
                  <a:lnTo>
                    <a:pt x="15314" y="14336"/>
                  </a:lnTo>
                  <a:lnTo>
                    <a:pt x="11241" y="12381"/>
                  </a:lnTo>
                  <a:lnTo>
                    <a:pt x="8309" y="10589"/>
                  </a:lnTo>
                  <a:lnTo>
                    <a:pt x="9123" y="5539"/>
                  </a:lnTo>
                  <a:lnTo>
                    <a:pt x="8309" y="3095"/>
                  </a:lnTo>
                  <a:lnTo>
                    <a:pt x="10101" y="1304"/>
                  </a:lnTo>
                  <a:lnTo>
                    <a:pt x="9775" y="0"/>
                  </a:lnTo>
                  <a:lnTo>
                    <a:pt x="7494" y="2281"/>
                  </a:lnTo>
                  <a:lnTo>
                    <a:pt x="5376" y="5539"/>
                  </a:lnTo>
                  <a:lnTo>
                    <a:pt x="5702" y="8960"/>
                  </a:lnTo>
                  <a:lnTo>
                    <a:pt x="5702" y="14010"/>
                  </a:lnTo>
                  <a:cubicBezTo>
                    <a:pt x="5702" y="14010"/>
                    <a:pt x="7657" y="14662"/>
                    <a:pt x="7657" y="14662"/>
                  </a:cubicBezTo>
                  <a:lnTo>
                    <a:pt x="8472" y="16128"/>
                  </a:lnTo>
                  <a:lnTo>
                    <a:pt x="3421" y="21178"/>
                  </a:lnTo>
                  <a:lnTo>
                    <a:pt x="0" y="26066"/>
                  </a:lnTo>
                  <a:lnTo>
                    <a:pt x="977" y="30953"/>
                  </a:lnTo>
                  <a:close/>
                </a:path>
              </a:pathLst>
            </a:custGeom>
            <a:solidFill>
              <a:schemeClr val="bg2"/>
            </a:solidFill>
            <a:ln w="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4" name="Forma livre: Forma 83">
              <a:extLst>
                <a:ext uri="{FF2B5EF4-FFF2-40B4-BE49-F238E27FC236}">
                  <a16:creationId xmlns:a16="http://schemas.microsoft.com/office/drawing/2014/main" id="{DBA5EC9C-3A63-4D02-89AC-D028EC24A03A}"/>
                </a:ext>
              </a:extLst>
            </p:cNvPr>
            <p:cNvSpPr/>
            <p:nvPr/>
          </p:nvSpPr>
          <p:spPr>
            <a:xfrm>
              <a:off x="7173076" y="5299462"/>
              <a:ext cx="6734" cy="12121"/>
            </a:xfrm>
            <a:custGeom>
              <a:avLst/>
              <a:gdLst>
                <a:gd name="connsiteX0" fmla="*/ 0 w 6516"/>
                <a:gd name="connsiteY0" fmla="*/ 9449 h 11729"/>
                <a:gd name="connsiteX1" fmla="*/ 977 w 6516"/>
                <a:gd name="connsiteY1" fmla="*/ 4887 h 11729"/>
                <a:gd name="connsiteX2" fmla="*/ 489 w 6516"/>
                <a:gd name="connsiteY2" fmla="*/ 815 h 11729"/>
                <a:gd name="connsiteX3" fmla="*/ 3421 w 6516"/>
                <a:gd name="connsiteY3" fmla="*/ 0 h 11729"/>
                <a:gd name="connsiteX4" fmla="*/ 6516 w 6516"/>
                <a:gd name="connsiteY4" fmla="*/ 4073 h 11729"/>
                <a:gd name="connsiteX5" fmla="*/ 1629 w 6516"/>
                <a:gd name="connsiteY5" fmla="*/ 11729 h 11729"/>
                <a:gd name="connsiteX6" fmla="*/ 0 w 6516"/>
                <a:gd name="connsiteY6" fmla="*/ 9449 h 117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516" h="11729">
                  <a:moveTo>
                    <a:pt x="0" y="9449"/>
                  </a:moveTo>
                  <a:lnTo>
                    <a:pt x="977" y="4887"/>
                  </a:lnTo>
                  <a:lnTo>
                    <a:pt x="489" y="815"/>
                  </a:lnTo>
                  <a:lnTo>
                    <a:pt x="3421" y="0"/>
                  </a:lnTo>
                  <a:lnTo>
                    <a:pt x="6516" y="4073"/>
                  </a:lnTo>
                  <a:lnTo>
                    <a:pt x="1629" y="11729"/>
                  </a:lnTo>
                  <a:lnTo>
                    <a:pt x="0" y="9449"/>
                  </a:lnTo>
                  <a:close/>
                </a:path>
              </a:pathLst>
            </a:custGeom>
            <a:solidFill>
              <a:schemeClr val="bg2"/>
            </a:solidFill>
            <a:ln w="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5" name="Forma livre: Forma 84">
              <a:extLst>
                <a:ext uri="{FF2B5EF4-FFF2-40B4-BE49-F238E27FC236}">
                  <a16:creationId xmlns:a16="http://schemas.microsoft.com/office/drawing/2014/main" id="{52BFC56E-944C-709A-42D3-34FD23ABEC93}"/>
                </a:ext>
              </a:extLst>
            </p:cNvPr>
            <p:cNvSpPr/>
            <p:nvPr/>
          </p:nvSpPr>
          <p:spPr>
            <a:xfrm>
              <a:off x="7122233" y="5262425"/>
              <a:ext cx="39393" cy="30471"/>
            </a:xfrm>
            <a:custGeom>
              <a:avLst/>
              <a:gdLst>
                <a:gd name="connsiteX0" fmla="*/ 6679 w 38120"/>
                <a:gd name="connsiteY0" fmla="*/ 15802 h 29486"/>
                <a:gd name="connsiteX1" fmla="*/ 8634 w 38120"/>
                <a:gd name="connsiteY1" fmla="*/ 12870 h 29486"/>
                <a:gd name="connsiteX2" fmla="*/ 7005 w 38120"/>
                <a:gd name="connsiteY2" fmla="*/ 7983 h 29486"/>
                <a:gd name="connsiteX3" fmla="*/ 8960 w 38120"/>
                <a:gd name="connsiteY3" fmla="*/ 5376 h 29486"/>
                <a:gd name="connsiteX4" fmla="*/ 6679 w 38120"/>
                <a:gd name="connsiteY4" fmla="*/ 326 h 29486"/>
                <a:gd name="connsiteX5" fmla="*/ 3910 w 38120"/>
                <a:gd name="connsiteY5" fmla="*/ 0 h 29486"/>
                <a:gd name="connsiteX6" fmla="*/ 0 w 38120"/>
                <a:gd name="connsiteY6" fmla="*/ 6191 h 29486"/>
                <a:gd name="connsiteX7" fmla="*/ 1304 w 38120"/>
                <a:gd name="connsiteY7" fmla="*/ 9449 h 29486"/>
                <a:gd name="connsiteX8" fmla="*/ 1955 w 38120"/>
                <a:gd name="connsiteY8" fmla="*/ 15313 h 29486"/>
                <a:gd name="connsiteX9" fmla="*/ 4399 w 38120"/>
                <a:gd name="connsiteY9" fmla="*/ 16291 h 29486"/>
                <a:gd name="connsiteX10" fmla="*/ 6842 w 38120"/>
                <a:gd name="connsiteY10" fmla="*/ 15639 h 29486"/>
                <a:gd name="connsiteX11" fmla="*/ 6842 w 38120"/>
                <a:gd name="connsiteY11" fmla="*/ 15639 h 29486"/>
                <a:gd name="connsiteX12" fmla="*/ 9123 w 38120"/>
                <a:gd name="connsiteY12" fmla="*/ 26066 h 29486"/>
                <a:gd name="connsiteX13" fmla="*/ 12055 w 38120"/>
                <a:gd name="connsiteY13" fmla="*/ 26391 h 29486"/>
                <a:gd name="connsiteX14" fmla="*/ 14336 w 38120"/>
                <a:gd name="connsiteY14" fmla="*/ 29487 h 29486"/>
                <a:gd name="connsiteX15" fmla="*/ 9775 w 38120"/>
                <a:gd name="connsiteY15" fmla="*/ 29161 h 29486"/>
                <a:gd name="connsiteX16" fmla="*/ 7982 w 38120"/>
                <a:gd name="connsiteY16" fmla="*/ 27369 h 29486"/>
                <a:gd name="connsiteX17" fmla="*/ 9123 w 38120"/>
                <a:gd name="connsiteY17" fmla="*/ 26228 h 29486"/>
                <a:gd name="connsiteX18" fmla="*/ 9123 w 38120"/>
                <a:gd name="connsiteY18" fmla="*/ 26228 h 29486"/>
                <a:gd name="connsiteX19" fmla="*/ 36003 w 38120"/>
                <a:gd name="connsiteY19" fmla="*/ 29161 h 29486"/>
                <a:gd name="connsiteX20" fmla="*/ 38121 w 38120"/>
                <a:gd name="connsiteY20" fmla="*/ 26717 h 29486"/>
                <a:gd name="connsiteX21" fmla="*/ 35677 w 38120"/>
                <a:gd name="connsiteY21" fmla="*/ 21504 h 29486"/>
                <a:gd name="connsiteX22" fmla="*/ 33397 w 38120"/>
                <a:gd name="connsiteY22" fmla="*/ 23622 h 29486"/>
                <a:gd name="connsiteX23" fmla="*/ 29487 w 38120"/>
                <a:gd name="connsiteY23" fmla="*/ 24599 h 29486"/>
                <a:gd name="connsiteX24" fmla="*/ 32745 w 38120"/>
                <a:gd name="connsiteY24" fmla="*/ 26228 h 29486"/>
                <a:gd name="connsiteX25" fmla="*/ 36003 w 38120"/>
                <a:gd name="connsiteY25" fmla="*/ 29161 h 294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38120" h="29486">
                  <a:moveTo>
                    <a:pt x="6679" y="15802"/>
                  </a:moveTo>
                  <a:lnTo>
                    <a:pt x="8634" y="12870"/>
                  </a:lnTo>
                  <a:lnTo>
                    <a:pt x="7005" y="7983"/>
                  </a:lnTo>
                  <a:lnTo>
                    <a:pt x="8960" y="5376"/>
                  </a:lnTo>
                  <a:lnTo>
                    <a:pt x="6679" y="326"/>
                  </a:lnTo>
                  <a:lnTo>
                    <a:pt x="3910" y="0"/>
                  </a:lnTo>
                  <a:lnTo>
                    <a:pt x="0" y="6191"/>
                  </a:lnTo>
                  <a:lnTo>
                    <a:pt x="1304" y="9449"/>
                  </a:lnTo>
                  <a:lnTo>
                    <a:pt x="1955" y="15313"/>
                  </a:lnTo>
                  <a:lnTo>
                    <a:pt x="4399" y="16291"/>
                  </a:lnTo>
                  <a:lnTo>
                    <a:pt x="6842" y="15639"/>
                  </a:lnTo>
                  <a:lnTo>
                    <a:pt x="6842" y="15639"/>
                  </a:lnTo>
                  <a:close/>
                  <a:moveTo>
                    <a:pt x="9123" y="26066"/>
                  </a:moveTo>
                  <a:lnTo>
                    <a:pt x="12055" y="26391"/>
                  </a:lnTo>
                  <a:lnTo>
                    <a:pt x="14336" y="29487"/>
                  </a:lnTo>
                  <a:lnTo>
                    <a:pt x="9775" y="29161"/>
                  </a:lnTo>
                  <a:lnTo>
                    <a:pt x="7982" y="27369"/>
                  </a:lnTo>
                  <a:lnTo>
                    <a:pt x="9123" y="26228"/>
                  </a:lnTo>
                  <a:lnTo>
                    <a:pt x="9123" y="26228"/>
                  </a:lnTo>
                  <a:close/>
                  <a:moveTo>
                    <a:pt x="36003" y="29161"/>
                  </a:moveTo>
                  <a:lnTo>
                    <a:pt x="38121" y="26717"/>
                  </a:lnTo>
                  <a:lnTo>
                    <a:pt x="35677" y="21504"/>
                  </a:lnTo>
                  <a:lnTo>
                    <a:pt x="33397" y="23622"/>
                  </a:lnTo>
                  <a:lnTo>
                    <a:pt x="29487" y="24599"/>
                  </a:lnTo>
                  <a:lnTo>
                    <a:pt x="32745" y="26228"/>
                  </a:lnTo>
                  <a:lnTo>
                    <a:pt x="36003" y="29161"/>
                  </a:lnTo>
                  <a:close/>
                </a:path>
              </a:pathLst>
            </a:custGeom>
            <a:solidFill>
              <a:schemeClr val="bg2"/>
            </a:solidFill>
            <a:ln w="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6" name="Forma livre: Forma 85">
              <a:extLst>
                <a:ext uri="{FF2B5EF4-FFF2-40B4-BE49-F238E27FC236}">
                  <a16:creationId xmlns:a16="http://schemas.microsoft.com/office/drawing/2014/main" id="{9AC7C54B-78B7-B3DB-4947-19A26141BC08}"/>
                </a:ext>
              </a:extLst>
            </p:cNvPr>
            <p:cNvSpPr/>
            <p:nvPr/>
          </p:nvSpPr>
          <p:spPr>
            <a:xfrm>
              <a:off x="7208092" y="5085489"/>
              <a:ext cx="252189" cy="136195"/>
            </a:xfrm>
            <a:custGeom>
              <a:avLst/>
              <a:gdLst>
                <a:gd name="connsiteX0" fmla="*/ 238499 w 244038"/>
                <a:gd name="connsiteY0" fmla="*/ 6679 h 131793"/>
                <a:gd name="connsiteX1" fmla="*/ 244038 w 244038"/>
                <a:gd name="connsiteY1" fmla="*/ 4724 h 131793"/>
                <a:gd name="connsiteX2" fmla="*/ 242409 w 244038"/>
                <a:gd name="connsiteY2" fmla="*/ 1955 h 131793"/>
                <a:gd name="connsiteX3" fmla="*/ 238173 w 244038"/>
                <a:gd name="connsiteY3" fmla="*/ 0 h 131793"/>
                <a:gd name="connsiteX4" fmla="*/ 235404 w 244038"/>
                <a:gd name="connsiteY4" fmla="*/ 3421 h 131793"/>
                <a:gd name="connsiteX5" fmla="*/ 238499 w 244038"/>
                <a:gd name="connsiteY5" fmla="*/ 6679 h 131793"/>
                <a:gd name="connsiteX6" fmla="*/ 238499 w 244038"/>
                <a:gd name="connsiteY6" fmla="*/ 6679 h 131793"/>
                <a:gd name="connsiteX7" fmla="*/ 6516 w 244038"/>
                <a:gd name="connsiteY7" fmla="*/ 129676 h 131793"/>
                <a:gd name="connsiteX8" fmla="*/ 8309 w 244038"/>
                <a:gd name="connsiteY8" fmla="*/ 129676 h 131793"/>
                <a:gd name="connsiteX9" fmla="*/ 7331 w 244038"/>
                <a:gd name="connsiteY9" fmla="*/ 131793 h 131793"/>
                <a:gd name="connsiteX10" fmla="*/ 6679 w 244038"/>
                <a:gd name="connsiteY10" fmla="*/ 129676 h 131793"/>
                <a:gd name="connsiteX11" fmla="*/ 6679 w 244038"/>
                <a:gd name="connsiteY11" fmla="*/ 129676 h 131793"/>
                <a:gd name="connsiteX12" fmla="*/ 0 w 244038"/>
                <a:gd name="connsiteY12" fmla="*/ 122019 h 131793"/>
                <a:gd name="connsiteX13" fmla="*/ 2770 w 244038"/>
                <a:gd name="connsiteY13" fmla="*/ 118598 h 131793"/>
                <a:gd name="connsiteX14" fmla="*/ 6679 w 244038"/>
                <a:gd name="connsiteY14" fmla="*/ 120227 h 131793"/>
                <a:gd name="connsiteX15" fmla="*/ 8960 w 244038"/>
                <a:gd name="connsiteY15" fmla="*/ 120715 h 131793"/>
                <a:gd name="connsiteX16" fmla="*/ 7820 w 244038"/>
                <a:gd name="connsiteY16" fmla="*/ 122345 h 131793"/>
                <a:gd name="connsiteX17" fmla="*/ 2770 w 244038"/>
                <a:gd name="connsiteY17" fmla="*/ 123322 h 131793"/>
                <a:gd name="connsiteX18" fmla="*/ 163 w 244038"/>
                <a:gd name="connsiteY18" fmla="*/ 122019 h 1317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244038" h="131793">
                  <a:moveTo>
                    <a:pt x="238499" y="6679"/>
                  </a:moveTo>
                  <a:lnTo>
                    <a:pt x="244038" y="4724"/>
                  </a:lnTo>
                  <a:lnTo>
                    <a:pt x="242409" y="1955"/>
                  </a:lnTo>
                  <a:lnTo>
                    <a:pt x="238173" y="0"/>
                  </a:lnTo>
                  <a:lnTo>
                    <a:pt x="235404" y="3421"/>
                  </a:lnTo>
                  <a:lnTo>
                    <a:pt x="238499" y="6679"/>
                  </a:lnTo>
                  <a:lnTo>
                    <a:pt x="238499" y="6679"/>
                  </a:lnTo>
                  <a:close/>
                  <a:moveTo>
                    <a:pt x="6516" y="129676"/>
                  </a:moveTo>
                  <a:lnTo>
                    <a:pt x="8309" y="129676"/>
                  </a:lnTo>
                  <a:cubicBezTo>
                    <a:pt x="8309" y="129676"/>
                    <a:pt x="7331" y="131793"/>
                    <a:pt x="7331" y="131793"/>
                  </a:cubicBezTo>
                  <a:lnTo>
                    <a:pt x="6679" y="129676"/>
                  </a:lnTo>
                  <a:lnTo>
                    <a:pt x="6679" y="129676"/>
                  </a:lnTo>
                  <a:close/>
                  <a:moveTo>
                    <a:pt x="0" y="122019"/>
                  </a:moveTo>
                  <a:lnTo>
                    <a:pt x="2770" y="118598"/>
                  </a:lnTo>
                  <a:lnTo>
                    <a:pt x="6679" y="120227"/>
                  </a:lnTo>
                  <a:lnTo>
                    <a:pt x="8960" y="120715"/>
                  </a:lnTo>
                  <a:lnTo>
                    <a:pt x="7820" y="122345"/>
                  </a:lnTo>
                  <a:lnTo>
                    <a:pt x="2770" y="123322"/>
                  </a:lnTo>
                  <a:lnTo>
                    <a:pt x="163" y="122019"/>
                  </a:lnTo>
                  <a:close/>
                </a:path>
              </a:pathLst>
            </a:custGeom>
            <a:solidFill>
              <a:schemeClr val="bg2"/>
            </a:solidFill>
            <a:ln w="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7" name="Forma livre: Forma 86">
              <a:extLst>
                <a:ext uri="{FF2B5EF4-FFF2-40B4-BE49-F238E27FC236}">
                  <a16:creationId xmlns:a16="http://schemas.microsoft.com/office/drawing/2014/main" id="{3CA97D68-1A86-E9B4-2FA8-4E22310FAA2B}"/>
                </a:ext>
              </a:extLst>
            </p:cNvPr>
            <p:cNvSpPr/>
            <p:nvPr/>
          </p:nvSpPr>
          <p:spPr>
            <a:xfrm>
              <a:off x="5552197" y="4055688"/>
              <a:ext cx="9764" cy="5904"/>
            </a:xfrm>
            <a:custGeom>
              <a:avLst/>
              <a:gdLst>
                <a:gd name="connsiteX0" fmla="*/ 6191 w 9448"/>
                <a:gd name="connsiteY0" fmla="*/ 5702 h 5713"/>
                <a:gd name="connsiteX1" fmla="*/ 1466 w 9448"/>
                <a:gd name="connsiteY1" fmla="*/ 3747 h 5713"/>
                <a:gd name="connsiteX2" fmla="*/ 0 w 9448"/>
                <a:gd name="connsiteY2" fmla="*/ 978 h 5713"/>
                <a:gd name="connsiteX3" fmla="*/ 6842 w 9448"/>
                <a:gd name="connsiteY3" fmla="*/ 0 h 5713"/>
                <a:gd name="connsiteX4" fmla="*/ 9449 w 9448"/>
                <a:gd name="connsiteY4" fmla="*/ 4236 h 5713"/>
                <a:gd name="connsiteX5" fmla="*/ 6191 w 9448"/>
                <a:gd name="connsiteY5" fmla="*/ 5702 h 57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448" h="5713">
                  <a:moveTo>
                    <a:pt x="6191" y="5702"/>
                  </a:moveTo>
                  <a:lnTo>
                    <a:pt x="1466" y="3747"/>
                  </a:lnTo>
                  <a:lnTo>
                    <a:pt x="0" y="978"/>
                  </a:lnTo>
                  <a:lnTo>
                    <a:pt x="6842" y="0"/>
                  </a:lnTo>
                  <a:lnTo>
                    <a:pt x="9449" y="4236"/>
                  </a:lnTo>
                  <a:cubicBezTo>
                    <a:pt x="9449" y="4236"/>
                    <a:pt x="6028" y="5865"/>
                    <a:pt x="6191" y="5702"/>
                  </a:cubicBezTo>
                  <a:close/>
                </a:path>
              </a:pathLst>
            </a:custGeom>
            <a:solidFill>
              <a:schemeClr val="bg2"/>
            </a:solidFill>
            <a:ln w="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8" name="Forma livre: Forma 87">
              <a:extLst>
                <a:ext uri="{FF2B5EF4-FFF2-40B4-BE49-F238E27FC236}">
                  <a16:creationId xmlns:a16="http://schemas.microsoft.com/office/drawing/2014/main" id="{3D808D26-A93F-9132-BE72-4F706DFFF59A}"/>
                </a:ext>
              </a:extLst>
            </p:cNvPr>
            <p:cNvSpPr/>
            <p:nvPr/>
          </p:nvSpPr>
          <p:spPr>
            <a:xfrm>
              <a:off x="5526271" y="4166799"/>
              <a:ext cx="119023" cy="41582"/>
            </a:xfrm>
            <a:custGeom>
              <a:avLst/>
              <a:gdLst>
                <a:gd name="connsiteX0" fmla="*/ 20038 w 115176"/>
                <a:gd name="connsiteY0" fmla="*/ 29324 h 40238"/>
                <a:gd name="connsiteX1" fmla="*/ 18246 w 115176"/>
                <a:gd name="connsiteY1" fmla="*/ 27695 h 40238"/>
                <a:gd name="connsiteX2" fmla="*/ 18572 w 115176"/>
                <a:gd name="connsiteY2" fmla="*/ 25577 h 40238"/>
                <a:gd name="connsiteX3" fmla="*/ 20526 w 115176"/>
                <a:gd name="connsiteY3" fmla="*/ 25902 h 40238"/>
                <a:gd name="connsiteX4" fmla="*/ 21178 w 115176"/>
                <a:gd name="connsiteY4" fmla="*/ 28183 h 40238"/>
                <a:gd name="connsiteX5" fmla="*/ 20038 w 115176"/>
                <a:gd name="connsiteY5" fmla="*/ 29324 h 40238"/>
                <a:gd name="connsiteX6" fmla="*/ 20038 w 115176"/>
                <a:gd name="connsiteY6" fmla="*/ 29324 h 40238"/>
                <a:gd name="connsiteX7" fmla="*/ 977 w 115176"/>
                <a:gd name="connsiteY7" fmla="*/ 39587 h 40238"/>
                <a:gd name="connsiteX8" fmla="*/ 0 w 115176"/>
                <a:gd name="connsiteY8" fmla="*/ 37143 h 40238"/>
                <a:gd name="connsiteX9" fmla="*/ 2606 w 115176"/>
                <a:gd name="connsiteY9" fmla="*/ 35188 h 40238"/>
                <a:gd name="connsiteX10" fmla="*/ 4236 w 115176"/>
                <a:gd name="connsiteY10" fmla="*/ 35677 h 40238"/>
                <a:gd name="connsiteX11" fmla="*/ 4236 w 115176"/>
                <a:gd name="connsiteY11" fmla="*/ 38935 h 40238"/>
                <a:gd name="connsiteX12" fmla="*/ 2444 w 115176"/>
                <a:gd name="connsiteY12" fmla="*/ 40239 h 40238"/>
                <a:gd name="connsiteX13" fmla="*/ 1140 w 115176"/>
                <a:gd name="connsiteY13" fmla="*/ 39587 h 40238"/>
                <a:gd name="connsiteX14" fmla="*/ 1140 w 115176"/>
                <a:gd name="connsiteY14" fmla="*/ 39587 h 40238"/>
                <a:gd name="connsiteX15" fmla="*/ 6516 w 115176"/>
                <a:gd name="connsiteY15" fmla="*/ 17431 h 40238"/>
                <a:gd name="connsiteX16" fmla="*/ 6516 w 115176"/>
                <a:gd name="connsiteY16" fmla="*/ 11729 h 40238"/>
                <a:gd name="connsiteX17" fmla="*/ 4724 w 115176"/>
                <a:gd name="connsiteY17" fmla="*/ 8797 h 40238"/>
                <a:gd name="connsiteX18" fmla="*/ 6353 w 115176"/>
                <a:gd name="connsiteY18" fmla="*/ 5865 h 40238"/>
                <a:gd name="connsiteX19" fmla="*/ 9774 w 115176"/>
                <a:gd name="connsiteY19" fmla="*/ 7820 h 40238"/>
                <a:gd name="connsiteX20" fmla="*/ 9449 w 115176"/>
                <a:gd name="connsiteY20" fmla="*/ 15313 h 40238"/>
                <a:gd name="connsiteX21" fmla="*/ 6516 w 115176"/>
                <a:gd name="connsiteY21" fmla="*/ 17268 h 40238"/>
                <a:gd name="connsiteX22" fmla="*/ 6516 w 115176"/>
                <a:gd name="connsiteY22" fmla="*/ 17268 h 40238"/>
                <a:gd name="connsiteX23" fmla="*/ 46103 w 115176"/>
                <a:gd name="connsiteY23" fmla="*/ 24925 h 40238"/>
                <a:gd name="connsiteX24" fmla="*/ 40727 w 115176"/>
                <a:gd name="connsiteY24" fmla="*/ 24925 h 40238"/>
                <a:gd name="connsiteX25" fmla="*/ 32582 w 115176"/>
                <a:gd name="connsiteY25" fmla="*/ 30627 h 40238"/>
                <a:gd name="connsiteX26" fmla="*/ 28509 w 115176"/>
                <a:gd name="connsiteY26" fmla="*/ 28020 h 40238"/>
                <a:gd name="connsiteX27" fmla="*/ 25739 w 115176"/>
                <a:gd name="connsiteY27" fmla="*/ 23785 h 40238"/>
                <a:gd name="connsiteX28" fmla="*/ 29812 w 115176"/>
                <a:gd name="connsiteY28" fmla="*/ 20690 h 40238"/>
                <a:gd name="connsiteX29" fmla="*/ 34374 w 115176"/>
                <a:gd name="connsiteY29" fmla="*/ 21015 h 40238"/>
                <a:gd name="connsiteX30" fmla="*/ 40076 w 115176"/>
                <a:gd name="connsiteY30" fmla="*/ 18734 h 40238"/>
                <a:gd name="connsiteX31" fmla="*/ 42030 w 115176"/>
                <a:gd name="connsiteY31" fmla="*/ 16943 h 40238"/>
                <a:gd name="connsiteX32" fmla="*/ 47244 w 115176"/>
                <a:gd name="connsiteY32" fmla="*/ 18083 h 40238"/>
                <a:gd name="connsiteX33" fmla="*/ 45940 w 115176"/>
                <a:gd name="connsiteY33" fmla="*/ 24925 h 40238"/>
                <a:gd name="connsiteX34" fmla="*/ 45940 w 115176"/>
                <a:gd name="connsiteY34" fmla="*/ 24925 h 40238"/>
                <a:gd name="connsiteX35" fmla="*/ 56366 w 115176"/>
                <a:gd name="connsiteY35" fmla="*/ 25740 h 40238"/>
                <a:gd name="connsiteX36" fmla="*/ 54086 w 115176"/>
                <a:gd name="connsiteY36" fmla="*/ 33071 h 40238"/>
                <a:gd name="connsiteX37" fmla="*/ 58810 w 115176"/>
                <a:gd name="connsiteY37" fmla="*/ 36980 h 40238"/>
                <a:gd name="connsiteX38" fmla="*/ 63209 w 115176"/>
                <a:gd name="connsiteY38" fmla="*/ 34048 h 40238"/>
                <a:gd name="connsiteX39" fmla="*/ 66141 w 115176"/>
                <a:gd name="connsiteY39" fmla="*/ 32908 h 40238"/>
                <a:gd name="connsiteX40" fmla="*/ 65164 w 115176"/>
                <a:gd name="connsiteY40" fmla="*/ 27043 h 40238"/>
                <a:gd name="connsiteX41" fmla="*/ 60928 w 115176"/>
                <a:gd name="connsiteY41" fmla="*/ 25740 h 40238"/>
                <a:gd name="connsiteX42" fmla="*/ 56204 w 115176"/>
                <a:gd name="connsiteY42" fmla="*/ 25740 h 40238"/>
                <a:gd name="connsiteX43" fmla="*/ 104425 w 115176"/>
                <a:gd name="connsiteY43" fmla="*/ 6679 h 40238"/>
                <a:gd name="connsiteX44" fmla="*/ 106868 w 115176"/>
                <a:gd name="connsiteY44" fmla="*/ 0 h 40238"/>
                <a:gd name="connsiteX45" fmla="*/ 110941 w 115176"/>
                <a:gd name="connsiteY45" fmla="*/ 0 h 40238"/>
                <a:gd name="connsiteX46" fmla="*/ 115177 w 115176"/>
                <a:gd name="connsiteY46" fmla="*/ 2769 h 40238"/>
                <a:gd name="connsiteX47" fmla="*/ 109964 w 115176"/>
                <a:gd name="connsiteY47" fmla="*/ 3584 h 40238"/>
                <a:gd name="connsiteX48" fmla="*/ 104425 w 115176"/>
                <a:gd name="connsiteY48" fmla="*/ 6679 h 40238"/>
                <a:gd name="connsiteX49" fmla="*/ 104425 w 115176"/>
                <a:gd name="connsiteY49" fmla="*/ 6679 h 40238"/>
                <a:gd name="connsiteX50" fmla="*/ 88948 w 115176"/>
                <a:gd name="connsiteY50" fmla="*/ 27695 h 40238"/>
                <a:gd name="connsiteX51" fmla="*/ 94487 w 115176"/>
                <a:gd name="connsiteY51" fmla="*/ 20852 h 40238"/>
                <a:gd name="connsiteX52" fmla="*/ 94813 w 115176"/>
                <a:gd name="connsiteY52" fmla="*/ 17431 h 40238"/>
                <a:gd name="connsiteX53" fmla="*/ 102796 w 115176"/>
                <a:gd name="connsiteY53" fmla="*/ 13359 h 40238"/>
                <a:gd name="connsiteX54" fmla="*/ 103121 w 115176"/>
                <a:gd name="connsiteY54" fmla="*/ 19386 h 40238"/>
                <a:gd name="connsiteX55" fmla="*/ 97582 w 115176"/>
                <a:gd name="connsiteY55" fmla="*/ 27206 h 40238"/>
                <a:gd name="connsiteX56" fmla="*/ 92206 w 115176"/>
                <a:gd name="connsiteY56" fmla="*/ 28672 h 40238"/>
                <a:gd name="connsiteX57" fmla="*/ 88948 w 115176"/>
                <a:gd name="connsiteY57" fmla="*/ 27695 h 402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</a:cxnLst>
              <a:rect l="l" t="t" r="r" b="b"/>
              <a:pathLst>
                <a:path w="115176" h="40238">
                  <a:moveTo>
                    <a:pt x="20038" y="29324"/>
                  </a:moveTo>
                  <a:lnTo>
                    <a:pt x="18246" y="27695"/>
                  </a:lnTo>
                  <a:lnTo>
                    <a:pt x="18572" y="25577"/>
                  </a:lnTo>
                  <a:lnTo>
                    <a:pt x="20526" y="25902"/>
                  </a:lnTo>
                  <a:lnTo>
                    <a:pt x="21178" y="28183"/>
                  </a:lnTo>
                  <a:cubicBezTo>
                    <a:pt x="21178" y="28183"/>
                    <a:pt x="19712" y="29161"/>
                    <a:pt x="20038" y="29324"/>
                  </a:cubicBezTo>
                  <a:lnTo>
                    <a:pt x="20038" y="29324"/>
                  </a:lnTo>
                  <a:close/>
                  <a:moveTo>
                    <a:pt x="977" y="39587"/>
                  </a:moveTo>
                  <a:lnTo>
                    <a:pt x="0" y="37143"/>
                  </a:lnTo>
                  <a:lnTo>
                    <a:pt x="2606" y="35188"/>
                  </a:lnTo>
                  <a:lnTo>
                    <a:pt x="4236" y="35677"/>
                  </a:lnTo>
                  <a:lnTo>
                    <a:pt x="4236" y="38935"/>
                  </a:lnTo>
                  <a:lnTo>
                    <a:pt x="2444" y="40239"/>
                  </a:lnTo>
                  <a:lnTo>
                    <a:pt x="1140" y="39587"/>
                  </a:lnTo>
                  <a:lnTo>
                    <a:pt x="1140" y="39587"/>
                  </a:lnTo>
                  <a:close/>
                  <a:moveTo>
                    <a:pt x="6516" y="17431"/>
                  </a:moveTo>
                  <a:lnTo>
                    <a:pt x="6516" y="11729"/>
                  </a:lnTo>
                  <a:cubicBezTo>
                    <a:pt x="6516" y="11729"/>
                    <a:pt x="4724" y="8797"/>
                    <a:pt x="4724" y="8797"/>
                  </a:cubicBezTo>
                  <a:cubicBezTo>
                    <a:pt x="4724" y="8797"/>
                    <a:pt x="5539" y="5702"/>
                    <a:pt x="6353" y="5865"/>
                  </a:cubicBezTo>
                  <a:cubicBezTo>
                    <a:pt x="7331" y="6028"/>
                    <a:pt x="9774" y="7820"/>
                    <a:pt x="9774" y="7820"/>
                  </a:cubicBezTo>
                  <a:lnTo>
                    <a:pt x="9449" y="15313"/>
                  </a:lnTo>
                  <a:cubicBezTo>
                    <a:pt x="9449" y="15313"/>
                    <a:pt x="6679" y="17268"/>
                    <a:pt x="6516" y="17268"/>
                  </a:cubicBezTo>
                  <a:lnTo>
                    <a:pt x="6516" y="17268"/>
                  </a:lnTo>
                  <a:close/>
                  <a:moveTo>
                    <a:pt x="46103" y="24925"/>
                  </a:moveTo>
                  <a:lnTo>
                    <a:pt x="40727" y="24925"/>
                  </a:lnTo>
                  <a:cubicBezTo>
                    <a:pt x="40727" y="24925"/>
                    <a:pt x="32582" y="30627"/>
                    <a:pt x="32582" y="30627"/>
                  </a:cubicBezTo>
                  <a:lnTo>
                    <a:pt x="28509" y="28020"/>
                  </a:lnTo>
                  <a:lnTo>
                    <a:pt x="25739" y="23785"/>
                  </a:lnTo>
                  <a:lnTo>
                    <a:pt x="29812" y="20690"/>
                  </a:lnTo>
                  <a:lnTo>
                    <a:pt x="34374" y="21015"/>
                  </a:lnTo>
                  <a:lnTo>
                    <a:pt x="40076" y="18734"/>
                  </a:lnTo>
                  <a:lnTo>
                    <a:pt x="42030" y="16943"/>
                  </a:lnTo>
                  <a:lnTo>
                    <a:pt x="47244" y="18083"/>
                  </a:lnTo>
                  <a:lnTo>
                    <a:pt x="45940" y="24925"/>
                  </a:lnTo>
                  <a:lnTo>
                    <a:pt x="45940" y="24925"/>
                  </a:lnTo>
                  <a:close/>
                  <a:moveTo>
                    <a:pt x="56366" y="25740"/>
                  </a:moveTo>
                  <a:lnTo>
                    <a:pt x="54086" y="33071"/>
                  </a:lnTo>
                  <a:lnTo>
                    <a:pt x="58810" y="36980"/>
                  </a:lnTo>
                  <a:lnTo>
                    <a:pt x="63209" y="34048"/>
                  </a:lnTo>
                  <a:lnTo>
                    <a:pt x="66141" y="32908"/>
                  </a:lnTo>
                  <a:lnTo>
                    <a:pt x="65164" y="27043"/>
                  </a:lnTo>
                  <a:lnTo>
                    <a:pt x="60928" y="25740"/>
                  </a:lnTo>
                  <a:lnTo>
                    <a:pt x="56204" y="25740"/>
                  </a:lnTo>
                  <a:close/>
                  <a:moveTo>
                    <a:pt x="104425" y="6679"/>
                  </a:moveTo>
                  <a:lnTo>
                    <a:pt x="106868" y="0"/>
                  </a:lnTo>
                  <a:lnTo>
                    <a:pt x="110941" y="0"/>
                  </a:lnTo>
                  <a:cubicBezTo>
                    <a:pt x="110941" y="0"/>
                    <a:pt x="115177" y="2769"/>
                    <a:pt x="115177" y="2769"/>
                  </a:cubicBezTo>
                  <a:lnTo>
                    <a:pt x="109964" y="3584"/>
                  </a:lnTo>
                  <a:lnTo>
                    <a:pt x="104425" y="6679"/>
                  </a:lnTo>
                  <a:lnTo>
                    <a:pt x="104425" y="6679"/>
                  </a:lnTo>
                  <a:close/>
                  <a:moveTo>
                    <a:pt x="88948" y="27695"/>
                  </a:moveTo>
                  <a:lnTo>
                    <a:pt x="94487" y="20852"/>
                  </a:lnTo>
                  <a:lnTo>
                    <a:pt x="94813" y="17431"/>
                  </a:lnTo>
                  <a:lnTo>
                    <a:pt x="102796" y="13359"/>
                  </a:lnTo>
                  <a:lnTo>
                    <a:pt x="103121" y="19386"/>
                  </a:lnTo>
                  <a:lnTo>
                    <a:pt x="97582" y="27206"/>
                  </a:lnTo>
                  <a:lnTo>
                    <a:pt x="92206" y="28672"/>
                  </a:lnTo>
                  <a:lnTo>
                    <a:pt x="88948" y="27695"/>
                  </a:lnTo>
                  <a:close/>
                </a:path>
              </a:pathLst>
            </a:custGeom>
            <a:solidFill>
              <a:schemeClr val="bg2"/>
            </a:solidFill>
            <a:ln w="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9" name="Forma livre: Forma 88">
              <a:extLst>
                <a:ext uri="{FF2B5EF4-FFF2-40B4-BE49-F238E27FC236}">
                  <a16:creationId xmlns:a16="http://schemas.microsoft.com/office/drawing/2014/main" id="{8FDA89A1-016F-52B1-54A9-91C173F91C86}"/>
                </a:ext>
              </a:extLst>
            </p:cNvPr>
            <p:cNvSpPr/>
            <p:nvPr/>
          </p:nvSpPr>
          <p:spPr>
            <a:xfrm>
              <a:off x="5328459" y="4494073"/>
              <a:ext cx="67340" cy="63299"/>
            </a:xfrm>
            <a:custGeom>
              <a:avLst/>
              <a:gdLst>
                <a:gd name="connsiteX0" fmla="*/ 4887 w 65163"/>
                <a:gd name="connsiteY0" fmla="*/ 6353 h 61253"/>
                <a:gd name="connsiteX1" fmla="*/ 10426 w 65163"/>
                <a:gd name="connsiteY1" fmla="*/ 2769 h 61253"/>
                <a:gd name="connsiteX2" fmla="*/ 9123 w 65163"/>
                <a:gd name="connsiteY2" fmla="*/ 489 h 61253"/>
                <a:gd name="connsiteX3" fmla="*/ 5376 w 65163"/>
                <a:gd name="connsiteY3" fmla="*/ 0 h 61253"/>
                <a:gd name="connsiteX4" fmla="*/ 2118 w 65163"/>
                <a:gd name="connsiteY4" fmla="*/ 1466 h 61253"/>
                <a:gd name="connsiteX5" fmla="*/ 0 w 65163"/>
                <a:gd name="connsiteY5" fmla="*/ 2118 h 61253"/>
                <a:gd name="connsiteX6" fmla="*/ 1303 w 65163"/>
                <a:gd name="connsiteY6" fmla="*/ 6028 h 61253"/>
                <a:gd name="connsiteX7" fmla="*/ 4887 w 65163"/>
                <a:gd name="connsiteY7" fmla="*/ 6353 h 61253"/>
                <a:gd name="connsiteX8" fmla="*/ 4887 w 65163"/>
                <a:gd name="connsiteY8" fmla="*/ 6353 h 61253"/>
                <a:gd name="connsiteX9" fmla="*/ 11892 w 65163"/>
                <a:gd name="connsiteY9" fmla="*/ 10589 h 61253"/>
                <a:gd name="connsiteX10" fmla="*/ 10263 w 65163"/>
                <a:gd name="connsiteY10" fmla="*/ 7494 h 61253"/>
                <a:gd name="connsiteX11" fmla="*/ 12218 w 65163"/>
                <a:gd name="connsiteY11" fmla="*/ 5376 h 61253"/>
                <a:gd name="connsiteX12" fmla="*/ 14662 w 65163"/>
                <a:gd name="connsiteY12" fmla="*/ 6191 h 61253"/>
                <a:gd name="connsiteX13" fmla="*/ 14173 w 65163"/>
                <a:gd name="connsiteY13" fmla="*/ 9123 h 61253"/>
                <a:gd name="connsiteX14" fmla="*/ 11892 w 65163"/>
                <a:gd name="connsiteY14" fmla="*/ 10752 h 61253"/>
                <a:gd name="connsiteX15" fmla="*/ 11892 w 65163"/>
                <a:gd name="connsiteY15" fmla="*/ 10752 h 61253"/>
                <a:gd name="connsiteX16" fmla="*/ 31115 w 65163"/>
                <a:gd name="connsiteY16" fmla="*/ 16291 h 61253"/>
                <a:gd name="connsiteX17" fmla="*/ 29487 w 65163"/>
                <a:gd name="connsiteY17" fmla="*/ 16291 h 61253"/>
                <a:gd name="connsiteX18" fmla="*/ 28183 w 65163"/>
                <a:gd name="connsiteY18" fmla="*/ 17106 h 61253"/>
                <a:gd name="connsiteX19" fmla="*/ 25577 w 65163"/>
                <a:gd name="connsiteY19" fmla="*/ 14988 h 61253"/>
                <a:gd name="connsiteX20" fmla="*/ 26554 w 65163"/>
                <a:gd name="connsiteY20" fmla="*/ 13033 h 61253"/>
                <a:gd name="connsiteX21" fmla="*/ 29487 w 65163"/>
                <a:gd name="connsiteY21" fmla="*/ 13033 h 61253"/>
                <a:gd name="connsiteX22" fmla="*/ 32093 w 65163"/>
                <a:gd name="connsiteY22" fmla="*/ 14499 h 61253"/>
                <a:gd name="connsiteX23" fmla="*/ 32419 w 65163"/>
                <a:gd name="connsiteY23" fmla="*/ 15965 h 61253"/>
                <a:gd name="connsiteX24" fmla="*/ 31279 w 65163"/>
                <a:gd name="connsiteY24" fmla="*/ 16291 h 61253"/>
                <a:gd name="connsiteX25" fmla="*/ 31279 w 65163"/>
                <a:gd name="connsiteY25" fmla="*/ 16291 h 61253"/>
                <a:gd name="connsiteX26" fmla="*/ 40076 w 65163"/>
                <a:gd name="connsiteY26" fmla="*/ 16128 h 61253"/>
                <a:gd name="connsiteX27" fmla="*/ 36329 w 65163"/>
                <a:gd name="connsiteY27" fmla="*/ 17594 h 61253"/>
                <a:gd name="connsiteX28" fmla="*/ 34699 w 65163"/>
                <a:gd name="connsiteY28" fmla="*/ 15150 h 61253"/>
                <a:gd name="connsiteX29" fmla="*/ 36491 w 65163"/>
                <a:gd name="connsiteY29" fmla="*/ 13196 h 61253"/>
                <a:gd name="connsiteX30" fmla="*/ 39913 w 65163"/>
                <a:gd name="connsiteY30" fmla="*/ 16128 h 61253"/>
                <a:gd name="connsiteX31" fmla="*/ 39913 w 65163"/>
                <a:gd name="connsiteY31" fmla="*/ 16128 h 61253"/>
                <a:gd name="connsiteX32" fmla="*/ 61905 w 65163"/>
                <a:gd name="connsiteY32" fmla="*/ 14010 h 61253"/>
                <a:gd name="connsiteX33" fmla="*/ 60765 w 65163"/>
                <a:gd name="connsiteY33" fmla="*/ 9937 h 61253"/>
                <a:gd name="connsiteX34" fmla="*/ 63372 w 65163"/>
                <a:gd name="connsiteY34" fmla="*/ 7331 h 61253"/>
                <a:gd name="connsiteX35" fmla="*/ 63372 w 65163"/>
                <a:gd name="connsiteY35" fmla="*/ 11729 h 61253"/>
                <a:gd name="connsiteX36" fmla="*/ 61905 w 65163"/>
                <a:gd name="connsiteY36" fmla="*/ 14010 h 61253"/>
                <a:gd name="connsiteX37" fmla="*/ 61905 w 65163"/>
                <a:gd name="connsiteY37" fmla="*/ 14010 h 61253"/>
                <a:gd name="connsiteX38" fmla="*/ 60276 w 65163"/>
                <a:gd name="connsiteY38" fmla="*/ 31604 h 61253"/>
                <a:gd name="connsiteX39" fmla="*/ 57833 w 65163"/>
                <a:gd name="connsiteY39" fmla="*/ 27857 h 61253"/>
                <a:gd name="connsiteX40" fmla="*/ 61091 w 65163"/>
                <a:gd name="connsiteY40" fmla="*/ 24599 h 61253"/>
                <a:gd name="connsiteX41" fmla="*/ 64186 w 65163"/>
                <a:gd name="connsiteY41" fmla="*/ 25740 h 61253"/>
                <a:gd name="connsiteX42" fmla="*/ 65164 w 65163"/>
                <a:gd name="connsiteY42" fmla="*/ 29975 h 61253"/>
                <a:gd name="connsiteX43" fmla="*/ 62883 w 65163"/>
                <a:gd name="connsiteY43" fmla="*/ 31604 h 61253"/>
                <a:gd name="connsiteX44" fmla="*/ 60113 w 65163"/>
                <a:gd name="connsiteY44" fmla="*/ 31604 h 61253"/>
                <a:gd name="connsiteX45" fmla="*/ 54086 w 65163"/>
                <a:gd name="connsiteY45" fmla="*/ 54737 h 61253"/>
                <a:gd name="connsiteX46" fmla="*/ 52945 w 65163"/>
                <a:gd name="connsiteY46" fmla="*/ 52131 h 61253"/>
                <a:gd name="connsiteX47" fmla="*/ 54574 w 65163"/>
                <a:gd name="connsiteY47" fmla="*/ 50665 h 61253"/>
                <a:gd name="connsiteX48" fmla="*/ 57018 w 65163"/>
                <a:gd name="connsiteY48" fmla="*/ 53597 h 61253"/>
                <a:gd name="connsiteX49" fmla="*/ 54086 w 65163"/>
                <a:gd name="connsiteY49" fmla="*/ 54737 h 61253"/>
                <a:gd name="connsiteX50" fmla="*/ 54086 w 65163"/>
                <a:gd name="connsiteY50" fmla="*/ 54737 h 61253"/>
                <a:gd name="connsiteX51" fmla="*/ 41379 w 65163"/>
                <a:gd name="connsiteY51" fmla="*/ 60114 h 61253"/>
                <a:gd name="connsiteX52" fmla="*/ 41379 w 65163"/>
                <a:gd name="connsiteY52" fmla="*/ 54249 h 61253"/>
                <a:gd name="connsiteX53" fmla="*/ 38935 w 65163"/>
                <a:gd name="connsiteY53" fmla="*/ 50502 h 61253"/>
                <a:gd name="connsiteX54" fmla="*/ 43171 w 65163"/>
                <a:gd name="connsiteY54" fmla="*/ 51642 h 61253"/>
                <a:gd name="connsiteX55" fmla="*/ 48384 w 65163"/>
                <a:gd name="connsiteY55" fmla="*/ 57344 h 61253"/>
                <a:gd name="connsiteX56" fmla="*/ 47081 w 65163"/>
                <a:gd name="connsiteY56" fmla="*/ 61254 h 61253"/>
                <a:gd name="connsiteX57" fmla="*/ 41379 w 65163"/>
                <a:gd name="connsiteY57" fmla="*/ 60114 h 612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</a:cxnLst>
              <a:rect l="l" t="t" r="r" b="b"/>
              <a:pathLst>
                <a:path w="65163" h="61253">
                  <a:moveTo>
                    <a:pt x="4887" y="6353"/>
                  </a:moveTo>
                  <a:lnTo>
                    <a:pt x="10426" y="2769"/>
                  </a:lnTo>
                  <a:lnTo>
                    <a:pt x="9123" y="489"/>
                  </a:lnTo>
                  <a:lnTo>
                    <a:pt x="5376" y="0"/>
                  </a:lnTo>
                  <a:lnTo>
                    <a:pt x="2118" y="1466"/>
                  </a:lnTo>
                  <a:lnTo>
                    <a:pt x="0" y="2118"/>
                  </a:lnTo>
                  <a:lnTo>
                    <a:pt x="1303" y="6028"/>
                  </a:lnTo>
                  <a:cubicBezTo>
                    <a:pt x="1303" y="6028"/>
                    <a:pt x="4561" y="6191"/>
                    <a:pt x="4887" y="6353"/>
                  </a:cubicBezTo>
                  <a:lnTo>
                    <a:pt x="4887" y="6353"/>
                  </a:lnTo>
                  <a:close/>
                  <a:moveTo>
                    <a:pt x="11892" y="10589"/>
                  </a:moveTo>
                  <a:lnTo>
                    <a:pt x="10263" y="7494"/>
                  </a:lnTo>
                  <a:lnTo>
                    <a:pt x="12218" y="5376"/>
                  </a:lnTo>
                  <a:lnTo>
                    <a:pt x="14662" y="6191"/>
                  </a:lnTo>
                  <a:lnTo>
                    <a:pt x="14173" y="9123"/>
                  </a:lnTo>
                  <a:cubicBezTo>
                    <a:pt x="14173" y="9123"/>
                    <a:pt x="11892" y="10752"/>
                    <a:pt x="11892" y="10752"/>
                  </a:cubicBezTo>
                  <a:lnTo>
                    <a:pt x="11892" y="10752"/>
                  </a:lnTo>
                  <a:close/>
                  <a:moveTo>
                    <a:pt x="31115" y="16291"/>
                  </a:moveTo>
                  <a:lnTo>
                    <a:pt x="29487" y="16291"/>
                  </a:lnTo>
                  <a:cubicBezTo>
                    <a:pt x="29487" y="16291"/>
                    <a:pt x="28183" y="17106"/>
                    <a:pt x="28183" y="17106"/>
                  </a:cubicBezTo>
                  <a:lnTo>
                    <a:pt x="25577" y="14988"/>
                  </a:lnTo>
                  <a:lnTo>
                    <a:pt x="26554" y="13033"/>
                  </a:lnTo>
                  <a:lnTo>
                    <a:pt x="29487" y="13033"/>
                  </a:lnTo>
                  <a:cubicBezTo>
                    <a:pt x="29487" y="13033"/>
                    <a:pt x="32093" y="14499"/>
                    <a:pt x="32093" y="14499"/>
                  </a:cubicBezTo>
                  <a:lnTo>
                    <a:pt x="32419" y="15965"/>
                  </a:lnTo>
                  <a:cubicBezTo>
                    <a:pt x="32419" y="15965"/>
                    <a:pt x="31279" y="16291"/>
                    <a:pt x="31279" y="16291"/>
                  </a:cubicBezTo>
                  <a:lnTo>
                    <a:pt x="31279" y="16291"/>
                  </a:lnTo>
                  <a:close/>
                  <a:moveTo>
                    <a:pt x="40076" y="16128"/>
                  </a:moveTo>
                  <a:lnTo>
                    <a:pt x="36329" y="17594"/>
                  </a:lnTo>
                  <a:lnTo>
                    <a:pt x="34699" y="15150"/>
                  </a:lnTo>
                  <a:lnTo>
                    <a:pt x="36491" y="13196"/>
                  </a:lnTo>
                  <a:lnTo>
                    <a:pt x="39913" y="16128"/>
                  </a:lnTo>
                  <a:lnTo>
                    <a:pt x="39913" y="16128"/>
                  </a:lnTo>
                  <a:close/>
                  <a:moveTo>
                    <a:pt x="61905" y="14010"/>
                  </a:moveTo>
                  <a:lnTo>
                    <a:pt x="60765" y="9937"/>
                  </a:lnTo>
                  <a:lnTo>
                    <a:pt x="63372" y="7331"/>
                  </a:lnTo>
                  <a:lnTo>
                    <a:pt x="63372" y="11729"/>
                  </a:lnTo>
                  <a:lnTo>
                    <a:pt x="61905" y="14010"/>
                  </a:lnTo>
                  <a:lnTo>
                    <a:pt x="61905" y="14010"/>
                  </a:lnTo>
                  <a:close/>
                  <a:moveTo>
                    <a:pt x="60276" y="31604"/>
                  </a:moveTo>
                  <a:lnTo>
                    <a:pt x="57833" y="27857"/>
                  </a:lnTo>
                  <a:lnTo>
                    <a:pt x="61091" y="24599"/>
                  </a:lnTo>
                  <a:lnTo>
                    <a:pt x="64186" y="25740"/>
                  </a:lnTo>
                  <a:lnTo>
                    <a:pt x="65164" y="29975"/>
                  </a:lnTo>
                  <a:lnTo>
                    <a:pt x="62883" y="31604"/>
                  </a:lnTo>
                  <a:lnTo>
                    <a:pt x="60113" y="31604"/>
                  </a:lnTo>
                  <a:close/>
                  <a:moveTo>
                    <a:pt x="54086" y="54737"/>
                  </a:moveTo>
                  <a:lnTo>
                    <a:pt x="52945" y="52131"/>
                  </a:lnTo>
                  <a:lnTo>
                    <a:pt x="54574" y="50665"/>
                  </a:lnTo>
                  <a:lnTo>
                    <a:pt x="57018" y="53597"/>
                  </a:lnTo>
                  <a:lnTo>
                    <a:pt x="54086" y="54737"/>
                  </a:lnTo>
                  <a:lnTo>
                    <a:pt x="54086" y="54737"/>
                  </a:lnTo>
                  <a:close/>
                  <a:moveTo>
                    <a:pt x="41379" y="60114"/>
                  </a:moveTo>
                  <a:lnTo>
                    <a:pt x="41379" y="54249"/>
                  </a:lnTo>
                  <a:cubicBezTo>
                    <a:pt x="41379" y="54249"/>
                    <a:pt x="38935" y="50502"/>
                    <a:pt x="38935" y="50502"/>
                  </a:cubicBezTo>
                  <a:lnTo>
                    <a:pt x="43171" y="51642"/>
                  </a:lnTo>
                  <a:lnTo>
                    <a:pt x="48384" y="57344"/>
                  </a:lnTo>
                  <a:lnTo>
                    <a:pt x="47081" y="61254"/>
                  </a:lnTo>
                  <a:lnTo>
                    <a:pt x="41379" y="60114"/>
                  </a:lnTo>
                  <a:close/>
                </a:path>
              </a:pathLst>
            </a:custGeom>
            <a:solidFill>
              <a:schemeClr val="bg2"/>
            </a:solidFill>
            <a:ln w="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0" name="Forma livre: Forma 89">
              <a:extLst>
                <a:ext uri="{FF2B5EF4-FFF2-40B4-BE49-F238E27FC236}">
                  <a16:creationId xmlns:a16="http://schemas.microsoft.com/office/drawing/2014/main" id="{05DE9C1E-016C-271C-4895-6E94EA134248}"/>
                </a:ext>
              </a:extLst>
            </p:cNvPr>
            <p:cNvSpPr/>
            <p:nvPr/>
          </p:nvSpPr>
          <p:spPr>
            <a:xfrm>
              <a:off x="6620886" y="4089190"/>
              <a:ext cx="331145" cy="277441"/>
            </a:xfrm>
            <a:custGeom>
              <a:avLst/>
              <a:gdLst>
                <a:gd name="connsiteX0" fmla="*/ 255930 w 320442"/>
                <a:gd name="connsiteY0" fmla="*/ 63046 h 268474"/>
                <a:gd name="connsiteX1" fmla="*/ 252672 w 320442"/>
                <a:gd name="connsiteY1" fmla="*/ 54412 h 268474"/>
                <a:gd name="connsiteX2" fmla="*/ 254790 w 320442"/>
                <a:gd name="connsiteY2" fmla="*/ 48221 h 268474"/>
                <a:gd name="connsiteX3" fmla="*/ 249251 w 320442"/>
                <a:gd name="connsiteY3" fmla="*/ 34863 h 268474"/>
                <a:gd name="connsiteX4" fmla="*/ 241920 w 320442"/>
                <a:gd name="connsiteY4" fmla="*/ 23948 h 268474"/>
                <a:gd name="connsiteX5" fmla="*/ 239314 w 320442"/>
                <a:gd name="connsiteY5" fmla="*/ 14499 h 268474"/>
                <a:gd name="connsiteX6" fmla="*/ 234263 w 320442"/>
                <a:gd name="connsiteY6" fmla="*/ 7168 h 268474"/>
                <a:gd name="connsiteX7" fmla="*/ 231494 w 320442"/>
                <a:gd name="connsiteY7" fmla="*/ 5865 h 268474"/>
                <a:gd name="connsiteX8" fmla="*/ 228236 w 320442"/>
                <a:gd name="connsiteY8" fmla="*/ 10263 h 268474"/>
                <a:gd name="connsiteX9" fmla="*/ 221231 w 320442"/>
                <a:gd name="connsiteY9" fmla="*/ 13033 h 268474"/>
                <a:gd name="connsiteX10" fmla="*/ 204940 w 320442"/>
                <a:gd name="connsiteY10" fmla="*/ 10263 h 268474"/>
                <a:gd name="connsiteX11" fmla="*/ 192070 w 320442"/>
                <a:gd name="connsiteY11" fmla="*/ 13684 h 268474"/>
                <a:gd name="connsiteX12" fmla="*/ 182784 w 320442"/>
                <a:gd name="connsiteY12" fmla="*/ 7168 h 268474"/>
                <a:gd name="connsiteX13" fmla="*/ 181644 w 320442"/>
                <a:gd name="connsiteY13" fmla="*/ 11567 h 268474"/>
                <a:gd name="connsiteX14" fmla="*/ 185228 w 320442"/>
                <a:gd name="connsiteY14" fmla="*/ 16780 h 268474"/>
                <a:gd name="connsiteX15" fmla="*/ 184902 w 320442"/>
                <a:gd name="connsiteY15" fmla="*/ 20038 h 268474"/>
                <a:gd name="connsiteX16" fmla="*/ 181481 w 320442"/>
                <a:gd name="connsiteY16" fmla="*/ 14825 h 268474"/>
                <a:gd name="connsiteX17" fmla="*/ 176268 w 320442"/>
                <a:gd name="connsiteY17" fmla="*/ 11892 h 268474"/>
                <a:gd name="connsiteX18" fmla="*/ 175127 w 320442"/>
                <a:gd name="connsiteY18" fmla="*/ 7494 h 268474"/>
                <a:gd name="connsiteX19" fmla="*/ 177571 w 320442"/>
                <a:gd name="connsiteY19" fmla="*/ 6353 h 268474"/>
                <a:gd name="connsiteX20" fmla="*/ 175453 w 320442"/>
                <a:gd name="connsiteY20" fmla="*/ 4236 h 268474"/>
                <a:gd name="connsiteX21" fmla="*/ 171218 w 320442"/>
                <a:gd name="connsiteY21" fmla="*/ 4725 h 268474"/>
                <a:gd name="connsiteX22" fmla="*/ 166004 w 320442"/>
                <a:gd name="connsiteY22" fmla="*/ 3095 h 268474"/>
                <a:gd name="connsiteX23" fmla="*/ 157370 w 320442"/>
                <a:gd name="connsiteY23" fmla="*/ 652 h 268474"/>
                <a:gd name="connsiteX24" fmla="*/ 155904 w 320442"/>
                <a:gd name="connsiteY24" fmla="*/ 2281 h 268474"/>
                <a:gd name="connsiteX25" fmla="*/ 159651 w 320442"/>
                <a:gd name="connsiteY25" fmla="*/ 3095 h 268474"/>
                <a:gd name="connsiteX26" fmla="*/ 160466 w 320442"/>
                <a:gd name="connsiteY26" fmla="*/ 4725 h 268474"/>
                <a:gd name="connsiteX27" fmla="*/ 155579 w 320442"/>
                <a:gd name="connsiteY27" fmla="*/ 5376 h 268474"/>
                <a:gd name="connsiteX28" fmla="*/ 150691 w 320442"/>
                <a:gd name="connsiteY28" fmla="*/ 4725 h 268474"/>
                <a:gd name="connsiteX29" fmla="*/ 145152 w 320442"/>
                <a:gd name="connsiteY29" fmla="*/ 7168 h 268474"/>
                <a:gd name="connsiteX30" fmla="*/ 143360 w 320442"/>
                <a:gd name="connsiteY30" fmla="*/ 5376 h 268474"/>
                <a:gd name="connsiteX31" fmla="*/ 143523 w 320442"/>
                <a:gd name="connsiteY31" fmla="*/ 4236 h 268474"/>
                <a:gd name="connsiteX32" fmla="*/ 148411 w 320442"/>
                <a:gd name="connsiteY32" fmla="*/ 3584 h 268474"/>
                <a:gd name="connsiteX33" fmla="*/ 152483 w 320442"/>
                <a:gd name="connsiteY33" fmla="*/ 1792 h 268474"/>
                <a:gd name="connsiteX34" fmla="*/ 147433 w 320442"/>
                <a:gd name="connsiteY34" fmla="*/ 2444 h 268474"/>
                <a:gd name="connsiteX35" fmla="*/ 140102 w 320442"/>
                <a:gd name="connsiteY35" fmla="*/ 2769 h 268474"/>
                <a:gd name="connsiteX36" fmla="*/ 137007 w 320442"/>
                <a:gd name="connsiteY36" fmla="*/ 4887 h 268474"/>
                <a:gd name="connsiteX37" fmla="*/ 130327 w 320442"/>
                <a:gd name="connsiteY37" fmla="*/ 8634 h 268474"/>
                <a:gd name="connsiteX38" fmla="*/ 126906 w 320442"/>
                <a:gd name="connsiteY38" fmla="*/ 10426 h 268474"/>
                <a:gd name="connsiteX39" fmla="*/ 120390 w 320442"/>
                <a:gd name="connsiteY39" fmla="*/ 12544 h 268474"/>
                <a:gd name="connsiteX40" fmla="*/ 115014 w 320442"/>
                <a:gd name="connsiteY40" fmla="*/ 17757 h 268474"/>
                <a:gd name="connsiteX41" fmla="*/ 114036 w 320442"/>
                <a:gd name="connsiteY41" fmla="*/ 20038 h 268474"/>
                <a:gd name="connsiteX42" fmla="*/ 105402 w 320442"/>
                <a:gd name="connsiteY42" fmla="*/ 20038 h 268474"/>
                <a:gd name="connsiteX43" fmla="*/ 96279 w 320442"/>
                <a:gd name="connsiteY43" fmla="*/ 14336 h 268474"/>
                <a:gd name="connsiteX44" fmla="*/ 90252 w 320442"/>
                <a:gd name="connsiteY44" fmla="*/ 13684 h 268474"/>
                <a:gd name="connsiteX45" fmla="*/ 81455 w 320442"/>
                <a:gd name="connsiteY45" fmla="*/ 14336 h 268474"/>
                <a:gd name="connsiteX46" fmla="*/ 74124 w 320442"/>
                <a:gd name="connsiteY46" fmla="*/ 9612 h 268474"/>
                <a:gd name="connsiteX47" fmla="*/ 71191 w 320442"/>
                <a:gd name="connsiteY47" fmla="*/ 9612 h 268474"/>
                <a:gd name="connsiteX48" fmla="*/ 68096 w 320442"/>
                <a:gd name="connsiteY48" fmla="*/ 11567 h 268474"/>
                <a:gd name="connsiteX49" fmla="*/ 60928 w 320442"/>
                <a:gd name="connsiteY49" fmla="*/ 6517 h 268474"/>
                <a:gd name="connsiteX50" fmla="*/ 52620 w 320442"/>
                <a:gd name="connsiteY50" fmla="*/ 4725 h 268474"/>
                <a:gd name="connsiteX51" fmla="*/ 32745 w 320442"/>
                <a:gd name="connsiteY51" fmla="*/ 3258 h 268474"/>
                <a:gd name="connsiteX52" fmla="*/ 22970 w 320442"/>
                <a:gd name="connsiteY52" fmla="*/ 0 h 268474"/>
                <a:gd name="connsiteX53" fmla="*/ 10100 w 320442"/>
                <a:gd name="connsiteY53" fmla="*/ 489 h 268474"/>
                <a:gd name="connsiteX54" fmla="*/ 7657 w 320442"/>
                <a:gd name="connsiteY54" fmla="*/ 1303 h 268474"/>
                <a:gd name="connsiteX55" fmla="*/ 7657 w 320442"/>
                <a:gd name="connsiteY55" fmla="*/ 1303 h 268474"/>
                <a:gd name="connsiteX56" fmla="*/ 6028 w 320442"/>
                <a:gd name="connsiteY56" fmla="*/ 5539 h 268474"/>
                <a:gd name="connsiteX57" fmla="*/ 3747 w 320442"/>
                <a:gd name="connsiteY57" fmla="*/ 16291 h 268474"/>
                <a:gd name="connsiteX58" fmla="*/ 6679 w 320442"/>
                <a:gd name="connsiteY58" fmla="*/ 23133 h 268474"/>
                <a:gd name="connsiteX59" fmla="*/ 6679 w 320442"/>
                <a:gd name="connsiteY59" fmla="*/ 28835 h 268474"/>
                <a:gd name="connsiteX60" fmla="*/ 3095 w 320442"/>
                <a:gd name="connsiteY60" fmla="*/ 37632 h 268474"/>
                <a:gd name="connsiteX61" fmla="*/ 0 w 320442"/>
                <a:gd name="connsiteY61" fmla="*/ 45777 h 268474"/>
                <a:gd name="connsiteX62" fmla="*/ 3258 w 320442"/>
                <a:gd name="connsiteY62" fmla="*/ 52783 h 268474"/>
                <a:gd name="connsiteX63" fmla="*/ 6028 w 320442"/>
                <a:gd name="connsiteY63" fmla="*/ 65652 h 268474"/>
                <a:gd name="connsiteX64" fmla="*/ 14825 w 320442"/>
                <a:gd name="connsiteY64" fmla="*/ 268474 h 268474"/>
                <a:gd name="connsiteX65" fmla="*/ 320443 w 320442"/>
                <a:gd name="connsiteY65" fmla="*/ 266193 h 268474"/>
                <a:gd name="connsiteX66" fmla="*/ 320443 w 320442"/>
                <a:gd name="connsiteY66" fmla="*/ 265705 h 268474"/>
                <a:gd name="connsiteX67" fmla="*/ 316044 w 320442"/>
                <a:gd name="connsiteY67" fmla="*/ 263913 h 268474"/>
                <a:gd name="connsiteX68" fmla="*/ 310016 w 320442"/>
                <a:gd name="connsiteY68" fmla="*/ 257885 h 268474"/>
                <a:gd name="connsiteX69" fmla="*/ 308550 w 320442"/>
                <a:gd name="connsiteY69" fmla="*/ 254627 h 268474"/>
                <a:gd name="connsiteX70" fmla="*/ 303174 w 320442"/>
                <a:gd name="connsiteY70" fmla="*/ 253161 h 268474"/>
                <a:gd name="connsiteX71" fmla="*/ 299916 w 320442"/>
                <a:gd name="connsiteY71" fmla="*/ 246319 h 268474"/>
                <a:gd name="connsiteX72" fmla="*/ 296821 w 320442"/>
                <a:gd name="connsiteY72" fmla="*/ 247785 h 268474"/>
                <a:gd name="connsiteX73" fmla="*/ 292096 w 320442"/>
                <a:gd name="connsiteY73" fmla="*/ 247622 h 268474"/>
                <a:gd name="connsiteX74" fmla="*/ 284114 w 320442"/>
                <a:gd name="connsiteY74" fmla="*/ 242409 h 268474"/>
                <a:gd name="connsiteX75" fmla="*/ 280204 w 320442"/>
                <a:gd name="connsiteY75" fmla="*/ 229213 h 268474"/>
                <a:gd name="connsiteX76" fmla="*/ 281018 w 320442"/>
                <a:gd name="connsiteY76" fmla="*/ 225629 h 268474"/>
                <a:gd name="connsiteX77" fmla="*/ 280693 w 320442"/>
                <a:gd name="connsiteY77" fmla="*/ 219276 h 268474"/>
                <a:gd name="connsiteX78" fmla="*/ 279063 w 320442"/>
                <a:gd name="connsiteY78" fmla="*/ 215855 h 268474"/>
                <a:gd name="connsiteX79" fmla="*/ 279715 w 320442"/>
                <a:gd name="connsiteY79" fmla="*/ 213574 h 268474"/>
                <a:gd name="connsiteX80" fmla="*/ 281507 w 320442"/>
                <a:gd name="connsiteY80" fmla="*/ 215203 h 268474"/>
                <a:gd name="connsiteX81" fmla="*/ 289164 w 320442"/>
                <a:gd name="connsiteY81" fmla="*/ 215692 h 268474"/>
                <a:gd name="connsiteX82" fmla="*/ 286232 w 320442"/>
                <a:gd name="connsiteY82" fmla="*/ 212596 h 268474"/>
                <a:gd name="connsiteX83" fmla="*/ 283788 w 320442"/>
                <a:gd name="connsiteY83" fmla="*/ 212108 h 268474"/>
                <a:gd name="connsiteX84" fmla="*/ 279552 w 320442"/>
                <a:gd name="connsiteY84" fmla="*/ 205591 h 268474"/>
                <a:gd name="connsiteX85" fmla="*/ 277923 w 320442"/>
                <a:gd name="connsiteY85" fmla="*/ 204451 h 268474"/>
                <a:gd name="connsiteX86" fmla="*/ 277597 w 320442"/>
                <a:gd name="connsiteY86" fmla="*/ 206080 h 268474"/>
                <a:gd name="connsiteX87" fmla="*/ 274665 w 320442"/>
                <a:gd name="connsiteY87" fmla="*/ 202659 h 268474"/>
                <a:gd name="connsiteX88" fmla="*/ 272547 w 320442"/>
                <a:gd name="connsiteY88" fmla="*/ 195817 h 268474"/>
                <a:gd name="connsiteX89" fmla="*/ 262284 w 320442"/>
                <a:gd name="connsiteY89" fmla="*/ 180829 h 268474"/>
                <a:gd name="connsiteX90" fmla="*/ 258048 w 320442"/>
                <a:gd name="connsiteY90" fmla="*/ 178223 h 268474"/>
                <a:gd name="connsiteX91" fmla="*/ 256908 w 320442"/>
                <a:gd name="connsiteY91" fmla="*/ 171055 h 268474"/>
                <a:gd name="connsiteX92" fmla="*/ 240780 w 320442"/>
                <a:gd name="connsiteY92" fmla="*/ 147433 h 268474"/>
                <a:gd name="connsiteX93" fmla="*/ 241106 w 320442"/>
                <a:gd name="connsiteY93" fmla="*/ 142057 h 268474"/>
                <a:gd name="connsiteX94" fmla="*/ 238336 w 320442"/>
                <a:gd name="connsiteY94" fmla="*/ 137821 h 268474"/>
                <a:gd name="connsiteX95" fmla="*/ 237359 w 320442"/>
                <a:gd name="connsiteY95" fmla="*/ 127884 h 268474"/>
                <a:gd name="connsiteX96" fmla="*/ 234589 w 320442"/>
                <a:gd name="connsiteY96" fmla="*/ 124626 h 268474"/>
                <a:gd name="connsiteX97" fmla="*/ 234589 w 320442"/>
                <a:gd name="connsiteY97" fmla="*/ 121693 h 268474"/>
                <a:gd name="connsiteX98" fmla="*/ 225955 w 320442"/>
                <a:gd name="connsiteY98" fmla="*/ 112244 h 268474"/>
                <a:gd name="connsiteX99" fmla="*/ 225629 w 320442"/>
                <a:gd name="connsiteY99" fmla="*/ 108498 h 268474"/>
                <a:gd name="connsiteX100" fmla="*/ 226607 w 320442"/>
                <a:gd name="connsiteY100" fmla="*/ 104588 h 268474"/>
                <a:gd name="connsiteX101" fmla="*/ 224326 w 320442"/>
                <a:gd name="connsiteY101" fmla="*/ 100515 h 268474"/>
                <a:gd name="connsiteX102" fmla="*/ 209501 w 320442"/>
                <a:gd name="connsiteY102" fmla="*/ 87808 h 268474"/>
                <a:gd name="connsiteX103" fmla="*/ 208361 w 320442"/>
                <a:gd name="connsiteY103" fmla="*/ 83898 h 268474"/>
                <a:gd name="connsiteX104" fmla="*/ 198912 w 320442"/>
                <a:gd name="connsiteY104" fmla="*/ 72658 h 268474"/>
                <a:gd name="connsiteX105" fmla="*/ 198912 w 320442"/>
                <a:gd name="connsiteY105" fmla="*/ 66793 h 268474"/>
                <a:gd name="connsiteX106" fmla="*/ 193373 w 320442"/>
                <a:gd name="connsiteY106" fmla="*/ 59788 h 268474"/>
                <a:gd name="connsiteX107" fmla="*/ 194025 w 320442"/>
                <a:gd name="connsiteY107" fmla="*/ 56367 h 268474"/>
                <a:gd name="connsiteX108" fmla="*/ 193699 w 320442"/>
                <a:gd name="connsiteY108" fmla="*/ 52945 h 268474"/>
                <a:gd name="connsiteX109" fmla="*/ 194839 w 320442"/>
                <a:gd name="connsiteY109" fmla="*/ 51153 h 268474"/>
                <a:gd name="connsiteX110" fmla="*/ 195817 w 320442"/>
                <a:gd name="connsiteY110" fmla="*/ 52620 h 268474"/>
                <a:gd name="connsiteX111" fmla="*/ 198261 w 320442"/>
                <a:gd name="connsiteY111" fmla="*/ 52620 h 268474"/>
                <a:gd name="connsiteX112" fmla="*/ 200052 w 320442"/>
                <a:gd name="connsiteY112" fmla="*/ 59299 h 268474"/>
                <a:gd name="connsiteX113" fmla="*/ 202333 w 320442"/>
                <a:gd name="connsiteY113" fmla="*/ 61906 h 268474"/>
                <a:gd name="connsiteX114" fmla="*/ 202985 w 320442"/>
                <a:gd name="connsiteY114" fmla="*/ 65326 h 268474"/>
                <a:gd name="connsiteX115" fmla="*/ 212759 w 320442"/>
                <a:gd name="connsiteY115" fmla="*/ 73635 h 268474"/>
                <a:gd name="connsiteX116" fmla="*/ 212759 w 320442"/>
                <a:gd name="connsiteY116" fmla="*/ 78522 h 268474"/>
                <a:gd name="connsiteX117" fmla="*/ 215366 w 320442"/>
                <a:gd name="connsiteY117" fmla="*/ 83572 h 268474"/>
                <a:gd name="connsiteX118" fmla="*/ 222045 w 320442"/>
                <a:gd name="connsiteY118" fmla="*/ 86668 h 268474"/>
                <a:gd name="connsiteX119" fmla="*/ 223674 w 320442"/>
                <a:gd name="connsiteY119" fmla="*/ 91555 h 268474"/>
                <a:gd name="connsiteX120" fmla="*/ 235893 w 320442"/>
                <a:gd name="connsiteY120" fmla="*/ 104588 h 268474"/>
                <a:gd name="connsiteX121" fmla="*/ 242572 w 320442"/>
                <a:gd name="connsiteY121" fmla="*/ 108172 h 268474"/>
                <a:gd name="connsiteX122" fmla="*/ 243386 w 320442"/>
                <a:gd name="connsiteY122" fmla="*/ 109801 h 268474"/>
                <a:gd name="connsiteX123" fmla="*/ 244364 w 320442"/>
                <a:gd name="connsiteY123" fmla="*/ 106706 h 268474"/>
                <a:gd name="connsiteX124" fmla="*/ 247785 w 320442"/>
                <a:gd name="connsiteY124" fmla="*/ 103284 h 268474"/>
                <a:gd name="connsiteX125" fmla="*/ 249740 w 320442"/>
                <a:gd name="connsiteY125" fmla="*/ 94325 h 268474"/>
                <a:gd name="connsiteX126" fmla="*/ 247459 w 320442"/>
                <a:gd name="connsiteY126" fmla="*/ 91881 h 268474"/>
                <a:gd name="connsiteX127" fmla="*/ 250554 w 320442"/>
                <a:gd name="connsiteY127" fmla="*/ 84224 h 268474"/>
                <a:gd name="connsiteX128" fmla="*/ 251043 w 320442"/>
                <a:gd name="connsiteY128" fmla="*/ 78848 h 268474"/>
                <a:gd name="connsiteX129" fmla="*/ 254953 w 320442"/>
                <a:gd name="connsiteY129" fmla="*/ 64675 h 268474"/>
                <a:gd name="connsiteX130" fmla="*/ 255930 w 320442"/>
                <a:gd name="connsiteY130" fmla="*/ 63046 h 2684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</a:cxnLst>
              <a:rect l="l" t="t" r="r" b="b"/>
              <a:pathLst>
                <a:path w="320442" h="268474">
                  <a:moveTo>
                    <a:pt x="255930" y="63046"/>
                  </a:moveTo>
                  <a:lnTo>
                    <a:pt x="252672" y="54412"/>
                  </a:lnTo>
                  <a:lnTo>
                    <a:pt x="254790" y="48221"/>
                  </a:lnTo>
                  <a:lnTo>
                    <a:pt x="249251" y="34863"/>
                  </a:lnTo>
                  <a:lnTo>
                    <a:pt x="241920" y="23948"/>
                  </a:lnTo>
                  <a:lnTo>
                    <a:pt x="239314" y="14499"/>
                  </a:lnTo>
                  <a:lnTo>
                    <a:pt x="234263" y="7168"/>
                  </a:lnTo>
                  <a:lnTo>
                    <a:pt x="231494" y="5865"/>
                  </a:lnTo>
                  <a:lnTo>
                    <a:pt x="228236" y="10263"/>
                  </a:lnTo>
                  <a:lnTo>
                    <a:pt x="221231" y="13033"/>
                  </a:lnTo>
                  <a:lnTo>
                    <a:pt x="204940" y="10263"/>
                  </a:lnTo>
                  <a:lnTo>
                    <a:pt x="192070" y="13684"/>
                  </a:lnTo>
                  <a:lnTo>
                    <a:pt x="182784" y="7168"/>
                  </a:lnTo>
                  <a:lnTo>
                    <a:pt x="181644" y="11567"/>
                  </a:lnTo>
                  <a:lnTo>
                    <a:pt x="185228" y="16780"/>
                  </a:lnTo>
                  <a:lnTo>
                    <a:pt x="184902" y="20038"/>
                  </a:lnTo>
                  <a:lnTo>
                    <a:pt x="181481" y="14825"/>
                  </a:lnTo>
                  <a:lnTo>
                    <a:pt x="176268" y="11892"/>
                  </a:lnTo>
                  <a:lnTo>
                    <a:pt x="175127" y="7494"/>
                  </a:lnTo>
                  <a:lnTo>
                    <a:pt x="177571" y="6353"/>
                  </a:lnTo>
                  <a:lnTo>
                    <a:pt x="175453" y="4236"/>
                  </a:lnTo>
                  <a:lnTo>
                    <a:pt x="171218" y="4725"/>
                  </a:lnTo>
                  <a:lnTo>
                    <a:pt x="166004" y="3095"/>
                  </a:lnTo>
                  <a:lnTo>
                    <a:pt x="157370" y="652"/>
                  </a:lnTo>
                  <a:lnTo>
                    <a:pt x="155904" y="2281"/>
                  </a:lnTo>
                  <a:lnTo>
                    <a:pt x="159651" y="3095"/>
                  </a:lnTo>
                  <a:lnTo>
                    <a:pt x="160466" y="4725"/>
                  </a:lnTo>
                  <a:lnTo>
                    <a:pt x="155579" y="5376"/>
                  </a:lnTo>
                  <a:lnTo>
                    <a:pt x="150691" y="4725"/>
                  </a:lnTo>
                  <a:lnTo>
                    <a:pt x="145152" y="7168"/>
                  </a:lnTo>
                  <a:lnTo>
                    <a:pt x="143360" y="5376"/>
                  </a:lnTo>
                  <a:lnTo>
                    <a:pt x="143523" y="4236"/>
                  </a:lnTo>
                  <a:lnTo>
                    <a:pt x="148411" y="3584"/>
                  </a:lnTo>
                  <a:lnTo>
                    <a:pt x="152483" y="1792"/>
                  </a:lnTo>
                  <a:lnTo>
                    <a:pt x="147433" y="2444"/>
                  </a:lnTo>
                  <a:lnTo>
                    <a:pt x="140102" y="2769"/>
                  </a:lnTo>
                  <a:lnTo>
                    <a:pt x="137007" y="4887"/>
                  </a:lnTo>
                  <a:lnTo>
                    <a:pt x="130327" y="8634"/>
                  </a:lnTo>
                  <a:lnTo>
                    <a:pt x="126906" y="10426"/>
                  </a:lnTo>
                  <a:lnTo>
                    <a:pt x="120390" y="12544"/>
                  </a:lnTo>
                  <a:lnTo>
                    <a:pt x="115014" y="17757"/>
                  </a:lnTo>
                  <a:lnTo>
                    <a:pt x="114036" y="20038"/>
                  </a:lnTo>
                  <a:lnTo>
                    <a:pt x="105402" y="20038"/>
                  </a:lnTo>
                  <a:lnTo>
                    <a:pt x="96279" y="14336"/>
                  </a:lnTo>
                  <a:lnTo>
                    <a:pt x="90252" y="13684"/>
                  </a:lnTo>
                  <a:lnTo>
                    <a:pt x="81455" y="14336"/>
                  </a:lnTo>
                  <a:lnTo>
                    <a:pt x="74124" y="9612"/>
                  </a:lnTo>
                  <a:lnTo>
                    <a:pt x="71191" y="9612"/>
                  </a:lnTo>
                  <a:lnTo>
                    <a:pt x="68096" y="11567"/>
                  </a:lnTo>
                  <a:lnTo>
                    <a:pt x="60928" y="6517"/>
                  </a:lnTo>
                  <a:lnTo>
                    <a:pt x="52620" y="4725"/>
                  </a:lnTo>
                  <a:lnTo>
                    <a:pt x="32745" y="3258"/>
                  </a:lnTo>
                  <a:lnTo>
                    <a:pt x="22970" y="0"/>
                  </a:lnTo>
                  <a:lnTo>
                    <a:pt x="10100" y="489"/>
                  </a:lnTo>
                  <a:lnTo>
                    <a:pt x="7657" y="1303"/>
                  </a:lnTo>
                  <a:lnTo>
                    <a:pt x="7657" y="1303"/>
                  </a:lnTo>
                  <a:lnTo>
                    <a:pt x="6028" y="5539"/>
                  </a:lnTo>
                  <a:lnTo>
                    <a:pt x="3747" y="16291"/>
                  </a:lnTo>
                  <a:lnTo>
                    <a:pt x="6679" y="23133"/>
                  </a:lnTo>
                  <a:lnTo>
                    <a:pt x="6679" y="28835"/>
                  </a:lnTo>
                  <a:lnTo>
                    <a:pt x="3095" y="37632"/>
                  </a:lnTo>
                  <a:lnTo>
                    <a:pt x="0" y="45777"/>
                  </a:lnTo>
                  <a:lnTo>
                    <a:pt x="3258" y="52783"/>
                  </a:lnTo>
                  <a:lnTo>
                    <a:pt x="6028" y="65652"/>
                  </a:lnTo>
                  <a:lnTo>
                    <a:pt x="14825" y="268474"/>
                  </a:lnTo>
                  <a:lnTo>
                    <a:pt x="320443" y="266193"/>
                  </a:lnTo>
                  <a:lnTo>
                    <a:pt x="320443" y="265705"/>
                  </a:lnTo>
                  <a:lnTo>
                    <a:pt x="316044" y="263913"/>
                  </a:lnTo>
                  <a:lnTo>
                    <a:pt x="310016" y="257885"/>
                  </a:lnTo>
                  <a:lnTo>
                    <a:pt x="308550" y="254627"/>
                  </a:lnTo>
                  <a:lnTo>
                    <a:pt x="303174" y="253161"/>
                  </a:lnTo>
                  <a:lnTo>
                    <a:pt x="299916" y="246319"/>
                  </a:lnTo>
                  <a:lnTo>
                    <a:pt x="296821" y="247785"/>
                  </a:lnTo>
                  <a:lnTo>
                    <a:pt x="292096" y="247622"/>
                  </a:lnTo>
                  <a:lnTo>
                    <a:pt x="284114" y="242409"/>
                  </a:lnTo>
                  <a:lnTo>
                    <a:pt x="280204" y="229213"/>
                  </a:lnTo>
                  <a:lnTo>
                    <a:pt x="281018" y="225629"/>
                  </a:lnTo>
                  <a:lnTo>
                    <a:pt x="280693" y="219276"/>
                  </a:lnTo>
                  <a:lnTo>
                    <a:pt x="279063" y="215855"/>
                  </a:lnTo>
                  <a:lnTo>
                    <a:pt x="279715" y="213574"/>
                  </a:lnTo>
                  <a:lnTo>
                    <a:pt x="281507" y="215203"/>
                  </a:lnTo>
                  <a:lnTo>
                    <a:pt x="289164" y="215692"/>
                  </a:lnTo>
                  <a:lnTo>
                    <a:pt x="286232" y="212596"/>
                  </a:lnTo>
                  <a:lnTo>
                    <a:pt x="283788" y="212108"/>
                  </a:lnTo>
                  <a:lnTo>
                    <a:pt x="279552" y="205591"/>
                  </a:lnTo>
                  <a:lnTo>
                    <a:pt x="277923" y="204451"/>
                  </a:lnTo>
                  <a:lnTo>
                    <a:pt x="277597" y="206080"/>
                  </a:lnTo>
                  <a:lnTo>
                    <a:pt x="274665" y="202659"/>
                  </a:lnTo>
                  <a:lnTo>
                    <a:pt x="272547" y="195817"/>
                  </a:lnTo>
                  <a:lnTo>
                    <a:pt x="262284" y="180829"/>
                  </a:lnTo>
                  <a:lnTo>
                    <a:pt x="258048" y="178223"/>
                  </a:lnTo>
                  <a:lnTo>
                    <a:pt x="256908" y="171055"/>
                  </a:lnTo>
                  <a:lnTo>
                    <a:pt x="240780" y="147433"/>
                  </a:lnTo>
                  <a:lnTo>
                    <a:pt x="241106" y="142057"/>
                  </a:lnTo>
                  <a:lnTo>
                    <a:pt x="238336" y="137821"/>
                  </a:lnTo>
                  <a:lnTo>
                    <a:pt x="237359" y="127884"/>
                  </a:lnTo>
                  <a:lnTo>
                    <a:pt x="234589" y="124626"/>
                  </a:lnTo>
                  <a:lnTo>
                    <a:pt x="234589" y="121693"/>
                  </a:lnTo>
                  <a:lnTo>
                    <a:pt x="225955" y="112244"/>
                  </a:lnTo>
                  <a:lnTo>
                    <a:pt x="225629" y="108498"/>
                  </a:lnTo>
                  <a:lnTo>
                    <a:pt x="226607" y="104588"/>
                  </a:lnTo>
                  <a:lnTo>
                    <a:pt x="224326" y="100515"/>
                  </a:lnTo>
                  <a:lnTo>
                    <a:pt x="209501" y="87808"/>
                  </a:lnTo>
                  <a:lnTo>
                    <a:pt x="208361" y="83898"/>
                  </a:lnTo>
                  <a:lnTo>
                    <a:pt x="198912" y="72658"/>
                  </a:lnTo>
                  <a:lnTo>
                    <a:pt x="198912" y="66793"/>
                  </a:lnTo>
                  <a:lnTo>
                    <a:pt x="193373" y="59788"/>
                  </a:lnTo>
                  <a:lnTo>
                    <a:pt x="194025" y="56367"/>
                  </a:lnTo>
                  <a:lnTo>
                    <a:pt x="193699" y="52945"/>
                  </a:lnTo>
                  <a:lnTo>
                    <a:pt x="194839" y="51153"/>
                  </a:lnTo>
                  <a:lnTo>
                    <a:pt x="195817" y="52620"/>
                  </a:lnTo>
                  <a:lnTo>
                    <a:pt x="198261" y="52620"/>
                  </a:lnTo>
                  <a:lnTo>
                    <a:pt x="200052" y="59299"/>
                  </a:lnTo>
                  <a:lnTo>
                    <a:pt x="202333" y="61906"/>
                  </a:lnTo>
                  <a:lnTo>
                    <a:pt x="202985" y="65326"/>
                  </a:lnTo>
                  <a:lnTo>
                    <a:pt x="212759" y="73635"/>
                  </a:lnTo>
                  <a:lnTo>
                    <a:pt x="212759" y="78522"/>
                  </a:lnTo>
                  <a:lnTo>
                    <a:pt x="215366" y="83572"/>
                  </a:lnTo>
                  <a:lnTo>
                    <a:pt x="222045" y="86668"/>
                  </a:lnTo>
                  <a:lnTo>
                    <a:pt x="223674" y="91555"/>
                  </a:lnTo>
                  <a:lnTo>
                    <a:pt x="235893" y="104588"/>
                  </a:lnTo>
                  <a:lnTo>
                    <a:pt x="242572" y="108172"/>
                  </a:lnTo>
                  <a:lnTo>
                    <a:pt x="243386" y="109801"/>
                  </a:lnTo>
                  <a:lnTo>
                    <a:pt x="244364" y="106706"/>
                  </a:lnTo>
                  <a:lnTo>
                    <a:pt x="247785" y="103284"/>
                  </a:lnTo>
                  <a:lnTo>
                    <a:pt x="249740" y="94325"/>
                  </a:lnTo>
                  <a:lnTo>
                    <a:pt x="247459" y="91881"/>
                  </a:lnTo>
                  <a:lnTo>
                    <a:pt x="250554" y="84224"/>
                  </a:lnTo>
                  <a:lnTo>
                    <a:pt x="251043" y="78848"/>
                  </a:lnTo>
                  <a:lnTo>
                    <a:pt x="254953" y="64675"/>
                  </a:lnTo>
                  <a:lnTo>
                    <a:pt x="255930" y="63046"/>
                  </a:lnTo>
                  <a:close/>
                </a:path>
              </a:pathLst>
            </a:custGeom>
            <a:solidFill>
              <a:schemeClr val="bg2"/>
            </a:solidFill>
            <a:ln w="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1" name="Forma livre: Forma 90">
              <a:extLst>
                <a:ext uri="{FF2B5EF4-FFF2-40B4-BE49-F238E27FC236}">
                  <a16:creationId xmlns:a16="http://schemas.microsoft.com/office/drawing/2014/main" id="{0B2FF7B3-19CF-AE47-4CA6-7C4F3F5EBC09}"/>
                </a:ext>
              </a:extLst>
            </p:cNvPr>
            <p:cNvSpPr/>
            <p:nvPr/>
          </p:nvSpPr>
          <p:spPr>
            <a:xfrm>
              <a:off x="6562132" y="4364275"/>
              <a:ext cx="437711" cy="502190"/>
            </a:xfrm>
            <a:custGeom>
              <a:avLst/>
              <a:gdLst>
                <a:gd name="connsiteX0" fmla="*/ 71680 w 423563"/>
                <a:gd name="connsiteY0" fmla="*/ 2281 h 485958"/>
                <a:gd name="connsiteX1" fmla="*/ 377298 w 423563"/>
                <a:gd name="connsiteY1" fmla="*/ 0 h 485958"/>
                <a:gd name="connsiteX2" fmla="*/ 376972 w 423563"/>
                <a:gd name="connsiteY2" fmla="*/ 2118 h 485958"/>
                <a:gd name="connsiteX3" fmla="*/ 376483 w 423563"/>
                <a:gd name="connsiteY3" fmla="*/ 4399 h 485958"/>
                <a:gd name="connsiteX4" fmla="*/ 377786 w 423563"/>
                <a:gd name="connsiteY4" fmla="*/ 6353 h 485958"/>
                <a:gd name="connsiteX5" fmla="*/ 377135 w 423563"/>
                <a:gd name="connsiteY5" fmla="*/ 7657 h 485958"/>
                <a:gd name="connsiteX6" fmla="*/ 378112 w 423563"/>
                <a:gd name="connsiteY6" fmla="*/ 8960 h 485958"/>
                <a:gd name="connsiteX7" fmla="*/ 377949 w 423563"/>
                <a:gd name="connsiteY7" fmla="*/ 9937 h 485958"/>
                <a:gd name="connsiteX8" fmla="*/ 378926 w 423563"/>
                <a:gd name="connsiteY8" fmla="*/ 11404 h 485958"/>
                <a:gd name="connsiteX9" fmla="*/ 380719 w 423563"/>
                <a:gd name="connsiteY9" fmla="*/ 18409 h 485958"/>
                <a:gd name="connsiteX10" fmla="*/ 385606 w 423563"/>
                <a:gd name="connsiteY10" fmla="*/ 24436 h 485958"/>
                <a:gd name="connsiteX11" fmla="*/ 385606 w 423563"/>
                <a:gd name="connsiteY11" fmla="*/ 26880 h 485958"/>
                <a:gd name="connsiteX12" fmla="*/ 384303 w 423563"/>
                <a:gd name="connsiteY12" fmla="*/ 26880 h 485958"/>
                <a:gd name="connsiteX13" fmla="*/ 383651 w 423563"/>
                <a:gd name="connsiteY13" fmla="*/ 25251 h 485958"/>
                <a:gd name="connsiteX14" fmla="*/ 381696 w 423563"/>
                <a:gd name="connsiteY14" fmla="*/ 22807 h 485958"/>
                <a:gd name="connsiteX15" fmla="*/ 380719 w 423563"/>
                <a:gd name="connsiteY15" fmla="*/ 23622 h 485958"/>
                <a:gd name="connsiteX16" fmla="*/ 381370 w 423563"/>
                <a:gd name="connsiteY16" fmla="*/ 28183 h 485958"/>
                <a:gd name="connsiteX17" fmla="*/ 387561 w 423563"/>
                <a:gd name="connsiteY17" fmla="*/ 46592 h 485958"/>
                <a:gd name="connsiteX18" fmla="*/ 389027 w 423563"/>
                <a:gd name="connsiteY18" fmla="*/ 56693 h 485958"/>
                <a:gd name="connsiteX19" fmla="*/ 387398 w 423563"/>
                <a:gd name="connsiteY19" fmla="*/ 66141 h 485958"/>
                <a:gd name="connsiteX20" fmla="*/ 390982 w 423563"/>
                <a:gd name="connsiteY20" fmla="*/ 77219 h 485958"/>
                <a:gd name="connsiteX21" fmla="*/ 395543 w 423563"/>
                <a:gd name="connsiteY21" fmla="*/ 85853 h 485958"/>
                <a:gd name="connsiteX22" fmla="*/ 399779 w 423563"/>
                <a:gd name="connsiteY22" fmla="*/ 86831 h 485958"/>
                <a:gd name="connsiteX23" fmla="*/ 411019 w 423563"/>
                <a:gd name="connsiteY23" fmla="*/ 94325 h 485958"/>
                <a:gd name="connsiteX24" fmla="*/ 411019 w 423563"/>
                <a:gd name="connsiteY24" fmla="*/ 99212 h 485958"/>
                <a:gd name="connsiteX25" fmla="*/ 416233 w 423563"/>
                <a:gd name="connsiteY25" fmla="*/ 99375 h 485958"/>
                <a:gd name="connsiteX26" fmla="*/ 421935 w 423563"/>
                <a:gd name="connsiteY26" fmla="*/ 102307 h 485958"/>
                <a:gd name="connsiteX27" fmla="*/ 421935 w 423563"/>
                <a:gd name="connsiteY27" fmla="*/ 105728 h 485958"/>
                <a:gd name="connsiteX28" fmla="*/ 423564 w 423563"/>
                <a:gd name="connsiteY28" fmla="*/ 105728 h 485958"/>
                <a:gd name="connsiteX29" fmla="*/ 420143 w 423563"/>
                <a:gd name="connsiteY29" fmla="*/ 110941 h 485958"/>
                <a:gd name="connsiteX30" fmla="*/ 415907 w 423563"/>
                <a:gd name="connsiteY30" fmla="*/ 113222 h 485958"/>
                <a:gd name="connsiteX31" fmla="*/ 411671 w 423563"/>
                <a:gd name="connsiteY31" fmla="*/ 114036 h 485958"/>
                <a:gd name="connsiteX32" fmla="*/ 409716 w 423563"/>
                <a:gd name="connsiteY32" fmla="*/ 117620 h 485958"/>
                <a:gd name="connsiteX33" fmla="*/ 404015 w 423563"/>
                <a:gd name="connsiteY33" fmla="*/ 117132 h 485958"/>
                <a:gd name="connsiteX34" fmla="*/ 400919 w 423563"/>
                <a:gd name="connsiteY34" fmla="*/ 119576 h 485958"/>
                <a:gd name="connsiteX35" fmla="*/ 395869 w 423563"/>
                <a:gd name="connsiteY35" fmla="*/ 120716 h 485958"/>
                <a:gd name="connsiteX36" fmla="*/ 395543 w 423563"/>
                <a:gd name="connsiteY36" fmla="*/ 123322 h 485958"/>
                <a:gd name="connsiteX37" fmla="*/ 396684 w 423563"/>
                <a:gd name="connsiteY37" fmla="*/ 125766 h 485958"/>
                <a:gd name="connsiteX38" fmla="*/ 396032 w 423563"/>
                <a:gd name="connsiteY38" fmla="*/ 128698 h 485958"/>
                <a:gd name="connsiteX39" fmla="*/ 389353 w 423563"/>
                <a:gd name="connsiteY39" fmla="*/ 128698 h 485958"/>
                <a:gd name="connsiteX40" fmla="*/ 386257 w 423563"/>
                <a:gd name="connsiteY40" fmla="*/ 130490 h 485958"/>
                <a:gd name="connsiteX41" fmla="*/ 386257 w 423563"/>
                <a:gd name="connsiteY41" fmla="*/ 135703 h 485958"/>
                <a:gd name="connsiteX42" fmla="*/ 383814 w 423563"/>
                <a:gd name="connsiteY42" fmla="*/ 141568 h 485958"/>
                <a:gd name="connsiteX43" fmla="*/ 386257 w 423563"/>
                <a:gd name="connsiteY43" fmla="*/ 143197 h 485958"/>
                <a:gd name="connsiteX44" fmla="*/ 387561 w 423563"/>
                <a:gd name="connsiteY44" fmla="*/ 145478 h 485958"/>
                <a:gd name="connsiteX45" fmla="*/ 385769 w 423563"/>
                <a:gd name="connsiteY45" fmla="*/ 147922 h 485958"/>
                <a:gd name="connsiteX46" fmla="*/ 382837 w 423563"/>
                <a:gd name="connsiteY46" fmla="*/ 155904 h 485958"/>
                <a:gd name="connsiteX47" fmla="*/ 380719 w 423563"/>
                <a:gd name="connsiteY47" fmla="*/ 168774 h 485958"/>
                <a:gd name="connsiteX48" fmla="*/ 376646 w 423563"/>
                <a:gd name="connsiteY48" fmla="*/ 174965 h 485958"/>
                <a:gd name="connsiteX49" fmla="*/ 376320 w 423563"/>
                <a:gd name="connsiteY49" fmla="*/ 179200 h 485958"/>
                <a:gd name="connsiteX50" fmla="*/ 373551 w 423563"/>
                <a:gd name="connsiteY50" fmla="*/ 182133 h 485958"/>
                <a:gd name="connsiteX51" fmla="*/ 373225 w 423563"/>
                <a:gd name="connsiteY51" fmla="*/ 188323 h 485958"/>
                <a:gd name="connsiteX52" fmla="*/ 376320 w 423563"/>
                <a:gd name="connsiteY52" fmla="*/ 199075 h 485958"/>
                <a:gd name="connsiteX53" fmla="*/ 377298 w 423563"/>
                <a:gd name="connsiteY53" fmla="*/ 204288 h 485958"/>
                <a:gd name="connsiteX54" fmla="*/ 378601 w 423563"/>
                <a:gd name="connsiteY54" fmla="*/ 204777 h 485958"/>
                <a:gd name="connsiteX55" fmla="*/ 377298 w 423563"/>
                <a:gd name="connsiteY55" fmla="*/ 206569 h 485958"/>
                <a:gd name="connsiteX56" fmla="*/ 374528 w 423563"/>
                <a:gd name="connsiteY56" fmla="*/ 214388 h 485958"/>
                <a:gd name="connsiteX57" fmla="*/ 374528 w 423563"/>
                <a:gd name="connsiteY57" fmla="*/ 223186 h 485958"/>
                <a:gd name="connsiteX58" fmla="*/ 367523 w 423563"/>
                <a:gd name="connsiteY58" fmla="*/ 234915 h 485958"/>
                <a:gd name="connsiteX59" fmla="*/ 364753 w 423563"/>
                <a:gd name="connsiteY59" fmla="*/ 243060 h 485958"/>
                <a:gd name="connsiteX60" fmla="*/ 362473 w 423563"/>
                <a:gd name="connsiteY60" fmla="*/ 242898 h 485958"/>
                <a:gd name="connsiteX61" fmla="*/ 357585 w 423563"/>
                <a:gd name="connsiteY61" fmla="*/ 243875 h 485958"/>
                <a:gd name="connsiteX62" fmla="*/ 356934 w 423563"/>
                <a:gd name="connsiteY62" fmla="*/ 248274 h 485958"/>
                <a:gd name="connsiteX63" fmla="*/ 350743 w 423563"/>
                <a:gd name="connsiteY63" fmla="*/ 258537 h 485958"/>
                <a:gd name="connsiteX64" fmla="*/ 350580 w 423563"/>
                <a:gd name="connsiteY64" fmla="*/ 262447 h 485958"/>
                <a:gd name="connsiteX65" fmla="*/ 343250 w 423563"/>
                <a:gd name="connsiteY65" fmla="*/ 267660 h 485958"/>
                <a:gd name="connsiteX66" fmla="*/ 340154 w 423563"/>
                <a:gd name="connsiteY66" fmla="*/ 275642 h 485958"/>
                <a:gd name="connsiteX67" fmla="*/ 335104 w 423563"/>
                <a:gd name="connsiteY67" fmla="*/ 294703 h 485958"/>
                <a:gd name="connsiteX68" fmla="*/ 332335 w 423563"/>
                <a:gd name="connsiteY68" fmla="*/ 293888 h 485958"/>
                <a:gd name="connsiteX69" fmla="*/ 330217 w 423563"/>
                <a:gd name="connsiteY69" fmla="*/ 294214 h 485958"/>
                <a:gd name="connsiteX70" fmla="*/ 329239 w 423563"/>
                <a:gd name="connsiteY70" fmla="*/ 297635 h 485958"/>
                <a:gd name="connsiteX71" fmla="*/ 323863 w 423563"/>
                <a:gd name="connsiteY71" fmla="*/ 304151 h 485958"/>
                <a:gd name="connsiteX72" fmla="*/ 321908 w 423563"/>
                <a:gd name="connsiteY72" fmla="*/ 309527 h 485958"/>
                <a:gd name="connsiteX73" fmla="*/ 323700 w 423563"/>
                <a:gd name="connsiteY73" fmla="*/ 312460 h 485958"/>
                <a:gd name="connsiteX74" fmla="*/ 323863 w 423563"/>
                <a:gd name="connsiteY74" fmla="*/ 317999 h 485958"/>
                <a:gd name="connsiteX75" fmla="*/ 319628 w 423563"/>
                <a:gd name="connsiteY75" fmla="*/ 324515 h 485958"/>
                <a:gd name="connsiteX76" fmla="*/ 317673 w 423563"/>
                <a:gd name="connsiteY76" fmla="*/ 331520 h 485958"/>
                <a:gd name="connsiteX77" fmla="*/ 318325 w 423563"/>
                <a:gd name="connsiteY77" fmla="*/ 341621 h 485958"/>
                <a:gd name="connsiteX78" fmla="*/ 317510 w 423563"/>
                <a:gd name="connsiteY78" fmla="*/ 353676 h 485958"/>
                <a:gd name="connsiteX79" fmla="*/ 314089 w 423563"/>
                <a:gd name="connsiteY79" fmla="*/ 356282 h 485958"/>
                <a:gd name="connsiteX80" fmla="*/ 312460 w 423563"/>
                <a:gd name="connsiteY80" fmla="*/ 359052 h 485958"/>
                <a:gd name="connsiteX81" fmla="*/ 309364 w 423563"/>
                <a:gd name="connsiteY81" fmla="*/ 358563 h 485958"/>
                <a:gd name="connsiteX82" fmla="*/ 306595 w 423563"/>
                <a:gd name="connsiteY82" fmla="*/ 356608 h 485958"/>
                <a:gd name="connsiteX83" fmla="*/ 301871 w 423563"/>
                <a:gd name="connsiteY83" fmla="*/ 357749 h 485958"/>
                <a:gd name="connsiteX84" fmla="*/ 296169 w 423563"/>
                <a:gd name="connsiteY84" fmla="*/ 356608 h 485958"/>
                <a:gd name="connsiteX85" fmla="*/ 295843 w 423563"/>
                <a:gd name="connsiteY85" fmla="*/ 362147 h 485958"/>
                <a:gd name="connsiteX86" fmla="*/ 293399 w 423563"/>
                <a:gd name="connsiteY86" fmla="*/ 363613 h 485958"/>
                <a:gd name="connsiteX87" fmla="*/ 289326 w 423563"/>
                <a:gd name="connsiteY87" fmla="*/ 369315 h 485958"/>
                <a:gd name="connsiteX88" fmla="*/ 291119 w 423563"/>
                <a:gd name="connsiteY88" fmla="*/ 372736 h 485958"/>
                <a:gd name="connsiteX89" fmla="*/ 295680 w 423563"/>
                <a:gd name="connsiteY89" fmla="*/ 374365 h 485958"/>
                <a:gd name="connsiteX90" fmla="*/ 306432 w 423563"/>
                <a:gd name="connsiteY90" fmla="*/ 374202 h 485958"/>
                <a:gd name="connsiteX91" fmla="*/ 308876 w 423563"/>
                <a:gd name="connsiteY91" fmla="*/ 377298 h 485958"/>
                <a:gd name="connsiteX92" fmla="*/ 313437 w 423563"/>
                <a:gd name="connsiteY92" fmla="*/ 381859 h 485958"/>
                <a:gd name="connsiteX93" fmla="*/ 314414 w 423563"/>
                <a:gd name="connsiteY93" fmla="*/ 385443 h 485958"/>
                <a:gd name="connsiteX94" fmla="*/ 316044 w 423563"/>
                <a:gd name="connsiteY94" fmla="*/ 386584 h 485958"/>
                <a:gd name="connsiteX95" fmla="*/ 321094 w 423563"/>
                <a:gd name="connsiteY95" fmla="*/ 395543 h 485958"/>
                <a:gd name="connsiteX96" fmla="*/ 325655 w 423563"/>
                <a:gd name="connsiteY96" fmla="*/ 397498 h 485958"/>
                <a:gd name="connsiteX97" fmla="*/ 325492 w 423563"/>
                <a:gd name="connsiteY97" fmla="*/ 399616 h 485958"/>
                <a:gd name="connsiteX98" fmla="*/ 327448 w 423563"/>
                <a:gd name="connsiteY98" fmla="*/ 401571 h 485958"/>
                <a:gd name="connsiteX99" fmla="*/ 332335 w 423563"/>
                <a:gd name="connsiteY99" fmla="*/ 401571 h 485958"/>
                <a:gd name="connsiteX100" fmla="*/ 335430 w 423563"/>
                <a:gd name="connsiteY100" fmla="*/ 405481 h 485958"/>
                <a:gd name="connsiteX101" fmla="*/ 337548 w 423563"/>
                <a:gd name="connsiteY101" fmla="*/ 409554 h 485958"/>
                <a:gd name="connsiteX102" fmla="*/ 341783 w 423563"/>
                <a:gd name="connsiteY102" fmla="*/ 414115 h 485958"/>
                <a:gd name="connsiteX103" fmla="*/ 342924 w 423563"/>
                <a:gd name="connsiteY103" fmla="*/ 423564 h 485958"/>
                <a:gd name="connsiteX104" fmla="*/ 345530 w 423563"/>
                <a:gd name="connsiteY104" fmla="*/ 426496 h 485958"/>
                <a:gd name="connsiteX105" fmla="*/ 347159 w 423563"/>
                <a:gd name="connsiteY105" fmla="*/ 435456 h 485958"/>
                <a:gd name="connsiteX106" fmla="*/ 338525 w 423563"/>
                <a:gd name="connsiteY106" fmla="*/ 445068 h 485958"/>
                <a:gd name="connsiteX107" fmla="*/ 332172 w 423563"/>
                <a:gd name="connsiteY107" fmla="*/ 454679 h 485958"/>
                <a:gd name="connsiteX108" fmla="*/ 329728 w 423563"/>
                <a:gd name="connsiteY108" fmla="*/ 453702 h 485958"/>
                <a:gd name="connsiteX109" fmla="*/ 325003 w 423563"/>
                <a:gd name="connsiteY109" fmla="*/ 458426 h 485958"/>
                <a:gd name="connsiteX110" fmla="*/ 322560 w 423563"/>
                <a:gd name="connsiteY110" fmla="*/ 461685 h 485958"/>
                <a:gd name="connsiteX111" fmla="*/ 320605 w 423563"/>
                <a:gd name="connsiteY111" fmla="*/ 462499 h 485958"/>
                <a:gd name="connsiteX112" fmla="*/ 317510 w 423563"/>
                <a:gd name="connsiteY112" fmla="*/ 466409 h 485958"/>
                <a:gd name="connsiteX113" fmla="*/ 317510 w 423563"/>
                <a:gd name="connsiteY113" fmla="*/ 466409 h 485958"/>
                <a:gd name="connsiteX114" fmla="*/ 311482 w 423563"/>
                <a:gd name="connsiteY114" fmla="*/ 470482 h 485958"/>
                <a:gd name="connsiteX115" fmla="*/ 308550 w 423563"/>
                <a:gd name="connsiteY115" fmla="*/ 474717 h 485958"/>
                <a:gd name="connsiteX116" fmla="*/ 302848 w 423563"/>
                <a:gd name="connsiteY116" fmla="*/ 477324 h 485958"/>
                <a:gd name="connsiteX117" fmla="*/ 296983 w 423563"/>
                <a:gd name="connsiteY117" fmla="*/ 475695 h 485958"/>
                <a:gd name="connsiteX118" fmla="*/ 287860 w 423563"/>
                <a:gd name="connsiteY118" fmla="*/ 476184 h 485958"/>
                <a:gd name="connsiteX119" fmla="*/ 282159 w 423563"/>
                <a:gd name="connsiteY119" fmla="*/ 478627 h 485958"/>
                <a:gd name="connsiteX120" fmla="*/ 278086 w 423563"/>
                <a:gd name="connsiteY120" fmla="*/ 478627 h 485958"/>
                <a:gd name="connsiteX121" fmla="*/ 276131 w 423563"/>
                <a:gd name="connsiteY121" fmla="*/ 479605 h 485958"/>
                <a:gd name="connsiteX122" fmla="*/ 272873 w 423563"/>
                <a:gd name="connsiteY122" fmla="*/ 478790 h 485958"/>
                <a:gd name="connsiteX123" fmla="*/ 269614 w 423563"/>
                <a:gd name="connsiteY123" fmla="*/ 481722 h 485958"/>
                <a:gd name="connsiteX124" fmla="*/ 269614 w 423563"/>
                <a:gd name="connsiteY124" fmla="*/ 485958 h 485958"/>
                <a:gd name="connsiteX125" fmla="*/ 266682 w 423563"/>
                <a:gd name="connsiteY125" fmla="*/ 485958 h 485958"/>
                <a:gd name="connsiteX126" fmla="*/ 260817 w 423563"/>
                <a:gd name="connsiteY126" fmla="*/ 484003 h 485958"/>
                <a:gd name="connsiteX127" fmla="*/ 260329 w 423563"/>
                <a:gd name="connsiteY127" fmla="*/ 480093 h 485958"/>
                <a:gd name="connsiteX128" fmla="*/ 255605 w 423563"/>
                <a:gd name="connsiteY128" fmla="*/ 478790 h 485958"/>
                <a:gd name="connsiteX129" fmla="*/ 251694 w 423563"/>
                <a:gd name="connsiteY129" fmla="*/ 480093 h 485958"/>
                <a:gd name="connsiteX130" fmla="*/ 245178 w 423563"/>
                <a:gd name="connsiteY130" fmla="*/ 477650 h 485958"/>
                <a:gd name="connsiteX131" fmla="*/ 240128 w 423563"/>
                <a:gd name="connsiteY131" fmla="*/ 475695 h 485958"/>
                <a:gd name="connsiteX132" fmla="*/ 237033 w 423563"/>
                <a:gd name="connsiteY132" fmla="*/ 478627 h 485958"/>
                <a:gd name="connsiteX133" fmla="*/ 236707 w 423563"/>
                <a:gd name="connsiteY133" fmla="*/ 482211 h 485958"/>
                <a:gd name="connsiteX134" fmla="*/ 238010 w 423563"/>
                <a:gd name="connsiteY134" fmla="*/ 484329 h 485958"/>
                <a:gd name="connsiteX135" fmla="*/ 237521 w 423563"/>
                <a:gd name="connsiteY135" fmla="*/ 485306 h 485958"/>
                <a:gd name="connsiteX136" fmla="*/ 235567 w 423563"/>
                <a:gd name="connsiteY136" fmla="*/ 484166 h 485958"/>
                <a:gd name="connsiteX137" fmla="*/ 229213 w 423563"/>
                <a:gd name="connsiteY137" fmla="*/ 484329 h 485958"/>
                <a:gd name="connsiteX138" fmla="*/ 228235 w 423563"/>
                <a:gd name="connsiteY138" fmla="*/ 484329 h 485958"/>
                <a:gd name="connsiteX139" fmla="*/ 227747 w 423563"/>
                <a:gd name="connsiteY139" fmla="*/ 481397 h 485958"/>
                <a:gd name="connsiteX140" fmla="*/ 226281 w 423563"/>
                <a:gd name="connsiteY140" fmla="*/ 477650 h 485958"/>
                <a:gd name="connsiteX141" fmla="*/ 224814 w 423563"/>
                <a:gd name="connsiteY141" fmla="*/ 475695 h 485958"/>
                <a:gd name="connsiteX142" fmla="*/ 222860 w 423563"/>
                <a:gd name="connsiteY142" fmla="*/ 471459 h 485958"/>
                <a:gd name="connsiteX143" fmla="*/ 220090 w 423563"/>
                <a:gd name="connsiteY143" fmla="*/ 468853 h 485958"/>
                <a:gd name="connsiteX144" fmla="*/ 213411 w 423563"/>
                <a:gd name="connsiteY144" fmla="*/ 466735 h 485958"/>
                <a:gd name="connsiteX145" fmla="*/ 211944 w 423563"/>
                <a:gd name="connsiteY145" fmla="*/ 464454 h 485958"/>
                <a:gd name="connsiteX146" fmla="*/ 209175 w 423563"/>
                <a:gd name="connsiteY146" fmla="*/ 461196 h 485958"/>
                <a:gd name="connsiteX147" fmla="*/ 206080 w 423563"/>
                <a:gd name="connsiteY147" fmla="*/ 454679 h 485958"/>
                <a:gd name="connsiteX148" fmla="*/ 203962 w 423563"/>
                <a:gd name="connsiteY148" fmla="*/ 453376 h 485958"/>
                <a:gd name="connsiteX149" fmla="*/ 198260 w 423563"/>
                <a:gd name="connsiteY149" fmla="*/ 453051 h 485958"/>
                <a:gd name="connsiteX150" fmla="*/ 195491 w 423563"/>
                <a:gd name="connsiteY150" fmla="*/ 456472 h 485958"/>
                <a:gd name="connsiteX151" fmla="*/ 193210 w 423563"/>
                <a:gd name="connsiteY151" fmla="*/ 459241 h 485958"/>
                <a:gd name="connsiteX152" fmla="*/ 187834 w 423563"/>
                <a:gd name="connsiteY152" fmla="*/ 460707 h 485958"/>
                <a:gd name="connsiteX153" fmla="*/ 185716 w 423563"/>
                <a:gd name="connsiteY153" fmla="*/ 460544 h 485958"/>
                <a:gd name="connsiteX154" fmla="*/ 185065 w 423563"/>
                <a:gd name="connsiteY154" fmla="*/ 459241 h 485958"/>
                <a:gd name="connsiteX155" fmla="*/ 181644 w 423563"/>
                <a:gd name="connsiteY155" fmla="*/ 459078 h 485958"/>
                <a:gd name="connsiteX156" fmla="*/ 175616 w 423563"/>
                <a:gd name="connsiteY156" fmla="*/ 459078 h 485958"/>
                <a:gd name="connsiteX157" fmla="*/ 172521 w 423563"/>
                <a:gd name="connsiteY157" fmla="*/ 460707 h 485958"/>
                <a:gd name="connsiteX158" fmla="*/ 170566 w 423563"/>
                <a:gd name="connsiteY158" fmla="*/ 463965 h 485958"/>
                <a:gd name="connsiteX159" fmla="*/ 167634 w 423563"/>
                <a:gd name="connsiteY159" fmla="*/ 464780 h 485958"/>
                <a:gd name="connsiteX160" fmla="*/ 162583 w 423563"/>
                <a:gd name="connsiteY160" fmla="*/ 462825 h 485958"/>
                <a:gd name="connsiteX161" fmla="*/ 157370 w 423563"/>
                <a:gd name="connsiteY161" fmla="*/ 458426 h 485958"/>
                <a:gd name="connsiteX162" fmla="*/ 154438 w 423563"/>
                <a:gd name="connsiteY162" fmla="*/ 455331 h 485958"/>
                <a:gd name="connsiteX163" fmla="*/ 151668 w 423563"/>
                <a:gd name="connsiteY163" fmla="*/ 454517 h 485958"/>
                <a:gd name="connsiteX164" fmla="*/ 148899 w 423563"/>
                <a:gd name="connsiteY164" fmla="*/ 451259 h 485958"/>
                <a:gd name="connsiteX165" fmla="*/ 148084 w 423563"/>
                <a:gd name="connsiteY165" fmla="*/ 447186 h 485958"/>
                <a:gd name="connsiteX166" fmla="*/ 147270 w 423563"/>
                <a:gd name="connsiteY166" fmla="*/ 446860 h 485958"/>
                <a:gd name="connsiteX167" fmla="*/ 147270 w 423563"/>
                <a:gd name="connsiteY167" fmla="*/ 445883 h 485958"/>
                <a:gd name="connsiteX168" fmla="*/ 145315 w 423563"/>
                <a:gd name="connsiteY168" fmla="*/ 442950 h 485958"/>
                <a:gd name="connsiteX169" fmla="*/ 140591 w 423563"/>
                <a:gd name="connsiteY169" fmla="*/ 439855 h 485958"/>
                <a:gd name="connsiteX170" fmla="*/ 137658 w 423563"/>
                <a:gd name="connsiteY170" fmla="*/ 437900 h 485958"/>
                <a:gd name="connsiteX171" fmla="*/ 136844 w 423563"/>
                <a:gd name="connsiteY171" fmla="*/ 430080 h 485958"/>
                <a:gd name="connsiteX172" fmla="*/ 137495 w 423563"/>
                <a:gd name="connsiteY172" fmla="*/ 427474 h 485958"/>
                <a:gd name="connsiteX173" fmla="*/ 133585 w 423563"/>
                <a:gd name="connsiteY173" fmla="*/ 424541 h 485958"/>
                <a:gd name="connsiteX174" fmla="*/ 124951 w 423563"/>
                <a:gd name="connsiteY174" fmla="*/ 422260 h 485958"/>
                <a:gd name="connsiteX175" fmla="*/ 122671 w 423563"/>
                <a:gd name="connsiteY175" fmla="*/ 419817 h 485958"/>
                <a:gd name="connsiteX176" fmla="*/ 122996 w 423563"/>
                <a:gd name="connsiteY176" fmla="*/ 414930 h 485958"/>
                <a:gd name="connsiteX177" fmla="*/ 121693 w 423563"/>
                <a:gd name="connsiteY177" fmla="*/ 412975 h 485958"/>
                <a:gd name="connsiteX178" fmla="*/ 116317 w 423563"/>
                <a:gd name="connsiteY178" fmla="*/ 411346 h 485958"/>
                <a:gd name="connsiteX179" fmla="*/ 113873 w 423563"/>
                <a:gd name="connsiteY179" fmla="*/ 408576 h 485958"/>
                <a:gd name="connsiteX180" fmla="*/ 113548 w 423563"/>
                <a:gd name="connsiteY180" fmla="*/ 401245 h 485958"/>
                <a:gd name="connsiteX181" fmla="*/ 111430 w 423563"/>
                <a:gd name="connsiteY181" fmla="*/ 397987 h 485958"/>
                <a:gd name="connsiteX182" fmla="*/ 103121 w 423563"/>
                <a:gd name="connsiteY182" fmla="*/ 393263 h 485958"/>
                <a:gd name="connsiteX183" fmla="*/ 101330 w 423563"/>
                <a:gd name="connsiteY183" fmla="*/ 393426 h 485958"/>
                <a:gd name="connsiteX184" fmla="*/ 97094 w 423563"/>
                <a:gd name="connsiteY184" fmla="*/ 391308 h 485958"/>
                <a:gd name="connsiteX185" fmla="*/ 95139 w 423563"/>
                <a:gd name="connsiteY185" fmla="*/ 392285 h 485958"/>
                <a:gd name="connsiteX186" fmla="*/ 90741 w 423563"/>
                <a:gd name="connsiteY186" fmla="*/ 391145 h 485958"/>
                <a:gd name="connsiteX187" fmla="*/ 85690 w 423563"/>
                <a:gd name="connsiteY187" fmla="*/ 386584 h 485958"/>
                <a:gd name="connsiteX188" fmla="*/ 87645 w 423563"/>
                <a:gd name="connsiteY188" fmla="*/ 384466 h 485958"/>
                <a:gd name="connsiteX189" fmla="*/ 88296 w 423563"/>
                <a:gd name="connsiteY189" fmla="*/ 382348 h 485958"/>
                <a:gd name="connsiteX190" fmla="*/ 91555 w 423563"/>
                <a:gd name="connsiteY190" fmla="*/ 379578 h 485958"/>
                <a:gd name="connsiteX191" fmla="*/ 92695 w 423563"/>
                <a:gd name="connsiteY191" fmla="*/ 375994 h 485958"/>
                <a:gd name="connsiteX192" fmla="*/ 90577 w 423563"/>
                <a:gd name="connsiteY192" fmla="*/ 373225 h 485958"/>
                <a:gd name="connsiteX193" fmla="*/ 86342 w 423563"/>
                <a:gd name="connsiteY193" fmla="*/ 372899 h 485958"/>
                <a:gd name="connsiteX194" fmla="*/ 81292 w 423563"/>
                <a:gd name="connsiteY194" fmla="*/ 370455 h 485958"/>
                <a:gd name="connsiteX195" fmla="*/ 79825 w 423563"/>
                <a:gd name="connsiteY195" fmla="*/ 366871 h 485958"/>
                <a:gd name="connsiteX196" fmla="*/ 75916 w 423563"/>
                <a:gd name="connsiteY196" fmla="*/ 364591 h 485958"/>
                <a:gd name="connsiteX197" fmla="*/ 71680 w 423563"/>
                <a:gd name="connsiteY197" fmla="*/ 364265 h 485958"/>
                <a:gd name="connsiteX198" fmla="*/ 65815 w 423563"/>
                <a:gd name="connsiteY198" fmla="*/ 361821 h 485958"/>
                <a:gd name="connsiteX199" fmla="*/ 61417 w 423563"/>
                <a:gd name="connsiteY199" fmla="*/ 358400 h 485958"/>
                <a:gd name="connsiteX200" fmla="*/ 60602 w 423563"/>
                <a:gd name="connsiteY200" fmla="*/ 353676 h 485958"/>
                <a:gd name="connsiteX201" fmla="*/ 62557 w 423563"/>
                <a:gd name="connsiteY201" fmla="*/ 350255 h 485958"/>
                <a:gd name="connsiteX202" fmla="*/ 60114 w 423563"/>
                <a:gd name="connsiteY202" fmla="*/ 348300 h 485958"/>
                <a:gd name="connsiteX203" fmla="*/ 52294 w 423563"/>
                <a:gd name="connsiteY203" fmla="*/ 348137 h 485958"/>
                <a:gd name="connsiteX204" fmla="*/ 50502 w 423563"/>
                <a:gd name="connsiteY204" fmla="*/ 350581 h 485958"/>
                <a:gd name="connsiteX205" fmla="*/ 43985 w 423563"/>
                <a:gd name="connsiteY205" fmla="*/ 350418 h 485958"/>
                <a:gd name="connsiteX206" fmla="*/ 40401 w 423563"/>
                <a:gd name="connsiteY206" fmla="*/ 347322 h 485958"/>
                <a:gd name="connsiteX207" fmla="*/ 40076 w 423563"/>
                <a:gd name="connsiteY207" fmla="*/ 339503 h 485958"/>
                <a:gd name="connsiteX208" fmla="*/ 41868 w 423563"/>
                <a:gd name="connsiteY208" fmla="*/ 334616 h 485958"/>
                <a:gd name="connsiteX209" fmla="*/ 43496 w 423563"/>
                <a:gd name="connsiteY209" fmla="*/ 332335 h 485958"/>
                <a:gd name="connsiteX210" fmla="*/ 44800 w 423563"/>
                <a:gd name="connsiteY210" fmla="*/ 326796 h 485958"/>
                <a:gd name="connsiteX211" fmla="*/ 43008 w 423563"/>
                <a:gd name="connsiteY211" fmla="*/ 323049 h 485958"/>
                <a:gd name="connsiteX212" fmla="*/ 38446 w 423563"/>
                <a:gd name="connsiteY212" fmla="*/ 313111 h 485958"/>
                <a:gd name="connsiteX213" fmla="*/ 31767 w 423563"/>
                <a:gd name="connsiteY213" fmla="*/ 303989 h 485958"/>
                <a:gd name="connsiteX214" fmla="*/ 30790 w 423563"/>
                <a:gd name="connsiteY214" fmla="*/ 301382 h 485958"/>
                <a:gd name="connsiteX215" fmla="*/ 25414 w 423563"/>
                <a:gd name="connsiteY215" fmla="*/ 296820 h 485958"/>
                <a:gd name="connsiteX216" fmla="*/ 26717 w 423563"/>
                <a:gd name="connsiteY216" fmla="*/ 294866 h 485958"/>
                <a:gd name="connsiteX217" fmla="*/ 26717 w 423563"/>
                <a:gd name="connsiteY217" fmla="*/ 291444 h 485958"/>
                <a:gd name="connsiteX218" fmla="*/ 23948 w 423563"/>
                <a:gd name="connsiteY218" fmla="*/ 288349 h 485958"/>
                <a:gd name="connsiteX219" fmla="*/ 24436 w 423563"/>
                <a:gd name="connsiteY219" fmla="*/ 287209 h 485958"/>
                <a:gd name="connsiteX220" fmla="*/ 24436 w 423563"/>
                <a:gd name="connsiteY220" fmla="*/ 283788 h 485958"/>
                <a:gd name="connsiteX221" fmla="*/ 26717 w 423563"/>
                <a:gd name="connsiteY221" fmla="*/ 280041 h 485958"/>
                <a:gd name="connsiteX222" fmla="*/ 24273 w 423563"/>
                <a:gd name="connsiteY222" fmla="*/ 276131 h 485958"/>
                <a:gd name="connsiteX223" fmla="*/ 14662 w 423563"/>
                <a:gd name="connsiteY223" fmla="*/ 273687 h 485958"/>
                <a:gd name="connsiteX224" fmla="*/ 13684 w 423563"/>
                <a:gd name="connsiteY224" fmla="*/ 268800 h 485958"/>
                <a:gd name="connsiteX225" fmla="*/ 13359 w 423563"/>
                <a:gd name="connsiteY225" fmla="*/ 262121 h 485958"/>
                <a:gd name="connsiteX226" fmla="*/ 10915 w 423563"/>
                <a:gd name="connsiteY226" fmla="*/ 257722 h 485958"/>
                <a:gd name="connsiteX227" fmla="*/ 12870 w 423563"/>
                <a:gd name="connsiteY227" fmla="*/ 254464 h 485958"/>
                <a:gd name="connsiteX228" fmla="*/ 9449 w 423563"/>
                <a:gd name="connsiteY228" fmla="*/ 252020 h 485958"/>
                <a:gd name="connsiteX229" fmla="*/ 12381 w 423563"/>
                <a:gd name="connsiteY229" fmla="*/ 250066 h 485958"/>
                <a:gd name="connsiteX230" fmla="*/ 12381 w 423563"/>
                <a:gd name="connsiteY230" fmla="*/ 246482 h 485958"/>
                <a:gd name="connsiteX231" fmla="*/ 9449 w 423563"/>
                <a:gd name="connsiteY231" fmla="*/ 245667 h 485958"/>
                <a:gd name="connsiteX232" fmla="*/ 3421 w 423563"/>
                <a:gd name="connsiteY232" fmla="*/ 250066 h 485958"/>
                <a:gd name="connsiteX233" fmla="*/ 0 w 423563"/>
                <a:gd name="connsiteY233" fmla="*/ 246644 h 485958"/>
                <a:gd name="connsiteX234" fmla="*/ 0 w 423563"/>
                <a:gd name="connsiteY234" fmla="*/ 240943 h 485958"/>
                <a:gd name="connsiteX235" fmla="*/ 7982 w 423563"/>
                <a:gd name="connsiteY235" fmla="*/ 232471 h 485958"/>
                <a:gd name="connsiteX236" fmla="*/ 10752 w 423563"/>
                <a:gd name="connsiteY236" fmla="*/ 228236 h 485958"/>
                <a:gd name="connsiteX237" fmla="*/ 10263 w 423563"/>
                <a:gd name="connsiteY237" fmla="*/ 223023 h 485958"/>
                <a:gd name="connsiteX238" fmla="*/ 5539 w 423563"/>
                <a:gd name="connsiteY238" fmla="*/ 220416 h 485958"/>
                <a:gd name="connsiteX239" fmla="*/ 6516 w 423563"/>
                <a:gd name="connsiteY239" fmla="*/ 216995 h 485958"/>
                <a:gd name="connsiteX240" fmla="*/ 11729 w 423563"/>
                <a:gd name="connsiteY240" fmla="*/ 213737 h 485958"/>
                <a:gd name="connsiteX241" fmla="*/ 14499 w 423563"/>
                <a:gd name="connsiteY241" fmla="*/ 208361 h 485958"/>
                <a:gd name="connsiteX242" fmla="*/ 11403 w 423563"/>
                <a:gd name="connsiteY242" fmla="*/ 205428 h 485958"/>
                <a:gd name="connsiteX243" fmla="*/ 11241 w 423563"/>
                <a:gd name="connsiteY243" fmla="*/ 201682 h 485958"/>
                <a:gd name="connsiteX244" fmla="*/ 15639 w 423563"/>
                <a:gd name="connsiteY244" fmla="*/ 197283 h 485958"/>
                <a:gd name="connsiteX245" fmla="*/ 18409 w 423563"/>
                <a:gd name="connsiteY245" fmla="*/ 197446 h 485958"/>
                <a:gd name="connsiteX246" fmla="*/ 26717 w 423563"/>
                <a:gd name="connsiteY246" fmla="*/ 186531 h 485958"/>
                <a:gd name="connsiteX247" fmla="*/ 29650 w 423563"/>
                <a:gd name="connsiteY247" fmla="*/ 180503 h 485958"/>
                <a:gd name="connsiteX248" fmla="*/ 26880 w 423563"/>
                <a:gd name="connsiteY248" fmla="*/ 177082 h 485958"/>
                <a:gd name="connsiteX249" fmla="*/ 26880 w 423563"/>
                <a:gd name="connsiteY249" fmla="*/ 170729 h 485958"/>
                <a:gd name="connsiteX250" fmla="*/ 31604 w 423563"/>
                <a:gd name="connsiteY250" fmla="*/ 166982 h 485958"/>
                <a:gd name="connsiteX251" fmla="*/ 37958 w 423563"/>
                <a:gd name="connsiteY251" fmla="*/ 166982 h 485958"/>
                <a:gd name="connsiteX252" fmla="*/ 42356 w 423563"/>
                <a:gd name="connsiteY252" fmla="*/ 169751 h 485958"/>
                <a:gd name="connsiteX253" fmla="*/ 47080 w 423563"/>
                <a:gd name="connsiteY253" fmla="*/ 166819 h 485958"/>
                <a:gd name="connsiteX254" fmla="*/ 50991 w 423563"/>
                <a:gd name="connsiteY254" fmla="*/ 165353 h 485958"/>
                <a:gd name="connsiteX255" fmla="*/ 49198 w 423563"/>
                <a:gd name="connsiteY255" fmla="*/ 64186 h 485958"/>
                <a:gd name="connsiteX256" fmla="*/ 49361 w 423563"/>
                <a:gd name="connsiteY256" fmla="*/ 64023 h 485958"/>
                <a:gd name="connsiteX257" fmla="*/ 49361 w 423563"/>
                <a:gd name="connsiteY257" fmla="*/ 54737 h 485958"/>
                <a:gd name="connsiteX258" fmla="*/ 73798 w 423563"/>
                <a:gd name="connsiteY258" fmla="*/ 52457 h 485958"/>
                <a:gd name="connsiteX259" fmla="*/ 71680 w 423563"/>
                <a:gd name="connsiteY259" fmla="*/ 2281 h 4859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</a:cxnLst>
              <a:rect l="l" t="t" r="r" b="b"/>
              <a:pathLst>
                <a:path w="423563" h="485958">
                  <a:moveTo>
                    <a:pt x="71680" y="2281"/>
                  </a:moveTo>
                  <a:lnTo>
                    <a:pt x="377298" y="0"/>
                  </a:lnTo>
                  <a:lnTo>
                    <a:pt x="376972" y="2118"/>
                  </a:lnTo>
                  <a:lnTo>
                    <a:pt x="376483" y="4399"/>
                  </a:lnTo>
                  <a:lnTo>
                    <a:pt x="377786" y="6353"/>
                  </a:lnTo>
                  <a:lnTo>
                    <a:pt x="377135" y="7657"/>
                  </a:lnTo>
                  <a:lnTo>
                    <a:pt x="378112" y="8960"/>
                  </a:lnTo>
                  <a:lnTo>
                    <a:pt x="377949" y="9937"/>
                  </a:lnTo>
                  <a:lnTo>
                    <a:pt x="378926" y="11404"/>
                  </a:lnTo>
                  <a:lnTo>
                    <a:pt x="380719" y="18409"/>
                  </a:lnTo>
                  <a:lnTo>
                    <a:pt x="385606" y="24436"/>
                  </a:lnTo>
                  <a:lnTo>
                    <a:pt x="385606" y="26880"/>
                  </a:lnTo>
                  <a:lnTo>
                    <a:pt x="384303" y="26880"/>
                  </a:lnTo>
                  <a:lnTo>
                    <a:pt x="383651" y="25251"/>
                  </a:lnTo>
                  <a:lnTo>
                    <a:pt x="381696" y="22807"/>
                  </a:lnTo>
                  <a:lnTo>
                    <a:pt x="380719" y="23622"/>
                  </a:lnTo>
                  <a:lnTo>
                    <a:pt x="381370" y="28183"/>
                  </a:lnTo>
                  <a:lnTo>
                    <a:pt x="387561" y="46592"/>
                  </a:lnTo>
                  <a:lnTo>
                    <a:pt x="389027" y="56693"/>
                  </a:lnTo>
                  <a:lnTo>
                    <a:pt x="387398" y="66141"/>
                  </a:lnTo>
                  <a:lnTo>
                    <a:pt x="390982" y="77219"/>
                  </a:lnTo>
                  <a:lnTo>
                    <a:pt x="395543" y="85853"/>
                  </a:lnTo>
                  <a:lnTo>
                    <a:pt x="399779" y="86831"/>
                  </a:lnTo>
                  <a:lnTo>
                    <a:pt x="411019" y="94325"/>
                  </a:lnTo>
                  <a:lnTo>
                    <a:pt x="411019" y="99212"/>
                  </a:lnTo>
                  <a:lnTo>
                    <a:pt x="416233" y="99375"/>
                  </a:lnTo>
                  <a:lnTo>
                    <a:pt x="421935" y="102307"/>
                  </a:lnTo>
                  <a:lnTo>
                    <a:pt x="421935" y="105728"/>
                  </a:lnTo>
                  <a:lnTo>
                    <a:pt x="423564" y="105728"/>
                  </a:lnTo>
                  <a:lnTo>
                    <a:pt x="420143" y="110941"/>
                  </a:lnTo>
                  <a:lnTo>
                    <a:pt x="415907" y="113222"/>
                  </a:lnTo>
                  <a:lnTo>
                    <a:pt x="411671" y="114036"/>
                  </a:lnTo>
                  <a:lnTo>
                    <a:pt x="409716" y="117620"/>
                  </a:lnTo>
                  <a:lnTo>
                    <a:pt x="404015" y="117132"/>
                  </a:lnTo>
                  <a:lnTo>
                    <a:pt x="400919" y="119576"/>
                  </a:lnTo>
                  <a:lnTo>
                    <a:pt x="395869" y="120716"/>
                  </a:lnTo>
                  <a:lnTo>
                    <a:pt x="395543" y="123322"/>
                  </a:lnTo>
                  <a:lnTo>
                    <a:pt x="396684" y="125766"/>
                  </a:lnTo>
                  <a:lnTo>
                    <a:pt x="396032" y="128698"/>
                  </a:lnTo>
                  <a:lnTo>
                    <a:pt x="389353" y="128698"/>
                  </a:lnTo>
                  <a:lnTo>
                    <a:pt x="386257" y="130490"/>
                  </a:lnTo>
                  <a:lnTo>
                    <a:pt x="386257" y="135703"/>
                  </a:lnTo>
                  <a:lnTo>
                    <a:pt x="383814" y="141568"/>
                  </a:lnTo>
                  <a:lnTo>
                    <a:pt x="386257" y="143197"/>
                  </a:lnTo>
                  <a:lnTo>
                    <a:pt x="387561" y="145478"/>
                  </a:lnTo>
                  <a:lnTo>
                    <a:pt x="385769" y="147922"/>
                  </a:lnTo>
                  <a:lnTo>
                    <a:pt x="382837" y="155904"/>
                  </a:lnTo>
                  <a:lnTo>
                    <a:pt x="380719" y="168774"/>
                  </a:lnTo>
                  <a:lnTo>
                    <a:pt x="376646" y="174965"/>
                  </a:lnTo>
                  <a:lnTo>
                    <a:pt x="376320" y="179200"/>
                  </a:lnTo>
                  <a:lnTo>
                    <a:pt x="373551" y="182133"/>
                  </a:lnTo>
                  <a:lnTo>
                    <a:pt x="373225" y="188323"/>
                  </a:lnTo>
                  <a:lnTo>
                    <a:pt x="376320" y="199075"/>
                  </a:lnTo>
                  <a:lnTo>
                    <a:pt x="377298" y="204288"/>
                  </a:lnTo>
                  <a:lnTo>
                    <a:pt x="378601" y="204777"/>
                  </a:lnTo>
                  <a:lnTo>
                    <a:pt x="377298" y="206569"/>
                  </a:lnTo>
                  <a:lnTo>
                    <a:pt x="374528" y="214388"/>
                  </a:lnTo>
                  <a:lnTo>
                    <a:pt x="374528" y="223186"/>
                  </a:lnTo>
                  <a:lnTo>
                    <a:pt x="367523" y="234915"/>
                  </a:lnTo>
                  <a:lnTo>
                    <a:pt x="364753" y="243060"/>
                  </a:lnTo>
                  <a:lnTo>
                    <a:pt x="362473" y="242898"/>
                  </a:lnTo>
                  <a:lnTo>
                    <a:pt x="357585" y="243875"/>
                  </a:lnTo>
                  <a:lnTo>
                    <a:pt x="356934" y="248274"/>
                  </a:lnTo>
                  <a:lnTo>
                    <a:pt x="350743" y="258537"/>
                  </a:lnTo>
                  <a:lnTo>
                    <a:pt x="350580" y="262447"/>
                  </a:lnTo>
                  <a:lnTo>
                    <a:pt x="343250" y="267660"/>
                  </a:lnTo>
                  <a:lnTo>
                    <a:pt x="340154" y="275642"/>
                  </a:lnTo>
                  <a:lnTo>
                    <a:pt x="335104" y="294703"/>
                  </a:lnTo>
                  <a:lnTo>
                    <a:pt x="332335" y="293888"/>
                  </a:lnTo>
                  <a:lnTo>
                    <a:pt x="330217" y="294214"/>
                  </a:lnTo>
                  <a:lnTo>
                    <a:pt x="329239" y="297635"/>
                  </a:lnTo>
                  <a:lnTo>
                    <a:pt x="323863" y="304151"/>
                  </a:lnTo>
                  <a:lnTo>
                    <a:pt x="321908" y="309527"/>
                  </a:lnTo>
                  <a:lnTo>
                    <a:pt x="323700" y="312460"/>
                  </a:lnTo>
                  <a:lnTo>
                    <a:pt x="323863" y="317999"/>
                  </a:lnTo>
                  <a:lnTo>
                    <a:pt x="319628" y="324515"/>
                  </a:lnTo>
                  <a:lnTo>
                    <a:pt x="317673" y="331520"/>
                  </a:lnTo>
                  <a:lnTo>
                    <a:pt x="318325" y="341621"/>
                  </a:lnTo>
                  <a:lnTo>
                    <a:pt x="317510" y="353676"/>
                  </a:lnTo>
                  <a:lnTo>
                    <a:pt x="314089" y="356282"/>
                  </a:lnTo>
                  <a:lnTo>
                    <a:pt x="312460" y="359052"/>
                  </a:lnTo>
                  <a:lnTo>
                    <a:pt x="309364" y="358563"/>
                  </a:lnTo>
                  <a:lnTo>
                    <a:pt x="306595" y="356608"/>
                  </a:lnTo>
                  <a:lnTo>
                    <a:pt x="301871" y="357749"/>
                  </a:lnTo>
                  <a:lnTo>
                    <a:pt x="296169" y="356608"/>
                  </a:lnTo>
                  <a:lnTo>
                    <a:pt x="295843" y="362147"/>
                  </a:lnTo>
                  <a:lnTo>
                    <a:pt x="293399" y="363613"/>
                  </a:lnTo>
                  <a:lnTo>
                    <a:pt x="289326" y="369315"/>
                  </a:lnTo>
                  <a:lnTo>
                    <a:pt x="291119" y="372736"/>
                  </a:lnTo>
                  <a:lnTo>
                    <a:pt x="295680" y="374365"/>
                  </a:lnTo>
                  <a:lnTo>
                    <a:pt x="306432" y="374202"/>
                  </a:lnTo>
                  <a:lnTo>
                    <a:pt x="308876" y="377298"/>
                  </a:lnTo>
                  <a:lnTo>
                    <a:pt x="313437" y="381859"/>
                  </a:lnTo>
                  <a:lnTo>
                    <a:pt x="314414" y="385443"/>
                  </a:lnTo>
                  <a:lnTo>
                    <a:pt x="316044" y="386584"/>
                  </a:lnTo>
                  <a:lnTo>
                    <a:pt x="321094" y="395543"/>
                  </a:lnTo>
                  <a:lnTo>
                    <a:pt x="325655" y="397498"/>
                  </a:lnTo>
                  <a:lnTo>
                    <a:pt x="325492" y="399616"/>
                  </a:lnTo>
                  <a:lnTo>
                    <a:pt x="327448" y="401571"/>
                  </a:lnTo>
                  <a:lnTo>
                    <a:pt x="332335" y="401571"/>
                  </a:lnTo>
                  <a:lnTo>
                    <a:pt x="335430" y="405481"/>
                  </a:lnTo>
                  <a:lnTo>
                    <a:pt x="337548" y="409554"/>
                  </a:lnTo>
                  <a:lnTo>
                    <a:pt x="341783" y="414115"/>
                  </a:lnTo>
                  <a:lnTo>
                    <a:pt x="342924" y="423564"/>
                  </a:lnTo>
                  <a:lnTo>
                    <a:pt x="345530" y="426496"/>
                  </a:lnTo>
                  <a:lnTo>
                    <a:pt x="347159" y="435456"/>
                  </a:lnTo>
                  <a:lnTo>
                    <a:pt x="338525" y="445068"/>
                  </a:lnTo>
                  <a:lnTo>
                    <a:pt x="332172" y="454679"/>
                  </a:lnTo>
                  <a:lnTo>
                    <a:pt x="329728" y="453702"/>
                  </a:lnTo>
                  <a:lnTo>
                    <a:pt x="325003" y="458426"/>
                  </a:lnTo>
                  <a:lnTo>
                    <a:pt x="322560" y="461685"/>
                  </a:lnTo>
                  <a:lnTo>
                    <a:pt x="320605" y="462499"/>
                  </a:lnTo>
                  <a:lnTo>
                    <a:pt x="317510" y="466409"/>
                  </a:lnTo>
                  <a:lnTo>
                    <a:pt x="317510" y="466409"/>
                  </a:lnTo>
                  <a:lnTo>
                    <a:pt x="311482" y="470482"/>
                  </a:lnTo>
                  <a:lnTo>
                    <a:pt x="308550" y="474717"/>
                  </a:lnTo>
                  <a:lnTo>
                    <a:pt x="302848" y="477324"/>
                  </a:lnTo>
                  <a:lnTo>
                    <a:pt x="296983" y="475695"/>
                  </a:lnTo>
                  <a:lnTo>
                    <a:pt x="287860" y="476184"/>
                  </a:lnTo>
                  <a:lnTo>
                    <a:pt x="282159" y="478627"/>
                  </a:lnTo>
                  <a:lnTo>
                    <a:pt x="278086" y="478627"/>
                  </a:lnTo>
                  <a:lnTo>
                    <a:pt x="276131" y="479605"/>
                  </a:lnTo>
                  <a:lnTo>
                    <a:pt x="272873" y="478790"/>
                  </a:lnTo>
                  <a:lnTo>
                    <a:pt x="269614" y="481722"/>
                  </a:lnTo>
                  <a:lnTo>
                    <a:pt x="269614" y="485958"/>
                  </a:lnTo>
                  <a:lnTo>
                    <a:pt x="266682" y="485958"/>
                  </a:lnTo>
                  <a:lnTo>
                    <a:pt x="260817" y="484003"/>
                  </a:lnTo>
                  <a:lnTo>
                    <a:pt x="260329" y="480093"/>
                  </a:lnTo>
                  <a:lnTo>
                    <a:pt x="255605" y="478790"/>
                  </a:lnTo>
                  <a:lnTo>
                    <a:pt x="251694" y="480093"/>
                  </a:lnTo>
                  <a:lnTo>
                    <a:pt x="245178" y="477650"/>
                  </a:lnTo>
                  <a:lnTo>
                    <a:pt x="240128" y="475695"/>
                  </a:lnTo>
                  <a:lnTo>
                    <a:pt x="237033" y="478627"/>
                  </a:lnTo>
                  <a:lnTo>
                    <a:pt x="236707" y="482211"/>
                  </a:lnTo>
                  <a:lnTo>
                    <a:pt x="238010" y="484329"/>
                  </a:lnTo>
                  <a:lnTo>
                    <a:pt x="237521" y="485306"/>
                  </a:lnTo>
                  <a:lnTo>
                    <a:pt x="235567" y="484166"/>
                  </a:lnTo>
                  <a:lnTo>
                    <a:pt x="229213" y="484329"/>
                  </a:lnTo>
                  <a:lnTo>
                    <a:pt x="228235" y="484329"/>
                  </a:lnTo>
                  <a:lnTo>
                    <a:pt x="227747" y="481397"/>
                  </a:lnTo>
                  <a:lnTo>
                    <a:pt x="226281" y="477650"/>
                  </a:lnTo>
                  <a:lnTo>
                    <a:pt x="224814" y="475695"/>
                  </a:lnTo>
                  <a:lnTo>
                    <a:pt x="222860" y="471459"/>
                  </a:lnTo>
                  <a:lnTo>
                    <a:pt x="220090" y="468853"/>
                  </a:lnTo>
                  <a:lnTo>
                    <a:pt x="213411" y="466735"/>
                  </a:lnTo>
                  <a:lnTo>
                    <a:pt x="211944" y="464454"/>
                  </a:lnTo>
                  <a:lnTo>
                    <a:pt x="209175" y="461196"/>
                  </a:lnTo>
                  <a:lnTo>
                    <a:pt x="206080" y="454679"/>
                  </a:lnTo>
                  <a:lnTo>
                    <a:pt x="203962" y="453376"/>
                  </a:lnTo>
                  <a:lnTo>
                    <a:pt x="198260" y="453051"/>
                  </a:lnTo>
                  <a:lnTo>
                    <a:pt x="195491" y="456472"/>
                  </a:lnTo>
                  <a:lnTo>
                    <a:pt x="193210" y="459241"/>
                  </a:lnTo>
                  <a:lnTo>
                    <a:pt x="187834" y="460707"/>
                  </a:lnTo>
                  <a:lnTo>
                    <a:pt x="185716" y="460544"/>
                  </a:lnTo>
                  <a:lnTo>
                    <a:pt x="185065" y="459241"/>
                  </a:lnTo>
                  <a:lnTo>
                    <a:pt x="181644" y="459078"/>
                  </a:lnTo>
                  <a:lnTo>
                    <a:pt x="175616" y="459078"/>
                  </a:lnTo>
                  <a:lnTo>
                    <a:pt x="172521" y="460707"/>
                  </a:lnTo>
                  <a:lnTo>
                    <a:pt x="170566" y="463965"/>
                  </a:lnTo>
                  <a:lnTo>
                    <a:pt x="167634" y="464780"/>
                  </a:lnTo>
                  <a:lnTo>
                    <a:pt x="162583" y="462825"/>
                  </a:lnTo>
                  <a:lnTo>
                    <a:pt x="157370" y="458426"/>
                  </a:lnTo>
                  <a:lnTo>
                    <a:pt x="154438" y="455331"/>
                  </a:lnTo>
                  <a:lnTo>
                    <a:pt x="151668" y="454517"/>
                  </a:lnTo>
                  <a:lnTo>
                    <a:pt x="148899" y="451259"/>
                  </a:lnTo>
                  <a:lnTo>
                    <a:pt x="148084" y="447186"/>
                  </a:lnTo>
                  <a:lnTo>
                    <a:pt x="147270" y="446860"/>
                  </a:lnTo>
                  <a:lnTo>
                    <a:pt x="147270" y="445883"/>
                  </a:lnTo>
                  <a:lnTo>
                    <a:pt x="145315" y="442950"/>
                  </a:lnTo>
                  <a:lnTo>
                    <a:pt x="140591" y="439855"/>
                  </a:lnTo>
                  <a:lnTo>
                    <a:pt x="137658" y="437900"/>
                  </a:lnTo>
                  <a:lnTo>
                    <a:pt x="136844" y="430080"/>
                  </a:lnTo>
                  <a:lnTo>
                    <a:pt x="137495" y="427474"/>
                  </a:lnTo>
                  <a:lnTo>
                    <a:pt x="133585" y="424541"/>
                  </a:lnTo>
                  <a:lnTo>
                    <a:pt x="124951" y="422260"/>
                  </a:lnTo>
                  <a:lnTo>
                    <a:pt x="122671" y="419817"/>
                  </a:lnTo>
                  <a:lnTo>
                    <a:pt x="122996" y="414930"/>
                  </a:lnTo>
                  <a:lnTo>
                    <a:pt x="121693" y="412975"/>
                  </a:lnTo>
                  <a:lnTo>
                    <a:pt x="116317" y="411346"/>
                  </a:lnTo>
                  <a:lnTo>
                    <a:pt x="113873" y="408576"/>
                  </a:lnTo>
                  <a:lnTo>
                    <a:pt x="113548" y="401245"/>
                  </a:lnTo>
                  <a:lnTo>
                    <a:pt x="111430" y="397987"/>
                  </a:lnTo>
                  <a:lnTo>
                    <a:pt x="103121" y="393263"/>
                  </a:lnTo>
                  <a:lnTo>
                    <a:pt x="101330" y="393426"/>
                  </a:lnTo>
                  <a:lnTo>
                    <a:pt x="97094" y="391308"/>
                  </a:lnTo>
                  <a:lnTo>
                    <a:pt x="95139" y="392285"/>
                  </a:lnTo>
                  <a:lnTo>
                    <a:pt x="90741" y="391145"/>
                  </a:lnTo>
                  <a:lnTo>
                    <a:pt x="85690" y="386584"/>
                  </a:lnTo>
                  <a:lnTo>
                    <a:pt x="87645" y="384466"/>
                  </a:lnTo>
                  <a:lnTo>
                    <a:pt x="88296" y="382348"/>
                  </a:lnTo>
                  <a:lnTo>
                    <a:pt x="91555" y="379578"/>
                  </a:lnTo>
                  <a:lnTo>
                    <a:pt x="92695" y="375994"/>
                  </a:lnTo>
                  <a:lnTo>
                    <a:pt x="90577" y="373225"/>
                  </a:lnTo>
                  <a:lnTo>
                    <a:pt x="86342" y="372899"/>
                  </a:lnTo>
                  <a:lnTo>
                    <a:pt x="81292" y="370455"/>
                  </a:lnTo>
                  <a:lnTo>
                    <a:pt x="79825" y="366871"/>
                  </a:lnTo>
                  <a:lnTo>
                    <a:pt x="75916" y="364591"/>
                  </a:lnTo>
                  <a:lnTo>
                    <a:pt x="71680" y="364265"/>
                  </a:lnTo>
                  <a:lnTo>
                    <a:pt x="65815" y="361821"/>
                  </a:lnTo>
                  <a:lnTo>
                    <a:pt x="61417" y="358400"/>
                  </a:lnTo>
                  <a:lnTo>
                    <a:pt x="60602" y="353676"/>
                  </a:lnTo>
                  <a:lnTo>
                    <a:pt x="62557" y="350255"/>
                  </a:lnTo>
                  <a:lnTo>
                    <a:pt x="60114" y="348300"/>
                  </a:lnTo>
                  <a:lnTo>
                    <a:pt x="52294" y="348137"/>
                  </a:lnTo>
                  <a:lnTo>
                    <a:pt x="50502" y="350581"/>
                  </a:lnTo>
                  <a:lnTo>
                    <a:pt x="43985" y="350418"/>
                  </a:lnTo>
                  <a:lnTo>
                    <a:pt x="40401" y="347322"/>
                  </a:lnTo>
                  <a:lnTo>
                    <a:pt x="40076" y="339503"/>
                  </a:lnTo>
                  <a:lnTo>
                    <a:pt x="41868" y="334616"/>
                  </a:lnTo>
                  <a:lnTo>
                    <a:pt x="43496" y="332335"/>
                  </a:lnTo>
                  <a:lnTo>
                    <a:pt x="44800" y="326796"/>
                  </a:lnTo>
                  <a:lnTo>
                    <a:pt x="43008" y="323049"/>
                  </a:lnTo>
                  <a:lnTo>
                    <a:pt x="38446" y="313111"/>
                  </a:lnTo>
                  <a:lnTo>
                    <a:pt x="31767" y="303989"/>
                  </a:lnTo>
                  <a:lnTo>
                    <a:pt x="30790" y="301382"/>
                  </a:lnTo>
                  <a:lnTo>
                    <a:pt x="25414" y="296820"/>
                  </a:lnTo>
                  <a:lnTo>
                    <a:pt x="26717" y="294866"/>
                  </a:lnTo>
                  <a:lnTo>
                    <a:pt x="26717" y="291444"/>
                  </a:lnTo>
                  <a:lnTo>
                    <a:pt x="23948" y="288349"/>
                  </a:lnTo>
                  <a:lnTo>
                    <a:pt x="24436" y="287209"/>
                  </a:lnTo>
                  <a:lnTo>
                    <a:pt x="24436" y="283788"/>
                  </a:lnTo>
                  <a:lnTo>
                    <a:pt x="26717" y="280041"/>
                  </a:lnTo>
                  <a:lnTo>
                    <a:pt x="24273" y="276131"/>
                  </a:lnTo>
                  <a:lnTo>
                    <a:pt x="14662" y="273687"/>
                  </a:lnTo>
                  <a:lnTo>
                    <a:pt x="13684" y="268800"/>
                  </a:lnTo>
                  <a:lnTo>
                    <a:pt x="13359" y="262121"/>
                  </a:lnTo>
                  <a:lnTo>
                    <a:pt x="10915" y="257722"/>
                  </a:lnTo>
                  <a:lnTo>
                    <a:pt x="12870" y="254464"/>
                  </a:lnTo>
                  <a:lnTo>
                    <a:pt x="9449" y="252020"/>
                  </a:lnTo>
                  <a:lnTo>
                    <a:pt x="12381" y="250066"/>
                  </a:lnTo>
                  <a:lnTo>
                    <a:pt x="12381" y="246482"/>
                  </a:lnTo>
                  <a:lnTo>
                    <a:pt x="9449" y="245667"/>
                  </a:lnTo>
                  <a:lnTo>
                    <a:pt x="3421" y="250066"/>
                  </a:lnTo>
                  <a:lnTo>
                    <a:pt x="0" y="246644"/>
                  </a:lnTo>
                  <a:lnTo>
                    <a:pt x="0" y="240943"/>
                  </a:lnTo>
                  <a:lnTo>
                    <a:pt x="7982" y="232471"/>
                  </a:lnTo>
                  <a:lnTo>
                    <a:pt x="10752" y="228236"/>
                  </a:lnTo>
                  <a:lnTo>
                    <a:pt x="10263" y="223023"/>
                  </a:lnTo>
                  <a:lnTo>
                    <a:pt x="5539" y="220416"/>
                  </a:lnTo>
                  <a:lnTo>
                    <a:pt x="6516" y="216995"/>
                  </a:lnTo>
                  <a:lnTo>
                    <a:pt x="11729" y="213737"/>
                  </a:lnTo>
                  <a:lnTo>
                    <a:pt x="14499" y="208361"/>
                  </a:lnTo>
                  <a:lnTo>
                    <a:pt x="11403" y="205428"/>
                  </a:lnTo>
                  <a:lnTo>
                    <a:pt x="11241" y="201682"/>
                  </a:lnTo>
                  <a:lnTo>
                    <a:pt x="15639" y="197283"/>
                  </a:lnTo>
                  <a:lnTo>
                    <a:pt x="18409" y="197446"/>
                  </a:lnTo>
                  <a:lnTo>
                    <a:pt x="26717" y="186531"/>
                  </a:lnTo>
                  <a:lnTo>
                    <a:pt x="29650" y="180503"/>
                  </a:lnTo>
                  <a:lnTo>
                    <a:pt x="26880" y="177082"/>
                  </a:lnTo>
                  <a:lnTo>
                    <a:pt x="26880" y="170729"/>
                  </a:lnTo>
                  <a:lnTo>
                    <a:pt x="31604" y="166982"/>
                  </a:lnTo>
                  <a:lnTo>
                    <a:pt x="37958" y="166982"/>
                  </a:lnTo>
                  <a:lnTo>
                    <a:pt x="42356" y="169751"/>
                  </a:lnTo>
                  <a:lnTo>
                    <a:pt x="47080" y="166819"/>
                  </a:lnTo>
                  <a:lnTo>
                    <a:pt x="50991" y="165353"/>
                  </a:lnTo>
                  <a:lnTo>
                    <a:pt x="49198" y="64186"/>
                  </a:lnTo>
                  <a:lnTo>
                    <a:pt x="49361" y="64023"/>
                  </a:lnTo>
                  <a:lnTo>
                    <a:pt x="49361" y="54737"/>
                  </a:lnTo>
                  <a:lnTo>
                    <a:pt x="73798" y="52457"/>
                  </a:lnTo>
                  <a:lnTo>
                    <a:pt x="71680" y="2281"/>
                  </a:lnTo>
                  <a:close/>
                </a:path>
              </a:pathLst>
            </a:custGeom>
            <a:solidFill>
              <a:schemeClr val="bg2"/>
            </a:solidFill>
            <a:ln w="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2" name="Forma livre: Forma 91">
              <a:extLst>
                <a:ext uri="{FF2B5EF4-FFF2-40B4-BE49-F238E27FC236}">
                  <a16:creationId xmlns:a16="http://schemas.microsoft.com/office/drawing/2014/main" id="{B2B15A8D-2961-0F2A-8B53-A573A7DB2F5A}"/>
                </a:ext>
              </a:extLst>
            </p:cNvPr>
            <p:cNvSpPr/>
            <p:nvPr/>
          </p:nvSpPr>
          <p:spPr>
            <a:xfrm>
              <a:off x="6861122" y="4559057"/>
              <a:ext cx="403536" cy="306060"/>
            </a:xfrm>
            <a:custGeom>
              <a:avLst/>
              <a:gdLst>
                <a:gd name="connsiteX0" fmla="*/ 57833 w 390493"/>
                <a:gd name="connsiteY0" fmla="*/ 246970 h 296168"/>
                <a:gd name="connsiteX1" fmla="*/ 56204 w 390493"/>
                <a:gd name="connsiteY1" fmla="*/ 238010 h 296168"/>
                <a:gd name="connsiteX2" fmla="*/ 53597 w 390493"/>
                <a:gd name="connsiteY2" fmla="*/ 235078 h 296168"/>
                <a:gd name="connsiteX3" fmla="*/ 52457 w 390493"/>
                <a:gd name="connsiteY3" fmla="*/ 225629 h 296168"/>
                <a:gd name="connsiteX4" fmla="*/ 48221 w 390493"/>
                <a:gd name="connsiteY4" fmla="*/ 221068 h 296168"/>
                <a:gd name="connsiteX5" fmla="*/ 46104 w 390493"/>
                <a:gd name="connsiteY5" fmla="*/ 216995 h 296168"/>
                <a:gd name="connsiteX6" fmla="*/ 43008 w 390493"/>
                <a:gd name="connsiteY6" fmla="*/ 213085 h 296168"/>
                <a:gd name="connsiteX7" fmla="*/ 38121 w 390493"/>
                <a:gd name="connsiteY7" fmla="*/ 213085 h 296168"/>
                <a:gd name="connsiteX8" fmla="*/ 36166 w 390493"/>
                <a:gd name="connsiteY8" fmla="*/ 211130 h 296168"/>
                <a:gd name="connsiteX9" fmla="*/ 36329 w 390493"/>
                <a:gd name="connsiteY9" fmla="*/ 209012 h 296168"/>
                <a:gd name="connsiteX10" fmla="*/ 31767 w 390493"/>
                <a:gd name="connsiteY10" fmla="*/ 207057 h 296168"/>
                <a:gd name="connsiteX11" fmla="*/ 26717 w 390493"/>
                <a:gd name="connsiteY11" fmla="*/ 198098 h 296168"/>
                <a:gd name="connsiteX12" fmla="*/ 25088 w 390493"/>
                <a:gd name="connsiteY12" fmla="*/ 196957 h 296168"/>
                <a:gd name="connsiteX13" fmla="*/ 24111 w 390493"/>
                <a:gd name="connsiteY13" fmla="*/ 193373 h 296168"/>
                <a:gd name="connsiteX14" fmla="*/ 19549 w 390493"/>
                <a:gd name="connsiteY14" fmla="*/ 188812 h 296168"/>
                <a:gd name="connsiteX15" fmla="*/ 17106 w 390493"/>
                <a:gd name="connsiteY15" fmla="*/ 185716 h 296168"/>
                <a:gd name="connsiteX16" fmla="*/ 6354 w 390493"/>
                <a:gd name="connsiteY16" fmla="*/ 185879 h 296168"/>
                <a:gd name="connsiteX17" fmla="*/ 1792 w 390493"/>
                <a:gd name="connsiteY17" fmla="*/ 184250 h 296168"/>
                <a:gd name="connsiteX18" fmla="*/ 0 w 390493"/>
                <a:gd name="connsiteY18" fmla="*/ 180829 h 296168"/>
                <a:gd name="connsiteX19" fmla="*/ 4073 w 390493"/>
                <a:gd name="connsiteY19" fmla="*/ 175127 h 296168"/>
                <a:gd name="connsiteX20" fmla="*/ 6517 w 390493"/>
                <a:gd name="connsiteY20" fmla="*/ 173661 h 296168"/>
                <a:gd name="connsiteX21" fmla="*/ 6842 w 390493"/>
                <a:gd name="connsiteY21" fmla="*/ 168122 h 296168"/>
                <a:gd name="connsiteX22" fmla="*/ 12544 w 390493"/>
                <a:gd name="connsiteY22" fmla="*/ 169263 h 296168"/>
                <a:gd name="connsiteX23" fmla="*/ 17269 w 390493"/>
                <a:gd name="connsiteY23" fmla="*/ 168122 h 296168"/>
                <a:gd name="connsiteX24" fmla="*/ 20038 w 390493"/>
                <a:gd name="connsiteY24" fmla="*/ 170077 h 296168"/>
                <a:gd name="connsiteX25" fmla="*/ 23133 w 390493"/>
                <a:gd name="connsiteY25" fmla="*/ 170566 h 296168"/>
                <a:gd name="connsiteX26" fmla="*/ 24763 w 390493"/>
                <a:gd name="connsiteY26" fmla="*/ 167796 h 296168"/>
                <a:gd name="connsiteX27" fmla="*/ 28183 w 390493"/>
                <a:gd name="connsiteY27" fmla="*/ 165190 h 296168"/>
                <a:gd name="connsiteX28" fmla="*/ 28998 w 390493"/>
                <a:gd name="connsiteY28" fmla="*/ 153135 h 296168"/>
                <a:gd name="connsiteX29" fmla="*/ 28347 w 390493"/>
                <a:gd name="connsiteY29" fmla="*/ 143034 h 296168"/>
                <a:gd name="connsiteX30" fmla="*/ 30301 w 390493"/>
                <a:gd name="connsiteY30" fmla="*/ 136029 h 296168"/>
                <a:gd name="connsiteX31" fmla="*/ 34537 w 390493"/>
                <a:gd name="connsiteY31" fmla="*/ 129513 h 296168"/>
                <a:gd name="connsiteX32" fmla="*/ 34374 w 390493"/>
                <a:gd name="connsiteY32" fmla="*/ 123974 h 296168"/>
                <a:gd name="connsiteX33" fmla="*/ 32582 w 390493"/>
                <a:gd name="connsiteY33" fmla="*/ 121041 h 296168"/>
                <a:gd name="connsiteX34" fmla="*/ 34537 w 390493"/>
                <a:gd name="connsiteY34" fmla="*/ 115665 h 296168"/>
                <a:gd name="connsiteX35" fmla="*/ 39913 w 390493"/>
                <a:gd name="connsiteY35" fmla="*/ 109149 h 296168"/>
                <a:gd name="connsiteX36" fmla="*/ 40890 w 390493"/>
                <a:gd name="connsiteY36" fmla="*/ 105728 h 296168"/>
                <a:gd name="connsiteX37" fmla="*/ 43008 w 390493"/>
                <a:gd name="connsiteY37" fmla="*/ 105402 h 296168"/>
                <a:gd name="connsiteX38" fmla="*/ 45778 w 390493"/>
                <a:gd name="connsiteY38" fmla="*/ 106217 h 296168"/>
                <a:gd name="connsiteX39" fmla="*/ 50828 w 390493"/>
                <a:gd name="connsiteY39" fmla="*/ 87156 h 296168"/>
                <a:gd name="connsiteX40" fmla="*/ 53923 w 390493"/>
                <a:gd name="connsiteY40" fmla="*/ 79174 h 296168"/>
                <a:gd name="connsiteX41" fmla="*/ 61254 w 390493"/>
                <a:gd name="connsiteY41" fmla="*/ 73961 h 296168"/>
                <a:gd name="connsiteX42" fmla="*/ 61417 w 390493"/>
                <a:gd name="connsiteY42" fmla="*/ 70051 h 296168"/>
                <a:gd name="connsiteX43" fmla="*/ 67608 w 390493"/>
                <a:gd name="connsiteY43" fmla="*/ 59788 h 296168"/>
                <a:gd name="connsiteX44" fmla="*/ 68259 w 390493"/>
                <a:gd name="connsiteY44" fmla="*/ 55389 h 296168"/>
                <a:gd name="connsiteX45" fmla="*/ 73147 w 390493"/>
                <a:gd name="connsiteY45" fmla="*/ 54412 h 296168"/>
                <a:gd name="connsiteX46" fmla="*/ 75427 w 390493"/>
                <a:gd name="connsiteY46" fmla="*/ 54574 h 296168"/>
                <a:gd name="connsiteX47" fmla="*/ 78197 w 390493"/>
                <a:gd name="connsiteY47" fmla="*/ 46429 h 296168"/>
                <a:gd name="connsiteX48" fmla="*/ 85202 w 390493"/>
                <a:gd name="connsiteY48" fmla="*/ 34700 h 296168"/>
                <a:gd name="connsiteX49" fmla="*/ 85202 w 390493"/>
                <a:gd name="connsiteY49" fmla="*/ 25902 h 296168"/>
                <a:gd name="connsiteX50" fmla="*/ 87971 w 390493"/>
                <a:gd name="connsiteY50" fmla="*/ 18083 h 296168"/>
                <a:gd name="connsiteX51" fmla="*/ 89274 w 390493"/>
                <a:gd name="connsiteY51" fmla="*/ 16291 h 296168"/>
                <a:gd name="connsiteX52" fmla="*/ 92695 w 390493"/>
                <a:gd name="connsiteY52" fmla="*/ 17757 h 296168"/>
                <a:gd name="connsiteX53" fmla="*/ 98072 w 390493"/>
                <a:gd name="connsiteY53" fmla="*/ 17920 h 296168"/>
                <a:gd name="connsiteX54" fmla="*/ 100026 w 390493"/>
                <a:gd name="connsiteY54" fmla="*/ 14825 h 296168"/>
                <a:gd name="connsiteX55" fmla="*/ 104099 w 390493"/>
                <a:gd name="connsiteY55" fmla="*/ 14662 h 296168"/>
                <a:gd name="connsiteX56" fmla="*/ 110942 w 390493"/>
                <a:gd name="connsiteY56" fmla="*/ 0 h 296168"/>
                <a:gd name="connsiteX57" fmla="*/ 113711 w 390493"/>
                <a:gd name="connsiteY57" fmla="*/ 1955 h 296168"/>
                <a:gd name="connsiteX58" fmla="*/ 115177 w 390493"/>
                <a:gd name="connsiteY58" fmla="*/ 4561 h 296168"/>
                <a:gd name="connsiteX59" fmla="*/ 125277 w 390493"/>
                <a:gd name="connsiteY59" fmla="*/ 8145 h 296168"/>
                <a:gd name="connsiteX60" fmla="*/ 130165 w 390493"/>
                <a:gd name="connsiteY60" fmla="*/ 8145 h 296168"/>
                <a:gd name="connsiteX61" fmla="*/ 134726 w 390493"/>
                <a:gd name="connsiteY61" fmla="*/ 4073 h 296168"/>
                <a:gd name="connsiteX62" fmla="*/ 139776 w 390493"/>
                <a:gd name="connsiteY62" fmla="*/ 3584 h 296168"/>
                <a:gd name="connsiteX63" fmla="*/ 143360 w 390493"/>
                <a:gd name="connsiteY63" fmla="*/ 6679 h 296168"/>
                <a:gd name="connsiteX64" fmla="*/ 145152 w 390493"/>
                <a:gd name="connsiteY64" fmla="*/ 4724 h 296168"/>
                <a:gd name="connsiteX65" fmla="*/ 149551 w 390493"/>
                <a:gd name="connsiteY65" fmla="*/ 4887 h 296168"/>
                <a:gd name="connsiteX66" fmla="*/ 157696 w 390493"/>
                <a:gd name="connsiteY66" fmla="*/ 11404 h 296168"/>
                <a:gd name="connsiteX67" fmla="*/ 158511 w 390493"/>
                <a:gd name="connsiteY67" fmla="*/ 9937 h 296168"/>
                <a:gd name="connsiteX68" fmla="*/ 162584 w 390493"/>
                <a:gd name="connsiteY68" fmla="*/ 9123 h 296168"/>
                <a:gd name="connsiteX69" fmla="*/ 167797 w 390493"/>
                <a:gd name="connsiteY69" fmla="*/ 10100 h 296168"/>
                <a:gd name="connsiteX70" fmla="*/ 172358 w 390493"/>
                <a:gd name="connsiteY70" fmla="*/ 14336 h 296168"/>
                <a:gd name="connsiteX71" fmla="*/ 176594 w 390493"/>
                <a:gd name="connsiteY71" fmla="*/ 15313 h 296168"/>
                <a:gd name="connsiteX72" fmla="*/ 185554 w 390493"/>
                <a:gd name="connsiteY72" fmla="*/ 23296 h 296168"/>
                <a:gd name="connsiteX73" fmla="*/ 187509 w 390493"/>
                <a:gd name="connsiteY73" fmla="*/ 27206 h 296168"/>
                <a:gd name="connsiteX74" fmla="*/ 194840 w 390493"/>
                <a:gd name="connsiteY74" fmla="*/ 28346 h 296168"/>
                <a:gd name="connsiteX75" fmla="*/ 195654 w 390493"/>
                <a:gd name="connsiteY75" fmla="*/ 29975 h 296168"/>
                <a:gd name="connsiteX76" fmla="*/ 200542 w 390493"/>
                <a:gd name="connsiteY76" fmla="*/ 30464 h 296168"/>
                <a:gd name="connsiteX77" fmla="*/ 202170 w 390493"/>
                <a:gd name="connsiteY77" fmla="*/ 32908 h 296168"/>
                <a:gd name="connsiteX78" fmla="*/ 208198 w 390493"/>
                <a:gd name="connsiteY78" fmla="*/ 36817 h 296168"/>
                <a:gd name="connsiteX79" fmla="*/ 215529 w 390493"/>
                <a:gd name="connsiteY79" fmla="*/ 43985 h 296168"/>
                <a:gd name="connsiteX80" fmla="*/ 220253 w 390493"/>
                <a:gd name="connsiteY80" fmla="*/ 44963 h 296168"/>
                <a:gd name="connsiteX81" fmla="*/ 225141 w 390493"/>
                <a:gd name="connsiteY81" fmla="*/ 51968 h 296168"/>
                <a:gd name="connsiteX82" fmla="*/ 225792 w 390493"/>
                <a:gd name="connsiteY82" fmla="*/ 56855 h 296168"/>
                <a:gd name="connsiteX83" fmla="*/ 227422 w 390493"/>
                <a:gd name="connsiteY83" fmla="*/ 59950 h 296168"/>
                <a:gd name="connsiteX84" fmla="*/ 231006 w 390493"/>
                <a:gd name="connsiteY84" fmla="*/ 60114 h 296168"/>
                <a:gd name="connsiteX85" fmla="*/ 238011 w 390493"/>
                <a:gd name="connsiteY85" fmla="*/ 69236 h 296168"/>
                <a:gd name="connsiteX86" fmla="*/ 233123 w 390493"/>
                <a:gd name="connsiteY86" fmla="*/ 70703 h 296168"/>
                <a:gd name="connsiteX87" fmla="*/ 231494 w 390493"/>
                <a:gd name="connsiteY87" fmla="*/ 76893 h 296168"/>
                <a:gd name="connsiteX88" fmla="*/ 229376 w 390493"/>
                <a:gd name="connsiteY88" fmla="*/ 81455 h 296168"/>
                <a:gd name="connsiteX89" fmla="*/ 230354 w 390493"/>
                <a:gd name="connsiteY89" fmla="*/ 88134 h 296168"/>
                <a:gd name="connsiteX90" fmla="*/ 227910 w 390493"/>
                <a:gd name="connsiteY90" fmla="*/ 92695 h 296168"/>
                <a:gd name="connsiteX91" fmla="*/ 227422 w 390493"/>
                <a:gd name="connsiteY91" fmla="*/ 97257 h 296168"/>
                <a:gd name="connsiteX92" fmla="*/ 223349 w 390493"/>
                <a:gd name="connsiteY92" fmla="*/ 103122 h 296168"/>
                <a:gd name="connsiteX93" fmla="*/ 225792 w 390493"/>
                <a:gd name="connsiteY93" fmla="*/ 106054 h 296168"/>
                <a:gd name="connsiteX94" fmla="*/ 235404 w 390493"/>
                <a:gd name="connsiteY94" fmla="*/ 105728 h 296168"/>
                <a:gd name="connsiteX95" fmla="*/ 241431 w 390493"/>
                <a:gd name="connsiteY95" fmla="*/ 101818 h 296168"/>
                <a:gd name="connsiteX96" fmla="*/ 248274 w 390493"/>
                <a:gd name="connsiteY96" fmla="*/ 100515 h 296168"/>
                <a:gd name="connsiteX97" fmla="*/ 252835 w 390493"/>
                <a:gd name="connsiteY97" fmla="*/ 103122 h 296168"/>
                <a:gd name="connsiteX98" fmla="*/ 251206 w 390493"/>
                <a:gd name="connsiteY98" fmla="*/ 105891 h 296168"/>
                <a:gd name="connsiteX99" fmla="*/ 252835 w 390493"/>
                <a:gd name="connsiteY99" fmla="*/ 115665 h 296168"/>
                <a:gd name="connsiteX100" fmla="*/ 257234 w 390493"/>
                <a:gd name="connsiteY100" fmla="*/ 129513 h 296168"/>
                <a:gd name="connsiteX101" fmla="*/ 264076 w 390493"/>
                <a:gd name="connsiteY101" fmla="*/ 132934 h 296168"/>
                <a:gd name="connsiteX102" fmla="*/ 263099 w 390493"/>
                <a:gd name="connsiteY102" fmla="*/ 140265 h 296168"/>
                <a:gd name="connsiteX103" fmla="*/ 266520 w 390493"/>
                <a:gd name="connsiteY103" fmla="*/ 148084 h 296168"/>
                <a:gd name="connsiteX104" fmla="*/ 275968 w 390493"/>
                <a:gd name="connsiteY104" fmla="*/ 150039 h 296168"/>
                <a:gd name="connsiteX105" fmla="*/ 282322 w 390493"/>
                <a:gd name="connsiteY105" fmla="*/ 155578 h 296168"/>
                <a:gd name="connsiteX106" fmla="*/ 357586 w 390493"/>
                <a:gd name="connsiteY106" fmla="*/ 178548 h 296168"/>
                <a:gd name="connsiteX107" fmla="*/ 390493 w 390493"/>
                <a:gd name="connsiteY107" fmla="*/ 178060 h 296168"/>
                <a:gd name="connsiteX108" fmla="*/ 310505 w 390493"/>
                <a:gd name="connsiteY108" fmla="*/ 257397 h 296168"/>
                <a:gd name="connsiteX109" fmla="*/ 294866 w 390493"/>
                <a:gd name="connsiteY109" fmla="*/ 256908 h 296168"/>
                <a:gd name="connsiteX110" fmla="*/ 279063 w 390493"/>
                <a:gd name="connsiteY110" fmla="*/ 257559 h 296168"/>
                <a:gd name="connsiteX111" fmla="*/ 274176 w 390493"/>
                <a:gd name="connsiteY111" fmla="*/ 260655 h 296168"/>
                <a:gd name="connsiteX112" fmla="*/ 269615 w 390493"/>
                <a:gd name="connsiteY112" fmla="*/ 260981 h 296168"/>
                <a:gd name="connsiteX113" fmla="*/ 263261 w 390493"/>
                <a:gd name="connsiteY113" fmla="*/ 264401 h 296168"/>
                <a:gd name="connsiteX114" fmla="*/ 261144 w 390493"/>
                <a:gd name="connsiteY114" fmla="*/ 269615 h 296168"/>
                <a:gd name="connsiteX115" fmla="*/ 256256 w 390493"/>
                <a:gd name="connsiteY115" fmla="*/ 272384 h 296168"/>
                <a:gd name="connsiteX116" fmla="*/ 249414 w 390493"/>
                <a:gd name="connsiteY116" fmla="*/ 276131 h 296168"/>
                <a:gd name="connsiteX117" fmla="*/ 241920 w 390493"/>
                <a:gd name="connsiteY117" fmla="*/ 277271 h 296168"/>
                <a:gd name="connsiteX118" fmla="*/ 233775 w 390493"/>
                <a:gd name="connsiteY118" fmla="*/ 281344 h 296168"/>
                <a:gd name="connsiteX119" fmla="*/ 231494 w 390493"/>
                <a:gd name="connsiteY119" fmla="*/ 284928 h 296168"/>
                <a:gd name="connsiteX120" fmla="*/ 230679 w 390493"/>
                <a:gd name="connsiteY120" fmla="*/ 285254 h 296168"/>
                <a:gd name="connsiteX121" fmla="*/ 224163 w 390493"/>
                <a:gd name="connsiteY121" fmla="*/ 285091 h 296168"/>
                <a:gd name="connsiteX122" fmla="*/ 214552 w 390493"/>
                <a:gd name="connsiteY122" fmla="*/ 286720 h 296168"/>
                <a:gd name="connsiteX123" fmla="*/ 210316 w 390493"/>
                <a:gd name="connsiteY123" fmla="*/ 284276 h 296168"/>
                <a:gd name="connsiteX124" fmla="*/ 207220 w 390493"/>
                <a:gd name="connsiteY124" fmla="*/ 278738 h 296168"/>
                <a:gd name="connsiteX125" fmla="*/ 203474 w 390493"/>
                <a:gd name="connsiteY125" fmla="*/ 276783 h 296168"/>
                <a:gd name="connsiteX126" fmla="*/ 191581 w 390493"/>
                <a:gd name="connsiteY126" fmla="*/ 278412 h 296168"/>
                <a:gd name="connsiteX127" fmla="*/ 188812 w 390493"/>
                <a:gd name="connsiteY127" fmla="*/ 280204 h 296168"/>
                <a:gd name="connsiteX128" fmla="*/ 184902 w 390493"/>
                <a:gd name="connsiteY128" fmla="*/ 279878 h 296168"/>
                <a:gd name="connsiteX129" fmla="*/ 179526 w 390493"/>
                <a:gd name="connsiteY129" fmla="*/ 281996 h 296168"/>
                <a:gd name="connsiteX130" fmla="*/ 177083 w 390493"/>
                <a:gd name="connsiteY130" fmla="*/ 285254 h 296168"/>
                <a:gd name="connsiteX131" fmla="*/ 170240 w 390493"/>
                <a:gd name="connsiteY131" fmla="*/ 295843 h 296168"/>
                <a:gd name="connsiteX132" fmla="*/ 165190 w 390493"/>
                <a:gd name="connsiteY132" fmla="*/ 296169 h 296168"/>
                <a:gd name="connsiteX133" fmla="*/ 161443 w 390493"/>
                <a:gd name="connsiteY133" fmla="*/ 296169 h 296168"/>
                <a:gd name="connsiteX134" fmla="*/ 156882 w 390493"/>
                <a:gd name="connsiteY134" fmla="*/ 294540 h 296168"/>
                <a:gd name="connsiteX135" fmla="*/ 150040 w 390493"/>
                <a:gd name="connsiteY135" fmla="*/ 295517 h 296168"/>
                <a:gd name="connsiteX136" fmla="*/ 144501 w 390493"/>
                <a:gd name="connsiteY136" fmla="*/ 293074 h 296168"/>
                <a:gd name="connsiteX137" fmla="*/ 135378 w 390493"/>
                <a:gd name="connsiteY137" fmla="*/ 293074 h 296168"/>
                <a:gd name="connsiteX138" fmla="*/ 131305 w 390493"/>
                <a:gd name="connsiteY138" fmla="*/ 291770 h 296168"/>
                <a:gd name="connsiteX139" fmla="*/ 127233 w 390493"/>
                <a:gd name="connsiteY139" fmla="*/ 286883 h 296168"/>
                <a:gd name="connsiteX140" fmla="*/ 120879 w 390493"/>
                <a:gd name="connsiteY140" fmla="*/ 282647 h 296168"/>
                <a:gd name="connsiteX141" fmla="*/ 110127 w 390493"/>
                <a:gd name="connsiteY141" fmla="*/ 272384 h 296168"/>
                <a:gd name="connsiteX142" fmla="*/ 105402 w 390493"/>
                <a:gd name="connsiteY142" fmla="*/ 269452 h 296168"/>
                <a:gd name="connsiteX143" fmla="*/ 93021 w 390493"/>
                <a:gd name="connsiteY143" fmla="*/ 270103 h 296168"/>
                <a:gd name="connsiteX144" fmla="*/ 86505 w 390493"/>
                <a:gd name="connsiteY144" fmla="*/ 268637 h 296168"/>
                <a:gd name="connsiteX145" fmla="*/ 80803 w 390493"/>
                <a:gd name="connsiteY145" fmla="*/ 270592 h 296168"/>
                <a:gd name="connsiteX146" fmla="*/ 75916 w 390493"/>
                <a:gd name="connsiteY146" fmla="*/ 269615 h 296168"/>
                <a:gd name="connsiteX147" fmla="*/ 71354 w 390493"/>
                <a:gd name="connsiteY147" fmla="*/ 264565 h 296168"/>
                <a:gd name="connsiteX148" fmla="*/ 71354 w 390493"/>
                <a:gd name="connsiteY148" fmla="*/ 249251 h 296168"/>
                <a:gd name="connsiteX149" fmla="*/ 67445 w 390493"/>
                <a:gd name="connsiteY149" fmla="*/ 248599 h 296168"/>
                <a:gd name="connsiteX150" fmla="*/ 62394 w 390493"/>
                <a:gd name="connsiteY150" fmla="*/ 249577 h 296168"/>
                <a:gd name="connsiteX151" fmla="*/ 59788 w 390493"/>
                <a:gd name="connsiteY151" fmla="*/ 244852 h 296168"/>
                <a:gd name="connsiteX152" fmla="*/ 57833 w 390493"/>
                <a:gd name="connsiteY152" fmla="*/ 246970 h 2961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</a:cxnLst>
              <a:rect l="l" t="t" r="r" b="b"/>
              <a:pathLst>
                <a:path w="390493" h="296168">
                  <a:moveTo>
                    <a:pt x="57833" y="246970"/>
                  </a:moveTo>
                  <a:lnTo>
                    <a:pt x="56204" y="238010"/>
                  </a:lnTo>
                  <a:lnTo>
                    <a:pt x="53597" y="235078"/>
                  </a:lnTo>
                  <a:lnTo>
                    <a:pt x="52457" y="225629"/>
                  </a:lnTo>
                  <a:lnTo>
                    <a:pt x="48221" y="221068"/>
                  </a:lnTo>
                  <a:lnTo>
                    <a:pt x="46104" y="216995"/>
                  </a:lnTo>
                  <a:lnTo>
                    <a:pt x="43008" y="213085"/>
                  </a:lnTo>
                  <a:lnTo>
                    <a:pt x="38121" y="213085"/>
                  </a:lnTo>
                  <a:lnTo>
                    <a:pt x="36166" y="211130"/>
                  </a:lnTo>
                  <a:lnTo>
                    <a:pt x="36329" y="209012"/>
                  </a:lnTo>
                  <a:lnTo>
                    <a:pt x="31767" y="207057"/>
                  </a:lnTo>
                  <a:lnTo>
                    <a:pt x="26717" y="198098"/>
                  </a:lnTo>
                  <a:lnTo>
                    <a:pt x="25088" y="196957"/>
                  </a:lnTo>
                  <a:lnTo>
                    <a:pt x="24111" y="193373"/>
                  </a:lnTo>
                  <a:lnTo>
                    <a:pt x="19549" y="188812"/>
                  </a:lnTo>
                  <a:lnTo>
                    <a:pt x="17106" y="185716"/>
                  </a:lnTo>
                  <a:lnTo>
                    <a:pt x="6354" y="185879"/>
                  </a:lnTo>
                  <a:lnTo>
                    <a:pt x="1792" y="184250"/>
                  </a:lnTo>
                  <a:lnTo>
                    <a:pt x="0" y="180829"/>
                  </a:lnTo>
                  <a:lnTo>
                    <a:pt x="4073" y="175127"/>
                  </a:lnTo>
                  <a:lnTo>
                    <a:pt x="6517" y="173661"/>
                  </a:lnTo>
                  <a:lnTo>
                    <a:pt x="6842" y="168122"/>
                  </a:lnTo>
                  <a:lnTo>
                    <a:pt x="12544" y="169263"/>
                  </a:lnTo>
                  <a:lnTo>
                    <a:pt x="17269" y="168122"/>
                  </a:lnTo>
                  <a:lnTo>
                    <a:pt x="20038" y="170077"/>
                  </a:lnTo>
                  <a:lnTo>
                    <a:pt x="23133" y="170566"/>
                  </a:lnTo>
                  <a:lnTo>
                    <a:pt x="24763" y="167796"/>
                  </a:lnTo>
                  <a:lnTo>
                    <a:pt x="28183" y="165190"/>
                  </a:lnTo>
                  <a:lnTo>
                    <a:pt x="28998" y="153135"/>
                  </a:lnTo>
                  <a:lnTo>
                    <a:pt x="28347" y="143034"/>
                  </a:lnTo>
                  <a:lnTo>
                    <a:pt x="30301" y="136029"/>
                  </a:lnTo>
                  <a:lnTo>
                    <a:pt x="34537" y="129513"/>
                  </a:lnTo>
                  <a:lnTo>
                    <a:pt x="34374" y="123974"/>
                  </a:lnTo>
                  <a:lnTo>
                    <a:pt x="32582" y="121041"/>
                  </a:lnTo>
                  <a:lnTo>
                    <a:pt x="34537" y="115665"/>
                  </a:lnTo>
                  <a:lnTo>
                    <a:pt x="39913" y="109149"/>
                  </a:lnTo>
                  <a:lnTo>
                    <a:pt x="40890" y="105728"/>
                  </a:lnTo>
                  <a:lnTo>
                    <a:pt x="43008" y="105402"/>
                  </a:lnTo>
                  <a:lnTo>
                    <a:pt x="45778" y="106217"/>
                  </a:lnTo>
                  <a:lnTo>
                    <a:pt x="50828" y="87156"/>
                  </a:lnTo>
                  <a:lnTo>
                    <a:pt x="53923" y="79174"/>
                  </a:lnTo>
                  <a:lnTo>
                    <a:pt x="61254" y="73961"/>
                  </a:lnTo>
                  <a:lnTo>
                    <a:pt x="61417" y="70051"/>
                  </a:lnTo>
                  <a:lnTo>
                    <a:pt x="67608" y="59788"/>
                  </a:lnTo>
                  <a:lnTo>
                    <a:pt x="68259" y="55389"/>
                  </a:lnTo>
                  <a:lnTo>
                    <a:pt x="73147" y="54412"/>
                  </a:lnTo>
                  <a:lnTo>
                    <a:pt x="75427" y="54574"/>
                  </a:lnTo>
                  <a:lnTo>
                    <a:pt x="78197" y="46429"/>
                  </a:lnTo>
                  <a:lnTo>
                    <a:pt x="85202" y="34700"/>
                  </a:lnTo>
                  <a:lnTo>
                    <a:pt x="85202" y="25902"/>
                  </a:lnTo>
                  <a:lnTo>
                    <a:pt x="87971" y="18083"/>
                  </a:lnTo>
                  <a:lnTo>
                    <a:pt x="89274" y="16291"/>
                  </a:lnTo>
                  <a:lnTo>
                    <a:pt x="92695" y="17757"/>
                  </a:lnTo>
                  <a:lnTo>
                    <a:pt x="98072" y="17920"/>
                  </a:lnTo>
                  <a:lnTo>
                    <a:pt x="100026" y="14825"/>
                  </a:lnTo>
                  <a:lnTo>
                    <a:pt x="104099" y="14662"/>
                  </a:lnTo>
                  <a:lnTo>
                    <a:pt x="110942" y="0"/>
                  </a:lnTo>
                  <a:lnTo>
                    <a:pt x="113711" y="1955"/>
                  </a:lnTo>
                  <a:lnTo>
                    <a:pt x="115177" y="4561"/>
                  </a:lnTo>
                  <a:lnTo>
                    <a:pt x="125277" y="8145"/>
                  </a:lnTo>
                  <a:lnTo>
                    <a:pt x="130165" y="8145"/>
                  </a:lnTo>
                  <a:lnTo>
                    <a:pt x="134726" y="4073"/>
                  </a:lnTo>
                  <a:lnTo>
                    <a:pt x="139776" y="3584"/>
                  </a:lnTo>
                  <a:lnTo>
                    <a:pt x="143360" y="6679"/>
                  </a:lnTo>
                  <a:lnTo>
                    <a:pt x="145152" y="4724"/>
                  </a:lnTo>
                  <a:lnTo>
                    <a:pt x="149551" y="4887"/>
                  </a:lnTo>
                  <a:lnTo>
                    <a:pt x="157696" y="11404"/>
                  </a:lnTo>
                  <a:lnTo>
                    <a:pt x="158511" y="9937"/>
                  </a:lnTo>
                  <a:lnTo>
                    <a:pt x="162584" y="9123"/>
                  </a:lnTo>
                  <a:lnTo>
                    <a:pt x="167797" y="10100"/>
                  </a:lnTo>
                  <a:lnTo>
                    <a:pt x="172358" y="14336"/>
                  </a:lnTo>
                  <a:lnTo>
                    <a:pt x="176594" y="15313"/>
                  </a:lnTo>
                  <a:lnTo>
                    <a:pt x="185554" y="23296"/>
                  </a:lnTo>
                  <a:lnTo>
                    <a:pt x="187509" y="27206"/>
                  </a:lnTo>
                  <a:lnTo>
                    <a:pt x="194840" y="28346"/>
                  </a:lnTo>
                  <a:lnTo>
                    <a:pt x="195654" y="29975"/>
                  </a:lnTo>
                  <a:lnTo>
                    <a:pt x="200542" y="30464"/>
                  </a:lnTo>
                  <a:lnTo>
                    <a:pt x="202170" y="32908"/>
                  </a:lnTo>
                  <a:lnTo>
                    <a:pt x="208198" y="36817"/>
                  </a:lnTo>
                  <a:lnTo>
                    <a:pt x="215529" y="43985"/>
                  </a:lnTo>
                  <a:lnTo>
                    <a:pt x="220253" y="44963"/>
                  </a:lnTo>
                  <a:lnTo>
                    <a:pt x="225141" y="51968"/>
                  </a:lnTo>
                  <a:lnTo>
                    <a:pt x="225792" y="56855"/>
                  </a:lnTo>
                  <a:lnTo>
                    <a:pt x="227422" y="59950"/>
                  </a:lnTo>
                  <a:lnTo>
                    <a:pt x="231006" y="60114"/>
                  </a:lnTo>
                  <a:lnTo>
                    <a:pt x="238011" y="69236"/>
                  </a:lnTo>
                  <a:lnTo>
                    <a:pt x="233123" y="70703"/>
                  </a:lnTo>
                  <a:lnTo>
                    <a:pt x="231494" y="76893"/>
                  </a:lnTo>
                  <a:lnTo>
                    <a:pt x="229376" y="81455"/>
                  </a:lnTo>
                  <a:lnTo>
                    <a:pt x="230354" y="88134"/>
                  </a:lnTo>
                  <a:lnTo>
                    <a:pt x="227910" y="92695"/>
                  </a:lnTo>
                  <a:lnTo>
                    <a:pt x="227422" y="97257"/>
                  </a:lnTo>
                  <a:lnTo>
                    <a:pt x="223349" y="103122"/>
                  </a:lnTo>
                  <a:lnTo>
                    <a:pt x="225792" y="106054"/>
                  </a:lnTo>
                  <a:lnTo>
                    <a:pt x="235404" y="105728"/>
                  </a:lnTo>
                  <a:lnTo>
                    <a:pt x="241431" y="101818"/>
                  </a:lnTo>
                  <a:lnTo>
                    <a:pt x="248274" y="100515"/>
                  </a:lnTo>
                  <a:lnTo>
                    <a:pt x="252835" y="103122"/>
                  </a:lnTo>
                  <a:lnTo>
                    <a:pt x="251206" y="105891"/>
                  </a:lnTo>
                  <a:lnTo>
                    <a:pt x="252835" y="115665"/>
                  </a:lnTo>
                  <a:lnTo>
                    <a:pt x="257234" y="129513"/>
                  </a:lnTo>
                  <a:lnTo>
                    <a:pt x="264076" y="132934"/>
                  </a:lnTo>
                  <a:lnTo>
                    <a:pt x="263099" y="140265"/>
                  </a:lnTo>
                  <a:lnTo>
                    <a:pt x="266520" y="148084"/>
                  </a:lnTo>
                  <a:lnTo>
                    <a:pt x="275968" y="150039"/>
                  </a:lnTo>
                  <a:lnTo>
                    <a:pt x="282322" y="155578"/>
                  </a:lnTo>
                  <a:lnTo>
                    <a:pt x="357586" y="178548"/>
                  </a:lnTo>
                  <a:lnTo>
                    <a:pt x="390493" y="178060"/>
                  </a:lnTo>
                  <a:lnTo>
                    <a:pt x="310505" y="257397"/>
                  </a:lnTo>
                  <a:lnTo>
                    <a:pt x="294866" y="256908"/>
                  </a:lnTo>
                  <a:lnTo>
                    <a:pt x="279063" y="257559"/>
                  </a:lnTo>
                  <a:lnTo>
                    <a:pt x="274176" y="260655"/>
                  </a:lnTo>
                  <a:lnTo>
                    <a:pt x="269615" y="260981"/>
                  </a:lnTo>
                  <a:lnTo>
                    <a:pt x="263261" y="264401"/>
                  </a:lnTo>
                  <a:lnTo>
                    <a:pt x="261144" y="269615"/>
                  </a:lnTo>
                  <a:lnTo>
                    <a:pt x="256256" y="272384"/>
                  </a:lnTo>
                  <a:lnTo>
                    <a:pt x="249414" y="276131"/>
                  </a:lnTo>
                  <a:lnTo>
                    <a:pt x="241920" y="277271"/>
                  </a:lnTo>
                  <a:lnTo>
                    <a:pt x="233775" y="281344"/>
                  </a:lnTo>
                  <a:lnTo>
                    <a:pt x="231494" y="284928"/>
                  </a:lnTo>
                  <a:lnTo>
                    <a:pt x="230679" y="285254"/>
                  </a:lnTo>
                  <a:lnTo>
                    <a:pt x="224163" y="285091"/>
                  </a:lnTo>
                  <a:lnTo>
                    <a:pt x="214552" y="286720"/>
                  </a:lnTo>
                  <a:lnTo>
                    <a:pt x="210316" y="284276"/>
                  </a:lnTo>
                  <a:lnTo>
                    <a:pt x="207220" y="278738"/>
                  </a:lnTo>
                  <a:lnTo>
                    <a:pt x="203474" y="276783"/>
                  </a:lnTo>
                  <a:lnTo>
                    <a:pt x="191581" y="278412"/>
                  </a:lnTo>
                  <a:lnTo>
                    <a:pt x="188812" y="280204"/>
                  </a:lnTo>
                  <a:lnTo>
                    <a:pt x="184902" y="279878"/>
                  </a:lnTo>
                  <a:lnTo>
                    <a:pt x="179526" y="281996"/>
                  </a:lnTo>
                  <a:lnTo>
                    <a:pt x="177083" y="285254"/>
                  </a:lnTo>
                  <a:lnTo>
                    <a:pt x="170240" y="295843"/>
                  </a:lnTo>
                  <a:lnTo>
                    <a:pt x="165190" y="296169"/>
                  </a:lnTo>
                  <a:lnTo>
                    <a:pt x="161443" y="296169"/>
                  </a:lnTo>
                  <a:lnTo>
                    <a:pt x="156882" y="294540"/>
                  </a:lnTo>
                  <a:lnTo>
                    <a:pt x="150040" y="295517"/>
                  </a:lnTo>
                  <a:lnTo>
                    <a:pt x="144501" y="293074"/>
                  </a:lnTo>
                  <a:lnTo>
                    <a:pt x="135378" y="293074"/>
                  </a:lnTo>
                  <a:lnTo>
                    <a:pt x="131305" y="291770"/>
                  </a:lnTo>
                  <a:lnTo>
                    <a:pt x="127233" y="286883"/>
                  </a:lnTo>
                  <a:lnTo>
                    <a:pt x="120879" y="282647"/>
                  </a:lnTo>
                  <a:lnTo>
                    <a:pt x="110127" y="272384"/>
                  </a:lnTo>
                  <a:lnTo>
                    <a:pt x="105402" y="269452"/>
                  </a:lnTo>
                  <a:lnTo>
                    <a:pt x="93021" y="270103"/>
                  </a:lnTo>
                  <a:lnTo>
                    <a:pt x="86505" y="268637"/>
                  </a:lnTo>
                  <a:lnTo>
                    <a:pt x="80803" y="270592"/>
                  </a:lnTo>
                  <a:lnTo>
                    <a:pt x="75916" y="269615"/>
                  </a:lnTo>
                  <a:lnTo>
                    <a:pt x="71354" y="264565"/>
                  </a:lnTo>
                  <a:lnTo>
                    <a:pt x="71354" y="249251"/>
                  </a:lnTo>
                  <a:lnTo>
                    <a:pt x="67445" y="248599"/>
                  </a:lnTo>
                  <a:lnTo>
                    <a:pt x="62394" y="249577"/>
                  </a:lnTo>
                  <a:lnTo>
                    <a:pt x="59788" y="244852"/>
                  </a:lnTo>
                  <a:lnTo>
                    <a:pt x="57833" y="246970"/>
                  </a:lnTo>
                  <a:close/>
                </a:path>
              </a:pathLst>
            </a:custGeom>
            <a:solidFill>
              <a:schemeClr val="bg2"/>
            </a:solidFill>
            <a:ln w="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3" name="Forma livre: Forma 92">
              <a:extLst>
                <a:ext uri="{FF2B5EF4-FFF2-40B4-BE49-F238E27FC236}">
                  <a16:creationId xmlns:a16="http://schemas.microsoft.com/office/drawing/2014/main" id="{D1494C84-6097-9281-F32A-126544B45375}"/>
                </a:ext>
              </a:extLst>
            </p:cNvPr>
            <p:cNvSpPr/>
            <p:nvPr/>
          </p:nvSpPr>
          <p:spPr>
            <a:xfrm>
              <a:off x="6947823" y="4473534"/>
              <a:ext cx="176599" cy="157071"/>
            </a:xfrm>
            <a:custGeom>
              <a:avLst/>
              <a:gdLst>
                <a:gd name="connsiteX0" fmla="*/ 154112 w 170891"/>
                <a:gd name="connsiteY0" fmla="*/ 151994 h 151994"/>
                <a:gd name="connsiteX1" fmla="*/ 147107 w 170891"/>
                <a:gd name="connsiteY1" fmla="*/ 142871 h 151994"/>
                <a:gd name="connsiteX2" fmla="*/ 143523 w 170891"/>
                <a:gd name="connsiteY2" fmla="*/ 142708 h 151994"/>
                <a:gd name="connsiteX3" fmla="*/ 141894 w 170891"/>
                <a:gd name="connsiteY3" fmla="*/ 139613 h 151994"/>
                <a:gd name="connsiteX4" fmla="*/ 141242 w 170891"/>
                <a:gd name="connsiteY4" fmla="*/ 134726 h 151994"/>
                <a:gd name="connsiteX5" fmla="*/ 136355 w 170891"/>
                <a:gd name="connsiteY5" fmla="*/ 127721 h 151994"/>
                <a:gd name="connsiteX6" fmla="*/ 131630 w 170891"/>
                <a:gd name="connsiteY6" fmla="*/ 126743 h 151994"/>
                <a:gd name="connsiteX7" fmla="*/ 124300 w 170891"/>
                <a:gd name="connsiteY7" fmla="*/ 119575 h 151994"/>
                <a:gd name="connsiteX8" fmla="*/ 118272 w 170891"/>
                <a:gd name="connsiteY8" fmla="*/ 115666 h 151994"/>
                <a:gd name="connsiteX9" fmla="*/ 116643 w 170891"/>
                <a:gd name="connsiteY9" fmla="*/ 113222 h 151994"/>
                <a:gd name="connsiteX10" fmla="*/ 111755 w 170891"/>
                <a:gd name="connsiteY10" fmla="*/ 112733 h 151994"/>
                <a:gd name="connsiteX11" fmla="*/ 110941 w 170891"/>
                <a:gd name="connsiteY11" fmla="*/ 111104 h 151994"/>
                <a:gd name="connsiteX12" fmla="*/ 103610 w 170891"/>
                <a:gd name="connsiteY12" fmla="*/ 109964 h 151994"/>
                <a:gd name="connsiteX13" fmla="*/ 101655 w 170891"/>
                <a:gd name="connsiteY13" fmla="*/ 106054 h 151994"/>
                <a:gd name="connsiteX14" fmla="*/ 92695 w 170891"/>
                <a:gd name="connsiteY14" fmla="*/ 98071 h 151994"/>
                <a:gd name="connsiteX15" fmla="*/ 88460 w 170891"/>
                <a:gd name="connsiteY15" fmla="*/ 97094 h 151994"/>
                <a:gd name="connsiteX16" fmla="*/ 83898 w 170891"/>
                <a:gd name="connsiteY16" fmla="*/ 92858 h 151994"/>
                <a:gd name="connsiteX17" fmla="*/ 78685 w 170891"/>
                <a:gd name="connsiteY17" fmla="*/ 91881 h 151994"/>
                <a:gd name="connsiteX18" fmla="*/ 74612 w 170891"/>
                <a:gd name="connsiteY18" fmla="*/ 92695 h 151994"/>
                <a:gd name="connsiteX19" fmla="*/ 73798 w 170891"/>
                <a:gd name="connsiteY19" fmla="*/ 94161 h 151994"/>
                <a:gd name="connsiteX20" fmla="*/ 65652 w 170891"/>
                <a:gd name="connsiteY20" fmla="*/ 87645 h 151994"/>
                <a:gd name="connsiteX21" fmla="*/ 61254 w 170891"/>
                <a:gd name="connsiteY21" fmla="*/ 87482 h 151994"/>
                <a:gd name="connsiteX22" fmla="*/ 59462 w 170891"/>
                <a:gd name="connsiteY22" fmla="*/ 89437 h 151994"/>
                <a:gd name="connsiteX23" fmla="*/ 55878 w 170891"/>
                <a:gd name="connsiteY23" fmla="*/ 86342 h 151994"/>
                <a:gd name="connsiteX24" fmla="*/ 50828 w 170891"/>
                <a:gd name="connsiteY24" fmla="*/ 86831 h 151994"/>
                <a:gd name="connsiteX25" fmla="*/ 46266 w 170891"/>
                <a:gd name="connsiteY25" fmla="*/ 90903 h 151994"/>
                <a:gd name="connsiteX26" fmla="*/ 41379 w 170891"/>
                <a:gd name="connsiteY26" fmla="*/ 90903 h 151994"/>
                <a:gd name="connsiteX27" fmla="*/ 31278 w 170891"/>
                <a:gd name="connsiteY27" fmla="*/ 87319 h 151994"/>
                <a:gd name="connsiteX28" fmla="*/ 29812 w 170891"/>
                <a:gd name="connsiteY28" fmla="*/ 84713 h 151994"/>
                <a:gd name="connsiteX29" fmla="*/ 27043 w 170891"/>
                <a:gd name="connsiteY29" fmla="*/ 82758 h 151994"/>
                <a:gd name="connsiteX30" fmla="*/ 20201 w 170891"/>
                <a:gd name="connsiteY30" fmla="*/ 97420 h 151994"/>
                <a:gd name="connsiteX31" fmla="*/ 16128 w 170891"/>
                <a:gd name="connsiteY31" fmla="*/ 97583 h 151994"/>
                <a:gd name="connsiteX32" fmla="*/ 14173 w 170891"/>
                <a:gd name="connsiteY32" fmla="*/ 100678 h 151994"/>
                <a:gd name="connsiteX33" fmla="*/ 8797 w 170891"/>
                <a:gd name="connsiteY33" fmla="*/ 100515 h 151994"/>
                <a:gd name="connsiteX34" fmla="*/ 4073 w 170891"/>
                <a:gd name="connsiteY34" fmla="*/ 98560 h 151994"/>
                <a:gd name="connsiteX35" fmla="*/ 3095 w 170891"/>
                <a:gd name="connsiteY35" fmla="*/ 93347 h 151994"/>
                <a:gd name="connsiteX36" fmla="*/ 0 w 170891"/>
                <a:gd name="connsiteY36" fmla="*/ 82595 h 151994"/>
                <a:gd name="connsiteX37" fmla="*/ 326 w 170891"/>
                <a:gd name="connsiteY37" fmla="*/ 76404 h 151994"/>
                <a:gd name="connsiteX38" fmla="*/ 3095 w 170891"/>
                <a:gd name="connsiteY38" fmla="*/ 73472 h 151994"/>
                <a:gd name="connsiteX39" fmla="*/ 3421 w 170891"/>
                <a:gd name="connsiteY39" fmla="*/ 69236 h 151994"/>
                <a:gd name="connsiteX40" fmla="*/ 7494 w 170891"/>
                <a:gd name="connsiteY40" fmla="*/ 63046 h 151994"/>
                <a:gd name="connsiteX41" fmla="*/ 9612 w 170891"/>
                <a:gd name="connsiteY41" fmla="*/ 50176 h 151994"/>
                <a:gd name="connsiteX42" fmla="*/ 12544 w 170891"/>
                <a:gd name="connsiteY42" fmla="*/ 42193 h 151994"/>
                <a:gd name="connsiteX43" fmla="*/ 14336 w 170891"/>
                <a:gd name="connsiteY43" fmla="*/ 39750 h 151994"/>
                <a:gd name="connsiteX44" fmla="*/ 13033 w 170891"/>
                <a:gd name="connsiteY44" fmla="*/ 37469 h 151994"/>
                <a:gd name="connsiteX45" fmla="*/ 10589 w 170891"/>
                <a:gd name="connsiteY45" fmla="*/ 35840 h 151994"/>
                <a:gd name="connsiteX46" fmla="*/ 13033 w 170891"/>
                <a:gd name="connsiteY46" fmla="*/ 29975 h 151994"/>
                <a:gd name="connsiteX47" fmla="*/ 13033 w 170891"/>
                <a:gd name="connsiteY47" fmla="*/ 24762 h 151994"/>
                <a:gd name="connsiteX48" fmla="*/ 16128 w 170891"/>
                <a:gd name="connsiteY48" fmla="*/ 22970 h 151994"/>
                <a:gd name="connsiteX49" fmla="*/ 22807 w 170891"/>
                <a:gd name="connsiteY49" fmla="*/ 22970 h 151994"/>
                <a:gd name="connsiteX50" fmla="*/ 23459 w 170891"/>
                <a:gd name="connsiteY50" fmla="*/ 20038 h 151994"/>
                <a:gd name="connsiteX51" fmla="*/ 22318 w 170891"/>
                <a:gd name="connsiteY51" fmla="*/ 17594 h 151994"/>
                <a:gd name="connsiteX52" fmla="*/ 22644 w 170891"/>
                <a:gd name="connsiteY52" fmla="*/ 14988 h 151994"/>
                <a:gd name="connsiteX53" fmla="*/ 27694 w 170891"/>
                <a:gd name="connsiteY53" fmla="*/ 13847 h 151994"/>
                <a:gd name="connsiteX54" fmla="*/ 30790 w 170891"/>
                <a:gd name="connsiteY54" fmla="*/ 11404 h 151994"/>
                <a:gd name="connsiteX55" fmla="*/ 36491 w 170891"/>
                <a:gd name="connsiteY55" fmla="*/ 11892 h 151994"/>
                <a:gd name="connsiteX56" fmla="*/ 38446 w 170891"/>
                <a:gd name="connsiteY56" fmla="*/ 8308 h 151994"/>
                <a:gd name="connsiteX57" fmla="*/ 42682 w 170891"/>
                <a:gd name="connsiteY57" fmla="*/ 7494 h 151994"/>
                <a:gd name="connsiteX58" fmla="*/ 46918 w 170891"/>
                <a:gd name="connsiteY58" fmla="*/ 5213 h 151994"/>
                <a:gd name="connsiteX59" fmla="*/ 50339 w 170891"/>
                <a:gd name="connsiteY59" fmla="*/ 0 h 151994"/>
                <a:gd name="connsiteX60" fmla="*/ 50501 w 170891"/>
                <a:gd name="connsiteY60" fmla="*/ 0 h 151994"/>
                <a:gd name="connsiteX61" fmla="*/ 56529 w 170891"/>
                <a:gd name="connsiteY61" fmla="*/ 6516 h 151994"/>
                <a:gd name="connsiteX62" fmla="*/ 67118 w 170891"/>
                <a:gd name="connsiteY62" fmla="*/ 34537 h 151994"/>
                <a:gd name="connsiteX63" fmla="*/ 70703 w 170891"/>
                <a:gd name="connsiteY63" fmla="*/ 52945 h 151994"/>
                <a:gd name="connsiteX64" fmla="*/ 72657 w 170891"/>
                <a:gd name="connsiteY64" fmla="*/ 53434 h 151994"/>
                <a:gd name="connsiteX65" fmla="*/ 73960 w 170891"/>
                <a:gd name="connsiteY65" fmla="*/ 60276 h 151994"/>
                <a:gd name="connsiteX66" fmla="*/ 73960 w 170891"/>
                <a:gd name="connsiteY66" fmla="*/ 62557 h 151994"/>
                <a:gd name="connsiteX67" fmla="*/ 77382 w 170891"/>
                <a:gd name="connsiteY67" fmla="*/ 63698 h 151994"/>
                <a:gd name="connsiteX68" fmla="*/ 79662 w 170891"/>
                <a:gd name="connsiteY68" fmla="*/ 69074 h 151994"/>
                <a:gd name="connsiteX69" fmla="*/ 80966 w 170891"/>
                <a:gd name="connsiteY69" fmla="*/ 77056 h 151994"/>
                <a:gd name="connsiteX70" fmla="*/ 85364 w 170891"/>
                <a:gd name="connsiteY70" fmla="*/ 78196 h 151994"/>
                <a:gd name="connsiteX71" fmla="*/ 85039 w 170891"/>
                <a:gd name="connsiteY71" fmla="*/ 71028 h 151994"/>
                <a:gd name="connsiteX72" fmla="*/ 83898 w 170891"/>
                <a:gd name="connsiteY72" fmla="*/ 71191 h 151994"/>
                <a:gd name="connsiteX73" fmla="*/ 84224 w 170891"/>
                <a:gd name="connsiteY73" fmla="*/ 65978 h 151994"/>
                <a:gd name="connsiteX74" fmla="*/ 86179 w 170891"/>
                <a:gd name="connsiteY74" fmla="*/ 65326 h 151994"/>
                <a:gd name="connsiteX75" fmla="*/ 90740 w 170891"/>
                <a:gd name="connsiteY75" fmla="*/ 71843 h 151994"/>
                <a:gd name="connsiteX76" fmla="*/ 89111 w 170891"/>
                <a:gd name="connsiteY76" fmla="*/ 73798 h 151994"/>
                <a:gd name="connsiteX77" fmla="*/ 93347 w 170891"/>
                <a:gd name="connsiteY77" fmla="*/ 80151 h 151994"/>
                <a:gd name="connsiteX78" fmla="*/ 96279 w 170891"/>
                <a:gd name="connsiteY78" fmla="*/ 83247 h 151994"/>
                <a:gd name="connsiteX79" fmla="*/ 98885 w 170891"/>
                <a:gd name="connsiteY79" fmla="*/ 81455 h 151994"/>
                <a:gd name="connsiteX80" fmla="*/ 102633 w 170891"/>
                <a:gd name="connsiteY80" fmla="*/ 80966 h 151994"/>
                <a:gd name="connsiteX81" fmla="*/ 104262 w 170891"/>
                <a:gd name="connsiteY81" fmla="*/ 81943 h 151994"/>
                <a:gd name="connsiteX82" fmla="*/ 107520 w 170891"/>
                <a:gd name="connsiteY82" fmla="*/ 80803 h 151994"/>
                <a:gd name="connsiteX83" fmla="*/ 112244 w 170891"/>
                <a:gd name="connsiteY83" fmla="*/ 86016 h 151994"/>
                <a:gd name="connsiteX84" fmla="*/ 114688 w 170891"/>
                <a:gd name="connsiteY84" fmla="*/ 89111 h 151994"/>
                <a:gd name="connsiteX85" fmla="*/ 121856 w 170891"/>
                <a:gd name="connsiteY85" fmla="*/ 90741 h 151994"/>
                <a:gd name="connsiteX86" fmla="*/ 123322 w 170891"/>
                <a:gd name="connsiteY86" fmla="*/ 93347 h 151994"/>
                <a:gd name="connsiteX87" fmla="*/ 131956 w 170891"/>
                <a:gd name="connsiteY87" fmla="*/ 103122 h 151994"/>
                <a:gd name="connsiteX88" fmla="*/ 135703 w 170891"/>
                <a:gd name="connsiteY88" fmla="*/ 109475 h 151994"/>
                <a:gd name="connsiteX89" fmla="*/ 140916 w 170891"/>
                <a:gd name="connsiteY89" fmla="*/ 111756 h 151994"/>
                <a:gd name="connsiteX90" fmla="*/ 144663 w 170891"/>
                <a:gd name="connsiteY90" fmla="*/ 116317 h 151994"/>
                <a:gd name="connsiteX91" fmla="*/ 146781 w 170891"/>
                <a:gd name="connsiteY91" fmla="*/ 116317 h 151994"/>
                <a:gd name="connsiteX92" fmla="*/ 146944 w 170891"/>
                <a:gd name="connsiteY92" fmla="*/ 114688 h 151994"/>
                <a:gd name="connsiteX93" fmla="*/ 148736 w 170891"/>
                <a:gd name="connsiteY93" fmla="*/ 117132 h 151994"/>
                <a:gd name="connsiteX94" fmla="*/ 152971 w 170891"/>
                <a:gd name="connsiteY94" fmla="*/ 127721 h 151994"/>
                <a:gd name="connsiteX95" fmla="*/ 156067 w 170891"/>
                <a:gd name="connsiteY95" fmla="*/ 128698 h 151994"/>
                <a:gd name="connsiteX96" fmla="*/ 159814 w 170891"/>
                <a:gd name="connsiteY96" fmla="*/ 133260 h 151994"/>
                <a:gd name="connsiteX97" fmla="*/ 158836 w 170891"/>
                <a:gd name="connsiteY97" fmla="*/ 134889 h 151994"/>
                <a:gd name="connsiteX98" fmla="*/ 161117 w 170891"/>
                <a:gd name="connsiteY98" fmla="*/ 139939 h 151994"/>
                <a:gd name="connsiteX99" fmla="*/ 163887 w 170891"/>
                <a:gd name="connsiteY99" fmla="*/ 139939 h 151994"/>
                <a:gd name="connsiteX100" fmla="*/ 166656 w 170891"/>
                <a:gd name="connsiteY100" fmla="*/ 141405 h 151994"/>
                <a:gd name="connsiteX101" fmla="*/ 168611 w 170891"/>
                <a:gd name="connsiteY101" fmla="*/ 139450 h 151994"/>
                <a:gd name="connsiteX102" fmla="*/ 169588 w 170891"/>
                <a:gd name="connsiteY102" fmla="*/ 140916 h 151994"/>
                <a:gd name="connsiteX103" fmla="*/ 170892 w 170891"/>
                <a:gd name="connsiteY103" fmla="*/ 141568 h 151994"/>
                <a:gd name="connsiteX104" fmla="*/ 166167 w 170891"/>
                <a:gd name="connsiteY104" fmla="*/ 146781 h 151994"/>
                <a:gd name="connsiteX105" fmla="*/ 161932 w 170891"/>
                <a:gd name="connsiteY105" fmla="*/ 148084 h 151994"/>
                <a:gd name="connsiteX106" fmla="*/ 159814 w 170891"/>
                <a:gd name="connsiteY106" fmla="*/ 150365 h 151994"/>
                <a:gd name="connsiteX107" fmla="*/ 154112 w 170891"/>
                <a:gd name="connsiteY107" fmla="*/ 151994 h 1519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</a:cxnLst>
              <a:rect l="l" t="t" r="r" b="b"/>
              <a:pathLst>
                <a:path w="170891" h="151994">
                  <a:moveTo>
                    <a:pt x="154112" y="151994"/>
                  </a:moveTo>
                  <a:lnTo>
                    <a:pt x="147107" y="142871"/>
                  </a:lnTo>
                  <a:lnTo>
                    <a:pt x="143523" y="142708"/>
                  </a:lnTo>
                  <a:lnTo>
                    <a:pt x="141894" y="139613"/>
                  </a:lnTo>
                  <a:lnTo>
                    <a:pt x="141242" y="134726"/>
                  </a:lnTo>
                  <a:lnTo>
                    <a:pt x="136355" y="127721"/>
                  </a:lnTo>
                  <a:lnTo>
                    <a:pt x="131630" y="126743"/>
                  </a:lnTo>
                  <a:lnTo>
                    <a:pt x="124300" y="119575"/>
                  </a:lnTo>
                  <a:lnTo>
                    <a:pt x="118272" y="115666"/>
                  </a:lnTo>
                  <a:lnTo>
                    <a:pt x="116643" y="113222"/>
                  </a:lnTo>
                  <a:lnTo>
                    <a:pt x="111755" y="112733"/>
                  </a:lnTo>
                  <a:lnTo>
                    <a:pt x="110941" y="111104"/>
                  </a:lnTo>
                  <a:lnTo>
                    <a:pt x="103610" y="109964"/>
                  </a:lnTo>
                  <a:lnTo>
                    <a:pt x="101655" y="106054"/>
                  </a:lnTo>
                  <a:lnTo>
                    <a:pt x="92695" y="98071"/>
                  </a:lnTo>
                  <a:lnTo>
                    <a:pt x="88460" y="97094"/>
                  </a:lnTo>
                  <a:lnTo>
                    <a:pt x="83898" y="92858"/>
                  </a:lnTo>
                  <a:lnTo>
                    <a:pt x="78685" y="91881"/>
                  </a:lnTo>
                  <a:lnTo>
                    <a:pt x="74612" y="92695"/>
                  </a:lnTo>
                  <a:lnTo>
                    <a:pt x="73798" y="94161"/>
                  </a:lnTo>
                  <a:lnTo>
                    <a:pt x="65652" y="87645"/>
                  </a:lnTo>
                  <a:lnTo>
                    <a:pt x="61254" y="87482"/>
                  </a:lnTo>
                  <a:lnTo>
                    <a:pt x="59462" y="89437"/>
                  </a:lnTo>
                  <a:lnTo>
                    <a:pt x="55878" y="86342"/>
                  </a:lnTo>
                  <a:lnTo>
                    <a:pt x="50828" y="86831"/>
                  </a:lnTo>
                  <a:lnTo>
                    <a:pt x="46266" y="90903"/>
                  </a:lnTo>
                  <a:lnTo>
                    <a:pt x="41379" y="90903"/>
                  </a:lnTo>
                  <a:lnTo>
                    <a:pt x="31278" y="87319"/>
                  </a:lnTo>
                  <a:lnTo>
                    <a:pt x="29812" y="84713"/>
                  </a:lnTo>
                  <a:lnTo>
                    <a:pt x="27043" y="82758"/>
                  </a:lnTo>
                  <a:lnTo>
                    <a:pt x="20201" y="97420"/>
                  </a:lnTo>
                  <a:lnTo>
                    <a:pt x="16128" y="97583"/>
                  </a:lnTo>
                  <a:lnTo>
                    <a:pt x="14173" y="100678"/>
                  </a:lnTo>
                  <a:lnTo>
                    <a:pt x="8797" y="100515"/>
                  </a:lnTo>
                  <a:lnTo>
                    <a:pt x="4073" y="98560"/>
                  </a:lnTo>
                  <a:lnTo>
                    <a:pt x="3095" y="93347"/>
                  </a:lnTo>
                  <a:lnTo>
                    <a:pt x="0" y="82595"/>
                  </a:lnTo>
                  <a:lnTo>
                    <a:pt x="326" y="76404"/>
                  </a:lnTo>
                  <a:lnTo>
                    <a:pt x="3095" y="73472"/>
                  </a:lnTo>
                  <a:lnTo>
                    <a:pt x="3421" y="69236"/>
                  </a:lnTo>
                  <a:lnTo>
                    <a:pt x="7494" y="63046"/>
                  </a:lnTo>
                  <a:lnTo>
                    <a:pt x="9612" y="50176"/>
                  </a:lnTo>
                  <a:lnTo>
                    <a:pt x="12544" y="42193"/>
                  </a:lnTo>
                  <a:lnTo>
                    <a:pt x="14336" y="39750"/>
                  </a:lnTo>
                  <a:lnTo>
                    <a:pt x="13033" y="37469"/>
                  </a:lnTo>
                  <a:lnTo>
                    <a:pt x="10589" y="35840"/>
                  </a:lnTo>
                  <a:lnTo>
                    <a:pt x="13033" y="29975"/>
                  </a:lnTo>
                  <a:lnTo>
                    <a:pt x="13033" y="24762"/>
                  </a:lnTo>
                  <a:lnTo>
                    <a:pt x="16128" y="22970"/>
                  </a:lnTo>
                  <a:lnTo>
                    <a:pt x="22807" y="22970"/>
                  </a:lnTo>
                  <a:lnTo>
                    <a:pt x="23459" y="20038"/>
                  </a:lnTo>
                  <a:lnTo>
                    <a:pt x="22318" y="17594"/>
                  </a:lnTo>
                  <a:lnTo>
                    <a:pt x="22644" y="14988"/>
                  </a:lnTo>
                  <a:lnTo>
                    <a:pt x="27694" y="13847"/>
                  </a:lnTo>
                  <a:lnTo>
                    <a:pt x="30790" y="11404"/>
                  </a:lnTo>
                  <a:lnTo>
                    <a:pt x="36491" y="11892"/>
                  </a:lnTo>
                  <a:lnTo>
                    <a:pt x="38446" y="8308"/>
                  </a:lnTo>
                  <a:lnTo>
                    <a:pt x="42682" y="7494"/>
                  </a:lnTo>
                  <a:lnTo>
                    <a:pt x="46918" y="5213"/>
                  </a:lnTo>
                  <a:lnTo>
                    <a:pt x="50339" y="0"/>
                  </a:lnTo>
                  <a:lnTo>
                    <a:pt x="50501" y="0"/>
                  </a:lnTo>
                  <a:lnTo>
                    <a:pt x="56529" y="6516"/>
                  </a:lnTo>
                  <a:lnTo>
                    <a:pt x="67118" y="34537"/>
                  </a:lnTo>
                  <a:lnTo>
                    <a:pt x="70703" y="52945"/>
                  </a:lnTo>
                  <a:lnTo>
                    <a:pt x="72657" y="53434"/>
                  </a:lnTo>
                  <a:lnTo>
                    <a:pt x="73960" y="60276"/>
                  </a:lnTo>
                  <a:lnTo>
                    <a:pt x="73960" y="62557"/>
                  </a:lnTo>
                  <a:lnTo>
                    <a:pt x="77382" y="63698"/>
                  </a:lnTo>
                  <a:lnTo>
                    <a:pt x="79662" y="69074"/>
                  </a:lnTo>
                  <a:lnTo>
                    <a:pt x="80966" y="77056"/>
                  </a:lnTo>
                  <a:lnTo>
                    <a:pt x="85364" y="78196"/>
                  </a:lnTo>
                  <a:lnTo>
                    <a:pt x="85039" y="71028"/>
                  </a:lnTo>
                  <a:lnTo>
                    <a:pt x="83898" y="71191"/>
                  </a:lnTo>
                  <a:lnTo>
                    <a:pt x="84224" y="65978"/>
                  </a:lnTo>
                  <a:lnTo>
                    <a:pt x="86179" y="65326"/>
                  </a:lnTo>
                  <a:lnTo>
                    <a:pt x="90740" y="71843"/>
                  </a:lnTo>
                  <a:lnTo>
                    <a:pt x="89111" y="73798"/>
                  </a:lnTo>
                  <a:lnTo>
                    <a:pt x="93347" y="80151"/>
                  </a:lnTo>
                  <a:lnTo>
                    <a:pt x="96279" y="83247"/>
                  </a:lnTo>
                  <a:lnTo>
                    <a:pt x="98885" y="81455"/>
                  </a:lnTo>
                  <a:lnTo>
                    <a:pt x="102633" y="80966"/>
                  </a:lnTo>
                  <a:lnTo>
                    <a:pt x="104262" y="81943"/>
                  </a:lnTo>
                  <a:lnTo>
                    <a:pt x="107520" y="80803"/>
                  </a:lnTo>
                  <a:lnTo>
                    <a:pt x="112244" y="86016"/>
                  </a:lnTo>
                  <a:lnTo>
                    <a:pt x="114688" y="89111"/>
                  </a:lnTo>
                  <a:lnTo>
                    <a:pt x="121856" y="90741"/>
                  </a:lnTo>
                  <a:lnTo>
                    <a:pt x="123322" y="93347"/>
                  </a:lnTo>
                  <a:lnTo>
                    <a:pt x="131956" y="103122"/>
                  </a:lnTo>
                  <a:lnTo>
                    <a:pt x="135703" y="109475"/>
                  </a:lnTo>
                  <a:lnTo>
                    <a:pt x="140916" y="111756"/>
                  </a:lnTo>
                  <a:lnTo>
                    <a:pt x="144663" y="116317"/>
                  </a:lnTo>
                  <a:lnTo>
                    <a:pt x="146781" y="116317"/>
                  </a:lnTo>
                  <a:lnTo>
                    <a:pt x="146944" y="114688"/>
                  </a:lnTo>
                  <a:lnTo>
                    <a:pt x="148736" y="117132"/>
                  </a:lnTo>
                  <a:lnTo>
                    <a:pt x="152971" y="127721"/>
                  </a:lnTo>
                  <a:lnTo>
                    <a:pt x="156067" y="128698"/>
                  </a:lnTo>
                  <a:lnTo>
                    <a:pt x="159814" y="133260"/>
                  </a:lnTo>
                  <a:lnTo>
                    <a:pt x="158836" y="134889"/>
                  </a:lnTo>
                  <a:lnTo>
                    <a:pt x="161117" y="139939"/>
                  </a:lnTo>
                  <a:lnTo>
                    <a:pt x="163887" y="139939"/>
                  </a:lnTo>
                  <a:lnTo>
                    <a:pt x="166656" y="141405"/>
                  </a:lnTo>
                  <a:lnTo>
                    <a:pt x="168611" y="139450"/>
                  </a:lnTo>
                  <a:lnTo>
                    <a:pt x="169588" y="140916"/>
                  </a:lnTo>
                  <a:lnTo>
                    <a:pt x="170892" y="141568"/>
                  </a:lnTo>
                  <a:lnTo>
                    <a:pt x="166167" y="146781"/>
                  </a:lnTo>
                  <a:lnTo>
                    <a:pt x="161932" y="148084"/>
                  </a:lnTo>
                  <a:lnTo>
                    <a:pt x="159814" y="150365"/>
                  </a:lnTo>
                  <a:lnTo>
                    <a:pt x="154112" y="151994"/>
                  </a:lnTo>
                  <a:close/>
                </a:path>
              </a:pathLst>
            </a:custGeom>
            <a:solidFill>
              <a:schemeClr val="bg2"/>
            </a:solidFill>
            <a:ln w="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4" name="Forma livre: Forma 93">
              <a:extLst>
                <a:ext uri="{FF2B5EF4-FFF2-40B4-BE49-F238E27FC236}">
                  <a16:creationId xmlns:a16="http://schemas.microsoft.com/office/drawing/2014/main" id="{18F50D1F-166D-D4FE-5518-FF69F0149493}"/>
                </a:ext>
              </a:extLst>
            </p:cNvPr>
            <p:cNvSpPr/>
            <p:nvPr/>
          </p:nvSpPr>
          <p:spPr>
            <a:xfrm>
              <a:off x="7091931" y="4619831"/>
              <a:ext cx="40404" cy="48821"/>
            </a:xfrm>
            <a:custGeom>
              <a:avLst/>
              <a:gdLst>
                <a:gd name="connsiteX0" fmla="*/ 29487 w 39098"/>
                <a:gd name="connsiteY0" fmla="*/ 44311 h 47243"/>
                <a:gd name="connsiteX1" fmla="*/ 24925 w 39098"/>
                <a:gd name="connsiteY1" fmla="*/ 41705 h 47243"/>
                <a:gd name="connsiteX2" fmla="*/ 18083 w 39098"/>
                <a:gd name="connsiteY2" fmla="*/ 43008 h 47243"/>
                <a:gd name="connsiteX3" fmla="*/ 12055 w 39098"/>
                <a:gd name="connsiteY3" fmla="*/ 46918 h 47243"/>
                <a:gd name="connsiteX4" fmla="*/ 2444 w 39098"/>
                <a:gd name="connsiteY4" fmla="*/ 47244 h 47243"/>
                <a:gd name="connsiteX5" fmla="*/ 0 w 39098"/>
                <a:gd name="connsiteY5" fmla="*/ 44311 h 47243"/>
                <a:gd name="connsiteX6" fmla="*/ 4073 w 39098"/>
                <a:gd name="connsiteY6" fmla="*/ 38447 h 47243"/>
                <a:gd name="connsiteX7" fmla="*/ 4561 w 39098"/>
                <a:gd name="connsiteY7" fmla="*/ 33885 h 47243"/>
                <a:gd name="connsiteX8" fmla="*/ 7005 w 39098"/>
                <a:gd name="connsiteY8" fmla="*/ 29324 h 47243"/>
                <a:gd name="connsiteX9" fmla="*/ 6028 w 39098"/>
                <a:gd name="connsiteY9" fmla="*/ 22644 h 47243"/>
                <a:gd name="connsiteX10" fmla="*/ 8145 w 39098"/>
                <a:gd name="connsiteY10" fmla="*/ 18083 h 47243"/>
                <a:gd name="connsiteX11" fmla="*/ 9775 w 39098"/>
                <a:gd name="connsiteY11" fmla="*/ 11892 h 47243"/>
                <a:gd name="connsiteX12" fmla="*/ 20364 w 39098"/>
                <a:gd name="connsiteY12" fmla="*/ 8797 h 47243"/>
                <a:gd name="connsiteX13" fmla="*/ 22482 w 39098"/>
                <a:gd name="connsiteY13" fmla="*/ 6516 h 47243"/>
                <a:gd name="connsiteX14" fmla="*/ 26717 w 39098"/>
                <a:gd name="connsiteY14" fmla="*/ 5213 h 47243"/>
                <a:gd name="connsiteX15" fmla="*/ 31441 w 39098"/>
                <a:gd name="connsiteY15" fmla="*/ 0 h 47243"/>
                <a:gd name="connsiteX16" fmla="*/ 31441 w 39098"/>
                <a:gd name="connsiteY16" fmla="*/ 0 h 47243"/>
                <a:gd name="connsiteX17" fmla="*/ 31441 w 39098"/>
                <a:gd name="connsiteY17" fmla="*/ 1955 h 47243"/>
                <a:gd name="connsiteX18" fmla="*/ 37306 w 39098"/>
                <a:gd name="connsiteY18" fmla="*/ 7820 h 47243"/>
                <a:gd name="connsiteX19" fmla="*/ 38935 w 39098"/>
                <a:gd name="connsiteY19" fmla="*/ 7820 h 47243"/>
                <a:gd name="connsiteX20" fmla="*/ 38121 w 39098"/>
                <a:gd name="connsiteY20" fmla="*/ 10263 h 47243"/>
                <a:gd name="connsiteX21" fmla="*/ 39098 w 39098"/>
                <a:gd name="connsiteY21" fmla="*/ 18083 h 47243"/>
                <a:gd name="connsiteX22" fmla="*/ 36491 w 39098"/>
                <a:gd name="connsiteY22" fmla="*/ 19223 h 47243"/>
                <a:gd name="connsiteX23" fmla="*/ 31767 w 39098"/>
                <a:gd name="connsiteY23" fmla="*/ 24436 h 47243"/>
                <a:gd name="connsiteX24" fmla="*/ 28183 w 39098"/>
                <a:gd name="connsiteY24" fmla="*/ 24599 h 47243"/>
                <a:gd name="connsiteX25" fmla="*/ 25577 w 39098"/>
                <a:gd name="connsiteY25" fmla="*/ 28346 h 47243"/>
                <a:gd name="connsiteX26" fmla="*/ 20038 w 39098"/>
                <a:gd name="connsiteY26" fmla="*/ 28346 h 47243"/>
                <a:gd name="connsiteX27" fmla="*/ 22807 w 39098"/>
                <a:gd name="connsiteY27" fmla="*/ 31930 h 47243"/>
                <a:gd name="connsiteX28" fmla="*/ 24599 w 39098"/>
                <a:gd name="connsiteY28" fmla="*/ 32256 h 47243"/>
                <a:gd name="connsiteX29" fmla="*/ 28509 w 39098"/>
                <a:gd name="connsiteY29" fmla="*/ 30627 h 47243"/>
                <a:gd name="connsiteX30" fmla="*/ 35188 w 39098"/>
                <a:gd name="connsiteY30" fmla="*/ 30464 h 47243"/>
                <a:gd name="connsiteX31" fmla="*/ 36003 w 39098"/>
                <a:gd name="connsiteY31" fmla="*/ 32419 h 47243"/>
                <a:gd name="connsiteX32" fmla="*/ 30138 w 39098"/>
                <a:gd name="connsiteY32" fmla="*/ 43334 h 47243"/>
                <a:gd name="connsiteX33" fmla="*/ 29487 w 39098"/>
                <a:gd name="connsiteY33" fmla="*/ 44311 h 472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</a:cxnLst>
              <a:rect l="l" t="t" r="r" b="b"/>
              <a:pathLst>
                <a:path w="39098" h="47243">
                  <a:moveTo>
                    <a:pt x="29487" y="44311"/>
                  </a:moveTo>
                  <a:lnTo>
                    <a:pt x="24925" y="41705"/>
                  </a:lnTo>
                  <a:lnTo>
                    <a:pt x="18083" y="43008"/>
                  </a:lnTo>
                  <a:lnTo>
                    <a:pt x="12055" y="46918"/>
                  </a:lnTo>
                  <a:lnTo>
                    <a:pt x="2444" y="47244"/>
                  </a:lnTo>
                  <a:lnTo>
                    <a:pt x="0" y="44311"/>
                  </a:lnTo>
                  <a:lnTo>
                    <a:pt x="4073" y="38447"/>
                  </a:lnTo>
                  <a:lnTo>
                    <a:pt x="4561" y="33885"/>
                  </a:lnTo>
                  <a:lnTo>
                    <a:pt x="7005" y="29324"/>
                  </a:lnTo>
                  <a:lnTo>
                    <a:pt x="6028" y="22644"/>
                  </a:lnTo>
                  <a:lnTo>
                    <a:pt x="8145" y="18083"/>
                  </a:lnTo>
                  <a:lnTo>
                    <a:pt x="9775" y="11892"/>
                  </a:lnTo>
                  <a:lnTo>
                    <a:pt x="20364" y="8797"/>
                  </a:lnTo>
                  <a:lnTo>
                    <a:pt x="22482" y="6516"/>
                  </a:lnTo>
                  <a:lnTo>
                    <a:pt x="26717" y="5213"/>
                  </a:lnTo>
                  <a:lnTo>
                    <a:pt x="31441" y="0"/>
                  </a:lnTo>
                  <a:lnTo>
                    <a:pt x="31441" y="0"/>
                  </a:lnTo>
                  <a:lnTo>
                    <a:pt x="31441" y="1955"/>
                  </a:lnTo>
                  <a:lnTo>
                    <a:pt x="37306" y="7820"/>
                  </a:lnTo>
                  <a:lnTo>
                    <a:pt x="38935" y="7820"/>
                  </a:lnTo>
                  <a:lnTo>
                    <a:pt x="38121" y="10263"/>
                  </a:lnTo>
                  <a:lnTo>
                    <a:pt x="39098" y="18083"/>
                  </a:lnTo>
                  <a:lnTo>
                    <a:pt x="36491" y="19223"/>
                  </a:lnTo>
                  <a:lnTo>
                    <a:pt x="31767" y="24436"/>
                  </a:lnTo>
                  <a:lnTo>
                    <a:pt x="28183" y="24599"/>
                  </a:lnTo>
                  <a:lnTo>
                    <a:pt x="25577" y="28346"/>
                  </a:lnTo>
                  <a:lnTo>
                    <a:pt x="20038" y="28346"/>
                  </a:lnTo>
                  <a:lnTo>
                    <a:pt x="22807" y="31930"/>
                  </a:lnTo>
                  <a:lnTo>
                    <a:pt x="24599" y="32256"/>
                  </a:lnTo>
                  <a:lnTo>
                    <a:pt x="28509" y="30627"/>
                  </a:lnTo>
                  <a:lnTo>
                    <a:pt x="35188" y="30464"/>
                  </a:lnTo>
                  <a:lnTo>
                    <a:pt x="36003" y="32419"/>
                  </a:lnTo>
                  <a:lnTo>
                    <a:pt x="30138" y="43334"/>
                  </a:lnTo>
                  <a:lnTo>
                    <a:pt x="29487" y="44311"/>
                  </a:lnTo>
                  <a:close/>
                </a:path>
              </a:pathLst>
            </a:custGeom>
            <a:solidFill>
              <a:schemeClr val="bg2"/>
            </a:solidFill>
            <a:ln w="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5" name="Forma livre: Forma 94">
              <a:extLst>
                <a:ext uri="{FF2B5EF4-FFF2-40B4-BE49-F238E27FC236}">
                  <a16:creationId xmlns:a16="http://schemas.microsoft.com/office/drawing/2014/main" id="{75AEF50A-4F6D-2C1A-1909-ACA71871D77E}"/>
                </a:ext>
              </a:extLst>
            </p:cNvPr>
            <p:cNvSpPr/>
            <p:nvPr/>
          </p:nvSpPr>
          <p:spPr>
            <a:xfrm>
              <a:off x="7074759" y="4639864"/>
              <a:ext cx="270876" cy="358755"/>
            </a:xfrm>
            <a:custGeom>
              <a:avLst/>
              <a:gdLst>
                <a:gd name="connsiteX0" fmla="*/ 23948 w 262121"/>
                <a:gd name="connsiteY0" fmla="*/ 207057 h 347159"/>
                <a:gd name="connsiteX1" fmla="*/ 24763 w 262121"/>
                <a:gd name="connsiteY1" fmla="*/ 206732 h 347159"/>
                <a:gd name="connsiteX2" fmla="*/ 27043 w 262121"/>
                <a:gd name="connsiteY2" fmla="*/ 203148 h 347159"/>
                <a:gd name="connsiteX3" fmla="*/ 35188 w 262121"/>
                <a:gd name="connsiteY3" fmla="*/ 199075 h 347159"/>
                <a:gd name="connsiteX4" fmla="*/ 42683 w 262121"/>
                <a:gd name="connsiteY4" fmla="*/ 197935 h 347159"/>
                <a:gd name="connsiteX5" fmla="*/ 49525 w 262121"/>
                <a:gd name="connsiteY5" fmla="*/ 194188 h 347159"/>
                <a:gd name="connsiteX6" fmla="*/ 54412 w 262121"/>
                <a:gd name="connsiteY6" fmla="*/ 191418 h 347159"/>
                <a:gd name="connsiteX7" fmla="*/ 56529 w 262121"/>
                <a:gd name="connsiteY7" fmla="*/ 186205 h 347159"/>
                <a:gd name="connsiteX8" fmla="*/ 62883 w 262121"/>
                <a:gd name="connsiteY8" fmla="*/ 182784 h 347159"/>
                <a:gd name="connsiteX9" fmla="*/ 67445 w 262121"/>
                <a:gd name="connsiteY9" fmla="*/ 182458 h 347159"/>
                <a:gd name="connsiteX10" fmla="*/ 72332 w 262121"/>
                <a:gd name="connsiteY10" fmla="*/ 179363 h 347159"/>
                <a:gd name="connsiteX11" fmla="*/ 88134 w 262121"/>
                <a:gd name="connsiteY11" fmla="*/ 178711 h 347159"/>
                <a:gd name="connsiteX12" fmla="*/ 103774 w 262121"/>
                <a:gd name="connsiteY12" fmla="*/ 179200 h 347159"/>
                <a:gd name="connsiteX13" fmla="*/ 183762 w 262121"/>
                <a:gd name="connsiteY13" fmla="*/ 99863 h 347159"/>
                <a:gd name="connsiteX14" fmla="*/ 150854 w 262121"/>
                <a:gd name="connsiteY14" fmla="*/ 100352 h 347159"/>
                <a:gd name="connsiteX15" fmla="*/ 75590 w 262121"/>
                <a:gd name="connsiteY15" fmla="*/ 77382 h 347159"/>
                <a:gd name="connsiteX16" fmla="*/ 69236 w 262121"/>
                <a:gd name="connsiteY16" fmla="*/ 71843 h 347159"/>
                <a:gd name="connsiteX17" fmla="*/ 59788 w 262121"/>
                <a:gd name="connsiteY17" fmla="*/ 69888 h 347159"/>
                <a:gd name="connsiteX18" fmla="*/ 56367 w 262121"/>
                <a:gd name="connsiteY18" fmla="*/ 62068 h 347159"/>
                <a:gd name="connsiteX19" fmla="*/ 57344 w 262121"/>
                <a:gd name="connsiteY19" fmla="*/ 54737 h 347159"/>
                <a:gd name="connsiteX20" fmla="*/ 50502 w 262121"/>
                <a:gd name="connsiteY20" fmla="*/ 51316 h 347159"/>
                <a:gd name="connsiteX21" fmla="*/ 46104 w 262121"/>
                <a:gd name="connsiteY21" fmla="*/ 37469 h 347159"/>
                <a:gd name="connsiteX22" fmla="*/ 44474 w 262121"/>
                <a:gd name="connsiteY22" fmla="*/ 27695 h 347159"/>
                <a:gd name="connsiteX23" fmla="*/ 46755 w 262121"/>
                <a:gd name="connsiteY23" fmla="*/ 23948 h 347159"/>
                <a:gd name="connsiteX24" fmla="*/ 52620 w 262121"/>
                <a:gd name="connsiteY24" fmla="*/ 13033 h 347159"/>
                <a:gd name="connsiteX25" fmla="*/ 54249 w 262121"/>
                <a:gd name="connsiteY25" fmla="*/ 16128 h 347159"/>
                <a:gd name="connsiteX26" fmla="*/ 55878 w 262121"/>
                <a:gd name="connsiteY26" fmla="*/ 16454 h 347159"/>
                <a:gd name="connsiteX27" fmla="*/ 71354 w 262121"/>
                <a:gd name="connsiteY27" fmla="*/ 33559 h 347159"/>
                <a:gd name="connsiteX28" fmla="*/ 73147 w 262121"/>
                <a:gd name="connsiteY28" fmla="*/ 37306 h 347159"/>
                <a:gd name="connsiteX29" fmla="*/ 75753 w 262121"/>
                <a:gd name="connsiteY29" fmla="*/ 38121 h 347159"/>
                <a:gd name="connsiteX30" fmla="*/ 82106 w 262121"/>
                <a:gd name="connsiteY30" fmla="*/ 43823 h 347159"/>
                <a:gd name="connsiteX31" fmla="*/ 88297 w 262121"/>
                <a:gd name="connsiteY31" fmla="*/ 45452 h 347159"/>
                <a:gd name="connsiteX32" fmla="*/ 95791 w 262121"/>
                <a:gd name="connsiteY32" fmla="*/ 44474 h 347159"/>
                <a:gd name="connsiteX33" fmla="*/ 98072 w 262121"/>
                <a:gd name="connsiteY33" fmla="*/ 41705 h 347159"/>
                <a:gd name="connsiteX34" fmla="*/ 104751 w 262121"/>
                <a:gd name="connsiteY34" fmla="*/ 37632 h 347159"/>
                <a:gd name="connsiteX35" fmla="*/ 108824 w 262121"/>
                <a:gd name="connsiteY35" fmla="*/ 37469 h 347159"/>
                <a:gd name="connsiteX36" fmla="*/ 117458 w 262121"/>
                <a:gd name="connsiteY36" fmla="*/ 30627 h 347159"/>
                <a:gd name="connsiteX37" fmla="*/ 119901 w 262121"/>
                <a:gd name="connsiteY37" fmla="*/ 30464 h 347159"/>
                <a:gd name="connsiteX38" fmla="*/ 121531 w 262121"/>
                <a:gd name="connsiteY38" fmla="*/ 31930 h 347159"/>
                <a:gd name="connsiteX39" fmla="*/ 128536 w 262121"/>
                <a:gd name="connsiteY39" fmla="*/ 31604 h 347159"/>
                <a:gd name="connsiteX40" fmla="*/ 130816 w 262121"/>
                <a:gd name="connsiteY40" fmla="*/ 30790 h 347159"/>
                <a:gd name="connsiteX41" fmla="*/ 136029 w 262121"/>
                <a:gd name="connsiteY41" fmla="*/ 33233 h 347159"/>
                <a:gd name="connsiteX42" fmla="*/ 143360 w 262121"/>
                <a:gd name="connsiteY42" fmla="*/ 32419 h 347159"/>
                <a:gd name="connsiteX43" fmla="*/ 158999 w 262121"/>
                <a:gd name="connsiteY43" fmla="*/ 22807 h 347159"/>
                <a:gd name="connsiteX44" fmla="*/ 163887 w 262121"/>
                <a:gd name="connsiteY44" fmla="*/ 21830 h 347159"/>
                <a:gd name="connsiteX45" fmla="*/ 168937 w 262121"/>
                <a:gd name="connsiteY45" fmla="*/ 23948 h 347159"/>
                <a:gd name="connsiteX46" fmla="*/ 172847 w 262121"/>
                <a:gd name="connsiteY46" fmla="*/ 22807 h 347159"/>
                <a:gd name="connsiteX47" fmla="*/ 179689 w 262121"/>
                <a:gd name="connsiteY47" fmla="*/ 22970 h 347159"/>
                <a:gd name="connsiteX48" fmla="*/ 186857 w 262121"/>
                <a:gd name="connsiteY48" fmla="*/ 19549 h 347159"/>
                <a:gd name="connsiteX49" fmla="*/ 195002 w 262121"/>
                <a:gd name="connsiteY49" fmla="*/ 18897 h 347159"/>
                <a:gd name="connsiteX50" fmla="*/ 197446 w 262121"/>
                <a:gd name="connsiteY50" fmla="*/ 20364 h 347159"/>
                <a:gd name="connsiteX51" fmla="*/ 200052 w 262121"/>
                <a:gd name="connsiteY51" fmla="*/ 20364 h 347159"/>
                <a:gd name="connsiteX52" fmla="*/ 212434 w 262121"/>
                <a:gd name="connsiteY52" fmla="*/ 18083 h 347159"/>
                <a:gd name="connsiteX53" fmla="*/ 217158 w 262121"/>
                <a:gd name="connsiteY53" fmla="*/ 14173 h 347159"/>
                <a:gd name="connsiteX54" fmla="*/ 224652 w 262121"/>
                <a:gd name="connsiteY54" fmla="*/ 13196 h 347159"/>
                <a:gd name="connsiteX55" fmla="*/ 226770 w 262121"/>
                <a:gd name="connsiteY55" fmla="*/ 15150 h 347159"/>
                <a:gd name="connsiteX56" fmla="*/ 227584 w 262121"/>
                <a:gd name="connsiteY56" fmla="*/ 13033 h 347159"/>
                <a:gd name="connsiteX57" fmla="*/ 235404 w 262121"/>
                <a:gd name="connsiteY57" fmla="*/ 12055 h 347159"/>
                <a:gd name="connsiteX58" fmla="*/ 239965 w 262121"/>
                <a:gd name="connsiteY58" fmla="*/ 7494 h 347159"/>
                <a:gd name="connsiteX59" fmla="*/ 240943 w 262121"/>
                <a:gd name="connsiteY59" fmla="*/ 8145 h 347159"/>
                <a:gd name="connsiteX60" fmla="*/ 242898 w 262121"/>
                <a:gd name="connsiteY60" fmla="*/ 4561 h 347159"/>
                <a:gd name="connsiteX61" fmla="*/ 242246 w 262121"/>
                <a:gd name="connsiteY61" fmla="*/ 3910 h 347159"/>
                <a:gd name="connsiteX62" fmla="*/ 245341 w 262121"/>
                <a:gd name="connsiteY62" fmla="*/ 814 h 347159"/>
                <a:gd name="connsiteX63" fmla="*/ 247459 w 262121"/>
                <a:gd name="connsiteY63" fmla="*/ 1140 h 347159"/>
                <a:gd name="connsiteX64" fmla="*/ 247133 w 262121"/>
                <a:gd name="connsiteY64" fmla="*/ 0 h 347159"/>
                <a:gd name="connsiteX65" fmla="*/ 250229 w 262121"/>
                <a:gd name="connsiteY65" fmla="*/ 2118 h 347159"/>
                <a:gd name="connsiteX66" fmla="*/ 256745 w 262121"/>
                <a:gd name="connsiteY66" fmla="*/ 4398 h 347159"/>
                <a:gd name="connsiteX67" fmla="*/ 259677 w 262121"/>
                <a:gd name="connsiteY67" fmla="*/ 4073 h 347159"/>
                <a:gd name="connsiteX68" fmla="*/ 260981 w 262121"/>
                <a:gd name="connsiteY68" fmla="*/ 4887 h 347159"/>
                <a:gd name="connsiteX69" fmla="*/ 258211 w 262121"/>
                <a:gd name="connsiteY69" fmla="*/ 8797 h 347159"/>
                <a:gd name="connsiteX70" fmla="*/ 256582 w 262121"/>
                <a:gd name="connsiteY70" fmla="*/ 12870 h 347159"/>
                <a:gd name="connsiteX71" fmla="*/ 256419 w 262121"/>
                <a:gd name="connsiteY71" fmla="*/ 16942 h 347159"/>
                <a:gd name="connsiteX72" fmla="*/ 254790 w 262121"/>
                <a:gd name="connsiteY72" fmla="*/ 19549 h 347159"/>
                <a:gd name="connsiteX73" fmla="*/ 256093 w 262121"/>
                <a:gd name="connsiteY73" fmla="*/ 21830 h 347159"/>
                <a:gd name="connsiteX74" fmla="*/ 259352 w 262121"/>
                <a:gd name="connsiteY74" fmla="*/ 21830 h 347159"/>
                <a:gd name="connsiteX75" fmla="*/ 259677 w 262121"/>
                <a:gd name="connsiteY75" fmla="*/ 23459 h 347159"/>
                <a:gd name="connsiteX76" fmla="*/ 256908 w 262121"/>
                <a:gd name="connsiteY76" fmla="*/ 25740 h 347159"/>
                <a:gd name="connsiteX77" fmla="*/ 254627 w 262121"/>
                <a:gd name="connsiteY77" fmla="*/ 30953 h 347159"/>
                <a:gd name="connsiteX78" fmla="*/ 256908 w 262121"/>
                <a:gd name="connsiteY78" fmla="*/ 34048 h 347159"/>
                <a:gd name="connsiteX79" fmla="*/ 257722 w 262121"/>
                <a:gd name="connsiteY79" fmla="*/ 38447 h 347159"/>
                <a:gd name="connsiteX80" fmla="*/ 255931 w 262121"/>
                <a:gd name="connsiteY80" fmla="*/ 42519 h 347159"/>
                <a:gd name="connsiteX81" fmla="*/ 259352 w 262121"/>
                <a:gd name="connsiteY81" fmla="*/ 42031 h 347159"/>
                <a:gd name="connsiteX82" fmla="*/ 258863 w 262121"/>
                <a:gd name="connsiteY82" fmla="*/ 40727 h 347159"/>
                <a:gd name="connsiteX83" fmla="*/ 260492 w 262121"/>
                <a:gd name="connsiteY83" fmla="*/ 41216 h 347159"/>
                <a:gd name="connsiteX84" fmla="*/ 262121 w 262121"/>
                <a:gd name="connsiteY84" fmla="*/ 44148 h 347159"/>
                <a:gd name="connsiteX85" fmla="*/ 260492 w 262121"/>
                <a:gd name="connsiteY85" fmla="*/ 45126 h 347159"/>
                <a:gd name="connsiteX86" fmla="*/ 259840 w 262121"/>
                <a:gd name="connsiteY86" fmla="*/ 44148 h 347159"/>
                <a:gd name="connsiteX87" fmla="*/ 256582 w 262121"/>
                <a:gd name="connsiteY87" fmla="*/ 44148 h 347159"/>
                <a:gd name="connsiteX88" fmla="*/ 254465 w 262121"/>
                <a:gd name="connsiteY88" fmla="*/ 44637 h 347159"/>
                <a:gd name="connsiteX89" fmla="*/ 250717 w 262121"/>
                <a:gd name="connsiteY89" fmla="*/ 51153 h 347159"/>
                <a:gd name="connsiteX90" fmla="*/ 252672 w 262121"/>
                <a:gd name="connsiteY90" fmla="*/ 54412 h 347159"/>
                <a:gd name="connsiteX91" fmla="*/ 251695 w 262121"/>
                <a:gd name="connsiteY91" fmla="*/ 60602 h 347159"/>
                <a:gd name="connsiteX92" fmla="*/ 250066 w 262121"/>
                <a:gd name="connsiteY92" fmla="*/ 63209 h 347159"/>
                <a:gd name="connsiteX93" fmla="*/ 250392 w 262121"/>
                <a:gd name="connsiteY93" fmla="*/ 69888 h 347159"/>
                <a:gd name="connsiteX94" fmla="*/ 241595 w 262121"/>
                <a:gd name="connsiteY94" fmla="*/ 82269 h 347159"/>
                <a:gd name="connsiteX95" fmla="*/ 235567 w 262121"/>
                <a:gd name="connsiteY95" fmla="*/ 94976 h 347159"/>
                <a:gd name="connsiteX96" fmla="*/ 231983 w 262121"/>
                <a:gd name="connsiteY96" fmla="*/ 99538 h 347159"/>
                <a:gd name="connsiteX97" fmla="*/ 229865 w 262121"/>
                <a:gd name="connsiteY97" fmla="*/ 99049 h 347159"/>
                <a:gd name="connsiteX98" fmla="*/ 224163 w 262121"/>
                <a:gd name="connsiteY98" fmla="*/ 105239 h 347159"/>
                <a:gd name="connsiteX99" fmla="*/ 223838 w 262121"/>
                <a:gd name="connsiteY99" fmla="*/ 108172 h 347159"/>
                <a:gd name="connsiteX100" fmla="*/ 226281 w 262121"/>
                <a:gd name="connsiteY100" fmla="*/ 111756 h 347159"/>
                <a:gd name="connsiteX101" fmla="*/ 223023 w 262121"/>
                <a:gd name="connsiteY101" fmla="*/ 114688 h 347159"/>
                <a:gd name="connsiteX102" fmla="*/ 208524 w 262121"/>
                <a:gd name="connsiteY102" fmla="*/ 142382 h 347159"/>
                <a:gd name="connsiteX103" fmla="*/ 208035 w 262121"/>
                <a:gd name="connsiteY103" fmla="*/ 150528 h 347159"/>
                <a:gd name="connsiteX104" fmla="*/ 198749 w 262121"/>
                <a:gd name="connsiteY104" fmla="*/ 163398 h 347159"/>
                <a:gd name="connsiteX105" fmla="*/ 198261 w 262121"/>
                <a:gd name="connsiteY105" fmla="*/ 167633 h 347159"/>
                <a:gd name="connsiteX106" fmla="*/ 180829 w 262121"/>
                <a:gd name="connsiteY106" fmla="*/ 191255 h 347159"/>
                <a:gd name="connsiteX107" fmla="*/ 179200 w 262121"/>
                <a:gd name="connsiteY107" fmla="*/ 196794 h 347159"/>
                <a:gd name="connsiteX108" fmla="*/ 171381 w 262121"/>
                <a:gd name="connsiteY108" fmla="*/ 204614 h 347159"/>
                <a:gd name="connsiteX109" fmla="*/ 157859 w 262121"/>
                <a:gd name="connsiteY109" fmla="*/ 221068 h 347159"/>
                <a:gd name="connsiteX110" fmla="*/ 129513 w 262121"/>
                <a:gd name="connsiteY110" fmla="*/ 246156 h 347159"/>
                <a:gd name="connsiteX111" fmla="*/ 117295 w 262121"/>
                <a:gd name="connsiteY111" fmla="*/ 256745 h 347159"/>
                <a:gd name="connsiteX112" fmla="*/ 108824 w 262121"/>
                <a:gd name="connsiteY112" fmla="*/ 258211 h 347159"/>
                <a:gd name="connsiteX113" fmla="*/ 101656 w 262121"/>
                <a:gd name="connsiteY113" fmla="*/ 263261 h 347159"/>
                <a:gd name="connsiteX114" fmla="*/ 92533 w 262121"/>
                <a:gd name="connsiteY114" fmla="*/ 270266 h 347159"/>
                <a:gd name="connsiteX115" fmla="*/ 75101 w 262121"/>
                <a:gd name="connsiteY115" fmla="*/ 288512 h 347159"/>
                <a:gd name="connsiteX116" fmla="*/ 71192 w 262121"/>
                <a:gd name="connsiteY116" fmla="*/ 289815 h 347159"/>
                <a:gd name="connsiteX117" fmla="*/ 56856 w 262121"/>
                <a:gd name="connsiteY117" fmla="*/ 305617 h 347159"/>
                <a:gd name="connsiteX118" fmla="*/ 54412 w 262121"/>
                <a:gd name="connsiteY118" fmla="*/ 306595 h 347159"/>
                <a:gd name="connsiteX119" fmla="*/ 52294 w 262121"/>
                <a:gd name="connsiteY119" fmla="*/ 310505 h 347159"/>
                <a:gd name="connsiteX120" fmla="*/ 47081 w 262121"/>
                <a:gd name="connsiteY120" fmla="*/ 311971 h 347159"/>
                <a:gd name="connsiteX121" fmla="*/ 41705 w 262121"/>
                <a:gd name="connsiteY121" fmla="*/ 317184 h 347159"/>
                <a:gd name="connsiteX122" fmla="*/ 39261 w 262121"/>
                <a:gd name="connsiteY122" fmla="*/ 322560 h 347159"/>
                <a:gd name="connsiteX123" fmla="*/ 18246 w 262121"/>
                <a:gd name="connsiteY123" fmla="*/ 346019 h 347159"/>
                <a:gd name="connsiteX124" fmla="*/ 17920 w 262121"/>
                <a:gd name="connsiteY124" fmla="*/ 347159 h 347159"/>
                <a:gd name="connsiteX125" fmla="*/ 0 w 262121"/>
                <a:gd name="connsiteY125" fmla="*/ 330705 h 347159"/>
                <a:gd name="connsiteX126" fmla="*/ 489 w 262121"/>
                <a:gd name="connsiteY126" fmla="*/ 229539 h 347159"/>
                <a:gd name="connsiteX127" fmla="*/ 24274 w 262121"/>
                <a:gd name="connsiteY127" fmla="*/ 207057 h 347159"/>
                <a:gd name="connsiteX128" fmla="*/ 23948 w 262121"/>
                <a:gd name="connsiteY128" fmla="*/ 207057 h 3471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</a:cxnLst>
              <a:rect l="l" t="t" r="r" b="b"/>
              <a:pathLst>
                <a:path w="262121" h="347159">
                  <a:moveTo>
                    <a:pt x="23948" y="207057"/>
                  </a:moveTo>
                  <a:lnTo>
                    <a:pt x="24763" y="206732"/>
                  </a:lnTo>
                  <a:lnTo>
                    <a:pt x="27043" y="203148"/>
                  </a:lnTo>
                  <a:lnTo>
                    <a:pt x="35188" y="199075"/>
                  </a:lnTo>
                  <a:lnTo>
                    <a:pt x="42683" y="197935"/>
                  </a:lnTo>
                  <a:lnTo>
                    <a:pt x="49525" y="194188"/>
                  </a:lnTo>
                  <a:lnTo>
                    <a:pt x="54412" y="191418"/>
                  </a:lnTo>
                  <a:lnTo>
                    <a:pt x="56529" y="186205"/>
                  </a:lnTo>
                  <a:lnTo>
                    <a:pt x="62883" y="182784"/>
                  </a:lnTo>
                  <a:lnTo>
                    <a:pt x="67445" y="182458"/>
                  </a:lnTo>
                  <a:lnTo>
                    <a:pt x="72332" y="179363"/>
                  </a:lnTo>
                  <a:lnTo>
                    <a:pt x="88134" y="178711"/>
                  </a:lnTo>
                  <a:lnTo>
                    <a:pt x="103774" y="179200"/>
                  </a:lnTo>
                  <a:lnTo>
                    <a:pt x="183762" y="99863"/>
                  </a:lnTo>
                  <a:lnTo>
                    <a:pt x="150854" y="100352"/>
                  </a:lnTo>
                  <a:lnTo>
                    <a:pt x="75590" y="77382"/>
                  </a:lnTo>
                  <a:lnTo>
                    <a:pt x="69236" y="71843"/>
                  </a:lnTo>
                  <a:lnTo>
                    <a:pt x="59788" y="69888"/>
                  </a:lnTo>
                  <a:lnTo>
                    <a:pt x="56367" y="62068"/>
                  </a:lnTo>
                  <a:lnTo>
                    <a:pt x="57344" y="54737"/>
                  </a:lnTo>
                  <a:lnTo>
                    <a:pt x="50502" y="51316"/>
                  </a:lnTo>
                  <a:lnTo>
                    <a:pt x="46104" y="37469"/>
                  </a:lnTo>
                  <a:lnTo>
                    <a:pt x="44474" y="27695"/>
                  </a:lnTo>
                  <a:lnTo>
                    <a:pt x="46755" y="23948"/>
                  </a:lnTo>
                  <a:lnTo>
                    <a:pt x="52620" y="13033"/>
                  </a:lnTo>
                  <a:lnTo>
                    <a:pt x="54249" y="16128"/>
                  </a:lnTo>
                  <a:lnTo>
                    <a:pt x="55878" y="16454"/>
                  </a:lnTo>
                  <a:lnTo>
                    <a:pt x="71354" y="33559"/>
                  </a:lnTo>
                  <a:lnTo>
                    <a:pt x="73147" y="37306"/>
                  </a:lnTo>
                  <a:lnTo>
                    <a:pt x="75753" y="38121"/>
                  </a:lnTo>
                  <a:lnTo>
                    <a:pt x="82106" y="43823"/>
                  </a:lnTo>
                  <a:lnTo>
                    <a:pt x="88297" y="45452"/>
                  </a:lnTo>
                  <a:lnTo>
                    <a:pt x="95791" y="44474"/>
                  </a:lnTo>
                  <a:lnTo>
                    <a:pt x="98072" y="41705"/>
                  </a:lnTo>
                  <a:lnTo>
                    <a:pt x="104751" y="37632"/>
                  </a:lnTo>
                  <a:lnTo>
                    <a:pt x="108824" y="37469"/>
                  </a:lnTo>
                  <a:lnTo>
                    <a:pt x="117458" y="30627"/>
                  </a:lnTo>
                  <a:lnTo>
                    <a:pt x="119901" y="30464"/>
                  </a:lnTo>
                  <a:lnTo>
                    <a:pt x="121531" y="31930"/>
                  </a:lnTo>
                  <a:lnTo>
                    <a:pt x="128536" y="31604"/>
                  </a:lnTo>
                  <a:lnTo>
                    <a:pt x="130816" y="30790"/>
                  </a:lnTo>
                  <a:lnTo>
                    <a:pt x="136029" y="33233"/>
                  </a:lnTo>
                  <a:lnTo>
                    <a:pt x="143360" y="32419"/>
                  </a:lnTo>
                  <a:lnTo>
                    <a:pt x="158999" y="22807"/>
                  </a:lnTo>
                  <a:lnTo>
                    <a:pt x="163887" y="21830"/>
                  </a:lnTo>
                  <a:lnTo>
                    <a:pt x="168937" y="23948"/>
                  </a:lnTo>
                  <a:lnTo>
                    <a:pt x="172847" y="22807"/>
                  </a:lnTo>
                  <a:lnTo>
                    <a:pt x="179689" y="22970"/>
                  </a:lnTo>
                  <a:lnTo>
                    <a:pt x="186857" y="19549"/>
                  </a:lnTo>
                  <a:lnTo>
                    <a:pt x="195002" y="18897"/>
                  </a:lnTo>
                  <a:lnTo>
                    <a:pt x="197446" y="20364"/>
                  </a:lnTo>
                  <a:lnTo>
                    <a:pt x="200052" y="20364"/>
                  </a:lnTo>
                  <a:lnTo>
                    <a:pt x="212434" y="18083"/>
                  </a:lnTo>
                  <a:lnTo>
                    <a:pt x="217158" y="14173"/>
                  </a:lnTo>
                  <a:lnTo>
                    <a:pt x="224652" y="13196"/>
                  </a:lnTo>
                  <a:lnTo>
                    <a:pt x="226770" y="15150"/>
                  </a:lnTo>
                  <a:lnTo>
                    <a:pt x="227584" y="13033"/>
                  </a:lnTo>
                  <a:lnTo>
                    <a:pt x="235404" y="12055"/>
                  </a:lnTo>
                  <a:lnTo>
                    <a:pt x="239965" y="7494"/>
                  </a:lnTo>
                  <a:lnTo>
                    <a:pt x="240943" y="8145"/>
                  </a:lnTo>
                  <a:lnTo>
                    <a:pt x="242898" y="4561"/>
                  </a:lnTo>
                  <a:lnTo>
                    <a:pt x="242246" y="3910"/>
                  </a:lnTo>
                  <a:lnTo>
                    <a:pt x="245341" y="814"/>
                  </a:lnTo>
                  <a:lnTo>
                    <a:pt x="247459" y="1140"/>
                  </a:lnTo>
                  <a:lnTo>
                    <a:pt x="247133" y="0"/>
                  </a:lnTo>
                  <a:lnTo>
                    <a:pt x="250229" y="2118"/>
                  </a:lnTo>
                  <a:lnTo>
                    <a:pt x="256745" y="4398"/>
                  </a:lnTo>
                  <a:lnTo>
                    <a:pt x="259677" y="4073"/>
                  </a:lnTo>
                  <a:lnTo>
                    <a:pt x="260981" y="4887"/>
                  </a:lnTo>
                  <a:lnTo>
                    <a:pt x="258211" y="8797"/>
                  </a:lnTo>
                  <a:lnTo>
                    <a:pt x="256582" y="12870"/>
                  </a:lnTo>
                  <a:lnTo>
                    <a:pt x="256419" y="16942"/>
                  </a:lnTo>
                  <a:lnTo>
                    <a:pt x="254790" y="19549"/>
                  </a:lnTo>
                  <a:lnTo>
                    <a:pt x="256093" y="21830"/>
                  </a:lnTo>
                  <a:lnTo>
                    <a:pt x="259352" y="21830"/>
                  </a:lnTo>
                  <a:lnTo>
                    <a:pt x="259677" y="23459"/>
                  </a:lnTo>
                  <a:lnTo>
                    <a:pt x="256908" y="25740"/>
                  </a:lnTo>
                  <a:lnTo>
                    <a:pt x="254627" y="30953"/>
                  </a:lnTo>
                  <a:lnTo>
                    <a:pt x="256908" y="34048"/>
                  </a:lnTo>
                  <a:lnTo>
                    <a:pt x="257722" y="38447"/>
                  </a:lnTo>
                  <a:lnTo>
                    <a:pt x="255931" y="42519"/>
                  </a:lnTo>
                  <a:lnTo>
                    <a:pt x="259352" y="42031"/>
                  </a:lnTo>
                  <a:lnTo>
                    <a:pt x="258863" y="40727"/>
                  </a:lnTo>
                  <a:lnTo>
                    <a:pt x="260492" y="41216"/>
                  </a:lnTo>
                  <a:lnTo>
                    <a:pt x="262121" y="44148"/>
                  </a:lnTo>
                  <a:lnTo>
                    <a:pt x="260492" y="45126"/>
                  </a:lnTo>
                  <a:lnTo>
                    <a:pt x="259840" y="44148"/>
                  </a:lnTo>
                  <a:lnTo>
                    <a:pt x="256582" y="44148"/>
                  </a:lnTo>
                  <a:lnTo>
                    <a:pt x="254465" y="44637"/>
                  </a:lnTo>
                  <a:lnTo>
                    <a:pt x="250717" y="51153"/>
                  </a:lnTo>
                  <a:lnTo>
                    <a:pt x="252672" y="54412"/>
                  </a:lnTo>
                  <a:lnTo>
                    <a:pt x="251695" y="60602"/>
                  </a:lnTo>
                  <a:lnTo>
                    <a:pt x="250066" y="63209"/>
                  </a:lnTo>
                  <a:lnTo>
                    <a:pt x="250392" y="69888"/>
                  </a:lnTo>
                  <a:lnTo>
                    <a:pt x="241595" y="82269"/>
                  </a:lnTo>
                  <a:lnTo>
                    <a:pt x="235567" y="94976"/>
                  </a:lnTo>
                  <a:lnTo>
                    <a:pt x="231983" y="99538"/>
                  </a:lnTo>
                  <a:lnTo>
                    <a:pt x="229865" y="99049"/>
                  </a:lnTo>
                  <a:lnTo>
                    <a:pt x="224163" y="105239"/>
                  </a:lnTo>
                  <a:lnTo>
                    <a:pt x="223838" y="108172"/>
                  </a:lnTo>
                  <a:lnTo>
                    <a:pt x="226281" y="111756"/>
                  </a:lnTo>
                  <a:lnTo>
                    <a:pt x="223023" y="114688"/>
                  </a:lnTo>
                  <a:lnTo>
                    <a:pt x="208524" y="142382"/>
                  </a:lnTo>
                  <a:lnTo>
                    <a:pt x="208035" y="150528"/>
                  </a:lnTo>
                  <a:lnTo>
                    <a:pt x="198749" y="163398"/>
                  </a:lnTo>
                  <a:lnTo>
                    <a:pt x="198261" y="167633"/>
                  </a:lnTo>
                  <a:lnTo>
                    <a:pt x="180829" y="191255"/>
                  </a:lnTo>
                  <a:lnTo>
                    <a:pt x="179200" y="196794"/>
                  </a:lnTo>
                  <a:lnTo>
                    <a:pt x="171381" y="204614"/>
                  </a:lnTo>
                  <a:lnTo>
                    <a:pt x="157859" y="221068"/>
                  </a:lnTo>
                  <a:lnTo>
                    <a:pt x="129513" y="246156"/>
                  </a:lnTo>
                  <a:lnTo>
                    <a:pt x="117295" y="256745"/>
                  </a:lnTo>
                  <a:lnTo>
                    <a:pt x="108824" y="258211"/>
                  </a:lnTo>
                  <a:lnTo>
                    <a:pt x="101656" y="263261"/>
                  </a:lnTo>
                  <a:lnTo>
                    <a:pt x="92533" y="270266"/>
                  </a:lnTo>
                  <a:lnTo>
                    <a:pt x="75101" y="288512"/>
                  </a:lnTo>
                  <a:lnTo>
                    <a:pt x="71192" y="289815"/>
                  </a:lnTo>
                  <a:lnTo>
                    <a:pt x="56856" y="305617"/>
                  </a:lnTo>
                  <a:lnTo>
                    <a:pt x="54412" y="306595"/>
                  </a:lnTo>
                  <a:lnTo>
                    <a:pt x="52294" y="310505"/>
                  </a:lnTo>
                  <a:lnTo>
                    <a:pt x="47081" y="311971"/>
                  </a:lnTo>
                  <a:lnTo>
                    <a:pt x="41705" y="317184"/>
                  </a:lnTo>
                  <a:lnTo>
                    <a:pt x="39261" y="322560"/>
                  </a:lnTo>
                  <a:lnTo>
                    <a:pt x="18246" y="346019"/>
                  </a:lnTo>
                  <a:lnTo>
                    <a:pt x="17920" y="347159"/>
                  </a:lnTo>
                  <a:lnTo>
                    <a:pt x="0" y="330705"/>
                  </a:lnTo>
                  <a:lnTo>
                    <a:pt x="489" y="229539"/>
                  </a:lnTo>
                  <a:lnTo>
                    <a:pt x="24274" y="207057"/>
                  </a:lnTo>
                  <a:lnTo>
                    <a:pt x="23948" y="207057"/>
                  </a:lnTo>
                  <a:close/>
                </a:path>
              </a:pathLst>
            </a:custGeom>
            <a:solidFill>
              <a:schemeClr val="bg2"/>
            </a:solidFill>
            <a:ln w="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6" name="Forma livre: Forma 95">
              <a:extLst>
                <a:ext uri="{FF2B5EF4-FFF2-40B4-BE49-F238E27FC236}">
                  <a16:creationId xmlns:a16="http://schemas.microsoft.com/office/drawing/2014/main" id="{B21C570D-7EF0-748D-6602-C31EAC7ABB59}"/>
                </a:ext>
              </a:extLst>
            </p:cNvPr>
            <p:cNvSpPr/>
            <p:nvPr/>
          </p:nvSpPr>
          <p:spPr>
            <a:xfrm>
              <a:off x="6821560" y="4812087"/>
              <a:ext cx="278283" cy="270202"/>
            </a:xfrm>
            <a:custGeom>
              <a:avLst/>
              <a:gdLst>
                <a:gd name="connsiteX0" fmla="*/ 66467 w 269288"/>
                <a:gd name="connsiteY0" fmla="*/ 33071 h 261469"/>
                <a:gd name="connsiteX1" fmla="*/ 69399 w 269288"/>
                <a:gd name="connsiteY1" fmla="*/ 29161 h 261469"/>
                <a:gd name="connsiteX2" fmla="*/ 71354 w 269288"/>
                <a:gd name="connsiteY2" fmla="*/ 28346 h 261469"/>
                <a:gd name="connsiteX3" fmla="*/ 73798 w 269288"/>
                <a:gd name="connsiteY3" fmla="*/ 24925 h 261469"/>
                <a:gd name="connsiteX4" fmla="*/ 78522 w 269288"/>
                <a:gd name="connsiteY4" fmla="*/ 20364 h 261469"/>
                <a:gd name="connsiteX5" fmla="*/ 81128 w 269288"/>
                <a:gd name="connsiteY5" fmla="*/ 21341 h 261469"/>
                <a:gd name="connsiteX6" fmla="*/ 87482 w 269288"/>
                <a:gd name="connsiteY6" fmla="*/ 11729 h 261469"/>
                <a:gd name="connsiteX7" fmla="*/ 97908 w 269288"/>
                <a:gd name="connsiteY7" fmla="*/ 0 h 261469"/>
                <a:gd name="connsiteX8" fmla="*/ 100678 w 269288"/>
                <a:gd name="connsiteY8" fmla="*/ 4724 h 261469"/>
                <a:gd name="connsiteX9" fmla="*/ 105728 w 269288"/>
                <a:gd name="connsiteY9" fmla="*/ 3747 h 261469"/>
                <a:gd name="connsiteX10" fmla="*/ 109638 w 269288"/>
                <a:gd name="connsiteY10" fmla="*/ 4399 h 261469"/>
                <a:gd name="connsiteX11" fmla="*/ 109638 w 269288"/>
                <a:gd name="connsiteY11" fmla="*/ 19875 h 261469"/>
                <a:gd name="connsiteX12" fmla="*/ 114036 w 269288"/>
                <a:gd name="connsiteY12" fmla="*/ 24762 h 261469"/>
                <a:gd name="connsiteX13" fmla="*/ 118923 w 269288"/>
                <a:gd name="connsiteY13" fmla="*/ 25740 h 261469"/>
                <a:gd name="connsiteX14" fmla="*/ 124788 w 269288"/>
                <a:gd name="connsiteY14" fmla="*/ 23785 h 261469"/>
                <a:gd name="connsiteX15" fmla="*/ 131142 w 269288"/>
                <a:gd name="connsiteY15" fmla="*/ 25414 h 261469"/>
                <a:gd name="connsiteX16" fmla="*/ 143523 w 269288"/>
                <a:gd name="connsiteY16" fmla="*/ 24762 h 261469"/>
                <a:gd name="connsiteX17" fmla="*/ 148410 w 269288"/>
                <a:gd name="connsiteY17" fmla="*/ 27695 h 261469"/>
                <a:gd name="connsiteX18" fmla="*/ 159162 w 269288"/>
                <a:gd name="connsiteY18" fmla="*/ 37958 h 261469"/>
                <a:gd name="connsiteX19" fmla="*/ 165516 w 269288"/>
                <a:gd name="connsiteY19" fmla="*/ 42193 h 261469"/>
                <a:gd name="connsiteX20" fmla="*/ 169751 w 269288"/>
                <a:gd name="connsiteY20" fmla="*/ 47081 h 261469"/>
                <a:gd name="connsiteX21" fmla="*/ 173824 w 269288"/>
                <a:gd name="connsiteY21" fmla="*/ 48384 h 261469"/>
                <a:gd name="connsiteX22" fmla="*/ 182947 w 269288"/>
                <a:gd name="connsiteY22" fmla="*/ 48384 h 261469"/>
                <a:gd name="connsiteX23" fmla="*/ 188486 w 269288"/>
                <a:gd name="connsiteY23" fmla="*/ 50828 h 261469"/>
                <a:gd name="connsiteX24" fmla="*/ 195328 w 269288"/>
                <a:gd name="connsiteY24" fmla="*/ 49850 h 261469"/>
                <a:gd name="connsiteX25" fmla="*/ 199889 w 269288"/>
                <a:gd name="connsiteY25" fmla="*/ 51479 h 261469"/>
                <a:gd name="connsiteX26" fmla="*/ 203636 w 269288"/>
                <a:gd name="connsiteY26" fmla="*/ 51479 h 261469"/>
                <a:gd name="connsiteX27" fmla="*/ 208687 w 269288"/>
                <a:gd name="connsiteY27" fmla="*/ 51153 h 261469"/>
                <a:gd name="connsiteX28" fmla="*/ 215366 w 269288"/>
                <a:gd name="connsiteY28" fmla="*/ 40727 h 261469"/>
                <a:gd name="connsiteX29" fmla="*/ 217809 w 269288"/>
                <a:gd name="connsiteY29" fmla="*/ 37469 h 261469"/>
                <a:gd name="connsiteX30" fmla="*/ 223185 w 269288"/>
                <a:gd name="connsiteY30" fmla="*/ 35351 h 261469"/>
                <a:gd name="connsiteX31" fmla="*/ 227095 w 269288"/>
                <a:gd name="connsiteY31" fmla="*/ 35677 h 261469"/>
                <a:gd name="connsiteX32" fmla="*/ 229865 w 269288"/>
                <a:gd name="connsiteY32" fmla="*/ 33885 h 261469"/>
                <a:gd name="connsiteX33" fmla="*/ 241757 w 269288"/>
                <a:gd name="connsiteY33" fmla="*/ 32256 h 261469"/>
                <a:gd name="connsiteX34" fmla="*/ 245504 w 269288"/>
                <a:gd name="connsiteY34" fmla="*/ 34048 h 261469"/>
                <a:gd name="connsiteX35" fmla="*/ 248599 w 269288"/>
                <a:gd name="connsiteY35" fmla="*/ 39587 h 261469"/>
                <a:gd name="connsiteX36" fmla="*/ 252835 w 269288"/>
                <a:gd name="connsiteY36" fmla="*/ 42031 h 261469"/>
                <a:gd name="connsiteX37" fmla="*/ 262446 w 269288"/>
                <a:gd name="connsiteY37" fmla="*/ 40401 h 261469"/>
                <a:gd name="connsiteX38" fmla="*/ 269289 w 269288"/>
                <a:gd name="connsiteY38" fmla="*/ 40401 h 261469"/>
                <a:gd name="connsiteX39" fmla="*/ 245504 w 269288"/>
                <a:gd name="connsiteY39" fmla="*/ 63046 h 261469"/>
                <a:gd name="connsiteX40" fmla="*/ 245015 w 269288"/>
                <a:gd name="connsiteY40" fmla="*/ 164212 h 261469"/>
                <a:gd name="connsiteX41" fmla="*/ 262935 w 269288"/>
                <a:gd name="connsiteY41" fmla="*/ 180666 h 261469"/>
                <a:gd name="connsiteX42" fmla="*/ 262609 w 269288"/>
                <a:gd name="connsiteY42" fmla="*/ 182295 h 261469"/>
                <a:gd name="connsiteX43" fmla="*/ 254301 w 269288"/>
                <a:gd name="connsiteY43" fmla="*/ 192558 h 261469"/>
                <a:gd name="connsiteX44" fmla="*/ 252346 w 269288"/>
                <a:gd name="connsiteY44" fmla="*/ 193210 h 261469"/>
                <a:gd name="connsiteX45" fmla="*/ 249414 w 269288"/>
                <a:gd name="connsiteY45" fmla="*/ 196468 h 261469"/>
                <a:gd name="connsiteX46" fmla="*/ 250880 w 269288"/>
                <a:gd name="connsiteY46" fmla="*/ 198912 h 261469"/>
                <a:gd name="connsiteX47" fmla="*/ 242083 w 269288"/>
                <a:gd name="connsiteY47" fmla="*/ 202007 h 261469"/>
                <a:gd name="connsiteX48" fmla="*/ 237521 w 269288"/>
                <a:gd name="connsiteY48" fmla="*/ 208524 h 261469"/>
                <a:gd name="connsiteX49" fmla="*/ 230028 w 269288"/>
                <a:gd name="connsiteY49" fmla="*/ 208524 h 261469"/>
                <a:gd name="connsiteX50" fmla="*/ 226769 w 269288"/>
                <a:gd name="connsiteY50" fmla="*/ 209664 h 261469"/>
                <a:gd name="connsiteX51" fmla="*/ 226281 w 269288"/>
                <a:gd name="connsiteY51" fmla="*/ 211456 h 261469"/>
                <a:gd name="connsiteX52" fmla="*/ 222697 w 269288"/>
                <a:gd name="connsiteY52" fmla="*/ 215692 h 261469"/>
                <a:gd name="connsiteX53" fmla="*/ 222697 w 269288"/>
                <a:gd name="connsiteY53" fmla="*/ 218787 h 261469"/>
                <a:gd name="connsiteX54" fmla="*/ 224163 w 269288"/>
                <a:gd name="connsiteY54" fmla="*/ 220090 h 261469"/>
                <a:gd name="connsiteX55" fmla="*/ 219927 w 269288"/>
                <a:gd name="connsiteY55" fmla="*/ 226607 h 261469"/>
                <a:gd name="connsiteX56" fmla="*/ 215855 w 269288"/>
                <a:gd name="connsiteY56" fmla="*/ 231657 h 261469"/>
                <a:gd name="connsiteX57" fmla="*/ 215855 w 269288"/>
                <a:gd name="connsiteY57" fmla="*/ 237522 h 261469"/>
                <a:gd name="connsiteX58" fmla="*/ 212108 w 269288"/>
                <a:gd name="connsiteY58" fmla="*/ 245667 h 261469"/>
                <a:gd name="connsiteX59" fmla="*/ 202822 w 269288"/>
                <a:gd name="connsiteY59" fmla="*/ 259189 h 261469"/>
                <a:gd name="connsiteX60" fmla="*/ 197446 w 269288"/>
                <a:gd name="connsiteY60" fmla="*/ 261469 h 261469"/>
                <a:gd name="connsiteX61" fmla="*/ 195165 w 269288"/>
                <a:gd name="connsiteY61" fmla="*/ 261469 h 261469"/>
                <a:gd name="connsiteX62" fmla="*/ 163398 w 269288"/>
                <a:gd name="connsiteY62" fmla="*/ 238988 h 261469"/>
                <a:gd name="connsiteX63" fmla="*/ 161117 w 269288"/>
                <a:gd name="connsiteY63" fmla="*/ 236218 h 261469"/>
                <a:gd name="connsiteX64" fmla="*/ 160139 w 269288"/>
                <a:gd name="connsiteY64" fmla="*/ 232960 h 261469"/>
                <a:gd name="connsiteX65" fmla="*/ 161443 w 269288"/>
                <a:gd name="connsiteY65" fmla="*/ 230516 h 261469"/>
                <a:gd name="connsiteX66" fmla="*/ 156230 w 269288"/>
                <a:gd name="connsiteY66" fmla="*/ 221882 h 261469"/>
                <a:gd name="connsiteX67" fmla="*/ 62394 w 269288"/>
                <a:gd name="connsiteY67" fmla="*/ 167145 h 261469"/>
                <a:gd name="connsiteX68" fmla="*/ 55226 w 269288"/>
                <a:gd name="connsiteY68" fmla="*/ 167471 h 261469"/>
                <a:gd name="connsiteX69" fmla="*/ 61905 w 269288"/>
                <a:gd name="connsiteY69" fmla="*/ 142546 h 261469"/>
                <a:gd name="connsiteX70" fmla="*/ 62883 w 269288"/>
                <a:gd name="connsiteY70" fmla="*/ 135377 h 261469"/>
                <a:gd name="connsiteX71" fmla="*/ 67770 w 269288"/>
                <a:gd name="connsiteY71" fmla="*/ 130653 h 261469"/>
                <a:gd name="connsiteX72" fmla="*/ 70703 w 269288"/>
                <a:gd name="connsiteY72" fmla="*/ 124788 h 261469"/>
                <a:gd name="connsiteX73" fmla="*/ 74938 w 269288"/>
                <a:gd name="connsiteY73" fmla="*/ 120879 h 261469"/>
                <a:gd name="connsiteX74" fmla="*/ 76893 w 269288"/>
                <a:gd name="connsiteY74" fmla="*/ 116154 h 261469"/>
                <a:gd name="connsiteX75" fmla="*/ 79662 w 269288"/>
                <a:gd name="connsiteY75" fmla="*/ 113385 h 261469"/>
                <a:gd name="connsiteX76" fmla="*/ 79337 w 269288"/>
                <a:gd name="connsiteY76" fmla="*/ 111104 h 261469"/>
                <a:gd name="connsiteX77" fmla="*/ 88134 w 269288"/>
                <a:gd name="connsiteY77" fmla="*/ 111104 h 261469"/>
                <a:gd name="connsiteX78" fmla="*/ 90414 w 269288"/>
                <a:gd name="connsiteY78" fmla="*/ 104914 h 261469"/>
                <a:gd name="connsiteX79" fmla="*/ 90414 w 269288"/>
                <a:gd name="connsiteY79" fmla="*/ 101167 h 261469"/>
                <a:gd name="connsiteX80" fmla="*/ 96279 w 269288"/>
                <a:gd name="connsiteY80" fmla="*/ 94324 h 261469"/>
                <a:gd name="connsiteX81" fmla="*/ 96931 w 269288"/>
                <a:gd name="connsiteY81" fmla="*/ 88949 h 261469"/>
                <a:gd name="connsiteX82" fmla="*/ 95139 w 269288"/>
                <a:gd name="connsiteY82" fmla="*/ 83572 h 261469"/>
                <a:gd name="connsiteX83" fmla="*/ 91392 w 269288"/>
                <a:gd name="connsiteY83" fmla="*/ 80314 h 261469"/>
                <a:gd name="connsiteX84" fmla="*/ 93673 w 269288"/>
                <a:gd name="connsiteY84" fmla="*/ 77056 h 261469"/>
                <a:gd name="connsiteX85" fmla="*/ 90740 w 269288"/>
                <a:gd name="connsiteY85" fmla="*/ 74775 h 261469"/>
                <a:gd name="connsiteX86" fmla="*/ 87319 w 269288"/>
                <a:gd name="connsiteY86" fmla="*/ 73309 h 261469"/>
                <a:gd name="connsiteX87" fmla="*/ 84061 w 269288"/>
                <a:gd name="connsiteY87" fmla="*/ 65490 h 261469"/>
                <a:gd name="connsiteX88" fmla="*/ 78196 w 269288"/>
                <a:gd name="connsiteY88" fmla="*/ 59788 h 261469"/>
                <a:gd name="connsiteX89" fmla="*/ 78196 w 269288"/>
                <a:gd name="connsiteY89" fmla="*/ 54575 h 261469"/>
                <a:gd name="connsiteX90" fmla="*/ 76404 w 269288"/>
                <a:gd name="connsiteY90" fmla="*/ 48873 h 261469"/>
                <a:gd name="connsiteX91" fmla="*/ 72983 w 269288"/>
                <a:gd name="connsiteY91" fmla="*/ 48058 h 261469"/>
                <a:gd name="connsiteX92" fmla="*/ 73472 w 269288"/>
                <a:gd name="connsiteY92" fmla="*/ 43660 h 261469"/>
                <a:gd name="connsiteX93" fmla="*/ 71028 w 269288"/>
                <a:gd name="connsiteY93" fmla="*/ 42193 h 261469"/>
                <a:gd name="connsiteX94" fmla="*/ 69236 w 269288"/>
                <a:gd name="connsiteY94" fmla="*/ 35514 h 261469"/>
                <a:gd name="connsiteX95" fmla="*/ 66792 w 269288"/>
                <a:gd name="connsiteY95" fmla="*/ 32582 h 261469"/>
                <a:gd name="connsiteX96" fmla="*/ 66630 w 269288"/>
                <a:gd name="connsiteY96" fmla="*/ 32582 h 261469"/>
                <a:gd name="connsiteX97" fmla="*/ 66630 w 269288"/>
                <a:gd name="connsiteY97" fmla="*/ 32582 h 261469"/>
                <a:gd name="connsiteX98" fmla="*/ 66630 w 269288"/>
                <a:gd name="connsiteY98" fmla="*/ 32582 h 261469"/>
                <a:gd name="connsiteX99" fmla="*/ 0 w 269288"/>
                <a:gd name="connsiteY99" fmla="*/ 169751 h 261469"/>
                <a:gd name="connsiteX100" fmla="*/ 9612 w 269288"/>
                <a:gd name="connsiteY100" fmla="*/ 169751 h 261469"/>
                <a:gd name="connsiteX101" fmla="*/ 19549 w 269288"/>
                <a:gd name="connsiteY101" fmla="*/ 169100 h 261469"/>
                <a:gd name="connsiteX102" fmla="*/ 651 w 269288"/>
                <a:gd name="connsiteY102" fmla="*/ 169588 h 261469"/>
                <a:gd name="connsiteX103" fmla="*/ 0 w 269288"/>
                <a:gd name="connsiteY103" fmla="*/ 169588 h 2614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</a:cxnLst>
              <a:rect l="l" t="t" r="r" b="b"/>
              <a:pathLst>
                <a:path w="269288" h="261469">
                  <a:moveTo>
                    <a:pt x="66467" y="33071"/>
                  </a:moveTo>
                  <a:lnTo>
                    <a:pt x="69399" y="29161"/>
                  </a:lnTo>
                  <a:lnTo>
                    <a:pt x="71354" y="28346"/>
                  </a:lnTo>
                  <a:lnTo>
                    <a:pt x="73798" y="24925"/>
                  </a:lnTo>
                  <a:lnTo>
                    <a:pt x="78522" y="20364"/>
                  </a:lnTo>
                  <a:lnTo>
                    <a:pt x="81128" y="21341"/>
                  </a:lnTo>
                  <a:lnTo>
                    <a:pt x="87482" y="11729"/>
                  </a:lnTo>
                  <a:lnTo>
                    <a:pt x="97908" y="0"/>
                  </a:lnTo>
                  <a:lnTo>
                    <a:pt x="100678" y="4724"/>
                  </a:lnTo>
                  <a:lnTo>
                    <a:pt x="105728" y="3747"/>
                  </a:lnTo>
                  <a:lnTo>
                    <a:pt x="109638" y="4399"/>
                  </a:lnTo>
                  <a:lnTo>
                    <a:pt x="109638" y="19875"/>
                  </a:lnTo>
                  <a:lnTo>
                    <a:pt x="114036" y="24762"/>
                  </a:lnTo>
                  <a:lnTo>
                    <a:pt x="118923" y="25740"/>
                  </a:lnTo>
                  <a:lnTo>
                    <a:pt x="124788" y="23785"/>
                  </a:lnTo>
                  <a:lnTo>
                    <a:pt x="131142" y="25414"/>
                  </a:lnTo>
                  <a:lnTo>
                    <a:pt x="143523" y="24762"/>
                  </a:lnTo>
                  <a:lnTo>
                    <a:pt x="148410" y="27695"/>
                  </a:lnTo>
                  <a:lnTo>
                    <a:pt x="159162" y="37958"/>
                  </a:lnTo>
                  <a:lnTo>
                    <a:pt x="165516" y="42193"/>
                  </a:lnTo>
                  <a:lnTo>
                    <a:pt x="169751" y="47081"/>
                  </a:lnTo>
                  <a:lnTo>
                    <a:pt x="173824" y="48384"/>
                  </a:lnTo>
                  <a:lnTo>
                    <a:pt x="182947" y="48384"/>
                  </a:lnTo>
                  <a:lnTo>
                    <a:pt x="188486" y="50828"/>
                  </a:lnTo>
                  <a:lnTo>
                    <a:pt x="195328" y="49850"/>
                  </a:lnTo>
                  <a:lnTo>
                    <a:pt x="199889" y="51479"/>
                  </a:lnTo>
                  <a:lnTo>
                    <a:pt x="203636" y="51479"/>
                  </a:lnTo>
                  <a:lnTo>
                    <a:pt x="208687" y="51153"/>
                  </a:lnTo>
                  <a:lnTo>
                    <a:pt x="215366" y="40727"/>
                  </a:lnTo>
                  <a:lnTo>
                    <a:pt x="217809" y="37469"/>
                  </a:lnTo>
                  <a:lnTo>
                    <a:pt x="223185" y="35351"/>
                  </a:lnTo>
                  <a:lnTo>
                    <a:pt x="227095" y="35677"/>
                  </a:lnTo>
                  <a:lnTo>
                    <a:pt x="229865" y="33885"/>
                  </a:lnTo>
                  <a:lnTo>
                    <a:pt x="241757" y="32256"/>
                  </a:lnTo>
                  <a:lnTo>
                    <a:pt x="245504" y="34048"/>
                  </a:lnTo>
                  <a:lnTo>
                    <a:pt x="248599" y="39587"/>
                  </a:lnTo>
                  <a:lnTo>
                    <a:pt x="252835" y="42031"/>
                  </a:lnTo>
                  <a:lnTo>
                    <a:pt x="262446" y="40401"/>
                  </a:lnTo>
                  <a:lnTo>
                    <a:pt x="269289" y="40401"/>
                  </a:lnTo>
                  <a:cubicBezTo>
                    <a:pt x="269289" y="40401"/>
                    <a:pt x="245504" y="63046"/>
                    <a:pt x="245504" y="63046"/>
                  </a:cubicBezTo>
                  <a:lnTo>
                    <a:pt x="245015" y="164212"/>
                  </a:lnTo>
                  <a:lnTo>
                    <a:pt x="262935" y="180666"/>
                  </a:lnTo>
                  <a:lnTo>
                    <a:pt x="262609" y="182295"/>
                  </a:lnTo>
                  <a:lnTo>
                    <a:pt x="254301" y="192558"/>
                  </a:lnTo>
                  <a:lnTo>
                    <a:pt x="252346" y="193210"/>
                  </a:lnTo>
                  <a:lnTo>
                    <a:pt x="249414" y="196468"/>
                  </a:lnTo>
                  <a:lnTo>
                    <a:pt x="250880" y="198912"/>
                  </a:lnTo>
                  <a:lnTo>
                    <a:pt x="242083" y="202007"/>
                  </a:lnTo>
                  <a:lnTo>
                    <a:pt x="237521" y="208524"/>
                  </a:lnTo>
                  <a:lnTo>
                    <a:pt x="230028" y="208524"/>
                  </a:lnTo>
                  <a:lnTo>
                    <a:pt x="226769" y="209664"/>
                  </a:lnTo>
                  <a:lnTo>
                    <a:pt x="226281" y="211456"/>
                  </a:lnTo>
                  <a:lnTo>
                    <a:pt x="222697" y="215692"/>
                  </a:lnTo>
                  <a:lnTo>
                    <a:pt x="222697" y="218787"/>
                  </a:lnTo>
                  <a:cubicBezTo>
                    <a:pt x="222697" y="218787"/>
                    <a:pt x="224163" y="220090"/>
                    <a:pt x="224163" y="220090"/>
                  </a:cubicBezTo>
                  <a:lnTo>
                    <a:pt x="219927" y="226607"/>
                  </a:lnTo>
                  <a:lnTo>
                    <a:pt x="215855" y="231657"/>
                  </a:lnTo>
                  <a:lnTo>
                    <a:pt x="215855" y="237522"/>
                  </a:lnTo>
                  <a:lnTo>
                    <a:pt x="212108" y="245667"/>
                  </a:lnTo>
                  <a:lnTo>
                    <a:pt x="202822" y="259189"/>
                  </a:lnTo>
                  <a:lnTo>
                    <a:pt x="197446" y="261469"/>
                  </a:lnTo>
                  <a:lnTo>
                    <a:pt x="195165" y="261469"/>
                  </a:lnTo>
                  <a:cubicBezTo>
                    <a:pt x="195165" y="261469"/>
                    <a:pt x="163398" y="238988"/>
                    <a:pt x="163398" y="238988"/>
                  </a:cubicBezTo>
                  <a:lnTo>
                    <a:pt x="161117" y="236218"/>
                  </a:lnTo>
                  <a:lnTo>
                    <a:pt x="160139" y="232960"/>
                  </a:lnTo>
                  <a:lnTo>
                    <a:pt x="161443" y="230516"/>
                  </a:lnTo>
                  <a:lnTo>
                    <a:pt x="156230" y="221882"/>
                  </a:lnTo>
                  <a:lnTo>
                    <a:pt x="62394" y="167145"/>
                  </a:lnTo>
                  <a:lnTo>
                    <a:pt x="55226" y="167471"/>
                  </a:lnTo>
                  <a:lnTo>
                    <a:pt x="61905" y="142546"/>
                  </a:lnTo>
                  <a:lnTo>
                    <a:pt x="62883" y="135377"/>
                  </a:lnTo>
                  <a:lnTo>
                    <a:pt x="67770" y="130653"/>
                  </a:lnTo>
                  <a:lnTo>
                    <a:pt x="70703" y="124788"/>
                  </a:lnTo>
                  <a:lnTo>
                    <a:pt x="74938" y="120879"/>
                  </a:lnTo>
                  <a:lnTo>
                    <a:pt x="76893" y="116154"/>
                  </a:lnTo>
                  <a:lnTo>
                    <a:pt x="79662" y="113385"/>
                  </a:lnTo>
                  <a:lnTo>
                    <a:pt x="79337" y="111104"/>
                  </a:lnTo>
                  <a:lnTo>
                    <a:pt x="88134" y="111104"/>
                  </a:lnTo>
                  <a:lnTo>
                    <a:pt x="90414" y="104914"/>
                  </a:lnTo>
                  <a:lnTo>
                    <a:pt x="90414" y="101167"/>
                  </a:lnTo>
                  <a:lnTo>
                    <a:pt x="96279" y="94324"/>
                  </a:lnTo>
                  <a:lnTo>
                    <a:pt x="96931" y="88949"/>
                  </a:lnTo>
                  <a:lnTo>
                    <a:pt x="95139" y="83572"/>
                  </a:lnTo>
                  <a:lnTo>
                    <a:pt x="91392" y="80314"/>
                  </a:lnTo>
                  <a:lnTo>
                    <a:pt x="93673" y="77056"/>
                  </a:lnTo>
                  <a:lnTo>
                    <a:pt x="90740" y="74775"/>
                  </a:lnTo>
                  <a:lnTo>
                    <a:pt x="87319" y="73309"/>
                  </a:lnTo>
                  <a:lnTo>
                    <a:pt x="84061" y="65490"/>
                  </a:lnTo>
                  <a:lnTo>
                    <a:pt x="78196" y="59788"/>
                  </a:lnTo>
                  <a:lnTo>
                    <a:pt x="78196" y="54575"/>
                  </a:lnTo>
                  <a:lnTo>
                    <a:pt x="76404" y="48873"/>
                  </a:lnTo>
                  <a:lnTo>
                    <a:pt x="72983" y="48058"/>
                  </a:lnTo>
                  <a:lnTo>
                    <a:pt x="73472" y="43660"/>
                  </a:lnTo>
                  <a:lnTo>
                    <a:pt x="71028" y="42193"/>
                  </a:lnTo>
                  <a:lnTo>
                    <a:pt x="69236" y="35514"/>
                  </a:lnTo>
                  <a:lnTo>
                    <a:pt x="66792" y="32582"/>
                  </a:lnTo>
                  <a:lnTo>
                    <a:pt x="66630" y="32582"/>
                  </a:lnTo>
                  <a:cubicBezTo>
                    <a:pt x="66630" y="32582"/>
                    <a:pt x="66630" y="32582"/>
                    <a:pt x="66630" y="32582"/>
                  </a:cubicBezTo>
                  <a:lnTo>
                    <a:pt x="66630" y="32582"/>
                  </a:lnTo>
                  <a:close/>
                  <a:moveTo>
                    <a:pt x="0" y="169751"/>
                  </a:moveTo>
                  <a:lnTo>
                    <a:pt x="9612" y="169751"/>
                  </a:lnTo>
                  <a:cubicBezTo>
                    <a:pt x="9612" y="169751"/>
                    <a:pt x="19549" y="169100"/>
                    <a:pt x="19549" y="169100"/>
                  </a:cubicBezTo>
                  <a:lnTo>
                    <a:pt x="651" y="169588"/>
                  </a:lnTo>
                  <a:lnTo>
                    <a:pt x="0" y="169588"/>
                  </a:lnTo>
                  <a:close/>
                </a:path>
              </a:pathLst>
            </a:custGeom>
            <a:solidFill>
              <a:schemeClr val="bg2"/>
            </a:solidFill>
            <a:ln w="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7" name="Forma livre: Forma 96">
              <a:extLst>
                <a:ext uri="{FF2B5EF4-FFF2-40B4-BE49-F238E27FC236}">
                  <a16:creationId xmlns:a16="http://schemas.microsoft.com/office/drawing/2014/main" id="{DF0D4466-EBB1-ABD5-117A-AE27957B7175}"/>
                </a:ext>
              </a:extLst>
            </p:cNvPr>
            <p:cNvSpPr/>
            <p:nvPr/>
          </p:nvSpPr>
          <p:spPr>
            <a:xfrm>
              <a:off x="6767182" y="4846094"/>
              <a:ext cx="154377" cy="151178"/>
            </a:xfrm>
            <a:custGeom>
              <a:avLst/>
              <a:gdLst>
                <a:gd name="connsiteX0" fmla="*/ 114199 w 149387"/>
                <a:gd name="connsiteY0" fmla="*/ 109312 h 146292"/>
                <a:gd name="connsiteX1" fmla="*/ 115177 w 149387"/>
                <a:gd name="connsiteY1" fmla="*/ 102307 h 146292"/>
                <a:gd name="connsiteX2" fmla="*/ 120227 w 149387"/>
                <a:gd name="connsiteY2" fmla="*/ 97582 h 146292"/>
                <a:gd name="connsiteX3" fmla="*/ 123159 w 149387"/>
                <a:gd name="connsiteY3" fmla="*/ 91718 h 146292"/>
                <a:gd name="connsiteX4" fmla="*/ 127232 w 149387"/>
                <a:gd name="connsiteY4" fmla="*/ 87808 h 146292"/>
                <a:gd name="connsiteX5" fmla="*/ 129187 w 149387"/>
                <a:gd name="connsiteY5" fmla="*/ 83084 h 146292"/>
                <a:gd name="connsiteX6" fmla="*/ 131957 w 149387"/>
                <a:gd name="connsiteY6" fmla="*/ 80314 h 146292"/>
                <a:gd name="connsiteX7" fmla="*/ 131630 w 149387"/>
                <a:gd name="connsiteY7" fmla="*/ 78196 h 146292"/>
                <a:gd name="connsiteX8" fmla="*/ 140591 w 149387"/>
                <a:gd name="connsiteY8" fmla="*/ 78196 h 146292"/>
                <a:gd name="connsiteX9" fmla="*/ 142709 w 149387"/>
                <a:gd name="connsiteY9" fmla="*/ 72006 h 146292"/>
                <a:gd name="connsiteX10" fmla="*/ 142709 w 149387"/>
                <a:gd name="connsiteY10" fmla="*/ 68259 h 146292"/>
                <a:gd name="connsiteX11" fmla="*/ 148573 w 149387"/>
                <a:gd name="connsiteY11" fmla="*/ 61417 h 146292"/>
                <a:gd name="connsiteX12" fmla="*/ 149388 w 149387"/>
                <a:gd name="connsiteY12" fmla="*/ 56041 h 146292"/>
                <a:gd name="connsiteX13" fmla="*/ 147596 w 149387"/>
                <a:gd name="connsiteY13" fmla="*/ 50665 h 146292"/>
                <a:gd name="connsiteX14" fmla="*/ 144012 w 149387"/>
                <a:gd name="connsiteY14" fmla="*/ 47406 h 146292"/>
                <a:gd name="connsiteX15" fmla="*/ 146130 w 149387"/>
                <a:gd name="connsiteY15" fmla="*/ 44311 h 146292"/>
                <a:gd name="connsiteX16" fmla="*/ 143197 w 149387"/>
                <a:gd name="connsiteY16" fmla="*/ 42031 h 146292"/>
                <a:gd name="connsiteX17" fmla="*/ 139776 w 149387"/>
                <a:gd name="connsiteY17" fmla="*/ 40564 h 146292"/>
                <a:gd name="connsiteX18" fmla="*/ 136681 w 149387"/>
                <a:gd name="connsiteY18" fmla="*/ 32745 h 146292"/>
                <a:gd name="connsiteX19" fmla="*/ 130653 w 149387"/>
                <a:gd name="connsiteY19" fmla="*/ 27043 h 146292"/>
                <a:gd name="connsiteX20" fmla="*/ 130653 w 149387"/>
                <a:gd name="connsiteY20" fmla="*/ 21993 h 146292"/>
                <a:gd name="connsiteX21" fmla="*/ 129024 w 149387"/>
                <a:gd name="connsiteY21" fmla="*/ 16291 h 146292"/>
                <a:gd name="connsiteX22" fmla="*/ 125603 w 149387"/>
                <a:gd name="connsiteY22" fmla="*/ 15476 h 146292"/>
                <a:gd name="connsiteX23" fmla="*/ 126092 w 149387"/>
                <a:gd name="connsiteY23" fmla="*/ 11078 h 146292"/>
                <a:gd name="connsiteX24" fmla="*/ 123648 w 149387"/>
                <a:gd name="connsiteY24" fmla="*/ 9612 h 146292"/>
                <a:gd name="connsiteX25" fmla="*/ 121856 w 149387"/>
                <a:gd name="connsiteY25" fmla="*/ 2932 h 146292"/>
                <a:gd name="connsiteX26" fmla="*/ 119412 w 149387"/>
                <a:gd name="connsiteY26" fmla="*/ 0 h 146292"/>
                <a:gd name="connsiteX27" fmla="*/ 113059 w 149387"/>
                <a:gd name="connsiteY27" fmla="*/ 4236 h 146292"/>
                <a:gd name="connsiteX28" fmla="*/ 110127 w 149387"/>
                <a:gd name="connsiteY28" fmla="*/ 8471 h 146292"/>
                <a:gd name="connsiteX29" fmla="*/ 104425 w 149387"/>
                <a:gd name="connsiteY29" fmla="*/ 11078 h 146292"/>
                <a:gd name="connsiteX30" fmla="*/ 98560 w 149387"/>
                <a:gd name="connsiteY30" fmla="*/ 9449 h 146292"/>
                <a:gd name="connsiteX31" fmla="*/ 89437 w 149387"/>
                <a:gd name="connsiteY31" fmla="*/ 9937 h 146292"/>
                <a:gd name="connsiteX32" fmla="*/ 83736 w 149387"/>
                <a:gd name="connsiteY32" fmla="*/ 12381 h 146292"/>
                <a:gd name="connsiteX33" fmla="*/ 79663 w 149387"/>
                <a:gd name="connsiteY33" fmla="*/ 12381 h 146292"/>
                <a:gd name="connsiteX34" fmla="*/ 77707 w 149387"/>
                <a:gd name="connsiteY34" fmla="*/ 13358 h 146292"/>
                <a:gd name="connsiteX35" fmla="*/ 74450 w 149387"/>
                <a:gd name="connsiteY35" fmla="*/ 12544 h 146292"/>
                <a:gd name="connsiteX36" fmla="*/ 71191 w 149387"/>
                <a:gd name="connsiteY36" fmla="*/ 15476 h 146292"/>
                <a:gd name="connsiteX37" fmla="*/ 71191 w 149387"/>
                <a:gd name="connsiteY37" fmla="*/ 19712 h 146292"/>
                <a:gd name="connsiteX38" fmla="*/ 68259 w 149387"/>
                <a:gd name="connsiteY38" fmla="*/ 19712 h 146292"/>
                <a:gd name="connsiteX39" fmla="*/ 62394 w 149387"/>
                <a:gd name="connsiteY39" fmla="*/ 17757 h 146292"/>
                <a:gd name="connsiteX40" fmla="*/ 61905 w 149387"/>
                <a:gd name="connsiteY40" fmla="*/ 13847 h 146292"/>
                <a:gd name="connsiteX41" fmla="*/ 57181 w 149387"/>
                <a:gd name="connsiteY41" fmla="*/ 12544 h 146292"/>
                <a:gd name="connsiteX42" fmla="*/ 53271 w 149387"/>
                <a:gd name="connsiteY42" fmla="*/ 13847 h 146292"/>
                <a:gd name="connsiteX43" fmla="*/ 46755 w 149387"/>
                <a:gd name="connsiteY43" fmla="*/ 11404 h 146292"/>
                <a:gd name="connsiteX44" fmla="*/ 41705 w 149387"/>
                <a:gd name="connsiteY44" fmla="*/ 9449 h 146292"/>
                <a:gd name="connsiteX45" fmla="*/ 38609 w 149387"/>
                <a:gd name="connsiteY45" fmla="*/ 12381 h 146292"/>
                <a:gd name="connsiteX46" fmla="*/ 38284 w 149387"/>
                <a:gd name="connsiteY46" fmla="*/ 15965 h 146292"/>
                <a:gd name="connsiteX47" fmla="*/ 39587 w 149387"/>
                <a:gd name="connsiteY47" fmla="*/ 18083 h 146292"/>
                <a:gd name="connsiteX48" fmla="*/ 39098 w 149387"/>
                <a:gd name="connsiteY48" fmla="*/ 19060 h 146292"/>
                <a:gd name="connsiteX49" fmla="*/ 39098 w 149387"/>
                <a:gd name="connsiteY49" fmla="*/ 19060 h 146292"/>
                <a:gd name="connsiteX50" fmla="*/ 37795 w 149387"/>
                <a:gd name="connsiteY50" fmla="*/ 23785 h 146292"/>
                <a:gd name="connsiteX51" fmla="*/ 35188 w 149387"/>
                <a:gd name="connsiteY51" fmla="*/ 27206 h 146292"/>
                <a:gd name="connsiteX52" fmla="*/ 35188 w 149387"/>
                <a:gd name="connsiteY52" fmla="*/ 34374 h 146292"/>
                <a:gd name="connsiteX53" fmla="*/ 33722 w 149387"/>
                <a:gd name="connsiteY53" fmla="*/ 43171 h 146292"/>
                <a:gd name="connsiteX54" fmla="*/ 33071 w 149387"/>
                <a:gd name="connsiteY54" fmla="*/ 49687 h 146292"/>
                <a:gd name="connsiteX55" fmla="*/ 36003 w 149387"/>
                <a:gd name="connsiteY55" fmla="*/ 51642 h 146292"/>
                <a:gd name="connsiteX56" fmla="*/ 38447 w 149387"/>
                <a:gd name="connsiteY56" fmla="*/ 55063 h 146292"/>
                <a:gd name="connsiteX57" fmla="*/ 40402 w 149387"/>
                <a:gd name="connsiteY57" fmla="*/ 59299 h 146292"/>
                <a:gd name="connsiteX58" fmla="*/ 39913 w 149387"/>
                <a:gd name="connsiteY58" fmla="*/ 62068 h 146292"/>
                <a:gd name="connsiteX59" fmla="*/ 26880 w 149387"/>
                <a:gd name="connsiteY59" fmla="*/ 79663 h 146292"/>
                <a:gd name="connsiteX60" fmla="*/ 18734 w 149387"/>
                <a:gd name="connsiteY60" fmla="*/ 88623 h 146292"/>
                <a:gd name="connsiteX61" fmla="*/ 16454 w 149387"/>
                <a:gd name="connsiteY61" fmla="*/ 92532 h 146292"/>
                <a:gd name="connsiteX62" fmla="*/ 6516 w 149387"/>
                <a:gd name="connsiteY62" fmla="*/ 110289 h 146292"/>
                <a:gd name="connsiteX63" fmla="*/ 4725 w 149387"/>
                <a:gd name="connsiteY63" fmla="*/ 113548 h 146292"/>
                <a:gd name="connsiteX64" fmla="*/ 4561 w 149387"/>
                <a:gd name="connsiteY64" fmla="*/ 120064 h 146292"/>
                <a:gd name="connsiteX65" fmla="*/ 3747 w 149387"/>
                <a:gd name="connsiteY65" fmla="*/ 129513 h 146292"/>
                <a:gd name="connsiteX66" fmla="*/ 489 w 149387"/>
                <a:gd name="connsiteY66" fmla="*/ 138798 h 146292"/>
                <a:gd name="connsiteX67" fmla="*/ 1303 w 149387"/>
                <a:gd name="connsiteY67" fmla="*/ 144663 h 146292"/>
                <a:gd name="connsiteX68" fmla="*/ 0 w 149387"/>
                <a:gd name="connsiteY68" fmla="*/ 145804 h 146292"/>
                <a:gd name="connsiteX69" fmla="*/ 1303 w 149387"/>
                <a:gd name="connsiteY69" fmla="*/ 146292 h 146292"/>
                <a:gd name="connsiteX70" fmla="*/ 5539 w 149387"/>
                <a:gd name="connsiteY70" fmla="*/ 145478 h 146292"/>
                <a:gd name="connsiteX71" fmla="*/ 9775 w 149387"/>
                <a:gd name="connsiteY71" fmla="*/ 142220 h 146292"/>
                <a:gd name="connsiteX72" fmla="*/ 12544 w 149387"/>
                <a:gd name="connsiteY72" fmla="*/ 143523 h 146292"/>
                <a:gd name="connsiteX73" fmla="*/ 14662 w 149387"/>
                <a:gd name="connsiteY73" fmla="*/ 145478 h 146292"/>
                <a:gd name="connsiteX74" fmla="*/ 18246 w 149387"/>
                <a:gd name="connsiteY74" fmla="*/ 145478 h 146292"/>
                <a:gd name="connsiteX75" fmla="*/ 20201 w 149387"/>
                <a:gd name="connsiteY75" fmla="*/ 143849 h 146292"/>
                <a:gd name="connsiteX76" fmla="*/ 20201 w 149387"/>
                <a:gd name="connsiteY76" fmla="*/ 140265 h 146292"/>
                <a:gd name="connsiteX77" fmla="*/ 24436 w 149387"/>
                <a:gd name="connsiteY77" fmla="*/ 139450 h 146292"/>
                <a:gd name="connsiteX78" fmla="*/ 25251 w 149387"/>
                <a:gd name="connsiteY78" fmla="*/ 140590 h 146292"/>
                <a:gd name="connsiteX79" fmla="*/ 26717 w 149387"/>
                <a:gd name="connsiteY79" fmla="*/ 138636 h 146292"/>
                <a:gd name="connsiteX80" fmla="*/ 28998 w 149387"/>
                <a:gd name="connsiteY80" fmla="*/ 139124 h 146292"/>
                <a:gd name="connsiteX81" fmla="*/ 31279 w 149387"/>
                <a:gd name="connsiteY81" fmla="*/ 136844 h 146292"/>
                <a:gd name="connsiteX82" fmla="*/ 52620 w 149387"/>
                <a:gd name="connsiteY82" fmla="*/ 136844 h 146292"/>
                <a:gd name="connsiteX83" fmla="*/ 53271 w 149387"/>
                <a:gd name="connsiteY83" fmla="*/ 136681 h 146292"/>
                <a:gd name="connsiteX84" fmla="*/ 72332 w 149387"/>
                <a:gd name="connsiteY84" fmla="*/ 136192 h 146292"/>
                <a:gd name="connsiteX85" fmla="*/ 107520 w 149387"/>
                <a:gd name="connsiteY85" fmla="*/ 134400 h 146292"/>
                <a:gd name="connsiteX86" fmla="*/ 114199 w 149387"/>
                <a:gd name="connsiteY86" fmla="*/ 109312 h 1462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</a:cxnLst>
              <a:rect l="l" t="t" r="r" b="b"/>
              <a:pathLst>
                <a:path w="149387" h="146292">
                  <a:moveTo>
                    <a:pt x="114199" y="109312"/>
                  </a:moveTo>
                  <a:lnTo>
                    <a:pt x="115177" y="102307"/>
                  </a:lnTo>
                  <a:lnTo>
                    <a:pt x="120227" y="97582"/>
                  </a:lnTo>
                  <a:lnTo>
                    <a:pt x="123159" y="91718"/>
                  </a:lnTo>
                  <a:lnTo>
                    <a:pt x="127232" y="87808"/>
                  </a:lnTo>
                  <a:lnTo>
                    <a:pt x="129187" y="83084"/>
                  </a:lnTo>
                  <a:lnTo>
                    <a:pt x="131957" y="80314"/>
                  </a:lnTo>
                  <a:lnTo>
                    <a:pt x="131630" y="78196"/>
                  </a:lnTo>
                  <a:lnTo>
                    <a:pt x="140591" y="78196"/>
                  </a:lnTo>
                  <a:lnTo>
                    <a:pt x="142709" y="72006"/>
                  </a:lnTo>
                  <a:lnTo>
                    <a:pt x="142709" y="68259"/>
                  </a:lnTo>
                  <a:lnTo>
                    <a:pt x="148573" y="61417"/>
                  </a:lnTo>
                  <a:lnTo>
                    <a:pt x="149388" y="56041"/>
                  </a:lnTo>
                  <a:lnTo>
                    <a:pt x="147596" y="50665"/>
                  </a:lnTo>
                  <a:lnTo>
                    <a:pt x="144012" y="47406"/>
                  </a:lnTo>
                  <a:lnTo>
                    <a:pt x="146130" y="44311"/>
                  </a:lnTo>
                  <a:lnTo>
                    <a:pt x="143197" y="42031"/>
                  </a:lnTo>
                  <a:lnTo>
                    <a:pt x="139776" y="40564"/>
                  </a:lnTo>
                  <a:lnTo>
                    <a:pt x="136681" y="32745"/>
                  </a:lnTo>
                  <a:lnTo>
                    <a:pt x="130653" y="27043"/>
                  </a:lnTo>
                  <a:lnTo>
                    <a:pt x="130653" y="21993"/>
                  </a:lnTo>
                  <a:lnTo>
                    <a:pt x="129024" y="16291"/>
                  </a:lnTo>
                  <a:lnTo>
                    <a:pt x="125603" y="15476"/>
                  </a:lnTo>
                  <a:lnTo>
                    <a:pt x="126092" y="11078"/>
                  </a:lnTo>
                  <a:lnTo>
                    <a:pt x="123648" y="9612"/>
                  </a:lnTo>
                  <a:lnTo>
                    <a:pt x="121856" y="2932"/>
                  </a:lnTo>
                  <a:lnTo>
                    <a:pt x="119412" y="0"/>
                  </a:lnTo>
                  <a:lnTo>
                    <a:pt x="113059" y="4236"/>
                  </a:lnTo>
                  <a:lnTo>
                    <a:pt x="110127" y="8471"/>
                  </a:lnTo>
                  <a:lnTo>
                    <a:pt x="104425" y="11078"/>
                  </a:lnTo>
                  <a:lnTo>
                    <a:pt x="98560" y="9449"/>
                  </a:lnTo>
                  <a:lnTo>
                    <a:pt x="89437" y="9937"/>
                  </a:lnTo>
                  <a:lnTo>
                    <a:pt x="83736" y="12381"/>
                  </a:lnTo>
                  <a:lnTo>
                    <a:pt x="79663" y="12381"/>
                  </a:lnTo>
                  <a:lnTo>
                    <a:pt x="77707" y="13358"/>
                  </a:lnTo>
                  <a:lnTo>
                    <a:pt x="74450" y="12544"/>
                  </a:lnTo>
                  <a:lnTo>
                    <a:pt x="71191" y="15476"/>
                  </a:lnTo>
                  <a:lnTo>
                    <a:pt x="71191" y="19712"/>
                  </a:lnTo>
                  <a:lnTo>
                    <a:pt x="68259" y="19712"/>
                  </a:lnTo>
                  <a:lnTo>
                    <a:pt x="62394" y="17757"/>
                  </a:lnTo>
                  <a:lnTo>
                    <a:pt x="61905" y="13847"/>
                  </a:lnTo>
                  <a:lnTo>
                    <a:pt x="57181" y="12544"/>
                  </a:lnTo>
                  <a:lnTo>
                    <a:pt x="53271" y="13847"/>
                  </a:lnTo>
                  <a:lnTo>
                    <a:pt x="46755" y="11404"/>
                  </a:lnTo>
                  <a:lnTo>
                    <a:pt x="41705" y="9449"/>
                  </a:lnTo>
                  <a:lnTo>
                    <a:pt x="38609" y="12381"/>
                  </a:lnTo>
                  <a:lnTo>
                    <a:pt x="38284" y="15965"/>
                  </a:lnTo>
                  <a:lnTo>
                    <a:pt x="39587" y="18083"/>
                  </a:lnTo>
                  <a:lnTo>
                    <a:pt x="39098" y="19060"/>
                  </a:lnTo>
                  <a:lnTo>
                    <a:pt x="39098" y="19060"/>
                  </a:lnTo>
                  <a:lnTo>
                    <a:pt x="37795" y="23785"/>
                  </a:lnTo>
                  <a:lnTo>
                    <a:pt x="35188" y="27206"/>
                  </a:lnTo>
                  <a:lnTo>
                    <a:pt x="35188" y="34374"/>
                  </a:lnTo>
                  <a:lnTo>
                    <a:pt x="33722" y="43171"/>
                  </a:lnTo>
                  <a:lnTo>
                    <a:pt x="33071" y="49687"/>
                  </a:lnTo>
                  <a:lnTo>
                    <a:pt x="36003" y="51642"/>
                  </a:lnTo>
                  <a:lnTo>
                    <a:pt x="38447" y="55063"/>
                  </a:lnTo>
                  <a:lnTo>
                    <a:pt x="40402" y="59299"/>
                  </a:lnTo>
                  <a:lnTo>
                    <a:pt x="39913" y="62068"/>
                  </a:lnTo>
                  <a:lnTo>
                    <a:pt x="26880" y="79663"/>
                  </a:lnTo>
                  <a:lnTo>
                    <a:pt x="18734" y="88623"/>
                  </a:lnTo>
                  <a:lnTo>
                    <a:pt x="16454" y="92532"/>
                  </a:lnTo>
                  <a:lnTo>
                    <a:pt x="6516" y="110289"/>
                  </a:lnTo>
                  <a:lnTo>
                    <a:pt x="4725" y="113548"/>
                  </a:lnTo>
                  <a:lnTo>
                    <a:pt x="4561" y="120064"/>
                  </a:lnTo>
                  <a:lnTo>
                    <a:pt x="3747" y="129513"/>
                  </a:lnTo>
                  <a:lnTo>
                    <a:pt x="489" y="138798"/>
                  </a:lnTo>
                  <a:lnTo>
                    <a:pt x="1303" y="144663"/>
                  </a:lnTo>
                  <a:lnTo>
                    <a:pt x="0" y="145804"/>
                  </a:lnTo>
                  <a:lnTo>
                    <a:pt x="1303" y="146292"/>
                  </a:lnTo>
                  <a:lnTo>
                    <a:pt x="5539" y="145478"/>
                  </a:lnTo>
                  <a:lnTo>
                    <a:pt x="9775" y="142220"/>
                  </a:lnTo>
                  <a:lnTo>
                    <a:pt x="12544" y="143523"/>
                  </a:lnTo>
                  <a:lnTo>
                    <a:pt x="14662" y="145478"/>
                  </a:lnTo>
                  <a:lnTo>
                    <a:pt x="18246" y="145478"/>
                  </a:lnTo>
                  <a:lnTo>
                    <a:pt x="20201" y="143849"/>
                  </a:lnTo>
                  <a:lnTo>
                    <a:pt x="20201" y="140265"/>
                  </a:lnTo>
                  <a:lnTo>
                    <a:pt x="24436" y="139450"/>
                  </a:lnTo>
                  <a:lnTo>
                    <a:pt x="25251" y="140590"/>
                  </a:lnTo>
                  <a:lnTo>
                    <a:pt x="26717" y="138636"/>
                  </a:lnTo>
                  <a:lnTo>
                    <a:pt x="28998" y="139124"/>
                  </a:lnTo>
                  <a:lnTo>
                    <a:pt x="31279" y="136844"/>
                  </a:lnTo>
                  <a:lnTo>
                    <a:pt x="52620" y="136844"/>
                  </a:lnTo>
                  <a:lnTo>
                    <a:pt x="53271" y="136681"/>
                  </a:lnTo>
                  <a:lnTo>
                    <a:pt x="72332" y="136192"/>
                  </a:lnTo>
                  <a:lnTo>
                    <a:pt x="107520" y="134400"/>
                  </a:lnTo>
                  <a:lnTo>
                    <a:pt x="114199" y="109312"/>
                  </a:lnTo>
                  <a:close/>
                </a:path>
              </a:pathLst>
            </a:custGeom>
            <a:solidFill>
              <a:schemeClr val="bg2"/>
            </a:solidFill>
            <a:ln w="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8" name="Forma livre: Forma 97">
              <a:extLst>
                <a:ext uri="{FF2B5EF4-FFF2-40B4-BE49-F238E27FC236}">
                  <a16:creationId xmlns:a16="http://schemas.microsoft.com/office/drawing/2014/main" id="{9BC16427-215C-DB04-C543-82EB757A5B5F}"/>
                </a:ext>
              </a:extLst>
            </p:cNvPr>
            <p:cNvSpPr/>
            <p:nvPr/>
          </p:nvSpPr>
          <p:spPr>
            <a:xfrm>
              <a:off x="6369707" y="4662255"/>
              <a:ext cx="344614" cy="232492"/>
            </a:xfrm>
            <a:custGeom>
              <a:avLst/>
              <a:gdLst>
                <a:gd name="connsiteX0" fmla="*/ 210153 w 333475"/>
                <a:gd name="connsiteY0" fmla="*/ 0 h 224977"/>
                <a:gd name="connsiteX1" fmla="*/ 212922 w 333475"/>
                <a:gd name="connsiteY1" fmla="*/ 3095 h 224977"/>
                <a:gd name="connsiteX2" fmla="*/ 212922 w 333475"/>
                <a:gd name="connsiteY2" fmla="*/ 6516 h 224977"/>
                <a:gd name="connsiteX3" fmla="*/ 211619 w 333475"/>
                <a:gd name="connsiteY3" fmla="*/ 8471 h 224977"/>
                <a:gd name="connsiteX4" fmla="*/ 216995 w 333475"/>
                <a:gd name="connsiteY4" fmla="*/ 13033 h 224977"/>
                <a:gd name="connsiteX5" fmla="*/ 217972 w 333475"/>
                <a:gd name="connsiteY5" fmla="*/ 15639 h 224977"/>
                <a:gd name="connsiteX6" fmla="*/ 224651 w 333475"/>
                <a:gd name="connsiteY6" fmla="*/ 24762 h 224977"/>
                <a:gd name="connsiteX7" fmla="*/ 229213 w 333475"/>
                <a:gd name="connsiteY7" fmla="*/ 34699 h 224977"/>
                <a:gd name="connsiteX8" fmla="*/ 231005 w 333475"/>
                <a:gd name="connsiteY8" fmla="*/ 38447 h 224977"/>
                <a:gd name="connsiteX9" fmla="*/ 229702 w 333475"/>
                <a:gd name="connsiteY9" fmla="*/ 43985 h 224977"/>
                <a:gd name="connsiteX10" fmla="*/ 228073 w 333475"/>
                <a:gd name="connsiteY10" fmla="*/ 46266 h 224977"/>
                <a:gd name="connsiteX11" fmla="*/ 226281 w 333475"/>
                <a:gd name="connsiteY11" fmla="*/ 51153 h 224977"/>
                <a:gd name="connsiteX12" fmla="*/ 226606 w 333475"/>
                <a:gd name="connsiteY12" fmla="*/ 58973 h 224977"/>
                <a:gd name="connsiteX13" fmla="*/ 230190 w 333475"/>
                <a:gd name="connsiteY13" fmla="*/ 62068 h 224977"/>
                <a:gd name="connsiteX14" fmla="*/ 236707 w 333475"/>
                <a:gd name="connsiteY14" fmla="*/ 62231 h 224977"/>
                <a:gd name="connsiteX15" fmla="*/ 238499 w 333475"/>
                <a:gd name="connsiteY15" fmla="*/ 59788 h 224977"/>
                <a:gd name="connsiteX16" fmla="*/ 246319 w 333475"/>
                <a:gd name="connsiteY16" fmla="*/ 59950 h 224977"/>
                <a:gd name="connsiteX17" fmla="*/ 248762 w 333475"/>
                <a:gd name="connsiteY17" fmla="*/ 61905 h 224977"/>
                <a:gd name="connsiteX18" fmla="*/ 246807 w 333475"/>
                <a:gd name="connsiteY18" fmla="*/ 65326 h 224977"/>
                <a:gd name="connsiteX19" fmla="*/ 247622 w 333475"/>
                <a:gd name="connsiteY19" fmla="*/ 70051 h 224977"/>
                <a:gd name="connsiteX20" fmla="*/ 252020 w 333475"/>
                <a:gd name="connsiteY20" fmla="*/ 73472 h 224977"/>
                <a:gd name="connsiteX21" fmla="*/ 257885 w 333475"/>
                <a:gd name="connsiteY21" fmla="*/ 75915 h 224977"/>
                <a:gd name="connsiteX22" fmla="*/ 262121 w 333475"/>
                <a:gd name="connsiteY22" fmla="*/ 76241 h 224977"/>
                <a:gd name="connsiteX23" fmla="*/ 266030 w 333475"/>
                <a:gd name="connsiteY23" fmla="*/ 78522 h 224977"/>
                <a:gd name="connsiteX24" fmla="*/ 267497 w 333475"/>
                <a:gd name="connsiteY24" fmla="*/ 82106 h 224977"/>
                <a:gd name="connsiteX25" fmla="*/ 272547 w 333475"/>
                <a:gd name="connsiteY25" fmla="*/ 84550 h 224977"/>
                <a:gd name="connsiteX26" fmla="*/ 276783 w 333475"/>
                <a:gd name="connsiteY26" fmla="*/ 84876 h 224977"/>
                <a:gd name="connsiteX27" fmla="*/ 278900 w 333475"/>
                <a:gd name="connsiteY27" fmla="*/ 87645 h 224977"/>
                <a:gd name="connsiteX28" fmla="*/ 277760 w 333475"/>
                <a:gd name="connsiteY28" fmla="*/ 91229 h 224977"/>
                <a:gd name="connsiteX29" fmla="*/ 274502 w 333475"/>
                <a:gd name="connsiteY29" fmla="*/ 93998 h 224977"/>
                <a:gd name="connsiteX30" fmla="*/ 273850 w 333475"/>
                <a:gd name="connsiteY30" fmla="*/ 96116 h 224977"/>
                <a:gd name="connsiteX31" fmla="*/ 271895 w 333475"/>
                <a:gd name="connsiteY31" fmla="*/ 98234 h 224977"/>
                <a:gd name="connsiteX32" fmla="*/ 276946 w 333475"/>
                <a:gd name="connsiteY32" fmla="*/ 102796 h 224977"/>
                <a:gd name="connsiteX33" fmla="*/ 281344 w 333475"/>
                <a:gd name="connsiteY33" fmla="*/ 103936 h 224977"/>
                <a:gd name="connsiteX34" fmla="*/ 283299 w 333475"/>
                <a:gd name="connsiteY34" fmla="*/ 102958 h 224977"/>
                <a:gd name="connsiteX35" fmla="*/ 287535 w 333475"/>
                <a:gd name="connsiteY35" fmla="*/ 105076 h 224977"/>
                <a:gd name="connsiteX36" fmla="*/ 289326 w 333475"/>
                <a:gd name="connsiteY36" fmla="*/ 104913 h 224977"/>
                <a:gd name="connsiteX37" fmla="*/ 297635 w 333475"/>
                <a:gd name="connsiteY37" fmla="*/ 109638 h 224977"/>
                <a:gd name="connsiteX38" fmla="*/ 299753 w 333475"/>
                <a:gd name="connsiteY38" fmla="*/ 112896 h 224977"/>
                <a:gd name="connsiteX39" fmla="*/ 300078 w 333475"/>
                <a:gd name="connsiteY39" fmla="*/ 120227 h 224977"/>
                <a:gd name="connsiteX40" fmla="*/ 302522 w 333475"/>
                <a:gd name="connsiteY40" fmla="*/ 122996 h 224977"/>
                <a:gd name="connsiteX41" fmla="*/ 307898 w 333475"/>
                <a:gd name="connsiteY41" fmla="*/ 124625 h 224977"/>
                <a:gd name="connsiteX42" fmla="*/ 309201 w 333475"/>
                <a:gd name="connsiteY42" fmla="*/ 126580 h 224977"/>
                <a:gd name="connsiteX43" fmla="*/ 308876 w 333475"/>
                <a:gd name="connsiteY43" fmla="*/ 131468 h 224977"/>
                <a:gd name="connsiteX44" fmla="*/ 311156 w 333475"/>
                <a:gd name="connsiteY44" fmla="*/ 133911 h 224977"/>
                <a:gd name="connsiteX45" fmla="*/ 319790 w 333475"/>
                <a:gd name="connsiteY45" fmla="*/ 136192 h 224977"/>
                <a:gd name="connsiteX46" fmla="*/ 323700 w 333475"/>
                <a:gd name="connsiteY46" fmla="*/ 139124 h 224977"/>
                <a:gd name="connsiteX47" fmla="*/ 323049 w 333475"/>
                <a:gd name="connsiteY47" fmla="*/ 141731 h 224977"/>
                <a:gd name="connsiteX48" fmla="*/ 323863 w 333475"/>
                <a:gd name="connsiteY48" fmla="*/ 149550 h 224977"/>
                <a:gd name="connsiteX49" fmla="*/ 326796 w 333475"/>
                <a:gd name="connsiteY49" fmla="*/ 151505 h 224977"/>
                <a:gd name="connsiteX50" fmla="*/ 331520 w 333475"/>
                <a:gd name="connsiteY50" fmla="*/ 154601 h 224977"/>
                <a:gd name="connsiteX51" fmla="*/ 333475 w 333475"/>
                <a:gd name="connsiteY51" fmla="*/ 157533 h 224977"/>
                <a:gd name="connsiteX52" fmla="*/ 333475 w 333475"/>
                <a:gd name="connsiteY52" fmla="*/ 158511 h 224977"/>
                <a:gd name="connsiteX53" fmla="*/ 332497 w 333475"/>
                <a:gd name="connsiteY53" fmla="*/ 158185 h 224977"/>
                <a:gd name="connsiteX54" fmla="*/ 327773 w 333475"/>
                <a:gd name="connsiteY54" fmla="*/ 155415 h 224977"/>
                <a:gd name="connsiteX55" fmla="*/ 321908 w 333475"/>
                <a:gd name="connsiteY55" fmla="*/ 154927 h 224977"/>
                <a:gd name="connsiteX56" fmla="*/ 314089 w 333475"/>
                <a:gd name="connsiteY56" fmla="*/ 158511 h 224977"/>
                <a:gd name="connsiteX57" fmla="*/ 312622 w 333475"/>
                <a:gd name="connsiteY57" fmla="*/ 157696 h 224977"/>
                <a:gd name="connsiteX58" fmla="*/ 303011 w 333475"/>
                <a:gd name="connsiteY58" fmla="*/ 157533 h 224977"/>
                <a:gd name="connsiteX59" fmla="*/ 299264 w 333475"/>
                <a:gd name="connsiteY59" fmla="*/ 155089 h 224977"/>
                <a:gd name="connsiteX60" fmla="*/ 295517 w 333475"/>
                <a:gd name="connsiteY60" fmla="*/ 154438 h 224977"/>
                <a:gd name="connsiteX61" fmla="*/ 293073 w 333475"/>
                <a:gd name="connsiteY61" fmla="*/ 153135 h 224977"/>
                <a:gd name="connsiteX62" fmla="*/ 290141 w 333475"/>
                <a:gd name="connsiteY62" fmla="*/ 153460 h 224977"/>
                <a:gd name="connsiteX63" fmla="*/ 284602 w 333475"/>
                <a:gd name="connsiteY63" fmla="*/ 152483 h 224977"/>
                <a:gd name="connsiteX64" fmla="*/ 282321 w 333475"/>
                <a:gd name="connsiteY64" fmla="*/ 150202 h 224977"/>
                <a:gd name="connsiteX65" fmla="*/ 278412 w 333475"/>
                <a:gd name="connsiteY65" fmla="*/ 150528 h 224977"/>
                <a:gd name="connsiteX66" fmla="*/ 278086 w 333475"/>
                <a:gd name="connsiteY66" fmla="*/ 152483 h 224977"/>
                <a:gd name="connsiteX67" fmla="*/ 279226 w 333475"/>
                <a:gd name="connsiteY67" fmla="*/ 154275 h 224977"/>
                <a:gd name="connsiteX68" fmla="*/ 275968 w 333475"/>
                <a:gd name="connsiteY68" fmla="*/ 159162 h 224977"/>
                <a:gd name="connsiteX69" fmla="*/ 272873 w 333475"/>
                <a:gd name="connsiteY69" fmla="*/ 159162 h 224977"/>
                <a:gd name="connsiteX70" fmla="*/ 269451 w 333475"/>
                <a:gd name="connsiteY70" fmla="*/ 159977 h 224977"/>
                <a:gd name="connsiteX71" fmla="*/ 263261 w 333475"/>
                <a:gd name="connsiteY71" fmla="*/ 160303 h 224977"/>
                <a:gd name="connsiteX72" fmla="*/ 260166 w 333475"/>
                <a:gd name="connsiteY72" fmla="*/ 162420 h 224977"/>
                <a:gd name="connsiteX73" fmla="*/ 257885 w 333475"/>
                <a:gd name="connsiteY73" fmla="*/ 162420 h 224977"/>
                <a:gd name="connsiteX74" fmla="*/ 256744 w 333475"/>
                <a:gd name="connsiteY74" fmla="*/ 159325 h 224977"/>
                <a:gd name="connsiteX75" fmla="*/ 254953 w 333475"/>
                <a:gd name="connsiteY75" fmla="*/ 158999 h 224977"/>
                <a:gd name="connsiteX76" fmla="*/ 254464 w 333475"/>
                <a:gd name="connsiteY76" fmla="*/ 157207 h 224977"/>
                <a:gd name="connsiteX77" fmla="*/ 251043 w 333475"/>
                <a:gd name="connsiteY77" fmla="*/ 156881 h 224977"/>
                <a:gd name="connsiteX78" fmla="*/ 240291 w 333475"/>
                <a:gd name="connsiteY78" fmla="*/ 161443 h 224977"/>
                <a:gd name="connsiteX79" fmla="*/ 236381 w 333475"/>
                <a:gd name="connsiteY79" fmla="*/ 163072 h 224977"/>
                <a:gd name="connsiteX80" fmla="*/ 234426 w 333475"/>
                <a:gd name="connsiteY80" fmla="*/ 165516 h 224977"/>
                <a:gd name="connsiteX81" fmla="*/ 223511 w 333475"/>
                <a:gd name="connsiteY81" fmla="*/ 166819 h 224977"/>
                <a:gd name="connsiteX82" fmla="*/ 220090 w 333475"/>
                <a:gd name="connsiteY82" fmla="*/ 168122 h 224977"/>
                <a:gd name="connsiteX83" fmla="*/ 217321 w 333475"/>
                <a:gd name="connsiteY83" fmla="*/ 165027 h 224977"/>
                <a:gd name="connsiteX84" fmla="*/ 212433 w 333475"/>
                <a:gd name="connsiteY84" fmla="*/ 164049 h 224977"/>
                <a:gd name="connsiteX85" fmla="*/ 207383 w 333475"/>
                <a:gd name="connsiteY85" fmla="*/ 163887 h 224977"/>
                <a:gd name="connsiteX86" fmla="*/ 203636 w 333475"/>
                <a:gd name="connsiteY86" fmla="*/ 168611 h 224977"/>
                <a:gd name="connsiteX87" fmla="*/ 199726 w 333475"/>
                <a:gd name="connsiteY87" fmla="*/ 172684 h 224977"/>
                <a:gd name="connsiteX88" fmla="*/ 200052 w 333475"/>
                <a:gd name="connsiteY88" fmla="*/ 175616 h 224977"/>
                <a:gd name="connsiteX89" fmla="*/ 202822 w 333475"/>
                <a:gd name="connsiteY89" fmla="*/ 177734 h 224977"/>
                <a:gd name="connsiteX90" fmla="*/ 201844 w 333475"/>
                <a:gd name="connsiteY90" fmla="*/ 179852 h 224977"/>
                <a:gd name="connsiteX91" fmla="*/ 195817 w 333475"/>
                <a:gd name="connsiteY91" fmla="*/ 181155 h 224977"/>
                <a:gd name="connsiteX92" fmla="*/ 193536 w 333475"/>
                <a:gd name="connsiteY92" fmla="*/ 179689 h 224977"/>
                <a:gd name="connsiteX93" fmla="*/ 187346 w 333475"/>
                <a:gd name="connsiteY93" fmla="*/ 178548 h 224977"/>
                <a:gd name="connsiteX94" fmla="*/ 182784 w 333475"/>
                <a:gd name="connsiteY94" fmla="*/ 176756 h 224977"/>
                <a:gd name="connsiteX95" fmla="*/ 179363 w 333475"/>
                <a:gd name="connsiteY95" fmla="*/ 176756 h 224977"/>
                <a:gd name="connsiteX96" fmla="*/ 176267 w 333475"/>
                <a:gd name="connsiteY96" fmla="*/ 178222 h 224977"/>
                <a:gd name="connsiteX97" fmla="*/ 172683 w 333475"/>
                <a:gd name="connsiteY97" fmla="*/ 177571 h 224977"/>
                <a:gd name="connsiteX98" fmla="*/ 166330 w 333475"/>
                <a:gd name="connsiteY98" fmla="*/ 177082 h 224977"/>
                <a:gd name="connsiteX99" fmla="*/ 161280 w 333475"/>
                <a:gd name="connsiteY99" fmla="*/ 174150 h 224977"/>
                <a:gd name="connsiteX100" fmla="*/ 155578 w 333475"/>
                <a:gd name="connsiteY100" fmla="*/ 174638 h 224977"/>
                <a:gd name="connsiteX101" fmla="*/ 154112 w 333475"/>
                <a:gd name="connsiteY101" fmla="*/ 173009 h 224977"/>
                <a:gd name="connsiteX102" fmla="*/ 147270 w 333475"/>
                <a:gd name="connsiteY102" fmla="*/ 167308 h 224977"/>
                <a:gd name="connsiteX103" fmla="*/ 143360 w 333475"/>
                <a:gd name="connsiteY103" fmla="*/ 165841 h 224977"/>
                <a:gd name="connsiteX104" fmla="*/ 136029 w 333475"/>
                <a:gd name="connsiteY104" fmla="*/ 159651 h 224977"/>
                <a:gd name="connsiteX105" fmla="*/ 133097 w 333475"/>
                <a:gd name="connsiteY105" fmla="*/ 159325 h 224977"/>
                <a:gd name="connsiteX106" fmla="*/ 129187 w 333475"/>
                <a:gd name="connsiteY106" fmla="*/ 156393 h 224977"/>
                <a:gd name="connsiteX107" fmla="*/ 126580 w 333475"/>
                <a:gd name="connsiteY107" fmla="*/ 156393 h 224977"/>
                <a:gd name="connsiteX108" fmla="*/ 125928 w 333475"/>
                <a:gd name="connsiteY108" fmla="*/ 158673 h 224977"/>
                <a:gd name="connsiteX109" fmla="*/ 121530 w 333475"/>
                <a:gd name="connsiteY109" fmla="*/ 158185 h 224977"/>
                <a:gd name="connsiteX110" fmla="*/ 117783 w 333475"/>
                <a:gd name="connsiteY110" fmla="*/ 161931 h 224977"/>
                <a:gd name="connsiteX111" fmla="*/ 114688 w 333475"/>
                <a:gd name="connsiteY111" fmla="*/ 161931 h 224977"/>
                <a:gd name="connsiteX112" fmla="*/ 112733 w 333475"/>
                <a:gd name="connsiteY112" fmla="*/ 163561 h 224977"/>
                <a:gd name="connsiteX113" fmla="*/ 112244 w 333475"/>
                <a:gd name="connsiteY113" fmla="*/ 166982 h 224977"/>
                <a:gd name="connsiteX114" fmla="*/ 109801 w 333475"/>
                <a:gd name="connsiteY114" fmla="*/ 169914 h 224977"/>
                <a:gd name="connsiteX115" fmla="*/ 109801 w 333475"/>
                <a:gd name="connsiteY115" fmla="*/ 172684 h 224977"/>
                <a:gd name="connsiteX116" fmla="*/ 107846 w 333475"/>
                <a:gd name="connsiteY116" fmla="*/ 174638 h 224977"/>
                <a:gd name="connsiteX117" fmla="*/ 104262 w 333475"/>
                <a:gd name="connsiteY117" fmla="*/ 174801 h 224977"/>
                <a:gd name="connsiteX118" fmla="*/ 104262 w 333475"/>
                <a:gd name="connsiteY118" fmla="*/ 177734 h 224977"/>
                <a:gd name="connsiteX119" fmla="*/ 108334 w 333475"/>
                <a:gd name="connsiteY119" fmla="*/ 183110 h 224977"/>
                <a:gd name="connsiteX120" fmla="*/ 106705 w 333475"/>
                <a:gd name="connsiteY120" fmla="*/ 185228 h 224977"/>
                <a:gd name="connsiteX121" fmla="*/ 105402 w 333475"/>
                <a:gd name="connsiteY121" fmla="*/ 188974 h 224977"/>
                <a:gd name="connsiteX122" fmla="*/ 105076 w 333475"/>
                <a:gd name="connsiteY122" fmla="*/ 193047 h 224977"/>
                <a:gd name="connsiteX123" fmla="*/ 102144 w 333475"/>
                <a:gd name="connsiteY123" fmla="*/ 193862 h 224977"/>
                <a:gd name="connsiteX124" fmla="*/ 99700 w 333475"/>
                <a:gd name="connsiteY124" fmla="*/ 194839 h 224977"/>
                <a:gd name="connsiteX125" fmla="*/ 94976 w 333475"/>
                <a:gd name="connsiteY125" fmla="*/ 192233 h 224977"/>
                <a:gd name="connsiteX126" fmla="*/ 93184 w 333475"/>
                <a:gd name="connsiteY126" fmla="*/ 190115 h 224977"/>
                <a:gd name="connsiteX127" fmla="*/ 89763 w 333475"/>
                <a:gd name="connsiteY127" fmla="*/ 190115 h 224977"/>
                <a:gd name="connsiteX128" fmla="*/ 85690 w 333475"/>
                <a:gd name="connsiteY128" fmla="*/ 190115 h 224977"/>
                <a:gd name="connsiteX129" fmla="*/ 82921 w 333475"/>
                <a:gd name="connsiteY129" fmla="*/ 192070 h 224977"/>
                <a:gd name="connsiteX130" fmla="*/ 78848 w 333475"/>
                <a:gd name="connsiteY130" fmla="*/ 191581 h 224977"/>
                <a:gd name="connsiteX131" fmla="*/ 67933 w 333475"/>
                <a:gd name="connsiteY131" fmla="*/ 196143 h 224977"/>
                <a:gd name="connsiteX132" fmla="*/ 65815 w 333475"/>
                <a:gd name="connsiteY132" fmla="*/ 198749 h 224977"/>
                <a:gd name="connsiteX133" fmla="*/ 61417 w 333475"/>
                <a:gd name="connsiteY133" fmla="*/ 199727 h 224977"/>
                <a:gd name="connsiteX134" fmla="*/ 54900 w 333475"/>
                <a:gd name="connsiteY134" fmla="*/ 205917 h 224977"/>
                <a:gd name="connsiteX135" fmla="*/ 43496 w 333475"/>
                <a:gd name="connsiteY135" fmla="*/ 224977 h 224977"/>
                <a:gd name="connsiteX136" fmla="*/ 42845 w 333475"/>
                <a:gd name="connsiteY136" fmla="*/ 224489 h 224977"/>
                <a:gd name="connsiteX137" fmla="*/ 41867 w 333475"/>
                <a:gd name="connsiteY137" fmla="*/ 222697 h 224977"/>
                <a:gd name="connsiteX138" fmla="*/ 41867 w 333475"/>
                <a:gd name="connsiteY138" fmla="*/ 218624 h 224977"/>
                <a:gd name="connsiteX139" fmla="*/ 41216 w 333475"/>
                <a:gd name="connsiteY139" fmla="*/ 213411 h 224977"/>
                <a:gd name="connsiteX140" fmla="*/ 33071 w 333475"/>
                <a:gd name="connsiteY140" fmla="*/ 207220 h 224977"/>
                <a:gd name="connsiteX141" fmla="*/ 29975 w 333475"/>
                <a:gd name="connsiteY141" fmla="*/ 204125 h 224977"/>
                <a:gd name="connsiteX142" fmla="*/ 26228 w 333475"/>
                <a:gd name="connsiteY142" fmla="*/ 196631 h 224977"/>
                <a:gd name="connsiteX143" fmla="*/ 19875 w 333475"/>
                <a:gd name="connsiteY143" fmla="*/ 187508 h 224977"/>
                <a:gd name="connsiteX144" fmla="*/ 18246 w 333475"/>
                <a:gd name="connsiteY144" fmla="*/ 181969 h 224977"/>
                <a:gd name="connsiteX145" fmla="*/ 14173 w 333475"/>
                <a:gd name="connsiteY145" fmla="*/ 176919 h 224977"/>
                <a:gd name="connsiteX146" fmla="*/ 6842 w 333475"/>
                <a:gd name="connsiteY146" fmla="*/ 173335 h 224977"/>
                <a:gd name="connsiteX147" fmla="*/ 4398 w 333475"/>
                <a:gd name="connsiteY147" fmla="*/ 171543 h 224977"/>
                <a:gd name="connsiteX148" fmla="*/ 4398 w 333475"/>
                <a:gd name="connsiteY148" fmla="*/ 161117 h 224977"/>
                <a:gd name="connsiteX149" fmla="*/ 3747 w 333475"/>
                <a:gd name="connsiteY149" fmla="*/ 155578 h 224977"/>
                <a:gd name="connsiteX150" fmla="*/ 1629 w 333475"/>
                <a:gd name="connsiteY150" fmla="*/ 148899 h 224977"/>
                <a:gd name="connsiteX151" fmla="*/ 2769 w 333475"/>
                <a:gd name="connsiteY151" fmla="*/ 142546 h 224977"/>
                <a:gd name="connsiteX152" fmla="*/ 651 w 333475"/>
                <a:gd name="connsiteY152" fmla="*/ 135866 h 224977"/>
                <a:gd name="connsiteX153" fmla="*/ 0 w 333475"/>
                <a:gd name="connsiteY153" fmla="*/ 130327 h 224977"/>
                <a:gd name="connsiteX154" fmla="*/ 2280 w 333475"/>
                <a:gd name="connsiteY154" fmla="*/ 126906 h 224977"/>
                <a:gd name="connsiteX155" fmla="*/ 5213 w 333475"/>
                <a:gd name="connsiteY155" fmla="*/ 125766 h 224977"/>
                <a:gd name="connsiteX156" fmla="*/ 10100 w 333475"/>
                <a:gd name="connsiteY156" fmla="*/ 118761 h 224977"/>
                <a:gd name="connsiteX157" fmla="*/ 13033 w 333475"/>
                <a:gd name="connsiteY157" fmla="*/ 112407 h 224977"/>
                <a:gd name="connsiteX158" fmla="*/ 17757 w 333475"/>
                <a:gd name="connsiteY158" fmla="*/ 103773 h 224977"/>
                <a:gd name="connsiteX159" fmla="*/ 20038 w 333475"/>
                <a:gd name="connsiteY159" fmla="*/ 98560 h 224977"/>
                <a:gd name="connsiteX160" fmla="*/ 23785 w 333475"/>
                <a:gd name="connsiteY160" fmla="*/ 97094 h 224977"/>
                <a:gd name="connsiteX161" fmla="*/ 28346 w 333475"/>
                <a:gd name="connsiteY161" fmla="*/ 90577 h 224977"/>
                <a:gd name="connsiteX162" fmla="*/ 28346 w 333475"/>
                <a:gd name="connsiteY162" fmla="*/ 88948 h 224977"/>
                <a:gd name="connsiteX163" fmla="*/ 31115 w 333475"/>
                <a:gd name="connsiteY163" fmla="*/ 91881 h 224977"/>
                <a:gd name="connsiteX164" fmla="*/ 32093 w 333475"/>
                <a:gd name="connsiteY164" fmla="*/ 97094 h 224977"/>
                <a:gd name="connsiteX165" fmla="*/ 36980 w 333475"/>
                <a:gd name="connsiteY165" fmla="*/ 97094 h 224977"/>
                <a:gd name="connsiteX166" fmla="*/ 41216 w 333475"/>
                <a:gd name="connsiteY166" fmla="*/ 96116 h 224977"/>
                <a:gd name="connsiteX167" fmla="*/ 48058 w 333475"/>
                <a:gd name="connsiteY167" fmla="*/ 95953 h 224977"/>
                <a:gd name="connsiteX168" fmla="*/ 51316 w 333475"/>
                <a:gd name="connsiteY168" fmla="*/ 89926 h 224977"/>
                <a:gd name="connsiteX169" fmla="*/ 51316 w 333475"/>
                <a:gd name="connsiteY169" fmla="*/ 85038 h 224977"/>
                <a:gd name="connsiteX170" fmla="*/ 54249 w 333475"/>
                <a:gd name="connsiteY170" fmla="*/ 82106 h 224977"/>
                <a:gd name="connsiteX171" fmla="*/ 56855 w 333475"/>
                <a:gd name="connsiteY171" fmla="*/ 84550 h 224977"/>
                <a:gd name="connsiteX172" fmla="*/ 58647 w 333475"/>
                <a:gd name="connsiteY172" fmla="*/ 90414 h 224977"/>
                <a:gd name="connsiteX173" fmla="*/ 60765 w 333475"/>
                <a:gd name="connsiteY173" fmla="*/ 92695 h 224977"/>
                <a:gd name="connsiteX174" fmla="*/ 65489 w 333475"/>
                <a:gd name="connsiteY174" fmla="*/ 91881 h 224977"/>
                <a:gd name="connsiteX175" fmla="*/ 72169 w 333475"/>
                <a:gd name="connsiteY175" fmla="*/ 86993 h 224977"/>
                <a:gd name="connsiteX176" fmla="*/ 79337 w 333475"/>
                <a:gd name="connsiteY176" fmla="*/ 84061 h 224977"/>
                <a:gd name="connsiteX177" fmla="*/ 85690 w 333475"/>
                <a:gd name="connsiteY177" fmla="*/ 79663 h 224977"/>
                <a:gd name="connsiteX178" fmla="*/ 100840 w 333475"/>
                <a:gd name="connsiteY178" fmla="*/ 76241 h 224977"/>
                <a:gd name="connsiteX179" fmla="*/ 107520 w 333475"/>
                <a:gd name="connsiteY179" fmla="*/ 76241 h 224977"/>
                <a:gd name="connsiteX180" fmla="*/ 110941 w 333475"/>
                <a:gd name="connsiteY180" fmla="*/ 72331 h 224977"/>
                <a:gd name="connsiteX181" fmla="*/ 118272 w 333475"/>
                <a:gd name="connsiteY181" fmla="*/ 67444 h 224977"/>
                <a:gd name="connsiteX182" fmla="*/ 117294 w 333475"/>
                <a:gd name="connsiteY182" fmla="*/ 64023 h 224977"/>
                <a:gd name="connsiteX183" fmla="*/ 114362 w 333475"/>
                <a:gd name="connsiteY183" fmla="*/ 64023 h 224977"/>
                <a:gd name="connsiteX184" fmla="*/ 110289 w 333475"/>
                <a:gd name="connsiteY184" fmla="*/ 58484 h 224977"/>
                <a:gd name="connsiteX185" fmla="*/ 110778 w 333475"/>
                <a:gd name="connsiteY185" fmla="*/ 54412 h 224977"/>
                <a:gd name="connsiteX186" fmla="*/ 114199 w 333475"/>
                <a:gd name="connsiteY186" fmla="*/ 52131 h 224977"/>
                <a:gd name="connsiteX187" fmla="*/ 118109 w 333475"/>
                <a:gd name="connsiteY187" fmla="*/ 53108 h 224977"/>
                <a:gd name="connsiteX188" fmla="*/ 123974 w 333475"/>
                <a:gd name="connsiteY188" fmla="*/ 52457 h 224977"/>
                <a:gd name="connsiteX189" fmla="*/ 128209 w 333475"/>
                <a:gd name="connsiteY189" fmla="*/ 54086 h 224977"/>
                <a:gd name="connsiteX190" fmla="*/ 134726 w 333475"/>
                <a:gd name="connsiteY190" fmla="*/ 55063 h 224977"/>
                <a:gd name="connsiteX191" fmla="*/ 141894 w 333475"/>
                <a:gd name="connsiteY191" fmla="*/ 54086 h 224977"/>
                <a:gd name="connsiteX192" fmla="*/ 151505 w 333475"/>
                <a:gd name="connsiteY192" fmla="*/ 52945 h 224977"/>
                <a:gd name="connsiteX193" fmla="*/ 156392 w 333475"/>
                <a:gd name="connsiteY193" fmla="*/ 49198 h 224977"/>
                <a:gd name="connsiteX194" fmla="*/ 160628 w 333475"/>
                <a:gd name="connsiteY194" fmla="*/ 46918 h 224977"/>
                <a:gd name="connsiteX195" fmla="*/ 161769 w 333475"/>
                <a:gd name="connsiteY195" fmla="*/ 43334 h 224977"/>
                <a:gd name="connsiteX196" fmla="*/ 161117 w 333475"/>
                <a:gd name="connsiteY196" fmla="*/ 39587 h 224977"/>
                <a:gd name="connsiteX197" fmla="*/ 162094 w 333475"/>
                <a:gd name="connsiteY197" fmla="*/ 35188 h 224977"/>
                <a:gd name="connsiteX198" fmla="*/ 165678 w 333475"/>
                <a:gd name="connsiteY198" fmla="*/ 32745 h 224977"/>
                <a:gd name="connsiteX199" fmla="*/ 165515 w 333475"/>
                <a:gd name="connsiteY199" fmla="*/ 28835 h 224977"/>
                <a:gd name="connsiteX200" fmla="*/ 169099 w 333475"/>
                <a:gd name="connsiteY200" fmla="*/ 24599 h 224977"/>
                <a:gd name="connsiteX201" fmla="*/ 171217 w 333475"/>
                <a:gd name="connsiteY201" fmla="*/ 25902 h 224977"/>
                <a:gd name="connsiteX202" fmla="*/ 173824 w 333475"/>
                <a:gd name="connsiteY202" fmla="*/ 25577 h 224977"/>
                <a:gd name="connsiteX203" fmla="*/ 178548 w 333475"/>
                <a:gd name="connsiteY203" fmla="*/ 18246 h 224977"/>
                <a:gd name="connsiteX204" fmla="*/ 181481 w 333475"/>
                <a:gd name="connsiteY204" fmla="*/ 16942 h 224977"/>
                <a:gd name="connsiteX205" fmla="*/ 181155 w 333475"/>
                <a:gd name="connsiteY205" fmla="*/ 13521 h 224977"/>
                <a:gd name="connsiteX206" fmla="*/ 182132 w 333475"/>
                <a:gd name="connsiteY206" fmla="*/ 10100 h 224977"/>
                <a:gd name="connsiteX207" fmla="*/ 188649 w 333475"/>
                <a:gd name="connsiteY207" fmla="*/ 6516 h 224977"/>
                <a:gd name="connsiteX208" fmla="*/ 193210 w 333475"/>
                <a:gd name="connsiteY208" fmla="*/ 3258 h 224977"/>
                <a:gd name="connsiteX209" fmla="*/ 199401 w 333475"/>
                <a:gd name="connsiteY209" fmla="*/ 3258 h 224977"/>
                <a:gd name="connsiteX210" fmla="*/ 202659 w 333475"/>
                <a:gd name="connsiteY210" fmla="*/ 5213 h 224977"/>
                <a:gd name="connsiteX211" fmla="*/ 209175 w 333475"/>
                <a:gd name="connsiteY211" fmla="*/ 2281 h 224977"/>
                <a:gd name="connsiteX212" fmla="*/ 210153 w 333475"/>
                <a:gd name="connsiteY212" fmla="*/ 0 h 2249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</a:cxnLst>
              <a:rect l="l" t="t" r="r" b="b"/>
              <a:pathLst>
                <a:path w="333475" h="224977">
                  <a:moveTo>
                    <a:pt x="210153" y="0"/>
                  </a:moveTo>
                  <a:lnTo>
                    <a:pt x="212922" y="3095"/>
                  </a:lnTo>
                  <a:lnTo>
                    <a:pt x="212922" y="6516"/>
                  </a:lnTo>
                  <a:lnTo>
                    <a:pt x="211619" y="8471"/>
                  </a:lnTo>
                  <a:lnTo>
                    <a:pt x="216995" y="13033"/>
                  </a:lnTo>
                  <a:lnTo>
                    <a:pt x="217972" y="15639"/>
                  </a:lnTo>
                  <a:lnTo>
                    <a:pt x="224651" y="24762"/>
                  </a:lnTo>
                  <a:lnTo>
                    <a:pt x="229213" y="34699"/>
                  </a:lnTo>
                  <a:lnTo>
                    <a:pt x="231005" y="38447"/>
                  </a:lnTo>
                  <a:lnTo>
                    <a:pt x="229702" y="43985"/>
                  </a:lnTo>
                  <a:lnTo>
                    <a:pt x="228073" y="46266"/>
                  </a:lnTo>
                  <a:lnTo>
                    <a:pt x="226281" y="51153"/>
                  </a:lnTo>
                  <a:lnTo>
                    <a:pt x="226606" y="58973"/>
                  </a:lnTo>
                  <a:lnTo>
                    <a:pt x="230190" y="62068"/>
                  </a:lnTo>
                  <a:lnTo>
                    <a:pt x="236707" y="62231"/>
                  </a:lnTo>
                  <a:lnTo>
                    <a:pt x="238499" y="59788"/>
                  </a:lnTo>
                  <a:lnTo>
                    <a:pt x="246319" y="59950"/>
                  </a:lnTo>
                  <a:lnTo>
                    <a:pt x="248762" y="61905"/>
                  </a:lnTo>
                  <a:lnTo>
                    <a:pt x="246807" y="65326"/>
                  </a:lnTo>
                  <a:lnTo>
                    <a:pt x="247622" y="70051"/>
                  </a:lnTo>
                  <a:lnTo>
                    <a:pt x="252020" y="73472"/>
                  </a:lnTo>
                  <a:lnTo>
                    <a:pt x="257885" y="75915"/>
                  </a:lnTo>
                  <a:lnTo>
                    <a:pt x="262121" y="76241"/>
                  </a:lnTo>
                  <a:lnTo>
                    <a:pt x="266030" y="78522"/>
                  </a:lnTo>
                  <a:lnTo>
                    <a:pt x="267497" y="82106"/>
                  </a:lnTo>
                  <a:lnTo>
                    <a:pt x="272547" y="84550"/>
                  </a:lnTo>
                  <a:lnTo>
                    <a:pt x="276783" y="84876"/>
                  </a:lnTo>
                  <a:lnTo>
                    <a:pt x="278900" y="87645"/>
                  </a:lnTo>
                  <a:lnTo>
                    <a:pt x="277760" y="91229"/>
                  </a:lnTo>
                  <a:lnTo>
                    <a:pt x="274502" y="93998"/>
                  </a:lnTo>
                  <a:lnTo>
                    <a:pt x="273850" y="96116"/>
                  </a:lnTo>
                  <a:lnTo>
                    <a:pt x="271895" y="98234"/>
                  </a:lnTo>
                  <a:lnTo>
                    <a:pt x="276946" y="102796"/>
                  </a:lnTo>
                  <a:lnTo>
                    <a:pt x="281344" y="103936"/>
                  </a:lnTo>
                  <a:lnTo>
                    <a:pt x="283299" y="102958"/>
                  </a:lnTo>
                  <a:lnTo>
                    <a:pt x="287535" y="105076"/>
                  </a:lnTo>
                  <a:lnTo>
                    <a:pt x="289326" y="104913"/>
                  </a:lnTo>
                  <a:lnTo>
                    <a:pt x="297635" y="109638"/>
                  </a:lnTo>
                  <a:lnTo>
                    <a:pt x="299753" y="112896"/>
                  </a:lnTo>
                  <a:lnTo>
                    <a:pt x="300078" y="120227"/>
                  </a:lnTo>
                  <a:lnTo>
                    <a:pt x="302522" y="122996"/>
                  </a:lnTo>
                  <a:lnTo>
                    <a:pt x="307898" y="124625"/>
                  </a:lnTo>
                  <a:lnTo>
                    <a:pt x="309201" y="126580"/>
                  </a:lnTo>
                  <a:lnTo>
                    <a:pt x="308876" y="131468"/>
                  </a:lnTo>
                  <a:lnTo>
                    <a:pt x="311156" y="133911"/>
                  </a:lnTo>
                  <a:lnTo>
                    <a:pt x="319790" y="136192"/>
                  </a:lnTo>
                  <a:lnTo>
                    <a:pt x="323700" y="139124"/>
                  </a:lnTo>
                  <a:lnTo>
                    <a:pt x="323049" y="141731"/>
                  </a:lnTo>
                  <a:lnTo>
                    <a:pt x="323863" y="149550"/>
                  </a:lnTo>
                  <a:lnTo>
                    <a:pt x="326796" y="151505"/>
                  </a:lnTo>
                  <a:lnTo>
                    <a:pt x="331520" y="154601"/>
                  </a:lnTo>
                  <a:lnTo>
                    <a:pt x="333475" y="157533"/>
                  </a:lnTo>
                  <a:lnTo>
                    <a:pt x="333475" y="158511"/>
                  </a:lnTo>
                  <a:lnTo>
                    <a:pt x="332497" y="158185"/>
                  </a:lnTo>
                  <a:lnTo>
                    <a:pt x="327773" y="155415"/>
                  </a:lnTo>
                  <a:lnTo>
                    <a:pt x="321908" y="154927"/>
                  </a:lnTo>
                  <a:lnTo>
                    <a:pt x="314089" y="158511"/>
                  </a:lnTo>
                  <a:lnTo>
                    <a:pt x="312622" y="157696"/>
                  </a:lnTo>
                  <a:lnTo>
                    <a:pt x="303011" y="157533"/>
                  </a:lnTo>
                  <a:lnTo>
                    <a:pt x="299264" y="155089"/>
                  </a:lnTo>
                  <a:lnTo>
                    <a:pt x="295517" y="154438"/>
                  </a:lnTo>
                  <a:lnTo>
                    <a:pt x="293073" y="153135"/>
                  </a:lnTo>
                  <a:lnTo>
                    <a:pt x="290141" y="153460"/>
                  </a:lnTo>
                  <a:lnTo>
                    <a:pt x="284602" y="152483"/>
                  </a:lnTo>
                  <a:lnTo>
                    <a:pt x="282321" y="150202"/>
                  </a:lnTo>
                  <a:lnTo>
                    <a:pt x="278412" y="150528"/>
                  </a:lnTo>
                  <a:lnTo>
                    <a:pt x="278086" y="152483"/>
                  </a:lnTo>
                  <a:lnTo>
                    <a:pt x="279226" y="154275"/>
                  </a:lnTo>
                  <a:lnTo>
                    <a:pt x="275968" y="159162"/>
                  </a:lnTo>
                  <a:lnTo>
                    <a:pt x="272873" y="159162"/>
                  </a:lnTo>
                  <a:lnTo>
                    <a:pt x="269451" y="159977"/>
                  </a:lnTo>
                  <a:lnTo>
                    <a:pt x="263261" y="160303"/>
                  </a:lnTo>
                  <a:lnTo>
                    <a:pt x="260166" y="162420"/>
                  </a:lnTo>
                  <a:lnTo>
                    <a:pt x="257885" y="162420"/>
                  </a:lnTo>
                  <a:lnTo>
                    <a:pt x="256744" y="159325"/>
                  </a:lnTo>
                  <a:lnTo>
                    <a:pt x="254953" y="158999"/>
                  </a:lnTo>
                  <a:lnTo>
                    <a:pt x="254464" y="157207"/>
                  </a:lnTo>
                  <a:lnTo>
                    <a:pt x="251043" y="156881"/>
                  </a:lnTo>
                  <a:lnTo>
                    <a:pt x="240291" y="161443"/>
                  </a:lnTo>
                  <a:lnTo>
                    <a:pt x="236381" y="163072"/>
                  </a:lnTo>
                  <a:lnTo>
                    <a:pt x="234426" y="165516"/>
                  </a:lnTo>
                  <a:lnTo>
                    <a:pt x="223511" y="166819"/>
                  </a:lnTo>
                  <a:lnTo>
                    <a:pt x="220090" y="168122"/>
                  </a:lnTo>
                  <a:lnTo>
                    <a:pt x="217321" y="165027"/>
                  </a:lnTo>
                  <a:lnTo>
                    <a:pt x="212433" y="164049"/>
                  </a:lnTo>
                  <a:lnTo>
                    <a:pt x="207383" y="163887"/>
                  </a:lnTo>
                  <a:lnTo>
                    <a:pt x="203636" y="168611"/>
                  </a:lnTo>
                  <a:lnTo>
                    <a:pt x="199726" y="172684"/>
                  </a:lnTo>
                  <a:lnTo>
                    <a:pt x="200052" y="175616"/>
                  </a:lnTo>
                  <a:lnTo>
                    <a:pt x="202822" y="177734"/>
                  </a:lnTo>
                  <a:lnTo>
                    <a:pt x="201844" y="179852"/>
                  </a:lnTo>
                  <a:lnTo>
                    <a:pt x="195817" y="181155"/>
                  </a:lnTo>
                  <a:lnTo>
                    <a:pt x="193536" y="179689"/>
                  </a:lnTo>
                  <a:lnTo>
                    <a:pt x="187346" y="178548"/>
                  </a:lnTo>
                  <a:lnTo>
                    <a:pt x="182784" y="176756"/>
                  </a:lnTo>
                  <a:lnTo>
                    <a:pt x="179363" y="176756"/>
                  </a:lnTo>
                  <a:lnTo>
                    <a:pt x="176267" y="178222"/>
                  </a:lnTo>
                  <a:lnTo>
                    <a:pt x="172683" y="177571"/>
                  </a:lnTo>
                  <a:lnTo>
                    <a:pt x="166330" y="177082"/>
                  </a:lnTo>
                  <a:lnTo>
                    <a:pt x="161280" y="174150"/>
                  </a:lnTo>
                  <a:lnTo>
                    <a:pt x="155578" y="174638"/>
                  </a:lnTo>
                  <a:lnTo>
                    <a:pt x="154112" y="173009"/>
                  </a:lnTo>
                  <a:lnTo>
                    <a:pt x="147270" y="167308"/>
                  </a:lnTo>
                  <a:lnTo>
                    <a:pt x="143360" y="165841"/>
                  </a:lnTo>
                  <a:lnTo>
                    <a:pt x="136029" y="159651"/>
                  </a:lnTo>
                  <a:lnTo>
                    <a:pt x="133097" y="159325"/>
                  </a:lnTo>
                  <a:lnTo>
                    <a:pt x="129187" y="156393"/>
                  </a:lnTo>
                  <a:lnTo>
                    <a:pt x="126580" y="156393"/>
                  </a:lnTo>
                  <a:lnTo>
                    <a:pt x="125928" y="158673"/>
                  </a:lnTo>
                  <a:lnTo>
                    <a:pt x="121530" y="158185"/>
                  </a:lnTo>
                  <a:lnTo>
                    <a:pt x="117783" y="161931"/>
                  </a:lnTo>
                  <a:lnTo>
                    <a:pt x="114688" y="161931"/>
                  </a:lnTo>
                  <a:lnTo>
                    <a:pt x="112733" y="163561"/>
                  </a:lnTo>
                  <a:lnTo>
                    <a:pt x="112244" y="166982"/>
                  </a:lnTo>
                  <a:lnTo>
                    <a:pt x="109801" y="169914"/>
                  </a:lnTo>
                  <a:lnTo>
                    <a:pt x="109801" y="172684"/>
                  </a:lnTo>
                  <a:lnTo>
                    <a:pt x="107846" y="174638"/>
                  </a:lnTo>
                  <a:lnTo>
                    <a:pt x="104262" y="174801"/>
                  </a:lnTo>
                  <a:lnTo>
                    <a:pt x="104262" y="177734"/>
                  </a:lnTo>
                  <a:lnTo>
                    <a:pt x="108334" y="183110"/>
                  </a:lnTo>
                  <a:lnTo>
                    <a:pt x="106705" y="185228"/>
                  </a:lnTo>
                  <a:lnTo>
                    <a:pt x="105402" y="188974"/>
                  </a:lnTo>
                  <a:lnTo>
                    <a:pt x="105076" y="193047"/>
                  </a:lnTo>
                  <a:lnTo>
                    <a:pt x="102144" y="193862"/>
                  </a:lnTo>
                  <a:lnTo>
                    <a:pt x="99700" y="194839"/>
                  </a:lnTo>
                  <a:lnTo>
                    <a:pt x="94976" y="192233"/>
                  </a:lnTo>
                  <a:lnTo>
                    <a:pt x="93184" y="190115"/>
                  </a:lnTo>
                  <a:lnTo>
                    <a:pt x="89763" y="190115"/>
                  </a:lnTo>
                  <a:lnTo>
                    <a:pt x="85690" y="190115"/>
                  </a:lnTo>
                  <a:lnTo>
                    <a:pt x="82921" y="192070"/>
                  </a:lnTo>
                  <a:lnTo>
                    <a:pt x="78848" y="191581"/>
                  </a:lnTo>
                  <a:lnTo>
                    <a:pt x="67933" y="196143"/>
                  </a:lnTo>
                  <a:lnTo>
                    <a:pt x="65815" y="198749"/>
                  </a:lnTo>
                  <a:lnTo>
                    <a:pt x="61417" y="199727"/>
                  </a:lnTo>
                  <a:lnTo>
                    <a:pt x="54900" y="205917"/>
                  </a:lnTo>
                  <a:lnTo>
                    <a:pt x="43496" y="224977"/>
                  </a:lnTo>
                  <a:lnTo>
                    <a:pt x="42845" y="224489"/>
                  </a:lnTo>
                  <a:lnTo>
                    <a:pt x="41867" y="222697"/>
                  </a:lnTo>
                  <a:lnTo>
                    <a:pt x="41867" y="218624"/>
                  </a:lnTo>
                  <a:lnTo>
                    <a:pt x="41216" y="213411"/>
                  </a:lnTo>
                  <a:lnTo>
                    <a:pt x="33071" y="207220"/>
                  </a:lnTo>
                  <a:lnTo>
                    <a:pt x="29975" y="204125"/>
                  </a:lnTo>
                  <a:lnTo>
                    <a:pt x="26228" y="196631"/>
                  </a:lnTo>
                  <a:lnTo>
                    <a:pt x="19875" y="187508"/>
                  </a:lnTo>
                  <a:lnTo>
                    <a:pt x="18246" y="181969"/>
                  </a:lnTo>
                  <a:lnTo>
                    <a:pt x="14173" y="176919"/>
                  </a:lnTo>
                  <a:lnTo>
                    <a:pt x="6842" y="173335"/>
                  </a:lnTo>
                  <a:lnTo>
                    <a:pt x="4398" y="171543"/>
                  </a:lnTo>
                  <a:lnTo>
                    <a:pt x="4398" y="161117"/>
                  </a:lnTo>
                  <a:lnTo>
                    <a:pt x="3747" y="155578"/>
                  </a:lnTo>
                  <a:lnTo>
                    <a:pt x="1629" y="148899"/>
                  </a:lnTo>
                  <a:lnTo>
                    <a:pt x="2769" y="142546"/>
                  </a:lnTo>
                  <a:lnTo>
                    <a:pt x="651" y="135866"/>
                  </a:lnTo>
                  <a:lnTo>
                    <a:pt x="0" y="130327"/>
                  </a:lnTo>
                  <a:lnTo>
                    <a:pt x="2280" y="126906"/>
                  </a:lnTo>
                  <a:lnTo>
                    <a:pt x="5213" y="125766"/>
                  </a:lnTo>
                  <a:lnTo>
                    <a:pt x="10100" y="118761"/>
                  </a:lnTo>
                  <a:lnTo>
                    <a:pt x="13033" y="112407"/>
                  </a:lnTo>
                  <a:lnTo>
                    <a:pt x="17757" y="103773"/>
                  </a:lnTo>
                  <a:lnTo>
                    <a:pt x="20038" y="98560"/>
                  </a:lnTo>
                  <a:lnTo>
                    <a:pt x="23785" y="97094"/>
                  </a:lnTo>
                  <a:lnTo>
                    <a:pt x="28346" y="90577"/>
                  </a:lnTo>
                  <a:lnTo>
                    <a:pt x="28346" y="88948"/>
                  </a:lnTo>
                  <a:lnTo>
                    <a:pt x="31115" y="91881"/>
                  </a:lnTo>
                  <a:lnTo>
                    <a:pt x="32093" y="97094"/>
                  </a:lnTo>
                  <a:lnTo>
                    <a:pt x="36980" y="97094"/>
                  </a:lnTo>
                  <a:lnTo>
                    <a:pt x="41216" y="96116"/>
                  </a:lnTo>
                  <a:lnTo>
                    <a:pt x="48058" y="95953"/>
                  </a:lnTo>
                  <a:lnTo>
                    <a:pt x="51316" y="89926"/>
                  </a:lnTo>
                  <a:lnTo>
                    <a:pt x="51316" y="85038"/>
                  </a:lnTo>
                  <a:lnTo>
                    <a:pt x="54249" y="82106"/>
                  </a:lnTo>
                  <a:lnTo>
                    <a:pt x="56855" y="84550"/>
                  </a:lnTo>
                  <a:lnTo>
                    <a:pt x="58647" y="90414"/>
                  </a:lnTo>
                  <a:lnTo>
                    <a:pt x="60765" y="92695"/>
                  </a:lnTo>
                  <a:lnTo>
                    <a:pt x="65489" y="91881"/>
                  </a:lnTo>
                  <a:lnTo>
                    <a:pt x="72169" y="86993"/>
                  </a:lnTo>
                  <a:lnTo>
                    <a:pt x="79337" y="84061"/>
                  </a:lnTo>
                  <a:lnTo>
                    <a:pt x="85690" y="79663"/>
                  </a:lnTo>
                  <a:lnTo>
                    <a:pt x="100840" y="76241"/>
                  </a:lnTo>
                  <a:lnTo>
                    <a:pt x="107520" y="76241"/>
                  </a:lnTo>
                  <a:lnTo>
                    <a:pt x="110941" y="72331"/>
                  </a:lnTo>
                  <a:lnTo>
                    <a:pt x="118272" y="67444"/>
                  </a:lnTo>
                  <a:lnTo>
                    <a:pt x="117294" y="64023"/>
                  </a:lnTo>
                  <a:lnTo>
                    <a:pt x="114362" y="64023"/>
                  </a:lnTo>
                  <a:lnTo>
                    <a:pt x="110289" y="58484"/>
                  </a:lnTo>
                  <a:lnTo>
                    <a:pt x="110778" y="54412"/>
                  </a:lnTo>
                  <a:lnTo>
                    <a:pt x="114199" y="52131"/>
                  </a:lnTo>
                  <a:lnTo>
                    <a:pt x="118109" y="53108"/>
                  </a:lnTo>
                  <a:lnTo>
                    <a:pt x="123974" y="52457"/>
                  </a:lnTo>
                  <a:lnTo>
                    <a:pt x="128209" y="54086"/>
                  </a:lnTo>
                  <a:lnTo>
                    <a:pt x="134726" y="55063"/>
                  </a:lnTo>
                  <a:lnTo>
                    <a:pt x="141894" y="54086"/>
                  </a:lnTo>
                  <a:lnTo>
                    <a:pt x="151505" y="52945"/>
                  </a:lnTo>
                  <a:lnTo>
                    <a:pt x="156392" y="49198"/>
                  </a:lnTo>
                  <a:lnTo>
                    <a:pt x="160628" y="46918"/>
                  </a:lnTo>
                  <a:lnTo>
                    <a:pt x="161769" y="43334"/>
                  </a:lnTo>
                  <a:lnTo>
                    <a:pt x="161117" y="39587"/>
                  </a:lnTo>
                  <a:lnTo>
                    <a:pt x="162094" y="35188"/>
                  </a:lnTo>
                  <a:lnTo>
                    <a:pt x="165678" y="32745"/>
                  </a:lnTo>
                  <a:lnTo>
                    <a:pt x="165515" y="28835"/>
                  </a:lnTo>
                  <a:lnTo>
                    <a:pt x="169099" y="24599"/>
                  </a:lnTo>
                  <a:lnTo>
                    <a:pt x="171217" y="25902"/>
                  </a:lnTo>
                  <a:lnTo>
                    <a:pt x="173824" y="25577"/>
                  </a:lnTo>
                  <a:lnTo>
                    <a:pt x="178548" y="18246"/>
                  </a:lnTo>
                  <a:lnTo>
                    <a:pt x="181481" y="16942"/>
                  </a:lnTo>
                  <a:lnTo>
                    <a:pt x="181155" y="13521"/>
                  </a:lnTo>
                  <a:lnTo>
                    <a:pt x="182132" y="10100"/>
                  </a:lnTo>
                  <a:lnTo>
                    <a:pt x="188649" y="6516"/>
                  </a:lnTo>
                  <a:lnTo>
                    <a:pt x="193210" y="3258"/>
                  </a:lnTo>
                  <a:lnTo>
                    <a:pt x="199401" y="3258"/>
                  </a:lnTo>
                  <a:lnTo>
                    <a:pt x="202659" y="5213"/>
                  </a:lnTo>
                  <a:lnTo>
                    <a:pt x="209175" y="2281"/>
                  </a:lnTo>
                  <a:lnTo>
                    <a:pt x="210153" y="0"/>
                  </a:lnTo>
                  <a:close/>
                </a:path>
              </a:pathLst>
            </a:custGeom>
            <a:solidFill>
              <a:schemeClr val="bg2"/>
            </a:solidFill>
            <a:ln w="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9" name="Forma livre: Forma 98">
              <a:extLst>
                <a:ext uri="{FF2B5EF4-FFF2-40B4-BE49-F238E27FC236}">
                  <a16:creationId xmlns:a16="http://schemas.microsoft.com/office/drawing/2014/main" id="{FDCE6DD8-CE57-2AD5-9AF0-8EACF3187AFA}"/>
                </a:ext>
              </a:extLst>
            </p:cNvPr>
            <p:cNvSpPr/>
            <p:nvPr/>
          </p:nvSpPr>
          <p:spPr>
            <a:xfrm>
              <a:off x="6227787" y="4048954"/>
              <a:ext cx="410607" cy="381650"/>
            </a:xfrm>
            <a:custGeom>
              <a:avLst/>
              <a:gdLst>
                <a:gd name="connsiteX0" fmla="*/ 372899 w 397335"/>
                <a:gd name="connsiteY0" fmla="*/ 369152 h 369314"/>
                <a:gd name="connsiteX1" fmla="*/ 372899 w 397335"/>
                <a:gd name="connsiteY1" fmla="*/ 359866 h 369314"/>
                <a:gd name="connsiteX2" fmla="*/ 397336 w 397335"/>
                <a:gd name="connsiteY2" fmla="*/ 357586 h 369314"/>
                <a:gd name="connsiteX3" fmla="*/ 386421 w 397335"/>
                <a:gd name="connsiteY3" fmla="*/ 104588 h 369314"/>
                <a:gd name="connsiteX4" fmla="*/ 383651 w 397335"/>
                <a:gd name="connsiteY4" fmla="*/ 91718 h 369314"/>
                <a:gd name="connsiteX5" fmla="*/ 380393 w 397335"/>
                <a:gd name="connsiteY5" fmla="*/ 84713 h 369314"/>
                <a:gd name="connsiteX6" fmla="*/ 383488 w 397335"/>
                <a:gd name="connsiteY6" fmla="*/ 76567 h 369314"/>
                <a:gd name="connsiteX7" fmla="*/ 387072 w 397335"/>
                <a:gd name="connsiteY7" fmla="*/ 67770 h 369314"/>
                <a:gd name="connsiteX8" fmla="*/ 387072 w 397335"/>
                <a:gd name="connsiteY8" fmla="*/ 62068 h 369314"/>
                <a:gd name="connsiteX9" fmla="*/ 384140 w 397335"/>
                <a:gd name="connsiteY9" fmla="*/ 55226 h 369314"/>
                <a:gd name="connsiteX10" fmla="*/ 386421 w 397335"/>
                <a:gd name="connsiteY10" fmla="*/ 44474 h 369314"/>
                <a:gd name="connsiteX11" fmla="*/ 388050 w 397335"/>
                <a:gd name="connsiteY11" fmla="*/ 40239 h 369314"/>
                <a:gd name="connsiteX12" fmla="*/ 385769 w 397335"/>
                <a:gd name="connsiteY12" fmla="*/ 33071 h 369314"/>
                <a:gd name="connsiteX13" fmla="*/ 382022 w 397335"/>
                <a:gd name="connsiteY13" fmla="*/ 28998 h 369314"/>
                <a:gd name="connsiteX14" fmla="*/ 377461 w 397335"/>
                <a:gd name="connsiteY14" fmla="*/ 28183 h 369314"/>
                <a:gd name="connsiteX15" fmla="*/ 372736 w 397335"/>
                <a:gd name="connsiteY15" fmla="*/ 28998 h 369314"/>
                <a:gd name="connsiteX16" fmla="*/ 355468 w 397335"/>
                <a:gd name="connsiteY16" fmla="*/ 26880 h 369314"/>
                <a:gd name="connsiteX17" fmla="*/ 352047 w 397335"/>
                <a:gd name="connsiteY17" fmla="*/ 23785 h 369314"/>
                <a:gd name="connsiteX18" fmla="*/ 345205 w 397335"/>
                <a:gd name="connsiteY18" fmla="*/ 23133 h 369314"/>
                <a:gd name="connsiteX19" fmla="*/ 336245 w 397335"/>
                <a:gd name="connsiteY19" fmla="*/ 20690 h 369314"/>
                <a:gd name="connsiteX20" fmla="*/ 334290 w 397335"/>
                <a:gd name="connsiteY20" fmla="*/ 17757 h 369314"/>
                <a:gd name="connsiteX21" fmla="*/ 336245 w 397335"/>
                <a:gd name="connsiteY21" fmla="*/ 16943 h 369314"/>
                <a:gd name="connsiteX22" fmla="*/ 335919 w 397335"/>
                <a:gd name="connsiteY22" fmla="*/ 13847 h 369314"/>
                <a:gd name="connsiteX23" fmla="*/ 325167 w 397335"/>
                <a:gd name="connsiteY23" fmla="*/ 7983 h 369314"/>
                <a:gd name="connsiteX24" fmla="*/ 319628 w 397335"/>
                <a:gd name="connsiteY24" fmla="*/ 7983 h 369314"/>
                <a:gd name="connsiteX25" fmla="*/ 310668 w 397335"/>
                <a:gd name="connsiteY25" fmla="*/ 5539 h 369314"/>
                <a:gd name="connsiteX26" fmla="*/ 308550 w 397335"/>
                <a:gd name="connsiteY26" fmla="*/ 4399 h 369314"/>
                <a:gd name="connsiteX27" fmla="*/ 305781 w 397335"/>
                <a:gd name="connsiteY27" fmla="*/ 6842 h 369314"/>
                <a:gd name="connsiteX28" fmla="*/ 300405 w 397335"/>
                <a:gd name="connsiteY28" fmla="*/ 4073 h 369314"/>
                <a:gd name="connsiteX29" fmla="*/ 298450 w 397335"/>
                <a:gd name="connsiteY29" fmla="*/ 4073 h 369314"/>
                <a:gd name="connsiteX30" fmla="*/ 290467 w 397335"/>
                <a:gd name="connsiteY30" fmla="*/ 8145 h 369314"/>
                <a:gd name="connsiteX31" fmla="*/ 277923 w 397335"/>
                <a:gd name="connsiteY31" fmla="*/ 9286 h 369314"/>
                <a:gd name="connsiteX32" fmla="*/ 267171 w 397335"/>
                <a:gd name="connsiteY32" fmla="*/ 14499 h 369314"/>
                <a:gd name="connsiteX33" fmla="*/ 260981 w 397335"/>
                <a:gd name="connsiteY33" fmla="*/ 20526 h 369314"/>
                <a:gd name="connsiteX34" fmla="*/ 259352 w 397335"/>
                <a:gd name="connsiteY34" fmla="*/ 27532 h 369314"/>
                <a:gd name="connsiteX35" fmla="*/ 256093 w 397335"/>
                <a:gd name="connsiteY35" fmla="*/ 29975 h 369314"/>
                <a:gd name="connsiteX36" fmla="*/ 255279 w 397335"/>
                <a:gd name="connsiteY36" fmla="*/ 43171 h 369314"/>
                <a:gd name="connsiteX37" fmla="*/ 260003 w 397335"/>
                <a:gd name="connsiteY37" fmla="*/ 50339 h 369314"/>
                <a:gd name="connsiteX38" fmla="*/ 263099 w 397335"/>
                <a:gd name="connsiteY38" fmla="*/ 60602 h 369314"/>
                <a:gd name="connsiteX39" fmla="*/ 260981 w 397335"/>
                <a:gd name="connsiteY39" fmla="*/ 66304 h 369314"/>
                <a:gd name="connsiteX40" fmla="*/ 254301 w 397335"/>
                <a:gd name="connsiteY40" fmla="*/ 73146 h 369314"/>
                <a:gd name="connsiteX41" fmla="*/ 253487 w 397335"/>
                <a:gd name="connsiteY41" fmla="*/ 75427 h 369314"/>
                <a:gd name="connsiteX42" fmla="*/ 244690 w 397335"/>
                <a:gd name="connsiteY42" fmla="*/ 82758 h 369314"/>
                <a:gd name="connsiteX43" fmla="*/ 239477 w 397335"/>
                <a:gd name="connsiteY43" fmla="*/ 84876 h 369314"/>
                <a:gd name="connsiteX44" fmla="*/ 228236 w 397335"/>
                <a:gd name="connsiteY44" fmla="*/ 80477 h 369314"/>
                <a:gd name="connsiteX45" fmla="*/ 218461 w 397335"/>
                <a:gd name="connsiteY45" fmla="*/ 72332 h 369314"/>
                <a:gd name="connsiteX46" fmla="*/ 210642 w 397335"/>
                <a:gd name="connsiteY46" fmla="*/ 65978 h 369314"/>
                <a:gd name="connsiteX47" fmla="*/ 198912 w 397335"/>
                <a:gd name="connsiteY47" fmla="*/ 59951 h 369314"/>
                <a:gd name="connsiteX48" fmla="*/ 179852 w 397335"/>
                <a:gd name="connsiteY48" fmla="*/ 51968 h 369314"/>
                <a:gd name="connsiteX49" fmla="*/ 171543 w 397335"/>
                <a:gd name="connsiteY49" fmla="*/ 50991 h 369314"/>
                <a:gd name="connsiteX50" fmla="*/ 168937 w 397335"/>
                <a:gd name="connsiteY50" fmla="*/ 52620 h 369314"/>
                <a:gd name="connsiteX51" fmla="*/ 158999 w 397335"/>
                <a:gd name="connsiteY51" fmla="*/ 52620 h 369314"/>
                <a:gd name="connsiteX52" fmla="*/ 150528 w 397335"/>
                <a:gd name="connsiteY52" fmla="*/ 48384 h 369314"/>
                <a:gd name="connsiteX53" fmla="*/ 142546 w 397335"/>
                <a:gd name="connsiteY53" fmla="*/ 33071 h 369314"/>
                <a:gd name="connsiteX54" fmla="*/ 142709 w 397335"/>
                <a:gd name="connsiteY54" fmla="*/ 25088 h 369314"/>
                <a:gd name="connsiteX55" fmla="*/ 136355 w 397335"/>
                <a:gd name="connsiteY55" fmla="*/ 16617 h 369314"/>
                <a:gd name="connsiteX56" fmla="*/ 119901 w 397335"/>
                <a:gd name="connsiteY56" fmla="*/ 14336 h 369314"/>
                <a:gd name="connsiteX57" fmla="*/ 111267 w 397335"/>
                <a:gd name="connsiteY57" fmla="*/ 8634 h 369314"/>
                <a:gd name="connsiteX58" fmla="*/ 97094 w 397335"/>
                <a:gd name="connsiteY58" fmla="*/ 8308 h 369314"/>
                <a:gd name="connsiteX59" fmla="*/ 89274 w 397335"/>
                <a:gd name="connsiteY59" fmla="*/ 5213 h 369314"/>
                <a:gd name="connsiteX60" fmla="*/ 71191 w 397335"/>
                <a:gd name="connsiteY60" fmla="*/ 8471 h 369314"/>
                <a:gd name="connsiteX61" fmla="*/ 58647 w 397335"/>
                <a:gd name="connsiteY61" fmla="*/ 5865 h 369314"/>
                <a:gd name="connsiteX62" fmla="*/ 53760 w 397335"/>
                <a:gd name="connsiteY62" fmla="*/ 1140 h 369314"/>
                <a:gd name="connsiteX63" fmla="*/ 47895 w 397335"/>
                <a:gd name="connsiteY63" fmla="*/ 0 h 369314"/>
                <a:gd name="connsiteX64" fmla="*/ 47081 w 397335"/>
                <a:gd name="connsiteY64" fmla="*/ 2281 h 369314"/>
                <a:gd name="connsiteX65" fmla="*/ 48873 w 397335"/>
                <a:gd name="connsiteY65" fmla="*/ 12055 h 369314"/>
                <a:gd name="connsiteX66" fmla="*/ 50828 w 397335"/>
                <a:gd name="connsiteY66" fmla="*/ 14010 h 369314"/>
                <a:gd name="connsiteX67" fmla="*/ 45126 w 397335"/>
                <a:gd name="connsiteY67" fmla="*/ 22644 h 369314"/>
                <a:gd name="connsiteX68" fmla="*/ 30301 w 397335"/>
                <a:gd name="connsiteY68" fmla="*/ 31930 h 369314"/>
                <a:gd name="connsiteX69" fmla="*/ 30301 w 397335"/>
                <a:gd name="connsiteY69" fmla="*/ 35351 h 369314"/>
                <a:gd name="connsiteX70" fmla="*/ 25740 w 397335"/>
                <a:gd name="connsiteY70" fmla="*/ 41216 h 369314"/>
                <a:gd name="connsiteX71" fmla="*/ 19875 w 397335"/>
                <a:gd name="connsiteY71" fmla="*/ 41053 h 369314"/>
                <a:gd name="connsiteX72" fmla="*/ 16128 w 397335"/>
                <a:gd name="connsiteY72" fmla="*/ 43660 h 369314"/>
                <a:gd name="connsiteX73" fmla="*/ 15802 w 397335"/>
                <a:gd name="connsiteY73" fmla="*/ 46429 h 369314"/>
                <a:gd name="connsiteX74" fmla="*/ 14825 w 397335"/>
                <a:gd name="connsiteY74" fmla="*/ 49850 h 369314"/>
                <a:gd name="connsiteX75" fmla="*/ 17431 w 397335"/>
                <a:gd name="connsiteY75" fmla="*/ 57996 h 369314"/>
                <a:gd name="connsiteX76" fmla="*/ 18083 w 397335"/>
                <a:gd name="connsiteY76" fmla="*/ 64023 h 369314"/>
                <a:gd name="connsiteX77" fmla="*/ 16617 w 397335"/>
                <a:gd name="connsiteY77" fmla="*/ 65652 h 369314"/>
                <a:gd name="connsiteX78" fmla="*/ 16780 w 397335"/>
                <a:gd name="connsiteY78" fmla="*/ 67933 h 369314"/>
                <a:gd name="connsiteX79" fmla="*/ 15151 w 397335"/>
                <a:gd name="connsiteY79" fmla="*/ 69888 h 369314"/>
                <a:gd name="connsiteX80" fmla="*/ 12381 w 397335"/>
                <a:gd name="connsiteY80" fmla="*/ 74775 h 369314"/>
                <a:gd name="connsiteX81" fmla="*/ 8472 w 397335"/>
                <a:gd name="connsiteY81" fmla="*/ 77219 h 369314"/>
                <a:gd name="connsiteX82" fmla="*/ 6842 w 397335"/>
                <a:gd name="connsiteY82" fmla="*/ 78522 h 369314"/>
                <a:gd name="connsiteX83" fmla="*/ 3747 w 397335"/>
                <a:gd name="connsiteY83" fmla="*/ 78522 h 369314"/>
                <a:gd name="connsiteX84" fmla="*/ 3747 w 397335"/>
                <a:gd name="connsiteY84" fmla="*/ 78685 h 369314"/>
                <a:gd name="connsiteX85" fmla="*/ 1629 w 397335"/>
                <a:gd name="connsiteY85" fmla="*/ 80803 h 369314"/>
                <a:gd name="connsiteX86" fmla="*/ 1629 w 397335"/>
                <a:gd name="connsiteY86" fmla="*/ 89274 h 369314"/>
                <a:gd name="connsiteX87" fmla="*/ 4073 w 397335"/>
                <a:gd name="connsiteY87" fmla="*/ 91066 h 369314"/>
                <a:gd name="connsiteX88" fmla="*/ 7331 w 397335"/>
                <a:gd name="connsiteY88" fmla="*/ 97257 h 369314"/>
                <a:gd name="connsiteX89" fmla="*/ 7331 w 397335"/>
                <a:gd name="connsiteY89" fmla="*/ 114036 h 369314"/>
                <a:gd name="connsiteX90" fmla="*/ 8145 w 397335"/>
                <a:gd name="connsiteY90" fmla="*/ 123322 h 369314"/>
                <a:gd name="connsiteX91" fmla="*/ 7657 w 397335"/>
                <a:gd name="connsiteY91" fmla="*/ 125929 h 369314"/>
                <a:gd name="connsiteX92" fmla="*/ 8797 w 397335"/>
                <a:gd name="connsiteY92" fmla="*/ 138961 h 369314"/>
                <a:gd name="connsiteX93" fmla="*/ 12056 w 397335"/>
                <a:gd name="connsiteY93" fmla="*/ 146618 h 369314"/>
                <a:gd name="connsiteX94" fmla="*/ 9612 w 397335"/>
                <a:gd name="connsiteY94" fmla="*/ 160628 h 369314"/>
                <a:gd name="connsiteX95" fmla="*/ 8634 w 397335"/>
                <a:gd name="connsiteY95" fmla="*/ 162909 h 369314"/>
                <a:gd name="connsiteX96" fmla="*/ 11078 w 397335"/>
                <a:gd name="connsiteY96" fmla="*/ 169100 h 369314"/>
                <a:gd name="connsiteX97" fmla="*/ 12056 w 397335"/>
                <a:gd name="connsiteY97" fmla="*/ 178060 h 369314"/>
                <a:gd name="connsiteX98" fmla="*/ 9612 w 397335"/>
                <a:gd name="connsiteY98" fmla="*/ 181481 h 369314"/>
                <a:gd name="connsiteX99" fmla="*/ 3910 w 397335"/>
                <a:gd name="connsiteY99" fmla="*/ 185716 h 369314"/>
                <a:gd name="connsiteX100" fmla="*/ 1955 w 397335"/>
                <a:gd name="connsiteY100" fmla="*/ 188649 h 369314"/>
                <a:gd name="connsiteX101" fmla="*/ 0 w 397335"/>
                <a:gd name="connsiteY101" fmla="*/ 190115 h 369314"/>
                <a:gd name="connsiteX102" fmla="*/ 3584 w 397335"/>
                <a:gd name="connsiteY102" fmla="*/ 194351 h 369314"/>
                <a:gd name="connsiteX103" fmla="*/ 9612 w 397335"/>
                <a:gd name="connsiteY103" fmla="*/ 202170 h 369314"/>
                <a:gd name="connsiteX104" fmla="*/ 14499 w 397335"/>
                <a:gd name="connsiteY104" fmla="*/ 212271 h 369314"/>
                <a:gd name="connsiteX105" fmla="*/ 16128 w 397335"/>
                <a:gd name="connsiteY105" fmla="*/ 213574 h 369314"/>
                <a:gd name="connsiteX106" fmla="*/ 17594 w 397335"/>
                <a:gd name="connsiteY106" fmla="*/ 220090 h 369314"/>
                <a:gd name="connsiteX107" fmla="*/ 16617 w 397335"/>
                <a:gd name="connsiteY107" fmla="*/ 223349 h 369314"/>
                <a:gd name="connsiteX108" fmla="*/ 17268 w 397335"/>
                <a:gd name="connsiteY108" fmla="*/ 230516 h 369314"/>
                <a:gd name="connsiteX109" fmla="*/ 20364 w 397335"/>
                <a:gd name="connsiteY109" fmla="*/ 234100 h 369314"/>
                <a:gd name="connsiteX110" fmla="*/ 21504 w 397335"/>
                <a:gd name="connsiteY110" fmla="*/ 238662 h 369314"/>
                <a:gd name="connsiteX111" fmla="*/ 24111 w 397335"/>
                <a:gd name="connsiteY111" fmla="*/ 241268 h 369314"/>
                <a:gd name="connsiteX112" fmla="*/ 34537 w 397335"/>
                <a:gd name="connsiteY112" fmla="*/ 241268 h 369314"/>
                <a:gd name="connsiteX113" fmla="*/ 43986 w 397335"/>
                <a:gd name="connsiteY113" fmla="*/ 242083 h 369314"/>
                <a:gd name="connsiteX114" fmla="*/ 48384 w 397335"/>
                <a:gd name="connsiteY114" fmla="*/ 245015 h 369314"/>
                <a:gd name="connsiteX115" fmla="*/ 51805 w 397335"/>
                <a:gd name="connsiteY115" fmla="*/ 250554 h 369314"/>
                <a:gd name="connsiteX116" fmla="*/ 56856 w 397335"/>
                <a:gd name="connsiteY116" fmla="*/ 261143 h 369314"/>
                <a:gd name="connsiteX117" fmla="*/ 59625 w 397335"/>
                <a:gd name="connsiteY117" fmla="*/ 263587 h 369314"/>
                <a:gd name="connsiteX118" fmla="*/ 62720 w 397335"/>
                <a:gd name="connsiteY118" fmla="*/ 267334 h 369314"/>
                <a:gd name="connsiteX119" fmla="*/ 65815 w 397335"/>
                <a:gd name="connsiteY119" fmla="*/ 270429 h 369314"/>
                <a:gd name="connsiteX120" fmla="*/ 110779 w 397335"/>
                <a:gd name="connsiteY120" fmla="*/ 281507 h 369314"/>
                <a:gd name="connsiteX121" fmla="*/ 114851 w 397335"/>
                <a:gd name="connsiteY121" fmla="*/ 285906 h 369314"/>
                <a:gd name="connsiteX122" fmla="*/ 166656 w 397335"/>
                <a:gd name="connsiteY122" fmla="*/ 264401 h 369314"/>
                <a:gd name="connsiteX123" fmla="*/ 372736 w 397335"/>
                <a:gd name="connsiteY123" fmla="*/ 369315 h 369314"/>
                <a:gd name="connsiteX124" fmla="*/ 372736 w 397335"/>
                <a:gd name="connsiteY124" fmla="*/ 369315 h 369314"/>
                <a:gd name="connsiteX125" fmla="*/ 372899 w 397335"/>
                <a:gd name="connsiteY125" fmla="*/ 369152 h 3693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</a:cxnLst>
              <a:rect l="l" t="t" r="r" b="b"/>
              <a:pathLst>
                <a:path w="397335" h="369314">
                  <a:moveTo>
                    <a:pt x="372899" y="369152"/>
                  </a:moveTo>
                  <a:lnTo>
                    <a:pt x="372899" y="359866"/>
                  </a:lnTo>
                  <a:lnTo>
                    <a:pt x="397336" y="357586"/>
                  </a:lnTo>
                  <a:lnTo>
                    <a:pt x="386421" y="104588"/>
                  </a:lnTo>
                  <a:lnTo>
                    <a:pt x="383651" y="91718"/>
                  </a:lnTo>
                  <a:lnTo>
                    <a:pt x="380393" y="84713"/>
                  </a:lnTo>
                  <a:lnTo>
                    <a:pt x="383488" y="76567"/>
                  </a:lnTo>
                  <a:lnTo>
                    <a:pt x="387072" y="67770"/>
                  </a:lnTo>
                  <a:lnTo>
                    <a:pt x="387072" y="62068"/>
                  </a:lnTo>
                  <a:lnTo>
                    <a:pt x="384140" y="55226"/>
                  </a:lnTo>
                  <a:lnTo>
                    <a:pt x="386421" y="44474"/>
                  </a:lnTo>
                  <a:lnTo>
                    <a:pt x="388050" y="40239"/>
                  </a:lnTo>
                  <a:lnTo>
                    <a:pt x="385769" y="33071"/>
                  </a:lnTo>
                  <a:lnTo>
                    <a:pt x="382022" y="28998"/>
                  </a:lnTo>
                  <a:lnTo>
                    <a:pt x="377461" y="28183"/>
                  </a:lnTo>
                  <a:lnTo>
                    <a:pt x="372736" y="28998"/>
                  </a:lnTo>
                  <a:lnTo>
                    <a:pt x="355468" y="26880"/>
                  </a:lnTo>
                  <a:lnTo>
                    <a:pt x="352047" y="23785"/>
                  </a:lnTo>
                  <a:lnTo>
                    <a:pt x="345205" y="23133"/>
                  </a:lnTo>
                  <a:lnTo>
                    <a:pt x="336245" y="20690"/>
                  </a:lnTo>
                  <a:lnTo>
                    <a:pt x="334290" y="17757"/>
                  </a:lnTo>
                  <a:lnTo>
                    <a:pt x="336245" y="16943"/>
                  </a:lnTo>
                  <a:lnTo>
                    <a:pt x="335919" y="13847"/>
                  </a:lnTo>
                  <a:lnTo>
                    <a:pt x="325167" y="7983"/>
                  </a:lnTo>
                  <a:lnTo>
                    <a:pt x="319628" y="7983"/>
                  </a:lnTo>
                  <a:lnTo>
                    <a:pt x="310668" y="5539"/>
                  </a:lnTo>
                  <a:lnTo>
                    <a:pt x="308550" y="4399"/>
                  </a:lnTo>
                  <a:lnTo>
                    <a:pt x="305781" y="6842"/>
                  </a:lnTo>
                  <a:lnTo>
                    <a:pt x="300405" y="4073"/>
                  </a:lnTo>
                  <a:lnTo>
                    <a:pt x="298450" y="4073"/>
                  </a:lnTo>
                  <a:lnTo>
                    <a:pt x="290467" y="8145"/>
                  </a:lnTo>
                  <a:lnTo>
                    <a:pt x="277923" y="9286"/>
                  </a:lnTo>
                  <a:lnTo>
                    <a:pt x="267171" y="14499"/>
                  </a:lnTo>
                  <a:lnTo>
                    <a:pt x="260981" y="20526"/>
                  </a:lnTo>
                  <a:lnTo>
                    <a:pt x="259352" y="27532"/>
                  </a:lnTo>
                  <a:lnTo>
                    <a:pt x="256093" y="29975"/>
                  </a:lnTo>
                  <a:lnTo>
                    <a:pt x="255279" y="43171"/>
                  </a:lnTo>
                  <a:lnTo>
                    <a:pt x="260003" y="50339"/>
                  </a:lnTo>
                  <a:lnTo>
                    <a:pt x="263099" y="60602"/>
                  </a:lnTo>
                  <a:lnTo>
                    <a:pt x="260981" y="66304"/>
                  </a:lnTo>
                  <a:lnTo>
                    <a:pt x="254301" y="73146"/>
                  </a:lnTo>
                  <a:lnTo>
                    <a:pt x="253487" y="75427"/>
                  </a:lnTo>
                  <a:lnTo>
                    <a:pt x="244690" y="82758"/>
                  </a:lnTo>
                  <a:lnTo>
                    <a:pt x="239477" y="84876"/>
                  </a:lnTo>
                  <a:lnTo>
                    <a:pt x="228236" y="80477"/>
                  </a:lnTo>
                  <a:lnTo>
                    <a:pt x="218461" y="72332"/>
                  </a:lnTo>
                  <a:lnTo>
                    <a:pt x="210642" y="65978"/>
                  </a:lnTo>
                  <a:lnTo>
                    <a:pt x="198912" y="59951"/>
                  </a:lnTo>
                  <a:lnTo>
                    <a:pt x="179852" y="51968"/>
                  </a:lnTo>
                  <a:lnTo>
                    <a:pt x="171543" y="50991"/>
                  </a:lnTo>
                  <a:lnTo>
                    <a:pt x="168937" y="52620"/>
                  </a:lnTo>
                  <a:lnTo>
                    <a:pt x="158999" y="52620"/>
                  </a:lnTo>
                  <a:lnTo>
                    <a:pt x="150528" y="48384"/>
                  </a:lnTo>
                  <a:lnTo>
                    <a:pt x="142546" y="33071"/>
                  </a:lnTo>
                  <a:lnTo>
                    <a:pt x="142709" y="25088"/>
                  </a:lnTo>
                  <a:lnTo>
                    <a:pt x="136355" y="16617"/>
                  </a:lnTo>
                  <a:lnTo>
                    <a:pt x="119901" y="14336"/>
                  </a:lnTo>
                  <a:lnTo>
                    <a:pt x="111267" y="8634"/>
                  </a:lnTo>
                  <a:lnTo>
                    <a:pt x="97094" y="8308"/>
                  </a:lnTo>
                  <a:lnTo>
                    <a:pt x="89274" y="5213"/>
                  </a:lnTo>
                  <a:lnTo>
                    <a:pt x="71191" y="8471"/>
                  </a:lnTo>
                  <a:lnTo>
                    <a:pt x="58647" y="5865"/>
                  </a:lnTo>
                  <a:lnTo>
                    <a:pt x="53760" y="1140"/>
                  </a:lnTo>
                  <a:lnTo>
                    <a:pt x="47895" y="0"/>
                  </a:lnTo>
                  <a:lnTo>
                    <a:pt x="47081" y="2281"/>
                  </a:lnTo>
                  <a:lnTo>
                    <a:pt x="48873" y="12055"/>
                  </a:lnTo>
                  <a:lnTo>
                    <a:pt x="50828" y="14010"/>
                  </a:lnTo>
                  <a:lnTo>
                    <a:pt x="45126" y="22644"/>
                  </a:lnTo>
                  <a:lnTo>
                    <a:pt x="30301" y="31930"/>
                  </a:lnTo>
                  <a:lnTo>
                    <a:pt x="30301" y="35351"/>
                  </a:lnTo>
                  <a:lnTo>
                    <a:pt x="25740" y="41216"/>
                  </a:lnTo>
                  <a:lnTo>
                    <a:pt x="19875" y="41053"/>
                  </a:lnTo>
                  <a:lnTo>
                    <a:pt x="16128" y="43660"/>
                  </a:lnTo>
                  <a:lnTo>
                    <a:pt x="15802" y="46429"/>
                  </a:lnTo>
                  <a:lnTo>
                    <a:pt x="14825" y="49850"/>
                  </a:lnTo>
                  <a:lnTo>
                    <a:pt x="17431" y="57996"/>
                  </a:lnTo>
                  <a:lnTo>
                    <a:pt x="18083" y="64023"/>
                  </a:lnTo>
                  <a:lnTo>
                    <a:pt x="16617" y="65652"/>
                  </a:lnTo>
                  <a:lnTo>
                    <a:pt x="16780" y="67933"/>
                  </a:lnTo>
                  <a:lnTo>
                    <a:pt x="15151" y="69888"/>
                  </a:lnTo>
                  <a:lnTo>
                    <a:pt x="12381" y="74775"/>
                  </a:lnTo>
                  <a:lnTo>
                    <a:pt x="8472" y="77219"/>
                  </a:lnTo>
                  <a:lnTo>
                    <a:pt x="6842" y="78522"/>
                  </a:lnTo>
                  <a:lnTo>
                    <a:pt x="3747" y="78522"/>
                  </a:lnTo>
                  <a:lnTo>
                    <a:pt x="3747" y="78685"/>
                  </a:lnTo>
                  <a:lnTo>
                    <a:pt x="1629" y="80803"/>
                  </a:lnTo>
                  <a:lnTo>
                    <a:pt x="1629" y="89274"/>
                  </a:lnTo>
                  <a:lnTo>
                    <a:pt x="4073" y="91066"/>
                  </a:lnTo>
                  <a:lnTo>
                    <a:pt x="7331" y="97257"/>
                  </a:lnTo>
                  <a:lnTo>
                    <a:pt x="7331" y="114036"/>
                  </a:lnTo>
                  <a:lnTo>
                    <a:pt x="8145" y="123322"/>
                  </a:lnTo>
                  <a:lnTo>
                    <a:pt x="7657" y="125929"/>
                  </a:lnTo>
                  <a:lnTo>
                    <a:pt x="8797" y="138961"/>
                  </a:lnTo>
                  <a:lnTo>
                    <a:pt x="12056" y="146618"/>
                  </a:lnTo>
                  <a:lnTo>
                    <a:pt x="9612" y="160628"/>
                  </a:lnTo>
                  <a:lnTo>
                    <a:pt x="8634" y="162909"/>
                  </a:lnTo>
                  <a:lnTo>
                    <a:pt x="11078" y="169100"/>
                  </a:lnTo>
                  <a:lnTo>
                    <a:pt x="12056" y="178060"/>
                  </a:lnTo>
                  <a:lnTo>
                    <a:pt x="9612" y="181481"/>
                  </a:lnTo>
                  <a:lnTo>
                    <a:pt x="3910" y="185716"/>
                  </a:lnTo>
                  <a:lnTo>
                    <a:pt x="1955" y="188649"/>
                  </a:lnTo>
                  <a:lnTo>
                    <a:pt x="0" y="190115"/>
                  </a:lnTo>
                  <a:lnTo>
                    <a:pt x="3584" y="194351"/>
                  </a:lnTo>
                  <a:lnTo>
                    <a:pt x="9612" y="202170"/>
                  </a:lnTo>
                  <a:lnTo>
                    <a:pt x="14499" y="212271"/>
                  </a:lnTo>
                  <a:lnTo>
                    <a:pt x="16128" y="213574"/>
                  </a:lnTo>
                  <a:lnTo>
                    <a:pt x="17594" y="220090"/>
                  </a:lnTo>
                  <a:lnTo>
                    <a:pt x="16617" y="223349"/>
                  </a:lnTo>
                  <a:lnTo>
                    <a:pt x="17268" y="230516"/>
                  </a:lnTo>
                  <a:lnTo>
                    <a:pt x="20364" y="234100"/>
                  </a:lnTo>
                  <a:lnTo>
                    <a:pt x="21504" y="238662"/>
                  </a:lnTo>
                  <a:lnTo>
                    <a:pt x="24111" y="241268"/>
                  </a:lnTo>
                  <a:lnTo>
                    <a:pt x="34537" y="241268"/>
                  </a:lnTo>
                  <a:lnTo>
                    <a:pt x="43986" y="242083"/>
                  </a:lnTo>
                  <a:lnTo>
                    <a:pt x="48384" y="245015"/>
                  </a:lnTo>
                  <a:lnTo>
                    <a:pt x="51805" y="250554"/>
                  </a:lnTo>
                  <a:lnTo>
                    <a:pt x="56856" y="261143"/>
                  </a:lnTo>
                  <a:lnTo>
                    <a:pt x="59625" y="263587"/>
                  </a:lnTo>
                  <a:lnTo>
                    <a:pt x="62720" y="267334"/>
                  </a:lnTo>
                  <a:lnTo>
                    <a:pt x="65815" y="270429"/>
                  </a:lnTo>
                  <a:lnTo>
                    <a:pt x="110779" y="281507"/>
                  </a:lnTo>
                  <a:lnTo>
                    <a:pt x="114851" y="285906"/>
                  </a:lnTo>
                  <a:lnTo>
                    <a:pt x="166656" y="264401"/>
                  </a:lnTo>
                  <a:lnTo>
                    <a:pt x="372736" y="369315"/>
                  </a:lnTo>
                  <a:lnTo>
                    <a:pt x="372736" y="369315"/>
                  </a:lnTo>
                  <a:lnTo>
                    <a:pt x="372899" y="369152"/>
                  </a:lnTo>
                  <a:close/>
                </a:path>
              </a:pathLst>
            </a:custGeom>
            <a:solidFill>
              <a:schemeClr val="bg2"/>
            </a:solidFill>
            <a:ln w="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0" name="Forma livre: Forma 99">
              <a:extLst>
                <a:ext uri="{FF2B5EF4-FFF2-40B4-BE49-F238E27FC236}">
                  <a16:creationId xmlns:a16="http://schemas.microsoft.com/office/drawing/2014/main" id="{8A1A04C8-D9F6-AA16-9095-207269670936}"/>
                </a:ext>
              </a:extLst>
            </p:cNvPr>
            <p:cNvSpPr/>
            <p:nvPr/>
          </p:nvSpPr>
          <p:spPr>
            <a:xfrm>
              <a:off x="6176440" y="3924880"/>
              <a:ext cx="103704" cy="205555"/>
            </a:xfrm>
            <a:custGeom>
              <a:avLst/>
              <a:gdLst>
                <a:gd name="connsiteX0" fmla="*/ 53434 w 100352"/>
                <a:gd name="connsiteY0" fmla="*/ 198586 h 198911"/>
                <a:gd name="connsiteX1" fmla="*/ 56529 w 100352"/>
                <a:gd name="connsiteY1" fmla="*/ 198586 h 198911"/>
                <a:gd name="connsiteX2" fmla="*/ 57996 w 100352"/>
                <a:gd name="connsiteY2" fmla="*/ 197283 h 198911"/>
                <a:gd name="connsiteX3" fmla="*/ 61905 w 100352"/>
                <a:gd name="connsiteY3" fmla="*/ 194839 h 198911"/>
                <a:gd name="connsiteX4" fmla="*/ 64675 w 100352"/>
                <a:gd name="connsiteY4" fmla="*/ 190115 h 198911"/>
                <a:gd name="connsiteX5" fmla="*/ 66141 w 100352"/>
                <a:gd name="connsiteY5" fmla="*/ 188160 h 198911"/>
                <a:gd name="connsiteX6" fmla="*/ 66141 w 100352"/>
                <a:gd name="connsiteY6" fmla="*/ 185879 h 198911"/>
                <a:gd name="connsiteX7" fmla="*/ 67444 w 100352"/>
                <a:gd name="connsiteY7" fmla="*/ 184250 h 198911"/>
                <a:gd name="connsiteX8" fmla="*/ 66793 w 100352"/>
                <a:gd name="connsiteY8" fmla="*/ 178060 h 198911"/>
                <a:gd name="connsiteX9" fmla="*/ 64349 w 100352"/>
                <a:gd name="connsiteY9" fmla="*/ 170077 h 198911"/>
                <a:gd name="connsiteX10" fmla="*/ 65327 w 100352"/>
                <a:gd name="connsiteY10" fmla="*/ 166656 h 198911"/>
                <a:gd name="connsiteX11" fmla="*/ 65327 w 100352"/>
                <a:gd name="connsiteY11" fmla="*/ 163887 h 198911"/>
                <a:gd name="connsiteX12" fmla="*/ 69236 w 100352"/>
                <a:gd name="connsiteY12" fmla="*/ 161117 h 198911"/>
                <a:gd name="connsiteX13" fmla="*/ 75101 w 100352"/>
                <a:gd name="connsiteY13" fmla="*/ 161443 h 198911"/>
                <a:gd name="connsiteX14" fmla="*/ 79825 w 100352"/>
                <a:gd name="connsiteY14" fmla="*/ 155578 h 198911"/>
                <a:gd name="connsiteX15" fmla="*/ 79825 w 100352"/>
                <a:gd name="connsiteY15" fmla="*/ 152157 h 198911"/>
                <a:gd name="connsiteX16" fmla="*/ 94650 w 100352"/>
                <a:gd name="connsiteY16" fmla="*/ 142871 h 198911"/>
                <a:gd name="connsiteX17" fmla="*/ 100352 w 100352"/>
                <a:gd name="connsiteY17" fmla="*/ 134237 h 198911"/>
                <a:gd name="connsiteX18" fmla="*/ 98397 w 100352"/>
                <a:gd name="connsiteY18" fmla="*/ 132282 h 198911"/>
                <a:gd name="connsiteX19" fmla="*/ 96605 w 100352"/>
                <a:gd name="connsiteY19" fmla="*/ 122508 h 198911"/>
                <a:gd name="connsiteX20" fmla="*/ 97420 w 100352"/>
                <a:gd name="connsiteY20" fmla="*/ 120390 h 198911"/>
                <a:gd name="connsiteX21" fmla="*/ 94325 w 100352"/>
                <a:gd name="connsiteY21" fmla="*/ 119738 h 198911"/>
                <a:gd name="connsiteX22" fmla="*/ 86830 w 100352"/>
                <a:gd name="connsiteY22" fmla="*/ 115177 h 198911"/>
                <a:gd name="connsiteX23" fmla="*/ 86016 w 100352"/>
                <a:gd name="connsiteY23" fmla="*/ 112407 h 198911"/>
                <a:gd name="connsiteX24" fmla="*/ 86016 w 100352"/>
                <a:gd name="connsiteY24" fmla="*/ 108660 h 198911"/>
                <a:gd name="connsiteX25" fmla="*/ 81943 w 100352"/>
                <a:gd name="connsiteY25" fmla="*/ 106542 h 198911"/>
                <a:gd name="connsiteX26" fmla="*/ 80477 w 100352"/>
                <a:gd name="connsiteY26" fmla="*/ 107683 h 198911"/>
                <a:gd name="connsiteX27" fmla="*/ 80803 w 100352"/>
                <a:gd name="connsiteY27" fmla="*/ 109638 h 198911"/>
                <a:gd name="connsiteX28" fmla="*/ 78848 w 100352"/>
                <a:gd name="connsiteY28" fmla="*/ 111267 h 198911"/>
                <a:gd name="connsiteX29" fmla="*/ 75427 w 100352"/>
                <a:gd name="connsiteY29" fmla="*/ 109638 h 198911"/>
                <a:gd name="connsiteX30" fmla="*/ 74287 w 100352"/>
                <a:gd name="connsiteY30" fmla="*/ 105728 h 198911"/>
                <a:gd name="connsiteX31" fmla="*/ 70539 w 100352"/>
                <a:gd name="connsiteY31" fmla="*/ 106542 h 198911"/>
                <a:gd name="connsiteX32" fmla="*/ 62394 w 100352"/>
                <a:gd name="connsiteY32" fmla="*/ 101004 h 198911"/>
                <a:gd name="connsiteX33" fmla="*/ 58321 w 100352"/>
                <a:gd name="connsiteY33" fmla="*/ 93673 h 198911"/>
                <a:gd name="connsiteX34" fmla="*/ 60765 w 100352"/>
                <a:gd name="connsiteY34" fmla="*/ 86179 h 198911"/>
                <a:gd name="connsiteX35" fmla="*/ 73472 w 100352"/>
                <a:gd name="connsiteY35" fmla="*/ 77219 h 198911"/>
                <a:gd name="connsiteX36" fmla="*/ 80803 w 100352"/>
                <a:gd name="connsiteY36" fmla="*/ 69888 h 198911"/>
                <a:gd name="connsiteX37" fmla="*/ 82758 w 100352"/>
                <a:gd name="connsiteY37" fmla="*/ 67607 h 198911"/>
                <a:gd name="connsiteX38" fmla="*/ 80640 w 100352"/>
                <a:gd name="connsiteY38" fmla="*/ 64675 h 198911"/>
                <a:gd name="connsiteX39" fmla="*/ 83409 w 100352"/>
                <a:gd name="connsiteY39" fmla="*/ 61742 h 198911"/>
                <a:gd name="connsiteX40" fmla="*/ 82432 w 100352"/>
                <a:gd name="connsiteY40" fmla="*/ 57996 h 198911"/>
                <a:gd name="connsiteX41" fmla="*/ 80477 w 100352"/>
                <a:gd name="connsiteY41" fmla="*/ 56692 h 198911"/>
                <a:gd name="connsiteX42" fmla="*/ 80477 w 100352"/>
                <a:gd name="connsiteY42" fmla="*/ 48384 h 198911"/>
                <a:gd name="connsiteX43" fmla="*/ 73146 w 100352"/>
                <a:gd name="connsiteY43" fmla="*/ 45452 h 198911"/>
                <a:gd name="connsiteX44" fmla="*/ 66955 w 100352"/>
                <a:gd name="connsiteY44" fmla="*/ 37143 h 198911"/>
                <a:gd name="connsiteX45" fmla="*/ 68096 w 100352"/>
                <a:gd name="connsiteY45" fmla="*/ 30301 h 198911"/>
                <a:gd name="connsiteX46" fmla="*/ 74287 w 100352"/>
                <a:gd name="connsiteY46" fmla="*/ 26065 h 198911"/>
                <a:gd name="connsiteX47" fmla="*/ 74612 w 100352"/>
                <a:gd name="connsiteY47" fmla="*/ 21341 h 198911"/>
                <a:gd name="connsiteX48" fmla="*/ 79662 w 100352"/>
                <a:gd name="connsiteY48" fmla="*/ 13847 h 198911"/>
                <a:gd name="connsiteX49" fmla="*/ 79662 w 100352"/>
                <a:gd name="connsiteY49" fmla="*/ 8797 h 198911"/>
                <a:gd name="connsiteX50" fmla="*/ 77382 w 100352"/>
                <a:gd name="connsiteY50" fmla="*/ 7005 h 198911"/>
                <a:gd name="connsiteX51" fmla="*/ 68259 w 100352"/>
                <a:gd name="connsiteY51" fmla="*/ 15313 h 198911"/>
                <a:gd name="connsiteX52" fmla="*/ 65164 w 100352"/>
                <a:gd name="connsiteY52" fmla="*/ 18572 h 198911"/>
                <a:gd name="connsiteX53" fmla="*/ 62720 w 100352"/>
                <a:gd name="connsiteY53" fmla="*/ 16942 h 198911"/>
                <a:gd name="connsiteX54" fmla="*/ 58810 w 100352"/>
                <a:gd name="connsiteY54" fmla="*/ 8308 h 198911"/>
                <a:gd name="connsiteX55" fmla="*/ 56366 w 100352"/>
                <a:gd name="connsiteY55" fmla="*/ 7331 h 198911"/>
                <a:gd name="connsiteX56" fmla="*/ 57018 w 100352"/>
                <a:gd name="connsiteY56" fmla="*/ 2932 h 198911"/>
                <a:gd name="connsiteX57" fmla="*/ 53760 w 100352"/>
                <a:gd name="connsiteY57" fmla="*/ 0 h 198911"/>
                <a:gd name="connsiteX58" fmla="*/ 48221 w 100352"/>
                <a:gd name="connsiteY58" fmla="*/ 1140 h 198911"/>
                <a:gd name="connsiteX59" fmla="*/ 48221 w 100352"/>
                <a:gd name="connsiteY59" fmla="*/ 4398 h 198911"/>
                <a:gd name="connsiteX60" fmla="*/ 45289 w 100352"/>
                <a:gd name="connsiteY60" fmla="*/ 652 h 198911"/>
                <a:gd name="connsiteX61" fmla="*/ 38446 w 100352"/>
                <a:gd name="connsiteY61" fmla="*/ 1955 h 198911"/>
                <a:gd name="connsiteX62" fmla="*/ 29161 w 100352"/>
                <a:gd name="connsiteY62" fmla="*/ 6679 h 198911"/>
                <a:gd name="connsiteX63" fmla="*/ 22644 w 100352"/>
                <a:gd name="connsiteY63" fmla="*/ 12544 h 198911"/>
                <a:gd name="connsiteX64" fmla="*/ 22644 w 100352"/>
                <a:gd name="connsiteY64" fmla="*/ 12544 h 198911"/>
                <a:gd name="connsiteX65" fmla="*/ 21830 w 100352"/>
                <a:gd name="connsiteY65" fmla="*/ 16128 h 198911"/>
                <a:gd name="connsiteX66" fmla="*/ 22807 w 100352"/>
                <a:gd name="connsiteY66" fmla="*/ 19060 h 198911"/>
                <a:gd name="connsiteX67" fmla="*/ 21830 w 100352"/>
                <a:gd name="connsiteY67" fmla="*/ 26880 h 198911"/>
                <a:gd name="connsiteX68" fmla="*/ 21830 w 100352"/>
                <a:gd name="connsiteY68" fmla="*/ 35025 h 198911"/>
                <a:gd name="connsiteX69" fmla="*/ 17431 w 100352"/>
                <a:gd name="connsiteY69" fmla="*/ 46755 h 198911"/>
                <a:gd name="connsiteX70" fmla="*/ 19060 w 100352"/>
                <a:gd name="connsiteY70" fmla="*/ 53597 h 198911"/>
                <a:gd name="connsiteX71" fmla="*/ 22318 w 100352"/>
                <a:gd name="connsiteY71" fmla="*/ 57344 h 198911"/>
                <a:gd name="connsiteX72" fmla="*/ 22644 w 100352"/>
                <a:gd name="connsiteY72" fmla="*/ 58973 h 198911"/>
                <a:gd name="connsiteX73" fmla="*/ 20527 w 100352"/>
                <a:gd name="connsiteY73" fmla="*/ 60928 h 198911"/>
                <a:gd name="connsiteX74" fmla="*/ 18246 w 100352"/>
                <a:gd name="connsiteY74" fmla="*/ 64675 h 198911"/>
                <a:gd name="connsiteX75" fmla="*/ 21667 w 100352"/>
                <a:gd name="connsiteY75" fmla="*/ 68096 h 198911"/>
                <a:gd name="connsiteX76" fmla="*/ 19223 w 100352"/>
                <a:gd name="connsiteY76" fmla="*/ 70865 h 198911"/>
                <a:gd name="connsiteX77" fmla="*/ 17594 w 100352"/>
                <a:gd name="connsiteY77" fmla="*/ 79825 h 198911"/>
                <a:gd name="connsiteX78" fmla="*/ 14825 w 100352"/>
                <a:gd name="connsiteY78" fmla="*/ 81943 h 198911"/>
                <a:gd name="connsiteX79" fmla="*/ 12544 w 100352"/>
                <a:gd name="connsiteY79" fmla="*/ 85201 h 198911"/>
                <a:gd name="connsiteX80" fmla="*/ 8797 w 100352"/>
                <a:gd name="connsiteY80" fmla="*/ 86342 h 198911"/>
                <a:gd name="connsiteX81" fmla="*/ 3095 w 100352"/>
                <a:gd name="connsiteY81" fmla="*/ 93184 h 198911"/>
                <a:gd name="connsiteX82" fmla="*/ 0 w 100352"/>
                <a:gd name="connsiteY82" fmla="*/ 105565 h 198911"/>
                <a:gd name="connsiteX83" fmla="*/ 1792 w 100352"/>
                <a:gd name="connsiteY83" fmla="*/ 106706 h 198911"/>
                <a:gd name="connsiteX84" fmla="*/ 4887 w 100352"/>
                <a:gd name="connsiteY84" fmla="*/ 113385 h 198911"/>
                <a:gd name="connsiteX85" fmla="*/ 3747 w 100352"/>
                <a:gd name="connsiteY85" fmla="*/ 116317 h 198911"/>
                <a:gd name="connsiteX86" fmla="*/ 7005 w 100352"/>
                <a:gd name="connsiteY86" fmla="*/ 121204 h 198911"/>
                <a:gd name="connsiteX87" fmla="*/ 9612 w 100352"/>
                <a:gd name="connsiteY87" fmla="*/ 122019 h 198911"/>
                <a:gd name="connsiteX88" fmla="*/ 16943 w 100352"/>
                <a:gd name="connsiteY88" fmla="*/ 128372 h 198911"/>
                <a:gd name="connsiteX89" fmla="*/ 18734 w 100352"/>
                <a:gd name="connsiteY89" fmla="*/ 134726 h 198911"/>
                <a:gd name="connsiteX90" fmla="*/ 24599 w 100352"/>
                <a:gd name="connsiteY90" fmla="*/ 137169 h 198911"/>
                <a:gd name="connsiteX91" fmla="*/ 27043 w 100352"/>
                <a:gd name="connsiteY91" fmla="*/ 139776 h 198911"/>
                <a:gd name="connsiteX92" fmla="*/ 31116 w 100352"/>
                <a:gd name="connsiteY92" fmla="*/ 140753 h 198911"/>
                <a:gd name="connsiteX93" fmla="*/ 37469 w 100352"/>
                <a:gd name="connsiteY93" fmla="*/ 147758 h 198911"/>
                <a:gd name="connsiteX94" fmla="*/ 53271 w 100352"/>
                <a:gd name="connsiteY94" fmla="*/ 198912 h 198911"/>
                <a:gd name="connsiteX95" fmla="*/ 53271 w 100352"/>
                <a:gd name="connsiteY95" fmla="*/ 198912 h 198911"/>
                <a:gd name="connsiteX96" fmla="*/ 76078 w 100352"/>
                <a:gd name="connsiteY96" fmla="*/ 102144 h 198911"/>
                <a:gd name="connsiteX97" fmla="*/ 76893 w 100352"/>
                <a:gd name="connsiteY97" fmla="*/ 100189 h 198911"/>
                <a:gd name="connsiteX98" fmla="*/ 81618 w 100352"/>
                <a:gd name="connsiteY98" fmla="*/ 100189 h 198911"/>
                <a:gd name="connsiteX99" fmla="*/ 83572 w 100352"/>
                <a:gd name="connsiteY99" fmla="*/ 102470 h 198911"/>
                <a:gd name="connsiteX100" fmla="*/ 80314 w 100352"/>
                <a:gd name="connsiteY100" fmla="*/ 105239 h 198911"/>
                <a:gd name="connsiteX101" fmla="*/ 76241 w 100352"/>
                <a:gd name="connsiteY101" fmla="*/ 102144 h 1989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</a:cxnLst>
              <a:rect l="l" t="t" r="r" b="b"/>
              <a:pathLst>
                <a:path w="100352" h="198911">
                  <a:moveTo>
                    <a:pt x="53434" y="198586"/>
                  </a:moveTo>
                  <a:lnTo>
                    <a:pt x="56529" y="198586"/>
                  </a:lnTo>
                  <a:lnTo>
                    <a:pt x="57996" y="197283"/>
                  </a:lnTo>
                  <a:lnTo>
                    <a:pt x="61905" y="194839"/>
                  </a:lnTo>
                  <a:lnTo>
                    <a:pt x="64675" y="190115"/>
                  </a:lnTo>
                  <a:lnTo>
                    <a:pt x="66141" y="188160"/>
                  </a:lnTo>
                  <a:lnTo>
                    <a:pt x="66141" y="185879"/>
                  </a:lnTo>
                  <a:cubicBezTo>
                    <a:pt x="66141" y="185879"/>
                    <a:pt x="67444" y="184250"/>
                    <a:pt x="67444" y="184250"/>
                  </a:cubicBezTo>
                  <a:lnTo>
                    <a:pt x="66793" y="178060"/>
                  </a:lnTo>
                  <a:lnTo>
                    <a:pt x="64349" y="170077"/>
                  </a:lnTo>
                  <a:lnTo>
                    <a:pt x="65327" y="166656"/>
                  </a:lnTo>
                  <a:lnTo>
                    <a:pt x="65327" y="163887"/>
                  </a:lnTo>
                  <a:cubicBezTo>
                    <a:pt x="65327" y="163887"/>
                    <a:pt x="69236" y="161117"/>
                    <a:pt x="69236" y="161117"/>
                  </a:cubicBezTo>
                  <a:lnTo>
                    <a:pt x="75101" y="161443"/>
                  </a:lnTo>
                  <a:lnTo>
                    <a:pt x="79825" y="155578"/>
                  </a:lnTo>
                  <a:lnTo>
                    <a:pt x="79825" y="152157"/>
                  </a:lnTo>
                  <a:lnTo>
                    <a:pt x="94650" y="142871"/>
                  </a:lnTo>
                  <a:lnTo>
                    <a:pt x="100352" y="134237"/>
                  </a:lnTo>
                  <a:lnTo>
                    <a:pt x="98397" y="132282"/>
                  </a:lnTo>
                  <a:lnTo>
                    <a:pt x="96605" y="122508"/>
                  </a:lnTo>
                  <a:lnTo>
                    <a:pt x="97420" y="120390"/>
                  </a:lnTo>
                  <a:lnTo>
                    <a:pt x="94325" y="119738"/>
                  </a:lnTo>
                  <a:lnTo>
                    <a:pt x="86830" y="115177"/>
                  </a:lnTo>
                  <a:lnTo>
                    <a:pt x="86016" y="112407"/>
                  </a:lnTo>
                  <a:lnTo>
                    <a:pt x="86016" y="108660"/>
                  </a:lnTo>
                  <a:cubicBezTo>
                    <a:pt x="86016" y="108660"/>
                    <a:pt x="81943" y="106542"/>
                    <a:pt x="81943" y="106542"/>
                  </a:cubicBezTo>
                  <a:lnTo>
                    <a:pt x="80477" y="107683"/>
                  </a:lnTo>
                  <a:lnTo>
                    <a:pt x="80803" y="109638"/>
                  </a:lnTo>
                  <a:lnTo>
                    <a:pt x="78848" y="111267"/>
                  </a:lnTo>
                  <a:lnTo>
                    <a:pt x="75427" y="109638"/>
                  </a:lnTo>
                  <a:lnTo>
                    <a:pt x="74287" y="105728"/>
                  </a:lnTo>
                  <a:lnTo>
                    <a:pt x="70539" y="106542"/>
                  </a:lnTo>
                  <a:lnTo>
                    <a:pt x="62394" y="101004"/>
                  </a:lnTo>
                  <a:lnTo>
                    <a:pt x="58321" y="93673"/>
                  </a:lnTo>
                  <a:lnTo>
                    <a:pt x="60765" y="86179"/>
                  </a:lnTo>
                  <a:lnTo>
                    <a:pt x="73472" y="77219"/>
                  </a:lnTo>
                  <a:lnTo>
                    <a:pt x="80803" y="69888"/>
                  </a:lnTo>
                  <a:lnTo>
                    <a:pt x="82758" y="67607"/>
                  </a:lnTo>
                  <a:lnTo>
                    <a:pt x="80640" y="64675"/>
                  </a:lnTo>
                  <a:lnTo>
                    <a:pt x="83409" y="61742"/>
                  </a:lnTo>
                  <a:lnTo>
                    <a:pt x="82432" y="57996"/>
                  </a:lnTo>
                  <a:lnTo>
                    <a:pt x="80477" y="56692"/>
                  </a:lnTo>
                  <a:lnTo>
                    <a:pt x="80477" y="48384"/>
                  </a:lnTo>
                  <a:cubicBezTo>
                    <a:pt x="80477" y="48384"/>
                    <a:pt x="73146" y="45452"/>
                    <a:pt x="73146" y="45452"/>
                  </a:cubicBezTo>
                  <a:lnTo>
                    <a:pt x="66955" y="37143"/>
                  </a:lnTo>
                  <a:lnTo>
                    <a:pt x="68096" y="30301"/>
                  </a:lnTo>
                  <a:lnTo>
                    <a:pt x="74287" y="26065"/>
                  </a:lnTo>
                  <a:lnTo>
                    <a:pt x="74612" y="21341"/>
                  </a:lnTo>
                  <a:lnTo>
                    <a:pt x="79662" y="13847"/>
                  </a:lnTo>
                  <a:lnTo>
                    <a:pt x="79662" y="8797"/>
                  </a:lnTo>
                  <a:lnTo>
                    <a:pt x="77382" y="7005"/>
                  </a:lnTo>
                  <a:lnTo>
                    <a:pt x="68259" y="15313"/>
                  </a:lnTo>
                  <a:lnTo>
                    <a:pt x="65164" y="18572"/>
                  </a:lnTo>
                  <a:lnTo>
                    <a:pt x="62720" y="16942"/>
                  </a:lnTo>
                  <a:lnTo>
                    <a:pt x="58810" y="8308"/>
                  </a:lnTo>
                  <a:lnTo>
                    <a:pt x="56366" y="7331"/>
                  </a:lnTo>
                  <a:lnTo>
                    <a:pt x="57018" y="2932"/>
                  </a:lnTo>
                  <a:lnTo>
                    <a:pt x="53760" y="0"/>
                  </a:lnTo>
                  <a:lnTo>
                    <a:pt x="48221" y="1140"/>
                  </a:lnTo>
                  <a:lnTo>
                    <a:pt x="48221" y="4398"/>
                  </a:lnTo>
                  <a:cubicBezTo>
                    <a:pt x="48221" y="4398"/>
                    <a:pt x="45289" y="652"/>
                    <a:pt x="45289" y="652"/>
                  </a:cubicBezTo>
                  <a:lnTo>
                    <a:pt x="38446" y="1955"/>
                  </a:lnTo>
                  <a:lnTo>
                    <a:pt x="29161" y="6679"/>
                  </a:lnTo>
                  <a:lnTo>
                    <a:pt x="22644" y="12544"/>
                  </a:lnTo>
                  <a:lnTo>
                    <a:pt x="22644" y="12544"/>
                  </a:lnTo>
                  <a:cubicBezTo>
                    <a:pt x="22644" y="12544"/>
                    <a:pt x="21830" y="16128"/>
                    <a:pt x="21830" y="16128"/>
                  </a:cubicBezTo>
                  <a:lnTo>
                    <a:pt x="22807" y="19060"/>
                  </a:lnTo>
                  <a:lnTo>
                    <a:pt x="21830" y="26880"/>
                  </a:lnTo>
                  <a:lnTo>
                    <a:pt x="21830" y="35025"/>
                  </a:lnTo>
                  <a:cubicBezTo>
                    <a:pt x="21830" y="35025"/>
                    <a:pt x="17431" y="46755"/>
                    <a:pt x="17431" y="46755"/>
                  </a:cubicBezTo>
                  <a:lnTo>
                    <a:pt x="19060" y="53597"/>
                  </a:lnTo>
                  <a:lnTo>
                    <a:pt x="22318" y="57344"/>
                  </a:lnTo>
                  <a:lnTo>
                    <a:pt x="22644" y="58973"/>
                  </a:lnTo>
                  <a:lnTo>
                    <a:pt x="20527" y="60928"/>
                  </a:lnTo>
                  <a:lnTo>
                    <a:pt x="18246" y="64675"/>
                  </a:lnTo>
                  <a:lnTo>
                    <a:pt x="21667" y="68096"/>
                  </a:lnTo>
                  <a:lnTo>
                    <a:pt x="19223" y="70865"/>
                  </a:lnTo>
                  <a:lnTo>
                    <a:pt x="17594" y="79825"/>
                  </a:lnTo>
                  <a:lnTo>
                    <a:pt x="14825" y="81943"/>
                  </a:lnTo>
                  <a:lnTo>
                    <a:pt x="12544" y="85201"/>
                  </a:lnTo>
                  <a:lnTo>
                    <a:pt x="8797" y="86342"/>
                  </a:lnTo>
                  <a:lnTo>
                    <a:pt x="3095" y="93184"/>
                  </a:lnTo>
                  <a:lnTo>
                    <a:pt x="0" y="105565"/>
                  </a:lnTo>
                  <a:lnTo>
                    <a:pt x="1792" y="106706"/>
                  </a:lnTo>
                  <a:lnTo>
                    <a:pt x="4887" y="113385"/>
                  </a:lnTo>
                  <a:lnTo>
                    <a:pt x="3747" y="116317"/>
                  </a:lnTo>
                  <a:lnTo>
                    <a:pt x="7005" y="121204"/>
                  </a:lnTo>
                  <a:lnTo>
                    <a:pt x="9612" y="122019"/>
                  </a:lnTo>
                  <a:lnTo>
                    <a:pt x="16943" y="128372"/>
                  </a:lnTo>
                  <a:lnTo>
                    <a:pt x="18734" y="134726"/>
                  </a:lnTo>
                  <a:lnTo>
                    <a:pt x="24599" y="137169"/>
                  </a:lnTo>
                  <a:lnTo>
                    <a:pt x="27043" y="139776"/>
                  </a:lnTo>
                  <a:lnTo>
                    <a:pt x="31116" y="140753"/>
                  </a:lnTo>
                  <a:lnTo>
                    <a:pt x="37469" y="147758"/>
                  </a:lnTo>
                  <a:lnTo>
                    <a:pt x="53271" y="198912"/>
                  </a:lnTo>
                  <a:lnTo>
                    <a:pt x="53271" y="198912"/>
                  </a:lnTo>
                  <a:close/>
                  <a:moveTo>
                    <a:pt x="76078" y="102144"/>
                  </a:moveTo>
                  <a:lnTo>
                    <a:pt x="76893" y="100189"/>
                  </a:lnTo>
                  <a:lnTo>
                    <a:pt x="81618" y="100189"/>
                  </a:lnTo>
                  <a:lnTo>
                    <a:pt x="83572" y="102470"/>
                  </a:lnTo>
                  <a:lnTo>
                    <a:pt x="80314" y="105239"/>
                  </a:lnTo>
                  <a:lnTo>
                    <a:pt x="76241" y="102144"/>
                  </a:lnTo>
                  <a:close/>
                </a:path>
              </a:pathLst>
            </a:custGeom>
            <a:solidFill>
              <a:schemeClr val="bg2"/>
            </a:solidFill>
            <a:ln w="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1" name="Forma livre: Forma 100">
              <a:extLst>
                <a:ext uri="{FF2B5EF4-FFF2-40B4-BE49-F238E27FC236}">
                  <a16:creationId xmlns:a16="http://schemas.microsoft.com/office/drawing/2014/main" id="{7FA09D54-BA82-4091-4AD6-180E611CB006}"/>
                </a:ext>
              </a:extLst>
            </p:cNvPr>
            <p:cNvSpPr/>
            <p:nvPr/>
          </p:nvSpPr>
          <p:spPr>
            <a:xfrm>
              <a:off x="5765497" y="3931614"/>
              <a:ext cx="530303" cy="514479"/>
            </a:xfrm>
            <a:custGeom>
              <a:avLst/>
              <a:gdLst>
                <a:gd name="connsiteX0" fmla="*/ 513164 w 513163"/>
                <a:gd name="connsiteY0" fmla="*/ 383977 h 497850"/>
                <a:gd name="connsiteX1" fmla="*/ 510069 w 513163"/>
                <a:gd name="connsiteY1" fmla="*/ 380882 h 497850"/>
                <a:gd name="connsiteX2" fmla="*/ 506973 w 513163"/>
                <a:gd name="connsiteY2" fmla="*/ 377135 h 497850"/>
                <a:gd name="connsiteX3" fmla="*/ 504204 w 513163"/>
                <a:gd name="connsiteY3" fmla="*/ 374691 h 497850"/>
                <a:gd name="connsiteX4" fmla="*/ 499154 w 513163"/>
                <a:gd name="connsiteY4" fmla="*/ 364102 h 497850"/>
                <a:gd name="connsiteX5" fmla="*/ 495732 w 513163"/>
                <a:gd name="connsiteY5" fmla="*/ 358563 h 497850"/>
                <a:gd name="connsiteX6" fmla="*/ 491334 w 513163"/>
                <a:gd name="connsiteY6" fmla="*/ 355631 h 497850"/>
                <a:gd name="connsiteX7" fmla="*/ 481885 w 513163"/>
                <a:gd name="connsiteY7" fmla="*/ 354816 h 497850"/>
                <a:gd name="connsiteX8" fmla="*/ 471459 w 513163"/>
                <a:gd name="connsiteY8" fmla="*/ 354816 h 497850"/>
                <a:gd name="connsiteX9" fmla="*/ 468853 w 513163"/>
                <a:gd name="connsiteY9" fmla="*/ 352210 h 497850"/>
                <a:gd name="connsiteX10" fmla="*/ 467712 w 513163"/>
                <a:gd name="connsiteY10" fmla="*/ 347648 h 497850"/>
                <a:gd name="connsiteX11" fmla="*/ 464617 w 513163"/>
                <a:gd name="connsiteY11" fmla="*/ 344064 h 497850"/>
                <a:gd name="connsiteX12" fmla="*/ 463965 w 513163"/>
                <a:gd name="connsiteY12" fmla="*/ 336896 h 497850"/>
                <a:gd name="connsiteX13" fmla="*/ 464943 w 513163"/>
                <a:gd name="connsiteY13" fmla="*/ 333638 h 497850"/>
                <a:gd name="connsiteX14" fmla="*/ 463477 w 513163"/>
                <a:gd name="connsiteY14" fmla="*/ 327122 h 497850"/>
                <a:gd name="connsiteX15" fmla="*/ 461848 w 513163"/>
                <a:gd name="connsiteY15" fmla="*/ 325818 h 497850"/>
                <a:gd name="connsiteX16" fmla="*/ 456960 w 513163"/>
                <a:gd name="connsiteY16" fmla="*/ 315718 h 497850"/>
                <a:gd name="connsiteX17" fmla="*/ 450932 w 513163"/>
                <a:gd name="connsiteY17" fmla="*/ 307898 h 497850"/>
                <a:gd name="connsiteX18" fmla="*/ 447348 w 513163"/>
                <a:gd name="connsiteY18" fmla="*/ 303663 h 497850"/>
                <a:gd name="connsiteX19" fmla="*/ 449303 w 513163"/>
                <a:gd name="connsiteY19" fmla="*/ 302197 h 497850"/>
                <a:gd name="connsiteX20" fmla="*/ 451259 w 513163"/>
                <a:gd name="connsiteY20" fmla="*/ 299264 h 497850"/>
                <a:gd name="connsiteX21" fmla="*/ 456960 w 513163"/>
                <a:gd name="connsiteY21" fmla="*/ 295028 h 497850"/>
                <a:gd name="connsiteX22" fmla="*/ 459404 w 513163"/>
                <a:gd name="connsiteY22" fmla="*/ 291608 h 497850"/>
                <a:gd name="connsiteX23" fmla="*/ 458427 w 513163"/>
                <a:gd name="connsiteY23" fmla="*/ 282647 h 497850"/>
                <a:gd name="connsiteX24" fmla="*/ 455983 w 513163"/>
                <a:gd name="connsiteY24" fmla="*/ 276457 h 497850"/>
                <a:gd name="connsiteX25" fmla="*/ 456960 w 513163"/>
                <a:gd name="connsiteY25" fmla="*/ 274176 h 497850"/>
                <a:gd name="connsiteX26" fmla="*/ 459404 w 513163"/>
                <a:gd name="connsiteY26" fmla="*/ 260166 h 497850"/>
                <a:gd name="connsiteX27" fmla="*/ 456146 w 513163"/>
                <a:gd name="connsiteY27" fmla="*/ 252509 h 497850"/>
                <a:gd name="connsiteX28" fmla="*/ 455005 w 513163"/>
                <a:gd name="connsiteY28" fmla="*/ 239476 h 497850"/>
                <a:gd name="connsiteX29" fmla="*/ 455494 w 513163"/>
                <a:gd name="connsiteY29" fmla="*/ 236870 h 497850"/>
                <a:gd name="connsiteX30" fmla="*/ 454680 w 513163"/>
                <a:gd name="connsiteY30" fmla="*/ 227584 h 497850"/>
                <a:gd name="connsiteX31" fmla="*/ 454680 w 513163"/>
                <a:gd name="connsiteY31" fmla="*/ 210804 h 497850"/>
                <a:gd name="connsiteX32" fmla="*/ 451421 w 513163"/>
                <a:gd name="connsiteY32" fmla="*/ 204614 h 497850"/>
                <a:gd name="connsiteX33" fmla="*/ 448978 w 513163"/>
                <a:gd name="connsiteY33" fmla="*/ 202822 h 497850"/>
                <a:gd name="connsiteX34" fmla="*/ 448978 w 513163"/>
                <a:gd name="connsiteY34" fmla="*/ 194351 h 497850"/>
                <a:gd name="connsiteX35" fmla="*/ 451095 w 513163"/>
                <a:gd name="connsiteY35" fmla="*/ 192233 h 497850"/>
                <a:gd name="connsiteX36" fmla="*/ 435293 w 513163"/>
                <a:gd name="connsiteY36" fmla="*/ 141079 h 497850"/>
                <a:gd name="connsiteX37" fmla="*/ 428777 w 513163"/>
                <a:gd name="connsiteY37" fmla="*/ 133911 h 497850"/>
                <a:gd name="connsiteX38" fmla="*/ 424704 w 513163"/>
                <a:gd name="connsiteY38" fmla="*/ 132934 h 497850"/>
                <a:gd name="connsiteX39" fmla="*/ 422261 w 513163"/>
                <a:gd name="connsiteY39" fmla="*/ 130490 h 497850"/>
                <a:gd name="connsiteX40" fmla="*/ 416396 w 513163"/>
                <a:gd name="connsiteY40" fmla="*/ 127884 h 497850"/>
                <a:gd name="connsiteX41" fmla="*/ 414604 w 513163"/>
                <a:gd name="connsiteY41" fmla="*/ 121693 h 497850"/>
                <a:gd name="connsiteX42" fmla="*/ 407273 w 513163"/>
                <a:gd name="connsiteY42" fmla="*/ 115340 h 497850"/>
                <a:gd name="connsiteX43" fmla="*/ 404666 w 513163"/>
                <a:gd name="connsiteY43" fmla="*/ 114525 h 497850"/>
                <a:gd name="connsiteX44" fmla="*/ 401571 w 513163"/>
                <a:gd name="connsiteY44" fmla="*/ 109638 h 497850"/>
                <a:gd name="connsiteX45" fmla="*/ 402548 w 513163"/>
                <a:gd name="connsiteY45" fmla="*/ 106706 h 497850"/>
                <a:gd name="connsiteX46" fmla="*/ 399453 w 513163"/>
                <a:gd name="connsiteY46" fmla="*/ 100026 h 497850"/>
                <a:gd name="connsiteX47" fmla="*/ 397824 w 513163"/>
                <a:gd name="connsiteY47" fmla="*/ 99049 h 497850"/>
                <a:gd name="connsiteX48" fmla="*/ 400920 w 513163"/>
                <a:gd name="connsiteY48" fmla="*/ 86668 h 497850"/>
                <a:gd name="connsiteX49" fmla="*/ 406621 w 513163"/>
                <a:gd name="connsiteY49" fmla="*/ 79663 h 497850"/>
                <a:gd name="connsiteX50" fmla="*/ 410368 w 513163"/>
                <a:gd name="connsiteY50" fmla="*/ 78685 h 497850"/>
                <a:gd name="connsiteX51" fmla="*/ 412812 w 513163"/>
                <a:gd name="connsiteY51" fmla="*/ 75427 h 497850"/>
                <a:gd name="connsiteX52" fmla="*/ 415581 w 513163"/>
                <a:gd name="connsiteY52" fmla="*/ 73309 h 497850"/>
                <a:gd name="connsiteX53" fmla="*/ 417211 w 513163"/>
                <a:gd name="connsiteY53" fmla="*/ 64349 h 497850"/>
                <a:gd name="connsiteX54" fmla="*/ 419654 w 513163"/>
                <a:gd name="connsiteY54" fmla="*/ 61580 h 497850"/>
                <a:gd name="connsiteX55" fmla="*/ 416233 w 513163"/>
                <a:gd name="connsiteY55" fmla="*/ 58159 h 497850"/>
                <a:gd name="connsiteX56" fmla="*/ 418514 w 513163"/>
                <a:gd name="connsiteY56" fmla="*/ 54412 h 497850"/>
                <a:gd name="connsiteX57" fmla="*/ 420468 w 513163"/>
                <a:gd name="connsiteY57" fmla="*/ 52457 h 497850"/>
                <a:gd name="connsiteX58" fmla="*/ 420143 w 513163"/>
                <a:gd name="connsiteY58" fmla="*/ 50828 h 497850"/>
                <a:gd name="connsiteX59" fmla="*/ 416884 w 513163"/>
                <a:gd name="connsiteY59" fmla="*/ 47081 h 497850"/>
                <a:gd name="connsiteX60" fmla="*/ 415255 w 513163"/>
                <a:gd name="connsiteY60" fmla="*/ 40239 h 497850"/>
                <a:gd name="connsiteX61" fmla="*/ 419817 w 513163"/>
                <a:gd name="connsiteY61" fmla="*/ 28509 h 497850"/>
                <a:gd name="connsiteX62" fmla="*/ 419654 w 513163"/>
                <a:gd name="connsiteY62" fmla="*/ 20364 h 497850"/>
                <a:gd name="connsiteX63" fmla="*/ 420632 w 513163"/>
                <a:gd name="connsiteY63" fmla="*/ 12544 h 497850"/>
                <a:gd name="connsiteX64" fmla="*/ 419654 w 513163"/>
                <a:gd name="connsiteY64" fmla="*/ 9612 h 497850"/>
                <a:gd name="connsiteX65" fmla="*/ 420468 w 513163"/>
                <a:gd name="connsiteY65" fmla="*/ 6028 h 497850"/>
                <a:gd name="connsiteX66" fmla="*/ 419165 w 513163"/>
                <a:gd name="connsiteY66" fmla="*/ 4399 h 497850"/>
                <a:gd name="connsiteX67" fmla="*/ 411997 w 513163"/>
                <a:gd name="connsiteY67" fmla="*/ 5865 h 497850"/>
                <a:gd name="connsiteX68" fmla="*/ 408087 w 513163"/>
                <a:gd name="connsiteY68" fmla="*/ 5050 h 497850"/>
                <a:gd name="connsiteX69" fmla="*/ 397336 w 513163"/>
                <a:gd name="connsiteY69" fmla="*/ 8145 h 497850"/>
                <a:gd name="connsiteX70" fmla="*/ 391634 w 513163"/>
                <a:gd name="connsiteY70" fmla="*/ 3258 h 497850"/>
                <a:gd name="connsiteX71" fmla="*/ 384791 w 513163"/>
                <a:gd name="connsiteY71" fmla="*/ 815 h 497850"/>
                <a:gd name="connsiteX72" fmla="*/ 384466 w 513163"/>
                <a:gd name="connsiteY72" fmla="*/ 3584 h 497850"/>
                <a:gd name="connsiteX73" fmla="*/ 380067 w 513163"/>
                <a:gd name="connsiteY73" fmla="*/ 7820 h 497850"/>
                <a:gd name="connsiteX74" fmla="*/ 371433 w 513163"/>
                <a:gd name="connsiteY74" fmla="*/ 6842 h 497850"/>
                <a:gd name="connsiteX75" fmla="*/ 370781 w 513163"/>
                <a:gd name="connsiteY75" fmla="*/ 2769 h 497850"/>
                <a:gd name="connsiteX76" fmla="*/ 367197 w 513163"/>
                <a:gd name="connsiteY76" fmla="*/ 0 h 497850"/>
                <a:gd name="connsiteX77" fmla="*/ 361170 w 513163"/>
                <a:gd name="connsiteY77" fmla="*/ 1303 h 497850"/>
                <a:gd name="connsiteX78" fmla="*/ 360681 w 513163"/>
                <a:gd name="connsiteY78" fmla="*/ 4887 h 497850"/>
                <a:gd name="connsiteX79" fmla="*/ 355468 w 513163"/>
                <a:gd name="connsiteY79" fmla="*/ 5865 h 497850"/>
                <a:gd name="connsiteX80" fmla="*/ 353187 w 513163"/>
                <a:gd name="connsiteY80" fmla="*/ 9775 h 497850"/>
                <a:gd name="connsiteX81" fmla="*/ 349929 w 513163"/>
                <a:gd name="connsiteY81" fmla="*/ 8309 h 497850"/>
                <a:gd name="connsiteX82" fmla="*/ 345856 w 513163"/>
                <a:gd name="connsiteY82" fmla="*/ 8309 h 497850"/>
                <a:gd name="connsiteX83" fmla="*/ 340643 w 513163"/>
                <a:gd name="connsiteY83" fmla="*/ 12381 h 497850"/>
                <a:gd name="connsiteX84" fmla="*/ 334778 w 513163"/>
                <a:gd name="connsiteY84" fmla="*/ 12381 h 497850"/>
                <a:gd name="connsiteX85" fmla="*/ 331520 w 513163"/>
                <a:gd name="connsiteY85" fmla="*/ 7168 h 497850"/>
                <a:gd name="connsiteX86" fmla="*/ 324515 w 513163"/>
                <a:gd name="connsiteY86" fmla="*/ 6842 h 497850"/>
                <a:gd name="connsiteX87" fmla="*/ 321420 w 513163"/>
                <a:gd name="connsiteY87" fmla="*/ 5865 h 497850"/>
                <a:gd name="connsiteX88" fmla="*/ 314741 w 513163"/>
                <a:gd name="connsiteY88" fmla="*/ 7005 h 497850"/>
                <a:gd name="connsiteX89" fmla="*/ 309364 w 513163"/>
                <a:gd name="connsiteY89" fmla="*/ 6191 h 497850"/>
                <a:gd name="connsiteX90" fmla="*/ 306758 w 513163"/>
                <a:gd name="connsiteY90" fmla="*/ 6842 h 497850"/>
                <a:gd name="connsiteX91" fmla="*/ 302196 w 513163"/>
                <a:gd name="connsiteY91" fmla="*/ 5213 h 497850"/>
                <a:gd name="connsiteX92" fmla="*/ 298938 w 513163"/>
                <a:gd name="connsiteY92" fmla="*/ 6028 h 497850"/>
                <a:gd name="connsiteX93" fmla="*/ 296332 w 513163"/>
                <a:gd name="connsiteY93" fmla="*/ 11241 h 497850"/>
                <a:gd name="connsiteX94" fmla="*/ 290956 w 513163"/>
                <a:gd name="connsiteY94" fmla="*/ 11241 h 497850"/>
                <a:gd name="connsiteX95" fmla="*/ 286068 w 513163"/>
                <a:gd name="connsiteY95" fmla="*/ 9286 h 497850"/>
                <a:gd name="connsiteX96" fmla="*/ 279552 w 513163"/>
                <a:gd name="connsiteY96" fmla="*/ 15639 h 497850"/>
                <a:gd name="connsiteX97" fmla="*/ 275643 w 513163"/>
                <a:gd name="connsiteY97" fmla="*/ 15476 h 497850"/>
                <a:gd name="connsiteX98" fmla="*/ 269614 w 513163"/>
                <a:gd name="connsiteY98" fmla="*/ 12218 h 497850"/>
                <a:gd name="connsiteX99" fmla="*/ 264239 w 513163"/>
                <a:gd name="connsiteY99" fmla="*/ 14173 h 497850"/>
                <a:gd name="connsiteX100" fmla="*/ 254301 w 513163"/>
                <a:gd name="connsiteY100" fmla="*/ 14499 h 497850"/>
                <a:gd name="connsiteX101" fmla="*/ 248762 w 513163"/>
                <a:gd name="connsiteY101" fmla="*/ 13684 h 497850"/>
                <a:gd name="connsiteX102" fmla="*/ 236381 w 513163"/>
                <a:gd name="connsiteY102" fmla="*/ 23296 h 497850"/>
                <a:gd name="connsiteX103" fmla="*/ 229213 w 513163"/>
                <a:gd name="connsiteY103" fmla="*/ 24274 h 497850"/>
                <a:gd name="connsiteX104" fmla="*/ 225629 w 513163"/>
                <a:gd name="connsiteY104" fmla="*/ 24274 h 497850"/>
                <a:gd name="connsiteX105" fmla="*/ 219602 w 513163"/>
                <a:gd name="connsiteY105" fmla="*/ 28020 h 497850"/>
                <a:gd name="connsiteX106" fmla="*/ 219276 w 513163"/>
                <a:gd name="connsiteY106" fmla="*/ 32093 h 497850"/>
                <a:gd name="connsiteX107" fmla="*/ 216018 w 513163"/>
                <a:gd name="connsiteY107" fmla="*/ 36166 h 497850"/>
                <a:gd name="connsiteX108" fmla="*/ 213248 w 513163"/>
                <a:gd name="connsiteY108" fmla="*/ 36166 h 497850"/>
                <a:gd name="connsiteX109" fmla="*/ 211619 w 513163"/>
                <a:gd name="connsiteY109" fmla="*/ 34700 h 497850"/>
                <a:gd name="connsiteX110" fmla="*/ 208035 w 513163"/>
                <a:gd name="connsiteY110" fmla="*/ 34700 h 497850"/>
                <a:gd name="connsiteX111" fmla="*/ 205266 w 513163"/>
                <a:gd name="connsiteY111" fmla="*/ 36655 h 497850"/>
                <a:gd name="connsiteX112" fmla="*/ 203800 w 513163"/>
                <a:gd name="connsiteY112" fmla="*/ 38772 h 497850"/>
                <a:gd name="connsiteX113" fmla="*/ 196631 w 513163"/>
                <a:gd name="connsiteY113" fmla="*/ 39261 h 497850"/>
                <a:gd name="connsiteX114" fmla="*/ 190604 w 513163"/>
                <a:gd name="connsiteY114" fmla="*/ 42356 h 497850"/>
                <a:gd name="connsiteX115" fmla="*/ 187346 w 513163"/>
                <a:gd name="connsiteY115" fmla="*/ 45126 h 497850"/>
                <a:gd name="connsiteX116" fmla="*/ 186531 w 513163"/>
                <a:gd name="connsiteY116" fmla="*/ 48221 h 497850"/>
                <a:gd name="connsiteX117" fmla="*/ 181644 w 513163"/>
                <a:gd name="connsiteY117" fmla="*/ 53597 h 497850"/>
                <a:gd name="connsiteX118" fmla="*/ 173824 w 513163"/>
                <a:gd name="connsiteY118" fmla="*/ 56041 h 497850"/>
                <a:gd name="connsiteX119" fmla="*/ 166819 w 513163"/>
                <a:gd name="connsiteY119" fmla="*/ 56367 h 497850"/>
                <a:gd name="connsiteX120" fmla="*/ 168611 w 513163"/>
                <a:gd name="connsiteY120" fmla="*/ 58973 h 497850"/>
                <a:gd name="connsiteX121" fmla="*/ 169914 w 513163"/>
                <a:gd name="connsiteY121" fmla="*/ 62068 h 497850"/>
                <a:gd name="connsiteX122" fmla="*/ 172847 w 513163"/>
                <a:gd name="connsiteY122" fmla="*/ 65815 h 497850"/>
                <a:gd name="connsiteX123" fmla="*/ 173498 w 513163"/>
                <a:gd name="connsiteY123" fmla="*/ 70540 h 497850"/>
                <a:gd name="connsiteX124" fmla="*/ 174313 w 513163"/>
                <a:gd name="connsiteY124" fmla="*/ 72332 h 497850"/>
                <a:gd name="connsiteX125" fmla="*/ 174802 w 513163"/>
                <a:gd name="connsiteY125" fmla="*/ 80640 h 497850"/>
                <a:gd name="connsiteX126" fmla="*/ 174639 w 513163"/>
                <a:gd name="connsiteY126" fmla="*/ 90577 h 497850"/>
                <a:gd name="connsiteX127" fmla="*/ 175616 w 513163"/>
                <a:gd name="connsiteY127" fmla="*/ 94650 h 497850"/>
                <a:gd name="connsiteX128" fmla="*/ 177734 w 513163"/>
                <a:gd name="connsiteY128" fmla="*/ 113548 h 497850"/>
                <a:gd name="connsiteX129" fmla="*/ 181481 w 513163"/>
                <a:gd name="connsiteY129" fmla="*/ 121042 h 497850"/>
                <a:gd name="connsiteX130" fmla="*/ 182621 w 513163"/>
                <a:gd name="connsiteY130" fmla="*/ 126092 h 497850"/>
                <a:gd name="connsiteX131" fmla="*/ 186531 w 513163"/>
                <a:gd name="connsiteY131" fmla="*/ 127232 h 497850"/>
                <a:gd name="connsiteX132" fmla="*/ 189138 w 513163"/>
                <a:gd name="connsiteY132" fmla="*/ 129513 h 497850"/>
                <a:gd name="connsiteX133" fmla="*/ 192070 w 513163"/>
                <a:gd name="connsiteY133" fmla="*/ 129676 h 497850"/>
                <a:gd name="connsiteX134" fmla="*/ 194188 w 513163"/>
                <a:gd name="connsiteY134" fmla="*/ 131468 h 497850"/>
                <a:gd name="connsiteX135" fmla="*/ 191418 w 513163"/>
                <a:gd name="connsiteY135" fmla="*/ 138473 h 497850"/>
                <a:gd name="connsiteX136" fmla="*/ 191907 w 513163"/>
                <a:gd name="connsiteY136" fmla="*/ 140102 h 497850"/>
                <a:gd name="connsiteX137" fmla="*/ 188486 w 513163"/>
                <a:gd name="connsiteY137" fmla="*/ 144989 h 497850"/>
                <a:gd name="connsiteX138" fmla="*/ 158348 w 513163"/>
                <a:gd name="connsiteY138" fmla="*/ 144989 h 497850"/>
                <a:gd name="connsiteX139" fmla="*/ 152157 w 513163"/>
                <a:gd name="connsiteY139" fmla="*/ 146292 h 497850"/>
                <a:gd name="connsiteX140" fmla="*/ 146130 w 513163"/>
                <a:gd name="connsiteY140" fmla="*/ 156067 h 497850"/>
                <a:gd name="connsiteX141" fmla="*/ 140591 w 513163"/>
                <a:gd name="connsiteY141" fmla="*/ 160791 h 497850"/>
                <a:gd name="connsiteX142" fmla="*/ 138147 w 513163"/>
                <a:gd name="connsiteY142" fmla="*/ 166656 h 497850"/>
                <a:gd name="connsiteX143" fmla="*/ 138473 w 513163"/>
                <a:gd name="connsiteY143" fmla="*/ 174639 h 497850"/>
                <a:gd name="connsiteX144" fmla="*/ 136192 w 513163"/>
                <a:gd name="connsiteY144" fmla="*/ 179689 h 497850"/>
                <a:gd name="connsiteX145" fmla="*/ 118598 w 513163"/>
                <a:gd name="connsiteY145" fmla="*/ 191907 h 497850"/>
                <a:gd name="connsiteX146" fmla="*/ 91229 w 513163"/>
                <a:gd name="connsiteY146" fmla="*/ 207709 h 497850"/>
                <a:gd name="connsiteX147" fmla="*/ 70377 w 513163"/>
                <a:gd name="connsiteY147" fmla="*/ 219927 h 497850"/>
                <a:gd name="connsiteX148" fmla="*/ 60276 w 513163"/>
                <a:gd name="connsiteY148" fmla="*/ 222208 h 497850"/>
                <a:gd name="connsiteX149" fmla="*/ 50665 w 513163"/>
                <a:gd name="connsiteY149" fmla="*/ 222371 h 497850"/>
                <a:gd name="connsiteX150" fmla="*/ 46103 w 513163"/>
                <a:gd name="connsiteY150" fmla="*/ 223674 h 497850"/>
                <a:gd name="connsiteX151" fmla="*/ 38447 w 513163"/>
                <a:gd name="connsiteY151" fmla="*/ 223674 h 497850"/>
                <a:gd name="connsiteX152" fmla="*/ 24925 w 513163"/>
                <a:gd name="connsiteY152" fmla="*/ 226281 h 497850"/>
                <a:gd name="connsiteX153" fmla="*/ 17431 w 513163"/>
                <a:gd name="connsiteY153" fmla="*/ 231494 h 497850"/>
                <a:gd name="connsiteX154" fmla="*/ 12381 w 513163"/>
                <a:gd name="connsiteY154" fmla="*/ 238010 h 497850"/>
                <a:gd name="connsiteX155" fmla="*/ 652 w 513163"/>
                <a:gd name="connsiteY155" fmla="*/ 246482 h 497850"/>
                <a:gd name="connsiteX156" fmla="*/ 163 w 513163"/>
                <a:gd name="connsiteY156" fmla="*/ 268149 h 497850"/>
                <a:gd name="connsiteX157" fmla="*/ 163 w 513163"/>
                <a:gd name="connsiteY157" fmla="*/ 268311 h 497850"/>
                <a:gd name="connsiteX158" fmla="*/ 0 w 513163"/>
                <a:gd name="connsiteY158" fmla="*/ 275479 h 497850"/>
                <a:gd name="connsiteX159" fmla="*/ 163 w 513163"/>
                <a:gd name="connsiteY159" fmla="*/ 275642 h 497850"/>
                <a:gd name="connsiteX160" fmla="*/ 163 w 513163"/>
                <a:gd name="connsiteY160" fmla="*/ 275479 h 497850"/>
                <a:gd name="connsiteX161" fmla="*/ 92858 w 513163"/>
                <a:gd name="connsiteY161" fmla="*/ 337711 h 497850"/>
                <a:gd name="connsiteX162" fmla="*/ 92858 w 513163"/>
                <a:gd name="connsiteY162" fmla="*/ 337874 h 497850"/>
                <a:gd name="connsiteX163" fmla="*/ 260329 w 513163"/>
                <a:gd name="connsiteY163" fmla="*/ 448815 h 497850"/>
                <a:gd name="connsiteX164" fmla="*/ 263261 w 513163"/>
                <a:gd name="connsiteY164" fmla="*/ 461196 h 497850"/>
                <a:gd name="connsiteX165" fmla="*/ 268637 w 513163"/>
                <a:gd name="connsiteY165" fmla="*/ 466083 h 497850"/>
                <a:gd name="connsiteX166" fmla="*/ 278086 w 513163"/>
                <a:gd name="connsiteY166" fmla="*/ 465594 h 497850"/>
                <a:gd name="connsiteX167" fmla="*/ 285417 w 513163"/>
                <a:gd name="connsiteY167" fmla="*/ 468038 h 497850"/>
                <a:gd name="connsiteX168" fmla="*/ 289978 w 513163"/>
                <a:gd name="connsiteY168" fmla="*/ 473740 h 497850"/>
                <a:gd name="connsiteX169" fmla="*/ 296169 w 513163"/>
                <a:gd name="connsiteY169" fmla="*/ 475369 h 497850"/>
                <a:gd name="connsiteX170" fmla="*/ 301056 w 513163"/>
                <a:gd name="connsiteY170" fmla="*/ 479767 h 497850"/>
                <a:gd name="connsiteX171" fmla="*/ 300893 w 513163"/>
                <a:gd name="connsiteY171" fmla="*/ 483840 h 497850"/>
                <a:gd name="connsiteX172" fmla="*/ 298450 w 513163"/>
                <a:gd name="connsiteY172" fmla="*/ 491660 h 497850"/>
                <a:gd name="connsiteX173" fmla="*/ 300079 w 513163"/>
                <a:gd name="connsiteY173" fmla="*/ 495570 h 497850"/>
                <a:gd name="connsiteX174" fmla="*/ 306269 w 513163"/>
                <a:gd name="connsiteY174" fmla="*/ 497850 h 497850"/>
                <a:gd name="connsiteX175" fmla="*/ 317998 w 513163"/>
                <a:gd name="connsiteY175" fmla="*/ 496384 h 497850"/>
                <a:gd name="connsiteX176" fmla="*/ 327448 w 513163"/>
                <a:gd name="connsiteY176" fmla="*/ 493289 h 497850"/>
                <a:gd name="connsiteX177" fmla="*/ 327611 w 513163"/>
                <a:gd name="connsiteY177" fmla="*/ 493289 h 497850"/>
                <a:gd name="connsiteX178" fmla="*/ 327611 w 513163"/>
                <a:gd name="connsiteY178" fmla="*/ 493289 h 497850"/>
                <a:gd name="connsiteX179" fmla="*/ 366709 w 513163"/>
                <a:gd name="connsiteY179" fmla="*/ 484003 h 497850"/>
                <a:gd name="connsiteX180" fmla="*/ 398313 w 513163"/>
                <a:gd name="connsiteY180" fmla="*/ 455005 h 497850"/>
                <a:gd name="connsiteX181" fmla="*/ 513164 w 513163"/>
                <a:gd name="connsiteY181" fmla="*/ 383977 h 497850"/>
                <a:gd name="connsiteX182" fmla="*/ 513164 w 513163"/>
                <a:gd name="connsiteY182" fmla="*/ 383977 h 4978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</a:cxnLst>
              <a:rect l="l" t="t" r="r" b="b"/>
              <a:pathLst>
                <a:path w="513163" h="497850">
                  <a:moveTo>
                    <a:pt x="513164" y="383977"/>
                  </a:moveTo>
                  <a:lnTo>
                    <a:pt x="510069" y="380882"/>
                  </a:lnTo>
                  <a:lnTo>
                    <a:pt x="506973" y="377135"/>
                  </a:lnTo>
                  <a:lnTo>
                    <a:pt x="504204" y="374691"/>
                  </a:lnTo>
                  <a:lnTo>
                    <a:pt x="499154" y="364102"/>
                  </a:lnTo>
                  <a:lnTo>
                    <a:pt x="495732" y="358563"/>
                  </a:lnTo>
                  <a:lnTo>
                    <a:pt x="491334" y="355631"/>
                  </a:lnTo>
                  <a:lnTo>
                    <a:pt x="481885" y="354816"/>
                  </a:lnTo>
                  <a:lnTo>
                    <a:pt x="471459" y="354816"/>
                  </a:lnTo>
                  <a:lnTo>
                    <a:pt x="468853" y="352210"/>
                  </a:lnTo>
                  <a:lnTo>
                    <a:pt x="467712" y="347648"/>
                  </a:lnTo>
                  <a:lnTo>
                    <a:pt x="464617" y="344064"/>
                  </a:lnTo>
                  <a:lnTo>
                    <a:pt x="463965" y="336896"/>
                  </a:lnTo>
                  <a:lnTo>
                    <a:pt x="464943" y="333638"/>
                  </a:lnTo>
                  <a:lnTo>
                    <a:pt x="463477" y="327122"/>
                  </a:lnTo>
                  <a:lnTo>
                    <a:pt x="461848" y="325818"/>
                  </a:lnTo>
                  <a:lnTo>
                    <a:pt x="456960" y="315718"/>
                  </a:lnTo>
                  <a:lnTo>
                    <a:pt x="450932" y="307898"/>
                  </a:lnTo>
                  <a:lnTo>
                    <a:pt x="447348" y="303663"/>
                  </a:lnTo>
                  <a:lnTo>
                    <a:pt x="449303" y="302197"/>
                  </a:lnTo>
                  <a:lnTo>
                    <a:pt x="451259" y="299264"/>
                  </a:lnTo>
                  <a:lnTo>
                    <a:pt x="456960" y="295028"/>
                  </a:lnTo>
                  <a:lnTo>
                    <a:pt x="459404" y="291608"/>
                  </a:lnTo>
                  <a:lnTo>
                    <a:pt x="458427" y="282647"/>
                  </a:lnTo>
                  <a:lnTo>
                    <a:pt x="455983" y="276457"/>
                  </a:lnTo>
                  <a:lnTo>
                    <a:pt x="456960" y="274176"/>
                  </a:lnTo>
                  <a:lnTo>
                    <a:pt x="459404" y="260166"/>
                  </a:lnTo>
                  <a:lnTo>
                    <a:pt x="456146" y="252509"/>
                  </a:lnTo>
                  <a:lnTo>
                    <a:pt x="455005" y="239476"/>
                  </a:lnTo>
                  <a:lnTo>
                    <a:pt x="455494" y="236870"/>
                  </a:lnTo>
                  <a:lnTo>
                    <a:pt x="454680" y="227584"/>
                  </a:lnTo>
                  <a:lnTo>
                    <a:pt x="454680" y="210804"/>
                  </a:lnTo>
                  <a:lnTo>
                    <a:pt x="451421" y="204614"/>
                  </a:lnTo>
                  <a:lnTo>
                    <a:pt x="448978" y="202822"/>
                  </a:lnTo>
                  <a:lnTo>
                    <a:pt x="448978" y="194351"/>
                  </a:lnTo>
                  <a:lnTo>
                    <a:pt x="451095" y="192233"/>
                  </a:lnTo>
                  <a:lnTo>
                    <a:pt x="435293" y="141079"/>
                  </a:lnTo>
                  <a:lnTo>
                    <a:pt x="428777" y="133911"/>
                  </a:lnTo>
                  <a:lnTo>
                    <a:pt x="424704" y="132934"/>
                  </a:lnTo>
                  <a:lnTo>
                    <a:pt x="422261" y="130490"/>
                  </a:lnTo>
                  <a:lnTo>
                    <a:pt x="416396" y="127884"/>
                  </a:lnTo>
                  <a:lnTo>
                    <a:pt x="414604" y="121693"/>
                  </a:lnTo>
                  <a:lnTo>
                    <a:pt x="407273" y="115340"/>
                  </a:lnTo>
                  <a:lnTo>
                    <a:pt x="404666" y="114525"/>
                  </a:lnTo>
                  <a:lnTo>
                    <a:pt x="401571" y="109638"/>
                  </a:lnTo>
                  <a:lnTo>
                    <a:pt x="402548" y="106706"/>
                  </a:lnTo>
                  <a:lnTo>
                    <a:pt x="399453" y="100026"/>
                  </a:lnTo>
                  <a:lnTo>
                    <a:pt x="397824" y="99049"/>
                  </a:lnTo>
                  <a:lnTo>
                    <a:pt x="400920" y="86668"/>
                  </a:lnTo>
                  <a:lnTo>
                    <a:pt x="406621" y="79663"/>
                  </a:lnTo>
                  <a:lnTo>
                    <a:pt x="410368" y="78685"/>
                  </a:lnTo>
                  <a:lnTo>
                    <a:pt x="412812" y="75427"/>
                  </a:lnTo>
                  <a:lnTo>
                    <a:pt x="415581" y="73309"/>
                  </a:lnTo>
                  <a:lnTo>
                    <a:pt x="417211" y="64349"/>
                  </a:lnTo>
                  <a:lnTo>
                    <a:pt x="419654" y="61580"/>
                  </a:lnTo>
                  <a:lnTo>
                    <a:pt x="416233" y="58159"/>
                  </a:lnTo>
                  <a:lnTo>
                    <a:pt x="418514" y="54412"/>
                  </a:lnTo>
                  <a:lnTo>
                    <a:pt x="420468" y="52457"/>
                  </a:lnTo>
                  <a:lnTo>
                    <a:pt x="420143" y="50828"/>
                  </a:lnTo>
                  <a:lnTo>
                    <a:pt x="416884" y="47081"/>
                  </a:lnTo>
                  <a:lnTo>
                    <a:pt x="415255" y="40239"/>
                  </a:lnTo>
                  <a:lnTo>
                    <a:pt x="419817" y="28509"/>
                  </a:lnTo>
                  <a:lnTo>
                    <a:pt x="419654" y="20364"/>
                  </a:lnTo>
                  <a:lnTo>
                    <a:pt x="420632" y="12544"/>
                  </a:lnTo>
                  <a:lnTo>
                    <a:pt x="419654" y="9612"/>
                  </a:lnTo>
                  <a:lnTo>
                    <a:pt x="420468" y="6028"/>
                  </a:lnTo>
                  <a:lnTo>
                    <a:pt x="419165" y="4399"/>
                  </a:lnTo>
                  <a:lnTo>
                    <a:pt x="411997" y="5865"/>
                  </a:lnTo>
                  <a:lnTo>
                    <a:pt x="408087" y="5050"/>
                  </a:lnTo>
                  <a:lnTo>
                    <a:pt x="397336" y="8145"/>
                  </a:lnTo>
                  <a:lnTo>
                    <a:pt x="391634" y="3258"/>
                  </a:lnTo>
                  <a:lnTo>
                    <a:pt x="384791" y="815"/>
                  </a:lnTo>
                  <a:lnTo>
                    <a:pt x="384466" y="3584"/>
                  </a:lnTo>
                  <a:lnTo>
                    <a:pt x="380067" y="7820"/>
                  </a:lnTo>
                  <a:lnTo>
                    <a:pt x="371433" y="6842"/>
                  </a:lnTo>
                  <a:lnTo>
                    <a:pt x="370781" y="2769"/>
                  </a:lnTo>
                  <a:lnTo>
                    <a:pt x="367197" y="0"/>
                  </a:lnTo>
                  <a:lnTo>
                    <a:pt x="361170" y="1303"/>
                  </a:lnTo>
                  <a:lnTo>
                    <a:pt x="360681" y="4887"/>
                  </a:lnTo>
                  <a:lnTo>
                    <a:pt x="355468" y="5865"/>
                  </a:lnTo>
                  <a:lnTo>
                    <a:pt x="353187" y="9775"/>
                  </a:lnTo>
                  <a:lnTo>
                    <a:pt x="349929" y="8309"/>
                  </a:lnTo>
                  <a:lnTo>
                    <a:pt x="345856" y="8309"/>
                  </a:lnTo>
                  <a:lnTo>
                    <a:pt x="340643" y="12381"/>
                  </a:lnTo>
                  <a:lnTo>
                    <a:pt x="334778" y="12381"/>
                  </a:lnTo>
                  <a:lnTo>
                    <a:pt x="331520" y="7168"/>
                  </a:lnTo>
                  <a:lnTo>
                    <a:pt x="324515" y="6842"/>
                  </a:lnTo>
                  <a:lnTo>
                    <a:pt x="321420" y="5865"/>
                  </a:lnTo>
                  <a:lnTo>
                    <a:pt x="314741" y="7005"/>
                  </a:lnTo>
                  <a:lnTo>
                    <a:pt x="309364" y="6191"/>
                  </a:lnTo>
                  <a:lnTo>
                    <a:pt x="306758" y="6842"/>
                  </a:lnTo>
                  <a:lnTo>
                    <a:pt x="302196" y="5213"/>
                  </a:lnTo>
                  <a:lnTo>
                    <a:pt x="298938" y="6028"/>
                  </a:lnTo>
                  <a:lnTo>
                    <a:pt x="296332" y="11241"/>
                  </a:lnTo>
                  <a:lnTo>
                    <a:pt x="290956" y="11241"/>
                  </a:lnTo>
                  <a:lnTo>
                    <a:pt x="286068" y="9286"/>
                  </a:lnTo>
                  <a:lnTo>
                    <a:pt x="279552" y="15639"/>
                  </a:lnTo>
                  <a:lnTo>
                    <a:pt x="275643" y="15476"/>
                  </a:lnTo>
                  <a:lnTo>
                    <a:pt x="269614" y="12218"/>
                  </a:lnTo>
                  <a:lnTo>
                    <a:pt x="264239" y="14173"/>
                  </a:lnTo>
                  <a:lnTo>
                    <a:pt x="254301" y="14499"/>
                  </a:lnTo>
                  <a:lnTo>
                    <a:pt x="248762" y="13684"/>
                  </a:lnTo>
                  <a:lnTo>
                    <a:pt x="236381" y="23296"/>
                  </a:lnTo>
                  <a:lnTo>
                    <a:pt x="229213" y="24274"/>
                  </a:lnTo>
                  <a:lnTo>
                    <a:pt x="225629" y="24274"/>
                  </a:lnTo>
                  <a:lnTo>
                    <a:pt x="219602" y="28020"/>
                  </a:lnTo>
                  <a:lnTo>
                    <a:pt x="219276" y="32093"/>
                  </a:lnTo>
                  <a:lnTo>
                    <a:pt x="216018" y="36166"/>
                  </a:lnTo>
                  <a:lnTo>
                    <a:pt x="213248" y="36166"/>
                  </a:lnTo>
                  <a:lnTo>
                    <a:pt x="211619" y="34700"/>
                  </a:lnTo>
                  <a:lnTo>
                    <a:pt x="208035" y="34700"/>
                  </a:lnTo>
                  <a:lnTo>
                    <a:pt x="205266" y="36655"/>
                  </a:lnTo>
                  <a:lnTo>
                    <a:pt x="203800" y="38772"/>
                  </a:lnTo>
                  <a:lnTo>
                    <a:pt x="196631" y="39261"/>
                  </a:lnTo>
                  <a:lnTo>
                    <a:pt x="190604" y="42356"/>
                  </a:lnTo>
                  <a:lnTo>
                    <a:pt x="187346" y="45126"/>
                  </a:lnTo>
                  <a:lnTo>
                    <a:pt x="186531" y="48221"/>
                  </a:lnTo>
                  <a:lnTo>
                    <a:pt x="181644" y="53597"/>
                  </a:lnTo>
                  <a:lnTo>
                    <a:pt x="173824" y="56041"/>
                  </a:lnTo>
                  <a:lnTo>
                    <a:pt x="166819" y="56367"/>
                  </a:lnTo>
                  <a:lnTo>
                    <a:pt x="168611" y="58973"/>
                  </a:lnTo>
                  <a:lnTo>
                    <a:pt x="169914" y="62068"/>
                  </a:lnTo>
                  <a:lnTo>
                    <a:pt x="172847" y="65815"/>
                  </a:lnTo>
                  <a:lnTo>
                    <a:pt x="173498" y="70540"/>
                  </a:lnTo>
                  <a:lnTo>
                    <a:pt x="174313" y="72332"/>
                  </a:lnTo>
                  <a:lnTo>
                    <a:pt x="174802" y="80640"/>
                  </a:lnTo>
                  <a:lnTo>
                    <a:pt x="174639" y="90577"/>
                  </a:lnTo>
                  <a:lnTo>
                    <a:pt x="175616" y="94650"/>
                  </a:lnTo>
                  <a:lnTo>
                    <a:pt x="177734" y="113548"/>
                  </a:lnTo>
                  <a:lnTo>
                    <a:pt x="181481" y="121042"/>
                  </a:lnTo>
                  <a:lnTo>
                    <a:pt x="182621" y="126092"/>
                  </a:lnTo>
                  <a:lnTo>
                    <a:pt x="186531" y="127232"/>
                  </a:lnTo>
                  <a:lnTo>
                    <a:pt x="189138" y="129513"/>
                  </a:lnTo>
                  <a:lnTo>
                    <a:pt x="192070" y="129676"/>
                  </a:lnTo>
                  <a:lnTo>
                    <a:pt x="194188" y="131468"/>
                  </a:lnTo>
                  <a:lnTo>
                    <a:pt x="191418" y="138473"/>
                  </a:lnTo>
                  <a:lnTo>
                    <a:pt x="191907" y="140102"/>
                  </a:lnTo>
                  <a:lnTo>
                    <a:pt x="188486" y="144989"/>
                  </a:lnTo>
                  <a:lnTo>
                    <a:pt x="158348" y="144989"/>
                  </a:lnTo>
                  <a:lnTo>
                    <a:pt x="152157" y="146292"/>
                  </a:lnTo>
                  <a:lnTo>
                    <a:pt x="146130" y="156067"/>
                  </a:lnTo>
                  <a:lnTo>
                    <a:pt x="140591" y="160791"/>
                  </a:lnTo>
                  <a:lnTo>
                    <a:pt x="138147" y="166656"/>
                  </a:lnTo>
                  <a:lnTo>
                    <a:pt x="138473" y="174639"/>
                  </a:lnTo>
                  <a:lnTo>
                    <a:pt x="136192" y="179689"/>
                  </a:lnTo>
                  <a:lnTo>
                    <a:pt x="118598" y="191907"/>
                  </a:lnTo>
                  <a:lnTo>
                    <a:pt x="91229" y="207709"/>
                  </a:lnTo>
                  <a:lnTo>
                    <a:pt x="70377" y="219927"/>
                  </a:lnTo>
                  <a:lnTo>
                    <a:pt x="60276" y="222208"/>
                  </a:lnTo>
                  <a:lnTo>
                    <a:pt x="50665" y="222371"/>
                  </a:lnTo>
                  <a:lnTo>
                    <a:pt x="46103" y="223674"/>
                  </a:lnTo>
                  <a:lnTo>
                    <a:pt x="38447" y="223674"/>
                  </a:lnTo>
                  <a:lnTo>
                    <a:pt x="24925" y="226281"/>
                  </a:lnTo>
                  <a:lnTo>
                    <a:pt x="17431" y="231494"/>
                  </a:lnTo>
                  <a:lnTo>
                    <a:pt x="12381" y="238010"/>
                  </a:lnTo>
                  <a:lnTo>
                    <a:pt x="652" y="246482"/>
                  </a:lnTo>
                  <a:lnTo>
                    <a:pt x="163" y="268149"/>
                  </a:lnTo>
                  <a:lnTo>
                    <a:pt x="163" y="268311"/>
                  </a:lnTo>
                  <a:lnTo>
                    <a:pt x="0" y="275479"/>
                  </a:lnTo>
                  <a:lnTo>
                    <a:pt x="163" y="275642"/>
                  </a:lnTo>
                  <a:lnTo>
                    <a:pt x="163" y="275479"/>
                  </a:lnTo>
                  <a:lnTo>
                    <a:pt x="92858" y="337711"/>
                  </a:lnTo>
                  <a:lnTo>
                    <a:pt x="92858" y="337874"/>
                  </a:lnTo>
                  <a:lnTo>
                    <a:pt x="260329" y="448815"/>
                  </a:lnTo>
                  <a:lnTo>
                    <a:pt x="263261" y="461196"/>
                  </a:lnTo>
                  <a:lnTo>
                    <a:pt x="268637" y="466083"/>
                  </a:lnTo>
                  <a:lnTo>
                    <a:pt x="278086" y="465594"/>
                  </a:lnTo>
                  <a:lnTo>
                    <a:pt x="285417" y="468038"/>
                  </a:lnTo>
                  <a:lnTo>
                    <a:pt x="289978" y="473740"/>
                  </a:lnTo>
                  <a:lnTo>
                    <a:pt x="296169" y="475369"/>
                  </a:lnTo>
                  <a:lnTo>
                    <a:pt x="301056" y="479767"/>
                  </a:lnTo>
                  <a:lnTo>
                    <a:pt x="300893" y="483840"/>
                  </a:lnTo>
                  <a:lnTo>
                    <a:pt x="298450" y="491660"/>
                  </a:lnTo>
                  <a:lnTo>
                    <a:pt x="300079" y="495570"/>
                  </a:lnTo>
                  <a:lnTo>
                    <a:pt x="306269" y="497850"/>
                  </a:lnTo>
                  <a:lnTo>
                    <a:pt x="317998" y="496384"/>
                  </a:lnTo>
                  <a:lnTo>
                    <a:pt x="327448" y="493289"/>
                  </a:lnTo>
                  <a:lnTo>
                    <a:pt x="327611" y="493289"/>
                  </a:lnTo>
                  <a:lnTo>
                    <a:pt x="327611" y="493289"/>
                  </a:lnTo>
                  <a:lnTo>
                    <a:pt x="366709" y="484003"/>
                  </a:lnTo>
                  <a:lnTo>
                    <a:pt x="398313" y="455005"/>
                  </a:lnTo>
                  <a:lnTo>
                    <a:pt x="513164" y="383977"/>
                  </a:lnTo>
                  <a:lnTo>
                    <a:pt x="513164" y="383977"/>
                  </a:lnTo>
                  <a:close/>
                </a:path>
              </a:pathLst>
            </a:custGeom>
            <a:solidFill>
              <a:schemeClr val="bg2"/>
            </a:solidFill>
            <a:ln w="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2" name="Forma livre: Forma 101">
              <a:extLst>
                <a:ext uri="{FF2B5EF4-FFF2-40B4-BE49-F238E27FC236}">
                  <a16:creationId xmlns:a16="http://schemas.microsoft.com/office/drawing/2014/main" id="{F806E722-E6E8-5B95-077B-152B5FD8DF30}"/>
                </a:ext>
              </a:extLst>
            </p:cNvPr>
            <p:cNvSpPr/>
            <p:nvPr/>
          </p:nvSpPr>
          <p:spPr>
            <a:xfrm>
              <a:off x="5659267" y="3966295"/>
              <a:ext cx="306903" cy="242593"/>
            </a:xfrm>
            <a:custGeom>
              <a:avLst/>
              <a:gdLst>
                <a:gd name="connsiteX0" fmla="*/ 102958 w 296983"/>
                <a:gd name="connsiteY0" fmla="*/ 234589 h 234752"/>
                <a:gd name="connsiteX1" fmla="*/ 103447 w 296983"/>
                <a:gd name="connsiteY1" fmla="*/ 212922 h 234752"/>
                <a:gd name="connsiteX2" fmla="*/ 115177 w 296983"/>
                <a:gd name="connsiteY2" fmla="*/ 204451 h 234752"/>
                <a:gd name="connsiteX3" fmla="*/ 120227 w 296983"/>
                <a:gd name="connsiteY3" fmla="*/ 197935 h 234752"/>
                <a:gd name="connsiteX4" fmla="*/ 127721 w 296983"/>
                <a:gd name="connsiteY4" fmla="*/ 192722 h 234752"/>
                <a:gd name="connsiteX5" fmla="*/ 141242 w 296983"/>
                <a:gd name="connsiteY5" fmla="*/ 190115 h 234752"/>
                <a:gd name="connsiteX6" fmla="*/ 148899 w 296983"/>
                <a:gd name="connsiteY6" fmla="*/ 190115 h 234752"/>
                <a:gd name="connsiteX7" fmla="*/ 153460 w 296983"/>
                <a:gd name="connsiteY7" fmla="*/ 188812 h 234752"/>
                <a:gd name="connsiteX8" fmla="*/ 163072 w 296983"/>
                <a:gd name="connsiteY8" fmla="*/ 188649 h 234752"/>
                <a:gd name="connsiteX9" fmla="*/ 173173 w 296983"/>
                <a:gd name="connsiteY9" fmla="*/ 186368 h 234752"/>
                <a:gd name="connsiteX10" fmla="*/ 194025 w 296983"/>
                <a:gd name="connsiteY10" fmla="*/ 174150 h 234752"/>
                <a:gd name="connsiteX11" fmla="*/ 221393 w 296983"/>
                <a:gd name="connsiteY11" fmla="*/ 158348 h 234752"/>
                <a:gd name="connsiteX12" fmla="*/ 238988 w 296983"/>
                <a:gd name="connsiteY12" fmla="*/ 146130 h 234752"/>
                <a:gd name="connsiteX13" fmla="*/ 241268 w 296983"/>
                <a:gd name="connsiteY13" fmla="*/ 141079 h 234752"/>
                <a:gd name="connsiteX14" fmla="*/ 240943 w 296983"/>
                <a:gd name="connsiteY14" fmla="*/ 133097 h 234752"/>
                <a:gd name="connsiteX15" fmla="*/ 243386 w 296983"/>
                <a:gd name="connsiteY15" fmla="*/ 127232 h 234752"/>
                <a:gd name="connsiteX16" fmla="*/ 248925 w 296983"/>
                <a:gd name="connsiteY16" fmla="*/ 122508 h 234752"/>
                <a:gd name="connsiteX17" fmla="*/ 254953 w 296983"/>
                <a:gd name="connsiteY17" fmla="*/ 112733 h 234752"/>
                <a:gd name="connsiteX18" fmla="*/ 261143 w 296983"/>
                <a:gd name="connsiteY18" fmla="*/ 111430 h 234752"/>
                <a:gd name="connsiteX19" fmla="*/ 291282 w 296983"/>
                <a:gd name="connsiteY19" fmla="*/ 111430 h 234752"/>
                <a:gd name="connsiteX20" fmla="*/ 294703 w 296983"/>
                <a:gd name="connsiteY20" fmla="*/ 106543 h 234752"/>
                <a:gd name="connsiteX21" fmla="*/ 294214 w 296983"/>
                <a:gd name="connsiteY21" fmla="*/ 104914 h 234752"/>
                <a:gd name="connsiteX22" fmla="*/ 296984 w 296983"/>
                <a:gd name="connsiteY22" fmla="*/ 97909 h 234752"/>
                <a:gd name="connsiteX23" fmla="*/ 294866 w 296983"/>
                <a:gd name="connsiteY23" fmla="*/ 96117 h 234752"/>
                <a:gd name="connsiteX24" fmla="*/ 291933 w 296983"/>
                <a:gd name="connsiteY24" fmla="*/ 95953 h 234752"/>
                <a:gd name="connsiteX25" fmla="*/ 289327 w 296983"/>
                <a:gd name="connsiteY25" fmla="*/ 93673 h 234752"/>
                <a:gd name="connsiteX26" fmla="*/ 285417 w 296983"/>
                <a:gd name="connsiteY26" fmla="*/ 92533 h 234752"/>
                <a:gd name="connsiteX27" fmla="*/ 284277 w 296983"/>
                <a:gd name="connsiteY27" fmla="*/ 87482 h 234752"/>
                <a:gd name="connsiteX28" fmla="*/ 280530 w 296983"/>
                <a:gd name="connsiteY28" fmla="*/ 79988 h 234752"/>
                <a:gd name="connsiteX29" fmla="*/ 278412 w 296983"/>
                <a:gd name="connsiteY29" fmla="*/ 61091 h 234752"/>
                <a:gd name="connsiteX30" fmla="*/ 277434 w 296983"/>
                <a:gd name="connsiteY30" fmla="*/ 57018 h 234752"/>
                <a:gd name="connsiteX31" fmla="*/ 277597 w 296983"/>
                <a:gd name="connsiteY31" fmla="*/ 47081 h 234752"/>
                <a:gd name="connsiteX32" fmla="*/ 277109 w 296983"/>
                <a:gd name="connsiteY32" fmla="*/ 38772 h 234752"/>
                <a:gd name="connsiteX33" fmla="*/ 276294 w 296983"/>
                <a:gd name="connsiteY33" fmla="*/ 36980 h 234752"/>
                <a:gd name="connsiteX34" fmla="*/ 275643 w 296983"/>
                <a:gd name="connsiteY34" fmla="*/ 32256 h 234752"/>
                <a:gd name="connsiteX35" fmla="*/ 272710 w 296983"/>
                <a:gd name="connsiteY35" fmla="*/ 28509 h 234752"/>
                <a:gd name="connsiteX36" fmla="*/ 271407 w 296983"/>
                <a:gd name="connsiteY36" fmla="*/ 25414 h 234752"/>
                <a:gd name="connsiteX37" fmla="*/ 269614 w 296983"/>
                <a:gd name="connsiteY37" fmla="*/ 22807 h 234752"/>
                <a:gd name="connsiteX38" fmla="*/ 266031 w 296983"/>
                <a:gd name="connsiteY38" fmla="*/ 22970 h 234752"/>
                <a:gd name="connsiteX39" fmla="*/ 251532 w 296983"/>
                <a:gd name="connsiteY39" fmla="*/ 21830 h 234752"/>
                <a:gd name="connsiteX40" fmla="*/ 248436 w 296983"/>
                <a:gd name="connsiteY40" fmla="*/ 18572 h 234752"/>
                <a:gd name="connsiteX41" fmla="*/ 246970 w 296983"/>
                <a:gd name="connsiteY41" fmla="*/ 13685 h 234752"/>
                <a:gd name="connsiteX42" fmla="*/ 245178 w 296983"/>
                <a:gd name="connsiteY42" fmla="*/ 13033 h 234752"/>
                <a:gd name="connsiteX43" fmla="*/ 245015 w 296983"/>
                <a:gd name="connsiteY43" fmla="*/ 13196 h 234752"/>
                <a:gd name="connsiteX44" fmla="*/ 240454 w 296983"/>
                <a:gd name="connsiteY44" fmla="*/ 18083 h 234752"/>
                <a:gd name="connsiteX45" fmla="*/ 232308 w 296983"/>
                <a:gd name="connsiteY45" fmla="*/ 19712 h 234752"/>
                <a:gd name="connsiteX46" fmla="*/ 224163 w 296983"/>
                <a:gd name="connsiteY46" fmla="*/ 17431 h 234752"/>
                <a:gd name="connsiteX47" fmla="*/ 219927 w 296983"/>
                <a:gd name="connsiteY47" fmla="*/ 17268 h 234752"/>
                <a:gd name="connsiteX48" fmla="*/ 214389 w 296983"/>
                <a:gd name="connsiteY48" fmla="*/ 20038 h 234752"/>
                <a:gd name="connsiteX49" fmla="*/ 206732 w 296983"/>
                <a:gd name="connsiteY49" fmla="*/ 21178 h 234752"/>
                <a:gd name="connsiteX50" fmla="*/ 201193 w 296983"/>
                <a:gd name="connsiteY50" fmla="*/ 20038 h 234752"/>
                <a:gd name="connsiteX51" fmla="*/ 194025 w 296983"/>
                <a:gd name="connsiteY51" fmla="*/ 12544 h 234752"/>
                <a:gd name="connsiteX52" fmla="*/ 191255 w 296983"/>
                <a:gd name="connsiteY52" fmla="*/ 10426 h 234752"/>
                <a:gd name="connsiteX53" fmla="*/ 190115 w 296983"/>
                <a:gd name="connsiteY53" fmla="*/ 6353 h 234752"/>
                <a:gd name="connsiteX54" fmla="*/ 190115 w 296983"/>
                <a:gd name="connsiteY54" fmla="*/ 3421 h 234752"/>
                <a:gd name="connsiteX55" fmla="*/ 191092 w 296983"/>
                <a:gd name="connsiteY55" fmla="*/ 1955 h 234752"/>
                <a:gd name="connsiteX56" fmla="*/ 189626 w 296983"/>
                <a:gd name="connsiteY56" fmla="*/ 0 h 234752"/>
                <a:gd name="connsiteX57" fmla="*/ 184576 w 296983"/>
                <a:gd name="connsiteY57" fmla="*/ 1792 h 234752"/>
                <a:gd name="connsiteX58" fmla="*/ 182458 w 296983"/>
                <a:gd name="connsiteY58" fmla="*/ 3747 h 234752"/>
                <a:gd name="connsiteX59" fmla="*/ 178385 w 296983"/>
                <a:gd name="connsiteY59" fmla="*/ 3258 h 234752"/>
                <a:gd name="connsiteX60" fmla="*/ 173661 w 296983"/>
                <a:gd name="connsiteY60" fmla="*/ 8797 h 234752"/>
                <a:gd name="connsiteX61" fmla="*/ 172521 w 296983"/>
                <a:gd name="connsiteY61" fmla="*/ 22644 h 234752"/>
                <a:gd name="connsiteX62" fmla="*/ 166982 w 296983"/>
                <a:gd name="connsiteY62" fmla="*/ 29812 h 234752"/>
                <a:gd name="connsiteX63" fmla="*/ 165841 w 296983"/>
                <a:gd name="connsiteY63" fmla="*/ 40402 h 234752"/>
                <a:gd name="connsiteX64" fmla="*/ 162420 w 296983"/>
                <a:gd name="connsiteY64" fmla="*/ 47081 h 234752"/>
                <a:gd name="connsiteX65" fmla="*/ 150854 w 296983"/>
                <a:gd name="connsiteY65" fmla="*/ 57833 h 234752"/>
                <a:gd name="connsiteX66" fmla="*/ 148084 w 296983"/>
                <a:gd name="connsiteY66" fmla="*/ 57996 h 234752"/>
                <a:gd name="connsiteX67" fmla="*/ 142546 w 296983"/>
                <a:gd name="connsiteY67" fmla="*/ 61906 h 234752"/>
                <a:gd name="connsiteX68" fmla="*/ 133097 w 296983"/>
                <a:gd name="connsiteY68" fmla="*/ 65164 h 234752"/>
                <a:gd name="connsiteX69" fmla="*/ 126092 w 296983"/>
                <a:gd name="connsiteY69" fmla="*/ 72658 h 234752"/>
                <a:gd name="connsiteX70" fmla="*/ 123322 w 296983"/>
                <a:gd name="connsiteY70" fmla="*/ 72820 h 234752"/>
                <a:gd name="connsiteX71" fmla="*/ 113222 w 296983"/>
                <a:gd name="connsiteY71" fmla="*/ 79500 h 234752"/>
                <a:gd name="connsiteX72" fmla="*/ 107031 w 296983"/>
                <a:gd name="connsiteY72" fmla="*/ 81618 h 234752"/>
                <a:gd name="connsiteX73" fmla="*/ 103447 w 296983"/>
                <a:gd name="connsiteY73" fmla="*/ 86994 h 234752"/>
                <a:gd name="connsiteX74" fmla="*/ 91718 w 296983"/>
                <a:gd name="connsiteY74" fmla="*/ 95465 h 234752"/>
                <a:gd name="connsiteX75" fmla="*/ 95791 w 296983"/>
                <a:gd name="connsiteY75" fmla="*/ 104262 h 234752"/>
                <a:gd name="connsiteX76" fmla="*/ 95139 w 296983"/>
                <a:gd name="connsiteY76" fmla="*/ 110452 h 234752"/>
                <a:gd name="connsiteX77" fmla="*/ 84876 w 296983"/>
                <a:gd name="connsiteY77" fmla="*/ 119738 h 234752"/>
                <a:gd name="connsiteX78" fmla="*/ 78196 w 296983"/>
                <a:gd name="connsiteY78" fmla="*/ 133260 h 234752"/>
                <a:gd name="connsiteX79" fmla="*/ 77871 w 296983"/>
                <a:gd name="connsiteY79" fmla="*/ 138961 h 234752"/>
                <a:gd name="connsiteX80" fmla="*/ 82106 w 296983"/>
                <a:gd name="connsiteY80" fmla="*/ 147433 h 234752"/>
                <a:gd name="connsiteX81" fmla="*/ 78848 w 296983"/>
                <a:gd name="connsiteY81" fmla="*/ 156882 h 234752"/>
                <a:gd name="connsiteX82" fmla="*/ 80966 w 296983"/>
                <a:gd name="connsiteY82" fmla="*/ 158999 h 234752"/>
                <a:gd name="connsiteX83" fmla="*/ 83898 w 296983"/>
                <a:gd name="connsiteY83" fmla="*/ 162746 h 234752"/>
                <a:gd name="connsiteX84" fmla="*/ 82106 w 296983"/>
                <a:gd name="connsiteY84" fmla="*/ 170077 h 234752"/>
                <a:gd name="connsiteX85" fmla="*/ 66141 w 296983"/>
                <a:gd name="connsiteY85" fmla="*/ 188160 h 234752"/>
                <a:gd name="connsiteX86" fmla="*/ 64349 w 296983"/>
                <a:gd name="connsiteY86" fmla="*/ 195328 h 234752"/>
                <a:gd name="connsiteX87" fmla="*/ 57018 w 296983"/>
                <a:gd name="connsiteY87" fmla="*/ 203311 h 234752"/>
                <a:gd name="connsiteX88" fmla="*/ 48873 w 296983"/>
                <a:gd name="connsiteY88" fmla="*/ 204125 h 234752"/>
                <a:gd name="connsiteX89" fmla="*/ 31116 w 296983"/>
                <a:gd name="connsiteY89" fmla="*/ 220090 h 234752"/>
                <a:gd name="connsiteX90" fmla="*/ 6191 w 296983"/>
                <a:gd name="connsiteY90" fmla="*/ 224815 h 234752"/>
                <a:gd name="connsiteX91" fmla="*/ 0 w 296983"/>
                <a:gd name="connsiteY91" fmla="*/ 233449 h 234752"/>
                <a:gd name="connsiteX92" fmla="*/ 102958 w 296983"/>
                <a:gd name="connsiteY92" fmla="*/ 234589 h 234752"/>
                <a:gd name="connsiteX93" fmla="*/ 102958 w 296983"/>
                <a:gd name="connsiteY93" fmla="*/ 234752 h 234752"/>
                <a:gd name="connsiteX94" fmla="*/ 102958 w 296983"/>
                <a:gd name="connsiteY94" fmla="*/ 234589 h 2347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</a:cxnLst>
              <a:rect l="l" t="t" r="r" b="b"/>
              <a:pathLst>
                <a:path w="296983" h="234752">
                  <a:moveTo>
                    <a:pt x="102958" y="234589"/>
                  </a:moveTo>
                  <a:lnTo>
                    <a:pt x="103447" y="212922"/>
                  </a:lnTo>
                  <a:lnTo>
                    <a:pt x="115177" y="204451"/>
                  </a:lnTo>
                  <a:lnTo>
                    <a:pt x="120227" y="197935"/>
                  </a:lnTo>
                  <a:lnTo>
                    <a:pt x="127721" y="192722"/>
                  </a:lnTo>
                  <a:lnTo>
                    <a:pt x="141242" y="190115"/>
                  </a:lnTo>
                  <a:lnTo>
                    <a:pt x="148899" y="190115"/>
                  </a:lnTo>
                  <a:lnTo>
                    <a:pt x="153460" y="188812"/>
                  </a:lnTo>
                  <a:lnTo>
                    <a:pt x="163072" y="188649"/>
                  </a:lnTo>
                  <a:lnTo>
                    <a:pt x="173173" y="186368"/>
                  </a:lnTo>
                  <a:lnTo>
                    <a:pt x="194025" y="174150"/>
                  </a:lnTo>
                  <a:lnTo>
                    <a:pt x="221393" y="158348"/>
                  </a:lnTo>
                  <a:lnTo>
                    <a:pt x="238988" y="146130"/>
                  </a:lnTo>
                  <a:lnTo>
                    <a:pt x="241268" y="141079"/>
                  </a:lnTo>
                  <a:lnTo>
                    <a:pt x="240943" y="133097"/>
                  </a:lnTo>
                  <a:lnTo>
                    <a:pt x="243386" y="127232"/>
                  </a:lnTo>
                  <a:lnTo>
                    <a:pt x="248925" y="122508"/>
                  </a:lnTo>
                  <a:lnTo>
                    <a:pt x="254953" y="112733"/>
                  </a:lnTo>
                  <a:lnTo>
                    <a:pt x="261143" y="111430"/>
                  </a:lnTo>
                  <a:lnTo>
                    <a:pt x="291282" y="111430"/>
                  </a:lnTo>
                  <a:lnTo>
                    <a:pt x="294703" y="106543"/>
                  </a:lnTo>
                  <a:lnTo>
                    <a:pt x="294214" y="104914"/>
                  </a:lnTo>
                  <a:lnTo>
                    <a:pt x="296984" y="97909"/>
                  </a:lnTo>
                  <a:lnTo>
                    <a:pt x="294866" y="96117"/>
                  </a:lnTo>
                  <a:lnTo>
                    <a:pt x="291933" y="95953"/>
                  </a:lnTo>
                  <a:lnTo>
                    <a:pt x="289327" y="93673"/>
                  </a:lnTo>
                  <a:lnTo>
                    <a:pt x="285417" y="92533"/>
                  </a:lnTo>
                  <a:lnTo>
                    <a:pt x="284277" y="87482"/>
                  </a:lnTo>
                  <a:lnTo>
                    <a:pt x="280530" y="79988"/>
                  </a:lnTo>
                  <a:lnTo>
                    <a:pt x="278412" y="61091"/>
                  </a:lnTo>
                  <a:lnTo>
                    <a:pt x="277434" y="57018"/>
                  </a:lnTo>
                  <a:lnTo>
                    <a:pt x="277597" y="47081"/>
                  </a:lnTo>
                  <a:lnTo>
                    <a:pt x="277109" y="38772"/>
                  </a:lnTo>
                  <a:lnTo>
                    <a:pt x="276294" y="36980"/>
                  </a:lnTo>
                  <a:lnTo>
                    <a:pt x="275643" y="32256"/>
                  </a:lnTo>
                  <a:lnTo>
                    <a:pt x="272710" y="28509"/>
                  </a:lnTo>
                  <a:lnTo>
                    <a:pt x="271407" y="25414"/>
                  </a:lnTo>
                  <a:lnTo>
                    <a:pt x="269614" y="22807"/>
                  </a:lnTo>
                  <a:lnTo>
                    <a:pt x="266031" y="22970"/>
                  </a:lnTo>
                  <a:lnTo>
                    <a:pt x="251532" y="21830"/>
                  </a:lnTo>
                  <a:lnTo>
                    <a:pt x="248436" y="18572"/>
                  </a:lnTo>
                  <a:lnTo>
                    <a:pt x="246970" y="13685"/>
                  </a:lnTo>
                  <a:lnTo>
                    <a:pt x="245178" y="13033"/>
                  </a:lnTo>
                  <a:lnTo>
                    <a:pt x="245015" y="13196"/>
                  </a:lnTo>
                  <a:lnTo>
                    <a:pt x="240454" y="18083"/>
                  </a:lnTo>
                  <a:lnTo>
                    <a:pt x="232308" y="19712"/>
                  </a:lnTo>
                  <a:lnTo>
                    <a:pt x="224163" y="17431"/>
                  </a:lnTo>
                  <a:lnTo>
                    <a:pt x="219927" y="17268"/>
                  </a:lnTo>
                  <a:lnTo>
                    <a:pt x="214389" y="20038"/>
                  </a:lnTo>
                  <a:lnTo>
                    <a:pt x="206732" y="21178"/>
                  </a:lnTo>
                  <a:lnTo>
                    <a:pt x="201193" y="20038"/>
                  </a:lnTo>
                  <a:lnTo>
                    <a:pt x="194025" y="12544"/>
                  </a:lnTo>
                  <a:lnTo>
                    <a:pt x="191255" y="10426"/>
                  </a:lnTo>
                  <a:lnTo>
                    <a:pt x="190115" y="6353"/>
                  </a:lnTo>
                  <a:lnTo>
                    <a:pt x="190115" y="3421"/>
                  </a:lnTo>
                  <a:lnTo>
                    <a:pt x="191092" y="1955"/>
                  </a:lnTo>
                  <a:lnTo>
                    <a:pt x="189626" y="0"/>
                  </a:lnTo>
                  <a:lnTo>
                    <a:pt x="184576" y="1792"/>
                  </a:lnTo>
                  <a:lnTo>
                    <a:pt x="182458" y="3747"/>
                  </a:lnTo>
                  <a:lnTo>
                    <a:pt x="178385" y="3258"/>
                  </a:lnTo>
                  <a:lnTo>
                    <a:pt x="173661" y="8797"/>
                  </a:lnTo>
                  <a:lnTo>
                    <a:pt x="172521" y="22644"/>
                  </a:lnTo>
                  <a:lnTo>
                    <a:pt x="166982" y="29812"/>
                  </a:lnTo>
                  <a:lnTo>
                    <a:pt x="165841" y="40402"/>
                  </a:lnTo>
                  <a:lnTo>
                    <a:pt x="162420" y="47081"/>
                  </a:lnTo>
                  <a:lnTo>
                    <a:pt x="150854" y="57833"/>
                  </a:lnTo>
                  <a:lnTo>
                    <a:pt x="148084" y="57996"/>
                  </a:lnTo>
                  <a:lnTo>
                    <a:pt x="142546" y="61906"/>
                  </a:lnTo>
                  <a:lnTo>
                    <a:pt x="133097" y="65164"/>
                  </a:lnTo>
                  <a:lnTo>
                    <a:pt x="126092" y="72658"/>
                  </a:lnTo>
                  <a:lnTo>
                    <a:pt x="123322" y="72820"/>
                  </a:lnTo>
                  <a:lnTo>
                    <a:pt x="113222" y="79500"/>
                  </a:lnTo>
                  <a:lnTo>
                    <a:pt x="107031" y="81618"/>
                  </a:lnTo>
                  <a:lnTo>
                    <a:pt x="103447" y="86994"/>
                  </a:lnTo>
                  <a:lnTo>
                    <a:pt x="91718" y="95465"/>
                  </a:lnTo>
                  <a:lnTo>
                    <a:pt x="95791" y="104262"/>
                  </a:lnTo>
                  <a:lnTo>
                    <a:pt x="95139" y="110452"/>
                  </a:lnTo>
                  <a:lnTo>
                    <a:pt x="84876" y="119738"/>
                  </a:lnTo>
                  <a:lnTo>
                    <a:pt x="78196" y="133260"/>
                  </a:lnTo>
                  <a:lnTo>
                    <a:pt x="77871" y="138961"/>
                  </a:lnTo>
                  <a:lnTo>
                    <a:pt x="82106" y="147433"/>
                  </a:lnTo>
                  <a:lnTo>
                    <a:pt x="78848" y="156882"/>
                  </a:lnTo>
                  <a:lnTo>
                    <a:pt x="80966" y="158999"/>
                  </a:lnTo>
                  <a:lnTo>
                    <a:pt x="83898" y="162746"/>
                  </a:lnTo>
                  <a:lnTo>
                    <a:pt x="82106" y="170077"/>
                  </a:lnTo>
                  <a:lnTo>
                    <a:pt x="66141" y="188160"/>
                  </a:lnTo>
                  <a:lnTo>
                    <a:pt x="64349" y="195328"/>
                  </a:lnTo>
                  <a:lnTo>
                    <a:pt x="57018" y="203311"/>
                  </a:lnTo>
                  <a:lnTo>
                    <a:pt x="48873" y="204125"/>
                  </a:lnTo>
                  <a:lnTo>
                    <a:pt x="31116" y="220090"/>
                  </a:lnTo>
                  <a:lnTo>
                    <a:pt x="6191" y="224815"/>
                  </a:lnTo>
                  <a:lnTo>
                    <a:pt x="0" y="233449"/>
                  </a:lnTo>
                  <a:lnTo>
                    <a:pt x="102958" y="234589"/>
                  </a:lnTo>
                  <a:lnTo>
                    <a:pt x="102958" y="234752"/>
                  </a:lnTo>
                  <a:lnTo>
                    <a:pt x="102958" y="234589"/>
                  </a:lnTo>
                  <a:close/>
                </a:path>
              </a:pathLst>
            </a:custGeom>
            <a:solidFill>
              <a:schemeClr val="bg2"/>
            </a:solidFill>
            <a:ln w="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3" name="Forma livre: Forma 102">
              <a:extLst>
                <a:ext uri="{FF2B5EF4-FFF2-40B4-BE49-F238E27FC236}">
                  <a16:creationId xmlns:a16="http://schemas.microsoft.com/office/drawing/2014/main" id="{4D04270C-E8CB-288C-4E9E-597FDB1E45AF}"/>
                </a:ext>
              </a:extLst>
            </p:cNvPr>
            <p:cNvSpPr/>
            <p:nvPr/>
          </p:nvSpPr>
          <p:spPr>
            <a:xfrm>
              <a:off x="5549503" y="4207540"/>
              <a:ext cx="216162" cy="175589"/>
            </a:xfrm>
            <a:custGeom>
              <a:avLst/>
              <a:gdLst>
                <a:gd name="connsiteX0" fmla="*/ 209012 w 209175"/>
                <a:gd name="connsiteY0" fmla="*/ 8471 h 169914"/>
                <a:gd name="connsiteX1" fmla="*/ 209175 w 209175"/>
                <a:gd name="connsiteY1" fmla="*/ 1140 h 169914"/>
                <a:gd name="connsiteX2" fmla="*/ 106217 w 209175"/>
                <a:gd name="connsiteY2" fmla="*/ 0 h 169914"/>
                <a:gd name="connsiteX3" fmla="*/ 96279 w 209175"/>
                <a:gd name="connsiteY3" fmla="*/ 13847 h 169914"/>
                <a:gd name="connsiteX4" fmla="*/ 96279 w 209175"/>
                <a:gd name="connsiteY4" fmla="*/ 23785 h 169914"/>
                <a:gd name="connsiteX5" fmla="*/ 91718 w 209175"/>
                <a:gd name="connsiteY5" fmla="*/ 24110 h 169914"/>
                <a:gd name="connsiteX6" fmla="*/ 73798 w 209175"/>
                <a:gd name="connsiteY6" fmla="*/ 33234 h 169914"/>
                <a:gd name="connsiteX7" fmla="*/ 72169 w 209175"/>
                <a:gd name="connsiteY7" fmla="*/ 38284 h 169914"/>
                <a:gd name="connsiteX8" fmla="*/ 65164 w 209175"/>
                <a:gd name="connsiteY8" fmla="*/ 42356 h 169914"/>
                <a:gd name="connsiteX9" fmla="*/ 67282 w 209175"/>
                <a:gd name="connsiteY9" fmla="*/ 49036 h 169914"/>
                <a:gd name="connsiteX10" fmla="*/ 51642 w 209175"/>
                <a:gd name="connsiteY10" fmla="*/ 71843 h 169914"/>
                <a:gd name="connsiteX11" fmla="*/ 50665 w 209175"/>
                <a:gd name="connsiteY11" fmla="*/ 79174 h 169914"/>
                <a:gd name="connsiteX12" fmla="*/ 38610 w 209175"/>
                <a:gd name="connsiteY12" fmla="*/ 90415 h 169914"/>
                <a:gd name="connsiteX13" fmla="*/ 35026 w 209175"/>
                <a:gd name="connsiteY13" fmla="*/ 92369 h 169914"/>
                <a:gd name="connsiteX14" fmla="*/ 28672 w 209175"/>
                <a:gd name="connsiteY14" fmla="*/ 106217 h 169914"/>
                <a:gd name="connsiteX15" fmla="*/ 29161 w 209175"/>
                <a:gd name="connsiteY15" fmla="*/ 110127 h 169914"/>
                <a:gd name="connsiteX16" fmla="*/ 18898 w 209175"/>
                <a:gd name="connsiteY16" fmla="*/ 123648 h 169914"/>
                <a:gd name="connsiteX17" fmla="*/ 18572 w 209175"/>
                <a:gd name="connsiteY17" fmla="*/ 126092 h 169914"/>
                <a:gd name="connsiteX18" fmla="*/ 21667 w 209175"/>
                <a:gd name="connsiteY18" fmla="*/ 128535 h 169914"/>
                <a:gd name="connsiteX19" fmla="*/ 17106 w 209175"/>
                <a:gd name="connsiteY19" fmla="*/ 130164 h 169914"/>
                <a:gd name="connsiteX20" fmla="*/ 9123 w 209175"/>
                <a:gd name="connsiteY20" fmla="*/ 145152 h 169914"/>
                <a:gd name="connsiteX21" fmla="*/ 6028 w 209175"/>
                <a:gd name="connsiteY21" fmla="*/ 145804 h 169914"/>
                <a:gd name="connsiteX22" fmla="*/ 2281 w 209175"/>
                <a:gd name="connsiteY22" fmla="*/ 149714 h 169914"/>
                <a:gd name="connsiteX23" fmla="*/ 2607 w 209175"/>
                <a:gd name="connsiteY23" fmla="*/ 156067 h 169914"/>
                <a:gd name="connsiteX24" fmla="*/ 0 w 209175"/>
                <a:gd name="connsiteY24" fmla="*/ 161606 h 169914"/>
                <a:gd name="connsiteX25" fmla="*/ 489 w 209175"/>
                <a:gd name="connsiteY25" fmla="*/ 169914 h 169914"/>
                <a:gd name="connsiteX26" fmla="*/ 102959 w 209175"/>
                <a:gd name="connsiteY26" fmla="*/ 169100 h 169914"/>
                <a:gd name="connsiteX27" fmla="*/ 101981 w 209175"/>
                <a:gd name="connsiteY27" fmla="*/ 122345 h 169914"/>
                <a:gd name="connsiteX28" fmla="*/ 105076 w 209175"/>
                <a:gd name="connsiteY28" fmla="*/ 115340 h 169914"/>
                <a:gd name="connsiteX29" fmla="*/ 110615 w 209175"/>
                <a:gd name="connsiteY29" fmla="*/ 111430 h 169914"/>
                <a:gd name="connsiteX30" fmla="*/ 116969 w 209175"/>
                <a:gd name="connsiteY30" fmla="*/ 110615 h 169914"/>
                <a:gd name="connsiteX31" fmla="*/ 125929 w 209175"/>
                <a:gd name="connsiteY31" fmla="*/ 110615 h 169914"/>
                <a:gd name="connsiteX32" fmla="*/ 127069 w 209175"/>
                <a:gd name="connsiteY32" fmla="*/ 43008 h 169914"/>
                <a:gd name="connsiteX33" fmla="*/ 208198 w 209175"/>
                <a:gd name="connsiteY33" fmla="*/ 44474 h 169914"/>
                <a:gd name="connsiteX34" fmla="*/ 209175 w 209175"/>
                <a:gd name="connsiteY34" fmla="*/ 8634 h 169914"/>
                <a:gd name="connsiteX35" fmla="*/ 209012 w 209175"/>
                <a:gd name="connsiteY35" fmla="*/ 8471 h 1699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</a:cxnLst>
              <a:rect l="l" t="t" r="r" b="b"/>
              <a:pathLst>
                <a:path w="209175" h="169914">
                  <a:moveTo>
                    <a:pt x="209012" y="8471"/>
                  </a:moveTo>
                  <a:lnTo>
                    <a:pt x="209175" y="1140"/>
                  </a:lnTo>
                  <a:lnTo>
                    <a:pt x="106217" y="0"/>
                  </a:lnTo>
                  <a:lnTo>
                    <a:pt x="96279" y="13847"/>
                  </a:lnTo>
                  <a:lnTo>
                    <a:pt x="96279" y="23785"/>
                  </a:lnTo>
                  <a:lnTo>
                    <a:pt x="91718" y="24110"/>
                  </a:lnTo>
                  <a:lnTo>
                    <a:pt x="73798" y="33234"/>
                  </a:lnTo>
                  <a:lnTo>
                    <a:pt x="72169" y="38284"/>
                  </a:lnTo>
                  <a:lnTo>
                    <a:pt x="65164" y="42356"/>
                  </a:lnTo>
                  <a:lnTo>
                    <a:pt x="67282" y="49036"/>
                  </a:lnTo>
                  <a:lnTo>
                    <a:pt x="51642" y="71843"/>
                  </a:lnTo>
                  <a:lnTo>
                    <a:pt x="50665" y="79174"/>
                  </a:lnTo>
                  <a:lnTo>
                    <a:pt x="38610" y="90415"/>
                  </a:lnTo>
                  <a:lnTo>
                    <a:pt x="35026" y="92369"/>
                  </a:lnTo>
                  <a:lnTo>
                    <a:pt x="28672" y="106217"/>
                  </a:lnTo>
                  <a:lnTo>
                    <a:pt x="29161" y="110127"/>
                  </a:lnTo>
                  <a:lnTo>
                    <a:pt x="18898" y="123648"/>
                  </a:lnTo>
                  <a:lnTo>
                    <a:pt x="18572" y="126092"/>
                  </a:lnTo>
                  <a:lnTo>
                    <a:pt x="21667" y="128535"/>
                  </a:lnTo>
                  <a:lnTo>
                    <a:pt x="17106" y="130164"/>
                  </a:lnTo>
                  <a:lnTo>
                    <a:pt x="9123" y="145152"/>
                  </a:lnTo>
                  <a:lnTo>
                    <a:pt x="6028" y="145804"/>
                  </a:lnTo>
                  <a:lnTo>
                    <a:pt x="2281" y="149714"/>
                  </a:lnTo>
                  <a:lnTo>
                    <a:pt x="2607" y="156067"/>
                  </a:lnTo>
                  <a:lnTo>
                    <a:pt x="0" y="161606"/>
                  </a:lnTo>
                  <a:lnTo>
                    <a:pt x="489" y="169914"/>
                  </a:lnTo>
                  <a:lnTo>
                    <a:pt x="102959" y="169100"/>
                  </a:lnTo>
                  <a:lnTo>
                    <a:pt x="101981" y="122345"/>
                  </a:lnTo>
                  <a:lnTo>
                    <a:pt x="105076" y="115340"/>
                  </a:lnTo>
                  <a:lnTo>
                    <a:pt x="110615" y="111430"/>
                  </a:lnTo>
                  <a:lnTo>
                    <a:pt x="116969" y="110615"/>
                  </a:lnTo>
                  <a:lnTo>
                    <a:pt x="125929" y="110615"/>
                  </a:lnTo>
                  <a:lnTo>
                    <a:pt x="127069" y="43008"/>
                  </a:lnTo>
                  <a:lnTo>
                    <a:pt x="208198" y="44474"/>
                  </a:lnTo>
                  <a:lnTo>
                    <a:pt x="209175" y="8634"/>
                  </a:lnTo>
                  <a:lnTo>
                    <a:pt x="209012" y="8471"/>
                  </a:lnTo>
                  <a:close/>
                </a:path>
              </a:pathLst>
            </a:custGeom>
            <a:solidFill>
              <a:schemeClr val="bg2"/>
            </a:solidFill>
            <a:ln w="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4" name="Forma livre: Forma 103">
              <a:extLst>
                <a:ext uri="{FF2B5EF4-FFF2-40B4-BE49-F238E27FC236}">
                  <a16:creationId xmlns:a16="http://schemas.microsoft.com/office/drawing/2014/main" id="{0BBC9949-B2AD-3404-51F9-602408A6EAD6}"/>
                </a:ext>
              </a:extLst>
            </p:cNvPr>
            <p:cNvSpPr/>
            <p:nvPr/>
          </p:nvSpPr>
          <p:spPr>
            <a:xfrm>
              <a:off x="5547482" y="4216295"/>
              <a:ext cx="313973" cy="344277"/>
            </a:xfrm>
            <a:custGeom>
              <a:avLst/>
              <a:gdLst>
                <a:gd name="connsiteX0" fmla="*/ 2444 w 303825"/>
                <a:gd name="connsiteY0" fmla="*/ 161443 h 333149"/>
                <a:gd name="connsiteX1" fmla="*/ 104914 w 303825"/>
                <a:gd name="connsiteY1" fmla="*/ 160628 h 333149"/>
                <a:gd name="connsiteX2" fmla="*/ 103936 w 303825"/>
                <a:gd name="connsiteY2" fmla="*/ 113874 h 333149"/>
                <a:gd name="connsiteX3" fmla="*/ 107031 w 303825"/>
                <a:gd name="connsiteY3" fmla="*/ 106868 h 333149"/>
                <a:gd name="connsiteX4" fmla="*/ 112570 w 303825"/>
                <a:gd name="connsiteY4" fmla="*/ 102958 h 333149"/>
                <a:gd name="connsiteX5" fmla="*/ 118924 w 303825"/>
                <a:gd name="connsiteY5" fmla="*/ 102144 h 333149"/>
                <a:gd name="connsiteX6" fmla="*/ 127884 w 303825"/>
                <a:gd name="connsiteY6" fmla="*/ 102144 h 333149"/>
                <a:gd name="connsiteX7" fmla="*/ 129024 w 303825"/>
                <a:gd name="connsiteY7" fmla="*/ 34537 h 333149"/>
                <a:gd name="connsiteX8" fmla="*/ 210153 w 303825"/>
                <a:gd name="connsiteY8" fmla="*/ 36003 h 333149"/>
                <a:gd name="connsiteX9" fmla="*/ 211130 w 303825"/>
                <a:gd name="connsiteY9" fmla="*/ 0 h 333149"/>
                <a:gd name="connsiteX10" fmla="*/ 303825 w 303825"/>
                <a:gd name="connsiteY10" fmla="*/ 62231 h 333149"/>
                <a:gd name="connsiteX11" fmla="*/ 303825 w 303825"/>
                <a:gd name="connsiteY11" fmla="*/ 62394 h 333149"/>
                <a:gd name="connsiteX12" fmla="*/ 303500 w 303825"/>
                <a:gd name="connsiteY12" fmla="*/ 62231 h 333149"/>
                <a:gd name="connsiteX13" fmla="*/ 272547 w 303825"/>
                <a:gd name="connsiteY13" fmla="*/ 62720 h 333149"/>
                <a:gd name="connsiteX14" fmla="*/ 292259 w 303825"/>
                <a:gd name="connsiteY14" fmla="*/ 288512 h 333149"/>
                <a:gd name="connsiteX15" fmla="*/ 300079 w 303825"/>
                <a:gd name="connsiteY15" fmla="*/ 293399 h 333149"/>
                <a:gd name="connsiteX16" fmla="*/ 291770 w 303825"/>
                <a:gd name="connsiteY16" fmla="*/ 316532 h 333149"/>
                <a:gd name="connsiteX17" fmla="*/ 200704 w 303825"/>
                <a:gd name="connsiteY17" fmla="*/ 316858 h 333149"/>
                <a:gd name="connsiteX18" fmla="*/ 198098 w 303825"/>
                <a:gd name="connsiteY18" fmla="*/ 315718 h 333149"/>
                <a:gd name="connsiteX19" fmla="*/ 195165 w 303825"/>
                <a:gd name="connsiteY19" fmla="*/ 311808 h 333149"/>
                <a:gd name="connsiteX20" fmla="*/ 191907 w 303825"/>
                <a:gd name="connsiteY20" fmla="*/ 311808 h 333149"/>
                <a:gd name="connsiteX21" fmla="*/ 187508 w 303825"/>
                <a:gd name="connsiteY21" fmla="*/ 316858 h 333149"/>
                <a:gd name="connsiteX22" fmla="*/ 184576 w 303825"/>
                <a:gd name="connsiteY22" fmla="*/ 313763 h 333149"/>
                <a:gd name="connsiteX23" fmla="*/ 184250 w 303825"/>
                <a:gd name="connsiteY23" fmla="*/ 306269 h 333149"/>
                <a:gd name="connsiteX24" fmla="*/ 178385 w 303825"/>
                <a:gd name="connsiteY24" fmla="*/ 304151 h 333149"/>
                <a:gd name="connsiteX25" fmla="*/ 165353 w 303825"/>
                <a:gd name="connsiteY25" fmla="*/ 309690 h 333149"/>
                <a:gd name="connsiteX26" fmla="*/ 159325 w 303825"/>
                <a:gd name="connsiteY26" fmla="*/ 321746 h 333149"/>
                <a:gd name="connsiteX27" fmla="*/ 156556 w 303825"/>
                <a:gd name="connsiteY27" fmla="*/ 320116 h 333149"/>
                <a:gd name="connsiteX28" fmla="*/ 152157 w 303825"/>
                <a:gd name="connsiteY28" fmla="*/ 311808 h 333149"/>
                <a:gd name="connsiteX29" fmla="*/ 151342 w 303825"/>
                <a:gd name="connsiteY29" fmla="*/ 305292 h 333149"/>
                <a:gd name="connsiteX30" fmla="*/ 145315 w 303825"/>
                <a:gd name="connsiteY30" fmla="*/ 305129 h 333149"/>
                <a:gd name="connsiteX31" fmla="*/ 137332 w 303825"/>
                <a:gd name="connsiteY31" fmla="*/ 307735 h 333149"/>
                <a:gd name="connsiteX32" fmla="*/ 137332 w 303825"/>
                <a:gd name="connsiteY32" fmla="*/ 317347 h 333149"/>
                <a:gd name="connsiteX33" fmla="*/ 137658 w 303825"/>
                <a:gd name="connsiteY33" fmla="*/ 320768 h 333149"/>
                <a:gd name="connsiteX34" fmla="*/ 134889 w 303825"/>
                <a:gd name="connsiteY34" fmla="*/ 327936 h 333149"/>
                <a:gd name="connsiteX35" fmla="*/ 127069 w 303825"/>
                <a:gd name="connsiteY35" fmla="*/ 328425 h 333149"/>
                <a:gd name="connsiteX36" fmla="*/ 121041 w 303825"/>
                <a:gd name="connsiteY36" fmla="*/ 333149 h 333149"/>
                <a:gd name="connsiteX37" fmla="*/ 120879 w 303825"/>
                <a:gd name="connsiteY37" fmla="*/ 333149 h 333149"/>
                <a:gd name="connsiteX38" fmla="*/ 119738 w 303825"/>
                <a:gd name="connsiteY38" fmla="*/ 329239 h 333149"/>
                <a:gd name="connsiteX39" fmla="*/ 112733 w 303825"/>
                <a:gd name="connsiteY39" fmla="*/ 325004 h 333149"/>
                <a:gd name="connsiteX40" fmla="*/ 108334 w 303825"/>
                <a:gd name="connsiteY40" fmla="*/ 323212 h 333149"/>
                <a:gd name="connsiteX41" fmla="*/ 106868 w 303825"/>
                <a:gd name="connsiteY41" fmla="*/ 317836 h 333149"/>
                <a:gd name="connsiteX42" fmla="*/ 101330 w 303825"/>
                <a:gd name="connsiteY42" fmla="*/ 316858 h 333149"/>
                <a:gd name="connsiteX43" fmla="*/ 101330 w 303825"/>
                <a:gd name="connsiteY43" fmla="*/ 310994 h 333149"/>
                <a:gd name="connsiteX44" fmla="*/ 95791 w 303825"/>
                <a:gd name="connsiteY44" fmla="*/ 306269 h 333149"/>
                <a:gd name="connsiteX45" fmla="*/ 94813 w 303825"/>
                <a:gd name="connsiteY45" fmla="*/ 299916 h 333149"/>
                <a:gd name="connsiteX46" fmla="*/ 92695 w 303825"/>
                <a:gd name="connsiteY46" fmla="*/ 297961 h 333149"/>
                <a:gd name="connsiteX47" fmla="*/ 88460 w 303825"/>
                <a:gd name="connsiteY47" fmla="*/ 298449 h 333149"/>
                <a:gd name="connsiteX48" fmla="*/ 86831 w 303825"/>
                <a:gd name="connsiteY48" fmla="*/ 297309 h 333149"/>
                <a:gd name="connsiteX49" fmla="*/ 82432 w 303825"/>
                <a:gd name="connsiteY49" fmla="*/ 298938 h 333149"/>
                <a:gd name="connsiteX50" fmla="*/ 78848 w 303825"/>
                <a:gd name="connsiteY50" fmla="*/ 297472 h 333149"/>
                <a:gd name="connsiteX51" fmla="*/ 78848 w 303825"/>
                <a:gd name="connsiteY51" fmla="*/ 295028 h 333149"/>
                <a:gd name="connsiteX52" fmla="*/ 73472 w 303825"/>
                <a:gd name="connsiteY52" fmla="*/ 287860 h 333149"/>
                <a:gd name="connsiteX53" fmla="*/ 66956 w 303825"/>
                <a:gd name="connsiteY53" fmla="*/ 286394 h 333149"/>
                <a:gd name="connsiteX54" fmla="*/ 54900 w 303825"/>
                <a:gd name="connsiteY54" fmla="*/ 282484 h 333149"/>
                <a:gd name="connsiteX55" fmla="*/ 50339 w 303825"/>
                <a:gd name="connsiteY55" fmla="*/ 282484 h 333149"/>
                <a:gd name="connsiteX56" fmla="*/ 37143 w 303825"/>
                <a:gd name="connsiteY56" fmla="*/ 287698 h 333149"/>
                <a:gd name="connsiteX57" fmla="*/ 23459 w 303825"/>
                <a:gd name="connsiteY57" fmla="*/ 289815 h 333149"/>
                <a:gd name="connsiteX58" fmla="*/ 18246 w 303825"/>
                <a:gd name="connsiteY58" fmla="*/ 294703 h 333149"/>
                <a:gd name="connsiteX59" fmla="*/ 14499 w 303825"/>
                <a:gd name="connsiteY59" fmla="*/ 294703 h 333149"/>
                <a:gd name="connsiteX60" fmla="*/ 10263 w 303825"/>
                <a:gd name="connsiteY60" fmla="*/ 298124 h 333149"/>
                <a:gd name="connsiteX61" fmla="*/ 11566 w 303825"/>
                <a:gd name="connsiteY61" fmla="*/ 287698 h 333149"/>
                <a:gd name="connsiteX62" fmla="*/ 15639 w 303825"/>
                <a:gd name="connsiteY62" fmla="*/ 271895 h 333149"/>
                <a:gd name="connsiteX63" fmla="*/ 21830 w 303825"/>
                <a:gd name="connsiteY63" fmla="*/ 263098 h 333149"/>
                <a:gd name="connsiteX64" fmla="*/ 23622 w 303825"/>
                <a:gd name="connsiteY64" fmla="*/ 244690 h 333149"/>
                <a:gd name="connsiteX65" fmla="*/ 18572 w 303825"/>
                <a:gd name="connsiteY65" fmla="*/ 218298 h 333149"/>
                <a:gd name="connsiteX66" fmla="*/ 11241 w 303825"/>
                <a:gd name="connsiteY66" fmla="*/ 207057 h 333149"/>
                <a:gd name="connsiteX67" fmla="*/ 14173 w 303825"/>
                <a:gd name="connsiteY67" fmla="*/ 204940 h 333149"/>
                <a:gd name="connsiteX68" fmla="*/ 17594 w 303825"/>
                <a:gd name="connsiteY68" fmla="*/ 204940 h 333149"/>
                <a:gd name="connsiteX69" fmla="*/ 19386 w 303825"/>
                <a:gd name="connsiteY69" fmla="*/ 196143 h 333149"/>
                <a:gd name="connsiteX70" fmla="*/ 17431 w 303825"/>
                <a:gd name="connsiteY70" fmla="*/ 190766 h 333149"/>
                <a:gd name="connsiteX71" fmla="*/ 20690 w 303825"/>
                <a:gd name="connsiteY71" fmla="*/ 187508 h 333149"/>
                <a:gd name="connsiteX72" fmla="*/ 13358 w 303825"/>
                <a:gd name="connsiteY72" fmla="*/ 176431 h 333149"/>
                <a:gd name="connsiteX73" fmla="*/ 10263 w 303825"/>
                <a:gd name="connsiteY73" fmla="*/ 179037 h 333149"/>
                <a:gd name="connsiteX74" fmla="*/ 8145 w 303825"/>
                <a:gd name="connsiteY74" fmla="*/ 177897 h 333149"/>
                <a:gd name="connsiteX75" fmla="*/ 6028 w 303825"/>
                <a:gd name="connsiteY75" fmla="*/ 171706 h 333149"/>
                <a:gd name="connsiteX76" fmla="*/ 326 w 303825"/>
                <a:gd name="connsiteY76" fmla="*/ 178060 h 333149"/>
                <a:gd name="connsiteX77" fmla="*/ 0 w 303825"/>
                <a:gd name="connsiteY77" fmla="*/ 168122 h 333149"/>
                <a:gd name="connsiteX78" fmla="*/ 2444 w 303825"/>
                <a:gd name="connsiteY78" fmla="*/ 162583 h 333149"/>
                <a:gd name="connsiteX79" fmla="*/ 2444 w 303825"/>
                <a:gd name="connsiteY79" fmla="*/ 161443 h 3331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</a:cxnLst>
              <a:rect l="l" t="t" r="r" b="b"/>
              <a:pathLst>
                <a:path w="303825" h="333149">
                  <a:moveTo>
                    <a:pt x="2444" y="161443"/>
                  </a:moveTo>
                  <a:lnTo>
                    <a:pt x="104914" y="160628"/>
                  </a:lnTo>
                  <a:lnTo>
                    <a:pt x="103936" y="113874"/>
                  </a:lnTo>
                  <a:lnTo>
                    <a:pt x="107031" y="106868"/>
                  </a:lnTo>
                  <a:lnTo>
                    <a:pt x="112570" y="102958"/>
                  </a:lnTo>
                  <a:lnTo>
                    <a:pt x="118924" y="102144"/>
                  </a:lnTo>
                  <a:lnTo>
                    <a:pt x="127884" y="102144"/>
                  </a:lnTo>
                  <a:lnTo>
                    <a:pt x="129024" y="34537"/>
                  </a:lnTo>
                  <a:lnTo>
                    <a:pt x="210153" y="36003"/>
                  </a:lnTo>
                  <a:lnTo>
                    <a:pt x="211130" y="0"/>
                  </a:lnTo>
                  <a:lnTo>
                    <a:pt x="303825" y="62231"/>
                  </a:lnTo>
                  <a:lnTo>
                    <a:pt x="303825" y="62394"/>
                  </a:lnTo>
                  <a:lnTo>
                    <a:pt x="303500" y="62231"/>
                  </a:lnTo>
                  <a:lnTo>
                    <a:pt x="272547" y="62720"/>
                  </a:lnTo>
                  <a:lnTo>
                    <a:pt x="292259" y="288512"/>
                  </a:lnTo>
                  <a:lnTo>
                    <a:pt x="300079" y="293399"/>
                  </a:lnTo>
                  <a:lnTo>
                    <a:pt x="291770" y="316532"/>
                  </a:lnTo>
                  <a:lnTo>
                    <a:pt x="200704" y="316858"/>
                  </a:lnTo>
                  <a:lnTo>
                    <a:pt x="198098" y="315718"/>
                  </a:lnTo>
                  <a:lnTo>
                    <a:pt x="195165" y="311808"/>
                  </a:lnTo>
                  <a:lnTo>
                    <a:pt x="191907" y="311808"/>
                  </a:lnTo>
                  <a:lnTo>
                    <a:pt x="187508" y="316858"/>
                  </a:lnTo>
                  <a:lnTo>
                    <a:pt x="184576" y="313763"/>
                  </a:lnTo>
                  <a:lnTo>
                    <a:pt x="184250" y="306269"/>
                  </a:lnTo>
                  <a:lnTo>
                    <a:pt x="178385" y="304151"/>
                  </a:lnTo>
                  <a:lnTo>
                    <a:pt x="165353" y="309690"/>
                  </a:lnTo>
                  <a:lnTo>
                    <a:pt x="159325" y="321746"/>
                  </a:lnTo>
                  <a:lnTo>
                    <a:pt x="156556" y="320116"/>
                  </a:lnTo>
                  <a:lnTo>
                    <a:pt x="152157" y="311808"/>
                  </a:lnTo>
                  <a:lnTo>
                    <a:pt x="151342" y="305292"/>
                  </a:lnTo>
                  <a:lnTo>
                    <a:pt x="145315" y="305129"/>
                  </a:lnTo>
                  <a:lnTo>
                    <a:pt x="137332" y="307735"/>
                  </a:lnTo>
                  <a:lnTo>
                    <a:pt x="137332" y="317347"/>
                  </a:lnTo>
                  <a:lnTo>
                    <a:pt x="137658" y="320768"/>
                  </a:lnTo>
                  <a:lnTo>
                    <a:pt x="134889" y="327936"/>
                  </a:lnTo>
                  <a:lnTo>
                    <a:pt x="127069" y="328425"/>
                  </a:lnTo>
                  <a:lnTo>
                    <a:pt x="121041" y="333149"/>
                  </a:lnTo>
                  <a:lnTo>
                    <a:pt x="120879" y="333149"/>
                  </a:lnTo>
                  <a:lnTo>
                    <a:pt x="119738" y="329239"/>
                  </a:lnTo>
                  <a:lnTo>
                    <a:pt x="112733" y="325004"/>
                  </a:lnTo>
                  <a:lnTo>
                    <a:pt x="108334" y="323212"/>
                  </a:lnTo>
                  <a:lnTo>
                    <a:pt x="106868" y="317836"/>
                  </a:lnTo>
                  <a:lnTo>
                    <a:pt x="101330" y="316858"/>
                  </a:lnTo>
                  <a:lnTo>
                    <a:pt x="101330" y="310994"/>
                  </a:lnTo>
                  <a:lnTo>
                    <a:pt x="95791" y="306269"/>
                  </a:lnTo>
                  <a:lnTo>
                    <a:pt x="94813" y="299916"/>
                  </a:lnTo>
                  <a:lnTo>
                    <a:pt x="92695" y="297961"/>
                  </a:lnTo>
                  <a:lnTo>
                    <a:pt x="88460" y="298449"/>
                  </a:lnTo>
                  <a:lnTo>
                    <a:pt x="86831" y="297309"/>
                  </a:lnTo>
                  <a:lnTo>
                    <a:pt x="82432" y="298938"/>
                  </a:lnTo>
                  <a:lnTo>
                    <a:pt x="78848" y="297472"/>
                  </a:lnTo>
                  <a:lnTo>
                    <a:pt x="78848" y="295028"/>
                  </a:lnTo>
                  <a:lnTo>
                    <a:pt x="73472" y="287860"/>
                  </a:lnTo>
                  <a:lnTo>
                    <a:pt x="66956" y="286394"/>
                  </a:lnTo>
                  <a:lnTo>
                    <a:pt x="54900" y="282484"/>
                  </a:lnTo>
                  <a:lnTo>
                    <a:pt x="50339" y="282484"/>
                  </a:lnTo>
                  <a:lnTo>
                    <a:pt x="37143" y="287698"/>
                  </a:lnTo>
                  <a:lnTo>
                    <a:pt x="23459" y="289815"/>
                  </a:lnTo>
                  <a:lnTo>
                    <a:pt x="18246" y="294703"/>
                  </a:lnTo>
                  <a:lnTo>
                    <a:pt x="14499" y="294703"/>
                  </a:lnTo>
                  <a:lnTo>
                    <a:pt x="10263" y="298124"/>
                  </a:lnTo>
                  <a:lnTo>
                    <a:pt x="11566" y="287698"/>
                  </a:lnTo>
                  <a:lnTo>
                    <a:pt x="15639" y="271895"/>
                  </a:lnTo>
                  <a:lnTo>
                    <a:pt x="21830" y="263098"/>
                  </a:lnTo>
                  <a:lnTo>
                    <a:pt x="23622" y="244690"/>
                  </a:lnTo>
                  <a:lnTo>
                    <a:pt x="18572" y="218298"/>
                  </a:lnTo>
                  <a:lnTo>
                    <a:pt x="11241" y="207057"/>
                  </a:lnTo>
                  <a:lnTo>
                    <a:pt x="14173" y="204940"/>
                  </a:lnTo>
                  <a:lnTo>
                    <a:pt x="17594" y="204940"/>
                  </a:lnTo>
                  <a:lnTo>
                    <a:pt x="19386" y="196143"/>
                  </a:lnTo>
                  <a:lnTo>
                    <a:pt x="17431" y="190766"/>
                  </a:lnTo>
                  <a:lnTo>
                    <a:pt x="20690" y="187508"/>
                  </a:lnTo>
                  <a:lnTo>
                    <a:pt x="13358" y="176431"/>
                  </a:lnTo>
                  <a:lnTo>
                    <a:pt x="10263" y="179037"/>
                  </a:lnTo>
                  <a:lnTo>
                    <a:pt x="8145" y="177897"/>
                  </a:lnTo>
                  <a:lnTo>
                    <a:pt x="6028" y="171706"/>
                  </a:lnTo>
                  <a:lnTo>
                    <a:pt x="326" y="178060"/>
                  </a:lnTo>
                  <a:lnTo>
                    <a:pt x="0" y="168122"/>
                  </a:lnTo>
                  <a:lnTo>
                    <a:pt x="2444" y="162583"/>
                  </a:lnTo>
                  <a:lnTo>
                    <a:pt x="2444" y="161443"/>
                  </a:lnTo>
                  <a:close/>
                </a:path>
              </a:pathLst>
            </a:custGeom>
            <a:solidFill>
              <a:schemeClr val="bg2"/>
            </a:solidFill>
            <a:ln w="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5" name="Forma livre: Forma 104">
              <a:extLst>
                <a:ext uri="{FF2B5EF4-FFF2-40B4-BE49-F238E27FC236}">
                  <a16:creationId xmlns:a16="http://schemas.microsoft.com/office/drawing/2014/main" id="{92574ECF-2DBE-1619-940F-72ADFFA548F0}"/>
                </a:ext>
              </a:extLst>
            </p:cNvPr>
            <p:cNvSpPr/>
            <p:nvPr/>
          </p:nvSpPr>
          <p:spPr>
            <a:xfrm>
              <a:off x="5672567" y="4280605"/>
              <a:ext cx="431482" cy="401010"/>
            </a:xfrm>
            <a:custGeom>
              <a:avLst/>
              <a:gdLst>
                <a:gd name="connsiteX0" fmla="*/ 0 w 417536"/>
                <a:gd name="connsiteY0" fmla="*/ 270918 h 388049"/>
                <a:gd name="connsiteX1" fmla="*/ 6028 w 417536"/>
                <a:gd name="connsiteY1" fmla="*/ 266194 h 388049"/>
                <a:gd name="connsiteX2" fmla="*/ 13847 w 417536"/>
                <a:gd name="connsiteY2" fmla="*/ 265705 h 388049"/>
                <a:gd name="connsiteX3" fmla="*/ 16617 w 417536"/>
                <a:gd name="connsiteY3" fmla="*/ 258537 h 388049"/>
                <a:gd name="connsiteX4" fmla="*/ 16291 w 417536"/>
                <a:gd name="connsiteY4" fmla="*/ 255116 h 388049"/>
                <a:gd name="connsiteX5" fmla="*/ 16291 w 417536"/>
                <a:gd name="connsiteY5" fmla="*/ 245504 h 388049"/>
                <a:gd name="connsiteX6" fmla="*/ 24274 w 417536"/>
                <a:gd name="connsiteY6" fmla="*/ 242898 h 388049"/>
                <a:gd name="connsiteX7" fmla="*/ 30301 w 417536"/>
                <a:gd name="connsiteY7" fmla="*/ 243061 h 388049"/>
                <a:gd name="connsiteX8" fmla="*/ 31116 w 417536"/>
                <a:gd name="connsiteY8" fmla="*/ 249577 h 388049"/>
                <a:gd name="connsiteX9" fmla="*/ 35514 w 417536"/>
                <a:gd name="connsiteY9" fmla="*/ 257885 h 388049"/>
                <a:gd name="connsiteX10" fmla="*/ 38284 w 417536"/>
                <a:gd name="connsiteY10" fmla="*/ 259514 h 388049"/>
                <a:gd name="connsiteX11" fmla="*/ 44311 w 417536"/>
                <a:gd name="connsiteY11" fmla="*/ 247459 h 388049"/>
                <a:gd name="connsiteX12" fmla="*/ 57344 w 417536"/>
                <a:gd name="connsiteY12" fmla="*/ 241920 h 388049"/>
                <a:gd name="connsiteX13" fmla="*/ 63209 w 417536"/>
                <a:gd name="connsiteY13" fmla="*/ 244038 h 388049"/>
                <a:gd name="connsiteX14" fmla="*/ 63535 w 417536"/>
                <a:gd name="connsiteY14" fmla="*/ 251532 h 388049"/>
                <a:gd name="connsiteX15" fmla="*/ 66467 w 417536"/>
                <a:gd name="connsiteY15" fmla="*/ 254627 h 388049"/>
                <a:gd name="connsiteX16" fmla="*/ 70866 w 417536"/>
                <a:gd name="connsiteY16" fmla="*/ 249577 h 388049"/>
                <a:gd name="connsiteX17" fmla="*/ 74124 w 417536"/>
                <a:gd name="connsiteY17" fmla="*/ 249577 h 388049"/>
                <a:gd name="connsiteX18" fmla="*/ 77056 w 417536"/>
                <a:gd name="connsiteY18" fmla="*/ 253487 h 388049"/>
                <a:gd name="connsiteX19" fmla="*/ 79663 w 417536"/>
                <a:gd name="connsiteY19" fmla="*/ 254627 h 388049"/>
                <a:gd name="connsiteX20" fmla="*/ 170729 w 417536"/>
                <a:gd name="connsiteY20" fmla="*/ 254301 h 388049"/>
                <a:gd name="connsiteX21" fmla="*/ 179037 w 417536"/>
                <a:gd name="connsiteY21" fmla="*/ 231168 h 388049"/>
                <a:gd name="connsiteX22" fmla="*/ 171218 w 417536"/>
                <a:gd name="connsiteY22" fmla="*/ 226281 h 388049"/>
                <a:gd name="connsiteX23" fmla="*/ 151506 w 417536"/>
                <a:gd name="connsiteY23" fmla="*/ 489 h 388049"/>
                <a:gd name="connsiteX24" fmla="*/ 182458 w 417536"/>
                <a:gd name="connsiteY24" fmla="*/ 0 h 388049"/>
                <a:gd name="connsiteX25" fmla="*/ 350255 w 417536"/>
                <a:gd name="connsiteY25" fmla="*/ 111104 h 388049"/>
                <a:gd name="connsiteX26" fmla="*/ 353187 w 417536"/>
                <a:gd name="connsiteY26" fmla="*/ 123485 h 388049"/>
                <a:gd name="connsiteX27" fmla="*/ 358563 w 417536"/>
                <a:gd name="connsiteY27" fmla="*/ 128372 h 388049"/>
                <a:gd name="connsiteX28" fmla="*/ 368012 w 417536"/>
                <a:gd name="connsiteY28" fmla="*/ 127884 h 388049"/>
                <a:gd name="connsiteX29" fmla="*/ 375343 w 417536"/>
                <a:gd name="connsiteY29" fmla="*/ 130327 h 388049"/>
                <a:gd name="connsiteX30" fmla="*/ 379904 w 417536"/>
                <a:gd name="connsiteY30" fmla="*/ 136029 h 388049"/>
                <a:gd name="connsiteX31" fmla="*/ 386095 w 417536"/>
                <a:gd name="connsiteY31" fmla="*/ 137658 h 388049"/>
                <a:gd name="connsiteX32" fmla="*/ 390982 w 417536"/>
                <a:gd name="connsiteY32" fmla="*/ 142057 h 388049"/>
                <a:gd name="connsiteX33" fmla="*/ 390819 w 417536"/>
                <a:gd name="connsiteY33" fmla="*/ 146130 h 388049"/>
                <a:gd name="connsiteX34" fmla="*/ 388376 w 417536"/>
                <a:gd name="connsiteY34" fmla="*/ 153949 h 388049"/>
                <a:gd name="connsiteX35" fmla="*/ 390005 w 417536"/>
                <a:gd name="connsiteY35" fmla="*/ 157859 h 388049"/>
                <a:gd name="connsiteX36" fmla="*/ 396195 w 417536"/>
                <a:gd name="connsiteY36" fmla="*/ 160140 h 388049"/>
                <a:gd name="connsiteX37" fmla="*/ 407924 w 417536"/>
                <a:gd name="connsiteY37" fmla="*/ 158674 h 388049"/>
                <a:gd name="connsiteX38" fmla="*/ 417373 w 417536"/>
                <a:gd name="connsiteY38" fmla="*/ 155578 h 388049"/>
                <a:gd name="connsiteX39" fmla="*/ 417536 w 417536"/>
                <a:gd name="connsiteY39" fmla="*/ 155578 h 388049"/>
                <a:gd name="connsiteX40" fmla="*/ 416233 w 417536"/>
                <a:gd name="connsiteY40" fmla="*/ 205103 h 388049"/>
                <a:gd name="connsiteX41" fmla="*/ 414604 w 417536"/>
                <a:gd name="connsiteY41" fmla="*/ 228073 h 388049"/>
                <a:gd name="connsiteX42" fmla="*/ 410368 w 417536"/>
                <a:gd name="connsiteY42" fmla="*/ 230517 h 388049"/>
                <a:gd name="connsiteX43" fmla="*/ 409717 w 417536"/>
                <a:gd name="connsiteY43" fmla="*/ 239477 h 388049"/>
                <a:gd name="connsiteX44" fmla="*/ 407924 w 417536"/>
                <a:gd name="connsiteY44" fmla="*/ 245015 h 388049"/>
                <a:gd name="connsiteX45" fmla="*/ 395218 w 417536"/>
                <a:gd name="connsiteY45" fmla="*/ 252184 h 388049"/>
                <a:gd name="connsiteX46" fmla="*/ 387561 w 417536"/>
                <a:gd name="connsiteY46" fmla="*/ 256093 h 388049"/>
                <a:gd name="connsiteX47" fmla="*/ 379904 w 417536"/>
                <a:gd name="connsiteY47" fmla="*/ 256582 h 388049"/>
                <a:gd name="connsiteX48" fmla="*/ 372573 w 417536"/>
                <a:gd name="connsiteY48" fmla="*/ 261469 h 388049"/>
                <a:gd name="connsiteX49" fmla="*/ 367360 w 417536"/>
                <a:gd name="connsiteY49" fmla="*/ 261469 h 388049"/>
                <a:gd name="connsiteX50" fmla="*/ 356282 w 417536"/>
                <a:gd name="connsiteY50" fmla="*/ 261469 h 388049"/>
                <a:gd name="connsiteX51" fmla="*/ 349766 w 417536"/>
                <a:gd name="connsiteY51" fmla="*/ 264727 h 388049"/>
                <a:gd name="connsiteX52" fmla="*/ 343901 w 417536"/>
                <a:gd name="connsiteY52" fmla="*/ 264239 h 388049"/>
                <a:gd name="connsiteX53" fmla="*/ 326144 w 417536"/>
                <a:gd name="connsiteY53" fmla="*/ 266031 h 388049"/>
                <a:gd name="connsiteX54" fmla="*/ 320280 w 417536"/>
                <a:gd name="connsiteY54" fmla="*/ 264565 h 388049"/>
                <a:gd name="connsiteX55" fmla="*/ 319465 w 417536"/>
                <a:gd name="connsiteY55" fmla="*/ 266031 h 388049"/>
                <a:gd name="connsiteX56" fmla="*/ 317510 w 417536"/>
                <a:gd name="connsiteY56" fmla="*/ 263913 h 388049"/>
                <a:gd name="connsiteX57" fmla="*/ 312949 w 417536"/>
                <a:gd name="connsiteY57" fmla="*/ 263587 h 388049"/>
                <a:gd name="connsiteX58" fmla="*/ 305781 w 417536"/>
                <a:gd name="connsiteY58" fmla="*/ 261306 h 388049"/>
                <a:gd name="connsiteX59" fmla="*/ 299427 w 417536"/>
                <a:gd name="connsiteY59" fmla="*/ 261958 h 388049"/>
                <a:gd name="connsiteX60" fmla="*/ 287046 w 417536"/>
                <a:gd name="connsiteY60" fmla="*/ 263913 h 388049"/>
                <a:gd name="connsiteX61" fmla="*/ 279226 w 417536"/>
                <a:gd name="connsiteY61" fmla="*/ 268474 h 388049"/>
                <a:gd name="connsiteX62" fmla="*/ 272873 w 417536"/>
                <a:gd name="connsiteY62" fmla="*/ 273850 h 388049"/>
                <a:gd name="connsiteX63" fmla="*/ 253161 w 417536"/>
                <a:gd name="connsiteY63" fmla="*/ 284602 h 388049"/>
                <a:gd name="connsiteX64" fmla="*/ 239151 w 417536"/>
                <a:gd name="connsiteY64" fmla="*/ 293888 h 388049"/>
                <a:gd name="connsiteX65" fmla="*/ 237033 w 417536"/>
                <a:gd name="connsiteY65" fmla="*/ 299101 h 388049"/>
                <a:gd name="connsiteX66" fmla="*/ 223674 w 417536"/>
                <a:gd name="connsiteY66" fmla="*/ 303011 h 388049"/>
                <a:gd name="connsiteX67" fmla="*/ 220742 w 417536"/>
                <a:gd name="connsiteY67" fmla="*/ 302360 h 388049"/>
                <a:gd name="connsiteX68" fmla="*/ 213085 w 417536"/>
                <a:gd name="connsiteY68" fmla="*/ 302522 h 388049"/>
                <a:gd name="connsiteX69" fmla="*/ 212108 w 417536"/>
                <a:gd name="connsiteY69" fmla="*/ 305944 h 388049"/>
                <a:gd name="connsiteX70" fmla="*/ 208687 w 417536"/>
                <a:gd name="connsiteY70" fmla="*/ 307247 h 388049"/>
                <a:gd name="connsiteX71" fmla="*/ 202822 w 417536"/>
                <a:gd name="connsiteY71" fmla="*/ 317347 h 388049"/>
                <a:gd name="connsiteX72" fmla="*/ 202496 w 417536"/>
                <a:gd name="connsiteY72" fmla="*/ 320931 h 388049"/>
                <a:gd name="connsiteX73" fmla="*/ 197120 w 417536"/>
                <a:gd name="connsiteY73" fmla="*/ 328425 h 388049"/>
                <a:gd name="connsiteX74" fmla="*/ 189789 w 417536"/>
                <a:gd name="connsiteY74" fmla="*/ 341946 h 388049"/>
                <a:gd name="connsiteX75" fmla="*/ 183436 w 417536"/>
                <a:gd name="connsiteY75" fmla="*/ 346834 h 388049"/>
                <a:gd name="connsiteX76" fmla="*/ 178711 w 417536"/>
                <a:gd name="connsiteY76" fmla="*/ 350418 h 388049"/>
                <a:gd name="connsiteX77" fmla="*/ 180503 w 417536"/>
                <a:gd name="connsiteY77" fmla="*/ 355142 h 388049"/>
                <a:gd name="connsiteX78" fmla="*/ 181155 w 417536"/>
                <a:gd name="connsiteY78" fmla="*/ 362473 h 388049"/>
                <a:gd name="connsiteX79" fmla="*/ 176268 w 417536"/>
                <a:gd name="connsiteY79" fmla="*/ 363451 h 388049"/>
                <a:gd name="connsiteX80" fmla="*/ 176105 w 417536"/>
                <a:gd name="connsiteY80" fmla="*/ 368663 h 388049"/>
                <a:gd name="connsiteX81" fmla="*/ 178223 w 417536"/>
                <a:gd name="connsiteY81" fmla="*/ 372573 h 388049"/>
                <a:gd name="connsiteX82" fmla="*/ 176757 w 417536"/>
                <a:gd name="connsiteY82" fmla="*/ 378764 h 388049"/>
                <a:gd name="connsiteX83" fmla="*/ 173661 w 417536"/>
                <a:gd name="connsiteY83" fmla="*/ 380882 h 388049"/>
                <a:gd name="connsiteX84" fmla="*/ 168937 w 417536"/>
                <a:gd name="connsiteY84" fmla="*/ 388050 h 388049"/>
                <a:gd name="connsiteX85" fmla="*/ 160792 w 417536"/>
                <a:gd name="connsiteY85" fmla="*/ 385606 h 388049"/>
                <a:gd name="connsiteX86" fmla="*/ 158836 w 417536"/>
                <a:gd name="connsiteY86" fmla="*/ 382674 h 388049"/>
                <a:gd name="connsiteX87" fmla="*/ 160303 w 417536"/>
                <a:gd name="connsiteY87" fmla="*/ 380882 h 388049"/>
                <a:gd name="connsiteX88" fmla="*/ 153460 w 417536"/>
                <a:gd name="connsiteY88" fmla="*/ 379904 h 388049"/>
                <a:gd name="connsiteX89" fmla="*/ 145152 w 417536"/>
                <a:gd name="connsiteY89" fmla="*/ 381696 h 388049"/>
                <a:gd name="connsiteX90" fmla="*/ 144826 w 417536"/>
                <a:gd name="connsiteY90" fmla="*/ 383814 h 388049"/>
                <a:gd name="connsiteX91" fmla="*/ 142546 w 417536"/>
                <a:gd name="connsiteY91" fmla="*/ 385769 h 388049"/>
                <a:gd name="connsiteX92" fmla="*/ 132282 w 417536"/>
                <a:gd name="connsiteY92" fmla="*/ 385117 h 388049"/>
                <a:gd name="connsiteX93" fmla="*/ 126092 w 417536"/>
                <a:gd name="connsiteY93" fmla="*/ 382185 h 388049"/>
                <a:gd name="connsiteX94" fmla="*/ 122996 w 417536"/>
                <a:gd name="connsiteY94" fmla="*/ 382348 h 388049"/>
                <a:gd name="connsiteX95" fmla="*/ 115503 w 417536"/>
                <a:gd name="connsiteY95" fmla="*/ 386584 h 388049"/>
                <a:gd name="connsiteX96" fmla="*/ 115340 w 417536"/>
                <a:gd name="connsiteY96" fmla="*/ 383162 h 388049"/>
                <a:gd name="connsiteX97" fmla="*/ 112896 w 417536"/>
                <a:gd name="connsiteY97" fmla="*/ 380393 h 388049"/>
                <a:gd name="connsiteX98" fmla="*/ 106217 w 417536"/>
                <a:gd name="connsiteY98" fmla="*/ 380230 h 388049"/>
                <a:gd name="connsiteX99" fmla="*/ 106217 w 417536"/>
                <a:gd name="connsiteY99" fmla="*/ 377298 h 388049"/>
                <a:gd name="connsiteX100" fmla="*/ 104262 w 417536"/>
                <a:gd name="connsiteY100" fmla="*/ 374040 h 388049"/>
                <a:gd name="connsiteX101" fmla="*/ 104262 w 417536"/>
                <a:gd name="connsiteY101" fmla="*/ 369152 h 388049"/>
                <a:gd name="connsiteX102" fmla="*/ 101167 w 417536"/>
                <a:gd name="connsiteY102" fmla="*/ 369315 h 388049"/>
                <a:gd name="connsiteX103" fmla="*/ 98397 w 417536"/>
                <a:gd name="connsiteY103" fmla="*/ 372899 h 388049"/>
                <a:gd name="connsiteX104" fmla="*/ 93999 w 417536"/>
                <a:gd name="connsiteY104" fmla="*/ 373388 h 388049"/>
                <a:gd name="connsiteX105" fmla="*/ 96442 w 417536"/>
                <a:gd name="connsiteY105" fmla="*/ 366709 h 388049"/>
                <a:gd name="connsiteX106" fmla="*/ 101167 w 417536"/>
                <a:gd name="connsiteY106" fmla="*/ 360355 h 388049"/>
                <a:gd name="connsiteX107" fmla="*/ 101167 w 417536"/>
                <a:gd name="connsiteY107" fmla="*/ 357423 h 388049"/>
                <a:gd name="connsiteX108" fmla="*/ 95465 w 417536"/>
                <a:gd name="connsiteY108" fmla="*/ 355957 h 388049"/>
                <a:gd name="connsiteX109" fmla="*/ 92533 w 417536"/>
                <a:gd name="connsiteY109" fmla="*/ 353839 h 388049"/>
                <a:gd name="connsiteX110" fmla="*/ 94161 w 417536"/>
                <a:gd name="connsiteY110" fmla="*/ 346834 h 388049"/>
                <a:gd name="connsiteX111" fmla="*/ 91555 w 417536"/>
                <a:gd name="connsiteY111" fmla="*/ 341295 h 388049"/>
                <a:gd name="connsiteX112" fmla="*/ 85853 w 417536"/>
                <a:gd name="connsiteY112" fmla="*/ 336733 h 388049"/>
                <a:gd name="connsiteX113" fmla="*/ 85364 w 417536"/>
                <a:gd name="connsiteY113" fmla="*/ 333964 h 388049"/>
                <a:gd name="connsiteX114" fmla="*/ 80640 w 417536"/>
                <a:gd name="connsiteY114" fmla="*/ 335430 h 388049"/>
                <a:gd name="connsiteX115" fmla="*/ 78522 w 417536"/>
                <a:gd name="connsiteY115" fmla="*/ 337385 h 388049"/>
                <a:gd name="connsiteX116" fmla="*/ 71680 w 417536"/>
                <a:gd name="connsiteY116" fmla="*/ 334453 h 388049"/>
                <a:gd name="connsiteX117" fmla="*/ 66630 w 417536"/>
                <a:gd name="connsiteY117" fmla="*/ 334778 h 388049"/>
                <a:gd name="connsiteX118" fmla="*/ 61743 w 417536"/>
                <a:gd name="connsiteY118" fmla="*/ 341946 h 388049"/>
                <a:gd name="connsiteX119" fmla="*/ 58322 w 417536"/>
                <a:gd name="connsiteY119" fmla="*/ 342109 h 388049"/>
                <a:gd name="connsiteX120" fmla="*/ 53271 w 417536"/>
                <a:gd name="connsiteY120" fmla="*/ 345856 h 388049"/>
                <a:gd name="connsiteX121" fmla="*/ 46755 w 417536"/>
                <a:gd name="connsiteY121" fmla="*/ 345856 h 388049"/>
                <a:gd name="connsiteX122" fmla="*/ 41216 w 417536"/>
                <a:gd name="connsiteY122" fmla="*/ 341946 h 388049"/>
                <a:gd name="connsiteX123" fmla="*/ 37795 w 417536"/>
                <a:gd name="connsiteY123" fmla="*/ 340480 h 388049"/>
                <a:gd name="connsiteX124" fmla="*/ 32093 w 417536"/>
                <a:gd name="connsiteY124" fmla="*/ 342924 h 388049"/>
                <a:gd name="connsiteX125" fmla="*/ 29161 w 417536"/>
                <a:gd name="connsiteY125" fmla="*/ 341295 h 388049"/>
                <a:gd name="connsiteX126" fmla="*/ 29161 w 417536"/>
                <a:gd name="connsiteY126" fmla="*/ 341132 h 388049"/>
                <a:gd name="connsiteX127" fmla="*/ 30301 w 417536"/>
                <a:gd name="connsiteY127" fmla="*/ 337874 h 388049"/>
                <a:gd name="connsiteX128" fmla="*/ 30627 w 417536"/>
                <a:gd name="connsiteY128" fmla="*/ 333475 h 388049"/>
                <a:gd name="connsiteX129" fmla="*/ 23948 w 417536"/>
                <a:gd name="connsiteY129" fmla="*/ 329891 h 388049"/>
                <a:gd name="connsiteX130" fmla="*/ 23785 w 417536"/>
                <a:gd name="connsiteY130" fmla="*/ 325818 h 388049"/>
                <a:gd name="connsiteX131" fmla="*/ 25251 w 417536"/>
                <a:gd name="connsiteY131" fmla="*/ 322886 h 388049"/>
                <a:gd name="connsiteX132" fmla="*/ 25414 w 417536"/>
                <a:gd name="connsiteY132" fmla="*/ 319954 h 388049"/>
                <a:gd name="connsiteX133" fmla="*/ 21993 w 417536"/>
                <a:gd name="connsiteY133" fmla="*/ 316044 h 388049"/>
                <a:gd name="connsiteX134" fmla="*/ 20690 w 417536"/>
                <a:gd name="connsiteY134" fmla="*/ 312623 h 388049"/>
                <a:gd name="connsiteX135" fmla="*/ 17757 w 417536"/>
                <a:gd name="connsiteY135" fmla="*/ 310179 h 388049"/>
                <a:gd name="connsiteX136" fmla="*/ 15151 w 417536"/>
                <a:gd name="connsiteY136" fmla="*/ 310668 h 388049"/>
                <a:gd name="connsiteX137" fmla="*/ 11893 w 417536"/>
                <a:gd name="connsiteY137" fmla="*/ 307898 h 388049"/>
                <a:gd name="connsiteX138" fmla="*/ 9286 w 417536"/>
                <a:gd name="connsiteY138" fmla="*/ 301545 h 388049"/>
                <a:gd name="connsiteX139" fmla="*/ 3095 w 417536"/>
                <a:gd name="connsiteY139" fmla="*/ 295680 h 388049"/>
                <a:gd name="connsiteX140" fmla="*/ 2281 w 417536"/>
                <a:gd name="connsiteY140" fmla="*/ 292422 h 388049"/>
                <a:gd name="connsiteX141" fmla="*/ 5050 w 417536"/>
                <a:gd name="connsiteY141" fmla="*/ 282159 h 388049"/>
                <a:gd name="connsiteX142" fmla="*/ 3258 w 417536"/>
                <a:gd name="connsiteY142" fmla="*/ 278412 h 388049"/>
                <a:gd name="connsiteX143" fmla="*/ 3258 w 417536"/>
                <a:gd name="connsiteY143" fmla="*/ 273850 h 388049"/>
                <a:gd name="connsiteX144" fmla="*/ 0 w 417536"/>
                <a:gd name="connsiteY144" fmla="*/ 270918 h 3880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417536" h="388049">
                  <a:moveTo>
                    <a:pt x="0" y="270918"/>
                  </a:moveTo>
                  <a:lnTo>
                    <a:pt x="6028" y="266194"/>
                  </a:lnTo>
                  <a:lnTo>
                    <a:pt x="13847" y="265705"/>
                  </a:lnTo>
                  <a:lnTo>
                    <a:pt x="16617" y="258537"/>
                  </a:lnTo>
                  <a:lnTo>
                    <a:pt x="16291" y="255116"/>
                  </a:lnTo>
                  <a:lnTo>
                    <a:pt x="16291" y="245504"/>
                  </a:lnTo>
                  <a:lnTo>
                    <a:pt x="24274" y="242898"/>
                  </a:lnTo>
                  <a:lnTo>
                    <a:pt x="30301" y="243061"/>
                  </a:lnTo>
                  <a:lnTo>
                    <a:pt x="31116" y="249577"/>
                  </a:lnTo>
                  <a:lnTo>
                    <a:pt x="35514" y="257885"/>
                  </a:lnTo>
                  <a:lnTo>
                    <a:pt x="38284" y="259514"/>
                  </a:lnTo>
                  <a:lnTo>
                    <a:pt x="44311" y="247459"/>
                  </a:lnTo>
                  <a:lnTo>
                    <a:pt x="57344" y="241920"/>
                  </a:lnTo>
                  <a:lnTo>
                    <a:pt x="63209" y="244038"/>
                  </a:lnTo>
                  <a:lnTo>
                    <a:pt x="63535" y="251532"/>
                  </a:lnTo>
                  <a:lnTo>
                    <a:pt x="66467" y="254627"/>
                  </a:lnTo>
                  <a:lnTo>
                    <a:pt x="70866" y="249577"/>
                  </a:lnTo>
                  <a:lnTo>
                    <a:pt x="74124" y="249577"/>
                  </a:lnTo>
                  <a:lnTo>
                    <a:pt x="77056" y="253487"/>
                  </a:lnTo>
                  <a:lnTo>
                    <a:pt x="79663" y="254627"/>
                  </a:lnTo>
                  <a:lnTo>
                    <a:pt x="170729" y="254301"/>
                  </a:lnTo>
                  <a:lnTo>
                    <a:pt x="179037" y="231168"/>
                  </a:lnTo>
                  <a:lnTo>
                    <a:pt x="171218" y="226281"/>
                  </a:lnTo>
                  <a:lnTo>
                    <a:pt x="151506" y="489"/>
                  </a:lnTo>
                  <a:lnTo>
                    <a:pt x="182458" y="0"/>
                  </a:lnTo>
                  <a:lnTo>
                    <a:pt x="350255" y="111104"/>
                  </a:lnTo>
                  <a:lnTo>
                    <a:pt x="353187" y="123485"/>
                  </a:lnTo>
                  <a:lnTo>
                    <a:pt x="358563" y="128372"/>
                  </a:lnTo>
                  <a:lnTo>
                    <a:pt x="368012" y="127884"/>
                  </a:lnTo>
                  <a:lnTo>
                    <a:pt x="375343" y="130327"/>
                  </a:lnTo>
                  <a:lnTo>
                    <a:pt x="379904" y="136029"/>
                  </a:lnTo>
                  <a:lnTo>
                    <a:pt x="386095" y="137658"/>
                  </a:lnTo>
                  <a:lnTo>
                    <a:pt x="390982" y="142057"/>
                  </a:lnTo>
                  <a:lnTo>
                    <a:pt x="390819" y="146130"/>
                  </a:lnTo>
                  <a:lnTo>
                    <a:pt x="388376" y="153949"/>
                  </a:lnTo>
                  <a:lnTo>
                    <a:pt x="390005" y="157859"/>
                  </a:lnTo>
                  <a:lnTo>
                    <a:pt x="396195" y="160140"/>
                  </a:lnTo>
                  <a:lnTo>
                    <a:pt x="407924" y="158674"/>
                  </a:lnTo>
                  <a:lnTo>
                    <a:pt x="417373" y="155578"/>
                  </a:lnTo>
                  <a:lnTo>
                    <a:pt x="417536" y="155578"/>
                  </a:lnTo>
                  <a:lnTo>
                    <a:pt x="416233" y="205103"/>
                  </a:lnTo>
                  <a:lnTo>
                    <a:pt x="414604" y="228073"/>
                  </a:lnTo>
                  <a:lnTo>
                    <a:pt x="410368" y="230517"/>
                  </a:lnTo>
                  <a:lnTo>
                    <a:pt x="409717" y="239477"/>
                  </a:lnTo>
                  <a:lnTo>
                    <a:pt x="407924" y="245015"/>
                  </a:lnTo>
                  <a:lnTo>
                    <a:pt x="395218" y="252184"/>
                  </a:lnTo>
                  <a:lnTo>
                    <a:pt x="387561" y="256093"/>
                  </a:lnTo>
                  <a:lnTo>
                    <a:pt x="379904" y="256582"/>
                  </a:lnTo>
                  <a:lnTo>
                    <a:pt x="372573" y="261469"/>
                  </a:lnTo>
                  <a:lnTo>
                    <a:pt x="367360" y="261469"/>
                  </a:lnTo>
                  <a:lnTo>
                    <a:pt x="356282" y="261469"/>
                  </a:lnTo>
                  <a:lnTo>
                    <a:pt x="349766" y="264727"/>
                  </a:lnTo>
                  <a:lnTo>
                    <a:pt x="343901" y="264239"/>
                  </a:lnTo>
                  <a:lnTo>
                    <a:pt x="326144" y="266031"/>
                  </a:lnTo>
                  <a:lnTo>
                    <a:pt x="320280" y="264565"/>
                  </a:lnTo>
                  <a:lnTo>
                    <a:pt x="319465" y="266031"/>
                  </a:lnTo>
                  <a:lnTo>
                    <a:pt x="317510" y="263913"/>
                  </a:lnTo>
                  <a:lnTo>
                    <a:pt x="312949" y="263587"/>
                  </a:lnTo>
                  <a:lnTo>
                    <a:pt x="305781" y="261306"/>
                  </a:lnTo>
                  <a:lnTo>
                    <a:pt x="299427" y="261958"/>
                  </a:lnTo>
                  <a:lnTo>
                    <a:pt x="287046" y="263913"/>
                  </a:lnTo>
                  <a:lnTo>
                    <a:pt x="279226" y="268474"/>
                  </a:lnTo>
                  <a:lnTo>
                    <a:pt x="272873" y="273850"/>
                  </a:lnTo>
                  <a:lnTo>
                    <a:pt x="253161" y="284602"/>
                  </a:lnTo>
                  <a:lnTo>
                    <a:pt x="239151" y="293888"/>
                  </a:lnTo>
                  <a:lnTo>
                    <a:pt x="237033" y="299101"/>
                  </a:lnTo>
                  <a:lnTo>
                    <a:pt x="223674" y="303011"/>
                  </a:lnTo>
                  <a:lnTo>
                    <a:pt x="220742" y="302360"/>
                  </a:lnTo>
                  <a:lnTo>
                    <a:pt x="213085" y="302522"/>
                  </a:lnTo>
                  <a:lnTo>
                    <a:pt x="212108" y="305944"/>
                  </a:lnTo>
                  <a:lnTo>
                    <a:pt x="208687" y="307247"/>
                  </a:lnTo>
                  <a:lnTo>
                    <a:pt x="202822" y="317347"/>
                  </a:lnTo>
                  <a:lnTo>
                    <a:pt x="202496" y="320931"/>
                  </a:lnTo>
                  <a:lnTo>
                    <a:pt x="197120" y="328425"/>
                  </a:lnTo>
                  <a:lnTo>
                    <a:pt x="189789" y="341946"/>
                  </a:lnTo>
                  <a:lnTo>
                    <a:pt x="183436" y="346834"/>
                  </a:lnTo>
                  <a:lnTo>
                    <a:pt x="178711" y="350418"/>
                  </a:lnTo>
                  <a:lnTo>
                    <a:pt x="180503" y="355142"/>
                  </a:lnTo>
                  <a:lnTo>
                    <a:pt x="181155" y="362473"/>
                  </a:lnTo>
                  <a:lnTo>
                    <a:pt x="176268" y="363451"/>
                  </a:lnTo>
                  <a:lnTo>
                    <a:pt x="176105" y="368663"/>
                  </a:lnTo>
                  <a:lnTo>
                    <a:pt x="178223" y="372573"/>
                  </a:lnTo>
                  <a:lnTo>
                    <a:pt x="176757" y="378764"/>
                  </a:lnTo>
                  <a:lnTo>
                    <a:pt x="173661" y="380882"/>
                  </a:lnTo>
                  <a:lnTo>
                    <a:pt x="168937" y="388050"/>
                  </a:lnTo>
                  <a:lnTo>
                    <a:pt x="160792" y="385606"/>
                  </a:lnTo>
                  <a:lnTo>
                    <a:pt x="158836" y="382674"/>
                  </a:lnTo>
                  <a:lnTo>
                    <a:pt x="160303" y="380882"/>
                  </a:lnTo>
                  <a:lnTo>
                    <a:pt x="153460" y="379904"/>
                  </a:lnTo>
                  <a:lnTo>
                    <a:pt x="145152" y="381696"/>
                  </a:lnTo>
                  <a:lnTo>
                    <a:pt x="144826" y="383814"/>
                  </a:lnTo>
                  <a:lnTo>
                    <a:pt x="142546" y="385769"/>
                  </a:lnTo>
                  <a:lnTo>
                    <a:pt x="132282" y="385117"/>
                  </a:lnTo>
                  <a:lnTo>
                    <a:pt x="126092" y="382185"/>
                  </a:lnTo>
                  <a:lnTo>
                    <a:pt x="122996" y="382348"/>
                  </a:lnTo>
                  <a:lnTo>
                    <a:pt x="115503" y="386584"/>
                  </a:lnTo>
                  <a:lnTo>
                    <a:pt x="115340" y="383162"/>
                  </a:lnTo>
                  <a:lnTo>
                    <a:pt x="112896" y="380393"/>
                  </a:lnTo>
                  <a:lnTo>
                    <a:pt x="106217" y="380230"/>
                  </a:lnTo>
                  <a:lnTo>
                    <a:pt x="106217" y="377298"/>
                  </a:lnTo>
                  <a:lnTo>
                    <a:pt x="104262" y="374040"/>
                  </a:lnTo>
                  <a:lnTo>
                    <a:pt x="104262" y="369152"/>
                  </a:lnTo>
                  <a:lnTo>
                    <a:pt x="101167" y="369315"/>
                  </a:lnTo>
                  <a:lnTo>
                    <a:pt x="98397" y="372899"/>
                  </a:lnTo>
                  <a:lnTo>
                    <a:pt x="93999" y="373388"/>
                  </a:lnTo>
                  <a:lnTo>
                    <a:pt x="96442" y="366709"/>
                  </a:lnTo>
                  <a:lnTo>
                    <a:pt x="101167" y="360355"/>
                  </a:lnTo>
                  <a:lnTo>
                    <a:pt x="101167" y="357423"/>
                  </a:lnTo>
                  <a:lnTo>
                    <a:pt x="95465" y="355957"/>
                  </a:lnTo>
                  <a:lnTo>
                    <a:pt x="92533" y="353839"/>
                  </a:lnTo>
                  <a:lnTo>
                    <a:pt x="94161" y="346834"/>
                  </a:lnTo>
                  <a:lnTo>
                    <a:pt x="91555" y="341295"/>
                  </a:lnTo>
                  <a:lnTo>
                    <a:pt x="85853" y="336733"/>
                  </a:lnTo>
                  <a:lnTo>
                    <a:pt x="85364" y="333964"/>
                  </a:lnTo>
                  <a:lnTo>
                    <a:pt x="80640" y="335430"/>
                  </a:lnTo>
                  <a:lnTo>
                    <a:pt x="78522" y="337385"/>
                  </a:lnTo>
                  <a:lnTo>
                    <a:pt x="71680" y="334453"/>
                  </a:lnTo>
                  <a:lnTo>
                    <a:pt x="66630" y="334778"/>
                  </a:lnTo>
                  <a:lnTo>
                    <a:pt x="61743" y="341946"/>
                  </a:lnTo>
                  <a:lnTo>
                    <a:pt x="58322" y="342109"/>
                  </a:lnTo>
                  <a:lnTo>
                    <a:pt x="53271" y="345856"/>
                  </a:lnTo>
                  <a:lnTo>
                    <a:pt x="46755" y="345856"/>
                  </a:lnTo>
                  <a:lnTo>
                    <a:pt x="41216" y="341946"/>
                  </a:lnTo>
                  <a:lnTo>
                    <a:pt x="37795" y="340480"/>
                  </a:lnTo>
                  <a:lnTo>
                    <a:pt x="32093" y="342924"/>
                  </a:lnTo>
                  <a:lnTo>
                    <a:pt x="29161" y="341295"/>
                  </a:lnTo>
                  <a:lnTo>
                    <a:pt x="29161" y="341132"/>
                  </a:lnTo>
                  <a:lnTo>
                    <a:pt x="30301" y="337874"/>
                  </a:lnTo>
                  <a:lnTo>
                    <a:pt x="30627" y="333475"/>
                  </a:lnTo>
                  <a:lnTo>
                    <a:pt x="23948" y="329891"/>
                  </a:lnTo>
                  <a:lnTo>
                    <a:pt x="23785" y="325818"/>
                  </a:lnTo>
                  <a:lnTo>
                    <a:pt x="25251" y="322886"/>
                  </a:lnTo>
                  <a:lnTo>
                    <a:pt x="25414" y="319954"/>
                  </a:lnTo>
                  <a:lnTo>
                    <a:pt x="21993" y="316044"/>
                  </a:lnTo>
                  <a:lnTo>
                    <a:pt x="20690" y="312623"/>
                  </a:lnTo>
                  <a:lnTo>
                    <a:pt x="17757" y="310179"/>
                  </a:lnTo>
                  <a:lnTo>
                    <a:pt x="15151" y="310668"/>
                  </a:lnTo>
                  <a:lnTo>
                    <a:pt x="11893" y="307898"/>
                  </a:lnTo>
                  <a:lnTo>
                    <a:pt x="9286" y="301545"/>
                  </a:lnTo>
                  <a:lnTo>
                    <a:pt x="3095" y="295680"/>
                  </a:lnTo>
                  <a:lnTo>
                    <a:pt x="2281" y="292422"/>
                  </a:lnTo>
                  <a:lnTo>
                    <a:pt x="5050" y="282159"/>
                  </a:lnTo>
                  <a:lnTo>
                    <a:pt x="3258" y="278412"/>
                  </a:lnTo>
                  <a:lnTo>
                    <a:pt x="3258" y="273850"/>
                  </a:lnTo>
                  <a:lnTo>
                    <a:pt x="0" y="270918"/>
                  </a:lnTo>
                  <a:close/>
                </a:path>
              </a:pathLst>
            </a:custGeom>
            <a:solidFill>
              <a:schemeClr val="bg2"/>
            </a:solidFill>
            <a:ln w="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6" name="Forma livre: Forma 105">
              <a:extLst>
                <a:ext uri="{FF2B5EF4-FFF2-40B4-BE49-F238E27FC236}">
                  <a16:creationId xmlns:a16="http://schemas.microsoft.com/office/drawing/2014/main" id="{EA8B7F05-5474-9D99-4C8C-6600454764AC}"/>
                </a:ext>
              </a:extLst>
            </p:cNvPr>
            <p:cNvSpPr/>
            <p:nvPr/>
          </p:nvSpPr>
          <p:spPr>
            <a:xfrm>
              <a:off x="5854554" y="4550639"/>
              <a:ext cx="199664" cy="145117"/>
            </a:xfrm>
            <a:custGeom>
              <a:avLst/>
              <a:gdLst>
                <a:gd name="connsiteX0" fmla="*/ 652 w 193210"/>
                <a:gd name="connsiteY0" fmla="*/ 117457 h 140427"/>
                <a:gd name="connsiteX1" fmla="*/ 2118 w 193210"/>
                <a:gd name="connsiteY1" fmla="*/ 111267 h 140427"/>
                <a:gd name="connsiteX2" fmla="*/ 0 w 193210"/>
                <a:gd name="connsiteY2" fmla="*/ 107357 h 140427"/>
                <a:gd name="connsiteX3" fmla="*/ 163 w 193210"/>
                <a:gd name="connsiteY3" fmla="*/ 102144 h 140427"/>
                <a:gd name="connsiteX4" fmla="*/ 5050 w 193210"/>
                <a:gd name="connsiteY4" fmla="*/ 101166 h 140427"/>
                <a:gd name="connsiteX5" fmla="*/ 4398 w 193210"/>
                <a:gd name="connsiteY5" fmla="*/ 93836 h 140427"/>
                <a:gd name="connsiteX6" fmla="*/ 2606 w 193210"/>
                <a:gd name="connsiteY6" fmla="*/ 89111 h 140427"/>
                <a:gd name="connsiteX7" fmla="*/ 7331 w 193210"/>
                <a:gd name="connsiteY7" fmla="*/ 85527 h 140427"/>
                <a:gd name="connsiteX8" fmla="*/ 13684 w 193210"/>
                <a:gd name="connsiteY8" fmla="*/ 80640 h 140427"/>
                <a:gd name="connsiteX9" fmla="*/ 21015 w 193210"/>
                <a:gd name="connsiteY9" fmla="*/ 67118 h 140427"/>
                <a:gd name="connsiteX10" fmla="*/ 26391 w 193210"/>
                <a:gd name="connsiteY10" fmla="*/ 59625 h 140427"/>
                <a:gd name="connsiteX11" fmla="*/ 26717 w 193210"/>
                <a:gd name="connsiteY11" fmla="*/ 56041 h 140427"/>
                <a:gd name="connsiteX12" fmla="*/ 32582 w 193210"/>
                <a:gd name="connsiteY12" fmla="*/ 45940 h 140427"/>
                <a:gd name="connsiteX13" fmla="*/ 36003 w 193210"/>
                <a:gd name="connsiteY13" fmla="*/ 44637 h 140427"/>
                <a:gd name="connsiteX14" fmla="*/ 36980 w 193210"/>
                <a:gd name="connsiteY14" fmla="*/ 41216 h 140427"/>
                <a:gd name="connsiteX15" fmla="*/ 44637 w 193210"/>
                <a:gd name="connsiteY15" fmla="*/ 41053 h 140427"/>
                <a:gd name="connsiteX16" fmla="*/ 47569 w 193210"/>
                <a:gd name="connsiteY16" fmla="*/ 41705 h 140427"/>
                <a:gd name="connsiteX17" fmla="*/ 60928 w 193210"/>
                <a:gd name="connsiteY17" fmla="*/ 37795 h 140427"/>
                <a:gd name="connsiteX18" fmla="*/ 63046 w 193210"/>
                <a:gd name="connsiteY18" fmla="*/ 32582 h 140427"/>
                <a:gd name="connsiteX19" fmla="*/ 77056 w 193210"/>
                <a:gd name="connsiteY19" fmla="*/ 23296 h 140427"/>
                <a:gd name="connsiteX20" fmla="*/ 96768 w 193210"/>
                <a:gd name="connsiteY20" fmla="*/ 12544 h 140427"/>
                <a:gd name="connsiteX21" fmla="*/ 103121 w 193210"/>
                <a:gd name="connsiteY21" fmla="*/ 7168 h 140427"/>
                <a:gd name="connsiteX22" fmla="*/ 110941 w 193210"/>
                <a:gd name="connsiteY22" fmla="*/ 2607 h 140427"/>
                <a:gd name="connsiteX23" fmla="*/ 123322 w 193210"/>
                <a:gd name="connsiteY23" fmla="*/ 652 h 140427"/>
                <a:gd name="connsiteX24" fmla="*/ 129676 w 193210"/>
                <a:gd name="connsiteY24" fmla="*/ 0 h 140427"/>
                <a:gd name="connsiteX25" fmla="*/ 136844 w 193210"/>
                <a:gd name="connsiteY25" fmla="*/ 2281 h 140427"/>
                <a:gd name="connsiteX26" fmla="*/ 141405 w 193210"/>
                <a:gd name="connsiteY26" fmla="*/ 2607 h 140427"/>
                <a:gd name="connsiteX27" fmla="*/ 143360 w 193210"/>
                <a:gd name="connsiteY27" fmla="*/ 4724 h 140427"/>
                <a:gd name="connsiteX28" fmla="*/ 142382 w 193210"/>
                <a:gd name="connsiteY28" fmla="*/ 6679 h 140427"/>
                <a:gd name="connsiteX29" fmla="*/ 141405 w 193210"/>
                <a:gd name="connsiteY29" fmla="*/ 13684 h 140427"/>
                <a:gd name="connsiteX30" fmla="*/ 138310 w 193210"/>
                <a:gd name="connsiteY30" fmla="*/ 18898 h 140427"/>
                <a:gd name="connsiteX31" fmla="*/ 138310 w 193210"/>
                <a:gd name="connsiteY31" fmla="*/ 26228 h 140427"/>
                <a:gd name="connsiteX32" fmla="*/ 162583 w 193210"/>
                <a:gd name="connsiteY32" fmla="*/ 42519 h 140427"/>
                <a:gd name="connsiteX33" fmla="*/ 163072 w 193210"/>
                <a:gd name="connsiteY33" fmla="*/ 52783 h 140427"/>
                <a:gd name="connsiteX34" fmla="*/ 171869 w 193210"/>
                <a:gd name="connsiteY34" fmla="*/ 59625 h 140427"/>
                <a:gd name="connsiteX35" fmla="*/ 182947 w 193210"/>
                <a:gd name="connsiteY35" fmla="*/ 53760 h 140427"/>
                <a:gd name="connsiteX36" fmla="*/ 185716 w 193210"/>
                <a:gd name="connsiteY36" fmla="*/ 55226 h 140427"/>
                <a:gd name="connsiteX37" fmla="*/ 186368 w 193210"/>
                <a:gd name="connsiteY37" fmla="*/ 58484 h 140427"/>
                <a:gd name="connsiteX38" fmla="*/ 188323 w 193210"/>
                <a:gd name="connsiteY38" fmla="*/ 60439 h 140427"/>
                <a:gd name="connsiteX39" fmla="*/ 188812 w 193210"/>
                <a:gd name="connsiteY39" fmla="*/ 65326 h 140427"/>
                <a:gd name="connsiteX40" fmla="*/ 185879 w 193210"/>
                <a:gd name="connsiteY40" fmla="*/ 69236 h 140427"/>
                <a:gd name="connsiteX41" fmla="*/ 191581 w 193210"/>
                <a:gd name="connsiteY41" fmla="*/ 76567 h 140427"/>
                <a:gd name="connsiteX42" fmla="*/ 193210 w 193210"/>
                <a:gd name="connsiteY42" fmla="*/ 76404 h 140427"/>
                <a:gd name="connsiteX43" fmla="*/ 193210 w 193210"/>
                <a:gd name="connsiteY43" fmla="*/ 80640 h 140427"/>
                <a:gd name="connsiteX44" fmla="*/ 187671 w 193210"/>
                <a:gd name="connsiteY44" fmla="*/ 87156 h 140427"/>
                <a:gd name="connsiteX45" fmla="*/ 183273 w 193210"/>
                <a:gd name="connsiteY45" fmla="*/ 87482 h 140427"/>
                <a:gd name="connsiteX46" fmla="*/ 175127 w 193210"/>
                <a:gd name="connsiteY46" fmla="*/ 91555 h 140427"/>
                <a:gd name="connsiteX47" fmla="*/ 172358 w 193210"/>
                <a:gd name="connsiteY47" fmla="*/ 90415 h 140427"/>
                <a:gd name="connsiteX48" fmla="*/ 167308 w 193210"/>
                <a:gd name="connsiteY48" fmla="*/ 92858 h 140427"/>
                <a:gd name="connsiteX49" fmla="*/ 167796 w 193210"/>
                <a:gd name="connsiteY49" fmla="*/ 97583 h 140427"/>
                <a:gd name="connsiteX50" fmla="*/ 163560 w 193210"/>
                <a:gd name="connsiteY50" fmla="*/ 100515 h 140427"/>
                <a:gd name="connsiteX51" fmla="*/ 164538 w 193210"/>
                <a:gd name="connsiteY51" fmla="*/ 105891 h 140427"/>
                <a:gd name="connsiteX52" fmla="*/ 157859 w 193210"/>
                <a:gd name="connsiteY52" fmla="*/ 107357 h 140427"/>
                <a:gd name="connsiteX53" fmla="*/ 156882 w 193210"/>
                <a:gd name="connsiteY53" fmla="*/ 109801 h 140427"/>
                <a:gd name="connsiteX54" fmla="*/ 130327 w 193210"/>
                <a:gd name="connsiteY54" fmla="*/ 102958 h 140427"/>
                <a:gd name="connsiteX55" fmla="*/ 128372 w 193210"/>
                <a:gd name="connsiteY55" fmla="*/ 103447 h 140427"/>
                <a:gd name="connsiteX56" fmla="*/ 128372 w 193210"/>
                <a:gd name="connsiteY56" fmla="*/ 103447 h 140427"/>
                <a:gd name="connsiteX57" fmla="*/ 126417 w 193210"/>
                <a:gd name="connsiteY57" fmla="*/ 102958 h 140427"/>
                <a:gd name="connsiteX58" fmla="*/ 120553 w 193210"/>
                <a:gd name="connsiteY58" fmla="*/ 105565 h 140427"/>
                <a:gd name="connsiteX59" fmla="*/ 114688 w 193210"/>
                <a:gd name="connsiteY59" fmla="*/ 105891 h 140427"/>
                <a:gd name="connsiteX60" fmla="*/ 105076 w 193210"/>
                <a:gd name="connsiteY60" fmla="*/ 107357 h 140427"/>
                <a:gd name="connsiteX61" fmla="*/ 91881 w 193210"/>
                <a:gd name="connsiteY61" fmla="*/ 107357 h 140427"/>
                <a:gd name="connsiteX62" fmla="*/ 89600 w 193210"/>
                <a:gd name="connsiteY62" fmla="*/ 108334 h 140427"/>
                <a:gd name="connsiteX63" fmla="*/ 70703 w 193210"/>
                <a:gd name="connsiteY63" fmla="*/ 108334 h 140427"/>
                <a:gd name="connsiteX64" fmla="*/ 61905 w 193210"/>
                <a:gd name="connsiteY64" fmla="*/ 108823 h 140427"/>
                <a:gd name="connsiteX65" fmla="*/ 61091 w 193210"/>
                <a:gd name="connsiteY65" fmla="*/ 114525 h 140427"/>
                <a:gd name="connsiteX66" fmla="*/ 62883 w 193210"/>
                <a:gd name="connsiteY66" fmla="*/ 122508 h 140427"/>
                <a:gd name="connsiteX67" fmla="*/ 65489 w 193210"/>
                <a:gd name="connsiteY67" fmla="*/ 124788 h 140427"/>
                <a:gd name="connsiteX68" fmla="*/ 68422 w 193210"/>
                <a:gd name="connsiteY68" fmla="*/ 131956 h 140427"/>
                <a:gd name="connsiteX69" fmla="*/ 68747 w 193210"/>
                <a:gd name="connsiteY69" fmla="*/ 139613 h 140427"/>
                <a:gd name="connsiteX70" fmla="*/ 63209 w 193210"/>
                <a:gd name="connsiteY70" fmla="*/ 138636 h 140427"/>
                <a:gd name="connsiteX71" fmla="*/ 59462 w 193210"/>
                <a:gd name="connsiteY71" fmla="*/ 136029 h 140427"/>
                <a:gd name="connsiteX72" fmla="*/ 56041 w 193210"/>
                <a:gd name="connsiteY72" fmla="*/ 135866 h 140427"/>
                <a:gd name="connsiteX73" fmla="*/ 51316 w 193210"/>
                <a:gd name="connsiteY73" fmla="*/ 139287 h 140427"/>
                <a:gd name="connsiteX74" fmla="*/ 45126 w 193210"/>
                <a:gd name="connsiteY74" fmla="*/ 140428 h 140427"/>
                <a:gd name="connsiteX75" fmla="*/ 36980 w 193210"/>
                <a:gd name="connsiteY75" fmla="*/ 136355 h 140427"/>
                <a:gd name="connsiteX76" fmla="*/ 34374 w 193210"/>
                <a:gd name="connsiteY76" fmla="*/ 132445 h 140427"/>
                <a:gd name="connsiteX77" fmla="*/ 28835 w 193210"/>
                <a:gd name="connsiteY77" fmla="*/ 130001 h 140427"/>
                <a:gd name="connsiteX78" fmla="*/ 24925 w 193210"/>
                <a:gd name="connsiteY78" fmla="*/ 130001 h 140427"/>
                <a:gd name="connsiteX79" fmla="*/ 21993 w 193210"/>
                <a:gd name="connsiteY79" fmla="*/ 128047 h 140427"/>
                <a:gd name="connsiteX80" fmla="*/ 18409 w 193210"/>
                <a:gd name="connsiteY80" fmla="*/ 128047 h 140427"/>
                <a:gd name="connsiteX81" fmla="*/ 8797 w 193210"/>
                <a:gd name="connsiteY81" fmla="*/ 122833 h 140427"/>
                <a:gd name="connsiteX82" fmla="*/ 1466 w 193210"/>
                <a:gd name="connsiteY82" fmla="*/ 116969 h 140427"/>
                <a:gd name="connsiteX83" fmla="*/ 652 w 193210"/>
                <a:gd name="connsiteY83" fmla="*/ 117457 h 1404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</a:cxnLst>
              <a:rect l="l" t="t" r="r" b="b"/>
              <a:pathLst>
                <a:path w="193210" h="140427">
                  <a:moveTo>
                    <a:pt x="652" y="117457"/>
                  </a:moveTo>
                  <a:lnTo>
                    <a:pt x="2118" y="111267"/>
                  </a:lnTo>
                  <a:lnTo>
                    <a:pt x="0" y="107357"/>
                  </a:lnTo>
                  <a:lnTo>
                    <a:pt x="163" y="102144"/>
                  </a:lnTo>
                  <a:lnTo>
                    <a:pt x="5050" y="101166"/>
                  </a:lnTo>
                  <a:lnTo>
                    <a:pt x="4398" y="93836"/>
                  </a:lnTo>
                  <a:lnTo>
                    <a:pt x="2606" y="89111"/>
                  </a:lnTo>
                  <a:lnTo>
                    <a:pt x="7331" y="85527"/>
                  </a:lnTo>
                  <a:lnTo>
                    <a:pt x="13684" y="80640"/>
                  </a:lnTo>
                  <a:lnTo>
                    <a:pt x="21015" y="67118"/>
                  </a:lnTo>
                  <a:lnTo>
                    <a:pt x="26391" y="59625"/>
                  </a:lnTo>
                  <a:lnTo>
                    <a:pt x="26717" y="56041"/>
                  </a:lnTo>
                  <a:lnTo>
                    <a:pt x="32582" y="45940"/>
                  </a:lnTo>
                  <a:lnTo>
                    <a:pt x="36003" y="44637"/>
                  </a:lnTo>
                  <a:lnTo>
                    <a:pt x="36980" y="41216"/>
                  </a:lnTo>
                  <a:lnTo>
                    <a:pt x="44637" y="41053"/>
                  </a:lnTo>
                  <a:lnTo>
                    <a:pt x="47569" y="41705"/>
                  </a:lnTo>
                  <a:lnTo>
                    <a:pt x="60928" y="37795"/>
                  </a:lnTo>
                  <a:lnTo>
                    <a:pt x="63046" y="32582"/>
                  </a:lnTo>
                  <a:lnTo>
                    <a:pt x="77056" y="23296"/>
                  </a:lnTo>
                  <a:lnTo>
                    <a:pt x="96768" y="12544"/>
                  </a:lnTo>
                  <a:lnTo>
                    <a:pt x="103121" y="7168"/>
                  </a:lnTo>
                  <a:lnTo>
                    <a:pt x="110941" y="2607"/>
                  </a:lnTo>
                  <a:lnTo>
                    <a:pt x="123322" y="652"/>
                  </a:lnTo>
                  <a:lnTo>
                    <a:pt x="129676" y="0"/>
                  </a:lnTo>
                  <a:lnTo>
                    <a:pt x="136844" y="2281"/>
                  </a:lnTo>
                  <a:lnTo>
                    <a:pt x="141405" y="2607"/>
                  </a:lnTo>
                  <a:lnTo>
                    <a:pt x="143360" y="4724"/>
                  </a:lnTo>
                  <a:lnTo>
                    <a:pt x="142382" y="6679"/>
                  </a:lnTo>
                  <a:lnTo>
                    <a:pt x="141405" y="13684"/>
                  </a:lnTo>
                  <a:lnTo>
                    <a:pt x="138310" y="18898"/>
                  </a:lnTo>
                  <a:lnTo>
                    <a:pt x="138310" y="26228"/>
                  </a:lnTo>
                  <a:lnTo>
                    <a:pt x="162583" y="42519"/>
                  </a:lnTo>
                  <a:lnTo>
                    <a:pt x="163072" y="52783"/>
                  </a:lnTo>
                  <a:lnTo>
                    <a:pt x="171869" y="59625"/>
                  </a:lnTo>
                  <a:lnTo>
                    <a:pt x="182947" y="53760"/>
                  </a:lnTo>
                  <a:lnTo>
                    <a:pt x="185716" y="55226"/>
                  </a:lnTo>
                  <a:lnTo>
                    <a:pt x="186368" y="58484"/>
                  </a:lnTo>
                  <a:lnTo>
                    <a:pt x="188323" y="60439"/>
                  </a:lnTo>
                  <a:lnTo>
                    <a:pt x="188812" y="65326"/>
                  </a:lnTo>
                  <a:lnTo>
                    <a:pt x="185879" y="69236"/>
                  </a:lnTo>
                  <a:lnTo>
                    <a:pt x="191581" y="76567"/>
                  </a:lnTo>
                  <a:lnTo>
                    <a:pt x="193210" y="76404"/>
                  </a:lnTo>
                  <a:lnTo>
                    <a:pt x="193210" y="80640"/>
                  </a:lnTo>
                  <a:lnTo>
                    <a:pt x="187671" y="87156"/>
                  </a:lnTo>
                  <a:lnTo>
                    <a:pt x="183273" y="87482"/>
                  </a:lnTo>
                  <a:lnTo>
                    <a:pt x="175127" y="91555"/>
                  </a:lnTo>
                  <a:lnTo>
                    <a:pt x="172358" y="90415"/>
                  </a:lnTo>
                  <a:lnTo>
                    <a:pt x="167308" y="92858"/>
                  </a:lnTo>
                  <a:lnTo>
                    <a:pt x="167796" y="97583"/>
                  </a:lnTo>
                  <a:lnTo>
                    <a:pt x="163560" y="100515"/>
                  </a:lnTo>
                  <a:lnTo>
                    <a:pt x="164538" y="105891"/>
                  </a:lnTo>
                  <a:lnTo>
                    <a:pt x="157859" y="107357"/>
                  </a:lnTo>
                  <a:lnTo>
                    <a:pt x="156882" y="109801"/>
                  </a:lnTo>
                  <a:lnTo>
                    <a:pt x="130327" y="102958"/>
                  </a:lnTo>
                  <a:lnTo>
                    <a:pt x="128372" y="103447"/>
                  </a:lnTo>
                  <a:lnTo>
                    <a:pt x="128372" y="103447"/>
                  </a:lnTo>
                  <a:lnTo>
                    <a:pt x="126417" y="102958"/>
                  </a:lnTo>
                  <a:lnTo>
                    <a:pt x="120553" y="105565"/>
                  </a:lnTo>
                  <a:lnTo>
                    <a:pt x="114688" y="105891"/>
                  </a:lnTo>
                  <a:lnTo>
                    <a:pt x="105076" y="107357"/>
                  </a:lnTo>
                  <a:lnTo>
                    <a:pt x="91881" y="107357"/>
                  </a:lnTo>
                  <a:lnTo>
                    <a:pt x="89600" y="108334"/>
                  </a:lnTo>
                  <a:lnTo>
                    <a:pt x="70703" y="108334"/>
                  </a:lnTo>
                  <a:lnTo>
                    <a:pt x="61905" y="108823"/>
                  </a:lnTo>
                  <a:lnTo>
                    <a:pt x="61091" y="114525"/>
                  </a:lnTo>
                  <a:lnTo>
                    <a:pt x="62883" y="122508"/>
                  </a:lnTo>
                  <a:lnTo>
                    <a:pt x="65489" y="124788"/>
                  </a:lnTo>
                  <a:lnTo>
                    <a:pt x="68422" y="131956"/>
                  </a:lnTo>
                  <a:lnTo>
                    <a:pt x="68747" y="139613"/>
                  </a:lnTo>
                  <a:lnTo>
                    <a:pt x="63209" y="138636"/>
                  </a:lnTo>
                  <a:lnTo>
                    <a:pt x="59462" y="136029"/>
                  </a:lnTo>
                  <a:lnTo>
                    <a:pt x="56041" y="135866"/>
                  </a:lnTo>
                  <a:lnTo>
                    <a:pt x="51316" y="139287"/>
                  </a:lnTo>
                  <a:lnTo>
                    <a:pt x="45126" y="140428"/>
                  </a:lnTo>
                  <a:lnTo>
                    <a:pt x="36980" y="136355"/>
                  </a:lnTo>
                  <a:lnTo>
                    <a:pt x="34374" y="132445"/>
                  </a:lnTo>
                  <a:lnTo>
                    <a:pt x="28835" y="130001"/>
                  </a:lnTo>
                  <a:lnTo>
                    <a:pt x="24925" y="130001"/>
                  </a:lnTo>
                  <a:lnTo>
                    <a:pt x="21993" y="128047"/>
                  </a:lnTo>
                  <a:lnTo>
                    <a:pt x="18409" y="128047"/>
                  </a:lnTo>
                  <a:lnTo>
                    <a:pt x="8797" y="122833"/>
                  </a:lnTo>
                  <a:lnTo>
                    <a:pt x="1466" y="116969"/>
                  </a:lnTo>
                  <a:lnTo>
                    <a:pt x="652" y="117457"/>
                  </a:lnTo>
                  <a:close/>
                </a:path>
              </a:pathLst>
            </a:custGeom>
            <a:solidFill>
              <a:schemeClr val="bg2"/>
            </a:solidFill>
            <a:ln w="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7" name="Forma livre: Forma 106">
              <a:extLst>
                <a:ext uri="{FF2B5EF4-FFF2-40B4-BE49-F238E27FC236}">
                  <a16:creationId xmlns:a16="http://schemas.microsoft.com/office/drawing/2014/main" id="{8AB3B109-0402-FCAE-89F8-BBA0C6B3F237}"/>
                </a:ext>
              </a:extLst>
            </p:cNvPr>
            <p:cNvSpPr/>
            <p:nvPr/>
          </p:nvSpPr>
          <p:spPr>
            <a:xfrm>
              <a:off x="5533510" y="4508214"/>
              <a:ext cx="170707" cy="124915"/>
            </a:xfrm>
            <a:custGeom>
              <a:avLst/>
              <a:gdLst>
                <a:gd name="connsiteX0" fmla="*/ 23785 w 165189"/>
                <a:gd name="connsiteY0" fmla="*/ 15639 h 120878"/>
                <a:gd name="connsiteX1" fmla="*/ 28020 w 165189"/>
                <a:gd name="connsiteY1" fmla="*/ 12218 h 120878"/>
                <a:gd name="connsiteX2" fmla="*/ 31767 w 165189"/>
                <a:gd name="connsiteY2" fmla="*/ 12218 h 120878"/>
                <a:gd name="connsiteX3" fmla="*/ 36980 w 165189"/>
                <a:gd name="connsiteY3" fmla="*/ 7331 h 120878"/>
                <a:gd name="connsiteX4" fmla="*/ 50665 w 165189"/>
                <a:gd name="connsiteY4" fmla="*/ 5213 h 120878"/>
                <a:gd name="connsiteX5" fmla="*/ 63860 w 165189"/>
                <a:gd name="connsiteY5" fmla="*/ 0 h 120878"/>
                <a:gd name="connsiteX6" fmla="*/ 68422 w 165189"/>
                <a:gd name="connsiteY6" fmla="*/ 0 h 120878"/>
                <a:gd name="connsiteX7" fmla="*/ 80477 w 165189"/>
                <a:gd name="connsiteY7" fmla="*/ 3910 h 120878"/>
                <a:gd name="connsiteX8" fmla="*/ 86993 w 165189"/>
                <a:gd name="connsiteY8" fmla="*/ 5376 h 120878"/>
                <a:gd name="connsiteX9" fmla="*/ 92369 w 165189"/>
                <a:gd name="connsiteY9" fmla="*/ 12544 h 120878"/>
                <a:gd name="connsiteX10" fmla="*/ 92369 w 165189"/>
                <a:gd name="connsiteY10" fmla="*/ 14988 h 120878"/>
                <a:gd name="connsiteX11" fmla="*/ 95953 w 165189"/>
                <a:gd name="connsiteY11" fmla="*/ 16454 h 120878"/>
                <a:gd name="connsiteX12" fmla="*/ 100352 w 165189"/>
                <a:gd name="connsiteY12" fmla="*/ 14825 h 120878"/>
                <a:gd name="connsiteX13" fmla="*/ 101981 w 165189"/>
                <a:gd name="connsiteY13" fmla="*/ 15965 h 120878"/>
                <a:gd name="connsiteX14" fmla="*/ 106217 w 165189"/>
                <a:gd name="connsiteY14" fmla="*/ 15476 h 120878"/>
                <a:gd name="connsiteX15" fmla="*/ 108334 w 165189"/>
                <a:gd name="connsiteY15" fmla="*/ 17431 h 120878"/>
                <a:gd name="connsiteX16" fmla="*/ 109312 w 165189"/>
                <a:gd name="connsiteY16" fmla="*/ 23785 h 120878"/>
                <a:gd name="connsiteX17" fmla="*/ 114851 w 165189"/>
                <a:gd name="connsiteY17" fmla="*/ 28509 h 120878"/>
                <a:gd name="connsiteX18" fmla="*/ 114851 w 165189"/>
                <a:gd name="connsiteY18" fmla="*/ 34374 h 120878"/>
                <a:gd name="connsiteX19" fmla="*/ 120390 w 165189"/>
                <a:gd name="connsiteY19" fmla="*/ 35351 h 120878"/>
                <a:gd name="connsiteX20" fmla="*/ 121856 w 165189"/>
                <a:gd name="connsiteY20" fmla="*/ 40727 h 120878"/>
                <a:gd name="connsiteX21" fmla="*/ 126255 w 165189"/>
                <a:gd name="connsiteY21" fmla="*/ 42519 h 120878"/>
                <a:gd name="connsiteX22" fmla="*/ 133260 w 165189"/>
                <a:gd name="connsiteY22" fmla="*/ 46755 h 120878"/>
                <a:gd name="connsiteX23" fmla="*/ 134400 w 165189"/>
                <a:gd name="connsiteY23" fmla="*/ 50665 h 120878"/>
                <a:gd name="connsiteX24" fmla="*/ 137821 w 165189"/>
                <a:gd name="connsiteY24" fmla="*/ 53597 h 120878"/>
                <a:gd name="connsiteX25" fmla="*/ 137821 w 165189"/>
                <a:gd name="connsiteY25" fmla="*/ 58159 h 120878"/>
                <a:gd name="connsiteX26" fmla="*/ 139613 w 165189"/>
                <a:gd name="connsiteY26" fmla="*/ 61906 h 120878"/>
                <a:gd name="connsiteX27" fmla="*/ 136844 w 165189"/>
                <a:gd name="connsiteY27" fmla="*/ 72169 h 120878"/>
                <a:gd name="connsiteX28" fmla="*/ 137658 w 165189"/>
                <a:gd name="connsiteY28" fmla="*/ 75427 h 120878"/>
                <a:gd name="connsiteX29" fmla="*/ 143849 w 165189"/>
                <a:gd name="connsiteY29" fmla="*/ 81292 h 120878"/>
                <a:gd name="connsiteX30" fmla="*/ 146455 w 165189"/>
                <a:gd name="connsiteY30" fmla="*/ 87645 h 120878"/>
                <a:gd name="connsiteX31" fmla="*/ 149714 w 165189"/>
                <a:gd name="connsiteY31" fmla="*/ 90415 h 120878"/>
                <a:gd name="connsiteX32" fmla="*/ 152320 w 165189"/>
                <a:gd name="connsiteY32" fmla="*/ 89926 h 120878"/>
                <a:gd name="connsiteX33" fmla="*/ 155252 w 165189"/>
                <a:gd name="connsiteY33" fmla="*/ 92369 h 120878"/>
                <a:gd name="connsiteX34" fmla="*/ 156556 w 165189"/>
                <a:gd name="connsiteY34" fmla="*/ 95791 h 120878"/>
                <a:gd name="connsiteX35" fmla="*/ 159977 w 165189"/>
                <a:gd name="connsiteY35" fmla="*/ 99700 h 120878"/>
                <a:gd name="connsiteX36" fmla="*/ 159814 w 165189"/>
                <a:gd name="connsiteY36" fmla="*/ 102633 h 120878"/>
                <a:gd name="connsiteX37" fmla="*/ 158348 w 165189"/>
                <a:gd name="connsiteY37" fmla="*/ 105565 h 120878"/>
                <a:gd name="connsiteX38" fmla="*/ 158511 w 165189"/>
                <a:gd name="connsiteY38" fmla="*/ 109638 h 120878"/>
                <a:gd name="connsiteX39" fmla="*/ 165190 w 165189"/>
                <a:gd name="connsiteY39" fmla="*/ 113222 h 120878"/>
                <a:gd name="connsiteX40" fmla="*/ 164864 w 165189"/>
                <a:gd name="connsiteY40" fmla="*/ 117620 h 120878"/>
                <a:gd name="connsiteX41" fmla="*/ 163724 w 165189"/>
                <a:gd name="connsiteY41" fmla="*/ 120879 h 120878"/>
                <a:gd name="connsiteX42" fmla="*/ 163235 w 165189"/>
                <a:gd name="connsiteY42" fmla="*/ 116969 h 120878"/>
                <a:gd name="connsiteX43" fmla="*/ 157859 w 165189"/>
                <a:gd name="connsiteY43" fmla="*/ 116480 h 120878"/>
                <a:gd name="connsiteX44" fmla="*/ 155252 w 165189"/>
                <a:gd name="connsiteY44" fmla="*/ 113711 h 120878"/>
                <a:gd name="connsiteX45" fmla="*/ 150365 w 165189"/>
                <a:gd name="connsiteY45" fmla="*/ 113548 h 120878"/>
                <a:gd name="connsiteX46" fmla="*/ 146292 w 165189"/>
                <a:gd name="connsiteY46" fmla="*/ 115991 h 120878"/>
                <a:gd name="connsiteX47" fmla="*/ 138147 w 165189"/>
                <a:gd name="connsiteY47" fmla="*/ 112570 h 120878"/>
                <a:gd name="connsiteX48" fmla="*/ 130327 w 165189"/>
                <a:gd name="connsiteY48" fmla="*/ 113059 h 120878"/>
                <a:gd name="connsiteX49" fmla="*/ 125766 w 165189"/>
                <a:gd name="connsiteY49" fmla="*/ 109638 h 120878"/>
                <a:gd name="connsiteX50" fmla="*/ 115503 w 165189"/>
                <a:gd name="connsiteY50" fmla="*/ 104425 h 120878"/>
                <a:gd name="connsiteX51" fmla="*/ 99375 w 165189"/>
                <a:gd name="connsiteY51" fmla="*/ 104099 h 120878"/>
                <a:gd name="connsiteX52" fmla="*/ 94324 w 165189"/>
                <a:gd name="connsiteY52" fmla="*/ 105239 h 120878"/>
                <a:gd name="connsiteX53" fmla="*/ 94487 w 165189"/>
                <a:gd name="connsiteY53" fmla="*/ 105402 h 120878"/>
                <a:gd name="connsiteX54" fmla="*/ 87971 w 165189"/>
                <a:gd name="connsiteY54" fmla="*/ 103610 h 120878"/>
                <a:gd name="connsiteX55" fmla="*/ 64838 w 165189"/>
                <a:gd name="connsiteY55" fmla="*/ 103122 h 120878"/>
                <a:gd name="connsiteX56" fmla="*/ 55552 w 165189"/>
                <a:gd name="connsiteY56" fmla="*/ 107194 h 120878"/>
                <a:gd name="connsiteX57" fmla="*/ 50991 w 165189"/>
                <a:gd name="connsiteY57" fmla="*/ 113222 h 120878"/>
                <a:gd name="connsiteX58" fmla="*/ 33722 w 165189"/>
                <a:gd name="connsiteY58" fmla="*/ 111756 h 120878"/>
                <a:gd name="connsiteX59" fmla="*/ 25414 w 165189"/>
                <a:gd name="connsiteY59" fmla="*/ 115991 h 120878"/>
                <a:gd name="connsiteX60" fmla="*/ 19060 w 165189"/>
                <a:gd name="connsiteY60" fmla="*/ 114036 h 120878"/>
                <a:gd name="connsiteX61" fmla="*/ 19386 w 165189"/>
                <a:gd name="connsiteY61" fmla="*/ 108986 h 120878"/>
                <a:gd name="connsiteX62" fmla="*/ 17431 w 165189"/>
                <a:gd name="connsiteY62" fmla="*/ 107357 h 120878"/>
                <a:gd name="connsiteX63" fmla="*/ 21667 w 165189"/>
                <a:gd name="connsiteY63" fmla="*/ 108498 h 120878"/>
                <a:gd name="connsiteX64" fmla="*/ 24274 w 165189"/>
                <a:gd name="connsiteY64" fmla="*/ 109475 h 120878"/>
                <a:gd name="connsiteX65" fmla="*/ 29975 w 165189"/>
                <a:gd name="connsiteY65" fmla="*/ 105891 h 120878"/>
                <a:gd name="connsiteX66" fmla="*/ 21178 w 165189"/>
                <a:gd name="connsiteY66" fmla="*/ 102796 h 120878"/>
                <a:gd name="connsiteX67" fmla="*/ 15476 w 165189"/>
                <a:gd name="connsiteY67" fmla="*/ 105891 h 120878"/>
                <a:gd name="connsiteX68" fmla="*/ 14010 w 165189"/>
                <a:gd name="connsiteY68" fmla="*/ 104099 h 120878"/>
                <a:gd name="connsiteX69" fmla="*/ 16617 w 165189"/>
                <a:gd name="connsiteY69" fmla="*/ 101330 h 120878"/>
                <a:gd name="connsiteX70" fmla="*/ 16617 w 165189"/>
                <a:gd name="connsiteY70" fmla="*/ 95465 h 120878"/>
                <a:gd name="connsiteX71" fmla="*/ 19223 w 165189"/>
                <a:gd name="connsiteY71" fmla="*/ 92858 h 120878"/>
                <a:gd name="connsiteX72" fmla="*/ 34863 w 165189"/>
                <a:gd name="connsiteY72" fmla="*/ 92858 h 120878"/>
                <a:gd name="connsiteX73" fmla="*/ 39261 w 165189"/>
                <a:gd name="connsiteY73" fmla="*/ 87808 h 120878"/>
                <a:gd name="connsiteX74" fmla="*/ 44148 w 165189"/>
                <a:gd name="connsiteY74" fmla="*/ 86668 h 120878"/>
                <a:gd name="connsiteX75" fmla="*/ 49687 w 165189"/>
                <a:gd name="connsiteY75" fmla="*/ 82921 h 120878"/>
                <a:gd name="connsiteX76" fmla="*/ 53108 w 165189"/>
                <a:gd name="connsiteY76" fmla="*/ 83735 h 120878"/>
                <a:gd name="connsiteX77" fmla="*/ 54737 w 165189"/>
                <a:gd name="connsiteY77" fmla="*/ 84876 h 120878"/>
                <a:gd name="connsiteX78" fmla="*/ 58484 w 165189"/>
                <a:gd name="connsiteY78" fmla="*/ 81780 h 120878"/>
                <a:gd name="connsiteX79" fmla="*/ 61091 w 165189"/>
                <a:gd name="connsiteY79" fmla="*/ 80803 h 120878"/>
                <a:gd name="connsiteX80" fmla="*/ 67118 w 165189"/>
                <a:gd name="connsiteY80" fmla="*/ 84713 h 120878"/>
                <a:gd name="connsiteX81" fmla="*/ 72495 w 165189"/>
                <a:gd name="connsiteY81" fmla="*/ 84876 h 120878"/>
                <a:gd name="connsiteX82" fmla="*/ 79011 w 165189"/>
                <a:gd name="connsiteY82" fmla="*/ 87156 h 120878"/>
                <a:gd name="connsiteX83" fmla="*/ 87319 w 165189"/>
                <a:gd name="connsiteY83" fmla="*/ 90577 h 120878"/>
                <a:gd name="connsiteX84" fmla="*/ 93021 w 165189"/>
                <a:gd name="connsiteY84" fmla="*/ 90741 h 120878"/>
                <a:gd name="connsiteX85" fmla="*/ 94813 w 165189"/>
                <a:gd name="connsiteY85" fmla="*/ 87482 h 120878"/>
                <a:gd name="connsiteX86" fmla="*/ 92858 w 165189"/>
                <a:gd name="connsiteY86" fmla="*/ 84224 h 120878"/>
                <a:gd name="connsiteX87" fmla="*/ 90577 w 165189"/>
                <a:gd name="connsiteY87" fmla="*/ 84713 h 120878"/>
                <a:gd name="connsiteX88" fmla="*/ 79337 w 165189"/>
                <a:gd name="connsiteY88" fmla="*/ 77708 h 120878"/>
                <a:gd name="connsiteX89" fmla="*/ 74775 w 165189"/>
                <a:gd name="connsiteY89" fmla="*/ 77708 h 120878"/>
                <a:gd name="connsiteX90" fmla="*/ 66793 w 165189"/>
                <a:gd name="connsiteY90" fmla="*/ 72820 h 120878"/>
                <a:gd name="connsiteX91" fmla="*/ 60114 w 165189"/>
                <a:gd name="connsiteY91" fmla="*/ 72495 h 120878"/>
                <a:gd name="connsiteX92" fmla="*/ 55878 w 165189"/>
                <a:gd name="connsiteY92" fmla="*/ 71191 h 120878"/>
                <a:gd name="connsiteX93" fmla="*/ 48873 w 165189"/>
                <a:gd name="connsiteY93" fmla="*/ 74124 h 120878"/>
                <a:gd name="connsiteX94" fmla="*/ 39587 w 165189"/>
                <a:gd name="connsiteY94" fmla="*/ 81129 h 120878"/>
                <a:gd name="connsiteX95" fmla="*/ 35025 w 165189"/>
                <a:gd name="connsiteY95" fmla="*/ 81129 h 120878"/>
                <a:gd name="connsiteX96" fmla="*/ 32256 w 165189"/>
                <a:gd name="connsiteY96" fmla="*/ 82758 h 120878"/>
                <a:gd name="connsiteX97" fmla="*/ 20526 w 165189"/>
                <a:gd name="connsiteY97" fmla="*/ 82595 h 120878"/>
                <a:gd name="connsiteX98" fmla="*/ 19875 w 165189"/>
                <a:gd name="connsiteY98" fmla="*/ 80477 h 120878"/>
                <a:gd name="connsiteX99" fmla="*/ 23296 w 165189"/>
                <a:gd name="connsiteY99" fmla="*/ 77871 h 120878"/>
                <a:gd name="connsiteX100" fmla="*/ 16942 w 165189"/>
                <a:gd name="connsiteY100" fmla="*/ 73798 h 120878"/>
                <a:gd name="connsiteX101" fmla="*/ 19060 w 165189"/>
                <a:gd name="connsiteY101" fmla="*/ 73472 h 120878"/>
                <a:gd name="connsiteX102" fmla="*/ 19060 w 165189"/>
                <a:gd name="connsiteY102" fmla="*/ 68259 h 120878"/>
                <a:gd name="connsiteX103" fmla="*/ 14336 w 165189"/>
                <a:gd name="connsiteY103" fmla="*/ 67444 h 120878"/>
                <a:gd name="connsiteX104" fmla="*/ 8634 w 165189"/>
                <a:gd name="connsiteY104" fmla="*/ 57670 h 120878"/>
                <a:gd name="connsiteX105" fmla="*/ 0 w 165189"/>
                <a:gd name="connsiteY105" fmla="*/ 50665 h 120878"/>
                <a:gd name="connsiteX106" fmla="*/ 15965 w 165189"/>
                <a:gd name="connsiteY106" fmla="*/ 36003 h 120878"/>
                <a:gd name="connsiteX107" fmla="*/ 22644 w 165189"/>
                <a:gd name="connsiteY107" fmla="*/ 23948 h 120878"/>
                <a:gd name="connsiteX108" fmla="*/ 23785 w 165189"/>
                <a:gd name="connsiteY108" fmla="*/ 15639 h 1208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</a:cxnLst>
              <a:rect l="l" t="t" r="r" b="b"/>
              <a:pathLst>
                <a:path w="165189" h="120878">
                  <a:moveTo>
                    <a:pt x="23785" y="15639"/>
                  </a:moveTo>
                  <a:lnTo>
                    <a:pt x="28020" y="12218"/>
                  </a:lnTo>
                  <a:lnTo>
                    <a:pt x="31767" y="12218"/>
                  </a:lnTo>
                  <a:lnTo>
                    <a:pt x="36980" y="7331"/>
                  </a:lnTo>
                  <a:lnTo>
                    <a:pt x="50665" y="5213"/>
                  </a:lnTo>
                  <a:lnTo>
                    <a:pt x="63860" y="0"/>
                  </a:lnTo>
                  <a:lnTo>
                    <a:pt x="68422" y="0"/>
                  </a:lnTo>
                  <a:lnTo>
                    <a:pt x="80477" y="3910"/>
                  </a:lnTo>
                  <a:lnTo>
                    <a:pt x="86993" y="5376"/>
                  </a:lnTo>
                  <a:lnTo>
                    <a:pt x="92369" y="12544"/>
                  </a:lnTo>
                  <a:lnTo>
                    <a:pt x="92369" y="14988"/>
                  </a:lnTo>
                  <a:lnTo>
                    <a:pt x="95953" y="16454"/>
                  </a:lnTo>
                  <a:lnTo>
                    <a:pt x="100352" y="14825"/>
                  </a:lnTo>
                  <a:lnTo>
                    <a:pt x="101981" y="15965"/>
                  </a:lnTo>
                  <a:lnTo>
                    <a:pt x="106217" y="15476"/>
                  </a:lnTo>
                  <a:lnTo>
                    <a:pt x="108334" y="17431"/>
                  </a:lnTo>
                  <a:lnTo>
                    <a:pt x="109312" y="23785"/>
                  </a:lnTo>
                  <a:lnTo>
                    <a:pt x="114851" y="28509"/>
                  </a:lnTo>
                  <a:lnTo>
                    <a:pt x="114851" y="34374"/>
                  </a:lnTo>
                  <a:lnTo>
                    <a:pt x="120390" y="35351"/>
                  </a:lnTo>
                  <a:lnTo>
                    <a:pt x="121856" y="40727"/>
                  </a:lnTo>
                  <a:lnTo>
                    <a:pt x="126255" y="42519"/>
                  </a:lnTo>
                  <a:lnTo>
                    <a:pt x="133260" y="46755"/>
                  </a:lnTo>
                  <a:lnTo>
                    <a:pt x="134400" y="50665"/>
                  </a:lnTo>
                  <a:lnTo>
                    <a:pt x="137821" y="53597"/>
                  </a:lnTo>
                  <a:lnTo>
                    <a:pt x="137821" y="58159"/>
                  </a:lnTo>
                  <a:lnTo>
                    <a:pt x="139613" y="61906"/>
                  </a:lnTo>
                  <a:lnTo>
                    <a:pt x="136844" y="72169"/>
                  </a:lnTo>
                  <a:lnTo>
                    <a:pt x="137658" y="75427"/>
                  </a:lnTo>
                  <a:lnTo>
                    <a:pt x="143849" y="81292"/>
                  </a:lnTo>
                  <a:lnTo>
                    <a:pt x="146455" y="87645"/>
                  </a:lnTo>
                  <a:lnTo>
                    <a:pt x="149714" y="90415"/>
                  </a:lnTo>
                  <a:lnTo>
                    <a:pt x="152320" y="89926"/>
                  </a:lnTo>
                  <a:lnTo>
                    <a:pt x="155252" y="92369"/>
                  </a:lnTo>
                  <a:lnTo>
                    <a:pt x="156556" y="95791"/>
                  </a:lnTo>
                  <a:lnTo>
                    <a:pt x="159977" y="99700"/>
                  </a:lnTo>
                  <a:lnTo>
                    <a:pt x="159814" y="102633"/>
                  </a:lnTo>
                  <a:lnTo>
                    <a:pt x="158348" y="105565"/>
                  </a:lnTo>
                  <a:lnTo>
                    <a:pt x="158511" y="109638"/>
                  </a:lnTo>
                  <a:lnTo>
                    <a:pt x="165190" y="113222"/>
                  </a:lnTo>
                  <a:lnTo>
                    <a:pt x="164864" y="117620"/>
                  </a:lnTo>
                  <a:lnTo>
                    <a:pt x="163724" y="120879"/>
                  </a:lnTo>
                  <a:lnTo>
                    <a:pt x="163235" y="116969"/>
                  </a:lnTo>
                  <a:lnTo>
                    <a:pt x="157859" y="116480"/>
                  </a:lnTo>
                  <a:lnTo>
                    <a:pt x="155252" y="113711"/>
                  </a:lnTo>
                  <a:lnTo>
                    <a:pt x="150365" y="113548"/>
                  </a:lnTo>
                  <a:lnTo>
                    <a:pt x="146292" y="115991"/>
                  </a:lnTo>
                  <a:lnTo>
                    <a:pt x="138147" y="112570"/>
                  </a:lnTo>
                  <a:lnTo>
                    <a:pt x="130327" y="113059"/>
                  </a:lnTo>
                  <a:lnTo>
                    <a:pt x="125766" y="109638"/>
                  </a:lnTo>
                  <a:lnTo>
                    <a:pt x="115503" y="104425"/>
                  </a:lnTo>
                  <a:lnTo>
                    <a:pt x="99375" y="104099"/>
                  </a:lnTo>
                  <a:lnTo>
                    <a:pt x="94324" y="105239"/>
                  </a:lnTo>
                  <a:lnTo>
                    <a:pt x="94487" y="105402"/>
                  </a:lnTo>
                  <a:lnTo>
                    <a:pt x="87971" y="103610"/>
                  </a:lnTo>
                  <a:lnTo>
                    <a:pt x="64838" y="103122"/>
                  </a:lnTo>
                  <a:lnTo>
                    <a:pt x="55552" y="107194"/>
                  </a:lnTo>
                  <a:lnTo>
                    <a:pt x="50991" y="113222"/>
                  </a:lnTo>
                  <a:lnTo>
                    <a:pt x="33722" y="111756"/>
                  </a:lnTo>
                  <a:lnTo>
                    <a:pt x="25414" y="115991"/>
                  </a:lnTo>
                  <a:lnTo>
                    <a:pt x="19060" y="114036"/>
                  </a:lnTo>
                  <a:lnTo>
                    <a:pt x="19386" y="108986"/>
                  </a:lnTo>
                  <a:lnTo>
                    <a:pt x="17431" y="107357"/>
                  </a:lnTo>
                  <a:lnTo>
                    <a:pt x="21667" y="108498"/>
                  </a:lnTo>
                  <a:lnTo>
                    <a:pt x="24274" y="109475"/>
                  </a:lnTo>
                  <a:lnTo>
                    <a:pt x="29975" y="105891"/>
                  </a:lnTo>
                  <a:lnTo>
                    <a:pt x="21178" y="102796"/>
                  </a:lnTo>
                  <a:lnTo>
                    <a:pt x="15476" y="105891"/>
                  </a:lnTo>
                  <a:lnTo>
                    <a:pt x="14010" y="104099"/>
                  </a:lnTo>
                  <a:lnTo>
                    <a:pt x="16617" y="101330"/>
                  </a:lnTo>
                  <a:lnTo>
                    <a:pt x="16617" y="95465"/>
                  </a:lnTo>
                  <a:lnTo>
                    <a:pt x="19223" y="92858"/>
                  </a:lnTo>
                  <a:lnTo>
                    <a:pt x="34863" y="92858"/>
                  </a:lnTo>
                  <a:lnTo>
                    <a:pt x="39261" y="87808"/>
                  </a:lnTo>
                  <a:lnTo>
                    <a:pt x="44148" y="86668"/>
                  </a:lnTo>
                  <a:lnTo>
                    <a:pt x="49687" y="82921"/>
                  </a:lnTo>
                  <a:lnTo>
                    <a:pt x="53108" y="83735"/>
                  </a:lnTo>
                  <a:lnTo>
                    <a:pt x="54737" y="84876"/>
                  </a:lnTo>
                  <a:lnTo>
                    <a:pt x="58484" y="81780"/>
                  </a:lnTo>
                  <a:lnTo>
                    <a:pt x="61091" y="80803"/>
                  </a:lnTo>
                  <a:lnTo>
                    <a:pt x="67118" y="84713"/>
                  </a:lnTo>
                  <a:lnTo>
                    <a:pt x="72495" y="84876"/>
                  </a:lnTo>
                  <a:lnTo>
                    <a:pt x="79011" y="87156"/>
                  </a:lnTo>
                  <a:lnTo>
                    <a:pt x="87319" y="90577"/>
                  </a:lnTo>
                  <a:lnTo>
                    <a:pt x="93021" y="90741"/>
                  </a:lnTo>
                  <a:lnTo>
                    <a:pt x="94813" y="87482"/>
                  </a:lnTo>
                  <a:lnTo>
                    <a:pt x="92858" y="84224"/>
                  </a:lnTo>
                  <a:lnTo>
                    <a:pt x="90577" y="84713"/>
                  </a:lnTo>
                  <a:lnTo>
                    <a:pt x="79337" y="77708"/>
                  </a:lnTo>
                  <a:lnTo>
                    <a:pt x="74775" y="77708"/>
                  </a:lnTo>
                  <a:lnTo>
                    <a:pt x="66793" y="72820"/>
                  </a:lnTo>
                  <a:lnTo>
                    <a:pt x="60114" y="72495"/>
                  </a:lnTo>
                  <a:lnTo>
                    <a:pt x="55878" y="71191"/>
                  </a:lnTo>
                  <a:lnTo>
                    <a:pt x="48873" y="74124"/>
                  </a:lnTo>
                  <a:lnTo>
                    <a:pt x="39587" y="81129"/>
                  </a:lnTo>
                  <a:lnTo>
                    <a:pt x="35025" y="81129"/>
                  </a:lnTo>
                  <a:lnTo>
                    <a:pt x="32256" y="82758"/>
                  </a:lnTo>
                  <a:lnTo>
                    <a:pt x="20526" y="82595"/>
                  </a:lnTo>
                  <a:lnTo>
                    <a:pt x="19875" y="80477"/>
                  </a:lnTo>
                  <a:lnTo>
                    <a:pt x="23296" y="77871"/>
                  </a:lnTo>
                  <a:lnTo>
                    <a:pt x="16942" y="73798"/>
                  </a:lnTo>
                  <a:lnTo>
                    <a:pt x="19060" y="73472"/>
                  </a:lnTo>
                  <a:lnTo>
                    <a:pt x="19060" y="68259"/>
                  </a:lnTo>
                  <a:lnTo>
                    <a:pt x="14336" y="67444"/>
                  </a:lnTo>
                  <a:lnTo>
                    <a:pt x="8634" y="57670"/>
                  </a:lnTo>
                  <a:lnTo>
                    <a:pt x="0" y="50665"/>
                  </a:lnTo>
                  <a:lnTo>
                    <a:pt x="15965" y="36003"/>
                  </a:lnTo>
                  <a:lnTo>
                    <a:pt x="22644" y="23948"/>
                  </a:lnTo>
                  <a:lnTo>
                    <a:pt x="23785" y="15639"/>
                  </a:lnTo>
                  <a:close/>
                </a:path>
              </a:pathLst>
            </a:custGeom>
            <a:solidFill>
              <a:schemeClr val="bg2"/>
            </a:solidFill>
            <a:ln w="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8" name="Forma livre: Forma 107">
              <a:extLst>
                <a:ext uri="{FF2B5EF4-FFF2-40B4-BE49-F238E27FC236}">
                  <a16:creationId xmlns:a16="http://schemas.microsoft.com/office/drawing/2014/main" id="{78ADF97E-E8F1-2DA7-474C-0B5B77A229AD}"/>
                </a:ext>
              </a:extLst>
            </p:cNvPr>
            <p:cNvSpPr/>
            <p:nvPr/>
          </p:nvSpPr>
          <p:spPr>
            <a:xfrm>
              <a:off x="5547651" y="4581783"/>
              <a:ext cx="83838" cy="25084"/>
            </a:xfrm>
            <a:custGeom>
              <a:avLst/>
              <a:gdLst>
                <a:gd name="connsiteX0" fmla="*/ 2932 w 81128"/>
                <a:gd name="connsiteY0" fmla="*/ 24274 h 24273"/>
                <a:gd name="connsiteX1" fmla="*/ 5539 w 81128"/>
                <a:gd name="connsiteY1" fmla="*/ 21667 h 24273"/>
                <a:gd name="connsiteX2" fmla="*/ 21178 w 81128"/>
                <a:gd name="connsiteY2" fmla="*/ 21667 h 24273"/>
                <a:gd name="connsiteX3" fmla="*/ 25577 w 81128"/>
                <a:gd name="connsiteY3" fmla="*/ 16617 h 24273"/>
                <a:gd name="connsiteX4" fmla="*/ 30464 w 81128"/>
                <a:gd name="connsiteY4" fmla="*/ 15477 h 24273"/>
                <a:gd name="connsiteX5" fmla="*/ 36003 w 81128"/>
                <a:gd name="connsiteY5" fmla="*/ 11729 h 24273"/>
                <a:gd name="connsiteX6" fmla="*/ 39424 w 81128"/>
                <a:gd name="connsiteY6" fmla="*/ 12544 h 24273"/>
                <a:gd name="connsiteX7" fmla="*/ 41053 w 81128"/>
                <a:gd name="connsiteY7" fmla="*/ 13685 h 24273"/>
                <a:gd name="connsiteX8" fmla="*/ 44800 w 81128"/>
                <a:gd name="connsiteY8" fmla="*/ 10589 h 24273"/>
                <a:gd name="connsiteX9" fmla="*/ 47407 w 81128"/>
                <a:gd name="connsiteY9" fmla="*/ 9612 h 24273"/>
                <a:gd name="connsiteX10" fmla="*/ 53434 w 81128"/>
                <a:gd name="connsiteY10" fmla="*/ 13521 h 24273"/>
                <a:gd name="connsiteX11" fmla="*/ 58810 w 81128"/>
                <a:gd name="connsiteY11" fmla="*/ 13685 h 24273"/>
                <a:gd name="connsiteX12" fmla="*/ 65327 w 81128"/>
                <a:gd name="connsiteY12" fmla="*/ 15965 h 24273"/>
                <a:gd name="connsiteX13" fmla="*/ 73635 w 81128"/>
                <a:gd name="connsiteY13" fmla="*/ 19386 h 24273"/>
                <a:gd name="connsiteX14" fmla="*/ 79337 w 81128"/>
                <a:gd name="connsiteY14" fmla="*/ 19549 h 24273"/>
                <a:gd name="connsiteX15" fmla="*/ 81129 w 81128"/>
                <a:gd name="connsiteY15" fmla="*/ 16291 h 24273"/>
                <a:gd name="connsiteX16" fmla="*/ 79174 w 81128"/>
                <a:gd name="connsiteY16" fmla="*/ 13033 h 24273"/>
                <a:gd name="connsiteX17" fmla="*/ 76893 w 81128"/>
                <a:gd name="connsiteY17" fmla="*/ 13521 h 24273"/>
                <a:gd name="connsiteX18" fmla="*/ 65652 w 81128"/>
                <a:gd name="connsiteY18" fmla="*/ 6517 h 24273"/>
                <a:gd name="connsiteX19" fmla="*/ 61091 w 81128"/>
                <a:gd name="connsiteY19" fmla="*/ 6517 h 24273"/>
                <a:gd name="connsiteX20" fmla="*/ 53109 w 81128"/>
                <a:gd name="connsiteY20" fmla="*/ 1629 h 24273"/>
                <a:gd name="connsiteX21" fmla="*/ 46429 w 81128"/>
                <a:gd name="connsiteY21" fmla="*/ 1303 h 24273"/>
                <a:gd name="connsiteX22" fmla="*/ 42193 w 81128"/>
                <a:gd name="connsiteY22" fmla="*/ 0 h 24273"/>
                <a:gd name="connsiteX23" fmla="*/ 35188 w 81128"/>
                <a:gd name="connsiteY23" fmla="*/ 2932 h 24273"/>
                <a:gd name="connsiteX24" fmla="*/ 25902 w 81128"/>
                <a:gd name="connsiteY24" fmla="*/ 9937 h 24273"/>
                <a:gd name="connsiteX25" fmla="*/ 21341 w 81128"/>
                <a:gd name="connsiteY25" fmla="*/ 9937 h 24273"/>
                <a:gd name="connsiteX26" fmla="*/ 18572 w 81128"/>
                <a:gd name="connsiteY26" fmla="*/ 11567 h 24273"/>
                <a:gd name="connsiteX27" fmla="*/ 6842 w 81128"/>
                <a:gd name="connsiteY27" fmla="*/ 11404 h 24273"/>
                <a:gd name="connsiteX28" fmla="*/ 8145 w 81128"/>
                <a:gd name="connsiteY28" fmla="*/ 15151 h 24273"/>
                <a:gd name="connsiteX29" fmla="*/ 14662 w 81128"/>
                <a:gd name="connsiteY29" fmla="*/ 18572 h 24273"/>
                <a:gd name="connsiteX30" fmla="*/ 20527 w 81128"/>
                <a:gd name="connsiteY30" fmla="*/ 16943 h 24273"/>
                <a:gd name="connsiteX31" fmla="*/ 16617 w 81128"/>
                <a:gd name="connsiteY31" fmla="*/ 20690 h 24273"/>
                <a:gd name="connsiteX32" fmla="*/ 9612 w 81128"/>
                <a:gd name="connsiteY32" fmla="*/ 20853 h 24273"/>
                <a:gd name="connsiteX33" fmla="*/ 4399 w 81128"/>
                <a:gd name="connsiteY33" fmla="*/ 14336 h 24273"/>
                <a:gd name="connsiteX34" fmla="*/ 0 w 81128"/>
                <a:gd name="connsiteY34" fmla="*/ 18735 h 24273"/>
                <a:gd name="connsiteX35" fmla="*/ 2932 w 81128"/>
                <a:gd name="connsiteY35" fmla="*/ 22319 h 24273"/>
                <a:gd name="connsiteX36" fmla="*/ 2932 w 81128"/>
                <a:gd name="connsiteY36" fmla="*/ 24274 h 242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81128" h="24273">
                  <a:moveTo>
                    <a:pt x="2932" y="24274"/>
                  </a:moveTo>
                  <a:lnTo>
                    <a:pt x="5539" y="21667"/>
                  </a:lnTo>
                  <a:lnTo>
                    <a:pt x="21178" y="21667"/>
                  </a:lnTo>
                  <a:lnTo>
                    <a:pt x="25577" y="16617"/>
                  </a:lnTo>
                  <a:lnTo>
                    <a:pt x="30464" y="15477"/>
                  </a:lnTo>
                  <a:lnTo>
                    <a:pt x="36003" y="11729"/>
                  </a:lnTo>
                  <a:lnTo>
                    <a:pt x="39424" y="12544"/>
                  </a:lnTo>
                  <a:lnTo>
                    <a:pt x="41053" y="13685"/>
                  </a:lnTo>
                  <a:lnTo>
                    <a:pt x="44800" y="10589"/>
                  </a:lnTo>
                  <a:lnTo>
                    <a:pt x="47407" y="9612"/>
                  </a:lnTo>
                  <a:lnTo>
                    <a:pt x="53434" y="13521"/>
                  </a:lnTo>
                  <a:lnTo>
                    <a:pt x="58810" y="13685"/>
                  </a:lnTo>
                  <a:lnTo>
                    <a:pt x="65327" y="15965"/>
                  </a:lnTo>
                  <a:lnTo>
                    <a:pt x="73635" y="19386"/>
                  </a:lnTo>
                  <a:lnTo>
                    <a:pt x="79337" y="19549"/>
                  </a:lnTo>
                  <a:lnTo>
                    <a:pt x="81129" y="16291"/>
                  </a:lnTo>
                  <a:lnTo>
                    <a:pt x="79174" y="13033"/>
                  </a:lnTo>
                  <a:lnTo>
                    <a:pt x="76893" y="13521"/>
                  </a:lnTo>
                  <a:lnTo>
                    <a:pt x="65652" y="6517"/>
                  </a:lnTo>
                  <a:lnTo>
                    <a:pt x="61091" y="6517"/>
                  </a:lnTo>
                  <a:lnTo>
                    <a:pt x="53109" y="1629"/>
                  </a:lnTo>
                  <a:lnTo>
                    <a:pt x="46429" y="1303"/>
                  </a:lnTo>
                  <a:lnTo>
                    <a:pt x="42193" y="0"/>
                  </a:lnTo>
                  <a:lnTo>
                    <a:pt x="35188" y="2932"/>
                  </a:lnTo>
                  <a:lnTo>
                    <a:pt x="25902" y="9937"/>
                  </a:lnTo>
                  <a:lnTo>
                    <a:pt x="21341" y="9937"/>
                  </a:lnTo>
                  <a:lnTo>
                    <a:pt x="18572" y="11567"/>
                  </a:lnTo>
                  <a:lnTo>
                    <a:pt x="6842" y="11404"/>
                  </a:lnTo>
                  <a:lnTo>
                    <a:pt x="8145" y="15151"/>
                  </a:lnTo>
                  <a:lnTo>
                    <a:pt x="14662" y="18572"/>
                  </a:lnTo>
                  <a:lnTo>
                    <a:pt x="20527" y="16943"/>
                  </a:lnTo>
                  <a:lnTo>
                    <a:pt x="16617" y="20690"/>
                  </a:lnTo>
                  <a:lnTo>
                    <a:pt x="9612" y="20853"/>
                  </a:lnTo>
                  <a:lnTo>
                    <a:pt x="4399" y="14336"/>
                  </a:lnTo>
                  <a:lnTo>
                    <a:pt x="0" y="18735"/>
                  </a:lnTo>
                  <a:lnTo>
                    <a:pt x="2932" y="22319"/>
                  </a:lnTo>
                  <a:lnTo>
                    <a:pt x="2932" y="24274"/>
                  </a:lnTo>
                  <a:close/>
                </a:path>
              </a:pathLst>
            </a:custGeom>
            <a:solidFill>
              <a:schemeClr val="bg2"/>
            </a:solidFill>
            <a:ln w="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9" name="Forma livre: Forma 108">
              <a:extLst>
                <a:ext uri="{FF2B5EF4-FFF2-40B4-BE49-F238E27FC236}">
                  <a16:creationId xmlns:a16="http://schemas.microsoft.com/office/drawing/2014/main" id="{51A2DBF1-9E38-039A-4BF9-12697F019A99}"/>
                </a:ext>
              </a:extLst>
            </p:cNvPr>
            <p:cNvSpPr/>
            <p:nvPr/>
          </p:nvSpPr>
          <p:spPr>
            <a:xfrm>
              <a:off x="5553206" y="4614781"/>
              <a:ext cx="80639" cy="49832"/>
            </a:xfrm>
            <a:custGeom>
              <a:avLst/>
              <a:gdLst>
                <a:gd name="connsiteX0" fmla="*/ 0 w 78033"/>
                <a:gd name="connsiteY0" fmla="*/ 10915 h 48221"/>
                <a:gd name="connsiteX1" fmla="*/ 6353 w 78033"/>
                <a:gd name="connsiteY1" fmla="*/ 12870 h 48221"/>
                <a:gd name="connsiteX2" fmla="*/ 14662 w 78033"/>
                <a:gd name="connsiteY2" fmla="*/ 8634 h 48221"/>
                <a:gd name="connsiteX3" fmla="*/ 31930 w 78033"/>
                <a:gd name="connsiteY3" fmla="*/ 10100 h 48221"/>
                <a:gd name="connsiteX4" fmla="*/ 36492 w 78033"/>
                <a:gd name="connsiteY4" fmla="*/ 4073 h 48221"/>
                <a:gd name="connsiteX5" fmla="*/ 45777 w 78033"/>
                <a:gd name="connsiteY5" fmla="*/ 0 h 48221"/>
                <a:gd name="connsiteX6" fmla="*/ 68911 w 78033"/>
                <a:gd name="connsiteY6" fmla="*/ 489 h 48221"/>
                <a:gd name="connsiteX7" fmla="*/ 75427 w 78033"/>
                <a:gd name="connsiteY7" fmla="*/ 2281 h 48221"/>
                <a:gd name="connsiteX8" fmla="*/ 76242 w 78033"/>
                <a:gd name="connsiteY8" fmla="*/ 10100 h 48221"/>
                <a:gd name="connsiteX9" fmla="*/ 75101 w 78033"/>
                <a:gd name="connsiteY9" fmla="*/ 14010 h 48221"/>
                <a:gd name="connsiteX10" fmla="*/ 75264 w 78033"/>
                <a:gd name="connsiteY10" fmla="*/ 22644 h 48221"/>
                <a:gd name="connsiteX11" fmla="*/ 78034 w 78033"/>
                <a:gd name="connsiteY11" fmla="*/ 25577 h 48221"/>
                <a:gd name="connsiteX12" fmla="*/ 77871 w 78033"/>
                <a:gd name="connsiteY12" fmla="*/ 30301 h 48221"/>
                <a:gd name="connsiteX13" fmla="*/ 73635 w 78033"/>
                <a:gd name="connsiteY13" fmla="*/ 33559 h 48221"/>
                <a:gd name="connsiteX14" fmla="*/ 64838 w 78033"/>
                <a:gd name="connsiteY14" fmla="*/ 35188 h 48221"/>
                <a:gd name="connsiteX15" fmla="*/ 57833 w 78033"/>
                <a:gd name="connsiteY15" fmla="*/ 39098 h 48221"/>
                <a:gd name="connsiteX16" fmla="*/ 52783 w 78033"/>
                <a:gd name="connsiteY16" fmla="*/ 40401 h 48221"/>
                <a:gd name="connsiteX17" fmla="*/ 49687 w 78033"/>
                <a:gd name="connsiteY17" fmla="*/ 46429 h 48221"/>
                <a:gd name="connsiteX18" fmla="*/ 43497 w 78033"/>
                <a:gd name="connsiteY18" fmla="*/ 48221 h 48221"/>
                <a:gd name="connsiteX19" fmla="*/ 42356 w 78033"/>
                <a:gd name="connsiteY19" fmla="*/ 46755 h 48221"/>
                <a:gd name="connsiteX20" fmla="*/ 42845 w 78033"/>
                <a:gd name="connsiteY20" fmla="*/ 42519 h 48221"/>
                <a:gd name="connsiteX21" fmla="*/ 31930 w 78033"/>
                <a:gd name="connsiteY21" fmla="*/ 43660 h 48221"/>
                <a:gd name="connsiteX22" fmla="*/ 37958 w 78033"/>
                <a:gd name="connsiteY22" fmla="*/ 37143 h 48221"/>
                <a:gd name="connsiteX23" fmla="*/ 35026 w 78033"/>
                <a:gd name="connsiteY23" fmla="*/ 36817 h 48221"/>
                <a:gd name="connsiteX24" fmla="*/ 36655 w 78033"/>
                <a:gd name="connsiteY24" fmla="*/ 34537 h 48221"/>
                <a:gd name="connsiteX25" fmla="*/ 34211 w 78033"/>
                <a:gd name="connsiteY25" fmla="*/ 32093 h 48221"/>
                <a:gd name="connsiteX26" fmla="*/ 29975 w 78033"/>
                <a:gd name="connsiteY26" fmla="*/ 31442 h 48221"/>
                <a:gd name="connsiteX27" fmla="*/ 28509 w 78033"/>
                <a:gd name="connsiteY27" fmla="*/ 29324 h 48221"/>
                <a:gd name="connsiteX28" fmla="*/ 41216 w 78033"/>
                <a:gd name="connsiteY28" fmla="*/ 29161 h 48221"/>
                <a:gd name="connsiteX29" fmla="*/ 43334 w 78033"/>
                <a:gd name="connsiteY29" fmla="*/ 27532 h 48221"/>
                <a:gd name="connsiteX30" fmla="*/ 36329 w 78033"/>
                <a:gd name="connsiteY30" fmla="*/ 23785 h 48221"/>
                <a:gd name="connsiteX31" fmla="*/ 30301 w 78033"/>
                <a:gd name="connsiteY31" fmla="*/ 25088 h 48221"/>
                <a:gd name="connsiteX32" fmla="*/ 23622 w 78033"/>
                <a:gd name="connsiteY32" fmla="*/ 27369 h 48221"/>
                <a:gd name="connsiteX33" fmla="*/ 20690 w 78033"/>
                <a:gd name="connsiteY33" fmla="*/ 26880 h 48221"/>
                <a:gd name="connsiteX34" fmla="*/ 19386 w 78033"/>
                <a:gd name="connsiteY34" fmla="*/ 24110 h 48221"/>
                <a:gd name="connsiteX35" fmla="*/ 14173 w 78033"/>
                <a:gd name="connsiteY35" fmla="*/ 23785 h 48221"/>
                <a:gd name="connsiteX36" fmla="*/ 9449 w 78033"/>
                <a:gd name="connsiteY36" fmla="*/ 19060 h 48221"/>
                <a:gd name="connsiteX37" fmla="*/ 14173 w 78033"/>
                <a:gd name="connsiteY37" fmla="*/ 15639 h 48221"/>
                <a:gd name="connsiteX38" fmla="*/ 10752 w 78033"/>
                <a:gd name="connsiteY38" fmla="*/ 15151 h 48221"/>
                <a:gd name="connsiteX39" fmla="*/ 2118 w 78033"/>
                <a:gd name="connsiteY39" fmla="*/ 14825 h 48221"/>
                <a:gd name="connsiteX40" fmla="*/ 0 w 78033"/>
                <a:gd name="connsiteY40" fmla="*/ 10915 h 48221"/>
                <a:gd name="connsiteX41" fmla="*/ 0 w 78033"/>
                <a:gd name="connsiteY41" fmla="*/ 10915 h 482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78033" h="48221">
                  <a:moveTo>
                    <a:pt x="0" y="10915"/>
                  </a:moveTo>
                  <a:lnTo>
                    <a:pt x="6353" y="12870"/>
                  </a:lnTo>
                  <a:lnTo>
                    <a:pt x="14662" y="8634"/>
                  </a:lnTo>
                  <a:lnTo>
                    <a:pt x="31930" y="10100"/>
                  </a:lnTo>
                  <a:lnTo>
                    <a:pt x="36492" y="4073"/>
                  </a:lnTo>
                  <a:lnTo>
                    <a:pt x="45777" y="0"/>
                  </a:lnTo>
                  <a:lnTo>
                    <a:pt x="68911" y="489"/>
                  </a:lnTo>
                  <a:lnTo>
                    <a:pt x="75427" y="2281"/>
                  </a:lnTo>
                  <a:lnTo>
                    <a:pt x="76242" y="10100"/>
                  </a:lnTo>
                  <a:lnTo>
                    <a:pt x="75101" y="14010"/>
                  </a:lnTo>
                  <a:lnTo>
                    <a:pt x="75264" y="22644"/>
                  </a:lnTo>
                  <a:lnTo>
                    <a:pt x="78034" y="25577"/>
                  </a:lnTo>
                  <a:lnTo>
                    <a:pt x="77871" y="30301"/>
                  </a:lnTo>
                  <a:lnTo>
                    <a:pt x="73635" y="33559"/>
                  </a:lnTo>
                  <a:lnTo>
                    <a:pt x="64838" y="35188"/>
                  </a:lnTo>
                  <a:lnTo>
                    <a:pt x="57833" y="39098"/>
                  </a:lnTo>
                  <a:lnTo>
                    <a:pt x="52783" y="40401"/>
                  </a:lnTo>
                  <a:lnTo>
                    <a:pt x="49687" y="46429"/>
                  </a:lnTo>
                  <a:lnTo>
                    <a:pt x="43497" y="48221"/>
                  </a:lnTo>
                  <a:lnTo>
                    <a:pt x="42356" y="46755"/>
                  </a:lnTo>
                  <a:lnTo>
                    <a:pt x="42845" y="42519"/>
                  </a:lnTo>
                  <a:lnTo>
                    <a:pt x="31930" y="43660"/>
                  </a:lnTo>
                  <a:lnTo>
                    <a:pt x="37958" y="37143"/>
                  </a:lnTo>
                  <a:lnTo>
                    <a:pt x="35026" y="36817"/>
                  </a:lnTo>
                  <a:lnTo>
                    <a:pt x="36655" y="34537"/>
                  </a:lnTo>
                  <a:lnTo>
                    <a:pt x="34211" y="32093"/>
                  </a:lnTo>
                  <a:lnTo>
                    <a:pt x="29975" y="31442"/>
                  </a:lnTo>
                  <a:lnTo>
                    <a:pt x="28509" y="29324"/>
                  </a:lnTo>
                  <a:lnTo>
                    <a:pt x="41216" y="29161"/>
                  </a:lnTo>
                  <a:lnTo>
                    <a:pt x="43334" y="27532"/>
                  </a:lnTo>
                  <a:lnTo>
                    <a:pt x="36329" y="23785"/>
                  </a:lnTo>
                  <a:lnTo>
                    <a:pt x="30301" y="25088"/>
                  </a:lnTo>
                  <a:lnTo>
                    <a:pt x="23622" y="27369"/>
                  </a:lnTo>
                  <a:lnTo>
                    <a:pt x="20690" y="26880"/>
                  </a:lnTo>
                  <a:lnTo>
                    <a:pt x="19386" y="24110"/>
                  </a:lnTo>
                  <a:lnTo>
                    <a:pt x="14173" y="23785"/>
                  </a:lnTo>
                  <a:lnTo>
                    <a:pt x="9449" y="19060"/>
                  </a:lnTo>
                  <a:lnTo>
                    <a:pt x="14173" y="15639"/>
                  </a:lnTo>
                  <a:lnTo>
                    <a:pt x="10752" y="15151"/>
                  </a:lnTo>
                  <a:lnTo>
                    <a:pt x="2118" y="14825"/>
                  </a:lnTo>
                  <a:lnTo>
                    <a:pt x="0" y="10915"/>
                  </a:lnTo>
                  <a:lnTo>
                    <a:pt x="0" y="10915"/>
                  </a:lnTo>
                  <a:close/>
                </a:path>
              </a:pathLst>
            </a:custGeom>
            <a:solidFill>
              <a:schemeClr val="bg2"/>
            </a:solidFill>
            <a:ln w="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0" name="Forma livre: Forma 109">
              <a:extLst>
                <a:ext uri="{FF2B5EF4-FFF2-40B4-BE49-F238E27FC236}">
                  <a16:creationId xmlns:a16="http://schemas.microsoft.com/office/drawing/2014/main" id="{0E0944F8-E043-2D8D-47E5-C6EFC2DD8FAC}"/>
                </a:ext>
              </a:extLst>
            </p:cNvPr>
            <p:cNvSpPr/>
            <p:nvPr/>
          </p:nvSpPr>
          <p:spPr>
            <a:xfrm>
              <a:off x="5604553" y="4615790"/>
              <a:ext cx="187373" cy="185186"/>
            </a:xfrm>
            <a:custGeom>
              <a:avLst/>
              <a:gdLst>
                <a:gd name="connsiteX0" fmla="*/ 0 w 181317"/>
                <a:gd name="connsiteY0" fmla="*/ 45452 h 179200"/>
                <a:gd name="connsiteX1" fmla="*/ 3095 w 181317"/>
                <a:gd name="connsiteY1" fmla="*/ 39424 h 179200"/>
                <a:gd name="connsiteX2" fmla="*/ 8145 w 181317"/>
                <a:gd name="connsiteY2" fmla="*/ 38121 h 179200"/>
                <a:gd name="connsiteX3" fmla="*/ 15150 w 181317"/>
                <a:gd name="connsiteY3" fmla="*/ 34211 h 179200"/>
                <a:gd name="connsiteX4" fmla="*/ 23948 w 181317"/>
                <a:gd name="connsiteY4" fmla="*/ 32582 h 179200"/>
                <a:gd name="connsiteX5" fmla="*/ 28183 w 181317"/>
                <a:gd name="connsiteY5" fmla="*/ 29324 h 179200"/>
                <a:gd name="connsiteX6" fmla="*/ 28346 w 181317"/>
                <a:gd name="connsiteY6" fmla="*/ 24599 h 179200"/>
                <a:gd name="connsiteX7" fmla="*/ 25577 w 181317"/>
                <a:gd name="connsiteY7" fmla="*/ 21667 h 179200"/>
                <a:gd name="connsiteX8" fmla="*/ 25414 w 181317"/>
                <a:gd name="connsiteY8" fmla="*/ 13033 h 179200"/>
                <a:gd name="connsiteX9" fmla="*/ 26554 w 181317"/>
                <a:gd name="connsiteY9" fmla="*/ 9123 h 179200"/>
                <a:gd name="connsiteX10" fmla="*/ 25577 w 181317"/>
                <a:gd name="connsiteY10" fmla="*/ 1140 h 179200"/>
                <a:gd name="connsiteX11" fmla="*/ 30627 w 181317"/>
                <a:gd name="connsiteY11" fmla="*/ 0 h 179200"/>
                <a:gd name="connsiteX12" fmla="*/ 46755 w 181317"/>
                <a:gd name="connsiteY12" fmla="*/ 326 h 179200"/>
                <a:gd name="connsiteX13" fmla="*/ 57018 w 181317"/>
                <a:gd name="connsiteY13" fmla="*/ 5539 h 179200"/>
                <a:gd name="connsiteX14" fmla="*/ 61580 w 181317"/>
                <a:gd name="connsiteY14" fmla="*/ 8960 h 179200"/>
                <a:gd name="connsiteX15" fmla="*/ 69399 w 181317"/>
                <a:gd name="connsiteY15" fmla="*/ 8471 h 179200"/>
                <a:gd name="connsiteX16" fmla="*/ 77545 w 181317"/>
                <a:gd name="connsiteY16" fmla="*/ 11892 h 179200"/>
                <a:gd name="connsiteX17" fmla="*/ 81617 w 181317"/>
                <a:gd name="connsiteY17" fmla="*/ 9449 h 179200"/>
                <a:gd name="connsiteX18" fmla="*/ 86505 w 181317"/>
                <a:gd name="connsiteY18" fmla="*/ 9612 h 179200"/>
                <a:gd name="connsiteX19" fmla="*/ 89111 w 181317"/>
                <a:gd name="connsiteY19" fmla="*/ 12381 h 179200"/>
                <a:gd name="connsiteX20" fmla="*/ 94487 w 181317"/>
                <a:gd name="connsiteY20" fmla="*/ 12870 h 179200"/>
                <a:gd name="connsiteX21" fmla="*/ 94976 w 181317"/>
                <a:gd name="connsiteY21" fmla="*/ 16943 h 179200"/>
                <a:gd name="connsiteX22" fmla="*/ 97908 w 181317"/>
                <a:gd name="connsiteY22" fmla="*/ 18572 h 179200"/>
                <a:gd name="connsiteX23" fmla="*/ 103610 w 181317"/>
                <a:gd name="connsiteY23" fmla="*/ 16128 h 179200"/>
                <a:gd name="connsiteX24" fmla="*/ 107031 w 181317"/>
                <a:gd name="connsiteY24" fmla="*/ 17594 h 179200"/>
                <a:gd name="connsiteX25" fmla="*/ 112570 w 181317"/>
                <a:gd name="connsiteY25" fmla="*/ 21504 h 179200"/>
                <a:gd name="connsiteX26" fmla="*/ 119087 w 181317"/>
                <a:gd name="connsiteY26" fmla="*/ 21504 h 179200"/>
                <a:gd name="connsiteX27" fmla="*/ 124137 w 181317"/>
                <a:gd name="connsiteY27" fmla="*/ 17757 h 179200"/>
                <a:gd name="connsiteX28" fmla="*/ 127558 w 181317"/>
                <a:gd name="connsiteY28" fmla="*/ 17594 h 179200"/>
                <a:gd name="connsiteX29" fmla="*/ 132445 w 181317"/>
                <a:gd name="connsiteY29" fmla="*/ 10426 h 179200"/>
                <a:gd name="connsiteX30" fmla="*/ 137495 w 181317"/>
                <a:gd name="connsiteY30" fmla="*/ 10101 h 179200"/>
                <a:gd name="connsiteX31" fmla="*/ 144338 w 181317"/>
                <a:gd name="connsiteY31" fmla="*/ 13033 h 179200"/>
                <a:gd name="connsiteX32" fmla="*/ 146455 w 181317"/>
                <a:gd name="connsiteY32" fmla="*/ 11078 h 179200"/>
                <a:gd name="connsiteX33" fmla="*/ 151180 w 181317"/>
                <a:gd name="connsiteY33" fmla="*/ 9612 h 179200"/>
                <a:gd name="connsiteX34" fmla="*/ 151668 w 181317"/>
                <a:gd name="connsiteY34" fmla="*/ 12381 h 179200"/>
                <a:gd name="connsiteX35" fmla="*/ 157370 w 181317"/>
                <a:gd name="connsiteY35" fmla="*/ 16943 h 179200"/>
                <a:gd name="connsiteX36" fmla="*/ 159977 w 181317"/>
                <a:gd name="connsiteY36" fmla="*/ 22482 h 179200"/>
                <a:gd name="connsiteX37" fmla="*/ 158348 w 181317"/>
                <a:gd name="connsiteY37" fmla="*/ 29487 h 179200"/>
                <a:gd name="connsiteX38" fmla="*/ 161280 w 181317"/>
                <a:gd name="connsiteY38" fmla="*/ 31604 h 179200"/>
                <a:gd name="connsiteX39" fmla="*/ 166982 w 181317"/>
                <a:gd name="connsiteY39" fmla="*/ 33071 h 179200"/>
                <a:gd name="connsiteX40" fmla="*/ 166982 w 181317"/>
                <a:gd name="connsiteY40" fmla="*/ 36003 h 179200"/>
                <a:gd name="connsiteX41" fmla="*/ 162257 w 181317"/>
                <a:gd name="connsiteY41" fmla="*/ 42356 h 179200"/>
                <a:gd name="connsiteX42" fmla="*/ 159814 w 181317"/>
                <a:gd name="connsiteY42" fmla="*/ 49036 h 179200"/>
                <a:gd name="connsiteX43" fmla="*/ 164212 w 181317"/>
                <a:gd name="connsiteY43" fmla="*/ 48547 h 179200"/>
                <a:gd name="connsiteX44" fmla="*/ 166982 w 181317"/>
                <a:gd name="connsiteY44" fmla="*/ 44963 h 179200"/>
                <a:gd name="connsiteX45" fmla="*/ 170077 w 181317"/>
                <a:gd name="connsiteY45" fmla="*/ 44800 h 179200"/>
                <a:gd name="connsiteX46" fmla="*/ 170077 w 181317"/>
                <a:gd name="connsiteY46" fmla="*/ 49687 h 179200"/>
                <a:gd name="connsiteX47" fmla="*/ 172032 w 181317"/>
                <a:gd name="connsiteY47" fmla="*/ 52945 h 179200"/>
                <a:gd name="connsiteX48" fmla="*/ 172032 w 181317"/>
                <a:gd name="connsiteY48" fmla="*/ 55878 h 179200"/>
                <a:gd name="connsiteX49" fmla="*/ 178711 w 181317"/>
                <a:gd name="connsiteY49" fmla="*/ 56041 h 179200"/>
                <a:gd name="connsiteX50" fmla="*/ 181155 w 181317"/>
                <a:gd name="connsiteY50" fmla="*/ 58810 h 179200"/>
                <a:gd name="connsiteX51" fmla="*/ 181318 w 181317"/>
                <a:gd name="connsiteY51" fmla="*/ 62231 h 179200"/>
                <a:gd name="connsiteX52" fmla="*/ 179200 w 181317"/>
                <a:gd name="connsiteY52" fmla="*/ 63535 h 179200"/>
                <a:gd name="connsiteX53" fmla="*/ 169588 w 181317"/>
                <a:gd name="connsiteY53" fmla="*/ 67119 h 179200"/>
                <a:gd name="connsiteX54" fmla="*/ 169588 w 181317"/>
                <a:gd name="connsiteY54" fmla="*/ 71028 h 179200"/>
                <a:gd name="connsiteX55" fmla="*/ 171543 w 181317"/>
                <a:gd name="connsiteY55" fmla="*/ 73309 h 179200"/>
                <a:gd name="connsiteX56" fmla="*/ 172521 w 181317"/>
                <a:gd name="connsiteY56" fmla="*/ 85039 h 179200"/>
                <a:gd name="connsiteX57" fmla="*/ 171055 w 181317"/>
                <a:gd name="connsiteY57" fmla="*/ 88785 h 179200"/>
                <a:gd name="connsiteX58" fmla="*/ 172032 w 181317"/>
                <a:gd name="connsiteY58" fmla="*/ 97909 h 179200"/>
                <a:gd name="connsiteX59" fmla="*/ 174801 w 181317"/>
                <a:gd name="connsiteY59" fmla="*/ 99863 h 179200"/>
                <a:gd name="connsiteX60" fmla="*/ 177897 w 181317"/>
                <a:gd name="connsiteY60" fmla="*/ 104914 h 179200"/>
                <a:gd name="connsiteX61" fmla="*/ 177408 w 181317"/>
                <a:gd name="connsiteY61" fmla="*/ 108498 h 179200"/>
                <a:gd name="connsiteX62" fmla="*/ 173335 w 181317"/>
                <a:gd name="connsiteY62" fmla="*/ 107846 h 179200"/>
                <a:gd name="connsiteX63" fmla="*/ 170077 w 181317"/>
                <a:gd name="connsiteY63" fmla="*/ 109638 h 179200"/>
                <a:gd name="connsiteX64" fmla="*/ 170077 w 181317"/>
                <a:gd name="connsiteY64" fmla="*/ 113059 h 179200"/>
                <a:gd name="connsiteX65" fmla="*/ 174965 w 181317"/>
                <a:gd name="connsiteY65" fmla="*/ 118435 h 179200"/>
                <a:gd name="connsiteX66" fmla="*/ 176757 w 181317"/>
                <a:gd name="connsiteY66" fmla="*/ 120716 h 179200"/>
                <a:gd name="connsiteX67" fmla="*/ 175942 w 181317"/>
                <a:gd name="connsiteY67" fmla="*/ 126092 h 179200"/>
                <a:gd name="connsiteX68" fmla="*/ 169100 w 181317"/>
                <a:gd name="connsiteY68" fmla="*/ 141079 h 179200"/>
                <a:gd name="connsiteX69" fmla="*/ 164701 w 181317"/>
                <a:gd name="connsiteY69" fmla="*/ 142546 h 179200"/>
                <a:gd name="connsiteX70" fmla="*/ 163398 w 181317"/>
                <a:gd name="connsiteY70" fmla="*/ 145478 h 179200"/>
                <a:gd name="connsiteX71" fmla="*/ 165190 w 181317"/>
                <a:gd name="connsiteY71" fmla="*/ 150365 h 179200"/>
                <a:gd name="connsiteX72" fmla="*/ 160954 w 181317"/>
                <a:gd name="connsiteY72" fmla="*/ 159977 h 179200"/>
                <a:gd name="connsiteX73" fmla="*/ 157370 w 181317"/>
                <a:gd name="connsiteY73" fmla="*/ 163887 h 179200"/>
                <a:gd name="connsiteX74" fmla="*/ 158022 w 181317"/>
                <a:gd name="connsiteY74" fmla="*/ 166330 h 179200"/>
                <a:gd name="connsiteX75" fmla="*/ 118924 w 181317"/>
                <a:gd name="connsiteY75" fmla="*/ 179200 h 179200"/>
                <a:gd name="connsiteX76" fmla="*/ 109312 w 181317"/>
                <a:gd name="connsiteY76" fmla="*/ 172847 h 179200"/>
                <a:gd name="connsiteX77" fmla="*/ 105402 w 181317"/>
                <a:gd name="connsiteY77" fmla="*/ 172684 h 179200"/>
                <a:gd name="connsiteX78" fmla="*/ 98886 w 181317"/>
                <a:gd name="connsiteY78" fmla="*/ 163398 h 179200"/>
                <a:gd name="connsiteX79" fmla="*/ 94650 w 181317"/>
                <a:gd name="connsiteY79" fmla="*/ 161443 h 179200"/>
                <a:gd name="connsiteX80" fmla="*/ 96605 w 181317"/>
                <a:gd name="connsiteY80" fmla="*/ 157696 h 179200"/>
                <a:gd name="connsiteX81" fmla="*/ 95791 w 181317"/>
                <a:gd name="connsiteY81" fmla="*/ 157370 h 179200"/>
                <a:gd name="connsiteX82" fmla="*/ 106706 w 181317"/>
                <a:gd name="connsiteY82" fmla="*/ 149876 h 179200"/>
                <a:gd name="connsiteX83" fmla="*/ 108498 w 181317"/>
                <a:gd name="connsiteY83" fmla="*/ 115991 h 179200"/>
                <a:gd name="connsiteX84" fmla="*/ 109475 w 181317"/>
                <a:gd name="connsiteY84" fmla="*/ 111919 h 179200"/>
                <a:gd name="connsiteX85" fmla="*/ 106542 w 181317"/>
                <a:gd name="connsiteY85" fmla="*/ 110615 h 179200"/>
                <a:gd name="connsiteX86" fmla="*/ 107031 w 181317"/>
                <a:gd name="connsiteY86" fmla="*/ 106217 h 179200"/>
                <a:gd name="connsiteX87" fmla="*/ 110452 w 181317"/>
                <a:gd name="connsiteY87" fmla="*/ 104751 h 179200"/>
                <a:gd name="connsiteX88" fmla="*/ 110452 w 181317"/>
                <a:gd name="connsiteY88" fmla="*/ 100841 h 179200"/>
                <a:gd name="connsiteX89" fmla="*/ 105565 w 181317"/>
                <a:gd name="connsiteY89" fmla="*/ 96117 h 179200"/>
                <a:gd name="connsiteX90" fmla="*/ 106217 w 181317"/>
                <a:gd name="connsiteY90" fmla="*/ 91881 h 179200"/>
                <a:gd name="connsiteX91" fmla="*/ 100026 w 181317"/>
                <a:gd name="connsiteY91" fmla="*/ 80640 h 179200"/>
                <a:gd name="connsiteX92" fmla="*/ 97094 w 181317"/>
                <a:gd name="connsiteY92" fmla="*/ 76242 h 179200"/>
                <a:gd name="connsiteX93" fmla="*/ 93673 w 181317"/>
                <a:gd name="connsiteY93" fmla="*/ 69562 h 179200"/>
                <a:gd name="connsiteX94" fmla="*/ 72169 w 181317"/>
                <a:gd name="connsiteY94" fmla="*/ 69562 h 179200"/>
                <a:gd name="connsiteX95" fmla="*/ 65490 w 181317"/>
                <a:gd name="connsiteY95" fmla="*/ 72332 h 179200"/>
                <a:gd name="connsiteX96" fmla="*/ 61580 w 181317"/>
                <a:gd name="connsiteY96" fmla="*/ 76730 h 179200"/>
                <a:gd name="connsiteX97" fmla="*/ 54412 w 181317"/>
                <a:gd name="connsiteY97" fmla="*/ 82921 h 179200"/>
                <a:gd name="connsiteX98" fmla="*/ 54412 w 181317"/>
                <a:gd name="connsiteY98" fmla="*/ 86342 h 179200"/>
                <a:gd name="connsiteX99" fmla="*/ 46592 w 181317"/>
                <a:gd name="connsiteY99" fmla="*/ 90415 h 179200"/>
                <a:gd name="connsiteX100" fmla="*/ 42519 w 181317"/>
                <a:gd name="connsiteY100" fmla="*/ 90741 h 179200"/>
                <a:gd name="connsiteX101" fmla="*/ 38772 w 181317"/>
                <a:gd name="connsiteY101" fmla="*/ 87645 h 179200"/>
                <a:gd name="connsiteX102" fmla="*/ 31767 w 181317"/>
                <a:gd name="connsiteY102" fmla="*/ 84061 h 179200"/>
                <a:gd name="connsiteX103" fmla="*/ 29812 w 181317"/>
                <a:gd name="connsiteY103" fmla="*/ 76242 h 179200"/>
                <a:gd name="connsiteX104" fmla="*/ 24436 w 181317"/>
                <a:gd name="connsiteY104" fmla="*/ 76079 h 179200"/>
                <a:gd name="connsiteX105" fmla="*/ 22156 w 181317"/>
                <a:gd name="connsiteY105" fmla="*/ 73798 h 179200"/>
                <a:gd name="connsiteX106" fmla="*/ 22318 w 181317"/>
                <a:gd name="connsiteY106" fmla="*/ 69725 h 179200"/>
                <a:gd name="connsiteX107" fmla="*/ 24274 w 181317"/>
                <a:gd name="connsiteY107" fmla="*/ 67770 h 179200"/>
                <a:gd name="connsiteX108" fmla="*/ 20038 w 181317"/>
                <a:gd name="connsiteY108" fmla="*/ 65815 h 179200"/>
                <a:gd name="connsiteX109" fmla="*/ 17594 w 181317"/>
                <a:gd name="connsiteY109" fmla="*/ 69236 h 179200"/>
                <a:gd name="connsiteX110" fmla="*/ 13847 w 181317"/>
                <a:gd name="connsiteY110" fmla="*/ 67607 h 179200"/>
                <a:gd name="connsiteX111" fmla="*/ 7983 w 181317"/>
                <a:gd name="connsiteY111" fmla="*/ 67282 h 179200"/>
                <a:gd name="connsiteX112" fmla="*/ 2281 w 181317"/>
                <a:gd name="connsiteY112" fmla="*/ 59299 h 179200"/>
                <a:gd name="connsiteX113" fmla="*/ 4561 w 181317"/>
                <a:gd name="connsiteY113" fmla="*/ 49850 h 179200"/>
                <a:gd name="connsiteX114" fmla="*/ 489 w 181317"/>
                <a:gd name="connsiteY114" fmla="*/ 45452 h 179200"/>
                <a:gd name="connsiteX115" fmla="*/ 0 w 181317"/>
                <a:gd name="connsiteY115" fmla="*/ 45452 h 179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</a:cxnLst>
              <a:rect l="l" t="t" r="r" b="b"/>
              <a:pathLst>
                <a:path w="181317" h="179200">
                  <a:moveTo>
                    <a:pt x="0" y="45452"/>
                  </a:moveTo>
                  <a:lnTo>
                    <a:pt x="3095" y="39424"/>
                  </a:lnTo>
                  <a:lnTo>
                    <a:pt x="8145" y="38121"/>
                  </a:lnTo>
                  <a:lnTo>
                    <a:pt x="15150" y="34211"/>
                  </a:lnTo>
                  <a:lnTo>
                    <a:pt x="23948" y="32582"/>
                  </a:lnTo>
                  <a:lnTo>
                    <a:pt x="28183" y="29324"/>
                  </a:lnTo>
                  <a:lnTo>
                    <a:pt x="28346" y="24599"/>
                  </a:lnTo>
                  <a:lnTo>
                    <a:pt x="25577" y="21667"/>
                  </a:lnTo>
                  <a:lnTo>
                    <a:pt x="25414" y="13033"/>
                  </a:lnTo>
                  <a:lnTo>
                    <a:pt x="26554" y="9123"/>
                  </a:lnTo>
                  <a:lnTo>
                    <a:pt x="25577" y="1140"/>
                  </a:lnTo>
                  <a:lnTo>
                    <a:pt x="30627" y="0"/>
                  </a:lnTo>
                  <a:lnTo>
                    <a:pt x="46755" y="326"/>
                  </a:lnTo>
                  <a:lnTo>
                    <a:pt x="57018" y="5539"/>
                  </a:lnTo>
                  <a:lnTo>
                    <a:pt x="61580" y="8960"/>
                  </a:lnTo>
                  <a:lnTo>
                    <a:pt x="69399" y="8471"/>
                  </a:lnTo>
                  <a:lnTo>
                    <a:pt x="77545" y="11892"/>
                  </a:lnTo>
                  <a:lnTo>
                    <a:pt x="81617" y="9449"/>
                  </a:lnTo>
                  <a:lnTo>
                    <a:pt x="86505" y="9612"/>
                  </a:lnTo>
                  <a:lnTo>
                    <a:pt x="89111" y="12381"/>
                  </a:lnTo>
                  <a:lnTo>
                    <a:pt x="94487" y="12870"/>
                  </a:lnTo>
                  <a:lnTo>
                    <a:pt x="94976" y="16943"/>
                  </a:lnTo>
                  <a:lnTo>
                    <a:pt x="97908" y="18572"/>
                  </a:lnTo>
                  <a:lnTo>
                    <a:pt x="103610" y="16128"/>
                  </a:lnTo>
                  <a:lnTo>
                    <a:pt x="107031" y="17594"/>
                  </a:lnTo>
                  <a:lnTo>
                    <a:pt x="112570" y="21504"/>
                  </a:lnTo>
                  <a:lnTo>
                    <a:pt x="119087" y="21504"/>
                  </a:lnTo>
                  <a:lnTo>
                    <a:pt x="124137" y="17757"/>
                  </a:lnTo>
                  <a:lnTo>
                    <a:pt x="127558" y="17594"/>
                  </a:lnTo>
                  <a:lnTo>
                    <a:pt x="132445" y="10426"/>
                  </a:lnTo>
                  <a:lnTo>
                    <a:pt x="137495" y="10101"/>
                  </a:lnTo>
                  <a:lnTo>
                    <a:pt x="144338" y="13033"/>
                  </a:lnTo>
                  <a:lnTo>
                    <a:pt x="146455" y="11078"/>
                  </a:lnTo>
                  <a:lnTo>
                    <a:pt x="151180" y="9612"/>
                  </a:lnTo>
                  <a:lnTo>
                    <a:pt x="151668" y="12381"/>
                  </a:lnTo>
                  <a:lnTo>
                    <a:pt x="157370" y="16943"/>
                  </a:lnTo>
                  <a:lnTo>
                    <a:pt x="159977" y="22482"/>
                  </a:lnTo>
                  <a:lnTo>
                    <a:pt x="158348" y="29487"/>
                  </a:lnTo>
                  <a:lnTo>
                    <a:pt x="161280" y="31604"/>
                  </a:lnTo>
                  <a:lnTo>
                    <a:pt x="166982" y="33071"/>
                  </a:lnTo>
                  <a:lnTo>
                    <a:pt x="166982" y="36003"/>
                  </a:lnTo>
                  <a:lnTo>
                    <a:pt x="162257" y="42356"/>
                  </a:lnTo>
                  <a:lnTo>
                    <a:pt x="159814" y="49036"/>
                  </a:lnTo>
                  <a:lnTo>
                    <a:pt x="164212" y="48547"/>
                  </a:lnTo>
                  <a:lnTo>
                    <a:pt x="166982" y="44963"/>
                  </a:lnTo>
                  <a:lnTo>
                    <a:pt x="170077" y="44800"/>
                  </a:lnTo>
                  <a:lnTo>
                    <a:pt x="170077" y="49687"/>
                  </a:lnTo>
                  <a:lnTo>
                    <a:pt x="172032" y="52945"/>
                  </a:lnTo>
                  <a:lnTo>
                    <a:pt x="172032" y="55878"/>
                  </a:lnTo>
                  <a:lnTo>
                    <a:pt x="178711" y="56041"/>
                  </a:lnTo>
                  <a:lnTo>
                    <a:pt x="181155" y="58810"/>
                  </a:lnTo>
                  <a:lnTo>
                    <a:pt x="181318" y="62231"/>
                  </a:lnTo>
                  <a:lnTo>
                    <a:pt x="179200" y="63535"/>
                  </a:lnTo>
                  <a:lnTo>
                    <a:pt x="169588" y="67119"/>
                  </a:lnTo>
                  <a:lnTo>
                    <a:pt x="169588" y="71028"/>
                  </a:lnTo>
                  <a:lnTo>
                    <a:pt x="171543" y="73309"/>
                  </a:lnTo>
                  <a:lnTo>
                    <a:pt x="172521" y="85039"/>
                  </a:lnTo>
                  <a:lnTo>
                    <a:pt x="171055" y="88785"/>
                  </a:lnTo>
                  <a:lnTo>
                    <a:pt x="172032" y="97909"/>
                  </a:lnTo>
                  <a:lnTo>
                    <a:pt x="174801" y="99863"/>
                  </a:lnTo>
                  <a:lnTo>
                    <a:pt x="177897" y="104914"/>
                  </a:lnTo>
                  <a:lnTo>
                    <a:pt x="177408" y="108498"/>
                  </a:lnTo>
                  <a:lnTo>
                    <a:pt x="173335" y="107846"/>
                  </a:lnTo>
                  <a:lnTo>
                    <a:pt x="170077" y="109638"/>
                  </a:lnTo>
                  <a:lnTo>
                    <a:pt x="170077" y="113059"/>
                  </a:lnTo>
                  <a:lnTo>
                    <a:pt x="174965" y="118435"/>
                  </a:lnTo>
                  <a:lnTo>
                    <a:pt x="176757" y="120716"/>
                  </a:lnTo>
                  <a:lnTo>
                    <a:pt x="175942" y="126092"/>
                  </a:lnTo>
                  <a:lnTo>
                    <a:pt x="169100" y="141079"/>
                  </a:lnTo>
                  <a:lnTo>
                    <a:pt x="164701" y="142546"/>
                  </a:lnTo>
                  <a:lnTo>
                    <a:pt x="163398" y="145478"/>
                  </a:lnTo>
                  <a:lnTo>
                    <a:pt x="165190" y="150365"/>
                  </a:lnTo>
                  <a:lnTo>
                    <a:pt x="160954" y="159977"/>
                  </a:lnTo>
                  <a:lnTo>
                    <a:pt x="157370" y="163887"/>
                  </a:lnTo>
                  <a:lnTo>
                    <a:pt x="158022" y="166330"/>
                  </a:lnTo>
                  <a:lnTo>
                    <a:pt x="118924" y="179200"/>
                  </a:lnTo>
                  <a:lnTo>
                    <a:pt x="109312" y="172847"/>
                  </a:lnTo>
                  <a:lnTo>
                    <a:pt x="105402" y="172684"/>
                  </a:lnTo>
                  <a:lnTo>
                    <a:pt x="98886" y="163398"/>
                  </a:lnTo>
                  <a:lnTo>
                    <a:pt x="94650" y="161443"/>
                  </a:lnTo>
                  <a:lnTo>
                    <a:pt x="96605" y="157696"/>
                  </a:lnTo>
                  <a:lnTo>
                    <a:pt x="95791" y="157370"/>
                  </a:lnTo>
                  <a:lnTo>
                    <a:pt x="106706" y="149876"/>
                  </a:lnTo>
                  <a:lnTo>
                    <a:pt x="108498" y="115991"/>
                  </a:lnTo>
                  <a:lnTo>
                    <a:pt x="109475" y="111919"/>
                  </a:lnTo>
                  <a:lnTo>
                    <a:pt x="106542" y="110615"/>
                  </a:lnTo>
                  <a:lnTo>
                    <a:pt x="107031" y="106217"/>
                  </a:lnTo>
                  <a:lnTo>
                    <a:pt x="110452" y="104751"/>
                  </a:lnTo>
                  <a:lnTo>
                    <a:pt x="110452" y="100841"/>
                  </a:lnTo>
                  <a:lnTo>
                    <a:pt x="105565" y="96117"/>
                  </a:lnTo>
                  <a:lnTo>
                    <a:pt x="106217" y="91881"/>
                  </a:lnTo>
                  <a:lnTo>
                    <a:pt x="100026" y="80640"/>
                  </a:lnTo>
                  <a:lnTo>
                    <a:pt x="97094" y="76242"/>
                  </a:lnTo>
                  <a:lnTo>
                    <a:pt x="93673" y="69562"/>
                  </a:lnTo>
                  <a:lnTo>
                    <a:pt x="72169" y="69562"/>
                  </a:lnTo>
                  <a:lnTo>
                    <a:pt x="65490" y="72332"/>
                  </a:lnTo>
                  <a:lnTo>
                    <a:pt x="61580" y="76730"/>
                  </a:lnTo>
                  <a:lnTo>
                    <a:pt x="54412" y="82921"/>
                  </a:lnTo>
                  <a:lnTo>
                    <a:pt x="54412" y="86342"/>
                  </a:lnTo>
                  <a:lnTo>
                    <a:pt x="46592" y="90415"/>
                  </a:lnTo>
                  <a:lnTo>
                    <a:pt x="42519" y="90741"/>
                  </a:lnTo>
                  <a:lnTo>
                    <a:pt x="38772" y="87645"/>
                  </a:lnTo>
                  <a:lnTo>
                    <a:pt x="31767" y="84061"/>
                  </a:lnTo>
                  <a:lnTo>
                    <a:pt x="29812" y="76242"/>
                  </a:lnTo>
                  <a:lnTo>
                    <a:pt x="24436" y="76079"/>
                  </a:lnTo>
                  <a:lnTo>
                    <a:pt x="22156" y="73798"/>
                  </a:lnTo>
                  <a:lnTo>
                    <a:pt x="22318" y="69725"/>
                  </a:lnTo>
                  <a:lnTo>
                    <a:pt x="24274" y="67770"/>
                  </a:lnTo>
                  <a:lnTo>
                    <a:pt x="20038" y="65815"/>
                  </a:lnTo>
                  <a:lnTo>
                    <a:pt x="17594" y="69236"/>
                  </a:lnTo>
                  <a:lnTo>
                    <a:pt x="13847" y="67607"/>
                  </a:lnTo>
                  <a:lnTo>
                    <a:pt x="7983" y="67282"/>
                  </a:lnTo>
                  <a:lnTo>
                    <a:pt x="2281" y="59299"/>
                  </a:lnTo>
                  <a:lnTo>
                    <a:pt x="4561" y="49850"/>
                  </a:lnTo>
                  <a:lnTo>
                    <a:pt x="489" y="45452"/>
                  </a:lnTo>
                  <a:lnTo>
                    <a:pt x="0" y="45452"/>
                  </a:lnTo>
                  <a:close/>
                </a:path>
              </a:pathLst>
            </a:custGeom>
            <a:solidFill>
              <a:schemeClr val="bg2"/>
            </a:solidFill>
            <a:ln w="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1" name="Forma livre: Forma 110">
              <a:extLst>
                <a:ext uri="{FF2B5EF4-FFF2-40B4-BE49-F238E27FC236}">
                  <a16:creationId xmlns:a16="http://schemas.microsoft.com/office/drawing/2014/main" id="{FE2F8B24-D2B2-11DF-AB68-E7CA99F719F9}"/>
                </a:ext>
              </a:extLst>
            </p:cNvPr>
            <p:cNvSpPr/>
            <p:nvPr/>
          </p:nvSpPr>
          <p:spPr>
            <a:xfrm>
              <a:off x="5645126" y="4687507"/>
              <a:ext cx="73569" cy="90741"/>
            </a:xfrm>
            <a:custGeom>
              <a:avLst/>
              <a:gdLst>
                <a:gd name="connsiteX0" fmla="*/ 19549 w 71191"/>
                <a:gd name="connsiteY0" fmla="*/ 74775 h 87808"/>
                <a:gd name="connsiteX1" fmla="*/ 19060 w 71191"/>
                <a:gd name="connsiteY1" fmla="*/ 71354 h 87808"/>
                <a:gd name="connsiteX2" fmla="*/ 16942 w 71191"/>
                <a:gd name="connsiteY2" fmla="*/ 68911 h 87808"/>
                <a:gd name="connsiteX3" fmla="*/ 14173 w 71191"/>
                <a:gd name="connsiteY3" fmla="*/ 68259 h 87808"/>
                <a:gd name="connsiteX4" fmla="*/ 13033 w 71191"/>
                <a:gd name="connsiteY4" fmla="*/ 70214 h 87808"/>
                <a:gd name="connsiteX5" fmla="*/ 13684 w 71191"/>
                <a:gd name="connsiteY5" fmla="*/ 72495 h 87808"/>
                <a:gd name="connsiteX6" fmla="*/ 17105 w 71191"/>
                <a:gd name="connsiteY6" fmla="*/ 74612 h 87808"/>
                <a:gd name="connsiteX7" fmla="*/ 19223 w 71191"/>
                <a:gd name="connsiteY7" fmla="*/ 74612 h 87808"/>
                <a:gd name="connsiteX8" fmla="*/ 3258 w 71191"/>
                <a:gd name="connsiteY8" fmla="*/ 21341 h 87808"/>
                <a:gd name="connsiteX9" fmla="*/ 7331 w 71191"/>
                <a:gd name="connsiteY9" fmla="*/ 21015 h 87808"/>
                <a:gd name="connsiteX10" fmla="*/ 15150 w 71191"/>
                <a:gd name="connsiteY10" fmla="*/ 16780 h 87808"/>
                <a:gd name="connsiteX11" fmla="*/ 15150 w 71191"/>
                <a:gd name="connsiteY11" fmla="*/ 13358 h 87808"/>
                <a:gd name="connsiteX12" fmla="*/ 22318 w 71191"/>
                <a:gd name="connsiteY12" fmla="*/ 7168 h 87808"/>
                <a:gd name="connsiteX13" fmla="*/ 26228 w 71191"/>
                <a:gd name="connsiteY13" fmla="*/ 2769 h 87808"/>
                <a:gd name="connsiteX14" fmla="*/ 32907 w 71191"/>
                <a:gd name="connsiteY14" fmla="*/ 0 h 87808"/>
                <a:gd name="connsiteX15" fmla="*/ 54574 w 71191"/>
                <a:gd name="connsiteY15" fmla="*/ 0 h 87808"/>
                <a:gd name="connsiteX16" fmla="*/ 57996 w 71191"/>
                <a:gd name="connsiteY16" fmla="*/ 6679 h 87808"/>
                <a:gd name="connsiteX17" fmla="*/ 60928 w 71191"/>
                <a:gd name="connsiteY17" fmla="*/ 11078 h 87808"/>
                <a:gd name="connsiteX18" fmla="*/ 67118 w 71191"/>
                <a:gd name="connsiteY18" fmla="*/ 22318 h 87808"/>
                <a:gd name="connsiteX19" fmla="*/ 66304 w 71191"/>
                <a:gd name="connsiteY19" fmla="*/ 26554 h 87808"/>
                <a:gd name="connsiteX20" fmla="*/ 71191 w 71191"/>
                <a:gd name="connsiteY20" fmla="*/ 31279 h 87808"/>
                <a:gd name="connsiteX21" fmla="*/ 71191 w 71191"/>
                <a:gd name="connsiteY21" fmla="*/ 35188 h 87808"/>
                <a:gd name="connsiteX22" fmla="*/ 67770 w 71191"/>
                <a:gd name="connsiteY22" fmla="*/ 36655 h 87808"/>
                <a:gd name="connsiteX23" fmla="*/ 67281 w 71191"/>
                <a:gd name="connsiteY23" fmla="*/ 41053 h 87808"/>
                <a:gd name="connsiteX24" fmla="*/ 70214 w 71191"/>
                <a:gd name="connsiteY24" fmla="*/ 42356 h 87808"/>
                <a:gd name="connsiteX25" fmla="*/ 69236 w 71191"/>
                <a:gd name="connsiteY25" fmla="*/ 46592 h 87808"/>
                <a:gd name="connsiteX26" fmla="*/ 67444 w 71191"/>
                <a:gd name="connsiteY26" fmla="*/ 80477 h 87808"/>
                <a:gd name="connsiteX27" fmla="*/ 56529 w 71191"/>
                <a:gd name="connsiteY27" fmla="*/ 87808 h 87808"/>
                <a:gd name="connsiteX28" fmla="*/ 53434 w 71191"/>
                <a:gd name="connsiteY28" fmla="*/ 86179 h 87808"/>
                <a:gd name="connsiteX29" fmla="*/ 43823 w 71191"/>
                <a:gd name="connsiteY29" fmla="*/ 86179 h 87808"/>
                <a:gd name="connsiteX30" fmla="*/ 30138 w 71191"/>
                <a:gd name="connsiteY30" fmla="*/ 79174 h 87808"/>
                <a:gd name="connsiteX31" fmla="*/ 24273 w 71191"/>
                <a:gd name="connsiteY31" fmla="*/ 77707 h 87808"/>
                <a:gd name="connsiteX32" fmla="*/ 25740 w 71191"/>
                <a:gd name="connsiteY32" fmla="*/ 74612 h 87808"/>
                <a:gd name="connsiteX33" fmla="*/ 21993 w 71191"/>
                <a:gd name="connsiteY33" fmla="*/ 70539 h 87808"/>
                <a:gd name="connsiteX34" fmla="*/ 18734 w 71191"/>
                <a:gd name="connsiteY34" fmla="*/ 67444 h 87808"/>
                <a:gd name="connsiteX35" fmla="*/ 20852 w 71191"/>
                <a:gd name="connsiteY35" fmla="*/ 63046 h 87808"/>
                <a:gd name="connsiteX36" fmla="*/ 20852 w 71191"/>
                <a:gd name="connsiteY36" fmla="*/ 61905 h 87808"/>
                <a:gd name="connsiteX37" fmla="*/ 15476 w 71191"/>
                <a:gd name="connsiteY37" fmla="*/ 63860 h 87808"/>
                <a:gd name="connsiteX38" fmla="*/ 9774 w 71191"/>
                <a:gd name="connsiteY38" fmla="*/ 57670 h 87808"/>
                <a:gd name="connsiteX39" fmla="*/ 9774 w 71191"/>
                <a:gd name="connsiteY39" fmla="*/ 51968 h 87808"/>
                <a:gd name="connsiteX40" fmla="*/ 7168 w 71191"/>
                <a:gd name="connsiteY40" fmla="*/ 43822 h 87808"/>
                <a:gd name="connsiteX41" fmla="*/ 2281 w 71191"/>
                <a:gd name="connsiteY41" fmla="*/ 43008 h 87808"/>
                <a:gd name="connsiteX42" fmla="*/ 326 w 71191"/>
                <a:gd name="connsiteY42" fmla="*/ 38935 h 87808"/>
                <a:gd name="connsiteX43" fmla="*/ 3747 w 71191"/>
                <a:gd name="connsiteY43" fmla="*/ 32419 h 87808"/>
                <a:gd name="connsiteX44" fmla="*/ 0 w 71191"/>
                <a:gd name="connsiteY44" fmla="*/ 30464 h 87808"/>
                <a:gd name="connsiteX45" fmla="*/ 326 w 71191"/>
                <a:gd name="connsiteY45" fmla="*/ 26554 h 87808"/>
                <a:gd name="connsiteX46" fmla="*/ 3095 w 71191"/>
                <a:gd name="connsiteY46" fmla="*/ 21667 h 87808"/>
                <a:gd name="connsiteX47" fmla="*/ 2769 w 71191"/>
                <a:gd name="connsiteY47" fmla="*/ 21341 h 878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</a:cxnLst>
              <a:rect l="l" t="t" r="r" b="b"/>
              <a:pathLst>
                <a:path w="71191" h="87808">
                  <a:moveTo>
                    <a:pt x="19549" y="74775"/>
                  </a:moveTo>
                  <a:lnTo>
                    <a:pt x="19060" y="71354"/>
                  </a:lnTo>
                  <a:lnTo>
                    <a:pt x="16942" y="68911"/>
                  </a:lnTo>
                  <a:lnTo>
                    <a:pt x="14173" y="68259"/>
                  </a:lnTo>
                  <a:lnTo>
                    <a:pt x="13033" y="70214"/>
                  </a:lnTo>
                  <a:lnTo>
                    <a:pt x="13684" y="72495"/>
                  </a:lnTo>
                  <a:lnTo>
                    <a:pt x="17105" y="74612"/>
                  </a:lnTo>
                  <a:lnTo>
                    <a:pt x="19223" y="74612"/>
                  </a:lnTo>
                  <a:close/>
                  <a:moveTo>
                    <a:pt x="3258" y="21341"/>
                  </a:moveTo>
                  <a:lnTo>
                    <a:pt x="7331" y="21015"/>
                  </a:lnTo>
                  <a:lnTo>
                    <a:pt x="15150" y="16780"/>
                  </a:lnTo>
                  <a:lnTo>
                    <a:pt x="15150" y="13358"/>
                  </a:lnTo>
                  <a:lnTo>
                    <a:pt x="22318" y="7168"/>
                  </a:lnTo>
                  <a:lnTo>
                    <a:pt x="26228" y="2769"/>
                  </a:lnTo>
                  <a:lnTo>
                    <a:pt x="32907" y="0"/>
                  </a:lnTo>
                  <a:lnTo>
                    <a:pt x="54574" y="0"/>
                  </a:lnTo>
                  <a:lnTo>
                    <a:pt x="57996" y="6679"/>
                  </a:lnTo>
                  <a:lnTo>
                    <a:pt x="60928" y="11078"/>
                  </a:lnTo>
                  <a:lnTo>
                    <a:pt x="67118" y="22318"/>
                  </a:lnTo>
                  <a:lnTo>
                    <a:pt x="66304" y="26554"/>
                  </a:lnTo>
                  <a:lnTo>
                    <a:pt x="71191" y="31279"/>
                  </a:lnTo>
                  <a:lnTo>
                    <a:pt x="71191" y="35188"/>
                  </a:lnTo>
                  <a:lnTo>
                    <a:pt x="67770" y="36655"/>
                  </a:lnTo>
                  <a:lnTo>
                    <a:pt x="67281" y="41053"/>
                  </a:lnTo>
                  <a:lnTo>
                    <a:pt x="70214" y="42356"/>
                  </a:lnTo>
                  <a:lnTo>
                    <a:pt x="69236" y="46592"/>
                  </a:lnTo>
                  <a:lnTo>
                    <a:pt x="67444" y="80477"/>
                  </a:lnTo>
                  <a:lnTo>
                    <a:pt x="56529" y="87808"/>
                  </a:lnTo>
                  <a:lnTo>
                    <a:pt x="53434" y="86179"/>
                  </a:lnTo>
                  <a:lnTo>
                    <a:pt x="43823" y="86179"/>
                  </a:lnTo>
                  <a:lnTo>
                    <a:pt x="30138" y="79174"/>
                  </a:lnTo>
                  <a:lnTo>
                    <a:pt x="24273" y="77707"/>
                  </a:lnTo>
                  <a:lnTo>
                    <a:pt x="25740" y="74612"/>
                  </a:lnTo>
                  <a:lnTo>
                    <a:pt x="21993" y="70539"/>
                  </a:lnTo>
                  <a:lnTo>
                    <a:pt x="18734" y="67444"/>
                  </a:lnTo>
                  <a:lnTo>
                    <a:pt x="20852" y="63046"/>
                  </a:lnTo>
                  <a:lnTo>
                    <a:pt x="20852" y="61905"/>
                  </a:lnTo>
                  <a:cubicBezTo>
                    <a:pt x="20852" y="61905"/>
                    <a:pt x="15476" y="63860"/>
                    <a:pt x="15476" y="63860"/>
                  </a:cubicBezTo>
                  <a:lnTo>
                    <a:pt x="9774" y="57670"/>
                  </a:lnTo>
                  <a:lnTo>
                    <a:pt x="9774" y="51968"/>
                  </a:lnTo>
                  <a:lnTo>
                    <a:pt x="7168" y="43822"/>
                  </a:lnTo>
                  <a:lnTo>
                    <a:pt x="2281" y="43008"/>
                  </a:lnTo>
                  <a:lnTo>
                    <a:pt x="326" y="38935"/>
                  </a:lnTo>
                  <a:lnTo>
                    <a:pt x="3747" y="32419"/>
                  </a:lnTo>
                  <a:lnTo>
                    <a:pt x="0" y="30464"/>
                  </a:lnTo>
                  <a:lnTo>
                    <a:pt x="326" y="26554"/>
                  </a:lnTo>
                  <a:lnTo>
                    <a:pt x="3095" y="21667"/>
                  </a:lnTo>
                  <a:lnTo>
                    <a:pt x="2769" y="21341"/>
                  </a:lnTo>
                  <a:close/>
                </a:path>
              </a:pathLst>
            </a:custGeom>
            <a:solidFill>
              <a:schemeClr val="bg2"/>
            </a:solidFill>
            <a:ln w="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2" name="Forma livre: Forma 111">
              <a:extLst>
                <a:ext uri="{FF2B5EF4-FFF2-40B4-BE49-F238E27FC236}">
                  <a16:creationId xmlns:a16="http://schemas.microsoft.com/office/drawing/2014/main" id="{21C2540A-85FB-E7DD-AC37-28E390888553}"/>
                </a:ext>
              </a:extLst>
            </p:cNvPr>
            <p:cNvSpPr/>
            <p:nvPr/>
          </p:nvSpPr>
          <p:spPr>
            <a:xfrm>
              <a:off x="5693610" y="4728417"/>
              <a:ext cx="106229" cy="114815"/>
            </a:xfrm>
            <a:custGeom>
              <a:avLst/>
              <a:gdLst>
                <a:gd name="connsiteX0" fmla="*/ 0 w 102795"/>
                <a:gd name="connsiteY0" fmla="*/ 46592 h 111104"/>
                <a:gd name="connsiteX1" fmla="*/ 815 w 102795"/>
                <a:gd name="connsiteY1" fmla="*/ 42682 h 111104"/>
                <a:gd name="connsiteX2" fmla="*/ 3584 w 102795"/>
                <a:gd name="connsiteY2" fmla="*/ 36003 h 111104"/>
                <a:gd name="connsiteX3" fmla="*/ 9775 w 102795"/>
                <a:gd name="connsiteY3" fmla="*/ 33071 h 111104"/>
                <a:gd name="connsiteX4" fmla="*/ 15151 w 102795"/>
                <a:gd name="connsiteY4" fmla="*/ 26880 h 111104"/>
                <a:gd name="connsiteX5" fmla="*/ 14336 w 102795"/>
                <a:gd name="connsiteY5" fmla="*/ 22970 h 111104"/>
                <a:gd name="connsiteX6" fmla="*/ 16780 w 102795"/>
                <a:gd name="connsiteY6" fmla="*/ 16128 h 111104"/>
                <a:gd name="connsiteX7" fmla="*/ 20364 w 102795"/>
                <a:gd name="connsiteY7" fmla="*/ 14499 h 111104"/>
                <a:gd name="connsiteX8" fmla="*/ 20364 w 102795"/>
                <a:gd name="connsiteY8" fmla="*/ 10752 h 111104"/>
                <a:gd name="connsiteX9" fmla="*/ 21993 w 102795"/>
                <a:gd name="connsiteY9" fmla="*/ 5539 h 111104"/>
                <a:gd name="connsiteX10" fmla="*/ 28672 w 102795"/>
                <a:gd name="connsiteY10" fmla="*/ 2607 h 111104"/>
                <a:gd name="connsiteX11" fmla="*/ 30790 w 102795"/>
                <a:gd name="connsiteY11" fmla="*/ 3421 h 111104"/>
                <a:gd name="connsiteX12" fmla="*/ 41705 w 102795"/>
                <a:gd name="connsiteY12" fmla="*/ 0 h 111104"/>
                <a:gd name="connsiteX13" fmla="*/ 46592 w 102795"/>
                <a:gd name="connsiteY13" fmla="*/ 2118 h 111104"/>
                <a:gd name="connsiteX14" fmla="*/ 49850 w 102795"/>
                <a:gd name="connsiteY14" fmla="*/ 7983 h 111104"/>
                <a:gd name="connsiteX15" fmla="*/ 54737 w 102795"/>
                <a:gd name="connsiteY15" fmla="*/ 10752 h 111104"/>
                <a:gd name="connsiteX16" fmla="*/ 54249 w 102795"/>
                <a:gd name="connsiteY16" fmla="*/ 20852 h 111104"/>
                <a:gd name="connsiteX17" fmla="*/ 53271 w 102795"/>
                <a:gd name="connsiteY17" fmla="*/ 26228 h 111104"/>
                <a:gd name="connsiteX18" fmla="*/ 59788 w 102795"/>
                <a:gd name="connsiteY18" fmla="*/ 33885 h 111104"/>
                <a:gd name="connsiteX19" fmla="*/ 62883 w 102795"/>
                <a:gd name="connsiteY19" fmla="*/ 32908 h 111104"/>
                <a:gd name="connsiteX20" fmla="*/ 70377 w 102795"/>
                <a:gd name="connsiteY20" fmla="*/ 27206 h 111104"/>
                <a:gd name="connsiteX21" fmla="*/ 73146 w 102795"/>
                <a:gd name="connsiteY21" fmla="*/ 27858 h 111104"/>
                <a:gd name="connsiteX22" fmla="*/ 77056 w 102795"/>
                <a:gd name="connsiteY22" fmla="*/ 31604 h 111104"/>
                <a:gd name="connsiteX23" fmla="*/ 78196 w 102795"/>
                <a:gd name="connsiteY23" fmla="*/ 34374 h 111104"/>
                <a:gd name="connsiteX24" fmla="*/ 77219 w 102795"/>
                <a:gd name="connsiteY24" fmla="*/ 36492 h 111104"/>
                <a:gd name="connsiteX25" fmla="*/ 79011 w 102795"/>
                <a:gd name="connsiteY25" fmla="*/ 41379 h 111104"/>
                <a:gd name="connsiteX26" fmla="*/ 74775 w 102795"/>
                <a:gd name="connsiteY26" fmla="*/ 50991 h 111104"/>
                <a:gd name="connsiteX27" fmla="*/ 71191 w 102795"/>
                <a:gd name="connsiteY27" fmla="*/ 54900 h 111104"/>
                <a:gd name="connsiteX28" fmla="*/ 72658 w 102795"/>
                <a:gd name="connsiteY28" fmla="*/ 59951 h 111104"/>
                <a:gd name="connsiteX29" fmla="*/ 76730 w 102795"/>
                <a:gd name="connsiteY29" fmla="*/ 61417 h 111104"/>
                <a:gd name="connsiteX30" fmla="*/ 78848 w 102795"/>
                <a:gd name="connsiteY30" fmla="*/ 60114 h 111104"/>
                <a:gd name="connsiteX31" fmla="*/ 83247 w 102795"/>
                <a:gd name="connsiteY31" fmla="*/ 60114 h 111104"/>
                <a:gd name="connsiteX32" fmla="*/ 86179 w 102795"/>
                <a:gd name="connsiteY32" fmla="*/ 63860 h 111104"/>
                <a:gd name="connsiteX33" fmla="*/ 89274 w 102795"/>
                <a:gd name="connsiteY33" fmla="*/ 63046 h 111104"/>
                <a:gd name="connsiteX34" fmla="*/ 92533 w 102795"/>
                <a:gd name="connsiteY34" fmla="*/ 64512 h 111104"/>
                <a:gd name="connsiteX35" fmla="*/ 94325 w 102795"/>
                <a:gd name="connsiteY35" fmla="*/ 69725 h 111104"/>
                <a:gd name="connsiteX36" fmla="*/ 97909 w 102795"/>
                <a:gd name="connsiteY36" fmla="*/ 72169 h 111104"/>
                <a:gd name="connsiteX37" fmla="*/ 101330 w 102795"/>
                <a:gd name="connsiteY37" fmla="*/ 72332 h 111104"/>
                <a:gd name="connsiteX38" fmla="*/ 102796 w 102795"/>
                <a:gd name="connsiteY38" fmla="*/ 77545 h 111104"/>
                <a:gd name="connsiteX39" fmla="*/ 99375 w 102795"/>
                <a:gd name="connsiteY39" fmla="*/ 80314 h 111104"/>
                <a:gd name="connsiteX40" fmla="*/ 101167 w 102795"/>
                <a:gd name="connsiteY40" fmla="*/ 83409 h 111104"/>
                <a:gd name="connsiteX41" fmla="*/ 98886 w 102795"/>
                <a:gd name="connsiteY41" fmla="*/ 86668 h 111104"/>
                <a:gd name="connsiteX42" fmla="*/ 97745 w 102795"/>
                <a:gd name="connsiteY42" fmla="*/ 91066 h 111104"/>
                <a:gd name="connsiteX43" fmla="*/ 99375 w 102795"/>
                <a:gd name="connsiteY43" fmla="*/ 94976 h 111104"/>
                <a:gd name="connsiteX44" fmla="*/ 97257 w 102795"/>
                <a:gd name="connsiteY44" fmla="*/ 100841 h 111104"/>
                <a:gd name="connsiteX45" fmla="*/ 99701 w 102795"/>
                <a:gd name="connsiteY45" fmla="*/ 105076 h 111104"/>
                <a:gd name="connsiteX46" fmla="*/ 99863 w 102795"/>
                <a:gd name="connsiteY46" fmla="*/ 111104 h 111104"/>
                <a:gd name="connsiteX47" fmla="*/ 74612 w 102795"/>
                <a:gd name="connsiteY47" fmla="*/ 101981 h 111104"/>
                <a:gd name="connsiteX48" fmla="*/ 55063 w 102795"/>
                <a:gd name="connsiteY48" fmla="*/ 87482 h 111104"/>
                <a:gd name="connsiteX49" fmla="*/ 49687 w 102795"/>
                <a:gd name="connsiteY49" fmla="*/ 86831 h 111104"/>
                <a:gd name="connsiteX50" fmla="*/ 33885 w 102795"/>
                <a:gd name="connsiteY50" fmla="*/ 71028 h 111104"/>
                <a:gd name="connsiteX51" fmla="*/ 23133 w 102795"/>
                <a:gd name="connsiteY51" fmla="*/ 63860 h 111104"/>
                <a:gd name="connsiteX52" fmla="*/ 19223 w 102795"/>
                <a:gd name="connsiteY52" fmla="*/ 63698 h 111104"/>
                <a:gd name="connsiteX53" fmla="*/ 12707 w 102795"/>
                <a:gd name="connsiteY53" fmla="*/ 54412 h 111104"/>
                <a:gd name="connsiteX54" fmla="*/ 8471 w 102795"/>
                <a:gd name="connsiteY54" fmla="*/ 52457 h 111104"/>
                <a:gd name="connsiteX55" fmla="*/ 10426 w 102795"/>
                <a:gd name="connsiteY55" fmla="*/ 48710 h 111104"/>
                <a:gd name="connsiteX56" fmla="*/ 6517 w 102795"/>
                <a:gd name="connsiteY56" fmla="*/ 46592 h 111104"/>
                <a:gd name="connsiteX57" fmla="*/ 0 w 102795"/>
                <a:gd name="connsiteY57" fmla="*/ 46592 h 1111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</a:cxnLst>
              <a:rect l="l" t="t" r="r" b="b"/>
              <a:pathLst>
                <a:path w="102795" h="111104">
                  <a:moveTo>
                    <a:pt x="0" y="46592"/>
                  </a:moveTo>
                  <a:lnTo>
                    <a:pt x="815" y="42682"/>
                  </a:lnTo>
                  <a:lnTo>
                    <a:pt x="3584" y="36003"/>
                  </a:lnTo>
                  <a:lnTo>
                    <a:pt x="9775" y="33071"/>
                  </a:lnTo>
                  <a:lnTo>
                    <a:pt x="15151" y="26880"/>
                  </a:lnTo>
                  <a:lnTo>
                    <a:pt x="14336" y="22970"/>
                  </a:lnTo>
                  <a:lnTo>
                    <a:pt x="16780" y="16128"/>
                  </a:lnTo>
                  <a:lnTo>
                    <a:pt x="20364" y="14499"/>
                  </a:lnTo>
                  <a:lnTo>
                    <a:pt x="20364" y="10752"/>
                  </a:lnTo>
                  <a:lnTo>
                    <a:pt x="21993" y="5539"/>
                  </a:lnTo>
                  <a:lnTo>
                    <a:pt x="28672" y="2607"/>
                  </a:lnTo>
                  <a:lnTo>
                    <a:pt x="30790" y="3421"/>
                  </a:lnTo>
                  <a:lnTo>
                    <a:pt x="41705" y="0"/>
                  </a:lnTo>
                  <a:lnTo>
                    <a:pt x="46592" y="2118"/>
                  </a:lnTo>
                  <a:lnTo>
                    <a:pt x="49850" y="7983"/>
                  </a:lnTo>
                  <a:lnTo>
                    <a:pt x="54737" y="10752"/>
                  </a:lnTo>
                  <a:lnTo>
                    <a:pt x="54249" y="20852"/>
                  </a:lnTo>
                  <a:lnTo>
                    <a:pt x="53271" y="26228"/>
                  </a:lnTo>
                  <a:lnTo>
                    <a:pt x="59788" y="33885"/>
                  </a:lnTo>
                  <a:lnTo>
                    <a:pt x="62883" y="32908"/>
                  </a:lnTo>
                  <a:lnTo>
                    <a:pt x="70377" y="27206"/>
                  </a:lnTo>
                  <a:lnTo>
                    <a:pt x="73146" y="27858"/>
                  </a:lnTo>
                  <a:lnTo>
                    <a:pt x="77056" y="31604"/>
                  </a:lnTo>
                  <a:lnTo>
                    <a:pt x="78196" y="34374"/>
                  </a:lnTo>
                  <a:lnTo>
                    <a:pt x="77219" y="36492"/>
                  </a:lnTo>
                  <a:lnTo>
                    <a:pt x="79011" y="41379"/>
                  </a:lnTo>
                  <a:lnTo>
                    <a:pt x="74775" y="50991"/>
                  </a:lnTo>
                  <a:lnTo>
                    <a:pt x="71191" y="54900"/>
                  </a:lnTo>
                  <a:lnTo>
                    <a:pt x="72658" y="59951"/>
                  </a:lnTo>
                  <a:lnTo>
                    <a:pt x="76730" y="61417"/>
                  </a:lnTo>
                  <a:lnTo>
                    <a:pt x="78848" y="60114"/>
                  </a:lnTo>
                  <a:lnTo>
                    <a:pt x="83247" y="60114"/>
                  </a:lnTo>
                  <a:lnTo>
                    <a:pt x="86179" y="63860"/>
                  </a:lnTo>
                  <a:lnTo>
                    <a:pt x="89274" y="63046"/>
                  </a:lnTo>
                  <a:lnTo>
                    <a:pt x="92533" y="64512"/>
                  </a:lnTo>
                  <a:lnTo>
                    <a:pt x="94325" y="69725"/>
                  </a:lnTo>
                  <a:lnTo>
                    <a:pt x="97909" y="72169"/>
                  </a:lnTo>
                  <a:lnTo>
                    <a:pt x="101330" y="72332"/>
                  </a:lnTo>
                  <a:lnTo>
                    <a:pt x="102796" y="77545"/>
                  </a:lnTo>
                  <a:lnTo>
                    <a:pt x="99375" y="80314"/>
                  </a:lnTo>
                  <a:lnTo>
                    <a:pt x="101167" y="83409"/>
                  </a:lnTo>
                  <a:lnTo>
                    <a:pt x="98886" y="86668"/>
                  </a:lnTo>
                  <a:lnTo>
                    <a:pt x="97745" y="91066"/>
                  </a:lnTo>
                  <a:lnTo>
                    <a:pt x="99375" y="94976"/>
                  </a:lnTo>
                  <a:lnTo>
                    <a:pt x="97257" y="100841"/>
                  </a:lnTo>
                  <a:lnTo>
                    <a:pt x="99701" y="105076"/>
                  </a:lnTo>
                  <a:lnTo>
                    <a:pt x="99863" y="111104"/>
                  </a:lnTo>
                  <a:lnTo>
                    <a:pt x="74612" y="101981"/>
                  </a:lnTo>
                  <a:lnTo>
                    <a:pt x="55063" y="87482"/>
                  </a:lnTo>
                  <a:lnTo>
                    <a:pt x="49687" y="86831"/>
                  </a:lnTo>
                  <a:lnTo>
                    <a:pt x="33885" y="71028"/>
                  </a:lnTo>
                  <a:lnTo>
                    <a:pt x="23133" y="63860"/>
                  </a:lnTo>
                  <a:lnTo>
                    <a:pt x="19223" y="63698"/>
                  </a:lnTo>
                  <a:lnTo>
                    <a:pt x="12707" y="54412"/>
                  </a:lnTo>
                  <a:lnTo>
                    <a:pt x="8471" y="52457"/>
                  </a:lnTo>
                  <a:lnTo>
                    <a:pt x="10426" y="48710"/>
                  </a:lnTo>
                  <a:lnTo>
                    <a:pt x="6517" y="46592"/>
                  </a:lnTo>
                  <a:lnTo>
                    <a:pt x="0" y="46592"/>
                  </a:lnTo>
                  <a:close/>
                </a:path>
              </a:pathLst>
            </a:custGeom>
            <a:solidFill>
              <a:schemeClr val="bg2"/>
            </a:solidFill>
            <a:ln w="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3" name="Forma livre: Forma 112">
              <a:extLst>
                <a:ext uri="{FF2B5EF4-FFF2-40B4-BE49-F238E27FC236}">
                  <a16:creationId xmlns:a16="http://schemas.microsoft.com/office/drawing/2014/main" id="{D90B2BE3-7B8D-C243-3140-518A5352F55D}"/>
                </a:ext>
              </a:extLst>
            </p:cNvPr>
            <p:cNvSpPr/>
            <p:nvPr/>
          </p:nvSpPr>
          <p:spPr>
            <a:xfrm>
              <a:off x="5767180" y="4671514"/>
              <a:ext cx="164814" cy="172558"/>
            </a:xfrm>
            <a:custGeom>
              <a:avLst/>
              <a:gdLst>
                <a:gd name="connsiteX0" fmla="*/ 28672 w 159487"/>
                <a:gd name="connsiteY0" fmla="*/ 166168 h 166981"/>
                <a:gd name="connsiteX1" fmla="*/ 28509 w 159487"/>
                <a:gd name="connsiteY1" fmla="*/ 160140 h 166981"/>
                <a:gd name="connsiteX2" fmla="*/ 26065 w 159487"/>
                <a:gd name="connsiteY2" fmla="*/ 155904 h 166981"/>
                <a:gd name="connsiteX3" fmla="*/ 28183 w 159487"/>
                <a:gd name="connsiteY3" fmla="*/ 150039 h 166981"/>
                <a:gd name="connsiteX4" fmla="*/ 26554 w 159487"/>
                <a:gd name="connsiteY4" fmla="*/ 146130 h 166981"/>
                <a:gd name="connsiteX5" fmla="*/ 27695 w 159487"/>
                <a:gd name="connsiteY5" fmla="*/ 141731 h 166981"/>
                <a:gd name="connsiteX6" fmla="*/ 29975 w 159487"/>
                <a:gd name="connsiteY6" fmla="*/ 138473 h 166981"/>
                <a:gd name="connsiteX7" fmla="*/ 28183 w 159487"/>
                <a:gd name="connsiteY7" fmla="*/ 135378 h 166981"/>
                <a:gd name="connsiteX8" fmla="*/ 31604 w 159487"/>
                <a:gd name="connsiteY8" fmla="*/ 132608 h 166981"/>
                <a:gd name="connsiteX9" fmla="*/ 30138 w 159487"/>
                <a:gd name="connsiteY9" fmla="*/ 127395 h 166981"/>
                <a:gd name="connsiteX10" fmla="*/ 26717 w 159487"/>
                <a:gd name="connsiteY10" fmla="*/ 127232 h 166981"/>
                <a:gd name="connsiteX11" fmla="*/ 23133 w 159487"/>
                <a:gd name="connsiteY11" fmla="*/ 124788 h 166981"/>
                <a:gd name="connsiteX12" fmla="*/ 21341 w 159487"/>
                <a:gd name="connsiteY12" fmla="*/ 119576 h 166981"/>
                <a:gd name="connsiteX13" fmla="*/ 18083 w 159487"/>
                <a:gd name="connsiteY13" fmla="*/ 118109 h 166981"/>
                <a:gd name="connsiteX14" fmla="*/ 14988 w 159487"/>
                <a:gd name="connsiteY14" fmla="*/ 118924 h 166981"/>
                <a:gd name="connsiteX15" fmla="*/ 12055 w 159487"/>
                <a:gd name="connsiteY15" fmla="*/ 115177 h 166981"/>
                <a:gd name="connsiteX16" fmla="*/ 7657 w 159487"/>
                <a:gd name="connsiteY16" fmla="*/ 115177 h 166981"/>
                <a:gd name="connsiteX17" fmla="*/ 5539 w 159487"/>
                <a:gd name="connsiteY17" fmla="*/ 116480 h 166981"/>
                <a:gd name="connsiteX18" fmla="*/ 1466 w 159487"/>
                <a:gd name="connsiteY18" fmla="*/ 115014 h 166981"/>
                <a:gd name="connsiteX19" fmla="*/ 0 w 159487"/>
                <a:gd name="connsiteY19" fmla="*/ 109964 h 166981"/>
                <a:gd name="connsiteX20" fmla="*/ 3584 w 159487"/>
                <a:gd name="connsiteY20" fmla="*/ 106054 h 166981"/>
                <a:gd name="connsiteX21" fmla="*/ 7820 w 159487"/>
                <a:gd name="connsiteY21" fmla="*/ 96442 h 166981"/>
                <a:gd name="connsiteX22" fmla="*/ 6028 w 159487"/>
                <a:gd name="connsiteY22" fmla="*/ 91555 h 166981"/>
                <a:gd name="connsiteX23" fmla="*/ 7331 w 159487"/>
                <a:gd name="connsiteY23" fmla="*/ 88623 h 166981"/>
                <a:gd name="connsiteX24" fmla="*/ 11729 w 159487"/>
                <a:gd name="connsiteY24" fmla="*/ 87156 h 166981"/>
                <a:gd name="connsiteX25" fmla="*/ 18572 w 159487"/>
                <a:gd name="connsiteY25" fmla="*/ 72169 h 166981"/>
                <a:gd name="connsiteX26" fmla="*/ 19386 w 159487"/>
                <a:gd name="connsiteY26" fmla="*/ 66793 h 166981"/>
                <a:gd name="connsiteX27" fmla="*/ 17594 w 159487"/>
                <a:gd name="connsiteY27" fmla="*/ 64512 h 166981"/>
                <a:gd name="connsiteX28" fmla="*/ 12707 w 159487"/>
                <a:gd name="connsiteY28" fmla="*/ 59136 h 166981"/>
                <a:gd name="connsiteX29" fmla="*/ 12707 w 159487"/>
                <a:gd name="connsiteY29" fmla="*/ 55715 h 166981"/>
                <a:gd name="connsiteX30" fmla="*/ 15965 w 159487"/>
                <a:gd name="connsiteY30" fmla="*/ 53923 h 166981"/>
                <a:gd name="connsiteX31" fmla="*/ 20038 w 159487"/>
                <a:gd name="connsiteY31" fmla="*/ 54575 h 166981"/>
                <a:gd name="connsiteX32" fmla="*/ 20526 w 159487"/>
                <a:gd name="connsiteY32" fmla="*/ 50991 h 166981"/>
                <a:gd name="connsiteX33" fmla="*/ 17431 w 159487"/>
                <a:gd name="connsiteY33" fmla="*/ 45940 h 166981"/>
                <a:gd name="connsiteX34" fmla="*/ 14662 w 159487"/>
                <a:gd name="connsiteY34" fmla="*/ 43986 h 166981"/>
                <a:gd name="connsiteX35" fmla="*/ 13684 w 159487"/>
                <a:gd name="connsiteY35" fmla="*/ 34863 h 166981"/>
                <a:gd name="connsiteX36" fmla="*/ 15150 w 159487"/>
                <a:gd name="connsiteY36" fmla="*/ 31116 h 166981"/>
                <a:gd name="connsiteX37" fmla="*/ 14173 w 159487"/>
                <a:gd name="connsiteY37" fmla="*/ 19386 h 166981"/>
                <a:gd name="connsiteX38" fmla="*/ 12218 w 159487"/>
                <a:gd name="connsiteY38" fmla="*/ 17106 h 166981"/>
                <a:gd name="connsiteX39" fmla="*/ 12218 w 159487"/>
                <a:gd name="connsiteY39" fmla="*/ 13196 h 166981"/>
                <a:gd name="connsiteX40" fmla="*/ 21830 w 159487"/>
                <a:gd name="connsiteY40" fmla="*/ 9612 h 166981"/>
                <a:gd name="connsiteX41" fmla="*/ 31441 w 159487"/>
                <a:gd name="connsiteY41" fmla="*/ 4073 h 166981"/>
                <a:gd name="connsiteX42" fmla="*/ 34537 w 159487"/>
                <a:gd name="connsiteY42" fmla="*/ 3910 h 166981"/>
                <a:gd name="connsiteX43" fmla="*/ 40727 w 159487"/>
                <a:gd name="connsiteY43" fmla="*/ 6842 h 166981"/>
                <a:gd name="connsiteX44" fmla="*/ 50990 w 159487"/>
                <a:gd name="connsiteY44" fmla="*/ 7494 h 166981"/>
                <a:gd name="connsiteX45" fmla="*/ 53271 w 159487"/>
                <a:gd name="connsiteY45" fmla="*/ 5539 h 166981"/>
                <a:gd name="connsiteX46" fmla="*/ 53597 w 159487"/>
                <a:gd name="connsiteY46" fmla="*/ 3421 h 166981"/>
                <a:gd name="connsiteX47" fmla="*/ 61905 w 159487"/>
                <a:gd name="connsiteY47" fmla="*/ 1629 h 166981"/>
                <a:gd name="connsiteX48" fmla="*/ 68748 w 159487"/>
                <a:gd name="connsiteY48" fmla="*/ 2607 h 166981"/>
                <a:gd name="connsiteX49" fmla="*/ 67281 w 159487"/>
                <a:gd name="connsiteY49" fmla="*/ 4399 h 166981"/>
                <a:gd name="connsiteX50" fmla="*/ 69236 w 159487"/>
                <a:gd name="connsiteY50" fmla="*/ 7331 h 166981"/>
                <a:gd name="connsiteX51" fmla="*/ 77382 w 159487"/>
                <a:gd name="connsiteY51" fmla="*/ 9775 h 166981"/>
                <a:gd name="connsiteX52" fmla="*/ 82106 w 159487"/>
                <a:gd name="connsiteY52" fmla="*/ 2607 h 166981"/>
                <a:gd name="connsiteX53" fmla="*/ 86016 w 159487"/>
                <a:gd name="connsiteY53" fmla="*/ 0 h 166981"/>
                <a:gd name="connsiteX54" fmla="*/ 93347 w 159487"/>
                <a:gd name="connsiteY54" fmla="*/ 5865 h 166981"/>
                <a:gd name="connsiteX55" fmla="*/ 102958 w 159487"/>
                <a:gd name="connsiteY55" fmla="*/ 11078 h 166981"/>
                <a:gd name="connsiteX56" fmla="*/ 106542 w 159487"/>
                <a:gd name="connsiteY56" fmla="*/ 11078 h 166981"/>
                <a:gd name="connsiteX57" fmla="*/ 109475 w 159487"/>
                <a:gd name="connsiteY57" fmla="*/ 13033 h 166981"/>
                <a:gd name="connsiteX58" fmla="*/ 113385 w 159487"/>
                <a:gd name="connsiteY58" fmla="*/ 13033 h 166981"/>
                <a:gd name="connsiteX59" fmla="*/ 118923 w 159487"/>
                <a:gd name="connsiteY59" fmla="*/ 15477 h 166981"/>
                <a:gd name="connsiteX60" fmla="*/ 121530 w 159487"/>
                <a:gd name="connsiteY60" fmla="*/ 19386 h 166981"/>
                <a:gd name="connsiteX61" fmla="*/ 129676 w 159487"/>
                <a:gd name="connsiteY61" fmla="*/ 23459 h 166981"/>
                <a:gd name="connsiteX62" fmla="*/ 135866 w 159487"/>
                <a:gd name="connsiteY62" fmla="*/ 22319 h 166981"/>
                <a:gd name="connsiteX63" fmla="*/ 140590 w 159487"/>
                <a:gd name="connsiteY63" fmla="*/ 18898 h 166981"/>
                <a:gd name="connsiteX64" fmla="*/ 144012 w 159487"/>
                <a:gd name="connsiteY64" fmla="*/ 19060 h 166981"/>
                <a:gd name="connsiteX65" fmla="*/ 147758 w 159487"/>
                <a:gd name="connsiteY65" fmla="*/ 21667 h 166981"/>
                <a:gd name="connsiteX66" fmla="*/ 153297 w 159487"/>
                <a:gd name="connsiteY66" fmla="*/ 22644 h 166981"/>
                <a:gd name="connsiteX67" fmla="*/ 153297 w 159487"/>
                <a:gd name="connsiteY67" fmla="*/ 24599 h 166981"/>
                <a:gd name="connsiteX68" fmla="*/ 151342 w 159487"/>
                <a:gd name="connsiteY68" fmla="*/ 32582 h 166981"/>
                <a:gd name="connsiteX69" fmla="*/ 153460 w 159487"/>
                <a:gd name="connsiteY69" fmla="*/ 37958 h 166981"/>
                <a:gd name="connsiteX70" fmla="*/ 153460 w 159487"/>
                <a:gd name="connsiteY70" fmla="*/ 42519 h 166981"/>
                <a:gd name="connsiteX71" fmla="*/ 157207 w 159487"/>
                <a:gd name="connsiteY71" fmla="*/ 45940 h 166981"/>
                <a:gd name="connsiteX72" fmla="*/ 159488 w 159487"/>
                <a:gd name="connsiteY72" fmla="*/ 52294 h 166981"/>
                <a:gd name="connsiteX73" fmla="*/ 157207 w 159487"/>
                <a:gd name="connsiteY73" fmla="*/ 57996 h 166981"/>
                <a:gd name="connsiteX74" fmla="*/ 157207 w 159487"/>
                <a:gd name="connsiteY74" fmla="*/ 63046 h 166981"/>
                <a:gd name="connsiteX75" fmla="*/ 151994 w 159487"/>
                <a:gd name="connsiteY75" fmla="*/ 66304 h 166981"/>
                <a:gd name="connsiteX76" fmla="*/ 143849 w 159487"/>
                <a:gd name="connsiteY76" fmla="*/ 78360 h 166981"/>
                <a:gd name="connsiteX77" fmla="*/ 144500 w 159487"/>
                <a:gd name="connsiteY77" fmla="*/ 83410 h 166981"/>
                <a:gd name="connsiteX78" fmla="*/ 142382 w 159487"/>
                <a:gd name="connsiteY78" fmla="*/ 87482 h 166981"/>
                <a:gd name="connsiteX79" fmla="*/ 142220 w 159487"/>
                <a:gd name="connsiteY79" fmla="*/ 93347 h 166981"/>
                <a:gd name="connsiteX80" fmla="*/ 139776 w 159487"/>
                <a:gd name="connsiteY80" fmla="*/ 96768 h 166981"/>
                <a:gd name="connsiteX81" fmla="*/ 140102 w 159487"/>
                <a:gd name="connsiteY81" fmla="*/ 108172 h 166981"/>
                <a:gd name="connsiteX82" fmla="*/ 137821 w 159487"/>
                <a:gd name="connsiteY82" fmla="*/ 109638 h 166981"/>
                <a:gd name="connsiteX83" fmla="*/ 137658 w 159487"/>
                <a:gd name="connsiteY83" fmla="*/ 111919 h 166981"/>
                <a:gd name="connsiteX84" fmla="*/ 140590 w 159487"/>
                <a:gd name="connsiteY84" fmla="*/ 115177 h 166981"/>
                <a:gd name="connsiteX85" fmla="*/ 144338 w 159487"/>
                <a:gd name="connsiteY85" fmla="*/ 124788 h 166981"/>
                <a:gd name="connsiteX86" fmla="*/ 144989 w 159487"/>
                <a:gd name="connsiteY86" fmla="*/ 130816 h 166981"/>
                <a:gd name="connsiteX87" fmla="*/ 150854 w 159487"/>
                <a:gd name="connsiteY87" fmla="*/ 132608 h 166981"/>
                <a:gd name="connsiteX88" fmla="*/ 153297 w 159487"/>
                <a:gd name="connsiteY88" fmla="*/ 136844 h 166981"/>
                <a:gd name="connsiteX89" fmla="*/ 152972 w 159487"/>
                <a:gd name="connsiteY89" fmla="*/ 144012 h 166981"/>
                <a:gd name="connsiteX90" fmla="*/ 149225 w 159487"/>
                <a:gd name="connsiteY90" fmla="*/ 144663 h 166981"/>
                <a:gd name="connsiteX91" fmla="*/ 144174 w 159487"/>
                <a:gd name="connsiteY91" fmla="*/ 144989 h 166981"/>
                <a:gd name="connsiteX92" fmla="*/ 143034 w 159487"/>
                <a:gd name="connsiteY92" fmla="*/ 146944 h 166981"/>
                <a:gd name="connsiteX93" fmla="*/ 139450 w 159487"/>
                <a:gd name="connsiteY93" fmla="*/ 140102 h 166981"/>
                <a:gd name="connsiteX94" fmla="*/ 134563 w 159487"/>
                <a:gd name="connsiteY94" fmla="*/ 141405 h 166981"/>
                <a:gd name="connsiteX95" fmla="*/ 133423 w 159487"/>
                <a:gd name="connsiteY95" fmla="*/ 147759 h 166981"/>
                <a:gd name="connsiteX96" fmla="*/ 121530 w 159487"/>
                <a:gd name="connsiteY96" fmla="*/ 142057 h 166981"/>
                <a:gd name="connsiteX97" fmla="*/ 108823 w 159487"/>
                <a:gd name="connsiteY97" fmla="*/ 146130 h 166981"/>
                <a:gd name="connsiteX98" fmla="*/ 74938 w 159487"/>
                <a:gd name="connsiteY98" fmla="*/ 146293 h 166981"/>
                <a:gd name="connsiteX99" fmla="*/ 65326 w 159487"/>
                <a:gd name="connsiteY99" fmla="*/ 147759 h 166981"/>
                <a:gd name="connsiteX100" fmla="*/ 65164 w 159487"/>
                <a:gd name="connsiteY100" fmla="*/ 150202 h 166981"/>
                <a:gd name="connsiteX101" fmla="*/ 47569 w 159487"/>
                <a:gd name="connsiteY101" fmla="*/ 156882 h 166981"/>
                <a:gd name="connsiteX102" fmla="*/ 45614 w 159487"/>
                <a:gd name="connsiteY102" fmla="*/ 159325 h 166981"/>
                <a:gd name="connsiteX103" fmla="*/ 39913 w 159487"/>
                <a:gd name="connsiteY103" fmla="*/ 159325 h 166981"/>
                <a:gd name="connsiteX104" fmla="*/ 31115 w 159487"/>
                <a:gd name="connsiteY104" fmla="*/ 166982 h 166981"/>
                <a:gd name="connsiteX105" fmla="*/ 28672 w 159487"/>
                <a:gd name="connsiteY105" fmla="*/ 166168 h 1669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</a:cxnLst>
              <a:rect l="l" t="t" r="r" b="b"/>
              <a:pathLst>
                <a:path w="159487" h="166981">
                  <a:moveTo>
                    <a:pt x="28672" y="166168"/>
                  </a:moveTo>
                  <a:lnTo>
                    <a:pt x="28509" y="160140"/>
                  </a:lnTo>
                  <a:lnTo>
                    <a:pt x="26065" y="155904"/>
                  </a:lnTo>
                  <a:lnTo>
                    <a:pt x="28183" y="150039"/>
                  </a:lnTo>
                  <a:lnTo>
                    <a:pt x="26554" y="146130"/>
                  </a:lnTo>
                  <a:lnTo>
                    <a:pt x="27695" y="141731"/>
                  </a:lnTo>
                  <a:lnTo>
                    <a:pt x="29975" y="138473"/>
                  </a:lnTo>
                  <a:lnTo>
                    <a:pt x="28183" y="135378"/>
                  </a:lnTo>
                  <a:lnTo>
                    <a:pt x="31604" y="132608"/>
                  </a:lnTo>
                  <a:lnTo>
                    <a:pt x="30138" y="127395"/>
                  </a:lnTo>
                  <a:lnTo>
                    <a:pt x="26717" y="127232"/>
                  </a:lnTo>
                  <a:lnTo>
                    <a:pt x="23133" y="124788"/>
                  </a:lnTo>
                  <a:lnTo>
                    <a:pt x="21341" y="119576"/>
                  </a:lnTo>
                  <a:lnTo>
                    <a:pt x="18083" y="118109"/>
                  </a:lnTo>
                  <a:lnTo>
                    <a:pt x="14988" y="118924"/>
                  </a:lnTo>
                  <a:lnTo>
                    <a:pt x="12055" y="115177"/>
                  </a:lnTo>
                  <a:lnTo>
                    <a:pt x="7657" y="115177"/>
                  </a:lnTo>
                  <a:lnTo>
                    <a:pt x="5539" y="116480"/>
                  </a:lnTo>
                  <a:lnTo>
                    <a:pt x="1466" y="115014"/>
                  </a:lnTo>
                  <a:lnTo>
                    <a:pt x="0" y="109964"/>
                  </a:lnTo>
                  <a:lnTo>
                    <a:pt x="3584" y="106054"/>
                  </a:lnTo>
                  <a:lnTo>
                    <a:pt x="7820" y="96442"/>
                  </a:lnTo>
                  <a:lnTo>
                    <a:pt x="6028" y="91555"/>
                  </a:lnTo>
                  <a:lnTo>
                    <a:pt x="7331" y="88623"/>
                  </a:lnTo>
                  <a:lnTo>
                    <a:pt x="11729" y="87156"/>
                  </a:lnTo>
                  <a:lnTo>
                    <a:pt x="18572" y="72169"/>
                  </a:lnTo>
                  <a:lnTo>
                    <a:pt x="19386" y="66793"/>
                  </a:lnTo>
                  <a:lnTo>
                    <a:pt x="17594" y="64512"/>
                  </a:lnTo>
                  <a:lnTo>
                    <a:pt x="12707" y="59136"/>
                  </a:lnTo>
                  <a:lnTo>
                    <a:pt x="12707" y="55715"/>
                  </a:lnTo>
                  <a:lnTo>
                    <a:pt x="15965" y="53923"/>
                  </a:lnTo>
                  <a:lnTo>
                    <a:pt x="20038" y="54575"/>
                  </a:lnTo>
                  <a:lnTo>
                    <a:pt x="20526" y="50991"/>
                  </a:lnTo>
                  <a:lnTo>
                    <a:pt x="17431" y="45940"/>
                  </a:lnTo>
                  <a:lnTo>
                    <a:pt x="14662" y="43986"/>
                  </a:lnTo>
                  <a:lnTo>
                    <a:pt x="13684" y="34863"/>
                  </a:lnTo>
                  <a:lnTo>
                    <a:pt x="15150" y="31116"/>
                  </a:lnTo>
                  <a:lnTo>
                    <a:pt x="14173" y="19386"/>
                  </a:lnTo>
                  <a:lnTo>
                    <a:pt x="12218" y="17106"/>
                  </a:lnTo>
                  <a:lnTo>
                    <a:pt x="12218" y="13196"/>
                  </a:lnTo>
                  <a:lnTo>
                    <a:pt x="21830" y="9612"/>
                  </a:lnTo>
                  <a:lnTo>
                    <a:pt x="31441" y="4073"/>
                  </a:lnTo>
                  <a:lnTo>
                    <a:pt x="34537" y="3910"/>
                  </a:lnTo>
                  <a:lnTo>
                    <a:pt x="40727" y="6842"/>
                  </a:lnTo>
                  <a:lnTo>
                    <a:pt x="50990" y="7494"/>
                  </a:lnTo>
                  <a:lnTo>
                    <a:pt x="53271" y="5539"/>
                  </a:lnTo>
                  <a:lnTo>
                    <a:pt x="53597" y="3421"/>
                  </a:lnTo>
                  <a:lnTo>
                    <a:pt x="61905" y="1629"/>
                  </a:lnTo>
                  <a:lnTo>
                    <a:pt x="68748" y="2607"/>
                  </a:lnTo>
                  <a:lnTo>
                    <a:pt x="67281" y="4399"/>
                  </a:lnTo>
                  <a:lnTo>
                    <a:pt x="69236" y="7331"/>
                  </a:lnTo>
                  <a:lnTo>
                    <a:pt x="77382" y="9775"/>
                  </a:lnTo>
                  <a:lnTo>
                    <a:pt x="82106" y="2607"/>
                  </a:lnTo>
                  <a:lnTo>
                    <a:pt x="86016" y="0"/>
                  </a:lnTo>
                  <a:lnTo>
                    <a:pt x="93347" y="5865"/>
                  </a:lnTo>
                  <a:lnTo>
                    <a:pt x="102958" y="11078"/>
                  </a:lnTo>
                  <a:lnTo>
                    <a:pt x="106542" y="11078"/>
                  </a:lnTo>
                  <a:lnTo>
                    <a:pt x="109475" y="13033"/>
                  </a:lnTo>
                  <a:lnTo>
                    <a:pt x="113385" y="13033"/>
                  </a:lnTo>
                  <a:lnTo>
                    <a:pt x="118923" y="15477"/>
                  </a:lnTo>
                  <a:lnTo>
                    <a:pt x="121530" y="19386"/>
                  </a:lnTo>
                  <a:lnTo>
                    <a:pt x="129676" y="23459"/>
                  </a:lnTo>
                  <a:lnTo>
                    <a:pt x="135866" y="22319"/>
                  </a:lnTo>
                  <a:lnTo>
                    <a:pt x="140590" y="18898"/>
                  </a:lnTo>
                  <a:lnTo>
                    <a:pt x="144012" y="19060"/>
                  </a:lnTo>
                  <a:lnTo>
                    <a:pt x="147758" y="21667"/>
                  </a:lnTo>
                  <a:lnTo>
                    <a:pt x="153297" y="22644"/>
                  </a:lnTo>
                  <a:lnTo>
                    <a:pt x="153297" y="24599"/>
                  </a:lnTo>
                  <a:lnTo>
                    <a:pt x="151342" y="32582"/>
                  </a:lnTo>
                  <a:lnTo>
                    <a:pt x="153460" y="37958"/>
                  </a:lnTo>
                  <a:lnTo>
                    <a:pt x="153460" y="42519"/>
                  </a:lnTo>
                  <a:lnTo>
                    <a:pt x="157207" y="45940"/>
                  </a:lnTo>
                  <a:lnTo>
                    <a:pt x="159488" y="52294"/>
                  </a:lnTo>
                  <a:lnTo>
                    <a:pt x="157207" y="57996"/>
                  </a:lnTo>
                  <a:lnTo>
                    <a:pt x="157207" y="63046"/>
                  </a:lnTo>
                  <a:lnTo>
                    <a:pt x="151994" y="66304"/>
                  </a:lnTo>
                  <a:lnTo>
                    <a:pt x="143849" y="78360"/>
                  </a:lnTo>
                  <a:lnTo>
                    <a:pt x="144500" y="83410"/>
                  </a:lnTo>
                  <a:lnTo>
                    <a:pt x="142382" y="87482"/>
                  </a:lnTo>
                  <a:lnTo>
                    <a:pt x="142220" y="93347"/>
                  </a:lnTo>
                  <a:lnTo>
                    <a:pt x="139776" y="96768"/>
                  </a:lnTo>
                  <a:lnTo>
                    <a:pt x="140102" y="108172"/>
                  </a:lnTo>
                  <a:lnTo>
                    <a:pt x="137821" y="109638"/>
                  </a:lnTo>
                  <a:lnTo>
                    <a:pt x="137658" y="111919"/>
                  </a:lnTo>
                  <a:lnTo>
                    <a:pt x="140590" y="115177"/>
                  </a:lnTo>
                  <a:lnTo>
                    <a:pt x="144338" y="124788"/>
                  </a:lnTo>
                  <a:lnTo>
                    <a:pt x="144989" y="130816"/>
                  </a:lnTo>
                  <a:lnTo>
                    <a:pt x="150854" y="132608"/>
                  </a:lnTo>
                  <a:lnTo>
                    <a:pt x="153297" y="136844"/>
                  </a:lnTo>
                  <a:lnTo>
                    <a:pt x="152972" y="144012"/>
                  </a:lnTo>
                  <a:lnTo>
                    <a:pt x="149225" y="144663"/>
                  </a:lnTo>
                  <a:lnTo>
                    <a:pt x="144174" y="144989"/>
                  </a:lnTo>
                  <a:lnTo>
                    <a:pt x="143034" y="146944"/>
                  </a:lnTo>
                  <a:lnTo>
                    <a:pt x="139450" y="140102"/>
                  </a:lnTo>
                  <a:lnTo>
                    <a:pt x="134563" y="141405"/>
                  </a:lnTo>
                  <a:lnTo>
                    <a:pt x="133423" y="147759"/>
                  </a:lnTo>
                  <a:lnTo>
                    <a:pt x="121530" y="142057"/>
                  </a:lnTo>
                  <a:lnTo>
                    <a:pt x="108823" y="146130"/>
                  </a:lnTo>
                  <a:lnTo>
                    <a:pt x="74938" y="146293"/>
                  </a:lnTo>
                  <a:lnTo>
                    <a:pt x="65326" y="147759"/>
                  </a:lnTo>
                  <a:lnTo>
                    <a:pt x="65164" y="150202"/>
                  </a:lnTo>
                  <a:lnTo>
                    <a:pt x="47569" y="156882"/>
                  </a:lnTo>
                  <a:lnTo>
                    <a:pt x="45614" y="159325"/>
                  </a:lnTo>
                  <a:lnTo>
                    <a:pt x="39913" y="159325"/>
                  </a:lnTo>
                  <a:lnTo>
                    <a:pt x="31115" y="166982"/>
                  </a:lnTo>
                  <a:lnTo>
                    <a:pt x="28672" y="166168"/>
                  </a:lnTo>
                  <a:close/>
                </a:path>
              </a:pathLst>
            </a:custGeom>
            <a:solidFill>
              <a:schemeClr val="bg2"/>
            </a:solidFill>
            <a:ln w="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4" name="Forma livre: Forma 113">
              <a:extLst>
                <a:ext uri="{FF2B5EF4-FFF2-40B4-BE49-F238E27FC236}">
                  <a16:creationId xmlns:a16="http://schemas.microsoft.com/office/drawing/2014/main" id="{2087F968-B014-0DA3-7714-E9B64214029B}"/>
                </a:ext>
              </a:extLst>
            </p:cNvPr>
            <p:cNvSpPr/>
            <p:nvPr/>
          </p:nvSpPr>
          <p:spPr>
            <a:xfrm>
              <a:off x="5909436" y="4657037"/>
              <a:ext cx="111110" cy="175252"/>
            </a:xfrm>
            <a:custGeom>
              <a:avLst/>
              <a:gdLst>
                <a:gd name="connsiteX0" fmla="*/ 5376 w 107519"/>
                <a:gd name="connsiteY0" fmla="*/ 160954 h 169588"/>
                <a:gd name="connsiteX1" fmla="*/ 6516 w 107519"/>
                <a:gd name="connsiteY1" fmla="*/ 158999 h 169588"/>
                <a:gd name="connsiteX2" fmla="*/ 11566 w 107519"/>
                <a:gd name="connsiteY2" fmla="*/ 158674 h 169588"/>
                <a:gd name="connsiteX3" fmla="*/ 15314 w 107519"/>
                <a:gd name="connsiteY3" fmla="*/ 158022 h 169588"/>
                <a:gd name="connsiteX4" fmla="*/ 15639 w 107519"/>
                <a:gd name="connsiteY4" fmla="*/ 150854 h 169588"/>
                <a:gd name="connsiteX5" fmla="*/ 13196 w 107519"/>
                <a:gd name="connsiteY5" fmla="*/ 146618 h 169588"/>
                <a:gd name="connsiteX6" fmla="*/ 7331 w 107519"/>
                <a:gd name="connsiteY6" fmla="*/ 144826 h 169588"/>
                <a:gd name="connsiteX7" fmla="*/ 6679 w 107519"/>
                <a:gd name="connsiteY7" fmla="*/ 138799 h 169588"/>
                <a:gd name="connsiteX8" fmla="*/ 2932 w 107519"/>
                <a:gd name="connsiteY8" fmla="*/ 129187 h 169588"/>
                <a:gd name="connsiteX9" fmla="*/ 0 w 107519"/>
                <a:gd name="connsiteY9" fmla="*/ 125929 h 169588"/>
                <a:gd name="connsiteX10" fmla="*/ 163 w 107519"/>
                <a:gd name="connsiteY10" fmla="*/ 123648 h 169588"/>
                <a:gd name="connsiteX11" fmla="*/ 2444 w 107519"/>
                <a:gd name="connsiteY11" fmla="*/ 122182 h 169588"/>
                <a:gd name="connsiteX12" fmla="*/ 2118 w 107519"/>
                <a:gd name="connsiteY12" fmla="*/ 110778 h 169588"/>
                <a:gd name="connsiteX13" fmla="*/ 4561 w 107519"/>
                <a:gd name="connsiteY13" fmla="*/ 107357 h 169588"/>
                <a:gd name="connsiteX14" fmla="*/ 4724 w 107519"/>
                <a:gd name="connsiteY14" fmla="*/ 101493 h 169588"/>
                <a:gd name="connsiteX15" fmla="*/ 6842 w 107519"/>
                <a:gd name="connsiteY15" fmla="*/ 97420 h 169588"/>
                <a:gd name="connsiteX16" fmla="*/ 6191 w 107519"/>
                <a:gd name="connsiteY16" fmla="*/ 92370 h 169588"/>
                <a:gd name="connsiteX17" fmla="*/ 14336 w 107519"/>
                <a:gd name="connsiteY17" fmla="*/ 80314 h 169588"/>
                <a:gd name="connsiteX18" fmla="*/ 19549 w 107519"/>
                <a:gd name="connsiteY18" fmla="*/ 77056 h 169588"/>
                <a:gd name="connsiteX19" fmla="*/ 19549 w 107519"/>
                <a:gd name="connsiteY19" fmla="*/ 72006 h 169588"/>
                <a:gd name="connsiteX20" fmla="*/ 21830 w 107519"/>
                <a:gd name="connsiteY20" fmla="*/ 66304 h 169588"/>
                <a:gd name="connsiteX21" fmla="*/ 19549 w 107519"/>
                <a:gd name="connsiteY21" fmla="*/ 59951 h 169588"/>
                <a:gd name="connsiteX22" fmla="*/ 15802 w 107519"/>
                <a:gd name="connsiteY22" fmla="*/ 56529 h 169588"/>
                <a:gd name="connsiteX23" fmla="*/ 15802 w 107519"/>
                <a:gd name="connsiteY23" fmla="*/ 51968 h 169588"/>
                <a:gd name="connsiteX24" fmla="*/ 13684 w 107519"/>
                <a:gd name="connsiteY24" fmla="*/ 46592 h 169588"/>
                <a:gd name="connsiteX25" fmla="*/ 15639 w 107519"/>
                <a:gd name="connsiteY25" fmla="*/ 38610 h 169588"/>
                <a:gd name="connsiteX26" fmla="*/ 15314 w 107519"/>
                <a:gd name="connsiteY26" fmla="*/ 28998 h 169588"/>
                <a:gd name="connsiteX27" fmla="*/ 12381 w 107519"/>
                <a:gd name="connsiteY27" fmla="*/ 21830 h 169588"/>
                <a:gd name="connsiteX28" fmla="*/ 9774 w 107519"/>
                <a:gd name="connsiteY28" fmla="*/ 19549 h 169588"/>
                <a:gd name="connsiteX29" fmla="*/ 7983 w 107519"/>
                <a:gd name="connsiteY29" fmla="*/ 11567 h 169588"/>
                <a:gd name="connsiteX30" fmla="*/ 8797 w 107519"/>
                <a:gd name="connsiteY30" fmla="*/ 5865 h 169588"/>
                <a:gd name="connsiteX31" fmla="*/ 17594 w 107519"/>
                <a:gd name="connsiteY31" fmla="*/ 5376 h 169588"/>
                <a:gd name="connsiteX32" fmla="*/ 36492 w 107519"/>
                <a:gd name="connsiteY32" fmla="*/ 5376 h 169588"/>
                <a:gd name="connsiteX33" fmla="*/ 38772 w 107519"/>
                <a:gd name="connsiteY33" fmla="*/ 4399 h 169588"/>
                <a:gd name="connsiteX34" fmla="*/ 51968 w 107519"/>
                <a:gd name="connsiteY34" fmla="*/ 4399 h 169588"/>
                <a:gd name="connsiteX35" fmla="*/ 61579 w 107519"/>
                <a:gd name="connsiteY35" fmla="*/ 2932 h 169588"/>
                <a:gd name="connsiteX36" fmla="*/ 67444 w 107519"/>
                <a:gd name="connsiteY36" fmla="*/ 2607 h 169588"/>
                <a:gd name="connsiteX37" fmla="*/ 73309 w 107519"/>
                <a:gd name="connsiteY37" fmla="*/ 0 h 169588"/>
                <a:gd name="connsiteX38" fmla="*/ 75264 w 107519"/>
                <a:gd name="connsiteY38" fmla="*/ 489 h 169588"/>
                <a:gd name="connsiteX39" fmla="*/ 77382 w 107519"/>
                <a:gd name="connsiteY39" fmla="*/ 7331 h 169588"/>
                <a:gd name="connsiteX40" fmla="*/ 79500 w 107519"/>
                <a:gd name="connsiteY40" fmla="*/ 9612 h 169588"/>
                <a:gd name="connsiteX41" fmla="*/ 80151 w 107519"/>
                <a:gd name="connsiteY41" fmla="*/ 13521 h 169588"/>
                <a:gd name="connsiteX42" fmla="*/ 85690 w 107519"/>
                <a:gd name="connsiteY42" fmla="*/ 18572 h 169588"/>
                <a:gd name="connsiteX43" fmla="*/ 87971 w 107519"/>
                <a:gd name="connsiteY43" fmla="*/ 21830 h 169588"/>
                <a:gd name="connsiteX44" fmla="*/ 93347 w 107519"/>
                <a:gd name="connsiteY44" fmla="*/ 25740 h 169588"/>
                <a:gd name="connsiteX45" fmla="*/ 91881 w 107519"/>
                <a:gd name="connsiteY45" fmla="*/ 32745 h 169588"/>
                <a:gd name="connsiteX46" fmla="*/ 92044 w 107519"/>
                <a:gd name="connsiteY46" fmla="*/ 42031 h 169588"/>
                <a:gd name="connsiteX47" fmla="*/ 94650 w 107519"/>
                <a:gd name="connsiteY47" fmla="*/ 43986 h 169588"/>
                <a:gd name="connsiteX48" fmla="*/ 96931 w 107519"/>
                <a:gd name="connsiteY48" fmla="*/ 44637 h 169588"/>
                <a:gd name="connsiteX49" fmla="*/ 97257 w 107519"/>
                <a:gd name="connsiteY49" fmla="*/ 53434 h 169588"/>
                <a:gd name="connsiteX50" fmla="*/ 95302 w 107519"/>
                <a:gd name="connsiteY50" fmla="*/ 57181 h 169588"/>
                <a:gd name="connsiteX51" fmla="*/ 94976 w 107519"/>
                <a:gd name="connsiteY51" fmla="*/ 60928 h 169588"/>
                <a:gd name="connsiteX52" fmla="*/ 97257 w 107519"/>
                <a:gd name="connsiteY52" fmla="*/ 62883 h 169588"/>
                <a:gd name="connsiteX53" fmla="*/ 98071 w 107519"/>
                <a:gd name="connsiteY53" fmla="*/ 67933 h 169588"/>
                <a:gd name="connsiteX54" fmla="*/ 95953 w 107519"/>
                <a:gd name="connsiteY54" fmla="*/ 71028 h 169588"/>
                <a:gd name="connsiteX55" fmla="*/ 97908 w 107519"/>
                <a:gd name="connsiteY55" fmla="*/ 74775 h 169588"/>
                <a:gd name="connsiteX56" fmla="*/ 97257 w 107519"/>
                <a:gd name="connsiteY56" fmla="*/ 83572 h 169588"/>
                <a:gd name="connsiteX57" fmla="*/ 99049 w 107519"/>
                <a:gd name="connsiteY57" fmla="*/ 87319 h 169588"/>
                <a:gd name="connsiteX58" fmla="*/ 99863 w 107519"/>
                <a:gd name="connsiteY58" fmla="*/ 102307 h 169588"/>
                <a:gd name="connsiteX59" fmla="*/ 97094 w 107519"/>
                <a:gd name="connsiteY59" fmla="*/ 107683 h 169588"/>
                <a:gd name="connsiteX60" fmla="*/ 96768 w 107519"/>
                <a:gd name="connsiteY60" fmla="*/ 110941 h 169588"/>
                <a:gd name="connsiteX61" fmla="*/ 95465 w 107519"/>
                <a:gd name="connsiteY61" fmla="*/ 117946 h 169588"/>
                <a:gd name="connsiteX62" fmla="*/ 97094 w 107519"/>
                <a:gd name="connsiteY62" fmla="*/ 123974 h 169588"/>
                <a:gd name="connsiteX63" fmla="*/ 99212 w 107519"/>
                <a:gd name="connsiteY63" fmla="*/ 130653 h 169588"/>
                <a:gd name="connsiteX64" fmla="*/ 101981 w 107519"/>
                <a:gd name="connsiteY64" fmla="*/ 131794 h 169588"/>
                <a:gd name="connsiteX65" fmla="*/ 104751 w 107519"/>
                <a:gd name="connsiteY65" fmla="*/ 134563 h 169588"/>
                <a:gd name="connsiteX66" fmla="*/ 107520 w 107519"/>
                <a:gd name="connsiteY66" fmla="*/ 138799 h 169588"/>
                <a:gd name="connsiteX67" fmla="*/ 93673 w 107519"/>
                <a:gd name="connsiteY67" fmla="*/ 140591 h 169588"/>
                <a:gd name="connsiteX68" fmla="*/ 81454 w 107519"/>
                <a:gd name="connsiteY68" fmla="*/ 146455 h 169588"/>
                <a:gd name="connsiteX69" fmla="*/ 68096 w 107519"/>
                <a:gd name="connsiteY69" fmla="*/ 157696 h 169588"/>
                <a:gd name="connsiteX70" fmla="*/ 52620 w 107519"/>
                <a:gd name="connsiteY70" fmla="*/ 158999 h 169588"/>
                <a:gd name="connsiteX71" fmla="*/ 30464 w 107519"/>
                <a:gd name="connsiteY71" fmla="*/ 169588 h 169588"/>
                <a:gd name="connsiteX72" fmla="*/ 20526 w 107519"/>
                <a:gd name="connsiteY72" fmla="*/ 165190 h 169588"/>
                <a:gd name="connsiteX73" fmla="*/ 6679 w 107519"/>
                <a:gd name="connsiteY73" fmla="*/ 163235 h 169588"/>
                <a:gd name="connsiteX74" fmla="*/ 5376 w 107519"/>
                <a:gd name="connsiteY74" fmla="*/ 160954 h 1695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</a:cxnLst>
              <a:rect l="l" t="t" r="r" b="b"/>
              <a:pathLst>
                <a:path w="107519" h="169588">
                  <a:moveTo>
                    <a:pt x="5376" y="160954"/>
                  </a:moveTo>
                  <a:lnTo>
                    <a:pt x="6516" y="158999"/>
                  </a:lnTo>
                  <a:lnTo>
                    <a:pt x="11566" y="158674"/>
                  </a:lnTo>
                  <a:lnTo>
                    <a:pt x="15314" y="158022"/>
                  </a:lnTo>
                  <a:lnTo>
                    <a:pt x="15639" y="150854"/>
                  </a:lnTo>
                  <a:lnTo>
                    <a:pt x="13196" y="146618"/>
                  </a:lnTo>
                  <a:lnTo>
                    <a:pt x="7331" y="144826"/>
                  </a:lnTo>
                  <a:lnTo>
                    <a:pt x="6679" y="138799"/>
                  </a:lnTo>
                  <a:lnTo>
                    <a:pt x="2932" y="129187"/>
                  </a:lnTo>
                  <a:lnTo>
                    <a:pt x="0" y="125929"/>
                  </a:lnTo>
                  <a:lnTo>
                    <a:pt x="163" y="123648"/>
                  </a:lnTo>
                  <a:lnTo>
                    <a:pt x="2444" y="122182"/>
                  </a:lnTo>
                  <a:lnTo>
                    <a:pt x="2118" y="110778"/>
                  </a:lnTo>
                  <a:lnTo>
                    <a:pt x="4561" y="107357"/>
                  </a:lnTo>
                  <a:lnTo>
                    <a:pt x="4724" y="101493"/>
                  </a:lnTo>
                  <a:lnTo>
                    <a:pt x="6842" y="97420"/>
                  </a:lnTo>
                  <a:lnTo>
                    <a:pt x="6191" y="92370"/>
                  </a:lnTo>
                  <a:lnTo>
                    <a:pt x="14336" y="80314"/>
                  </a:lnTo>
                  <a:lnTo>
                    <a:pt x="19549" y="77056"/>
                  </a:lnTo>
                  <a:lnTo>
                    <a:pt x="19549" y="72006"/>
                  </a:lnTo>
                  <a:lnTo>
                    <a:pt x="21830" y="66304"/>
                  </a:lnTo>
                  <a:lnTo>
                    <a:pt x="19549" y="59951"/>
                  </a:lnTo>
                  <a:lnTo>
                    <a:pt x="15802" y="56529"/>
                  </a:lnTo>
                  <a:lnTo>
                    <a:pt x="15802" y="51968"/>
                  </a:lnTo>
                  <a:lnTo>
                    <a:pt x="13684" y="46592"/>
                  </a:lnTo>
                  <a:lnTo>
                    <a:pt x="15639" y="38610"/>
                  </a:lnTo>
                  <a:lnTo>
                    <a:pt x="15314" y="28998"/>
                  </a:lnTo>
                  <a:lnTo>
                    <a:pt x="12381" y="21830"/>
                  </a:lnTo>
                  <a:lnTo>
                    <a:pt x="9774" y="19549"/>
                  </a:lnTo>
                  <a:lnTo>
                    <a:pt x="7983" y="11567"/>
                  </a:lnTo>
                  <a:lnTo>
                    <a:pt x="8797" y="5865"/>
                  </a:lnTo>
                  <a:lnTo>
                    <a:pt x="17594" y="5376"/>
                  </a:lnTo>
                  <a:lnTo>
                    <a:pt x="36492" y="5376"/>
                  </a:lnTo>
                  <a:lnTo>
                    <a:pt x="38772" y="4399"/>
                  </a:lnTo>
                  <a:lnTo>
                    <a:pt x="51968" y="4399"/>
                  </a:lnTo>
                  <a:lnTo>
                    <a:pt x="61579" y="2932"/>
                  </a:lnTo>
                  <a:lnTo>
                    <a:pt x="67444" y="2607"/>
                  </a:lnTo>
                  <a:lnTo>
                    <a:pt x="73309" y="0"/>
                  </a:lnTo>
                  <a:lnTo>
                    <a:pt x="75264" y="489"/>
                  </a:lnTo>
                  <a:lnTo>
                    <a:pt x="77382" y="7331"/>
                  </a:lnTo>
                  <a:lnTo>
                    <a:pt x="79500" y="9612"/>
                  </a:lnTo>
                  <a:lnTo>
                    <a:pt x="80151" y="13521"/>
                  </a:lnTo>
                  <a:lnTo>
                    <a:pt x="85690" y="18572"/>
                  </a:lnTo>
                  <a:lnTo>
                    <a:pt x="87971" y="21830"/>
                  </a:lnTo>
                  <a:lnTo>
                    <a:pt x="93347" y="25740"/>
                  </a:lnTo>
                  <a:lnTo>
                    <a:pt x="91881" y="32745"/>
                  </a:lnTo>
                  <a:lnTo>
                    <a:pt x="92044" y="42031"/>
                  </a:lnTo>
                  <a:lnTo>
                    <a:pt x="94650" y="43986"/>
                  </a:lnTo>
                  <a:lnTo>
                    <a:pt x="96931" y="44637"/>
                  </a:lnTo>
                  <a:lnTo>
                    <a:pt x="97257" y="53434"/>
                  </a:lnTo>
                  <a:lnTo>
                    <a:pt x="95302" y="57181"/>
                  </a:lnTo>
                  <a:lnTo>
                    <a:pt x="94976" y="60928"/>
                  </a:lnTo>
                  <a:lnTo>
                    <a:pt x="97257" y="62883"/>
                  </a:lnTo>
                  <a:lnTo>
                    <a:pt x="98071" y="67933"/>
                  </a:lnTo>
                  <a:lnTo>
                    <a:pt x="95953" y="71028"/>
                  </a:lnTo>
                  <a:lnTo>
                    <a:pt x="97908" y="74775"/>
                  </a:lnTo>
                  <a:lnTo>
                    <a:pt x="97257" y="83572"/>
                  </a:lnTo>
                  <a:lnTo>
                    <a:pt x="99049" y="87319"/>
                  </a:lnTo>
                  <a:lnTo>
                    <a:pt x="99863" y="102307"/>
                  </a:lnTo>
                  <a:lnTo>
                    <a:pt x="97094" y="107683"/>
                  </a:lnTo>
                  <a:lnTo>
                    <a:pt x="96768" y="110941"/>
                  </a:lnTo>
                  <a:lnTo>
                    <a:pt x="95465" y="117946"/>
                  </a:lnTo>
                  <a:lnTo>
                    <a:pt x="97094" y="123974"/>
                  </a:lnTo>
                  <a:lnTo>
                    <a:pt x="99212" y="130653"/>
                  </a:lnTo>
                  <a:lnTo>
                    <a:pt x="101981" y="131794"/>
                  </a:lnTo>
                  <a:lnTo>
                    <a:pt x="104751" y="134563"/>
                  </a:lnTo>
                  <a:lnTo>
                    <a:pt x="107520" y="138799"/>
                  </a:lnTo>
                  <a:lnTo>
                    <a:pt x="93673" y="140591"/>
                  </a:lnTo>
                  <a:lnTo>
                    <a:pt x="81454" y="146455"/>
                  </a:lnTo>
                  <a:lnTo>
                    <a:pt x="68096" y="157696"/>
                  </a:lnTo>
                  <a:lnTo>
                    <a:pt x="52620" y="158999"/>
                  </a:lnTo>
                  <a:lnTo>
                    <a:pt x="30464" y="169588"/>
                  </a:lnTo>
                  <a:lnTo>
                    <a:pt x="20526" y="165190"/>
                  </a:lnTo>
                  <a:lnTo>
                    <a:pt x="6679" y="163235"/>
                  </a:lnTo>
                  <a:lnTo>
                    <a:pt x="5376" y="160954"/>
                  </a:lnTo>
                  <a:close/>
                </a:path>
              </a:pathLst>
            </a:custGeom>
            <a:solidFill>
              <a:schemeClr val="bg2"/>
            </a:solidFill>
            <a:ln w="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5" name="Forma livre: Forma 114">
              <a:extLst>
                <a:ext uri="{FF2B5EF4-FFF2-40B4-BE49-F238E27FC236}">
                  <a16:creationId xmlns:a16="http://schemas.microsoft.com/office/drawing/2014/main" id="{CC1BEB45-1A14-F444-1530-ED6C14BC8616}"/>
                </a:ext>
              </a:extLst>
            </p:cNvPr>
            <p:cNvSpPr/>
            <p:nvPr/>
          </p:nvSpPr>
          <p:spPr>
            <a:xfrm>
              <a:off x="5987214" y="4657037"/>
              <a:ext cx="53366" cy="143434"/>
            </a:xfrm>
            <a:custGeom>
              <a:avLst/>
              <a:gdLst>
                <a:gd name="connsiteX0" fmla="*/ 28509 w 51641"/>
                <a:gd name="connsiteY0" fmla="*/ 6842 h 138798"/>
                <a:gd name="connsiteX1" fmla="*/ 1955 w 51641"/>
                <a:gd name="connsiteY1" fmla="*/ 0 h 138798"/>
                <a:gd name="connsiteX2" fmla="*/ 0 w 51641"/>
                <a:gd name="connsiteY2" fmla="*/ 489 h 138798"/>
                <a:gd name="connsiteX3" fmla="*/ 2117 w 51641"/>
                <a:gd name="connsiteY3" fmla="*/ 7331 h 138798"/>
                <a:gd name="connsiteX4" fmla="*/ 4235 w 51641"/>
                <a:gd name="connsiteY4" fmla="*/ 9612 h 138798"/>
                <a:gd name="connsiteX5" fmla="*/ 4887 w 51641"/>
                <a:gd name="connsiteY5" fmla="*/ 13521 h 138798"/>
                <a:gd name="connsiteX6" fmla="*/ 10426 w 51641"/>
                <a:gd name="connsiteY6" fmla="*/ 18572 h 138798"/>
                <a:gd name="connsiteX7" fmla="*/ 12707 w 51641"/>
                <a:gd name="connsiteY7" fmla="*/ 21830 h 138798"/>
                <a:gd name="connsiteX8" fmla="*/ 18083 w 51641"/>
                <a:gd name="connsiteY8" fmla="*/ 25740 h 138798"/>
                <a:gd name="connsiteX9" fmla="*/ 16617 w 51641"/>
                <a:gd name="connsiteY9" fmla="*/ 32745 h 138798"/>
                <a:gd name="connsiteX10" fmla="*/ 16780 w 51641"/>
                <a:gd name="connsiteY10" fmla="*/ 42031 h 138798"/>
                <a:gd name="connsiteX11" fmla="*/ 19386 w 51641"/>
                <a:gd name="connsiteY11" fmla="*/ 43986 h 138798"/>
                <a:gd name="connsiteX12" fmla="*/ 21667 w 51641"/>
                <a:gd name="connsiteY12" fmla="*/ 44637 h 138798"/>
                <a:gd name="connsiteX13" fmla="*/ 21992 w 51641"/>
                <a:gd name="connsiteY13" fmla="*/ 53434 h 138798"/>
                <a:gd name="connsiteX14" fmla="*/ 20038 w 51641"/>
                <a:gd name="connsiteY14" fmla="*/ 57181 h 138798"/>
                <a:gd name="connsiteX15" fmla="*/ 19712 w 51641"/>
                <a:gd name="connsiteY15" fmla="*/ 60928 h 138798"/>
                <a:gd name="connsiteX16" fmla="*/ 21992 w 51641"/>
                <a:gd name="connsiteY16" fmla="*/ 62883 h 138798"/>
                <a:gd name="connsiteX17" fmla="*/ 22807 w 51641"/>
                <a:gd name="connsiteY17" fmla="*/ 67933 h 138798"/>
                <a:gd name="connsiteX18" fmla="*/ 20689 w 51641"/>
                <a:gd name="connsiteY18" fmla="*/ 71028 h 138798"/>
                <a:gd name="connsiteX19" fmla="*/ 22644 w 51641"/>
                <a:gd name="connsiteY19" fmla="*/ 74775 h 138798"/>
                <a:gd name="connsiteX20" fmla="*/ 21992 w 51641"/>
                <a:gd name="connsiteY20" fmla="*/ 83572 h 138798"/>
                <a:gd name="connsiteX21" fmla="*/ 23785 w 51641"/>
                <a:gd name="connsiteY21" fmla="*/ 87319 h 138798"/>
                <a:gd name="connsiteX22" fmla="*/ 24599 w 51641"/>
                <a:gd name="connsiteY22" fmla="*/ 102307 h 138798"/>
                <a:gd name="connsiteX23" fmla="*/ 21830 w 51641"/>
                <a:gd name="connsiteY23" fmla="*/ 107683 h 138798"/>
                <a:gd name="connsiteX24" fmla="*/ 21504 w 51641"/>
                <a:gd name="connsiteY24" fmla="*/ 110941 h 138798"/>
                <a:gd name="connsiteX25" fmla="*/ 20201 w 51641"/>
                <a:gd name="connsiteY25" fmla="*/ 117946 h 138798"/>
                <a:gd name="connsiteX26" fmla="*/ 21830 w 51641"/>
                <a:gd name="connsiteY26" fmla="*/ 123974 h 138798"/>
                <a:gd name="connsiteX27" fmla="*/ 23948 w 51641"/>
                <a:gd name="connsiteY27" fmla="*/ 130653 h 138798"/>
                <a:gd name="connsiteX28" fmla="*/ 26717 w 51641"/>
                <a:gd name="connsiteY28" fmla="*/ 131794 h 138798"/>
                <a:gd name="connsiteX29" fmla="*/ 29487 w 51641"/>
                <a:gd name="connsiteY29" fmla="*/ 134563 h 138798"/>
                <a:gd name="connsiteX30" fmla="*/ 32256 w 51641"/>
                <a:gd name="connsiteY30" fmla="*/ 138799 h 138798"/>
                <a:gd name="connsiteX31" fmla="*/ 34374 w 51641"/>
                <a:gd name="connsiteY31" fmla="*/ 138473 h 138798"/>
                <a:gd name="connsiteX32" fmla="*/ 48058 w 51641"/>
                <a:gd name="connsiteY32" fmla="*/ 130002 h 138798"/>
                <a:gd name="connsiteX33" fmla="*/ 50828 w 51641"/>
                <a:gd name="connsiteY33" fmla="*/ 130327 h 138798"/>
                <a:gd name="connsiteX34" fmla="*/ 51642 w 51641"/>
                <a:gd name="connsiteY34" fmla="*/ 125440 h 138798"/>
                <a:gd name="connsiteX35" fmla="*/ 48221 w 51641"/>
                <a:gd name="connsiteY35" fmla="*/ 119576 h 138798"/>
                <a:gd name="connsiteX36" fmla="*/ 47895 w 51641"/>
                <a:gd name="connsiteY36" fmla="*/ 112407 h 138798"/>
                <a:gd name="connsiteX37" fmla="*/ 46266 w 51641"/>
                <a:gd name="connsiteY37" fmla="*/ 106054 h 138798"/>
                <a:gd name="connsiteX38" fmla="*/ 46917 w 51641"/>
                <a:gd name="connsiteY38" fmla="*/ 75427 h 138798"/>
                <a:gd name="connsiteX39" fmla="*/ 47244 w 51641"/>
                <a:gd name="connsiteY39" fmla="*/ 71028 h 138798"/>
                <a:gd name="connsiteX40" fmla="*/ 49850 w 51641"/>
                <a:gd name="connsiteY40" fmla="*/ 67444 h 138798"/>
                <a:gd name="connsiteX41" fmla="*/ 49850 w 51641"/>
                <a:gd name="connsiteY41" fmla="*/ 61417 h 138798"/>
                <a:gd name="connsiteX42" fmla="*/ 47895 w 51641"/>
                <a:gd name="connsiteY42" fmla="*/ 57507 h 138798"/>
                <a:gd name="connsiteX43" fmla="*/ 48221 w 51641"/>
                <a:gd name="connsiteY43" fmla="*/ 50339 h 138798"/>
                <a:gd name="connsiteX44" fmla="*/ 45940 w 51641"/>
                <a:gd name="connsiteY44" fmla="*/ 39587 h 138798"/>
                <a:gd name="connsiteX45" fmla="*/ 40890 w 51641"/>
                <a:gd name="connsiteY45" fmla="*/ 26066 h 138798"/>
                <a:gd name="connsiteX46" fmla="*/ 38121 w 51641"/>
                <a:gd name="connsiteY46" fmla="*/ 24599 h 138798"/>
                <a:gd name="connsiteX47" fmla="*/ 34862 w 51641"/>
                <a:gd name="connsiteY47" fmla="*/ 20852 h 138798"/>
                <a:gd name="connsiteX48" fmla="*/ 28509 w 51641"/>
                <a:gd name="connsiteY48" fmla="*/ 18083 h 138798"/>
                <a:gd name="connsiteX49" fmla="*/ 27042 w 51641"/>
                <a:gd name="connsiteY49" fmla="*/ 10101 h 138798"/>
                <a:gd name="connsiteX50" fmla="*/ 28509 w 51641"/>
                <a:gd name="connsiteY50" fmla="*/ 6842 h 1387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</a:cxnLst>
              <a:rect l="l" t="t" r="r" b="b"/>
              <a:pathLst>
                <a:path w="51641" h="138798">
                  <a:moveTo>
                    <a:pt x="28509" y="6842"/>
                  </a:moveTo>
                  <a:lnTo>
                    <a:pt x="1955" y="0"/>
                  </a:lnTo>
                  <a:lnTo>
                    <a:pt x="0" y="489"/>
                  </a:lnTo>
                  <a:lnTo>
                    <a:pt x="2117" y="7331"/>
                  </a:lnTo>
                  <a:lnTo>
                    <a:pt x="4235" y="9612"/>
                  </a:lnTo>
                  <a:lnTo>
                    <a:pt x="4887" y="13521"/>
                  </a:lnTo>
                  <a:lnTo>
                    <a:pt x="10426" y="18572"/>
                  </a:lnTo>
                  <a:lnTo>
                    <a:pt x="12707" y="21830"/>
                  </a:lnTo>
                  <a:lnTo>
                    <a:pt x="18083" y="25740"/>
                  </a:lnTo>
                  <a:lnTo>
                    <a:pt x="16617" y="32745"/>
                  </a:lnTo>
                  <a:lnTo>
                    <a:pt x="16780" y="42031"/>
                  </a:lnTo>
                  <a:lnTo>
                    <a:pt x="19386" y="43986"/>
                  </a:lnTo>
                  <a:lnTo>
                    <a:pt x="21667" y="44637"/>
                  </a:lnTo>
                  <a:lnTo>
                    <a:pt x="21992" y="53434"/>
                  </a:lnTo>
                  <a:lnTo>
                    <a:pt x="20038" y="57181"/>
                  </a:lnTo>
                  <a:lnTo>
                    <a:pt x="19712" y="60928"/>
                  </a:lnTo>
                  <a:lnTo>
                    <a:pt x="21992" y="62883"/>
                  </a:lnTo>
                  <a:lnTo>
                    <a:pt x="22807" y="67933"/>
                  </a:lnTo>
                  <a:lnTo>
                    <a:pt x="20689" y="71028"/>
                  </a:lnTo>
                  <a:lnTo>
                    <a:pt x="22644" y="74775"/>
                  </a:lnTo>
                  <a:lnTo>
                    <a:pt x="21992" y="83572"/>
                  </a:lnTo>
                  <a:lnTo>
                    <a:pt x="23785" y="87319"/>
                  </a:lnTo>
                  <a:lnTo>
                    <a:pt x="24599" y="102307"/>
                  </a:lnTo>
                  <a:lnTo>
                    <a:pt x="21830" y="107683"/>
                  </a:lnTo>
                  <a:lnTo>
                    <a:pt x="21504" y="110941"/>
                  </a:lnTo>
                  <a:lnTo>
                    <a:pt x="20201" y="117946"/>
                  </a:lnTo>
                  <a:lnTo>
                    <a:pt x="21830" y="123974"/>
                  </a:lnTo>
                  <a:lnTo>
                    <a:pt x="23948" y="130653"/>
                  </a:lnTo>
                  <a:lnTo>
                    <a:pt x="26717" y="131794"/>
                  </a:lnTo>
                  <a:lnTo>
                    <a:pt x="29487" y="134563"/>
                  </a:lnTo>
                  <a:lnTo>
                    <a:pt x="32256" y="138799"/>
                  </a:lnTo>
                  <a:lnTo>
                    <a:pt x="34374" y="138473"/>
                  </a:lnTo>
                  <a:lnTo>
                    <a:pt x="48058" y="130002"/>
                  </a:lnTo>
                  <a:lnTo>
                    <a:pt x="50828" y="130327"/>
                  </a:lnTo>
                  <a:lnTo>
                    <a:pt x="51642" y="125440"/>
                  </a:lnTo>
                  <a:lnTo>
                    <a:pt x="48221" y="119576"/>
                  </a:lnTo>
                  <a:lnTo>
                    <a:pt x="47895" y="112407"/>
                  </a:lnTo>
                  <a:lnTo>
                    <a:pt x="46266" y="106054"/>
                  </a:lnTo>
                  <a:lnTo>
                    <a:pt x="46917" y="75427"/>
                  </a:lnTo>
                  <a:lnTo>
                    <a:pt x="47244" y="71028"/>
                  </a:lnTo>
                  <a:lnTo>
                    <a:pt x="49850" y="67444"/>
                  </a:lnTo>
                  <a:lnTo>
                    <a:pt x="49850" y="61417"/>
                  </a:lnTo>
                  <a:lnTo>
                    <a:pt x="47895" y="57507"/>
                  </a:lnTo>
                  <a:lnTo>
                    <a:pt x="48221" y="50339"/>
                  </a:lnTo>
                  <a:lnTo>
                    <a:pt x="45940" y="39587"/>
                  </a:lnTo>
                  <a:lnTo>
                    <a:pt x="40890" y="26066"/>
                  </a:lnTo>
                  <a:lnTo>
                    <a:pt x="38121" y="24599"/>
                  </a:lnTo>
                  <a:lnTo>
                    <a:pt x="34862" y="20852"/>
                  </a:lnTo>
                  <a:lnTo>
                    <a:pt x="28509" y="18083"/>
                  </a:lnTo>
                  <a:lnTo>
                    <a:pt x="27042" y="10101"/>
                  </a:lnTo>
                  <a:lnTo>
                    <a:pt x="28509" y="6842"/>
                  </a:lnTo>
                  <a:close/>
                </a:path>
              </a:pathLst>
            </a:custGeom>
            <a:solidFill>
              <a:schemeClr val="bg2"/>
            </a:solidFill>
            <a:ln w="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6" name="Forma livre: Forma 115">
              <a:extLst>
                <a:ext uri="{FF2B5EF4-FFF2-40B4-BE49-F238E27FC236}">
                  <a16:creationId xmlns:a16="http://schemas.microsoft.com/office/drawing/2014/main" id="{47A76F6B-21D4-F7C5-5372-3E426B91FC84}"/>
                </a:ext>
              </a:extLst>
            </p:cNvPr>
            <p:cNvSpPr/>
            <p:nvPr/>
          </p:nvSpPr>
          <p:spPr>
            <a:xfrm>
              <a:off x="6015161" y="4619999"/>
              <a:ext cx="82997" cy="173064"/>
            </a:xfrm>
            <a:custGeom>
              <a:avLst/>
              <a:gdLst>
                <a:gd name="connsiteX0" fmla="*/ 37795 w 80314"/>
                <a:gd name="connsiteY0" fmla="*/ 9286 h 167470"/>
                <a:gd name="connsiteX1" fmla="*/ 37795 w 80314"/>
                <a:gd name="connsiteY1" fmla="*/ 13521 h 167470"/>
                <a:gd name="connsiteX2" fmla="*/ 32256 w 80314"/>
                <a:gd name="connsiteY2" fmla="*/ 20038 h 167470"/>
                <a:gd name="connsiteX3" fmla="*/ 27858 w 80314"/>
                <a:gd name="connsiteY3" fmla="*/ 20364 h 167470"/>
                <a:gd name="connsiteX4" fmla="*/ 19712 w 80314"/>
                <a:gd name="connsiteY4" fmla="*/ 24436 h 167470"/>
                <a:gd name="connsiteX5" fmla="*/ 16943 w 80314"/>
                <a:gd name="connsiteY5" fmla="*/ 23296 h 167470"/>
                <a:gd name="connsiteX6" fmla="*/ 11893 w 80314"/>
                <a:gd name="connsiteY6" fmla="*/ 25740 h 167470"/>
                <a:gd name="connsiteX7" fmla="*/ 12381 w 80314"/>
                <a:gd name="connsiteY7" fmla="*/ 30464 h 167470"/>
                <a:gd name="connsiteX8" fmla="*/ 8145 w 80314"/>
                <a:gd name="connsiteY8" fmla="*/ 33396 h 167470"/>
                <a:gd name="connsiteX9" fmla="*/ 9123 w 80314"/>
                <a:gd name="connsiteY9" fmla="*/ 38772 h 167470"/>
                <a:gd name="connsiteX10" fmla="*/ 2444 w 80314"/>
                <a:gd name="connsiteY10" fmla="*/ 40239 h 167470"/>
                <a:gd name="connsiteX11" fmla="*/ 0 w 80314"/>
                <a:gd name="connsiteY11" fmla="*/ 45940 h 167470"/>
                <a:gd name="connsiteX12" fmla="*/ 1467 w 80314"/>
                <a:gd name="connsiteY12" fmla="*/ 53923 h 167470"/>
                <a:gd name="connsiteX13" fmla="*/ 7820 w 80314"/>
                <a:gd name="connsiteY13" fmla="*/ 56692 h 167470"/>
                <a:gd name="connsiteX14" fmla="*/ 11078 w 80314"/>
                <a:gd name="connsiteY14" fmla="*/ 60439 h 167470"/>
                <a:gd name="connsiteX15" fmla="*/ 13847 w 80314"/>
                <a:gd name="connsiteY15" fmla="*/ 61906 h 167470"/>
                <a:gd name="connsiteX16" fmla="*/ 18898 w 80314"/>
                <a:gd name="connsiteY16" fmla="*/ 75427 h 167470"/>
                <a:gd name="connsiteX17" fmla="*/ 21178 w 80314"/>
                <a:gd name="connsiteY17" fmla="*/ 86179 h 167470"/>
                <a:gd name="connsiteX18" fmla="*/ 20853 w 80314"/>
                <a:gd name="connsiteY18" fmla="*/ 93347 h 167470"/>
                <a:gd name="connsiteX19" fmla="*/ 22808 w 80314"/>
                <a:gd name="connsiteY19" fmla="*/ 97257 h 167470"/>
                <a:gd name="connsiteX20" fmla="*/ 22808 w 80314"/>
                <a:gd name="connsiteY20" fmla="*/ 103284 h 167470"/>
                <a:gd name="connsiteX21" fmla="*/ 20201 w 80314"/>
                <a:gd name="connsiteY21" fmla="*/ 106868 h 167470"/>
                <a:gd name="connsiteX22" fmla="*/ 19875 w 80314"/>
                <a:gd name="connsiteY22" fmla="*/ 111267 h 167470"/>
                <a:gd name="connsiteX23" fmla="*/ 19224 w 80314"/>
                <a:gd name="connsiteY23" fmla="*/ 141894 h 167470"/>
                <a:gd name="connsiteX24" fmla="*/ 20853 w 80314"/>
                <a:gd name="connsiteY24" fmla="*/ 148247 h 167470"/>
                <a:gd name="connsiteX25" fmla="*/ 21178 w 80314"/>
                <a:gd name="connsiteY25" fmla="*/ 155415 h 167470"/>
                <a:gd name="connsiteX26" fmla="*/ 24599 w 80314"/>
                <a:gd name="connsiteY26" fmla="*/ 161280 h 167470"/>
                <a:gd name="connsiteX27" fmla="*/ 23785 w 80314"/>
                <a:gd name="connsiteY27" fmla="*/ 166167 h 167470"/>
                <a:gd name="connsiteX28" fmla="*/ 32908 w 80314"/>
                <a:gd name="connsiteY28" fmla="*/ 167471 h 167470"/>
                <a:gd name="connsiteX29" fmla="*/ 50502 w 80314"/>
                <a:gd name="connsiteY29" fmla="*/ 161443 h 167470"/>
                <a:gd name="connsiteX30" fmla="*/ 51479 w 80314"/>
                <a:gd name="connsiteY30" fmla="*/ 161606 h 167470"/>
                <a:gd name="connsiteX31" fmla="*/ 50502 w 80314"/>
                <a:gd name="connsiteY31" fmla="*/ 156556 h 167470"/>
                <a:gd name="connsiteX32" fmla="*/ 51642 w 80314"/>
                <a:gd name="connsiteY32" fmla="*/ 143686 h 167470"/>
                <a:gd name="connsiteX33" fmla="*/ 50828 w 80314"/>
                <a:gd name="connsiteY33" fmla="*/ 139450 h 167470"/>
                <a:gd name="connsiteX34" fmla="*/ 51154 w 80314"/>
                <a:gd name="connsiteY34" fmla="*/ 135703 h 167470"/>
                <a:gd name="connsiteX35" fmla="*/ 49851 w 80314"/>
                <a:gd name="connsiteY35" fmla="*/ 124951 h 167470"/>
                <a:gd name="connsiteX36" fmla="*/ 50828 w 80314"/>
                <a:gd name="connsiteY36" fmla="*/ 121042 h 167470"/>
                <a:gd name="connsiteX37" fmla="*/ 50665 w 80314"/>
                <a:gd name="connsiteY37" fmla="*/ 118109 h 167470"/>
                <a:gd name="connsiteX38" fmla="*/ 49688 w 80314"/>
                <a:gd name="connsiteY38" fmla="*/ 116317 h 167470"/>
                <a:gd name="connsiteX39" fmla="*/ 50176 w 80314"/>
                <a:gd name="connsiteY39" fmla="*/ 114362 h 167470"/>
                <a:gd name="connsiteX40" fmla="*/ 49688 w 80314"/>
                <a:gd name="connsiteY40" fmla="*/ 110127 h 167470"/>
                <a:gd name="connsiteX41" fmla="*/ 49199 w 80314"/>
                <a:gd name="connsiteY41" fmla="*/ 108335 h 167470"/>
                <a:gd name="connsiteX42" fmla="*/ 49688 w 80314"/>
                <a:gd name="connsiteY42" fmla="*/ 102633 h 167470"/>
                <a:gd name="connsiteX43" fmla="*/ 50176 w 80314"/>
                <a:gd name="connsiteY43" fmla="*/ 99049 h 167470"/>
                <a:gd name="connsiteX44" fmla="*/ 49851 w 80314"/>
                <a:gd name="connsiteY44" fmla="*/ 94325 h 167470"/>
                <a:gd name="connsiteX45" fmla="*/ 51805 w 80314"/>
                <a:gd name="connsiteY45" fmla="*/ 91392 h 167470"/>
                <a:gd name="connsiteX46" fmla="*/ 55878 w 80314"/>
                <a:gd name="connsiteY46" fmla="*/ 89763 h 167470"/>
                <a:gd name="connsiteX47" fmla="*/ 58810 w 80314"/>
                <a:gd name="connsiteY47" fmla="*/ 89274 h 167470"/>
                <a:gd name="connsiteX48" fmla="*/ 61254 w 80314"/>
                <a:gd name="connsiteY48" fmla="*/ 87319 h 167470"/>
                <a:gd name="connsiteX49" fmla="*/ 63535 w 80314"/>
                <a:gd name="connsiteY49" fmla="*/ 82595 h 167470"/>
                <a:gd name="connsiteX50" fmla="*/ 67119 w 80314"/>
                <a:gd name="connsiteY50" fmla="*/ 76404 h 167470"/>
                <a:gd name="connsiteX51" fmla="*/ 68422 w 80314"/>
                <a:gd name="connsiteY51" fmla="*/ 72658 h 167470"/>
                <a:gd name="connsiteX52" fmla="*/ 72006 w 80314"/>
                <a:gd name="connsiteY52" fmla="*/ 69399 h 167470"/>
                <a:gd name="connsiteX53" fmla="*/ 75427 w 80314"/>
                <a:gd name="connsiteY53" fmla="*/ 69725 h 167470"/>
                <a:gd name="connsiteX54" fmla="*/ 76893 w 80314"/>
                <a:gd name="connsiteY54" fmla="*/ 67282 h 167470"/>
                <a:gd name="connsiteX55" fmla="*/ 71354 w 80314"/>
                <a:gd name="connsiteY55" fmla="*/ 61417 h 167470"/>
                <a:gd name="connsiteX56" fmla="*/ 71843 w 80314"/>
                <a:gd name="connsiteY56" fmla="*/ 59136 h 167470"/>
                <a:gd name="connsiteX57" fmla="*/ 73798 w 80314"/>
                <a:gd name="connsiteY57" fmla="*/ 55878 h 167470"/>
                <a:gd name="connsiteX58" fmla="*/ 79337 w 80314"/>
                <a:gd name="connsiteY58" fmla="*/ 55552 h 167470"/>
                <a:gd name="connsiteX59" fmla="*/ 80315 w 80314"/>
                <a:gd name="connsiteY59" fmla="*/ 52620 h 167470"/>
                <a:gd name="connsiteX60" fmla="*/ 77708 w 80314"/>
                <a:gd name="connsiteY60" fmla="*/ 43334 h 167470"/>
                <a:gd name="connsiteX61" fmla="*/ 77545 w 80314"/>
                <a:gd name="connsiteY61" fmla="*/ 37143 h 167470"/>
                <a:gd name="connsiteX62" fmla="*/ 70540 w 80314"/>
                <a:gd name="connsiteY62" fmla="*/ 31604 h 167470"/>
                <a:gd name="connsiteX63" fmla="*/ 69399 w 80314"/>
                <a:gd name="connsiteY63" fmla="*/ 27532 h 167470"/>
                <a:gd name="connsiteX64" fmla="*/ 70540 w 80314"/>
                <a:gd name="connsiteY64" fmla="*/ 22156 h 167470"/>
                <a:gd name="connsiteX65" fmla="*/ 71192 w 80314"/>
                <a:gd name="connsiteY65" fmla="*/ 21667 h 167470"/>
                <a:gd name="connsiteX66" fmla="*/ 65653 w 80314"/>
                <a:gd name="connsiteY66" fmla="*/ 14499 h 167470"/>
                <a:gd name="connsiteX67" fmla="*/ 59788 w 80314"/>
                <a:gd name="connsiteY67" fmla="*/ 13196 h 167470"/>
                <a:gd name="connsiteX68" fmla="*/ 55063 w 80314"/>
                <a:gd name="connsiteY68" fmla="*/ 6842 h 167470"/>
                <a:gd name="connsiteX69" fmla="*/ 46755 w 80314"/>
                <a:gd name="connsiteY69" fmla="*/ 0 h 167470"/>
                <a:gd name="connsiteX70" fmla="*/ 44474 w 80314"/>
                <a:gd name="connsiteY70" fmla="*/ 4561 h 167470"/>
                <a:gd name="connsiteX71" fmla="*/ 45289 w 80314"/>
                <a:gd name="connsiteY71" fmla="*/ 7494 h 167470"/>
                <a:gd name="connsiteX72" fmla="*/ 40565 w 80314"/>
                <a:gd name="connsiteY72" fmla="*/ 8960 h 167470"/>
                <a:gd name="connsiteX73" fmla="*/ 37795 w 80314"/>
                <a:gd name="connsiteY73" fmla="*/ 9286 h 167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</a:cxnLst>
              <a:rect l="l" t="t" r="r" b="b"/>
              <a:pathLst>
                <a:path w="80314" h="167470">
                  <a:moveTo>
                    <a:pt x="37795" y="9286"/>
                  </a:moveTo>
                  <a:lnTo>
                    <a:pt x="37795" y="13521"/>
                  </a:lnTo>
                  <a:lnTo>
                    <a:pt x="32256" y="20038"/>
                  </a:lnTo>
                  <a:lnTo>
                    <a:pt x="27858" y="20364"/>
                  </a:lnTo>
                  <a:lnTo>
                    <a:pt x="19712" y="24436"/>
                  </a:lnTo>
                  <a:lnTo>
                    <a:pt x="16943" y="23296"/>
                  </a:lnTo>
                  <a:lnTo>
                    <a:pt x="11893" y="25740"/>
                  </a:lnTo>
                  <a:lnTo>
                    <a:pt x="12381" y="30464"/>
                  </a:lnTo>
                  <a:lnTo>
                    <a:pt x="8145" y="33396"/>
                  </a:lnTo>
                  <a:lnTo>
                    <a:pt x="9123" y="38772"/>
                  </a:lnTo>
                  <a:lnTo>
                    <a:pt x="2444" y="40239"/>
                  </a:lnTo>
                  <a:lnTo>
                    <a:pt x="0" y="45940"/>
                  </a:lnTo>
                  <a:lnTo>
                    <a:pt x="1467" y="53923"/>
                  </a:lnTo>
                  <a:lnTo>
                    <a:pt x="7820" y="56692"/>
                  </a:lnTo>
                  <a:lnTo>
                    <a:pt x="11078" y="60439"/>
                  </a:lnTo>
                  <a:lnTo>
                    <a:pt x="13847" y="61906"/>
                  </a:lnTo>
                  <a:lnTo>
                    <a:pt x="18898" y="75427"/>
                  </a:lnTo>
                  <a:lnTo>
                    <a:pt x="21178" y="86179"/>
                  </a:lnTo>
                  <a:lnTo>
                    <a:pt x="20853" y="93347"/>
                  </a:lnTo>
                  <a:lnTo>
                    <a:pt x="22808" y="97257"/>
                  </a:lnTo>
                  <a:lnTo>
                    <a:pt x="22808" y="103284"/>
                  </a:lnTo>
                  <a:lnTo>
                    <a:pt x="20201" y="106868"/>
                  </a:lnTo>
                  <a:lnTo>
                    <a:pt x="19875" y="111267"/>
                  </a:lnTo>
                  <a:lnTo>
                    <a:pt x="19224" y="141894"/>
                  </a:lnTo>
                  <a:lnTo>
                    <a:pt x="20853" y="148247"/>
                  </a:lnTo>
                  <a:lnTo>
                    <a:pt x="21178" y="155415"/>
                  </a:lnTo>
                  <a:lnTo>
                    <a:pt x="24599" y="161280"/>
                  </a:lnTo>
                  <a:lnTo>
                    <a:pt x="23785" y="166167"/>
                  </a:lnTo>
                  <a:lnTo>
                    <a:pt x="32908" y="167471"/>
                  </a:lnTo>
                  <a:lnTo>
                    <a:pt x="50502" y="161443"/>
                  </a:lnTo>
                  <a:lnTo>
                    <a:pt x="51479" y="161606"/>
                  </a:lnTo>
                  <a:lnTo>
                    <a:pt x="50502" y="156556"/>
                  </a:lnTo>
                  <a:lnTo>
                    <a:pt x="51642" y="143686"/>
                  </a:lnTo>
                  <a:lnTo>
                    <a:pt x="50828" y="139450"/>
                  </a:lnTo>
                  <a:lnTo>
                    <a:pt x="51154" y="135703"/>
                  </a:lnTo>
                  <a:lnTo>
                    <a:pt x="49851" y="124951"/>
                  </a:lnTo>
                  <a:lnTo>
                    <a:pt x="50828" y="121042"/>
                  </a:lnTo>
                  <a:lnTo>
                    <a:pt x="50665" y="118109"/>
                  </a:lnTo>
                  <a:lnTo>
                    <a:pt x="49688" y="116317"/>
                  </a:lnTo>
                  <a:lnTo>
                    <a:pt x="50176" y="114362"/>
                  </a:lnTo>
                  <a:lnTo>
                    <a:pt x="49688" y="110127"/>
                  </a:lnTo>
                  <a:lnTo>
                    <a:pt x="49199" y="108335"/>
                  </a:lnTo>
                  <a:lnTo>
                    <a:pt x="49688" y="102633"/>
                  </a:lnTo>
                  <a:lnTo>
                    <a:pt x="50176" y="99049"/>
                  </a:lnTo>
                  <a:lnTo>
                    <a:pt x="49851" y="94325"/>
                  </a:lnTo>
                  <a:lnTo>
                    <a:pt x="51805" y="91392"/>
                  </a:lnTo>
                  <a:lnTo>
                    <a:pt x="55878" y="89763"/>
                  </a:lnTo>
                  <a:lnTo>
                    <a:pt x="58810" y="89274"/>
                  </a:lnTo>
                  <a:lnTo>
                    <a:pt x="61254" y="87319"/>
                  </a:lnTo>
                  <a:lnTo>
                    <a:pt x="63535" y="82595"/>
                  </a:lnTo>
                  <a:lnTo>
                    <a:pt x="67119" y="76404"/>
                  </a:lnTo>
                  <a:lnTo>
                    <a:pt x="68422" y="72658"/>
                  </a:lnTo>
                  <a:lnTo>
                    <a:pt x="72006" y="69399"/>
                  </a:lnTo>
                  <a:lnTo>
                    <a:pt x="75427" y="69725"/>
                  </a:lnTo>
                  <a:lnTo>
                    <a:pt x="76893" y="67282"/>
                  </a:lnTo>
                  <a:lnTo>
                    <a:pt x="71354" y="61417"/>
                  </a:lnTo>
                  <a:lnTo>
                    <a:pt x="71843" y="59136"/>
                  </a:lnTo>
                  <a:lnTo>
                    <a:pt x="73798" y="55878"/>
                  </a:lnTo>
                  <a:lnTo>
                    <a:pt x="79337" y="55552"/>
                  </a:lnTo>
                  <a:lnTo>
                    <a:pt x="80315" y="52620"/>
                  </a:lnTo>
                  <a:lnTo>
                    <a:pt x="77708" y="43334"/>
                  </a:lnTo>
                  <a:lnTo>
                    <a:pt x="77545" y="37143"/>
                  </a:lnTo>
                  <a:lnTo>
                    <a:pt x="70540" y="31604"/>
                  </a:lnTo>
                  <a:lnTo>
                    <a:pt x="69399" y="27532"/>
                  </a:lnTo>
                  <a:lnTo>
                    <a:pt x="70540" y="22156"/>
                  </a:lnTo>
                  <a:lnTo>
                    <a:pt x="71192" y="21667"/>
                  </a:lnTo>
                  <a:lnTo>
                    <a:pt x="65653" y="14499"/>
                  </a:lnTo>
                  <a:lnTo>
                    <a:pt x="59788" y="13196"/>
                  </a:lnTo>
                  <a:lnTo>
                    <a:pt x="55063" y="6842"/>
                  </a:lnTo>
                  <a:lnTo>
                    <a:pt x="46755" y="0"/>
                  </a:lnTo>
                  <a:lnTo>
                    <a:pt x="44474" y="4561"/>
                  </a:lnTo>
                  <a:lnTo>
                    <a:pt x="45289" y="7494"/>
                  </a:lnTo>
                  <a:lnTo>
                    <a:pt x="40565" y="8960"/>
                  </a:lnTo>
                  <a:lnTo>
                    <a:pt x="37795" y="9286"/>
                  </a:lnTo>
                  <a:close/>
                </a:path>
              </a:pathLst>
            </a:custGeom>
            <a:solidFill>
              <a:schemeClr val="bg2"/>
            </a:solidFill>
            <a:ln w="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7" name="Forma livre: Forma 116">
              <a:extLst>
                <a:ext uri="{FF2B5EF4-FFF2-40B4-BE49-F238E27FC236}">
                  <a16:creationId xmlns:a16="http://schemas.microsoft.com/office/drawing/2014/main" id="{B9963BF1-42A8-218E-96B9-721760DC6BAF}"/>
                </a:ext>
              </a:extLst>
            </p:cNvPr>
            <p:cNvSpPr/>
            <p:nvPr/>
          </p:nvSpPr>
          <p:spPr>
            <a:xfrm>
              <a:off x="6306576" y="4322187"/>
              <a:ext cx="308249" cy="441078"/>
            </a:xfrm>
            <a:custGeom>
              <a:avLst/>
              <a:gdLst>
                <a:gd name="connsiteX0" fmla="*/ 61417 w 298286"/>
                <a:gd name="connsiteY0" fmla="*/ 12055 h 426822"/>
                <a:gd name="connsiteX1" fmla="*/ 90414 w 298286"/>
                <a:gd name="connsiteY1" fmla="*/ 0 h 426822"/>
                <a:gd name="connsiteX2" fmla="*/ 296494 w 298286"/>
                <a:gd name="connsiteY2" fmla="*/ 104751 h 426822"/>
                <a:gd name="connsiteX3" fmla="*/ 298287 w 298286"/>
                <a:gd name="connsiteY3" fmla="*/ 205917 h 426822"/>
                <a:gd name="connsiteX4" fmla="*/ 294376 w 298286"/>
                <a:gd name="connsiteY4" fmla="*/ 207384 h 426822"/>
                <a:gd name="connsiteX5" fmla="*/ 289652 w 298286"/>
                <a:gd name="connsiteY5" fmla="*/ 210316 h 426822"/>
                <a:gd name="connsiteX6" fmla="*/ 285254 w 298286"/>
                <a:gd name="connsiteY6" fmla="*/ 207546 h 426822"/>
                <a:gd name="connsiteX7" fmla="*/ 278900 w 298286"/>
                <a:gd name="connsiteY7" fmla="*/ 207546 h 426822"/>
                <a:gd name="connsiteX8" fmla="*/ 274176 w 298286"/>
                <a:gd name="connsiteY8" fmla="*/ 211293 h 426822"/>
                <a:gd name="connsiteX9" fmla="*/ 274176 w 298286"/>
                <a:gd name="connsiteY9" fmla="*/ 217647 h 426822"/>
                <a:gd name="connsiteX10" fmla="*/ 276946 w 298286"/>
                <a:gd name="connsiteY10" fmla="*/ 221068 h 426822"/>
                <a:gd name="connsiteX11" fmla="*/ 274013 w 298286"/>
                <a:gd name="connsiteY11" fmla="*/ 226933 h 426822"/>
                <a:gd name="connsiteX12" fmla="*/ 265705 w 298286"/>
                <a:gd name="connsiteY12" fmla="*/ 238010 h 426822"/>
                <a:gd name="connsiteX13" fmla="*/ 262935 w 298286"/>
                <a:gd name="connsiteY13" fmla="*/ 238010 h 426822"/>
                <a:gd name="connsiteX14" fmla="*/ 258537 w 298286"/>
                <a:gd name="connsiteY14" fmla="*/ 242246 h 426822"/>
                <a:gd name="connsiteX15" fmla="*/ 258537 w 298286"/>
                <a:gd name="connsiteY15" fmla="*/ 245993 h 426822"/>
                <a:gd name="connsiteX16" fmla="*/ 261795 w 298286"/>
                <a:gd name="connsiteY16" fmla="*/ 248925 h 426822"/>
                <a:gd name="connsiteX17" fmla="*/ 259025 w 298286"/>
                <a:gd name="connsiteY17" fmla="*/ 254301 h 426822"/>
                <a:gd name="connsiteX18" fmla="*/ 253812 w 298286"/>
                <a:gd name="connsiteY18" fmla="*/ 257560 h 426822"/>
                <a:gd name="connsiteX19" fmla="*/ 252835 w 298286"/>
                <a:gd name="connsiteY19" fmla="*/ 260981 h 426822"/>
                <a:gd name="connsiteX20" fmla="*/ 257559 w 298286"/>
                <a:gd name="connsiteY20" fmla="*/ 263750 h 426822"/>
                <a:gd name="connsiteX21" fmla="*/ 258048 w 298286"/>
                <a:gd name="connsiteY21" fmla="*/ 268963 h 426822"/>
                <a:gd name="connsiteX22" fmla="*/ 255278 w 298286"/>
                <a:gd name="connsiteY22" fmla="*/ 273199 h 426822"/>
                <a:gd name="connsiteX23" fmla="*/ 247133 w 298286"/>
                <a:gd name="connsiteY23" fmla="*/ 281833 h 426822"/>
                <a:gd name="connsiteX24" fmla="*/ 247133 w 298286"/>
                <a:gd name="connsiteY24" fmla="*/ 287535 h 426822"/>
                <a:gd name="connsiteX25" fmla="*/ 250554 w 298286"/>
                <a:gd name="connsiteY25" fmla="*/ 290956 h 426822"/>
                <a:gd name="connsiteX26" fmla="*/ 256744 w 298286"/>
                <a:gd name="connsiteY26" fmla="*/ 286557 h 426822"/>
                <a:gd name="connsiteX27" fmla="*/ 259677 w 298286"/>
                <a:gd name="connsiteY27" fmla="*/ 287209 h 426822"/>
                <a:gd name="connsiteX28" fmla="*/ 259677 w 298286"/>
                <a:gd name="connsiteY28" fmla="*/ 290956 h 426822"/>
                <a:gd name="connsiteX29" fmla="*/ 256744 w 298286"/>
                <a:gd name="connsiteY29" fmla="*/ 292911 h 426822"/>
                <a:gd name="connsiteX30" fmla="*/ 260166 w 298286"/>
                <a:gd name="connsiteY30" fmla="*/ 295354 h 426822"/>
                <a:gd name="connsiteX31" fmla="*/ 258211 w 298286"/>
                <a:gd name="connsiteY31" fmla="*/ 298613 h 426822"/>
                <a:gd name="connsiteX32" fmla="*/ 260655 w 298286"/>
                <a:gd name="connsiteY32" fmla="*/ 303011 h 426822"/>
                <a:gd name="connsiteX33" fmla="*/ 260655 w 298286"/>
                <a:gd name="connsiteY33" fmla="*/ 309690 h 426822"/>
                <a:gd name="connsiteX34" fmla="*/ 261958 w 298286"/>
                <a:gd name="connsiteY34" fmla="*/ 314578 h 426822"/>
                <a:gd name="connsiteX35" fmla="*/ 271569 w 298286"/>
                <a:gd name="connsiteY35" fmla="*/ 317021 h 426822"/>
                <a:gd name="connsiteX36" fmla="*/ 274013 w 298286"/>
                <a:gd name="connsiteY36" fmla="*/ 320931 h 426822"/>
                <a:gd name="connsiteX37" fmla="*/ 271732 w 298286"/>
                <a:gd name="connsiteY37" fmla="*/ 324678 h 426822"/>
                <a:gd name="connsiteX38" fmla="*/ 271732 w 298286"/>
                <a:gd name="connsiteY38" fmla="*/ 328099 h 426822"/>
                <a:gd name="connsiteX39" fmla="*/ 270266 w 298286"/>
                <a:gd name="connsiteY39" fmla="*/ 331520 h 426822"/>
                <a:gd name="connsiteX40" fmla="*/ 263587 w 298286"/>
                <a:gd name="connsiteY40" fmla="*/ 334452 h 426822"/>
                <a:gd name="connsiteX41" fmla="*/ 260329 w 298286"/>
                <a:gd name="connsiteY41" fmla="*/ 332498 h 426822"/>
                <a:gd name="connsiteX42" fmla="*/ 254138 w 298286"/>
                <a:gd name="connsiteY42" fmla="*/ 332498 h 426822"/>
                <a:gd name="connsiteX43" fmla="*/ 249414 w 298286"/>
                <a:gd name="connsiteY43" fmla="*/ 335756 h 426822"/>
                <a:gd name="connsiteX44" fmla="*/ 243060 w 298286"/>
                <a:gd name="connsiteY44" fmla="*/ 339503 h 426822"/>
                <a:gd name="connsiteX45" fmla="*/ 242083 w 298286"/>
                <a:gd name="connsiteY45" fmla="*/ 342924 h 426822"/>
                <a:gd name="connsiteX46" fmla="*/ 242083 w 298286"/>
                <a:gd name="connsiteY46" fmla="*/ 346345 h 426822"/>
                <a:gd name="connsiteX47" fmla="*/ 239313 w 298286"/>
                <a:gd name="connsiteY47" fmla="*/ 347648 h 426822"/>
                <a:gd name="connsiteX48" fmla="*/ 234589 w 298286"/>
                <a:gd name="connsiteY48" fmla="*/ 354979 h 426822"/>
                <a:gd name="connsiteX49" fmla="*/ 231982 w 298286"/>
                <a:gd name="connsiteY49" fmla="*/ 354979 h 426822"/>
                <a:gd name="connsiteX50" fmla="*/ 230028 w 298286"/>
                <a:gd name="connsiteY50" fmla="*/ 354002 h 426822"/>
                <a:gd name="connsiteX51" fmla="*/ 226281 w 298286"/>
                <a:gd name="connsiteY51" fmla="*/ 358237 h 426822"/>
                <a:gd name="connsiteX52" fmla="*/ 226281 w 298286"/>
                <a:gd name="connsiteY52" fmla="*/ 362147 h 426822"/>
                <a:gd name="connsiteX53" fmla="*/ 222860 w 298286"/>
                <a:gd name="connsiteY53" fmla="*/ 364591 h 426822"/>
                <a:gd name="connsiteX54" fmla="*/ 221882 w 298286"/>
                <a:gd name="connsiteY54" fmla="*/ 368989 h 426822"/>
                <a:gd name="connsiteX55" fmla="*/ 222697 w 298286"/>
                <a:gd name="connsiteY55" fmla="*/ 372736 h 426822"/>
                <a:gd name="connsiteX56" fmla="*/ 221393 w 298286"/>
                <a:gd name="connsiteY56" fmla="*/ 376483 h 426822"/>
                <a:gd name="connsiteX57" fmla="*/ 217158 w 298286"/>
                <a:gd name="connsiteY57" fmla="*/ 378764 h 426822"/>
                <a:gd name="connsiteX58" fmla="*/ 212271 w 298286"/>
                <a:gd name="connsiteY58" fmla="*/ 382511 h 426822"/>
                <a:gd name="connsiteX59" fmla="*/ 202659 w 298286"/>
                <a:gd name="connsiteY59" fmla="*/ 383814 h 426822"/>
                <a:gd name="connsiteX60" fmla="*/ 195491 w 298286"/>
                <a:gd name="connsiteY60" fmla="*/ 384792 h 426822"/>
                <a:gd name="connsiteX61" fmla="*/ 188812 w 298286"/>
                <a:gd name="connsiteY61" fmla="*/ 383814 h 426822"/>
                <a:gd name="connsiteX62" fmla="*/ 184576 w 298286"/>
                <a:gd name="connsiteY62" fmla="*/ 382022 h 426822"/>
                <a:gd name="connsiteX63" fmla="*/ 178711 w 298286"/>
                <a:gd name="connsiteY63" fmla="*/ 382837 h 426822"/>
                <a:gd name="connsiteX64" fmla="*/ 174801 w 298286"/>
                <a:gd name="connsiteY64" fmla="*/ 381859 h 426822"/>
                <a:gd name="connsiteX65" fmla="*/ 171380 w 298286"/>
                <a:gd name="connsiteY65" fmla="*/ 384140 h 426822"/>
                <a:gd name="connsiteX66" fmla="*/ 170892 w 298286"/>
                <a:gd name="connsiteY66" fmla="*/ 388376 h 426822"/>
                <a:gd name="connsiteX67" fmla="*/ 175127 w 298286"/>
                <a:gd name="connsiteY67" fmla="*/ 393751 h 426822"/>
                <a:gd name="connsiteX68" fmla="*/ 178060 w 298286"/>
                <a:gd name="connsiteY68" fmla="*/ 393751 h 426822"/>
                <a:gd name="connsiteX69" fmla="*/ 179037 w 298286"/>
                <a:gd name="connsiteY69" fmla="*/ 397173 h 426822"/>
                <a:gd name="connsiteX70" fmla="*/ 171706 w 298286"/>
                <a:gd name="connsiteY70" fmla="*/ 402060 h 426822"/>
                <a:gd name="connsiteX71" fmla="*/ 168285 w 298286"/>
                <a:gd name="connsiteY71" fmla="*/ 405970 h 426822"/>
                <a:gd name="connsiteX72" fmla="*/ 161606 w 298286"/>
                <a:gd name="connsiteY72" fmla="*/ 405970 h 426822"/>
                <a:gd name="connsiteX73" fmla="*/ 146455 w 298286"/>
                <a:gd name="connsiteY73" fmla="*/ 409391 h 426822"/>
                <a:gd name="connsiteX74" fmla="*/ 140101 w 298286"/>
                <a:gd name="connsiteY74" fmla="*/ 413789 h 426822"/>
                <a:gd name="connsiteX75" fmla="*/ 132933 w 298286"/>
                <a:gd name="connsiteY75" fmla="*/ 416722 h 426822"/>
                <a:gd name="connsiteX76" fmla="*/ 126255 w 298286"/>
                <a:gd name="connsiteY76" fmla="*/ 421609 h 426822"/>
                <a:gd name="connsiteX77" fmla="*/ 121530 w 298286"/>
                <a:gd name="connsiteY77" fmla="*/ 422424 h 426822"/>
                <a:gd name="connsiteX78" fmla="*/ 119249 w 298286"/>
                <a:gd name="connsiteY78" fmla="*/ 420143 h 426822"/>
                <a:gd name="connsiteX79" fmla="*/ 117457 w 298286"/>
                <a:gd name="connsiteY79" fmla="*/ 414278 h 426822"/>
                <a:gd name="connsiteX80" fmla="*/ 114688 w 298286"/>
                <a:gd name="connsiteY80" fmla="*/ 411834 h 426822"/>
                <a:gd name="connsiteX81" fmla="*/ 111755 w 298286"/>
                <a:gd name="connsiteY81" fmla="*/ 414767 h 426822"/>
                <a:gd name="connsiteX82" fmla="*/ 111755 w 298286"/>
                <a:gd name="connsiteY82" fmla="*/ 419654 h 426822"/>
                <a:gd name="connsiteX83" fmla="*/ 108497 w 298286"/>
                <a:gd name="connsiteY83" fmla="*/ 425519 h 426822"/>
                <a:gd name="connsiteX84" fmla="*/ 101655 w 298286"/>
                <a:gd name="connsiteY84" fmla="*/ 425845 h 426822"/>
                <a:gd name="connsiteX85" fmla="*/ 97419 w 298286"/>
                <a:gd name="connsiteY85" fmla="*/ 426822 h 426822"/>
                <a:gd name="connsiteX86" fmla="*/ 92532 w 298286"/>
                <a:gd name="connsiteY86" fmla="*/ 426822 h 426822"/>
                <a:gd name="connsiteX87" fmla="*/ 91555 w 298286"/>
                <a:gd name="connsiteY87" fmla="*/ 421609 h 426822"/>
                <a:gd name="connsiteX88" fmla="*/ 88785 w 298286"/>
                <a:gd name="connsiteY88" fmla="*/ 418514 h 426822"/>
                <a:gd name="connsiteX89" fmla="*/ 88785 w 298286"/>
                <a:gd name="connsiteY89" fmla="*/ 413952 h 426822"/>
                <a:gd name="connsiteX90" fmla="*/ 84224 w 298286"/>
                <a:gd name="connsiteY90" fmla="*/ 407110 h 426822"/>
                <a:gd name="connsiteX91" fmla="*/ 80477 w 298286"/>
                <a:gd name="connsiteY91" fmla="*/ 400594 h 426822"/>
                <a:gd name="connsiteX92" fmla="*/ 76567 w 298286"/>
                <a:gd name="connsiteY92" fmla="*/ 397335 h 426822"/>
                <a:gd name="connsiteX93" fmla="*/ 67607 w 298286"/>
                <a:gd name="connsiteY93" fmla="*/ 387398 h 426822"/>
                <a:gd name="connsiteX94" fmla="*/ 57996 w 298286"/>
                <a:gd name="connsiteY94" fmla="*/ 379252 h 426822"/>
                <a:gd name="connsiteX95" fmla="*/ 53760 w 298286"/>
                <a:gd name="connsiteY95" fmla="*/ 377624 h 426822"/>
                <a:gd name="connsiteX96" fmla="*/ 52945 w 298286"/>
                <a:gd name="connsiteY96" fmla="*/ 374854 h 426822"/>
                <a:gd name="connsiteX97" fmla="*/ 50339 w 298286"/>
                <a:gd name="connsiteY97" fmla="*/ 373062 h 426822"/>
                <a:gd name="connsiteX98" fmla="*/ 49361 w 298286"/>
                <a:gd name="connsiteY98" fmla="*/ 370293 h 426822"/>
                <a:gd name="connsiteX99" fmla="*/ 49361 w 298286"/>
                <a:gd name="connsiteY99" fmla="*/ 365894 h 426822"/>
                <a:gd name="connsiteX100" fmla="*/ 50828 w 298286"/>
                <a:gd name="connsiteY100" fmla="*/ 363451 h 426822"/>
                <a:gd name="connsiteX101" fmla="*/ 51153 w 298286"/>
                <a:gd name="connsiteY101" fmla="*/ 358889 h 426822"/>
                <a:gd name="connsiteX102" fmla="*/ 55063 w 298286"/>
                <a:gd name="connsiteY102" fmla="*/ 358563 h 426822"/>
                <a:gd name="connsiteX103" fmla="*/ 59299 w 298286"/>
                <a:gd name="connsiteY103" fmla="*/ 358563 h 426822"/>
                <a:gd name="connsiteX104" fmla="*/ 61905 w 298286"/>
                <a:gd name="connsiteY104" fmla="*/ 359378 h 426822"/>
                <a:gd name="connsiteX105" fmla="*/ 66467 w 298286"/>
                <a:gd name="connsiteY105" fmla="*/ 358563 h 426822"/>
                <a:gd name="connsiteX106" fmla="*/ 70214 w 298286"/>
                <a:gd name="connsiteY106" fmla="*/ 359215 h 426822"/>
                <a:gd name="connsiteX107" fmla="*/ 73472 w 298286"/>
                <a:gd name="connsiteY107" fmla="*/ 358726 h 426822"/>
                <a:gd name="connsiteX108" fmla="*/ 79011 w 298286"/>
                <a:gd name="connsiteY108" fmla="*/ 359378 h 426822"/>
                <a:gd name="connsiteX109" fmla="*/ 81780 w 298286"/>
                <a:gd name="connsiteY109" fmla="*/ 361007 h 426822"/>
                <a:gd name="connsiteX110" fmla="*/ 85201 w 298286"/>
                <a:gd name="connsiteY110" fmla="*/ 361659 h 426822"/>
                <a:gd name="connsiteX111" fmla="*/ 87971 w 298286"/>
                <a:gd name="connsiteY111" fmla="*/ 359703 h 426822"/>
                <a:gd name="connsiteX112" fmla="*/ 85853 w 298286"/>
                <a:gd name="connsiteY112" fmla="*/ 358889 h 426822"/>
                <a:gd name="connsiteX113" fmla="*/ 79011 w 298286"/>
                <a:gd name="connsiteY113" fmla="*/ 353187 h 426822"/>
                <a:gd name="connsiteX114" fmla="*/ 77382 w 298286"/>
                <a:gd name="connsiteY114" fmla="*/ 347648 h 426822"/>
                <a:gd name="connsiteX115" fmla="*/ 73472 w 298286"/>
                <a:gd name="connsiteY115" fmla="*/ 345856 h 426822"/>
                <a:gd name="connsiteX116" fmla="*/ 68910 w 298286"/>
                <a:gd name="connsiteY116" fmla="*/ 339340 h 426822"/>
                <a:gd name="connsiteX117" fmla="*/ 68910 w 298286"/>
                <a:gd name="connsiteY117" fmla="*/ 334452 h 426822"/>
                <a:gd name="connsiteX118" fmla="*/ 71680 w 298286"/>
                <a:gd name="connsiteY118" fmla="*/ 331194 h 426822"/>
                <a:gd name="connsiteX119" fmla="*/ 73635 w 298286"/>
                <a:gd name="connsiteY119" fmla="*/ 324515 h 426822"/>
                <a:gd name="connsiteX120" fmla="*/ 70865 w 298286"/>
                <a:gd name="connsiteY120" fmla="*/ 321257 h 426822"/>
                <a:gd name="connsiteX121" fmla="*/ 70865 w 298286"/>
                <a:gd name="connsiteY121" fmla="*/ 318976 h 426822"/>
                <a:gd name="connsiteX122" fmla="*/ 72169 w 298286"/>
                <a:gd name="connsiteY122" fmla="*/ 316370 h 426822"/>
                <a:gd name="connsiteX123" fmla="*/ 72169 w 298286"/>
                <a:gd name="connsiteY123" fmla="*/ 312949 h 426822"/>
                <a:gd name="connsiteX124" fmla="*/ 69399 w 298286"/>
                <a:gd name="connsiteY124" fmla="*/ 305943 h 426822"/>
                <a:gd name="connsiteX125" fmla="*/ 68258 w 298286"/>
                <a:gd name="connsiteY125" fmla="*/ 301545 h 426822"/>
                <a:gd name="connsiteX126" fmla="*/ 66304 w 298286"/>
                <a:gd name="connsiteY126" fmla="*/ 299101 h 426822"/>
                <a:gd name="connsiteX127" fmla="*/ 65001 w 298286"/>
                <a:gd name="connsiteY127" fmla="*/ 291770 h 426822"/>
                <a:gd name="connsiteX128" fmla="*/ 59136 w 298286"/>
                <a:gd name="connsiteY128" fmla="*/ 286394 h 426822"/>
                <a:gd name="connsiteX129" fmla="*/ 46429 w 298286"/>
                <a:gd name="connsiteY129" fmla="*/ 280041 h 426822"/>
                <a:gd name="connsiteX130" fmla="*/ 46103 w 298286"/>
                <a:gd name="connsiteY130" fmla="*/ 279715 h 426822"/>
                <a:gd name="connsiteX131" fmla="*/ 42356 w 298286"/>
                <a:gd name="connsiteY131" fmla="*/ 273525 h 426822"/>
                <a:gd name="connsiteX132" fmla="*/ 35677 w 298286"/>
                <a:gd name="connsiteY132" fmla="*/ 264890 h 426822"/>
                <a:gd name="connsiteX133" fmla="*/ 32256 w 298286"/>
                <a:gd name="connsiteY133" fmla="*/ 263587 h 426822"/>
                <a:gd name="connsiteX134" fmla="*/ 30301 w 298286"/>
                <a:gd name="connsiteY134" fmla="*/ 231331 h 426822"/>
                <a:gd name="connsiteX135" fmla="*/ 30953 w 298286"/>
                <a:gd name="connsiteY135" fmla="*/ 228073 h 426822"/>
                <a:gd name="connsiteX136" fmla="*/ 33885 w 298286"/>
                <a:gd name="connsiteY136" fmla="*/ 228073 h 426822"/>
                <a:gd name="connsiteX137" fmla="*/ 36655 w 298286"/>
                <a:gd name="connsiteY137" fmla="*/ 227095 h 426822"/>
                <a:gd name="connsiteX138" fmla="*/ 37958 w 298286"/>
                <a:gd name="connsiteY138" fmla="*/ 224326 h 426822"/>
                <a:gd name="connsiteX139" fmla="*/ 80477 w 298286"/>
                <a:gd name="connsiteY139" fmla="*/ 180829 h 426822"/>
                <a:gd name="connsiteX140" fmla="*/ 79499 w 298286"/>
                <a:gd name="connsiteY140" fmla="*/ 143523 h 426822"/>
                <a:gd name="connsiteX141" fmla="*/ 86342 w 298286"/>
                <a:gd name="connsiteY141" fmla="*/ 95302 h 426822"/>
                <a:gd name="connsiteX142" fmla="*/ 90251 w 298286"/>
                <a:gd name="connsiteY142" fmla="*/ 91392 h 426822"/>
                <a:gd name="connsiteX143" fmla="*/ 90740 w 298286"/>
                <a:gd name="connsiteY143" fmla="*/ 82106 h 426822"/>
                <a:gd name="connsiteX144" fmla="*/ 73472 w 298286"/>
                <a:gd name="connsiteY144" fmla="*/ 61417 h 426822"/>
                <a:gd name="connsiteX145" fmla="*/ 74938 w 298286"/>
                <a:gd name="connsiteY145" fmla="*/ 58485 h 426822"/>
                <a:gd name="connsiteX146" fmla="*/ 75427 w 298286"/>
                <a:gd name="connsiteY146" fmla="*/ 51642 h 426822"/>
                <a:gd name="connsiteX147" fmla="*/ 63208 w 298286"/>
                <a:gd name="connsiteY147" fmla="*/ 16291 h 426822"/>
                <a:gd name="connsiteX148" fmla="*/ 60276 w 298286"/>
                <a:gd name="connsiteY148" fmla="*/ 13033 h 426822"/>
                <a:gd name="connsiteX149" fmla="*/ 60276 w 298286"/>
                <a:gd name="connsiteY149" fmla="*/ 13033 h 426822"/>
                <a:gd name="connsiteX150" fmla="*/ 7819 w 298286"/>
                <a:gd name="connsiteY150" fmla="*/ 275479 h 426822"/>
                <a:gd name="connsiteX151" fmla="*/ 6028 w 298286"/>
                <a:gd name="connsiteY151" fmla="*/ 279226 h 426822"/>
                <a:gd name="connsiteX152" fmla="*/ 2280 w 298286"/>
                <a:gd name="connsiteY152" fmla="*/ 280041 h 426822"/>
                <a:gd name="connsiteX153" fmla="*/ 0 w 298286"/>
                <a:gd name="connsiteY153" fmla="*/ 278412 h 426822"/>
                <a:gd name="connsiteX154" fmla="*/ 7819 w 298286"/>
                <a:gd name="connsiteY154" fmla="*/ 275479 h 4268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</a:cxnLst>
              <a:rect l="l" t="t" r="r" b="b"/>
              <a:pathLst>
                <a:path w="298286" h="426822">
                  <a:moveTo>
                    <a:pt x="61417" y="12055"/>
                  </a:moveTo>
                  <a:lnTo>
                    <a:pt x="90414" y="0"/>
                  </a:lnTo>
                  <a:lnTo>
                    <a:pt x="296494" y="104751"/>
                  </a:lnTo>
                  <a:lnTo>
                    <a:pt x="298287" y="205917"/>
                  </a:lnTo>
                  <a:lnTo>
                    <a:pt x="294376" y="207384"/>
                  </a:lnTo>
                  <a:lnTo>
                    <a:pt x="289652" y="210316"/>
                  </a:lnTo>
                  <a:lnTo>
                    <a:pt x="285254" y="207546"/>
                  </a:lnTo>
                  <a:lnTo>
                    <a:pt x="278900" y="207546"/>
                  </a:lnTo>
                  <a:lnTo>
                    <a:pt x="274176" y="211293"/>
                  </a:lnTo>
                  <a:lnTo>
                    <a:pt x="274176" y="217647"/>
                  </a:lnTo>
                  <a:lnTo>
                    <a:pt x="276946" y="221068"/>
                  </a:lnTo>
                  <a:lnTo>
                    <a:pt x="274013" y="226933"/>
                  </a:lnTo>
                  <a:lnTo>
                    <a:pt x="265705" y="238010"/>
                  </a:lnTo>
                  <a:lnTo>
                    <a:pt x="262935" y="238010"/>
                  </a:lnTo>
                  <a:cubicBezTo>
                    <a:pt x="262935" y="238010"/>
                    <a:pt x="258537" y="242246"/>
                    <a:pt x="258537" y="242246"/>
                  </a:cubicBezTo>
                  <a:lnTo>
                    <a:pt x="258537" y="245993"/>
                  </a:lnTo>
                  <a:cubicBezTo>
                    <a:pt x="258537" y="245993"/>
                    <a:pt x="261795" y="248925"/>
                    <a:pt x="261795" y="248925"/>
                  </a:cubicBezTo>
                  <a:lnTo>
                    <a:pt x="259025" y="254301"/>
                  </a:lnTo>
                  <a:lnTo>
                    <a:pt x="253812" y="257560"/>
                  </a:lnTo>
                  <a:lnTo>
                    <a:pt x="252835" y="260981"/>
                  </a:lnTo>
                  <a:lnTo>
                    <a:pt x="257559" y="263750"/>
                  </a:lnTo>
                  <a:lnTo>
                    <a:pt x="258048" y="268963"/>
                  </a:lnTo>
                  <a:lnTo>
                    <a:pt x="255278" y="273199"/>
                  </a:lnTo>
                  <a:lnTo>
                    <a:pt x="247133" y="281833"/>
                  </a:lnTo>
                  <a:lnTo>
                    <a:pt x="247133" y="287535"/>
                  </a:lnTo>
                  <a:lnTo>
                    <a:pt x="250554" y="290956"/>
                  </a:lnTo>
                  <a:lnTo>
                    <a:pt x="256744" y="286557"/>
                  </a:lnTo>
                  <a:lnTo>
                    <a:pt x="259677" y="287209"/>
                  </a:lnTo>
                  <a:lnTo>
                    <a:pt x="259677" y="290956"/>
                  </a:lnTo>
                  <a:lnTo>
                    <a:pt x="256744" y="292911"/>
                  </a:lnTo>
                  <a:lnTo>
                    <a:pt x="260166" y="295354"/>
                  </a:lnTo>
                  <a:lnTo>
                    <a:pt x="258211" y="298613"/>
                  </a:lnTo>
                  <a:lnTo>
                    <a:pt x="260655" y="303011"/>
                  </a:lnTo>
                  <a:lnTo>
                    <a:pt x="260655" y="309690"/>
                  </a:lnTo>
                  <a:cubicBezTo>
                    <a:pt x="260655" y="309690"/>
                    <a:pt x="261958" y="314578"/>
                    <a:pt x="261958" y="314578"/>
                  </a:cubicBezTo>
                  <a:lnTo>
                    <a:pt x="271569" y="317021"/>
                  </a:lnTo>
                  <a:lnTo>
                    <a:pt x="274013" y="320931"/>
                  </a:lnTo>
                  <a:lnTo>
                    <a:pt x="271732" y="324678"/>
                  </a:lnTo>
                  <a:lnTo>
                    <a:pt x="271732" y="328099"/>
                  </a:lnTo>
                  <a:lnTo>
                    <a:pt x="270266" y="331520"/>
                  </a:lnTo>
                  <a:lnTo>
                    <a:pt x="263587" y="334452"/>
                  </a:lnTo>
                  <a:lnTo>
                    <a:pt x="260329" y="332498"/>
                  </a:lnTo>
                  <a:lnTo>
                    <a:pt x="254138" y="332498"/>
                  </a:lnTo>
                  <a:lnTo>
                    <a:pt x="249414" y="335756"/>
                  </a:lnTo>
                  <a:lnTo>
                    <a:pt x="243060" y="339503"/>
                  </a:lnTo>
                  <a:lnTo>
                    <a:pt x="242083" y="342924"/>
                  </a:lnTo>
                  <a:lnTo>
                    <a:pt x="242083" y="346345"/>
                  </a:lnTo>
                  <a:cubicBezTo>
                    <a:pt x="242083" y="346345"/>
                    <a:pt x="239313" y="347648"/>
                    <a:pt x="239313" y="347648"/>
                  </a:cubicBezTo>
                  <a:lnTo>
                    <a:pt x="234589" y="354979"/>
                  </a:lnTo>
                  <a:lnTo>
                    <a:pt x="231982" y="354979"/>
                  </a:lnTo>
                  <a:cubicBezTo>
                    <a:pt x="231982" y="354979"/>
                    <a:pt x="230028" y="354002"/>
                    <a:pt x="230028" y="354002"/>
                  </a:cubicBezTo>
                  <a:lnTo>
                    <a:pt x="226281" y="358237"/>
                  </a:lnTo>
                  <a:lnTo>
                    <a:pt x="226281" y="362147"/>
                  </a:lnTo>
                  <a:cubicBezTo>
                    <a:pt x="226281" y="362147"/>
                    <a:pt x="222860" y="364591"/>
                    <a:pt x="222860" y="364591"/>
                  </a:cubicBezTo>
                  <a:lnTo>
                    <a:pt x="221882" y="368989"/>
                  </a:lnTo>
                  <a:lnTo>
                    <a:pt x="222697" y="372736"/>
                  </a:lnTo>
                  <a:lnTo>
                    <a:pt x="221393" y="376483"/>
                  </a:lnTo>
                  <a:lnTo>
                    <a:pt x="217158" y="378764"/>
                  </a:lnTo>
                  <a:lnTo>
                    <a:pt x="212271" y="382511"/>
                  </a:lnTo>
                  <a:lnTo>
                    <a:pt x="202659" y="383814"/>
                  </a:lnTo>
                  <a:lnTo>
                    <a:pt x="195491" y="384792"/>
                  </a:lnTo>
                  <a:lnTo>
                    <a:pt x="188812" y="383814"/>
                  </a:lnTo>
                  <a:lnTo>
                    <a:pt x="184576" y="382022"/>
                  </a:lnTo>
                  <a:lnTo>
                    <a:pt x="178711" y="382837"/>
                  </a:lnTo>
                  <a:lnTo>
                    <a:pt x="174801" y="381859"/>
                  </a:lnTo>
                  <a:lnTo>
                    <a:pt x="171380" y="384140"/>
                  </a:lnTo>
                  <a:lnTo>
                    <a:pt x="170892" y="388376"/>
                  </a:lnTo>
                  <a:lnTo>
                    <a:pt x="175127" y="393751"/>
                  </a:lnTo>
                  <a:lnTo>
                    <a:pt x="178060" y="393751"/>
                  </a:lnTo>
                  <a:lnTo>
                    <a:pt x="179037" y="397173"/>
                  </a:lnTo>
                  <a:lnTo>
                    <a:pt x="171706" y="402060"/>
                  </a:lnTo>
                  <a:lnTo>
                    <a:pt x="168285" y="405970"/>
                  </a:lnTo>
                  <a:lnTo>
                    <a:pt x="161606" y="405970"/>
                  </a:lnTo>
                  <a:lnTo>
                    <a:pt x="146455" y="409391"/>
                  </a:lnTo>
                  <a:lnTo>
                    <a:pt x="140101" y="413789"/>
                  </a:lnTo>
                  <a:lnTo>
                    <a:pt x="132933" y="416722"/>
                  </a:lnTo>
                  <a:lnTo>
                    <a:pt x="126255" y="421609"/>
                  </a:lnTo>
                  <a:lnTo>
                    <a:pt x="121530" y="422424"/>
                  </a:lnTo>
                  <a:lnTo>
                    <a:pt x="119249" y="420143"/>
                  </a:lnTo>
                  <a:lnTo>
                    <a:pt x="117457" y="414278"/>
                  </a:lnTo>
                  <a:lnTo>
                    <a:pt x="114688" y="411834"/>
                  </a:lnTo>
                  <a:lnTo>
                    <a:pt x="111755" y="414767"/>
                  </a:lnTo>
                  <a:lnTo>
                    <a:pt x="111755" y="419654"/>
                  </a:lnTo>
                  <a:lnTo>
                    <a:pt x="108497" y="425519"/>
                  </a:lnTo>
                  <a:lnTo>
                    <a:pt x="101655" y="425845"/>
                  </a:lnTo>
                  <a:lnTo>
                    <a:pt x="97419" y="426822"/>
                  </a:lnTo>
                  <a:lnTo>
                    <a:pt x="92532" y="426822"/>
                  </a:lnTo>
                  <a:lnTo>
                    <a:pt x="91555" y="421609"/>
                  </a:lnTo>
                  <a:lnTo>
                    <a:pt x="88785" y="418514"/>
                  </a:lnTo>
                  <a:lnTo>
                    <a:pt x="88785" y="413952"/>
                  </a:lnTo>
                  <a:cubicBezTo>
                    <a:pt x="88785" y="413952"/>
                    <a:pt x="84224" y="407110"/>
                    <a:pt x="84224" y="407110"/>
                  </a:cubicBezTo>
                  <a:lnTo>
                    <a:pt x="80477" y="400594"/>
                  </a:lnTo>
                  <a:lnTo>
                    <a:pt x="76567" y="397335"/>
                  </a:lnTo>
                  <a:lnTo>
                    <a:pt x="67607" y="387398"/>
                  </a:lnTo>
                  <a:lnTo>
                    <a:pt x="57996" y="379252"/>
                  </a:lnTo>
                  <a:lnTo>
                    <a:pt x="53760" y="377624"/>
                  </a:lnTo>
                  <a:lnTo>
                    <a:pt x="52945" y="374854"/>
                  </a:lnTo>
                  <a:lnTo>
                    <a:pt x="50339" y="373062"/>
                  </a:lnTo>
                  <a:lnTo>
                    <a:pt x="49361" y="370293"/>
                  </a:lnTo>
                  <a:lnTo>
                    <a:pt x="49361" y="365894"/>
                  </a:lnTo>
                  <a:lnTo>
                    <a:pt x="50828" y="363451"/>
                  </a:lnTo>
                  <a:lnTo>
                    <a:pt x="51153" y="358889"/>
                  </a:lnTo>
                  <a:lnTo>
                    <a:pt x="55063" y="358563"/>
                  </a:lnTo>
                  <a:lnTo>
                    <a:pt x="59299" y="358563"/>
                  </a:lnTo>
                  <a:cubicBezTo>
                    <a:pt x="59299" y="358563"/>
                    <a:pt x="61905" y="359378"/>
                    <a:pt x="61905" y="359378"/>
                  </a:cubicBezTo>
                  <a:lnTo>
                    <a:pt x="66467" y="358563"/>
                  </a:lnTo>
                  <a:lnTo>
                    <a:pt x="70214" y="359215"/>
                  </a:lnTo>
                  <a:lnTo>
                    <a:pt x="73472" y="358726"/>
                  </a:lnTo>
                  <a:lnTo>
                    <a:pt x="79011" y="359378"/>
                  </a:lnTo>
                  <a:lnTo>
                    <a:pt x="81780" y="361007"/>
                  </a:lnTo>
                  <a:lnTo>
                    <a:pt x="85201" y="361659"/>
                  </a:lnTo>
                  <a:lnTo>
                    <a:pt x="87971" y="359703"/>
                  </a:lnTo>
                  <a:lnTo>
                    <a:pt x="85853" y="358889"/>
                  </a:lnTo>
                  <a:lnTo>
                    <a:pt x="79011" y="353187"/>
                  </a:lnTo>
                  <a:lnTo>
                    <a:pt x="77382" y="347648"/>
                  </a:lnTo>
                  <a:lnTo>
                    <a:pt x="73472" y="345856"/>
                  </a:lnTo>
                  <a:lnTo>
                    <a:pt x="68910" y="339340"/>
                  </a:lnTo>
                  <a:lnTo>
                    <a:pt x="68910" y="334452"/>
                  </a:lnTo>
                  <a:cubicBezTo>
                    <a:pt x="68910" y="334452"/>
                    <a:pt x="71680" y="331194"/>
                    <a:pt x="71680" y="331194"/>
                  </a:cubicBezTo>
                  <a:lnTo>
                    <a:pt x="73635" y="324515"/>
                  </a:lnTo>
                  <a:lnTo>
                    <a:pt x="70865" y="321257"/>
                  </a:lnTo>
                  <a:lnTo>
                    <a:pt x="70865" y="318976"/>
                  </a:lnTo>
                  <a:cubicBezTo>
                    <a:pt x="70865" y="318976"/>
                    <a:pt x="72169" y="316370"/>
                    <a:pt x="72169" y="316370"/>
                  </a:cubicBezTo>
                  <a:lnTo>
                    <a:pt x="72169" y="312949"/>
                  </a:lnTo>
                  <a:cubicBezTo>
                    <a:pt x="72169" y="312949"/>
                    <a:pt x="69399" y="305943"/>
                    <a:pt x="69399" y="305943"/>
                  </a:cubicBezTo>
                  <a:lnTo>
                    <a:pt x="68258" y="301545"/>
                  </a:lnTo>
                  <a:lnTo>
                    <a:pt x="66304" y="299101"/>
                  </a:lnTo>
                  <a:lnTo>
                    <a:pt x="65001" y="291770"/>
                  </a:lnTo>
                  <a:lnTo>
                    <a:pt x="59136" y="286394"/>
                  </a:lnTo>
                  <a:lnTo>
                    <a:pt x="46429" y="280041"/>
                  </a:lnTo>
                  <a:lnTo>
                    <a:pt x="46103" y="279715"/>
                  </a:lnTo>
                  <a:lnTo>
                    <a:pt x="42356" y="273525"/>
                  </a:lnTo>
                  <a:lnTo>
                    <a:pt x="35677" y="264890"/>
                  </a:lnTo>
                  <a:lnTo>
                    <a:pt x="32256" y="263587"/>
                  </a:lnTo>
                  <a:lnTo>
                    <a:pt x="30301" y="231331"/>
                  </a:lnTo>
                  <a:lnTo>
                    <a:pt x="30953" y="228073"/>
                  </a:lnTo>
                  <a:lnTo>
                    <a:pt x="33885" y="228073"/>
                  </a:lnTo>
                  <a:lnTo>
                    <a:pt x="36655" y="227095"/>
                  </a:lnTo>
                  <a:lnTo>
                    <a:pt x="37958" y="224326"/>
                  </a:lnTo>
                  <a:lnTo>
                    <a:pt x="80477" y="180829"/>
                  </a:lnTo>
                  <a:lnTo>
                    <a:pt x="79499" y="143523"/>
                  </a:lnTo>
                  <a:lnTo>
                    <a:pt x="86342" y="95302"/>
                  </a:lnTo>
                  <a:lnTo>
                    <a:pt x="90251" y="91392"/>
                  </a:lnTo>
                  <a:lnTo>
                    <a:pt x="90740" y="82106"/>
                  </a:lnTo>
                  <a:lnTo>
                    <a:pt x="73472" y="61417"/>
                  </a:lnTo>
                  <a:lnTo>
                    <a:pt x="74938" y="58485"/>
                  </a:lnTo>
                  <a:lnTo>
                    <a:pt x="75427" y="51642"/>
                  </a:lnTo>
                  <a:lnTo>
                    <a:pt x="63208" y="16291"/>
                  </a:lnTo>
                  <a:lnTo>
                    <a:pt x="60276" y="13033"/>
                  </a:lnTo>
                  <a:lnTo>
                    <a:pt x="60276" y="13033"/>
                  </a:lnTo>
                  <a:close/>
                  <a:moveTo>
                    <a:pt x="7819" y="275479"/>
                  </a:moveTo>
                  <a:lnTo>
                    <a:pt x="6028" y="279226"/>
                  </a:lnTo>
                  <a:lnTo>
                    <a:pt x="2280" y="280041"/>
                  </a:lnTo>
                  <a:lnTo>
                    <a:pt x="0" y="278412"/>
                  </a:lnTo>
                  <a:lnTo>
                    <a:pt x="7819" y="275479"/>
                  </a:lnTo>
                  <a:close/>
                </a:path>
              </a:pathLst>
            </a:custGeom>
            <a:solidFill>
              <a:schemeClr val="bg2"/>
            </a:solidFill>
            <a:ln w="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8" name="Forma livre: Forma 117">
              <a:extLst>
                <a:ext uri="{FF2B5EF4-FFF2-40B4-BE49-F238E27FC236}">
                  <a16:creationId xmlns:a16="http://schemas.microsoft.com/office/drawing/2014/main" id="{E330A93F-F2CC-34DD-985F-6C799C609070}"/>
                </a:ext>
              </a:extLst>
            </p:cNvPr>
            <p:cNvSpPr/>
            <p:nvPr/>
          </p:nvSpPr>
          <p:spPr>
            <a:xfrm>
              <a:off x="5997483" y="4328416"/>
              <a:ext cx="404040" cy="313973"/>
            </a:xfrm>
            <a:custGeom>
              <a:avLst/>
              <a:gdLst>
                <a:gd name="connsiteX0" fmla="*/ 88297 w 390981"/>
                <a:gd name="connsiteY0" fmla="*/ 303825 h 303825"/>
                <a:gd name="connsiteX1" fmla="*/ 82758 w 390981"/>
                <a:gd name="connsiteY1" fmla="*/ 296657 h 303825"/>
                <a:gd name="connsiteX2" fmla="*/ 76893 w 390981"/>
                <a:gd name="connsiteY2" fmla="*/ 295354 h 303825"/>
                <a:gd name="connsiteX3" fmla="*/ 72169 w 390981"/>
                <a:gd name="connsiteY3" fmla="*/ 289001 h 303825"/>
                <a:gd name="connsiteX4" fmla="*/ 63861 w 390981"/>
                <a:gd name="connsiteY4" fmla="*/ 282159 h 303825"/>
                <a:gd name="connsiteX5" fmla="*/ 61580 w 390981"/>
                <a:gd name="connsiteY5" fmla="*/ 286720 h 303825"/>
                <a:gd name="connsiteX6" fmla="*/ 62394 w 390981"/>
                <a:gd name="connsiteY6" fmla="*/ 289652 h 303825"/>
                <a:gd name="connsiteX7" fmla="*/ 57670 w 390981"/>
                <a:gd name="connsiteY7" fmla="*/ 291119 h 303825"/>
                <a:gd name="connsiteX8" fmla="*/ 53271 w 390981"/>
                <a:gd name="connsiteY8" fmla="*/ 291607 h 303825"/>
                <a:gd name="connsiteX9" fmla="*/ 47570 w 390981"/>
                <a:gd name="connsiteY9" fmla="*/ 284276 h 303825"/>
                <a:gd name="connsiteX10" fmla="*/ 50502 w 390981"/>
                <a:gd name="connsiteY10" fmla="*/ 280367 h 303825"/>
                <a:gd name="connsiteX11" fmla="*/ 50013 w 390981"/>
                <a:gd name="connsiteY11" fmla="*/ 275479 h 303825"/>
                <a:gd name="connsiteX12" fmla="*/ 48058 w 390981"/>
                <a:gd name="connsiteY12" fmla="*/ 273524 h 303825"/>
                <a:gd name="connsiteX13" fmla="*/ 47407 w 390981"/>
                <a:gd name="connsiteY13" fmla="*/ 270266 h 303825"/>
                <a:gd name="connsiteX14" fmla="*/ 44637 w 390981"/>
                <a:gd name="connsiteY14" fmla="*/ 268800 h 303825"/>
                <a:gd name="connsiteX15" fmla="*/ 33559 w 390981"/>
                <a:gd name="connsiteY15" fmla="*/ 274665 h 303825"/>
                <a:gd name="connsiteX16" fmla="*/ 24762 w 390981"/>
                <a:gd name="connsiteY16" fmla="*/ 267823 h 303825"/>
                <a:gd name="connsiteX17" fmla="*/ 24273 w 390981"/>
                <a:gd name="connsiteY17" fmla="*/ 257559 h 303825"/>
                <a:gd name="connsiteX18" fmla="*/ 0 w 390981"/>
                <a:gd name="connsiteY18" fmla="*/ 241268 h 303825"/>
                <a:gd name="connsiteX19" fmla="*/ 0 w 390981"/>
                <a:gd name="connsiteY19" fmla="*/ 233938 h 303825"/>
                <a:gd name="connsiteX20" fmla="*/ 3095 w 390981"/>
                <a:gd name="connsiteY20" fmla="*/ 228724 h 303825"/>
                <a:gd name="connsiteX21" fmla="*/ 4073 w 390981"/>
                <a:gd name="connsiteY21" fmla="*/ 221719 h 303825"/>
                <a:gd name="connsiteX22" fmla="*/ 5865 w 390981"/>
                <a:gd name="connsiteY22" fmla="*/ 218298 h 303825"/>
                <a:gd name="connsiteX23" fmla="*/ 11729 w 390981"/>
                <a:gd name="connsiteY23" fmla="*/ 219764 h 303825"/>
                <a:gd name="connsiteX24" fmla="*/ 29487 w 390981"/>
                <a:gd name="connsiteY24" fmla="*/ 217972 h 303825"/>
                <a:gd name="connsiteX25" fmla="*/ 35352 w 390981"/>
                <a:gd name="connsiteY25" fmla="*/ 218461 h 303825"/>
                <a:gd name="connsiteX26" fmla="*/ 41868 w 390981"/>
                <a:gd name="connsiteY26" fmla="*/ 215203 h 303825"/>
                <a:gd name="connsiteX27" fmla="*/ 52945 w 390981"/>
                <a:gd name="connsiteY27" fmla="*/ 215203 h 303825"/>
                <a:gd name="connsiteX28" fmla="*/ 58159 w 390981"/>
                <a:gd name="connsiteY28" fmla="*/ 215203 h 303825"/>
                <a:gd name="connsiteX29" fmla="*/ 65489 w 390981"/>
                <a:gd name="connsiteY29" fmla="*/ 210316 h 303825"/>
                <a:gd name="connsiteX30" fmla="*/ 73146 w 390981"/>
                <a:gd name="connsiteY30" fmla="*/ 209827 h 303825"/>
                <a:gd name="connsiteX31" fmla="*/ 80803 w 390981"/>
                <a:gd name="connsiteY31" fmla="*/ 205917 h 303825"/>
                <a:gd name="connsiteX32" fmla="*/ 93510 w 390981"/>
                <a:gd name="connsiteY32" fmla="*/ 198749 h 303825"/>
                <a:gd name="connsiteX33" fmla="*/ 95302 w 390981"/>
                <a:gd name="connsiteY33" fmla="*/ 193210 h 303825"/>
                <a:gd name="connsiteX34" fmla="*/ 95954 w 390981"/>
                <a:gd name="connsiteY34" fmla="*/ 184250 h 303825"/>
                <a:gd name="connsiteX35" fmla="*/ 100189 w 390981"/>
                <a:gd name="connsiteY35" fmla="*/ 181806 h 303825"/>
                <a:gd name="connsiteX36" fmla="*/ 101818 w 390981"/>
                <a:gd name="connsiteY36" fmla="*/ 158836 h 303825"/>
                <a:gd name="connsiteX37" fmla="*/ 103122 w 390981"/>
                <a:gd name="connsiteY37" fmla="*/ 109312 h 303825"/>
                <a:gd name="connsiteX38" fmla="*/ 142220 w 390981"/>
                <a:gd name="connsiteY38" fmla="*/ 100026 h 303825"/>
                <a:gd name="connsiteX39" fmla="*/ 173824 w 390981"/>
                <a:gd name="connsiteY39" fmla="*/ 71028 h 303825"/>
                <a:gd name="connsiteX40" fmla="*/ 288675 w 390981"/>
                <a:gd name="connsiteY40" fmla="*/ 0 h 303825"/>
                <a:gd name="connsiteX41" fmla="*/ 333638 w 390981"/>
                <a:gd name="connsiteY41" fmla="*/ 11078 h 303825"/>
                <a:gd name="connsiteX42" fmla="*/ 337711 w 390981"/>
                <a:gd name="connsiteY42" fmla="*/ 15476 h 303825"/>
                <a:gd name="connsiteX43" fmla="*/ 360518 w 390981"/>
                <a:gd name="connsiteY43" fmla="*/ 6028 h 303825"/>
                <a:gd name="connsiteX44" fmla="*/ 363450 w 390981"/>
                <a:gd name="connsiteY44" fmla="*/ 9286 h 303825"/>
                <a:gd name="connsiteX45" fmla="*/ 375832 w 390981"/>
                <a:gd name="connsiteY45" fmla="*/ 44637 h 303825"/>
                <a:gd name="connsiteX46" fmla="*/ 375180 w 390981"/>
                <a:gd name="connsiteY46" fmla="*/ 51642 h 303825"/>
                <a:gd name="connsiteX47" fmla="*/ 373714 w 390981"/>
                <a:gd name="connsiteY47" fmla="*/ 54574 h 303825"/>
                <a:gd name="connsiteX48" fmla="*/ 390982 w 390981"/>
                <a:gd name="connsiteY48" fmla="*/ 75264 h 303825"/>
                <a:gd name="connsiteX49" fmla="*/ 390493 w 390981"/>
                <a:gd name="connsiteY49" fmla="*/ 84550 h 303825"/>
                <a:gd name="connsiteX50" fmla="*/ 386584 w 390981"/>
                <a:gd name="connsiteY50" fmla="*/ 88460 h 303825"/>
                <a:gd name="connsiteX51" fmla="*/ 379741 w 390981"/>
                <a:gd name="connsiteY51" fmla="*/ 136681 h 303825"/>
                <a:gd name="connsiteX52" fmla="*/ 380719 w 390981"/>
                <a:gd name="connsiteY52" fmla="*/ 173987 h 303825"/>
                <a:gd name="connsiteX53" fmla="*/ 338200 w 390981"/>
                <a:gd name="connsiteY53" fmla="*/ 217484 h 303825"/>
                <a:gd name="connsiteX54" fmla="*/ 336896 w 390981"/>
                <a:gd name="connsiteY54" fmla="*/ 220253 h 303825"/>
                <a:gd name="connsiteX55" fmla="*/ 334127 w 390981"/>
                <a:gd name="connsiteY55" fmla="*/ 221231 h 303825"/>
                <a:gd name="connsiteX56" fmla="*/ 331195 w 390981"/>
                <a:gd name="connsiteY56" fmla="*/ 221231 h 303825"/>
                <a:gd name="connsiteX57" fmla="*/ 330543 w 390981"/>
                <a:gd name="connsiteY57" fmla="*/ 224489 h 303825"/>
                <a:gd name="connsiteX58" fmla="*/ 332498 w 390981"/>
                <a:gd name="connsiteY58" fmla="*/ 256745 h 303825"/>
                <a:gd name="connsiteX59" fmla="*/ 327773 w 390981"/>
                <a:gd name="connsiteY59" fmla="*/ 254953 h 303825"/>
                <a:gd name="connsiteX60" fmla="*/ 324841 w 390981"/>
                <a:gd name="connsiteY60" fmla="*/ 259677 h 303825"/>
                <a:gd name="connsiteX61" fmla="*/ 324027 w 390981"/>
                <a:gd name="connsiteY61" fmla="*/ 262772 h 303825"/>
                <a:gd name="connsiteX62" fmla="*/ 321583 w 390981"/>
                <a:gd name="connsiteY62" fmla="*/ 263913 h 303825"/>
                <a:gd name="connsiteX63" fmla="*/ 317673 w 390981"/>
                <a:gd name="connsiteY63" fmla="*/ 262284 h 303825"/>
                <a:gd name="connsiteX64" fmla="*/ 314414 w 390981"/>
                <a:gd name="connsiteY64" fmla="*/ 263261 h 303825"/>
                <a:gd name="connsiteX65" fmla="*/ 312948 w 390981"/>
                <a:gd name="connsiteY65" fmla="*/ 266356 h 303825"/>
                <a:gd name="connsiteX66" fmla="*/ 307410 w 390981"/>
                <a:gd name="connsiteY66" fmla="*/ 268311 h 303825"/>
                <a:gd name="connsiteX67" fmla="*/ 306921 w 390981"/>
                <a:gd name="connsiteY67" fmla="*/ 269452 h 303825"/>
                <a:gd name="connsiteX68" fmla="*/ 298938 w 390981"/>
                <a:gd name="connsiteY68" fmla="*/ 272384 h 303825"/>
                <a:gd name="connsiteX69" fmla="*/ 296006 w 390981"/>
                <a:gd name="connsiteY69" fmla="*/ 270266 h 303825"/>
                <a:gd name="connsiteX70" fmla="*/ 288838 w 390981"/>
                <a:gd name="connsiteY70" fmla="*/ 269940 h 303825"/>
                <a:gd name="connsiteX71" fmla="*/ 280530 w 390981"/>
                <a:gd name="connsiteY71" fmla="*/ 266031 h 303825"/>
                <a:gd name="connsiteX72" fmla="*/ 269289 w 390981"/>
                <a:gd name="connsiteY72" fmla="*/ 264727 h 303825"/>
                <a:gd name="connsiteX73" fmla="*/ 263750 w 390981"/>
                <a:gd name="connsiteY73" fmla="*/ 267334 h 303825"/>
                <a:gd name="connsiteX74" fmla="*/ 250229 w 390981"/>
                <a:gd name="connsiteY74" fmla="*/ 266519 h 303825"/>
                <a:gd name="connsiteX75" fmla="*/ 244852 w 390981"/>
                <a:gd name="connsiteY75" fmla="*/ 267986 h 303825"/>
                <a:gd name="connsiteX76" fmla="*/ 238336 w 390981"/>
                <a:gd name="connsiteY76" fmla="*/ 277108 h 303825"/>
                <a:gd name="connsiteX77" fmla="*/ 231982 w 390981"/>
                <a:gd name="connsiteY77" fmla="*/ 281344 h 303825"/>
                <a:gd name="connsiteX78" fmla="*/ 227421 w 390981"/>
                <a:gd name="connsiteY78" fmla="*/ 280204 h 303825"/>
                <a:gd name="connsiteX79" fmla="*/ 216995 w 390981"/>
                <a:gd name="connsiteY79" fmla="*/ 276457 h 303825"/>
                <a:gd name="connsiteX80" fmla="*/ 211782 w 390981"/>
                <a:gd name="connsiteY80" fmla="*/ 275642 h 303825"/>
                <a:gd name="connsiteX81" fmla="*/ 203473 w 390981"/>
                <a:gd name="connsiteY81" fmla="*/ 271081 h 303825"/>
                <a:gd name="connsiteX82" fmla="*/ 198261 w 390981"/>
                <a:gd name="connsiteY82" fmla="*/ 269126 h 303825"/>
                <a:gd name="connsiteX83" fmla="*/ 198261 w 390981"/>
                <a:gd name="connsiteY83" fmla="*/ 267171 h 303825"/>
                <a:gd name="connsiteX84" fmla="*/ 193699 w 390981"/>
                <a:gd name="connsiteY84" fmla="*/ 263750 h 303825"/>
                <a:gd name="connsiteX85" fmla="*/ 189626 w 390981"/>
                <a:gd name="connsiteY85" fmla="*/ 263424 h 303825"/>
                <a:gd name="connsiteX86" fmla="*/ 188649 w 390981"/>
                <a:gd name="connsiteY86" fmla="*/ 264564 h 303825"/>
                <a:gd name="connsiteX87" fmla="*/ 181318 w 390981"/>
                <a:gd name="connsiteY87" fmla="*/ 265868 h 303825"/>
                <a:gd name="connsiteX88" fmla="*/ 177571 w 390981"/>
                <a:gd name="connsiteY88" fmla="*/ 267823 h 303825"/>
                <a:gd name="connsiteX89" fmla="*/ 173987 w 390981"/>
                <a:gd name="connsiteY89" fmla="*/ 268148 h 303825"/>
                <a:gd name="connsiteX90" fmla="*/ 171055 w 390981"/>
                <a:gd name="connsiteY90" fmla="*/ 271570 h 303825"/>
                <a:gd name="connsiteX91" fmla="*/ 168448 w 390981"/>
                <a:gd name="connsiteY91" fmla="*/ 272547 h 303825"/>
                <a:gd name="connsiteX92" fmla="*/ 163398 w 390981"/>
                <a:gd name="connsiteY92" fmla="*/ 269452 h 303825"/>
                <a:gd name="connsiteX93" fmla="*/ 157859 w 390981"/>
                <a:gd name="connsiteY93" fmla="*/ 261143 h 303825"/>
                <a:gd name="connsiteX94" fmla="*/ 155415 w 390981"/>
                <a:gd name="connsiteY94" fmla="*/ 258374 h 303825"/>
                <a:gd name="connsiteX95" fmla="*/ 147922 w 390981"/>
                <a:gd name="connsiteY95" fmla="*/ 255604 h 303825"/>
                <a:gd name="connsiteX96" fmla="*/ 143686 w 390981"/>
                <a:gd name="connsiteY96" fmla="*/ 254790 h 303825"/>
                <a:gd name="connsiteX97" fmla="*/ 140591 w 390981"/>
                <a:gd name="connsiteY97" fmla="*/ 253161 h 303825"/>
                <a:gd name="connsiteX98" fmla="*/ 133586 w 390981"/>
                <a:gd name="connsiteY98" fmla="*/ 252020 h 303825"/>
                <a:gd name="connsiteX99" fmla="*/ 130816 w 390981"/>
                <a:gd name="connsiteY99" fmla="*/ 251043 h 303825"/>
                <a:gd name="connsiteX100" fmla="*/ 126580 w 390981"/>
                <a:gd name="connsiteY100" fmla="*/ 251206 h 303825"/>
                <a:gd name="connsiteX101" fmla="*/ 124300 w 390981"/>
                <a:gd name="connsiteY101" fmla="*/ 253161 h 303825"/>
                <a:gd name="connsiteX102" fmla="*/ 116643 w 390981"/>
                <a:gd name="connsiteY102" fmla="*/ 253161 h 303825"/>
                <a:gd name="connsiteX103" fmla="*/ 114525 w 390981"/>
                <a:gd name="connsiteY103" fmla="*/ 253161 h 303825"/>
                <a:gd name="connsiteX104" fmla="*/ 110452 w 390981"/>
                <a:gd name="connsiteY104" fmla="*/ 252998 h 303825"/>
                <a:gd name="connsiteX105" fmla="*/ 105239 w 390981"/>
                <a:gd name="connsiteY105" fmla="*/ 254138 h 303825"/>
                <a:gd name="connsiteX106" fmla="*/ 103284 w 390981"/>
                <a:gd name="connsiteY106" fmla="*/ 255279 h 303825"/>
                <a:gd name="connsiteX107" fmla="*/ 100515 w 390981"/>
                <a:gd name="connsiteY107" fmla="*/ 256419 h 303825"/>
                <a:gd name="connsiteX108" fmla="*/ 94813 w 390981"/>
                <a:gd name="connsiteY108" fmla="*/ 260980 h 303825"/>
                <a:gd name="connsiteX109" fmla="*/ 93998 w 390981"/>
                <a:gd name="connsiteY109" fmla="*/ 263587 h 303825"/>
                <a:gd name="connsiteX110" fmla="*/ 94976 w 390981"/>
                <a:gd name="connsiteY110" fmla="*/ 265868 h 303825"/>
                <a:gd name="connsiteX111" fmla="*/ 94650 w 390981"/>
                <a:gd name="connsiteY111" fmla="*/ 267334 h 303825"/>
                <a:gd name="connsiteX112" fmla="*/ 93673 w 390981"/>
                <a:gd name="connsiteY112" fmla="*/ 269289 h 303825"/>
                <a:gd name="connsiteX113" fmla="*/ 94813 w 390981"/>
                <a:gd name="connsiteY113" fmla="*/ 274013 h 303825"/>
                <a:gd name="connsiteX114" fmla="*/ 96442 w 390981"/>
                <a:gd name="connsiteY114" fmla="*/ 275968 h 303825"/>
                <a:gd name="connsiteX115" fmla="*/ 96768 w 390981"/>
                <a:gd name="connsiteY115" fmla="*/ 279552 h 303825"/>
                <a:gd name="connsiteX116" fmla="*/ 92044 w 390981"/>
                <a:gd name="connsiteY116" fmla="*/ 279715 h 303825"/>
                <a:gd name="connsiteX117" fmla="*/ 86831 w 390981"/>
                <a:gd name="connsiteY117" fmla="*/ 285091 h 303825"/>
                <a:gd name="connsiteX118" fmla="*/ 87808 w 390981"/>
                <a:gd name="connsiteY118" fmla="*/ 287860 h 303825"/>
                <a:gd name="connsiteX119" fmla="*/ 86016 w 390981"/>
                <a:gd name="connsiteY119" fmla="*/ 290630 h 303825"/>
                <a:gd name="connsiteX120" fmla="*/ 89111 w 390981"/>
                <a:gd name="connsiteY120" fmla="*/ 297798 h 303825"/>
                <a:gd name="connsiteX121" fmla="*/ 92044 w 390981"/>
                <a:gd name="connsiteY121" fmla="*/ 297961 h 303825"/>
                <a:gd name="connsiteX122" fmla="*/ 92207 w 390981"/>
                <a:gd name="connsiteY122" fmla="*/ 300730 h 303825"/>
                <a:gd name="connsiteX123" fmla="*/ 88297 w 390981"/>
                <a:gd name="connsiteY123" fmla="*/ 303825 h 3038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</a:cxnLst>
              <a:rect l="l" t="t" r="r" b="b"/>
              <a:pathLst>
                <a:path w="390981" h="303825">
                  <a:moveTo>
                    <a:pt x="88297" y="303825"/>
                  </a:moveTo>
                  <a:lnTo>
                    <a:pt x="82758" y="296657"/>
                  </a:lnTo>
                  <a:lnTo>
                    <a:pt x="76893" y="295354"/>
                  </a:lnTo>
                  <a:lnTo>
                    <a:pt x="72169" y="289001"/>
                  </a:lnTo>
                  <a:lnTo>
                    <a:pt x="63861" y="282159"/>
                  </a:lnTo>
                  <a:lnTo>
                    <a:pt x="61580" y="286720"/>
                  </a:lnTo>
                  <a:lnTo>
                    <a:pt x="62394" y="289652"/>
                  </a:lnTo>
                  <a:lnTo>
                    <a:pt x="57670" y="291119"/>
                  </a:lnTo>
                  <a:lnTo>
                    <a:pt x="53271" y="291607"/>
                  </a:lnTo>
                  <a:lnTo>
                    <a:pt x="47570" y="284276"/>
                  </a:lnTo>
                  <a:lnTo>
                    <a:pt x="50502" y="280367"/>
                  </a:lnTo>
                  <a:lnTo>
                    <a:pt x="50013" y="275479"/>
                  </a:lnTo>
                  <a:lnTo>
                    <a:pt x="48058" y="273524"/>
                  </a:lnTo>
                  <a:lnTo>
                    <a:pt x="47407" y="270266"/>
                  </a:lnTo>
                  <a:lnTo>
                    <a:pt x="44637" y="268800"/>
                  </a:lnTo>
                  <a:lnTo>
                    <a:pt x="33559" y="274665"/>
                  </a:lnTo>
                  <a:lnTo>
                    <a:pt x="24762" y="267823"/>
                  </a:lnTo>
                  <a:lnTo>
                    <a:pt x="24273" y="257559"/>
                  </a:lnTo>
                  <a:lnTo>
                    <a:pt x="0" y="241268"/>
                  </a:lnTo>
                  <a:lnTo>
                    <a:pt x="0" y="233938"/>
                  </a:lnTo>
                  <a:lnTo>
                    <a:pt x="3095" y="228724"/>
                  </a:lnTo>
                  <a:lnTo>
                    <a:pt x="4073" y="221719"/>
                  </a:lnTo>
                  <a:lnTo>
                    <a:pt x="5865" y="218298"/>
                  </a:lnTo>
                  <a:lnTo>
                    <a:pt x="11729" y="219764"/>
                  </a:lnTo>
                  <a:lnTo>
                    <a:pt x="29487" y="217972"/>
                  </a:lnTo>
                  <a:lnTo>
                    <a:pt x="35352" y="218461"/>
                  </a:lnTo>
                  <a:lnTo>
                    <a:pt x="41868" y="215203"/>
                  </a:lnTo>
                  <a:lnTo>
                    <a:pt x="52945" y="215203"/>
                  </a:lnTo>
                  <a:lnTo>
                    <a:pt x="58159" y="215203"/>
                  </a:lnTo>
                  <a:lnTo>
                    <a:pt x="65489" y="210316"/>
                  </a:lnTo>
                  <a:lnTo>
                    <a:pt x="73146" y="209827"/>
                  </a:lnTo>
                  <a:lnTo>
                    <a:pt x="80803" y="205917"/>
                  </a:lnTo>
                  <a:lnTo>
                    <a:pt x="93510" y="198749"/>
                  </a:lnTo>
                  <a:lnTo>
                    <a:pt x="95302" y="193210"/>
                  </a:lnTo>
                  <a:lnTo>
                    <a:pt x="95954" y="184250"/>
                  </a:lnTo>
                  <a:lnTo>
                    <a:pt x="100189" y="181806"/>
                  </a:lnTo>
                  <a:lnTo>
                    <a:pt x="101818" y="158836"/>
                  </a:lnTo>
                  <a:lnTo>
                    <a:pt x="103122" y="109312"/>
                  </a:lnTo>
                  <a:lnTo>
                    <a:pt x="142220" y="100026"/>
                  </a:lnTo>
                  <a:lnTo>
                    <a:pt x="173824" y="71028"/>
                  </a:lnTo>
                  <a:lnTo>
                    <a:pt x="288675" y="0"/>
                  </a:lnTo>
                  <a:lnTo>
                    <a:pt x="333638" y="11078"/>
                  </a:lnTo>
                  <a:lnTo>
                    <a:pt x="337711" y="15476"/>
                  </a:lnTo>
                  <a:lnTo>
                    <a:pt x="360518" y="6028"/>
                  </a:lnTo>
                  <a:lnTo>
                    <a:pt x="363450" y="9286"/>
                  </a:lnTo>
                  <a:lnTo>
                    <a:pt x="375832" y="44637"/>
                  </a:lnTo>
                  <a:lnTo>
                    <a:pt x="375180" y="51642"/>
                  </a:lnTo>
                  <a:lnTo>
                    <a:pt x="373714" y="54574"/>
                  </a:lnTo>
                  <a:lnTo>
                    <a:pt x="390982" y="75264"/>
                  </a:lnTo>
                  <a:lnTo>
                    <a:pt x="390493" y="84550"/>
                  </a:lnTo>
                  <a:lnTo>
                    <a:pt x="386584" y="88460"/>
                  </a:lnTo>
                  <a:lnTo>
                    <a:pt x="379741" y="136681"/>
                  </a:lnTo>
                  <a:lnTo>
                    <a:pt x="380719" y="173987"/>
                  </a:lnTo>
                  <a:lnTo>
                    <a:pt x="338200" y="217484"/>
                  </a:lnTo>
                  <a:lnTo>
                    <a:pt x="336896" y="220253"/>
                  </a:lnTo>
                  <a:lnTo>
                    <a:pt x="334127" y="221231"/>
                  </a:lnTo>
                  <a:lnTo>
                    <a:pt x="331195" y="221231"/>
                  </a:lnTo>
                  <a:lnTo>
                    <a:pt x="330543" y="224489"/>
                  </a:lnTo>
                  <a:lnTo>
                    <a:pt x="332498" y="256745"/>
                  </a:lnTo>
                  <a:lnTo>
                    <a:pt x="327773" y="254953"/>
                  </a:lnTo>
                  <a:lnTo>
                    <a:pt x="324841" y="259677"/>
                  </a:lnTo>
                  <a:lnTo>
                    <a:pt x="324027" y="262772"/>
                  </a:lnTo>
                  <a:lnTo>
                    <a:pt x="321583" y="263913"/>
                  </a:lnTo>
                  <a:lnTo>
                    <a:pt x="317673" y="262284"/>
                  </a:lnTo>
                  <a:lnTo>
                    <a:pt x="314414" y="263261"/>
                  </a:lnTo>
                  <a:lnTo>
                    <a:pt x="312948" y="266356"/>
                  </a:lnTo>
                  <a:lnTo>
                    <a:pt x="307410" y="268311"/>
                  </a:lnTo>
                  <a:lnTo>
                    <a:pt x="306921" y="269452"/>
                  </a:lnTo>
                  <a:lnTo>
                    <a:pt x="298938" y="272384"/>
                  </a:lnTo>
                  <a:lnTo>
                    <a:pt x="296006" y="270266"/>
                  </a:lnTo>
                  <a:lnTo>
                    <a:pt x="288838" y="269940"/>
                  </a:lnTo>
                  <a:lnTo>
                    <a:pt x="280530" y="266031"/>
                  </a:lnTo>
                  <a:lnTo>
                    <a:pt x="269289" y="264727"/>
                  </a:lnTo>
                  <a:lnTo>
                    <a:pt x="263750" y="267334"/>
                  </a:lnTo>
                  <a:lnTo>
                    <a:pt x="250229" y="266519"/>
                  </a:lnTo>
                  <a:lnTo>
                    <a:pt x="244852" y="267986"/>
                  </a:lnTo>
                  <a:lnTo>
                    <a:pt x="238336" y="277108"/>
                  </a:lnTo>
                  <a:lnTo>
                    <a:pt x="231982" y="281344"/>
                  </a:lnTo>
                  <a:lnTo>
                    <a:pt x="227421" y="280204"/>
                  </a:lnTo>
                  <a:lnTo>
                    <a:pt x="216995" y="276457"/>
                  </a:lnTo>
                  <a:lnTo>
                    <a:pt x="211782" y="275642"/>
                  </a:lnTo>
                  <a:lnTo>
                    <a:pt x="203473" y="271081"/>
                  </a:lnTo>
                  <a:lnTo>
                    <a:pt x="198261" y="269126"/>
                  </a:lnTo>
                  <a:lnTo>
                    <a:pt x="198261" y="267171"/>
                  </a:lnTo>
                  <a:lnTo>
                    <a:pt x="193699" y="263750"/>
                  </a:lnTo>
                  <a:lnTo>
                    <a:pt x="189626" y="263424"/>
                  </a:lnTo>
                  <a:lnTo>
                    <a:pt x="188649" y="264564"/>
                  </a:lnTo>
                  <a:lnTo>
                    <a:pt x="181318" y="265868"/>
                  </a:lnTo>
                  <a:lnTo>
                    <a:pt x="177571" y="267823"/>
                  </a:lnTo>
                  <a:lnTo>
                    <a:pt x="173987" y="268148"/>
                  </a:lnTo>
                  <a:lnTo>
                    <a:pt x="171055" y="271570"/>
                  </a:lnTo>
                  <a:lnTo>
                    <a:pt x="168448" y="272547"/>
                  </a:lnTo>
                  <a:lnTo>
                    <a:pt x="163398" y="269452"/>
                  </a:lnTo>
                  <a:lnTo>
                    <a:pt x="157859" y="261143"/>
                  </a:lnTo>
                  <a:lnTo>
                    <a:pt x="155415" y="258374"/>
                  </a:lnTo>
                  <a:lnTo>
                    <a:pt x="147922" y="255604"/>
                  </a:lnTo>
                  <a:lnTo>
                    <a:pt x="143686" y="254790"/>
                  </a:lnTo>
                  <a:lnTo>
                    <a:pt x="140591" y="253161"/>
                  </a:lnTo>
                  <a:lnTo>
                    <a:pt x="133586" y="252020"/>
                  </a:lnTo>
                  <a:lnTo>
                    <a:pt x="130816" y="251043"/>
                  </a:lnTo>
                  <a:lnTo>
                    <a:pt x="126580" y="251206"/>
                  </a:lnTo>
                  <a:lnTo>
                    <a:pt x="124300" y="253161"/>
                  </a:lnTo>
                  <a:lnTo>
                    <a:pt x="116643" y="253161"/>
                  </a:lnTo>
                  <a:lnTo>
                    <a:pt x="114525" y="253161"/>
                  </a:lnTo>
                  <a:lnTo>
                    <a:pt x="110452" y="252998"/>
                  </a:lnTo>
                  <a:lnTo>
                    <a:pt x="105239" y="254138"/>
                  </a:lnTo>
                  <a:lnTo>
                    <a:pt x="103284" y="255279"/>
                  </a:lnTo>
                  <a:lnTo>
                    <a:pt x="100515" y="256419"/>
                  </a:lnTo>
                  <a:lnTo>
                    <a:pt x="94813" y="260980"/>
                  </a:lnTo>
                  <a:lnTo>
                    <a:pt x="93998" y="263587"/>
                  </a:lnTo>
                  <a:lnTo>
                    <a:pt x="94976" y="265868"/>
                  </a:lnTo>
                  <a:lnTo>
                    <a:pt x="94650" y="267334"/>
                  </a:lnTo>
                  <a:lnTo>
                    <a:pt x="93673" y="269289"/>
                  </a:lnTo>
                  <a:lnTo>
                    <a:pt x="94813" y="274013"/>
                  </a:lnTo>
                  <a:lnTo>
                    <a:pt x="96442" y="275968"/>
                  </a:lnTo>
                  <a:lnTo>
                    <a:pt x="96768" y="279552"/>
                  </a:lnTo>
                  <a:lnTo>
                    <a:pt x="92044" y="279715"/>
                  </a:lnTo>
                  <a:lnTo>
                    <a:pt x="86831" y="285091"/>
                  </a:lnTo>
                  <a:lnTo>
                    <a:pt x="87808" y="287860"/>
                  </a:lnTo>
                  <a:lnTo>
                    <a:pt x="86016" y="290630"/>
                  </a:lnTo>
                  <a:lnTo>
                    <a:pt x="89111" y="297798"/>
                  </a:lnTo>
                  <a:lnTo>
                    <a:pt x="92044" y="297961"/>
                  </a:lnTo>
                  <a:lnTo>
                    <a:pt x="92207" y="300730"/>
                  </a:lnTo>
                  <a:lnTo>
                    <a:pt x="88297" y="303825"/>
                  </a:lnTo>
                  <a:close/>
                </a:path>
              </a:pathLst>
            </a:custGeom>
            <a:solidFill>
              <a:schemeClr val="bg2"/>
            </a:solidFill>
            <a:ln w="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9" name="Forma livre: Forma 118">
              <a:extLst>
                <a:ext uri="{FF2B5EF4-FFF2-40B4-BE49-F238E27FC236}">
                  <a16:creationId xmlns:a16="http://schemas.microsoft.com/office/drawing/2014/main" id="{ED66F5AD-C3FC-A4A3-B1EB-1B99B38C1C28}"/>
                </a:ext>
              </a:extLst>
            </p:cNvPr>
            <p:cNvSpPr/>
            <p:nvPr/>
          </p:nvSpPr>
          <p:spPr>
            <a:xfrm>
              <a:off x="6066003" y="4587844"/>
              <a:ext cx="303367" cy="259764"/>
            </a:xfrm>
            <a:custGeom>
              <a:avLst/>
              <a:gdLst>
                <a:gd name="connsiteX0" fmla="*/ 280203 w 293562"/>
                <a:gd name="connsiteY0" fmla="*/ 21993 h 251368"/>
                <a:gd name="connsiteX1" fmla="*/ 279878 w 293562"/>
                <a:gd name="connsiteY1" fmla="*/ 21830 h 251368"/>
                <a:gd name="connsiteX2" fmla="*/ 276294 w 293562"/>
                <a:gd name="connsiteY2" fmla="*/ 15639 h 251368"/>
                <a:gd name="connsiteX3" fmla="*/ 269614 w 293562"/>
                <a:gd name="connsiteY3" fmla="*/ 7005 h 251368"/>
                <a:gd name="connsiteX4" fmla="*/ 261469 w 293562"/>
                <a:gd name="connsiteY4" fmla="*/ 3910 h 251368"/>
                <a:gd name="connsiteX5" fmla="*/ 258537 w 293562"/>
                <a:gd name="connsiteY5" fmla="*/ 8634 h 251368"/>
                <a:gd name="connsiteX6" fmla="*/ 257722 w 293562"/>
                <a:gd name="connsiteY6" fmla="*/ 11729 h 251368"/>
                <a:gd name="connsiteX7" fmla="*/ 255278 w 293562"/>
                <a:gd name="connsiteY7" fmla="*/ 12870 h 251368"/>
                <a:gd name="connsiteX8" fmla="*/ 251369 w 293562"/>
                <a:gd name="connsiteY8" fmla="*/ 11241 h 251368"/>
                <a:gd name="connsiteX9" fmla="*/ 248110 w 293562"/>
                <a:gd name="connsiteY9" fmla="*/ 12218 h 251368"/>
                <a:gd name="connsiteX10" fmla="*/ 246644 w 293562"/>
                <a:gd name="connsiteY10" fmla="*/ 15313 h 251368"/>
                <a:gd name="connsiteX11" fmla="*/ 241105 w 293562"/>
                <a:gd name="connsiteY11" fmla="*/ 17269 h 251368"/>
                <a:gd name="connsiteX12" fmla="*/ 238662 w 293562"/>
                <a:gd name="connsiteY12" fmla="*/ 22156 h 251368"/>
                <a:gd name="connsiteX13" fmla="*/ 234915 w 293562"/>
                <a:gd name="connsiteY13" fmla="*/ 22970 h 251368"/>
                <a:gd name="connsiteX14" fmla="*/ 229702 w 293562"/>
                <a:gd name="connsiteY14" fmla="*/ 19223 h 251368"/>
                <a:gd name="connsiteX15" fmla="*/ 222534 w 293562"/>
                <a:gd name="connsiteY15" fmla="*/ 18898 h 251368"/>
                <a:gd name="connsiteX16" fmla="*/ 214225 w 293562"/>
                <a:gd name="connsiteY16" fmla="*/ 14988 h 251368"/>
                <a:gd name="connsiteX17" fmla="*/ 202985 w 293562"/>
                <a:gd name="connsiteY17" fmla="*/ 13685 h 251368"/>
                <a:gd name="connsiteX18" fmla="*/ 197446 w 293562"/>
                <a:gd name="connsiteY18" fmla="*/ 16291 h 251368"/>
                <a:gd name="connsiteX19" fmla="*/ 183925 w 293562"/>
                <a:gd name="connsiteY19" fmla="*/ 15477 h 251368"/>
                <a:gd name="connsiteX20" fmla="*/ 178548 w 293562"/>
                <a:gd name="connsiteY20" fmla="*/ 16943 h 251368"/>
                <a:gd name="connsiteX21" fmla="*/ 172032 w 293562"/>
                <a:gd name="connsiteY21" fmla="*/ 26066 h 251368"/>
                <a:gd name="connsiteX22" fmla="*/ 165678 w 293562"/>
                <a:gd name="connsiteY22" fmla="*/ 30301 h 251368"/>
                <a:gd name="connsiteX23" fmla="*/ 161117 w 293562"/>
                <a:gd name="connsiteY23" fmla="*/ 29161 h 251368"/>
                <a:gd name="connsiteX24" fmla="*/ 150691 w 293562"/>
                <a:gd name="connsiteY24" fmla="*/ 25414 h 251368"/>
                <a:gd name="connsiteX25" fmla="*/ 145478 w 293562"/>
                <a:gd name="connsiteY25" fmla="*/ 24599 h 251368"/>
                <a:gd name="connsiteX26" fmla="*/ 137169 w 293562"/>
                <a:gd name="connsiteY26" fmla="*/ 20038 h 251368"/>
                <a:gd name="connsiteX27" fmla="*/ 131957 w 293562"/>
                <a:gd name="connsiteY27" fmla="*/ 18083 h 251368"/>
                <a:gd name="connsiteX28" fmla="*/ 131957 w 293562"/>
                <a:gd name="connsiteY28" fmla="*/ 16128 h 251368"/>
                <a:gd name="connsiteX29" fmla="*/ 127395 w 293562"/>
                <a:gd name="connsiteY29" fmla="*/ 12707 h 251368"/>
                <a:gd name="connsiteX30" fmla="*/ 123322 w 293562"/>
                <a:gd name="connsiteY30" fmla="*/ 12381 h 251368"/>
                <a:gd name="connsiteX31" fmla="*/ 122345 w 293562"/>
                <a:gd name="connsiteY31" fmla="*/ 13521 h 251368"/>
                <a:gd name="connsiteX32" fmla="*/ 115014 w 293562"/>
                <a:gd name="connsiteY32" fmla="*/ 14825 h 251368"/>
                <a:gd name="connsiteX33" fmla="*/ 111267 w 293562"/>
                <a:gd name="connsiteY33" fmla="*/ 16780 h 251368"/>
                <a:gd name="connsiteX34" fmla="*/ 107683 w 293562"/>
                <a:gd name="connsiteY34" fmla="*/ 17106 h 251368"/>
                <a:gd name="connsiteX35" fmla="*/ 104750 w 293562"/>
                <a:gd name="connsiteY35" fmla="*/ 20527 h 251368"/>
                <a:gd name="connsiteX36" fmla="*/ 102144 w 293562"/>
                <a:gd name="connsiteY36" fmla="*/ 21504 h 251368"/>
                <a:gd name="connsiteX37" fmla="*/ 97094 w 293562"/>
                <a:gd name="connsiteY37" fmla="*/ 18409 h 251368"/>
                <a:gd name="connsiteX38" fmla="*/ 91555 w 293562"/>
                <a:gd name="connsiteY38" fmla="*/ 10101 h 251368"/>
                <a:gd name="connsiteX39" fmla="*/ 89111 w 293562"/>
                <a:gd name="connsiteY39" fmla="*/ 7331 h 251368"/>
                <a:gd name="connsiteX40" fmla="*/ 81618 w 293562"/>
                <a:gd name="connsiteY40" fmla="*/ 4562 h 251368"/>
                <a:gd name="connsiteX41" fmla="*/ 77382 w 293562"/>
                <a:gd name="connsiteY41" fmla="*/ 3747 h 251368"/>
                <a:gd name="connsiteX42" fmla="*/ 74287 w 293562"/>
                <a:gd name="connsiteY42" fmla="*/ 2118 h 251368"/>
                <a:gd name="connsiteX43" fmla="*/ 67282 w 293562"/>
                <a:gd name="connsiteY43" fmla="*/ 978 h 251368"/>
                <a:gd name="connsiteX44" fmla="*/ 64512 w 293562"/>
                <a:gd name="connsiteY44" fmla="*/ 0 h 251368"/>
                <a:gd name="connsiteX45" fmla="*/ 60276 w 293562"/>
                <a:gd name="connsiteY45" fmla="*/ 163 h 251368"/>
                <a:gd name="connsiteX46" fmla="*/ 57996 w 293562"/>
                <a:gd name="connsiteY46" fmla="*/ 2118 h 251368"/>
                <a:gd name="connsiteX47" fmla="*/ 50339 w 293562"/>
                <a:gd name="connsiteY47" fmla="*/ 2118 h 251368"/>
                <a:gd name="connsiteX48" fmla="*/ 48221 w 293562"/>
                <a:gd name="connsiteY48" fmla="*/ 2118 h 251368"/>
                <a:gd name="connsiteX49" fmla="*/ 44148 w 293562"/>
                <a:gd name="connsiteY49" fmla="*/ 1955 h 251368"/>
                <a:gd name="connsiteX50" fmla="*/ 38935 w 293562"/>
                <a:gd name="connsiteY50" fmla="*/ 3095 h 251368"/>
                <a:gd name="connsiteX51" fmla="*/ 36980 w 293562"/>
                <a:gd name="connsiteY51" fmla="*/ 4236 h 251368"/>
                <a:gd name="connsiteX52" fmla="*/ 34211 w 293562"/>
                <a:gd name="connsiteY52" fmla="*/ 5376 h 251368"/>
                <a:gd name="connsiteX53" fmla="*/ 28509 w 293562"/>
                <a:gd name="connsiteY53" fmla="*/ 9937 h 251368"/>
                <a:gd name="connsiteX54" fmla="*/ 27694 w 293562"/>
                <a:gd name="connsiteY54" fmla="*/ 12544 h 251368"/>
                <a:gd name="connsiteX55" fmla="*/ 28672 w 293562"/>
                <a:gd name="connsiteY55" fmla="*/ 14825 h 251368"/>
                <a:gd name="connsiteX56" fmla="*/ 28346 w 293562"/>
                <a:gd name="connsiteY56" fmla="*/ 16291 h 251368"/>
                <a:gd name="connsiteX57" fmla="*/ 27369 w 293562"/>
                <a:gd name="connsiteY57" fmla="*/ 18246 h 251368"/>
                <a:gd name="connsiteX58" fmla="*/ 28509 w 293562"/>
                <a:gd name="connsiteY58" fmla="*/ 22970 h 251368"/>
                <a:gd name="connsiteX59" fmla="*/ 30138 w 293562"/>
                <a:gd name="connsiteY59" fmla="*/ 24925 h 251368"/>
                <a:gd name="connsiteX60" fmla="*/ 30464 w 293562"/>
                <a:gd name="connsiteY60" fmla="*/ 28509 h 251368"/>
                <a:gd name="connsiteX61" fmla="*/ 25739 w 293562"/>
                <a:gd name="connsiteY61" fmla="*/ 28672 h 251368"/>
                <a:gd name="connsiteX62" fmla="*/ 20527 w 293562"/>
                <a:gd name="connsiteY62" fmla="*/ 34048 h 251368"/>
                <a:gd name="connsiteX63" fmla="*/ 21504 w 293562"/>
                <a:gd name="connsiteY63" fmla="*/ 36818 h 251368"/>
                <a:gd name="connsiteX64" fmla="*/ 19712 w 293562"/>
                <a:gd name="connsiteY64" fmla="*/ 39587 h 251368"/>
                <a:gd name="connsiteX65" fmla="*/ 22807 w 293562"/>
                <a:gd name="connsiteY65" fmla="*/ 46755 h 251368"/>
                <a:gd name="connsiteX66" fmla="*/ 25739 w 293562"/>
                <a:gd name="connsiteY66" fmla="*/ 46918 h 251368"/>
                <a:gd name="connsiteX67" fmla="*/ 25902 w 293562"/>
                <a:gd name="connsiteY67" fmla="*/ 49687 h 251368"/>
                <a:gd name="connsiteX68" fmla="*/ 21341 w 293562"/>
                <a:gd name="connsiteY68" fmla="*/ 53271 h 251368"/>
                <a:gd name="connsiteX69" fmla="*/ 20201 w 293562"/>
                <a:gd name="connsiteY69" fmla="*/ 58647 h 251368"/>
                <a:gd name="connsiteX70" fmla="*/ 21341 w 293562"/>
                <a:gd name="connsiteY70" fmla="*/ 62720 h 251368"/>
                <a:gd name="connsiteX71" fmla="*/ 28346 w 293562"/>
                <a:gd name="connsiteY71" fmla="*/ 68259 h 251368"/>
                <a:gd name="connsiteX72" fmla="*/ 28509 w 293562"/>
                <a:gd name="connsiteY72" fmla="*/ 74450 h 251368"/>
                <a:gd name="connsiteX73" fmla="*/ 31116 w 293562"/>
                <a:gd name="connsiteY73" fmla="*/ 83735 h 251368"/>
                <a:gd name="connsiteX74" fmla="*/ 30138 w 293562"/>
                <a:gd name="connsiteY74" fmla="*/ 86668 h 251368"/>
                <a:gd name="connsiteX75" fmla="*/ 24599 w 293562"/>
                <a:gd name="connsiteY75" fmla="*/ 86994 h 251368"/>
                <a:gd name="connsiteX76" fmla="*/ 22644 w 293562"/>
                <a:gd name="connsiteY76" fmla="*/ 90252 h 251368"/>
                <a:gd name="connsiteX77" fmla="*/ 22155 w 293562"/>
                <a:gd name="connsiteY77" fmla="*/ 92533 h 251368"/>
                <a:gd name="connsiteX78" fmla="*/ 27694 w 293562"/>
                <a:gd name="connsiteY78" fmla="*/ 98397 h 251368"/>
                <a:gd name="connsiteX79" fmla="*/ 26228 w 293562"/>
                <a:gd name="connsiteY79" fmla="*/ 100841 h 251368"/>
                <a:gd name="connsiteX80" fmla="*/ 22807 w 293562"/>
                <a:gd name="connsiteY80" fmla="*/ 100515 h 251368"/>
                <a:gd name="connsiteX81" fmla="*/ 19223 w 293562"/>
                <a:gd name="connsiteY81" fmla="*/ 103773 h 251368"/>
                <a:gd name="connsiteX82" fmla="*/ 17920 w 293562"/>
                <a:gd name="connsiteY82" fmla="*/ 107520 h 251368"/>
                <a:gd name="connsiteX83" fmla="*/ 14336 w 293562"/>
                <a:gd name="connsiteY83" fmla="*/ 113711 h 251368"/>
                <a:gd name="connsiteX84" fmla="*/ 12055 w 293562"/>
                <a:gd name="connsiteY84" fmla="*/ 118435 h 251368"/>
                <a:gd name="connsiteX85" fmla="*/ 9612 w 293562"/>
                <a:gd name="connsiteY85" fmla="*/ 120390 h 251368"/>
                <a:gd name="connsiteX86" fmla="*/ 6679 w 293562"/>
                <a:gd name="connsiteY86" fmla="*/ 120879 h 251368"/>
                <a:gd name="connsiteX87" fmla="*/ 2607 w 293562"/>
                <a:gd name="connsiteY87" fmla="*/ 122508 h 251368"/>
                <a:gd name="connsiteX88" fmla="*/ 652 w 293562"/>
                <a:gd name="connsiteY88" fmla="*/ 125440 h 251368"/>
                <a:gd name="connsiteX89" fmla="*/ 977 w 293562"/>
                <a:gd name="connsiteY89" fmla="*/ 130164 h 251368"/>
                <a:gd name="connsiteX90" fmla="*/ 489 w 293562"/>
                <a:gd name="connsiteY90" fmla="*/ 133749 h 251368"/>
                <a:gd name="connsiteX91" fmla="*/ 0 w 293562"/>
                <a:gd name="connsiteY91" fmla="*/ 139450 h 251368"/>
                <a:gd name="connsiteX92" fmla="*/ 489 w 293562"/>
                <a:gd name="connsiteY92" fmla="*/ 141242 h 251368"/>
                <a:gd name="connsiteX93" fmla="*/ 977 w 293562"/>
                <a:gd name="connsiteY93" fmla="*/ 145478 h 251368"/>
                <a:gd name="connsiteX94" fmla="*/ 489 w 293562"/>
                <a:gd name="connsiteY94" fmla="*/ 147433 h 251368"/>
                <a:gd name="connsiteX95" fmla="*/ 1466 w 293562"/>
                <a:gd name="connsiteY95" fmla="*/ 149225 h 251368"/>
                <a:gd name="connsiteX96" fmla="*/ 1629 w 293562"/>
                <a:gd name="connsiteY96" fmla="*/ 152157 h 251368"/>
                <a:gd name="connsiteX97" fmla="*/ 652 w 293562"/>
                <a:gd name="connsiteY97" fmla="*/ 156067 h 251368"/>
                <a:gd name="connsiteX98" fmla="*/ 1955 w 293562"/>
                <a:gd name="connsiteY98" fmla="*/ 166819 h 251368"/>
                <a:gd name="connsiteX99" fmla="*/ 1629 w 293562"/>
                <a:gd name="connsiteY99" fmla="*/ 170566 h 251368"/>
                <a:gd name="connsiteX100" fmla="*/ 2444 w 293562"/>
                <a:gd name="connsiteY100" fmla="*/ 174802 h 251368"/>
                <a:gd name="connsiteX101" fmla="*/ 1303 w 293562"/>
                <a:gd name="connsiteY101" fmla="*/ 187671 h 251368"/>
                <a:gd name="connsiteX102" fmla="*/ 2280 w 293562"/>
                <a:gd name="connsiteY102" fmla="*/ 192722 h 251368"/>
                <a:gd name="connsiteX103" fmla="*/ 12218 w 293562"/>
                <a:gd name="connsiteY103" fmla="*/ 194839 h 251368"/>
                <a:gd name="connsiteX104" fmla="*/ 20364 w 293562"/>
                <a:gd name="connsiteY104" fmla="*/ 191581 h 251368"/>
                <a:gd name="connsiteX105" fmla="*/ 39261 w 293562"/>
                <a:gd name="connsiteY105" fmla="*/ 201356 h 251368"/>
                <a:gd name="connsiteX106" fmla="*/ 49687 w 293562"/>
                <a:gd name="connsiteY106" fmla="*/ 211619 h 251368"/>
                <a:gd name="connsiteX107" fmla="*/ 56041 w 293562"/>
                <a:gd name="connsiteY107" fmla="*/ 224000 h 251368"/>
                <a:gd name="connsiteX108" fmla="*/ 55878 w 293562"/>
                <a:gd name="connsiteY108" fmla="*/ 232146 h 251368"/>
                <a:gd name="connsiteX109" fmla="*/ 59299 w 293562"/>
                <a:gd name="connsiteY109" fmla="*/ 233938 h 251368"/>
                <a:gd name="connsiteX110" fmla="*/ 62231 w 293562"/>
                <a:gd name="connsiteY110" fmla="*/ 242735 h 251368"/>
                <a:gd name="connsiteX111" fmla="*/ 68748 w 293562"/>
                <a:gd name="connsiteY111" fmla="*/ 248762 h 251368"/>
                <a:gd name="connsiteX112" fmla="*/ 78034 w 293562"/>
                <a:gd name="connsiteY112" fmla="*/ 251369 h 251368"/>
                <a:gd name="connsiteX113" fmla="*/ 102796 w 293562"/>
                <a:gd name="connsiteY113" fmla="*/ 249903 h 251368"/>
                <a:gd name="connsiteX114" fmla="*/ 107846 w 293562"/>
                <a:gd name="connsiteY114" fmla="*/ 246808 h 251368"/>
                <a:gd name="connsiteX115" fmla="*/ 111430 w 293562"/>
                <a:gd name="connsiteY115" fmla="*/ 248436 h 251368"/>
                <a:gd name="connsiteX116" fmla="*/ 123322 w 293562"/>
                <a:gd name="connsiteY116" fmla="*/ 244201 h 251368"/>
                <a:gd name="connsiteX117" fmla="*/ 127232 w 293562"/>
                <a:gd name="connsiteY117" fmla="*/ 245830 h 251368"/>
                <a:gd name="connsiteX118" fmla="*/ 133748 w 293562"/>
                <a:gd name="connsiteY118" fmla="*/ 244527 h 251368"/>
                <a:gd name="connsiteX119" fmla="*/ 136355 w 293562"/>
                <a:gd name="connsiteY119" fmla="*/ 237359 h 251368"/>
                <a:gd name="connsiteX120" fmla="*/ 140916 w 293562"/>
                <a:gd name="connsiteY120" fmla="*/ 242246 h 251368"/>
                <a:gd name="connsiteX121" fmla="*/ 142871 w 293562"/>
                <a:gd name="connsiteY121" fmla="*/ 241106 h 251368"/>
                <a:gd name="connsiteX122" fmla="*/ 143034 w 293562"/>
                <a:gd name="connsiteY122" fmla="*/ 241106 h 251368"/>
                <a:gd name="connsiteX123" fmla="*/ 143197 w 293562"/>
                <a:gd name="connsiteY123" fmla="*/ 237847 h 251368"/>
                <a:gd name="connsiteX124" fmla="*/ 149876 w 293562"/>
                <a:gd name="connsiteY124" fmla="*/ 230354 h 251368"/>
                <a:gd name="connsiteX125" fmla="*/ 152483 w 293562"/>
                <a:gd name="connsiteY125" fmla="*/ 223837 h 251368"/>
                <a:gd name="connsiteX126" fmla="*/ 151505 w 293562"/>
                <a:gd name="connsiteY126" fmla="*/ 217810 h 251368"/>
                <a:gd name="connsiteX127" fmla="*/ 151343 w 293562"/>
                <a:gd name="connsiteY127" fmla="*/ 212434 h 251368"/>
                <a:gd name="connsiteX128" fmla="*/ 154275 w 293562"/>
                <a:gd name="connsiteY128" fmla="*/ 210316 h 251368"/>
                <a:gd name="connsiteX129" fmla="*/ 154275 w 293562"/>
                <a:gd name="connsiteY129" fmla="*/ 206732 h 251368"/>
                <a:gd name="connsiteX130" fmla="*/ 158348 w 293562"/>
                <a:gd name="connsiteY130" fmla="*/ 202822 h 251368"/>
                <a:gd name="connsiteX131" fmla="*/ 162909 w 293562"/>
                <a:gd name="connsiteY131" fmla="*/ 199890 h 251368"/>
                <a:gd name="connsiteX132" fmla="*/ 165027 w 293562"/>
                <a:gd name="connsiteY132" fmla="*/ 197120 h 251368"/>
                <a:gd name="connsiteX133" fmla="*/ 172684 w 293562"/>
                <a:gd name="connsiteY133" fmla="*/ 191418 h 251368"/>
                <a:gd name="connsiteX134" fmla="*/ 172195 w 293562"/>
                <a:gd name="connsiteY134" fmla="*/ 186368 h 251368"/>
                <a:gd name="connsiteX135" fmla="*/ 173335 w 293562"/>
                <a:gd name="connsiteY135" fmla="*/ 183599 h 251368"/>
                <a:gd name="connsiteX136" fmla="*/ 179037 w 293562"/>
                <a:gd name="connsiteY136" fmla="*/ 183436 h 251368"/>
                <a:gd name="connsiteX137" fmla="*/ 181481 w 293562"/>
                <a:gd name="connsiteY137" fmla="*/ 180178 h 251368"/>
                <a:gd name="connsiteX138" fmla="*/ 182784 w 293562"/>
                <a:gd name="connsiteY138" fmla="*/ 181481 h 251368"/>
                <a:gd name="connsiteX139" fmla="*/ 189626 w 293562"/>
                <a:gd name="connsiteY139" fmla="*/ 183599 h 251368"/>
                <a:gd name="connsiteX140" fmla="*/ 192396 w 293562"/>
                <a:gd name="connsiteY140" fmla="*/ 183436 h 251368"/>
                <a:gd name="connsiteX141" fmla="*/ 197283 w 293562"/>
                <a:gd name="connsiteY141" fmla="*/ 185879 h 251368"/>
                <a:gd name="connsiteX142" fmla="*/ 199889 w 293562"/>
                <a:gd name="connsiteY142" fmla="*/ 190930 h 251368"/>
                <a:gd name="connsiteX143" fmla="*/ 204288 w 293562"/>
                <a:gd name="connsiteY143" fmla="*/ 194188 h 251368"/>
                <a:gd name="connsiteX144" fmla="*/ 207383 w 293562"/>
                <a:gd name="connsiteY144" fmla="*/ 195328 h 251368"/>
                <a:gd name="connsiteX145" fmla="*/ 212759 w 293562"/>
                <a:gd name="connsiteY145" fmla="*/ 192233 h 251368"/>
                <a:gd name="connsiteX146" fmla="*/ 216180 w 293562"/>
                <a:gd name="connsiteY146" fmla="*/ 186531 h 251368"/>
                <a:gd name="connsiteX147" fmla="*/ 216180 w 293562"/>
                <a:gd name="connsiteY147" fmla="*/ 184413 h 251368"/>
                <a:gd name="connsiteX148" fmla="*/ 218135 w 293562"/>
                <a:gd name="connsiteY148" fmla="*/ 181481 h 251368"/>
                <a:gd name="connsiteX149" fmla="*/ 222045 w 293562"/>
                <a:gd name="connsiteY149" fmla="*/ 180178 h 251368"/>
                <a:gd name="connsiteX150" fmla="*/ 224978 w 293562"/>
                <a:gd name="connsiteY150" fmla="*/ 175453 h 251368"/>
                <a:gd name="connsiteX151" fmla="*/ 224814 w 293562"/>
                <a:gd name="connsiteY151" fmla="*/ 171869 h 251368"/>
                <a:gd name="connsiteX152" fmla="*/ 226769 w 293562"/>
                <a:gd name="connsiteY152" fmla="*/ 165679 h 251368"/>
                <a:gd name="connsiteX153" fmla="*/ 234589 w 293562"/>
                <a:gd name="connsiteY153" fmla="*/ 157859 h 251368"/>
                <a:gd name="connsiteX154" fmla="*/ 235567 w 293562"/>
                <a:gd name="connsiteY154" fmla="*/ 153623 h 251368"/>
                <a:gd name="connsiteX155" fmla="*/ 234263 w 293562"/>
                <a:gd name="connsiteY155" fmla="*/ 149877 h 251368"/>
                <a:gd name="connsiteX156" fmla="*/ 236870 w 293562"/>
                <a:gd name="connsiteY156" fmla="*/ 145967 h 251368"/>
                <a:gd name="connsiteX157" fmla="*/ 243386 w 293562"/>
                <a:gd name="connsiteY157" fmla="*/ 138962 h 251368"/>
                <a:gd name="connsiteX158" fmla="*/ 248600 w 293562"/>
                <a:gd name="connsiteY158" fmla="*/ 135541 h 251368"/>
                <a:gd name="connsiteX159" fmla="*/ 249088 w 293562"/>
                <a:gd name="connsiteY159" fmla="*/ 130002 h 251368"/>
                <a:gd name="connsiteX160" fmla="*/ 251043 w 293562"/>
                <a:gd name="connsiteY160" fmla="*/ 126418 h 251368"/>
                <a:gd name="connsiteX161" fmla="*/ 250066 w 293562"/>
                <a:gd name="connsiteY161" fmla="*/ 118598 h 251368"/>
                <a:gd name="connsiteX162" fmla="*/ 253812 w 293562"/>
                <a:gd name="connsiteY162" fmla="*/ 115014 h 251368"/>
                <a:gd name="connsiteX163" fmla="*/ 260655 w 293562"/>
                <a:gd name="connsiteY163" fmla="*/ 113059 h 251368"/>
                <a:gd name="connsiteX164" fmla="*/ 265053 w 293562"/>
                <a:gd name="connsiteY164" fmla="*/ 107520 h 251368"/>
                <a:gd name="connsiteX165" fmla="*/ 266030 w 293562"/>
                <a:gd name="connsiteY165" fmla="*/ 101493 h 251368"/>
                <a:gd name="connsiteX166" fmla="*/ 266030 w 293562"/>
                <a:gd name="connsiteY166" fmla="*/ 94976 h 251368"/>
                <a:gd name="connsiteX167" fmla="*/ 265379 w 293562"/>
                <a:gd name="connsiteY167" fmla="*/ 91066 h 251368"/>
                <a:gd name="connsiteX168" fmla="*/ 268311 w 293562"/>
                <a:gd name="connsiteY168" fmla="*/ 86016 h 251368"/>
                <a:gd name="connsiteX169" fmla="*/ 272384 w 293562"/>
                <a:gd name="connsiteY169" fmla="*/ 77545 h 251368"/>
                <a:gd name="connsiteX170" fmla="*/ 275153 w 293562"/>
                <a:gd name="connsiteY170" fmla="*/ 75264 h 251368"/>
                <a:gd name="connsiteX171" fmla="*/ 275805 w 293562"/>
                <a:gd name="connsiteY171" fmla="*/ 73146 h 251368"/>
                <a:gd name="connsiteX172" fmla="*/ 280855 w 293562"/>
                <a:gd name="connsiteY172" fmla="*/ 69074 h 251368"/>
                <a:gd name="connsiteX173" fmla="*/ 283787 w 293562"/>
                <a:gd name="connsiteY173" fmla="*/ 69399 h 251368"/>
                <a:gd name="connsiteX174" fmla="*/ 287209 w 293562"/>
                <a:gd name="connsiteY174" fmla="*/ 65490 h 251368"/>
                <a:gd name="connsiteX175" fmla="*/ 293073 w 293562"/>
                <a:gd name="connsiteY175" fmla="*/ 62720 h 251368"/>
                <a:gd name="connsiteX176" fmla="*/ 293562 w 293562"/>
                <a:gd name="connsiteY176" fmla="*/ 59625 h 251368"/>
                <a:gd name="connsiteX177" fmla="*/ 291607 w 293562"/>
                <a:gd name="connsiteY177" fmla="*/ 52783 h 251368"/>
                <a:gd name="connsiteX178" fmla="*/ 291444 w 293562"/>
                <a:gd name="connsiteY178" fmla="*/ 50013 h 251368"/>
                <a:gd name="connsiteX179" fmla="*/ 289652 w 293562"/>
                <a:gd name="connsiteY179" fmla="*/ 45778 h 251368"/>
                <a:gd name="connsiteX180" fmla="*/ 285091 w 293562"/>
                <a:gd name="connsiteY180" fmla="*/ 44637 h 251368"/>
                <a:gd name="connsiteX181" fmla="*/ 282973 w 293562"/>
                <a:gd name="connsiteY181" fmla="*/ 40076 h 251368"/>
                <a:gd name="connsiteX182" fmla="*/ 283136 w 293562"/>
                <a:gd name="connsiteY182" fmla="*/ 32256 h 251368"/>
                <a:gd name="connsiteX183" fmla="*/ 282484 w 293562"/>
                <a:gd name="connsiteY183" fmla="*/ 28346 h 251368"/>
                <a:gd name="connsiteX184" fmla="*/ 280203 w 293562"/>
                <a:gd name="connsiteY184" fmla="*/ 21993 h 251368"/>
                <a:gd name="connsiteX185" fmla="*/ 280203 w 293562"/>
                <a:gd name="connsiteY185" fmla="*/ 21993 h 2513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</a:cxnLst>
              <a:rect l="l" t="t" r="r" b="b"/>
              <a:pathLst>
                <a:path w="293562" h="251368">
                  <a:moveTo>
                    <a:pt x="280203" y="21993"/>
                  </a:moveTo>
                  <a:lnTo>
                    <a:pt x="279878" y="21830"/>
                  </a:lnTo>
                  <a:lnTo>
                    <a:pt x="276294" y="15639"/>
                  </a:lnTo>
                  <a:lnTo>
                    <a:pt x="269614" y="7005"/>
                  </a:lnTo>
                  <a:lnTo>
                    <a:pt x="261469" y="3910"/>
                  </a:lnTo>
                  <a:lnTo>
                    <a:pt x="258537" y="8634"/>
                  </a:lnTo>
                  <a:lnTo>
                    <a:pt x="257722" y="11729"/>
                  </a:lnTo>
                  <a:lnTo>
                    <a:pt x="255278" y="12870"/>
                  </a:lnTo>
                  <a:lnTo>
                    <a:pt x="251369" y="11241"/>
                  </a:lnTo>
                  <a:lnTo>
                    <a:pt x="248110" y="12218"/>
                  </a:lnTo>
                  <a:lnTo>
                    <a:pt x="246644" y="15313"/>
                  </a:lnTo>
                  <a:lnTo>
                    <a:pt x="241105" y="17269"/>
                  </a:lnTo>
                  <a:lnTo>
                    <a:pt x="238662" y="22156"/>
                  </a:lnTo>
                  <a:lnTo>
                    <a:pt x="234915" y="22970"/>
                  </a:lnTo>
                  <a:lnTo>
                    <a:pt x="229702" y="19223"/>
                  </a:lnTo>
                  <a:lnTo>
                    <a:pt x="222534" y="18898"/>
                  </a:lnTo>
                  <a:lnTo>
                    <a:pt x="214225" y="14988"/>
                  </a:lnTo>
                  <a:lnTo>
                    <a:pt x="202985" y="13685"/>
                  </a:lnTo>
                  <a:lnTo>
                    <a:pt x="197446" y="16291"/>
                  </a:lnTo>
                  <a:lnTo>
                    <a:pt x="183925" y="15477"/>
                  </a:lnTo>
                  <a:lnTo>
                    <a:pt x="178548" y="16943"/>
                  </a:lnTo>
                  <a:lnTo>
                    <a:pt x="172032" y="26066"/>
                  </a:lnTo>
                  <a:lnTo>
                    <a:pt x="165678" y="30301"/>
                  </a:lnTo>
                  <a:lnTo>
                    <a:pt x="161117" y="29161"/>
                  </a:lnTo>
                  <a:lnTo>
                    <a:pt x="150691" y="25414"/>
                  </a:lnTo>
                  <a:lnTo>
                    <a:pt x="145478" y="24599"/>
                  </a:lnTo>
                  <a:lnTo>
                    <a:pt x="137169" y="20038"/>
                  </a:lnTo>
                  <a:lnTo>
                    <a:pt x="131957" y="18083"/>
                  </a:lnTo>
                  <a:lnTo>
                    <a:pt x="131957" y="16128"/>
                  </a:lnTo>
                  <a:lnTo>
                    <a:pt x="127395" y="12707"/>
                  </a:lnTo>
                  <a:lnTo>
                    <a:pt x="123322" y="12381"/>
                  </a:lnTo>
                  <a:lnTo>
                    <a:pt x="122345" y="13521"/>
                  </a:lnTo>
                  <a:lnTo>
                    <a:pt x="115014" y="14825"/>
                  </a:lnTo>
                  <a:lnTo>
                    <a:pt x="111267" y="16780"/>
                  </a:lnTo>
                  <a:lnTo>
                    <a:pt x="107683" y="17106"/>
                  </a:lnTo>
                  <a:lnTo>
                    <a:pt x="104750" y="20527"/>
                  </a:lnTo>
                  <a:lnTo>
                    <a:pt x="102144" y="21504"/>
                  </a:lnTo>
                  <a:lnTo>
                    <a:pt x="97094" y="18409"/>
                  </a:lnTo>
                  <a:lnTo>
                    <a:pt x="91555" y="10101"/>
                  </a:lnTo>
                  <a:lnTo>
                    <a:pt x="89111" y="7331"/>
                  </a:lnTo>
                  <a:lnTo>
                    <a:pt x="81618" y="4562"/>
                  </a:lnTo>
                  <a:lnTo>
                    <a:pt x="77382" y="3747"/>
                  </a:lnTo>
                  <a:lnTo>
                    <a:pt x="74287" y="2118"/>
                  </a:lnTo>
                  <a:lnTo>
                    <a:pt x="67282" y="978"/>
                  </a:lnTo>
                  <a:lnTo>
                    <a:pt x="64512" y="0"/>
                  </a:lnTo>
                  <a:lnTo>
                    <a:pt x="60276" y="163"/>
                  </a:lnTo>
                  <a:lnTo>
                    <a:pt x="57996" y="2118"/>
                  </a:lnTo>
                  <a:lnTo>
                    <a:pt x="50339" y="2118"/>
                  </a:lnTo>
                  <a:lnTo>
                    <a:pt x="48221" y="2118"/>
                  </a:lnTo>
                  <a:lnTo>
                    <a:pt x="44148" y="1955"/>
                  </a:lnTo>
                  <a:lnTo>
                    <a:pt x="38935" y="3095"/>
                  </a:lnTo>
                  <a:lnTo>
                    <a:pt x="36980" y="4236"/>
                  </a:lnTo>
                  <a:lnTo>
                    <a:pt x="34211" y="5376"/>
                  </a:lnTo>
                  <a:lnTo>
                    <a:pt x="28509" y="9937"/>
                  </a:lnTo>
                  <a:lnTo>
                    <a:pt x="27694" y="12544"/>
                  </a:lnTo>
                  <a:lnTo>
                    <a:pt x="28672" y="14825"/>
                  </a:lnTo>
                  <a:lnTo>
                    <a:pt x="28346" y="16291"/>
                  </a:lnTo>
                  <a:lnTo>
                    <a:pt x="27369" y="18246"/>
                  </a:lnTo>
                  <a:lnTo>
                    <a:pt x="28509" y="22970"/>
                  </a:lnTo>
                  <a:lnTo>
                    <a:pt x="30138" y="24925"/>
                  </a:lnTo>
                  <a:lnTo>
                    <a:pt x="30464" y="28509"/>
                  </a:lnTo>
                  <a:lnTo>
                    <a:pt x="25739" y="28672"/>
                  </a:lnTo>
                  <a:lnTo>
                    <a:pt x="20527" y="34048"/>
                  </a:lnTo>
                  <a:lnTo>
                    <a:pt x="21504" y="36818"/>
                  </a:lnTo>
                  <a:lnTo>
                    <a:pt x="19712" y="39587"/>
                  </a:lnTo>
                  <a:lnTo>
                    <a:pt x="22807" y="46755"/>
                  </a:lnTo>
                  <a:lnTo>
                    <a:pt x="25739" y="46918"/>
                  </a:lnTo>
                  <a:lnTo>
                    <a:pt x="25902" y="49687"/>
                  </a:lnTo>
                  <a:lnTo>
                    <a:pt x="21341" y="53271"/>
                  </a:lnTo>
                  <a:lnTo>
                    <a:pt x="20201" y="58647"/>
                  </a:lnTo>
                  <a:lnTo>
                    <a:pt x="21341" y="62720"/>
                  </a:lnTo>
                  <a:lnTo>
                    <a:pt x="28346" y="68259"/>
                  </a:lnTo>
                  <a:lnTo>
                    <a:pt x="28509" y="74450"/>
                  </a:lnTo>
                  <a:lnTo>
                    <a:pt x="31116" y="83735"/>
                  </a:lnTo>
                  <a:lnTo>
                    <a:pt x="30138" y="86668"/>
                  </a:lnTo>
                  <a:lnTo>
                    <a:pt x="24599" y="86994"/>
                  </a:lnTo>
                  <a:lnTo>
                    <a:pt x="22644" y="90252"/>
                  </a:lnTo>
                  <a:lnTo>
                    <a:pt x="22155" y="92533"/>
                  </a:lnTo>
                  <a:lnTo>
                    <a:pt x="27694" y="98397"/>
                  </a:lnTo>
                  <a:lnTo>
                    <a:pt x="26228" y="100841"/>
                  </a:lnTo>
                  <a:lnTo>
                    <a:pt x="22807" y="100515"/>
                  </a:lnTo>
                  <a:lnTo>
                    <a:pt x="19223" y="103773"/>
                  </a:lnTo>
                  <a:lnTo>
                    <a:pt x="17920" y="107520"/>
                  </a:lnTo>
                  <a:lnTo>
                    <a:pt x="14336" y="113711"/>
                  </a:lnTo>
                  <a:lnTo>
                    <a:pt x="12055" y="118435"/>
                  </a:lnTo>
                  <a:lnTo>
                    <a:pt x="9612" y="120390"/>
                  </a:lnTo>
                  <a:lnTo>
                    <a:pt x="6679" y="120879"/>
                  </a:lnTo>
                  <a:lnTo>
                    <a:pt x="2607" y="122508"/>
                  </a:lnTo>
                  <a:lnTo>
                    <a:pt x="652" y="125440"/>
                  </a:lnTo>
                  <a:lnTo>
                    <a:pt x="977" y="130164"/>
                  </a:lnTo>
                  <a:lnTo>
                    <a:pt x="489" y="133749"/>
                  </a:lnTo>
                  <a:lnTo>
                    <a:pt x="0" y="139450"/>
                  </a:lnTo>
                  <a:lnTo>
                    <a:pt x="489" y="141242"/>
                  </a:lnTo>
                  <a:lnTo>
                    <a:pt x="977" y="145478"/>
                  </a:lnTo>
                  <a:lnTo>
                    <a:pt x="489" y="147433"/>
                  </a:lnTo>
                  <a:lnTo>
                    <a:pt x="1466" y="149225"/>
                  </a:lnTo>
                  <a:lnTo>
                    <a:pt x="1629" y="152157"/>
                  </a:lnTo>
                  <a:lnTo>
                    <a:pt x="652" y="156067"/>
                  </a:lnTo>
                  <a:lnTo>
                    <a:pt x="1955" y="166819"/>
                  </a:lnTo>
                  <a:lnTo>
                    <a:pt x="1629" y="170566"/>
                  </a:lnTo>
                  <a:lnTo>
                    <a:pt x="2444" y="174802"/>
                  </a:lnTo>
                  <a:lnTo>
                    <a:pt x="1303" y="187671"/>
                  </a:lnTo>
                  <a:lnTo>
                    <a:pt x="2280" y="192722"/>
                  </a:lnTo>
                  <a:lnTo>
                    <a:pt x="12218" y="194839"/>
                  </a:lnTo>
                  <a:lnTo>
                    <a:pt x="20364" y="191581"/>
                  </a:lnTo>
                  <a:lnTo>
                    <a:pt x="39261" y="201356"/>
                  </a:lnTo>
                  <a:lnTo>
                    <a:pt x="49687" y="211619"/>
                  </a:lnTo>
                  <a:lnTo>
                    <a:pt x="56041" y="224000"/>
                  </a:lnTo>
                  <a:lnTo>
                    <a:pt x="55878" y="232146"/>
                  </a:lnTo>
                  <a:lnTo>
                    <a:pt x="59299" y="233938"/>
                  </a:lnTo>
                  <a:lnTo>
                    <a:pt x="62231" y="242735"/>
                  </a:lnTo>
                  <a:lnTo>
                    <a:pt x="68748" y="248762"/>
                  </a:lnTo>
                  <a:lnTo>
                    <a:pt x="78034" y="251369"/>
                  </a:lnTo>
                  <a:lnTo>
                    <a:pt x="102796" y="249903"/>
                  </a:lnTo>
                  <a:lnTo>
                    <a:pt x="107846" y="246808"/>
                  </a:lnTo>
                  <a:lnTo>
                    <a:pt x="111430" y="248436"/>
                  </a:lnTo>
                  <a:lnTo>
                    <a:pt x="123322" y="244201"/>
                  </a:lnTo>
                  <a:lnTo>
                    <a:pt x="127232" y="245830"/>
                  </a:lnTo>
                  <a:lnTo>
                    <a:pt x="133748" y="244527"/>
                  </a:lnTo>
                  <a:lnTo>
                    <a:pt x="136355" y="237359"/>
                  </a:lnTo>
                  <a:lnTo>
                    <a:pt x="140916" y="242246"/>
                  </a:lnTo>
                  <a:lnTo>
                    <a:pt x="142871" y="241106"/>
                  </a:lnTo>
                  <a:lnTo>
                    <a:pt x="143034" y="241106"/>
                  </a:lnTo>
                  <a:lnTo>
                    <a:pt x="143197" y="237847"/>
                  </a:lnTo>
                  <a:lnTo>
                    <a:pt x="149876" y="230354"/>
                  </a:lnTo>
                  <a:lnTo>
                    <a:pt x="152483" y="223837"/>
                  </a:lnTo>
                  <a:lnTo>
                    <a:pt x="151505" y="217810"/>
                  </a:lnTo>
                  <a:lnTo>
                    <a:pt x="151343" y="212434"/>
                  </a:lnTo>
                  <a:lnTo>
                    <a:pt x="154275" y="210316"/>
                  </a:lnTo>
                  <a:lnTo>
                    <a:pt x="154275" y="206732"/>
                  </a:lnTo>
                  <a:lnTo>
                    <a:pt x="158348" y="202822"/>
                  </a:lnTo>
                  <a:lnTo>
                    <a:pt x="162909" y="199890"/>
                  </a:lnTo>
                  <a:lnTo>
                    <a:pt x="165027" y="197120"/>
                  </a:lnTo>
                  <a:lnTo>
                    <a:pt x="172684" y="191418"/>
                  </a:lnTo>
                  <a:lnTo>
                    <a:pt x="172195" y="186368"/>
                  </a:lnTo>
                  <a:lnTo>
                    <a:pt x="173335" y="183599"/>
                  </a:lnTo>
                  <a:lnTo>
                    <a:pt x="179037" y="183436"/>
                  </a:lnTo>
                  <a:lnTo>
                    <a:pt x="181481" y="180178"/>
                  </a:lnTo>
                  <a:lnTo>
                    <a:pt x="182784" y="181481"/>
                  </a:lnTo>
                  <a:lnTo>
                    <a:pt x="189626" y="183599"/>
                  </a:lnTo>
                  <a:lnTo>
                    <a:pt x="192396" y="183436"/>
                  </a:lnTo>
                  <a:lnTo>
                    <a:pt x="197283" y="185879"/>
                  </a:lnTo>
                  <a:lnTo>
                    <a:pt x="199889" y="190930"/>
                  </a:lnTo>
                  <a:lnTo>
                    <a:pt x="204288" y="194188"/>
                  </a:lnTo>
                  <a:lnTo>
                    <a:pt x="207383" y="195328"/>
                  </a:lnTo>
                  <a:lnTo>
                    <a:pt x="212759" y="192233"/>
                  </a:lnTo>
                  <a:lnTo>
                    <a:pt x="216180" y="186531"/>
                  </a:lnTo>
                  <a:lnTo>
                    <a:pt x="216180" y="184413"/>
                  </a:lnTo>
                  <a:lnTo>
                    <a:pt x="218135" y="181481"/>
                  </a:lnTo>
                  <a:lnTo>
                    <a:pt x="222045" y="180178"/>
                  </a:lnTo>
                  <a:lnTo>
                    <a:pt x="224978" y="175453"/>
                  </a:lnTo>
                  <a:lnTo>
                    <a:pt x="224814" y="171869"/>
                  </a:lnTo>
                  <a:lnTo>
                    <a:pt x="226769" y="165679"/>
                  </a:lnTo>
                  <a:lnTo>
                    <a:pt x="234589" y="157859"/>
                  </a:lnTo>
                  <a:lnTo>
                    <a:pt x="235567" y="153623"/>
                  </a:lnTo>
                  <a:lnTo>
                    <a:pt x="234263" y="149877"/>
                  </a:lnTo>
                  <a:lnTo>
                    <a:pt x="236870" y="145967"/>
                  </a:lnTo>
                  <a:lnTo>
                    <a:pt x="243386" y="138962"/>
                  </a:lnTo>
                  <a:lnTo>
                    <a:pt x="248600" y="135541"/>
                  </a:lnTo>
                  <a:lnTo>
                    <a:pt x="249088" y="130002"/>
                  </a:lnTo>
                  <a:lnTo>
                    <a:pt x="251043" y="126418"/>
                  </a:lnTo>
                  <a:lnTo>
                    <a:pt x="250066" y="118598"/>
                  </a:lnTo>
                  <a:lnTo>
                    <a:pt x="253812" y="115014"/>
                  </a:lnTo>
                  <a:lnTo>
                    <a:pt x="260655" y="113059"/>
                  </a:lnTo>
                  <a:lnTo>
                    <a:pt x="265053" y="107520"/>
                  </a:lnTo>
                  <a:lnTo>
                    <a:pt x="266030" y="101493"/>
                  </a:lnTo>
                  <a:lnTo>
                    <a:pt x="266030" y="94976"/>
                  </a:lnTo>
                  <a:lnTo>
                    <a:pt x="265379" y="91066"/>
                  </a:lnTo>
                  <a:lnTo>
                    <a:pt x="268311" y="86016"/>
                  </a:lnTo>
                  <a:lnTo>
                    <a:pt x="272384" y="77545"/>
                  </a:lnTo>
                  <a:lnTo>
                    <a:pt x="275153" y="75264"/>
                  </a:lnTo>
                  <a:lnTo>
                    <a:pt x="275805" y="73146"/>
                  </a:lnTo>
                  <a:lnTo>
                    <a:pt x="280855" y="69074"/>
                  </a:lnTo>
                  <a:lnTo>
                    <a:pt x="283787" y="69399"/>
                  </a:lnTo>
                  <a:lnTo>
                    <a:pt x="287209" y="65490"/>
                  </a:lnTo>
                  <a:lnTo>
                    <a:pt x="293073" y="62720"/>
                  </a:lnTo>
                  <a:lnTo>
                    <a:pt x="293562" y="59625"/>
                  </a:lnTo>
                  <a:lnTo>
                    <a:pt x="291607" y="52783"/>
                  </a:lnTo>
                  <a:lnTo>
                    <a:pt x="291444" y="50013"/>
                  </a:lnTo>
                  <a:lnTo>
                    <a:pt x="289652" y="45778"/>
                  </a:lnTo>
                  <a:lnTo>
                    <a:pt x="285091" y="44637"/>
                  </a:lnTo>
                  <a:lnTo>
                    <a:pt x="282973" y="40076"/>
                  </a:lnTo>
                  <a:lnTo>
                    <a:pt x="283136" y="32256"/>
                  </a:lnTo>
                  <a:lnTo>
                    <a:pt x="282484" y="28346"/>
                  </a:lnTo>
                  <a:lnTo>
                    <a:pt x="280203" y="21993"/>
                  </a:lnTo>
                  <a:lnTo>
                    <a:pt x="280203" y="21993"/>
                  </a:lnTo>
                  <a:close/>
                </a:path>
              </a:pathLst>
            </a:custGeom>
            <a:solidFill>
              <a:schemeClr val="bg2"/>
            </a:solidFill>
            <a:ln w="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0" name="Forma livre: Forma 119">
              <a:extLst>
                <a:ext uri="{FF2B5EF4-FFF2-40B4-BE49-F238E27FC236}">
                  <a16:creationId xmlns:a16="http://schemas.microsoft.com/office/drawing/2014/main" id="{480FB54E-2321-3CF4-24C6-CBCA4EEC4FFD}"/>
                </a:ext>
              </a:extLst>
            </p:cNvPr>
            <p:cNvSpPr/>
            <p:nvPr/>
          </p:nvSpPr>
          <p:spPr>
            <a:xfrm>
              <a:off x="6156070" y="4950976"/>
              <a:ext cx="7743" cy="8585"/>
            </a:xfrm>
            <a:custGeom>
              <a:avLst/>
              <a:gdLst>
                <a:gd name="connsiteX0" fmla="*/ 814 w 7493"/>
                <a:gd name="connsiteY0" fmla="*/ 7820 h 8308"/>
                <a:gd name="connsiteX1" fmla="*/ 0 w 7493"/>
                <a:gd name="connsiteY1" fmla="*/ 3095 h 8308"/>
                <a:gd name="connsiteX2" fmla="*/ 3095 w 7493"/>
                <a:gd name="connsiteY2" fmla="*/ 0 h 8308"/>
                <a:gd name="connsiteX3" fmla="*/ 7494 w 7493"/>
                <a:gd name="connsiteY3" fmla="*/ 2769 h 8308"/>
                <a:gd name="connsiteX4" fmla="*/ 5701 w 7493"/>
                <a:gd name="connsiteY4" fmla="*/ 6353 h 8308"/>
                <a:gd name="connsiteX5" fmla="*/ 2769 w 7493"/>
                <a:gd name="connsiteY5" fmla="*/ 8308 h 8308"/>
                <a:gd name="connsiteX6" fmla="*/ 814 w 7493"/>
                <a:gd name="connsiteY6" fmla="*/ 7820 h 83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493" h="8308">
                  <a:moveTo>
                    <a:pt x="814" y="7820"/>
                  </a:moveTo>
                  <a:lnTo>
                    <a:pt x="0" y="3095"/>
                  </a:lnTo>
                  <a:lnTo>
                    <a:pt x="3095" y="0"/>
                  </a:lnTo>
                  <a:lnTo>
                    <a:pt x="7494" y="2769"/>
                  </a:lnTo>
                  <a:lnTo>
                    <a:pt x="5701" y="6353"/>
                  </a:lnTo>
                  <a:lnTo>
                    <a:pt x="2769" y="8308"/>
                  </a:lnTo>
                  <a:lnTo>
                    <a:pt x="814" y="7820"/>
                  </a:lnTo>
                  <a:close/>
                </a:path>
              </a:pathLst>
            </a:custGeom>
            <a:solidFill>
              <a:schemeClr val="bg2"/>
            </a:solidFill>
            <a:ln w="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1" name="Forma livre: Forma 120">
              <a:extLst>
                <a:ext uri="{FF2B5EF4-FFF2-40B4-BE49-F238E27FC236}">
                  <a16:creationId xmlns:a16="http://schemas.microsoft.com/office/drawing/2014/main" id="{5C9CE4DE-5667-AE9C-99BA-15C473E134F7}"/>
                </a:ext>
              </a:extLst>
            </p:cNvPr>
            <p:cNvSpPr/>
            <p:nvPr/>
          </p:nvSpPr>
          <p:spPr>
            <a:xfrm>
              <a:off x="6206070" y="4857037"/>
              <a:ext cx="13973" cy="19697"/>
            </a:xfrm>
            <a:custGeom>
              <a:avLst/>
              <a:gdLst>
                <a:gd name="connsiteX0" fmla="*/ 0 w 13521"/>
                <a:gd name="connsiteY0" fmla="*/ 15639 h 19060"/>
                <a:gd name="connsiteX1" fmla="*/ 489 w 13521"/>
                <a:gd name="connsiteY1" fmla="*/ 11729 h 19060"/>
                <a:gd name="connsiteX2" fmla="*/ 3747 w 13521"/>
                <a:gd name="connsiteY2" fmla="*/ 11567 h 19060"/>
                <a:gd name="connsiteX3" fmla="*/ 5701 w 13521"/>
                <a:gd name="connsiteY3" fmla="*/ 5539 h 19060"/>
                <a:gd name="connsiteX4" fmla="*/ 11078 w 13521"/>
                <a:gd name="connsiteY4" fmla="*/ 0 h 19060"/>
                <a:gd name="connsiteX5" fmla="*/ 12869 w 13521"/>
                <a:gd name="connsiteY5" fmla="*/ 1792 h 19060"/>
                <a:gd name="connsiteX6" fmla="*/ 13521 w 13521"/>
                <a:gd name="connsiteY6" fmla="*/ 9123 h 19060"/>
                <a:gd name="connsiteX7" fmla="*/ 9774 w 13521"/>
                <a:gd name="connsiteY7" fmla="*/ 19060 h 19060"/>
                <a:gd name="connsiteX8" fmla="*/ 4887 w 13521"/>
                <a:gd name="connsiteY8" fmla="*/ 18409 h 19060"/>
                <a:gd name="connsiteX9" fmla="*/ 0 w 13521"/>
                <a:gd name="connsiteY9" fmla="*/ 15639 h 190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3521" h="19060">
                  <a:moveTo>
                    <a:pt x="0" y="15639"/>
                  </a:moveTo>
                  <a:lnTo>
                    <a:pt x="489" y="11729"/>
                  </a:lnTo>
                  <a:lnTo>
                    <a:pt x="3747" y="11567"/>
                  </a:lnTo>
                  <a:lnTo>
                    <a:pt x="5701" y="5539"/>
                  </a:lnTo>
                  <a:lnTo>
                    <a:pt x="11078" y="0"/>
                  </a:lnTo>
                  <a:lnTo>
                    <a:pt x="12869" y="1792"/>
                  </a:lnTo>
                  <a:lnTo>
                    <a:pt x="13521" y="9123"/>
                  </a:lnTo>
                  <a:lnTo>
                    <a:pt x="9774" y="19060"/>
                  </a:lnTo>
                  <a:lnTo>
                    <a:pt x="4887" y="18409"/>
                  </a:lnTo>
                  <a:lnTo>
                    <a:pt x="0" y="15639"/>
                  </a:lnTo>
                  <a:close/>
                </a:path>
              </a:pathLst>
            </a:custGeom>
            <a:solidFill>
              <a:schemeClr val="bg2"/>
            </a:solidFill>
            <a:ln w="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2" name="Forma livre: Forma 121">
              <a:extLst>
                <a:ext uri="{FF2B5EF4-FFF2-40B4-BE49-F238E27FC236}">
                  <a16:creationId xmlns:a16="http://schemas.microsoft.com/office/drawing/2014/main" id="{C8FAD3F6-BB2B-AB97-423D-8D95750DDB58}"/>
                </a:ext>
              </a:extLst>
            </p:cNvPr>
            <p:cNvSpPr/>
            <p:nvPr/>
          </p:nvSpPr>
          <p:spPr>
            <a:xfrm>
              <a:off x="6213814" y="4610572"/>
              <a:ext cx="200842" cy="302694"/>
            </a:xfrm>
            <a:custGeom>
              <a:avLst/>
              <a:gdLst>
                <a:gd name="connsiteX0" fmla="*/ 0 w 194350"/>
                <a:gd name="connsiteY0" fmla="*/ 219113 h 292910"/>
                <a:gd name="connsiteX1" fmla="*/ 163 w 194350"/>
                <a:gd name="connsiteY1" fmla="*/ 215855 h 292910"/>
                <a:gd name="connsiteX2" fmla="*/ 6842 w 194350"/>
                <a:gd name="connsiteY2" fmla="*/ 208361 h 292910"/>
                <a:gd name="connsiteX3" fmla="*/ 9449 w 194350"/>
                <a:gd name="connsiteY3" fmla="*/ 201844 h 292910"/>
                <a:gd name="connsiteX4" fmla="*/ 8471 w 194350"/>
                <a:gd name="connsiteY4" fmla="*/ 195817 h 292910"/>
                <a:gd name="connsiteX5" fmla="*/ 8309 w 194350"/>
                <a:gd name="connsiteY5" fmla="*/ 190441 h 292910"/>
                <a:gd name="connsiteX6" fmla="*/ 11241 w 194350"/>
                <a:gd name="connsiteY6" fmla="*/ 188323 h 292910"/>
                <a:gd name="connsiteX7" fmla="*/ 11241 w 194350"/>
                <a:gd name="connsiteY7" fmla="*/ 184739 h 292910"/>
                <a:gd name="connsiteX8" fmla="*/ 15314 w 194350"/>
                <a:gd name="connsiteY8" fmla="*/ 180829 h 292910"/>
                <a:gd name="connsiteX9" fmla="*/ 19875 w 194350"/>
                <a:gd name="connsiteY9" fmla="*/ 177897 h 292910"/>
                <a:gd name="connsiteX10" fmla="*/ 21993 w 194350"/>
                <a:gd name="connsiteY10" fmla="*/ 175127 h 292910"/>
                <a:gd name="connsiteX11" fmla="*/ 29650 w 194350"/>
                <a:gd name="connsiteY11" fmla="*/ 169425 h 292910"/>
                <a:gd name="connsiteX12" fmla="*/ 29161 w 194350"/>
                <a:gd name="connsiteY12" fmla="*/ 164375 h 292910"/>
                <a:gd name="connsiteX13" fmla="*/ 30301 w 194350"/>
                <a:gd name="connsiteY13" fmla="*/ 161606 h 292910"/>
                <a:gd name="connsiteX14" fmla="*/ 36003 w 194350"/>
                <a:gd name="connsiteY14" fmla="*/ 161443 h 292910"/>
                <a:gd name="connsiteX15" fmla="*/ 38446 w 194350"/>
                <a:gd name="connsiteY15" fmla="*/ 158185 h 292910"/>
                <a:gd name="connsiteX16" fmla="*/ 39750 w 194350"/>
                <a:gd name="connsiteY16" fmla="*/ 159488 h 292910"/>
                <a:gd name="connsiteX17" fmla="*/ 46592 w 194350"/>
                <a:gd name="connsiteY17" fmla="*/ 161606 h 292910"/>
                <a:gd name="connsiteX18" fmla="*/ 49361 w 194350"/>
                <a:gd name="connsiteY18" fmla="*/ 161443 h 292910"/>
                <a:gd name="connsiteX19" fmla="*/ 54249 w 194350"/>
                <a:gd name="connsiteY19" fmla="*/ 163887 h 292910"/>
                <a:gd name="connsiteX20" fmla="*/ 56855 w 194350"/>
                <a:gd name="connsiteY20" fmla="*/ 168937 h 292910"/>
                <a:gd name="connsiteX21" fmla="*/ 61254 w 194350"/>
                <a:gd name="connsiteY21" fmla="*/ 172195 h 292910"/>
                <a:gd name="connsiteX22" fmla="*/ 64349 w 194350"/>
                <a:gd name="connsiteY22" fmla="*/ 173335 h 292910"/>
                <a:gd name="connsiteX23" fmla="*/ 69725 w 194350"/>
                <a:gd name="connsiteY23" fmla="*/ 170240 h 292910"/>
                <a:gd name="connsiteX24" fmla="*/ 73146 w 194350"/>
                <a:gd name="connsiteY24" fmla="*/ 164538 h 292910"/>
                <a:gd name="connsiteX25" fmla="*/ 73146 w 194350"/>
                <a:gd name="connsiteY25" fmla="*/ 162420 h 292910"/>
                <a:gd name="connsiteX26" fmla="*/ 75101 w 194350"/>
                <a:gd name="connsiteY26" fmla="*/ 159488 h 292910"/>
                <a:gd name="connsiteX27" fmla="*/ 79011 w 194350"/>
                <a:gd name="connsiteY27" fmla="*/ 158185 h 292910"/>
                <a:gd name="connsiteX28" fmla="*/ 81943 w 194350"/>
                <a:gd name="connsiteY28" fmla="*/ 153460 h 292910"/>
                <a:gd name="connsiteX29" fmla="*/ 81780 w 194350"/>
                <a:gd name="connsiteY29" fmla="*/ 149876 h 292910"/>
                <a:gd name="connsiteX30" fmla="*/ 83735 w 194350"/>
                <a:gd name="connsiteY30" fmla="*/ 143686 h 292910"/>
                <a:gd name="connsiteX31" fmla="*/ 91555 w 194350"/>
                <a:gd name="connsiteY31" fmla="*/ 135866 h 292910"/>
                <a:gd name="connsiteX32" fmla="*/ 92532 w 194350"/>
                <a:gd name="connsiteY32" fmla="*/ 131631 h 292910"/>
                <a:gd name="connsiteX33" fmla="*/ 91229 w 194350"/>
                <a:gd name="connsiteY33" fmla="*/ 127884 h 292910"/>
                <a:gd name="connsiteX34" fmla="*/ 93836 w 194350"/>
                <a:gd name="connsiteY34" fmla="*/ 123974 h 292910"/>
                <a:gd name="connsiteX35" fmla="*/ 100352 w 194350"/>
                <a:gd name="connsiteY35" fmla="*/ 116969 h 292910"/>
                <a:gd name="connsiteX36" fmla="*/ 105565 w 194350"/>
                <a:gd name="connsiteY36" fmla="*/ 113548 h 292910"/>
                <a:gd name="connsiteX37" fmla="*/ 106054 w 194350"/>
                <a:gd name="connsiteY37" fmla="*/ 108009 h 292910"/>
                <a:gd name="connsiteX38" fmla="*/ 108009 w 194350"/>
                <a:gd name="connsiteY38" fmla="*/ 104425 h 292910"/>
                <a:gd name="connsiteX39" fmla="*/ 107031 w 194350"/>
                <a:gd name="connsiteY39" fmla="*/ 96605 h 292910"/>
                <a:gd name="connsiteX40" fmla="*/ 110778 w 194350"/>
                <a:gd name="connsiteY40" fmla="*/ 93021 h 292910"/>
                <a:gd name="connsiteX41" fmla="*/ 117620 w 194350"/>
                <a:gd name="connsiteY41" fmla="*/ 91066 h 292910"/>
                <a:gd name="connsiteX42" fmla="*/ 122019 w 194350"/>
                <a:gd name="connsiteY42" fmla="*/ 85527 h 292910"/>
                <a:gd name="connsiteX43" fmla="*/ 122996 w 194350"/>
                <a:gd name="connsiteY43" fmla="*/ 79500 h 292910"/>
                <a:gd name="connsiteX44" fmla="*/ 122996 w 194350"/>
                <a:gd name="connsiteY44" fmla="*/ 72983 h 292910"/>
                <a:gd name="connsiteX45" fmla="*/ 122345 w 194350"/>
                <a:gd name="connsiteY45" fmla="*/ 69074 h 292910"/>
                <a:gd name="connsiteX46" fmla="*/ 125277 w 194350"/>
                <a:gd name="connsiteY46" fmla="*/ 64023 h 292910"/>
                <a:gd name="connsiteX47" fmla="*/ 129350 w 194350"/>
                <a:gd name="connsiteY47" fmla="*/ 55552 h 292910"/>
                <a:gd name="connsiteX48" fmla="*/ 132119 w 194350"/>
                <a:gd name="connsiteY48" fmla="*/ 53271 h 292910"/>
                <a:gd name="connsiteX49" fmla="*/ 132771 w 194350"/>
                <a:gd name="connsiteY49" fmla="*/ 51153 h 292910"/>
                <a:gd name="connsiteX50" fmla="*/ 137821 w 194350"/>
                <a:gd name="connsiteY50" fmla="*/ 47081 h 292910"/>
                <a:gd name="connsiteX51" fmla="*/ 140753 w 194350"/>
                <a:gd name="connsiteY51" fmla="*/ 47407 h 292910"/>
                <a:gd name="connsiteX52" fmla="*/ 144175 w 194350"/>
                <a:gd name="connsiteY52" fmla="*/ 43497 h 292910"/>
                <a:gd name="connsiteX53" fmla="*/ 150039 w 194350"/>
                <a:gd name="connsiteY53" fmla="*/ 40727 h 292910"/>
                <a:gd name="connsiteX54" fmla="*/ 150528 w 194350"/>
                <a:gd name="connsiteY54" fmla="*/ 37632 h 292910"/>
                <a:gd name="connsiteX55" fmla="*/ 148573 w 194350"/>
                <a:gd name="connsiteY55" fmla="*/ 30790 h 292910"/>
                <a:gd name="connsiteX56" fmla="*/ 148410 w 194350"/>
                <a:gd name="connsiteY56" fmla="*/ 28020 h 292910"/>
                <a:gd name="connsiteX57" fmla="*/ 146618 w 194350"/>
                <a:gd name="connsiteY57" fmla="*/ 23785 h 292910"/>
                <a:gd name="connsiteX58" fmla="*/ 142057 w 194350"/>
                <a:gd name="connsiteY58" fmla="*/ 22644 h 292910"/>
                <a:gd name="connsiteX59" fmla="*/ 139939 w 194350"/>
                <a:gd name="connsiteY59" fmla="*/ 18083 h 292910"/>
                <a:gd name="connsiteX60" fmla="*/ 140102 w 194350"/>
                <a:gd name="connsiteY60" fmla="*/ 10263 h 292910"/>
                <a:gd name="connsiteX61" fmla="*/ 139450 w 194350"/>
                <a:gd name="connsiteY61" fmla="*/ 6353 h 292910"/>
                <a:gd name="connsiteX62" fmla="*/ 137169 w 194350"/>
                <a:gd name="connsiteY62" fmla="*/ 0 h 292910"/>
                <a:gd name="connsiteX63" fmla="*/ 149876 w 194350"/>
                <a:gd name="connsiteY63" fmla="*/ 6353 h 292910"/>
                <a:gd name="connsiteX64" fmla="*/ 155578 w 194350"/>
                <a:gd name="connsiteY64" fmla="*/ 11892 h 292910"/>
                <a:gd name="connsiteX65" fmla="*/ 157044 w 194350"/>
                <a:gd name="connsiteY65" fmla="*/ 19223 h 292910"/>
                <a:gd name="connsiteX66" fmla="*/ 158999 w 194350"/>
                <a:gd name="connsiteY66" fmla="*/ 21667 h 292910"/>
                <a:gd name="connsiteX67" fmla="*/ 159977 w 194350"/>
                <a:gd name="connsiteY67" fmla="*/ 26228 h 292910"/>
                <a:gd name="connsiteX68" fmla="*/ 163072 w 194350"/>
                <a:gd name="connsiteY68" fmla="*/ 33233 h 292910"/>
                <a:gd name="connsiteX69" fmla="*/ 162909 w 194350"/>
                <a:gd name="connsiteY69" fmla="*/ 36655 h 292910"/>
                <a:gd name="connsiteX70" fmla="*/ 161606 w 194350"/>
                <a:gd name="connsiteY70" fmla="*/ 39261 h 292910"/>
                <a:gd name="connsiteX71" fmla="*/ 161606 w 194350"/>
                <a:gd name="connsiteY71" fmla="*/ 41379 h 292910"/>
                <a:gd name="connsiteX72" fmla="*/ 164375 w 194350"/>
                <a:gd name="connsiteY72" fmla="*/ 44800 h 292910"/>
                <a:gd name="connsiteX73" fmla="*/ 162420 w 194350"/>
                <a:gd name="connsiteY73" fmla="*/ 51479 h 292910"/>
                <a:gd name="connsiteX74" fmla="*/ 159325 w 194350"/>
                <a:gd name="connsiteY74" fmla="*/ 54575 h 292910"/>
                <a:gd name="connsiteX75" fmla="*/ 159488 w 194350"/>
                <a:gd name="connsiteY75" fmla="*/ 59625 h 292910"/>
                <a:gd name="connsiteX76" fmla="*/ 164050 w 194350"/>
                <a:gd name="connsiteY76" fmla="*/ 66141 h 292910"/>
                <a:gd name="connsiteX77" fmla="*/ 168122 w 194350"/>
                <a:gd name="connsiteY77" fmla="*/ 67933 h 292910"/>
                <a:gd name="connsiteX78" fmla="*/ 169588 w 194350"/>
                <a:gd name="connsiteY78" fmla="*/ 73472 h 292910"/>
                <a:gd name="connsiteX79" fmla="*/ 176430 w 194350"/>
                <a:gd name="connsiteY79" fmla="*/ 79174 h 292910"/>
                <a:gd name="connsiteX80" fmla="*/ 178548 w 194350"/>
                <a:gd name="connsiteY80" fmla="*/ 79988 h 292910"/>
                <a:gd name="connsiteX81" fmla="*/ 175616 w 194350"/>
                <a:gd name="connsiteY81" fmla="*/ 81943 h 292910"/>
                <a:gd name="connsiteX82" fmla="*/ 172195 w 194350"/>
                <a:gd name="connsiteY82" fmla="*/ 81455 h 292910"/>
                <a:gd name="connsiteX83" fmla="*/ 169425 w 194350"/>
                <a:gd name="connsiteY83" fmla="*/ 79825 h 292910"/>
                <a:gd name="connsiteX84" fmla="*/ 163887 w 194350"/>
                <a:gd name="connsiteY84" fmla="*/ 79174 h 292910"/>
                <a:gd name="connsiteX85" fmla="*/ 160466 w 194350"/>
                <a:gd name="connsiteY85" fmla="*/ 79663 h 292910"/>
                <a:gd name="connsiteX86" fmla="*/ 156719 w 194350"/>
                <a:gd name="connsiteY86" fmla="*/ 79011 h 292910"/>
                <a:gd name="connsiteX87" fmla="*/ 152157 w 194350"/>
                <a:gd name="connsiteY87" fmla="*/ 79825 h 292910"/>
                <a:gd name="connsiteX88" fmla="*/ 149550 w 194350"/>
                <a:gd name="connsiteY88" fmla="*/ 78848 h 292910"/>
                <a:gd name="connsiteX89" fmla="*/ 145315 w 194350"/>
                <a:gd name="connsiteY89" fmla="*/ 78848 h 292910"/>
                <a:gd name="connsiteX90" fmla="*/ 141405 w 194350"/>
                <a:gd name="connsiteY90" fmla="*/ 79174 h 292910"/>
                <a:gd name="connsiteX91" fmla="*/ 141079 w 194350"/>
                <a:gd name="connsiteY91" fmla="*/ 83735 h 292910"/>
                <a:gd name="connsiteX92" fmla="*/ 139613 w 194350"/>
                <a:gd name="connsiteY92" fmla="*/ 86179 h 292910"/>
                <a:gd name="connsiteX93" fmla="*/ 139613 w 194350"/>
                <a:gd name="connsiteY93" fmla="*/ 90577 h 292910"/>
                <a:gd name="connsiteX94" fmla="*/ 140591 w 194350"/>
                <a:gd name="connsiteY94" fmla="*/ 93347 h 292910"/>
                <a:gd name="connsiteX95" fmla="*/ 143197 w 194350"/>
                <a:gd name="connsiteY95" fmla="*/ 95139 h 292910"/>
                <a:gd name="connsiteX96" fmla="*/ 144012 w 194350"/>
                <a:gd name="connsiteY96" fmla="*/ 98071 h 292910"/>
                <a:gd name="connsiteX97" fmla="*/ 148247 w 194350"/>
                <a:gd name="connsiteY97" fmla="*/ 99700 h 292910"/>
                <a:gd name="connsiteX98" fmla="*/ 157859 w 194350"/>
                <a:gd name="connsiteY98" fmla="*/ 107846 h 292910"/>
                <a:gd name="connsiteX99" fmla="*/ 166819 w 194350"/>
                <a:gd name="connsiteY99" fmla="*/ 117783 h 292910"/>
                <a:gd name="connsiteX100" fmla="*/ 170729 w 194350"/>
                <a:gd name="connsiteY100" fmla="*/ 121042 h 292910"/>
                <a:gd name="connsiteX101" fmla="*/ 174639 w 194350"/>
                <a:gd name="connsiteY101" fmla="*/ 127558 h 292910"/>
                <a:gd name="connsiteX102" fmla="*/ 179037 w 194350"/>
                <a:gd name="connsiteY102" fmla="*/ 134400 h 292910"/>
                <a:gd name="connsiteX103" fmla="*/ 179200 w 194350"/>
                <a:gd name="connsiteY103" fmla="*/ 140591 h 292910"/>
                <a:gd name="connsiteX104" fmla="*/ 174639 w 194350"/>
                <a:gd name="connsiteY104" fmla="*/ 147107 h 292910"/>
                <a:gd name="connsiteX105" fmla="*/ 170892 w 194350"/>
                <a:gd name="connsiteY105" fmla="*/ 148573 h 292910"/>
                <a:gd name="connsiteX106" fmla="*/ 168611 w 194350"/>
                <a:gd name="connsiteY106" fmla="*/ 153786 h 292910"/>
                <a:gd name="connsiteX107" fmla="*/ 163887 w 194350"/>
                <a:gd name="connsiteY107" fmla="*/ 162420 h 292910"/>
                <a:gd name="connsiteX108" fmla="*/ 160954 w 194350"/>
                <a:gd name="connsiteY108" fmla="*/ 168774 h 292910"/>
                <a:gd name="connsiteX109" fmla="*/ 156067 w 194350"/>
                <a:gd name="connsiteY109" fmla="*/ 175779 h 292910"/>
                <a:gd name="connsiteX110" fmla="*/ 153135 w 194350"/>
                <a:gd name="connsiteY110" fmla="*/ 176919 h 292910"/>
                <a:gd name="connsiteX111" fmla="*/ 150854 w 194350"/>
                <a:gd name="connsiteY111" fmla="*/ 180341 h 292910"/>
                <a:gd name="connsiteX112" fmla="*/ 151505 w 194350"/>
                <a:gd name="connsiteY112" fmla="*/ 185879 h 292910"/>
                <a:gd name="connsiteX113" fmla="*/ 153623 w 194350"/>
                <a:gd name="connsiteY113" fmla="*/ 192559 h 292910"/>
                <a:gd name="connsiteX114" fmla="*/ 152483 w 194350"/>
                <a:gd name="connsiteY114" fmla="*/ 198912 h 292910"/>
                <a:gd name="connsiteX115" fmla="*/ 154601 w 194350"/>
                <a:gd name="connsiteY115" fmla="*/ 205591 h 292910"/>
                <a:gd name="connsiteX116" fmla="*/ 155252 w 194350"/>
                <a:gd name="connsiteY116" fmla="*/ 211130 h 292910"/>
                <a:gd name="connsiteX117" fmla="*/ 155252 w 194350"/>
                <a:gd name="connsiteY117" fmla="*/ 221557 h 292910"/>
                <a:gd name="connsiteX118" fmla="*/ 157696 w 194350"/>
                <a:gd name="connsiteY118" fmla="*/ 223349 h 292910"/>
                <a:gd name="connsiteX119" fmla="*/ 165027 w 194350"/>
                <a:gd name="connsiteY119" fmla="*/ 226933 h 292910"/>
                <a:gd name="connsiteX120" fmla="*/ 169100 w 194350"/>
                <a:gd name="connsiteY120" fmla="*/ 231983 h 292910"/>
                <a:gd name="connsiteX121" fmla="*/ 170729 w 194350"/>
                <a:gd name="connsiteY121" fmla="*/ 237522 h 292910"/>
                <a:gd name="connsiteX122" fmla="*/ 177082 w 194350"/>
                <a:gd name="connsiteY122" fmla="*/ 246644 h 292910"/>
                <a:gd name="connsiteX123" fmla="*/ 180829 w 194350"/>
                <a:gd name="connsiteY123" fmla="*/ 254138 h 292910"/>
                <a:gd name="connsiteX124" fmla="*/ 183925 w 194350"/>
                <a:gd name="connsiteY124" fmla="*/ 257233 h 292910"/>
                <a:gd name="connsiteX125" fmla="*/ 192070 w 194350"/>
                <a:gd name="connsiteY125" fmla="*/ 263424 h 292910"/>
                <a:gd name="connsiteX126" fmla="*/ 192721 w 194350"/>
                <a:gd name="connsiteY126" fmla="*/ 268637 h 292910"/>
                <a:gd name="connsiteX127" fmla="*/ 192721 w 194350"/>
                <a:gd name="connsiteY127" fmla="*/ 272710 h 292910"/>
                <a:gd name="connsiteX128" fmla="*/ 193699 w 194350"/>
                <a:gd name="connsiteY128" fmla="*/ 274502 h 292910"/>
                <a:gd name="connsiteX129" fmla="*/ 194351 w 194350"/>
                <a:gd name="connsiteY129" fmla="*/ 274991 h 292910"/>
                <a:gd name="connsiteX130" fmla="*/ 193699 w 194350"/>
                <a:gd name="connsiteY130" fmla="*/ 275968 h 292910"/>
                <a:gd name="connsiteX131" fmla="*/ 192233 w 194350"/>
                <a:gd name="connsiteY131" fmla="*/ 279552 h 292910"/>
                <a:gd name="connsiteX132" fmla="*/ 189463 w 194350"/>
                <a:gd name="connsiteY132" fmla="*/ 283788 h 292910"/>
                <a:gd name="connsiteX133" fmla="*/ 188323 w 194350"/>
                <a:gd name="connsiteY133" fmla="*/ 285743 h 292910"/>
                <a:gd name="connsiteX134" fmla="*/ 190766 w 194350"/>
                <a:gd name="connsiteY134" fmla="*/ 289978 h 292910"/>
                <a:gd name="connsiteX135" fmla="*/ 190115 w 194350"/>
                <a:gd name="connsiteY135" fmla="*/ 292422 h 292910"/>
                <a:gd name="connsiteX136" fmla="*/ 187182 w 194350"/>
                <a:gd name="connsiteY136" fmla="*/ 292911 h 292910"/>
                <a:gd name="connsiteX137" fmla="*/ 186368 w 194350"/>
                <a:gd name="connsiteY137" fmla="*/ 291444 h 292910"/>
                <a:gd name="connsiteX138" fmla="*/ 184413 w 194350"/>
                <a:gd name="connsiteY138" fmla="*/ 291770 h 292910"/>
                <a:gd name="connsiteX139" fmla="*/ 182132 w 194350"/>
                <a:gd name="connsiteY139" fmla="*/ 291119 h 292910"/>
                <a:gd name="connsiteX140" fmla="*/ 180177 w 194350"/>
                <a:gd name="connsiteY140" fmla="*/ 290141 h 292910"/>
                <a:gd name="connsiteX141" fmla="*/ 174639 w 194350"/>
                <a:gd name="connsiteY141" fmla="*/ 290141 h 292910"/>
                <a:gd name="connsiteX142" fmla="*/ 172358 w 194350"/>
                <a:gd name="connsiteY142" fmla="*/ 290793 h 292910"/>
                <a:gd name="connsiteX143" fmla="*/ 168611 w 194350"/>
                <a:gd name="connsiteY143" fmla="*/ 288186 h 292910"/>
                <a:gd name="connsiteX144" fmla="*/ 166819 w 194350"/>
                <a:gd name="connsiteY144" fmla="*/ 287698 h 292910"/>
                <a:gd name="connsiteX145" fmla="*/ 166167 w 194350"/>
                <a:gd name="connsiteY145" fmla="*/ 289327 h 292910"/>
                <a:gd name="connsiteX146" fmla="*/ 163561 w 194350"/>
                <a:gd name="connsiteY146" fmla="*/ 289815 h 292910"/>
                <a:gd name="connsiteX147" fmla="*/ 161769 w 194350"/>
                <a:gd name="connsiteY147" fmla="*/ 287698 h 292910"/>
                <a:gd name="connsiteX148" fmla="*/ 158673 w 194350"/>
                <a:gd name="connsiteY148" fmla="*/ 286883 h 292910"/>
                <a:gd name="connsiteX149" fmla="*/ 156230 w 194350"/>
                <a:gd name="connsiteY149" fmla="*/ 287698 h 292910"/>
                <a:gd name="connsiteX150" fmla="*/ 153460 w 194350"/>
                <a:gd name="connsiteY150" fmla="*/ 284602 h 292910"/>
                <a:gd name="connsiteX151" fmla="*/ 151343 w 194350"/>
                <a:gd name="connsiteY151" fmla="*/ 284602 h 292910"/>
                <a:gd name="connsiteX152" fmla="*/ 150039 w 194350"/>
                <a:gd name="connsiteY152" fmla="*/ 286068 h 292910"/>
                <a:gd name="connsiteX153" fmla="*/ 147270 w 194350"/>
                <a:gd name="connsiteY153" fmla="*/ 284765 h 292910"/>
                <a:gd name="connsiteX154" fmla="*/ 114688 w 194350"/>
                <a:gd name="connsiteY154" fmla="*/ 284114 h 292910"/>
                <a:gd name="connsiteX155" fmla="*/ 113059 w 194350"/>
                <a:gd name="connsiteY155" fmla="*/ 282159 h 292910"/>
                <a:gd name="connsiteX156" fmla="*/ 110941 w 194350"/>
                <a:gd name="connsiteY156" fmla="*/ 282322 h 292910"/>
                <a:gd name="connsiteX157" fmla="*/ 109638 w 194350"/>
                <a:gd name="connsiteY157" fmla="*/ 282973 h 292910"/>
                <a:gd name="connsiteX158" fmla="*/ 103284 w 194350"/>
                <a:gd name="connsiteY158" fmla="*/ 282484 h 292910"/>
                <a:gd name="connsiteX159" fmla="*/ 102796 w 194350"/>
                <a:gd name="connsiteY159" fmla="*/ 281344 h 292910"/>
                <a:gd name="connsiteX160" fmla="*/ 99049 w 194350"/>
                <a:gd name="connsiteY160" fmla="*/ 281344 h 292910"/>
                <a:gd name="connsiteX161" fmla="*/ 94976 w 194350"/>
                <a:gd name="connsiteY161" fmla="*/ 282159 h 292910"/>
                <a:gd name="connsiteX162" fmla="*/ 92695 w 194350"/>
                <a:gd name="connsiteY162" fmla="*/ 281344 h 292910"/>
                <a:gd name="connsiteX163" fmla="*/ 84712 w 194350"/>
                <a:gd name="connsiteY163" fmla="*/ 280855 h 292910"/>
                <a:gd name="connsiteX164" fmla="*/ 82432 w 194350"/>
                <a:gd name="connsiteY164" fmla="*/ 281670 h 292910"/>
                <a:gd name="connsiteX165" fmla="*/ 75427 w 194350"/>
                <a:gd name="connsiteY165" fmla="*/ 281344 h 292910"/>
                <a:gd name="connsiteX166" fmla="*/ 72657 w 194350"/>
                <a:gd name="connsiteY166" fmla="*/ 282647 h 292910"/>
                <a:gd name="connsiteX167" fmla="*/ 70214 w 194350"/>
                <a:gd name="connsiteY167" fmla="*/ 282484 h 292910"/>
                <a:gd name="connsiteX168" fmla="*/ 67933 w 194350"/>
                <a:gd name="connsiteY168" fmla="*/ 283462 h 292910"/>
                <a:gd name="connsiteX169" fmla="*/ 67118 w 194350"/>
                <a:gd name="connsiteY169" fmla="*/ 284602 h 292910"/>
                <a:gd name="connsiteX170" fmla="*/ 67118 w 194350"/>
                <a:gd name="connsiteY170" fmla="*/ 284602 h 292910"/>
                <a:gd name="connsiteX171" fmla="*/ 36818 w 194350"/>
                <a:gd name="connsiteY171" fmla="*/ 284602 h 292910"/>
                <a:gd name="connsiteX172" fmla="*/ 35188 w 194350"/>
                <a:gd name="connsiteY172" fmla="*/ 283625 h 292910"/>
                <a:gd name="connsiteX173" fmla="*/ 32093 w 194350"/>
                <a:gd name="connsiteY173" fmla="*/ 283625 h 292910"/>
                <a:gd name="connsiteX174" fmla="*/ 28835 w 194350"/>
                <a:gd name="connsiteY174" fmla="*/ 284276 h 292910"/>
                <a:gd name="connsiteX175" fmla="*/ 32907 w 194350"/>
                <a:gd name="connsiteY175" fmla="*/ 280204 h 292910"/>
                <a:gd name="connsiteX176" fmla="*/ 29161 w 194350"/>
                <a:gd name="connsiteY176" fmla="*/ 276294 h 292910"/>
                <a:gd name="connsiteX177" fmla="*/ 32745 w 194350"/>
                <a:gd name="connsiteY177" fmla="*/ 267497 h 292910"/>
                <a:gd name="connsiteX178" fmla="*/ 31767 w 194350"/>
                <a:gd name="connsiteY178" fmla="*/ 257559 h 292910"/>
                <a:gd name="connsiteX179" fmla="*/ 27043 w 194350"/>
                <a:gd name="connsiteY179" fmla="*/ 251043 h 292910"/>
                <a:gd name="connsiteX180" fmla="*/ 27043 w 194350"/>
                <a:gd name="connsiteY180" fmla="*/ 243875 h 292910"/>
                <a:gd name="connsiteX181" fmla="*/ 28835 w 194350"/>
                <a:gd name="connsiteY181" fmla="*/ 240617 h 292910"/>
                <a:gd name="connsiteX182" fmla="*/ 24925 w 194350"/>
                <a:gd name="connsiteY182" fmla="*/ 234426 h 292910"/>
                <a:gd name="connsiteX183" fmla="*/ 17431 w 194350"/>
                <a:gd name="connsiteY183" fmla="*/ 237684 h 292910"/>
                <a:gd name="connsiteX184" fmla="*/ 15150 w 194350"/>
                <a:gd name="connsiteY184" fmla="*/ 234915 h 292910"/>
                <a:gd name="connsiteX185" fmla="*/ 10589 w 194350"/>
                <a:gd name="connsiteY185" fmla="*/ 234426 h 292910"/>
                <a:gd name="connsiteX186" fmla="*/ 7494 w 194350"/>
                <a:gd name="connsiteY186" fmla="*/ 218624 h 292910"/>
                <a:gd name="connsiteX187" fmla="*/ 3421 w 194350"/>
                <a:gd name="connsiteY187" fmla="*/ 220742 h 292910"/>
                <a:gd name="connsiteX188" fmla="*/ 0 w 194350"/>
                <a:gd name="connsiteY188" fmla="*/ 219113 h 2929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</a:cxnLst>
              <a:rect l="l" t="t" r="r" b="b"/>
              <a:pathLst>
                <a:path w="194350" h="292910">
                  <a:moveTo>
                    <a:pt x="0" y="219113"/>
                  </a:moveTo>
                  <a:lnTo>
                    <a:pt x="163" y="215855"/>
                  </a:lnTo>
                  <a:lnTo>
                    <a:pt x="6842" y="208361"/>
                  </a:lnTo>
                  <a:lnTo>
                    <a:pt x="9449" y="201844"/>
                  </a:lnTo>
                  <a:lnTo>
                    <a:pt x="8471" y="195817"/>
                  </a:lnTo>
                  <a:lnTo>
                    <a:pt x="8309" y="190441"/>
                  </a:lnTo>
                  <a:lnTo>
                    <a:pt x="11241" y="188323"/>
                  </a:lnTo>
                  <a:lnTo>
                    <a:pt x="11241" y="184739"/>
                  </a:lnTo>
                  <a:lnTo>
                    <a:pt x="15314" y="180829"/>
                  </a:lnTo>
                  <a:lnTo>
                    <a:pt x="19875" y="177897"/>
                  </a:lnTo>
                  <a:lnTo>
                    <a:pt x="21993" y="175127"/>
                  </a:lnTo>
                  <a:lnTo>
                    <a:pt x="29650" y="169425"/>
                  </a:lnTo>
                  <a:lnTo>
                    <a:pt x="29161" y="164375"/>
                  </a:lnTo>
                  <a:lnTo>
                    <a:pt x="30301" y="161606"/>
                  </a:lnTo>
                  <a:lnTo>
                    <a:pt x="36003" y="161443"/>
                  </a:lnTo>
                  <a:lnTo>
                    <a:pt x="38446" y="158185"/>
                  </a:lnTo>
                  <a:lnTo>
                    <a:pt x="39750" y="159488"/>
                  </a:lnTo>
                  <a:lnTo>
                    <a:pt x="46592" y="161606"/>
                  </a:lnTo>
                  <a:lnTo>
                    <a:pt x="49361" y="161443"/>
                  </a:lnTo>
                  <a:lnTo>
                    <a:pt x="54249" y="163887"/>
                  </a:lnTo>
                  <a:lnTo>
                    <a:pt x="56855" y="168937"/>
                  </a:lnTo>
                  <a:lnTo>
                    <a:pt x="61254" y="172195"/>
                  </a:lnTo>
                  <a:lnTo>
                    <a:pt x="64349" y="173335"/>
                  </a:lnTo>
                  <a:lnTo>
                    <a:pt x="69725" y="170240"/>
                  </a:lnTo>
                  <a:lnTo>
                    <a:pt x="73146" y="164538"/>
                  </a:lnTo>
                  <a:lnTo>
                    <a:pt x="73146" y="162420"/>
                  </a:lnTo>
                  <a:lnTo>
                    <a:pt x="75101" y="159488"/>
                  </a:lnTo>
                  <a:lnTo>
                    <a:pt x="79011" y="158185"/>
                  </a:lnTo>
                  <a:lnTo>
                    <a:pt x="81943" y="153460"/>
                  </a:lnTo>
                  <a:lnTo>
                    <a:pt x="81780" y="149876"/>
                  </a:lnTo>
                  <a:lnTo>
                    <a:pt x="83735" y="143686"/>
                  </a:lnTo>
                  <a:lnTo>
                    <a:pt x="91555" y="135866"/>
                  </a:lnTo>
                  <a:lnTo>
                    <a:pt x="92532" y="131631"/>
                  </a:lnTo>
                  <a:lnTo>
                    <a:pt x="91229" y="127884"/>
                  </a:lnTo>
                  <a:lnTo>
                    <a:pt x="93836" y="123974"/>
                  </a:lnTo>
                  <a:lnTo>
                    <a:pt x="100352" y="116969"/>
                  </a:lnTo>
                  <a:lnTo>
                    <a:pt x="105565" y="113548"/>
                  </a:lnTo>
                  <a:lnTo>
                    <a:pt x="106054" y="108009"/>
                  </a:lnTo>
                  <a:lnTo>
                    <a:pt x="108009" y="104425"/>
                  </a:lnTo>
                  <a:lnTo>
                    <a:pt x="107031" y="96605"/>
                  </a:lnTo>
                  <a:lnTo>
                    <a:pt x="110778" y="93021"/>
                  </a:lnTo>
                  <a:lnTo>
                    <a:pt x="117620" y="91066"/>
                  </a:lnTo>
                  <a:lnTo>
                    <a:pt x="122019" y="85527"/>
                  </a:lnTo>
                  <a:lnTo>
                    <a:pt x="122996" y="79500"/>
                  </a:lnTo>
                  <a:lnTo>
                    <a:pt x="122996" y="72983"/>
                  </a:lnTo>
                  <a:lnTo>
                    <a:pt x="122345" y="69074"/>
                  </a:lnTo>
                  <a:lnTo>
                    <a:pt x="125277" y="64023"/>
                  </a:lnTo>
                  <a:lnTo>
                    <a:pt x="129350" y="55552"/>
                  </a:lnTo>
                  <a:lnTo>
                    <a:pt x="132119" y="53271"/>
                  </a:lnTo>
                  <a:lnTo>
                    <a:pt x="132771" y="51153"/>
                  </a:lnTo>
                  <a:lnTo>
                    <a:pt x="137821" y="47081"/>
                  </a:lnTo>
                  <a:lnTo>
                    <a:pt x="140753" y="47407"/>
                  </a:lnTo>
                  <a:lnTo>
                    <a:pt x="144175" y="43497"/>
                  </a:lnTo>
                  <a:lnTo>
                    <a:pt x="150039" y="40727"/>
                  </a:lnTo>
                  <a:lnTo>
                    <a:pt x="150528" y="37632"/>
                  </a:lnTo>
                  <a:lnTo>
                    <a:pt x="148573" y="30790"/>
                  </a:lnTo>
                  <a:lnTo>
                    <a:pt x="148410" y="28020"/>
                  </a:lnTo>
                  <a:lnTo>
                    <a:pt x="146618" y="23785"/>
                  </a:lnTo>
                  <a:lnTo>
                    <a:pt x="142057" y="22644"/>
                  </a:lnTo>
                  <a:lnTo>
                    <a:pt x="139939" y="18083"/>
                  </a:lnTo>
                  <a:lnTo>
                    <a:pt x="140102" y="10263"/>
                  </a:lnTo>
                  <a:lnTo>
                    <a:pt x="139450" y="6353"/>
                  </a:lnTo>
                  <a:lnTo>
                    <a:pt x="137169" y="0"/>
                  </a:lnTo>
                  <a:lnTo>
                    <a:pt x="149876" y="6353"/>
                  </a:lnTo>
                  <a:lnTo>
                    <a:pt x="155578" y="11892"/>
                  </a:lnTo>
                  <a:lnTo>
                    <a:pt x="157044" y="19223"/>
                  </a:lnTo>
                  <a:lnTo>
                    <a:pt x="158999" y="21667"/>
                  </a:lnTo>
                  <a:lnTo>
                    <a:pt x="159977" y="26228"/>
                  </a:lnTo>
                  <a:lnTo>
                    <a:pt x="163072" y="33233"/>
                  </a:lnTo>
                  <a:lnTo>
                    <a:pt x="162909" y="36655"/>
                  </a:lnTo>
                  <a:lnTo>
                    <a:pt x="161606" y="39261"/>
                  </a:lnTo>
                  <a:lnTo>
                    <a:pt x="161606" y="41379"/>
                  </a:lnTo>
                  <a:lnTo>
                    <a:pt x="164375" y="44800"/>
                  </a:lnTo>
                  <a:lnTo>
                    <a:pt x="162420" y="51479"/>
                  </a:lnTo>
                  <a:lnTo>
                    <a:pt x="159325" y="54575"/>
                  </a:lnTo>
                  <a:lnTo>
                    <a:pt x="159488" y="59625"/>
                  </a:lnTo>
                  <a:lnTo>
                    <a:pt x="164050" y="66141"/>
                  </a:lnTo>
                  <a:lnTo>
                    <a:pt x="168122" y="67933"/>
                  </a:lnTo>
                  <a:lnTo>
                    <a:pt x="169588" y="73472"/>
                  </a:lnTo>
                  <a:lnTo>
                    <a:pt x="176430" y="79174"/>
                  </a:lnTo>
                  <a:lnTo>
                    <a:pt x="178548" y="79988"/>
                  </a:lnTo>
                  <a:lnTo>
                    <a:pt x="175616" y="81943"/>
                  </a:lnTo>
                  <a:lnTo>
                    <a:pt x="172195" y="81455"/>
                  </a:lnTo>
                  <a:lnTo>
                    <a:pt x="169425" y="79825"/>
                  </a:lnTo>
                  <a:lnTo>
                    <a:pt x="163887" y="79174"/>
                  </a:lnTo>
                  <a:lnTo>
                    <a:pt x="160466" y="79663"/>
                  </a:lnTo>
                  <a:lnTo>
                    <a:pt x="156719" y="79011"/>
                  </a:lnTo>
                  <a:lnTo>
                    <a:pt x="152157" y="79825"/>
                  </a:lnTo>
                  <a:lnTo>
                    <a:pt x="149550" y="78848"/>
                  </a:lnTo>
                  <a:lnTo>
                    <a:pt x="145315" y="78848"/>
                  </a:lnTo>
                  <a:lnTo>
                    <a:pt x="141405" y="79174"/>
                  </a:lnTo>
                  <a:lnTo>
                    <a:pt x="141079" y="83735"/>
                  </a:lnTo>
                  <a:lnTo>
                    <a:pt x="139613" y="86179"/>
                  </a:lnTo>
                  <a:lnTo>
                    <a:pt x="139613" y="90577"/>
                  </a:lnTo>
                  <a:lnTo>
                    <a:pt x="140591" y="93347"/>
                  </a:lnTo>
                  <a:lnTo>
                    <a:pt x="143197" y="95139"/>
                  </a:lnTo>
                  <a:lnTo>
                    <a:pt x="144012" y="98071"/>
                  </a:lnTo>
                  <a:lnTo>
                    <a:pt x="148247" y="99700"/>
                  </a:lnTo>
                  <a:lnTo>
                    <a:pt x="157859" y="107846"/>
                  </a:lnTo>
                  <a:lnTo>
                    <a:pt x="166819" y="117783"/>
                  </a:lnTo>
                  <a:lnTo>
                    <a:pt x="170729" y="121042"/>
                  </a:lnTo>
                  <a:lnTo>
                    <a:pt x="174639" y="127558"/>
                  </a:lnTo>
                  <a:lnTo>
                    <a:pt x="179037" y="134400"/>
                  </a:lnTo>
                  <a:lnTo>
                    <a:pt x="179200" y="140591"/>
                  </a:lnTo>
                  <a:lnTo>
                    <a:pt x="174639" y="147107"/>
                  </a:lnTo>
                  <a:lnTo>
                    <a:pt x="170892" y="148573"/>
                  </a:lnTo>
                  <a:lnTo>
                    <a:pt x="168611" y="153786"/>
                  </a:lnTo>
                  <a:lnTo>
                    <a:pt x="163887" y="162420"/>
                  </a:lnTo>
                  <a:lnTo>
                    <a:pt x="160954" y="168774"/>
                  </a:lnTo>
                  <a:lnTo>
                    <a:pt x="156067" y="175779"/>
                  </a:lnTo>
                  <a:lnTo>
                    <a:pt x="153135" y="176919"/>
                  </a:lnTo>
                  <a:lnTo>
                    <a:pt x="150854" y="180341"/>
                  </a:lnTo>
                  <a:lnTo>
                    <a:pt x="151505" y="185879"/>
                  </a:lnTo>
                  <a:lnTo>
                    <a:pt x="153623" y="192559"/>
                  </a:lnTo>
                  <a:lnTo>
                    <a:pt x="152483" y="198912"/>
                  </a:lnTo>
                  <a:lnTo>
                    <a:pt x="154601" y="205591"/>
                  </a:lnTo>
                  <a:lnTo>
                    <a:pt x="155252" y="211130"/>
                  </a:lnTo>
                  <a:lnTo>
                    <a:pt x="155252" y="221557"/>
                  </a:lnTo>
                  <a:lnTo>
                    <a:pt x="157696" y="223349"/>
                  </a:lnTo>
                  <a:lnTo>
                    <a:pt x="165027" y="226933"/>
                  </a:lnTo>
                  <a:lnTo>
                    <a:pt x="169100" y="231983"/>
                  </a:lnTo>
                  <a:lnTo>
                    <a:pt x="170729" y="237522"/>
                  </a:lnTo>
                  <a:lnTo>
                    <a:pt x="177082" y="246644"/>
                  </a:lnTo>
                  <a:lnTo>
                    <a:pt x="180829" y="254138"/>
                  </a:lnTo>
                  <a:lnTo>
                    <a:pt x="183925" y="257233"/>
                  </a:lnTo>
                  <a:lnTo>
                    <a:pt x="192070" y="263424"/>
                  </a:lnTo>
                  <a:lnTo>
                    <a:pt x="192721" y="268637"/>
                  </a:lnTo>
                  <a:lnTo>
                    <a:pt x="192721" y="272710"/>
                  </a:lnTo>
                  <a:lnTo>
                    <a:pt x="193699" y="274502"/>
                  </a:lnTo>
                  <a:lnTo>
                    <a:pt x="194351" y="274991"/>
                  </a:lnTo>
                  <a:lnTo>
                    <a:pt x="193699" y="275968"/>
                  </a:lnTo>
                  <a:lnTo>
                    <a:pt x="192233" y="279552"/>
                  </a:lnTo>
                  <a:lnTo>
                    <a:pt x="189463" y="283788"/>
                  </a:lnTo>
                  <a:lnTo>
                    <a:pt x="188323" y="285743"/>
                  </a:lnTo>
                  <a:lnTo>
                    <a:pt x="190766" y="289978"/>
                  </a:lnTo>
                  <a:lnTo>
                    <a:pt x="190115" y="292422"/>
                  </a:lnTo>
                  <a:lnTo>
                    <a:pt x="187182" y="292911"/>
                  </a:lnTo>
                  <a:lnTo>
                    <a:pt x="186368" y="291444"/>
                  </a:lnTo>
                  <a:lnTo>
                    <a:pt x="184413" y="291770"/>
                  </a:lnTo>
                  <a:lnTo>
                    <a:pt x="182132" y="291119"/>
                  </a:lnTo>
                  <a:lnTo>
                    <a:pt x="180177" y="290141"/>
                  </a:lnTo>
                  <a:lnTo>
                    <a:pt x="174639" y="290141"/>
                  </a:lnTo>
                  <a:lnTo>
                    <a:pt x="172358" y="290793"/>
                  </a:lnTo>
                  <a:lnTo>
                    <a:pt x="168611" y="288186"/>
                  </a:lnTo>
                  <a:lnTo>
                    <a:pt x="166819" y="287698"/>
                  </a:lnTo>
                  <a:lnTo>
                    <a:pt x="166167" y="289327"/>
                  </a:lnTo>
                  <a:lnTo>
                    <a:pt x="163561" y="289815"/>
                  </a:lnTo>
                  <a:lnTo>
                    <a:pt x="161769" y="287698"/>
                  </a:lnTo>
                  <a:lnTo>
                    <a:pt x="158673" y="286883"/>
                  </a:lnTo>
                  <a:lnTo>
                    <a:pt x="156230" y="287698"/>
                  </a:lnTo>
                  <a:lnTo>
                    <a:pt x="153460" y="284602"/>
                  </a:lnTo>
                  <a:lnTo>
                    <a:pt x="151343" y="284602"/>
                  </a:lnTo>
                  <a:lnTo>
                    <a:pt x="150039" y="286068"/>
                  </a:lnTo>
                  <a:lnTo>
                    <a:pt x="147270" y="284765"/>
                  </a:lnTo>
                  <a:lnTo>
                    <a:pt x="114688" y="284114"/>
                  </a:lnTo>
                  <a:lnTo>
                    <a:pt x="113059" y="282159"/>
                  </a:lnTo>
                  <a:lnTo>
                    <a:pt x="110941" y="282322"/>
                  </a:lnTo>
                  <a:lnTo>
                    <a:pt x="109638" y="282973"/>
                  </a:lnTo>
                  <a:lnTo>
                    <a:pt x="103284" y="282484"/>
                  </a:lnTo>
                  <a:lnTo>
                    <a:pt x="102796" y="281344"/>
                  </a:lnTo>
                  <a:lnTo>
                    <a:pt x="99049" y="281344"/>
                  </a:lnTo>
                  <a:lnTo>
                    <a:pt x="94976" y="282159"/>
                  </a:lnTo>
                  <a:lnTo>
                    <a:pt x="92695" y="281344"/>
                  </a:lnTo>
                  <a:lnTo>
                    <a:pt x="84712" y="280855"/>
                  </a:lnTo>
                  <a:lnTo>
                    <a:pt x="82432" y="281670"/>
                  </a:lnTo>
                  <a:lnTo>
                    <a:pt x="75427" y="281344"/>
                  </a:lnTo>
                  <a:lnTo>
                    <a:pt x="72657" y="282647"/>
                  </a:lnTo>
                  <a:lnTo>
                    <a:pt x="70214" y="282484"/>
                  </a:lnTo>
                  <a:lnTo>
                    <a:pt x="67933" y="283462"/>
                  </a:lnTo>
                  <a:lnTo>
                    <a:pt x="67118" y="284602"/>
                  </a:lnTo>
                  <a:lnTo>
                    <a:pt x="67118" y="284602"/>
                  </a:lnTo>
                  <a:lnTo>
                    <a:pt x="36818" y="284602"/>
                  </a:lnTo>
                  <a:lnTo>
                    <a:pt x="35188" y="283625"/>
                  </a:lnTo>
                  <a:lnTo>
                    <a:pt x="32093" y="283625"/>
                  </a:lnTo>
                  <a:lnTo>
                    <a:pt x="28835" y="284276"/>
                  </a:lnTo>
                  <a:lnTo>
                    <a:pt x="32907" y="280204"/>
                  </a:lnTo>
                  <a:lnTo>
                    <a:pt x="29161" y="276294"/>
                  </a:lnTo>
                  <a:lnTo>
                    <a:pt x="32745" y="267497"/>
                  </a:lnTo>
                  <a:lnTo>
                    <a:pt x="31767" y="257559"/>
                  </a:lnTo>
                  <a:lnTo>
                    <a:pt x="27043" y="251043"/>
                  </a:lnTo>
                  <a:lnTo>
                    <a:pt x="27043" y="243875"/>
                  </a:lnTo>
                  <a:lnTo>
                    <a:pt x="28835" y="240617"/>
                  </a:lnTo>
                  <a:lnTo>
                    <a:pt x="24925" y="234426"/>
                  </a:lnTo>
                  <a:lnTo>
                    <a:pt x="17431" y="237684"/>
                  </a:lnTo>
                  <a:lnTo>
                    <a:pt x="15150" y="234915"/>
                  </a:lnTo>
                  <a:lnTo>
                    <a:pt x="10589" y="234426"/>
                  </a:lnTo>
                  <a:lnTo>
                    <a:pt x="7494" y="218624"/>
                  </a:lnTo>
                  <a:lnTo>
                    <a:pt x="3421" y="220742"/>
                  </a:lnTo>
                  <a:lnTo>
                    <a:pt x="0" y="219113"/>
                  </a:lnTo>
                  <a:close/>
                </a:path>
              </a:pathLst>
            </a:custGeom>
            <a:solidFill>
              <a:schemeClr val="bg2"/>
            </a:solidFill>
            <a:ln w="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3" name="Forma livre: Forma 122">
              <a:extLst>
                <a:ext uri="{FF2B5EF4-FFF2-40B4-BE49-F238E27FC236}">
                  <a16:creationId xmlns:a16="http://schemas.microsoft.com/office/drawing/2014/main" id="{DC638456-068F-1875-5072-B38418A5C6BD}"/>
                </a:ext>
              </a:extLst>
            </p:cNvPr>
            <p:cNvSpPr/>
            <p:nvPr/>
          </p:nvSpPr>
          <p:spPr>
            <a:xfrm>
              <a:off x="6215161" y="4900808"/>
              <a:ext cx="151178" cy="164478"/>
            </a:xfrm>
            <a:custGeom>
              <a:avLst/>
              <a:gdLst>
                <a:gd name="connsiteX0" fmla="*/ 65815 w 146292"/>
                <a:gd name="connsiteY0" fmla="*/ 3747 h 159162"/>
                <a:gd name="connsiteX1" fmla="*/ 66630 w 146292"/>
                <a:gd name="connsiteY1" fmla="*/ 2606 h 159162"/>
                <a:gd name="connsiteX2" fmla="*/ 68911 w 146292"/>
                <a:gd name="connsiteY2" fmla="*/ 1629 h 159162"/>
                <a:gd name="connsiteX3" fmla="*/ 71354 w 146292"/>
                <a:gd name="connsiteY3" fmla="*/ 1792 h 159162"/>
                <a:gd name="connsiteX4" fmla="*/ 74124 w 146292"/>
                <a:gd name="connsiteY4" fmla="*/ 489 h 159162"/>
                <a:gd name="connsiteX5" fmla="*/ 81129 w 146292"/>
                <a:gd name="connsiteY5" fmla="*/ 814 h 159162"/>
                <a:gd name="connsiteX6" fmla="*/ 83409 w 146292"/>
                <a:gd name="connsiteY6" fmla="*/ 0 h 159162"/>
                <a:gd name="connsiteX7" fmla="*/ 91392 w 146292"/>
                <a:gd name="connsiteY7" fmla="*/ 489 h 159162"/>
                <a:gd name="connsiteX8" fmla="*/ 93673 w 146292"/>
                <a:gd name="connsiteY8" fmla="*/ 1303 h 159162"/>
                <a:gd name="connsiteX9" fmla="*/ 97745 w 146292"/>
                <a:gd name="connsiteY9" fmla="*/ 489 h 159162"/>
                <a:gd name="connsiteX10" fmla="*/ 101493 w 146292"/>
                <a:gd name="connsiteY10" fmla="*/ 489 h 159162"/>
                <a:gd name="connsiteX11" fmla="*/ 101981 w 146292"/>
                <a:gd name="connsiteY11" fmla="*/ 1629 h 159162"/>
                <a:gd name="connsiteX12" fmla="*/ 108335 w 146292"/>
                <a:gd name="connsiteY12" fmla="*/ 2118 h 159162"/>
                <a:gd name="connsiteX13" fmla="*/ 109638 w 146292"/>
                <a:gd name="connsiteY13" fmla="*/ 1466 h 159162"/>
                <a:gd name="connsiteX14" fmla="*/ 111756 w 146292"/>
                <a:gd name="connsiteY14" fmla="*/ 1303 h 159162"/>
                <a:gd name="connsiteX15" fmla="*/ 113385 w 146292"/>
                <a:gd name="connsiteY15" fmla="*/ 3258 h 159162"/>
                <a:gd name="connsiteX16" fmla="*/ 113222 w 146292"/>
                <a:gd name="connsiteY16" fmla="*/ 3258 h 159162"/>
                <a:gd name="connsiteX17" fmla="*/ 111919 w 146292"/>
                <a:gd name="connsiteY17" fmla="*/ 8471 h 159162"/>
                <a:gd name="connsiteX18" fmla="*/ 113711 w 146292"/>
                <a:gd name="connsiteY18" fmla="*/ 13358 h 159162"/>
                <a:gd name="connsiteX19" fmla="*/ 113059 w 146292"/>
                <a:gd name="connsiteY19" fmla="*/ 19875 h 159162"/>
                <a:gd name="connsiteX20" fmla="*/ 114525 w 146292"/>
                <a:gd name="connsiteY20" fmla="*/ 23948 h 159162"/>
                <a:gd name="connsiteX21" fmla="*/ 113548 w 146292"/>
                <a:gd name="connsiteY21" fmla="*/ 27043 h 159162"/>
                <a:gd name="connsiteX22" fmla="*/ 115991 w 146292"/>
                <a:gd name="connsiteY22" fmla="*/ 28509 h 159162"/>
                <a:gd name="connsiteX23" fmla="*/ 120064 w 146292"/>
                <a:gd name="connsiteY23" fmla="*/ 26228 h 159162"/>
                <a:gd name="connsiteX24" fmla="*/ 123648 w 146292"/>
                <a:gd name="connsiteY24" fmla="*/ 27206 h 159162"/>
                <a:gd name="connsiteX25" fmla="*/ 129350 w 146292"/>
                <a:gd name="connsiteY25" fmla="*/ 25740 h 159162"/>
                <a:gd name="connsiteX26" fmla="*/ 134889 w 146292"/>
                <a:gd name="connsiteY26" fmla="*/ 23622 h 159162"/>
                <a:gd name="connsiteX27" fmla="*/ 143034 w 146292"/>
                <a:gd name="connsiteY27" fmla="*/ 23785 h 159162"/>
                <a:gd name="connsiteX28" fmla="*/ 145804 w 146292"/>
                <a:gd name="connsiteY28" fmla="*/ 25740 h 159162"/>
                <a:gd name="connsiteX29" fmla="*/ 146293 w 146292"/>
                <a:gd name="connsiteY29" fmla="*/ 33396 h 159162"/>
                <a:gd name="connsiteX30" fmla="*/ 144500 w 146292"/>
                <a:gd name="connsiteY30" fmla="*/ 36655 h 159162"/>
                <a:gd name="connsiteX31" fmla="*/ 146130 w 146292"/>
                <a:gd name="connsiteY31" fmla="*/ 39261 h 159162"/>
                <a:gd name="connsiteX32" fmla="*/ 145315 w 146292"/>
                <a:gd name="connsiteY32" fmla="*/ 44148 h 159162"/>
                <a:gd name="connsiteX33" fmla="*/ 140591 w 146292"/>
                <a:gd name="connsiteY33" fmla="*/ 45126 h 159162"/>
                <a:gd name="connsiteX34" fmla="*/ 135215 w 146292"/>
                <a:gd name="connsiteY34" fmla="*/ 48058 h 159162"/>
                <a:gd name="connsiteX35" fmla="*/ 134889 w 146292"/>
                <a:gd name="connsiteY35" fmla="*/ 51642 h 159162"/>
                <a:gd name="connsiteX36" fmla="*/ 136192 w 146292"/>
                <a:gd name="connsiteY36" fmla="*/ 53271 h 159162"/>
                <a:gd name="connsiteX37" fmla="*/ 137495 w 146292"/>
                <a:gd name="connsiteY37" fmla="*/ 56692 h 159162"/>
                <a:gd name="connsiteX38" fmla="*/ 135866 w 146292"/>
                <a:gd name="connsiteY38" fmla="*/ 57018 h 159162"/>
                <a:gd name="connsiteX39" fmla="*/ 134563 w 146292"/>
                <a:gd name="connsiteY39" fmla="*/ 58484 h 159162"/>
                <a:gd name="connsiteX40" fmla="*/ 131631 w 146292"/>
                <a:gd name="connsiteY40" fmla="*/ 59625 h 159162"/>
                <a:gd name="connsiteX41" fmla="*/ 131631 w 146292"/>
                <a:gd name="connsiteY41" fmla="*/ 61580 h 159162"/>
                <a:gd name="connsiteX42" fmla="*/ 133423 w 146292"/>
                <a:gd name="connsiteY42" fmla="*/ 63534 h 159162"/>
                <a:gd name="connsiteX43" fmla="*/ 134400 w 146292"/>
                <a:gd name="connsiteY43" fmla="*/ 65815 h 159162"/>
                <a:gd name="connsiteX44" fmla="*/ 137333 w 146292"/>
                <a:gd name="connsiteY44" fmla="*/ 67118 h 159162"/>
                <a:gd name="connsiteX45" fmla="*/ 138310 w 146292"/>
                <a:gd name="connsiteY45" fmla="*/ 69399 h 159162"/>
                <a:gd name="connsiteX46" fmla="*/ 142220 w 146292"/>
                <a:gd name="connsiteY46" fmla="*/ 72657 h 159162"/>
                <a:gd name="connsiteX47" fmla="*/ 143360 w 146292"/>
                <a:gd name="connsiteY47" fmla="*/ 75753 h 159162"/>
                <a:gd name="connsiteX48" fmla="*/ 145967 w 146292"/>
                <a:gd name="connsiteY48" fmla="*/ 78359 h 159162"/>
                <a:gd name="connsiteX49" fmla="*/ 145804 w 146292"/>
                <a:gd name="connsiteY49" fmla="*/ 83409 h 159162"/>
                <a:gd name="connsiteX50" fmla="*/ 143360 w 146292"/>
                <a:gd name="connsiteY50" fmla="*/ 93836 h 159162"/>
                <a:gd name="connsiteX51" fmla="*/ 137007 w 146292"/>
                <a:gd name="connsiteY51" fmla="*/ 112407 h 159162"/>
                <a:gd name="connsiteX52" fmla="*/ 138147 w 146292"/>
                <a:gd name="connsiteY52" fmla="*/ 117132 h 159162"/>
                <a:gd name="connsiteX53" fmla="*/ 137984 w 146292"/>
                <a:gd name="connsiteY53" fmla="*/ 121856 h 159162"/>
                <a:gd name="connsiteX54" fmla="*/ 135377 w 146292"/>
                <a:gd name="connsiteY54" fmla="*/ 121856 h 159162"/>
                <a:gd name="connsiteX55" fmla="*/ 133911 w 146292"/>
                <a:gd name="connsiteY55" fmla="*/ 118272 h 159162"/>
                <a:gd name="connsiteX56" fmla="*/ 128861 w 146292"/>
                <a:gd name="connsiteY56" fmla="*/ 116154 h 159162"/>
                <a:gd name="connsiteX57" fmla="*/ 123485 w 146292"/>
                <a:gd name="connsiteY57" fmla="*/ 116317 h 159162"/>
                <a:gd name="connsiteX58" fmla="*/ 120390 w 146292"/>
                <a:gd name="connsiteY58" fmla="*/ 118272 h 159162"/>
                <a:gd name="connsiteX59" fmla="*/ 117295 w 146292"/>
                <a:gd name="connsiteY59" fmla="*/ 117620 h 159162"/>
                <a:gd name="connsiteX60" fmla="*/ 111104 w 146292"/>
                <a:gd name="connsiteY60" fmla="*/ 119249 h 159162"/>
                <a:gd name="connsiteX61" fmla="*/ 107683 w 146292"/>
                <a:gd name="connsiteY61" fmla="*/ 115177 h 159162"/>
                <a:gd name="connsiteX62" fmla="*/ 103447 w 146292"/>
                <a:gd name="connsiteY62" fmla="*/ 104914 h 159162"/>
                <a:gd name="connsiteX63" fmla="*/ 98560 w 146292"/>
                <a:gd name="connsiteY63" fmla="*/ 104262 h 159162"/>
                <a:gd name="connsiteX64" fmla="*/ 96117 w 146292"/>
                <a:gd name="connsiteY64" fmla="*/ 107357 h 159162"/>
                <a:gd name="connsiteX65" fmla="*/ 97094 w 146292"/>
                <a:gd name="connsiteY65" fmla="*/ 113385 h 159162"/>
                <a:gd name="connsiteX66" fmla="*/ 95954 w 146292"/>
                <a:gd name="connsiteY66" fmla="*/ 117620 h 159162"/>
                <a:gd name="connsiteX67" fmla="*/ 86831 w 146292"/>
                <a:gd name="connsiteY67" fmla="*/ 118109 h 159162"/>
                <a:gd name="connsiteX68" fmla="*/ 82921 w 146292"/>
                <a:gd name="connsiteY68" fmla="*/ 118109 h 159162"/>
                <a:gd name="connsiteX69" fmla="*/ 81618 w 146292"/>
                <a:gd name="connsiteY69" fmla="*/ 121041 h 159162"/>
                <a:gd name="connsiteX70" fmla="*/ 79174 w 146292"/>
                <a:gd name="connsiteY70" fmla="*/ 122996 h 159162"/>
                <a:gd name="connsiteX71" fmla="*/ 74287 w 146292"/>
                <a:gd name="connsiteY71" fmla="*/ 120064 h 159162"/>
                <a:gd name="connsiteX72" fmla="*/ 68911 w 146292"/>
                <a:gd name="connsiteY72" fmla="*/ 120715 h 159162"/>
                <a:gd name="connsiteX73" fmla="*/ 66467 w 146292"/>
                <a:gd name="connsiteY73" fmla="*/ 123322 h 159162"/>
                <a:gd name="connsiteX74" fmla="*/ 68422 w 146292"/>
                <a:gd name="connsiteY74" fmla="*/ 126906 h 159162"/>
                <a:gd name="connsiteX75" fmla="*/ 67608 w 146292"/>
                <a:gd name="connsiteY75" fmla="*/ 131793 h 159162"/>
                <a:gd name="connsiteX76" fmla="*/ 71517 w 146292"/>
                <a:gd name="connsiteY76" fmla="*/ 130653 h 159162"/>
                <a:gd name="connsiteX77" fmla="*/ 75590 w 146292"/>
                <a:gd name="connsiteY77" fmla="*/ 129676 h 159162"/>
                <a:gd name="connsiteX78" fmla="*/ 78034 w 146292"/>
                <a:gd name="connsiteY78" fmla="*/ 131631 h 159162"/>
                <a:gd name="connsiteX79" fmla="*/ 82432 w 146292"/>
                <a:gd name="connsiteY79" fmla="*/ 134726 h 159162"/>
                <a:gd name="connsiteX80" fmla="*/ 82921 w 146292"/>
                <a:gd name="connsiteY80" fmla="*/ 147596 h 159162"/>
                <a:gd name="connsiteX81" fmla="*/ 82595 w 146292"/>
                <a:gd name="connsiteY81" fmla="*/ 151994 h 159162"/>
                <a:gd name="connsiteX82" fmla="*/ 75590 w 146292"/>
                <a:gd name="connsiteY82" fmla="*/ 146292 h 159162"/>
                <a:gd name="connsiteX83" fmla="*/ 73472 w 146292"/>
                <a:gd name="connsiteY83" fmla="*/ 146292 h 159162"/>
                <a:gd name="connsiteX84" fmla="*/ 72006 w 146292"/>
                <a:gd name="connsiteY84" fmla="*/ 149062 h 159162"/>
                <a:gd name="connsiteX85" fmla="*/ 67445 w 146292"/>
                <a:gd name="connsiteY85" fmla="*/ 149225 h 159162"/>
                <a:gd name="connsiteX86" fmla="*/ 65001 w 146292"/>
                <a:gd name="connsiteY86" fmla="*/ 150528 h 159162"/>
                <a:gd name="connsiteX87" fmla="*/ 64512 w 146292"/>
                <a:gd name="connsiteY87" fmla="*/ 153949 h 159162"/>
                <a:gd name="connsiteX88" fmla="*/ 60765 w 146292"/>
                <a:gd name="connsiteY88" fmla="*/ 159162 h 159162"/>
                <a:gd name="connsiteX89" fmla="*/ 59625 w 146292"/>
                <a:gd name="connsiteY89" fmla="*/ 158185 h 159162"/>
                <a:gd name="connsiteX90" fmla="*/ 55226 w 146292"/>
                <a:gd name="connsiteY90" fmla="*/ 156393 h 159162"/>
                <a:gd name="connsiteX91" fmla="*/ 54412 w 146292"/>
                <a:gd name="connsiteY91" fmla="*/ 152157 h 159162"/>
                <a:gd name="connsiteX92" fmla="*/ 45126 w 146292"/>
                <a:gd name="connsiteY92" fmla="*/ 147758 h 159162"/>
                <a:gd name="connsiteX93" fmla="*/ 42845 w 146292"/>
                <a:gd name="connsiteY93" fmla="*/ 142057 h 159162"/>
                <a:gd name="connsiteX94" fmla="*/ 31116 w 146292"/>
                <a:gd name="connsiteY94" fmla="*/ 132771 h 159162"/>
                <a:gd name="connsiteX95" fmla="*/ 24274 w 146292"/>
                <a:gd name="connsiteY95" fmla="*/ 125440 h 159162"/>
                <a:gd name="connsiteX96" fmla="*/ 26229 w 146292"/>
                <a:gd name="connsiteY96" fmla="*/ 124137 h 159162"/>
                <a:gd name="connsiteX97" fmla="*/ 19549 w 146292"/>
                <a:gd name="connsiteY97" fmla="*/ 118598 h 159162"/>
                <a:gd name="connsiteX98" fmla="*/ 16943 w 146292"/>
                <a:gd name="connsiteY98" fmla="*/ 112733 h 159162"/>
                <a:gd name="connsiteX99" fmla="*/ 13033 w 146292"/>
                <a:gd name="connsiteY99" fmla="*/ 108823 h 159162"/>
                <a:gd name="connsiteX100" fmla="*/ 13033 w 146292"/>
                <a:gd name="connsiteY100" fmla="*/ 101004 h 159162"/>
                <a:gd name="connsiteX101" fmla="*/ 8309 w 146292"/>
                <a:gd name="connsiteY101" fmla="*/ 95139 h 159162"/>
                <a:gd name="connsiteX102" fmla="*/ 8309 w 146292"/>
                <a:gd name="connsiteY102" fmla="*/ 91066 h 159162"/>
                <a:gd name="connsiteX103" fmla="*/ 5539 w 146292"/>
                <a:gd name="connsiteY103" fmla="*/ 88623 h 159162"/>
                <a:gd name="connsiteX104" fmla="*/ 0 w 146292"/>
                <a:gd name="connsiteY104" fmla="*/ 77545 h 159162"/>
                <a:gd name="connsiteX105" fmla="*/ 489 w 146292"/>
                <a:gd name="connsiteY105" fmla="*/ 74775 h 159162"/>
                <a:gd name="connsiteX106" fmla="*/ 6679 w 146292"/>
                <a:gd name="connsiteY106" fmla="*/ 76893 h 159162"/>
                <a:gd name="connsiteX107" fmla="*/ 11404 w 146292"/>
                <a:gd name="connsiteY107" fmla="*/ 72820 h 159162"/>
                <a:gd name="connsiteX108" fmla="*/ 12544 w 146292"/>
                <a:gd name="connsiteY108" fmla="*/ 58647 h 159162"/>
                <a:gd name="connsiteX109" fmla="*/ 13359 w 146292"/>
                <a:gd name="connsiteY109" fmla="*/ 51479 h 159162"/>
                <a:gd name="connsiteX110" fmla="*/ 16291 w 146292"/>
                <a:gd name="connsiteY110" fmla="*/ 54412 h 159162"/>
                <a:gd name="connsiteX111" fmla="*/ 27532 w 146292"/>
                <a:gd name="connsiteY111" fmla="*/ 51805 h 159162"/>
                <a:gd name="connsiteX112" fmla="*/ 19549 w 146292"/>
                <a:gd name="connsiteY112" fmla="*/ 49850 h 159162"/>
                <a:gd name="connsiteX113" fmla="*/ 14499 w 146292"/>
                <a:gd name="connsiteY113" fmla="*/ 41705 h 159162"/>
                <a:gd name="connsiteX114" fmla="*/ 20038 w 146292"/>
                <a:gd name="connsiteY114" fmla="*/ 40890 h 159162"/>
                <a:gd name="connsiteX115" fmla="*/ 20364 w 146292"/>
                <a:gd name="connsiteY115" fmla="*/ 34863 h 159162"/>
                <a:gd name="connsiteX116" fmla="*/ 23296 w 146292"/>
                <a:gd name="connsiteY116" fmla="*/ 35514 h 159162"/>
                <a:gd name="connsiteX117" fmla="*/ 26554 w 146292"/>
                <a:gd name="connsiteY117" fmla="*/ 33233 h 159162"/>
                <a:gd name="connsiteX118" fmla="*/ 29324 w 146292"/>
                <a:gd name="connsiteY118" fmla="*/ 32582 h 159162"/>
                <a:gd name="connsiteX119" fmla="*/ 30790 w 146292"/>
                <a:gd name="connsiteY119" fmla="*/ 33722 h 159162"/>
                <a:gd name="connsiteX120" fmla="*/ 65815 w 146292"/>
                <a:gd name="connsiteY120" fmla="*/ 34211 h 159162"/>
                <a:gd name="connsiteX121" fmla="*/ 65815 w 146292"/>
                <a:gd name="connsiteY121" fmla="*/ 3747 h 1591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</a:cxnLst>
              <a:rect l="l" t="t" r="r" b="b"/>
              <a:pathLst>
                <a:path w="146292" h="159162">
                  <a:moveTo>
                    <a:pt x="65815" y="3747"/>
                  </a:moveTo>
                  <a:lnTo>
                    <a:pt x="66630" y="2606"/>
                  </a:lnTo>
                  <a:lnTo>
                    <a:pt x="68911" y="1629"/>
                  </a:lnTo>
                  <a:lnTo>
                    <a:pt x="71354" y="1792"/>
                  </a:lnTo>
                  <a:lnTo>
                    <a:pt x="74124" y="489"/>
                  </a:lnTo>
                  <a:lnTo>
                    <a:pt x="81129" y="814"/>
                  </a:lnTo>
                  <a:lnTo>
                    <a:pt x="83409" y="0"/>
                  </a:lnTo>
                  <a:lnTo>
                    <a:pt x="91392" y="489"/>
                  </a:lnTo>
                  <a:lnTo>
                    <a:pt x="93673" y="1303"/>
                  </a:lnTo>
                  <a:lnTo>
                    <a:pt x="97745" y="489"/>
                  </a:lnTo>
                  <a:lnTo>
                    <a:pt x="101493" y="489"/>
                  </a:lnTo>
                  <a:lnTo>
                    <a:pt x="101981" y="1629"/>
                  </a:lnTo>
                  <a:lnTo>
                    <a:pt x="108335" y="2118"/>
                  </a:lnTo>
                  <a:lnTo>
                    <a:pt x="109638" y="1466"/>
                  </a:lnTo>
                  <a:lnTo>
                    <a:pt x="111756" y="1303"/>
                  </a:lnTo>
                  <a:lnTo>
                    <a:pt x="113385" y="3258"/>
                  </a:lnTo>
                  <a:lnTo>
                    <a:pt x="113222" y="3258"/>
                  </a:lnTo>
                  <a:lnTo>
                    <a:pt x="111919" y="8471"/>
                  </a:lnTo>
                  <a:lnTo>
                    <a:pt x="113711" y="13358"/>
                  </a:lnTo>
                  <a:lnTo>
                    <a:pt x="113059" y="19875"/>
                  </a:lnTo>
                  <a:lnTo>
                    <a:pt x="114525" y="23948"/>
                  </a:lnTo>
                  <a:lnTo>
                    <a:pt x="113548" y="27043"/>
                  </a:lnTo>
                  <a:lnTo>
                    <a:pt x="115991" y="28509"/>
                  </a:lnTo>
                  <a:lnTo>
                    <a:pt x="120064" y="26228"/>
                  </a:lnTo>
                  <a:lnTo>
                    <a:pt x="123648" y="27206"/>
                  </a:lnTo>
                  <a:lnTo>
                    <a:pt x="129350" y="25740"/>
                  </a:lnTo>
                  <a:lnTo>
                    <a:pt x="134889" y="23622"/>
                  </a:lnTo>
                  <a:lnTo>
                    <a:pt x="143034" y="23785"/>
                  </a:lnTo>
                  <a:lnTo>
                    <a:pt x="145804" y="25740"/>
                  </a:lnTo>
                  <a:lnTo>
                    <a:pt x="146293" y="33396"/>
                  </a:lnTo>
                  <a:lnTo>
                    <a:pt x="144500" y="36655"/>
                  </a:lnTo>
                  <a:lnTo>
                    <a:pt x="146130" y="39261"/>
                  </a:lnTo>
                  <a:lnTo>
                    <a:pt x="145315" y="44148"/>
                  </a:lnTo>
                  <a:lnTo>
                    <a:pt x="140591" y="45126"/>
                  </a:lnTo>
                  <a:lnTo>
                    <a:pt x="135215" y="48058"/>
                  </a:lnTo>
                  <a:lnTo>
                    <a:pt x="134889" y="51642"/>
                  </a:lnTo>
                  <a:lnTo>
                    <a:pt x="136192" y="53271"/>
                  </a:lnTo>
                  <a:lnTo>
                    <a:pt x="137495" y="56692"/>
                  </a:lnTo>
                  <a:lnTo>
                    <a:pt x="135866" y="57018"/>
                  </a:lnTo>
                  <a:lnTo>
                    <a:pt x="134563" y="58484"/>
                  </a:lnTo>
                  <a:lnTo>
                    <a:pt x="131631" y="59625"/>
                  </a:lnTo>
                  <a:lnTo>
                    <a:pt x="131631" y="61580"/>
                  </a:lnTo>
                  <a:lnTo>
                    <a:pt x="133423" y="63534"/>
                  </a:lnTo>
                  <a:lnTo>
                    <a:pt x="134400" y="65815"/>
                  </a:lnTo>
                  <a:lnTo>
                    <a:pt x="137333" y="67118"/>
                  </a:lnTo>
                  <a:lnTo>
                    <a:pt x="138310" y="69399"/>
                  </a:lnTo>
                  <a:lnTo>
                    <a:pt x="142220" y="72657"/>
                  </a:lnTo>
                  <a:lnTo>
                    <a:pt x="143360" y="75753"/>
                  </a:lnTo>
                  <a:lnTo>
                    <a:pt x="145967" y="78359"/>
                  </a:lnTo>
                  <a:lnTo>
                    <a:pt x="145804" y="83409"/>
                  </a:lnTo>
                  <a:lnTo>
                    <a:pt x="143360" y="93836"/>
                  </a:lnTo>
                  <a:lnTo>
                    <a:pt x="137007" y="112407"/>
                  </a:lnTo>
                  <a:lnTo>
                    <a:pt x="138147" y="117132"/>
                  </a:lnTo>
                  <a:lnTo>
                    <a:pt x="137984" y="121856"/>
                  </a:lnTo>
                  <a:lnTo>
                    <a:pt x="135377" y="121856"/>
                  </a:lnTo>
                  <a:lnTo>
                    <a:pt x="133911" y="118272"/>
                  </a:lnTo>
                  <a:lnTo>
                    <a:pt x="128861" y="116154"/>
                  </a:lnTo>
                  <a:lnTo>
                    <a:pt x="123485" y="116317"/>
                  </a:lnTo>
                  <a:lnTo>
                    <a:pt x="120390" y="118272"/>
                  </a:lnTo>
                  <a:lnTo>
                    <a:pt x="117295" y="117620"/>
                  </a:lnTo>
                  <a:lnTo>
                    <a:pt x="111104" y="119249"/>
                  </a:lnTo>
                  <a:lnTo>
                    <a:pt x="107683" y="115177"/>
                  </a:lnTo>
                  <a:lnTo>
                    <a:pt x="103447" y="104914"/>
                  </a:lnTo>
                  <a:lnTo>
                    <a:pt x="98560" y="104262"/>
                  </a:lnTo>
                  <a:lnTo>
                    <a:pt x="96117" y="107357"/>
                  </a:lnTo>
                  <a:lnTo>
                    <a:pt x="97094" y="113385"/>
                  </a:lnTo>
                  <a:lnTo>
                    <a:pt x="95954" y="117620"/>
                  </a:lnTo>
                  <a:lnTo>
                    <a:pt x="86831" y="118109"/>
                  </a:lnTo>
                  <a:lnTo>
                    <a:pt x="82921" y="118109"/>
                  </a:lnTo>
                  <a:lnTo>
                    <a:pt x="81618" y="121041"/>
                  </a:lnTo>
                  <a:lnTo>
                    <a:pt x="79174" y="122996"/>
                  </a:lnTo>
                  <a:lnTo>
                    <a:pt x="74287" y="120064"/>
                  </a:lnTo>
                  <a:lnTo>
                    <a:pt x="68911" y="120715"/>
                  </a:lnTo>
                  <a:lnTo>
                    <a:pt x="66467" y="123322"/>
                  </a:lnTo>
                  <a:lnTo>
                    <a:pt x="68422" y="126906"/>
                  </a:lnTo>
                  <a:lnTo>
                    <a:pt x="67608" y="131793"/>
                  </a:lnTo>
                  <a:lnTo>
                    <a:pt x="71517" y="130653"/>
                  </a:lnTo>
                  <a:lnTo>
                    <a:pt x="75590" y="129676"/>
                  </a:lnTo>
                  <a:lnTo>
                    <a:pt x="78034" y="131631"/>
                  </a:lnTo>
                  <a:lnTo>
                    <a:pt x="82432" y="134726"/>
                  </a:lnTo>
                  <a:lnTo>
                    <a:pt x="82921" y="147596"/>
                  </a:lnTo>
                  <a:lnTo>
                    <a:pt x="82595" y="151994"/>
                  </a:lnTo>
                  <a:lnTo>
                    <a:pt x="75590" y="146292"/>
                  </a:lnTo>
                  <a:lnTo>
                    <a:pt x="73472" y="146292"/>
                  </a:lnTo>
                  <a:lnTo>
                    <a:pt x="72006" y="149062"/>
                  </a:lnTo>
                  <a:lnTo>
                    <a:pt x="67445" y="149225"/>
                  </a:lnTo>
                  <a:lnTo>
                    <a:pt x="65001" y="150528"/>
                  </a:lnTo>
                  <a:lnTo>
                    <a:pt x="64512" y="153949"/>
                  </a:lnTo>
                  <a:lnTo>
                    <a:pt x="60765" y="159162"/>
                  </a:lnTo>
                  <a:lnTo>
                    <a:pt x="59625" y="158185"/>
                  </a:lnTo>
                  <a:lnTo>
                    <a:pt x="55226" y="156393"/>
                  </a:lnTo>
                  <a:lnTo>
                    <a:pt x="54412" y="152157"/>
                  </a:lnTo>
                  <a:lnTo>
                    <a:pt x="45126" y="147758"/>
                  </a:lnTo>
                  <a:lnTo>
                    <a:pt x="42845" y="142057"/>
                  </a:lnTo>
                  <a:lnTo>
                    <a:pt x="31116" y="132771"/>
                  </a:lnTo>
                  <a:lnTo>
                    <a:pt x="24274" y="125440"/>
                  </a:lnTo>
                  <a:lnTo>
                    <a:pt x="26229" y="124137"/>
                  </a:lnTo>
                  <a:lnTo>
                    <a:pt x="19549" y="118598"/>
                  </a:lnTo>
                  <a:lnTo>
                    <a:pt x="16943" y="112733"/>
                  </a:lnTo>
                  <a:lnTo>
                    <a:pt x="13033" y="108823"/>
                  </a:lnTo>
                  <a:lnTo>
                    <a:pt x="13033" y="101004"/>
                  </a:lnTo>
                  <a:lnTo>
                    <a:pt x="8309" y="95139"/>
                  </a:lnTo>
                  <a:lnTo>
                    <a:pt x="8309" y="91066"/>
                  </a:lnTo>
                  <a:lnTo>
                    <a:pt x="5539" y="88623"/>
                  </a:lnTo>
                  <a:lnTo>
                    <a:pt x="0" y="77545"/>
                  </a:lnTo>
                  <a:lnTo>
                    <a:pt x="489" y="74775"/>
                  </a:lnTo>
                  <a:lnTo>
                    <a:pt x="6679" y="76893"/>
                  </a:lnTo>
                  <a:lnTo>
                    <a:pt x="11404" y="72820"/>
                  </a:lnTo>
                  <a:lnTo>
                    <a:pt x="12544" y="58647"/>
                  </a:lnTo>
                  <a:lnTo>
                    <a:pt x="13359" y="51479"/>
                  </a:lnTo>
                  <a:lnTo>
                    <a:pt x="16291" y="54412"/>
                  </a:lnTo>
                  <a:lnTo>
                    <a:pt x="27532" y="51805"/>
                  </a:lnTo>
                  <a:lnTo>
                    <a:pt x="19549" y="49850"/>
                  </a:lnTo>
                  <a:lnTo>
                    <a:pt x="14499" y="41705"/>
                  </a:lnTo>
                  <a:lnTo>
                    <a:pt x="20038" y="40890"/>
                  </a:lnTo>
                  <a:lnTo>
                    <a:pt x="20364" y="34863"/>
                  </a:lnTo>
                  <a:lnTo>
                    <a:pt x="23296" y="35514"/>
                  </a:lnTo>
                  <a:lnTo>
                    <a:pt x="26554" y="33233"/>
                  </a:lnTo>
                  <a:lnTo>
                    <a:pt x="29324" y="32582"/>
                  </a:lnTo>
                  <a:lnTo>
                    <a:pt x="30790" y="33722"/>
                  </a:lnTo>
                  <a:lnTo>
                    <a:pt x="65815" y="34211"/>
                  </a:lnTo>
                  <a:lnTo>
                    <a:pt x="65815" y="3747"/>
                  </a:lnTo>
                  <a:close/>
                </a:path>
              </a:pathLst>
            </a:custGeom>
            <a:solidFill>
              <a:schemeClr val="bg2"/>
            </a:solidFill>
            <a:ln w="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4" name="Forma livre: Forma 123">
              <a:extLst>
                <a:ext uri="{FF2B5EF4-FFF2-40B4-BE49-F238E27FC236}">
                  <a16:creationId xmlns:a16="http://schemas.microsoft.com/office/drawing/2014/main" id="{11C00CE7-E43F-74E9-F361-29F28F4FD698}"/>
                </a:ext>
              </a:extLst>
            </p:cNvPr>
            <p:cNvSpPr/>
            <p:nvPr/>
          </p:nvSpPr>
          <p:spPr>
            <a:xfrm>
              <a:off x="6229639" y="4903670"/>
              <a:ext cx="53534" cy="33838"/>
            </a:xfrm>
            <a:custGeom>
              <a:avLst/>
              <a:gdLst>
                <a:gd name="connsiteX0" fmla="*/ 6353 w 51804"/>
                <a:gd name="connsiteY0" fmla="*/ 32093 h 32744"/>
                <a:gd name="connsiteX1" fmla="*/ 9286 w 51804"/>
                <a:gd name="connsiteY1" fmla="*/ 32745 h 32744"/>
                <a:gd name="connsiteX2" fmla="*/ 12544 w 51804"/>
                <a:gd name="connsiteY2" fmla="*/ 30464 h 32744"/>
                <a:gd name="connsiteX3" fmla="*/ 15314 w 51804"/>
                <a:gd name="connsiteY3" fmla="*/ 29812 h 32744"/>
                <a:gd name="connsiteX4" fmla="*/ 16780 w 51804"/>
                <a:gd name="connsiteY4" fmla="*/ 30953 h 32744"/>
                <a:gd name="connsiteX5" fmla="*/ 51805 w 51804"/>
                <a:gd name="connsiteY5" fmla="*/ 31441 h 32744"/>
                <a:gd name="connsiteX6" fmla="*/ 51805 w 51804"/>
                <a:gd name="connsiteY6" fmla="*/ 977 h 32744"/>
                <a:gd name="connsiteX7" fmla="*/ 21504 w 51804"/>
                <a:gd name="connsiteY7" fmla="*/ 977 h 32744"/>
                <a:gd name="connsiteX8" fmla="*/ 19875 w 51804"/>
                <a:gd name="connsiteY8" fmla="*/ 0 h 32744"/>
                <a:gd name="connsiteX9" fmla="*/ 16780 w 51804"/>
                <a:gd name="connsiteY9" fmla="*/ 0 h 32744"/>
                <a:gd name="connsiteX10" fmla="*/ 13521 w 51804"/>
                <a:gd name="connsiteY10" fmla="*/ 652 h 32744"/>
                <a:gd name="connsiteX11" fmla="*/ 12544 w 51804"/>
                <a:gd name="connsiteY11" fmla="*/ 1629 h 32744"/>
                <a:gd name="connsiteX12" fmla="*/ 14499 w 51804"/>
                <a:gd name="connsiteY12" fmla="*/ 6028 h 32744"/>
                <a:gd name="connsiteX13" fmla="*/ 6353 w 51804"/>
                <a:gd name="connsiteY13" fmla="*/ 15150 h 32744"/>
                <a:gd name="connsiteX14" fmla="*/ 0 w 51804"/>
                <a:gd name="connsiteY14" fmla="*/ 27369 h 32744"/>
                <a:gd name="connsiteX15" fmla="*/ 6353 w 51804"/>
                <a:gd name="connsiteY15" fmla="*/ 30627 h 32744"/>
                <a:gd name="connsiteX16" fmla="*/ 6353 w 51804"/>
                <a:gd name="connsiteY16" fmla="*/ 32093 h 327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1804" h="32744">
                  <a:moveTo>
                    <a:pt x="6353" y="32093"/>
                  </a:moveTo>
                  <a:lnTo>
                    <a:pt x="9286" y="32745"/>
                  </a:lnTo>
                  <a:lnTo>
                    <a:pt x="12544" y="30464"/>
                  </a:lnTo>
                  <a:lnTo>
                    <a:pt x="15314" y="29812"/>
                  </a:lnTo>
                  <a:lnTo>
                    <a:pt x="16780" y="30953"/>
                  </a:lnTo>
                  <a:lnTo>
                    <a:pt x="51805" y="31441"/>
                  </a:lnTo>
                  <a:lnTo>
                    <a:pt x="51805" y="977"/>
                  </a:lnTo>
                  <a:lnTo>
                    <a:pt x="21504" y="977"/>
                  </a:lnTo>
                  <a:lnTo>
                    <a:pt x="19875" y="0"/>
                  </a:lnTo>
                  <a:lnTo>
                    <a:pt x="16780" y="0"/>
                  </a:lnTo>
                  <a:lnTo>
                    <a:pt x="13521" y="652"/>
                  </a:lnTo>
                  <a:lnTo>
                    <a:pt x="12544" y="1629"/>
                  </a:lnTo>
                  <a:lnTo>
                    <a:pt x="14499" y="6028"/>
                  </a:lnTo>
                  <a:lnTo>
                    <a:pt x="6353" y="15150"/>
                  </a:lnTo>
                  <a:lnTo>
                    <a:pt x="0" y="27369"/>
                  </a:lnTo>
                  <a:lnTo>
                    <a:pt x="6353" y="30627"/>
                  </a:lnTo>
                  <a:lnTo>
                    <a:pt x="6353" y="32093"/>
                  </a:lnTo>
                  <a:close/>
                </a:path>
              </a:pathLst>
            </a:custGeom>
            <a:solidFill>
              <a:schemeClr val="bg2"/>
            </a:solidFill>
            <a:ln w="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5" name="Forma livre: Forma 124">
              <a:extLst>
                <a:ext uri="{FF2B5EF4-FFF2-40B4-BE49-F238E27FC236}">
                  <a16:creationId xmlns:a16="http://schemas.microsoft.com/office/drawing/2014/main" id="{775DC7ED-3E94-DAE7-AF3E-B681F295C331}"/>
                </a:ext>
              </a:extLst>
            </p:cNvPr>
            <p:cNvSpPr/>
            <p:nvPr/>
          </p:nvSpPr>
          <p:spPr>
            <a:xfrm>
              <a:off x="6277956" y="4858720"/>
              <a:ext cx="203030" cy="238047"/>
            </a:xfrm>
            <a:custGeom>
              <a:avLst/>
              <a:gdLst>
                <a:gd name="connsiteX0" fmla="*/ 0 w 196468"/>
                <a:gd name="connsiteY0" fmla="*/ 199889 h 230353"/>
                <a:gd name="connsiteX1" fmla="*/ 3747 w 196468"/>
                <a:gd name="connsiteY1" fmla="*/ 194676 h 230353"/>
                <a:gd name="connsiteX2" fmla="*/ 4236 w 196468"/>
                <a:gd name="connsiteY2" fmla="*/ 191255 h 230353"/>
                <a:gd name="connsiteX3" fmla="*/ 6679 w 196468"/>
                <a:gd name="connsiteY3" fmla="*/ 189952 h 230353"/>
                <a:gd name="connsiteX4" fmla="*/ 11241 w 196468"/>
                <a:gd name="connsiteY4" fmla="*/ 189789 h 230353"/>
                <a:gd name="connsiteX5" fmla="*/ 12707 w 196468"/>
                <a:gd name="connsiteY5" fmla="*/ 187020 h 230353"/>
                <a:gd name="connsiteX6" fmla="*/ 14825 w 196468"/>
                <a:gd name="connsiteY6" fmla="*/ 187020 h 230353"/>
                <a:gd name="connsiteX7" fmla="*/ 21830 w 196468"/>
                <a:gd name="connsiteY7" fmla="*/ 192722 h 230353"/>
                <a:gd name="connsiteX8" fmla="*/ 22155 w 196468"/>
                <a:gd name="connsiteY8" fmla="*/ 188323 h 230353"/>
                <a:gd name="connsiteX9" fmla="*/ 21667 w 196468"/>
                <a:gd name="connsiteY9" fmla="*/ 175453 h 230353"/>
                <a:gd name="connsiteX10" fmla="*/ 17268 w 196468"/>
                <a:gd name="connsiteY10" fmla="*/ 172358 h 230353"/>
                <a:gd name="connsiteX11" fmla="*/ 14825 w 196468"/>
                <a:gd name="connsiteY11" fmla="*/ 170403 h 230353"/>
                <a:gd name="connsiteX12" fmla="*/ 10752 w 196468"/>
                <a:gd name="connsiteY12" fmla="*/ 171380 h 230353"/>
                <a:gd name="connsiteX13" fmla="*/ 6842 w 196468"/>
                <a:gd name="connsiteY13" fmla="*/ 172521 h 230353"/>
                <a:gd name="connsiteX14" fmla="*/ 7657 w 196468"/>
                <a:gd name="connsiteY14" fmla="*/ 167633 h 230353"/>
                <a:gd name="connsiteX15" fmla="*/ 5702 w 196468"/>
                <a:gd name="connsiteY15" fmla="*/ 164049 h 230353"/>
                <a:gd name="connsiteX16" fmla="*/ 8145 w 196468"/>
                <a:gd name="connsiteY16" fmla="*/ 161443 h 230353"/>
                <a:gd name="connsiteX17" fmla="*/ 13521 w 196468"/>
                <a:gd name="connsiteY17" fmla="*/ 160791 h 230353"/>
                <a:gd name="connsiteX18" fmla="*/ 18409 w 196468"/>
                <a:gd name="connsiteY18" fmla="*/ 163723 h 230353"/>
                <a:gd name="connsiteX19" fmla="*/ 20852 w 196468"/>
                <a:gd name="connsiteY19" fmla="*/ 161769 h 230353"/>
                <a:gd name="connsiteX20" fmla="*/ 22155 w 196468"/>
                <a:gd name="connsiteY20" fmla="*/ 158836 h 230353"/>
                <a:gd name="connsiteX21" fmla="*/ 26066 w 196468"/>
                <a:gd name="connsiteY21" fmla="*/ 158836 h 230353"/>
                <a:gd name="connsiteX22" fmla="*/ 35188 w 196468"/>
                <a:gd name="connsiteY22" fmla="*/ 158348 h 230353"/>
                <a:gd name="connsiteX23" fmla="*/ 36329 w 196468"/>
                <a:gd name="connsiteY23" fmla="*/ 154112 h 230353"/>
                <a:gd name="connsiteX24" fmla="*/ 35352 w 196468"/>
                <a:gd name="connsiteY24" fmla="*/ 148084 h 230353"/>
                <a:gd name="connsiteX25" fmla="*/ 37795 w 196468"/>
                <a:gd name="connsiteY25" fmla="*/ 144989 h 230353"/>
                <a:gd name="connsiteX26" fmla="*/ 42682 w 196468"/>
                <a:gd name="connsiteY26" fmla="*/ 145641 h 230353"/>
                <a:gd name="connsiteX27" fmla="*/ 46918 w 196468"/>
                <a:gd name="connsiteY27" fmla="*/ 155904 h 230353"/>
                <a:gd name="connsiteX28" fmla="*/ 50339 w 196468"/>
                <a:gd name="connsiteY28" fmla="*/ 159977 h 230353"/>
                <a:gd name="connsiteX29" fmla="*/ 56529 w 196468"/>
                <a:gd name="connsiteY29" fmla="*/ 158348 h 230353"/>
                <a:gd name="connsiteX30" fmla="*/ 59625 w 196468"/>
                <a:gd name="connsiteY30" fmla="*/ 158999 h 230353"/>
                <a:gd name="connsiteX31" fmla="*/ 62720 w 196468"/>
                <a:gd name="connsiteY31" fmla="*/ 157044 h 230353"/>
                <a:gd name="connsiteX32" fmla="*/ 68096 w 196468"/>
                <a:gd name="connsiteY32" fmla="*/ 156881 h 230353"/>
                <a:gd name="connsiteX33" fmla="*/ 73146 w 196468"/>
                <a:gd name="connsiteY33" fmla="*/ 158999 h 230353"/>
                <a:gd name="connsiteX34" fmla="*/ 74612 w 196468"/>
                <a:gd name="connsiteY34" fmla="*/ 162583 h 230353"/>
                <a:gd name="connsiteX35" fmla="*/ 77219 w 196468"/>
                <a:gd name="connsiteY35" fmla="*/ 162583 h 230353"/>
                <a:gd name="connsiteX36" fmla="*/ 77382 w 196468"/>
                <a:gd name="connsiteY36" fmla="*/ 157859 h 230353"/>
                <a:gd name="connsiteX37" fmla="*/ 76241 w 196468"/>
                <a:gd name="connsiteY37" fmla="*/ 153135 h 230353"/>
                <a:gd name="connsiteX38" fmla="*/ 82595 w 196468"/>
                <a:gd name="connsiteY38" fmla="*/ 134563 h 230353"/>
                <a:gd name="connsiteX39" fmla="*/ 85039 w 196468"/>
                <a:gd name="connsiteY39" fmla="*/ 124137 h 230353"/>
                <a:gd name="connsiteX40" fmla="*/ 85202 w 196468"/>
                <a:gd name="connsiteY40" fmla="*/ 119087 h 230353"/>
                <a:gd name="connsiteX41" fmla="*/ 82595 w 196468"/>
                <a:gd name="connsiteY41" fmla="*/ 116480 h 230353"/>
                <a:gd name="connsiteX42" fmla="*/ 81455 w 196468"/>
                <a:gd name="connsiteY42" fmla="*/ 113385 h 230353"/>
                <a:gd name="connsiteX43" fmla="*/ 77545 w 196468"/>
                <a:gd name="connsiteY43" fmla="*/ 110126 h 230353"/>
                <a:gd name="connsiteX44" fmla="*/ 76568 w 196468"/>
                <a:gd name="connsiteY44" fmla="*/ 107846 h 230353"/>
                <a:gd name="connsiteX45" fmla="*/ 73635 w 196468"/>
                <a:gd name="connsiteY45" fmla="*/ 106542 h 230353"/>
                <a:gd name="connsiteX46" fmla="*/ 72657 w 196468"/>
                <a:gd name="connsiteY46" fmla="*/ 104262 h 230353"/>
                <a:gd name="connsiteX47" fmla="*/ 70866 w 196468"/>
                <a:gd name="connsiteY47" fmla="*/ 102307 h 230353"/>
                <a:gd name="connsiteX48" fmla="*/ 70866 w 196468"/>
                <a:gd name="connsiteY48" fmla="*/ 100352 h 230353"/>
                <a:gd name="connsiteX49" fmla="*/ 73798 w 196468"/>
                <a:gd name="connsiteY49" fmla="*/ 99212 h 230353"/>
                <a:gd name="connsiteX50" fmla="*/ 75101 w 196468"/>
                <a:gd name="connsiteY50" fmla="*/ 97745 h 230353"/>
                <a:gd name="connsiteX51" fmla="*/ 76730 w 196468"/>
                <a:gd name="connsiteY51" fmla="*/ 97420 h 230353"/>
                <a:gd name="connsiteX52" fmla="*/ 75427 w 196468"/>
                <a:gd name="connsiteY52" fmla="*/ 93998 h 230353"/>
                <a:gd name="connsiteX53" fmla="*/ 74123 w 196468"/>
                <a:gd name="connsiteY53" fmla="*/ 92369 h 230353"/>
                <a:gd name="connsiteX54" fmla="*/ 74450 w 196468"/>
                <a:gd name="connsiteY54" fmla="*/ 88785 h 230353"/>
                <a:gd name="connsiteX55" fmla="*/ 79825 w 196468"/>
                <a:gd name="connsiteY55" fmla="*/ 85853 h 230353"/>
                <a:gd name="connsiteX56" fmla="*/ 84550 w 196468"/>
                <a:gd name="connsiteY56" fmla="*/ 84876 h 230353"/>
                <a:gd name="connsiteX57" fmla="*/ 85364 w 196468"/>
                <a:gd name="connsiteY57" fmla="*/ 79988 h 230353"/>
                <a:gd name="connsiteX58" fmla="*/ 83735 w 196468"/>
                <a:gd name="connsiteY58" fmla="*/ 77382 h 230353"/>
                <a:gd name="connsiteX59" fmla="*/ 85527 w 196468"/>
                <a:gd name="connsiteY59" fmla="*/ 74123 h 230353"/>
                <a:gd name="connsiteX60" fmla="*/ 85039 w 196468"/>
                <a:gd name="connsiteY60" fmla="*/ 66467 h 230353"/>
                <a:gd name="connsiteX61" fmla="*/ 82269 w 196468"/>
                <a:gd name="connsiteY61" fmla="*/ 64512 h 230353"/>
                <a:gd name="connsiteX62" fmla="*/ 74123 w 196468"/>
                <a:gd name="connsiteY62" fmla="*/ 64349 h 230353"/>
                <a:gd name="connsiteX63" fmla="*/ 68585 w 196468"/>
                <a:gd name="connsiteY63" fmla="*/ 66467 h 230353"/>
                <a:gd name="connsiteX64" fmla="*/ 62883 w 196468"/>
                <a:gd name="connsiteY64" fmla="*/ 67933 h 230353"/>
                <a:gd name="connsiteX65" fmla="*/ 59299 w 196468"/>
                <a:gd name="connsiteY65" fmla="*/ 66956 h 230353"/>
                <a:gd name="connsiteX66" fmla="*/ 55226 w 196468"/>
                <a:gd name="connsiteY66" fmla="*/ 69236 h 230353"/>
                <a:gd name="connsiteX67" fmla="*/ 52782 w 196468"/>
                <a:gd name="connsiteY67" fmla="*/ 67770 h 230353"/>
                <a:gd name="connsiteX68" fmla="*/ 53760 w 196468"/>
                <a:gd name="connsiteY68" fmla="*/ 64675 h 230353"/>
                <a:gd name="connsiteX69" fmla="*/ 52294 w 196468"/>
                <a:gd name="connsiteY69" fmla="*/ 60602 h 230353"/>
                <a:gd name="connsiteX70" fmla="*/ 52945 w 196468"/>
                <a:gd name="connsiteY70" fmla="*/ 54086 h 230353"/>
                <a:gd name="connsiteX71" fmla="*/ 51153 w 196468"/>
                <a:gd name="connsiteY71" fmla="*/ 49198 h 230353"/>
                <a:gd name="connsiteX72" fmla="*/ 52457 w 196468"/>
                <a:gd name="connsiteY72" fmla="*/ 43985 h 230353"/>
                <a:gd name="connsiteX73" fmla="*/ 85202 w 196468"/>
                <a:gd name="connsiteY73" fmla="*/ 44637 h 230353"/>
                <a:gd name="connsiteX74" fmla="*/ 87971 w 196468"/>
                <a:gd name="connsiteY74" fmla="*/ 45940 h 230353"/>
                <a:gd name="connsiteX75" fmla="*/ 89274 w 196468"/>
                <a:gd name="connsiteY75" fmla="*/ 44474 h 230353"/>
                <a:gd name="connsiteX76" fmla="*/ 91392 w 196468"/>
                <a:gd name="connsiteY76" fmla="*/ 44474 h 230353"/>
                <a:gd name="connsiteX77" fmla="*/ 94161 w 196468"/>
                <a:gd name="connsiteY77" fmla="*/ 47569 h 230353"/>
                <a:gd name="connsiteX78" fmla="*/ 96605 w 196468"/>
                <a:gd name="connsiteY78" fmla="*/ 46755 h 230353"/>
                <a:gd name="connsiteX79" fmla="*/ 99700 w 196468"/>
                <a:gd name="connsiteY79" fmla="*/ 47569 h 230353"/>
                <a:gd name="connsiteX80" fmla="*/ 101493 w 196468"/>
                <a:gd name="connsiteY80" fmla="*/ 49687 h 230353"/>
                <a:gd name="connsiteX81" fmla="*/ 104099 w 196468"/>
                <a:gd name="connsiteY81" fmla="*/ 49198 h 230353"/>
                <a:gd name="connsiteX82" fmla="*/ 104750 w 196468"/>
                <a:gd name="connsiteY82" fmla="*/ 47569 h 230353"/>
                <a:gd name="connsiteX83" fmla="*/ 106543 w 196468"/>
                <a:gd name="connsiteY83" fmla="*/ 48058 h 230353"/>
                <a:gd name="connsiteX84" fmla="*/ 110289 w 196468"/>
                <a:gd name="connsiteY84" fmla="*/ 50665 h 230353"/>
                <a:gd name="connsiteX85" fmla="*/ 112570 w 196468"/>
                <a:gd name="connsiteY85" fmla="*/ 50013 h 230353"/>
                <a:gd name="connsiteX86" fmla="*/ 118109 w 196468"/>
                <a:gd name="connsiteY86" fmla="*/ 50013 h 230353"/>
                <a:gd name="connsiteX87" fmla="*/ 120064 w 196468"/>
                <a:gd name="connsiteY87" fmla="*/ 50990 h 230353"/>
                <a:gd name="connsiteX88" fmla="*/ 122345 w 196468"/>
                <a:gd name="connsiteY88" fmla="*/ 51642 h 230353"/>
                <a:gd name="connsiteX89" fmla="*/ 124300 w 196468"/>
                <a:gd name="connsiteY89" fmla="*/ 51316 h 230353"/>
                <a:gd name="connsiteX90" fmla="*/ 125114 w 196468"/>
                <a:gd name="connsiteY90" fmla="*/ 52782 h 230353"/>
                <a:gd name="connsiteX91" fmla="*/ 128046 w 196468"/>
                <a:gd name="connsiteY91" fmla="*/ 52294 h 230353"/>
                <a:gd name="connsiteX92" fmla="*/ 128698 w 196468"/>
                <a:gd name="connsiteY92" fmla="*/ 49850 h 230353"/>
                <a:gd name="connsiteX93" fmla="*/ 126255 w 196468"/>
                <a:gd name="connsiteY93" fmla="*/ 45614 h 230353"/>
                <a:gd name="connsiteX94" fmla="*/ 127395 w 196468"/>
                <a:gd name="connsiteY94" fmla="*/ 43660 h 230353"/>
                <a:gd name="connsiteX95" fmla="*/ 130164 w 196468"/>
                <a:gd name="connsiteY95" fmla="*/ 39424 h 230353"/>
                <a:gd name="connsiteX96" fmla="*/ 131630 w 196468"/>
                <a:gd name="connsiteY96" fmla="*/ 35840 h 230353"/>
                <a:gd name="connsiteX97" fmla="*/ 143686 w 196468"/>
                <a:gd name="connsiteY97" fmla="*/ 15802 h 230353"/>
                <a:gd name="connsiteX98" fmla="*/ 150202 w 196468"/>
                <a:gd name="connsiteY98" fmla="*/ 9612 h 230353"/>
                <a:gd name="connsiteX99" fmla="*/ 154601 w 196468"/>
                <a:gd name="connsiteY99" fmla="*/ 8634 h 230353"/>
                <a:gd name="connsiteX100" fmla="*/ 156719 w 196468"/>
                <a:gd name="connsiteY100" fmla="*/ 6028 h 230353"/>
                <a:gd name="connsiteX101" fmla="*/ 167634 w 196468"/>
                <a:gd name="connsiteY101" fmla="*/ 1466 h 230353"/>
                <a:gd name="connsiteX102" fmla="*/ 171706 w 196468"/>
                <a:gd name="connsiteY102" fmla="*/ 1955 h 230353"/>
                <a:gd name="connsiteX103" fmla="*/ 174476 w 196468"/>
                <a:gd name="connsiteY103" fmla="*/ 0 h 230353"/>
                <a:gd name="connsiteX104" fmla="*/ 178548 w 196468"/>
                <a:gd name="connsiteY104" fmla="*/ 0 h 230353"/>
                <a:gd name="connsiteX105" fmla="*/ 181970 w 196468"/>
                <a:gd name="connsiteY105" fmla="*/ 0 h 230353"/>
                <a:gd name="connsiteX106" fmla="*/ 183762 w 196468"/>
                <a:gd name="connsiteY106" fmla="*/ 2118 h 230353"/>
                <a:gd name="connsiteX107" fmla="*/ 188486 w 196468"/>
                <a:gd name="connsiteY107" fmla="*/ 4724 h 230353"/>
                <a:gd name="connsiteX108" fmla="*/ 190930 w 196468"/>
                <a:gd name="connsiteY108" fmla="*/ 3747 h 230353"/>
                <a:gd name="connsiteX109" fmla="*/ 193862 w 196468"/>
                <a:gd name="connsiteY109" fmla="*/ 2932 h 230353"/>
                <a:gd name="connsiteX110" fmla="*/ 193862 w 196468"/>
                <a:gd name="connsiteY110" fmla="*/ 4398 h 230353"/>
                <a:gd name="connsiteX111" fmla="*/ 196305 w 196468"/>
                <a:gd name="connsiteY111" fmla="*/ 9286 h 230353"/>
                <a:gd name="connsiteX112" fmla="*/ 196468 w 196468"/>
                <a:gd name="connsiteY112" fmla="*/ 19712 h 230353"/>
                <a:gd name="connsiteX113" fmla="*/ 191418 w 196468"/>
                <a:gd name="connsiteY113" fmla="*/ 22156 h 230353"/>
                <a:gd name="connsiteX114" fmla="*/ 190278 w 196468"/>
                <a:gd name="connsiteY114" fmla="*/ 26880 h 230353"/>
                <a:gd name="connsiteX115" fmla="*/ 179363 w 196468"/>
                <a:gd name="connsiteY115" fmla="*/ 41053 h 230353"/>
                <a:gd name="connsiteX116" fmla="*/ 181481 w 196468"/>
                <a:gd name="connsiteY116" fmla="*/ 49850 h 230353"/>
                <a:gd name="connsiteX117" fmla="*/ 180014 w 196468"/>
                <a:gd name="connsiteY117" fmla="*/ 55389 h 230353"/>
                <a:gd name="connsiteX118" fmla="*/ 179689 w 196468"/>
                <a:gd name="connsiteY118" fmla="*/ 61091 h 230353"/>
                <a:gd name="connsiteX119" fmla="*/ 175942 w 196468"/>
                <a:gd name="connsiteY119" fmla="*/ 65815 h 230353"/>
                <a:gd name="connsiteX120" fmla="*/ 175290 w 196468"/>
                <a:gd name="connsiteY120" fmla="*/ 73472 h 230353"/>
                <a:gd name="connsiteX121" fmla="*/ 175942 w 196468"/>
                <a:gd name="connsiteY121" fmla="*/ 76567 h 230353"/>
                <a:gd name="connsiteX122" fmla="*/ 174476 w 196468"/>
                <a:gd name="connsiteY122" fmla="*/ 84387 h 230353"/>
                <a:gd name="connsiteX123" fmla="*/ 175616 w 196468"/>
                <a:gd name="connsiteY123" fmla="*/ 85853 h 230353"/>
                <a:gd name="connsiteX124" fmla="*/ 174802 w 196468"/>
                <a:gd name="connsiteY124" fmla="*/ 93021 h 230353"/>
                <a:gd name="connsiteX125" fmla="*/ 171218 w 196468"/>
                <a:gd name="connsiteY125" fmla="*/ 94650 h 230353"/>
                <a:gd name="connsiteX126" fmla="*/ 168937 w 196468"/>
                <a:gd name="connsiteY126" fmla="*/ 103122 h 230353"/>
                <a:gd name="connsiteX127" fmla="*/ 168774 w 196468"/>
                <a:gd name="connsiteY127" fmla="*/ 111756 h 230353"/>
                <a:gd name="connsiteX128" fmla="*/ 160628 w 196468"/>
                <a:gd name="connsiteY128" fmla="*/ 125114 h 230353"/>
                <a:gd name="connsiteX129" fmla="*/ 155741 w 196468"/>
                <a:gd name="connsiteY129" fmla="*/ 126580 h 230353"/>
                <a:gd name="connsiteX130" fmla="*/ 151180 w 196468"/>
                <a:gd name="connsiteY130" fmla="*/ 130001 h 230353"/>
                <a:gd name="connsiteX131" fmla="*/ 148084 w 196468"/>
                <a:gd name="connsiteY131" fmla="*/ 129024 h 230353"/>
                <a:gd name="connsiteX132" fmla="*/ 142057 w 196468"/>
                <a:gd name="connsiteY132" fmla="*/ 133097 h 230353"/>
                <a:gd name="connsiteX133" fmla="*/ 137170 w 196468"/>
                <a:gd name="connsiteY133" fmla="*/ 139287 h 230353"/>
                <a:gd name="connsiteX134" fmla="*/ 137007 w 196468"/>
                <a:gd name="connsiteY134" fmla="*/ 144826 h 230353"/>
                <a:gd name="connsiteX135" fmla="*/ 129350 w 196468"/>
                <a:gd name="connsiteY135" fmla="*/ 152972 h 230353"/>
                <a:gd name="connsiteX136" fmla="*/ 126418 w 196468"/>
                <a:gd name="connsiteY136" fmla="*/ 158348 h 230353"/>
                <a:gd name="connsiteX137" fmla="*/ 127558 w 196468"/>
                <a:gd name="connsiteY137" fmla="*/ 165516 h 230353"/>
                <a:gd name="connsiteX138" fmla="*/ 129024 w 196468"/>
                <a:gd name="connsiteY138" fmla="*/ 167633 h 230353"/>
                <a:gd name="connsiteX139" fmla="*/ 128046 w 196468"/>
                <a:gd name="connsiteY139" fmla="*/ 181644 h 230353"/>
                <a:gd name="connsiteX140" fmla="*/ 126418 w 196468"/>
                <a:gd name="connsiteY140" fmla="*/ 188649 h 230353"/>
                <a:gd name="connsiteX141" fmla="*/ 126580 w 196468"/>
                <a:gd name="connsiteY141" fmla="*/ 193210 h 230353"/>
                <a:gd name="connsiteX142" fmla="*/ 122345 w 196468"/>
                <a:gd name="connsiteY142" fmla="*/ 200052 h 230353"/>
                <a:gd name="connsiteX143" fmla="*/ 117783 w 196468"/>
                <a:gd name="connsiteY143" fmla="*/ 201193 h 230353"/>
                <a:gd name="connsiteX144" fmla="*/ 113711 w 196468"/>
                <a:gd name="connsiteY144" fmla="*/ 203962 h 230353"/>
                <a:gd name="connsiteX145" fmla="*/ 112082 w 196468"/>
                <a:gd name="connsiteY145" fmla="*/ 207709 h 230353"/>
                <a:gd name="connsiteX146" fmla="*/ 101493 w 196468"/>
                <a:gd name="connsiteY146" fmla="*/ 217972 h 230353"/>
                <a:gd name="connsiteX147" fmla="*/ 97909 w 196468"/>
                <a:gd name="connsiteY147" fmla="*/ 223511 h 230353"/>
                <a:gd name="connsiteX148" fmla="*/ 91718 w 196468"/>
                <a:gd name="connsiteY148" fmla="*/ 225955 h 230353"/>
                <a:gd name="connsiteX149" fmla="*/ 85690 w 196468"/>
                <a:gd name="connsiteY149" fmla="*/ 222534 h 230353"/>
                <a:gd name="connsiteX150" fmla="*/ 84224 w 196468"/>
                <a:gd name="connsiteY150" fmla="*/ 218135 h 230353"/>
                <a:gd name="connsiteX151" fmla="*/ 82921 w 196468"/>
                <a:gd name="connsiteY151" fmla="*/ 216995 h 230353"/>
                <a:gd name="connsiteX152" fmla="*/ 85853 w 196468"/>
                <a:gd name="connsiteY152" fmla="*/ 211293 h 230353"/>
                <a:gd name="connsiteX153" fmla="*/ 86342 w 196468"/>
                <a:gd name="connsiteY153" fmla="*/ 208849 h 230353"/>
                <a:gd name="connsiteX154" fmla="*/ 78359 w 196468"/>
                <a:gd name="connsiteY154" fmla="*/ 211456 h 230353"/>
                <a:gd name="connsiteX155" fmla="*/ 73146 w 196468"/>
                <a:gd name="connsiteY155" fmla="*/ 216017 h 230353"/>
                <a:gd name="connsiteX156" fmla="*/ 69725 w 196468"/>
                <a:gd name="connsiteY156" fmla="*/ 215040 h 230353"/>
                <a:gd name="connsiteX157" fmla="*/ 66141 w 196468"/>
                <a:gd name="connsiteY157" fmla="*/ 215366 h 230353"/>
                <a:gd name="connsiteX158" fmla="*/ 65978 w 196468"/>
                <a:gd name="connsiteY158" fmla="*/ 220905 h 230353"/>
                <a:gd name="connsiteX159" fmla="*/ 63046 w 196468"/>
                <a:gd name="connsiteY159" fmla="*/ 224326 h 230353"/>
                <a:gd name="connsiteX160" fmla="*/ 58159 w 196468"/>
                <a:gd name="connsiteY160" fmla="*/ 224326 h 230353"/>
                <a:gd name="connsiteX161" fmla="*/ 58321 w 196468"/>
                <a:gd name="connsiteY161" fmla="*/ 222045 h 230353"/>
                <a:gd name="connsiteX162" fmla="*/ 56855 w 196468"/>
                <a:gd name="connsiteY162" fmla="*/ 219276 h 230353"/>
                <a:gd name="connsiteX163" fmla="*/ 53109 w 196468"/>
                <a:gd name="connsiteY163" fmla="*/ 221068 h 230353"/>
                <a:gd name="connsiteX164" fmla="*/ 50013 w 196468"/>
                <a:gd name="connsiteY164" fmla="*/ 220905 h 230353"/>
                <a:gd name="connsiteX165" fmla="*/ 49198 w 196468"/>
                <a:gd name="connsiteY165" fmla="*/ 221556 h 230353"/>
                <a:gd name="connsiteX166" fmla="*/ 49198 w 196468"/>
                <a:gd name="connsiteY166" fmla="*/ 217321 h 230353"/>
                <a:gd name="connsiteX167" fmla="*/ 46592 w 196468"/>
                <a:gd name="connsiteY167" fmla="*/ 214063 h 230353"/>
                <a:gd name="connsiteX168" fmla="*/ 43986 w 196468"/>
                <a:gd name="connsiteY168" fmla="*/ 211619 h 230353"/>
                <a:gd name="connsiteX169" fmla="*/ 41705 w 196468"/>
                <a:gd name="connsiteY169" fmla="*/ 211619 h 230353"/>
                <a:gd name="connsiteX170" fmla="*/ 37469 w 196468"/>
                <a:gd name="connsiteY170" fmla="*/ 215203 h 230353"/>
                <a:gd name="connsiteX171" fmla="*/ 33722 w 196468"/>
                <a:gd name="connsiteY171" fmla="*/ 216017 h 230353"/>
                <a:gd name="connsiteX172" fmla="*/ 32256 w 196468"/>
                <a:gd name="connsiteY172" fmla="*/ 220579 h 230353"/>
                <a:gd name="connsiteX173" fmla="*/ 28183 w 196468"/>
                <a:gd name="connsiteY173" fmla="*/ 222860 h 230353"/>
                <a:gd name="connsiteX174" fmla="*/ 26554 w 196468"/>
                <a:gd name="connsiteY174" fmla="*/ 222860 h 230353"/>
                <a:gd name="connsiteX175" fmla="*/ 23948 w 196468"/>
                <a:gd name="connsiteY175" fmla="*/ 228887 h 230353"/>
                <a:gd name="connsiteX176" fmla="*/ 21504 w 196468"/>
                <a:gd name="connsiteY176" fmla="*/ 230354 h 230353"/>
                <a:gd name="connsiteX177" fmla="*/ 18571 w 196468"/>
                <a:gd name="connsiteY177" fmla="*/ 227095 h 230353"/>
                <a:gd name="connsiteX178" fmla="*/ 18734 w 196468"/>
                <a:gd name="connsiteY178" fmla="*/ 222045 h 230353"/>
                <a:gd name="connsiteX179" fmla="*/ 14662 w 196468"/>
                <a:gd name="connsiteY179" fmla="*/ 217647 h 230353"/>
                <a:gd name="connsiteX180" fmla="*/ 14499 w 196468"/>
                <a:gd name="connsiteY180" fmla="*/ 212922 h 230353"/>
                <a:gd name="connsiteX181" fmla="*/ 6842 w 196468"/>
                <a:gd name="connsiteY181" fmla="*/ 208198 h 230353"/>
                <a:gd name="connsiteX182" fmla="*/ 5050 w 196468"/>
                <a:gd name="connsiteY182" fmla="*/ 204777 h 230353"/>
                <a:gd name="connsiteX183" fmla="*/ 0 w 196468"/>
                <a:gd name="connsiteY183" fmla="*/ 199889 h 2303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</a:cxnLst>
              <a:rect l="l" t="t" r="r" b="b"/>
              <a:pathLst>
                <a:path w="196468" h="230353">
                  <a:moveTo>
                    <a:pt x="0" y="199889"/>
                  </a:moveTo>
                  <a:lnTo>
                    <a:pt x="3747" y="194676"/>
                  </a:lnTo>
                  <a:lnTo>
                    <a:pt x="4236" y="191255"/>
                  </a:lnTo>
                  <a:lnTo>
                    <a:pt x="6679" y="189952"/>
                  </a:lnTo>
                  <a:lnTo>
                    <a:pt x="11241" y="189789"/>
                  </a:lnTo>
                  <a:lnTo>
                    <a:pt x="12707" y="187020"/>
                  </a:lnTo>
                  <a:lnTo>
                    <a:pt x="14825" y="187020"/>
                  </a:lnTo>
                  <a:lnTo>
                    <a:pt x="21830" y="192722"/>
                  </a:lnTo>
                  <a:lnTo>
                    <a:pt x="22155" y="188323"/>
                  </a:lnTo>
                  <a:lnTo>
                    <a:pt x="21667" y="175453"/>
                  </a:lnTo>
                  <a:lnTo>
                    <a:pt x="17268" y="172358"/>
                  </a:lnTo>
                  <a:lnTo>
                    <a:pt x="14825" y="170403"/>
                  </a:lnTo>
                  <a:lnTo>
                    <a:pt x="10752" y="171380"/>
                  </a:lnTo>
                  <a:lnTo>
                    <a:pt x="6842" y="172521"/>
                  </a:lnTo>
                  <a:lnTo>
                    <a:pt x="7657" y="167633"/>
                  </a:lnTo>
                  <a:lnTo>
                    <a:pt x="5702" y="164049"/>
                  </a:lnTo>
                  <a:lnTo>
                    <a:pt x="8145" y="161443"/>
                  </a:lnTo>
                  <a:lnTo>
                    <a:pt x="13521" y="160791"/>
                  </a:lnTo>
                  <a:lnTo>
                    <a:pt x="18409" y="163723"/>
                  </a:lnTo>
                  <a:lnTo>
                    <a:pt x="20852" y="161769"/>
                  </a:lnTo>
                  <a:lnTo>
                    <a:pt x="22155" y="158836"/>
                  </a:lnTo>
                  <a:lnTo>
                    <a:pt x="26066" y="158836"/>
                  </a:lnTo>
                  <a:lnTo>
                    <a:pt x="35188" y="158348"/>
                  </a:lnTo>
                  <a:lnTo>
                    <a:pt x="36329" y="154112"/>
                  </a:lnTo>
                  <a:lnTo>
                    <a:pt x="35352" y="148084"/>
                  </a:lnTo>
                  <a:lnTo>
                    <a:pt x="37795" y="144989"/>
                  </a:lnTo>
                  <a:lnTo>
                    <a:pt x="42682" y="145641"/>
                  </a:lnTo>
                  <a:lnTo>
                    <a:pt x="46918" y="155904"/>
                  </a:lnTo>
                  <a:lnTo>
                    <a:pt x="50339" y="159977"/>
                  </a:lnTo>
                  <a:lnTo>
                    <a:pt x="56529" y="158348"/>
                  </a:lnTo>
                  <a:lnTo>
                    <a:pt x="59625" y="158999"/>
                  </a:lnTo>
                  <a:lnTo>
                    <a:pt x="62720" y="157044"/>
                  </a:lnTo>
                  <a:lnTo>
                    <a:pt x="68096" y="156881"/>
                  </a:lnTo>
                  <a:lnTo>
                    <a:pt x="73146" y="158999"/>
                  </a:lnTo>
                  <a:lnTo>
                    <a:pt x="74612" y="162583"/>
                  </a:lnTo>
                  <a:lnTo>
                    <a:pt x="77219" y="162583"/>
                  </a:lnTo>
                  <a:lnTo>
                    <a:pt x="77382" y="157859"/>
                  </a:lnTo>
                  <a:lnTo>
                    <a:pt x="76241" y="153135"/>
                  </a:lnTo>
                  <a:lnTo>
                    <a:pt x="82595" y="134563"/>
                  </a:lnTo>
                  <a:lnTo>
                    <a:pt x="85039" y="124137"/>
                  </a:lnTo>
                  <a:lnTo>
                    <a:pt x="85202" y="119087"/>
                  </a:lnTo>
                  <a:lnTo>
                    <a:pt x="82595" y="116480"/>
                  </a:lnTo>
                  <a:lnTo>
                    <a:pt x="81455" y="113385"/>
                  </a:lnTo>
                  <a:lnTo>
                    <a:pt x="77545" y="110126"/>
                  </a:lnTo>
                  <a:lnTo>
                    <a:pt x="76568" y="107846"/>
                  </a:lnTo>
                  <a:lnTo>
                    <a:pt x="73635" y="106542"/>
                  </a:lnTo>
                  <a:lnTo>
                    <a:pt x="72657" y="104262"/>
                  </a:lnTo>
                  <a:lnTo>
                    <a:pt x="70866" y="102307"/>
                  </a:lnTo>
                  <a:lnTo>
                    <a:pt x="70866" y="100352"/>
                  </a:lnTo>
                  <a:lnTo>
                    <a:pt x="73798" y="99212"/>
                  </a:lnTo>
                  <a:lnTo>
                    <a:pt x="75101" y="97745"/>
                  </a:lnTo>
                  <a:lnTo>
                    <a:pt x="76730" y="97420"/>
                  </a:lnTo>
                  <a:lnTo>
                    <a:pt x="75427" y="93998"/>
                  </a:lnTo>
                  <a:lnTo>
                    <a:pt x="74123" y="92369"/>
                  </a:lnTo>
                  <a:lnTo>
                    <a:pt x="74450" y="88785"/>
                  </a:lnTo>
                  <a:lnTo>
                    <a:pt x="79825" y="85853"/>
                  </a:lnTo>
                  <a:lnTo>
                    <a:pt x="84550" y="84876"/>
                  </a:lnTo>
                  <a:lnTo>
                    <a:pt x="85364" y="79988"/>
                  </a:lnTo>
                  <a:lnTo>
                    <a:pt x="83735" y="77382"/>
                  </a:lnTo>
                  <a:lnTo>
                    <a:pt x="85527" y="74123"/>
                  </a:lnTo>
                  <a:lnTo>
                    <a:pt x="85039" y="66467"/>
                  </a:lnTo>
                  <a:lnTo>
                    <a:pt x="82269" y="64512"/>
                  </a:lnTo>
                  <a:lnTo>
                    <a:pt x="74123" y="64349"/>
                  </a:lnTo>
                  <a:lnTo>
                    <a:pt x="68585" y="66467"/>
                  </a:lnTo>
                  <a:lnTo>
                    <a:pt x="62883" y="67933"/>
                  </a:lnTo>
                  <a:lnTo>
                    <a:pt x="59299" y="66956"/>
                  </a:lnTo>
                  <a:lnTo>
                    <a:pt x="55226" y="69236"/>
                  </a:lnTo>
                  <a:lnTo>
                    <a:pt x="52782" y="67770"/>
                  </a:lnTo>
                  <a:lnTo>
                    <a:pt x="53760" y="64675"/>
                  </a:lnTo>
                  <a:lnTo>
                    <a:pt x="52294" y="60602"/>
                  </a:lnTo>
                  <a:lnTo>
                    <a:pt x="52945" y="54086"/>
                  </a:lnTo>
                  <a:lnTo>
                    <a:pt x="51153" y="49198"/>
                  </a:lnTo>
                  <a:lnTo>
                    <a:pt x="52457" y="43985"/>
                  </a:lnTo>
                  <a:lnTo>
                    <a:pt x="85202" y="44637"/>
                  </a:lnTo>
                  <a:lnTo>
                    <a:pt x="87971" y="45940"/>
                  </a:lnTo>
                  <a:lnTo>
                    <a:pt x="89274" y="44474"/>
                  </a:lnTo>
                  <a:lnTo>
                    <a:pt x="91392" y="44474"/>
                  </a:lnTo>
                  <a:lnTo>
                    <a:pt x="94161" y="47569"/>
                  </a:lnTo>
                  <a:lnTo>
                    <a:pt x="96605" y="46755"/>
                  </a:lnTo>
                  <a:lnTo>
                    <a:pt x="99700" y="47569"/>
                  </a:lnTo>
                  <a:lnTo>
                    <a:pt x="101493" y="49687"/>
                  </a:lnTo>
                  <a:lnTo>
                    <a:pt x="104099" y="49198"/>
                  </a:lnTo>
                  <a:lnTo>
                    <a:pt x="104750" y="47569"/>
                  </a:lnTo>
                  <a:lnTo>
                    <a:pt x="106543" y="48058"/>
                  </a:lnTo>
                  <a:lnTo>
                    <a:pt x="110289" y="50665"/>
                  </a:lnTo>
                  <a:lnTo>
                    <a:pt x="112570" y="50013"/>
                  </a:lnTo>
                  <a:lnTo>
                    <a:pt x="118109" y="50013"/>
                  </a:lnTo>
                  <a:lnTo>
                    <a:pt x="120064" y="50990"/>
                  </a:lnTo>
                  <a:lnTo>
                    <a:pt x="122345" y="51642"/>
                  </a:lnTo>
                  <a:lnTo>
                    <a:pt x="124300" y="51316"/>
                  </a:lnTo>
                  <a:lnTo>
                    <a:pt x="125114" y="52782"/>
                  </a:lnTo>
                  <a:lnTo>
                    <a:pt x="128046" y="52294"/>
                  </a:lnTo>
                  <a:lnTo>
                    <a:pt x="128698" y="49850"/>
                  </a:lnTo>
                  <a:lnTo>
                    <a:pt x="126255" y="45614"/>
                  </a:lnTo>
                  <a:lnTo>
                    <a:pt x="127395" y="43660"/>
                  </a:lnTo>
                  <a:lnTo>
                    <a:pt x="130164" y="39424"/>
                  </a:lnTo>
                  <a:lnTo>
                    <a:pt x="131630" y="35840"/>
                  </a:lnTo>
                  <a:lnTo>
                    <a:pt x="143686" y="15802"/>
                  </a:lnTo>
                  <a:lnTo>
                    <a:pt x="150202" y="9612"/>
                  </a:lnTo>
                  <a:lnTo>
                    <a:pt x="154601" y="8634"/>
                  </a:lnTo>
                  <a:lnTo>
                    <a:pt x="156719" y="6028"/>
                  </a:lnTo>
                  <a:lnTo>
                    <a:pt x="167634" y="1466"/>
                  </a:lnTo>
                  <a:lnTo>
                    <a:pt x="171706" y="1955"/>
                  </a:lnTo>
                  <a:lnTo>
                    <a:pt x="174476" y="0"/>
                  </a:lnTo>
                  <a:lnTo>
                    <a:pt x="178548" y="0"/>
                  </a:lnTo>
                  <a:lnTo>
                    <a:pt x="181970" y="0"/>
                  </a:lnTo>
                  <a:lnTo>
                    <a:pt x="183762" y="2118"/>
                  </a:lnTo>
                  <a:lnTo>
                    <a:pt x="188486" y="4724"/>
                  </a:lnTo>
                  <a:lnTo>
                    <a:pt x="190930" y="3747"/>
                  </a:lnTo>
                  <a:lnTo>
                    <a:pt x="193862" y="2932"/>
                  </a:lnTo>
                  <a:lnTo>
                    <a:pt x="193862" y="4398"/>
                  </a:lnTo>
                  <a:lnTo>
                    <a:pt x="196305" y="9286"/>
                  </a:lnTo>
                  <a:lnTo>
                    <a:pt x="196468" y="19712"/>
                  </a:lnTo>
                  <a:lnTo>
                    <a:pt x="191418" y="22156"/>
                  </a:lnTo>
                  <a:lnTo>
                    <a:pt x="190278" y="26880"/>
                  </a:lnTo>
                  <a:lnTo>
                    <a:pt x="179363" y="41053"/>
                  </a:lnTo>
                  <a:lnTo>
                    <a:pt x="181481" y="49850"/>
                  </a:lnTo>
                  <a:lnTo>
                    <a:pt x="180014" y="55389"/>
                  </a:lnTo>
                  <a:lnTo>
                    <a:pt x="179689" y="61091"/>
                  </a:lnTo>
                  <a:lnTo>
                    <a:pt x="175942" y="65815"/>
                  </a:lnTo>
                  <a:lnTo>
                    <a:pt x="175290" y="73472"/>
                  </a:lnTo>
                  <a:lnTo>
                    <a:pt x="175942" y="76567"/>
                  </a:lnTo>
                  <a:lnTo>
                    <a:pt x="174476" y="84387"/>
                  </a:lnTo>
                  <a:lnTo>
                    <a:pt x="175616" y="85853"/>
                  </a:lnTo>
                  <a:lnTo>
                    <a:pt x="174802" y="93021"/>
                  </a:lnTo>
                  <a:lnTo>
                    <a:pt x="171218" y="94650"/>
                  </a:lnTo>
                  <a:lnTo>
                    <a:pt x="168937" y="103122"/>
                  </a:lnTo>
                  <a:lnTo>
                    <a:pt x="168774" y="111756"/>
                  </a:lnTo>
                  <a:lnTo>
                    <a:pt x="160628" y="125114"/>
                  </a:lnTo>
                  <a:lnTo>
                    <a:pt x="155741" y="126580"/>
                  </a:lnTo>
                  <a:lnTo>
                    <a:pt x="151180" y="130001"/>
                  </a:lnTo>
                  <a:lnTo>
                    <a:pt x="148084" y="129024"/>
                  </a:lnTo>
                  <a:lnTo>
                    <a:pt x="142057" y="133097"/>
                  </a:lnTo>
                  <a:lnTo>
                    <a:pt x="137170" y="139287"/>
                  </a:lnTo>
                  <a:lnTo>
                    <a:pt x="137007" y="144826"/>
                  </a:lnTo>
                  <a:lnTo>
                    <a:pt x="129350" y="152972"/>
                  </a:lnTo>
                  <a:lnTo>
                    <a:pt x="126418" y="158348"/>
                  </a:lnTo>
                  <a:lnTo>
                    <a:pt x="127558" y="165516"/>
                  </a:lnTo>
                  <a:lnTo>
                    <a:pt x="129024" y="167633"/>
                  </a:lnTo>
                  <a:lnTo>
                    <a:pt x="128046" y="181644"/>
                  </a:lnTo>
                  <a:lnTo>
                    <a:pt x="126418" y="188649"/>
                  </a:lnTo>
                  <a:lnTo>
                    <a:pt x="126580" y="193210"/>
                  </a:lnTo>
                  <a:lnTo>
                    <a:pt x="122345" y="200052"/>
                  </a:lnTo>
                  <a:lnTo>
                    <a:pt x="117783" y="201193"/>
                  </a:lnTo>
                  <a:lnTo>
                    <a:pt x="113711" y="203962"/>
                  </a:lnTo>
                  <a:lnTo>
                    <a:pt x="112082" y="207709"/>
                  </a:lnTo>
                  <a:lnTo>
                    <a:pt x="101493" y="217972"/>
                  </a:lnTo>
                  <a:lnTo>
                    <a:pt x="97909" y="223511"/>
                  </a:lnTo>
                  <a:lnTo>
                    <a:pt x="91718" y="225955"/>
                  </a:lnTo>
                  <a:lnTo>
                    <a:pt x="85690" y="222534"/>
                  </a:lnTo>
                  <a:lnTo>
                    <a:pt x="84224" y="218135"/>
                  </a:lnTo>
                  <a:lnTo>
                    <a:pt x="82921" y="216995"/>
                  </a:lnTo>
                  <a:lnTo>
                    <a:pt x="85853" y="211293"/>
                  </a:lnTo>
                  <a:lnTo>
                    <a:pt x="86342" y="208849"/>
                  </a:lnTo>
                  <a:lnTo>
                    <a:pt x="78359" y="211456"/>
                  </a:lnTo>
                  <a:lnTo>
                    <a:pt x="73146" y="216017"/>
                  </a:lnTo>
                  <a:lnTo>
                    <a:pt x="69725" y="215040"/>
                  </a:lnTo>
                  <a:lnTo>
                    <a:pt x="66141" y="215366"/>
                  </a:lnTo>
                  <a:lnTo>
                    <a:pt x="65978" y="220905"/>
                  </a:lnTo>
                  <a:lnTo>
                    <a:pt x="63046" y="224326"/>
                  </a:lnTo>
                  <a:lnTo>
                    <a:pt x="58159" y="224326"/>
                  </a:lnTo>
                  <a:lnTo>
                    <a:pt x="58321" y="222045"/>
                  </a:lnTo>
                  <a:lnTo>
                    <a:pt x="56855" y="219276"/>
                  </a:lnTo>
                  <a:lnTo>
                    <a:pt x="53109" y="221068"/>
                  </a:lnTo>
                  <a:lnTo>
                    <a:pt x="50013" y="220905"/>
                  </a:lnTo>
                  <a:lnTo>
                    <a:pt x="49198" y="221556"/>
                  </a:lnTo>
                  <a:lnTo>
                    <a:pt x="49198" y="217321"/>
                  </a:lnTo>
                  <a:lnTo>
                    <a:pt x="46592" y="214063"/>
                  </a:lnTo>
                  <a:lnTo>
                    <a:pt x="43986" y="211619"/>
                  </a:lnTo>
                  <a:lnTo>
                    <a:pt x="41705" y="211619"/>
                  </a:lnTo>
                  <a:lnTo>
                    <a:pt x="37469" y="215203"/>
                  </a:lnTo>
                  <a:lnTo>
                    <a:pt x="33722" y="216017"/>
                  </a:lnTo>
                  <a:lnTo>
                    <a:pt x="32256" y="220579"/>
                  </a:lnTo>
                  <a:lnTo>
                    <a:pt x="28183" y="222860"/>
                  </a:lnTo>
                  <a:lnTo>
                    <a:pt x="26554" y="222860"/>
                  </a:lnTo>
                  <a:lnTo>
                    <a:pt x="23948" y="228887"/>
                  </a:lnTo>
                  <a:lnTo>
                    <a:pt x="21504" y="230354"/>
                  </a:lnTo>
                  <a:lnTo>
                    <a:pt x="18571" y="227095"/>
                  </a:lnTo>
                  <a:lnTo>
                    <a:pt x="18734" y="222045"/>
                  </a:lnTo>
                  <a:lnTo>
                    <a:pt x="14662" y="217647"/>
                  </a:lnTo>
                  <a:lnTo>
                    <a:pt x="14499" y="212922"/>
                  </a:lnTo>
                  <a:lnTo>
                    <a:pt x="6842" y="208198"/>
                  </a:lnTo>
                  <a:lnTo>
                    <a:pt x="5050" y="204777"/>
                  </a:lnTo>
                  <a:lnTo>
                    <a:pt x="0" y="199889"/>
                  </a:lnTo>
                  <a:close/>
                </a:path>
              </a:pathLst>
            </a:custGeom>
            <a:solidFill>
              <a:schemeClr val="bg2"/>
            </a:solidFill>
            <a:ln w="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6" name="Forma livre: Forma 125">
              <a:extLst>
                <a:ext uri="{FF2B5EF4-FFF2-40B4-BE49-F238E27FC236}">
                  <a16:creationId xmlns:a16="http://schemas.microsoft.com/office/drawing/2014/main" id="{873E7E08-CF14-3EB2-475D-3DE0660436E0}"/>
                </a:ext>
              </a:extLst>
            </p:cNvPr>
            <p:cNvSpPr/>
            <p:nvPr/>
          </p:nvSpPr>
          <p:spPr>
            <a:xfrm>
              <a:off x="6300178" y="5077408"/>
              <a:ext cx="28619" cy="39057"/>
            </a:xfrm>
            <a:custGeom>
              <a:avLst/>
              <a:gdLst>
                <a:gd name="connsiteX0" fmla="*/ 27694 w 27694"/>
                <a:gd name="connsiteY0" fmla="*/ 9937 h 37795"/>
                <a:gd name="connsiteX1" fmla="*/ 27694 w 27694"/>
                <a:gd name="connsiteY1" fmla="*/ 5702 h 37795"/>
                <a:gd name="connsiteX2" fmla="*/ 25088 w 27694"/>
                <a:gd name="connsiteY2" fmla="*/ 2444 h 37795"/>
                <a:gd name="connsiteX3" fmla="*/ 22482 w 27694"/>
                <a:gd name="connsiteY3" fmla="*/ 0 h 37795"/>
                <a:gd name="connsiteX4" fmla="*/ 20201 w 27694"/>
                <a:gd name="connsiteY4" fmla="*/ 0 h 37795"/>
                <a:gd name="connsiteX5" fmla="*/ 15965 w 27694"/>
                <a:gd name="connsiteY5" fmla="*/ 3584 h 37795"/>
                <a:gd name="connsiteX6" fmla="*/ 12218 w 27694"/>
                <a:gd name="connsiteY6" fmla="*/ 4399 h 37795"/>
                <a:gd name="connsiteX7" fmla="*/ 10752 w 27694"/>
                <a:gd name="connsiteY7" fmla="*/ 8960 h 37795"/>
                <a:gd name="connsiteX8" fmla="*/ 6679 w 27694"/>
                <a:gd name="connsiteY8" fmla="*/ 11241 h 37795"/>
                <a:gd name="connsiteX9" fmla="*/ 5050 w 27694"/>
                <a:gd name="connsiteY9" fmla="*/ 11241 h 37795"/>
                <a:gd name="connsiteX10" fmla="*/ 2444 w 27694"/>
                <a:gd name="connsiteY10" fmla="*/ 17268 h 37795"/>
                <a:gd name="connsiteX11" fmla="*/ 0 w 27694"/>
                <a:gd name="connsiteY11" fmla="*/ 18735 h 37795"/>
                <a:gd name="connsiteX12" fmla="*/ 3095 w 27694"/>
                <a:gd name="connsiteY12" fmla="*/ 21993 h 37795"/>
                <a:gd name="connsiteX13" fmla="*/ 4887 w 27694"/>
                <a:gd name="connsiteY13" fmla="*/ 29324 h 37795"/>
                <a:gd name="connsiteX14" fmla="*/ 1955 w 27694"/>
                <a:gd name="connsiteY14" fmla="*/ 34863 h 37795"/>
                <a:gd name="connsiteX15" fmla="*/ 3258 w 27694"/>
                <a:gd name="connsiteY15" fmla="*/ 37795 h 37795"/>
                <a:gd name="connsiteX16" fmla="*/ 7982 w 27694"/>
                <a:gd name="connsiteY16" fmla="*/ 34700 h 37795"/>
                <a:gd name="connsiteX17" fmla="*/ 12869 w 27694"/>
                <a:gd name="connsiteY17" fmla="*/ 33885 h 37795"/>
                <a:gd name="connsiteX18" fmla="*/ 15802 w 27694"/>
                <a:gd name="connsiteY18" fmla="*/ 31116 h 37795"/>
                <a:gd name="connsiteX19" fmla="*/ 15314 w 27694"/>
                <a:gd name="connsiteY19" fmla="*/ 21830 h 37795"/>
                <a:gd name="connsiteX20" fmla="*/ 17268 w 27694"/>
                <a:gd name="connsiteY20" fmla="*/ 19060 h 37795"/>
                <a:gd name="connsiteX21" fmla="*/ 22807 w 27694"/>
                <a:gd name="connsiteY21" fmla="*/ 14499 h 37795"/>
                <a:gd name="connsiteX22" fmla="*/ 27694 w 27694"/>
                <a:gd name="connsiteY22" fmla="*/ 9937 h 377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27694" h="37795">
                  <a:moveTo>
                    <a:pt x="27694" y="9937"/>
                  </a:moveTo>
                  <a:lnTo>
                    <a:pt x="27694" y="5702"/>
                  </a:lnTo>
                  <a:lnTo>
                    <a:pt x="25088" y="2444"/>
                  </a:lnTo>
                  <a:lnTo>
                    <a:pt x="22482" y="0"/>
                  </a:lnTo>
                  <a:lnTo>
                    <a:pt x="20201" y="0"/>
                  </a:lnTo>
                  <a:lnTo>
                    <a:pt x="15965" y="3584"/>
                  </a:lnTo>
                  <a:lnTo>
                    <a:pt x="12218" y="4399"/>
                  </a:lnTo>
                  <a:lnTo>
                    <a:pt x="10752" y="8960"/>
                  </a:lnTo>
                  <a:lnTo>
                    <a:pt x="6679" y="11241"/>
                  </a:lnTo>
                  <a:lnTo>
                    <a:pt x="5050" y="11241"/>
                  </a:lnTo>
                  <a:lnTo>
                    <a:pt x="2444" y="17268"/>
                  </a:lnTo>
                  <a:lnTo>
                    <a:pt x="0" y="18735"/>
                  </a:lnTo>
                  <a:lnTo>
                    <a:pt x="3095" y="21993"/>
                  </a:lnTo>
                  <a:lnTo>
                    <a:pt x="4887" y="29324"/>
                  </a:lnTo>
                  <a:lnTo>
                    <a:pt x="1955" y="34863"/>
                  </a:lnTo>
                  <a:lnTo>
                    <a:pt x="3258" y="37795"/>
                  </a:lnTo>
                  <a:lnTo>
                    <a:pt x="7982" y="34700"/>
                  </a:lnTo>
                  <a:lnTo>
                    <a:pt x="12869" y="33885"/>
                  </a:lnTo>
                  <a:lnTo>
                    <a:pt x="15802" y="31116"/>
                  </a:lnTo>
                  <a:lnTo>
                    <a:pt x="15314" y="21830"/>
                  </a:lnTo>
                  <a:lnTo>
                    <a:pt x="17268" y="19060"/>
                  </a:lnTo>
                  <a:lnTo>
                    <a:pt x="22807" y="14499"/>
                  </a:lnTo>
                  <a:lnTo>
                    <a:pt x="27694" y="9937"/>
                  </a:lnTo>
                  <a:close/>
                </a:path>
              </a:pathLst>
            </a:custGeom>
            <a:solidFill>
              <a:schemeClr val="bg2"/>
            </a:solidFill>
            <a:ln w="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7" name="Forma livre: Forma 126">
              <a:extLst>
                <a:ext uri="{FF2B5EF4-FFF2-40B4-BE49-F238E27FC236}">
                  <a16:creationId xmlns:a16="http://schemas.microsoft.com/office/drawing/2014/main" id="{99F92FFF-AA73-9A9D-7E21-300355E8FBE3}"/>
                </a:ext>
              </a:extLst>
            </p:cNvPr>
            <p:cNvSpPr/>
            <p:nvPr/>
          </p:nvSpPr>
          <p:spPr>
            <a:xfrm>
              <a:off x="6760280" y="4984478"/>
              <a:ext cx="296128" cy="302694"/>
            </a:xfrm>
            <a:custGeom>
              <a:avLst/>
              <a:gdLst>
                <a:gd name="connsiteX0" fmla="*/ 31930 w 286557"/>
                <a:gd name="connsiteY0" fmla="*/ 6679 h 292910"/>
                <a:gd name="connsiteX1" fmla="*/ 33397 w 286557"/>
                <a:gd name="connsiteY1" fmla="*/ 4724 h 292910"/>
                <a:gd name="connsiteX2" fmla="*/ 35677 w 286557"/>
                <a:gd name="connsiteY2" fmla="*/ 5213 h 292910"/>
                <a:gd name="connsiteX3" fmla="*/ 37958 w 286557"/>
                <a:gd name="connsiteY3" fmla="*/ 2932 h 292910"/>
                <a:gd name="connsiteX4" fmla="*/ 69073 w 286557"/>
                <a:gd name="connsiteY4" fmla="*/ 2932 h 292910"/>
                <a:gd name="connsiteX5" fmla="*/ 121368 w 286557"/>
                <a:gd name="connsiteY5" fmla="*/ 0 h 292910"/>
                <a:gd name="connsiteX6" fmla="*/ 215203 w 286557"/>
                <a:gd name="connsiteY6" fmla="*/ 54737 h 292910"/>
                <a:gd name="connsiteX7" fmla="*/ 220416 w 286557"/>
                <a:gd name="connsiteY7" fmla="*/ 63372 h 292910"/>
                <a:gd name="connsiteX8" fmla="*/ 219276 w 286557"/>
                <a:gd name="connsiteY8" fmla="*/ 65815 h 292910"/>
                <a:gd name="connsiteX9" fmla="*/ 220253 w 286557"/>
                <a:gd name="connsiteY9" fmla="*/ 69073 h 292910"/>
                <a:gd name="connsiteX10" fmla="*/ 222371 w 286557"/>
                <a:gd name="connsiteY10" fmla="*/ 71843 h 292910"/>
                <a:gd name="connsiteX11" fmla="*/ 254138 w 286557"/>
                <a:gd name="connsiteY11" fmla="*/ 94161 h 292910"/>
                <a:gd name="connsiteX12" fmla="*/ 253161 w 286557"/>
                <a:gd name="connsiteY12" fmla="*/ 94161 h 292910"/>
                <a:gd name="connsiteX13" fmla="*/ 254464 w 286557"/>
                <a:gd name="connsiteY13" fmla="*/ 95628 h 292910"/>
                <a:gd name="connsiteX14" fmla="*/ 254953 w 286557"/>
                <a:gd name="connsiteY14" fmla="*/ 99538 h 292910"/>
                <a:gd name="connsiteX15" fmla="*/ 253161 w 286557"/>
                <a:gd name="connsiteY15" fmla="*/ 102144 h 292910"/>
                <a:gd name="connsiteX16" fmla="*/ 247785 w 286557"/>
                <a:gd name="connsiteY16" fmla="*/ 119087 h 292910"/>
                <a:gd name="connsiteX17" fmla="*/ 243549 w 286557"/>
                <a:gd name="connsiteY17" fmla="*/ 129839 h 292910"/>
                <a:gd name="connsiteX18" fmla="*/ 243712 w 286557"/>
                <a:gd name="connsiteY18" fmla="*/ 135703 h 292910"/>
                <a:gd name="connsiteX19" fmla="*/ 251043 w 286557"/>
                <a:gd name="connsiteY19" fmla="*/ 141894 h 292910"/>
                <a:gd name="connsiteX20" fmla="*/ 256419 w 286557"/>
                <a:gd name="connsiteY20" fmla="*/ 147921 h 292910"/>
                <a:gd name="connsiteX21" fmla="*/ 259840 w 286557"/>
                <a:gd name="connsiteY21" fmla="*/ 147433 h 292910"/>
                <a:gd name="connsiteX22" fmla="*/ 263098 w 286557"/>
                <a:gd name="connsiteY22" fmla="*/ 156881 h 292910"/>
                <a:gd name="connsiteX23" fmla="*/ 261632 w 286557"/>
                <a:gd name="connsiteY23" fmla="*/ 159977 h 292910"/>
                <a:gd name="connsiteX24" fmla="*/ 259514 w 286557"/>
                <a:gd name="connsiteY24" fmla="*/ 159325 h 292910"/>
                <a:gd name="connsiteX25" fmla="*/ 256419 w 286557"/>
                <a:gd name="connsiteY25" fmla="*/ 161280 h 292910"/>
                <a:gd name="connsiteX26" fmla="*/ 254953 w 286557"/>
                <a:gd name="connsiteY26" fmla="*/ 167471 h 292910"/>
                <a:gd name="connsiteX27" fmla="*/ 255441 w 286557"/>
                <a:gd name="connsiteY27" fmla="*/ 176919 h 292910"/>
                <a:gd name="connsiteX28" fmla="*/ 259352 w 286557"/>
                <a:gd name="connsiteY28" fmla="*/ 180666 h 292910"/>
                <a:gd name="connsiteX29" fmla="*/ 258700 w 286557"/>
                <a:gd name="connsiteY29" fmla="*/ 186694 h 292910"/>
                <a:gd name="connsiteX30" fmla="*/ 255116 w 286557"/>
                <a:gd name="connsiteY30" fmla="*/ 189626 h 292910"/>
                <a:gd name="connsiteX31" fmla="*/ 256093 w 286557"/>
                <a:gd name="connsiteY31" fmla="*/ 195165 h 292910"/>
                <a:gd name="connsiteX32" fmla="*/ 258863 w 286557"/>
                <a:gd name="connsiteY32" fmla="*/ 202007 h 292910"/>
                <a:gd name="connsiteX33" fmla="*/ 257397 w 286557"/>
                <a:gd name="connsiteY33" fmla="*/ 202333 h 292910"/>
                <a:gd name="connsiteX34" fmla="*/ 258863 w 286557"/>
                <a:gd name="connsiteY34" fmla="*/ 205428 h 292910"/>
                <a:gd name="connsiteX35" fmla="*/ 260003 w 286557"/>
                <a:gd name="connsiteY35" fmla="*/ 210479 h 292910"/>
                <a:gd name="connsiteX36" fmla="*/ 262936 w 286557"/>
                <a:gd name="connsiteY36" fmla="*/ 213085 h 292910"/>
                <a:gd name="connsiteX37" fmla="*/ 260492 w 286557"/>
                <a:gd name="connsiteY37" fmla="*/ 217158 h 292910"/>
                <a:gd name="connsiteX38" fmla="*/ 262936 w 286557"/>
                <a:gd name="connsiteY38" fmla="*/ 220090 h 292910"/>
                <a:gd name="connsiteX39" fmla="*/ 265542 w 286557"/>
                <a:gd name="connsiteY39" fmla="*/ 227747 h 292910"/>
                <a:gd name="connsiteX40" fmla="*/ 264564 w 286557"/>
                <a:gd name="connsiteY40" fmla="*/ 231657 h 292910"/>
                <a:gd name="connsiteX41" fmla="*/ 273688 w 286557"/>
                <a:gd name="connsiteY41" fmla="*/ 240291 h 292910"/>
                <a:gd name="connsiteX42" fmla="*/ 280367 w 286557"/>
                <a:gd name="connsiteY42" fmla="*/ 241268 h 292910"/>
                <a:gd name="connsiteX43" fmla="*/ 285906 w 286557"/>
                <a:gd name="connsiteY43" fmla="*/ 245993 h 292910"/>
                <a:gd name="connsiteX44" fmla="*/ 285906 w 286557"/>
                <a:gd name="connsiteY44" fmla="*/ 248436 h 292910"/>
                <a:gd name="connsiteX45" fmla="*/ 286557 w 286557"/>
                <a:gd name="connsiteY45" fmla="*/ 248925 h 292910"/>
                <a:gd name="connsiteX46" fmla="*/ 285580 w 286557"/>
                <a:gd name="connsiteY46" fmla="*/ 249414 h 292910"/>
                <a:gd name="connsiteX47" fmla="*/ 283299 w 286557"/>
                <a:gd name="connsiteY47" fmla="*/ 251857 h 292910"/>
                <a:gd name="connsiteX48" fmla="*/ 278575 w 286557"/>
                <a:gd name="connsiteY48" fmla="*/ 250554 h 292910"/>
                <a:gd name="connsiteX49" fmla="*/ 275643 w 286557"/>
                <a:gd name="connsiteY49" fmla="*/ 254627 h 292910"/>
                <a:gd name="connsiteX50" fmla="*/ 271732 w 286557"/>
                <a:gd name="connsiteY50" fmla="*/ 257885 h 292910"/>
                <a:gd name="connsiteX51" fmla="*/ 266357 w 286557"/>
                <a:gd name="connsiteY51" fmla="*/ 258537 h 292910"/>
                <a:gd name="connsiteX52" fmla="*/ 262936 w 286557"/>
                <a:gd name="connsiteY52" fmla="*/ 262284 h 292910"/>
                <a:gd name="connsiteX53" fmla="*/ 257071 w 286557"/>
                <a:gd name="connsiteY53" fmla="*/ 262935 h 292910"/>
                <a:gd name="connsiteX54" fmla="*/ 255116 w 286557"/>
                <a:gd name="connsiteY54" fmla="*/ 265216 h 292910"/>
                <a:gd name="connsiteX55" fmla="*/ 251206 w 286557"/>
                <a:gd name="connsiteY55" fmla="*/ 266519 h 292910"/>
                <a:gd name="connsiteX56" fmla="*/ 247459 w 286557"/>
                <a:gd name="connsiteY56" fmla="*/ 265053 h 292910"/>
                <a:gd name="connsiteX57" fmla="*/ 237847 w 286557"/>
                <a:gd name="connsiteY57" fmla="*/ 267986 h 292910"/>
                <a:gd name="connsiteX58" fmla="*/ 235404 w 286557"/>
                <a:gd name="connsiteY58" fmla="*/ 269940 h 292910"/>
                <a:gd name="connsiteX59" fmla="*/ 230842 w 286557"/>
                <a:gd name="connsiteY59" fmla="*/ 270592 h 292910"/>
                <a:gd name="connsiteX60" fmla="*/ 227421 w 286557"/>
                <a:gd name="connsiteY60" fmla="*/ 267986 h 292910"/>
                <a:gd name="connsiteX61" fmla="*/ 223837 w 286557"/>
                <a:gd name="connsiteY61" fmla="*/ 268637 h 292910"/>
                <a:gd name="connsiteX62" fmla="*/ 219276 w 286557"/>
                <a:gd name="connsiteY62" fmla="*/ 267171 h 292910"/>
                <a:gd name="connsiteX63" fmla="*/ 217484 w 286557"/>
                <a:gd name="connsiteY63" fmla="*/ 268800 h 292910"/>
                <a:gd name="connsiteX64" fmla="*/ 218624 w 286557"/>
                <a:gd name="connsiteY64" fmla="*/ 271732 h 292910"/>
                <a:gd name="connsiteX65" fmla="*/ 216832 w 286557"/>
                <a:gd name="connsiteY65" fmla="*/ 275642 h 292910"/>
                <a:gd name="connsiteX66" fmla="*/ 209664 w 286557"/>
                <a:gd name="connsiteY66" fmla="*/ 276294 h 292910"/>
                <a:gd name="connsiteX67" fmla="*/ 204288 w 286557"/>
                <a:gd name="connsiteY67" fmla="*/ 278249 h 292910"/>
                <a:gd name="connsiteX68" fmla="*/ 201193 w 286557"/>
                <a:gd name="connsiteY68" fmla="*/ 276294 h 292910"/>
                <a:gd name="connsiteX69" fmla="*/ 197935 w 286557"/>
                <a:gd name="connsiteY69" fmla="*/ 275968 h 292910"/>
                <a:gd name="connsiteX70" fmla="*/ 197446 w 286557"/>
                <a:gd name="connsiteY70" fmla="*/ 274339 h 292910"/>
                <a:gd name="connsiteX71" fmla="*/ 194514 w 286557"/>
                <a:gd name="connsiteY71" fmla="*/ 273036 h 292910"/>
                <a:gd name="connsiteX72" fmla="*/ 192559 w 286557"/>
                <a:gd name="connsiteY72" fmla="*/ 274828 h 292910"/>
                <a:gd name="connsiteX73" fmla="*/ 189789 w 286557"/>
                <a:gd name="connsiteY73" fmla="*/ 275479 h 292910"/>
                <a:gd name="connsiteX74" fmla="*/ 184250 w 286557"/>
                <a:gd name="connsiteY74" fmla="*/ 279389 h 292910"/>
                <a:gd name="connsiteX75" fmla="*/ 176757 w 286557"/>
                <a:gd name="connsiteY75" fmla="*/ 281507 h 292910"/>
                <a:gd name="connsiteX76" fmla="*/ 177408 w 286557"/>
                <a:gd name="connsiteY76" fmla="*/ 279389 h 292910"/>
                <a:gd name="connsiteX77" fmla="*/ 174802 w 286557"/>
                <a:gd name="connsiteY77" fmla="*/ 276620 h 292910"/>
                <a:gd name="connsiteX78" fmla="*/ 171543 w 286557"/>
                <a:gd name="connsiteY78" fmla="*/ 276294 h 292910"/>
                <a:gd name="connsiteX79" fmla="*/ 168448 w 286557"/>
                <a:gd name="connsiteY79" fmla="*/ 274013 h 292910"/>
                <a:gd name="connsiteX80" fmla="*/ 165027 w 286557"/>
                <a:gd name="connsiteY80" fmla="*/ 273036 h 292910"/>
                <a:gd name="connsiteX81" fmla="*/ 164864 w 286557"/>
                <a:gd name="connsiteY81" fmla="*/ 270918 h 292910"/>
                <a:gd name="connsiteX82" fmla="*/ 161280 w 286557"/>
                <a:gd name="connsiteY82" fmla="*/ 271570 h 292910"/>
                <a:gd name="connsiteX83" fmla="*/ 160140 w 286557"/>
                <a:gd name="connsiteY83" fmla="*/ 273524 h 292910"/>
                <a:gd name="connsiteX84" fmla="*/ 155904 w 286557"/>
                <a:gd name="connsiteY84" fmla="*/ 274339 h 292910"/>
                <a:gd name="connsiteX85" fmla="*/ 131305 w 286557"/>
                <a:gd name="connsiteY85" fmla="*/ 274828 h 292910"/>
                <a:gd name="connsiteX86" fmla="*/ 126418 w 286557"/>
                <a:gd name="connsiteY86" fmla="*/ 292911 h 292910"/>
                <a:gd name="connsiteX87" fmla="*/ 126743 w 286557"/>
                <a:gd name="connsiteY87" fmla="*/ 249903 h 292910"/>
                <a:gd name="connsiteX88" fmla="*/ 125440 w 286557"/>
                <a:gd name="connsiteY88" fmla="*/ 240128 h 292910"/>
                <a:gd name="connsiteX89" fmla="*/ 116969 w 286557"/>
                <a:gd name="connsiteY89" fmla="*/ 230679 h 292910"/>
                <a:gd name="connsiteX90" fmla="*/ 114199 w 286557"/>
                <a:gd name="connsiteY90" fmla="*/ 228073 h 292910"/>
                <a:gd name="connsiteX91" fmla="*/ 111267 w 286557"/>
                <a:gd name="connsiteY91" fmla="*/ 226281 h 292910"/>
                <a:gd name="connsiteX92" fmla="*/ 110290 w 286557"/>
                <a:gd name="connsiteY92" fmla="*/ 224652 h 292910"/>
                <a:gd name="connsiteX93" fmla="*/ 108334 w 286557"/>
                <a:gd name="connsiteY93" fmla="*/ 224163 h 292910"/>
                <a:gd name="connsiteX94" fmla="*/ 106706 w 286557"/>
                <a:gd name="connsiteY94" fmla="*/ 222860 h 292910"/>
                <a:gd name="connsiteX95" fmla="*/ 103773 w 286557"/>
                <a:gd name="connsiteY95" fmla="*/ 222371 h 292910"/>
                <a:gd name="connsiteX96" fmla="*/ 102307 w 286557"/>
                <a:gd name="connsiteY96" fmla="*/ 223511 h 292910"/>
                <a:gd name="connsiteX97" fmla="*/ 100841 w 286557"/>
                <a:gd name="connsiteY97" fmla="*/ 221719 h 292910"/>
                <a:gd name="connsiteX98" fmla="*/ 97745 w 286557"/>
                <a:gd name="connsiteY98" fmla="*/ 221393 h 292910"/>
                <a:gd name="connsiteX99" fmla="*/ 96279 w 286557"/>
                <a:gd name="connsiteY99" fmla="*/ 218461 h 292910"/>
                <a:gd name="connsiteX100" fmla="*/ 93836 w 286557"/>
                <a:gd name="connsiteY100" fmla="*/ 218135 h 292910"/>
                <a:gd name="connsiteX101" fmla="*/ 92532 w 286557"/>
                <a:gd name="connsiteY101" fmla="*/ 219113 h 292910"/>
                <a:gd name="connsiteX102" fmla="*/ 92532 w 286557"/>
                <a:gd name="connsiteY102" fmla="*/ 218787 h 292910"/>
                <a:gd name="connsiteX103" fmla="*/ 90415 w 286557"/>
                <a:gd name="connsiteY103" fmla="*/ 218787 h 292910"/>
                <a:gd name="connsiteX104" fmla="*/ 85853 w 286557"/>
                <a:gd name="connsiteY104" fmla="*/ 213737 h 292910"/>
                <a:gd name="connsiteX105" fmla="*/ 84224 w 286557"/>
                <a:gd name="connsiteY105" fmla="*/ 209664 h 292910"/>
                <a:gd name="connsiteX106" fmla="*/ 80966 w 286557"/>
                <a:gd name="connsiteY106" fmla="*/ 209175 h 292910"/>
                <a:gd name="connsiteX107" fmla="*/ 78685 w 286557"/>
                <a:gd name="connsiteY107" fmla="*/ 206895 h 292910"/>
                <a:gd name="connsiteX108" fmla="*/ 75916 w 286557"/>
                <a:gd name="connsiteY108" fmla="*/ 206895 h 292910"/>
                <a:gd name="connsiteX109" fmla="*/ 64349 w 286557"/>
                <a:gd name="connsiteY109" fmla="*/ 202822 h 292910"/>
                <a:gd name="connsiteX110" fmla="*/ 59462 w 286557"/>
                <a:gd name="connsiteY110" fmla="*/ 202659 h 292910"/>
                <a:gd name="connsiteX111" fmla="*/ 56366 w 286557"/>
                <a:gd name="connsiteY111" fmla="*/ 199727 h 292910"/>
                <a:gd name="connsiteX112" fmla="*/ 56041 w 286557"/>
                <a:gd name="connsiteY112" fmla="*/ 197772 h 292910"/>
                <a:gd name="connsiteX113" fmla="*/ 52294 w 286557"/>
                <a:gd name="connsiteY113" fmla="*/ 195165 h 292910"/>
                <a:gd name="connsiteX114" fmla="*/ 49688 w 286557"/>
                <a:gd name="connsiteY114" fmla="*/ 195165 h 292910"/>
                <a:gd name="connsiteX115" fmla="*/ 45941 w 286557"/>
                <a:gd name="connsiteY115" fmla="*/ 193699 h 292910"/>
                <a:gd name="connsiteX116" fmla="*/ 42193 w 286557"/>
                <a:gd name="connsiteY116" fmla="*/ 193699 h 292910"/>
                <a:gd name="connsiteX117" fmla="*/ 33722 w 286557"/>
                <a:gd name="connsiteY117" fmla="*/ 189626 h 292910"/>
                <a:gd name="connsiteX118" fmla="*/ 27532 w 286557"/>
                <a:gd name="connsiteY118" fmla="*/ 169425 h 292910"/>
                <a:gd name="connsiteX119" fmla="*/ 9449 w 286557"/>
                <a:gd name="connsiteY119" fmla="*/ 144500 h 292910"/>
                <a:gd name="connsiteX120" fmla="*/ 3258 w 286557"/>
                <a:gd name="connsiteY120" fmla="*/ 114199 h 292910"/>
                <a:gd name="connsiteX121" fmla="*/ 0 w 286557"/>
                <a:gd name="connsiteY121" fmla="*/ 92695 h 292910"/>
                <a:gd name="connsiteX122" fmla="*/ 12870 w 286557"/>
                <a:gd name="connsiteY122" fmla="*/ 92858 h 292910"/>
                <a:gd name="connsiteX123" fmla="*/ 21504 w 286557"/>
                <a:gd name="connsiteY123" fmla="*/ 90740 h 292910"/>
                <a:gd name="connsiteX124" fmla="*/ 25902 w 286557"/>
                <a:gd name="connsiteY124" fmla="*/ 84224 h 292910"/>
                <a:gd name="connsiteX125" fmla="*/ 32419 w 286557"/>
                <a:gd name="connsiteY125" fmla="*/ 76893 h 292910"/>
                <a:gd name="connsiteX126" fmla="*/ 35352 w 286557"/>
                <a:gd name="connsiteY126" fmla="*/ 74449 h 292910"/>
                <a:gd name="connsiteX127" fmla="*/ 38936 w 286557"/>
                <a:gd name="connsiteY127" fmla="*/ 70865 h 292910"/>
                <a:gd name="connsiteX128" fmla="*/ 43008 w 286557"/>
                <a:gd name="connsiteY128" fmla="*/ 66630 h 292910"/>
                <a:gd name="connsiteX129" fmla="*/ 43497 w 286557"/>
                <a:gd name="connsiteY129" fmla="*/ 62883 h 292910"/>
                <a:gd name="connsiteX130" fmla="*/ 42031 w 286557"/>
                <a:gd name="connsiteY130" fmla="*/ 55226 h 292910"/>
                <a:gd name="connsiteX131" fmla="*/ 38936 w 286557"/>
                <a:gd name="connsiteY131" fmla="*/ 54737 h 292910"/>
                <a:gd name="connsiteX132" fmla="*/ 37958 w 286557"/>
                <a:gd name="connsiteY132" fmla="*/ 51642 h 292910"/>
                <a:gd name="connsiteX133" fmla="*/ 34211 w 286557"/>
                <a:gd name="connsiteY133" fmla="*/ 49687 h 292910"/>
                <a:gd name="connsiteX134" fmla="*/ 34211 w 286557"/>
                <a:gd name="connsiteY134" fmla="*/ 46266 h 292910"/>
                <a:gd name="connsiteX135" fmla="*/ 32745 w 286557"/>
                <a:gd name="connsiteY135" fmla="*/ 43985 h 292910"/>
                <a:gd name="connsiteX136" fmla="*/ 32745 w 286557"/>
                <a:gd name="connsiteY136" fmla="*/ 41542 h 292910"/>
                <a:gd name="connsiteX137" fmla="*/ 33722 w 286557"/>
                <a:gd name="connsiteY137" fmla="*/ 42682 h 292910"/>
                <a:gd name="connsiteX138" fmla="*/ 36491 w 286557"/>
                <a:gd name="connsiteY138" fmla="*/ 43334 h 292910"/>
                <a:gd name="connsiteX139" fmla="*/ 39261 w 286557"/>
                <a:gd name="connsiteY139" fmla="*/ 41705 h 292910"/>
                <a:gd name="connsiteX140" fmla="*/ 41379 w 286557"/>
                <a:gd name="connsiteY140" fmla="*/ 39587 h 292910"/>
                <a:gd name="connsiteX141" fmla="*/ 42193 w 286557"/>
                <a:gd name="connsiteY141" fmla="*/ 36329 h 292910"/>
                <a:gd name="connsiteX142" fmla="*/ 43660 w 286557"/>
                <a:gd name="connsiteY142" fmla="*/ 32745 h 292910"/>
                <a:gd name="connsiteX143" fmla="*/ 43008 w 286557"/>
                <a:gd name="connsiteY143" fmla="*/ 27695 h 292910"/>
                <a:gd name="connsiteX144" fmla="*/ 40890 w 286557"/>
                <a:gd name="connsiteY144" fmla="*/ 20201 h 292910"/>
                <a:gd name="connsiteX145" fmla="*/ 38609 w 286557"/>
                <a:gd name="connsiteY145" fmla="*/ 16780 h 292910"/>
                <a:gd name="connsiteX146" fmla="*/ 38121 w 286557"/>
                <a:gd name="connsiteY146" fmla="*/ 13684 h 292910"/>
                <a:gd name="connsiteX147" fmla="*/ 34863 w 286557"/>
                <a:gd name="connsiteY147" fmla="*/ 11078 h 292910"/>
                <a:gd name="connsiteX148" fmla="*/ 31930 w 286557"/>
                <a:gd name="connsiteY148" fmla="*/ 6679 h 2929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</a:cxnLst>
              <a:rect l="l" t="t" r="r" b="b"/>
              <a:pathLst>
                <a:path w="286557" h="292910">
                  <a:moveTo>
                    <a:pt x="31930" y="6679"/>
                  </a:moveTo>
                  <a:lnTo>
                    <a:pt x="33397" y="4724"/>
                  </a:lnTo>
                  <a:lnTo>
                    <a:pt x="35677" y="5213"/>
                  </a:lnTo>
                  <a:lnTo>
                    <a:pt x="37958" y="2932"/>
                  </a:lnTo>
                  <a:lnTo>
                    <a:pt x="69073" y="2932"/>
                  </a:lnTo>
                  <a:lnTo>
                    <a:pt x="121368" y="0"/>
                  </a:lnTo>
                  <a:lnTo>
                    <a:pt x="215203" y="54737"/>
                  </a:lnTo>
                  <a:lnTo>
                    <a:pt x="220416" y="63372"/>
                  </a:lnTo>
                  <a:lnTo>
                    <a:pt x="219276" y="65815"/>
                  </a:lnTo>
                  <a:lnTo>
                    <a:pt x="220253" y="69073"/>
                  </a:lnTo>
                  <a:lnTo>
                    <a:pt x="222371" y="71843"/>
                  </a:lnTo>
                  <a:lnTo>
                    <a:pt x="254138" y="94161"/>
                  </a:lnTo>
                  <a:lnTo>
                    <a:pt x="253161" y="94161"/>
                  </a:lnTo>
                  <a:lnTo>
                    <a:pt x="254464" y="95628"/>
                  </a:lnTo>
                  <a:lnTo>
                    <a:pt x="254953" y="99538"/>
                  </a:lnTo>
                  <a:lnTo>
                    <a:pt x="253161" y="102144"/>
                  </a:lnTo>
                  <a:lnTo>
                    <a:pt x="247785" y="119087"/>
                  </a:lnTo>
                  <a:lnTo>
                    <a:pt x="243549" y="129839"/>
                  </a:lnTo>
                  <a:lnTo>
                    <a:pt x="243712" y="135703"/>
                  </a:lnTo>
                  <a:lnTo>
                    <a:pt x="251043" y="141894"/>
                  </a:lnTo>
                  <a:lnTo>
                    <a:pt x="256419" y="147921"/>
                  </a:lnTo>
                  <a:lnTo>
                    <a:pt x="259840" y="147433"/>
                  </a:lnTo>
                  <a:lnTo>
                    <a:pt x="263098" y="156881"/>
                  </a:lnTo>
                  <a:lnTo>
                    <a:pt x="261632" y="159977"/>
                  </a:lnTo>
                  <a:lnTo>
                    <a:pt x="259514" y="159325"/>
                  </a:lnTo>
                  <a:lnTo>
                    <a:pt x="256419" y="161280"/>
                  </a:lnTo>
                  <a:lnTo>
                    <a:pt x="254953" y="167471"/>
                  </a:lnTo>
                  <a:lnTo>
                    <a:pt x="255441" y="176919"/>
                  </a:lnTo>
                  <a:lnTo>
                    <a:pt x="259352" y="180666"/>
                  </a:lnTo>
                  <a:lnTo>
                    <a:pt x="258700" y="186694"/>
                  </a:lnTo>
                  <a:lnTo>
                    <a:pt x="255116" y="189626"/>
                  </a:lnTo>
                  <a:lnTo>
                    <a:pt x="256093" y="195165"/>
                  </a:lnTo>
                  <a:lnTo>
                    <a:pt x="258863" y="202007"/>
                  </a:lnTo>
                  <a:lnTo>
                    <a:pt x="257397" y="202333"/>
                  </a:lnTo>
                  <a:lnTo>
                    <a:pt x="258863" y="205428"/>
                  </a:lnTo>
                  <a:lnTo>
                    <a:pt x="260003" y="210479"/>
                  </a:lnTo>
                  <a:lnTo>
                    <a:pt x="262936" y="213085"/>
                  </a:lnTo>
                  <a:lnTo>
                    <a:pt x="260492" y="217158"/>
                  </a:lnTo>
                  <a:lnTo>
                    <a:pt x="262936" y="220090"/>
                  </a:lnTo>
                  <a:lnTo>
                    <a:pt x="265542" y="227747"/>
                  </a:lnTo>
                  <a:lnTo>
                    <a:pt x="264564" y="231657"/>
                  </a:lnTo>
                  <a:lnTo>
                    <a:pt x="273688" y="240291"/>
                  </a:lnTo>
                  <a:lnTo>
                    <a:pt x="280367" y="241268"/>
                  </a:lnTo>
                  <a:lnTo>
                    <a:pt x="285906" y="245993"/>
                  </a:lnTo>
                  <a:lnTo>
                    <a:pt x="285906" y="248436"/>
                  </a:lnTo>
                  <a:lnTo>
                    <a:pt x="286557" y="248925"/>
                  </a:lnTo>
                  <a:lnTo>
                    <a:pt x="285580" y="249414"/>
                  </a:lnTo>
                  <a:lnTo>
                    <a:pt x="283299" y="251857"/>
                  </a:lnTo>
                  <a:lnTo>
                    <a:pt x="278575" y="250554"/>
                  </a:lnTo>
                  <a:lnTo>
                    <a:pt x="275643" y="254627"/>
                  </a:lnTo>
                  <a:lnTo>
                    <a:pt x="271732" y="257885"/>
                  </a:lnTo>
                  <a:lnTo>
                    <a:pt x="266357" y="258537"/>
                  </a:lnTo>
                  <a:lnTo>
                    <a:pt x="262936" y="262284"/>
                  </a:lnTo>
                  <a:lnTo>
                    <a:pt x="257071" y="262935"/>
                  </a:lnTo>
                  <a:lnTo>
                    <a:pt x="255116" y="265216"/>
                  </a:lnTo>
                  <a:lnTo>
                    <a:pt x="251206" y="266519"/>
                  </a:lnTo>
                  <a:lnTo>
                    <a:pt x="247459" y="265053"/>
                  </a:lnTo>
                  <a:lnTo>
                    <a:pt x="237847" y="267986"/>
                  </a:lnTo>
                  <a:lnTo>
                    <a:pt x="235404" y="269940"/>
                  </a:lnTo>
                  <a:lnTo>
                    <a:pt x="230842" y="270592"/>
                  </a:lnTo>
                  <a:lnTo>
                    <a:pt x="227421" y="267986"/>
                  </a:lnTo>
                  <a:lnTo>
                    <a:pt x="223837" y="268637"/>
                  </a:lnTo>
                  <a:lnTo>
                    <a:pt x="219276" y="267171"/>
                  </a:lnTo>
                  <a:lnTo>
                    <a:pt x="217484" y="268800"/>
                  </a:lnTo>
                  <a:lnTo>
                    <a:pt x="218624" y="271732"/>
                  </a:lnTo>
                  <a:lnTo>
                    <a:pt x="216832" y="275642"/>
                  </a:lnTo>
                  <a:lnTo>
                    <a:pt x="209664" y="276294"/>
                  </a:lnTo>
                  <a:lnTo>
                    <a:pt x="204288" y="278249"/>
                  </a:lnTo>
                  <a:lnTo>
                    <a:pt x="201193" y="276294"/>
                  </a:lnTo>
                  <a:lnTo>
                    <a:pt x="197935" y="275968"/>
                  </a:lnTo>
                  <a:lnTo>
                    <a:pt x="197446" y="274339"/>
                  </a:lnTo>
                  <a:lnTo>
                    <a:pt x="194514" y="273036"/>
                  </a:lnTo>
                  <a:lnTo>
                    <a:pt x="192559" y="274828"/>
                  </a:lnTo>
                  <a:lnTo>
                    <a:pt x="189789" y="275479"/>
                  </a:lnTo>
                  <a:lnTo>
                    <a:pt x="184250" y="279389"/>
                  </a:lnTo>
                  <a:lnTo>
                    <a:pt x="176757" y="281507"/>
                  </a:lnTo>
                  <a:lnTo>
                    <a:pt x="177408" y="279389"/>
                  </a:lnTo>
                  <a:lnTo>
                    <a:pt x="174802" y="276620"/>
                  </a:lnTo>
                  <a:lnTo>
                    <a:pt x="171543" y="276294"/>
                  </a:lnTo>
                  <a:lnTo>
                    <a:pt x="168448" y="274013"/>
                  </a:lnTo>
                  <a:lnTo>
                    <a:pt x="165027" y="273036"/>
                  </a:lnTo>
                  <a:lnTo>
                    <a:pt x="164864" y="270918"/>
                  </a:lnTo>
                  <a:lnTo>
                    <a:pt x="161280" y="271570"/>
                  </a:lnTo>
                  <a:lnTo>
                    <a:pt x="160140" y="273524"/>
                  </a:lnTo>
                  <a:lnTo>
                    <a:pt x="155904" y="274339"/>
                  </a:lnTo>
                  <a:lnTo>
                    <a:pt x="131305" y="274828"/>
                  </a:lnTo>
                  <a:lnTo>
                    <a:pt x="126418" y="292911"/>
                  </a:lnTo>
                  <a:lnTo>
                    <a:pt x="126743" y="249903"/>
                  </a:lnTo>
                  <a:lnTo>
                    <a:pt x="125440" y="240128"/>
                  </a:lnTo>
                  <a:lnTo>
                    <a:pt x="116969" y="230679"/>
                  </a:lnTo>
                  <a:lnTo>
                    <a:pt x="114199" y="228073"/>
                  </a:lnTo>
                  <a:lnTo>
                    <a:pt x="111267" y="226281"/>
                  </a:lnTo>
                  <a:lnTo>
                    <a:pt x="110290" y="224652"/>
                  </a:lnTo>
                  <a:lnTo>
                    <a:pt x="108334" y="224163"/>
                  </a:lnTo>
                  <a:lnTo>
                    <a:pt x="106706" y="222860"/>
                  </a:lnTo>
                  <a:lnTo>
                    <a:pt x="103773" y="222371"/>
                  </a:lnTo>
                  <a:lnTo>
                    <a:pt x="102307" y="223511"/>
                  </a:lnTo>
                  <a:lnTo>
                    <a:pt x="100841" y="221719"/>
                  </a:lnTo>
                  <a:lnTo>
                    <a:pt x="97745" y="221393"/>
                  </a:lnTo>
                  <a:lnTo>
                    <a:pt x="96279" y="218461"/>
                  </a:lnTo>
                  <a:lnTo>
                    <a:pt x="93836" y="218135"/>
                  </a:lnTo>
                  <a:lnTo>
                    <a:pt x="92532" y="219113"/>
                  </a:lnTo>
                  <a:lnTo>
                    <a:pt x="92532" y="218787"/>
                  </a:lnTo>
                  <a:lnTo>
                    <a:pt x="90415" y="218787"/>
                  </a:lnTo>
                  <a:lnTo>
                    <a:pt x="85853" y="213737"/>
                  </a:lnTo>
                  <a:lnTo>
                    <a:pt x="84224" y="209664"/>
                  </a:lnTo>
                  <a:lnTo>
                    <a:pt x="80966" y="209175"/>
                  </a:lnTo>
                  <a:lnTo>
                    <a:pt x="78685" y="206895"/>
                  </a:lnTo>
                  <a:lnTo>
                    <a:pt x="75916" y="206895"/>
                  </a:lnTo>
                  <a:lnTo>
                    <a:pt x="64349" y="202822"/>
                  </a:lnTo>
                  <a:lnTo>
                    <a:pt x="59462" y="202659"/>
                  </a:lnTo>
                  <a:lnTo>
                    <a:pt x="56366" y="199727"/>
                  </a:lnTo>
                  <a:lnTo>
                    <a:pt x="56041" y="197772"/>
                  </a:lnTo>
                  <a:lnTo>
                    <a:pt x="52294" y="195165"/>
                  </a:lnTo>
                  <a:lnTo>
                    <a:pt x="49688" y="195165"/>
                  </a:lnTo>
                  <a:lnTo>
                    <a:pt x="45941" y="193699"/>
                  </a:lnTo>
                  <a:lnTo>
                    <a:pt x="42193" y="193699"/>
                  </a:lnTo>
                  <a:lnTo>
                    <a:pt x="33722" y="189626"/>
                  </a:lnTo>
                  <a:lnTo>
                    <a:pt x="27532" y="169425"/>
                  </a:lnTo>
                  <a:lnTo>
                    <a:pt x="9449" y="144500"/>
                  </a:lnTo>
                  <a:lnTo>
                    <a:pt x="3258" y="114199"/>
                  </a:lnTo>
                  <a:lnTo>
                    <a:pt x="0" y="92695"/>
                  </a:lnTo>
                  <a:lnTo>
                    <a:pt x="12870" y="92858"/>
                  </a:lnTo>
                  <a:lnTo>
                    <a:pt x="21504" y="90740"/>
                  </a:lnTo>
                  <a:lnTo>
                    <a:pt x="25902" y="84224"/>
                  </a:lnTo>
                  <a:lnTo>
                    <a:pt x="32419" y="76893"/>
                  </a:lnTo>
                  <a:lnTo>
                    <a:pt x="35352" y="74449"/>
                  </a:lnTo>
                  <a:lnTo>
                    <a:pt x="38936" y="70865"/>
                  </a:lnTo>
                  <a:lnTo>
                    <a:pt x="43008" y="66630"/>
                  </a:lnTo>
                  <a:lnTo>
                    <a:pt x="43497" y="62883"/>
                  </a:lnTo>
                  <a:lnTo>
                    <a:pt x="42031" y="55226"/>
                  </a:lnTo>
                  <a:lnTo>
                    <a:pt x="38936" y="54737"/>
                  </a:lnTo>
                  <a:lnTo>
                    <a:pt x="37958" y="51642"/>
                  </a:lnTo>
                  <a:lnTo>
                    <a:pt x="34211" y="49687"/>
                  </a:lnTo>
                  <a:lnTo>
                    <a:pt x="34211" y="46266"/>
                  </a:lnTo>
                  <a:lnTo>
                    <a:pt x="32745" y="43985"/>
                  </a:lnTo>
                  <a:lnTo>
                    <a:pt x="32745" y="41542"/>
                  </a:lnTo>
                  <a:lnTo>
                    <a:pt x="33722" y="42682"/>
                  </a:lnTo>
                  <a:lnTo>
                    <a:pt x="36491" y="43334"/>
                  </a:lnTo>
                  <a:lnTo>
                    <a:pt x="39261" y="41705"/>
                  </a:lnTo>
                  <a:lnTo>
                    <a:pt x="41379" y="39587"/>
                  </a:lnTo>
                  <a:lnTo>
                    <a:pt x="42193" y="36329"/>
                  </a:lnTo>
                  <a:lnTo>
                    <a:pt x="43660" y="32745"/>
                  </a:lnTo>
                  <a:lnTo>
                    <a:pt x="43008" y="27695"/>
                  </a:lnTo>
                  <a:lnTo>
                    <a:pt x="40890" y="20201"/>
                  </a:lnTo>
                  <a:lnTo>
                    <a:pt x="38609" y="16780"/>
                  </a:lnTo>
                  <a:lnTo>
                    <a:pt x="38121" y="13684"/>
                  </a:lnTo>
                  <a:lnTo>
                    <a:pt x="34863" y="11078"/>
                  </a:lnTo>
                  <a:lnTo>
                    <a:pt x="31930" y="6679"/>
                  </a:lnTo>
                  <a:close/>
                </a:path>
              </a:pathLst>
            </a:custGeom>
            <a:solidFill>
              <a:schemeClr val="bg2"/>
            </a:solidFill>
            <a:ln w="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8" name="Forma livre: Forma 127">
              <a:extLst>
                <a:ext uri="{FF2B5EF4-FFF2-40B4-BE49-F238E27FC236}">
                  <a16:creationId xmlns:a16="http://schemas.microsoft.com/office/drawing/2014/main" id="{338A94DA-E929-A545-5632-42BB25DCAF2B}"/>
                </a:ext>
              </a:extLst>
            </p:cNvPr>
            <p:cNvSpPr/>
            <p:nvPr/>
          </p:nvSpPr>
          <p:spPr>
            <a:xfrm>
              <a:off x="6751862" y="4990202"/>
              <a:ext cx="53534" cy="44612"/>
            </a:xfrm>
            <a:custGeom>
              <a:avLst/>
              <a:gdLst>
                <a:gd name="connsiteX0" fmla="*/ 14825 w 51804"/>
                <a:gd name="connsiteY0" fmla="*/ 6353 h 43170"/>
                <a:gd name="connsiteX1" fmla="*/ 16128 w 51804"/>
                <a:gd name="connsiteY1" fmla="*/ 6842 h 43170"/>
                <a:gd name="connsiteX2" fmla="*/ 20364 w 51804"/>
                <a:gd name="connsiteY2" fmla="*/ 6028 h 43170"/>
                <a:gd name="connsiteX3" fmla="*/ 24599 w 51804"/>
                <a:gd name="connsiteY3" fmla="*/ 2769 h 43170"/>
                <a:gd name="connsiteX4" fmla="*/ 27369 w 51804"/>
                <a:gd name="connsiteY4" fmla="*/ 4073 h 43170"/>
                <a:gd name="connsiteX5" fmla="*/ 29487 w 51804"/>
                <a:gd name="connsiteY5" fmla="*/ 6028 h 43170"/>
                <a:gd name="connsiteX6" fmla="*/ 33071 w 51804"/>
                <a:gd name="connsiteY6" fmla="*/ 6028 h 43170"/>
                <a:gd name="connsiteX7" fmla="*/ 35025 w 51804"/>
                <a:gd name="connsiteY7" fmla="*/ 4399 h 43170"/>
                <a:gd name="connsiteX8" fmla="*/ 35025 w 51804"/>
                <a:gd name="connsiteY8" fmla="*/ 815 h 43170"/>
                <a:gd name="connsiteX9" fmla="*/ 39261 w 51804"/>
                <a:gd name="connsiteY9" fmla="*/ 0 h 43170"/>
                <a:gd name="connsiteX10" fmla="*/ 43008 w 51804"/>
                <a:gd name="connsiteY10" fmla="*/ 5539 h 43170"/>
                <a:gd name="connsiteX11" fmla="*/ 46266 w 51804"/>
                <a:gd name="connsiteY11" fmla="*/ 8145 h 43170"/>
                <a:gd name="connsiteX12" fmla="*/ 46755 w 51804"/>
                <a:gd name="connsiteY12" fmla="*/ 11241 h 43170"/>
                <a:gd name="connsiteX13" fmla="*/ 49036 w 51804"/>
                <a:gd name="connsiteY13" fmla="*/ 14662 h 43170"/>
                <a:gd name="connsiteX14" fmla="*/ 51154 w 51804"/>
                <a:gd name="connsiteY14" fmla="*/ 22156 h 43170"/>
                <a:gd name="connsiteX15" fmla="*/ 51805 w 51804"/>
                <a:gd name="connsiteY15" fmla="*/ 27206 h 43170"/>
                <a:gd name="connsiteX16" fmla="*/ 50339 w 51804"/>
                <a:gd name="connsiteY16" fmla="*/ 30790 h 43170"/>
                <a:gd name="connsiteX17" fmla="*/ 49525 w 51804"/>
                <a:gd name="connsiteY17" fmla="*/ 34048 h 43170"/>
                <a:gd name="connsiteX18" fmla="*/ 47407 w 51804"/>
                <a:gd name="connsiteY18" fmla="*/ 36166 h 43170"/>
                <a:gd name="connsiteX19" fmla="*/ 44637 w 51804"/>
                <a:gd name="connsiteY19" fmla="*/ 37795 h 43170"/>
                <a:gd name="connsiteX20" fmla="*/ 41868 w 51804"/>
                <a:gd name="connsiteY20" fmla="*/ 37143 h 43170"/>
                <a:gd name="connsiteX21" fmla="*/ 40890 w 51804"/>
                <a:gd name="connsiteY21" fmla="*/ 36003 h 43170"/>
                <a:gd name="connsiteX22" fmla="*/ 40890 w 51804"/>
                <a:gd name="connsiteY22" fmla="*/ 34537 h 43170"/>
                <a:gd name="connsiteX23" fmla="*/ 37958 w 51804"/>
                <a:gd name="connsiteY23" fmla="*/ 32745 h 43170"/>
                <a:gd name="connsiteX24" fmla="*/ 36655 w 51804"/>
                <a:gd name="connsiteY24" fmla="*/ 28835 h 43170"/>
                <a:gd name="connsiteX25" fmla="*/ 33722 w 51804"/>
                <a:gd name="connsiteY25" fmla="*/ 28346 h 43170"/>
                <a:gd name="connsiteX26" fmla="*/ 31604 w 51804"/>
                <a:gd name="connsiteY26" fmla="*/ 26391 h 43170"/>
                <a:gd name="connsiteX27" fmla="*/ 29324 w 51804"/>
                <a:gd name="connsiteY27" fmla="*/ 26391 h 43170"/>
                <a:gd name="connsiteX28" fmla="*/ 29813 w 51804"/>
                <a:gd name="connsiteY28" fmla="*/ 31116 h 43170"/>
                <a:gd name="connsiteX29" fmla="*/ 26554 w 51804"/>
                <a:gd name="connsiteY29" fmla="*/ 38935 h 43170"/>
                <a:gd name="connsiteX30" fmla="*/ 26554 w 51804"/>
                <a:gd name="connsiteY30" fmla="*/ 41379 h 43170"/>
                <a:gd name="connsiteX31" fmla="*/ 21504 w 51804"/>
                <a:gd name="connsiteY31" fmla="*/ 43171 h 43170"/>
                <a:gd name="connsiteX32" fmla="*/ 19061 w 51804"/>
                <a:gd name="connsiteY32" fmla="*/ 40727 h 43170"/>
                <a:gd name="connsiteX33" fmla="*/ 17268 w 51804"/>
                <a:gd name="connsiteY33" fmla="*/ 41216 h 43170"/>
                <a:gd name="connsiteX34" fmla="*/ 15802 w 51804"/>
                <a:gd name="connsiteY34" fmla="*/ 42845 h 43170"/>
                <a:gd name="connsiteX35" fmla="*/ 11404 w 51804"/>
                <a:gd name="connsiteY35" fmla="*/ 41216 h 43170"/>
                <a:gd name="connsiteX36" fmla="*/ 9449 w 51804"/>
                <a:gd name="connsiteY36" fmla="*/ 36980 h 43170"/>
                <a:gd name="connsiteX37" fmla="*/ 6679 w 51804"/>
                <a:gd name="connsiteY37" fmla="*/ 36003 h 43170"/>
                <a:gd name="connsiteX38" fmla="*/ 2281 w 51804"/>
                <a:gd name="connsiteY38" fmla="*/ 36003 h 43170"/>
                <a:gd name="connsiteX39" fmla="*/ 0 w 51804"/>
                <a:gd name="connsiteY39" fmla="*/ 36655 h 43170"/>
                <a:gd name="connsiteX40" fmla="*/ 652 w 51804"/>
                <a:gd name="connsiteY40" fmla="*/ 32582 h 43170"/>
                <a:gd name="connsiteX41" fmla="*/ 4399 w 51804"/>
                <a:gd name="connsiteY41" fmla="*/ 17106 h 43170"/>
                <a:gd name="connsiteX42" fmla="*/ 9286 w 51804"/>
                <a:gd name="connsiteY42" fmla="*/ 11404 h 43170"/>
                <a:gd name="connsiteX43" fmla="*/ 14825 w 51804"/>
                <a:gd name="connsiteY43" fmla="*/ 6353 h 431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</a:cxnLst>
              <a:rect l="l" t="t" r="r" b="b"/>
              <a:pathLst>
                <a:path w="51804" h="43170">
                  <a:moveTo>
                    <a:pt x="14825" y="6353"/>
                  </a:moveTo>
                  <a:lnTo>
                    <a:pt x="16128" y="6842"/>
                  </a:lnTo>
                  <a:lnTo>
                    <a:pt x="20364" y="6028"/>
                  </a:lnTo>
                  <a:lnTo>
                    <a:pt x="24599" y="2769"/>
                  </a:lnTo>
                  <a:lnTo>
                    <a:pt x="27369" y="4073"/>
                  </a:lnTo>
                  <a:lnTo>
                    <a:pt x="29487" y="6028"/>
                  </a:lnTo>
                  <a:lnTo>
                    <a:pt x="33071" y="6028"/>
                  </a:lnTo>
                  <a:lnTo>
                    <a:pt x="35025" y="4399"/>
                  </a:lnTo>
                  <a:lnTo>
                    <a:pt x="35025" y="815"/>
                  </a:lnTo>
                  <a:lnTo>
                    <a:pt x="39261" y="0"/>
                  </a:lnTo>
                  <a:lnTo>
                    <a:pt x="43008" y="5539"/>
                  </a:lnTo>
                  <a:lnTo>
                    <a:pt x="46266" y="8145"/>
                  </a:lnTo>
                  <a:lnTo>
                    <a:pt x="46755" y="11241"/>
                  </a:lnTo>
                  <a:lnTo>
                    <a:pt x="49036" y="14662"/>
                  </a:lnTo>
                  <a:lnTo>
                    <a:pt x="51154" y="22156"/>
                  </a:lnTo>
                  <a:lnTo>
                    <a:pt x="51805" y="27206"/>
                  </a:lnTo>
                  <a:lnTo>
                    <a:pt x="50339" y="30790"/>
                  </a:lnTo>
                  <a:lnTo>
                    <a:pt x="49525" y="34048"/>
                  </a:lnTo>
                  <a:lnTo>
                    <a:pt x="47407" y="36166"/>
                  </a:lnTo>
                  <a:lnTo>
                    <a:pt x="44637" y="37795"/>
                  </a:lnTo>
                  <a:lnTo>
                    <a:pt x="41868" y="37143"/>
                  </a:lnTo>
                  <a:lnTo>
                    <a:pt x="40890" y="36003"/>
                  </a:lnTo>
                  <a:lnTo>
                    <a:pt x="40890" y="34537"/>
                  </a:lnTo>
                  <a:lnTo>
                    <a:pt x="37958" y="32745"/>
                  </a:lnTo>
                  <a:lnTo>
                    <a:pt x="36655" y="28835"/>
                  </a:lnTo>
                  <a:lnTo>
                    <a:pt x="33722" y="28346"/>
                  </a:lnTo>
                  <a:lnTo>
                    <a:pt x="31604" y="26391"/>
                  </a:lnTo>
                  <a:lnTo>
                    <a:pt x="29324" y="26391"/>
                  </a:lnTo>
                  <a:lnTo>
                    <a:pt x="29813" y="31116"/>
                  </a:lnTo>
                  <a:lnTo>
                    <a:pt x="26554" y="38935"/>
                  </a:lnTo>
                  <a:lnTo>
                    <a:pt x="26554" y="41379"/>
                  </a:lnTo>
                  <a:lnTo>
                    <a:pt x="21504" y="43171"/>
                  </a:lnTo>
                  <a:lnTo>
                    <a:pt x="19061" y="40727"/>
                  </a:lnTo>
                  <a:lnTo>
                    <a:pt x="17268" y="41216"/>
                  </a:lnTo>
                  <a:lnTo>
                    <a:pt x="15802" y="42845"/>
                  </a:lnTo>
                  <a:lnTo>
                    <a:pt x="11404" y="41216"/>
                  </a:lnTo>
                  <a:lnTo>
                    <a:pt x="9449" y="36980"/>
                  </a:lnTo>
                  <a:lnTo>
                    <a:pt x="6679" y="36003"/>
                  </a:lnTo>
                  <a:lnTo>
                    <a:pt x="2281" y="36003"/>
                  </a:lnTo>
                  <a:lnTo>
                    <a:pt x="0" y="36655"/>
                  </a:lnTo>
                  <a:lnTo>
                    <a:pt x="652" y="32582"/>
                  </a:lnTo>
                  <a:lnTo>
                    <a:pt x="4399" y="17106"/>
                  </a:lnTo>
                  <a:lnTo>
                    <a:pt x="9286" y="11404"/>
                  </a:lnTo>
                  <a:lnTo>
                    <a:pt x="14825" y="6353"/>
                  </a:lnTo>
                  <a:close/>
                </a:path>
              </a:pathLst>
            </a:custGeom>
            <a:solidFill>
              <a:schemeClr val="bg2"/>
            </a:solidFill>
            <a:ln w="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9" name="Forma livre: Forma 128">
              <a:extLst>
                <a:ext uri="{FF2B5EF4-FFF2-40B4-BE49-F238E27FC236}">
                  <a16:creationId xmlns:a16="http://schemas.microsoft.com/office/drawing/2014/main" id="{75F52106-0448-0BED-C27A-21227047212D}"/>
                </a:ext>
              </a:extLst>
            </p:cNvPr>
            <p:cNvSpPr/>
            <p:nvPr/>
          </p:nvSpPr>
          <p:spPr>
            <a:xfrm>
              <a:off x="6751526" y="5017474"/>
              <a:ext cx="53704" cy="62963"/>
            </a:xfrm>
            <a:custGeom>
              <a:avLst/>
              <a:gdLst>
                <a:gd name="connsiteX0" fmla="*/ 8471 w 51968"/>
                <a:gd name="connsiteY0" fmla="*/ 60765 h 60928"/>
                <a:gd name="connsiteX1" fmla="*/ 21341 w 51968"/>
                <a:gd name="connsiteY1" fmla="*/ 60928 h 60928"/>
                <a:gd name="connsiteX2" fmla="*/ 29975 w 51968"/>
                <a:gd name="connsiteY2" fmla="*/ 58810 h 60928"/>
                <a:gd name="connsiteX3" fmla="*/ 34374 w 51968"/>
                <a:gd name="connsiteY3" fmla="*/ 52294 h 60928"/>
                <a:gd name="connsiteX4" fmla="*/ 40890 w 51968"/>
                <a:gd name="connsiteY4" fmla="*/ 44963 h 60928"/>
                <a:gd name="connsiteX5" fmla="*/ 43823 w 51968"/>
                <a:gd name="connsiteY5" fmla="*/ 42519 h 60928"/>
                <a:gd name="connsiteX6" fmla="*/ 47407 w 51968"/>
                <a:gd name="connsiteY6" fmla="*/ 38935 h 60928"/>
                <a:gd name="connsiteX7" fmla="*/ 51479 w 51968"/>
                <a:gd name="connsiteY7" fmla="*/ 34700 h 60928"/>
                <a:gd name="connsiteX8" fmla="*/ 51968 w 51968"/>
                <a:gd name="connsiteY8" fmla="*/ 30953 h 60928"/>
                <a:gd name="connsiteX9" fmla="*/ 50502 w 51968"/>
                <a:gd name="connsiteY9" fmla="*/ 23296 h 60928"/>
                <a:gd name="connsiteX10" fmla="*/ 47407 w 51968"/>
                <a:gd name="connsiteY10" fmla="*/ 22807 h 60928"/>
                <a:gd name="connsiteX11" fmla="*/ 46429 w 51968"/>
                <a:gd name="connsiteY11" fmla="*/ 19712 h 60928"/>
                <a:gd name="connsiteX12" fmla="*/ 42682 w 51968"/>
                <a:gd name="connsiteY12" fmla="*/ 17757 h 60928"/>
                <a:gd name="connsiteX13" fmla="*/ 42682 w 51968"/>
                <a:gd name="connsiteY13" fmla="*/ 14336 h 60928"/>
                <a:gd name="connsiteX14" fmla="*/ 41216 w 51968"/>
                <a:gd name="connsiteY14" fmla="*/ 12055 h 60928"/>
                <a:gd name="connsiteX15" fmla="*/ 41216 w 51968"/>
                <a:gd name="connsiteY15" fmla="*/ 8145 h 60928"/>
                <a:gd name="connsiteX16" fmla="*/ 38284 w 51968"/>
                <a:gd name="connsiteY16" fmla="*/ 6353 h 60928"/>
                <a:gd name="connsiteX17" fmla="*/ 36980 w 51968"/>
                <a:gd name="connsiteY17" fmla="*/ 2444 h 60928"/>
                <a:gd name="connsiteX18" fmla="*/ 34048 w 51968"/>
                <a:gd name="connsiteY18" fmla="*/ 1955 h 60928"/>
                <a:gd name="connsiteX19" fmla="*/ 31930 w 51968"/>
                <a:gd name="connsiteY19" fmla="*/ 0 h 60928"/>
                <a:gd name="connsiteX20" fmla="*/ 29650 w 51968"/>
                <a:gd name="connsiteY20" fmla="*/ 0 h 60928"/>
                <a:gd name="connsiteX21" fmla="*/ 30138 w 51968"/>
                <a:gd name="connsiteY21" fmla="*/ 4725 h 60928"/>
                <a:gd name="connsiteX22" fmla="*/ 26880 w 51968"/>
                <a:gd name="connsiteY22" fmla="*/ 12544 h 60928"/>
                <a:gd name="connsiteX23" fmla="*/ 26880 w 51968"/>
                <a:gd name="connsiteY23" fmla="*/ 14988 h 60928"/>
                <a:gd name="connsiteX24" fmla="*/ 21830 w 51968"/>
                <a:gd name="connsiteY24" fmla="*/ 16780 h 60928"/>
                <a:gd name="connsiteX25" fmla="*/ 19386 w 51968"/>
                <a:gd name="connsiteY25" fmla="*/ 14336 h 60928"/>
                <a:gd name="connsiteX26" fmla="*/ 17594 w 51968"/>
                <a:gd name="connsiteY26" fmla="*/ 14825 h 60928"/>
                <a:gd name="connsiteX27" fmla="*/ 16128 w 51968"/>
                <a:gd name="connsiteY27" fmla="*/ 16454 h 60928"/>
                <a:gd name="connsiteX28" fmla="*/ 11729 w 51968"/>
                <a:gd name="connsiteY28" fmla="*/ 14825 h 60928"/>
                <a:gd name="connsiteX29" fmla="*/ 9775 w 51968"/>
                <a:gd name="connsiteY29" fmla="*/ 10589 h 60928"/>
                <a:gd name="connsiteX30" fmla="*/ 7005 w 51968"/>
                <a:gd name="connsiteY30" fmla="*/ 9612 h 60928"/>
                <a:gd name="connsiteX31" fmla="*/ 2607 w 51968"/>
                <a:gd name="connsiteY31" fmla="*/ 9612 h 60928"/>
                <a:gd name="connsiteX32" fmla="*/ 326 w 51968"/>
                <a:gd name="connsiteY32" fmla="*/ 10263 h 60928"/>
                <a:gd name="connsiteX33" fmla="*/ 0 w 51968"/>
                <a:gd name="connsiteY33" fmla="*/ 13033 h 60928"/>
                <a:gd name="connsiteX34" fmla="*/ 3258 w 51968"/>
                <a:gd name="connsiteY34" fmla="*/ 18409 h 60928"/>
                <a:gd name="connsiteX35" fmla="*/ 3910 w 51968"/>
                <a:gd name="connsiteY35" fmla="*/ 24110 h 60928"/>
                <a:gd name="connsiteX36" fmla="*/ 3910 w 51968"/>
                <a:gd name="connsiteY36" fmla="*/ 30790 h 60928"/>
                <a:gd name="connsiteX37" fmla="*/ 8471 w 51968"/>
                <a:gd name="connsiteY37" fmla="*/ 60765 h 609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51968" h="60928">
                  <a:moveTo>
                    <a:pt x="8471" y="60765"/>
                  </a:moveTo>
                  <a:lnTo>
                    <a:pt x="21341" y="60928"/>
                  </a:lnTo>
                  <a:lnTo>
                    <a:pt x="29975" y="58810"/>
                  </a:lnTo>
                  <a:lnTo>
                    <a:pt x="34374" y="52294"/>
                  </a:lnTo>
                  <a:lnTo>
                    <a:pt x="40890" y="44963"/>
                  </a:lnTo>
                  <a:lnTo>
                    <a:pt x="43823" y="42519"/>
                  </a:lnTo>
                  <a:lnTo>
                    <a:pt x="47407" y="38935"/>
                  </a:lnTo>
                  <a:lnTo>
                    <a:pt x="51479" y="34700"/>
                  </a:lnTo>
                  <a:lnTo>
                    <a:pt x="51968" y="30953"/>
                  </a:lnTo>
                  <a:lnTo>
                    <a:pt x="50502" y="23296"/>
                  </a:lnTo>
                  <a:lnTo>
                    <a:pt x="47407" y="22807"/>
                  </a:lnTo>
                  <a:lnTo>
                    <a:pt x="46429" y="19712"/>
                  </a:lnTo>
                  <a:lnTo>
                    <a:pt x="42682" y="17757"/>
                  </a:lnTo>
                  <a:lnTo>
                    <a:pt x="42682" y="14336"/>
                  </a:lnTo>
                  <a:lnTo>
                    <a:pt x="41216" y="12055"/>
                  </a:lnTo>
                  <a:lnTo>
                    <a:pt x="41216" y="8145"/>
                  </a:lnTo>
                  <a:lnTo>
                    <a:pt x="38284" y="6353"/>
                  </a:lnTo>
                  <a:lnTo>
                    <a:pt x="36980" y="2444"/>
                  </a:lnTo>
                  <a:lnTo>
                    <a:pt x="34048" y="1955"/>
                  </a:lnTo>
                  <a:lnTo>
                    <a:pt x="31930" y="0"/>
                  </a:lnTo>
                  <a:lnTo>
                    <a:pt x="29650" y="0"/>
                  </a:lnTo>
                  <a:lnTo>
                    <a:pt x="30138" y="4725"/>
                  </a:lnTo>
                  <a:lnTo>
                    <a:pt x="26880" y="12544"/>
                  </a:lnTo>
                  <a:lnTo>
                    <a:pt x="26880" y="14988"/>
                  </a:lnTo>
                  <a:lnTo>
                    <a:pt x="21830" y="16780"/>
                  </a:lnTo>
                  <a:lnTo>
                    <a:pt x="19386" y="14336"/>
                  </a:lnTo>
                  <a:lnTo>
                    <a:pt x="17594" y="14825"/>
                  </a:lnTo>
                  <a:lnTo>
                    <a:pt x="16128" y="16454"/>
                  </a:lnTo>
                  <a:lnTo>
                    <a:pt x="11729" y="14825"/>
                  </a:lnTo>
                  <a:lnTo>
                    <a:pt x="9775" y="10589"/>
                  </a:lnTo>
                  <a:lnTo>
                    <a:pt x="7005" y="9612"/>
                  </a:lnTo>
                  <a:lnTo>
                    <a:pt x="2607" y="9612"/>
                  </a:lnTo>
                  <a:lnTo>
                    <a:pt x="326" y="10263"/>
                  </a:lnTo>
                  <a:lnTo>
                    <a:pt x="0" y="13033"/>
                  </a:lnTo>
                  <a:lnTo>
                    <a:pt x="3258" y="18409"/>
                  </a:lnTo>
                  <a:lnTo>
                    <a:pt x="3910" y="24110"/>
                  </a:lnTo>
                  <a:lnTo>
                    <a:pt x="3910" y="30790"/>
                  </a:lnTo>
                  <a:lnTo>
                    <a:pt x="8471" y="60765"/>
                  </a:lnTo>
                  <a:close/>
                </a:path>
              </a:pathLst>
            </a:custGeom>
            <a:solidFill>
              <a:schemeClr val="bg2"/>
            </a:solidFill>
            <a:ln w="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30" name="Forma livre: Forma 129">
              <a:extLst>
                <a:ext uri="{FF2B5EF4-FFF2-40B4-BE49-F238E27FC236}">
                  <a16:creationId xmlns:a16="http://schemas.microsoft.com/office/drawing/2014/main" id="{5524DCDE-2CE1-EDF5-E283-14087BD2041C}"/>
                </a:ext>
              </a:extLst>
            </p:cNvPr>
            <p:cNvSpPr/>
            <p:nvPr/>
          </p:nvSpPr>
          <p:spPr>
            <a:xfrm>
              <a:off x="6303545" y="4817474"/>
              <a:ext cx="505388" cy="501347"/>
            </a:xfrm>
            <a:custGeom>
              <a:avLst/>
              <a:gdLst>
                <a:gd name="connsiteX0" fmla="*/ 0 w 489053"/>
                <a:gd name="connsiteY0" fmla="*/ 289327 h 485143"/>
                <a:gd name="connsiteX1" fmla="*/ 4725 w 489053"/>
                <a:gd name="connsiteY1" fmla="*/ 286231 h 485143"/>
                <a:gd name="connsiteX2" fmla="*/ 9612 w 489053"/>
                <a:gd name="connsiteY2" fmla="*/ 285417 h 485143"/>
                <a:gd name="connsiteX3" fmla="*/ 12544 w 489053"/>
                <a:gd name="connsiteY3" fmla="*/ 282647 h 485143"/>
                <a:gd name="connsiteX4" fmla="*/ 12056 w 489053"/>
                <a:gd name="connsiteY4" fmla="*/ 273362 h 485143"/>
                <a:gd name="connsiteX5" fmla="*/ 14010 w 489053"/>
                <a:gd name="connsiteY5" fmla="*/ 270592 h 485143"/>
                <a:gd name="connsiteX6" fmla="*/ 19549 w 489053"/>
                <a:gd name="connsiteY6" fmla="*/ 266031 h 485143"/>
                <a:gd name="connsiteX7" fmla="*/ 25251 w 489053"/>
                <a:gd name="connsiteY7" fmla="*/ 260818 h 485143"/>
                <a:gd name="connsiteX8" fmla="*/ 28347 w 489053"/>
                <a:gd name="connsiteY8" fmla="*/ 260981 h 485143"/>
                <a:gd name="connsiteX9" fmla="*/ 32093 w 489053"/>
                <a:gd name="connsiteY9" fmla="*/ 259189 h 485143"/>
                <a:gd name="connsiteX10" fmla="*/ 33559 w 489053"/>
                <a:gd name="connsiteY10" fmla="*/ 261958 h 485143"/>
                <a:gd name="connsiteX11" fmla="*/ 33397 w 489053"/>
                <a:gd name="connsiteY11" fmla="*/ 264239 h 485143"/>
                <a:gd name="connsiteX12" fmla="*/ 38284 w 489053"/>
                <a:gd name="connsiteY12" fmla="*/ 264239 h 485143"/>
                <a:gd name="connsiteX13" fmla="*/ 41216 w 489053"/>
                <a:gd name="connsiteY13" fmla="*/ 260818 h 485143"/>
                <a:gd name="connsiteX14" fmla="*/ 41379 w 489053"/>
                <a:gd name="connsiteY14" fmla="*/ 255279 h 485143"/>
                <a:gd name="connsiteX15" fmla="*/ 44963 w 489053"/>
                <a:gd name="connsiteY15" fmla="*/ 254953 h 485143"/>
                <a:gd name="connsiteX16" fmla="*/ 48384 w 489053"/>
                <a:gd name="connsiteY16" fmla="*/ 255930 h 485143"/>
                <a:gd name="connsiteX17" fmla="*/ 53597 w 489053"/>
                <a:gd name="connsiteY17" fmla="*/ 251369 h 485143"/>
                <a:gd name="connsiteX18" fmla="*/ 61580 w 489053"/>
                <a:gd name="connsiteY18" fmla="*/ 248762 h 485143"/>
                <a:gd name="connsiteX19" fmla="*/ 61091 w 489053"/>
                <a:gd name="connsiteY19" fmla="*/ 251206 h 485143"/>
                <a:gd name="connsiteX20" fmla="*/ 58159 w 489053"/>
                <a:gd name="connsiteY20" fmla="*/ 256908 h 485143"/>
                <a:gd name="connsiteX21" fmla="*/ 59462 w 489053"/>
                <a:gd name="connsiteY21" fmla="*/ 258048 h 485143"/>
                <a:gd name="connsiteX22" fmla="*/ 60928 w 489053"/>
                <a:gd name="connsiteY22" fmla="*/ 262447 h 485143"/>
                <a:gd name="connsiteX23" fmla="*/ 66956 w 489053"/>
                <a:gd name="connsiteY23" fmla="*/ 265868 h 485143"/>
                <a:gd name="connsiteX24" fmla="*/ 73147 w 489053"/>
                <a:gd name="connsiteY24" fmla="*/ 263424 h 485143"/>
                <a:gd name="connsiteX25" fmla="*/ 76731 w 489053"/>
                <a:gd name="connsiteY25" fmla="*/ 257885 h 485143"/>
                <a:gd name="connsiteX26" fmla="*/ 87320 w 489053"/>
                <a:gd name="connsiteY26" fmla="*/ 247622 h 485143"/>
                <a:gd name="connsiteX27" fmla="*/ 88949 w 489053"/>
                <a:gd name="connsiteY27" fmla="*/ 243875 h 485143"/>
                <a:gd name="connsiteX28" fmla="*/ 93021 w 489053"/>
                <a:gd name="connsiteY28" fmla="*/ 241106 h 485143"/>
                <a:gd name="connsiteX29" fmla="*/ 97583 w 489053"/>
                <a:gd name="connsiteY29" fmla="*/ 239965 h 485143"/>
                <a:gd name="connsiteX30" fmla="*/ 101818 w 489053"/>
                <a:gd name="connsiteY30" fmla="*/ 233123 h 485143"/>
                <a:gd name="connsiteX31" fmla="*/ 101656 w 489053"/>
                <a:gd name="connsiteY31" fmla="*/ 228562 h 485143"/>
                <a:gd name="connsiteX32" fmla="*/ 103284 w 489053"/>
                <a:gd name="connsiteY32" fmla="*/ 221557 h 485143"/>
                <a:gd name="connsiteX33" fmla="*/ 104262 w 489053"/>
                <a:gd name="connsiteY33" fmla="*/ 207546 h 485143"/>
                <a:gd name="connsiteX34" fmla="*/ 102796 w 489053"/>
                <a:gd name="connsiteY34" fmla="*/ 205428 h 485143"/>
                <a:gd name="connsiteX35" fmla="*/ 101656 w 489053"/>
                <a:gd name="connsiteY35" fmla="*/ 198261 h 485143"/>
                <a:gd name="connsiteX36" fmla="*/ 104588 w 489053"/>
                <a:gd name="connsiteY36" fmla="*/ 192885 h 485143"/>
                <a:gd name="connsiteX37" fmla="*/ 112245 w 489053"/>
                <a:gd name="connsiteY37" fmla="*/ 184739 h 485143"/>
                <a:gd name="connsiteX38" fmla="*/ 112408 w 489053"/>
                <a:gd name="connsiteY38" fmla="*/ 179200 h 485143"/>
                <a:gd name="connsiteX39" fmla="*/ 117295 w 489053"/>
                <a:gd name="connsiteY39" fmla="*/ 173010 h 485143"/>
                <a:gd name="connsiteX40" fmla="*/ 123322 w 489053"/>
                <a:gd name="connsiteY40" fmla="*/ 168937 h 485143"/>
                <a:gd name="connsiteX41" fmla="*/ 126418 w 489053"/>
                <a:gd name="connsiteY41" fmla="*/ 169914 h 485143"/>
                <a:gd name="connsiteX42" fmla="*/ 130979 w 489053"/>
                <a:gd name="connsiteY42" fmla="*/ 166493 h 485143"/>
                <a:gd name="connsiteX43" fmla="*/ 135866 w 489053"/>
                <a:gd name="connsiteY43" fmla="*/ 165027 h 485143"/>
                <a:gd name="connsiteX44" fmla="*/ 144012 w 489053"/>
                <a:gd name="connsiteY44" fmla="*/ 151669 h 485143"/>
                <a:gd name="connsiteX45" fmla="*/ 144175 w 489053"/>
                <a:gd name="connsiteY45" fmla="*/ 143034 h 485143"/>
                <a:gd name="connsiteX46" fmla="*/ 146456 w 489053"/>
                <a:gd name="connsiteY46" fmla="*/ 134563 h 485143"/>
                <a:gd name="connsiteX47" fmla="*/ 150040 w 489053"/>
                <a:gd name="connsiteY47" fmla="*/ 132934 h 485143"/>
                <a:gd name="connsiteX48" fmla="*/ 150854 w 489053"/>
                <a:gd name="connsiteY48" fmla="*/ 125766 h 485143"/>
                <a:gd name="connsiteX49" fmla="*/ 149714 w 489053"/>
                <a:gd name="connsiteY49" fmla="*/ 124300 h 485143"/>
                <a:gd name="connsiteX50" fmla="*/ 151180 w 489053"/>
                <a:gd name="connsiteY50" fmla="*/ 116480 h 485143"/>
                <a:gd name="connsiteX51" fmla="*/ 150528 w 489053"/>
                <a:gd name="connsiteY51" fmla="*/ 113385 h 485143"/>
                <a:gd name="connsiteX52" fmla="*/ 151180 w 489053"/>
                <a:gd name="connsiteY52" fmla="*/ 105728 h 485143"/>
                <a:gd name="connsiteX53" fmla="*/ 154927 w 489053"/>
                <a:gd name="connsiteY53" fmla="*/ 101004 h 485143"/>
                <a:gd name="connsiteX54" fmla="*/ 155252 w 489053"/>
                <a:gd name="connsiteY54" fmla="*/ 95302 h 485143"/>
                <a:gd name="connsiteX55" fmla="*/ 156719 w 489053"/>
                <a:gd name="connsiteY55" fmla="*/ 89763 h 485143"/>
                <a:gd name="connsiteX56" fmla="*/ 154601 w 489053"/>
                <a:gd name="connsiteY56" fmla="*/ 80966 h 485143"/>
                <a:gd name="connsiteX57" fmla="*/ 165516 w 489053"/>
                <a:gd name="connsiteY57" fmla="*/ 66793 h 485143"/>
                <a:gd name="connsiteX58" fmla="*/ 166656 w 489053"/>
                <a:gd name="connsiteY58" fmla="*/ 62069 h 485143"/>
                <a:gd name="connsiteX59" fmla="*/ 171706 w 489053"/>
                <a:gd name="connsiteY59" fmla="*/ 59625 h 485143"/>
                <a:gd name="connsiteX60" fmla="*/ 171543 w 489053"/>
                <a:gd name="connsiteY60" fmla="*/ 49199 h 485143"/>
                <a:gd name="connsiteX61" fmla="*/ 169100 w 489053"/>
                <a:gd name="connsiteY61" fmla="*/ 44311 h 485143"/>
                <a:gd name="connsiteX62" fmla="*/ 169426 w 489053"/>
                <a:gd name="connsiteY62" fmla="*/ 38772 h 485143"/>
                <a:gd name="connsiteX63" fmla="*/ 170729 w 489053"/>
                <a:gd name="connsiteY63" fmla="*/ 35026 h 485143"/>
                <a:gd name="connsiteX64" fmla="*/ 172358 w 489053"/>
                <a:gd name="connsiteY64" fmla="*/ 32908 h 485143"/>
                <a:gd name="connsiteX65" fmla="*/ 168285 w 489053"/>
                <a:gd name="connsiteY65" fmla="*/ 27532 h 485143"/>
                <a:gd name="connsiteX66" fmla="*/ 168285 w 489053"/>
                <a:gd name="connsiteY66" fmla="*/ 24599 h 485143"/>
                <a:gd name="connsiteX67" fmla="*/ 171869 w 489053"/>
                <a:gd name="connsiteY67" fmla="*/ 24436 h 485143"/>
                <a:gd name="connsiteX68" fmla="*/ 173824 w 489053"/>
                <a:gd name="connsiteY68" fmla="*/ 22482 h 485143"/>
                <a:gd name="connsiteX69" fmla="*/ 173824 w 489053"/>
                <a:gd name="connsiteY69" fmla="*/ 19712 h 485143"/>
                <a:gd name="connsiteX70" fmla="*/ 176268 w 489053"/>
                <a:gd name="connsiteY70" fmla="*/ 16780 h 485143"/>
                <a:gd name="connsiteX71" fmla="*/ 176757 w 489053"/>
                <a:gd name="connsiteY71" fmla="*/ 13359 h 485143"/>
                <a:gd name="connsiteX72" fmla="*/ 178711 w 489053"/>
                <a:gd name="connsiteY72" fmla="*/ 11729 h 485143"/>
                <a:gd name="connsiteX73" fmla="*/ 181807 w 489053"/>
                <a:gd name="connsiteY73" fmla="*/ 11729 h 485143"/>
                <a:gd name="connsiteX74" fmla="*/ 185554 w 489053"/>
                <a:gd name="connsiteY74" fmla="*/ 7983 h 485143"/>
                <a:gd name="connsiteX75" fmla="*/ 189952 w 489053"/>
                <a:gd name="connsiteY75" fmla="*/ 8471 h 485143"/>
                <a:gd name="connsiteX76" fmla="*/ 190604 w 489053"/>
                <a:gd name="connsiteY76" fmla="*/ 6191 h 485143"/>
                <a:gd name="connsiteX77" fmla="*/ 193211 w 489053"/>
                <a:gd name="connsiteY77" fmla="*/ 6191 h 485143"/>
                <a:gd name="connsiteX78" fmla="*/ 197120 w 489053"/>
                <a:gd name="connsiteY78" fmla="*/ 9123 h 485143"/>
                <a:gd name="connsiteX79" fmla="*/ 200052 w 489053"/>
                <a:gd name="connsiteY79" fmla="*/ 9449 h 485143"/>
                <a:gd name="connsiteX80" fmla="*/ 207384 w 489053"/>
                <a:gd name="connsiteY80" fmla="*/ 15639 h 485143"/>
                <a:gd name="connsiteX81" fmla="*/ 211293 w 489053"/>
                <a:gd name="connsiteY81" fmla="*/ 17106 h 485143"/>
                <a:gd name="connsiteX82" fmla="*/ 218136 w 489053"/>
                <a:gd name="connsiteY82" fmla="*/ 22807 h 485143"/>
                <a:gd name="connsiteX83" fmla="*/ 219602 w 489053"/>
                <a:gd name="connsiteY83" fmla="*/ 24436 h 485143"/>
                <a:gd name="connsiteX84" fmla="*/ 225304 w 489053"/>
                <a:gd name="connsiteY84" fmla="*/ 23948 h 485143"/>
                <a:gd name="connsiteX85" fmla="*/ 230354 w 489053"/>
                <a:gd name="connsiteY85" fmla="*/ 26880 h 485143"/>
                <a:gd name="connsiteX86" fmla="*/ 236707 w 489053"/>
                <a:gd name="connsiteY86" fmla="*/ 27369 h 485143"/>
                <a:gd name="connsiteX87" fmla="*/ 240291 w 489053"/>
                <a:gd name="connsiteY87" fmla="*/ 28020 h 485143"/>
                <a:gd name="connsiteX88" fmla="*/ 243386 w 489053"/>
                <a:gd name="connsiteY88" fmla="*/ 26554 h 485143"/>
                <a:gd name="connsiteX89" fmla="*/ 246808 w 489053"/>
                <a:gd name="connsiteY89" fmla="*/ 26554 h 485143"/>
                <a:gd name="connsiteX90" fmla="*/ 251369 w 489053"/>
                <a:gd name="connsiteY90" fmla="*/ 28346 h 485143"/>
                <a:gd name="connsiteX91" fmla="*/ 257559 w 489053"/>
                <a:gd name="connsiteY91" fmla="*/ 29487 h 485143"/>
                <a:gd name="connsiteX92" fmla="*/ 259840 w 489053"/>
                <a:gd name="connsiteY92" fmla="*/ 30953 h 485143"/>
                <a:gd name="connsiteX93" fmla="*/ 265868 w 489053"/>
                <a:gd name="connsiteY93" fmla="*/ 29650 h 485143"/>
                <a:gd name="connsiteX94" fmla="*/ 266845 w 489053"/>
                <a:gd name="connsiteY94" fmla="*/ 27532 h 485143"/>
                <a:gd name="connsiteX95" fmla="*/ 264076 w 489053"/>
                <a:gd name="connsiteY95" fmla="*/ 25414 h 485143"/>
                <a:gd name="connsiteX96" fmla="*/ 263750 w 489053"/>
                <a:gd name="connsiteY96" fmla="*/ 22482 h 485143"/>
                <a:gd name="connsiteX97" fmla="*/ 267660 w 489053"/>
                <a:gd name="connsiteY97" fmla="*/ 18409 h 485143"/>
                <a:gd name="connsiteX98" fmla="*/ 271407 w 489053"/>
                <a:gd name="connsiteY98" fmla="*/ 13685 h 485143"/>
                <a:gd name="connsiteX99" fmla="*/ 276457 w 489053"/>
                <a:gd name="connsiteY99" fmla="*/ 13847 h 485143"/>
                <a:gd name="connsiteX100" fmla="*/ 281344 w 489053"/>
                <a:gd name="connsiteY100" fmla="*/ 14825 h 485143"/>
                <a:gd name="connsiteX101" fmla="*/ 284114 w 489053"/>
                <a:gd name="connsiteY101" fmla="*/ 17920 h 485143"/>
                <a:gd name="connsiteX102" fmla="*/ 287535 w 489053"/>
                <a:gd name="connsiteY102" fmla="*/ 16617 h 485143"/>
                <a:gd name="connsiteX103" fmla="*/ 298450 w 489053"/>
                <a:gd name="connsiteY103" fmla="*/ 15313 h 485143"/>
                <a:gd name="connsiteX104" fmla="*/ 300405 w 489053"/>
                <a:gd name="connsiteY104" fmla="*/ 12870 h 485143"/>
                <a:gd name="connsiteX105" fmla="*/ 304315 w 489053"/>
                <a:gd name="connsiteY105" fmla="*/ 11241 h 485143"/>
                <a:gd name="connsiteX106" fmla="*/ 315066 w 489053"/>
                <a:gd name="connsiteY106" fmla="*/ 6679 h 485143"/>
                <a:gd name="connsiteX107" fmla="*/ 318488 w 489053"/>
                <a:gd name="connsiteY107" fmla="*/ 7005 h 485143"/>
                <a:gd name="connsiteX108" fmla="*/ 318976 w 489053"/>
                <a:gd name="connsiteY108" fmla="*/ 8797 h 485143"/>
                <a:gd name="connsiteX109" fmla="*/ 320768 w 489053"/>
                <a:gd name="connsiteY109" fmla="*/ 9123 h 485143"/>
                <a:gd name="connsiteX110" fmla="*/ 321909 w 489053"/>
                <a:gd name="connsiteY110" fmla="*/ 12218 h 485143"/>
                <a:gd name="connsiteX111" fmla="*/ 324190 w 489053"/>
                <a:gd name="connsiteY111" fmla="*/ 12218 h 485143"/>
                <a:gd name="connsiteX112" fmla="*/ 327284 w 489053"/>
                <a:gd name="connsiteY112" fmla="*/ 10101 h 485143"/>
                <a:gd name="connsiteX113" fmla="*/ 333475 w 489053"/>
                <a:gd name="connsiteY113" fmla="*/ 9775 h 485143"/>
                <a:gd name="connsiteX114" fmla="*/ 336897 w 489053"/>
                <a:gd name="connsiteY114" fmla="*/ 8960 h 485143"/>
                <a:gd name="connsiteX115" fmla="*/ 339991 w 489053"/>
                <a:gd name="connsiteY115" fmla="*/ 8960 h 485143"/>
                <a:gd name="connsiteX116" fmla="*/ 343250 w 489053"/>
                <a:gd name="connsiteY116" fmla="*/ 4073 h 485143"/>
                <a:gd name="connsiteX117" fmla="*/ 342109 w 489053"/>
                <a:gd name="connsiteY117" fmla="*/ 2281 h 485143"/>
                <a:gd name="connsiteX118" fmla="*/ 342435 w 489053"/>
                <a:gd name="connsiteY118" fmla="*/ 326 h 485143"/>
                <a:gd name="connsiteX119" fmla="*/ 346345 w 489053"/>
                <a:gd name="connsiteY119" fmla="*/ 0 h 485143"/>
                <a:gd name="connsiteX120" fmla="*/ 348626 w 489053"/>
                <a:gd name="connsiteY120" fmla="*/ 2281 h 485143"/>
                <a:gd name="connsiteX121" fmla="*/ 354165 w 489053"/>
                <a:gd name="connsiteY121" fmla="*/ 3258 h 485143"/>
                <a:gd name="connsiteX122" fmla="*/ 357097 w 489053"/>
                <a:gd name="connsiteY122" fmla="*/ 2932 h 485143"/>
                <a:gd name="connsiteX123" fmla="*/ 359541 w 489053"/>
                <a:gd name="connsiteY123" fmla="*/ 4236 h 485143"/>
                <a:gd name="connsiteX124" fmla="*/ 363288 w 489053"/>
                <a:gd name="connsiteY124" fmla="*/ 4887 h 485143"/>
                <a:gd name="connsiteX125" fmla="*/ 367034 w 489053"/>
                <a:gd name="connsiteY125" fmla="*/ 7331 h 485143"/>
                <a:gd name="connsiteX126" fmla="*/ 376646 w 489053"/>
                <a:gd name="connsiteY126" fmla="*/ 7494 h 485143"/>
                <a:gd name="connsiteX127" fmla="*/ 378113 w 489053"/>
                <a:gd name="connsiteY127" fmla="*/ 8309 h 485143"/>
                <a:gd name="connsiteX128" fmla="*/ 385932 w 489053"/>
                <a:gd name="connsiteY128" fmla="*/ 4725 h 485143"/>
                <a:gd name="connsiteX129" fmla="*/ 391797 w 489053"/>
                <a:gd name="connsiteY129" fmla="*/ 5213 h 485143"/>
                <a:gd name="connsiteX130" fmla="*/ 396521 w 489053"/>
                <a:gd name="connsiteY130" fmla="*/ 7983 h 485143"/>
                <a:gd name="connsiteX131" fmla="*/ 398313 w 489053"/>
                <a:gd name="connsiteY131" fmla="*/ 8634 h 485143"/>
                <a:gd name="connsiteX132" fmla="*/ 399127 w 489053"/>
                <a:gd name="connsiteY132" fmla="*/ 12707 h 485143"/>
                <a:gd name="connsiteX133" fmla="*/ 401897 w 489053"/>
                <a:gd name="connsiteY133" fmla="*/ 15965 h 485143"/>
                <a:gd name="connsiteX134" fmla="*/ 404666 w 489053"/>
                <a:gd name="connsiteY134" fmla="*/ 16780 h 485143"/>
                <a:gd name="connsiteX135" fmla="*/ 407599 w 489053"/>
                <a:gd name="connsiteY135" fmla="*/ 19875 h 485143"/>
                <a:gd name="connsiteX136" fmla="*/ 412812 w 489053"/>
                <a:gd name="connsiteY136" fmla="*/ 24274 h 485143"/>
                <a:gd name="connsiteX137" fmla="*/ 417862 w 489053"/>
                <a:gd name="connsiteY137" fmla="*/ 26228 h 485143"/>
                <a:gd name="connsiteX138" fmla="*/ 420795 w 489053"/>
                <a:gd name="connsiteY138" fmla="*/ 25414 h 485143"/>
                <a:gd name="connsiteX139" fmla="*/ 422749 w 489053"/>
                <a:gd name="connsiteY139" fmla="*/ 22156 h 485143"/>
                <a:gd name="connsiteX140" fmla="*/ 425845 w 489053"/>
                <a:gd name="connsiteY140" fmla="*/ 20527 h 485143"/>
                <a:gd name="connsiteX141" fmla="*/ 431872 w 489053"/>
                <a:gd name="connsiteY141" fmla="*/ 20527 h 485143"/>
                <a:gd name="connsiteX142" fmla="*/ 435293 w 489053"/>
                <a:gd name="connsiteY142" fmla="*/ 20690 h 485143"/>
                <a:gd name="connsiteX143" fmla="*/ 435945 w 489053"/>
                <a:gd name="connsiteY143" fmla="*/ 21993 h 485143"/>
                <a:gd name="connsiteX144" fmla="*/ 438063 w 489053"/>
                <a:gd name="connsiteY144" fmla="*/ 22156 h 485143"/>
                <a:gd name="connsiteX145" fmla="*/ 443439 w 489053"/>
                <a:gd name="connsiteY145" fmla="*/ 20690 h 485143"/>
                <a:gd name="connsiteX146" fmla="*/ 445720 w 489053"/>
                <a:gd name="connsiteY146" fmla="*/ 17920 h 485143"/>
                <a:gd name="connsiteX147" fmla="*/ 448489 w 489053"/>
                <a:gd name="connsiteY147" fmla="*/ 14499 h 485143"/>
                <a:gd name="connsiteX148" fmla="*/ 454191 w 489053"/>
                <a:gd name="connsiteY148" fmla="*/ 14825 h 485143"/>
                <a:gd name="connsiteX149" fmla="*/ 456309 w 489053"/>
                <a:gd name="connsiteY149" fmla="*/ 16128 h 485143"/>
                <a:gd name="connsiteX150" fmla="*/ 459404 w 489053"/>
                <a:gd name="connsiteY150" fmla="*/ 22645 h 485143"/>
                <a:gd name="connsiteX151" fmla="*/ 462173 w 489053"/>
                <a:gd name="connsiteY151" fmla="*/ 25903 h 485143"/>
                <a:gd name="connsiteX152" fmla="*/ 463640 w 489053"/>
                <a:gd name="connsiteY152" fmla="*/ 28183 h 485143"/>
                <a:gd name="connsiteX153" fmla="*/ 470319 w 489053"/>
                <a:gd name="connsiteY153" fmla="*/ 30301 h 485143"/>
                <a:gd name="connsiteX154" fmla="*/ 473088 w 489053"/>
                <a:gd name="connsiteY154" fmla="*/ 32908 h 485143"/>
                <a:gd name="connsiteX155" fmla="*/ 475043 w 489053"/>
                <a:gd name="connsiteY155" fmla="*/ 37144 h 485143"/>
                <a:gd name="connsiteX156" fmla="*/ 476509 w 489053"/>
                <a:gd name="connsiteY156" fmla="*/ 39098 h 485143"/>
                <a:gd name="connsiteX157" fmla="*/ 477975 w 489053"/>
                <a:gd name="connsiteY157" fmla="*/ 42845 h 485143"/>
                <a:gd name="connsiteX158" fmla="*/ 478464 w 489053"/>
                <a:gd name="connsiteY158" fmla="*/ 45778 h 485143"/>
                <a:gd name="connsiteX159" fmla="*/ 479442 w 489053"/>
                <a:gd name="connsiteY159" fmla="*/ 45778 h 485143"/>
                <a:gd name="connsiteX160" fmla="*/ 485795 w 489053"/>
                <a:gd name="connsiteY160" fmla="*/ 45615 h 485143"/>
                <a:gd name="connsiteX161" fmla="*/ 487750 w 489053"/>
                <a:gd name="connsiteY161" fmla="*/ 46755 h 485143"/>
                <a:gd name="connsiteX162" fmla="*/ 486447 w 489053"/>
                <a:gd name="connsiteY162" fmla="*/ 51479 h 485143"/>
                <a:gd name="connsiteX163" fmla="*/ 483840 w 489053"/>
                <a:gd name="connsiteY163" fmla="*/ 54901 h 485143"/>
                <a:gd name="connsiteX164" fmla="*/ 483840 w 489053"/>
                <a:gd name="connsiteY164" fmla="*/ 62069 h 485143"/>
                <a:gd name="connsiteX165" fmla="*/ 482374 w 489053"/>
                <a:gd name="connsiteY165" fmla="*/ 70866 h 485143"/>
                <a:gd name="connsiteX166" fmla="*/ 481722 w 489053"/>
                <a:gd name="connsiteY166" fmla="*/ 77382 h 485143"/>
                <a:gd name="connsiteX167" fmla="*/ 484655 w 489053"/>
                <a:gd name="connsiteY167" fmla="*/ 79337 h 485143"/>
                <a:gd name="connsiteX168" fmla="*/ 487099 w 489053"/>
                <a:gd name="connsiteY168" fmla="*/ 82758 h 485143"/>
                <a:gd name="connsiteX169" fmla="*/ 489054 w 489053"/>
                <a:gd name="connsiteY169" fmla="*/ 86994 h 485143"/>
                <a:gd name="connsiteX170" fmla="*/ 488565 w 489053"/>
                <a:gd name="connsiteY170" fmla="*/ 89763 h 485143"/>
                <a:gd name="connsiteX171" fmla="*/ 475532 w 489053"/>
                <a:gd name="connsiteY171" fmla="*/ 107357 h 485143"/>
                <a:gd name="connsiteX172" fmla="*/ 467386 w 489053"/>
                <a:gd name="connsiteY172" fmla="*/ 116317 h 485143"/>
                <a:gd name="connsiteX173" fmla="*/ 465106 w 489053"/>
                <a:gd name="connsiteY173" fmla="*/ 120227 h 485143"/>
                <a:gd name="connsiteX174" fmla="*/ 455168 w 489053"/>
                <a:gd name="connsiteY174" fmla="*/ 137984 h 485143"/>
                <a:gd name="connsiteX175" fmla="*/ 453376 w 489053"/>
                <a:gd name="connsiteY175" fmla="*/ 141242 h 485143"/>
                <a:gd name="connsiteX176" fmla="*/ 453213 w 489053"/>
                <a:gd name="connsiteY176" fmla="*/ 147759 h 485143"/>
                <a:gd name="connsiteX177" fmla="*/ 452399 w 489053"/>
                <a:gd name="connsiteY177" fmla="*/ 157207 h 485143"/>
                <a:gd name="connsiteX178" fmla="*/ 449141 w 489053"/>
                <a:gd name="connsiteY178" fmla="*/ 166493 h 485143"/>
                <a:gd name="connsiteX179" fmla="*/ 449955 w 489053"/>
                <a:gd name="connsiteY179" fmla="*/ 172358 h 485143"/>
                <a:gd name="connsiteX180" fmla="*/ 443113 w 489053"/>
                <a:gd name="connsiteY180" fmla="*/ 178549 h 485143"/>
                <a:gd name="connsiteX181" fmla="*/ 438226 w 489053"/>
                <a:gd name="connsiteY181" fmla="*/ 184250 h 485143"/>
                <a:gd name="connsiteX182" fmla="*/ 434479 w 489053"/>
                <a:gd name="connsiteY182" fmla="*/ 199727 h 485143"/>
                <a:gd name="connsiteX183" fmla="*/ 433502 w 489053"/>
                <a:gd name="connsiteY183" fmla="*/ 206569 h 485143"/>
                <a:gd name="connsiteX184" fmla="*/ 436759 w 489053"/>
                <a:gd name="connsiteY184" fmla="*/ 211945 h 485143"/>
                <a:gd name="connsiteX185" fmla="*/ 437411 w 489053"/>
                <a:gd name="connsiteY185" fmla="*/ 217647 h 485143"/>
                <a:gd name="connsiteX186" fmla="*/ 437411 w 489053"/>
                <a:gd name="connsiteY186" fmla="*/ 224326 h 485143"/>
                <a:gd name="connsiteX187" fmla="*/ 445231 w 489053"/>
                <a:gd name="connsiteY187" fmla="*/ 275805 h 485143"/>
                <a:gd name="connsiteX188" fmla="*/ 451422 w 489053"/>
                <a:gd name="connsiteY188" fmla="*/ 306106 h 485143"/>
                <a:gd name="connsiteX189" fmla="*/ 469504 w 489053"/>
                <a:gd name="connsiteY189" fmla="*/ 331032 h 485143"/>
                <a:gd name="connsiteX190" fmla="*/ 475695 w 489053"/>
                <a:gd name="connsiteY190" fmla="*/ 351232 h 485143"/>
                <a:gd name="connsiteX191" fmla="*/ 471948 w 489053"/>
                <a:gd name="connsiteY191" fmla="*/ 349440 h 485143"/>
                <a:gd name="connsiteX192" fmla="*/ 430243 w 489053"/>
                <a:gd name="connsiteY192" fmla="*/ 359541 h 485143"/>
                <a:gd name="connsiteX193" fmla="*/ 419817 w 489053"/>
                <a:gd name="connsiteY193" fmla="*/ 379416 h 485143"/>
                <a:gd name="connsiteX194" fmla="*/ 421283 w 489053"/>
                <a:gd name="connsiteY194" fmla="*/ 385117 h 485143"/>
                <a:gd name="connsiteX195" fmla="*/ 424053 w 489053"/>
                <a:gd name="connsiteY195" fmla="*/ 387887 h 485143"/>
                <a:gd name="connsiteX196" fmla="*/ 426659 w 489053"/>
                <a:gd name="connsiteY196" fmla="*/ 389190 h 485143"/>
                <a:gd name="connsiteX197" fmla="*/ 426333 w 489053"/>
                <a:gd name="connsiteY197" fmla="*/ 392122 h 485143"/>
                <a:gd name="connsiteX198" fmla="*/ 424704 w 489053"/>
                <a:gd name="connsiteY198" fmla="*/ 393752 h 485143"/>
                <a:gd name="connsiteX199" fmla="*/ 425193 w 489053"/>
                <a:gd name="connsiteY199" fmla="*/ 397336 h 485143"/>
                <a:gd name="connsiteX200" fmla="*/ 424704 w 489053"/>
                <a:gd name="connsiteY200" fmla="*/ 400757 h 485143"/>
                <a:gd name="connsiteX201" fmla="*/ 425193 w 489053"/>
                <a:gd name="connsiteY201" fmla="*/ 404667 h 485143"/>
                <a:gd name="connsiteX202" fmla="*/ 424379 w 489053"/>
                <a:gd name="connsiteY202" fmla="*/ 410043 h 485143"/>
                <a:gd name="connsiteX203" fmla="*/ 422424 w 489053"/>
                <a:gd name="connsiteY203" fmla="*/ 411183 h 485143"/>
                <a:gd name="connsiteX204" fmla="*/ 423401 w 489053"/>
                <a:gd name="connsiteY204" fmla="*/ 412812 h 485143"/>
                <a:gd name="connsiteX205" fmla="*/ 421772 w 489053"/>
                <a:gd name="connsiteY205" fmla="*/ 415418 h 485143"/>
                <a:gd name="connsiteX206" fmla="*/ 416722 w 489053"/>
                <a:gd name="connsiteY206" fmla="*/ 419980 h 485143"/>
                <a:gd name="connsiteX207" fmla="*/ 416233 w 489053"/>
                <a:gd name="connsiteY207" fmla="*/ 423401 h 485143"/>
                <a:gd name="connsiteX208" fmla="*/ 416559 w 489053"/>
                <a:gd name="connsiteY208" fmla="*/ 437574 h 485143"/>
                <a:gd name="connsiteX209" fmla="*/ 416884 w 489053"/>
                <a:gd name="connsiteY209" fmla="*/ 444253 h 485143"/>
                <a:gd name="connsiteX210" fmla="*/ 420306 w 489053"/>
                <a:gd name="connsiteY210" fmla="*/ 446860 h 485143"/>
                <a:gd name="connsiteX211" fmla="*/ 426985 w 489053"/>
                <a:gd name="connsiteY211" fmla="*/ 454191 h 485143"/>
                <a:gd name="connsiteX212" fmla="*/ 428451 w 489053"/>
                <a:gd name="connsiteY212" fmla="*/ 458264 h 485143"/>
                <a:gd name="connsiteX213" fmla="*/ 430895 w 489053"/>
                <a:gd name="connsiteY213" fmla="*/ 461359 h 485143"/>
                <a:gd name="connsiteX214" fmla="*/ 441484 w 489053"/>
                <a:gd name="connsiteY214" fmla="*/ 461685 h 485143"/>
                <a:gd name="connsiteX215" fmla="*/ 442787 w 489053"/>
                <a:gd name="connsiteY215" fmla="*/ 460870 h 485143"/>
                <a:gd name="connsiteX216" fmla="*/ 441158 w 489053"/>
                <a:gd name="connsiteY216" fmla="*/ 458427 h 485143"/>
                <a:gd name="connsiteX217" fmla="*/ 440670 w 489053"/>
                <a:gd name="connsiteY217" fmla="*/ 455494 h 485143"/>
                <a:gd name="connsiteX218" fmla="*/ 446208 w 489053"/>
                <a:gd name="connsiteY218" fmla="*/ 454679 h 485143"/>
                <a:gd name="connsiteX219" fmla="*/ 449466 w 489053"/>
                <a:gd name="connsiteY219" fmla="*/ 455820 h 485143"/>
                <a:gd name="connsiteX220" fmla="*/ 450770 w 489053"/>
                <a:gd name="connsiteY220" fmla="*/ 483026 h 485143"/>
                <a:gd name="connsiteX221" fmla="*/ 449466 w 489053"/>
                <a:gd name="connsiteY221" fmla="*/ 485144 h 485143"/>
                <a:gd name="connsiteX222" fmla="*/ 445231 w 489053"/>
                <a:gd name="connsiteY222" fmla="*/ 484492 h 485143"/>
                <a:gd name="connsiteX223" fmla="*/ 444905 w 489053"/>
                <a:gd name="connsiteY223" fmla="*/ 483026 h 485143"/>
                <a:gd name="connsiteX224" fmla="*/ 443113 w 489053"/>
                <a:gd name="connsiteY224" fmla="*/ 482537 h 485143"/>
                <a:gd name="connsiteX225" fmla="*/ 439203 w 489053"/>
                <a:gd name="connsiteY225" fmla="*/ 484166 h 485143"/>
                <a:gd name="connsiteX226" fmla="*/ 434968 w 489053"/>
                <a:gd name="connsiteY226" fmla="*/ 485144 h 485143"/>
                <a:gd name="connsiteX227" fmla="*/ 431872 w 489053"/>
                <a:gd name="connsiteY227" fmla="*/ 485144 h 485143"/>
                <a:gd name="connsiteX228" fmla="*/ 426333 w 489053"/>
                <a:gd name="connsiteY228" fmla="*/ 480256 h 485143"/>
                <a:gd name="connsiteX229" fmla="*/ 421283 w 489053"/>
                <a:gd name="connsiteY229" fmla="*/ 474392 h 485143"/>
                <a:gd name="connsiteX230" fmla="*/ 416722 w 489053"/>
                <a:gd name="connsiteY230" fmla="*/ 470319 h 485143"/>
                <a:gd name="connsiteX231" fmla="*/ 411346 w 489053"/>
                <a:gd name="connsiteY231" fmla="*/ 463151 h 485143"/>
                <a:gd name="connsiteX232" fmla="*/ 405644 w 489053"/>
                <a:gd name="connsiteY232" fmla="*/ 459404 h 485143"/>
                <a:gd name="connsiteX233" fmla="*/ 396195 w 489053"/>
                <a:gd name="connsiteY233" fmla="*/ 456309 h 485143"/>
                <a:gd name="connsiteX234" fmla="*/ 390005 w 489053"/>
                <a:gd name="connsiteY234" fmla="*/ 452725 h 485143"/>
                <a:gd name="connsiteX235" fmla="*/ 389516 w 489053"/>
                <a:gd name="connsiteY235" fmla="*/ 449955 h 485143"/>
                <a:gd name="connsiteX236" fmla="*/ 385606 w 489053"/>
                <a:gd name="connsiteY236" fmla="*/ 445394 h 485143"/>
                <a:gd name="connsiteX237" fmla="*/ 385606 w 489053"/>
                <a:gd name="connsiteY237" fmla="*/ 438063 h 485143"/>
                <a:gd name="connsiteX238" fmla="*/ 383488 w 489053"/>
                <a:gd name="connsiteY238" fmla="*/ 437411 h 485143"/>
                <a:gd name="connsiteX239" fmla="*/ 381208 w 489053"/>
                <a:gd name="connsiteY239" fmla="*/ 438714 h 485143"/>
                <a:gd name="connsiteX240" fmla="*/ 377786 w 489053"/>
                <a:gd name="connsiteY240" fmla="*/ 439203 h 485143"/>
                <a:gd name="connsiteX241" fmla="*/ 375506 w 489053"/>
                <a:gd name="connsiteY241" fmla="*/ 445883 h 485143"/>
                <a:gd name="connsiteX242" fmla="*/ 375180 w 489053"/>
                <a:gd name="connsiteY242" fmla="*/ 448489 h 485143"/>
                <a:gd name="connsiteX243" fmla="*/ 367360 w 489053"/>
                <a:gd name="connsiteY243" fmla="*/ 451095 h 485143"/>
                <a:gd name="connsiteX244" fmla="*/ 363288 w 489053"/>
                <a:gd name="connsiteY244" fmla="*/ 451095 h 485143"/>
                <a:gd name="connsiteX245" fmla="*/ 362962 w 489053"/>
                <a:gd name="connsiteY245" fmla="*/ 449629 h 485143"/>
                <a:gd name="connsiteX246" fmla="*/ 356934 w 489053"/>
                <a:gd name="connsiteY246" fmla="*/ 448163 h 485143"/>
                <a:gd name="connsiteX247" fmla="*/ 351884 w 489053"/>
                <a:gd name="connsiteY247" fmla="*/ 447349 h 485143"/>
                <a:gd name="connsiteX248" fmla="*/ 345856 w 489053"/>
                <a:gd name="connsiteY248" fmla="*/ 443765 h 485143"/>
                <a:gd name="connsiteX249" fmla="*/ 343413 w 489053"/>
                <a:gd name="connsiteY249" fmla="*/ 443439 h 485143"/>
                <a:gd name="connsiteX250" fmla="*/ 338363 w 489053"/>
                <a:gd name="connsiteY250" fmla="*/ 441158 h 485143"/>
                <a:gd name="connsiteX251" fmla="*/ 336570 w 489053"/>
                <a:gd name="connsiteY251" fmla="*/ 440995 h 485143"/>
                <a:gd name="connsiteX252" fmla="*/ 336897 w 489053"/>
                <a:gd name="connsiteY252" fmla="*/ 439203 h 485143"/>
                <a:gd name="connsiteX253" fmla="*/ 336245 w 489053"/>
                <a:gd name="connsiteY253" fmla="*/ 435619 h 485143"/>
                <a:gd name="connsiteX254" fmla="*/ 335104 w 489053"/>
                <a:gd name="connsiteY254" fmla="*/ 433176 h 485143"/>
                <a:gd name="connsiteX255" fmla="*/ 334779 w 489053"/>
                <a:gd name="connsiteY255" fmla="*/ 428125 h 485143"/>
                <a:gd name="connsiteX256" fmla="*/ 333149 w 489053"/>
                <a:gd name="connsiteY256" fmla="*/ 427637 h 485143"/>
                <a:gd name="connsiteX257" fmla="*/ 326470 w 489053"/>
                <a:gd name="connsiteY257" fmla="*/ 429754 h 485143"/>
                <a:gd name="connsiteX258" fmla="*/ 324841 w 489053"/>
                <a:gd name="connsiteY258" fmla="*/ 431384 h 485143"/>
                <a:gd name="connsiteX259" fmla="*/ 320931 w 489053"/>
                <a:gd name="connsiteY259" fmla="*/ 431384 h 485143"/>
                <a:gd name="connsiteX260" fmla="*/ 317510 w 489053"/>
                <a:gd name="connsiteY260" fmla="*/ 433013 h 485143"/>
                <a:gd name="connsiteX261" fmla="*/ 314741 w 489053"/>
                <a:gd name="connsiteY261" fmla="*/ 435619 h 485143"/>
                <a:gd name="connsiteX262" fmla="*/ 313111 w 489053"/>
                <a:gd name="connsiteY262" fmla="*/ 434968 h 485143"/>
                <a:gd name="connsiteX263" fmla="*/ 312134 w 489053"/>
                <a:gd name="connsiteY263" fmla="*/ 433338 h 485143"/>
                <a:gd name="connsiteX264" fmla="*/ 311808 w 489053"/>
                <a:gd name="connsiteY264" fmla="*/ 428777 h 485143"/>
                <a:gd name="connsiteX265" fmla="*/ 310668 w 489053"/>
                <a:gd name="connsiteY265" fmla="*/ 427148 h 485143"/>
                <a:gd name="connsiteX266" fmla="*/ 306595 w 489053"/>
                <a:gd name="connsiteY266" fmla="*/ 425845 h 485143"/>
                <a:gd name="connsiteX267" fmla="*/ 303663 w 489053"/>
                <a:gd name="connsiteY267" fmla="*/ 425845 h 485143"/>
                <a:gd name="connsiteX268" fmla="*/ 301545 w 489053"/>
                <a:gd name="connsiteY268" fmla="*/ 424216 h 485143"/>
                <a:gd name="connsiteX269" fmla="*/ 301545 w 489053"/>
                <a:gd name="connsiteY269" fmla="*/ 423727 h 485143"/>
                <a:gd name="connsiteX270" fmla="*/ 296821 w 489053"/>
                <a:gd name="connsiteY270" fmla="*/ 424216 h 485143"/>
                <a:gd name="connsiteX271" fmla="*/ 292748 w 489053"/>
                <a:gd name="connsiteY271" fmla="*/ 425845 h 485143"/>
                <a:gd name="connsiteX272" fmla="*/ 288349 w 489053"/>
                <a:gd name="connsiteY272" fmla="*/ 427962 h 485143"/>
                <a:gd name="connsiteX273" fmla="*/ 285906 w 489053"/>
                <a:gd name="connsiteY273" fmla="*/ 428940 h 485143"/>
                <a:gd name="connsiteX274" fmla="*/ 283299 w 489053"/>
                <a:gd name="connsiteY274" fmla="*/ 429592 h 485143"/>
                <a:gd name="connsiteX275" fmla="*/ 280856 w 489053"/>
                <a:gd name="connsiteY275" fmla="*/ 429103 h 485143"/>
                <a:gd name="connsiteX276" fmla="*/ 274339 w 489053"/>
                <a:gd name="connsiteY276" fmla="*/ 428777 h 485143"/>
                <a:gd name="connsiteX277" fmla="*/ 271570 w 489053"/>
                <a:gd name="connsiteY277" fmla="*/ 427962 h 485143"/>
                <a:gd name="connsiteX278" fmla="*/ 267986 w 489053"/>
                <a:gd name="connsiteY278" fmla="*/ 425356 h 485143"/>
                <a:gd name="connsiteX279" fmla="*/ 265379 w 489053"/>
                <a:gd name="connsiteY279" fmla="*/ 425356 h 485143"/>
                <a:gd name="connsiteX280" fmla="*/ 264076 w 489053"/>
                <a:gd name="connsiteY280" fmla="*/ 426333 h 485143"/>
                <a:gd name="connsiteX281" fmla="*/ 261795 w 489053"/>
                <a:gd name="connsiteY281" fmla="*/ 426985 h 485143"/>
                <a:gd name="connsiteX282" fmla="*/ 260329 w 489053"/>
                <a:gd name="connsiteY282" fmla="*/ 428777 h 485143"/>
                <a:gd name="connsiteX283" fmla="*/ 257397 w 489053"/>
                <a:gd name="connsiteY283" fmla="*/ 429103 h 485143"/>
                <a:gd name="connsiteX284" fmla="*/ 256582 w 489053"/>
                <a:gd name="connsiteY284" fmla="*/ 427311 h 485143"/>
                <a:gd name="connsiteX285" fmla="*/ 256745 w 489053"/>
                <a:gd name="connsiteY285" fmla="*/ 422261 h 485143"/>
                <a:gd name="connsiteX286" fmla="*/ 258537 w 489053"/>
                <a:gd name="connsiteY286" fmla="*/ 420794 h 485143"/>
                <a:gd name="connsiteX287" fmla="*/ 258374 w 489053"/>
                <a:gd name="connsiteY287" fmla="*/ 419491 h 485143"/>
                <a:gd name="connsiteX288" fmla="*/ 259840 w 489053"/>
                <a:gd name="connsiteY288" fmla="*/ 415581 h 485143"/>
                <a:gd name="connsiteX289" fmla="*/ 256745 w 489053"/>
                <a:gd name="connsiteY289" fmla="*/ 413138 h 485143"/>
                <a:gd name="connsiteX290" fmla="*/ 255931 w 489053"/>
                <a:gd name="connsiteY290" fmla="*/ 407925 h 485143"/>
                <a:gd name="connsiteX291" fmla="*/ 257234 w 489053"/>
                <a:gd name="connsiteY291" fmla="*/ 406295 h 485143"/>
                <a:gd name="connsiteX292" fmla="*/ 257234 w 489053"/>
                <a:gd name="connsiteY292" fmla="*/ 403526 h 485143"/>
                <a:gd name="connsiteX293" fmla="*/ 253813 w 489053"/>
                <a:gd name="connsiteY293" fmla="*/ 400431 h 485143"/>
                <a:gd name="connsiteX294" fmla="*/ 253813 w 489053"/>
                <a:gd name="connsiteY294" fmla="*/ 397661 h 485143"/>
                <a:gd name="connsiteX295" fmla="*/ 254790 w 489053"/>
                <a:gd name="connsiteY295" fmla="*/ 394403 h 485143"/>
                <a:gd name="connsiteX296" fmla="*/ 254464 w 489053"/>
                <a:gd name="connsiteY296" fmla="*/ 391308 h 485143"/>
                <a:gd name="connsiteX297" fmla="*/ 252347 w 489053"/>
                <a:gd name="connsiteY297" fmla="*/ 390819 h 485143"/>
                <a:gd name="connsiteX298" fmla="*/ 250717 w 489053"/>
                <a:gd name="connsiteY298" fmla="*/ 387724 h 485143"/>
                <a:gd name="connsiteX299" fmla="*/ 249088 w 489053"/>
                <a:gd name="connsiteY299" fmla="*/ 386584 h 485143"/>
                <a:gd name="connsiteX300" fmla="*/ 249088 w 489053"/>
                <a:gd name="connsiteY300" fmla="*/ 383814 h 485143"/>
                <a:gd name="connsiteX301" fmla="*/ 246808 w 489053"/>
                <a:gd name="connsiteY301" fmla="*/ 380719 h 485143"/>
                <a:gd name="connsiteX302" fmla="*/ 246645 w 489053"/>
                <a:gd name="connsiteY302" fmla="*/ 378112 h 485143"/>
                <a:gd name="connsiteX303" fmla="*/ 245341 w 489053"/>
                <a:gd name="connsiteY303" fmla="*/ 375994 h 485143"/>
                <a:gd name="connsiteX304" fmla="*/ 247459 w 489053"/>
                <a:gd name="connsiteY304" fmla="*/ 370781 h 485143"/>
                <a:gd name="connsiteX305" fmla="*/ 246645 w 489053"/>
                <a:gd name="connsiteY305" fmla="*/ 361495 h 485143"/>
                <a:gd name="connsiteX306" fmla="*/ 245504 w 489053"/>
                <a:gd name="connsiteY306" fmla="*/ 358400 h 485143"/>
                <a:gd name="connsiteX307" fmla="*/ 246156 w 489053"/>
                <a:gd name="connsiteY307" fmla="*/ 356608 h 485143"/>
                <a:gd name="connsiteX308" fmla="*/ 247459 w 489053"/>
                <a:gd name="connsiteY308" fmla="*/ 354653 h 485143"/>
                <a:gd name="connsiteX309" fmla="*/ 247459 w 489053"/>
                <a:gd name="connsiteY309" fmla="*/ 351069 h 485143"/>
                <a:gd name="connsiteX310" fmla="*/ 244690 w 489053"/>
                <a:gd name="connsiteY310" fmla="*/ 346997 h 485143"/>
                <a:gd name="connsiteX311" fmla="*/ 245504 w 489053"/>
                <a:gd name="connsiteY311" fmla="*/ 342761 h 485143"/>
                <a:gd name="connsiteX312" fmla="*/ 247785 w 489053"/>
                <a:gd name="connsiteY312" fmla="*/ 338525 h 485143"/>
                <a:gd name="connsiteX313" fmla="*/ 247785 w 489053"/>
                <a:gd name="connsiteY313" fmla="*/ 334778 h 485143"/>
                <a:gd name="connsiteX314" fmla="*/ 248111 w 489053"/>
                <a:gd name="connsiteY314" fmla="*/ 330869 h 485143"/>
                <a:gd name="connsiteX315" fmla="*/ 247459 w 489053"/>
                <a:gd name="connsiteY315" fmla="*/ 327773 h 485143"/>
                <a:gd name="connsiteX316" fmla="*/ 217647 w 489053"/>
                <a:gd name="connsiteY316" fmla="*/ 325655 h 485143"/>
                <a:gd name="connsiteX317" fmla="*/ 216995 w 489053"/>
                <a:gd name="connsiteY317" fmla="*/ 323049 h 485143"/>
                <a:gd name="connsiteX318" fmla="*/ 218624 w 489053"/>
                <a:gd name="connsiteY318" fmla="*/ 320279 h 485143"/>
                <a:gd name="connsiteX319" fmla="*/ 218787 w 489053"/>
                <a:gd name="connsiteY319" fmla="*/ 317347 h 485143"/>
                <a:gd name="connsiteX320" fmla="*/ 211131 w 489053"/>
                <a:gd name="connsiteY320" fmla="*/ 316533 h 485143"/>
                <a:gd name="connsiteX321" fmla="*/ 210968 w 489053"/>
                <a:gd name="connsiteY321" fmla="*/ 318976 h 485143"/>
                <a:gd name="connsiteX322" fmla="*/ 186042 w 489053"/>
                <a:gd name="connsiteY322" fmla="*/ 319302 h 485143"/>
                <a:gd name="connsiteX323" fmla="*/ 185228 w 489053"/>
                <a:gd name="connsiteY323" fmla="*/ 326796 h 485143"/>
                <a:gd name="connsiteX324" fmla="*/ 183436 w 489053"/>
                <a:gd name="connsiteY324" fmla="*/ 330869 h 485143"/>
                <a:gd name="connsiteX325" fmla="*/ 181318 w 489053"/>
                <a:gd name="connsiteY325" fmla="*/ 331846 h 485143"/>
                <a:gd name="connsiteX326" fmla="*/ 181970 w 489053"/>
                <a:gd name="connsiteY326" fmla="*/ 336896 h 485143"/>
                <a:gd name="connsiteX327" fmla="*/ 182133 w 489053"/>
                <a:gd name="connsiteY327" fmla="*/ 343901 h 485143"/>
                <a:gd name="connsiteX328" fmla="*/ 162747 w 489053"/>
                <a:gd name="connsiteY328" fmla="*/ 345205 h 485143"/>
                <a:gd name="connsiteX329" fmla="*/ 159488 w 489053"/>
                <a:gd name="connsiteY329" fmla="*/ 346997 h 485143"/>
                <a:gd name="connsiteX330" fmla="*/ 150691 w 489053"/>
                <a:gd name="connsiteY330" fmla="*/ 346508 h 485143"/>
                <a:gd name="connsiteX331" fmla="*/ 147922 w 489053"/>
                <a:gd name="connsiteY331" fmla="*/ 345530 h 485143"/>
                <a:gd name="connsiteX332" fmla="*/ 143034 w 489053"/>
                <a:gd name="connsiteY332" fmla="*/ 346508 h 485143"/>
                <a:gd name="connsiteX333" fmla="*/ 136355 w 489053"/>
                <a:gd name="connsiteY333" fmla="*/ 346834 h 485143"/>
                <a:gd name="connsiteX334" fmla="*/ 133586 w 489053"/>
                <a:gd name="connsiteY334" fmla="*/ 345368 h 485143"/>
                <a:gd name="connsiteX335" fmla="*/ 132120 w 489053"/>
                <a:gd name="connsiteY335" fmla="*/ 336082 h 485143"/>
                <a:gd name="connsiteX336" fmla="*/ 128699 w 489053"/>
                <a:gd name="connsiteY336" fmla="*/ 331357 h 485143"/>
                <a:gd name="connsiteX337" fmla="*/ 126581 w 489053"/>
                <a:gd name="connsiteY337" fmla="*/ 328099 h 485143"/>
                <a:gd name="connsiteX338" fmla="*/ 124300 w 489053"/>
                <a:gd name="connsiteY338" fmla="*/ 326307 h 485143"/>
                <a:gd name="connsiteX339" fmla="*/ 124137 w 489053"/>
                <a:gd name="connsiteY339" fmla="*/ 323375 h 485143"/>
                <a:gd name="connsiteX340" fmla="*/ 123159 w 489053"/>
                <a:gd name="connsiteY340" fmla="*/ 321257 h 485143"/>
                <a:gd name="connsiteX341" fmla="*/ 121693 w 489053"/>
                <a:gd name="connsiteY341" fmla="*/ 315066 h 485143"/>
                <a:gd name="connsiteX342" fmla="*/ 118924 w 489053"/>
                <a:gd name="connsiteY342" fmla="*/ 310505 h 485143"/>
                <a:gd name="connsiteX343" fmla="*/ 118924 w 489053"/>
                <a:gd name="connsiteY343" fmla="*/ 306758 h 485143"/>
                <a:gd name="connsiteX344" fmla="*/ 120227 w 489053"/>
                <a:gd name="connsiteY344" fmla="*/ 304477 h 485143"/>
                <a:gd name="connsiteX345" fmla="*/ 119738 w 489053"/>
                <a:gd name="connsiteY345" fmla="*/ 301382 h 485143"/>
                <a:gd name="connsiteX346" fmla="*/ 117620 w 489053"/>
                <a:gd name="connsiteY346" fmla="*/ 298613 h 485143"/>
                <a:gd name="connsiteX347" fmla="*/ 116806 w 489053"/>
                <a:gd name="connsiteY347" fmla="*/ 295517 h 485143"/>
                <a:gd name="connsiteX348" fmla="*/ 117458 w 489053"/>
                <a:gd name="connsiteY348" fmla="*/ 294377 h 485143"/>
                <a:gd name="connsiteX349" fmla="*/ 117458 w 489053"/>
                <a:gd name="connsiteY349" fmla="*/ 290793 h 485143"/>
                <a:gd name="connsiteX350" fmla="*/ 90741 w 489053"/>
                <a:gd name="connsiteY350" fmla="*/ 290630 h 485143"/>
                <a:gd name="connsiteX351" fmla="*/ 72658 w 489053"/>
                <a:gd name="connsiteY351" fmla="*/ 290630 h 485143"/>
                <a:gd name="connsiteX352" fmla="*/ 63861 w 489053"/>
                <a:gd name="connsiteY352" fmla="*/ 291282 h 485143"/>
                <a:gd name="connsiteX353" fmla="*/ 55715 w 489053"/>
                <a:gd name="connsiteY353" fmla="*/ 290956 h 485143"/>
                <a:gd name="connsiteX354" fmla="*/ 51642 w 489053"/>
                <a:gd name="connsiteY354" fmla="*/ 290630 h 485143"/>
                <a:gd name="connsiteX355" fmla="*/ 44149 w 489053"/>
                <a:gd name="connsiteY355" fmla="*/ 290956 h 485143"/>
                <a:gd name="connsiteX356" fmla="*/ 38284 w 489053"/>
                <a:gd name="connsiteY356" fmla="*/ 291119 h 485143"/>
                <a:gd name="connsiteX357" fmla="*/ 33071 w 489053"/>
                <a:gd name="connsiteY357" fmla="*/ 291119 h 485143"/>
                <a:gd name="connsiteX358" fmla="*/ 29650 w 489053"/>
                <a:gd name="connsiteY358" fmla="*/ 290793 h 485143"/>
                <a:gd name="connsiteX359" fmla="*/ 25740 w 489053"/>
                <a:gd name="connsiteY359" fmla="*/ 290467 h 485143"/>
                <a:gd name="connsiteX360" fmla="*/ 21667 w 489053"/>
                <a:gd name="connsiteY360" fmla="*/ 291282 h 485143"/>
                <a:gd name="connsiteX361" fmla="*/ 17268 w 489053"/>
                <a:gd name="connsiteY361" fmla="*/ 292585 h 485143"/>
                <a:gd name="connsiteX362" fmla="*/ 15640 w 489053"/>
                <a:gd name="connsiteY362" fmla="*/ 293400 h 485143"/>
                <a:gd name="connsiteX363" fmla="*/ 13684 w 489053"/>
                <a:gd name="connsiteY363" fmla="*/ 293400 h 485143"/>
                <a:gd name="connsiteX364" fmla="*/ 12707 w 489053"/>
                <a:gd name="connsiteY364" fmla="*/ 294540 h 485143"/>
                <a:gd name="connsiteX365" fmla="*/ 12218 w 489053"/>
                <a:gd name="connsiteY365" fmla="*/ 294866 h 485143"/>
                <a:gd name="connsiteX366" fmla="*/ 11729 w 489053"/>
                <a:gd name="connsiteY366" fmla="*/ 294866 h 485143"/>
                <a:gd name="connsiteX367" fmla="*/ 11729 w 489053"/>
                <a:gd name="connsiteY367" fmla="*/ 294866 h 485143"/>
                <a:gd name="connsiteX368" fmla="*/ 8634 w 489053"/>
                <a:gd name="connsiteY368" fmla="*/ 292585 h 485143"/>
                <a:gd name="connsiteX369" fmla="*/ 1304 w 489053"/>
                <a:gd name="connsiteY369" fmla="*/ 292259 h 485143"/>
                <a:gd name="connsiteX370" fmla="*/ 0 w 489053"/>
                <a:gd name="connsiteY370" fmla="*/ 289327 h 4851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</a:cxnLst>
              <a:rect l="l" t="t" r="r" b="b"/>
              <a:pathLst>
                <a:path w="489053" h="485143">
                  <a:moveTo>
                    <a:pt x="0" y="289327"/>
                  </a:moveTo>
                  <a:lnTo>
                    <a:pt x="4725" y="286231"/>
                  </a:lnTo>
                  <a:lnTo>
                    <a:pt x="9612" y="285417"/>
                  </a:lnTo>
                  <a:lnTo>
                    <a:pt x="12544" y="282647"/>
                  </a:lnTo>
                  <a:lnTo>
                    <a:pt x="12056" y="273362"/>
                  </a:lnTo>
                  <a:lnTo>
                    <a:pt x="14010" y="270592"/>
                  </a:lnTo>
                  <a:lnTo>
                    <a:pt x="19549" y="266031"/>
                  </a:lnTo>
                  <a:lnTo>
                    <a:pt x="25251" y="260818"/>
                  </a:lnTo>
                  <a:lnTo>
                    <a:pt x="28347" y="260981"/>
                  </a:lnTo>
                  <a:lnTo>
                    <a:pt x="32093" y="259189"/>
                  </a:lnTo>
                  <a:lnTo>
                    <a:pt x="33559" y="261958"/>
                  </a:lnTo>
                  <a:lnTo>
                    <a:pt x="33397" y="264239"/>
                  </a:lnTo>
                  <a:lnTo>
                    <a:pt x="38284" y="264239"/>
                  </a:lnTo>
                  <a:lnTo>
                    <a:pt x="41216" y="260818"/>
                  </a:lnTo>
                  <a:lnTo>
                    <a:pt x="41379" y="255279"/>
                  </a:lnTo>
                  <a:lnTo>
                    <a:pt x="44963" y="254953"/>
                  </a:lnTo>
                  <a:lnTo>
                    <a:pt x="48384" y="255930"/>
                  </a:lnTo>
                  <a:lnTo>
                    <a:pt x="53597" y="251369"/>
                  </a:lnTo>
                  <a:lnTo>
                    <a:pt x="61580" y="248762"/>
                  </a:lnTo>
                  <a:lnTo>
                    <a:pt x="61091" y="251206"/>
                  </a:lnTo>
                  <a:lnTo>
                    <a:pt x="58159" y="256908"/>
                  </a:lnTo>
                  <a:lnTo>
                    <a:pt x="59462" y="258048"/>
                  </a:lnTo>
                  <a:lnTo>
                    <a:pt x="60928" y="262447"/>
                  </a:lnTo>
                  <a:lnTo>
                    <a:pt x="66956" y="265868"/>
                  </a:lnTo>
                  <a:lnTo>
                    <a:pt x="73147" y="263424"/>
                  </a:lnTo>
                  <a:lnTo>
                    <a:pt x="76731" y="257885"/>
                  </a:lnTo>
                  <a:lnTo>
                    <a:pt x="87320" y="247622"/>
                  </a:lnTo>
                  <a:lnTo>
                    <a:pt x="88949" y="243875"/>
                  </a:lnTo>
                  <a:lnTo>
                    <a:pt x="93021" y="241106"/>
                  </a:lnTo>
                  <a:lnTo>
                    <a:pt x="97583" y="239965"/>
                  </a:lnTo>
                  <a:lnTo>
                    <a:pt x="101818" y="233123"/>
                  </a:lnTo>
                  <a:lnTo>
                    <a:pt x="101656" y="228562"/>
                  </a:lnTo>
                  <a:lnTo>
                    <a:pt x="103284" y="221557"/>
                  </a:lnTo>
                  <a:lnTo>
                    <a:pt x="104262" y="207546"/>
                  </a:lnTo>
                  <a:lnTo>
                    <a:pt x="102796" y="205428"/>
                  </a:lnTo>
                  <a:lnTo>
                    <a:pt x="101656" y="198261"/>
                  </a:lnTo>
                  <a:lnTo>
                    <a:pt x="104588" y="192885"/>
                  </a:lnTo>
                  <a:lnTo>
                    <a:pt x="112245" y="184739"/>
                  </a:lnTo>
                  <a:lnTo>
                    <a:pt x="112408" y="179200"/>
                  </a:lnTo>
                  <a:lnTo>
                    <a:pt x="117295" y="173010"/>
                  </a:lnTo>
                  <a:lnTo>
                    <a:pt x="123322" y="168937"/>
                  </a:lnTo>
                  <a:lnTo>
                    <a:pt x="126418" y="169914"/>
                  </a:lnTo>
                  <a:lnTo>
                    <a:pt x="130979" y="166493"/>
                  </a:lnTo>
                  <a:lnTo>
                    <a:pt x="135866" y="165027"/>
                  </a:lnTo>
                  <a:lnTo>
                    <a:pt x="144012" y="151669"/>
                  </a:lnTo>
                  <a:lnTo>
                    <a:pt x="144175" y="143034"/>
                  </a:lnTo>
                  <a:lnTo>
                    <a:pt x="146456" y="134563"/>
                  </a:lnTo>
                  <a:lnTo>
                    <a:pt x="150040" y="132934"/>
                  </a:lnTo>
                  <a:lnTo>
                    <a:pt x="150854" y="125766"/>
                  </a:lnTo>
                  <a:lnTo>
                    <a:pt x="149714" y="124300"/>
                  </a:lnTo>
                  <a:lnTo>
                    <a:pt x="151180" y="116480"/>
                  </a:lnTo>
                  <a:lnTo>
                    <a:pt x="150528" y="113385"/>
                  </a:lnTo>
                  <a:lnTo>
                    <a:pt x="151180" y="105728"/>
                  </a:lnTo>
                  <a:lnTo>
                    <a:pt x="154927" y="101004"/>
                  </a:lnTo>
                  <a:lnTo>
                    <a:pt x="155252" y="95302"/>
                  </a:lnTo>
                  <a:lnTo>
                    <a:pt x="156719" y="89763"/>
                  </a:lnTo>
                  <a:lnTo>
                    <a:pt x="154601" y="80966"/>
                  </a:lnTo>
                  <a:lnTo>
                    <a:pt x="165516" y="66793"/>
                  </a:lnTo>
                  <a:lnTo>
                    <a:pt x="166656" y="62069"/>
                  </a:lnTo>
                  <a:lnTo>
                    <a:pt x="171706" y="59625"/>
                  </a:lnTo>
                  <a:lnTo>
                    <a:pt x="171543" y="49199"/>
                  </a:lnTo>
                  <a:lnTo>
                    <a:pt x="169100" y="44311"/>
                  </a:lnTo>
                  <a:lnTo>
                    <a:pt x="169426" y="38772"/>
                  </a:lnTo>
                  <a:lnTo>
                    <a:pt x="170729" y="35026"/>
                  </a:lnTo>
                  <a:lnTo>
                    <a:pt x="172358" y="32908"/>
                  </a:lnTo>
                  <a:lnTo>
                    <a:pt x="168285" y="27532"/>
                  </a:lnTo>
                  <a:lnTo>
                    <a:pt x="168285" y="24599"/>
                  </a:lnTo>
                  <a:lnTo>
                    <a:pt x="171869" y="24436"/>
                  </a:lnTo>
                  <a:lnTo>
                    <a:pt x="173824" y="22482"/>
                  </a:lnTo>
                  <a:lnTo>
                    <a:pt x="173824" y="19712"/>
                  </a:lnTo>
                  <a:lnTo>
                    <a:pt x="176268" y="16780"/>
                  </a:lnTo>
                  <a:lnTo>
                    <a:pt x="176757" y="13359"/>
                  </a:lnTo>
                  <a:lnTo>
                    <a:pt x="178711" y="11729"/>
                  </a:lnTo>
                  <a:lnTo>
                    <a:pt x="181807" y="11729"/>
                  </a:lnTo>
                  <a:lnTo>
                    <a:pt x="185554" y="7983"/>
                  </a:lnTo>
                  <a:lnTo>
                    <a:pt x="189952" y="8471"/>
                  </a:lnTo>
                  <a:lnTo>
                    <a:pt x="190604" y="6191"/>
                  </a:lnTo>
                  <a:lnTo>
                    <a:pt x="193211" y="6191"/>
                  </a:lnTo>
                  <a:lnTo>
                    <a:pt x="197120" y="9123"/>
                  </a:lnTo>
                  <a:lnTo>
                    <a:pt x="200052" y="9449"/>
                  </a:lnTo>
                  <a:lnTo>
                    <a:pt x="207384" y="15639"/>
                  </a:lnTo>
                  <a:lnTo>
                    <a:pt x="211293" y="17106"/>
                  </a:lnTo>
                  <a:lnTo>
                    <a:pt x="218136" y="22807"/>
                  </a:lnTo>
                  <a:lnTo>
                    <a:pt x="219602" y="24436"/>
                  </a:lnTo>
                  <a:lnTo>
                    <a:pt x="225304" y="23948"/>
                  </a:lnTo>
                  <a:lnTo>
                    <a:pt x="230354" y="26880"/>
                  </a:lnTo>
                  <a:lnTo>
                    <a:pt x="236707" y="27369"/>
                  </a:lnTo>
                  <a:lnTo>
                    <a:pt x="240291" y="28020"/>
                  </a:lnTo>
                  <a:lnTo>
                    <a:pt x="243386" y="26554"/>
                  </a:lnTo>
                  <a:lnTo>
                    <a:pt x="246808" y="26554"/>
                  </a:lnTo>
                  <a:lnTo>
                    <a:pt x="251369" y="28346"/>
                  </a:lnTo>
                  <a:lnTo>
                    <a:pt x="257559" y="29487"/>
                  </a:lnTo>
                  <a:lnTo>
                    <a:pt x="259840" y="30953"/>
                  </a:lnTo>
                  <a:lnTo>
                    <a:pt x="265868" y="29650"/>
                  </a:lnTo>
                  <a:lnTo>
                    <a:pt x="266845" y="27532"/>
                  </a:lnTo>
                  <a:lnTo>
                    <a:pt x="264076" y="25414"/>
                  </a:lnTo>
                  <a:lnTo>
                    <a:pt x="263750" y="22482"/>
                  </a:lnTo>
                  <a:lnTo>
                    <a:pt x="267660" y="18409"/>
                  </a:lnTo>
                  <a:lnTo>
                    <a:pt x="271407" y="13685"/>
                  </a:lnTo>
                  <a:lnTo>
                    <a:pt x="276457" y="13847"/>
                  </a:lnTo>
                  <a:lnTo>
                    <a:pt x="281344" y="14825"/>
                  </a:lnTo>
                  <a:lnTo>
                    <a:pt x="284114" y="17920"/>
                  </a:lnTo>
                  <a:lnTo>
                    <a:pt x="287535" y="16617"/>
                  </a:lnTo>
                  <a:lnTo>
                    <a:pt x="298450" y="15313"/>
                  </a:lnTo>
                  <a:lnTo>
                    <a:pt x="300405" y="12870"/>
                  </a:lnTo>
                  <a:lnTo>
                    <a:pt x="304315" y="11241"/>
                  </a:lnTo>
                  <a:lnTo>
                    <a:pt x="315066" y="6679"/>
                  </a:lnTo>
                  <a:lnTo>
                    <a:pt x="318488" y="7005"/>
                  </a:lnTo>
                  <a:lnTo>
                    <a:pt x="318976" y="8797"/>
                  </a:lnTo>
                  <a:lnTo>
                    <a:pt x="320768" y="9123"/>
                  </a:lnTo>
                  <a:lnTo>
                    <a:pt x="321909" y="12218"/>
                  </a:lnTo>
                  <a:lnTo>
                    <a:pt x="324190" y="12218"/>
                  </a:lnTo>
                  <a:lnTo>
                    <a:pt x="327284" y="10101"/>
                  </a:lnTo>
                  <a:lnTo>
                    <a:pt x="333475" y="9775"/>
                  </a:lnTo>
                  <a:lnTo>
                    <a:pt x="336897" y="8960"/>
                  </a:lnTo>
                  <a:lnTo>
                    <a:pt x="339991" y="8960"/>
                  </a:lnTo>
                  <a:lnTo>
                    <a:pt x="343250" y="4073"/>
                  </a:lnTo>
                  <a:lnTo>
                    <a:pt x="342109" y="2281"/>
                  </a:lnTo>
                  <a:lnTo>
                    <a:pt x="342435" y="326"/>
                  </a:lnTo>
                  <a:lnTo>
                    <a:pt x="346345" y="0"/>
                  </a:lnTo>
                  <a:lnTo>
                    <a:pt x="348626" y="2281"/>
                  </a:lnTo>
                  <a:lnTo>
                    <a:pt x="354165" y="3258"/>
                  </a:lnTo>
                  <a:lnTo>
                    <a:pt x="357097" y="2932"/>
                  </a:lnTo>
                  <a:lnTo>
                    <a:pt x="359541" y="4236"/>
                  </a:lnTo>
                  <a:lnTo>
                    <a:pt x="363288" y="4887"/>
                  </a:lnTo>
                  <a:lnTo>
                    <a:pt x="367034" y="7331"/>
                  </a:lnTo>
                  <a:lnTo>
                    <a:pt x="376646" y="7494"/>
                  </a:lnTo>
                  <a:lnTo>
                    <a:pt x="378113" y="8309"/>
                  </a:lnTo>
                  <a:lnTo>
                    <a:pt x="385932" y="4725"/>
                  </a:lnTo>
                  <a:lnTo>
                    <a:pt x="391797" y="5213"/>
                  </a:lnTo>
                  <a:lnTo>
                    <a:pt x="396521" y="7983"/>
                  </a:lnTo>
                  <a:lnTo>
                    <a:pt x="398313" y="8634"/>
                  </a:lnTo>
                  <a:lnTo>
                    <a:pt x="399127" y="12707"/>
                  </a:lnTo>
                  <a:lnTo>
                    <a:pt x="401897" y="15965"/>
                  </a:lnTo>
                  <a:lnTo>
                    <a:pt x="404666" y="16780"/>
                  </a:lnTo>
                  <a:lnTo>
                    <a:pt x="407599" y="19875"/>
                  </a:lnTo>
                  <a:lnTo>
                    <a:pt x="412812" y="24274"/>
                  </a:lnTo>
                  <a:lnTo>
                    <a:pt x="417862" y="26228"/>
                  </a:lnTo>
                  <a:lnTo>
                    <a:pt x="420795" y="25414"/>
                  </a:lnTo>
                  <a:lnTo>
                    <a:pt x="422749" y="22156"/>
                  </a:lnTo>
                  <a:lnTo>
                    <a:pt x="425845" y="20527"/>
                  </a:lnTo>
                  <a:lnTo>
                    <a:pt x="431872" y="20527"/>
                  </a:lnTo>
                  <a:lnTo>
                    <a:pt x="435293" y="20690"/>
                  </a:lnTo>
                  <a:lnTo>
                    <a:pt x="435945" y="21993"/>
                  </a:lnTo>
                  <a:lnTo>
                    <a:pt x="438063" y="22156"/>
                  </a:lnTo>
                  <a:lnTo>
                    <a:pt x="443439" y="20690"/>
                  </a:lnTo>
                  <a:lnTo>
                    <a:pt x="445720" y="17920"/>
                  </a:lnTo>
                  <a:lnTo>
                    <a:pt x="448489" y="14499"/>
                  </a:lnTo>
                  <a:lnTo>
                    <a:pt x="454191" y="14825"/>
                  </a:lnTo>
                  <a:lnTo>
                    <a:pt x="456309" y="16128"/>
                  </a:lnTo>
                  <a:lnTo>
                    <a:pt x="459404" y="22645"/>
                  </a:lnTo>
                  <a:lnTo>
                    <a:pt x="462173" y="25903"/>
                  </a:lnTo>
                  <a:lnTo>
                    <a:pt x="463640" y="28183"/>
                  </a:lnTo>
                  <a:lnTo>
                    <a:pt x="470319" y="30301"/>
                  </a:lnTo>
                  <a:lnTo>
                    <a:pt x="473088" y="32908"/>
                  </a:lnTo>
                  <a:lnTo>
                    <a:pt x="475043" y="37144"/>
                  </a:lnTo>
                  <a:lnTo>
                    <a:pt x="476509" y="39098"/>
                  </a:lnTo>
                  <a:lnTo>
                    <a:pt x="477975" y="42845"/>
                  </a:lnTo>
                  <a:lnTo>
                    <a:pt x="478464" y="45778"/>
                  </a:lnTo>
                  <a:lnTo>
                    <a:pt x="479442" y="45778"/>
                  </a:lnTo>
                  <a:lnTo>
                    <a:pt x="485795" y="45615"/>
                  </a:lnTo>
                  <a:lnTo>
                    <a:pt x="487750" y="46755"/>
                  </a:lnTo>
                  <a:lnTo>
                    <a:pt x="486447" y="51479"/>
                  </a:lnTo>
                  <a:lnTo>
                    <a:pt x="483840" y="54901"/>
                  </a:lnTo>
                  <a:lnTo>
                    <a:pt x="483840" y="62069"/>
                  </a:lnTo>
                  <a:lnTo>
                    <a:pt x="482374" y="70866"/>
                  </a:lnTo>
                  <a:lnTo>
                    <a:pt x="481722" y="77382"/>
                  </a:lnTo>
                  <a:lnTo>
                    <a:pt x="484655" y="79337"/>
                  </a:lnTo>
                  <a:lnTo>
                    <a:pt x="487099" y="82758"/>
                  </a:lnTo>
                  <a:lnTo>
                    <a:pt x="489054" y="86994"/>
                  </a:lnTo>
                  <a:lnTo>
                    <a:pt x="488565" y="89763"/>
                  </a:lnTo>
                  <a:lnTo>
                    <a:pt x="475532" y="107357"/>
                  </a:lnTo>
                  <a:lnTo>
                    <a:pt x="467386" y="116317"/>
                  </a:lnTo>
                  <a:lnTo>
                    <a:pt x="465106" y="120227"/>
                  </a:lnTo>
                  <a:lnTo>
                    <a:pt x="455168" y="137984"/>
                  </a:lnTo>
                  <a:lnTo>
                    <a:pt x="453376" y="141242"/>
                  </a:lnTo>
                  <a:lnTo>
                    <a:pt x="453213" y="147759"/>
                  </a:lnTo>
                  <a:lnTo>
                    <a:pt x="452399" y="157207"/>
                  </a:lnTo>
                  <a:lnTo>
                    <a:pt x="449141" y="166493"/>
                  </a:lnTo>
                  <a:lnTo>
                    <a:pt x="449955" y="172358"/>
                  </a:lnTo>
                  <a:lnTo>
                    <a:pt x="443113" y="178549"/>
                  </a:lnTo>
                  <a:lnTo>
                    <a:pt x="438226" y="184250"/>
                  </a:lnTo>
                  <a:lnTo>
                    <a:pt x="434479" y="199727"/>
                  </a:lnTo>
                  <a:lnTo>
                    <a:pt x="433502" y="206569"/>
                  </a:lnTo>
                  <a:lnTo>
                    <a:pt x="436759" y="211945"/>
                  </a:lnTo>
                  <a:lnTo>
                    <a:pt x="437411" y="217647"/>
                  </a:lnTo>
                  <a:lnTo>
                    <a:pt x="437411" y="224326"/>
                  </a:lnTo>
                  <a:lnTo>
                    <a:pt x="445231" y="275805"/>
                  </a:lnTo>
                  <a:lnTo>
                    <a:pt x="451422" y="306106"/>
                  </a:lnTo>
                  <a:lnTo>
                    <a:pt x="469504" y="331032"/>
                  </a:lnTo>
                  <a:lnTo>
                    <a:pt x="475695" y="351232"/>
                  </a:lnTo>
                  <a:lnTo>
                    <a:pt x="471948" y="349440"/>
                  </a:lnTo>
                  <a:lnTo>
                    <a:pt x="430243" y="359541"/>
                  </a:lnTo>
                  <a:lnTo>
                    <a:pt x="419817" y="379416"/>
                  </a:lnTo>
                  <a:lnTo>
                    <a:pt x="421283" y="385117"/>
                  </a:lnTo>
                  <a:lnTo>
                    <a:pt x="424053" y="387887"/>
                  </a:lnTo>
                  <a:lnTo>
                    <a:pt x="426659" y="389190"/>
                  </a:lnTo>
                  <a:lnTo>
                    <a:pt x="426333" y="392122"/>
                  </a:lnTo>
                  <a:lnTo>
                    <a:pt x="424704" y="393752"/>
                  </a:lnTo>
                  <a:lnTo>
                    <a:pt x="425193" y="397336"/>
                  </a:lnTo>
                  <a:lnTo>
                    <a:pt x="424704" y="400757"/>
                  </a:lnTo>
                  <a:lnTo>
                    <a:pt x="425193" y="404667"/>
                  </a:lnTo>
                  <a:lnTo>
                    <a:pt x="424379" y="410043"/>
                  </a:lnTo>
                  <a:lnTo>
                    <a:pt x="422424" y="411183"/>
                  </a:lnTo>
                  <a:lnTo>
                    <a:pt x="423401" y="412812"/>
                  </a:lnTo>
                  <a:lnTo>
                    <a:pt x="421772" y="415418"/>
                  </a:lnTo>
                  <a:lnTo>
                    <a:pt x="416722" y="419980"/>
                  </a:lnTo>
                  <a:lnTo>
                    <a:pt x="416233" y="423401"/>
                  </a:lnTo>
                  <a:lnTo>
                    <a:pt x="416559" y="437574"/>
                  </a:lnTo>
                  <a:lnTo>
                    <a:pt x="416884" y="444253"/>
                  </a:lnTo>
                  <a:lnTo>
                    <a:pt x="420306" y="446860"/>
                  </a:lnTo>
                  <a:lnTo>
                    <a:pt x="426985" y="454191"/>
                  </a:lnTo>
                  <a:lnTo>
                    <a:pt x="428451" y="458264"/>
                  </a:lnTo>
                  <a:lnTo>
                    <a:pt x="430895" y="461359"/>
                  </a:lnTo>
                  <a:lnTo>
                    <a:pt x="441484" y="461685"/>
                  </a:lnTo>
                  <a:lnTo>
                    <a:pt x="442787" y="460870"/>
                  </a:lnTo>
                  <a:lnTo>
                    <a:pt x="441158" y="458427"/>
                  </a:lnTo>
                  <a:lnTo>
                    <a:pt x="440670" y="455494"/>
                  </a:lnTo>
                  <a:lnTo>
                    <a:pt x="446208" y="454679"/>
                  </a:lnTo>
                  <a:lnTo>
                    <a:pt x="449466" y="455820"/>
                  </a:lnTo>
                  <a:lnTo>
                    <a:pt x="450770" y="483026"/>
                  </a:lnTo>
                  <a:lnTo>
                    <a:pt x="449466" y="485144"/>
                  </a:lnTo>
                  <a:lnTo>
                    <a:pt x="445231" y="484492"/>
                  </a:lnTo>
                  <a:lnTo>
                    <a:pt x="444905" y="483026"/>
                  </a:lnTo>
                  <a:lnTo>
                    <a:pt x="443113" y="482537"/>
                  </a:lnTo>
                  <a:lnTo>
                    <a:pt x="439203" y="484166"/>
                  </a:lnTo>
                  <a:lnTo>
                    <a:pt x="434968" y="485144"/>
                  </a:lnTo>
                  <a:lnTo>
                    <a:pt x="431872" y="485144"/>
                  </a:lnTo>
                  <a:lnTo>
                    <a:pt x="426333" y="480256"/>
                  </a:lnTo>
                  <a:lnTo>
                    <a:pt x="421283" y="474392"/>
                  </a:lnTo>
                  <a:lnTo>
                    <a:pt x="416722" y="470319"/>
                  </a:lnTo>
                  <a:lnTo>
                    <a:pt x="411346" y="463151"/>
                  </a:lnTo>
                  <a:lnTo>
                    <a:pt x="405644" y="459404"/>
                  </a:lnTo>
                  <a:lnTo>
                    <a:pt x="396195" y="456309"/>
                  </a:lnTo>
                  <a:lnTo>
                    <a:pt x="390005" y="452725"/>
                  </a:lnTo>
                  <a:lnTo>
                    <a:pt x="389516" y="449955"/>
                  </a:lnTo>
                  <a:lnTo>
                    <a:pt x="385606" y="445394"/>
                  </a:lnTo>
                  <a:lnTo>
                    <a:pt x="385606" y="438063"/>
                  </a:lnTo>
                  <a:lnTo>
                    <a:pt x="383488" y="437411"/>
                  </a:lnTo>
                  <a:lnTo>
                    <a:pt x="381208" y="438714"/>
                  </a:lnTo>
                  <a:lnTo>
                    <a:pt x="377786" y="439203"/>
                  </a:lnTo>
                  <a:lnTo>
                    <a:pt x="375506" y="445883"/>
                  </a:lnTo>
                  <a:lnTo>
                    <a:pt x="375180" y="448489"/>
                  </a:lnTo>
                  <a:lnTo>
                    <a:pt x="367360" y="451095"/>
                  </a:lnTo>
                  <a:lnTo>
                    <a:pt x="363288" y="451095"/>
                  </a:lnTo>
                  <a:lnTo>
                    <a:pt x="362962" y="449629"/>
                  </a:lnTo>
                  <a:lnTo>
                    <a:pt x="356934" y="448163"/>
                  </a:lnTo>
                  <a:lnTo>
                    <a:pt x="351884" y="447349"/>
                  </a:lnTo>
                  <a:lnTo>
                    <a:pt x="345856" y="443765"/>
                  </a:lnTo>
                  <a:lnTo>
                    <a:pt x="343413" y="443439"/>
                  </a:lnTo>
                  <a:lnTo>
                    <a:pt x="338363" y="441158"/>
                  </a:lnTo>
                  <a:lnTo>
                    <a:pt x="336570" y="440995"/>
                  </a:lnTo>
                  <a:lnTo>
                    <a:pt x="336897" y="439203"/>
                  </a:lnTo>
                  <a:lnTo>
                    <a:pt x="336245" y="435619"/>
                  </a:lnTo>
                  <a:lnTo>
                    <a:pt x="335104" y="433176"/>
                  </a:lnTo>
                  <a:lnTo>
                    <a:pt x="334779" y="428125"/>
                  </a:lnTo>
                  <a:lnTo>
                    <a:pt x="333149" y="427637"/>
                  </a:lnTo>
                  <a:lnTo>
                    <a:pt x="326470" y="429754"/>
                  </a:lnTo>
                  <a:lnTo>
                    <a:pt x="324841" y="431384"/>
                  </a:lnTo>
                  <a:lnTo>
                    <a:pt x="320931" y="431384"/>
                  </a:lnTo>
                  <a:lnTo>
                    <a:pt x="317510" y="433013"/>
                  </a:lnTo>
                  <a:lnTo>
                    <a:pt x="314741" y="435619"/>
                  </a:lnTo>
                  <a:lnTo>
                    <a:pt x="313111" y="434968"/>
                  </a:lnTo>
                  <a:lnTo>
                    <a:pt x="312134" y="433338"/>
                  </a:lnTo>
                  <a:lnTo>
                    <a:pt x="311808" y="428777"/>
                  </a:lnTo>
                  <a:lnTo>
                    <a:pt x="310668" y="427148"/>
                  </a:lnTo>
                  <a:lnTo>
                    <a:pt x="306595" y="425845"/>
                  </a:lnTo>
                  <a:lnTo>
                    <a:pt x="303663" y="425845"/>
                  </a:lnTo>
                  <a:lnTo>
                    <a:pt x="301545" y="424216"/>
                  </a:lnTo>
                  <a:lnTo>
                    <a:pt x="301545" y="423727"/>
                  </a:lnTo>
                  <a:lnTo>
                    <a:pt x="296821" y="424216"/>
                  </a:lnTo>
                  <a:lnTo>
                    <a:pt x="292748" y="425845"/>
                  </a:lnTo>
                  <a:lnTo>
                    <a:pt x="288349" y="427962"/>
                  </a:lnTo>
                  <a:lnTo>
                    <a:pt x="285906" y="428940"/>
                  </a:lnTo>
                  <a:lnTo>
                    <a:pt x="283299" y="429592"/>
                  </a:lnTo>
                  <a:lnTo>
                    <a:pt x="280856" y="429103"/>
                  </a:lnTo>
                  <a:lnTo>
                    <a:pt x="274339" y="428777"/>
                  </a:lnTo>
                  <a:lnTo>
                    <a:pt x="271570" y="427962"/>
                  </a:lnTo>
                  <a:lnTo>
                    <a:pt x="267986" y="425356"/>
                  </a:lnTo>
                  <a:lnTo>
                    <a:pt x="265379" y="425356"/>
                  </a:lnTo>
                  <a:lnTo>
                    <a:pt x="264076" y="426333"/>
                  </a:lnTo>
                  <a:lnTo>
                    <a:pt x="261795" y="426985"/>
                  </a:lnTo>
                  <a:lnTo>
                    <a:pt x="260329" y="428777"/>
                  </a:lnTo>
                  <a:lnTo>
                    <a:pt x="257397" y="429103"/>
                  </a:lnTo>
                  <a:lnTo>
                    <a:pt x="256582" y="427311"/>
                  </a:lnTo>
                  <a:lnTo>
                    <a:pt x="256745" y="422261"/>
                  </a:lnTo>
                  <a:lnTo>
                    <a:pt x="258537" y="420794"/>
                  </a:lnTo>
                  <a:lnTo>
                    <a:pt x="258374" y="419491"/>
                  </a:lnTo>
                  <a:lnTo>
                    <a:pt x="259840" y="415581"/>
                  </a:lnTo>
                  <a:lnTo>
                    <a:pt x="256745" y="413138"/>
                  </a:lnTo>
                  <a:lnTo>
                    <a:pt x="255931" y="407925"/>
                  </a:lnTo>
                  <a:lnTo>
                    <a:pt x="257234" y="406295"/>
                  </a:lnTo>
                  <a:lnTo>
                    <a:pt x="257234" y="403526"/>
                  </a:lnTo>
                  <a:lnTo>
                    <a:pt x="253813" y="400431"/>
                  </a:lnTo>
                  <a:lnTo>
                    <a:pt x="253813" y="397661"/>
                  </a:lnTo>
                  <a:lnTo>
                    <a:pt x="254790" y="394403"/>
                  </a:lnTo>
                  <a:lnTo>
                    <a:pt x="254464" y="391308"/>
                  </a:lnTo>
                  <a:lnTo>
                    <a:pt x="252347" y="390819"/>
                  </a:lnTo>
                  <a:lnTo>
                    <a:pt x="250717" y="387724"/>
                  </a:lnTo>
                  <a:lnTo>
                    <a:pt x="249088" y="386584"/>
                  </a:lnTo>
                  <a:lnTo>
                    <a:pt x="249088" y="383814"/>
                  </a:lnTo>
                  <a:lnTo>
                    <a:pt x="246808" y="380719"/>
                  </a:lnTo>
                  <a:lnTo>
                    <a:pt x="246645" y="378112"/>
                  </a:lnTo>
                  <a:lnTo>
                    <a:pt x="245341" y="375994"/>
                  </a:lnTo>
                  <a:lnTo>
                    <a:pt x="247459" y="370781"/>
                  </a:lnTo>
                  <a:lnTo>
                    <a:pt x="246645" y="361495"/>
                  </a:lnTo>
                  <a:lnTo>
                    <a:pt x="245504" y="358400"/>
                  </a:lnTo>
                  <a:lnTo>
                    <a:pt x="246156" y="356608"/>
                  </a:lnTo>
                  <a:lnTo>
                    <a:pt x="247459" y="354653"/>
                  </a:lnTo>
                  <a:lnTo>
                    <a:pt x="247459" y="351069"/>
                  </a:lnTo>
                  <a:lnTo>
                    <a:pt x="244690" y="346997"/>
                  </a:lnTo>
                  <a:lnTo>
                    <a:pt x="245504" y="342761"/>
                  </a:lnTo>
                  <a:lnTo>
                    <a:pt x="247785" y="338525"/>
                  </a:lnTo>
                  <a:lnTo>
                    <a:pt x="247785" y="334778"/>
                  </a:lnTo>
                  <a:lnTo>
                    <a:pt x="248111" y="330869"/>
                  </a:lnTo>
                  <a:lnTo>
                    <a:pt x="247459" y="327773"/>
                  </a:lnTo>
                  <a:lnTo>
                    <a:pt x="217647" y="325655"/>
                  </a:lnTo>
                  <a:lnTo>
                    <a:pt x="216995" y="323049"/>
                  </a:lnTo>
                  <a:lnTo>
                    <a:pt x="218624" y="320279"/>
                  </a:lnTo>
                  <a:lnTo>
                    <a:pt x="218787" y="317347"/>
                  </a:lnTo>
                  <a:lnTo>
                    <a:pt x="211131" y="316533"/>
                  </a:lnTo>
                  <a:lnTo>
                    <a:pt x="210968" y="318976"/>
                  </a:lnTo>
                  <a:lnTo>
                    <a:pt x="186042" y="319302"/>
                  </a:lnTo>
                  <a:lnTo>
                    <a:pt x="185228" y="326796"/>
                  </a:lnTo>
                  <a:lnTo>
                    <a:pt x="183436" y="330869"/>
                  </a:lnTo>
                  <a:lnTo>
                    <a:pt x="181318" y="331846"/>
                  </a:lnTo>
                  <a:lnTo>
                    <a:pt x="181970" y="336896"/>
                  </a:lnTo>
                  <a:lnTo>
                    <a:pt x="182133" y="343901"/>
                  </a:lnTo>
                  <a:lnTo>
                    <a:pt x="162747" y="345205"/>
                  </a:lnTo>
                  <a:lnTo>
                    <a:pt x="159488" y="346997"/>
                  </a:lnTo>
                  <a:lnTo>
                    <a:pt x="150691" y="346508"/>
                  </a:lnTo>
                  <a:lnTo>
                    <a:pt x="147922" y="345530"/>
                  </a:lnTo>
                  <a:lnTo>
                    <a:pt x="143034" y="346508"/>
                  </a:lnTo>
                  <a:lnTo>
                    <a:pt x="136355" y="346834"/>
                  </a:lnTo>
                  <a:lnTo>
                    <a:pt x="133586" y="345368"/>
                  </a:lnTo>
                  <a:lnTo>
                    <a:pt x="132120" y="336082"/>
                  </a:lnTo>
                  <a:lnTo>
                    <a:pt x="128699" y="331357"/>
                  </a:lnTo>
                  <a:lnTo>
                    <a:pt x="126581" y="328099"/>
                  </a:lnTo>
                  <a:lnTo>
                    <a:pt x="124300" y="326307"/>
                  </a:lnTo>
                  <a:lnTo>
                    <a:pt x="124137" y="323375"/>
                  </a:lnTo>
                  <a:lnTo>
                    <a:pt x="123159" y="321257"/>
                  </a:lnTo>
                  <a:lnTo>
                    <a:pt x="121693" y="315066"/>
                  </a:lnTo>
                  <a:lnTo>
                    <a:pt x="118924" y="310505"/>
                  </a:lnTo>
                  <a:lnTo>
                    <a:pt x="118924" y="306758"/>
                  </a:lnTo>
                  <a:lnTo>
                    <a:pt x="120227" y="304477"/>
                  </a:lnTo>
                  <a:lnTo>
                    <a:pt x="119738" y="301382"/>
                  </a:lnTo>
                  <a:lnTo>
                    <a:pt x="117620" y="298613"/>
                  </a:lnTo>
                  <a:lnTo>
                    <a:pt x="116806" y="295517"/>
                  </a:lnTo>
                  <a:lnTo>
                    <a:pt x="117458" y="294377"/>
                  </a:lnTo>
                  <a:lnTo>
                    <a:pt x="117458" y="290793"/>
                  </a:lnTo>
                  <a:lnTo>
                    <a:pt x="90741" y="290630"/>
                  </a:lnTo>
                  <a:lnTo>
                    <a:pt x="72658" y="290630"/>
                  </a:lnTo>
                  <a:lnTo>
                    <a:pt x="63861" y="291282"/>
                  </a:lnTo>
                  <a:lnTo>
                    <a:pt x="55715" y="290956"/>
                  </a:lnTo>
                  <a:lnTo>
                    <a:pt x="51642" y="290630"/>
                  </a:lnTo>
                  <a:lnTo>
                    <a:pt x="44149" y="290956"/>
                  </a:lnTo>
                  <a:lnTo>
                    <a:pt x="38284" y="291119"/>
                  </a:lnTo>
                  <a:lnTo>
                    <a:pt x="33071" y="291119"/>
                  </a:lnTo>
                  <a:lnTo>
                    <a:pt x="29650" y="290793"/>
                  </a:lnTo>
                  <a:lnTo>
                    <a:pt x="25740" y="290467"/>
                  </a:lnTo>
                  <a:lnTo>
                    <a:pt x="21667" y="291282"/>
                  </a:lnTo>
                  <a:lnTo>
                    <a:pt x="17268" y="292585"/>
                  </a:lnTo>
                  <a:lnTo>
                    <a:pt x="15640" y="293400"/>
                  </a:lnTo>
                  <a:lnTo>
                    <a:pt x="13684" y="293400"/>
                  </a:lnTo>
                  <a:lnTo>
                    <a:pt x="12707" y="294540"/>
                  </a:lnTo>
                  <a:lnTo>
                    <a:pt x="12218" y="294866"/>
                  </a:lnTo>
                  <a:lnTo>
                    <a:pt x="11729" y="294866"/>
                  </a:lnTo>
                  <a:lnTo>
                    <a:pt x="11729" y="294866"/>
                  </a:lnTo>
                  <a:lnTo>
                    <a:pt x="8634" y="292585"/>
                  </a:lnTo>
                  <a:lnTo>
                    <a:pt x="1304" y="292259"/>
                  </a:lnTo>
                  <a:lnTo>
                    <a:pt x="0" y="289327"/>
                  </a:lnTo>
                  <a:close/>
                </a:path>
              </a:pathLst>
            </a:custGeom>
            <a:solidFill>
              <a:schemeClr val="bg2"/>
            </a:solidFill>
            <a:ln w="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31" name="Forma livre: Forma 130">
              <a:extLst>
                <a:ext uri="{FF2B5EF4-FFF2-40B4-BE49-F238E27FC236}">
                  <a16:creationId xmlns:a16="http://schemas.microsoft.com/office/drawing/2014/main" id="{9E76370F-6AF7-1399-9823-7B4144EF8E3E}"/>
                </a:ext>
              </a:extLst>
            </p:cNvPr>
            <p:cNvSpPr/>
            <p:nvPr/>
          </p:nvSpPr>
          <p:spPr>
            <a:xfrm>
              <a:off x="6847654" y="5209900"/>
              <a:ext cx="84006" cy="213299"/>
            </a:xfrm>
            <a:custGeom>
              <a:avLst/>
              <a:gdLst>
                <a:gd name="connsiteX0" fmla="*/ 7982 w 81291"/>
                <a:gd name="connsiteY0" fmla="*/ 977 h 206405"/>
                <a:gd name="connsiteX1" fmla="*/ 9286 w 81291"/>
                <a:gd name="connsiteY1" fmla="*/ 0 h 206405"/>
                <a:gd name="connsiteX2" fmla="*/ 11729 w 81291"/>
                <a:gd name="connsiteY2" fmla="*/ 326 h 206405"/>
                <a:gd name="connsiteX3" fmla="*/ 13196 w 81291"/>
                <a:gd name="connsiteY3" fmla="*/ 3258 h 206405"/>
                <a:gd name="connsiteX4" fmla="*/ 16291 w 81291"/>
                <a:gd name="connsiteY4" fmla="*/ 3584 h 206405"/>
                <a:gd name="connsiteX5" fmla="*/ 17757 w 81291"/>
                <a:gd name="connsiteY5" fmla="*/ 5376 h 206405"/>
                <a:gd name="connsiteX6" fmla="*/ 19223 w 81291"/>
                <a:gd name="connsiteY6" fmla="*/ 4236 h 206405"/>
                <a:gd name="connsiteX7" fmla="*/ 22156 w 81291"/>
                <a:gd name="connsiteY7" fmla="*/ 4724 h 206405"/>
                <a:gd name="connsiteX8" fmla="*/ 23785 w 81291"/>
                <a:gd name="connsiteY8" fmla="*/ 6028 h 206405"/>
                <a:gd name="connsiteX9" fmla="*/ 25740 w 81291"/>
                <a:gd name="connsiteY9" fmla="*/ 6516 h 206405"/>
                <a:gd name="connsiteX10" fmla="*/ 26717 w 81291"/>
                <a:gd name="connsiteY10" fmla="*/ 8145 h 206405"/>
                <a:gd name="connsiteX11" fmla="*/ 29650 w 81291"/>
                <a:gd name="connsiteY11" fmla="*/ 9937 h 206405"/>
                <a:gd name="connsiteX12" fmla="*/ 32419 w 81291"/>
                <a:gd name="connsiteY12" fmla="*/ 12544 h 206405"/>
                <a:gd name="connsiteX13" fmla="*/ 40890 w 81291"/>
                <a:gd name="connsiteY13" fmla="*/ 21993 h 206405"/>
                <a:gd name="connsiteX14" fmla="*/ 42193 w 81291"/>
                <a:gd name="connsiteY14" fmla="*/ 31767 h 206405"/>
                <a:gd name="connsiteX15" fmla="*/ 41868 w 81291"/>
                <a:gd name="connsiteY15" fmla="*/ 74775 h 206405"/>
                <a:gd name="connsiteX16" fmla="*/ 40564 w 81291"/>
                <a:gd name="connsiteY16" fmla="*/ 79499 h 206405"/>
                <a:gd name="connsiteX17" fmla="*/ 44800 w 81291"/>
                <a:gd name="connsiteY17" fmla="*/ 103122 h 206405"/>
                <a:gd name="connsiteX18" fmla="*/ 52945 w 81291"/>
                <a:gd name="connsiteY18" fmla="*/ 107357 h 206405"/>
                <a:gd name="connsiteX19" fmla="*/ 56529 w 81291"/>
                <a:gd name="connsiteY19" fmla="*/ 110778 h 206405"/>
                <a:gd name="connsiteX20" fmla="*/ 58484 w 81291"/>
                <a:gd name="connsiteY20" fmla="*/ 113385 h 206405"/>
                <a:gd name="connsiteX21" fmla="*/ 60928 w 81291"/>
                <a:gd name="connsiteY21" fmla="*/ 113873 h 206405"/>
                <a:gd name="connsiteX22" fmla="*/ 69725 w 81291"/>
                <a:gd name="connsiteY22" fmla="*/ 122508 h 206405"/>
                <a:gd name="connsiteX23" fmla="*/ 71354 w 81291"/>
                <a:gd name="connsiteY23" fmla="*/ 126580 h 206405"/>
                <a:gd name="connsiteX24" fmla="*/ 77219 w 81291"/>
                <a:gd name="connsiteY24" fmla="*/ 134563 h 206405"/>
                <a:gd name="connsiteX25" fmla="*/ 79500 w 81291"/>
                <a:gd name="connsiteY25" fmla="*/ 140753 h 206405"/>
                <a:gd name="connsiteX26" fmla="*/ 81129 w 81291"/>
                <a:gd name="connsiteY26" fmla="*/ 144338 h 206405"/>
                <a:gd name="connsiteX27" fmla="*/ 81292 w 81291"/>
                <a:gd name="connsiteY27" fmla="*/ 147107 h 206405"/>
                <a:gd name="connsiteX28" fmla="*/ 78034 w 81291"/>
                <a:gd name="connsiteY28" fmla="*/ 148247 h 206405"/>
                <a:gd name="connsiteX29" fmla="*/ 76893 w 81291"/>
                <a:gd name="connsiteY29" fmla="*/ 150854 h 206405"/>
                <a:gd name="connsiteX30" fmla="*/ 74123 w 81291"/>
                <a:gd name="connsiteY30" fmla="*/ 151180 h 206405"/>
                <a:gd name="connsiteX31" fmla="*/ 73146 w 81291"/>
                <a:gd name="connsiteY31" fmla="*/ 153135 h 206405"/>
                <a:gd name="connsiteX32" fmla="*/ 74450 w 81291"/>
                <a:gd name="connsiteY32" fmla="*/ 155089 h 206405"/>
                <a:gd name="connsiteX33" fmla="*/ 73961 w 81291"/>
                <a:gd name="connsiteY33" fmla="*/ 157370 h 206405"/>
                <a:gd name="connsiteX34" fmla="*/ 76404 w 81291"/>
                <a:gd name="connsiteY34" fmla="*/ 160303 h 206405"/>
                <a:gd name="connsiteX35" fmla="*/ 76241 w 81291"/>
                <a:gd name="connsiteY35" fmla="*/ 169751 h 206405"/>
                <a:gd name="connsiteX36" fmla="*/ 74613 w 81291"/>
                <a:gd name="connsiteY36" fmla="*/ 173824 h 206405"/>
                <a:gd name="connsiteX37" fmla="*/ 71191 w 81291"/>
                <a:gd name="connsiteY37" fmla="*/ 176756 h 206405"/>
                <a:gd name="connsiteX38" fmla="*/ 65978 w 81291"/>
                <a:gd name="connsiteY38" fmla="*/ 178222 h 206405"/>
                <a:gd name="connsiteX39" fmla="*/ 63372 w 81291"/>
                <a:gd name="connsiteY39" fmla="*/ 185065 h 206405"/>
                <a:gd name="connsiteX40" fmla="*/ 62720 w 81291"/>
                <a:gd name="connsiteY40" fmla="*/ 189789 h 206405"/>
                <a:gd name="connsiteX41" fmla="*/ 60114 w 81291"/>
                <a:gd name="connsiteY41" fmla="*/ 194188 h 206405"/>
                <a:gd name="connsiteX42" fmla="*/ 61905 w 81291"/>
                <a:gd name="connsiteY42" fmla="*/ 200378 h 206405"/>
                <a:gd name="connsiteX43" fmla="*/ 60765 w 81291"/>
                <a:gd name="connsiteY43" fmla="*/ 205265 h 206405"/>
                <a:gd name="connsiteX44" fmla="*/ 55878 w 81291"/>
                <a:gd name="connsiteY44" fmla="*/ 206406 h 206405"/>
                <a:gd name="connsiteX45" fmla="*/ 54575 w 81291"/>
                <a:gd name="connsiteY45" fmla="*/ 202822 h 206405"/>
                <a:gd name="connsiteX46" fmla="*/ 56204 w 81291"/>
                <a:gd name="connsiteY46" fmla="*/ 199564 h 206405"/>
                <a:gd name="connsiteX47" fmla="*/ 52945 w 81291"/>
                <a:gd name="connsiteY47" fmla="*/ 195002 h 206405"/>
                <a:gd name="connsiteX48" fmla="*/ 50013 w 81291"/>
                <a:gd name="connsiteY48" fmla="*/ 192558 h 206405"/>
                <a:gd name="connsiteX49" fmla="*/ 46592 w 81291"/>
                <a:gd name="connsiteY49" fmla="*/ 190766 h 206405"/>
                <a:gd name="connsiteX50" fmla="*/ 42356 w 81291"/>
                <a:gd name="connsiteY50" fmla="*/ 186694 h 206405"/>
                <a:gd name="connsiteX51" fmla="*/ 37958 w 81291"/>
                <a:gd name="connsiteY51" fmla="*/ 181318 h 206405"/>
                <a:gd name="connsiteX52" fmla="*/ 37469 w 81291"/>
                <a:gd name="connsiteY52" fmla="*/ 177245 h 206405"/>
                <a:gd name="connsiteX53" fmla="*/ 35188 w 81291"/>
                <a:gd name="connsiteY53" fmla="*/ 171543 h 206405"/>
                <a:gd name="connsiteX54" fmla="*/ 34700 w 81291"/>
                <a:gd name="connsiteY54" fmla="*/ 167308 h 206405"/>
                <a:gd name="connsiteX55" fmla="*/ 37958 w 81291"/>
                <a:gd name="connsiteY55" fmla="*/ 162746 h 206405"/>
                <a:gd name="connsiteX56" fmla="*/ 39261 w 81291"/>
                <a:gd name="connsiteY56" fmla="*/ 156881 h 206405"/>
                <a:gd name="connsiteX57" fmla="*/ 44637 w 81291"/>
                <a:gd name="connsiteY57" fmla="*/ 151180 h 206405"/>
                <a:gd name="connsiteX58" fmla="*/ 45126 w 81291"/>
                <a:gd name="connsiteY58" fmla="*/ 145315 h 206405"/>
                <a:gd name="connsiteX59" fmla="*/ 45126 w 81291"/>
                <a:gd name="connsiteY59" fmla="*/ 138310 h 206405"/>
                <a:gd name="connsiteX60" fmla="*/ 42845 w 81291"/>
                <a:gd name="connsiteY60" fmla="*/ 134237 h 206405"/>
                <a:gd name="connsiteX61" fmla="*/ 36003 w 81291"/>
                <a:gd name="connsiteY61" fmla="*/ 132608 h 206405"/>
                <a:gd name="connsiteX62" fmla="*/ 30627 w 81291"/>
                <a:gd name="connsiteY62" fmla="*/ 132771 h 206405"/>
                <a:gd name="connsiteX63" fmla="*/ 28346 w 81291"/>
                <a:gd name="connsiteY63" fmla="*/ 135052 h 206405"/>
                <a:gd name="connsiteX64" fmla="*/ 25251 w 81291"/>
                <a:gd name="connsiteY64" fmla="*/ 135052 h 206405"/>
                <a:gd name="connsiteX65" fmla="*/ 23296 w 81291"/>
                <a:gd name="connsiteY65" fmla="*/ 136192 h 206405"/>
                <a:gd name="connsiteX66" fmla="*/ 19061 w 81291"/>
                <a:gd name="connsiteY66" fmla="*/ 133585 h 206405"/>
                <a:gd name="connsiteX67" fmla="*/ 18572 w 81291"/>
                <a:gd name="connsiteY67" fmla="*/ 130490 h 206405"/>
                <a:gd name="connsiteX68" fmla="*/ 16454 w 81291"/>
                <a:gd name="connsiteY68" fmla="*/ 127884 h 206405"/>
                <a:gd name="connsiteX69" fmla="*/ 15477 w 81291"/>
                <a:gd name="connsiteY69" fmla="*/ 125603 h 206405"/>
                <a:gd name="connsiteX70" fmla="*/ 13847 w 81291"/>
                <a:gd name="connsiteY70" fmla="*/ 122833 h 206405"/>
                <a:gd name="connsiteX71" fmla="*/ 7005 w 81291"/>
                <a:gd name="connsiteY71" fmla="*/ 124463 h 206405"/>
                <a:gd name="connsiteX72" fmla="*/ 6516 w 81291"/>
                <a:gd name="connsiteY72" fmla="*/ 122019 h 206405"/>
                <a:gd name="connsiteX73" fmla="*/ 4236 w 81291"/>
                <a:gd name="connsiteY73" fmla="*/ 117131 h 206405"/>
                <a:gd name="connsiteX74" fmla="*/ 814 w 81291"/>
                <a:gd name="connsiteY74" fmla="*/ 112733 h 206405"/>
                <a:gd name="connsiteX75" fmla="*/ 0 w 81291"/>
                <a:gd name="connsiteY75" fmla="*/ 110289 h 206405"/>
                <a:gd name="connsiteX76" fmla="*/ 2607 w 81291"/>
                <a:gd name="connsiteY76" fmla="*/ 108986 h 206405"/>
                <a:gd name="connsiteX77" fmla="*/ 6516 w 81291"/>
                <a:gd name="connsiteY77" fmla="*/ 104425 h 206405"/>
                <a:gd name="connsiteX78" fmla="*/ 6516 w 81291"/>
                <a:gd name="connsiteY78" fmla="*/ 100841 h 206405"/>
                <a:gd name="connsiteX79" fmla="*/ 7331 w 81291"/>
                <a:gd name="connsiteY79" fmla="*/ 98071 h 206405"/>
                <a:gd name="connsiteX80" fmla="*/ 6516 w 81291"/>
                <a:gd name="connsiteY80" fmla="*/ 95953 h 206405"/>
                <a:gd name="connsiteX81" fmla="*/ 6354 w 81291"/>
                <a:gd name="connsiteY81" fmla="*/ 92369 h 206405"/>
                <a:gd name="connsiteX82" fmla="*/ 7494 w 81291"/>
                <a:gd name="connsiteY82" fmla="*/ 90414 h 206405"/>
                <a:gd name="connsiteX83" fmla="*/ 13196 w 81291"/>
                <a:gd name="connsiteY83" fmla="*/ 86179 h 206405"/>
                <a:gd name="connsiteX84" fmla="*/ 16780 w 81291"/>
                <a:gd name="connsiteY84" fmla="*/ 84550 h 206405"/>
                <a:gd name="connsiteX85" fmla="*/ 18083 w 81291"/>
                <a:gd name="connsiteY85" fmla="*/ 81943 h 206405"/>
                <a:gd name="connsiteX86" fmla="*/ 20527 w 81291"/>
                <a:gd name="connsiteY86" fmla="*/ 81292 h 206405"/>
                <a:gd name="connsiteX87" fmla="*/ 20201 w 81291"/>
                <a:gd name="connsiteY87" fmla="*/ 79337 h 206405"/>
                <a:gd name="connsiteX88" fmla="*/ 17431 w 81291"/>
                <a:gd name="connsiteY88" fmla="*/ 77545 h 206405"/>
                <a:gd name="connsiteX89" fmla="*/ 17105 w 81291"/>
                <a:gd name="connsiteY89" fmla="*/ 75264 h 206405"/>
                <a:gd name="connsiteX90" fmla="*/ 15965 w 81291"/>
                <a:gd name="connsiteY90" fmla="*/ 71843 h 206405"/>
                <a:gd name="connsiteX91" fmla="*/ 17268 w 81291"/>
                <a:gd name="connsiteY91" fmla="*/ 70703 h 206405"/>
                <a:gd name="connsiteX92" fmla="*/ 18246 w 81291"/>
                <a:gd name="connsiteY92" fmla="*/ 67933 h 206405"/>
                <a:gd name="connsiteX93" fmla="*/ 15965 w 81291"/>
                <a:gd name="connsiteY93" fmla="*/ 64023 h 206405"/>
                <a:gd name="connsiteX94" fmla="*/ 17920 w 81291"/>
                <a:gd name="connsiteY94" fmla="*/ 60602 h 206405"/>
                <a:gd name="connsiteX95" fmla="*/ 17105 w 81291"/>
                <a:gd name="connsiteY95" fmla="*/ 57670 h 206405"/>
                <a:gd name="connsiteX96" fmla="*/ 16617 w 81291"/>
                <a:gd name="connsiteY96" fmla="*/ 53760 h 206405"/>
                <a:gd name="connsiteX97" fmla="*/ 14988 w 81291"/>
                <a:gd name="connsiteY97" fmla="*/ 49361 h 206405"/>
                <a:gd name="connsiteX98" fmla="*/ 15802 w 81291"/>
                <a:gd name="connsiteY98" fmla="*/ 44963 h 206405"/>
                <a:gd name="connsiteX99" fmla="*/ 21504 w 81291"/>
                <a:gd name="connsiteY99" fmla="*/ 39098 h 206405"/>
                <a:gd name="connsiteX100" fmla="*/ 21504 w 81291"/>
                <a:gd name="connsiteY100" fmla="*/ 37632 h 206405"/>
                <a:gd name="connsiteX101" fmla="*/ 22807 w 81291"/>
                <a:gd name="connsiteY101" fmla="*/ 35840 h 206405"/>
                <a:gd name="connsiteX102" fmla="*/ 22482 w 81291"/>
                <a:gd name="connsiteY102" fmla="*/ 30464 h 206405"/>
                <a:gd name="connsiteX103" fmla="*/ 21015 w 81291"/>
                <a:gd name="connsiteY103" fmla="*/ 26717 h 206405"/>
                <a:gd name="connsiteX104" fmla="*/ 16617 w 81291"/>
                <a:gd name="connsiteY104" fmla="*/ 23622 h 206405"/>
                <a:gd name="connsiteX105" fmla="*/ 16128 w 81291"/>
                <a:gd name="connsiteY105" fmla="*/ 21015 h 206405"/>
                <a:gd name="connsiteX106" fmla="*/ 18898 w 81291"/>
                <a:gd name="connsiteY106" fmla="*/ 14662 h 206405"/>
                <a:gd name="connsiteX107" fmla="*/ 19223 w 81291"/>
                <a:gd name="connsiteY107" fmla="*/ 12707 h 206405"/>
                <a:gd name="connsiteX108" fmla="*/ 15965 w 81291"/>
                <a:gd name="connsiteY108" fmla="*/ 11729 h 206405"/>
                <a:gd name="connsiteX109" fmla="*/ 12381 w 81291"/>
                <a:gd name="connsiteY109" fmla="*/ 9612 h 206405"/>
                <a:gd name="connsiteX110" fmla="*/ 11241 w 81291"/>
                <a:gd name="connsiteY110" fmla="*/ 6028 h 206405"/>
                <a:gd name="connsiteX111" fmla="*/ 9449 w 81291"/>
                <a:gd name="connsiteY111" fmla="*/ 4724 h 206405"/>
                <a:gd name="connsiteX112" fmla="*/ 7982 w 81291"/>
                <a:gd name="connsiteY112" fmla="*/ 977 h 2064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</a:cxnLst>
              <a:rect l="l" t="t" r="r" b="b"/>
              <a:pathLst>
                <a:path w="81291" h="206405">
                  <a:moveTo>
                    <a:pt x="7982" y="977"/>
                  </a:moveTo>
                  <a:lnTo>
                    <a:pt x="9286" y="0"/>
                  </a:lnTo>
                  <a:lnTo>
                    <a:pt x="11729" y="326"/>
                  </a:lnTo>
                  <a:lnTo>
                    <a:pt x="13196" y="3258"/>
                  </a:lnTo>
                  <a:lnTo>
                    <a:pt x="16291" y="3584"/>
                  </a:lnTo>
                  <a:lnTo>
                    <a:pt x="17757" y="5376"/>
                  </a:lnTo>
                  <a:lnTo>
                    <a:pt x="19223" y="4236"/>
                  </a:lnTo>
                  <a:lnTo>
                    <a:pt x="22156" y="4724"/>
                  </a:lnTo>
                  <a:lnTo>
                    <a:pt x="23785" y="6028"/>
                  </a:lnTo>
                  <a:lnTo>
                    <a:pt x="25740" y="6516"/>
                  </a:lnTo>
                  <a:lnTo>
                    <a:pt x="26717" y="8145"/>
                  </a:lnTo>
                  <a:lnTo>
                    <a:pt x="29650" y="9937"/>
                  </a:lnTo>
                  <a:lnTo>
                    <a:pt x="32419" y="12544"/>
                  </a:lnTo>
                  <a:lnTo>
                    <a:pt x="40890" y="21993"/>
                  </a:lnTo>
                  <a:lnTo>
                    <a:pt x="42193" y="31767"/>
                  </a:lnTo>
                  <a:lnTo>
                    <a:pt x="41868" y="74775"/>
                  </a:lnTo>
                  <a:lnTo>
                    <a:pt x="40564" y="79499"/>
                  </a:lnTo>
                  <a:lnTo>
                    <a:pt x="44800" y="103122"/>
                  </a:lnTo>
                  <a:lnTo>
                    <a:pt x="52945" y="107357"/>
                  </a:lnTo>
                  <a:lnTo>
                    <a:pt x="56529" y="110778"/>
                  </a:lnTo>
                  <a:lnTo>
                    <a:pt x="58484" y="113385"/>
                  </a:lnTo>
                  <a:lnTo>
                    <a:pt x="60928" y="113873"/>
                  </a:lnTo>
                  <a:lnTo>
                    <a:pt x="69725" y="122508"/>
                  </a:lnTo>
                  <a:lnTo>
                    <a:pt x="71354" y="126580"/>
                  </a:lnTo>
                  <a:lnTo>
                    <a:pt x="77219" y="134563"/>
                  </a:lnTo>
                  <a:lnTo>
                    <a:pt x="79500" y="140753"/>
                  </a:lnTo>
                  <a:lnTo>
                    <a:pt x="81129" y="144338"/>
                  </a:lnTo>
                  <a:lnTo>
                    <a:pt x="81292" y="147107"/>
                  </a:lnTo>
                  <a:lnTo>
                    <a:pt x="78034" y="148247"/>
                  </a:lnTo>
                  <a:lnTo>
                    <a:pt x="76893" y="150854"/>
                  </a:lnTo>
                  <a:lnTo>
                    <a:pt x="74123" y="151180"/>
                  </a:lnTo>
                  <a:lnTo>
                    <a:pt x="73146" y="153135"/>
                  </a:lnTo>
                  <a:lnTo>
                    <a:pt x="74450" y="155089"/>
                  </a:lnTo>
                  <a:lnTo>
                    <a:pt x="73961" y="157370"/>
                  </a:lnTo>
                  <a:lnTo>
                    <a:pt x="76404" y="160303"/>
                  </a:lnTo>
                  <a:lnTo>
                    <a:pt x="76241" y="169751"/>
                  </a:lnTo>
                  <a:lnTo>
                    <a:pt x="74613" y="173824"/>
                  </a:lnTo>
                  <a:lnTo>
                    <a:pt x="71191" y="176756"/>
                  </a:lnTo>
                  <a:lnTo>
                    <a:pt x="65978" y="178222"/>
                  </a:lnTo>
                  <a:lnTo>
                    <a:pt x="63372" y="185065"/>
                  </a:lnTo>
                  <a:lnTo>
                    <a:pt x="62720" y="189789"/>
                  </a:lnTo>
                  <a:lnTo>
                    <a:pt x="60114" y="194188"/>
                  </a:lnTo>
                  <a:lnTo>
                    <a:pt x="61905" y="200378"/>
                  </a:lnTo>
                  <a:lnTo>
                    <a:pt x="60765" y="205265"/>
                  </a:lnTo>
                  <a:lnTo>
                    <a:pt x="55878" y="206406"/>
                  </a:lnTo>
                  <a:lnTo>
                    <a:pt x="54575" y="202822"/>
                  </a:lnTo>
                  <a:lnTo>
                    <a:pt x="56204" y="199564"/>
                  </a:lnTo>
                  <a:lnTo>
                    <a:pt x="52945" y="195002"/>
                  </a:lnTo>
                  <a:lnTo>
                    <a:pt x="50013" y="192558"/>
                  </a:lnTo>
                  <a:lnTo>
                    <a:pt x="46592" y="190766"/>
                  </a:lnTo>
                  <a:lnTo>
                    <a:pt x="42356" y="186694"/>
                  </a:lnTo>
                  <a:lnTo>
                    <a:pt x="37958" y="181318"/>
                  </a:lnTo>
                  <a:lnTo>
                    <a:pt x="37469" y="177245"/>
                  </a:lnTo>
                  <a:lnTo>
                    <a:pt x="35188" y="171543"/>
                  </a:lnTo>
                  <a:lnTo>
                    <a:pt x="34700" y="167308"/>
                  </a:lnTo>
                  <a:lnTo>
                    <a:pt x="37958" y="162746"/>
                  </a:lnTo>
                  <a:lnTo>
                    <a:pt x="39261" y="156881"/>
                  </a:lnTo>
                  <a:lnTo>
                    <a:pt x="44637" y="151180"/>
                  </a:lnTo>
                  <a:lnTo>
                    <a:pt x="45126" y="145315"/>
                  </a:lnTo>
                  <a:lnTo>
                    <a:pt x="45126" y="138310"/>
                  </a:lnTo>
                  <a:lnTo>
                    <a:pt x="42845" y="134237"/>
                  </a:lnTo>
                  <a:lnTo>
                    <a:pt x="36003" y="132608"/>
                  </a:lnTo>
                  <a:lnTo>
                    <a:pt x="30627" y="132771"/>
                  </a:lnTo>
                  <a:lnTo>
                    <a:pt x="28346" y="135052"/>
                  </a:lnTo>
                  <a:lnTo>
                    <a:pt x="25251" y="135052"/>
                  </a:lnTo>
                  <a:lnTo>
                    <a:pt x="23296" y="136192"/>
                  </a:lnTo>
                  <a:lnTo>
                    <a:pt x="19061" y="133585"/>
                  </a:lnTo>
                  <a:lnTo>
                    <a:pt x="18572" y="130490"/>
                  </a:lnTo>
                  <a:lnTo>
                    <a:pt x="16454" y="127884"/>
                  </a:lnTo>
                  <a:lnTo>
                    <a:pt x="15477" y="125603"/>
                  </a:lnTo>
                  <a:lnTo>
                    <a:pt x="13847" y="122833"/>
                  </a:lnTo>
                  <a:lnTo>
                    <a:pt x="7005" y="124463"/>
                  </a:lnTo>
                  <a:lnTo>
                    <a:pt x="6516" y="122019"/>
                  </a:lnTo>
                  <a:lnTo>
                    <a:pt x="4236" y="117131"/>
                  </a:lnTo>
                  <a:lnTo>
                    <a:pt x="814" y="112733"/>
                  </a:lnTo>
                  <a:lnTo>
                    <a:pt x="0" y="110289"/>
                  </a:lnTo>
                  <a:lnTo>
                    <a:pt x="2607" y="108986"/>
                  </a:lnTo>
                  <a:lnTo>
                    <a:pt x="6516" y="104425"/>
                  </a:lnTo>
                  <a:lnTo>
                    <a:pt x="6516" y="100841"/>
                  </a:lnTo>
                  <a:lnTo>
                    <a:pt x="7331" y="98071"/>
                  </a:lnTo>
                  <a:lnTo>
                    <a:pt x="6516" y="95953"/>
                  </a:lnTo>
                  <a:lnTo>
                    <a:pt x="6354" y="92369"/>
                  </a:lnTo>
                  <a:lnTo>
                    <a:pt x="7494" y="90414"/>
                  </a:lnTo>
                  <a:lnTo>
                    <a:pt x="13196" y="86179"/>
                  </a:lnTo>
                  <a:lnTo>
                    <a:pt x="16780" y="84550"/>
                  </a:lnTo>
                  <a:lnTo>
                    <a:pt x="18083" y="81943"/>
                  </a:lnTo>
                  <a:lnTo>
                    <a:pt x="20527" y="81292"/>
                  </a:lnTo>
                  <a:lnTo>
                    <a:pt x="20201" y="79337"/>
                  </a:lnTo>
                  <a:lnTo>
                    <a:pt x="17431" y="77545"/>
                  </a:lnTo>
                  <a:lnTo>
                    <a:pt x="17105" y="75264"/>
                  </a:lnTo>
                  <a:lnTo>
                    <a:pt x="15965" y="71843"/>
                  </a:lnTo>
                  <a:lnTo>
                    <a:pt x="17268" y="70703"/>
                  </a:lnTo>
                  <a:lnTo>
                    <a:pt x="18246" y="67933"/>
                  </a:lnTo>
                  <a:lnTo>
                    <a:pt x="15965" y="64023"/>
                  </a:lnTo>
                  <a:lnTo>
                    <a:pt x="17920" y="60602"/>
                  </a:lnTo>
                  <a:lnTo>
                    <a:pt x="17105" y="57670"/>
                  </a:lnTo>
                  <a:lnTo>
                    <a:pt x="16617" y="53760"/>
                  </a:lnTo>
                  <a:lnTo>
                    <a:pt x="14988" y="49361"/>
                  </a:lnTo>
                  <a:lnTo>
                    <a:pt x="15802" y="44963"/>
                  </a:lnTo>
                  <a:lnTo>
                    <a:pt x="21504" y="39098"/>
                  </a:lnTo>
                  <a:lnTo>
                    <a:pt x="21504" y="37632"/>
                  </a:lnTo>
                  <a:lnTo>
                    <a:pt x="22807" y="35840"/>
                  </a:lnTo>
                  <a:lnTo>
                    <a:pt x="22482" y="30464"/>
                  </a:lnTo>
                  <a:lnTo>
                    <a:pt x="21015" y="26717"/>
                  </a:lnTo>
                  <a:lnTo>
                    <a:pt x="16617" y="23622"/>
                  </a:lnTo>
                  <a:lnTo>
                    <a:pt x="16128" y="21015"/>
                  </a:lnTo>
                  <a:lnTo>
                    <a:pt x="18898" y="14662"/>
                  </a:lnTo>
                  <a:lnTo>
                    <a:pt x="19223" y="12707"/>
                  </a:lnTo>
                  <a:lnTo>
                    <a:pt x="15965" y="11729"/>
                  </a:lnTo>
                  <a:lnTo>
                    <a:pt x="12381" y="9612"/>
                  </a:lnTo>
                  <a:lnTo>
                    <a:pt x="11241" y="6028"/>
                  </a:lnTo>
                  <a:lnTo>
                    <a:pt x="9449" y="4724"/>
                  </a:lnTo>
                  <a:lnTo>
                    <a:pt x="7982" y="977"/>
                  </a:lnTo>
                  <a:close/>
                </a:path>
              </a:pathLst>
            </a:custGeom>
            <a:solidFill>
              <a:schemeClr val="bg2"/>
            </a:solidFill>
            <a:ln w="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32" name="Forma livre: Forma 131">
              <a:extLst>
                <a:ext uri="{FF2B5EF4-FFF2-40B4-BE49-F238E27FC236}">
                  <a16:creationId xmlns:a16="http://schemas.microsoft.com/office/drawing/2014/main" id="{00C2903C-8CE4-3A6F-F5FC-122170E0DBB5}"/>
                </a:ext>
              </a:extLst>
            </p:cNvPr>
            <p:cNvSpPr/>
            <p:nvPr/>
          </p:nvSpPr>
          <p:spPr>
            <a:xfrm>
              <a:off x="6558091" y="5178586"/>
              <a:ext cx="313132" cy="266330"/>
            </a:xfrm>
            <a:custGeom>
              <a:avLst/>
              <a:gdLst>
                <a:gd name="connsiteX0" fmla="*/ 55226 w 303011"/>
                <a:gd name="connsiteY0" fmla="*/ 74775 h 257722"/>
                <a:gd name="connsiteX1" fmla="*/ 57344 w 303011"/>
                <a:gd name="connsiteY1" fmla="*/ 76404 h 257722"/>
                <a:gd name="connsiteX2" fmla="*/ 60277 w 303011"/>
                <a:gd name="connsiteY2" fmla="*/ 76404 h 257722"/>
                <a:gd name="connsiteX3" fmla="*/ 64349 w 303011"/>
                <a:gd name="connsiteY3" fmla="*/ 77707 h 257722"/>
                <a:gd name="connsiteX4" fmla="*/ 65490 w 303011"/>
                <a:gd name="connsiteY4" fmla="*/ 79337 h 257722"/>
                <a:gd name="connsiteX5" fmla="*/ 65815 w 303011"/>
                <a:gd name="connsiteY5" fmla="*/ 83898 h 257722"/>
                <a:gd name="connsiteX6" fmla="*/ 66793 w 303011"/>
                <a:gd name="connsiteY6" fmla="*/ 85527 h 257722"/>
                <a:gd name="connsiteX7" fmla="*/ 68422 w 303011"/>
                <a:gd name="connsiteY7" fmla="*/ 86179 h 257722"/>
                <a:gd name="connsiteX8" fmla="*/ 71192 w 303011"/>
                <a:gd name="connsiteY8" fmla="*/ 83572 h 257722"/>
                <a:gd name="connsiteX9" fmla="*/ 74613 w 303011"/>
                <a:gd name="connsiteY9" fmla="*/ 81943 h 257722"/>
                <a:gd name="connsiteX10" fmla="*/ 78522 w 303011"/>
                <a:gd name="connsiteY10" fmla="*/ 81943 h 257722"/>
                <a:gd name="connsiteX11" fmla="*/ 80152 w 303011"/>
                <a:gd name="connsiteY11" fmla="*/ 80314 h 257722"/>
                <a:gd name="connsiteX12" fmla="*/ 86831 w 303011"/>
                <a:gd name="connsiteY12" fmla="*/ 78196 h 257722"/>
                <a:gd name="connsiteX13" fmla="*/ 88460 w 303011"/>
                <a:gd name="connsiteY13" fmla="*/ 78685 h 257722"/>
                <a:gd name="connsiteX14" fmla="*/ 88786 w 303011"/>
                <a:gd name="connsiteY14" fmla="*/ 83735 h 257722"/>
                <a:gd name="connsiteX15" fmla="*/ 89926 w 303011"/>
                <a:gd name="connsiteY15" fmla="*/ 86179 h 257722"/>
                <a:gd name="connsiteX16" fmla="*/ 90578 w 303011"/>
                <a:gd name="connsiteY16" fmla="*/ 89763 h 257722"/>
                <a:gd name="connsiteX17" fmla="*/ 90252 w 303011"/>
                <a:gd name="connsiteY17" fmla="*/ 91555 h 257722"/>
                <a:gd name="connsiteX18" fmla="*/ 92044 w 303011"/>
                <a:gd name="connsiteY18" fmla="*/ 91718 h 257722"/>
                <a:gd name="connsiteX19" fmla="*/ 97094 w 303011"/>
                <a:gd name="connsiteY19" fmla="*/ 93998 h 257722"/>
                <a:gd name="connsiteX20" fmla="*/ 99538 w 303011"/>
                <a:gd name="connsiteY20" fmla="*/ 94324 h 257722"/>
                <a:gd name="connsiteX21" fmla="*/ 105565 w 303011"/>
                <a:gd name="connsiteY21" fmla="*/ 97908 h 257722"/>
                <a:gd name="connsiteX22" fmla="*/ 110615 w 303011"/>
                <a:gd name="connsiteY22" fmla="*/ 98723 h 257722"/>
                <a:gd name="connsiteX23" fmla="*/ 116643 w 303011"/>
                <a:gd name="connsiteY23" fmla="*/ 100189 h 257722"/>
                <a:gd name="connsiteX24" fmla="*/ 116969 w 303011"/>
                <a:gd name="connsiteY24" fmla="*/ 101655 h 257722"/>
                <a:gd name="connsiteX25" fmla="*/ 121042 w 303011"/>
                <a:gd name="connsiteY25" fmla="*/ 101655 h 257722"/>
                <a:gd name="connsiteX26" fmla="*/ 128861 w 303011"/>
                <a:gd name="connsiteY26" fmla="*/ 99049 h 257722"/>
                <a:gd name="connsiteX27" fmla="*/ 129187 w 303011"/>
                <a:gd name="connsiteY27" fmla="*/ 96442 h 257722"/>
                <a:gd name="connsiteX28" fmla="*/ 131468 w 303011"/>
                <a:gd name="connsiteY28" fmla="*/ 89763 h 257722"/>
                <a:gd name="connsiteX29" fmla="*/ 134889 w 303011"/>
                <a:gd name="connsiteY29" fmla="*/ 89274 h 257722"/>
                <a:gd name="connsiteX30" fmla="*/ 137170 w 303011"/>
                <a:gd name="connsiteY30" fmla="*/ 87971 h 257722"/>
                <a:gd name="connsiteX31" fmla="*/ 139288 w 303011"/>
                <a:gd name="connsiteY31" fmla="*/ 88623 h 257722"/>
                <a:gd name="connsiteX32" fmla="*/ 139288 w 303011"/>
                <a:gd name="connsiteY32" fmla="*/ 95953 h 257722"/>
                <a:gd name="connsiteX33" fmla="*/ 143197 w 303011"/>
                <a:gd name="connsiteY33" fmla="*/ 100515 h 257722"/>
                <a:gd name="connsiteX34" fmla="*/ 143686 w 303011"/>
                <a:gd name="connsiteY34" fmla="*/ 103284 h 257722"/>
                <a:gd name="connsiteX35" fmla="*/ 149877 w 303011"/>
                <a:gd name="connsiteY35" fmla="*/ 106868 h 257722"/>
                <a:gd name="connsiteX36" fmla="*/ 159326 w 303011"/>
                <a:gd name="connsiteY36" fmla="*/ 109964 h 257722"/>
                <a:gd name="connsiteX37" fmla="*/ 165027 w 303011"/>
                <a:gd name="connsiteY37" fmla="*/ 113711 h 257722"/>
                <a:gd name="connsiteX38" fmla="*/ 170403 w 303011"/>
                <a:gd name="connsiteY38" fmla="*/ 120879 h 257722"/>
                <a:gd name="connsiteX39" fmla="*/ 174965 w 303011"/>
                <a:gd name="connsiteY39" fmla="*/ 124951 h 257722"/>
                <a:gd name="connsiteX40" fmla="*/ 180015 w 303011"/>
                <a:gd name="connsiteY40" fmla="*/ 130816 h 257722"/>
                <a:gd name="connsiteX41" fmla="*/ 185554 w 303011"/>
                <a:gd name="connsiteY41" fmla="*/ 135703 h 257722"/>
                <a:gd name="connsiteX42" fmla="*/ 188649 w 303011"/>
                <a:gd name="connsiteY42" fmla="*/ 135703 h 257722"/>
                <a:gd name="connsiteX43" fmla="*/ 192885 w 303011"/>
                <a:gd name="connsiteY43" fmla="*/ 134726 h 257722"/>
                <a:gd name="connsiteX44" fmla="*/ 196795 w 303011"/>
                <a:gd name="connsiteY44" fmla="*/ 133097 h 257722"/>
                <a:gd name="connsiteX45" fmla="*/ 198586 w 303011"/>
                <a:gd name="connsiteY45" fmla="*/ 133585 h 257722"/>
                <a:gd name="connsiteX46" fmla="*/ 198912 w 303011"/>
                <a:gd name="connsiteY46" fmla="*/ 135052 h 257722"/>
                <a:gd name="connsiteX47" fmla="*/ 203148 w 303011"/>
                <a:gd name="connsiteY47" fmla="*/ 135703 h 257722"/>
                <a:gd name="connsiteX48" fmla="*/ 204451 w 303011"/>
                <a:gd name="connsiteY48" fmla="*/ 133585 h 257722"/>
                <a:gd name="connsiteX49" fmla="*/ 203148 w 303011"/>
                <a:gd name="connsiteY49" fmla="*/ 106380 h 257722"/>
                <a:gd name="connsiteX50" fmla="*/ 199890 w 303011"/>
                <a:gd name="connsiteY50" fmla="*/ 105239 h 257722"/>
                <a:gd name="connsiteX51" fmla="*/ 194351 w 303011"/>
                <a:gd name="connsiteY51" fmla="*/ 106054 h 257722"/>
                <a:gd name="connsiteX52" fmla="*/ 194840 w 303011"/>
                <a:gd name="connsiteY52" fmla="*/ 108986 h 257722"/>
                <a:gd name="connsiteX53" fmla="*/ 196469 w 303011"/>
                <a:gd name="connsiteY53" fmla="*/ 111430 h 257722"/>
                <a:gd name="connsiteX54" fmla="*/ 195165 w 303011"/>
                <a:gd name="connsiteY54" fmla="*/ 112244 h 257722"/>
                <a:gd name="connsiteX55" fmla="*/ 184576 w 303011"/>
                <a:gd name="connsiteY55" fmla="*/ 111919 h 257722"/>
                <a:gd name="connsiteX56" fmla="*/ 182133 w 303011"/>
                <a:gd name="connsiteY56" fmla="*/ 108823 h 257722"/>
                <a:gd name="connsiteX57" fmla="*/ 180667 w 303011"/>
                <a:gd name="connsiteY57" fmla="*/ 104750 h 257722"/>
                <a:gd name="connsiteX58" fmla="*/ 173987 w 303011"/>
                <a:gd name="connsiteY58" fmla="*/ 97420 h 257722"/>
                <a:gd name="connsiteX59" fmla="*/ 170566 w 303011"/>
                <a:gd name="connsiteY59" fmla="*/ 94813 h 257722"/>
                <a:gd name="connsiteX60" fmla="*/ 170240 w 303011"/>
                <a:gd name="connsiteY60" fmla="*/ 88134 h 257722"/>
                <a:gd name="connsiteX61" fmla="*/ 169915 w 303011"/>
                <a:gd name="connsiteY61" fmla="*/ 73961 h 257722"/>
                <a:gd name="connsiteX62" fmla="*/ 170403 w 303011"/>
                <a:gd name="connsiteY62" fmla="*/ 70540 h 257722"/>
                <a:gd name="connsiteX63" fmla="*/ 175453 w 303011"/>
                <a:gd name="connsiteY63" fmla="*/ 65978 h 257722"/>
                <a:gd name="connsiteX64" fmla="*/ 177083 w 303011"/>
                <a:gd name="connsiteY64" fmla="*/ 63372 h 257722"/>
                <a:gd name="connsiteX65" fmla="*/ 176105 w 303011"/>
                <a:gd name="connsiteY65" fmla="*/ 61742 h 257722"/>
                <a:gd name="connsiteX66" fmla="*/ 178060 w 303011"/>
                <a:gd name="connsiteY66" fmla="*/ 60602 h 257722"/>
                <a:gd name="connsiteX67" fmla="*/ 178874 w 303011"/>
                <a:gd name="connsiteY67" fmla="*/ 55226 h 257722"/>
                <a:gd name="connsiteX68" fmla="*/ 178386 w 303011"/>
                <a:gd name="connsiteY68" fmla="*/ 51316 h 257722"/>
                <a:gd name="connsiteX69" fmla="*/ 178874 w 303011"/>
                <a:gd name="connsiteY69" fmla="*/ 47895 h 257722"/>
                <a:gd name="connsiteX70" fmla="*/ 178386 w 303011"/>
                <a:gd name="connsiteY70" fmla="*/ 44311 h 257722"/>
                <a:gd name="connsiteX71" fmla="*/ 180015 w 303011"/>
                <a:gd name="connsiteY71" fmla="*/ 42682 h 257722"/>
                <a:gd name="connsiteX72" fmla="*/ 180341 w 303011"/>
                <a:gd name="connsiteY72" fmla="*/ 39750 h 257722"/>
                <a:gd name="connsiteX73" fmla="*/ 177734 w 303011"/>
                <a:gd name="connsiteY73" fmla="*/ 38447 h 257722"/>
                <a:gd name="connsiteX74" fmla="*/ 174965 w 303011"/>
                <a:gd name="connsiteY74" fmla="*/ 35677 h 257722"/>
                <a:gd name="connsiteX75" fmla="*/ 173499 w 303011"/>
                <a:gd name="connsiteY75" fmla="*/ 29975 h 257722"/>
                <a:gd name="connsiteX76" fmla="*/ 183925 w 303011"/>
                <a:gd name="connsiteY76" fmla="*/ 10100 h 257722"/>
                <a:gd name="connsiteX77" fmla="*/ 225629 w 303011"/>
                <a:gd name="connsiteY77" fmla="*/ 0 h 257722"/>
                <a:gd name="connsiteX78" fmla="*/ 237847 w 303011"/>
                <a:gd name="connsiteY78" fmla="*/ 5865 h 257722"/>
                <a:gd name="connsiteX79" fmla="*/ 241595 w 303011"/>
                <a:gd name="connsiteY79" fmla="*/ 5865 h 257722"/>
                <a:gd name="connsiteX80" fmla="*/ 245342 w 303011"/>
                <a:gd name="connsiteY80" fmla="*/ 7331 h 257722"/>
                <a:gd name="connsiteX81" fmla="*/ 247948 w 303011"/>
                <a:gd name="connsiteY81" fmla="*/ 7331 h 257722"/>
                <a:gd name="connsiteX82" fmla="*/ 251695 w 303011"/>
                <a:gd name="connsiteY82" fmla="*/ 9937 h 257722"/>
                <a:gd name="connsiteX83" fmla="*/ 252020 w 303011"/>
                <a:gd name="connsiteY83" fmla="*/ 11892 h 257722"/>
                <a:gd name="connsiteX84" fmla="*/ 255116 w 303011"/>
                <a:gd name="connsiteY84" fmla="*/ 14825 h 257722"/>
                <a:gd name="connsiteX85" fmla="*/ 260003 w 303011"/>
                <a:gd name="connsiteY85" fmla="*/ 14988 h 257722"/>
                <a:gd name="connsiteX86" fmla="*/ 271570 w 303011"/>
                <a:gd name="connsiteY86" fmla="*/ 19060 h 257722"/>
                <a:gd name="connsiteX87" fmla="*/ 274339 w 303011"/>
                <a:gd name="connsiteY87" fmla="*/ 19060 h 257722"/>
                <a:gd name="connsiteX88" fmla="*/ 276620 w 303011"/>
                <a:gd name="connsiteY88" fmla="*/ 21341 h 257722"/>
                <a:gd name="connsiteX89" fmla="*/ 279878 w 303011"/>
                <a:gd name="connsiteY89" fmla="*/ 21830 h 257722"/>
                <a:gd name="connsiteX90" fmla="*/ 281508 w 303011"/>
                <a:gd name="connsiteY90" fmla="*/ 25902 h 257722"/>
                <a:gd name="connsiteX91" fmla="*/ 286069 w 303011"/>
                <a:gd name="connsiteY91" fmla="*/ 30953 h 257722"/>
                <a:gd name="connsiteX92" fmla="*/ 288186 w 303011"/>
                <a:gd name="connsiteY92" fmla="*/ 30953 h 257722"/>
                <a:gd name="connsiteX93" fmla="*/ 289653 w 303011"/>
                <a:gd name="connsiteY93" fmla="*/ 35025 h 257722"/>
                <a:gd name="connsiteX94" fmla="*/ 291445 w 303011"/>
                <a:gd name="connsiteY94" fmla="*/ 36329 h 257722"/>
                <a:gd name="connsiteX95" fmla="*/ 292585 w 303011"/>
                <a:gd name="connsiteY95" fmla="*/ 39913 h 257722"/>
                <a:gd name="connsiteX96" fmla="*/ 296169 w 303011"/>
                <a:gd name="connsiteY96" fmla="*/ 42031 h 257722"/>
                <a:gd name="connsiteX97" fmla="*/ 299427 w 303011"/>
                <a:gd name="connsiteY97" fmla="*/ 43008 h 257722"/>
                <a:gd name="connsiteX98" fmla="*/ 299101 w 303011"/>
                <a:gd name="connsiteY98" fmla="*/ 44963 h 257722"/>
                <a:gd name="connsiteX99" fmla="*/ 296332 w 303011"/>
                <a:gd name="connsiteY99" fmla="*/ 51316 h 257722"/>
                <a:gd name="connsiteX100" fmla="*/ 296821 w 303011"/>
                <a:gd name="connsiteY100" fmla="*/ 53923 h 257722"/>
                <a:gd name="connsiteX101" fmla="*/ 301219 w 303011"/>
                <a:gd name="connsiteY101" fmla="*/ 57018 h 257722"/>
                <a:gd name="connsiteX102" fmla="*/ 302685 w 303011"/>
                <a:gd name="connsiteY102" fmla="*/ 60765 h 257722"/>
                <a:gd name="connsiteX103" fmla="*/ 303011 w 303011"/>
                <a:gd name="connsiteY103" fmla="*/ 66141 h 257722"/>
                <a:gd name="connsiteX104" fmla="*/ 301708 w 303011"/>
                <a:gd name="connsiteY104" fmla="*/ 67933 h 257722"/>
                <a:gd name="connsiteX105" fmla="*/ 301708 w 303011"/>
                <a:gd name="connsiteY105" fmla="*/ 69399 h 257722"/>
                <a:gd name="connsiteX106" fmla="*/ 296006 w 303011"/>
                <a:gd name="connsiteY106" fmla="*/ 75264 h 257722"/>
                <a:gd name="connsiteX107" fmla="*/ 295192 w 303011"/>
                <a:gd name="connsiteY107" fmla="*/ 79663 h 257722"/>
                <a:gd name="connsiteX108" fmla="*/ 296821 w 303011"/>
                <a:gd name="connsiteY108" fmla="*/ 84061 h 257722"/>
                <a:gd name="connsiteX109" fmla="*/ 297309 w 303011"/>
                <a:gd name="connsiteY109" fmla="*/ 87971 h 257722"/>
                <a:gd name="connsiteX110" fmla="*/ 298124 w 303011"/>
                <a:gd name="connsiteY110" fmla="*/ 90903 h 257722"/>
                <a:gd name="connsiteX111" fmla="*/ 296169 w 303011"/>
                <a:gd name="connsiteY111" fmla="*/ 94324 h 257722"/>
                <a:gd name="connsiteX112" fmla="*/ 298450 w 303011"/>
                <a:gd name="connsiteY112" fmla="*/ 98234 h 257722"/>
                <a:gd name="connsiteX113" fmla="*/ 297472 w 303011"/>
                <a:gd name="connsiteY113" fmla="*/ 101004 h 257722"/>
                <a:gd name="connsiteX114" fmla="*/ 296169 w 303011"/>
                <a:gd name="connsiteY114" fmla="*/ 102144 h 257722"/>
                <a:gd name="connsiteX115" fmla="*/ 297309 w 303011"/>
                <a:gd name="connsiteY115" fmla="*/ 105565 h 257722"/>
                <a:gd name="connsiteX116" fmla="*/ 297635 w 303011"/>
                <a:gd name="connsiteY116" fmla="*/ 107846 h 257722"/>
                <a:gd name="connsiteX117" fmla="*/ 300405 w 303011"/>
                <a:gd name="connsiteY117" fmla="*/ 109638 h 257722"/>
                <a:gd name="connsiteX118" fmla="*/ 300731 w 303011"/>
                <a:gd name="connsiteY118" fmla="*/ 111593 h 257722"/>
                <a:gd name="connsiteX119" fmla="*/ 298287 w 303011"/>
                <a:gd name="connsiteY119" fmla="*/ 112244 h 257722"/>
                <a:gd name="connsiteX120" fmla="*/ 296984 w 303011"/>
                <a:gd name="connsiteY120" fmla="*/ 114851 h 257722"/>
                <a:gd name="connsiteX121" fmla="*/ 293400 w 303011"/>
                <a:gd name="connsiteY121" fmla="*/ 116480 h 257722"/>
                <a:gd name="connsiteX122" fmla="*/ 287698 w 303011"/>
                <a:gd name="connsiteY122" fmla="*/ 120715 h 257722"/>
                <a:gd name="connsiteX123" fmla="*/ 286558 w 303011"/>
                <a:gd name="connsiteY123" fmla="*/ 122671 h 257722"/>
                <a:gd name="connsiteX124" fmla="*/ 286720 w 303011"/>
                <a:gd name="connsiteY124" fmla="*/ 126255 h 257722"/>
                <a:gd name="connsiteX125" fmla="*/ 287535 w 303011"/>
                <a:gd name="connsiteY125" fmla="*/ 128372 h 257722"/>
                <a:gd name="connsiteX126" fmla="*/ 286720 w 303011"/>
                <a:gd name="connsiteY126" fmla="*/ 131142 h 257722"/>
                <a:gd name="connsiteX127" fmla="*/ 286720 w 303011"/>
                <a:gd name="connsiteY127" fmla="*/ 134726 h 257722"/>
                <a:gd name="connsiteX128" fmla="*/ 282811 w 303011"/>
                <a:gd name="connsiteY128" fmla="*/ 139287 h 257722"/>
                <a:gd name="connsiteX129" fmla="*/ 280204 w 303011"/>
                <a:gd name="connsiteY129" fmla="*/ 140590 h 257722"/>
                <a:gd name="connsiteX130" fmla="*/ 281018 w 303011"/>
                <a:gd name="connsiteY130" fmla="*/ 143034 h 257722"/>
                <a:gd name="connsiteX131" fmla="*/ 284440 w 303011"/>
                <a:gd name="connsiteY131" fmla="*/ 147433 h 257722"/>
                <a:gd name="connsiteX132" fmla="*/ 286720 w 303011"/>
                <a:gd name="connsiteY132" fmla="*/ 152320 h 257722"/>
                <a:gd name="connsiteX133" fmla="*/ 287209 w 303011"/>
                <a:gd name="connsiteY133" fmla="*/ 154764 h 257722"/>
                <a:gd name="connsiteX134" fmla="*/ 287046 w 303011"/>
                <a:gd name="connsiteY134" fmla="*/ 154764 h 257722"/>
                <a:gd name="connsiteX135" fmla="*/ 279390 w 303011"/>
                <a:gd name="connsiteY135" fmla="*/ 157207 h 257722"/>
                <a:gd name="connsiteX136" fmla="*/ 264239 w 303011"/>
                <a:gd name="connsiteY136" fmla="*/ 163398 h 257722"/>
                <a:gd name="connsiteX137" fmla="*/ 259515 w 303011"/>
                <a:gd name="connsiteY137" fmla="*/ 164375 h 257722"/>
                <a:gd name="connsiteX138" fmla="*/ 233612 w 303011"/>
                <a:gd name="connsiteY138" fmla="*/ 175127 h 257722"/>
                <a:gd name="connsiteX139" fmla="*/ 228236 w 303011"/>
                <a:gd name="connsiteY139" fmla="*/ 175127 h 257722"/>
                <a:gd name="connsiteX140" fmla="*/ 218299 w 303011"/>
                <a:gd name="connsiteY140" fmla="*/ 180340 h 257722"/>
                <a:gd name="connsiteX141" fmla="*/ 216181 w 303011"/>
                <a:gd name="connsiteY141" fmla="*/ 184250 h 257722"/>
                <a:gd name="connsiteX142" fmla="*/ 218136 w 303011"/>
                <a:gd name="connsiteY142" fmla="*/ 192070 h 257722"/>
                <a:gd name="connsiteX143" fmla="*/ 218299 w 303011"/>
                <a:gd name="connsiteY143" fmla="*/ 194839 h 257722"/>
                <a:gd name="connsiteX144" fmla="*/ 217321 w 303011"/>
                <a:gd name="connsiteY144" fmla="*/ 194839 h 257722"/>
                <a:gd name="connsiteX145" fmla="*/ 215203 w 303011"/>
                <a:gd name="connsiteY145" fmla="*/ 195328 h 257722"/>
                <a:gd name="connsiteX146" fmla="*/ 209990 w 303011"/>
                <a:gd name="connsiteY146" fmla="*/ 194514 h 257722"/>
                <a:gd name="connsiteX147" fmla="*/ 207220 w 303011"/>
                <a:gd name="connsiteY147" fmla="*/ 194839 h 257722"/>
                <a:gd name="connsiteX148" fmla="*/ 206080 w 303011"/>
                <a:gd name="connsiteY148" fmla="*/ 193373 h 257722"/>
                <a:gd name="connsiteX149" fmla="*/ 199075 w 303011"/>
                <a:gd name="connsiteY149" fmla="*/ 193210 h 257722"/>
                <a:gd name="connsiteX150" fmla="*/ 193699 w 303011"/>
                <a:gd name="connsiteY150" fmla="*/ 195165 h 257722"/>
                <a:gd name="connsiteX151" fmla="*/ 190278 w 303011"/>
                <a:gd name="connsiteY151" fmla="*/ 196794 h 257722"/>
                <a:gd name="connsiteX152" fmla="*/ 186206 w 303011"/>
                <a:gd name="connsiteY152" fmla="*/ 198097 h 257722"/>
                <a:gd name="connsiteX153" fmla="*/ 179200 w 303011"/>
                <a:gd name="connsiteY153" fmla="*/ 201681 h 257722"/>
                <a:gd name="connsiteX154" fmla="*/ 177083 w 303011"/>
                <a:gd name="connsiteY154" fmla="*/ 205591 h 257722"/>
                <a:gd name="connsiteX155" fmla="*/ 177734 w 303011"/>
                <a:gd name="connsiteY155" fmla="*/ 207872 h 257722"/>
                <a:gd name="connsiteX156" fmla="*/ 176431 w 303011"/>
                <a:gd name="connsiteY156" fmla="*/ 210479 h 257722"/>
                <a:gd name="connsiteX157" fmla="*/ 177083 w 303011"/>
                <a:gd name="connsiteY157" fmla="*/ 212759 h 257722"/>
                <a:gd name="connsiteX158" fmla="*/ 176594 w 303011"/>
                <a:gd name="connsiteY158" fmla="*/ 214551 h 257722"/>
                <a:gd name="connsiteX159" fmla="*/ 174476 w 303011"/>
                <a:gd name="connsiteY159" fmla="*/ 216343 h 257722"/>
                <a:gd name="connsiteX160" fmla="*/ 165842 w 303011"/>
                <a:gd name="connsiteY160" fmla="*/ 219439 h 257722"/>
                <a:gd name="connsiteX161" fmla="*/ 150691 w 303011"/>
                <a:gd name="connsiteY161" fmla="*/ 229539 h 257722"/>
                <a:gd name="connsiteX162" fmla="*/ 138636 w 303011"/>
                <a:gd name="connsiteY162" fmla="*/ 244527 h 257722"/>
                <a:gd name="connsiteX163" fmla="*/ 131142 w 303011"/>
                <a:gd name="connsiteY163" fmla="*/ 255441 h 257722"/>
                <a:gd name="connsiteX164" fmla="*/ 124137 w 303011"/>
                <a:gd name="connsiteY164" fmla="*/ 257722 h 257722"/>
                <a:gd name="connsiteX165" fmla="*/ 119413 w 303011"/>
                <a:gd name="connsiteY165" fmla="*/ 256582 h 257722"/>
                <a:gd name="connsiteX166" fmla="*/ 115503 w 303011"/>
                <a:gd name="connsiteY166" fmla="*/ 253649 h 257722"/>
                <a:gd name="connsiteX167" fmla="*/ 115014 w 303011"/>
                <a:gd name="connsiteY167" fmla="*/ 253324 h 257722"/>
                <a:gd name="connsiteX168" fmla="*/ 113385 w 303011"/>
                <a:gd name="connsiteY168" fmla="*/ 252672 h 257722"/>
                <a:gd name="connsiteX169" fmla="*/ 112245 w 303011"/>
                <a:gd name="connsiteY169" fmla="*/ 252835 h 257722"/>
                <a:gd name="connsiteX170" fmla="*/ 109638 w 303011"/>
                <a:gd name="connsiteY170" fmla="*/ 251532 h 257722"/>
                <a:gd name="connsiteX171" fmla="*/ 104099 w 303011"/>
                <a:gd name="connsiteY171" fmla="*/ 252183 h 257722"/>
                <a:gd name="connsiteX172" fmla="*/ 99538 w 303011"/>
                <a:gd name="connsiteY172" fmla="*/ 255441 h 257722"/>
                <a:gd name="connsiteX173" fmla="*/ 96931 w 303011"/>
                <a:gd name="connsiteY173" fmla="*/ 255279 h 257722"/>
                <a:gd name="connsiteX174" fmla="*/ 94488 w 303011"/>
                <a:gd name="connsiteY174" fmla="*/ 253324 h 257722"/>
                <a:gd name="connsiteX175" fmla="*/ 89926 w 303011"/>
                <a:gd name="connsiteY175" fmla="*/ 250880 h 257722"/>
                <a:gd name="connsiteX176" fmla="*/ 83736 w 303011"/>
                <a:gd name="connsiteY176" fmla="*/ 250228 h 257722"/>
                <a:gd name="connsiteX177" fmla="*/ 81129 w 303011"/>
                <a:gd name="connsiteY177" fmla="*/ 249903 h 257722"/>
                <a:gd name="connsiteX178" fmla="*/ 77382 w 303011"/>
                <a:gd name="connsiteY178" fmla="*/ 245504 h 257722"/>
                <a:gd name="connsiteX179" fmla="*/ 76242 w 303011"/>
                <a:gd name="connsiteY179" fmla="*/ 245015 h 257722"/>
                <a:gd name="connsiteX180" fmla="*/ 74938 w 303011"/>
                <a:gd name="connsiteY180" fmla="*/ 244201 h 257722"/>
                <a:gd name="connsiteX181" fmla="*/ 72169 w 303011"/>
                <a:gd name="connsiteY181" fmla="*/ 244201 h 257722"/>
                <a:gd name="connsiteX182" fmla="*/ 70377 w 303011"/>
                <a:gd name="connsiteY182" fmla="*/ 242897 h 257722"/>
                <a:gd name="connsiteX183" fmla="*/ 69236 w 303011"/>
                <a:gd name="connsiteY183" fmla="*/ 242897 h 257722"/>
                <a:gd name="connsiteX184" fmla="*/ 67608 w 303011"/>
                <a:gd name="connsiteY184" fmla="*/ 242083 h 257722"/>
                <a:gd name="connsiteX185" fmla="*/ 61743 w 303011"/>
                <a:gd name="connsiteY185" fmla="*/ 243549 h 257722"/>
                <a:gd name="connsiteX186" fmla="*/ 59136 w 303011"/>
                <a:gd name="connsiteY186" fmla="*/ 243223 h 257722"/>
                <a:gd name="connsiteX187" fmla="*/ 35026 w 303011"/>
                <a:gd name="connsiteY187" fmla="*/ 248762 h 257722"/>
                <a:gd name="connsiteX188" fmla="*/ 33560 w 303011"/>
                <a:gd name="connsiteY188" fmla="*/ 244689 h 257722"/>
                <a:gd name="connsiteX189" fmla="*/ 30301 w 303011"/>
                <a:gd name="connsiteY189" fmla="*/ 243223 h 257722"/>
                <a:gd name="connsiteX190" fmla="*/ 27206 w 303011"/>
                <a:gd name="connsiteY190" fmla="*/ 239476 h 257722"/>
                <a:gd name="connsiteX191" fmla="*/ 25414 w 303011"/>
                <a:gd name="connsiteY191" fmla="*/ 236707 h 257722"/>
                <a:gd name="connsiteX192" fmla="*/ 21504 w 303011"/>
                <a:gd name="connsiteY192" fmla="*/ 235241 h 257722"/>
                <a:gd name="connsiteX193" fmla="*/ 18246 w 303011"/>
                <a:gd name="connsiteY193" fmla="*/ 232308 h 257722"/>
                <a:gd name="connsiteX194" fmla="*/ 13033 w 303011"/>
                <a:gd name="connsiteY194" fmla="*/ 226118 h 257722"/>
                <a:gd name="connsiteX195" fmla="*/ 9775 w 303011"/>
                <a:gd name="connsiteY195" fmla="*/ 224163 h 257722"/>
                <a:gd name="connsiteX196" fmla="*/ 7494 w 303011"/>
                <a:gd name="connsiteY196" fmla="*/ 221393 h 257722"/>
                <a:gd name="connsiteX197" fmla="*/ 4562 w 303011"/>
                <a:gd name="connsiteY197" fmla="*/ 218624 h 257722"/>
                <a:gd name="connsiteX198" fmla="*/ 1140 w 303011"/>
                <a:gd name="connsiteY198" fmla="*/ 214388 h 257722"/>
                <a:gd name="connsiteX199" fmla="*/ 0 w 303011"/>
                <a:gd name="connsiteY199" fmla="*/ 211130 h 257722"/>
                <a:gd name="connsiteX200" fmla="*/ 1629 w 303011"/>
                <a:gd name="connsiteY200" fmla="*/ 125929 h 257722"/>
                <a:gd name="connsiteX201" fmla="*/ 56529 w 303011"/>
                <a:gd name="connsiteY201" fmla="*/ 125929 h 257722"/>
                <a:gd name="connsiteX202" fmla="*/ 54901 w 303011"/>
                <a:gd name="connsiteY202" fmla="*/ 123159 h 257722"/>
                <a:gd name="connsiteX203" fmla="*/ 56204 w 303011"/>
                <a:gd name="connsiteY203" fmla="*/ 115991 h 257722"/>
                <a:gd name="connsiteX204" fmla="*/ 58159 w 303011"/>
                <a:gd name="connsiteY204" fmla="*/ 114036 h 257722"/>
                <a:gd name="connsiteX205" fmla="*/ 57996 w 303011"/>
                <a:gd name="connsiteY205" fmla="*/ 109801 h 257722"/>
                <a:gd name="connsiteX206" fmla="*/ 55063 w 303011"/>
                <a:gd name="connsiteY206" fmla="*/ 104914 h 257722"/>
                <a:gd name="connsiteX207" fmla="*/ 55063 w 303011"/>
                <a:gd name="connsiteY207" fmla="*/ 99538 h 257722"/>
                <a:gd name="connsiteX208" fmla="*/ 55390 w 303011"/>
                <a:gd name="connsiteY208" fmla="*/ 90252 h 257722"/>
                <a:gd name="connsiteX209" fmla="*/ 53760 w 303011"/>
                <a:gd name="connsiteY209" fmla="*/ 79499 h 257722"/>
                <a:gd name="connsiteX210" fmla="*/ 55063 w 303011"/>
                <a:gd name="connsiteY210" fmla="*/ 77707 h 257722"/>
                <a:gd name="connsiteX211" fmla="*/ 55226 w 303011"/>
                <a:gd name="connsiteY211" fmla="*/ 75753 h 257722"/>
                <a:gd name="connsiteX212" fmla="*/ 55226 w 303011"/>
                <a:gd name="connsiteY212" fmla="*/ 74775 h 2577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</a:cxnLst>
              <a:rect l="l" t="t" r="r" b="b"/>
              <a:pathLst>
                <a:path w="303011" h="257722">
                  <a:moveTo>
                    <a:pt x="55226" y="74775"/>
                  </a:moveTo>
                  <a:lnTo>
                    <a:pt x="57344" y="76404"/>
                  </a:lnTo>
                  <a:lnTo>
                    <a:pt x="60277" y="76404"/>
                  </a:lnTo>
                  <a:lnTo>
                    <a:pt x="64349" y="77707"/>
                  </a:lnTo>
                  <a:lnTo>
                    <a:pt x="65490" y="79337"/>
                  </a:lnTo>
                  <a:lnTo>
                    <a:pt x="65815" y="83898"/>
                  </a:lnTo>
                  <a:lnTo>
                    <a:pt x="66793" y="85527"/>
                  </a:lnTo>
                  <a:lnTo>
                    <a:pt x="68422" y="86179"/>
                  </a:lnTo>
                  <a:lnTo>
                    <a:pt x="71192" y="83572"/>
                  </a:lnTo>
                  <a:lnTo>
                    <a:pt x="74613" y="81943"/>
                  </a:lnTo>
                  <a:lnTo>
                    <a:pt x="78522" y="81943"/>
                  </a:lnTo>
                  <a:lnTo>
                    <a:pt x="80152" y="80314"/>
                  </a:lnTo>
                  <a:lnTo>
                    <a:pt x="86831" y="78196"/>
                  </a:lnTo>
                  <a:lnTo>
                    <a:pt x="88460" y="78685"/>
                  </a:lnTo>
                  <a:lnTo>
                    <a:pt x="88786" y="83735"/>
                  </a:lnTo>
                  <a:lnTo>
                    <a:pt x="89926" y="86179"/>
                  </a:lnTo>
                  <a:lnTo>
                    <a:pt x="90578" y="89763"/>
                  </a:lnTo>
                  <a:lnTo>
                    <a:pt x="90252" y="91555"/>
                  </a:lnTo>
                  <a:lnTo>
                    <a:pt x="92044" y="91718"/>
                  </a:lnTo>
                  <a:lnTo>
                    <a:pt x="97094" y="93998"/>
                  </a:lnTo>
                  <a:lnTo>
                    <a:pt x="99538" y="94324"/>
                  </a:lnTo>
                  <a:lnTo>
                    <a:pt x="105565" y="97908"/>
                  </a:lnTo>
                  <a:lnTo>
                    <a:pt x="110615" y="98723"/>
                  </a:lnTo>
                  <a:lnTo>
                    <a:pt x="116643" y="100189"/>
                  </a:lnTo>
                  <a:lnTo>
                    <a:pt x="116969" y="101655"/>
                  </a:lnTo>
                  <a:lnTo>
                    <a:pt x="121042" y="101655"/>
                  </a:lnTo>
                  <a:lnTo>
                    <a:pt x="128861" y="99049"/>
                  </a:lnTo>
                  <a:lnTo>
                    <a:pt x="129187" y="96442"/>
                  </a:lnTo>
                  <a:lnTo>
                    <a:pt x="131468" y="89763"/>
                  </a:lnTo>
                  <a:lnTo>
                    <a:pt x="134889" y="89274"/>
                  </a:lnTo>
                  <a:lnTo>
                    <a:pt x="137170" y="87971"/>
                  </a:lnTo>
                  <a:lnTo>
                    <a:pt x="139288" y="88623"/>
                  </a:lnTo>
                  <a:lnTo>
                    <a:pt x="139288" y="95953"/>
                  </a:lnTo>
                  <a:lnTo>
                    <a:pt x="143197" y="100515"/>
                  </a:lnTo>
                  <a:lnTo>
                    <a:pt x="143686" y="103284"/>
                  </a:lnTo>
                  <a:lnTo>
                    <a:pt x="149877" y="106868"/>
                  </a:lnTo>
                  <a:lnTo>
                    <a:pt x="159326" y="109964"/>
                  </a:lnTo>
                  <a:lnTo>
                    <a:pt x="165027" y="113711"/>
                  </a:lnTo>
                  <a:lnTo>
                    <a:pt x="170403" y="120879"/>
                  </a:lnTo>
                  <a:lnTo>
                    <a:pt x="174965" y="124951"/>
                  </a:lnTo>
                  <a:lnTo>
                    <a:pt x="180015" y="130816"/>
                  </a:lnTo>
                  <a:lnTo>
                    <a:pt x="185554" y="135703"/>
                  </a:lnTo>
                  <a:lnTo>
                    <a:pt x="188649" y="135703"/>
                  </a:lnTo>
                  <a:lnTo>
                    <a:pt x="192885" y="134726"/>
                  </a:lnTo>
                  <a:lnTo>
                    <a:pt x="196795" y="133097"/>
                  </a:lnTo>
                  <a:lnTo>
                    <a:pt x="198586" y="133585"/>
                  </a:lnTo>
                  <a:lnTo>
                    <a:pt x="198912" y="135052"/>
                  </a:lnTo>
                  <a:lnTo>
                    <a:pt x="203148" y="135703"/>
                  </a:lnTo>
                  <a:lnTo>
                    <a:pt x="204451" y="133585"/>
                  </a:lnTo>
                  <a:lnTo>
                    <a:pt x="203148" y="106380"/>
                  </a:lnTo>
                  <a:lnTo>
                    <a:pt x="199890" y="105239"/>
                  </a:lnTo>
                  <a:lnTo>
                    <a:pt x="194351" y="106054"/>
                  </a:lnTo>
                  <a:lnTo>
                    <a:pt x="194840" y="108986"/>
                  </a:lnTo>
                  <a:lnTo>
                    <a:pt x="196469" y="111430"/>
                  </a:lnTo>
                  <a:lnTo>
                    <a:pt x="195165" y="112244"/>
                  </a:lnTo>
                  <a:lnTo>
                    <a:pt x="184576" y="111919"/>
                  </a:lnTo>
                  <a:lnTo>
                    <a:pt x="182133" y="108823"/>
                  </a:lnTo>
                  <a:lnTo>
                    <a:pt x="180667" y="104750"/>
                  </a:lnTo>
                  <a:lnTo>
                    <a:pt x="173987" y="97420"/>
                  </a:lnTo>
                  <a:lnTo>
                    <a:pt x="170566" y="94813"/>
                  </a:lnTo>
                  <a:lnTo>
                    <a:pt x="170240" y="88134"/>
                  </a:lnTo>
                  <a:lnTo>
                    <a:pt x="169915" y="73961"/>
                  </a:lnTo>
                  <a:lnTo>
                    <a:pt x="170403" y="70540"/>
                  </a:lnTo>
                  <a:lnTo>
                    <a:pt x="175453" y="65978"/>
                  </a:lnTo>
                  <a:lnTo>
                    <a:pt x="177083" y="63372"/>
                  </a:lnTo>
                  <a:lnTo>
                    <a:pt x="176105" y="61742"/>
                  </a:lnTo>
                  <a:lnTo>
                    <a:pt x="178060" y="60602"/>
                  </a:lnTo>
                  <a:lnTo>
                    <a:pt x="178874" y="55226"/>
                  </a:lnTo>
                  <a:lnTo>
                    <a:pt x="178386" y="51316"/>
                  </a:lnTo>
                  <a:lnTo>
                    <a:pt x="178874" y="47895"/>
                  </a:lnTo>
                  <a:lnTo>
                    <a:pt x="178386" y="44311"/>
                  </a:lnTo>
                  <a:lnTo>
                    <a:pt x="180015" y="42682"/>
                  </a:lnTo>
                  <a:lnTo>
                    <a:pt x="180341" y="39750"/>
                  </a:lnTo>
                  <a:lnTo>
                    <a:pt x="177734" y="38447"/>
                  </a:lnTo>
                  <a:lnTo>
                    <a:pt x="174965" y="35677"/>
                  </a:lnTo>
                  <a:lnTo>
                    <a:pt x="173499" y="29975"/>
                  </a:lnTo>
                  <a:lnTo>
                    <a:pt x="183925" y="10100"/>
                  </a:lnTo>
                  <a:lnTo>
                    <a:pt x="225629" y="0"/>
                  </a:lnTo>
                  <a:lnTo>
                    <a:pt x="237847" y="5865"/>
                  </a:lnTo>
                  <a:lnTo>
                    <a:pt x="241595" y="5865"/>
                  </a:lnTo>
                  <a:lnTo>
                    <a:pt x="245342" y="7331"/>
                  </a:lnTo>
                  <a:lnTo>
                    <a:pt x="247948" y="7331"/>
                  </a:lnTo>
                  <a:lnTo>
                    <a:pt x="251695" y="9937"/>
                  </a:lnTo>
                  <a:lnTo>
                    <a:pt x="252020" y="11892"/>
                  </a:lnTo>
                  <a:lnTo>
                    <a:pt x="255116" y="14825"/>
                  </a:lnTo>
                  <a:lnTo>
                    <a:pt x="260003" y="14988"/>
                  </a:lnTo>
                  <a:lnTo>
                    <a:pt x="271570" y="19060"/>
                  </a:lnTo>
                  <a:lnTo>
                    <a:pt x="274339" y="19060"/>
                  </a:lnTo>
                  <a:lnTo>
                    <a:pt x="276620" y="21341"/>
                  </a:lnTo>
                  <a:lnTo>
                    <a:pt x="279878" y="21830"/>
                  </a:lnTo>
                  <a:lnTo>
                    <a:pt x="281508" y="25902"/>
                  </a:lnTo>
                  <a:lnTo>
                    <a:pt x="286069" y="30953"/>
                  </a:lnTo>
                  <a:lnTo>
                    <a:pt x="288186" y="30953"/>
                  </a:lnTo>
                  <a:lnTo>
                    <a:pt x="289653" y="35025"/>
                  </a:lnTo>
                  <a:lnTo>
                    <a:pt x="291445" y="36329"/>
                  </a:lnTo>
                  <a:lnTo>
                    <a:pt x="292585" y="39913"/>
                  </a:lnTo>
                  <a:lnTo>
                    <a:pt x="296169" y="42031"/>
                  </a:lnTo>
                  <a:lnTo>
                    <a:pt x="299427" y="43008"/>
                  </a:lnTo>
                  <a:lnTo>
                    <a:pt x="299101" y="44963"/>
                  </a:lnTo>
                  <a:lnTo>
                    <a:pt x="296332" y="51316"/>
                  </a:lnTo>
                  <a:lnTo>
                    <a:pt x="296821" y="53923"/>
                  </a:lnTo>
                  <a:lnTo>
                    <a:pt x="301219" y="57018"/>
                  </a:lnTo>
                  <a:lnTo>
                    <a:pt x="302685" y="60765"/>
                  </a:lnTo>
                  <a:lnTo>
                    <a:pt x="303011" y="66141"/>
                  </a:lnTo>
                  <a:lnTo>
                    <a:pt x="301708" y="67933"/>
                  </a:lnTo>
                  <a:lnTo>
                    <a:pt x="301708" y="69399"/>
                  </a:lnTo>
                  <a:lnTo>
                    <a:pt x="296006" y="75264"/>
                  </a:lnTo>
                  <a:lnTo>
                    <a:pt x="295192" y="79663"/>
                  </a:lnTo>
                  <a:lnTo>
                    <a:pt x="296821" y="84061"/>
                  </a:lnTo>
                  <a:lnTo>
                    <a:pt x="297309" y="87971"/>
                  </a:lnTo>
                  <a:lnTo>
                    <a:pt x="298124" y="90903"/>
                  </a:lnTo>
                  <a:lnTo>
                    <a:pt x="296169" y="94324"/>
                  </a:lnTo>
                  <a:lnTo>
                    <a:pt x="298450" y="98234"/>
                  </a:lnTo>
                  <a:lnTo>
                    <a:pt x="297472" y="101004"/>
                  </a:lnTo>
                  <a:lnTo>
                    <a:pt x="296169" y="102144"/>
                  </a:lnTo>
                  <a:lnTo>
                    <a:pt x="297309" y="105565"/>
                  </a:lnTo>
                  <a:lnTo>
                    <a:pt x="297635" y="107846"/>
                  </a:lnTo>
                  <a:lnTo>
                    <a:pt x="300405" y="109638"/>
                  </a:lnTo>
                  <a:lnTo>
                    <a:pt x="300731" y="111593"/>
                  </a:lnTo>
                  <a:lnTo>
                    <a:pt x="298287" y="112244"/>
                  </a:lnTo>
                  <a:lnTo>
                    <a:pt x="296984" y="114851"/>
                  </a:lnTo>
                  <a:lnTo>
                    <a:pt x="293400" y="116480"/>
                  </a:lnTo>
                  <a:lnTo>
                    <a:pt x="287698" y="120715"/>
                  </a:lnTo>
                  <a:lnTo>
                    <a:pt x="286558" y="122671"/>
                  </a:lnTo>
                  <a:lnTo>
                    <a:pt x="286720" y="126255"/>
                  </a:lnTo>
                  <a:lnTo>
                    <a:pt x="287535" y="128372"/>
                  </a:lnTo>
                  <a:lnTo>
                    <a:pt x="286720" y="131142"/>
                  </a:lnTo>
                  <a:lnTo>
                    <a:pt x="286720" y="134726"/>
                  </a:lnTo>
                  <a:lnTo>
                    <a:pt x="282811" y="139287"/>
                  </a:lnTo>
                  <a:lnTo>
                    <a:pt x="280204" y="140590"/>
                  </a:lnTo>
                  <a:lnTo>
                    <a:pt x="281018" y="143034"/>
                  </a:lnTo>
                  <a:lnTo>
                    <a:pt x="284440" y="147433"/>
                  </a:lnTo>
                  <a:lnTo>
                    <a:pt x="286720" y="152320"/>
                  </a:lnTo>
                  <a:lnTo>
                    <a:pt x="287209" y="154764"/>
                  </a:lnTo>
                  <a:lnTo>
                    <a:pt x="287046" y="154764"/>
                  </a:lnTo>
                  <a:lnTo>
                    <a:pt x="279390" y="157207"/>
                  </a:lnTo>
                  <a:lnTo>
                    <a:pt x="264239" y="163398"/>
                  </a:lnTo>
                  <a:lnTo>
                    <a:pt x="259515" y="164375"/>
                  </a:lnTo>
                  <a:lnTo>
                    <a:pt x="233612" y="175127"/>
                  </a:lnTo>
                  <a:lnTo>
                    <a:pt x="228236" y="175127"/>
                  </a:lnTo>
                  <a:lnTo>
                    <a:pt x="218299" y="180340"/>
                  </a:lnTo>
                  <a:lnTo>
                    <a:pt x="216181" y="184250"/>
                  </a:lnTo>
                  <a:lnTo>
                    <a:pt x="218136" y="192070"/>
                  </a:lnTo>
                  <a:lnTo>
                    <a:pt x="218299" y="194839"/>
                  </a:lnTo>
                  <a:lnTo>
                    <a:pt x="217321" y="194839"/>
                  </a:lnTo>
                  <a:lnTo>
                    <a:pt x="215203" y="195328"/>
                  </a:lnTo>
                  <a:lnTo>
                    <a:pt x="209990" y="194514"/>
                  </a:lnTo>
                  <a:lnTo>
                    <a:pt x="207220" y="194839"/>
                  </a:lnTo>
                  <a:lnTo>
                    <a:pt x="206080" y="193373"/>
                  </a:lnTo>
                  <a:lnTo>
                    <a:pt x="199075" y="193210"/>
                  </a:lnTo>
                  <a:lnTo>
                    <a:pt x="193699" y="195165"/>
                  </a:lnTo>
                  <a:lnTo>
                    <a:pt x="190278" y="196794"/>
                  </a:lnTo>
                  <a:lnTo>
                    <a:pt x="186206" y="198097"/>
                  </a:lnTo>
                  <a:lnTo>
                    <a:pt x="179200" y="201681"/>
                  </a:lnTo>
                  <a:lnTo>
                    <a:pt x="177083" y="205591"/>
                  </a:lnTo>
                  <a:lnTo>
                    <a:pt x="177734" y="207872"/>
                  </a:lnTo>
                  <a:lnTo>
                    <a:pt x="176431" y="210479"/>
                  </a:lnTo>
                  <a:lnTo>
                    <a:pt x="177083" y="212759"/>
                  </a:lnTo>
                  <a:lnTo>
                    <a:pt x="176594" y="214551"/>
                  </a:lnTo>
                  <a:lnTo>
                    <a:pt x="174476" y="216343"/>
                  </a:lnTo>
                  <a:lnTo>
                    <a:pt x="165842" y="219439"/>
                  </a:lnTo>
                  <a:lnTo>
                    <a:pt x="150691" y="229539"/>
                  </a:lnTo>
                  <a:lnTo>
                    <a:pt x="138636" y="244527"/>
                  </a:lnTo>
                  <a:lnTo>
                    <a:pt x="131142" y="255441"/>
                  </a:lnTo>
                  <a:lnTo>
                    <a:pt x="124137" y="257722"/>
                  </a:lnTo>
                  <a:lnTo>
                    <a:pt x="119413" y="256582"/>
                  </a:lnTo>
                  <a:lnTo>
                    <a:pt x="115503" y="253649"/>
                  </a:lnTo>
                  <a:lnTo>
                    <a:pt x="115014" y="253324"/>
                  </a:lnTo>
                  <a:lnTo>
                    <a:pt x="113385" y="252672"/>
                  </a:lnTo>
                  <a:lnTo>
                    <a:pt x="112245" y="252835"/>
                  </a:lnTo>
                  <a:lnTo>
                    <a:pt x="109638" y="251532"/>
                  </a:lnTo>
                  <a:lnTo>
                    <a:pt x="104099" y="252183"/>
                  </a:lnTo>
                  <a:lnTo>
                    <a:pt x="99538" y="255441"/>
                  </a:lnTo>
                  <a:lnTo>
                    <a:pt x="96931" y="255279"/>
                  </a:lnTo>
                  <a:lnTo>
                    <a:pt x="94488" y="253324"/>
                  </a:lnTo>
                  <a:lnTo>
                    <a:pt x="89926" y="250880"/>
                  </a:lnTo>
                  <a:lnTo>
                    <a:pt x="83736" y="250228"/>
                  </a:lnTo>
                  <a:lnTo>
                    <a:pt x="81129" y="249903"/>
                  </a:lnTo>
                  <a:lnTo>
                    <a:pt x="77382" y="245504"/>
                  </a:lnTo>
                  <a:lnTo>
                    <a:pt x="76242" y="245015"/>
                  </a:lnTo>
                  <a:lnTo>
                    <a:pt x="74938" y="244201"/>
                  </a:lnTo>
                  <a:lnTo>
                    <a:pt x="72169" y="244201"/>
                  </a:lnTo>
                  <a:lnTo>
                    <a:pt x="70377" y="242897"/>
                  </a:lnTo>
                  <a:lnTo>
                    <a:pt x="69236" y="242897"/>
                  </a:lnTo>
                  <a:lnTo>
                    <a:pt x="67608" y="242083"/>
                  </a:lnTo>
                  <a:lnTo>
                    <a:pt x="61743" y="243549"/>
                  </a:lnTo>
                  <a:lnTo>
                    <a:pt x="59136" y="243223"/>
                  </a:lnTo>
                  <a:lnTo>
                    <a:pt x="35026" y="248762"/>
                  </a:lnTo>
                  <a:lnTo>
                    <a:pt x="33560" y="244689"/>
                  </a:lnTo>
                  <a:lnTo>
                    <a:pt x="30301" y="243223"/>
                  </a:lnTo>
                  <a:lnTo>
                    <a:pt x="27206" y="239476"/>
                  </a:lnTo>
                  <a:lnTo>
                    <a:pt x="25414" y="236707"/>
                  </a:lnTo>
                  <a:lnTo>
                    <a:pt x="21504" y="235241"/>
                  </a:lnTo>
                  <a:lnTo>
                    <a:pt x="18246" y="232308"/>
                  </a:lnTo>
                  <a:lnTo>
                    <a:pt x="13033" y="226118"/>
                  </a:lnTo>
                  <a:lnTo>
                    <a:pt x="9775" y="224163"/>
                  </a:lnTo>
                  <a:lnTo>
                    <a:pt x="7494" y="221393"/>
                  </a:lnTo>
                  <a:lnTo>
                    <a:pt x="4562" y="218624"/>
                  </a:lnTo>
                  <a:lnTo>
                    <a:pt x="1140" y="214388"/>
                  </a:lnTo>
                  <a:lnTo>
                    <a:pt x="0" y="211130"/>
                  </a:lnTo>
                  <a:lnTo>
                    <a:pt x="1629" y="125929"/>
                  </a:lnTo>
                  <a:lnTo>
                    <a:pt x="56529" y="125929"/>
                  </a:lnTo>
                  <a:lnTo>
                    <a:pt x="54901" y="123159"/>
                  </a:lnTo>
                  <a:lnTo>
                    <a:pt x="56204" y="115991"/>
                  </a:lnTo>
                  <a:lnTo>
                    <a:pt x="58159" y="114036"/>
                  </a:lnTo>
                  <a:lnTo>
                    <a:pt x="57996" y="109801"/>
                  </a:lnTo>
                  <a:lnTo>
                    <a:pt x="55063" y="104914"/>
                  </a:lnTo>
                  <a:lnTo>
                    <a:pt x="55063" y="99538"/>
                  </a:lnTo>
                  <a:lnTo>
                    <a:pt x="55390" y="90252"/>
                  </a:lnTo>
                  <a:lnTo>
                    <a:pt x="53760" y="79499"/>
                  </a:lnTo>
                  <a:lnTo>
                    <a:pt x="55063" y="77707"/>
                  </a:lnTo>
                  <a:lnTo>
                    <a:pt x="55226" y="75753"/>
                  </a:lnTo>
                  <a:lnTo>
                    <a:pt x="55226" y="74775"/>
                  </a:lnTo>
                  <a:close/>
                </a:path>
              </a:pathLst>
            </a:custGeom>
            <a:solidFill>
              <a:schemeClr val="bg2"/>
            </a:solidFill>
            <a:ln w="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33" name="Forma livre: Forma 132">
              <a:extLst>
                <a:ext uri="{FF2B5EF4-FFF2-40B4-BE49-F238E27FC236}">
                  <a16:creationId xmlns:a16="http://schemas.microsoft.com/office/drawing/2014/main" id="{905359C1-3D20-FFBB-E8F1-1EC7F9F678C0}"/>
                </a:ext>
              </a:extLst>
            </p:cNvPr>
            <p:cNvSpPr/>
            <p:nvPr/>
          </p:nvSpPr>
          <p:spPr>
            <a:xfrm>
              <a:off x="6286037" y="5117643"/>
              <a:ext cx="332155" cy="327441"/>
            </a:xfrm>
            <a:custGeom>
              <a:avLst/>
              <a:gdLst>
                <a:gd name="connsiteX0" fmla="*/ 298287 w 321419"/>
                <a:gd name="connsiteY0" fmla="*/ 307735 h 316858"/>
                <a:gd name="connsiteX1" fmla="*/ 296821 w 321419"/>
                <a:gd name="connsiteY1" fmla="*/ 303663 h 316858"/>
                <a:gd name="connsiteX2" fmla="*/ 293562 w 321419"/>
                <a:gd name="connsiteY2" fmla="*/ 302197 h 316858"/>
                <a:gd name="connsiteX3" fmla="*/ 290467 w 321419"/>
                <a:gd name="connsiteY3" fmla="*/ 298450 h 316858"/>
                <a:gd name="connsiteX4" fmla="*/ 288675 w 321419"/>
                <a:gd name="connsiteY4" fmla="*/ 295680 h 316858"/>
                <a:gd name="connsiteX5" fmla="*/ 284765 w 321419"/>
                <a:gd name="connsiteY5" fmla="*/ 294214 h 316858"/>
                <a:gd name="connsiteX6" fmla="*/ 281507 w 321419"/>
                <a:gd name="connsiteY6" fmla="*/ 291282 h 316858"/>
                <a:gd name="connsiteX7" fmla="*/ 276294 w 321419"/>
                <a:gd name="connsiteY7" fmla="*/ 285091 h 316858"/>
                <a:gd name="connsiteX8" fmla="*/ 273035 w 321419"/>
                <a:gd name="connsiteY8" fmla="*/ 283136 h 316858"/>
                <a:gd name="connsiteX9" fmla="*/ 270755 w 321419"/>
                <a:gd name="connsiteY9" fmla="*/ 280367 h 316858"/>
                <a:gd name="connsiteX10" fmla="*/ 267823 w 321419"/>
                <a:gd name="connsiteY10" fmla="*/ 277597 h 316858"/>
                <a:gd name="connsiteX11" fmla="*/ 264401 w 321419"/>
                <a:gd name="connsiteY11" fmla="*/ 273362 h 316858"/>
                <a:gd name="connsiteX12" fmla="*/ 263261 w 321419"/>
                <a:gd name="connsiteY12" fmla="*/ 270103 h 316858"/>
                <a:gd name="connsiteX13" fmla="*/ 264890 w 321419"/>
                <a:gd name="connsiteY13" fmla="*/ 184902 h 316858"/>
                <a:gd name="connsiteX14" fmla="*/ 319790 w 321419"/>
                <a:gd name="connsiteY14" fmla="*/ 184902 h 316858"/>
                <a:gd name="connsiteX15" fmla="*/ 318162 w 321419"/>
                <a:gd name="connsiteY15" fmla="*/ 182133 h 316858"/>
                <a:gd name="connsiteX16" fmla="*/ 319465 w 321419"/>
                <a:gd name="connsiteY16" fmla="*/ 174965 h 316858"/>
                <a:gd name="connsiteX17" fmla="*/ 321419 w 321419"/>
                <a:gd name="connsiteY17" fmla="*/ 173010 h 316858"/>
                <a:gd name="connsiteX18" fmla="*/ 321257 w 321419"/>
                <a:gd name="connsiteY18" fmla="*/ 168774 h 316858"/>
                <a:gd name="connsiteX19" fmla="*/ 318324 w 321419"/>
                <a:gd name="connsiteY19" fmla="*/ 163887 h 316858"/>
                <a:gd name="connsiteX20" fmla="*/ 318324 w 321419"/>
                <a:gd name="connsiteY20" fmla="*/ 158511 h 316858"/>
                <a:gd name="connsiteX21" fmla="*/ 318650 w 321419"/>
                <a:gd name="connsiteY21" fmla="*/ 149225 h 316858"/>
                <a:gd name="connsiteX22" fmla="*/ 317021 w 321419"/>
                <a:gd name="connsiteY22" fmla="*/ 138473 h 316858"/>
                <a:gd name="connsiteX23" fmla="*/ 318324 w 321419"/>
                <a:gd name="connsiteY23" fmla="*/ 136681 h 316858"/>
                <a:gd name="connsiteX24" fmla="*/ 318487 w 321419"/>
                <a:gd name="connsiteY24" fmla="*/ 134726 h 316858"/>
                <a:gd name="connsiteX25" fmla="*/ 318487 w 321419"/>
                <a:gd name="connsiteY25" fmla="*/ 133260 h 316858"/>
                <a:gd name="connsiteX26" fmla="*/ 313763 w 321419"/>
                <a:gd name="connsiteY26" fmla="*/ 133749 h 316858"/>
                <a:gd name="connsiteX27" fmla="*/ 309690 w 321419"/>
                <a:gd name="connsiteY27" fmla="*/ 135378 h 316858"/>
                <a:gd name="connsiteX28" fmla="*/ 305292 w 321419"/>
                <a:gd name="connsiteY28" fmla="*/ 137495 h 316858"/>
                <a:gd name="connsiteX29" fmla="*/ 302848 w 321419"/>
                <a:gd name="connsiteY29" fmla="*/ 138473 h 316858"/>
                <a:gd name="connsiteX30" fmla="*/ 300241 w 321419"/>
                <a:gd name="connsiteY30" fmla="*/ 139125 h 316858"/>
                <a:gd name="connsiteX31" fmla="*/ 297798 w 321419"/>
                <a:gd name="connsiteY31" fmla="*/ 138636 h 316858"/>
                <a:gd name="connsiteX32" fmla="*/ 291281 w 321419"/>
                <a:gd name="connsiteY32" fmla="*/ 138310 h 316858"/>
                <a:gd name="connsiteX33" fmla="*/ 288512 w 321419"/>
                <a:gd name="connsiteY33" fmla="*/ 137495 h 316858"/>
                <a:gd name="connsiteX34" fmla="*/ 284928 w 321419"/>
                <a:gd name="connsiteY34" fmla="*/ 134889 h 316858"/>
                <a:gd name="connsiteX35" fmla="*/ 282321 w 321419"/>
                <a:gd name="connsiteY35" fmla="*/ 134889 h 316858"/>
                <a:gd name="connsiteX36" fmla="*/ 281018 w 321419"/>
                <a:gd name="connsiteY36" fmla="*/ 135866 h 316858"/>
                <a:gd name="connsiteX37" fmla="*/ 278737 w 321419"/>
                <a:gd name="connsiteY37" fmla="*/ 136518 h 316858"/>
                <a:gd name="connsiteX38" fmla="*/ 277271 w 321419"/>
                <a:gd name="connsiteY38" fmla="*/ 138310 h 316858"/>
                <a:gd name="connsiteX39" fmla="*/ 274339 w 321419"/>
                <a:gd name="connsiteY39" fmla="*/ 138636 h 316858"/>
                <a:gd name="connsiteX40" fmla="*/ 273524 w 321419"/>
                <a:gd name="connsiteY40" fmla="*/ 136844 h 316858"/>
                <a:gd name="connsiteX41" fmla="*/ 273687 w 321419"/>
                <a:gd name="connsiteY41" fmla="*/ 131794 h 316858"/>
                <a:gd name="connsiteX42" fmla="*/ 275479 w 321419"/>
                <a:gd name="connsiteY42" fmla="*/ 130327 h 316858"/>
                <a:gd name="connsiteX43" fmla="*/ 275316 w 321419"/>
                <a:gd name="connsiteY43" fmla="*/ 129024 h 316858"/>
                <a:gd name="connsiteX44" fmla="*/ 276783 w 321419"/>
                <a:gd name="connsiteY44" fmla="*/ 125114 h 316858"/>
                <a:gd name="connsiteX45" fmla="*/ 273687 w 321419"/>
                <a:gd name="connsiteY45" fmla="*/ 122671 h 316858"/>
                <a:gd name="connsiteX46" fmla="*/ 272873 w 321419"/>
                <a:gd name="connsiteY46" fmla="*/ 117458 h 316858"/>
                <a:gd name="connsiteX47" fmla="*/ 274176 w 321419"/>
                <a:gd name="connsiteY47" fmla="*/ 115828 h 316858"/>
                <a:gd name="connsiteX48" fmla="*/ 274176 w 321419"/>
                <a:gd name="connsiteY48" fmla="*/ 113059 h 316858"/>
                <a:gd name="connsiteX49" fmla="*/ 270755 w 321419"/>
                <a:gd name="connsiteY49" fmla="*/ 109964 h 316858"/>
                <a:gd name="connsiteX50" fmla="*/ 270755 w 321419"/>
                <a:gd name="connsiteY50" fmla="*/ 107194 h 316858"/>
                <a:gd name="connsiteX51" fmla="*/ 271732 w 321419"/>
                <a:gd name="connsiteY51" fmla="*/ 103936 h 316858"/>
                <a:gd name="connsiteX52" fmla="*/ 271406 w 321419"/>
                <a:gd name="connsiteY52" fmla="*/ 100841 h 316858"/>
                <a:gd name="connsiteX53" fmla="*/ 269289 w 321419"/>
                <a:gd name="connsiteY53" fmla="*/ 100352 h 316858"/>
                <a:gd name="connsiteX54" fmla="*/ 267660 w 321419"/>
                <a:gd name="connsiteY54" fmla="*/ 97257 h 316858"/>
                <a:gd name="connsiteX55" fmla="*/ 266030 w 321419"/>
                <a:gd name="connsiteY55" fmla="*/ 96117 h 316858"/>
                <a:gd name="connsiteX56" fmla="*/ 266030 w 321419"/>
                <a:gd name="connsiteY56" fmla="*/ 93347 h 316858"/>
                <a:gd name="connsiteX57" fmla="*/ 263750 w 321419"/>
                <a:gd name="connsiteY57" fmla="*/ 90252 h 316858"/>
                <a:gd name="connsiteX58" fmla="*/ 263587 w 321419"/>
                <a:gd name="connsiteY58" fmla="*/ 87645 h 316858"/>
                <a:gd name="connsiteX59" fmla="*/ 262283 w 321419"/>
                <a:gd name="connsiteY59" fmla="*/ 85527 h 316858"/>
                <a:gd name="connsiteX60" fmla="*/ 264401 w 321419"/>
                <a:gd name="connsiteY60" fmla="*/ 80314 h 316858"/>
                <a:gd name="connsiteX61" fmla="*/ 263587 w 321419"/>
                <a:gd name="connsiteY61" fmla="*/ 71028 h 316858"/>
                <a:gd name="connsiteX62" fmla="*/ 262446 w 321419"/>
                <a:gd name="connsiteY62" fmla="*/ 67933 h 316858"/>
                <a:gd name="connsiteX63" fmla="*/ 263098 w 321419"/>
                <a:gd name="connsiteY63" fmla="*/ 66141 h 316858"/>
                <a:gd name="connsiteX64" fmla="*/ 264401 w 321419"/>
                <a:gd name="connsiteY64" fmla="*/ 64186 h 316858"/>
                <a:gd name="connsiteX65" fmla="*/ 264401 w 321419"/>
                <a:gd name="connsiteY65" fmla="*/ 60602 h 316858"/>
                <a:gd name="connsiteX66" fmla="*/ 261632 w 321419"/>
                <a:gd name="connsiteY66" fmla="*/ 56529 h 316858"/>
                <a:gd name="connsiteX67" fmla="*/ 262446 w 321419"/>
                <a:gd name="connsiteY67" fmla="*/ 52294 h 316858"/>
                <a:gd name="connsiteX68" fmla="*/ 264727 w 321419"/>
                <a:gd name="connsiteY68" fmla="*/ 48058 h 316858"/>
                <a:gd name="connsiteX69" fmla="*/ 264727 w 321419"/>
                <a:gd name="connsiteY69" fmla="*/ 44311 h 316858"/>
                <a:gd name="connsiteX70" fmla="*/ 265053 w 321419"/>
                <a:gd name="connsiteY70" fmla="*/ 40402 h 316858"/>
                <a:gd name="connsiteX71" fmla="*/ 264401 w 321419"/>
                <a:gd name="connsiteY71" fmla="*/ 37306 h 316858"/>
                <a:gd name="connsiteX72" fmla="*/ 234589 w 321419"/>
                <a:gd name="connsiteY72" fmla="*/ 35188 h 316858"/>
                <a:gd name="connsiteX73" fmla="*/ 233937 w 321419"/>
                <a:gd name="connsiteY73" fmla="*/ 32582 h 316858"/>
                <a:gd name="connsiteX74" fmla="*/ 235567 w 321419"/>
                <a:gd name="connsiteY74" fmla="*/ 29812 h 316858"/>
                <a:gd name="connsiteX75" fmla="*/ 235730 w 321419"/>
                <a:gd name="connsiteY75" fmla="*/ 26880 h 316858"/>
                <a:gd name="connsiteX76" fmla="*/ 228073 w 321419"/>
                <a:gd name="connsiteY76" fmla="*/ 26066 h 316858"/>
                <a:gd name="connsiteX77" fmla="*/ 227910 w 321419"/>
                <a:gd name="connsiteY77" fmla="*/ 28509 h 316858"/>
                <a:gd name="connsiteX78" fmla="*/ 202985 w 321419"/>
                <a:gd name="connsiteY78" fmla="*/ 28835 h 316858"/>
                <a:gd name="connsiteX79" fmla="*/ 202170 w 321419"/>
                <a:gd name="connsiteY79" fmla="*/ 36329 h 316858"/>
                <a:gd name="connsiteX80" fmla="*/ 200378 w 321419"/>
                <a:gd name="connsiteY80" fmla="*/ 40402 h 316858"/>
                <a:gd name="connsiteX81" fmla="*/ 198260 w 321419"/>
                <a:gd name="connsiteY81" fmla="*/ 41379 h 316858"/>
                <a:gd name="connsiteX82" fmla="*/ 198912 w 321419"/>
                <a:gd name="connsiteY82" fmla="*/ 46429 h 316858"/>
                <a:gd name="connsiteX83" fmla="*/ 199075 w 321419"/>
                <a:gd name="connsiteY83" fmla="*/ 53434 h 316858"/>
                <a:gd name="connsiteX84" fmla="*/ 179689 w 321419"/>
                <a:gd name="connsiteY84" fmla="*/ 54737 h 316858"/>
                <a:gd name="connsiteX85" fmla="*/ 176430 w 321419"/>
                <a:gd name="connsiteY85" fmla="*/ 56529 h 316858"/>
                <a:gd name="connsiteX86" fmla="*/ 167633 w 321419"/>
                <a:gd name="connsiteY86" fmla="*/ 56041 h 316858"/>
                <a:gd name="connsiteX87" fmla="*/ 164864 w 321419"/>
                <a:gd name="connsiteY87" fmla="*/ 55063 h 316858"/>
                <a:gd name="connsiteX88" fmla="*/ 159976 w 321419"/>
                <a:gd name="connsiteY88" fmla="*/ 56041 h 316858"/>
                <a:gd name="connsiteX89" fmla="*/ 153297 w 321419"/>
                <a:gd name="connsiteY89" fmla="*/ 56367 h 316858"/>
                <a:gd name="connsiteX90" fmla="*/ 150528 w 321419"/>
                <a:gd name="connsiteY90" fmla="*/ 54901 h 316858"/>
                <a:gd name="connsiteX91" fmla="*/ 149062 w 321419"/>
                <a:gd name="connsiteY91" fmla="*/ 45615 h 316858"/>
                <a:gd name="connsiteX92" fmla="*/ 145641 w 321419"/>
                <a:gd name="connsiteY92" fmla="*/ 40890 h 316858"/>
                <a:gd name="connsiteX93" fmla="*/ 143523 w 321419"/>
                <a:gd name="connsiteY93" fmla="*/ 37632 h 316858"/>
                <a:gd name="connsiteX94" fmla="*/ 141242 w 321419"/>
                <a:gd name="connsiteY94" fmla="*/ 35840 h 316858"/>
                <a:gd name="connsiteX95" fmla="*/ 141079 w 321419"/>
                <a:gd name="connsiteY95" fmla="*/ 32908 h 316858"/>
                <a:gd name="connsiteX96" fmla="*/ 140101 w 321419"/>
                <a:gd name="connsiteY96" fmla="*/ 30790 h 316858"/>
                <a:gd name="connsiteX97" fmla="*/ 138635 w 321419"/>
                <a:gd name="connsiteY97" fmla="*/ 24599 h 316858"/>
                <a:gd name="connsiteX98" fmla="*/ 135866 w 321419"/>
                <a:gd name="connsiteY98" fmla="*/ 20038 h 316858"/>
                <a:gd name="connsiteX99" fmla="*/ 135866 w 321419"/>
                <a:gd name="connsiteY99" fmla="*/ 16291 h 316858"/>
                <a:gd name="connsiteX100" fmla="*/ 137169 w 321419"/>
                <a:gd name="connsiteY100" fmla="*/ 14010 h 316858"/>
                <a:gd name="connsiteX101" fmla="*/ 136681 w 321419"/>
                <a:gd name="connsiteY101" fmla="*/ 10915 h 316858"/>
                <a:gd name="connsiteX102" fmla="*/ 134563 w 321419"/>
                <a:gd name="connsiteY102" fmla="*/ 8145 h 316858"/>
                <a:gd name="connsiteX103" fmla="*/ 133748 w 321419"/>
                <a:gd name="connsiteY103" fmla="*/ 5050 h 316858"/>
                <a:gd name="connsiteX104" fmla="*/ 134400 w 321419"/>
                <a:gd name="connsiteY104" fmla="*/ 3910 h 316858"/>
                <a:gd name="connsiteX105" fmla="*/ 134400 w 321419"/>
                <a:gd name="connsiteY105" fmla="*/ 326 h 316858"/>
                <a:gd name="connsiteX106" fmla="*/ 107683 w 321419"/>
                <a:gd name="connsiteY106" fmla="*/ 163 h 316858"/>
                <a:gd name="connsiteX107" fmla="*/ 89600 w 321419"/>
                <a:gd name="connsiteY107" fmla="*/ 163 h 316858"/>
                <a:gd name="connsiteX108" fmla="*/ 80803 w 321419"/>
                <a:gd name="connsiteY108" fmla="*/ 815 h 316858"/>
                <a:gd name="connsiteX109" fmla="*/ 72657 w 321419"/>
                <a:gd name="connsiteY109" fmla="*/ 489 h 316858"/>
                <a:gd name="connsiteX110" fmla="*/ 68585 w 321419"/>
                <a:gd name="connsiteY110" fmla="*/ 163 h 316858"/>
                <a:gd name="connsiteX111" fmla="*/ 61091 w 321419"/>
                <a:gd name="connsiteY111" fmla="*/ 489 h 316858"/>
                <a:gd name="connsiteX112" fmla="*/ 55226 w 321419"/>
                <a:gd name="connsiteY112" fmla="*/ 652 h 316858"/>
                <a:gd name="connsiteX113" fmla="*/ 50013 w 321419"/>
                <a:gd name="connsiteY113" fmla="*/ 652 h 316858"/>
                <a:gd name="connsiteX114" fmla="*/ 46592 w 321419"/>
                <a:gd name="connsiteY114" fmla="*/ 326 h 316858"/>
                <a:gd name="connsiteX115" fmla="*/ 42682 w 321419"/>
                <a:gd name="connsiteY115" fmla="*/ 0 h 316858"/>
                <a:gd name="connsiteX116" fmla="*/ 38609 w 321419"/>
                <a:gd name="connsiteY116" fmla="*/ 815 h 316858"/>
                <a:gd name="connsiteX117" fmla="*/ 34211 w 321419"/>
                <a:gd name="connsiteY117" fmla="*/ 2118 h 316858"/>
                <a:gd name="connsiteX118" fmla="*/ 32582 w 321419"/>
                <a:gd name="connsiteY118" fmla="*/ 2932 h 316858"/>
                <a:gd name="connsiteX119" fmla="*/ 30627 w 321419"/>
                <a:gd name="connsiteY119" fmla="*/ 2932 h 316858"/>
                <a:gd name="connsiteX120" fmla="*/ 29649 w 321419"/>
                <a:gd name="connsiteY120" fmla="*/ 4073 h 316858"/>
                <a:gd name="connsiteX121" fmla="*/ 29160 w 321419"/>
                <a:gd name="connsiteY121" fmla="*/ 4399 h 316858"/>
                <a:gd name="connsiteX122" fmla="*/ 28672 w 321419"/>
                <a:gd name="connsiteY122" fmla="*/ 4399 h 316858"/>
                <a:gd name="connsiteX123" fmla="*/ 21341 w 321419"/>
                <a:gd name="connsiteY123" fmla="*/ 8471 h 316858"/>
                <a:gd name="connsiteX124" fmla="*/ 24110 w 321419"/>
                <a:gd name="connsiteY124" fmla="*/ 11729 h 316858"/>
                <a:gd name="connsiteX125" fmla="*/ 24110 w 321419"/>
                <a:gd name="connsiteY125" fmla="*/ 15477 h 316858"/>
                <a:gd name="connsiteX126" fmla="*/ 38283 w 321419"/>
                <a:gd name="connsiteY126" fmla="*/ 31279 h 316858"/>
                <a:gd name="connsiteX127" fmla="*/ 38772 w 321419"/>
                <a:gd name="connsiteY127" fmla="*/ 51153 h 316858"/>
                <a:gd name="connsiteX128" fmla="*/ 46429 w 321419"/>
                <a:gd name="connsiteY128" fmla="*/ 62069 h 316858"/>
                <a:gd name="connsiteX129" fmla="*/ 45289 w 321419"/>
                <a:gd name="connsiteY129" fmla="*/ 72169 h 316858"/>
                <a:gd name="connsiteX130" fmla="*/ 37143 w 321419"/>
                <a:gd name="connsiteY130" fmla="*/ 82595 h 316858"/>
                <a:gd name="connsiteX131" fmla="*/ 41867 w 321419"/>
                <a:gd name="connsiteY131" fmla="*/ 84876 h 316858"/>
                <a:gd name="connsiteX132" fmla="*/ 41867 w 321419"/>
                <a:gd name="connsiteY132" fmla="*/ 94161 h 316858"/>
                <a:gd name="connsiteX133" fmla="*/ 45777 w 321419"/>
                <a:gd name="connsiteY133" fmla="*/ 100352 h 316858"/>
                <a:gd name="connsiteX134" fmla="*/ 45777 w 321419"/>
                <a:gd name="connsiteY134" fmla="*/ 106869 h 316858"/>
                <a:gd name="connsiteX135" fmla="*/ 55389 w 321419"/>
                <a:gd name="connsiteY135" fmla="*/ 122834 h 316858"/>
                <a:gd name="connsiteX136" fmla="*/ 55063 w 321419"/>
                <a:gd name="connsiteY136" fmla="*/ 127069 h 316858"/>
                <a:gd name="connsiteX137" fmla="*/ 58158 w 321419"/>
                <a:gd name="connsiteY137" fmla="*/ 130979 h 316858"/>
                <a:gd name="connsiteX138" fmla="*/ 58158 w 321419"/>
                <a:gd name="connsiteY138" fmla="*/ 153460 h 316858"/>
                <a:gd name="connsiteX139" fmla="*/ 48058 w 321419"/>
                <a:gd name="connsiteY139" fmla="*/ 172358 h 316858"/>
                <a:gd name="connsiteX140" fmla="*/ 44963 w 321419"/>
                <a:gd name="connsiteY140" fmla="*/ 172358 h 316858"/>
                <a:gd name="connsiteX141" fmla="*/ 33722 w 321419"/>
                <a:gd name="connsiteY141" fmla="*/ 180992 h 316858"/>
                <a:gd name="connsiteX142" fmla="*/ 33396 w 321419"/>
                <a:gd name="connsiteY142" fmla="*/ 187183 h 316858"/>
                <a:gd name="connsiteX143" fmla="*/ 19386 w 321419"/>
                <a:gd name="connsiteY143" fmla="*/ 199564 h 316858"/>
                <a:gd name="connsiteX144" fmla="*/ 19060 w 321419"/>
                <a:gd name="connsiteY144" fmla="*/ 208035 h 316858"/>
                <a:gd name="connsiteX145" fmla="*/ 16617 w 321419"/>
                <a:gd name="connsiteY145" fmla="*/ 209990 h 316858"/>
                <a:gd name="connsiteX146" fmla="*/ 16617 w 321419"/>
                <a:gd name="connsiteY146" fmla="*/ 230517 h 316858"/>
                <a:gd name="connsiteX147" fmla="*/ 10426 w 321419"/>
                <a:gd name="connsiteY147" fmla="*/ 238662 h 316858"/>
                <a:gd name="connsiteX148" fmla="*/ 8960 w 321419"/>
                <a:gd name="connsiteY148" fmla="*/ 248274 h 316858"/>
                <a:gd name="connsiteX149" fmla="*/ 1955 w 321419"/>
                <a:gd name="connsiteY149" fmla="*/ 256908 h 316858"/>
                <a:gd name="connsiteX150" fmla="*/ 1955 w 321419"/>
                <a:gd name="connsiteY150" fmla="*/ 266194 h 316858"/>
                <a:gd name="connsiteX151" fmla="*/ 814 w 321419"/>
                <a:gd name="connsiteY151" fmla="*/ 274339 h 316858"/>
                <a:gd name="connsiteX152" fmla="*/ 1140 w 321419"/>
                <a:gd name="connsiteY152" fmla="*/ 286720 h 316858"/>
                <a:gd name="connsiteX153" fmla="*/ 0 w 321419"/>
                <a:gd name="connsiteY153" fmla="*/ 294866 h 316858"/>
                <a:gd name="connsiteX154" fmla="*/ 163 w 321419"/>
                <a:gd name="connsiteY154" fmla="*/ 297472 h 316858"/>
                <a:gd name="connsiteX155" fmla="*/ 163 w 321419"/>
                <a:gd name="connsiteY155" fmla="*/ 297472 h 316858"/>
                <a:gd name="connsiteX156" fmla="*/ 4235 w 321419"/>
                <a:gd name="connsiteY156" fmla="*/ 298287 h 316858"/>
                <a:gd name="connsiteX157" fmla="*/ 5539 w 321419"/>
                <a:gd name="connsiteY157" fmla="*/ 299427 h 316858"/>
                <a:gd name="connsiteX158" fmla="*/ 7819 w 321419"/>
                <a:gd name="connsiteY158" fmla="*/ 298450 h 316858"/>
                <a:gd name="connsiteX159" fmla="*/ 8634 w 321419"/>
                <a:gd name="connsiteY159" fmla="*/ 295354 h 316858"/>
                <a:gd name="connsiteX160" fmla="*/ 10100 w 321419"/>
                <a:gd name="connsiteY160" fmla="*/ 294540 h 316858"/>
                <a:gd name="connsiteX161" fmla="*/ 16453 w 321419"/>
                <a:gd name="connsiteY161" fmla="*/ 295517 h 316858"/>
                <a:gd name="connsiteX162" fmla="*/ 19875 w 321419"/>
                <a:gd name="connsiteY162" fmla="*/ 297472 h 316858"/>
                <a:gd name="connsiteX163" fmla="*/ 22155 w 321419"/>
                <a:gd name="connsiteY163" fmla="*/ 295680 h 316858"/>
                <a:gd name="connsiteX164" fmla="*/ 22970 w 321419"/>
                <a:gd name="connsiteY164" fmla="*/ 292096 h 316858"/>
                <a:gd name="connsiteX165" fmla="*/ 30301 w 321419"/>
                <a:gd name="connsiteY165" fmla="*/ 286883 h 316858"/>
                <a:gd name="connsiteX166" fmla="*/ 33559 w 321419"/>
                <a:gd name="connsiteY166" fmla="*/ 286720 h 316858"/>
                <a:gd name="connsiteX167" fmla="*/ 37632 w 321419"/>
                <a:gd name="connsiteY167" fmla="*/ 288512 h 316858"/>
                <a:gd name="connsiteX168" fmla="*/ 38935 w 321419"/>
                <a:gd name="connsiteY168" fmla="*/ 289490 h 316858"/>
                <a:gd name="connsiteX169" fmla="*/ 40401 w 321419"/>
                <a:gd name="connsiteY169" fmla="*/ 288024 h 316858"/>
                <a:gd name="connsiteX170" fmla="*/ 42356 w 321419"/>
                <a:gd name="connsiteY170" fmla="*/ 287372 h 316858"/>
                <a:gd name="connsiteX171" fmla="*/ 45614 w 321419"/>
                <a:gd name="connsiteY171" fmla="*/ 289164 h 316858"/>
                <a:gd name="connsiteX172" fmla="*/ 46103 w 321419"/>
                <a:gd name="connsiteY172" fmla="*/ 290793 h 316858"/>
                <a:gd name="connsiteX173" fmla="*/ 49035 w 321419"/>
                <a:gd name="connsiteY173" fmla="*/ 291933 h 316858"/>
                <a:gd name="connsiteX174" fmla="*/ 48384 w 321419"/>
                <a:gd name="connsiteY174" fmla="*/ 294214 h 316858"/>
                <a:gd name="connsiteX175" fmla="*/ 50013 w 321419"/>
                <a:gd name="connsiteY175" fmla="*/ 295028 h 316858"/>
                <a:gd name="connsiteX176" fmla="*/ 55715 w 321419"/>
                <a:gd name="connsiteY176" fmla="*/ 300079 h 316858"/>
                <a:gd name="connsiteX177" fmla="*/ 61254 w 321419"/>
                <a:gd name="connsiteY177" fmla="*/ 302197 h 316858"/>
                <a:gd name="connsiteX178" fmla="*/ 65489 w 321419"/>
                <a:gd name="connsiteY178" fmla="*/ 299916 h 316858"/>
                <a:gd name="connsiteX179" fmla="*/ 66467 w 321419"/>
                <a:gd name="connsiteY179" fmla="*/ 300079 h 316858"/>
                <a:gd name="connsiteX180" fmla="*/ 70051 w 321419"/>
                <a:gd name="connsiteY180" fmla="*/ 297635 h 316858"/>
                <a:gd name="connsiteX181" fmla="*/ 72494 w 321419"/>
                <a:gd name="connsiteY181" fmla="*/ 297472 h 316858"/>
                <a:gd name="connsiteX182" fmla="*/ 74123 w 321419"/>
                <a:gd name="connsiteY182" fmla="*/ 298450 h 316858"/>
                <a:gd name="connsiteX183" fmla="*/ 169914 w 321419"/>
                <a:gd name="connsiteY183" fmla="*/ 298450 h 316858"/>
                <a:gd name="connsiteX184" fmla="*/ 171380 w 321419"/>
                <a:gd name="connsiteY184" fmla="*/ 299427 h 316858"/>
                <a:gd name="connsiteX185" fmla="*/ 173987 w 321419"/>
                <a:gd name="connsiteY185" fmla="*/ 304314 h 316858"/>
                <a:gd name="connsiteX186" fmla="*/ 175942 w 321419"/>
                <a:gd name="connsiteY186" fmla="*/ 306269 h 316858"/>
                <a:gd name="connsiteX187" fmla="*/ 181155 w 321419"/>
                <a:gd name="connsiteY187" fmla="*/ 308387 h 316858"/>
                <a:gd name="connsiteX188" fmla="*/ 186694 w 321419"/>
                <a:gd name="connsiteY188" fmla="*/ 309690 h 316858"/>
                <a:gd name="connsiteX189" fmla="*/ 190441 w 321419"/>
                <a:gd name="connsiteY189" fmla="*/ 309039 h 316858"/>
                <a:gd name="connsiteX190" fmla="*/ 193210 w 321419"/>
                <a:gd name="connsiteY190" fmla="*/ 310342 h 316858"/>
                <a:gd name="connsiteX191" fmla="*/ 194024 w 321419"/>
                <a:gd name="connsiteY191" fmla="*/ 311808 h 316858"/>
                <a:gd name="connsiteX192" fmla="*/ 197608 w 321419"/>
                <a:gd name="connsiteY192" fmla="*/ 313274 h 316858"/>
                <a:gd name="connsiteX193" fmla="*/ 201192 w 321419"/>
                <a:gd name="connsiteY193" fmla="*/ 310994 h 316858"/>
                <a:gd name="connsiteX194" fmla="*/ 205591 w 321419"/>
                <a:gd name="connsiteY194" fmla="*/ 309853 h 316858"/>
                <a:gd name="connsiteX195" fmla="*/ 211944 w 321419"/>
                <a:gd name="connsiteY195" fmla="*/ 311482 h 316858"/>
                <a:gd name="connsiteX196" fmla="*/ 215366 w 321419"/>
                <a:gd name="connsiteY196" fmla="*/ 310994 h 316858"/>
                <a:gd name="connsiteX197" fmla="*/ 216180 w 321419"/>
                <a:gd name="connsiteY197" fmla="*/ 308061 h 316858"/>
                <a:gd name="connsiteX198" fmla="*/ 217646 w 321419"/>
                <a:gd name="connsiteY198" fmla="*/ 308713 h 316858"/>
                <a:gd name="connsiteX199" fmla="*/ 220579 w 321419"/>
                <a:gd name="connsiteY199" fmla="*/ 309039 h 316858"/>
                <a:gd name="connsiteX200" fmla="*/ 226117 w 321419"/>
                <a:gd name="connsiteY200" fmla="*/ 314252 h 316858"/>
                <a:gd name="connsiteX201" fmla="*/ 230353 w 321419"/>
                <a:gd name="connsiteY201" fmla="*/ 316044 h 316858"/>
                <a:gd name="connsiteX202" fmla="*/ 235730 w 321419"/>
                <a:gd name="connsiteY202" fmla="*/ 316370 h 316858"/>
                <a:gd name="connsiteX203" fmla="*/ 237684 w 321419"/>
                <a:gd name="connsiteY203" fmla="*/ 315392 h 316858"/>
                <a:gd name="connsiteX204" fmla="*/ 237847 w 321419"/>
                <a:gd name="connsiteY204" fmla="*/ 313600 h 316858"/>
                <a:gd name="connsiteX205" fmla="*/ 240780 w 321419"/>
                <a:gd name="connsiteY205" fmla="*/ 312786 h 316858"/>
                <a:gd name="connsiteX206" fmla="*/ 243386 w 321419"/>
                <a:gd name="connsiteY206" fmla="*/ 313437 h 316858"/>
                <a:gd name="connsiteX207" fmla="*/ 245178 w 321419"/>
                <a:gd name="connsiteY207" fmla="*/ 314741 h 316858"/>
                <a:gd name="connsiteX208" fmla="*/ 247296 w 321419"/>
                <a:gd name="connsiteY208" fmla="*/ 313926 h 316858"/>
                <a:gd name="connsiteX209" fmla="*/ 248762 w 321419"/>
                <a:gd name="connsiteY209" fmla="*/ 315881 h 316858"/>
                <a:gd name="connsiteX210" fmla="*/ 250717 w 321419"/>
                <a:gd name="connsiteY210" fmla="*/ 316044 h 316858"/>
                <a:gd name="connsiteX211" fmla="*/ 252020 w 321419"/>
                <a:gd name="connsiteY211" fmla="*/ 316695 h 316858"/>
                <a:gd name="connsiteX212" fmla="*/ 254301 w 321419"/>
                <a:gd name="connsiteY212" fmla="*/ 316858 h 316858"/>
                <a:gd name="connsiteX213" fmla="*/ 256419 w 321419"/>
                <a:gd name="connsiteY213" fmla="*/ 316695 h 316858"/>
                <a:gd name="connsiteX214" fmla="*/ 258048 w 321419"/>
                <a:gd name="connsiteY214" fmla="*/ 316695 h 316858"/>
                <a:gd name="connsiteX215" fmla="*/ 298287 w 321419"/>
                <a:gd name="connsiteY215" fmla="*/ 307735 h 3168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</a:cxnLst>
              <a:rect l="l" t="t" r="r" b="b"/>
              <a:pathLst>
                <a:path w="321419" h="316858">
                  <a:moveTo>
                    <a:pt x="298287" y="307735"/>
                  </a:moveTo>
                  <a:lnTo>
                    <a:pt x="296821" y="303663"/>
                  </a:lnTo>
                  <a:lnTo>
                    <a:pt x="293562" y="302197"/>
                  </a:lnTo>
                  <a:lnTo>
                    <a:pt x="290467" y="298450"/>
                  </a:lnTo>
                  <a:lnTo>
                    <a:pt x="288675" y="295680"/>
                  </a:lnTo>
                  <a:lnTo>
                    <a:pt x="284765" y="294214"/>
                  </a:lnTo>
                  <a:lnTo>
                    <a:pt x="281507" y="291282"/>
                  </a:lnTo>
                  <a:lnTo>
                    <a:pt x="276294" y="285091"/>
                  </a:lnTo>
                  <a:lnTo>
                    <a:pt x="273035" y="283136"/>
                  </a:lnTo>
                  <a:lnTo>
                    <a:pt x="270755" y="280367"/>
                  </a:lnTo>
                  <a:lnTo>
                    <a:pt x="267823" y="277597"/>
                  </a:lnTo>
                  <a:lnTo>
                    <a:pt x="264401" y="273362"/>
                  </a:lnTo>
                  <a:lnTo>
                    <a:pt x="263261" y="270103"/>
                  </a:lnTo>
                  <a:lnTo>
                    <a:pt x="264890" y="184902"/>
                  </a:lnTo>
                  <a:lnTo>
                    <a:pt x="319790" y="184902"/>
                  </a:lnTo>
                  <a:lnTo>
                    <a:pt x="318162" y="182133"/>
                  </a:lnTo>
                  <a:lnTo>
                    <a:pt x="319465" y="174965"/>
                  </a:lnTo>
                  <a:lnTo>
                    <a:pt x="321419" y="173010"/>
                  </a:lnTo>
                  <a:lnTo>
                    <a:pt x="321257" y="168774"/>
                  </a:lnTo>
                  <a:lnTo>
                    <a:pt x="318324" y="163887"/>
                  </a:lnTo>
                  <a:lnTo>
                    <a:pt x="318324" y="158511"/>
                  </a:lnTo>
                  <a:lnTo>
                    <a:pt x="318650" y="149225"/>
                  </a:lnTo>
                  <a:lnTo>
                    <a:pt x="317021" y="138473"/>
                  </a:lnTo>
                  <a:lnTo>
                    <a:pt x="318324" y="136681"/>
                  </a:lnTo>
                  <a:lnTo>
                    <a:pt x="318487" y="134726"/>
                  </a:lnTo>
                  <a:lnTo>
                    <a:pt x="318487" y="133260"/>
                  </a:lnTo>
                  <a:lnTo>
                    <a:pt x="313763" y="133749"/>
                  </a:lnTo>
                  <a:lnTo>
                    <a:pt x="309690" y="135378"/>
                  </a:lnTo>
                  <a:lnTo>
                    <a:pt x="305292" y="137495"/>
                  </a:lnTo>
                  <a:lnTo>
                    <a:pt x="302848" y="138473"/>
                  </a:lnTo>
                  <a:lnTo>
                    <a:pt x="300241" y="139125"/>
                  </a:lnTo>
                  <a:lnTo>
                    <a:pt x="297798" y="138636"/>
                  </a:lnTo>
                  <a:lnTo>
                    <a:pt x="291281" y="138310"/>
                  </a:lnTo>
                  <a:lnTo>
                    <a:pt x="288512" y="137495"/>
                  </a:lnTo>
                  <a:lnTo>
                    <a:pt x="284928" y="134889"/>
                  </a:lnTo>
                  <a:lnTo>
                    <a:pt x="282321" y="134889"/>
                  </a:lnTo>
                  <a:lnTo>
                    <a:pt x="281018" y="135866"/>
                  </a:lnTo>
                  <a:lnTo>
                    <a:pt x="278737" y="136518"/>
                  </a:lnTo>
                  <a:lnTo>
                    <a:pt x="277271" y="138310"/>
                  </a:lnTo>
                  <a:lnTo>
                    <a:pt x="274339" y="138636"/>
                  </a:lnTo>
                  <a:lnTo>
                    <a:pt x="273524" y="136844"/>
                  </a:lnTo>
                  <a:lnTo>
                    <a:pt x="273687" y="131794"/>
                  </a:lnTo>
                  <a:lnTo>
                    <a:pt x="275479" y="130327"/>
                  </a:lnTo>
                  <a:lnTo>
                    <a:pt x="275316" y="129024"/>
                  </a:lnTo>
                  <a:lnTo>
                    <a:pt x="276783" y="125114"/>
                  </a:lnTo>
                  <a:lnTo>
                    <a:pt x="273687" y="122671"/>
                  </a:lnTo>
                  <a:lnTo>
                    <a:pt x="272873" y="117458"/>
                  </a:lnTo>
                  <a:lnTo>
                    <a:pt x="274176" y="115828"/>
                  </a:lnTo>
                  <a:lnTo>
                    <a:pt x="274176" y="113059"/>
                  </a:lnTo>
                  <a:lnTo>
                    <a:pt x="270755" y="109964"/>
                  </a:lnTo>
                  <a:lnTo>
                    <a:pt x="270755" y="107194"/>
                  </a:lnTo>
                  <a:lnTo>
                    <a:pt x="271732" y="103936"/>
                  </a:lnTo>
                  <a:lnTo>
                    <a:pt x="271406" y="100841"/>
                  </a:lnTo>
                  <a:lnTo>
                    <a:pt x="269289" y="100352"/>
                  </a:lnTo>
                  <a:lnTo>
                    <a:pt x="267660" y="97257"/>
                  </a:lnTo>
                  <a:lnTo>
                    <a:pt x="266030" y="96117"/>
                  </a:lnTo>
                  <a:lnTo>
                    <a:pt x="266030" y="93347"/>
                  </a:lnTo>
                  <a:lnTo>
                    <a:pt x="263750" y="90252"/>
                  </a:lnTo>
                  <a:lnTo>
                    <a:pt x="263587" y="87645"/>
                  </a:lnTo>
                  <a:lnTo>
                    <a:pt x="262283" y="85527"/>
                  </a:lnTo>
                  <a:lnTo>
                    <a:pt x="264401" y="80314"/>
                  </a:lnTo>
                  <a:lnTo>
                    <a:pt x="263587" y="71028"/>
                  </a:lnTo>
                  <a:lnTo>
                    <a:pt x="262446" y="67933"/>
                  </a:lnTo>
                  <a:lnTo>
                    <a:pt x="263098" y="66141"/>
                  </a:lnTo>
                  <a:lnTo>
                    <a:pt x="264401" y="64186"/>
                  </a:lnTo>
                  <a:lnTo>
                    <a:pt x="264401" y="60602"/>
                  </a:lnTo>
                  <a:lnTo>
                    <a:pt x="261632" y="56529"/>
                  </a:lnTo>
                  <a:lnTo>
                    <a:pt x="262446" y="52294"/>
                  </a:lnTo>
                  <a:lnTo>
                    <a:pt x="264727" y="48058"/>
                  </a:lnTo>
                  <a:lnTo>
                    <a:pt x="264727" y="44311"/>
                  </a:lnTo>
                  <a:lnTo>
                    <a:pt x="265053" y="40402"/>
                  </a:lnTo>
                  <a:lnTo>
                    <a:pt x="264401" y="37306"/>
                  </a:lnTo>
                  <a:lnTo>
                    <a:pt x="234589" y="35188"/>
                  </a:lnTo>
                  <a:lnTo>
                    <a:pt x="233937" y="32582"/>
                  </a:lnTo>
                  <a:lnTo>
                    <a:pt x="235567" y="29812"/>
                  </a:lnTo>
                  <a:lnTo>
                    <a:pt x="235730" y="26880"/>
                  </a:lnTo>
                  <a:lnTo>
                    <a:pt x="228073" y="26066"/>
                  </a:lnTo>
                  <a:lnTo>
                    <a:pt x="227910" y="28509"/>
                  </a:lnTo>
                  <a:lnTo>
                    <a:pt x="202985" y="28835"/>
                  </a:lnTo>
                  <a:lnTo>
                    <a:pt x="202170" y="36329"/>
                  </a:lnTo>
                  <a:lnTo>
                    <a:pt x="200378" y="40402"/>
                  </a:lnTo>
                  <a:lnTo>
                    <a:pt x="198260" y="41379"/>
                  </a:lnTo>
                  <a:lnTo>
                    <a:pt x="198912" y="46429"/>
                  </a:lnTo>
                  <a:lnTo>
                    <a:pt x="199075" y="53434"/>
                  </a:lnTo>
                  <a:lnTo>
                    <a:pt x="179689" y="54737"/>
                  </a:lnTo>
                  <a:lnTo>
                    <a:pt x="176430" y="56529"/>
                  </a:lnTo>
                  <a:lnTo>
                    <a:pt x="167633" y="56041"/>
                  </a:lnTo>
                  <a:lnTo>
                    <a:pt x="164864" y="55063"/>
                  </a:lnTo>
                  <a:lnTo>
                    <a:pt x="159976" y="56041"/>
                  </a:lnTo>
                  <a:lnTo>
                    <a:pt x="153297" y="56367"/>
                  </a:lnTo>
                  <a:lnTo>
                    <a:pt x="150528" y="54901"/>
                  </a:lnTo>
                  <a:lnTo>
                    <a:pt x="149062" y="45615"/>
                  </a:lnTo>
                  <a:lnTo>
                    <a:pt x="145641" y="40890"/>
                  </a:lnTo>
                  <a:lnTo>
                    <a:pt x="143523" y="37632"/>
                  </a:lnTo>
                  <a:lnTo>
                    <a:pt x="141242" y="35840"/>
                  </a:lnTo>
                  <a:lnTo>
                    <a:pt x="141079" y="32908"/>
                  </a:lnTo>
                  <a:lnTo>
                    <a:pt x="140101" y="30790"/>
                  </a:lnTo>
                  <a:lnTo>
                    <a:pt x="138635" y="24599"/>
                  </a:lnTo>
                  <a:lnTo>
                    <a:pt x="135866" y="20038"/>
                  </a:lnTo>
                  <a:lnTo>
                    <a:pt x="135866" y="16291"/>
                  </a:lnTo>
                  <a:lnTo>
                    <a:pt x="137169" y="14010"/>
                  </a:lnTo>
                  <a:lnTo>
                    <a:pt x="136681" y="10915"/>
                  </a:lnTo>
                  <a:lnTo>
                    <a:pt x="134563" y="8145"/>
                  </a:lnTo>
                  <a:lnTo>
                    <a:pt x="133748" y="5050"/>
                  </a:lnTo>
                  <a:lnTo>
                    <a:pt x="134400" y="3910"/>
                  </a:lnTo>
                  <a:lnTo>
                    <a:pt x="134400" y="326"/>
                  </a:lnTo>
                  <a:lnTo>
                    <a:pt x="107683" y="163"/>
                  </a:lnTo>
                  <a:lnTo>
                    <a:pt x="89600" y="163"/>
                  </a:lnTo>
                  <a:lnTo>
                    <a:pt x="80803" y="815"/>
                  </a:lnTo>
                  <a:lnTo>
                    <a:pt x="72657" y="489"/>
                  </a:lnTo>
                  <a:lnTo>
                    <a:pt x="68585" y="163"/>
                  </a:lnTo>
                  <a:lnTo>
                    <a:pt x="61091" y="489"/>
                  </a:lnTo>
                  <a:lnTo>
                    <a:pt x="55226" y="652"/>
                  </a:lnTo>
                  <a:lnTo>
                    <a:pt x="50013" y="652"/>
                  </a:lnTo>
                  <a:lnTo>
                    <a:pt x="46592" y="326"/>
                  </a:lnTo>
                  <a:lnTo>
                    <a:pt x="42682" y="0"/>
                  </a:lnTo>
                  <a:lnTo>
                    <a:pt x="38609" y="815"/>
                  </a:lnTo>
                  <a:lnTo>
                    <a:pt x="34211" y="2118"/>
                  </a:lnTo>
                  <a:lnTo>
                    <a:pt x="32582" y="2932"/>
                  </a:lnTo>
                  <a:lnTo>
                    <a:pt x="30627" y="2932"/>
                  </a:lnTo>
                  <a:lnTo>
                    <a:pt x="29649" y="4073"/>
                  </a:lnTo>
                  <a:lnTo>
                    <a:pt x="29160" y="4399"/>
                  </a:lnTo>
                  <a:lnTo>
                    <a:pt x="28672" y="4399"/>
                  </a:lnTo>
                  <a:lnTo>
                    <a:pt x="21341" y="8471"/>
                  </a:lnTo>
                  <a:lnTo>
                    <a:pt x="24110" y="11729"/>
                  </a:lnTo>
                  <a:lnTo>
                    <a:pt x="24110" y="15477"/>
                  </a:lnTo>
                  <a:lnTo>
                    <a:pt x="38283" y="31279"/>
                  </a:lnTo>
                  <a:lnTo>
                    <a:pt x="38772" y="51153"/>
                  </a:lnTo>
                  <a:lnTo>
                    <a:pt x="46429" y="62069"/>
                  </a:lnTo>
                  <a:lnTo>
                    <a:pt x="45289" y="72169"/>
                  </a:lnTo>
                  <a:lnTo>
                    <a:pt x="37143" y="82595"/>
                  </a:lnTo>
                  <a:lnTo>
                    <a:pt x="41867" y="84876"/>
                  </a:lnTo>
                  <a:lnTo>
                    <a:pt x="41867" y="94161"/>
                  </a:lnTo>
                  <a:lnTo>
                    <a:pt x="45777" y="100352"/>
                  </a:lnTo>
                  <a:lnTo>
                    <a:pt x="45777" y="106869"/>
                  </a:lnTo>
                  <a:lnTo>
                    <a:pt x="55389" y="122834"/>
                  </a:lnTo>
                  <a:lnTo>
                    <a:pt x="55063" y="127069"/>
                  </a:lnTo>
                  <a:lnTo>
                    <a:pt x="58158" y="130979"/>
                  </a:lnTo>
                  <a:lnTo>
                    <a:pt x="58158" y="153460"/>
                  </a:lnTo>
                  <a:lnTo>
                    <a:pt x="48058" y="172358"/>
                  </a:lnTo>
                  <a:lnTo>
                    <a:pt x="44963" y="172358"/>
                  </a:lnTo>
                  <a:lnTo>
                    <a:pt x="33722" y="180992"/>
                  </a:lnTo>
                  <a:lnTo>
                    <a:pt x="33396" y="187183"/>
                  </a:lnTo>
                  <a:lnTo>
                    <a:pt x="19386" y="199564"/>
                  </a:lnTo>
                  <a:lnTo>
                    <a:pt x="19060" y="208035"/>
                  </a:lnTo>
                  <a:lnTo>
                    <a:pt x="16617" y="209990"/>
                  </a:lnTo>
                  <a:lnTo>
                    <a:pt x="16617" y="230517"/>
                  </a:lnTo>
                  <a:lnTo>
                    <a:pt x="10426" y="238662"/>
                  </a:lnTo>
                  <a:lnTo>
                    <a:pt x="8960" y="248274"/>
                  </a:lnTo>
                  <a:lnTo>
                    <a:pt x="1955" y="256908"/>
                  </a:lnTo>
                  <a:lnTo>
                    <a:pt x="1955" y="266194"/>
                  </a:lnTo>
                  <a:lnTo>
                    <a:pt x="814" y="274339"/>
                  </a:lnTo>
                  <a:lnTo>
                    <a:pt x="1140" y="286720"/>
                  </a:lnTo>
                  <a:lnTo>
                    <a:pt x="0" y="294866"/>
                  </a:lnTo>
                  <a:lnTo>
                    <a:pt x="163" y="297472"/>
                  </a:lnTo>
                  <a:lnTo>
                    <a:pt x="163" y="297472"/>
                  </a:lnTo>
                  <a:lnTo>
                    <a:pt x="4235" y="298287"/>
                  </a:lnTo>
                  <a:lnTo>
                    <a:pt x="5539" y="299427"/>
                  </a:lnTo>
                  <a:lnTo>
                    <a:pt x="7819" y="298450"/>
                  </a:lnTo>
                  <a:lnTo>
                    <a:pt x="8634" y="295354"/>
                  </a:lnTo>
                  <a:lnTo>
                    <a:pt x="10100" y="294540"/>
                  </a:lnTo>
                  <a:lnTo>
                    <a:pt x="16453" y="295517"/>
                  </a:lnTo>
                  <a:lnTo>
                    <a:pt x="19875" y="297472"/>
                  </a:lnTo>
                  <a:lnTo>
                    <a:pt x="22155" y="295680"/>
                  </a:lnTo>
                  <a:lnTo>
                    <a:pt x="22970" y="292096"/>
                  </a:lnTo>
                  <a:lnTo>
                    <a:pt x="30301" y="286883"/>
                  </a:lnTo>
                  <a:lnTo>
                    <a:pt x="33559" y="286720"/>
                  </a:lnTo>
                  <a:lnTo>
                    <a:pt x="37632" y="288512"/>
                  </a:lnTo>
                  <a:lnTo>
                    <a:pt x="38935" y="289490"/>
                  </a:lnTo>
                  <a:lnTo>
                    <a:pt x="40401" y="288024"/>
                  </a:lnTo>
                  <a:lnTo>
                    <a:pt x="42356" y="287372"/>
                  </a:lnTo>
                  <a:lnTo>
                    <a:pt x="45614" y="289164"/>
                  </a:lnTo>
                  <a:lnTo>
                    <a:pt x="46103" y="290793"/>
                  </a:lnTo>
                  <a:lnTo>
                    <a:pt x="49035" y="291933"/>
                  </a:lnTo>
                  <a:lnTo>
                    <a:pt x="48384" y="294214"/>
                  </a:lnTo>
                  <a:lnTo>
                    <a:pt x="50013" y="295028"/>
                  </a:lnTo>
                  <a:lnTo>
                    <a:pt x="55715" y="300079"/>
                  </a:lnTo>
                  <a:lnTo>
                    <a:pt x="61254" y="302197"/>
                  </a:lnTo>
                  <a:lnTo>
                    <a:pt x="65489" y="299916"/>
                  </a:lnTo>
                  <a:lnTo>
                    <a:pt x="66467" y="300079"/>
                  </a:lnTo>
                  <a:lnTo>
                    <a:pt x="70051" y="297635"/>
                  </a:lnTo>
                  <a:lnTo>
                    <a:pt x="72494" y="297472"/>
                  </a:lnTo>
                  <a:lnTo>
                    <a:pt x="74123" y="298450"/>
                  </a:lnTo>
                  <a:lnTo>
                    <a:pt x="169914" y="298450"/>
                  </a:lnTo>
                  <a:lnTo>
                    <a:pt x="171380" y="299427"/>
                  </a:lnTo>
                  <a:lnTo>
                    <a:pt x="173987" y="304314"/>
                  </a:lnTo>
                  <a:lnTo>
                    <a:pt x="175942" y="306269"/>
                  </a:lnTo>
                  <a:lnTo>
                    <a:pt x="181155" y="308387"/>
                  </a:lnTo>
                  <a:lnTo>
                    <a:pt x="186694" y="309690"/>
                  </a:lnTo>
                  <a:lnTo>
                    <a:pt x="190441" y="309039"/>
                  </a:lnTo>
                  <a:lnTo>
                    <a:pt x="193210" y="310342"/>
                  </a:lnTo>
                  <a:lnTo>
                    <a:pt x="194024" y="311808"/>
                  </a:lnTo>
                  <a:lnTo>
                    <a:pt x="197608" y="313274"/>
                  </a:lnTo>
                  <a:lnTo>
                    <a:pt x="201192" y="310994"/>
                  </a:lnTo>
                  <a:lnTo>
                    <a:pt x="205591" y="309853"/>
                  </a:lnTo>
                  <a:lnTo>
                    <a:pt x="211944" y="311482"/>
                  </a:lnTo>
                  <a:lnTo>
                    <a:pt x="215366" y="310994"/>
                  </a:lnTo>
                  <a:lnTo>
                    <a:pt x="216180" y="308061"/>
                  </a:lnTo>
                  <a:lnTo>
                    <a:pt x="217646" y="308713"/>
                  </a:lnTo>
                  <a:lnTo>
                    <a:pt x="220579" y="309039"/>
                  </a:lnTo>
                  <a:lnTo>
                    <a:pt x="226117" y="314252"/>
                  </a:lnTo>
                  <a:lnTo>
                    <a:pt x="230353" y="316044"/>
                  </a:lnTo>
                  <a:lnTo>
                    <a:pt x="235730" y="316370"/>
                  </a:lnTo>
                  <a:lnTo>
                    <a:pt x="237684" y="315392"/>
                  </a:lnTo>
                  <a:lnTo>
                    <a:pt x="237847" y="313600"/>
                  </a:lnTo>
                  <a:lnTo>
                    <a:pt x="240780" y="312786"/>
                  </a:lnTo>
                  <a:lnTo>
                    <a:pt x="243386" y="313437"/>
                  </a:lnTo>
                  <a:lnTo>
                    <a:pt x="245178" y="314741"/>
                  </a:lnTo>
                  <a:lnTo>
                    <a:pt x="247296" y="313926"/>
                  </a:lnTo>
                  <a:lnTo>
                    <a:pt x="248762" y="315881"/>
                  </a:lnTo>
                  <a:lnTo>
                    <a:pt x="250717" y="316044"/>
                  </a:lnTo>
                  <a:lnTo>
                    <a:pt x="252020" y="316695"/>
                  </a:lnTo>
                  <a:lnTo>
                    <a:pt x="254301" y="316858"/>
                  </a:lnTo>
                  <a:lnTo>
                    <a:pt x="256419" y="316695"/>
                  </a:lnTo>
                  <a:lnTo>
                    <a:pt x="258048" y="316695"/>
                  </a:lnTo>
                  <a:lnTo>
                    <a:pt x="298287" y="307735"/>
                  </a:lnTo>
                  <a:close/>
                </a:path>
              </a:pathLst>
            </a:custGeom>
            <a:solidFill>
              <a:schemeClr val="bg2"/>
            </a:solidFill>
            <a:ln w="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34" name="Forma livre: Forma 133">
              <a:extLst>
                <a:ext uri="{FF2B5EF4-FFF2-40B4-BE49-F238E27FC236}">
                  <a16:creationId xmlns:a16="http://schemas.microsoft.com/office/drawing/2014/main" id="{26047852-C71D-D39D-A059-F905F938C709}"/>
                </a:ext>
              </a:extLst>
            </p:cNvPr>
            <p:cNvSpPr/>
            <p:nvPr/>
          </p:nvSpPr>
          <p:spPr>
            <a:xfrm>
              <a:off x="6641930" y="5378250"/>
              <a:ext cx="207576" cy="188889"/>
            </a:xfrm>
            <a:custGeom>
              <a:avLst/>
              <a:gdLst>
                <a:gd name="connsiteX0" fmla="*/ 0 w 200867"/>
                <a:gd name="connsiteY0" fmla="*/ 56692 h 182784"/>
                <a:gd name="connsiteX1" fmla="*/ 2607 w 200867"/>
                <a:gd name="connsiteY1" fmla="*/ 57018 h 182784"/>
                <a:gd name="connsiteX2" fmla="*/ 8797 w 200867"/>
                <a:gd name="connsiteY2" fmla="*/ 57670 h 182784"/>
                <a:gd name="connsiteX3" fmla="*/ 13359 w 200867"/>
                <a:gd name="connsiteY3" fmla="*/ 60113 h 182784"/>
                <a:gd name="connsiteX4" fmla="*/ 15802 w 200867"/>
                <a:gd name="connsiteY4" fmla="*/ 62068 h 182784"/>
                <a:gd name="connsiteX5" fmla="*/ 18409 w 200867"/>
                <a:gd name="connsiteY5" fmla="*/ 62231 h 182784"/>
                <a:gd name="connsiteX6" fmla="*/ 22970 w 200867"/>
                <a:gd name="connsiteY6" fmla="*/ 58973 h 182784"/>
                <a:gd name="connsiteX7" fmla="*/ 28509 w 200867"/>
                <a:gd name="connsiteY7" fmla="*/ 58322 h 182784"/>
                <a:gd name="connsiteX8" fmla="*/ 31116 w 200867"/>
                <a:gd name="connsiteY8" fmla="*/ 59625 h 182784"/>
                <a:gd name="connsiteX9" fmla="*/ 32256 w 200867"/>
                <a:gd name="connsiteY9" fmla="*/ 59462 h 182784"/>
                <a:gd name="connsiteX10" fmla="*/ 33885 w 200867"/>
                <a:gd name="connsiteY10" fmla="*/ 60113 h 182784"/>
                <a:gd name="connsiteX11" fmla="*/ 34374 w 200867"/>
                <a:gd name="connsiteY11" fmla="*/ 60439 h 182784"/>
                <a:gd name="connsiteX12" fmla="*/ 38284 w 200867"/>
                <a:gd name="connsiteY12" fmla="*/ 63372 h 182784"/>
                <a:gd name="connsiteX13" fmla="*/ 43008 w 200867"/>
                <a:gd name="connsiteY13" fmla="*/ 64512 h 182784"/>
                <a:gd name="connsiteX14" fmla="*/ 50013 w 200867"/>
                <a:gd name="connsiteY14" fmla="*/ 62231 h 182784"/>
                <a:gd name="connsiteX15" fmla="*/ 57507 w 200867"/>
                <a:gd name="connsiteY15" fmla="*/ 51316 h 182784"/>
                <a:gd name="connsiteX16" fmla="*/ 69562 w 200867"/>
                <a:gd name="connsiteY16" fmla="*/ 36329 h 182784"/>
                <a:gd name="connsiteX17" fmla="*/ 84713 w 200867"/>
                <a:gd name="connsiteY17" fmla="*/ 26228 h 182784"/>
                <a:gd name="connsiteX18" fmla="*/ 93347 w 200867"/>
                <a:gd name="connsiteY18" fmla="*/ 23133 h 182784"/>
                <a:gd name="connsiteX19" fmla="*/ 95465 w 200867"/>
                <a:gd name="connsiteY19" fmla="*/ 21341 h 182784"/>
                <a:gd name="connsiteX20" fmla="*/ 95954 w 200867"/>
                <a:gd name="connsiteY20" fmla="*/ 19549 h 182784"/>
                <a:gd name="connsiteX21" fmla="*/ 95302 w 200867"/>
                <a:gd name="connsiteY21" fmla="*/ 17268 h 182784"/>
                <a:gd name="connsiteX22" fmla="*/ 96605 w 200867"/>
                <a:gd name="connsiteY22" fmla="*/ 14662 h 182784"/>
                <a:gd name="connsiteX23" fmla="*/ 95954 w 200867"/>
                <a:gd name="connsiteY23" fmla="*/ 12381 h 182784"/>
                <a:gd name="connsiteX24" fmla="*/ 98071 w 200867"/>
                <a:gd name="connsiteY24" fmla="*/ 8471 h 182784"/>
                <a:gd name="connsiteX25" fmla="*/ 105077 w 200867"/>
                <a:gd name="connsiteY25" fmla="*/ 4887 h 182784"/>
                <a:gd name="connsiteX26" fmla="*/ 109149 w 200867"/>
                <a:gd name="connsiteY26" fmla="*/ 3584 h 182784"/>
                <a:gd name="connsiteX27" fmla="*/ 112570 w 200867"/>
                <a:gd name="connsiteY27" fmla="*/ 1955 h 182784"/>
                <a:gd name="connsiteX28" fmla="*/ 117946 w 200867"/>
                <a:gd name="connsiteY28" fmla="*/ 0 h 182784"/>
                <a:gd name="connsiteX29" fmla="*/ 124952 w 200867"/>
                <a:gd name="connsiteY29" fmla="*/ 163 h 182784"/>
                <a:gd name="connsiteX30" fmla="*/ 126092 w 200867"/>
                <a:gd name="connsiteY30" fmla="*/ 1629 h 182784"/>
                <a:gd name="connsiteX31" fmla="*/ 128861 w 200867"/>
                <a:gd name="connsiteY31" fmla="*/ 1303 h 182784"/>
                <a:gd name="connsiteX32" fmla="*/ 134074 w 200867"/>
                <a:gd name="connsiteY32" fmla="*/ 2118 h 182784"/>
                <a:gd name="connsiteX33" fmla="*/ 136192 w 200867"/>
                <a:gd name="connsiteY33" fmla="*/ 1629 h 182784"/>
                <a:gd name="connsiteX34" fmla="*/ 137170 w 200867"/>
                <a:gd name="connsiteY34" fmla="*/ 1629 h 182784"/>
                <a:gd name="connsiteX35" fmla="*/ 137658 w 200867"/>
                <a:gd name="connsiteY35" fmla="*/ 10752 h 182784"/>
                <a:gd name="connsiteX36" fmla="*/ 146781 w 200867"/>
                <a:gd name="connsiteY36" fmla="*/ 11078 h 182784"/>
                <a:gd name="connsiteX37" fmla="*/ 150528 w 200867"/>
                <a:gd name="connsiteY37" fmla="*/ 11892 h 182784"/>
                <a:gd name="connsiteX38" fmla="*/ 151668 w 200867"/>
                <a:gd name="connsiteY38" fmla="*/ 14336 h 182784"/>
                <a:gd name="connsiteX39" fmla="*/ 154764 w 200867"/>
                <a:gd name="connsiteY39" fmla="*/ 13847 h 182784"/>
                <a:gd name="connsiteX40" fmla="*/ 156393 w 200867"/>
                <a:gd name="connsiteY40" fmla="*/ 11241 h 182784"/>
                <a:gd name="connsiteX41" fmla="*/ 163398 w 200867"/>
                <a:gd name="connsiteY41" fmla="*/ 13033 h 182784"/>
                <a:gd name="connsiteX42" fmla="*/ 170566 w 200867"/>
                <a:gd name="connsiteY42" fmla="*/ 16942 h 182784"/>
                <a:gd name="connsiteX43" fmla="*/ 174964 w 200867"/>
                <a:gd name="connsiteY43" fmla="*/ 23133 h 182784"/>
                <a:gd name="connsiteX44" fmla="*/ 179526 w 200867"/>
                <a:gd name="connsiteY44" fmla="*/ 23622 h 182784"/>
                <a:gd name="connsiteX45" fmla="*/ 187509 w 200867"/>
                <a:gd name="connsiteY45" fmla="*/ 24599 h 182784"/>
                <a:gd name="connsiteX46" fmla="*/ 192070 w 200867"/>
                <a:gd name="connsiteY46" fmla="*/ 28183 h 182784"/>
                <a:gd name="connsiteX47" fmla="*/ 194839 w 200867"/>
                <a:gd name="connsiteY47" fmla="*/ 31604 h 182784"/>
                <a:gd name="connsiteX48" fmla="*/ 200541 w 200867"/>
                <a:gd name="connsiteY48" fmla="*/ 31930 h 182784"/>
                <a:gd name="connsiteX49" fmla="*/ 200867 w 200867"/>
                <a:gd name="connsiteY49" fmla="*/ 36329 h 182784"/>
                <a:gd name="connsiteX50" fmla="*/ 198586 w 200867"/>
                <a:gd name="connsiteY50" fmla="*/ 40239 h 182784"/>
                <a:gd name="connsiteX51" fmla="*/ 199238 w 200867"/>
                <a:gd name="connsiteY51" fmla="*/ 43822 h 182784"/>
                <a:gd name="connsiteX52" fmla="*/ 198586 w 200867"/>
                <a:gd name="connsiteY52" fmla="*/ 47569 h 182784"/>
                <a:gd name="connsiteX53" fmla="*/ 199075 w 200867"/>
                <a:gd name="connsiteY53" fmla="*/ 50665 h 182784"/>
                <a:gd name="connsiteX54" fmla="*/ 198912 w 200867"/>
                <a:gd name="connsiteY54" fmla="*/ 53760 h 182784"/>
                <a:gd name="connsiteX55" fmla="*/ 196957 w 200867"/>
                <a:gd name="connsiteY55" fmla="*/ 57507 h 182784"/>
                <a:gd name="connsiteX56" fmla="*/ 196306 w 200867"/>
                <a:gd name="connsiteY56" fmla="*/ 65326 h 182784"/>
                <a:gd name="connsiteX57" fmla="*/ 193536 w 200867"/>
                <a:gd name="connsiteY57" fmla="*/ 69725 h 182784"/>
                <a:gd name="connsiteX58" fmla="*/ 195654 w 200867"/>
                <a:gd name="connsiteY58" fmla="*/ 72006 h 182784"/>
                <a:gd name="connsiteX59" fmla="*/ 199889 w 200867"/>
                <a:gd name="connsiteY59" fmla="*/ 71354 h 182784"/>
                <a:gd name="connsiteX60" fmla="*/ 197935 w 200867"/>
                <a:gd name="connsiteY60" fmla="*/ 75264 h 182784"/>
                <a:gd name="connsiteX61" fmla="*/ 194188 w 200867"/>
                <a:gd name="connsiteY61" fmla="*/ 78033 h 182784"/>
                <a:gd name="connsiteX62" fmla="*/ 194188 w 200867"/>
                <a:gd name="connsiteY62" fmla="*/ 82432 h 182784"/>
                <a:gd name="connsiteX63" fmla="*/ 193536 w 200867"/>
                <a:gd name="connsiteY63" fmla="*/ 87482 h 182784"/>
                <a:gd name="connsiteX64" fmla="*/ 190441 w 200867"/>
                <a:gd name="connsiteY64" fmla="*/ 88622 h 182784"/>
                <a:gd name="connsiteX65" fmla="*/ 190441 w 200867"/>
                <a:gd name="connsiteY65" fmla="*/ 91718 h 182784"/>
                <a:gd name="connsiteX66" fmla="*/ 194677 w 200867"/>
                <a:gd name="connsiteY66" fmla="*/ 95465 h 182784"/>
                <a:gd name="connsiteX67" fmla="*/ 195980 w 200867"/>
                <a:gd name="connsiteY67" fmla="*/ 99700 h 182784"/>
                <a:gd name="connsiteX68" fmla="*/ 193047 w 200867"/>
                <a:gd name="connsiteY68" fmla="*/ 101492 h 182784"/>
                <a:gd name="connsiteX69" fmla="*/ 193047 w 200867"/>
                <a:gd name="connsiteY69" fmla="*/ 106542 h 182784"/>
                <a:gd name="connsiteX70" fmla="*/ 195980 w 200867"/>
                <a:gd name="connsiteY70" fmla="*/ 108986 h 182784"/>
                <a:gd name="connsiteX71" fmla="*/ 197283 w 200867"/>
                <a:gd name="connsiteY71" fmla="*/ 112570 h 182784"/>
                <a:gd name="connsiteX72" fmla="*/ 193862 w 200867"/>
                <a:gd name="connsiteY72" fmla="*/ 117295 h 182784"/>
                <a:gd name="connsiteX73" fmla="*/ 188975 w 200867"/>
                <a:gd name="connsiteY73" fmla="*/ 121041 h 182784"/>
                <a:gd name="connsiteX74" fmla="*/ 187346 w 200867"/>
                <a:gd name="connsiteY74" fmla="*/ 123974 h 182784"/>
                <a:gd name="connsiteX75" fmla="*/ 183762 w 200867"/>
                <a:gd name="connsiteY75" fmla="*/ 124463 h 182784"/>
                <a:gd name="connsiteX76" fmla="*/ 183110 w 200867"/>
                <a:gd name="connsiteY76" fmla="*/ 127884 h 182784"/>
                <a:gd name="connsiteX77" fmla="*/ 184576 w 200867"/>
                <a:gd name="connsiteY77" fmla="*/ 132119 h 182784"/>
                <a:gd name="connsiteX78" fmla="*/ 182621 w 200867"/>
                <a:gd name="connsiteY78" fmla="*/ 135214 h 182784"/>
                <a:gd name="connsiteX79" fmla="*/ 182458 w 200867"/>
                <a:gd name="connsiteY79" fmla="*/ 143034 h 182784"/>
                <a:gd name="connsiteX80" fmla="*/ 181155 w 200867"/>
                <a:gd name="connsiteY80" fmla="*/ 145966 h 182784"/>
                <a:gd name="connsiteX81" fmla="*/ 180829 w 200867"/>
                <a:gd name="connsiteY81" fmla="*/ 154601 h 182784"/>
                <a:gd name="connsiteX82" fmla="*/ 152646 w 200867"/>
                <a:gd name="connsiteY82" fmla="*/ 182784 h 182784"/>
                <a:gd name="connsiteX83" fmla="*/ 148411 w 200867"/>
                <a:gd name="connsiteY83" fmla="*/ 179363 h 182784"/>
                <a:gd name="connsiteX84" fmla="*/ 139939 w 200867"/>
                <a:gd name="connsiteY84" fmla="*/ 177571 h 182784"/>
                <a:gd name="connsiteX85" fmla="*/ 132934 w 200867"/>
                <a:gd name="connsiteY85" fmla="*/ 178548 h 182784"/>
                <a:gd name="connsiteX86" fmla="*/ 129187 w 200867"/>
                <a:gd name="connsiteY86" fmla="*/ 180014 h 182784"/>
                <a:gd name="connsiteX87" fmla="*/ 127395 w 200867"/>
                <a:gd name="connsiteY87" fmla="*/ 178385 h 182784"/>
                <a:gd name="connsiteX88" fmla="*/ 122019 w 200867"/>
                <a:gd name="connsiteY88" fmla="*/ 175779 h 182784"/>
                <a:gd name="connsiteX89" fmla="*/ 117946 w 200867"/>
                <a:gd name="connsiteY89" fmla="*/ 176105 h 182784"/>
                <a:gd name="connsiteX90" fmla="*/ 116154 w 200867"/>
                <a:gd name="connsiteY90" fmla="*/ 172684 h 182784"/>
                <a:gd name="connsiteX91" fmla="*/ 110289 w 200867"/>
                <a:gd name="connsiteY91" fmla="*/ 171543 h 182784"/>
                <a:gd name="connsiteX92" fmla="*/ 101818 w 200867"/>
                <a:gd name="connsiteY92" fmla="*/ 172847 h 182784"/>
                <a:gd name="connsiteX93" fmla="*/ 99538 w 200867"/>
                <a:gd name="connsiteY93" fmla="*/ 170240 h 182784"/>
                <a:gd name="connsiteX94" fmla="*/ 97745 w 200867"/>
                <a:gd name="connsiteY94" fmla="*/ 168122 h 182784"/>
                <a:gd name="connsiteX95" fmla="*/ 97745 w 200867"/>
                <a:gd name="connsiteY95" fmla="*/ 165353 h 182784"/>
                <a:gd name="connsiteX96" fmla="*/ 95302 w 200867"/>
                <a:gd name="connsiteY96" fmla="*/ 163235 h 182784"/>
                <a:gd name="connsiteX97" fmla="*/ 92044 w 200867"/>
                <a:gd name="connsiteY97" fmla="*/ 163072 h 182784"/>
                <a:gd name="connsiteX98" fmla="*/ 87320 w 200867"/>
                <a:gd name="connsiteY98" fmla="*/ 159977 h 182784"/>
                <a:gd name="connsiteX99" fmla="*/ 83736 w 200867"/>
                <a:gd name="connsiteY99" fmla="*/ 159814 h 182784"/>
                <a:gd name="connsiteX100" fmla="*/ 77056 w 200867"/>
                <a:gd name="connsiteY100" fmla="*/ 157533 h 182784"/>
                <a:gd name="connsiteX101" fmla="*/ 74124 w 200867"/>
                <a:gd name="connsiteY101" fmla="*/ 158673 h 182784"/>
                <a:gd name="connsiteX102" fmla="*/ 68422 w 200867"/>
                <a:gd name="connsiteY102" fmla="*/ 157533 h 182784"/>
                <a:gd name="connsiteX103" fmla="*/ 65815 w 200867"/>
                <a:gd name="connsiteY103" fmla="*/ 153297 h 182784"/>
                <a:gd name="connsiteX104" fmla="*/ 61091 w 200867"/>
                <a:gd name="connsiteY104" fmla="*/ 149713 h 182784"/>
                <a:gd name="connsiteX105" fmla="*/ 59462 w 200867"/>
                <a:gd name="connsiteY105" fmla="*/ 145478 h 182784"/>
                <a:gd name="connsiteX106" fmla="*/ 58973 w 200867"/>
                <a:gd name="connsiteY106" fmla="*/ 141405 h 182784"/>
                <a:gd name="connsiteX107" fmla="*/ 57996 w 200867"/>
                <a:gd name="connsiteY107" fmla="*/ 135540 h 182784"/>
                <a:gd name="connsiteX108" fmla="*/ 59299 w 200867"/>
                <a:gd name="connsiteY108" fmla="*/ 132119 h 182784"/>
                <a:gd name="connsiteX109" fmla="*/ 55226 w 200867"/>
                <a:gd name="connsiteY109" fmla="*/ 129187 h 182784"/>
                <a:gd name="connsiteX110" fmla="*/ 50828 w 200867"/>
                <a:gd name="connsiteY110" fmla="*/ 127395 h 182784"/>
                <a:gd name="connsiteX111" fmla="*/ 49688 w 200867"/>
                <a:gd name="connsiteY111" fmla="*/ 124951 h 182784"/>
                <a:gd name="connsiteX112" fmla="*/ 50013 w 200867"/>
                <a:gd name="connsiteY112" fmla="*/ 123322 h 182784"/>
                <a:gd name="connsiteX113" fmla="*/ 50013 w 200867"/>
                <a:gd name="connsiteY113" fmla="*/ 121856 h 182784"/>
                <a:gd name="connsiteX114" fmla="*/ 46592 w 200867"/>
                <a:gd name="connsiteY114" fmla="*/ 119901 h 182784"/>
                <a:gd name="connsiteX115" fmla="*/ 43986 w 200867"/>
                <a:gd name="connsiteY115" fmla="*/ 117457 h 182784"/>
                <a:gd name="connsiteX116" fmla="*/ 39587 w 200867"/>
                <a:gd name="connsiteY116" fmla="*/ 114199 h 182784"/>
                <a:gd name="connsiteX117" fmla="*/ 34700 w 200867"/>
                <a:gd name="connsiteY117" fmla="*/ 111104 h 182784"/>
                <a:gd name="connsiteX118" fmla="*/ 27369 w 200867"/>
                <a:gd name="connsiteY118" fmla="*/ 100026 h 182784"/>
                <a:gd name="connsiteX119" fmla="*/ 25251 w 200867"/>
                <a:gd name="connsiteY119" fmla="*/ 96442 h 182784"/>
                <a:gd name="connsiteX120" fmla="*/ 24111 w 200867"/>
                <a:gd name="connsiteY120" fmla="*/ 96605 h 182784"/>
                <a:gd name="connsiteX121" fmla="*/ 21178 w 200867"/>
                <a:gd name="connsiteY121" fmla="*/ 94161 h 182784"/>
                <a:gd name="connsiteX122" fmla="*/ 20038 w 200867"/>
                <a:gd name="connsiteY122" fmla="*/ 90577 h 182784"/>
                <a:gd name="connsiteX123" fmla="*/ 17594 w 200867"/>
                <a:gd name="connsiteY123" fmla="*/ 87971 h 182784"/>
                <a:gd name="connsiteX124" fmla="*/ 16617 w 200867"/>
                <a:gd name="connsiteY124" fmla="*/ 83735 h 182784"/>
                <a:gd name="connsiteX125" fmla="*/ 14010 w 200867"/>
                <a:gd name="connsiteY125" fmla="*/ 79337 h 182784"/>
                <a:gd name="connsiteX126" fmla="*/ 12707 w 200867"/>
                <a:gd name="connsiteY126" fmla="*/ 78359 h 182784"/>
                <a:gd name="connsiteX127" fmla="*/ 12055 w 200867"/>
                <a:gd name="connsiteY127" fmla="*/ 75915 h 182784"/>
                <a:gd name="connsiteX128" fmla="*/ 9938 w 200867"/>
                <a:gd name="connsiteY128" fmla="*/ 72983 h 182784"/>
                <a:gd name="connsiteX129" fmla="*/ 6679 w 200867"/>
                <a:gd name="connsiteY129" fmla="*/ 70865 h 182784"/>
                <a:gd name="connsiteX130" fmla="*/ 4888 w 200867"/>
                <a:gd name="connsiteY130" fmla="*/ 68911 h 182784"/>
                <a:gd name="connsiteX131" fmla="*/ 1304 w 200867"/>
                <a:gd name="connsiteY131" fmla="*/ 65978 h 182784"/>
                <a:gd name="connsiteX132" fmla="*/ 1140 w 200867"/>
                <a:gd name="connsiteY132" fmla="*/ 63372 h 182784"/>
                <a:gd name="connsiteX133" fmla="*/ 489 w 200867"/>
                <a:gd name="connsiteY133" fmla="*/ 61417 h 182784"/>
                <a:gd name="connsiteX134" fmla="*/ 1140 w 200867"/>
                <a:gd name="connsiteY134" fmla="*/ 59299 h 182784"/>
                <a:gd name="connsiteX135" fmla="*/ 163 w 200867"/>
                <a:gd name="connsiteY135" fmla="*/ 56692 h 182784"/>
                <a:gd name="connsiteX136" fmla="*/ 0 w 200867"/>
                <a:gd name="connsiteY136" fmla="*/ 56692 h 182784"/>
                <a:gd name="connsiteX137" fmla="*/ 0 w 200867"/>
                <a:gd name="connsiteY137" fmla="*/ 56692 h 1827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</a:cxnLst>
              <a:rect l="l" t="t" r="r" b="b"/>
              <a:pathLst>
                <a:path w="200867" h="182784">
                  <a:moveTo>
                    <a:pt x="0" y="56692"/>
                  </a:moveTo>
                  <a:lnTo>
                    <a:pt x="2607" y="57018"/>
                  </a:lnTo>
                  <a:lnTo>
                    <a:pt x="8797" y="57670"/>
                  </a:lnTo>
                  <a:lnTo>
                    <a:pt x="13359" y="60113"/>
                  </a:lnTo>
                  <a:lnTo>
                    <a:pt x="15802" y="62068"/>
                  </a:lnTo>
                  <a:lnTo>
                    <a:pt x="18409" y="62231"/>
                  </a:lnTo>
                  <a:lnTo>
                    <a:pt x="22970" y="58973"/>
                  </a:lnTo>
                  <a:lnTo>
                    <a:pt x="28509" y="58322"/>
                  </a:lnTo>
                  <a:lnTo>
                    <a:pt x="31116" y="59625"/>
                  </a:lnTo>
                  <a:lnTo>
                    <a:pt x="32256" y="59462"/>
                  </a:lnTo>
                  <a:lnTo>
                    <a:pt x="33885" y="60113"/>
                  </a:lnTo>
                  <a:lnTo>
                    <a:pt x="34374" y="60439"/>
                  </a:lnTo>
                  <a:lnTo>
                    <a:pt x="38284" y="63372"/>
                  </a:lnTo>
                  <a:lnTo>
                    <a:pt x="43008" y="64512"/>
                  </a:lnTo>
                  <a:lnTo>
                    <a:pt x="50013" y="62231"/>
                  </a:lnTo>
                  <a:lnTo>
                    <a:pt x="57507" y="51316"/>
                  </a:lnTo>
                  <a:lnTo>
                    <a:pt x="69562" y="36329"/>
                  </a:lnTo>
                  <a:lnTo>
                    <a:pt x="84713" y="26228"/>
                  </a:lnTo>
                  <a:lnTo>
                    <a:pt x="93347" y="23133"/>
                  </a:lnTo>
                  <a:lnTo>
                    <a:pt x="95465" y="21341"/>
                  </a:lnTo>
                  <a:lnTo>
                    <a:pt x="95954" y="19549"/>
                  </a:lnTo>
                  <a:lnTo>
                    <a:pt x="95302" y="17268"/>
                  </a:lnTo>
                  <a:lnTo>
                    <a:pt x="96605" y="14662"/>
                  </a:lnTo>
                  <a:lnTo>
                    <a:pt x="95954" y="12381"/>
                  </a:lnTo>
                  <a:lnTo>
                    <a:pt x="98071" y="8471"/>
                  </a:lnTo>
                  <a:lnTo>
                    <a:pt x="105077" y="4887"/>
                  </a:lnTo>
                  <a:lnTo>
                    <a:pt x="109149" y="3584"/>
                  </a:lnTo>
                  <a:lnTo>
                    <a:pt x="112570" y="1955"/>
                  </a:lnTo>
                  <a:lnTo>
                    <a:pt x="117946" y="0"/>
                  </a:lnTo>
                  <a:lnTo>
                    <a:pt x="124952" y="163"/>
                  </a:lnTo>
                  <a:lnTo>
                    <a:pt x="126092" y="1629"/>
                  </a:lnTo>
                  <a:lnTo>
                    <a:pt x="128861" y="1303"/>
                  </a:lnTo>
                  <a:lnTo>
                    <a:pt x="134074" y="2118"/>
                  </a:lnTo>
                  <a:lnTo>
                    <a:pt x="136192" y="1629"/>
                  </a:lnTo>
                  <a:lnTo>
                    <a:pt x="137170" y="1629"/>
                  </a:lnTo>
                  <a:lnTo>
                    <a:pt x="137658" y="10752"/>
                  </a:lnTo>
                  <a:lnTo>
                    <a:pt x="146781" y="11078"/>
                  </a:lnTo>
                  <a:lnTo>
                    <a:pt x="150528" y="11892"/>
                  </a:lnTo>
                  <a:lnTo>
                    <a:pt x="151668" y="14336"/>
                  </a:lnTo>
                  <a:lnTo>
                    <a:pt x="154764" y="13847"/>
                  </a:lnTo>
                  <a:lnTo>
                    <a:pt x="156393" y="11241"/>
                  </a:lnTo>
                  <a:lnTo>
                    <a:pt x="163398" y="13033"/>
                  </a:lnTo>
                  <a:lnTo>
                    <a:pt x="170566" y="16942"/>
                  </a:lnTo>
                  <a:lnTo>
                    <a:pt x="174964" y="23133"/>
                  </a:lnTo>
                  <a:lnTo>
                    <a:pt x="179526" y="23622"/>
                  </a:lnTo>
                  <a:lnTo>
                    <a:pt x="187509" y="24599"/>
                  </a:lnTo>
                  <a:lnTo>
                    <a:pt x="192070" y="28183"/>
                  </a:lnTo>
                  <a:lnTo>
                    <a:pt x="194839" y="31604"/>
                  </a:lnTo>
                  <a:lnTo>
                    <a:pt x="200541" y="31930"/>
                  </a:lnTo>
                  <a:lnTo>
                    <a:pt x="200867" y="36329"/>
                  </a:lnTo>
                  <a:lnTo>
                    <a:pt x="198586" y="40239"/>
                  </a:lnTo>
                  <a:lnTo>
                    <a:pt x="199238" y="43822"/>
                  </a:lnTo>
                  <a:lnTo>
                    <a:pt x="198586" y="47569"/>
                  </a:lnTo>
                  <a:lnTo>
                    <a:pt x="199075" y="50665"/>
                  </a:lnTo>
                  <a:lnTo>
                    <a:pt x="198912" y="53760"/>
                  </a:lnTo>
                  <a:lnTo>
                    <a:pt x="196957" y="57507"/>
                  </a:lnTo>
                  <a:lnTo>
                    <a:pt x="196306" y="65326"/>
                  </a:lnTo>
                  <a:lnTo>
                    <a:pt x="193536" y="69725"/>
                  </a:lnTo>
                  <a:lnTo>
                    <a:pt x="195654" y="72006"/>
                  </a:lnTo>
                  <a:lnTo>
                    <a:pt x="199889" y="71354"/>
                  </a:lnTo>
                  <a:lnTo>
                    <a:pt x="197935" y="75264"/>
                  </a:lnTo>
                  <a:lnTo>
                    <a:pt x="194188" y="78033"/>
                  </a:lnTo>
                  <a:lnTo>
                    <a:pt x="194188" y="82432"/>
                  </a:lnTo>
                  <a:lnTo>
                    <a:pt x="193536" y="87482"/>
                  </a:lnTo>
                  <a:lnTo>
                    <a:pt x="190441" y="88622"/>
                  </a:lnTo>
                  <a:lnTo>
                    <a:pt x="190441" y="91718"/>
                  </a:lnTo>
                  <a:lnTo>
                    <a:pt x="194677" y="95465"/>
                  </a:lnTo>
                  <a:lnTo>
                    <a:pt x="195980" y="99700"/>
                  </a:lnTo>
                  <a:lnTo>
                    <a:pt x="193047" y="101492"/>
                  </a:lnTo>
                  <a:lnTo>
                    <a:pt x="193047" y="106542"/>
                  </a:lnTo>
                  <a:lnTo>
                    <a:pt x="195980" y="108986"/>
                  </a:lnTo>
                  <a:lnTo>
                    <a:pt x="197283" y="112570"/>
                  </a:lnTo>
                  <a:lnTo>
                    <a:pt x="193862" y="117295"/>
                  </a:lnTo>
                  <a:lnTo>
                    <a:pt x="188975" y="121041"/>
                  </a:lnTo>
                  <a:lnTo>
                    <a:pt x="187346" y="123974"/>
                  </a:lnTo>
                  <a:lnTo>
                    <a:pt x="183762" y="124463"/>
                  </a:lnTo>
                  <a:lnTo>
                    <a:pt x="183110" y="127884"/>
                  </a:lnTo>
                  <a:lnTo>
                    <a:pt x="184576" y="132119"/>
                  </a:lnTo>
                  <a:lnTo>
                    <a:pt x="182621" y="135214"/>
                  </a:lnTo>
                  <a:lnTo>
                    <a:pt x="182458" y="143034"/>
                  </a:lnTo>
                  <a:lnTo>
                    <a:pt x="181155" y="145966"/>
                  </a:lnTo>
                  <a:lnTo>
                    <a:pt x="180829" y="154601"/>
                  </a:lnTo>
                  <a:lnTo>
                    <a:pt x="152646" y="182784"/>
                  </a:lnTo>
                  <a:lnTo>
                    <a:pt x="148411" y="179363"/>
                  </a:lnTo>
                  <a:lnTo>
                    <a:pt x="139939" y="177571"/>
                  </a:lnTo>
                  <a:lnTo>
                    <a:pt x="132934" y="178548"/>
                  </a:lnTo>
                  <a:lnTo>
                    <a:pt x="129187" y="180014"/>
                  </a:lnTo>
                  <a:lnTo>
                    <a:pt x="127395" y="178385"/>
                  </a:lnTo>
                  <a:lnTo>
                    <a:pt x="122019" y="175779"/>
                  </a:lnTo>
                  <a:lnTo>
                    <a:pt x="117946" y="176105"/>
                  </a:lnTo>
                  <a:lnTo>
                    <a:pt x="116154" y="172684"/>
                  </a:lnTo>
                  <a:lnTo>
                    <a:pt x="110289" y="171543"/>
                  </a:lnTo>
                  <a:lnTo>
                    <a:pt x="101818" y="172847"/>
                  </a:lnTo>
                  <a:lnTo>
                    <a:pt x="99538" y="170240"/>
                  </a:lnTo>
                  <a:lnTo>
                    <a:pt x="97745" y="168122"/>
                  </a:lnTo>
                  <a:lnTo>
                    <a:pt x="97745" y="165353"/>
                  </a:lnTo>
                  <a:lnTo>
                    <a:pt x="95302" y="163235"/>
                  </a:lnTo>
                  <a:lnTo>
                    <a:pt x="92044" y="163072"/>
                  </a:lnTo>
                  <a:lnTo>
                    <a:pt x="87320" y="159977"/>
                  </a:lnTo>
                  <a:lnTo>
                    <a:pt x="83736" y="159814"/>
                  </a:lnTo>
                  <a:lnTo>
                    <a:pt x="77056" y="157533"/>
                  </a:lnTo>
                  <a:lnTo>
                    <a:pt x="74124" y="158673"/>
                  </a:lnTo>
                  <a:lnTo>
                    <a:pt x="68422" y="157533"/>
                  </a:lnTo>
                  <a:lnTo>
                    <a:pt x="65815" y="153297"/>
                  </a:lnTo>
                  <a:lnTo>
                    <a:pt x="61091" y="149713"/>
                  </a:lnTo>
                  <a:lnTo>
                    <a:pt x="59462" y="145478"/>
                  </a:lnTo>
                  <a:lnTo>
                    <a:pt x="58973" y="141405"/>
                  </a:lnTo>
                  <a:lnTo>
                    <a:pt x="57996" y="135540"/>
                  </a:lnTo>
                  <a:lnTo>
                    <a:pt x="59299" y="132119"/>
                  </a:lnTo>
                  <a:lnTo>
                    <a:pt x="55226" y="129187"/>
                  </a:lnTo>
                  <a:lnTo>
                    <a:pt x="50828" y="127395"/>
                  </a:lnTo>
                  <a:lnTo>
                    <a:pt x="49688" y="124951"/>
                  </a:lnTo>
                  <a:lnTo>
                    <a:pt x="50013" y="123322"/>
                  </a:lnTo>
                  <a:lnTo>
                    <a:pt x="50013" y="121856"/>
                  </a:lnTo>
                  <a:lnTo>
                    <a:pt x="46592" y="119901"/>
                  </a:lnTo>
                  <a:lnTo>
                    <a:pt x="43986" y="117457"/>
                  </a:lnTo>
                  <a:lnTo>
                    <a:pt x="39587" y="114199"/>
                  </a:lnTo>
                  <a:lnTo>
                    <a:pt x="34700" y="111104"/>
                  </a:lnTo>
                  <a:lnTo>
                    <a:pt x="27369" y="100026"/>
                  </a:lnTo>
                  <a:lnTo>
                    <a:pt x="25251" y="96442"/>
                  </a:lnTo>
                  <a:lnTo>
                    <a:pt x="24111" y="96605"/>
                  </a:lnTo>
                  <a:lnTo>
                    <a:pt x="21178" y="94161"/>
                  </a:lnTo>
                  <a:lnTo>
                    <a:pt x="20038" y="90577"/>
                  </a:lnTo>
                  <a:lnTo>
                    <a:pt x="17594" y="87971"/>
                  </a:lnTo>
                  <a:lnTo>
                    <a:pt x="16617" y="83735"/>
                  </a:lnTo>
                  <a:lnTo>
                    <a:pt x="14010" y="79337"/>
                  </a:lnTo>
                  <a:lnTo>
                    <a:pt x="12707" y="78359"/>
                  </a:lnTo>
                  <a:lnTo>
                    <a:pt x="12055" y="75915"/>
                  </a:lnTo>
                  <a:lnTo>
                    <a:pt x="9938" y="72983"/>
                  </a:lnTo>
                  <a:lnTo>
                    <a:pt x="6679" y="70865"/>
                  </a:lnTo>
                  <a:lnTo>
                    <a:pt x="4888" y="68911"/>
                  </a:lnTo>
                  <a:lnTo>
                    <a:pt x="1304" y="65978"/>
                  </a:lnTo>
                  <a:lnTo>
                    <a:pt x="1140" y="63372"/>
                  </a:lnTo>
                  <a:lnTo>
                    <a:pt x="489" y="61417"/>
                  </a:lnTo>
                  <a:lnTo>
                    <a:pt x="1140" y="59299"/>
                  </a:lnTo>
                  <a:lnTo>
                    <a:pt x="163" y="56692"/>
                  </a:lnTo>
                  <a:lnTo>
                    <a:pt x="0" y="56692"/>
                  </a:lnTo>
                  <a:lnTo>
                    <a:pt x="0" y="56692"/>
                  </a:lnTo>
                  <a:close/>
                </a:path>
              </a:pathLst>
            </a:custGeom>
            <a:solidFill>
              <a:schemeClr val="bg2"/>
            </a:solidFill>
            <a:ln w="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35" name="Forma livre: Forma 134">
              <a:extLst>
                <a:ext uri="{FF2B5EF4-FFF2-40B4-BE49-F238E27FC236}">
                  <a16:creationId xmlns:a16="http://schemas.microsoft.com/office/drawing/2014/main" id="{25F56E82-C26F-3A47-A3FB-217685B261F3}"/>
                </a:ext>
              </a:extLst>
            </p:cNvPr>
            <p:cNvSpPr/>
            <p:nvPr/>
          </p:nvSpPr>
          <p:spPr>
            <a:xfrm>
              <a:off x="6499337" y="5436836"/>
              <a:ext cx="247812" cy="247643"/>
            </a:xfrm>
            <a:custGeom>
              <a:avLst/>
              <a:gdLst>
                <a:gd name="connsiteX0" fmla="*/ 138147 w 239802"/>
                <a:gd name="connsiteY0" fmla="*/ 0 h 239639"/>
                <a:gd name="connsiteX1" fmla="*/ 139125 w 239802"/>
                <a:gd name="connsiteY1" fmla="*/ 2607 h 239639"/>
                <a:gd name="connsiteX2" fmla="*/ 138473 w 239802"/>
                <a:gd name="connsiteY2" fmla="*/ 4724 h 239639"/>
                <a:gd name="connsiteX3" fmla="*/ 139125 w 239802"/>
                <a:gd name="connsiteY3" fmla="*/ 6679 h 239639"/>
                <a:gd name="connsiteX4" fmla="*/ 139288 w 239802"/>
                <a:gd name="connsiteY4" fmla="*/ 9286 h 239639"/>
                <a:gd name="connsiteX5" fmla="*/ 142872 w 239802"/>
                <a:gd name="connsiteY5" fmla="*/ 12218 h 239639"/>
                <a:gd name="connsiteX6" fmla="*/ 144663 w 239802"/>
                <a:gd name="connsiteY6" fmla="*/ 14173 h 239639"/>
                <a:gd name="connsiteX7" fmla="*/ 147922 w 239802"/>
                <a:gd name="connsiteY7" fmla="*/ 16291 h 239639"/>
                <a:gd name="connsiteX8" fmla="*/ 150039 w 239802"/>
                <a:gd name="connsiteY8" fmla="*/ 19223 h 239639"/>
                <a:gd name="connsiteX9" fmla="*/ 150691 w 239802"/>
                <a:gd name="connsiteY9" fmla="*/ 21667 h 239639"/>
                <a:gd name="connsiteX10" fmla="*/ 151995 w 239802"/>
                <a:gd name="connsiteY10" fmla="*/ 22644 h 239639"/>
                <a:gd name="connsiteX11" fmla="*/ 154601 w 239802"/>
                <a:gd name="connsiteY11" fmla="*/ 27043 h 239639"/>
                <a:gd name="connsiteX12" fmla="*/ 155579 w 239802"/>
                <a:gd name="connsiteY12" fmla="*/ 31279 h 239639"/>
                <a:gd name="connsiteX13" fmla="*/ 158022 w 239802"/>
                <a:gd name="connsiteY13" fmla="*/ 33885 h 239639"/>
                <a:gd name="connsiteX14" fmla="*/ 159163 w 239802"/>
                <a:gd name="connsiteY14" fmla="*/ 37469 h 239639"/>
                <a:gd name="connsiteX15" fmla="*/ 162095 w 239802"/>
                <a:gd name="connsiteY15" fmla="*/ 39913 h 239639"/>
                <a:gd name="connsiteX16" fmla="*/ 163235 w 239802"/>
                <a:gd name="connsiteY16" fmla="*/ 39750 h 239639"/>
                <a:gd name="connsiteX17" fmla="*/ 165353 w 239802"/>
                <a:gd name="connsiteY17" fmla="*/ 43334 h 239639"/>
                <a:gd name="connsiteX18" fmla="*/ 172684 w 239802"/>
                <a:gd name="connsiteY18" fmla="*/ 54412 h 239639"/>
                <a:gd name="connsiteX19" fmla="*/ 177571 w 239802"/>
                <a:gd name="connsiteY19" fmla="*/ 57507 h 239639"/>
                <a:gd name="connsiteX20" fmla="*/ 181970 w 239802"/>
                <a:gd name="connsiteY20" fmla="*/ 60765 h 239639"/>
                <a:gd name="connsiteX21" fmla="*/ 184576 w 239802"/>
                <a:gd name="connsiteY21" fmla="*/ 63209 h 239639"/>
                <a:gd name="connsiteX22" fmla="*/ 187997 w 239802"/>
                <a:gd name="connsiteY22" fmla="*/ 65164 h 239639"/>
                <a:gd name="connsiteX23" fmla="*/ 187997 w 239802"/>
                <a:gd name="connsiteY23" fmla="*/ 66630 h 239639"/>
                <a:gd name="connsiteX24" fmla="*/ 187672 w 239802"/>
                <a:gd name="connsiteY24" fmla="*/ 68259 h 239639"/>
                <a:gd name="connsiteX25" fmla="*/ 188812 w 239802"/>
                <a:gd name="connsiteY25" fmla="*/ 70703 h 239639"/>
                <a:gd name="connsiteX26" fmla="*/ 193211 w 239802"/>
                <a:gd name="connsiteY26" fmla="*/ 72495 h 239639"/>
                <a:gd name="connsiteX27" fmla="*/ 197283 w 239802"/>
                <a:gd name="connsiteY27" fmla="*/ 75427 h 239639"/>
                <a:gd name="connsiteX28" fmla="*/ 195980 w 239802"/>
                <a:gd name="connsiteY28" fmla="*/ 78848 h 239639"/>
                <a:gd name="connsiteX29" fmla="*/ 196957 w 239802"/>
                <a:gd name="connsiteY29" fmla="*/ 84713 h 239639"/>
                <a:gd name="connsiteX30" fmla="*/ 197446 w 239802"/>
                <a:gd name="connsiteY30" fmla="*/ 88785 h 239639"/>
                <a:gd name="connsiteX31" fmla="*/ 199075 w 239802"/>
                <a:gd name="connsiteY31" fmla="*/ 93021 h 239639"/>
                <a:gd name="connsiteX32" fmla="*/ 203800 w 239802"/>
                <a:gd name="connsiteY32" fmla="*/ 96605 h 239639"/>
                <a:gd name="connsiteX33" fmla="*/ 206406 w 239802"/>
                <a:gd name="connsiteY33" fmla="*/ 100841 h 239639"/>
                <a:gd name="connsiteX34" fmla="*/ 212108 w 239802"/>
                <a:gd name="connsiteY34" fmla="*/ 101981 h 239639"/>
                <a:gd name="connsiteX35" fmla="*/ 215040 w 239802"/>
                <a:gd name="connsiteY35" fmla="*/ 100841 h 239639"/>
                <a:gd name="connsiteX36" fmla="*/ 221720 w 239802"/>
                <a:gd name="connsiteY36" fmla="*/ 103122 h 239639"/>
                <a:gd name="connsiteX37" fmla="*/ 225304 w 239802"/>
                <a:gd name="connsiteY37" fmla="*/ 103284 h 239639"/>
                <a:gd name="connsiteX38" fmla="*/ 230028 w 239802"/>
                <a:gd name="connsiteY38" fmla="*/ 106380 h 239639"/>
                <a:gd name="connsiteX39" fmla="*/ 233286 w 239802"/>
                <a:gd name="connsiteY39" fmla="*/ 106542 h 239639"/>
                <a:gd name="connsiteX40" fmla="*/ 235730 w 239802"/>
                <a:gd name="connsiteY40" fmla="*/ 108660 h 239639"/>
                <a:gd name="connsiteX41" fmla="*/ 235730 w 239802"/>
                <a:gd name="connsiteY41" fmla="*/ 111430 h 239639"/>
                <a:gd name="connsiteX42" fmla="*/ 237522 w 239802"/>
                <a:gd name="connsiteY42" fmla="*/ 113548 h 239639"/>
                <a:gd name="connsiteX43" fmla="*/ 239802 w 239802"/>
                <a:gd name="connsiteY43" fmla="*/ 116154 h 239639"/>
                <a:gd name="connsiteX44" fmla="*/ 236544 w 239802"/>
                <a:gd name="connsiteY44" fmla="*/ 116643 h 239639"/>
                <a:gd name="connsiteX45" fmla="*/ 234263 w 239802"/>
                <a:gd name="connsiteY45" fmla="*/ 118435 h 239639"/>
                <a:gd name="connsiteX46" fmla="*/ 229702 w 239802"/>
                <a:gd name="connsiteY46" fmla="*/ 118598 h 239639"/>
                <a:gd name="connsiteX47" fmla="*/ 227095 w 239802"/>
                <a:gd name="connsiteY47" fmla="*/ 120879 h 239639"/>
                <a:gd name="connsiteX48" fmla="*/ 227584 w 239802"/>
                <a:gd name="connsiteY48" fmla="*/ 123485 h 239639"/>
                <a:gd name="connsiteX49" fmla="*/ 226118 w 239802"/>
                <a:gd name="connsiteY49" fmla="*/ 127395 h 239639"/>
                <a:gd name="connsiteX50" fmla="*/ 222534 w 239802"/>
                <a:gd name="connsiteY50" fmla="*/ 128209 h 239639"/>
                <a:gd name="connsiteX51" fmla="*/ 218950 w 239802"/>
                <a:gd name="connsiteY51" fmla="*/ 131468 h 239639"/>
                <a:gd name="connsiteX52" fmla="*/ 214714 w 239802"/>
                <a:gd name="connsiteY52" fmla="*/ 131631 h 239639"/>
                <a:gd name="connsiteX53" fmla="*/ 212271 w 239802"/>
                <a:gd name="connsiteY53" fmla="*/ 132282 h 239639"/>
                <a:gd name="connsiteX54" fmla="*/ 210641 w 239802"/>
                <a:gd name="connsiteY54" fmla="*/ 131142 h 239639"/>
                <a:gd name="connsiteX55" fmla="*/ 205591 w 239802"/>
                <a:gd name="connsiteY55" fmla="*/ 131957 h 239639"/>
                <a:gd name="connsiteX56" fmla="*/ 200052 w 239802"/>
                <a:gd name="connsiteY56" fmla="*/ 136681 h 239639"/>
                <a:gd name="connsiteX57" fmla="*/ 197446 w 239802"/>
                <a:gd name="connsiteY57" fmla="*/ 139287 h 239639"/>
                <a:gd name="connsiteX58" fmla="*/ 194351 w 239802"/>
                <a:gd name="connsiteY58" fmla="*/ 141079 h 239639"/>
                <a:gd name="connsiteX59" fmla="*/ 193211 w 239802"/>
                <a:gd name="connsiteY59" fmla="*/ 143523 h 239639"/>
                <a:gd name="connsiteX60" fmla="*/ 189463 w 239802"/>
                <a:gd name="connsiteY60" fmla="*/ 144663 h 239639"/>
                <a:gd name="connsiteX61" fmla="*/ 187509 w 239802"/>
                <a:gd name="connsiteY61" fmla="*/ 147107 h 239639"/>
                <a:gd name="connsiteX62" fmla="*/ 184902 w 239802"/>
                <a:gd name="connsiteY62" fmla="*/ 147922 h 239639"/>
                <a:gd name="connsiteX63" fmla="*/ 181155 w 239802"/>
                <a:gd name="connsiteY63" fmla="*/ 149550 h 239639"/>
                <a:gd name="connsiteX64" fmla="*/ 174313 w 239802"/>
                <a:gd name="connsiteY64" fmla="*/ 158674 h 239639"/>
                <a:gd name="connsiteX65" fmla="*/ 173661 w 239802"/>
                <a:gd name="connsiteY65" fmla="*/ 165027 h 239639"/>
                <a:gd name="connsiteX66" fmla="*/ 174964 w 239802"/>
                <a:gd name="connsiteY66" fmla="*/ 166982 h 239639"/>
                <a:gd name="connsiteX67" fmla="*/ 174964 w 239802"/>
                <a:gd name="connsiteY67" fmla="*/ 171055 h 239639"/>
                <a:gd name="connsiteX68" fmla="*/ 171381 w 239802"/>
                <a:gd name="connsiteY68" fmla="*/ 171706 h 239639"/>
                <a:gd name="connsiteX69" fmla="*/ 169752 w 239802"/>
                <a:gd name="connsiteY69" fmla="*/ 173987 h 239639"/>
                <a:gd name="connsiteX70" fmla="*/ 166982 w 239802"/>
                <a:gd name="connsiteY70" fmla="*/ 174639 h 239639"/>
                <a:gd name="connsiteX71" fmla="*/ 163398 w 239802"/>
                <a:gd name="connsiteY71" fmla="*/ 177571 h 239639"/>
                <a:gd name="connsiteX72" fmla="*/ 162095 w 239802"/>
                <a:gd name="connsiteY72" fmla="*/ 180992 h 239639"/>
                <a:gd name="connsiteX73" fmla="*/ 160466 w 239802"/>
                <a:gd name="connsiteY73" fmla="*/ 182295 h 239639"/>
                <a:gd name="connsiteX74" fmla="*/ 158836 w 239802"/>
                <a:gd name="connsiteY74" fmla="*/ 184413 h 239639"/>
                <a:gd name="connsiteX75" fmla="*/ 155415 w 239802"/>
                <a:gd name="connsiteY75" fmla="*/ 184902 h 239639"/>
                <a:gd name="connsiteX76" fmla="*/ 151831 w 239802"/>
                <a:gd name="connsiteY76" fmla="*/ 187346 h 239639"/>
                <a:gd name="connsiteX77" fmla="*/ 146618 w 239802"/>
                <a:gd name="connsiteY77" fmla="*/ 188160 h 239639"/>
                <a:gd name="connsiteX78" fmla="*/ 144338 w 239802"/>
                <a:gd name="connsiteY78" fmla="*/ 192396 h 239639"/>
                <a:gd name="connsiteX79" fmla="*/ 144663 w 239802"/>
                <a:gd name="connsiteY79" fmla="*/ 199238 h 239639"/>
                <a:gd name="connsiteX80" fmla="*/ 142382 w 239802"/>
                <a:gd name="connsiteY80" fmla="*/ 201844 h 239639"/>
                <a:gd name="connsiteX81" fmla="*/ 142382 w 239802"/>
                <a:gd name="connsiteY81" fmla="*/ 204940 h 239639"/>
                <a:gd name="connsiteX82" fmla="*/ 140916 w 239802"/>
                <a:gd name="connsiteY82" fmla="*/ 209664 h 239639"/>
                <a:gd name="connsiteX83" fmla="*/ 142382 w 239802"/>
                <a:gd name="connsiteY83" fmla="*/ 211619 h 239639"/>
                <a:gd name="connsiteX84" fmla="*/ 136518 w 239802"/>
                <a:gd name="connsiteY84" fmla="*/ 215366 h 239639"/>
                <a:gd name="connsiteX85" fmla="*/ 133423 w 239802"/>
                <a:gd name="connsiteY85" fmla="*/ 214063 h 239639"/>
                <a:gd name="connsiteX86" fmla="*/ 131468 w 239802"/>
                <a:gd name="connsiteY86" fmla="*/ 211456 h 239639"/>
                <a:gd name="connsiteX87" fmla="*/ 127395 w 239802"/>
                <a:gd name="connsiteY87" fmla="*/ 211945 h 239639"/>
                <a:gd name="connsiteX88" fmla="*/ 121368 w 239802"/>
                <a:gd name="connsiteY88" fmla="*/ 211945 h 239639"/>
                <a:gd name="connsiteX89" fmla="*/ 115991 w 239802"/>
                <a:gd name="connsiteY89" fmla="*/ 213248 h 239639"/>
                <a:gd name="connsiteX90" fmla="*/ 111593 w 239802"/>
                <a:gd name="connsiteY90" fmla="*/ 211782 h 239639"/>
                <a:gd name="connsiteX91" fmla="*/ 107520 w 239802"/>
                <a:gd name="connsiteY91" fmla="*/ 212596 h 239639"/>
                <a:gd name="connsiteX92" fmla="*/ 98072 w 239802"/>
                <a:gd name="connsiteY92" fmla="*/ 207220 h 239639"/>
                <a:gd name="connsiteX93" fmla="*/ 95139 w 239802"/>
                <a:gd name="connsiteY93" fmla="*/ 207057 h 239639"/>
                <a:gd name="connsiteX94" fmla="*/ 92532 w 239802"/>
                <a:gd name="connsiteY94" fmla="*/ 203636 h 239639"/>
                <a:gd name="connsiteX95" fmla="*/ 83898 w 239802"/>
                <a:gd name="connsiteY95" fmla="*/ 202333 h 239639"/>
                <a:gd name="connsiteX96" fmla="*/ 77708 w 239802"/>
                <a:gd name="connsiteY96" fmla="*/ 203148 h 239639"/>
                <a:gd name="connsiteX97" fmla="*/ 70866 w 239802"/>
                <a:gd name="connsiteY97" fmla="*/ 209175 h 239639"/>
                <a:gd name="connsiteX98" fmla="*/ 66793 w 239802"/>
                <a:gd name="connsiteY98" fmla="*/ 219439 h 239639"/>
                <a:gd name="connsiteX99" fmla="*/ 62231 w 239802"/>
                <a:gd name="connsiteY99" fmla="*/ 224326 h 239639"/>
                <a:gd name="connsiteX100" fmla="*/ 53760 w 239802"/>
                <a:gd name="connsiteY100" fmla="*/ 227584 h 239639"/>
                <a:gd name="connsiteX101" fmla="*/ 51805 w 239802"/>
                <a:gd name="connsiteY101" fmla="*/ 230842 h 239639"/>
                <a:gd name="connsiteX102" fmla="*/ 46918 w 239802"/>
                <a:gd name="connsiteY102" fmla="*/ 234589 h 239639"/>
                <a:gd name="connsiteX103" fmla="*/ 41542 w 239802"/>
                <a:gd name="connsiteY103" fmla="*/ 235892 h 239639"/>
                <a:gd name="connsiteX104" fmla="*/ 37469 w 239802"/>
                <a:gd name="connsiteY104" fmla="*/ 238662 h 239639"/>
                <a:gd name="connsiteX105" fmla="*/ 31441 w 239802"/>
                <a:gd name="connsiteY105" fmla="*/ 237847 h 239639"/>
                <a:gd name="connsiteX106" fmla="*/ 27369 w 239802"/>
                <a:gd name="connsiteY106" fmla="*/ 239639 h 239639"/>
                <a:gd name="connsiteX107" fmla="*/ 20527 w 239802"/>
                <a:gd name="connsiteY107" fmla="*/ 238336 h 239639"/>
                <a:gd name="connsiteX108" fmla="*/ 13684 w 239802"/>
                <a:gd name="connsiteY108" fmla="*/ 239314 h 239639"/>
                <a:gd name="connsiteX109" fmla="*/ 13847 w 239802"/>
                <a:gd name="connsiteY109" fmla="*/ 234426 h 239639"/>
                <a:gd name="connsiteX110" fmla="*/ 17594 w 239802"/>
                <a:gd name="connsiteY110" fmla="*/ 226118 h 239639"/>
                <a:gd name="connsiteX111" fmla="*/ 17757 w 239802"/>
                <a:gd name="connsiteY111" fmla="*/ 219113 h 239639"/>
                <a:gd name="connsiteX112" fmla="*/ 11078 w 239802"/>
                <a:gd name="connsiteY112" fmla="*/ 204777 h 239639"/>
                <a:gd name="connsiteX113" fmla="*/ 8472 w 239802"/>
                <a:gd name="connsiteY113" fmla="*/ 197772 h 239639"/>
                <a:gd name="connsiteX114" fmla="*/ 0 w 239802"/>
                <a:gd name="connsiteY114" fmla="*/ 191581 h 239639"/>
                <a:gd name="connsiteX115" fmla="*/ 0 w 239802"/>
                <a:gd name="connsiteY115" fmla="*/ 191744 h 239639"/>
                <a:gd name="connsiteX116" fmla="*/ 0 w 239802"/>
                <a:gd name="connsiteY116" fmla="*/ 191581 h 239639"/>
                <a:gd name="connsiteX117" fmla="*/ 0 w 239802"/>
                <a:gd name="connsiteY117" fmla="*/ 190930 h 239639"/>
                <a:gd name="connsiteX118" fmla="*/ 4561 w 239802"/>
                <a:gd name="connsiteY118" fmla="*/ 110290 h 239639"/>
                <a:gd name="connsiteX119" fmla="*/ 27206 w 239802"/>
                <a:gd name="connsiteY119" fmla="*/ 109964 h 239639"/>
                <a:gd name="connsiteX120" fmla="*/ 31767 w 239802"/>
                <a:gd name="connsiteY120" fmla="*/ 18083 h 239639"/>
                <a:gd name="connsiteX121" fmla="*/ 50991 w 239802"/>
                <a:gd name="connsiteY121" fmla="*/ 18898 h 239639"/>
                <a:gd name="connsiteX122" fmla="*/ 75590 w 239802"/>
                <a:gd name="connsiteY122" fmla="*/ 13196 h 239639"/>
                <a:gd name="connsiteX123" fmla="*/ 83084 w 239802"/>
                <a:gd name="connsiteY123" fmla="*/ 10915 h 239639"/>
                <a:gd name="connsiteX124" fmla="*/ 86505 w 239802"/>
                <a:gd name="connsiteY124" fmla="*/ 10589 h 239639"/>
                <a:gd name="connsiteX125" fmla="*/ 87645 w 239802"/>
                <a:gd name="connsiteY125" fmla="*/ 9937 h 239639"/>
                <a:gd name="connsiteX126" fmla="*/ 89274 w 239802"/>
                <a:gd name="connsiteY126" fmla="*/ 11078 h 239639"/>
                <a:gd name="connsiteX127" fmla="*/ 90577 w 239802"/>
                <a:gd name="connsiteY127" fmla="*/ 14662 h 239639"/>
                <a:gd name="connsiteX128" fmla="*/ 92532 w 239802"/>
                <a:gd name="connsiteY128" fmla="*/ 16454 h 239639"/>
                <a:gd name="connsiteX129" fmla="*/ 91066 w 239802"/>
                <a:gd name="connsiteY129" fmla="*/ 18246 h 239639"/>
                <a:gd name="connsiteX130" fmla="*/ 90577 w 239802"/>
                <a:gd name="connsiteY130" fmla="*/ 21830 h 239639"/>
                <a:gd name="connsiteX131" fmla="*/ 92695 w 239802"/>
                <a:gd name="connsiteY131" fmla="*/ 22318 h 239639"/>
                <a:gd name="connsiteX132" fmla="*/ 101166 w 239802"/>
                <a:gd name="connsiteY132" fmla="*/ 16291 h 239639"/>
                <a:gd name="connsiteX133" fmla="*/ 106054 w 239802"/>
                <a:gd name="connsiteY133" fmla="*/ 10100 h 239639"/>
                <a:gd name="connsiteX134" fmla="*/ 111104 w 239802"/>
                <a:gd name="connsiteY134" fmla="*/ 4887 h 239639"/>
                <a:gd name="connsiteX135" fmla="*/ 116643 w 239802"/>
                <a:gd name="connsiteY135" fmla="*/ 4236 h 239639"/>
                <a:gd name="connsiteX136" fmla="*/ 117946 w 239802"/>
                <a:gd name="connsiteY136" fmla="*/ 6353 h 239639"/>
                <a:gd name="connsiteX137" fmla="*/ 121204 w 239802"/>
                <a:gd name="connsiteY137" fmla="*/ 6679 h 239639"/>
                <a:gd name="connsiteX138" fmla="*/ 124463 w 239802"/>
                <a:gd name="connsiteY138" fmla="*/ 4561 h 239639"/>
                <a:gd name="connsiteX139" fmla="*/ 132608 w 239802"/>
                <a:gd name="connsiteY139" fmla="*/ 1629 h 239639"/>
                <a:gd name="connsiteX140" fmla="*/ 137984 w 239802"/>
                <a:gd name="connsiteY140" fmla="*/ 163 h 239639"/>
                <a:gd name="connsiteX141" fmla="*/ 137984 w 239802"/>
                <a:gd name="connsiteY141" fmla="*/ 0 h 239639"/>
                <a:gd name="connsiteX142" fmla="*/ 138147 w 239802"/>
                <a:gd name="connsiteY142" fmla="*/ 0 h 239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</a:cxnLst>
              <a:rect l="l" t="t" r="r" b="b"/>
              <a:pathLst>
                <a:path w="239802" h="239639">
                  <a:moveTo>
                    <a:pt x="138147" y="0"/>
                  </a:moveTo>
                  <a:lnTo>
                    <a:pt x="139125" y="2607"/>
                  </a:lnTo>
                  <a:lnTo>
                    <a:pt x="138473" y="4724"/>
                  </a:lnTo>
                  <a:lnTo>
                    <a:pt x="139125" y="6679"/>
                  </a:lnTo>
                  <a:lnTo>
                    <a:pt x="139288" y="9286"/>
                  </a:lnTo>
                  <a:lnTo>
                    <a:pt x="142872" y="12218"/>
                  </a:lnTo>
                  <a:lnTo>
                    <a:pt x="144663" y="14173"/>
                  </a:lnTo>
                  <a:lnTo>
                    <a:pt x="147922" y="16291"/>
                  </a:lnTo>
                  <a:lnTo>
                    <a:pt x="150039" y="19223"/>
                  </a:lnTo>
                  <a:lnTo>
                    <a:pt x="150691" y="21667"/>
                  </a:lnTo>
                  <a:lnTo>
                    <a:pt x="151995" y="22644"/>
                  </a:lnTo>
                  <a:lnTo>
                    <a:pt x="154601" y="27043"/>
                  </a:lnTo>
                  <a:lnTo>
                    <a:pt x="155579" y="31279"/>
                  </a:lnTo>
                  <a:lnTo>
                    <a:pt x="158022" y="33885"/>
                  </a:lnTo>
                  <a:lnTo>
                    <a:pt x="159163" y="37469"/>
                  </a:lnTo>
                  <a:lnTo>
                    <a:pt x="162095" y="39913"/>
                  </a:lnTo>
                  <a:lnTo>
                    <a:pt x="163235" y="39750"/>
                  </a:lnTo>
                  <a:lnTo>
                    <a:pt x="165353" y="43334"/>
                  </a:lnTo>
                  <a:lnTo>
                    <a:pt x="172684" y="54412"/>
                  </a:lnTo>
                  <a:lnTo>
                    <a:pt x="177571" y="57507"/>
                  </a:lnTo>
                  <a:lnTo>
                    <a:pt x="181970" y="60765"/>
                  </a:lnTo>
                  <a:lnTo>
                    <a:pt x="184576" y="63209"/>
                  </a:lnTo>
                  <a:lnTo>
                    <a:pt x="187997" y="65164"/>
                  </a:lnTo>
                  <a:lnTo>
                    <a:pt x="187997" y="66630"/>
                  </a:lnTo>
                  <a:lnTo>
                    <a:pt x="187672" y="68259"/>
                  </a:lnTo>
                  <a:lnTo>
                    <a:pt x="188812" y="70703"/>
                  </a:lnTo>
                  <a:lnTo>
                    <a:pt x="193211" y="72495"/>
                  </a:lnTo>
                  <a:lnTo>
                    <a:pt x="197283" y="75427"/>
                  </a:lnTo>
                  <a:lnTo>
                    <a:pt x="195980" y="78848"/>
                  </a:lnTo>
                  <a:lnTo>
                    <a:pt x="196957" y="84713"/>
                  </a:lnTo>
                  <a:lnTo>
                    <a:pt x="197446" y="88785"/>
                  </a:lnTo>
                  <a:lnTo>
                    <a:pt x="199075" y="93021"/>
                  </a:lnTo>
                  <a:lnTo>
                    <a:pt x="203800" y="96605"/>
                  </a:lnTo>
                  <a:lnTo>
                    <a:pt x="206406" y="100841"/>
                  </a:lnTo>
                  <a:lnTo>
                    <a:pt x="212108" y="101981"/>
                  </a:lnTo>
                  <a:lnTo>
                    <a:pt x="215040" y="100841"/>
                  </a:lnTo>
                  <a:lnTo>
                    <a:pt x="221720" y="103122"/>
                  </a:lnTo>
                  <a:lnTo>
                    <a:pt x="225304" y="103284"/>
                  </a:lnTo>
                  <a:lnTo>
                    <a:pt x="230028" y="106380"/>
                  </a:lnTo>
                  <a:lnTo>
                    <a:pt x="233286" y="106542"/>
                  </a:lnTo>
                  <a:lnTo>
                    <a:pt x="235730" y="108660"/>
                  </a:lnTo>
                  <a:lnTo>
                    <a:pt x="235730" y="111430"/>
                  </a:lnTo>
                  <a:lnTo>
                    <a:pt x="237522" y="113548"/>
                  </a:lnTo>
                  <a:lnTo>
                    <a:pt x="239802" y="116154"/>
                  </a:lnTo>
                  <a:lnTo>
                    <a:pt x="236544" y="116643"/>
                  </a:lnTo>
                  <a:lnTo>
                    <a:pt x="234263" y="118435"/>
                  </a:lnTo>
                  <a:lnTo>
                    <a:pt x="229702" y="118598"/>
                  </a:lnTo>
                  <a:lnTo>
                    <a:pt x="227095" y="120879"/>
                  </a:lnTo>
                  <a:lnTo>
                    <a:pt x="227584" y="123485"/>
                  </a:lnTo>
                  <a:lnTo>
                    <a:pt x="226118" y="127395"/>
                  </a:lnTo>
                  <a:lnTo>
                    <a:pt x="222534" y="128209"/>
                  </a:lnTo>
                  <a:lnTo>
                    <a:pt x="218950" y="131468"/>
                  </a:lnTo>
                  <a:lnTo>
                    <a:pt x="214714" y="131631"/>
                  </a:lnTo>
                  <a:lnTo>
                    <a:pt x="212271" y="132282"/>
                  </a:lnTo>
                  <a:lnTo>
                    <a:pt x="210641" y="131142"/>
                  </a:lnTo>
                  <a:lnTo>
                    <a:pt x="205591" y="131957"/>
                  </a:lnTo>
                  <a:lnTo>
                    <a:pt x="200052" y="136681"/>
                  </a:lnTo>
                  <a:lnTo>
                    <a:pt x="197446" y="139287"/>
                  </a:lnTo>
                  <a:lnTo>
                    <a:pt x="194351" y="141079"/>
                  </a:lnTo>
                  <a:lnTo>
                    <a:pt x="193211" y="143523"/>
                  </a:lnTo>
                  <a:lnTo>
                    <a:pt x="189463" y="144663"/>
                  </a:lnTo>
                  <a:lnTo>
                    <a:pt x="187509" y="147107"/>
                  </a:lnTo>
                  <a:lnTo>
                    <a:pt x="184902" y="147922"/>
                  </a:lnTo>
                  <a:lnTo>
                    <a:pt x="181155" y="149550"/>
                  </a:lnTo>
                  <a:lnTo>
                    <a:pt x="174313" y="158674"/>
                  </a:lnTo>
                  <a:lnTo>
                    <a:pt x="173661" y="165027"/>
                  </a:lnTo>
                  <a:lnTo>
                    <a:pt x="174964" y="166982"/>
                  </a:lnTo>
                  <a:lnTo>
                    <a:pt x="174964" y="171055"/>
                  </a:lnTo>
                  <a:lnTo>
                    <a:pt x="171381" y="171706"/>
                  </a:lnTo>
                  <a:lnTo>
                    <a:pt x="169752" y="173987"/>
                  </a:lnTo>
                  <a:lnTo>
                    <a:pt x="166982" y="174639"/>
                  </a:lnTo>
                  <a:lnTo>
                    <a:pt x="163398" y="177571"/>
                  </a:lnTo>
                  <a:lnTo>
                    <a:pt x="162095" y="180992"/>
                  </a:lnTo>
                  <a:lnTo>
                    <a:pt x="160466" y="182295"/>
                  </a:lnTo>
                  <a:lnTo>
                    <a:pt x="158836" y="184413"/>
                  </a:lnTo>
                  <a:lnTo>
                    <a:pt x="155415" y="184902"/>
                  </a:lnTo>
                  <a:lnTo>
                    <a:pt x="151831" y="187346"/>
                  </a:lnTo>
                  <a:lnTo>
                    <a:pt x="146618" y="188160"/>
                  </a:lnTo>
                  <a:lnTo>
                    <a:pt x="144338" y="192396"/>
                  </a:lnTo>
                  <a:lnTo>
                    <a:pt x="144663" y="199238"/>
                  </a:lnTo>
                  <a:lnTo>
                    <a:pt x="142382" y="201844"/>
                  </a:lnTo>
                  <a:lnTo>
                    <a:pt x="142382" y="204940"/>
                  </a:lnTo>
                  <a:lnTo>
                    <a:pt x="140916" y="209664"/>
                  </a:lnTo>
                  <a:lnTo>
                    <a:pt x="142382" y="211619"/>
                  </a:lnTo>
                  <a:lnTo>
                    <a:pt x="136518" y="215366"/>
                  </a:lnTo>
                  <a:lnTo>
                    <a:pt x="133423" y="214063"/>
                  </a:lnTo>
                  <a:lnTo>
                    <a:pt x="131468" y="211456"/>
                  </a:lnTo>
                  <a:lnTo>
                    <a:pt x="127395" y="211945"/>
                  </a:lnTo>
                  <a:lnTo>
                    <a:pt x="121368" y="211945"/>
                  </a:lnTo>
                  <a:lnTo>
                    <a:pt x="115991" y="213248"/>
                  </a:lnTo>
                  <a:lnTo>
                    <a:pt x="111593" y="211782"/>
                  </a:lnTo>
                  <a:lnTo>
                    <a:pt x="107520" y="212596"/>
                  </a:lnTo>
                  <a:lnTo>
                    <a:pt x="98072" y="207220"/>
                  </a:lnTo>
                  <a:lnTo>
                    <a:pt x="95139" y="207057"/>
                  </a:lnTo>
                  <a:lnTo>
                    <a:pt x="92532" y="203636"/>
                  </a:lnTo>
                  <a:lnTo>
                    <a:pt x="83898" y="202333"/>
                  </a:lnTo>
                  <a:lnTo>
                    <a:pt x="77708" y="203148"/>
                  </a:lnTo>
                  <a:lnTo>
                    <a:pt x="70866" y="209175"/>
                  </a:lnTo>
                  <a:lnTo>
                    <a:pt x="66793" y="219439"/>
                  </a:lnTo>
                  <a:lnTo>
                    <a:pt x="62231" y="224326"/>
                  </a:lnTo>
                  <a:lnTo>
                    <a:pt x="53760" y="227584"/>
                  </a:lnTo>
                  <a:lnTo>
                    <a:pt x="51805" y="230842"/>
                  </a:lnTo>
                  <a:lnTo>
                    <a:pt x="46918" y="234589"/>
                  </a:lnTo>
                  <a:lnTo>
                    <a:pt x="41542" y="235892"/>
                  </a:lnTo>
                  <a:lnTo>
                    <a:pt x="37469" y="238662"/>
                  </a:lnTo>
                  <a:lnTo>
                    <a:pt x="31441" y="237847"/>
                  </a:lnTo>
                  <a:lnTo>
                    <a:pt x="27369" y="239639"/>
                  </a:lnTo>
                  <a:lnTo>
                    <a:pt x="20527" y="238336"/>
                  </a:lnTo>
                  <a:lnTo>
                    <a:pt x="13684" y="239314"/>
                  </a:lnTo>
                  <a:lnTo>
                    <a:pt x="13847" y="234426"/>
                  </a:lnTo>
                  <a:lnTo>
                    <a:pt x="17594" y="226118"/>
                  </a:lnTo>
                  <a:lnTo>
                    <a:pt x="17757" y="219113"/>
                  </a:lnTo>
                  <a:lnTo>
                    <a:pt x="11078" y="204777"/>
                  </a:lnTo>
                  <a:lnTo>
                    <a:pt x="8472" y="197772"/>
                  </a:lnTo>
                  <a:lnTo>
                    <a:pt x="0" y="191581"/>
                  </a:lnTo>
                  <a:lnTo>
                    <a:pt x="0" y="191744"/>
                  </a:lnTo>
                  <a:lnTo>
                    <a:pt x="0" y="191581"/>
                  </a:lnTo>
                  <a:lnTo>
                    <a:pt x="0" y="190930"/>
                  </a:lnTo>
                  <a:lnTo>
                    <a:pt x="4561" y="110290"/>
                  </a:lnTo>
                  <a:lnTo>
                    <a:pt x="27206" y="109964"/>
                  </a:lnTo>
                  <a:lnTo>
                    <a:pt x="31767" y="18083"/>
                  </a:lnTo>
                  <a:lnTo>
                    <a:pt x="50991" y="18898"/>
                  </a:lnTo>
                  <a:lnTo>
                    <a:pt x="75590" y="13196"/>
                  </a:lnTo>
                  <a:lnTo>
                    <a:pt x="83084" y="10915"/>
                  </a:lnTo>
                  <a:lnTo>
                    <a:pt x="86505" y="10589"/>
                  </a:lnTo>
                  <a:lnTo>
                    <a:pt x="87645" y="9937"/>
                  </a:lnTo>
                  <a:lnTo>
                    <a:pt x="89274" y="11078"/>
                  </a:lnTo>
                  <a:lnTo>
                    <a:pt x="90577" y="14662"/>
                  </a:lnTo>
                  <a:lnTo>
                    <a:pt x="92532" y="16454"/>
                  </a:lnTo>
                  <a:lnTo>
                    <a:pt x="91066" y="18246"/>
                  </a:lnTo>
                  <a:lnTo>
                    <a:pt x="90577" y="21830"/>
                  </a:lnTo>
                  <a:lnTo>
                    <a:pt x="92695" y="22318"/>
                  </a:lnTo>
                  <a:lnTo>
                    <a:pt x="101166" y="16291"/>
                  </a:lnTo>
                  <a:lnTo>
                    <a:pt x="106054" y="10100"/>
                  </a:lnTo>
                  <a:lnTo>
                    <a:pt x="111104" y="4887"/>
                  </a:lnTo>
                  <a:lnTo>
                    <a:pt x="116643" y="4236"/>
                  </a:lnTo>
                  <a:lnTo>
                    <a:pt x="117946" y="6353"/>
                  </a:lnTo>
                  <a:lnTo>
                    <a:pt x="121204" y="6679"/>
                  </a:lnTo>
                  <a:lnTo>
                    <a:pt x="124463" y="4561"/>
                  </a:lnTo>
                  <a:lnTo>
                    <a:pt x="132608" y="1629"/>
                  </a:lnTo>
                  <a:lnTo>
                    <a:pt x="137984" y="163"/>
                  </a:lnTo>
                  <a:lnTo>
                    <a:pt x="137984" y="0"/>
                  </a:lnTo>
                  <a:lnTo>
                    <a:pt x="138147" y="0"/>
                  </a:lnTo>
                  <a:close/>
                </a:path>
              </a:pathLst>
            </a:custGeom>
            <a:solidFill>
              <a:schemeClr val="bg2"/>
            </a:solidFill>
            <a:ln w="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36" name="Forma livre: Forma 135">
              <a:extLst>
                <a:ext uri="{FF2B5EF4-FFF2-40B4-BE49-F238E27FC236}">
                  <a16:creationId xmlns:a16="http://schemas.microsoft.com/office/drawing/2014/main" id="{083F2953-2ACF-0054-9872-397E6B99D6AE}"/>
                </a:ext>
              </a:extLst>
            </p:cNvPr>
            <p:cNvSpPr/>
            <p:nvPr/>
          </p:nvSpPr>
          <p:spPr>
            <a:xfrm>
              <a:off x="6286204" y="5413940"/>
              <a:ext cx="355725" cy="333670"/>
            </a:xfrm>
            <a:custGeom>
              <a:avLst/>
              <a:gdLst>
                <a:gd name="connsiteX0" fmla="*/ 206243 w 344227"/>
                <a:gd name="connsiteY0" fmla="*/ 213737 h 322885"/>
                <a:gd name="connsiteX1" fmla="*/ 206243 w 344227"/>
                <a:gd name="connsiteY1" fmla="*/ 213085 h 322885"/>
                <a:gd name="connsiteX2" fmla="*/ 210804 w 344227"/>
                <a:gd name="connsiteY2" fmla="*/ 132445 h 322885"/>
                <a:gd name="connsiteX3" fmla="*/ 233449 w 344227"/>
                <a:gd name="connsiteY3" fmla="*/ 132119 h 322885"/>
                <a:gd name="connsiteX4" fmla="*/ 238011 w 344227"/>
                <a:gd name="connsiteY4" fmla="*/ 40239 h 322885"/>
                <a:gd name="connsiteX5" fmla="*/ 257234 w 344227"/>
                <a:gd name="connsiteY5" fmla="*/ 41053 h 322885"/>
                <a:gd name="connsiteX6" fmla="*/ 281833 w 344227"/>
                <a:gd name="connsiteY6" fmla="*/ 35351 h 322885"/>
                <a:gd name="connsiteX7" fmla="*/ 289327 w 344227"/>
                <a:gd name="connsiteY7" fmla="*/ 33071 h 322885"/>
                <a:gd name="connsiteX8" fmla="*/ 292748 w 344227"/>
                <a:gd name="connsiteY8" fmla="*/ 32745 h 322885"/>
                <a:gd name="connsiteX9" fmla="*/ 293888 w 344227"/>
                <a:gd name="connsiteY9" fmla="*/ 32093 h 322885"/>
                <a:gd name="connsiteX10" fmla="*/ 295517 w 344227"/>
                <a:gd name="connsiteY10" fmla="*/ 33233 h 322885"/>
                <a:gd name="connsiteX11" fmla="*/ 296821 w 344227"/>
                <a:gd name="connsiteY11" fmla="*/ 36817 h 322885"/>
                <a:gd name="connsiteX12" fmla="*/ 298775 w 344227"/>
                <a:gd name="connsiteY12" fmla="*/ 38609 h 322885"/>
                <a:gd name="connsiteX13" fmla="*/ 297309 w 344227"/>
                <a:gd name="connsiteY13" fmla="*/ 40401 h 322885"/>
                <a:gd name="connsiteX14" fmla="*/ 296821 w 344227"/>
                <a:gd name="connsiteY14" fmla="*/ 43985 h 322885"/>
                <a:gd name="connsiteX15" fmla="*/ 298938 w 344227"/>
                <a:gd name="connsiteY15" fmla="*/ 44474 h 322885"/>
                <a:gd name="connsiteX16" fmla="*/ 307410 w 344227"/>
                <a:gd name="connsiteY16" fmla="*/ 38447 h 322885"/>
                <a:gd name="connsiteX17" fmla="*/ 312297 w 344227"/>
                <a:gd name="connsiteY17" fmla="*/ 32256 h 322885"/>
                <a:gd name="connsiteX18" fmla="*/ 317347 w 344227"/>
                <a:gd name="connsiteY18" fmla="*/ 27043 h 322885"/>
                <a:gd name="connsiteX19" fmla="*/ 322886 w 344227"/>
                <a:gd name="connsiteY19" fmla="*/ 26391 h 322885"/>
                <a:gd name="connsiteX20" fmla="*/ 324189 w 344227"/>
                <a:gd name="connsiteY20" fmla="*/ 28509 h 322885"/>
                <a:gd name="connsiteX21" fmla="*/ 327448 w 344227"/>
                <a:gd name="connsiteY21" fmla="*/ 28835 h 322885"/>
                <a:gd name="connsiteX22" fmla="*/ 330706 w 344227"/>
                <a:gd name="connsiteY22" fmla="*/ 26717 h 322885"/>
                <a:gd name="connsiteX23" fmla="*/ 338851 w 344227"/>
                <a:gd name="connsiteY23" fmla="*/ 23785 h 322885"/>
                <a:gd name="connsiteX24" fmla="*/ 344227 w 344227"/>
                <a:gd name="connsiteY24" fmla="*/ 22318 h 322885"/>
                <a:gd name="connsiteX25" fmla="*/ 340480 w 344227"/>
                <a:gd name="connsiteY25" fmla="*/ 17757 h 322885"/>
                <a:gd name="connsiteX26" fmla="*/ 339340 w 344227"/>
                <a:gd name="connsiteY26" fmla="*/ 17268 h 322885"/>
                <a:gd name="connsiteX27" fmla="*/ 338037 w 344227"/>
                <a:gd name="connsiteY27" fmla="*/ 16454 h 322885"/>
                <a:gd name="connsiteX28" fmla="*/ 335267 w 344227"/>
                <a:gd name="connsiteY28" fmla="*/ 16454 h 322885"/>
                <a:gd name="connsiteX29" fmla="*/ 333475 w 344227"/>
                <a:gd name="connsiteY29" fmla="*/ 15150 h 322885"/>
                <a:gd name="connsiteX30" fmla="*/ 332335 w 344227"/>
                <a:gd name="connsiteY30" fmla="*/ 15150 h 322885"/>
                <a:gd name="connsiteX31" fmla="*/ 330706 w 344227"/>
                <a:gd name="connsiteY31" fmla="*/ 14336 h 322885"/>
                <a:gd name="connsiteX32" fmla="*/ 324841 w 344227"/>
                <a:gd name="connsiteY32" fmla="*/ 15802 h 322885"/>
                <a:gd name="connsiteX33" fmla="*/ 322234 w 344227"/>
                <a:gd name="connsiteY33" fmla="*/ 15476 h 322885"/>
                <a:gd name="connsiteX34" fmla="*/ 257885 w 344227"/>
                <a:gd name="connsiteY34" fmla="*/ 29975 h 322885"/>
                <a:gd name="connsiteX35" fmla="*/ 256256 w 344227"/>
                <a:gd name="connsiteY35" fmla="*/ 29975 h 322885"/>
                <a:gd name="connsiteX36" fmla="*/ 254138 w 344227"/>
                <a:gd name="connsiteY36" fmla="*/ 30138 h 322885"/>
                <a:gd name="connsiteX37" fmla="*/ 251858 w 344227"/>
                <a:gd name="connsiteY37" fmla="*/ 29975 h 322885"/>
                <a:gd name="connsiteX38" fmla="*/ 250554 w 344227"/>
                <a:gd name="connsiteY38" fmla="*/ 29324 h 322885"/>
                <a:gd name="connsiteX39" fmla="*/ 248600 w 344227"/>
                <a:gd name="connsiteY39" fmla="*/ 29161 h 322885"/>
                <a:gd name="connsiteX40" fmla="*/ 247133 w 344227"/>
                <a:gd name="connsiteY40" fmla="*/ 27206 h 322885"/>
                <a:gd name="connsiteX41" fmla="*/ 245016 w 344227"/>
                <a:gd name="connsiteY41" fmla="*/ 28020 h 322885"/>
                <a:gd name="connsiteX42" fmla="*/ 243224 w 344227"/>
                <a:gd name="connsiteY42" fmla="*/ 26717 h 322885"/>
                <a:gd name="connsiteX43" fmla="*/ 240617 w 344227"/>
                <a:gd name="connsiteY43" fmla="*/ 26066 h 322885"/>
                <a:gd name="connsiteX44" fmla="*/ 237684 w 344227"/>
                <a:gd name="connsiteY44" fmla="*/ 26880 h 322885"/>
                <a:gd name="connsiteX45" fmla="*/ 237522 w 344227"/>
                <a:gd name="connsiteY45" fmla="*/ 28672 h 322885"/>
                <a:gd name="connsiteX46" fmla="*/ 235567 w 344227"/>
                <a:gd name="connsiteY46" fmla="*/ 29649 h 322885"/>
                <a:gd name="connsiteX47" fmla="*/ 230191 w 344227"/>
                <a:gd name="connsiteY47" fmla="*/ 29324 h 322885"/>
                <a:gd name="connsiteX48" fmla="*/ 225955 w 344227"/>
                <a:gd name="connsiteY48" fmla="*/ 27532 h 322885"/>
                <a:gd name="connsiteX49" fmla="*/ 220416 w 344227"/>
                <a:gd name="connsiteY49" fmla="*/ 22318 h 322885"/>
                <a:gd name="connsiteX50" fmla="*/ 217484 w 344227"/>
                <a:gd name="connsiteY50" fmla="*/ 21993 h 322885"/>
                <a:gd name="connsiteX51" fmla="*/ 216018 w 344227"/>
                <a:gd name="connsiteY51" fmla="*/ 21341 h 322885"/>
                <a:gd name="connsiteX52" fmla="*/ 215203 w 344227"/>
                <a:gd name="connsiteY52" fmla="*/ 24274 h 322885"/>
                <a:gd name="connsiteX53" fmla="*/ 211782 w 344227"/>
                <a:gd name="connsiteY53" fmla="*/ 24762 h 322885"/>
                <a:gd name="connsiteX54" fmla="*/ 205429 w 344227"/>
                <a:gd name="connsiteY54" fmla="*/ 23133 h 322885"/>
                <a:gd name="connsiteX55" fmla="*/ 201030 w 344227"/>
                <a:gd name="connsiteY55" fmla="*/ 24274 h 322885"/>
                <a:gd name="connsiteX56" fmla="*/ 197446 w 344227"/>
                <a:gd name="connsiteY56" fmla="*/ 26554 h 322885"/>
                <a:gd name="connsiteX57" fmla="*/ 193862 w 344227"/>
                <a:gd name="connsiteY57" fmla="*/ 25088 h 322885"/>
                <a:gd name="connsiteX58" fmla="*/ 193047 w 344227"/>
                <a:gd name="connsiteY58" fmla="*/ 23622 h 322885"/>
                <a:gd name="connsiteX59" fmla="*/ 190278 w 344227"/>
                <a:gd name="connsiteY59" fmla="*/ 22318 h 322885"/>
                <a:gd name="connsiteX60" fmla="*/ 186531 w 344227"/>
                <a:gd name="connsiteY60" fmla="*/ 22970 h 322885"/>
                <a:gd name="connsiteX61" fmla="*/ 180992 w 344227"/>
                <a:gd name="connsiteY61" fmla="*/ 21667 h 322885"/>
                <a:gd name="connsiteX62" fmla="*/ 175779 w 344227"/>
                <a:gd name="connsiteY62" fmla="*/ 19549 h 322885"/>
                <a:gd name="connsiteX63" fmla="*/ 173824 w 344227"/>
                <a:gd name="connsiteY63" fmla="*/ 17594 h 322885"/>
                <a:gd name="connsiteX64" fmla="*/ 171218 w 344227"/>
                <a:gd name="connsiteY64" fmla="*/ 12707 h 322885"/>
                <a:gd name="connsiteX65" fmla="*/ 169752 w 344227"/>
                <a:gd name="connsiteY65" fmla="*/ 11729 h 322885"/>
                <a:gd name="connsiteX66" fmla="*/ 73961 w 344227"/>
                <a:gd name="connsiteY66" fmla="*/ 11729 h 322885"/>
                <a:gd name="connsiteX67" fmla="*/ 72332 w 344227"/>
                <a:gd name="connsiteY67" fmla="*/ 10752 h 322885"/>
                <a:gd name="connsiteX68" fmla="*/ 69888 w 344227"/>
                <a:gd name="connsiteY68" fmla="*/ 10915 h 322885"/>
                <a:gd name="connsiteX69" fmla="*/ 66304 w 344227"/>
                <a:gd name="connsiteY69" fmla="*/ 13358 h 322885"/>
                <a:gd name="connsiteX70" fmla="*/ 65327 w 344227"/>
                <a:gd name="connsiteY70" fmla="*/ 13196 h 322885"/>
                <a:gd name="connsiteX71" fmla="*/ 61091 w 344227"/>
                <a:gd name="connsiteY71" fmla="*/ 15476 h 322885"/>
                <a:gd name="connsiteX72" fmla="*/ 55552 w 344227"/>
                <a:gd name="connsiteY72" fmla="*/ 13358 h 322885"/>
                <a:gd name="connsiteX73" fmla="*/ 49850 w 344227"/>
                <a:gd name="connsiteY73" fmla="*/ 8308 h 322885"/>
                <a:gd name="connsiteX74" fmla="*/ 48221 w 344227"/>
                <a:gd name="connsiteY74" fmla="*/ 7494 h 322885"/>
                <a:gd name="connsiteX75" fmla="*/ 48873 w 344227"/>
                <a:gd name="connsiteY75" fmla="*/ 5213 h 322885"/>
                <a:gd name="connsiteX76" fmla="*/ 45941 w 344227"/>
                <a:gd name="connsiteY76" fmla="*/ 4073 h 322885"/>
                <a:gd name="connsiteX77" fmla="*/ 45452 w 344227"/>
                <a:gd name="connsiteY77" fmla="*/ 2444 h 322885"/>
                <a:gd name="connsiteX78" fmla="*/ 42193 w 344227"/>
                <a:gd name="connsiteY78" fmla="*/ 652 h 322885"/>
                <a:gd name="connsiteX79" fmla="*/ 40239 w 344227"/>
                <a:gd name="connsiteY79" fmla="*/ 1303 h 322885"/>
                <a:gd name="connsiteX80" fmla="*/ 38772 w 344227"/>
                <a:gd name="connsiteY80" fmla="*/ 2769 h 322885"/>
                <a:gd name="connsiteX81" fmla="*/ 37469 w 344227"/>
                <a:gd name="connsiteY81" fmla="*/ 1792 h 322885"/>
                <a:gd name="connsiteX82" fmla="*/ 33397 w 344227"/>
                <a:gd name="connsiteY82" fmla="*/ 0 h 322885"/>
                <a:gd name="connsiteX83" fmla="*/ 30138 w 344227"/>
                <a:gd name="connsiteY83" fmla="*/ 163 h 322885"/>
                <a:gd name="connsiteX84" fmla="*/ 22807 w 344227"/>
                <a:gd name="connsiteY84" fmla="*/ 5376 h 322885"/>
                <a:gd name="connsiteX85" fmla="*/ 21993 w 344227"/>
                <a:gd name="connsiteY85" fmla="*/ 8960 h 322885"/>
                <a:gd name="connsiteX86" fmla="*/ 19712 w 344227"/>
                <a:gd name="connsiteY86" fmla="*/ 10752 h 322885"/>
                <a:gd name="connsiteX87" fmla="*/ 16291 w 344227"/>
                <a:gd name="connsiteY87" fmla="*/ 8797 h 322885"/>
                <a:gd name="connsiteX88" fmla="*/ 9938 w 344227"/>
                <a:gd name="connsiteY88" fmla="*/ 7820 h 322885"/>
                <a:gd name="connsiteX89" fmla="*/ 8472 w 344227"/>
                <a:gd name="connsiteY89" fmla="*/ 8634 h 322885"/>
                <a:gd name="connsiteX90" fmla="*/ 7657 w 344227"/>
                <a:gd name="connsiteY90" fmla="*/ 11729 h 322885"/>
                <a:gd name="connsiteX91" fmla="*/ 5376 w 344227"/>
                <a:gd name="connsiteY91" fmla="*/ 12707 h 322885"/>
                <a:gd name="connsiteX92" fmla="*/ 4073 w 344227"/>
                <a:gd name="connsiteY92" fmla="*/ 11567 h 322885"/>
                <a:gd name="connsiteX93" fmla="*/ 0 w 344227"/>
                <a:gd name="connsiteY93" fmla="*/ 10752 h 322885"/>
                <a:gd name="connsiteX94" fmla="*/ 0 w 344227"/>
                <a:gd name="connsiteY94" fmla="*/ 10752 h 322885"/>
                <a:gd name="connsiteX95" fmla="*/ 1304 w 344227"/>
                <a:gd name="connsiteY95" fmla="*/ 32582 h 322885"/>
                <a:gd name="connsiteX96" fmla="*/ 16454 w 344227"/>
                <a:gd name="connsiteY96" fmla="*/ 48058 h 322885"/>
                <a:gd name="connsiteX97" fmla="*/ 24599 w 344227"/>
                <a:gd name="connsiteY97" fmla="*/ 61906 h 322885"/>
                <a:gd name="connsiteX98" fmla="*/ 37306 w 344227"/>
                <a:gd name="connsiteY98" fmla="*/ 90415 h 322885"/>
                <a:gd name="connsiteX99" fmla="*/ 39261 w 344227"/>
                <a:gd name="connsiteY99" fmla="*/ 101818 h 322885"/>
                <a:gd name="connsiteX100" fmla="*/ 51968 w 344227"/>
                <a:gd name="connsiteY100" fmla="*/ 119901 h 322885"/>
                <a:gd name="connsiteX101" fmla="*/ 51968 w 344227"/>
                <a:gd name="connsiteY101" fmla="*/ 127069 h 322885"/>
                <a:gd name="connsiteX102" fmla="*/ 65490 w 344227"/>
                <a:gd name="connsiteY102" fmla="*/ 146618 h 322885"/>
                <a:gd name="connsiteX103" fmla="*/ 65490 w 344227"/>
                <a:gd name="connsiteY103" fmla="*/ 157207 h 322885"/>
                <a:gd name="connsiteX104" fmla="*/ 62231 w 344227"/>
                <a:gd name="connsiteY104" fmla="*/ 158674 h 322885"/>
                <a:gd name="connsiteX105" fmla="*/ 65979 w 344227"/>
                <a:gd name="connsiteY105" fmla="*/ 171706 h 322885"/>
                <a:gd name="connsiteX106" fmla="*/ 66630 w 344227"/>
                <a:gd name="connsiteY106" fmla="*/ 191418 h 322885"/>
                <a:gd name="connsiteX107" fmla="*/ 74287 w 344227"/>
                <a:gd name="connsiteY107" fmla="*/ 211619 h 322885"/>
                <a:gd name="connsiteX108" fmla="*/ 73472 w 344227"/>
                <a:gd name="connsiteY108" fmla="*/ 222371 h 322885"/>
                <a:gd name="connsiteX109" fmla="*/ 75753 w 344227"/>
                <a:gd name="connsiteY109" fmla="*/ 229865 h 322885"/>
                <a:gd name="connsiteX110" fmla="*/ 72169 w 344227"/>
                <a:gd name="connsiteY110" fmla="*/ 232146 h 322885"/>
                <a:gd name="connsiteX111" fmla="*/ 75264 w 344227"/>
                <a:gd name="connsiteY111" fmla="*/ 236055 h 322885"/>
                <a:gd name="connsiteX112" fmla="*/ 77056 w 344227"/>
                <a:gd name="connsiteY112" fmla="*/ 249414 h 322885"/>
                <a:gd name="connsiteX113" fmla="*/ 80477 w 344227"/>
                <a:gd name="connsiteY113" fmla="*/ 251206 h 322885"/>
                <a:gd name="connsiteX114" fmla="*/ 82758 w 344227"/>
                <a:gd name="connsiteY114" fmla="*/ 255767 h 322885"/>
                <a:gd name="connsiteX115" fmla="*/ 80152 w 344227"/>
                <a:gd name="connsiteY115" fmla="*/ 257885 h 322885"/>
                <a:gd name="connsiteX116" fmla="*/ 80152 w 344227"/>
                <a:gd name="connsiteY116" fmla="*/ 263098 h 322885"/>
                <a:gd name="connsiteX117" fmla="*/ 84224 w 344227"/>
                <a:gd name="connsiteY117" fmla="*/ 267497 h 322885"/>
                <a:gd name="connsiteX118" fmla="*/ 84713 w 344227"/>
                <a:gd name="connsiteY118" fmla="*/ 277434 h 322885"/>
                <a:gd name="connsiteX119" fmla="*/ 89274 w 344227"/>
                <a:gd name="connsiteY119" fmla="*/ 283788 h 322885"/>
                <a:gd name="connsiteX120" fmla="*/ 95465 w 344227"/>
                <a:gd name="connsiteY120" fmla="*/ 296006 h 322885"/>
                <a:gd name="connsiteX121" fmla="*/ 101656 w 344227"/>
                <a:gd name="connsiteY121" fmla="*/ 302197 h 322885"/>
                <a:gd name="connsiteX122" fmla="*/ 103122 w 344227"/>
                <a:gd name="connsiteY122" fmla="*/ 305617 h 322885"/>
                <a:gd name="connsiteX123" fmla="*/ 111756 w 344227"/>
                <a:gd name="connsiteY123" fmla="*/ 311808 h 322885"/>
                <a:gd name="connsiteX124" fmla="*/ 115503 w 344227"/>
                <a:gd name="connsiteY124" fmla="*/ 309690 h 322885"/>
                <a:gd name="connsiteX125" fmla="*/ 120879 w 344227"/>
                <a:gd name="connsiteY125" fmla="*/ 308550 h 322885"/>
                <a:gd name="connsiteX126" fmla="*/ 120879 w 344227"/>
                <a:gd name="connsiteY126" fmla="*/ 305455 h 322885"/>
                <a:gd name="connsiteX127" fmla="*/ 119087 w 344227"/>
                <a:gd name="connsiteY127" fmla="*/ 303989 h 322885"/>
                <a:gd name="connsiteX128" fmla="*/ 121693 w 344227"/>
                <a:gd name="connsiteY128" fmla="*/ 299427 h 322885"/>
                <a:gd name="connsiteX129" fmla="*/ 128047 w 344227"/>
                <a:gd name="connsiteY129" fmla="*/ 296983 h 322885"/>
                <a:gd name="connsiteX130" fmla="*/ 130979 w 344227"/>
                <a:gd name="connsiteY130" fmla="*/ 302359 h 322885"/>
                <a:gd name="connsiteX131" fmla="*/ 135866 w 344227"/>
                <a:gd name="connsiteY131" fmla="*/ 302522 h 322885"/>
                <a:gd name="connsiteX132" fmla="*/ 133749 w 344227"/>
                <a:gd name="connsiteY132" fmla="*/ 308061 h 322885"/>
                <a:gd name="connsiteX133" fmla="*/ 137333 w 344227"/>
                <a:gd name="connsiteY133" fmla="*/ 315555 h 322885"/>
                <a:gd name="connsiteX134" fmla="*/ 146130 w 344227"/>
                <a:gd name="connsiteY134" fmla="*/ 317347 h 322885"/>
                <a:gd name="connsiteX135" fmla="*/ 151506 w 344227"/>
                <a:gd name="connsiteY135" fmla="*/ 320442 h 322885"/>
                <a:gd name="connsiteX136" fmla="*/ 155579 w 344227"/>
                <a:gd name="connsiteY136" fmla="*/ 319465 h 322885"/>
                <a:gd name="connsiteX137" fmla="*/ 158348 w 344227"/>
                <a:gd name="connsiteY137" fmla="*/ 320605 h 322885"/>
                <a:gd name="connsiteX138" fmla="*/ 162909 w 344227"/>
                <a:gd name="connsiteY138" fmla="*/ 321257 h 322885"/>
                <a:gd name="connsiteX139" fmla="*/ 164864 w 344227"/>
                <a:gd name="connsiteY139" fmla="*/ 319302 h 322885"/>
                <a:gd name="connsiteX140" fmla="*/ 168774 w 344227"/>
                <a:gd name="connsiteY140" fmla="*/ 319302 h 322885"/>
                <a:gd name="connsiteX141" fmla="*/ 170566 w 344227"/>
                <a:gd name="connsiteY141" fmla="*/ 322723 h 322885"/>
                <a:gd name="connsiteX142" fmla="*/ 174313 w 344227"/>
                <a:gd name="connsiteY142" fmla="*/ 322234 h 322885"/>
                <a:gd name="connsiteX143" fmla="*/ 177408 w 344227"/>
                <a:gd name="connsiteY143" fmla="*/ 322886 h 322885"/>
                <a:gd name="connsiteX144" fmla="*/ 177571 w 344227"/>
                <a:gd name="connsiteY144" fmla="*/ 317673 h 322885"/>
                <a:gd name="connsiteX145" fmla="*/ 179852 w 344227"/>
                <a:gd name="connsiteY145" fmla="*/ 315392 h 322885"/>
                <a:gd name="connsiteX146" fmla="*/ 182947 w 344227"/>
                <a:gd name="connsiteY146" fmla="*/ 314252 h 322885"/>
                <a:gd name="connsiteX147" fmla="*/ 185391 w 344227"/>
                <a:gd name="connsiteY147" fmla="*/ 309365 h 322885"/>
                <a:gd name="connsiteX148" fmla="*/ 192070 w 344227"/>
                <a:gd name="connsiteY148" fmla="*/ 305781 h 322885"/>
                <a:gd name="connsiteX149" fmla="*/ 200215 w 344227"/>
                <a:gd name="connsiteY149" fmla="*/ 306432 h 322885"/>
                <a:gd name="connsiteX150" fmla="*/ 202822 w 344227"/>
                <a:gd name="connsiteY150" fmla="*/ 306432 h 322885"/>
                <a:gd name="connsiteX151" fmla="*/ 206243 w 344227"/>
                <a:gd name="connsiteY151" fmla="*/ 213900 h 322885"/>
                <a:gd name="connsiteX152" fmla="*/ 206243 w 344227"/>
                <a:gd name="connsiteY152" fmla="*/ 213737 h 3228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</a:cxnLst>
              <a:rect l="l" t="t" r="r" b="b"/>
              <a:pathLst>
                <a:path w="344227" h="322885">
                  <a:moveTo>
                    <a:pt x="206243" y="213737"/>
                  </a:moveTo>
                  <a:lnTo>
                    <a:pt x="206243" y="213085"/>
                  </a:lnTo>
                  <a:lnTo>
                    <a:pt x="210804" y="132445"/>
                  </a:lnTo>
                  <a:lnTo>
                    <a:pt x="233449" y="132119"/>
                  </a:lnTo>
                  <a:lnTo>
                    <a:pt x="238011" y="40239"/>
                  </a:lnTo>
                  <a:lnTo>
                    <a:pt x="257234" y="41053"/>
                  </a:lnTo>
                  <a:lnTo>
                    <a:pt x="281833" y="35351"/>
                  </a:lnTo>
                  <a:lnTo>
                    <a:pt x="289327" y="33071"/>
                  </a:lnTo>
                  <a:lnTo>
                    <a:pt x="292748" y="32745"/>
                  </a:lnTo>
                  <a:lnTo>
                    <a:pt x="293888" y="32093"/>
                  </a:lnTo>
                  <a:lnTo>
                    <a:pt x="295517" y="33233"/>
                  </a:lnTo>
                  <a:lnTo>
                    <a:pt x="296821" y="36817"/>
                  </a:lnTo>
                  <a:lnTo>
                    <a:pt x="298775" y="38609"/>
                  </a:lnTo>
                  <a:lnTo>
                    <a:pt x="297309" y="40401"/>
                  </a:lnTo>
                  <a:lnTo>
                    <a:pt x="296821" y="43985"/>
                  </a:lnTo>
                  <a:lnTo>
                    <a:pt x="298938" y="44474"/>
                  </a:lnTo>
                  <a:lnTo>
                    <a:pt x="307410" y="38447"/>
                  </a:lnTo>
                  <a:lnTo>
                    <a:pt x="312297" y="32256"/>
                  </a:lnTo>
                  <a:lnTo>
                    <a:pt x="317347" y="27043"/>
                  </a:lnTo>
                  <a:lnTo>
                    <a:pt x="322886" y="26391"/>
                  </a:lnTo>
                  <a:lnTo>
                    <a:pt x="324189" y="28509"/>
                  </a:lnTo>
                  <a:lnTo>
                    <a:pt x="327448" y="28835"/>
                  </a:lnTo>
                  <a:lnTo>
                    <a:pt x="330706" y="26717"/>
                  </a:lnTo>
                  <a:lnTo>
                    <a:pt x="338851" y="23785"/>
                  </a:lnTo>
                  <a:lnTo>
                    <a:pt x="344227" y="22318"/>
                  </a:lnTo>
                  <a:lnTo>
                    <a:pt x="340480" y="17757"/>
                  </a:lnTo>
                  <a:lnTo>
                    <a:pt x="339340" y="17268"/>
                  </a:lnTo>
                  <a:lnTo>
                    <a:pt x="338037" y="16454"/>
                  </a:lnTo>
                  <a:lnTo>
                    <a:pt x="335267" y="16454"/>
                  </a:lnTo>
                  <a:lnTo>
                    <a:pt x="333475" y="15150"/>
                  </a:lnTo>
                  <a:lnTo>
                    <a:pt x="332335" y="15150"/>
                  </a:lnTo>
                  <a:lnTo>
                    <a:pt x="330706" y="14336"/>
                  </a:lnTo>
                  <a:lnTo>
                    <a:pt x="324841" y="15802"/>
                  </a:lnTo>
                  <a:lnTo>
                    <a:pt x="322234" y="15476"/>
                  </a:lnTo>
                  <a:lnTo>
                    <a:pt x="257885" y="29975"/>
                  </a:lnTo>
                  <a:lnTo>
                    <a:pt x="256256" y="29975"/>
                  </a:lnTo>
                  <a:lnTo>
                    <a:pt x="254138" y="30138"/>
                  </a:lnTo>
                  <a:lnTo>
                    <a:pt x="251858" y="29975"/>
                  </a:lnTo>
                  <a:lnTo>
                    <a:pt x="250554" y="29324"/>
                  </a:lnTo>
                  <a:lnTo>
                    <a:pt x="248600" y="29161"/>
                  </a:lnTo>
                  <a:lnTo>
                    <a:pt x="247133" y="27206"/>
                  </a:lnTo>
                  <a:lnTo>
                    <a:pt x="245016" y="28020"/>
                  </a:lnTo>
                  <a:lnTo>
                    <a:pt x="243224" y="26717"/>
                  </a:lnTo>
                  <a:lnTo>
                    <a:pt x="240617" y="26066"/>
                  </a:lnTo>
                  <a:lnTo>
                    <a:pt x="237684" y="26880"/>
                  </a:lnTo>
                  <a:lnTo>
                    <a:pt x="237522" y="28672"/>
                  </a:lnTo>
                  <a:lnTo>
                    <a:pt x="235567" y="29649"/>
                  </a:lnTo>
                  <a:lnTo>
                    <a:pt x="230191" y="29324"/>
                  </a:lnTo>
                  <a:lnTo>
                    <a:pt x="225955" y="27532"/>
                  </a:lnTo>
                  <a:lnTo>
                    <a:pt x="220416" y="22318"/>
                  </a:lnTo>
                  <a:lnTo>
                    <a:pt x="217484" y="21993"/>
                  </a:lnTo>
                  <a:lnTo>
                    <a:pt x="216018" y="21341"/>
                  </a:lnTo>
                  <a:lnTo>
                    <a:pt x="215203" y="24274"/>
                  </a:lnTo>
                  <a:lnTo>
                    <a:pt x="211782" y="24762"/>
                  </a:lnTo>
                  <a:lnTo>
                    <a:pt x="205429" y="23133"/>
                  </a:lnTo>
                  <a:lnTo>
                    <a:pt x="201030" y="24274"/>
                  </a:lnTo>
                  <a:lnTo>
                    <a:pt x="197446" y="26554"/>
                  </a:lnTo>
                  <a:lnTo>
                    <a:pt x="193862" y="25088"/>
                  </a:lnTo>
                  <a:lnTo>
                    <a:pt x="193047" y="23622"/>
                  </a:lnTo>
                  <a:lnTo>
                    <a:pt x="190278" y="22318"/>
                  </a:lnTo>
                  <a:lnTo>
                    <a:pt x="186531" y="22970"/>
                  </a:lnTo>
                  <a:lnTo>
                    <a:pt x="180992" y="21667"/>
                  </a:lnTo>
                  <a:lnTo>
                    <a:pt x="175779" y="19549"/>
                  </a:lnTo>
                  <a:lnTo>
                    <a:pt x="173824" y="17594"/>
                  </a:lnTo>
                  <a:lnTo>
                    <a:pt x="171218" y="12707"/>
                  </a:lnTo>
                  <a:lnTo>
                    <a:pt x="169752" y="11729"/>
                  </a:lnTo>
                  <a:lnTo>
                    <a:pt x="73961" y="11729"/>
                  </a:lnTo>
                  <a:lnTo>
                    <a:pt x="72332" y="10752"/>
                  </a:lnTo>
                  <a:lnTo>
                    <a:pt x="69888" y="10915"/>
                  </a:lnTo>
                  <a:lnTo>
                    <a:pt x="66304" y="13358"/>
                  </a:lnTo>
                  <a:lnTo>
                    <a:pt x="65327" y="13196"/>
                  </a:lnTo>
                  <a:lnTo>
                    <a:pt x="61091" y="15476"/>
                  </a:lnTo>
                  <a:lnTo>
                    <a:pt x="55552" y="13358"/>
                  </a:lnTo>
                  <a:lnTo>
                    <a:pt x="49850" y="8308"/>
                  </a:lnTo>
                  <a:lnTo>
                    <a:pt x="48221" y="7494"/>
                  </a:lnTo>
                  <a:lnTo>
                    <a:pt x="48873" y="5213"/>
                  </a:lnTo>
                  <a:lnTo>
                    <a:pt x="45941" y="4073"/>
                  </a:lnTo>
                  <a:lnTo>
                    <a:pt x="45452" y="2444"/>
                  </a:lnTo>
                  <a:lnTo>
                    <a:pt x="42193" y="652"/>
                  </a:lnTo>
                  <a:lnTo>
                    <a:pt x="40239" y="1303"/>
                  </a:lnTo>
                  <a:lnTo>
                    <a:pt x="38772" y="2769"/>
                  </a:lnTo>
                  <a:lnTo>
                    <a:pt x="37469" y="1792"/>
                  </a:lnTo>
                  <a:lnTo>
                    <a:pt x="33397" y="0"/>
                  </a:lnTo>
                  <a:lnTo>
                    <a:pt x="30138" y="163"/>
                  </a:lnTo>
                  <a:lnTo>
                    <a:pt x="22807" y="5376"/>
                  </a:lnTo>
                  <a:lnTo>
                    <a:pt x="21993" y="8960"/>
                  </a:lnTo>
                  <a:lnTo>
                    <a:pt x="19712" y="10752"/>
                  </a:lnTo>
                  <a:lnTo>
                    <a:pt x="16291" y="8797"/>
                  </a:lnTo>
                  <a:lnTo>
                    <a:pt x="9938" y="7820"/>
                  </a:lnTo>
                  <a:lnTo>
                    <a:pt x="8472" y="8634"/>
                  </a:lnTo>
                  <a:lnTo>
                    <a:pt x="7657" y="11729"/>
                  </a:lnTo>
                  <a:lnTo>
                    <a:pt x="5376" y="12707"/>
                  </a:lnTo>
                  <a:lnTo>
                    <a:pt x="4073" y="11567"/>
                  </a:lnTo>
                  <a:lnTo>
                    <a:pt x="0" y="10752"/>
                  </a:lnTo>
                  <a:lnTo>
                    <a:pt x="0" y="10752"/>
                  </a:lnTo>
                  <a:lnTo>
                    <a:pt x="1304" y="32582"/>
                  </a:lnTo>
                  <a:lnTo>
                    <a:pt x="16454" y="48058"/>
                  </a:lnTo>
                  <a:lnTo>
                    <a:pt x="24599" y="61906"/>
                  </a:lnTo>
                  <a:lnTo>
                    <a:pt x="37306" y="90415"/>
                  </a:lnTo>
                  <a:lnTo>
                    <a:pt x="39261" y="101818"/>
                  </a:lnTo>
                  <a:lnTo>
                    <a:pt x="51968" y="119901"/>
                  </a:lnTo>
                  <a:lnTo>
                    <a:pt x="51968" y="127069"/>
                  </a:lnTo>
                  <a:lnTo>
                    <a:pt x="65490" y="146618"/>
                  </a:lnTo>
                  <a:lnTo>
                    <a:pt x="65490" y="157207"/>
                  </a:lnTo>
                  <a:lnTo>
                    <a:pt x="62231" y="158674"/>
                  </a:lnTo>
                  <a:lnTo>
                    <a:pt x="65979" y="171706"/>
                  </a:lnTo>
                  <a:lnTo>
                    <a:pt x="66630" y="191418"/>
                  </a:lnTo>
                  <a:lnTo>
                    <a:pt x="74287" y="211619"/>
                  </a:lnTo>
                  <a:lnTo>
                    <a:pt x="73472" y="222371"/>
                  </a:lnTo>
                  <a:lnTo>
                    <a:pt x="75753" y="229865"/>
                  </a:lnTo>
                  <a:lnTo>
                    <a:pt x="72169" y="232146"/>
                  </a:lnTo>
                  <a:lnTo>
                    <a:pt x="75264" y="236055"/>
                  </a:lnTo>
                  <a:lnTo>
                    <a:pt x="77056" y="249414"/>
                  </a:lnTo>
                  <a:lnTo>
                    <a:pt x="80477" y="251206"/>
                  </a:lnTo>
                  <a:lnTo>
                    <a:pt x="82758" y="255767"/>
                  </a:lnTo>
                  <a:lnTo>
                    <a:pt x="80152" y="257885"/>
                  </a:lnTo>
                  <a:lnTo>
                    <a:pt x="80152" y="263098"/>
                  </a:lnTo>
                  <a:lnTo>
                    <a:pt x="84224" y="267497"/>
                  </a:lnTo>
                  <a:lnTo>
                    <a:pt x="84713" y="277434"/>
                  </a:lnTo>
                  <a:lnTo>
                    <a:pt x="89274" y="283788"/>
                  </a:lnTo>
                  <a:lnTo>
                    <a:pt x="95465" y="296006"/>
                  </a:lnTo>
                  <a:lnTo>
                    <a:pt x="101656" y="302197"/>
                  </a:lnTo>
                  <a:lnTo>
                    <a:pt x="103122" y="305617"/>
                  </a:lnTo>
                  <a:lnTo>
                    <a:pt x="111756" y="311808"/>
                  </a:lnTo>
                  <a:lnTo>
                    <a:pt x="115503" y="309690"/>
                  </a:lnTo>
                  <a:lnTo>
                    <a:pt x="120879" y="308550"/>
                  </a:lnTo>
                  <a:lnTo>
                    <a:pt x="120879" y="305455"/>
                  </a:lnTo>
                  <a:lnTo>
                    <a:pt x="119087" y="303989"/>
                  </a:lnTo>
                  <a:lnTo>
                    <a:pt x="121693" y="299427"/>
                  </a:lnTo>
                  <a:lnTo>
                    <a:pt x="128047" y="296983"/>
                  </a:lnTo>
                  <a:lnTo>
                    <a:pt x="130979" y="302359"/>
                  </a:lnTo>
                  <a:lnTo>
                    <a:pt x="135866" y="302522"/>
                  </a:lnTo>
                  <a:lnTo>
                    <a:pt x="133749" y="308061"/>
                  </a:lnTo>
                  <a:lnTo>
                    <a:pt x="137333" y="315555"/>
                  </a:lnTo>
                  <a:lnTo>
                    <a:pt x="146130" y="317347"/>
                  </a:lnTo>
                  <a:lnTo>
                    <a:pt x="151506" y="320442"/>
                  </a:lnTo>
                  <a:lnTo>
                    <a:pt x="155579" y="319465"/>
                  </a:lnTo>
                  <a:lnTo>
                    <a:pt x="158348" y="320605"/>
                  </a:lnTo>
                  <a:lnTo>
                    <a:pt x="162909" y="321257"/>
                  </a:lnTo>
                  <a:lnTo>
                    <a:pt x="164864" y="319302"/>
                  </a:lnTo>
                  <a:lnTo>
                    <a:pt x="168774" y="319302"/>
                  </a:lnTo>
                  <a:lnTo>
                    <a:pt x="170566" y="322723"/>
                  </a:lnTo>
                  <a:lnTo>
                    <a:pt x="174313" y="322234"/>
                  </a:lnTo>
                  <a:lnTo>
                    <a:pt x="177408" y="322886"/>
                  </a:lnTo>
                  <a:lnTo>
                    <a:pt x="177571" y="317673"/>
                  </a:lnTo>
                  <a:lnTo>
                    <a:pt x="179852" y="315392"/>
                  </a:lnTo>
                  <a:lnTo>
                    <a:pt x="182947" y="314252"/>
                  </a:lnTo>
                  <a:lnTo>
                    <a:pt x="185391" y="309365"/>
                  </a:lnTo>
                  <a:lnTo>
                    <a:pt x="192070" y="305781"/>
                  </a:lnTo>
                  <a:lnTo>
                    <a:pt x="200215" y="306432"/>
                  </a:lnTo>
                  <a:lnTo>
                    <a:pt x="202822" y="306432"/>
                  </a:lnTo>
                  <a:lnTo>
                    <a:pt x="206243" y="213900"/>
                  </a:lnTo>
                  <a:lnTo>
                    <a:pt x="206243" y="213737"/>
                  </a:lnTo>
                  <a:close/>
                </a:path>
              </a:pathLst>
            </a:custGeom>
            <a:solidFill>
              <a:schemeClr val="bg2"/>
            </a:solidFill>
            <a:ln w="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37" name="Forma livre: Forma 136">
              <a:extLst>
                <a:ext uri="{FF2B5EF4-FFF2-40B4-BE49-F238E27FC236}">
                  <a16:creationId xmlns:a16="http://schemas.microsoft.com/office/drawing/2014/main" id="{16515FD4-BD92-E4EF-2CD3-41E29737AC71}"/>
                </a:ext>
              </a:extLst>
            </p:cNvPr>
            <p:cNvSpPr/>
            <p:nvPr/>
          </p:nvSpPr>
          <p:spPr>
            <a:xfrm>
              <a:off x="7487050" y="5501988"/>
              <a:ext cx="15319" cy="17508"/>
            </a:xfrm>
            <a:custGeom>
              <a:avLst/>
              <a:gdLst>
                <a:gd name="connsiteX0" fmla="*/ 4398 w 14824"/>
                <a:gd name="connsiteY0" fmla="*/ 1466 h 16942"/>
                <a:gd name="connsiteX1" fmla="*/ 3421 w 14824"/>
                <a:gd name="connsiteY1" fmla="*/ 7494 h 16942"/>
                <a:gd name="connsiteX2" fmla="*/ 0 w 14824"/>
                <a:gd name="connsiteY2" fmla="*/ 10263 h 16942"/>
                <a:gd name="connsiteX3" fmla="*/ 7005 w 14824"/>
                <a:gd name="connsiteY3" fmla="*/ 16943 h 16942"/>
                <a:gd name="connsiteX4" fmla="*/ 12544 w 14824"/>
                <a:gd name="connsiteY4" fmla="*/ 13196 h 16942"/>
                <a:gd name="connsiteX5" fmla="*/ 12055 w 14824"/>
                <a:gd name="connsiteY5" fmla="*/ 8309 h 16942"/>
                <a:gd name="connsiteX6" fmla="*/ 14825 w 14824"/>
                <a:gd name="connsiteY6" fmla="*/ 5702 h 16942"/>
                <a:gd name="connsiteX7" fmla="*/ 14336 w 14824"/>
                <a:gd name="connsiteY7" fmla="*/ 1629 h 16942"/>
                <a:gd name="connsiteX8" fmla="*/ 10915 w 14824"/>
                <a:gd name="connsiteY8" fmla="*/ 0 h 16942"/>
                <a:gd name="connsiteX9" fmla="*/ 7819 w 14824"/>
                <a:gd name="connsiteY9" fmla="*/ 1792 h 16942"/>
                <a:gd name="connsiteX10" fmla="*/ 4398 w 14824"/>
                <a:gd name="connsiteY10" fmla="*/ 1466 h 169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4824" h="16942">
                  <a:moveTo>
                    <a:pt x="4398" y="1466"/>
                  </a:moveTo>
                  <a:lnTo>
                    <a:pt x="3421" y="7494"/>
                  </a:lnTo>
                  <a:lnTo>
                    <a:pt x="0" y="10263"/>
                  </a:lnTo>
                  <a:lnTo>
                    <a:pt x="7005" y="16943"/>
                  </a:lnTo>
                  <a:lnTo>
                    <a:pt x="12544" y="13196"/>
                  </a:lnTo>
                  <a:lnTo>
                    <a:pt x="12055" y="8309"/>
                  </a:lnTo>
                  <a:lnTo>
                    <a:pt x="14825" y="5702"/>
                  </a:lnTo>
                  <a:lnTo>
                    <a:pt x="14336" y="1629"/>
                  </a:lnTo>
                  <a:lnTo>
                    <a:pt x="10915" y="0"/>
                  </a:lnTo>
                  <a:lnTo>
                    <a:pt x="7819" y="1792"/>
                  </a:lnTo>
                  <a:lnTo>
                    <a:pt x="4398" y="1466"/>
                  </a:lnTo>
                  <a:close/>
                </a:path>
              </a:pathLst>
            </a:custGeom>
            <a:solidFill>
              <a:schemeClr val="bg2"/>
            </a:solidFill>
            <a:ln w="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38" name="Forma livre: Forma 137">
              <a:extLst>
                <a:ext uri="{FF2B5EF4-FFF2-40B4-BE49-F238E27FC236}">
                  <a16:creationId xmlns:a16="http://schemas.microsoft.com/office/drawing/2014/main" id="{060B8811-AA20-5910-AB7D-3767B7226E6D}"/>
                </a:ext>
              </a:extLst>
            </p:cNvPr>
            <p:cNvSpPr/>
            <p:nvPr/>
          </p:nvSpPr>
          <p:spPr>
            <a:xfrm>
              <a:off x="7434019" y="5522863"/>
              <a:ext cx="15319" cy="17676"/>
            </a:xfrm>
            <a:custGeom>
              <a:avLst/>
              <a:gdLst>
                <a:gd name="connsiteX0" fmla="*/ 489 w 14824"/>
                <a:gd name="connsiteY0" fmla="*/ 1303 h 17105"/>
                <a:gd name="connsiteX1" fmla="*/ 0 w 14824"/>
                <a:gd name="connsiteY1" fmla="*/ 8797 h 17105"/>
                <a:gd name="connsiteX2" fmla="*/ 4887 w 14824"/>
                <a:gd name="connsiteY2" fmla="*/ 15476 h 17105"/>
                <a:gd name="connsiteX3" fmla="*/ 7982 w 14824"/>
                <a:gd name="connsiteY3" fmla="*/ 17106 h 17105"/>
                <a:gd name="connsiteX4" fmla="*/ 14824 w 14824"/>
                <a:gd name="connsiteY4" fmla="*/ 11078 h 17105"/>
                <a:gd name="connsiteX5" fmla="*/ 12055 w 14824"/>
                <a:gd name="connsiteY5" fmla="*/ 9774 h 17105"/>
                <a:gd name="connsiteX6" fmla="*/ 8797 w 14824"/>
                <a:gd name="connsiteY6" fmla="*/ 2281 h 17105"/>
                <a:gd name="connsiteX7" fmla="*/ 3584 w 14824"/>
                <a:gd name="connsiteY7" fmla="*/ 0 h 17105"/>
                <a:gd name="connsiteX8" fmla="*/ 489 w 14824"/>
                <a:gd name="connsiteY8" fmla="*/ 1303 h 171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824" h="17105">
                  <a:moveTo>
                    <a:pt x="489" y="1303"/>
                  </a:moveTo>
                  <a:lnTo>
                    <a:pt x="0" y="8797"/>
                  </a:lnTo>
                  <a:lnTo>
                    <a:pt x="4887" y="15476"/>
                  </a:lnTo>
                  <a:lnTo>
                    <a:pt x="7982" y="17106"/>
                  </a:lnTo>
                  <a:lnTo>
                    <a:pt x="14824" y="11078"/>
                  </a:lnTo>
                  <a:lnTo>
                    <a:pt x="12055" y="9774"/>
                  </a:lnTo>
                  <a:lnTo>
                    <a:pt x="8797" y="2281"/>
                  </a:lnTo>
                  <a:lnTo>
                    <a:pt x="3584" y="0"/>
                  </a:lnTo>
                  <a:lnTo>
                    <a:pt x="489" y="1303"/>
                  </a:lnTo>
                  <a:close/>
                </a:path>
              </a:pathLst>
            </a:custGeom>
            <a:solidFill>
              <a:schemeClr val="bg2"/>
            </a:solidFill>
            <a:ln w="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39" name="Forma livre: Forma 138">
              <a:extLst>
                <a:ext uri="{FF2B5EF4-FFF2-40B4-BE49-F238E27FC236}">
                  <a16:creationId xmlns:a16="http://schemas.microsoft.com/office/drawing/2014/main" id="{0332170F-8FB0-554E-5D4A-DFEB31CEEB8C}"/>
                </a:ext>
              </a:extLst>
            </p:cNvPr>
            <p:cNvSpPr/>
            <p:nvPr/>
          </p:nvSpPr>
          <p:spPr>
            <a:xfrm>
              <a:off x="7107587" y="5281785"/>
              <a:ext cx="202020" cy="376263"/>
            </a:xfrm>
            <a:custGeom>
              <a:avLst/>
              <a:gdLst>
                <a:gd name="connsiteX0" fmla="*/ 41542 w 195490"/>
                <a:gd name="connsiteY0" fmla="*/ 362962 h 364102"/>
                <a:gd name="connsiteX1" fmla="*/ 44800 w 195490"/>
                <a:gd name="connsiteY1" fmla="*/ 360844 h 364102"/>
                <a:gd name="connsiteX2" fmla="*/ 50176 w 195490"/>
                <a:gd name="connsiteY2" fmla="*/ 361333 h 364102"/>
                <a:gd name="connsiteX3" fmla="*/ 56204 w 195490"/>
                <a:gd name="connsiteY3" fmla="*/ 357749 h 364102"/>
                <a:gd name="connsiteX4" fmla="*/ 61091 w 195490"/>
                <a:gd name="connsiteY4" fmla="*/ 352047 h 364102"/>
                <a:gd name="connsiteX5" fmla="*/ 77056 w 195490"/>
                <a:gd name="connsiteY5" fmla="*/ 350581 h 364102"/>
                <a:gd name="connsiteX6" fmla="*/ 81943 w 195490"/>
                <a:gd name="connsiteY6" fmla="*/ 351721 h 364102"/>
                <a:gd name="connsiteX7" fmla="*/ 90252 w 195490"/>
                <a:gd name="connsiteY7" fmla="*/ 348463 h 364102"/>
                <a:gd name="connsiteX8" fmla="*/ 92532 w 195490"/>
                <a:gd name="connsiteY8" fmla="*/ 343901 h 364102"/>
                <a:gd name="connsiteX9" fmla="*/ 96605 w 195490"/>
                <a:gd name="connsiteY9" fmla="*/ 343250 h 364102"/>
                <a:gd name="connsiteX10" fmla="*/ 99375 w 195490"/>
                <a:gd name="connsiteY10" fmla="*/ 335267 h 364102"/>
                <a:gd name="connsiteX11" fmla="*/ 103447 w 195490"/>
                <a:gd name="connsiteY11" fmla="*/ 328751 h 364102"/>
                <a:gd name="connsiteX12" fmla="*/ 103447 w 195490"/>
                <a:gd name="connsiteY12" fmla="*/ 324189 h 364102"/>
                <a:gd name="connsiteX13" fmla="*/ 108823 w 195490"/>
                <a:gd name="connsiteY13" fmla="*/ 321094 h 364102"/>
                <a:gd name="connsiteX14" fmla="*/ 108334 w 195490"/>
                <a:gd name="connsiteY14" fmla="*/ 313437 h 364102"/>
                <a:gd name="connsiteX15" fmla="*/ 107031 w 195490"/>
                <a:gd name="connsiteY15" fmla="*/ 312297 h 364102"/>
                <a:gd name="connsiteX16" fmla="*/ 110615 w 195490"/>
                <a:gd name="connsiteY16" fmla="*/ 309527 h 364102"/>
                <a:gd name="connsiteX17" fmla="*/ 112896 w 195490"/>
                <a:gd name="connsiteY17" fmla="*/ 301056 h 364102"/>
                <a:gd name="connsiteX18" fmla="*/ 112245 w 195490"/>
                <a:gd name="connsiteY18" fmla="*/ 299753 h 364102"/>
                <a:gd name="connsiteX19" fmla="*/ 114036 w 195490"/>
                <a:gd name="connsiteY19" fmla="*/ 299753 h 364102"/>
                <a:gd name="connsiteX20" fmla="*/ 118923 w 195490"/>
                <a:gd name="connsiteY20" fmla="*/ 292259 h 364102"/>
                <a:gd name="connsiteX21" fmla="*/ 122508 w 195490"/>
                <a:gd name="connsiteY21" fmla="*/ 274991 h 364102"/>
                <a:gd name="connsiteX22" fmla="*/ 125277 w 195490"/>
                <a:gd name="connsiteY22" fmla="*/ 265705 h 364102"/>
                <a:gd name="connsiteX23" fmla="*/ 129187 w 195490"/>
                <a:gd name="connsiteY23" fmla="*/ 261795 h 364102"/>
                <a:gd name="connsiteX24" fmla="*/ 131468 w 195490"/>
                <a:gd name="connsiteY24" fmla="*/ 251532 h 364102"/>
                <a:gd name="connsiteX25" fmla="*/ 138473 w 195490"/>
                <a:gd name="connsiteY25" fmla="*/ 239151 h 364102"/>
                <a:gd name="connsiteX26" fmla="*/ 145152 w 195490"/>
                <a:gd name="connsiteY26" fmla="*/ 218461 h 364102"/>
                <a:gd name="connsiteX27" fmla="*/ 149877 w 195490"/>
                <a:gd name="connsiteY27" fmla="*/ 211456 h 364102"/>
                <a:gd name="connsiteX28" fmla="*/ 149877 w 195490"/>
                <a:gd name="connsiteY28" fmla="*/ 202170 h 364102"/>
                <a:gd name="connsiteX29" fmla="*/ 154927 w 195490"/>
                <a:gd name="connsiteY29" fmla="*/ 192885 h 364102"/>
                <a:gd name="connsiteX30" fmla="*/ 155741 w 195490"/>
                <a:gd name="connsiteY30" fmla="*/ 189301 h 364102"/>
                <a:gd name="connsiteX31" fmla="*/ 161606 w 195490"/>
                <a:gd name="connsiteY31" fmla="*/ 180015 h 364102"/>
                <a:gd name="connsiteX32" fmla="*/ 164538 w 195490"/>
                <a:gd name="connsiteY32" fmla="*/ 165679 h 364102"/>
                <a:gd name="connsiteX33" fmla="*/ 166982 w 195490"/>
                <a:gd name="connsiteY33" fmla="*/ 155252 h 364102"/>
                <a:gd name="connsiteX34" fmla="*/ 169263 w 195490"/>
                <a:gd name="connsiteY34" fmla="*/ 152483 h 364102"/>
                <a:gd name="connsiteX35" fmla="*/ 170566 w 195490"/>
                <a:gd name="connsiteY35" fmla="*/ 144989 h 364102"/>
                <a:gd name="connsiteX36" fmla="*/ 168285 w 195490"/>
                <a:gd name="connsiteY36" fmla="*/ 141242 h 364102"/>
                <a:gd name="connsiteX37" fmla="*/ 169588 w 195490"/>
                <a:gd name="connsiteY37" fmla="*/ 134726 h 364102"/>
                <a:gd name="connsiteX38" fmla="*/ 174964 w 195490"/>
                <a:gd name="connsiteY38" fmla="*/ 127395 h 364102"/>
                <a:gd name="connsiteX39" fmla="*/ 174313 w 195490"/>
                <a:gd name="connsiteY39" fmla="*/ 123811 h 364102"/>
                <a:gd name="connsiteX40" fmla="*/ 178060 w 195490"/>
                <a:gd name="connsiteY40" fmla="*/ 119412 h 364102"/>
                <a:gd name="connsiteX41" fmla="*/ 177245 w 195490"/>
                <a:gd name="connsiteY41" fmla="*/ 113222 h 364102"/>
                <a:gd name="connsiteX42" fmla="*/ 175127 w 195490"/>
                <a:gd name="connsiteY42" fmla="*/ 111267 h 364102"/>
                <a:gd name="connsiteX43" fmla="*/ 177408 w 195490"/>
                <a:gd name="connsiteY43" fmla="*/ 106869 h 364102"/>
                <a:gd name="connsiteX44" fmla="*/ 177082 w 195490"/>
                <a:gd name="connsiteY44" fmla="*/ 100515 h 364102"/>
                <a:gd name="connsiteX45" fmla="*/ 175127 w 195490"/>
                <a:gd name="connsiteY45" fmla="*/ 99212 h 364102"/>
                <a:gd name="connsiteX46" fmla="*/ 175127 w 195490"/>
                <a:gd name="connsiteY46" fmla="*/ 93184 h 364102"/>
                <a:gd name="connsiteX47" fmla="*/ 178386 w 195490"/>
                <a:gd name="connsiteY47" fmla="*/ 91555 h 364102"/>
                <a:gd name="connsiteX48" fmla="*/ 180829 w 195490"/>
                <a:gd name="connsiteY48" fmla="*/ 93510 h 364102"/>
                <a:gd name="connsiteX49" fmla="*/ 181970 w 195490"/>
                <a:gd name="connsiteY49" fmla="*/ 98886 h 364102"/>
                <a:gd name="connsiteX50" fmla="*/ 186368 w 195490"/>
                <a:gd name="connsiteY50" fmla="*/ 104588 h 364102"/>
                <a:gd name="connsiteX51" fmla="*/ 189626 w 195490"/>
                <a:gd name="connsiteY51" fmla="*/ 105402 h 364102"/>
                <a:gd name="connsiteX52" fmla="*/ 191418 w 195490"/>
                <a:gd name="connsiteY52" fmla="*/ 102144 h 364102"/>
                <a:gd name="connsiteX53" fmla="*/ 191744 w 195490"/>
                <a:gd name="connsiteY53" fmla="*/ 97745 h 364102"/>
                <a:gd name="connsiteX54" fmla="*/ 193047 w 195490"/>
                <a:gd name="connsiteY54" fmla="*/ 96117 h 364102"/>
                <a:gd name="connsiteX55" fmla="*/ 193699 w 195490"/>
                <a:gd name="connsiteY55" fmla="*/ 91555 h 364102"/>
                <a:gd name="connsiteX56" fmla="*/ 195491 w 195490"/>
                <a:gd name="connsiteY56" fmla="*/ 89763 h 364102"/>
                <a:gd name="connsiteX57" fmla="*/ 195165 w 195490"/>
                <a:gd name="connsiteY57" fmla="*/ 84550 h 364102"/>
                <a:gd name="connsiteX58" fmla="*/ 190115 w 195490"/>
                <a:gd name="connsiteY58" fmla="*/ 77871 h 364102"/>
                <a:gd name="connsiteX59" fmla="*/ 188812 w 195490"/>
                <a:gd name="connsiteY59" fmla="*/ 73309 h 364102"/>
                <a:gd name="connsiteX60" fmla="*/ 190278 w 195490"/>
                <a:gd name="connsiteY60" fmla="*/ 71028 h 364102"/>
                <a:gd name="connsiteX61" fmla="*/ 190278 w 195490"/>
                <a:gd name="connsiteY61" fmla="*/ 65490 h 364102"/>
                <a:gd name="connsiteX62" fmla="*/ 188649 w 195490"/>
                <a:gd name="connsiteY62" fmla="*/ 58485 h 364102"/>
                <a:gd name="connsiteX63" fmla="*/ 189789 w 195490"/>
                <a:gd name="connsiteY63" fmla="*/ 55715 h 364102"/>
                <a:gd name="connsiteX64" fmla="*/ 190441 w 195490"/>
                <a:gd name="connsiteY64" fmla="*/ 42519 h 364102"/>
                <a:gd name="connsiteX65" fmla="*/ 186531 w 195490"/>
                <a:gd name="connsiteY65" fmla="*/ 37469 h 364102"/>
                <a:gd name="connsiteX66" fmla="*/ 186042 w 195490"/>
                <a:gd name="connsiteY66" fmla="*/ 26066 h 364102"/>
                <a:gd name="connsiteX67" fmla="*/ 184087 w 195490"/>
                <a:gd name="connsiteY67" fmla="*/ 22156 h 364102"/>
                <a:gd name="connsiteX68" fmla="*/ 182132 w 195490"/>
                <a:gd name="connsiteY68" fmla="*/ 22970 h 364102"/>
                <a:gd name="connsiteX69" fmla="*/ 177734 w 195490"/>
                <a:gd name="connsiteY69" fmla="*/ 17269 h 364102"/>
                <a:gd name="connsiteX70" fmla="*/ 177082 w 195490"/>
                <a:gd name="connsiteY70" fmla="*/ 12218 h 364102"/>
                <a:gd name="connsiteX71" fmla="*/ 172684 w 195490"/>
                <a:gd name="connsiteY71" fmla="*/ 10263 h 364102"/>
                <a:gd name="connsiteX72" fmla="*/ 175127 w 195490"/>
                <a:gd name="connsiteY72" fmla="*/ 5050 h 364102"/>
                <a:gd name="connsiteX73" fmla="*/ 173336 w 195490"/>
                <a:gd name="connsiteY73" fmla="*/ 0 h 364102"/>
                <a:gd name="connsiteX74" fmla="*/ 166819 w 195490"/>
                <a:gd name="connsiteY74" fmla="*/ 6028 h 364102"/>
                <a:gd name="connsiteX75" fmla="*/ 168448 w 195490"/>
                <a:gd name="connsiteY75" fmla="*/ 9449 h 364102"/>
                <a:gd name="connsiteX76" fmla="*/ 164050 w 195490"/>
                <a:gd name="connsiteY76" fmla="*/ 12381 h 364102"/>
                <a:gd name="connsiteX77" fmla="*/ 159651 w 195490"/>
                <a:gd name="connsiteY77" fmla="*/ 9449 h 364102"/>
                <a:gd name="connsiteX78" fmla="*/ 156882 w 195490"/>
                <a:gd name="connsiteY78" fmla="*/ 9449 h 364102"/>
                <a:gd name="connsiteX79" fmla="*/ 160954 w 195490"/>
                <a:gd name="connsiteY79" fmla="*/ 15151 h 364102"/>
                <a:gd name="connsiteX80" fmla="*/ 160954 w 195490"/>
                <a:gd name="connsiteY80" fmla="*/ 18409 h 364102"/>
                <a:gd name="connsiteX81" fmla="*/ 164212 w 195490"/>
                <a:gd name="connsiteY81" fmla="*/ 21667 h 364102"/>
                <a:gd name="connsiteX82" fmla="*/ 164212 w 195490"/>
                <a:gd name="connsiteY82" fmla="*/ 23133 h 364102"/>
                <a:gd name="connsiteX83" fmla="*/ 159162 w 195490"/>
                <a:gd name="connsiteY83" fmla="*/ 27858 h 364102"/>
                <a:gd name="connsiteX84" fmla="*/ 159162 w 195490"/>
                <a:gd name="connsiteY84" fmla="*/ 35514 h 364102"/>
                <a:gd name="connsiteX85" fmla="*/ 156067 w 195490"/>
                <a:gd name="connsiteY85" fmla="*/ 40564 h 364102"/>
                <a:gd name="connsiteX86" fmla="*/ 152646 w 195490"/>
                <a:gd name="connsiteY86" fmla="*/ 39424 h 364102"/>
                <a:gd name="connsiteX87" fmla="*/ 148247 w 195490"/>
                <a:gd name="connsiteY87" fmla="*/ 44311 h 364102"/>
                <a:gd name="connsiteX88" fmla="*/ 147596 w 195490"/>
                <a:gd name="connsiteY88" fmla="*/ 48547 h 364102"/>
                <a:gd name="connsiteX89" fmla="*/ 144337 w 195490"/>
                <a:gd name="connsiteY89" fmla="*/ 50991 h 364102"/>
                <a:gd name="connsiteX90" fmla="*/ 141568 w 195490"/>
                <a:gd name="connsiteY90" fmla="*/ 49199 h 364102"/>
                <a:gd name="connsiteX91" fmla="*/ 141079 w 195490"/>
                <a:gd name="connsiteY91" fmla="*/ 43660 h 364102"/>
                <a:gd name="connsiteX92" fmla="*/ 138798 w 195490"/>
                <a:gd name="connsiteY92" fmla="*/ 42519 h 364102"/>
                <a:gd name="connsiteX93" fmla="*/ 135541 w 195490"/>
                <a:gd name="connsiteY93" fmla="*/ 45778 h 364102"/>
                <a:gd name="connsiteX94" fmla="*/ 135052 w 195490"/>
                <a:gd name="connsiteY94" fmla="*/ 51805 h 364102"/>
                <a:gd name="connsiteX95" fmla="*/ 140102 w 195490"/>
                <a:gd name="connsiteY95" fmla="*/ 56855 h 364102"/>
                <a:gd name="connsiteX96" fmla="*/ 141405 w 195490"/>
                <a:gd name="connsiteY96" fmla="*/ 59136 h 364102"/>
                <a:gd name="connsiteX97" fmla="*/ 139450 w 195490"/>
                <a:gd name="connsiteY97" fmla="*/ 60928 h 364102"/>
                <a:gd name="connsiteX98" fmla="*/ 136844 w 195490"/>
                <a:gd name="connsiteY98" fmla="*/ 60114 h 364102"/>
                <a:gd name="connsiteX99" fmla="*/ 131142 w 195490"/>
                <a:gd name="connsiteY99" fmla="*/ 61254 h 364102"/>
                <a:gd name="connsiteX100" fmla="*/ 132445 w 195490"/>
                <a:gd name="connsiteY100" fmla="*/ 66141 h 364102"/>
                <a:gd name="connsiteX101" fmla="*/ 137495 w 195490"/>
                <a:gd name="connsiteY101" fmla="*/ 67607 h 364102"/>
                <a:gd name="connsiteX102" fmla="*/ 138147 w 195490"/>
                <a:gd name="connsiteY102" fmla="*/ 70703 h 364102"/>
                <a:gd name="connsiteX103" fmla="*/ 135866 w 195490"/>
                <a:gd name="connsiteY103" fmla="*/ 73472 h 364102"/>
                <a:gd name="connsiteX104" fmla="*/ 133423 w 195490"/>
                <a:gd name="connsiteY104" fmla="*/ 70703 h 364102"/>
                <a:gd name="connsiteX105" fmla="*/ 129513 w 195490"/>
                <a:gd name="connsiteY105" fmla="*/ 72169 h 364102"/>
                <a:gd name="connsiteX106" fmla="*/ 128698 w 195490"/>
                <a:gd name="connsiteY106" fmla="*/ 75101 h 364102"/>
                <a:gd name="connsiteX107" fmla="*/ 121693 w 195490"/>
                <a:gd name="connsiteY107" fmla="*/ 81129 h 364102"/>
                <a:gd name="connsiteX108" fmla="*/ 121693 w 195490"/>
                <a:gd name="connsiteY108" fmla="*/ 75590 h 364102"/>
                <a:gd name="connsiteX109" fmla="*/ 122671 w 195490"/>
                <a:gd name="connsiteY109" fmla="*/ 74124 h 364102"/>
                <a:gd name="connsiteX110" fmla="*/ 120879 w 195490"/>
                <a:gd name="connsiteY110" fmla="*/ 71028 h 364102"/>
                <a:gd name="connsiteX111" fmla="*/ 116154 w 195490"/>
                <a:gd name="connsiteY111" fmla="*/ 75590 h 364102"/>
                <a:gd name="connsiteX112" fmla="*/ 119087 w 195490"/>
                <a:gd name="connsiteY112" fmla="*/ 77219 h 364102"/>
                <a:gd name="connsiteX113" fmla="*/ 117946 w 195490"/>
                <a:gd name="connsiteY113" fmla="*/ 79500 h 364102"/>
                <a:gd name="connsiteX114" fmla="*/ 111919 w 195490"/>
                <a:gd name="connsiteY114" fmla="*/ 82921 h 364102"/>
                <a:gd name="connsiteX115" fmla="*/ 114199 w 195490"/>
                <a:gd name="connsiteY115" fmla="*/ 87808 h 364102"/>
                <a:gd name="connsiteX116" fmla="*/ 117620 w 195490"/>
                <a:gd name="connsiteY116" fmla="*/ 88949 h 364102"/>
                <a:gd name="connsiteX117" fmla="*/ 117295 w 195490"/>
                <a:gd name="connsiteY117" fmla="*/ 91392 h 364102"/>
                <a:gd name="connsiteX118" fmla="*/ 114036 w 195490"/>
                <a:gd name="connsiteY118" fmla="*/ 92207 h 364102"/>
                <a:gd name="connsiteX119" fmla="*/ 109964 w 195490"/>
                <a:gd name="connsiteY119" fmla="*/ 94976 h 364102"/>
                <a:gd name="connsiteX120" fmla="*/ 109312 w 195490"/>
                <a:gd name="connsiteY120" fmla="*/ 91718 h 364102"/>
                <a:gd name="connsiteX121" fmla="*/ 106868 w 195490"/>
                <a:gd name="connsiteY121" fmla="*/ 91229 h 364102"/>
                <a:gd name="connsiteX122" fmla="*/ 109312 w 195490"/>
                <a:gd name="connsiteY122" fmla="*/ 87156 h 364102"/>
                <a:gd name="connsiteX123" fmla="*/ 107031 w 195490"/>
                <a:gd name="connsiteY123" fmla="*/ 85527 h 364102"/>
                <a:gd name="connsiteX124" fmla="*/ 97582 w 195490"/>
                <a:gd name="connsiteY124" fmla="*/ 93510 h 364102"/>
                <a:gd name="connsiteX125" fmla="*/ 96116 w 195490"/>
                <a:gd name="connsiteY125" fmla="*/ 101004 h 364102"/>
                <a:gd name="connsiteX126" fmla="*/ 97257 w 195490"/>
                <a:gd name="connsiteY126" fmla="*/ 103936 h 364102"/>
                <a:gd name="connsiteX127" fmla="*/ 95791 w 195490"/>
                <a:gd name="connsiteY127" fmla="*/ 107194 h 364102"/>
                <a:gd name="connsiteX128" fmla="*/ 92532 w 195490"/>
                <a:gd name="connsiteY128" fmla="*/ 106054 h 364102"/>
                <a:gd name="connsiteX129" fmla="*/ 90414 w 195490"/>
                <a:gd name="connsiteY129" fmla="*/ 104262 h 364102"/>
                <a:gd name="connsiteX130" fmla="*/ 90414 w 195490"/>
                <a:gd name="connsiteY130" fmla="*/ 97583 h 364102"/>
                <a:gd name="connsiteX131" fmla="*/ 88134 w 195490"/>
                <a:gd name="connsiteY131" fmla="*/ 97257 h 364102"/>
                <a:gd name="connsiteX132" fmla="*/ 82106 w 195490"/>
                <a:gd name="connsiteY132" fmla="*/ 103447 h 364102"/>
                <a:gd name="connsiteX133" fmla="*/ 75590 w 195490"/>
                <a:gd name="connsiteY133" fmla="*/ 98886 h 364102"/>
                <a:gd name="connsiteX134" fmla="*/ 74287 w 195490"/>
                <a:gd name="connsiteY134" fmla="*/ 100841 h 364102"/>
                <a:gd name="connsiteX135" fmla="*/ 72006 w 195490"/>
                <a:gd name="connsiteY135" fmla="*/ 101167 h 364102"/>
                <a:gd name="connsiteX136" fmla="*/ 72820 w 195490"/>
                <a:gd name="connsiteY136" fmla="*/ 108335 h 364102"/>
                <a:gd name="connsiteX137" fmla="*/ 70866 w 195490"/>
                <a:gd name="connsiteY137" fmla="*/ 107846 h 364102"/>
                <a:gd name="connsiteX138" fmla="*/ 69073 w 195490"/>
                <a:gd name="connsiteY138" fmla="*/ 108498 h 364102"/>
                <a:gd name="connsiteX139" fmla="*/ 69073 w 195490"/>
                <a:gd name="connsiteY139" fmla="*/ 104588 h 364102"/>
                <a:gd name="connsiteX140" fmla="*/ 66467 w 195490"/>
                <a:gd name="connsiteY140" fmla="*/ 103285 h 364102"/>
                <a:gd name="connsiteX141" fmla="*/ 63698 w 195490"/>
                <a:gd name="connsiteY141" fmla="*/ 107357 h 364102"/>
                <a:gd name="connsiteX142" fmla="*/ 61091 w 195490"/>
                <a:gd name="connsiteY142" fmla="*/ 103285 h 364102"/>
                <a:gd name="connsiteX143" fmla="*/ 50991 w 195490"/>
                <a:gd name="connsiteY143" fmla="*/ 112570 h 364102"/>
                <a:gd name="connsiteX144" fmla="*/ 48221 w 195490"/>
                <a:gd name="connsiteY144" fmla="*/ 112896 h 364102"/>
                <a:gd name="connsiteX145" fmla="*/ 46266 w 195490"/>
                <a:gd name="connsiteY145" fmla="*/ 110941 h 364102"/>
                <a:gd name="connsiteX146" fmla="*/ 41053 w 195490"/>
                <a:gd name="connsiteY146" fmla="*/ 110941 h 364102"/>
                <a:gd name="connsiteX147" fmla="*/ 38772 w 195490"/>
                <a:gd name="connsiteY147" fmla="*/ 114362 h 364102"/>
                <a:gd name="connsiteX148" fmla="*/ 39750 w 195490"/>
                <a:gd name="connsiteY148" fmla="*/ 122345 h 364102"/>
                <a:gd name="connsiteX149" fmla="*/ 32093 w 195490"/>
                <a:gd name="connsiteY149" fmla="*/ 134074 h 364102"/>
                <a:gd name="connsiteX150" fmla="*/ 32419 w 195490"/>
                <a:gd name="connsiteY150" fmla="*/ 136355 h 364102"/>
                <a:gd name="connsiteX151" fmla="*/ 25251 w 195490"/>
                <a:gd name="connsiteY151" fmla="*/ 144012 h 364102"/>
                <a:gd name="connsiteX152" fmla="*/ 25251 w 195490"/>
                <a:gd name="connsiteY152" fmla="*/ 147922 h 364102"/>
                <a:gd name="connsiteX153" fmla="*/ 29161 w 195490"/>
                <a:gd name="connsiteY153" fmla="*/ 151180 h 364102"/>
                <a:gd name="connsiteX154" fmla="*/ 25739 w 195490"/>
                <a:gd name="connsiteY154" fmla="*/ 156067 h 364102"/>
                <a:gd name="connsiteX155" fmla="*/ 28183 w 195490"/>
                <a:gd name="connsiteY155" fmla="*/ 163398 h 364102"/>
                <a:gd name="connsiteX156" fmla="*/ 27857 w 195490"/>
                <a:gd name="connsiteY156" fmla="*/ 169588 h 364102"/>
                <a:gd name="connsiteX157" fmla="*/ 34863 w 195490"/>
                <a:gd name="connsiteY157" fmla="*/ 183110 h 364102"/>
                <a:gd name="connsiteX158" fmla="*/ 34374 w 195490"/>
                <a:gd name="connsiteY158" fmla="*/ 186857 h 364102"/>
                <a:gd name="connsiteX159" fmla="*/ 38772 w 195490"/>
                <a:gd name="connsiteY159" fmla="*/ 191744 h 364102"/>
                <a:gd name="connsiteX160" fmla="*/ 38772 w 195490"/>
                <a:gd name="connsiteY160" fmla="*/ 194025 h 364102"/>
                <a:gd name="connsiteX161" fmla="*/ 35352 w 195490"/>
                <a:gd name="connsiteY161" fmla="*/ 197609 h 364102"/>
                <a:gd name="connsiteX162" fmla="*/ 36491 w 195490"/>
                <a:gd name="connsiteY162" fmla="*/ 201030 h 364102"/>
                <a:gd name="connsiteX163" fmla="*/ 34048 w 195490"/>
                <a:gd name="connsiteY163" fmla="*/ 212760 h 364102"/>
                <a:gd name="connsiteX164" fmla="*/ 28998 w 195490"/>
                <a:gd name="connsiteY164" fmla="*/ 216018 h 364102"/>
                <a:gd name="connsiteX165" fmla="*/ 27695 w 195490"/>
                <a:gd name="connsiteY165" fmla="*/ 222697 h 364102"/>
                <a:gd name="connsiteX166" fmla="*/ 24762 w 195490"/>
                <a:gd name="connsiteY166" fmla="*/ 223349 h 364102"/>
                <a:gd name="connsiteX167" fmla="*/ 23296 w 195490"/>
                <a:gd name="connsiteY167" fmla="*/ 227747 h 364102"/>
                <a:gd name="connsiteX168" fmla="*/ 18734 w 195490"/>
                <a:gd name="connsiteY168" fmla="*/ 231494 h 364102"/>
                <a:gd name="connsiteX169" fmla="*/ 18246 w 195490"/>
                <a:gd name="connsiteY169" fmla="*/ 241106 h 364102"/>
                <a:gd name="connsiteX170" fmla="*/ 15150 w 195490"/>
                <a:gd name="connsiteY170" fmla="*/ 244527 h 364102"/>
                <a:gd name="connsiteX171" fmla="*/ 7657 w 195490"/>
                <a:gd name="connsiteY171" fmla="*/ 246319 h 364102"/>
                <a:gd name="connsiteX172" fmla="*/ 5864 w 195490"/>
                <a:gd name="connsiteY172" fmla="*/ 248762 h 364102"/>
                <a:gd name="connsiteX173" fmla="*/ 6516 w 195490"/>
                <a:gd name="connsiteY173" fmla="*/ 257071 h 364102"/>
                <a:gd name="connsiteX174" fmla="*/ 977 w 195490"/>
                <a:gd name="connsiteY174" fmla="*/ 262935 h 364102"/>
                <a:gd name="connsiteX175" fmla="*/ 1629 w 195490"/>
                <a:gd name="connsiteY175" fmla="*/ 269615 h 364102"/>
                <a:gd name="connsiteX176" fmla="*/ 0 w 195490"/>
                <a:gd name="connsiteY176" fmla="*/ 273687 h 364102"/>
                <a:gd name="connsiteX177" fmla="*/ 1140 w 195490"/>
                <a:gd name="connsiteY177" fmla="*/ 276783 h 364102"/>
                <a:gd name="connsiteX178" fmla="*/ 1466 w 195490"/>
                <a:gd name="connsiteY178" fmla="*/ 284928 h 364102"/>
                <a:gd name="connsiteX179" fmla="*/ 7982 w 195490"/>
                <a:gd name="connsiteY179" fmla="*/ 292911 h 364102"/>
                <a:gd name="connsiteX180" fmla="*/ 7005 w 195490"/>
                <a:gd name="connsiteY180" fmla="*/ 298776 h 364102"/>
                <a:gd name="connsiteX181" fmla="*/ 8145 w 195490"/>
                <a:gd name="connsiteY181" fmla="*/ 302522 h 364102"/>
                <a:gd name="connsiteX182" fmla="*/ 11404 w 195490"/>
                <a:gd name="connsiteY182" fmla="*/ 304477 h 364102"/>
                <a:gd name="connsiteX183" fmla="*/ 13196 w 195490"/>
                <a:gd name="connsiteY183" fmla="*/ 303989 h 364102"/>
                <a:gd name="connsiteX184" fmla="*/ 11566 w 195490"/>
                <a:gd name="connsiteY184" fmla="*/ 305618 h 364102"/>
                <a:gd name="connsiteX185" fmla="*/ 6516 w 195490"/>
                <a:gd name="connsiteY185" fmla="*/ 306921 h 364102"/>
                <a:gd name="connsiteX186" fmla="*/ 6842 w 195490"/>
                <a:gd name="connsiteY186" fmla="*/ 312297 h 364102"/>
                <a:gd name="connsiteX187" fmla="*/ 7657 w 195490"/>
                <a:gd name="connsiteY187" fmla="*/ 320605 h 364102"/>
                <a:gd name="connsiteX188" fmla="*/ 6842 w 195490"/>
                <a:gd name="connsiteY188" fmla="*/ 331357 h 364102"/>
                <a:gd name="connsiteX189" fmla="*/ 8634 w 195490"/>
                <a:gd name="connsiteY189" fmla="*/ 333475 h 364102"/>
                <a:gd name="connsiteX190" fmla="*/ 8960 w 195490"/>
                <a:gd name="connsiteY190" fmla="*/ 336896 h 364102"/>
                <a:gd name="connsiteX191" fmla="*/ 11893 w 195490"/>
                <a:gd name="connsiteY191" fmla="*/ 338688 h 364102"/>
                <a:gd name="connsiteX192" fmla="*/ 15314 w 195490"/>
                <a:gd name="connsiteY192" fmla="*/ 343901 h 364102"/>
                <a:gd name="connsiteX193" fmla="*/ 18083 w 195490"/>
                <a:gd name="connsiteY193" fmla="*/ 345368 h 364102"/>
                <a:gd name="connsiteX194" fmla="*/ 20364 w 195490"/>
                <a:gd name="connsiteY194" fmla="*/ 348789 h 364102"/>
                <a:gd name="connsiteX195" fmla="*/ 23785 w 195490"/>
                <a:gd name="connsiteY195" fmla="*/ 352698 h 364102"/>
                <a:gd name="connsiteX196" fmla="*/ 27369 w 195490"/>
                <a:gd name="connsiteY196" fmla="*/ 351395 h 364102"/>
                <a:gd name="connsiteX197" fmla="*/ 28672 w 195490"/>
                <a:gd name="connsiteY197" fmla="*/ 353187 h 364102"/>
                <a:gd name="connsiteX198" fmla="*/ 32745 w 195490"/>
                <a:gd name="connsiteY198" fmla="*/ 354165 h 364102"/>
                <a:gd name="connsiteX199" fmla="*/ 37143 w 195490"/>
                <a:gd name="connsiteY199" fmla="*/ 359867 h 364102"/>
                <a:gd name="connsiteX200" fmla="*/ 40402 w 195490"/>
                <a:gd name="connsiteY200" fmla="*/ 360518 h 364102"/>
                <a:gd name="connsiteX201" fmla="*/ 40402 w 195490"/>
                <a:gd name="connsiteY201" fmla="*/ 362799 h 364102"/>
                <a:gd name="connsiteX202" fmla="*/ 41868 w 195490"/>
                <a:gd name="connsiteY202" fmla="*/ 364102 h 364102"/>
                <a:gd name="connsiteX203" fmla="*/ 41868 w 195490"/>
                <a:gd name="connsiteY203" fmla="*/ 364102 h 364102"/>
                <a:gd name="connsiteX204" fmla="*/ 152972 w 195490"/>
                <a:gd name="connsiteY204" fmla="*/ 25903 h 364102"/>
                <a:gd name="connsiteX205" fmla="*/ 151831 w 195490"/>
                <a:gd name="connsiteY205" fmla="*/ 23785 h 364102"/>
                <a:gd name="connsiteX206" fmla="*/ 156230 w 195490"/>
                <a:gd name="connsiteY206" fmla="*/ 19386 h 364102"/>
                <a:gd name="connsiteX207" fmla="*/ 156230 w 195490"/>
                <a:gd name="connsiteY207" fmla="*/ 21178 h 364102"/>
                <a:gd name="connsiteX208" fmla="*/ 152972 w 195490"/>
                <a:gd name="connsiteY208" fmla="*/ 25740 h 364102"/>
                <a:gd name="connsiteX209" fmla="*/ 152972 w 195490"/>
                <a:gd name="connsiteY209" fmla="*/ 25740 h 364102"/>
                <a:gd name="connsiteX210" fmla="*/ 151343 w 195490"/>
                <a:gd name="connsiteY210" fmla="*/ 33885 h 364102"/>
                <a:gd name="connsiteX211" fmla="*/ 151994 w 195490"/>
                <a:gd name="connsiteY211" fmla="*/ 32419 h 364102"/>
                <a:gd name="connsiteX212" fmla="*/ 153135 w 195490"/>
                <a:gd name="connsiteY212" fmla="*/ 34537 h 364102"/>
                <a:gd name="connsiteX213" fmla="*/ 151994 w 195490"/>
                <a:gd name="connsiteY213" fmla="*/ 36003 h 364102"/>
                <a:gd name="connsiteX214" fmla="*/ 151343 w 195490"/>
                <a:gd name="connsiteY214" fmla="*/ 33885 h 364102"/>
                <a:gd name="connsiteX215" fmla="*/ 151343 w 195490"/>
                <a:gd name="connsiteY215" fmla="*/ 33885 h 364102"/>
                <a:gd name="connsiteX216" fmla="*/ 143034 w 195490"/>
                <a:gd name="connsiteY216" fmla="*/ 32582 h 364102"/>
                <a:gd name="connsiteX217" fmla="*/ 144012 w 195490"/>
                <a:gd name="connsiteY217" fmla="*/ 31604 h 364102"/>
                <a:gd name="connsiteX218" fmla="*/ 144826 w 195490"/>
                <a:gd name="connsiteY218" fmla="*/ 32745 h 364102"/>
                <a:gd name="connsiteX219" fmla="*/ 147596 w 195490"/>
                <a:gd name="connsiteY219" fmla="*/ 34374 h 364102"/>
                <a:gd name="connsiteX220" fmla="*/ 146618 w 195490"/>
                <a:gd name="connsiteY220" fmla="*/ 39261 h 364102"/>
                <a:gd name="connsiteX221" fmla="*/ 144012 w 195490"/>
                <a:gd name="connsiteY221" fmla="*/ 36818 h 364102"/>
                <a:gd name="connsiteX222" fmla="*/ 140591 w 195490"/>
                <a:gd name="connsiteY222" fmla="*/ 36818 h 364102"/>
                <a:gd name="connsiteX223" fmla="*/ 143034 w 195490"/>
                <a:gd name="connsiteY223" fmla="*/ 32745 h 364102"/>
                <a:gd name="connsiteX224" fmla="*/ 143034 w 195490"/>
                <a:gd name="connsiteY224" fmla="*/ 32745 h 364102"/>
                <a:gd name="connsiteX225" fmla="*/ 178060 w 195490"/>
                <a:gd name="connsiteY225" fmla="*/ 134889 h 364102"/>
                <a:gd name="connsiteX226" fmla="*/ 178060 w 195490"/>
                <a:gd name="connsiteY226" fmla="*/ 131468 h 364102"/>
                <a:gd name="connsiteX227" fmla="*/ 178223 w 195490"/>
                <a:gd name="connsiteY227" fmla="*/ 128047 h 364102"/>
                <a:gd name="connsiteX228" fmla="*/ 179689 w 195490"/>
                <a:gd name="connsiteY228" fmla="*/ 125603 h 364102"/>
                <a:gd name="connsiteX229" fmla="*/ 181155 w 195490"/>
                <a:gd name="connsiteY229" fmla="*/ 125603 h 364102"/>
                <a:gd name="connsiteX230" fmla="*/ 183110 w 195490"/>
                <a:gd name="connsiteY230" fmla="*/ 122508 h 364102"/>
                <a:gd name="connsiteX231" fmla="*/ 181807 w 195490"/>
                <a:gd name="connsiteY231" fmla="*/ 126906 h 364102"/>
                <a:gd name="connsiteX232" fmla="*/ 180014 w 195490"/>
                <a:gd name="connsiteY232" fmla="*/ 130002 h 364102"/>
                <a:gd name="connsiteX233" fmla="*/ 177897 w 195490"/>
                <a:gd name="connsiteY233" fmla="*/ 134889 h 3641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</a:cxnLst>
              <a:rect l="l" t="t" r="r" b="b"/>
              <a:pathLst>
                <a:path w="195490" h="364102">
                  <a:moveTo>
                    <a:pt x="41542" y="362962"/>
                  </a:moveTo>
                  <a:lnTo>
                    <a:pt x="44800" y="360844"/>
                  </a:lnTo>
                  <a:lnTo>
                    <a:pt x="50176" y="361333"/>
                  </a:lnTo>
                  <a:lnTo>
                    <a:pt x="56204" y="357749"/>
                  </a:lnTo>
                  <a:lnTo>
                    <a:pt x="61091" y="352047"/>
                  </a:lnTo>
                  <a:lnTo>
                    <a:pt x="77056" y="350581"/>
                  </a:lnTo>
                  <a:lnTo>
                    <a:pt x="81943" y="351721"/>
                  </a:lnTo>
                  <a:lnTo>
                    <a:pt x="90252" y="348463"/>
                  </a:lnTo>
                  <a:lnTo>
                    <a:pt x="92532" y="343901"/>
                  </a:lnTo>
                  <a:lnTo>
                    <a:pt x="96605" y="343250"/>
                  </a:lnTo>
                  <a:lnTo>
                    <a:pt x="99375" y="335267"/>
                  </a:lnTo>
                  <a:lnTo>
                    <a:pt x="103447" y="328751"/>
                  </a:lnTo>
                  <a:lnTo>
                    <a:pt x="103447" y="324189"/>
                  </a:lnTo>
                  <a:cubicBezTo>
                    <a:pt x="103447" y="324189"/>
                    <a:pt x="108823" y="321094"/>
                    <a:pt x="108823" y="321094"/>
                  </a:cubicBezTo>
                  <a:lnTo>
                    <a:pt x="108334" y="313437"/>
                  </a:lnTo>
                  <a:lnTo>
                    <a:pt x="107031" y="312297"/>
                  </a:lnTo>
                  <a:lnTo>
                    <a:pt x="110615" y="309527"/>
                  </a:lnTo>
                  <a:lnTo>
                    <a:pt x="112896" y="301056"/>
                  </a:lnTo>
                  <a:lnTo>
                    <a:pt x="112245" y="299753"/>
                  </a:lnTo>
                  <a:lnTo>
                    <a:pt x="114036" y="299753"/>
                  </a:lnTo>
                  <a:lnTo>
                    <a:pt x="118923" y="292259"/>
                  </a:lnTo>
                  <a:lnTo>
                    <a:pt x="122508" y="274991"/>
                  </a:lnTo>
                  <a:lnTo>
                    <a:pt x="125277" y="265705"/>
                  </a:lnTo>
                  <a:lnTo>
                    <a:pt x="129187" y="261795"/>
                  </a:lnTo>
                  <a:lnTo>
                    <a:pt x="131468" y="251532"/>
                  </a:lnTo>
                  <a:lnTo>
                    <a:pt x="138473" y="239151"/>
                  </a:lnTo>
                  <a:lnTo>
                    <a:pt x="145152" y="218461"/>
                  </a:lnTo>
                  <a:lnTo>
                    <a:pt x="149877" y="211456"/>
                  </a:lnTo>
                  <a:lnTo>
                    <a:pt x="149877" y="202170"/>
                  </a:lnTo>
                  <a:lnTo>
                    <a:pt x="154927" y="192885"/>
                  </a:lnTo>
                  <a:lnTo>
                    <a:pt x="155741" y="189301"/>
                  </a:lnTo>
                  <a:lnTo>
                    <a:pt x="161606" y="180015"/>
                  </a:lnTo>
                  <a:lnTo>
                    <a:pt x="164538" y="165679"/>
                  </a:lnTo>
                  <a:lnTo>
                    <a:pt x="166982" y="155252"/>
                  </a:lnTo>
                  <a:lnTo>
                    <a:pt x="169263" y="152483"/>
                  </a:lnTo>
                  <a:lnTo>
                    <a:pt x="170566" y="144989"/>
                  </a:lnTo>
                  <a:lnTo>
                    <a:pt x="168285" y="141242"/>
                  </a:lnTo>
                  <a:lnTo>
                    <a:pt x="169588" y="134726"/>
                  </a:lnTo>
                  <a:lnTo>
                    <a:pt x="174964" y="127395"/>
                  </a:lnTo>
                  <a:lnTo>
                    <a:pt x="174313" y="123811"/>
                  </a:lnTo>
                  <a:lnTo>
                    <a:pt x="178060" y="119412"/>
                  </a:lnTo>
                  <a:lnTo>
                    <a:pt x="177245" y="113222"/>
                  </a:lnTo>
                  <a:lnTo>
                    <a:pt x="175127" y="111267"/>
                  </a:lnTo>
                  <a:lnTo>
                    <a:pt x="177408" y="106869"/>
                  </a:lnTo>
                  <a:lnTo>
                    <a:pt x="177082" y="100515"/>
                  </a:lnTo>
                  <a:lnTo>
                    <a:pt x="175127" y="99212"/>
                  </a:lnTo>
                  <a:lnTo>
                    <a:pt x="175127" y="93184"/>
                  </a:lnTo>
                  <a:cubicBezTo>
                    <a:pt x="175127" y="93184"/>
                    <a:pt x="178386" y="91555"/>
                    <a:pt x="178386" y="91555"/>
                  </a:cubicBezTo>
                  <a:lnTo>
                    <a:pt x="180829" y="93510"/>
                  </a:lnTo>
                  <a:lnTo>
                    <a:pt x="181970" y="98886"/>
                  </a:lnTo>
                  <a:lnTo>
                    <a:pt x="186368" y="104588"/>
                  </a:lnTo>
                  <a:lnTo>
                    <a:pt x="189626" y="105402"/>
                  </a:lnTo>
                  <a:lnTo>
                    <a:pt x="191418" y="102144"/>
                  </a:lnTo>
                  <a:lnTo>
                    <a:pt x="191744" y="97745"/>
                  </a:lnTo>
                  <a:lnTo>
                    <a:pt x="193047" y="96117"/>
                  </a:lnTo>
                  <a:lnTo>
                    <a:pt x="193699" y="91555"/>
                  </a:lnTo>
                  <a:lnTo>
                    <a:pt x="195491" y="89763"/>
                  </a:lnTo>
                  <a:lnTo>
                    <a:pt x="195165" y="84550"/>
                  </a:lnTo>
                  <a:lnTo>
                    <a:pt x="190115" y="77871"/>
                  </a:lnTo>
                  <a:lnTo>
                    <a:pt x="188812" y="73309"/>
                  </a:lnTo>
                  <a:lnTo>
                    <a:pt x="190278" y="71028"/>
                  </a:lnTo>
                  <a:lnTo>
                    <a:pt x="190278" y="65490"/>
                  </a:lnTo>
                  <a:lnTo>
                    <a:pt x="188649" y="58485"/>
                  </a:lnTo>
                  <a:lnTo>
                    <a:pt x="189789" y="55715"/>
                  </a:lnTo>
                  <a:lnTo>
                    <a:pt x="190441" y="42519"/>
                  </a:lnTo>
                  <a:lnTo>
                    <a:pt x="186531" y="37469"/>
                  </a:lnTo>
                  <a:lnTo>
                    <a:pt x="186042" y="26066"/>
                  </a:lnTo>
                  <a:lnTo>
                    <a:pt x="184087" y="22156"/>
                  </a:lnTo>
                  <a:lnTo>
                    <a:pt x="182132" y="22970"/>
                  </a:lnTo>
                  <a:lnTo>
                    <a:pt x="177734" y="17269"/>
                  </a:lnTo>
                  <a:lnTo>
                    <a:pt x="177082" y="12218"/>
                  </a:lnTo>
                  <a:lnTo>
                    <a:pt x="172684" y="10263"/>
                  </a:lnTo>
                  <a:lnTo>
                    <a:pt x="175127" y="5050"/>
                  </a:lnTo>
                  <a:lnTo>
                    <a:pt x="173336" y="0"/>
                  </a:lnTo>
                  <a:lnTo>
                    <a:pt x="166819" y="6028"/>
                  </a:lnTo>
                  <a:lnTo>
                    <a:pt x="168448" y="9449"/>
                  </a:lnTo>
                  <a:lnTo>
                    <a:pt x="164050" y="12381"/>
                  </a:lnTo>
                  <a:lnTo>
                    <a:pt x="159651" y="9449"/>
                  </a:lnTo>
                  <a:lnTo>
                    <a:pt x="156882" y="9449"/>
                  </a:lnTo>
                  <a:cubicBezTo>
                    <a:pt x="156882" y="9449"/>
                    <a:pt x="160954" y="15151"/>
                    <a:pt x="160954" y="15151"/>
                  </a:cubicBezTo>
                  <a:lnTo>
                    <a:pt x="160954" y="18409"/>
                  </a:lnTo>
                  <a:cubicBezTo>
                    <a:pt x="160954" y="18409"/>
                    <a:pt x="164212" y="21667"/>
                    <a:pt x="164212" y="21667"/>
                  </a:cubicBezTo>
                  <a:lnTo>
                    <a:pt x="164212" y="23133"/>
                  </a:lnTo>
                  <a:lnTo>
                    <a:pt x="159162" y="27858"/>
                  </a:lnTo>
                  <a:lnTo>
                    <a:pt x="159162" y="35514"/>
                  </a:lnTo>
                  <a:lnTo>
                    <a:pt x="156067" y="40564"/>
                  </a:lnTo>
                  <a:lnTo>
                    <a:pt x="152646" y="39424"/>
                  </a:lnTo>
                  <a:lnTo>
                    <a:pt x="148247" y="44311"/>
                  </a:lnTo>
                  <a:lnTo>
                    <a:pt x="147596" y="48547"/>
                  </a:lnTo>
                  <a:lnTo>
                    <a:pt x="144337" y="50991"/>
                  </a:lnTo>
                  <a:lnTo>
                    <a:pt x="141568" y="49199"/>
                  </a:lnTo>
                  <a:lnTo>
                    <a:pt x="141079" y="43660"/>
                  </a:lnTo>
                  <a:lnTo>
                    <a:pt x="138798" y="42519"/>
                  </a:lnTo>
                  <a:lnTo>
                    <a:pt x="135541" y="45778"/>
                  </a:lnTo>
                  <a:lnTo>
                    <a:pt x="135052" y="51805"/>
                  </a:lnTo>
                  <a:lnTo>
                    <a:pt x="140102" y="56855"/>
                  </a:lnTo>
                  <a:lnTo>
                    <a:pt x="141405" y="59136"/>
                  </a:lnTo>
                  <a:lnTo>
                    <a:pt x="139450" y="60928"/>
                  </a:lnTo>
                  <a:lnTo>
                    <a:pt x="136844" y="60114"/>
                  </a:lnTo>
                  <a:lnTo>
                    <a:pt x="131142" y="61254"/>
                  </a:lnTo>
                  <a:lnTo>
                    <a:pt x="132445" y="66141"/>
                  </a:lnTo>
                  <a:lnTo>
                    <a:pt x="137495" y="67607"/>
                  </a:lnTo>
                  <a:lnTo>
                    <a:pt x="138147" y="70703"/>
                  </a:lnTo>
                  <a:lnTo>
                    <a:pt x="135866" y="73472"/>
                  </a:lnTo>
                  <a:lnTo>
                    <a:pt x="133423" y="70703"/>
                  </a:lnTo>
                  <a:lnTo>
                    <a:pt x="129513" y="72169"/>
                  </a:lnTo>
                  <a:lnTo>
                    <a:pt x="128698" y="75101"/>
                  </a:lnTo>
                  <a:lnTo>
                    <a:pt x="121693" y="81129"/>
                  </a:lnTo>
                  <a:lnTo>
                    <a:pt x="121693" y="75590"/>
                  </a:lnTo>
                  <a:cubicBezTo>
                    <a:pt x="121693" y="75590"/>
                    <a:pt x="122671" y="74124"/>
                    <a:pt x="122671" y="74124"/>
                  </a:cubicBezTo>
                  <a:lnTo>
                    <a:pt x="120879" y="71028"/>
                  </a:lnTo>
                  <a:lnTo>
                    <a:pt x="116154" y="75590"/>
                  </a:lnTo>
                  <a:lnTo>
                    <a:pt x="119087" y="77219"/>
                  </a:lnTo>
                  <a:lnTo>
                    <a:pt x="117946" y="79500"/>
                  </a:lnTo>
                  <a:lnTo>
                    <a:pt x="111919" y="82921"/>
                  </a:lnTo>
                  <a:lnTo>
                    <a:pt x="114199" y="87808"/>
                  </a:lnTo>
                  <a:lnTo>
                    <a:pt x="117620" y="88949"/>
                  </a:lnTo>
                  <a:lnTo>
                    <a:pt x="117295" y="91392"/>
                  </a:lnTo>
                  <a:lnTo>
                    <a:pt x="114036" y="92207"/>
                  </a:lnTo>
                  <a:lnTo>
                    <a:pt x="109964" y="94976"/>
                  </a:lnTo>
                  <a:lnTo>
                    <a:pt x="109312" y="91718"/>
                  </a:lnTo>
                  <a:lnTo>
                    <a:pt x="106868" y="91229"/>
                  </a:lnTo>
                  <a:lnTo>
                    <a:pt x="109312" y="87156"/>
                  </a:lnTo>
                  <a:lnTo>
                    <a:pt x="107031" y="85527"/>
                  </a:lnTo>
                  <a:lnTo>
                    <a:pt x="97582" y="93510"/>
                  </a:lnTo>
                  <a:lnTo>
                    <a:pt x="96116" y="101004"/>
                  </a:lnTo>
                  <a:lnTo>
                    <a:pt x="97257" y="103936"/>
                  </a:lnTo>
                  <a:lnTo>
                    <a:pt x="95791" y="107194"/>
                  </a:lnTo>
                  <a:lnTo>
                    <a:pt x="92532" y="106054"/>
                  </a:lnTo>
                  <a:lnTo>
                    <a:pt x="90414" y="104262"/>
                  </a:lnTo>
                  <a:lnTo>
                    <a:pt x="90414" y="97583"/>
                  </a:lnTo>
                  <a:cubicBezTo>
                    <a:pt x="90414" y="97583"/>
                    <a:pt x="88134" y="97257"/>
                    <a:pt x="88134" y="97257"/>
                  </a:cubicBezTo>
                  <a:lnTo>
                    <a:pt x="82106" y="103447"/>
                  </a:lnTo>
                  <a:lnTo>
                    <a:pt x="75590" y="98886"/>
                  </a:lnTo>
                  <a:lnTo>
                    <a:pt x="74287" y="100841"/>
                  </a:lnTo>
                  <a:lnTo>
                    <a:pt x="72006" y="101167"/>
                  </a:lnTo>
                  <a:lnTo>
                    <a:pt x="72820" y="108335"/>
                  </a:lnTo>
                  <a:lnTo>
                    <a:pt x="70866" y="107846"/>
                  </a:lnTo>
                  <a:lnTo>
                    <a:pt x="69073" y="108498"/>
                  </a:lnTo>
                  <a:lnTo>
                    <a:pt x="69073" y="104588"/>
                  </a:lnTo>
                  <a:cubicBezTo>
                    <a:pt x="69073" y="104588"/>
                    <a:pt x="66467" y="103285"/>
                    <a:pt x="66467" y="103285"/>
                  </a:cubicBezTo>
                  <a:lnTo>
                    <a:pt x="63698" y="107357"/>
                  </a:lnTo>
                  <a:lnTo>
                    <a:pt x="61091" y="103285"/>
                  </a:lnTo>
                  <a:lnTo>
                    <a:pt x="50991" y="112570"/>
                  </a:lnTo>
                  <a:lnTo>
                    <a:pt x="48221" y="112896"/>
                  </a:lnTo>
                  <a:lnTo>
                    <a:pt x="46266" y="110941"/>
                  </a:lnTo>
                  <a:lnTo>
                    <a:pt x="41053" y="110941"/>
                  </a:lnTo>
                  <a:cubicBezTo>
                    <a:pt x="41053" y="110941"/>
                    <a:pt x="38772" y="114362"/>
                    <a:pt x="38772" y="114362"/>
                  </a:cubicBezTo>
                  <a:lnTo>
                    <a:pt x="39750" y="122345"/>
                  </a:lnTo>
                  <a:lnTo>
                    <a:pt x="32093" y="134074"/>
                  </a:lnTo>
                  <a:lnTo>
                    <a:pt x="32419" y="136355"/>
                  </a:lnTo>
                  <a:lnTo>
                    <a:pt x="25251" y="144012"/>
                  </a:lnTo>
                  <a:lnTo>
                    <a:pt x="25251" y="147922"/>
                  </a:lnTo>
                  <a:lnTo>
                    <a:pt x="29161" y="151180"/>
                  </a:lnTo>
                  <a:lnTo>
                    <a:pt x="25739" y="156067"/>
                  </a:lnTo>
                  <a:lnTo>
                    <a:pt x="28183" y="163398"/>
                  </a:lnTo>
                  <a:lnTo>
                    <a:pt x="27857" y="169588"/>
                  </a:lnTo>
                  <a:lnTo>
                    <a:pt x="34863" y="183110"/>
                  </a:lnTo>
                  <a:lnTo>
                    <a:pt x="34374" y="186857"/>
                  </a:lnTo>
                  <a:lnTo>
                    <a:pt x="38772" y="191744"/>
                  </a:lnTo>
                  <a:lnTo>
                    <a:pt x="38772" y="194025"/>
                  </a:lnTo>
                  <a:cubicBezTo>
                    <a:pt x="38772" y="194025"/>
                    <a:pt x="35352" y="197609"/>
                    <a:pt x="35352" y="197609"/>
                  </a:cubicBezTo>
                  <a:lnTo>
                    <a:pt x="36491" y="201030"/>
                  </a:lnTo>
                  <a:lnTo>
                    <a:pt x="34048" y="212760"/>
                  </a:lnTo>
                  <a:lnTo>
                    <a:pt x="28998" y="216018"/>
                  </a:lnTo>
                  <a:lnTo>
                    <a:pt x="27695" y="222697"/>
                  </a:lnTo>
                  <a:lnTo>
                    <a:pt x="24762" y="223349"/>
                  </a:lnTo>
                  <a:lnTo>
                    <a:pt x="23296" y="227747"/>
                  </a:lnTo>
                  <a:lnTo>
                    <a:pt x="18734" y="231494"/>
                  </a:lnTo>
                  <a:lnTo>
                    <a:pt x="18246" y="241106"/>
                  </a:lnTo>
                  <a:lnTo>
                    <a:pt x="15150" y="244527"/>
                  </a:lnTo>
                  <a:lnTo>
                    <a:pt x="7657" y="246319"/>
                  </a:lnTo>
                  <a:lnTo>
                    <a:pt x="5864" y="248762"/>
                  </a:lnTo>
                  <a:lnTo>
                    <a:pt x="6516" y="257071"/>
                  </a:lnTo>
                  <a:lnTo>
                    <a:pt x="977" y="262935"/>
                  </a:lnTo>
                  <a:lnTo>
                    <a:pt x="1629" y="269615"/>
                  </a:lnTo>
                  <a:lnTo>
                    <a:pt x="0" y="273687"/>
                  </a:lnTo>
                  <a:lnTo>
                    <a:pt x="1140" y="276783"/>
                  </a:lnTo>
                  <a:lnTo>
                    <a:pt x="1466" y="284928"/>
                  </a:lnTo>
                  <a:lnTo>
                    <a:pt x="7982" y="292911"/>
                  </a:lnTo>
                  <a:lnTo>
                    <a:pt x="7005" y="298776"/>
                  </a:lnTo>
                  <a:lnTo>
                    <a:pt x="8145" y="302522"/>
                  </a:lnTo>
                  <a:lnTo>
                    <a:pt x="11404" y="304477"/>
                  </a:lnTo>
                  <a:lnTo>
                    <a:pt x="13196" y="303989"/>
                  </a:lnTo>
                  <a:lnTo>
                    <a:pt x="11566" y="305618"/>
                  </a:lnTo>
                  <a:lnTo>
                    <a:pt x="6516" y="306921"/>
                  </a:lnTo>
                  <a:lnTo>
                    <a:pt x="6842" y="312297"/>
                  </a:lnTo>
                  <a:lnTo>
                    <a:pt x="7657" y="320605"/>
                  </a:lnTo>
                  <a:lnTo>
                    <a:pt x="6842" y="331357"/>
                  </a:lnTo>
                  <a:lnTo>
                    <a:pt x="8634" y="333475"/>
                  </a:lnTo>
                  <a:lnTo>
                    <a:pt x="8960" y="336896"/>
                  </a:lnTo>
                  <a:lnTo>
                    <a:pt x="11893" y="338688"/>
                  </a:lnTo>
                  <a:lnTo>
                    <a:pt x="15314" y="343901"/>
                  </a:lnTo>
                  <a:lnTo>
                    <a:pt x="18083" y="345368"/>
                  </a:lnTo>
                  <a:lnTo>
                    <a:pt x="20364" y="348789"/>
                  </a:lnTo>
                  <a:lnTo>
                    <a:pt x="23785" y="352698"/>
                  </a:lnTo>
                  <a:lnTo>
                    <a:pt x="27369" y="351395"/>
                  </a:lnTo>
                  <a:lnTo>
                    <a:pt x="28672" y="353187"/>
                  </a:lnTo>
                  <a:lnTo>
                    <a:pt x="32745" y="354165"/>
                  </a:lnTo>
                  <a:lnTo>
                    <a:pt x="37143" y="359867"/>
                  </a:lnTo>
                  <a:lnTo>
                    <a:pt x="40402" y="360518"/>
                  </a:lnTo>
                  <a:lnTo>
                    <a:pt x="40402" y="362799"/>
                  </a:lnTo>
                  <a:cubicBezTo>
                    <a:pt x="40402" y="362799"/>
                    <a:pt x="41868" y="364102"/>
                    <a:pt x="41868" y="364102"/>
                  </a:cubicBezTo>
                  <a:lnTo>
                    <a:pt x="41868" y="364102"/>
                  </a:lnTo>
                  <a:close/>
                  <a:moveTo>
                    <a:pt x="152972" y="25903"/>
                  </a:moveTo>
                  <a:lnTo>
                    <a:pt x="151831" y="23785"/>
                  </a:lnTo>
                  <a:lnTo>
                    <a:pt x="156230" y="19386"/>
                  </a:lnTo>
                  <a:lnTo>
                    <a:pt x="156230" y="21178"/>
                  </a:lnTo>
                  <a:cubicBezTo>
                    <a:pt x="156230" y="21178"/>
                    <a:pt x="152972" y="25740"/>
                    <a:pt x="152972" y="25740"/>
                  </a:cubicBezTo>
                  <a:lnTo>
                    <a:pt x="152972" y="25740"/>
                  </a:lnTo>
                  <a:close/>
                  <a:moveTo>
                    <a:pt x="151343" y="33885"/>
                  </a:moveTo>
                  <a:lnTo>
                    <a:pt x="151994" y="32419"/>
                  </a:lnTo>
                  <a:lnTo>
                    <a:pt x="153135" y="34537"/>
                  </a:lnTo>
                  <a:lnTo>
                    <a:pt x="151994" y="36003"/>
                  </a:lnTo>
                  <a:lnTo>
                    <a:pt x="151343" y="33885"/>
                  </a:lnTo>
                  <a:lnTo>
                    <a:pt x="151343" y="33885"/>
                  </a:lnTo>
                  <a:close/>
                  <a:moveTo>
                    <a:pt x="143034" y="32582"/>
                  </a:moveTo>
                  <a:lnTo>
                    <a:pt x="144012" y="31604"/>
                  </a:lnTo>
                  <a:lnTo>
                    <a:pt x="144826" y="32745"/>
                  </a:lnTo>
                  <a:lnTo>
                    <a:pt x="147596" y="34374"/>
                  </a:lnTo>
                  <a:lnTo>
                    <a:pt x="146618" y="39261"/>
                  </a:lnTo>
                  <a:lnTo>
                    <a:pt x="144012" y="36818"/>
                  </a:lnTo>
                  <a:lnTo>
                    <a:pt x="140591" y="36818"/>
                  </a:lnTo>
                  <a:cubicBezTo>
                    <a:pt x="140591" y="36818"/>
                    <a:pt x="143034" y="32745"/>
                    <a:pt x="143034" y="32745"/>
                  </a:cubicBezTo>
                  <a:lnTo>
                    <a:pt x="143034" y="32745"/>
                  </a:lnTo>
                  <a:close/>
                  <a:moveTo>
                    <a:pt x="178060" y="134889"/>
                  </a:moveTo>
                  <a:lnTo>
                    <a:pt x="178060" y="131468"/>
                  </a:lnTo>
                  <a:cubicBezTo>
                    <a:pt x="178060" y="131468"/>
                    <a:pt x="178223" y="128047"/>
                    <a:pt x="178223" y="128047"/>
                  </a:cubicBezTo>
                  <a:lnTo>
                    <a:pt x="179689" y="125603"/>
                  </a:lnTo>
                  <a:lnTo>
                    <a:pt x="181155" y="125603"/>
                  </a:lnTo>
                  <a:cubicBezTo>
                    <a:pt x="181155" y="125603"/>
                    <a:pt x="183110" y="122508"/>
                    <a:pt x="183110" y="122508"/>
                  </a:cubicBezTo>
                  <a:lnTo>
                    <a:pt x="181807" y="126906"/>
                  </a:lnTo>
                  <a:lnTo>
                    <a:pt x="180014" y="130002"/>
                  </a:lnTo>
                  <a:lnTo>
                    <a:pt x="177897" y="134889"/>
                  </a:lnTo>
                  <a:close/>
                </a:path>
              </a:pathLst>
            </a:custGeom>
            <a:solidFill>
              <a:schemeClr val="bg2"/>
            </a:solidFill>
            <a:ln w="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0" name="Forma livre: Forma 139">
              <a:extLst>
                <a:ext uri="{FF2B5EF4-FFF2-40B4-BE49-F238E27FC236}">
                  <a16:creationId xmlns:a16="http://schemas.microsoft.com/office/drawing/2014/main" id="{303BEA83-4F45-C99F-3923-CB3C01555C47}"/>
                </a:ext>
              </a:extLst>
            </p:cNvPr>
            <p:cNvSpPr/>
            <p:nvPr/>
          </p:nvSpPr>
          <p:spPr>
            <a:xfrm>
              <a:off x="6781492" y="5241717"/>
              <a:ext cx="276768" cy="444108"/>
            </a:xfrm>
            <a:custGeom>
              <a:avLst/>
              <a:gdLst>
                <a:gd name="connsiteX0" fmla="*/ 17594 w 267822"/>
                <a:gd name="connsiteY0" fmla="*/ 314903 h 429754"/>
                <a:gd name="connsiteX1" fmla="*/ 45777 w 267822"/>
                <a:gd name="connsiteY1" fmla="*/ 286720 h 429754"/>
                <a:gd name="connsiteX2" fmla="*/ 46103 w 267822"/>
                <a:gd name="connsiteY2" fmla="*/ 278086 h 429754"/>
                <a:gd name="connsiteX3" fmla="*/ 47407 w 267822"/>
                <a:gd name="connsiteY3" fmla="*/ 275154 h 429754"/>
                <a:gd name="connsiteX4" fmla="*/ 47569 w 267822"/>
                <a:gd name="connsiteY4" fmla="*/ 267334 h 429754"/>
                <a:gd name="connsiteX5" fmla="*/ 49525 w 267822"/>
                <a:gd name="connsiteY5" fmla="*/ 264239 h 429754"/>
                <a:gd name="connsiteX6" fmla="*/ 48058 w 267822"/>
                <a:gd name="connsiteY6" fmla="*/ 260003 h 429754"/>
                <a:gd name="connsiteX7" fmla="*/ 48710 w 267822"/>
                <a:gd name="connsiteY7" fmla="*/ 256582 h 429754"/>
                <a:gd name="connsiteX8" fmla="*/ 52294 w 267822"/>
                <a:gd name="connsiteY8" fmla="*/ 256093 h 429754"/>
                <a:gd name="connsiteX9" fmla="*/ 53923 w 267822"/>
                <a:gd name="connsiteY9" fmla="*/ 253161 h 429754"/>
                <a:gd name="connsiteX10" fmla="*/ 58810 w 267822"/>
                <a:gd name="connsiteY10" fmla="*/ 249414 h 429754"/>
                <a:gd name="connsiteX11" fmla="*/ 62231 w 267822"/>
                <a:gd name="connsiteY11" fmla="*/ 244689 h 429754"/>
                <a:gd name="connsiteX12" fmla="*/ 60928 w 267822"/>
                <a:gd name="connsiteY12" fmla="*/ 241105 h 429754"/>
                <a:gd name="connsiteX13" fmla="*/ 57996 w 267822"/>
                <a:gd name="connsiteY13" fmla="*/ 238662 h 429754"/>
                <a:gd name="connsiteX14" fmla="*/ 57996 w 267822"/>
                <a:gd name="connsiteY14" fmla="*/ 233612 h 429754"/>
                <a:gd name="connsiteX15" fmla="*/ 60928 w 267822"/>
                <a:gd name="connsiteY15" fmla="*/ 231820 h 429754"/>
                <a:gd name="connsiteX16" fmla="*/ 59625 w 267822"/>
                <a:gd name="connsiteY16" fmla="*/ 227584 h 429754"/>
                <a:gd name="connsiteX17" fmla="*/ 55389 w 267822"/>
                <a:gd name="connsiteY17" fmla="*/ 223837 h 429754"/>
                <a:gd name="connsiteX18" fmla="*/ 55389 w 267822"/>
                <a:gd name="connsiteY18" fmla="*/ 220742 h 429754"/>
                <a:gd name="connsiteX19" fmla="*/ 58484 w 267822"/>
                <a:gd name="connsiteY19" fmla="*/ 219601 h 429754"/>
                <a:gd name="connsiteX20" fmla="*/ 59136 w 267822"/>
                <a:gd name="connsiteY20" fmla="*/ 214551 h 429754"/>
                <a:gd name="connsiteX21" fmla="*/ 59136 w 267822"/>
                <a:gd name="connsiteY21" fmla="*/ 210153 h 429754"/>
                <a:gd name="connsiteX22" fmla="*/ 62883 w 267822"/>
                <a:gd name="connsiteY22" fmla="*/ 207383 h 429754"/>
                <a:gd name="connsiteX23" fmla="*/ 64838 w 267822"/>
                <a:gd name="connsiteY23" fmla="*/ 203473 h 429754"/>
                <a:gd name="connsiteX24" fmla="*/ 60602 w 267822"/>
                <a:gd name="connsiteY24" fmla="*/ 204125 h 429754"/>
                <a:gd name="connsiteX25" fmla="*/ 58484 w 267822"/>
                <a:gd name="connsiteY25" fmla="*/ 201844 h 429754"/>
                <a:gd name="connsiteX26" fmla="*/ 61254 w 267822"/>
                <a:gd name="connsiteY26" fmla="*/ 197446 h 429754"/>
                <a:gd name="connsiteX27" fmla="*/ 61905 w 267822"/>
                <a:gd name="connsiteY27" fmla="*/ 189626 h 429754"/>
                <a:gd name="connsiteX28" fmla="*/ 63860 w 267822"/>
                <a:gd name="connsiteY28" fmla="*/ 185879 h 429754"/>
                <a:gd name="connsiteX29" fmla="*/ 64023 w 267822"/>
                <a:gd name="connsiteY29" fmla="*/ 182784 h 429754"/>
                <a:gd name="connsiteX30" fmla="*/ 63534 w 267822"/>
                <a:gd name="connsiteY30" fmla="*/ 179689 h 429754"/>
                <a:gd name="connsiteX31" fmla="*/ 64186 w 267822"/>
                <a:gd name="connsiteY31" fmla="*/ 175942 h 429754"/>
                <a:gd name="connsiteX32" fmla="*/ 63534 w 267822"/>
                <a:gd name="connsiteY32" fmla="*/ 172358 h 429754"/>
                <a:gd name="connsiteX33" fmla="*/ 65815 w 267822"/>
                <a:gd name="connsiteY33" fmla="*/ 168448 h 429754"/>
                <a:gd name="connsiteX34" fmla="*/ 65489 w 267822"/>
                <a:gd name="connsiteY34" fmla="*/ 164049 h 429754"/>
                <a:gd name="connsiteX35" fmla="*/ 59787 w 267822"/>
                <a:gd name="connsiteY35" fmla="*/ 163723 h 429754"/>
                <a:gd name="connsiteX36" fmla="*/ 57018 w 267822"/>
                <a:gd name="connsiteY36" fmla="*/ 160303 h 429754"/>
                <a:gd name="connsiteX37" fmla="*/ 52457 w 267822"/>
                <a:gd name="connsiteY37" fmla="*/ 156719 h 429754"/>
                <a:gd name="connsiteX38" fmla="*/ 44474 w 267822"/>
                <a:gd name="connsiteY38" fmla="*/ 155741 h 429754"/>
                <a:gd name="connsiteX39" fmla="*/ 39912 w 267822"/>
                <a:gd name="connsiteY39" fmla="*/ 155252 h 429754"/>
                <a:gd name="connsiteX40" fmla="*/ 35514 w 267822"/>
                <a:gd name="connsiteY40" fmla="*/ 149062 h 429754"/>
                <a:gd name="connsiteX41" fmla="*/ 28346 w 267822"/>
                <a:gd name="connsiteY41" fmla="*/ 145152 h 429754"/>
                <a:gd name="connsiteX42" fmla="*/ 21341 w 267822"/>
                <a:gd name="connsiteY42" fmla="*/ 143360 h 429754"/>
                <a:gd name="connsiteX43" fmla="*/ 19712 w 267822"/>
                <a:gd name="connsiteY43" fmla="*/ 145966 h 429754"/>
                <a:gd name="connsiteX44" fmla="*/ 16617 w 267822"/>
                <a:gd name="connsiteY44" fmla="*/ 146455 h 429754"/>
                <a:gd name="connsiteX45" fmla="*/ 15476 w 267822"/>
                <a:gd name="connsiteY45" fmla="*/ 144012 h 429754"/>
                <a:gd name="connsiteX46" fmla="*/ 11729 w 267822"/>
                <a:gd name="connsiteY46" fmla="*/ 143197 h 429754"/>
                <a:gd name="connsiteX47" fmla="*/ 2607 w 267822"/>
                <a:gd name="connsiteY47" fmla="*/ 142871 h 429754"/>
                <a:gd name="connsiteX48" fmla="*/ 1955 w 267822"/>
                <a:gd name="connsiteY48" fmla="*/ 130979 h 429754"/>
                <a:gd name="connsiteX49" fmla="*/ 0 w 267822"/>
                <a:gd name="connsiteY49" fmla="*/ 123159 h 429754"/>
                <a:gd name="connsiteX50" fmla="*/ 2118 w 267822"/>
                <a:gd name="connsiteY50" fmla="*/ 119249 h 429754"/>
                <a:gd name="connsiteX51" fmla="*/ 12055 w 267822"/>
                <a:gd name="connsiteY51" fmla="*/ 114036 h 429754"/>
                <a:gd name="connsiteX52" fmla="*/ 17431 w 267822"/>
                <a:gd name="connsiteY52" fmla="*/ 114036 h 429754"/>
                <a:gd name="connsiteX53" fmla="*/ 43334 w 267822"/>
                <a:gd name="connsiteY53" fmla="*/ 103284 h 429754"/>
                <a:gd name="connsiteX54" fmla="*/ 48058 w 267822"/>
                <a:gd name="connsiteY54" fmla="*/ 102307 h 429754"/>
                <a:gd name="connsiteX55" fmla="*/ 63209 w 267822"/>
                <a:gd name="connsiteY55" fmla="*/ 96116 h 429754"/>
                <a:gd name="connsiteX56" fmla="*/ 70866 w 267822"/>
                <a:gd name="connsiteY56" fmla="*/ 93673 h 429754"/>
                <a:gd name="connsiteX57" fmla="*/ 77871 w 267822"/>
                <a:gd name="connsiteY57" fmla="*/ 92044 h 429754"/>
                <a:gd name="connsiteX58" fmla="*/ 79500 w 267822"/>
                <a:gd name="connsiteY58" fmla="*/ 94813 h 429754"/>
                <a:gd name="connsiteX59" fmla="*/ 80477 w 267822"/>
                <a:gd name="connsiteY59" fmla="*/ 97094 h 429754"/>
                <a:gd name="connsiteX60" fmla="*/ 82595 w 267822"/>
                <a:gd name="connsiteY60" fmla="*/ 99700 h 429754"/>
                <a:gd name="connsiteX61" fmla="*/ 83084 w 267822"/>
                <a:gd name="connsiteY61" fmla="*/ 102796 h 429754"/>
                <a:gd name="connsiteX62" fmla="*/ 87319 w 267822"/>
                <a:gd name="connsiteY62" fmla="*/ 105402 h 429754"/>
                <a:gd name="connsiteX63" fmla="*/ 89274 w 267822"/>
                <a:gd name="connsiteY63" fmla="*/ 104262 h 429754"/>
                <a:gd name="connsiteX64" fmla="*/ 92369 w 267822"/>
                <a:gd name="connsiteY64" fmla="*/ 104262 h 429754"/>
                <a:gd name="connsiteX65" fmla="*/ 94650 w 267822"/>
                <a:gd name="connsiteY65" fmla="*/ 101981 h 429754"/>
                <a:gd name="connsiteX66" fmla="*/ 100026 w 267822"/>
                <a:gd name="connsiteY66" fmla="*/ 101818 h 429754"/>
                <a:gd name="connsiteX67" fmla="*/ 106868 w 267822"/>
                <a:gd name="connsiteY67" fmla="*/ 103447 h 429754"/>
                <a:gd name="connsiteX68" fmla="*/ 109149 w 267822"/>
                <a:gd name="connsiteY68" fmla="*/ 107520 h 429754"/>
                <a:gd name="connsiteX69" fmla="*/ 109149 w 267822"/>
                <a:gd name="connsiteY69" fmla="*/ 114525 h 429754"/>
                <a:gd name="connsiteX70" fmla="*/ 108660 w 267822"/>
                <a:gd name="connsiteY70" fmla="*/ 120390 h 429754"/>
                <a:gd name="connsiteX71" fmla="*/ 103284 w 267822"/>
                <a:gd name="connsiteY71" fmla="*/ 126092 h 429754"/>
                <a:gd name="connsiteX72" fmla="*/ 101981 w 267822"/>
                <a:gd name="connsiteY72" fmla="*/ 131956 h 429754"/>
                <a:gd name="connsiteX73" fmla="*/ 98723 w 267822"/>
                <a:gd name="connsiteY73" fmla="*/ 136518 h 429754"/>
                <a:gd name="connsiteX74" fmla="*/ 99212 w 267822"/>
                <a:gd name="connsiteY74" fmla="*/ 140753 h 429754"/>
                <a:gd name="connsiteX75" fmla="*/ 101492 w 267822"/>
                <a:gd name="connsiteY75" fmla="*/ 146455 h 429754"/>
                <a:gd name="connsiteX76" fmla="*/ 101981 w 267822"/>
                <a:gd name="connsiteY76" fmla="*/ 150528 h 429754"/>
                <a:gd name="connsiteX77" fmla="*/ 106380 w 267822"/>
                <a:gd name="connsiteY77" fmla="*/ 155904 h 429754"/>
                <a:gd name="connsiteX78" fmla="*/ 110615 w 267822"/>
                <a:gd name="connsiteY78" fmla="*/ 159977 h 429754"/>
                <a:gd name="connsiteX79" fmla="*/ 114036 w 267822"/>
                <a:gd name="connsiteY79" fmla="*/ 161769 h 429754"/>
                <a:gd name="connsiteX80" fmla="*/ 116969 w 267822"/>
                <a:gd name="connsiteY80" fmla="*/ 164212 h 429754"/>
                <a:gd name="connsiteX81" fmla="*/ 120227 w 267822"/>
                <a:gd name="connsiteY81" fmla="*/ 168774 h 429754"/>
                <a:gd name="connsiteX82" fmla="*/ 118598 w 267822"/>
                <a:gd name="connsiteY82" fmla="*/ 172032 h 429754"/>
                <a:gd name="connsiteX83" fmla="*/ 119901 w 267822"/>
                <a:gd name="connsiteY83" fmla="*/ 175616 h 429754"/>
                <a:gd name="connsiteX84" fmla="*/ 124788 w 267822"/>
                <a:gd name="connsiteY84" fmla="*/ 174476 h 429754"/>
                <a:gd name="connsiteX85" fmla="*/ 125928 w 267822"/>
                <a:gd name="connsiteY85" fmla="*/ 169588 h 429754"/>
                <a:gd name="connsiteX86" fmla="*/ 124137 w 267822"/>
                <a:gd name="connsiteY86" fmla="*/ 163398 h 429754"/>
                <a:gd name="connsiteX87" fmla="*/ 126743 w 267822"/>
                <a:gd name="connsiteY87" fmla="*/ 158999 h 429754"/>
                <a:gd name="connsiteX88" fmla="*/ 127395 w 267822"/>
                <a:gd name="connsiteY88" fmla="*/ 154275 h 429754"/>
                <a:gd name="connsiteX89" fmla="*/ 130001 w 267822"/>
                <a:gd name="connsiteY89" fmla="*/ 147433 h 429754"/>
                <a:gd name="connsiteX90" fmla="*/ 135214 w 267822"/>
                <a:gd name="connsiteY90" fmla="*/ 145966 h 429754"/>
                <a:gd name="connsiteX91" fmla="*/ 138636 w 267822"/>
                <a:gd name="connsiteY91" fmla="*/ 143034 h 429754"/>
                <a:gd name="connsiteX92" fmla="*/ 140265 w 267822"/>
                <a:gd name="connsiteY92" fmla="*/ 138961 h 429754"/>
                <a:gd name="connsiteX93" fmla="*/ 140428 w 267822"/>
                <a:gd name="connsiteY93" fmla="*/ 129513 h 429754"/>
                <a:gd name="connsiteX94" fmla="*/ 137984 w 267822"/>
                <a:gd name="connsiteY94" fmla="*/ 126580 h 429754"/>
                <a:gd name="connsiteX95" fmla="*/ 138473 w 267822"/>
                <a:gd name="connsiteY95" fmla="*/ 124300 h 429754"/>
                <a:gd name="connsiteX96" fmla="*/ 137169 w 267822"/>
                <a:gd name="connsiteY96" fmla="*/ 122345 h 429754"/>
                <a:gd name="connsiteX97" fmla="*/ 138147 w 267822"/>
                <a:gd name="connsiteY97" fmla="*/ 120390 h 429754"/>
                <a:gd name="connsiteX98" fmla="*/ 140916 w 267822"/>
                <a:gd name="connsiteY98" fmla="*/ 120064 h 429754"/>
                <a:gd name="connsiteX99" fmla="*/ 142057 w 267822"/>
                <a:gd name="connsiteY99" fmla="*/ 117457 h 429754"/>
                <a:gd name="connsiteX100" fmla="*/ 145315 w 267822"/>
                <a:gd name="connsiteY100" fmla="*/ 116317 h 429754"/>
                <a:gd name="connsiteX101" fmla="*/ 145152 w 267822"/>
                <a:gd name="connsiteY101" fmla="*/ 113548 h 429754"/>
                <a:gd name="connsiteX102" fmla="*/ 143523 w 267822"/>
                <a:gd name="connsiteY102" fmla="*/ 109964 h 429754"/>
                <a:gd name="connsiteX103" fmla="*/ 141242 w 267822"/>
                <a:gd name="connsiteY103" fmla="*/ 103773 h 429754"/>
                <a:gd name="connsiteX104" fmla="*/ 135377 w 267822"/>
                <a:gd name="connsiteY104" fmla="*/ 95790 h 429754"/>
                <a:gd name="connsiteX105" fmla="*/ 133748 w 267822"/>
                <a:gd name="connsiteY105" fmla="*/ 91718 h 429754"/>
                <a:gd name="connsiteX106" fmla="*/ 124951 w 267822"/>
                <a:gd name="connsiteY106" fmla="*/ 83084 h 429754"/>
                <a:gd name="connsiteX107" fmla="*/ 122508 w 267822"/>
                <a:gd name="connsiteY107" fmla="*/ 82595 h 429754"/>
                <a:gd name="connsiteX108" fmla="*/ 120553 w 267822"/>
                <a:gd name="connsiteY108" fmla="*/ 79988 h 429754"/>
                <a:gd name="connsiteX109" fmla="*/ 116969 w 267822"/>
                <a:gd name="connsiteY109" fmla="*/ 76567 h 429754"/>
                <a:gd name="connsiteX110" fmla="*/ 108823 w 267822"/>
                <a:gd name="connsiteY110" fmla="*/ 72332 h 429754"/>
                <a:gd name="connsiteX111" fmla="*/ 104587 w 267822"/>
                <a:gd name="connsiteY111" fmla="*/ 48710 h 429754"/>
                <a:gd name="connsiteX112" fmla="*/ 110778 w 267822"/>
                <a:gd name="connsiteY112" fmla="*/ 25902 h 429754"/>
                <a:gd name="connsiteX113" fmla="*/ 135377 w 267822"/>
                <a:gd name="connsiteY113" fmla="*/ 25414 h 429754"/>
                <a:gd name="connsiteX114" fmla="*/ 139613 w 267822"/>
                <a:gd name="connsiteY114" fmla="*/ 24599 h 429754"/>
                <a:gd name="connsiteX115" fmla="*/ 140753 w 267822"/>
                <a:gd name="connsiteY115" fmla="*/ 22644 h 429754"/>
                <a:gd name="connsiteX116" fmla="*/ 144337 w 267822"/>
                <a:gd name="connsiteY116" fmla="*/ 21993 h 429754"/>
                <a:gd name="connsiteX117" fmla="*/ 144500 w 267822"/>
                <a:gd name="connsiteY117" fmla="*/ 24110 h 429754"/>
                <a:gd name="connsiteX118" fmla="*/ 147921 w 267822"/>
                <a:gd name="connsiteY118" fmla="*/ 25088 h 429754"/>
                <a:gd name="connsiteX119" fmla="*/ 151017 w 267822"/>
                <a:gd name="connsiteY119" fmla="*/ 27369 h 429754"/>
                <a:gd name="connsiteX120" fmla="*/ 154275 w 267822"/>
                <a:gd name="connsiteY120" fmla="*/ 27695 h 429754"/>
                <a:gd name="connsiteX121" fmla="*/ 156882 w 267822"/>
                <a:gd name="connsiteY121" fmla="*/ 30464 h 429754"/>
                <a:gd name="connsiteX122" fmla="*/ 156230 w 267822"/>
                <a:gd name="connsiteY122" fmla="*/ 32582 h 429754"/>
                <a:gd name="connsiteX123" fmla="*/ 163724 w 267822"/>
                <a:gd name="connsiteY123" fmla="*/ 30464 h 429754"/>
                <a:gd name="connsiteX124" fmla="*/ 169262 w 267822"/>
                <a:gd name="connsiteY124" fmla="*/ 26554 h 429754"/>
                <a:gd name="connsiteX125" fmla="*/ 172032 w 267822"/>
                <a:gd name="connsiteY125" fmla="*/ 25902 h 429754"/>
                <a:gd name="connsiteX126" fmla="*/ 173987 w 267822"/>
                <a:gd name="connsiteY126" fmla="*/ 24110 h 429754"/>
                <a:gd name="connsiteX127" fmla="*/ 176919 w 267822"/>
                <a:gd name="connsiteY127" fmla="*/ 25414 h 429754"/>
                <a:gd name="connsiteX128" fmla="*/ 177408 w 267822"/>
                <a:gd name="connsiteY128" fmla="*/ 27043 h 429754"/>
                <a:gd name="connsiteX129" fmla="*/ 180666 w 267822"/>
                <a:gd name="connsiteY129" fmla="*/ 27369 h 429754"/>
                <a:gd name="connsiteX130" fmla="*/ 183762 w 267822"/>
                <a:gd name="connsiteY130" fmla="*/ 29323 h 429754"/>
                <a:gd name="connsiteX131" fmla="*/ 189137 w 267822"/>
                <a:gd name="connsiteY131" fmla="*/ 27369 h 429754"/>
                <a:gd name="connsiteX132" fmla="*/ 196305 w 267822"/>
                <a:gd name="connsiteY132" fmla="*/ 26717 h 429754"/>
                <a:gd name="connsiteX133" fmla="*/ 198098 w 267822"/>
                <a:gd name="connsiteY133" fmla="*/ 22807 h 429754"/>
                <a:gd name="connsiteX134" fmla="*/ 196957 w 267822"/>
                <a:gd name="connsiteY134" fmla="*/ 19875 h 429754"/>
                <a:gd name="connsiteX135" fmla="*/ 198749 w 267822"/>
                <a:gd name="connsiteY135" fmla="*/ 18246 h 429754"/>
                <a:gd name="connsiteX136" fmla="*/ 203310 w 267822"/>
                <a:gd name="connsiteY136" fmla="*/ 19712 h 429754"/>
                <a:gd name="connsiteX137" fmla="*/ 206894 w 267822"/>
                <a:gd name="connsiteY137" fmla="*/ 19060 h 429754"/>
                <a:gd name="connsiteX138" fmla="*/ 210316 w 267822"/>
                <a:gd name="connsiteY138" fmla="*/ 21667 h 429754"/>
                <a:gd name="connsiteX139" fmla="*/ 214877 w 267822"/>
                <a:gd name="connsiteY139" fmla="*/ 21015 h 429754"/>
                <a:gd name="connsiteX140" fmla="*/ 217321 w 267822"/>
                <a:gd name="connsiteY140" fmla="*/ 19060 h 429754"/>
                <a:gd name="connsiteX141" fmla="*/ 226932 w 267822"/>
                <a:gd name="connsiteY141" fmla="*/ 16128 h 429754"/>
                <a:gd name="connsiteX142" fmla="*/ 230679 w 267822"/>
                <a:gd name="connsiteY142" fmla="*/ 17594 h 429754"/>
                <a:gd name="connsiteX143" fmla="*/ 234589 w 267822"/>
                <a:gd name="connsiteY143" fmla="*/ 16291 h 429754"/>
                <a:gd name="connsiteX144" fmla="*/ 236544 w 267822"/>
                <a:gd name="connsiteY144" fmla="*/ 14010 h 429754"/>
                <a:gd name="connsiteX145" fmla="*/ 242409 w 267822"/>
                <a:gd name="connsiteY145" fmla="*/ 13358 h 429754"/>
                <a:gd name="connsiteX146" fmla="*/ 245830 w 267822"/>
                <a:gd name="connsiteY146" fmla="*/ 9612 h 429754"/>
                <a:gd name="connsiteX147" fmla="*/ 251206 w 267822"/>
                <a:gd name="connsiteY147" fmla="*/ 8960 h 429754"/>
                <a:gd name="connsiteX148" fmla="*/ 255116 w 267822"/>
                <a:gd name="connsiteY148" fmla="*/ 5702 h 429754"/>
                <a:gd name="connsiteX149" fmla="*/ 258048 w 267822"/>
                <a:gd name="connsiteY149" fmla="*/ 1629 h 429754"/>
                <a:gd name="connsiteX150" fmla="*/ 262773 w 267822"/>
                <a:gd name="connsiteY150" fmla="*/ 2932 h 429754"/>
                <a:gd name="connsiteX151" fmla="*/ 265053 w 267822"/>
                <a:gd name="connsiteY151" fmla="*/ 489 h 429754"/>
                <a:gd name="connsiteX152" fmla="*/ 266030 w 267822"/>
                <a:gd name="connsiteY152" fmla="*/ 0 h 429754"/>
                <a:gd name="connsiteX153" fmla="*/ 267823 w 267822"/>
                <a:gd name="connsiteY153" fmla="*/ 1140 h 429754"/>
                <a:gd name="connsiteX154" fmla="*/ 266845 w 267822"/>
                <a:gd name="connsiteY154" fmla="*/ 7168 h 429754"/>
                <a:gd name="connsiteX155" fmla="*/ 265542 w 267822"/>
                <a:gd name="connsiteY155" fmla="*/ 10263 h 429754"/>
                <a:gd name="connsiteX156" fmla="*/ 266845 w 267822"/>
                <a:gd name="connsiteY156" fmla="*/ 11404 h 429754"/>
                <a:gd name="connsiteX157" fmla="*/ 261632 w 267822"/>
                <a:gd name="connsiteY157" fmla="*/ 18897 h 429754"/>
                <a:gd name="connsiteX158" fmla="*/ 260980 w 267822"/>
                <a:gd name="connsiteY158" fmla="*/ 21667 h 429754"/>
                <a:gd name="connsiteX159" fmla="*/ 261958 w 267822"/>
                <a:gd name="connsiteY159" fmla="*/ 23622 h 429754"/>
                <a:gd name="connsiteX160" fmla="*/ 262446 w 267822"/>
                <a:gd name="connsiteY160" fmla="*/ 25088 h 429754"/>
                <a:gd name="connsiteX161" fmla="*/ 260492 w 267822"/>
                <a:gd name="connsiteY161" fmla="*/ 27043 h 429754"/>
                <a:gd name="connsiteX162" fmla="*/ 261632 w 267822"/>
                <a:gd name="connsiteY162" fmla="*/ 36166 h 429754"/>
                <a:gd name="connsiteX163" fmla="*/ 264564 w 267822"/>
                <a:gd name="connsiteY163" fmla="*/ 41542 h 429754"/>
                <a:gd name="connsiteX164" fmla="*/ 262935 w 267822"/>
                <a:gd name="connsiteY164" fmla="*/ 43171 h 429754"/>
                <a:gd name="connsiteX165" fmla="*/ 262935 w 267822"/>
                <a:gd name="connsiteY165" fmla="*/ 49687 h 429754"/>
                <a:gd name="connsiteX166" fmla="*/ 264401 w 267822"/>
                <a:gd name="connsiteY166" fmla="*/ 51153 h 429754"/>
                <a:gd name="connsiteX167" fmla="*/ 264564 w 267822"/>
                <a:gd name="connsiteY167" fmla="*/ 57507 h 429754"/>
                <a:gd name="connsiteX168" fmla="*/ 261958 w 267822"/>
                <a:gd name="connsiteY168" fmla="*/ 60276 h 429754"/>
                <a:gd name="connsiteX169" fmla="*/ 262935 w 267822"/>
                <a:gd name="connsiteY169" fmla="*/ 66956 h 429754"/>
                <a:gd name="connsiteX170" fmla="*/ 260980 w 267822"/>
                <a:gd name="connsiteY170" fmla="*/ 79663 h 429754"/>
                <a:gd name="connsiteX171" fmla="*/ 260003 w 267822"/>
                <a:gd name="connsiteY171" fmla="*/ 79825 h 429754"/>
                <a:gd name="connsiteX172" fmla="*/ 261469 w 267822"/>
                <a:gd name="connsiteY172" fmla="*/ 81943 h 429754"/>
                <a:gd name="connsiteX173" fmla="*/ 261469 w 267822"/>
                <a:gd name="connsiteY173" fmla="*/ 93347 h 429754"/>
                <a:gd name="connsiteX174" fmla="*/ 257722 w 267822"/>
                <a:gd name="connsiteY174" fmla="*/ 93998 h 429754"/>
                <a:gd name="connsiteX175" fmla="*/ 257396 w 267822"/>
                <a:gd name="connsiteY175" fmla="*/ 95465 h 429754"/>
                <a:gd name="connsiteX176" fmla="*/ 258862 w 267822"/>
                <a:gd name="connsiteY176" fmla="*/ 97257 h 429754"/>
                <a:gd name="connsiteX177" fmla="*/ 263913 w 267822"/>
                <a:gd name="connsiteY177" fmla="*/ 97420 h 429754"/>
                <a:gd name="connsiteX178" fmla="*/ 265216 w 267822"/>
                <a:gd name="connsiteY178" fmla="*/ 98560 h 429754"/>
                <a:gd name="connsiteX179" fmla="*/ 266519 w 267822"/>
                <a:gd name="connsiteY179" fmla="*/ 108334 h 429754"/>
                <a:gd name="connsiteX180" fmla="*/ 263913 w 267822"/>
                <a:gd name="connsiteY180" fmla="*/ 112244 h 429754"/>
                <a:gd name="connsiteX181" fmla="*/ 261143 w 267822"/>
                <a:gd name="connsiteY181" fmla="*/ 113548 h 429754"/>
                <a:gd name="connsiteX182" fmla="*/ 262773 w 267822"/>
                <a:gd name="connsiteY182" fmla="*/ 115828 h 429754"/>
                <a:gd name="connsiteX183" fmla="*/ 261958 w 267822"/>
                <a:gd name="connsiteY183" fmla="*/ 118272 h 429754"/>
                <a:gd name="connsiteX184" fmla="*/ 258700 w 267822"/>
                <a:gd name="connsiteY184" fmla="*/ 118272 h 429754"/>
                <a:gd name="connsiteX185" fmla="*/ 255116 w 267822"/>
                <a:gd name="connsiteY185" fmla="*/ 122019 h 429754"/>
                <a:gd name="connsiteX186" fmla="*/ 255930 w 267822"/>
                <a:gd name="connsiteY186" fmla="*/ 123322 h 429754"/>
                <a:gd name="connsiteX187" fmla="*/ 257234 w 267822"/>
                <a:gd name="connsiteY187" fmla="*/ 122345 h 429754"/>
                <a:gd name="connsiteX188" fmla="*/ 260492 w 267822"/>
                <a:gd name="connsiteY188" fmla="*/ 122833 h 429754"/>
                <a:gd name="connsiteX189" fmla="*/ 258211 w 267822"/>
                <a:gd name="connsiteY189" fmla="*/ 126092 h 429754"/>
                <a:gd name="connsiteX190" fmla="*/ 257559 w 267822"/>
                <a:gd name="connsiteY190" fmla="*/ 131305 h 429754"/>
                <a:gd name="connsiteX191" fmla="*/ 254301 w 267822"/>
                <a:gd name="connsiteY191" fmla="*/ 131793 h 429754"/>
                <a:gd name="connsiteX192" fmla="*/ 248600 w 267822"/>
                <a:gd name="connsiteY192" fmla="*/ 138961 h 429754"/>
                <a:gd name="connsiteX193" fmla="*/ 248600 w 267822"/>
                <a:gd name="connsiteY193" fmla="*/ 142057 h 429754"/>
                <a:gd name="connsiteX194" fmla="*/ 243712 w 267822"/>
                <a:gd name="connsiteY194" fmla="*/ 149062 h 429754"/>
                <a:gd name="connsiteX195" fmla="*/ 239314 w 267822"/>
                <a:gd name="connsiteY195" fmla="*/ 149714 h 429754"/>
                <a:gd name="connsiteX196" fmla="*/ 239802 w 267822"/>
                <a:gd name="connsiteY196" fmla="*/ 154438 h 429754"/>
                <a:gd name="connsiteX197" fmla="*/ 222697 w 267822"/>
                <a:gd name="connsiteY197" fmla="*/ 163723 h 429754"/>
                <a:gd name="connsiteX198" fmla="*/ 220253 w 267822"/>
                <a:gd name="connsiteY198" fmla="*/ 164049 h 429754"/>
                <a:gd name="connsiteX199" fmla="*/ 218950 w 267822"/>
                <a:gd name="connsiteY199" fmla="*/ 167633 h 429754"/>
                <a:gd name="connsiteX200" fmla="*/ 202659 w 267822"/>
                <a:gd name="connsiteY200" fmla="*/ 176268 h 429754"/>
                <a:gd name="connsiteX201" fmla="*/ 196305 w 267822"/>
                <a:gd name="connsiteY201" fmla="*/ 175616 h 429754"/>
                <a:gd name="connsiteX202" fmla="*/ 195980 w 267822"/>
                <a:gd name="connsiteY202" fmla="*/ 176919 h 429754"/>
                <a:gd name="connsiteX203" fmla="*/ 188649 w 267822"/>
                <a:gd name="connsiteY203" fmla="*/ 180340 h 429754"/>
                <a:gd name="connsiteX204" fmla="*/ 178385 w 267822"/>
                <a:gd name="connsiteY204" fmla="*/ 187020 h 429754"/>
                <a:gd name="connsiteX205" fmla="*/ 175779 w 267822"/>
                <a:gd name="connsiteY205" fmla="*/ 185390 h 429754"/>
                <a:gd name="connsiteX206" fmla="*/ 175779 w 267822"/>
                <a:gd name="connsiteY206" fmla="*/ 188649 h 429754"/>
                <a:gd name="connsiteX207" fmla="*/ 169425 w 267822"/>
                <a:gd name="connsiteY207" fmla="*/ 196305 h 429754"/>
                <a:gd name="connsiteX208" fmla="*/ 166330 w 267822"/>
                <a:gd name="connsiteY208" fmla="*/ 197609 h 429754"/>
                <a:gd name="connsiteX209" fmla="*/ 164538 w 267822"/>
                <a:gd name="connsiteY209" fmla="*/ 193536 h 429754"/>
                <a:gd name="connsiteX210" fmla="*/ 163398 w 267822"/>
                <a:gd name="connsiteY210" fmla="*/ 200215 h 429754"/>
                <a:gd name="connsiteX211" fmla="*/ 160466 w 267822"/>
                <a:gd name="connsiteY211" fmla="*/ 201030 h 429754"/>
                <a:gd name="connsiteX212" fmla="*/ 159488 w 267822"/>
                <a:gd name="connsiteY212" fmla="*/ 204777 h 429754"/>
                <a:gd name="connsiteX213" fmla="*/ 149225 w 267822"/>
                <a:gd name="connsiteY213" fmla="*/ 210967 h 429754"/>
                <a:gd name="connsiteX214" fmla="*/ 149062 w 267822"/>
                <a:gd name="connsiteY214" fmla="*/ 213574 h 429754"/>
                <a:gd name="connsiteX215" fmla="*/ 146292 w 267822"/>
                <a:gd name="connsiteY215" fmla="*/ 215855 h 429754"/>
                <a:gd name="connsiteX216" fmla="*/ 143849 w 267822"/>
                <a:gd name="connsiteY216" fmla="*/ 216669 h 429754"/>
                <a:gd name="connsiteX217" fmla="*/ 144175 w 267822"/>
                <a:gd name="connsiteY217" fmla="*/ 220253 h 429754"/>
                <a:gd name="connsiteX218" fmla="*/ 138147 w 267822"/>
                <a:gd name="connsiteY218" fmla="*/ 220416 h 429754"/>
                <a:gd name="connsiteX219" fmla="*/ 124462 w 267822"/>
                <a:gd name="connsiteY219" fmla="*/ 229539 h 429754"/>
                <a:gd name="connsiteX220" fmla="*/ 125277 w 267822"/>
                <a:gd name="connsiteY220" fmla="*/ 235404 h 429754"/>
                <a:gd name="connsiteX221" fmla="*/ 120878 w 267822"/>
                <a:gd name="connsiteY221" fmla="*/ 238662 h 429754"/>
                <a:gd name="connsiteX222" fmla="*/ 114688 w 267822"/>
                <a:gd name="connsiteY222" fmla="*/ 238662 h 429754"/>
                <a:gd name="connsiteX223" fmla="*/ 112082 w 267822"/>
                <a:gd name="connsiteY223" fmla="*/ 241920 h 429754"/>
                <a:gd name="connsiteX224" fmla="*/ 107194 w 267822"/>
                <a:gd name="connsiteY224" fmla="*/ 238825 h 429754"/>
                <a:gd name="connsiteX225" fmla="*/ 104587 w 267822"/>
                <a:gd name="connsiteY225" fmla="*/ 239151 h 429754"/>
                <a:gd name="connsiteX226" fmla="*/ 104587 w 267822"/>
                <a:gd name="connsiteY226" fmla="*/ 241268 h 429754"/>
                <a:gd name="connsiteX227" fmla="*/ 107031 w 267822"/>
                <a:gd name="connsiteY227" fmla="*/ 244201 h 429754"/>
                <a:gd name="connsiteX228" fmla="*/ 106868 w 267822"/>
                <a:gd name="connsiteY228" fmla="*/ 248273 h 429754"/>
                <a:gd name="connsiteX229" fmla="*/ 104914 w 267822"/>
                <a:gd name="connsiteY229" fmla="*/ 250880 h 429754"/>
                <a:gd name="connsiteX230" fmla="*/ 105728 w 267822"/>
                <a:gd name="connsiteY230" fmla="*/ 254627 h 429754"/>
                <a:gd name="connsiteX231" fmla="*/ 102959 w 267822"/>
                <a:gd name="connsiteY231" fmla="*/ 258700 h 429754"/>
                <a:gd name="connsiteX232" fmla="*/ 110452 w 267822"/>
                <a:gd name="connsiteY232" fmla="*/ 268637 h 429754"/>
                <a:gd name="connsiteX233" fmla="*/ 110615 w 267822"/>
                <a:gd name="connsiteY233" fmla="*/ 272058 h 429754"/>
                <a:gd name="connsiteX234" fmla="*/ 107194 w 267822"/>
                <a:gd name="connsiteY234" fmla="*/ 274828 h 429754"/>
                <a:gd name="connsiteX235" fmla="*/ 109801 w 267822"/>
                <a:gd name="connsiteY235" fmla="*/ 275968 h 429754"/>
                <a:gd name="connsiteX236" fmla="*/ 112570 w 267822"/>
                <a:gd name="connsiteY236" fmla="*/ 280367 h 429754"/>
                <a:gd name="connsiteX237" fmla="*/ 112733 w 267822"/>
                <a:gd name="connsiteY237" fmla="*/ 286394 h 429754"/>
                <a:gd name="connsiteX238" fmla="*/ 115666 w 267822"/>
                <a:gd name="connsiteY238" fmla="*/ 292096 h 429754"/>
                <a:gd name="connsiteX239" fmla="*/ 114525 w 267822"/>
                <a:gd name="connsiteY239" fmla="*/ 308061 h 429754"/>
                <a:gd name="connsiteX240" fmla="*/ 115991 w 267822"/>
                <a:gd name="connsiteY240" fmla="*/ 313600 h 429754"/>
                <a:gd name="connsiteX241" fmla="*/ 117783 w 267822"/>
                <a:gd name="connsiteY241" fmla="*/ 313274 h 429754"/>
                <a:gd name="connsiteX242" fmla="*/ 117783 w 267822"/>
                <a:gd name="connsiteY242" fmla="*/ 308876 h 429754"/>
                <a:gd name="connsiteX243" fmla="*/ 120716 w 267822"/>
                <a:gd name="connsiteY243" fmla="*/ 302685 h 429754"/>
                <a:gd name="connsiteX244" fmla="*/ 121041 w 267822"/>
                <a:gd name="connsiteY244" fmla="*/ 308061 h 429754"/>
                <a:gd name="connsiteX245" fmla="*/ 122345 w 267822"/>
                <a:gd name="connsiteY245" fmla="*/ 307898 h 429754"/>
                <a:gd name="connsiteX246" fmla="*/ 122019 w 267822"/>
                <a:gd name="connsiteY246" fmla="*/ 314903 h 429754"/>
                <a:gd name="connsiteX247" fmla="*/ 119901 w 267822"/>
                <a:gd name="connsiteY247" fmla="*/ 317510 h 429754"/>
                <a:gd name="connsiteX248" fmla="*/ 119412 w 267822"/>
                <a:gd name="connsiteY248" fmla="*/ 324515 h 429754"/>
                <a:gd name="connsiteX249" fmla="*/ 120553 w 267822"/>
                <a:gd name="connsiteY249" fmla="*/ 325492 h 429754"/>
                <a:gd name="connsiteX250" fmla="*/ 117457 w 267822"/>
                <a:gd name="connsiteY250" fmla="*/ 333638 h 429754"/>
                <a:gd name="connsiteX251" fmla="*/ 117457 w 267822"/>
                <a:gd name="connsiteY251" fmla="*/ 337873 h 429754"/>
                <a:gd name="connsiteX252" fmla="*/ 115177 w 267822"/>
                <a:gd name="connsiteY252" fmla="*/ 340806 h 429754"/>
                <a:gd name="connsiteX253" fmla="*/ 114851 w 267822"/>
                <a:gd name="connsiteY253" fmla="*/ 346019 h 429754"/>
                <a:gd name="connsiteX254" fmla="*/ 113385 w 267822"/>
                <a:gd name="connsiteY254" fmla="*/ 346019 h 429754"/>
                <a:gd name="connsiteX255" fmla="*/ 114362 w 267822"/>
                <a:gd name="connsiteY255" fmla="*/ 350417 h 429754"/>
                <a:gd name="connsiteX256" fmla="*/ 118272 w 267822"/>
                <a:gd name="connsiteY256" fmla="*/ 348137 h 429754"/>
                <a:gd name="connsiteX257" fmla="*/ 119250 w 267822"/>
                <a:gd name="connsiteY257" fmla="*/ 351069 h 429754"/>
                <a:gd name="connsiteX258" fmla="*/ 115991 w 267822"/>
                <a:gd name="connsiteY258" fmla="*/ 355794 h 429754"/>
                <a:gd name="connsiteX259" fmla="*/ 114525 w 267822"/>
                <a:gd name="connsiteY259" fmla="*/ 362473 h 429754"/>
                <a:gd name="connsiteX260" fmla="*/ 105076 w 267822"/>
                <a:gd name="connsiteY260" fmla="*/ 372410 h 429754"/>
                <a:gd name="connsiteX261" fmla="*/ 88460 w 267822"/>
                <a:gd name="connsiteY261" fmla="*/ 379904 h 429754"/>
                <a:gd name="connsiteX262" fmla="*/ 65978 w 267822"/>
                <a:gd name="connsiteY262" fmla="*/ 384303 h 429754"/>
                <a:gd name="connsiteX263" fmla="*/ 57507 w 267822"/>
                <a:gd name="connsiteY263" fmla="*/ 392448 h 429754"/>
                <a:gd name="connsiteX264" fmla="*/ 50828 w 267822"/>
                <a:gd name="connsiteY264" fmla="*/ 394077 h 429754"/>
                <a:gd name="connsiteX265" fmla="*/ 49036 w 267822"/>
                <a:gd name="connsiteY265" fmla="*/ 397172 h 429754"/>
                <a:gd name="connsiteX266" fmla="*/ 45777 w 267822"/>
                <a:gd name="connsiteY266" fmla="*/ 399779 h 429754"/>
                <a:gd name="connsiteX267" fmla="*/ 43823 w 267822"/>
                <a:gd name="connsiteY267" fmla="*/ 406132 h 429754"/>
                <a:gd name="connsiteX268" fmla="*/ 41216 w 267822"/>
                <a:gd name="connsiteY268" fmla="*/ 405970 h 429754"/>
                <a:gd name="connsiteX269" fmla="*/ 38935 w 267822"/>
                <a:gd name="connsiteY269" fmla="*/ 407599 h 429754"/>
                <a:gd name="connsiteX270" fmla="*/ 39912 w 267822"/>
                <a:gd name="connsiteY270" fmla="*/ 409065 h 429754"/>
                <a:gd name="connsiteX271" fmla="*/ 42356 w 267822"/>
                <a:gd name="connsiteY271" fmla="*/ 413789 h 429754"/>
                <a:gd name="connsiteX272" fmla="*/ 42193 w 267822"/>
                <a:gd name="connsiteY272" fmla="*/ 418188 h 429754"/>
                <a:gd name="connsiteX273" fmla="*/ 44474 w 267822"/>
                <a:gd name="connsiteY273" fmla="*/ 415255 h 429754"/>
                <a:gd name="connsiteX274" fmla="*/ 48058 w 267822"/>
                <a:gd name="connsiteY274" fmla="*/ 416396 h 429754"/>
                <a:gd name="connsiteX275" fmla="*/ 49198 w 267822"/>
                <a:gd name="connsiteY275" fmla="*/ 412160 h 429754"/>
                <a:gd name="connsiteX276" fmla="*/ 50828 w 267822"/>
                <a:gd name="connsiteY276" fmla="*/ 411834 h 429754"/>
                <a:gd name="connsiteX277" fmla="*/ 51153 w 267822"/>
                <a:gd name="connsiteY277" fmla="*/ 414278 h 429754"/>
                <a:gd name="connsiteX278" fmla="*/ 50013 w 267822"/>
                <a:gd name="connsiteY278" fmla="*/ 421446 h 429754"/>
                <a:gd name="connsiteX279" fmla="*/ 47569 w 267822"/>
                <a:gd name="connsiteY279" fmla="*/ 425681 h 429754"/>
                <a:gd name="connsiteX280" fmla="*/ 47407 w 267822"/>
                <a:gd name="connsiteY280" fmla="*/ 429591 h 429754"/>
                <a:gd name="connsiteX281" fmla="*/ 42356 w 267822"/>
                <a:gd name="connsiteY281" fmla="*/ 429754 h 429754"/>
                <a:gd name="connsiteX282" fmla="*/ 33396 w 267822"/>
                <a:gd name="connsiteY282" fmla="*/ 427637 h 429754"/>
                <a:gd name="connsiteX283" fmla="*/ 30953 w 267822"/>
                <a:gd name="connsiteY283" fmla="*/ 428125 h 429754"/>
                <a:gd name="connsiteX284" fmla="*/ 30464 w 267822"/>
                <a:gd name="connsiteY284" fmla="*/ 426170 h 429754"/>
                <a:gd name="connsiteX285" fmla="*/ 31604 w 267822"/>
                <a:gd name="connsiteY285" fmla="*/ 421935 h 429754"/>
                <a:gd name="connsiteX286" fmla="*/ 32093 w 267822"/>
                <a:gd name="connsiteY286" fmla="*/ 418514 h 429754"/>
                <a:gd name="connsiteX287" fmla="*/ 32907 w 267822"/>
                <a:gd name="connsiteY287" fmla="*/ 416559 h 429754"/>
                <a:gd name="connsiteX288" fmla="*/ 30464 w 267822"/>
                <a:gd name="connsiteY288" fmla="*/ 413463 h 429754"/>
                <a:gd name="connsiteX289" fmla="*/ 27857 w 267822"/>
                <a:gd name="connsiteY289" fmla="*/ 410531 h 429754"/>
                <a:gd name="connsiteX290" fmla="*/ 25251 w 267822"/>
                <a:gd name="connsiteY290" fmla="*/ 409065 h 429754"/>
                <a:gd name="connsiteX291" fmla="*/ 24762 w 267822"/>
                <a:gd name="connsiteY291" fmla="*/ 408250 h 429754"/>
                <a:gd name="connsiteX292" fmla="*/ 24925 w 267822"/>
                <a:gd name="connsiteY292" fmla="*/ 399616 h 429754"/>
                <a:gd name="connsiteX293" fmla="*/ 25414 w 267822"/>
                <a:gd name="connsiteY293" fmla="*/ 392285 h 429754"/>
                <a:gd name="connsiteX294" fmla="*/ 27206 w 267822"/>
                <a:gd name="connsiteY294" fmla="*/ 384465 h 429754"/>
                <a:gd name="connsiteX295" fmla="*/ 27369 w 267822"/>
                <a:gd name="connsiteY295" fmla="*/ 364428 h 429754"/>
                <a:gd name="connsiteX296" fmla="*/ 25902 w 267822"/>
                <a:gd name="connsiteY296" fmla="*/ 358726 h 429754"/>
                <a:gd name="connsiteX297" fmla="*/ 24273 w 267822"/>
                <a:gd name="connsiteY297" fmla="*/ 353676 h 429754"/>
                <a:gd name="connsiteX298" fmla="*/ 23948 w 267822"/>
                <a:gd name="connsiteY298" fmla="*/ 348788 h 429754"/>
                <a:gd name="connsiteX299" fmla="*/ 24436 w 267822"/>
                <a:gd name="connsiteY299" fmla="*/ 347322 h 429754"/>
                <a:gd name="connsiteX300" fmla="*/ 24273 w 267822"/>
                <a:gd name="connsiteY300" fmla="*/ 335430 h 429754"/>
                <a:gd name="connsiteX301" fmla="*/ 21178 w 267822"/>
                <a:gd name="connsiteY301" fmla="*/ 329239 h 429754"/>
                <a:gd name="connsiteX302" fmla="*/ 19712 w 267822"/>
                <a:gd name="connsiteY302" fmla="*/ 322560 h 429754"/>
                <a:gd name="connsiteX303" fmla="*/ 18246 w 267822"/>
                <a:gd name="connsiteY303" fmla="*/ 315555 h 429754"/>
                <a:gd name="connsiteX304" fmla="*/ 17594 w 267822"/>
                <a:gd name="connsiteY304" fmla="*/ 314903 h 4297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</a:cxnLst>
              <a:rect l="l" t="t" r="r" b="b"/>
              <a:pathLst>
                <a:path w="267822" h="429754">
                  <a:moveTo>
                    <a:pt x="17594" y="314903"/>
                  </a:moveTo>
                  <a:lnTo>
                    <a:pt x="45777" y="286720"/>
                  </a:lnTo>
                  <a:lnTo>
                    <a:pt x="46103" y="278086"/>
                  </a:lnTo>
                  <a:lnTo>
                    <a:pt x="47407" y="275154"/>
                  </a:lnTo>
                  <a:lnTo>
                    <a:pt x="47569" y="267334"/>
                  </a:lnTo>
                  <a:lnTo>
                    <a:pt x="49525" y="264239"/>
                  </a:lnTo>
                  <a:lnTo>
                    <a:pt x="48058" y="260003"/>
                  </a:lnTo>
                  <a:lnTo>
                    <a:pt x="48710" y="256582"/>
                  </a:lnTo>
                  <a:lnTo>
                    <a:pt x="52294" y="256093"/>
                  </a:lnTo>
                  <a:lnTo>
                    <a:pt x="53923" y="253161"/>
                  </a:lnTo>
                  <a:lnTo>
                    <a:pt x="58810" y="249414"/>
                  </a:lnTo>
                  <a:lnTo>
                    <a:pt x="62231" y="244689"/>
                  </a:lnTo>
                  <a:lnTo>
                    <a:pt x="60928" y="241105"/>
                  </a:lnTo>
                  <a:lnTo>
                    <a:pt x="57996" y="238662"/>
                  </a:lnTo>
                  <a:lnTo>
                    <a:pt x="57996" y="233612"/>
                  </a:lnTo>
                  <a:lnTo>
                    <a:pt x="60928" y="231820"/>
                  </a:lnTo>
                  <a:lnTo>
                    <a:pt x="59625" y="227584"/>
                  </a:lnTo>
                  <a:lnTo>
                    <a:pt x="55389" y="223837"/>
                  </a:lnTo>
                  <a:lnTo>
                    <a:pt x="55389" y="220742"/>
                  </a:lnTo>
                  <a:lnTo>
                    <a:pt x="58484" y="219601"/>
                  </a:lnTo>
                  <a:lnTo>
                    <a:pt x="59136" y="214551"/>
                  </a:lnTo>
                  <a:lnTo>
                    <a:pt x="59136" y="210153"/>
                  </a:lnTo>
                  <a:lnTo>
                    <a:pt x="62883" y="207383"/>
                  </a:lnTo>
                  <a:lnTo>
                    <a:pt x="64838" y="203473"/>
                  </a:lnTo>
                  <a:lnTo>
                    <a:pt x="60602" y="204125"/>
                  </a:lnTo>
                  <a:lnTo>
                    <a:pt x="58484" y="201844"/>
                  </a:lnTo>
                  <a:lnTo>
                    <a:pt x="61254" y="197446"/>
                  </a:lnTo>
                  <a:lnTo>
                    <a:pt x="61905" y="189626"/>
                  </a:lnTo>
                  <a:lnTo>
                    <a:pt x="63860" y="185879"/>
                  </a:lnTo>
                  <a:lnTo>
                    <a:pt x="64023" y="182784"/>
                  </a:lnTo>
                  <a:lnTo>
                    <a:pt x="63534" y="179689"/>
                  </a:lnTo>
                  <a:lnTo>
                    <a:pt x="64186" y="175942"/>
                  </a:lnTo>
                  <a:lnTo>
                    <a:pt x="63534" y="172358"/>
                  </a:lnTo>
                  <a:lnTo>
                    <a:pt x="65815" y="168448"/>
                  </a:lnTo>
                  <a:lnTo>
                    <a:pt x="65489" y="164049"/>
                  </a:lnTo>
                  <a:lnTo>
                    <a:pt x="59787" y="163723"/>
                  </a:lnTo>
                  <a:lnTo>
                    <a:pt x="57018" y="160303"/>
                  </a:lnTo>
                  <a:lnTo>
                    <a:pt x="52457" y="156719"/>
                  </a:lnTo>
                  <a:lnTo>
                    <a:pt x="44474" y="155741"/>
                  </a:lnTo>
                  <a:lnTo>
                    <a:pt x="39912" y="155252"/>
                  </a:lnTo>
                  <a:lnTo>
                    <a:pt x="35514" y="149062"/>
                  </a:lnTo>
                  <a:lnTo>
                    <a:pt x="28346" y="145152"/>
                  </a:lnTo>
                  <a:lnTo>
                    <a:pt x="21341" y="143360"/>
                  </a:lnTo>
                  <a:lnTo>
                    <a:pt x="19712" y="145966"/>
                  </a:lnTo>
                  <a:lnTo>
                    <a:pt x="16617" y="146455"/>
                  </a:lnTo>
                  <a:lnTo>
                    <a:pt x="15476" y="144012"/>
                  </a:lnTo>
                  <a:lnTo>
                    <a:pt x="11729" y="143197"/>
                  </a:lnTo>
                  <a:lnTo>
                    <a:pt x="2607" y="142871"/>
                  </a:lnTo>
                  <a:lnTo>
                    <a:pt x="1955" y="130979"/>
                  </a:lnTo>
                  <a:lnTo>
                    <a:pt x="0" y="123159"/>
                  </a:lnTo>
                  <a:lnTo>
                    <a:pt x="2118" y="119249"/>
                  </a:lnTo>
                  <a:lnTo>
                    <a:pt x="12055" y="114036"/>
                  </a:lnTo>
                  <a:lnTo>
                    <a:pt x="17431" y="114036"/>
                  </a:lnTo>
                  <a:lnTo>
                    <a:pt x="43334" y="103284"/>
                  </a:lnTo>
                  <a:lnTo>
                    <a:pt x="48058" y="102307"/>
                  </a:lnTo>
                  <a:lnTo>
                    <a:pt x="63209" y="96116"/>
                  </a:lnTo>
                  <a:lnTo>
                    <a:pt x="70866" y="93673"/>
                  </a:lnTo>
                  <a:lnTo>
                    <a:pt x="77871" y="92044"/>
                  </a:lnTo>
                  <a:lnTo>
                    <a:pt x="79500" y="94813"/>
                  </a:lnTo>
                  <a:lnTo>
                    <a:pt x="80477" y="97094"/>
                  </a:lnTo>
                  <a:lnTo>
                    <a:pt x="82595" y="99700"/>
                  </a:lnTo>
                  <a:lnTo>
                    <a:pt x="83084" y="102796"/>
                  </a:lnTo>
                  <a:lnTo>
                    <a:pt x="87319" y="105402"/>
                  </a:lnTo>
                  <a:lnTo>
                    <a:pt x="89274" y="104262"/>
                  </a:lnTo>
                  <a:lnTo>
                    <a:pt x="92369" y="104262"/>
                  </a:lnTo>
                  <a:lnTo>
                    <a:pt x="94650" y="101981"/>
                  </a:lnTo>
                  <a:lnTo>
                    <a:pt x="100026" y="101818"/>
                  </a:lnTo>
                  <a:lnTo>
                    <a:pt x="106868" y="103447"/>
                  </a:lnTo>
                  <a:lnTo>
                    <a:pt x="109149" y="107520"/>
                  </a:lnTo>
                  <a:lnTo>
                    <a:pt x="109149" y="114525"/>
                  </a:lnTo>
                  <a:lnTo>
                    <a:pt x="108660" y="120390"/>
                  </a:lnTo>
                  <a:lnTo>
                    <a:pt x="103284" y="126092"/>
                  </a:lnTo>
                  <a:lnTo>
                    <a:pt x="101981" y="131956"/>
                  </a:lnTo>
                  <a:lnTo>
                    <a:pt x="98723" y="136518"/>
                  </a:lnTo>
                  <a:lnTo>
                    <a:pt x="99212" y="140753"/>
                  </a:lnTo>
                  <a:lnTo>
                    <a:pt x="101492" y="146455"/>
                  </a:lnTo>
                  <a:lnTo>
                    <a:pt x="101981" y="150528"/>
                  </a:lnTo>
                  <a:lnTo>
                    <a:pt x="106380" y="155904"/>
                  </a:lnTo>
                  <a:lnTo>
                    <a:pt x="110615" y="159977"/>
                  </a:lnTo>
                  <a:lnTo>
                    <a:pt x="114036" y="161769"/>
                  </a:lnTo>
                  <a:lnTo>
                    <a:pt x="116969" y="164212"/>
                  </a:lnTo>
                  <a:lnTo>
                    <a:pt x="120227" y="168774"/>
                  </a:lnTo>
                  <a:lnTo>
                    <a:pt x="118598" y="172032"/>
                  </a:lnTo>
                  <a:lnTo>
                    <a:pt x="119901" y="175616"/>
                  </a:lnTo>
                  <a:lnTo>
                    <a:pt x="124788" y="174476"/>
                  </a:lnTo>
                  <a:lnTo>
                    <a:pt x="125928" y="169588"/>
                  </a:lnTo>
                  <a:lnTo>
                    <a:pt x="124137" y="163398"/>
                  </a:lnTo>
                  <a:lnTo>
                    <a:pt x="126743" y="158999"/>
                  </a:lnTo>
                  <a:lnTo>
                    <a:pt x="127395" y="154275"/>
                  </a:lnTo>
                  <a:lnTo>
                    <a:pt x="130001" y="147433"/>
                  </a:lnTo>
                  <a:lnTo>
                    <a:pt x="135214" y="145966"/>
                  </a:lnTo>
                  <a:lnTo>
                    <a:pt x="138636" y="143034"/>
                  </a:lnTo>
                  <a:lnTo>
                    <a:pt x="140265" y="138961"/>
                  </a:lnTo>
                  <a:lnTo>
                    <a:pt x="140428" y="129513"/>
                  </a:lnTo>
                  <a:lnTo>
                    <a:pt x="137984" y="126580"/>
                  </a:lnTo>
                  <a:lnTo>
                    <a:pt x="138473" y="124300"/>
                  </a:lnTo>
                  <a:lnTo>
                    <a:pt x="137169" y="122345"/>
                  </a:lnTo>
                  <a:lnTo>
                    <a:pt x="138147" y="120390"/>
                  </a:lnTo>
                  <a:lnTo>
                    <a:pt x="140916" y="120064"/>
                  </a:lnTo>
                  <a:lnTo>
                    <a:pt x="142057" y="117457"/>
                  </a:lnTo>
                  <a:lnTo>
                    <a:pt x="145315" y="116317"/>
                  </a:lnTo>
                  <a:lnTo>
                    <a:pt x="145152" y="113548"/>
                  </a:lnTo>
                  <a:lnTo>
                    <a:pt x="143523" y="109964"/>
                  </a:lnTo>
                  <a:lnTo>
                    <a:pt x="141242" y="103773"/>
                  </a:lnTo>
                  <a:lnTo>
                    <a:pt x="135377" y="95790"/>
                  </a:lnTo>
                  <a:lnTo>
                    <a:pt x="133748" y="91718"/>
                  </a:lnTo>
                  <a:lnTo>
                    <a:pt x="124951" y="83084"/>
                  </a:lnTo>
                  <a:lnTo>
                    <a:pt x="122508" y="82595"/>
                  </a:lnTo>
                  <a:lnTo>
                    <a:pt x="120553" y="79988"/>
                  </a:lnTo>
                  <a:lnTo>
                    <a:pt x="116969" y="76567"/>
                  </a:lnTo>
                  <a:lnTo>
                    <a:pt x="108823" y="72332"/>
                  </a:lnTo>
                  <a:lnTo>
                    <a:pt x="104587" y="48710"/>
                  </a:lnTo>
                  <a:lnTo>
                    <a:pt x="110778" y="25902"/>
                  </a:lnTo>
                  <a:lnTo>
                    <a:pt x="135377" y="25414"/>
                  </a:lnTo>
                  <a:lnTo>
                    <a:pt x="139613" y="24599"/>
                  </a:lnTo>
                  <a:lnTo>
                    <a:pt x="140753" y="22644"/>
                  </a:lnTo>
                  <a:lnTo>
                    <a:pt x="144337" y="21993"/>
                  </a:lnTo>
                  <a:lnTo>
                    <a:pt x="144500" y="24110"/>
                  </a:lnTo>
                  <a:lnTo>
                    <a:pt x="147921" y="25088"/>
                  </a:lnTo>
                  <a:lnTo>
                    <a:pt x="151017" y="27369"/>
                  </a:lnTo>
                  <a:lnTo>
                    <a:pt x="154275" y="27695"/>
                  </a:lnTo>
                  <a:lnTo>
                    <a:pt x="156882" y="30464"/>
                  </a:lnTo>
                  <a:lnTo>
                    <a:pt x="156230" y="32582"/>
                  </a:lnTo>
                  <a:lnTo>
                    <a:pt x="163724" y="30464"/>
                  </a:lnTo>
                  <a:lnTo>
                    <a:pt x="169262" y="26554"/>
                  </a:lnTo>
                  <a:lnTo>
                    <a:pt x="172032" y="25902"/>
                  </a:lnTo>
                  <a:lnTo>
                    <a:pt x="173987" y="24110"/>
                  </a:lnTo>
                  <a:lnTo>
                    <a:pt x="176919" y="25414"/>
                  </a:lnTo>
                  <a:lnTo>
                    <a:pt x="177408" y="27043"/>
                  </a:lnTo>
                  <a:lnTo>
                    <a:pt x="180666" y="27369"/>
                  </a:lnTo>
                  <a:lnTo>
                    <a:pt x="183762" y="29323"/>
                  </a:lnTo>
                  <a:lnTo>
                    <a:pt x="189137" y="27369"/>
                  </a:lnTo>
                  <a:lnTo>
                    <a:pt x="196305" y="26717"/>
                  </a:lnTo>
                  <a:lnTo>
                    <a:pt x="198098" y="22807"/>
                  </a:lnTo>
                  <a:lnTo>
                    <a:pt x="196957" y="19875"/>
                  </a:lnTo>
                  <a:lnTo>
                    <a:pt x="198749" y="18246"/>
                  </a:lnTo>
                  <a:lnTo>
                    <a:pt x="203310" y="19712"/>
                  </a:lnTo>
                  <a:lnTo>
                    <a:pt x="206894" y="19060"/>
                  </a:lnTo>
                  <a:lnTo>
                    <a:pt x="210316" y="21667"/>
                  </a:lnTo>
                  <a:lnTo>
                    <a:pt x="214877" y="21015"/>
                  </a:lnTo>
                  <a:lnTo>
                    <a:pt x="217321" y="19060"/>
                  </a:lnTo>
                  <a:lnTo>
                    <a:pt x="226932" y="16128"/>
                  </a:lnTo>
                  <a:lnTo>
                    <a:pt x="230679" y="17594"/>
                  </a:lnTo>
                  <a:lnTo>
                    <a:pt x="234589" y="16291"/>
                  </a:lnTo>
                  <a:lnTo>
                    <a:pt x="236544" y="14010"/>
                  </a:lnTo>
                  <a:lnTo>
                    <a:pt x="242409" y="13358"/>
                  </a:lnTo>
                  <a:lnTo>
                    <a:pt x="245830" y="9612"/>
                  </a:lnTo>
                  <a:lnTo>
                    <a:pt x="251206" y="8960"/>
                  </a:lnTo>
                  <a:lnTo>
                    <a:pt x="255116" y="5702"/>
                  </a:lnTo>
                  <a:lnTo>
                    <a:pt x="258048" y="1629"/>
                  </a:lnTo>
                  <a:lnTo>
                    <a:pt x="262773" y="2932"/>
                  </a:lnTo>
                  <a:lnTo>
                    <a:pt x="265053" y="489"/>
                  </a:lnTo>
                  <a:lnTo>
                    <a:pt x="266030" y="0"/>
                  </a:lnTo>
                  <a:lnTo>
                    <a:pt x="267823" y="1140"/>
                  </a:lnTo>
                  <a:lnTo>
                    <a:pt x="266845" y="7168"/>
                  </a:lnTo>
                  <a:lnTo>
                    <a:pt x="265542" y="10263"/>
                  </a:lnTo>
                  <a:lnTo>
                    <a:pt x="266845" y="11404"/>
                  </a:lnTo>
                  <a:lnTo>
                    <a:pt x="261632" y="18897"/>
                  </a:lnTo>
                  <a:lnTo>
                    <a:pt x="260980" y="21667"/>
                  </a:lnTo>
                  <a:lnTo>
                    <a:pt x="261958" y="23622"/>
                  </a:lnTo>
                  <a:lnTo>
                    <a:pt x="262446" y="25088"/>
                  </a:lnTo>
                  <a:lnTo>
                    <a:pt x="260492" y="27043"/>
                  </a:lnTo>
                  <a:lnTo>
                    <a:pt x="261632" y="36166"/>
                  </a:lnTo>
                  <a:lnTo>
                    <a:pt x="264564" y="41542"/>
                  </a:lnTo>
                  <a:lnTo>
                    <a:pt x="262935" y="43171"/>
                  </a:lnTo>
                  <a:lnTo>
                    <a:pt x="262935" y="49687"/>
                  </a:lnTo>
                  <a:lnTo>
                    <a:pt x="264401" y="51153"/>
                  </a:lnTo>
                  <a:lnTo>
                    <a:pt x="264564" y="57507"/>
                  </a:lnTo>
                  <a:lnTo>
                    <a:pt x="261958" y="60276"/>
                  </a:lnTo>
                  <a:lnTo>
                    <a:pt x="262935" y="66956"/>
                  </a:lnTo>
                  <a:lnTo>
                    <a:pt x="260980" y="79663"/>
                  </a:lnTo>
                  <a:lnTo>
                    <a:pt x="260003" y="79825"/>
                  </a:lnTo>
                  <a:lnTo>
                    <a:pt x="261469" y="81943"/>
                  </a:lnTo>
                  <a:lnTo>
                    <a:pt x="261469" y="93347"/>
                  </a:lnTo>
                  <a:lnTo>
                    <a:pt x="257722" y="93998"/>
                  </a:lnTo>
                  <a:lnTo>
                    <a:pt x="257396" y="95465"/>
                  </a:lnTo>
                  <a:lnTo>
                    <a:pt x="258862" y="97257"/>
                  </a:lnTo>
                  <a:lnTo>
                    <a:pt x="263913" y="97420"/>
                  </a:lnTo>
                  <a:lnTo>
                    <a:pt x="265216" y="98560"/>
                  </a:lnTo>
                  <a:lnTo>
                    <a:pt x="266519" y="108334"/>
                  </a:lnTo>
                  <a:lnTo>
                    <a:pt x="263913" y="112244"/>
                  </a:lnTo>
                  <a:lnTo>
                    <a:pt x="261143" y="113548"/>
                  </a:lnTo>
                  <a:lnTo>
                    <a:pt x="262773" y="115828"/>
                  </a:lnTo>
                  <a:lnTo>
                    <a:pt x="261958" y="118272"/>
                  </a:lnTo>
                  <a:lnTo>
                    <a:pt x="258700" y="118272"/>
                  </a:lnTo>
                  <a:lnTo>
                    <a:pt x="255116" y="122019"/>
                  </a:lnTo>
                  <a:lnTo>
                    <a:pt x="255930" y="123322"/>
                  </a:lnTo>
                  <a:lnTo>
                    <a:pt x="257234" y="122345"/>
                  </a:lnTo>
                  <a:lnTo>
                    <a:pt x="260492" y="122833"/>
                  </a:lnTo>
                  <a:lnTo>
                    <a:pt x="258211" y="126092"/>
                  </a:lnTo>
                  <a:lnTo>
                    <a:pt x="257559" y="131305"/>
                  </a:lnTo>
                  <a:lnTo>
                    <a:pt x="254301" y="131793"/>
                  </a:lnTo>
                  <a:lnTo>
                    <a:pt x="248600" y="138961"/>
                  </a:lnTo>
                  <a:lnTo>
                    <a:pt x="248600" y="142057"/>
                  </a:lnTo>
                  <a:lnTo>
                    <a:pt x="243712" y="149062"/>
                  </a:lnTo>
                  <a:lnTo>
                    <a:pt x="239314" y="149714"/>
                  </a:lnTo>
                  <a:lnTo>
                    <a:pt x="239802" y="154438"/>
                  </a:lnTo>
                  <a:lnTo>
                    <a:pt x="222697" y="163723"/>
                  </a:lnTo>
                  <a:lnTo>
                    <a:pt x="220253" y="164049"/>
                  </a:lnTo>
                  <a:lnTo>
                    <a:pt x="218950" y="167633"/>
                  </a:lnTo>
                  <a:lnTo>
                    <a:pt x="202659" y="176268"/>
                  </a:lnTo>
                  <a:lnTo>
                    <a:pt x="196305" y="175616"/>
                  </a:lnTo>
                  <a:lnTo>
                    <a:pt x="195980" y="176919"/>
                  </a:lnTo>
                  <a:lnTo>
                    <a:pt x="188649" y="180340"/>
                  </a:lnTo>
                  <a:lnTo>
                    <a:pt x="178385" y="187020"/>
                  </a:lnTo>
                  <a:lnTo>
                    <a:pt x="175779" y="185390"/>
                  </a:lnTo>
                  <a:lnTo>
                    <a:pt x="175779" y="188649"/>
                  </a:lnTo>
                  <a:lnTo>
                    <a:pt x="169425" y="196305"/>
                  </a:lnTo>
                  <a:lnTo>
                    <a:pt x="166330" y="197609"/>
                  </a:lnTo>
                  <a:lnTo>
                    <a:pt x="164538" y="193536"/>
                  </a:lnTo>
                  <a:lnTo>
                    <a:pt x="163398" y="200215"/>
                  </a:lnTo>
                  <a:lnTo>
                    <a:pt x="160466" y="201030"/>
                  </a:lnTo>
                  <a:lnTo>
                    <a:pt x="159488" y="204777"/>
                  </a:lnTo>
                  <a:lnTo>
                    <a:pt x="149225" y="210967"/>
                  </a:lnTo>
                  <a:lnTo>
                    <a:pt x="149062" y="213574"/>
                  </a:lnTo>
                  <a:lnTo>
                    <a:pt x="146292" y="215855"/>
                  </a:lnTo>
                  <a:lnTo>
                    <a:pt x="143849" y="216669"/>
                  </a:lnTo>
                  <a:lnTo>
                    <a:pt x="144175" y="220253"/>
                  </a:lnTo>
                  <a:lnTo>
                    <a:pt x="138147" y="220416"/>
                  </a:lnTo>
                  <a:lnTo>
                    <a:pt x="124462" y="229539"/>
                  </a:lnTo>
                  <a:lnTo>
                    <a:pt x="125277" y="235404"/>
                  </a:lnTo>
                  <a:lnTo>
                    <a:pt x="120878" y="238662"/>
                  </a:lnTo>
                  <a:lnTo>
                    <a:pt x="114688" y="238662"/>
                  </a:lnTo>
                  <a:lnTo>
                    <a:pt x="112082" y="241920"/>
                  </a:lnTo>
                  <a:lnTo>
                    <a:pt x="107194" y="238825"/>
                  </a:lnTo>
                  <a:lnTo>
                    <a:pt x="104587" y="239151"/>
                  </a:lnTo>
                  <a:lnTo>
                    <a:pt x="104587" y="241268"/>
                  </a:lnTo>
                  <a:lnTo>
                    <a:pt x="107031" y="244201"/>
                  </a:lnTo>
                  <a:lnTo>
                    <a:pt x="106868" y="248273"/>
                  </a:lnTo>
                  <a:lnTo>
                    <a:pt x="104914" y="250880"/>
                  </a:lnTo>
                  <a:lnTo>
                    <a:pt x="105728" y="254627"/>
                  </a:lnTo>
                  <a:lnTo>
                    <a:pt x="102959" y="258700"/>
                  </a:lnTo>
                  <a:lnTo>
                    <a:pt x="110452" y="268637"/>
                  </a:lnTo>
                  <a:lnTo>
                    <a:pt x="110615" y="272058"/>
                  </a:lnTo>
                  <a:lnTo>
                    <a:pt x="107194" y="274828"/>
                  </a:lnTo>
                  <a:lnTo>
                    <a:pt x="109801" y="275968"/>
                  </a:lnTo>
                  <a:lnTo>
                    <a:pt x="112570" y="280367"/>
                  </a:lnTo>
                  <a:lnTo>
                    <a:pt x="112733" y="286394"/>
                  </a:lnTo>
                  <a:lnTo>
                    <a:pt x="115666" y="292096"/>
                  </a:lnTo>
                  <a:lnTo>
                    <a:pt x="114525" y="308061"/>
                  </a:lnTo>
                  <a:lnTo>
                    <a:pt x="115991" y="313600"/>
                  </a:lnTo>
                  <a:lnTo>
                    <a:pt x="117783" y="313274"/>
                  </a:lnTo>
                  <a:lnTo>
                    <a:pt x="117783" y="308876"/>
                  </a:lnTo>
                  <a:lnTo>
                    <a:pt x="120716" y="302685"/>
                  </a:lnTo>
                  <a:lnTo>
                    <a:pt x="121041" y="308061"/>
                  </a:lnTo>
                  <a:lnTo>
                    <a:pt x="122345" y="307898"/>
                  </a:lnTo>
                  <a:lnTo>
                    <a:pt x="122019" y="314903"/>
                  </a:lnTo>
                  <a:lnTo>
                    <a:pt x="119901" y="317510"/>
                  </a:lnTo>
                  <a:lnTo>
                    <a:pt x="119412" y="324515"/>
                  </a:lnTo>
                  <a:lnTo>
                    <a:pt x="120553" y="325492"/>
                  </a:lnTo>
                  <a:lnTo>
                    <a:pt x="117457" y="333638"/>
                  </a:lnTo>
                  <a:lnTo>
                    <a:pt x="117457" y="337873"/>
                  </a:lnTo>
                  <a:lnTo>
                    <a:pt x="115177" y="340806"/>
                  </a:lnTo>
                  <a:lnTo>
                    <a:pt x="114851" y="346019"/>
                  </a:lnTo>
                  <a:lnTo>
                    <a:pt x="113385" y="346019"/>
                  </a:lnTo>
                  <a:lnTo>
                    <a:pt x="114362" y="350417"/>
                  </a:lnTo>
                  <a:lnTo>
                    <a:pt x="118272" y="348137"/>
                  </a:lnTo>
                  <a:lnTo>
                    <a:pt x="119250" y="351069"/>
                  </a:lnTo>
                  <a:lnTo>
                    <a:pt x="115991" y="355794"/>
                  </a:lnTo>
                  <a:lnTo>
                    <a:pt x="114525" y="362473"/>
                  </a:lnTo>
                  <a:lnTo>
                    <a:pt x="105076" y="372410"/>
                  </a:lnTo>
                  <a:lnTo>
                    <a:pt x="88460" y="379904"/>
                  </a:lnTo>
                  <a:lnTo>
                    <a:pt x="65978" y="384303"/>
                  </a:lnTo>
                  <a:lnTo>
                    <a:pt x="57507" y="392448"/>
                  </a:lnTo>
                  <a:lnTo>
                    <a:pt x="50828" y="394077"/>
                  </a:lnTo>
                  <a:lnTo>
                    <a:pt x="49036" y="397172"/>
                  </a:lnTo>
                  <a:lnTo>
                    <a:pt x="45777" y="399779"/>
                  </a:lnTo>
                  <a:lnTo>
                    <a:pt x="43823" y="406132"/>
                  </a:lnTo>
                  <a:lnTo>
                    <a:pt x="41216" y="405970"/>
                  </a:lnTo>
                  <a:lnTo>
                    <a:pt x="38935" y="407599"/>
                  </a:lnTo>
                  <a:lnTo>
                    <a:pt x="39912" y="409065"/>
                  </a:lnTo>
                  <a:lnTo>
                    <a:pt x="42356" y="413789"/>
                  </a:lnTo>
                  <a:lnTo>
                    <a:pt x="42193" y="418188"/>
                  </a:lnTo>
                  <a:lnTo>
                    <a:pt x="44474" y="415255"/>
                  </a:lnTo>
                  <a:lnTo>
                    <a:pt x="48058" y="416396"/>
                  </a:lnTo>
                  <a:lnTo>
                    <a:pt x="49198" y="412160"/>
                  </a:lnTo>
                  <a:lnTo>
                    <a:pt x="50828" y="411834"/>
                  </a:lnTo>
                  <a:lnTo>
                    <a:pt x="51153" y="414278"/>
                  </a:lnTo>
                  <a:lnTo>
                    <a:pt x="50013" y="421446"/>
                  </a:lnTo>
                  <a:lnTo>
                    <a:pt x="47569" y="425681"/>
                  </a:lnTo>
                  <a:lnTo>
                    <a:pt x="47407" y="429591"/>
                  </a:lnTo>
                  <a:lnTo>
                    <a:pt x="42356" y="429754"/>
                  </a:lnTo>
                  <a:lnTo>
                    <a:pt x="33396" y="427637"/>
                  </a:lnTo>
                  <a:lnTo>
                    <a:pt x="30953" y="428125"/>
                  </a:lnTo>
                  <a:lnTo>
                    <a:pt x="30464" y="426170"/>
                  </a:lnTo>
                  <a:lnTo>
                    <a:pt x="31604" y="421935"/>
                  </a:lnTo>
                  <a:lnTo>
                    <a:pt x="32093" y="418514"/>
                  </a:lnTo>
                  <a:lnTo>
                    <a:pt x="32907" y="416559"/>
                  </a:lnTo>
                  <a:lnTo>
                    <a:pt x="30464" y="413463"/>
                  </a:lnTo>
                  <a:lnTo>
                    <a:pt x="27857" y="410531"/>
                  </a:lnTo>
                  <a:lnTo>
                    <a:pt x="25251" y="409065"/>
                  </a:lnTo>
                  <a:lnTo>
                    <a:pt x="24762" y="408250"/>
                  </a:lnTo>
                  <a:lnTo>
                    <a:pt x="24925" y="399616"/>
                  </a:lnTo>
                  <a:lnTo>
                    <a:pt x="25414" y="392285"/>
                  </a:lnTo>
                  <a:lnTo>
                    <a:pt x="27206" y="384465"/>
                  </a:lnTo>
                  <a:lnTo>
                    <a:pt x="27369" y="364428"/>
                  </a:lnTo>
                  <a:lnTo>
                    <a:pt x="25902" y="358726"/>
                  </a:lnTo>
                  <a:lnTo>
                    <a:pt x="24273" y="353676"/>
                  </a:lnTo>
                  <a:lnTo>
                    <a:pt x="23948" y="348788"/>
                  </a:lnTo>
                  <a:lnTo>
                    <a:pt x="24436" y="347322"/>
                  </a:lnTo>
                  <a:lnTo>
                    <a:pt x="24273" y="335430"/>
                  </a:lnTo>
                  <a:lnTo>
                    <a:pt x="21178" y="329239"/>
                  </a:lnTo>
                  <a:lnTo>
                    <a:pt x="19712" y="322560"/>
                  </a:lnTo>
                  <a:lnTo>
                    <a:pt x="18246" y="315555"/>
                  </a:lnTo>
                  <a:lnTo>
                    <a:pt x="17594" y="314903"/>
                  </a:lnTo>
                  <a:close/>
                </a:path>
              </a:pathLst>
            </a:custGeom>
            <a:solidFill>
              <a:schemeClr val="bg2"/>
            </a:solidFill>
            <a:ln w="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1" name="Forma livre: Forma 140">
              <a:extLst>
                <a:ext uri="{FF2B5EF4-FFF2-40B4-BE49-F238E27FC236}">
                  <a16:creationId xmlns:a16="http://schemas.microsoft.com/office/drawing/2014/main" id="{905CD459-78D7-1CB1-9DFB-EB6D0BF39679}"/>
                </a:ext>
              </a:extLst>
            </p:cNvPr>
            <p:cNvSpPr/>
            <p:nvPr/>
          </p:nvSpPr>
          <p:spPr>
            <a:xfrm>
              <a:off x="6777452" y="5654345"/>
              <a:ext cx="38047" cy="42424"/>
            </a:xfrm>
            <a:custGeom>
              <a:avLst/>
              <a:gdLst>
                <a:gd name="connsiteX0" fmla="*/ 28672 w 36817"/>
                <a:gd name="connsiteY0" fmla="*/ 8960 h 41053"/>
                <a:gd name="connsiteX1" fmla="*/ 29160 w 36817"/>
                <a:gd name="connsiteY1" fmla="*/ 9775 h 41053"/>
                <a:gd name="connsiteX2" fmla="*/ 31767 w 36817"/>
                <a:gd name="connsiteY2" fmla="*/ 11241 h 41053"/>
                <a:gd name="connsiteX3" fmla="*/ 34374 w 36817"/>
                <a:gd name="connsiteY3" fmla="*/ 14173 h 41053"/>
                <a:gd name="connsiteX4" fmla="*/ 36817 w 36817"/>
                <a:gd name="connsiteY4" fmla="*/ 17268 h 41053"/>
                <a:gd name="connsiteX5" fmla="*/ 36003 w 36817"/>
                <a:gd name="connsiteY5" fmla="*/ 19223 h 41053"/>
                <a:gd name="connsiteX6" fmla="*/ 35514 w 36817"/>
                <a:gd name="connsiteY6" fmla="*/ 22644 h 41053"/>
                <a:gd name="connsiteX7" fmla="*/ 34374 w 36817"/>
                <a:gd name="connsiteY7" fmla="*/ 26880 h 41053"/>
                <a:gd name="connsiteX8" fmla="*/ 34862 w 36817"/>
                <a:gd name="connsiteY8" fmla="*/ 28835 h 41053"/>
                <a:gd name="connsiteX9" fmla="*/ 33233 w 36817"/>
                <a:gd name="connsiteY9" fmla="*/ 29324 h 41053"/>
                <a:gd name="connsiteX10" fmla="*/ 30138 w 36817"/>
                <a:gd name="connsiteY10" fmla="*/ 31442 h 41053"/>
                <a:gd name="connsiteX11" fmla="*/ 30627 w 36817"/>
                <a:gd name="connsiteY11" fmla="*/ 35351 h 41053"/>
                <a:gd name="connsiteX12" fmla="*/ 29323 w 36817"/>
                <a:gd name="connsiteY12" fmla="*/ 39750 h 41053"/>
                <a:gd name="connsiteX13" fmla="*/ 25414 w 36817"/>
                <a:gd name="connsiteY13" fmla="*/ 41053 h 41053"/>
                <a:gd name="connsiteX14" fmla="*/ 15476 w 36817"/>
                <a:gd name="connsiteY14" fmla="*/ 40564 h 41053"/>
                <a:gd name="connsiteX15" fmla="*/ 7168 w 36817"/>
                <a:gd name="connsiteY15" fmla="*/ 36003 h 41053"/>
                <a:gd name="connsiteX16" fmla="*/ 4235 w 36817"/>
                <a:gd name="connsiteY16" fmla="*/ 30627 h 41053"/>
                <a:gd name="connsiteX17" fmla="*/ 1466 w 36817"/>
                <a:gd name="connsiteY17" fmla="*/ 28020 h 41053"/>
                <a:gd name="connsiteX18" fmla="*/ 0 w 36817"/>
                <a:gd name="connsiteY18" fmla="*/ 24925 h 41053"/>
                <a:gd name="connsiteX19" fmla="*/ 2117 w 36817"/>
                <a:gd name="connsiteY19" fmla="*/ 18898 h 41053"/>
                <a:gd name="connsiteX20" fmla="*/ 8471 w 36817"/>
                <a:gd name="connsiteY20" fmla="*/ 7168 h 41053"/>
                <a:gd name="connsiteX21" fmla="*/ 9612 w 36817"/>
                <a:gd name="connsiteY21" fmla="*/ 2281 h 41053"/>
                <a:gd name="connsiteX22" fmla="*/ 14010 w 36817"/>
                <a:gd name="connsiteY22" fmla="*/ 0 h 41053"/>
                <a:gd name="connsiteX23" fmla="*/ 20364 w 36817"/>
                <a:gd name="connsiteY23" fmla="*/ 3747 h 41053"/>
                <a:gd name="connsiteX24" fmla="*/ 24436 w 36817"/>
                <a:gd name="connsiteY24" fmla="*/ 7168 h 41053"/>
                <a:gd name="connsiteX25" fmla="*/ 28672 w 36817"/>
                <a:gd name="connsiteY25" fmla="*/ 9123 h 41053"/>
                <a:gd name="connsiteX26" fmla="*/ 28672 w 36817"/>
                <a:gd name="connsiteY26" fmla="*/ 8960 h 410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36817" h="41053">
                  <a:moveTo>
                    <a:pt x="28672" y="8960"/>
                  </a:moveTo>
                  <a:lnTo>
                    <a:pt x="29160" y="9775"/>
                  </a:lnTo>
                  <a:lnTo>
                    <a:pt x="31767" y="11241"/>
                  </a:lnTo>
                  <a:lnTo>
                    <a:pt x="34374" y="14173"/>
                  </a:lnTo>
                  <a:lnTo>
                    <a:pt x="36817" y="17268"/>
                  </a:lnTo>
                  <a:lnTo>
                    <a:pt x="36003" y="19223"/>
                  </a:lnTo>
                  <a:lnTo>
                    <a:pt x="35514" y="22644"/>
                  </a:lnTo>
                  <a:lnTo>
                    <a:pt x="34374" y="26880"/>
                  </a:lnTo>
                  <a:lnTo>
                    <a:pt x="34862" y="28835"/>
                  </a:lnTo>
                  <a:lnTo>
                    <a:pt x="33233" y="29324"/>
                  </a:lnTo>
                  <a:lnTo>
                    <a:pt x="30138" y="31442"/>
                  </a:lnTo>
                  <a:lnTo>
                    <a:pt x="30627" y="35351"/>
                  </a:lnTo>
                  <a:lnTo>
                    <a:pt x="29323" y="39750"/>
                  </a:lnTo>
                  <a:lnTo>
                    <a:pt x="25414" y="41053"/>
                  </a:lnTo>
                  <a:lnTo>
                    <a:pt x="15476" y="40564"/>
                  </a:lnTo>
                  <a:lnTo>
                    <a:pt x="7168" y="36003"/>
                  </a:lnTo>
                  <a:lnTo>
                    <a:pt x="4235" y="30627"/>
                  </a:lnTo>
                  <a:lnTo>
                    <a:pt x="1466" y="28020"/>
                  </a:lnTo>
                  <a:lnTo>
                    <a:pt x="0" y="24925"/>
                  </a:lnTo>
                  <a:lnTo>
                    <a:pt x="2117" y="18898"/>
                  </a:lnTo>
                  <a:lnTo>
                    <a:pt x="8471" y="7168"/>
                  </a:lnTo>
                  <a:lnTo>
                    <a:pt x="9612" y="2281"/>
                  </a:lnTo>
                  <a:lnTo>
                    <a:pt x="14010" y="0"/>
                  </a:lnTo>
                  <a:lnTo>
                    <a:pt x="20364" y="3747"/>
                  </a:lnTo>
                  <a:lnTo>
                    <a:pt x="24436" y="7168"/>
                  </a:lnTo>
                  <a:lnTo>
                    <a:pt x="28672" y="9123"/>
                  </a:lnTo>
                  <a:lnTo>
                    <a:pt x="28672" y="8960"/>
                  </a:lnTo>
                  <a:close/>
                </a:path>
              </a:pathLst>
            </a:custGeom>
            <a:solidFill>
              <a:schemeClr val="bg2"/>
            </a:solidFill>
            <a:ln w="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2" name="Forma livre: Forma 141">
              <a:extLst>
                <a:ext uri="{FF2B5EF4-FFF2-40B4-BE49-F238E27FC236}">
                  <a16:creationId xmlns:a16="http://schemas.microsoft.com/office/drawing/2014/main" id="{435323B2-600F-D210-973F-E911CF843772}"/>
                </a:ext>
              </a:extLst>
            </p:cNvPr>
            <p:cNvSpPr/>
            <p:nvPr/>
          </p:nvSpPr>
          <p:spPr>
            <a:xfrm>
              <a:off x="6401693" y="5555860"/>
              <a:ext cx="428957" cy="364647"/>
            </a:xfrm>
            <a:custGeom>
              <a:avLst/>
              <a:gdLst>
                <a:gd name="connsiteX0" fmla="*/ 0 w 415092"/>
                <a:gd name="connsiteY0" fmla="*/ 174476 h 352861"/>
                <a:gd name="connsiteX1" fmla="*/ 3747 w 415092"/>
                <a:gd name="connsiteY1" fmla="*/ 172358 h 352861"/>
                <a:gd name="connsiteX2" fmla="*/ 9123 w 415092"/>
                <a:gd name="connsiteY2" fmla="*/ 171218 h 352861"/>
                <a:gd name="connsiteX3" fmla="*/ 9123 w 415092"/>
                <a:gd name="connsiteY3" fmla="*/ 168122 h 352861"/>
                <a:gd name="connsiteX4" fmla="*/ 7494 w 415092"/>
                <a:gd name="connsiteY4" fmla="*/ 166656 h 352861"/>
                <a:gd name="connsiteX5" fmla="*/ 10100 w 415092"/>
                <a:gd name="connsiteY5" fmla="*/ 162095 h 352861"/>
                <a:gd name="connsiteX6" fmla="*/ 16291 w 415092"/>
                <a:gd name="connsiteY6" fmla="*/ 159651 h 352861"/>
                <a:gd name="connsiteX7" fmla="*/ 19223 w 415092"/>
                <a:gd name="connsiteY7" fmla="*/ 165027 h 352861"/>
                <a:gd name="connsiteX8" fmla="*/ 24273 w 415092"/>
                <a:gd name="connsiteY8" fmla="*/ 165027 h 352861"/>
                <a:gd name="connsiteX9" fmla="*/ 21993 w 415092"/>
                <a:gd name="connsiteY9" fmla="*/ 170729 h 352861"/>
                <a:gd name="connsiteX10" fmla="*/ 25739 w 415092"/>
                <a:gd name="connsiteY10" fmla="*/ 178223 h 352861"/>
                <a:gd name="connsiteX11" fmla="*/ 34374 w 415092"/>
                <a:gd name="connsiteY11" fmla="*/ 180015 h 352861"/>
                <a:gd name="connsiteX12" fmla="*/ 39912 w 415092"/>
                <a:gd name="connsiteY12" fmla="*/ 182947 h 352861"/>
                <a:gd name="connsiteX13" fmla="*/ 43985 w 415092"/>
                <a:gd name="connsiteY13" fmla="*/ 181970 h 352861"/>
                <a:gd name="connsiteX14" fmla="*/ 46755 w 415092"/>
                <a:gd name="connsiteY14" fmla="*/ 183110 h 352861"/>
                <a:gd name="connsiteX15" fmla="*/ 51153 w 415092"/>
                <a:gd name="connsiteY15" fmla="*/ 183925 h 352861"/>
                <a:gd name="connsiteX16" fmla="*/ 53108 w 415092"/>
                <a:gd name="connsiteY16" fmla="*/ 181970 h 352861"/>
                <a:gd name="connsiteX17" fmla="*/ 57018 w 415092"/>
                <a:gd name="connsiteY17" fmla="*/ 181970 h 352861"/>
                <a:gd name="connsiteX18" fmla="*/ 58810 w 415092"/>
                <a:gd name="connsiteY18" fmla="*/ 185391 h 352861"/>
                <a:gd name="connsiteX19" fmla="*/ 62557 w 415092"/>
                <a:gd name="connsiteY19" fmla="*/ 184902 h 352861"/>
                <a:gd name="connsiteX20" fmla="*/ 65652 w 415092"/>
                <a:gd name="connsiteY20" fmla="*/ 185717 h 352861"/>
                <a:gd name="connsiteX21" fmla="*/ 65652 w 415092"/>
                <a:gd name="connsiteY21" fmla="*/ 180341 h 352861"/>
                <a:gd name="connsiteX22" fmla="*/ 68096 w 415092"/>
                <a:gd name="connsiteY22" fmla="*/ 178060 h 352861"/>
                <a:gd name="connsiteX23" fmla="*/ 71191 w 415092"/>
                <a:gd name="connsiteY23" fmla="*/ 176919 h 352861"/>
                <a:gd name="connsiteX24" fmla="*/ 73635 w 415092"/>
                <a:gd name="connsiteY24" fmla="*/ 171869 h 352861"/>
                <a:gd name="connsiteX25" fmla="*/ 80477 w 415092"/>
                <a:gd name="connsiteY25" fmla="*/ 168448 h 352861"/>
                <a:gd name="connsiteX26" fmla="*/ 88623 w 415092"/>
                <a:gd name="connsiteY26" fmla="*/ 168937 h 352861"/>
                <a:gd name="connsiteX27" fmla="*/ 91229 w 415092"/>
                <a:gd name="connsiteY27" fmla="*/ 168937 h 352861"/>
                <a:gd name="connsiteX28" fmla="*/ 94650 w 415092"/>
                <a:gd name="connsiteY28" fmla="*/ 76242 h 352861"/>
                <a:gd name="connsiteX29" fmla="*/ 103121 w 415092"/>
                <a:gd name="connsiteY29" fmla="*/ 82432 h 352861"/>
                <a:gd name="connsiteX30" fmla="*/ 105728 w 415092"/>
                <a:gd name="connsiteY30" fmla="*/ 89437 h 352861"/>
                <a:gd name="connsiteX31" fmla="*/ 112407 w 415092"/>
                <a:gd name="connsiteY31" fmla="*/ 103773 h 352861"/>
                <a:gd name="connsiteX32" fmla="*/ 112407 w 415092"/>
                <a:gd name="connsiteY32" fmla="*/ 110778 h 352861"/>
                <a:gd name="connsiteX33" fmla="*/ 108498 w 415092"/>
                <a:gd name="connsiteY33" fmla="*/ 118924 h 352861"/>
                <a:gd name="connsiteX34" fmla="*/ 108498 w 415092"/>
                <a:gd name="connsiteY34" fmla="*/ 123811 h 352861"/>
                <a:gd name="connsiteX35" fmla="*/ 115177 w 415092"/>
                <a:gd name="connsiteY35" fmla="*/ 122834 h 352861"/>
                <a:gd name="connsiteX36" fmla="*/ 122019 w 415092"/>
                <a:gd name="connsiteY36" fmla="*/ 124137 h 352861"/>
                <a:gd name="connsiteX37" fmla="*/ 126092 w 415092"/>
                <a:gd name="connsiteY37" fmla="*/ 122345 h 352861"/>
                <a:gd name="connsiteX38" fmla="*/ 132119 w 415092"/>
                <a:gd name="connsiteY38" fmla="*/ 123322 h 352861"/>
                <a:gd name="connsiteX39" fmla="*/ 136192 w 415092"/>
                <a:gd name="connsiteY39" fmla="*/ 120553 h 352861"/>
                <a:gd name="connsiteX40" fmla="*/ 141568 w 415092"/>
                <a:gd name="connsiteY40" fmla="*/ 119250 h 352861"/>
                <a:gd name="connsiteX41" fmla="*/ 146618 w 415092"/>
                <a:gd name="connsiteY41" fmla="*/ 115340 h 352861"/>
                <a:gd name="connsiteX42" fmla="*/ 148410 w 415092"/>
                <a:gd name="connsiteY42" fmla="*/ 112244 h 352861"/>
                <a:gd name="connsiteX43" fmla="*/ 156882 w 415092"/>
                <a:gd name="connsiteY43" fmla="*/ 108986 h 352861"/>
                <a:gd name="connsiteX44" fmla="*/ 161443 w 415092"/>
                <a:gd name="connsiteY44" fmla="*/ 104099 h 352861"/>
                <a:gd name="connsiteX45" fmla="*/ 165516 w 415092"/>
                <a:gd name="connsiteY45" fmla="*/ 93999 h 352861"/>
                <a:gd name="connsiteX46" fmla="*/ 172358 w 415092"/>
                <a:gd name="connsiteY46" fmla="*/ 87971 h 352861"/>
                <a:gd name="connsiteX47" fmla="*/ 178548 w 415092"/>
                <a:gd name="connsiteY47" fmla="*/ 87156 h 352861"/>
                <a:gd name="connsiteX48" fmla="*/ 187182 w 415092"/>
                <a:gd name="connsiteY48" fmla="*/ 88460 h 352861"/>
                <a:gd name="connsiteX49" fmla="*/ 189789 w 415092"/>
                <a:gd name="connsiteY49" fmla="*/ 91718 h 352861"/>
                <a:gd name="connsiteX50" fmla="*/ 192721 w 415092"/>
                <a:gd name="connsiteY50" fmla="*/ 91718 h 352861"/>
                <a:gd name="connsiteX51" fmla="*/ 202170 w 415092"/>
                <a:gd name="connsiteY51" fmla="*/ 97257 h 352861"/>
                <a:gd name="connsiteX52" fmla="*/ 206243 w 415092"/>
                <a:gd name="connsiteY52" fmla="*/ 96605 h 352861"/>
                <a:gd name="connsiteX53" fmla="*/ 210641 w 415092"/>
                <a:gd name="connsiteY53" fmla="*/ 98071 h 352861"/>
                <a:gd name="connsiteX54" fmla="*/ 216017 w 415092"/>
                <a:gd name="connsiteY54" fmla="*/ 96768 h 352861"/>
                <a:gd name="connsiteX55" fmla="*/ 222045 w 415092"/>
                <a:gd name="connsiteY55" fmla="*/ 96768 h 352861"/>
                <a:gd name="connsiteX56" fmla="*/ 226118 w 415092"/>
                <a:gd name="connsiteY56" fmla="*/ 96279 h 352861"/>
                <a:gd name="connsiteX57" fmla="*/ 228073 w 415092"/>
                <a:gd name="connsiteY57" fmla="*/ 98886 h 352861"/>
                <a:gd name="connsiteX58" fmla="*/ 231168 w 415092"/>
                <a:gd name="connsiteY58" fmla="*/ 100189 h 352861"/>
                <a:gd name="connsiteX59" fmla="*/ 236870 w 415092"/>
                <a:gd name="connsiteY59" fmla="*/ 96442 h 352861"/>
                <a:gd name="connsiteX60" fmla="*/ 235403 w 415092"/>
                <a:gd name="connsiteY60" fmla="*/ 94487 h 352861"/>
                <a:gd name="connsiteX61" fmla="*/ 236870 w 415092"/>
                <a:gd name="connsiteY61" fmla="*/ 89926 h 352861"/>
                <a:gd name="connsiteX62" fmla="*/ 236870 w 415092"/>
                <a:gd name="connsiteY62" fmla="*/ 86831 h 352861"/>
                <a:gd name="connsiteX63" fmla="*/ 239314 w 415092"/>
                <a:gd name="connsiteY63" fmla="*/ 84224 h 352861"/>
                <a:gd name="connsiteX64" fmla="*/ 238987 w 415092"/>
                <a:gd name="connsiteY64" fmla="*/ 77382 h 352861"/>
                <a:gd name="connsiteX65" fmla="*/ 241268 w 415092"/>
                <a:gd name="connsiteY65" fmla="*/ 73146 h 352861"/>
                <a:gd name="connsiteX66" fmla="*/ 246644 w 415092"/>
                <a:gd name="connsiteY66" fmla="*/ 72169 h 352861"/>
                <a:gd name="connsiteX67" fmla="*/ 250066 w 415092"/>
                <a:gd name="connsiteY67" fmla="*/ 69725 h 352861"/>
                <a:gd name="connsiteX68" fmla="*/ 253487 w 415092"/>
                <a:gd name="connsiteY68" fmla="*/ 69236 h 352861"/>
                <a:gd name="connsiteX69" fmla="*/ 255116 w 415092"/>
                <a:gd name="connsiteY69" fmla="*/ 66956 h 352861"/>
                <a:gd name="connsiteX70" fmla="*/ 256744 w 415092"/>
                <a:gd name="connsiteY70" fmla="*/ 65815 h 352861"/>
                <a:gd name="connsiteX71" fmla="*/ 258048 w 415092"/>
                <a:gd name="connsiteY71" fmla="*/ 62394 h 352861"/>
                <a:gd name="connsiteX72" fmla="*/ 261632 w 415092"/>
                <a:gd name="connsiteY72" fmla="*/ 59462 h 352861"/>
                <a:gd name="connsiteX73" fmla="*/ 264401 w 415092"/>
                <a:gd name="connsiteY73" fmla="*/ 58647 h 352861"/>
                <a:gd name="connsiteX74" fmla="*/ 266030 w 415092"/>
                <a:gd name="connsiteY74" fmla="*/ 56529 h 352861"/>
                <a:gd name="connsiteX75" fmla="*/ 269451 w 415092"/>
                <a:gd name="connsiteY75" fmla="*/ 55878 h 352861"/>
                <a:gd name="connsiteX76" fmla="*/ 269451 w 415092"/>
                <a:gd name="connsiteY76" fmla="*/ 51805 h 352861"/>
                <a:gd name="connsiteX77" fmla="*/ 268148 w 415092"/>
                <a:gd name="connsiteY77" fmla="*/ 49850 h 352861"/>
                <a:gd name="connsiteX78" fmla="*/ 268963 w 415092"/>
                <a:gd name="connsiteY78" fmla="*/ 43660 h 352861"/>
                <a:gd name="connsiteX79" fmla="*/ 275805 w 415092"/>
                <a:gd name="connsiteY79" fmla="*/ 34374 h 352861"/>
                <a:gd name="connsiteX80" fmla="*/ 279552 w 415092"/>
                <a:gd name="connsiteY80" fmla="*/ 32745 h 352861"/>
                <a:gd name="connsiteX81" fmla="*/ 282159 w 415092"/>
                <a:gd name="connsiteY81" fmla="*/ 31930 h 352861"/>
                <a:gd name="connsiteX82" fmla="*/ 284114 w 415092"/>
                <a:gd name="connsiteY82" fmla="*/ 29487 h 352861"/>
                <a:gd name="connsiteX83" fmla="*/ 287860 w 415092"/>
                <a:gd name="connsiteY83" fmla="*/ 28183 h 352861"/>
                <a:gd name="connsiteX84" fmla="*/ 289001 w 415092"/>
                <a:gd name="connsiteY84" fmla="*/ 25740 h 352861"/>
                <a:gd name="connsiteX85" fmla="*/ 292096 w 415092"/>
                <a:gd name="connsiteY85" fmla="*/ 23948 h 352861"/>
                <a:gd name="connsiteX86" fmla="*/ 294703 w 415092"/>
                <a:gd name="connsiteY86" fmla="*/ 21341 h 352861"/>
                <a:gd name="connsiteX87" fmla="*/ 300241 w 415092"/>
                <a:gd name="connsiteY87" fmla="*/ 16780 h 352861"/>
                <a:gd name="connsiteX88" fmla="*/ 305455 w 415092"/>
                <a:gd name="connsiteY88" fmla="*/ 15802 h 352861"/>
                <a:gd name="connsiteX89" fmla="*/ 307084 w 415092"/>
                <a:gd name="connsiteY89" fmla="*/ 16943 h 352861"/>
                <a:gd name="connsiteX90" fmla="*/ 309527 w 415092"/>
                <a:gd name="connsiteY90" fmla="*/ 16454 h 352861"/>
                <a:gd name="connsiteX91" fmla="*/ 313763 w 415092"/>
                <a:gd name="connsiteY91" fmla="*/ 16454 h 352861"/>
                <a:gd name="connsiteX92" fmla="*/ 317347 w 415092"/>
                <a:gd name="connsiteY92" fmla="*/ 13033 h 352861"/>
                <a:gd name="connsiteX93" fmla="*/ 321094 w 415092"/>
                <a:gd name="connsiteY93" fmla="*/ 12218 h 352861"/>
                <a:gd name="connsiteX94" fmla="*/ 322560 w 415092"/>
                <a:gd name="connsiteY94" fmla="*/ 8309 h 352861"/>
                <a:gd name="connsiteX95" fmla="*/ 322071 w 415092"/>
                <a:gd name="connsiteY95" fmla="*/ 5865 h 352861"/>
                <a:gd name="connsiteX96" fmla="*/ 324678 w 415092"/>
                <a:gd name="connsiteY96" fmla="*/ 3584 h 352861"/>
                <a:gd name="connsiteX97" fmla="*/ 329076 w 415092"/>
                <a:gd name="connsiteY97" fmla="*/ 3584 h 352861"/>
                <a:gd name="connsiteX98" fmla="*/ 331520 w 415092"/>
                <a:gd name="connsiteY98" fmla="*/ 1629 h 352861"/>
                <a:gd name="connsiteX99" fmla="*/ 343250 w 415092"/>
                <a:gd name="connsiteY99" fmla="*/ 0 h 352861"/>
                <a:gd name="connsiteX100" fmla="*/ 349114 w 415092"/>
                <a:gd name="connsiteY100" fmla="*/ 978 h 352861"/>
                <a:gd name="connsiteX101" fmla="*/ 350906 w 415092"/>
                <a:gd name="connsiteY101" fmla="*/ 4399 h 352861"/>
                <a:gd name="connsiteX102" fmla="*/ 354816 w 415092"/>
                <a:gd name="connsiteY102" fmla="*/ 4073 h 352861"/>
                <a:gd name="connsiteX103" fmla="*/ 360192 w 415092"/>
                <a:gd name="connsiteY103" fmla="*/ 6679 h 352861"/>
                <a:gd name="connsiteX104" fmla="*/ 361984 w 415092"/>
                <a:gd name="connsiteY104" fmla="*/ 8309 h 352861"/>
                <a:gd name="connsiteX105" fmla="*/ 365731 w 415092"/>
                <a:gd name="connsiteY105" fmla="*/ 6842 h 352861"/>
                <a:gd name="connsiteX106" fmla="*/ 372736 w 415092"/>
                <a:gd name="connsiteY106" fmla="*/ 5865 h 352861"/>
                <a:gd name="connsiteX107" fmla="*/ 381370 w 415092"/>
                <a:gd name="connsiteY107" fmla="*/ 7657 h 352861"/>
                <a:gd name="connsiteX108" fmla="*/ 386257 w 415092"/>
                <a:gd name="connsiteY108" fmla="*/ 11729 h 352861"/>
                <a:gd name="connsiteX109" fmla="*/ 387724 w 415092"/>
                <a:gd name="connsiteY109" fmla="*/ 18735 h 352861"/>
                <a:gd name="connsiteX110" fmla="*/ 389190 w 415092"/>
                <a:gd name="connsiteY110" fmla="*/ 25414 h 352861"/>
                <a:gd name="connsiteX111" fmla="*/ 392285 w 415092"/>
                <a:gd name="connsiteY111" fmla="*/ 31767 h 352861"/>
                <a:gd name="connsiteX112" fmla="*/ 392285 w 415092"/>
                <a:gd name="connsiteY112" fmla="*/ 43660 h 352861"/>
                <a:gd name="connsiteX113" fmla="*/ 391959 w 415092"/>
                <a:gd name="connsiteY113" fmla="*/ 45126 h 352861"/>
                <a:gd name="connsiteX114" fmla="*/ 391959 w 415092"/>
                <a:gd name="connsiteY114" fmla="*/ 50013 h 352861"/>
                <a:gd name="connsiteX115" fmla="*/ 393751 w 415092"/>
                <a:gd name="connsiteY115" fmla="*/ 54901 h 352861"/>
                <a:gd name="connsiteX116" fmla="*/ 395380 w 415092"/>
                <a:gd name="connsiteY116" fmla="*/ 60765 h 352861"/>
                <a:gd name="connsiteX117" fmla="*/ 395380 w 415092"/>
                <a:gd name="connsiteY117" fmla="*/ 80640 h 352861"/>
                <a:gd name="connsiteX118" fmla="*/ 393262 w 415092"/>
                <a:gd name="connsiteY118" fmla="*/ 88623 h 352861"/>
                <a:gd name="connsiteX119" fmla="*/ 392937 w 415092"/>
                <a:gd name="connsiteY119" fmla="*/ 95953 h 352861"/>
                <a:gd name="connsiteX120" fmla="*/ 392937 w 415092"/>
                <a:gd name="connsiteY120" fmla="*/ 104588 h 352861"/>
                <a:gd name="connsiteX121" fmla="*/ 388538 w 415092"/>
                <a:gd name="connsiteY121" fmla="*/ 102796 h 352861"/>
                <a:gd name="connsiteX122" fmla="*/ 384466 w 415092"/>
                <a:gd name="connsiteY122" fmla="*/ 99375 h 352861"/>
                <a:gd name="connsiteX123" fmla="*/ 377949 w 415092"/>
                <a:gd name="connsiteY123" fmla="*/ 95628 h 352861"/>
                <a:gd name="connsiteX124" fmla="*/ 373551 w 415092"/>
                <a:gd name="connsiteY124" fmla="*/ 97909 h 352861"/>
                <a:gd name="connsiteX125" fmla="*/ 372410 w 415092"/>
                <a:gd name="connsiteY125" fmla="*/ 102959 h 352861"/>
                <a:gd name="connsiteX126" fmla="*/ 366219 w 415092"/>
                <a:gd name="connsiteY126" fmla="*/ 114525 h 352861"/>
                <a:gd name="connsiteX127" fmla="*/ 363939 w 415092"/>
                <a:gd name="connsiteY127" fmla="*/ 120553 h 352861"/>
                <a:gd name="connsiteX128" fmla="*/ 365405 w 415092"/>
                <a:gd name="connsiteY128" fmla="*/ 123648 h 352861"/>
                <a:gd name="connsiteX129" fmla="*/ 368175 w 415092"/>
                <a:gd name="connsiteY129" fmla="*/ 126255 h 352861"/>
                <a:gd name="connsiteX130" fmla="*/ 371107 w 415092"/>
                <a:gd name="connsiteY130" fmla="*/ 131631 h 352861"/>
                <a:gd name="connsiteX131" fmla="*/ 379415 w 415092"/>
                <a:gd name="connsiteY131" fmla="*/ 136355 h 352861"/>
                <a:gd name="connsiteX132" fmla="*/ 389353 w 415092"/>
                <a:gd name="connsiteY132" fmla="*/ 136844 h 352861"/>
                <a:gd name="connsiteX133" fmla="*/ 393262 w 415092"/>
                <a:gd name="connsiteY133" fmla="*/ 135541 h 352861"/>
                <a:gd name="connsiteX134" fmla="*/ 394566 w 415092"/>
                <a:gd name="connsiteY134" fmla="*/ 131142 h 352861"/>
                <a:gd name="connsiteX135" fmla="*/ 394077 w 415092"/>
                <a:gd name="connsiteY135" fmla="*/ 127232 h 352861"/>
                <a:gd name="connsiteX136" fmla="*/ 397173 w 415092"/>
                <a:gd name="connsiteY136" fmla="*/ 125114 h 352861"/>
                <a:gd name="connsiteX137" fmla="*/ 401245 w 415092"/>
                <a:gd name="connsiteY137" fmla="*/ 124137 h 352861"/>
                <a:gd name="connsiteX138" fmla="*/ 410042 w 415092"/>
                <a:gd name="connsiteY138" fmla="*/ 126255 h 352861"/>
                <a:gd name="connsiteX139" fmla="*/ 415092 w 415092"/>
                <a:gd name="connsiteY139" fmla="*/ 126255 h 352861"/>
                <a:gd name="connsiteX140" fmla="*/ 415092 w 415092"/>
                <a:gd name="connsiteY140" fmla="*/ 127395 h 352861"/>
                <a:gd name="connsiteX141" fmla="*/ 411997 w 415092"/>
                <a:gd name="connsiteY141" fmla="*/ 131468 h 352861"/>
                <a:gd name="connsiteX142" fmla="*/ 413626 w 415092"/>
                <a:gd name="connsiteY142" fmla="*/ 132119 h 352861"/>
                <a:gd name="connsiteX143" fmla="*/ 410531 w 415092"/>
                <a:gd name="connsiteY143" fmla="*/ 141405 h 352861"/>
                <a:gd name="connsiteX144" fmla="*/ 409716 w 415092"/>
                <a:gd name="connsiteY144" fmla="*/ 149388 h 352861"/>
                <a:gd name="connsiteX145" fmla="*/ 405969 w 415092"/>
                <a:gd name="connsiteY145" fmla="*/ 157044 h 352861"/>
                <a:gd name="connsiteX146" fmla="*/ 403526 w 415092"/>
                <a:gd name="connsiteY146" fmla="*/ 166819 h 352861"/>
                <a:gd name="connsiteX147" fmla="*/ 399779 w 415092"/>
                <a:gd name="connsiteY147" fmla="*/ 171218 h 352861"/>
                <a:gd name="connsiteX148" fmla="*/ 398639 w 415092"/>
                <a:gd name="connsiteY148" fmla="*/ 175779 h 352861"/>
                <a:gd name="connsiteX149" fmla="*/ 391633 w 415092"/>
                <a:gd name="connsiteY149" fmla="*/ 184087 h 352861"/>
                <a:gd name="connsiteX150" fmla="*/ 389353 w 415092"/>
                <a:gd name="connsiteY150" fmla="*/ 184087 h 352861"/>
                <a:gd name="connsiteX151" fmla="*/ 387724 w 415092"/>
                <a:gd name="connsiteY151" fmla="*/ 186368 h 352861"/>
                <a:gd name="connsiteX152" fmla="*/ 382510 w 415092"/>
                <a:gd name="connsiteY152" fmla="*/ 188812 h 352861"/>
                <a:gd name="connsiteX153" fmla="*/ 380067 w 415092"/>
                <a:gd name="connsiteY153" fmla="*/ 191744 h 352861"/>
                <a:gd name="connsiteX154" fmla="*/ 373876 w 415092"/>
                <a:gd name="connsiteY154" fmla="*/ 195654 h 352861"/>
                <a:gd name="connsiteX155" fmla="*/ 370781 w 415092"/>
                <a:gd name="connsiteY155" fmla="*/ 201682 h 352861"/>
                <a:gd name="connsiteX156" fmla="*/ 365731 w 415092"/>
                <a:gd name="connsiteY156" fmla="*/ 207546 h 352861"/>
                <a:gd name="connsiteX157" fmla="*/ 365731 w 415092"/>
                <a:gd name="connsiteY157" fmla="*/ 209990 h 352861"/>
                <a:gd name="connsiteX158" fmla="*/ 362799 w 415092"/>
                <a:gd name="connsiteY158" fmla="*/ 215366 h 352861"/>
                <a:gd name="connsiteX159" fmla="*/ 357911 w 415092"/>
                <a:gd name="connsiteY159" fmla="*/ 215366 h 352861"/>
                <a:gd name="connsiteX160" fmla="*/ 354001 w 415092"/>
                <a:gd name="connsiteY160" fmla="*/ 223186 h 352861"/>
                <a:gd name="connsiteX161" fmla="*/ 343412 w 415092"/>
                <a:gd name="connsiteY161" fmla="*/ 240943 h 352861"/>
                <a:gd name="connsiteX162" fmla="*/ 335267 w 415092"/>
                <a:gd name="connsiteY162" fmla="*/ 248762 h 352861"/>
                <a:gd name="connsiteX163" fmla="*/ 333964 w 415092"/>
                <a:gd name="connsiteY163" fmla="*/ 255930 h 352861"/>
                <a:gd name="connsiteX164" fmla="*/ 329239 w 415092"/>
                <a:gd name="connsiteY164" fmla="*/ 257885 h 352861"/>
                <a:gd name="connsiteX165" fmla="*/ 324678 w 415092"/>
                <a:gd name="connsiteY165" fmla="*/ 263261 h 352861"/>
                <a:gd name="connsiteX166" fmla="*/ 322071 w 415092"/>
                <a:gd name="connsiteY166" fmla="*/ 263261 h 352861"/>
                <a:gd name="connsiteX167" fmla="*/ 320931 w 415092"/>
                <a:gd name="connsiteY167" fmla="*/ 265379 h 352861"/>
                <a:gd name="connsiteX168" fmla="*/ 294214 w 415092"/>
                <a:gd name="connsiteY168" fmla="*/ 291770 h 352861"/>
                <a:gd name="connsiteX169" fmla="*/ 290956 w 415092"/>
                <a:gd name="connsiteY169" fmla="*/ 292422 h 352861"/>
                <a:gd name="connsiteX170" fmla="*/ 290956 w 415092"/>
                <a:gd name="connsiteY170" fmla="*/ 293725 h 352861"/>
                <a:gd name="connsiteX171" fmla="*/ 286720 w 415092"/>
                <a:gd name="connsiteY171" fmla="*/ 298613 h 352861"/>
                <a:gd name="connsiteX172" fmla="*/ 269126 w 415092"/>
                <a:gd name="connsiteY172" fmla="*/ 309853 h 352861"/>
                <a:gd name="connsiteX173" fmla="*/ 265379 w 415092"/>
                <a:gd name="connsiteY173" fmla="*/ 313926 h 352861"/>
                <a:gd name="connsiteX174" fmla="*/ 259189 w 415092"/>
                <a:gd name="connsiteY174" fmla="*/ 315718 h 352861"/>
                <a:gd name="connsiteX175" fmla="*/ 259189 w 415092"/>
                <a:gd name="connsiteY175" fmla="*/ 317347 h 352861"/>
                <a:gd name="connsiteX176" fmla="*/ 249414 w 415092"/>
                <a:gd name="connsiteY176" fmla="*/ 319954 h 352861"/>
                <a:gd name="connsiteX177" fmla="*/ 243875 w 415092"/>
                <a:gd name="connsiteY177" fmla="*/ 323375 h 352861"/>
                <a:gd name="connsiteX178" fmla="*/ 238173 w 415092"/>
                <a:gd name="connsiteY178" fmla="*/ 323863 h 352861"/>
                <a:gd name="connsiteX179" fmla="*/ 235403 w 415092"/>
                <a:gd name="connsiteY179" fmla="*/ 321746 h 352861"/>
                <a:gd name="connsiteX180" fmla="*/ 227584 w 415092"/>
                <a:gd name="connsiteY180" fmla="*/ 322071 h 352861"/>
                <a:gd name="connsiteX181" fmla="*/ 221068 w 415092"/>
                <a:gd name="connsiteY181" fmla="*/ 324026 h 352861"/>
                <a:gd name="connsiteX182" fmla="*/ 218298 w 415092"/>
                <a:gd name="connsiteY182" fmla="*/ 328751 h 352861"/>
                <a:gd name="connsiteX183" fmla="*/ 222208 w 415092"/>
                <a:gd name="connsiteY183" fmla="*/ 332009 h 352861"/>
                <a:gd name="connsiteX184" fmla="*/ 221882 w 415092"/>
                <a:gd name="connsiteY184" fmla="*/ 333312 h 352861"/>
                <a:gd name="connsiteX185" fmla="*/ 212922 w 415092"/>
                <a:gd name="connsiteY185" fmla="*/ 333312 h 352861"/>
                <a:gd name="connsiteX186" fmla="*/ 207709 w 415092"/>
                <a:gd name="connsiteY186" fmla="*/ 330869 h 352861"/>
                <a:gd name="connsiteX187" fmla="*/ 203473 w 415092"/>
                <a:gd name="connsiteY187" fmla="*/ 330380 h 352861"/>
                <a:gd name="connsiteX188" fmla="*/ 199889 w 415092"/>
                <a:gd name="connsiteY188" fmla="*/ 333964 h 352861"/>
                <a:gd name="connsiteX189" fmla="*/ 201355 w 415092"/>
                <a:gd name="connsiteY189" fmla="*/ 337222 h 352861"/>
                <a:gd name="connsiteX190" fmla="*/ 199726 w 415092"/>
                <a:gd name="connsiteY190" fmla="*/ 338851 h 352861"/>
                <a:gd name="connsiteX191" fmla="*/ 187508 w 415092"/>
                <a:gd name="connsiteY191" fmla="*/ 336244 h 352861"/>
                <a:gd name="connsiteX192" fmla="*/ 184087 w 415092"/>
                <a:gd name="connsiteY192" fmla="*/ 333638 h 352861"/>
                <a:gd name="connsiteX193" fmla="*/ 172358 w 415092"/>
                <a:gd name="connsiteY193" fmla="*/ 330706 h 352861"/>
                <a:gd name="connsiteX194" fmla="*/ 164701 w 415092"/>
                <a:gd name="connsiteY194" fmla="*/ 332172 h 352861"/>
                <a:gd name="connsiteX195" fmla="*/ 164701 w 415092"/>
                <a:gd name="connsiteY195" fmla="*/ 333964 h 352861"/>
                <a:gd name="connsiteX196" fmla="*/ 160628 w 415092"/>
                <a:gd name="connsiteY196" fmla="*/ 335430 h 352861"/>
                <a:gd name="connsiteX197" fmla="*/ 154601 w 415092"/>
                <a:gd name="connsiteY197" fmla="*/ 332172 h 352861"/>
                <a:gd name="connsiteX198" fmla="*/ 140916 w 415092"/>
                <a:gd name="connsiteY198" fmla="*/ 332172 h 352861"/>
                <a:gd name="connsiteX199" fmla="*/ 136844 w 415092"/>
                <a:gd name="connsiteY199" fmla="*/ 333964 h 352861"/>
                <a:gd name="connsiteX200" fmla="*/ 135541 w 415092"/>
                <a:gd name="connsiteY200" fmla="*/ 338199 h 352861"/>
                <a:gd name="connsiteX201" fmla="*/ 132771 w 415092"/>
                <a:gd name="connsiteY201" fmla="*/ 336896 h 352861"/>
                <a:gd name="connsiteX202" fmla="*/ 129512 w 415092"/>
                <a:gd name="connsiteY202" fmla="*/ 337711 h 352861"/>
                <a:gd name="connsiteX203" fmla="*/ 126743 w 415092"/>
                <a:gd name="connsiteY203" fmla="*/ 339992 h 352861"/>
                <a:gd name="connsiteX204" fmla="*/ 125277 w 415092"/>
                <a:gd name="connsiteY204" fmla="*/ 341946 h 352861"/>
                <a:gd name="connsiteX205" fmla="*/ 119250 w 415092"/>
                <a:gd name="connsiteY205" fmla="*/ 342272 h 352861"/>
                <a:gd name="connsiteX206" fmla="*/ 115339 w 415092"/>
                <a:gd name="connsiteY206" fmla="*/ 344064 h 352861"/>
                <a:gd name="connsiteX207" fmla="*/ 107846 w 415092"/>
                <a:gd name="connsiteY207" fmla="*/ 341295 h 352861"/>
                <a:gd name="connsiteX208" fmla="*/ 101492 w 415092"/>
                <a:gd name="connsiteY208" fmla="*/ 341621 h 352861"/>
                <a:gd name="connsiteX209" fmla="*/ 100189 w 415092"/>
                <a:gd name="connsiteY209" fmla="*/ 343413 h 352861"/>
                <a:gd name="connsiteX210" fmla="*/ 93998 w 415092"/>
                <a:gd name="connsiteY210" fmla="*/ 342109 h 352861"/>
                <a:gd name="connsiteX211" fmla="*/ 88460 w 415092"/>
                <a:gd name="connsiteY211" fmla="*/ 348300 h 352861"/>
                <a:gd name="connsiteX212" fmla="*/ 83898 w 415092"/>
                <a:gd name="connsiteY212" fmla="*/ 349114 h 352861"/>
                <a:gd name="connsiteX213" fmla="*/ 82269 w 415092"/>
                <a:gd name="connsiteY213" fmla="*/ 352698 h 352861"/>
                <a:gd name="connsiteX214" fmla="*/ 79500 w 415092"/>
                <a:gd name="connsiteY214" fmla="*/ 351721 h 352861"/>
                <a:gd name="connsiteX215" fmla="*/ 77056 w 415092"/>
                <a:gd name="connsiteY215" fmla="*/ 352862 h 352861"/>
                <a:gd name="connsiteX216" fmla="*/ 64349 w 415092"/>
                <a:gd name="connsiteY216" fmla="*/ 346833 h 352861"/>
                <a:gd name="connsiteX217" fmla="*/ 61742 w 415092"/>
                <a:gd name="connsiteY217" fmla="*/ 348300 h 352861"/>
                <a:gd name="connsiteX218" fmla="*/ 61417 w 415092"/>
                <a:gd name="connsiteY218" fmla="*/ 342109 h 352861"/>
                <a:gd name="connsiteX219" fmla="*/ 56529 w 415092"/>
                <a:gd name="connsiteY219" fmla="*/ 339666 h 352861"/>
                <a:gd name="connsiteX220" fmla="*/ 52945 w 415092"/>
                <a:gd name="connsiteY220" fmla="*/ 341458 h 352861"/>
                <a:gd name="connsiteX221" fmla="*/ 50502 w 415092"/>
                <a:gd name="connsiteY221" fmla="*/ 340317 h 352861"/>
                <a:gd name="connsiteX222" fmla="*/ 52619 w 415092"/>
                <a:gd name="connsiteY222" fmla="*/ 338525 h 352861"/>
                <a:gd name="connsiteX223" fmla="*/ 51316 w 415092"/>
                <a:gd name="connsiteY223" fmla="*/ 333149 h 352861"/>
                <a:gd name="connsiteX224" fmla="*/ 45289 w 415092"/>
                <a:gd name="connsiteY224" fmla="*/ 332172 h 352861"/>
                <a:gd name="connsiteX225" fmla="*/ 41053 w 415092"/>
                <a:gd name="connsiteY225" fmla="*/ 335919 h 352861"/>
                <a:gd name="connsiteX226" fmla="*/ 41379 w 415092"/>
                <a:gd name="connsiteY226" fmla="*/ 340643 h 352861"/>
                <a:gd name="connsiteX227" fmla="*/ 38121 w 415092"/>
                <a:gd name="connsiteY227" fmla="*/ 338199 h 352861"/>
                <a:gd name="connsiteX228" fmla="*/ 37795 w 415092"/>
                <a:gd name="connsiteY228" fmla="*/ 332986 h 352861"/>
                <a:gd name="connsiteX229" fmla="*/ 39587 w 415092"/>
                <a:gd name="connsiteY229" fmla="*/ 328588 h 352861"/>
                <a:gd name="connsiteX230" fmla="*/ 38446 w 415092"/>
                <a:gd name="connsiteY230" fmla="*/ 322071 h 352861"/>
                <a:gd name="connsiteX231" fmla="*/ 41868 w 415092"/>
                <a:gd name="connsiteY231" fmla="*/ 316370 h 352861"/>
                <a:gd name="connsiteX232" fmla="*/ 37306 w 415092"/>
                <a:gd name="connsiteY232" fmla="*/ 308224 h 352861"/>
                <a:gd name="connsiteX233" fmla="*/ 32744 w 415092"/>
                <a:gd name="connsiteY233" fmla="*/ 304152 h 352861"/>
                <a:gd name="connsiteX234" fmla="*/ 28835 w 415092"/>
                <a:gd name="connsiteY234" fmla="*/ 297472 h 352861"/>
                <a:gd name="connsiteX235" fmla="*/ 28835 w 415092"/>
                <a:gd name="connsiteY235" fmla="*/ 290956 h 352861"/>
                <a:gd name="connsiteX236" fmla="*/ 31441 w 415092"/>
                <a:gd name="connsiteY236" fmla="*/ 288512 h 352861"/>
                <a:gd name="connsiteX237" fmla="*/ 33885 w 415092"/>
                <a:gd name="connsiteY237" fmla="*/ 291119 h 352861"/>
                <a:gd name="connsiteX238" fmla="*/ 36166 w 415092"/>
                <a:gd name="connsiteY238" fmla="*/ 291119 h 352861"/>
                <a:gd name="connsiteX239" fmla="*/ 39098 w 415092"/>
                <a:gd name="connsiteY239" fmla="*/ 287861 h 352861"/>
                <a:gd name="connsiteX240" fmla="*/ 40564 w 415092"/>
                <a:gd name="connsiteY240" fmla="*/ 279878 h 352861"/>
                <a:gd name="connsiteX241" fmla="*/ 37795 w 415092"/>
                <a:gd name="connsiteY241" fmla="*/ 271244 h 352861"/>
                <a:gd name="connsiteX242" fmla="*/ 38284 w 415092"/>
                <a:gd name="connsiteY242" fmla="*/ 267334 h 352861"/>
                <a:gd name="connsiteX243" fmla="*/ 30953 w 415092"/>
                <a:gd name="connsiteY243" fmla="*/ 255116 h 352861"/>
                <a:gd name="connsiteX244" fmla="*/ 30953 w 415092"/>
                <a:gd name="connsiteY244" fmla="*/ 249577 h 352861"/>
                <a:gd name="connsiteX245" fmla="*/ 23622 w 415092"/>
                <a:gd name="connsiteY245" fmla="*/ 240291 h 352861"/>
                <a:gd name="connsiteX246" fmla="*/ 20364 w 415092"/>
                <a:gd name="connsiteY246" fmla="*/ 225466 h 352861"/>
                <a:gd name="connsiteX247" fmla="*/ 14987 w 415092"/>
                <a:gd name="connsiteY247" fmla="*/ 211293 h 352861"/>
                <a:gd name="connsiteX248" fmla="*/ 14987 w 415092"/>
                <a:gd name="connsiteY248" fmla="*/ 204125 h 352861"/>
                <a:gd name="connsiteX249" fmla="*/ 9775 w 415092"/>
                <a:gd name="connsiteY249" fmla="*/ 188486 h 352861"/>
                <a:gd name="connsiteX250" fmla="*/ 1466 w 415092"/>
                <a:gd name="connsiteY250" fmla="*/ 182458 h 352861"/>
                <a:gd name="connsiteX251" fmla="*/ 163 w 415092"/>
                <a:gd name="connsiteY251" fmla="*/ 174150 h 352861"/>
                <a:gd name="connsiteX252" fmla="*/ 0 w 415092"/>
                <a:gd name="connsiteY252" fmla="*/ 174150 h 352861"/>
                <a:gd name="connsiteX253" fmla="*/ 273198 w 415092"/>
                <a:gd name="connsiteY253" fmla="*/ 224163 h 352861"/>
                <a:gd name="connsiteX254" fmla="*/ 276946 w 415092"/>
                <a:gd name="connsiteY254" fmla="*/ 227258 h 352861"/>
                <a:gd name="connsiteX255" fmla="*/ 279552 w 415092"/>
                <a:gd name="connsiteY255" fmla="*/ 231005 h 352861"/>
                <a:gd name="connsiteX256" fmla="*/ 285417 w 415092"/>
                <a:gd name="connsiteY256" fmla="*/ 233449 h 352861"/>
                <a:gd name="connsiteX257" fmla="*/ 289978 w 415092"/>
                <a:gd name="connsiteY257" fmla="*/ 233449 h 352861"/>
                <a:gd name="connsiteX258" fmla="*/ 291282 w 415092"/>
                <a:gd name="connsiteY258" fmla="*/ 230679 h 352861"/>
                <a:gd name="connsiteX259" fmla="*/ 293073 w 415092"/>
                <a:gd name="connsiteY259" fmla="*/ 228562 h 352861"/>
                <a:gd name="connsiteX260" fmla="*/ 295354 w 415092"/>
                <a:gd name="connsiteY260" fmla="*/ 222371 h 352861"/>
                <a:gd name="connsiteX261" fmla="*/ 299753 w 415092"/>
                <a:gd name="connsiteY261" fmla="*/ 221068 h 352861"/>
                <a:gd name="connsiteX262" fmla="*/ 303011 w 415092"/>
                <a:gd name="connsiteY262" fmla="*/ 218787 h 352861"/>
                <a:gd name="connsiteX263" fmla="*/ 307410 w 415092"/>
                <a:gd name="connsiteY263" fmla="*/ 217973 h 352861"/>
                <a:gd name="connsiteX264" fmla="*/ 310505 w 415092"/>
                <a:gd name="connsiteY264" fmla="*/ 218950 h 352861"/>
                <a:gd name="connsiteX265" fmla="*/ 315066 w 415092"/>
                <a:gd name="connsiteY265" fmla="*/ 215855 h 352861"/>
                <a:gd name="connsiteX266" fmla="*/ 316207 w 415092"/>
                <a:gd name="connsiteY266" fmla="*/ 211782 h 352861"/>
                <a:gd name="connsiteX267" fmla="*/ 314251 w 415092"/>
                <a:gd name="connsiteY267" fmla="*/ 209990 h 352861"/>
                <a:gd name="connsiteX268" fmla="*/ 313763 w 415092"/>
                <a:gd name="connsiteY268" fmla="*/ 206895 h 352861"/>
                <a:gd name="connsiteX269" fmla="*/ 318324 w 415092"/>
                <a:gd name="connsiteY269" fmla="*/ 204614 h 352861"/>
                <a:gd name="connsiteX270" fmla="*/ 322886 w 415092"/>
                <a:gd name="connsiteY270" fmla="*/ 200704 h 352861"/>
                <a:gd name="connsiteX271" fmla="*/ 322560 w 415092"/>
                <a:gd name="connsiteY271" fmla="*/ 194514 h 352861"/>
                <a:gd name="connsiteX272" fmla="*/ 318487 w 415092"/>
                <a:gd name="connsiteY272" fmla="*/ 184576 h 352861"/>
                <a:gd name="connsiteX273" fmla="*/ 312948 w 415092"/>
                <a:gd name="connsiteY273" fmla="*/ 180341 h 352861"/>
                <a:gd name="connsiteX274" fmla="*/ 309039 w 415092"/>
                <a:gd name="connsiteY274" fmla="*/ 181481 h 352861"/>
                <a:gd name="connsiteX275" fmla="*/ 305292 w 415092"/>
                <a:gd name="connsiteY275" fmla="*/ 178874 h 352861"/>
                <a:gd name="connsiteX276" fmla="*/ 303825 w 415092"/>
                <a:gd name="connsiteY276" fmla="*/ 180015 h 352861"/>
                <a:gd name="connsiteX277" fmla="*/ 301382 w 415092"/>
                <a:gd name="connsiteY277" fmla="*/ 178223 h 352861"/>
                <a:gd name="connsiteX278" fmla="*/ 297798 w 415092"/>
                <a:gd name="connsiteY278" fmla="*/ 178223 h 352861"/>
                <a:gd name="connsiteX279" fmla="*/ 296821 w 415092"/>
                <a:gd name="connsiteY279" fmla="*/ 180015 h 352861"/>
                <a:gd name="connsiteX280" fmla="*/ 293562 w 415092"/>
                <a:gd name="connsiteY280" fmla="*/ 181970 h 352861"/>
                <a:gd name="connsiteX281" fmla="*/ 291282 w 415092"/>
                <a:gd name="connsiteY281" fmla="*/ 184413 h 352861"/>
                <a:gd name="connsiteX282" fmla="*/ 281833 w 415092"/>
                <a:gd name="connsiteY282" fmla="*/ 186042 h 352861"/>
                <a:gd name="connsiteX283" fmla="*/ 276131 w 415092"/>
                <a:gd name="connsiteY283" fmla="*/ 191093 h 352861"/>
                <a:gd name="connsiteX284" fmla="*/ 273687 w 415092"/>
                <a:gd name="connsiteY284" fmla="*/ 197772 h 352861"/>
                <a:gd name="connsiteX285" fmla="*/ 267008 w 415092"/>
                <a:gd name="connsiteY285" fmla="*/ 202985 h 352861"/>
                <a:gd name="connsiteX286" fmla="*/ 263587 w 415092"/>
                <a:gd name="connsiteY286" fmla="*/ 205428 h 352861"/>
                <a:gd name="connsiteX287" fmla="*/ 265705 w 415092"/>
                <a:gd name="connsiteY287" fmla="*/ 210316 h 352861"/>
                <a:gd name="connsiteX288" fmla="*/ 268637 w 415092"/>
                <a:gd name="connsiteY288" fmla="*/ 213248 h 352861"/>
                <a:gd name="connsiteX289" fmla="*/ 269289 w 415092"/>
                <a:gd name="connsiteY289" fmla="*/ 215855 h 352861"/>
                <a:gd name="connsiteX290" fmla="*/ 272384 w 415092"/>
                <a:gd name="connsiteY290" fmla="*/ 219276 h 352861"/>
                <a:gd name="connsiteX291" fmla="*/ 272873 w 415092"/>
                <a:gd name="connsiteY291" fmla="*/ 224326 h 352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</a:cxnLst>
              <a:rect l="l" t="t" r="r" b="b"/>
              <a:pathLst>
                <a:path w="415092" h="352861">
                  <a:moveTo>
                    <a:pt x="0" y="174476"/>
                  </a:moveTo>
                  <a:lnTo>
                    <a:pt x="3747" y="172358"/>
                  </a:lnTo>
                  <a:lnTo>
                    <a:pt x="9123" y="171218"/>
                  </a:lnTo>
                  <a:lnTo>
                    <a:pt x="9123" y="168122"/>
                  </a:lnTo>
                  <a:lnTo>
                    <a:pt x="7494" y="166656"/>
                  </a:lnTo>
                  <a:lnTo>
                    <a:pt x="10100" y="162095"/>
                  </a:lnTo>
                  <a:lnTo>
                    <a:pt x="16291" y="159651"/>
                  </a:lnTo>
                  <a:lnTo>
                    <a:pt x="19223" y="165027"/>
                  </a:lnTo>
                  <a:lnTo>
                    <a:pt x="24273" y="165027"/>
                  </a:lnTo>
                  <a:cubicBezTo>
                    <a:pt x="24273" y="165027"/>
                    <a:pt x="21993" y="170729"/>
                    <a:pt x="21993" y="170729"/>
                  </a:cubicBezTo>
                  <a:lnTo>
                    <a:pt x="25739" y="178223"/>
                  </a:lnTo>
                  <a:lnTo>
                    <a:pt x="34374" y="180015"/>
                  </a:lnTo>
                  <a:lnTo>
                    <a:pt x="39912" y="182947"/>
                  </a:lnTo>
                  <a:lnTo>
                    <a:pt x="43985" y="181970"/>
                  </a:lnTo>
                  <a:lnTo>
                    <a:pt x="46755" y="183110"/>
                  </a:lnTo>
                  <a:lnTo>
                    <a:pt x="51153" y="183925"/>
                  </a:lnTo>
                  <a:lnTo>
                    <a:pt x="53108" y="181970"/>
                  </a:lnTo>
                  <a:lnTo>
                    <a:pt x="57018" y="181970"/>
                  </a:lnTo>
                  <a:lnTo>
                    <a:pt x="58810" y="185391"/>
                  </a:lnTo>
                  <a:lnTo>
                    <a:pt x="62557" y="184902"/>
                  </a:lnTo>
                  <a:lnTo>
                    <a:pt x="65652" y="185717"/>
                  </a:lnTo>
                  <a:lnTo>
                    <a:pt x="65652" y="180341"/>
                  </a:lnTo>
                  <a:cubicBezTo>
                    <a:pt x="65652" y="180341"/>
                    <a:pt x="68096" y="178060"/>
                    <a:pt x="68096" y="178060"/>
                  </a:cubicBezTo>
                  <a:lnTo>
                    <a:pt x="71191" y="176919"/>
                  </a:lnTo>
                  <a:lnTo>
                    <a:pt x="73635" y="171869"/>
                  </a:lnTo>
                  <a:lnTo>
                    <a:pt x="80477" y="168448"/>
                  </a:lnTo>
                  <a:lnTo>
                    <a:pt x="88623" y="168937"/>
                  </a:lnTo>
                  <a:lnTo>
                    <a:pt x="91229" y="168937"/>
                  </a:lnTo>
                  <a:cubicBezTo>
                    <a:pt x="91229" y="168937"/>
                    <a:pt x="94650" y="76242"/>
                    <a:pt x="94650" y="76242"/>
                  </a:cubicBezTo>
                  <a:lnTo>
                    <a:pt x="103121" y="82432"/>
                  </a:lnTo>
                  <a:lnTo>
                    <a:pt x="105728" y="89437"/>
                  </a:lnTo>
                  <a:lnTo>
                    <a:pt x="112407" y="103773"/>
                  </a:lnTo>
                  <a:lnTo>
                    <a:pt x="112407" y="110778"/>
                  </a:lnTo>
                  <a:cubicBezTo>
                    <a:pt x="112407" y="110778"/>
                    <a:pt x="108498" y="118924"/>
                    <a:pt x="108498" y="118924"/>
                  </a:cubicBezTo>
                  <a:lnTo>
                    <a:pt x="108498" y="123811"/>
                  </a:lnTo>
                  <a:cubicBezTo>
                    <a:pt x="108498" y="123811"/>
                    <a:pt x="115177" y="122834"/>
                    <a:pt x="115177" y="122834"/>
                  </a:cubicBezTo>
                  <a:lnTo>
                    <a:pt x="122019" y="124137"/>
                  </a:lnTo>
                  <a:lnTo>
                    <a:pt x="126092" y="122345"/>
                  </a:lnTo>
                  <a:lnTo>
                    <a:pt x="132119" y="123322"/>
                  </a:lnTo>
                  <a:lnTo>
                    <a:pt x="136192" y="120553"/>
                  </a:lnTo>
                  <a:lnTo>
                    <a:pt x="141568" y="119250"/>
                  </a:lnTo>
                  <a:lnTo>
                    <a:pt x="146618" y="115340"/>
                  </a:lnTo>
                  <a:lnTo>
                    <a:pt x="148410" y="112244"/>
                  </a:lnTo>
                  <a:lnTo>
                    <a:pt x="156882" y="108986"/>
                  </a:lnTo>
                  <a:lnTo>
                    <a:pt x="161443" y="104099"/>
                  </a:lnTo>
                  <a:lnTo>
                    <a:pt x="165516" y="93999"/>
                  </a:lnTo>
                  <a:lnTo>
                    <a:pt x="172358" y="87971"/>
                  </a:lnTo>
                  <a:lnTo>
                    <a:pt x="178548" y="87156"/>
                  </a:lnTo>
                  <a:lnTo>
                    <a:pt x="187182" y="88460"/>
                  </a:lnTo>
                  <a:lnTo>
                    <a:pt x="189789" y="91718"/>
                  </a:lnTo>
                  <a:lnTo>
                    <a:pt x="192721" y="91718"/>
                  </a:lnTo>
                  <a:cubicBezTo>
                    <a:pt x="192721" y="91718"/>
                    <a:pt x="202170" y="97257"/>
                    <a:pt x="202170" y="97257"/>
                  </a:cubicBezTo>
                  <a:lnTo>
                    <a:pt x="206243" y="96605"/>
                  </a:lnTo>
                  <a:lnTo>
                    <a:pt x="210641" y="98071"/>
                  </a:lnTo>
                  <a:lnTo>
                    <a:pt x="216017" y="96768"/>
                  </a:lnTo>
                  <a:lnTo>
                    <a:pt x="222045" y="96768"/>
                  </a:lnTo>
                  <a:lnTo>
                    <a:pt x="226118" y="96279"/>
                  </a:lnTo>
                  <a:lnTo>
                    <a:pt x="228073" y="98886"/>
                  </a:lnTo>
                  <a:lnTo>
                    <a:pt x="231168" y="100189"/>
                  </a:lnTo>
                  <a:lnTo>
                    <a:pt x="236870" y="96442"/>
                  </a:lnTo>
                  <a:lnTo>
                    <a:pt x="235403" y="94487"/>
                  </a:lnTo>
                  <a:lnTo>
                    <a:pt x="236870" y="89926"/>
                  </a:lnTo>
                  <a:lnTo>
                    <a:pt x="236870" y="86831"/>
                  </a:lnTo>
                  <a:lnTo>
                    <a:pt x="239314" y="84224"/>
                  </a:lnTo>
                  <a:lnTo>
                    <a:pt x="238987" y="77382"/>
                  </a:lnTo>
                  <a:lnTo>
                    <a:pt x="241268" y="73146"/>
                  </a:lnTo>
                  <a:lnTo>
                    <a:pt x="246644" y="72169"/>
                  </a:lnTo>
                  <a:lnTo>
                    <a:pt x="250066" y="69725"/>
                  </a:lnTo>
                  <a:lnTo>
                    <a:pt x="253487" y="69236"/>
                  </a:lnTo>
                  <a:lnTo>
                    <a:pt x="255116" y="66956"/>
                  </a:lnTo>
                  <a:lnTo>
                    <a:pt x="256744" y="65815"/>
                  </a:lnTo>
                  <a:lnTo>
                    <a:pt x="258048" y="62394"/>
                  </a:lnTo>
                  <a:lnTo>
                    <a:pt x="261632" y="59462"/>
                  </a:lnTo>
                  <a:lnTo>
                    <a:pt x="264401" y="58647"/>
                  </a:lnTo>
                  <a:lnTo>
                    <a:pt x="266030" y="56529"/>
                  </a:lnTo>
                  <a:lnTo>
                    <a:pt x="269451" y="55878"/>
                  </a:lnTo>
                  <a:lnTo>
                    <a:pt x="269451" y="51805"/>
                  </a:lnTo>
                  <a:lnTo>
                    <a:pt x="268148" y="49850"/>
                  </a:lnTo>
                  <a:lnTo>
                    <a:pt x="268963" y="43660"/>
                  </a:lnTo>
                  <a:lnTo>
                    <a:pt x="275805" y="34374"/>
                  </a:lnTo>
                  <a:lnTo>
                    <a:pt x="279552" y="32745"/>
                  </a:lnTo>
                  <a:lnTo>
                    <a:pt x="282159" y="31930"/>
                  </a:lnTo>
                  <a:lnTo>
                    <a:pt x="284114" y="29487"/>
                  </a:lnTo>
                  <a:lnTo>
                    <a:pt x="287860" y="28183"/>
                  </a:lnTo>
                  <a:lnTo>
                    <a:pt x="289001" y="25740"/>
                  </a:lnTo>
                  <a:lnTo>
                    <a:pt x="292096" y="23948"/>
                  </a:lnTo>
                  <a:lnTo>
                    <a:pt x="294703" y="21341"/>
                  </a:lnTo>
                  <a:lnTo>
                    <a:pt x="300241" y="16780"/>
                  </a:lnTo>
                  <a:lnTo>
                    <a:pt x="305455" y="15802"/>
                  </a:lnTo>
                  <a:lnTo>
                    <a:pt x="307084" y="16943"/>
                  </a:lnTo>
                  <a:lnTo>
                    <a:pt x="309527" y="16454"/>
                  </a:lnTo>
                  <a:lnTo>
                    <a:pt x="313763" y="16454"/>
                  </a:lnTo>
                  <a:cubicBezTo>
                    <a:pt x="313763" y="16454"/>
                    <a:pt x="317347" y="13033"/>
                    <a:pt x="317347" y="13033"/>
                  </a:cubicBezTo>
                  <a:lnTo>
                    <a:pt x="321094" y="12218"/>
                  </a:lnTo>
                  <a:lnTo>
                    <a:pt x="322560" y="8309"/>
                  </a:lnTo>
                  <a:lnTo>
                    <a:pt x="322071" y="5865"/>
                  </a:lnTo>
                  <a:lnTo>
                    <a:pt x="324678" y="3584"/>
                  </a:lnTo>
                  <a:lnTo>
                    <a:pt x="329076" y="3584"/>
                  </a:lnTo>
                  <a:cubicBezTo>
                    <a:pt x="329076" y="3584"/>
                    <a:pt x="331520" y="1629"/>
                    <a:pt x="331520" y="1629"/>
                  </a:cubicBezTo>
                  <a:lnTo>
                    <a:pt x="343250" y="0"/>
                  </a:lnTo>
                  <a:lnTo>
                    <a:pt x="349114" y="978"/>
                  </a:lnTo>
                  <a:lnTo>
                    <a:pt x="350906" y="4399"/>
                  </a:lnTo>
                  <a:lnTo>
                    <a:pt x="354816" y="4073"/>
                  </a:lnTo>
                  <a:lnTo>
                    <a:pt x="360192" y="6679"/>
                  </a:lnTo>
                  <a:lnTo>
                    <a:pt x="361984" y="8309"/>
                  </a:lnTo>
                  <a:lnTo>
                    <a:pt x="365731" y="6842"/>
                  </a:lnTo>
                  <a:lnTo>
                    <a:pt x="372736" y="5865"/>
                  </a:lnTo>
                  <a:lnTo>
                    <a:pt x="381370" y="7657"/>
                  </a:lnTo>
                  <a:lnTo>
                    <a:pt x="386257" y="11729"/>
                  </a:lnTo>
                  <a:lnTo>
                    <a:pt x="387724" y="18735"/>
                  </a:lnTo>
                  <a:lnTo>
                    <a:pt x="389190" y="25414"/>
                  </a:lnTo>
                  <a:lnTo>
                    <a:pt x="392285" y="31767"/>
                  </a:lnTo>
                  <a:lnTo>
                    <a:pt x="392285" y="43660"/>
                  </a:lnTo>
                  <a:cubicBezTo>
                    <a:pt x="392285" y="43660"/>
                    <a:pt x="391959" y="45126"/>
                    <a:pt x="391959" y="45126"/>
                  </a:cubicBezTo>
                  <a:lnTo>
                    <a:pt x="391959" y="50013"/>
                  </a:lnTo>
                  <a:cubicBezTo>
                    <a:pt x="391959" y="50013"/>
                    <a:pt x="393751" y="54901"/>
                    <a:pt x="393751" y="54901"/>
                  </a:cubicBezTo>
                  <a:lnTo>
                    <a:pt x="395380" y="60765"/>
                  </a:lnTo>
                  <a:lnTo>
                    <a:pt x="395380" y="80640"/>
                  </a:lnTo>
                  <a:cubicBezTo>
                    <a:pt x="395380" y="80640"/>
                    <a:pt x="393262" y="88623"/>
                    <a:pt x="393262" y="88623"/>
                  </a:cubicBezTo>
                  <a:lnTo>
                    <a:pt x="392937" y="95953"/>
                  </a:lnTo>
                  <a:lnTo>
                    <a:pt x="392937" y="104588"/>
                  </a:lnTo>
                  <a:cubicBezTo>
                    <a:pt x="392937" y="104588"/>
                    <a:pt x="388538" y="102796"/>
                    <a:pt x="388538" y="102796"/>
                  </a:cubicBezTo>
                  <a:lnTo>
                    <a:pt x="384466" y="99375"/>
                  </a:lnTo>
                  <a:lnTo>
                    <a:pt x="377949" y="95628"/>
                  </a:lnTo>
                  <a:lnTo>
                    <a:pt x="373551" y="97909"/>
                  </a:lnTo>
                  <a:lnTo>
                    <a:pt x="372410" y="102959"/>
                  </a:lnTo>
                  <a:lnTo>
                    <a:pt x="366219" y="114525"/>
                  </a:lnTo>
                  <a:lnTo>
                    <a:pt x="363939" y="120553"/>
                  </a:lnTo>
                  <a:lnTo>
                    <a:pt x="365405" y="123648"/>
                  </a:lnTo>
                  <a:lnTo>
                    <a:pt x="368175" y="126255"/>
                  </a:lnTo>
                  <a:lnTo>
                    <a:pt x="371107" y="131631"/>
                  </a:lnTo>
                  <a:lnTo>
                    <a:pt x="379415" y="136355"/>
                  </a:lnTo>
                  <a:lnTo>
                    <a:pt x="389353" y="136844"/>
                  </a:lnTo>
                  <a:lnTo>
                    <a:pt x="393262" y="135541"/>
                  </a:lnTo>
                  <a:lnTo>
                    <a:pt x="394566" y="131142"/>
                  </a:lnTo>
                  <a:lnTo>
                    <a:pt x="394077" y="127232"/>
                  </a:lnTo>
                  <a:lnTo>
                    <a:pt x="397173" y="125114"/>
                  </a:lnTo>
                  <a:lnTo>
                    <a:pt x="401245" y="124137"/>
                  </a:lnTo>
                  <a:lnTo>
                    <a:pt x="410042" y="126255"/>
                  </a:lnTo>
                  <a:lnTo>
                    <a:pt x="415092" y="126255"/>
                  </a:lnTo>
                  <a:cubicBezTo>
                    <a:pt x="415092" y="126255"/>
                    <a:pt x="415092" y="127395"/>
                    <a:pt x="415092" y="127395"/>
                  </a:cubicBezTo>
                  <a:lnTo>
                    <a:pt x="411997" y="131468"/>
                  </a:lnTo>
                  <a:lnTo>
                    <a:pt x="413626" y="132119"/>
                  </a:lnTo>
                  <a:lnTo>
                    <a:pt x="410531" y="141405"/>
                  </a:lnTo>
                  <a:lnTo>
                    <a:pt x="409716" y="149388"/>
                  </a:lnTo>
                  <a:lnTo>
                    <a:pt x="405969" y="157044"/>
                  </a:lnTo>
                  <a:lnTo>
                    <a:pt x="403526" y="166819"/>
                  </a:lnTo>
                  <a:lnTo>
                    <a:pt x="399779" y="171218"/>
                  </a:lnTo>
                  <a:lnTo>
                    <a:pt x="398639" y="175779"/>
                  </a:lnTo>
                  <a:lnTo>
                    <a:pt x="391633" y="184087"/>
                  </a:lnTo>
                  <a:lnTo>
                    <a:pt x="389353" y="184087"/>
                  </a:lnTo>
                  <a:lnTo>
                    <a:pt x="387724" y="186368"/>
                  </a:lnTo>
                  <a:lnTo>
                    <a:pt x="382510" y="188812"/>
                  </a:lnTo>
                  <a:lnTo>
                    <a:pt x="380067" y="191744"/>
                  </a:lnTo>
                  <a:lnTo>
                    <a:pt x="373876" y="195654"/>
                  </a:lnTo>
                  <a:lnTo>
                    <a:pt x="370781" y="201682"/>
                  </a:lnTo>
                  <a:lnTo>
                    <a:pt x="365731" y="207546"/>
                  </a:lnTo>
                  <a:lnTo>
                    <a:pt x="365731" y="209990"/>
                  </a:lnTo>
                  <a:lnTo>
                    <a:pt x="362799" y="215366"/>
                  </a:lnTo>
                  <a:lnTo>
                    <a:pt x="357911" y="215366"/>
                  </a:lnTo>
                  <a:cubicBezTo>
                    <a:pt x="357911" y="215366"/>
                    <a:pt x="354001" y="223186"/>
                    <a:pt x="354001" y="223186"/>
                  </a:cubicBezTo>
                  <a:lnTo>
                    <a:pt x="343412" y="240943"/>
                  </a:lnTo>
                  <a:lnTo>
                    <a:pt x="335267" y="248762"/>
                  </a:lnTo>
                  <a:lnTo>
                    <a:pt x="333964" y="255930"/>
                  </a:lnTo>
                  <a:lnTo>
                    <a:pt x="329239" y="257885"/>
                  </a:lnTo>
                  <a:lnTo>
                    <a:pt x="324678" y="263261"/>
                  </a:lnTo>
                  <a:lnTo>
                    <a:pt x="322071" y="263261"/>
                  </a:lnTo>
                  <a:cubicBezTo>
                    <a:pt x="322071" y="263261"/>
                    <a:pt x="320931" y="265379"/>
                    <a:pt x="320931" y="265379"/>
                  </a:cubicBezTo>
                  <a:lnTo>
                    <a:pt x="294214" y="291770"/>
                  </a:lnTo>
                  <a:lnTo>
                    <a:pt x="290956" y="292422"/>
                  </a:lnTo>
                  <a:lnTo>
                    <a:pt x="290956" y="293725"/>
                  </a:lnTo>
                  <a:cubicBezTo>
                    <a:pt x="290956" y="293725"/>
                    <a:pt x="286720" y="298613"/>
                    <a:pt x="286720" y="298613"/>
                  </a:cubicBezTo>
                  <a:lnTo>
                    <a:pt x="269126" y="309853"/>
                  </a:lnTo>
                  <a:lnTo>
                    <a:pt x="265379" y="313926"/>
                  </a:lnTo>
                  <a:lnTo>
                    <a:pt x="259189" y="315718"/>
                  </a:lnTo>
                  <a:lnTo>
                    <a:pt x="259189" y="317347"/>
                  </a:lnTo>
                  <a:lnTo>
                    <a:pt x="249414" y="319954"/>
                  </a:lnTo>
                  <a:lnTo>
                    <a:pt x="243875" y="323375"/>
                  </a:lnTo>
                  <a:lnTo>
                    <a:pt x="238173" y="323863"/>
                  </a:lnTo>
                  <a:lnTo>
                    <a:pt x="235403" y="321746"/>
                  </a:lnTo>
                  <a:lnTo>
                    <a:pt x="227584" y="322071"/>
                  </a:lnTo>
                  <a:lnTo>
                    <a:pt x="221068" y="324026"/>
                  </a:lnTo>
                  <a:lnTo>
                    <a:pt x="218298" y="328751"/>
                  </a:lnTo>
                  <a:lnTo>
                    <a:pt x="222208" y="332009"/>
                  </a:lnTo>
                  <a:lnTo>
                    <a:pt x="221882" y="333312"/>
                  </a:lnTo>
                  <a:lnTo>
                    <a:pt x="212922" y="333312"/>
                  </a:lnTo>
                  <a:cubicBezTo>
                    <a:pt x="212922" y="333312"/>
                    <a:pt x="207709" y="330869"/>
                    <a:pt x="207709" y="330869"/>
                  </a:cubicBezTo>
                  <a:lnTo>
                    <a:pt x="203473" y="330380"/>
                  </a:lnTo>
                  <a:lnTo>
                    <a:pt x="199889" y="333964"/>
                  </a:lnTo>
                  <a:lnTo>
                    <a:pt x="201355" y="337222"/>
                  </a:lnTo>
                  <a:lnTo>
                    <a:pt x="199726" y="338851"/>
                  </a:lnTo>
                  <a:lnTo>
                    <a:pt x="187508" y="336244"/>
                  </a:lnTo>
                  <a:lnTo>
                    <a:pt x="184087" y="333638"/>
                  </a:lnTo>
                  <a:lnTo>
                    <a:pt x="172358" y="330706"/>
                  </a:lnTo>
                  <a:lnTo>
                    <a:pt x="164701" y="332172"/>
                  </a:lnTo>
                  <a:lnTo>
                    <a:pt x="164701" y="333964"/>
                  </a:lnTo>
                  <a:cubicBezTo>
                    <a:pt x="164701" y="333964"/>
                    <a:pt x="160628" y="335430"/>
                    <a:pt x="160628" y="335430"/>
                  </a:cubicBezTo>
                  <a:lnTo>
                    <a:pt x="154601" y="332172"/>
                  </a:lnTo>
                  <a:lnTo>
                    <a:pt x="140916" y="332172"/>
                  </a:lnTo>
                  <a:cubicBezTo>
                    <a:pt x="140916" y="332172"/>
                    <a:pt x="136844" y="333964"/>
                    <a:pt x="136844" y="333964"/>
                  </a:cubicBezTo>
                  <a:lnTo>
                    <a:pt x="135541" y="338199"/>
                  </a:lnTo>
                  <a:lnTo>
                    <a:pt x="132771" y="336896"/>
                  </a:lnTo>
                  <a:lnTo>
                    <a:pt x="129512" y="337711"/>
                  </a:lnTo>
                  <a:lnTo>
                    <a:pt x="126743" y="339992"/>
                  </a:lnTo>
                  <a:lnTo>
                    <a:pt x="125277" y="341946"/>
                  </a:lnTo>
                  <a:lnTo>
                    <a:pt x="119250" y="342272"/>
                  </a:lnTo>
                  <a:lnTo>
                    <a:pt x="115339" y="344064"/>
                  </a:lnTo>
                  <a:lnTo>
                    <a:pt x="107846" y="341295"/>
                  </a:lnTo>
                  <a:lnTo>
                    <a:pt x="101492" y="341621"/>
                  </a:lnTo>
                  <a:lnTo>
                    <a:pt x="100189" y="343413"/>
                  </a:lnTo>
                  <a:lnTo>
                    <a:pt x="93998" y="342109"/>
                  </a:lnTo>
                  <a:lnTo>
                    <a:pt x="88460" y="348300"/>
                  </a:lnTo>
                  <a:lnTo>
                    <a:pt x="83898" y="349114"/>
                  </a:lnTo>
                  <a:lnTo>
                    <a:pt x="82269" y="352698"/>
                  </a:lnTo>
                  <a:lnTo>
                    <a:pt x="79500" y="351721"/>
                  </a:lnTo>
                  <a:lnTo>
                    <a:pt x="77056" y="352862"/>
                  </a:lnTo>
                  <a:lnTo>
                    <a:pt x="64349" y="346833"/>
                  </a:lnTo>
                  <a:lnTo>
                    <a:pt x="61742" y="348300"/>
                  </a:lnTo>
                  <a:lnTo>
                    <a:pt x="61417" y="342109"/>
                  </a:lnTo>
                  <a:lnTo>
                    <a:pt x="56529" y="339666"/>
                  </a:lnTo>
                  <a:lnTo>
                    <a:pt x="52945" y="341458"/>
                  </a:lnTo>
                  <a:lnTo>
                    <a:pt x="50502" y="340317"/>
                  </a:lnTo>
                  <a:lnTo>
                    <a:pt x="52619" y="338525"/>
                  </a:lnTo>
                  <a:lnTo>
                    <a:pt x="51316" y="333149"/>
                  </a:lnTo>
                  <a:lnTo>
                    <a:pt x="45289" y="332172"/>
                  </a:lnTo>
                  <a:lnTo>
                    <a:pt x="41053" y="335919"/>
                  </a:lnTo>
                  <a:lnTo>
                    <a:pt x="41379" y="340643"/>
                  </a:lnTo>
                  <a:lnTo>
                    <a:pt x="38121" y="338199"/>
                  </a:lnTo>
                  <a:lnTo>
                    <a:pt x="37795" y="332986"/>
                  </a:lnTo>
                  <a:lnTo>
                    <a:pt x="39587" y="328588"/>
                  </a:lnTo>
                  <a:lnTo>
                    <a:pt x="38446" y="322071"/>
                  </a:lnTo>
                  <a:lnTo>
                    <a:pt x="41868" y="316370"/>
                  </a:lnTo>
                  <a:lnTo>
                    <a:pt x="37306" y="308224"/>
                  </a:lnTo>
                  <a:lnTo>
                    <a:pt x="32744" y="304152"/>
                  </a:lnTo>
                  <a:lnTo>
                    <a:pt x="28835" y="297472"/>
                  </a:lnTo>
                  <a:lnTo>
                    <a:pt x="28835" y="290956"/>
                  </a:lnTo>
                  <a:lnTo>
                    <a:pt x="31441" y="288512"/>
                  </a:lnTo>
                  <a:lnTo>
                    <a:pt x="33885" y="291119"/>
                  </a:lnTo>
                  <a:lnTo>
                    <a:pt x="36166" y="291119"/>
                  </a:lnTo>
                  <a:lnTo>
                    <a:pt x="39098" y="287861"/>
                  </a:lnTo>
                  <a:lnTo>
                    <a:pt x="40564" y="279878"/>
                  </a:lnTo>
                  <a:lnTo>
                    <a:pt x="37795" y="271244"/>
                  </a:lnTo>
                  <a:lnTo>
                    <a:pt x="38284" y="267334"/>
                  </a:lnTo>
                  <a:lnTo>
                    <a:pt x="30953" y="255116"/>
                  </a:lnTo>
                  <a:lnTo>
                    <a:pt x="30953" y="249577"/>
                  </a:lnTo>
                  <a:cubicBezTo>
                    <a:pt x="30953" y="249577"/>
                    <a:pt x="23622" y="240291"/>
                    <a:pt x="23622" y="240291"/>
                  </a:cubicBezTo>
                  <a:lnTo>
                    <a:pt x="20364" y="225466"/>
                  </a:lnTo>
                  <a:lnTo>
                    <a:pt x="14987" y="211293"/>
                  </a:lnTo>
                  <a:lnTo>
                    <a:pt x="14987" y="204125"/>
                  </a:lnTo>
                  <a:cubicBezTo>
                    <a:pt x="14987" y="204125"/>
                    <a:pt x="9775" y="188486"/>
                    <a:pt x="9775" y="188486"/>
                  </a:cubicBezTo>
                  <a:lnTo>
                    <a:pt x="1466" y="182458"/>
                  </a:lnTo>
                  <a:lnTo>
                    <a:pt x="163" y="174150"/>
                  </a:lnTo>
                  <a:lnTo>
                    <a:pt x="0" y="174150"/>
                  </a:lnTo>
                  <a:close/>
                  <a:moveTo>
                    <a:pt x="273198" y="224163"/>
                  </a:moveTo>
                  <a:lnTo>
                    <a:pt x="276946" y="227258"/>
                  </a:lnTo>
                  <a:lnTo>
                    <a:pt x="279552" y="231005"/>
                  </a:lnTo>
                  <a:lnTo>
                    <a:pt x="285417" y="233449"/>
                  </a:lnTo>
                  <a:lnTo>
                    <a:pt x="289978" y="233449"/>
                  </a:lnTo>
                  <a:cubicBezTo>
                    <a:pt x="289978" y="233449"/>
                    <a:pt x="291282" y="230679"/>
                    <a:pt x="291282" y="230679"/>
                  </a:cubicBezTo>
                  <a:lnTo>
                    <a:pt x="293073" y="228562"/>
                  </a:lnTo>
                  <a:lnTo>
                    <a:pt x="295354" y="222371"/>
                  </a:lnTo>
                  <a:lnTo>
                    <a:pt x="299753" y="221068"/>
                  </a:lnTo>
                  <a:lnTo>
                    <a:pt x="303011" y="218787"/>
                  </a:lnTo>
                  <a:lnTo>
                    <a:pt x="307410" y="217973"/>
                  </a:lnTo>
                  <a:lnTo>
                    <a:pt x="310505" y="218950"/>
                  </a:lnTo>
                  <a:lnTo>
                    <a:pt x="315066" y="215855"/>
                  </a:lnTo>
                  <a:lnTo>
                    <a:pt x="316207" y="211782"/>
                  </a:lnTo>
                  <a:lnTo>
                    <a:pt x="314251" y="209990"/>
                  </a:lnTo>
                  <a:lnTo>
                    <a:pt x="313763" y="206895"/>
                  </a:lnTo>
                  <a:lnTo>
                    <a:pt x="318324" y="204614"/>
                  </a:lnTo>
                  <a:lnTo>
                    <a:pt x="322886" y="200704"/>
                  </a:lnTo>
                  <a:lnTo>
                    <a:pt x="322560" y="194514"/>
                  </a:lnTo>
                  <a:lnTo>
                    <a:pt x="318487" y="184576"/>
                  </a:lnTo>
                  <a:lnTo>
                    <a:pt x="312948" y="180341"/>
                  </a:lnTo>
                  <a:lnTo>
                    <a:pt x="309039" y="181481"/>
                  </a:lnTo>
                  <a:lnTo>
                    <a:pt x="305292" y="178874"/>
                  </a:lnTo>
                  <a:lnTo>
                    <a:pt x="303825" y="180015"/>
                  </a:lnTo>
                  <a:lnTo>
                    <a:pt x="301382" y="178223"/>
                  </a:lnTo>
                  <a:lnTo>
                    <a:pt x="297798" y="178223"/>
                  </a:lnTo>
                  <a:cubicBezTo>
                    <a:pt x="297798" y="178223"/>
                    <a:pt x="296821" y="180015"/>
                    <a:pt x="296821" y="180015"/>
                  </a:cubicBezTo>
                  <a:lnTo>
                    <a:pt x="293562" y="181970"/>
                  </a:lnTo>
                  <a:lnTo>
                    <a:pt x="291282" y="184413"/>
                  </a:lnTo>
                  <a:lnTo>
                    <a:pt x="281833" y="186042"/>
                  </a:lnTo>
                  <a:lnTo>
                    <a:pt x="276131" y="191093"/>
                  </a:lnTo>
                  <a:lnTo>
                    <a:pt x="273687" y="197772"/>
                  </a:lnTo>
                  <a:lnTo>
                    <a:pt x="267008" y="202985"/>
                  </a:lnTo>
                  <a:lnTo>
                    <a:pt x="263587" y="205428"/>
                  </a:lnTo>
                  <a:lnTo>
                    <a:pt x="265705" y="210316"/>
                  </a:lnTo>
                  <a:lnTo>
                    <a:pt x="268637" y="213248"/>
                  </a:lnTo>
                  <a:lnTo>
                    <a:pt x="269289" y="215855"/>
                  </a:lnTo>
                  <a:lnTo>
                    <a:pt x="272384" y="219276"/>
                  </a:lnTo>
                  <a:lnTo>
                    <a:pt x="272873" y="224326"/>
                  </a:lnTo>
                  <a:close/>
                </a:path>
              </a:pathLst>
            </a:custGeom>
            <a:solidFill>
              <a:schemeClr val="bg2"/>
            </a:solidFill>
            <a:ln w="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3" name="Forma livre: Forma 142">
              <a:extLst>
                <a:ext uri="{FF2B5EF4-FFF2-40B4-BE49-F238E27FC236}">
                  <a16:creationId xmlns:a16="http://schemas.microsoft.com/office/drawing/2014/main" id="{C2F8309B-48C0-A681-8A58-5004A478B3DE}"/>
                </a:ext>
              </a:extLst>
            </p:cNvPr>
            <p:cNvSpPr/>
            <p:nvPr/>
          </p:nvSpPr>
          <p:spPr>
            <a:xfrm>
              <a:off x="6674421" y="5739531"/>
              <a:ext cx="61280" cy="57575"/>
            </a:xfrm>
            <a:custGeom>
              <a:avLst/>
              <a:gdLst>
                <a:gd name="connsiteX0" fmla="*/ 9286 w 59299"/>
                <a:gd name="connsiteY0" fmla="*/ 46429 h 55714"/>
                <a:gd name="connsiteX1" fmla="*/ 8797 w 59299"/>
                <a:gd name="connsiteY1" fmla="*/ 41379 h 55714"/>
                <a:gd name="connsiteX2" fmla="*/ 5702 w 59299"/>
                <a:gd name="connsiteY2" fmla="*/ 37795 h 55714"/>
                <a:gd name="connsiteX3" fmla="*/ 5213 w 59299"/>
                <a:gd name="connsiteY3" fmla="*/ 35188 h 55714"/>
                <a:gd name="connsiteX4" fmla="*/ 2118 w 59299"/>
                <a:gd name="connsiteY4" fmla="*/ 32256 h 55714"/>
                <a:gd name="connsiteX5" fmla="*/ 0 w 59299"/>
                <a:gd name="connsiteY5" fmla="*/ 27369 h 55714"/>
                <a:gd name="connsiteX6" fmla="*/ 3421 w 59299"/>
                <a:gd name="connsiteY6" fmla="*/ 24925 h 55714"/>
                <a:gd name="connsiteX7" fmla="*/ 10263 w 59299"/>
                <a:gd name="connsiteY7" fmla="*/ 19712 h 55714"/>
                <a:gd name="connsiteX8" fmla="*/ 12544 w 59299"/>
                <a:gd name="connsiteY8" fmla="*/ 13033 h 55714"/>
                <a:gd name="connsiteX9" fmla="*/ 18246 w 59299"/>
                <a:gd name="connsiteY9" fmla="*/ 7983 h 55714"/>
                <a:gd name="connsiteX10" fmla="*/ 27695 w 59299"/>
                <a:gd name="connsiteY10" fmla="*/ 6517 h 55714"/>
                <a:gd name="connsiteX11" fmla="*/ 29975 w 59299"/>
                <a:gd name="connsiteY11" fmla="*/ 3910 h 55714"/>
                <a:gd name="connsiteX12" fmla="*/ 33234 w 59299"/>
                <a:gd name="connsiteY12" fmla="*/ 1955 h 55714"/>
                <a:gd name="connsiteX13" fmla="*/ 34048 w 59299"/>
                <a:gd name="connsiteY13" fmla="*/ 0 h 55714"/>
                <a:gd name="connsiteX14" fmla="*/ 37795 w 59299"/>
                <a:gd name="connsiteY14" fmla="*/ 163 h 55714"/>
                <a:gd name="connsiteX15" fmla="*/ 40239 w 59299"/>
                <a:gd name="connsiteY15" fmla="*/ 1955 h 55714"/>
                <a:gd name="connsiteX16" fmla="*/ 41705 w 59299"/>
                <a:gd name="connsiteY16" fmla="*/ 815 h 55714"/>
                <a:gd name="connsiteX17" fmla="*/ 45289 w 59299"/>
                <a:gd name="connsiteY17" fmla="*/ 3421 h 55714"/>
                <a:gd name="connsiteX18" fmla="*/ 49361 w 59299"/>
                <a:gd name="connsiteY18" fmla="*/ 2444 h 55714"/>
                <a:gd name="connsiteX19" fmla="*/ 54901 w 59299"/>
                <a:gd name="connsiteY19" fmla="*/ 6679 h 55714"/>
                <a:gd name="connsiteX20" fmla="*/ 58974 w 59299"/>
                <a:gd name="connsiteY20" fmla="*/ 16617 h 55714"/>
                <a:gd name="connsiteX21" fmla="*/ 59299 w 59299"/>
                <a:gd name="connsiteY21" fmla="*/ 22807 h 55714"/>
                <a:gd name="connsiteX22" fmla="*/ 54738 w 59299"/>
                <a:gd name="connsiteY22" fmla="*/ 26717 h 55714"/>
                <a:gd name="connsiteX23" fmla="*/ 50013 w 59299"/>
                <a:gd name="connsiteY23" fmla="*/ 28998 h 55714"/>
                <a:gd name="connsiteX24" fmla="*/ 50502 w 59299"/>
                <a:gd name="connsiteY24" fmla="*/ 32093 h 55714"/>
                <a:gd name="connsiteX25" fmla="*/ 52620 w 59299"/>
                <a:gd name="connsiteY25" fmla="*/ 33885 h 55714"/>
                <a:gd name="connsiteX26" fmla="*/ 51317 w 59299"/>
                <a:gd name="connsiteY26" fmla="*/ 37958 h 55714"/>
                <a:gd name="connsiteX27" fmla="*/ 46755 w 59299"/>
                <a:gd name="connsiteY27" fmla="*/ 41216 h 55714"/>
                <a:gd name="connsiteX28" fmla="*/ 43660 w 59299"/>
                <a:gd name="connsiteY28" fmla="*/ 40239 h 55714"/>
                <a:gd name="connsiteX29" fmla="*/ 39261 w 59299"/>
                <a:gd name="connsiteY29" fmla="*/ 41053 h 55714"/>
                <a:gd name="connsiteX30" fmla="*/ 36003 w 59299"/>
                <a:gd name="connsiteY30" fmla="*/ 43334 h 55714"/>
                <a:gd name="connsiteX31" fmla="*/ 31604 w 59299"/>
                <a:gd name="connsiteY31" fmla="*/ 44637 h 55714"/>
                <a:gd name="connsiteX32" fmla="*/ 29324 w 59299"/>
                <a:gd name="connsiteY32" fmla="*/ 50828 h 55714"/>
                <a:gd name="connsiteX33" fmla="*/ 27532 w 59299"/>
                <a:gd name="connsiteY33" fmla="*/ 52945 h 55714"/>
                <a:gd name="connsiteX34" fmla="*/ 26229 w 59299"/>
                <a:gd name="connsiteY34" fmla="*/ 55552 h 55714"/>
                <a:gd name="connsiteX35" fmla="*/ 21504 w 59299"/>
                <a:gd name="connsiteY35" fmla="*/ 55715 h 55714"/>
                <a:gd name="connsiteX36" fmla="*/ 15640 w 59299"/>
                <a:gd name="connsiteY36" fmla="*/ 53271 h 55714"/>
                <a:gd name="connsiteX37" fmla="*/ 13033 w 59299"/>
                <a:gd name="connsiteY37" fmla="*/ 49525 h 55714"/>
                <a:gd name="connsiteX38" fmla="*/ 9286 w 59299"/>
                <a:gd name="connsiteY38" fmla="*/ 46429 h 55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59299" h="55714">
                  <a:moveTo>
                    <a:pt x="9286" y="46429"/>
                  </a:moveTo>
                  <a:lnTo>
                    <a:pt x="8797" y="41379"/>
                  </a:lnTo>
                  <a:lnTo>
                    <a:pt x="5702" y="37795"/>
                  </a:lnTo>
                  <a:lnTo>
                    <a:pt x="5213" y="35188"/>
                  </a:lnTo>
                  <a:lnTo>
                    <a:pt x="2118" y="32256"/>
                  </a:lnTo>
                  <a:lnTo>
                    <a:pt x="0" y="27369"/>
                  </a:lnTo>
                  <a:lnTo>
                    <a:pt x="3421" y="24925"/>
                  </a:lnTo>
                  <a:lnTo>
                    <a:pt x="10263" y="19712"/>
                  </a:lnTo>
                  <a:lnTo>
                    <a:pt x="12544" y="13033"/>
                  </a:lnTo>
                  <a:lnTo>
                    <a:pt x="18246" y="7983"/>
                  </a:lnTo>
                  <a:lnTo>
                    <a:pt x="27695" y="6517"/>
                  </a:lnTo>
                  <a:lnTo>
                    <a:pt x="29975" y="3910"/>
                  </a:lnTo>
                  <a:lnTo>
                    <a:pt x="33234" y="1955"/>
                  </a:lnTo>
                  <a:lnTo>
                    <a:pt x="34048" y="0"/>
                  </a:lnTo>
                  <a:lnTo>
                    <a:pt x="37795" y="163"/>
                  </a:lnTo>
                  <a:lnTo>
                    <a:pt x="40239" y="1955"/>
                  </a:lnTo>
                  <a:lnTo>
                    <a:pt x="41705" y="815"/>
                  </a:lnTo>
                  <a:lnTo>
                    <a:pt x="45289" y="3421"/>
                  </a:lnTo>
                  <a:lnTo>
                    <a:pt x="49361" y="2444"/>
                  </a:lnTo>
                  <a:lnTo>
                    <a:pt x="54901" y="6679"/>
                  </a:lnTo>
                  <a:lnTo>
                    <a:pt x="58974" y="16617"/>
                  </a:lnTo>
                  <a:lnTo>
                    <a:pt x="59299" y="22807"/>
                  </a:lnTo>
                  <a:lnTo>
                    <a:pt x="54738" y="26717"/>
                  </a:lnTo>
                  <a:lnTo>
                    <a:pt x="50013" y="28998"/>
                  </a:lnTo>
                  <a:lnTo>
                    <a:pt x="50502" y="32093"/>
                  </a:lnTo>
                  <a:lnTo>
                    <a:pt x="52620" y="33885"/>
                  </a:lnTo>
                  <a:lnTo>
                    <a:pt x="51317" y="37958"/>
                  </a:lnTo>
                  <a:lnTo>
                    <a:pt x="46755" y="41216"/>
                  </a:lnTo>
                  <a:lnTo>
                    <a:pt x="43660" y="40239"/>
                  </a:lnTo>
                  <a:lnTo>
                    <a:pt x="39261" y="41053"/>
                  </a:lnTo>
                  <a:lnTo>
                    <a:pt x="36003" y="43334"/>
                  </a:lnTo>
                  <a:lnTo>
                    <a:pt x="31604" y="44637"/>
                  </a:lnTo>
                  <a:lnTo>
                    <a:pt x="29324" y="50828"/>
                  </a:lnTo>
                  <a:lnTo>
                    <a:pt x="27532" y="52945"/>
                  </a:lnTo>
                  <a:lnTo>
                    <a:pt x="26229" y="55552"/>
                  </a:lnTo>
                  <a:lnTo>
                    <a:pt x="21504" y="55715"/>
                  </a:lnTo>
                  <a:lnTo>
                    <a:pt x="15640" y="53271"/>
                  </a:lnTo>
                  <a:lnTo>
                    <a:pt x="13033" y="49525"/>
                  </a:lnTo>
                  <a:lnTo>
                    <a:pt x="9286" y="46429"/>
                  </a:lnTo>
                  <a:close/>
                </a:path>
              </a:pathLst>
            </a:custGeom>
            <a:solidFill>
              <a:schemeClr val="bg2"/>
            </a:solidFill>
            <a:ln w="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6" name="Forma livre: Forma 145">
              <a:extLst>
                <a:ext uri="{FF2B5EF4-FFF2-40B4-BE49-F238E27FC236}">
                  <a16:creationId xmlns:a16="http://schemas.microsoft.com/office/drawing/2014/main" id="{80685E9E-A9D9-72C1-6431-6D7E78970E7E}"/>
                </a:ext>
              </a:extLst>
            </p:cNvPr>
            <p:cNvSpPr/>
            <p:nvPr/>
          </p:nvSpPr>
          <p:spPr>
            <a:xfrm>
              <a:off x="6494790" y="3760401"/>
              <a:ext cx="65825" cy="53535"/>
            </a:xfrm>
            <a:custGeom>
              <a:avLst/>
              <a:gdLst>
                <a:gd name="connsiteX0" fmla="*/ 44637 w 63697"/>
                <a:gd name="connsiteY0" fmla="*/ 0 h 51805"/>
                <a:gd name="connsiteX1" fmla="*/ 54900 w 63697"/>
                <a:gd name="connsiteY1" fmla="*/ 7983 h 51805"/>
                <a:gd name="connsiteX2" fmla="*/ 61743 w 63697"/>
                <a:gd name="connsiteY2" fmla="*/ 20038 h 51805"/>
                <a:gd name="connsiteX3" fmla="*/ 62720 w 63697"/>
                <a:gd name="connsiteY3" fmla="*/ 26066 h 51805"/>
                <a:gd name="connsiteX4" fmla="*/ 63698 w 63697"/>
                <a:gd name="connsiteY4" fmla="*/ 31279 h 51805"/>
                <a:gd name="connsiteX5" fmla="*/ 60439 w 63697"/>
                <a:gd name="connsiteY5" fmla="*/ 34048 h 51805"/>
                <a:gd name="connsiteX6" fmla="*/ 55878 w 63697"/>
                <a:gd name="connsiteY6" fmla="*/ 34211 h 51805"/>
                <a:gd name="connsiteX7" fmla="*/ 50013 w 63697"/>
                <a:gd name="connsiteY7" fmla="*/ 37958 h 51805"/>
                <a:gd name="connsiteX8" fmla="*/ 37306 w 63697"/>
                <a:gd name="connsiteY8" fmla="*/ 37306 h 51805"/>
                <a:gd name="connsiteX9" fmla="*/ 31930 w 63697"/>
                <a:gd name="connsiteY9" fmla="*/ 40239 h 51805"/>
                <a:gd name="connsiteX10" fmla="*/ 31604 w 63697"/>
                <a:gd name="connsiteY10" fmla="*/ 42519 h 51805"/>
                <a:gd name="connsiteX11" fmla="*/ 24436 w 63697"/>
                <a:gd name="connsiteY11" fmla="*/ 45126 h 51805"/>
                <a:gd name="connsiteX12" fmla="*/ 14173 w 63697"/>
                <a:gd name="connsiteY12" fmla="*/ 51316 h 51805"/>
                <a:gd name="connsiteX13" fmla="*/ 14173 w 63697"/>
                <a:gd name="connsiteY13" fmla="*/ 51805 h 51805"/>
                <a:gd name="connsiteX14" fmla="*/ 8797 w 63697"/>
                <a:gd name="connsiteY14" fmla="*/ 48058 h 51805"/>
                <a:gd name="connsiteX15" fmla="*/ 6028 w 63697"/>
                <a:gd name="connsiteY15" fmla="*/ 42031 h 51805"/>
                <a:gd name="connsiteX16" fmla="*/ 1955 w 63697"/>
                <a:gd name="connsiteY16" fmla="*/ 34863 h 51805"/>
                <a:gd name="connsiteX17" fmla="*/ 0 w 63697"/>
                <a:gd name="connsiteY17" fmla="*/ 25414 h 51805"/>
                <a:gd name="connsiteX18" fmla="*/ 1303 w 63697"/>
                <a:gd name="connsiteY18" fmla="*/ 16617 h 51805"/>
                <a:gd name="connsiteX19" fmla="*/ 1792 w 63697"/>
                <a:gd name="connsiteY19" fmla="*/ 17431 h 51805"/>
                <a:gd name="connsiteX20" fmla="*/ 3747 w 63697"/>
                <a:gd name="connsiteY20" fmla="*/ 15313 h 51805"/>
                <a:gd name="connsiteX21" fmla="*/ 3421 w 63697"/>
                <a:gd name="connsiteY21" fmla="*/ 11241 h 51805"/>
                <a:gd name="connsiteX22" fmla="*/ 9449 w 63697"/>
                <a:gd name="connsiteY22" fmla="*/ 7820 h 51805"/>
                <a:gd name="connsiteX23" fmla="*/ 14825 w 63697"/>
                <a:gd name="connsiteY23" fmla="*/ 6353 h 51805"/>
                <a:gd name="connsiteX24" fmla="*/ 19060 w 63697"/>
                <a:gd name="connsiteY24" fmla="*/ 3258 h 51805"/>
                <a:gd name="connsiteX25" fmla="*/ 28998 w 63697"/>
                <a:gd name="connsiteY25" fmla="*/ 815 h 51805"/>
                <a:gd name="connsiteX26" fmla="*/ 33722 w 63697"/>
                <a:gd name="connsiteY26" fmla="*/ 1629 h 51805"/>
                <a:gd name="connsiteX27" fmla="*/ 40890 w 63697"/>
                <a:gd name="connsiteY27" fmla="*/ 0 h 51805"/>
                <a:gd name="connsiteX28" fmla="*/ 44637 w 63697"/>
                <a:gd name="connsiteY28" fmla="*/ 0 h 518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63697" h="51805">
                  <a:moveTo>
                    <a:pt x="44637" y="0"/>
                  </a:moveTo>
                  <a:lnTo>
                    <a:pt x="54900" y="7983"/>
                  </a:lnTo>
                  <a:lnTo>
                    <a:pt x="61743" y="20038"/>
                  </a:lnTo>
                  <a:lnTo>
                    <a:pt x="62720" y="26066"/>
                  </a:lnTo>
                  <a:lnTo>
                    <a:pt x="63698" y="31279"/>
                  </a:lnTo>
                  <a:lnTo>
                    <a:pt x="60439" y="34048"/>
                  </a:lnTo>
                  <a:lnTo>
                    <a:pt x="55878" y="34211"/>
                  </a:lnTo>
                  <a:lnTo>
                    <a:pt x="50013" y="37958"/>
                  </a:lnTo>
                  <a:lnTo>
                    <a:pt x="37306" y="37306"/>
                  </a:lnTo>
                  <a:lnTo>
                    <a:pt x="31930" y="40239"/>
                  </a:lnTo>
                  <a:lnTo>
                    <a:pt x="31604" y="42519"/>
                  </a:lnTo>
                  <a:lnTo>
                    <a:pt x="24436" y="45126"/>
                  </a:lnTo>
                  <a:lnTo>
                    <a:pt x="14173" y="51316"/>
                  </a:lnTo>
                  <a:lnTo>
                    <a:pt x="14173" y="51805"/>
                  </a:lnTo>
                  <a:lnTo>
                    <a:pt x="8797" y="48058"/>
                  </a:lnTo>
                  <a:lnTo>
                    <a:pt x="6028" y="42031"/>
                  </a:lnTo>
                  <a:lnTo>
                    <a:pt x="1955" y="34863"/>
                  </a:lnTo>
                  <a:lnTo>
                    <a:pt x="0" y="25414"/>
                  </a:lnTo>
                  <a:lnTo>
                    <a:pt x="1303" y="16617"/>
                  </a:lnTo>
                  <a:lnTo>
                    <a:pt x="1792" y="17431"/>
                  </a:lnTo>
                  <a:lnTo>
                    <a:pt x="3747" y="15313"/>
                  </a:lnTo>
                  <a:lnTo>
                    <a:pt x="3421" y="11241"/>
                  </a:lnTo>
                  <a:lnTo>
                    <a:pt x="9449" y="7820"/>
                  </a:lnTo>
                  <a:lnTo>
                    <a:pt x="14825" y="6353"/>
                  </a:lnTo>
                  <a:lnTo>
                    <a:pt x="19060" y="3258"/>
                  </a:lnTo>
                  <a:lnTo>
                    <a:pt x="28998" y="815"/>
                  </a:lnTo>
                  <a:lnTo>
                    <a:pt x="33722" y="1629"/>
                  </a:lnTo>
                  <a:lnTo>
                    <a:pt x="40890" y="0"/>
                  </a:lnTo>
                  <a:lnTo>
                    <a:pt x="44637" y="0"/>
                  </a:lnTo>
                  <a:close/>
                </a:path>
              </a:pathLst>
            </a:custGeom>
            <a:solidFill>
              <a:schemeClr val="bg2"/>
            </a:solidFill>
            <a:ln w="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7" name="Forma livre: Forma 146">
              <a:extLst>
                <a:ext uri="{FF2B5EF4-FFF2-40B4-BE49-F238E27FC236}">
                  <a16:creationId xmlns:a16="http://schemas.microsoft.com/office/drawing/2014/main" id="{BED5CE17-EF77-969D-E976-56549D290FC0}"/>
                </a:ext>
              </a:extLst>
            </p:cNvPr>
            <p:cNvSpPr/>
            <p:nvPr/>
          </p:nvSpPr>
          <p:spPr>
            <a:xfrm>
              <a:off x="6344453" y="3966126"/>
              <a:ext cx="8249" cy="8249"/>
            </a:xfrm>
            <a:custGeom>
              <a:avLst/>
              <a:gdLst>
                <a:gd name="connsiteX0" fmla="*/ 163 w 7982"/>
                <a:gd name="connsiteY0" fmla="*/ 0 h 7982"/>
                <a:gd name="connsiteX1" fmla="*/ 0 w 7982"/>
                <a:gd name="connsiteY1" fmla="*/ 3747 h 7982"/>
                <a:gd name="connsiteX2" fmla="*/ 5050 w 7982"/>
                <a:gd name="connsiteY2" fmla="*/ 7983 h 7982"/>
                <a:gd name="connsiteX3" fmla="*/ 7982 w 7982"/>
                <a:gd name="connsiteY3" fmla="*/ 5050 h 7982"/>
                <a:gd name="connsiteX4" fmla="*/ 7819 w 7982"/>
                <a:gd name="connsiteY4" fmla="*/ 1140 h 7982"/>
                <a:gd name="connsiteX5" fmla="*/ 163 w 7982"/>
                <a:gd name="connsiteY5" fmla="*/ 0 h 79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982" h="7982">
                  <a:moveTo>
                    <a:pt x="163" y="0"/>
                  </a:moveTo>
                  <a:lnTo>
                    <a:pt x="0" y="3747"/>
                  </a:lnTo>
                  <a:lnTo>
                    <a:pt x="5050" y="7983"/>
                  </a:lnTo>
                  <a:lnTo>
                    <a:pt x="7982" y="5050"/>
                  </a:lnTo>
                  <a:lnTo>
                    <a:pt x="7819" y="1140"/>
                  </a:lnTo>
                  <a:lnTo>
                    <a:pt x="163" y="0"/>
                  </a:lnTo>
                  <a:close/>
                </a:path>
              </a:pathLst>
            </a:custGeom>
            <a:solidFill>
              <a:schemeClr val="bg2"/>
            </a:solidFill>
            <a:ln w="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9" name="Forma livre: Forma 148">
              <a:extLst>
                <a:ext uri="{FF2B5EF4-FFF2-40B4-BE49-F238E27FC236}">
                  <a16:creationId xmlns:a16="http://schemas.microsoft.com/office/drawing/2014/main" id="{0AB064BB-3825-4C09-148E-E903D496D953}"/>
                </a:ext>
              </a:extLst>
            </p:cNvPr>
            <p:cNvSpPr/>
            <p:nvPr/>
          </p:nvSpPr>
          <p:spPr>
            <a:xfrm>
              <a:off x="6154554" y="1971340"/>
              <a:ext cx="374411" cy="458081"/>
            </a:xfrm>
            <a:custGeom>
              <a:avLst/>
              <a:gdLst>
                <a:gd name="connsiteX0" fmla="*/ 335104 w 362309"/>
                <a:gd name="connsiteY0" fmla="*/ 37795 h 443275"/>
                <a:gd name="connsiteX1" fmla="*/ 338037 w 362309"/>
                <a:gd name="connsiteY1" fmla="*/ 34700 h 443275"/>
                <a:gd name="connsiteX2" fmla="*/ 343087 w 362309"/>
                <a:gd name="connsiteY2" fmla="*/ 33233 h 443275"/>
                <a:gd name="connsiteX3" fmla="*/ 346833 w 362309"/>
                <a:gd name="connsiteY3" fmla="*/ 30301 h 443275"/>
                <a:gd name="connsiteX4" fmla="*/ 351232 w 362309"/>
                <a:gd name="connsiteY4" fmla="*/ 24925 h 443275"/>
                <a:gd name="connsiteX5" fmla="*/ 356282 w 362309"/>
                <a:gd name="connsiteY5" fmla="*/ 22156 h 443275"/>
                <a:gd name="connsiteX6" fmla="*/ 360844 w 362309"/>
                <a:gd name="connsiteY6" fmla="*/ 22156 h 443275"/>
                <a:gd name="connsiteX7" fmla="*/ 362310 w 362309"/>
                <a:gd name="connsiteY7" fmla="*/ 24111 h 443275"/>
                <a:gd name="connsiteX8" fmla="*/ 361821 w 362309"/>
                <a:gd name="connsiteY8" fmla="*/ 26391 h 443275"/>
                <a:gd name="connsiteX9" fmla="*/ 354653 w 362309"/>
                <a:gd name="connsiteY9" fmla="*/ 31441 h 443275"/>
                <a:gd name="connsiteX10" fmla="*/ 350906 w 362309"/>
                <a:gd name="connsiteY10" fmla="*/ 33233 h 443275"/>
                <a:gd name="connsiteX11" fmla="*/ 344390 w 362309"/>
                <a:gd name="connsiteY11" fmla="*/ 38935 h 443275"/>
                <a:gd name="connsiteX12" fmla="*/ 338688 w 362309"/>
                <a:gd name="connsiteY12" fmla="*/ 40401 h 443275"/>
                <a:gd name="connsiteX13" fmla="*/ 336407 w 362309"/>
                <a:gd name="connsiteY13" fmla="*/ 39587 h 443275"/>
                <a:gd name="connsiteX14" fmla="*/ 335267 w 362309"/>
                <a:gd name="connsiteY14" fmla="*/ 37632 h 443275"/>
                <a:gd name="connsiteX15" fmla="*/ 335267 w 362309"/>
                <a:gd name="connsiteY15" fmla="*/ 37632 h 443275"/>
                <a:gd name="connsiteX16" fmla="*/ 270592 w 362309"/>
                <a:gd name="connsiteY16" fmla="*/ 42356 h 443275"/>
                <a:gd name="connsiteX17" fmla="*/ 273198 w 362309"/>
                <a:gd name="connsiteY17" fmla="*/ 46918 h 443275"/>
                <a:gd name="connsiteX18" fmla="*/ 276131 w 362309"/>
                <a:gd name="connsiteY18" fmla="*/ 46918 h 443275"/>
                <a:gd name="connsiteX19" fmla="*/ 278249 w 362309"/>
                <a:gd name="connsiteY19" fmla="*/ 44474 h 443275"/>
                <a:gd name="connsiteX20" fmla="*/ 276619 w 362309"/>
                <a:gd name="connsiteY20" fmla="*/ 40564 h 443275"/>
                <a:gd name="connsiteX21" fmla="*/ 273362 w 362309"/>
                <a:gd name="connsiteY21" fmla="*/ 38609 h 443275"/>
                <a:gd name="connsiteX22" fmla="*/ 271406 w 362309"/>
                <a:gd name="connsiteY22" fmla="*/ 39750 h 443275"/>
                <a:gd name="connsiteX23" fmla="*/ 270755 w 362309"/>
                <a:gd name="connsiteY23" fmla="*/ 42356 h 443275"/>
                <a:gd name="connsiteX24" fmla="*/ 270755 w 362309"/>
                <a:gd name="connsiteY24" fmla="*/ 42356 h 443275"/>
                <a:gd name="connsiteX25" fmla="*/ 148084 w 362309"/>
                <a:gd name="connsiteY25" fmla="*/ 3584 h 443275"/>
                <a:gd name="connsiteX26" fmla="*/ 156230 w 362309"/>
                <a:gd name="connsiteY26" fmla="*/ 9937 h 443275"/>
                <a:gd name="connsiteX27" fmla="*/ 159976 w 362309"/>
                <a:gd name="connsiteY27" fmla="*/ 10752 h 443275"/>
                <a:gd name="connsiteX28" fmla="*/ 162094 w 362309"/>
                <a:gd name="connsiteY28" fmla="*/ 9123 h 443275"/>
                <a:gd name="connsiteX29" fmla="*/ 164375 w 362309"/>
                <a:gd name="connsiteY29" fmla="*/ 5539 h 443275"/>
                <a:gd name="connsiteX30" fmla="*/ 162094 w 362309"/>
                <a:gd name="connsiteY30" fmla="*/ 3584 h 443275"/>
                <a:gd name="connsiteX31" fmla="*/ 156881 w 362309"/>
                <a:gd name="connsiteY31" fmla="*/ 4399 h 443275"/>
                <a:gd name="connsiteX32" fmla="*/ 151505 w 362309"/>
                <a:gd name="connsiteY32" fmla="*/ 1303 h 443275"/>
                <a:gd name="connsiteX33" fmla="*/ 147596 w 362309"/>
                <a:gd name="connsiteY33" fmla="*/ 0 h 443275"/>
                <a:gd name="connsiteX34" fmla="*/ 146455 w 362309"/>
                <a:gd name="connsiteY34" fmla="*/ 1792 h 443275"/>
                <a:gd name="connsiteX35" fmla="*/ 148410 w 362309"/>
                <a:gd name="connsiteY35" fmla="*/ 3584 h 443275"/>
                <a:gd name="connsiteX36" fmla="*/ 148410 w 362309"/>
                <a:gd name="connsiteY36" fmla="*/ 3584 h 443275"/>
                <a:gd name="connsiteX37" fmla="*/ 123811 w 362309"/>
                <a:gd name="connsiteY37" fmla="*/ 47081 h 443275"/>
                <a:gd name="connsiteX38" fmla="*/ 119738 w 362309"/>
                <a:gd name="connsiteY38" fmla="*/ 44474 h 443275"/>
                <a:gd name="connsiteX39" fmla="*/ 118923 w 362309"/>
                <a:gd name="connsiteY39" fmla="*/ 41868 h 443275"/>
                <a:gd name="connsiteX40" fmla="*/ 119738 w 362309"/>
                <a:gd name="connsiteY40" fmla="*/ 38772 h 443275"/>
                <a:gd name="connsiteX41" fmla="*/ 122833 w 362309"/>
                <a:gd name="connsiteY41" fmla="*/ 36492 h 443275"/>
                <a:gd name="connsiteX42" fmla="*/ 125440 w 362309"/>
                <a:gd name="connsiteY42" fmla="*/ 37469 h 443275"/>
                <a:gd name="connsiteX43" fmla="*/ 127883 w 362309"/>
                <a:gd name="connsiteY43" fmla="*/ 41542 h 443275"/>
                <a:gd name="connsiteX44" fmla="*/ 127558 w 362309"/>
                <a:gd name="connsiteY44" fmla="*/ 44311 h 443275"/>
                <a:gd name="connsiteX45" fmla="*/ 125603 w 362309"/>
                <a:gd name="connsiteY45" fmla="*/ 46592 h 443275"/>
                <a:gd name="connsiteX46" fmla="*/ 123974 w 362309"/>
                <a:gd name="connsiteY46" fmla="*/ 47081 h 443275"/>
                <a:gd name="connsiteX47" fmla="*/ 123974 w 362309"/>
                <a:gd name="connsiteY47" fmla="*/ 47081 h 443275"/>
                <a:gd name="connsiteX48" fmla="*/ 147270 w 362309"/>
                <a:gd name="connsiteY48" fmla="*/ 86342 h 443275"/>
                <a:gd name="connsiteX49" fmla="*/ 149387 w 362309"/>
                <a:gd name="connsiteY49" fmla="*/ 86016 h 443275"/>
                <a:gd name="connsiteX50" fmla="*/ 155089 w 362309"/>
                <a:gd name="connsiteY50" fmla="*/ 81943 h 443275"/>
                <a:gd name="connsiteX51" fmla="*/ 158022 w 362309"/>
                <a:gd name="connsiteY51" fmla="*/ 80803 h 443275"/>
                <a:gd name="connsiteX52" fmla="*/ 167144 w 362309"/>
                <a:gd name="connsiteY52" fmla="*/ 79988 h 443275"/>
                <a:gd name="connsiteX53" fmla="*/ 174313 w 362309"/>
                <a:gd name="connsiteY53" fmla="*/ 80314 h 443275"/>
                <a:gd name="connsiteX54" fmla="*/ 178222 w 362309"/>
                <a:gd name="connsiteY54" fmla="*/ 77545 h 443275"/>
                <a:gd name="connsiteX55" fmla="*/ 180992 w 362309"/>
                <a:gd name="connsiteY55" fmla="*/ 77219 h 443275"/>
                <a:gd name="connsiteX56" fmla="*/ 183110 w 362309"/>
                <a:gd name="connsiteY56" fmla="*/ 78685 h 443275"/>
                <a:gd name="connsiteX57" fmla="*/ 183110 w 362309"/>
                <a:gd name="connsiteY57" fmla="*/ 80803 h 443275"/>
                <a:gd name="connsiteX58" fmla="*/ 181481 w 362309"/>
                <a:gd name="connsiteY58" fmla="*/ 82595 h 443275"/>
                <a:gd name="connsiteX59" fmla="*/ 179851 w 362309"/>
                <a:gd name="connsiteY59" fmla="*/ 85527 h 443275"/>
                <a:gd name="connsiteX60" fmla="*/ 177082 w 362309"/>
                <a:gd name="connsiteY60" fmla="*/ 87156 h 443275"/>
                <a:gd name="connsiteX61" fmla="*/ 171706 w 362309"/>
                <a:gd name="connsiteY61" fmla="*/ 86016 h 443275"/>
                <a:gd name="connsiteX62" fmla="*/ 165678 w 362309"/>
                <a:gd name="connsiteY62" fmla="*/ 86016 h 443275"/>
                <a:gd name="connsiteX63" fmla="*/ 161117 w 362309"/>
                <a:gd name="connsiteY63" fmla="*/ 85201 h 443275"/>
                <a:gd name="connsiteX64" fmla="*/ 159976 w 362309"/>
                <a:gd name="connsiteY64" fmla="*/ 86993 h 443275"/>
                <a:gd name="connsiteX65" fmla="*/ 162094 w 362309"/>
                <a:gd name="connsiteY65" fmla="*/ 88623 h 443275"/>
                <a:gd name="connsiteX66" fmla="*/ 169588 w 362309"/>
                <a:gd name="connsiteY66" fmla="*/ 90577 h 443275"/>
                <a:gd name="connsiteX67" fmla="*/ 172195 w 362309"/>
                <a:gd name="connsiteY67" fmla="*/ 92532 h 443275"/>
                <a:gd name="connsiteX68" fmla="*/ 172195 w 362309"/>
                <a:gd name="connsiteY68" fmla="*/ 94813 h 443275"/>
                <a:gd name="connsiteX69" fmla="*/ 169751 w 362309"/>
                <a:gd name="connsiteY69" fmla="*/ 95139 h 443275"/>
                <a:gd name="connsiteX70" fmla="*/ 164538 w 362309"/>
                <a:gd name="connsiteY70" fmla="*/ 93184 h 443275"/>
                <a:gd name="connsiteX71" fmla="*/ 163235 w 362309"/>
                <a:gd name="connsiteY71" fmla="*/ 94976 h 443275"/>
                <a:gd name="connsiteX72" fmla="*/ 160465 w 362309"/>
                <a:gd name="connsiteY72" fmla="*/ 94976 h 443275"/>
                <a:gd name="connsiteX73" fmla="*/ 155415 w 362309"/>
                <a:gd name="connsiteY73" fmla="*/ 91392 h 443275"/>
                <a:gd name="connsiteX74" fmla="*/ 150528 w 362309"/>
                <a:gd name="connsiteY74" fmla="*/ 90415 h 443275"/>
                <a:gd name="connsiteX75" fmla="*/ 144174 w 362309"/>
                <a:gd name="connsiteY75" fmla="*/ 92207 h 443275"/>
                <a:gd name="connsiteX76" fmla="*/ 144663 w 362309"/>
                <a:gd name="connsiteY76" fmla="*/ 94813 h 443275"/>
                <a:gd name="connsiteX77" fmla="*/ 147758 w 362309"/>
                <a:gd name="connsiteY77" fmla="*/ 96442 h 443275"/>
                <a:gd name="connsiteX78" fmla="*/ 156881 w 362309"/>
                <a:gd name="connsiteY78" fmla="*/ 104588 h 443275"/>
                <a:gd name="connsiteX79" fmla="*/ 159814 w 362309"/>
                <a:gd name="connsiteY79" fmla="*/ 105402 h 443275"/>
                <a:gd name="connsiteX80" fmla="*/ 164049 w 362309"/>
                <a:gd name="connsiteY80" fmla="*/ 103121 h 443275"/>
                <a:gd name="connsiteX81" fmla="*/ 166656 w 362309"/>
                <a:gd name="connsiteY81" fmla="*/ 103936 h 443275"/>
                <a:gd name="connsiteX82" fmla="*/ 168774 w 362309"/>
                <a:gd name="connsiteY82" fmla="*/ 108823 h 443275"/>
                <a:gd name="connsiteX83" fmla="*/ 168774 w 362309"/>
                <a:gd name="connsiteY83" fmla="*/ 112733 h 443275"/>
                <a:gd name="connsiteX84" fmla="*/ 172358 w 362309"/>
                <a:gd name="connsiteY84" fmla="*/ 113873 h 443275"/>
                <a:gd name="connsiteX85" fmla="*/ 177082 w 362309"/>
                <a:gd name="connsiteY85" fmla="*/ 112407 h 443275"/>
                <a:gd name="connsiteX86" fmla="*/ 183924 w 362309"/>
                <a:gd name="connsiteY86" fmla="*/ 111919 h 443275"/>
                <a:gd name="connsiteX87" fmla="*/ 190929 w 362309"/>
                <a:gd name="connsiteY87" fmla="*/ 109149 h 443275"/>
                <a:gd name="connsiteX88" fmla="*/ 195980 w 362309"/>
                <a:gd name="connsiteY88" fmla="*/ 109149 h 443275"/>
                <a:gd name="connsiteX89" fmla="*/ 202496 w 362309"/>
                <a:gd name="connsiteY89" fmla="*/ 107683 h 443275"/>
                <a:gd name="connsiteX90" fmla="*/ 202985 w 362309"/>
                <a:gd name="connsiteY90" fmla="*/ 110289 h 443275"/>
                <a:gd name="connsiteX91" fmla="*/ 202170 w 362309"/>
                <a:gd name="connsiteY91" fmla="*/ 114525 h 443275"/>
                <a:gd name="connsiteX92" fmla="*/ 203310 w 362309"/>
                <a:gd name="connsiteY92" fmla="*/ 119249 h 443275"/>
                <a:gd name="connsiteX93" fmla="*/ 208687 w 362309"/>
                <a:gd name="connsiteY93" fmla="*/ 123159 h 443275"/>
                <a:gd name="connsiteX94" fmla="*/ 214388 w 362309"/>
                <a:gd name="connsiteY94" fmla="*/ 123811 h 443275"/>
                <a:gd name="connsiteX95" fmla="*/ 222045 w 362309"/>
                <a:gd name="connsiteY95" fmla="*/ 121530 h 443275"/>
                <a:gd name="connsiteX96" fmla="*/ 223674 w 362309"/>
                <a:gd name="connsiteY96" fmla="*/ 119087 h 443275"/>
                <a:gd name="connsiteX97" fmla="*/ 223022 w 362309"/>
                <a:gd name="connsiteY97" fmla="*/ 116969 h 443275"/>
                <a:gd name="connsiteX98" fmla="*/ 222697 w 362309"/>
                <a:gd name="connsiteY98" fmla="*/ 114199 h 443275"/>
                <a:gd name="connsiteX99" fmla="*/ 224651 w 362309"/>
                <a:gd name="connsiteY99" fmla="*/ 110941 h 443275"/>
                <a:gd name="connsiteX100" fmla="*/ 229213 w 362309"/>
                <a:gd name="connsiteY100" fmla="*/ 106380 h 443275"/>
                <a:gd name="connsiteX101" fmla="*/ 232308 w 362309"/>
                <a:gd name="connsiteY101" fmla="*/ 105728 h 443275"/>
                <a:gd name="connsiteX102" fmla="*/ 235567 w 362309"/>
                <a:gd name="connsiteY102" fmla="*/ 108497 h 443275"/>
                <a:gd name="connsiteX103" fmla="*/ 239476 w 362309"/>
                <a:gd name="connsiteY103" fmla="*/ 110941 h 443275"/>
                <a:gd name="connsiteX104" fmla="*/ 244201 w 362309"/>
                <a:gd name="connsiteY104" fmla="*/ 110941 h 443275"/>
                <a:gd name="connsiteX105" fmla="*/ 249576 w 362309"/>
                <a:gd name="connsiteY105" fmla="*/ 107031 h 443275"/>
                <a:gd name="connsiteX106" fmla="*/ 251206 w 362309"/>
                <a:gd name="connsiteY106" fmla="*/ 104751 h 443275"/>
                <a:gd name="connsiteX107" fmla="*/ 250065 w 362309"/>
                <a:gd name="connsiteY107" fmla="*/ 98071 h 443275"/>
                <a:gd name="connsiteX108" fmla="*/ 248925 w 362309"/>
                <a:gd name="connsiteY108" fmla="*/ 94161 h 443275"/>
                <a:gd name="connsiteX109" fmla="*/ 251694 w 362309"/>
                <a:gd name="connsiteY109" fmla="*/ 91066 h 443275"/>
                <a:gd name="connsiteX110" fmla="*/ 255278 w 362309"/>
                <a:gd name="connsiteY110" fmla="*/ 87808 h 443275"/>
                <a:gd name="connsiteX111" fmla="*/ 259025 w 362309"/>
                <a:gd name="connsiteY111" fmla="*/ 79825 h 443275"/>
                <a:gd name="connsiteX112" fmla="*/ 262283 w 362309"/>
                <a:gd name="connsiteY112" fmla="*/ 75590 h 443275"/>
                <a:gd name="connsiteX113" fmla="*/ 267660 w 362309"/>
                <a:gd name="connsiteY113" fmla="*/ 69236 h 443275"/>
                <a:gd name="connsiteX114" fmla="*/ 268963 w 362309"/>
                <a:gd name="connsiteY114" fmla="*/ 65164 h 443275"/>
                <a:gd name="connsiteX115" fmla="*/ 268963 w 362309"/>
                <a:gd name="connsiteY115" fmla="*/ 61417 h 443275"/>
                <a:gd name="connsiteX116" fmla="*/ 267171 w 362309"/>
                <a:gd name="connsiteY116" fmla="*/ 57181 h 443275"/>
                <a:gd name="connsiteX117" fmla="*/ 266519 w 362309"/>
                <a:gd name="connsiteY117" fmla="*/ 53434 h 443275"/>
                <a:gd name="connsiteX118" fmla="*/ 267985 w 362309"/>
                <a:gd name="connsiteY118" fmla="*/ 50665 h 443275"/>
                <a:gd name="connsiteX119" fmla="*/ 268311 w 362309"/>
                <a:gd name="connsiteY119" fmla="*/ 47732 h 443275"/>
                <a:gd name="connsiteX120" fmla="*/ 266519 w 362309"/>
                <a:gd name="connsiteY120" fmla="*/ 46592 h 443275"/>
                <a:gd name="connsiteX121" fmla="*/ 259677 w 362309"/>
                <a:gd name="connsiteY121" fmla="*/ 46266 h 443275"/>
                <a:gd name="connsiteX122" fmla="*/ 255604 w 362309"/>
                <a:gd name="connsiteY122" fmla="*/ 42682 h 443275"/>
                <a:gd name="connsiteX123" fmla="*/ 252835 w 362309"/>
                <a:gd name="connsiteY123" fmla="*/ 42193 h 443275"/>
                <a:gd name="connsiteX124" fmla="*/ 244201 w 362309"/>
                <a:gd name="connsiteY124" fmla="*/ 42845 h 443275"/>
                <a:gd name="connsiteX125" fmla="*/ 239476 w 362309"/>
                <a:gd name="connsiteY125" fmla="*/ 42031 h 443275"/>
                <a:gd name="connsiteX126" fmla="*/ 235892 w 362309"/>
                <a:gd name="connsiteY126" fmla="*/ 39750 h 443275"/>
                <a:gd name="connsiteX127" fmla="*/ 231331 w 362309"/>
                <a:gd name="connsiteY127" fmla="*/ 40076 h 443275"/>
                <a:gd name="connsiteX128" fmla="*/ 227747 w 362309"/>
                <a:gd name="connsiteY128" fmla="*/ 37795 h 443275"/>
                <a:gd name="connsiteX129" fmla="*/ 227258 w 362309"/>
                <a:gd name="connsiteY129" fmla="*/ 35514 h 443275"/>
                <a:gd name="connsiteX130" fmla="*/ 225629 w 362309"/>
                <a:gd name="connsiteY130" fmla="*/ 34048 h 443275"/>
                <a:gd name="connsiteX131" fmla="*/ 221393 w 362309"/>
                <a:gd name="connsiteY131" fmla="*/ 36817 h 443275"/>
                <a:gd name="connsiteX132" fmla="*/ 221067 w 362309"/>
                <a:gd name="connsiteY132" fmla="*/ 34537 h 443275"/>
                <a:gd name="connsiteX133" fmla="*/ 221556 w 362309"/>
                <a:gd name="connsiteY133" fmla="*/ 30953 h 443275"/>
                <a:gd name="connsiteX134" fmla="*/ 221067 w 362309"/>
                <a:gd name="connsiteY134" fmla="*/ 28346 h 443275"/>
                <a:gd name="connsiteX135" fmla="*/ 218135 w 362309"/>
                <a:gd name="connsiteY135" fmla="*/ 30464 h 443275"/>
                <a:gd name="connsiteX136" fmla="*/ 216669 w 362309"/>
                <a:gd name="connsiteY136" fmla="*/ 34700 h 443275"/>
                <a:gd name="connsiteX137" fmla="*/ 214388 w 362309"/>
                <a:gd name="connsiteY137" fmla="*/ 35840 h 443275"/>
                <a:gd name="connsiteX138" fmla="*/ 213411 w 362309"/>
                <a:gd name="connsiteY138" fmla="*/ 30138 h 443275"/>
                <a:gd name="connsiteX139" fmla="*/ 212271 w 362309"/>
                <a:gd name="connsiteY139" fmla="*/ 29649 h 443275"/>
                <a:gd name="connsiteX140" fmla="*/ 209990 w 362309"/>
                <a:gd name="connsiteY140" fmla="*/ 32093 h 443275"/>
                <a:gd name="connsiteX141" fmla="*/ 211130 w 362309"/>
                <a:gd name="connsiteY141" fmla="*/ 33885 h 443275"/>
                <a:gd name="connsiteX142" fmla="*/ 210153 w 362309"/>
                <a:gd name="connsiteY142" fmla="*/ 36329 h 443275"/>
                <a:gd name="connsiteX143" fmla="*/ 207057 w 362309"/>
                <a:gd name="connsiteY143" fmla="*/ 39750 h 443275"/>
                <a:gd name="connsiteX144" fmla="*/ 207057 w 362309"/>
                <a:gd name="connsiteY144" fmla="*/ 44148 h 443275"/>
                <a:gd name="connsiteX145" fmla="*/ 206080 w 362309"/>
                <a:gd name="connsiteY145" fmla="*/ 47407 h 443275"/>
                <a:gd name="connsiteX146" fmla="*/ 202659 w 362309"/>
                <a:gd name="connsiteY146" fmla="*/ 45777 h 443275"/>
                <a:gd name="connsiteX147" fmla="*/ 201030 w 362309"/>
                <a:gd name="connsiteY147" fmla="*/ 42845 h 443275"/>
                <a:gd name="connsiteX148" fmla="*/ 199726 w 362309"/>
                <a:gd name="connsiteY148" fmla="*/ 42519 h 443275"/>
                <a:gd name="connsiteX149" fmla="*/ 199726 w 362309"/>
                <a:gd name="connsiteY149" fmla="*/ 45452 h 443275"/>
                <a:gd name="connsiteX150" fmla="*/ 198586 w 362309"/>
                <a:gd name="connsiteY150" fmla="*/ 48384 h 443275"/>
                <a:gd name="connsiteX151" fmla="*/ 197120 w 362309"/>
                <a:gd name="connsiteY151" fmla="*/ 45615 h 443275"/>
                <a:gd name="connsiteX152" fmla="*/ 196794 w 362309"/>
                <a:gd name="connsiteY152" fmla="*/ 41868 h 443275"/>
                <a:gd name="connsiteX153" fmla="*/ 198097 w 362309"/>
                <a:gd name="connsiteY153" fmla="*/ 36492 h 443275"/>
                <a:gd name="connsiteX154" fmla="*/ 198097 w 362309"/>
                <a:gd name="connsiteY154" fmla="*/ 28509 h 443275"/>
                <a:gd name="connsiteX155" fmla="*/ 197120 w 362309"/>
                <a:gd name="connsiteY155" fmla="*/ 24925 h 443275"/>
                <a:gd name="connsiteX156" fmla="*/ 191907 w 362309"/>
                <a:gd name="connsiteY156" fmla="*/ 21993 h 443275"/>
                <a:gd name="connsiteX157" fmla="*/ 189463 w 362309"/>
                <a:gd name="connsiteY157" fmla="*/ 18572 h 443275"/>
                <a:gd name="connsiteX158" fmla="*/ 187834 w 362309"/>
                <a:gd name="connsiteY158" fmla="*/ 18897 h 443275"/>
                <a:gd name="connsiteX159" fmla="*/ 186856 w 362309"/>
                <a:gd name="connsiteY159" fmla="*/ 22156 h 443275"/>
                <a:gd name="connsiteX160" fmla="*/ 189626 w 362309"/>
                <a:gd name="connsiteY160" fmla="*/ 25088 h 443275"/>
                <a:gd name="connsiteX161" fmla="*/ 190929 w 362309"/>
                <a:gd name="connsiteY161" fmla="*/ 28183 h 443275"/>
                <a:gd name="connsiteX162" fmla="*/ 187182 w 362309"/>
                <a:gd name="connsiteY162" fmla="*/ 27206 h 443275"/>
                <a:gd name="connsiteX163" fmla="*/ 185228 w 362309"/>
                <a:gd name="connsiteY163" fmla="*/ 24599 h 443275"/>
                <a:gd name="connsiteX164" fmla="*/ 182947 w 362309"/>
                <a:gd name="connsiteY164" fmla="*/ 26228 h 443275"/>
                <a:gd name="connsiteX165" fmla="*/ 183273 w 362309"/>
                <a:gd name="connsiteY165" fmla="*/ 31279 h 443275"/>
                <a:gd name="connsiteX166" fmla="*/ 187019 w 362309"/>
                <a:gd name="connsiteY166" fmla="*/ 35351 h 443275"/>
                <a:gd name="connsiteX167" fmla="*/ 187346 w 362309"/>
                <a:gd name="connsiteY167" fmla="*/ 40076 h 443275"/>
                <a:gd name="connsiteX168" fmla="*/ 186368 w 362309"/>
                <a:gd name="connsiteY168" fmla="*/ 44474 h 443275"/>
                <a:gd name="connsiteX169" fmla="*/ 186368 w 362309"/>
                <a:gd name="connsiteY169" fmla="*/ 50339 h 443275"/>
                <a:gd name="connsiteX170" fmla="*/ 189300 w 362309"/>
                <a:gd name="connsiteY170" fmla="*/ 57344 h 443275"/>
                <a:gd name="connsiteX171" fmla="*/ 187671 w 362309"/>
                <a:gd name="connsiteY171" fmla="*/ 61580 h 443275"/>
                <a:gd name="connsiteX172" fmla="*/ 185716 w 362309"/>
                <a:gd name="connsiteY172" fmla="*/ 61580 h 443275"/>
                <a:gd name="connsiteX173" fmla="*/ 184087 w 362309"/>
                <a:gd name="connsiteY173" fmla="*/ 56855 h 443275"/>
                <a:gd name="connsiteX174" fmla="*/ 179689 w 362309"/>
                <a:gd name="connsiteY174" fmla="*/ 52945 h 443275"/>
                <a:gd name="connsiteX175" fmla="*/ 175127 w 362309"/>
                <a:gd name="connsiteY175" fmla="*/ 50176 h 443275"/>
                <a:gd name="connsiteX176" fmla="*/ 174313 w 362309"/>
                <a:gd name="connsiteY176" fmla="*/ 46918 h 443275"/>
                <a:gd name="connsiteX177" fmla="*/ 176267 w 362309"/>
                <a:gd name="connsiteY177" fmla="*/ 43497 h 443275"/>
                <a:gd name="connsiteX178" fmla="*/ 176267 w 362309"/>
                <a:gd name="connsiteY178" fmla="*/ 41053 h 443275"/>
                <a:gd name="connsiteX179" fmla="*/ 173335 w 362309"/>
                <a:gd name="connsiteY179" fmla="*/ 39424 h 443275"/>
                <a:gd name="connsiteX180" fmla="*/ 168774 w 362309"/>
                <a:gd name="connsiteY180" fmla="*/ 42193 h 443275"/>
                <a:gd name="connsiteX181" fmla="*/ 166819 w 362309"/>
                <a:gd name="connsiteY181" fmla="*/ 41868 h 443275"/>
                <a:gd name="connsiteX182" fmla="*/ 165515 w 362309"/>
                <a:gd name="connsiteY182" fmla="*/ 43660 h 443275"/>
                <a:gd name="connsiteX183" fmla="*/ 161443 w 362309"/>
                <a:gd name="connsiteY183" fmla="*/ 46429 h 443275"/>
                <a:gd name="connsiteX184" fmla="*/ 158022 w 362309"/>
                <a:gd name="connsiteY184" fmla="*/ 44800 h 443275"/>
                <a:gd name="connsiteX185" fmla="*/ 158022 w 362309"/>
                <a:gd name="connsiteY185" fmla="*/ 42193 h 443275"/>
                <a:gd name="connsiteX186" fmla="*/ 157696 w 362309"/>
                <a:gd name="connsiteY186" fmla="*/ 39913 h 443275"/>
                <a:gd name="connsiteX187" fmla="*/ 154926 w 362309"/>
                <a:gd name="connsiteY187" fmla="*/ 40401 h 443275"/>
                <a:gd name="connsiteX188" fmla="*/ 151994 w 362309"/>
                <a:gd name="connsiteY188" fmla="*/ 36329 h 443275"/>
                <a:gd name="connsiteX189" fmla="*/ 150528 w 362309"/>
                <a:gd name="connsiteY189" fmla="*/ 31767 h 443275"/>
                <a:gd name="connsiteX190" fmla="*/ 147107 w 362309"/>
                <a:gd name="connsiteY190" fmla="*/ 30301 h 443275"/>
                <a:gd name="connsiteX191" fmla="*/ 145152 w 362309"/>
                <a:gd name="connsiteY191" fmla="*/ 31279 h 443275"/>
                <a:gd name="connsiteX192" fmla="*/ 142219 w 362309"/>
                <a:gd name="connsiteY192" fmla="*/ 28183 h 443275"/>
                <a:gd name="connsiteX193" fmla="*/ 143360 w 362309"/>
                <a:gd name="connsiteY193" fmla="*/ 24273 h 443275"/>
                <a:gd name="connsiteX194" fmla="*/ 141731 w 362309"/>
                <a:gd name="connsiteY194" fmla="*/ 20038 h 443275"/>
                <a:gd name="connsiteX195" fmla="*/ 139776 w 362309"/>
                <a:gd name="connsiteY195" fmla="*/ 19060 h 443275"/>
                <a:gd name="connsiteX196" fmla="*/ 137169 w 362309"/>
                <a:gd name="connsiteY196" fmla="*/ 21993 h 443275"/>
                <a:gd name="connsiteX197" fmla="*/ 136355 w 362309"/>
                <a:gd name="connsiteY197" fmla="*/ 28998 h 443275"/>
                <a:gd name="connsiteX198" fmla="*/ 137332 w 362309"/>
                <a:gd name="connsiteY198" fmla="*/ 34374 h 443275"/>
                <a:gd name="connsiteX199" fmla="*/ 140265 w 362309"/>
                <a:gd name="connsiteY199" fmla="*/ 39750 h 443275"/>
                <a:gd name="connsiteX200" fmla="*/ 141731 w 362309"/>
                <a:gd name="connsiteY200" fmla="*/ 46429 h 443275"/>
                <a:gd name="connsiteX201" fmla="*/ 139450 w 362309"/>
                <a:gd name="connsiteY201" fmla="*/ 47732 h 443275"/>
                <a:gd name="connsiteX202" fmla="*/ 136517 w 362309"/>
                <a:gd name="connsiteY202" fmla="*/ 44474 h 443275"/>
                <a:gd name="connsiteX203" fmla="*/ 135051 w 362309"/>
                <a:gd name="connsiteY203" fmla="*/ 40076 h 443275"/>
                <a:gd name="connsiteX204" fmla="*/ 133422 w 362309"/>
                <a:gd name="connsiteY204" fmla="*/ 38447 h 443275"/>
                <a:gd name="connsiteX205" fmla="*/ 132933 w 362309"/>
                <a:gd name="connsiteY205" fmla="*/ 42682 h 443275"/>
                <a:gd name="connsiteX206" fmla="*/ 134074 w 362309"/>
                <a:gd name="connsiteY206" fmla="*/ 48221 h 443275"/>
                <a:gd name="connsiteX207" fmla="*/ 136681 w 362309"/>
                <a:gd name="connsiteY207" fmla="*/ 51968 h 443275"/>
                <a:gd name="connsiteX208" fmla="*/ 136355 w 362309"/>
                <a:gd name="connsiteY208" fmla="*/ 55715 h 443275"/>
                <a:gd name="connsiteX209" fmla="*/ 135051 w 362309"/>
                <a:gd name="connsiteY209" fmla="*/ 59462 h 443275"/>
                <a:gd name="connsiteX210" fmla="*/ 133422 w 362309"/>
                <a:gd name="connsiteY210" fmla="*/ 58484 h 443275"/>
                <a:gd name="connsiteX211" fmla="*/ 131142 w 362309"/>
                <a:gd name="connsiteY211" fmla="*/ 52620 h 443275"/>
                <a:gd name="connsiteX212" fmla="*/ 129349 w 362309"/>
                <a:gd name="connsiteY212" fmla="*/ 50339 h 443275"/>
                <a:gd name="connsiteX213" fmla="*/ 120553 w 362309"/>
                <a:gd name="connsiteY213" fmla="*/ 51479 h 443275"/>
                <a:gd name="connsiteX214" fmla="*/ 117131 w 362309"/>
                <a:gd name="connsiteY214" fmla="*/ 48873 h 443275"/>
                <a:gd name="connsiteX215" fmla="*/ 114851 w 362309"/>
                <a:gd name="connsiteY215" fmla="*/ 51479 h 443275"/>
                <a:gd name="connsiteX216" fmla="*/ 116643 w 362309"/>
                <a:gd name="connsiteY216" fmla="*/ 56529 h 443275"/>
                <a:gd name="connsiteX217" fmla="*/ 119901 w 362309"/>
                <a:gd name="connsiteY217" fmla="*/ 56204 h 443275"/>
                <a:gd name="connsiteX218" fmla="*/ 122671 w 362309"/>
                <a:gd name="connsiteY218" fmla="*/ 58973 h 443275"/>
                <a:gd name="connsiteX219" fmla="*/ 121041 w 362309"/>
                <a:gd name="connsiteY219" fmla="*/ 61743 h 443275"/>
                <a:gd name="connsiteX220" fmla="*/ 122344 w 362309"/>
                <a:gd name="connsiteY220" fmla="*/ 63535 h 443275"/>
                <a:gd name="connsiteX221" fmla="*/ 126743 w 362309"/>
                <a:gd name="connsiteY221" fmla="*/ 63535 h 443275"/>
                <a:gd name="connsiteX222" fmla="*/ 128046 w 362309"/>
                <a:gd name="connsiteY222" fmla="*/ 65327 h 443275"/>
                <a:gd name="connsiteX223" fmla="*/ 121204 w 362309"/>
                <a:gd name="connsiteY223" fmla="*/ 69725 h 443275"/>
                <a:gd name="connsiteX224" fmla="*/ 120878 w 362309"/>
                <a:gd name="connsiteY224" fmla="*/ 72495 h 443275"/>
                <a:gd name="connsiteX225" fmla="*/ 126255 w 362309"/>
                <a:gd name="connsiteY225" fmla="*/ 80803 h 443275"/>
                <a:gd name="connsiteX226" fmla="*/ 130001 w 362309"/>
                <a:gd name="connsiteY226" fmla="*/ 82269 h 443275"/>
                <a:gd name="connsiteX227" fmla="*/ 134400 w 362309"/>
                <a:gd name="connsiteY227" fmla="*/ 85039 h 443275"/>
                <a:gd name="connsiteX228" fmla="*/ 140590 w 362309"/>
                <a:gd name="connsiteY228" fmla="*/ 85364 h 443275"/>
                <a:gd name="connsiteX229" fmla="*/ 144663 w 362309"/>
                <a:gd name="connsiteY229" fmla="*/ 83735 h 443275"/>
                <a:gd name="connsiteX230" fmla="*/ 147758 w 362309"/>
                <a:gd name="connsiteY230" fmla="*/ 86179 h 443275"/>
                <a:gd name="connsiteX231" fmla="*/ 147758 w 362309"/>
                <a:gd name="connsiteY231" fmla="*/ 86179 h 443275"/>
                <a:gd name="connsiteX232" fmla="*/ 291444 w 362309"/>
                <a:gd name="connsiteY232" fmla="*/ 143360 h 443275"/>
                <a:gd name="connsiteX233" fmla="*/ 295354 w 362309"/>
                <a:gd name="connsiteY233" fmla="*/ 136029 h 443275"/>
                <a:gd name="connsiteX234" fmla="*/ 300078 w 362309"/>
                <a:gd name="connsiteY234" fmla="*/ 132771 h 443275"/>
                <a:gd name="connsiteX235" fmla="*/ 302848 w 362309"/>
                <a:gd name="connsiteY235" fmla="*/ 132771 h 443275"/>
                <a:gd name="connsiteX236" fmla="*/ 306106 w 362309"/>
                <a:gd name="connsiteY236" fmla="*/ 130653 h 443275"/>
                <a:gd name="connsiteX237" fmla="*/ 307410 w 362309"/>
                <a:gd name="connsiteY237" fmla="*/ 133260 h 443275"/>
                <a:gd name="connsiteX238" fmla="*/ 314740 w 362309"/>
                <a:gd name="connsiteY238" fmla="*/ 134237 h 443275"/>
                <a:gd name="connsiteX239" fmla="*/ 317998 w 362309"/>
                <a:gd name="connsiteY239" fmla="*/ 133911 h 443275"/>
                <a:gd name="connsiteX240" fmla="*/ 316532 w 362309"/>
                <a:gd name="connsiteY240" fmla="*/ 137495 h 443275"/>
                <a:gd name="connsiteX241" fmla="*/ 312134 w 362309"/>
                <a:gd name="connsiteY241" fmla="*/ 139939 h 443275"/>
                <a:gd name="connsiteX242" fmla="*/ 306106 w 362309"/>
                <a:gd name="connsiteY242" fmla="*/ 136681 h 443275"/>
                <a:gd name="connsiteX243" fmla="*/ 302848 w 362309"/>
                <a:gd name="connsiteY243" fmla="*/ 136681 h 443275"/>
                <a:gd name="connsiteX244" fmla="*/ 300404 w 362309"/>
                <a:gd name="connsiteY244" fmla="*/ 138473 h 443275"/>
                <a:gd name="connsiteX245" fmla="*/ 297798 w 362309"/>
                <a:gd name="connsiteY245" fmla="*/ 138473 h 443275"/>
                <a:gd name="connsiteX246" fmla="*/ 293562 w 362309"/>
                <a:gd name="connsiteY246" fmla="*/ 143849 h 443275"/>
                <a:gd name="connsiteX247" fmla="*/ 291607 w 362309"/>
                <a:gd name="connsiteY247" fmla="*/ 143523 h 443275"/>
                <a:gd name="connsiteX248" fmla="*/ 291607 w 362309"/>
                <a:gd name="connsiteY248" fmla="*/ 143523 h 443275"/>
                <a:gd name="connsiteX249" fmla="*/ 272221 w 362309"/>
                <a:gd name="connsiteY249" fmla="*/ 159977 h 443275"/>
                <a:gd name="connsiteX250" fmla="*/ 271895 w 362309"/>
                <a:gd name="connsiteY250" fmla="*/ 156067 h 443275"/>
                <a:gd name="connsiteX251" fmla="*/ 269289 w 362309"/>
                <a:gd name="connsiteY251" fmla="*/ 151831 h 443275"/>
                <a:gd name="connsiteX252" fmla="*/ 269289 w 362309"/>
                <a:gd name="connsiteY252" fmla="*/ 147596 h 443275"/>
                <a:gd name="connsiteX253" fmla="*/ 270592 w 362309"/>
                <a:gd name="connsiteY253" fmla="*/ 146292 h 443275"/>
                <a:gd name="connsiteX254" fmla="*/ 271895 w 362309"/>
                <a:gd name="connsiteY254" fmla="*/ 144175 h 443275"/>
                <a:gd name="connsiteX255" fmla="*/ 273362 w 362309"/>
                <a:gd name="connsiteY255" fmla="*/ 144663 h 443275"/>
                <a:gd name="connsiteX256" fmla="*/ 274339 w 362309"/>
                <a:gd name="connsiteY256" fmla="*/ 150365 h 443275"/>
                <a:gd name="connsiteX257" fmla="*/ 278086 w 362309"/>
                <a:gd name="connsiteY257" fmla="*/ 153786 h 443275"/>
                <a:gd name="connsiteX258" fmla="*/ 278086 w 362309"/>
                <a:gd name="connsiteY258" fmla="*/ 156556 h 443275"/>
                <a:gd name="connsiteX259" fmla="*/ 274502 w 362309"/>
                <a:gd name="connsiteY259" fmla="*/ 160791 h 443275"/>
                <a:gd name="connsiteX260" fmla="*/ 272058 w 362309"/>
                <a:gd name="connsiteY260" fmla="*/ 159977 h 443275"/>
                <a:gd name="connsiteX261" fmla="*/ 272058 w 362309"/>
                <a:gd name="connsiteY261" fmla="*/ 159977 h 443275"/>
                <a:gd name="connsiteX262" fmla="*/ 181155 w 362309"/>
                <a:gd name="connsiteY262" fmla="*/ 202985 h 443275"/>
                <a:gd name="connsiteX263" fmla="*/ 183598 w 362309"/>
                <a:gd name="connsiteY263" fmla="*/ 197772 h 443275"/>
                <a:gd name="connsiteX264" fmla="*/ 188160 w 362309"/>
                <a:gd name="connsiteY264" fmla="*/ 193699 h 443275"/>
                <a:gd name="connsiteX265" fmla="*/ 198097 w 362309"/>
                <a:gd name="connsiteY265" fmla="*/ 191418 h 443275"/>
                <a:gd name="connsiteX266" fmla="*/ 203636 w 362309"/>
                <a:gd name="connsiteY266" fmla="*/ 190930 h 443275"/>
                <a:gd name="connsiteX267" fmla="*/ 210153 w 362309"/>
                <a:gd name="connsiteY267" fmla="*/ 185391 h 443275"/>
                <a:gd name="connsiteX268" fmla="*/ 217321 w 362309"/>
                <a:gd name="connsiteY268" fmla="*/ 180666 h 443275"/>
                <a:gd name="connsiteX269" fmla="*/ 219113 w 362309"/>
                <a:gd name="connsiteY269" fmla="*/ 186368 h 443275"/>
                <a:gd name="connsiteX270" fmla="*/ 223185 w 362309"/>
                <a:gd name="connsiteY270" fmla="*/ 192396 h 443275"/>
                <a:gd name="connsiteX271" fmla="*/ 222860 w 362309"/>
                <a:gd name="connsiteY271" fmla="*/ 195002 h 443275"/>
                <a:gd name="connsiteX272" fmla="*/ 218949 w 362309"/>
                <a:gd name="connsiteY272" fmla="*/ 196143 h 443275"/>
                <a:gd name="connsiteX273" fmla="*/ 217321 w 362309"/>
                <a:gd name="connsiteY273" fmla="*/ 198586 h 443275"/>
                <a:gd name="connsiteX274" fmla="*/ 218461 w 362309"/>
                <a:gd name="connsiteY274" fmla="*/ 204777 h 443275"/>
                <a:gd name="connsiteX275" fmla="*/ 224326 w 362309"/>
                <a:gd name="connsiteY275" fmla="*/ 210967 h 443275"/>
                <a:gd name="connsiteX276" fmla="*/ 230190 w 362309"/>
                <a:gd name="connsiteY276" fmla="*/ 214714 h 443275"/>
                <a:gd name="connsiteX277" fmla="*/ 233449 w 362309"/>
                <a:gd name="connsiteY277" fmla="*/ 211782 h 443275"/>
                <a:gd name="connsiteX278" fmla="*/ 239313 w 362309"/>
                <a:gd name="connsiteY278" fmla="*/ 208687 h 443275"/>
                <a:gd name="connsiteX279" fmla="*/ 243549 w 362309"/>
                <a:gd name="connsiteY279" fmla="*/ 210967 h 443275"/>
                <a:gd name="connsiteX280" fmla="*/ 245830 w 362309"/>
                <a:gd name="connsiteY280" fmla="*/ 213737 h 443275"/>
                <a:gd name="connsiteX281" fmla="*/ 250554 w 362309"/>
                <a:gd name="connsiteY281" fmla="*/ 216018 h 443275"/>
                <a:gd name="connsiteX282" fmla="*/ 248762 w 362309"/>
                <a:gd name="connsiteY282" fmla="*/ 217810 h 443275"/>
                <a:gd name="connsiteX283" fmla="*/ 243223 w 362309"/>
                <a:gd name="connsiteY283" fmla="*/ 220090 h 443275"/>
                <a:gd name="connsiteX284" fmla="*/ 238662 w 362309"/>
                <a:gd name="connsiteY284" fmla="*/ 227421 h 443275"/>
                <a:gd name="connsiteX285" fmla="*/ 238010 w 362309"/>
                <a:gd name="connsiteY285" fmla="*/ 231983 h 443275"/>
                <a:gd name="connsiteX286" fmla="*/ 234752 w 362309"/>
                <a:gd name="connsiteY286" fmla="*/ 242246 h 443275"/>
                <a:gd name="connsiteX287" fmla="*/ 230679 w 362309"/>
                <a:gd name="connsiteY287" fmla="*/ 243386 h 443275"/>
                <a:gd name="connsiteX288" fmla="*/ 226117 w 362309"/>
                <a:gd name="connsiteY288" fmla="*/ 246156 h 443275"/>
                <a:gd name="connsiteX289" fmla="*/ 223511 w 362309"/>
                <a:gd name="connsiteY289" fmla="*/ 250066 h 443275"/>
                <a:gd name="connsiteX290" fmla="*/ 223511 w 362309"/>
                <a:gd name="connsiteY290" fmla="*/ 254301 h 443275"/>
                <a:gd name="connsiteX291" fmla="*/ 219601 w 362309"/>
                <a:gd name="connsiteY291" fmla="*/ 257396 h 443275"/>
                <a:gd name="connsiteX292" fmla="*/ 216669 w 362309"/>
                <a:gd name="connsiteY292" fmla="*/ 257396 h 443275"/>
                <a:gd name="connsiteX293" fmla="*/ 215040 w 362309"/>
                <a:gd name="connsiteY293" fmla="*/ 252998 h 443275"/>
                <a:gd name="connsiteX294" fmla="*/ 217809 w 362309"/>
                <a:gd name="connsiteY294" fmla="*/ 249088 h 443275"/>
                <a:gd name="connsiteX295" fmla="*/ 216832 w 362309"/>
                <a:gd name="connsiteY295" fmla="*/ 243223 h 443275"/>
                <a:gd name="connsiteX296" fmla="*/ 219113 w 362309"/>
                <a:gd name="connsiteY296" fmla="*/ 235892 h 443275"/>
                <a:gd name="connsiteX297" fmla="*/ 219113 w 362309"/>
                <a:gd name="connsiteY297" fmla="*/ 230516 h 443275"/>
                <a:gd name="connsiteX298" fmla="*/ 216832 w 362309"/>
                <a:gd name="connsiteY298" fmla="*/ 232146 h 443275"/>
                <a:gd name="connsiteX299" fmla="*/ 213085 w 362309"/>
                <a:gd name="connsiteY299" fmla="*/ 231331 h 443275"/>
                <a:gd name="connsiteX300" fmla="*/ 210478 w 362309"/>
                <a:gd name="connsiteY300" fmla="*/ 233123 h 443275"/>
                <a:gd name="connsiteX301" fmla="*/ 207546 w 362309"/>
                <a:gd name="connsiteY301" fmla="*/ 238988 h 443275"/>
                <a:gd name="connsiteX302" fmla="*/ 204288 w 362309"/>
                <a:gd name="connsiteY302" fmla="*/ 241757 h 443275"/>
                <a:gd name="connsiteX303" fmla="*/ 200541 w 362309"/>
                <a:gd name="connsiteY303" fmla="*/ 241757 h 443275"/>
                <a:gd name="connsiteX304" fmla="*/ 195817 w 362309"/>
                <a:gd name="connsiteY304" fmla="*/ 246156 h 443275"/>
                <a:gd name="connsiteX305" fmla="*/ 191092 w 362309"/>
                <a:gd name="connsiteY305" fmla="*/ 246644 h 443275"/>
                <a:gd name="connsiteX306" fmla="*/ 186856 w 362309"/>
                <a:gd name="connsiteY306" fmla="*/ 248925 h 443275"/>
                <a:gd name="connsiteX307" fmla="*/ 184901 w 362309"/>
                <a:gd name="connsiteY307" fmla="*/ 248599 h 443275"/>
                <a:gd name="connsiteX308" fmla="*/ 184413 w 362309"/>
                <a:gd name="connsiteY308" fmla="*/ 244690 h 443275"/>
                <a:gd name="connsiteX309" fmla="*/ 185879 w 362309"/>
                <a:gd name="connsiteY309" fmla="*/ 242083 h 443275"/>
                <a:gd name="connsiteX310" fmla="*/ 185390 w 362309"/>
                <a:gd name="connsiteY310" fmla="*/ 237522 h 443275"/>
                <a:gd name="connsiteX311" fmla="*/ 189137 w 362309"/>
                <a:gd name="connsiteY311" fmla="*/ 234752 h 443275"/>
                <a:gd name="connsiteX312" fmla="*/ 190278 w 362309"/>
                <a:gd name="connsiteY312" fmla="*/ 227258 h 443275"/>
                <a:gd name="connsiteX313" fmla="*/ 194024 w 362309"/>
                <a:gd name="connsiteY313" fmla="*/ 220579 h 443275"/>
                <a:gd name="connsiteX314" fmla="*/ 194024 w 362309"/>
                <a:gd name="connsiteY314" fmla="*/ 215529 h 443275"/>
                <a:gd name="connsiteX315" fmla="*/ 195328 w 362309"/>
                <a:gd name="connsiteY315" fmla="*/ 212434 h 443275"/>
                <a:gd name="connsiteX316" fmla="*/ 194351 w 362309"/>
                <a:gd name="connsiteY316" fmla="*/ 209664 h 443275"/>
                <a:gd name="connsiteX317" fmla="*/ 189952 w 362309"/>
                <a:gd name="connsiteY317" fmla="*/ 209664 h 443275"/>
                <a:gd name="connsiteX318" fmla="*/ 185879 w 362309"/>
                <a:gd name="connsiteY318" fmla="*/ 205428 h 443275"/>
                <a:gd name="connsiteX319" fmla="*/ 181644 w 362309"/>
                <a:gd name="connsiteY319" fmla="*/ 202822 h 443275"/>
                <a:gd name="connsiteX320" fmla="*/ 181644 w 362309"/>
                <a:gd name="connsiteY320" fmla="*/ 202822 h 443275"/>
                <a:gd name="connsiteX321" fmla="*/ 157696 w 362309"/>
                <a:gd name="connsiteY321" fmla="*/ 128861 h 443275"/>
                <a:gd name="connsiteX322" fmla="*/ 159162 w 362309"/>
                <a:gd name="connsiteY322" fmla="*/ 133748 h 443275"/>
                <a:gd name="connsiteX323" fmla="*/ 162257 w 362309"/>
                <a:gd name="connsiteY323" fmla="*/ 137332 h 443275"/>
                <a:gd name="connsiteX324" fmla="*/ 166656 w 362309"/>
                <a:gd name="connsiteY324" fmla="*/ 137658 h 443275"/>
                <a:gd name="connsiteX325" fmla="*/ 171217 w 362309"/>
                <a:gd name="connsiteY325" fmla="*/ 136192 h 443275"/>
                <a:gd name="connsiteX326" fmla="*/ 171217 w 362309"/>
                <a:gd name="connsiteY326" fmla="*/ 131631 h 443275"/>
                <a:gd name="connsiteX327" fmla="*/ 168285 w 362309"/>
                <a:gd name="connsiteY327" fmla="*/ 128209 h 443275"/>
                <a:gd name="connsiteX328" fmla="*/ 159325 w 362309"/>
                <a:gd name="connsiteY328" fmla="*/ 126255 h 443275"/>
                <a:gd name="connsiteX329" fmla="*/ 157696 w 362309"/>
                <a:gd name="connsiteY329" fmla="*/ 127069 h 443275"/>
                <a:gd name="connsiteX330" fmla="*/ 157696 w 362309"/>
                <a:gd name="connsiteY330" fmla="*/ 128698 h 443275"/>
                <a:gd name="connsiteX331" fmla="*/ 157696 w 362309"/>
                <a:gd name="connsiteY331" fmla="*/ 128698 h 443275"/>
                <a:gd name="connsiteX332" fmla="*/ 166982 w 362309"/>
                <a:gd name="connsiteY332" fmla="*/ 173987 h 443275"/>
                <a:gd name="connsiteX333" fmla="*/ 171380 w 362309"/>
                <a:gd name="connsiteY333" fmla="*/ 176268 h 443275"/>
                <a:gd name="connsiteX334" fmla="*/ 176593 w 362309"/>
                <a:gd name="connsiteY334" fmla="*/ 176268 h 443275"/>
                <a:gd name="connsiteX335" fmla="*/ 178548 w 362309"/>
                <a:gd name="connsiteY335" fmla="*/ 180666 h 443275"/>
                <a:gd name="connsiteX336" fmla="*/ 180177 w 362309"/>
                <a:gd name="connsiteY336" fmla="*/ 183273 h 443275"/>
                <a:gd name="connsiteX337" fmla="*/ 179689 w 362309"/>
                <a:gd name="connsiteY337" fmla="*/ 186042 h 443275"/>
                <a:gd name="connsiteX338" fmla="*/ 182132 w 362309"/>
                <a:gd name="connsiteY338" fmla="*/ 187671 h 443275"/>
                <a:gd name="connsiteX339" fmla="*/ 179851 w 362309"/>
                <a:gd name="connsiteY339" fmla="*/ 191581 h 443275"/>
                <a:gd name="connsiteX340" fmla="*/ 183110 w 362309"/>
                <a:gd name="connsiteY340" fmla="*/ 191092 h 443275"/>
                <a:gd name="connsiteX341" fmla="*/ 185716 w 362309"/>
                <a:gd name="connsiteY341" fmla="*/ 192233 h 443275"/>
                <a:gd name="connsiteX342" fmla="*/ 187671 w 362309"/>
                <a:gd name="connsiteY342" fmla="*/ 190278 h 443275"/>
                <a:gd name="connsiteX343" fmla="*/ 194351 w 362309"/>
                <a:gd name="connsiteY343" fmla="*/ 186205 h 443275"/>
                <a:gd name="connsiteX344" fmla="*/ 197608 w 362309"/>
                <a:gd name="connsiteY344" fmla="*/ 186205 h 443275"/>
                <a:gd name="connsiteX345" fmla="*/ 200867 w 362309"/>
                <a:gd name="connsiteY345" fmla="*/ 183436 h 443275"/>
                <a:gd name="connsiteX346" fmla="*/ 200215 w 362309"/>
                <a:gd name="connsiteY346" fmla="*/ 180666 h 443275"/>
                <a:gd name="connsiteX347" fmla="*/ 200867 w 362309"/>
                <a:gd name="connsiteY347" fmla="*/ 174150 h 443275"/>
                <a:gd name="connsiteX348" fmla="*/ 203799 w 362309"/>
                <a:gd name="connsiteY348" fmla="*/ 172195 h 443275"/>
                <a:gd name="connsiteX349" fmla="*/ 205591 w 362309"/>
                <a:gd name="connsiteY349" fmla="*/ 167959 h 443275"/>
                <a:gd name="connsiteX350" fmla="*/ 203799 w 362309"/>
                <a:gd name="connsiteY350" fmla="*/ 164049 h 443275"/>
                <a:gd name="connsiteX351" fmla="*/ 199889 w 362309"/>
                <a:gd name="connsiteY351" fmla="*/ 163561 h 443275"/>
                <a:gd name="connsiteX352" fmla="*/ 198097 w 362309"/>
                <a:gd name="connsiteY352" fmla="*/ 160628 h 443275"/>
                <a:gd name="connsiteX353" fmla="*/ 196305 w 362309"/>
                <a:gd name="connsiteY353" fmla="*/ 159814 h 443275"/>
                <a:gd name="connsiteX354" fmla="*/ 193862 w 362309"/>
                <a:gd name="connsiteY354" fmla="*/ 162095 h 443275"/>
                <a:gd name="connsiteX355" fmla="*/ 186531 w 362309"/>
                <a:gd name="connsiteY355" fmla="*/ 165516 h 443275"/>
                <a:gd name="connsiteX356" fmla="*/ 185879 w 362309"/>
                <a:gd name="connsiteY356" fmla="*/ 162909 h 443275"/>
                <a:gd name="connsiteX357" fmla="*/ 183598 w 362309"/>
                <a:gd name="connsiteY357" fmla="*/ 161932 h 443275"/>
                <a:gd name="connsiteX358" fmla="*/ 180014 w 362309"/>
                <a:gd name="connsiteY358" fmla="*/ 164375 h 443275"/>
                <a:gd name="connsiteX359" fmla="*/ 179526 w 362309"/>
                <a:gd name="connsiteY359" fmla="*/ 167308 h 443275"/>
                <a:gd name="connsiteX360" fmla="*/ 177408 w 362309"/>
                <a:gd name="connsiteY360" fmla="*/ 169100 h 443275"/>
                <a:gd name="connsiteX361" fmla="*/ 173498 w 362309"/>
                <a:gd name="connsiteY361" fmla="*/ 168285 h 443275"/>
                <a:gd name="connsiteX362" fmla="*/ 170565 w 362309"/>
                <a:gd name="connsiteY362" fmla="*/ 171869 h 443275"/>
                <a:gd name="connsiteX363" fmla="*/ 166982 w 362309"/>
                <a:gd name="connsiteY363" fmla="*/ 174150 h 443275"/>
                <a:gd name="connsiteX364" fmla="*/ 166982 w 362309"/>
                <a:gd name="connsiteY364" fmla="*/ 174150 h 443275"/>
                <a:gd name="connsiteX365" fmla="*/ 25414 w 362309"/>
                <a:gd name="connsiteY365" fmla="*/ 197120 h 443275"/>
                <a:gd name="connsiteX366" fmla="*/ 22970 w 362309"/>
                <a:gd name="connsiteY366" fmla="*/ 190767 h 443275"/>
                <a:gd name="connsiteX367" fmla="*/ 21178 w 362309"/>
                <a:gd name="connsiteY367" fmla="*/ 189789 h 443275"/>
                <a:gd name="connsiteX368" fmla="*/ 19386 w 362309"/>
                <a:gd name="connsiteY368" fmla="*/ 184902 h 443275"/>
                <a:gd name="connsiteX369" fmla="*/ 14824 w 362309"/>
                <a:gd name="connsiteY369" fmla="*/ 181318 h 443275"/>
                <a:gd name="connsiteX370" fmla="*/ 11078 w 362309"/>
                <a:gd name="connsiteY370" fmla="*/ 180829 h 443275"/>
                <a:gd name="connsiteX371" fmla="*/ 8634 w 362309"/>
                <a:gd name="connsiteY371" fmla="*/ 176919 h 443275"/>
                <a:gd name="connsiteX372" fmla="*/ 8145 w 362309"/>
                <a:gd name="connsiteY372" fmla="*/ 168448 h 443275"/>
                <a:gd name="connsiteX373" fmla="*/ 5864 w 362309"/>
                <a:gd name="connsiteY373" fmla="*/ 163724 h 443275"/>
                <a:gd name="connsiteX374" fmla="*/ 2932 w 362309"/>
                <a:gd name="connsiteY374" fmla="*/ 159977 h 443275"/>
                <a:gd name="connsiteX375" fmla="*/ 2444 w 362309"/>
                <a:gd name="connsiteY375" fmla="*/ 153623 h 443275"/>
                <a:gd name="connsiteX376" fmla="*/ 4398 w 362309"/>
                <a:gd name="connsiteY376" fmla="*/ 151017 h 443275"/>
                <a:gd name="connsiteX377" fmla="*/ 6842 w 362309"/>
                <a:gd name="connsiteY377" fmla="*/ 151831 h 443275"/>
                <a:gd name="connsiteX378" fmla="*/ 11892 w 362309"/>
                <a:gd name="connsiteY378" fmla="*/ 157696 h 443275"/>
                <a:gd name="connsiteX379" fmla="*/ 12218 w 362309"/>
                <a:gd name="connsiteY379" fmla="*/ 162420 h 443275"/>
                <a:gd name="connsiteX380" fmla="*/ 11566 w 362309"/>
                <a:gd name="connsiteY380" fmla="*/ 167633 h 443275"/>
                <a:gd name="connsiteX381" fmla="*/ 15476 w 362309"/>
                <a:gd name="connsiteY381" fmla="*/ 173498 h 443275"/>
                <a:gd name="connsiteX382" fmla="*/ 18246 w 362309"/>
                <a:gd name="connsiteY382" fmla="*/ 175942 h 443275"/>
                <a:gd name="connsiteX383" fmla="*/ 20038 w 362309"/>
                <a:gd name="connsiteY383" fmla="*/ 175942 h 443275"/>
                <a:gd name="connsiteX384" fmla="*/ 20852 w 362309"/>
                <a:gd name="connsiteY384" fmla="*/ 177408 h 443275"/>
                <a:gd name="connsiteX385" fmla="*/ 22807 w 362309"/>
                <a:gd name="connsiteY385" fmla="*/ 177734 h 443275"/>
                <a:gd name="connsiteX386" fmla="*/ 24599 w 362309"/>
                <a:gd name="connsiteY386" fmla="*/ 182784 h 443275"/>
                <a:gd name="connsiteX387" fmla="*/ 28672 w 362309"/>
                <a:gd name="connsiteY387" fmla="*/ 189300 h 443275"/>
                <a:gd name="connsiteX388" fmla="*/ 30138 w 362309"/>
                <a:gd name="connsiteY388" fmla="*/ 194188 h 443275"/>
                <a:gd name="connsiteX389" fmla="*/ 29487 w 362309"/>
                <a:gd name="connsiteY389" fmla="*/ 197283 h 443275"/>
                <a:gd name="connsiteX390" fmla="*/ 27042 w 362309"/>
                <a:gd name="connsiteY390" fmla="*/ 198097 h 443275"/>
                <a:gd name="connsiteX391" fmla="*/ 25576 w 362309"/>
                <a:gd name="connsiteY391" fmla="*/ 196794 h 443275"/>
                <a:gd name="connsiteX392" fmla="*/ 25576 w 362309"/>
                <a:gd name="connsiteY392" fmla="*/ 196794 h 443275"/>
                <a:gd name="connsiteX393" fmla="*/ 120878 w 362309"/>
                <a:gd name="connsiteY393" fmla="*/ 312623 h 443275"/>
                <a:gd name="connsiteX394" fmla="*/ 118109 w 362309"/>
                <a:gd name="connsiteY394" fmla="*/ 309690 h 443275"/>
                <a:gd name="connsiteX395" fmla="*/ 116154 w 362309"/>
                <a:gd name="connsiteY395" fmla="*/ 310342 h 443275"/>
                <a:gd name="connsiteX396" fmla="*/ 114851 w 362309"/>
                <a:gd name="connsiteY396" fmla="*/ 312623 h 443275"/>
                <a:gd name="connsiteX397" fmla="*/ 113058 w 362309"/>
                <a:gd name="connsiteY397" fmla="*/ 312948 h 443275"/>
                <a:gd name="connsiteX398" fmla="*/ 112244 w 362309"/>
                <a:gd name="connsiteY398" fmla="*/ 309202 h 443275"/>
                <a:gd name="connsiteX399" fmla="*/ 112733 w 362309"/>
                <a:gd name="connsiteY399" fmla="*/ 302522 h 443275"/>
                <a:gd name="connsiteX400" fmla="*/ 110941 w 362309"/>
                <a:gd name="connsiteY400" fmla="*/ 300079 h 443275"/>
                <a:gd name="connsiteX401" fmla="*/ 108497 w 362309"/>
                <a:gd name="connsiteY401" fmla="*/ 298775 h 443275"/>
                <a:gd name="connsiteX402" fmla="*/ 100515 w 362309"/>
                <a:gd name="connsiteY402" fmla="*/ 290956 h 443275"/>
                <a:gd name="connsiteX403" fmla="*/ 100515 w 362309"/>
                <a:gd name="connsiteY403" fmla="*/ 288349 h 443275"/>
                <a:gd name="connsiteX404" fmla="*/ 104913 w 362309"/>
                <a:gd name="connsiteY404" fmla="*/ 284928 h 443275"/>
                <a:gd name="connsiteX405" fmla="*/ 107194 w 362309"/>
                <a:gd name="connsiteY405" fmla="*/ 284928 h 443275"/>
                <a:gd name="connsiteX406" fmla="*/ 108986 w 362309"/>
                <a:gd name="connsiteY406" fmla="*/ 282647 h 443275"/>
                <a:gd name="connsiteX407" fmla="*/ 109474 w 362309"/>
                <a:gd name="connsiteY407" fmla="*/ 279552 h 443275"/>
                <a:gd name="connsiteX408" fmla="*/ 107846 w 362309"/>
                <a:gd name="connsiteY408" fmla="*/ 278412 h 443275"/>
                <a:gd name="connsiteX409" fmla="*/ 105076 w 362309"/>
                <a:gd name="connsiteY409" fmla="*/ 278738 h 443275"/>
                <a:gd name="connsiteX410" fmla="*/ 103447 w 362309"/>
                <a:gd name="connsiteY410" fmla="*/ 276783 h 443275"/>
                <a:gd name="connsiteX411" fmla="*/ 101492 w 362309"/>
                <a:gd name="connsiteY411" fmla="*/ 276783 h 443275"/>
                <a:gd name="connsiteX412" fmla="*/ 99700 w 362309"/>
                <a:gd name="connsiteY412" fmla="*/ 280530 h 443275"/>
                <a:gd name="connsiteX413" fmla="*/ 94324 w 362309"/>
                <a:gd name="connsiteY413" fmla="*/ 282322 h 443275"/>
                <a:gd name="connsiteX414" fmla="*/ 88785 w 362309"/>
                <a:gd name="connsiteY414" fmla="*/ 277923 h 443275"/>
                <a:gd name="connsiteX415" fmla="*/ 88785 w 362309"/>
                <a:gd name="connsiteY415" fmla="*/ 274176 h 443275"/>
                <a:gd name="connsiteX416" fmla="*/ 86830 w 362309"/>
                <a:gd name="connsiteY416" fmla="*/ 273362 h 443275"/>
                <a:gd name="connsiteX417" fmla="*/ 84061 w 362309"/>
                <a:gd name="connsiteY417" fmla="*/ 270103 h 443275"/>
                <a:gd name="connsiteX418" fmla="*/ 80965 w 362309"/>
                <a:gd name="connsiteY418" fmla="*/ 269289 h 443275"/>
                <a:gd name="connsiteX419" fmla="*/ 79662 w 362309"/>
                <a:gd name="connsiteY419" fmla="*/ 269289 h 443275"/>
                <a:gd name="connsiteX420" fmla="*/ 77219 w 362309"/>
                <a:gd name="connsiteY420" fmla="*/ 266682 h 443275"/>
                <a:gd name="connsiteX421" fmla="*/ 77219 w 362309"/>
                <a:gd name="connsiteY421" fmla="*/ 264239 h 443275"/>
                <a:gd name="connsiteX422" fmla="*/ 74123 w 362309"/>
                <a:gd name="connsiteY422" fmla="*/ 261306 h 443275"/>
                <a:gd name="connsiteX423" fmla="*/ 72331 w 362309"/>
                <a:gd name="connsiteY423" fmla="*/ 261632 h 443275"/>
                <a:gd name="connsiteX424" fmla="*/ 71680 w 362309"/>
                <a:gd name="connsiteY424" fmla="*/ 260166 h 443275"/>
                <a:gd name="connsiteX425" fmla="*/ 71354 w 362309"/>
                <a:gd name="connsiteY425" fmla="*/ 256908 h 443275"/>
                <a:gd name="connsiteX426" fmla="*/ 67770 w 362309"/>
                <a:gd name="connsiteY426" fmla="*/ 254627 h 443275"/>
                <a:gd name="connsiteX427" fmla="*/ 67118 w 362309"/>
                <a:gd name="connsiteY427" fmla="*/ 252835 h 443275"/>
                <a:gd name="connsiteX428" fmla="*/ 67118 w 362309"/>
                <a:gd name="connsiteY428" fmla="*/ 250880 h 443275"/>
                <a:gd name="connsiteX429" fmla="*/ 66304 w 362309"/>
                <a:gd name="connsiteY429" fmla="*/ 250391 h 443275"/>
                <a:gd name="connsiteX430" fmla="*/ 67444 w 362309"/>
                <a:gd name="connsiteY430" fmla="*/ 247296 h 443275"/>
                <a:gd name="connsiteX431" fmla="*/ 67444 w 362309"/>
                <a:gd name="connsiteY431" fmla="*/ 244690 h 443275"/>
                <a:gd name="connsiteX432" fmla="*/ 64674 w 362309"/>
                <a:gd name="connsiteY432" fmla="*/ 241594 h 443275"/>
                <a:gd name="connsiteX433" fmla="*/ 64674 w 362309"/>
                <a:gd name="connsiteY433" fmla="*/ 240128 h 443275"/>
                <a:gd name="connsiteX434" fmla="*/ 70703 w 362309"/>
                <a:gd name="connsiteY434" fmla="*/ 236055 h 443275"/>
                <a:gd name="connsiteX435" fmla="*/ 73309 w 362309"/>
                <a:gd name="connsiteY435" fmla="*/ 236055 h 443275"/>
                <a:gd name="connsiteX436" fmla="*/ 76078 w 362309"/>
                <a:gd name="connsiteY436" fmla="*/ 240454 h 443275"/>
                <a:gd name="connsiteX437" fmla="*/ 78196 w 362309"/>
                <a:gd name="connsiteY437" fmla="*/ 242246 h 443275"/>
                <a:gd name="connsiteX438" fmla="*/ 79499 w 362309"/>
                <a:gd name="connsiteY438" fmla="*/ 242246 h 443275"/>
                <a:gd name="connsiteX439" fmla="*/ 80803 w 362309"/>
                <a:gd name="connsiteY439" fmla="*/ 240128 h 443275"/>
                <a:gd name="connsiteX440" fmla="*/ 85201 w 362309"/>
                <a:gd name="connsiteY440" fmla="*/ 241268 h 443275"/>
                <a:gd name="connsiteX441" fmla="*/ 87482 w 362309"/>
                <a:gd name="connsiteY441" fmla="*/ 242572 h 443275"/>
                <a:gd name="connsiteX442" fmla="*/ 91392 w 362309"/>
                <a:gd name="connsiteY442" fmla="*/ 241920 h 443275"/>
                <a:gd name="connsiteX443" fmla="*/ 100026 w 362309"/>
                <a:gd name="connsiteY443" fmla="*/ 241268 h 443275"/>
                <a:gd name="connsiteX444" fmla="*/ 100352 w 362309"/>
                <a:gd name="connsiteY444" fmla="*/ 238825 h 443275"/>
                <a:gd name="connsiteX445" fmla="*/ 95628 w 362309"/>
                <a:gd name="connsiteY445" fmla="*/ 235567 h 443275"/>
                <a:gd name="connsiteX446" fmla="*/ 91555 w 362309"/>
                <a:gd name="connsiteY446" fmla="*/ 235892 h 443275"/>
                <a:gd name="connsiteX447" fmla="*/ 84876 w 362309"/>
                <a:gd name="connsiteY447" fmla="*/ 234752 h 443275"/>
                <a:gd name="connsiteX448" fmla="*/ 80314 w 362309"/>
                <a:gd name="connsiteY448" fmla="*/ 232797 h 443275"/>
                <a:gd name="connsiteX449" fmla="*/ 80314 w 362309"/>
                <a:gd name="connsiteY449" fmla="*/ 231168 h 443275"/>
                <a:gd name="connsiteX450" fmla="*/ 84224 w 362309"/>
                <a:gd name="connsiteY450" fmla="*/ 230191 h 443275"/>
                <a:gd name="connsiteX451" fmla="*/ 87808 w 362309"/>
                <a:gd name="connsiteY451" fmla="*/ 230191 h 443275"/>
                <a:gd name="connsiteX452" fmla="*/ 95953 w 362309"/>
                <a:gd name="connsiteY452" fmla="*/ 226444 h 443275"/>
                <a:gd name="connsiteX453" fmla="*/ 100026 w 362309"/>
                <a:gd name="connsiteY453" fmla="*/ 223837 h 443275"/>
                <a:gd name="connsiteX454" fmla="*/ 106542 w 362309"/>
                <a:gd name="connsiteY454" fmla="*/ 224326 h 443275"/>
                <a:gd name="connsiteX455" fmla="*/ 109801 w 362309"/>
                <a:gd name="connsiteY455" fmla="*/ 222697 h 443275"/>
                <a:gd name="connsiteX456" fmla="*/ 111755 w 362309"/>
                <a:gd name="connsiteY456" fmla="*/ 222697 h 443275"/>
                <a:gd name="connsiteX457" fmla="*/ 112896 w 362309"/>
                <a:gd name="connsiteY457" fmla="*/ 223511 h 443275"/>
                <a:gd name="connsiteX458" fmla="*/ 113385 w 362309"/>
                <a:gd name="connsiteY458" fmla="*/ 219927 h 443275"/>
                <a:gd name="connsiteX459" fmla="*/ 115828 w 362309"/>
                <a:gd name="connsiteY459" fmla="*/ 217972 h 443275"/>
                <a:gd name="connsiteX460" fmla="*/ 115828 w 362309"/>
                <a:gd name="connsiteY460" fmla="*/ 215366 h 443275"/>
                <a:gd name="connsiteX461" fmla="*/ 113873 w 362309"/>
                <a:gd name="connsiteY461" fmla="*/ 214551 h 443275"/>
                <a:gd name="connsiteX462" fmla="*/ 110126 w 362309"/>
                <a:gd name="connsiteY462" fmla="*/ 216995 h 443275"/>
                <a:gd name="connsiteX463" fmla="*/ 107520 w 362309"/>
                <a:gd name="connsiteY463" fmla="*/ 219439 h 443275"/>
                <a:gd name="connsiteX464" fmla="*/ 97582 w 362309"/>
                <a:gd name="connsiteY464" fmla="*/ 219439 h 443275"/>
                <a:gd name="connsiteX465" fmla="*/ 94813 w 362309"/>
                <a:gd name="connsiteY465" fmla="*/ 219764 h 443275"/>
                <a:gd name="connsiteX466" fmla="*/ 93835 w 362309"/>
                <a:gd name="connsiteY466" fmla="*/ 218135 h 443275"/>
                <a:gd name="connsiteX467" fmla="*/ 89763 w 362309"/>
                <a:gd name="connsiteY467" fmla="*/ 218135 h 443275"/>
                <a:gd name="connsiteX468" fmla="*/ 87971 w 362309"/>
                <a:gd name="connsiteY468" fmla="*/ 219601 h 443275"/>
                <a:gd name="connsiteX469" fmla="*/ 86667 w 362309"/>
                <a:gd name="connsiteY469" fmla="*/ 219927 h 443275"/>
                <a:gd name="connsiteX470" fmla="*/ 83083 w 362309"/>
                <a:gd name="connsiteY470" fmla="*/ 224489 h 443275"/>
                <a:gd name="connsiteX471" fmla="*/ 79011 w 362309"/>
                <a:gd name="connsiteY471" fmla="*/ 225303 h 443275"/>
                <a:gd name="connsiteX472" fmla="*/ 75915 w 362309"/>
                <a:gd name="connsiteY472" fmla="*/ 224815 h 443275"/>
                <a:gd name="connsiteX473" fmla="*/ 73635 w 362309"/>
                <a:gd name="connsiteY473" fmla="*/ 226281 h 443275"/>
                <a:gd name="connsiteX474" fmla="*/ 68422 w 362309"/>
                <a:gd name="connsiteY474" fmla="*/ 226932 h 443275"/>
                <a:gd name="connsiteX475" fmla="*/ 64674 w 362309"/>
                <a:gd name="connsiteY475" fmla="*/ 228887 h 443275"/>
                <a:gd name="connsiteX476" fmla="*/ 60928 w 362309"/>
                <a:gd name="connsiteY476" fmla="*/ 228887 h 443275"/>
                <a:gd name="connsiteX477" fmla="*/ 59462 w 362309"/>
                <a:gd name="connsiteY477" fmla="*/ 227747 h 443275"/>
                <a:gd name="connsiteX478" fmla="*/ 59136 w 362309"/>
                <a:gd name="connsiteY478" fmla="*/ 221068 h 443275"/>
                <a:gd name="connsiteX479" fmla="*/ 57507 w 362309"/>
                <a:gd name="connsiteY479" fmla="*/ 213737 h 443275"/>
                <a:gd name="connsiteX480" fmla="*/ 58158 w 362309"/>
                <a:gd name="connsiteY480" fmla="*/ 211456 h 443275"/>
                <a:gd name="connsiteX481" fmla="*/ 58158 w 362309"/>
                <a:gd name="connsiteY481" fmla="*/ 209012 h 443275"/>
                <a:gd name="connsiteX482" fmla="*/ 61254 w 362309"/>
                <a:gd name="connsiteY482" fmla="*/ 207383 h 443275"/>
                <a:gd name="connsiteX483" fmla="*/ 64512 w 362309"/>
                <a:gd name="connsiteY483" fmla="*/ 205754 h 443275"/>
                <a:gd name="connsiteX484" fmla="*/ 66141 w 362309"/>
                <a:gd name="connsiteY484" fmla="*/ 207383 h 443275"/>
                <a:gd name="connsiteX485" fmla="*/ 67118 w 362309"/>
                <a:gd name="connsiteY485" fmla="*/ 210642 h 443275"/>
                <a:gd name="connsiteX486" fmla="*/ 68910 w 362309"/>
                <a:gd name="connsiteY486" fmla="*/ 210316 h 443275"/>
                <a:gd name="connsiteX487" fmla="*/ 70051 w 362309"/>
                <a:gd name="connsiteY487" fmla="*/ 206080 h 443275"/>
                <a:gd name="connsiteX488" fmla="*/ 74449 w 362309"/>
                <a:gd name="connsiteY488" fmla="*/ 203636 h 443275"/>
                <a:gd name="connsiteX489" fmla="*/ 76730 w 362309"/>
                <a:gd name="connsiteY489" fmla="*/ 204451 h 443275"/>
                <a:gd name="connsiteX490" fmla="*/ 79825 w 362309"/>
                <a:gd name="connsiteY490" fmla="*/ 200215 h 443275"/>
                <a:gd name="connsiteX491" fmla="*/ 84061 w 362309"/>
                <a:gd name="connsiteY491" fmla="*/ 195491 h 443275"/>
                <a:gd name="connsiteX492" fmla="*/ 88785 w 362309"/>
                <a:gd name="connsiteY492" fmla="*/ 193699 h 443275"/>
                <a:gd name="connsiteX493" fmla="*/ 88133 w 362309"/>
                <a:gd name="connsiteY493" fmla="*/ 190604 h 443275"/>
                <a:gd name="connsiteX494" fmla="*/ 89763 w 362309"/>
                <a:gd name="connsiteY494" fmla="*/ 188160 h 443275"/>
                <a:gd name="connsiteX495" fmla="*/ 96279 w 362309"/>
                <a:gd name="connsiteY495" fmla="*/ 185553 h 443275"/>
                <a:gd name="connsiteX496" fmla="*/ 104262 w 362309"/>
                <a:gd name="connsiteY496" fmla="*/ 185065 h 443275"/>
                <a:gd name="connsiteX497" fmla="*/ 108171 w 362309"/>
                <a:gd name="connsiteY497" fmla="*/ 181481 h 443275"/>
                <a:gd name="connsiteX498" fmla="*/ 112733 w 362309"/>
                <a:gd name="connsiteY498" fmla="*/ 179852 h 443275"/>
                <a:gd name="connsiteX499" fmla="*/ 115339 w 362309"/>
                <a:gd name="connsiteY499" fmla="*/ 177245 h 443275"/>
                <a:gd name="connsiteX500" fmla="*/ 115339 w 362309"/>
                <a:gd name="connsiteY500" fmla="*/ 174964 h 443275"/>
                <a:gd name="connsiteX501" fmla="*/ 112570 w 362309"/>
                <a:gd name="connsiteY501" fmla="*/ 174964 h 443275"/>
                <a:gd name="connsiteX502" fmla="*/ 108986 w 362309"/>
                <a:gd name="connsiteY502" fmla="*/ 178548 h 443275"/>
                <a:gd name="connsiteX503" fmla="*/ 104913 w 362309"/>
                <a:gd name="connsiteY503" fmla="*/ 179363 h 443275"/>
                <a:gd name="connsiteX504" fmla="*/ 101329 w 362309"/>
                <a:gd name="connsiteY504" fmla="*/ 177571 h 443275"/>
                <a:gd name="connsiteX505" fmla="*/ 101329 w 362309"/>
                <a:gd name="connsiteY505" fmla="*/ 173987 h 443275"/>
                <a:gd name="connsiteX506" fmla="*/ 103773 w 362309"/>
                <a:gd name="connsiteY506" fmla="*/ 168937 h 443275"/>
                <a:gd name="connsiteX507" fmla="*/ 104099 w 362309"/>
                <a:gd name="connsiteY507" fmla="*/ 163235 h 443275"/>
                <a:gd name="connsiteX508" fmla="*/ 101818 w 362309"/>
                <a:gd name="connsiteY508" fmla="*/ 159651 h 443275"/>
                <a:gd name="connsiteX509" fmla="*/ 99537 w 362309"/>
                <a:gd name="connsiteY509" fmla="*/ 159651 h 443275"/>
                <a:gd name="connsiteX510" fmla="*/ 98234 w 362309"/>
                <a:gd name="connsiteY510" fmla="*/ 162095 h 443275"/>
                <a:gd name="connsiteX511" fmla="*/ 98234 w 362309"/>
                <a:gd name="connsiteY511" fmla="*/ 167633 h 443275"/>
                <a:gd name="connsiteX512" fmla="*/ 96931 w 362309"/>
                <a:gd name="connsiteY512" fmla="*/ 172358 h 443275"/>
                <a:gd name="connsiteX513" fmla="*/ 89763 w 362309"/>
                <a:gd name="connsiteY513" fmla="*/ 179689 h 443275"/>
                <a:gd name="connsiteX514" fmla="*/ 85690 w 362309"/>
                <a:gd name="connsiteY514" fmla="*/ 180666 h 443275"/>
                <a:gd name="connsiteX515" fmla="*/ 83409 w 362309"/>
                <a:gd name="connsiteY515" fmla="*/ 179363 h 443275"/>
                <a:gd name="connsiteX516" fmla="*/ 82269 w 362309"/>
                <a:gd name="connsiteY516" fmla="*/ 172684 h 443275"/>
                <a:gd name="connsiteX517" fmla="*/ 82921 w 362309"/>
                <a:gd name="connsiteY517" fmla="*/ 170240 h 443275"/>
                <a:gd name="connsiteX518" fmla="*/ 85853 w 362309"/>
                <a:gd name="connsiteY518" fmla="*/ 166982 h 443275"/>
                <a:gd name="connsiteX519" fmla="*/ 85853 w 362309"/>
                <a:gd name="connsiteY519" fmla="*/ 164049 h 443275"/>
                <a:gd name="connsiteX520" fmla="*/ 84224 w 362309"/>
                <a:gd name="connsiteY520" fmla="*/ 161443 h 443275"/>
                <a:gd name="connsiteX521" fmla="*/ 83572 w 362309"/>
                <a:gd name="connsiteY521" fmla="*/ 155089 h 443275"/>
                <a:gd name="connsiteX522" fmla="*/ 81943 w 362309"/>
                <a:gd name="connsiteY522" fmla="*/ 152157 h 443275"/>
                <a:gd name="connsiteX523" fmla="*/ 80314 w 362309"/>
                <a:gd name="connsiteY523" fmla="*/ 152157 h 443275"/>
                <a:gd name="connsiteX524" fmla="*/ 78359 w 362309"/>
                <a:gd name="connsiteY524" fmla="*/ 155415 h 443275"/>
                <a:gd name="connsiteX525" fmla="*/ 79499 w 362309"/>
                <a:gd name="connsiteY525" fmla="*/ 163398 h 443275"/>
                <a:gd name="connsiteX526" fmla="*/ 78685 w 362309"/>
                <a:gd name="connsiteY526" fmla="*/ 166982 h 443275"/>
                <a:gd name="connsiteX527" fmla="*/ 75590 w 362309"/>
                <a:gd name="connsiteY527" fmla="*/ 170077 h 443275"/>
                <a:gd name="connsiteX528" fmla="*/ 74938 w 362309"/>
                <a:gd name="connsiteY528" fmla="*/ 167471 h 443275"/>
                <a:gd name="connsiteX529" fmla="*/ 75427 w 362309"/>
                <a:gd name="connsiteY529" fmla="*/ 165679 h 443275"/>
                <a:gd name="connsiteX530" fmla="*/ 72983 w 362309"/>
                <a:gd name="connsiteY530" fmla="*/ 161280 h 443275"/>
                <a:gd name="connsiteX531" fmla="*/ 70539 w 362309"/>
                <a:gd name="connsiteY531" fmla="*/ 160140 h 443275"/>
                <a:gd name="connsiteX532" fmla="*/ 68585 w 362309"/>
                <a:gd name="connsiteY532" fmla="*/ 161280 h 443275"/>
                <a:gd name="connsiteX533" fmla="*/ 68585 w 362309"/>
                <a:gd name="connsiteY533" fmla="*/ 164864 h 443275"/>
                <a:gd name="connsiteX534" fmla="*/ 69399 w 362309"/>
                <a:gd name="connsiteY534" fmla="*/ 168285 h 443275"/>
                <a:gd name="connsiteX535" fmla="*/ 69399 w 362309"/>
                <a:gd name="connsiteY535" fmla="*/ 173824 h 443275"/>
                <a:gd name="connsiteX536" fmla="*/ 71843 w 362309"/>
                <a:gd name="connsiteY536" fmla="*/ 178223 h 443275"/>
                <a:gd name="connsiteX537" fmla="*/ 74123 w 362309"/>
                <a:gd name="connsiteY537" fmla="*/ 183273 h 443275"/>
                <a:gd name="connsiteX538" fmla="*/ 74123 w 362309"/>
                <a:gd name="connsiteY538" fmla="*/ 186368 h 443275"/>
                <a:gd name="connsiteX539" fmla="*/ 70703 w 362309"/>
                <a:gd name="connsiteY539" fmla="*/ 186042 h 443275"/>
                <a:gd name="connsiteX540" fmla="*/ 67770 w 362309"/>
                <a:gd name="connsiteY540" fmla="*/ 187183 h 443275"/>
                <a:gd name="connsiteX541" fmla="*/ 65489 w 362309"/>
                <a:gd name="connsiteY541" fmla="*/ 192884 h 443275"/>
                <a:gd name="connsiteX542" fmla="*/ 65489 w 362309"/>
                <a:gd name="connsiteY542" fmla="*/ 196468 h 443275"/>
                <a:gd name="connsiteX543" fmla="*/ 61905 w 362309"/>
                <a:gd name="connsiteY543" fmla="*/ 199075 h 443275"/>
                <a:gd name="connsiteX544" fmla="*/ 52619 w 362309"/>
                <a:gd name="connsiteY544" fmla="*/ 199890 h 443275"/>
                <a:gd name="connsiteX545" fmla="*/ 47406 w 362309"/>
                <a:gd name="connsiteY545" fmla="*/ 199401 h 443275"/>
                <a:gd name="connsiteX546" fmla="*/ 48058 w 362309"/>
                <a:gd name="connsiteY546" fmla="*/ 197120 h 443275"/>
                <a:gd name="connsiteX547" fmla="*/ 49524 w 362309"/>
                <a:gd name="connsiteY547" fmla="*/ 194839 h 443275"/>
                <a:gd name="connsiteX548" fmla="*/ 47406 w 362309"/>
                <a:gd name="connsiteY548" fmla="*/ 191092 h 443275"/>
                <a:gd name="connsiteX549" fmla="*/ 41542 w 362309"/>
                <a:gd name="connsiteY549" fmla="*/ 185228 h 443275"/>
                <a:gd name="connsiteX550" fmla="*/ 37795 w 362309"/>
                <a:gd name="connsiteY550" fmla="*/ 184087 h 443275"/>
                <a:gd name="connsiteX551" fmla="*/ 36491 w 362309"/>
                <a:gd name="connsiteY551" fmla="*/ 184576 h 443275"/>
                <a:gd name="connsiteX552" fmla="*/ 33885 w 362309"/>
                <a:gd name="connsiteY552" fmla="*/ 179689 h 443275"/>
                <a:gd name="connsiteX553" fmla="*/ 33396 w 362309"/>
                <a:gd name="connsiteY553" fmla="*/ 175290 h 443275"/>
                <a:gd name="connsiteX554" fmla="*/ 39261 w 362309"/>
                <a:gd name="connsiteY554" fmla="*/ 175290 h 443275"/>
                <a:gd name="connsiteX555" fmla="*/ 42193 w 362309"/>
                <a:gd name="connsiteY555" fmla="*/ 173010 h 443275"/>
                <a:gd name="connsiteX556" fmla="*/ 41053 w 362309"/>
                <a:gd name="connsiteY556" fmla="*/ 171543 h 443275"/>
                <a:gd name="connsiteX557" fmla="*/ 37306 w 362309"/>
                <a:gd name="connsiteY557" fmla="*/ 171218 h 443275"/>
                <a:gd name="connsiteX558" fmla="*/ 34862 w 362309"/>
                <a:gd name="connsiteY558" fmla="*/ 171869 h 443275"/>
                <a:gd name="connsiteX559" fmla="*/ 31278 w 362309"/>
                <a:gd name="connsiteY559" fmla="*/ 170077 h 443275"/>
                <a:gd name="connsiteX560" fmla="*/ 29975 w 362309"/>
                <a:gd name="connsiteY560" fmla="*/ 166982 h 443275"/>
                <a:gd name="connsiteX561" fmla="*/ 27042 w 362309"/>
                <a:gd name="connsiteY561" fmla="*/ 164864 h 443275"/>
                <a:gd name="connsiteX562" fmla="*/ 22644 w 362309"/>
                <a:gd name="connsiteY562" fmla="*/ 162583 h 443275"/>
                <a:gd name="connsiteX563" fmla="*/ 20038 w 362309"/>
                <a:gd name="connsiteY563" fmla="*/ 159488 h 443275"/>
                <a:gd name="connsiteX564" fmla="*/ 22318 w 362309"/>
                <a:gd name="connsiteY564" fmla="*/ 157044 h 443275"/>
                <a:gd name="connsiteX565" fmla="*/ 22318 w 362309"/>
                <a:gd name="connsiteY565" fmla="*/ 155741 h 443275"/>
                <a:gd name="connsiteX566" fmla="*/ 19549 w 362309"/>
                <a:gd name="connsiteY566" fmla="*/ 153135 h 443275"/>
                <a:gd name="connsiteX567" fmla="*/ 15965 w 362309"/>
                <a:gd name="connsiteY567" fmla="*/ 151343 h 443275"/>
                <a:gd name="connsiteX568" fmla="*/ 12707 w 362309"/>
                <a:gd name="connsiteY568" fmla="*/ 146781 h 443275"/>
                <a:gd name="connsiteX569" fmla="*/ 13033 w 362309"/>
                <a:gd name="connsiteY569" fmla="*/ 143523 h 443275"/>
                <a:gd name="connsiteX570" fmla="*/ 14824 w 362309"/>
                <a:gd name="connsiteY570" fmla="*/ 142871 h 443275"/>
                <a:gd name="connsiteX571" fmla="*/ 21015 w 362309"/>
                <a:gd name="connsiteY571" fmla="*/ 147759 h 443275"/>
                <a:gd name="connsiteX572" fmla="*/ 22807 w 362309"/>
                <a:gd name="connsiteY572" fmla="*/ 150202 h 443275"/>
                <a:gd name="connsiteX573" fmla="*/ 22807 w 362309"/>
                <a:gd name="connsiteY573" fmla="*/ 151994 h 443275"/>
                <a:gd name="connsiteX574" fmla="*/ 24925 w 362309"/>
                <a:gd name="connsiteY574" fmla="*/ 151994 h 443275"/>
                <a:gd name="connsiteX575" fmla="*/ 28835 w 362309"/>
                <a:gd name="connsiteY575" fmla="*/ 149062 h 443275"/>
                <a:gd name="connsiteX576" fmla="*/ 29160 w 362309"/>
                <a:gd name="connsiteY576" fmla="*/ 144826 h 443275"/>
                <a:gd name="connsiteX577" fmla="*/ 27694 w 362309"/>
                <a:gd name="connsiteY577" fmla="*/ 143686 h 443275"/>
                <a:gd name="connsiteX578" fmla="*/ 24599 w 362309"/>
                <a:gd name="connsiteY578" fmla="*/ 144175 h 443275"/>
                <a:gd name="connsiteX579" fmla="*/ 22318 w 362309"/>
                <a:gd name="connsiteY579" fmla="*/ 142708 h 443275"/>
                <a:gd name="connsiteX580" fmla="*/ 22318 w 362309"/>
                <a:gd name="connsiteY580" fmla="*/ 141079 h 443275"/>
                <a:gd name="connsiteX581" fmla="*/ 17920 w 362309"/>
                <a:gd name="connsiteY581" fmla="*/ 137332 h 443275"/>
                <a:gd name="connsiteX582" fmla="*/ 17920 w 362309"/>
                <a:gd name="connsiteY582" fmla="*/ 133911 h 443275"/>
                <a:gd name="connsiteX583" fmla="*/ 18571 w 362309"/>
                <a:gd name="connsiteY583" fmla="*/ 133097 h 443275"/>
                <a:gd name="connsiteX584" fmla="*/ 20364 w 362309"/>
                <a:gd name="connsiteY584" fmla="*/ 126580 h 443275"/>
                <a:gd name="connsiteX585" fmla="*/ 22807 w 362309"/>
                <a:gd name="connsiteY585" fmla="*/ 121530 h 443275"/>
                <a:gd name="connsiteX586" fmla="*/ 21667 w 362309"/>
                <a:gd name="connsiteY586" fmla="*/ 120553 h 443275"/>
                <a:gd name="connsiteX587" fmla="*/ 18408 w 362309"/>
                <a:gd name="connsiteY587" fmla="*/ 122508 h 443275"/>
                <a:gd name="connsiteX588" fmla="*/ 15476 w 362309"/>
                <a:gd name="connsiteY588" fmla="*/ 119738 h 443275"/>
                <a:gd name="connsiteX589" fmla="*/ 13521 w 362309"/>
                <a:gd name="connsiteY589" fmla="*/ 120064 h 443275"/>
                <a:gd name="connsiteX590" fmla="*/ 12869 w 362309"/>
                <a:gd name="connsiteY590" fmla="*/ 125277 h 443275"/>
                <a:gd name="connsiteX591" fmla="*/ 13521 w 362309"/>
                <a:gd name="connsiteY591" fmla="*/ 129839 h 443275"/>
                <a:gd name="connsiteX592" fmla="*/ 11078 w 362309"/>
                <a:gd name="connsiteY592" fmla="*/ 133097 h 443275"/>
                <a:gd name="connsiteX593" fmla="*/ 7819 w 362309"/>
                <a:gd name="connsiteY593" fmla="*/ 134726 h 443275"/>
                <a:gd name="connsiteX594" fmla="*/ 7331 w 362309"/>
                <a:gd name="connsiteY594" fmla="*/ 130164 h 443275"/>
                <a:gd name="connsiteX595" fmla="*/ 2280 w 362309"/>
                <a:gd name="connsiteY595" fmla="*/ 122671 h 443275"/>
                <a:gd name="connsiteX596" fmla="*/ 1629 w 362309"/>
                <a:gd name="connsiteY596" fmla="*/ 116969 h 443275"/>
                <a:gd name="connsiteX597" fmla="*/ 0 w 362309"/>
                <a:gd name="connsiteY597" fmla="*/ 110615 h 443275"/>
                <a:gd name="connsiteX598" fmla="*/ 0 w 362309"/>
                <a:gd name="connsiteY598" fmla="*/ 106380 h 443275"/>
                <a:gd name="connsiteX599" fmla="*/ 3095 w 362309"/>
                <a:gd name="connsiteY599" fmla="*/ 105565 h 443275"/>
                <a:gd name="connsiteX600" fmla="*/ 7005 w 362309"/>
                <a:gd name="connsiteY600" fmla="*/ 101981 h 443275"/>
                <a:gd name="connsiteX601" fmla="*/ 8308 w 362309"/>
                <a:gd name="connsiteY601" fmla="*/ 101004 h 443275"/>
                <a:gd name="connsiteX602" fmla="*/ 8308 w 362309"/>
                <a:gd name="connsiteY602" fmla="*/ 96605 h 443275"/>
                <a:gd name="connsiteX603" fmla="*/ 6842 w 362309"/>
                <a:gd name="connsiteY603" fmla="*/ 94161 h 443275"/>
                <a:gd name="connsiteX604" fmla="*/ 6516 w 362309"/>
                <a:gd name="connsiteY604" fmla="*/ 88785 h 443275"/>
                <a:gd name="connsiteX605" fmla="*/ 11078 w 362309"/>
                <a:gd name="connsiteY605" fmla="*/ 83898 h 443275"/>
                <a:gd name="connsiteX606" fmla="*/ 14499 w 362309"/>
                <a:gd name="connsiteY606" fmla="*/ 83898 h 443275"/>
                <a:gd name="connsiteX607" fmla="*/ 17431 w 362309"/>
                <a:gd name="connsiteY607" fmla="*/ 90903 h 443275"/>
                <a:gd name="connsiteX608" fmla="*/ 19386 w 362309"/>
                <a:gd name="connsiteY608" fmla="*/ 95302 h 443275"/>
                <a:gd name="connsiteX609" fmla="*/ 23458 w 362309"/>
                <a:gd name="connsiteY609" fmla="*/ 95953 h 443275"/>
                <a:gd name="connsiteX610" fmla="*/ 24599 w 362309"/>
                <a:gd name="connsiteY610" fmla="*/ 93836 h 443275"/>
                <a:gd name="connsiteX611" fmla="*/ 19386 w 362309"/>
                <a:gd name="connsiteY611" fmla="*/ 87156 h 443275"/>
                <a:gd name="connsiteX612" fmla="*/ 19386 w 362309"/>
                <a:gd name="connsiteY612" fmla="*/ 82106 h 443275"/>
                <a:gd name="connsiteX613" fmla="*/ 21504 w 362309"/>
                <a:gd name="connsiteY613" fmla="*/ 80966 h 443275"/>
                <a:gd name="connsiteX614" fmla="*/ 24436 w 362309"/>
                <a:gd name="connsiteY614" fmla="*/ 82758 h 443275"/>
                <a:gd name="connsiteX615" fmla="*/ 24925 w 362309"/>
                <a:gd name="connsiteY615" fmla="*/ 85853 h 443275"/>
                <a:gd name="connsiteX616" fmla="*/ 26880 w 362309"/>
                <a:gd name="connsiteY616" fmla="*/ 87808 h 443275"/>
                <a:gd name="connsiteX617" fmla="*/ 30790 w 362309"/>
                <a:gd name="connsiteY617" fmla="*/ 86016 h 443275"/>
                <a:gd name="connsiteX618" fmla="*/ 41053 w 362309"/>
                <a:gd name="connsiteY618" fmla="*/ 78033 h 443275"/>
                <a:gd name="connsiteX619" fmla="*/ 46266 w 362309"/>
                <a:gd name="connsiteY619" fmla="*/ 76893 h 443275"/>
                <a:gd name="connsiteX620" fmla="*/ 49198 w 362309"/>
                <a:gd name="connsiteY620" fmla="*/ 79337 h 443275"/>
                <a:gd name="connsiteX621" fmla="*/ 52294 w 362309"/>
                <a:gd name="connsiteY621" fmla="*/ 85039 h 443275"/>
                <a:gd name="connsiteX622" fmla="*/ 51316 w 362309"/>
                <a:gd name="connsiteY622" fmla="*/ 88785 h 443275"/>
                <a:gd name="connsiteX623" fmla="*/ 48547 w 362309"/>
                <a:gd name="connsiteY623" fmla="*/ 91881 h 443275"/>
                <a:gd name="connsiteX624" fmla="*/ 45451 w 362309"/>
                <a:gd name="connsiteY624" fmla="*/ 91555 h 443275"/>
                <a:gd name="connsiteX625" fmla="*/ 43985 w 362309"/>
                <a:gd name="connsiteY625" fmla="*/ 90252 h 443275"/>
                <a:gd name="connsiteX626" fmla="*/ 41542 w 362309"/>
                <a:gd name="connsiteY626" fmla="*/ 90577 h 443275"/>
                <a:gd name="connsiteX627" fmla="*/ 36165 w 362309"/>
                <a:gd name="connsiteY627" fmla="*/ 94813 h 443275"/>
                <a:gd name="connsiteX628" fmla="*/ 35351 w 362309"/>
                <a:gd name="connsiteY628" fmla="*/ 97094 h 443275"/>
                <a:gd name="connsiteX629" fmla="*/ 33233 w 362309"/>
                <a:gd name="connsiteY629" fmla="*/ 97583 h 443275"/>
                <a:gd name="connsiteX630" fmla="*/ 32093 w 362309"/>
                <a:gd name="connsiteY630" fmla="*/ 100678 h 443275"/>
                <a:gd name="connsiteX631" fmla="*/ 34862 w 362309"/>
                <a:gd name="connsiteY631" fmla="*/ 102633 h 443275"/>
                <a:gd name="connsiteX632" fmla="*/ 38772 w 362309"/>
                <a:gd name="connsiteY632" fmla="*/ 100026 h 443275"/>
                <a:gd name="connsiteX633" fmla="*/ 44800 w 362309"/>
                <a:gd name="connsiteY633" fmla="*/ 97583 h 443275"/>
                <a:gd name="connsiteX634" fmla="*/ 47244 w 362309"/>
                <a:gd name="connsiteY634" fmla="*/ 98886 h 443275"/>
                <a:gd name="connsiteX635" fmla="*/ 47244 w 362309"/>
                <a:gd name="connsiteY635" fmla="*/ 100678 h 443275"/>
                <a:gd name="connsiteX636" fmla="*/ 42519 w 362309"/>
                <a:gd name="connsiteY636" fmla="*/ 104425 h 443275"/>
                <a:gd name="connsiteX637" fmla="*/ 42030 w 362309"/>
                <a:gd name="connsiteY637" fmla="*/ 106868 h 443275"/>
                <a:gd name="connsiteX638" fmla="*/ 44637 w 362309"/>
                <a:gd name="connsiteY638" fmla="*/ 108009 h 443275"/>
                <a:gd name="connsiteX639" fmla="*/ 46266 w 362309"/>
                <a:gd name="connsiteY639" fmla="*/ 106054 h 443275"/>
                <a:gd name="connsiteX640" fmla="*/ 48058 w 362309"/>
                <a:gd name="connsiteY640" fmla="*/ 106380 h 443275"/>
                <a:gd name="connsiteX641" fmla="*/ 50013 w 362309"/>
                <a:gd name="connsiteY641" fmla="*/ 109638 h 443275"/>
                <a:gd name="connsiteX642" fmla="*/ 51968 w 362309"/>
                <a:gd name="connsiteY642" fmla="*/ 111267 h 443275"/>
                <a:gd name="connsiteX643" fmla="*/ 51642 w 362309"/>
                <a:gd name="connsiteY643" fmla="*/ 114362 h 443275"/>
                <a:gd name="connsiteX644" fmla="*/ 52782 w 362309"/>
                <a:gd name="connsiteY644" fmla="*/ 120064 h 443275"/>
                <a:gd name="connsiteX645" fmla="*/ 55389 w 362309"/>
                <a:gd name="connsiteY645" fmla="*/ 123159 h 443275"/>
                <a:gd name="connsiteX646" fmla="*/ 57669 w 362309"/>
                <a:gd name="connsiteY646" fmla="*/ 124137 h 443275"/>
                <a:gd name="connsiteX647" fmla="*/ 56529 w 362309"/>
                <a:gd name="connsiteY647" fmla="*/ 116969 h 443275"/>
                <a:gd name="connsiteX648" fmla="*/ 53597 w 362309"/>
                <a:gd name="connsiteY648" fmla="*/ 111267 h 443275"/>
                <a:gd name="connsiteX649" fmla="*/ 52782 w 362309"/>
                <a:gd name="connsiteY649" fmla="*/ 105402 h 443275"/>
                <a:gd name="connsiteX650" fmla="*/ 54085 w 362309"/>
                <a:gd name="connsiteY650" fmla="*/ 99537 h 443275"/>
                <a:gd name="connsiteX651" fmla="*/ 59136 w 362309"/>
                <a:gd name="connsiteY651" fmla="*/ 91555 h 443275"/>
                <a:gd name="connsiteX652" fmla="*/ 60113 w 362309"/>
                <a:gd name="connsiteY652" fmla="*/ 86505 h 443275"/>
                <a:gd name="connsiteX653" fmla="*/ 62394 w 362309"/>
                <a:gd name="connsiteY653" fmla="*/ 84387 h 443275"/>
                <a:gd name="connsiteX654" fmla="*/ 64838 w 362309"/>
                <a:gd name="connsiteY654" fmla="*/ 85527 h 443275"/>
                <a:gd name="connsiteX655" fmla="*/ 69236 w 362309"/>
                <a:gd name="connsiteY655" fmla="*/ 90740 h 443275"/>
                <a:gd name="connsiteX656" fmla="*/ 74775 w 362309"/>
                <a:gd name="connsiteY656" fmla="*/ 94487 h 443275"/>
                <a:gd name="connsiteX657" fmla="*/ 75264 w 362309"/>
                <a:gd name="connsiteY657" fmla="*/ 97420 h 443275"/>
                <a:gd name="connsiteX658" fmla="*/ 75264 w 362309"/>
                <a:gd name="connsiteY658" fmla="*/ 107194 h 443275"/>
                <a:gd name="connsiteX659" fmla="*/ 79337 w 362309"/>
                <a:gd name="connsiteY659" fmla="*/ 117620 h 443275"/>
                <a:gd name="connsiteX660" fmla="*/ 79337 w 362309"/>
                <a:gd name="connsiteY660" fmla="*/ 121856 h 443275"/>
                <a:gd name="connsiteX661" fmla="*/ 78196 w 362309"/>
                <a:gd name="connsiteY661" fmla="*/ 125114 h 443275"/>
                <a:gd name="connsiteX662" fmla="*/ 74449 w 362309"/>
                <a:gd name="connsiteY662" fmla="*/ 128698 h 443275"/>
                <a:gd name="connsiteX663" fmla="*/ 74938 w 362309"/>
                <a:gd name="connsiteY663" fmla="*/ 130653 h 443275"/>
                <a:gd name="connsiteX664" fmla="*/ 76730 w 362309"/>
                <a:gd name="connsiteY664" fmla="*/ 131468 h 443275"/>
                <a:gd name="connsiteX665" fmla="*/ 80151 w 362309"/>
                <a:gd name="connsiteY665" fmla="*/ 129187 h 443275"/>
                <a:gd name="connsiteX666" fmla="*/ 82758 w 362309"/>
                <a:gd name="connsiteY666" fmla="*/ 129676 h 443275"/>
                <a:gd name="connsiteX667" fmla="*/ 85853 w 362309"/>
                <a:gd name="connsiteY667" fmla="*/ 134237 h 443275"/>
                <a:gd name="connsiteX668" fmla="*/ 89111 w 362309"/>
                <a:gd name="connsiteY668" fmla="*/ 142383 h 443275"/>
                <a:gd name="connsiteX669" fmla="*/ 91392 w 362309"/>
                <a:gd name="connsiteY669" fmla="*/ 144663 h 443275"/>
                <a:gd name="connsiteX670" fmla="*/ 94813 w 362309"/>
                <a:gd name="connsiteY670" fmla="*/ 144663 h 443275"/>
                <a:gd name="connsiteX671" fmla="*/ 95790 w 362309"/>
                <a:gd name="connsiteY671" fmla="*/ 140428 h 443275"/>
                <a:gd name="connsiteX672" fmla="*/ 90903 w 362309"/>
                <a:gd name="connsiteY672" fmla="*/ 134726 h 443275"/>
                <a:gd name="connsiteX673" fmla="*/ 90089 w 362309"/>
                <a:gd name="connsiteY673" fmla="*/ 129513 h 443275"/>
                <a:gd name="connsiteX674" fmla="*/ 85853 w 362309"/>
                <a:gd name="connsiteY674" fmla="*/ 122508 h 443275"/>
                <a:gd name="connsiteX675" fmla="*/ 84061 w 362309"/>
                <a:gd name="connsiteY675" fmla="*/ 116806 h 443275"/>
                <a:gd name="connsiteX676" fmla="*/ 84061 w 362309"/>
                <a:gd name="connsiteY676" fmla="*/ 109638 h 443275"/>
                <a:gd name="connsiteX677" fmla="*/ 84061 w 362309"/>
                <a:gd name="connsiteY677" fmla="*/ 94324 h 443275"/>
                <a:gd name="connsiteX678" fmla="*/ 82595 w 362309"/>
                <a:gd name="connsiteY678" fmla="*/ 91229 h 443275"/>
                <a:gd name="connsiteX679" fmla="*/ 80314 w 362309"/>
                <a:gd name="connsiteY679" fmla="*/ 89763 h 443275"/>
                <a:gd name="connsiteX680" fmla="*/ 81455 w 362309"/>
                <a:gd name="connsiteY680" fmla="*/ 84550 h 443275"/>
                <a:gd name="connsiteX681" fmla="*/ 81128 w 362309"/>
                <a:gd name="connsiteY681" fmla="*/ 79825 h 443275"/>
                <a:gd name="connsiteX682" fmla="*/ 83409 w 362309"/>
                <a:gd name="connsiteY682" fmla="*/ 75427 h 443275"/>
                <a:gd name="connsiteX683" fmla="*/ 82758 w 362309"/>
                <a:gd name="connsiteY683" fmla="*/ 67933 h 443275"/>
                <a:gd name="connsiteX684" fmla="*/ 85853 w 362309"/>
                <a:gd name="connsiteY684" fmla="*/ 62720 h 443275"/>
                <a:gd name="connsiteX685" fmla="*/ 88785 w 362309"/>
                <a:gd name="connsiteY685" fmla="*/ 61254 h 443275"/>
                <a:gd name="connsiteX686" fmla="*/ 90740 w 362309"/>
                <a:gd name="connsiteY686" fmla="*/ 62231 h 443275"/>
                <a:gd name="connsiteX687" fmla="*/ 95465 w 362309"/>
                <a:gd name="connsiteY687" fmla="*/ 68748 h 443275"/>
                <a:gd name="connsiteX688" fmla="*/ 96442 w 362309"/>
                <a:gd name="connsiteY688" fmla="*/ 74612 h 443275"/>
                <a:gd name="connsiteX689" fmla="*/ 98885 w 362309"/>
                <a:gd name="connsiteY689" fmla="*/ 76241 h 443275"/>
                <a:gd name="connsiteX690" fmla="*/ 101166 w 362309"/>
                <a:gd name="connsiteY690" fmla="*/ 72332 h 443275"/>
                <a:gd name="connsiteX691" fmla="*/ 104750 w 362309"/>
                <a:gd name="connsiteY691" fmla="*/ 70051 h 443275"/>
                <a:gd name="connsiteX692" fmla="*/ 108660 w 362309"/>
                <a:gd name="connsiteY692" fmla="*/ 72657 h 443275"/>
                <a:gd name="connsiteX693" fmla="*/ 113547 w 362309"/>
                <a:gd name="connsiteY693" fmla="*/ 79988 h 443275"/>
                <a:gd name="connsiteX694" fmla="*/ 115665 w 362309"/>
                <a:gd name="connsiteY694" fmla="*/ 85690 h 443275"/>
                <a:gd name="connsiteX695" fmla="*/ 115991 w 362309"/>
                <a:gd name="connsiteY695" fmla="*/ 91392 h 443275"/>
                <a:gd name="connsiteX696" fmla="*/ 114036 w 362309"/>
                <a:gd name="connsiteY696" fmla="*/ 93999 h 443275"/>
                <a:gd name="connsiteX697" fmla="*/ 114036 w 362309"/>
                <a:gd name="connsiteY697" fmla="*/ 104913 h 443275"/>
                <a:gd name="connsiteX698" fmla="*/ 114036 w 362309"/>
                <a:gd name="connsiteY698" fmla="*/ 111430 h 443275"/>
                <a:gd name="connsiteX699" fmla="*/ 113710 w 362309"/>
                <a:gd name="connsiteY699" fmla="*/ 113873 h 443275"/>
                <a:gd name="connsiteX700" fmla="*/ 115503 w 362309"/>
                <a:gd name="connsiteY700" fmla="*/ 114851 h 443275"/>
                <a:gd name="connsiteX701" fmla="*/ 118598 w 362309"/>
                <a:gd name="connsiteY701" fmla="*/ 111919 h 443275"/>
                <a:gd name="connsiteX702" fmla="*/ 118598 w 362309"/>
                <a:gd name="connsiteY702" fmla="*/ 105565 h 443275"/>
                <a:gd name="connsiteX703" fmla="*/ 117620 w 362309"/>
                <a:gd name="connsiteY703" fmla="*/ 96116 h 443275"/>
                <a:gd name="connsiteX704" fmla="*/ 118923 w 362309"/>
                <a:gd name="connsiteY704" fmla="*/ 91555 h 443275"/>
                <a:gd name="connsiteX705" fmla="*/ 122182 w 362309"/>
                <a:gd name="connsiteY705" fmla="*/ 88948 h 443275"/>
                <a:gd name="connsiteX706" fmla="*/ 128535 w 362309"/>
                <a:gd name="connsiteY706" fmla="*/ 94487 h 443275"/>
                <a:gd name="connsiteX707" fmla="*/ 132445 w 362309"/>
                <a:gd name="connsiteY707" fmla="*/ 103936 h 443275"/>
                <a:gd name="connsiteX708" fmla="*/ 135703 w 362309"/>
                <a:gd name="connsiteY708" fmla="*/ 115503 h 443275"/>
                <a:gd name="connsiteX709" fmla="*/ 135703 w 362309"/>
                <a:gd name="connsiteY709" fmla="*/ 118924 h 443275"/>
                <a:gd name="connsiteX710" fmla="*/ 138798 w 362309"/>
                <a:gd name="connsiteY710" fmla="*/ 122345 h 443275"/>
                <a:gd name="connsiteX711" fmla="*/ 144012 w 362309"/>
                <a:gd name="connsiteY711" fmla="*/ 122671 h 443275"/>
                <a:gd name="connsiteX712" fmla="*/ 146455 w 362309"/>
                <a:gd name="connsiteY712" fmla="*/ 123811 h 443275"/>
                <a:gd name="connsiteX713" fmla="*/ 152483 w 362309"/>
                <a:gd name="connsiteY713" fmla="*/ 130979 h 443275"/>
                <a:gd name="connsiteX714" fmla="*/ 155415 w 362309"/>
                <a:gd name="connsiteY714" fmla="*/ 133423 h 443275"/>
                <a:gd name="connsiteX715" fmla="*/ 162094 w 362309"/>
                <a:gd name="connsiteY715" fmla="*/ 140428 h 443275"/>
                <a:gd name="connsiteX716" fmla="*/ 167471 w 362309"/>
                <a:gd name="connsiteY716" fmla="*/ 143360 h 443275"/>
                <a:gd name="connsiteX717" fmla="*/ 178548 w 362309"/>
                <a:gd name="connsiteY717" fmla="*/ 146129 h 443275"/>
                <a:gd name="connsiteX718" fmla="*/ 182132 w 362309"/>
                <a:gd name="connsiteY718" fmla="*/ 147270 h 443275"/>
                <a:gd name="connsiteX719" fmla="*/ 182132 w 362309"/>
                <a:gd name="connsiteY719" fmla="*/ 152972 h 443275"/>
                <a:gd name="connsiteX720" fmla="*/ 180829 w 362309"/>
                <a:gd name="connsiteY720" fmla="*/ 155904 h 443275"/>
                <a:gd name="connsiteX721" fmla="*/ 180014 w 362309"/>
                <a:gd name="connsiteY721" fmla="*/ 159162 h 443275"/>
                <a:gd name="connsiteX722" fmla="*/ 177897 w 362309"/>
                <a:gd name="connsiteY722" fmla="*/ 159651 h 443275"/>
                <a:gd name="connsiteX723" fmla="*/ 175127 w 362309"/>
                <a:gd name="connsiteY723" fmla="*/ 154927 h 443275"/>
                <a:gd name="connsiteX724" fmla="*/ 170077 w 362309"/>
                <a:gd name="connsiteY724" fmla="*/ 157207 h 443275"/>
                <a:gd name="connsiteX725" fmla="*/ 166493 w 362309"/>
                <a:gd name="connsiteY725" fmla="*/ 156719 h 443275"/>
                <a:gd name="connsiteX726" fmla="*/ 159488 w 362309"/>
                <a:gd name="connsiteY726" fmla="*/ 162258 h 443275"/>
                <a:gd name="connsiteX727" fmla="*/ 154764 w 362309"/>
                <a:gd name="connsiteY727" fmla="*/ 162583 h 443275"/>
                <a:gd name="connsiteX728" fmla="*/ 153949 w 362309"/>
                <a:gd name="connsiteY728" fmla="*/ 164375 h 443275"/>
                <a:gd name="connsiteX729" fmla="*/ 155578 w 362309"/>
                <a:gd name="connsiteY729" fmla="*/ 167145 h 443275"/>
                <a:gd name="connsiteX730" fmla="*/ 155252 w 362309"/>
                <a:gd name="connsiteY730" fmla="*/ 170077 h 443275"/>
                <a:gd name="connsiteX731" fmla="*/ 149713 w 362309"/>
                <a:gd name="connsiteY731" fmla="*/ 174801 h 443275"/>
                <a:gd name="connsiteX732" fmla="*/ 148899 w 362309"/>
                <a:gd name="connsiteY732" fmla="*/ 177408 h 443275"/>
                <a:gd name="connsiteX733" fmla="*/ 150202 w 362309"/>
                <a:gd name="connsiteY733" fmla="*/ 183436 h 443275"/>
                <a:gd name="connsiteX734" fmla="*/ 150528 w 362309"/>
                <a:gd name="connsiteY734" fmla="*/ 192722 h 443275"/>
                <a:gd name="connsiteX735" fmla="*/ 149387 w 362309"/>
                <a:gd name="connsiteY735" fmla="*/ 196631 h 443275"/>
                <a:gd name="connsiteX736" fmla="*/ 149876 w 362309"/>
                <a:gd name="connsiteY736" fmla="*/ 202496 h 443275"/>
                <a:gd name="connsiteX737" fmla="*/ 151017 w 362309"/>
                <a:gd name="connsiteY737" fmla="*/ 204451 h 443275"/>
                <a:gd name="connsiteX738" fmla="*/ 148736 w 362309"/>
                <a:gd name="connsiteY738" fmla="*/ 208198 h 443275"/>
                <a:gd name="connsiteX739" fmla="*/ 144012 w 362309"/>
                <a:gd name="connsiteY739" fmla="*/ 206080 h 443275"/>
                <a:gd name="connsiteX740" fmla="*/ 142056 w 362309"/>
                <a:gd name="connsiteY740" fmla="*/ 207546 h 443275"/>
                <a:gd name="connsiteX741" fmla="*/ 141568 w 362309"/>
                <a:gd name="connsiteY741" fmla="*/ 212922 h 443275"/>
                <a:gd name="connsiteX742" fmla="*/ 145152 w 362309"/>
                <a:gd name="connsiteY742" fmla="*/ 219276 h 443275"/>
                <a:gd name="connsiteX743" fmla="*/ 145152 w 362309"/>
                <a:gd name="connsiteY743" fmla="*/ 224652 h 443275"/>
                <a:gd name="connsiteX744" fmla="*/ 143686 w 362309"/>
                <a:gd name="connsiteY744" fmla="*/ 230353 h 443275"/>
                <a:gd name="connsiteX745" fmla="*/ 143686 w 362309"/>
                <a:gd name="connsiteY745" fmla="*/ 237033 h 443275"/>
                <a:gd name="connsiteX746" fmla="*/ 143360 w 362309"/>
                <a:gd name="connsiteY746" fmla="*/ 242083 h 443275"/>
                <a:gd name="connsiteX747" fmla="*/ 141405 w 362309"/>
                <a:gd name="connsiteY747" fmla="*/ 242083 h 443275"/>
                <a:gd name="connsiteX748" fmla="*/ 136029 w 362309"/>
                <a:gd name="connsiteY748" fmla="*/ 241594 h 443275"/>
                <a:gd name="connsiteX749" fmla="*/ 131956 w 362309"/>
                <a:gd name="connsiteY749" fmla="*/ 245178 h 443275"/>
                <a:gd name="connsiteX750" fmla="*/ 136517 w 362309"/>
                <a:gd name="connsiteY750" fmla="*/ 247459 h 443275"/>
                <a:gd name="connsiteX751" fmla="*/ 135703 w 362309"/>
                <a:gd name="connsiteY751" fmla="*/ 249414 h 443275"/>
                <a:gd name="connsiteX752" fmla="*/ 132445 w 362309"/>
                <a:gd name="connsiteY752" fmla="*/ 252672 h 443275"/>
                <a:gd name="connsiteX753" fmla="*/ 132445 w 362309"/>
                <a:gd name="connsiteY753" fmla="*/ 256419 h 443275"/>
                <a:gd name="connsiteX754" fmla="*/ 131793 w 362309"/>
                <a:gd name="connsiteY754" fmla="*/ 260655 h 443275"/>
                <a:gd name="connsiteX755" fmla="*/ 131305 w 362309"/>
                <a:gd name="connsiteY755" fmla="*/ 276620 h 443275"/>
                <a:gd name="connsiteX756" fmla="*/ 129349 w 362309"/>
                <a:gd name="connsiteY756" fmla="*/ 280855 h 443275"/>
                <a:gd name="connsiteX757" fmla="*/ 127069 w 362309"/>
                <a:gd name="connsiteY757" fmla="*/ 283951 h 443275"/>
                <a:gd name="connsiteX758" fmla="*/ 127721 w 362309"/>
                <a:gd name="connsiteY758" fmla="*/ 289815 h 443275"/>
                <a:gd name="connsiteX759" fmla="*/ 130001 w 362309"/>
                <a:gd name="connsiteY759" fmla="*/ 296332 h 443275"/>
                <a:gd name="connsiteX760" fmla="*/ 130001 w 362309"/>
                <a:gd name="connsiteY760" fmla="*/ 299590 h 443275"/>
                <a:gd name="connsiteX761" fmla="*/ 128698 w 362309"/>
                <a:gd name="connsiteY761" fmla="*/ 300893 h 443275"/>
                <a:gd name="connsiteX762" fmla="*/ 128046 w 362309"/>
                <a:gd name="connsiteY762" fmla="*/ 306269 h 443275"/>
                <a:gd name="connsiteX763" fmla="*/ 124951 w 362309"/>
                <a:gd name="connsiteY763" fmla="*/ 310831 h 443275"/>
                <a:gd name="connsiteX764" fmla="*/ 121041 w 362309"/>
                <a:gd name="connsiteY764" fmla="*/ 311482 h 443275"/>
                <a:gd name="connsiteX765" fmla="*/ 121041 w 362309"/>
                <a:gd name="connsiteY765" fmla="*/ 311482 h 443275"/>
                <a:gd name="connsiteX766" fmla="*/ 178548 w 362309"/>
                <a:gd name="connsiteY766" fmla="*/ 443276 h 443275"/>
                <a:gd name="connsiteX767" fmla="*/ 180503 w 362309"/>
                <a:gd name="connsiteY767" fmla="*/ 440180 h 443275"/>
                <a:gd name="connsiteX768" fmla="*/ 181155 w 362309"/>
                <a:gd name="connsiteY768" fmla="*/ 433175 h 443275"/>
                <a:gd name="connsiteX769" fmla="*/ 177571 w 362309"/>
                <a:gd name="connsiteY769" fmla="*/ 429428 h 443275"/>
                <a:gd name="connsiteX770" fmla="*/ 172846 w 362309"/>
                <a:gd name="connsiteY770" fmla="*/ 429103 h 443275"/>
                <a:gd name="connsiteX771" fmla="*/ 171543 w 362309"/>
                <a:gd name="connsiteY771" fmla="*/ 432198 h 443275"/>
                <a:gd name="connsiteX772" fmla="*/ 172846 w 362309"/>
                <a:gd name="connsiteY772" fmla="*/ 436108 h 443275"/>
                <a:gd name="connsiteX773" fmla="*/ 176105 w 362309"/>
                <a:gd name="connsiteY773" fmla="*/ 438714 h 443275"/>
                <a:gd name="connsiteX774" fmla="*/ 176756 w 362309"/>
                <a:gd name="connsiteY774" fmla="*/ 441973 h 443275"/>
                <a:gd name="connsiteX775" fmla="*/ 178548 w 362309"/>
                <a:gd name="connsiteY775" fmla="*/ 443113 h 443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</a:cxnLst>
              <a:rect l="l" t="t" r="r" b="b"/>
              <a:pathLst>
                <a:path w="362309" h="443275">
                  <a:moveTo>
                    <a:pt x="335104" y="37795"/>
                  </a:moveTo>
                  <a:cubicBezTo>
                    <a:pt x="335104" y="37795"/>
                    <a:pt x="338037" y="34700"/>
                    <a:pt x="338037" y="34700"/>
                  </a:cubicBezTo>
                  <a:lnTo>
                    <a:pt x="343087" y="33233"/>
                  </a:lnTo>
                  <a:lnTo>
                    <a:pt x="346833" y="30301"/>
                  </a:lnTo>
                  <a:lnTo>
                    <a:pt x="351232" y="24925"/>
                  </a:lnTo>
                  <a:lnTo>
                    <a:pt x="356282" y="22156"/>
                  </a:lnTo>
                  <a:lnTo>
                    <a:pt x="360844" y="22156"/>
                  </a:lnTo>
                  <a:cubicBezTo>
                    <a:pt x="360844" y="22156"/>
                    <a:pt x="362310" y="24111"/>
                    <a:pt x="362310" y="24111"/>
                  </a:cubicBezTo>
                  <a:lnTo>
                    <a:pt x="361821" y="26391"/>
                  </a:lnTo>
                  <a:lnTo>
                    <a:pt x="354653" y="31441"/>
                  </a:lnTo>
                  <a:lnTo>
                    <a:pt x="350906" y="33233"/>
                  </a:lnTo>
                  <a:lnTo>
                    <a:pt x="344390" y="38935"/>
                  </a:lnTo>
                  <a:lnTo>
                    <a:pt x="338688" y="40401"/>
                  </a:lnTo>
                  <a:lnTo>
                    <a:pt x="336407" y="39587"/>
                  </a:lnTo>
                  <a:lnTo>
                    <a:pt x="335267" y="37632"/>
                  </a:lnTo>
                  <a:lnTo>
                    <a:pt x="335267" y="37632"/>
                  </a:lnTo>
                  <a:close/>
                  <a:moveTo>
                    <a:pt x="270592" y="42356"/>
                  </a:moveTo>
                  <a:lnTo>
                    <a:pt x="273198" y="46918"/>
                  </a:lnTo>
                  <a:lnTo>
                    <a:pt x="276131" y="46918"/>
                  </a:lnTo>
                  <a:cubicBezTo>
                    <a:pt x="276131" y="46918"/>
                    <a:pt x="278249" y="44474"/>
                    <a:pt x="278249" y="44474"/>
                  </a:cubicBezTo>
                  <a:lnTo>
                    <a:pt x="276619" y="40564"/>
                  </a:lnTo>
                  <a:lnTo>
                    <a:pt x="273362" y="38609"/>
                  </a:lnTo>
                  <a:lnTo>
                    <a:pt x="271406" y="39750"/>
                  </a:lnTo>
                  <a:lnTo>
                    <a:pt x="270755" y="42356"/>
                  </a:lnTo>
                  <a:lnTo>
                    <a:pt x="270755" y="42356"/>
                  </a:lnTo>
                  <a:close/>
                  <a:moveTo>
                    <a:pt x="148084" y="3584"/>
                  </a:moveTo>
                  <a:lnTo>
                    <a:pt x="156230" y="9937"/>
                  </a:lnTo>
                  <a:lnTo>
                    <a:pt x="159976" y="10752"/>
                  </a:lnTo>
                  <a:lnTo>
                    <a:pt x="162094" y="9123"/>
                  </a:lnTo>
                  <a:lnTo>
                    <a:pt x="164375" y="5539"/>
                  </a:lnTo>
                  <a:lnTo>
                    <a:pt x="162094" y="3584"/>
                  </a:lnTo>
                  <a:lnTo>
                    <a:pt x="156881" y="4399"/>
                  </a:lnTo>
                  <a:lnTo>
                    <a:pt x="151505" y="1303"/>
                  </a:lnTo>
                  <a:lnTo>
                    <a:pt x="147596" y="0"/>
                  </a:lnTo>
                  <a:lnTo>
                    <a:pt x="146455" y="1792"/>
                  </a:lnTo>
                  <a:lnTo>
                    <a:pt x="148410" y="3584"/>
                  </a:lnTo>
                  <a:lnTo>
                    <a:pt x="148410" y="3584"/>
                  </a:lnTo>
                  <a:close/>
                  <a:moveTo>
                    <a:pt x="123811" y="47081"/>
                  </a:moveTo>
                  <a:lnTo>
                    <a:pt x="119738" y="44474"/>
                  </a:lnTo>
                  <a:lnTo>
                    <a:pt x="118923" y="41868"/>
                  </a:lnTo>
                  <a:lnTo>
                    <a:pt x="119738" y="38772"/>
                  </a:lnTo>
                  <a:lnTo>
                    <a:pt x="122833" y="36492"/>
                  </a:lnTo>
                  <a:lnTo>
                    <a:pt x="125440" y="37469"/>
                  </a:lnTo>
                  <a:lnTo>
                    <a:pt x="127883" y="41542"/>
                  </a:lnTo>
                  <a:lnTo>
                    <a:pt x="127558" y="44311"/>
                  </a:lnTo>
                  <a:lnTo>
                    <a:pt x="125603" y="46592"/>
                  </a:lnTo>
                  <a:lnTo>
                    <a:pt x="123974" y="47081"/>
                  </a:lnTo>
                  <a:lnTo>
                    <a:pt x="123974" y="47081"/>
                  </a:lnTo>
                  <a:close/>
                  <a:moveTo>
                    <a:pt x="147270" y="86342"/>
                  </a:moveTo>
                  <a:cubicBezTo>
                    <a:pt x="147270" y="86342"/>
                    <a:pt x="149387" y="86016"/>
                    <a:pt x="149387" y="86016"/>
                  </a:cubicBezTo>
                  <a:lnTo>
                    <a:pt x="155089" y="81943"/>
                  </a:lnTo>
                  <a:lnTo>
                    <a:pt x="158022" y="80803"/>
                  </a:lnTo>
                  <a:lnTo>
                    <a:pt x="167144" y="79988"/>
                  </a:lnTo>
                  <a:lnTo>
                    <a:pt x="174313" y="80314"/>
                  </a:lnTo>
                  <a:lnTo>
                    <a:pt x="178222" y="77545"/>
                  </a:lnTo>
                  <a:lnTo>
                    <a:pt x="180992" y="77219"/>
                  </a:lnTo>
                  <a:lnTo>
                    <a:pt x="183110" y="78685"/>
                  </a:lnTo>
                  <a:lnTo>
                    <a:pt x="183110" y="80803"/>
                  </a:lnTo>
                  <a:cubicBezTo>
                    <a:pt x="183110" y="80803"/>
                    <a:pt x="181481" y="82595"/>
                    <a:pt x="181481" y="82595"/>
                  </a:cubicBezTo>
                  <a:lnTo>
                    <a:pt x="179851" y="85527"/>
                  </a:lnTo>
                  <a:lnTo>
                    <a:pt x="177082" y="87156"/>
                  </a:lnTo>
                  <a:lnTo>
                    <a:pt x="171706" y="86016"/>
                  </a:lnTo>
                  <a:lnTo>
                    <a:pt x="165678" y="86016"/>
                  </a:lnTo>
                  <a:cubicBezTo>
                    <a:pt x="165678" y="86016"/>
                    <a:pt x="161117" y="85201"/>
                    <a:pt x="161117" y="85201"/>
                  </a:cubicBezTo>
                  <a:lnTo>
                    <a:pt x="159976" y="86993"/>
                  </a:lnTo>
                  <a:lnTo>
                    <a:pt x="162094" y="88623"/>
                  </a:lnTo>
                  <a:lnTo>
                    <a:pt x="169588" y="90577"/>
                  </a:lnTo>
                  <a:lnTo>
                    <a:pt x="172195" y="92532"/>
                  </a:lnTo>
                  <a:lnTo>
                    <a:pt x="172195" y="94813"/>
                  </a:lnTo>
                  <a:lnTo>
                    <a:pt x="169751" y="95139"/>
                  </a:lnTo>
                  <a:lnTo>
                    <a:pt x="164538" y="93184"/>
                  </a:lnTo>
                  <a:lnTo>
                    <a:pt x="163235" y="94976"/>
                  </a:lnTo>
                  <a:lnTo>
                    <a:pt x="160465" y="94976"/>
                  </a:lnTo>
                  <a:cubicBezTo>
                    <a:pt x="160465" y="94976"/>
                    <a:pt x="155415" y="91392"/>
                    <a:pt x="155415" y="91392"/>
                  </a:cubicBezTo>
                  <a:lnTo>
                    <a:pt x="150528" y="90415"/>
                  </a:lnTo>
                  <a:lnTo>
                    <a:pt x="144174" y="92207"/>
                  </a:lnTo>
                  <a:lnTo>
                    <a:pt x="144663" y="94813"/>
                  </a:lnTo>
                  <a:lnTo>
                    <a:pt x="147758" y="96442"/>
                  </a:lnTo>
                  <a:lnTo>
                    <a:pt x="156881" y="104588"/>
                  </a:lnTo>
                  <a:lnTo>
                    <a:pt x="159814" y="105402"/>
                  </a:lnTo>
                  <a:lnTo>
                    <a:pt x="164049" y="103121"/>
                  </a:lnTo>
                  <a:lnTo>
                    <a:pt x="166656" y="103936"/>
                  </a:lnTo>
                  <a:lnTo>
                    <a:pt x="168774" y="108823"/>
                  </a:lnTo>
                  <a:lnTo>
                    <a:pt x="168774" y="112733"/>
                  </a:lnTo>
                  <a:lnTo>
                    <a:pt x="172358" y="113873"/>
                  </a:lnTo>
                  <a:lnTo>
                    <a:pt x="177082" y="112407"/>
                  </a:lnTo>
                  <a:lnTo>
                    <a:pt x="183924" y="111919"/>
                  </a:lnTo>
                  <a:lnTo>
                    <a:pt x="190929" y="109149"/>
                  </a:lnTo>
                  <a:lnTo>
                    <a:pt x="195980" y="109149"/>
                  </a:lnTo>
                  <a:cubicBezTo>
                    <a:pt x="195980" y="109149"/>
                    <a:pt x="202496" y="107683"/>
                    <a:pt x="202496" y="107683"/>
                  </a:cubicBezTo>
                  <a:lnTo>
                    <a:pt x="202985" y="110289"/>
                  </a:lnTo>
                  <a:lnTo>
                    <a:pt x="202170" y="114525"/>
                  </a:lnTo>
                  <a:lnTo>
                    <a:pt x="203310" y="119249"/>
                  </a:lnTo>
                  <a:lnTo>
                    <a:pt x="208687" y="123159"/>
                  </a:lnTo>
                  <a:lnTo>
                    <a:pt x="214388" y="123811"/>
                  </a:lnTo>
                  <a:lnTo>
                    <a:pt x="222045" y="121530"/>
                  </a:lnTo>
                  <a:lnTo>
                    <a:pt x="223674" y="119087"/>
                  </a:lnTo>
                  <a:lnTo>
                    <a:pt x="223022" y="116969"/>
                  </a:lnTo>
                  <a:lnTo>
                    <a:pt x="222697" y="114199"/>
                  </a:lnTo>
                  <a:lnTo>
                    <a:pt x="224651" y="110941"/>
                  </a:lnTo>
                  <a:lnTo>
                    <a:pt x="229213" y="106380"/>
                  </a:lnTo>
                  <a:lnTo>
                    <a:pt x="232308" y="105728"/>
                  </a:lnTo>
                  <a:lnTo>
                    <a:pt x="235567" y="108497"/>
                  </a:lnTo>
                  <a:lnTo>
                    <a:pt x="239476" y="110941"/>
                  </a:lnTo>
                  <a:lnTo>
                    <a:pt x="244201" y="110941"/>
                  </a:lnTo>
                  <a:cubicBezTo>
                    <a:pt x="244201" y="110941"/>
                    <a:pt x="249576" y="107031"/>
                    <a:pt x="249576" y="107031"/>
                  </a:cubicBezTo>
                  <a:lnTo>
                    <a:pt x="251206" y="104751"/>
                  </a:lnTo>
                  <a:lnTo>
                    <a:pt x="250065" y="98071"/>
                  </a:lnTo>
                  <a:lnTo>
                    <a:pt x="248925" y="94161"/>
                  </a:lnTo>
                  <a:lnTo>
                    <a:pt x="251694" y="91066"/>
                  </a:lnTo>
                  <a:lnTo>
                    <a:pt x="255278" y="87808"/>
                  </a:lnTo>
                  <a:lnTo>
                    <a:pt x="259025" y="79825"/>
                  </a:lnTo>
                  <a:lnTo>
                    <a:pt x="262283" y="75590"/>
                  </a:lnTo>
                  <a:lnTo>
                    <a:pt x="267660" y="69236"/>
                  </a:lnTo>
                  <a:lnTo>
                    <a:pt x="268963" y="65164"/>
                  </a:lnTo>
                  <a:lnTo>
                    <a:pt x="268963" y="61417"/>
                  </a:lnTo>
                  <a:cubicBezTo>
                    <a:pt x="268963" y="61417"/>
                    <a:pt x="267171" y="57181"/>
                    <a:pt x="267171" y="57181"/>
                  </a:cubicBezTo>
                  <a:lnTo>
                    <a:pt x="266519" y="53434"/>
                  </a:lnTo>
                  <a:lnTo>
                    <a:pt x="267985" y="50665"/>
                  </a:lnTo>
                  <a:lnTo>
                    <a:pt x="268311" y="47732"/>
                  </a:lnTo>
                  <a:lnTo>
                    <a:pt x="266519" y="46592"/>
                  </a:lnTo>
                  <a:lnTo>
                    <a:pt x="259677" y="46266"/>
                  </a:lnTo>
                  <a:lnTo>
                    <a:pt x="255604" y="42682"/>
                  </a:lnTo>
                  <a:lnTo>
                    <a:pt x="252835" y="42193"/>
                  </a:lnTo>
                  <a:lnTo>
                    <a:pt x="244201" y="42845"/>
                  </a:lnTo>
                  <a:lnTo>
                    <a:pt x="239476" y="42031"/>
                  </a:lnTo>
                  <a:lnTo>
                    <a:pt x="235892" y="39750"/>
                  </a:lnTo>
                  <a:lnTo>
                    <a:pt x="231331" y="40076"/>
                  </a:lnTo>
                  <a:lnTo>
                    <a:pt x="227747" y="37795"/>
                  </a:lnTo>
                  <a:lnTo>
                    <a:pt x="227258" y="35514"/>
                  </a:lnTo>
                  <a:lnTo>
                    <a:pt x="225629" y="34048"/>
                  </a:lnTo>
                  <a:lnTo>
                    <a:pt x="221393" y="36817"/>
                  </a:lnTo>
                  <a:lnTo>
                    <a:pt x="221067" y="34537"/>
                  </a:lnTo>
                  <a:lnTo>
                    <a:pt x="221556" y="30953"/>
                  </a:lnTo>
                  <a:lnTo>
                    <a:pt x="221067" y="28346"/>
                  </a:lnTo>
                  <a:lnTo>
                    <a:pt x="218135" y="30464"/>
                  </a:lnTo>
                  <a:lnTo>
                    <a:pt x="216669" y="34700"/>
                  </a:lnTo>
                  <a:lnTo>
                    <a:pt x="214388" y="35840"/>
                  </a:lnTo>
                  <a:lnTo>
                    <a:pt x="213411" y="30138"/>
                  </a:lnTo>
                  <a:lnTo>
                    <a:pt x="212271" y="29649"/>
                  </a:lnTo>
                  <a:lnTo>
                    <a:pt x="209990" y="32093"/>
                  </a:lnTo>
                  <a:lnTo>
                    <a:pt x="211130" y="33885"/>
                  </a:lnTo>
                  <a:lnTo>
                    <a:pt x="210153" y="36329"/>
                  </a:lnTo>
                  <a:lnTo>
                    <a:pt x="207057" y="39750"/>
                  </a:lnTo>
                  <a:lnTo>
                    <a:pt x="207057" y="44148"/>
                  </a:lnTo>
                  <a:lnTo>
                    <a:pt x="206080" y="47407"/>
                  </a:lnTo>
                  <a:lnTo>
                    <a:pt x="202659" y="45777"/>
                  </a:lnTo>
                  <a:lnTo>
                    <a:pt x="201030" y="42845"/>
                  </a:lnTo>
                  <a:lnTo>
                    <a:pt x="199726" y="42519"/>
                  </a:lnTo>
                  <a:lnTo>
                    <a:pt x="199726" y="45452"/>
                  </a:lnTo>
                  <a:lnTo>
                    <a:pt x="198586" y="48384"/>
                  </a:lnTo>
                  <a:lnTo>
                    <a:pt x="197120" y="45615"/>
                  </a:lnTo>
                  <a:lnTo>
                    <a:pt x="196794" y="41868"/>
                  </a:lnTo>
                  <a:lnTo>
                    <a:pt x="198097" y="36492"/>
                  </a:lnTo>
                  <a:lnTo>
                    <a:pt x="198097" y="28509"/>
                  </a:lnTo>
                  <a:lnTo>
                    <a:pt x="197120" y="24925"/>
                  </a:lnTo>
                  <a:lnTo>
                    <a:pt x="191907" y="21993"/>
                  </a:lnTo>
                  <a:lnTo>
                    <a:pt x="189463" y="18572"/>
                  </a:lnTo>
                  <a:lnTo>
                    <a:pt x="187834" y="18897"/>
                  </a:lnTo>
                  <a:lnTo>
                    <a:pt x="186856" y="22156"/>
                  </a:lnTo>
                  <a:lnTo>
                    <a:pt x="189626" y="25088"/>
                  </a:lnTo>
                  <a:lnTo>
                    <a:pt x="190929" y="28183"/>
                  </a:lnTo>
                  <a:lnTo>
                    <a:pt x="187182" y="27206"/>
                  </a:lnTo>
                  <a:lnTo>
                    <a:pt x="185228" y="24599"/>
                  </a:lnTo>
                  <a:lnTo>
                    <a:pt x="182947" y="26228"/>
                  </a:lnTo>
                  <a:lnTo>
                    <a:pt x="183273" y="31279"/>
                  </a:lnTo>
                  <a:lnTo>
                    <a:pt x="187019" y="35351"/>
                  </a:lnTo>
                  <a:lnTo>
                    <a:pt x="187346" y="40076"/>
                  </a:lnTo>
                  <a:lnTo>
                    <a:pt x="186368" y="44474"/>
                  </a:lnTo>
                  <a:lnTo>
                    <a:pt x="186368" y="50339"/>
                  </a:lnTo>
                  <a:cubicBezTo>
                    <a:pt x="186368" y="50339"/>
                    <a:pt x="189300" y="57344"/>
                    <a:pt x="189300" y="57344"/>
                  </a:cubicBezTo>
                  <a:lnTo>
                    <a:pt x="187671" y="61580"/>
                  </a:lnTo>
                  <a:lnTo>
                    <a:pt x="185716" y="61580"/>
                  </a:lnTo>
                  <a:lnTo>
                    <a:pt x="184087" y="56855"/>
                  </a:lnTo>
                  <a:lnTo>
                    <a:pt x="179689" y="52945"/>
                  </a:lnTo>
                  <a:lnTo>
                    <a:pt x="175127" y="50176"/>
                  </a:lnTo>
                  <a:lnTo>
                    <a:pt x="174313" y="46918"/>
                  </a:lnTo>
                  <a:lnTo>
                    <a:pt x="176267" y="43497"/>
                  </a:lnTo>
                  <a:lnTo>
                    <a:pt x="176267" y="41053"/>
                  </a:lnTo>
                  <a:lnTo>
                    <a:pt x="173335" y="39424"/>
                  </a:lnTo>
                  <a:lnTo>
                    <a:pt x="168774" y="42193"/>
                  </a:lnTo>
                  <a:lnTo>
                    <a:pt x="166819" y="41868"/>
                  </a:lnTo>
                  <a:lnTo>
                    <a:pt x="165515" y="43660"/>
                  </a:lnTo>
                  <a:lnTo>
                    <a:pt x="161443" y="46429"/>
                  </a:lnTo>
                  <a:lnTo>
                    <a:pt x="158022" y="44800"/>
                  </a:lnTo>
                  <a:lnTo>
                    <a:pt x="158022" y="42193"/>
                  </a:lnTo>
                  <a:cubicBezTo>
                    <a:pt x="158022" y="42193"/>
                    <a:pt x="157696" y="39913"/>
                    <a:pt x="157696" y="39913"/>
                  </a:cubicBezTo>
                  <a:lnTo>
                    <a:pt x="154926" y="40401"/>
                  </a:lnTo>
                  <a:lnTo>
                    <a:pt x="151994" y="36329"/>
                  </a:lnTo>
                  <a:lnTo>
                    <a:pt x="150528" y="31767"/>
                  </a:lnTo>
                  <a:lnTo>
                    <a:pt x="147107" y="30301"/>
                  </a:lnTo>
                  <a:lnTo>
                    <a:pt x="145152" y="31279"/>
                  </a:lnTo>
                  <a:lnTo>
                    <a:pt x="142219" y="28183"/>
                  </a:lnTo>
                  <a:lnTo>
                    <a:pt x="143360" y="24273"/>
                  </a:lnTo>
                  <a:lnTo>
                    <a:pt x="141731" y="20038"/>
                  </a:lnTo>
                  <a:lnTo>
                    <a:pt x="139776" y="19060"/>
                  </a:lnTo>
                  <a:lnTo>
                    <a:pt x="137169" y="21993"/>
                  </a:lnTo>
                  <a:lnTo>
                    <a:pt x="136355" y="28998"/>
                  </a:lnTo>
                  <a:lnTo>
                    <a:pt x="137332" y="34374"/>
                  </a:lnTo>
                  <a:lnTo>
                    <a:pt x="140265" y="39750"/>
                  </a:lnTo>
                  <a:lnTo>
                    <a:pt x="141731" y="46429"/>
                  </a:lnTo>
                  <a:lnTo>
                    <a:pt x="139450" y="47732"/>
                  </a:lnTo>
                  <a:lnTo>
                    <a:pt x="136517" y="44474"/>
                  </a:lnTo>
                  <a:lnTo>
                    <a:pt x="135051" y="40076"/>
                  </a:lnTo>
                  <a:lnTo>
                    <a:pt x="133422" y="38447"/>
                  </a:lnTo>
                  <a:lnTo>
                    <a:pt x="132933" y="42682"/>
                  </a:lnTo>
                  <a:lnTo>
                    <a:pt x="134074" y="48221"/>
                  </a:lnTo>
                  <a:lnTo>
                    <a:pt x="136681" y="51968"/>
                  </a:lnTo>
                  <a:lnTo>
                    <a:pt x="136355" y="55715"/>
                  </a:lnTo>
                  <a:lnTo>
                    <a:pt x="135051" y="59462"/>
                  </a:lnTo>
                  <a:lnTo>
                    <a:pt x="133422" y="58484"/>
                  </a:lnTo>
                  <a:lnTo>
                    <a:pt x="131142" y="52620"/>
                  </a:lnTo>
                  <a:lnTo>
                    <a:pt x="129349" y="50339"/>
                  </a:lnTo>
                  <a:lnTo>
                    <a:pt x="120553" y="51479"/>
                  </a:lnTo>
                  <a:lnTo>
                    <a:pt x="117131" y="48873"/>
                  </a:lnTo>
                  <a:lnTo>
                    <a:pt x="114851" y="51479"/>
                  </a:lnTo>
                  <a:lnTo>
                    <a:pt x="116643" y="56529"/>
                  </a:lnTo>
                  <a:lnTo>
                    <a:pt x="119901" y="56204"/>
                  </a:lnTo>
                  <a:lnTo>
                    <a:pt x="122671" y="58973"/>
                  </a:lnTo>
                  <a:lnTo>
                    <a:pt x="121041" y="61743"/>
                  </a:lnTo>
                  <a:lnTo>
                    <a:pt x="122344" y="63535"/>
                  </a:lnTo>
                  <a:lnTo>
                    <a:pt x="126743" y="63535"/>
                  </a:lnTo>
                  <a:lnTo>
                    <a:pt x="128046" y="65327"/>
                  </a:lnTo>
                  <a:lnTo>
                    <a:pt x="121204" y="69725"/>
                  </a:lnTo>
                  <a:lnTo>
                    <a:pt x="120878" y="72495"/>
                  </a:lnTo>
                  <a:lnTo>
                    <a:pt x="126255" y="80803"/>
                  </a:lnTo>
                  <a:lnTo>
                    <a:pt x="130001" y="82269"/>
                  </a:lnTo>
                  <a:lnTo>
                    <a:pt x="134400" y="85039"/>
                  </a:lnTo>
                  <a:lnTo>
                    <a:pt x="140590" y="85364"/>
                  </a:lnTo>
                  <a:lnTo>
                    <a:pt x="144663" y="83735"/>
                  </a:lnTo>
                  <a:lnTo>
                    <a:pt x="147758" y="86179"/>
                  </a:lnTo>
                  <a:lnTo>
                    <a:pt x="147758" y="86179"/>
                  </a:lnTo>
                  <a:close/>
                  <a:moveTo>
                    <a:pt x="291444" y="143360"/>
                  </a:moveTo>
                  <a:lnTo>
                    <a:pt x="295354" y="136029"/>
                  </a:lnTo>
                  <a:lnTo>
                    <a:pt x="300078" y="132771"/>
                  </a:lnTo>
                  <a:lnTo>
                    <a:pt x="302848" y="132771"/>
                  </a:lnTo>
                  <a:lnTo>
                    <a:pt x="306106" y="130653"/>
                  </a:lnTo>
                  <a:lnTo>
                    <a:pt x="307410" y="133260"/>
                  </a:lnTo>
                  <a:lnTo>
                    <a:pt x="314740" y="134237"/>
                  </a:lnTo>
                  <a:lnTo>
                    <a:pt x="317998" y="133911"/>
                  </a:lnTo>
                  <a:lnTo>
                    <a:pt x="316532" y="137495"/>
                  </a:lnTo>
                  <a:lnTo>
                    <a:pt x="312134" y="139939"/>
                  </a:lnTo>
                  <a:lnTo>
                    <a:pt x="306106" y="136681"/>
                  </a:lnTo>
                  <a:lnTo>
                    <a:pt x="302848" y="136681"/>
                  </a:lnTo>
                  <a:lnTo>
                    <a:pt x="300404" y="138473"/>
                  </a:lnTo>
                  <a:lnTo>
                    <a:pt x="297798" y="138473"/>
                  </a:lnTo>
                  <a:cubicBezTo>
                    <a:pt x="297798" y="138473"/>
                    <a:pt x="293562" y="143849"/>
                    <a:pt x="293562" y="143849"/>
                  </a:cubicBezTo>
                  <a:lnTo>
                    <a:pt x="291607" y="143523"/>
                  </a:lnTo>
                  <a:lnTo>
                    <a:pt x="291607" y="143523"/>
                  </a:lnTo>
                  <a:close/>
                  <a:moveTo>
                    <a:pt x="272221" y="159977"/>
                  </a:moveTo>
                  <a:lnTo>
                    <a:pt x="271895" y="156067"/>
                  </a:lnTo>
                  <a:lnTo>
                    <a:pt x="269289" y="151831"/>
                  </a:lnTo>
                  <a:lnTo>
                    <a:pt x="269289" y="147596"/>
                  </a:lnTo>
                  <a:lnTo>
                    <a:pt x="270592" y="146292"/>
                  </a:lnTo>
                  <a:lnTo>
                    <a:pt x="271895" y="144175"/>
                  </a:lnTo>
                  <a:lnTo>
                    <a:pt x="273362" y="144663"/>
                  </a:lnTo>
                  <a:lnTo>
                    <a:pt x="274339" y="150365"/>
                  </a:lnTo>
                  <a:lnTo>
                    <a:pt x="278086" y="153786"/>
                  </a:lnTo>
                  <a:lnTo>
                    <a:pt x="278086" y="156556"/>
                  </a:lnTo>
                  <a:cubicBezTo>
                    <a:pt x="278086" y="156556"/>
                    <a:pt x="274502" y="160791"/>
                    <a:pt x="274502" y="160791"/>
                  </a:cubicBezTo>
                  <a:lnTo>
                    <a:pt x="272058" y="159977"/>
                  </a:lnTo>
                  <a:lnTo>
                    <a:pt x="272058" y="159977"/>
                  </a:lnTo>
                  <a:close/>
                  <a:moveTo>
                    <a:pt x="181155" y="202985"/>
                  </a:moveTo>
                  <a:lnTo>
                    <a:pt x="183598" y="197772"/>
                  </a:lnTo>
                  <a:lnTo>
                    <a:pt x="188160" y="193699"/>
                  </a:lnTo>
                  <a:lnTo>
                    <a:pt x="198097" y="191418"/>
                  </a:lnTo>
                  <a:lnTo>
                    <a:pt x="203636" y="190930"/>
                  </a:lnTo>
                  <a:lnTo>
                    <a:pt x="210153" y="185391"/>
                  </a:lnTo>
                  <a:lnTo>
                    <a:pt x="217321" y="180666"/>
                  </a:lnTo>
                  <a:lnTo>
                    <a:pt x="219113" y="186368"/>
                  </a:lnTo>
                  <a:lnTo>
                    <a:pt x="223185" y="192396"/>
                  </a:lnTo>
                  <a:lnTo>
                    <a:pt x="222860" y="195002"/>
                  </a:lnTo>
                  <a:lnTo>
                    <a:pt x="218949" y="196143"/>
                  </a:lnTo>
                  <a:lnTo>
                    <a:pt x="217321" y="198586"/>
                  </a:lnTo>
                  <a:lnTo>
                    <a:pt x="218461" y="204777"/>
                  </a:lnTo>
                  <a:lnTo>
                    <a:pt x="224326" y="210967"/>
                  </a:lnTo>
                  <a:lnTo>
                    <a:pt x="230190" y="214714"/>
                  </a:lnTo>
                  <a:lnTo>
                    <a:pt x="233449" y="211782"/>
                  </a:lnTo>
                  <a:lnTo>
                    <a:pt x="239313" y="208687"/>
                  </a:lnTo>
                  <a:lnTo>
                    <a:pt x="243549" y="210967"/>
                  </a:lnTo>
                  <a:lnTo>
                    <a:pt x="245830" y="213737"/>
                  </a:lnTo>
                  <a:lnTo>
                    <a:pt x="250554" y="216018"/>
                  </a:lnTo>
                  <a:lnTo>
                    <a:pt x="248762" y="217810"/>
                  </a:lnTo>
                  <a:lnTo>
                    <a:pt x="243223" y="220090"/>
                  </a:lnTo>
                  <a:lnTo>
                    <a:pt x="238662" y="227421"/>
                  </a:lnTo>
                  <a:lnTo>
                    <a:pt x="238010" y="231983"/>
                  </a:lnTo>
                  <a:lnTo>
                    <a:pt x="234752" y="242246"/>
                  </a:lnTo>
                  <a:lnTo>
                    <a:pt x="230679" y="243386"/>
                  </a:lnTo>
                  <a:lnTo>
                    <a:pt x="226117" y="246156"/>
                  </a:lnTo>
                  <a:lnTo>
                    <a:pt x="223511" y="250066"/>
                  </a:lnTo>
                  <a:lnTo>
                    <a:pt x="223511" y="254301"/>
                  </a:lnTo>
                  <a:lnTo>
                    <a:pt x="219601" y="257396"/>
                  </a:lnTo>
                  <a:lnTo>
                    <a:pt x="216669" y="257396"/>
                  </a:lnTo>
                  <a:cubicBezTo>
                    <a:pt x="216669" y="257396"/>
                    <a:pt x="215040" y="252998"/>
                    <a:pt x="215040" y="252998"/>
                  </a:cubicBezTo>
                  <a:lnTo>
                    <a:pt x="217809" y="249088"/>
                  </a:lnTo>
                  <a:lnTo>
                    <a:pt x="216832" y="243223"/>
                  </a:lnTo>
                  <a:lnTo>
                    <a:pt x="219113" y="235892"/>
                  </a:lnTo>
                  <a:lnTo>
                    <a:pt x="219113" y="230516"/>
                  </a:lnTo>
                  <a:lnTo>
                    <a:pt x="216832" y="232146"/>
                  </a:lnTo>
                  <a:lnTo>
                    <a:pt x="213085" y="231331"/>
                  </a:lnTo>
                  <a:lnTo>
                    <a:pt x="210478" y="233123"/>
                  </a:lnTo>
                  <a:lnTo>
                    <a:pt x="207546" y="238988"/>
                  </a:lnTo>
                  <a:lnTo>
                    <a:pt x="204288" y="241757"/>
                  </a:lnTo>
                  <a:lnTo>
                    <a:pt x="200541" y="241757"/>
                  </a:lnTo>
                  <a:cubicBezTo>
                    <a:pt x="200541" y="241757"/>
                    <a:pt x="195817" y="246156"/>
                    <a:pt x="195817" y="246156"/>
                  </a:cubicBezTo>
                  <a:lnTo>
                    <a:pt x="191092" y="246644"/>
                  </a:lnTo>
                  <a:lnTo>
                    <a:pt x="186856" y="248925"/>
                  </a:lnTo>
                  <a:lnTo>
                    <a:pt x="184901" y="248599"/>
                  </a:lnTo>
                  <a:lnTo>
                    <a:pt x="184413" y="244690"/>
                  </a:lnTo>
                  <a:lnTo>
                    <a:pt x="185879" y="242083"/>
                  </a:lnTo>
                  <a:lnTo>
                    <a:pt x="185390" y="237522"/>
                  </a:lnTo>
                  <a:lnTo>
                    <a:pt x="189137" y="234752"/>
                  </a:lnTo>
                  <a:lnTo>
                    <a:pt x="190278" y="227258"/>
                  </a:lnTo>
                  <a:lnTo>
                    <a:pt x="194024" y="220579"/>
                  </a:lnTo>
                  <a:lnTo>
                    <a:pt x="194024" y="215529"/>
                  </a:lnTo>
                  <a:cubicBezTo>
                    <a:pt x="194024" y="215529"/>
                    <a:pt x="195328" y="212434"/>
                    <a:pt x="195328" y="212434"/>
                  </a:cubicBezTo>
                  <a:lnTo>
                    <a:pt x="194351" y="209664"/>
                  </a:lnTo>
                  <a:lnTo>
                    <a:pt x="189952" y="209664"/>
                  </a:lnTo>
                  <a:lnTo>
                    <a:pt x="185879" y="205428"/>
                  </a:lnTo>
                  <a:lnTo>
                    <a:pt x="181644" y="202822"/>
                  </a:lnTo>
                  <a:lnTo>
                    <a:pt x="181644" y="202822"/>
                  </a:lnTo>
                  <a:close/>
                  <a:moveTo>
                    <a:pt x="157696" y="128861"/>
                  </a:moveTo>
                  <a:lnTo>
                    <a:pt x="159162" y="133748"/>
                  </a:lnTo>
                  <a:lnTo>
                    <a:pt x="162257" y="137332"/>
                  </a:lnTo>
                  <a:lnTo>
                    <a:pt x="166656" y="137658"/>
                  </a:lnTo>
                  <a:lnTo>
                    <a:pt x="171217" y="136192"/>
                  </a:lnTo>
                  <a:lnTo>
                    <a:pt x="171217" y="131631"/>
                  </a:lnTo>
                  <a:cubicBezTo>
                    <a:pt x="171217" y="131631"/>
                    <a:pt x="168285" y="128209"/>
                    <a:pt x="168285" y="128209"/>
                  </a:cubicBezTo>
                  <a:lnTo>
                    <a:pt x="159325" y="126255"/>
                  </a:lnTo>
                  <a:lnTo>
                    <a:pt x="157696" y="127069"/>
                  </a:lnTo>
                  <a:lnTo>
                    <a:pt x="157696" y="128698"/>
                  </a:lnTo>
                  <a:lnTo>
                    <a:pt x="157696" y="128698"/>
                  </a:lnTo>
                  <a:close/>
                  <a:moveTo>
                    <a:pt x="166982" y="173987"/>
                  </a:moveTo>
                  <a:lnTo>
                    <a:pt x="171380" y="176268"/>
                  </a:lnTo>
                  <a:lnTo>
                    <a:pt x="176593" y="176268"/>
                  </a:lnTo>
                  <a:cubicBezTo>
                    <a:pt x="176593" y="176268"/>
                    <a:pt x="178548" y="180666"/>
                    <a:pt x="178548" y="180666"/>
                  </a:cubicBezTo>
                  <a:lnTo>
                    <a:pt x="180177" y="183273"/>
                  </a:lnTo>
                  <a:lnTo>
                    <a:pt x="179689" y="186042"/>
                  </a:lnTo>
                  <a:lnTo>
                    <a:pt x="182132" y="187671"/>
                  </a:lnTo>
                  <a:lnTo>
                    <a:pt x="179851" y="191581"/>
                  </a:lnTo>
                  <a:lnTo>
                    <a:pt x="183110" y="191092"/>
                  </a:lnTo>
                  <a:lnTo>
                    <a:pt x="185716" y="192233"/>
                  </a:lnTo>
                  <a:lnTo>
                    <a:pt x="187671" y="190278"/>
                  </a:lnTo>
                  <a:lnTo>
                    <a:pt x="194351" y="186205"/>
                  </a:lnTo>
                  <a:lnTo>
                    <a:pt x="197608" y="186205"/>
                  </a:lnTo>
                  <a:cubicBezTo>
                    <a:pt x="197608" y="186205"/>
                    <a:pt x="200867" y="183436"/>
                    <a:pt x="200867" y="183436"/>
                  </a:cubicBezTo>
                  <a:lnTo>
                    <a:pt x="200215" y="180666"/>
                  </a:lnTo>
                  <a:lnTo>
                    <a:pt x="200867" y="174150"/>
                  </a:lnTo>
                  <a:lnTo>
                    <a:pt x="203799" y="172195"/>
                  </a:lnTo>
                  <a:lnTo>
                    <a:pt x="205591" y="167959"/>
                  </a:lnTo>
                  <a:lnTo>
                    <a:pt x="203799" y="164049"/>
                  </a:lnTo>
                  <a:lnTo>
                    <a:pt x="199889" y="163561"/>
                  </a:lnTo>
                  <a:lnTo>
                    <a:pt x="198097" y="160628"/>
                  </a:lnTo>
                  <a:lnTo>
                    <a:pt x="196305" y="159814"/>
                  </a:lnTo>
                  <a:lnTo>
                    <a:pt x="193862" y="162095"/>
                  </a:lnTo>
                  <a:lnTo>
                    <a:pt x="186531" y="165516"/>
                  </a:lnTo>
                  <a:lnTo>
                    <a:pt x="185879" y="162909"/>
                  </a:lnTo>
                  <a:lnTo>
                    <a:pt x="183598" y="161932"/>
                  </a:lnTo>
                  <a:lnTo>
                    <a:pt x="180014" y="164375"/>
                  </a:lnTo>
                  <a:lnTo>
                    <a:pt x="179526" y="167308"/>
                  </a:lnTo>
                  <a:lnTo>
                    <a:pt x="177408" y="169100"/>
                  </a:lnTo>
                  <a:lnTo>
                    <a:pt x="173498" y="168285"/>
                  </a:lnTo>
                  <a:lnTo>
                    <a:pt x="170565" y="171869"/>
                  </a:lnTo>
                  <a:lnTo>
                    <a:pt x="166982" y="174150"/>
                  </a:lnTo>
                  <a:lnTo>
                    <a:pt x="166982" y="174150"/>
                  </a:lnTo>
                  <a:close/>
                  <a:moveTo>
                    <a:pt x="25414" y="197120"/>
                  </a:moveTo>
                  <a:lnTo>
                    <a:pt x="22970" y="190767"/>
                  </a:lnTo>
                  <a:lnTo>
                    <a:pt x="21178" y="189789"/>
                  </a:lnTo>
                  <a:lnTo>
                    <a:pt x="19386" y="184902"/>
                  </a:lnTo>
                  <a:lnTo>
                    <a:pt x="14824" y="181318"/>
                  </a:lnTo>
                  <a:lnTo>
                    <a:pt x="11078" y="180829"/>
                  </a:lnTo>
                  <a:lnTo>
                    <a:pt x="8634" y="176919"/>
                  </a:lnTo>
                  <a:lnTo>
                    <a:pt x="8145" y="168448"/>
                  </a:lnTo>
                  <a:lnTo>
                    <a:pt x="5864" y="163724"/>
                  </a:lnTo>
                  <a:lnTo>
                    <a:pt x="2932" y="159977"/>
                  </a:lnTo>
                  <a:lnTo>
                    <a:pt x="2444" y="153623"/>
                  </a:lnTo>
                  <a:lnTo>
                    <a:pt x="4398" y="151017"/>
                  </a:lnTo>
                  <a:lnTo>
                    <a:pt x="6842" y="151831"/>
                  </a:lnTo>
                  <a:lnTo>
                    <a:pt x="11892" y="157696"/>
                  </a:lnTo>
                  <a:lnTo>
                    <a:pt x="12218" y="162420"/>
                  </a:lnTo>
                  <a:lnTo>
                    <a:pt x="11566" y="167633"/>
                  </a:lnTo>
                  <a:lnTo>
                    <a:pt x="15476" y="173498"/>
                  </a:lnTo>
                  <a:lnTo>
                    <a:pt x="18246" y="175942"/>
                  </a:lnTo>
                  <a:lnTo>
                    <a:pt x="20038" y="175942"/>
                  </a:lnTo>
                  <a:lnTo>
                    <a:pt x="20852" y="177408"/>
                  </a:lnTo>
                  <a:lnTo>
                    <a:pt x="22807" y="177734"/>
                  </a:lnTo>
                  <a:lnTo>
                    <a:pt x="24599" y="182784"/>
                  </a:lnTo>
                  <a:lnTo>
                    <a:pt x="28672" y="189300"/>
                  </a:lnTo>
                  <a:lnTo>
                    <a:pt x="30138" y="194188"/>
                  </a:lnTo>
                  <a:lnTo>
                    <a:pt x="29487" y="197283"/>
                  </a:lnTo>
                  <a:lnTo>
                    <a:pt x="27042" y="198097"/>
                  </a:lnTo>
                  <a:cubicBezTo>
                    <a:pt x="27042" y="198097"/>
                    <a:pt x="25251" y="196957"/>
                    <a:pt x="25576" y="196794"/>
                  </a:cubicBezTo>
                  <a:lnTo>
                    <a:pt x="25576" y="196794"/>
                  </a:lnTo>
                  <a:close/>
                  <a:moveTo>
                    <a:pt x="120878" y="312623"/>
                  </a:moveTo>
                  <a:lnTo>
                    <a:pt x="118109" y="309690"/>
                  </a:lnTo>
                  <a:lnTo>
                    <a:pt x="116154" y="310342"/>
                  </a:lnTo>
                  <a:lnTo>
                    <a:pt x="114851" y="312623"/>
                  </a:lnTo>
                  <a:lnTo>
                    <a:pt x="113058" y="312948"/>
                  </a:lnTo>
                  <a:lnTo>
                    <a:pt x="112244" y="309202"/>
                  </a:lnTo>
                  <a:lnTo>
                    <a:pt x="112733" y="302522"/>
                  </a:lnTo>
                  <a:lnTo>
                    <a:pt x="110941" y="300079"/>
                  </a:lnTo>
                  <a:lnTo>
                    <a:pt x="108497" y="298775"/>
                  </a:lnTo>
                  <a:lnTo>
                    <a:pt x="100515" y="290956"/>
                  </a:lnTo>
                  <a:lnTo>
                    <a:pt x="100515" y="288349"/>
                  </a:lnTo>
                  <a:lnTo>
                    <a:pt x="104913" y="284928"/>
                  </a:lnTo>
                  <a:lnTo>
                    <a:pt x="107194" y="284928"/>
                  </a:lnTo>
                  <a:cubicBezTo>
                    <a:pt x="107194" y="284928"/>
                    <a:pt x="108986" y="282647"/>
                    <a:pt x="108986" y="282647"/>
                  </a:cubicBezTo>
                  <a:lnTo>
                    <a:pt x="109474" y="279552"/>
                  </a:lnTo>
                  <a:lnTo>
                    <a:pt x="107846" y="278412"/>
                  </a:lnTo>
                  <a:lnTo>
                    <a:pt x="105076" y="278738"/>
                  </a:lnTo>
                  <a:lnTo>
                    <a:pt x="103447" y="276783"/>
                  </a:lnTo>
                  <a:lnTo>
                    <a:pt x="101492" y="276783"/>
                  </a:lnTo>
                  <a:lnTo>
                    <a:pt x="99700" y="280530"/>
                  </a:lnTo>
                  <a:lnTo>
                    <a:pt x="94324" y="282322"/>
                  </a:lnTo>
                  <a:lnTo>
                    <a:pt x="88785" y="277923"/>
                  </a:lnTo>
                  <a:lnTo>
                    <a:pt x="88785" y="274176"/>
                  </a:lnTo>
                  <a:cubicBezTo>
                    <a:pt x="88785" y="274176"/>
                    <a:pt x="86830" y="273362"/>
                    <a:pt x="86830" y="273362"/>
                  </a:cubicBezTo>
                  <a:lnTo>
                    <a:pt x="84061" y="270103"/>
                  </a:lnTo>
                  <a:lnTo>
                    <a:pt x="80965" y="269289"/>
                  </a:lnTo>
                  <a:lnTo>
                    <a:pt x="79662" y="269289"/>
                  </a:lnTo>
                  <a:cubicBezTo>
                    <a:pt x="79662" y="269289"/>
                    <a:pt x="77219" y="266682"/>
                    <a:pt x="77219" y="266682"/>
                  </a:cubicBezTo>
                  <a:lnTo>
                    <a:pt x="77219" y="264239"/>
                  </a:lnTo>
                  <a:cubicBezTo>
                    <a:pt x="77219" y="264239"/>
                    <a:pt x="74123" y="261306"/>
                    <a:pt x="74123" y="261306"/>
                  </a:cubicBezTo>
                  <a:lnTo>
                    <a:pt x="72331" y="261632"/>
                  </a:lnTo>
                  <a:lnTo>
                    <a:pt x="71680" y="260166"/>
                  </a:lnTo>
                  <a:lnTo>
                    <a:pt x="71354" y="256908"/>
                  </a:lnTo>
                  <a:lnTo>
                    <a:pt x="67770" y="254627"/>
                  </a:lnTo>
                  <a:lnTo>
                    <a:pt x="67118" y="252835"/>
                  </a:lnTo>
                  <a:lnTo>
                    <a:pt x="67118" y="250880"/>
                  </a:lnTo>
                  <a:cubicBezTo>
                    <a:pt x="67118" y="250880"/>
                    <a:pt x="66304" y="250391"/>
                    <a:pt x="66304" y="250391"/>
                  </a:cubicBezTo>
                  <a:lnTo>
                    <a:pt x="67444" y="247296"/>
                  </a:lnTo>
                  <a:lnTo>
                    <a:pt x="67444" y="244690"/>
                  </a:lnTo>
                  <a:cubicBezTo>
                    <a:pt x="67444" y="244690"/>
                    <a:pt x="64674" y="241594"/>
                    <a:pt x="64674" y="241594"/>
                  </a:cubicBezTo>
                  <a:lnTo>
                    <a:pt x="64674" y="240128"/>
                  </a:lnTo>
                  <a:cubicBezTo>
                    <a:pt x="64674" y="240128"/>
                    <a:pt x="70703" y="236055"/>
                    <a:pt x="70703" y="236055"/>
                  </a:cubicBezTo>
                  <a:lnTo>
                    <a:pt x="73309" y="236055"/>
                  </a:lnTo>
                  <a:cubicBezTo>
                    <a:pt x="73309" y="236055"/>
                    <a:pt x="76078" y="240454"/>
                    <a:pt x="76078" y="240454"/>
                  </a:cubicBezTo>
                  <a:lnTo>
                    <a:pt x="78196" y="242246"/>
                  </a:lnTo>
                  <a:lnTo>
                    <a:pt x="79499" y="242246"/>
                  </a:lnTo>
                  <a:lnTo>
                    <a:pt x="80803" y="240128"/>
                  </a:lnTo>
                  <a:lnTo>
                    <a:pt x="85201" y="241268"/>
                  </a:lnTo>
                  <a:lnTo>
                    <a:pt x="87482" y="242572"/>
                  </a:lnTo>
                  <a:lnTo>
                    <a:pt x="91392" y="241920"/>
                  </a:lnTo>
                  <a:lnTo>
                    <a:pt x="100026" y="241268"/>
                  </a:lnTo>
                  <a:lnTo>
                    <a:pt x="100352" y="238825"/>
                  </a:lnTo>
                  <a:lnTo>
                    <a:pt x="95628" y="235567"/>
                  </a:lnTo>
                  <a:lnTo>
                    <a:pt x="91555" y="235892"/>
                  </a:lnTo>
                  <a:lnTo>
                    <a:pt x="84876" y="234752"/>
                  </a:lnTo>
                  <a:lnTo>
                    <a:pt x="80314" y="232797"/>
                  </a:lnTo>
                  <a:lnTo>
                    <a:pt x="80314" y="231168"/>
                  </a:lnTo>
                  <a:lnTo>
                    <a:pt x="84224" y="230191"/>
                  </a:lnTo>
                  <a:lnTo>
                    <a:pt x="87808" y="230191"/>
                  </a:lnTo>
                  <a:cubicBezTo>
                    <a:pt x="87808" y="230191"/>
                    <a:pt x="95953" y="226444"/>
                    <a:pt x="95953" y="226444"/>
                  </a:cubicBezTo>
                  <a:lnTo>
                    <a:pt x="100026" y="223837"/>
                  </a:lnTo>
                  <a:lnTo>
                    <a:pt x="106542" y="224326"/>
                  </a:lnTo>
                  <a:lnTo>
                    <a:pt x="109801" y="222697"/>
                  </a:lnTo>
                  <a:lnTo>
                    <a:pt x="111755" y="222697"/>
                  </a:lnTo>
                  <a:cubicBezTo>
                    <a:pt x="111755" y="222697"/>
                    <a:pt x="112896" y="223511"/>
                    <a:pt x="112896" y="223511"/>
                  </a:cubicBezTo>
                  <a:lnTo>
                    <a:pt x="113385" y="219927"/>
                  </a:lnTo>
                  <a:lnTo>
                    <a:pt x="115828" y="217972"/>
                  </a:lnTo>
                  <a:lnTo>
                    <a:pt x="115828" y="215366"/>
                  </a:lnTo>
                  <a:cubicBezTo>
                    <a:pt x="115828" y="215366"/>
                    <a:pt x="113873" y="214551"/>
                    <a:pt x="113873" y="214551"/>
                  </a:cubicBezTo>
                  <a:lnTo>
                    <a:pt x="110126" y="216995"/>
                  </a:lnTo>
                  <a:lnTo>
                    <a:pt x="107520" y="219439"/>
                  </a:lnTo>
                  <a:lnTo>
                    <a:pt x="97582" y="219439"/>
                  </a:lnTo>
                  <a:lnTo>
                    <a:pt x="94813" y="219764"/>
                  </a:lnTo>
                  <a:lnTo>
                    <a:pt x="93835" y="218135"/>
                  </a:lnTo>
                  <a:lnTo>
                    <a:pt x="89763" y="218135"/>
                  </a:lnTo>
                  <a:lnTo>
                    <a:pt x="87971" y="219601"/>
                  </a:lnTo>
                  <a:lnTo>
                    <a:pt x="86667" y="219927"/>
                  </a:lnTo>
                  <a:lnTo>
                    <a:pt x="83083" y="224489"/>
                  </a:lnTo>
                  <a:lnTo>
                    <a:pt x="79011" y="225303"/>
                  </a:lnTo>
                  <a:lnTo>
                    <a:pt x="75915" y="224815"/>
                  </a:lnTo>
                  <a:lnTo>
                    <a:pt x="73635" y="226281"/>
                  </a:lnTo>
                  <a:lnTo>
                    <a:pt x="68422" y="226932"/>
                  </a:lnTo>
                  <a:lnTo>
                    <a:pt x="64674" y="228887"/>
                  </a:lnTo>
                  <a:lnTo>
                    <a:pt x="60928" y="228887"/>
                  </a:lnTo>
                  <a:cubicBezTo>
                    <a:pt x="60928" y="228887"/>
                    <a:pt x="59462" y="227747"/>
                    <a:pt x="59462" y="227747"/>
                  </a:cubicBezTo>
                  <a:lnTo>
                    <a:pt x="59136" y="221068"/>
                  </a:lnTo>
                  <a:lnTo>
                    <a:pt x="57507" y="213737"/>
                  </a:lnTo>
                  <a:lnTo>
                    <a:pt x="58158" y="211456"/>
                  </a:lnTo>
                  <a:lnTo>
                    <a:pt x="58158" y="209012"/>
                  </a:lnTo>
                  <a:cubicBezTo>
                    <a:pt x="58158" y="209012"/>
                    <a:pt x="61254" y="207383"/>
                    <a:pt x="61254" y="207383"/>
                  </a:cubicBezTo>
                  <a:lnTo>
                    <a:pt x="64512" y="205754"/>
                  </a:lnTo>
                  <a:lnTo>
                    <a:pt x="66141" y="207383"/>
                  </a:lnTo>
                  <a:lnTo>
                    <a:pt x="67118" y="210642"/>
                  </a:lnTo>
                  <a:lnTo>
                    <a:pt x="68910" y="210316"/>
                  </a:lnTo>
                  <a:lnTo>
                    <a:pt x="70051" y="206080"/>
                  </a:lnTo>
                  <a:lnTo>
                    <a:pt x="74449" y="203636"/>
                  </a:lnTo>
                  <a:lnTo>
                    <a:pt x="76730" y="204451"/>
                  </a:lnTo>
                  <a:lnTo>
                    <a:pt x="79825" y="200215"/>
                  </a:lnTo>
                  <a:lnTo>
                    <a:pt x="84061" y="195491"/>
                  </a:lnTo>
                  <a:lnTo>
                    <a:pt x="88785" y="193699"/>
                  </a:lnTo>
                  <a:lnTo>
                    <a:pt x="88133" y="190604"/>
                  </a:lnTo>
                  <a:lnTo>
                    <a:pt x="89763" y="188160"/>
                  </a:lnTo>
                  <a:lnTo>
                    <a:pt x="96279" y="185553"/>
                  </a:lnTo>
                  <a:lnTo>
                    <a:pt x="104262" y="185065"/>
                  </a:lnTo>
                  <a:lnTo>
                    <a:pt x="108171" y="181481"/>
                  </a:lnTo>
                  <a:lnTo>
                    <a:pt x="112733" y="179852"/>
                  </a:lnTo>
                  <a:lnTo>
                    <a:pt x="115339" y="177245"/>
                  </a:lnTo>
                  <a:lnTo>
                    <a:pt x="115339" y="174964"/>
                  </a:lnTo>
                  <a:cubicBezTo>
                    <a:pt x="115339" y="174964"/>
                    <a:pt x="112570" y="174964"/>
                    <a:pt x="112570" y="174964"/>
                  </a:cubicBezTo>
                  <a:lnTo>
                    <a:pt x="108986" y="178548"/>
                  </a:lnTo>
                  <a:lnTo>
                    <a:pt x="104913" y="179363"/>
                  </a:lnTo>
                  <a:lnTo>
                    <a:pt x="101329" y="177571"/>
                  </a:lnTo>
                  <a:lnTo>
                    <a:pt x="101329" y="173987"/>
                  </a:lnTo>
                  <a:cubicBezTo>
                    <a:pt x="101329" y="173987"/>
                    <a:pt x="103773" y="168937"/>
                    <a:pt x="103773" y="168937"/>
                  </a:cubicBezTo>
                  <a:lnTo>
                    <a:pt x="104099" y="163235"/>
                  </a:lnTo>
                  <a:lnTo>
                    <a:pt x="101818" y="159651"/>
                  </a:lnTo>
                  <a:lnTo>
                    <a:pt x="99537" y="159651"/>
                  </a:lnTo>
                  <a:cubicBezTo>
                    <a:pt x="99537" y="159651"/>
                    <a:pt x="98234" y="162095"/>
                    <a:pt x="98234" y="162095"/>
                  </a:cubicBezTo>
                  <a:lnTo>
                    <a:pt x="98234" y="167633"/>
                  </a:lnTo>
                  <a:cubicBezTo>
                    <a:pt x="98234" y="167633"/>
                    <a:pt x="96931" y="172358"/>
                    <a:pt x="96931" y="172358"/>
                  </a:cubicBezTo>
                  <a:lnTo>
                    <a:pt x="89763" y="179689"/>
                  </a:lnTo>
                  <a:lnTo>
                    <a:pt x="85690" y="180666"/>
                  </a:lnTo>
                  <a:lnTo>
                    <a:pt x="83409" y="179363"/>
                  </a:lnTo>
                  <a:lnTo>
                    <a:pt x="82269" y="172684"/>
                  </a:lnTo>
                  <a:lnTo>
                    <a:pt x="82921" y="170240"/>
                  </a:lnTo>
                  <a:lnTo>
                    <a:pt x="85853" y="166982"/>
                  </a:lnTo>
                  <a:lnTo>
                    <a:pt x="85853" y="164049"/>
                  </a:lnTo>
                  <a:lnTo>
                    <a:pt x="84224" y="161443"/>
                  </a:lnTo>
                  <a:lnTo>
                    <a:pt x="83572" y="155089"/>
                  </a:lnTo>
                  <a:lnTo>
                    <a:pt x="81943" y="152157"/>
                  </a:lnTo>
                  <a:lnTo>
                    <a:pt x="80314" y="152157"/>
                  </a:lnTo>
                  <a:cubicBezTo>
                    <a:pt x="80314" y="152157"/>
                    <a:pt x="78359" y="155415"/>
                    <a:pt x="78359" y="155415"/>
                  </a:cubicBezTo>
                  <a:lnTo>
                    <a:pt x="79499" y="163398"/>
                  </a:lnTo>
                  <a:lnTo>
                    <a:pt x="78685" y="166982"/>
                  </a:lnTo>
                  <a:lnTo>
                    <a:pt x="75590" y="170077"/>
                  </a:lnTo>
                  <a:lnTo>
                    <a:pt x="74938" y="167471"/>
                  </a:lnTo>
                  <a:lnTo>
                    <a:pt x="75427" y="165679"/>
                  </a:lnTo>
                  <a:lnTo>
                    <a:pt x="72983" y="161280"/>
                  </a:lnTo>
                  <a:lnTo>
                    <a:pt x="70539" y="160140"/>
                  </a:lnTo>
                  <a:lnTo>
                    <a:pt x="68585" y="161280"/>
                  </a:lnTo>
                  <a:lnTo>
                    <a:pt x="68585" y="164864"/>
                  </a:lnTo>
                  <a:cubicBezTo>
                    <a:pt x="68585" y="164864"/>
                    <a:pt x="69399" y="168285"/>
                    <a:pt x="69399" y="168285"/>
                  </a:cubicBezTo>
                  <a:lnTo>
                    <a:pt x="69399" y="173824"/>
                  </a:lnTo>
                  <a:cubicBezTo>
                    <a:pt x="69399" y="173824"/>
                    <a:pt x="71843" y="178223"/>
                    <a:pt x="71843" y="178223"/>
                  </a:cubicBezTo>
                  <a:lnTo>
                    <a:pt x="74123" y="183273"/>
                  </a:lnTo>
                  <a:lnTo>
                    <a:pt x="74123" y="186368"/>
                  </a:lnTo>
                  <a:cubicBezTo>
                    <a:pt x="74123" y="186368"/>
                    <a:pt x="70703" y="186042"/>
                    <a:pt x="70703" y="186042"/>
                  </a:cubicBezTo>
                  <a:lnTo>
                    <a:pt x="67770" y="187183"/>
                  </a:lnTo>
                  <a:lnTo>
                    <a:pt x="65489" y="192884"/>
                  </a:lnTo>
                  <a:lnTo>
                    <a:pt x="65489" y="196468"/>
                  </a:lnTo>
                  <a:cubicBezTo>
                    <a:pt x="65489" y="196468"/>
                    <a:pt x="61905" y="199075"/>
                    <a:pt x="61905" y="199075"/>
                  </a:cubicBezTo>
                  <a:lnTo>
                    <a:pt x="52619" y="199890"/>
                  </a:lnTo>
                  <a:lnTo>
                    <a:pt x="47406" y="199401"/>
                  </a:lnTo>
                  <a:lnTo>
                    <a:pt x="48058" y="197120"/>
                  </a:lnTo>
                  <a:lnTo>
                    <a:pt x="49524" y="194839"/>
                  </a:lnTo>
                  <a:lnTo>
                    <a:pt x="47406" y="191092"/>
                  </a:lnTo>
                  <a:lnTo>
                    <a:pt x="41542" y="185228"/>
                  </a:lnTo>
                  <a:lnTo>
                    <a:pt x="37795" y="184087"/>
                  </a:lnTo>
                  <a:lnTo>
                    <a:pt x="36491" y="184576"/>
                  </a:lnTo>
                  <a:lnTo>
                    <a:pt x="33885" y="179689"/>
                  </a:lnTo>
                  <a:lnTo>
                    <a:pt x="33396" y="175290"/>
                  </a:lnTo>
                  <a:lnTo>
                    <a:pt x="39261" y="175290"/>
                  </a:lnTo>
                  <a:cubicBezTo>
                    <a:pt x="39261" y="175290"/>
                    <a:pt x="42193" y="173010"/>
                    <a:pt x="42193" y="173010"/>
                  </a:cubicBezTo>
                  <a:lnTo>
                    <a:pt x="41053" y="171543"/>
                  </a:lnTo>
                  <a:lnTo>
                    <a:pt x="37306" y="171218"/>
                  </a:lnTo>
                  <a:lnTo>
                    <a:pt x="34862" y="171869"/>
                  </a:lnTo>
                  <a:lnTo>
                    <a:pt x="31278" y="170077"/>
                  </a:lnTo>
                  <a:lnTo>
                    <a:pt x="29975" y="166982"/>
                  </a:lnTo>
                  <a:lnTo>
                    <a:pt x="27042" y="164864"/>
                  </a:lnTo>
                  <a:lnTo>
                    <a:pt x="22644" y="162583"/>
                  </a:lnTo>
                  <a:lnTo>
                    <a:pt x="20038" y="159488"/>
                  </a:lnTo>
                  <a:lnTo>
                    <a:pt x="22318" y="157044"/>
                  </a:lnTo>
                  <a:lnTo>
                    <a:pt x="22318" y="155741"/>
                  </a:lnTo>
                  <a:cubicBezTo>
                    <a:pt x="22318" y="155741"/>
                    <a:pt x="19549" y="153135"/>
                    <a:pt x="19549" y="153135"/>
                  </a:cubicBezTo>
                  <a:lnTo>
                    <a:pt x="15965" y="151343"/>
                  </a:lnTo>
                  <a:lnTo>
                    <a:pt x="12707" y="146781"/>
                  </a:lnTo>
                  <a:lnTo>
                    <a:pt x="13033" y="143523"/>
                  </a:lnTo>
                  <a:lnTo>
                    <a:pt x="14824" y="142871"/>
                  </a:lnTo>
                  <a:lnTo>
                    <a:pt x="21015" y="147759"/>
                  </a:lnTo>
                  <a:lnTo>
                    <a:pt x="22807" y="150202"/>
                  </a:lnTo>
                  <a:lnTo>
                    <a:pt x="22807" y="151994"/>
                  </a:lnTo>
                  <a:cubicBezTo>
                    <a:pt x="22807" y="151994"/>
                    <a:pt x="24925" y="151994"/>
                    <a:pt x="24925" y="151994"/>
                  </a:cubicBezTo>
                  <a:lnTo>
                    <a:pt x="28835" y="149062"/>
                  </a:lnTo>
                  <a:lnTo>
                    <a:pt x="29160" y="144826"/>
                  </a:lnTo>
                  <a:lnTo>
                    <a:pt x="27694" y="143686"/>
                  </a:lnTo>
                  <a:lnTo>
                    <a:pt x="24599" y="144175"/>
                  </a:lnTo>
                  <a:lnTo>
                    <a:pt x="22318" y="142708"/>
                  </a:lnTo>
                  <a:lnTo>
                    <a:pt x="22318" y="141079"/>
                  </a:lnTo>
                  <a:lnTo>
                    <a:pt x="17920" y="137332"/>
                  </a:lnTo>
                  <a:lnTo>
                    <a:pt x="17920" y="133911"/>
                  </a:lnTo>
                  <a:cubicBezTo>
                    <a:pt x="17920" y="133911"/>
                    <a:pt x="18571" y="133097"/>
                    <a:pt x="18571" y="133097"/>
                  </a:cubicBezTo>
                  <a:lnTo>
                    <a:pt x="20364" y="126580"/>
                  </a:lnTo>
                  <a:lnTo>
                    <a:pt x="22807" y="121530"/>
                  </a:lnTo>
                  <a:lnTo>
                    <a:pt x="21667" y="120553"/>
                  </a:lnTo>
                  <a:lnTo>
                    <a:pt x="18408" y="122508"/>
                  </a:lnTo>
                  <a:lnTo>
                    <a:pt x="15476" y="119738"/>
                  </a:lnTo>
                  <a:lnTo>
                    <a:pt x="13521" y="120064"/>
                  </a:lnTo>
                  <a:lnTo>
                    <a:pt x="12869" y="125277"/>
                  </a:lnTo>
                  <a:lnTo>
                    <a:pt x="13521" y="129839"/>
                  </a:lnTo>
                  <a:lnTo>
                    <a:pt x="11078" y="133097"/>
                  </a:lnTo>
                  <a:lnTo>
                    <a:pt x="7819" y="134726"/>
                  </a:lnTo>
                  <a:lnTo>
                    <a:pt x="7331" y="130164"/>
                  </a:lnTo>
                  <a:lnTo>
                    <a:pt x="2280" y="122671"/>
                  </a:lnTo>
                  <a:lnTo>
                    <a:pt x="1629" y="116969"/>
                  </a:lnTo>
                  <a:lnTo>
                    <a:pt x="0" y="110615"/>
                  </a:lnTo>
                  <a:lnTo>
                    <a:pt x="0" y="106380"/>
                  </a:lnTo>
                  <a:lnTo>
                    <a:pt x="3095" y="105565"/>
                  </a:lnTo>
                  <a:lnTo>
                    <a:pt x="7005" y="101981"/>
                  </a:lnTo>
                  <a:lnTo>
                    <a:pt x="8308" y="101004"/>
                  </a:lnTo>
                  <a:lnTo>
                    <a:pt x="8308" y="96605"/>
                  </a:lnTo>
                  <a:lnTo>
                    <a:pt x="6842" y="94161"/>
                  </a:lnTo>
                  <a:lnTo>
                    <a:pt x="6516" y="88785"/>
                  </a:lnTo>
                  <a:lnTo>
                    <a:pt x="11078" y="83898"/>
                  </a:lnTo>
                  <a:lnTo>
                    <a:pt x="14499" y="83898"/>
                  </a:lnTo>
                  <a:cubicBezTo>
                    <a:pt x="14499" y="83898"/>
                    <a:pt x="17431" y="90903"/>
                    <a:pt x="17431" y="90903"/>
                  </a:cubicBezTo>
                  <a:lnTo>
                    <a:pt x="19386" y="95302"/>
                  </a:lnTo>
                  <a:lnTo>
                    <a:pt x="23458" y="95953"/>
                  </a:lnTo>
                  <a:lnTo>
                    <a:pt x="24599" y="93836"/>
                  </a:lnTo>
                  <a:lnTo>
                    <a:pt x="19386" y="87156"/>
                  </a:lnTo>
                  <a:lnTo>
                    <a:pt x="19386" y="82106"/>
                  </a:lnTo>
                  <a:lnTo>
                    <a:pt x="21504" y="80966"/>
                  </a:lnTo>
                  <a:lnTo>
                    <a:pt x="24436" y="82758"/>
                  </a:lnTo>
                  <a:lnTo>
                    <a:pt x="24925" y="85853"/>
                  </a:lnTo>
                  <a:lnTo>
                    <a:pt x="26880" y="87808"/>
                  </a:lnTo>
                  <a:lnTo>
                    <a:pt x="30790" y="86016"/>
                  </a:lnTo>
                  <a:lnTo>
                    <a:pt x="41053" y="78033"/>
                  </a:lnTo>
                  <a:lnTo>
                    <a:pt x="46266" y="76893"/>
                  </a:lnTo>
                  <a:lnTo>
                    <a:pt x="49198" y="79337"/>
                  </a:lnTo>
                  <a:lnTo>
                    <a:pt x="52294" y="85039"/>
                  </a:lnTo>
                  <a:lnTo>
                    <a:pt x="51316" y="88785"/>
                  </a:lnTo>
                  <a:lnTo>
                    <a:pt x="48547" y="91881"/>
                  </a:lnTo>
                  <a:lnTo>
                    <a:pt x="45451" y="91555"/>
                  </a:lnTo>
                  <a:lnTo>
                    <a:pt x="43985" y="90252"/>
                  </a:lnTo>
                  <a:lnTo>
                    <a:pt x="41542" y="90577"/>
                  </a:lnTo>
                  <a:lnTo>
                    <a:pt x="36165" y="94813"/>
                  </a:lnTo>
                  <a:lnTo>
                    <a:pt x="35351" y="97094"/>
                  </a:lnTo>
                  <a:lnTo>
                    <a:pt x="33233" y="97583"/>
                  </a:lnTo>
                  <a:lnTo>
                    <a:pt x="32093" y="100678"/>
                  </a:lnTo>
                  <a:lnTo>
                    <a:pt x="34862" y="102633"/>
                  </a:lnTo>
                  <a:lnTo>
                    <a:pt x="38772" y="100026"/>
                  </a:lnTo>
                  <a:lnTo>
                    <a:pt x="44800" y="97583"/>
                  </a:lnTo>
                  <a:lnTo>
                    <a:pt x="47244" y="98886"/>
                  </a:lnTo>
                  <a:lnTo>
                    <a:pt x="47244" y="100678"/>
                  </a:lnTo>
                  <a:cubicBezTo>
                    <a:pt x="47244" y="100678"/>
                    <a:pt x="42519" y="104425"/>
                    <a:pt x="42519" y="104425"/>
                  </a:cubicBezTo>
                  <a:lnTo>
                    <a:pt x="42030" y="106868"/>
                  </a:lnTo>
                  <a:lnTo>
                    <a:pt x="44637" y="108009"/>
                  </a:lnTo>
                  <a:lnTo>
                    <a:pt x="46266" y="106054"/>
                  </a:lnTo>
                  <a:lnTo>
                    <a:pt x="48058" y="106380"/>
                  </a:lnTo>
                  <a:lnTo>
                    <a:pt x="50013" y="109638"/>
                  </a:lnTo>
                  <a:lnTo>
                    <a:pt x="51968" y="111267"/>
                  </a:lnTo>
                  <a:lnTo>
                    <a:pt x="51642" y="114362"/>
                  </a:lnTo>
                  <a:lnTo>
                    <a:pt x="52782" y="120064"/>
                  </a:lnTo>
                  <a:lnTo>
                    <a:pt x="55389" y="123159"/>
                  </a:lnTo>
                  <a:lnTo>
                    <a:pt x="57669" y="124137"/>
                  </a:lnTo>
                  <a:lnTo>
                    <a:pt x="56529" y="116969"/>
                  </a:lnTo>
                  <a:lnTo>
                    <a:pt x="53597" y="111267"/>
                  </a:lnTo>
                  <a:lnTo>
                    <a:pt x="52782" y="105402"/>
                  </a:lnTo>
                  <a:lnTo>
                    <a:pt x="54085" y="99537"/>
                  </a:lnTo>
                  <a:lnTo>
                    <a:pt x="59136" y="91555"/>
                  </a:lnTo>
                  <a:lnTo>
                    <a:pt x="60113" y="86505"/>
                  </a:lnTo>
                  <a:lnTo>
                    <a:pt x="62394" y="84387"/>
                  </a:lnTo>
                  <a:lnTo>
                    <a:pt x="64838" y="85527"/>
                  </a:lnTo>
                  <a:lnTo>
                    <a:pt x="69236" y="90740"/>
                  </a:lnTo>
                  <a:lnTo>
                    <a:pt x="74775" y="94487"/>
                  </a:lnTo>
                  <a:lnTo>
                    <a:pt x="75264" y="97420"/>
                  </a:lnTo>
                  <a:lnTo>
                    <a:pt x="75264" y="107194"/>
                  </a:lnTo>
                  <a:lnTo>
                    <a:pt x="79337" y="117620"/>
                  </a:lnTo>
                  <a:lnTo>
                    <a:pt x="79337" y="121856"/>
                  </a:lnTo>
                  <a:lnTo>
                    <a:pt x="78196" y="125114"/>
                  </a:lnTo>
                  <a:lnTo>
                    <a:pt x="74449" y="128698"/>
                  </a:lnTo>
                  <a:lnTo>
                    <a:pt x="74938" y="130653"/>
                  </a:lnTo>
                  <a:lnTo>
                    <a:pt x="76730" y="131468"/>
                  </a:lnTo>
                  <a:lnTo>
                    <a:pt x="80151" y="129187"/>
                  </a:lnTo>
                  <a:lnTo>
                    <a:pt x="82758" y="129676"/>
                  </a:lnTo>
                  <a:lnTo>
                    <a:pt x="85853" y="134237"/>
                  </a:lnTo>
                  <a:lnTo>
                    <a:pt x="89111" y="142383"/>
                  </a:lnTo>
                  <a:lnTo>
                    <a:pt x="91392" y="144663"/>
                  </a:lnTo>
                  <a:lnTo>
                    <a:pt x="94813" y="144663"/>
                  </a:lnTo>
                  <a:cubicBezTo>
                    <a:pt x="94813" y="144663"/>
                    <a:pt x="95790" y="140428"/>
                    <a:pt x="95790" y="140428"/>
                  </a:cubicBezTo>
                  <a:lnTo>
                    <a:pt x="90903" y="134726"/>
                  </a:lnTo>
                  <a:lnTo>
                    <a:pt x="90089" y="129513"/>
                  </a:lnTo>
                  <a:lnTo>
                    <a:pt x="85853" y="122508"/>
                  </a:lnTo>
                  <a:lnTo>
                    <a:pt x="84061" y="116806"/>
                  </a:lnTo>
                  <a:lnTo>
                    <a:pt x="84061" y="109638"/>
                  </a:lnTo>
                  <a:cubicBezTo>
                    <a:pt x="84061" y="109638"/>
                    <a:pt x="84061" y="94324"/>
                    <a:pt x="84061" y="94324"/>
                  </a:cubicBezTo>
                  <a:lnTo>
                    <a:pt x="82595" y="91229"/>
                  </a:lnTo>
                  <a:lnTo>
                    <a:pt x="80314" y="89763"/>
                  </a:lnTo>
                  <a:lnTo>
                    <a:pt x="81455" y="84550"/>
                  </a:lnTo>
                  <a:lnTo>
                    <a:pt x="81128" y="79825"/>
                  </a:lnTo>
                  <a:lnTo>
                    <a:pt x="83409" y="75427"/>
                  </a:lnTo>
                  <a:lnTo>
                    <a:pt x="82758" y="67933"/>
                  </a:lnTo>
                  <a:lnTo>
                    <a:pt x="85853" y="62720"/>
                  </a:lnTo>
                  <a:lnTo>
                    <a:pt x="88785" y="61254"/>
                  </a:lnTo>
                  <a:lnTo>
                    <a:pt x="90740" y="62231"/>
                  </a:lnTo>
                  <a:lnTo>
                    <a:pt x="95465" y="68748"/>
                  </a:lnTo>
                  <a:lnTo>
                    <a:pt x="96442" y="74612"/>
                  </a:lnTo>
                  <a:lnTo>
                    <a:pt x="98885" y="76241"/>
                  </a:lnTo>
                  <a:lnTo>
                    <a:pt x="101166" y="72332"/>
                  </a:lnTo>
                  <a:lnTo>
                    <a:pt x="104750" y="70051"/>
                  </a:lnTo>
                  <a:lnTo>
                    <a:pt x="108660" y="72657"/>
                  </a:lnTo>
                  <a:lnTo>
                    <a:pt x="113547" y="79988"/>
                  </a:lnTo>
                  <a:lnTo>
                    <a:pt x="115665" y="85690"/>
                  </a:lnTo>
                  <a:lnTo>
                    <a:pt x="115991" y="91392"/>
                  </a:lnTo>
                  <a:lnTo>
                    <a:pt x="114036" y="93999"/>
                  </a:lnTo>
                  <a:lnTo>
                    <a:pt x="114036" y="104913"/>
                  </a:lnTo>
                  <a:cubicBezTo>
                    <a:pt x="114036" y="104913"/>
                    <a:pt x="114036" y="111430"/>
                    <a:pt x="114036" y="111430"/>
                  </a:cubicBezTo>
                  <a:lnTo>
                    <a:pt x="113710" y="113873"/>
                  </a:lnTo>
                  <a:lnTo>
                    <a:pt x="115503" y="114851"/>
                  </a:lnTo>
                  <a:lnTo>
                    <a:pt x="118598" y="111919"/>
                  </a:lnTo>
                  <a:lnTo>
                    <a:pt x="118598" y="105565"/>
                  </a:lnTo>
                  <a:cubicBezTo>
                    <a:pt x="118598" y="105565"/>
                    <a:pt x="117620" y="96116"/>
                    <a:pt x="117620" y="96116"/>
                  </a:cubicBezTo>
                  <a:lnTo>
                    <a:pt x="118923" y="91555"/>
                  </a:lnTo>
                  <a:lnTo>
                    <a:pt x="122182" y="88948"/>
                  </a:lnTo>
                  <a:lnTo>
                    <a:pt x="128535" y="94487"/>
                  </a:lnTo>
                  <a:lnTo>
                    <a:pt x="132445" y="103936"/>
                  </a:lnTo>
                  <a:lnTo>
                    <a:pt x="135703" y="115503"/>
                  </a:lnTo>
                  <a:lnTo>
                    <a:pt x="135703" y="118924"/>
                  </a:lnTo>
                  <a:cubicBezTo>
                    <a:pt x="135703" y="118924"/>
                    <a:pt x="138798" y="122345"/>
                    <a:pt x="138798" y="122345"/>
                  </a:cubicBezTo>
                  <a:lnTo>
                    <a:pt x="144012" y="122671"/>
                  </a:lnTo>
                  <a:lnTo>
                    <a:pt x="146455" y="123811"/>
                  </a:lnTo>
                  <a:lnTo>
                    <a:pt x="152483" y="130979"/>
                  </a:lnTo>
                  <a:lnTo>
                    <a:pt x="155415" y="133423"/>
                  </a:lnTo>
                  <a:lnTo>
                    <a:pt x="162094" y="140428"/>
                  </a:lnTo>
                  <a:lnTo>
                    <a:pt x="167471" y="143360"/>
                  </a:lnTo>
                  <a:lnTo>
                    <a:pt x="178548" y="146129"/>
                  </a:lnTo>
                  <a:lnTo>
                    <a:pt x="182132" y="147270"/>
                  </a:lnTo>
                  <a:lnTo>
                    <a:pt x="182132" y="152972"/>
                  </a:lnTo>
                  <a:cubicBezTo>
                    <a:pt x="182132" y="152972"/>
                    <a:pt x="180829" y="155904"/>
                    <a:pt x="180829" y="155904"/>
                  </a:cubicBezTo>
                  <a:lnTo>
                    <a:pt x="180014" y="159162"/>
                  </a:lnTo>
                  <a:lnTo>
                    <a:pt x="177897" y="159651"/>
                  </a:lnTo>
                  <a:lnTo>
                    <a:pt x="175127" y="154927"/>
                  </a:lnTo>
                  <a:lnTo>
                    <a:pt x="170077" y="157207"/>
                  </a:lnTo>
                  <a:lnTo>
                    <a:pt x="166493" y="156719"/>
                  </a:lnTo>
                  <a:lnTo>
                    <a:pt x="159488" y="162258"/>
                  </a:lnTo>
                  <a:lnTo>
                    <a:pt x="154764" y="162583"/>
                  </a:lnTo>
                  <a:lnTo>
                    <a:pt x="153949" y="164375"/>
                  </a:lnTo>
                  <a:lnTo>
                    <a:pt x="155578" y="167145"/>
                  </a:lnTo>
                  <a:lnTo>
                    <a:pt x="155252" y="170077"/>
                  </a:lnTo>
                  <a:lnTo>
                    <a:pt x="149713" y="174801"/>
                  </a:lnTo>
                  <a:lnTo>
                    <a:pt x="148899" y="177408"/>
                  </a:lnTo>
                  <a:lnTo>
                    <a:pt x="150202" y="183436"/>
                  </a:lnTo>
                  <a:lnTo>
                    <a:pt x="150528" y="192722"/>
                  </a:lnTo>
                  <a:lnTo>
                    <a:pt x="149387" y="196631"/>
                  </a:lnTo>
                  <a:lnTo>
                    <a:pt x="149876" y="202496"/>
                  </a:lnTo>
                  <a:lnTo>
                    <a:pt x="151017" y="204451"/>
                  </a:lnTo>
                  <a:lnTo>
                    <a:pt x="148736" y="208198"/>
                  </a:lnTo>
                  <a:lnTo>
                    <a:pt x="144012" y="206080"/>
                  </a:lnTo>
                  <a:lnTo>
                    <a:pt x="142056" y="207546"/>
                  </a:lnTo>
                  <a:lnTo>
                    <a:pt x="141568" y="212922"/>
                  </a:lnTo>
                  <a:lnTo>
                    <a:pt x="145152" y="219276"/>
                  </a:lnTo>
                  <a:lnTo>
                    <a:pt x="145152" y="224652"/>
                  </a:lnTo>
                  <a:cubicBezTo>
                    <a:pt x="145152" y="224652"/>
                    <a:pt x="143686" y="230353"/>
                    <a:pt x="143686" y="230353"/>
                  </a:cubicBezTo>
                  <a:lnTo>
                    <a:pt x="143686" y="237033"/>
                  </a:lnTo>
                  <a:cubicBezTo>
                    <a:pt x="143686" y="237033"/>
                    <a:pt x="143360" y="242083"/>
                    <a:pt x="143360" y="242083"/>
                  </a:cubicBezTo>
                  <a:lnTo>
                    <a:pt x="141405" y="242083"/>
                  </a:lnTo>
                  <a:cubicBezTo>
                    <a:pt x="141405" y="242083"/>
                    <a:pt x="136029" y="241594"/>
                    <a:pt x="136029" y="241594"/>
                  </a:cubicBezTo>
                  <a:lnTo>
                    <a:pt x="131956" y="245178"/>
                  </a:lnTo>
                  <a:lnTo>
                    <a:pt x="136517" y="247459"/>
                  </a:lnTo>
                  <a:lnTo>
                    <a:pt x="135703" y="249414"/>
                  </a:lnTo>
                  <a:lnTo>
                    <a:pt x="132445" y="252672"/>
                  </a:lnTo>
                  <a:lnTo>
                    <a:pt x="132445" y="256419"/>
                  </a:lnTo>
                  <a:lnTo>
                    <a:pt x="131793" y="260655"/>
                  </a:lnTo>
                  <a:lnTo>
                    <a:pt x="131305" y="276620"/>
                  </a:lnTo>
                  <a:lnTo>
                    <a:pt x="129349" y="280855"/>
                  </a:lnTo>
                  <a:lnTo>
                    <a:pt x="127069" y="283951"/>
                  </a:lnTo>
                  <a:lnTo>
                    <a:pt x="127721" y="289815"/>
                  </a:lnTo>
                  <a:lnTo>
                    <a:pt x="130001" y="296332"/>
                  </a:lnTo>
                  <a:lnTo>
                    <a:pt x="130001" y="299590"/>
                  </a:lnTo>
                  <a:cubicBezTo>
                    <a:pt x="130001" y="299590"/>
                    <a:pt x="128698" y="300893"/>
                    <a:pt x="128698" y="300893"/>
                  </a:cubicBezTo>
                  <a:lnTo>
                    <a:pt x="128046" y="306269"/>
                  </a:lnTo>
                  <a:lnTo>
                    <a:pt x="124951" y="310831"/>
                  </a:lnTo>
                  <a:lnTo>
                    <a:pt x="121041" y="311482"/>
                  </a:lnTo>
                  <a:lnTo>
                    <a:pt x="121041" y="311482"/>
                  </a:lnTo>
                  <a:close/>
                  <a:moveTo>
                    <a:pt x="178548" y="443276"/>
                  </a:moveTo>
                  <a:lnTo>
                    <a:pt x="180503" y="440180"/>
                  </a:lnTo>
                  <a:lnTo>
                    <a:pt x="181155" y="433175"/>
                  </a:lnTo>
                  <a:lnTo>
                    <a:pt x="177571" y="429428"/>
                  </a:lnTo>
                  <a:lnTo>
                    <a:pt x="172846" y="429103"/>
                  </a:lnTo>
                  <a:lnTo>
                    <a:pt x="171543" y="432198"/>
                  </a:lnTo>
                  <a:lnTo>
                    <a:pt x="172846" y="436108"/>
                  </a:lnTo>
                  <a:lnTo>
                    <a:pt x="176105" y="438714"/>
                  </a:lnTo>
                  <a:lnTo>
                    <a:pt x="176756" y="441973"/>
                  </a:lnTo>
                  <a:lnTo>
                    <a:pt x="178548" y="443113"/>
                  </a:lnTo>
                  <a:close/>
                </a:path>
              </a:pathLst>
            </a:custGeom>
            <a:solidFill>
              <a:schemeClr val="bg2"/>
            </a:solidFill>
            <a:ln w="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0" name="Forma livre: Forma 149">
              <a:extLst>
                <a:ext uri="{FF2B5EF4-FFF2-40B4-BE49-F238E27FC236}">
                  <a16:creationId xmlns:a16="http://schemas.microsoft.com/office/drawing/2014/main" id="{9D5B243F-C4D0-DF31-3024-A822822F92E7}"/>
                </a:ext>
              </a:extLst>
            </p:cNvPr>
            <p:cNvSpPr/>
            <p:nvPr/>
          </p:nvSpPr>
          <p:spPr>
            <a:xfrm>
              <a:off x="6162971" y="3225215"/>
              <a:ext cx="167171" cy="130808"/>
            </a:xfrm>
            <a:custGeom>
              <a:avLst/>
              <a:gdLst>
                <a:gd name="connsiteX0" fmla="*/ 115828 w 161768"/>
                <a:gd name="connsiteY0" fmla="*/ 122996 h 126580"/>
                <a:gd name="connsiteX1" fmla="*/ 117294 w 161768"/>
                <a:gd name="connsiteY1" fmla="*/ 124788 h 126580"/>
                <a:gd name="connsiteX2" fmla="*/ 122508 w 161768"/>
                <a:gd name="connsiteY2" fmla="*/ 126580 h 126580"/>
                <a:gd name="connsiteX3" fmla="*/ 125765 w 161768"/>
                <a:gd name="connsiteY3" fmla="*/ 122019 h 126580"/>
                <a:gd name="connsiteX4" fmla="*/ 128861 w 161768"/>
                <a:gd name="connsiteY4" fmla="*/ 122996 h 126580"/>
                <a:gd name="connsiteX5" fmla="*/ 129187 w 161768"/>
                <a:gd name="connsiteY5" fmla="*/ 120716 h 126580"/>
                <a:gd name="connsiteX6" fmla="*/ 126906 w 161768"/>
                <a:gd name="connsiteY6" fmla="*/ 116806 h 126580"/>
                <a:gd name="connsiteX7" fmla="*/ 128046 w 161768"/>
                <a:gd name="connsiteY7" fmla="*/ 112570 h 126580"/>
                <a:gd name="connsiteX8" fmla="*/ 124299 w 161768"/>
                <a:gd name="connsiteY8" fmla="*/ 111756 h 126580"/>
                <a:gd name="connsiteX9" fmla="*/ 122508 w 161768"/>
                <a:gd name="connsiteY9" fmla="*/ 112733 h 126580"/>
                <a:gd name="connsiteX10" fmla="*/ 120878 w 161768"/>
                <a:gd name="connsiteY10" fmla="*/ 111756 h 126580"/>
                <a:gd name="connsiteX11" fmla="*/ 116969 w 161768"/>
                <a:gd name="connsiteY11" fmla="*/ 112733 h 126580"/>
                <a:gd name="connsiteX12" fmla="*/ 117294 w 161768"/>
                <a:gd name="connsiteY12" fmla="*/ 115828 h 126580"/>
                <a:gd name="connsiteX13" fmla="*/ 121204 w 161768"/>
                <a:gd name="connsiteY13" fmla="*/ 116154 h 126580"/>
                <a:gd name="connsiteX14" fmla="*/ 120064 w 161768"/>
                <a:gd name="connsiteY14" fmla="*/ 117457 h 126580"/>
                <a:gd name="connsiteX15" fmla="*/ 116969 w 161768"/>
                <a:gd name="connsiteY15" fmla="*/ 119249 h 126580"/>
                <a:gd name="connsiteX16" fmla="*/ 115828 w 161768"/>
                <a:gd name="connsiteY16" fmla="*/ 122996 h 126580"/>
                <a:gd name="connsiteX17" fmla="*/ 115828 w 161768"/>
                <a:gd name="connsiteY17" fmla="*/ 122996 h 126580"/>
                <a:gd name="connsiteX18" fmla="*/ 152646 w 161768"/>
                <a:gd name="connsiteY18" fmla="*/ 87482 h 126580"/>
                <a:gd name="connsiteX19" fmla="*/ 151342 w 161768"/>
                <a:gd name="connsiteY19" fmla="*/ 94161 h 126580"/>
                <a:gd name="connsiteX20" fmla="*/ 152646 w 161768"/>
                <a:gd name="connsiteY20" fmla="*/ 98886 h 126580"/>
                <a:gd name="connsiteX21" fmla="*/ 160791 w 161768"/>
                <a:gd name="connsiteY21" fmla="*/ 101655 h 126580"/>
                <a:gd name="connsiteX22" fmla="*/ 161769 w 161768"/>
                <a:gd name="connsiteY22" fmla="*/ 97257 h 126580"/>
                <a:gd name="connsiteX23" fmla="*/ 157370 w 161768"/>
                <a:gd name="connsiteY23" fmla="*/ 90089 h 126580"/>
                <a:gd name="connsiteX24" fmla="*/ 152808 w 161768"/>
                <a:gd name="connsiteY24" fmla="*/ 87319 h 126580"/>
                <a:gd name="connsiteX25" fmla="*/ 152808 w 161768"/>
                <a:gd name="connsiteY25" fmla="*/ 87319 h 126580"/>
                <a:gd name="connsiteX26" fmla="*/ 102633 w 161768"/>
                <a:gd name="connsiteY26" fmla="*/ 75916 h 126580"/>
                <a:gd name="connsiteX27" fmla="*/ 100840 w 161768"/>
                <a:gd name="connsiteY27" fmla="*/ 81292 h 126580"/>
                <a:gd name="connsiteX28" fmla="*/ 104262 w 161768"/>
                <a:gd name="connsiteY28" fmla="*/ 82432 h 126580"/>
                <a:gd name="connsiteX29" fmla="*/ 102633 w 161768"/>
                <a:gd name="connsiteY29" fmla="*/ 75916 h 126580"/>
                <a:gd name="connsiteX30" fmla="*/ 102633 w 161768"/>
                <a:gd name="connsiteY30" fmla="*/ 75916 h 126580"/>
                <a:gd name="connsiteX31" fmla="*/ 89926 w 161768"/>
                <a:gd name="connsiteY31" fmla="*/ 101167 h 126580"/>
                <a:gd name="connsiteX32" fmla="*/ 86016 w 161768"/>
                <a:gd name="connsiteY32" fmla="*/ 101167 h 126580"/>
                <a:gd name="connsiteX33" fmla="*/ 84061 w 161768"/>
                <a:gd name="connsiteY33" fmla="*/ 98723 h 126580"/>
                <a:gd name="connsiteX34" fmla="*/ 86342 w 161768"/>
                <a:gd name="connsiteY34" fmla="*/ 96116 h 126580"/>
                <a:gd name="connsiteX35" fmla="*/ 85364 w 161768"/>
                <a:gd name="connsiteY35" fmla="*/ 93836 h 126580"/>
                <a:gd name="connsiteX36" fmla="*/ 79499 w 161768"/>
                <a:gd name="connsiteY36" fmla="*/ 92207 h 126580"/>
                <a:gd name="connsiteX37" fmla="*/ 76241 w 161768"/>
                <a:gd name="connsiteY37" fmla="*/ 92207 h 126580"/>
                <a:gd name="connsiteX38" fmla="*/ 73309 w 161768"/>
                <a:gd name="connsiteY38" fmla="*/ 88623 h 126580"/>
                <a:gd name="connsiteX39" fmla="*/ 73635 w 161768"/>
                <a:gd name="connsiteY39" fmla="*/ 83410 h 126580"/>
                <a:gd name="connsiteX40" fmla="*/ 71680 w 161768"/>
                <a:gd name="connsiteY40" fmla="*/ 80314 h 126580"/>
                <a:gd name="connsiteX41" fmla="*/ 71028 w 161768"/>
                <a:gd name="connsiteY41" fmla="*/ 76567 h 126580"/>
                <a:gd name="connsiteX42" fmla="*/ 74123 w 161768"/>
                <a:gd name="connsiteY42" fmla="*/ 75590 h 126580"/>
                <a:gd name="connsiteX43" fmla="*/ 76078 w 161768"/>
                <a:gd name="connsiteY43" fmla="*/ 71680 h 126580"/>
                <a:gd name="connsiteX44" fmla="*/ 78522 w 161768"/>
                <a:gd name="connsiteY44" fmla="*/ 70051 h 126580"/>
                <a:gd name="connsiteX45" fmla="*/ 80965 w 161768"/>
                <a:gd name="connsiteY45" fmla="*/ 73146 h 126580"/>
                <a:gd name="connsiteX46" fmla="*/ 80965 w 161768"/>
                <a:gd name="connsiteY46" fmla="*/ 75590 h 126580"/>
                <a:gd name="connsiteX47" fmla="*/ 85690 w 161768"/>
                <a:gd name="connsiteY47" fmla="*/ 78685 h 126580"/>
                <a:gd name="connsiteX48" fmla="*/ 86830 w 161768"/>
                <a:gd name="connsiteY48" fmla="*/ 77382 h 126580"/>
                <a:gd name="connsiteX49" fmla="*/ 89437 w 161768"/>
                <a:gd name="connsiteY49" fmla="*/ 78033 h 126580"/>
                <a:gd name="connsiteX50" fmla="*/ 89763 w 161768"/>
                <a:gd name="connsiteY50" fmla="*/ 75427 h 126580"/>
                <a:gd name="connsiteX51" fmla="*/ 85853 w 161768"/>
                <a:gd name="connsiteY51" fmla="*/ 72820 h 126580"/>
                <a:gd name="connsiteX52" fmla="*/ 84061 w 161768"/>
                <a:gd name="connsiteY52" fmla="*/ 70540 h 126580"/>
                <a:gd name="connsiteX53" fmla="*/ 86505 w 161768"/>
                <a:gd name="connsiteY53" fmla="*/ 65978 h 126580"/>
                <a:gd name="connsiteX54" fmla="*/ 93184 w 161768"/>
                <a:gd name="connsiteY54" fmla="*/ 64349 h 126580"/>
                <a:gd name="connsiteX55" fmla="*/ 99049 w 161768"/>
                <a:gd name="connsiteY55" fmla="*/ 64023 h 126580"/>
                <a:gd name="connsiteX56" fmla="*/ 100515 w 161768"/>
                <a:gd name="connsiteY56" fmla="*/ 68259 h 126580"/>
                <a:gd name="connsiteX57" fmla="*/ 101003 w 161768"/>
                <a:gd name="connsiteY57" fmla="*/ 73798 h 126580"/>
                <a:gd name="connsiteX58" fmla="*/ 99374 w 161768"/>
                <a:gd name="connsiteY58" fmla="*/ 79826 h 126580"/>
                <a:gd name="connsiteX59" fmla="*/ 93998 w 161768"/>
                <a:gd name="connsiteY59" fmla="*/ 82432 h 126580"/>
                <a:gd name="connsiteX60" fmla="*/ 93998 w 161768"/>
                <a:gd name="connsiteY60" fmla="*/ 84224 h 126580"/>
                <a:gd name="connsiteX61" fmla="*/ 98560 w 161768"/>
                <a:gd name="connsiteY61" fmla="*/ 87319 h 126580"/>
                <a:gd name="connsiteX62" fmla="*/ 99537 w 161768"/>
                <a:gd name="connsiteY62" fmla="*/ 90415 h 126580"/>
                <a:gd name="connsiteX63" fmla="*/ 96931 w 161768"/>
                <a:gd name="connsiteY63" fmla="*/ 92858 h 126580"/>
                <a:gd name="connsiteX64" fmla="*/ 91555 w 161768"/>
                <a:gd name="connsiteY64" fmla="*/ 95139 h 126580"/>
                <a:gd name="connsiteX65" fmla="*/ 91555 w 161768"/>
                <a:gd name="connsiteY65" fmla="*/ 98560 h 126580"/>
                <a:gd name="connsiteX66" fmla="*/ 89763 w 161768"/>
                <a:gd name="connsiteY66" fmla="*/ 101330 h 126580"/>
                <a:gd name="connsiteX67" fmla="*/ 89763 w 161768"/>
                <a:gd name="connsiteY67" fmla="*/ 101330 h 126580"/>
                <a:gd name="connsiteX68" fmla="*/ 92858 w 161768"/>
                <a:gd name="connsiteY68" fmla="*/ 102633 h 126580"/>
                <a:gd name="connsiteX69" fmla="*/ 93673 w 161768"/>
                <a:gd name="connsiteY69" fmla="*/ 104588 h 126580"/>
                <a:gd name="connsiteX70" fmla="*/ 95953 w 161768"/>
                <a:gd name="connsiteY70" fmla="*/ 101330 h 126580"/>
                <a:gd name="connsiteX71" fmla="*/ 99374 w 161768"/>
                <a:gd name="connsiteY71" fmla="*/ 100678 h 126580"/>
                <a:gd name="connsiteX72" fmla="*/ 98723 w 161768"/>
                <a:gd name="connsiteY72" fmla="*/ 97908 h 126580"/>
                <a:gd name="connsiteX73" fmla="*/ 94976 w 161768"/>
                <a:gd name="connsiteY73" fmla="*/ 99538 h 126580"/>
                <a:gd name="connsiteX74" fmla="*/ 92858 w 161768"/>
                <a:gd name="connsiteY74" fmla="*/ 102796 h 126580"/>
                <a:gd name="connsiteX75" fmla="*/ 92858 w 161768"/>
                <a:gd name="connsiteY75" fmla="*/ 102796 h 126580"/>
                <a:gd name="connsiteX76" fmla="*/ 73798 w 161768"/>
                <a:gd name="connsiteY76" fmla="*/ 101818 h 126580"/>
                <a:gd name="connsiteX77" fmla="*/ 78522 w 161768"/>
                <a:gd name="connsiteY77" fmla="*/ 108498 h 126580"/>
                <a:gd name="connsiteX78" fmla="*/ 81780 w 161768"/>
                <a:gd name="connsiteY78" fmla="*/ 107520 h 126580"/>
                <a:gd name="connsiteX79" fmla="*/ 84387 w 161768"/>
                <a:gd name="connsiteY79" fmla="*/ 107520 h 126580"/>
                <a:gd name="connsiteX80" fmla="*/ 86016 w 161768"/>
                <a:gd name="connsiteY80" fmla="*/ 103610 h 126580"/>
                <a:gd name="connsiteX81" fmla="*/ 90089 w 161768"/>
                <a:gd name="connsiteY81" fmla="*/ 103610 h 126580"/>
                <a:gd name="connsiteX82" fmla="*/ 91066 w 161768"/>
                <a:gd name="connsiteY82" fmla="*/ 103122 h 126580"/>
                <a:gd name="connsiteX83" fmla="*/ 91881 w 161768"/>
                <a:gd name="connsiteY83" fmla="*/ 106706 h 126580"/>
                <a:gd name="connsiteX84" fmla="*/ 89600 w 161768"/>
                <a:gd name="connsiteY84" fmla="*/ 111104 h 126580"/>
                <a:gd name="connsiteX85" fmla="*/ 89600 w 161768"/>
                <a:gd name="connsiteY85" fmla="*/ 115177 h 126580"/>
                <a:gd name="connsiteX86" fmla="*/ 88460 w 161768"/>
                <a:gd name="connsiteY86" fmla="*/ 114525 h 126580"/>
                <a:gd name="connsiteX87" fmla="*/ 87156 w 161768"/>
                <a:gd name="connsiteY87" fmla="*/ 110615 h 126580"/>
                <a:gd name="connsiteX88" fmla="*/ 84712 w 161768"/>
                <a:gd name="connsiteY88" fmla="*/ 113711 h 126580"/>
                <a:gd name="connsiteX89" fmla="*/ 77544 w 161768"/>
                <a:gd name="connsiteY89" fmla="*/ 114362 h 126580"/>
                <a:gd name="connsiteX90" fmla="*/ 70214 w 161768"/>
                <a:gd name="connsiteY90" fmla="*/ 111919 h 126580"/>
                <a:gd name="connsiteX91" fmla="*/ 68258 w 161768"/>
                <a:gd name="connsiteY91" fmla="*/ 108986 h 126580"/>
                <a:gd name="connsiteX92" fmla="*/ 71191 w 161768"/>
                <a:gd name="connsiteY92" fmla="*/ 107846 h 126580"/>
                <a:gd name="connsiteX93" fmla="*/ 69399 w 161768"/>
                <a:gd name="connsiteY93" fmla="*/ 105565 h 126580"/>
                <a:gd name="connsiteX94" fmla="*/ 71354 w 161768"/>
                <a:gd name="connsiteY94" fmla="*/ 102307 h 126580"/>
                <a:gd name="connsiteX95" fmla="*/ 73798 w 161768"/>
                <a:gd name="connsiteY95" fmla="*/ 101655 h 126580"/>
                <a:gd name="connsiteX96" fmla="*/ 73798 w 161768"/>
                <a:gd name="connsiteY96" fmla="*/ 101655 h 126580"/>
                <a:gd name="connsiteX97" fmla="*/ 55552 w 161768"/>
                <a:gd name="connsiteY97" fmla="*/ 76241 h 126580"/>
                <a:gd name="connsiteX98" fmla="*/ 57996 w 161768"/>
                <a:gd name="connsiteY98" fmla="*/ 72332 h 126580"/>
                <a:gd name="connsiteX99" fmla="*/ 57996 w 161768"/>
                <a:gd name="connsiteY99" fmla="*/ 65327 h 126580"/>
                <a:gd name="connsiteX100" fmla="*/ 59950 w 161768"/>
                <a:gd name="connsiteY100" fmla="*/ 71843 h 126580"/>
                <a:gd name="connsiteX101" fmla="*/ 59462 w 161768"/>
                <a:gd name="connsiteY101" fmla="*/ 75427 h 126580"/>
                <a:gd name="connsiteX102" fmla="*/ 55552 w 161768"/>
                <a:gd name="connsiteY102" fmla="*/ 76241 h 126580"/>
                <a:gd name="connsiteX103" fmla="*/ 55552 w 161768"/>
                <a:gd name="connsiteY103" fmla="*/ 76241 h 126580"/>
                <a:gd name="connsiteX104" fmla="*/ 52945 w 161768"/>
                <a:gd name="connsiteY104" fmla="*/ 103610 h 126580"/>
                <a:gd name="connsiteX105" fmla="*/ 56692 w 161768"/>
                <a:gd name="connsiteY105" fmla="*/ 107357 h 126580"/>
                <a:gd name="connsiteX106" fmla="*/ 58484 w 161768"/>
                <a:gd name="connsiteY106" fmla="*/ 105728 h 126580"/>
                <a:gd name="connsiteX107" fmla="*/ 52782 w 161768"/>
                <a:gd name="connsiteY107" fmla="*/ 103610 h 126580"/>
                <a:gd name="connsiteX108" fmla="*/ 52782 w 161768"/>
                <a:gd name="connsiteY108" fmla="*/ 103610 h 126580"/>
                <a:gd name="connsiteX109" fmla="*/ 64674 w 161768"/>
                <a:gd name="connsiteY109" fmla="*/ 95302 h 126580"/>
                <a:gd name="connsiteX110" fmla="*/ 63371 w 161768"/>
                <a:gd name="connsiteY110" fmla="*/ 102470 h 126580"/>
                <a:gd name="connsiteX111" fmla="*/ 61417 w 161768"/>
                <a:gd name="connsiteY111" fmla="*/ 106543 h 126580"/>
                <a:gd name="connsiteX112" fmla="*/ 62394 w 161768"/>
                <a:gd name="connsiteY112" fmla="*/ 108986 h 126580"/>
                <a:gd name="connsiteX113" fmla="*/ 65164 w 161768"/>
                <a:gd name="connsiteY113" fmla="*/ 105076 h 126580"/>
                <a:gd name="connsiteX114" fmla="*/ 68096 w 161768"/>
                <a:gd name="connsiteY114" fmla="*/ 99212 h 126580"/>
                <a:gd name="connsiteX115" fmla="*/ 64838 w 161768"/>
                <a:gd name="connsiteY115" fmla="*/ 95302 h 126580"/>
                <a:gd name="connsiteX116" fmla="*/ 64838 w 161768"/>
                <a:gd name="connsiteY116" fmla="*/ 95302 h 126580"/>
                <a:gd name="connsiteX117" fmla="*/ 41216 w 161768"/>
                <a:gd name="connsiteY117" fmla="*/ 82432 h 126580"/>
                <a:gd name="connsiteX118" fmla="*/ 49035 w 161768"/>
                <a:gd name="connsiteY118" fmla="*/ 80966 h 126580"/>
                <a:gd name="connsiteX119" fmla="*/ 54574 w 161768"/>
                <a:gd name="connsiteY119" fmla="*/ 83898 h 126580"/>
                <a:gd name="connsiteX120" fmla="*/ 57996 w 161768"/>
                <a:gd name="connsiteY120" fmla="*/ 83410 h 126580"/>
                <a:gd name="connsiteX121" fmla="*/ 61254 w 161768"/>
                <a:gd name="connsiteY121" fmla="*/ 90578 h 126580"/>
                <a:gd name="connsiteX122" fmla="*/ 62557 w 161768"/>
                <a:gd name="connsiteY122" fmla="*/ 94650 h 126580"/>
                <a:gd name="connsiteX123" fmla="*/ 59462 w 161768"/>
                <a:gd name="connsiteY123" fmla="*/ 100678 h 126580"/>
                <a:gd name="connsiteX124" fmla="*/ 54412 w 161768"/>
                <a:gd name="connsiteY124" fmla="*/ 101655 h 126580"/>
                <a:gd name="connsiteX125" fmla="*/ 51642 w 161768"/>
                <a:gd name="connsiteY125" fmla="*/ 99863 h 126580"/>
                <a:gd name="connsiteX126" fmla="*/ 47406 w 161768"/>
                <a:gd name="connsiteY126" fmla="*/ 99375 h 126580"/>
                <a:gd name="connsiteX127" fmla="*/ 42682 w 161768"/>
                <a:gd name="connsiteY127" fmla="*/ 94324 h 126580"/>
                <a:gd name="connsiteX128" fmla="*/ 40076 w 161768"/>
                <a:gd name="connsiteY128" fmla="*/ 88786 h 126580"/>
                <a:gd name="connsiteX129" fmla="*/ 41216 w 161768"/>
                <a:gd name="connsiteY129" fmla="*/ 82595 h 126580"/>
                <a:gd name="connsiteX130" fmla="*/ 41216 w 161768"/>
                <a:gd name="connsiteY130" fmla="*/ 82595 h 126580"/>
                <a:gd name="connsiteX131" fmla="*/ 61742 w 161768"/>
                <a:gd name="connsiteY131" fmla="*/ 18246 h 126580"/>
                <a:gd name="connsiteX132" fmla="*/ 64186 w 161768"/>
                <a:gd name="connsiteY132" fmla="*/ 15151 h 126580"/>
                <a:gd name="connsiteX133" fmla="*/ 69725 w 161768"/>
                <a:gd name="connsiteY133" fmla="*/ 15151 h 126580"/>
                <a:gd name="connsiteX134" fmla="*/ 65652 w 161768"/>
                <a:gd name="connsiteY134" fmla="*/ 18246 h 126580"/>
                <a:gd name="connsiteX135" fmla="*/ 61905 w 161768"/>
                <a:gd name="connsiteY135" fmla="*/ 18246 h 126580"/>
                <a:gd name="connsiteX136" fmla="*/ 16128 w 161768"/>
                <a:gd name="connsiteY136" fmla="*/ 42356 h 126580"/>
                <a:gd name="connsiteX137" fmla="*/ 15639 w 161768"/>
                <a:gd name="connsiteY137" fmla="*/ 37143 h 126580"/>
                <a:gd name="connsiteX138" fmla="*/ 19386 w 161768"/>
                <a:gd name="connsiteY138" fmla="*/ 33559 h 126580"/>
                <a:gd name="connsiteX139" fmla="*/ 23458 w 161768"/>
                <a:gd name="connsiteY139" fmla="*/ 33233 h 126580"/>
                <a:gd name="connsiteX140" fmla="*/ 22644 w 161768"/>
                <a:gd name="connsiteY140" fmla="*/ 36492 h 126580"/>
                <a:gd name="connsiteX141" fmla="*/ 18571 w 161768"/>
                <a:gd name="connsiteY141" fmla="*/ 41053 h 126580"/>
                <a:gd name="connsiteX142" fmla="*/ 15965 w 161768"/>
                <a:gd name="connsiteY142" fmla="*/ 42194 h 126580"/>
                <a:gd name="connsiteX143" fmla="*/ 15965 w 161768"/>
                <a:gd name="connsiteY143" fmla="*/ 42194 h 126580"/>
                <a:gd name="connsiteX144" fmla="*/ 14499 w 161768"/>
                <a:gd name="connsiteY144" fmla="*/ 44963 h 126580"/>
                <a:gd name="connsiteX145" fmla="*/ 13358 w 161768"/>
                <a:gd name="connsiteY145" fmla="*/ 38284 h 126580"/>
                <a:gd name="connsiteX146" fmla="*/ 14499 w 161768"/>
                <a:gd name="connsiteY146" fmla="*/ 34700 h 126580"/>
                <a:gd name="connsiteX147" fmla="*/ 22970 w 161768"/>
                <a:gd name="connsiteY147" fmla="*/ 29324 h 126580"/>
                <a:gd name="connsiteX148" fmla="*/ 24110 w 161768"/>
                <a:gd name="connsiteY148" fmla="*/ 30301 h 126580"/>
                <a:gd name="connsiteX149" fmla="*/ 28346 w 161768"/>
                <a:gd name="connsiteY149" fmla="*/ 29649 h 126580"/>
                <a:gd name="connsiteX150" fmla="*/ 33885 w 161768"/>
                <a:gd name="connsiteY150" fmla="*/ 30790 h 126580"/>
                <a:gd name="connsiteX151" fmla="*/ 37632 w 161768"/>
                <a:gd name="connsiteY151" fmla="*/ 29487 h 126580"/>
                <a:gd name="connsiteX152" fmla="*/ 42682 w 161768"/>
                <a:gd name="connsiteY152" fmla="*/ 29487 h 126580"/>
                <a:gd name="connsiteX153" fmla="*/ 46917 w 161768"/>
                <a:gd name="connsiteY153" fmla="*/ 31279 h 126580"/>
                <a:gd name="connsiteX154" fmla="*/ 49687 w 161768"/>
                <a:gd name="connsiteY154" fmla="*/ 29975 h 126580"/>
                <a:gd name="connsiteX155" fmla="*/ 54737 w 161768"/>
                <a:gd name="connsiteY155" fmla="*/ 21341 h 126580"/>
                <a:gd name="connsiteX156" fmla="*/ 53597 w 161768"/>
                <a:gd name="connsiteY156" fmla="*/ 15965 h 126580"/>
                <a:gd name="connsiteX157" fmla="*/ 54574 w 161768"/>
                <a:gd name="connsiteY157" fmla="*/ 13684 h 126580"/>
                <a:gd name="connsiteX158" fmla="*/ 53434 w 161768"/>
                <a:gd name="connsiteY158" fmla="*/ 8471 h 126580"/>
                <a:gd name="connsiteX159" fmla="*/ 57181 w 161768"/>
                <a:gd name="connsiteY159" fmla="*/ 1792 h 126580"/>
                <a:gd name="connsiteX160" fmla="*/ 56529 w 161768"/>
                <a:gd name="connsiteY160" fmla="*/ 0 h 126580"/>
                <a:gd name="connsiteX161" fmla="*/ 49687 w 161768"/>
                <a:gd name="connsiteY161" fmla="*/ 6842 h 126580"/>
                <a:gd name="connsiteX162" fmla="*/ 43171 w 161768"/>
                <a:gd name="connsiteY162" fmla="*/ 9775 h 126580"/>
                <a:gd name="connsiteX163" fmla="*/ 38609 w 161768"/>
                <a:gd name="connsiteY163" fmla="*/ 10263 h 126580"/>
                <a:gd name="connsiteX164" fmla="*/ 35514 w 161768"/>
                <a:gd name="connsiteY164" fmla="*/ 14988 h 126580"/>
                <a:gd name="connsiteX165" fmla="*/ 32907 w 161768"/>
                <a:gd name="connsiteY165" fmla="*/ 20852 h 126580"/>
                <a:gd name="connsiteX166" fmla="*/ 27857 w 161768"/>
                <a:gd name="connsiteY166" fmla="*/ 24273 h 126580"/>
                <a:gd name="connsiteX167" fmla="*/ 22318 w 161768"/>
                <a:gd name="connsiteY167" fmla="*/ 24273 h 126580"/>
                <a:gd name="connsiteX168" fmla="*/ 15802 w 161768"/>
                <a:gd name="connsiteY168" fmla="*/ 29487 h 126580"/>
                <a:gd name="connsiteX169" fmla="*/ 14010 w 161768"/>
                <a:gd name="connsiteY169" fmla="*/ 28183 h 126580"/>
                <a:gd name="connsiteX170" fmla="*/ 10263 w 161768"/>
                <a:gd name="connsiteY170" fmla="*/ 28183 h 126580"/>
                <a:gd name="connsiteX171" fmla="*/ 8634 w 161768"/>
                <a:gd name="connsiteY171" fmla="*/ 33885 h 126580"/>
                <a:gd name="connsiteX172" fmla="*/ 4724 w 161768"/>
                <a:gd name="connsiteY172" fmla="*/ 37795 h 126580"/>
                <a:gd name="connsiteX173" fmla="*/ 7168 w 161768"/>
                <a:gd name="connsiteY173" fmla="*/ 39750 h 126580"/>
                <a:gd name="connsiteX174" fmla="*/ 9449 w 161768"/>
                <a:gd name="connsiteY174" fmla="*/ 38447 h 126580"/>
                <a:gd name="connsiteX175" fmla="*/ 14824 w 161768"/>
                <a:gd name="connsiteY175" fmla="*/ 44474 h 126580"/>
                <a:gd name="connsiteX176" fmla="*/ 14824 w 161768"/>
                <a:gd name="connsiteY176" fmla="*/ 44474 h 126580"/>
                <a:gd name="connsiteX177" fmla="*/ 36491 w 161768"/>
                <a:gd name="connsiteY177" fmla="*/ 105402 h 126580"/>
                <a:gd name="connsiteX178" fmla="*/ 36165 w 161768"/>
                <a:gd name="connsiteY178" fmla="*/ 105076 h 126580"/>
                <a:gd name="connsiteX179" fmla="*/ 37469 w 161768"/>
                <a:gd name="connsiteY179" fmla="*/ 101981 h 126580"/>
                <a:gd name="connsiteX180" fmla="*/ 34048 w 161768"/>
                <a:gd name="connsiteY180" fmla="*/ 98560 h 126580"/>
                <a:gd name="connsiteX181" fmla="*/ 32093 w 161768"/>
                <a:gd name="connsiteY181" fmla="*/ 98560 h 126580"/>
                <a:gd name="connsiteX182" fmla="*/ 32093 w 161768"/>
                <a:gd name="connsiteY182" fmla="*/ 95139 h 126580"/>
                <a:gd name="connsiteX183" fmla="*/ 35188 w 161768"/>
                <a:gd name="connsiteY183" fmla="*/ 92695 h 126580"/>
                <a:gd name="connsiteX184" fmla="*/ 35514 w 161768"/>
                <a:gd name="connsiteY184" fmla="*/ 88786 h 126580"/>
                <a:gd name="connsiteX185" fmla="*/ 33071 w 161768"/>
                <a:gd name="connsiteY185" fmla="*/ 87645 h 126580"/>
                <a:gd name="connsiteX186" fmla="*/ 33071 w 161768"/>
                <a:gd name="connsiteY186" fmla="*/ 84224 h 126580"/>
                <a:gd name="connsiteX187" fmla="*/ 43171 w 161768"/>
                <a:gd name="connsiteY187" fmla="*/ 79174 h 126580"/>
                <a:gd name="connsiteX188" fmla="*/ 41053 w 161768"/>
                <a:gd name="connsiteY188" fmla="*/ 77382 h 126580"/>
                <a:gd name="connsiteX189" fmla="*/ 44800 w 161768"/>
                <a:gd name="connsiteY189" fmla="*/ 73309 h 126580"/>
                <a:gd name="connsiteX190" fmla="*/ 46917 w 161768"/>
                <a:gd name="connsiteY190" fmla="*/ 74612 h 126580"/>
                <a:gd name="connsiteX191" fmla="*/ 52131 w 161768"/>
                <a:gd name="connsiteY191" fmla="*/ 72657 h 126580"/>
                <a:gd name="connsiteX192" fmla="*/ 52131 w 161768"/>
                <a:gd name="connsiteY192" fmla="*/ 65652 h 126580"/>
                <a:gd name="connsiteX193" fmla="*/ 49687 w 161768"/>
                <a:gd name="connsiteY193" fmla="*/ 60928 h 126580"/>
                <a:gd name="connsiteX194" fmla="*/ 52782 w 161768"/>
                <a:gd name="connsiteY194" fmla="*/ 57833 h 126580"/>
                <a:gd name="connsiteX195" fmla="*/ 57181 w 161768"/>
                <a:gd name="connsiteY195" fmla="*/ 57181 h 126580"/>
                <a:gd name="connsiteX196" fmla="*/ 60276 w 161768"/>
                <a:gd name="connsiteY196" fmla="*/ 60602 h 126580"/>
                <a:gd name="connsiteX197" fmla="*/ 62068 w 161768"/>
                <a:gd name="connsiteY197" fmla="*/ 59299 h 126580"/>
                <a:gd name="connsiteX198" fmla="*/ 64023 w 161768"/>
                <a:gd name="connsiteY198" fmla="*/ 60114 h 126580"/>
                <a:gd name="connsiteX199" fmla="*/ 65815 w 161768"/>
                <a:gd name="connsiteY199" fmla="*/ 57670 h 126580"/>
                <a:gd name="connsiteX200" fmla="*/ 67281 w 161768"/>
                <a:gd name="connsiteY200" fmla="*/ 53434 h 126580"/>
                <a:gd name="connsiteX201" fmla="*/ 62883 w 161768"/>
                <a:gd name="connsiteY201" fmla="*/ 48547 h 126580"/>
                <a:gd name="connsiteX202" fmla="*/ 60439 w 161768"/>
                <a:gd name="connsiteY202" fmla="*/ 50502 h 126580"/>
                <a:gd name="connsiteX203" fmla="*/ 54412 w 161768"/>
                <a:gd name="connsiteY203" fmla="*/ 50502 h 126580"/>
                <a:gd name="connsiteX204" fmla="*/ 51479 w 161768"/>
                <a:gd name="connsiteY204" fmla="*/ 47244 h 126580"/>
                <a:gd name="connsiteX205" fmla="*/ 48710 w 161768"/>
                <a:gd name="connsiteY205" fmla="*/ 43171 h 126580"/>
                <a:gd name="connsiteX206" fmla="*/ 46266 w 161768"/>
                <a:gd name="connsiteY206" fmla="*/ 42519 h 126580"/>
                <a:gd name="connsiteX207" fmla="*/ 48384 w 161768"/>
                <a:gd name="connsiteY207" fmla="*/ 39750 h 126580"/>
                <a:gd name="connsiteX208" fmla="*/ 48384 w 161768"/>
                <a:gd name="connsiteY208" fmla="*/ 34537 h 126580"/>
                <a:gd name="connsiteX209" fmla="*/ 43496 w 161768"/>
                <a:gd name="connsiteY209" fmla="*/ 31279 h 126580"/>
                <a:gd name="connsiteX210" fmla="*/ 36003 w 161768"/>
                <a:gd name="connsiteY210" fmla="*/ 31930 h 126580"/>
                <a:gd name="connsiteX211" fmla="*/ 32256 w 161768"/>
                <a:gd name="connsiteY211" fmla="*/ 33722 h 126580"/>
                <a:gd name="connsiteX212" fmla="*/ 28183 w 161768"/>
                <a:gd name="connsiteY212" fmla="*/ 33071 h 126580"/>
                <a:gd name="connsiteX213" fmla="*/ 26228 w 161768"/>
                <a:gd name="connsiteY213" fmla="*/ 34863 h 126580"/>
                <a:gd name="connsiteX214" fmla="*/ 30464 w 161768"/>
                <a:gd name="connsiteY214" fmla="*/ 40727 h 126580"/>
                <a:gd name="connsiteX215" fmla="*/ 29323 w 161768"/>
                <a:gd name="connsiteY215" fmla="*/ 42682 h 126580"/>
                <a:gd name="connsiteX216" fmla="*/ 33396 w 161768"/>
                <a:gd name="connsiteY216" fmla="*/ 47732 h 126580"/>
                <a:gd name="connsiteX217" fmla="*/ 33071 w 161768"/>
                <a:gd name="connsiteY217" fmla="*/ 49199 h 126580"/>
                <a:gd name="connsiteX218" fmla="*/ 29160 w 161768"/>
                <a:gd name="connsiteY218" fmla="*/ 47732 h 126580"/>
                <a:gd name="connsiteX219" fmla="*/ 24925 w 161768"/>
                <a:gd name="connsiteY219" fmla="*/ 48710 h 126580"/>
                <a:gd name="connsiteX220" fmla="*/ 24110 w 161768"/>
                <a:gd name="connsiteY220" fmla="*/ 46429 h 126580"/>
                <a:gd name="connsiteX221" fmla="*/ 26880 w 161768"/>
                <a:gd name="connsiteY221" fmla="*/ 43497 h 126580"/>
                <a:gd name="connsiteX222" fmla="*/ 24110 w 161768"/>
                <a:gd name="connsiteY222" fmla="*/ 38610 h 126580"/>
                <a:gd name="connsiteX223" fmla="*/ 22807 w 161768"/>
                <a:gd name="connsiteY223" fmla="*/ 38610 h 126580"/>
                <a:gd name="connsiteX224" fmla="*/ 18734 w 161768"/>
                <a:gd name="connsiteY224" fmla="*/ 44148 h 126580"/>
                <a:gd name="connsiteX225" fmla="*/ 21015 w 161768"/>
                <a:gd name="connsiteY225" fmla="*/ 47407 h 126580"/>
                <a:gd name="connsiteX226" fmla="*/ 16128 w 161768"/>
                <a:gd name="connsiteY226" fmla="*/ 50828 h 126580"/>
                <a:gd name="connsiteX227" fmla="*/ 13196 w 161768"/>
                <a:gd name="connsiteY227" fmla="*/ 47569 h 126580"/>
                <a:gd name="connsiteX228" fmla="*/ 8960 w 161768"/>
                <a:gd name="connsiteY228" fmla="*/ 47569 h 126580"/>
                <a:gd name="connsiteX229" fmla="*/ 6028 w 161768"/>
                <a:gd name="connsiteY229" fmla="*/ 45940 h 126580"/>
                <a:gd name="connsiteX230" fmla="*/ 2606 w 161768"/>
                <a:gd name="connsiteY230" fmla="*/ 49687 h 126580"/>
                <a:gd name="connsiteX231" fmla="*/ 7982 w 161768"/>
                <a:gd name="connsiteY231" fmla="*/ 53760 h 126580"/>
                <a:gd name="connsiteX232" fmla="*/ 7982 w 161768"/>
                <a:gd name="connsiteY232" fmla="*/ 58647 h 126580"/>
                <a:gd name="connsiteX233" fmla="*/ 4724 w 161768"/>
                <a:gd name="connsiteY233" fmla="*/ 56204 h 126580"/>
                <a:gd name="connsiteX234" fmla="*/ 2606 w 161768"/>
                <a:gd name="connsiteY234" fmla="*/ 56855 h 126580"/>
                <a:gd name="connsiteX235" fmla="*/ 3584 w 161768"/>
                <a:gd name="connsiteY235" fmla="*/ 63209 h 126580"/>
                <a:gd name="connsiteX236" fmla="*/ 7005 w 161768"/>
                <a:gd name="connsiteY236" fmla="*/ 65164 h 126580"/>
                <a:gd name="connsiteX237" fmla="*/ 7005 w 161768"/>
                <a:gd name="connsiteY237" fmla="*/ 71028 h 126580"/>
                <a:gd name="connsiteX238" fmla="*/ 9937 w 161768"/>
                <a:gd name="connsiteY238" fmla="*/ 73961 h 126580"/>
                <a:gd name="connsiteX239" fmla="*/ 2932 w 161768"/>
                <a:gd name="connsiteY239" fmla="*/ 77219 h 126580"/>
                <a:gd name="connsiteX240" fmla="*/ 0 w 161768"/>
                <a:gd name="connsiteY240" fmla="*/ 84550 h 126580"/>
                <a:gd name="connsiteX241" fmla="*/ 2932 w 161768"/>
                <a:gd name="connsiteY241" fmla="*/ 86831 h 126580"/>
                <a:gd name="connsiteX242" fmla="*/ 7168 w 161768"/>
                <a:gd name="connsiteY242" fmla="*/ 84550 h 126580"/>
                <a:gd name="connsiteX243" fmla="*/ 13033 w 161768"/>
                <a:gd name="connsiteY243" fmla="*/ 89763 h 126580"/>
                <a:gd name="connsiteX244" fmla="*/ 14173 w 161768"/>
                <a:gd name="connsiteY244" fmla="*/ 97583 h 126580"/>
                <a:gd name="connsiteX245" fmla="*/ 12055 w 161768"/>
                <a:gd name="connsiteY245" fmla="*/ 98886 h 126580"/>
                <a:gd name="connsiteX246" fmla="*/ 13196 w 161768"/>
                <a:gd name="connsiteY246" fmla="*/ 102796 h 126580"/>
                <a:gd name="connsiteX247" fmla="*/ 19874 w 161768"/>
                <a:gd name="connsiteY247" fmla="*/ 102470 h 126580"/>
                <a:gd name="connsiteX248" fmla="*/ 29323 w 161768"/>
                <a:gd name="connsiteY248" fmla="*/ 105076 h 126580"/>
                <a:gd name="connsiteX249" fmla="*/ 32093 w 161768"/>
                <a:gd name="connsiteY249" fmla="*/ 106380 h 126580"/>
                <a:gd name="connsiteX250" fmla="*/ 36655 w 161768"/>
                <a:gd name="connsiteY250" fmla="*/ 105565 h 1265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</a:cxnLst>
              <a:rect l="l" t="t" r="r" b="b"/>
              <a:pathLst>
                <a:path w="161768" h="126580">
                  <a:moveTo>
                    <a:pt x="115828" y="122996"/>
                  </a:moveTo>
                  <a:lnTo>
                    <a:pt x="117294" y="124788"/>
                  </a:lnTo>
                  <a:lnTo>
                    <a:pt x="122508" y="126580"/>
                  </a:lnTo>
                  <a:lnTo>
                    <a:pt x="125765" y="122019"/>
                  </a:lnTo>
                  <a:lnTo>
                    <a:pt x="128861" y="122996"/>
                  </a:lnTo>
                  <a:lnTo>
                    <a:pt x="129187" y="120716"/>
                  </a:lnTo>
                  <a:lnTo>
                    <a:pt x="126906" y="116806"/>
                  </a:lnTo>
                  <a:lnTo>
                    <a:pt x="128046" y="112570"/>
                  </a:lnTo>
                  <a:lnTo>
                    <a:pt x="124299" y="111756"/>
                  </a:lnTo>
                  <a:lnTo>
                    <a:pt x="122508" y="112733"/>
                  </a:lnTo>
                  <a:lnTo>
                    <a:pt x="120878" y="111756"/>
                  </a:lnTo>
                  <a:lnTo>
                    <a:pt x="116969" y="112733"/>
                  </a:lnTo>
                  <a:lnTo>
                    <a:pt x="117294" y="115828"/>
                  </a:lnTo>
                  <a:lnTo>
                    <a:pt x="121204" y="116154"/>
                  </a:lnTo>
                  <a:lnTo>
                    <a:pt x="120064" y="117457"/>
                  </a:lnTo>
                  <a:lnTo>
                    <a:pt x="116969" y="119249"/>
                  </a:lnTo>
                  <a:lnTo>
                    <a:pt x="115828" y="122996"/>
                  </a:lnTo>
                  <a:lnTo>
                    <a:pt x="115828" y="122996"/>
                  </a:lnTo>
                  <a:close/>
                  <a:moveTo>
                    <a:pt x="152646" y="87482"/>
                  </a:moveTo>
                  <a:lnTo>
                    <a:pt x="151342" y="94161"/>
                  </a:lnTo>
                  <a:lnTo>
                    <a:pt x="152646" y="98886"/>
                  </a:lnTo>
                  <a:lnTo>
                    <a:pt x="160791" y="101655"/>
                  </a:lnTo>
                  <a:lnTo>
                    <a:pt x="161769" y="97257"/>
                  </a:lnTo>
                  <a:lnTo>
                    <a:pt x="157370" y="90089"/>
                  </a:lnTo>
                  <a:lnTo>
                    <a:pt x="152808" y="87319"/>
                  </a:lnTo>
                  <a:lnTo>
                    <a:pt x="152808" y="87319"/>
                  </a:lnTo>
                  <a:close/>
                  <a:moveTo>
                    <a:pt x="102633" y="75916"/>
                  </a:moveTo>
                  <a:lnTo>
                    <a:pt x="100840" y="81292"/>
                  </a:lnTo>
                  <a:lnTo>
                    <a:pt x="104262" y="82432"/>
                  </a:lnTo>
                  <a:lnTo>
                    <a:pt x="102633" y="75916"/>
                  </a:lnTo>
                  <a:lnTo>
                    <a:pt x="102633" y="75916"/>
                  </a:lnTo>
                  <a:close/>
                  <a:moveTo>
                    <a:pt x="89926" y="101167"/>
                  </a:moveTo>
                  <a:lnTo>
                    <a:pt x="86016" y="101167"/>
                  </a:lnTo>
                  <a:cubicBezTo>
                    <a:pt x="86016" y="101167"/>
                    <a:pt x="84061" y="98723"/>
                    <a:pt x="84061" y="98723"/>
                  </a:cubicBezTo>
                  <a:lnTo>
                    <a:pt x="86342" y="96116"/>
                  </a:lnTo>
                  <a:lnTo>
                    <a:pt x="85364" y="93836"/>
                  </a:lnTo>
                  <a:lnTo>
                    <a:pt x="79499" y="92207"/>
                  </a:lnTo>
                  <a:lnTo>
                    <a:pt x="76241" y="92207"/>
                  </a:lnTo>
                  <a:lnTo>
                    <a:pt x="73309" y="88623"/>
                  </a:lnTo>
                  <a:lnTo>
                    <a:pt x="73635" y="83410"/>
                  </a:lnTo>
                  <a:lnTo>
                    <a:pt x="71680" y="80314"/>
                  </a:lnTo>
                  <a:lnTo>
                    <a:pt x="71028" y="76567"/>
                  </a:lnTo>
                  <a:lnTo>
                    <a:pt x="74123" y="75590"/>
                  </a:lnTo>
                  <a:lnTo>
                    <a:pt x="76078" y="71680"/>
                  </a:lnTo>
                  <a:lnTo>
                    <a:pt x="78522" y="70051"/>
                  </a:lnTo>
                  <a:lnTo>
                    <a:pt x="80965" y="73146"/>
                  </a:lnTo>
                  <a:lnTo>
                    <a:pt x="80965" y="75590"/>
                  </a:lnTo>
                  <a:cubicBezTo>
                    <a:pt x="80965" y="75590"/>
                    <a:pt x="85690" y="78685"/>
                    <a:pt x="85690" y="78685"/>
                  </a:cubicBezTo>
                  <a:lnTo>
                    <a:pt x="86830" y="77382"/>
                  </a:lnTo>
                  <a:lnTo>
                    <a:pt x="89437" y="78033"/>
                  </a:lnTo>
                  <a:lnTo>
                    <a:pt x="89763" y="75427"/>
                  </a:lnTo>
                  <a:lnTo>
                    <a:pt x="85853" y="72820"/>
                  </a:lnTo>
                  <a:lnTo>
                    <a:pt x="84061" y="70540"/>
                  </a:lnTo>
                  <a:lnTo>
                    <a:pt x="86505" y="65978"/>
                  </a:lnTo>
                  <a:lnTo>
                    <a:pt x="93184" y="64349"/>
                  </a:lnTo>
                  <a:lnTo>
                    <a:pt x="99049" y="64023"/>
                  </a:lnTo>
                  <a:lnTo>
                    <a:pt x="100515" y="68259"/>
                  </a:lnTo>
                  <a:lnTo>
                    <a:pt x="101003" y="73798"/>
                  </a:lnTo>
                  <a:lnTo>
                    <a:pt x="99374" y="79826"/>
                  </a:lnTo>
                  <a:lnTo>
                    <a:pt x="93998" y="82432"/>
                  </a:lnTo>
                  <a:lnTo>
                    <a:pt x="93998" y="84224"/>
                  </a:lnTo>
                  <a:lnTo>
                    <a:pt x="98560" y="87319"/>
                  </a:lnTo>
                  <a:lnTo>
                    <a:pt x="99537" y="90415"/>
                  </a:lnTo>
                  <a:lnTo>
                    <a:pt x="96931" y="92858"/>
                  </a:lnTo>
                  <a:lnTo>
                    <a:pt x="91555" y="95139"/>
                  </a:lnTo>
                  <a:lnTo>
                    <a:pt x="91555" y="98560"/>
                  </a:lnTo>
                  <a:cubicBezTo>
                    <a:pt x="91555" y="98560"/>
                    <a:pt x="89763" y="101330"/>
                    <a:pt x="89763" y="101330"/>
                  </a:cubicBezTo>
                  <a:lnTo>
                    <a:pt x="89763" y="101330"/>
                  </a:lnTo>
                  <a:close/>
                  <a:moveTo>
                    <a:pt x="92858" y="102633"/>
                  </a:moveTo>
                  <a:lnTo>
                    <a:pt x="93673" y="104588"/>
                  </a:lnTo>
                  <a:lnTo>
                    <a:pt x="95953" y="101330"/>
                  </a:lnTo>
                  <a:lnTo>
                    <a:pt x="99374" y="100678"/>
                  </a:lnTo>
                  <a:lnTo>
                    <a:pt x="98723" y="97908"/>
                  </a:lnTo>
                  <a:lnTo>
                    <a:pt x="94976" y="99538"/>
                  </a:lnTo>
                  <a:lnTo>
                    <a:pt x="92858" y="102796"/>
                  </a:lnTo>
                  <a:lnTo>
                    <a:pt x="92858" y="102796"/>
                  </a:lnTo>
                  <a:close/>
                  <a:moveTo>
                    <a:pt x="73798" y="101818"/>
                  </a:moveTo>
                  <a:lnTo>
                    <a:pt x="78522" y="108498"/>
                  </a:lnTo>
                  <a:lnTo>
                    <a:pt x="81780" y="107520"/>
                  </a:lnTo>
                  <a:lnTo>
                    <a:pt x="84387" y="107520"/>
                  </a:lnTo>
                  <a:lnTo>
                    <a:pt x="86016" y="103610"/>
                  </a:lnTo>
                  <a:lnTo>
                    <a:pt x="90089" y="103610"/>
                  </a:lnTo>
                  <a:cubicBezTo>
                    <a:pt x="90089" y="103610"/>
                    <a:pt x="91066" y="103122"/>
                    <a:pt x="91066" y="103122"/>
                  </a:cubicBezTo>
                  <a:lnTo>
                    <a:pt x="91881" y="106706"/>
                  </a:lnTo>
                  <a:lnTo>
                    <a:pt x="89600" y="111104"/>
                  </a:lnTo>
                  <a:lnTo>
                    <a:pt x="89600" y="115177"/>
                  </a:lnTo>
                  <a:cubicBezTo>
                    <a:pt x="89600" y="115177"/>
                    <a:pt x="88460" y="114525"/>
                    <a:pt x="88460" y="114525"/>
                  </a:cubicBezTo>
                  <a:lnTo>
                    <a:pt x="87156" y="110615"/>
                  </a:lnTo>
                  <a:lnTo>
                    <a:pt x="84712" y="113711"/>
                  </a:lnTo>
                  <a:lnTo>
                    <a:pt x="77544" y="114362"/>
                  </a:lnTo>
                  <a:lnTo>
                    <a:pt x="70214" y="111919"/>
                  </a:lnTo>
                  <a:lnTo>
                    <a:pt x="68258" y="108986"/>
                  </a:lnTo>
                  <a:lnTo>
                    <a:pt x="71191" y="107846"/>
                  </a:lnTo>
                  <a:lnTo>
                    <a:pt x="69399" y="105565"/>
                  </a:lnTo>
                  <a:lnTo>
                    <a:pt x="71354" y="102307"/>
                  </a:lnTo>
                  <a:lnTo>
                    <a:pt x="73798" y="101655"/>
                  </a:lnTo>
                  <a:lnTo>
                    <a:pt x="73798" y="101655"/>
                  </a:lnTo>
                  <a:close/>
                  <a:moveTo>
                    <a:pt x="55552" y="76241"/>
                  </a:moveTo>
                  <a:lnTo>
                    <a:pt x="57996" y="72332"/>
                  </a:lnTo>
                  <a:lnTo>
                    <a:pt x="57996" y="65327"/>
                  </a:lnTo>
                  <a:cubicBezTo>
                    <a:pt x="57996" y="65327"/>
                    <a:pt x="59950" y="71843"/>
                    <a:pt x="59950" y="71843"/>
                  </a:cubicBezTo>
                  <a:lnTo>
                    <a:pt x="59462" y="75427"/>
                  </a:lnTo>
                  <a:lnTo>
                    <a:pt x="55552" y="76241"/>
                  </a:lnTo>
                  <a:lnTo>
                    <a:pt x="55552" y="76241"/>
                  </a:lnTo>
                  <a:close/>
                  <a:moveTo>
                    <a:pt x="52945" y="103610"/>
                  </a:moveTo>
                  <a:lnTo>
                    <a:pt x="56692" y="107357"/>
                  </a:lnTo>
                  <a:lnTo>
                    <a:pt x="58484" y="105728"/>
                  </a:lnTo>
                  <a:lnTo>
                    <a:pt x="52782" y="103610"/>
                  </a:lnTo>
                  <a:lnTo>
                    <a:pt x="52782" y="103610"/>
                  </a:lnTo>
                  <a:close/>
                  <a:moveTo>
                    <a:pt x="64674" y="95302"/>
                  </a:moveTo>
                  <a:lnTo>
                    <a:pt x="63371" y="102470"/>
                  </a:lnTo>
                  <a:lnTo>
                    <a:pt x="61417" y="106543"/>
                  </a:lnTo>
                  <a:lnTo>
                    <a:pt x="62394" y="108986"/>
                  </a:lnTo>
                  <a:lnTo>
                    <a:pt x="65164" y="105076"/>
                  </a:lnTo>
                  <a:lnTo>
                    <a:pt x="68096" y="99212"/>
                  </a:lnTo>
                  <a:cubicBezTo>
                    <a:pt x="68096" y="99212"/>
                    <a:pt x="64186" y="95465"/>
                    <a:pt x="64838" y="95302"/>
                  </a:cubicBezTo>
                  <a:lnTo>
                    <a:pt x="64838" y="95302"/>
                  </a:lnTo>
                  <a:close/>
                  <a:moveTo>
                    <a:pt x="41216" y="82432"/>
                  </a:moveTo>
                  <a:lnTo>
                    <a:pt x="49035" y="80966"/>
                  </a:lnTo>
                  <a:lnTo>
                    <a:pt x="54574" y="83898"/>
                  </a:lnTo>
                  <a:lnTo>
                    <a:pt x="57996" y="83410"/>
                  </a:lnTo>
                  <a:lnTo>
                    <a:pt x="61254" y="90578"/>
                  </a:lnTo>
                  <a:lnTo>
                    <a:pt x="62557" y="94650"/>
                  </a:lnTo>
                  <a:lnTo>
                    <a:pt x="59462" y="100678"/>
                  </a:lnTo>
                  <a:lnTo>
                    <a:pt x="54412" y="101655"/>
                  </a:lnTo>
                  <a:lnTo>
                    <a:pt x="51642" y="99863"/>
                  </a:lnTo>
                  <a:lnTo>
                    <a:pt x="47406" y="99375"/>
                  </a:lnTo>
                  <a:lnTo>
                    <a:pt x="42682" y="94324"/>
                  </a:lnTo>
                  <a:lnTo>
                    <a:pt x="40076" y="88786"/>
                  </a:lnTo>
                  <a:lnTo>
                    <a:pt x="41216" y="82595"/>
                  </a:lnTo>
                  <a:lnTo>
                    <a:pt x="41216" y="82595"/>
                  </a:lnTo>
                  <a:close/>
                  <a:moveTo>
                    <a:pt x="61742" y="18246"/>
                  </a:moveTo>
                  <a:lnTo>
                    <a:pt x="64186" y="15151"/>
                  </a:lnTo>
                  <a:lnTo>
                    <a:pt x="69725" y="15151"/>
                  </a:lnTo>
                  <a:lnTo>
                    <a:pt x="65652" y="18246"/>
                  </a:lnTo>
                  <a:lnTo>
                    <a:pt x="61905" y="18246"/>
                  </a:lnTo>
                  <a:close/>
                  <a:moveTo>
                    <a:pt x="16128" y="42356"/>
                  </a:moveTo>
                  <a:lnTo>
                    <a:pt x="15639" y="37143"/>
                  </a:lnTo>
                  <a:lnTo>
                    <a:pt x="19386" y="33559"/>
                  </a:lnTo>
                  <a:lnTo>
                    <a:pt x="23458" y="33233"/>
                  </a:lnTo>
                  <a:lnTo>
                    <a:pt x="22644" y="36492"/>
                  </a:lnTo>
                  <a:lnTo>
                    <a:pt x="18571" y="41053"/>
                  </a:lnTo>
                  <a:lnTo>
                    <a:pt x="15965" y="42194"/>
                  </a:lnTo>
                  <a:lnTo>
                    <a:pt x="15965" y="42194"/>
                  </a:lnTo>
                  <a:close/>
                  <a:moveTo>
                    <a:pt x="14499" y="44963"/>
                  </a:moveTo>
                  <a:lnTo>
                    <a:pt x="13358" y="38284"/>
                  </a:lnTo>
                  <a:lnTo>
                    <a:pt x="14499" y="34700"/>
                  </a:lnTo>
                  <a:lnTo>
                    <a:pt x="22970" y="29324"/>
                  </a:lnTo>
                  <a:lnTo>
                    <a:pt x="24110" y="30301"/>
                  </a:lnTo>
                  <a:lnTo>
                    <a:pt x="28346" y="29649"/>
                  </a:lnTo>
                  <a:lnTo>
                    <a:pt x="33885" y="30790"/>
                  </a:lnTo>
                  <a:lnTo>
                    <a:pt x="37632" y="29487"/>
                  </a:lnTo>
                  <a:lnTo>
                    <a:pt x="42682" y="29487"/>
                  </a:lnTo>
                  <a:lnTo>
                    <a:pt x="46917" y="31279"/>
                  </a:lnTo>
                  <a:lnTo>
                    <a:pt x="49687" y="29975"/>
                  </a:lnTo>
                  <a:lnTo>
                    <a:pt x="54737" y="21341"/>
                  </a:lnTo>
                  <a:lnTo>
                    <a:pt x="53597" y="15965"/>
                  </a:lnTo>
                  <a:lnTo>
                    <a:pt x="54574" y="13684"/>
                  </a:lnTo>
                  <a:lnTo>
                    <a:pt x="53434" y="8471"/>
                  </a:lnTo>
                  <a:lnTo>
                    <a:pt x="57181" y="1792"/>
                  </a:lnTo>
                  <a:lnTo>
                    <a:pt x="56529" y="0"/>
                  </a:lnTo>
                  <a:lnTo>
                    <a:pt x="49687" y="6842"/>
                  </a:lnTo>
                  <a:lnTo>
                    <a:pt x="43171" y="9775"/>
                  </a:lnTo>
                  <a:lnTo>
                    <a:pt x="38609" y="10263"/>
                  </a:lnTo>
                  <a:lnTo>
                    <a:pt x="35514" y="14988"/>
                  </a:lnTo>
                  <a:lnTo>
                    <a:pt x="32907" y="20852"/>
                  </a:lnTo>
                  <a:lnTo>
                    <a:pt x="27857" y="24273"/>
                  </a:lnTo>
                  <a:lnTo>
                    <a:pt x="22318" y="24273"/>
                  </a:lnTo>
                  <a:lnTo>
                    <a:pt x="15802" y="29487"/>
                  </a:lnTo>
                  <a:lnTo>
                    <a:pt x="14010" y="28183"/>
                  </a:lnTo>
                  <a:lnTo>
                    <a:pt x="10263" y="28183"/>
                  </a:lnTo>
                  <a:cubicBezTo>
                    <a:pt x="10263" y="28183"/>
                    <a:pt x="8634" y="33885"/>
                    <a:pt x="8634" y="33885"/>
                  </a:cubicBezTo>
                  <a:lnTo>
                    <a:pt x="4724" y="37795"/>
                  </a:lnTo>
                  <a:lnTo>
                    <a:pt x="7168" y="39750"/>
                  </a:lnTo>
                  <a:lnTo>
                    <a:pt x="9449" y="38447"/>
                  </a:lnTo>
                  <a:lnTo>
                    <a:pt x="14824" y="44474"/>
                  </a:lnTo>
                  <a:lnTo>
                    <a:pt x="14824" y="44474"/>
                  </a:lnTo>
                  <a:close/>
                  <a:moveTo>
                    <a:pt x="36491" y="105402"/>
                  </a:moveTo>
                  <a:lnTo>
                    <a:pt x="36165" y="105076"/>
                  </a:lnTo>
                  <a:lnTo>
                    <a:pt x="37469" y="101981"/>
                  </a:lnTo>
                  <a:lnTo>
                    <a:pt x="34048" y="98560"/>
                  </a:lnTo>
                  <a:lnTo>
                    <a:pt x="32093" y="98560"/>
                  </a:lnTo>
                  <a:lnTo>
                    <a:pt x="32093" y="95139"/>
                  </a:lnTo>
                  <a:cubicBezTo>
                    <a:pt x="32093" y="95139"/>
                    <a:pt x="35188" y="92695"/>
                    <a:pt x="35188" y="92695"/>
                  </a:cubicBezTo>
                  <a:lnTo>
                    <a:pt x="35514" y="88786"/>
                  </a:lnTo>
                  <a:lnTo>
                    <a:pt x="33071" y="87645"/>
                  </a:lnTo>
                  <a:lnTo>
                    <a:pt x="33071" y="84224"/>
                  </a:lnTo>
                  <a:cubicBezTo>
                    <a:pt x="33071" y="84224"/>
                    <a:pt x="43171" y="79174"/>
                    <a:pt x="43171" y="79174"/>
                  </a:cubicBezTo>
                  <a:lnTo>
                    <a:pt x="41053" y="77382"/>
                  </a:lnTo>
                  <a:lnTo>
                    <a:pt x="44800" y="73309"/>
                  </a:lnTo>
                  <a:lnTo>
                    <a:pt x="46917" y="74612"/>
                  </a:lnTo>
                  <a:lnTo>
                    <a:pt x="52131" y="72657"/>
                  </a:lnTo>
                  <a:lnTo>
                    <a:pt x="52131" y="65652"/>
                  </a:lnTo>
                  <a:cubicBezTo>
                    <a:pt x="52131" y="65652"/>
                    <a:pt x="49687" y="60928"/>
                    <a:pt x="49687" y="60928"/>
                  </a:cubicBezTo>
                  <a:lnTo>
                    <a:pt x="52782" y="57833"/>
                  </a:lnTo>
                  <a:lnTo>
                    <a:pt x="57181" y="57181"/>
                  </a:lnTo>
                  <a:lnTo>
                    <a:pt x="60276" y="60602"/>
                  </a:lnTo>
                  <a:lnTo>
                    <a:pt x="62068" y="59299"/>
                  </a:lnTo>
                  <a:lnTo>
                    <a:pt x="64023" y="60114"/>
                  </a:lnTo>
                  <a:lnTo>
                    <a:pt x="65815" y="57670"/>
                  </a:lnTo>
                  <a:lnTo>
                    <a:pt x="67281" y="53434"/>
                  </a:lnTo>
                  <a:lnTo>
                    <a:pt x="62883" y="48547"/>
                  </a:lnTo>
                  <a:lnTo>
                    <a:pt x="60439" y="50502"/>
                  </a:lnTo>
                  <a:lnTo>
                    <a:pt x="54412" y="50502"/>
                  </a:lnTo>
                  <a:cubicBezTo>
                    <a:pt x="54412" y="50502"/>
                    <a:pt x="51479" y="47244"/>
                    <a:pt x="51479" y="47244"/>
                  </a:cubicBezTo>
                  <a:lnTo>
                    <a:pt x="48710" y="43171"/>
                  </a:lnTo>
                  <a:lnTo>
                    <a:pt x="46266" y="42519"/>
                  </a:lnTo>
                  <a:lnTo>
                    <a:pt x="48384" y="39750"/>
                  </a:lnTo>
                  <a:lnTo>
                    <a:pt x="48384" y="34537"/>
                  </a:lnTo>
                  <a:lnTo>
                    <a:pt x="43496" y="31279"/>
                  </a:lnTo>
                  <a:lnTo>
                    <a:pt x="36003" y="31930"/>
                  </a:lnTo>
                  <a:lnTo>
                    <a:pt x="32256" y="33722"/>
                  </a:lnTo>
                  <a:lnTo>
                    <a:pt x="28183" y="33071"/>
                  </a:lnTo>
                  <a:lnTo>
                    <a:pt x="26228" y="34863"/>
                  </a:lnTo>
                  <a:lnTo>
                    <a:pt x="30464" y="40727"/>
                  </a:lnTo>
                  <a:lnTo>
                    <a:pt x="29323" y="42682"/>
                  </a:lnTo>
                  <a:lnTo>
                    <a:pt x="33396" y="47732"/>
                  </a:lnTo>
                  <a:lnTo>
                    <a:pt x="33071" y="49199"/>
                  </a:lnTo>
                  <a:lnTo>
                    <a:pt x="29160" y="47732"/>
                  </a:lnTo>
                  <a:lnTo>
                    <a:pt x="24925" y="48710"/>
                  </a:lnTo>
                  <a:lnTo>
                    <a:pt x="24110" y="46429"/>
                  </a:lnTo>
                  <a:lnTo>
                    <a:pt x="26880" y="43497"/>
                  </a:lnTo>
                  <a:lnTo>
                    <a:pt x="24110" y="38610"/>
                  </a:lnTo>
                  <a:lnTo>
                    <a:pt x="22807" y="38610"/>
                  </a:lnTo>
                  <a:lnTo>
                    <a:pt x="18734" y="44148"/>
                  </a:lnTo>
                  <a:lnTo>
                    <a:pt x="21015" y="47407"/>
                  </a:lnTo>
                  <a:lnTo>
                    <a:pt x="16128" y="50828"/>
                  </a:lnTo>
                  <a:lnTo>
                    <a:pt x="13196" y="47569"/>
                  </a:lnTo>
                  <a:lnTo>
                    <a:pt x="8960" y="47569"/>
                  </a:lnTo>
                  <a:lnTo>
                    <a:pt x="6028" y="45940"/>
                  </a:lnTo>
                  <a:lnTo>
                    <a:pt x="2606" y="49687"/>
                  </a:lnTo>
                  <a:lnTo>
                    <a:pt x="7982" y="53760"/>
                  </a:lnTo>
                  <a:lnTo>
                    <a:pt x="7982" y="58647"/>
                  </a:lnTo>
                  <a:lnTo>
                    <a:pt x="4724" y="56204"/>
                  </a:lnTo>
                  <a:lnTo>
                    <a:pt x="2606" y="56855"/>
                  </a:lnTo>
                  <a:lnTo>
                    <a:pt x="3584" y="63209"/>
                  </a:lnTo>
                  <a:lnTo>
                    <a:pt x="7005" y="65164"/>
                  </a:lnTo>
                  <a:lnTo>
                    <a:pt x="7005" y="71028"/>
                  </a:lnTo>
                  <a:lnTo>
                    <a:pt x="9937" y="73961"/>
                  </a:lnTo>
                  <a:lnTo>
                    <a:pt x="2932" y="77219"/>
                  </a:lnTo>
                  <a:lnTo>
                    <a:pt x="0" y="84550"/>
                  </a:lnTo>
                  <a:lnTo>
                    <a:pt x="2932" y="86831"/>
                  </a:lnTo>
                  <a:lnTo>
                    <a:pt x="7168" y="84550"/>
                  </a:lnTo>
                  <a:lnTo>
                    <a:pt x="13033" y="89763"/>
                  </a:lnTo>
                  <a:lnTo>
                    <a:pt x="14173" y="97583"/>
                  </a:lnTo>
                  <a:lnTo>
                    <a:pt x="12055" y="98886"/>
                  </a:lnTo>
                  <a:lnTo>
                    <a:pt x="13196" y="102796"/>
                  </a:lnTo>
                  <a:lnTo>
                    <a:pt x="19874" y="102470"/>
                  </a:lnTo>
                  <a:lnTo>
                    <a:pt x="29323" y="105076"/>
                  </a:lnTo>
                  <a:lnTo>
                    <a:pt x="32093" y="106380"/>
                  </a:lnTo>
                  <a:lnTo>
                    <a:pt x="36655" y="105565"/>
                  </a:lnTo>
                  <a:close/>
                </a:path>
              </a:pathLst>
            </a:custGeom>
            <a:solidFill>
              <a:schemeClr val="bg2"/>
            </a:solidFill>
            <a:ln w="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1" name="Forma livre: Forma 150">
              <a:extLst>
                <a:ext uri="{FF2B5EF4-FFF2-40B4-BE49-F238E27FC236}">
                  <a16:creationId xmlns:a16="http://schemas.microsoft.com/office/drawing/2014/main" id="{727EFEE8-CA49-DA92-1845-3E08796B0DF0}"/>
                </a:ext>
              </a:extLst>
            </p:cNvPr>
            <p:cNvSpPr/>
            <p:nvPr/>
          </p:nvSpPr>
          <p:spPr>
            <a:xfrm>
              <a:off x="6079132" y="2600971"/>
              <a:ext cx="538048" cy="618855"/>
            </a:xfrm>
            <a:custGeom>
              <a:avLst/>
              <a:gdLst>
                <a:gd name="connsiteX0" fmla="*/ 482862 w 520657"/>
                <a:gd name="connsiteY0" fmla="*/ 107520 h 598853"/>
                <a:gd name="connsiteX1" fmla="*/ 485958 w 520657"/>
                <a:gd name="connsiteY1" fmla="*/ 107031 h 598853"/>
                <a:gd name="connsiteX2" fmla="*/ 485958 w 520657"/>
                <a:gd name="connsiteY2" fmla="*/ 98071 h 598853"/>
                <a:gd name="connsiteX3" fmla="*/ 492963 w 520657"/>
                <a:gd name="connsiteY3" fmla="*/ 91555 h 598853"/>
                <a:gd name="connsiteX4" fmla="*/ 498991 w 520657"/>
                <a:gd name="connsiteY4" fmla="*/ 90740 h 598853"/>
                <a:gd name="connsiteX5" fmla="*/ 502900 w 520657"/>
                <a:gd name="connsiteY5" fmla="*/ 85364 h 598853"/>
                <a:gd name="connsiteX6" fmla="*/ 502412 w 520657"/>
                <a:gd name="connsiteY6" fmla="*/ 78033 h 598853"/>
                <a:gd name="connsiteX7" fmla="*/ 506648 w 520657"/>
                <a:gd name="connsiteY7" fmla="*/ 77708 h 598853"/>
                <a:gd name="connsiteX8" fmla="*/ 511860 w 520657"/>
                <a:gd name="connsiteY8" fmla="*/ 79825 h 598853"/>
                <a:gd name="connsiteX9" fmla="*/ 514956 w 520657"/>
                <a:gd name="connsiteY9" fmla="*/ 75916 h 598853"/>
                <a:gd name="connsiteX10" fmla="*/ 514956 w 520657"/>
                <a:gd name="connsiteY10" fmla="*/ 70703 h 598853"/>
                <a:gd name="connsiteX11" fmla="*/ 513327 w 520657"/>
                <a:gd name="connsiteY11" fmla="*/ 70540 h 598853"/>
                <a:gd name="connsiteX12" fmla="*/ 509580 w 520657"/>
                <a:gd name="connsiteY12" fmla="*/ 67607 h 598853"/>
                <a:gd name="connsiteX13" fmla="*/ 507625 w 520657"/>
                <a:gd name="connsiteY13" fmla="*/ 67607 h 598853"/>
                <a:gd name="connsiteX14" fmla="*/ 505833 w 520657"/>
                <a:gd name="connsiteY14" fmla="*/ 68748 h 598853"/>
                <a:gd name="connsiteX15" fmla="*/ 505833 w 520657"/>
                <a:gd name="connsiteY15" fmla="*/ 71680 h 598853"/>
                <a:gd name="connsiteX16" fmla="*/ 503552 w 520657"/>
                <a:gd name="connsiteY16" fmla="*/ 69725 h 598853"/>
                <a:gd name="connsiteX17" fmla="*/ 502249 w 520657"/>
                <a:gd name="connsiteY17" fmla="*/ 66793 h 598853"/>
                <a:gd name="connsiteX18" fmla="*/ 499480 w 520657"/>
                <a:gd name="connsiteY18" fmla="*/ 66793 h 598853"/>
                <a:gd name="connsiteX19" fmla="*/ 500131 w 520657"/>
                <a:gd name="connsiteY19" fmla="*/ 69562 h 598853"/>
                <a:gd name="connsiteX20" fmla="*/ 499480 w 520657"/>
                <a:gd name="connsiteY20" fmla="*/ 74938 h 598853"/>
                <a:gd name="connsiteX21" fmla="*/ 497687 w 520657"/>
                <a:gd name="connsiteY21" fmla="*/ 73798 h 598853"/>
                <a:gd name="connsiteX22" fmla="*/ 495407 w 520657"/>
                <a:gd name="connsiteY22" fmla="*/ 70214 h 598853"/>
                <a:gd name="connsiteX23" fmla="*/ 491660 w 520657"/>
                <a:gd name="connsiteY23" fmla="*/ 72658 h 598853"/>
                <a:gd name="connsiteX24" fmla="*/ 490357 w 520657"/>
                <a:gd name="connsiteY24" fmla="*/ 75427 h 598853"/>
                <a:gd name="connsiteX25" fmla="*/ 489053 w 520657"/>
                <a:gd name="connsiteY25" fmla="*/ 71354 h 598853"/>
                <a:gd name="connsiteX26" fmla="*/ 487750 w 520657"/>
                <a:gd name="connsiteY26" fmla="*/ 65815 h 598853"/>
                <a:gd name="connsiteX27" fmla="*/ 485795 w 520657"/>
                <a:gd name="connsiteY27" fmla="*/ 65489 h 598853"/>
                <a:gd name="connsiteX28" fmla="*/ 483840 w 520657"/>
                <a:gd name="connsiteY28" fmla="*/ 59951 h 598853"/>
                <a:gd name="connsiteX29" fmla="*/ 481885 w 520657"/>
                <a:gd name="connsiteY29" fmla="*/ 58810 h 598853"/>
                <a:gd name="connsiteX30" fmla="*/ 477650 w 520657"/>
                <a:gd name="connsiteY30" fmla="*/ 59462 h 598853"/>
                <a:gd name="connsiteX31" fmla="*/ 474066 w 520657"/>
                <a:gd name="connsiteY31" fmla="*/ 57996 h 598853"/>
                <a:gd name="connsiteX32" fmla="*/ 468038 w 520657"/>
                <a:gd name="connsiteY32" fmla="*/ 57344 h 598853"/>
                <a:gd name="connsiteX33" fmla="*/ 465105 w 520657"/>
                <a:gd name="connsiteY33" fmla="*/ 53434 h 598853"/>
                <a:gd name="connsiteX34" fmla="*/ 466246 w 520657"/>
                <a:gd name="connsiteY34" fmla="*/ 52457 h 598853"/>
                <a:gd name="connsiteX35" fmla="*/ 473740 w 520657"/>
                <a:gd name="connsiteY35" fmla="*/ 54412 h 598853"/>
                <a:gd name="connsiteX36" fmla="*/ 479930 w 520657"/>
                <a:gd name="connsiteY36" fmla="*/ 53597 h 598853"/>
                <a:gd name="connsiteX37" fmla="*/ 485307 w 520657"/>
                <a:gd name="connsiteY37" fmla="*/ 54575 h 598853"/>
                <a:gd name="connsiteX38" fmla="*/ 495407 w 520657"/>
                <a:gd name="connsiteY38" fmla="*/ 55878 h 598853"/>
                <a:gd name="connsiteX39" fmla="*/ 502412 w 520657"/>
                <a:gd name="connsiteY39" fmla="*/ 53434 h 598853"/>
                <a:gd name="connsiteX40" fmla="*/ 506973 w 520657"/>
                <a:gd name="connsiteY40" fmla="*/ 44311 h 598853"/>
                <a:gd name="connsiteX41" fmla="*/ 516585 w 520657"/>
                <a:gd name="connsiteY41" fmla="*/ 41868 h 598853"/>
                <a:gd name="connsiteX42" fmla="*/ 520658 w 520657"/>
                <a:gd name="connsiteY42" fmla="*/ 38447 h 598853"/>
                <a:gd name="connsiteX43" fmla="*/ 520658 w 520657"/>
                <a:gd name="connsiteY43" fmla="*/ 36980 h 598853"/>
                <a:gd name="connsiteX44" fmla="*/ 517562 w 520657"/>
                <a:gd name="connsiteY44" fmla="*/ 35840 h 598853"/>
                <a:gd name="connsiteX45" fmla="*/ 516585 w 520657"/>
                <a:gd name="connsiteY45" fmla="*/ 33885 h 598853"/>
                <a:gd name="connsiteX46" fmla="*/ 513001 w 520657"/>
                <a:gd name="connsiteY46" fmla="*/ 32745 h 598853"/>
                <a:gd name="connsiteX47" fmla="*/ 508602 w 520657"/>
                <a:gd name="connsiteY47" fmla="*/ 33559 h 598853"/>
                <a:gd name="connsiteX48" fmla="*/ 502412 w 520657"/>
                <a:gd name="connsiteY48" fmla="*/ 28346 h 598853"/>
                <a:gd name="connsiteX49" fmla="*/ 498991 w 520657"/>
                <a:gd name="connsiteY49" fmla="*/ 28346 h 598853"/>
                <a:gd name="connsiteX50" fmla="*/ 494918 w 520657"/>
                <a:gd name="connsiteY50" fmla="*/ 32908 h 598853"/>
                <a:gd name="connsiteX51" fmla="*/ 492311 w 520657"/>
                <a:gd name="connsiteY51" fmla="*/ 32908 h 598853"/>
                <a:gd name="connsiteX52" fmla="*/ 491497 w 520657"/>
                <a:gd name="connsiteY52" fmla="*/ 31116 h 598853"/>
                <a:gd name="connsiteX53" fmla="*/ 495569 w 520657"/>
                <a:gd name="connsiteY53" fmla="*/ 28509 h 598853"/>
                <a:gd name="connsiteX54" fmla="*/ 496221 w 520657"/>
                <a:gd name="connsiteY54" fmla="*/ 25088 h 598853"/>
                <a:gd name="connsiteX55" fmla="*/ 491334 w 520657"/>
                <a:gd name="connsiteY55" fmla="*/ 23133 h 598853"/>
                <a:gd name="connsiteX56" fmla="*/ 490357 w 520657"/>
                <a:gd name="connsiteY56" fmla="*/ 21830 h 598853"/>
                <a:gd name="connsiteX57" fmla="*/ 486773 w 520657"/>
                <a:gd name="connsiteY57" fmla="*/ 21830 h 598853"/>
                <a:gd name="connsiteX58" fmla="*/ 483514 w 520657"/>
                <a:gd name="connsiteY58" fmla="*/ 27695 h 598853"/>
                <a:gd name="connsiteX59" fmla="*/ 481722 w 520657"/>
                <a:gd name="connsiteY59" fmla="*/ 27695 h 598853"/>
                <a:gd name="connsiteX60" fmla="*/ 482048 w 520657"/>
                <a:gd name="connsiteY60" fmla="*/ 23622 h 598853"/>
                <a:gd name="connsiteX61" fmla="*/ 479767 w 520657"/>
                <a:gd name="connsiteY61" fmla="*/ 23948 h 598853"/>
                <a:gd name="connsiteX62" fmla="*/ 477812 w 520657"/>
                <a:gd name="connsiteY62" fmla="*/ 26880 h 598853"/>
                <a:gd name="connsiteX63" fmla="*/ 475532 w 520657"/>
                <a:gd name="connsiteY63" fmla="*/ 26880 h 598853"/>
                <a:gd name="connsiteX64" fmla="*/ 474717 w 520657"/>
                <a:gd name="connsiteY64" fmla="*/ 24111 h 598853"/>
                <a:gd name="connsiteX65" fmla="*/ 477975 w 520657"/>
                <a:gd name="connsiteY65" fmla="*/ 21830 h 598853"/>
                <a:gd name="connsiteX66" fmla="*/ 477975 w 520657"/>
                <a:gd name="connsiteY66" fmla="*/ 18897 h 598853"/>
                <a:gd name="connsiteX67" fmla="*/ 473088 w 520657"/>
                <a:gd name="connsiteY67" fmla="*/ 15965 h 598853"/>
                <a:gd name="connsiteX68" fmla="*/ 468201 w 520657"/>
                <a:gd name="connsiteY68" fmla="*/ 15965 h 598853"/>
                <a:gd name="connsiteX69" fmla="*/ 465269 w 520657"/>
                <a:gd name="connsiteY69" fmla="*/ 17757 h 598853"/>
                <a:gd name="connsiteX70" fmla="*/ 464454 w 520657"/>
                <a:gd name="connsiteY70" fmla="*/ 24762 h 598853"/>
                <a:gd name="connsiteX71" fmla="*/ 461033 w 520657"/>
                <a:gd name="connsiteY71" fmla="*/ 26228 h 598853"/>
                <a:gd name="connsiteX72" fmla="*/ 460707 w 520657"/>
                <a:gd name="connsiteY72" fmla="*/ 28672 h 598853"/>
                <a:gd name="connsiteX73" fmla="*/ 463639 w 520657"/>
                <a:gd name="connsiteY73" fmla="*/ 35840 h 598853"/>
                <a:gd name="connsiteX74" fmla="*/ 463314 w 520657"/>
                <a:gd name="connsiteY74" fmla="*/ 39098 h 598853"/>
                <a:gd name="connsiteX75" fmla="*/ 460707 w 520657"/>
                <a:gd name="connsiteY75" fmla="*/ 41542 h 598853"/>
                <a:gd name="connsiteX76" fmla="*/ 458589 w 520657"/>
                <a:gd name="connsiteY76" fmla="*/ 37143 h 598853"/>
                <a:gd name="connsiteX77" fmla="*/ 455494 w 520657"/>
                <a:gd name="connsiteY77" fmla="*/ 36817 h 598853"/>
                <a:gd name="connsiteX78" fmla="*/ 454680 w 520657"/>
                <a:gd name="connsiteY78" fmla="*/ 38447 h 598853"/>
                <a:gd name="connsiteX79" fmla="*/ 450607 w 520657"/>
                <a:gd name="connsiteY79" fmla="*/ 37632 h 598853"/>
                <a:gd name="connsiteX80" fmla="*/ 444416 w 520657"/>
                <a:gd name="connsiteY80" fmla="*/ 40401 h 598853"/>
                <a:gd name="connsiteX81" fmla="*/ 449303 w 520657"/>
                <a:gd name="connsiteY81" fmla="*/ 33722 h 598853"/>
                <a:gd name="connsiteX82" fmla="*/ 453050 w 520657"/>
                <a:gd name="connsiteY82" fmla="*/ 32745 h 598853"/>
                <a:gd name="connsiteX83" fmla="*/ 455494 w 520657"/>
                <a:gd name="connsiteY83" fmla="*/ 27857 h 598853"/>
                <a:gd name="connsiteX84" fmla="*/ 454842 w 520657"/>
                <a:gd name="connsiteY84" fmla="*/ 25414 h 598853"/>
                <a:gd name="connsiteX85" fmla="*/ 453050 w 520657"/>
                <a:gd name="connsiteY85" fmla="*/ 25740 h 598853"/>
                <a:gd name="connsiteX86" fmla="*/ 448000 w 520657"/>
                <a:gd name="connsiteY86" fmla="*/ 29487 h 598853"/>
                <a:gd name="connsiteX87" fmla="*/ 445068 w 520657"/>
                <a:gd name="connsiteY87" fmla="*/ 28672 h 598853"/>
                <a:gd name="connsiteX88" fmla="*/ 445719 w 520657"/>
                <a:gd name="connsiteY88" fmla="*/ 26391 h 598853"/>
                <a:gd name="connsiteX89" fmla="*/ 448978 w 520657"/>
                <a:gd name="connsiteY89" fmla="*/ 23622 h 598853"/>
                <a:gd name="connsiteX90" fmla="*/ 449303 w 520657"/>
                <a:gd name="connsiteY90" fmla="*/ 21504 h 598853"/>
                <a:gd name="connsiteX91" fmla="*/ 444905 w 520657"/>
                <a:gd name="connsiteY91" fmla="*/ 20364 h 598853"/>
                <a:gd name="connsiteX92" fmla="*/ 444091 w 520657"/>
                <a:gd name="connsiteY92" fmla="*/ 18409 h 598853"/>
                <a:gd name="connsiteX93" fmla="*/ 447837 w 520657"/>
                <a:gd name="connsiteY93" fmla="*/ 17268 h 598853"/>
                <a:gd name="connsiteX94" fmla="*/ 449303 w 520657"/>
                <a:gd name="connsiteY94" fmla="*/ 18735 h 598853"/>
                <a:gd name="connsiteX95" fmla="*/ 454680 w 520657"/>
                <a:gd name="connsiteY95" fmla="*/ 18735 h 598853"/>
                <a:gd name="connsiteX96" fmla="*/ 457775 w 520657"/>
                <a:gd name="connsiteY96" fmla="*/ 10752 h 598853"/>
                <a:gd name="connsiteX97" fmla="*/ 456960 w 520657"/>
                <a:gd name="connsiteY97" fmla="*/ 7494 h 598853"/>
                <a:gd name="connsiteX98" fmla="*/ 451910 w 520657"/>
                <a:gd name="connsiteY98" fmla="*/ 8797 h 598853"/>
                <a:gd name="connsiteX99" fmla="*/ 449629 w 520657"/>
                <a:gd name="connsiteY99" fmla="*/ 7168 h 598853"/>
                <a:gd name="connsiteX100" fmla="*/ 450607 w 520657"/>
                <a:gd name="connsiteY100" fmla="*/ 3584 h 598853"/>
                <a:gd name="connsiteX101" fmla="*/ 449303 w 520657"/>
                <a:gd name="connsiteY101" fmla="*/ 163 h 598853"/>
                <a:gd name="connsiteX102" fmla="*/ 446045 w 520657"/>
                <a:gd name="connsiteY102" fmla="*/ 3095 h 598853"/>
                <a:gd name="connsiteX103" fmla="*/ 443276 w 520657"/>
                <a:gd name="connsiteY103" fmla="*/ 2769 h 598853"/>
                <a:gd name="connsiteX104" fmla="*/ 440343 w 520657"/>
                <a:gd name="connsiteY104" fmla="*/ 326 h 598853"/>
                <a:gd name="connsiteX105" fmla="*/ 436759 w 520657"/>
                <a:gd name="connsiteY105" fmla="*/ 3747 h 598853"/>
                <a:gd name="connsiteX106" fmla="*/ 436759 w 520657"/>
                <a:gd name="connsiteY106" fmla="*/ 6191 h 598853"/>
                <a:gd name="connsiteX107" fmla="*/ 440018 w 520657"/>
                <a:gd name="connsiteY107" fmla="*/ 9937 h 598853"/>
                <a:gd name="connsiteX108" fmla="*/ 438062 w 520657"/>
                <a:gd name="connsiteY108" fmla="*/ 12707 h 598853"/>
                <a:gd name="connsiteX109" fmla="*/ 435782 w 520657"/>
                <a:gd name="connsiteY109" fmla="*/ 12707 h 598853"/>
                <a:gd name="connsiteX110" fmla="*/ 432198 w 520657"/>
                <a:gd name="connsiteY110" fmla="*/ 7657 h 598853"/>
                <a:gd name="connsiteX111" fmla="*/ 429591 w 520657"/>
                <a:gd name="connsiteY111" fmla="*/ 10100 h 598853"/>
                <a:gd name="connsiteX112" fmla="*/ 428288 w 520657"/>
                <a:gd name="connsiteY112" fmla="*/ 14499 h 598853"/>
                <a:gd name="connsiteX113" fmla="*/ 429428 w 520657"/>
                <a:gd name="connsiteY113" fmla="*/ 16291 h 598853"/>
                <a:gd name="connsiteX114" fmla="*/ 433338 w 520657"/>
                <a:gd name="connsiteY114" fmla="*/ 16291 h 598853"/>
                <a:gd name="connsiteX115" fmla="*/ 435130 w 520657"/>
                <a:gd name="connsiteY115" fmla="*/ 18083 h 598853"/>
                <a:gd name="connsiteX116" fmla="*/ 434805 w 520657"/>
                <a:gd name="connsiteY116" fmla="*/ 20201 h 598853"/>
                <a:gd name="connsiteX117" fmla="*/ 431709 w 520657"/>
                <a:gd name="connsiteY117" fmla="*/ 21504 h 598853"/>
                <a:gd name="connsiteX118" fmla="*/ 431709 w 520657"/>
                <a:gd name="connsiteY118" fmla="*/ 25088 h 598853"/>
                <a:gd name="connsiteX119" fmla="*/ 428777 w 520657"/>
                <a:gd name="connsiteY119" fmla="*/ 26554 h 598853"/>
                <a:gd name="connsiteX120" fmla="*/ 428777 w 520657"/>
                <a:gd name="connsiteY120" fmla="*/ 29975 h 598853"/>
                <a:gd name="connsiteX121" fmla="*/ 429591 w 520657"/>
                <a:gd name="connsiteY121" fmla="*/ 31441 h 598853"/>
                <a:gd name="connsiteX122" fmla="*/ 426822 w 520657"/>
                <a:gd name="connsiteY122" fmla="*/ 33233 h 598853"/>
                <a:gd name="connsiteX123" fmla="*/ 428451 w 520657"/>
                <a:gd name="connsiteY123" fmla="*/ 38284 h 598853"/>
                <a:gd name="connsiteX124" fmla="*/ 426985 w 520657"/>
                <a:gd name="connsiteY124" fmla="*/ 39913 h 598853"/>
                <a:gd name="connsiteX125" fmla="*/ 423727 w 520657"/>
                <a:gd name="connsiteY125" fmla="*/ 37632 h 598853"/>
                <a:gd name="connsiteX126" fmla="*/ 420794 w 520657"/>
                <a:gd name="connsiteY126" fmla="*/ 39913 h 598853"/>
                <a:gd name="connsiteX127" fmla="*/ 420143 w 520657"/>
                <a:gd name="connsiteY127" fmla="*/ 41868 h 598853"/>
                <a:gd name="connsiteX128" fmla="*/ 416884 w 520657"/>
                <a:gd name="connsiteY128" fmla="*/ 44148 h 598853"/>
                <a:gd name="connsiteX129" fmla="*/ 416559 w 520657"/>
                <a:gd name="connsiteY129" fmla="*/ 39261 h 598853"/>
                <a:gd name="connsiteX130" fmla="*/ 420632 w 520657"/>
                <a:gd name="connsiteY130" fmla="*/ 30301 h 598853"/>
                <a:gd name="connsiteX131" fmla="*/ 416559 w 520657"/>
                <a:gd name="connsiteY131" fmla="*/ 28835 h 598853"/>
                <a:gd name="connsiteX132" fmla="*/ 416884 w 520657"/>
                <a:gd name="connsiteY132" fmla="*/ 26554 h 598853"/>
                <a:gd name="connsiteX133" fmla="*/ 419817 w 520657"/>
                <a:gd name="connsiteY133" fmla="*/ 23622 h 598853"/>
                <a:gd name="connsiteX134" fmla="*/ 419817 w 520657"/>
                <a:gd name="connsiteY134" fmla="*/ 15965 h 598853"/>
                <a:gd name="connsiteX135" fmla="*/ 418351 w 520657"/>
                <a:gd name="connsiteY135" fmla="*/ 13521 h 598853"/>
                <a:gd name="connsiteX136" fmla="*/ 415907 w 520657"/>
                <a:gd name="connsiteY136" fmla="*/ 13521 h 598853"/>
                <a:gd name="connsiteX137" fmla="*/ 409553 w 520657"/>
                <a:gd name="connsiteY137" fmla="*/ 24111 h 598853"/>
                <a:gd name="connsiteX138" fmla="*/ 409553 w 520657"/>
                <a:gd name="connsiteY138" fmla="*/ 29975 h 598853"/>
                <a:gd name="connsiteX139" fmla="*/ 402875 w 520657"/>
                <a:gd name="connsiteY139" fmla="*/ 38772 h 598853"/>
                <a:gd name="connsiteX140" fmla="*/ 401408 w 520657"/>
                <a:gd name="connsiteY140" fmla="*/ 45126 h 598853"/>
                <a:gd name="connsiteX141" fmla="*/ 402711 w 520657"/>
                <a:gd name="connsiteY141" fmla="*/ 47895 h 598853"/>
                <a:gd name="connsiteX142" fmla="*/ 402060 w 520657"/>
                <a:gd name="connsiteY142" fmla="*/ 52945 h 598853"/>
                <a:gd name="connsiteX143" fmla="*/ 395543 w 520657"/>
                <a:gd name="connsiteY143" fmla="*/ 60113 h 598853"/>
                <a:gd name="connsiteX144" fmla="*/ 392122 w 520657"/>
                <a:gd name="connsiteY144" fmla="*/ 61580 h 598853"/>
                <a:gd name="connsiteX145" fmla="*/ 392122 w 520657"/>
                <a:gd name="connsiteY145" fmla="*/ 57181 h 598853"/>
                <a:gd name="connsiteX146" fmla="*/ 390656 w 520657"/>
                <a:gd name="connsiteY146" fmla="*/ 53923 h 598853"/>
                <a:gd name="connsiteX147" fmla="*/ 394892 w 520657"/>
                <a:gd name="connsiteY147" fmla="*/ 47244 h 598853"/>
                <a:gd name="connsiteX148" fmla="*/ 394077 w 520657"/>
                <a:gd name="connsiteY148" fmla="*/ 42845 h 598853"/>
                <a:gd name="connsiteX149" fmla="*/ 395869 w 520657"/>
                <a:gd name="connsiteY149" fmla="*/ 39424 h 598853"/>
                <a:gd name="connsiteX150" fmla="*/ 393914 w 520657"/>
                <a:gd name="connsiteY150" fmla="*/ 35025 h 598853"/>
                <a:gd name="connsiteX151" fmla="*/ 401408 w 520657"/>
                <a:gd name="connsiteY151" fmla="*/ 26880 h 598853"/>
                <a:gd name="connsiteX152" fmla="*/ 402711 w 520657"/>
                <a:gd name="connsiteY152" fmla="*/ 21993 h 598853"/>
                <a:gd name="connsiteX153" fmla="*/ 403852 w 520657"/>
                <a:gd name="connsiteY153" fmla="*/ 21178 h 598853"/>
                <a:gd name="connsiteX154" fmla="*/ 403363 w 520657"/>
                <a:gd name="connsiteY154" fmla="*/ 18409 h 598853"/>
                <a:gd name="connsiteX155" fmla="*/ 399453 w 520657"/>
                <a:gd name="connsiteY155" fmla="*/ 18083 h 598853"/>
                <a:gd name="connsiteX156" fmla="*/ 395380 w 520657"/>
                <a:gd name="connsiteY156" fmla="*/ 14010 h 598853"/>
                <a:gd name="connsiteX157" fmla="*/ 393426 w 520657"/>
                <a:gd name="connsiteY157" fmla="*/ 14662 h 598853"/>
                <a:gd name="connsiteX158" fmla="*/ 394077 w 520657"/>
                <a:gd name="connsiteY158" fmla="*/ 19223 h 598853"/>
                <a:gd name="connsiteX159" fmla="*/ 391145 w 520657"/>
                <a:gd name="connsiteY159" fmla="*/ 22481 h 598853"/>
                <a:gd name="connsiteX160" fmla="*/ 391145 w 520657"/>
                <a:gd name="connsiteY160" fmla="*/ 18083 h 598853"/>
                <a:gd name="connsiteX161" fmla="*/ 387561 w 520657"/>
                <a:gd name="connsiteY161" fmla="*/ 14825 h 598853"/>
                <a:gd name="connsiteX162" fmla="*/ 383488 w 520657"/>
                <a:gd name="connsiteY162" fmla="*/ 14010 h 598853"/>
                <a:gd name="connsiteX163" fmla="*/ 380393 w 520657"/>
                <a:gd name="connsiteY163" fmla="*/ 15639 h 598853"/>
                <a:gd name="connsiteX164" fmla="*/ 381044 w 520657"/>
                <a:gd name="connsiteY164" fmla="*/ 21830 h 598853"/>
                <a:gd name="connsiteX165" fmla="*/ 379578 w 520657"/>
                <a:gd name="connsiteY165" fmla="*/ 24762 h 598853"/>
                <a:gd name="connsiteX166" fmla="*/ 377460 w 520657"/>
                <a:gd name="connsiteY166" fmla="*/ 22156 h 598853"/>
                <a:gd name="connsiteX167" fmla="*/ 374691 w 520657"/>
                <a:gd name="connsiteY167" fmla="*/ 20527 h 598853"/>
                <a:gd name="connsiteX168" fmla="*/ 372573 w 520657"/>
                <a:gd name="connsiteY168" fmla="*/ 22644 h 598853"/>
                <a:gd name="connsiteX169" fmla="*/ 373225 w 520657"/>
                <a:gd name="connsiteY169" fmla="*/ 24599 h 598853"/>
                <a:gd name="connsiteX170" fmla="*/ 378927 w 520657"/>
                <a:gd name="connsiteY170" fmla="*/ 28509 h 598853"/>
                <a:gd name="connsiteX171" fmla="*/ 380230 w 520657"/>
                <a:gd name="connsiteY171" fmla="*/ 32908 h 598853"/>
                <a:gd name="connsiteX172" fmla="*/ 378927 w 520657"/>
                <a:gd name="connsiteY172" fmla="*/ 34374 h 598853"/>
                <a:gd name="connsiteX173" fmla="*/ 376483 w 520657"/>
                <a:gd name="connsiteY173" fmla="*/ 31767 h 598853"/>
                <a:gd name="connsiteX174" fmla="*/ 373388 w 520657"/>
                <a:gd name="connsiteY174" fmla="*/ 34537 h 598853"/>
                <a:gd name="connsiteX175" fmla="*/ 373062 w 520657"/>
                <a:gd name="connsiteY175" fmla="*/ 37306 h 598853"/>
                <a:gd name="connsiteX176" fmla="*/ 374528 w 520657"/>
                <a:gd name="connsiteY176" fmla="*/ 39261 h 598853"/>
                <a:gd name="connsiteX177" fmla="*/ 373062 w 520657"/>
                <a:gd name="connsiteY177" fmla="*/ 40890 h 598853"/>
                <a:gd name="connsiteX178" fmla="*/ 368500 w 520657"/>
                <a:gd name="connsiteY178" fmla="*/ 37958 h 598853"/>
                <a:gd name="connsiteX179" fmla="*/ 366057 w 520657"/>
                <a:gd name="connsiteY179" fmla="*/ 37958 h 598853"/>
                <a:gd name="connsiteX180" fmla="*/ 363450 w 520657"/>
                <a:gd name="connsiteY180" fmla="*/ 43497 h 598853"/>
                <a:gd name="connsiteX181" fmla="*/ 360029 w 520657"/>
                <a:gd name="connsiteY181" fmla="*/ 44963 h 598853"/>
                <a:gd name="connsiteX182" fmla="*/ 360029 w 520657"/>
                <a:gd name="connsiteY182" fmla="*/ 46918 h 598853"/>
                <a:gd name="connsiteX183" fmla="*/ 361984 w 520657"/>
                <a:gd name="connsiteY183" fmla="*/ 48384 h 598853"/>
                <a:gd name="connsiteX184" fmla="*/ 357260 w 520657"/>
                <a:gd name="connsiteY184" fmla="*/ 51479 h 598853"/>
                <a:gd name="connsiteX185" fmla="*/ 356119 w 520657"/>
                <a:gd name="connsiteY185" fmla="*/ 55226 h 598853"/>
                <a:gd name="connsiteX186" fmla="*/ 360029 w 520657"/>
                <a:gd name="connsiteY186" fmla="*/ 59299 h 598853"/>
                <a:gd name="connsiteX187" fmla="*/ 357097 w 520657"/>
                <a:gd name="connsiteY187" fmla="*/ 62231 h 598853"/>
                <a:gd name="connsiteX188" fmla="*/ 361007 w 520657"/>
                <a:gd name="connsiteY188" fmla="*/ 64023 h 598853"/>
                <a:gd name="connsiteX189" fmla="*/ 362799 w 520657"/>
                <a:gd name="connsiteY189" fmla="*/ 65815 h 598853"/>
                <a:gd name="connsiteX190" fmla="*/ 360681 w 520657"/>
                <a:gd name="connsiteY190" fmla="*/ 68096 h 598853"/>
                <a:gd name="connsiteX191" fmla="*/ 354490 w 520657"/>
                <a:gd name="connsiteY191" fmla="*/ 67444 h 598853"/>
                <a:gd name="connsiteX192" fmla="*/ 352861 w 520657"/>
                <a:gd name="connsiteY192" fmla="*/ 60765 h 598853"/>
                <a:gd name="connsiteX193" fmla="*/ 349929 w 520657"/>
                <a:gd name="connsiteY193" fmla="*/ 59951 h 598853"/>
                <a:gd name="connsiteX194" fmla="*/ 352698 w 520657"/>
                <a:gd name="connsiteY194" fmla="*/ 56855 h 598853"/>
                <a:gd name="connsiteX195" fmla="*/ 348789 w 520657"/>
                <a:gd name="connsiteY195" fmla="*/ 54737 h 598853"/>
                <a:gd name="connsiteX196" fmla="*/ 344390 w 520657"/>
                <a:gd name="connsiteY196" fmla="*/ 55226 h 598853"/>
                <a:gd name="connsiteX197" fmla="*/ 338851 w 520657"/>
                <a:gd name="connsiteY197" fmla="*/ 54900 h 598853"/>
                <a:gd name="connsiteX198" fmla="*/ 331032 w 520657"/>
                <a:gd name="connsiteY198" fmla="*/ 48710 h 598853"/>
                <a:gd name="connsiteX199" fmla="*/ 328751 w 520657"/>
                <a:gd name="connsiteY199" fmla="*/ 48710 h 598853"/>
                <a:gd name="connsiteX200" fmla="*/ 326144 w 520657"/>
                <a:gd name="connsiteY200" fmla="*/ 51805 h 598853"/>
                <a:gd name="connsiteX201" fmla="*/ 324352 w 520657"/>
                <a:gd name="connsiteY201" fmla="*/ 48384 h 598853"/>
                <a:gd name="connsiteX202" fmla="*/ 320442 w 520657"/>
                <a:gd name="connsiteY202" fmla="*/ 51968 h 598853"/>
                <a:gd name="connsiteX203" fmla="*/ 315881 w 520657"/>
                <a:gd name="connsiteY203" fmla="*/ 53108 h 598853"/>
                <a:gd name="connsiteX204" fmla="*/ 315881 w 520657"/>
                <a:gd name="connsiteY204" fmla="*/ 55226 h 598853"/>
                <a:gd name="connsiteX205" fmla="*/ 321257 w 520657"/>
                <a:gd name="connsiteY205" fmla="*/ 61743 h 598853"/>
                <a:gd name="connsiteX206" fmla="*/ 325167 w 520657"/>
                <a:gd name="connsiteY206" fmla="*/ 61743 h 598853"/>
                <a:gd name="connsiteX207" fmla="*/ 327448 w 520657"/>
                <a:gd name="connsiteY207" fmla="*/ 64186 h 598853"/>
                <a:gd name="connsiteX208" fmla="*/ 333149 w 520657"/>
                <a:gd name="connsiteY208" fmla="*/ 64512 h 598853"/>
                <a:gd name="connsiteX209" fmla="*/ 330705 w 520657"/>
                <a:gd name="connsiteY209" fmla="*/ 69236 h 598853"/>
                <a:gd name="connsiteX210" fmla="*/ 330705 w 520657"/>
                <a:gd name="connsiteY210" fmla="*/ 73635 h 598853"/>
                <a:gd name="connsiteX211" fmla="*/ 334778 w 520657"/>
                <a:gd name="connsiteY211" fmla="*/ 79011 h 598853"/>
                <a:gd name="connsiteX212" fmla="*/ 334127 w 520657"/>
                <a:gd name="connsiteY212" fmla="*/ 82432 h 598853"/>
                <a:gd name="connsiteX213" fmla="*/ 330705 w 520657"/>
                <a:gd name="connsiteY213" fmla="*/ 79988 h 598853"/>
                <a:gd name="connsiteX214" fmla="*/ 327284 w 520657"/>
                <a:gd name="connsiteY214" fmla="*/ 74287 h 598853"/>
                <a:gd name="connsiteX215" fmla="*/ 322886 w 520657"/>
                <a:gd name="connsiteY215" fmla="*/ 72495 h 598853"/>
                <a:gd name="connsiteX216" fmla="*/ 320279 w 520657"/>
                <a:gd name="connsiteY216" fmla="*/ 69236 h 598853"/>
                <a:gd name="connsiteX217" fmla="*/ 318976 w 520657"/>
                <a:gd name="connsiteY217" fmla="*/ 73635 h 598853"/>
                <a:gd name="connsiteX218" fmla="*/ 315229 w 520657"/>
                <a:gd name="connsiteY218" fmla="*/ 76893 h 598853"/>
                <a:gd name="connsiteX219" fmla="*/ 314414 w 520657"/>
                <a:gd name="connsiteY219" fmla="*/ 70866 h 598853"/>
                <a:gd name="connsiteX220" fmla="*/ 310668 w 520657"/>
                <a:gd name="connsiteY220" fmla="*/ 74124 h 598853"/>
                <a:gd name="connsiteX221" fmla="*/ 310668 w 520657"/>
                <a:gd name="connsiteY221" fmla="*/ 76730 h 598853"/>
                <a:gd name="connsiteX222" fmla="*/ 306106 w 520657"/>
                <a:gd name="connsiteY222" fmla="*/ 80640 h 598853"/>
                <a:gd name="connsiteX223" fmla="*/ 306432 w 520657"/>
                <a:gd name="connsiteY223" fmla="*/ 84713 h 598853"/>
                <a:gd name="connsiteX224" fmla="*/ 311808 w 520657"/>
                <a:gd name="connsiteY224" fmla="*/ 87156 h 598853"/>
                <a:gd name="connsiteX225" fmla="*/ 314089 w 520657"/>
                <a:gd name="connsiteY225" fmla="*/ 91881 h 598853"/>
                <a:gd name="connsiteX226" fmla="*/ 310016 w 520657"/>
                <a:gd name="connsiteY226" fmla="*/ 91229 h 598853"/>
                <a:gd name="connsiteX227" fmla="*/ 307735 w 520657"/>
                <a:gd name="connsiteY227" fmla="*/ 88948 h 598853"/>
                <a:gd name="connsiteX228" fmla="*/ 304314 w 520657"/>
                <a:gd name="connsiteY228" fmla="*/ 93999 h 598853"/>
                <a:gd name="connsiteX229" fmla="*/ 303174 w 520657"/>
                <a:gd name="connsiteY229" fmla="*/ 97908 h 598853"/>
                <a:gd name="connsiteX230" fmla="*/ 297635 w 520657"/>
                <a:gd name="connsiteY230" fmla="*/ 102307 h 598853"/>
                <a:gd name="connsiteX231" fmla="*/ 297635 w 520657"/>
                <a:gd name="connsiteY231" fmla="*/ 99537 h 598853"/>
                <a:gd name="connsiteX232" fmla="*/ 301382 w 520657"/>
                <a:gd name="connsiteY232" fmla="*/ 96768 h 598853"/>
                <a:gd name="connsiteX233" fmla="*/ 300078 w 520657"/>
                <a:gd name="connsiteY233" fmla="*/ 93184 h 598853"/>
                <a:gd name="connsiteX234" fmla="*/ 303662 w 520657"/>
                <a:gd name="connsiteY234" fmla="*/ 86016 h 598853"/>
                <a:gd name="connsiteX235" fmla="*/ 300893 w 520657"/>
                <a:gd name="connsiteY235" fmla="*/ 71680 h 598853"/>
                <a:gd name="connsiteX236" fmla="*/ 297309 w 520657"/>
                <a:gd name="connsiteY236" fmla="*/ 73961 h 598853"/>
                <a:gd name="connsiteX237" fmla="*/ 291607 w 520657"/>
                <a:gd name="connsiteY237" fmla="*/ 83247 h 598853"/>
                <a:gd name="connsiteX238" fmla="*/ 291607 w 520657"/>
                <a:gd name="connsiteY238" fmla="*/ 89437 h 598853"/>
                <a:gd name="connsiteX239" fmla="*/ 292422 w 520657"/>
                <a:gd name="connsiteY239" fmla="*/ 91881 h 598853"/>
                <a:gd name="connsiteX240" fmla="*/ 288512 w 520657"/>
                <a:gd name="connsiteY240" fmla="*/ 96931 h 598853"/>
                <a:gd name="connsiteX241" fmla="*/ 288023 w 520657"/>
                <a:gd name="connsiteY241" fmla="*/ 92044 h 598853"/>
                <a:gd name="connsiteX242" fmla="*/ 290467 w 520657"/>
                <a:gd name="connsiteY242" fmla="*/ 86668 h 598853"/>
                <a:gd name="connsiteX243" fmla="*/ 288675 w 520657"/>
                <a:gd name="connsiteY243" fmla="*/ 79663 h 598853"/>
                <a:gd name="connsiteX244" fmla="*/ 286068 w 520657"/>
                <a:gd name="connsiteY244" fmla="*/ 79011 h 598853"/>
                <a:gd name="connsiteX245" fmla="*/ 281181 w 520657"/>
                <a:gd name="connsiteY245" fmla="*/ 82269 h 598853"/>
                <a:gd name="connsiteX246" fmla="*/ 277760 w 520657"/>
                <a:gd name="connsiteY246" fmla="*/ 88623 h 598853"/>
                <a:gd name="connsiteX247" fmla="*/ 280041 w 520657"/>
                <a:gd name="connsiteY247" fmla="*/ 93510 h 598853"/>
                <a:gd name="connsiteX248" fmla="*/ 279715 w 520657"/>
                <a:gd name="connsiteY248" fmla="*/ 97908 h 598853"/>
                <a:gd name="connsiteX249" fmla="*/ 286720 w 520657"/>
                <a:gd name="connsiteY249" fmla="*/ 102959 h 598853"/>
                <a:gd name="connsiteX250" fmla="*/ 288675 w 520657"/>
                <a:gd name="connsiteY250" fmla="*/ 106380 h 598853"/>
                <a:gd name="connsiteX251" fmla="*/ 285905 w 520657"/>
                <a:gd name="connsiteY251" fmla="*/ 111756 h 598853"/>
                <a:gd name="connsiteX252" fmla="*/ 283625 w 520657"/>
                <a:gd name="connsiteY252" fmla="*/ 104913 h 598853"/>
                <a:gd name="connsiteX253" fmla="*/ 278575 w 520657"/>
                <a:gd name="connsiteY253" fmla="*/ 102633 h 598853"/>
                <a:gd name="connsiteX254" fmla="*/ 275153 w 520657"/>
                <a:gd name="connsiteY254" fmla="*/ 93673 h 598853"/>
                <a:gd name="connsiteX255" fmla="*/ 273687 w 520657"/>
                <a:gd name="connsiteY255" fmla="*/ 92695 h 598853"/>
                <a:gd name="connsiteX256" fmla="*/ 267171 w 520657"/>
                <a:gd name="connsiteY256" fmla="*/ 94976 h 598853"/>
                <a:gd name="connsiteX257" fmla="*/ 266357 w 520657"/>
                <a:gd name="connsiteY257" fmla="*/ 98234 h 598853"/>
                <a:gd name="connsiteX258" fmla="*/ 272873 w 520657"/>
                <a:gd name="connsiteY258" fmla="*/ 103284 h 598853"/>
                <a:gd name="connsiteX259" fmla="*/ 275968 w 520657"/>
                <a:gd name="connsiteY259" fmla="*/ 103610 h 598853"/>
                <a:gd name="connsiteX260" fmla="*/ 277597 w 520657"/>
                <a:gd name="connsiteY260" fmla="*/ 105565 h 598853"/>
                <a:gd name="connsiteX261" fmla="*/ 273198 w 520657"/>
                <a:gd name="connsiteY261" fmla="*/ 104913 h 598853"/>
                <a:gd name="connsiteX262" fmla="*/ 268800 w 520657"/>
                <a:gd name="connsiteY262" fmla="*/ 106380 h 598853"/>
                <a:gd name="connsiteX263" fmla="*/ 271732 w 520657"/>
                <a:gd name="connsiteY263" fmla="*/ 111267 h 598853"/>
                <a:gd name="connsiteX264" fmla="*/ 266845 w 520657"/>
                <a:gd name="connsiteY264" fmla="*/ 107846 h 598853"/>
                <a:gd name="connsiteX265" fmla="*/ 266194 w 520657"/>
                <a:gd name="connsiteY265" fmla="*/ 101981 h 598853"/>
                <a:gd name="connsiteX266" fmla="*/ 264239 w 520657"/>
                <a:gd name="connsiteY266" fmla="*/ 100841 h 598853"/>
                <a:gd name="connsiteX267" fmla="*/ 263098 w 520657"/>
                <a:gd name="connsiteY267" fmla="*/ 96931 h 598853"/>
                <a:gd name="connsiteX268" fmla="*/ 260166 w 520657"/>
                <a:gd name="connsiteY268" fmla="*/ 99212 h 598853"/>
                <a:gd name="connsiteX269" fmla="*/ 259025 w 520657"/>
                <a:gd name="connsiteY269" fmla="*/ 105565 h 598853"/>
                <a:gd name="connsiteX270" fmla="*/ 261306 w 520657"/>
                <a:gd name="connsiteY270" fmla="*/ 108497 h 598853"/>
                <a:gd name="connsiteX271" fmla="*/ 260492 w 520657"/>
                <a:gd name="connsiteY271" fmla="*/ 114199 h 598853"/>
                <a:gd name="connsiteX272" fmla="*/ 256419 w 520657"/>
                <a:gd name="connsiteY272" fmla="*/ 112082 h 598853"/>
                <a:gd name="connsiteX273" fmla="*/ 252835 w 520657"/>
                <a:gd name="connsiteY273" fmla="*/ 113222 h 598853"/>
                <a:gd name="connsiteX274" fmla="*/ 247948 w 520657"/>
                <a:gd name="connsiteY274" fmla="*/ 118924 h 598853"/>
                <a:gd name="connsiteX275" fmla="*/ 249088 w 520657"/>
                <a:gd name="connsiteY275" fmla="*/ 119575 h 598853"/>
                <a:gd name="connsiteX276" fmla="*/ 252346 w 520657"/>
                <a:gd name="connsiteY276" fmla="*/ 119087 h 598853"/>
                <a:gd name="connsiteX277" fmla="*/ 255605 w 520657"/>
                <a:gd name="connsiteY277" fmla="*/ 122996 h 598853"/>
                <a:gd name="connsiteX278" fmla="*/ 251532 w 520657"/>
                <a:gd name="connsiteY278" fmla="*/ 123322 h 598853"/>
                <a:gd name="connsiteX279" fmla="*/ 248600 w 520657"/>
                <a:gd name="connsiteY279" fmla="*/ 125277 h 598853"/>
                <a:gd name="connsiteX280" fmla="*/ 251369 w 520657"/>
                <a:gd name="connsiteY280" fmla="*/ 127232 h 598853"/>
                <a:gd name="connsiteX281" fmla="*/ 249414 w 520657"/>
                <a:gd name="connsiteY281" fmla="*/ 129513 h 598853"/>
                <a:gd name="connsiteX282" fmla="*/ 245830 w 520657"/>
                <a:gd name="connsiteY282" fmla="*/ 129513 h 598853"/>
                <a:gd name="connsiteX283" fmla="*/ 245830 w 520657"/>
                <a:gd name="connsiteY283" fmla="*/ 132282 h 598853"/>
                <a:gd name="connsiteX284" fmla="*/ 247133 w 520657"/>
                <a:gd name="connsiteY284" fmla="*/ 133423 h 598853"/>
                <a:gd name="connsiteX285" fmla="*/ 244201 w 520657"/>
                <a:gd name="connsiteY285" fmla="*/ 134074 h 598853"/>
                <a:gd name="connsiteX286" fmla="*/ 242083 w 520657"/>
                <a:gd name="connsiteY286" fmla="*/ 131468 h 598853"/>
                <a:gd name="connsiteX287" fmla="*/ 238336 w 520657"/>
                <a:gd name="connsiteY287" fmla="*/ 132445 h 598853"/>
                <a:gd name="connsiteX288" fmla="*/ 235078 w 520657"/>
                <a:gd name="connsiteY288" fmla="*/ 136681 h 598853"/>
                <a:gd name="connsiteX289" fmla="*/ 236381 w 520657"/>
                <a:gd name="connsiteY289" fmla="*/ 139124 h 598853"/>
                <a:gd name="connsiteX290" fmla="*/ 234915 w 520657"/>
                <a:gd name="connsiteY290" fmla="*/ 140591 h 598853"/>
                <a:gd name="connsiteX291" fmla="*/ 229865 w 520657"/>
                <a:gd name="connsiteY291" fmla="*/ 140916 h 598853"/>
                <a:gd name="connsiteX292" fmla="*/ 227421 w 520657"/>
                <a:gd name="connsiteY292" fmla="*/ 145641 h 598853"/>
                <a:gd name="connsiteX293" fmla="*/ 231494 w 520657"/>
                <a:gd name="connsiteY293" fmla="*/ 146944 h 598853"/>
                <a:gd name="connsiteX294" fmla="*/ 242571 w 520657"/>
                <a:gd name="connsiteY294" fmla="*/ 143686 h 598853"/>
                <a:gd name="connsiteX295" fmla="*/ 245178 w 520657"/>
                <a:gd name="connsiteY295" fmla="*/ 145478 h 598853"/>
                <a:gd name="connsiteX296" fmla="*/ 249740 w 520657"/>
                <a:gd name="connsiteY296" fmla="*/ 143197 h 598853"/>
                <a:gd name="connsiteX297" fmla="*/ 252509 w 520657"/>
                <a:gd name="connsiteY297" fmla="*/ 143197 h 598853"/>
                <a:gd name="connsiteX298" fmla="*/ 252509 w 520657"/>
                <a:gd name="connsiteY298" fmla="*/ 146292 h 598853"/>
                <a:gd name="connsiteX299" fmla="*/ 249251 w 520657"/>
                <a:gd name="connsiteY299" fmla="*/ 149876 h 598853"/>
                <a:gd name="connsiteX300" fmla="*/ 248273 w 520657"/>
                <a:gd name="connsiteY300" fmla="*/ 156719 h 598853"/>
                <a:gd name="connsiteX301" fmla="*/ 247133 w 520657"/>
                <a:gd name="connsiteY301" fmla="*/ 158185 h 598853"/>
                <a:gd name="connsiteX302" fmla="*/ 245178 w 520657"/>
                <a:gd name="connsiteY302" fmla="*/ 155741 h 598853"/>
                <a:gd name="connsiteX303" fmla="*/ 244527 w 520657"/>
                <a:gd name="connsiteY303" fmla="*/ 152320 h 598853"/>
                <a:gd name="connsiteX304" fmla="*/ 240454 w 520657"/>
                <a:gd name="connsiteY304" fmla="*/ 153460 h 598853"/>
                <a:gd name="connsiteX305" fmla="*/ 238662 w 520657"/>
                <a:gd name="connsiteY305" fmla="*/ 151180 h 598853"/>
                <a:gd name="connsiteX306" fmla="*/ 233612 w 520657"/>
                <a:gd name="connsiteY306" fmla="*/ 151180 h 598853"/>
                <a:gd name="connsiteX307" fmla="*/ 235241 w 520657"/>
                <a:gd name="connsiteY307" fmla="*/ 152972 h 598853"/>
                <a:gd name="connsiteX308" fmla="*/ 233775 w 520657"/>
                <a:gd name="connsiteY308" fmla="*/ 155904 h 598853"/>
                <a:gd name="connsiteX309" fmla="*/ 230028 w 520657"/>
                <a:gd name="connsiteY309" fmla="*/ 153623 h 598853"/>
                <a:gd name="connsiteX310" fmla="*/ 227258 w 520657"/>
                <a:gd name="connsiteY310" fmla="*/ 153949 h 598853"/>
                <a:gd name="connsiteX311" fmla="*/ 231005 w 520657"/>
                <a:gd name="connsiteY311" fmla="*/ 156719 h 598853"/>
                <a:gd name="connsiteX312" fmla="*/ 232471 w 520657"/>
                <a:gd name="connsiteY312" fmla="*/ 160628 h 598853"/>
                <a:gd name="connsiteX313" fmla="*/ 230191 w 520657"/>
                <a:gd name="connsiteY313" fmla="*/ 160628 h 598853"/>
                <a:gd name="connsiteX314" fmla="*/ 228725 w 520657"/>
                <a:gd name="connsiteY314" fmla="*/ 163561 h 598853"/>
                <a:gd name="connsiteX315" fmla="*/ 229539 w 520657"/>
                <a:gd name="connsiteY315" fmla="*/ 167308 h 598853"/>
                <a:gd name="connsiteX316" fmla="*/ 228562 w 520657"/>
                <a:gd name="connsiteY316" fmla="*/ 169914 h 598853"/>
                <a:gd name="connsiteX317" fmla="*/ 226444 w 520657"/>
                <a:gd name="connsiteY317" fmla="*/ 166330 h 598853"/>
                <a:gd name="connsiteX318" fmla="*/ 226444 w 520657"/>
                <a:gd name="connsiteY318" fmla="*/ 161769 h 598853"/>
                <a:gd name="connsiteX319" fmla="*/ 223023 w 520657"/>
                <a:gd name="connsiteY319" fmla="*/ 157207 h 598853"/>
                <a:gd name="connsiteX320" fmla="*/ 219602 w 520657"/>
                <a:gd name="connsiteY320" fmla="*/ 160954 h 598853"/>
                <a:gd name="connsiteX321" fmla="*/ 216018 w 520657"/>
                <a:gd name="connsiteY321" fmla="*/ 161932 h 598853"/>
                <a:gd name="connsiteX322" fmla="*/ 214225 w 520657"/>
                <a:gd name="connsiteY322" fmla="*/ 158999 h 598853"/>
                <a:gd name="connsiteX323" fmla="*/ 215529 w 520657"/>
                <a:gd name="connsiteY323" fmla="*/ 156882 h 598853"/>
                <a:gd name="connsiteX324" fmla="*/ 212596 w 520657"/>
                <a:gd name="connsiteY324" fmla="*/ 156556 h 598853"/>
                <a:gd name="connsiteX325" fmla="*/ 208524 w 520657"/>
                <a:gd name="connsiteY325" fmla="*/ 160954 h 598853"/>
                <a:gd name="connsiteX326" fmla="*/ 211945 w 520657"/>
                <a:gd name="connsiteY326" fmla="*/ 164701 h 598853"/>
                <a:gd name="connsiteX327" fmla="*/ 217321 w 520657"/>
                <a:gd name="connsiteY327" fmla="*/ 164701 h 598853"/>
                <a:gd name="connsiteX328" fmla="*/ 221719 w 520657"/>
                <a:gd name="connsiteY328" fmla="*/ 167145 h 598853"/>
                <a:gd name="connsiteX329" fmla="*/ 219276 w 520657"/>
                <a:gd name="connsiteY329" fmla="*/ 171055 h 598853"/>
                <a:gd name="connsiteX330" fmla="*/ 209990 w 520657"/>
                <a:gd name="connsiteY330" fmla="*/ 172358 h 598853"/>
                <a:gd name="connsiteX331" fmla="*/ 208035 w 520657"/>
                <a:gd name="connsiteY331" fmla="*/ 170566 h 598853"/>
                <a:gd name="connsiteX332" fmla="*/ 204288 w 520657"/>
                <a:gd name="connsiteY332" fmla="*/ 170566 h 598853"/>
                <a:gd name="connsiteX333" fmla="*/ 202333 w 520657"/>
                <a:gd name="connsiteY333" fmla="*/ 175453 h 598853"/>
                <a:gd name="connsiteX334" fmla="*/ 205428 w 520657"/>
                <a:gd name="connsiteY334" fmla="*/ 178386 h 598853"/>
                <a:gd name="connsiteX335" fmla="*/ 202333 w 520657"/>
                <a:gd name="connsiteY335" fmla="*/ 182621 h 598853"/>
                <a:gd name="connsiteX336" fmla="*/ 206080 w 520657"/>
                <a:gd name="connsiteY336" fmla="*/ 181807 h 598853"/>
                <a:gd name="connsiteX337" fmla="*/ 210804 w 520657"/>
                <a:gd name="connsiteY337" fmla="*/ 176431 h 598853"/>
                <a:gd name="connsiteX338" fmla="*/ 214877 w 520657"/>
                <a:gd name="connsiteY338" fmla="*/ 176431 h 598853"/>
                <a:gd name="connsiteX339" fmla="*/ 217158 w 520657"/>
                <a:gd name="connsiteY339" fmla="*/ 179852 h 598853"/>
                <a:gd name="connsiteX340" fmla="*/ 210316 w 520657"/>
                <a:gd name="connsiteY340" fmla="*/ 180666 h 598853"/>
                <a:gd name="connsiteX341" fmla="*/ 209338 w 520657"/>
                <a:gd name="connsiteY341" fmla="*/ 185716 h 598853"/>
                <a:gd name="connsiteX342" fmla="*/ 211782 w 520657"/>
                <a:gd name="connsiteY342" fmla="*/ 189463 h 598853"/>
                <a:gd name="connsiteX343" fmla="*/ 217158 w 520657"/>
                <a:gd name="connsiteY343" fmla="*/ 192721 h 598853"/>
                <a:gd name="connsiteX344" fmla="*/ 217158 w 520657"/>
                <a:gd name="connsiteY344" fmla="*/ 196631 h 598853"/>
                <a:gd name="connsiteX345" fmla="*/ 213248 w 520657"/>
                <a:gd name="connsiteY345" fmla="*/ 193699 h 598853"/>
                <a:gd name="connsiteX346" fmla="*/ 210153 w 520657"/>
                <a:gd name="connsiteY346" fmla="*/ 194025 h 598853"/>
                <a:gd name="connsiteX347" fmla="*/ 206243 w 520657"/>
                <a:gd name="connsiteY347" fmla="*/ 188975 h 598853"/>
                <a:gd name="connsiteX348" fmla="*/ 203962 w 520657"/>
                <a:gd name="connsiteY348" fmla="*/ 189300 h 598853"/>
                <a:gd name="connsiteX349" fmla="*/ 200867 w 520657"/>
                <a:gd name="connsiteY349" fmla="*/ 192559 h 598853"/>
                <a:gd name="connsiteX350" fmla="*/ 204288 w 520657"/>
                <a:gd name="connsiteY350" fmla="*/ 195328 h 598853"/>
                <a:gd name="connsiteX351" fmla="*/ 199564 w 520657"/>
                <a:gd name="connsiteY351" fmla="*/ 195654 h 598853"/>
                <a:gd name="connsiteX352" fmla="*/ 195165 w 520657"/>
                <a:gd name="connsiteY352" fmla="*/ 198912 h 598853"/>
                <a:gd name="connsiteX353" fmla="*/ 195165 w 520657"/>
                <a:gd name="connsiteY353" fmla="*/ 202007 h 598853"/>
                <a:gd name="connsiteX354" fmla="*/ 200052 w 520657"/>
                <a:gd name="connsiteY354" fmla="*/ 204125 h 598853"/>
                <a:gd name="connsiteX355" fmla="*/ 204125 w 520657"/>
                <a:gd name="connsiteY355" fmla="*/ 201356 h 598853"/>
                <a:gd name="connsiteX356" fmla="*/ 206894 w 520657"/>
                <a:gd name="connsiteY356" fmla="*/ 204125 h 598853"/>
                <a:gd name="connsiteX357" fmla="*/ 211130 w 520657"/>
                <a:gd name="connsiteY357" fmla="*/ 202822 h 598853"/>
                <a:gd name="connsiteX358" fmla="*/ 212434 w 520657"/>
                <a:gd name="connsiteY358" fmla="*/ 206895 h 598853"/>
                <a:gd name="connsiteX359" fmla="*/ 215529 w 520657"/>
                <a:gd name="connsiteY359" fmla="*/ 208687 h 598853"/>
                <a:gd name="connsiteX360" fmla="*/ 215529 w 520657"/>
                <a:gd name="connsiteY360" fmla="*/ 211619 h 598853"/>
                <a:gd name="connsiteX361" fmla="*/ 209012 w 520657"/>
                <a:gd name="connsiteY361" fmla="*/ 207383 h 598853"/>
                <a:gd name="connsiteX362" fmla="*/ 203800 w 520657"/>
                <a:gd name="connsiteY362" fmla="*/ 207383 h 598853"/>
                <a:gd name="connsiteX363" fmla="*/ 201355 w 520657"/>
                <a:gd name="connsiteY363" fmla="*/ 209012 h 598853"/>
                <a:gd name="connsiteX364" fmla="*/ 194187 w 520657"/>
                <a:gd name="connsiteY364" fmla="*/ 210153 h 598853"/>
                <a:gd name="connsiteX365" fmla="*/ 194187 w 520657"/>
                <a:gd name="connsiteY365" fmla="*/ 214063 h 598853"/>
                <a:gd name="connsiteX366" fmla="*/ 190115 w 520657"/>
                <a:gd name="connsiteY366" fmla="*/ 216180 h 598853"/>
                <a:gd name="connsiteX367" fmla="*/ 188323 w 520657"/>
                <a:gd name="connsiteY367" fmla="*/ 214551 h 598853"/>
                <a:gd name="connsiteX368" fmla="*/ 182132 w 520657"/>
                <a:gd name="connsiteY368" fmla="*/ 217810 h 598853"/>
                <a:gd name="connsiteX369" fmla="*/ 178711 w 520657"/>
                <a:gd name="connsiteY369" fmla="*/ 217810 h 598853"/>
                <a:gd name="connsiteX370" fmla="*/ 178060 w 520657"/>
                <a:gd name="connsiteY370" fmla="*/ 220416 h 598853"/>
                <a:gd name="connsiteX371" fmla="*/ 181969 w 520657"/>
                <a:gd name="connsiteY371" fmla="*/ 222045 h 598853"/>
                <a:gd name="connsiteX372" fmla="*/ 184902 w 520657"/>
                <a:gd name="connsiteY372" fmla="*/ 225629 h 598853"/>
                <a:gd name="connsiteX373" fmla="*/ 181481 w 520657"/>
                <a:gd name="connsiteY373" fmla="*/ 226932 h 598853"/>
                <a:gd name="connsiteX374" fmla="*/ 179526 w 520657"/>
                <a:gd name="connsiteY374" fmla="*/ 225955 h 598853"/>
                <a:gd name="connsiteX375" fmla="*/ 178223 w 520657"/>
                <a:gd name="connsiteY375" fmla="*/ 227095 h 598853"/>
                <a:gd name="connsiteX376" fmla="*/ 181318 w 520657"/>
                <a:gd name="connsiteY376" fmla="*/ 230028 h 598853"/>
                <a:gd name="connsiteX377" fmla="*/ 180177 w 520657"/>
                <a:gd name="connsiteY377" fmla="*/ 231983 h 598853"/>
                <a:gd name="connsiteX378" fmla="*/ 175453 w 520657"/>
                <a:gd name="connsiteY378" fmla="*/ 231168 h 598853"/>
                <a:gd name="connsiteX379" fmla="*/ 174802 w 520657"/>
                <a:gd name="connsiteY379" fmla="*/ 229865 h 598853"/>
                <a:gd name="connsiteX380" fmla="*/ 173173 w 520657"/>
                <a:gd name="connsiteY380" fmla="*/ 231331 h 598853"/>
                <a:gd name="connsiteX381" fmla="*/ 176430 w 520657"/>
                <a:gd name="connsiteY381" fmla="*/ 234100 h 598853"/>
                <a:gd name="connsiteX382" fmla="*/ 174313 w 520657"/>
                <a:gd name="connsiteY382" fmla="*/ 235892 h 598853"/>
                <a:gd name="connsiteX383" fmla="*/ 174964 w 520657"/>
                <a:gd name="connsiteY383" fmla="*/ 238825 h 598853"/>
                <a:gd name="connsiteX384" fmla="*/ 177734 w 520657"/>
                <a:gd name="connsiteY384" fmla="*/ 238825 h 598853"/>
                <a:gd name="connsiteX385" fmla="*/ 174964 w 520657"/>
                <a:gd name="connsiteY385" fmla="*/ 240617 h 598853"/>
                <a:gd name="connsiteX386" fmla="*/ 171869 w 520657"/>
                <a:gd name="connsiteY386" fmla="*/ 241268 h 598853"/>
                <a:gd name="connsiteX387" fmla="*/ 170077 w 520657"/>
                <a:gd name="connsiteY387" fmla="*/ 239476 h 598853"/>
                <a:gd name="connsiteX388" fmla="*/ 170077 w 520657"/>
                <a:gd name="connsiteY388" fmla="*/ 242409 h 598853"/>
                <a:gd name="connsiteX389" fmla="*/ 168448 w 520657"/>
                <a:gd name="connsiteY389" fmla="*/ 245178 h 598853"/>
                <a:gd name="connsiteX390" fmla="*/ 171218 w 520657"/>
                <a:gd name="connsiteY390" fmla="*/ 246319 h 598853"/>
                <a:gd name="connsiteX391" fmla="*/ 177897 w 520657"/>
                <a:gd name="connsiteY391" fmla="*/ 248599 h 598853"/>
                <a:gd name="connsiteX392" fmla="*/ 178874 w 520657"/>
                <a:gd name="connsiteY392" fmla="*/ 251695 h 598853"/>
                <a:gd name="connsiteX393" fmla="*/ 181644 w 520657"/>
                <a:gd name="connsiteY393" fmla="*/ 252509 h 598853"/>
                <a:gd name="connsiteX394" fmla="*/ 185553 w 520657"/>
                <a:gd name="connsiteY394" fmla="*/ 250717 h 598853"/>
                <a:gd name="connsiteX395" fmla="*/ 182458 w 520657"/>
                <a:gd name="connsiteY395" fmla="*/ 253649 h 598853"/>
                <a:gd name="connsiteX396" fmla="*/ 182458 w 520657"/>
                <a:gd name="connsiteY396" fmla="*/ 255930 h 598853"/>
                <a:gd name="connsiteX397" fmla="*/ 178223 w 520657"/>
                <a:gd name="connsiteY397" fmla="*/ 255930 h 598853"/>
                <a:gd name="connsiteX398" fmla="*/ 176268 w 520657"/>
                <a:gd name="connsiteY398" fmla="*/ 253975 h 598853"/>
                <a:gd name="connsiteX399" fmla="*/ 169262 w 520657"/>
                <a:gd name="connsiteY399" fmla="*/ 253975 h 598853"/>
                <a:gd name="connsiteX400" fmla="*/ 164375 w 520657"/>
                <a:gd name="connsiteY400" fmla="*/ 258537 h 598853"/>
                <a:gd name="connsiteX401" fmla="*/ 165841 w 520657"/>
                <a:gd name="connsiteY401" fmla="*/ 260166 h 598853"/>
                <a:gd name="connsiteX402" fmla="*/ 170892 w 520657"/>
                <a:gd name="connsiteY402" fmla="*/ 260166 h 598853"/>
                <a:gd name="connsiteX403" fmla="*/ 171218 w 520657"/>
                <a:gd name="connsiteY403" fmla="*/ 263587 h 598853"/>
                <a:gd name="connsiteX404" fmla="*/ 173661 w 520657"/>
                <a:gd name="connsiteY404" fmla="*/ 265868 h 598853"/>
                <a:gd name="connsiteX405" fmla="*/ 173661 w 520657"/>
                <a:gd name="connsiteY405" fmla="*/ 269778 h 598853"/>
                <a:gd name="connsiteX406" fmla="*/ 170566 w 520657"/>
                <a:gd name="connsiteY406" fmla="*/ 266682 h 598853"/>
                <a:gd name="connsiteX407" fmla="*/ 168285 w 520657"/>
                <a:gd name="connsiteY407" fmla="*/ 266682 h 598853"/>
                <a:gd name="connsiteX408" fmla="*/ 166004 w 520657"/>
                <a:gd name="connsiteY408" fmla="*/ 269615 h 598853"/>
                <a:gd name="connsiteX409" fmla="*/ 166004 w 520657"/>
                <a:gd name="connsiteY409" fmla="*/ 272873 h 598853"/>
                <a:gd name="connsiteX410" fmla="*/ 164864 w 520657"/>
                <a:gd name="connsiteY410" fmla="*/ 273687 h 598853"/>
                <a:gd name="connsiteX411" fmla="*/ 167145 w 520657"/>
                <a:gd name="connsiteY411" fmla="*/ 276457 h 598853"/>
                <a:gd name="connsiteX412" fmla="*/ 167796 w 520657"/>
                <a:gd name="connsiteY412" fmla="*/ 279715 h 598853"/>
                <a:gd name="connsiteX413" fmla="*/ 165678 w 520657"/>
                <a:gd name="connsiteY413" fmla="*/ 279715 h 598853"/>
                <a:gd name="connsiteX414" fmla="*/ 162909 w 520657"/>
                <a:gd name="connsiteY414" fmla="*/ 277271 h 598853"/>
                <a:gd name="connsiteX415" fmla="*/ 161117 w 520657"/>
                <a:gd name="connsiteY415" fmla="*/ 278575 h 598853"/>
                <a:gd name="connsiteX416" fmla="*/ 161117 w 520657"/>
                <a:gd name="connsiteY416" fmla="*/ 282647 h 598853"/>
                <a:gd name="connsiteX417" fmla="*/ 165516 w 520657"/>
                <a:gd name="connsiteY417" fmla="*/ 283788 h 598853"/>
                <a:gd name="connsiteX418" fmla="*/ 166330 w 520657"/>
                <a:gd name="connsiteY418" fmla="*/ 285906 h 598853"/>
                <a:gd name="connsiteX419" fmla="*/ 166004 w 520657"/>
                <a:gd name="connsiteY419" fmla="*/ 288675 h 598853"/>
                <a:gd name="connsiteX420" fmla="*/ 160466 w 520657"/>
                <a:gd name="connsiteY420" fmla="*/ 284928 h 598853"/>
                <a:gd name="connsiteX421" fmla="*/ 158185 w 520657"/>
                <a:gd name="connsiteY421" fmla="*/ 286231 h 598853"/>
                <a:gd name="connsiteX422" fmla="*/ 158185 w 520657"/>
                <a:gd name="connsiteY422" fmla="*/ 290304 h 598853"/>
                <a:gd name="connsiteX423" fmla="*/ 159488 w 520657"/>
                <a:gd name="connsiteY423" fmla="*/ 290630 h 598853"/>
                <a:gd name="connsiteX424" fmla="*/ 159488 w 520657"/>
                <a:gd name="connsiteY424" fmla="*/ 295028 h 598853"/>
                <a:gd name="connsiteX425" fmla="*/ 161280 w 520657"/>
                <a:gd name="connsiteY425" fmla="*/ 299264 h 598853"/>
                <a:gd name="connsiteX426" fmla="*/ 164212 w 520657"/>
                <a:gd name="connsiteY426" fmla="*/ 299264 h 598853"/>
                <a:gd name="connsiteX427" fmla="*/ 166330 w 520657"/>
                <a:gd name="connsiteY427" fmla="*/ 295191 h 598853"/>
                <a:gd name="connsiteX428" fmla="*/ 168611 w 520657"/>
                <a:gd name="connsiteY428" fmla="*/ 295191 h 598853"/>
                <a:gd name="connsiteX429" fmla="*/ 166493 w 520657"/>
                <a:gd name="connsiteY429" fmla="*/ 301056 h 598853"/>
                <a:gd name="connsiteX430" fmla="*/ 163398 w 520657"/>
                <a:gd name="connsiteY430" fmla="*/ 301708 h 598853"/>
                <a:gd name="connsiteX431" fmla="*/ 159162 w 520657"/>
                <a:gd name="connsiteY431" fmla="*/ 306269 h 598853"/>
                <a:gd name="connsiteX432" fmla="*/ 155415 w 520657"/>
                <a:gd name="connsiteY432" fmla="*/ 306269 h 598853"/>
                <a:gd name="connsiteX433" fmla="*/ 152320 w 520657"/>
                <a:gd name="connsiteY433" fmla="*/ 307572 h 598853"/>
                <a:gd name="connsiteX434" fmla="*/ 152320 w 520657"/>
                <a:gd name="connsiteY434" fmla="*/ 309853 h 598853"/>
                <a:gd name="connsiteX435" fmla="*/ 148084 w 520657"/>
                <a:gd name="connsiteY435" fmla="*/ 311645 h 598853"/>
                <a:gd name="connsiteX436" fmla="*/ 144826 w 520657"/>
                <a:gd name="connsiteY436" fmla="*/ 314578 h 598853"/>
                <a:gd name="connsiteX437" fmla="*/ 148247 w 520657"/>
                <a:gd name="connsiteY437" fmla="*/ 316370 h 598853"/>
                <a:gd name="connsiteX438" fmla="*/ 147107 w 520657"/>
                <a:gd name="connsiteY438" fmla="*/ 318487 h 598853"/>
                <a:gd name="connsiteX439" fmla="*/ 140753 w 520657"/>
                <a:gd name="connsiteY439" fmla="*/ 319139 h 598853"/>
                <a:gd name="connsiteX440" fmla="*/ 137821 w 520657"/>
                <a:gd name="connsiteY440" fmla="*/ 323212 h 598853"/>
                <a:gd name="connsiteX441" fmla="*/ 138147 w 520657"/>
                <a:gd name="connsiteY441" fmla="*/ 325167 h 598853"/>
                <a:gd name="connsiteX442" fmla="*/ 143197 w 520657"/>
                <a:gd name="connsiteY442" fmla="*/ 326633 h 598853"/>
                <a:gd name="connsiteX443" fmla="*/ 139287 w 520657"/>
                <a:gd name="connsiteY443" fmla="*/ 328588 h 598853"/>
                <a:gd name="connsiteX444" fmla="*/ 137332 w 520657"/>
                <a:gd name="connsiteY444" fmla="*/ 332823 h 598853"/>
                <a:gd name="connsiteX445" fmla="*/ 133423 w 520657"/>
                <a:gd name="connsiteY445" fmla="*/ 332823 h 598853"/>
                <a:gd name="connsiteX446" fmla="*/ 132608 w 520657"/>
                <a:gd name="connsiteY446" fmla="*/ 329076 h 598853"/>
                <a:gd name="connsiteX447" fmla="*/ 130164 w 520657"/>
                <a:gd name="connsiteY447" fmla="*/ 327610 h 598853"/>
                <a:gd name="connsiteX448" fmla="*/ 128535 w 520657"/>
                <a:gd name="connsiteY448" fmla="*/ 329891 h 598853"/>
                <a:gd name="connsiteX449" fmla="*/ 125277 w 520657"/>
                <a:gd name="connsiteY449" fmla="*/ 329891 h 598853"/>
                <a:gd name="connsiteX450" fmla="*/ 126418 w 520657"/>
                <a:gd name="connsiteY450" fmla="*/ 332823 h 598853"/>
                <a:gd name="connsiteX451" fmla="*/ 124137 w 520657"/>
                <a:gd name="connsiteY451" fmla="*/ 334941 h 598853"/>
                <a:gd name="connsiteX452" fmla="*/ 123485 w 520657"/>
                <a:gd name="connsiteY452" fmla="*/ 337874 h 598853"/>
                <a:gd name="connsiteX453" fmla="*/ 124788 w 520657"/>
                <a:gd name="connsiteY453" fmla="*/ 340317 h 598853"/>
                <a:gd name="connsiteX454" fmla="*/ 118923 w 520657"/>
                <a:gd name="connsiteY454" fmla="*/ 340317 h 598853"/>
                <a:gd name="connsiteX455" fmla="*/ 116480 w 520657"/>
                <a:gd name="connsiteY455" fmla="*/ 341620 h 598853"/>
                <a:gd name="connsiteX456" fmla="*/ 116806 w 520657"/>
                <a:gd name="connsiteY456" fmla="*/ 346834 h 598853"/>
                <a:gd name="connsiteX457" fmla="*/ 112407 w 520657"/>
                <a:gd name="connsiteY457" fmla="*/ 349766 h 598853"/>
                <a:gd name="connsiteX458" fmla="*/ 113059 w 520657"/>
                <a:gd name="connsiteY458" fmla="*/ 351558 h 598853"/>
                <a:gd name="connsiteX459" fmla="*/ 112244 w 520657"/>
                <a:gd name="connsiteY459" fmla="*/ 356771 h 598853"/>
                <a:gd name="connsiteX460" fmla="*/ 108986 w 520657"/>
                <a:gd name="connsiteY460" fmla="*/ 359540 h 598853"/>
                <a:gd name="connsiteX461" fmla="*/ 104587 w 520657"/>
                <a:gd name="connsiteY461" fmla="*/ 363776 h 598853"/>
                <a:gd name="connsiteX462" fmla="*/ 105891 w 520657"/>
                <a:gd name="connsiteY462" fmla="*/ 365731 h 598853"/>
                <a:gd name="connsiteX463" fmla="*/ 110941 w 520657"/>
                <a:gd name="connsiteY463" fmla="*/ 362473 h 598853"/>
                <a:gd name="connsiteX464" fmla="*/ 113711 w 520657"/>
                <a:gd name="connsiteY464" fmla="*/ 362473 h 598853"/>
                <a:gd name="connsiteX465" fmla="*/ 113385 w 520657"/>
                <a:gd name="connsiteY465" fmla="*/ 365568 h 598853"/>
                <a:gd name="connsiteX466" fmla="*/ 110127 w 520657"/>
                <a:gd name="connsiteY466" fmla="*/ 366871 h 598853"/>
                <a:gd name="connsiteX467" fmla="*/ 109801 w 520657"/>
                <a:gd name="connsiteY467" fmla="*/ 371922 h 598853"/>
                <a:gd name="connsiteX468" fmla="*/ 112733 w 520657"/>
                <a:gd name="connsiteY468" fmla="*/ 375831 h 598853"/>
                <a:gd name="connsiteX469" fmla="*/ 118109 w 520657"/>
                <a:gd name="connsiteY469" fmla="*/ 372736 h 598853"/>
                <a:gd name="connsiteX470" fmla="*/ 123974 w 520657"/>
                <a:gd name="connsiteY470" fmla="*/ 371922 h 598853"/>
                <a:gd name="connsiteX471" fmla="*/ 131793 w 520657"/>
                <a:gd name="connsiteY471" fmla="*/ 364428 h 598853"/>
                <a:gd name="connsiteX472" fmla="*/ 131793 w 520657"/>
                <a:gd name="connsiteY472" fmla="*/ 361007 h 598853"/>
                <a:gd name="connsiteX473" fmla="*/ 127721 w 520657"/>
                <a:gd name="connsiteY473" fmla="*/ 362147 h 598853"/>
                <a:gd name="connsiteX474" fmla="*/ 131142 w 520657"/>
                <a:gd name="connsiteY474" fmla="*/ 357586 h 598853"/>
                <a:gd name="connsiteX475" fmla="*/ 132119 w 520657"/>
                <a:gd name="connsiteY475" fmla="*/ 352210 h 598853"/>
                <a:gd name="connsiteX476" fmla="*/ 133911 w 520657"/>
                <a:gd name="connsiteY476" fmla="*/ 351884 h 598853"/>
                <a:gd name="connsiteX477" fmla="*/ 136192 w 520657"/>
                <a:gd name="connsiteY477" fmla="*/ 349766 h 598853"/>
                <a:gd name="connsiteX478" fmla="*/ 140591 w 520657"/>
                <a:gd name="connsiteY478" fmla="*/ 350580 h 598853"/>
                <a:gd name="connsiteX479" fmla="*/ 143360 w 520657"/>
                <a:gd name="connsiteY479" fmla="*/ 350580 h 598853"/>
                <a:gd name="connsiteX480" fmla="*/ 136192 w 520657"/>
                <a:gd name="connsiteY480" fmla="*/ 354979 h 598853"/>
                <a:gd name="connsiteX481" fmla="*/ 136192 w 520657"/>
                <a:gd name="connsiteY481" fmla="*/ 358237 h 598853"/>
                <a:gd name="connsiteX482" fmla="*/ 143034 w 520657"/>
                <a:gd name="connsiteY482" fmla="*/ 360355 h 598853"/>
                <a:gd name="connsiteX483" fmla="*/ 140753 w 520657"/>
                <a:gd name="connsiteY483" fmla="*/ 363450 h 598853"/>
                <a:gd name="connsiteX484" fmla="*/ 137007 w 520657"/>
                <a:gd name="connsiteY484" fmla="*/ 363776 h 598853"/>
                <a:gd name="connsiteX485" fmla="*/ 129839 w 520657"/>
                <a:gd name="connsiteY485" fmla="*/ 371270 h 598853"/>
                <a:gd name="connsiteX486" fmla="*/ 134237 w 520657"/>
                <a:gd name="connsiteY486" fmla="*/ 373551 h 598853"/>
                <a:gd name="connsiteX487" fmla="*/ 131793 w 520657"/>
                <a:gd name="connsiteY487" fmla="*/ 376809 h 598853"/>
                <a:gd name="connsiteX488" fmla="*/ 131793 w 520657"/>
                <a:gd name="connsiteY488" fmla="*/ 381533 h 598853"/>
                <a:gd name="connsiteX489" fmla="*/ 127558 w 520657"/>
                <a:gd name="connsiteY489" fmla="*/ 381207 h 598853"/>
                <a:gd name="connsiteX490" fmla="*/ 123811 w 520657"/>
                <a:gd name="connsiteY490" fmla="*/ 377461 h 598853"/>
                <a:gd name="connsiteX491" fmla="*/ 118598 w 520657"/>
                <a:gd name="connsiteY491" fmla="*/ 377461 h 598853"/>
                <a:gd name="connsiteX492" fmla="*/ 115503 w 520657"/>
                <a:gd name="connsiteY492" fmla="*/ 380230 h 598853"/>
                <a:gd name="connsiteX493" fmla="*/ 115503 w 520657"/>
                <a:gd name="connsiteY493" fmla="*/ 384466 h 598853"/>
                <a:gd name="connsiteX494" fmla="*/ 111267 w 520657"/>
                <a:gd name="connsiteY494" fmla="*/ 386746 h 598853"/>
                <a:gd name="connsiteX495" fmla="*/ 107357 w 520657"/>
                <a:gd name="connsiteY495" fmla="*/ 388864 h 598853"/>
                <a:gd name="connsiteX496" fmla="*/ 110289 w 520657"/>
                <a:gd name="connsiteY496" fmla="*/ 385606 h 598853"/>
                <a:gd name="connsiteX497" fmla="*/ 112407 w 520657"/>
                <a:gd name="connsiteY497" fmla="*/ 383977 h 598853"/>
                <a:gd name="connsiteX498" fmla="*/ 109312 w 520657"/>
                <a:gd name="connsiteY498" fmla="*/ 379904 h 598853"/>
                <a:gd name="connsiteX499" fmla="*/ 109312 w 520657"/>
                <a:gd name="connsiteY499" fmla="*/ 375343 h 598853"/>
                <a:gd name="connsiteX500" fmla="*/ 105891 w 520657"/>
                <a:gd name="connsiteY500" fmla="*/ 370292 h 598853"/>
                <a:gd name="connsiteX501" fmla="*/ 102470 w 520657"/>
                <a:gd name="connsiteY501" fmla="*/ 370292 h 598853"/>
                <a:gd name="connsiteX502" fmla="*/ 100515 w 520657"/>
                <a:gd name="connsiteY502" fmla="*/ 373714 h 598853"/>
                <a:gd name="connsiteX503" fmla="*/ 95628 w 520657"/>
                <a:gd name="connsiteY503" fmla="*/ 374365 h 598853"/>
                <a:gd name="connsiteX504" fmla="*/ 95628 w 520657"/>
                <a:gd name="connsiteY504" fmla="*/ 376646 h 598853"/>
                <a:gd name="connsiteX505" fmla="*/ 101818 w 520657"/>
                <a:gd name="connsiteY505" fmla="*/ 376646 h 598853"/>
                <a:gd name="connsiteX506" fmla="*/ 95465 w 520657"/>
                <a:gd name="connsiteY506" fmla="*/ 382511 h 598853"/>
                <a:gd name="connsiteX507" fmla="*/ 91229 w 520657"/>
                <a:gd name="connsiteY507" fmla="*/ 380556 h 598853"/>
                <a:gd name="connsiteX508" fmla="*/ 87645 w 520657"/>
                <a:gd name="connsiteY508" fmla="*/ 381207 h 598853"/>
                <a:gd name="connsiteX509" fmla="*/ 82758 w 520657"/>
                <a:gd name="connsiteY509" fmla="*/ 385606 h 598853"/>
                <a:gd name="connsiteX510" fmla="*/ 85527 w 520657"/>
                <a:gd name="connsiteY510" fmla="*/ 386258 h 598853"/>
                <a:gd name="connsiteX511" fmla="*/ 87971 w 520657"/>
                <a:gd name="connsiteY511" fmla="*/ 385117 h 598853"/>
                <a:gd name="connsiteX512" fmla="*/ 89274 w 520657"/>
                <a:gd name="connsiteY512" fmla="*/ 386420 h 598853"/>
                <a:gd name="connsiteX513" fmla="*/ 84061 w 520657"/>
                <a:gd name="connsiteY513" fmla="*/ 389679 h 598853"/>
                <a:gd name="connsiteX514" fmla="*/ 81780 w 520657"/>
                <a:gd name="connsiteY514" fmla="*/ 392611 h 598853"/>
                <a:gd name="connsiteX515" fmla="*/ 79500 w 520657"/>
                <a:gd name="connsiteY515" fmla="*/ 390330 h 598853"/>
                <a:gd name="connsiteX516" fmla="*/ 76078 w 520657"/>
                <a:gd name="connsiteY516" fmla="*/ 390330 h 598853"/>
                <a:gd name="connsiteX517" fmla="*/ 75427 w 520657"/>
                <a:gd name="connsiteY517" fmla="*/ 392611 h 598853"/>
                <a:gd name="connsiteX518" fmla="*/ 80966 w 520657"/>
                <a:gd name="connsiteY518" fmla="*/ 395869 h 598853"/>
                <a:gd name="connsiteX519" fmla="*/ 87482 w 520657"/>
                <a:gd name="connsiteY519" fmla="*/ 395869 h 598853"/>
                <a:gd name="connsiteX520" fmla="*/ 86179 w 520657"/>
                <a:gd name="connsiteY520" fmla="*/ 399290 h 598853"/>
                <a:gd name="connsiteX521" fmla="*/ 89111 w 520657"/>
                <a:gd name="connsiteY521" fmla="*/ 400431 h 598853"/>
                <a:gd name="connsiteX522" fmla="*/ 89111 w 520657"/>
                <a:gd name="connsiteY522" fmla="*/ 403526 h 598853"/>
                <a:gd name="connsiteX523" fmla="*/ 83084 w 520657"/>
                <a:gd name="connsiteY523" fmla="*/ 401734 h 598853"/>
                <a:gd name="connsiteX524" fmla="*/ 82106 w 520657"/>
                <a:gd name="connsiteY524" fmla="*/ 398313 h 598853"/>
                <a:gd name="connsiteX525" fmla="*/ 77707 w 520657"/>
                <a:gd name="connsiteY525" fmla="*/ 398313 h 598853"/>
                <a:gd name="connsiteX526" fmla="*/ 73309 w 520657"/>
                <a:gd name="connsiteY526" fmla="*/ 394403 h 598853"/>
                <a:gd name="connsiteX527" fmla="*/ 72332 w 520657"/>
                <a:gd name="connsiteY527" fmla="*/ 391308 h 598853"/>
                <a:gd name="connsiteX528" fmla="*/ 70539 w 520657"/>
                <a:gd name="connsiteY528" fmla="*/ 391308 h 598853"/>
                <a:gd name="connsiteX529" fmla="*/ 69725 w 520657"/>
                <a:gd name="connsiteY529" fmla="*/ 395381 h 598853"/>
                <a:gd name="connsiteX530" fmla="*/ 74123 w 520657"/>
                <a:gd name="connsiteY530" fmla="*/ 401408 h 598853"/>
                <a:gd name="connsiteX531" fmla="*/ 78848 w 520657"/>
                <a:gd name="connsiteY531" fmla="*/ 404829 h 598853"/>
                <a:gd name="connsiteX532" fmla="*/ 82921 w 520657"/>
                <a:gd name="connsiteY532" fmla="*/ 405481 h 598853"/>
                <a:gd name="connsiteX533" fmla="*/ 85039 w 520657"/>
                <a:gd name="connsiteY533" fmla="*/ 407762 h 598853"/>
                <a:gd name="connsiteX534" fmla="*/ 80803 w 520657"/>
                <a:gd name="connsiteY534" fmla="*/ 407762 h 598853"/>
                <a:gd name="connsiteX535" fmla="*/ 73798 w 520657"/>
                <a:gd name="connsiteY535" fmla="*/ 405318 h 598853"/>
                <a:gd name="connsiteX536" fmla="*/ 67282 w 520657"/>
                <a:gd name="connsiteY536" fmla="*/ 397987 h 598853"/>
                <a:gd name="connsiteX537" fmla="*/ 64186 w 520657"/>
                <a:gd name="connsiteY537" fmla="*/ 399942 h 598853"/>
                <a:gd name="connsiteX538" fmla="*/ 60114 w 520657"/>
                <a:gd name="connsiteY538" fmla="*/ 396847 h 598853"/>
                <a:gd name="connsiteX539" fmla="*/ 55063 w 520657"/>
                <a:gd name="connsiteY539" fmla="*/ 396847 h 598853"/>
                <a:gd name="connsiteX540" fmla="*/ 52620 w 520657"/>
                <a:gd name="connsiteY540" fmla="*/ 394729 h 598853"/>
                <a:gd name="connsiteX541" fmla="*/ 50665 w 520657"/>
                <a:gd name="connsiteY541" fmla="*/ 397010 h 598853"/>
                <a:gd name="connsiteX542" fmla="*/ 51479 w 520657"/>
                <a:gd name="connsiteY542" fmla="*/ 400919 h 598853"/>
                <a:gd name="connsiteX543" fmla="*/ 48710 w 520657"/>
                <a:gd name="connsiteY543" fmla="*/ 403363 h 598853"/>
                <a:gd name="connsiteX544" fmla="*/ 52620 w 520657"/>
                <a:gd name="connsiteY544" fmla="*/ 407436 h 598853"/>
                <a:gd name="connsiteX545" fmla="*/ 60928 w 520657"/>
                <a:gd name="connsiteY545" fmla="*/ 404992 h 598853"/>
                <a:gd name="connsiteX546" fmla="*/ 62231 w 520657"/>
                <a:gd name="connsiteY546" fmla="*/ 406784 h 598853"/>
                <a:gd name="connsiteX547" fmla="*/ 58484 w 520657"/>
                <a:gd name="connsiteY547" fmla="*/ 409228 h 598853"/>
                <a:gd name="connsiteX548" fmla="*/ 60439 w 520657"/>
                <a:gd name="connsiteY548" fmla="*/ 410368 h 598853"/>
                <a:gd name="connsiteX549" fmla="*/ 66793 w 520657"/>
                <a:gd name="connsiteY549" fmla="*/ 407273 h 598853"/>
                <a:gd name="connsiteX550" fmla="*/ 69725 w 520657"/>
                <a:gd name="connsiteY550" fmla="*/ 407273 h 598853"/>
                <a:gd name="connsiteX551" fmla="*/ 68259 w 520657"/>
                <a:gd name="connsiteY551" fmla="*/ 410042 h 598853"/>
                <a:gd name="connsiteX552" fmla="*/ 60928 w 520657"/>
                <a:gd name="connsiteY552" fmla="*/ 413138 h 598853"/>
                <a:gd name="connsiteX553" fmla="*/ 57996 w 520657"/>
                <a:gd name="connsiteY553" fmla="*/ 417373 h 598853"/>
                <a:gd name="connsiteX554" fmla="*/ 52945 w 520657"/>
                <a:gd name="connsiteY554" fmla="*/ 416070 h 598853"/>
                <a:gd name="connsiteX555" fmla="*/ 48710 w 520657"/>
                <a:gd name="connsiteY555" fmla="*/ 410531 h 598853"/>
                <a:gd name="connsiteX556" fmla="*/ 46592 w 520657"/>
                <a:gd name="connsiteY556" fmla="*/ 410531 h 598853"/>
                <a:gd name="connsiteX557" fmla="*/ 44148 w 520657"/>
                <a:gd name="connsiteY557" fmla="*/ 412649 h 598853"/>
                <a:gd name="connsiteX558" fmla="*/ 40402 w 520657"/>
                <a:gd name="connsiteY558" fmla="*/ 409391 h 598853"/>
                <a:gd name="connsiteX559" fmla="*/ 37306 w 520657"/>
                <a:gd name="connsiteY559" fmla="*/ 411346 h 598853"/>
                <a:gd name="connsiteX560" fmla="*/ 35188 w 520657"/>
                <a:gd name="connsiteY560" fmla="*/ 410042 h 598853"/>
                <a:gd name="connsiteX561" fmla="*/ 31278 w 520657"/>
                <a:gd name="connsiteY561" fmla="*/ 412323 h 598853"/>
                <a:gd name="connsiteX562" fmla="*/ 32419 w 520657"/>
                <a:gd name="connsiteY562" fmla="*/ 414278 h 598853"/>
                <a:gd name="connsiteX563" fmla="*/ 40402 w 520657"/>
                <a:gd name="connsiteY563" fmla="*/ 415418 h 598853"/>
                <a:gd name="connsiteX564" fmla="*/ 45452 w 520657"/>
                <a:gd name="connsiteY564" fmla="*/ 418677 h 598853"/>
                <a:gd name="connsiteX565" fmla="*/ 51642 w 520657"/>
                <a:gd name="connsiteY565" fmla="*/ 421935 h 598853"/>
                <a:gd name="connsiteX566" fmla="*/ 49850 w 520657"/>
                <a:gd name="connsiteY566" fmla="*/ 426007 h 598853"/>
                <a:gd name="connsiteX567" fmla="*/ 51968 w 520657"/>
                <a:gd name="connsiteY567" fmla="*/ 429266 h 598853"/>
                <a:gd name="connsiteX568" fmla="*/ 48221 w 520657"/>
                <a:gd name="connsiteY568" fmla="*/ 431220 h 598853"/>
                <a:gd name="connsiteX569" fmla="*/ 46755 w 520657"/>
                <a:gd name="connsiteY569" fmla="*/ 429266 h 598853"/>
                <a:gd name="connsiteX570" fmla="*/ 46755 w 520657"/>
                <a:gd name="connsiteY570" fmla="*/ 422749 h 598853"/>
                <a:gd name="connsiteX571" fmla="*/ 42356 w 520657"/>
                <a:gd name="connsiteY571" fmla="*/ 421283 h 598853"/>
                <a:gd name="connsiteX572" fmla="*/ 37632 w 520657"/>
                <a:gd name="connsiteY572" fmla="*/ 422098 h 598853"/>
                <a:gd name="connsiteX573" fmla="*/ 39424 w 520657"/>
                <a:gd name="connsiteY573" fmla="*/ 425356 h 598853"/>
                <a:gd name="connsiteX574" fmla="*/ 38609 w 520657"/>
                <a:gd name="connsiteY574" fmla="*/ 427799 h 598853"/>
                <a:gd name="connsiteX575" fmla="*/ 33071 w 520657"/>
                <a:gd name="connsiteY575" fmla="*/ 424378 h 598853"/>
                <a:gd name="connsiteX576" fmla="*/ 28183 w 520657"/>
                <a:gd name="connsiteY576" fmla="*/ 429428 h 598853"/>
                <a:gd name="connsiteX577" fmla="*/ 33071 w 520657"/>
                <a:gd name="connsiteY577" fmla="*/ 432687 h 598853"/>
                <a:gd name="connsiteX578" fmla="*/ 29161 w 520657"/>
                <a:gd name="connsiteY578" fmla="*/ 433012 h 598853"/>
                <a:gd name="connsiteX579" fmla="*/ 26391 w 520657"/>
                <a:gd name="connsiteY579" fmla="*/ 434153 h 598853"/>
                <a:gd name="connsiteX580" fmla="*/ 25088 w 520657"/>
                <a:gd name="connsiteY580" fmla="*/ 429266 h 598853"/>
                <a:gd name="connsiteX581" fmla="*/ 17757 w 520657"/>
                <a:gd name="connsiteY581" fmla="*/ 429266 h 598853"/>
                <a:gd name="connsiteX582" fmla="*/ 20038 w 520657"/>
                <a:gd name="connsiteY582" fmla="*/ 433827 h 598853"/>
                <a:gd name="connsiteX583" fmla="*/ 16943 w 520657"/>
                <a:gd name="connsiteY583" fmla="*/ 435945 h 598853"/>
                <a:gd name="connsiteX584" fmla="*/ 15639 w 520657"/>
                <a:gd name="connsiteY584" fmla="*/ 431383 h 598853"/>
                <a:gd name="connsiteX585" fmla="*/ 11403 w 520657"/>
                <a:gd name="connsiteY585" fmla="*/ 427474 h 598853"/>
                <a:gd name="connsiteX586" fmla="*/ 9123 w 520657"/>
                <a:gd name="connsiteY586" fmla="*/ 428288 h 598853"/>
                <a:gd name="connsiteX587" fmla="*/ 9775 w 520657"/>
                <a:gd name="connsiteY587" fmla="*/ 431058 h 598853"/>
                <a:gd name="connsiteX588" fmla="*/ 14662 w 520657"/>
                <a:gd name="connsiteY588" fmla="*/ 435456 h 598853"/>
                <a:gd name="connsiteX589" fmla="*/ 12544 w 520657"/>
                <a:gd name="connsiteY589" fmla="*/ 438389 h 598853"/>
                <a:gd name="connsiteX590" fmla="*/ 14662 w 520657"/>
                <a:gd name="connsiteY590" fmla="*/ 440506 h 598853"/>
                <a:gd name="connsiteX591" fmla="*/ 20201 w 520657"/>
                <a:gd name="connsiteY591" fmla="*/ 438714 h 598853"/>
                <a:gd name="connsiteX592" fmla="*/ 27694 w 520657"/>
                <a:gd name="connsiteY592" fmla="*/ 440343 h 598853"/>
                <a:gd name="connsiteX593" fmla="*/ 32582 w 520657"/>
                <a:gd name="connsiteY593" fmla="*/ 443439 h 598853"/>
                <a:gd name="connsiteX594" fmla="*/ 39912 w 520657"/>
                <a:gd name="connsiteY594" fmla="*/ 443439 h 598853"/>
                <a:gd name="connsiteX595" fmla="*/ 42193 w 520657"/>
                <a:gd name="connsiteY595" fmla="*/ 441647 h 598853"/>
                <a:gd name="connsiteX596" fmla="*/ 45941 w 520657"/>
                <a:gd name="connsiteY596" fmla="*/ 441647 h 598853"/>
                <a:gd name="connsiteX597" fmla="*/ 41053 w 520657"/>
                <a:gd name="connsiteY597" fmla="*/ 446534 h 598853"/>
                <a:gd name="connsiteX598" fmla="*/ 34537 w 520657"/>
                <a:gd name="connsiteY598" fmla="*/ 445557 h 598853"/>
                <a:gd name="connsiteX599" fmla="*/ 32093 w 520657"/>
                <a:gd name="connsiteY599" fmla="*/ 446860 h 598853"/>
                <a:gd name="connsiteX600" fmla="*/ 24111 w 520657"/>
                <a:gd name="connsiteY600" fmla="*/ 442787 h 598853"/>
                <a:gd name="connsiteX601" fmla="*/ 19060 w 520657"/>
                <a:gd name="connsiteY601" fmla="*/ 444090 h 598853"/>
                <a:gd name="connsiteX602" fmla="*/ 16780 w 520657"/>
                <a:gd name="connsiteY602" fmla="*/ 443113 h 598853"/>
                <a:gd name="connsiteX603" fmla="*/ 12870 w 520657"/>
                <a:gd name="connsiteY603" fmla="*/ 446371 h 598853"/>
                <a:gd name="connsiteX604" fmla="*/ 7494 w 520657"/>
                <a:gd name="connsiteY604" fmla="*/ 447186 h 598853"/>
                <a:gd name="connsiteX605" fmla="*/ 7168 w 520657"/>
                <a:gd name="connsiteY605" fmla="*/ 449303 h 598853"/>
                <a:gd name="connsiteX606" fmla="*/ 15476 w 520657"/>
                <a:gd name="connsiteY606" fmla="*/ 453050 h 598853"/>
                <a:gd name="connsiteX607" fmla="*/ 12381 w 520657"/>
                <a:gd name="connsiteY607" fmla="*/ 456471 h 598853"/>
                <a:gd name="connsiteX608" fmla="*/ 16454 w 520657"/>
                <a:gd name="connsiteY608" fmla="*/ 457286 h 598853"/>
                <a:gd name="connsiteX609" fmla="*/ 19223 w 520657"/>
                <a:gd name="connsiteY609" fmla="*/ 455494 h 598853"/>
                <a:gd name="connsiteX610" fmla="*/ 26066 w 520657"/>
                <a:gd name="connsiteY610" fmla="*/ 455494 h 598853"/>
                <a:gd name="connsiteX611" fmla="*/ 21015 w 520657"/>
                <a:gd name="connsiteY611" fmla="*/ 458915 h 598853"/>
                <a:gd name="connsiteX612" fmla="*/ 13847 w 520657"/>
                <a:gd name="connsiteY612" fmla="*/ 458915 h 598853"/>
                <a:gd name="connsiteX613" fmla="*/ 11893 w 520657"/>
                <a:gd name="connsiteY613" fmla="*/ 459893 h 598853"/>
                <a:gd name="connsiteX614" fmla="*/ 9775 w 520657"/>
                <a:gd name="connsiteY614" fmla="*/ 459241 h 598853"/>
                <a:gd name="connsiteX615" fmla="*/ 9775 w 520657"/>
                <a:gd name="connsiteY615" fmla="*/ 460707 h 598853"/>
                <a:gd name="connsiteX616" fmla="*/ 13196 w 520657"/>
                <a:gd name="connsiteY616" fmla="*/ 462336 h 598853"/>
                <a:gd name="connsiteX617" fmla="*/ 15965 w 520657"/>
                <a:gd name="connsiteY617" fmla="*/ 462336 h 598853"/>
                <a:gd name="connsiteX618" fmla="*/ 11729 w 520657"/>
                <a:gd name="connsiteY618" fmla="*/ 464780 h 598853"/>
                <a:gd name="connsiteX619" fmla="*/ 9612 w 520657"/>
                <a:gd name="connsiteY619" fmla="*/ 465431 h 598853"/>
                <a:gd name="connsiteX620" fmla="*/ 10263 w 520657"/>
                <a:gd name="connsiteY620" fmla="*/ 467712 h 598853"/>
                <a:gd name="connsiteX621" fmla="*/ 12544 w 520657"/>
                <a:gd name="connsiteY621" fmla="*/ 469341 h 598853"/>
                <a:gd name="connsiteX622" fmla="*/ 14336 w 520657"/>
                <a:gd name="connsiteY622" fmla="*/ 472274 h 598853"/>
                <a:gd name="connsiteX623" fmla="*/ 20201 w 520657"/>
                <a:gd name="connsiteY623" fmla="*/ 471948 h 598853"/>
                <a:gd name="connsiteX624" fmla="*/ 23296 w 520657"/>
                <a:gd name="connsiteY624" fmla="*/ 469667 h 598853"/>
                <a:gd name="connsiteX625" fmla="*/ 30953 w 520657"/>
                <a:gd name="connsiteY625" fmla="*/ 468527 h 598853"/>
                <a:gd name="connsiteX626" fmla="*/ 36166 w 520657"/>
                <a:gd name="connsiteY626" fmla="*/ 469830 h 598853"/>
                <a:gd name="connsiteX627" fmla="*/ 38121 w 520657"/>
                <a:gd name="connsiteY627" fmla="*/ 471133 h 598853"/>
                <a:gd name="connsiteX628" fmla="*/ 41542 w 520657"/>
                <a:gd name="connsiteY628" fmla="*/ 468853 h 598853"/>
                <a:gd name="connsiteX629" fmla="*/ 41542 w 520657"/>
                <a:gd name="connsiteY629" fmla="*/ 465594 h 598853"/>
                <a:gd name="connsiteX630" fmla="*/ 45126 w 520657"/>
                <a:gd name="connsiteY630" fmla="*/ 464617 h 598853"/>
                <a:gd name="connsiteX631" fmla="*/ 46429 w 520657"/>
                <a:gd name="connsiteY631" fmla="*/ 467386 h 598853"/>
                <a:gd name="connsiteX632" fmla="*/ 50176 w 520657"/>
                <a:gd name="connsiteY632" fmla="*/ 467386 h 598853"/>
                <a:gd name="connsiteX633" fmla="*/ 55715 w 520657"/>
                <a:gd name="connsiteY633" fmla="*/ 463314 h 598853"/>
                <a:gd name="connsiteX634" fmla="*/ 58159 w 520657"/>
                <a:gd name="connsiteY634" fmla="*/ 463965 h 598853"/>
                <a:gd name="connsiteX635" fmla="*/ 57181 w 520657"/>
                <a:gd name="connsiteY635" fmla="*/ 466083 h 598853"/>
                <a:gd name="connsiteX636" fmla="*/ 54412 w 520657"/>
                <a:gd name="connsiteY636" fmla="*/ 468038 h 598853"/>
                <a:gd name="connsiteX637" fmla="*/ 59299 w 520657"/>
                <a:gd name="connsiteY637" fmla="*/ 469341 h 598853"/>
                <a:gd name="connsiteX638" fmla="*/ 61580 w 520657"/>
                <a:gd name="connsiteY638" fmla="*/ 467061 h 598853"/>
                <a:gd name="connsiteX639" fmla="*/ 60602 w 520657"/>
                <a:gd name="connsiteY639" fmla="*/ 464291 h 598853"/>
                <a:gd name="connsiteX640" fmla="*/ 64186 w 520657"/>
                <a:gd name="connsiteY640" fmla="*/ 458915 h 598853"/>
                <a:gd name="connsiteX641" fmla="*/ 63209 w 520657"/>
                <a:gd name="connsiteY641" fmla="*/ 462988 h 598853"/>
                <a:gd name="connsiteX642" fmla="*/ 67118 w 520657"/>
                <a:gd name="connsiteY642" fmla="*/ 467549 h 598853"/>
                <a:gd name="connsiteX643" fmla="*/ 64186 w 520657"/>
                <a:gd name="connsiteY643" fmla="*/ 471459 h 598853"/>
                <a:gd name="connsiteX644" fmla="*/ 57507 w 520657"/>
                <a:gd name="connsiteY644" fmla="*/ 473088 h 598853"/>
                <a:gd name="connsiteX645" fmla="*/ 54249 w 520657"/>
                <a:gd name="connsiteY645" fmla="*/ 475532 h 598853"/>
                <a:gd name="connsiteX646" fmla="*/ 56041 w 520657"/>
                <a:gd name="connsiteY646" fmla="*/ 476998 h 598853"/>
                <a:gd name="connsiteX647" fmla="*/ 53760 w 520657"/>
                <a:gd name="connsiteY647" fmla="*/ 480908 h 598853"/>
                <a:gd name="connsiteX648" fmla="*/ 47895 w 520657"/>
                <a:gd name="connsiteY648" fmla="*/ 480908 h 598853"/>
                <a:gd name="connsiteX649" fmla="*/ 47732 w 520657"/>
                <a:gd name="connsiteY649" fmla="*/ 478790 h 598853"/>
                <a:gd name="connsiteX650" fmla="*/ 50665 w 520657"/>
                <a:gd name="connsiteY650" fmla="*/ 476509 h 598853"/>
                <a:gd name="connsiteX651" fmla="*/ 50013 w 520657"/>
                <a:gd name="connsiteY651" fmla="*/ 471948 h 598853"/>
                <a:gd name="connsiteX652" fmla="*/ 45289 w 520657"/>
                <a:gd name="connsiteY652" fmla="*/ 471296 h 598853"/>
                <a:gd name="connsiteX653" fmla="*/ 40076 w 520657"/>
                <a:gd name="connsiteY653" fmla="*/ 476346 h 598853"/>
                <a:gd name="connsiteX654" fmla="*/ 39261 w 520657"/>
                <a:gd name="connsiteY654" fmla="*/ 479116 h 598853"/>
                <a:gd name="connsiteX655" fmla="*/ 35677 w 520657"/>
                <a:gd name="connsiteY655" fmla="*/ 474554 h 598853"/>
                <a:gd name="connsiteX656" fmla="*/ 31278 w 520657"/>
                <a:gd name="connsiteY656" fmla="*/ 473577 h 598853"/>
                <a:gd name="connsiteX657" fmla="*/ 25739 w 520657"/>
                <a:gd name="connsiteY657" fmla="*/ 474554 h 598853"/>
                <a:gd name="connsiteX658" fmla="*/ 22482 w 520657"/>
                <a:gd name="connsiteY658" fmla="*/ 473577 h 598853"/>
                <a:gd name="connsiteX659" fmla="*/ 16291 w 520657"/>
                <a:gd name="connsiteY659" fmla="*/ 476672 h 598853"/>
                <a:gd name="connsiteX660" fmla="*/ 13196 w 520657"/>
                <a:gd name="connsiteY660" fmla="*/ 476672 h 598853"/>
                <a:gd name="connsiteX661" fmla="*/ 9612 w 520657"/>
                <a:gd name="connsiteY661" fmla="*/ 474228 h 598853"/>
                <a:gd name="connsiteX662" fmla="*/ 8309 w 520657"/>
                <a:gd name="connsiteY662" fmla="*/ 474717 h 598853"/>
                <a:gd name="connsiteX663" fmla="*/ 10263 w 520657"/>
                <a:gd name="connsiteY663" fmla="*/ 479442 h 598853"/>
                <a:gd name="connsiteX664" fmla="*/ 8960 w 520657"/>
                <a:gd name="connsiteY664" fmla="*/ 481885 h 598853"/>
                <a:gd name="connsiteX665" fmla="*/ 11241 w 520657"/>
                <a:gd name="connsiteY665" fmla="*/ 483840 h 598853"/>
                <a:gd name="connsiteX666" fmla="*/ 14825 w 520657"/>
                <a:gd name="connsiteY666" fmla="*/ 483026 h 598853"/>
                <a:gd name="connsiteX667" fmla="*/ 16780 w 520657"/>
                <a:gd name="connsiteY667" fmla="*/ 480582 h 598853"/>
                <a:gd name="connsiteX668" fmla="*/ 19712 w 520657"/>
                <a:gd name="connsiteY668" fmla="*/ 480582 h 598853"/>
                <a:gd name="connsiteX669" fmla="*/ 16454 w 520657"/>
                <a:gd name="connsiteY669" fmla="*/ 484329 h 598853"/>
                <a:gd name="connsiteX670" fmla="*/ 16780 w 520657"/>
                <a:gd name="connsiteY670" fmla="*/ 488402 h 598853"/>
                <a:gd name="connsiteX671" fmla="*/ 14825 w 520657"/>
                <a:gd name="connsiteY671" fmla="*/ 490194 h 598853"/>
                <a:gd name="connsiteX672" fmla="*/ 11241 w 520657"/>
                <a:gd name="connsiteY672" fmla="*/ 488239 h 598853"/>
                <a:gd name="connsiteX673" fmla="*/ 12870 w 520657"/>
                <a:gd name="connsiteY673" fmla="*/ 493778 h 598853"/>
                <a:gd name="connsiteX674" fmla="*/ 15802 w 520657"/>
                <a:gd name="connsiteY674" fmla="*/ 496221 h 598853"/>
                <a:gd name="connsiteX675" fmla="*/ 22970 w 520657"/>
                <a:gd name="connsiteY675" fmla="*/ 488239 h 598853"/>
                <a:gd name="connsiteX676" fmla="*/ 28020 w 520657"/>
                <a:gd name="connsiteY676" fmla="*/ 490357 h 598853"/>
                <a:gd name="connsiteX677" fmla="*/ 25902 w 520657"/>
                <a:gd name="connsiteY677" fmla="*/ 492474 h 598853"/>
                <a:gd name="connsiteX678" fmla="*/ 26554 w 520657"/>
                <a:gd name="connsiteY678" fmla="*/ 496547 h 598853"/>
                <a:gd name="connsiteX679" fmla="*/ 20527 w 520657"/>
                <a:gd name="connsiteY679" fmla="*/ 499805 h 598853"/>
                <a:gd name="connsiteX680" fmla="*/ 21504 w 520657"/>
                <a:gd name="connsiteY680" fmla="*/ 501597 h 598853"/>
                <a:gd name="connsiteX681" fmla="*/ 25251 w 520657"/>
                <a:gd name="connsiteY681" fmla="*/ 502249 h 598853"/>
                <a:gd name="connsiteX682" fmla="*/ 23296 w 520657"/>
                <a:gd name="connsiteY682" fmla="*/ 505344 h 598853"/>
                <a:gd name="connsiteX683" fmla="*/ 26066 w 520657"/>
                <a:gd name="connsiteY683" fmla="*/ 509417 h 598853"/>
                <a:gd name="connsiteX684" fmla="*/ 24273 w 520657"/>
                <a:gd name="connsiteY684" fmla="*/ 514304 h 598853"/>
                <a:gd name="connsiteX685" fmla="*/ 25739 w 520657"/>
                <a:gd name="connsiteY685" fmla="*/ 514304 h 598853"/>
                <a:gd name="connsiteX686" fmla="*/ 29650 w 520657"/>
                <a:gd name="connsiteY686" fmla="*/ 508439 h 598853"/>
                <a:gd name="connsiteX687" fmla="*/ 33071 w 520657"/>
                <a:gd name="connsiteY687" fmla="*/ 506485 h 598853"/>
                <a:gd name="connsiteX688" fmla="*/ 33885 w 520657"/>
                <a:gd name="connsiteY688" fmla="*/ 501434 h 598853"/>
                <a:gd name="connsiteX689" fmla="*/ 43171 w 520657"/>
                <a:gd name="connsiteY689" fmla="*/ 497524 h 598853"/>
                <a:gd name="connsiteX690" fmla="*/ 47732 w 520657"/>
                <a:gd name="connsiteY690" fmla="*/ 497850 h 598853"/>
                <a:gd name="connsiteX691" fmla="*/ 51642 w 520657"/>
                <a:gd name="connsiteY691" fmla="*/ 496710 h 598853"/>
                <a:gd name="connsiteX692" fmla="*/ 48873 w 520657"/>
                <a:gd name="connsiteY692" fmla="*/ 498502 h 598853"/>
                <a:gd name="connsiteX693" fmla="*/ 43985 w 520657"/>
                <a:gd name="connsiteY693" fmla="*/ 502249 h 598853"/>
                <a:gd name="connsiteX694" fmla="*/ 43985 w 520657"/>
                <a:gd name="connsiteY694" fmla="*/ 508277 h 598853"/>
                <a:gd name="connsiteX695" fmla="*/ 45452 w 520657"/>
                <a:gd name="connsiteY695" fmla="*/ 512023 h 598853"/>
                <a:gd name="connsiteX696" fmla="*/ 41868 w 520657"/>
                <a:gd name="connsiteY696" fmla="*/ 508928 h 598853"/>
                <a:gd name="connsiteX697" fmla="*/ 41053 w 520657"/>
                <a:gd name="connsiteY697" fmla="*/ 503552 h 598853"/>
                <a:gd name="connsiteX698" fmla="*/ 38284 w 520657"/>
                <a:gd name="connsiteY698" fmla="*/ 503552 h 598853"/>
                <a:gd name="connsiteX699" fmla="*/ 35025 w 520657"/>
                <a:gd name="connsiteY699" fmla="*/ 509417 h 598853"/>
                <a:gd name="connsiteX700" fmla="*/ 32256 w 520657"/>
                <a:gd name="connsiteY700" fmla="*/ 510394 h 598853"/>
                <a:gd name="connsiteX701" fmla="*/ 36980 w 520657"/>
                <a:gd name="connsiteY701" fmla="*/ 512186 h 598853"/>
                <a:gd name="connsiteX702" fmla="*/ 32907 w 520657"/>
                <a:gd name="connsiteY702" fmla="*/ 517562 h 598853"/>
                <a:gd name="connsiteX703" fmla="*/ 29650 w 520657"/>
                <a:gd name="connsiteY703" fmla="*/ 517562 h 598853"/>
                <a:gd name="connsiteX704" fmla="*/ 28183 w 520657"/>
                <a:gd name="connsiteY704" fmla="*/ 520983 h 598853"/>
                <a:gd name="connsiteX705" fmla="*/ 30627 w 520657"/>
                <a:gd name="connsiteY705" fmla="*/ 522124 h 598853"/>
                <a:gd name="connsiteX706" fmla="*/ 37632 w 520657"/>
                <a:gd name="connsiteY706" fmla="*/ 522124 h 598853"/>
                <a:gd name="connsiteX707" fmla="*/ 39424 w 520657"/>
                <a:gd name="connsiteY707" fmla="*/ 525056 h 598853"/>
                <a:gd name="connsiteX708" fmla="*/ 34374 w 520657"/>
                <a:gd name="connsiteY708" fmla="*/ 525382 h 598853"/>
                <a:gd name="connsiteX709" fmla="*/ 32582 w 520657"/>
                <a:gd name="connsiteY709" fmla="*/ 528314 h 598853"/>
                <a:gd name="connsiteX710" fmla="*/ 32256 w 520657"/>
                <a:gd name="connsiteY710" fmla="*/ 531736 h 598853"/>
                <a:gd name="connsiteX711" fmla="*/ 26880 w 520657"/>
                <a:gd name="connsiteY711" fmla="*/ 527989 h 598853"/>
                <a:gd name="connsiteX712" fmla="*/ 24436 w 520657"/>
                <a:gd name="connsiteY712" fmla="*/ 529129 h 598853"/>
                <a:gd name="connsiteX713" fmla="*/ 23459 w 520657"/>
                <a:gd name="connsiteY713" fmla="*/ 533365 h 598853"/>
                <a:gd name="connsiteX714" fmla="*/ 22318 w 520657"/>
                <a:gd name="connsiteY714" fmla="*/ 528314 h 598853"/>
                <a:gd name="connsiteX715" fmla="*/ 19060 w 520657"/>
                <a:gd name="connsiteY715" fmla="*/ 530432 h 598853"/>
                <a:gd name="connsiteX716" fmla="*/ 14662 w 520657"/>
                <a:gd name="connsiteY716" fmla="*/ 536460 h 598853"/>
                <a:gd name="connsiteX717" fmla="*/ 16454 w 520657"/>
                <a:gd name="connsiteY717" fmla="*/ 541021 h 598853"/>
                <a:gd name="connsiteX718" fmla="*/ 23133 w 520657"/>
                <a:gd name="connsiteY718" fmla="*/ 548189 h 598853"/>
                <a:gd name="connsiteX719" fmla="*/ 24436 w 520657"/>
                <a:gd name="connsiteY719" fmla="*/ 544117 h 598853"/>
                <a:gd name="connsiteX720" fmla="*/ 26228 w 520657"/>
                <a:gd name="connsiteY720" fmla="*/ 545583 h 598853"/>
                <a:gd name="connsiteX721" fmla="*/ 29975 w 520657"/>
                <a:gd name="connsiteY721" fmla="*/ 543791 h 598853"/>
                <a:gd name="connsiteX722" fmla="*/ 28998 w 520657"/>
                <a:gd name="connsiteY722" fmla="*/ 541673 h 598853"/>
                <a:gd name="connsiteX723" fmla="*/ 31116 w 520657"/>
                <a:gd name="connsiteY723" fmla="*/ 536786 h 598853"/>
                <a:gd name="connsiteX724" fmla="*/ 36491 w 520657"/>
                <a:gd name="connsiteY724" fmla="*/ 540858 h 598853"/>
                <a:gd name="connsiteX725" fmla="*/ 34048 w 520657"/>
                <a:gd name="connsiteY725" fmla="*/ 542487 h 598853"/>
                <a:gd name="connsiteX726" fmla="*/ 37143 w 520657"/>
                <a:gd name="connsiteY726" fmla="*/ 545746 h 598853"/>
                <a:gd name="connsiteX727" fmla="*/ 36003 w 520657"/>
                <a:gd name="connsiteY727" fmla="*/ 549981 h 598853"/>
                <a:gd name="connsiteX728" fmla="*/ 32745 w 520657"/>
                <a:gd name="connsiteY728" fmla="*/ 552262 h 598853"/>
                <a:gd name="connsiteX729" fmla="*/ 35677 w 520657"/>
                <a:gd name="connsiteY729" fmla="*/ 559430 h 598853"/>
                <a:gd name="connsiteX730" fmla="*/ 37958 w 520657"/>
                <a:gd name="connsiteY730" fmla="*/ 556661 h 598853"/>
                <a:gd name="connsiteX731" fmla="*/ 44148 w 520657"/>
                <a:gd name="connsiteY731" fmla="*/ 554869 h 598853"/>
                <a:gd name="connsiteX732" fmla="*/ 46592 w 520657"/>
                <a:gd name="connsiteY732" fmla="*/ 558290 h 598853"/>
                <a:gd name="connsiteX733" fmla="*/ 41379 w 520657"/>
                <a:gd name="connsiteY733" fmla="*/ 558615 h 598853"/>
                <a:gd name="connsiteX734" fmla="*/ 38935 w 520657"/>
                <a:gd name="connsiteY734" fmla="*/ 560570 h 598853"/>
                <a:gd name="connsiteX735" fmla="*/ 41705 w 520657"/>
                <a:gd name="connsiteY735" fmla="*/ 564806 h 598853"/>
                <a:gd name="connsiteX736" fmla="*/ 41053 w 520657"/>
                <a:gd name="connsiteY736" fmla="*/ 566598 h 598853"/>
                <a:gd name="connsiteX737" fmla="*/ 31930 w 520657"/>
                <a:gd name="connsiteY737" fmla="*/ 560082 h 598853"/>
                <a:gd name="connsiteX738" fmla="*/ 28835 w 520657"/>
                <a:gd name="connsiteY738" fmla="*/ 561222 h 598853"/>
                <a:gd name="connsiteX739" fmla="*/ 25902 w 520657"/>
                <a:gd name="connsiteY739" fmla="*/ 558941 h 598853"/>
                <a:gd name="connsiteX740" fmla="*/ 21993 w 520657"/>
                <a:gd name="connsiteY740" fmla="*/ 558941 h 598853"/>
                <a:gd name="connsiteX741" fmla="*/ 21993 w 520657"/>
                <a:gd name="connsiteY741" fmla="*/ 563014 h 598853"/>
                <a:gd name="connsiteX742" fmla="*/ 19223 w 520657"/>
                <a:gd name="connsiteY742" fmla="*/ 565946 h 598853"/>
                <a:gd name="connsiteX743" fmla="*/ 25577 w 520657"/>
                <a:gd name="connsiteY743" fmla="*/ 576698 h 598853"/>
                <a:gd name="connsiteX744" fmla="*/ 30790 w 520657"/>
                <a:gd name="connsiteY744" fmla="*/ 577676 h 598853"/>
                <a:gd name="connsiteX745" fmla="*/ 37795 w 520657"/>
                <a:gd name="connsiteY745" fmla="*/ 583703 h 598853"/>
                <a:gd name="connsiteX746" fmla="*/ 47407 w 520657"/>
                <a:gd name="connsiteY746" fmla="*/ 587450 h 598853"/>
                <a:gd name="connsiteX747" fmla="*/ 48547 w 520657"/>
                <a:gd name="connsiteY747" fmla="*/ 590546 h 598853"/>
                <a:gd name="connsiteX748" fmla="*/ 46266 w 520657"/>
                <a:gd name="connsiteY748" fmla="*/ 591686 h 598853"/>
                <a:gd name="connsiteX749" fmla="*/ 50013 w 520657"/>
                <a:gd name="connsiteY749" fmla="*/ 595107 h 598853"/>
                <a:gd name="connsiteX750" fmla="*/ 53434 w 520657"/>
                <a:gd name="connsiteY750" fmla="*/ 593478 h 598853"/>
                <a:gd name="connsiteX751" fmla="*/ 51968 w 520657"/>
                <a:gd name="connsiteY751" fmla="*/ 588591 h 598853"/>
                <a:gd name="connsiteX752" fmla="*/ 55063 w 520657"/>
                <a:gd name="connsiteY752" fmla="*/ 588591 h 598853"/>
                <a:gd name="connsiteX753" fmla="*/ 58321 w 520657"/>
                <a:gd name="connsiteY753" fmla="*/ 591034 h 598853"/>
                <a:gd name="connsiteX754" fmla="*/ 57670 w 520657"/>
                <a:gd name="connsiteY754" fmla="*/ 592501 h 598853"/>
                <a:gd name="connsiteX755" fmla="*/ 62720 w 520657"/>
                <a:gd name="connsiteY755" fmla="*/ 598854 h 598853"/>
                <a:gd name="connsiteX756" fmla="*/ 65001 w 520657"/>
                <a:gd name="connsiteY756" fmla="*/ 595922 h 598853"/>
                <a:gd name="connsiteX757" fmla="*/ 66955 w 520657"/>
                <a:gd name="connsiteY757" fmla="*/ 597062 h 598853"/>
                <a:gd name="connsiteX758" fmla="*/ 71354 w 520657"/>
                <a:gd name="connsiteY758" fmla="*/ 595107 h 598853"/>
                <a:gd name="connsiteX759" fmla="*/ 76730 w 520657"/>
                <a:gd name="connsiteY759" fmla="*/ 590057 h 598853"/>
                <a:gd name="connsiteX760" fmla="*/ 79011 w 520657"/>
                <a:gd name="connsiteY760" fmla="*/ 589568 h 598853"/>
                <a:gd name="connsiteX761" fmla="*/ 81129 w 520657"/>
                <a:gd name="connsiteY761" fmla="*/ 587125 h 598853"/>
                <a:gd name="connsiteX762" fmla="*/ 82269 w 520657"/>
                <a:gd name="connsiteY762" fmla="*/ 587450 h 598853"/>
                <a:gd name="connsiteX763" fmla="*/ 83572 w 520657"/>
                <a:gd name="connsiteY763" fmla="*/ 591034 h 598853"/>
                <a:gd name="connsiteX764" fmla="*/ 86668 w 520657"/>
                <a:gd name="connsiteY764" fmla="*/ 591360 h 598853"/>
                <a:gd name="connsiteX765" fmla="*/ 95465 w 520657"/>
                <a:gd name="connsiteY765" fmla="*/ 582563 h 598853"/>
                <a:gd name="connsiteX766" fmla="*/ 95139 w 520657"/>
                <a:gd name="connsiteY766" fmla="*/ 579468 h 598853"/>
                <a:gd name="connsiteX767" fmla="*/ 91229 w 520657"/>
                <a:gd name="connsiteY767" fmla="*/ 574581 h 598853"/>
                <a:gd name="connsiteX768" fmla="*/ 97909 w 520657"/>
                <a:gd name="connsiteY768" fmla="*/ 578816 h 598853"/>
                <a:gd name="connsiteX769" fmla="*/ 103284 w 520657"/>
                <a:gd name="connsiteY769" fmla="*/ 573440 h 598853"/>
                <a:gd name="connsiteX770" fmla="*/ 101818 w 520657"/>
                <a:gd name="connsiteY770" fmla="*/ 571648 h 598853"/>
                <a:gd name="connsiteX771" fmla="*/ 105076 w 520657"/>
                <a:gd name="connsiteY771" fmla="*/ 569367 h 598853"/>
                <a:gd name="connsiteX772" fmla="*/ 104425 w 520657"/>
                <a:gd name="connsiteY772" fmla="*/ 565946 h 598853"/>
                <a:gd name="connsiteX773" fmla="*/ 108334 w 520657"/>
                <a:gd name="connsiteY773" fmla="*/ 563340 h 598853"/>
                <a:gd name="connsiteX774" fmla="*/ 112570 w 520657"/>
                <a:gd name="connsiteY774" fmla="*/ 562525 h 598853"/>
                <a:gd name="connsiteX775" fmla="*/ 113711 w 520657"/>
                <a:gd name="connsiteY775" fmla="*/ 559430 h 598853"/>
                <a:gd name="connsiteX776" fmla="*/ 109638 w 520657"/>
                <a:gd name="connsiteY776" fmla="*/ 554380 h 598853"/>
                <a:gd name="connsiteX777" fmla="*/ 111104 w 520657"/>
                <a:gd name="connsiteY777" fmla="*/ 550959 h 598853"/>
                <a:gd name="connsiteX778" fmla="*/ 107520 w 520657"/>
                <a:gd name="connsiteY778" fmla="*/ 546071 h 598853"/>
                <a:gd name="connsiteX779" fmla="*/ 103121 w 520657"/>
                <a:gd name="connsiteY779" fmla="*/ 542813 h 598853"/>
                <a:gd name="connsiteX780" fmla="*/ 103121 w 520657"/>
                <a:gd name="connsiteY780" fmla="*/ 538578 h 598853"/>
                <a:gd name="connsiteX781" fmla="*/ 105891 w 520657"/>
                <a:gd name="connsiteY781" fmla="*/ 540044 h 598853"/>
                <a:gd name="connsiteX782" fmla="*/ 110778 w 520657"/>
                <a:gd name="connsiteY782" fmla="*/ 545420 h 598853"/>
                <a:gd name="connsiteX783" fmla="*/ 112733 w 520657"/>
                <a:gd name="connsiteY783" fmla="*/ 552425 h 598853"/>
                <a:gd name="connsiteX784" fmla="*/ 114525 w 520657"/>
                <a:gd name="connsiteY784" fmla="*/ 554380 h 598853"/>
                <a:gd name="connsiteX785" fmla="*/ 117620 w 520657"/>
                <a:gd name="connsiteY785" fmla="*/ 554869 h 598853"/>
                <a:gd name="connsiteX786" fmla="*/ 116969 w 520657"/>
                <a:gd name="connsiteY786" fmla="*/ 557638 h 598853"/>
                <a:gd name="connsiteX787" fmla="*/ 119250 w 520657"/>
                <a:gd name="connsiteY787" fmla="*/ 560570 h 598853"/>
                <a:gd name="connsiteX788" fmla="*/ 124137 w 520657"/>
                <a:gd name="connsiteY788" fmla="*/ 558290 h 598853"/>
                <a:gd name="connsiteX789" fmla="*/ 122834 w 520657"/>
                <a:gd name="connsiteY789" fmla="*/ 555520 h 598853"/>
                <a:gd name="connsiteX790" fmla="*/ 120553 w 520657"/>
                <a:gd name="connsiteY790" fmla="*/ 553728 h 598853"/>
                <a:gd name="connsiteX791" fmla="*/ 122345 w 520657"/>
                <a:gd name="connsiteY791" fmla="*/ 550470 h 598853"/>
                <a:gd name="connsiteX792" fmla="*/ 126418 w 520657"/>
                <a:gd name="connsiteY792" fmla="*/ 554217 h 598853"/>
                <a:gd name="connsiteX793" fmla="*/ 126418 w 520657"/>
                <a:gd name="connsiteY793" fmla="*/ 556009 h 598853"/>
                <a:gd name="connsiteX794" fmla="*/ 132934 w 520657"/>
                <a:gd name="connsiteY794" fmla="*/ 549981 h 598853"/>
                <a:gd name="connsiteX795" fmla="*/ 134563 w 520657"/>
                <a:gd name="connsiteY795" fmla="*/ 544442 h 598853"/>
                <a:gd name="connsiteX796" fmla="*/ 133097 w 520657"/>
                <a:gd name="connsiteY796" fmla="*/ 539555 h 598853"/>
                <a:gd name="connsiteX797" fmla="*/ 129676 w 520657"/>
                <a:gd name="connsiteY797" fmla="*/ 538089 h 598853"/>
                <a:gd name="connsiteX798" fmla="*/ 127884 w 520657"/>
                <a:gd name="connsiteY798" fmla="*/ 535319 h 598853"/>
                <a:gd name="connsiteX799" fmla="*/ 130164 w 520657"/>
                <a:gd name="connsiteY799" fmla="*/ 533853 h 598853"/>
                <a:gd name="connsiteX800" fmla="*/ 130490 w 520657"/>
                <a:gd name="connsiteY800" fmla="*/ 531573 h 598853"/>
                <a:gd name="connsiteX801" fmla="*/ 132934 w 520657"/>
                <a:gd name="connsiteY801" fmla="*/ 531247 h 598853"/>
                <a:gd name="connsiteX802" fmla="*/ 134889 w 520657"/>
                <a:gd name="connsiteY802" fmla="*/ 528966 h 598853"/>
                <a:gd name="connsiteX803" fmla="*/ 132282 w 520657"/>
                <a:gd name="connsiteY803" fmla="*/ 525871 h 598853"/>
                <a:gd name="connsiteX804" fmla="*/ 132282 w 520657"/>
                <a:gd name="connsiteY804" fmla="*/ 521146 h 598853"/>
                <a:gd name="connsiteX805" fmla="*/ 136355 w 520657"/>
                <a:gd name="connsiteY805" fmla="*/ 518214 h 598853"/>
                <a:gd name="connsiteX806" fmla="*/ 139939 w 520657"/>
                <a:gd name="connsiteY806" fmla="*/ 521798 h 598853"/>
                <a:gd name="connsiteX807" fmla="*/ 137007 w 520657"/>
                <a:gd name="connsiteY807" fmla="*/ 526359 h 598853"/>
                <a:gd name="connsiteX808" fmla="*/ 137984 w 520657"/>
                <a:gd name="connsiteY808" fmla="*/ 532387 h 598853"/>
                <a:gd name="connsiteX809" fmla="*/ 136844 w 520657"/>
                <a:gd name="connsiteY809" fmla="*/ 536460 h 598853"/>
                <a:gd name="connsiteX810" fmla="*/ 139776 w 520657"/>
                <a:gd name="connsiteY810" fmla="*/ 541021 h 598853"/>
                <a:gd name="connsiteX811" fmla="*/ 140591 w 520657"/>
                <a:gd name="connsiteY811" fmla="*/ 544442 h 598853"/>
                <a:gd name="connsiteX812" fmla="*/ 145966 w 520657"/>
                <a:gd name="connsiteY812" fmla="*/ 549981 h 598853"/>
                <a:gd name="connsiteX813" fmla="*/ 151994 w 520657"/>
                <a:gd name="connsiteY813" fmla="*/ 549330 h 598853"/>
                <a:gd name="connsiteX814" fmla="*/ 154438 w 520657"/>
                <a:gd name="connsiteY814" fmla="*/ 551448 h 598853"/>
                <a:gd name="connsiteX815" fmla="*/ 152971 w 520657"/>
                <a:gd name="connsiteY815" fmla="*/ 553402 h 598853"/>
                <a:gd name="connsiteX816" fmla="*/ 156067 w 520657"/>
                <a:gd name="connsiteY816" fmla="*/ 555520 h 598853"/>
                <a:gd name="connsiteX817" fmla="*/ 158999 w 520657"/>
                <a:gd name="connsiteY817" fmla="*/ 560733 h 598853"/>
                <a:gd name="connsiteX818" fmla="*/ 161769 w 520657"/>
                <a:gd name="connsiteY818" fmla="*/ 555520 h 598853"/>
                <a:gd name="connsiteX819" fmla="*/ 160628 w 520657"/>
                <a:gd name="connsiteY819" fmla="*/ 539718 h 598853"/>
                <a:gd name="connsiteX820" fmla="*/ 156719 w 520657"/>
                <a:gd name="connsiteY820" fmla="*/ 532876 h 598853"/>
                <a:gd name="connsiteX821" fmla="*/ 158673 w 520657"/>
                <a:gd name="connsiteY821" fmla="*/ 528477 h 598853"/>
                <a:gd name="connsiteX822" fmla="*/ 162094 w 520657"/>
                <a:gd name="connsiteY822" fmla="*/ 526685 h 598853"/>
                <a:gd name="connsiteX823" fmla="*/ 159488 w 520657"/>
                <a:gd name="connsiteY823" fmla="*/ 521472 h 598853"/>
                <a:gd name="connsiteX824" fmla="*/ 161117 w 520657"/>
                <a:gd name="connsiteY824" fmla="*/ 518540 h 598853"/>
                <a:gd name="connsiteX825" fmla="*/ 169100 w 520657"/>
                <a:gd name="connsiteY825" fmla="*/ 517725 h 598853"/>
                <a:gd name="connsiteX826" fmla="*/ 171380 w 520657"/>
                <a:gd name="connsiteY826" fmla="*/ 513815 h 598853"/>
                <a:gd name="connsiteX827" fmla="*/ 171055 w 520657"/>
                <a:gd name="connsiteY827" fmla="*/ 508439 h 598853"/>
                <a:gd name="connsiteX828" fmla="*/ 174802 w 520657"/>
                <a:gd name="connsiteY828" fmla="*/ 500457 h 598853"/>
                <a:gd name="connsiteX829" fmla="*/ 171055 w 520657"/>
                <a:gd name="connsiteY829" fmla="*/ 495244 h 598853"/>
                <a:gd name="connsiteX830" fmla="*/ 169262 w 520657"/>
                <a:gd name="connsiteY830" fmla="*/ 483677 h 598853"/>
                <a:gd name="connsiteX831" fmla="*/ 164538 w 520657"/>
                <a:gd name="connsiteY831" fmla="*/ 474228 h 598853"/>
                <a:gd name="connsiteX832" fmla="*/ 164864 w 520657"/>
                <a:gd name="connsiteY832" fmla="*/ 469993 h 598853"/>
                <a:gd name="connsiteX833" fmla="*/ 176430 w 520657"/>
                <a:gd name="connsiteY833" fmla="*/ 466083 h 598853"/>
                <a:gd name="connsiteX834" fmla="*/ 176430 w 520657"/>
                <a:gd name="connsiteY834" fmla="*/ 457775 h 598853"/>
                <a:gd name="connsiteX835" fmla="*/ 179037 w 520657"/>
                <a:gd name="connsiteY835" fmla="*/ 452073 h 598853"/>
                <a:gd name="connsiteX836" fmla="*/ 170240 w 520657"/>
                <a:gd name="connsiteY836" fmla="*/ 442298 h 598853"/>
                <a:gd name="connsiteX837" fmla="*/ 162909 w 520657"/>
                <a:gd name="connsiteY837" fmla="*/ 438551 h 598853"/>
                <a:gd name="connsiteX838" fmla="*/ 162584 w 520657"/>
                <a:gd name="connsiteY838" fmla="*/ 428940 h 598853"/>
                <a:gd name="connsiteX839" fmla="*/ 164212 w 520657"/>
                <a:gd name="connsiteY839" fmla="*/ 419491 h 598853"/>
                <a:gd name="connsiteX840" fmla="*/ 162909 w 520657"/>
                <a:gd name="connsiteY840" fmla="*/ 409228 h 598853"/>
                <a:gd name="connsiteX841" fmla="*/ 160139 w 520657"/>
                <a:gd name="connsiteY841" fmla="*/ 402223 h 598853"/>
                <a:gd name="connsiteX842" fmla="*/ 162420 w 520657"/>
                <a:gd name="connsiteY842" fmla="*/ 394240 h 598853"/>
                <a:gd name="connsiteX843" fmla="*/ 160954 w 520657"/>
                <a:gd name="connsiteY843" fmla="*/ 380719 h 598853"/>
                <a:gd name="connsiteX844" fmla="*/ 158511 w 520657"/>
                <a:gd name="connsiteY844" fmla="*/ 367686 h 598853"/>
                <a:gd name="connsiteX845" fmla="*/ 160303 w 520657"/>
                <a:gd name="connsiteY845" fmla="*/ 356282 h 598853"/>
                <a:gd name="connsiteX846" fmla="*/ 166004 w 520657"/>
                <a:gd name="connsiteY846" fmla="*/ 346182 h 598853"/>
                <a:gd name="connsiteX847" fmla="*/ 171543 w 520657"/>
                <a:gd name="connsiteY847" fmla="*/ 342924 h 598853"/>
                <a:gd name="connsiteX848" fmla="*/ 178385 w 520657"/>
                <a:gd name="connsiteY848" fmla="*/ 344390 h 598853"/>
                <a:gd name="connsiteX849" fmla="*/ 187020 w 520657"/>
                <a:gd name="connsiteY849" fmla="*/ 344879 h 598853"/>
                <a:gd name="connsiteX850" fmla="*/ 191418 w 520657"/>
                <a:gd name="connsiteY850" fmla="*/ 338851 h 598853"/>
                <a:gd name="connsiteX851" fmla="*/ 190603 w 520657"/>
                <a:gd name="connsiteY851" fmla="*/ 329239 h 598853"/>
                <a:gd name="connsiteX852" fmla="*/ 188160 w 520657"/>
                <a:gd name="connsiteY852" fmla="*/ 325330 h 598853"/>
                <a:gd name="connsiteX853" fmla="*/ 188486 w 520657"/>
                <a:gd name="connsiteY853" fmla="*/ 319139 h 598853"/>
                <a:gd name="connsiteX854" fmla="*/ 197120 w 520657"/>
                <a:gd name="connsiteY854" fmla="*/ 297961 h 598853"/>
                <a:gd name="connsiteX855" fmla="*/ 197446 w 520657"/>
                <a:gd name="connsiteY855" fmla="*/ 285743 h 598853"/>
                <a:gd name="connsiteX856" fmla="*/ 200052 w 520657"/>
                <a:gd name="connsiteY856" fmla="*/ 274176 h 598853"/>
                <a:gd name="connsiteX857" fmla="*/ 202659 w 520657"/>
                <a:gd name="connsiteY857" fmla="*/ 267660 h 598853"/>
                <a:gd name="connsiteX858" fmla="*/ 202659 w 520657"/>
                <a:gd name="connsiteY858" fmla="*/ 260329 h 598853"/>
                <a:gd name="connsiteX859" fmla="*/ 198749 w 520657"/>
                <a:gd name="connsiteY859" fmla="*/ 256582 h 598853"/>
                <a:gd name="connsiteX860" fmla="*/ 198749 w 520657"/>
                <a:gd name="connsiteY860" fmla="*/ 251369 h 598853"/>
                <a:gd name="connsiteX861" fmla="*/ 207057 w 520657"/>
                <a:gd name="connsiteY861" fmla="*/ 246645 h 598853"/>
                <a:gd name="connsiteX862" fmla="*/ 215692 w 520657"/>
                <a:gd name="connsiteY862" fmla="*/ 244852 h 598853"/>
                <a:gd name="connsiteX863" fmla="*/ 219764 w 520657"/>
                <a:gd name="connsiteY863" fmla="*/ 241268 h 598853"/>
                <a:gd name="connsiteX864" fmla="*/ 220090 w 520657"/>
                <a:gd name="connsiteY864" fmla="*/ 236055 h 598853"/>
                <a:gd name="connsiteX865" fmla="*/ 227095 w 520657"/>
                <a:gd name="connsiteY865" fmla="*/ 223674 h 598853"/>
                <a:gd name="connsiteX866" fmla="*/ 234263 w 520657"/>
                <a:gd name="connsiteY866" fmla="*/ 213737 h 598853"/>
                <a:gd name="connsiteX867" fmla="*/ 236707 w 520657"/>
                <a:gd name="connsiteY867" fmla="*/ 207872 h 598853"/>
                <a:gd name="connsiteX868" fmla="*/ 233937 w 520657"/>
                <a:gd name="connsiteY868" fmla="*/ 200378 h 598853"/>
                <a:gd name="connsiteX869" fmla="*/ 231005 w 520657"/>
                <a:gd name="connsiteY869" fmla="*/ 197120 h 598853"/>
                <a:gd name="connsiteX870" fmla="*/ 231005 w 520657"/>
                <a:gd name="connsiteY870" fmla="*/ 185391 h 598853"/>
                <a:gd name="connsiteX871" fmla="*/ 234100 w 520657"/>
                <a:gd name="connsiteY871" fmla="*/ 183762 h 598853"/>
                <a:gd name="connsiteX872" fmla="*/ 237196 w 520657"/>
                <a:gd name="connsiteY872" fmla="*/ 179526 h 598853"/>
                <a:gd name="connsiteX873" fmla="*/ 238662 w 520657"/>
                <a:gd name="connsiteY873" fmla="*/ 173335 h 598853"/>
                <a:gd name="connsiteX874" fmla="*/ 242083 w 520657"/>
                <a:gd name="connsiteY874" fmla="*/ 171543 h 598853"/>
                <a:gd name="connsiteX875" fmla="*/ 245993 w 520657"/>
                <a:gd name="connsiteY875" fmla="*/ 163072 h 598853"/>
                <a:gd name="connsiteX876" fmla="*/ 251369 w 520657"/>
                <a:gd name="connsiteY876" fmla="*/ 158999 h 598853"/>
                <a:gd name="connsiteX877" fmla="*/ 257071 w 520657"/>
                <a:gd name="connsiteY877" fmla="*/ 161606 h 598853"/>
                <a:gd name="connsiteX878" fmla="*/ 259514 w 520657"/>
                <a:gd name="connsiteY878" fmla="*/ 164375 h 598853"/>
                <a:gd name="connsiteX879" fmla="*/ 262773 w 520657"/>
                <a:gd name="connsiteY879" fmla="*/ 163887 h 598853"/>
                <a:gd name="connsiteX880" fmla="*/ 266682 w 520657"/>
                <a:gd name="connsiteY880" fmla="*/ 160466 h 598853"/>
                <a:gd name="connsiteX881" fmla="*/ 263587 w 520657"/>
                <a:gd name="connsiteY881" fmla="*/ 155090 h 598853"/>
                <a:gd name="connsiteX882" fmla="*/ 266519 w 520657"/>
                <a:gd name="connsiteY882" fmla="*/ 152320 h 598853"/>
                <a:gd name="connsiteX883" fmla="*/ 266519 w 520657"/>
                <a:gd name="connsiteY883" fmla="*/ 149551 h 598853"/>
                <a:gd name="connsiteX884" fmla="*/ 267823 w 520657"/>
                <a:gd name="connsiteY884" fmla="*/ 146781 h 598853"/>
                <a:gd name="connsiteX885" fmla="*/ 263750 w 520657"/>
                <a:gd name="connsiteY885" fmla="*/ 140265 h 598853"/>
                <a:gd name="connsiteX886" fmla="*/ 266357 w 520657"/>
                <a:gd name="connsiteY886" fmla="*/ 138636 h 598853"/>
                <a:gd name="connsiteX887" fmla="*/ 273687 w 520657"/>
                <a:gd name="connsiteY887" fmla="*/ 138636 h 598853"/>
                <a:gd name="connsiteX888" fmla="*/ 279226 w 520657"/>
                <a:gd name="connsiteY888" fmla="*/ 135866 h 598853"/>
                <a:gd name="connsiteX889" fmla="*/ 287698 w 520657"/>
                <a:gd name="connsiteY889" fmla="*/ 138147 h 598853"/>
                <a:gd name="connsiteX890" fmla="*/ 292911 w 520657"/>
                <a:gd name="connsiteY890" fmla="*/ 141568 h 598853"/>
                <a:gd name="connsiteX891" fmla="*/ 298775 w 520657"/>
                <a:gd name="connsiteY891" fmla="*/ 142057 h 598853"/>
                <a:gd name="connsiteX892" fmla="*/ 302034 w 520657"/>
                <a:gd name="connsiteY892" fmla="*/ 144826 h 598853"/>
                <a:gd name="connsiteX893" fmla="*/ 304640 w 520657"/>
                <a:gd name="connsiteY893" fmla="*/ 143849 h 598853"/>
                <a:gd name="connsiteX894" fmla="*/ 307084 w 520657"/>
                <a:gd name="connsiteY894" fmla="*/ 145315 h 598853"/>
                <a:gd name="connsiteX895" fmla="*/ 307084 w 520657"/>
                <a:gd name="connsiteY895" fmla="*/ 139124 h 598853"/>
                <a:gd name="connsiteX896" fmla="*/ 304314 w 520657"/>
                <a:gd name="connsiteY896" fmla="*/ 135052 h 598853"/>
                <a:gd name="connsiteX897" fmla="*/ 304966 w 520657"/>
                <a:gd name="connsiteY897" fmla="*/ 127069 h 598853"/>
                <a:gd name="connsiteX898" fmla="*/ 309039 w 520657"/>
                <a:gd name="connsiteY898" fmla="*/ 124788 h 598853"/>
                <a:gd name="connsiteX899" fmla="*/ 307735 w 520657"/>
                <a:gd name="connsiteY899" fmla="*/ 119412 h 598853"/>
                <a:gd name="connsiteX900" fmla="*/ 303662 w 520657"/>
                <a:gd name="connsiteY900" fmla="*/ 117132 h 598853"/>
                <a:gd name="connsiteX901" fmla="*/ 303337 w 520657"/>
                <a:gd name="connsiteY901" fmla="*/ 111919 h 598853"/>
                <a:gd name="connsiteX902" fmla="*/ 309202 w 520657"/>
                <a:gd name="connsiteY902" fmla="*/ 113711 h 598853"/>
                <a:gd name="connsiteX903" fmla="*/ 314903 w 520657"/>
                <a:gd name="connsiteY903" fmla="*/ 112570 h 598853"/>
                <a:gd name="connsiteX904" fmla="*/ 316858 w 520657"/>
                <a:gd name="connsiteY904" fmla="*/ 111593 h 598853"/>
                <a:gd name="connsiteX905" fmla="*/ 316858 w 520657"/>
                <a:gd name="connsiteY905" fmla="*/ 111593 h 598853"/>
                <a:gd name="connsiteX906" fmla="*/ 317836 w 520657"/>
                <a:gd name="connsiteY906" fmla="*/ 109964 h 598853"/>
                <a:gd name="connsiteX907" fmla="*/ 319953 w 520657"/>
                <a:gd name="connsiteY907" fmla="*/ 110941 h 598853"/>
                <a:gd name="connsiteX908" fmla="*/ 321746 w 520657"/>
                <a:gd name="connsiteY908" fmla="*/ 109801 h 598853"/>
                <a:gd name="connsiteX909" fmla="*/ 320279 w 520657"/>
                <a:gd name="connsiteY909" fmla="*/ 105891 h 598853"/>
                <a:gd name="connsiteX910" fmla="*/ 321257 w 520657"/>
                <a:gd name="connsiteY910" fmla="*/ 101492 h 598853"/>
                <a:gd name="connsiteX911" fmla="*/ 324678 w 520657"/>
                <a:gd name="connsiteY911" fmla="*/ 98560 h 598853"/>
                <a:gd name="connsiteX912" fmla="*/ 329402 w 520657"/>
                <a:gd name="connsiteY912" fmla="*/ 99375 h 598853"/>
                <a:gd name="connsiteX913" fmla="*/ 333312 w 520657"/>
                <a:gd name="connsiteY913" fmla="*/ 105076 h 598853"/>
                <a:gd name="connsiteX914" fmla="*/ 344227 w 520657"/>
                <a:gd name="connsiteY914" fmla="*/ 113874 h 598853"/>
                <a:gd name="connsiteX915" fmla="*/ 346182 w 520657"/>
                <a:gd name="connsiteY915" fmla="*/ 119249 h 598853"/>
                <a:gd name="connsiteX916" fmla="*/ 350255 w 520657"/>
                <a:gd name="connsiteY916" fmla="*/ 124788 h 598853"/>
                <a:gd name="connsiteX917" fmla="*/ 357423 w 520657"/>
                <a:gd name="connsiteY917" fmla="*/ 127721 h 598853"/>
                <a:gd name="connsiteX918" fmla="*/ 369478 w 520657"/>
                <a:gd name="connsiteY918" fmla="*/ 128047 h 598853"/>
                <a:gd name="connsiteX919" fmla="*/ 375668 w 520657"/>
                <a:gd name="connsiteY919" fmla="*/ 122019 h 598853"/>
                <a:gd name="connsiteX920" fmla="*/ 379089 w 520657"/>
                <a:gd name="connsiteY920" fmla="*/ 118272 h 598853"/>
                <a:gd name="connsiteX921" fmla="*/ 384466 w 520657"/>
                <a:gd name="connsiteY921" fmla="*/ 118272 h 598853"/>
                <a:gd name="connsiteX922" fmla="*/ 392937 w 520657"/>
                <a:gd name="connsiteY922" fmla="*/ 124300 h 598853"/>
                <a:gd name="connsiteX923" fmla="*/ 398639 w 520657"/>
                <a:gd name="connsiteY923" fmla="*/ 125277 h 598853"/>
                <a:gd name="connsiteX924" fmla="*/ 401571 w 520657"/>
                <a:gd name="connsiteY924" fmla="*/ 119738 h 598853"/>
                <a:gd name="connsiteX925" fmla="*/ 404829 w 520657"/>
                <a:gd name="connsiteY925" fmla="*/ 117946 h 598853"/>
                <a:gd name="connsiteX926" fmla="*/ 408902 w 520657"/>
                <a:gd name="connsiteY926" fmla="*/ 114036 h 598853"/>
                <a:gd name="connsiteX927" fmla="*/ 413300 w 520657"/>
                <a:gd name="connsiteY927" fmla="*/ 114362 h 598853"/>
                <a:gd name="connsiteX928" fmla="*/ 417699 w 520657"/>
                <a:gd name="connsiteY928" fmla="*/ 111430 h 598853"/>
                <a:gd name="connsiteX929" fmla="*/ 419491 w 520657"/>
                <a:gd name="connsiteY929" fmla="*/ 108172 h 598853"/>
                <a:gd name="connsiteX930" fmla="*/ 417699 w 520657"/>
                <a:gd name="connsiteY930" fmla="*/ 103773 h 598853"/>
                <a:gd name="connsiteX931" fmla="*/ 415255 w 520657"/>
                <a:gd name="connsiteY931" fmla="*/ 95954 h 598853"/>
                <a:gd name="connsiteX932" fmla="*/ 416559 w 520657"/>
                <a:gd name="connsiteY932" fmla="*/ 82921 h 598853"/>
                <a:gd name="connsiteX933" fmla="*/ 418188 w 520657"/>
                <a:gd name="connsiteY933" fmla="*/ 78848 h 598853"/>
                <a:gd name="connsiteX934" fmla="*/ 415744 w 520657"/>
                <a:gd name="connsiteY934" fmla="*/ 74938 h 598853"/>
                <a:gd name="connsiteX935" fmla="*/ 418676 w 520657"/>
                <a:gd name="connsiteY935" fmla="*/ 73146 h 598853"/>
                <a:gd name="connsiteX936" fmla="*/ 422749 w 520657"/>
                <a:gd name="connsiteY936" fmla="*/ 67607 h 598853"/>
                <a:gd name="connsiteX937" fmla="*/ 422423 w 520657"/>
                <a:gd name="connsiteY937" fmla="*/ 64675 h 598853"/>
                <a:gd name="connsiteX938" fmla="*/ 427800 w 520657"/>
                <a:gd name="connsiteY938" fmla="*/ 62231 h 598853"/>
                <a:gd name="connsiteX939" fmla="*/ 434478 w 520657"/>
                <a:gd name="connsiteY939" fmla="*/ 63535 h 598853"/>
                <a:gd name="connsiteX940" fmla="*/ 438389 w 520657"/>
                <a:gd name="connsiteY940" fmla="*/ 62557 h 598853"/>
                <a:gd name="connsiteX941" fmla="*/ 438062 w 520657"/>
                <a:gd name="connsiteY941" fmla="*/ 60276 h 598853"/>
                <a:gd name="connsiteX942" fmla="*/ 442298 w 520657"/>
                <a:gd name="connsiteY942" fmla="*/ 55715 h 598853"/>
                <a:gd name="connsiteX943" fmla="*/ 453213 w 520657"/>
                <a:gd name="connsiteY943" fmla="*/ 55715 h 598853"/>
                <a:gd name="connsiteX944" fmla="*/ 457937 w 520657"/>
                <a:gd name="connsiteY944" fmla="*/ 58810 h 598853"/>
                <a:gd name="connsiteX945" fmla="*/ 464128 w 520657"/>
                <a:gd name="connsiteY945" fmla="*/ 66630 h 598853"/>
                <a:gd name="connsiteX946" fmla="*/ 467712 w 520657"/>
                <a:gd name="connsiteY946" fmla="*/ 70377 h 598853"/>
                <a:gd name="connsiteX947" fmla="*/ 473251 w 520657"/>
                <a:gd name="connsiteY947" fmla="*/ 72332 h 598853"/>
                <a:gd name="connsiteX948" fmla="*/ 481722 w 520657"/>
                <a:gd name="connsiteY948" fmla="*/ 73309 h 598853"/>
                <a:gd name="connsiteX949" fmla="*/ 483189 w 520657"/>
                <a:gd name="connsiteY949" fmla="*/ 77545 h 598853"/>
                <a:gd name="connsiteX950" fmla="*/ 488239 w 520657"/>
                <a:gd name="connsiteY950" fmla="*/ 82921 h 598853"/>
                <a:gd name="connsiteX951" fmla="*/ 487424 w 520657"/>
                <a:gd name="connsiteY951" fmla="*/ 88134 h 598853"/>
                <a:gd name="connsiteX952" fmla="*/ 482862 w 520657"/>
                <a:gd name="connsiteY952" fmla="*/ 95302 h 598853"/>
                <a:gd name="connsiteX953" fmla="*/ 483840 w 520657"/>
                <a:gd name="connsiteY953" fmla="*/ 105728 h 598853"/>
                <a:gd name="connsiteX954" fmla="*/ 483840 w 520657"/>
                <a:gd name="connsiteY954" fmla="*/ 105728 h 598853"/>
                <a:gd name="connsiteX955" fmla="*/ 22970 w 520657"/>
                <a:gd name="connsiteY955" fmla="*/ 551122 h 598853"/>
                <a:gd name="connsiteX956" fmla="*/ 26228 w 520657"/>
                <a:gd name="connsiteY956" fmla="*/ 554380 h 598853"/>
                <a:gd name="connsiteX957" fmla="*/ 22318 w 520657"/>
                <a:gd name="connsiteY957" fmla="*/ 555846 h 598853"/>
                <a:gd name="connsiteX958" fmla="*/ 22970 w 520657"/>
                <a:gd name="connsiteY958" fmla="*/ 551122 h 598853"/>
                <a:gd name="connsiteX959" fmla="*/ 22970 w 520657"/>
                <a:gd name="connsiteY959" fmla="*/ 551122 h 598853"/>
                <a:gd name="connsiteX960" fmla="*/ 11403 w 520657"/>
                <a:gd name="connsiteY960" fmla="*/ 522613 h 598853"/>
                <a:gd name="connsiteX961" fmla="*/ 14336 w 520657"/>
                <a:gd name="connsiteY961" fmla="*/ 521635 h 598853"/>
                <a:gd name="connsiteX962" fmla="*/ 17105 w 520657"/>
                <a:gd name="connsiteY962" fmla="*/ 524567 h 598853"/>
                <a:gd name="connsiteX963" fmla="*/ 15314 w 520657"/>
                <a:gd name="connsiteY963" fmla="*/ 528314 h 598853"/>
                <a:gd name="connsiteX964" fmla="*/ 11403 w 520657"/>
                <a:gd name="connsiteY964" fmla="*/ 522613 h 598853"/>
                <a:gd name="connsiteX965" fmla="*/ 11403 w 520657"/>
                <a:gd name="connsiteY965" fmla="*/ 522613 h 598853"/>
                <a:gd name="connsiteX966" fmla="*/ 20201 w 520657"/>
                <a:gd name="connsiteY966" fmla="*/ 512675 h 598853"/>
                <a:gd name="connsiteX967" fmla="*/ 20201 w 520657"/>
                <a:gd name="connsiteY967" fmla="*/ 516748 h 598853"/>
                <a:gd name="connsiteX968" fmla="*/ 17920 w 520657"/>
                <a:gd name="connsiteY968" fmla="*/ 517236 h 598853"/>
                <a:gd name="connsiteX969" fmla="*/ 20201 w 520657"/>
                <a:gd name="connsiteY969" fmla="*/ 512675 h 598853"/>
                <a:gd name="connsiteX970" fmla="*/ 20201 w 520657"/>
                <a:gd name="connsiteY970" fmla="*/ 512675 h 598853"/>
                <a:gd name="connsiteX971" fmla="*/ 15802 w 520657"/>
                <a:gd name="connsiteY971" fmla="*/ 510231 h 598853"/>
                <a:gd name="connsiteX972" fmla="*/ 15150 w 520657"/>
                <a:gd name="connsiteY972" fmla="*/ 514630 h 598853"/>
                <a:gd name="connsiteX973" fmla="*/ 11241 w 520657"/>
                <a:gd name="connsiteY973" fmla="*/ 513815 h 598853"/>
                <a:gd name="connsiteX974" fmla="*/ 15802 w 520657"/>
                <a:gd name="connsiteY974" fmla="*/ 510069 h 598853"/>
                <a:gd name="connsiteX975" fmla="*/ 15802 w 520657"/>
                <a:gd name="connsiteY975" fmla="*/ 510069 h 598853"/>
                <a:gd name="connsiteX976" fmla="*/ 7005 w 520657"/>
                <a:gd name="connsiteY976" fmla="*/ 491008 h 598853"/>
                <a:gd name="connsiteX977" fmla="*/ 3095 w 520657"/>
                <a:gd name="connsiteY977" fmla="*/ 488402 h 598853"/>
                <a:gd name="connsiteX978" fmla="*/ 6842 w 520657"/>
                <a:gd name="connsiteY978" fmla="*/ 485306 h 598853"/>
                <a:gd name="connsiteX979" fmla="*/ 7005 w 520657"/>
                <a:gd name="connsiteY979" fmla="*/ 491008 h 598853"/>
                <a:gd name="connsiteX980" fmla="*/ 7005 w 520657"/>
                <a:gd name="connsiteY980" fmla="*/ 491008 h 598853"/>
                <a:gd name="connsiteX981" fmla="*/ 5213 w 520657"/>
                <a:gd name="connsiteY981" fmla="*/ 494755 h 598853"/>
                <a:gd name="connsiteX982" fmla="*/ 8960 w 520657"/>
                <a:gd name="connsiteY982" fmla="*/ 494755 h 598853"/>
                <a:gd name="connsiteX983" fmla="*/ 7168 w 520657"/>
                <a:gd name="connsiteY983" fmla="*/ 497199 h 598853"/>
                <a:gd name="connsiteX984" fmla="*/ 5376 w 520657"/>
                <a:gd name="connsiteY984" fmla="*/ 494755 h 598853"/>
                <a:gd name="connsiteX985" fmla="*/ 5376 w 520657"/>
                <a:gd name="connsiteY985" fmla="*/ 494755 h 598853"/>
                <a:gd name="connsiteX986" fmla="*/ 14499 w 520657"/>
                <a:gd name="connsiteY986" fmla="*/ 499642 h 598853"/>
                <a:gd name="connsiteX987" fmla="*/ 18409 w 520657"/>
                <a:gd name="connsiteY987" fmla="*/ 504693 h 598853"/>
                <a:gd name="connsiteX988" fmla="*/ 16780 w 520657"/>
                <a:gd name="connsiteY988" fmla="*/ 509417 h 598853"/>
                <a:gd name="connsiteX989" fmla="*/ 14499 w 520657"/>
                <a:gd name="connsiteY989" fmla="*/ 499642 h 598853"/>
                <a:gd name="connsiteX990" fmla="*/ 14499 w 520657"/>
                <a:gd name="connsiteY990" fmla="*/ 499642 h 598853"/>
                <a:gd name="connsiteX991" fmla="*/ 7494 w 520657"/>
                <a:gd name="connsiteY991" fmla="*/ 505996 h 598853"/>
                <a:gd name="connsiteX992" fmla="*/ 4236 w 520657"/>
                <a:gd name="connsiteY992" fmla="*/ 501923 h 598853"/>
                <a:gd name="connsiteX993" fmla="*/ 8960 w 520657"/>
                <a:gd name="connsiteY993" fmla="*/ 500457 h 598853"/>
                <a:gd name="connsiteX994" fmla="*/ 7494 w 520657"/>
                <a:gd name="connsiteY994" fmla="*/ 505996 h 598853"/>
                <a:gd name="connsiteX995" fmla="*/ 7494 w 520657"/>
                <a:gd name="connsiteY995" fmla="*/ 505996 h 598853"/>
                <a:gd name="connsiteX996" fmla="*/ 4236 w 520657"/>
                <a:gd name="connsiteY996" fmla="*/ 476346 h 598853"/>
                <a:gd name="connsiteX997" fmla="*/ 0 w 520657"/>
                <a:gd name="connsiteY997" fmla="*/ 479605 h 598853"/>
                <a:gd name="connsiteX998" fmla="*/ 2607 w 520657"/>
                <a:gd name="connsiteY998" fmla="*/ 481234 h 598853"/>
                <a:gd name="connsiteX999" fmla="*/ 5213 w 520657"/>
                <a:gd name="connsiteY999" fmla="*/ 478627 h 598853"/>
                <a:gd name="connsiteX1000" fmla="*/ 4236 w 520657"/>
                <a:gd name="connsiteY1000" fmla="*/ 476183 h 598853"/>
                <a:gd name="connsiteX1001" fmla="*/ 4236 w 520657"/>
                <a:gd name="connsiteY1001" fmla="*/ 476183 h 598853"/>
                <a:gd name="connsiteX1002" fmla="*/ 2444 w 520657"/>
                <a:gd name="connsiteY1002" fmla="*/ 440669 h 598853"/>
                <a:gd name="connsiteX1003" fmla="*/ 8309 w 520657"/>
                <a:gd name="connsiteY1003" fmla="*/ 443439 h 598853"/>
                <a:gd name="connsiteX1004" fmla="*/ 3584 w 520657"/>
                <a:gd name="connsiteY1004" fmla="*/ 444416 h 598853"/>
                <a:gd name="connsiteX1005" fmla="*/ 2444 w 520657"/>
                <a:gd name="connsiteY1005" fmla="*/ 440669 h 598853"/>
                <a:gd name="connsiteX1006" fmla="*/ 2444 w 520657"/>
                <a:gd name="connsiteY1006" fmla="*/ 440669 h 598853"/>
                <a:gd name="connsiteX1007" fmla="*/ 4073 w 520657"/>
                <a:gd name="connsiteY1007" fmla="*/ 431872 h 598853"/>
                <a:gd name="connsiteX1008" fmla="*/ 8797 w 520657"/>
                <a:gd name="connsiteY1008" fmla="*/ 434967 h 598853"/>
                <a:gd name="connsiteX1009" fmla="*/ 6353 w 520657"/>
                <a:gd name="connsiteY1009" fmla="*/ 438063 h 598853"/>
                <a:gd name="connsiteX1010" fmla="*/ 3910 w 520657"/>
                <a:gd name="connsiteY1010" fmla="*/ 431872 h 598853"/>
                <a:gd name="connsiteX1011" fmla="*/ 3910 w 520657"/>
                <a:gd name="connsiteY1011" fmla="*/ 431872 h 598853"/>
                <a:gd name="connsiteX1012" fmla="*/ 18409 w 520657"/>
                <a:gd name="connsiteY1012" fmla="*/ 421446 h 598853"/>
                <a:gd name="connsiteX1013" fmla="*/ 19875 w 520657"/>
                <a:gd name="connsiteY1013" fmla="*/ 425519 h 598853"/>
                <a:gd name="connsiteX1014" fmla="*/ 15150 w 520657"/>
                <a:gd name="connsiteY1014" fmla="*/ 425519 h 598853"/>
                <a:gd name="connsiteX1015" fmla="*/ 18409 w 520657"/>
                <a:gd name="connsiteY1015" fmla="*/ 421446 h 598853"/>
                <a:gd name="connsiteX1016" fmla="*/ 18409 w 520657"/>
                <a:gd name="connsiteY1016" fmla="*/ 421446 h 598853"/>
                <a:gd name="connsiteX1017" fmla="*/ 22970 w 520657"/>
                <a:gd name="connsiteY1017" fmla="*/ 418351 h 598853"/>
                <a:gd name="connsiteX1018" fmla="*/ 26717 w 520657"/>
                <a:gd name="connsiteY1018" fmla="*/ 419491 h 598853"/>
                <a:gd name="connsiteX1019" fmla="*/ 28346 w 520657"/>
                <a:gd name="connsiteY1019" fmla="*/ 422423 h 598853"/>
                <a:gd name="connsiteX1020" fmla="*/ 23133 w 520657"/>
                <a:gd name="connsiteY1020" fmla="*/ 425519 h 598853"/>
                <a:gd name="connsiteX1021" fmla="*/ 23133 w 520657"/>
                <a:gd name="connsiteY1021" fmla="*/ 418351 h 598853"/>
                <a:gd name="connsiteX1022" fmla="*/ 22970 w 520657"/>
                <a:gd name="connsiteY1022" fmla="*/ 418351 h 598853"/>
                <a:gd name="connsiteX1023" fmla="*/ 68422 w 520657"/>
                <a:gd name="connsiteY1023" fmla="*/ 386583 h 598853"/>
                <a:gd name="connsiteX1024" fmla="*/ 72983 w 520657"/>
                <a:gd name="connsiteY1024" fmla="*/ 381533 h 598853"/>
                <a:gd name="connsiteX1025" fmla="*/ 74287 w 520657"/>
                <a:gd name="connsiteY1025" fmla="*/ 387072 h 598853"/>
                <a:gd name="connsiteX1026" fmla="*/ 71680 w 520657"/>
                <a:gd name="connsiteY1026" fmla="*/ 389353 h 598853"/>
                <a:gd name="connsiteX1027" fmla="*/ 68422 w 520657"/>
                <a:gd name="connsiteY1027" fmla="*/ 386583 h 598853"/>
                <a:gd name="connsiteX1028" fmla="*/ 68422 w 520657"/>
                <a:gd name="connsiteY1028" fmla="*/ 386583 h 598853"/>
                <a:gd name="connsiteX1029" fmla="*/ 70051 w 520657"/>
                <a:gd name="connsiteY1029" fmla="*/ 378112 h 598853"/>
                <a:gd name="connsiteX1030" fmla="*/ 68096 w 520657"/>
                <a:gd name="connsiteY1030" fmla="*/ 380230 h 598853"/>
                <a:gd name="connsiteX1031" fmla="*/ 63209 w 520657"/>
                <a:gd name="connsiteY1031" fmla="*/ 374854 h 598853"/>
                <a:gd name="connsiteX1032" fmla="*/ 68585 w 520657"/>
                <a:gd name="connsiteY1032" fmla="*/ 374365 h 598853"/>
                <a:gd name="connsiteX1033" fmla="*/ 70051 w 520657"/>
                <a:gd name="connsiteY1033" fmla="*/ 378112 h 598853"/>
                <a:gd name="connsiteX1034" fmla="*/ 70051 w 520657"/>
                <a:gd name="connsiteY1034" fmla="*/ 378112 h 598853"/>
                <a:gd name="connsiteX1035" fmla="*/ 74938 w 520657"/>
                <a:gd name="connsiteY1035" fmla="*/ 367523 h 598853"/>
                <a:gd name="connsiteX1036" fmla="*/ 82921 w 520657"/>
                <a:gd name="connsiteY1036" fmla="*/ 360518 h 598853"/>
                <a:gd name="connsiteX1037" fmla="*/ 86342 w 520657"/>
                <a:gd name="connsiteY1037" fmla="*/ 363613 h 598853"/>
                <a:gd name="connsiteX1038" fmla="*/ 81129 w 520657"/>
                <a:gd name="connsiteY1038" fmla="*/ 367197 h 598853"/>
                <a:gd name="connsiteX1039" fmla="*/ 75101 w 520657"/>
                <a:gd name="connsiteY1039" fmla="*/ 367523 h 598853"/>
                <a:gd name="connsiteX1040" fmla="*/ 75101 w 520657"/>
                <a:gd name="connsiteY1040" fmla="*/ 367523 h 598853"/>
                <a:gd name="connsiteX1041" fmla="*/ 76078 w 520657"/>
                <a:gd name="connsiteY1041" fmla="*/ 377135 h 598853"/>
                <a:gd name="connsiteX1042" fmla="*/ 79174 w 520657"/>
                <a:gd name="connsiteY1042" fmla="*/ 371270 h 598853"/>
                <a:gd name="connsiteX1043" fmla="*/ 84224 w 520657"/>
                <a:gd name="connsiteY1043" fmla="*/ 371270 h 598853"/>
                <a:gd name="connsiteX1044" fmla="*/ 85690 w 520657"/>
                <a:gd name="connsiteY1044" fmla="*/ 368500 h 598853"/>
                <a:gd name="connsiteX1045" fmla="*/ 89600 w 520657"/>
                <a:gd name="connsiteY1045" fmla="*/ 368500 h 598853"/>
                <a:gd name="connsiteX1046" fmla="*/ 92207 w 520657"/>
                <a:gd name="connsiteY1046" fmla="*/ 371107 h 598853"/>
                <a:gd name="connsiteX1047" fmla="*/ 88460 w 520657"/>
                <a:gd name="connsiteY1047" fmla="*/ 375669 h 598853"/>
                <a:gd name="connsiteX1048" fmla="*/ 82758 w 520657"/>
                <a:gd name="connsiteY1048" fmla="*/ 375343 h 598853"/>
                <a:gd name="connsiteX1049" fmla="*/ 79337 w 520657"/>
                <a:gd name="connsiteY1049" fmla="*/ 377298 h 598853"/>
                <a:gd name="connsiteX1050" fmla="*/ 75916 w 520657"/>
                <a:gd name="connsiteY1050" fmla="*/ 377298 h 598853"/>
                <a:gd name="connsiteX1051" fmla="*/ 142382 w 520657"/>
                <a:gd name="connsiteY1051" fmla="*/ 304640 h 598853"/>
                <a:gd name="connsiteX1052" fmla="*/ 144337 w 520657"/>
                <a:gd name="connsiteY1052" fmla="*/ 300893 h 598853"/>
                <a:gd name="connsiteX1053" fmla="*/ 150854 w 520657"/>
                <a:gd name="connsiteY1053" fmla="*/ 299753 h 598853"/>
                <a:gd name="connsiteX1054" fmla="*/ 145641 w 520657"/>
                <a:gd name="connsiteY1054" fmla="*/ 306106 h 598853"/>
                <a:gd name="connsiteX1055" fmla="*/ 142546 w 520657"/>
                <a:gd name="connsiteY1055" fmla="*/ 304803 h 598853"/>
                <a:gd name="connsiteX1056" fmla="*/ 142546 w 520657"/>
                <a:gd name="connsiteY1056" fmla="*/ 304803 h 598853"/>
                <a:gd name="connsiteX1057" fmla="*/ 137007 w 520657"/>
                <a:gd name="connsiteY1057" fmla="*/ 316858 h 598853"/>
                <a:gd name="connsiteX1058" fmla="*/ 135214 w 520657"/>
                <a:gd name="connsiteY1058" fmla="*/ 313763 h 598853"/>
                <a:gd name="connsiteX1059" fmla="*/ 130653 w 520657"/>
                <a:gd name="connsiteY1059" fmla="*/ 314089 h 598853"/>
                <a:gd name="connsiteX1060" fmla="*/ 134563 w 520657"/>
                <a:gd name="connsiteY1060" fmla="*/ 309853 h 598853"/>
                <a:gd name="connsiteX1061" fmla="*/ 141731 w 520657"/>
                <a:gd name="connsiteY1061" fmla="*/ 309039 h 598853"/>
                <a:gd name="connsiteX1062" fmla="*/ 145478 w 520657"/>
                <a:gd name="connsiteY1062" fmla="*/ 307410 h 598853"/>
                <a:gd name="connsiteX1063" fmla="*/ 139613 w 520657"/>
                <a:gd name="connsiteY1063" fmla="*/ 314578 h 598853"/>
                <a:gd name="connsiteX1064" fmla="*/ 137007 w 520657"/>
                <a:gd name="connsiteY1064" fmla="*/ 316858 h 598853"/>
                <a:gd name="connsiteX1065" fmla="*/ 137007 w 520657"/>
                <a:gd name="connsiteY1065" fmla="*/ 316858 h 598853"/>
                <a:gd name="connsiteX1066" fmla="*/ 149550 w 520657"/>
                <a:gd name="connsiteY1066" fmla="*/ 273850 h 598853"/>
                <a:gd name="connsiteX1067" fmla="*/ 151505 w 520657"/>
                <a:gd name="connsiteY1067" fmla="*/ 275316 h 598853"/>
                <a:gd name="connsiteX1068" fmla="*/ 151505 w 520657"/>
                <a:gd name="connsiteY1068" fmla="*/ 278412 h 598853"/>
                <a:gd name="connsiteX1069" fmla="*/ 149062 w 520657"/>
                <a:gd name="connsiteY1069" fmla="*/ 280855 h 598853"/>
                <a:gd name="connsiteX1070" fmla="*/ 146781 w 520657"/>
                <a:gd name="connsiteY1070" fmla="*/ 277923 h 598853"/>
                <a:gd name="connsiteX1071" fmla="*/ 149387 w 520657"/>
                <a:gd name="connsiteY1071" fmla="*/ 274013 h 598853"/>
                <a:gd name="connsiteX1072" fmla="*/ 149387 w 520657"/>
                <a:gd name="connsiteY1072" fmla="*/ 274013 h 598853"/>
                <a:gd name="connsiteX1073" fmla="*/ 159162 w 520657"/>
                <a:gd name="connsiteY1073" fmla="*/ 264076 h 598853"/>
                <a:gd name="connsiteX1074" fmla="*/ 161443 w 520657"/>
                <a:gd name="connsiteY1074" fmla="*/ 261632 h 598853"/>
                <a:gd name="connsiteX1075" fmla="*/ 166167 w 520657"/>
                <a:gd name="connsiteY1075" fmla="*/ 262284 h 598853"/>
                <a:gd name="connsiteX1076" fmla="*/ 160139 w 520657"/>
                <a:gd name="connsiteY1076" fmla="*/ 267334 h 598853"/>
                <a:gd name="connsiteX1077" fmla="*/ 159162 w 520657"/>
                <a:gd name="connsiteY1077" fmla="*/ 264239 h 598853"/>
                <a:gd name="connsiteX1078" fmla="*/ 159162 w 520657"/>
                <a:gd name="connsiteY1078" fmla="*/ 264239 h 598853"/>
                <a:gd name="connsiteX1079" fmla="*/ 155741 w 520657"/>
                <a:gd name="connsiteY1079" fmla="*/ 255116 h 598853"/>
                <a:gd name="connsiteX1080" fmla="*/ 160466 w 520657"/>
                <a:gd name="connsiteY1080" fmla="*/ 250066 h 598853"/>
                <a:gd name="connsiteX1081" fmla="*/ 161443 w 520657"/>
                <a:gd name="connsiteY1081" fmla="*/ 254953 h 598853"/>
                <a:gd name="connsiteX1082" fmla="*/ 157370 w 520657"/>
                <a:gd name="connsiteY1082" fmla="*/ 261469 h 598853"/>
                <a:gd name="connsiteX1083" fmla="*/ 155741 w 520657"/>
                <a:gd name="connsiteY1083" fmla="*/ 255116 h 598853"/>
                <a:gd name="connsiteX1084" fmla="*/ 155741 w 520657"/>
                <a:gd name="connsiteY1084" fmla="*/ 255116 h 598853"/>
                <a:gd name="connsiteX1085" fmla="*/ 187509 w 520657"/>
                <a:gd name="connsiteY1085" fmla="*/ 208849 h 598853"/>
                <a:gd name="connsiteX1086" fmla="*/ 189137 w 520657"/>
                <a:gd name="connsiteY1086" fmla="*/ 206406 h 598853"/>
                <a:gd name="connsiteX1087" fmla="*/ 192070 w 520657"/>
                <a:gd name="connsiteY1087" fmla="*/ 206895 h 598853"/>
                <a:gd name="connsiteX1088" fmla="*/ 190115 w 520657"/>
                <a:gd name="connsiteY1088" fmla="*/ 211130 h 598853"/>
                <a:gd name="connsiteX1089" fmla="*/ 187671 w 520657"/>
                <a:gd name="connsiteY1089" fmla="*/ 208849 h 598853"/>
                <a:gd name="connsiteX1090" fmla="*/ 187671 w 520657"/>
                <a:gd name="connsiteY1090" fmla="*/ 208849 h 598853"/>
                <a:gd name="connsiteX1091" fmla="*/ 156882 w 520657"/>
                <a:gd name="connsiteY1091" fmla="*/ 182784 h 598853"/>
                <a:gd name="connsiteX1092" fmla="*/ 158999 w 520657"/>
                <a:gd name="connsiteY1092" fmla="*/ 185391 h 598853"/>
                <a:gd name="connsiteX1093" fmla="*/ 157696 w 520657"/>
                <a:gd name="connsiteY1093" fmla="*/ 187997 h 598853"/>
                <a:gd name="connsiteX1094" fmla="*/ 155089 w 520657"/>
                <a:gd name="connsiteY1094" fmla="*/ 186368 h 598853"/>
                <a:gd name="connsiteX1095" fmla="*/ 157044 w 520657"/>
                <a:gd name="connsiteY1095" fmla="*/ 182784 h 598853"/>
                <a:gd name="connsiteX1096" fmla="*/ 157044 w 520657"/>
                <a:gd name="connsiteY1096" fmla="*/ 182784 h 598853"/>
                <a:gd name="connsiteX1097" fmla="*/ 165516 w 520657"/>
                <a:gd name="connsiteY1097" fmla="*/ 169751 h 598853"/>
                <a:gd name="connsiteX1098" fmla="*/ 159651 w 520657"/>
                <a:gd name="connsiteY1098" fmla="*/ 175453 h 598853"/>
                <a:gd name="connsiteX1099" fmla="*/ 159651 w 520657"/>
                <a:gd name="connsiteY1099" fmla="*/ 170403 h 598853"/>
                <a:gd name="connsiteX1100" fmla="*/ 164212 w 520657"/>
                <a:gd name="connsiteY1100" fmla="*/ 162420 h 598853"/>
                <a:gd name="connsiteX1101" fmla="*/ 165516 w 520657"/>
                <a:gd name="connsiteY1101" fmla="*/ 169588 h 598853"/>
                <a:gd name="connsiteX1102" fmla="*/ 165516 w 520657"/>
                <a:gd name="connsiteY1102" fmla="*/ 169588 h 598853"/>
                <a:gd name="connsiteX1103" fmla="*/ 169100 w 520657"/>
                <a:gd name="connsiteY1103" fmla="*/ 166004 h 598853"/>
                <a:gd name="connsiteX1104" fmla="*/ 167145 w 520657"/>
                <a:gd name="connsiteY1104" fmla="*/ 163072 h 598853"/>
                <a:gd name="connsiteX1105" fmla="*/ 169100 w 520657"/>
                <a:gd name="connsiteY1105" fmla="*/ 160466 h 598853"/>
                <a:gd name="connsiteX1106" fmla="*/ 171380 w 520657"/>
                <a:gd name="connsiteY1106" fmla="*/ 161769 h 598853"/>
                <a:gd name="connsiteX1107" fmla="*/ 169100 w 520657"/>
                <a:gd name="connsiteY1107" fmla="*/ 166004 h 598853"/>
                <a:gd name="connsiteX1108" fmla="*/ 169100 w 520657"/>
                <a:gd name="connsiteY1108" fmla="*/ 166004 h 598853"/>
                <a:gd name="connsiteX1109" fmla="*/ 183925 w 520657"/>
                <a:gd name="connsiteY1109" fmla="*/ 154438 h 598853"/>
                <a:gd name="connsiteX1110" fmla="*/ 183436 w 520657"/>
                <a:gd name="connsiteY1110" fmla="*/ 158674 h 598853"/>
                <a:gd name="connsiteX1111" fmla="*/ 174313 w 520657"/>
                <a:gd name="connsiteY1111" fmla="*/ 165679 h 598853"/>
                <a:gd name="connsiteX1112" fmla="*/ 175779 w 520657"/>
                <a:gd name="connsiteY1112" fmla="*/ 156719 h 598853"/>
                <a:gd name="connsiteX1113" fmla="*/ 184087 w 520657"/>
                <a:gd name="connsiteY1113" fmla="*/ 154438 h 598853"/>
                <a:gd name="connsiteX1114" fmla="*/ 184087 w 520657"/>
                <a:gd name="connsiteY1114" fmla="*/ 154438 h 598853"/>
                <a:gd name="connsiteX1115" fmla="*/ 192233 w 520657"/>
                <a:gd name="connsiteY1115" fmla="*/ 143523 h 598853"/>
                <a:gd name="connsiteX1116" fmla="*/ 195002 w 520657"/>
                <a:gd name="connsiteY1116" fmla="*/ 138962 h 598853"/>
                <a:gd name="connsiteX1117" fmla="*/ 199401 w 520657"/>
                <a:gd name="connsiteY1117" fmla="*/ 142708 h 598853"/>
                <a:gd name="connsiteX1118" fmla="*/ 192233 w 520657"/>
                <a:gd name="connsiteY1118" fmla="*/ 143686 h 598853"/>
                <a:gd name="connsiteX1119" fmla="*/ 192233 w 520657"/>
                <a:gd name="connsiteY1119" fmla="*/ 143686 h 598853"/>
                <a:gd name="connsiteX1120" fmla="*/ 198749 w 520657"/>
                <a:gd name="connsiteY1120" fmla="*/ 145315 h 598853"/>
                <a:gd name="connsiteX1121" fmla="*/ 198749 w 520657"/>
                <a:gd name="connsiteY1121" fmla="*/ 155415 h 598853"/>
                <a:gd name="connsiteX1122" fmla="*/ 193210 w 520657"/>
                <a:gd name="connsiteY1122" fmla="*/ 152809 h 598853"/>
                <a:gd name="connsiteX1123" fmla="*/ 186368 w 520657"/>
                <a:gd name="connsiteY1123" fmla="*/ 157207 h 598853"/>
                <a:gd name="connsiteX1124" fmla="*/ 187020 w 520657"/>
                <a:gd name="connsiteY1124" fmla="*/ 152157 h 598853"/>
                <a:gd name="connsiteX1125" fmla="*/ 198586 w 520657"/>
                <a:gd name="connsiteY1125" fmla="*/ 145152 h 598853"/>
                <a:gd name="connsiteX1126" fmla="*/ 198586 w 520657"/>
                <a:gd name="connsiteY1126" fmla="*/ 145152 h 598853"/>
                <a:gd name="connsiteX1127" fmla="*/ 202170 w 520657"/>
                <a:gd name="connsiteY1127" fmla="*/ 120390 h 598853"/>
                <a:gd name="connsiteX1128" fmla="*/ 203800 w 520657"/>
                <a:gd name="connsiteY1128" fmla="*/ 127232 h 598853"/>
                <a:gd name="connsiteX1129" fmla="*/ 203800 w 520657"/>
                <a:gd name="connsiteY1129" fmla="*/ 135703 h 598853"/>
                <a:gd name="connsiteX1130" fmla="*/ 197120 w 520657"/>
                <a:gd name="connsiteY1130" fmla="*/ 137658 h 598853"/>
                <a:gd name="connsiteX1131" fmla="*/ 194351 w 520657"/>
                <a:gd name="connsiteY1131" fmla="*/ 135215 h 598853"/>
                <a:gd name="connsiteX1132" fmla="*/ 200541 w 520657"/>
                <a:gd name="connsiteY1132" fmla="*/ 130816 h 598853"/>
                <a:gd name="connsiteX1133" fmla="*/ 197120 w 520657"/>
                <a:gd name="connsiteY1133" fmla="*/ 130816 h 598853"/>
                <a:gd name="connsiteX1134" fmla="*/ 190603 w 520657"/>
                <a:gd name="connsiteY1134" fmla="*/ 135866 h 598853"/>
                <a:gd name="connsiteX1135" fmla="*/ 188649 w 520657"/>
                <a:gd name="connsiteY1135" fmla="*/ 132608 h 598853"/>
                <a:gd name="connsiteX1136" fmla="*/ 190441 w 520657"/>
                <a:gd name="connsiteY1136" fmla="*/ 127395 h 598853"/>
                <a:gd name="connsiteX1137" fmla="*/ 195165 w 520657"/>
                <a:gd name="connsiteY1137" fmla="*/ 128535 h 598853"/>
                <a:gd name="connsiteX1138" fmla="*/ 199564 w 520657"/>
                <a:gd name="connsiteY1138" fmla="*/ 123322 h 598853"/>
                <a:gd name="connsiteX1139" fmla="*/ 198586 w 520657"/>
                <a:gd name="connsiteY1139" fmla="*/ 120879 h 598853"/>
                <a:gd name="connsiteX1140" fmla="*/ 201844 w 520657"/>
                <a:gd name="connsiteY1140" fmla="*/ 120390 h 598853"/>
                <a:gd name="connsiteX1141" fmla="*/ 201844 w 520657"/>
                <a:gd name="connsiteY1141" fmla="*/ 120390 h 598853"/>
                <a:gd name="connsiteX1142" fmla="*/ 207709 w 520657"/>
                <a:gd name="connsiteY1142" fmla="*/ 123322 h 598853"/>
                <a:gd name="connsiteX1143" fmla="*/ 205103 w 520657"/>
                <a:gd name="connsiteY1143" fmla="*/ 121530 h 598853"/>
                <a:gd name="connsiteX1144" fmla="*/ 205428 w 520657"/>
                <a:gd name="connsiteY1144" fmla="*/ 114199 h 598853"/>
                <a:gd name="connsiteX1145" fmla="*/ 212271 w 520657"/>
                <a:gd name="connsiteY1145" fmla="*/ 108660 h 598853"/>
                <a:gd name="connsiteX1146" fmla="*/ 212271 w 520657"/>
                <a:gd name="connsiteY1146" fmla="*/ 104099 h 598853"/>
                <a:gd name="connsiteX1147" fmla="*/ 219113 w 520657"/>
                <a:gd name="connsiteY1147" fmla="*/ 101492 h 598853"/>
                <a:gd name="connsiteX1148" fmla="*/ 220416 w 520657"/>
                <a:gd name="connsiteY1148" fmla="*/ 106217 h 598853"/>
                <a:gd name="connsiteX1149" fmla="*/ 215040 w 520657"/>
                <a:gd name="connsiteY1149" fmla="*/ 110127 h 598853"/>
                <a:gd name="connsiteX1150" fmla="*/ 214551 w 520657"/>
                <a:gd name="connsiteY1150" fmla="*/ 115340 h 598853"/>
                <a:gd name="connsiteX1151" fmla="*/ 207709 w 520657"/>
                <a:gd name="connsiteY1151" fmla="*/ 123485 h 598853"/>
                <a:gd name="connsiteX1152" fmla="*/ 207709 w 520657"/>
                <a:gd name="connsiteY1152" fmla="*/ 123485 h 598853"/>
                <a:gd name="connsiteX1153" fmla="*/ 224489 w 520657"/>
                <a:gd name="connsiteY1153" fmla="*/ 126417 h 598853"/>
                <a:gd name="connsiteX1154" fmla="*/ 231005 w 520657"/>
                <a:gd name="connsiteY1154" fmla="*/ 132771 h 598853"/>
                <a:gd name="connsiteX1155" fmla="*/ 222208 w 520657"/>
                <a:gd name="connsiteY1155" fmla="*/ 142383 h 598853"/>
                <a:gd name="connsiteX1156" fmla="*/ 216343 w 520657"/>
                <a:gd name="connsiteY1156" fmla="*/ 145641 h 598853"/>
                <a:gd name="connsiteX1157" fmla="*/ 214389 w 520657"/>
                <a:gd name="connsiteY1157" fmla="*/ 149551 h 598853"/>
                <a:gd name="connsiteX1158" fmla="*/ 210478 w 520657"/>
                <a:gd name="connsiteY1158" fmla="*/ 148247 h 598853"/>
                <a:gd name="connsiteX1159" fmla="*/ 210967 w 520657"/>
                <a:gd name="connsiteY1159" fmla="*/ 143197 h 598853"/>
                <a:gd name="connsiteX1160" fmla="*/ 204940 w 520657"/>
                <a:gd name="connsiteY1160" fmla="*/ 151180 h 598853"/>
                <a:gd name="connsiteX1161" fmla="*/ 202170 w 520657"/>
                <a:gd name="connsiteY1161" fmla="*/ 151180 h 598853"/>
                <a:gd name="connsiteX1162" fmla="*/ 203148 w 520657"/>
                <a:gd name="connsiteY1162" fmla="*/ 144989 h 598853"/>
                <a:gd name="connsiteX1163" fmla="*/ 205754 w 520657"/>
                <a:gd name="connsiteY1163" fmla="*/ 143523 h 598853"/>
                <a:gd name="connsiteX1164" fmla="*/ 205103 w 520657"/>
                <a:gd name="connsiteY1164" fmla="*/ 138962 h 598853"/>
                <a:gd name="connsiteX1165" fmla="*/ 208524 w 520657"/>
                <a:gd name="connsiteY1165" fmla="*/ 134726 h 598853"/>
                <a:gd name="connsiteX1166" fmla="*/ 208524 w 520657"/>
                <a:gd name="connsiteY1166" fmla="*/ 130001 h 598853"/>
                <a:gd name="connsiteX1167" fmla="*/ 214551 w 520657"/>
                <a:gd name="connsiteY1167" fmla="*/ 120553 h 598853"/>
                <a:gd name="connsiteX1168" fmla="*/ 211456 w 520657"/>
                <a:gd name="connsiteY1168" fmla="*/ 134074 h 598853"/>
                <a:gd name="connsiteX1169" fmla="*/ 212759 w 520657"/>
                <a:gd name="connsiteY1169" fmla="*/ 138799 h 598853"/>
                <a:gd name="connsiteX1170" fmla="*/ 216180 w 520657"/>
                <a:gd name="connsiteY1170" fmla="*/ 132282 h 598853"/>
                <a:gd name="connsiteX1171" fmla="*/ 224326 w 520657"/>
                <a:gd name="connsiteY1171" fmla="*/ 131956 h 598853"/>
                <a:gd name="connsiteX1172" fmla="*/ 221230 w 520657"/>
                <a:gd name="connsiteY1172" fmla="*/ 127558 h 598853"/>
                <a:gd name="connsiteX1173" fmla="*/ 221230 w 520657"/>
                <a:gd name="connsiteY1173" fmla="*/ 123811 h 598853"/>
                <a:gd name="connsiteX1174" fmla="*/ 224489 w 520657"/>
                <a:gd name="connsiteY1174" fmla="*/ 126417 h 598853"/>
                <a:gd name="connsiteX1175" fmla="*/ 224489 w 520657"/>
                <a:gd name="connsiteY1175" fmla="*/ 126417 h 598853"/>
                <a:gd name="connsiteX1176" fmla="*/ 223674 w 520657"/>
                <a:gd name="connsiteY1176" fmla="*/ 120716 h 598853"/>
                <a:gd name="connsiteX1177" fmla="*/ 222045 w 520657"/>
                <a:gd name="connsiteY1177" fmla="*/ 119087 h 598853"/>
                <a:gd name="connsiteX1178" fmla="*/ 225792 w 520657"/>
                <a:gd name="connsiteY1178" fmla="*/ 117458 h 598853"/>
                <a:gd name="connsiteX1179" fmla="*/ 231005 w 520657"/>
                <a:gd name="connsiteY1179" fmla="*/ 120064 h 598853"/>
                <a:gd name="connsiteX1180" fmla="*/ 231005 w 520657"/>
                <a:gd name="connsiteY1180" fmla="*/ 123648 h 598853"/>
                <a:gd name="connsiteX1181" fmla="*/ 223674 w 520657"/>
                <a:gd name="connsiteY1181" fmla="*/ 120553 h 598853"/>
                <a:gd name="connsiteX1182" fmla="*/ 223674 w 520657"/>
                <a:gd name="connsiteY1182" fmla="*/ 120553 h 598853"/>
                <a:gd name="connsiteX1183" fmla="*/ 237684 w 520657"/>
                <a:gd name="connsiteY1183" fmla="*/ 128209 h 598853"/>
                <a:gd name="connsiteX1184" fmla="*/ 239314 w 520657"/>
                <a:gd name="connsiteY1184" fmla="*/ 122019 h 598853"/>
                <a:gd name="connsiteX1185" fmla="*/ 242083 w 520657"/>
                <a:gd name="connsiteY1185" fmla="*/ 126255 h 598853"/>
                <a:gd name="connsiteX1186" fmla="*/ 237684 w 520657"/>
                <a:gd name="connsiteY1186" fmla="*/ 128209 h 598853"/>
                <a:gd name="connsiteX1187" fmla="*/ 237684 w 520657"/>
                <a:gd name="connsiteY1187" fmla="*/ 128209 h 598853"/>
                <a:gd name="connsiteX1188" fmla="*/ 255116 w 520657"/>
                <a:gd name="connsiteY1188" fmla="*/ 100678 h 598853"/>
                <a:gd name="connsiteX1189" fmla="*/ 254138 w 520657"/>
                <a:gd name="connsiteY1189" fmla="*/ 103610 h 598853"/>
                <a:gd name="connsiteX1190" fmla="*/ 255278 w 520657"/>
                <a:gd name="connsiteY1190" fmla="*/ 107846 h 598853"/>
                <a:gd name="connsiteX1191" fmla="*/ 249903 w 520657"/>
                <a:gd name="connsiteY1191" fmla="*/ 108986 h 598853"/>
                <a:gd name="connsiteX1192" fmla="*/ 247948 w 520657"/>
                <a:gd name="connsiteY1192" fmla="*/ 111919 h 598853"/>
                <a:gd name="connsiteX1193" fmla="*/ 242083 w 520657"/>
                <a:gd name="connsiteY1193" fmla="*/ 111430 h 598853"/>
                <a:gd name="connsiteX1194" fmla="*/ 240780 w 520657"/>
                <a:gd name="connsiteY1194" fmla="*/ 117783 h 598853"/>
                <a:gd name="connsiteX1195" fmla="*/ 238499 w 520657"/>
                <a:gd name="connsiteY1195" fmla="*/ 117783 h 598853"/>
                <a:gd name="connsiteX1196" fmla="*/ 238336 w 520657"/>
                <a:gd name="connsiteY1196" fmla="*/ 113222 h 598853"/>
                <a:gd name="connsiteX1197" fmla="*/ 234100 w 520657"/>
                <a:gd name="connsiteY1197" fmla="*/ 112733 h 598853"/>
                <a:gd name="connsiteX1198" fmla="*/ 238336 w 520657"/>
                <a:gd name="connsiteY1198" fmla="*/ 107357 h 598853"/>
                <a:gd name="connsiteX1199" fmla="*/ 233286 w 520657"/>
                <a:gd name="connsiteY1199" fmla="*/ 106868 h 598853"/>
                <a:gd name="connsiteX1200" fmla="*/ 235567 w 520657"/>
                <a:gd name="connsiteY1200" fmla="*/ 101004 h 598853"/>
                <a:gd name="connsiteX1201" fmla="*/ 242083 w 520657"/>
                <a:gd name="connsiteY1201" fmla="*/ 100515 h 598853"/>
                <a:gd name="connsiteX1202" fmla="*/ 236055 w 520657"/>
                <a:gd name="connsiteY1202" fmla="*/ 97420 h 598853"/>
                <a:gd name="connsiteX1203" fmla="*/ 239151 w 520657"/>
                <a:gd name="connsiteY1203" fmla="*/ 91881 h 598853"/>
                <a:gd name="connsiteX1204" fmla="*/ 243060 w 520657"/>
                <a:gd name="connsiteY1204" fmla="*/ 94813 h 598853"/>
                <a:gd name="connsiteX1205" fmla="*/ 241920 w 520657"/>
                <a:gd name="connsiteY1205" fmla="*/ 89274 h 598853"/>
                <a:gd name="connsiteX1206" fmla="*/ 249740 w 520657"/>
                <a:gd name="connsiteY1206" fmla="*/ 90089 h 598853"/>
                <a:gd name="connsiteX1207" fmla="*/ 250554 w 520657"/>
                <a:gd name="connsiteY1207" fmla="*/ 94162 h 598853"/>
                <a:gd name="connsiteX1208" fmla="*/ 253975 w 520657"/>
                <a:gd name="connsiteY1208" fmla="*/ 95302 h 598853"/>
                <a:gd name="connsiteX1209" fmla="*/ 255278 w 520657"/>
                <a:gd name="connsiteY1209" fmla="*/ 101167 h 598853"/>
                <a:gd name="connsiteX1210" fmla="*/ 255278 w 520657"/>
                <a:gd name="connsiteY1210" fmla="*/ 101167 h 598853"/>
                <a:gd name="connsiteX1211" fmla="*/ 255116 w 520657"/>
                <a:gd name="connsiteY1211" fmla="*/ 85853 h 598853"/>
                <a:gd name="connsiteX1212" fmla="*/ 261958 w 520657"/>
                <a:gd name="connsiteY1212" fmla="*/ 85527 h 598853"/>
                <a:gd name="connsiteX1213" fmla="*/ 261958 w 520657"/>
                <a:gd name="connsiteY1213" fmla="*/ 81617 h 598853"/>
                <a:gd name="connsiteX1214" fmla="*/ 268148 w 520657"/>
                <a:gd name="connsiteY1214" fmla="*/ 81455 h 598853"/>
                <a:gd name="connsiteX1215" fmla="*/ 271081 w 520657"/>
                <a:gd name="connsiteY1215" fmla="*/ 77382 h 598853"/>
                <a:gd name="connsiteX1216" fmla="*/ 274339 w 520657"/>
                <a:gd name="connsiteY1216" fmla="*/ 82432 h 598853"/>
                <a:gd name="connsiteX1217" fmla="*/ 270918 w 520657"/>
                <a:gd name="connsiteY1217" fmla="*/ 86831 h 598853"/>
                <a:gd name="connsiteX1218" fmla="*/ 270918 w 520657"/>
                <a:gd name="connsiteY1218" fmla="*/ 90578 h 598853"/>
                <a:gd name="connsiteX1219" fmla="*/ 265053 w 520657"/>
                <a:gd name="connsiteY1219" fmla="*/ 90740 h 598853"/>
                <a:gd name="connsiteX1220" fmla="*/ 260329 w 520657"/>
                <a:gd name="connsiteY1220" fmla="*/ 92532 h 598853"/>
                <a:gd name="connsiteX1221" fmla="*/ 255116 w 520657"/>
                <a:gd name="connsiteY1221" fmla="*/ 85853 h 598853"/>
                <a:gd name="connsiteX1222" fmla="*/ 255116 w 520657"/>
                <a:gd name="connsiteY1222" fmla="*/ 85853 h 598853"/>
                <a:gd name="connsiteX1223" fmla="*/ 275805 w 520657"/>
                <a:gd name="connsiteY1223" fmla="*/ 57344 h 598853"/>
                <a:gd name="connsiteX1224" fmla="*/ 274502 w 520657"/>
                <a:gd name="connsiteY1224" fmla="*/ 53923 h 598853"/>
                <a:gd name="connsiteX1225" fmla="*/ 278900 w 520657"/>
                <a:gd name="connsiteY1225" fmla="*/ 52457 h 598853"/>
                <a:gd name="connsiteX1226" fmla="*/ 275805 w 520657"/>
                <a:gd name="connsiteY1226" fmla="*/ 57507 h 598853"/>
                <a:gd name="connsiteX1227" fmla="*/ 275805 w 520657"/>
                <a:gd name="connsiteY1227" fmla="*/ 57507 h 598853"/>
                <a:gd name="connsiteX1228" fmla="*/ 266519 w 520657"/>
                <a:gd name="connsiteY1228" fmla="*/ 67281 h 598853"/>
                <a:gd name="connsiteX1229" fmla="*/ 266845 w 520657"/>
                <a:gd name="connsiteY1229" fmla="*/ 61417 h 598853"/>
                <a:gd name="connsiteX1230" fmla="*/ 273525 w 520657"/>
                <a:gd name="connsiteY1230" fmla="*/ 59625 h 598853"/>
                <a:gd name="connsiteX1231" fmla="*/ 273036 w 520657"/>
                <a:gd name="connsiteY1231" fmla="*/ 63046 h 598853"/>
                <a:gd name="connsiteX1232" fmla="*/ 266519 w 520657"/>
                <a:gd name="connsiteY1232" fmla="*/ 67281 h 598853"/>
                <a:gd name="connsiteX1233" fmla="*/ 266519 w 520657"/>
                <a:gd name="connsiteY1233" fmla="*/ 67281 h 598853"/>
                <a:gd name="connsiteX1234" fmla="*/ 283625 w 520657"/>
                <a:gd name="connsiteY1234" fmla="*/ 76567 h 598853"/>
                <a:gd name="connsiteX1235" fmla="*/ 285091 w 520657"/>
                <a:gd name="connsiteY1235" fmla="*/ 69725 h 598853"/>
                <a:gd name="connsiteX1236" fmla="*/ 287371 w 520657"/>
                <a:gd name="connsiteY1236" fmla="*/ 74449 h 598853"/>
                <a:gd name="connsiteX1237" fmla="*/ 283625 w 520657"/>
                <a:gd name="connsiteY1237" fmla="*/ 76404 h 598853"/>
                <a:gd name="connsiteX1238" fmla="*/ 283625 w 520657"/>
                <a:gd name="connsiteY1238" fmla="*/ 76404 h 598853"/>
                <a:gd name="connsiteX1239" fmla="*/ 281018 w 520657"/>
                <a:gd name="connsiteY1239" fmla="*/ 75101 h 598853"/>
                <a:gd name="connsiteX1240" fmla="*/ 279552 w 520657"/>
                <a:gd name="connsiteY1240" fmla="*/ 77382 h 598853"/>
                <a:gd name="connsiteX1241" fmla="*/ 276131 w 520657"/>
                <a:gd name="connsiteY1241" fmla="*/ 77382 h 598853"/>
                <a:gd name="connsiteX1242" fmla="*/ 269614 w 520657"/>
                <a:gd name="connsiteY1242" fmla="*/ 70703 h 598853"/>
                <a:gd name="connsiteX1243" fmla="*/ 277597 w 520657"/>
                <a:gd name="connsiteY1243" fmla="*/ 64023 h 598853"/>
                <a:gd name="connsiteX1244" fmla="*/ 279389 w 520657"/>
                <a:gd name="connsiteY1244" fmla="*/ 66956 h 598853"/>
                <a:gd name="connsiteX1245" fmla="*/ 283787 w 520657"/>
                <a:gd name="connsiteY1245" fmla="*/ 66141 h 598853"/>
                <a:gd name="connsiteX1246" fmla="*/ 284602 w 520657"/>
                <a:gd name="connsiteY1246" fmla="*/ 67607 h 598853"/>
                <a:gd name="connsiteX1247" fmla="*/ 280530 w 520657"/>
                <a:gd name="connsiteY1247" fmla="*/ 70540 h 598853"/>
                <a:gd name="connsiteX1248" fmla="*/ 281018 w 520657"/>
                <a:gd name="connsiteY1248" fmla="*/ 74938 h 598853"/>
                <a:gd name="connsiteX1249" fmla="*/ 281018 w 520657"/>
                <a:gd name="connsiteY1249" fmla="*/ 74938 h 598853"/>
                <a:gd name="connsiteX1250" fmla="*/ 294540 w 520657"/>
                <a:gd name="connsiteY1250" fmla="*/ 63046 h 598853"/>
                <a:gd name="connsiteX1251" fmla="*/ 292259 w 520657"/>
                <a:gd name="connsiteY1251" fmla="*/ 64838 h 598853"/>
                <a:gd name="connsiteX1252" fmla="*/ 286557 w 520657"/>
                <a:gd name="connsiteY1252" fmla="*/ 62394 h 598853"/>
                <a:gd name="connsiteX1253" fmla="*/ 286232 w 520657"/>
                <a:gd name="connsiteY1253" fmla="*/ 57833 h 598853"/>
                <a:gd name="connsiteX1254" fmla="*/ 284439 w 520657"/>
                <a:gd name="connsiteY1254" fmla="*/ 51153 h 598853"/>
                <a:gd name="connsiteX1255" fmla="*/ 287371 w 520657"/>
                <a:gd name="connsiteY1255" fmla="*/ 49199 h 598853"/>
                <a:gd name="connsiteX1256" fmla="*/ 288512 w 520657"/>
                <a:gd name="connsiteY1256" fmla="*/ 56204 h 598853"/>
                <a:gd name="connsiteX1257" fmla="*/ 293236 w 520657"/>
                <a:gd name="connsiteY1257" fmla="*/ 59951 h 598853"/>
                <a:gd name="connsiteX1258" fmla="*/ 294703 w 520657"/>
                <a:gd name="connsiteY1258" fmla="*/ 63046 h 598853"/>
                <a:gd name="connsiteX1259" fmla="*/ 294703 w 520657"/>
                <a:gd name="connsiteY1259" fmla="*/ 63046 h 598853"/>
                <a:gd name="connsiteX1260" fmla="*/ 308550 w 520657"/>
                <a:gd name="connsiteY1260" fmla="*/ 70703 h 598853"/>
                <a:gd name="connsiteX1261" fmla="*/ 305618 w 520657"/>
                <a:gd name="connsiteY1261" fmla="*/ 66467 h 598853"/>
                <a:gd name="connsiteX1262" fmla="*/ 301871 w 520657"/>
                <a:gd name="connsiteY1262" fmla="*/ 65001 h 598853"/>
                <a:gd name="connsiteX1263" fmla="*/ 301382 w 520657"/>
                <a:gd name="connsiteY1263" fmla="*/ 56529 h 598853"/>
                <a:gd name="connsiteX1264" fmla="*/ 304803 w 520657"/>
                <a:gd name="connsiteY1264" fmla="*/ 53271 h 598853"/>
                <a:gd name="connsiteX1265" fmla="*/ 310016 w 520657"/>
                <a:gd name="connsiteY1265" fmla="*/ 57181 h 598853"/>
                <a:gd name="connsiteX1266" fmla="*/ 307735 w 520657"/>
                <a:gd name="connsiteY1266" fmla="*/ 62231 h 598853"/>
                <a:gd name="connsiteX1267" fmla="*/ 310668 w 520657"/>
                <a:gd name="connsiteY1267" fmla="*/ 66141 h 598853"/>
                <a:gd name="connsiteX1268" fmla="*/ 308387 w 520657"/>
                <a:gd name="connsiteY1268" fmla="*/ 70540 h 598853"/>
                <a:gd name="connsiteX1269" fmla="*/ 308387 w 520657"/>
                <a:gd name="connsiteY1269" fmla="*/ 70540 h 598853"/>
                <a:gd name="connsiteX1270" fmla="*/ 346996 w 520657"/>
                <a:gd name="connsiteY1270" fmla="*/ 51316 h 598853"/>
                <a:gd name="connsiteX1271" fmla="*/ 341946 w 520657"/>
                <a:gd name="connsiteY1271" fmla="*/ 49199 h 598853"/>
                <a:gd name="connsiteX1272" fmla="*/ 336407 w 520657"/>
                <a:gd name="connsiteY1272" fmla="*/ 46429 h 598853"/>
                <a:gd name="connsiteX1273" fmla="*/ 340154 w 520657"/>
                <a:gd name="connsiteY1273" fmla="*/ 43660 h 598853"/>
                <a:gd name="connsiteX1274" fmla="*/ 345530 w 520657"/>
                <a:gd name="connsiteY1274" fmla="*/ 43985 h 598853"/>
                <a:gd name="connsiteX1275" fmla="*/ 347974 w 520657"/>
                <a:gd name="connsiteY1275" fmla="*/ 46592 h 598853"/>
                <a:gd name="connsiteX1276" fmla="*/ 346996 w 520657"/>
                <a:gd name="connsiteY1276" fmla="*/ 51316 h 598853"/>
                <a:gd name="connsiteX1277" fmla="*/ 346996 w 520657"/>
                <a:gd name="connsiteY1277" fmla="*/ 51316 h 598853"/>
                <a:gd name="connsiteX1278" fmla="*/ 353676 w 520657"/>
                <a:gd name="connsiteY1278" fmla="*/ 47081 h 598853"/>
                <a:gd name="connsiteX1279" fmla="*/ 347974 w 520657"/>
                <a:gd name="connsiteY1279" fmla="*/ 40076 h 598853"/>
                <a:gd name="connsiteX1280" fmla="*/ 357097 w 520657"/>
                <a:gd name="connsiteY1280" fmla="*/ 32093 h 598853"/>
                <a:gd name="connsiteX1281" fmla="*/ 358563 w 520657"/>
                <a:gd name="connsiteY1281" fmla="*/ 37795 h 598853"/>
                <a:gd name="connsiteX1282" fmla="*/ 354490 w 520657"/>
                <a:gd name="connsiteY1282" fmla="*/ 42682 h 598853"/>
                <a:gd name="connsiteX1283" fmla="*/ 353839 w 520657"/>
                <a:gd name="connsiteY1283" fmla="*/ 47081 h 598853"/>
                <a:gd name="connsiteX1284" fmla="*/ 353839 w 520657"/>
                <a:gd name="connsiteY1284" fmla="*/ 47081 h 598853"/>
                <a:gd name="connsiteX1285" fmla="*/ 342598 w 520657"/>
                <a:gd name="connsiteY1285" fmla="*/ 37632 h 598853"/>
                <a:gd name="connsiteX1286" fmla="*/ 339177 w 520657"/>
                <a:gd name="connsiteY1286" fmla="*/ 38447 h 598853"/>
                <a:gd name="connsiteX1287" fmla="*/ 331194 w 520657"/>
                <a:gd name="connsiteY1287" fmla="*/ 36003 h 598853"/>
                <a:gd name="connsiteX1288" fmla="*/ 329239 w 520657"/>
                <a:gd name="connsiteY1288" fmla="*/ 30627 h 598853"/>
                <a:gd name="connsiteX1289" fmla="*/ 333801 w 520657"/>
                <a:gd name="connsiteY1289" fmla="*/ 31604 h 598853"/>
                <a:gd name="connsiteX1290" fmla="*/ 338200 w 520657"/>
                <a:gd name="connsiteY1290" fmla="*/ 28346 h 598853"/>
                <a:gd name="connsiteX1291" fmla="*/ 341132 w 520657"/>
                <a:gd name="connsiteY1291" fmla="*/ 31767 h 598853"/>
                <a:gd name="connsiteX1292" fmla="*/ 343738 w 520657"/>
                <a:gd name="connsiteY1292" fmla="*/ 26717 h 598853"/>
                <a:gd name="connsiteX1293" fmla="*/ 346996 w 520657"/>
                <a:gd name="connsiteY1293" fmla="*/ 28509 h 598853"/>
                <a:gd name="connsiteX1294" fmla="*/ 355142 w 520657"/>
                <a:gd name="connsiteY1294" fmla="*/ 21015 h 598853"/>
                <a:gd name="connsiteX1295" fmla="*/ 356119 w 520657"/>
                <a:gd name="connsiteY1295" fmla="*/ 24273 h 598853"/>
                <a:gd name="connsiteX1296" fmla="*/ 342761 w 520657"/>
                <a:gd name="connsiteY1296" fmla="*/ 37632 h 598853"/>
                <a:gd name="connsiteX1297" fmla="*/ 342761 w 520657"/>
                <a:gd name="connsiteY1297" fmla="*/ 37632 h 598853"/>
                <a:gd name="connsiteX1298" fmla="*/ 358563 w 520657"/>
                <a:gd name="connsiteY1298" fmla="*/ 27043 h 598853"/>
                <a:gd name="connsiteX1299" fmla="*/ 365568 w 520657"/>
                <a:gd name="connsiteY1299" fmla="*/ 24436 h 598853"/>
                <a:gd name="connsiteX1300" fmla="*/ 371433 w 520657"/>
                <a:gd name="connsiteY1300" fmla="*/ 28835 h 598853"/>
                <a:gd name="connsiteX1301" fmla="*/ 369641 w 520657"/>
                <a:gd name="connsiteY1301" fmla="*/ 33233 h 598853"/>
                <a:gd name="connsiteX1302" fmla="*/ 362799 w 520657"/>
                <a:gd name="connsiteY1302" fmla="*/ 35840 h 598853"/>
                <a:gd name="connsiteX1303" fmla="*/ 362473 w 520657"/>
                <a:gd name="connsiteY1303" fmla="*/ 30953 h 598853"/>
                <a:gd name="connsiteX1304" fmla="*/ 358563 w 520657"/>
                <a:gd name="connsiteY1304" fmla="*/ 27043 h 598853"/>
                <a:gd name="connsiteX1305" fmla="*/ 358563 w 520657"/>
                <a:gd name="connsiteY1305" fmla="*/ 27043 h 598853"/>
                <a:gd name="connsiteX1306" fmla="*/ 372248 w 520657"/>
                <a:gd name="connsiteY1306" fmla="*/ 14825 h 598853"/>
                <a:gd name="connsiteX1307" fmla="*/ 370781 w 520657"/>
                <a:gd name="connsiteY1307" fmla="*/ 17268 h 598853"/>
                <a:gd name="connsiteX1308" fmla="*/ 368500 w 520657"/>
                <a:gd name="connsiteY1308" fmla="*/ 18083 h 598853"/>
                <a:gd name="connsiteX1309" fmla="*/ 365242 w 520657"/>
                <a:gd name="connsiteY1309" fmla="*/ 13033 h 598853"/>
                <a:gd name="connsiteX1310" fmla="*/ 369641 w 520657"/>
                <a:gd name="connsiteY1310" fmla="*/ 11892 h 598853"/>
                <a:gd name="connsiteX1311" fmla="*/ 372084 w 520657"/>
                <a:gd name="connsiteY1311" fmla="*/ 14825 h 598853"/>
                <a:gd name="connsiteX1312" fmla="*/ 372084 w 520657"/>
                <a:gd name="connsiteY1312" fmla="*/ 14825 h 598853"/>
                <a:gd name="connsiteX1313" fmla="*/ 383325 w 520657"/>
                <a:gd name="connsiteY1313" fmla="*/ 6842 h 598853"/>
                <a:gd name="connsiteX1314" fmla="*/ 379904 w 520657"/>
                <a:gd name="connsiteY1314" fmla="*/ 6842 h 598853"/>
                <a:gd name="connsiteX1315" fmla="*/ 381696 w 520657"/>
                <a:gd name="connsiteY1315" fmla="*/ 3258 h 598853"/>
                <a:gd name="connsiteX1316" fmla="*/ 385280 w 520657"/>
                <a:gd name="connsiteY1316" fmla="*/ 3258 h 598853"/>
                <a:gd name="connsiteX1317" fmla="*/ 383488 w 520657"/>
                <a:gd name="connsiteY1317" fmla="*/ 6842 h 598853"/>
                <a:gd name="connsiteX1318" fmla="*/ 383488 w 520657"/>
                <a:gd name="connsiteY1318" fmla="*/ 6842 h 598853"/>
                <a:gd name="connsiteX1319" fmla="*/ 390330 w 520657"/>
                <a:gd name="connsiteY1319" fmla="*/ 9449 h 598853"/>
                <a:gd name="connsiteX1320" fmla="*/ 390656 w 520657"/>
                <a:gd name="connsiteY1320" fmla="*/ 7005 h 598853"/>
                <a:gd name="connsiteX1321" fmla="*/ 392937 w 520657"/>
                <a:gd name="connsiteY1321" fmla="*/ 4887 h 598853"/>
                <a:gd name="connsiteX1322" fmla="*/ 396032 w 520657"/>
                <a:gd name="connsiteY1322" fmla="*/ 6353 h 598853"/>
                <a:gd name="connsiteX1323" fmla="*/ 398476 w 520657"/>
                <a:gd name="connsiteY1323" fmla="*/ 4073 h 598853"/>
                <a:gd name="connsiteX1324" fmla="*/ 398964 w 520657"/>
                <a:gd name="connsiteY1324" fmla="*/ 0 h 598853"/>
                <a:gd name="connsiteX1325" fmla="*/ 401897 w 520657"/>
                <a:gd name="connsiteY1325" fmla="*/ 2444 h 598853"/>
                <a:gd name="connsiteX1326" fmla="*/ 405969 w 520657"/>
                <a:gd name="connsiteY1326" fmla="*/ 3421 h 598853"/>
                <a:gd name="connsiteX1327" fmla="*/ 402548 w 520657"/>
                <a:gd name="connsiteY1327" fmla="*/ 7657 h 598853"/>
                <a:gd name="connsiteX1328" fmla="*/ 408739 w 520657"/>
                <a:gd name="connsiteY1328" fmla="*/ 7657 h 598853"/>
                <a:gd name="connsiteX1329" fmla="*/ 406458 w 520657"/>
                <a:gd name="connsiteY1329" fmla="*/ 13521 h 598853"/>
                <a:gd name="connsiteX1330" fmla="*/ 401245 w 520657"/>
                <a:gd name="connsiteY1330" fmla="*/ 14662 h 598853"/>
                <a:gd name="connsiteX1331" fmla="*/ 395869 w 520657"/>
                <a:gd name="connsiteY1331" fmla="*/ 10426 h 598853"/>
                <a:gd name="connsiteX1332" fmla="*/ 390167 w 520657"/>
                <a:gd name="connsiteY1332" fmla="*/ 9449 h 5988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  <a:cxn ang="0">
                  <a:pos x="connsiteX1317" y="connsiteY1317"/>
                </a:cxn>
                <a:cxn ang="0">
                  <a:pos x="connsiteX1318" y="connsiteY1318"/>
                </a:cxn>
                <a:cxn ang="0">
                  <a:pos x="connsiteX1319" y="connsiteY1319"/>
                </a:cxn>
                <a:cxn ang="0">
                  <a:pos x="connsiteX1320" y="connsiteY1320"/>
                </a:cxn>
                <a:cxn ang="0">
                  <a:pos x="connsiteX1321" y="connsiteY1321"/>
                </a:cxn>
                <a:cxn ang="0">
                  <a:pos x="connsiteX1322" y="connsiteY1322"/>
                </a:cxn>
                <a:cxn ang="0">
                  <a:pos x="connsiteX1323" y="connsiteY1323"/>
                </a:cxn>
                <a:cxn ang="0">
                  <a:pos x="connsiteX1324" y="connsiteY1324"/>
                </a:cxn>
                <a:cxn ang="0">
                  <a:pos x="connsiteX1325" y="connsiteY1325"/>
                </a:cxn>
                <a:cxn ang="0">
                  <a:pos x="connsiteX1326" y="connsiteY1326"/>
                </a:cxn>
                <a:cxn ang="0">
                  <a:pos x="connsiteX1327" y="connsiteY1327"/>
                </a:cxn>
                <a:cxn ang="0">
                  <a:pos x="connsiteX1328" y="connsiteY1328"/>
                </a:cxn>
                <a:cxn ang="0">
                  <a:pos x="connsiteX1329" y="connsiteY1329"/>
                </a:cxn>
                <a:cxn ang="0">
                  <a:pos x="connsiteX1330" y="connsiteY1330"/>
                </a:cxn>
                <a:cxn ang="0">
                  <a:pos x="connsiteX1331" y="connsiteY1331"/>
                </a:cxn>
                <a:cxn ang="0">
                  <a:pos x="connsiteX1332" y="connsiteY1332"/>
                </a:cxn>
              </a:cxnLst>
              <a:rect l="l" t="t" r="r" b="b"/>
              <a:pathLst>
                <a:path w="520657" h="598853">
                  <a:moveTo>
                    <a:pt x="482862" y="107520"/>
                  </a:moveTo>
                  <a:lnTo>
                    <a:pt x="485958" y="107031"/>
                  </a:lnTo>
                  <a:lnTo>
                    <a:pt x="485958" y="98071"/>
                  </a:lnTo>
                  <a:cubicBezTo>
                    <a:pt x="485958" y="98071"/>
                    <a:pt x="492963" y="91555"/>
                    <a:pt x="492963" y="91555"/>
                  </a:cubicBezTo>
                  <a:lnTo>
                    <a:pt x="498991" y="90740"/>
                  </a:lnTo>
                  <a:lnTo>
                    <a:pt x="502900" y="85364"/>
                  </a:lnTo>
                  <a:lnTo>
                    <a:pt x="502412" y="78033"/>
                  </a:lnTo>
                  <a:lnTo>
                    <a:pt x="506648" y="77708"/>
                  </a:lnTo>
                  <a:lnTo>
                    <a:pt x="511860" y="79825"/>
                  </a:lnTo>
                  <a:lnTo>
                    <a:pt x="514956" y="75916"/>
                  </a:lnTo>
                  <a:lnTo>
                    <a:pt x="514956" y="70703"/>
                  </a:lnTo>
                  <a:cubicBezTo>
                    <a:pt x="514956" y="70703"/>
                    <a:pt x="513327" y="70540"/>
                    <a:pt x="513327" y="70540"/>
                  </a:cubicBezTo>
                  <a:lnTo>
                    <a:pt x="509580" y="67607"/>
                  </a:lnTo>
                  <a:lnTo>
                    <a:pt x="507625" y="67607"/>
                  </a:lnTo>
                  <a:lnTo>
                    <a:pt x="505833" y="68748"/>
                  </a:lnTo>
                  <a:lnTo>
                    <a:pt x="505833" y="71680"/>
                  </a:lnTo>
                  <a:cubicBezTo>
                    <a:pt x="505833" y="71680"/>
                    <a:pt x="503552" y="69725"/>
                    <a:pt x="503552" y="69725"/>
                  </a:cubicBezTo>
                  <a:lnTo>
                    <a:pt x="502249" y="66793"/>
                  </a:lnTo>
                  <a:lnTo>
                    <a:pt x="499480" y="66793"/>
                  </a:lnTo>
                  <a:cubicBezTo>
                    <a:pt x="499480" y="66793"/>
                    <a:pt x="500131" y="69562"/>
                    <a:pt x="500131" y="69562"/>
                  </a:cubicBezTo>
                  <a:lnTo>
                    <a:pt x="499480" y="74938"/>
                  </a:lnTo>
                  <a:lnTo>
                    <a:pt x="497687" y="73798"/>
                  </a:lnTo>
                  <a:lnTo>
                    <a:pt x="495407" y="70214"/>
                  </a:lnTo>
                  <a:lnTo>
                    <a:pt x="491660" y="72658"/>
                  </a:lnTo>
                  <a:lnTo>
                    <a:pt x="490357" y="75427"/>
                  </a:lnTo>
                  <a:lnTo>
                    <a:pt x="489053" y="71354"/>
                  </a:lnTo>
                  <a:lnTo>
                    <a:pt x="487750" y="65815"/>
                  </a:lnTo>
                  <a:lnTo>
                    <a:pt x="485795" y="65489"/>
                  </a:lnTo>
                  <a:lnTo>
                    <a:pt x="483840" y="59951"/>
                  </a:lnTo>
                  <a:lnTo>
                    <a:pt x="481885" y="58810"/>
                  </a:lnTo>
                  <a:lnTo>
                    <a:pt x="477650" y="59462"/>
                  </a:lnTo>
                  <a:lnTo>
                    <a:pt x="474066" y="57996"/>
                  </a:lnTo>
                  <a:lnTo>
                    <a:pt x="468038" y="57344"/>
                  </a:lnTo>
                  <a:lnTo>
                    <a:pt x="465105" y="53434"/>
                  </a:lnTo>
                  <a:lnTo>
                    <a:pt x="466246" y="52457"/>
                  </a:lnTo>
                  <a:lnTo>
                    <a:pt x="473740" y="54412"/>
                  </a:lnTo>
                  <a:lnTo>
                    <a:pt x="479930" y="53597"/>
                  </a:lnTo>
                  <a:lnTo>
                    <a:pt x="485307" y="54575"/>
                  </a:lnTo>
                  <a:lnTo>
                    <a:pt x="495407" y="55878"/>
                  </a:lnTo>
                  <a:lnTo>
                    <a:pt x="502412" y="53434"/>
                  </a:lnTo>
                  <a:lnTo>
                    <a:pt x="506973" y="44311"/>
                  </a:lnTo>
                  <a:lnTo>
                    <a:pt x="516585" y="41868"/>
                  </a:lnTo>
                  <a:lnTo>
                    <a:pt x="520658" y="38447"/>
                  </a:lnTo>
                  <a:lnTo>
                    <a:pt x="520658" y="36980"/>
                  </a:lnTo>
                  <a:lnTo>
                    <a:pt x="517562" y="35840"/>
                  </a:lnTo>
                  <a:lnTo>
                    <a:pt x="516585" y="33885"/>
                  </a:lnTo>
                  <a:lnTo>
                    <a:pt x="513001" y="32745"/>
                  </a:lnTo>
                  <a:lnTo>
                    <a:pt x="508602" y="33559"/>
                  </a:lnTo>
                  <a:lnTo>
                    <a:pt x="502412" y="28346"/>
                  </a:lnTo>
                  <a:lnTo>
                    <a:pt x="498991" y="28346"/>
                  </a:lnTo>
                  <a:lnTo>
                    <a:pt x="494918" y="32908"/>
                  </a:lnTo>
                  <a:lnTo>
                    <a:pt x="492311" y="32908"/>
                  </a:lnTo>
                  <a:lnTo>
                    <a:pt x="491497" y="31116"/>
                  </a:lnTo>
                  <a:lnTo>
                    <a:pt x="495569" y="28509"/>
                  </a:lnTo>
                  <a:lnTo>
                    <a:pt x="496221" y="25088"/>
                  </a:lnTo>
                  <a:lnTo>
                    <a:pt x="491334" y="23133"/>
                  </a:lnTo>
                  <a:lnTo>
                    <a:pt x="490357" y="21830"/>
                  </a:lnTo>
                  <a:lnTo>
                    <a:pt x="486773" y="21830"/>
                  </a:lnTo>
                  <a:cubicBezTo>
                    <a:pt x="486773" y="21830"/>
                    <a:pt x="483514" y="27695"/>
                    <a:pt x="483514" y="27695"/>
                  </a:cubicBezTo>
                  <a:lnTo>
                    <a:pt x="481722" y="27695"/>
                  </a:lnTo>
                  <a:lnTo>
                    <a:pt x="482048" y="23622"/>
                  </a:lnTo>
                  <a:lnTo>
                    <a:pt x="479767" y="23948"/>
                  </a:lnTo>
                  <a:lnTo>
                    <a:pt x="477812" y="26880"/>
                  </a:lnTo>
                  <a:lnTo>
                    <a:pt x="475532" y="26880"/>
                  </a:lnTo>
                  <a:cubicBezTo>
                    <a:pt x="475532" y="26880"/>
                    <a:pt x="474717" y="24111"/>
                    <a:pt x="474717" y="24111"/>
                  </a:cubicBezTo>
                  <a:lnTo>
                    <a:pt x="477975" y="21830"/>
                  </a:lnTo>
                  <a:lnTo>
                    <a:pt x="477975" y="18897"/>
                  </a:lnTo>
                  <a:lnTo>
                    <a:pt x="473088" y="15965"/>
                  </a:lnTo>
                  <a:lnTo>
                    <a:pt x="468201" y="15965"/>
                  </a:lnTo>
                  <a:cubicBezTo>
                    <a:pt x="468201" y="15965"/>
                    <a:pt x="465269" y="17757"/>
                    <a:pt x="465269" y="17757"/>
                  </a:cubicBezTo>
                  <a:lnTo>
                    <a:pt x="464454" y="24762"/>
                  </a:lnTo>
                  <a:lnTo>
                    <a:pt x="461033" y="26228"/>
                  </a:lnTo>
                  <a:lnTo>
                    <a:pt x="460707" y="28672"/>
                  </a:lnTo>
                  <a:lnTo>
                    <a:pt x="463639" y="35840"/>
                  </a:lnTo>
                  <a:lnTo>
                    <a:pt x="463314" y="39098"/>
                  </a:lnTo>
                  <a:lnTo>
                    <a:pt x="460707" y="41542"/>
                  </a:lnTo>
                  <a:lnTo>
                    <a:pt x="458589" y="37143"/>
                  </a:lnTo>
                  <a:lnTo>
                    <a:pt x="455494" y="36817"/>
                  </a:lnTo>
                  <a:lnTo>
                    <a:pt x="454680" y="38447"/>
                  </a:lnTo>
                  <a:lnTo>
                    <a:pt x="450607" y="37632"/>
                  </a:lnTo>
                  <a:lnTo>
                    <a:pt x="444416" y="40401"/>
                  </a:lnTo>
                  <a:lnTo>
                    <a:pt x="449303" y="33722"/>
                  </a:lnTo>
                  <a:lnTo>
                    <a:pt x="453050" y="32745"/>
                  </a:lnTo>
                  <a:lnTo>
                    <a:pt x="455494" y="27857"/>
                  </a:lnTo>
                  <a:lnTo>
                    <a:pt x="454842" y="25414"/>
                  </a:lnTo>
                  <a:lnTo>
                    <a:pt x="453050" y="25740"/>
                  </a:lnTo>
                  <a:lnTo>
                    <a:pt x="448000" y="29487"/>
                  </a:lnTo>
                  <a:lnTo>
                    <a:pt x="445068" y="28672"/>
                  </a:lnTo>
                  <a:lnTo>
                    <a:pt x="445719" y="26391"/>
                  </a:lnTo>
                  <a:lnTo>
                    <a:pt x="448978" y="23622"/>
                  </a:lnTo>
                  <a:lnTo>
                    <a:pt x="449303" y="21504"/>
                  </a:lnTo>
                  <a:lnTo>
                    <a:pt x="444905" y="20364"/>
                  </a:lnTo>
                  <a:lnTo>
                    <a:pt x="444091" y="18409"/>
                  </a:lnTo>
                  <a:lnTo>
                    <a:pt x="447837" y="17268"/>
                  </a:lnTo>
                  <a:lnTo>
                    <a:pt x="449303" y="18735"/>
                  </a:lnTo>
                  <a:lnTo>
                    <a:pt x="454680" y="18735"/>
                  </a:lnTo>
                  <a:lnTo>
                    <a:pt x="457775" y="10752"/>
                  </a:lnTo>
                  <a:lnTo>
                    <a:pt x="456960" y="7494"/>
                  </a:lnTo>
                  <a:lnTo>
                    <a:pt x="451910" y="8797"/>
                  </a:lnTo>
                  <a:lnTo>
                    <a:pt x="449629" y="7168"/>
                  </a:lnTo>
                  <a:lnTo>
                    <a:pt x="450607" y="3584"/>
                  </a:lnTo>
                  <a:lnTo>
                    <a:pt x="449303" y="163"/>
                  </a:lnTo>
                  <a:lnTo>
                    <a:pt x="446045" y="3095"/>
                  </a:lnTo>
                  <a:lnTo>
                    <a:pt x="443276" y="2769"/>
                  </a:lnTo>
                  <a:lnTo>
                    <a:pt x="440343" y="326"/>
                  </a:lnTo>
                  <a:lnTo>
                    <a:pt x="436759" y="3747"/>
                  </a:lnTo>
                  <a:lnTo>
                    <a:pt x="436759" y="6191"/>
                  </a:lnTo>
                  <a:cubicBezTo>
                    <a:pt x="436759" y="6191"/>
                    <a:pt x="440018" y="9937"/>
                    <a:pt x="440018" y="9937"/>
                  </a:cubicBezTo>
                  <a:lnTo>
                    <a:pt x="438062" y="12707"/>
                  </a:lnTo>
                  <a:lnTo>
                    <a:pt x="435782" y="12707"/>
                  </a:lnTo>
                  <a:lnTo>
                    <a:pt x="432198" y="7657"/>
                  </a:lnTo>
                  <a:lnTo>
                    <a:pt x="429591" y="10100"/>
                  </a:lnTo>
                  <a:lnTo>
                    <a:pt x="428288" y="14499"/>
                  </a:lnTo>
                  <a:lnTo>
                    <a:pt x="429428" y="16291"/>
                  </a:lnTo>
                  <a:lnTo>
                    <a:pt x="433338" y="16291"/>
                  </a:lnTo>
                  <a:cubicBezTo>
                    <a:pt x="433338" y="16291"/>
                    <a:pt x="435130" y="18083"/>
                    <a:pt x="435130" y="18083"/>
                  </a:cubicBezTo>
                  <a:lnTo>
                    <a:pt x="434805" y="20201"/>
                  </a:lnTo>
                  <a:lnTo>
                    <a:pt x="431709" y="21504"/>
                  </a:lnTo>
                  <a:lnTo>
                    <a:pt x="431709" y="25088"/>
                  </a:lnTo>
                  <a:lnTo>
                    <a:pt x="428777" y="26554"/>
                  </a:lnTo>
                  <a:lnTo>
                    <a:pt x="428777" y="29975"/>
                  </a:lnTo>
                  <a:lnTo>
                    <a:pt x="429591" y="31441"/>
                  </a:lnTo>
                  <a:lnTo>
                    <a:pt x="426822" y="33233"/>
                  </a:lnTo>
                  <a:lnTo>
                    <a:pt x="428451" y="38284"/>
                  </a:lnTo>
                  <a:lnTo>
                    <a:pt x="426985" y="39913"/>
                  </a:lnTo>
                  <a:lnTo>
                    <a:pt x="423727" y="37632"/>
                  </a:lnTo>
                  <a:lnTo>
                    <a:pt x="420794" y="39913"/>
                  </a:lnTo>
                  <a:lnTo>
                    <a:pt x="420143" y="41868"/>
                  </a:lnTo>
                  <a:lnTo>
                    <a:pt x="416884" y="44148"/>
                  </a:lnTo>
                  <a:lnTo>
                    <a:pt x="416559" y="39261"/>
                  </a:lnTo>
                  <a:lnTo>
                    <a:pt x="420632" y="30301"/>
                  </a:lnTo>
                  <a:lnTo>
                    <a:pt x="416559" y="28835"/>
                  </a:lnTo>
                  <a:lnTo>
                    <a:pt x="416884" y="26554"/>
                  </a:lnTo>
                  <a:lnTo>
                    <a:pt x="419817" y="23622"/>
                  </a:lnTo>
                  <a:lnTo>
                    <a:pt x="419817" y="15965"/>
                  </a:lnTo>
                  <a:cubicBezTo>
                    <a:pt x="419817" y="15965"/>
                    <a:pt x="418351" y="13521"/>
                    <a:pt x="418351" y="13521"/>
                  </a:cubicBezTo>
                  <a:lnTo>
                    <a:pt x="415907" y="13521"/>
                  </a:lnTo>
                  <a:cubicBezTo>
                    <a:pt x="415907" y="13521"/>
                    <a:pt x="409553" y="24111"/>
                    <a:pt x="409553" y="24111"/>
                  </a:cubicBezTo>
                  <a:lnTo>
                    <a:pt x="409553" y="29975"/>
                  </a:lnTo>
                  <a:cubicBezTo>
                    <a:pt x="409553" y="29975"/>
                    <a:pt x="402875" y="38772"/>
                    <a:pt x="402875" y="38772"/>
                  </a:cubicBezTo>
                  <a:lnTo>
                    <a:pt x="401408" y="45126"/>
                  </a:lnTo>
                  <a:lnTo>
                    <a:pt x="402711" y="47895"/>
                  </a:lnTo>
                  <a:lnTo>
                    <a:pt x="402060" y="52945"/>
                  </a:lnTo>
                  <a:lnTo>
                    <a:pt x="395543" y="60113"/>
                  </a:lnTo>
                  <a:lnTo>
                    <a:pt x="392122" y="61580"/>
                  </a:lnTo>
                  <a:lnTo>
                    <a:pt x="392122" y="57181"/>
                  </a:lnTo>
                  <a:lnTo>
                    <a:pt x="390656" y="53923"/>
                  </a:lnTo>
                  <a:lnTo>
                    <a:pt x="394892" y="47244"/>
                  </a:lnTo>
                  <a:lnTo>
                    <a:pt x="394077" y="42845"/>
                  </a:lnTo>
                  <a:lnTo>
                    <a:pt x="395869" y="39424"/>
                  </a:lnTo>
                  <a:lnTo>
                    <a:pt x="393914" y="35025"/>
                  </a:lnTo>
                  <a:lnTo>
                    <a:pt x="401408" y="26880"/>
                  </a:lnTo>
                  <a:lnTo>
                    <a:pt x="402711" y="21993"/>
                  </a:lnTo>
                  <a:lnTo>
                    <a:pt x="403852" y="21178"/>
                  </a:lnTo>
                  <a:lnTo>
                    <a:pt x="403363" y="18409"/>
                  </a:lnTo>
                  <a:lnTo>
                    <a:pt x="399453" y="18083"/>
                  </a:lnTo>
                  <a:lnTo>
                    <a:pt x="395380" y="14010"/>
                  </a:lnTo>
                  <a:lnTo>
                    <a:pt x="393426" y="14662"/>
                  </a:lnTo>
                  <a:lnTo>
                    <a:pt x="394077" y="19223"/>
                  </a:lnTo>
                  <a:lnTo>
                    <a:pt x="391145" y="22481"/>
                  </a:lnTo>
                  <a:lnTo>
                    <a:pt x="391145" y="18083"/>
                  </a:lnTo>
                  <a:cubicBezTo>
                    <a:pt x="391145" y="18083"/>
                    <a:pt x="387561" y="14825"/>
                    <a:pt x="387561" y="14825"/>
                  </a:cubicBezTo>
                  <a:lnTo>
                    <a:pt x="383488" y="14010"/>
                  </a:lnTo>
                  <a:lnTo>
                    <a:pt x="380393" y="15639"/>
                  </a:lnTo>
                  <a:lnTo>
                    <a:pt x="381044" y="21830"/>
                  </a:lnTo>
                  <a:lnTo>
                    <a:pt x="379578" y="24762"/>
                  </a:lnTo>
                  <a:lnTo>
                    <a:pt x="377460" y="22156"/>
                  </a:lnTo>
                  <a:lnTo>
                    <a:pt x="374691" y="20527"/>
                  </a:lnTo>
                  <a:lnTo>
                    <a:pt x="372573" y="22644"/>
                  </a:lnTo>
                  <a:lnTo>
                    <a:pt x="373225" y="24599"/>
                  </a:lnTo>
                  <a:lnTo>
                    <a:pt x="378927" y="28509"/>
                  </a:lnTo>
                  <a:lnTo>
                    <a:pt x="380230" y="32908"/>
                  </a:lnTo>
                  <a:lnTo>
                    <a:pt x="378927" y="34374"/>
                  </a:lnTo>
                  <a:lnTo>
                    <a:pt x="376483" y="31767"/>
                  </a:lnTo>
                  <a:lnTo>
                    <a:pt x="373388" y="34537"/>
                  </a:lnTo>
                  <a:lnTo>
                    <a:pt x="373062" y="37306"/>
                  </a:lnTo>
                  <a:lnTo>
                    <a:pt x="374528" y="39261"/>
                  </a:lnTo>
                  <a:lnTo>
                    <a:pt x="373062" y="40890"/>
                  </a:lnTo>
                  <a:lnTo>
                    <a:pt x="368500" y="37958"/>
                  </a:lnTo>
                  <a:lnTo>
                    <a:pt x="366057" y="37958"/>
                  </a:lnTo>
                  <a:cubicBezTo>
                    <a:pt x="366057" y="37958"/>
                    <a:pt x="363450" y="43497"/>
                    <a:pt x="363450" y="43497"/>
                  </a:cubicBezTo>
                  <a:lnTo>
                    <a:pt x="360029" y="44963"/>
                  </a:lnTo>
                  <a:lnTo>
                    <a:pt x="360029" y="46918"/>
                  </a:lnTo>
                  <a:lnTo>
                    <a:pt x="361984" y="48384"/>
                  </a:lnTo>
                  <a:lnTo>
                    <a:pt x="357260" y="51479"/>
                  </a:lnTo>
                  <a:lnTo>
                    <a:pt x="356119" y="55226"/>
                  </a:lnTo>
                  <a:lnTo>
                    <a:pt x="360029" y="59299"/>
                  </a:lnTo>
                  <a:lnTo>
                    <a:pt x="357097" y="62231"/>
                  </a:lnTo>
                  <a:lnTo>
                    <a:pt x="361007" y="64023"/>
                  </a:lnTo>
                  <a:lnTo>
                    <a:pt x="362799" y="65815"/>
                  </a:lnTo>
                  <a:lnTo>
                    <a:pt x="360681" y="68096"/>
                  </a:lnTo>
                  <a:lnTo>
                    <a:pt x="354490" y="67444"/>
                  </a:lnTo>
                  <a:lnTo>
                    <a:pt x="352861" y="60765"/>
                  </a:lnTo>
                  <a:lnTo>
                    <a:pt x="349929" y="59951"/>
                  </a:lnTo>
                  <a:lnTo>
                    <a:pt x="352698" y="56855"/>
                  </a:lnTo>
                  <a:lnTo>
                    <a:pt x="348789" y="54737"/>
                  </a:lnTo>
                  <a:lnTo>
                    <a:pt x="344390" y="55226"/>
                  </a:lnTo>
                  <a:lnTo>
                    <a:pt x="338851" y="54900"/>
                  </a:lnTo>
                  <a:lnTo>
                    <a:pt x="331032" y="48710"/>
                  </a:lnTo>
                  <a:lnTo>
                    <a:pt x="328751" y="48710"/>
                  </a:lnTo>
                  <a:cubicBezTo>
                    <a:pt x="328751" y="48710"/>
                    <a:pt x="326144" y="51805"/>
                    <a:pt x="326144" y="51805"/>
                  </a:cubicBezTo>
                  <a:lnTo>
                    <a:pt x="324352" y="48384"/>
                  </a:lnTo>
                  <a:lnTo>
                    <a:pt x="320442" y="51968"/>
                  </a:lnTo>
                  <a:lnTo>
                    <a:pt x="315881" y="53108"/>
                  </a:lnTo>
                  <a:lnTo>
                    <a:pt x="315881" y="55226"/>
                  </a:lnTo>
                  <a:cubicBezTo>
                    <a:pt x="315881" y="55226"/>
                    <a:pt x="321257" y="61743"/>
                    <a:pt x="321257" y="61743"/>
                  </a:cubicBezTo>
                  <a:lnTo>
                    <a:pt x="325167" y="61743"/>
                  </a:lnTo>
                  <a:cubicBezTo>
                    <a:pt x="325167" y="61743"/>
                    <a:pt x="327448" y="64186"/>
                    <a:pt x="327448" y="64186"/>
                  </a:cubicBezTo>
                  <a:lnTo>
                    <a:pt x="333149" y="64512"/>
                  </a:lnTo>
                  <a:lnTo>
                    <a:pt x="330705" y="69236"/>
                  </a:lnTo>
                  <a:lnTo>
                    <a:pt x="330705" y="73635"/>
                  </a:lnTo>
                  <a:cubicBezTo>
                    <a:pt x="330705" y="73635"/>
                    <a:pt x="334778" y="79011"/>
                    <a:pt x="334778" y="79011"/>
                  </a:cubicBezTo>
                  <a:lnTo>
                    <a:pt x="334127" y="82432"/>
                  </a:lnTo>
                  <a:lnTo>
                    <a:pt x="330705" y="79988"/>
                  </a:lnTo>
                  <a:lnTo>
                    <a:pt x="327284" y="74287"/>
                  </a:lnTo>
                  <a:lnTo>
                    <a:pt x="322886" y="72495"/>
                  </a:lnTo>
                  <a:lnTo>
                    <a:pt x="320279" y="69236"/>
                  </a:lnTo>
                  <a:lnTo>
                    <a:pt x="318976" y="73635"/>
                  </a:lnTo>
                  <a:lnTo>
                    <a:pt x="315229" y="76893"/>
                  </a:lnTo>
                  <a:lnTo>
                    <a:pt x="314414" y="70866"/>
                  </a:lnTo>
                  <a:lnTo>
                    <a:pt x="310668" y="74124"/>
                  </a:lnTo>
                  <a:lnTo>
                    <a:pt x="310668" y="76730"/>
                  </a:lnTo>
                  <a:cubicBezTo>
                    <a:pt x="310668" y="76730"/>
                    <a:pt x="306106" y="80640"/>
                    <a:pt x="306106" y="80640"/>
                  </a:cubicBezTo>
                  <a:lnTo>
                    <a:pt x="306432" y="84713"/>
                  </a:lnTo>
                  <a:lnTo>
                    <a:pt x="311808" y="87156"/>
                  </a:lnTo>
                  <a:lnTo>
                    <a:pt x="314089" y="91881"/>
                  </a:lnTo>
                  <a:lnTo>
                    <a:pt x="310016" y="91229"/>
                  </a:lnTo>
                  <a:lnTo>
                    <a:pt x="307735" y="88948"/>
                  </a:lnTo>
                  <a:lnTo>
                    <a:pt x="304314" y="93999"/>
                  </a:lnTo>
                  <a:lnTo>
                    <a:pt x="303174" y="97908"/>
                  </a:lnTo>
                  <a:lnTo>
                    <a:pt x="297635" y="102307"/>
                  </a:lnTo>
                  <a:lnTo>
                    <a:pt x="297635" y="99537"/>
                  </a:lnTo>
                  <a:cubicBezTo>
                    <a:pt x="297635" y="99537"/>
                    <a:pt x="301382" y="96768"/>
                    <a:pt x="301382" y="96768"/>
                  </a:cubicBezTo>
                  <a:lnTo>
                    <a:pt x="300078" y="93184"/>
                  </a:lnTo>
                  <a:lnTo>
                    <a:pt x="303662" y="86016"/>
                  </a:lnTo>
                  <a:lnTo>
                    <a:pt x="300893" y="71680"/>
                  </a:lnTo>
                  <a:lnTo>
                    <a:pt x="297309" y="73961"/>
                  </a:lnTo>
                  <a:lnTo>
                    <a:pt x="291607" y="83247"/>
                  </a:lnTo>
                  <a:lnTo>
                    <a:pt x="291607" y="89437"/>
                  </a:lnTo>
                  <a:cubicBezTo>
                    <a:pt x="291607" y="89437"/>
                    <a:pt x="292422" y="91881"/>
                    <a:pt x="292422" y="91881"/>
                  </a:cubicBezTo>
                  <a:lnTo>
                    <a:pt x="288512" y="96931"/>
                  </a:lnTo>
                  <a:lnTo>
                    <a:pt x="288023" y="92044"/>
                  </a:lnTo>
                  <a:lnTo>
                    <a:pt x="290467" y="86668"/>
                  </a:lnTo>
                  <a:lnTo>
                    <a:pt x="288675" y="79663"/>
                  </a:lnTo>
                  <a:lnTo>
                    <a:pt x="286068" y="79011"/>
                  </a:lnTo>
                  <a:lnTo>
                    <a:pt x="281181" y="82269"/>
                  </a:lnTo>
                  <a:lnTo>
                    <a:pt x="277760" y="88623"/>
                  </a:lnTo>
                  <a:lnTo>
                    <a:pt x="280041" y="93510"/>
                  </a:lnTo>
                  <a:lnTo>
                    <a:pt x="279715" y="97908"/>
                  </a:lnTo>
                  <a:lnTo>
                    <a:pt x="286720" y="102959"/>
                  </a:lnTo>
                  <a:lnTo>
                    <a:pt x="288675" y="106380"/>
                  </a:lnTo>
                  <a:lnTo>
                    <a:pt x="285905" y="111756"/>
                  </a:lnTo>
                  <a:lnTo>
                    <a:pt x="283625" y="104913"/>
                  </a:lnTo>
                  <a:lnTo>
                    <a:pt x="278575" y="102633"/>
                  </a:lnTo>
                  <a:lnTo>
                    <a:pt x="275153" y="93673"/>
                  </a:lnTo>
                  <a:lnTo>
                    <a:pt x="273687" y="92695"/>
                  </a:lnTo>
                  <a:lnTo>
                    <a:pt x="267171" y="94976"/>
                  </a:lnTo>
                  <a:lnTo>
                    <a:pt x="266357" y="98234"/>
                  </a:lnTo>
                  <a:lnTo>
                    <a:pt x="272873" y="103284"/>
                  </a:lnTo>
                  <a:lnTo>
                    <a:pt x="275968" y="103610"/>
                  </a:lnTo>
                  <a:lnTo>
                    <a:pt x="277597" y="105565"/>
                  </a:lnTo>
                  <a:lnTo>
                    <a:pt x="273198" y="104913"/>
                  </a:lnTo>
                  <a:lnTo>
                    <a:pt x="268800" y="106380"/>
                  </a:lnTo>
                  <a:lnTo>
                    <a:pt x="271732" y="111267"/>
                  </a:lnTo>
                  <a:lnTo>
                    <a:pt x="266845" y="107846"/>
                  </a:lnTo>
                  <a:lnTo>
                    <a:pt x="266194" y="101981"/>
                  </a:lnTo>
                  <a:lnTo>
                    <a:pt x="264239" y="100841"/>
                  </a:lnTo>
                  <a:lnTo>
                    <a:pt x="263098" y="96931"/>
                  </a:lnTo>
                  <a:lnTo>
                    <a:pt x="260166" y="99212"/>
                  </a:lnTo>
                  <a:lnTo>
                    <a:pt x="259025" y="105565"/>
                  </a:lnTo>
                  <a:lnTo>
                    <a:pt x="261306" y="108497"/>
                  </a:lnTo>
                  <a:lnTo>
                    <a:pt x="260492" y="114199"/>
                  </a:lnTo>
                  <a:lnTo>
                    <a:pt x="256419" y="112082"/>
                  </a:lnTo>
                  <a:lnTo>
                    <a:pt x="252835" y="113222"/>
                  </a:lnTo>
                  <a:lnTo>
                    <a:pt x="247948" y="118924"/>
                  </a:lnTo>
                  <a:lnTo>
                    <a:pt x="249088" y="119575"/>
                  </a:lnTo>
                  <a:lnTo>
                    <a:pt x="252346" y="119087"/>
                  </a:lnTo>
                  <a:lnTo>
                    <a:pt x="255605" y="122996"/>
                  </a:lnTo>
                  <a:lnTo>
                    <a:pt x="251532" y="123322"/>
                  </a:lnTo>
                  <a:lnTo>
                    <a:pt x="248600" y="125277"/>
                  </a:lnTo>
                  <a:lnTo>
                    <a:pt x="251369" y="127232"/>
                  </a:lnTo>
                  <a:lnTo>
                    <a:pt x="249414" y="129513"/>
                  </a:lnTo>
                  <a:lnTo>
                    <a:pt x="245830" y="129513"/>
                  </a:lnTo>
                  <a:cubicBezTo>
                    <a:pt x="245830" y="129513"/>
                    <a:pt x="245830" y="132282"/>
                    <a:pt x="245830" y="132282"/>
                  </a:cubicBezTo>
                  <a:lnTo>
                    <a:pt x="247133" y="133423"/>
                  </a:lnTo>
                  <a:lnTo>
                    <a:pt x="244201" y="134074"/>
                  </a:lnTo>
                  <a:lnTo>
                    <a:pt x="242083" y="131468"/>
                  </a:lnTo>
                  <a:lnTo>
                    <a:pt x="238336" y="132445"/>
                  </a:lnTo>
                  <a:lnTo>
                    <a:pt x="235078" y="136681"/>
                  </a:lnTo>
                  <a:lnTo>
                    <a:pt x="236381" y="139124"/>
                  </a:lnTo>
                  <a:lnTo>
                    <a:pt x="234915" y="140591"/>
                  </a:lnTo>
                  <a:lnTo>
                    <a:pt x="229865" y="140916"/>
                  </a:lnTo>
                  <a:lnTo>
                    <a:pt x="227421" y="145641"/>
                  </a:lnTo>
                  <a:lnTo>
                    <a:pt x="231494" y="146944"/>
                  </a:lnTo>
                  <a:lnTo>
                    <a:pt x="242571" y="143686"/>
                  </a:lnTo>
                  <a:lnTo>
                    <a:pt x="245178" y="145478"/>
                  </a:lnTo>
                  <a:lnTo>
                    <a:pt x="249740" y="143197"/>
                  </a:lnTo>
                  <a:lnTo>
                    <a:pt x="252509" y="143197"/>
                  </a:lnTo>
                  <a:cubicBezTo>
                    <a:pt x="252509" y="143197"/>
                    <a:pt x="252509" y="146292"/>
                    <a:pt x="252509" y="146292"/>
                  </a:cubicBezTo>
                  <a:lnTo>
                    <a:pt x="249251" y="149876"/>
                  </a:lnTo>
                  <a:lnTo>
                    <a:pt x="248273" y="156719"/>
                  </a:lnTo>
                  <a:lnTo>
                    <a:pt x="247133" y="158185"/>
                  </a:lnTo>
                  <a:lnTo>
                    <a:pt x="245178" y="155741"/>
                  </a:lnTo>
                  <a:lnTo>
                    <a:pt x="244527" y="152320"/>
                  </a:lnTo>
                  <a:lnTo>
                    <a:pt x="240454" y="153460"/>
                  </a:lnTo>
                  <a:lnTo>
                    <a:pt x="238662" y="151180"/>
                  </a:lnTo>
                  <a:lnTo>
                    <a:pt x="233612" y="151180"/>
                  </a:lnTo>
                  <a:cubicBezTo>
                    <a:pt x="233612" y="151180"/>
                    <a:pt x="235241" y="152972"/>
                    <a:pt x="235241" y="152972"/>
                  </a:cubicBezTo>
                  <a:lnTo>
                    <a:pt x="233775" y="155904"/>
                  </a:lnTo>
                  <a:lnTo>
                    <a:pt x="230028" y="153623"/>
                  </a:lnTo>
                  <a:lnTo>
                    <a:pt x="227258" y="153949"/>
                  </a:lnTo>
                  <a:lnTo>
                    <a:pt x="231005" y="156719"/>
                  </a:lnTo>
                  <a:lnTo>
                    <a:pt x="232471" y="160628"/>
                  </a:lnTo>
                  <a:lnTo>
                    <a:pt x="230191" y="160628"/>
                  </a:lnTo>
                  <a:cubicBezTo>
                    <a:pt x="230191" y="160628"/>
                    <a:pt x="228725" y="163561"/>
                    <a:pt x="228725" y="163561"/>
                  </a:cubicBezTo>
                  <a:lnTo>
                    <a:pt x="229539" y="167308"/>
                  </a:lnTo>
                  <a:lnTo>
                    <a:pt x="228562" y="169914"/>
                  </a:lnTo>
                  <a:lnTo>
                    <a:pt x="226444" y="166330"/>
                  </a:lnTo>
                  <a:lnTo>
                    <a:pt x="226444" y="161769"/>
                  </a:lnTo>
                  <a:cubicBezTo>
                    <a:pt x="226444" y="161769"/>
                    <a:pt x="223023" y="157207"/>
                    <a:pt x="223023" y="157207"/>
                  </a:cubicBezTo>
                  <a:lnTo>
                    <a:pt x="219602" y="160954"/>
                  </a:lnTo>
                  <a:lnTo>
                    <a:pt x="216018" y="161932"/>
                  </a:lnTo>
                  <a:lnTo>
                    <a:pt x="214225" y="158999"/>
                  </a:lnTo>
                  <a:lnTo>
                    <a:pt x="215529" y="156882"/>
                  </a:lnTo>
                  <a:lnTo>
                    <a:pt x="212596" y="156556"/>
                  </a:lnTo>
                  <a:lnTo>
                    <a:pt x="208524" y="160954"/>
                  </a:lnTo>
                  <a:lnTo>
                    <a:pt x="211945" y="164701"/>
                  </a:lnTo>
                  <a:lnTo>
                    <a:pt x="217321" y="164701"/>
                  </a:lnTo>
                  <a:cubicBezTo>
                    <a:pt x="217321" y="164701"/>
                    <a:pt x="221719" y="167145"/>
                    <a:pt x="221719" y="167145"/>
                  </a:cubicBezTo>
                  <a:lnTo>
                    <a:pt x="219276" y="171055"/>
                  </a:lnTo>
                  <a:lnTo>
                    <a:pt x="209990" y="172358"/>
                  </a:lnTo>
                  <a:lnTo>
                    <a:pt x="208035" y="170566"/>
                  </a:lnTo>
                  <a:lnTo>
                    <a:pt x="204288" y="170566"/>
                  </a:lnTo>
                  <a:cubicBezTo>
                    <a:pt x="204288" y="170566"/>
                    <a:pt x="202333" y="175453"/>
                    <a:pt x="202333" y="175453"/>
                  </a:cubicBezTo>
                  <a:lnTo>
                    <a:pt x="205428" y="178386"/>
                  </a:lnTo>
                  <a:lnTo>
                    <a:pt x="202333" y="182621"/>
                  </a:lnTo>
                  <a:lnTo>
                    <a:pt x="206080" y="181807"/>
                  </a:lnTo>
                  <a:lnTo>
                    <a:pt x="210804" y="176431"/>
                  </a:lnTo>
                  <a:lnTo>
                    <a:pt x="214877" y="176431"/>
                  </a:lnTo>
                  <a:cubicBezTo>
                    <a:pt x="214877" y="176431"/>
                    <a:pt x="217158" y="179852"/>
                    <a:pt x="217158" y="179852"/>
                  </a:cubicBezTo>
                  <a:lnTo>
                    <a:pt x="210316" y="180666"/>
                  </a:lnTo>
                  <a:lnTo>
                    <a:pt x="209338" y="185716"/>
                  </a:lnTo>
                  <a:lnTo>
                    <a:pt x="211782" y="189463"/>
                  </a:lnTo>
                  <a:lnTo>
                    <a:pt x="217158" y="192721"/>
                  </a:lnTo>
                  <a:lnTo>
                    <a:pt x="217158" y="196631"/>
                  </a:lnTo>
                  <a:cubicBezTo>
                    <a:pt x="217158" y="196631"/>
                    <a:pt x="213248" y="193699"/>
                    <a:pt x="213248" y="193699"/>
                  </a:cubicBezTo>
                  <a:lnTo>
                    <a:pt x="210153" y="194025"/>
                  </a:lnTo>
                  <a:lnTo>
                    <a:pt x="206243" y="188975"/>
                  </a:lnTo>
                  <a:lnTo>
                    <a:pt x="203962" y="189300"/>
                  </a:lnTo>
                  <a:lnTo>
                    <a:pt x="200867" y="192559"/>
                  </a:lnTo>
                  <a:lnTo>
                    <a:pt x="204288" y="195328"/>
                  </a:lnTo>
                  <a:lnTo>
                    <a:pt x="199564" y="195654"/>
                  </a:lnTo>
                  <a:lnTo>
                    <a:pt x="195165" y="198912"/>
                  </a:lnTo>
                  <a:lnTo>
                    <a:pt x="195165" y="202007"/>
                  </a:lnTo>
                  <a:lnTo>
                    <a:pt x="200052" y="204125"/>
                  </a:lnTo>
                  <a:lnTo>
                    <a:pt x="204125" y="201356"/>
                  </a:lnTo>
                  <a:lnTo>
                    <a:pt x="206894" y="204125"/>
                  </a:lnTo>
                  <a:lnTo>
                    <a:pt x="211130" y="202822"/>
                  </a:lnTo>
                  <a:lnTo>
                    <a:pt x="212434" y="206895"/>
                  </a:lnTo>
                  <a:lnTo>
                    <a:pt x="215529" y="208687"/>
                  </a:lnTo>
                  <a:lnTo>
                    <a:pt x="215529" y="211619"/>
                  </a:lnTo>
                  <a:lnTo>
                    <a:pt x="209012" y="207383"/>
                  </a:lnTo>
                  <a:lnTo>
                    <a:pt x="203800" y="207383"/>
                  </a:lnTo>
                  <a:lnTo>
                    <a:pt x="201355" y="209012"/>
                  </a:lnTo>
                  <a:lnTo>
                    <a:pt x="194187" y="210153"/>
                  </a:lnTo>
                  <a:lnTo>
                    <a:pt x="194187" y="214063"/>
                  </a:lnTo>
                  <a:lnTo>
                    <a:pt x="190115" y="216180"/>
                  </a:lnTo>
                  <a:lnTo>
                    <a:pt x="188323" y="214551"/>
                  </a:lnTo>
                  <a:lnTo>
                    <a:pt x="182132" y="217810"/>
                  </a:lnTo>
                  <a:lnTo>
                    <a:pt x="178711" y="217810"/>
                  </a:lnTo>
                  <a:cubicBezTo>
                    <a:pt x="178711" y="217810"/>
                    <a:pt x="178060" y="220416"/>
                    <a:pt x="178060" y="220416"/>
                  </a:cubicBezTo>
                  <a:lnTo>
                    <a:pt x="181969" y="222045"/>
                  </a:lnTo>
                  <a:lnTo>
                    <a:pt x="184902" y="225629"/>
                  </a:lnTo>
                  <a:lnTo>
                    <a:pt x="181481" y="226932"/>
                  </a:lnTo>
                  <a:lnTo>
                    <a:pt x="179526" y="225955"/>
                  </a:lnTo>
                  <a:lnTo>
                    <a:pt x="178223" y="227095"/>
                  </a:lnTo>
                  <a:lnTo>
                    <a:pt x="181318" y="230028"/>
                  </a:lnTo>
                  <a:lnTo>
                    <a:pt x="180177" y="231983"/>
                  </a:lnTo>
                  <a:lnTo>
                    <a:pt x="175453" y="231168"/>
                  </a:lnTo>
                  <a:lnTo>
                    <a:pt x="174802" y="229865"/>
                  </a:lnTo>
                  <a:lnTo>
                    <a:pt x="173173" y="231331"/>
                  </a:lnTo>
                  <a:lnTo>
                    <a:pt x="176430" y="234100"/>
                  </a:lnTo>
                  <a:lnTo>
                    <a:pt x="174313" y="235892"/>
                  </a:lnTo>
                  <a:lnTo>
                    <a:pt x="174964" y="238825"/>
                  </a:lnTo>
                  <a:lnTo>
                    <a:pt x="177734" y="238825"/>
                  </a:lnTo>
                  <a:lnTo>
                    <a:pt x="174964" y="240617"/>
                  </a:lnTo>
                  <a:lnTo>
                    <a:pt x="171869" y="241268"/>
                  </a:lnTo>
                  <a:lnTo>
                    <a:pt x="170077" y="239476"/>
                  </a:lnTo>
                  <a:lnTo>
                    <a:pt x="170077" y="242409"/>
                  </a:lnTo>
                  <a:lnTo>
                    <a:pt x="168448" y="245178"/>
                  </a:lnTo>
                  <a:lnTo>
                    <a:pt x="171218" y="246319"/>
                  </a:lnTo>
                  <a:lnTo>
                    <a:pt x="177897" y="248599"/>
                  </a:lnTo>
                  <a:lnTo>
                    <a:pt x="178874" y="251695"/>
                  </a:lnTo>
                  <a:lnTo>
                    <a:pt x="181644" y="252509"/>
                  </a:lnTo>
                  <a:lnTo>
                    <a:pt x="185553" y="250717"/>
                  </a:lnTo>
                  <a:lnTo>
                    <a:pt x="182458" y="253649"/>
                  </a:lnTo>
                  <a:lnTo>
                    <a:pt x="182458" y="255930"/>
                  </a:lnTo>
                  <a:lnTo>
                    <a:pt x="178223" y="255930"/>
                  </a:lnTo>
                  <a:lnTo>
                    <a:pt x="176268" y="253975"/>
                  </a:lnTo>
                  <a:lnTo>
                    <a:pt x="169262" y="253975"/>
                  </a:lnTo>
                  <a:cubicBezTo>
                    <a:pt x="169262" y="253975"/>
                    <a:pt x="164375" y="258537"/>
                    <a:pt x="164375" y="258537"/>
                  </a:cubicBezTo>
                  <a:lnTo>
                    <a:pt x="165841" y="260166"/>
                  </a:lnTo>
                  <a:lnTo>
                    <a:pt x="170892" y="260166"/>
                  </a:lnTo>
                  <a:cubicBezTo>
                    <a:pt x="170892" y="260166"/>
                    <a:pt x="171218" y="263587"/>
                    <a:pt x="171218" y="263587"/>
                  </a:cubicBezTo>
                  <a:lnTo>
                    <a:pt x="173661" y="265868"/>
                  </a:lnTo>
                  <a:lnTo>
                    <a:pt x="173661" y="269778"/>
                  </a:lnTo>
                  <a:cubicBezTo>
                    <a:pt x="173661" y="269778"/>
                    <a:pt x="170566" y="266682"/>
                    <a:pt x="170566" y="266682"/>
                  </a:cubicBezTo>
                  <a:lnTo>
                    <a:pt x="168285" y="266682"/>
                  </a:lnTo>
                  <a:lnTo>
                    <a:pt x="166004" y="269615"/>
                  </a:lnTo>
                  <a:lnTo>
                    <a:pt x="166004" y="272873"/>
                  </a:lnTo>
                  <a:cubicBezTo>
                    <a:pt x="166004" y="272873"/>
                    <a:pt x="164864" y="273687"/>
                    <a:pt x="164864" y="273687"/>
                  </a:cubicBezTo>
                  <a:lnTo>
                    <a:pt x="167145" y="276457"/>
                  </a:lnTo>
                  <a:lnTo>
                    <a:pt x="167796" y="279715"/>
                  </a:lnTo>
                  <a:lnTo>
                    <a:pt x="165678" y="279715"/>
                  </a:lnTo>
                  <a:lnTo>
                    <a:pt x="162909" y="277271"/>
                  </a:lnTo>
                  <a:lnTo>
                    <a:pt x="161117" y="278575"/>
                  </a:lnTo>
                  <a:lnTo>
                    <a:pt x="161117" y="282647"/>
                  </a:lnTo>
                  <a:cubicBezTo>
                    <a:pt x="161117" y="282647"/>
                    <a:pt x="165516" y="283788"/>
                    <a:pt x="165516" y="283788"/>
                  </a:cubicBezTo>
                  <a:lnTo>
                    <a:pt x="166330" y="285906"/>
                  </a:lnTo>
                  <a:lnTo>
                    <a:pt x="166004" y="288675"/>
                  </a:lnTo>
                  <a:lnTo>
                    <a:pt x="160466" y="284928"/>
                  </a:lnTo>
                  <a:lnTo>
                    <a:pt x="158185" y="286231"/>
                  </a:lnTo>
                  <a:lnTo>
                    <a:pt x="158185" y="290304"/>
                  </a:lnTo>
                  <a:cubicBezTo>
                    <a:pt x="158185" y="290304"/>
                    <a:pt x="159488" y="290630"/>
                    <a:pt x="159488" y="290630"/>
                  </a:cubicBezTo>
                  <a:lnTo>
                    <a:pt x="159488" y="295028"/>
                  </a:lnTo>
                  <a:cubicBezTo>
                    <a:pt x="159488" y="295028"/>
                    <a:pt x="161280" y="299264"/>
                    <a:pt x="161280" y="299264"/>
                  </a:cubicBezTo>
                  <a:lnTo>
                    <a:pt x="164212" y="299264"/>
                  </a:lnTo>
                  <a:cubicBezTo>
                    <a:pt x="164212" y="299264"/>
                    <a:pt x="166330" y="295191"/>
                    <a:pt x="166330" y="295191"/>
                  </a:cubicBezTo>
                  <a:lnTo>
                    <a:pt x="168611" y="295191"/>
                  </a:lnTo>
                  <a:lnTo>
                    <a:pt x="166493" y="301056"/>
                  </a:lnTo>
                  <a:lnTo>
                    <a:pt x="163398" y="301708"/>
                  </a:lnTo>
                  <a:lnTo>
                    <a:pt x="159162" y="306269"/>
                  </a:lnTo>
                  <a:lnTo>
                    <a:pt x="155415" y="306269"/>
                  </a:lnTo>
                  <a:lnTo>
                    <a:pt x="152320" y="307572"/>
                  </a:lnTo>
                  <a:lnTo>
                    <a:pt x="152320" y="309853"/>
                  </a:lnTo>
                  <a:cubicBezTo>
                    <a:pt x="152320" y="309853"/>
                    <a:pt x="148084" y="311645"/>
                    <a:pt x="148084" y="311645"/>
                  </a:cubicBezTo>
                  <a:lnTo>
                    <a:pt x="144826" y="314578"/>
                  </a:lnTo>
                  <a:lnTo>
                    <a:pt x="148247" y="316370"/>
                  </a:lnTo>
                  <a:lnTo>
                    <a:pt x="147107" y="318487"/>
                  </a:lnTo>
                  <a:lnTo>
                    <a:pt x="140753" y="319139"/>
                  </a:lnTo>
                  <a:lnTo>
                    <a:pt x="137821" y="323212"/>
                  </a:lnTo>
                  <a:lnTo>
                    <a:pt x="138147" y="325167"/>
                  </a:lnTo>
                  <a:lnTo>
                    <a:pt x="143197" y="326633"/>
                  </a:lnTo>
                  <a:lnTo>
                    <a:pt x="139287" y="328588"/>
                  </a:lnTo>
                  <a:lnTo>
                    <a:pt x="137332" y="332823"/>
                  </a:lnTo>
                  <a:lnTo>
                    <a:pt x="133423" y="332823"/>
                  </a:lnTo>
                  <a:cubicBezTo>
                    <a:pt x="133423" y="332823"/>
                    <a:pt x="132608" y="329076"/>
                    <a:pt x="132608" y="329076"/>
                  </a:cubicBezTo>
                  <a:lnTo>
                    <a:pt x="130164" y="327610"/>
                  </a:lnTo>
                  <a:lnTo>
                    <a:pt x="128535" y="329891"/>
                  </a:lnTo>
                  <a:lnTo>
                    <a:pt x="125277" y="329891"/>
                  </a:lnTo>
                  <a:lnTo>
                    <a:pt x="126418" y="332823"/>
                  </a:lnTo>
                  <a:lnTo>
                    <a:pt x="124137" y="334941"/>
                  </a:lnTo>
                  <a:lnTo>
                    <a:pt x="123485" y="337874"/>
                  </a:lnTo>
                  <a:lnTo>
                    <a:pt x="124788" y="340317"/>
                  </a:lnTo>
                  <a:lnTo>
                    <a:pt x="118923" y="340317"/>
                  </a:lnTo>
                  <a:lnTo>
                    <a:pt x="116480" y="341620"/>
                  </a:lnTo>
                  <a:lnTo>
                    <a:pt x="116806" y="346834"/>
                  </a:lnTo>
                  <a:lnTo>
                    <a:pt x="112407" y="349766"/>
                  </a:lnTo>
                  <a:lnTo>
                    <a:pt x="113059" y="351558"/>
                  </a:lnTo>
                  <a:lnTo>
                    <a:pt x="112244" y="356771"/>
                  </a:lnTo>
                  <a:lnTo>
                    <a:pt x="108986" y="359540"/>
                  </a:lnTo>
                  <a:lnTo>
                    <a:pt x="104587" y="363776"/>
                  </a:lnTo>
                  <a:lnTo>
                    <a:pt x="105891" y="365731"/>
                  </a:lnTo>
                  <a:lnTo>
                    <a:pt x="110941" y="362473"/>
                  </a:lnTo>
                  <a:lnTo>
                    <a:pt x="113711" y="362473"/>
                  </a:lnTo>
                  <a:cubicBezTo>
                    <a:pt x="113711" y="362473"/>
                    <a:pt x="113385" y="365568"/>
                    <a:pt x="113385" y="365568"/>
                  </a:cubicBezTo>
                  <a:lnTo>
                    <a:pt x="110127" y="366871"/>
                  </a:lnTo>
                  <a:lnTo>
                    <a:pt x="109801" y="371922"/>
                  </a:lnTo>
                  <a:lnTo>
                    <a:pt x="112733" y="375831"/>
                  </a:lnTo>
                  <a:lnTo>
                    <a:pt x="118109" y="372736"/>
                  </a:lnTo>
                  <a:lnTo>
                    <a:pt x="123974" y="371922"/>
                  </a:lnTo>
                  <a:lnTo>
                    <a:pt x="131793" y="364428"/>
                  </a:lnTo>
                  <a:lnTo>
                    <a:pt x="131793" y="361007"/>
                  </a:lnTo>
                  <a:lnTo>
                    <a:pt x="127721" y="362147"/>
                  </a:lnTo>
                  <a:lnTo>
                    <a:pt x="131142" y="357586"/>
                  </a:lnTo>
                  <a:lnTo>
                    <a:pt x="132119" y="352210"/>
                  </a:lnTo>
                  <a:lnTo>
                    <a:pt x="133911" y="351884"/>
                  </a:lnTo>
                  <a:lnTo>
                    <a:pt x="136192" y="349766"/>
                  </a:lnTo>
                  <a:lnTo>
                    <a:pt x="140591" y="350580"/>
                  </a:lnTo>
                  <a:lnTo>
                    <a:pt x="143360" y="350580"/>
                  </a:lnTo>
                  <a:cubicBezTo>
                    <a:pt x="143360" y="350580"/>
                    <a:pt x="136192" y="354979"/>
                    <a:pt x="136192" y="354979"/>
                  </a:cubicBezTo>
                  <a:lnTo>
                    <a:pt x="136192" y="358237"/>
                  </a:lnTo>
                  <a:cubicBezTo>
                    <a:pt x="136192" y="358237"/>
                    <a:pt x="143034" y="360355"/>
                    <a:pt x="143034" y="360355"/>
                  </a:cubicBezTo>
                  <a:lnTo>
                    <a:pt x="140753" y="363450"/>
                  </a:lnTo>
                  <a:lnTo>
                    <a:pt x="137007" y="363776"/>
                  </a:lnTo>
                  <a:lnTo>
                    <a:pt x="129839" y="371270"/>
                  </a:lnTo>
                  <a:lnTo>
                    <a:pt x="134237" y="373551"/>
                  </a:lnTo>
                  <a:lnTo>
                    <a:pt x="131793" y="376809"/>
                  </a:lnTo>
                  <a:lnTo>
                    <a:pt x="131793" y="381533"/>
                  </a:lnTo>
                  <a:cubicBezTo>
                    <a:pt x="131793" y="381533"/>
                    <a:pt x="127558" y="381207"/>
                    <a:pt x="127558" y="381207"/>
                  </a:cubicBezTo>
                  <a:lnTo>
                    <a:pt x="123811" y="377461"/>
                  </a:lnTo>
                  <a:lnTo>
                    <a:pt x="118598" y="377461"/>
                  </a:lnTo>
                  <a:cubicBezTo>
                    <a:pt x="118598" y="377461"/>
                    <a:pt x="115503" y="380230"/>
                    <a:pt x="115503" y="380230"/>
                  </a:cubicBezTo>
                  <a:lnTo>
                    <a:pt x="115503" y="384466"/>
                  </a:lnTo>
                  <a:cubicBezTo>
                    <a:pt x="115503" y="384466"/>
                    <a:pt x="111267" y="386746"/>
                    <a:pt x="111267" y="386746"/>
                  </a:cubicBezTo>
                  <a:lnTo>
                    <a:pt x="107357" y="388864"/>
                  </a:lnTo>
                  <a:lnTo>
                    <a:pt x="110289" y="385606"/>
                  </a:lnTo>
                  <a:lnTo>
                    <a:pt x="112407" y="383977"/>
                  </a:lnTo>
                  <a:lnTo>
                    <a:pt x="109312" y="379904"/>
                  </a:lnTo>
                  <a:lnTo>
                    <a:pt x="109312" y="375343"/>
                  </a:lnTo>
                  <a:lnTo>
                    <a:pt x="105891" y="370292"/>
                  </a:lnTo>
                  <a:lnTo>
                    <a:pt x="102470" y="370292"/>
                  </a:lnTo>
                  <a:lnTo>
                    <a:pt x="100515" y="373714"/>
                  </a:lnTo>
                  <a:lnTo>
                    <a:pt x="95628" y="374365"/>
                  </a:lnTo>
                  <a:lnTo>
                    <a:pt x="95628" y="376646"/>
                  </a:lnTo>
                  <a:lnTo>
                    <a:pt x="101818" y="376646"/>
                  </a:lnTo>
                  <a:lnTo>
                    <a:pt x="95465" y="382511"/>
                  </a:lnTo>
                  <a:lnTo>
                    <a:pt x="91229" y="380556"/>
                  </a:lnTo>
                  <a:lnTo>
                    <a:pt x="87645" y="381207"/>
                  </a:lnTo>
                  <a:lnTo>
                    <a:pt x="82758" y="385606"/>
                  </a:lnTo>
                  <a:lnTo>
                    <a:pt x="85527" y="386258"/>
                  </a:lnTo>
                  <a:lnTo>
                    <a:pt x="87971" y="385117"/>
                  </a:lnTo>
                  <a:lnTo>
                    <a:pt x="89274" y="386420"/>
                  </a:lnTo>
                  <a:lnTo>
                    <a:pt x="84061" y="389679"/>
                  </a:lnTo>
                  <a:lnTo>
                    <a:pt x="81780" y="392611"/>
                  </a:lnTo>
                  <a:lnTo>
                    <a:pt x="79500" y="390330"/>
                  </a:lnTo>
                  <a:lnTo>
                    <a:pt x="76078" y="390330"/>
                  </a:lnTo>
                  <a:lnTo>
                    <a:pt x="75427" y="392611"/>
                  </a:lnTo>
                  <a:lnTo>
                    <a:pt x="80966" y="395869"/>
                  </a:lnTo>
                  <a:lnTo>
                    <a:pt x="87482" y="395869"/>
                  </a:lnTo>
                  <a:lnTo>
                    <a:pt x="86179" y="399290"/>
                  </a:lnTo>
                  <a:lnTo>
                    <a:pt x="89111" y="400431"/>
                  </a:lnTo>
                  <a:lnTo>
                    <a:pt x="89111" y="403526"/>
                  </a:lnTo>
                  <a:cubicBezTo>
                    <a:pt x="89111" y="403526"/>
                    <a:pt x="83084" y="401734"/>
                    <a:pt x="83084" y="401734"/>
                  </a:cubicBezTo>
                  <a:lnTo>
                    <a:pt x="82106" y="398313"/>
                  </a:lnTo>
                  <a:lnTo>
                    <a:pt x="77707" y="398313"/>
                  </a:lnTo>
                  <a:lnTo>
                    <a:pt x="73309" y="394403"/>
                  </a:lnTo>
                  <a:lnTo>
                    <a:pt x="72332" y="391308"/>
                  </a:lnTo>
                  <a:lnTo>
                    <a:pt x="70539" y="391308"/>
                  </a:lnTo>
                  <a:cubicBezTo>
                    <a:pt x="70539" y="391308"/>
                    <a:pt x="69725" y="395381"/>
                    <a:pt x="69725" y="395381"/>
                  </a:cubicBezTo>
                  <a:lnTo>
                    <a:pt x="74123" y="401408"/>
                  </a:lnTo>
                  <a:lnTo>
                    <a:pt x="78848" y="404829"/>
                  </a:lnTo>
                  <a:lnTo>
                    <a:pt x="82921" y="405481"/>
                  </a:lnTo>
                  <a:lnTo>
                    <a:pt x="85039" y="407762"/>
                  </a:lnTo>
                  <a:lnTo>
                    <a:pt x="80803" y="407762"/>
                  </a:lnTo>
                  <a:cubicBezTo>
                    <a:pt x="80803" y="407762"/>
                    <a:pt x="73798" y="405318"/>
                    <a:pt x="73798" y="405318"/>
                  </a:cubicBezTo>
                  <a:lnTo>
                    <a:pt x="67282" y="397987"/>
                  </a:lnTo>
                  <a:lnTo>
                    <a:pt x="64186" y="399942"/>
                  </a:lnTo>
                  <a:lnTo>
                    <a:pt x="60114" y="396847"/>
                  </a:lnTo>
                  <a:lnTo>
                    <a:pt x="55063" y="396847"/>
                  </a:lnTo>
                  <a:lnTo>
                    <a:pt x="52620" y="394729"/>
                  </a:lnTo>
                  <a:lnTo>
                    <a:pt x="50665" y="397010"/>
                  </a:lnTo>
                  <a:lnTo>
                    <a:pt x="51479" y="400919"/>
                  </a:lnTo>
                  <a:lnTo>
                    <a:pt x="48710" y="403363"/>
                  </a:lnTo>
                  <a:lnTo>
                    <a:pt x="52620" y="407436"/>
                  </a:lnTo>
                  <a:lnTo>
                    <a:pt x="60928" y="404992"/>
                  </a:lnTo>
                  <a:lnTo>
                    <a:pt x="62231" y="406784"/>
                  </a:lnTo>
                  <a:lnTo>
                    <a:pt x="58484" y="409228"/>
                  </a:lnTo>
                  <a:lnTo>
                    <a:pt x="60439" y="410368"/>
                  </a:lnTo>
                  <a:lnTo>
                    <a:pt x="66793" y="407273"/>
                  </a:lnTo>
                  <a:lnTo>
                    <a:pt x="69725" y="407273"/>
                  </a:lnTo>
                  <a:lnTo>
                    <a:pt x="68259" y="410042"/>
                  </a:lnTo>
                  <a:lnTo>
                    <a:pt x="60928" y="413138"/>
                  </a:lnTo>
                  <a:lnTo>
                    <a:pt x="57996" y="417373"/>
                  </a:lnTo>
                  <a:lnTo>
                    <a:pt x="52945" y="416070"/>
                  </a:lnTo>
                  <a:lnTo>
                    <a:pt x="48710" y="410531"/>
                  </a:lnTo>
                  <a:lnTo>
                    <a:pt x="46592" y="410531"/>
                  </a:lnTo>
                  <a:lnTo>
                    <a:pt x="44148" y="412649"/>
                  </a:lnTo>
                  <a:lnTo>
                    <a:pt x="40402" y="409391"/>
                  </a:lnTo>
                  <a:lnTo>
                    <a:pt x="37306" y="411346"/>
                  </a:lnTo>
                  <a:lnTo>
                    <a:pt x="35188" y="410042"/>
                  </a:lnTo>
                  <a:lnTo>
                    <a:pt x="31278" y="412323"/>
                  </a:lnTo>
                  <a:lnTo>
                    <a:pt x="32419" y="414278"/>
                  </a:lnTo>
                  <a:lnTo>
                    <a:pt x="40402" y="415418"/>
                  </a:lnTo>
                  <a:lnTo>
                    <a:pt x="45452" y="418677"/>
                  </a:lnTo>
                  <a:lnTo>
                    <a:pt x="51642" y="421935"/>
                  </a:lnTo>
                  <a:lnTo>
                    <a:pt x="49850" y="426007"/>
                  </a:lnTo>
                  <a:lnTo>
                    <a:pt x="51968" y="429266"/>
                  </a:lnTo>
                  <a:lnTo>
                    <a:pt x="48221" y="431220"/>
                  </a:lnTo>
                  <a:lnTo>
                    <a:pt x="46755" y="429266"/>
                  </a:lnTo>
                  <a:lnTo>
                    <a:pt x="46755" y="422749"/>
                  </a:lnTo>
                  <a:cubicBezTo>
                    <a:pt x="46755" y="422749"/>
                    <a:pt x="42356" y="421283"/>
                    <a:pt x="42356" y="421283"/>
                  </a:cubicBezTo>
                  <a:lnTo>
                    <a:pt x="37632" y="422098"/>
                  </a:lnTo>
                  <a:lnTo>
                    <a:pt x="39424" y="425356"/>
                  </a:lnTo>
                  <a:lnTo>
                    <a:pt x="38609" y="427799"/>
                  </a:lnTo>
                  <a:lnTo>
                    <a:pt x="33071" y="424378"/>
                  </a:lnTo>
                  <a:lnTo>
                    <a:pt x="28183" y="429428"/>
                  </a:lnTo>
                  <a:lnTo>
                    <a:pt x="33071" y="432687"/>
                  </a:lnTo>
                  <a:lnTo>
                    <a:pt x="29161" y="433012"/>
                  </a:lnTo>
                  <a:lnTo>
                    <a:pt x="26391" y="434153"/>
                  </a:lnTo>
                  <a:lnTo>
                    <a:pt x="25088" y="429266"/>
                  </a:lnTo>
                  <a:lnTo>
                    <a:pt x="17757" y="429266"/>
                  </a:lnTo>
                  <a:cubicBezTo>
                    <a:pt x="17757" y="429266"/>
                    <a:pt x="20038" y="433827"/>
                    <a:pt x="20038" y="433827"/>
                  </a:cubicBezTo>
                  <a:lnTo>
                    <a:pt x="16943" y="435945"/>
                  </a:lnTo>
                  <a:lnTo>
                    <a:pt x="15639" y="431383"/>
                  </a:lnTo>
                  <a:lnTo>
                    <a:pt x="11403" y="427474"/>
                  </a:lnTo>
                  <a:lnTo>
                    <a:pt x="9123" y="428288"/>
                  </a:lnTo>
                  <a:lnTo>
                    <a:pt x="9775" y="431058"/>
                  </a:lnTo>
                  <a:lnTo>
                    <a:pt x="14662" y="435456"/>
                  </a:lnTo>
                  <a:lnTo>
                    <a:pt x="12544" y="438389"/>
                  </a:lnTo>
                  <a:lnTo>
                    <a:pt x="14662" y="440506"/>
                  </a:lnTo>
                  <a:lnTo>
                    <a:pt x="20201" y="438714"/>
                  </a:lnTo>
                  <a:lnTo>
                    <a:pt x="27694" y="440343"/>
                  </a:lnTo>
                  <a:lnTo>
                    <a:pt x="32582" y="443439"/>
                  </a:lnTo>
                  <a:lnTo>
                    <a:pt x="39912" y="443439"/>
                  </a:lnTo>
                  <a:lnTo>
                    <a:pt x="42193" y="441647"/>
                  </a:lnTo>
                  <a:lnTo>
                    <a:pt x="45941" y="441647"/>
                  </a:lnTo>
                  <a:lnTo>
                    <a:pt x="41053" y="446534"/>
                  </a:lnTo>
                  <a:lnTo>
                    <a:pt x="34537" y="445557"/>
                  </a:lnTo>
                  <a:lnTo>
                    <a:pt x="32093" y="446860"/>
                  </a:lnTo>
                  <a:lnTo>
                    <a:pt x="24111" y="442787"/>
                  </a:lnTo>
                  <a:lnTo>
                    <a:pt x="19060" y="444090"/>
                  </a:lnTo>
                  <a:lnTo>
                    <a:pt x="16780" y="443113"/>
                  </a:lnTo>
                  <a:lnTo>
                    <a:pt x="12870" y="446371"/>
                  </a:lnTo>
                  <a:lnTo>
                    <a:pt x="7494" y="447186"/>
                  </a:lnTo>
                  <a:lnTo>
                    <a:pt x="7168" y="449303"/>
                  </a:lnTo>
                  <a:lnTo>
                    <a:pt x="15476" y="453050"/>
                  </a:lnTo>
                  <a:lnTo>
                    <a:pt x="12381" y="456471"/>
                  </a:lnTo>
                  <a:lnTo>
                    <a:pt x="16454" y="457286"/>
                  </a:lnTo>
                  <a:lnTo>
                    <a:pt x="19223" y="455494"/>
                  </a:lnTo>
                  <a:lnTo>
                    <a:pt x="26066" y="455494"/>
                  </a:lnTo>
                  <a:lnTo>
                    <a:pt x="21015" y="458915"/>
                  </a:lnTo>
                  <a:lnTo>
                    <a:pt x="13847" y="458915"/>
                  </a:lnTo>
                  <a:lnTo>
                    <a:pt x="11893" y="459893"/>
                  </a:lnTo>
                  <a:lnTo>
                    <a:pt x="9775" y="459241"/>
                  </a:lnTo>
                  <a:lnTo>
                    <a:pt x="9775" y="460707"/>
                  </a:lnTo>
                  <a:cubicBezTo>
                    <a:pt x="9775" y="460707"/>
                    <a:pt x="13196" y="462336"/>
                    <a:pt x="13196" y="462336"/>
                  </a:cubicBezTo>
                  <a:lnTo>
                    <a:pt x="15965" y="462336"/>
                  </a:lnTo>
                  <a:lnTo>
                    <a:pt x="11729" y="464780"/>
                  </a:lnTo>
                  <a:lnTo>
                    <a:pt x="9612" y="465431"/>
                  </a:lnTo>
                  <a:lnTo>
                    <a:pt x="10263" y="467712"/>
                  </a:lnTo>
                  <a:lnTo>
                    <a:pt x="12544" y="469341"/>
                  </a:lnTo>
                  <a:lnTo>
                    <a:pt x="14336" y="472274"/>
                  </a:lnTo>
                  <a:lnTo>
                    <a:pt x="20201" y="471948"/>
                  </a:lnTo>
                  <a:lnTo>
                    <a:pt x="23296" y="469667"/>
                  </a:lnTo>
                  <a:lnTo>
                    <a:pt x="30953" y="468527"/>
                  </a:lnTo>
                  <a:lnTo>
                    <a:pt x="36166" y="469830"/>
                  </a:lnTo>
                  <a:lnTo>
                    <a:pt x="38121" y="471133"/>
                  </a:lnTo>
                  <a:lnTo>
                    <a:pt x="41542" y="468853"/>
                  </a:lnTo>
                  <a:lnTo>
                    <a:pt x="41542" y="465594"/>
                  </a:lnTo>
                  <a:cubicBezTo>
                    <a:pt x="41542" y="465594"/>
                    <a:pt x="45126" y="464617"/>
                    <a:pt x="45126" y="464617"/>
                  </a:cubicBezTo>
                  <a:lnTo>
                    <a:pt x="46429" y="467386"/>
                  </a:lnTo>
                  <a:lnTo>
                    <a:pt x="50176" y="467386"/>
                  </a:lnTo>
                  <a:lnTo>
                    <a:pt x="55715" y="463314"/>
                  </a:lnTo>
                  <a:lnTo>
                    <a:pt x="58159" y="463965"/>
                  </a:lnTo>
                  <a:lnTo>
                    <a:pt x="57181" y="466083"/>
                  </a:lnTo>
                  <a:lnTo>
                    <a:pt x="54412" y="468038"/>
                  </a:lnTo>
                  <a:lnTo>
                    <a:pt x="59299" y="469341"/>
                  </a:lnTo>
                  <a:lnTo>
                    <a:pt x="61580" y="467061"/>
                  </a:lnTo>
                  <a:lnTo>
                    <a:pt x="60602" y="464291"/>
                  </a:lnTo>
                  <a:lnTo>
                    <a:pt x="64186" y="458915"/>
                  </a:lnTo>
                  <a:lnTo>
                    <a:pt x="63209" y="462988"/>
                  </a:lnTo>
                  <a:lnTo>
                    <a:pt x="67118" y="467549"/>
                  </a:lnTo>
                  <a:lnTo>
                    <a:pt x="64186" y="471459"/>
                  </a:lnTo>
                  <a:lnTo>
                    <a:pt x="57507" y="473088"/>
                  </a:lnTo>
                  <a:lnTo>
                    <a:pt x="54249" y="475532"/>
                  </a:lnTo>
                  <a:lnTo>
                    <a:pt x="56041" y="476998"/>
                  </a:lnTo>
                  <a:lnTo>
                    <a:pt x="53760" y="480908"/>
                  </a:lnTo>
                  <a:lnTo>
                    <a:pt x="47895" y="480908"/>
                  </a:lnTo>
                  <a:cubicBezTo>
                    <a:pt x="47895" y="480908"/>
                    <a:pt x="47732" y="478790"/>
                    <a:pt x="47732" y="478790"/>
                  </a:cubicBezTo>
                  <a:lnTo>
                    <a:pt x="50665" y="476509"/>
                  </a:lnTo>
                  <a:lnTo>
                    <a:pt x="50013" y="471948"/>
                  </a:lnTo>
                  <a:lnTo>
                    <a:pt x="45289" y="471296"/>
                  </a:lnTo>
                  <a:lnTo>
                    <a:pt x="40076" y="476346"/>
                  </a:lnTo>
                  <a:lnTo>
                    <a:pt x="39261" y="479116"/>
                  </a:lnTo>
                  <a:lnTo>
                    <a:pt x="35677" y="474554"/>
                  </a:lnTo>
                  <a:lnTo>
                    <a:pt x="31278" y="473577"/>
                  </a:lnTo>
                  <a:lnTo>
                    <a:pt x="25739" y="474554"/>
                  </a:lnTo>
                  <a:lnTo>
                    <a:pt x="22482" y="473577"/>
                  </a:lnTo>
                  <a:lnTo>
                    <a:pt x="16291" y="476672"/>
                  </a:lnTo>
                  <a:lnTo>
                    <a:pt x="13196" y="476672"/>
                  </a:lnTo>
                  <a:lnTo>
                    <a:pt x="9612" y="474228"/>
                  </a:lnTo>
                  <a:lnTo>
                    <a:pt x="8309" y="474717"/>
                  </a:lnTo>
                  <a:lnTo>
                    <a:pt x="10263" y="479442"/>
                  </a:lnTo>
                  <a:lnTo>
                    <a:pt x="8960" y="481885"/>
                  </a:lnTo>
                  <a:lnTo>
                    <a:pt x="11241" y="483840"/>
                  </a:lnTo>
                  <a:lnTo>
                    <a:pt x="14825" y="483026"/>
                  </a:lnTo>
                  <a:lnTo>
                    <a:pt x="16780" y="480582"/>
                  </a:lnTo>
                  <a:lnTo>
                    <a:pt x="19712" y="480582"/>
                  </a:lnTo>
                  <a:cubicBezTo>
                    <a:pt x="19712" y="480582"/>
                    <a:pt x="16454" y="484329"/>
                    <a:pt x="16454" y="484329"/>
                  </a:cubicBezTo>
                  <a:lnTo>
                    <a:pt x="16780" y="488402"/>
                  </a:lnTo>
                  <a:lnTo>
                    <a:pt x="14825" y="490194"/>
                  </a:lnTo>
                  <a:lnTo>
                    <a:pt x="11241" y="488239"/>
                  </a:lnTo>
                  <a:lnTo>
                    <a:pt x="12870" y="493778"/>
                  </a:lnTo>
                  <a:lnTo>
                    <a:pt x="15802" y="496221"/>
                  </a:lnTo>
                  <a:lnTo>
                    <a:pt x="22970" y="488239"/>
                  </a:lnTo>
                  <a:lnTo>
                    <a:pt x="28020" y="490357"/>
                  </a:lnTo>
                  <a:lnTo>
                    <a:pt x="25902" y="492474"/>
                  </a:lnTo>
                  <a:lnTo>
                    <a:pt x="26554" y="496547"/>
                  </a:lnTo>
                  <a:lnTo>
                    <a:pt x="20527" y="499805"/>
                  </a:lnTo>
                  <a:lnTo>
                    <a:pt x="21504" y="501597"/>
                  </a:lnTo>
                  <a:lnTo>
                    <a:pt x="25251" y="502249"/>
                  </a:lnTo>
                  <a:lnTo>
                    <a:pt x="23296" y="505344"/>
                  </a:lnTo>
                  <a:lnTo>
                    <a:pt x="26066" y="509417"/>
                  </a:lnTo>
                  <a:lnTo>
                    <a:pt x="24273" y="514304"/>
                  </a:lnTo>
                  <a:lnTo>
                    <a:pt x="25739" y="514304"/>
                  </a:lnTo>
                  <a:cubicBezTo>
                    <a:pt x="25739" y="514304"/>
                    <a:pt x="29650" y="508439"/>
                    <a:pt x="29650" y="508439"/>
                  </a:cubicBezTo>
                  <a:lnTo>
                    <a:pt x="33071" y="506485"/>
                  </a:lnTo>
                  <a:lnTo>
                    <a:pt x="33885" y="501434"/>
                  </a:lnTo>
                  <a:lnTo>
                    <a:pt x="43171" y="497524"/>
                  </a:lnTo>
                  <a:lnTo>
                    <a:pt x="47732" y="497850"/>
                  </a:lnTo>
                  <a:lnTo>
                    <a:pt x="51642" y="496710"/>
                  </a:lnTo>
                  <a:lnTo>
                    <a:pt x="48873" y="498502"/>
                  </a:lnTo>
                  <a:lnTo>
                    <a:pt x="43985" y="502249"/>
                  </a:lnTo>
                  <a:lnTo>
                    <a:pt x="43985" y="508277"/>
                  </a:lnTo>
                  <a:lnTo>
                    <a:pt x="45452" y="512023"/>
                  </a:lnTo>
                  <a:lnTo>
                    <a:pt x="41868" y="508928"/>
                  </a:lnTo>
                  <a:lnTo>
                    <a:pt x="41053" y="503552"/>
                  </a:lnTo>
                  <a:lnTo>
                    <a:pt x="38284" y="503552"/>
                  </a:lnTo>
                  <a:cubicBezTo>
                    <a:pt x="38284" y="503552"/>
                    <a:pt x="35025" y="509417"/>
                    <a:pt x="35025" y="509417"/>
                  </a:cubicBezTo>
                  <a:lnTo>
                    <a:pt x="32256" y="510394"/>
                  </a:lnTo>
                  <a:lnTo>
                    <a:pt x="36980" y="512186"/>
                  </a:lnTo>
                  <a:lnTo>
                    <a:pt x="32907" y="517562"/>
                  </a:lnTo>
                  <a:lnTo>
                    <a:pt x="29650" y="517562"/>
                  </a:lnTo>
                  <a:lnTo>
                    <a:pt x="28183" y="520983"/>
                  </a:lnTo>
                  <a:lnTo>
                    <a:pt x="30627" y="522124"/>
                  </a:lnTo>
                  <a:lnTo>
                    <a:pt x="37632" y="522124"/>
                  </a:lnTo>
                  <a:lnTo>
                    <a:pt x="39424" y="525056"/>
                  </a:lnTo>
                  <a:lnTo>
                    <a:pt x="34374" y="525382"/>
                  </a:lnTo>
                  <a:lnTo>
                    <a:pt x="32582" y="528314"/>
                  </a:lnTo>
                  <a:lnTo>
                    <a:pt x="32256" y="531736"/>
                  </a:lnTo>
                  <a:lnTo>
                    <a:pt x="26880" y="527989"/>
                  </a:lnTo>
                  <a:lnTo>
                    <a:pt x="24436" y="529129"/>
                  </a:lnTo>
                  <a:lnTo>
                    <a:pt x="23459" y="533365"/>
                  </a:lnTo>
                  <a:lnTo>
                    <a:pt x="22318" y="528314"/>
                  </a:lnTo>
                  <a:lnTo>
                    <a:pt x="19060" y="530432"/>
                  </a:lnTo>
                  <a:lnTo>
                    <a:pt x="14662" y="536460"/>
                  </a:lnTo>
                  <a:lnTo>
                    <a:pt x="16454" y="541021"/>
                  </a:lnTo>
                  <a:lnTo>
                    <a:pt x="23133" y="548189"/>
                  </a:lnTo>
                  <a:lnTo>
                    <a:pt x="24436" y="544117"/>
                  </a:lnTo>
                  <a:lnTo>
                    <a:pt x="26228" y="545583"/>
                  </a:lnTo>
                  <a:lnTo>
                    <a:pt x="29975" y="543791"/>
                  </a:lnTo>
                  <a:lnTo>
                    <a:pt x="28998" y="541673"/>
                  </a:lnTo>
                  <a:lnTo>
                    <a:pt x="31116" y="536786"/>
                  </a:lnTo>
                  <a:lnTo>
                    <a:pt x="36491" y="540858"/>
                  </a:lnTo>
                  <a:lnTo>
                    <a:pt x="34048" y="542487"/>
                  </a:lnTo>
                  <a:lnTo>
                    <a:pt x="37143" y="545746"/>
                  </a:lnTo>
                  <a:lnTo>
                    <a:pt x="36003" y="549981"/>
                  </a:lnTo>
                  <a:lnTo>
                    <a:pt x="32745" y="552262"/>
                  </a:lnTo>
                  <a:lnTo>
                    <a:pt x="35677" y="559430"/>
                  </a:lnTo>
                  <a:lnTo>
                    <a:pt x="37958" y="556661"/>
                  </a:lnTo>
                  <a:lnTo>
                    <a:pt x="44148" y="554869"/>
                  </a:lnTo>
                  <a:lnTo>
                    <a:pt x="46592" y="558290"/>
                  </a:lnTo>
                  <a:lnTo>
                    <a:pt x="41379" y="558615"/>
                  </a:lnTo>
                  <a:lnTo>
                    <a:pt x="38935" y="560570"/>
                  </a:lnTo>
                  <a:lnTo>
                    <a:pt x="41705" y="564806"/>
                  </a:lnTo>
                  <a:lnTo>
                    <a:pt x="41053" y="566598"/>
                  </a:lnTo>
                  <a:lnTo>
                    <a:pt x="31930" y="560082"/>
                  </a:lnTo>
                  <a:lnTo>
                    <a:pt x="28835" y="561222"/>
                  </a:lnTo>
                  <a:lnTo>
                    <a:pt x="25902" y="558941"/>
                  </a:lnTo>
                  <a:lnTo>
                    <a:pt x="21993" y="558941"/>
                  </a:lnTo>
                  <a:lnTo>
                    <a:pt x="21993" y="563014"/>
                  </a:lnTo>
                  <a:lnTo>
                    <a:pt x="19223" y="565946"/>
                  </a:lnTo>
                  <a:lnTo>
                    <a:pt x="25577" y="576698"/>
                  </a:lnTo>
                  <a:lnTo>
                    <a:pt x="30790" y="577676"/>
                  </a:lnTo>
                  <a:lnTo>
                    <a:pt x="37795" y="583703"/>
                  </a:lnTo>
                  <a:lnTo>
                    <a:pt x="47407" y="587450"/>
                  </a:lnTo>
                  <a:lnTo>
                    <a:pt x="48547" y="590546"/>
                  </a:lnTo>
                  <a:lnTo>
                    <a:pt x="46266" y="591686"/>
                  </a:lnTo>
                  <a:lnTo>
                    <a:pt x="50013" y="595107"/>
                  </a:lnTo>
                  <a:lnTo>
                    <a:pt x="53434" y="593478"/>
                  </a:lnTo>
                  <a:lnTo>
                    <a:pt x="51968" y="588591"/>
                  </a:lnTo>
                  <a:lnTo>
                    <a:pt x="55063" y="588591"/>
                  </a:lnTo>
                  <a:cubicBezTo>
                    <a:pt x="55063" y="588591"/>
                    <a:pt x="58321" y="591034"/>
                    <a:pt x="58321" y="591034"/>
                  </a:cubicBezTo>
                  <a:lnTo>
                    <a:pt x="57670" y="592501"/>
                  </a:lnTo>
                  <a:lnTo>
                    <a:pt x="62720" y="598854"/>
                  </a:lnTo>
                  <a:lnTo>
                    <a:pt x="65001" y="595922"/>
                  </a:lnTo>
                  <a:lnTo>
                    <a:pt x="66955" y="597062"/>
                  </a:lnTo>
                  <a:lnTo>
                    <a:pt x="71354" y="595107"/>
                  </a:lnTo>
                  <a:lnTo>
                    <a:pt x="76730" y="590057"/>
                  </a:lnTo>
                  <a:lnTo>
                    <a:pt x="79011" y="589568"/>
                  </a:lnTo>
                  <a:lnTo>
                    <a:pt x="81129" y="587125"/>
                  </a:lnTo>
                  <a:lnTo>
                    <a:pt x="82269" y="587450"/>
                  </a:lnTo>
                  <a:lnTo>
                    <a:pt x="83572" y="591034"/>
                  </a:lnTo>
                  <a:lnTo>
                    <a:pt x="86668" y="591360"/>
                  </a:lnTo>
                  <a:lnTo>
                    <a:pt x="95465" y="582563"/>
                  </a:lnTo>
                  <a:lnTo>
                    <a:pt x="95139" y="579468"/>
                  </a:lnTo>
                  <a:lnTo>
                    <a:pt x="91229" y="574581"/>
                  </a:lnTo>
                  <a:lnTo>
                    <a:pt x="97909" y="578816"/>
                  </a:lnTo>
                  <a:lnTo>
                    <a:pt x="103284" y="573440"/>
                  </a:lnTo>
                  <a:lnTo>
                    <a:pt x="101818" y="571648"/>
                  </a:lnTo>
                  <a:lnTo>
                    <a:pt x="105076" y="569367"/>
                  </a:lnTo>
                  <a:lnTo>
                    <a:pt x="104425" y="565946"/>
                  </a:lnTo>
                  <a:lnTo>
                    <a:pt x="108334" y="563340"/>
                  </a:lnTo>
                  <a:lnTo>
                    <a:pt x="112570" y="562525"/>
                  </a:lnTo>
                  <a:lnTo>
                    <a:pt x="113711" y="559430"/>
                  </a:lnTo>
                  <a:lnTo>
                    <a:pt x="109638" y="554380"/>
                  </a:lnTo>
                  <a:lnTo>
                    <a:pt x="111104" y="550959"/>
                  </a:lnTo>
                  <a:lnTo>
                    <a:pt x="107520" y="546071"/>
                  </a:lnTo>
                  <a:lnTo>
                    <a:pt x="103121" y="542813"/>
                  </a:lnTo>
                  <a:lnTo>
                    <a:pt x="103121" y="538578"/>
                  </a:lnTo>
                  <a:cubicBezTo>
                    <a:pt x="103121" y="538578"/>
                    <a:pt x="105891" y="540044"/>
                    <a:pt x="105891" y="540044"/>
                  </a:cubicBezTo>
                  <a:lnTo>
                    <a:pt x="110778" y="545420"/>
                  </a:lnTo>
                  <a:lnTo>
                    <a:pt x="112733" y="552425"/>
                  </a:lnTo>
                  <a:lnTo>
                    <a:pt x="114525" y="554380"/>
                  </a:lnTo>
                  <a:lnTo>
                    <a:pt x="117620" y="554869"/>
                  </a:lnTo>
                  <a:lnTo>
                    <a:pt x="116969" y="557638"/>
                  </a:lnTo>
                  <a:lnTo>
                    <a:pt x="119250" y="560570"/>
                  </a:lnTo>
                  <a:lnTo>
                    <a:pt x="124137" y="558290"/>
                  </a:lnTo>
                  <a:lnTo>
                    <a:pt x="122834" y="555520"/>
                  </a:lnTo>
                  <a:lnTo>
                    <a:pt x="120553" y="553728"/>
                  </a:lnTo>
                  <a:lnTo>
                    <a:pt x="122345" y="550470"/>
                  </a:lnTo>
                  <a:lnTo>
                    <a:pt x="126418" y="554217"/>
                  </a:lnTo>
                  <a:lnTo>
                    <a:pt x="126418" y="556009"/>
                  </a:lnTo>
                  <a:cubicBezTo>
                    <a:pt x="126418" y="556009"/>
                    <a:pt x="132934" y="549981"/>
                    <a:pt x="132934" y="549981"/>
                  </a:cubicBezTo>
                  <a:lnTo>
                    <a:pt x="134563" y="544442"/>
                  </a:lnTo>
                  <a:lnTo>
                    <a:pt x="133097" y="539555"/>
                  </a:lnTo>
                  <a:lnTo>
                    <a:pt x="129676" y="538089"/>
                  </a:lnTo>
                  <a:lnTo>
                    <a:pt x="127884" y="535319"/>
                  </a:lnTo>
                  <a:lnTo>
                    <a:pt x="130164" y="533853"/>
                  </a:lnTo>
                  <a:lnTo>
                    <a:pt x="130490" y="531573"/>
                  </a:lnTo>
                  <a:lnTo>
                    <a:pt x="132934" y="531247"/>
                  </a:lnTo>
                  <a:lnTo>
                    <a:pt x="134889" y="528966"/>
                  </a:lnTo>
                  <a:lnTo>
                    <a:pt x="132282" y="525871"/>
                  </a:lnTo>
                  <a:lnTo>
                    <a:pt x="132282" y="521146"/>
                  </a:lnTo>
                  <a:cubicBezTo>
                    <a:pt x="132282" y="521146"/>
                    <a:pt x="136355" y="518214"/>
                    <a:pt x="136355" y="518214"/>
                  </a:cubicBezTo>
                  <a:lnTo>
                    <a:pt x="139939" y="521798"/>
                  </a:lnTo>
                  <a:lnTo>
                    <a:pt x="137007" y="526359"/>
                  </a:lnTo>
                  <a:lnTo>
                    <a:pt x="137984" y="532387"/>
                  </a:lnTo>
                  <a:lnTo>
                    <a:pt x="136844" y="536460"/>
                  </a:lnTo>
                  <a:lnTo>
                    <a:pt x="139776" y="541021"/>
                  </a:lnTo>
                  <a:lnTo>
                    <a:pt x="140591" y="544442"/>
                  </a:lnTo>
                  <a:lnTo>
                    <a:pt x="145966" y="549981"/>
                  </a:lnTo>
                  <a:lnTo>
                    <a:pt x="151994" y="549330"/>
                  </a:lnTo>
                  <a:lnTo>
                    <a:pt x="154438" y="551448"/>
                  </a:lnTo>
                  <a:lnTo>
                    <a:pt x="152971" y="553402"/>
                  </a:lnTo>
                  <a:lnTo>
                    <a:pt x="156067" y="555520"/>
                  </a:lnTo>
                  <a:lnTo>
                    <a:pt x="158999" y="560733"/>
                  </a:lnTo>
                  <a:lnTo>
                    <a:pt x="161769" y="555520"/>
                  </a:lnTo>
                  <a:lnTo>
                    <a:pt x="160628" y="539718"/>
                  </a:lnTo>
                  <a:lnTo>
                    <a:pt x="156719" y="532876"/>
                  </a:lnTo>
                  <a:lnTo>
                    <a:pt x="158673" y="528477"/>
                  </a:lnTo>
                  <a:lnTo>
                    <a:pt x="162094" y="526685"/>
                  </a:lnTo>
                  <a:lnTo>
                    <a:pt x="159488" y="521472"/>
                  </a:lnTo>
                  <a:lnTo>
                    <a:pt x="161117" y="518540"/>
                  </a:lnTo>
                  <a:lnTo>
                    <a:pt x="169100" y="517725"/>
                  </a:lnTo>
                  <a:lnTo>
                    <a:pt x="171380" y="513815"/>
                  </a:lnTo>
                  <a:lnTo>
                    <a:pt x="171055" y="508439"/>
                  </a:lnTo>
                  <a:lnTo>
                    <a:pt x="174802" y="500457"/>
                  </a:lnTo>
                  <a:lnTo>
                    <a:pt x="171055" y="495244"/>
                  </a:lnTo>
                  <a:lnTo>
                    <a:pt x="169262" y="483677"/>
                  </a:lnTo>
                  <a:lnTo>
                    <a:pt x="164538" y="474228"/>
                  </a:lnTo>
                  <a:lnTo>
                    <a:pt x="164864" y="469993"/>
                  </a:lnTo>
                  <a:lnTo>
                    <a:pt x="176430" y="466083"/>
                  </a:lnTo>
                  <a:lnTo>
                    <a:pt x="176430" y="457775"/>
                  </a:lnTo>
                  <a:cubicBezTo>
                    <a:pt x="176430" y="457775"/>
                    <a:pt x="179037" y="452073"/>
                    <a:pt x="179037" y="452073"/>
                  </a:cubicBezTo>
                  <a:lnTo>
                    <a:pt x="170240" y="442298"/>
                  </a:lnTo>
                  <a:lnTo>
                    <a:pt x="162909" y="438551"/>
                  </a:lnTo>
                  <a:lnTo>
                    <a:pt x="162584" y="428940"/>
                  </a:lnTo>
                  <a:lnTo>
                    <a:pt x="164212" y="419491"/>
                  </a:lnTo>
                  <a:lnTo>
                    <a:pt x="162909" y="409228"/>
                  </a:lnTo>
                  <a:lnTo>
                    <a:pt x="160139" y="402223"/>
                  </a:lnTo>
                  <a:lnTo>
                    <a:pt x="162420" y="394240"/>
                  </a:lnTo>
                  <a:lnTo>
                    <a:pt x="160954" y="380719"/>
                  </a:lnTo>
                  <a:lnTo>
                    <a:pt x="158511" y="367686"/>
                  </a:lnTo>
                  <a:lnTo>
                    <a:pt x="160303" y="356282"/>
                  </a:lnTo>
                  <a:lnTo>
                    <a:pt x="166004" y="346182"/>
                  </a:lnTo>
                  <a:lnTo>
                    <a:pt x="171543" y="342924"/>
                  </a:lnTo>
                  <a:lnTo>
                    <a:pt x="178385" y="344390"/>
                  </a:lnTo>
                  <a:lnTo>
                    <a:pt x="187020" y="344879"/>
                  </a:lnTo>
                  <a:lnTo>
                    <a:pt x="191418" y="338851"/>
                  </a:lnTo>
                  <a:lnTo>
                    <a:pt x="190603" y="329239"/>
                  </a:lnTo>
                  <a:lnTo>
                    <a:pt x="188160" y="325330"/>
                  </a:lnTo>
                  <a:lnTo>
                    <a:pt x="188486" y="319139"/>
                  </a:lnTo>
                  <a:lnTo>
                    <a:pt x="197120" y="297961"/>
                  </a:lnTo>
                  <a:lnTo>
                    <a:pt x="197446" y="285743"/>
                  </a:lnTo>
                  <a:lnTo>
                    <a:pt x="200052" y="274176"/>
                  </a:lnTo>
                  <a:lnTo>
                    <a:pt x="202659" y="267660"/>
                  </a:lnTo>
                  <a:lnTo>
                    <a:pt x="202659" y="260329"/>
                  </a:lnTo>
                  <a:cubicBezTo>
                    <a:pt x="202659" y="260329"/>
                    <a:pt x="198749" y="256582"/>
                    <a:pt x="198749" y="256582"/>
                  </a:cubicBezTo>
                  <a:lnTo>
                    <a:pt x="198749" y="251369"/>
                  </a:lnTo>
                  <a:cubicBezTo>
                    <a:pt x="198749" y="251369"/>
                    <a:pt x="207057" y="246645"/>
                    <a:pt x="207057" y="246645"/>
                  </a:cubicBezTo>
                  <a:lnTo>
                    <a:pt x="215692" y="244852"/>
                  </a:lnTo>
                  <a:lnTo>
                    <a:pt x="219764" y="241268"/>
                  </a:lnTo>
                  <a:lnTo>
                    <a:pt x="220090" y="236055"/>
                  </a:lnTo>
                  <a:lnTo>
                    <a:pt x="227095" y="223674"/>
                  </a:lnTo>
                  <a:lnTo>
                    <a:pt x="234263" y="213737"/>
                  </a:lnTo>
                  <a:lnTo>
                    <a:pt x="236707" y="207872"/>
                  </a:lnTo>
                  <a:lnTo>
                    <a:pt x="233937" y="200378"/>
                  </a:lnTo>
                  <a:lnTo>
                    <a:pt x="231005" y="197120"/>
                  </a:lnTo>
                  <a:lnTo>
                    <a:pt x="231005" y="185391"/>
                  </a:lnTo>
                  <a:cubicBezTo>
                    <a:pt x="231005" y="185391"/>
                    <a:pt x="234100" y="183762"/>
                    <a:pt x="234100" y="183762"/>
                  </a:cubicBezTo>
                  <a:lnTo>
                    <a:pt x="237196" y="179526"/>
                  </a:lnTo>
                  <a:lnTo>
                    <a:pt x="238662" y="173335"/>
                  </a:lnTo>
                  <a:lnTo>
                    <a:pt x="242083" y="171543"/>
                  </a:lnTo>
                  <a:lnTo>
                    <a:pt x="245993" y="163072"/>
                  </a:lnTo>
                  <a:lnTo>
                    <a:pt x="251369" y="158999"/>
                  </a:lnTo>
                  <a:lnTo>
                    <a:pt x="257071" y="161606"/>
                  </a:lnTo>
                  <a:lnTo>
                    <a:pt x="259514" y="164375"/>
                  </a:lnTo>
                  <a:lnTo>
                    <a:pt x="262773" y="163887"/>
                  </a:lnTo>
                  <a:lnTo>
                    <a:pt x="266682" y="160466"/>
                  </a:lnTo>
                  <a:lnTo>
                    <a:pt x="263587" y="155090"/>
                  </a:lnTo>
                  <a:lnTo>
                    <a:pt x="266519" y="152320"/>
                  </a:lnTo>
                  <a:lnTo>
                    <a:pt x="266519" y="149551"/>
                  </a:lnTo>
                  <a:lnTo>
                    <a:pt x="267823" y="146781"/>
                  </a:lnTo>
                  <a:lnTo>
                    <a:pt x="263750" y="140265"/>
                  </a:lnTo>
                  <a:lnTo>
                    <a:pt x="266357" y="138636"/>
                  </a:lnTo>
                  <a:lnTo>
                    <a:pt x="273687" y="138636"/>
                  </a:lnTo>
                  <a:cubicBezTo>
                    <a:pt x="273687" y="138636"/>
                    <a:pt x="279226" y="135866"/>
                    <a:pt x="279226" y="135866"/>
                  </a:cubicBezTo>
                  <a:lnTo>
                    <a:pt x="287698" y="138147"/>
                  </a:lnTo>
                  <a:lnTo>
                    <a:pt x="292911" y="141568"/>
                  </a:lnTo>
                  <a:lnTo>
                    <a:pt x="298775" y="142057"/>
                  </a:lnTo>
                  <a:lnTo>
                    <a:pt x="302034" y="144826"/>
                  </a:lnTo>
                  <a:lnTo>
                    <a:pt x="304640" y="143849"/>
                  </a:lnTo>
                  <a:lnTo>
                    <a:pt x="307084" y="145315"/>
                  </a:lnTo>
                  <a:lnTo>
                    <a:pt x="307084" y="139124"/>
                  </a:lnTo>
                  <a:lnTo>
                    <a:pt x="304314" y="135052"/>
                  </a:lnTo>
                  <a:lnTo>
                    <a:pt x="304966" y="127069"/>
                  </a:lnTo>
                  <a:lnTo>
                    <a:pt x="309039" y="124788"/>
                  </a:lnTo>
                  <a:lnTo>
                    <a:pt x="307735" y="119412"/>
                  </a:lnTo>
                  <a:lnTo>
                    <a:pt x="303662" y="117132"/>
                  </a:lnTo>
                  <a:lnTo>
                    <a:pt x="303337" y="111919"/>
                  </a:lnTo>
                  <a:lnTo>
                    <a:pt x="309202" y="113711"/>
                  </a:lnTo>
                  <a:lnTo>
                    <a:pt x="314903" y="112570"/>
                  </a:lnTo>
                  <a:lnTo>
                    <a:pt x="316858" y="111593"/>
                  </a:lnTo>
                  <a:lnTo>
                    <a:pt x="316858" y="111593"/>
                  </a:lnTo>
                  <a:cubicBezTo>
                    <a:pt x="316858" y="111593"/>
                    <a:pt x="317836" y="109964"/>
                    <a:pt x="317836" y="109964"/>
                  </a:cubicBezTo>
                  <a:lnTo>
                    <a:pt x="319953" y="110941"/>
                  </a:lnTo>
                  <a:lnTo>
                    <a:pt x="321746" y="109801"/>
                  </a:lnTo>
                  <a:lnTo>
                    <a:pt x="320279" y="105891"/>
                  </a:lnTo>
                  <a:lnTo>
                    <a:pt x="321257" y="101492"/>
                  </a:lnTo>
                  <a:lnTo>
                    <a:pt x="324678" y="98560"/>
                  </a:lnTo>
                  <a:lnTo>
                    <a:pt x="329402" y="99375"/>
                  </a:lnTo>
                  <a:lnTo>
                    <a:pt x="333312" y="105076"/>
                  </a:lnTo>
                  <a:lnTo>
                    <a:pt x="344227" y="113874"/>
                  </a:lnTo>
                  <a:lnTo>
                    <a:pt x="346182" y="119249"/>
                  </a:lnTo>
                  <a:lnTo>
                    <a:pt x="350255" y="124788"/>
                  </a:lnTo>
                  <a:lnTo>
                    <a:pt x="357423" y="127721"/>
                  </a:lnTo>
                  <a:lnTo>
                    <a:pt x="369478" y="128047"/>
                  </a:lnTo>
                  <a:lnTo>
                    <a:pt x="375668" y="122019"/>
                  </a:lnTo>
                  <a:lnTo>
                    <a:pt x="379089" y="118272"/>
                  </a:lnTo>
                  <a:lnTo>
                    <a:pt x="384466" y="118272"/>
                  </a:lnTo>
                  <a:cubicBezTo>
                    <a:pt x="384466" y="118272"/>
                    <a:pt x="392937" y="124300"/>
                    <a:pt x="392937" y="124300"/>
                  </a:cubicBezTo>
                  <a:lnTo>
                    <a:pt x="398639" y="125277"/>
                  </a:lnTo>
                  <a:lnTo>
                    <a:pt x="401571" y="119738"/>
                  </a:lnTo>
                  <a:lnTo>
                    <a:pt x="404829" y="117946"/>
                  </a:lnTo>
                  <a:lnTo>
                    <a:pt x="408902" y="114036"/>
                  </a:lnTo>
                  <a:lnTo>
                    <a:pt x="413300" y="114362"/>
                  </a:lnTo>
                  <a:lnTo>
                    <a:pt x="417699" y="111430"/>
                  </a:lnTo>
                  <a:lnTo>
                    <a:pt x="419491" y="108172"/>
                  </a:lnTo>
                  <a:lnTo>
                    <a:pt x="417699" y="103773"/>
                  </a:lnTo>
                  <a:lnTo>
                    <a:pt x="415255" y="95954"/>
                  </a:lnTo>
                  <a:lnTo>
                    <a:pt x="416559" y="82921"/>
                  </a:lnTo>
                  <a:lnTo>
                    <a:pt x="418188" y="78848"/>
                  </a:lnTo>
                  <a:lnTo>
                    <a:pt x="415744" y="74938"/>
                  </a:lnTo>
                  <a:lnTo>
                    <a:pt x="418676" y="73146"/>
                  </a:lnTo>
                  <a:lnTo>
                    <a:pt x="422749" y="67607"/>
                  </a:lnTo>
                  <a:lnTo>
                    <a:pt x="422423" y="64675"/>
                  </a:lnTo>
                  <a:lnTo>
                    <a:pt x="427800" y="62231"/>
                  </a:lnTo>
                  <a:lnTo>
                    <a:pt x="434478" y="63535"/>
                  </a:lnTo>
                  <a:lnTo>
                    <a:pt x="438389" y="62557"/>
                  </a:lnTo>
                  <a:lnTo>
                    <a:pt x="438062" y="60276"/>
                  </a:lnTo>
                  <a:lnTo>
                    <a:pt x="442298" y="55715"/>
                  </a:lnTo>
                  <a:lnTo>
                    <a:pt x="453213" y="55715"/>
                  </a:lnTo>
                  <a:cubicBezTo>
                    <a:pt x="453213" y="55715"/>
                    <a:pt x="457937" y="58810"/>
                    <a:pt x="457937" y="58810"/>
                  </a:cubicBezTo>
                  <a:lnTo>
                    <a:pt x="464128" y="66630"/>
                  </a:lnTo>
                  <a:lnTo>
                    <a:pt x="467712" y="70377"/>
                  </a:lnTo>
                  <a:lnTo>
                    <a:pt x="473251" y="72332"/>
                  </a:lnTo>
                  <a:lnTo>
                    <a:pt x="481722" y="73309"/>
                  </a:lnTo>
                  <a:lnTo>
                    <a:pt x="483189" y="77545"/>
                  </a:lnTo>
                  <a:lnTo>
                    <a:pt x="488239" y="82921"/>
                  </a:lnTo>
                  <a:lnTo>
                    <a:pt x="487424" y="88134"/>
                  </a:lnTo>
                  <a:lnTo>
                    <a:pt x="482862" y="95302"/>
                  </a:lnTo>
                  <a:lnTo>
                    <a:pt x="483840" y="105728"/>
                  </a:lnTo>
                  <a:lnTo>
                    <a:pt x="483840" y="105728"/>
                  </a:lnTo>
                  <a:close/>
                  <a:moveTo>
                    <a:pt x="22970" y="551122"/>
                  </a:moveTo>
                  <a:lnTo>
                    <a:pt x="26228" y="554380"/>
                  </a:lnTo>
                  <a:lnTo>
                    <a:pt x="22318" y="555846"/>
                  </a:lnTo>
                  <a:lnTo>
                    <a:pt x="22970" y="551122"/>
                  </a:lnTo>
                  <a:lnTo>
                    <a:pt x="22970" y="551122"/>
                  </a:lnTo>
                  <a:close/>
                  <a:moveTo>
                    <a:pt x="11403" y="522613"/>
                  </a:moveTo>
                  <a:cubicBezTo>
                    <a:pt x="11403" y="522613"/>
                    <a:pt x="14336" y="521635"/>
                    <a:pt x="14336" y="521635"/>
                  </a:cubicBezTo>
                  <a:lnTo>
                    <a:pt x="17105" y="524567"/>
                  </a:lnTo>
                  <a:lnTo>
                    <a:pt x="15314" y="528314"/>
                  </a:lnTo>
                  <a:lnTo>
                    <a:pt x="11403" y="522613"/>
                  </a:lnTo>
                  <a:lnTo>
                    <a:pt x="11403" y="522613"/>
                  </a:lnTo>
                  <a:close/>
                  <a:moveTo>
                    <a:pt x="20201" y="512675"/>
                  </a:moveTo>
                  <a:lnTo>
                    <a:pt x="20201" y="516748"/>
                  </a:lnTo>
                  <a:cubicBezTo>
                    <a:pt x="20201" y="516748"/>
                    <a:pt x="17920" y="517236"/>
                    <a:pt x="17920" y="517236"/>
                  </a:cubicBezTo>
                  <a:lnTo>
                    <a:pt x="20201" y="512675"/>
                  </a:lnTo>
                  <a:lnTo>
                    <a:pt x="20201" y="512675"/>
                  </a:lnTo>
                  <a:close/>
                  <a:moveTo>
                    <a:pt x="15802" y="510231"/>
                  </a:moveTo>
                  <a:lnTo>
                    <a:pt x="15150" y="514630"/>
                  </a:lnTo>
                  <a:lnTo>
                    <a:pt x="11241" y="513815"/>
                  </a:lnTo>
                  <a:lnTo>
                    <a:pt x="15802" y="510069"/>
                  </a:lnTo>
                  <a:lnTo>
                    <a:pt x="15802" y="510069"/>
                  </a:lnTo>
                  <a:close/>
                  <a:moveTo>
                    <a:pt x="7005" y="491008"/>
                  </a:moveTo>
                  <a:lnTo>
                    <a:pt x="3095" y="488402"/>
                  </a:lnTo>
                  <a:lnTo>
                    <a:pt x="6842" y="485306"/>
                  </a:lnTo>
                  <a:cubicBezTo>
                    <a:pt x="6842" y="485306"/>
                    <a:pt x="6842" y="490194"/>
                    <a:pt x="7005" y="491008"/>
                  </a:cubicBezTo>
                  <a:lnTo>
                    <a:pt x="7005" y="491008"/>
                  </a:lnTo>
                  <a:close/>
                  <a:moveTo>
                    <a:pt x="5213" y="494755"/>
                  </a:moveTo>
                  <a:lnTo>
                    <a:pt x="8960" y="494755"/>
                  </a:lnTo>
                  <a:cubicBezTo>
                    <a:pt x="8960" y="494755"/>
                    <a:pt x="7168" y="497199"/>
                    <a:pt x="7168" y="497199"/>
                  </a:cubicBezTo>
                  <a:lnTo>
                    <a:pt x="5376" y="494755"/>
                  </a:lnTo>
                  <a:lnTo>
                    <a:pt x="5376" y="494755"/>
                  </a:lnTo>
                  <a:close/>
                  <a:moveTo>
                    <a:pt x="14499" y="499642"/>
                  </a:moveTo>
                  <a:cubicBezTo>
                    <a:pt x="14499" y="499642"/>
                    <a:pt x="18409" y="504693"/>
                    <a:pt x="18409" y="504693"/>
                  </a:cubicBezTo>
                  <a:lnTo>
                    <a:pt x="16780" y="509417"/>
                  </a:lnTo>
                  <a:lnTo>
                    <a:pt x="14499" y="499642"/>
                  </a:lnTo>
                  <a:lnTo>
                    <a:pt x="14499" y="499642"/>
                  </a:lnTo>
                  <a:close/>
                  <a:moveTo>
                    <a:pt x="7494" y="505996"/>
                  </a:moveTo>
                  <a:lnTo>
                    <a:pt x="4236" y="501923"/>
                  </a:lnTo>
                  <a:lnTo>
                    <a:pt x="8960" y="500457"/>
                  </a:lnTo>
                  <a:lnTo>
                    <a:pt x="7494" y="505996"/>
                  </a:lnTo>
                  <a:lnTo>
                    <a:pt x="7494" y="505996"/>
                  </a:lnTo>
                  <a:close/>
                  <a:moveTo>
                    <a:pt x="4236" y="476346"/>
                  </a:moveTo>
                  <a:lnTo>
                    <a:pt x="0" y="479605"/>
                  </a:lnTo>
                  <a:lnTo>
                    <a:pt x="2607" y="481234"/>
                  </a:lnTo>
                  <a:lnTo>
                    <a:pt x="5213" y="478627"/>
                  </a:lnTo>
                  <a:lnTo>
                    <a:pt x="4236" y="476183"/>
                  </a:lnTo>
                  <a:lnTo>
                    <a:pt x="4236" y="476183"/>
                  </a:lnTo>
                  <a:close/>
                  <a:moveTo>
                    <a:pt x="2444" y="440669"/>
                  </a:moveTo>
                  <a:lnTo>
                    <a:pt x="8309" y="443439"/>
                  </a:lnTo>
                  <a:lnTo>
                    <a:pt x="3584" y="444416"/>
                  </a:lnTo>
                  <a:lnTo>
                    <a:pt x="2444" y="440669"/>
                  </a:lnTo>
                  <a:lnTo>
                    <a:pt x="2444" y="440669"/>
                  </a:lnTo>
                  <a:close/>
                  <a:moveTo>
                    <a:pt x="4073" y="431872"/>
                  </a:moveTo>
                  <a:lnTo>
                    <a:pt x="8797" y="434967"/>
                  </a:lnTo>
                  <a:lnTo>
                    <a:pt x="6353" y="438063"/>
                  </a:lnTo>
                  <a:lnTo>
                    <a:pt x="3910" y="431872"/>
                  </a:lnTo>
                  <a:lnTo>
                    <a:pt x="3910" y="431872"/>
                  </a:lnTo>
                  <a:close/>
                  <a:moveTo>
                    <a:pt x="18409" y="421446"/>
                  </a:moveTo>
                  <a:lnTo>
                    <a:pt x="19875" y="425519"/>
                  </a:lnTo>
                  <a:lnTo>
                    <a:pt x="15150" y="425519"/>
                  </a:lnTo>
                  <a:cubicBezTo>
                    <a:pt x="15150" y="425519"/>
                    <a:pt x="18409" y="421446"/>
                    <a:pt x="18409" y="421446"/>
                  </a:cubicBezTo>
                  <a:lnTo>
                    <a:pt x="18409" y="421446"/>
                  </a:lnTo>
                  <a:close/>
                  <a:moveTo>
                    <a:pt x="22970" y="418351"/>
                  </a:moveTo>
                  <a:lnTo>
                    <a:pt x="26717" y="419491"/>
                  </a:lnTo>
                  <a:lnTo>
                    <a:pt x="28346" y="422423"/>
                  </a:lnTo>
                  <a:lnTo>
                    <a:pt x="23133" y="425519"/>
                  </a:lnTo>
                  <a:lnTo>
                    <a:pt x="23133" y="418351"/>
                  </a:lnTo>
                  <a:lnTo>
                    <a:pt x="22970" y="418351"/>
                  </a:lnTo>
                  <a:close/>
                  <a:moveTo>
                    <a:pt x="68422" y="386583"/>
                  </a:moveTo>
                  <a:cubicBezTo>
                    <a:pt x="68422" y="386583"/>
                    <a:pt x="72983" y="381533"/>
                    <a:pt x="72983" y="381533"/>
                  </a:cubicBezTo>
                  <a:lnTo>
                    <a:pt x="74287" y="387072"/>
                  </a:lnTo>
                  <a:lnTo>
                    <a:pt x="71680" y="389353"/>
                  </a:lnTo>
                  <a:lnTo>
                    <a:pt x="68422" y="386583"/>
                  </a:lnTo>
                  <a:lnTo>
                    <a:pt x="68422" y="386583"/>
                  </a:lnTo>
                  <a:close/>
                  <a:moveTo>
                    <a:pt x="70051" y="378112"/>
                  </a:moveTo>
                  <a:cubicBezTo>
                    <a:pt x="70051" y="378112"/>
                    <a:pt x="68096" y="380230"/>
                    <a:pt x="68096" y="380230"/>
                  </a:cubicBezTo>
                  <a:lnTo>
                    <a:pt x="63209" y="374854"/>
                  </a:lnTo>
                  <a:lnTo>
                    <a:pt x="68585" y="374365"/>
                  </a:lnTo>
                  <a:lnTo>
                    <a:pt x="70051" y="378112"/>
                  </a:lnTo>
                  <a:lnTo>
                    <a:pt x="70051" y="378112"/>
                  </a:lnTo>
                  <a:close/>
                  <a:moveTo>
                    <a:pt x="74938" y="367523"/>
                  </a:moveTo>
                  <a:lnTo>
                    <a:pt x="82921" y="360518"/>
                  </a:lnTo>
                  <a:lnTo>
                    <a:pt x="86342" y="363613"/>
                  </a:lnTo>
                  <a:lnTo>
                    <a:pt x="81129" y="367197"/>
                  </a:lnTo>
                  <a:lnTo>
                    <a:pt x="75101" y="367523"/>
                  </a:lnTo>
                  <a:lnTo>
                    <a:pt x="75101" y="367523"/>
                  </a:lnTo>
                  <a:close/>
                  <a:moveTo>
                    <a:pt x="76078" y="377135"/>
                  </a:moveTo>
                  <a:lnTo>
                    <a:pt x="79174" y="371270"/>
                  </a:lnTo>
                  <a:lnTo>
                    <a:pt x="84224" y="371270"/>
                  </a:lnTo>
                  <a:cubicBezTo>
                    <a:pt x="84224" y="371270"/>
                    <a:pt x="85690" y="368500"/>
                    <a:pt x="85690" y="368500"/>
                  </a:cubicBezTo>
                  <a:lnTo>
                    <a:pt x="89600" y="368500"/>
                  </a:lnTo>
                  <a:cubicBezTo>
                    <a:pt x="89600" y="368500"/>
                    <a:pt x="92207" y="371107"/>
                    <a:pt x="92207" y="371107"/>
                  </a:cubicBezTo>
                  <a:lnTo>
                    <a:pt x="88460" y="375669"/>
                  </a:lnTo>
                  <a:lnTo>
                    <a:pt x="82758" y="375343"/>
                  </a:lnTo>
                  <a:lnTo>
                    <a:pt x="79337" y="377298"/>
                  </a:lnTo>
                  <a:lnTo>
                    <a:pt x="75916" y="377298"/>
                  </a:lnTo>
                  <a:close/>
                  <a:moveTo>
                    <a:pt x="142382" y="304640"/>
                  </a:moveTo>
                  <a:lnTo>
                    <a:pt x="144337" y="300893"/>
                  </a:lnTo>
                  <a:lnTo>
                    <a:pt x="150854" y="299753"/>
                  </a:lnTo>
                  <a:lnTo>
                    <a:pt x="145641" y="306106"/>
                  </a:lnTo>
                  <a:lnTo>
                    <a:pt x="142546" y="304803"/>
                  </a:lnTo>
                  <a:lnTo>
                    <a:pt x="142546" y="304803"/>
                  </a:lnTo>
                  <a:close/>
                  <a:moveTo>
                    <a:pt x="137007" y="316858"/>
                  </a:moveTo>
                  <a:lnTo>
                    <a:pt x="135214" y="313763"/>
                  </a:lnTo>
                  <a:lnTo>
                    <a:pt x="130653" y="314089"/>
                  </a:lnTo>
                  <a:lnTo>
                    <a:pt x="134563" y="309853"/>
                  </a:lnTo>
                  <a:lnTo>
                    <a:pt x="141731" y="309039"/>
                  </a:lnTo>
                  <a:lnTo>
                    <a:pt x="145478" y="307410"/>
                  </a:lnTo>
                  <a:lnTo>
                    <a:pt x="139613" y="314578"/>
                  </a:lnTo>
                  <a:lnTo>
                    <a:pt x="137007" y="316858"/>
                  </a:lnTo>
                  <a:lnTo>
                    <a:pt x="137007" y="316858"/>
                  </a:lnTo>
                  <a:close/>
                  <a:moveTo>
                    <a:pt x="149550" y="273850"/>
                  </a:moveTo>
                  <a:lnTo>
                    <a:pt x="151505" y="275316"/>
                  </a:lnTo>
                  <a:lnTo>
                    <a:pt x="151505" y="278412"/>
                  </a:lnTo>
                  <a:cubicBezTo>
                    <a:pt x="151505" y="278412"/>
                    <a:pt x="149062" y="280855"/>
                    <a:pt x="149062" y="280855"/>
                  </a:cubicBezTo>
                  <a:lnTo>
                    <a:pt x="146781" y="277923"/>
                  </a:lnTo>
                  <a:lnTo>
                    <a:pt x="149387" y="274013"/>
                  </a:lnTo>
                  <a:lnTo>
                    <a:pt x="149387" y="274013"/>
                  </a:lnTo>
                  <a:close/>
                  <a:moveTo>
                    <a:pt x="159162" y="264076"/>
                  </a:moveTo>
                  <a:lnTo>
                    <a:pt x="161443" y="261632"/>
                  </a:lnTo>
                  <a:lnTo>
                    <a:pt x="166167" y="262284"/>
                  </a:lnTo>
                  <a:lnTo>
                    <a:pt x="160139" y="267334"/>
                  </a:lnTo>
                  <a:lnTo>
                    <a:pt x="159162" y="264239"/>
                  </a:lnTo>
                  <a:lnTo>
                    <a:pt x="159162" y="264239"/>
                  </a:lnTo>
                  <a:close/>
                  <a:moveTo>
                    <a:pt x="155741" y="255116"/>
                  </a:moveTo>
                  <a:lnTo>
                    <a:pt x="160466" y="250066"/>
                  </a:lnTo>
                  <a:lnTo>
                    <a:pt x="161443" y="254953"/>
                  </a:lnTo>
                  <a:lnTo>
                    <a:pt x="157370" y="261469"/>
                  </a:lnTo>
                  <a:lnTo>
                    <a:pt x="155741" y="255116"/>
                  </a:lnTo>
                  <a:lnTo>
                    <a:pt x="155741" y="255116"/>
                  </a:lnTo>
                  <a:close/>
                  <a:moveTo>
                    <a:pt x="187509" y="208849"/>
                  </a:moveTo>
                  <a:lnTo>
                    <a:pt x="189137" y="206406"/>
                  </a:lnTo>
                  <a:lnTo>
                    <a:pt x="192070" y="206895"/>
                  </a:lnTo>
                  <a:lnTo>
                    <a:pt x="190115" y="211130"/>
                  </a:lnTo>
                  <a:lnTo>
                    <a:pt x="187671" y="208849"/>
                  </a:lnTo>
                  <a:lnTo>
                    <a:pt x="187671" y="208849"/>
                  </a:lnTo>
                  <a:close/>
                  <a:moveTo>
                    <a:pt x="156882" y="182784"/>
                  </a:moveTo>
                  <a:lnTo>
                    <a:pt x="158999" y="185391"/>
                  </a:lnTo>
                  <a:lnTo>
                    <a:pt x="157696" y="187997"/>
                  </a:lnTo>
                  <a:lnTo>
                    <a:pt x="155089" y="186368"/>
                  </a:lnTo>
                  <a:lnTo>
                    <a:pt x="157044" y="182784"/>
                  </a:lnTo>
                  <a:lnTo>
                    <a:pt x="157044" y="182784"/>
                  </a:lnTo>
                  <a:close/>
                  <a:moveTo>
                    <a:pt x="165516" y="169751"/>
                  </a:moveTo>
                  <a:lnTo>
                    <a:pt x="159651" y="175453"/>
                  </a:lnTo>
                  <a:lnTo>
                    <a:pt x="159651" y="170403"/>
                  </a:lnTo>
                  <a:lnTo>
                    <a:pt x="164212" y="162420"/>
                  </a:lnTo>
                  <a:lnTo>
                    <a:pt x="165516" y="169588"/>
                  </a:lnTo>
                  <a:lnTo>
                    <a:pt x="165516" y="169588"/>
                  </a:lnTo>
                  <a:close/>
                  <a:moveTo>
                    <a:pt x="169100" y="166004"/>
                  </a:moveTo>
                  <a:lnTo>
                    <a:pt x="167145" y="163072"/>
                  </a:lnTo>
                  <a:lnTo>
                    <a:pt x="169100" y="160466"/>
                  </a:lnTo>
                  <a:lnTo>
                    <a:pt x="171380" y="161769"/>
                  </a:lnTo>
                  <a:lnTo>
                    <a:pt x="169100" y="166004"/>
                  </a:lnTo>
                  <a:lnTo>
                    <a:pt x="169100" y="166004"/>
                  </a:lnTo>
                  <a:close/>
                  <a:moveTo>
                    <a:pt x="183925" y="154438"/>
                  </a:moveTo>
                  <a:lnTo>
                    <a:pt x="183436" y="158674"/>
                  </a:lnTo>
                  <a:lnTo>
                    <a:pt x="174313" y="165679"/>
                  </a:lnTo>
                  <a:lnTo>
                    <a:pt x="175779" y="156719"/>
                  </a:lnTo>
                  <a:lnTo>
                    <a:pt x="184087" y="154438"/>
                  </a:lnTo>
                  <a:lnTo>
                    <a:pt x="184087" y="154438"/>
                  </a:lnTo>
                  <a:close/>
                  <a:moveTo>
                    <a:pt x="192233" y="143523"/>
                  </a:moveTo>
                  <a:lnTo>
                    <a:pt x="195002" y="138962"/>
                  </a:lnTo>
                  <a:lnTo>
                    <a:pt x="199401" y="142708"/>
                  </a:lnTo>
                  <a:lnTo>
                    <a:pt x="192233" y="143686"/>
                  </a:lnTo>
                  <a:lnTo>
                    <a:pt x="192233" y="143686"/>
                  </a:lnTo>
                  <a:close/>
                  <a:moveTo>
                    <a:pt x="198749" y="145315"/>
                  </a:moveTo>
                  <a:lnTo>
                    <a:pt x="198749" y="155415"/>
                  </a:lnTo>
                  <a:cubicBezTo>
                    <a:pt x="198749" y="155415"/>
                    <a:pt x="193210" y="152809"/>
                    <a:pt x="193210" y="152809"/>
                  </a:cubicBezTo>
                  <a:lnTo>
                    <a:pt x="186368" y="157207"/>
                  </a:lnTo>
                  <a:lnTo>
                    <a:pt x="187020" y="152157"/>
                  </a:lnTo>
                  <a:lnTo>
                    <a:pt x="198586" y="145152"/>
                  </a:lnTo>
                  <a:lnTo>
                    <a:pt x="198586" y="145152"/>
                  </a:lnTo>
                  <a:close/>
                  <a:moveTo>
                    <a:pt x="202170" y="120390"/>
                  </a:moveTo>
                  <a:lnTo>
                    <a:pt x="203800" y="127232"/>
                  </a:lnTo>
                  <a:lnTo>
                    <a:pt x="203800" y="135703"/>
                  </a:lnTo>
                  <a:cubicBezTo>
                    <a:pt x="203800" y="135703"/>
                    <a:pt x="197120" y="137658"/>
                    <a:pt x="197120" y="137658"/>
                  </a:cubicBezTo>
                  <a:lnTo>
                    <a:pt x="194351" y="135215"/>
                  </a:lnTo>
                  <a:lnTo>
                    <a:pt x="200541" y="130816"/>
                  </a:lnTo>
                  <a:lnTo>
                    <a:pt x="197120" y="130816"/>
                  </a:lnTo>
                  <a:cubicBezTo>
                    <a:pt x="197120" y="130816"/>
                    <a:pt x="190603" y="135866"/>
                    <a:pt x="190603" y="135866"/>
                  </a:cubicBezTo>
                  <a:lnTo>
                    <a:pt x="188649" y="132608"/>
                  </a:lnTo>
                  <a:lnTo>
                    <a:pt x="190441" y="127395"/>
                  </a:lnTo>
                  <a:lnTo>
                    <a:pt x="195165" y="128535"/>
                  </a:lnTo>
                  <a:lnTo>
                    <a:pt x="199564" y="123322"/>
                  </a:lnTo>
                  <a:lnTo>
                    <a:pt x="198586" y="120879"/>
                  </a:lnTo>
                  <a:lnTo>
                    <a:pt x="201844" y="120390"/>
                  </a:lnTo>
                  <a:lnTo>
                    <a:pt x="201844" y="120390"/>
                  </a:lnTo>
                  <a:close/>
                  <a:moveTo>
                    <a:pt x="207709" y="123322"/>
                  </a:moveTo>
                  <a:lnTo>
                    <a:pt x="205103" y="121530"/>
                  </a:lnTo>
                  <a:lnTo>
                    <a:pt x="205428" y="114199"/>
                  </a:lnTo>
                  <a:lnTo>
                    <a:pt x="212271" y="108660"/>
                  </a:lnTo>
                  <a:lnTo>
                    <a:pt x="212271" y="104099"/>
                  </a:lnTo>
                  <a:cubicBezTo>
                    <a:pt x="212271" y="104099"/>
                    <a:pt x="219113" y="101492"/>
                    <a:pt x="219113" y="101492"/>
                  </a:cubicBezTo>
                  <a:lnTo>
                    <a:pt x="220416" y="106217"/>
                  </a:lnTo>
                  <a:lnTo>
                    <a:pt x="215040" y="110127"/>
                  </a:lnTo>
                  <a:lnTo>
                    <a:pt x="214551" y="115340"/>
                  </a:lnTo>
                  <a:lnTo>
                    <a:pt x="207709" y="123485"/>
                  </a:lnTo>
                  <a:lnTo>
                    <a:pt x="207709" y="123485"/>
                  </a:lnTo>
                  <a:close/>
                  <a:moveTo>
                    <a:pt x="224489" y="126417"/>
                  </a:moveTo>
                  <a:lnTo>
                    <a:pt x="231005" y="132771"/>
                  </a:lnTo>
                  <a:lnTo>
                    <a:pt x="222208" y="142383"/>
                  </a:lnTo>
                  <a:lnTo>
                    <a:pt x="216343" y="145641"/>
                  </a:lnTo>
                  <a:lnTo>
                    <a:pt x="214389" y="149551"/>
                  </a:lnTo>
                  <a:lnTo>
                    <a:pt x="210478" y="148247"/>
                  </a:lnTo>
                  <a:lnTo>
                    <a:pt x="210967" y="143197"/>
                  </a:lnTo>
                  <a:lnTo>
                    <a:pt x="204940" y="151180"/>
                  </a:lnTo>
                  <a:lnTo>
                    <a:pt x="202170" y="151180"/>
                  </a:lnTo>
                  <a:lnTo>
                    <a:pt x="203148" y="144989"/>
                  </a:lnTo>
                  <a:lnTo>
                    <a:pt x="205754" y="143523"/>
                  </a:lnTo>
                  <a:lnTo>
                    <a:pt x="205103" y="138962"/>
                  </a:lnTo>
                  <a:lnTo>
                    <a:pt x="208524" y="134726"/>
                  </a:lnTo>
                  <a:lnTo>
                    <a:pt x="208524" y="130001"/>
                  </a:lnTo>
                  <a:lnTo>
                    <a:pt x="214551" y="120553"/>
                  </a:lnTo>
                  <a:lnTo>
                    <a:pt x="211456" y="134074"/>
                  </a:lnTo>
                  <a:lnTo>
                    <a:pt x="212759" y="138799"/>
                  </a:lnTo>
                  <a:lnTo>
                    <a:pt x="216180" y="132282"/>
                  </a:lnTo>
                  <a:lnTo>
                    <a:pt x="224326" y="131956"/>
                  </a:lnTo>
                  <a:lnTo>
                    <a:pt x="221230" y="127558"/>
                  </a:lnTo>
                  <a:lnTo>
                    <a:pt x="221230" y="123811"/>
                  </a:lnTo>
                  <a:cubicBezTo>
                    <a:pt x="221230" y="123811"/>
                    <a:pt x="224489" y="126417"/>
                    <a:pt x="224489" y="126417"/>
                  </a:cubicBezTo>
                  <a:lnTo>
                    <a:pt x="224489" y="126417"/>
                  </a:lnTo>
                  <a:close/>
                  <a:moveTo>
                    <a:pt x="223674" y="120716"/>
                  </a:moveTo>
                  <a:lnTo>
                    <a:pt x="222045" y="119087"/>
                  </a:lnTo>
                  <a:lnTo>
                    <a:pt x="225792" y="117458"/>
                  </a:lnTo>
                  <a:lnTo>
                    <a:pt x="231005" y="120064"/>
                  </a:lnTo>
                  <a:lnTo>
                    <a:pt x="231005" y="123648"/>
                  </a:lnTo>
                  <a:lnTo>
                    <a:pt x="223674" y="120553"/>
                  </a:lnTo>
                  <a:lnTo>
                    <a:pt x="223674" y="120553"/>
                  </a:lnTo>
                  <a:close/>
                  <a:moveTo>
                    <a:pt x="237684" y="128209"/>
                  </a:moveTo>
                  <a:lnTo>
                    <a:pt x="239314" y="122019"/>
                  </a:lnTo>
                  <a:lnTo>
                    <a:pt x="242083" y="126255"/>
                  </a:lnTo>
                  <a:lnTo>
                    <a:pt x="237684" y="128209"/>
                  </a:lnTo>
                  <a:lnTo>
                    <a:pt x="237684" y="128209"/>
                  </a:lnTo>
                  <a:close/>
                  <a:moveTo>
                    <a:pt x="255116" y="100678"/>
                  </a:moveTo>
                  <a:lnTo>
                    <a:pt x="254138" y="103610"/>
                  </a:lnTo>
                  <a:lnTo>
                    <a:pt x="255278" y="107846"/>
                  </a:lnTo>
                  <a:lnTo>
                    <a:pt x="249903" y="108986"/>
                  </a:lnTo>
                  <a:lnTo>
                    <a:pt x="247948" y="111919"/>
                  </a:lnTo>
                  <a:lnTo>
                    <a:pt x="242083" y="111430"/>
                  </a:lnTo>
                  <a:lnTo>
                    <a:pt x="240780" y="117783"/>
                  </a:lnTo>
                  <a:lnTo>
                    <a:pt x="238499" y="117783"/>
                  </a:lnTo>
                  <a:cubicBezTo>
                    <a:pt x="238499" y="117783"/>
                    <a:pt x="238336" y="113222"/>
                    <a:pt x="238336" y="113222"/>
                  </a:cubicBezTo>
                  <a:lnTo>
                    <a:pt x="234100" y="112733"/>
                  </a:lnTo>
                  <a:lnTo>
                    <a:pt x="238336" y="107357"/>
                  </a:lnTo>
                  <a:lnTo>
                    <a:pt x="233286" y="106868"/>
                  </a:lnTo>
                  <a:lnTo>
                    <a:pt x="235567" y="101004"/>
                  </a:lnTo>
                  <a:lnTo>
                    <a:pt x="242083" y="100515"/>
                  </a:lnTo>
                  <a:lnTo>
                    <a:pt x="236055" y="97420"/>
                  </a:lnTo>
                  <a:lnTo>
                    <a:pt x="239151" y="91881"/>
                  </a:lnTo>
                  <a:lnTo>
                    <a:pt x="243060" y="94813"/>
                  </a:lnTo>
                  <a:lnTo>
                    <a:pt x="241920" y="89274"/>
                  </a:lnTo>
                  <a:lnTo>
                    <a:pt x="249740" y="90089"/>
                  </a:lnTo>
                  <a:lnTo>
                    <a:pt x="250554" y="94162"/>
                  </a:lnTo>
                  <a:lnTo>
                    <a:pt x="253975" y="95302"/>
                  </a:lnTo>
                  <a:lnTo>
                    <a:pt x="255278" y="101167"/>
                  </a:lnTo>
                  <a:lnTo>
                    <a:pt x="255278" y="101167"/>
                  </a:lnTo>
                  <a:close/>
                  <a:moveTo>
                    <a:pt x="255116" y="85853"/>
                  </a:moveTo>
                  <a:lnTo>
                    <a:pt x="261958" y="85527"/>
                  </a:lnTo>
                  <a:lnTo>
                    <a:pt x="261958" y="81617"/>
                  </a:lnTo>
                  <a:cubicBezTo>
                    <a:pt x="261958" y="81617"/>
                    <a:pt x="268148" y="81455"/>
                    <a:pt x="268148" y="81455"/>
                  </a:cubicBezTo>
                  <a:lnTo>
                    <a:pt x="271081" y="77382"/>
                  </a:lnTo>
                  <a:lnTo>
                    <a:pt x="274339" y="82432"/>
                  </a:lnTo>
                  <a:lnTo>
                    <a:pt x="270918" y="86831"/>
                  </a:lnTo>
                  <a:lnTo>
                    <a:pt x="270918" y="90578"/>
                  </a:lnTo>
                  <a:cubicBezTo>
                    <a:pt x="270918" y="90578"/>
                    <a:pt x="265053" y="90740"/>
                    <a:pt x="265053" y="90740"/>
                  </a:cubicBezTo>
                  <a:lnTo>
                    <a:pt x="260329" y="92532"/>
                  </a:lnTo>
                  <a:lnTo>
                    <a:pt x="255116" y="85853"/>
                  </a:lnTo>
                  <a:lnTo>
                    <a:pt x="255116" y="85853"/>
                  </a:lnTo>
                  <a:close/>
                  <a:moveTo>
                    <a:pt x="275805" y="57344"/>
                  </a:moveTo>
                  <a:lnTo>
                    <a:pt x="274502" y="53923"/>
                  </a:lnTo>
                  <a:lnTo>
                    <a:pt x="278900" y="52457"/>
                  </a:lnTo>
                  <a:lnTo>
                    <a:pt x="275805" y="57507"/>
                  </a:lnTo>
                  <a:lnTo>
                    <a:pt x="275805" y="57507"/>
                  </a:lnTo>
                  <a:close/>
                  <a:moveTo>
                    <a:pt x="266519" y="67281"/>
                  </a:moveTo>
                  <a:lnTo>
                    <a:pt x="266845" y="61417"/>
                  </a:lnTo>
                  <a:lnTo>
                    <a:pt x="273525" y="59625"/>
                  </a:lnTo>
                  <a:lnTo>
                    <a:pt x="273036" y="63046"/>
                  </a:lnTo>
                  <a:cubicBezTo>
                    <a:pt x="273036" y="63046"/>
                    <a:pt x="267008" y="67281"/>
                    <a:pt x="266519" y="67281"/>
                  </a:cubicBezTo>
                  <a:lnTo>
                    <a:pt x="266519" y="67281"/>
                  </a:lnTo>
                  <a:close/>
                  <a:moveTo>
                    <a:pt x="283625" y="76567"/>
                  </a:moveTo>
                  <a:lnTo>
                    <a:pt x="285091" y="69725"/>
                  </a:lnTo>
                  <a:lnTo>
                    <a:pt x="287371" y="74449"/>
                  </a:lnTo>
                  <a:lnTo>
                    <a:pt x="283625" y="76404"/>
                  </a:lnTo>
                  <a:lnTo>
                    <a:pt x="283625" y="76404"/>
                  </a:lnTo>
                  <a:close/>
                  <a:moveTo>
                    <a:pt x="281018" y="75101"/>
                  </a:moveTo>
                  <a:lnTo>
                    <a:pt x="279552" y="77382"/>
                  </a:lnTo>
                  <a:lnTo>
                    <a:pt x="276131" y="77382"/>
                  </a:lnTo>
                  <a:lnTo>
                    <a:pt x="269614" y="70703"/>
                  </a:lnTo>
                  <a:lnTo>
                    <a:pt x="277597" y="64023"/>
                  </a:lnTo>
                  <a:lnTo>
                    <a:pt x="279389" y="66956"/>
                  </a:lnTo>
                  <a:lnTo>
                    <a:pt x="283787" y="66141"/>
                  </a:lnTo>
                  <a:lnTo>
                    <a:pt x="284602" y="67607"/>
                  </a:lnTo>
                  <a:lnTo>
                    <a:pt x="280530" y="70540"/>
                  </a:lnTo>
                  <a:lnTo>
                    <a:pt x="281018" y="74938"/>
                  </a:lnTo>
                  <a:lnTo>
                    <a:pt x="281018" y="74938"/>
                  </a:lnTo>
                  <a:close/>
                  <a:moveTo>
                    <a:pt x="294540" y="63046"/>
                  </a:moveTo>
                  <a:lnTo>
                    <a:pt x="292259" y="64838"/>
                  </a:lnTo>
                  <a:lnTo>
                    <a:pt x="286557" y="62394"/>
                  </a:lnTo>
                  <a:lnTo>
                    <a:pt x="286232" y="57833"/>
                  </a:lnTo>
                  <a:lnTo>
                    <a:pt x="284439" y="51153"/>
                  </a:lnTo>
                  <a:lnTo>
                    <a:pt x="287371" y="49199"/>
                  </a:lnTo>
                  <a:lnTo>
                    <a:pt x="288512" y="56204"/>
                  </a:lnTo>
                  <a:lnTo>
                    <a:pt x="293236" y="59951"/>
                  </a:lnTo>
                  <a:lnTo>
                    <a:pt x="294703" y="63046"/>
                  </a:lnTo>
                  <a:lnTo>
                    <a:pt x="294703" y="63046"/>
                  </a:lnTo>
                  <a:close/>
                  <a:moveTo>
                    <a:pt x="308550" y="70703"/>
                  </a:moveTo>
                  <a:lnTo>
                    <a:pt x="305618" y="66467"/>
                  </a:lnTo>
                  <a:lnTo>
                    <a:pt x="301871" y="65001"/>
                  </a:lnTo>
                  <a:lnTo>
                    <a:pt x="301382" y="56529"/>
                  </a:lnTo>
                  <a:lnTo>
                    <a:pt x="304803" y="53271"/>
                  </a:lnTo>
                  <a:lnTo>
                    <a:pt x="310016" y="57181"/>
                  </a:lnTo>
                  <a:lnTo>
                    <a:pt x="307735" y="62231"/>
                  </a:lnTo>
                  <a:lnTo>
                    <a:pt x="310668" y="66141"/>
                  </a:lnTo>
                  <a:lnTo>
                    <a:pt x="308387" y="70540"/>
                  </a:lnTo>
                  <a:lnTo>
                    <a:pt x="308387" y="70540"/>
                  </a:lnTo>
                  <a:close/>
                  <a:moveTo>
                    <a:pt x="346996" y="51316"/>
                  </a:moveTo>
                  <a:lnTo>
                    <a:pt x="341946" y="49199"/>
                  </a:lnTo>
                  <a:lnTo>
                    <a:pt x="336407" y="46429"/>
                  </a:lnTo>
                  <a:lnTo>
                    <a:pt x="340154" y="43660"/>
                  </a:lnTo>
                  <a:lnTo>
                    <a:pt x="345530" y="43985"/>
                  </a:lnTo>
                  <a:lnTo>
                    <a:pt x="347974" y="46592"/>
                  </a:lnTo>
                  <a:lnTo>
                    <a:pt x="346996" y="51316"/>
                  </a:lnTo>
                  <a:lnTo>
                    <a:pt x="346996" y="51316"/>
                  </a:lnTo>
                  <a:close/>
                  <a:moveTo>
                    <a:pt x="353676" y="47081"/>
                  </a:moveTo>
                  <a:lnTo>
                    <a:pt x="347974" y="40076"/>
                  </a:lnTo>
                  <a:lnTo>
                    <a:pt x="357097" y="32093"/>
                  </a:lnTo>
                  <a:lnTo>
                    <a:pt x="358563" y="37795"/>
                  </a:lnTo>
                  <a:lnTo>
                    <a:pt x="354490" y="42682"/>
                  </a:lnTo>
                  <a:lnTo>
                    <a:pt x="353839" y="47081"/>
                  </a:lnTo>
                  <a:lnTo>
                    <a:pt x="353839" y="47081"/>
                  </a:lnTo>
                  <a:close/>
                  <a:moveTo>
                    <a:pt x="342598" y="37632"/>
                  </a:moveTo>
                  <a:lnTo>
                    <a:pt x="339177" y="38447"/>
                  </a:lnTo>
                  <a:lnTo>
                    <a:pt x="331194" y="36003"/>
                  </a:lnTo>
                  <a:lnTo>
                    <a:pt x="329239" y="30627"/>
                  </a:lnTo>
                  <a:lnTo>
                    <a:pt x="333801" y="31604"/>
                  </a:lnTo>
                  <a:lnTo>
                    <a:pt x="338200" y="28346"/>
                  </a:lnTo>
                  <a:lnTo>
                    <a:pt x="341132" y="31767"/>
                  </a:lnTo>
                  <a:lnTo>
                    <a:pt x="343738" y="26717"/>
                  </a:lnTo>
                  <a:lnTo>
                    <a:pt x="346996" y="28509"/>
                  </a:lnTo>
                  <a:lnTo>
                    <a:pt x="355142" y="21015"/>
                  </a:lnTo>
                  <a:lnTo>
                    <a:pt x="356119" y="24273"/>
                  </a:lnTo>
                  <a:lnTo>
                    <a:pt x="342761" y="37632"/>
                  </a:lnTo>
                  <a:lnTo>
                    <a:pt x="342761" y="37632"/>
                  </a:lnTo>
                  <a:close/>
                  <a:moveTo>
                    <a:pt x="358563" y="27043"/>
                  </a:moveTo>
                  <a:cubicBezTo>
                    <a:pt x="358563" y="27043"/>
                    <a:pt x="365568" y="24436"/>
                    <a:pt x="365568" y="24436"/>
                  </a:cubicBezTo>
                  <a:lnTo>
                    <a:pt x="371433" y="28835"/>
                  </a:lnTo>
                  <a:lnTo>
                    <a:pt x="369641" y="33233"/>
                  </a:lnTo>
                  <a:lnTo>
                    <a:pt x="362799" y="35840"/>
                  </a:lnTo>
                  <a:lnTo>
                    <a:pt x="362473" y="30953"/>
                  </a:lnTo>
                  <a:lnTo>
                    <a:pt x="358563" y="27043"/>
                  </a:lnTo>
                  <a:lnTo>
                    <a:pt x="358563" y="27043"/>
                  </a:lnTo>
                  <a:close/>
                  <a:moveTo>
                    <a:pt x="372248" y="14825"/>
                  </a:moveTo>
                  <a:lnTo>
                    <a:pt x="370781" y="17268"/>
                  </a:lnTo>
                  <a:lnTo>
                    <a:pt x="368500" y="18083"/>
                  </a:lnTo>
                  <a:lnTo>
                    <a:pt x="365242" y="13033"/>
                  </a:lnTo>
                  <a:lnTo>
                    <a:pt x="369641" y="11892"/>
                  </a:lnTo>
                  <a:lnTo>
                    <a:pt x="372084" y="14825"/>
                  </a:lnTo>
                  <a:lnTo>
                    <a:pt x="372084" y="14825"/>
                  </a:lnTo>
                  <a:close/>
                  <a:moveTo>
                    <a:pt x="383325" y="6842"/>
                  </a:moveTo>
                  <a:lnTo>
                    <a:pt x="379904" y="6842"/>
                  </a:lnTo>
                  <a:cubicBezTo>
                    <a:pt x="379904" y="6842"/>
                    <a:pt x="381696" y="3258"/>
                    <a:pt x="381696" y="3258"/>
                  </a:cubicBezTo>
                  <a:lnTo>
                    <a:pt x="385280" y="3258"/>
                  </a:lnTo>
                  <a:cubicBezTo>
                    <a:pt x="385280" y="3258"/>
                    <a:pt x="383488" y="6842"/>
                    <a:pt x="383488" y="6842"/>
                  </a:cubicBezTo>
                  <a:lnTo>
                    <a:pt x="383488" y="6842"/>
                  </a:lnTo>
                  <a:close/>
                  <a:moveTo>
                    <a:pt x="390330" y="9449"/>
                  </a:moveTo>
                  <a:lnTo>
                    <a:pt x="390656" y="7005"/>
                  </a:lnTo>
                  <a:lnTo>
                    <a:pt x="392937" y="4887"/>
                  </a:lnTo>
                  <a:lnTo>
                    <a:pt x="396032" y="6353"/>
                  </a:lnTo>
                  <a:lnTo>
                    <a:pt x="398476" y="4073"/>
                  </a:lnTo>
                  <a:lnTo>
                    <a:pt x="398964" y="0"/>
                  </a:lnTo>
                  <a:lnTo>
                    <a:pt x="401897" y="2444"/>
                  </a:lnTo>
                  <a:lnTo>
                    <a:pt x="405969" y="3421"/>
                  </a:lnTo>
                  <a:lnTo>
                    <a:pt x="402548" y="7657"/>
                  </a:lnTo>
                  <a:lnTo>
                    <a:pt x="408739" y="7657"/>
                  </a:lnTo>
                  <a:cubicBezTo>
                    <a:pt x="408739" y="7657"/>
                    <a:pt x="406458" y="13521"/>
                    <a:pt x="406458" y="13521"/>
                  </a:cubicBezTo>
                  <a:lnTo>
                    <a:pt x="401245" y="14662"/>
                  </a:lnTo>
                  <a:lnTo>
                    <a:pt x="395869" y="10426"/>
                  </a:lnTo>
                  <a:lnTo>
                    <a:pt x="390167" y="9449"/>
                  </a:lnTo>
                  <a:close/>
                </a:path>
              </a:pathLst>
            </a:custGeom>
            <a:solidFill>
              <a:schemeClr val="tx1"/>
            </a:solidFill>
            <a:ln w="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2" name="Forma livre: Forma 151">
              <a:extLst>
                <a:ext uri="{FF2B5EF4-FFF2-40B4-BE49-F238E27FC236}">
                  <a16:creationId xmlns:a16="http://schemas.microsoft.com/office/drawing/2014/main" id="{4C286DB3-E26D-A44A-5FD6-CC6B19346B55}"/>
                </a:ext>
              </a:extLst>
            </p:cNvPr>
            <p:cNvSpPr/>
            <p:nvPr/>
          </p:nvSpPr>
          <p:spPr>
            <a:xfrm>
              <a:off x="6230649" y="2717302"/>
              <a:ext cx="263973" cy="597981"/>
            </a:xfrm>
            <a:custGeom>
              <a:avLst/>
              <a:gdLst>
                <a:gd name="connsiteX0" fmla="*/ 4887 w 255441"/>
                <a:gd name="connsiteY0" fmla="*/ 441810 h 578653"/>
                <a:gd name="connsiteX1" fmla="*/ 7982 w 255441"/>
                <a:gd name="connsiteY1" fmla="*/ 443927 h 578653"/>
                <a:gd name="connsiteX2" fmla="*/ 10915 w 255441"/>
                <a:gd name="connsiteY2" fmla="*/ 449141 h 578653"/>
                <a:gd name="connsiteX3" fmla="*/ 13684 w 255441"/>
                <a:gd name="connsiteY3" fmla="*/ 443927 h 578653"/>
                <a:gd name="connsiteX4" fmla="*/ 12544 w 255441"/>
                <a:gd name="connsiteY4" fmla="*/ 428125 h 578653"/>
                <a:gd name="connsiteX5" fmla="*/ 8634 w 255441"/>
                <a:gd name="connsiteY5" fmla="*/ 421283 h 578653"/>
                <a:gd name="connsiteX6" fmla="*/ 10589 w 255441"/>
                <a:gd name="connsiteY6" fmla="*/ 416884 h 578653"/>
                <a:gd name="connsiteX7" fmla="*/ 14010 w 255441"/>
                <a:gd name="connsiteY7" fmla="*/ 415093 h 578653"/>
                <a:gd name="connsiteX8" fmla="*/ 11403 w 255441"/>
                <a:gd name="connsiteY8" fmla="*/ 409879 h 578653"/>
                <a:gd name="connsiteX9" fmla="*/ 13033 w 255441"/>
                <a:gd name="connsiteY9" fmla="*/ 406947 h 578653"/>
                <a:gd name="connsiteX10" fmla="*/ 21015 w 255441"/>
                <a:gd name="connsiteY10" fmla="*/ 406133 h 578653"/>
                <a:gd name="connsiteX11" fmla="*/ 23296 w 255441"/>
                <a:gd name="connsiteY11" fmla="*/ 402223 h 578653"/>
                <a:gd name="connsiteX12" fmla="*/ 22970 w 255441"/>
                <a:gd name="connsiteY12" fmla="*/ 396847 h 578653"/>
                <a:gd name="connsiteX13" fmla="*/ 26717 w 255441"/>
                <a:gd name="connsiteY13" fmla="*/ 388864 h 578653"/>
                <a:gd name="connsiteX14" fmla="*/ 22970 w 255441"/>
                <a:gd name="connsiteY14" fmla="*/ 383651 h 578653"/>
                <a:gd name="connsiteX15" fmla="*/ 21178 w 255441"/>
                <a:gd name="connsiteY15" fmla="*/ 372084 h 578653"/>
                <a:gd name="connsiteX16" fmla="*/ 16454 w 255441"/>
                <a:gd name="connsiteY16" fmla="*/ 362636 h 578653"/>
                <a:gd name="connsiteX17" fmla="*/ 16780 w 255441"/>
                <a:gd name="connsiteY17" fmla="*/ 358400 h 578653"/>
                <a:gd name="connsiteX18" fmla="*/ 28346 w 255441"/>
                <a:gd name="connsiteY18" fmla="*/ 354490 h 578653"/>
                <a:gd name="connsiteX19" fmla="*/ 28346 w 255441"/>
                <a:gd name="connsiteY19" fmla="*/ 346182 h 578653"/>
                <a:gd name="connsiteX20" fmla="*/ 30953 w 255441"/>
                <a:gd name="connsiteY20" fmla="*/ 340480 h 578653"/>
                <a:gd name="connsiteX21" fmla="*/ 22155 w 255441"/>
                <a:gd name="connsiteY21" fmla="*/ 330706 h 578653"/>
                <a:gd name="connsiteX22" fmla="*/ 14825 w 255441"/>
                <a:gd name="connsiteY22" fmla="*/ 326959 h 578653"/>
                <a:gd name="connsiteX23" fmla="*/ 14499 w 255441"/>
                <a:gd name="connsiteY23" fmla="*/ 317347 h 578653"/>
                <a:gd name="connsiteX24" fmla="*/ 16128 w 255441"/>
                <a:gd name="connsiteY24" fmla="*/ 307898 h 578653"/>
                <a:gd name="connsiteX25" fmla="*/ 14825 w 255441"/>
                <a:gd name="connsiteY25" fmla="*/ 297635 h 578653"/>
                <a:gd name="connsiteX26" fmla="*/ 12055 w 255441"/>
                <a:gd name="connsiteY26" fmla="*/ 290630 h 578653"/>
                <a:gd name="connsiteX27" fmla="*/ 14336 w 255441"/>
                <a:gd name="connsiteY27" fmla="*/ 282647 h 578653"/>
                <a:gd name="connsiteX28" fmla="*/ 12870 w 255441"/>
                <a:gd name="connsiteY28" fmla="*/ 269126 h 578653"/>
                <a:gd name="connsiteX29" fmla="*/ 10426 w 255441"/>
                <a:gd name="connsiteY29" fmla="*/ 256093 h 578653"/>
                <a:gd name="connsiteX30" fmla="*/ 12218 w 255441"/>
                <a:gd name="connsiteY30" fmla="*/ 244689 h 578653"/>
                <a:gd name="connsiteX31" fmla="*/ 17920 w 255441"/>
                <a:gd name="connsiteY31" fmla="*/ 234589 h 578653"/>
                <a:gd name="connsiteX32" fmla="*/ 23459 w 255441"/>
                <a:gd name="connsiteY32" fmla="*/ 231331 h 578653"/>
                <a:gd name="connsiteX33" fmla="*/ 30301 w 255441"/>
                <a:gd name="connsiteY33" fmla="*/ 232797 h 578653"/>
                <a:gd name="connsiteX34" fmla="*/ 38935 w 255441"/>
                <a:gd name="connsiteY34" fmla="*/ 233286 h 578653"/>
                <a:gd name="connsiteX35" fmla="*/ 43334 w 255441"/>
                <a:gd name="connsiteY35" fmla="*/ 227258 h 578653"/>
                <a:gd name="connsiteX36" fmla="*/ 42519 w 255441"/>
                <a:gd name="connsiteY36" fmla="*/ 217647 h 578653"/>
                <a:gd name="connsiteX37" fmla="*/ 40076 w 255441"/>
                <a:gd name="connsiteY37" fmla="*/ 213737 h 578653"/>
                <a:gd name="connsiteX38" fmla="*/ 40402 w 255441"/>
                <a:gd name="connsiteY38" fmla="*/ 207546 h 578653"/>
                <a:gd name="connsiteX39" fmla="*/ 49036 w 255441"/>
                <a:gd name="connsiteY39" fmla="*/ 186368 h 578653"/>
                <a:gd name="connsiteX40" fmla="*/ 49361 w 255441"/>
                <a:gd name="connsiteY40" fmla="*/ 174150 h 578653"/>
                <a:gd name="connsiteX41" fmla="*/ 51968 w 255441"/>
                <a:gd name="connsiteY41" fmla="*/ 162583 h 578653"/>
                <a:gd name="connsiteX42" fmla="*/ 54575 w 255441"/>
                <a:gd name="connsiteY42" fmla="*/ 156067 h 578653"/>
                <a:gd name="connsiteX43" fmla="*/ 54575 w 255441"/>
                <a:gd name="connsiteY43" fmla="*/ 148736 h 578653"/>
                <a:gd name="connsiteX44" fmla="*/ 50665 w 255441"/>
                <a:gd name="connsiteY44" fmla="*/ 144989 h 578653"/>
                <a:gd name="connsiteX45" fmla="*/ 50665 w 255441"/>
                <a:gd name="connsiteY45" fmla="*/ 139776 h 578653"/>
                <a:gd name="connsiteX46" fmla="*/ 58973 w 255441"/>
                <a:gd name="connsiteY46" fmla="*/ 135052 h 578653"/>
                <a:gd name="connsiteX47" fmla="*/ 67607 w 255441"/>
                <a:gd name="connsiteY47" fmla="*/ 133260 h 578653"/>
                <a:gd name="connsiteX48" fmla="*/ 71680 w 255441"/>
                <a:gd name="connsiteY48" fmla="*/ 129676 h 578653"/>
                <a:gd name="connsiteX49" fmla="*/ 72006 w 255441"/>
                <a:gd name="connsiteY49" fmla="*/ 124463 h 578653"/>
                <a:gd name="connsiteX50" fmla="*/ 79011 w 255441"/>
                <a:gd name="connsiteY50" fmla="*/ 112081 h 578653"/>
                <a:gd name="connsiteX51" fmla="*/ 86179 w 255441"/>
                <a:gd name="connsiteY51" fmla="*/ 102144 h 578653"/>
                <a:gd name="connsiteX52" fmla="*/ 88623 w 255441"/>
                <a:gd name="connsiteY52" fmla="*/ 96279 h 578653"/>
                <a:gd name="connsiteX53" fmla="*/ 85853 w 255441"/>
                <a:gd name="connsiteY53" fmla="*/ 88785 h 578653"/>
                <a:gd name="connsiteX54" fmla="*/ 82921 w 255441"/>
                <a:gd name="connsiteY54" fmla="*/ 85527 h 578653"/>
                <a:gd name="connsiteX55" fmla="*/ 82921 w 255441"/>
                <a:gd name="connsiteY55" fmla="*/ 73798 h 578653"/>
                <a:gd name="connsiteX56" fmla="*/ 86016 w 255441"/>
                <a:gd name="connsiteY56" fmla="*/ 72169 h 578653"/>
                <a:gd name="connsiteX57" fmla="*/ 89111 w 255441"/>
                <a:gd name="connsiteY57" fmla="*/ 67933 h 578653"/>
                <a:gd name="connsiteX58" fmla="*/ 90577 w 255441"/>
                <a:gd name="connsiteY58" fmla="*/ 61743 h 578653"/>
                <a:gd name="connsiteX59" fmla="*/ 93998 w 255441"/>
                <a:gd name="connsiteY59" fmla="*/ 59951 h 578653"/>
                <a:gd name="connsiteX60" fmla="*/ 97909 w 255441"/>
                <a:gd name="connsiteY60" fmla="*/ 51479 h 578653"/>
                <a:gd name="connsiteX61" fmla="*/ 103284 w 255441"/>
                <a:gd name="connsiteY61" fmla="*/ 47406 h 578653"/>
                <a:gd name="connsiteX62" fmla="*/ 108986 w 255441"/>
                <a:gd name="connsiteY62" fmla="*/ 50013 h 578653"/>
                <a:gd name="connsiteX63" fmla="*/ 111430 w 255441"/>
                <a:gd name="connsiteY63" fmla="*/ 52783 h 578653"/>
                <a:gd name="connsiteX64" fmla="*/ 114688 w 255441"/>
                <a:gd name="connsiteY64" fmla="*/ 52294 h 578653"/>
                <a:gd name="connsiteX65" fmla="*/ 118598 w 255441"/>
                <a:gd name="connsiteY65" fmla="*/ 48873 h 578653"/>
                <a:gd name="connsiteX66" fmla="*/ 115503 w 255441"/>
                <a:gd name="connsiteY66" fmla="*/ 43497 h 578653"/>
                <a:gd name="connsiteX67" fmla="*/ 118435 w 255441"/>
                <a:gd name="connsiteY67" fmla="*/ 40727 h 578653"/>
                <a:gd name="connsiteX68" fmla="*/ 118435 w 255441"/>
                <a:gd name="connsiteY68" fmla="*/ 37958 h 578653"/>
                <a:gd name="connsiteX69" fmla="*/ 119738 w 255441"/>
                <a:gd name="connsiteY69" fmla="*/ 35188 h 578653"/>
                <a:gd name="connsiteX70" fmla="*/ 115666 w 255441"/>
                <a:gd name="connsiteY70" fmla="*/ 28672 h 578653"/>
                <a:gd name="connsiteX71" fmla="*/ 118272 w 255441"/>
                <a:gd name="connsiteY71" fmla="*/ 27043 h 578653"/>
                <a:gd name="connsiteX72" fmla="*/ 125603 w 255441"/>
                <a:gd name="connsiteY72" fmla="*/ 27043 h 578653"/>
                <a:gd name="connsiteX73" fmla="*/ 131142 w 255441"/>
                <a:gd name="connsiteY73" fmla="*/ 24273 h 578653"/>
                <a:gd name="connsiteX74" fmla="*/ 139613 w 255441"/>
                <a:gd name="connsiteY74" fmla="*/ 26554 h 578653"/>
                <a:gd name="connsiteX75" fmla="*/ 144826 w 255441"/>
                <a:gd name="connsiteY75" fmla="*/ 29975 h 578653"/>
                <a:gd name="connsiteX76" fmla="*/ 150691 w 255441"/>
                <a:gd name="connsiteY76" fmla="*/ 30464 h 578653"/>
                <a:gd name="connsiteX77" fmla="*/ 153949 w 255441"/>
                <a:gd name="connsiteY77" fmla="*/ 33233 h 578653"/>
                <a:gd name="connsiteX78" fmla="*/ 156555 w 255441"/>
                <a:gd name="connsiteY78" fmla="*/ 32256 h 578653"/>
                <a:gd name="connsiteX79" fmla="*/ 158999 w 255441"/>
                <a:gd name="connsiteY79" fmla="*/ 33722 h 578653"/>
                <a:gd name="connsiteX80" fmla="*/ 158999 w 255441"/>
                <a:gd name="connsiteY80" fmla="*/ 27532 h 578653"/>
                <a:gd name="connsiteX81" fmla="*/ 156230 w 255441"/>
                <a:gd name="connsiteY81" fmla="*/ 23459 h 578653"/>
                <a:gd name="connsiteX82" fmla="*/ 156882 w 255441"/>
                <a:gd name="connsiteY82" fmla="*/ 15476 h 578653"/>
                <a:gd name="connsiteX83" fmla="*/ 160954 w 255441"/>
                <a:gd name="connsiteY83" fmla="*/ 13196 h 578653"/>
                <a:gd name="connsiteX84" fmla="*/ 159651 w 255441"/>
                <a:gd name="connsiteY84" fmla="*/ 7820 h 578653"/>
                <a:gd name="connsiteX85" fmla="*/ 155578 w 255441"/>
                <a:gd name="connsiteY85" fmla="*/ 5539 h 578653"/>
                <a:gd name="connsiteX86" fmla="*/ 155252 w 255441"/>
                <a:gd name="connsiteY86" fmla="*/ 326 h 578653"/>
                <a:gd name="connsiteX87" fmla="*/ 161117 w 255441"/>
                <a:gd name="connsiteY87" fmla="*/ 2118 h 578653"/>
                <a:gd name="connsiteX88" fmla="*/ 166819 w 255441"/>
                <a:gd name="connsiteY88" fmla="*/ 977 h 578653"/>
                <a:gd name="connsiteX89" fmla="*/ 168774 w 255441"/>
                <a:gd name="connsiteY89" fmla="*/ 0 h 578653"/>
                <a:gd name="connsiteX90" fmla="*/ 173009 w 255441"/>
                <a:gd name="connsiteY90" fmla="*/ 5050 h 578653"/>
                <a:gd name="connsiteX91" fmla="*/ 179689 w 255441"/>
                <a:gd name="connsiteY91" fmla="*/ 8308 h 578653"/>
                <a:gd name="connsiteX92" fmla="*/ 188649 w 255441"/>
                <a:gd name="connsiteY92" fmla="*/ 18897 h 578653"/>
                <a:gd name="connsiteX93" fmla="*/ 195328 w 255441"/>
                <a:gd name="connsiteY93" fmla="*/ 23948 h 578653"/>
                <a:gd name="connsiteX94" fmla="*/ 205266 w 255441"/>
                <a:gd name="connsiteY94" fmla="*/ 24762 h 578653"/>
                <a:gd name="connsiteX95" fmla="*/ 209175 w 255441"/>
                <a:gd name="connsiteY95" fmla="*/ 27206 h 578653"/>
                <a:gd name="connsiteX96" fmla="*/ 212596 w 255441"/>
                <a:gd name="connsiteY96" fmla="*/ 28183 h 578653"/>
                <a:gd name="connsiteX97" fmla="*/ 217646 w 255441"/>
                <a:gd name="connsiteY97" fmla="*/ 33885 h 578653"/>
                <a:gd name="connsiteX98" fmla="*/ 219439 w 255441"/>
                <a:gd name="connsiteY98" fmla="*/ 38610 h 578653"/>
                <a:gd name="connsiteX99" fmla="*/ 221719 w 255441"/>
                <a:gd name="connsiteY99" fmla="*/ 38935 h 578653"/>
                <a:gd name="connsiteX100" fmla="*/ 223511 w 255441"/>
                <a:gd name="connsiteY100" fmla="*/ 38447 h 578653"/>
                <a:gd name="connsiteX101" fmla="*/ 227910 w 255441"/>
                <a:gd name="connsiteY101" fmla="*/ 44474 h 578653"/>
                <a:gd name="connsiteX102" fmla="*/ 231331 w 255441"/>
                <a:gd name="connsiteY102" fmla="*/ 44800 h 578653"/>
                <a:gd name="connsiteX103" fmla="*/ 233775 w 255441"/>
                <a:gd name="connsiteY103" fmla="*/ 48547 h 578653"/>
                <a:gd name="connsiteX104" fmla="*/ 231820 w 255441"/>
                <a:gd name="connsiteY104" fmla="*/ 53108 h 578653"/>
                <a:gd name="connsiteX105" fmla="*/ 233123 w 255441"/>
                <a:gd name="connsiteY105" fmla="*/ 60439 h 578653"/>
                <a:gd name="connsiteX106" fmla="*/ 230842 w 255441"/>
                <a:gd name="connsiteY106" fmla="*/ 66304 h 578653"/>
                <a:gd name="connsiteX107" fmla="*/ 231331 w 255441"/>
                <a:gd name="connsiteY107" fmla="*/ 71354 h 578653"/>
                <a:gd name="connsiteX108" fmla="*/ 238010 w 255441"/>
                <a:gd name="connsiteY108" fmla="*/ 71843 h 578653"/>
                <a:gd name="connsiteX109" fmla="*/ 239639 w 255441"/>
                <a:gd name="connsiteY109" fmla="*/ 77708 h 578653"/>
                <a:gd name="connsiteX110" fmla="*/ 237196 w 255441"/>
                <a:gd name="connsiteY110" fmla="*/ 81455 h 578653"/>
                <a:gd name="connsiteX111" fmla="*/ 238010 w 255441"/>
                <a:gd name="connsiteY111" fmla="*/ 88460 h 578653"/>
                <a:gd name="connsiteX112" fmla="*/ 240943 w 255441"/>
                <a:gd name="connsiteY112" fmla="*/ 92695 h 578653"/>
                <a:gd name="connsiteX113" fmla="*/ 242571 w 255441"/>
                <a:gd name="connsiteY113" fmla="*/ 101818 h 578653"/>
                <a:gd name="connsiteX114" fmla="*/ 241268 w 255441"/>
                <a:gd name="connsiteY114" fmla="*/ 106054 h 578653"/>
                <a:gd name="connsiteX115" fmla="*/ 242409 w 255441"/>
                <a:gd name="connsiteY115" fmla="*/ 109964 h 578653"/>
                <a:gd name="connsiteX116" fmla="*/ 242409 w 255441"/>
                <a:gd name="connsiteY116" fmla="*/ 119901 h 578653"/>
                <a:gd name="connsiteX117" fmla="*/ 240780 w 255441"/>
                <a:gd name="connsiteY117" fmla="*/ 123648 h 578653"/>
                <a:gd name="connsiteX118" fmla="*/ 243386 w 255441"/>
                <a:gd name="connsiteY118" fmla="*/ 130979 h 578653"/>
                <a:gd name="connsiteX119" fmla="*/ 248111 w 255441"/>
                <a:gd name="connsiteY119" fmla="*/ 132608 h 578653"/>
                <a:gd name="connsiteX120" fmla="*/ 252509 w 255441"/>
                <a:gd name="connsiteY120" fmla="*/ 142057 h 578653"/>
                <a:gd name="connsiteX121" fmla="*/ 255441 w 255441"/>
                <a:gd name="connsiteY121" fmla="*/ 145152 h 578653"/>
                <a:gd name="connsiteX122" fmla="*/ 255116 w 255441"/>
                <a:gd name="connsiteY122" fmla="*/ 150691 h 578653"/>
                <a:gd name="connsiteX123" fmla="*/ 254953 w 255441"/>
                <a:gd name="connsiteY123" fmla="*/ 150691 h 578653"/>
                <a:gd name="connsiteX124" fmla="*/ 251694 w 255441"/>
                <a:gd name="connsiteY124" fmla="*/ 152809 h 578653"/>
                <a:gd name="connsiteX125" fmla="*/ 246807 w 255441"/>
                <a:gd name="connsiteY125" fmla="*/ 152483 h 578653"/>
                <a:gd name="connsiteX126" fmla="*/ 243875 w 255441"/>
                <a:gd name="connsiteY126" fmla="*/ 149062 h 578653"/>
                <a:gd name="connsiteX127" fmla="*/ 237847 w 255441"/>
                <a:gd name="connsiteY127" fmla="*/ 152972 h 578653"/>
                <a:gd name="connsiteX128" fmla="*/ 233775 w 255441"/>
                <a:gd name="connsiteY128" fmla="*/ 150691 h 578653"/>
                <a:gd name="connsiteX129" fmla="*/ 231657 w 255441"/>
                <a:gd name="connsiteY129" fmla="*/ 154927 h 578653"/>
                <a:gd name="connsiteX130" fmla="*/ 227421 w 255441"/>
                <a:gd name="connsiteY130" fmla="*/ 153135 h 578653"/>
                <a:gd name="connsiteX131" fmla="*/ 225466 w 255441"/>
                <a:gd name="connsiteY131" fmla="*/ 148899 h 578653"/>
                <a:gd name="connsiteX132" fmla="*/ 221393 w 255441"/>
                <a:gd name="connsiteY132" fmla="*/ 153949 h 578653"/>
                <a:gd name="connsiteX133" fmla="*/ 218298 w 255441"/>
                <a:gd name="connsiteY133" fmla="*/ 148410 h 578653"/>
                <a:gd name="connsiteX134" fmla="*/ 215529 w 255441"/>
                <a:gd name="connsiteY134" fmla="*/ 150528 h 578653"/>
                <a:gd name="connsiteX135" fmla="*/ 214877 w 255441"/>
                <a:gd name="connsiteY135" fmla="*/ 155415 h 578653"/>
                <a:gd name="connsiteX136" fmla="*/ 213085 w 255441"/>
                <a:gd name="connsiteY136" fmla="*/ 159488 h 578653"/>
                <a:gd name="connsiteX137" fmla="*/ 209338 w 255441"/>
                <a:gd name="connsiteY137" fmla="*/ 160303 h 578653"/>
                <a:gd name="connsiteX138" fmla="*/ 207057 w 255441"/>
                <a:gd name="connsiteY138" fmla="*/ 157533 h 578653"/>
                <a:gd name="connsiteX139" fmla="*/ 203636 w 255441"/>
                <a:gd name="connsiteY139" fmla="*/ 156393 h 578653"/>
                <a:gd name="connsiteX140" fmla="*/ 206894 w 255441"/>
                <a:gd name="connsiteY140" fmla="*/ 162583 h 578653"/>
                <a:gd name="connsiteX141" fmla="*/ 210316 w 255441"/>
                <a:gd name="connsiteY141" fmla="*/ 164864 h 578653"/>
                <a:gd name="connsiteX142" fmla="*/ 206080 w 255441"/>
                <a:gd name="connsiteY142" fmla="*/ 168774 h 578653"/>
                <a:gd name="connsiteX143" fmla="*/ 201682 w 255441"/>
                <a:gd name="connsiteY143" fmla="*/ 168448 h 578653"/>
                <a:gd name="connsiteX144" fmla="*/ 197771 w 255441"/>
                <a:gd name="connsiteY144" fmla="*/ 170566 h 578653"/>
                <a:gd name="connsiteX145" fmla="*/ 202496 w 255441"/>
                <a:gd name="connsiteY145" fmla="*/ 172684 h 578653"/>
                <a:gd name="connsiteX146" fmla="*/ 202170 w 255441"/>
                <a:gd name="connsiteY146" fmla="*/ 175616 h 578653"/>
                <a:gd name="connsiteX147" fmla="*/ 200215 w 255441"/>
                <a:gd name="connsiteY147" fmla="*/ 176268 h 578653"/>
                <a:gd name="connsiteX148" fmla="*/ 199075 w 255441"/>
                <a:gd name="connsiteY148" fmla="*/ 174476 h 578653"/>
                <a:gd name="connsiteX149" fmla="*/ 195980 w 255441"/>
                <a:gd name="connsiteY149" fmla="*/ 173010 h 578653"/>
                <a:gd name="connsiteX150" fmla="*/ 194351 w 255441"/>
                <a:gd name="connsiteY150" fmla="*/ 174802 h 578653"/>
                <a:gd name="connsiteX151" fmla="*/ 196631 w 255441"/>
                <a:gd name="connsiteY151" fmla="*/ 178548 h 578653"/>
                <a:gd name="connsiteX152" fmla="*/ 199727 w 255441"/>
                <a:gd name="connsiteY152" fmla="*/ 178548 h 578653"/>
                <a:gd name="connsiteX153" fmla="*/ 202170 w 255441"/>
                <a:gd name="connsiteY153" fmla="*/ 181807 h 578653"/>
                <a:gd name="connsiteX154" fmla="*/ 200704 w 255441"/>
                <a:gd name="connsiteY154" fmla="*/ 184739 h 578653"/>
                <a:gd name="connsiteX155" fmla="*/ 197609 w 255441"/>
                <a:gd name="connsiteY155" fmla="*/ 193699 h 578653"/>
                <a:gd name="connsiteX156" fmla="*/ 198749 w 255441"/>
                <a:gd name="connsiteY156" fmla="*/ 197446 h 578653"/>
                <a:gd name="connsiteX157" fmla="*/ 192559 w 255441"/>
                <a:gd name="connsiteY157" fmla="*/ 198586 h 578653"/>
                <a:gd name="connsiteX158" fmla="*/ 197609 w 255441"/>
                <a:gd name="connsiteY158" fmla="*/ 202496 h 578653"/>
                <a:gd name="connsiteX159" fmla="*/ 201682 w 255441"/>
                <a:gd name="connsiteY159" fmla="*/ 203311 h 578653"/>
                <a:gd name="connsiteX160" fmla="*/ 203148 w 255441"/>
                <a:gd name="connsiteY160" fmla="*/ 206569 h 578653"/>
                <a:gd name="connsiteX161" fmla="*/ 200052 w 255441"/>
                <a:gd name="connsiteY161" fmla="*/ 207709 h 578653"/>
                <a:gd name="connsiteX162" fmla="*/ 202985 w 255441"/>
                <a:gd name="connsiteY162" fmla="*/ 211782 h 578653"/>
                <a:gd name="connsiteX163" fmla="*/ 206732 w 255441"/>
                <a:gd name="connsiteY163" fmla="*/ 211782 h 578653"/>
                <a:gd name="connsiteX164" fmla="*/ 201682 w 255441"/>
                <a:gd name="connsiteY164" fmla="*/ 218135 h 578653"/>
                <a:gd name="connsiteX165" fmla="*/ 198423 w 255441"/>
                <a:gd name="connsiteY165" fmla="*/ 218135 h 578653"/>
                <a:gd name="connsiteX166" fmla="*/ 194676 w 255441"/>
                <a:gd name="connsiteY166" fmla="*/ 222860 h 578653"/>
                <a:gd name="connsiteX167" fmla="*/ 195491 w 255441"/>
                <a:gd name="connsiteY167" fmla="*/ 231168 h 578653"/>
                <a:gd name="connsiteX168" fmla="*/ 190441 w 255441"/>
                <a:gd name="connsiteY168" fmla="*/ 239639 h 578653"/>
                <a:gd name="connsiteX169" fmla="*/ 187182 w 255441"/>
                <a:gd name="connsiteY169" fmla="*/ 239639 h 578653"/>
                <a:gd name="connsiteX170" fmla="*/ 181969 w 255441"/>
                <a:gd name="connsiteY170" fmla="*/ 244527 h 578653"/>
                <a:gd name="connsiteX171" fmla="*/ 179200 w 255441"/>
                <a:gd name="connsiteY171" fmla="*/ 241106 h 578653"/>
                <a:gd name="connsiteX172" fmla="*/ 178385 w 255441"/>
                <a:gd name="connsiteY172" fmla="*/ 245504 h 578653"/>
                <a:gd name="connsiteX173" fmla="*/ 180341 w 255441"/>
                <a:gd name="connsiteY173" fmla="*/ 250228 h 578653"/>
                <a:gd name="connsiteX174" fmla="*/ 174150 w 255441"/>
                <a:gd name="connsiteY174" fmla="*/ 253650 h 578653"/>
                <a:gd name="connsiteX175" fmla="*/ 171543 w 255441"/>
                <a:gd name="connsiteY175" fmla="*/ 258863 h 578653"/>
                <a:gd name="connsiteX176" fmla="*/ 168448 w 255441"/>
                <a:gd name="connsiteY176" fmla="*/ 258863 h 578653"/>
                <a:gd name="connsiteX177" fmla="*/ 167796 w 255441"/>
                <a:gd name="connsiteY177" fmla="*/ 254953 h 578653"/>
                <a:gd name="connsiteX178" fmla="*/ 163887 w 255441"/>
                <a:gd name="connsiteY178" fmla="*/ 254953 h 578653"/>
                <a:gd name="connsiteX179" fmla="*/ 161606 w 255441"/>
                <a:gd name="connsiteY179" fmla="*/ 260166 h 578653"/>
                <a:gd name="connsiteX180" fmla="*/ 161606 w 255441"/>
                <a:gd name="connsiteY180" fmla="*/ 266031 h 578653"/>
                <a:gd name="connsiteX181" fmla="*/ 158185 w 255441"/>
                <a:gd name="connsiteY181" fmla="*/ 269126 h 578653"/>
                <a:gd name="connsiteX182" fmla="*/ 156067 w 255441"/>
                <a:gd name="connsiteY182" fmla="*/ 265868 h 578653"/>
                <a:gd name="connsiteX183" fmla="*/ 153949 w 255441"/>
                <a:gd name="connsiteY183" fmla="*/ 265868 h 578653"/>
                <a:gd name="connsiteX184" fmla="*/ 152646 w 255441"/>
                <a:gd name="connsiteY184" fmla="*/ 271244 h 578653"/>
                <a:gd name="connsiteX185" fmla="*/ 150365 w 255441"/>
                <a:gd name="connsiteY185" fmla="*/ 271895 h 578653"/>
                <a:gd name="connsiteX186" fmla="*/ 148247 w 255441"/>
                <a:gd name="connsiteY186" fmla="*/ 269126 h 578653"/>
                <a:gd name="connsiteX187" fmla="*/ 144826 w 255441"/>
                <a:gd name="connsiteY187" fmla="*/ 272547 h 578653"/>
                <a:gd name="connsiteX188" fmla="*/ 143360 w 255441"/>
                <a:gd name="connsiteY188" fmla="*/ 276783 h 578653"/>
                <a:gd name="connsiteX189" fmla="*/ 146781 w 255441"/>
                <a:gd name="connsiteY189" fmla="*/ 277597 h 578653"/>
                <a:gd name="connsiteX190" fmla="*/ 146455 w 255441"/>
                <a:gd name="connsiteY190" fmla="*/ 280530 h 578653"/>
                <a:gd name="connsiteX191" fmla="*/ 139450 w 255441"/>
                <a:gd name="connsiteY191" fmla="*/ 286557 h 578653"/>
                <a:gd name="connsiteX192" fmla="*/ 135052 w 255441"/>
                <a:gd name="connsiteY192" fmla="*/ 285417 h 578653"/>
                <a:gd name="connsiteX193" fmla="*/ 133748 w 255441"/>
                <a:gd name="connsiteY193" fmla="*/ 288186 h 578653"/>
                <a:gd name="connsiteX194" fmla="*/ 135866 w 255441"/>
                <a:gd name="connsiteY194" fmla="*/ 292585 h 578653"/>
                <a:gd name="connsiteX195" fmla="*/ 131793 w 255441"/>
                <a:gd name="connsiteY195" fmla="*/ 298775 h 578653"/>
                <a:gd name="connsiteX196" fmla="*/ 124462 w 255441"/>
                <a:gd name="connsiteY196" fmla="*/ 300079 h 578653"/>
                <a:gd name="connsiteX197" fmla="*/ 120390 w 255441"/>
                <a:gd name="connsiteY197" fmla="*/ 298613 h 578653"/>
                <a:gd name="connsiteX198" fmla="*/ 126255 w 255441"/>
                <a:gd name="connsiteY198" fmla="*/ 306106 h 578653"/>
                <a:gd name="connsiteX199" fmla="*/ 126906 w 255441"/>
                <a:gd name="connsiteY199" fmla="*/ 312460 h 578653"/>
                <a:gd name="connsiteX200" fmla="*/ 125603 w 255441"/>
                <a:gd name="connsiteY200" fmla="*/ 314415 h 578653"/>
                <a:gd name="connsiteX201" fmla="*/ 126580 w 255441"/>
                <a:gd name="connsiteY201" fmla="*/ 320279 h 578653"/>
                <a:gd name="connsiteX202" fmla="*/ 125277 w 255441"/>
                <a:gd name="connsiteY202" fmla="*/ 327773 h 578653"/>
                <a:gd name="connsiteX203" fmla="*/ 129187 w 255441"/>
                <a:gd name="connsiteY203" fmla="*/ 331846 h 578653"/>
                <a:gd name="connsiteX204" fmla="*/ 128535 w 255441"/>
                <a:gd name="connsiteY204" fmla="*/ 336896 h 578653"/>
                <a:gd name="connsiteX205" fmla="*/ 125277 w 255441"/>
                <a:gd name="connsiteY205" fmla="*/ 333964 h 578653"/>
                <a:gd name="connsiteX206" fmla="*/ 124137 w 255441"/>
                <a:gd name="connsiteY206" fmla="*/ 335593 h 578653"/>
                <a:gd name="connsiteX207" fmla="*/ 125603 w 255441"/>
                <a:gd name="connsiteY207" fmla="*/ 343087 h 578653"/>
                <a:gd name="connsiteX208" fmla="*/ 121693 w 255441"/>
                <a:gd name="connsiteY208" fmla="*/ 347974 h 578653"/>
                <a:gd name="connsiteX209" fmla="*/ 125603 w 255441"/>
                <a:gd name="connsiteY209" fmla="*/ 349603 h 578653"/>
                <a:gd name="connsiteX210" fmla="*/ 125603 w 255441"/>
                <a:gd name="connsiteY210" fmla="*/ 352698 h 578653"/>
                <a:gd name="connsiteX211" fmla="*/ 123322 w 255441"/>
                <a:gd name="connsiteY211" fmla="*/ 354002 h 578653"/>
                <a:gd name="connsiteX212" fmla="*/ 126092 w 255441"/>
                <a:gd name="connsiteY212" fmla="*/ 359540 h 578653"/>
                <a:gd name="connsiteX213" fmla="*/ 122671 w 255441"/>
                <a:gd name="connsiteY213" fmla="*/ 363939 h 578653"/>
                <a:gd name="connsiteX214" fmla="*/ 125603 w 255441"/>
                <a:gd name="connsiteY214" fmla="*/ 367034 h 578653"/>
                <a:gd name="connsiteX215" fmla="*/ 128046 w 255441"/>
                <a:gd name="connsiteY215" fmla="*/ 370944 h 578653"/>
                <a:gd name="connsiteX216" fmla="*/ 131468 w 255441"/>
                <a:gd name="connsiteY216" fmla="*/ 371759 h 578653"/>
                <a:gd name="connsiteX217" fmla="*/ 131468 w 255441"/>
                <a:gd name="connsiteY217" fmla="*/ 376646 h 578653"/>
                <a:gd name="connsiteX218" fmla="*/ 133911 w 255441"/>
                <a:gd name="connsiteY218" fmla="*/ 375180 h 578653"/>
                <a:gd name="connsiteX219" fmla="*/ 136681 w 255441"/>
                <a:gd name="connsiteY219" fmla="*/ 379741 h 578653"/>
                <a:gd name="connsiteX220" fmla="*/ 141079 w 255441"/>
                <a:gd name="connsiteY220" fmla="*/ 374365 h 578653"/>
                <a:gd name="connsiteX221" fmla="*/ 144500 w 255441"/>
                <a:gd name="connsiteY221" fmla="*/ 377298 h 578653"/>
                <a:gd name="connsiteX222" fmla="*/ 145641 w 255441"/>
                <a:gd name="connsiteY222" fmla="*/ 381696 h 578653"/>
                <a:gd name="connsiteX223" fmla="*/ 154764 w 255441"/>
                <a:gd name="connsiteY223" fmla="*/ 388701 h 578653"/>
                <a:gd name="connsiteX224" fmla="*/ 153460 w 255441"/>
                <a:gd name="connsiteY224" fmla="*/ 391634 h 578653"/>
                <a:gd name="connsiteX225" fmla="*/ 160954 w 255441"/>
                <a:gd name="connsiteY225" fmla="*/ 396032 h 578653"/>
                <a:gd name="connsiteX226" fmla="*/ 160954 w 255441"/>
                <a:gd name="connsiteY226" fmla="*/ 399942 h 578653"/>
                <a:gd name="connsiteX227" fmla="*/ 166004 w 255441"/>
                <a:gd name="connsiteY227" fmla="*/ 404829 h 578653"/>
                <a:gd name="connsiteX228" fmla="*/ 162746 w 255441"/>
                <a:gd name="connsiteY228" fmla="*/ 412486 h 578653"/>
                <a:gd name="connsiteX229" fmla="*/ 156393 w 255441"/>
                <a:gd name="connsiteY229" fmla="*/ 419491 h 578653"/>
                <a:gd name="connsiteX230" fmla="*/ 154601 w 255441"/>
                <a:gd name="connsiteY230" fmla="*/ 424704 h 578653"/>
                <a:gd name="connsiteX231" fmla="*/ 147596 w 255441"/>
                <a:gd name="connsiteY231" fmla="*/ 426496 h 578653"/>
                <a:gd name="connsiteX232" fmla="*/ 143360 w 255441"/>
                <a:gd name="connsiteY232" fmla="*/ 424215 h 578653"/>
                <a:gd name="connsiteX233" fmla="*/ 144012 w 255441"/>
                <a:gd name="connsiteY233" fmla="*/ 420957 h 578653"/>
                <a:gd name="connsiteX234" fmla="*/ 138147 w 255441"/>
                <a:gd name="connsiteY234" fmla="*/ 418839 h 578653"/>
                <a:gd name="connsiteX235" fmla="*/ 135703 w 255441"/>
                <a:gd name="connsiteY235" fmla="*/ 416396 h 578653"/>
                <a:gd name="connsiteX236" fmla="*/ 135703 w 255441"/>
                <a:gd name="connsiteY236" fmla="*/ 419491 h 578653"/>
                <a:gd name="connsiteX237" fmla="*/ 132445 w 255441"/>
                <a:gd name="connsiteY237" fmla="*/ 419654 h 578653"/>
                <a:gd name="connsiteX238" fmla="*/ 130327 w 255441"/>
                <a:gd name="connsiteY238" fmla="*/ 417373 h 578653"/>
                <a:gd name="connsiteX239" fmla="*/ 125929 w 255441"/>
                <a:gd name="connsiteY239" fmla="*/ 416396 h 578653"/>
                <a:gd name="connsiteX240" fmla="*/ 124137 w 255441"/>
                <a:gd name="connsiteY240" fmla="*/ 419654 h 578653"/>
                <a:gd name="connsiteX241" fmla="*/ 120227 w 255441"/>
                <a:gd name="connsiteY241" fmla="*/ 420794 h 578653"/>
                <a:gd name="connsiteX242" fmla="*/ 118109 w 255441"/>
                <a:gd name="connsiteY242" fmla="*/ 418676 h 578653"/>
                <a:gd name="connsiteX243" fmla="*/ 114362 w 255441"/>
                <a:gd name="connsiteY243" fmla="*/ 423564 h 578653"/>
                <a:gd name="connsiteX244" fmla="*/ 110127 w 255441"/>
                <a:gd name="connsiteY244" fmla="*/ 421446 h 578653"/>
                <a:gd name="connsiteX245" fmla="*/ 106543 w 255441"/>
                <a:gd name="connsiteY245" fmla="*/ 422912 h 578653"/>
                <a:gd name="connsiteX246" fmla="*/ 106543 w 255441"/>
                <a:gd name="connsiteY246" fmla="*/ 424867 h 578653"/>
                <a:gd name="connsiteX247" fmla="*/ 114525 w 255441"/>
                <a:gd name="connsiteY247" fmla="*/ 425682 h 578653"/>
                <a:gd name="connsiteX248" fmla="*/ 116480 w 255441"/>
                <a:gd name="connsiteY248" fmla="*/ 427148 h 578653"/>
                <a:gd name="connsiteX249" fmla="*/ 117132 w 255441"/>
                <a:gd name="connsiteY249" fmla="*/ 424704 h 578653"/>
                <a:gd name="connsiteX250" fmla="*/ 123974 w 255441"/>
                <a:gd name="connsiteY250" fmla="*/ 424704 h 578653"/>
                <a:gd name="connsiteX251" fmla="*/ 127232 w 255441"/>
                <a:gd name="connsiteY251" fmla="*/ 426659 h 578653"/>
                <a:gd name="connsiteX252" fmla="*/ 132608 w 255441"/>
                <a:gd name="connsiteY252" fmla="*/ 427637 h 578653"/>
                <a:gd name="connsiteX253" fmla="*/ 135866 w 255441"/>
                <a:gd name="connsiteY253" fmla="*/ 432035 h 578653"/>
                <a:gd name="connsiteX254" fmla="*/ 139939 w 255441"/>
                <a:gd name="connsiteY254" fmla="*/ 429754 h 578653"/>
                <a:gd name="connsiteX255" fmla="*/ 142546 w 255441"/>
                <a:gd name="connsiteY255" fmla="*/ 430895 h 578653"/>
                <a:gd name="connsiteX256" fmla="*/ 146944 w 255441"/>
                <a:gd name="connsiteY256" fmla="*/ 428451 h 578653"/>
                <a:gd name="connsiteX257" fmla="*/ 153135 w 255441"/>
                <a:gd name="connsiteY257" fmla="*/ 430243 h 578653"/>
                <a:gd name="connsiteX258" fmla="*/ 156230 w 255441"/>
                <a:gd name="connsiteY258" fmla="*/ 433013 h 578653"/>
                <a:gd name="connsiteX259" fmla="*/ 156882 w 255441"/>
                <a:gd name="connsiteY259" fmla="*/ 437900 h 578653"/>
                <a:gd name="connsiteX260" fmla="*/ 153460 w 255441"/>
                <a:gd name="connsiteY260" fmla="*/ 440832 h 578653"/>
                <a:gd name="connsiteX261" fmla="*/ 150039 w 255441"/>
                <a:gd name="connsiteY261" fmla="*/ 440832 h 578653"/>
                <a:gd name="connsiteX262" fmla="*/ 145641 w 255441"/>
                <a:gd name="connsiteY262" fmla="*/ 447674 h 578653"/>
                <a:gd name="connsiteX263" fmla="*/ 142709 w 255441"/>
                <a:gd name="connsiteY263" fmla="*/ 447674 h 578653"/>
                <a:gd name="connsiteX264" fmla="*/ 143686 w 255441"/>
                <a:gd name="connsiteY264" fmla="*/ 442787 h 578653"/>
                <a:gd name="connsiteX265" fmla="*/ 141894 w 255441"/>
                <a:gd name="connsiteY265" fmla="*/ 440506 h 578653"/>
                <a:gd name="connsiteX266" fmla="*/ 139939 w 255441"/>
                <a:gd name="connsiteY266" fmla="*/ 443276 h 578653"/>
                <a:gd name="connsiteX267" fmla="*/ 140753 w 255441"/>
                <a:gd name="connsiteY267" fmla="*/ 446534 h 578653"/>
                <a:gd name="connsiteX268" fmla="*/ 137332 w 255441"/>
                <a:gd name="connsiteY268" fmla="*/ 446860 h 578653"/>
                <a:gd name="connsiteX269" fmla="*/ 133911 w 255441"/>
                <a:gd name="connsiteY269" fmla="*/ 450770 h 578653"/>
                <a:gd name="connsiteX270" fmla="*/ 133260 w 255441"/>
                <a:gd name="connsiteY270" fmla="*/ 455983 h 578653"/>
                <a:gd name="connsiteX271" fmla="*/ 129024 w 255441"/>
                <a:gd name="connsiteY271" fmla="*/ 452725 h 578653"/>
                <a:gd name="connsiteX272" fmla="*/ 129024 w 255441"/>
                <a:gd name="connsiteY272" fmla="*/ 455983 h 578653"/>
                <a:gd name="connsiteX273" fmla="*/ 126255 w 255441"/>
                <a:gd name="connsiteY273" fmla="*/ 458752 h 578653"/>
                <a:gd name="connsiteX274" fmla="*/ 125440 w 255441"/>
                <a:gd name="connsiteY274" fmla="*/ 457612 h 578653"/>
                <a:gd name="connsiteX275" fmla="*/ 122671 w 255441"/>
                <a:gd name="connsiteY275" fmla="*/ 457612 h 578653"/>
                <a:gd name="connsiteX276" fmla="*/ 119738 w 255441"/>
                <a:gd name="connsiteY276" fmla="*/ 461033 h 578653"/>
                <a:gd name="connsiteX277" fmla="*/ 123974 w 255441"/>
                <a:gd name="connsiteY277" fmla="*/ 461684 h 578653"/>
                <a:gd name="connsiteX278" fmla="*/ 129024 w 255441"/>
                <a:gd name="connsiteY278" fmla="*/ 466898 h 578653"/>
                <a:gd name="connsiteX279" fmla="*/ 119575 w 255441"/>
                <a:gd name="connsiteY279" fmla="*/ 467223 h 578653"/>
                <a:gd name="connsiteX280" fmla="*/ 127069 w 255441"/>
                <a:gd name="connsiteY280" fmla="*/ 469993 h 578653"/>
                <a:gd name="connsiteX281" fmla="*/ 127395 w 255441"/>
                <a:gd name="connsiteY281" fmla="*/ 473088 h 578653"/>
                <a:gd name="connsiteX282" fmla="*/ 124625 w 255441"/>
                <a:gd name="connsiteY282" fmla="*/ 478953 h 578653"/>
                <a:gd name="connsiteX283" fmla="*/ 130002 w 255441"/>
                <a:gd name="connsiteY283" fmla="*/ 484003 h 578653"/>
                <a:gd name="connsiteX284" fmla="*/ 123974 w 255441"/>
                <a:gd name="connsiteY284" fmla="*/ 485143 h 578653"/>
                <a:gd name="connsiteX285" fmla="*/ 118435 w 255441"/>
                <a:gd name="connsiteY285" fmla="*/ 483026 h 578653"/>
                <a:gd name="connsiteX286" fmla="*/ 121530 w 255441"/>
                <a:gd name="connsiteY286" fmla="*/ 487913 h 578653"/>
                <a:gd name="connsiteX287" fmla="*/ 119087 w 255441"/>
                <a:gd name="connsiteY287" fmla="*/ 492311 h 578653"/>
                <a:gd name="connsiteX288" fmla="*/ 124625 w 255441"/>
                <a:gd name="connsiteY288" fmla="*/ 495733 h 578653"/>
                <a:gd name="connsiteX289" fmla="*/ 120227 w 255441"/>
                <a:gd name="connsiteY289" fmla="*/ 499805 h 578653"/>
                <a:gd name="connsiteX290" fmla="*/ 124300 w 255441"/>
                <a:gd name="connsiteY290" fmla="*/ 505018 h 578653"/>
                <a:gd name="connsiteX291" fmla="*/ 120064 w 255441"/>
                <a:gd name="connsiteY291" fmla="*/ 509906 h 578653"/>
                <a:gd name="connsiteX292" fmla="*/ 119412 w 255441"/>
                <a:gd name="connsiteY292" fmla="*/ 515119 h 578653"/>
                <a:gd name="connsiteX293" fmla="*/ 123811 w 255441"/>
                <a:gd name="connsiteY293" fmla="*/ 519029 h 578653"/>
                <a:gd name="connsiteX294" fmla="*/ 121530 w 255441"/>
                <a:gd name="connsiteY294" fmla="*/ 523101 h 578653"/>
                <a:gd name="connsiteX295" fmla="*/ 120553 w 255441"/>
                <a:gd name="connsiteY295" fmla="*/ 535645 h 578653"/>
                <a:gd name="connsiteX296" fmla="*/ 116480 w 255441"/>
                <a:gd name="connsiteY296" fmla="*/ 539881 h 578653"/>
                <a:gd name="connsiteX297" fmla="*/ 114688 w 255441"/>
                <a:gd name="connsiteY297" fmla="*/ 549981 h 578653"/>
                <a:gd name="connsiteX298" fmla="*/ 109149 w 255441"/>
                <a:gd name="connsiteY298" fmla="*/ 556661 h 578653"/>
                <a:gd name="connsiteX299" fmla="*/ 106380 w 255441"/>
                <a:gd name="connsiteY299" fmla="*/ 553239 h 578653"/>
                <a:gd name="connsiteX300" fmla="*/ 101655 w 255441"/>
                <a:gd name="connsiteY300" fmla="*/ 551122 h 578653"/>
                <a:gd name="connsiteX301" fmla="*/ 96116 w 255441"/>
                <a:gd name="connsiteY301" fmla="*/ 554217 h 578653"/>
                <a:gd name="connsiteX302" fmla="*/ 86830 w 255441"/>
                <a:gd name="connsiteY302" fmla="*/ 552751 h 578653"/>
                <a:gd name="connsiteX303" fmla="*/ 85527 w 255441"/>
                <a:gd name="connsiteY303" fmla="*/ 549004 h 578653"/>
                <a:gd name="connsiteX304" fmla="*/ 83735 w 255441"/>
                <a:gd name="connsiteY304" fmla="*/ 557149 h 578653"/>
                <a:gd name="connsiteX305" fmla="*/ 75753 w 255441"/>
                <a:gd name="connsiteY305" fmla="*/ 558127 h 578653"/>
                <a:gd name="connsiteX306" fmla="*/ 72332 w 255441"/>
                <a:gd name="connsiteY306" fmla="*/ 566435 h 578653"/>
                <a:gd name="connsiteX307" fmla="*/ 75264 w 255441"/>
                <a:gd name="connsiteY307" fmla="*/ 568879 h 578653"/>
                <a:gd name="connsiteX308" fmla="*/ 75590 w 255441"/>
                <a:gd name="connsiteY308" fmla="*/ 572951 h 578653"/>
                <a:gd name="connsiteX309" fmla="*/ 70539 w 255441"/>
                <a:gd name="connsiteY309" fmla="*/ 577513 h 578653"/>
                <a:gd name="connsiteX310" fmla="*/ 64186 w 255441"/>
                <a:gd name="connsiteY310" fmla="*/ 575232 h 578653"/>
                <a:gd name="connsiteX311" fmla="*/ 51153 w 255441"/>
                <a:gd name="connsiteY311" fmla="*/ 578653 h 578653"/>
                <a:gd name="connsiteX312" fmla="*/ 46103 w 255441"/>
                <a:gd name="connsiteY312" fmla="*/ 578653 h 578653"/>
                <a:gd name="connsiteX313" fmla="*/ 43334 w 255441"/>
                <a:gd name="connsiteY313" fmla="*/ 576210 h 578653"/>
                <a:gd name="connsiteX314" fmla="*/ 46266 w 255441"/>
                <a:gd name="connsiteY314" fmla="*/ 571485 h 578653"/>
                <a:gd name="connsiteX315" fmla="*/ 43985 w 255441"/>
                <a:gd name="connsiteY315" fmla="*/ 559430 h 578653"/>
                <a:gd name="connsiteX316" fmla="*/ 38772 w 255441"/>
                <a:gd name="connsiteY316" fmla="*/ 557801 h 578653"/>
                <a:gd name="connsiteX317" fmla="*/ 37958 w 255441"/>
                <a:gd name="connsiteY317" fmla="*/ 553239 h 578653"/>
                <a:gd name="connsiteX318" fmla="*/ 34537 w 255441"/>
                <a:gd name="connsiteY318" fmla="*/ 551122 h 578653"/>
                <a:gd name="connsiteX319" fmla="*/ 35514 w 255441"/>
                <a:gd name="connsiteY319" fmla="*/ 548352 h 578653"/>
                <a:gd name="connsiteX320" fmla="*/ 41868 w 255441"/>
                <a:gd name="connsiteY320" fmla="*/ 547538 h 578653"/>
                <a:gd name="connsiteX321" fmla="*/ 45614 w 255441"/>
                <a:gd name="connsiteY321" fmla="*/ 540533 h 578653"/>
                <a:gd name="connsiteX322" fmla="*/ 44148 w 255441"/>
                <a:gd name="connsiteY322" fmla="*/ 534342 h 578653"/>
                <a:gd name="connsiteX323" fmla="*/ 38772 w 255441"/>
                <a:gd name="connsiteY323" fmla="*/ 537437 h 578653"/>
                <a:gd name="connsiteX324" fmla="*/ 33885 w 255441"/>
                <a:gd name="connsiteY324" fmla="*/ 532550 h 578653"/>
                <a:gd name="connsiteX325" fmla="*/ 32582 w 255441"/>
                <a:gd name="connsiteY325" fmla="*/ 527663 h 578653"/>
                <a:gd name="connsiteX326" fmla="*/ 27369 w 255441"/>
                <a:gd name="connsiteY326" fmla="*/ 525545 h 578653"/>
                <a:gd name="connsiteX327" fmla="*/ 26717 w 255441"/>
                <a:gd name="connsiteY327" fmla="*/ 518377 h 578653"/>
                <a:gd name="connsiteX328" fmla="*/ 22155 w 255441"/>
                <a:gd name="connsiteY328" fmla="*/ 508928 h 578653"/>
                <a:gd name="connsiteX329" fmla="*/ 19875 w 255441"/>
                <a:gd name="connsiteY329" fmla="*/ 506973 h 578653"/>
                <a:gd name="connsiteX330" fmla="*/ 17268 w 255441"/>
                <a:gd name="connsiteY330" fmla="*/ 500294 h 578653"/>
                <a:gd name="connsiteX331" fmla="*/ 13033 w 255441"/>
                <a:gd name="connsiteY331" fmla="*/ 499317 h 578653"/>
                <a:gd name="connsiteX332" fmla="*/ 10100 w 255441"/>
                <a:gd name="connsiteY332" fmla="*/ 495244 h 578653"/>
                <a:gd name="connsiteX333" fmla="*/ 12381 w 255441"/>
                <a:gd name="connsiteY333" fmla="*/ 492800 h 578653"/>
                <a:gd name="connsiteX334" fmla="*/ 13033 w 255441"/>
                <a:gd name="connsiteY334" fmla="*/ 487261 h 578653"/>
                <a:gd name="connsiteX335" fmla="*/ 11403 w 255441"/>
                <a:gd name="connsiteY335" fmla="*/ 483351 h 578653"/>
                <a:gd name="connsiteX336" fmla="*/ 12218 w 255441"/>
                <a:gd name="connsiteY336" fmla="*/ 479279 h 578653"/>
                <a:gd name="connsiteX337" fmla="*/ 17268 w 255441"/>
                <a:gd name="connsiteY337" fmla="*/ 475043 h 578653"/>
                <a:gd name="connsiteX338" fmla="*/ 15965 w 255441"/>
                <a:gd name="connsiteY338" fmla="*/ 472274 h 578653"/>
                <a:gd name="connsiteX339" fmla="*/ 11729 w 255441"/>
                <a:gd name="connsiteY339" fmla="*/ 469830 h 578653"/>
                <a:gd name="connsiteX340" fmla="*/ 12870 w 255441"/>
                <a:gd name="connsiteY340" fmla="*/ 467386 h 578653"/>
                <a:gd name="connsiteX341" fmla="*/ 10426 w 255441"/>
                <a:gd name="connsiteY341" fmla="*/ 467386 h 578653"/>
                <a:gd name="connsiteX342" fmla="*/ 9775 w 255441"/>
                <a:gd name="connsiteY342" fmla="*/ 471296 h 578653"/>
                <a:gd name="connsiteX343" fmla="*/ 13196 w 255441"/>
                <a:gd name="connsiteY343" fmla="*/ 475043 h 578653"/>
                <a:gd name="connsiteX344" fmla="*/ 7657 w 255441"/>
                <a:gd name="connsiteY344" fmla="*/ 477487 h 578653"/>
                <a:gd name="connsiteX345" fmla="*/ 8471 w 255441"/>
                <a:gd name="connsiteY345" fmla="*/ 472111 h 578653"/>
                <a:gd name="connsiteX346" fmla="*/ 7168 w 255441"/>
                <a:gd name="connsiteY346" fmla="*/ 470156 h 578653"/>
                <a:gd name="connsiteX347" fmla="*/ 3421 w 255441"/>
                <a:gd name="connsiteY347" fmla="*/ 468201 h 578653"/>
                <a:gd name="connsiteX348" fmla="*/ 2932 w 255441"/>
                <a:gd name="connsiteY348" fmla="*/ 459893 h 578653"/>
                <a:gd name="connsiteX349" fmla="*/ 977 w 255441"/>
                <a:gd name="connsiteY349" fmla="*/ 456960 h 578653"/>
                <a:gd name="connsiteX350" fmla="*/ 0 w 255441"/>
                <a:gd name="connsiteY350" fmla="*/ 446045 h 578653"/>
                <a:gd name="connsiteX351" fmla="*/ 3910 w 255441"/>
                <a:gd name="connsiteY351" fmla="*/ 443764 h 578653"/>
                <a:gd name="connsiteX352" fmla="*/ 4398 w 255441"/>
                <a:gd name="connsiteY352" fmla="*/ 443276 h 578653"/>
                <a:gd name="connsiteX353" fmla="*/ 4398 w 255441"/>
                <a:gd name="connsiteY353" fmla="*/ 443276 h 578653"/>
                <a:gd name="connsiteX354" fmla="*/ 154927 w 255441"/>
                <a:gd name="connsiteY354" fmla="*/ 426659 h 578653"/>
                <a:gd name="connsiteX355" fmla="*/ 158673 w 255441"/>
                <a:gd name="connsiteY355" fmla="*/ 432687 h 578653"/>
                <a:gd name="connsiteX356" fmla="*/ 160628 w 255441"/>
                <a:gd name="connsiteY356" fmla="*/ 434316 h 578653"/>
                <a:gd name="connsiteX357" fmla="*/ 160628 w 255441"/>
                <a:gd name="connsiteY357" fmla="*/ 427962 h 578653"/>
                <a:gd name="connsiteX358" fmla="*/ 165678 w 255441"/>
                <a:gd name="connsiteY358" fmla="*/ 423564 h 578653"/>
                <a:gd name="connsiteX359" fmla="*/ 165678 w 255441"/>
                <a:gd name="connsiteY359" fmla="*/ 419328 h 578653"/>
                <a:gd name="connsiteX360" fmla="*/ 159651 w 255441"/>
                <a:gd name="connsiteY360" fmla="*/ 419328 h 578653"/>
                <a:gd name="connsiteX361" fmla="*/ 154764 w 255441"/>
                <a:gd name="connsiteY361" fmla="*/ 426496 h 578653"/>
                <a:gd name="connsiteX362" fmla="*/ 154764 w 255441"/>
                <a:gd name="connsiteY362" fmla="*/ 426496 h 578653"/>
                <a:gd name="connsiteX363" fmla="*/ 7494 w 255441"/>
                <a:gd name="connsiteY363" fmla="*/ 478138 h 578653"/>
                <a:gd name="connsiteX364" fmla="*/ 7168 w 255441"/>
                <a:gd name="connsiteY364" fmla="*/ 481722 h 578653"/>
                <a:gd name="connsiteX365" fmla="*/ 9775 w 255441"/>
                <a:gd name="connsiteY365" fmla="*/ 481722 h 578653"/>
                <a:gd name="connsiteX366" fmla="*/ 10752 w 255441"/>
                <a:gd name="connsiteY366" fmla="*/ 477324 h 578653"/>
                <a:gd name="connsiteX367" fmla="*/ 7494 w 255441"/>
                <a:gd name="connsiteY367" fmla="*/ 478138 h 578653"/>
                <a:gd name="connsiteX368" fmla="*/ 7494 w 255441"/>
                <a:gd name="connsiteY368" fmla="*/ 478138 h 578653"/>
                <a:gd name="connsiteX369" fmla="*/ 177245 w 255441"/>
                <a:gd name="connsiteY369" fmla="*/ 462010 h 578653"/>
                <a:gd name="connsiteX370" fmla="*/ 179363 w 255441"/>
                <a:gd name="connsiteY370" fmla="*/ 466246 h 578653"/>
                <a:gd name="connsiteX371" fmla="*/ 181969 w 255441"/>
                <a:gd name="connsiteY371" fmla="*/ 462988 h 578653"/>
                <a:gd name="connsiteX372" fmla="*/ 179363 w 255441"/>
                <a:gd name="connsiteY372" fmla="*/ 460707 h 578653"/>
                <a:gd name="connsiteX373" fmla="*/ 177245 w 255441"/>
                <a:gd name="connsiteY373" fmla="*/ 462010 h 578653"/>
                <a:gd name="connsiteX374" fmla="*/ 177245 w 255441"/>
                <a:gd name="connsiteY374" fmla="*/ 462010 h 578653"/>
                <a:gd name="connsiteX375" fmla="*/ 179200 w 255441"/>
                <a:gd name="connsiteY375" fmla="*/ 485795 h 578653"/>
                <a:gd name="connsiteX376" fmla="*/ 180992 w 255441"/>
                <a:gd name="connsiteY376" fmla="*/ 488239 h 578653"/>
                <a:gd name="connsiteX377" fmla="*/ 183762 w 255441"/>
                <a:gd name="connsiteY377" fmla="*/ 485632 h 578653"/>
                <a:gd name="connsiteX378" fmla="*/ 188323 w 255441"/>
                <a:gd name="connsiteY378" fmla="*/ 484329 h 578653"/>
                <a:gd name="connsiteX379" fmla="*/ 187182 w 255441"/>
                <a:gd name="connsiteY379" fmla="*/ 482537 h 578653"/>
                <a:gd name="connsiteX380" fmla="*/ 181969 w 255441"/>
                <a:gd name="connsiteY380" fmla="*/ 482537 h 578653"/>
                <a:gd name="connsiteX381" fmla="*/ 179200 w 255441"/>
                <a:gd name="connsiteY381" fmla="*/ 485795 h 578653"/>
                <a:gd name="connsiteX382" fmla="*/ 179200 w 255441"/>
                <a:gd name="connsiteY382" fmla="*/ 485795 h 578653"/>
                <a:gd name="connsiteX383" fmla="*/ 161606 w 255441"/>
                <a:gd name="connsiteY383" fmla="*/ 525219 h 578653"/>
                <a:gd name="connsiteX384" fmla="*/ 167471 w 255441"/>
                <a:gd name="connsiteY384" fmla="*/ 523590 h 578653"/>
                <a:gd name="connsiteX385" fmla="*/ 168611 w 255441"/>
                <a:gd name="connsiteY385" fmla="*/ 520495 h 578653"/>
                <a:gd name="connsiteX386" fmla="*/ 166819 w 255441"/>
                <a:gd name="connsiteY386" fmla="*/ 519191 h 578653"/>
                <a:gd name="connsiteX387" fmla="*/ 167796 w 255441"/>
                <a:gd name="connsiteY387" fmla="*/ 516096 h 578653"/>
                <a:gd name="connsiteX388" fmla="*/ 173661 w 255441"/>
                <a:gd name="connsiteY388" fmla="*/ 511535 h 578653"/>
                <a:gd name="connsiteX389" fmla="*/ 174313 w 255441"/>
                <a:gd name="connsiteY389" fmla="*/ 508276 h 578653"/>
                <a:gd name="connsiteX390" fmla="*/ 178060 w 255441"/>
                <a:gd name="connsiteY390" fmla="*/ 503878 h 578653"/>
                <a:gd name="connsiteX391" fmla="*/ 177571 w 255441"/>
                <a:gd name="connsiteY391" fmla="*/ 501597 h 578653"/>
                <a:gd name="connsiteX392" fmla="*/ 173987 w 255441"/>
                <a:gd name="connsiteY392" fmla="*/ 498339 h 578653"/>
                <a:gd name="connsiteX393" fmla="*/ 175942 w 255441"/>
                <a:gd name="connsiteY393" fmla="*/ 493941 h 578653"/>
                <a:gd name="connsiteX394" fmla="*/ 176430 w 255441"/>
                <a:gd name="connsiteY394" fmla="*/ 491008 h 578653"/>
                <a:gd name="connsiteX395" fmla="*/ 178548 w 255441"/>
                <a:gd name="connsiteY395" fmla="*/ 489053 h 578653"/>
                <a:gd name="connsiteX396" fmla="*/ 175616 w 255441"/>
                <a:gd name="connsiteY396" fmla="*/ 487424 h 578653"/>
                <a:gd name="connsiteX397" fmla="*/ 172846 w 255441"/>
                <a:gd name="connsiteY397" fmla="*/ 489053 h 578653"/>
                <a:gd name="connsiteX398" fmla="*/ 167471 w 255441"/>
                <a:gd name="connsiteY398" fmla="*/ 489053 h 578653"/>
                <a:gd name="connsiteX399" fmla="*/ 164050 w 255441"/>
                <a:gd name="connsiteY399" fmla="*/ 493289 h 578653"/>
                <a:gd name="connsiteX400" fmla="*/ 161606 w 255441"/>
                <a:gd name="connsiteY400" fmla="*/ 497850 h 578653"/>
                <a:gd name="connsiteX401" fmla="*/ 158185 w 255441"/>
                <a:gd name="connsiteY401" fmla="*/ 501434 h 578653"/>
                <a:gd name="connsiteX402" fmla="*/ 159814 w 255441"/>
                <a:gd name="connsiteY402" fmla="*/ 507299 h 578653"/>
                <a:gd name="connsiteX403" fmla="*/ 158022 w 255441"/>
                <a:gd name="connsiteY403" fmla="*/ 508439 h 578653"/>
                <a:gd name="connsiteX404" fmla="*/ 163072 w 255441"/>
                <a:gd name="connsiteY404" fmla="*/ 515770 h 578653"/>
                <a:gd name="connsiteX405" fmla="*/ 165027 w 255441"/>
                <a:gd name="connsiteY405" fmla="*/ 514956 h 578653"/>
                <a:gd name="connsiteX406" fmla="*/ 163887 w 255441"/>
                <a:gd name="connsiteY406" fmla="*/ 519191 h 578653"/>
                <a:gd name="connsiteX407" fmla="*/ 160954 w 255441"/>
                <a:gd name="connsiteY407" fmla="*/ 522938 h 578653"/>
                <a:gd name="connsiteX408" fmla="*/ 161443 w 255441"/>
                <a:gd name="connsiteY408" fmla="*/ 525219 h 578653"/>
                <a:gd name="connsiteX409" fmla="*/ 161443 w 255441"/>
                <a:gd name="connsiteY409" fmla="*/ 525219 h 578653"/>
                <a:gd name="connsiteX410" fmla="*/ 123485 w 255441"/>
                <a:gd name="connsiteY410" fmla="*/ 540533 h 578653"/>
                <a:gd name="connsiteX411" fmla="*/ 124137 w 255441"/>
                <a:gd name="connsiteY411" fmla="*/ 545257 h 578653"/>
                <a:gd name="connsiteX412" fmla="*/ 124137 w 255441"/>
                <a:gd name="connsiteY412" fmla="*/ 548678 h 578653"/>
                <a:gd name="connsiteX413" fmla="*/ 125766 w 255441"/>
                <a:gd name="connsiteY413" fmla="*/ 550307 h 578653"/>
                <a:gd name="connsiteX414" fmla="*/ 127558 w 255441"/>
                <a:gd name="connsiteY414" fmla="*/ 545909 h 578653"/>
                <a:gd name="connsiteX415" fmla="*/ 130327 w 255441"/>
                <a:gd name="connsiteY415" fmla="*/ 537763 h 578653"/>
                <a:gd name="connsiteX416" fmla="*/ 131305 w 255441"/>
                <a:gd name="connsiteY416" fmla="*/ 529292 h 578653"/>
                <a:gd name="connsiteX417" fmla="*/ 133911 w 255441"/>
                <a:gd name="connsiteY417" fmla="*/ 520658 h 578653"/>
                <a:gd name="connsiteX418" fmla="*/ 134889 w 255441"/>
                <a:gd name="connsiteY418" fmla="*/ 513164 h 578653"/>
                <a:gd name="connsiteX419" fmla="*/ 132119 w 255441"/>
                <a:gd name="connsiteY419" fmla="*/ 510231 h 578653"/>
                <a:gd name="connsiteX420" fmla="*/ 129024 w 255441"/>
                <a:gd name="connsiteY420" fmla="*/ 514956 h 578653"/>
                <a:gd name="connsiteX421" fmla="*/ 129839 w 255441"/>
                <a:gd name="connsiteY421" fmla="*/ 517237 h 578653"/>
                <a:gd name="connsiteX422" fmla="*/ 128209 w 255441"/>
                <a:gd name="connsiteY422" fmla="*/ 524730 h 578653"/>
                <a:gd name="connsiteX423" fmla="*/ 125440 w 255441"/>
                <a:gd name="connsiteY423" fmla="*/ 526522 h 578653"/>
                <a:gd name="connsiteX424" fmla="*/ 123648 w 255441"/>
                <a:gd name="connsiteY424" fmla="*/ 540370 h 578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</a:cxnLst>
              <a:rect l="l" t="t" r="r" b="b"/>
              <a:pathLst>
                <a:path w="255441" h="578653">
                  <a:moveTo>
                    <a:pt x="4887" y="441810"/>
                  </a:moveTo>
                  <a:lnTo>
                    <a:pt x="7982" y="443927"/>
                  </a:lnTo>
                  <a:lnTo>
                    <a:pt x="10915" y="449141"/>
                  </a:lnTo>
                  <a:lnTo>
                    <a:pt x="13684" y="443927"/>
                  </a:lnTo>
                  <a:lnTo>
                    <a:pt x="12544" y="428125"/>
                  </a:lnTo>
                  <a:lnTo>
                    <a:pt x="8634" y="421283"/>
                  </a:lnTo>
                  <a:lnTo>
                    <a:pt x="10589" y="416884"/>
                  </a:lnTo>
                  <a:lnTo>
                    <a:pt x="14010" y="415093"/>
                  </a:lnTo>
                  <a:lnTo>
                    <a:pt x="11403" y="409879"/>
                  </a:lnTo>
                  <a:lnTo>
                    <a:pt x="13033" y="406947"/>
                  </a:lnTo>
                  <a:lnTo>
                    <a:pt x="21015" y="406133"/>
                  </a:lnTo>
                  <a:lnTo>
                    <a:pt x="23296" y="402223"/>
                  </a:lnTo>
                  <a:lnTo>
                    <a:pt x="22970" y="396847"/>
                  </a:lnTo>
                  <a:lnTo>
                    <a:pt x="26717" y="388864"/>
                  </a:lnTo>
                  <a:lnTo>
                    <a:pt x="22970" y="383651"/>
                  </a:lnTo>
                  <a:lnTo>
                    <a:pt x="21178" y="372084"/>
                  </a:lnTo>
                  <a:lnTo>
                    <a:pt x="16454" y="362636"/>
                  </a:lnTo>
                  <a:lnTo>
                    <a:pt x="16780" y="358400"/>
                  </a:lnTo>
                  <a:lnTo>
                    <a:pt x="28346" y="354490"/>
                  </a:lnTo>
                  <a:lnTo>
                    <a:pt x="28346" y="346182"/>
                  </a:lnTo>
                  <a:cubicBezTo>
                    <a:pt x="28346" y="346182"/>
                    <a:pt x="30953" y="340480"/>
                    <a:pt x="30953" y="340480"/>
                  </a:cubicBezTo>
                  <a:lnTo>
                    <a:pt x="22155" y="330706"/>
                  </a:lnTo>
                  <a:lnTo>
                    <a:pt x="14825" y="326959"/>
                  </a:lnTo>
                  <a:lnTo>
                    <a:pt x="14499" y="317347"/>
                  </a:lnTo>
                  <a:lnTo>
                    <a:pt x="16128" y="307898"/>
                  </a:lnTo>
                  <a:lnTo>
                    <a:pt x="14825" y="297635"/>
                  </a:lnTo>
                  <a:lnTo>
                    <a:pt x="12055" y="290630"/>
                  </a:lnTo>
                  <a:lnTo>
                    <a:pt x="14336" y="282647"/>
                  </a:lnTo>
                  <a:lnTo>
                    <a:pt x="12870" y="269126"/>
                  </a:lnTo>
                  <a:lnTo>
                    <a:pt x="10426" y="256093"/>
                  </a:lnTo>
                  <a:lnTo>
                    <a:pt x="12218" y="244689"/>
                  </a:lnTo>
                  <a:lnTo>
                    <a:pt x="17920" y="234589"/>
                  </a:lnTo>
                  <a:lnTo>
                    <a:pt x="23459" y="231331"/>
                  </a:lnTo>
                  <a:lnTo>
                    <a:pt x="30301" y="232797"/>
                  </a:lnTo>
                  <a:lnTo>
                    <a:pt x="38935" y="233286"/>
                  </a:lnTo>
                  <a:lnTo>
                    <a:pt x="43334" y="227258"/>
                  </a:lnTo>
                  <a:lnTo>
                    <a:pt x="42519" y="217647"/>
                  </a:lnTo>
                  <a:lnTo>
                    <a:pt x="40076" y="213737"/>
                  </a:lnTo>
                  <a:lnTo>
                    <a:pt x="40402" y="207546"/>
                  </a:lnTo>
                  <a:lnTo>
                    <a:pt x="49036" y="186368"/>
                  </a:lnTo>
                  <a:lnTo>
                    <a:pt x="49361" y="174150"/>
                  </a:lnTo>
                  <a:lnTo>
                    <a:pt x="51968" y="162583"/>
                  </a:lnTo>
                  <a:lnTo>
                    <a:pt x="54575" y="156067"/>
                  </a:lnTo>
                  <a:lnTo>
                    <a:pt x="54575" y="148736"/>
                  </a:lnTo>
                  <a:cubicBezTo>
                    <a:pt x="54575" y="148736"/>
                    <a:pt x="50665" y="144989"/>
                    <a:pt x="50665" y="144989"/>
                  </a:cubicBezTo>
                  <a:lnTo>
                    <a:pt x="50665" y="139776"/>
                  </a:lnTo>
                  <a:cubicBezTo>
                    <a:pt x="50665" y="139776"/>
                    <a:pt x="58973" y="135052"/>
                    <a:pt x="58973" y="135052"/>
                  </a:cubicBezTo>
                  <a:lnTo>
                    <a:pt x="67607" y="133260"/>
                  </a:lnTo>
                  <a:lnTo>
                    <a:pt x="71680" y="129676"/>
                  </a:lnTo>
                  <a:lnTo>
                    <a:pt x="72006" y="124463"/>
                  </a:lnTo>
                  <a:lnTo>
                    <a:pt x="79011" y="112081"/>
                  </a:lnTo>
                  <a:lnTo>
                    <a:pt x="86179" y="102144"/>
                  </a:lnTo>
                  <a:lnTo>
                    <a:pt x="88623" y="96279"/>
                  </a:lnTo>
                  <a:lnTo>
                    <a:pt x="85853" y="88785"/>
                  </a:lnTo>
                  <a:lnTo>
                    <a:pt x="82921" y="85527"/>
                  </a:lnTo>
                  <a:lnTo>
                    <a:pt x="82921" y="73798"/>
                  </a:lnTo>
                  <a:cubicBezTo>
                    <a:pt x="82921" y="73798"/>
                    <a:pt x="86016" y="72169"/>
                    <a:pt x="86016" y="72169"/>
                  </a:cubicBezTo>
                  <a:lnTo>
                    <a:pt x="89111" y="67933"/>
                  </a:lnTo>
                  <a:lnTo>
                    <a:pt x="90577" y="61743"/>
                  </a:lnTo>
                  <a:lnTo>
                    <a:pt x="93998" y="59951"/>
                  </a:lnTo>
                  <a:lnTo>
                    <a:pt x="97909" y="51479"/>
                  </a:lnTo>
                  <a:lnTo>
                    <a:pt x="103284" y="47406"/>
                  </a:lnTo>
                  <a:lnTo>
                    <a:pt x="108986" y="50013"/>
                  </a:lnTo>
                  <a:lnTo>
                    <a:pt x="111430" y="52783"/>
                  </a:lnTo>
                  <a:lnTo>
                    <a:pt x="114688" y="52294"/>
                  </a:lnTo>
                  <a:lnTo>
                    <a:pt x="118598" y="48873"/>
                  </a:lnTo>
                  <a:lnTo>
                    <a:pt x="115503" y="43497"/>
                  </a:lnTo>
                  <a:lnTo>
                    <a:pt x="118435" y="40727"/>
                  </a:lnTo>
                  <a:lnTo>
                    <a:pt x="118435" y="37958"/>
                  </a:lnTo>
                  <a:lnTo>
                    <a:pt x="119738" y="35188"/>
                  </a:lnTo>
                  <a:lnTo>
                    <a:pt x="115666" y="28672"/>
                  </a:lnTo>
                  <a:lnTo>
                    <a:pt x="118272" y="27043"/>
                  </a:lnTo>
                  <a:lnTo>
                    <a:pt x="125603" y="27043"/>
                  </a:lnTo>
                  <a:cubicBezTo>
                    <a:pt x="125603" y="27043"/>
                    <a:pt x="131142" y="24273"/>
                    <a:pt x="131142" y="24273"/>
                  </a:cubicBezTo>
                  <a:lnTo>
                    <a:pt x="139613" y="26554"/>
                  </a:lnTo>
                  <a:lnTo>
                    <a:pt x="144826" y="29975"/>
                  </a:lnTo>
                  <a:lnTo>
                    <a:pt x="150691" y="30464"/>
                  </a:lnTo>
                  <a:lnTo>
                    <a:pt x="153949" y="33233"/>
                  </a:lnTo>
                  <a:lnTo>
                    <a:pt x="156555" y="32256"/>
                  </a:lnTo>
                  <a:lnTo>
                    <a:pt x="158999" y="33722"/>
                  </a:lnTo>
                  <a:lnTo>
                    <a:pt x="158999" y="27532"/>
                  </a:lnTo>
                  <a:lnTo>
                    <a:pt x="156230" y="23459"/>
                  </a:lnTo>
                  <a:lnTo>
                    <a:pt x="156882" y="15476"/>
                  </a:lnTo>
                  <a:lnTo>
                    <a:pt x="160954" y="13196"/>
                  </a:lnTo>
                  <a:lnTo>
                    <a:pt x="159651" y="7820"/>
                  </a:lnTo>
                  <a:lnTo>
                    <a:pt x="155578" y="5539"/>
                  </a:lnTo>
                  <a:lnTo>
                    <a:pt x="155252" y="326"/>
                  </a:lnTo>
                  <a:lnTo>
                    <a:pt x="161117" y="2118"/>
                  </a:lnTo>
                  <a:lnTo>
                    <a:pt x="166819" y="977"/>
                  </a:lnTo>
                  <a:lnTo>
                    <a:pt x="168774" y="0"/>
                  </a:lnTo>
                  <a:lnTo>
                    <a:pt x="173009" y="5050"/>
                  </a:lnTo>
                  <a:lnTo>
                    <a:pt x="179689" y="8308"/>
                  </a:lnTo>
                  <a:lnTo>
                    <a:pt x="188649" y="18897"/>
                  </a:lnTo>
                  <a:lnTo>
                    <a:pt x="195328" y="23948"/>
                  </a:lnTo>
                  <a:lnTo>
                    <a:pt x="205266" y="24762"/>
                  </a:lnTo>
                  <a:lnTo>
                    <a:pt x="209175" y="27206"/>
                  </a:lnTo>
                  <a:lnTo>
                    <a:pt x="212596" y="28183"/>
                  </a:lnTo>
                  <a:lnTo>
                    <a:pt x="217646" y="33885"/>
                  </a:lnTo>
                  <a:lnTo>
                    <a:pt x="219439" y="38610"/>
                  </a:lnTo>
                  <a:lnTo>
                    <a:pt x="221719" y="38935"/>
                  </a:lnTo>
                  <a:lnTo>
                    <a:pt x="223511" y="38447"/>
                  </a:lnTo>
                  <a:lnTo>
                    <a:pt x="227910" y="44474"/>
                  </a:lnTo>
                  <a:lnTo>
                    <a:pt x="231331" y="44800"/>
                  </a:lnTo>
                  <a:lnTo>
                    <a:pt x="233775" y="48547"/>
                  </a:lnTo>
                  <a:lnTo>
                    <a:pt x="231820" y="53108"/>
                  </a:lnTo>
                  <a:lnTo>
                    <a:pt x="233123" y="60439"/>
                  </a:lnTo>
                  <a:lnTo>
                    <a:pt x="230842" y="66304"/>
                  </a:lnTo>
                  <a:lnTo>
                    <a:pt x="231331" y="71354"/>
                  </a:lnTo>
                  <a:lnTo>
                    <a:pt x="238010" y="71843"/>
                  </a:lnTo>
                  <a:lnTo>
                    <a:pt x="239639" y="77708"/>
                  </a:lnTo>
                  <a:lnTo>
                    <a:pt x="237196" y="81455"/>
                  </a:lnTo>
                  <a:lnTo>
                    <a:pt x="238010" y="88460"/>
                  </a:lnTo>
                  <a:lnTo>
                    <a:pt x="240943" y="92695"/>
                  </a:lnTo>
                  <a:lnTo>
                    <a:pt x="242571" y="101818"/>
                  </a:lnTo>
                  <a:lnTo>
                    <a:pt x="241268" y="106054"/>
                  </a:lnTo>
                  <a:lnTo>
                    <a:pt x="242409" y="109964"/>
                  </a:lnTo>
                  <a:lnTo>
                    <a:pt x="242409" y="119901"/>
                  </a:lnTo>
                  <a:lnTo>
                    <a:pt x="240780" y="123648"/>
                  </a:lnTo>
                  <a:lnTo>
                    <a:pt x="243386" y="130979"/>
                  </a:lnTo>
                  <a:lnTo>
                    <a:pt x="248111" y="132608"/>
                  </a:lnTo>
                  <a:lnTo>
                    <a:pt x="252509" y="142057"/>
                  </a:lnTo>
                  <a:lnTo>
                    <a:pt x="255441" y="145152"/>
                  </a:lnTo>
                  <a:lnTo>
                    <a:pt x="255116" y="150691"/>
                  </a:lnTo>
                  <a:lnTo>
                    <a:pt x="254953" y="150691"/>
                  </a:lnTo>
                  <a:cubicBezTo>
                    <a:pt x="254953" y="150691"/>
                    <a:pt x="251694" y="152809"/>
                    <a:pt x="251694" y="152809"/>
                  </a:cubicBezTo>
                  <a:lnTo>
                    <a:pt x="246807" y="152483"/>
                  </a:lnTo>
                  <a:lnTo>
                    <a:pt x="243875" y="149062"/>
                  </a:lnTo>
                  <a:lnTo>
                    <a:pt x="237847" y="152972"/>
                  </a:lnTo>
                  <a:lnTo>
                    <a:pt x="233775" y="150691"/>
                  </a:lnTo>
                  <a:lnTo>
                    <a:pt x="231657" y="154927"/>
                  </a:lnTo>
                  <a:lnTo>
                    <a:pt x="227421" y="153135"/>
                  </a:lnTo>
                  <a:lnTo>
                    <a:pt x="225466" y="148899"/>
                  </a:lnTo>
                  <a:lnTo>
                    <a:pt x="221393" y="153949"/>
                  </a:lnTo>
                  <a:lnTo>
                    <a:pt x="218298" y="148410"/>
                  </a:lnTo>
                  <a:lnTo>
                    <a:pt x="215529" y="150528"/>
                  </a:lnTo>
                  <a:lnTo>
                    <a:pt x="214877" y="155415"/>
                  </a:lnTo>
                  <a:lnTo>
                    <a:pt x="213085" y="159488"/>
                  </a:lnTo>
                  <a:lnTo>
                    <a:pt x="209338" y="160303"/>
                  </a:lnTo>
                  <a:lnTo>
                    <a:pt x="207057" y="157533"/>
                  </a:lnTo>
                  <a:lnTo>
                    <a:pt x="203636" y="156393"/>
                  </a:lnTo>
                  <a:lnTo>
                    <a:pt x="206894" y="162583"/>
                  </a:lnTo>
                  <a:lnTo>
                    <a:pt x="210316" y="164864"/>
                  </a:lnTo>
                  <a:lnTo>
                    <a:pt x="206080" y="168774"/>
                  </a:lnTo>
                  <a:lnTo>
                    <a:pt x="201682" y="168448"/>
                  </a:lnTo>
                  <a:lnTo>
                    <a:pt x="197771" y="170566"/>
                  </a:lnTo>
                  <a:lnTo>
                    <a:pt x="202496" y="172684"/>
                  </a:lnTo>
                  <a:lnTo>
                    <a:pt x="202170" y="175616"/>
                  </a:lnTo>
                  <a:lnTo>
                    <a:pt x="200215" y="176268"/>
                  </a:lnTo>
                  <a:lnTo>
                    <a:pt x="199075" y="174476"/>
                  </a:lnTo>
                  <a:lnTo>
                    <a:pt x="195980" y="173010"/>
                  </a:lnTo>
                  <a:lnTo>
                    <a:pt x="194351" y="174802"/>
                  </a:lnTo>
                  <a:lnTo>
                    <a:pt x="196631" y="178548"/>
                  </a:lnTo>
                  <a:lnTo>
                    <a:pt x="199727" y="178548"/>
                  </a:lnTo>
                  <a:cubicBezTo>
                    <a:pt x="199727" y="178548"/>
                    <a:pt x="202170" y="181807"/>
                    <a:pt x="202170" y="181807"/>
                  </a:cubicBezTo>
                  <a:lnTo>
                    <a:pt x="200704" y="184739"/>
                  </a:lnTo>
                  <a:lnTo>
                    <a:pt x="197609" y="193699"/>
                  </a:lnTo>
                  <a:lnTo>
                    <a:pt x="198749" y="197446"/>
                  </a:lnTo>
                  <a:lnTo>
                    <a:pt x="192559" y="198586"/>
                  </a:lnTo>
                  <a:lnTo>
                    <a:pt x="197609" y="202496"/>
                  </a:lnTo>
                  <a:lnTo>
                    <a:pt x="201682" y="203311"/>
                  </a:lnTo>
                  <a:lnTo>
                    <a:pt x="203148" y="206569"/>
                  </a:lnTo>
                  <a:lnTo>
                    <a:pt x="200052" y="207709"/>
                  </a:lnTo>
                  <a:lnTo>
                    <a:pt x="202985" y="211782"/>
                  </a:lnTo>
                  <a:lnTo>
                    <a:pt x="206732" y="211782"/>
                  </a:lnTo>
                  <a:lnTo>
                    <a:pt x="201682" y="218135"/>
                  </a:lnTo>
                  <a:lnTo>
                    <a:pt x="198423" y="218135"/>
                  </a:lnTo>
                  <a:cubicBezTo>
                    <a:pt x="198423" y="218135"/>
                    <a:pt x="194676" y="222860"/>
                    <a:pt x="194676" y="222860"/>
                  </a:cubicBezTo>
                  <a:lnTo>
                    <a:pt x="195491" y="231168"/>
                  </a:lnTo>
                  <a:lnTo>
                    <a:pt x="190441" y="239639"/>
                  </a:lnTo>
                  <a:lnTo>
                    <a:pt x="187182" y="239639"/>
                  </a:lnTo>
                  <a:cubicBezTo>
                    <a:pt x="187182" y="239639"/>
                    <a:pt x="181969" y="244527"/>
                    <a:pt x="181969" y="244527"/>
                  </a:cubicBezTo>
                  <a:lnTo>
                    <a:pt x="179200" y="241106"/>
                  </a:lnTo>
                  <a:lnTo>
                    <a:pt x="178385" y="245504"/>
                  </a:lnTo>
                  <a:lnTo>
                    <a:pt x="180341" y="250228"/>
                  </a:lnTo>
                  <a:lnTo>
                    <a:pt x="174150" y="253650"/>
                  </a:lnTo>
                  <a:lnTo>
                    <a:pt x="171543" y="258863"/>
                  </a:lnTo>
                  <a:lnTo>
                    <a:pt x="168448" y="258863"/>
                  </a:lnTo>
                  <a:cubicBezTo>
                    <a:pt x="168448" y="258863"/>
                    <a:pt x="167796" y="254953"/>
                    <a:pt x="167796" y="254953"/>
                  </a:cubicBezTo>
                  <a:lnTo>
                    <a:pt x="163887" y="254953"/>
                  </a:lnTo>
                  <a:lnTo>
                    <a:pt x="161606" y="260166"/>
                  </a:lnTo>
                  <a:lnTo>
                    <a:pt x="161606" y="266031"/>
                  </a:lnTo>
                  <a:lnTo>
                    <a:pt x="158185" y="269126"/>
                  </a:lnTo>
                  <a:lnTo>
                    <a:pt x="156067" y="265868"/>
                  </a:lnTo>
                  <a:lnTo>
                    <a:pt x="153949" y="265868"/>
                  </a:lnTo>
                  <a:lnTo>
                    <a:pt x="152646" y="271244"/>
                  </a:lnTo>
                  <a:lnTo>
                    <a:pt x="150365" y="271895"/>
                  </a:lnTo>
                  <a:lnTo>
                    <a:pt x="148247" y="269126"/>
                  </a:lnTo>
                  <a:lnTo>
                    <a:pt x="144826" y="272547"/>
                  </a:lnTo>
                  <a:lnTo>
                    <a:pt x="143360" y="276783"/>
                  </a:lnTo>
                  <a:lnTo>
                    <a:pt x="146781" y="277597"/>
                  </a:lnTo>
                  <a:lnTo>
                    <a:pt x="146455" y="280530"/>
                  </a:lnTo>
                  <a:lnTo>
                    <a:pt x="139450" y="286557"/>
                  </a:lnTo>
                  <a:lnTo>
                    <a:pt x="135052" y="285417"/>
                  </a:lnTo>
                  <a:lnTo>
                    <a:pt x="133748" y="288186"/>
                  </a:lnTo>
                  <a:lnTo>
                    <a:pt x="135866" y="292585"/>
                  </a:lnTo>
                  <a:lnTo>
                    <a:pt x="131793" y="298775"/>
                  </a:lnTo>
                  <a:lnTo>
                    <a:pt x="124462" y="300079"/>
                  </a:lnTo>
                  <a:lnTo>
                    <a:pt x="120390" y="298613"/>
                  </a:lnTo>
                  <a:lnTo>
                    <a:pt x="126255" y="306106"/>
                  </a:lnTo>
                  <a:lnTo>
                    <a:pt x="126906" y="312460"/>
                  </a:lnTo>
                  <a:lnTo>
                    <a:pt x="125603" y="314415"/>
                  </a:lnTo>
                  <a:lnTo>
                    <a:pt x="126580" y="320279"/>
                  </a:lnTo>
                  <a:lnTo>
                    <a:pt x="125277" y="327773"/>
                  </a:lnTo>
                  <a:lnTo>
                    <a:pt x="129187" y="331846"/>
                  </a:lnTo>
                  <a:lnTo>
                    <a:pt x="128535" y="336896"/>
                  </a:lnTo>
                  <a:lnTo>
                    <a:pt x="125277" y="333964"/>
                  </a:lnTo>
                  <a:lnTo>
                    <a:pt x="124137" y="335593"/>
                  </a:lnTo>
                  <a:lnTo>
                    <a:pt x="125603" y="343087"/>
                  </a:lnTo>
                  <a:lnTo>
                    <a:pt x="121693" y="347974"/>
                  </a:lnTo>
                  <a:lnTo>
                    <a:pt x="125603" y="349603"/>
                  </a:lnTo>
                  <a:lnTo>
                    <a:pt x="125603" y="352698"/>
                  </a:lnTo>
                  <a:lnTo>
                    <a:pt x="123322" y="354002"/>
                  </a:lnTo>
                  <a:lnTo>
                    <a:pt x="126092" y="359540"/>
                  </a:lnTo>
                  <a:lnTo>
                    <a:pt x="122671" y="363939"/>
                  </a:lnTo>
                  <a:lnTo>
                    <a:pt x="125603" y="367034"/>
                  </a:lnTo>
                  <a:lnTo>
                    <a:pt x="128046" y="370944"/>
                  </a:lnTo>
                  <a:lnTo>
                    <a:pt x="131468" y="371759"/>
                  </a:lnTo>
                  <a:lnTo>
                    <a:pt x="131468" y="376646"/>
                  </a:lnTo>
                  <a:lnTo>
                    <a:pt x="133911" y="375180"/>
                  </a:lnTo>
                  <a:lnTo>
                    <a:pt x="136681" y="379741"/>
                  </a:lnTo>
                  <a:lnTo>
                    <a:pt x="141079" y="374365"/>
                  </a:lnTo>
                  <a:lnTo>
                    <a:pt x="144500" y="377298"/>
                  </a:lnTo>
                  <a:lnTo>
                    <a:pt x="145641" y="381696"/>
                  </a:lnTo>
                  <a:lnTo>
                    <a:pt x="154764" y="388701"/>
                  </a:lnTo>
                  <a:lnTo>
                    <a:pt x="153460" y="391634"/>
                  </a:lnTo>
                  <a:lnTo>
                    <a:pt x="160954" y="396032"/>
                  </a:lnTo>
                  <a:lnTo>
                    <a:pt x="160954" y="399942"/>
                  </a:lnTo>
                  <a:lnTo>
                    <a:pt x="166004" y="404829"/>
                  </a:lnTo>
                  <a:lnTo>
                    <a:pt x="162746" y="412486"/>
                  </a:lnTo>
                  <a:lnTo>
                    <a:pt x="156393" y="419491"/>
                  </a:lnTo>
                  <a:lnTo>
                    <a:pt x="154601" y="424704"/>
                  </a:lnTo>
                  <a:lnTo>
                    <a:pt x="147596" y="426496"/>
                  </a:lnTo>
                  <a:lnTo>
                    <a:pt x="143360" y="424215"/>
                  </a:lnTo>
                  <a:lnTo>
                    <a:pt x="144012" y="420957"/>
                  </a:lnTo>
                  <a:lnTo>
                    <a:pt x="138147" y="418839"/>
                  </a:lnTo>
                  <a:lnTo>
                    <a:pt x="135703" y="416396"/>
                  </a:lnTo>
                  <a:lnTo>
                    <a:pt x="135703" y="419491"/>
                  </a:lnTo>
                  <a:cubicBezTo>
                    <a:pt x="135703" y="419491"/>
                    <a:pt x="132445" y="419654"/>
                    <a:pt x="132445" y="419654"/>
                  </a:cubicBezTo>
                  <a:lnTo>
                    <a:pt x="130327" y="417373"/>
                  </a:lnTo>
                  <a:lnTo>
                    <a:pt x="125929" y="416396"/>
                  </a:lnTo>
                  <a:lnTo>
                    <a:pt x="124137" y="419654"/>
                  </a:lnTo>
                  <a:lnTo>
                    <a:pt x="120227" y="420794"/>
                  </a:lnTo>
                  <a:lnTo>
                    <a:pt x="118109" y="418676"/>
                  </a:lnTo>
                  <a:lnTo>
                    <a:pt x="114362" y="423564"/>
                  </a:lnTo>
                  <a:lnTo>
                    <a:pt x="110127" y="421446"/>
                  </a:lnTo>
                  <a:lnTo>
                    <a:pt x="106543" y="422912"/>
                  </a:lnTo>
                  <a:lnTo>
                    <a:pt x="106543" y="424867"/>
                  </a:lnTo>
                  <a:cubicBezTo>
                    <a:pt x="106543" y="424867"/>
                    <a:pt x="114525" y="425682"/>
                    <a:pt x="114525" y="425682"/>
                  </a:cubicBezTo>
                  <a:lnTo>
                    <a:pt x="116480" y="427148"/>
                  </a:lnTo>
                  <a:lnTo>
                    <a:pt x="117132" y="424704"/>
                  </a:lnTo>
                  <a:lnTo>
                    <a:pt x="123974" y="424704"/>
                  </a:lnTo>
                  <a:cubicBezTo>
                    <a:pt x="123974" y="424704"/>
                    <a:pt x="127232" y="426659"/>
                    <a:pt x="127232" y="426659"/>
                  </a:cubicBezTo>
                  <a:lnTo>
                    <a:pt x="132608" y="427637"/>
                  </a:lnTo>
                  <a:lnTo>
                    <a:pt x="135866" y="432035"/>
                  </a:lnTo>
                  <a:lnTo>
                    <a:pt x="139939" y="429754"/>
                  </a:lnTo>
                  <a:lnTo>
                    <a:pt x="142546" y="430895"/>
                  </a:lnTo>
                  <a:lnTo>
                    <a:pt x="146944" y="428451"/>
                  </a:lnTo>
                  <a:lnTo>
                    <a:pt x="153135" y="430243"/>
                  </a:lnTo>
                  <a:lnTo>
                    <a:pt x="156230" y="433013"/>
                  </a:lnTo>
                  <a:lnTo>
                    <a:pt x="156882" y="437900"/>
                  </a:lnTo>
                  <a:lnTo>
                    <a:pt x="153460" y="440832"/>
                  </a:lnTo>
                  <a:lnTo>
                    <a:pt x="150039" y="440832"/>
                  </a:lnTo>
                  <a:lnTo>
                    <a:pt x="145641" y="447674"/>
                  </a:lnTo>
                  <a:lnTo>
                    <a:pt x="142709" y="447674"/>
                  </a:lnTo>
                  <a:cubicBezTo>
                    <a:pt x="142709" y="447674"/>
                    <a:pt x="143686" y="442787"/>
                    <a:pt x="143686" y="442787"/>
                  </a:cubicBezTo>
                  <a:lnTo>
                    <a:pt x="141894" y="440506"/>
                  </a:lnTo>
                  <a:lnTo>
                    <a:pt x="139939" y="443276"/>
                  </a:lnTo>
                  <a:lnTo>
                    <a:pt x="140753" y="446534"/>
                  </a:lnTo>
                  <a:lnTo>
                    <a:pt x="137332" y="446860"/>
                  </a:lnTo>
                  <a:lnTo>
                    <a:pt x="133911" y="450770"/>
                  </a:lnTo>
                  <a:lnTo>
                    <a:pt x="133260" y="455983"/>
                  </a:lnTo>
                  <a:lnTo>
                    <a:pt x="129024" y="452725"/>
                  </a:lnTo>
                  <a:lnTo>
                    <a:pt x="129024" y="455983"/>
                  </a:lnTo>
                  <a:cubicBezTo>
                    <a:pt x="129024" y="455983"/>
                    <a:pt x="126255" y="458752"/>
                    <a:pt x="126255" y="458752"/>
                  </a:cubicBezTo>
                  <a:lnTo>
                    <a:pt x="125440" y="457612"/>
                  </a:lnTo>
                  <a:lnTo>
                    <a:pt x="122671" y="457612"/>
                  </a:lnTo>
                  <a:lnTo>
                    <a:pt x="119738" y="461033"/>
                  </a:lnTo>
                  <a:lnTo>
                    <a:pt x="123974" y="461684"/>
                  </a:lnTo>
                  <a:lnTo>
                    <a:pt x="129024" y="466898"/>
                  </a:lnTo>
                  <a:lnTo>
                    <a:pt x="119575" y="467223"/>
                  </a:lnTo>
                  <a:lnTo>
                    <a:pt x="127069" y="469993"/>
                  </a:lnTo>
                  <a:lnTo>
                    <a:pt x="127395" y="473088"/>
                  </a:lnTo>
                  <a:lnTo>
                    <a:pt x="124625" y="478953"/>
                  </a:lnTo>
                  <a:lnTo>
                    <a:pt x="130002" y="484003"/>
                  </a:lnTo>
                  <a:lnTo>
                    <a:pt x="123974" y="485143"/>
                  </a:lnTo>
                  <a:lnTo>
                    <a:pt x="118435" y="483026"/>
                  </a:lnTo>
                  <a:lnTo>
                    <a:pt x="121530" y="487913"/>
                  </a:lnTo>
                  <a:lnTo>
                    <a:pt x="119087" y="492311"/>
                  </a:lnTo>
                  <a:lnTo>
                    <a:pt x="124625" y="495733"/>
                  </a:lnTo>
                  <a:lnTo>
                    <a:pt x="120227" y="499805"/>
                  </a:lnTo>
                  <a:lnTo>
                    <a:pt x="124300" y="505018"/>
                  </a:lnTo>
                  <a:lnTo>
                    <a:pt x="120064" y="509906"/>
                  </a:lnTo>
                  <a:lnTo>
                    <a:pt x="119412" y="515119"/>
                  </a:lnTo>
                  <a:lnTo>
                    <a:pt x="123811" y="519029"/>
                  </a:lnTo>
                  <a:lnTo>
                    <a:pt x="121530" y="523101"/>
                  </a:lnTo>
                  <a:lnTo>
                    <a:pt x="120553" y="535645"/>
                  </a:lnTo>
                  <a:lnTo>
                    <a:pt x="116480" y="539881"/>
                  </a:lnTo>
                  <a:lnTo>
                    <a:pt x="114688" y="549981"/>
                  </a:lnTo>
                  <a:lnTo>
                    <a:pt x="109149" y="556661"/>
                  </a:lnTo>
                  <a:lnTo>
                    <a:pt x="106380" y="553239"/>
                  </a:lnTo>
                  <a:lnTo>
                    <a:pt x="101655" y="551122"/>
                  </a:lnTo>
                  <a:lnTo>
                    <a:pt x="96116" y="554217"/>
                  </a:lnTo>
                  <a:lnTo>
                    <a:pt x="86830" y="552751"/>
                  </a:lnTo>
                  <a:lnTo>
                    <a:pt x="85527" y="549004"/>
                  </a:lnTo>
                  <a:lnTo>
                    <a:pt x="83735" y="557149"/>
                  </a:lnTo>
                  <a:lnTo>
                    <a:pt x="75753" y="558127"/>
                  </a:lnTo>
                  <a:lnTo>
                    <a:pt x="72332" y="566435"/>
                  </a:lnTo>
                  <a:lnTo>
                    <a:pt x="75264" y="568879"/>
                  </a:lnTo>
                  <a:lnTo>
                    <a:pt x="75590" y="572951"/>
                  </a:lnTo>
                  <a:lnTo>
                    <a:pt x="70539" y="577513"/>
                  </a:lnTo>
                  <a:lnTo>
                    <a:pt x="64186" y="575232"/>
                  </a:lnTo>
                  <a:lnTo>
                    <a:pt x="51153" y="578653"/>
                  </a:lnTo>
                  <a:lnTo>
                    <a:pt x="46103" y="578653"/>
                  </a:lnTo>
                  <a:lnTo>
                    <a:pt x="43334" y="576210"/>
                  </a:lnTo>
                  <a:lnTo>
                    <a:pt x="46266" y="571485"/>
                  </a:lnTo>
                  <a:lnTo>
                    <a:pt x="43985" y="559430"/>
                  </a:lnTo>
                  <a:lnTo>
                    <a:pt x="38772" y="557801"/>
                  </a:lnTo>
                  <a:lnTo>
                    <a:pt x="37958" y="553239"/>
                  </a:lnTo>
                  <a:lnTo>
                    <a:pt x="34537" y="551122"/>
                  </a:lnTo>
                  <a:lnTo>
                    <a:pt x="35514" y="548352"/>
                  </a:lnTo>
                  <a:lnTo>
                    <a:pt x="41868" y="547538"/>
                  </a:lnTo>
                  <a:lnTo>
                    <a:pt x="45614" y="540533"/>
                  </a:lnTo>
                  <a:lnTo>
                    <a:pt x="44148" y="534342"/>
                  </a:lnTo>
                  <a:lnTo>
                    <a:pt x="38772" y="537437"/>
                  </a:lnTo>
                  <a:lnTo>
                    <a:pt x="33885" y="532550"/>
                  </a:lnTo>
                  <a:lnTo>
                    <a:pt x="32582" y="527663"/>
                  </a:lnTo>
                  <a:lnTo>
                    <a:pt x="27369" y="525545"/>
                  </a:lnTo>
                  <a:lnTo>
                    <a:pt x="26717" y="518377"/>
                  </a:lnTo>
                  <a:lnTo>
                    <a:pt x="22155" y="508928"/>
                  </a:lnTo>
                  <a:lnTo>
                    <a:pt x="19875" y="506973"/>
                  </a:lnTo>
                  <a:lnTo>
                    <a:pt x="17268" y="500294"/>
                  </a:lnTo>
                  <a:lnTo>
                    <a:pt x="13033" y="499317"/>
                  </a:lnTo>
                  <a:lnTo>
                    <a:pt x="10100" y="495244"/>
                  </a:lnTo>
                  <a:lnTo>
                    <a:pt x="12381" y="492800"/>
                  </a:lnTo>
                  <a:lnTo>
                    <a:pt x="13033" y="487261"/>
                  </a:lnTo>
                  <a:lnTo>
                    <a:pt x="11403" y="483351"/>
                  </a:lnTo>
                  <a:lnTo>
                    <a:pt x="12218" y="479279"/>
                  </a:lnTo>
                  <a:lnTo>
                    <a:pt x="17268" y="475043"/>
                  </a:lnTo>
                  <a:lnTo>
                    <a:pt x="15965" y="472274"/>
                  </a:lnTo>
                  <a:lnTo>
                    <a:pt x="11729" y="469830"/>
                  </a:lnTo>
                  <a:lnTo>
                    <a:pt x="12870" y="467386"/>
                  </a:lnTo>
                  <a:lnTo>
                    <a:pt x="10426" y="467386"/>
                  </a:lnTo>
                  <a:cubicBezTo>
                    <a:pt x="10426" y="467386"/>
                    <a:pt x="9775" y="471296"/>
                    <a:pt x="9775" y="471296"/>
                  </a:cubicBezTo>
                  <a:lnTo>
                    <a:pt x="13196" y="475043"/>
                  </a:lnTo>
                  <a:lnTo>
                    <a:pt x="7657" y="477487"/>
                  </a:lnTo>
                  <a:lnTo>
                    <a:pt x="8471" y="472111"/>
                  </a:lnTo>
                  <a:lnTo>
                    <a:pt x="7168" y="470156"/>
                  </a:lnTo>
                  <a:lnTo>
                    <a:pt x="3421" y="468201"/>
                  </a:lnTo>
                  <a:lnTo>
                    <a:pt x="2932" y="459893"/>
                  </a:lnTo>
                  <a:lnTo>
                    <a:pt x="977" y="456960"/>
                  </a:lnTo>
                  <a:lnTo>
                    <a:pt x="0" y="446045"/>
                  </a:lnTo>
                  <a:lnTo>
                    <a:pt x="3910" y="443764"/>
                  </a:lnTo>
                  <a:lnTo>
                    <a:pt x="4398" y="443276"/>
                  </a:lnTo>
                  <a:lnTo>
                    <a:pt x="4398" y="443276"/>
                  </a:lnTo>
                  <a:close/>
                  <a:moveTo>
                    <a:pt x="154927" y="426659"/>
                  </a:moveTo>
                  <a:lnTo>
                    <a:pt x="158673" y="432687"/>
                  </a:lnTo>
                  <a:lnTo>
                    <a:pt x="160628" y="434316"/>
                  </a:lnTo>
                  <a:lnTo>
                    <a:pt x="160628" y="427962"/>
                  </a:lnTo>
                  <a:cubicBezTo>
                    <a:pt x="160628" y="427962"/>
                    <a:pt x="165678" y="423564"/>
                    <a:pt x="165678" y="423564"/>
                  </a:cubicBezTo>
                  <a:lnTo>
                    <a:pt x="165678" y="419328"/>
                  </a:lnTo>
                  <a:cubicBezTo>
                    <a:pt x="165678" y="419328"/>
                    <a:pt x="159651" y="419328"/>
                    <a:pt x="159651" y="419328"/>
                  </a:cubicBezTo>
                  <a:lnTo>
                    <a:pt x="154764" y="426496"/>
                  </a:lnTo>
                  <a:lnTo>
                    <a:pt x="154764" y="426496"/>
                  </a:lnTo>
                  <a:close/>
                  <a:moveTo>
                    <a:pt x="7494" y="478138"/>
                  </a:moveTo>
                  <a:lnTo>
                    <a:pt x="7168" y="481722"/>
                  </a:lnTo>
                  <a:lnTo>
                    <a:pt x="9775" y="481722"/>
                  </a:lnTo>
                  <a:cubicBezTo>
                    <a:pt x="9775" y="481722"/>
                    <a:pt x="10752" y="477324"/>
                    <a:pt x="10752" y="477324"/>
                  </a:cubicBezTo>
                  <a:lnTo>
                    <a:pt x="7494" y="478138"/>
                  </a:lnTo>
                  <a:lnTo>
                    <a:pt x="7494" y="478138"/>
                  </a:lnTo>
                  <a:close/>
                  <a:moveTo>
                    <a:pt x="177245" y="462010"/>
                  </a:moveTo>
                  <a:lnTo>
                    <a:pt x="179363" y="466246"/>
                  </a:lnTo>
                  <a:lnTo>
                    <a:pt x="181969" y="462988"/>
                  </a:lnTo>
                  <a:lnTo>
                    <a:pt x="179363" y="460707"/>
                  </a:lnTo>
                  <a:lnTo>
                    <a:pt x="177245" y="462010"/>
                  </a:lnTo>
                  <a:lnTo>
                    <a:pt x="177245" y="462010"/>
                  </a:lnTo>
                  <a:close/>
                  <a:moveTo>
                    <a:pt x="179200" y="485795"/>
                  </a:moveTo>
                  <a:lnTo>
                    <a:pt x="180992" y="488239"/>
                  </a:lnTo>
                  <a:lnTo>
                    <a:pt x="183762" y="485632"/>
                  </a:lnTo>
                  <a:lnTo>
                    <a:pt x="188323" y="484329"/>
                  </a:lnTo>
                  <a:lnTo>
                    <a:pt x="187182" y="482537"/>
                  </a:lnTo>
                  <a:lnTo>
                    <a:pt x="181969" y="482537"/>
                  </a:lnTo>
                  <a:cubicBezTo>
                    <a:pt x="181969" y="482537"/>
                    <a:pt x="179200" y="485795"/>
                    <a:pt x="179200" y="485795"/>
                  </a:cubicBezTo>
                  <a:lnTo>
                    <a:pt x="179200" y="485795"/>
                  </a:lnTo>
                  <a:close/>
                  <a:moveTo>
                    <a:pt x="161606" y="525219"/>
                  </a:moveTo>
                  <a:lnTo>
                    <a:pt x="167471" y="523590"/>
                  </a:lnTo>
                  <a:lnTo>
                    <a:pt x="168611" y="520495"/>
                  </a:lnTo>
                  <a:lnTo>
                    <a:pt x="166819" y="519191"/>
                  </a:lnTo>
                  <a:lnTo>
                    <a:pt x="167796" y="516096"/>
                  </a:lnTo>
                  <a:lnTo>
                    <a:pt x="173661" y="511535"/>
                  </a:lnTo>
                  <a:lnTo>
                    <a:pt x="174313" y="508276"/>
                  </a:lnTo>
                  <a:lnTo>
                    <a:pt x="178060" y="503878"/>
                  </a:lnTo>
                  <a:lnTo>
                    <a:pt x="177571" y="501597"/>
                  </a:lnTo>
                  <a:lnTo>
                    <a:pt x="173987" y="498339"/>
                  </a:lnTo>
                  <a:lnTo>
                    <a:pt x="175942" y="493941"/>
                  </a:lnTo>
                  <a:lnTo>
                    <a:pt x="176430" y="491008"/>
                  </a:lnTo>
                  <a:lnTo>
                    <a:pt x="178548" y="489053"/>
                  </a:lnTo>
                  <a:lnTo>
                    <a:pt x="175616" y="487424"/>
                  </a:lnTo>
                  <a:lnTo>
                    <a:pt x="172846" y="489053"/>
                  </a:lnTo>
                  <a:lnTo>
                    <a:pt x="167471" y="489053"/>
                  </a:lnTo>
                  <a:cubicBezTo>
                    <a:pt x="167471" y="489053"/>
                    <a:pt x="164050" y="493289"/>
                    <a:pt x="164050" y="493289"/>
                  </a:cubicBezTo>
                  <a:lnTo>
                    <a:pt x="161606" y="497850"/>
                  </a:lnTo>
                  <a:lnTo>
                    <a:pt x="158185" y="501434"/>
                  </a:lnTo>
                  <a:lnTo>
                    <a:pt x="159814" y="507299"/>
                  </a:lnTo>
                  <a:lnTo>
                    <a:pt x="158022" y="508439"/>
                  </a:lnTo>
                  <a:lnTo>
                    <a:pt x="163072" y="515770"/>
                  </a:lnTo>
                  <a:lnTo>
                    <a:pt x="165027" y="514956"/>
                  </a:lnTo>
                  <a:lnTo>
                    <a:pt x="163887" y="519191"/>
                  </a:lnTo>
                  <a:lnTo>
                    <a:pt x="160954" y="522938"/>
                  </a:lnTo>
                  <a:lnTo>
                    <a:pt x="161443" y="525219"/>
                  </a:lnTo>
                  <a:lnTo>
                    <a:pt x="161443" y="525219"/>
                  </a:lnTo>
                  <a:close/>
                  <a:moveTo>
                    <a:pt x="123485" y="540533"/>
                  </a:moveTo>
                  <a:lnTo>
                    <a:pt x="124137" y="545257"/>
                  </a:lnTo>
                  <a:lnTo>
                    <a:pt x="124137" y="548678"/>
                  </a:lnTo>
                  <a:lnTo>
                    <a:pt x="125766" y="550307"/>
                  </a:lnTo>
                  <a:lnTo>
                    <a:pt x="127558" y="545909"/>
                  </a:lnTo>
                  <a:lnTo>
                    <a:pt x="130327" y="537763"/>
                  </a:lnTo>
                  <a:lnTo>
                    <a:pt x="131305" y="529292"/>
                  </a:lnTo>
                  <a:lnTo>
                    <a:pt x="133911" y="520658"/>
                  </a:lnTo>
                  <a:lnTo>
                    <a:pt x="134889" y="513164"/>
                  </a:lnTo>
                  <a:lnTo>
                    <a:pt x="132119" y="510231"/>
                  </a:lnTo>
                  <a:lnTo>
                    <a:pt x="129024" y="514956"/>
                  </a:lnTo>
                  <a:lnTo>
                    <a:pt x="129839" y="517237"/>
                  </a:lnTo>
                  <a:lnTo>
                    <a:pt x="128209" y="524730"/>
                  </a:lnTo>
                  <a:lnTo>
                    <a:pt x="125440" y="526522"/>
                  </a:lnTo>
                  <a:lnTo>
                    <a:pt x="123648" y="540370"/>
                  </a:lnTo>
                  <a:close/>
                </a:path>
              </a:pathLst>
            </a:custGeom>
            <a:solidFill>
              <a:schemeClr val="tx1"/>
            </a:solidFill>
            <a:ln w="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3" name="Forma livre: Forma 152">
              <a:extLst>
                <a:ext uri="{FF2B5EF4-FFF2-40B4-BE49-F238E27FC236}">
                  <a16:creationId xmlns:a16="http://schemas.microsoft.com/office/drawing/2014/main" id="{9B0CECB6-D4A4-FCF6-7121-2A32A9D5F901}"/>
                </a:ext>
              </a:extLst>
            </p:cNvPr>
            <p:cNvSpPr/>
            <p:nvPr/>
          </p:nvSpPr>
          <p:spPr>
            <a:xfrm>
              <a:off x="6405564" y="2660398"/>
              <a:ext cx="264647" cy="475927"/>
            </a:xfrm>
            <a:custGeom>
              <a:avLst/>
              <a:gdLst>
                <a:gd name="connsiteX0" fmla="*/ 202333 w 256093"/>
                <a:gd name="connsiteY0" fmla="*/ 425193 h 460544"/>
                <a:gd name="connsiteX1" fmla="*/ 201356 w 256093"/>
                <a:gd name="connsiteY1" fmla="*/ 417862 h 460544"/>
                <a:gd name="connsiteX2" fmla="*/ 213085 w 256093"/>
                <a:gd name="connsiteY2" fmla="*/ 406621 h 460544"/>
                <a:gd name="connsiteX3" fmla="*/ 219113 w 256093"/>
                <a:gd name="connsiteY3" fmla="*/ 403689 h 460544"/>
                <a:gd name="connsiteX4" fmla="*/ 225955 w 256093"/>
                <a:gd name="connsiteY4" fmla="*/ 391471 h 460544"/>
                <a:gd name="connsiteX5" fmla="*/ 233123 w 256093"/>
                <a:gd name="connsiteY5" fmla="*/ 380719 h 460544"/>
                <a:gd name="connsiteX6" fmla="*/ 238499 w 256093"/>
                <a:gd name="connsiteY6" fmla="*/ 368012 h 460544"/>
                <a:gd name="connsiteX7" fmla="*/ 248763 w 256093"/>
                <a:gd name="connsiteY7" fmla="*/ 350580 h 460544"/>
                <a:gd name="connsiteX8" fmla="*/ 256093 w 256093"/>
                <a:gd name="connsiteY8" fmla="*/ 332335 h 460544"/>
                <a:gd name="connsiteX9" fmla="*/ 254465 w 256093"/>
                <a:gd name="connsiteY9" fmla="*/ 324515 h 460544"/>
                <a:gd name="connsiteX10" fmla="*/ 243386 w 256093"/>
                <a:gd name="connsiteY10" fmla="*/ 311808 h 460544"/>
                <a:gd name="connsiteX11" fmla="*/ 236707 w 256093"/>
                <a:gd name="connsiteY11" fmla="*/ 309527 h 460544"/>
                <a:gd name="connsiteX12" fmla="*/ 224978 w 256093"/>
                <a:gd name="connsiteY12" fmla="*/ 292911 h 460544"/>
                <a:gd name="connsiteX13" fmla="*/ 226933 w 256093"/>
                <a:gd name="connsiteY13" fmla="*/ 285417 h 460544"/>
                <a:gd name="connsiteX14" fmla="*/ 231657 w 256093"/>
                <a:gd name="connsiteY14" fmla="*/ 278738 h 460544"/>
                <a:gd name="connsiteX15" fmla="*/ 231168 w 256093"/>
                <a:gd name="connsiteY15" fmla="*/ 271244 h 460544"/>
                <a:gd name="connsiteX16" fmla="*/ 223511 w 256093"/>
                <a:gd name="connsiteY16" fmla="*/ 265868 h 460544"/>
                <a:gd name="connsiteX17" fmla="*/ 220742 w 256093"/>
                <a:gd name="connsiteY17" fmla="*/ 260003 h 460544"/>
                <a:gd name="connsiteX18" fmla="*/ 220416 w 256093"/>
                <a:gd name="connsiteY18" fmla="*/ 250554 h 460544"/>
                <a:gd name="connsiteX19" fmla="*/ 222371 w 256093"/>
                <a:gd name="connsiteY19" fmla="*/ 248111 h 460544"/>
                <a:gd name="connsiteX20" fmla="*/ 220090 w 256093"/>
                <a:gd name="connsiteY20" fmla="*/ 243386 h 460544"/>
                <a:gd name="connsiteX21" fmla="*/ 213900 w 256093"/>
                <a:gd name="connsiteY21" fmla="*/ 242246 h 460544"/>
                <a:gd name="connsiteX22" fmla="*/ 210642 w 256093"/>
                <a:gd name="connsiteY22" fmla="*/ 238010 h 460544"/>
                <a:gd name="connsiteX23" fmla="*/ 210642 w 256093"/>
                <a:gd name="connsiteY23" fmla="*/ 229539 h 460544"/>
                <a:gd name="connsiteX24" fmla="*/ 214063 w 256093"/>
                <a:gd name="connsiteY24" fmla="*/ 224978 h 460544"/>
                <a:gd name="connsiteX25" fmla="*/ 209013 w 256093"/>
                <a:gd name="connsiteY25" fmla="*/ 223674 h 460544"/>
                <a:gd name="connsiteX26" fmla="*/ 209013 w 256093"/>
                <a:gd name="connsiteY26" fmla="*/ 219276 h 460544"/>
                <a:gd name="connsiteX27" fmla="*/ 209990 w 256093"/>
                <a:gd name="connsiteY27" fmla="*/ 202659 h 460544"/>
                <a:gd name="connsiteX28" fmla="*/ 214552 w 256093"/>
                <a:gd name="connsiteY28" fmla="*/ 201519 h 460544"/>
                <a:gd name="connsiteX29" fmla="*/ 203148 w 256093"/>
                <a:gd name="connsiteY29" fmla="*/ 174964 h 460544"/>
                <a:gd name="connsiteX30" fmla="*/ 192559 w 256093"/>
                <a:gd name="connsiteY30" fmla="*/ 155578 h 460544"/>
                <a:gd name="connsiteX31" fmla="*/ 190278 w 256093"/>
                <a:gd name="connsiteY31" fmla="*/ 148410 h 460544"/>
                <a:gd name="connsiteX32" fmla="*/ 184250 w 256093"/>
                <a:gd name="connsiteY32" fmla="*/ 141731 h 460544"/>
                <a:gd name="connsiteX33" fmla="*/ 188486 w 256093"/>
                <a:gd name="connsiteY33" fmla="*/ 129513 h 460544"/>
                <a:gd name="connsiteX34" fmla="*/ 193699 w 256093"/>
                <a:gd name="connsiteY34" fmla="*/ 121204 h 460544"/>
                <a:gd name="connsiteX35" fmla="*/ 196143 w 256093"/>
                <a:gd name="connsiteY35" fmla="*/ 113711 h 460544"/>
                <a:gd name="connsiteX36" fmla="*/ 193047 w 256093"/>
                <a:gd name="connsiteY36" fmla="*/ 110778 h 460544"/>
                <a:gd name="connsiteX37" fmla="*/ 181481 w 256093"/>
                <a:gd name="connsiteY37" fmla="*/ 103447 h 460544"/>
                <a:gd name="connsiteX38" fmla="*/ 179526 w 256093"/>
                <a:gd name="connsiteY38" fmla="*/ 98723 h 460544"/>
                <a:gd name="connsiteX39" fmla="*/ 175616 w 256093"/>
                <a:gd name="connsiteY39" fmla="*/ 92858 h 460544"/>
                <a:gd name="connsiteX40" fmla="*/ 168611 w 256093"/>
                <a:gd name="connsiteY40" fmla="*/ 88948 h 460544"/>
                <a:gd name="connsiteX41" fmla="*/ 165190 w 256093"/>
                <a:gd name="connsiteY41" fmla="*/ 88460 h 460544"/>
                <a:gd name="connsiteX42" fmla="*/ 160792 w 256093"/>
                <a:gd name="connsiteY42" fmla="*/ 76893 h 460544"/>
                <a:gd name="connsiteX43" fmla="*/ 157370 w 256093"/>
                <a:gd name="connsiteY43" fmla="*/ 72658 h 460544"/>
                <a:gd name="connsiteX44" fmla="*/ 159163 w 256093"/>
                <a:gd name="connsiteY44" fmla="*/ 64023 h 460544"/>
                <a:gd name="connsiteX45" fmla="*/ 160303 w 256093"/>
                <a:gd name="connsiteY45" fmla="*/ 57181 h 460544"/>
                <a:gd name="connsiteX46" fmla="*/ 156230 w 256093"/>
                <a:gd name="connsiteY46" fmla="*/ 55878 h 460544"/>
                <a:gd name="connsiteX47" fmla="*/ 160303 w 256093"/>
                <a:gd name="connsiteY47" fmla="*/ 52946 h 460544"/>
                <a:gd name="connsiteX48" fmla="*/ 166982 w 256093"/>
                <a:gd name="connsiteY48" fmla="*/ 50339 h 460544"/>
                <a:gd name="connsiteX49" fmla="*/ 166004 w 256093"/>
                <a:gd name="connsiteY49" fmla="*/ 39750 h 460544"/>
                <a:gd name="connsiteX50" fmla="*/ 170566 w 256093"/>
                <a:gd name="connsiteY50" fmla="*/ 32582 h 460544"/>
                <a:gd name="connsiteX51" fmla="*/ 171381 w 256093"/>
                <a:gd name="connsiteY51" fmla="*/ 27369 h 460544"/>
                <a:gd name="connsiteX52" fmla="*/ 166331 w 256093"/>
                <a:gd name="connsiteY52" fmla="*/ 21993 h 460544"/>
                <a:gd name="connsiteX53" fmla="*/ 164864 w 256093"/>
                <a:gd name="connsiteY53" fmla="*/ 17757 h 460544"/>
                <a:gd name="connsiteX54" fmla="*/ 156393 w 256093"/>
                <a:gd name="connsiteY54" fmla="*/ 16780 h 460544"/>
                <a:gd name="connsiteX55" fmla="*/ 150854 w 256093"/>
                <a:gd name="connsiteY55" fmla="*/ 14825 h 460544"/>
                <a:gd name="connsiteX56" fmla="*/ 147270 w 256093"/>
                <a:gd name="connsiteY56" fmla="*/ 11078 h 460544"/>
                <a:gd name="connsiteX57" fmla="*/ 141079 w 256093"/>
                <a:gd name="connsiteY57" fmla="*/ 3258 h 460544"/>
                <a:gd name="connsiteX58" fmla="*/ 136355 w 256093"/>
                <a:gd name="connsiteY58" fmla="*/ 0 h 460544"/>
                <a:gd name="connsiteX59" fmla="*/ 125440 w 256093"/>
                <a:gd name="connsiteY59" fmla="*/ 0 h 460544"/>
                <a:gd name="connsiteX60" fmla="*/ 121204 w 256093"/>
                <a:gd name="connsiteY60" fmla="*/ 4724 h 460544"/>
                <a:gd name="connsiteX61" fmla="*/ 121531 w 256093"/>
                <a:gd name="connsiteY61" fmla="*/ 7005 h 460544"/>
                <a:gd name="connsiteX62" fmla="*/ 117620 w 256093"/>
                <a:gd name="connsiteY62" fmla="*/ 7983 h 460544"/>
                <a:gd name="connsiteX63" fmla="*/ 110941 w 256093"/>
                <a:gd name="connsiteY63" fmla="*/ 6679 h 460544"/>
                <a:gd name="connsiteX64" fmla="*/ 105565 w 256093"/>
                <a:gd name="connsiteY64" fmla="*/ 9123 h 460544"/>
                <a:gd name="connsiteX65" fmla="*/ 105891 w 256093"/>
                <a:gd name="connsiteY65" fmla="*/ 12055 h 460544"/>
                <a:gd name="connsiteX66" fmla="*/ 101818 w 256093"/>
                <a:gd name="connsiteY66" fmla="*/ 17594 h 460544"/>
                <a:gd name="connsiteX67" fmla="*/ 98886 w 256093"/>
                <a:gd name="connsiteY67" fmla="*/ 19386 h 460544"/>
                <a:gd name="connsiteX68" fmla="*/ 101330 w 256093"/>
                <a:gd name="connsiteY68" fmla="*/ 23296 h 460544"/>
                <a:gd name="connsiteX69" fmla="*/ 99701 w 256093"/>
                <a:gd name="connsiteY69" fmla="*/ 27369 h 460544"/>
                <a:gd name="connsiteX70" fmla="*/ 98397 w 256093"/>
                <a:gd name="connsiteY70" fmla="*/ 40401 h 460544"/>
                <a:gd name="connsiteX71" fmla="*/ 100841 w 256093"/>
                <a:gd name="connsiteY71" fmla="*/ 48221 h 460544"/>
                <a:gd name="connsiteX72" fmla="*/ 102633 w 256093"/>
                <a:gd name="connsiteY72" fmla="*/ 52620 h 460544"/>
                <a:gd name="connsiteX73" fmla="*/ 100841 w 256093"/>
                <a:gd name="connsiteY73" fmla="*/ 55878 h 460544"/>
                <a:gd name="connsiteX74" fmla="*/ 96442 w 256093"/>
                <a:gd name="connsiteY74" fmla="*/ 58810 h 460544"/>
                <a:gd name="connsiteX75" fmla="*/ 92044 w 256093"/>
                <a:gd name="connsiteY75" fmla="*/ 58484 h 460544"/>
                <a:gd name="connsiteX76" fmla="*/ 87971 w 256093"/>
                <a:gd name="connsiteY76" fmla="*/ 62394 h 460544"/>
                <a:gd name="connsiteX77" fmla="*/ 84713 w 256093"/>
                <a:gd name="connsiteY77" fmla="*/ 64186 h 460544"/>
                <a:gd name="connsiteX78" fmla="*/ 81781 w 256093"/>
                <a:gd name="connsiteY78" fmla="*/ 69725 h 460544"/>
                <a:gd name="connsiteX79" fmla="*/ 76079 w 256093"/>
                <a:gd name="connsiteY79" fmla="*/ 68748 h 460544"/>
                <a:gd name="connsiteX80" fmla="*/ 67608 w 256093"/>
                <a:gd name="connsiteY80" fmla="*/ 62883 h 460544"/>
                <a:gd name="connsiteX81" fmla="*/ 62231 w 256093"/>
                <a:gd name="connsiteY81" fmla="*/ 62883 h 460544"/>
                <a:gd name="connsiteX82" fmla="*/ 58810 w 256093"/>
                <a:gd name="connsiteY82" fmla="*/ 66467 h 460544"/>
                <a:gd name="connsiteX83" fmla="*/ 52620 w 256093"/>
                <a:gd name="connsiteY83" fmla="*/ 72495 h 460544"/>
                <a:gd name="connsiteX84" fmla="*/ 40565 w 256093"/>
                <a:gd name="connsiteY84" fmla="*/ 72169 h 460544"/>
                <a:gd name="connsiteX85" fmla="*/ 33397 w 256093"/>
                <a:gd name="connsiteY85" fmla="*/ 69236 h 460544"/>
                <a:gd name="connsiteX86" fmla="*/ 29324 w 256093"/>
                <a:gd name="connsiteY86" fmla="*/ 63697 h 460544"/>
                <a:gd name="connsiteX87" fmla="*/ 27369 w 256093"/>
                <a:gd name="connsiteY87" fmla="*/ 58321 h 460544"/>
                <a:gd name="connsiteX88" fmla="*/ 16454 w 256093"/>
                <a:gd name="connsiteY88" fmla="*/ 49524 h 460544"/>
                <a:gd name="connsiteX89" fmla="*/ 12544 w 256093"/>
                <a:gd name="connsiteY89" fmla="*/ 43823 h 460544"/>
                <a:gd name="connsiteX90" fmla="*/ 7820 w 256093"/>
                <a:gd name="connsiteY90" fmla="*/ 43008 h 460544"/>
                <a:gd name="connsiteX91" fmla="*/ 4399 w 256093"/>
                <a:gd name="connsiteY91" fmla="*/ 45940 h 460544"/>
                <a:gd name="connsiteX92" fmla="*/ 3421 w 256093"/>
                <a:gd name="connsiteY92" fmla="*/ 50339 h 460544"/>
                <a:gd name="connsiteX93" fmla="*/ 4888 w 256093"/>
                <a:gd name="connsiteY93" fmla="*/ 54249 h 460544"/>
                <a:gd name="connsiteX94" fmla="*/ 3095 w 256093"/>
                <a:gd name="connsiteY94" fmla="*/ 55389 h 460544"/>
                <a:gd name="connsiteX95" fmla="*/ 977 w 256093"/>
                <a:gd name="connsiteY95" fmla="*/ 54412 h 460544"/>
                <a:gd name="connsiteX96" fmla="*/ 0 w 256093"/>
                <a:gd name="connsiteY96" fmla="*/ 55878 h 460544"/>
                <a:gd name="connsiteX97" fmla="*/ 4236 w 256093"/>
                <a:gd name="connsiteY97" fmla="*/ 60928 h 460544"/>
                <a:gd name="connsiteX98" fmla="*/ 10915 w 256093"/>
                <a:gd name="connsiteY98" fmla="*/ 64186 h 460544"/>
                <a:gd name="connsiteX99" fmla="*/ 19875 w 256093"/>
                <a:gd name="connsiteY99" fmla="*/ 74775 h 460544"/>
                <a:gd name="connsiteX100" fmla="*/ 26554 w 256093"/>
                <a:gd name="connsiteY100" fmla="*/ 79825 h 460544"/>
                <a:gd name="connsiteX101" fmla="*/ 36492 w 256093"/>
                <a:gd name="connsiteY101" fmla="*/ 80640 h 460544"/>
                <a:gd name="connsiteX102" fmla="*/ 40402 w 256093"/>
                <a:gd name="connsiteY102" fmla="*/ 83084 h 460544"/>
                <a:gd name="connsiteX103" fmla="*/ 43823 w 256093"/>
                <a:gd name="connsiteY103" fmla="*/ 84061 h 460544"/>
                <a:gd name="connsiteX104" fmla="*/ 48873 w 256093"/>
                <a:gd name="connsiteY104" fmla="*/ 89763 h 460544"/>
                <a:gd name="connsiteX105" fmla="*/ 50665 w 256093"/>
                <a:gd name="connsiteY105" fmla="*/ 94487 h 460544"/>
                <a:gd name="connsiteX106" fmla="*/ 52945 w 256093"/>
                <a:gd name="connsiteY106" fmla="*/ 94813 h 460544"/>
                <a:gd name="connsiteX107" fmla="*/ 54738 w 256093"/>
                <a:gd name="connsiteY107" fmla="*/ 94324 h 460544"/>
                <a:gd name="connsiteX108" fmla="*/ 59136 w 256093"/>
                <a:gd name="connsiteY108" fmla="*/ 100352 h 460544"/>
                <a:gd name="connsiteX109" fmla="*/ 62558 w 256093"/>
                <a:gd name="connsiteY109" fmla="*/ 100678 h 460544"/>
                <a:gd name="connsiteX110" fmla="*/ 65001 w 256093"/>
                <a:gd name="connsiteY110" fmla="*/ 104425 h 460544"/>
                <a:gd name="connsiteX111" fmla="*/ 63046 w 256093"/>
                <a:gd name="connsiteY111" fmla="*/ 108986 h 460544"/>
                <a:gd name="connsiteX112" fmla="*/ 64349 w 256093"/>
                <a:gd name="connsiteY112" fmla="*/ 116317 h 460544"/>
                <a:gd name="connsiteX113" fmla="*/ 62068 w 256093"/>
                <a:gd name="connsiteY113" fmla="*/ 122182 h 460544"/>
                <a:gd name="connsiteX114" fmla="*/ 62558 w 256093"/>
                <a:gd name="connsiteY114" fmla="*/ 127232 h 460544"/>
                <a:gd name="connsiteX115" fmla="*/ 69236 w 256093"/>
                <a:gd name="connsiteY115" fmla="*/ 127721 h 460544"/>
                <a:gd name="connsiteX116" fmla="*/ 70866 w 256093"/>
                <a:gd name="connsiteY116" fmla="*/ 133586 h 460544"/>
                <a:gd name="connsiteX117" fmla="*/ 68422 w 256093"/>
                <a:gd name="connsiteY117" fmla="*/ 137332 h 460544"/>
                <a:gd name="connsiteX118" fmla="*/ 69236 w 256093"/>
                <a:gd name="connsiteY118" fmla="*/ 144338 h 460544"/>
                <a:gd name="connsiteX119" fmla="*/ 72169 w 256093"/>
                <a:gd name="connsiteY119" fmla="*/ 148573 h 460544"/>
                <a:gd name="connsiteX120" fmla="*/ 73798 w 256093"/>
                <a:gd name="connsiteY120" fmla="*/ 157696 h 460544"/>
                <a:gd name="connsiteX121" fmla="*/ 72495 w 256093"/>
                <a:gd name="connsiteY121" fmla="*/ 161932 h 460544"/>
                <a:gd name="connsiteX122" fmla="*/ 73635 w 256093"/>
                <a:gd name="connsiteY122" fmla="*/ 165842 h 460544"/>
                <a:gd name="connsiteX123" fmla="*/ 73635 w 256093"/>
                <a:gd name="connsiteY123" fmla="*/ 175779 h 460544"/>
                <a:gd name="connsiteX124" fmla="*/ 72006 w 256093"/>
                <a:gd name="connsiteY124" fmla="*/ 179526 h 460544"/>
                <a:gd name="connsiteX125" fmla="*/ 74613 w 256093"/>
                <a:gd name="connsiteY125" fmla="*/ 186857 h 460544"/>
                <a:gd name="connsiteX126" fmla="*/ 79337 w 256093"/>
                <a:gd name="connsiteY126" fmla="*/ 188486 h 460544"/>
                <a:gd name="connsiteX127" fmla="*/ 83736 w 256093"/>
                <a:gd name="connsiteY127" fmla="*/ 197935 h 460544"/>
                <a:gd name="connsiteX128" fmla="*/ 86668 w 256093"/>
                <a:gd name="connsiteY128" fmla="*/ 201030 h 460544"/>
                <a:gd name="connsiteX129" fmla="*/ 86342 w 256093"/>
                <a:gd name="connsiteY129" fmla="*/ 206569 h 460544"/>
                <a:gd name="connsiteX130" fmla="*/ 88134 w 256093"/>
                <a:gd name="connsiteY130" fmla="*/ 208524 h 460544"/>
                <a:gd name="connsiteX131" fmla="*/ 93021 w 256093"/>
                <a:gd name="connsiteY131" fmla="*/ 208524 h 460544"/>
                <a:gd name="connsiteX132" fmla="*/ 97583 w 256093"/>
                <a:gd name="connsiteY132" fmla="*/ 213574 h 460544"/>
                <a:gd name="connsiteX133" fmla="*/ 107195 w 256093"/>
                <a:gd name="connsiteY133" fmla="*/ 213574 h 460544"/>
                <a:gd name="connsiteX134" fmla="*/ 113711 w 256093"/>
                <a:gd name="connsiteY134" fmla="*/ 219927 h 460544"/>
                <a:gd name="connsiteX135" fmla="*/ 109964 w 256093"/>
                <a:gd name="connsiteY135" fmla="*/ 221719 h 460544"/>
                <a:gd name="connsiteX136" fmla="*/ 112408 w 256093"/>
                <a:gd name="connsiteY136" fmla="*/ 225141 h 460544"/>
                <a:gd name="connsiteX137" fmla="*/ 112733 w 256093"/>
                <a:gd name="connsiteY137" fmla="*/ 232797 h 460544"/>
                <a:gd name="connsiteX138" fmla="*/ 110941 w 256093"/>
                <a:gd name="connsiteY138" fmla="*/ 234426 h 460544"/>
                <a:gd name="connsiteX139" fmla="*/ 118598 w 256093"/>
                <a:gd name="connsiteY139" fmla="*/ 241594 h 460544"/>
                <a:gd name="connsiteX140" fmla="*/ 113059 w 256093"/>
                <a:gd name="connsiteY140" fmla="*/ 240454 h 460544"/>
                <a:gd name="connsiteX141" fmla="*/ 110941 w 256093"/>
                <a:gd name="connsiteY141" fmla="*/ 241268 h 460544"/>
                <a:gd name="connsiteX142" fmla="*/ 117458 w 256093"/>
                <a:gd name="connsiteY142" fmla="*/ 246645 h 460544"/>
                <a:gd name="connsiteX143" fmla="*/ 117458 w 256093"/>
                <a:gd name="connsiteY143" fmla="*/ 249740 h 460544"/>
                <a:gd name="connsiteX144" fmla="*/ 109964 w 256093"/>
                <a:gd name="connsiteY144" fmla="*/ 245504 h 460544"/>
                <a:gd name="connsiteX145" fmla="*/ 103610 w 256093"/>
                <a:gd name="connsiteY145" fmla="*/ 245504 h 460544"/>
                <a:gd name="connsiteX146" fmla="*/ 96931 w 256093"/>
                <a:gd name="connsiteY146" fmla="*/ 250066 h 460544"/>
                <a:gd name="connsiteX147" fmla="*/ 96931 w 256093"/>
                <a:gd name="connsiteY147" fmla="*/ 254138 h 460544"/>
                <a:gd name="connsiteX148" fmla="*/ 92533 w 256093"/>
                <a:gd name="connsiteY148" fmla="*/ 259026 h 460544"/>
                <a:gd name="connsiteX149" fmla="*/ 92533 w 256093"/>
                <a:gd name="connsiteY149" fmla="*/ 262447 h 460544"/>
                <a:gd name="connsiteX150" fmla="*/ 90415 w 256093"/>
                <a:gd name="connsiteY150" fmla="*/ 264076 h 460544"/>
                <a:gd name="connsiteX151" fmla="*/ 82432 w 256093"/>
                <a:gd name="connsiteY151" fmla="*/ 272384 h 460544"/>
                <a:gd name="connsiteX152" fmla="*/ 81292 w 256093"/>
                <a:gd name="connsiteY152" fmla="*/ 280692 h 460544"/>
                <a:gd name="connsiteX153" fmla="*/ 79337 w 256093"/>
                <a:gd name="connsiteY153" fmla="*/ 281344 h 460544"/>
                <a:gd name="connsiteX154" fmla="*/ 78034 w 256093"/>
                <a:gd name="connsiteY154" fmla="*/ 278900 h 460544"/>
                <a:gd name="connsiteX155" fmla="*/ 75753 w 256093"/>
                <a:gd name="connsiteY155" fmla="*/ 279226 h 460544"/>
                <a:gd name="connsiteX156" fmla="*/ 77545 w 256093"/>
                <a:gd name="connsiteY156" fmla="*/ 284276 h 460544"/>
                <a:gd name="connsiteX157" fmla="*/ 76404 w 256093"/>
                <a:gd name="connsiteY157" fmla="*/ 288349 h 460544"/>
                <a:gd name="connsiteX158" fmla="*/ 71192 w 256093"/>
                <a:gd name="connsiteY158" fmla="*/ 289001 h 460544"/>
                <a:gd name="connsiteX159" fmla="*/ 68096 w 256093"/>
                <a:gd name="connsiteY159" fmla="*/ 293237 h 460544"/>
                <a:gd name="connsiteX160" fmla="*/ 69399 w 256093"/>
                <a:gd name="connsiteY160" fmla="*/ 299590 h 460544"/>
                <a:gd name="connsiteX161" fmla="*/ 72820 w 256093"/>
                <a:gd name="connsiteY161" fmla="*/ 302034 h 460544"/>
                <a:gd name="connsiteX162" fmla="*/ 66630 w 256093"/>
                <a:gd name="connsiteY162" fmla="*/ 300079 h 460544"/>
                <a:gd name="connsiteX163" fmla="*/ 64838 w 256093"/>
                <a:gd name="connsiteY163" fmla="*/ 297798 h 460544"/>
                <a:gd name="connsiteX164" fmla="*/ 61417 w 256093"/>
                <a:gd name="connsiteY164" fmla="*/ 299101 h 460544"/>
                <a:gd name="connsiteX165" fmla="*/ 59462 w 256093"/>
                <a:gd name="connsiteY165" fmla="*/ 304477 h 460544"/>
                <a:gd name="connsiteX166" fmla="*/ 60277 w 256093"/>
                <a:gd name="connsiteY166" fmla="*/ 306921 h 460544"/>
                <a:gd name="connsiteX167" fmla="*/ 56856 w 256093"/>
                <a:gd name="connsiteY167" fmla="*/ 305455 h 460544"/>
                <a:gd name="connsiteX168" fmla="*/ 55552 w 256093"/>
                <a:gd name="connsiteY168" fmla="*/ 307410 h 460544"/>
                <a:gd name="connsiteX169" fmla="*/ 58974 w 256093"/>
                <a:gd name="connsiteY169" fmla="*/ 310831 h 460544"/>
                <a:gd name="connsiteX170" fmla="*/ 58974 w 256093"/>
                <a:gd name="connsiteY170" fmla="*/ 313274 h 460544"/>
                <a:gd name="connsiteX171" fmla="*/ 56041 w 256093"/>
                <a:gd name="connsiteY171" fmla="*/ 316533 h 460544"/>
                <a:gd name="connsiteX172" fmla="*/ 54575 w 256093"/>
                <a:gd name="connsiteY172" fmla="*/ 319465 h 460544"/>
                <a:gd name="connsiteX173" fmla="*/ 50013 w 256093"/>
                <a:gd name="connsiteY173" fmla="*/ 322397 h 460544"/>
                <a:gd name="connsiteX174" fmla="*/ 47570 w 256093"/>
                <a:gd name="connsiteY174" fmla="*/ 320605 h 460544"/>
                <a:gd name="connsiteX175" fmla="*/ 46918 w 256093"/>
                <a:gd name="connsiteY175" fmla="*/ 318813 h 460544"/>
                <a:gd name="connsiteX176" fmla="*/ 43497 w 256093"/>
                <a:gd name="connsiteY176" fmla="*/ 317673 h 460544"/>
                <a:gd name="connsiteX177" fmla="*/ 40076 w 256093"/>
                <a:gd name="connsiteY177" fmla="*/ 318976 h 460544"/>
                <a:gd name="connsiteX178" fmla="*/ 41379 w 256093"/>
                <a:gd name="connsiteY178" fmla="*/ 323538 h 460544"/>
                <a:gd name="connsiteX179" fmla="*/ 38447 w 256093"/>
                <a:gd name="connsiteY179" fmla="*/ 325981 h 460544"/>
                <a:gd name="connsiteX180" fmla="*/ 40402 w 256093"/>
                <a:gd name="connsiteY180" fmla="*/ 330869 h 460544"/>
                <a:gd name="connsiteX181" fmla="*/ 38447 w 256093"/>
                <a:gd name="connsiteY181" fmla="*/ 335593 h 460544"/>
                <a:gd name="connsiteX182" fmla="*/ 36003 w 256093"/>
                <a:gd name="connsiteY182" fmla="*/ 336245 h 460544"/>
                <a:gd name="connsiteX183" fmla="*/ 33559 w 256093"/>
                <a:gd name="connsiteY183" fmla="*/ 340480 h 460544"/>
                <a:gd name="connsiteX184" fmla="*/ 35515 w 256093"/>
                <a:gd name="connsiteY184" fmla="*/ 345530 h 460544"/>
                <a:gd name="connsiteX185" fmla="*/ 36818 w 256093"/>
                <a:gd name="connsiteY185" fmla="*/ 346508 h 460544"/>
                <a:gd name="connsiteX186" fmla="*/ 35352 w 256093"/>
                <a:gd name="connsiteY186" fmla="*/ 351558 h 460544"/>
                <a:gd name="connsiteX187" fmla="*/ 36329 w 256093"/>
                <a:gd name="connsiteY187" fmla="*/ 354979 h 460544"/>
                <a:gd name="connsiteX188" fmla="*/ 39587 w 256093"/>
                <a:gd name="connsiteY188" fmla="*/ 353513 h 460544"/>
                <a:gd name="connsiteX189" fmla="*/ 42356 w 256093"/>
                <a:gd name="connsiteY189" fmla="*/ 356445 h 460544"/>
                <a:gd name="connsiteX190" fmla="*/ 41542 w 256093"/>
                <a:gd name="connsiteY190" fmla="*/ 361984 h 460544"/>
                <a:gd name="connsiteX191" fmla="*/ 40239 w 256093"/>
                <a:gd name="connsiteY191" fmla="*/ 364754 h 460544"/>
                <a:gd name="connsiteX192" fmla="*/ 42031 w 256093"/>
                <a:gd name="connsiteY192" fmla="*/ 369641 h 460544"/>
                <a:gd name="connsiteX193" fmla="*/ 40890 w 256093"/>
                <a:gd name="connsiteY193" fmla="*/ 371922 h 460544"/>
                <a:gd name="connsiteX194" fmla="*/ 45941 w 256093"/>
                <a:gd name="connsiteY194" fmla="*/ 380067 h 460544"/>
                <a:gd name="connsiteX195" fmla="*/ 48384 w 256093"/>
                <a:gd name="connsiteY195" fmla="*/ 382185 h 460544"/>
                <a:gd name="connsiteX196" fmla="*/ 46592 w 256093"/>
                <a:gd name="connsiteY196" fmla="*/ 385280 h 460544"/>
                <a:gd name="connsiteX197" fmla="*/ 50502 w 256093"/>
                <a:gd name="connsiteY197" fmla="*/ 391308 h 460544"/>
                <a:gd name="connsiteX198" fmla="*/ 46755 w 256093"/>
                <a:gd name="connsiteY198" fmla="*/ 392937 h 460544"/>
                <a:gd name="connsiteX199" fmla="*/ 47570 w 256093"/>
                <a:gd name="connsiteY199" fmla="*/ 400919 h 460544"/>
                <a:gd name="connsiteX200" fmla="*/ 45777 w 256093"/>
                <a:gd name="connsiteY200" fmla="*/ 404015 h 460544"/>
                <a:gd name="connsiteX201" fmla="*/ 45777 w 256093"/>
                <a:gd name="connsiteY201" fmla="*/ 414441 h 460544"/>
                <a:gd name="connsiteX202" fmla="*/ 48547 w 256093"/>
                <a:gd name="connsiteY202" fmla="*/ 418188 h 460544"/>
                <a:gd name="connsiteX203" fmla="*/ 45777 w 256093"/>
                <a:gd name="connsiteY203" fmla="*/ 423727 h 460544"/>
                <a:gd name="connsiteX204" fmla="*/ 45777 w 256093"/>
                <a:gd name="connsiteY204" fmla="*/ 427637 h 460544"/>
                <a:gd name="connsiteX205" fmla="*/ 47733 w 256093"/>
                <a:gd name="connsiteY205" fmla="*/ 430406 h 460544"/>
                <a:gd name="connsiteX206" fmla="*/ 54575 w 256093"/>
                <a:gd name="connsiteY206" fmla="*/ 427311 h 460544"/>
                <a:gd name="connsiteX207" fmla="*/ 57018 w 256093"/>
                <a:gd name="connsiteY207" fmla="*/ 429266 h 460544"/>
                <a:gd name="connsiteX208" fmla="*/ 58159 w 256093"/>
                <a:gd name="connsiteY208" fmla="*/ 426170 h 460544"/>
                <a:gd name="connsiteX209" fmla="*/ 64024 w 256093"/>
                <a:gd name="connsiteY209" fmla="*/ 432361 h 460544"/>
                <a:gd name="connsiteX210" fmla="*/ 67445 w 256093"/>
                <a:gd name="connsiteY210" fmla="*/ 431709 h 460544"/>
                <a:gd name="connsiteX211" fmla="*/ 70866 w 256093"/>
                <a:gd name="connsiteY211" fmla="*/ 434804 h 460544"/>
                <a:gd name="connsiteX212" fmla="*/ 78197 w 256093"/>
                <a:gd name="connsiteY212" fmla="*/ 433990 h 460544"/>
                <a:gd name="connsiteX213" fmla="*/ 80315 w 256093"/>
                <a:gd name="connsiteY213" fmla="*/ 434967 h 460544"/>
                <a:gd name="connsiteX214" fmla="*/ 78359 w 256093"/>
                <a:gd name="connsiteY214" fmla="*/ 438714 h 460544"/>
                <a:gd name="connsiteX215" fmla="*/ 81129 w 256093"/>
                <a:gd name="connsiteY215" fmla="*/ 438714 h 460544"/>
                <a:gd name="connsiteX216" fmla="*/ 87320 w 256093"/>
                <a:gd name="connsiteY216" fmla="*/ 434479 h 460544"/>
                <a:gd name="connsiteX217" fmla="*/ 87320 w 256093"/>
                <a:gd name="connsiteY217" fmla="*/ 437900 h 460544"/>
                <a:gd name="connsiteX218" fmla="*/ 84224 w 256093"/>
                <a:gd name="connsiteY218" fmla="*/ 442135 h 460544"/>
                <a:gd name="connsiteX219" fmla="*/ 90577 w 256093"/>
                <a:gd name="connsiteY219" fmla="*/ 451258 h 460544"/>
                <a:gd name="connsiteX220" fmla="*/ 91881 w 256093"/>
                <a:gd name="connsiteY220" fmla="*/ 454354 h 460544"/>
                <a:gd name="connsiteX221" fmla="*/ 90089 w 256093"/>
                <a:gd name="connsiteY221" fmla="*/ 459567 h 460544"/>
                <a:gd name="connsiteX222" fmla="*/ 91881 w 256093"/>
                <a:gd name="connsiteY222" fmla="*/ 460544 h 460544"/>
                <a:gd name="connsiteX223" fmla="*/ 94650 w 256093"/>
                <a:gd name="connsiteY223" fmla="*/ 453050 h 460544"/>
                <a:gd name="connsiteX224" fmla="*/ 97745 w 256093"/>
                <a:gd name="connsiteY224" fmla="*/ 451584 h 460544"/>
                <a:gd name="connsiteX225" fmla="*/ 98397 w 256093"/>
                <a:gd name="connsiteY225" fmla="*/ 454842 h 460544"/>
                <a:gd name="connsiteX226" fmla="*/ 102796 w 256093"/>
                <a:gd name="connsiteY226" fmla="*/ 452887 h 460544"/>
                <a:gd name="connsiteX227" fmla="*/ 106543 w 256093"/>
                <a:gd name="connsiteY227" fmla="*/ 452887 h 460544"/>
                <a:gd name="connsiteX228" fmla="*/ 114851 w 256093"/>
                <a:gd name="connsiteY228" fmla="*/ 446697 h 460544"/>
                <a:gd name="connsiteX229" fmla="*/ 119576 w 256093"/>
                <a:gd name="connsiteY229" fmla="*/ 446697 h 460544"/>
                <a:gd name="connsiteX230" fmla="*/ 129676 w 256093"/>
                <a:gd name="connsiteY230" fmla="*/ 440181 h 460544"/>
                <a:gd name="connsiteX231" fmla="*/ 130327 w 256093"/>
                <a:gd name="connsiteY231" fmla="*/ 437411 h 460544"/>
                <a:gd name="connsiteX232" fmla="*/ 136844 w 256093"/>
                <a:gd name="connsiteY232" fmla="*/ 439366 h 460544"/>
                <a:gd name="connsiteX233" fmla="*/ 141242 w 256093"/>
                <a:gd name="connsiteY233" fmla="*/ 438551 h 460544"/>
                <a:gd name="connsiteX234" fmla="*/ 145315 w 256093"/>
                <a:gd name="connsiteY234" fmla="*/ 432361 h 460544"/>
                <a:gd name="connsiteX235" fmla="*/ 146293 w 256093"/>
                <a:gd name="connsiteY235" fmla="*/ 434479 h 460544"/>
                <a:gd name="connsiteX236" fmla="*/ 144175 w 256093"/>
                <a:gd name="connsiteY236" fmla="*/ 438714 h 460544"/>
                <a:gd name="connsiteX237" fmla="*/ 146944 w 256093"/>
                <a:gd name="connsiteY237" fmla="*/ 439855 h 460544"/>
                <a:gd name="connsiteX238" fmla="*/ 149714 w 256093"/>
                <a:gd name="connsiteY238" fmla="*/ 433664 h 460544"/>
                <a:gd name="connsiteX239" fmla="*/ 151995 w 256093"/>
                <a:gd name="connsiteY239" fmla="*/ 434316 h 460544"/>
                <a:gd name="connsiteX240" fmla="*/ 149877 w 256093"/>
                <a:gd name="connsiteY240" fmla="*/ 429103 h 460544"/>
                <a:gd name="connsiteX241" fmla="*/ 151995 w 256093"/>
                <a:gd name="connsiteY241" fmla="*/ 426985 h 460544"/>
                <a:gd name="connsiteX242" fmla="*/ 154438 w 256093"/>
                <a:gd name="connsiteY242" fmla="*/ 432035 h 460544"/>
                <a:gd name="connsiteX243" fmla="*/ 157370 w 256093"/>
                <a:gd name="connsiteY243" fmla="*/ 432687 h 460544"/>
                <a:gd name="connsiteX244" fmla="*/ 158511 w 256093"/>
                <a:gd name="connsiteY244" fmla="*/ 428940 h 460544"/>
                <a:gd name="connsiteX245" fmla="*/ 161117 w 256093"/>
                <a:gd name="connsiteY245" fmla="*/ 434479 h 460544"/>
                <a:gd name="connsiteX246" fmla="*/ 164376 w 256093"/>
                <a:gd name="connsiteY246" fmla="*/ 433338 h 460544"/>
                <a:gd name="connsiteX247" fmla="*/ 164701 w 256093"/>
                <a:gd name="connsiteY247" fmla="*/ 429917 h 460544"/>
                <a:gd name="connsiteX248" fmla="*/ 167634 w 256093"/>
                <a:gd name="connsiteY248" fmla="*/ 430732 h 460544"/>
                <a:gd name="connsiteX249" fmla="*/ 168774 w 256093"/>
                <a:gd name="connsiteY249" fmla="*/ 433501 h 460544"/>
                <a:gd name="connsiteX250" fmla="*/ 172032 w 256093"/>
                <a:gd name="connsiteY250" fmla="*/ 430406 h 460544"/>
                <a:gd name="connsiteX251" fmla="*/ 178549 w 256093"/>
                <a:gd name="connsiteY251" fmla="*/ 429103 h 460544"/>
                <a:gd name="connsiteX252" fmla="*/ 182295 w 256093"/>
                <a:gd name="connsiteY252" fmla="*/ 432361 h 460544"/>
                <a:gd name="connsiteX253" fmla="*/ 190278 w 256093"/>
                <a:gd name="connsiteY253" fmla="*/ 431220 h 460544"/>
                <a:gd name="connsiteX254" fmla="*/ 190930 w 256093"/>
                <a:gd name="connsiteY254" fmla="*/ 428451 h 460544"/>
                <a:gd name="connsiteX255" fmla="*/ 188812 w 256093"/>
                <a:gd name="connsiteY255" fmla="*/ 426333 h 460544"/>
                <a:gd name="connsiteX256" fmla="*/ 191093 w 256093"/>
                <a:gd name="connsiteY256" fmla="*/ 425030 h 460544"/>
                <a:gd name="connsiteX257" fmla="*/ 194514 w 256093"/>
                <a:gd name="connsiteY257" fmla="*/ 426170 h 460544"/>
                <a:gd name="connsiteX258" fmla="*/ 195328 w 256093"/>
                <a:gd name="connsiteY258" fmla="*/ 429266 h 460544"/>
                <a:gd name="connsiteX259" fmla="*/ 200379 w 256093"/>
                <a:gd name="connsiteY259" fmla="*/ 430569 h 460544"/>
                <a:gd name="connsiteX260" fmla="*/ 202333 w 256093"/>
                <a:gd name="connsiteY260" fmla="*/ 426333 h 460544"/>
                <a:gd name="connsiteX261" fmla="*/ 202333 w 256093"/>
                <a:gd name="connsiteY261" fmla="*/ 426333 h 460544"/>
                <a:gd name="connsiteX262" fmla="*/ 106868 w 256093"/>
                <a:gd name="connsiteY262" fmla="*/ 238988 h 460544"/>
                <a:gd name="connsiteX263" fmla="*/ 104914 w 256093"/>
                <a:gd name="connsiteY263" fmla="*/ 241431 h 460544"/>
                <a:gd name="connsiteX264" fmla="*/ 100515 w 256093"/>
                <a:gd name="connsiteY264" fmla="*/ 241106 h 460544"/>
                <a:gd name="connsiteX265" fmla="*/ 97094 w 256093"/>
                <a:gd name="connsiteY265" fmla="*/ 236055 h 460544"/>
                <a:gd name="connsiteX266" fmla="*/ 101818 w 256093"/>
                <a:gd name="connsiteY266" fmla="*/ 232634 h 460544"/>
                <a:gd name="connsiteX267" fmla="*/ 109638 w 256093"/>
                <a:gd name="connsiteY267" fmla="*/ 233775 h 460544"/>
                <a:gd name="connsiteX268" fmla="*/ 109149 w 256093"/>
                <a:gd name="connsiteY268" fmla="*/ 236055 h 460544"/>
                <a:gd name="connsiteX269" fmla="*/ 104588 w 256093"/>
                <a:gd name="connsiteY269" fmla="*/ 236055 h 460544"/>
                <a:gd name="connsiteX270" fmla="*/ 106868 w 256093"/>
                <a:gd name="connsiteY270" fmla="*/ 238988 h 460544"/>
                <a:gd name="connsiteX271" fmla="*/ 106868 w 256093"/>
                <a:gd name="connsiteY271" fmla="*/ 238988 h 460544"/>
                <a:gd name="connsiteX272" fmla="*/ 34863 w 256093"/>
                <a:gd name="connsiteY272" fmla="*/ 311808 h 460544"/>
                <a:gd name="connsiteX273" fmla="*/ 35352 w 256093"/>
                <a:gd name="connsiteY273" fmla="*/ 308550 h 460544"/>
                <a:gd name="connsiteX274" fmla="*/ 38447 w 256093"/>
                <a:gd name="connsiteY274" fmla="*/ 311157 h 460544"/>
                <a:gd name="connsiteX275" fmla="*/ 36492 w 256093"/>
                <a:gd name="connsiteY275" fmla="*/ 313274 h 460544"/>
                <a:gd name="connsiteX276" fmla="*/ 34863 w 256093"/>
                <a:gd name="connsiteY276" fmla="*/ 311808 h 460544"/>
                <a:gd name="connsiteX277" fmla="*/ 34863 w 256093"/>
                <a:gd name="connsiteY277" fmla="*/ 311808 h 460544"/>
                <a:gd name="connsiteX278" fmla="*/ 32745 w 256093"/>
                <a:gd name="connsiteY278" fmla="*/ 314903 h 460544"/>
                <a:gd name="connsiteX279" fmla="*/ 35840 w 256093"/>
                <a:gd name="connsiteY279" fmla="*/ 317347 h 460544"/>
                <a:gd name="connsiteX280" fmla="*/ 39099 w 256093"/>
                <a:gd name="connsiteY280" fmla="*/ 315718 h 460544"/>
                <a:gd name="connsiteX281" fmla="*/ 38610 w 256093"/>
                <a:gd name="connsiteY281" fmla="*/ 319954 h 460544"/>
                <a:gd name="connsiteX282" fmla="*/ 34048 w 256093"/>
                <a:gd name="connsiteY282" fmla="*/ 322560 h 460544"/>
                <a:gd name="connsiteX283" fmla="*/ 31116 w 256093"/>
                <a:gd name="connsiteY283" fmla="*/ 318976 h 460544"/>
                <a:gd name="connsiteX284" fmla="*/ 32745 w 256093"/>
                <a:gd name="connsiteY284" fmla="*/ 314741 h 460544"/>
                <a:gd name="connsiteX285" fmla="*/ 32745 w 256093"/>
                <a:gd name="connsiteY285" fmla="*/ 314741 h 460544"/>
                <a:gd name="connsiteX286" fmla="*/ 85690 w 256093"/>
                <a:gd name="connsiteY286" fmla="*/ 449303 h 460544"/>
                <a:gd name="connsiteX287" fmla="*/ 86668 w 256093"/>
                <a:gd name="connsiteY287" fmla="*/ 453213 h 460544"/>
                <a:gd name="connsiteX288" fmla="*/ 83410 w 256093"/>
                <a:gd name="connsiteY288" fmla="*/ 455494 h 460544"/>
                <a:gd name="connsiteX289" fmla="*/ 81618 w 256093"/>
                <a:gd name="connsiteY289" fmla="*/ 453213 h 460544"/>
                <a:gd name="connsiteX290" fmla="*/ 84061 w 256093"/>
                <a:gd name="connsiteY290" fmla="*/ 451747 h 460544"/>
                <a:gd name="connsiteX291" fmla="*/ 85853 w 256093"/>
                <a:gd name="connsiteY291" fmla="*/ 449303 h 460544"/>
                <a:gd name="connsiteX292" fmla="*/ 85853 w 256093"/>
                <a:gd name="connsiteY292" fmla="*/ 449303 h 460544"/>
                <a:gd name="connsiteX293" fmla="*/ 78848 w 256093"/>
                <a:gd name="connsiteY293" fmla="*/ 443602 h 460544"/>
                <a:gd name="connsiteX294" fmla="*/ 80315 w 256093"/>
                <a:gd name="connsiteY294" fmla="*/ 447186 h 460544"/>
                <a:gd name="connsiteX295" fmla="*/ 78359 w 256093"/>
                <a:gd name="connsiteY295" fmla="*/ 447674 h 460544"/>
                <a:gd name="connsiteX296" fmla="*/ 78848 w 256093"/>
                <a:gd name="connsiteY296" fmla="*/ 443602 h 460544"/>
                <a:gd name="connsiteX297" fmla="*/ 78848 w 256093"/>
                <a:gd name="connsiteY297" fmla="*/ 443602 h 460544"/>
                <a:gd name="connsiteX298" fmla="*/ 68422 w 256093"/>
                <a:gd name="connsiteY298" fmla="*/ 438551 h 460544"/>
                <a:gd name="connsiteX299" fmla="*/ 76242 w 256093"/>
                <a:gd name="connsiteY299" fmla="*/ 436922 h 460544"/>
                <a:gd name="connsiteX300" fmla="*/ 75753 w 256093"/>
                <a:gd name="connsiteY300" fmla="*/ 439855 h 460544"/>
                <a:gd name="connsiteX301" fmla="*/ 71192 w 256093"/>
                <a:gd name="connsiteY301" fmla="*/ 443602 h 460544"/>
                <a:gd name="connsiteX302" fmla="*/ 67608 w 256093"/>
                <a:gd name="connsiteY302" fmla="*/ 441647 h 460544"/>
                <a:gd name="connsiteX303" fmla="*/ 68585 w 256093"/>
                <a:gd name="connsiteY303" fmla="*/ 438551 h 460544"/>
                <a:gd name="connsiteX304" fmla="*/ 68585 w 256093"/>
                <a:gd name="connsiteY304" fmla="*/ 438551 h 460544"/>
                <a:gd name="connsiteX305" fmla="*/ 57833 w 256093"/>
                <a:gd name="connsiteY305" fmla="*/ 430080 h 460544"/>
                <a:gd name="connsiteX306" fmla="*/ 63046 w 256093"/>
                <a:gd name="connsiteY306" fmla="*/ 434642 h 460544"/>
                <a:gd name="connsiteX307" fmla="*/ 59951 w 256093"/>
                <a:gd name="connsiteY307" fmla="*/ 436597 h 460544"/>
                <a:gd name="connsiteX308" fmla="*/ 57833 w 256093"/>
                <a:gd name="connsiteY308" fmla="*/ 434153 h 460544"/>
                <a:gd name="connsiteX309" fmla="*/ 57833 w 256093"/>
                <a:gd name="connsiteY309" fmla="*/ 430080 h 460544"/>
                <a:gd name="connsiteX310" fmla="*/ 57833 w 256093"/>
                <a:gd name="connsiteY310" fmla="*/ 430080 h 460544"/>
                <a:gd name="connsiteX311" fmla="*/ 46267 w 256093"/>
                <a:gd name="connsiteY311" fmla="*/ 432198 h 460544"/>
                <a:gd name="connsiteX312" fmla="*/ 50991 w 256093"/>
                <a:gd name="connsiteY312" fmla="*/ 432850 h 460544"/>
                <a:gd name="connsiteX313" fmla="*/ 48058 w 256093"/>
                <a:gd name="connsiteY313" fmla="*/ 433990 h 460544"/>
                <a:gd name="connsiteX314" fmla="*/ 46104 w 256093"/>
                <a:gd name="connsiteY314" fmla="*/ 432198 h 460544"/>
                <a:gd name="connsiteX315" fmla="*/ 46104 w 256093"/>
                <a:gd name="connsiteY315" fmla="*/ 432198 h 460544"/>
                <a:gd name="connsiteX316" fmla="*/ 12381 w 256093"/>
                <a:gd name="connsiteY316" fmla="*/ 439529 h 460544"/>
                <a:gd name="connsiteX317" fmla="*/ 18246 w 256093"/>
                <a:gd name="connsiteY317" fmla="*/ 441484 h 460544"/>
                <a:gd name="connsiteX318" fmla="*/ 19712 w 256093"/>
                <a:gd name="connsiteY318" fmla="*/ 439203 h 460544"/>
                <a:gd name="connsiteX319" fmla="*/ 15802 w 256093"/>
                <a:gd name="connsiteY319" fmla="*/ 436759 h 460544"/>
                <a:gd name="connsiteX320" fmla="*/ 15802 w 256093"/>
                <a:gd name="connsiteY320" fmla="*/ 432850 h 460544"/>
                <a:gd name="connsiteX321" fmla="*/ 18572 w 256093"/>
                <a:gd name="connsiteY321" fmla="*/ 432524 h 460544"/>
                <a:gd name="connsiteX322" fmla="*/ 26066 w 256093"/>
                <a:gd name="connsiteY322" fmla="*/ 437737 h 460544"/>
                <a:gd name="connsiteX323" fmla="*/ 26717 w 256093"/>
                <a:gd name="connsiteY323" fmla="*/ 441647 h 460544"/>
                <a:gd name="connsiteX324" fmla="*/ 23133 w 256093"/>
                <a:gd name="connsiteY324" fmla="*/ 441158 h 460544"/>
                <a:gd name="connsiteX325" fmla="*/ 21341 w 256093"/>
                <a:gd name="connsiteY325" fmla="*/ 443113 h 460544"/>
                <a:gd name="connsiteX326" fmla="*/ 23948 w 256093"/>
                <a:gd name="connsiteY326" fmla="*/ 447511 h 460544"/>
                <a:gd name="connsiteX327" fmla="*/ 27695 w 256093"/>
                <a:gd name="connsiteY327" fmla="*/ 447186 h 460544"/>
                <a:gd name="connsiteX328" fmla="*/ 28835 w 256093"/>
                <a:gd name="connsiteY328" fmla="*/ 451584 h 460544"/>
                <a:gd name="connsiteX329" fmla="*/ 25414 w 256093"/>
                <a:gd name="connsiteY329" fmla="*/ 453539 h 460544"/>
                <a:gd name="connsiteX330" fmla="*/ 21341 w 256093"/>
                <a:gd name="connsiteY330" fmla="*/ 449629 h 460544"/>
                <a:gd name="connsiteX331" fmla="*/ 16291 w 256093"/>
                <a:gd name="connsiteY331" fmla="*/ 448000 h 460544"/>
                <a:gd name="connsiteX332" fmla="*/ 13522 w 256093"/>
                <a:gd name="connsiteY332" fmla="*/ 444579 h 460544"/>
                <a:gd name="connsiteX333" fmla="*/ 10426 w 256093"/>
                <a:gd name="connsiteY333" fmla="*/ 442298 h 460544"/>
                <a:gd name="connsiteX334" fmla="*/ 12381 w 256093"/>
                <a:gd name="connsiteY334" fmla="*/ 439692 h 4605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</a:cxnLst>
              <a:rect l="l" t="t" r="r" b="b"/>
              <a:pathLst>
                <a:path w="256093" h="460544">
                  <a:moveTo>
                    <a:pt x="202333" y="425193"/>
                  </a:moveTo>
                  <a:lnTo>
                    <a:pt x="201356" y="417862"/>
                  </a:lnTo>
                  <a:lnTo>
                    <a:pt x="213085" y="406621"/>
                  </a:lnTo>
                  <a:lnTo>
                    <a:pt x="219113" y="403689"/>
                  </a:lnTo>
                  <a:lnTo>
                    <a:pt x="225955" y="391471"/>
                  </a:lnTo>
                  <a:lnTo>
                    <a:pt x="233123" y="380719"/>
                  </a:lnTo>
                  <a:lnTo>
                    <a:pt x="238499" y="368012"/>
                  </a:lnTo>
                  <a:lnTo>
                    <a:pt x="248763" y="350580"/>
                  </a:lnTo>
                  <a:lnTo>
                    <a:pt x="256093" y="332335"/>
                  </a:lnTo>
                  <a:lnTo>
                    <a:pt x="254465" y="324515"/>
                  </a:lnTo>
                  <a:lnTo>
                    <a:pt x="243386" y="311808"/>
                  </a:lnTo>
                  <a:lnTo>
                    <a:pt x="236707" y="309527"/>
                  </a:lnTo>
                  <a:lnTo>
                    <a:pt x="224978" y="292911"/>
                  </a:lnTo>
                  <a:lnTo>
                    <a:pt x="226933" y="285417"/>
                  </a:lnTo>
                  <a:lnTo>
                    <a:pt x="231657" y="278738"/>
                  </a:lnTo>
                  <a:lnTo>
                    <a:pt x="231168" y="271244"/>
                  </a:lnTo>
                  <a:lnTo>
                    <a:pt x="223511" y="265868"/>
                  </a:lnTo>
                  <a:lnTo>
                    <a:pt x="220742" y="260003"/>
                  </a:lnTo>
                  <a:lnTo>
                    <a:pt x="220416" y="250554"/>
                  </a:lnTo>
                  <a:lnTo>
                    <a:pt x="222371" y="248111"/>
                  </a:lnTo>
                  <a:lnTo>
                    <a:pt x="220090" y="243386"/>
                  </a:lnTo>
                  <a:lnTo>
                    <a:pt x="213900" y="242246"/>
                  </a:lnTo>
                  <a:lnTo>
                    <a:pt x="210642" y="238010"/>
                  </a:lnTo>
                  <a:lnTo>
                    <a:pt x="210642" y="229539"/>
                  </a:lnTo>
                  <a:lnTo>
                    <a:pt x="214063" y="224978"/>
                  </a:lnTo>
                  <a:lnTo>
                    <a:pt x="209013" y="223674"/>
                  </a:lnTo>
                  <a:lnTo>
                    <a:pt x="209013" y="219276"/>
                  </a:lnTo>
                  <a:cubicBezTo>
                    <a:pt x="209013" y="219276"/>
                    <a:pt x="209990" y="202659"/>
                    <a:pt x="209990" y="202659"/>
                  </a:cubicBezTo>
                  <a:lnTo>
                    <a:pt x="214552" y="201519"/>
                  </a:lnTo>
                  <a:lnTo>
                    <a:pt x="203148" y="174964"/>
                  </a:lnTo>
                  <a:lnTo>
                    <a:pt x="192559" y="155578"/>
                  </a:lnTo>
                  <a:lnTo>
                    <a:pt x="190278" y="148410"/>
                  </a:lnTo>
                  <a:lnTo>
                    <a:pt x="184250" y="141731"/>
                  </a:lnTo>
                  <a:lnTo>
                    <a:pt x="188486" y="129513"/>
                  </a:lnTo>
                  <a:lnTo>
                    <a:pt x="193699" y="121204"/>
                  </a:lnTo>
                  <a:lnTo>
                    <a:pt x="196143" y="113711"/>
                  </a:lnTo>
                  <a:lnTo>
                    <a:pt x="193047" y="110778"/>
                  </a:lnTo>
                  <a:lnTo>
                    <a:pt x="181481" y="103447"/>
                  </a:lnTo>
                  <a:lnTo>
                    <a:pt x="179526" y="98723"/>
                  </a:lnTo>
                  <a:lnTo>
                    <a:pt x="175616" y="92858"/>
                  </a:lnTo>
                  <a:lnTo>
                    <a:pt x="168611" y="88948"/>
                  </a:lnTo>
                  <a:lnTo>
                    <a:pt x="165190" y="88460"/>
                  </a:lnTo>
                  <a:lnTo>
                    <a:pt x="160792" y="76893"/>
                  </a:lnTo>
                  <a:lnTo>
                    <a:pt x="157370" y="72658"/>
                  </a:lnTo>
                  <a:lnTo>
                    <a:pt x="159163" y="64023"/>
                  </a:lnTo>
                  <a:lnTo>
                    <a:pt x="160303" y="57181"/>
                  </a:lnTo>
                  <a:lnTo>
                    <a:pt x="156230" y="55878"/>
                  </a:lnTo>
                  <a:lnTo>
                    <a:pt x="160303" y="52946"/>
                  </a:lnTo>
                  <a:lnTo>
                    <a:pt x="166982" y="50339"/>
                  </a:lnTo>
                  <a:lnTo>
                    <a:pt x="166004" y="39750"/>
                  </a:lnTo>
                  <a:lnTo>
                    <a:pt x="170566" y="32582"/>
                  </a:lnTo>
                  <a:lnTo>
                    <a:pt x="171381" y="27369"/>
                  </a:lnTo>
                  <a:lnTo>
                    <a:pt x="166331" y="21993"/>
                  </a:lnTo>
                  <a:lnTo>
                    <a:pt x="164864" y="17757"/>
                  </a:lnTo>
                  <a:lnTo>
                    <a:pt x="156393" y="16780"/>
                  </a:lnTo>
                  <a:lnTo>
                    <a:pt x="150854" y="14825"/>
                  </a:lnTo>
                  <a:lnTo>
                    <a:pt x="147270" y="11078"/>
                  </a:lnTo>
                  <a:lnTo>
                    <a:pt x="141079" y="3258"/>
                  </a:lnTo>
                  <a:lnTo>
                    <a:pt x="136355" y="0"/>
                  </a:lnTo>
                  <a:lnTo>
                    <a:pt x="125440" y="0"/>
                  </a:lnTo>
                  <a:cubicBezTo>
                    <a:pt x="125440" y="0"/>
                    <a:pt x="121204" y="4724"/>
                    <a:pt x="121204" y="4724"/>
                  </a:cubicBezTo>
                  <a:lnTo>
                    <a:pt x="121531" y="7005"/>
                  </a:lnTo>
                  <a:lnTo>
                    <a:pt x="117620" y="7983"/>
                  </a:lnTo>
                  <a:lnTo>
                    <a:pt x="110941" y="6679"/>
                  </a:lnTo>
                  <a:lnTo>
                    <a:pt x="105565" y="9123"/>
                  </a:lnTo>
                  <a:lnTo>
                    <a:pt x="105891" y="12055"/>
                  </a:lnTo>
                  <a:lnTo>
                    <a:pt x="101818" y="17594"/>
                  </a:lnTo>
                  <a:lnTo>
                    <a:pt x="98886" y="19386"/>
                  </a:lnTo>
                  <a:lnTo>
                    <a:pt x="101330" y="23296"/>
                  </a:lnTo>
                  <a:lnTo>
                    <a:pt x="99701" y="27369"/>
                  </a:lnTo>
                  <a:lnTo>
                    <a:pt x="98397" y="40401"/>
                  </a:lnTo>
                  <a:lnTo>
                    <a:pt x="100841" y="48221"/>
                  </a:lnTo>
                  <a:lnTo>
                    <a:pt x="102633" y="52620"/>
                  </a:lnTo>
                  <a:lnTo>
                    <a:pt x="100841" y="55878"/>
                  </a:lnTo>
                  <a:lnTo>
                    <a:pt x="96442" y="58810"/>
                  </a:lnTo>
                  <a:lnTo>
                    <a:pt x="92044" y="58484"/>
                  </a:lnTo>
                  <a:lnTo>
                    <a:pt x="87971" y="62394"/>
                  </a:lnTo>
                  <a:lnTo>
                    <a:pt x="84713" y="64186"/>
                  </a:lnTo>
                  <a:lnTo>
                    <a:pt x="81781" y="69725"/>
                  </a:lnTo>
                  <a:lnTo>
                    <a:pt x="76079" y="68748"/>
                  </a:lnTo>
                  <a:lnTo>
                    <a:pt x="67608" y="62883"/>
                  </a:lnTo>
                  <a:lnTo>
                    <a:pt x="62231" y="62883"/>
                  </a:lnTo>
                  <a:cubicBezTo>
                    <a:pt x="62231" y="62883"/>
                    <a:pt x="58810" y="66467"/>
                    <a:pt x="58810" y="66467"/>
                  </a:cubicBezTo>
                  <a:lnTo>
                    <a:pt x="52620" y="72495"/>
                  </a:lnTo>
                  <a:lnTo>
                    <a:pt x="40565" y="72169"/>
                  </a:lnTo>
                  <a:lnTo>
                    <a:pt x="33397" y="69236"/>
                  </a:lnTo>
                  <a:lnTo>
                    <a:pt x="29324" y="63697"/>
                  </a:lnTo>
                  <a:lnTo>
                    <a:pt x="27369" y="58321"/>
                  </a:lnTo>
                  <a:lnTo>
                    <a:pt x="16454" y="49524"/>
                  </a:lnTo>
                  <a:lnTo>
                    <a:pt x="12544" y="43823"/>
                  </a:lnTo>
                  <a:lnTo>
                    <a:pt x="7820" y="43008"/>
                  </a:lnTo>
                  <a:lnTo>
                    <a:pt x="4399" y="45940"/>
                  </a:lnTo>
                  <a:lnTo>
                    <a:pt x="3421" y="50339"/>
                  </a:lnTo>
                  <a:lnTo>
                    <a:pt x="4888" y="54249"/>
                  </a:lnTo>
                  <a:lnTo>
                    <a:pt x="3095" y="55389"/>
                  </a:lnTo>
                  <a:lnTo>
                    <a:pt x="977" y="54412"/>
                  </a:lnTo>
                  <a:lnTo>
                    <a:pt x="0" y="55878"/>
                  </a:lnTo>
                  <a:lnTo>
                    <a:pt x="4236" y="60928"/>
                  </a:lnTo>
                  <a:lnTo>
                    <a:pt x="10915" y="64186"/>
                  </a:lnTo>
                  <a:lnTo>
                    <a:pt x="19875" y="74775"/>
                  </a:lnTo>
                  <a:lnTo>
                    <a:pt x="26554" y="79825"/>
                  </a:lnTo>
                  <a:lnTo>
                    <a:pt x="36492" y="80640"/>
                  </a:lnTo>
                  <a:lnTo>
                    <a:pt x="40402" y="83084"/>
                  </a:lnTo>
                  <a:lnTo>
                    <a:pt x="43823" y="84061"/>
                  </a:lnTo>
                  <a:lnTo>
                    <a:pt x="48873" y="89763"/>
                  </a:lnTo>
                  <a:lnTo>
                    <a:pt x="50665" y="94487"/>
                  </a:lnTo>
                  <a:lnTo>
                    <a:pt x="52945" y="94813"/>
                  </a:lnTo>
                  <a:lnTo>
                    <a:pt x="54738" y="94324"/>
                  </a:lnTo>
                  <a:lnTo>
                    <a:pt x="59136" y="100352"/>
                  </a:lnTo>
                  <a:lnTo>
                    <a:pt x="62558" y="100678"/>
                  </a:lnTo>
                  <a:lnTo>
                    <a:pt x="65001" y="104425"/>
                  </a:lnTo>
                  <a:lnTo>
                    <a:pt x="63046" y="108986"/>
                  </a:lnTo>
                  <a:lnTo>
                    <a:pt x="64349" y="116317"/>
                  </a:lnTo>
                  <a:lnTo>
                    <a:pt x="62068" y="122182"/>
                  </a:lnTo>
                  <a:lnTo>
                    <a:pt x="62558" y="127232"/>
                  </a:lnTo>
                  <a:lnTo>
                    <a:pt x="69236" y="127721"/>
                  </a:lnTo>
                  <a:lnTo>
                    <a:pt x="70866" y="133586"/>
                  </a:lnTo>
                  <a:lnTo>
                    <a:pt x="68422" y="137332"/>
                  </a:lnTo>
                  <a:lnTo>
                    <a:pt x="69236" y="144338"/>
                  </a:lnTo>
                  <a:lnTo>
                    <a:pt x="72169" y="148573"/>
                  </a:lnTo>
                  <a:lnTo>
                    <a:pt x="73798" y="157696"/>
                  </a:lnTo>
                  <a:lnTo>
                    <a:pt x="72495" y="161932"/>
                  </a:lnTo>
                  <a:lnTo>
                    <a:pt x="73635" y="165842"/>
                  </a:lnTo>
                  <a:lnTo>
                    <a:pt x="73635" y="175779"/>
                  </a:lnTo>
                  <a:lnTo>
                    <a:pt x="72006" y="179526"/>
                  </a:lnTo>
                  <a:lnTo>
                    <a:pt x="74613" y="186857"/>
                  </a:lnTo>
                  <a:lnTo>
                    <a:pt x="79337" y="188486"/>
                  </a:lnTo>
                  <a:lnTo>
                    <a:pt x="83736" y="197935"/>
                  </a:lnTo>
                  <a:lnTo>
                    <a:pt x="86668" y="201030"/>
                  </a:lnTo>
                  <a:lnTo>
                    <a:pt x="86342" y="206569"/>
                  </a:lnTo>
                  <a:lnTo>
                    <a:pt x="88134" y="208524"/>
                  </a:lnTo>
                  <a:lnTo>
                    <a:pt x="93021" y="208524"/>
                  </a:lnTo>
                  <a:cubicBezTo>
                    <a:pt x="93021" y="208524"/>
                    <a:pt x="97583" y="213574"/>
                    <a:pt x="97583" y="213574"/>
                  </a:cubicBezTo>
                  <a:lnTo>
                    <a:pt x="107195" y="213574"/>
                  </a:lnTo>
                  <a:lnTo>
                    <a:pt x="113711" y="219927"/>
                  </a:lnTo>
                  <a:lnTo>
                    <a:pt x="109964" y="221719"/>
                  </a:lnTo>
                  <a:lnTo>
                    <a:pt x="112408" y="225141"/>
                  </a:lnTo>
                  <a:lnTo>
                    <a:pt x="112733" y="232797"/>
                  </a:lnTo>
                  <a:lnTo>
                    <a:pt x="110941" y="234426"/>
                  </a:lnTo>
                  <a:lnTo>
                    <a:pt x="118598" y="241594"/>
                  </a:lnTo>
                  <a:lnTo>
                    <a:pt x="113059" y="240454"/>
                  </a:lnTo>
                  <a:lnTo>
                    <a:pt x="110941" y="241268"/>
                  </a:lnTo>
                  <a:lnTo>
                    <a:pt x="117458" y="246645"/>
                  </a:lnTo>
                  <a:lnTo>
                    <a:pt x="117458" y="249740"/>
                  </a:lnTo>
                  <a:cubicBezTo>
                    <a:pt x="117458" y="249740"/>
                    <a:pt x="109964" y="245504"/>
                    <a:pt x="109964" y="245504"/>
                  </a:cubicBezTo>
                  <a:lnTo>
                    <a:pt x="103610" y="245504"/>
                  </a:lnTo>
                  <a:cubicBezTo>
                    <a:pt x="103610" y="245504"/>
                    <a:pt x="96931" y="250066"/>
                    <a:pt x="96931" y="250066"/>
                  </a:cubicBezTo>
                  <a:lnTo>
                    <a:pt x="96931" y="254138"/>
                  </a:lnTo>
                  <a:cubicBezTo>
                    <a:pt x="96931" y="254138"/>
                    <a:pt x="92533" y="259026"/>
                    <a:pt x="92533" y="259026"/>
                  </a:cubicBezTo>
                  <a:lnTo>
                    <a:pt x="92533" y="262447"/>
                  </a:lnTo>
                  <a:lnTo>
                    <a:pt x="90415" y="264076"/>
                  </a:lnTo>
                  <a:lnTo>
                    <a:pt x="82432" y="272384"/>
                  </a:lnTo>
                  <a:lnTo>
                    <a:pt x="81292" y="280692"/>
                  </a:lnTo>
                  <a:lnTo>
                    <a:pt x="79337" y="281344"/>
                  </a:lnTo>
                  <a:lnTo>
                    <a:pt x="78034" y="278900"/>
                  </a:lnTo>
                  <a:lnTo>
                    <a:pt x="75753" y="279226"/>
                  </a:lnTo>
                  <a:lnTo>
                    <a:pt x="77545" y="284276"/>
                  </a:lnTo>
                  <a:lnTo>
                    <a:pt x="76404" y="288349"/>
                  </a:lnTo>
                  <a:lnTo>
                    <a:pt x="71192" y="289001"/>
                  </a:lnTo>
                  <a:lnTo>
                    <a:pt x="68096" y="293237"/>
                  </a:lnTo>
                  <a:lnTo>
                    <a:pt x="69399" y="299590"/>
                  </a:lnTo>
                  <a:lnTo>
                    <a:pt x="72820" y="302034"/>
                  </a:lnTo>
                  <a:lnTo>
                    <a:pt x="66630" y="300079"/>
                  </a:lnTo>
                  <a:lnTo>
                    <a:pt x="64838" y="297798"/>
                  </a:lnTo>
                  <a:lnTo>
                    <a:pt x="61417" y="299101"/>
                  </a:lnTo>
                  <a:lnTo>
                    <a:pt x="59462" y="304477"/>
                  </a:lnTo>
                  <a:lnTo>
                    <a:pt x="60277" y="306921"/>
                  </a:lnTo>
                  <a:lnTo>
                    <a:pt x="56856" y="305455"/>
                  </a:lnTo>
                  <a:lnTo>
                    <a:pt x="55552" y="307410"/>
                  </a:lnTo>
                  <a:lnTo>
                    <a:pt x="58974" y="310831"/>
                  </a:lnTo>
                  <a:lnTo>
                    <a:pt x="58974" y="313274"/>
                  </a:lnTo>
                  <a:cubicBezTo>
                    <a:pt x="58974" y="313274"/>
                    <a:pt x="56041" y="316533"/>
                    <a:pt x="56041" y="316533"/>
                  </a:cubicBezTo>
                  <a:lnTo>
                    <a:pt x="54575" y="319465"/>
                  </a:lnTo>
                  <a:lnTo>
                    <a:pt x="50013" y="322397"/>
                  </a:lnTo>
                  <a:lnTo>
                    <a:pt x="47570" y="320605"/>
                  </a:lnTo>
                  <a:lnTo>
                    <a:pt x="46918" y="318813"/>
                  </a:lnTo>
                  <a:lnTo>
                    <a:pt x="43497" y="317673"/>
                  </a:lnTo>
                  <a:lnTo>
                    <a:pt x="40076" y="318976"/>
                  </a:lnTo>
                  <a:lnTo>
                    <a:pt x="41379" y="323538"/>
                  </a:lnTo>
                  <a:lnTo>
                    <a:pt x="38447" y="325981"/>
                  </a:lnTo>
                  <a:lnTo>
                    <a:pt x="40402" y="330869"/>
                  </a:lnTo>
                  <a:lnTo>
                    <a:pt x="38447" y="335593"/>
                  </a:lnTo>
                  <a:lnTo>
                    <a:pt x="36003" y="336245"/>
                  </a:lnTo>
                  <a:lnTo>
                    <a:pt x="33559" y="340480"/>
                  </a:lnTo>
                  <a:lnTo>
                    <a:pt x="35515" y="345530"/>
                  </a:lnTo>
                  <a:lnTo>
                    <a:pt x="36818" y="346508"/>
                  </a:lnTo>
                  <a:lnTo>
                    <a:pt x="35352" y="351558"/>
                  </a:lnTo>
                  <a:lnTo>
                    <a:pt x="36329" y="354979"/>
                  </a:lnTo>
                  <a:lnTo>
                    <a:pt x="39587" y="353513"/>
                  </a:lnTo>
                  <a:lnTo>
                    <a:pt x="42356" y="356445"/>
                  </a:lnTo>
                  <a:lnTo>
                    <a:pt x="41542" y="361984"/>
                  </a:lnTo>
                  <a:lnTo>
                    <a:pt x="40239" y="364754"/>
                  </a:lnTo>
                  <a:lnTo>
                    <a:pt x="42031" y="369641"/>
                  </a:lnTo>
                  <a:lnTo>
                    <a:pt x="40890" y="371922"/>
                  </a:lnTo>
                  <a:lnTo>
                    <a:pt x="45941" y="380067"/>
                  </a:lnTo>
                  <a:lnTo>
                    <a:pt x="48384" y="382185"/>
                  </a:lnTo>
                  <a:lnTo>
                    <a:pt x="46592" y="385280"/>
                  </a:lnTo>
                  <a:lnTo>
                    <a:pt x="50502" y="391308"/>
                  </a:lnTo>
                  <a:lnTo>
                    <a:pt x="46755" y="392937"/>
                  </a:lnTo>
                  <a:lnTo>
                    <a:pt x="47570" y="400919"/>
                  </a:lnTo>
                  <a:lnTo>
                    <a:pt x="45777" y="404015"/>
                  </a:lnTo>
                  <a:lnTo>
                    <a:pt x="45777" y="414441"/>
                  </a:lnTo>
                  <a:cubicBezTo>
                    <a:pt x="45777" y="414441"/>
                    <a:pt x="48547" y="418188"/>
                    <a:pt x="48547" y="418188"/>
                  </a:cubicBezTo>
                  <a:lnTo>
                    <a:pt x="45777" y="423727"/>
                  </a:lnTo>
                  <a:lnTo>
                    <a:pt x="45777" y="427637"/>
                  </a:lnTo>
                  <a:lnTo>
                    <a:pt x="47733" y="430406"/>
                  </a:lnTo>
                  <a:lnTo>
                    <a:pt x="54575" y="427311"/>
                  </a:lnTo>
                  <a:lnTo>
                    <a:pt x="57018" y="429266"/>
                  </a:lnTo>
                  <a:lnTo>
                    <a:pt x="58159" y="426170"/>
                  </a:lnTo>
                  <a:lnTo>
                    <a:pt x="64024" y="432361"/>
                  </a:lnTo>
                  <a:lnTo>
                    <a:pt x="67445" y="431709"/>
                  </a:lnTo>
                  <a:lnTo>
                    <a:pt x="70866" y="434804"/>
                  </a:lnTo>
                  <a:lnTo>
                    <a:pt x="78197" y="433990"/>
                  </a:lnTo>
                  <a:lnTo>
                    <a:pt x="80315" y="434967"/>
                  </a:lnTo>
                  <a:lnTo>
                    <a:pt x="78359" y="438714"/>
                  </a:lnTo>
                  <a:lnTo>
                    <a:pt x="81129" y="438714"/>
                  </a:lnTo>
                  <a:lnTo>
                    <a:pt x="87320" y="434479"/>
                  </a:lnTo>
                  <a:lnTo>
                    <a:pt x="87320" y="437900"/>
                  </a:lnTo>
                  <a:lnTo>
                    <a:pt x="84224" y="442135"/>
                  </a:lnTo>
                  <a:lnTo>
                    <a:pt x="90577" y="451258"/>
                  </a:lnTo>
                  <a:lnTo>
                    <a:pt x="91881" y="454354"/>
                  </a:lnTo>
                  <a:lnTo>
                    <a:pt x="90089" y="459567"/>
                  </a:lnTo>
                  <a:lnTo>
                    <a:pt x="91881" y="460544"/>
                  </a:lnTo>
                  <a:lnTo>
                    <a:pt x="94650" y="453050"/>
                  </a:lnTo>
                  <a:lnTo>
                    <a:pt x="97745" y="451584"/>
                  </a:lnTo>
                  <a:lnTo>
                    <a:pt x="98397" y="454842"/>
                  </a:lnTo>
                  <a:lnTo>
                    <a:pt x="102796" y="452887"/>
                  </a:lnTo>
                  <a:lnTo>
                    <a:pt x="106543" y="452887"/>
                  </a:lnTo>
                  <a:cubicBezTo>
                    <a:pt x="106543" y="452887"/>
                    <a:pt x="114851" y="446697"/>
                    <a:pt x="114851" y="446697"/>
                  </a:cubicBezTo>
                  <a:lnTo>
                    <a:pt x="119576" y="446697"/>
                  </a:lnTo>
                  <a:lnTo>
                    <a:pt x="129676" y="440181"/>
                  </a:lnTo>
                  <a:lnTo>
                    <a:pt x="130327" y="437411"/>
                  </a:lnTo>
                  <a:lnTo>
                    <a:pt x="136844" y="439366"/>
                  </a:lnTo>
                  <a:lnTo>
                    <a:pt x="141242" y="438551"/>
                  </a:lnTo>
                  <a:lnTo>
                    <a:pt x="145315" y="432361"/>
                  </a:lnTo>
                  <a:lnTo>
                    <a:pt x="146293" y="434479"/>
                  </a:lnTo>
                  <a:lnTo>
                    <a:pt x="144175" y="438714"/>
                  </a:lnTo>
                  <a:lnTo>
                    <a:pt x="146944" y="439855"/>
                  </a:lnTo>
                  <a:lnTo>
                    <a:pt x="149714" y="433664"/>
                  </a:lnTo>
                  <a:lnTo>
                    <a:pt x="151995" y="434316"/>
                  </a:lnTo>
                  <a:lnTo>
                    <a:pt x="149877" y="429103"/>
                  </a:lnTo>
                  <a:lnTo>
                    <a:pt x="151995" y="426985"/>
                  </a:lnTo>
                  <a:lnTo>
                    <a:pt x="154438" y="432035"/>
                  </a:lnTo>
                  <a:lnTo>
                    <a:pt x="157370" y="432687"/>
                  </a:lnTo>
                  <a:lnTo>
                    <a:pt x="158511" y="428940"/>
                  </a:lnTo>
                  <a:lnTo>
                    <a:pt x="161117" y="434479"/>
                  </a:lnTo>
                  <a:lnTo>
                    <a:pt x="164376" y="433338"/>
                  </a:lnTo>
                  <a:lnTo>
                    <a:pt x="164701" y="429917"/>
                  </a:lnTo>
                  <a:lnTo>
                    <a:pt x="167634" y="430732"/>
                  </a:lnTo>
                  <a:lnTo>
                    <a:pt x="168774" y="433501"/>
                  </a:lnTo>
                  <a:lnTo>
                    <a:pt x="172032" y="430406"/>
                  </a:lnTo>
                  <a:lnTo>
                    <a:pt x="178549" y="429103"/>
                  </a:lnTo>
                  <a:lnTo>
                    <a:pt x="182295" y="432361"/>
                  </a:lnTo>
                  <a:lnTo>
                    <a:pt x="190278" y="431220"/>
                  </a:lnTo>
                  <a:lnTo>
                    <a:pt x="190930" y="428451"/>
                  </a:lnTo>
                  <a:lnTo>
                    <a:pt x="188812" y="426333"/>
                  </a:lnTo>
                  <a:lnTo>
                    <a:pt x="191093" y="425030"/>
                  </a:lnTo>
                  <a:lnTo>
                    <a:pt x="194514" y="426170"/>
                  </a:lnTo>
                  <a:lnTo>
                    <a:pt x="195328" y="429266"/>
                  </a:lnTo>
                  <a:lnTo>
                    <a:pt x="200379" y="430569"/>
                  </a:lnTo>
                  <a:cubicBezTo>
                    <a:pt x="200379" y="430569"/>
                    <a:pt x="201356" y="427962"/>
                    <a:pt x="202333" y="426333"/>
                  </a:cubicBezTo>
                  <a:lnTo>
                    <a:pt x="202333" y="426333"/>
                  </a:lnTo>
                  <a:close/>
                  <a:moveTo>
                    <a:pt x="106868" y="238988"/>
                  </a:moveTo>
                  <a:lnTo>
                    <a:pt x="104914" y="241431"/>
                  </a:lnTo>
                  <a:lnTo>
                    <a:pt x="100515" y="241106"/>
                  </a:lnTo>
                  <a:lnTo>
                    <a:pt x="97094" y="236055"/>
                  </a:lnTo>
                  <a:lnTo>
                    <a:pt x="101818" y="232634"/>
                  </a:lnTo>
                  <a:lnTo>
                    <a:pt x="109638" y="233775"/>
                  </a:lnTo>
                  <a:lnTo>
                    <a:pt x="109149" y="236055"/>
                  </a:lnTo>
                  <a:lnTo>
                    <a:pt x="104588" y="236055"/>
                  </a:lnTo>
                  <a:cubicBezTo>
                    <a:pt x="104588" y="236055"/>
                    <a:pt x="106868" y="238988"/>
                    <a:pt x="106868" y="238988"/>
                  </a:cubicBezTo>
                  <a:lnTo>
                    <a:pt x="106868" y="238988"/>
                  </a:lnTo>
                  <a:close/>
                  <a:moveTo>
                    <a:pt x="34863" y="311808"/>
                  </a:moveTo>
                  <a:lnTo>
                    <a:pt x="35352" y="308550"/>
                  </a:lnTo>
                  <a:lnTo>
                    <a:pt x="38447" y="311157"/>
                  </a:lnTo>
                  <a:lnTo>
                    <a:pt x="36492" y="313274"/>
                  </a:lnTo>
                  <a:lnTo>
                    <a:pt x="34863" y="311808"/>
                  </a:lnTo>
                  <a:lnTo>
                    <a:pt x="34863" y="311808"/>
                  </a:lnTo>
                  <a:close/>
                  <a:moveTo>
                    <a:pt x="32745" y="314903"/>
                  </a:moveTo>
                  <a:lnTo>
                    <a:pt x="35840" y="317347"/>
                  </a:lnTo>
                  <a:lnTo>
                    <a:pt x="39099" y="315718"/>
                  </a:lnTo>
                  <a:lnTo>
                    <a:pt x="38610" y="319954"/>
                  </a:lnTo>
                  <a:lnTo>
                    <a:pt x="34048" y="322560"/>
                  </a:lnTo>
                  <a:lnTo>
                    <a:pt x="31116" y="318976"/>
                  </a:lnTo>
                  <a:lnTo>
                    <a:pt x="32745" y="314741"/>
                  </a:lnTo>
                  <a:lnTo>
                    <a:pt x="32745" y="314741"/>
                  </a:lnTo>
                  <a:close/>
                  <a:moveTo>
                    <a:pt x="85690" y="449303"/>
                  </a:moveTo>
                  <a:lnTo>
                    <a:pt x="86668" y="453213"/>
                  </a:lnTo>
                  <a:lnTo>
                    <a:pt x="83410" y="455494"/>
                  </a:lnTo>
                  <a:lnTo>
                    <a:pt x="81618" y="453213"/>
                  </a:lnTo>
                  <a:lnTo>
                    <a:pt x="84061" y="451747"/>
                  </a:lnTo>
                  <a:lnTo>
                    <a:pt x="85853" y="449303"/>
                  </a:lnTo>
                  <a:lnTo>
                    <a:pt x="85853" y="449303"/>
                  </a:lnTo>
                  <a:close/>
                  <a:moveTo>
                    <a:pt x="78848" y="443602"/>
                  </a:moveTo>
                  <a:cubicBezTo>
                    <a:pt x="78848" y="443602"/>
                    <a:pt x="80315" y="447186"/>
                    <a:pt x="80315" y="447186"/>
                  </a:cubicBezTo>
                  <a:lnTo>
                    <a:pt x="78359" y="447674"/>
                  </a:lnTo>
                  <a:lnTo>
                    <a:pt x="78848" y="443602"/>
                  </a:lnTo>
                  <a:lnTo>
                    <a:pt x="78848" y="443602"/>
                  </a:lnTo>
                  <a:close/>
                  <a:moveTo>
                    <a:pt x="68422" y="438551"/>
                  </a:moveTo>
                  <a:lnTo>
                    <a:pt x="76242" y="436922"/>
                  </a:lnTo>
                  <a:lnTo>
                    <a:pt x="75753" y="439855"/>
                  </a:lnTo>
                  <a:lnTo>
                    <a:pt x="71192" y="443602"/>
                  </a:lnTo>
                  <a:lnTo>
                    <a:pt x="67608" y="441647"/>
                  </a:lnTo>
                  <a:lnTo>
                    <a:pt x="68585" y="438551"/>
                  </a:lnTo>
                  <a:lnTo>
                    <a:pt x="68585" y="438551"/>
                  </a:lnTo>
                  <a:close/>
                  <a:moveTo>
                    <a:pt x="57833" y="430080"/>
                  </a:moveTo>
                  <a:lnTo>
                    <a:pt x="63046" y="434642"/>
                  </a:lnTo>
                  <a:lnTo>
                    <a:pt x="59951" y="436597"/>
                  </a:lnTo>
                  <a:lnTo>
                    <a:pt x="57833" y="434153"/>
                  </a:lnTo>
                  <a:lnTo>
                    <a:pt x="57833" y="430080"/>
                  </a:lnTo>
                  <a:lnTo>
                    <a:pt x="57833" y="430080"/>
                  </a:lnTo>
                  <a:close/>
                  <a:moveTo>
                    <a:pt x="46267" y="432198"/>
                  </a:moveTo>
                  <a:lnTo>
                    <a:pt x="50991" y="432850"/>
                  </a:lnTo>
                  <a:lnTo>
                    <a:pt x="48058" y="433990"/>
                  </a:lnTo>
                  <a:cubicBezTo>
                    <a:pt x="48058" y="433990"/>
                    <a:pt x="46104" y="432035"/>
                    <a:pt x="46104" y="432198"/>
                  </a:cubicBezTo>
                  <a:lnTo>
                    <a:pt x="46104" y="432198"/>
                  </a:lnTo>
                  <a:close/>
                  <a:moveTo>
                    <a:pt x="12381" y="439529"/>
                  </a:moveTo>
                  <a:lnTo>
                    <a:pt x="18246" y="441484"/>
                  </a:lnTo>
                  <a:lnTo>
                    <a:pt x="19712" y="439203"/>
                  </a:lnTo>
                  <a:lnTo>
                    <a:pt x="15802" y="436759"/>
                  </a:lnTo>
                  <a:lnTo>
                    <a:pt x="15802" y="432850"/>
                  </a:lnTo>
                  <a:cubicBezTo>
                    <a:pt x="15802" y="432850"/>
                    <a:pt x="18572" y="432524"/>
                    <a:pt x="18572" y="432524"/>
                  </a:cubicBezTo>
                  <a:lnTo>
                    <a:pt x="26066" y="437737"/>
                  </a:lnTo>
                  <a:lnTo>
                    <a:pt x="26717" y="441647"/>
                  </a:lnTo>
                  <a:lnTo>
                    <a:pt x="23133" y="441158"/>
                  </a:lnTo>
                  <a:lnTo>
                    <a:pt x="21341" y="443113"/>
                  </a:lnTo>
                  <a:lnTo>
                    <a:pt x="23948" y="447511"/>
                  </a:lnTo>
                  <a:lnTo>
                    <a:pt x="27695" y="447186"/>
                  </a:lnTo>
                  <a:lnTo>
                    <a:pt x="28835" y="451584"/>
                  </a:lnTo>
                  <a:lnTo>
                    <a:pt x="25414" y="453539"/>
                  </a:lnTo>
                  <a:lnTo>
                    <a:pt x="21341" y="449629"/>
                  </a:lnTo>
                  <a:lnTo>
                    <a:pt x="16291" y="448000"/>
                  </a:lnTo>
                  <a:lnTo>
                    <a:pt x="13522" y="444579"/>
                  </a:lnTo>
                  <a:lnTo>
                    <a:pt x="10426" y="442298"/>
                  </a:lnTo>
                  <a:lnTo>
                    <a:pt x="12381" y="439692"/>
                  </a:lnTo>
                  <a:close/>
                </a:path>
              </a:pathLst>
            </a:custGeom>
            <a:solidFill>
              <a:schemeClr val="bg2"/>
            </a:solidFill>
            <a:ln w="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4" name="Forma livre: Forma 153">
              <a:extLst>
                <a:ext uri="{FF2B5EF4-FFF2-40B4-BE49-F238E27FC236}">
                  <a16:creationId xmlns:a16="http://schemas.microsoft.com/office/drawing/2014/main" id="{F72DA6CA-6EB3-9096-D4EB-34AF2E5E9A0B}"/>
                </a:ext>
              </a:extLst>
            </p:cNvPr>
            <p:cNvSpPr/>
            <p:nvPr/>
          </p:nvSpPr>
          <p:spPr>
            <a:xfrm>
              <a:off x="6477281" y="3137841"/>
              <a:ext cx="141077" cy="96128"/>
            </a:xfrm>
            <a:custGeom>
              <a:avLst/>
              <a:gdLst>
                <a:gd name="connsiteX0" fmla="*/ 129350 w 136517"/>
                <a:gd name="connsiteY0" fmla="*/ 90740 h 93021"/>
                <a:gd name="connsiteX1" fmla="*/ 133097 w 136517"/>
                <a:gd name="connsiteY1" fmla="*/ 85038 h 93021"/>
                <a:gd name="connsiteX2" fmla="*/ 132445 w 136517"/>
                <a:gd name="connsiteY2" fmla="*/ 80314 h 93021"/>
                <a:gd name="connsiteX3" fmla="*/ 136518 w 136517"/>
                <a:gd name="connsiteY3" fmla="*/ 76893 h 93021"/>
                <a:gd name="connsiteX4" fmla="*/ 136518 w 136517"/>
                <a:gd name="connsiteY4" fmla="*/ 71680 h 93021"/>
                <a:gd name="connsiteX5" fmla="*/ 124788 w 136517"/>
                <a:gd name="connsiteY5" fmla="*/ 50339 h 93021"/>
                <a:gd name="connsiteX6" fmla="*/ 126580 w 136517"/>
                <a:gd name="connsiteY6" fmla="*/ 31116 h 93021"/>
                <a:gd name="connsiteX7" fmla="*/ 129513 w 136517"/>
                <a:gd name="connsiteY7" fmla="*/ 28998 h 93021"/>
                <a:gd name="connsiteX8" fmla="*/ 131305 w 136517"/>
                <a:gd name="connsiteY8" fmla="*/ 21667 h 93021"/>
                <a:gd name="connsiteX9" fmla="*/ 135377 w 136517"/>
                <a:gd name="connsiteY9" fmla="*/ 16617 h 93021"/>
                <a:gd name="connsiteX10" fmla="*/ 136029 w 136517"/>
                <a:gd name="connsiteY10" fmla="*/ 14988 h 93021"/>
                <a:gd name="connsiteX11" fmla="*/ 135704 w 136517"/>
                <a:gd name="connsiteY11" fmla="*/ 14173 h 93021"/>
                <a:gd name="connsiteX12" fmla="*/ 133260 w 136517"/>
                <a:gd name="connsiteY12" fmla="*/ 10100 h 93021"/>
                <a:gd name="connsiteX13" fmla="*/ 132608 w 136517"/>
                <a:gd name="connsiteY13" fmla="*/ 12381 h 93021"/>
                <a:gd name="connsiteX14" fmla="*/ 112082 w 136517"/>
                <a:gd name="connsiteY14" fmla="*/ 11729 h 93021"/>
                <a:gd name="connsiteX15" fmla="*/ 102959 w 136517"/>
                <a:gd name="connsiteY15" fmla="*/ 5865 h 93021"/>
                <a:gd name="connsiteX16" fmla="*/ 93510 w 136517"/>
                <a:gd name="connsiteY16" fmla="*/ 5865 h 93021"/>
                <a:gd name="connsiteX17" fmla="*/ 88460 w 136517"/>
                <a:gd name="connsiteY17" fmla="*/ 3584 h 93021"/>
                <a:gd name="connsiteX18" fmla="*/ 84224 w 136517"/>
                <a:gd name="connsiteY18" fmla="*/ 4724 h 93021"/>
                <a:gd name="connsiteX19" fmla="*/ 79011 w 136517"/>
                <a:gd name="connsiteY19" fmla="*/ 0 h 93021"/>
                <a:gd name="connsiteX20" fmla="*/ 78685 w 136517"/>
                <a:gd name="connsiteY20" fmla="*/ 3421 h 93021"/>
                <a:gd name="connsiteX21" fmla="*/ 75427 w 136517"/>
                <a:gd name="connsiteY21" fmla="*/ 2769 h 93021"/>
                <a:gd name="connsiteX22" fmla="*/ 75427 w 136517"/>
                <a:gd name="connsiteY22" fmla="*/ 4887 h 93021"/>
                <a:gd name="connsiteX23" fmla="*/ 78359 w 136517"/>
                <a:gd name="connsiteY23" fmla="*/ 7331 h 93021"/>
                <a:gd name="connsiteX24" fmla="*/ 73635 w 136517"/>
                <a:gd name="connsiteY24" fmla="*/ 10426 h 93021"/>
                <a:gd name="connsiteX25" fmla="*/ 71354 w 136517"/>
                <a:gd name="connsiteY25" fmla="*/ 8960 h 93021"/>
                <a:gd name="connsiteX26" fmla="*/ 62231 w 136517"/>
                <a:gd name="connsiteY26" fmla="*/ 8634 h 93021"/>
                <a:gd name="connsiteX27" fmla="*/ 60439 w 136517"/>
                <a:gd name="connsiteY27" fmla="*/ 6353 h 93021"/>
                <a:gd name="connsiteX28" fmla="*/ 59136 w 136517"/>
                <a:gd name="connsiteY28" fmla="*/ 11404 h 93021"/>
                <a:gd name="connsiteX29" fmla="*/ 54412 w 136517"/>
                <a:gd name="connsiteY29" fmla="*/ 10752 h 93021"/>
                <a:gd name="connsiteX30" fmla="*/ 49361 w 136517"/>
                <a:gd name="connsiteY30" fmla="*/ 12218 h 93021"/>
                <a:gd name="connsiteX31" fmla="*/ 48547 w 136517"/>
                <a:gd name="connsiteY31" fmla="*/ 16454 h 93021"/>
                <a:gd name="connsiteX32" fmla="*/ 45289 w 136517"/>
                <a:gd name="connsiteY32" fmla="*/ 15639 h 93021"/>
                <a:gd name="connsiteX33" fmla="*/ 37143 w 136517"/>
                <a:gd name="connsiteY33" fmla="*/ 19060 h 93021"/>
                <a:gd name="connsiteX34" fmla="*/ 34211 w 136517"/>
                <a:gd name="connsiteY34" fmla="*/ 23948 h 93021"/>
                <a:gd name="connsiteX35" fmla="*/ 34211 w 136517"/>
                <a:gd name="connsiteY35" fmla="*/ 40238 h 93021"/>
                <a:gd name="connsiteX36" fmla="*/ 37632 w 136517"/>
                <a:gd name="connsiteY36" fmla="*/ 40890 h 93021"/>
                <a:gd name="connsiteX37" fmla="*/ 39424 w 136517"/>
                <a:gd name="connsiteY37" fmla="*/ 39587 h 93021"/>
                <a:gd name="connsiteX38" fmla="*/ 44148 w 136517"/>
                <a:gd name="connsiteY38" fmla="*/ 39913 h 93021"/>
                <a:gd name="connsiteX39" fmla="*/ 41868 w 136517"/>
                <a:gd name="connsiteY39" fmla="*/ 43660 h 93021"/>
                <a:gd name="connsiteX40" fmla="*/ 38121 w 136517"/>
                <a:gd name="connsiteY40" fmla="*/ 43985 h 93021"/>
                <a:gd name="connsiteX41" fmla="*/ 38447 w 136517"/>
                <a:gd name="connsiteY41" fmla="*/ 50502 h 93021"/>
                <a:gd name="connsiteX42" fmla="*/ 42682 w 136517"/>
                <a:gd name="connsiteY42" fmla="*/ 57018 h 93021"/>
                <a:gd name="connsiteX43" fmla="*/ 49850 w 136517"/>
                <a:gd name="connsiteY43" fmla="*/ 63534 h 93021"/>
                <a:gd name="connsiteX44" fmla="*/ 52294 w 136517"/>
                <a:gd name="connsiteY44" fmla="*/ 62883 h 93021"/>
                <a:gd name="connsiteX45" fmla="*/ 52620 w 136517"/>
                <a:gd name="connsiteY45" fmla="*/ 58647 h 93021"/>
                <a:gd name="connsiteX46" fmla="*/ 57670 w 136517"/>
                <a:gd name="connsiteY46" fmla="*/ 54575 h 93021"/>
                <a:gd name="connsiteX47" fmla="*/ 59625 w 136517"/>
                <a:gd name="connsiteY47" fmla="*/ 58321 h 93021"/>
                <a:gd name="connsiteX48" fmla="*/ 56855 w 136517"/>
                <a:gd name="connsiteY48" fmla="*/ 71680 h 93021"/>
                <a:gd name="connsiteX49" fmla="*/ 56855 w 136517"/>
                <a:gd name="connsiteY49" fmla="*/ 74612 h 93021"/>
                <a:gd name="connsiteX50" fmla="*/ 59625 w 136517"/>
                <a:gd name="connsiteY50" fmla="*/ 73635 h 93021"/>
                <a:gd name="connsiteX51" fmla="*/ 67607 w 136517"/>
                <a:gd name="connsiteY51" fmla="*/ 68911 h 93021"/>
                <a:gd name="connsiteX52" fmla="*/ 73635 w 136517"/>
                <a:gd name="connsiteY52" fmla="*/ 67444 h 93021"/>
                <a:gd name="connsiteX53" fmla="*/ 80152 w 136517"/>
                <a:gd name="connsiteY53" fmla="*/ 72169 h 93021"/>
                <a:gd name="connsiteX54" fmla="*/ 83409 w 136517"/>
                <a:gd name="connsiteY54" fmla="*/ 71843 h 93021"/>
                <a:gd name="connsiteX55" fmla="*/ 84550 w 136517"/>
                <a:gd name="connsiteY55" fmla="*/ 67444 h 93021"/>
                <a:gd name="connsiteX56" fmla="*/ 88297 w 136517"/>
                <a:gd name="connsiteY56" fmla="*/ 70214 h 93021"/>
                <a:gd name="connsiteX57" fmla="*/ 90089 w 136517"/>
                <a:gd name="connsiteY57" fmla="*/ 73961 h 93021"/>
                <a:gd name="connsiteX58" fmla="*/ 93347 w 136517"/>
                <a:gd name="connsiteY58" fmla="*/ 73961 h 93021"/>
                <a:gd name="connsiteX59" fmla="*/ 101330 w 136517"/>
                <a:gd name="connsiteY59" fmla="*/ 79174 h 93021"/>
                <a:gd name="connsiteX60" fmla="*/ 103936 w 136517"/>
                <a:gd name="connsiteY60" fmla="*/ 85038 h 93021"/>
                <a:gd name="connsiteX61" fmla="*/ 108661 w 136517"/>
                <a:gd name="connsiteY61" fmla="*/ 87482 h 93021"/>
                <a:gd name="connsiteX62" fmla="*/ 112570 w 136517"/>
                <a:gd name="connsiteY62" fmla="*/ 93021 h 93021"/>
                <a:gd name="connsiteX63" fmla="*/ 121530 w 136517"/>
                <a:gd name="connsiteY63" fmla="*/ 89274 h 93021"/>
                <a:gd name="connsiteX64" fmla="*/ 129187 w 136517"/>
                <a:gd name="connsiteY64" fmla="*/ 90415 h 93021"/>
                <a:gd name="connsiteX65" fmla="*/ 129187 w 136517"/>
                <a:gd name="connsiteY65" fmla="*/ 90415 h 93021"/>
                <a:gd name="connsiteX66" fmla="*/ 25740 w 136517"/>
                <a:gd name="connsiteY66" fmla="*/ 30953 h 93021"/>
                <a:gd name="connsiteX67" fmla="*/ 30138 w 136517"/>
                <a:gd name="connsiteY67" fmla="*/ 30627 h 93021"/>
                <a:gd name="connsiteX68" fmla="*/ 31279 w 136517"/>
                <a:gd name="connsiteY68" fmla="*/ 33233 h 93021"/>
                <a:gd name="connsiteX69" fmla="*/ 26554 w 136517"/>
                <a:gd name="connsiteY69" fmla="*/ 34048 h 93021"/>
                <a:gd name="connsiteX70" fmla="*/ 25577 w 136517"/>
                <a:gd name="connsiteY70" fmla="*/ 31116 h 93021"/>
                <a:gd name="connsiteX71" fmla="*/ 25577 w 136517"/>
                <a:gd name="connsiteY71" fmla="*/ 31116 h 93021"/>
                <a:gd name="connsiteX72" fmla="*/ 16780 w 136517"/>
                <a:gd name="connsiteY72" fmla="*/ 43008 h 93021"/>
                <a:gd name="connsiteX73" fmla="*/ 13684 w 136517"/>
                <a:gd name="connsiteY73" fmla="*/ 37795 h 93021"/>
                <a:gd name="connsiteX74" fmla="*/ 9286 w 136517"/>
                <a:gd name="connsiteY74" fmla="*/ 38121 h 93021"/>
                <a:gd name="connsiteX75" fmla="*/ 4887 w 136517"/>
                <a:gd name="connsiteY75" fmla="*/ 40076 h 93021"/>
                <a:gd name="connsiteX76" fmla="*/ 2932 w 136517"/>
                <a:gd name="connsiteY76" fmla="*/ 38609 h 93021"/>
                <a:gd name="connsiteX77" fmla="*/ 10915 w 136517"/>
                <a:gd name="connsiteY77" fmla="*/ 34863 h 93021"/>
                <a:gd name="connsiteX78" fmla="*/ 13359 w 136517"/>
                <a:gd name="connsiteY78" fmla="*/ 31767 h 93021"/>
                <a:gd name="connsiteX79" fmla="*/ 13847 w 136517"/>
                <a:gd name="connsiteY79" fmla="*/ 29975 h 93021"/>
                <a:gd name="connsiteX80" fmla="*/ 16617 w 136517"/>
                <a:gd name="connsiteY80" fmla="*/ 30464 h 93021"/>
                <a:gd name="connsiteX81" fmla="*/ 19061 w 136517"/>
                <a:gd name="connsiteY81" fmla="*/ 32908 h 93021"/>
                <a:gd name="connsiteX82" fmla="*/ 23622 w 136517"/>
                <a:gd name="connsiteY82" fmla="*/ 33233 h 93021"/>
                <a:gd name="connsiteX83" fmla="*/ 25577 w 136517"/>
                <a:gd name="connsiteY83" fmla="*/ 38284 h 93021"/>
                <a:gd name="connsiteX84" fmla="*/ 22482 w 136517"/>
                <a:gd name="connsiteY84" fmla="*/ 37306 h 93021"/>
                <a:gd name="connsiteX85" fmla="*/ 18083 w 136517"/>
                <a:gd name="connsiteY85" fmla="*/ 40238 h 93021"/>
                <a:gd name="connsiteX86" fmla="*/ 16454 w 136517"/>
                <a:gd name="connsiteY86" fmla="*/ 43171 h 93021"/>
                <a:gd name="connsiteX87" fmla="*/ 16454 w 136517"/>
                <a:gd name="connsiteY87" fmla="*/ 43171 h 93021"/>
                <a:gd name="connsiteX88" fmla="*/ 26066 w 136517"/>
                <a:gd name="connsiteY88" fmla="*/ 46918 h 93021"/>
                <a:gd name="connsiteX89" fmla="*/ 25740 w 136517"/>
                <a:gd name="connsiteY89" fmla="*/ 43985 h 93021"/>
                <a:gd name="connsiteX90" fmla="*/ 32256 w 136517"/>
                <a:gd name="connsiteY90" fmla="*/ 43985 h 93021"/>
                <a:gd name="connsiteX91" fmla="*/ 34537 w 136517"/>
                <a:gd name="connsiteY91" fmla="*/ 49850 h 93021"/>
                <a:gd name="connsiteX92" fmla="*/ 31930 w 136517"/>
                <a:gd name="connsiteY92" fmla="*/ 51479 h 93021"/>
                <a:gd name="connsiteX93" fmla="*/ 26066 w 136517"/>
                <a:gd name="connsiteY93" fmla="*/ 46918 h 93021"/>
                <a:gd name="connsiteX94" fmla="*/ 26066 w 136517"/>
                <a:gd name="connsiteY94" fmla="*/ 46918 h 93021"/>
                <a:gd name="connsiteX95" fmla="*/ 3258 w 136517"/>
                <a:gd name="connsiteY95" fmla="*/ 76079 h 93021"/>
                <a:gd name="connsiteX96" fmla="*/ 5376 w 136517"/>
                <a:gd name="connsiteY96" fmla="*/ 76567 h 93021"/>
                <a:gd name="connsiteX97" fmla="*/ 9286 w 136517"/>
                <a:gd name="connsiteY97" fmla="*/ 73309 h 93021"/>
                <a:gd name="connsiteX98" fmla="*/ 9286 w 136517"/>
                <a:gd name="connsiteY98" fmla="*/ 70703 h 93021"/>
                <a:gd name="connsiteX99" fmla="*/ 12707 w 136517"/>
                <a:gd name="connsiteY99" fmla="*/ 63697 h 93021"/>
                <a:gd name="connsiteX100" fmla="*/ 19712 w 136517"/>
                <a:gd name="connsiteY100" fmla="*/ 62231 h 93021"/>
                <a:gd name="connsiteX101" fmla="*/ 22807 w 136517"/>
                <a:gd name="connsiteY101" fmla="*/ 58484 h 93021"/>
                <a:gd name="connsiteX102" fmla="*/ 25740 w 136517"/>
                <a:gd name="connsiteY102" fmla="*/ 54086 h 93021"/>
                <a:gd name="connsiteX103" fmla="*/ 29161 w 136517"/>
                <a:gd name="connsiteY103" fmla="*/ 54737 h 93021"/>
                <a:gd name="connsiteX104" fmla="*/ 30301 w 136517"/>
                <a:gd name="connsiteY104" fmla="*/ 54086 h 93021"/>
                <a:gd name="connsiteX105" fmla="*/ 29161 w 136517"/>
                <a:gd name="connsiteY105" fmla="*/ 52457 h 93021"/>
                <a:gd name="connsiteX106" fmla="*/ 26717 w 136517"/>
                <a:gd name="connsiteY106" fmla="*/ 50991 h 93021"/>
                <a:gd name="connsiteX107" fmla="*/ 22807 w 136517"/>
                <a:gd name="connsiteY107" fmla="*/ 48058 h 93021"/>
                <a:gd name="connsiteX108" fmla="*/ 14988 w 136517"/>
                <a:gd name="connsiteY108" fmla="*/ 47406 h 93021"/>
                <a:gd name="connsiteX109" fmla="*/ 12870 w 136517"/>
                <a:gd name="connsiteY109" fmla="*/ 46266 h 93021"/>
                <a:gd name="connsiteX110" fmla="*/ 10426 w 136517"/>
                <a:gd name="connsiteY110" fmla="*/ 49361 h 93021"/>
                <a:gd name="connsiteX111" fmla="*/ 8797 w 136517"/>
                <a:gd name="connsiteY111" fmla="*/ 49850 h 93021"/>
                <a:gd name="connsiteX112" fmla="*/ 6354 w 136517"/>
                <a:gd name="connsiteY112" fmla="*/ 52945 h 93021"/>
                <a:gd name="connsiteX113" fmla="*/ 5050 w 136517"/>
                <a:gd name="connsiteY113" fmla="*/ 50502 h 93021"/>
                <a:gd name="connsiteX114" fmla="*/ 2444 w 136517"/>
                <a:gd name="connsiteY114" fmla="*/ 49687 h 93021"/>
                <a:gd name="connsiteX115" fmla="*/ 2444 w 136517"/>
                <a:gd name="connsiteY115" fmla="*/ 51642 h 93021"/>
                <a:gd name="connsiteX116" fmla="*/ 0 w 136517"/>
                <a:gd name="connsiteY116" fmla="*/ 52620 h 93021"/>
                <a:gd name="connsiteX117" fmla="*/ 3421 w 136517"/>
                <a:gd name="connsiteY117" fmla="*/ 53760 h 93021"/>
                <a:gd name="connsiteX118" fmla="*/ 3421 w 136517"/>
                <a:gd name="connsiteY118" fmla="*/ 56204 h 93021"/>
                <a:gd name="connsiteX119" fmla="*/ 814 w 136517"/>
                <a:gd name="connsiteY119" fmla="*/ 57996 h 93021"/>
                <a:gd name="connsiteX120" fmla="*/ 814 w 136517"/>
                <a:gd name="connsiteY120" fmla="*/ 60928 h 93021"/>
                <a:gd name="connsiteX121" fmla="*/ 4725 w 136517"/>
                <a:gd name="connsiteY121" fmla="*/ 61905 h 93021"/>
                <a:gd name="connsiteX122" fmla="*/ 8634 w 136517"/>
                <a:gd name="connsiteY122" fmla="*/ 65652 h 93021"/>
                <a:gd name="connsiteX123" fmla="*/ 7331 w 136517"/>
                <a:gd name="connsiteY123" fmla="*/ 69562 h 93021"/>
                <a:gd name="connsiteX124" fmla="*/ 5213 w 136517"/>
                <a:gd name="connsiteY124" fmla="*/ 69236 h 93021"/>
                <a:gd name="connsiteX125" fmla="*/ 3258 w 136517"/>
                <a:gd name="connsiteY125" fmla="*/ 75590 h 930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</a:cxnLst>
              <a:rect l="l" t="t" r="r" b="b"/>
              <a:pathLst>
                <a:path w="136517" h="93021">
                  <a:moveTo>
                    <a:pt x="129350" y="90740"/>
                  </a:moveTo>
                  <a:lnTo>
                    <a:pt x="133097" y="85038"/>
                  </a:lnTo>
                  <a:lnTo>
                    <a:pt x="132445" y="80314"/>
                  </a:lnTo>
                  <a:lnTo>
                    <a:pt x="136518" y="76893"/>
                  </a:lnTo>
                  <a:lnTo>
                    <a:pt x="136518" y="71680"/>
                  </a:lnTo>
                  <a:lnTo>
                    <a:pt x="124788" y="50339"/>
                  </a:lnTo>
                  <a:lnTo>
                    <a:pt x="126580" y="31116"/>
                  </a:lnTo>
                  <a:lnTo>
                    <a:pt x="129513" y="28998"/>
                  </a:lnTo>
                  <a:lnTo>
                    <a:pt x="131305" y="21667"/>
                  </a:lnTo>
                  <a:lnTo>
                    <a:pt x="135377" y="16617"/>
                  </a:lnTo>
                  <a:lnTo>
                    <a:pt x="136029" y="14988"/>
                  </a:lnTo>
                  <a:lnTo>
                    <a:pt x="135704" y="14173"/>
                  </a:lnTo>
                  <a:lnTo>
                    <a:pt x="133260" y="10100"/>
                  </a:lnTo>
                  <a:lnTo>
                    <a:pt x="132608" y="12381"/>
                  </a:lnTo>
                  <a:lnTo>
                    <a:pt x="112082" y="11729"/>
                  </a:lnTo>
                  <a:lnTo>
                    <a:pt x="102959" y="5865"/>
                  </a:lnTo>
                  <a:lnTo>
                    <a:pt x="93510" y="5865"/>
                  </a:lnTo>
                  <a:cubicBezTo>
                    <a:pt x="93510" y="5865"/>
                    <a:pt x="88460" y="3584"/>
                    <a:pt x="88460" y="3584"/>
                  </a:cubicBezTo>
                  <a:lnTo>
                    <a:pt x="84224" y="4724"/>
                  </a:lnTo>
                  <a:lnTo>
                    <a:pt x="79011" y="0"/>
                  </a:lnTo>
                  <a:lnTo>
                    <a:pt x="78685" y="3421"/>
                  </a:lnTo>
                  <a:lnTo>
                    <a:pt x="75427" y="2769"/>
                  </a:lnTo>
                  <a:lnTo>
                    <a:pt x="75427" y="4887"/>
                  </a:lnTo>
                  <a:lnTo>
                    <a:pt x="78359" y="7331"/>
                  </a:lnTo>
                  <a:lnTo>
                    <a:pt x="73635" y="10426"/>
                  </a:lnTo>
                  <a:lnTo>
                    <a:pt x="71354" y="8960"/>
                  </a:lnTo>
                  <a:lnTo>
                    <a:pt x="62231" y="8634"/>
                  </a:lnTo>
                  <a:lnTo>
                    <a:pt x="60439" y="6353"/>
                  </a:lnTo>
                  <a:lnTo>
                    <a:pt x="59136" y="11404"/>
                  </a:lnTo>
                  <a:lnTo>
                    <a:pt x="54412" y="10752"/>
                  </a:lnTo>
                  <a:lnTo>
                    <a:pt x="49361" y="12218"/>
                  </a:lnTo>
                  <a:lnTo>
                    <a:pt x="48547" y="16454"/>
                  </a:lnTo>
                  <a:lnTo>
                    <a:pt x="45289" y="15639"/>
                  </a:lnTo>
                  <a:lnTo>
                    <a:pt x="37143" y="19060"/>
                  </a:lnTo>
                  <a:lnTo>
                    <a:pt x="34211" y="23948"/>
                  </a:lnTo>
                  <a:lnTo>
                    <a:pt x="34211" y="40238"/>
                  </a:lnTo>
                  <a:cubicBezTo>
                    <a:pt x="34211" y="40238"/>
                    <a:pt x="37632" y="40890"/>
                    <a:pt x="37632" y="40890"/>
                  </a:cubicBezTo>
                  <a:lnTo>
                    <a:pt x="39424" y="39587"/>
                  </a:lnTo>
                  <a:lnTo>
                    <a:pt x="44148" y="39913"/>
                  </a:lnTo>
                  <a:lnTo>
                    <a:pt x="41868" y="43660"/>
                  </a:lnTo>
                  <a:lnTo>
                    <a:pt x="38121" y="43985"/>
                  </a:lnTo>
                  <a:lnTo>
                    <a:pt x="38447" y="50502"/>
                  </a:lnTo>
                  <a:lnTo>
                    <a:pt x="42682" y="57018"/>
                  </a:lnTo>
                  <a:lnTo>
                    <a:pt x="49850" y="63534"/>
                  </a:lnTo>
                  <a:lnTo>
                    <a:pt x="52294" y="62883"/>
                  </a:lnTo>
                  <a:lnTo>
                    <a:pt x="52620" y="58647"/>
                  </a:lnTo>
                  <a:lnTo>
                    <a:pt x="57670" y="54575"/>
                  </a:lnTo>
                  <a:lnTo>
                    <a:pt x="59625" y="58321"/>
                  </a:lnTo>
                  <a:lnTo>
                    <a:pt x="56855" y="71680"/>
                  </a:lnTo>
                  <a:lnTo>
                    <a:pt x="56855" y="74612"/>
                  </a:lnTo>
                  <a:lnTo>
                    <a:pt x="59625" y="73635"/>
                  </a:lnTo>
                  <a:lnTo>
                    <a:pt x="67607" y="68911"/>
                  </a:lnTo>
                  <a:lnTo>
                    <a:pt x="73635" y="67444"/>
                  </a:lnTo>
                  <a:lnTo>
                    <a:pt x="80152" y="72169"/>
                  </a:lnTo>
                  <a:lnTo>
                    <a:pt x="83409" y="71843"/>
                  </a:lnTo>
                  <a:lnTo>
                    <a:pt x="84550" y="67444"/>
                  </a:lnTo>
                  <a:lnTo>
                    <a:pt x="88297" y="70214"/>
                  </a:lnTo>
                  <a:lnTo>
                    <a:pt x="90089" y="73961"/>
                  </a:lnTo>
                  <a:lnTo>
                    <a:pt x="93347" y="73961"/>
                  </a:lnTo>
                  <a:cubicBezTo>
                    <a:pt x="93347" y="73961"/>
                    <a:pt x="101330" y="79174"/>
                    <a:pt x="101330" y="79174"/>
                  </a:cubicBezTo>
                  <a:lnTo>
                    <a:pt x="103936" y="85038"/>
                  </a:lnTo>
                  <a:lnTo>
                    <a:pt x="108661" y="87482"/>
                  </a:lnTo>
                  <a:lnTo>
                    <a:pt x="112570" y="93021"/>
                  </a:lnTo>
                  <a:lnTo>
                    <a:pt x="121530" y="89274"/>
                  </a:lnTo>
                  <a:lnTo>
                    <a:pt x="129187" y="90415"/>
                  </a:lnTo>
                  <a:lnTo>
                    <a:pt x="129187" y="90415"/>
                  </a:lnTo>
                  <a:close/>
                  <a:moveTo>
                    <a:pt x="25740" y="30953"/>
                  </a:moveTo>
                  <a:lnTo>
                    <a:pt x="30138" y="30627"/>
                  </a:lnTo>
                  <a:lnTo>
                    <a:pt x="31279" y="33233"/>
                  </a:lnTo>
                  <a:lnTo>
                    <a:pt x="26554" y="34048"/>
                  </a:lnTo>
                  <a:lnTo>
                    <a:pt x="25577" y="31116"/>
                  </a:lnTo>
                  <a:lnTo>
                    <a:pt x="25577" y="31116"/>
                  </a:lnTo>
                  <a:close/>
                  <a:moveTo>
                    <a:pt x="16780" y="43008"/>
                  </a:moveTo>
                  <a:lnTo>
                    <a:pt x="13684" y="37795"/>
                  </a:lnTo>
                  <a:lnTo>
                    <a:pt x="9286" y="38121"/>
                  </a:lnTo>
                  <a:lnTo>
                    <a:pt x="4887" y="40076"/>
                  </a:lnTo>
                  <a:lnTo>
                    <a:pt x="2932" y="38609"/>
                  </a:lnTo>
                  <a:lnTo>
                    <a:pt x="10915" y="34863"/>
                  </a:lnTo>
                  <a:lnTo>
                    <a:pt x="13359" y="31767"/>
                  </a:lnTo>
                  <a:lnTo>
                    <a:pt x="13847" y="29975"/>
                  </a:lnTo>
                  <a:lnTo>
                    <a:pt x="16617" y="30464"/>
                  </a:lnTo>
                  <a:lnTo>
                    <a:pt x="19061" y="32908"/>
                  </a:lnTo>
                  <a:lnTo>
                    <a:pt x="23622" y="33233"/>
                  </a:lnTo>
                  <a:lnTo>
                    <a:pt x="25577" y="38284"/>
                  </a:lnTo>
                  <a:lnTo>
                    <a:pt x="22482" y="37306"/>
                  </a:lnTo>
                  <a:lnTo>
                    <a:pt x="18083" y="40238"/>
                  </a:lnTo>
                  <a:lnTo>
                    <a:pt x="16454" y="43171"/>
                  </a:lnTo>
                  <a:lnTo>
                    <a:pt x="16454" y="43171"/>
                  </a:lnTo>
                  <a:close/>
                  <a:moveTo>
                    <a:pt x="26066" y="46918"/>
                  </a:moveTo>
                  <a:lnTo>
                    <a:pt x="25740" y="43985"/>
                  </a:lnTo>
                  <a:lnTo>
                    <a:pt x="32256" y="43985"/>
                  </a:lnTo>
                  <a:cubicBezTo>
                    <a:pt x="32256" y="43985"/>
                    <a:pt x="34537" y="49850"/>
                    <a:pt x="34537" y="49850"/>
                  </a:cubicBezTo>
                  <a:lnTo>
                    <a:pt x="31930" y="51479"/>
                  </a:lnTo>
                  <a:lnTo>
                    <a:pt x="26066" y="46918"/>
                  </a:lnTo>
                  <a:lnTo>
                    <a:pt x="26066" y="46918"/>
                  </a:lnTo>
                  <a:close/>
                  <a:moveTo>
                    <a:pt x="3258" y="76079"/>
                  </a:moveTo>
                  <a:lnTo>
                    <a:pt x="5376" y="76567"/>
                  </a:lnTo>
                  <a:lnTo>
                    <a:pt x="9286" y="73309"/>
                  </a:lnTo>
                  <a:lnTo>
                    <a:pt x="9286" y="70703"/>
                  </a:lnTo>
                  <a:cubicBezTo>
                    <a:pt x="9286" y="70703"/>
                    <a:pt x="12707" y="63697"/>
                    <a:pt x="12707" y="63697"/>
                  </a:cubicBezTo>
                  <a:lnTo>
                    <a:pt x="19712" y="62231"/>
                  </a:lnTo>
                  <a:lnTo>
                    <a:pt x="22807" y="58484"/>
                  </a:lnTo>
                  <a:lnTo>
                    <a:pt x="25740" y="54086"/>
                  </a:lnTo>
                  <a:lnTo>
                    <a:pt x="29161" y="54737"/>
                  </a:lnTo>
                  <a:lnTo>
                    <a:pt x="30301" y="54086"/>
                  </a:lnTo>
                  <a:lnTo>
                    <a:pt x="29161" y="52457"/>
                  </a:lnTo>
                  <a:lnTo>
                    <a:pt x="26717" y="50991"/>
                  </a:lnTo>
                  <a:lnTo>
                    <a:pt x="22807" y="48058"/>
                  </a:lnTo>
                  <a:lnTo>
                    <a:pt x="14988" y="47406"/>
                  </a:lnTo>
                  <a:lnTo>
                    <a:pt x="12870" y="46266"/>
                  </a:lnTo>
                  <a:lnTo>
                    <a:pt x="10426" y="49361"/>
                  </a:lnTo>
                  <a:lnTo>
                    <a:pt x="8797" y="49850"/>
                  </a:lnTo>
                  <a:lnTo>
                    <a:pt x="6354" y="52945"/>
                  </a:lnTo>
                  <a:lnTo>
                    <a:pt x="5050" y="50502"/>
                  </a:lnTo>
                  <a:lnTo>
                    <a:pt x="2444" y="49687"/>
                  </a:lnTo>
                  <a:lnTo>
                    <a:pt x="2444" y="51642"/>
                  </a:lnTo>
                  <a:cubicBezTo>
                    <a:pt x="2444" y="51642"/>
                    <a:pt x="0" y="52620"/>
                    <a:pt x="0" y="52620"/>
                  </a:cubicBezTo>
                  <a:lnTo>
                    <a:pt x="3421" y="53760"/>
                  </a:lnTo>
                  <a:lnTo>
                    <a:pt x="3421" y="56204"/>
                  </a:lnTo>
                  <a:lnTo>
                    <a:pt x="814" y="57996"/>
                  </a:lnTo>
                  <a:lnTo>
                    <a:pt x="814" y="60928"/>
                  </a:lnTo>
                  <a:lnTo>
                    <a:pt x="4725" y="61905"/>
                  </a:lnTo>
                  <a:lnTo>
                    <a:pt x="8634" y="65652"/>
                  </a:lnTo>
                  <a:lnTo>
                    <a:pt x="7331" y="69562"/>
                  </a:lnTo>
                  <a:lnTo>
                    <a:pt x="5213" y="69236"/>
                  </a:lnTo>
                  <a:lnTo>
                    <a:pt x="3258" y="75590"/>
                  </a:lnTo>
                  <a:close/>
                </a:path>
              </a:pathLst>
            </a:custGeom>
            <a:solidFill>
              <a:schemeClr val="bg2"/>
            </a:solidFill>
            <a:ln w="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5" name="Forma livre: Forma 154">
              <a:extLst>
                <a:ext uri="{FF2B5EF4-FFF2-40B4-BE49-F238E27FC236}">
                  <a16:creationId xmlns:a16="http://schemas.microsoft.com/office/drawing/2014/main" id="{38A54D4B-E6A4-56DE-A435-8B109C429290}"/>
                </a:ext>
              </a:extLst>
            </p:cNvPr>
            <p:cNvSpPr/>
            <p:nvPr/>
          </p:nvSpPr>
          <p:spPr>
            <a:xfrm>
              <a:off x="6462635" y="3207875"/>
              <a:ext cx="168686" cy="91245"/>
            </a:xfrm>
            <a:custGeom>
              <a:avLst/>
              <a:gdLst>
                <a:gd name="connsiteX0" fmla="*/ 163235 w 163234"/>
                <a:gd name="connsiteY0" fmla="*/ 68096 h 88296"/>
                <a:gd name="connsiteX1" fmla="*/ 162420 w 163234"/>
                <a:gd name="connsiteY1" fmla="*/ 60928 h 88296"/>
                <a:gd name="connsiteX2" fmla="*/ 158836 w 163234"/>
                <a:gd name="connsiteY2" fmla="*/ 56041 h 88296"/>
                <a:gd name="connsiteX3" fmla="*/ 156067 w 163234"/>
                <a:gd name="connsiteY3" fmla="*/ 48710 h 88296"/>
                <a:gd name="connsiteX4" fmla="*/ 154438 w 163234"/>
                <a:gd name="connsiteY4" fmla="*/ 46266 h 88296"/>
                <a:gd name="connsiteX5" fmla="*/ 151180 w 163234"/>
                <a:gd name="connsiteY5" fmla="*/ 40076 h 88296"/>
                <a:gd name="connsiteX6" fmla="*/ 151831 w 163234"/>
                <a:gd name="connsiteY6" fmla="*/ 36818 h 88296"/>
                <a:gd name="connsiteX7" fmla="*/ 150365 w 163234"/>
                <a:gd name="connsiteY7" fmla="*/ 32582 h 88296"/>
                <a:gd name="connsiteX8" fmla="*/ 148247 w 163234"/>
                <a:gd name="connsiteY8" fmla="*/ 30464 h 88296"/>
                <a:gd name="connsiteX9" fmla="*/ 149225 w 163234"/>
                <a:gd name="connsiteY9" fmla="*/ 28020 h 88296"/>
                <a:gd name="connsiteX10" fmla="*/ 148573 w 163234"/>
                <a:gd name="connsiteY10" fmla="*/ 23622 h 88296"/>
                <a:gd name="connsiteX11" fmla="*/ 135866 w 163234"/>
                <a:gd name="connsiteY11" fmla="*/ 21830 h 88296"/>
                <a:gd name="connsiteX12" fmla="*/ 126743 w 163234"/>
                <a:gd name="connsiteY12" fmla="*/ 25577 h 88296"/>
                <a:gd name="connsiteX13" fmla="*/ 122996 w 163234"/>
                <a:gd name="connsiteY13" fmla="*/ 20038 h 88296"/>
                <a:gd name="connsiteX14" fmla="*/ 118109 w 163234"/>
                <a:gd name="connsiteY14" fmla="*/ 17594 h 88296"/>
                <a:gd name="connsiteX15" fmla="*/ 115503 w 163234"/>
                <a:gd name="connsiteY15" fmla="*/ 11729 h 88296"/>
                <a:gd name="connsiteX16" fmla="*/ 107683 w 163234"/>
                <a:gd name="connsiteY16" fmla="*/ 6679 h 88296"/>
                <a:gd name="connsiteX17" fmla="*/ 104262 w 163234"/>
                <a:gd name="connsiteY17" fmla="*/ 6516 h 88296"/>
                <a:gd name="connsiteX18" fmla="*/ 102470 w 163234"/>
                <a:gd name="connsiteY18" fmla="*/ 2769 h 88296"/>
                <a:gd name="connsiteX19" fmla="*/ 98723 w 163234"/>
                <a:gd name="connsiteY19" fmla="*/ 0 h 88296"/>
                <a:gd name="connsiteX20" fmla="*/ 97745 w 163234"/>
                <a:gd name="connsiteY20" fmla="*/ 4561 h 88296"/>
                <a:gd name="connsiteX21" fmla="*/ 94325 w 163234"/>
                <a:gd name="connsiteY21" fmla="*/ 4887 h 88296"/>
                <a:gd name="connsiteX22" fmla="*/ 87971 w 163234"/>
                <a:gd name="connsiteY22" fmla="*/ 0 h 88296"/>
                <a:gd name="connsiteX23" fmla="*/ 81780 w 163234"/>
                <a:gd name="connsiteY23" fmla="*/ 1629 h 88296"/>
                <a:gd name="connsiteX24" fmla="*/ 73961 w 163234"/>
                <a:gd name="connsiteY24" fmla="*/ 6191 h 88296"/>
                <a:gd name="connsiteX25" fmla="*/ 71191 w 163234"/>
                <a:gd name="connsiteY25" fmla="*/ 7168 h 88296"/>
                <a:gd name="connsiteX26" fmla="*/ 71191 w 163234"/>
                <a:gd name="connsiteY26" fmla="*/ 13521 h 88296"/>
                <a:gd name="connsiteX27" fmla="*/ 73472 w 163234"/>
                <a:gd name="connsiteY27" fmla="*/ 24762 h 88296"/>
                <a:gd name="connsiteX28" fmla="*/ 70703 w 163234"/>
                <a:gd name="connsiteY28" fmla="*/ 33722 h 88296"/>
                <a:gd name="connsiteX29" fmla="*/ 62557 w 163234"/>
                <a:gd name="connsiteY29" fmla="*/ 42356 h 88296"/>
                <a:gd name="connsiteX30" fmla="*/ 56529 w 163234"/>
                <a:gd name="connsiteY30" fmla="*/ 42356 h 88296"/>
                <a:gd name="connsiteX31" fmla="*/ 50502 w 163234"/>
                <a:gd name="connsiteY31" fmla="*/ 36655 h 88296"/>
                <a:gd name="connsiteX32" fmla="*/ 49687 w 163234"/>
                <a:gd name="connsiteY32" fmla="*/ 32093 h 88296"/>
                <a:gd name="connsiteX33" fmla="*/ 37795 w 163234"/>
                <a:gd name="connsiteY33" fmla="*/ 19386 h 88296"/>
                <a:gd name="connsiteX34" fmla="*/ 37306 w 163234"/>
                <a:gd name="connsiteY34" fmla="*/ 11892 h 88296"/>
                <a:gd name="connsiteX35" fmla="*/ 35188 w 163234"/>
                <a:gd name="connsiteY35" fmla="*/ 12055 h 88296"/>
                <a:gd name="connsiteX36" fmla="*/ 30790 w 163234"/>
                <a:gd name="connsiteY36" fmla="*/ 16454 h 88296"/>
                <a:gd name="connsiteX37" fmla="*/ 23622 w 163234"/>
                <a:gd name="connsiteY37" fmla="*/ 18246 h 88296"/>
                <a:gd name="connsiteX38" fmla="*/ 21178 w 163234"/>
                <a:gd name="connsiteY38" fmla="*/ 20527 h 88296"/>
                <a:gd name="connsiteX39" fmla="*/ 15965 w 163234"/>
                <a:gd name="connsiteY39" fmla="*/ 21015 h 88296"/>
                <a:gd name="connsiteX40" fmla="*/ 12055 w 163234"/>
                <a:gd name="connsiteY40" fmla="*/ 26717 h 88296"/>
                <a:gd name="connsiteX41" fmla="*/ 12544 w 163234"/>
                <a:gd name="connsiteY41" fmla="*/ 31930 h 88296"/>
                <a:gd name="connsiteX42" fmla="*/ 10426 w 163234"/>
                <a:gd name="connsiteY42" fmla="*/ 31116 h 88296"/>
                <a:gd name="connsiteX43" fmla="*/ 10589 w 163234"/>
                <a:gd name="connsiteY43" fmla="*/ 40076 h 88296"/>
                <a:gd name="connsiteX44" fmla="*/ 3910 w 163234"/>
                <a:gd name="connsiteY44" fmla="*/ 48058 h 88296"/>
                <a:gd name="connsiteX45" fmla="*/ 3258 w 163234"/>
                <a:gd name="connsiteY45" fmla="*/ 53108 h 88296"/>
                <a:gd name="connsiteX46" fmla="*/ 3747 w 163234"/>
                <a:gd name="connsiteY46" fmla="*/ 57833 h 88296"/>
                <a:gd name="connsiteX47" fmla="*/ 0 w 163234"/>
                <a:gd name="connsiteY47" fmla="*/ 61417 h 88296"/>
                <a:gd name="connsiteX48" fmla="*/ 2932 w 163234"/>
                <a:gd name="connsiteY48" fmla="*/ 73472 h 88296"/>
                <a:gd name="connsiteX49" fmla="*/ 5864 w 163234"/>
                <a:gd name="connsiteY49" fmla="*/ 76404 h 88296"/>
                <a:gd name="connsiteX50" fmla="*/ 5864 w 163234"/>
                <a:gd name="connsiteY50" fmla="*/ 77382 h 88296"/>
                <a:gd name="connsiteX51" fmla="*/ 10426 w 163234"/>
                <a:gd name="connsiteY51" fmla="*/ 76079 h 88296"/>
                <a:gd name="connsiteX52" fmla="*/ 12381 w 163234"/>
                <a:gd name="connsiteY52" fmla="*/ 70865 h 88296"/>
                <a:gd name="connsiteX53" fmla="*/ 19549 w 163234"/>
                <a:gd name="connsiteY53" fmla="*/ 64186 h 88296"/>
                <a:gd name="connsiteX54" fmla="*/ 31116 w 163234"/>
                <a:gd name="connsiteY54" fmla="*/ 61417 h 88296"/>
                <a:gd name="connsiteX55" fmla="*/ 40076 w 163234"/>
                <a:gd name="connsiteY55" fmla="*/ 62394 h 88296"/>
                <a:gd name="connsiteX56" fmla="*/ 46103 w 163234"/>
                <a:gd name="connsiteY56" fmla="*/ 62068 h 88296"/>
                <a:gd name="connsiteX57" fmla="*/ 49361 w 163234"/>
                <a:gd name="connsiteY57" fmla="*/ 64675 h 88296"/>
                <a:gd name="connsiteX58" fmla="*/ 54412 w 163234"/>
                <a:gd name="connsiteY58" fmla="*/ 60928 h 88296"/>
                <a:gd name="connsiteX59" fmla="*/ 59462 w 163234"/>
                <a:gd name="connsiteY59" fmla="*/ 60114 h 88296"/>
                <a:gd name="connsiteX60" fmla="*/ 60602 w 163234"/>
                <a:gd name="connsiteY60" fmla="*/ 63209 h 88296"/>
                <a:gd name="connsiteX61" fmla="*/ 65001 w 163234"/>
                <a:gd name="connsiteY61" fmla="*/ 63535 h 88296"/>
                <a:gd name="connsiteX62" fmla="*/ 69236 w 163234"/>
                <a:gd name="connsiteY62" fmla="*/ 68259 h 88296"/>
                <a:gd name="connsiteX63" fmla="*/ 77219 w 163234"/>
                <a:gd name="connsiteY63" fmla="*/ 68096 h 88296"/>
                <a:gd name="connsiteX64" fmla="*/ 79662 w 163234"/>
                <a:gd name="connsiteY64" fmla="*/ 69236 h 88296"/>
                <a:gd name="connsiteX65" fmla="*/ 87971 w 163234"/>
                <a:gd name="connsiteY65" fmla="*/ 63860 h 88296"/>
                <a:gd name="connsiteX66" fmla="*/ 96931 w 163234"/>
                <a:gd name="connsiteY66" fmla="*/ 68096 h 88296"/>
                <a:gd name="connsiteX67" fmla="*/ 104914 w 163234"/>
                <a:gd name="connsiteY67" fmla="*/ 69399 h 88296"/>
                <a:gd name="connsiteX68" fmla="*/ 111430 w 163234"/>
                <a:gd name="connsiteY68" fmla="*/ 76893 h 88296"/>
                <a:gd name="connsiteX69" fmla="*/ 116969 w 163234"/>
                <a:gd name="connsiteY69" fmla="*/ 77871 h 88296"/>
                <a:gd name="connsiteX70" fmla="*/ 122996 w 163234"/>
                <a:gd name="connsiteY70" fmla="*/ 85690 h 88296"/>
                <a:gd name="connsiteX71" fmla="*/ 130327 w 163234"/>
                <a:gd name="connsiteY71" fmla="*/ 86179 h 88296"/>
                <a:gd name="connsiteX72" fmla="*/ 132771 w 163234"/>
                <a:gd name="connsiteY72" fmla="*/ 88297 h 88296"/>
                <a:gd name="connsiteX73" fmla="*/ 132771 w 163234"/>
                <a:gd name="connsiteY73" fmla="*/ 88297 h 88296"/>
                <a:gd name="connsiteX74" fmla="*/ 140916 w 163234"/>
                <a:gd name="connsiteY74" fmla="*/ 84550 h 88296"/>
                <a:gd name="connsiteX75" fmla="*/ 151668 w 163234"/>
                <a:gd name="connsiteY75" fmla="*/ 83084 h 88296"/>
                <a:gd name="connsiteX76" fmla="*/ 152809 w 163234"/>
                <a:gd name="connsiteY76" fmla="*/ 76404 h 88296"/>
                <a:gd name="connsiteX77" fmla="*/ 157207 w 163234"/>
                <a:gd name="connsiteY77" fmla="*/ 74287 h 88296"/>
                <a:gd name="connsiteX78" fmla="*/ 158999 w 163234"/>
                <a:gd name="connsiteY78" fmla="*/ 69073 h 88296"/>
                <a:gd name="connsiteX79" fmla="*/ 163235 w 163234"/>
                <a:gd name="connsiteY79" fmla="*/ 68096 h 882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</a:cxnLst>
              <a:rect l="l" t="t" r="r" b="b"/>
              <a:pathLst>
                <a:path w="163234" h="88296">
                  <a:moveTo>
                    <a:pt x="163235" y="68096"/>
                  </a:moveTo>
                  <a:lnTo>
                    <a:pt x="162420" y="60928"/>
                  </a:lnTo>
                  <a:lnTo>
                    <a:pt x="158836" y="56041"/>
                  </a:lnTo>
                  <a:lnTo>
                    <a:pt x="156067" y="48710"/>
                  </a:lnTo>
                  <a:lnTo>
                    <a:pt x="154438" y="46266"/>
                  </a:lnTo>
                  <a:lnTo>
                    <a:pt x="151180" y="40076"/>
                  </a:lnTo>
                  <a:lnTo>
                    <a:pt x="151831" y="36818"/>
                  </a:lnTo>
                  <a:lnTo>
                    <a:pt x="150365" y="32582"/>
                  </a:lnTo>
                  <a:lnTo>
                    <a:pt x="148247" y="30464"/>
                  </a:lnTo>
                  <a:lnTo>
                    <a:pt x="149225" y="28020"/>
                  </a:lnTo>
                  <a:lnTo>
                    <a:pt x="148573" y="23622"/>
                  </a:lnTo>
                  <a:lnTo>
                    <a:pt x="135866" y="21830"/>
                  </a:lnTo>
                  <a:lnTo>
                    <a:pt x="126743" y="25577"/>
                  </a:lnTo>
                  <a:lnTo>
                    <a:pt x="122996" y="20038"/>
                  </a:lnTo>
                  <a:lnTo>
                    <a:pt x="118109" y="17594"/>
                  </a:lnTo>
                  <a:lnTo>
                    <a:pt x="115503" y="11729"/>
                  </a:lnTo>
                  <a:lnTo>
                    <a:pt x="107683" y="6679"/>
                  </a:lnTo>
                  <a:lnTo>
                    <a:pt x="104262" y="6516"/>
                  </a:lnTo>
                  <a:lnTo>
                    <a:pt x="102470" y="2769"/>
                  </a:lnTo>
                  <a:lnTo>
                    <a:pt x="98723" y="0"/>
                  </a:lnTo>
                  <a:lnTo>
                    <a:pt x="97745" y="4561"/>
                  </a:lnTo>
                  <a:lnTo>
                    <a:pt x="94325" y="4887"/>
                  </a:lnTo>
                  <a:lnTo>
                    <a:pt x="87971" y="0"/>
                  </a:lnTo>
                  <a:lnTo>
                    <a:pt x="81780" y="1629"/>
                  </a:lnTo>
                  <a:lnTo>
                    <a:pt x="73961" y="6191"/>
                  </a:lnTo>
                  <a:lnTo>
                    <a:pt x="71191" y="7168"/>
                  </a:lnTo>
                  <a:lnTo>
                    <a:pt x="71191" y="13521"/>
                  </a:lnTo>
                  <a:lnTo>
                    <a:pt x="73472" y="24762"/>
                  </a:lnTo>
                  <a:lnTo>
                    <a:pt x="70703" y="33722"/>
                  </a:lnTo>
                  <a:lnTo>
                    <a:pt x="62557" y="42356"/>
                  </a:lnTo>
                  <a:lnTo>
                    <a:pt x="56529" y="42356"/>
                  </a:lnTo>
                  <a:lnTo>
                    <a:pt x="50502" y="36655"/>
                  </a:lnTo>
                  <a:lnTo>
                    <a:pt x="49687" y="32093"/>
                  </a:lnTo>
                  <a:lnTo>
                    <a:pt x="37795" y="19386"/>
                  </a:lnTo>
                  <a:lnTo>
                    <a:pt x="37306" y="11892"/>
                  </a:lnTo>
                  <a:lnTo>
                    <a:pt x="35188" y="12055"/>
                  </a:lnTo>
                  <a:lnTo>
                    <a:pt x="30790" y="16454"/>
                  </a:lnTo>
                  <a:lnTo>
                    <a:pt x="23622" y="18246"/>
                  </a:lnTo>
                  <a:lnTo>
                    <a:pt x="21178" y="20527"/>
                  </a:lnTo>
                  <a:lnTo>
                    <a:pt x="15965" y="21015"/>
                  </a:lnTo>
                  <a:lnTo>
                    <a:pt x="12055" y="26717"/>
                  </a:lnTo>
                  <a:lnTo>
                    <a:pt x="12544" y="31930"/>
                  </a:lnTo>
                  <a:lnTo>
                    <a:pt x="10426" y="31116"/>
                  </a:lnTo>
                  <a:lnTo>
                    <a:pt x="10589" y="40076"/>
                  </a:lnTo>
                  <a:lnTo>
                    <a:pt x="3910" y="48058"/>
                  </a:lnTo>
                  <a:lnTo>
                    <a:pt x="3258" y="53108"/>
                  </a:lnTo>
                  <a:lnTo>
                    <a:pt x="3747" y="57833"/>
                  </a:lnTo>
                  <a:lnTo>
                    <a:pt x="0" y="61417"/>
                  </a:lnTo>
                  <a:lnTo>
                    <a:pt x="2932" y="73472"/>
                  </a:lnTo>
                  <a:lnTo>
                    <a:pt x="5864" y="76404"/>
                  </a:lnTo>
                  <a:lnTo>
                    <a:pt x="5864" y="77382"/>
                  </a:lnTo>
                  <a:lnTo>
                    <a:pt x="10426" y="76079"/>
                  </a:lnTo>
                  <a:lnTo>
                    <a:pt x="12381" y="70865"/>
                  </a:lnTo>
                  <a:lnTo>
                    <a:pt x="19549" y="64186"/>
                  </a:lnTo>
                  <a:lnTo>
                    <a:pt x="31116" y="61417"/>
                  </a:lnTo>
                  <a:lnTo>
                    <a:pt x="40076" y="62394"/>
                  </a:lnTo>
                  <a:lnTo>
                    <a:pt x="46103" y="62068"/>
                  </a:lnTo>
                  <a:lnTo>
                    <a:pt x="49361" y="64675"/>
                  </a:lnTo>
                  <a:lnTo>
                    <a:pt x="54412" y="60928"/>
                  </a:lnTo>
                  <a:lnTo>
                    <a:pt x="59462" y="60114"/>
                  </a:lnTo>
                  <a:lnTo>
                    <a:pt x="60602" y="63209"/>
                  </a:lnTo>
                  <a:lnTo>
                    <a:pt x="65001" y="63535"/>
                  </a:lnTo>
                  <a:lnTo>
                    <a:pt x="69236" y="68259"/>
                  </a:lnTo>
                  <a:lnTo>
                    <a:pt x="77219" y="68096"/>
                  </a:lnTo>
                  <a:lnTo>
                    <a:pt x="79662" y="69236"/>
                  </a:lnTo>
                  <a:lnTo>
                    <a:pt x="87971" y="63860"/>
                  </a:lnTo>
                  <a:lnTo>
                    <a:pt x="96931" y="68096"/>
                  </a:lnTo>
                  <a:lnTo>
                    <a:pt x="104914" y="69399"/>
                  </a:lnTo>
                  <a:lnTo>
                    <a:pt x="111430" y="76893"/>
                  </a:lnTo>
                  <a:lnTo>
                    <a:pt x="116969" y="77871"/>
                  </a:lnTo>
                  <a:lnTo>
                    <a:pt x="122996" y="85690"/>
                  </a:lnTo>
                  <a:lnTo>
                    <a:pt x="130327" y="86179"/>
                  </a:lnTo>
                  <a:lnTo>
                    <a:pt x="132771" y="88297"/>
                  </a:lnTo>
                  <a:lnTo>
                    <a:pt x="132771" y="88297"/>
                  </a:lnTo>
                  <a:lnTo>
                    <a:pt x="140916" y="84550"/>
                  </a:lnTo>
                  <a:lnTo>
                    <a:pt x="151668" y="83084"/>
                  </a:lnTo>
                  <a:lnTo>
                    <a:pt x="152809" y="76404"/>
                  </a:lnTo>
                  <a:lnTo>
                    <a:pt x="157207" y="74287"/>
                  </a:lnTo>
                  <a:lnTo>
                    <a:pt x="158999" y="69073"/>
                  </a:lnTo>
                  <a:lnTo>
                    <a:pt x="163235" y="68096"/>
                  </a:lnTo>
                  <a:close/>
                </a:path>
              </a:pathLst>
            </a:custGeom>
            <a:solidFill>
              <a:schemeClr val="bg2"/>
            </a:solidFill>
            <a:ln w="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6" name="Forma livre: Forma 155">
              <a:extLst>
                <a:ext uri="{FF2B5EF4-FFF2-40B4-BE49-F238E27FC236}">
                  <a16:creationId xmlns:a16="http://schemas.microsoft.com/office/drawing/2014/main" id="{A5BB1F1B-CBCD-1128-7775-A8223B986A7F}"/>
                </a:ext>
              </a:extLst>
            </p:cNvPr>
            <p:cNvSpPr/>
            <p:nvPr/>
          </p:nvSpPr>
          <p:spPr>
            <a:xfrm>
              <a:off x="6468696" y="3269996"/>
              <a:ext cx="131145" cy="96128"/>
            </a:xfrm>
            <a:custGeom>
              <a:avLst/>
              <a:gdLst>
                <a:gd name="connsiteX0" fmla="*/ 41216 w 126906"/>
                <a:gd name="connsiteY0" fmla="*/ 67770 h 93021"/>
                <a:gd name="connsiteX1" fmla="*/ 40402 w 126906"/>
                <a:gd name="connsiteY1" fmla="*/ 58810 h 93021"/>
                <a:gd name="connsiteX2" fmla="*/ 43334 w 126906"/>
                <a:gd name="connsiteY2" fmla="*/ 54737 h 93021"/>
                <a:gd name="connsiteX3" fmla="*/ 40727 w 126906"/>
                <a:gd name="connsiteY3" fmla="*/ 51968 h 93021"/>
                <a:gd name="connsiteX4" fmla="*/ 37632 w 126906"/>
                <a:gd name="connsiteY4" fmla="*/ 51316 h 93021"/>
                <a:gd name="connsiteX5" fmla="*/ 36655 w 126906"/>
                <a:gd name="connsiteY5" fmla="*/ 46266 h 93021"/>
                <a:gd name="connsiteX6" fmla="*/ 33234 w 126906"/>
                <a:gd name="connsiteY6" fmla="*/ 44474 h 93021"/>
                <a:gd name="connsiteX7" fmla="*/ 23785 w 126906"/>
                <a:gd name="connsiteY7" fmla="*/ 46592 h 93021"/>
                <a:gd name="connsiteX8" fmla="*/ 17268 w 126906"/>
                <a:gd name="connsiteY8" fmla="*/ 43334 h 93021"/>
                <a:gd name="connsiteX9" fmla="*/ 10263 w 126906"/>
                <a:gd name="connsiteY9" fmla="*/ 33722 h 93021"/>
                <a:gd name="connsiteX10" fmla="*/ 1467 w 126906"/>
                <a:gd name="connsiteY10" fmla="*/ 35677 h 93021"/>
                <a:gd name="connsiteX11" fmla="*/ 163 w 126906"/>
                <a:gd name="connsiteY11" fmla="*/ 34863 h 93021"/>
                <a:gd name="connsiteX12" fmla="*/ 2281 w 126906"/>
                <a:gd name="connsiteY12" fmla="*/ 31279 h 93021"/>
                <a:gd name="connsiteX13" fmla="*/ 489 w 126906"/>
                <a:gd name="connsiteY13" fmla="*/ 24762 h 93021"/>
                <a:gd name="connsiteX14" fmla="*/ 0 w 126906"/>
                <a:gd name="connsiteY14" fmla="*/ 17268 h 93021"/>
                <a:gd name="connsiteX15" fmla="*/ 4561 w 126906"/>
                <a:gd name="connsiteY15" fmla="*/ 15965 h 93021"/>
                <a:gd name="connsiteX16" fmla="*/ 6517 w 126906"/>
                <a:gd name="connsiteY16" fmla="*/ 10752 h 93021"/>
                <a:gd name="connsiteX17" fmla="*/ 13685 w 126906"/>
                <a:gd name="connsiteY17" fmla="*/ 4073 h 93021"/>
                <a:gd name="connsiteX18" fmla="*/ 25251 w 126906"/>
                <a:gd name="connsiteY18" fmla="*/ 1303 h 93021"/>
                <a:gd name="connsiteX19" fmla="*/ 34211 w 126906"/>
                <a:gd name="connsiteY19" fmla="*/ 2281 h 93021"/>
                <a:gd name="connsiteX20" fmla="*/ 40239 w 126906"/>
                <a:gd name="connsiteY20" fmla="*/ 1955 h 93021"/>
                <a:gd name="connsiteX21" fmla="*/ 43497 w 126906"/>
                <a:gd name="connsiteY21" fmla="*/ 4561 h 93021"/>
                <a:gd name="connsiteX22" fmla="*/ 48547 w 126906"/>
                <a:gd name="connsiteY22" fmla="*/ 814 h 93021"/>
                <a:gd name="connsiteX23" fmla="*/ 53597 w 126906"/>
                <a:gd name="connsiteY23" fmla="*/ 0 h 93021"/>
                <a:gd name="connsiteX24" fmla="*/ 54738 w 126906"/>
                <a:gd name="connsiteY24" fmla="*/ 3095 h 93021"/>
                <a:gd name="connsiteX25" fmla="*/ 59136 w 126906"/>
                <a:gd name="connsiteY25" fmla="*/ 3421 h 93021"/>
                <a:gd name="connsiteX26" fmla="*/ 63372 w 126906"/>
                <a:gd name="connsiteY26" fmla="*/ 8145 h 93021"/>
                <a:gd name="connsiteX27" fmla="*/ 71354 w 126906"/>
                <a:gd name="connsiteY27" fmla="*/ 7983 h 93021"/>
                <a:gd name="connsiteX28" fmla="*/ 73798 w 126906"/>
                <a:gd name="connsiteY28" fmla="*/ 9123 h 93021"/>
                <a:gd name="connsiteX29" fmla="*/ 82106 w 126906"/>
                <a:gd name="connsiteY29" fmla="*/ 3747 h 93021"/>
                <a:gd name="connsiteX30" fmla="*/ 91067 w 126906"/>
                <a:gd name="connsiteY30" fmla="*/ 7983 h 93021"/>
                <a:gd name="connsiteX31" fmla="*/ 99049 w 126906"/>
                <a:gd name="connsiteY31" fmla="*/ 9286 h 93021"/>
                <a:gd name="connsiteX32" fmla="*/ 105565 w 126906"/>
                <a:gd name="connsiteY32" fmla="*/ 16780 h 93021"/>
                <a:gd name="connsiteX33" fmla="*/ 111104 w 126906"/>
                <a:gd name="connsiteY33" fmla="*/ 17757 h 93021"/>
                <a:gd name="connsiteX34" fmla="*/ 117132 w 126906"/>
                <a:gd name="connsiteY34" fmla="*/ 25577 h 93021"/>
                <a:gd name="connsiteX35" fmla="*/ 124463 w 126906"/>
                <a:gd name="connsiteY35" fmla="*/ 26065 h 93021"/>
                <a:gd name="connsiteX36" fmla="*/ 126906 w 126906"/>
                <a:gd name="connsiteY36" fmla="*/ 28183 h 93021"/>
                <a:gd name="connsiteX37" fmla="*/ 121042 w 126906"/>
                <a:gd name="connsiteY37" fmla="*/ 36003 h 93021"/>
                <a:gd name="connsiteX38" fmla="*/ 125115 w 126906"/>
                <a:gd name="connsiteY38" fmla="*/ 37795 h 93021"/>
                <a:gd name="connsiteX39" fmla="*/ 125115 w 126906"/>
                <a:gd name="connsiteY39" fmla="*/ 43008 h 93021"/>
                <a:gd name="connsiteX40" fmla="*/ 116154 w 126906"/>
                <a:gd name="connsiteY40" fmla="*/ 47081 h 93021"/>
                <a:gd name="connsiteX41" fmla="*/ 111430 w 126906"/>
                <a:gd name="connsiteY41" fmla="*/ 55552 h 93021"/>
                <a:gd name="connsiteX42" fmla="*/ 107683 w 126906"/>
                <a:gd name="connsiteY42" fmla="*/ 56204 h 93021"/>
                <a:gd name="connsiteX43" fmla="*/ 106217 w 126906"/>
                <a:gd name="connsiteY43" fmla="*/ 64023 h 93021"/>
                <a:gd name="connsiteX44" fmla="*/ 112896 w 126906"/>
                <a:gd name="connsiteY44" fmla="*/ 67281 h 93021"/>
                <a:gd name="connsiteX45" fmla="*/ 112896 w 126906"/>
                <a:gd name="connsiteY45" fmla="*/ 72820 h 93021"/>
                <a:gd name="connsiteX46" fmla="*/ 107358 w 126906"/>
                <a:gd name="connsiteY46" fmla="*/ 72820 h 93021"/>
                <a:gd name="connsiteX47" fmla="*/ 105565 w 126906"/>
                <a:gd name="connsiteY47" fmla="*/ 69888 h 93021"/>
                <a:gd name="connsiteX48" fmla="*/ 101167 w 126906"/>
                <a:gd name="connsiteY48" fmla="*/ 71354 h 93021"/>
                <a:gd name="connsiteX49" fmla="*/ 98560 w 126906"/>
                <a:gd name="connsiteY49" fmla="*/ 78033 h 93021"/>
                <a:gd name="connsiteX50" fmla="*/ 91067 w 126906"/>
                <a:gd name="connsiteY50" fmla="*/ 78359 h 93021"/>
                <a:gd name="connsiteX51" fmla="*/ 93673 w 126906"/>
                <a:gd name="connsiteY51" fmla="*/ 85690 h 93021"/>
                <a:gd name="connsiteX52" fmla="*/ 89274 w 126906"/>
                <a:gd name="connsiteY52" fmla="*/ 86179 h 93021"/>
                <a:gd name="connsiteX53" fmla="*/ 82595 w 126906"/>
                <a:gd name="connsiteY53" fmla="*/ 89437 h 93021"/>
                <a:gd name="connsiteX54" fmla="*/ 76079 w 126906"/>
                <a:gd name="connsiteY54" fmla="*/ 86179 h 93021"/>
                <a:gd name="connsiteX55" fmla="*/ 66793 w 126906"/>
                <a:gd name="connsiteY55" fmla="*/ 89111 h 93021"/>
                <a:gd name="connsiteX56" fmla="*/ 61091 w 126906"/>
                <a:gd name="connsiteY56" fmla="*/ 93021 h 93021"/>
                <a:gd name="connsiteX57" fmla="*/ 57833 w 126906"/>
                <a:gd name="connsiteY57" fmla="*/ 87808 h 93021"/>
                <a:gd name="connsiteX58" fmla="*/ 58322 w 126906"/>
                <a:gd name="connsiteY58" fmla="*/ 81617 h 93021"/>
                <a:gd name="connsiteX59" fmla="*/ 55552 w 126906"/>
                <a:gd name="connsiteY59" fmla="*/ 72332 h 93021"/>
                <a:gd name="connsiteX60" fmla="*/ 51968 w 126906"/>
                <a:gd name="connsiteY60" fmla="*/ 71843 h 93021"/>
                <a:gd name="connsiteX61" fmla="*/ 46267 w 126906"/>
                <a:gd name="connsiteY61" fmla="*/ 67281 h 93021"/>
                <a:gd name="connsiteX62" fmla="*/ 41216 w 126906"/>
                <a:gd name="connsiteY62" fmla="*/ 67770 h 930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</a:cxnLst>
              <a:rect l="l" t="t" r="r" b="b"/>
              <a:pathLst>
                <a:path w="126906" h="93021">
                  <a:moveTo>
                    <a:pt x="41216" y="67770"/>
                  </a:moveTo>
                  <a:lnTo>
                    <a:pt x="40402" y="58810"/>
                  </a:lnTo>
                  <a:lnTo>
                    <a:pt x="43334" y="54737"/>
                  </a:lnTo>
                  <a:lnTo>
                    <a:pt x="40727" y="51968"/>
                  </a:lnTo>
                  <a:lnTo>
                    <a:pt x="37632" y="51316"/>
                  </a:lnTo>
                  <a:lnTo>
                    <a:pt x="36655" y="46266"/>
                  </a:lnTo>
                  <a:lnTo>
                    <a:pt x="33234" y="44474"/>
                  </a:lnTo>
                  <a:lnTo>
                    <a:pt x="23785" y="46592"/>
                  </a:lnTo>
                  <a:lnTo>
                    <a:pt x="17268" y="43334"/>
                  </a:lnTo>
                  <a:lnTo>
                    <a:pt x="10263" y="33722"/>
                  </a:lnTo>
                  <a:lnTo>
                    <a:pt x="1467" y="35677"/>
                  </a:lnTo>
                  <a:lnTo>
                    <a:pt x="163" y="34863"/>
                  </a:lnTo>
                  <a:lnTo>
                    <a:pt x="2281" y="31279"/>
                  </a:lnTo>
                  <a:lnTo>
                    <a:pt x="489" y="24762"/>
                  </a:lnTo>
                  <a:lnTo>
                    <a:pt x="0" y="17268"/>
                  </a:lnTo>
                  <a:lnTo>
                    <a:pt x="4561" y="15965"/>
                  </a:lnTo>
                  <a:lnTo>
                    <a:pt x="6517" y="10752"/>
                  </a:lnTo>
                  <a:lnTo>
                    <a:pt x="13685" y="4073"/>
                  </a:lnTo>
                  <a:lnTo>
                    <a:pt x="25251" y="1303"/>
                  </a:lnTo>
                  <a:lnTo>
                    <a:pt x="34211" y="2281"/>
                  </a:lnTo>
                  <a:lnTo>
                    <a:pt x="40239" y="1955"/>
                  </a:lnTo>
                  <a:lnTo>
                    <a:pt x="43497" y="4561"/>
                  </a:lnTo>
                  <a:lnTo>
                    <a:pt x="48547" y="814"/>
                  </a:lnTo>
                  <a:lnTo>
                    <a:pt x="53597" y="0"/>
                  </a:lnTo>
                  <a:lnTo>
                    <a:pt x="54738" y="3095"/>
                  </a:lnTo>
                  <a:lnTo>
                    <a:pt x="59136" y="3421"/>
                  </a:lnTo>
                  <a:lnTo>
                    <a:pt x="63372" y="8145"/>
                  </a:lnTo>
                  <a:lnTo>
                    <a:pt x="71354" y="7983"/>
                  </a:lnTo>
                  <a:lnTo>
                    <a:pt x="73798" y="9123"/>
                  </a:lnTo>
                  <a:lnTo>
                    <a:pt x="82106" y="3747"/>
                  </a:lnTo>
                  <a:lnTo>
                    <a:pt x="91067" y="7983"/>
                  </a:lnTo>
                  <a:lnTo>
                    <a:pt x="99049" y="9286"/>
                  </a:lnTo>
                  <a:lnTo>
                    <a:pt x="105565" y="16780"/>
                  </a:lnTo>
                  <a:lnTo>
                    <a:pt x="111104" y="17757"/>
                  </a:lnTo>
                  <a:lnTo>
                    <a:pt x="117132" y="25577"/>
                  </a:lnTo>
                  <a:lnTo>
                    <a:pt x="124463" y="26065"/>
                  </a:lnTo>
                  <a:lnTo>
                    <a:pt x="126906" y="28183"/>
                  </a:lnTo>
                  <a:lnTo>
                    <a:pt x="121042" y="36003"/>
                  </a:lnTo>
                  <a:lnTo>
                    <a:pt x="125115" y="37795"/>
                  </a:lnTo>
                  <a:lnTo>
                    <a:pt x="125115" y="43008"/>
                  </a:lnTo>
                  <a:lnTo>
                    <a:pt x="116154" y="47081"/>
                  </a:lnTo>
                  <a:lnTo>
                    <a:pt x="111430" y="55552"/>
                  </a:lnTo>
                  <a:lnTo>
                    <a:pt x="107683" y="56204"/>
                  </a:lnTo>
                  <a:lnTo>
                    <a:pt x="106217" y="64023"/>
                  </a:lnTo>
                  <a:lnTo>
                    <a:pt x="112896" y="67281"/>
                  </a:lnTo>
                  <a:lnTo>
                    <a:pt x="112896" y="72820"/>
                  </a:lnTo>
                  <a:lnTo>
                    <a:pt x="107358" y="72820"/>
                  </a:lnTo>
                  <a:lnTo>
                    <a:pt x="105565" y="69888"/>
                  </a:lnTo>
                  <a:lnTo>
                    <a:pt x="101167" y="71354"/>
                  </a:lnTo>
                  <a:lnTo>
                    <a:pt x="98560" y="78033"/>
                  </a:lnTo>
                  <a:lnTo>
                    <a:pt x="91067" y="78359"/>
                  </a:lnTo>
                  <a:lnTo>
                    <a:pt x="93673" y="85690"/>
                  </a:lnTo>
                  <a:lnTo>
                    <a:pt x="89274" y="86179"/>
                  </a:lnTo>
                  <a:lnTo>
                    <a:pt x="82595" y="89437"/>
                  </a:lnTo>
                  <a:lnTo>
                    <a:pt x="76079" y="86179"/>
                  </a:lnTo>
                  <a:lnTo>
                    <a:pt x="66793" y="89111"/>
                  </a:lnTo>
                  <a:lnTo>
                    <a:pt x="61091" y="93021"/>
                  </a:lnTo>
                  <a:lnTo>
                    <a:pt x="57833" y="87808"/>
                  </a:lnTo>
                  <a:lnTo>
                    <a:pt x="58322" y="81617"/>
                  </a:lnTo>
                  <a:lnTo>
                    <a:pt x="55552" y="72332"/>
                  </a:lnTo>
                  <a:lnTo>
                    <a:pt x="51968" y="71843"/>
                  </a:lnTo>
                  <a:lnTo>
                    <a:pt x="46267" y="67281"/>
                  </a:lnTo>
                  <a:lnTo>
                    <a:pt x="41216" y="67770"/>
                  </a:lnTo>
                  <a:close/>
                </a:path>
              </a:pathLst>
            </a:custGeom>
            <a:solidFill>
              <a:schemeClr val="bg2"/>
            </a:solidFill>
            <a:ln w="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7" name="Forma livre: Forma 156">
              <a:extLst>
                <a:ext uri="{FF2B5EF4-FFF2-40B4-BE49-F238E27FC236}">
                  <a16:creationId xmlns:a16="http://schemas.microsoft.com/office/drawing/2014/main" id="{E7C0E369-DA60-D993-3289-57A7A70EE82D}"/>
                </a:ext>
              </a:extLst>
            </p:cNvPr>
            <p:cNvSpPr/>
            <p:nvPr/>
          </p:nvSpPr>
          <p:spPr>
            <a:xfrm>
              <a:off x="6531827" y="3277403"/>
              <a:ext cx="221380" cy="170706"/>
            </a:xfrm>
            <a:custGeom>
              <a:avLst/>
              <a:gdLst>
                <a:gd name="connsiteX0" fmla="*/ 0 w 214225"/>
                <a:gd name="connsiteY0" fmla="*/ 85853 h 165189"/>
                <a:gd name="connsiteX1" fmla="*/ 5702 w 214225"/>
                <a:gd name="connsiteY1" fmla="*/ 81943 h 165189"/>
                <a:gd name="connsiteX2" fmla="*/ 14988 w 214225"/>
                <a:gd name="connsiteY2" fmla="*/ 79011 h 165189"/>
                <a:gd name="connsiteX3" fmla="*/ 21504 w 214225"/>
                <a:gd name="connsiteY3" fmla="*/ 82269 h 165189"/>
                <a:gd name="connsiteX4" fmla="*/ 28183 w 214225"/>
                <a:gd name="connsiteY4" fmla="*/ 79011 h 165189"/>
                <a:gd name="connsiteX5" fmla="*/ 32582 w 214225"/>
                <a:gd name="connsiteY5" fmla="*/ 78522 h 165189"/>
                <a:gd name="connsiteX6" fmla="*/ 29976 w 214225"/>
                <a:gd name="connsiteY6" fmla="*/ 71191 h 165189"/>
                <a:gd name="connsiteX7" fmla="*/ 37469 w 214225"/>
                <a:gd name="connsiteY7" fmla="*/ 70866 h 165189"/>
                <a:gd name="connsiteX8" fmla="*/ 40076 w 214225"/>
                <a:gd name="connsiteY8" fmla="*/ 64186 h 165189"/>
                <a:gd name="connsiteX9" fmla="*/ 44474 w 214225"/>
                <a:gd name="connsiteY9" fmla="*/ 62720 h 165189"/>
                <a:gd name="connsiteX10" fmla="*/ 46267 w 214225"/>
                <a:gd name="connsiteY10" fmla="*/ 65652 h 165189"/>
                <a:gd name="connsiteX11" fmla="*/ 51805 w 214225"/>
                <a:gd name="connsiteY11" fmla="*/ 65652 h 165189"/>
                <a:gd name="connsiteX12" fmla="*/ 51805 w 214225"/>
                <a:gd name="connsiteY12" fmla="*/ 60114 h 165189"/>
                <a:gd name="connsiteX13" fmla="*/ 45126 w 214225"/>
                <a:gd name="connsiteY13" fmla="*/ 56855 h 165189"/>
                <a:gd name="connsiteX14" fmla="*/ 46592 w 214225"/>
                <a:gd name="connsiteY14" fmla="*/ 49036 h 165189"/>
                <a:gd name="connsiteX15" fmla="*/ 50339 w 214225"/>
                <a:gd name="connsiteY15" fmla="*/ 48384 h 165189"/>
                <a:gd name="connsiteX16" fmla="*/ 55063 w 214225"/>
                <a:gd name="connsiteY16" fmla="*/ 39913 h 165189"/>
                <a:gd name="connsiteX17" fmla="*/ 64024 w 214225"/>
                <a:gd name="connsiteY17" fmla="*/ 35840 h 165189"/>
                <a:gd name="connsiteX18" fmla="*/ 64024 w 214225"/>
                <a:gd name="connsiteY18" fmla="*/ 30627 h 165189"/>
                <a:gd name="connsiteX19" fmla="*/ 59951 w 214225"/>
                <a:gd name="connsiteY19" fmla="*/ 28835 h 165189"/>
                <a:gd name="connsiteX20" fmla="*/ 65815 w 214225"/>
                <a:gd name="connsiteY20" fmla="*/ 21015 h 165189"/>
                <a:gd name="connsiteX21" fmla="*/ 73961 w 214225"/>
                <a:gd name="connsiteY21" fmla="*/ 17268 h 165189"/>
                <a:gd name="connsiteX22" fmla="*/ 84713 w 214225"/>
                <a:gd name="connsiteY22" fmla="*/ 15802 h 165189"/>
                <a:gd name="connsiteX23" fmla="*/ 85853 w 214225"/>
                <a:gd name="connsiteY23" fmla="*/ 9123 h 165189"/>
                <a:gd name="connsiteX24" fmla="*/ 90252 w 214225"/>
                <a:gd name="connsiteY24" fmla="*/ 7005 h 165189"/>
                <a:gd name="connsiteX25" fmla="*/ 92044 w 214225"/>
                <a:gd name="connsiteY25" fmla="*/ 1792 h 165189"/>
                <a:gd name="connsiteX26" fmla="*/ 98397 w 214225"/>
                <a:gd name="connsiteY26" fmla="*/ 326 h 165189"/>
                <a:gd name="connsiteX27" fmla="*/ 102796 w 214225"/>
                <a:gd name="connsiteY27" fmla="*/ 3258 h 165189"/>
                <a:gd name="connsiteX28" fmla="*/ 108335 w 214225"/>
                <a:gd name="connsiteY28" fmla="*/ 0 h 165189"/>
                <a:gd name="connsiteX29" fmla="*/ 113385 w 214225"/>
                <a:gd name="connsiteY29" fmla="*/ 8145 h 165189"/>
                <a:gd name="connsiteX30" fmla="*/ 119738 w 214225"/>
                <a:gd name="connsiteY30" fmla="*/ 5213 h 165189"/>
                <a:gd name="connsiteX31" fmla="*/ 125277 w 214225"/>
                <a:gd name="connsiteY31" fmla="*/ 5865 h 165189"/>
                <a:gd name="connsiteX32" fmla="*/ 130002 w 214225"/>
                <a:gd name="connsiteY32" fmla="*/ 14336 h 165189"/>
                <a:gd name="connsiteX33" fmla="*/ 136681 w 214225"/>
                <a:gd name="connsiteY33" fmla="*/ 9123 h 165189"/>
                <a:gd name="connsiteX34" fmla="*/ 144012 w 214225"/>
                <a:gd name="connsiteY34" fmla="*/ 7005 h 165189"/>
                <a:gd name="connsiteX35" fmla="*/ 147107 w 214225"/>
                <a:gd name="connsiteY35" fmla="*/ 10752 h 165189"/>
                <a:gd name="connsiteX36" fmla="*/ 150691 w 214225"/>
                <a:gd name="connsiteY36" fmla="*/ 10752 h 165189"/>
                <a:gd name="connsiteX37" fmla="*/ 161769 w 214225"/>
                <a:gd name="connsiteY37" fmla="*/ 14662 h 165189"/>
                <a:gd name="connsiteX38" fmla="*/ 163235 w 214225"/>
                <a:gd name="connsiteY38" fmla="*/ 20690 h 165189"/>
                <a:gd name="connsiteX39" fmla="*/ 161443 w 214225"/>
                <a:gd name="connsiteY39" fmla="*/ 27206 h 165189"/>
                <a:gd name="connsiteX40" fmla="*/ 165842 w 214225"/>
                <a:gd name="connsiteY40" fmla="*/ 32419 h 165189"/>
                <a:gd name="connsiteX41" fmla="*/ 165842 w 214225"/>
                <a:gd name="connsiteY41" fmla="*/ 40239 h 165189"/>
                <a:gd name="connsiteX42" fmla="*/ 171706 w 214225"/>
                <a:gd name="connsiteY42" fmla="*/ 46429 h 165189"/>
                <a:gd name="connsiteX43" fmla="*/ 174639 w 214225"/>
                <a:gd name="connsiteY43" fmla="*/ 53434 h 165189"/>
                <a:gd name="connsiteX44" fmla="*/ 181318 w 214225"/>
                <a:gd name="connsiteY44" fmla="*/ 62720 h 165189"/>
                <a:gd name="connsiteX45" fmla="*/ 186531 w 214225"/>
                <a:gd name="connsiteY45" fmla="*/ 66467 h 165189"/>
                <a:gd name="connsiteX46" fmla="*/ 188812 w 214225"/>
                <a:gd name="connsiteY46" fmla="*/ 74938 h 165189"/>
                <a:gd name="connsiteX47" fmla="*/ 197283 w 214225"/>
                <a:gd name="connsiteY47" fmla="*/ 77056 h 165189"/>
                <a:gd name="connsiteX48" fmla="*/ 206895 w 214225"/>
                <a:gd name="connsiteY48" fmla="*/ 85527 h 165189"/>
                <a:gd name="connsiteX49" fmla="*/ 207547 w 214225"/>
                <a:gd name="connsiteY49" fmla="*/ 90415 h 165189"/>
                <a:gd name="connsiteX50" fmla="*/ 214226 w 214225"/>
                <a:gd name="connsiteY50" fmla="*/ 94813 h 165189"/>
                <a:gd name="connsiteX51" fmla="*/ 211293 w 214225"/>
                <a:gd name="connsiteY51" fmla="*/ 97420 h 165189"/>
                <a:gd name="connsiteX52" fmla="*/ 206080 w 214225"/>
                <a:gd name="connsiteY52" fmla="*/ 105891 h 165189"/>
                <a:gd name="connsiteX53" fmla="*/ 192722 w 214225"/>
                <a:gd name="connsiteY53" fmla="*/ 107683 h 165189"/>
                <a:gd name="connsiteX54" fmla="*/ 187183 w 214225"/>
                <a:gd name="connsiteY54" fmla="*/ 102633 h 165189"/>
                <a:gd name="connsiteX55" fmla="*/ 185065 w 214225"/>
                <a:gd name="connsiteY55" fmla="*/ 106706 h 165189"/>
                <a:gd name="connsiteX56" fmla="*/ 185391 w 214225"/>
                <a:gd name="connsiteY56" fmla="*/ 112896 h 165189"/>
                <a:gd name="connsiteX57" fmla="*/ 190604 w 214225"/>
                <a:gd name="connsiteY57" fmla="*/ 121042 h 165189"/>
                <a:gd name="connsiteX58" fmla="*/ 189790 w 214225"/>
                <a:gd name="connsiteY58" fmla="*/ 128047 h 165189"/>
                <a:gd name="connsiteX59" fmla="*/ 195817 w 214225"/>
                <a:gd name="connsiteY59" fmla="*/ 134726 h 165189"/>
                <a:gd name="connsiteX60" fmla="*/ 195817 w 214225"/>
                <a:gd name="connsiteY60" fmla="*/ 141079 h 165189"/>
                <a:gd name="connsiteX61" fmla="*/ 195002 w 214225"/>
                <a:gd name="connsiteY61" fmla="*/ 141079 h 165189"/>
                <a:gd name="connsiteX62" fmla="*/ 184250 w 214225"/>
                <a:gd name="connsiteY62" fmla="*/ 143849 h 165189"/>
                <a:gd name="connsiteX63" fmla="*/ 176594 w 214225"/>
                <a:gd name="connsiteY63" fmla="*/ 144500 h 165189"/>
                <a:gd name="connsiteX64" fmla="*/ 173010 w 214225"/>
                <a:gd name="connsiteY64" fmla="*/ 154275 h 165189"/>
                <a:gd name="connsiteX65" fmla="*/ 172358 w 214225"/>
                <a:gd name="connsiteY65" fmla="*/ 162909 h 165189"/>
                <a:gd name="connsiteX66" fmla="*/ 166819 w 214225"/>
                <a:gd name="connsiteY66" fmla="*/ 163724 h 165189"/>
                <a:gd name="connsiteX67" fmla="*/ 162420 w 214225"/>
                <a:gd name="connsiteY67" fmla="*/ 159814 h 165189"/>
                <a:gd name="connsiteX68" fmla="*/ 155090 w 214225"/>
                <a:gd name="connsiteY68" fmla="*/ 162095 h 165189"/>
                <a:gd name="connsiteX69" fmla="*/ 150691 w 214225"/>
                <a:gd name="connsiteY69" fmla="*/ 159162 h 165189"/>
                <a:gd name="connsiteX70" fmla="*/ 145478 w 214225"/>
                <a:gd name="connsiteY70" fmla="*/ 159488 h 165189"/>
                <a:gd name="connsiteX71" fmla="*/ 140754 w 214225"/>
                <a:gd name="connsiteY71" fmla="*/ 165190 h 165189"/>
                <a:gd name="connsiteX72" fmla="*/ 136518 w 214225"/>
                <a:gd name="connsiteY72" fmla="*/ 163887 h 165189"/>
                <a:gd name="connsiteX73" fmla="*/ 135377 w 214225"/>
                <a:gd name="connsiteY73" fmla="*/ 158999 h 165189"/>
                <a:gd name="connsiteX74" fmla="*/ 128372 w 214225"/>
                <a:gd name="connsiteY74" fmla="*/ 158022 h 165189"/>
                <a:gd name="connsiteX75" fmla="*/ 120390 w 214225"/>
                <a:gd name="connsiteY75" fmla="*/ 162909 h 165189"/>
                <a:gd name="connsiteX76" fmla="*/ 116969 w 214225"/>
                <a:gd name="connsiteY76" fmla="*/ 161280 h 165189"/>
                <a:gd name="connsiteX77" fmla="*/ 109149 w 214225"/>
                <a:gd name="connsiteY77" fmla="*/ 160140 h 165189"/>
                <a:gd name="connsiteX78" fmla="*/ 107031 w 214225"/>
                <a:gd name="connsiteY78" fmla="*/ 162420 h 165189"/>
                <a:gd name="connsiteX79" fmla="*/ 103447 w 214225"/>
                <a:gd name="connsiteY79" fmla="*/ 162583 h 165189"/>
                <a:gd name="connsiteX80" fmla="*/ 99212 w 214225"/>
                <a:gd name="connsiteY80" fmla="*/ 158674 h 165189"/>
                <a:gd name="connsiteX81" fmla="*/ 90415 w 214225"/>
                <a:gd name="connsiteY81" fmla="*/ 162258 h 165189"/>
                <a:gd name="connsiteX82" fmla="*/ 89274 w 214225"/>
                <a:gd name="connsiteY82" fmla="*/ 159325 h 165189"/>
                <a:gd name="connsiteX83" fmla="*/ 83084 w 214225"/>
                <a:gd name="connsiteY83" fmla="*/ 156067 h 165189"/>
                <a:gd name="connsiteX84" fmla="*/ 68259 w 214225"/>
                <a:gd name="connsiteY84" fmla="*/ 153949 h 165189"/>
                <a:gd name="connsiteX85" fmla="*/ 62068 w 214225"/>
                <a:gd name="connsiteY85" fmla="*/ 150365 h 165189"/>
                <a:gd name="connsiteX86" fmla="*/ 58974 w 214225"/>
                <a:gd name="connsiteY86" fmla="*/ 150202 h 165189"/>
                <a:gd name="connsiteX87" fmla="*/ 53597 w 214225"/>
                <a:gd name="connsiteY87" fmla="*/ 154601 h 165189"/>
                <a:gd name="connsiteX88" fmla="*/ 45452 w 214225"/>
                <a:gd name="connsiteY88" fmla="*/ 155090 h 165189"/>
                <a:gd name="connsiteX89" fmla="*/ 27532 w 214225"/>
                <a:gd name="connsiteY89" fmla="*/ 157533 h 165189"/>
                <a:gd name="connsiteX90" fmla="*/ 23133 w 214225"/>
                <a:gd name="connsiteY90" fmla="*/ 159977 h 165189"/>
                <a:gd name="connsiteX91" fmla="*/ 14825 w 214225"/>
                <a:gd name="connsiteY91" fmla="*/ 155741 h 165189"/>
                <a:gd name="connsiteX92" fmla="*/ 10752 w 214225"/>
                <a:gd name="connsiteY92" fmla="*/ 156230 h 165189"/>
                <a:gd name="connsiteX93" fmla="*/ 11078 w 214225"/>
                <a:gd name="connsiteY93" fmla="*/ 153786 h 165189"/>
                <a:gd name="connsiteX94" fmla="*/ 5865 w 214225"/>
                <a:gd name="connsiteY94" fmla="*/ 145478 h 165189"/>
                <a:gd name="connsiteX95" fmla="*/ 3747 w 214225"/>
                <a:gd name="connsiteY95" fmla="*/ 137821 h 165189"/>
                <a:gd name="connsiteX96" fmla="*/ 7657 w 214225"/>
                <a:gd name="connsiteY96" fmla="*/ 131631 h 165189"/>
                <a:gd name="connsiteX97" fmla="*/ 12870 w 214225"/>
                <a:gd name="connsiteY97" fmla="*/ 129839 h 165189"/>
                <a:gd name="connsiteX98" fmla="*/ 12707 w 214225"/>
                <a:gd name="connsiteY98" fmla="*/ 113711 h 165189"/>
                <a:gd name="connsiteX99" fmla="*/ 9775 w 214225"/>
                <a:gd name="connsiteY99" fmla="*/ 111104 h 165189"/>
                <a:gd name="connsiteX100" fmla="*/ 8634 w 214225"/>
                <a:gd name="connsiteY100" fmla="*/ 104914 h 165189"/>
                <a:gd name="connsiteX101" fmla="*/ 5050 w 214225"/>
                <a:gd name="connsiteY101" fmla="*/ 99538 h 165189"/>
                <a:gd name="connsiteX102" fmla="*/ 1304 w 214225"/>
                <a:gd name="connsiteY102" fmla="*/ 87808 h 165189"/>
                <a:gd name="connsiteX103" fmla="*/ 0 w 214225"/>
                <a:gd name="connsiteY103" fmla="*/ 85853 h 1651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</a:cxnLst>
              <a:rect l="l" t="t" r="r" b="b"/>
              <a:pathLst>
                <a:path w="214225" h="165189">
                  <a:moveTo>
                    <a:pt x="0" y="85853"/>
                  </a:moveTo>
                  <a:lnTo>
                    <a:pt x="5702" y="81943"/>
                  </a:lnTo>
                  <a:lnTo>
                    <a:pt x="14988" y="79011"/>
                  </a:lnTo>
                  <a:lnTo>
                    <a:pt x="21504" y="82269"/>
                  </a:lnTo>
                  <a:lnTo>
                    <a:pt x="28183" y="79011"/>
                  </a:lnTo>
                  <a:lnTo>
                    <a:pt x="32582" y="78522"/>
                  </a:lnTo>
                  <a:lnTo>
                    <a:pt x="29976" y="71191"/>
                  </a:lnTo>
                  <a:lnTo>
                    <a:pt x="37469" y="70866"/>
                  </a:lnTo>
                  <a:lnTo>
                    <a:pt x="40076" y="64186"/>
                  </a:lnTo>
                  <a:lnTo>
                    <a:pt x="44474" y="62720"/>
                  </a:lnTo>
                  <a:lnTo>
                    <a:pt x="46267" y="65652"/>
                  </a:lnTo>
                  <a:lnTo>
                    <a:pt x="51805" y="65652"/>
                  </a:lnTo>
                  <a:lnTo>
                    <a:pt x="51805" y="60114"/>
                  </a:lnTo>
                  <a:lnTo>
                    <a:pt x="45126" y="56855"/>
                  </a:lnTo>
                  <a:lnTo>
                    <a:pt x="46592" y="49036"/>
                  </a:lnTo>
                  <a:lnTo>
                    <a:pt x="50339" y="48384"/>
                  </a:lnTo>
                  <a:lnTo>
                    <a:pt x="55063" y="39913"/>
                  </a:lnTo>
                  <a:lnTo>
                    <a:pt x="64024" y="35840"/>
                  </a:lnTo>
                  <a:lnTo>
                    <a:pt x="64024" y="30627"/>
                  </a:lnTo>
                  <a:lnTo>
                    <a:pt x="59951" y="28835"/>
                  </a:lnTo>
                  <a:lnTo>
                    <a:pt x="65815" y="21015"/>
                  </a:lnTo>
                  <a:lnTo>
                    <a:pt x="73961" y="17268"/>
                  </a:lnTo>
                  <a:lnTo>
                    <a:pt x="84713" y="15802"/>
                  </a:lnTo>
                  <a:lnTo>
                    <a:pt x="85853" y="9123"/>
                  </a:lnTo>
                  <a:lnTo>
                    <a:pt x="90252" y="7005"/>
                  </a:lnTo>
                  <a:lnTo>
                    <a:pt x="92044" y="1792"/>
                  </a:lnTo>
                  <a:lnTo>
                    <a:pt x="98397" y="326"/>
                  </a:lnTo>
                  <a:lnTo>
                    <a:pt x="102796" y="3258"/>
                  </a:lnTo>
                  <a:lnTo>
                    <a:pt x="108335" y="0"/>
                  </a:lnTo>
                  <a:lnTo>
                    <a:pt x="113385" y="8145"/>
                  </a:lnTo>
                  <a:lnTo>
                    <a:pt x="119738" y="5213"/>
                  </a:lnTo>
                  <a:lnTo>
                    <a:pt x="125277" y="5865"/>
                  </a:lnTo>
                  <a:lnTo>
                    <a:pt x="130002" y="14336"/>
                  </a:lnTo>
                  <a:lnTo>
                    <a:pt x="136681" y="9123"/>
                  </a:lnTo>
                  <a:lnTo>
                    <a:pt x="144012" y="7005"/>
                  </a:lnTo>
                  <a:lnTo>
                    <a:pt x="147107" y="10752"/>
                  </a:lnTo>
                  <a:lnTo>
                    <a:pt x="150691" y="10752"/>
                  </a:lnTo>
                  <a:lnTo>
                    <a:pt x="161769" y="14662"/>
                  </a:lnTo>
                  <a:lnTo>
                    <a:pt x="163235" y="20690"/>
                  </a:lnTo>
                  <a:lnTo>
                    <a:pt x="161443" y="27206"/>
                  </a:lnTo>
                  <a:lnTo>
                    <a:pt x="165842" y="32419"/>
                  </a:lnTo>
                  <a:lnTo>
                    <a:pt x="165842" y="40239"/>
                  </a:lnTo>
                  <a:lnTo>
                    <a:pt x="171706" y="46429"/>
                  </a:lnTo>
                  <a:lnTo>
                    <a:pt x="174639" y="53434"/>
                  </a:lnTo>
                  <a:lnTo>
                    <a:pt x="181318" y="62720"/>
                  </a:lnTo>
                  <a:lnTo>
                    <a:pt x="186531" y="66467"/>
                  </a:lnTo>
                  <a:lnTo>
                    <a:pt x="188812" y="74938"/>
                  </a:lnTo>
                  <a:lnTo>
                    <a:pt x="197283" y="77056"/>
                  </a:lnTo>
                  <a:lnTo>
                    <a:pt x="206895" y="85527"/>
                  </a:lnTo>
                  <a:lnTo>
                    <a:pt x="207547" y="90415"/>
                  </a:lnTo>
                  <a:lnTo>
                    <a:pt x="214226" y="94813"/>
                  </a:lnTo>
                  <a:lnTo>
                    <a:pt x="211293" y="97420"/>
                  </a:lnTo>
                  <a:lnTo>
                    <a:pt x="206080" y="105891"/>
                  </a:lnTo>
                  <a:lnTo>
                    <a:pt x="192722" y="107683"/>
                  </a:lnTo>
                  <a:lnTo>
                    <a:pt x="187183" y="102633"/>
                  </a:lnTo>
                  <a:lnTo>
                    <a:pt x="185065" y="106706"/>
                  </a:lnTo>
                  <a:lnTo>
                    <a:pt x="185391" y="112896"/>
                  </a:lnTo>
                  <a:lnTo>
                    <a:pt x="190604" y="121042"/>
                  </a:lnTo>
                  <a:lnTo>
                    <a:pt x="189790" y="128047"/>
                  </a:lnTo>
                  <a:lnTo>
                    <a:pt x="195817" y="134726"/>
                  </a:lnTo>
                  <a:lnTo>
                    <a:pt x="195817" y="141079"/>
                  </a:lnTo>
                  <a:lnTo>
                    <a:pt x="195002" y="141079"/>
                  </a:lnTo>
                  <a:lnTo>
                    <a:pt x="184250" y="143849"/>
                  </a:lnTo>
                  <a:lnTo>
                    <a:pt x="176594" y="144500"/>
                  </a:lnTo>
                  <a:lnTo>
                    <a:pt x="173010" y="154275"/>
                  </a:lnTo>
                  <a:lnTo>
                    <a:pt x="172358" y="162909"/>
                  </a:lnTo>
                  <a:lnTo>
                    <a:pt x="166819" y="163724"/>
                  </a:lnTo>
                  <a:lnTo>
                    <a:pt x="162420" y="159814"/>
                  </a:lnTo>
                  <a:lnTo>
                    <a:pt x="155090" y="162095"/>
                  </a:lnTo>
                  <a:lnTo>
                    <a:pt x="150691" y="159162"/>
                  </a:lnTo>
                  <a:lnTo>
                    <a:pt x="145478" y="159488"/>
                  </a:lnTo>
                  <a:lnTo>
                    <a:pt x="140754" y="165190"/>
                  </a:lnTo>
                  <a:lnTo>
                    <a:pt x="136518" y="163887"/>
                  </a:lnTo>
                  <a:lnTo>
                    <a:pt x="135377" y="158999"/>
                  </a:lnTo>
                  <a:lnTo>
                    <a:pt x="128372" y="158022"/>
                  </a:lnTo>
                  <a:lnTo>
                    <a:pt x="120390" y="162909"/>
                  </a:lnTo>
                  <a:lnTo>
                    <a:pt x="116969" y="161280"/>
                  </a:lnTo>
                  <a:lnTo>
                    <a:pt x="109149" y="160140"/>
                  </a:lnTo>
                  <a:lnTo>
                    <a:pt x="107031" y="162420"/>
                  </a:lnTo>
                  <a:lnTo>
                    <a:pt x="103447" y="162583"/>
                  </a:lnTo>
                  <a:lnTo>
                    <a:pt x="99212" y="158674"/>
                  </a:lnTo>
                  <a:lnTo>
                    <a:pt x="90415" y="162258"/>
                  </a:lnTo>
                  <a:lnTo>
                    <a:pt x="89274" y="159325"/>
                  </a:lnTo>
                  <a:lnTo>
                    <a:pt x="83084" y="156067"/>
                  </a:lnTo>
                  <a:lnTo>
                    <a:pt x="68259" y="153949"/>
                  </a:lnTo>
                  <a:lnTo>
                    <a:pt x="62068" y="150365"/>
                  </a:lnTo>
                  <a:lnTo>
                    <a:pt x="58974" y="150202"/>
                  </a:lnTo>
                  <a:lnTo>
                    <a:pt x="53597" y="154601"/>
                  </a:lnTo>
                  <a:lnTo>
                    <a:pt x="45452" y="155090"/>
                  </a:lnTo>
                  <a:lnTo>
                    <a:pt x="27532" y="157533"/>
                  </a:lnTo>
                  <a:lnTo>
                    <a:pt x="23133" y="159977"/>
                  </a:lnTo>
                  <a:lnTo>
                    <a:pt x="14825" y="155741"/>
                  </a:lnTo>
                  <a:lnTo>
                    <a:pt x="10752" y="156230"/>
                  </a:lnTo>
                  <a:lnTo>
                    <a:pt x="11078" y="153786"/>
                  </a:lnTo>
                  <a:lnTo>
                    <a:pt x="5865" y="145478"/>
                  </a:lnTo>
                  <a:lnTo>
                    <a:pt x="3747" y="137821"/>
                  </a:lnTo>
                  <a:lnTo>
                    <a:pt x="7657" y="131631"/>
                  </a:lnTo>
                  <a:lnTo>
                    <a:pt x="12870" y="129839"/>
                  </a:lnTo>
                  <a:lnTo>
                    <a:pt x="12707" y="113711"/>
                  </a:lnTo>
                  <a:lnTo>
                    <a:pt x="9775" y="111104"/>
                  </a:lnTo>
                  <a:lnTo>
                    <a:pt x="8634" y="104914"/>
                  </a:lnTo>
                  <a:lnTo>
                    <a:pt x="5050" y="99538"/>
                  </a:lnTo>
                  <a:lnTo>
                    <a:pt x="1304" y="87808"/>
                  </a:lnTo>
                  <a:lnTo>
                    <a:pt x="0" y="85853"/>
                  </a:lnTo>
                  <a:close/>
                </a:path>
              </a:pathLst>
            </a:custGeom>
            <a:solidFill>
              <a:schemeClr val="bg2"/>
            </a:solidFill>
            <a:ln w="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8" name="Forma livre: Forma 157">
              <a:extLst>
                <a:ext uri="{FF2B5EF4-FFF2-40B4-BE49-F238E27FC236}">
                  <a16:creationId xmlns:a16="http://schemas.microsoft.com/office/drawing/2014/main" id="{3229B02D-B8A7-F9BB-8EC0-0365AE465C72}"/>
                </a:ext>
              </a:extLst>
            </p:cNvPr>
            <p:cNvSpPr/>
            <p:nvPr/>
          </p:nvSpPr>
          <p:spPr>
            <a:xfrm>
              <a:off x="6515834" y="3413767"/>
              <a:ext cx="435186" cy="270875"/>
            </a:xfrm>
            <a:custGeom>
              <a:avLst/>
              <a:gdLst>
                <a:gd name="connsiteX0" fmla="*/ 26228 w 421120"/>
                <a:gd name="connsiteY0" fmla="*/ 24273 h 262120"/>
                <a:gd name="connsiteX1" fmla="*/ 30301 w 421120"/>
                <a:gd name="connsiteY1" fmla="*/ 23785 h 262120"/>
                <a:gd name="connsiteX2" fmla="*/ 38609 w 421120"/>
                <a:gd name="connsiteY2" fmla="*/ 28020 h 262120"/>
                <a:gd name="connsiteX3" fmla="*/ 43008 w 421120"/>
                <a:gd name="connsiteY3" fmla="*/ 25577 h 262120"/>
                <a:gd name="connsiteX4" fmla="*/ 60928 w 421120"/>
                <a:gd name="connsiteY4" fmla="*/ 23133 h 262120"/>
                <a:gd name="connsiteX5" fmla="*/ 69073 w 421120"/>
                <a:gd name="connsiteY5" fmla="*/ 22644 h 262120"/>
                <a:gd name="connsiteX6" fmla="*/ 74450 w 421120"/>
                <a:gd name="connsiteY6" fmla="*/ 18246 h 262120"/>
                <a:gd name="connsiteX7" fmla="*/ 77544 w 421120"/>
                <a:gd name="connsiteY7" fmla="*/ 18409 h 262120"/>
                <a:gd name="connsiteX8" fmla="*/ 83735 w 421120"/>
                <a:gd name="connsiteY8" fmla="*/ 21993 h 262120"/>
                <a:gd name="connsiteX9" fmla="*/ 98560 w 421120"/>
                <a:gd name="connsiteY9" fmla="*/ 24110 h 262120"/>
                <a:gd name="connsiteX10" fmla="*/ 104750 w 421120"/>
                <a:gd name="connsiteY10" fmla="*/ 27369 h 262120"/>
                <a:gd name="connsiteX11" fmla="*/ 105891 w 421120"/>
                <a:gd name="connsiteY11" fmla="*/ 30301 h 262120"/>
                <a:gd name="connsiteX12" fmla="*/ 114688 w 421120"/>
                <a:gd name="connsiteY12" fmla="*/ 26717 h 262120"/>
                <a:gd name="connsiteX13" fmla="*/ 118923 w 421120"/>
                <a:gd name="connsiteY13" fmla="*/ 30627 h 262120"/>
                <a:gd name="connsiteX14" fmla="*/ 122508 w 421120"/>
                <a:gd name="connsiteY14" fmla="*/ 30464 h 262120"/>
                <a:gd name="connsiteX15" fmla="*/ 124625 w 421120"/>
                <a:gd name="connsiteY15" fmla="*/ 28183 h 262120"/>
                <a:gd name="connsiteX16" fmla="*/ 132445 w 421120"/>
                <a:gd name="connsiteY16" fmla="*/ 29324 h 262120"/>
                <a:gd name="connsiteX17" fmla="*/ 135866 w 421120"/>
                <a:gd name="connsiteY17" fmla="*/ 30953 h 262120"/>
                <a:gd name="connsiteX18" fmla="*/ 143849 w 421120"/>
                <a:gd name="connsiteY18" fmla="*/ 26065 h 262120"/>
                <a:gd name="connsiteX19" fmla="*/ 150854 w 421120"/>
                <a:gd name="connsiteY19" fmla="*/ 27043 h 262120"/>
                <a:gd name="connsiteX20" fmla="*/ 151994 w 421120"/>
                <a:gd name="connsiteY20" fmla="*/ 31930 h 262120"/>
                <a:gd name="connsiteX21" fmla="*/ 156230 w 421120"/>
                <a:gd name="connsiteY21" fmla="*/ 33233 h 262120"/>
                <a:gd name="connsiteX22" fmla="*/ 160954 w 421120"/>
                <a:gd name="connsiteY22" fmla="*/ 27532 h 262120"/>
                <a:gd name="connsiteX23" fmla="*/ 166167 w 421120"/>
                <a:gd name="connsiteY23" fmla="*/ 27206 h 262120"/>
                <a:gd name="connsiteX24" fmla="*/ 170566 w 421120"/>
                <a:gd name="connsiteY24" fmla="*/ 30138 h 262120"/>
                <a:gd name="connsiteX25" fmla="*/ 177897 w 421120"/>
                <a:gd name="connsiteY25" fmla="*/ 27857 h 262120"/>
                <a:gd name="connsiteX26" fmla="*/ 182295 w 421120"/>
                <a:gd name="connsiteY26" fmla="*/ 31767 h 262120"/>
                <a:gd name="connsiteX27" fmla="*/ 187834 w 421120"/>
                <a:gd name="connsiteY27" fmla="*/ 30953 h 262120"/>
                <a:gd name="connsiteX28" fmla="*/ 188486 w 421120"/>
                <a:gd name="connsiteY28" fmla="*/ 22318 h 262120"/>
                <a:gd name="connsiteX29" fmla="*/ 192070 w 421120"/>
                <a:gd name="connsiteY29" fmla="*/ 12544 h 262120"/>
                <a:gd name="connsiteX30" fmla="*/ 199726 w 421120"/>
                <a:gd name="connsiteY30" fmla="*/ 11892 h 262120"/>
                <a:gd name="connsiteX31" fmla="*/ 210478 w 421120"/>
                <a:gd name="connsiteY31" fmla="*/ 9123 h 262120"/>
                <a:gd name="connsiteX32" fmla="*/ 215366 w 421120"/>
                <a:gd name="connsiteY32" fmla="*/ 10100 h 262120"/>
                <a:gd name="connsiteX33" fmla="*/ 221230 w 421120"/>
                <a:gd name="connsiteY33" fmla="*/ 8797 h 262120"/>
                <a:gd name="connsiteX34" fmla="*/ 220742 w 421120"/>
                <a:gd name="connsiteY34" fmla="*/ 3584 h 262120"/>
                <a:gd name="connsiteX35" fmla="*/ 224489 w 421120"/>
                <a:gd name="connsiteY35" fmla="*/ 0 h 262120"/>
                <a:gd name="connsiteX36" fmla="*/ 237359 w 421120"/>
                <a:gd name="connsiteY36" fmla="*/ 4236 h 262120"/>
                <a:gd name="connsiteX37" fmla="*/ 250391 w 421120"/>
                <a:gd name="connsiteY37" fmla="*/ 4236 h 262120"/>
                <a:gd name="connsiteX38" fmla="*/ 256744 w 421120"/>
                <a:gd name="connsiteY38" fmla="*/ 814 h 262120"/>
                <a:gd name="connsiteX39" fmla="*/ 262773 w 421120"/>
                <a:gd name="connsiteY39" fmla="*/ 1140 h 262120"/>
                <a:gd name="connsiteX40" fmla="*/ 266519 w 421120"/>
                <a:gd name="connsiteY40" fmla="*/ 12870 h 262120"/>
                <a:gd name="connsiteX41" fmla="*/ 271895 w 421120"/>
                <a:gd name="connsiteY41" fmla="*/ 17268 h 262120"/>
                <a:gd name="connsiteX42" fmla="*/ 268963 w 421120"/>
                <a:gd name="connsiteY42" fmla="*/ 23133 h 262120"/>
                <a:gd name="connsiteX43" fmla="*/ 275968 w 421120"/>
                <a:gd name="connsiteY43" fmla="*/ 32256 h 262120"/>
                <a:gd name="connsiteX44" fmla="*/ 290141 w 421120"/>
                <a:gd name="connsiteY44" fmla="*/ 30301 h 262120"/>
                <a:gd name="connsiteX45" fmla="*/ 295354 w 421120"/>
                <a:gd name="connsiteY45" fmla="*/ 34700 h 262120"/>
                <a:gd name="connsiteX46" fmla="*/ 296006 w 421120"/>
                <a:gd name="connsiteY46" fmla="*/ 40076 h 262120"/>
                <a:gd name="connsiteX47" fmla="*/ 300893 w 421120"/>
                <a:gd name="connsiteY47" fmla="*/ 40727 h 262120"/>
                <a:gd name="connsiteX48" fmla="*/ 300893 w 421120"/>
                <a:gd name="connsiteY48" fmla="*/ 47732 h 262120"/>
                <a:gd name="connsiteX49" fmla="*/ 303662 w 421120"/>
                <a:gd name="connsiteY49" fmla="*/ 56041 h 262120"/>
                <a:gd name="connsiteX50" fmla="*/ 315229 w 421120"/>
                <a:gd name="connsiteY50" fmla="*/ 67281 h 262120"/>
                <a:gd name="connsiteX51" fmla="*/ 319791 w 421120"/>
                <a:gd name="connsiteY51" fmla="*/ 62068 h 262120"/>
                <a:gd name="connsiteX52" fmla="*/ 326959 w 421120"/>
                <a:gd name="connsiteY52" fmla="*/ 65978 h 262120"/>
                <a:gd name="connsiteX53" fmla="*/ 332986 w 421120"/>
                <a:gd name="connsiteY53" fmla="*/ 64349 h 262120"/>
                <a:gd name="connsiteX54" fmla="*/ 338362 w 421120"/>
                <a:gd name="connsiteY54" fmla="*/ 65489 h 262120"/>
                <a:gd name="connsiteX55" fmla="*/ 347159 w 421120"/>
                <a:gd name="connsiteY55" fmla="*/ 58810 h 262120"/>
                <a:gd name="connsiteX56" fmla="*/ 351069 w 421120"/>
                <a:gd name="connsiteY56" fmla="*/ 58321 h 262120"/>
                <a:gd name="connsiteX57" fmla="*/ 356934 w 421120"/>
                <a:gd name="connsiteY57" fmla="*/ 70703 h 262120"/>
                <a:gd name="connsiteX58" fmla="*/ 364753 w 421120"/>
                <a:gd name="connsiteY58" fmla="*/ 75753 h 262120"/>
                <a:gd name="connsiteX59" fmla="*/ 367197 w 421120"/>
                <a:gd name="connsiteY59" fmla="*/ 80803 h 262120"/>
                <a:gd name="connsiteX60" fmla="*/ 370618 w 421120"/>
                <a:gd name="connsiteY60" fmla="*/ 77219 h 262120"/>
                <a:gd name="connsiteX61" fmla="*/ 379904 w 421120"/>
                <a:gd name="connsiteY61" fmla="*/ 79337 h 262120"/>
                <a:gd name="connsiteX62" fmla="*/ 386746 w 421120"/>
                <a:gd name="connsiteY62" fmla="*/ 79500 h 262120"/>
                <a:gd name="connsiteX63" fmla="*/ 391471 w 421120"/>
                <a:gd name="connsiteY63" fmla="*/ 82432 h 262120"/>
                <a:gd name="connsiteX64" fmla="*/ 397010 w 421120"/>
                <a:gd name="connsiteY64" fmla="*/ 81455 h 262120"/>
                <a:gd name="connsiteX65" fmla="*/ 403689 w 421120"/>
                <a:gd name="connsiteY65" fmla="*/ 85527 h 262120"/>
                <a:gd name="connsiteX66" fmla="*/ 411346 w 421120"/>
                <a:gd name="connsiteY66" fmla="*/ 86993 h 262120"/>
                <a:gd name="connsiteX67" fmla="*/ 415255 w 421120"/>
                <a:gd name="connsiteY67" fmla="*/ 83084 h 262120"/>
                <a:gd name="connsiteX68" fmla="*/ 417536 w 421120"/>
                <a:gd name="connsiteY68" fmla="*/ 88948 h 262120"/>
                <a:gd name="connsiteX69" fmla="*/ 420957 w 421120"/>
                <a:gd name="connsiteY69" fmla="*/ 91066 h 262120"/>
                <a:gd name="connsiteX70" fmla="*/ 421120 w 421120"/>
                <a:gd name="connsiteY70" fmla="*/ 97908 h 262120"/>
                <a:gd name="connsiteX71" fmla="*/ 416884 w 421120"/>
                <a:gd name="connsiteY71" fmla="*/ 103610 h 262120"/>
                <a:gd name="connsiteX72" fmla="*/ 411508 w 421120"/>
                <a:gd name="connsiteY72" fmla="*/ 104751 h 262120"/>
                <a:gd name="connsiteX73" fmla="*/ 409879 w 421120"/>
                <a:gd name="connsiteY73" fmla="*/ 115665 h 262120"/>
                <a:gd name="connsiteX74" fmla="*/ 417210 w 421120"/>
                <a:gd name="connsiteY74" fmla="*/ 120879 h 262120"/>
                <a:gd name="connsiteX75" fmla="*/ 418351 w 421120"/>
                <a:gd name="connsiteY75" fmla="*/ 128209 h 262120"/>
                <a:gd name="connsiteX76" fmla="*/ 415255 w 421120"/>
                <a:gd name="connsiteY76" fmla="*/ 137658 h 262120"/>
                <a:gd name="connsiteX77" fmla="*/ 416233 w 421120"/>
                <a:gd name="connsiteY77" fmla="*/ 144175 h 262120"/>
                <a:gd name="connsiteX78" fmla="*/ 411508 w 421120"/>
                <a:gd name="connsiteY78" fmla="*/ 147596 h 262120"/>
                <a:gd name="connsiteX79" fmla="*/ 399290 w 421120"/>
                <a:gd name="connsiteY79" fmla="*/ 148410 h 262120"/>
                <a:gd name="connsiteX80" fmla="*/ 393751 w 421120"/>
                <a:gd name="connsiteY80" fmla="*/ 157207 h 262120"/>
                <a:gd name="connsiteX81" fmla="*/ 390330 w 421120"/>
                <a:gd name="connsiteY81" fmla="*/ 158673 h 262120"/>
                <a:gd name="connsiteX82" fmla="*/ 388864 w 421120"/>
                <a:gd name="connsiteY82" fmla="*/ 170566 h 262120"/>
                <a:gd name="connsiteX83" fmla="*/ 384140 w 421120"/>
                <a:gd name="connsiteY83" fmla="*/ 172358 h 262120"/>
                <a:gd name="connsiteX84" fmla="*/ 383488 w 421120"/>
                <a:gd name="connsiteY84" fmla="*/ 169588 h 262120"/>
                <a:gd name="connsiteX85" fmla="*/ 380882 w 421120"/>
                <a:gd name="connsiteY85" fmla="*/ 169263 h 262120"/>
                <a:gd name="connsiteX86" fmla="*/ 374365 w 421120"/>
                <a:gd name="connsiteY86" fmla="*/ 172032 h 262120"/>
                <a:gd name="connsiteX87" fmla="*/ 368012 w 421120"/>
                <a:gd name="connsiteY87" fmla="*/ 171380 h 262120"/>
                <a:gd name="connsiteX88" fmla="*/ 364753 w 421120"/>
                <a:gd name="connsiteY88" fmla="*/ 173824 h 262120"/>
                <a:gd name="connsiteX89" fmla="*/ 362635 w 421120"/>
                <a:gd name="connsiteY89" fmla="*/ 178385 h 262120"/>
                <a:gd name="connsiteX90" fmla="*/ 357097 w 421120"/>
                <a:gd name="connsiteY90" fmla="*/ 178711 h 262120"/>
                <a:gd name="connsiteX91" fmla="*/ 354327 w 421120"/>
                <a:gd name="connsiteY91" fmla="*/ 182621 h 262120"/>
                <a:gd name="connsiteX92" fmla="*/ 348951 w 421120"/>
                <a:gd name="connsiteY92" fmla="*/ 188323 h 262120"/>
                <a:gd name="connsiteX93" fmla="*/ 346996 w 421120"/>
                <a:gd name="connsiteY93" fmla="*/ 187834 h 262120"/>
                <a:gd name="connsiteX94" fmla="*/ 341783 w 421120"/>
                <a:gd name="connsiteY94" fmla="*/ 188323 h 262120"/>
                <a:gd name="connsiteX95" fmla="*/ 337548 w 421120"/>
                <a:gd name="connsiteY95" fmla="*/ 191744 h 262120"/>
                <a:gd name="connsiteX96" fmla="*/ 330705 w 421120"/>
                <a:gd name="connsiteY96" fmla="*/ 190115 h 262120"/>
                <a:gd name="connsiteX97" fmla="*/ 325492 w 421120"/>
                <a:gd name="connsiteY97" fmla="*/ 193373 h 262120"/>
                <a:gd name="connsiteX98" fmla="*/ 322234 w 421120"/>
                <a:gd name="connsiteY98" fmla="*/ 192884 h 262120"/>
                <a:gd name="connsiteX99" fmla="*/ 318976 w 421120"/>
                <a:gd name="connsiteY99" fmla="*/ 187183 h 262120"/>
                <a:gd name="connsiteX100" fmla="*/ 316532 w 421120"/>
                <a:gd name="connsiteY100" fmla="*/ 187508 h 262120"/>
                <a:gd name="connsiteX101" fmla="*/ 318162 w 421120"/>
                <a:gd name="connsiteY101" fmla="*/ 190604 h 262120"/>
                <a:gd name="connsiteX102" fmla="*/ 321094 w 421120"/>
                <a:gd name="connsiteY102" fmla="*/ 194188 h 262120"/>
                <a:gd name="connsiteX103" fmla="*/ 319953 w 421120"/>
                <a:gd name="connsiteY103" fmla="*/ 197446 h 262120"/>
                <a:gd name="connsiteX104" fmla="*/ 314414 w 421120"/>
                <a:gd name="connsiteY104" fmla="*/ 205266 h 262120"/>
                <a:gd name="connsiteX105" fmla="*/ 311319 w 421120"/>
                <a:gd name="connsiteY105" fmla="*/ 206895 h 262120"/>
                <a:gd name="connsiteX106" fmla="*/ 310179 w 421120"/>
                <a:gd name="connsiteY106" fmla="*/ 204614 h 262120"/>
                <a:gd name="connsiteX107" fmla="*/ 312134 w 421120"/>
                <a:gd name="connsiteY107" fmla="*/ 203473 h 262120"/>
                <a:gd name="connsiteX108" fmla="*/ 317184 w 421120"/>
                <a:gd name="connsiteY108" fmla="*/ 197446 h 262120"/>
                <a:gd name="connsiteX109" fmla="*/ 316369 w 421120"/>
                <a:gd name="connsiteY109" fmla="*/ 195328 h 262120"/>
                <a:gd name="connsiteX110" fmla="*/ 313763 w 421120"/>
                <a:gd name="connsiteY110" fmla="*/ 193699 h 262120"/>
                <a:gd name="connsiteX111" fmla="*/ 312785 w 421120"/>
                <a:gd name="connsiteY111" fmla="*/ 196468 h 262120"/>
                <a:gd name="connsiteX112" fmla="*/ 304966 w 421120"/>
                <a:gd name="connsiteY112" fmla="*/ 204614 h 262120"/>
                <a:gd name="connsiteX113" fmla="*/ 300405 w 421120"/>
                <a:gd name="connsiteY113" fmla="*/ 205428 h 262120"/>
                <a:gd name="connsiteX114" fmla="*/ 299590 w 421120"/>
                <a:gd name="connsiteY114" fmla="*/ 208524 h 262120"/>
                <a:gd name="connsiteX115" fmla="*/ 294214 w 421120"/>
                <a:gd name="connsiteY115" fmla="*/ 208524 h 262120"/>
                <a:gd name="connsiteX116" fmla="*/ 290467 w 421120"/>
                <a:gd name="connsiteY116" fmla="*/ 205754 h 262120"/>
                <a:gd name="connsiteX117" fmla="*/ 287371 w 421120"/>
                <a:gd name="connsiteY117" fmla="*/ 208687 h 262120"/>
                <a:gd name="connsiteX118" fmla="*/ 281833 w 421120"/>
                <a:gd name="connsiteY118" fmla="*/ 207709 h 262120"/>
                <a:gd name="connsiteX119" fmla="*/ 281018 w 421120"/>
                <a:gd name="connsiteY119" fmla="*/ 209827 h 262120"/>
                <a:gd name="connsiteX120" fmla="*/ 284276 w 421120"/>
                <a:gd name="connsiteY120" fmla="*/ 211945 h 262120"/>
                <a:gd name="connsiteX121" fmla="*/ 292422 w 421120"/>
                <a:gd name="connsiteY121" fmla="*/ 211456 h 262120"/>
                <a:gd name="connsiteX122" fmla="*/ 295517 w 421120"/>
                <a:gd name="connsiteY122" fmla="*/ 215040 h 262120"/>
                <a:gd name="connsiteX123" fmla="*/ 298612 w 421120"/>
                <a:gd name="connsiteY123" fmla="*/ 217484 h 262120"/>
                <a:gd name="connsiteX124" fmla="*/ 301545 w 421120"/>
                <a:gd name="connsiteY124" fmla="*/ 215855 h 262120"/>
                <a:gd name="connsiteX125" fmla="*/ 303337 w 421120"/>
                <a:gd name="connsiteY125" fmla="*/ 218298 h 262120"/>
                <a:gd name="connsiteX126" fmla="*/ 300730 w 421120"/>
                <a:gd name="connsiteY126" fmla="*/ 221393 h 262120"/>
                <a:gd name="connsiteX127" fmla="*/ 300893 w 421120"/>
                <a:gd name="connsiteY127" fmla="*/ 223837 h 262120"/>
                <a:gd name="connsiteX128" fmla="*/ 303337 w 421120"/>
                <a:gd name="connsiteY128" fmla="*/ 222208 h 262120"/>
                <a:gd name="connsiteX129" fmla="*/ 305617 w 421120"/>
                <a:gd name="connsiteY129" fmla="*/ 222208 h 262120"/>
                <a:gd name="connsiteX130" fmla="*/ 304803 w 421120"/>
                <a:gd name="connsiteY130" fmla="*/ 226281 h 262120"/>
                <a:gd name="connsiteX131" fmla="*/ 307898 w 421120"/>
                <a:gd name="connsiteY131" fmla="*/ 223348 h 262120"/>
                <a:gd name="connsiteX132" fmla="*/ 310668 w 421120"/>
                <a:gd name="connsiteY132" fmla="*/ 225140 h 262120"/>
                <a:gd name="connsiteX133" fmla="*/ 311808 w 421120"/>
                <a:gd name="connsiteY133" fmla="*/ 231005 h 262120"/>
                <a:gd name="connsiteX134" fmla="*/ 314741 w 421120"/>
                <a:gd name="connsiteY134" fmla="*/ 234100 h 262120"/>
                <a:gd name="connsiteX135" fmla="*/ 320442 w 421120"/>
                <a:gd name="connsiteY135" fmla="*/ 235729 h 262120"/>
                <a:gd name="connsiteX136" fmla="*/ 323049 w 421120"/>
                <a:gd name="connsiteY136" fmla="*/ 234426 h 262120"/>
                <a:gd name="connsiteX137" fmla="*/ 314414 w 421120"/>
                <a:gd name="connsiteY137" fmla="*/ 226281 h 262120"/>
                <a:gd name="connsiteX138" fmla="*/ 305617 w 421120"/>
                <a:gd name="connsiteY138" fmla="*/ 215529 h 262120"/>
                <a:gd name="connsiteX139" fmla="*/ 303011 w 421120"/>
                <a:gd name="connsiteY139" fmla="*/ 208850 h 262120"/>
                <a:gd name="connsiteX140" fmla="*/ 305129 w 421120"/>
                <a:gd name="connsiteY140" fmla="*/ 207546 h 262120"/>
                <a:gd name="connsiteX141" fmla="*/ 309039 w 421120"/>
                <a:gd name="connsiteY141" fmla="*/ 212922 h 262120"/>
                <a:gd name="connsiteX142" fmla="*/ 310994 w 421120"/>
                <a:gd name="connsiteY142" fmla="*/ 219764 h 262120"/>
                <a:gd name="connsiteX143" fmla="*/ 323375 w 421120"/>
                <a:gd name="connsiteY143" fmla="*/ 233286 h 262120"/>
                <a:gd name="connsiteX144" fmla="*/ 326307 w 421120"/>
                <a:gd name="connsiteY144" fmla="*/ 234426 h 262120"/>
                <a:gd name="connsiteX145" fmla="*/ 330543 w 421120"/>
                <a:gd name="connsiteY145" fmla="*/ 230028 h 262120"/>
                <a:gd name="connsiteX146" fmla="*/ 333475 w 421120"/>
                <a:gd name="connsiteY146" fmla="*/ 229865 h 262120"/>
                <a:gd name="connsiteX147" fmla="*/ 338199 w 421120"/>
                <a:gd name="connsiteY147" fmla="*/ 232797 h 262120"/>
                <a:gd name="connsiteX148" fmla="*/ 340154 w 421120"/>
                <a:gd name="connsiteY148" fmla="*/ 227584 h 262120"/>
                <a:gd name="connsiteX149" fmla="*/ 348300 w 421120"/>
                <a:gd name="connsiteY149" fmla="*/ 226770 h 262120"/>
                <a:gd name="connsiteX150" fmla="*/ 355142 w 421120"/>
                <a:gd name="connsiteY150" fmla="*/ 227095 h 262120"/>
                <a:gd name="connsiteX151" fmla="*/ 353187 w 421120"/>
                <a:gd name="connsiteY151" fmla="*/ 230354 h 262120"/>
                <a:gd name="connsiteX152" fmla="*/ 350580 w 421120"/>
                <a:gd name="connsiteY152" fmla="*/ 232471 h 262120"/>
                <a:gd name="connsiteX153" fmla="*/ 353024 w 421120"/>
                <a:gd name="connsiteY153" fmla="*/ 237196 h 262120"/>
                <a:gd name="connsiteX154" fmla="*/ 349929 w 421120"/>
                <a:gd name="connsiteY154" fmla="*/ 240780 h 262120"/>
                <a:gd name="connsiteX155" fmla="*/ 341132 w 421120"/>
                <a:gd name="connsiteY155" fmla="*/ 241594 h 262120"/>
                <a:gd name="connsiteX156" fmla="*/ 331032 w 421120"/>
                <a:gd name="connsiteY156" fmla="*/ 239802 h 262120"/>
                <a:gd name="connsiteX157" fmla="*/ 325167 w 421120"/>
                <a:gd name="connsiteY157" fmla="*/ 243060 h 262120"/>
                <a:gd name="connsiteX158" fmla="*/ 320605 w 421120"/>
                <a:gd name="connsiteY158" fmla="*/ 249251 h 262120"/>
                <a:gd name="connsiteX159" fmla="*/ 312623 w 421120"/>
                <a:gd name="connsiteY159" fmla="*/ 249088 h 262120"/>
                <a:gd name="connsiteX160" fmla="*/ 300730 w 421120"/>
                <a:gd name="connsiteY160" fmla="*/ 258048 h 262120"/>
                <a:gd name="connsiteX161" fmla="*/ 291770 w 421120"/>
                <a:gd name="connsiteY161" fmla="*/ 262121 h 262120"/>
                <a:gd name="connsiteX162" fmla="*/ 282647 w 421120"/>
                <a:gd name="connsiteY162" fmla="*/ 261632 h 262120"/>
                <a:gd name="connsiteX163" fmla="*/ 278086 w 421120"/>
                <a:gd name="connsiteY163" fmla="*/ 258211 h 262120"/>
                <a:gd name="connsiteX164" fmla="*/ 279389 w 421120"/>
                <a:gd name="connsiteY164" fmla="*/ 256256 h 262120"/>
                <a:gd name="connsiteX165" fmla="*/ 282647 w 421120"/>
                <a:gd name="connsiteY165" fmla="*/ 246970 h 262120"/>
                <a:gd name="connsiteX166" fmla="*/ 282159 w 421120"/>
                <a:gd name="connsiteY166" fmla="*/ 243386 h 262120"/>
                <a:gd name="connsiteX167" fmla="*/ 274013 w 421120"/>
                <a:gd name="connsiteY167" fmla="*/ 236870 h 262120"/>
                <a:gd name="connsiteX168" fmla="*/ 271081 w 421120"/>
                <a:gd name="connsiteY168" fmla="*/ 237359 h 262120"/>
                <a:gd name="connsiteX169" fmla="*/ 265542 w 421120"/>
                <a:gd name="connsiteY169" fmla="*/ 234589 h 262120"/>
                <a:gd name="connsiteX170" fmla="*/ 262121 w 421120"/>
                <a:gd name="connsiteY170" fmla="*/ 237521 h 262120"/>
                <a:gd name="connsiteX171" fmla="*/ 257559 w 421120"/>
                <a:gd name="connsiteY171" fmla="*/ 235567 h 262120"/>
                <a:gd name="connsiteX172" fmla="*/ 262773 w 421120"/>
                <a:gd name="connsiteY172" fmla="*/ 227584 h 262120"/>
                <a:gd name="connsiteX173" fmla="*/ 271895 w 421120"/>
                <a:gd name="connsiteY173" fmla="*/ 222208 h 262120"/>
                <a:gd name="connsiteX174" fmla="*/ 279389 w 421120"/>
                <a:gd name="connsiteY174" fmla="*/ 220905 h 262120"/>
                <a:gd name="connsiteX175" fmla="*/ 281670 w 421120"/>
                <a:gd name="connsiteY175" fmla="*/ 219601 h 262120"/>
                <a:gd name="connsiteX176" fmla="*/ 278737 w 421120"/>
                <a:gd name="connsiteY176" fmla="*/ 216017 h 262120"/>
                <a:gd name="connsiteX177" fmla="*/ 277597 w 421120"/>
                <a:gd name="connsiteY177" fmla="*/ 209664 h 262120"/>
                <a:gd name="connsiteX178" fmla="*/ 275153 w 421120"/>
                <a:gd name="connsiteY178" fmla="*/ 208524 h 262120"/>
                <a:gd name="connsiteX179" fmla="*/ 273198 w 421120"/>
                <a:gd name="connsiteY179" fmla="*/ 212271 h 262120"/>
                <a:gd name="connsiteX180" fmla="*/ 269126 w 421120"/>
                <a:gd name="connsiteY180" fmla="*/ 209990 h 262120"/>
                <a:gd name="connsiteX181" fmla="*/ 263424 w 421120"/>
                <a:gd name="connsiteY181" fmla="*/ 207383 h 262120"/>
                <a:gd name="connsiteX182" fmla="*/ 257234 w 421120"/>
                <a:gd name="connsiteY182" fmla="*/ 208524 h 262120"/>
                <a:gd name="connsiteX183" fmla="*/ 251857 w 421120"/>
                <a:gd name="connsiteY183" fmla="*/ 211293 h 262120"/>
                <a:gd name="connsiteX184" fmla="*/ 247133 w 421120"/>
                <a:gd name="connsiteY184" fmla="*/ 208524 h 262120"/>
                <a:gd name="connsiteX185" fmla="*/ 243549 w 421120"/>
                <a:gd name="connsiteY185" fmla="*/ 208198 h 262120"/>
                <a:gd name="connsiteX186" fmla="*/ 239802 w 421120"/>
                <a:gd name="connsiteY186" fmla="*/ 204940 h 262120"/>
                <a:gd name="connsiteX187" fmla="*/ 242735 w 421120"/>
                <a:gd name="connsiteY187" fmla="*/ 203311 h 262120"/>
                <a:gd name="connsiteX188" fmla="*/ 243712 w 421120"/>
                <a:gd name="connsiteY188" fmla="*/ 201356 h 262120"/>
                <a:gd name="connsiteX189" fmla="*/ 236218 w 421120"/>
                <a:gd name="connsiteY189" fmla="*/ 198749 h 262120"/>
                <a:gd name="connsiteX190" fmla="*/ 226932 w 421120"/>
                <a:gd name="connsiteY190" fmla="*/ 198749 h 262120"/>
                <a:gd name="connsiteX191" fmla="*/ 224652 w 421120"/>
                <a:gd name="connsiteY191" fmla="*/ 195654 h 262120"/>
                <a:gd name="connsiteX192" fmla="*/ 230353 w 421120"/>
                <a:gd name="connsiteY192" fmla="*/ 195654 h 262120"/>
                <a:gd name="connsiteX193" fmla="*/ 239314 w 421120"/>
                <a:gd name="connsiteY193" fmla="*/ 194513 h 262120"/>
                <a:gd name="connsiteX194" fmla="*/ 243875 w 421120"/>
                <a:gd name="connsiteY194" fmla="*/ 195980 h 262120"/>
                <a:gd name="connsiteX195" fmla="*/ 247133 w 421120"/>
                <a:gd name="connsiteY195" fmla="*/ 194188 h 262120"/>
                <a:gd name="connsiteX196" fmla="*/ 252672 w 421120"/>
                <a:gd name="connsiteY196" fmla="*/ 190929 h 262120"/>
                <a:gd name="connsiteX197" fmla="*/ 244852 w 421120"/>
                <a:gd name="connsiteY197" fmla="*/ 192884 h 262120"/>
                <a:gd name="connsiteX198" fmla="*/ 240943 w 421120"/>
                <a:gd name="connsiteY198" fmla="*/ 191418 h 262120"/>
                <a:gd name="connsiteX199" fmla="*/ 237847 w 421120"/>
                <a:gd name="connsiteY199" fmla="*/ 189138 h 262120"/>
                <a:gd name="connsiteX200" fmla="*/ 236218 w 421120"/>
                <a:gd name="connsiteY200" fmla="*/ 186205 h 262120"/>
                <a:gd name="connsiteX201" fmla="*/ 233937 w 421120"/>
                <a:gd name="connsiteY201" fmla="*/ 189789 h 262120"/>
                <a:gd name="connsiteX202" fmla="*/ 231982 w 421120"/>
                <a:gd name="connsiteY202" fmla="*/ 192721 h 262120"/>
                <a:gd name="connsiteX203" fmla="*/ 227258 w 421120"/>
                <a:gd name="connsiteY203" fmla="*/ 192721 h 262120"/>
                <a:gd name="connsiteX204" fmla="*/ 227421 w 421120"/>
                <a:gd name="connsiteY204" fmla="*/ 191255 h 262120"/>
                <a:gd name="connsiteX205" fmla="*/ 224489 w 421120"/>
                <a:gd name="connsiteY205" fmla="*/ 188649 h 262120"/>
                <a:gd name="connsiteX206" fmla="*/ 219601 w 421120"/>
                <a:gd name="connsiteY206" fmla="*/ 195002 h 262120"/>
                <a:gd name="connsiteX207" fmla="*/ 213574 w 421120"/>
                <a:gd name="connsiteY207" fmla="*/ 195328 h 262120"/>
                <a:gd name="connsiteX208" fmla="*/ 209827 w 421120"/>
                <a:gd name="connsiteY208" fmla="*/ 198260 h 262120"/>
                <a:gd name="connsiteX209" fmla="*/ 209827 w 421120"/>
                <a:gd name="connsiteY209" fmla="*/ 204614 h 262120"/>
                <a:gd name="connsiteX210" fmla="*/ 204614 w 421120"/>
                <a:gd name="connsiteY210" fmla="*/ 211456 h 262120"/>
                <a:gd name="connsiteX211" fmla="*/ 201844 w 421120"/>
                <a:gd name="connsiteY211" fmla="*/ 211456 h 262120"/>
                <a:gd name="connsiteX212" fmla="*/ 203473 w 421120"/>
                <a:gd name="connsiteY212" fmla="*/ 214714 h 262120"/>
                <a:gd name="connsiteX213" fmla="*/ 193862 w 421120"/>
                <a:gd name="connsiteY213" fmla="*/ 226281 h 262120"/>
                <a:gd name="connsiteX214" fmla="*/ 190441 w 421120"/>
                <a:gd name="connsiteY214" fmla="*/ 226281 h 262120"/>
                <a:gd name="connsiteX215" fmla="*/ 188323 w 421120"/>
                <a:gd name="connsiteY215" fmla="*/ 223023 h 262120"/>
                <a:gd name="connsiteX216" fmla="*/ 188160 w 421120"/>
                <a:gd name="connsiteY216" fmla="*/ 226770 h 262120"/>
                <a:gd name="connsiteX217" fmla="*/ 187671 w 421120"/>
                <a:gd name="connsiteY217" fmla="*/ 229865 h 262120"/>
                <a:gd name="connsiteX218" fmla="*/ 190115 w 421120"/>
                <a:gd name="connsiteY218" fmla="*/ 232797 h 262120"/>
                <a:gd name="connsiteX219" fmla="*/ 189137 w 421120"/>
                <a:gd name="connsiteY219" fmla="*/ 237359 h 262120"/>
                <a:gd name="connsiteX220" fmla="*/ 189137 w 421120"/>
                <a:gd name="connsiteY220" fmla="*/ 237359 h 262120"/>
                <a:gd name="connsiteX221" fmla="*/ 184739 w 421120"/>
                <a:gd name="connsiteY221" fmla="*/ 233775 h 262120"/>
                <a:gd name="connsiteX222" fmla="*/ 176919 w 421120"/>
                <a:gd name="connsiteY222" fmla="*/ 234589 h 262120"/>
                <a:gd name="connsiteX223" fmla="*/ 172684 w 421120"/>
                <a:gd name="connsiteY223" fmla="*/ 237684 h 262120"/>
                <a:gd name="connsiteX224" fmla="*/ 163235 w 421120"/>
                <a:gd name="connsiteY224" fmla="*/ 237521 h 262120"/>
                <a:gd name="connsiteX225" fmla="*/ 156230 w 421120"/>
                <a:gd name="connsiteY225" fmla="*/ 235892 h 262120"/>
                <a:gd name="connsiteX226" fmla="*/ 152157 w 421120"/>
                <a:gd name="connsiteY226" fmla="*/ 228887 h 262120"/>
                <a:gd name="connsiteX227" fmla="*/ 155904 w 421120"/>
                <a:gd name="connsiteY227" fmla="*/ 226118 h 262120"/>
                <a:gd name="connsiteX228" fmla="*/ 160139 w 421120"/>
                <a:gd name="connsiteY228" fmla="*/ 227421 h 262120"/>
                <a:gd name="connsiteX229" fmla="*/ 160303 w 421120"/>
                <a:gd name="connsiteY229" fmla="*/ 222860 h 262120"/>
                <a:gd name="connsiteX230" fmla="*/ 165027 w 421120"/>
                <a:gd name="connsiteY230" fmla="*/ 213900 h 262120"/>
                <a:gd name="connsiteX231" fmla="*/ 167634 w 421120"/>
                <a:gd name="connsiteY231" fmla="*/ 214388 h 262120"/>
                <a:gd name="connsiteX232" fmla="*/ 167471 w 421120"/>
                <a:gd name="connsiteY232" fmla="*/ 208035 h 262120"/>
                <a:gd name="connsiteX233" fmla="*/ 168122 w 421120"/>
                <a:gd name="connsiteY233" fmla="*/ 198912 h 262120"/>
                <a:gd name="connsiteX234" fmla="*/ 173173 w 421120"/>
                <a:gd name="connsiteY234" fmla="*/ 198586 h 262120"/>
                <a:gd name="connsiteX235" fmla="*/ 179852 w 421120"/>
                <a:gd name="connsiteY235" fmla="*/ 196468 h 262120"/>
                <a:gd name="connsiteX236" fmla="*/ 183762 w 421120"/>
                <a:gd name="connsiteY236" fmla="*/ 199727 h 262120"/>
                <a:gd name="connsiteX237" fmla="*/ 191418 w 421120"/>
                <a:gd name="connsiteY237" fmla="*/ 199564 h 262120"/>
                <a:gd name="connsiteX238" fmla="*/ 192396 w 421120"/>
                <a:gd name="connsiteY238" fmla="*/ 196794 h 262120"/>
                <a:gd name="connsiteX239" fmla="*/ 189137 w 421120"/>
                <a:gd name="connsiteY239" fmla="*/ 192396 h 262120"/>
                <a:gd name="connsiteX240" fmla="*/ 190278 w 421120"/>
                <a:gd name="connsiteY240" fmla="*/ 188160 h 262120"/>
                <a:gd name="connsiteX241" fmla="*/ 189300 w 421120"/>
                <a:gd name="connsiteY241" fmla="*/ 183599 h 262120"/>
                <a:gd name="connsiteX242" fmla="*/ 181969 w 421120"/>
                <a:gd name="connsiteY242" fmla="*/ 179200 h 262120"/>
                <a:gd name="connsiteX243" fmla="*/ 175779 w 421120"/>
                <a:gd name="connsiteY243" fmla="*/ 173335 h 262120"/>
                <a:gd name="connsiteX244" fmla="*/ 174801 w 421120"/>
                <a:gd name="connsiteY244" fmla="*/ 170729 h 262120"/>
                <a:gd name="connsiteX245" fmla="*/ 169100 w 421120"/>
                <a:gd name="connsiteY245" fmla="*/ 167633 h 262120"/>
                <a:gd name="connsiteX246" fmla="*/ 169588 w 421120"/>
                <a:gd name="connsiteY246" fmla="*/ 161606 h 262120"/>
                <a:gd name="connsiteX247" fmla="*/ 167959 w 421120"/>
                <a:gd name="connsiteY247" fmla="*/ 152646 h 262120"/>
                <a:gd name="connsiteX248" fmla="*/ 161606 w 421120"/>
                <a:gd name="connsiteY248" fmla="*/ 149225 h 262120"/>
                <a:gd name="connsiteX249" fmla="*/ 153623 w 421120"/>
                <a:gd name="connsiteY249" fmla="*/ 141405 h 262120"/>
                <a:gd name="connsiteX250" fmla="*/ 151180 w 421120"/>
                <a:gd name="connsiteY250" fmla="*/ 141405 h 262120"/>
                <a:gd name="connsiteX251" fmla="*/ 149876 w 421120"/>
                <a:gd name="connsiteY251" fmla="*/ 144338 h 262120"/>
                <a:gd name="connsiteX252" fmla="*/ 141568 w 421120"/>
                <a:gd name="connsiteY252" fmla="*/ 143360 h 262120"/>
                <a:gd name="connsiteX253" fmla="*/ 133748 w 421120"/>
                <a:gd name="connsiteY253" fmla="*/ 136192 h 262120"/>
                <a:gd name="connsiteX254" fmla="*/ 127069 w 421120"/>
                <a:gd name="connsiteY254" fmla="*/ 136192 h 262120"/>
                <a:gd name="connsiteX255" fmla="*/ 123322 w 421120"/>
                <a:gd name="connsiteY255" fmla="*/ 130327 h 262120"/>
                <a:gd name="connsiteX256" fmla="*/ 121367 w 421120"/>
                <a:gd name="connsiteY256" fmla="*/ 132282 h 262120"/>
                <a:gd name="connsiteX257" fmla="*/ 115828 w 421120"/>
                <a:gd name="connsiteY257" fmla="*/ 132282 h 262120"/>
                <a:gd name="connsiteX258" fmla="*/ 114199 w 421120"/>
                <a:gd name="connsiteY258" fmla="*/ 134889 h 262120"/>
                <a:gd name="connsiteX259" fmla="*/ 109149 w 421120"/>
                <a:gd name="connsiteY259" fmla="*/ 131956 h 262120"/>
                <a:gd name="connsiteX260" fmla="*/ 108171 w 421120"/>
                <a:gd name="connsiteY260" fmla="*/ 133585 h 262120"/>
                <a:gd name="connsiteX261" fmla="*/ 104099 w 421120"/>
                <a:gd name="connsiteY261" fmla="*/ 131956 h 262120"/>
                <a:gd name="connsiteX262" fmla="*/ 105076 w 421120"/>
                <a:gd name="connsiteY262" fmla="*/ 138799 h 262120"/>
                <a:gd name="connsiteX263" fmla="*/ 104262 w 421120"/>
                <a:gd name="connsiteY263" fmla="*/ 141731 h 262120"/>
                <a:gd name="connsiteX264" fmla="*/ 105239 w 421120"/>
                <a:gd name="connsiteY264" fmla="*/ 148084 h 262120"/>
                <a:gd name="connsiteX265" fmla="*/ 99212 w 421120"/>
                <a:gd name="connsiteY265" fmla="*/ 149062 h 262120"/>
                <a:gd name="connsiteX266" fmla="*/ 93347 w 421120"/>
                <a:gd name="connsiteY266" fmla="*/ 152809 h 262120"/>
                <a:gd name="connsiteX267" fmla="*/ 76241 w 421120"/>
                <a:gd name="connsiteY267" fmla="*/ 155741 h 262120"/>
                <a:gd name="connsiteX268" fmla="*/ 72006 w 421120"/>
                <a:gd name="connsiteY268" fmla="*/ 160628 h 262120"/>
                <a:gd name="connsiteX269" fmla="*/ 66630 w 421120"/>
                <a:gd name="connsiteY269" fmla="*/ 161117 h 262120"/>
                <a:gd name="connsiteX270" fmla="*/ 58484 w 421120"/>
                <a:gd name="connsiteY270" fmla="*/ 163561 h 262120"/>
                <a:gd name="connsiteX271" fmla="*/ 53271 w 421120"/>
                <a:gd name="connsiteY271" fmla="*/ 161117 h 262120"/>
                <a:gd name="connsiteX272" fmla="*/ 50828 w 421120"/>
                <a:gd name="connsiteY272" fmla="*/ 157044 h 262120"/>
                <a:gd name="connsiteX273" fmla="*/ 43985 w 421120"/>
                <a:gd name="connsiteY273" fmla="*/ 153949 h 262120"/>
                <a:gd name="connsiteX274" fmla="*/ 36817 w 421120"/>
                <a:gd name="connsiteY274" fmla="*/ 153623 h 262120"/>
                <a:gd name="connsiteX275" fmla="*/ 27532 w 421120"/>
                <a:gd name="connsiteY275" fmla="*/ 148410 h 262120"/>
                <a:gd name="connsiteX276" fmla="*/ 22644 w 421120"/>
                <a:gd name="connsiteY276" fmla="*/ 148410 h 262120"/>
                <a:gd name="connsiteX277" fmla="*/ 19223 w 421120"/>
                <a:gd name="connsiteY277" fmla="*/ 151505 h 262120"/>
                <a:gd name="connsiteX278" fmla="*/ 14173 w 421120"/>
                <a:gd name="connsiteY278" fmla="*/ 151668 h 262120"/>
                <a:gd name="connsiteX279" fmla="*/ 12544 w 421120"/>
                <a:gd name="connsiteY279" fmla="*/ 147107 h 262120"/>
                <a:gd name="connsiteX280" fmla="*/ 6028 w 421120"/>
                <a:gd name="connsiteY280" fmla="*/ 142871 h 262120"/>
                <a:gd name="connsiteX281" fmla="*/ 0 w 421120"/>
                <a:gd name="connsiteY281" fmla="*/ 137169 h 262120"/>
                <a:gd name="connsiteX282" fmla="*/ 1140 w 421120"/>
                <a:gd name="connsiteY282" fmla="*/ 136355 h 262120"/>
                <a:gd name="connsiteX283" fmla="*/ 2118 w 421120"/>
                <a:gd name="connsiteY283" fmla="*/ 127721 h 262120"/>
                <a:gd name="connsiteX284" fmla="*/ 7494 w 421120"/>
                <a:gd name="connsiteY284" fmla="*/ 116480 h 262120"/>
                <a:gd name="connsiteX285" fmla="*/ 12218 w 421120"/>
                <a:gd name="connsiteY285" fmla="*/ 116806 h 262120"/>
                <a:gd name="connsiteX286" fmla="*/ 12707 w 421120"/>
                <a:gd name="connsiteY286" fmla="*/ 109149 h 262120"/>
                <a:gd name="connsiteX287" fmla="*/ 11566 w 421120"/>
                <a:gd name="connsiteY287" fmla="*/ 102144 h 262120"/>
                <a:gd name="connsiteX288" fmla="*/ 27206 w 421120"/>
                <a:gd name="connsiteY288" fmla="*/ 84550 h 262120"/>
                <a:gd name="connsiteX289" fmla="*/ 29487 w 421120"/>
                <a:gd name="connsiteY289" fmla="*/ 76893 h 262120"/>
                <a:gd name="connsiteX290" fmla="*/ 33234 w 421120"/>
                <a:gd name="connsiteY290" fmla="*/ 72820 h 262120"/>
                <a:gd name="connsiteX291" fmla="*/ 37469 w 421120"/>
                <a:gd name="connsiteY291" fmla="*/ 72657 h 262120"/>
                <a:gd name="connsiteX292" fmla="*/ 38935 w 421120"/>
                <a:gd name="connsiteY292" fmla="*/ 65001 h 262120"/>
                <a:gd name="connsiteX293" fmla="*/ 37143 w 421120"/>
                <a:gd name="connsiteY293" fmla="*/ 61905 h 262120"/>
                <a:gd name="connsiteX294" fmla="*/ 36328 w 421120"/>
                <a:gd name="connsiteY294" fmla="*/ 57833 h 262120"/>
                <a:gd name="connsiteX295" fmla="*/ 38609 w 421120"/>
                <a:gd name="connsiteY295" fmla="*/ 55063 h 262120"/>
                <a:gd name="connsiteX296" fmla="*/ 32419 w 421120"/>
                <a:gd name="connsiteY296" fmla="*/ 51153 h 262120"/>
                <a:gd name="connsiteX297" fmla="*/ 29487 w 421120"/>
                <a:gd name="connsiteY297" fmla="*/ 43660 h 262120"/>
                <a:gd name="connsiteX298" fmla="*/ 26228 w 421120"/>
                <a:gd name="connsiteY298" fmla="*/ 40401 h 262120"/>
                <a:gd name="connsiteX299" fmla="*/ 25902 w 421120"/>
                <a:gd name="connsiteY299" fmla="*/ 28509 h 262120"/>
                <a:gd name="connsiteX300" fmla="*/ 26228 w 421120"/>
                <a:gd name="connsiteY300" fmla="*/ 24273 h 2621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</a:cxnLst>
              <a:rect l="l" t="t" r="r" b="b"/>
              <a:pathLst>
                <a:path w="421120" h="262120">
                  <a:moveTo>
                    <a:pt x="26228" y="24273"/>
                  </a:moveTo>
                  <a:lnTo>
                    <a:pt x="30301" y="23785"/>
                  </a:lnTo>
                  <a:lnTo>
                    <a:pt x="38609" y="28020"/>
                  </a:lnTo>
                  <a:lnTo>
                    <a:pt x="43008" y="25577"/>
                  </a:lnTo>
                  <a:lnTo>
                    <a:pt x="60928" y="23133"/>
                  </a:lnTo>
                  <a:lnTo>
                    <a:pt x="69073" y="22644"/>
                  </a:lnTo>
                  <a:lnTo>
                    <a:pt x="74450" y="18246"/>
                  </a:lnTo>
                  <a:lnTo>
                    <a:pt x="77544" y="18409"/>
                  </a:lnTo>
                  <a:lnTo>
                    <a:pt x="83735" y="21993"/>
                  </a:lnTo>
                  <a:lnTo>
                    <a:pt x="98560" y="24110"/>
                  </a:lnTo>
                  <a:lnTo>
                    <a:pt x="104750" y="27369"/>
                  </a:lnTo>
                  <a:lnTo>
                    <a:pt x="105891" y="30301"/>
                  </a:lnTo>
                  <a:lnTo>
                    <a:pt x="114688" y="26717"/>
                  </a:lnTo>
                  <a:lnTo>
                    <a:pt x="118923" y="30627"/>
                  </a:lnTo>
                  <a:lnTo>
                    <a:pt x="122508" y="30464"/>
                  </a:lnTo>
                  <a:lnTo>
                    <a:pt x="124625" y="28183"/>
                  </a:lnTo>
                  <a:lnTo>
                    <a:pt x="132445" y="29324"/>
                  </a:lnTo>
                  <a:lnTo>
                    <a:pt x="135866" y="30953"/>
                  </a:lnTo>
                  <a:lnTo>
                    <a:pt x="143849" y="26065"/>
                  </a:lnTo>
                  <a:lnTo>
                    <a:pt x="150854" y="27043"/>
                  </a:lnTo>
                  <a:lnTo>
                    <a:pt x="151994" y="31930"/>
                  </a:lnTo>
                  <a:lnTo>
                    <a:pt x="156230" y="33233"/>
                  </a:lnTo>
                  <a:lnTo>
                    <a:pt x="160954" y="27532"/>
                  </a:lnTo>
                  <a:lnTo>
                    <a:pt x="166167" y="27206"/>
                  </a:lnTo>
                  <a:lnTo>
                    <a:pt x="170566" y="30138"/>
                  </a:lnTo>
                  <a:lnTo>
                    <a:pt x="177897" y="27857"/>
                  </a:lnTo>
                  <a:lnTo>
                    <a:pt x="182295" y="31767"/>
                  </a:lnTo>
                  <a:lnTo>
                    <a:pt x="187834" y="30953"/>
                  </a:lnTo>
                  <a:lnTo>
                    <a:pt x="188486" y="22318"/>
                  </a:lnTo>
                  <a:lnTo>
                    <a:pt x="192070" y="12544"/>
                  </a:lnTo>
                  <a:lnTo>
                    <a:pt x="199726" y="11892"/>
                  </a:lnTo>
                  <a:lnTo>
                    <a:pt x="210478" y="9123"/>
                  </a:lnTo>
                  <a:lnTo>
                    <a:pt x="215366" y="10100"/>
                  </a:lnTo>
                  <a:lnTo>
                    <a:pt x="221230" y="8797"/>
                  </a:lnTo>
                  <a:lnTo>
                    <a:pt x="220742" y="3584"/>
                  </a:lnTo>
                  <a:lnTo>
                    <a:pt x="224489" y="0"/>
                  </a:lnTo>
                  <a:lnTo>
                    <a:pt x="237359" y="4236"/>
                  </a:lnTo>
                  <a:lnTo>
                    <a:pt x="250391" y="4236"/>
                  </a:lnTo>
                  <a:lnTo>
                    <a:pt x="256744" y="814"/>
                  </a:lnTo>
                  <a:lnTo>
                    <a:pt x="262773" y="1140"/>
                  </a:lnTo>
                  <a:lnTo>
                    <a:pt x="266519" y="12870"/>
                  </a:lnTo>
                  <a:lnTo>
                    <a:pt x="271895" y="17268"/>
                  </a:lnTo>
                  <a:lnTo>
                    <a:pt x="268963" y="23133"/>
                  </a:lnTo>
                  <a:lnTo>
                    <a:pt x="275968" y="32256"/>
                  </a:lnTo>
                  <a:lnTo>
                    <a:pt x="290141" y="30301"/>
                  </a:lnTo>
                  <a:lnTo>
                    <a:pt x="295354" y="34700"/>
                  </a:lnTo>
                  <a:lnTo>
                    <a:pt x="296006" y="40076"/>
                  </a:lnTo>
                  <a:lnTo>
                    <a:pt x="300893" y="40727"/>
                  </a:lnTo>
                  <a:lnTo>
                    <a:pt x="300893" y="47732"/>
                  </a:lnTo>
                  <a:lnTo>
                    <a:pt x="303662" y="56041"/>
                  </a:lnTo>
                  <a:lnTo>
                    <a:pt x="315229" y="67281"/>
                  </a:lnTo>
                  <a:lnTo>
                    <a:pt x="319791" y="62068"/>
                  </a:lnTo>
                  <a:lnTo>
                    <a:pt x="326959" y="65978"/>
                  </a:lnTo>
                  <a:lnTo>
                    <a:pt x="332986" y="64349"/>
                  </a:lnTo>
                  <a:lnTo>
                    <a:pt x="338362" y="65489"/>
                  </a:lnTo>
                  <a:lnTo>
                    <a:pt x="347159" y="58810"/>
                  </a:lnTo>
                  <a:lnTo>
                    <a:pt x="351069" y="58321"/>
                  </a:lnTo>
                  <a:lnTo>
                    <a:pt x="356934" y="70703"/>
                  </a:lnTo>
                  <a:lnTo>
                    <a:pt x="364753" y="75753"/>
                  </a:lnTo>
                  <a:lnTo>
                    <a:pt x="367197" y="80803"/>
                  </a:lnTo>
                  <a:lnTo>
                    <a:pt x="370618" y="77219"/>
                  </a:lnTo>
                  <a:lnTo>
                    <a:pt x="379904" y="79337"/>
                  </a:lnTo>
                  <a:lnTo>
                    <a:pt x="386746" y="79500"/>
                  </a:lnTo>
                  <a:lnTo>
                    <a:pt x="391471" y="82432"/>
                  </a:lnTo>
                  <a:lnTo>
                    <a:pt x="397010" y="81455"/>
                  </a:lnTo>
                  <a:lnTo>
                    <a:pt x="403689" y="85527"/>
                  </a:lnTo>
                  <a:lnTo>
                    <a:pt x="411346" y="86993"/>
                  </a:lnTo>
                  <a:lnTo>
                    <a:pt x="415255" y="83084"/>
                  </a:lnTo>
                  <a:lnTo>
                    <a:pt x="417536" y="88948"/>
                  </a:lnTo>
                  <a:lnTo>
                    <a:pt x="420957" y="91066"/>
                  </a:lnTo>
                  <a:lnTo>
                    <a:pt x="421120" y="97908"/>
                  </a:lnTo>
                  <a:lnTo>
                    <a:pt x="416884" y="103610"/>
                  </a:lnTo>
                  <a:lnTo>
                    <a:pt x="411508" y="104751"/>
                  </a:lnTo>
                  <a:lnTo>
                    <a:pt x="409879" y="115665"/>
                  </a:lnTo>
                  <a:lnTo>
                    <a:pt x="417210" y="120879"/>
                  </a:lnTo>
                  <a:lnTo>
                    <a:pt x="418351" y="128209"/>
                  </a:lnTo>
                  <a:lnTo>
                    <a:pt x="415255" y="137658"/>
                  </a:lnTo>
                  <a:lnTo>
                    <a:pt x="416233" y="144175"/>
                  </a:lnTo>
                  <a:lnTo>
                    <a:pt x="411508" y="147596"/>
                  </a:lnTo>
                  <a:lnTo>
                    <a:pt x="399290" y="148410"/>
                  </a:lnTo>
                  <a:lnTo>
                    <a:pt x="393751" y="157207"/>
                  </a:lnTo>
                  <a:lnTo>
                    <a:pt x="390330" y="158673"/>
                  </a:lnTo>
                  <a:lnTo>
                    <a:pt x="388864" y="170566"/>
                  </a:lnTo>
                  <a:lnTo>
                    <a:pt x="384140" y="172358"/>
                  </a:lnTo>
                  <a:lnTo>
                    <a:pt x="383488" y="169588"/>
                  </a:lnTo>
                  <a:lnTo>
                    <a:pt x="380882" y="169263"/>
                  </a:lnTo>
                  <a:lnTo>
                    <a:pt x="374365" y="172032"/>
                  </a:lnTo>
                  <a:lnTo>
                    <a:pt x="368012" y="171380"/>
                  </a:lnTo>
                  <a:lnTo>
                    <a:pt x="364753" y="173824"/>
                  </a:lnTo>
                  <a:lnTo>
                    <a:pt x="362635" y="178385"/>
                  </a:lnTo>
                  <a:lnTo>
                    <a:pt x="357097" y="178711"/>
                  </a:lnTo>
                  <a:lnTo>
                    <a:pt x="354327" y="182621"/>
                  </a:lnTo>
                  <a:lnTo>
                    <a:pt x="348951" y="188323"/>
                  </a:lnTo>
                  <a:lnTo>
                    <a:pt x="346996" y="187834"/>
                  </a:lnTo>
                  <a:lnTo>
                    <a:pt x="341783" y="188323"/>
                  </a:lnTo>
                  <a:lnTo>
                    <a:pt x="337548" y="191744"/>
                  </a:lnTo>
                  <a:lnTo>
                    <a:pt x="330705" y="190115"/>
                  </a:lnTo>
                  <a:lnTo>
                    <a:pt x="325492" y="193373"/>
                  </a:lnTo>
                  <a:lnTo>
                    <a:pt x="322234" y="192884"/>
                  </a:lnTo>
                  <a:lnTo>
                    <a:pt x="318976" y="187183"/>
                  </a:lnTo>
                  <a:lnTo>
                    <a:pt x="316532" y="187508"/>
                  </a:lnTo>
                  <a:lnTo>
                    <a:pt x="318162" y="190604"/>
                  </a:lnTo>
                  <a:lnTo>
                    <a:pt x="321094" y="194188"/>
                  </a:lnTo>
                  <a:lnTo>
                    <a:pt x="319953" y="197446"/>
                  </a:lnTo>
                  <a:lnTo>
                    <a:pt x="314414" y="205266"/>
                  </a:lnTo>
                  <a:lnTo>
                    <a:pt x="311319" y="206895"/>
                  </a:lnTo>
                  <a:lnTo>
                    <a:pt x="310179" y="204614"/>
                  </a:lnTo>
                  <a:lnTo>
                    <a:pt x="312134" y="203473"/>
                  </a:lnTo>
                  <a:lnTo>
                    <a:pt x="317184" y="197446"/>
                  </a:lnTo>
                  <a:lnTo>
                    <a:pt x="316369" y="195328"/>
                  </a:lnTo>
                  <a:lnTo>
                    <a:pt x="313763" y="193699"/>
                  </a:lnTo>
                  <a:lnTo>
                    <a:pt x="312785" y="196468"/>
                  </a:lnTo>
                  <a:lnTo>
                    <a:pt x="304966" y="204614"/>
                  </a:lnTo>
                  <a:lnTo>
                    <a:pt x="300405" y="205428"/>
                  </a:lnTo>
                  <a:lnTo>
                    <a:pt x="299590" y="208524"/>
                  </a:lnTo>
                  <a:lnTo>
                    <a:pt x="294214" y="208524"/>
                  </a:lnTo>
                  <a:lnTo>
                    <a:pt x="290467" y="205754"/>
                  </a:lnTo>
                  <a:lnTo>
                    <a:pt x="287371" y="208687"/>
                  </a:lnTo>
                  <a:lnTo>
                    <a:pt x="281833" y="207709"/>
                  </a:lnTo>
                  <a:lnTo>
                    <a:pt x="281018" y="209827"/>
                  </a:lnTo>
                  <a:lnTo>
                    <a:pt x="284276" y="211945"/>
                  </a:lnTo>
                  <a:lnTo>
                    <a:pt x="292422" y="211456"/>
                  </a:lnTo>
                  <a:lnTo>
                    <a:pt x="295517" y="215040"/>
                  </a:lnTo>
                  <a:lnTo>
                    <a:pt x="298612" y="217484"/>
                  </a:lnTo>
                  <a:lnTo>
                    <a:pt x="301545" y="215855"/>
                  </a:lnTo>
                  <a:lnTo>
                    <a:pt x="303337" y="218298"/>
                  </a:lnTo>
                  <a:lnTo>
                    <a:pt x="300730" y="221393"/>
                  </a:lnTo>
                  <a:lnTo>
                    <a:pt x="300893" y="223837"/>
                  </a:lnTo>
                  <a:lnTo>
                    <a:pt x="303337" y="222208"/>
                  </a:lnTo>
                  <a:lnTo>
                    <a:pt x="305617" y="222208"/>
                  </a:lnTo>
                  <a:lnTo>
                    <a:pt x="304803" y="226281"/>
                  </a:lnTo>
                  <a:lnTo>
                    <a:pt x="307898" y="223348"/>
                  </a:lnTo>
                  <a:lnTo>
                    <a:pt x="310668" y="225140"/>
                  </a:lnTo>
                  <a:lnTo>
                    <a:pt x="311808" y="231005"/>
                  </a:lnTo>
                  <a:lnTo>
                    <a:pt x="314741" y="234100"/>
                  </a:lnTo>
                  <a:lnTo>
                    <a:pt x="320442" y="235729"/>
                  </a:lnTo>
                  <a:lnTo>
                    <a:pt x="323049" y="234426"/>
                  </a:lnTo>
                  <a:lnTo>
                    <a:pt x="314414" y="226281"/>
                  </a:lnTo>
                  <a:lnTo>
                    <a:pt x="305617" y="215529"/>
                  </a:lnTo>
                  <a:lnTo>
                    <a:pt x="303011" y="208850"/>
                  </a:lnTo>
                  <a:lnTo>
                    <a:pt x="305129" y="207546"/>
                  </a:lnTo>
                  <a:lnTo>
                    <a:pt x="309039" y="212922"/>
                  </a:lnTo>
                  <a:lnTo>
                    <a:pt x="310994" y="219764"/>
                  </a:lnTo>
                  <a:lnTo>
                    <a:pt x="323375" y="233286"/>
                  </a:lnTo>
                  <a:lnTo>
                    <a:pt x="326307" y="234426"/>
                  </a:lnTo>
                  <a:lnTo>
                    <a:pt x="330543" y="230028"/>
                  </a:lnTo>
                  <a:lnTo>
                    <a:pt x="333475" y="229865"/>
                  </a:lnTo>
                  <a:lnTo>
                    <a:pt x="338199" y="232797"/>
                  </a:lnTo>
                  <a:lnTo>
                    <a:pt x="340154" y="227584"/>
                  </a:lnTo>
                  <a:lnTo>
                    <a:pt x="348300" y="226770"/>
                  </a:lnTo>
                  <a:lnTo>
                    <a:pt x="355142" y="227095"/>
                  </a:lnTo>
                  <a:lnTo>
                    <a:pt x="353187" y="230354"/>
                  </a:lnTo>
                  <a:lnTo>
                    <a:pt x="350580" y="232471"/>
                  </a:lnTo>
                  <a:lnTo>
                    <a:pt x="353024" y="237196"/>
                  </a:lnTo>
                  <a:lnTo>
                    <a:pt x="349929" y="240780"/>
                  </a:lnTo>
                  <a:lnTo>
                    <a:pt x="341132" y="241594"/>
                  </a:lnTo>
                  <a:lnTo>
                    <a:pt x="331032" y="239802"/>
                  </a:lnTo>
                  <a:lnTo>
                    <a:pt x="325167" y="243060"/>
                  </a:lnTo>
                  <a:lnTo>
                    <a:pt x="320605" y="249251"/>
                  </a:lnTo>
                  <a:lnTo>
                    <a:pt x="312623" y="249088"/>
                  </a:lnTo>
                  <a:lnTo>
                    <a:pt x="300730" y="258048"/>
                  </a:lnTo>
                  <a:lnTo>
                    <a:pt x="291770" y="262121"/>
                  </a:lnTo>
                  <a:lnTo>
                    <a:pt x="282647" y="261632"/>
                  </a:lnTo>
                  <a:lnTo>
                    <a:pt x="278086" y="258211"/>
                  </a:lnTo>
                  <a:lnTo>
                    <a:pt x="279389" y="256256"/>
                  </a:lnTo>
                  <a:lnTo>
                    <a:pt x="282647" y="246970"/>
                  </a:lnTo>
                  <a:lnTo>
                    <a:pt x="282159" y="243386"/>
                  </a:lnTo>
                  <a:lnTo>
                    <a:pt x="274013" y="236870"/>
                  </a:lnTo>
                  <a:lnTo>
                    <a:pt x="271081" y="237359"/>
                  </a:lnTo>
                  <a:lnTo>
                    <a:pt x="265542" y="234589"/>
                  </a:lnTo>
                  <a:lnTo>
                    <a:pt x="262121" y="237521"/>
                  </a:lnTo>
                  <a:lnTo>
                    <a:pt x="257559" y="235567"/>
                  </a:lnTo>
                  <a:lnTo>
                    <a:pt x="262773" y="227584"/>
                  </a:lnTo>
                  <a:lnTo>
                    <a:pt x="271895" y="222208"/>
                  </a:lnTo>
                  <a:lnTo>
                    <a:pt x="279389" y="220905"/>
                  </a:lnTo>
                  <a:lnTo>
                    <a:pt x="281670" y="219601"/>
                  </a:lnTo>
                  <a:lnTo>
                    <a:pt x="278737" y="216017"/>
                  </a:lnTo>
                  <a:lnTo>
                    <a:pt x="277597" y="209664"/>
                  </a:lnTo>
                  <a:lnTo>
                    <a:pt x="275153" y="208524"/>
                  </a:lnTo>
                  <a:lnTo>
                    <a:pt x="273198" y="212271"/>
                  </a:lnTo>
                  <a:lnTo>
                    <a:pt x="269126" y="209990"/>
                  </a:lnTo>
                  <a:lnTo>
                    <a:pt x="263424" y="207383"/>
                  </a:lnTo>
                  <a:lnTo>
                    <a:pt x="257234" y="208524"/>
                  </a:lnTo>
                  <a:lnTo>
                    <a:pt x="251857" y="211293"/>
                  </a:lnTo>
                  <a:lnTo>
                    <a:pt x="247133" y="208524"/>
                  </a:lnTo>
                  <a:lnTo>
                    <a:pt x="243549" y="208198"/>
                  </a:lnTo>
                  <a:lnTo>
                    <a:pt x="239802" y="204940"/>
                  </a:lnTo>
                  <a:lnTo>
                    <a:pt x="242735" y="203311"/>
                  </a:lnTo>
                  <a:lnTo>
                    <a:pt x="243712" y="201356"/>
                  </a:lnTo>
                  <a:lnTo>
                    <a:pt x="236218" y="198749"/>
                  </a:lnTo>
                  <a:lnTo>
                    <a:pt x="226932" y="198749"/>
                  </a:lnTo>
                  <a:lnTo>
                    <a:pt x="224652" y="195654"/>
                  </a:lnTo>
                  <a:lnTo>
                    <a:pt x="230353" y="195654"/>
                  </a:lnTo>
                  <a:lnTo>
                    <a:pt x="239314" y="194513"/>
                  </a:lnTo>
                  <a:lnTo>
                    <a:pt x="243875" y="195980"/>
                  </a:lnTo>
                  <a:lnTo>
                    <a:pt x="247133" y="194188"/>
                  </a:lnTo>
                  <a:lnTo>
                    <a:pt x="252672" y="190929"/>
                  </a:lnTo>
                  <a:lnTo>
                    <a:pt x="244852" y="192884"/>
                  </a:lnTo>
                  <a:lnTo>
                    <a:pt x="240943" y="191418"/>
                  </a:lnTo>
                  <a:lnTo>
                    <a:pt x="237847" y="189138"/>
                  </a:lnTo>
                  <a:lnTo>
                    <a:pt x="236218" y="186205"/>
                  </a:lnTo>
                  <a:lnTo>
                    <a:pt x="233937" y="189789"/>
                  </a:lnTo>
                  <a:lnTo>
                    <a:pt x="231982" y="192721"/>
                  </a:lnTo>
                  <a:lnTo>
                    <a:pt x="227258" y="192721"/>
                  </a:lnTo>
                  <a:lnTo>
                    <a:pt x="227421" y="191255"/>
                  </a:lnTo>
                  <a:lnTo>
                    <a:pt x="224489" y="188649"/>
                  </a:lnTo>
                  <a:lnTo>
                    <a:pt x="219601" y="195002"/>
                  </a:lnTo>
                  <a:lnTo>
                    <a:pt x="213574" y="195328"/>
                  </a:lnTo>
                  <a:lnTo>
                    <a:pt x="209827" y="198260"/>
                  </a:lnTo>
                  <a:lnTo>
                    <a:pt x="209827" y="204614"/>
                  </a:lnTo>
                  <a:lnTo>
                    <a:pt x="204614" y="211456"/>
                  </a:lnTo>
                  <a:lnTo>
                    <a:pt x="201844" y="211456"/>
                  </a:lnTo>
                  <a:lnTo>
                    <a:pt x="203473" y="214714"/>
                  </a:lnTo>
                  <a:lnTo>
                    <a:pt x="193862" y="226281"/>
                  </a:lnTo>
                  <a:lnTo>
                    <a:pt x="190441" y="226281"/>
                  </a:lnTo>
                  <a:lnTo>
                    <a:pt x="188323" y="223023"/>
                  </a:lnTo>
                  <a:lnTo>
                    <a:pt x="188160" y="226770"/>
                  </a:lnTo>
                  <a:lnTo>
                    <a:pt x="187671" y="229865"/>
                  </a:lnTo>
                  <a:lnTo>
                    <a:pt x="190115" y="232797"/>
                  </a:lnTo>
                  <a:lnTo>
                    <a:pt x="189137" y="237359"/>
                  </a:lnTo>
                  <a:lnTo>
                    <a:pt x="189137" y="237359"/>
                  </a:lnTo>
                  <a:lnTo>
                    <a:pt x="184739" y="233775"/>
                  </a:lnTo>
                  <a:lnTo>
                    <a:pt x="176919" y="234589"/>
                  </a:lnTo>
                  <a:lnTo>
                    <a:pt x="172684" y="237684"/>
                  </a:lnTo>
                  <a:lnTo>
                    <a:pt x="163235" y="237521"/>
                  </a:lnTo>
                  <a:lnTo>
                    <a:pt x="156230" y="235892"/>
                  </a:lnTo>
                  <a:lnTo>
                    <a:pt x="152157" y="228887"/>
                  </a:lnTo>
                  <a:lnTo>
                    <a:pt x="155904" y="226118"/>
                  </a:lnTo>
                  <a:lnTo>
                    <a:pt x="160139" y="227421"/>
                  </a:lnTo>
                  <a:lnTo>
                    <a:pt x="160303" y="222860"/>
                  </a:lnTo>
                  <a:lnTo>
                    <a:pt x="165027" y="213900"/>
                  </a:lnTo>
                  <a:lnTo>
                    <a:pt x="167634" y="214388"/>
                  </a:lnTo>
                  <a:lnTo>
                    <a:pt x="167471" y="208035"/>
                  </a:lnTo>
                  <a:lnTo>
                    <a:pt x="168122" y="198912"/>
                  </a:lnTo>
                  <a:lnTo>
                    <a:pt x="173173" y="198586"/>
                  </a:lnTo>
                  <a:lnTo>
                    <a:pt x="179852" y="196468"/>
                  </a:lnTo>
                  <a:lnTo>
                    <a:pt x="183762" y="199727"/>
                  </a:lnTo>
                  <a:lnTo>
                    <a:pt x="191418" y="199564"/>
                  </a:lnTo>
                  <a:lnTo>
                    <a:pt x="192396" y="196794"/>
                  </a:lnTo>
                  <a:lnTo>
                    <a:pt x="189137" y="192396"/>
                  </a:lnTo>
                  <a:lnTo>
                    <a:pt x="190278" y="188160"/>
                  </a:lnTo>
                  <a:lnTo>
                    <a:pt x="189300" y="183599"/>
                  </a:lnTo>
                  <a:lnTo>
                    <a:pt x="181969" y="179200"/>
                  </a:lnTo>
                  <a:lnTo>
                    <a:pt x="175779" y="173335"/>
                  </a:lnTo>
                  <a:lnTo>
                    <a:pt x="174801" y="170729"/>
                  </a:lnTo>
                  <a:lnTo>
                    <a:pt x="169100" y="167633"/>
                  </a:lnTo>
                  <a:lnTo>
                    <a:pt x="169588" y="161606"/>
                  </a:lnTo>
                  <a:lnTo>
                    <a:pt x="167959" y="152646"/>
                  </a:lnTo>
                  <a:lnTo>
                    <a:pt x="161606" y="149225"/>
                  </a:lnTo>
                  <a:lnTo>
                    <a:pt x="153623" y="141405"/>
                  </a:lnTo>
                  <a:lnTo>
                    <a:pt x="151180" y="141405"/>
                  </a:lnTo>
                  <a:lnTo>
                    <a:pt x="149876" y="144338"/>
                  </a:lnTo>
                  <a:lnTo>
                    <a:pt x="141568" y="143360"/>
                  </a:lnTo>
                  <a:lnTo>
                    <a:pt x="133748" y="136192"/>
                  </a:lnTo>
                  <a:lnTo>
                    <a:pt x="127069" y="136192"/>
                  </a:lnTo>
                  <a:lnTo>
                    <a:pt x="123322" y="130327"/>
                  </a:lnTo>
                  <a:lnTo>
                    <a:pt x="121367" y="132282"/>
                  </a:lnTo>
                  <a:lnTo>
                    <a:pt x="115828" y="132282"/>
                  </a:lnTo>
                  <a:lnTo>
                    <a:pt x="114199" y="134889"/>
                  </a:lnTo>
                  <a:lnTo>
                    <a:pt x="109149" y="131956"/>
                  </a:lnTo>
                  <a:lnTo>
                    <a:pt x="108171" y="133585"/>
                  </a:lnTo>
                  <a:lnTo>
                    <a:pt x="104099" y="131956"/>
                  </a:lnTo>
                  <a:lnTo>
                    <a:pt x="105076" y="138799"/>
                  </a:lnTo>
                  <a:lnTo>
                    <a:pt x="104262" y="141731"/>
                  </a:lnTo>
                  <a:lnTo>
                    <a:pt x="105239" y="148084"/>
                  </a:lnTo>
                  <a:lnTo>
                    <a:pt x="99212" y="149062"/>
                  </a:lnTo>
                  <a:lnTo>
                    <a:pt x="93347" y="152809"/>
                  </a:lnTo>
                  <a:lnTo>
                    <a:pt x="76241" y="155741"/>
                  </a:lnTo>
                  <a:lnTo>
                    <a:pt x="72006" y="160628"/>
                  </a:lnTo>
                  <a:lnTo>
                    <a:pt x="66630" y="161117"/>
                  </a:lnTo>
                  <a:lnTo>
                    <a:pt x="58484" y="163561"/>
                  </a:lnTo>
                  <a:lnTo>
                    <a:pt x="53271" y="161117"/>
                  </a:lnTo>
                  <a:lnTo>
                    <a:pt x="50828" y="157044"/>
                  </a:lnTo>
                  <a:lnTo>
                    <a:pt x="43985" y="153949"/>
                  </a:lnTo>
                  <a:lnTo>
                    <a:pt x="36817" y="153623"/>
                  </a:lnTo>
                  <a:lnTo>
                    <a:pt x="27532" y="148410"/>
                  </a:lnTo>
                  <a:lnTo>
                    <a:pt x="22644" y="148410"/>
                  </a:lnTo>
                  <a:lnTo>
                    <a:pt x="19223" y="151505"/>
                  </a:lnTo>
                  <a:lnTo>
                    <a:pt x="14173" y="151668"/>
                  </a:lnTo>
                  <a:lnTo>
                    <a:pt x="12544" y="147107"/>
                  </a:lnTo>
                  <a:lnTo>
                    <a:pt x="6028" y="142871"/>
                  </a:lnTo>
                  <a:lnTo>
                    <a:pt x="0" y="137169"/>
                  </a:lnTo>
                  <a:lnTo>
                    <a:pt x="1140" y="136355"/>
                  </a:lnTo>
                  <a:lnTo>
                    <a:pt x="2118" y="127721"/>
                  </a:lnTo>
                  <a:lnTo>
                    <a:pt x="7494" y="116480"/>
                  </a:lnTo>
                  <a:lnTo>
                    <a:pt x="12218" y="116806"/>
                  </a:lnTo>
                  <a:lnTo>
                    <a:pt x="12707" y="109149"/>
                  </a:lnTo>
                  <a:lnTo>
                    <a:pt x="11566" y="102144"/>
                  </a:lnTo>
                  <a:lnTo>
                    <a:pt x="27206" y="84550"/>
                  </a:lnTo>
                  <a:lnTo>
                    <a:pt x="29487" y="76893"/>
                  </a:lnTo>
                  <a:lnTo>
                    <a:pt x="33234" y="72820"/>
                  </a:lnTo>
                  <a:lnTo>
                    <a:pt x="37469" y="72657"/>
                  </a:lnTo>
                  <a:lnTo>
                    <a:pt x="38935" y="65001"/>
                  </a:lnTo>
                  <a:lnTo>
                    <a:pt x="37143" y="61905"/>
                  </a:lnTo>
                  <a:lnTo>
                    <a:pt x="36328" y="57833"/>
                  </a:lnTo>
                  <a:lnTo>
                    <a:pt x="38609" y="55063"/>
                  </a:lnTo>
                  <a:lnTo>
                    <a:pt x="32419" y="51153"/>
                  </a:lnTo>
                  <a:lnTo>
                    <a:pt x="29487" y="43660"/>
                  </a:lnTo>
                  <a:lnTo>
                    <a:pt x="26228" y="40401"/>
                  </a:lnTo>
                  <a:lnTo>
                    <a:pt x="25902" y="28509"/>
                  </a:lnTo>
                  <a:lnTo>
                    <a:pt x="26228" y="24273"/>
                  </a:lnTo>
                  <a:close/>
                </a:path>
              </a:pathLst>
            </a:custGeom>
            <a:solidFill>
              <a:schemeClr val="bg2"/>
            </a:solidFill>
            <a:ln w="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9" name="Forma livre: Forma 158">
              <a:extLst>
                <a:ext uri="{FF2B5EF4-FFF2-40B4-BE49-F238E27FC236}">
                  <a16:creationId xmlns:a16="http://schemas.microsoft.com/office/drawing/2014/main" id="{D88772F9-5B92-9328-9AFB-6038863991B2}"/>
                </a:ext>
              </a:extLst>
            </p:cNvPr>
            <p:cNvSpPr/>
            <p:nvPr/>
          </p:nvSpPr>
          <p:spPr>
            <a:xfrm>
              <a:off x="6623409" y="3548448"/>
              <a:ext cx="91245" cy="101851"/>
            </a:xfrm>
            <a:custGeom>
              <a:avLst/>
              <a:gdLst>
                <a:gd name="connsiteX0" fmla="*/ 1140 w 88296"/>
                <a:gd name="connsiteY0" fmla="*/ 17757 h 98559"/>
                <a:gd name="connsiteX1" fmla="*/ 163 w 88296"/>
                <a:gd name="connsiteY1" fmla="*/ 11404 h 98559"/>
                <a:gd name="connsiteX2" fmla="*/ 977 w 88296"/>
                <a:gd name="connsiteY2" fmla="*/ 8471 h 98559"/>
                <a:gd name="connsiteX3" fmla="*/ 0 w 88296"/>
                <a:gd name="connsiteY3" fmla="*/ 1629 h 98559"/>
                <a:gd name="connsiteX4" fmla="*/ 4073 w 88296"/>
                <a:gd name="connsiteY4" fmla="*/ 3258 h 98559"/>
                <a:gd name="connsiteX5" fmla="*/ 5050 w 88296"/>
                <a:gd name="connsiteY5" fmla="*/ 1629 h 98559"/>
                <a:gd name="connsiteX6" fmla="*/ 10100 w 88296"/>
                <a:gd name="connsiteY6" fmla="*/ 4561 h 98559"/>
                <a:gd name="connsiteX7" fmla="*/ 11729 w 88296"/>
                <a:gd name="connsiteY7" fmla="*/ 1955 h 98559"/>
                <a:gd name="connsiteX8" fmla="*/ 17268 w 88296"/>
                <a:gd name="connsiteY8" fmla="*/ 1955 h 98559"/>
                <a:gd name="connsiteX9" fmla="*/ 19224 w 88296"/>
                <a:gd name="connsiteY9" fmla="*/ 0 h 98559"/>
                <a:gd name="connsiteX10" fmla="*/ 22970 w 88296"/>
                <a:gd name="connsiteY10" fmla="*/ 5865 h 98559"/>
                <a:gd name="connsiteX11" fmla="*/ 29650 w 88296"/>
                <a:gd name="connsiteY11" fmla="*/ 5865 h 98559"/>
                <a:gd name="connsiteX12" fmla="*/ 37469 w 88296"/>
                <a:gd name="connsiteY12" fmla="*/ 13033 h 98559"/>
                <a:gd name="connsiteX13" fmla="*/ 45777 w 88296"/>
                <a:gd name="connsiteY13" fmla="*/ 14010 h 98559"/>
                <a:gd name="connsiteX14" fmla="*/ 47081 w 88296"/>
                <a:gd name="connsiteY14" fmla="*/ 11078 h 98559"/>
                <a:gd name="connsiteX15" fmla="*/ 49525 w 88296"/>
                <a:gd name="connsiteY15" fmla="*/ 11078 h 98559"/>
                <a:gd name="connsiteX16" fmla="*/ 57507 w 88296"/>
                <a:gd name="connsiteY16" fmla="*/ 18897 h 98559"/>
                <a:gd name="connsiteX17" fmla="*/ 63861 w 88296"/>
                <a:gd name="connsiteY17" fmla="*/ 22318 h 98559"/>
                <a:gd name="connsiteX18" fmla="*/ 65490 w 88296"/>
                <a:gd name="connsiteY18" fmla="*/ 31279 h 98559"/>
                <a:gd name="connsiteX19" fmla="*/ 65001 w 88296"/>
                <a:gd name="connsiteY19" fmla="*/ 37306 h 98559"/>
                <a:gd name="connsiteX20" fmla="*/ 70703 w 88296"/>
                <a:gd name="connsiteY20" fmla="*/ 40401 h 98559"/>
                <a:gd name="connsiteX21" fmla="*/ 71680 w 88296"/>
                <a:gd name="connsiteY21" fmla="*/ 43008 h 98559"/>
                <a:gd name="connsiteX22" fmla="*/ 77871 w 88296"/>
                <a:gd name="connsiteY22" fmla="*/ 48873 h 98559"/>
                <a:gd name="connsiteX23" fmla="*/ 85202 w 88296"/>
                <a:gd name="connsiteY23" fmla="*/ 53271 h 98559"/>
                <a:gd name="connsiteX24" fmla="*/ 86179 w 88296"/>
                <a:gd name="connsiteY24" fmla="*/ 57833 h 98559"/>
                <a:gd name="connsiteX25" fmla="*/ 85039 w 88296"/>
                <a:gd name="connsiteY25" fmla="*/ 62068 h 98559"/>
                <a:gd name="connsiteX26" fmla="*/ 88297 w 88296"/>
                <a:gd name="connsiteY26" fmla="*/ 66467 h 98559"/>
                <a:gd name="connsiteX27" fmla="*/ 87320 w 88296"/>
                <a:gd name="connsiteY27" fmla="*/ 69236 h 98559"/>
                <a:gd name="connsiteX28" fmla="*/ 79663 w 88296"/>
                <a:gd name="connsiteY28" fmla="*/ 69399 h 98559"/>
                <a:gd name="connsiteX29" fmla="*/ 75753 w 88296"/>
                <a:gd name="connsiteY29" fmla="*/ 66141 h 98559"/>
                <a:gd name="connsiteX30" fmla="*/ 69074 w 88296"/>
                <a:gd name="connsiteY30" fmla="*/ 68259 h 98559"/>
                <a:gd name="connsiteX31" fmla="*/ 64024 w 88296"/>
                <a:gd name="connsiteY31" fmla="*/ 68585 h 98559"/>
                <a:gd name="connsiteX32" fmla="*/ 63372 w 88296"/>
                <a:gd name="connsiteY32" fmla="*/ 77708 h 98559"/>
                <a:gd name="connsiteX33" fmla="*/ 63535 w 88296"/>
                <a:gd name="connsiteY33" fmla="*/ 84061 h 98559"/>
                <a:gd name="connsiteX34" fmla="*/ 60928 w 88296"/>
                <a:gd name="connsiteY34" fmla="*/ 83572 h 98559"/>
                <a:gd name="connsiteX35" fmla="*/ 56204 w 88296"/>
                <a:gd name="connsiteY35" fmla="*/ 92532 h 98559"/>
                <a:gd name="connsiteX36" fmla="*/ 56041 w 88296"/>
                <a:gd name="connsiteY36" fmla="*/ 97094 h 98559"/>
                <a:gd name="connsiteX37" fmla="*/ 51805 w 88296"/>
                <a:gd name="connsiteY37" fmla="*/ 95791 h 98559"/>
                <a:gd name="connsiteX38" fmla="*/ 48058 w 88296"/>
                <a:gd name="connsiteY38" fmla="*/ 98560 h 98559"/>
                <a:gd name="connsiteX39" fmla="*/ 47733 w 88296"/>
                <a:gd name="connsiteY39" fmla="*/ 97908 h 98559"/>
                <a:gd name="connsiteX40" fmla="*/ 44311 w 88296"/>
                <a:gd name="connsiteY40" fmla="*/ 90903 h 98559"/>
                <a:gd name="connsiteX41" fmla="*/ 45452 w 88296"/>
                <a:gd name="connsiteY41" fmla="*/ 66956 h 98559"/>
                <a:gd name="connsiteX42" fmla="*/ 41053 w 88296"/>
                <a:gd name="connsiteY42" fmla="*/ 59462 h 98559"/>
                <a:gd name="connsiteX43" fmla="*/ 39261 w 88296"/>
                <a:gd name="connsiteY43" fmla="*/ 52457 h 98559"/>
                <a:gd name="connsiteX44" fmla="*/ 25577 w 88296"/>
                <a:gd name="connsiteY44" fmla="*/ 41868 h 98559"/>
                <a:gd name="connsiteX45" fmla="*/ 24436 w 88296"/>
                <a:gd name="connsiteY45" fmla="*/ 36655 h 98559"/>
                <a:gd name="connsiteX46" fmla="*/ 14173 w 88296"/>
                <a:gd name="connsiteY46" fmla="*/ 27369 h 98559"/>
                <a:gd name="connsiteX47" fmla="*/ 11241 w 88296"/>
                <a:gd name="connsiteY47" fmla="*/ 15965 h 98559"/>
                <a:gd name="connsiteX48" fmla="*/ 1140 w 88296"/>
                <a:gd name="connsiteY48" fmla="*/ 17757 h 985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</a:cxnLst>
              <a:rect l="l" t="t" r="r" b="b"/>
              <a:pathLst>
                <a:path w="88296" h="98559">
                  <a:moveTo>
                    <a:pt x="1140" y="17757"/>
                  </a:moveTo>
                  <a:lnTo>
                    <a:pt x="163" y="11404"/>
                  </a:lnTo>
                  <a:lnTo>
                    <a:pt x="977" y="8471"/>
                  </a:lnTo>
                  <a:lnTo>
                    <a:pt x="0" y="1629"/>
                  </a:lnTo>
                  <a:lnTo>
                    <a:pt x="4073" y="3258"/>
                  </a:lnTo>
                  <a:lnTo>
                    <a:pt x="5050" y="1629"/>
                  </a:lnTo>
                  <a:lnTo>
                    <a:pt x="10100" y="4561"/>
                  </a:lnTo>
                  <a:lnTo>
                    <a:pt x="11729" y="1955"/>
                  </a:lnTo>
                  <a:lnTo>
                    <a:pt x="17268" y="1955"/>
                  </a:lnTo>
                  <a:lnTo>
                    <a:pt x="19224" y="0"/>
                  </a:lnTo>
                  <a:lnTo>
                    <a:pt x="22970" y="5865"/>
                  </a:lnTo>
                  <a:lnTo>
                    <a:pt x="29650" y="5865"/>
                  </a:lnTo>
                  <a:lnTo>
                    <a:pt x="37469" y="13033"/>
                  </a:lnTo>
                  <a:lnTo>
                    <a:pt x="45777" y="14010"/>
                  </a:lnTo>
                  <a:lnTo>
                    <a:pt x="47081" y="11078"/>
                  </a:lnTo>
                  <a:lnTo>
                    <a:pt x="49525" y="11078"/>
                  </a:lnTo>
                  <a:lnTo>
                    <a:pt x="57507" y="18897"/>
                  </a:lnTo>
                  <a:lnTo>
                    <a:pt x="63861" y="22318"/>
                  </a:lnTo>
                  <a:lnTo>
                    <a:pt x="65490" y="31279"/>
                  </a:lnTo>
                  <a:lnTo>
                    <a:pt x="65001" y="37306"/>
                  </a:lnTo>
                  <a:lnTo>
                    <a:pt x="70703" y="40401"/>
                  </a:lnTo>
                  <a:lnTo>
                    <a:pt x="71680" y="43008"/>
                  </a:lnTo>
                  <a:lnTo>
                    <a:pt x="77871" y="48873"/>
                  </a:lnTo>
                  <a:lnTo>
                    <a:pt x="85202" y="53271"/>
                  </a:lnTo>
                  <a:lnTo>
                    <a:pt x="86179" y="57833"/>
                  </a:lnTo>
                  <a:lnTo>
                    <a:pt x="85039" y="62068"/>
                  </a:lnTo>
                  <a:lnTo>
                    <a:pt x="88297" y="66467"/>
                  </a:lnTo>
                  <a:lnTo>
                    <a:pt x="87320" y="69236"/>
                  </a:lnTo>
                  <a:lnTo>
                    <a:pt x="79663" y="69399"/>
                  </a:lnTo>
                  <a:lnTo>
                    <a:pt x="75753" y="66141"/>
                  </a:lnTo>
                  <a:lnTo>
                    <a:pt x="69074" y="68259"/>
                  </a:lnTo>
                  <a:lnTo>
                    <a:pt x="64024" y="68585"/>
                  </a:lnTo>
                  <a:lnTo>
                    <a:pt x="63372" y="77708"/>
                  </a:lnTo>
                  <a:lnTo>
                    <a:pt x="63535" y="84061"/>
                  </a:lnTo>
                  <a:lnTo>
                    <a:pt x="60928" y="83572"/>
                  </a:lnTo>
                  <a:lnTo>
                    <a:pt x="56204" y="92532"/>
                  </a:lnTo>
                  <a:lnTo>
                    <a:pt x="56041" y="97094"/>
                  </a:lnTo>
                  <a:lnTo>
                    <a:pt x="51805" y="95791"/>
                  </a:lnTo>
                  <a:lnTo>
                    <a:pt x="48058" y="98560"/>
                  </a:lnTo>
                  <a:lnTo>
                    <a:pt x="47733" y="97908"/>
                  </a:lnTo>
                  <a:lnTo>
                    <a:pt x="44311" y="90903"/>
                  </a:lnTo>
                  <a:lnTo>
                    <a:pt x="45452" y="66956"/>
                  </a:lnTo>
                  <a:lnTo>
                    <a:pt x="41053" y="59462"/>
                  </a:lnTo>
                  <a:lnTo>
                    <a:pt x="39261" y="52457"/>
                  </a:lnTo>
                  <a:lnTo>
                    <a:pt x="25577" y="41868"/>
                  </a:lnTo>
                  <a:lnTo>
                    <a:pt x="24436" y="36655"/>
                  </a:lnTo>
                  <a:lnTo>
                    <a:pt x="14173" y="27369"/>
                  </a:lnTo>
                  <a:lnTo>
                    <a:pt x="11241" y="15965"/>
                  </a:lnTo>
                  <a:lnTo>
                    <a:pt x="1140" y="17757"/>
                  </a:lnTo>
                  <a:close/>
                </a:path>
              </a:pathLst>
            </a:custGeom>
            <a:solidFill>
              <a:schemeClr val="bg2"/>
            </a:solidFill>
            <a:ln w="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0" name="Forma livre: Forma 159">
              <a:extLst>
                <a:ext uri="{FF2B5EF4-FFF2-40B4-BE49-F238E27FC236}">
                  <a16:creationId xmlns:a16="http://schemas.microsoft.com/office/drawing/2014/main" id="{46A628B6-F42E-C48A-C582-81608D9C2BF4}"/>
                </a:ext>
              </a:extLst>
            </p:cNvPr>
            <p:cNvSpPr/>
            <p:nvPr/>
          </p:nvSpPr>
          <p:spPr>
            <a:xfrm>
              <a:off x="6477955" y="3564946"/>
              <a:ext cx="233333" cy="149495"/>
            </a:xfrm>
            <a:custGeom>
              <a:avLst/>
              <a:gdLst>
                <a:gd name="connsiteX0" fmla="*/ 50828 w 225791"/>
                <a:gd name="connsiteY0" fmla="*/ 5376 h 144663"/>
                <a:gd name="connsiteX1" fmla="*/ 55878 w 225791"/>
                <a:gd name="connsiteY1" fmla="*/ 5213 h 144663"/>
                <a:gd name="connsiteX2" fmla="*/ 59299 w 225791"/>
                <a:gd name="connsiteY2" fmla="*/ 2118 h 144663"/>
                <a:gd name="connsiteX3" fmla="*/ 64186 w 225791"/>
                <a:gd name="connsiteY3" fmla="*/ 2118 h 144663"/>
                <a:gd name="connsiteX4" fmla="*/ 73472 w 225791"/>
                <a:gd name="connsiteY4" fmla="*/ 7331 h 144663"/>
                <a:gd name="connsiteX5" fmla="*/ 80640 w 225791"/>
                <a:gd name="connsiteY5" fmla="*/ 7657 h 144663"/>
                <a:gd name="connsiteX6" fmla="*/ 87482 w 225791"/>
                <a:gd name="connsiteY6" fmla="*/ 10752 h 144663"/>
                <a:gd name="connsiteX7" fmla="*/ 89926 w 225791"/>
                <a:gd name="connsiteY7" fmla="*/ 14825 h 144663"/>
                <a:gd name="connsiteX8" fmla="*/ 95139 w 225791"/>
                <a:gd name="connsiteY8" fmla="*/ 17268 h 144663"/>
                <a:gd name="connsiteX9" fmla="*/ 103284 w 225791"/>
                <a:gd name="connsiteY9" fmla="*/ 14825 h 144663"/>
                <a:gd name="connsiteX10" fmla="*/ 108660 w 225791"/>
                <a:gd name="connsiteY10" fmla="*/ 14336 h 144663"/>
                <a:gd name="connsiteX11" fmla="*/ 112896 w 225791"/>
                <a:gd name="connsiteY11" fmla="*/ 9449 h 144663"/>
                <a:gd name="connsiteX12" fmla="*/ 130001 w 225791"/>
                <a:gd name="connsiteY12" fmla="*/ 6516 h 144663"/>
                <a:gd name="connsiteX13" fmla="*/ 135866 w 225791"/>
                <a:gd name="connsiteY13" fmla="*/ 2769 h 144663"/>
                <a:gd name="connsiteX14" fmla="*/ 151994 w 225791"/>
                <a:gd name="connsiteY14" fmla="*/ 0 h 144663"/>
                <a:gd name="connsiteX15" fmla="*/ 154926 w 225791"/>
                <a:gd name="connsiteY15" fmla="*/ 11404 h 144663"/>
                <a:gd name="connsiteX16" fmla="*/ 165190 w 225791"/>
                <a:gd name="connsiteY16" fmla="*/ 20690 h 144663"/>
                <a:gd name="connsiteX17" fmla="*/ 166330 w 225791"/>
                <a:gd name="connsiteY17" fmla="*/ 25903 h 144663"/>
                <a:gd name="connsiteX18" fmla="*/ 180014 w 225791"/>
                <a:gd name="connsiteY18" fmla="*/ 36492 h 144663"/>
                <a:gd name="connsiteX19" fmla="*/ 181807 w 225791"/>
                <a:gd name="connsiteY19" fmla="*/ 43497 h 144663"/>
                <a:gd name="connsiteX20" fmla="*/ 186205 w 225791"/>
                <a:gd name="connsiteY20" fmla="*/ 50991 h 144663"/>
                <a:gd name="connsiteX21" fmla="*/ 185065 w 225791"/>
                <a:gd name="connsiteY21" fmla="*/ 74938 h 144663"/>
                <a:gd name="connsiteX22" fmla="*/ 188486 w 225791"/>
                <a:gd name="connsiteY22" fmla="*/ 81943 h 144663"/>
                <a:gd name="connsiteX23" fmla="*/ 192884 w 225791"/>
                <a:gd name="connsiteY23" fmla="*/ 89600 h 144663"/>
                <a:gd name="connsiteX24" fmla="*/ 199889 w 225791"/>
                <a:gd name="connsiteY24" fmla="*/ 91229 h 144663"/>
                <a:gd name="connsiteX25" fmla="*/ 209338 w 225791"/>
                <a:gd name="connsiteY25" fmla="*/ 91392 h 144663"/>
                <a:gd name="connsiteX26" fmla="*/ 213574 w 225791"/>
                <a:gd name="connsiteY26" fmla="*/ 88297 h 144663"/>
                <a:gd name="connsiteX27" fmla="*/ 221393 w 225791"/>
                <a:gd name="connsiteY27" fmla="*/ 87482 h 144663"/>
                <a:gd name="connsiteX28" fmla="*/ 225792 w 225791"/>
                <a:gd name="connsiteY28" fmla="*/ 91066 h 144663"/>
                <a:gd name="connsiteX29" fmla="*/ 223023 w 225791"/>
                <a:gd name="connsiteY29" fmla="*/ 93673 h 144663"/>
                <a:gd name="connsiteX30" fmla="*/ 225792 w 225791"/>
                <a:gd name="connsiteY30" fmla="*/ 95791 h 144663"/>
                <a:gd name="connsiteX31" fmla="*/ 225792 w 225791"/>
                <a:gd name="connsiteY31" fmla="*/ 99700 h 144663"/>
                <a:gd name="connsiteX32" fmla="*/ 222208 w 225791"/>
                <a:gd name="connsiteY32" fmla="*/ 106380 h 144663"/>
                <a:gd name="connsiteX33" fmla="*/ 216669 w 225791"/>
                <a:gd name="connsiteY33" fmla="*/ 107520 h 144663"/>
                <a:gd name="connsiteX34" fmla="*/ 207872 w 225791"/>
                <a:gd name="connsiteY34" fmla="*/ 108009 h 144663"/>
                <a:gd name="connsiteX35" fmla="*/ 206406 w 225791"/>
                <a:gd name="connsiteY35" fmla="*/ 113548 h 144663"/>
                <a:gd name="connsiteX36" fmla="*/ 203148 w 225791"/>
                <a:gd name="connsiteY36" fmla="*/ 116969 h 144663"/>
                <a:gd name="connsiteX37" fmla="*/ 205266 w 225791"/>
                <a:gd name="connsiteY37" fmla="*/ 120553 h 144663"/>
                <a:gd name="connsiteX38" fmla="*/ 204940 w 225791"/>
                <a:gd name="connsiteY38" fmla="*/ 128210 h 144663"/>
                <a:gd name="connsiteX39" fmla="*/ 202170 w 225791"/>
                <a:gd name="connsiteY39" fmla="*/ 132771 h 144663"/>
                <a:gd name="connsiteX40" fmla="*/ 203962 w 225791"/>
                <a:gd name="connsiteY40" fmla="*/ 138961 h 144663"/>
                <a:gd name="connsiteX41" fmla="*/ 197935 w 225791"/>
                <a:gd name="connsiteY41" fmla="*/ 138636 h 144663"/>
                <a:gd name="connsiteX42" fmla="*/ 196794 w 225791"/>
                <a:gd name="connsiteY42" fmla="*/ 136029 h 144663"/>
                <a:gd name="connsiteX43" fmla="*/ 190115 w 225791"/>
                <a:gd name="connsiteY43" fmla="*/ 132934 h 144663"/>
                <a:gd name="connsiteX44" fmla="*/ 185228 w 225791"/>
                <a:gd name="connsiteY44" fmla="*/ 134726 h 144663"/>
                <a:gd name="connsiteX45" fmla="*/ 182621 w 225791"/>
                <a:gd name="connsiteY45" fmla="*/ 131956 h 144663"/>
                <a:gd name="connsiteX46" fmla="*/ 174313 w 225791"/>
                <a:gd name="connsiteY46" fmla="*/ 128535 h 144663"/>
                <a:gd name="connsiteX47" fmla="*/ 166330 w 225791"/>
                <a:gd name="connsiteY47" fmla="*/ 127721 h 144663"/>
                <a:gd name="connsiteX48" fmla="*/ 159651 w 225791"/>
                <a:gd name="connsiteY48" fmla="*/ 128861 h 144663"/>
                <a:gd name="connsiteX49" fmla="*/ 144500 w 225791"/>
                <a:gd name="connsiteY49" fmla="*/ 135866 h 144663"/>
                <a:gd name="connsiteX50" fmla="*/ 142382 w 225791"/>
                <a:gd name="connsiteY50" fmla="*/ 139450 h 144663"/>
                <a:gd name="connsiteX51" fmla="*/ 135866 w 225791"/>
                <a:gd name="connsiteY51" fmla="*/ 141568 h 144663"/>
                <a:gd name="connsiteX52" fmla="*/ 132771 w 225791"/>
                <a:gd name="connsiteY52" fmla="*/ 143686 h 144663"/>
                <a:gd name="connsiteX53" fmla="*/ 123159 w 225791"/>
                <a:gd name="connsiteY53" fmla="*/ 142708 h 144663"/>
                <a:gd name="connsiteX54" fmla="*/ 118761 w 225791"/>
                <a:gd name="connsiteY54" fmla="*/ 142708 h 144663"/>
                <a:gd name="connsiteX55" fmla="*/ 113548 w 225791"/>
                <a:gd name="connsiteY55" fmla="*/ 140753 h 144663"/>
                <a:gd name="connsiteX56" fmla="*/ 109312 w 225791"/>
                <a:gd name="connsiteY56" fmla="*/ 142708 h 144663"/>
                <a:gd name="connsiteX57" fmla="*/ 104425 w 225791"/>
                <a:gd name="connsiteY57" fmla="*/ 141242 h 144663"/>
                <a:gd name="connsiteX58" fmla="*/ 97094 w 225791"/>
                <a:gd name="connsiteY58" fmla="*/ 144663 h 144663"/>
                <a:gd name="connsiteX59" fmla="*/ 88134 w 225791"/>
                <a:gd name="connsiteY59" fmla="*/ 141405 h 144663"/>
                <a:gd name="connsiteX60" fmla="*/ 85690 w 225791"/>
                <a:gd name="connsiteY60" fmla="*/ 142057 h 144663"/>
                <a:gd name="connsiteX61" fmla="*/ 82921 w 225791"/>
                <a:gd name="connsiteY61" fmla="*/ 139124 h 144663"/>
                <a:gd name="connsiteX62" fmla="*/ 76078 w 225791"/>
                <a:gd name="connsiteY62" fmla="*/ 138799 h 144663"/>
                <a:gd name="connsiteX63" fmla="*/ 69725 w 225791"/>
                <a:gd name="connsiteY63" fmla="*/ 142871 h 144663"/>
                <a:gd name="connsiteX64" fmla="*/ 66955 w 225791"/>
                <a:gd name="connsiteY64" fmla="*/ 138147 h 144663"/>
                <a:gd name="connsiteX65" fmla="*/ 68910 w 225791"/>
                <a:gd name="connsiteY65" fmla="*/ 135540 h 144663"/>
                <a:gd name="connsiteX66" fmla="*/ 69236 w 225791"/>
                <a:gd name="connsiteY66" fmla="*/ 131631 h 144663"/>
                <a:gd name="connsiteX67" fmla="*/ 65978 w 225791"/>
                <a:gd name="connsiteY67" fmla="*/ 128861 h 144663"/>
                <a:gd name="connsiteX68" fmla="*/ 58973 w 225791"/>
                <a:gd name="connsiteY68" fmla="*/ 128210 h 144663"/>
                <a:gd name="connsiteX69" fmla="*/ 57507 w 225791"/>
                <a:gd name="connsiteY69" fmla="*/ 122671 h 144663"/>
                <a:gd name="connsiteX70" fmla="*/ 56692 w 225791"/>
                <a:gd name="connsiteY70" fmla="*/ 118924 h 144663"/>
                <a:gd name="connsiteX71" fmla="*/ 60928 w 225791"/>
                <a:gd name="connsiteY71" fmla="*/ 114036 h 144663"/>
                <a:gd name="connsiteX72" fmla="*/ 52131 w 225791"/>
                <a:gd name="connsiteY72" fmla="*/ 112244 h 144663"/>
                <a:gd name="connsiteX73" fmla="*/ 47895 w 225791"/>
                <a:gd name="connsiteY73" fmla="*/ 117946 h 144663"/>
                <a:gd name="connsiteX74" fmla="*/ 43823 w 225791"/>
                <a:gd name="connsiteY74" fmla="*/ 114199 h 144663"/>
                <a:gd name="connsiteX75" fmla="*/ 38446 w 225791"/>
                <a:gd name="connsiteY75" fmla="*/ 116480 h 144663"/>
                <a:gd name="connsiteX76" fmla="*/ 36003 w 225791"/>
                <a:gd name="connsiteY76" fmla="*/ 112244 h 144663"/>
                <a:gd name="connsiteX77" fmla="*/ 27532 w 225791"/>
                <a:gd name="connsiteY77" fmla="*/ 109475 h 144663"/>
                <a:gd name="connsiteX78" fmla="*/ 26554 w 225791"/>
                <a:gd name="connsiteY78" fmla="*/ 106706 h 144663"/>
                <a:gd name="connsiteX79" fmla="*/ 29487 w 225791"/>
                <a:gd name="connsiteY79" fmla="*/ 100352 h 144663"/>
                <a:gd name="connsiteX80" fmla="*/ 22807 w 225791"/>
                <a:gd name="connsiteY80" fmla="*/ 95302 h 144663"/>
                <a:gd name="connsiteX81" fmla="*/ 16128 w 225791"/>
                <a:gd name="connsiteY81" fmla="*/ 91718 h 144663"/>
                <a:gd name="connsiteX82" fmla="*/ 14499 w 225791"/>
                <a:gd name="connsiteY82" fmla="*/ 87319 h 144663"/>
                <a:gd name="connsiteX83" fmla="*/ 6353 w 225791"/>
                <a:gd name="connsiteY83" fmla="*/ 77545 h 144663"/>
                <a:gd name="connsiteX84" fmla="*/ 4725 w 225791"/>
                <a:gd name="connsiteY84" fmla="*/ 74287 h 144663"/>
                <a:gd name="connsiteX85" fmla="*/ 0 w 225791"/>
                <a:gd name="connsiteY85" fmla="*/ 72657 h 144663"/>
                <a:gd name="connsiteX86" fmla="*/ 5050 w 225791"/>
                <a:gd name="connsiteY86" fmla="*/ 67444 h 144663"/>
                <a:gd name="connsiteX87" fmla="*/ 9449 w 225791"/>
                <a:gd name="connsiteY87" fmla="*/ 66141 h 144663"/>
                <a:gd name="connsiteX88" fmla="*/ 11892 w 225791"/>
                <a:gd name="connsiteY88" fmla="*/ 61743 h 144663"/>
                <a:gd name="connsiteX89" fmla="*/ 18734 w 225791"/>
                <a:gd name="connsiteY89" fmla="*/ 62231 h 144663"/>
                <a:gd name="connsiteX90" fmla="*/ 23296 w 225791"/>
                <a:gd name="connsiteY90" fmla="*/ 57833 h 144663"/>
                <a:gd name="connsiteX91" fmla="*/ 23133 w 225791"/>
                <a:gd name="connsiteY91" fmla="*/ 52945 h 144663"/>
                <a:gd name="connsiteX92" fmla="*/ 32256 w 225791"/>
                <a:gd name="connsiteY92" fmla="*/ 39424 h 144663"/>
                <a:gd name="connsiteX93" fmla="*/ 37469 w 225791"/>
                <a:gd name="connsiteY93" fmla="*/ 23785 h 144663"/>
                <a:gd name="connsiteX94" fmla="*/ 42845 w 225791"/>
                <a:gd name="connsiteY94" fmla="*/ 13847 h 144663"/>
                <a:gd name="connsiteX95" fmla="*/ 48873 w 225791"/>
                <a:gd name="connsiteY95" fmla="*/ 12707 h 144663"/>
                <a:gd name="connsiteX96" fmla="*/ 51479 w 225791"/>
                <a:gd name="connsiteY96" fmla="*/ 7005 h 144663"/>
                <a:gd name="connsiteX97" fmla="*/ 50828 w 225791"/>
                <a:gd name="connsiteY97" fmla="*/ 5376 h 1446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</a:cxnLst>
              <a:rect l="l" t="t" r="r" b="b"/>
              <a:pathLst>
                <a:path w="225791" h="144663">
                  <a:moveTo>
                    <a:pt x="50828" y="5376"/>
                  </a:moveTo>
                  <a:lnTo>
                    <a:pt x="55878" y="5213"/>
                  </a:lnTo>
                  <a:lnTo>
                    <a:pt x="59299" y="2118"/>
                  </a:lnTo>
                  <a:lnTo>
                    <a:pt x="64186" y="2118"/>
                  </a:lnTo>
                  <a:lnTo>
                    <a:pt x="73472" y="7331"/>
                  </a:lnTo>
                  <a:lnTo>
                    <a:pt x="80640" y="7657"/>
                  </a:lnTo>
                  <a:lnTo>
                    <a:pt x="87482" y="10752"/>
                  </a:lnTo>
                  <a:lnTo>
                    <a:pt x="89926" y="14825"/>
                  </a:lnTo>
                  <a:lnTo>
                    <a:pt x="95139" y="17268"/>
                  </a:lnTo>
                  <a:lnTo>
                    <a:pt x="103284" y="14825"/>
                  </a:lnTo>
                  <a:lnTo>
                    <a:pt x="108660" y="14336"/>
                  </a:lnTo>
                  <a:lnTo>
                    <a:pt x="112896" y="9449"/>
                  </a:lnTo>
                  <a:lnTo>
                    <a:pt x="130001" y="6516"/>
                  </a:lnTo>
                  <a:lnTo>
                    <a:pt x="135866" y="2769"/>
                  </a:lnTo>
                  <a:lnTo>
                    <a:pt x="151994" y="0"/>
                  </a:lnTo>
                  <a:lnTo>
                    <a:pt x="154926" y="11404"/>
                  </a:lnTo>
                  <a:lnTo>
                    <a:pt x="165190" y="20690"/>
                  </a:lnTo>
                  <a:lnTo>
                    <a:pt x="166330" y="25903"/>
                  </a:lnTo>
                  <a:lnTo>
                    <a:pt x="180014" y="36492"/>
                  </a:lnTo>
                  <a:lnTo>
                    <a:pt x="181807" y="43497"/>
                  </a:lnTo>
                  <a:lnTo>
                    <a:pt x="186205" y="50991"/>
                  </a:lnTo>
                  <a:lnTo>
                    <a:pt x="185065" y="74938"/>
                  </a:lnTo>
                  <a:lnTo>
                    <a:pt x="188486" y="81943"/>
                  </a:lnTo>
                  <a:lnTo>
                    <a:pt x="192884" y="89600"/>
                  </a:lnTo>
                  <a:lnTo>
                    <a:pt x="199889" y="91229"/>
                  </a:lnTo>
                  <a:lnTo>
                    <a:pt x="209338" y="91392"/>
                  </a:lnTo>
                  <a:lnTo>
                    <a:pt x="213574" y="88297"/>
                  </a:lnTo>
                  <a:lnTo>
                    <a:pt x="221393" y="87482"/>
                  </a:lnTo>
                  <a:lnTo>
                    <a:pt x="225792" y="91066"/>
                  </a:lnTo>
                  <a:lnTo>
                    <a:pt x="223023" y="93673"/>
                  </a:lnTo>
                  <a:lnTo>
                    <a:pt x="225792" y="95791"/>
                  </a:lnTo>
                  <a:lnTo>
                    <a:pt x="225792" y="99700"/>
                  </a:lnTo>
                  <a:lnTo>
                    <a:pt x="222208" y="106380"/>
                  </a:lnTo>
                  <a:lnTo>
                    <a:pt x="216669" y="107520"/>
                  </a:lnTo>
                  <a:lnTo>
                    <a:pt x="207872" y="108009"/>
                  </a:lnTo>
                  <a:lnTo>
                    <a:pt x="206406" y="113548"/>
                  </a:lnTo>
                  <a:lnTo>
                    <a:pt x="203148" y="116969"/>
                  </a:lnTo>
                  <a:lnTo>
                    <a:pt x="205266" y="120553"/>
                  </a:lnTo>
                  <a:lnTo>
                    <a:pt x="204940" y="128210"/>
                  </a:lnTo>
                  <a:lnTo>
                    <a:pt x="202170" y="132771"/>
                  </a:lnTo>
                  <a:lnTo>
                    <a:pt x="203962" y="138961"/>
                  </a:lnTo>
                  <a:lnTo>
                    <a:pt x="197935" y="138636"/>
                  </a:lnTo>
                  <a:lnTo>
                    <a:pt x="196794" y="136029"/>
                  </a:lnTo>
                  <a:lnTo>
                    <a:pt x="190115" y="132934"/>
                  </a:lnTo>
                  <a:lnTo>
                    <a:pt x="185228" y="134726"/>
                  </a:lnTo>
                  <a:lnTo>
                    <a:pt x="182621" y="131956"/>
                  </a:lnTo>
                  <a:lnTo>
                    <a:pt x="174313" y="128535"/>
                  </a:lnTo>
                  <a:lnTo>
                    <a:pt x="166330" y="127721"/>
                  </a:lnTo>
                  <a:lnTo>
                    <a:pt x="159651" y="128861"/>
                  </a:lnTo>
                  <a:lnTo>
                    <a:pt x="144500" y="135866"/>
                  </a:lnTo>
                  <a:lnTo>
                    <a:pt x="142382" y="139450"/>
                  </a:lnTo>
                  <a:lnTo>
                    <a:pt x="135866" y="141568"/>
                  </a:lnTo>
                  <a:lnTo>
                    <a:pt x="132771" y="143686"/>
                  </a:lnTo>
                  <a:lnTo>
                    <a:pt x="123159" y="142708"/>
                  </a:lnTo>
                  <a:lnTo>
                    <a:pt x="118761" y="142708"/>
                  </a:lnTo>
                  <a:lnTo>
                    <a:pt x="113548" y="140753"/>
                  </a:lnTo>
                  <a:lnTo>
                    <a:pt x="109312" y="142708"/>
                  </a:lnTo>
                  <a:lnTo>
                    <a:pt x="104425" y="141242"/>
                  </a:lnTo>
                  <a:lnTo>
                    <a:pt x="97094" y="144663"/>
                  </a:lnTo>
                  <a:lnTo>
                    <a:pt x="88134" y="141405"/>
                  </a:lnTo>
                  <a:lnTo>
                    <a:pt x="85690" y="142057"/>
                  </a:lnTo>
                  <a:lnTo>
                    <a:pt x="82921" y="139124"/>
                  </a:lnTo>
                  <a:lnTo>
                    <a:pt x="76078" y="138799"/>
                  </a:lnTo>
                  <a:lnTo>
                    <a:pt x="69725" y="142871"/>
                  </a:lnTo>
                  <a:lnTo>
                    <a:pt x="66955" y="138147"/>
                  </a:lnTo>
                  <a:lnTo>
                    <a:pt x="68910" y="135540"/>
                  </a:lnTo>
                  <a:lnTo>
                    <a:pt x="69236" y="131631"/>
                  </a:lnTo>
                  <a:lnTo>
                    <a:pt x="65978" y="128861"/>
                  </a:lnTo>
                  <a:lnTo>
                    <a:pt x="58973" y="128210"/>
                  </a:lnTo>
                  <a:lnTo>
                    <a:pt x="57507" y="122671"/>
                  </a:lnTo>
                  <a:lnTo>
                    <a:pt x="56692" y="118924"/>
                  </a:lnTo>
                  <a:lnTo>
                    <a:pt x="60928" y="114036"/>
                  </a:lnTo>
                  <a:lnTo>
                    <a:pt x="52131" y="112244"/>
                  </a:lnTo>
                  <a:lnTo>
                    <a:pt x="47895" y="117946"/>
                  </a:lnTo>
                  <a:lnTo>
                    <a:pt x="43823" y="114199"/>
                  </a:lnTo>
                  <a:lnTo>
                    <a:pt x="38446" y="116480"/>
                  </a:lnTo>
                  <a:lnTo>
                    <a:pt x="36003" y="112244"/>
                  </a:lnTo>
                  <a:lnTo>
                    <a:pt x="27532" y="109475"/>
                  </a:lnTo>
                  <a:lnTo>
                    <a:pt x="26554" y="106706"/>
                  </a:lnTo>
                  <a:lnTo>
                    <a:pt x="29487" y="100352"/>
                  </a:lnTo>
                  <a:lnTo>
                    <a:pt x="22807" y="95302"/>
                  </a:lnTo>
                  <a:lnTo>
                    <a:pt x="16128" y="91718"/>
                  </a:lnTo>
                  <a:lnTo>
                    <a:pt x="14499" y="87319"/>
                  </a:lnTo>
                  <a:lnTo>
                    <a:pt x="6353" y="77545"/>
                  </a:lnTo>
                  <a:lnTo>
                    <a:pt x="4725" y="74287"/>
                  </a:lnTo>
                  <a:lnTo>
                    <a:pt x="0" y="72657"/>
                  </a:lnTo>
                  <a:lnTo>
                    <a:pt x="5050" y="67444"/>
                  </a:lnTo>
                  <a:lnTo>
                    <a:pt x="9449" y="66141"/>
                  </a:lnTo>
                  <a:lnTo>
                    <a:pt x="11892" y="61743"/>
                  </a:lnTo>
                  <a:lnTo>
                    <a:pt x="18734" y="62231"/>
                  </a:lnTo>
                  <a:lnTo>
                    <a:pt x="23296" y="57833"/>
                  </a:lnTo>
                  <a:lnTo>
                    <a:pt x="23133" y="52945"/>
                  </a:lnTo>
                  <a:lnTo>
                    <a:pt x="32256" y="39424"/>
                  </a:lnTo>
                  <a:lnTo>
                    <a:pt x="37469" y="23785"/>
                  </a:lnTo>
                  <a:lnTo>
                    <a:pt x="42845" y="13847"/>
                  </a:lnTo>
                  <a:lnTo>
                    <a:pt x="48873" y="12707"/>
                  </a:lnTo>
                  <a:lnTo>
                    <a:pt x="51479" y="7005"/>
                  </a:lnTo>
                  <a:lnTo>
                    <a:pt x="50828" y="5376"/>
                  </a:lnTo>
                  <a:close/>
                </a:path>
              </a:pathLst>
            </a:custGeom>
            <a:solidFill>
              <a:schemeClr val="bg2"/>
            </a:solidFill>
            <a:ln w="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1" name="Forma livre: Forma 160">
              <a:extLst>
                <a:ext uri="{FF2B5EF4-FFF2-40B4-BE49-F238E27FC236}">
                  <a16:creationId xmlns:a16="http://schemas.microsoft.com/office/drawing/2014/main" id="{AF635E07-4882-8290-126E-71405A4B8721}"/>
                </a:ext>
              </a:extLst>
            </p:cNvPr>
            <p:cNvSpPr/>
            <p:nvPr/>
          </p:nvSpPr>
          <p:spPr>
            <a:xfrm>
              <a:off x="6379301" y="3555518"/>
              <a:ext cx="151852" cy="98821"/>
            </a:xfrm>
            <a:custGeom>
              <a:avLst/>
              <a:gdLst>
                <a:gd name="connsiteX0" fmla="*/ 95465 w 146944"/>
                <a:gd name="connsiteY0" fmla="*/ 81780 h 95627"/>
                <a:gd name="connsiteX1" fmla="*/ 100515 w 146944"/>
                <a:gd name="connsiteY1" fmla="*/ 76567 h 95627"/>
                <a:gd name="connsiteX2" fmla="*/ 104914 w 146944"/>
                <a:gd name="connsiteY2" fmla="*/ 75264 h 95627"/>
                <a:gd name="connsiteX3" fmla="*/ 107357 w 146944"/>
                <a:gd name="connsiteY3" fmla="*/ 70865 h 95627"/>
                <a:gd name="connsiteX4" fmla="*/ 114199 w 146944"/>
                <a:gd name="connsiteY4" fmla="*/ 71354 h 95627"/>
                <a:gd name="connsiteX5" fmla="*/ 118761 w 146944"/>
                <a:gd name="connsiteY5" fmla="*/ 66956 h 95627"/>
                <a:gd name="connsiteX6" fmla="*/ 118598 w 146944"/>
                <a:gd name="connsiteY6" fmla="*/ 62068 h 95627"/>
                <a:gd name="connsiteX7" fmla="*/ 127721 w 146944"/>
                <a:gd name="connsiteY7" fmla="*/ 48547 h 95627"/>
                <a:gd name="connsiteX8" fmla="*/ 132934 w 146944"/>
                <a:gd name="connsiteY8" fmla="*/ 32908 h 95627"/>
                <a:gd name="connsiteX9" fmla="*/ 138310 w 146944"/>
                <a:gd name="connsiteY9" fmla="*/ 22970 h 95627"/>
                <a:gd name="connsiteX10" fmla="*/ 144338 w 146944"/>
                <a:gd name="connsiteY10" fmla="*/ 21830 h 95627"/>
                <a:gd name="connsiteX11" fmla="*/ 146944 w 146944"/>
                <a:gd name="connsiteY11" fmla="*/ 16128 h 95627"/>
                <a:gd name="connsiteX12" fmla="*/ 144663 w 146944"/>
                <a:gd name="connsiteY12" fmla="*/ 9937 h 95627"/>
                <a:gd name="connsiteX13" fmla="*/ 138147 w 146944"/>
                <a:gd name="connsiteY13" fmla="*/ 5702 h 95627"/>
                <a:gd name="connsiteX14" fmla="*/ 132120 w 146944"/>
                <a:gd name="connsiteY14" fmla="*/ 0 h 95627"/>
                <a:gd name="connsiteX15" fmla="*/ 126418 w 146944"/>
                <a:gd name="connsiteY15" fmla="*/ 3584 h 95627"/>
                <a:gd name="connsiteX16" fmla="*/ 118435 w 146944"/>
                <a:gd name="connsiteY16" fmla="*/ 1792 h 95627"/>
                <a:gd name="connsiteX17" fmla="*/ 108172 w 146944"/>
                <a:gd name="connsiteY17" fmla="*/ 2444 h 95627"/>
                <a:gd name="connsiteX18" fmla="*/ 102144 w 146944"/>
                <a:gd name="connsiteY18" fmla="*/ 814 h 95627"/>
                <a:gd name="connsiteX19" fmla="*/ 93673 w 146944"/>
                <a:gd name="connsiteY19" fmla="*/ 1629 h 95627"/>
                <a:gd name="connsiteX20" fmla="*/ 89274 w 146944"/>
                <a:gd name="connsiteY20" fmla="*/ 8471 h 95627"/>
                <a:gd name="connsiteX21" fmla="*/ 84713 w 146944"/>
                <a:gd name="connsiteY21" fmla="*/ 12055 h 95627"/>
                <a:gd name="connsiteX22" fmla="*/ 84224 w 146944"/>
                <a:gd name="connsiteY22" fmla="*/ 16943 h 95627"/>
                <a:gd name="connsiteX23" fmla="*/ 76893 w 146944"/>
                <a:gd name="connsiteY23" fmla="*/ 9286 h 95627"/>
                <a:gd name="connsiteX24" fmla="*/ 68748 w 146944"/>
                <a:gd name="connsiteY24" fmla="*/ 16291 h 95627"/>
                <a:gd name="connsiteX25" fmla="*/ 61417 w 146944"/>
                <a:gd name="connsiteY25" fmla="*/ 18735 h 95627"/>
                <a:gd name="connsiteX26" fmla="*/ 60765 w 146944"/>
                <a:gd name="connsiteY26" fmla="*/ 23459 h 95627"/>
                <a:gd name="connsiteX27" fmla="*/ 47081 w 146944"/>
                <a:gd name="connsiteY27" fmla="*/ 24762 h 95627"/>
                <a:gd name="connsiteX28" fmla="*/ 38447 w 146944"/>
                <a:gd name="connsiteY28" fmla="*/ 27695 h 95627"/>
                <a:gd name="connsiteX29" fmla="*/ 29487 w 146944"/>
                <a:gd name="connsiteY29" fmla="*/ 26065 h 95627"/>
                <a:gd name="connsiteX30" fmla="*/ 12381 w 146944"/>
                <a:gd name="connsiteY30" fmla="*/ 16291 h 95627"/>
                <a:gd name="connsiteX31" fmla="*/ 12870 w 146944"/>
                <a:gd name="connsiteY31" fmla="*/ 19712 h 95627"/>
                <a:gd name="connsiteX32" fmla="*/ 13522 w 146944"/>
                <a:gd name="connsiteY32" fmla="*/ 24762 h 95627"/>
                <a:gd name="connsiteX33" fmla="*/ 12707 w 146944"/>
                <a:gd name="connsiteY33" fmla="*/ 29975 h 95627"/>
                <a:gd name="connsiteX34" fmla="*/ 1629 w 146944"/>
                <a:gd name="connsiteY34" fmla="*/ 29812 h 95627"/>
                <a:gd name="connsiteX35" fmla="*/ 489 w 146944"/>
                <a:gd name="connsiteY35" fmla="*/ 31930 h 95627"/>
                <a:gd name="connsiteX36" fmla="*/ 5050 w 146944"/>
                <a:gd name="connsiteY36" fmla="*/ 37306 h 95627"/>
                <a:gd name="connsiteX37" fmla="*/ 2933 w 146944"/>
                <a:gd name="connsiteY37" fmla="*/ 43171 h 95627"/>
                <a:gd name="connsiteX38" fmla="*/ 2281 w 146944"/>
                <a:gd name="connsiteY38" fmla="*/ 48058 h 95627"/>
                <a:gd name="connsiteX39" fmla="*/ 5050 w 146944"/>
                <a:gd name="connsiteY39" fmla="*/ 52783 h 95627"/>
                <a:gd name="connsiteX40" fmla="*/ 1140 w 146944"/>
                <a:gd name="connsiteY40" fmla="*/ 57833 h 95627"/>
                <a:gd name="connsiteX41" fmla="*/ 0 w 146944"/>
                <a:gd name="connsiteY41" fmla="*/ 58159 h 95627"/>
                <a:gd name="connsiteX42" fmla="*/ 6354 w 146944"/>
                <a:gd name="connsiteY42" fmla="*/ 65652 h 95627"/>
                <a:gd name="connsiteX43" fmla="*/ 7331 w 146944"/>
                <a:gd name="connsiteY43" fmla="*/ 73961 h 95627"/>
                <a:gd name="connsiteX44" fmla="*/ 11893 w 146944"/>
                <a:gd name="connsiteY44" fmla="*/ 74938 h 95627"/>
                <a:gd name="connsiteX45" fmla="*/ 22482 w 146944"/>
                <a:gd name="connsiteY45" fmla="*/ 84876 h 95627"/>
                <a:gd name="connsiteX46" fmla="*/ 27858 w 146944"/>
                <a:gd name="connsiteY46" fmla="*/ 86831 h 95627"/>
                <a:gd name="connsiteX47" fmla="*/ 31767 w 146944"/>
                <a:gd name="connsiteY47" fmla="*/ 90089 h 95627"/>
                <a:gd name="connsiteX48" fmla="*/ 45126 w 146944"/>
                <a:gd name="connsiteY48" fmla="*/ 92207 h 95627"/>
                <a:gd name="connsiteX49" fmla="*/ 54575 w 146944"/>
                <a:gd name="connsiteY49" fmla="*/ 95628 h 95627"/>
                <a:gd name="connsiteX50" fmla="*/ 58484 w 146944"/>
                <a:gd name="connsiteY50" fmla="*/ 90415 h 95627"/>
                <a:gd name="connsiteX51" fmla="*/ 61254 w 146944"/>
                <a:gd name="connsiteY51" fmla="*/ 91881 h 95627"/>
                <a:gd name="connsiteX52" fmla="*/ 64838 w 146944"/>
                <a:gd name="connsiteY52" fmla="*/ 87971 h 95627"/>
                <a:gd name="connsiteX53" fmla="*/ 70703 w 146944"/>
                <a:gd name="connsiteY53" fmla="*/ 85039 h 95627"/>
                <a:gd name="connsiteX54" fmla="*/ 74938 w 146944"/>
                <a:gd name="connsiteY54" fmla="*/ 85690 h 95627"/>
                <a:gd name="connsiteX55" fmla="*/ 76568 w 146944"/>
                <a:gd name="connsiteY55" fmla="*/ 83247 h 95627"/>
                <a:gd name="connsiteX56" fmla="*/ 82595 w 146944"/>
                <a:gd name="connsiteY56" fmla="*/ 78033 h 95627"/>
                <a:gd name="connsiteX57" fmla="*/ 86505 w 146944"/>
                <a:gd name="connsiteY57" fmla="*/ 79337 h 95627"/>
                <a:gd name="connsiteX58" fmla="*/ 91881 w 146944"/>
                <a:gd name="connsiteY58" fmla="*/ 80640 h 95627"/>
                <a:gd name="connsiteX59" fmla="*/ 95465 w 146944"/>
                <a:gd name="connsiteY59" fmla="*/ 81780 h 956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</a:cxnLst>
              <a:rect l="l" t="t" r="r" b="b"/>
              <a:pathLst>
                <a:path w="146944" h="95627">
                  <a:moveTo>
                    <a:pt x="95465" y="81780"/>
                  </a:moveTo>
                  <a:lnTo>
                    <a:pt x="100515" y="76567"/>
                  </a:lnTo>
                  <a:lnTo>
                    <a:pt x="104914" y="75264"/>
                  </a:lnTo>
                  <a:lnTo>
                    <a:pt x="107357" y="70865"/>
                  </a:lnTo>
                  <a:lnTo>
                    <a:pt x="114199" y="71354"/>
                  </a:lnTo>
                  <a:lnTo>
                    <a:pt x="118761" y="66956"/>
                  </a:lnTo>
                  <a:lnTo>
                    <a:pt x="118598" y="62068"/>
                  </a:lnTo>
                  <a:lnTo>
                    <a:pt x="127721" y="48547"/>
                  </a:lnTo>
                  <a:lnTo>
                    <a:pt x="132934" y="32908"/>
                  </a:lnTo>
                  <a:lnTo>
                    <a:pt x="138310" y="22970"/>
                  </a:lnTo>
                  <a:lnTo>
                    <a:pt x="144338" y="21830"/>
                  </a:lnTo>
                  <a:lnTo>
                    <a:pt x="146944" y="16128"/>
                  </a:lnTo>
                  <a:lnTo>
                    <a:pt x="144663" y="9937"/>
                  </a:lnTo>
                  <a:lnTo>
                    <a:pt x="138147" y="5702"/>
                  </a:lnTo>
                  <a:lnTo>
                    <a:pt x="132120" y="0"/>
                  </a:lnTo>
                  <a:lnTo>
                    <a:pt x="126418" y="3584"/>
                  </a:lnTo>
                  <a:lnTo>
                    <a:pt x="118435" y="1792"/>
                  </a:lnTo>
                  <a:lnTo>
                    <a:pt x="108172" y="2444"/>
                  </a:lnTo>
                  <a:lnTo>
                    <a:pt x="102144" y="814"/>
                  </a:lnTo>
                  <a:lnTo>
                    <a:pt x="93673" y="1629"/>
                  </a:lnTo>
                  <a:lnTo>
                    <a:pt x="89274" y="8471"/>
                  </a:lnTo>
                  <a:lnTo>
                    <a:pt x="84713" y="12055"/>
                  </a:lnTo>
                  <a:lnTo>
                    <a:pt x="84224" y="16943"/>
                  </a:lnTo>
                  <a:lnTo>
                    <a:pt x="76893" y="9286"/>
                  </a:lnTo>
                  <a:lnTo>
                    <a:pt x="68748" y="16291"/>
                  </a:lnTo>
                  <a:lnTo>
                    <a:pt x="61417" y="18735"/>
                  </a:lnTo>
                  <a:lnTo>
                    <a:pt x="60765" y="23459"/>
                  </a:lnTo>
                  <a:lnTo>
                    <a:pt x="47081" y="24762"/>
                  </a:lnTo>
                  <a:lnTo>
                    <a:pt x="38447" y="27695"/>
                  </a:lnTo>
                  <a:lnTo>
                    <a:pt x="29487" y="26065"/>
                  </a:lnTo>
                  <a:lnTo>
                    <a:pt x="12381" y="16291"/>
                  </a:lnTo>
                  <a:lnTo>
                    <a:pt x="12870" y="19712"/>
                  </a:lnTo>
                  <a:lnTo>
                    <a:pt x="13522" y="24762"/>
                  </a:lnTo>
                  <a:lnTo>
                    <a:pt x="12707" y="29975"/>
                  </a:lnTo>
                  <a:lnTo>
                    <a:pt x="1629" y="29812"/>
                  </a:lnTo>
                  <a:lnTo>
                    <a:pt x="489" y="31930"/>
                  </a:lnTo>
                  <a:lnTo>
                    <a:pt x="5050" y="37306"/>
                  </a:lnTo>
                  <a:lnTo>
                    <a:pt x="2933" y="43171"/>
                  </a:lnTo>
                  <a:lnTo>
                    <a:pt x="2281" y="48058"/>
                  </a:lnTo>
                  <a:lnTo>
                    <a:pt x="5050" y="52783"/>
                  </a:lnTo>
                  <a:lnTo>
                    <a:pt x="1140" y="57833"/>
                  </a:lnTo>
                  <a:lnTo>
                    <a:pt x="0" y="58159"/>
                  </a:lnTo>
                  <a:lnTo>
                    <a:pt x="6354" y="65652"/>
                  </a:lnTo>
                  <a:lnTo>
                    <a:pt x="7331" y="73961"/>
                  </a:lnTo>
                  <a:lnTo>
                    <a:pt x="11893" y="74938"/>
                  </a:lnTo>
                  <a:lnTo>
                    <a:pt x="22482" y="84876"/>
                  </a:lnTo>
                  <a:lnTo>
                    <a:pt x="27858" y="86831"/>
                  </a:lnTo>
                  <a:lnTo>
                    <a:pt x="31767" y="90089"/>
                  </a:lnTo>
                  <a:lnTo>
                    <a:pt x="45126" y="92207"/>
                  </a:lnTo>
                  <a:lnTo>
                    <a:pt x="54575" y="95628"/>
                  </a:lnTo>
                  <a:lnTo>
                    <a:pt x="58484" y="90415"/>
                  </a:lnTo>
                  <a:lnTo>
                    <a:pt x="61254" y="91881"/>
                  </a:lnTo>
                  <a:lnTo>
                    <a:pt x="64838" y="87971"/>
                  </a:lnTo>
                  <a:lnTo>
                    <a:pt x="70703" y="85039"/>
                  </a:lnTo>
                  <a:lnTo>
                    <a:pt x="74938" y="85690"/>
                  </a:lnTo>
                  <a:lnTo>
                    <a:pt x="76568" y="83247"/>
                  </a:lnTo>
                  <a:lnTo>
                    <a:pt x="82595" y="78033"/>
                  </a:lnTo>
                  <a:lnTo>
                    <a:pt x="86505" y="79337"/>
                  </a:lnTo>
                  <a:lnTo>
                    <a:pt x="91881" y="80640"/>
                  </a:lnTo>
                  <a:lnTo>
                    <a:pt x="95465" y="81780"/>
                  </a:lnTo>
                  <a:close/>
                </a:path>
              </a:pathLst>
            </a:custGeom>
            <a:solidFill>
              <a:schemeClr val="bg2"/>
            </a:solidFill>
            <a:ln w="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2" name="Forma livre: Forma 161">
              <a:extLst>
                <a:ext uri="{FF2B5EF4-FFF2-40B4-BE49-F238E27FC236}">
                  <a16:creationId xmlns:a16="http://schemas.microsoft.com/office/drawing/2014/main" id="{70AFE71F-1338-CD37-DE95-720BB5F7E624}"/>
                </a:ext>
              </a:extLst>
            </p:cNvPr>
            <p:cNvSpPr/>
            <p:nvPr/>
          </p:nvSpPr>
          <p:spPr>
            <a:xfrm>
              <a:off x="6390581" y="3526899"/>
              <a:ext cx="132997" cy="57239"/>
            </a:xfrm>
            <a:custGeom>
              <a:avLst/>
              <a:gdLst>
                <a:gd name="connsiteX0" fmla="*/ 1466 w 128698"/>
                <a:gd name="connsiteY0" fmla="*/ 43986 h 55389"/>
                <a:gd name="connsiteX1" fmla="*/ 18571 w 128698"/>
                <a:gd name="connsiteY1" fmla="*/ 53760 h 55389"/>
                <a:gd name="connsiteX2" fmla="*/ 27532 w 128698"/>
                <a:gd name="connsiteY2" fmla="*/ 55389 h 55389"/>
                <a:gd name="connsiteX3" fmla="*/ 36166 w 128698"/>
                <a:gd name="connsiteY3" fmla="*/ 52457 h 55389"/>
                <a:gd name="connsiteX4" fmla="*/ 49850 w 128698"/>
                <a:gd name="connsiteY4" fmla="*/ 51154 h 55389"/>
                <a:gd name="connsiteX5" fmla="*/ 50502 w 128698"/>
                <a:gd name="connsiteY5" fmla="*/ 46429 h 55389"/>
                <a:gd name="connsiteX6" fmla="*/ 57833 w 128698"/>
                <a:gd name="connsiteY6" fmla="*/ 43986 h 55389"/>
                <a:gd name="connsiteX7" fmla="*/ 65978 w 128698"/>
                <a:gd name="connsiteY7" fmla="*/ 36980 h 55389"/>
                <a:gd name="connsiteX8" fmla="*/ 73309 w 128698"/>
                <a:gd name="connsiteY8" fmla="*/ 44637 h 55389"/>
                <a:gd name="connsiteX9" fmla="*/ 73798 w 128698"/>
                <a:gd name="connsiteY9" fmla="*/ 39750 h 55389"/>
                <a:gd name="connsiteX10" fmla="*/ 78359 w 128698"/>
                <a:gd name="connsiteY10" fmla="*/ 36166 h 55389"/>
                <a:gd name="connsiteX11" fmla="*/ 82758 w 128698"/>
                <a:gd name="connsiteY11" fmla="*/ 29324 h 55389"/>
                <a:gd name="connsiteX12" fmla="*/ 91229 w 128698"/>
                <a:gd name="connsiteY12" fmla="*/ 28509 h 55389"/>
                <a:gd name="connsiteX13" fmla="*/ 97257 w 128698"/>
                <a:gd name="connsiteY13" fmla="*/ 30138 h 55389"/>
                <a:gd name="connsiteX14" fmla="*/ 107520 w 128698"/>
                <a:gd name="connsiteY14" fmla="*/ 29487 h 55389"/>
                <a:gd name="connsiteX15" fmla="*/ 115503 w 128698"/>
                <a:gd name="connsiteY15" fmla="*/ 31279 h 55389"/>
                <a:gd name="connsiteX16" fmla="*/ 122345 w 128698"/>
                <a:gd name="connsiteY16" fmla="*/ 26880 h 55389"/>
                <a:gd name="connsiteX17" fmla="*/ 123322 w 128698"/>
                <a:gd name="connsiteY17" fmla="*/ 18246 h 55389"/>
                <a:gd name="connsiteX18" fmla="*/ 128698 w 128698"/>
                <a:gd name="connsiteY18" fmla="*/ 7005 h 55389"/>
                <a:gd name="connsiteX19" fmla="*/ 128046 w 128698"/>
                <a:gd name="connsiteY19" fmla="*/ 7005 h 55389"/>
                <a:gd name="connsiteX20" fmla="*/ 117294 w 128698"/>
                <a:gd name="connsiteY20" fmla="*/ 815 h 55389"/>
                <a:gd name="connsiteX21" fmla="*/ 107683 w 128698"/>
                <a:gd name="connsiteY21" fmla="*/ 326 h 55389"/>
                <a:gd name="connsiteX22" fmla="*/ 104425 w 128698"/>
                <a:gd name="connsiteY22" fmla="*/ 1792 h 55389"/>
                <a:gd name="connsiteX23" fmla="*/ 100515 w 128698"/>
                <a:gd name="connsiteY23" fmla="*/ 0 h 55389"/>
                <a:gd name="connsiteX24" fmla="*/ 96442 w 128698"/>
                <a:gd name="connsiteY24" fmla="*/ 489 h 55389"/>
                <a:gd name="connsiteX25" fmla="*/ 93184 w 128698"/>
                <a:gd name="connsiteY25" fmla="*/ 3910 h 55389"/>
                <a:gd name="connsiteX26" fmla="*/ 89600 w 128698"/>
                <a:gd name="connsiteY26" fmla="*/ 1466 h 55389"/>
                <a:gd name="connsiteX27" fmla="*/ 83409 w 128698"/>
                <a:gd name="connsiteY27" fmla="*/ 1466 h 55389"/>
                <a:gd name="connsiteX28" fmla="*/ 79500 w 128698"/>
                <a:gd name="connsiteY28" fmla="*/ 978 h 55389"/>
                <a:gd name="connsiteX29" fmla="*/ 75427 w 128698"/>
                <a:gd name="connsiteY29" fmla="*/ 2281 h 55389"/>
                <a:gd name="connsiteX30" fmla="*/ 72332 w 128698"/>
                <a:gd name="connsiteY30" fmla="*/ 7005 h 55389"/>
                <a:gd name="connsiteX31" fmla="*/ 67607 w 128698"/>
                <a:gd name="connsiteY31" fmla="*/ 7168 h 55389"/>
                <a:gd name="connsiteX32" fmla="*/ 66141 w 128698"/>
                <a:gd name="connsiteY32" fmla="*/ 6354 h 55389"/>
                <a:gd name="connsiteX33" fmla="*/ 66304 w 128698"/>
                <a:gd name="connsiteY33" fmla="*/ 6679 h 55389"/>
                <a:gd name="connsiteX34" fmla="*/ 54412 w 128698"/>
                <a:gd name="connsiteY34" fmla="*/ 5539 h 55389"/>
                <a:gd name="connsiteX35" fmla="*/ 48873 w 128698"/>
                <a:gd name="connsiteY35" fmla="*/ 10426 h 55389"/>
                <a:gd name="connsiteX36" fmla="*/ 42519 w 128698"/>
                <a:gd name="connsiteY36" fmla="*/ 11078 h 55389"/>
                <a:gd name="connsiteX37" fmla="*/ 35351 w 128698"/>
                <a:gd name="connsiteY37" fmla="*/ 18246 h 55389"/>
                <a:gd name="connsiteX38" fmla="*/ 25902 w 128698"/>
                <a:gd name="connsiteY38" fmla="*/ 19549 h 55389"/>
                <a:gd name="connsiteX39" fmla="*/ 16128 w 128698"/>
                <a:gd name="connsiteY39" fmla="*/ 22970 h 55389"/>
                <a:gd name="connsiteX40" fmla="*/ 13684 w 128698"/>
                <a:gd name="connsiteY40" fmla="*/ 21015 h 55389"/>
                <a:gd name="connsiteX41" fmla="*/ 7820 w 128698"/>
                <a:gd name="connsiteY41" fmla="*/ 21178 h 55389"/>
                <a:gd name="connsiteX42" fmla="*/ 1792 w 128698"/>
                <a:gd name="connsiteY42" fmla="*/ 25251 h 55389"/>
                <a:gd name="connsiteX43" fmla="*/ 489 w 128698"/>
                <a:gd name="connsiteY43" fmla="*/ 24925 h 55389"/>
                <a:gd name="connsiteX44" fmla="*/ 0 w 128698"/>
                <a:gd name="connsiteY44" fmla="*/ 33071 h 55389"/>
                <a:gd name="connsiteX45" fmla="*/ 1466 w 128698"/>
                <a:gd name="connsiteY45" fmla="*/ 43986 h 553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</a:cxnLst>
              <a:rect l="l" t="t" r="r" b="b"/>
              <a:pathLst>
                <a:path w="128698" h="55389">
                  <a:moveTo>
                    <a:pt x="1466" y="43986"/>
                  </a:moveTo>
                  <a:lnTo>
                    <a:pt x="18571" y="53760"/>
                  </a:lnTo>
                  <a:lnTo>
                    <a:pt x="27532" y="55389"/>
                  </a:lnTo>
                  <a:lnTo>
                    <a:pt x="36166" y="52457"/>
                  </a:lnTo>
                  <a:lnTo>
                    <a:pt x="49850" y="51154"/>
                  </a:lnTo>
                  <a:lnTo>
                    <a:pt x="50502" y="46429"/>
                  </a:lnTo>
                  <a:lnTo>
                    <a:pt x="57833" y="43986"/>
                  </a:lnTo>
                  <a:lnTo>
                    <a:pt x="65978" y="36980"/>
                  </a:lnTo>
                  <a:lnTo>
                    <a:pt x="73309" y="44637"/>
                  </a:lnTo>
                  <a:lnTo>
                    <a:pt x="73798" y="39750"/>
                  </a:lnTo>
                  <a:lnTo>
                    <a:pt x="78359" y="36166"/>
                  </a:lnTo>
                  <a:lnTo>
                    <a:pt x="82758" y="29324"/>
                  </a:lnTo>
                  <a:lnTo>
                    <a:pt x="91229" y="28509"/>
                  </a:lnTo>
                  <a:lnTo>
                    <a:pt x="97257" y="30138"/>
                  </a:lnTo>
                  <a:lnTo>
                    <a:pt x="107520" y="29487"/>
                  </a:lnTo>
                  <a:lnTo>
                    <a:pt x="115503" y="31279"/>
                  </a:lnTo>
                  <a:lnTo>
                    <a:pt x="122345" y="26880"/>
                  </a:lnTo>
                  <a:lnTo>
                    <a:pt x="123322" y="18246"/>
                  </a:lnTo>
                  <a:lnTo>
                    <a:pt x="128698" y="7005"/>
                  </a:lnTo>
                  <a:lnTo>
                    <a:pt x="128046" y="7005"/>
                  </a:lnTo>
                  <a:lnTo>
                    <a:pt x="117294" y="815"/>
                  </a:lnTo>
                  <a:lnTo>
                    <a:pt x="107683" y="326"/>
                  </a:lnTo>
                  <a:lnTo>
                    <a:pt x="104425" y="1792"/>
                  </a:lnTo>
                  <a:lnTo>
                    <a:pt x="100515" y="0"/>
                  </a:lnTo>
                  <a:lnTo>
                    <a:pt x="96442" y="489"/>
                  </a:lnTo>
                  <a:lnTo>
                    <a:pt x="93184" y="3910"/>
                  </a:lnTo>
                  <a:lnTo>
                    <a:pt x="89600" y="1466"/>
                  </a:lnTo>
                  <a:lnTo>
                    <a:pt x="83409" y="1466"/>
                  </a:lnTo>
                  <a:lnTo>
                    <a:pt x="79500" y="978"/>
                  </a:lnTo>
                  <a:lnTo>
                    <a:pt x="75427" y="2281"/>
                  </a:lnTo>
                  <a:lnTo>
                    <a:pt x="72332" y="7005"/>
                  </a:lnTo>
                  <a:lnTo>
                    <a:pt x="67607" y="7168"/>
                  </a:lnTo>
                  <a:lnTo>
                    <a:pt x="66141" y="6354"/>
                  </a:lnTo>
                  <a:lnTo>
                    <a:pt x="66304" y="6679"/>
                  </a:lnTo>
                  <a:lnTo>
                    <a:pt x="54412" y="5539"/>
                  </a:lnTo>
                  <a:lnTo>
                    <a:pt x="48873" y="10426"/>
                  </a:lnTo>
                  <a:lnTo>
                    <a:pt x="42519" y="11078"/>
                  </a:lnTo>
                  <a:lnTo>
                    <a:pt x="35351" y="18246"/>
                  </a:lnTo>
                  <a:lnTo>
                    <a:pt x="25902" y="19549"/>
                  </a:lnTo>
                  <a:lnTo>
                    <a:pt x="16128" y="22970"/>
                  </a:lnTo>
                  <a:lnTo>
                    <a:pt x="13684" y="21015"/>
                  </a:lnTo>
                  <a:lnTo>
                    <a:pt x="7820" y="21178"/>
                  </a:lnTo>
                  <a:lnTo>
                    <a:pt x="1792" y="25251"/>
                  </a:lnTo>
                  <a:lnTo>
                    <a:pt x="489" y="24925"/>
                  </a:lnTo>
                  <a:lnTo>
                    <a:pt x="0" y="33071"/>
                  </a:lnTo>
                  <a:lnTo>
                    <a:pt x="1466" y="43986"/>
                  </a:lnTo>
                  <a:close/>
                </a:path>
              </a:pathLst>
            </a:custGeom>
            <a:solidFill>
              <a:schemeClr val="bg2"/>
            </a:solidFill>
            <a:ln w="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3" name="Forma livre: Forma 162">
              <a:extLst>
                <a:ext uri="{FF2B5EF4-FFF2-40B4-BE49-F238E27FC236}">
                  <a16:creationId xmlns:a16="http://schemas.microsoft.com/office/drawing/2014/main" id="{EA40D95C-B148-C35C-30F9-94B199B0D25D}"/>
                </a:ext>
              </a:extLst>
            </p:cNvPr>
            <p:cNvSpPr/>
            <p:nvPr/>
          </p:nvSpPr>
          <p:spPr>
            <a:xfrm>
              <a:off x="6536205" y="3696933"/>
              <a:ext cx="152862" cy="97138"/>
            </a:xfrm>
            <a:custGeom>
              <a:avLst/>
              <a:gdLst>
                <a:gd name="connsiteX0" fmla="*/ 2607 w 147921"/>
                <a:gd name="connsiteY0" fmla="*/ 489 h 93998"/>
                <a:gd name="connsiteX1" fmla="*/ 9612 w 147921"/>
                <a:gd name="connsiteY1" fmla="*/ 1140 h 93998"/>
                <a:gd name="connsiteX2" fmla="*/ 12870 w 147921"/>
                <a:gd name="connsiteY2" fmla="*/ 3910 h 93998"/>
                <a:gd name="connsiteX3" fmla="*/ 12544 w 147921"/>
                <a:gd name="connsiteY3" fmla="*/ 7820 h 93998"/>
                <a:gd name="connsiteX4" fmla="*/ 10589 w 147921"/>
                <a:gd name="connsiteY4" fmla="*/ 10426 h 93998"/>
                <a:gd name="connsiteX5" fmla="*/ 13359 w 147921"/>
                <a:gd name="connsiteY5" fmla="*/ 15151 h 93998"/>
                <a:gd name="connsiteX6" fmla="*/ 19712 w 147921"/>
                <a:gd name="connsiteY6" fmla="*/ 11078 h 93998"/>
                <a:gd name="connsiteX7" fmla="*/ 26554 w 147921"/>
                <a:gd name="connsiteY7" fmla="*/ 11404 h 93998"/>
                <a:gd name="connsiteX8" fmla="*/ 29323 w 147921"/>
                <a:gd name="connsiteY8" fmla="*/ 14336 h 93998"/>
                <a:gd name="connsiteX9" fmla="*/ 31767 w 147921"/>
                <a:gd name="connsiteY9" fmla="*/ 13684 h 93998"/>
                <a:gd name="connsiteX10" fmla="*/ 40727 w 147921"/>
                <a:gd name="connsiteY10" fmla="*/ 16943 h 93998"/>
                <a:gd name="connsiteX11" fmla="*/ 48058 w 147921"/>
                <a:gd name="connsiteY11" fmla="*/ 13521 h 93998"/>
                <a:gd name="connsiteX12" fmla="*/ 52945 w 147921"/>
                <a:gd name="connsiteY12" fmla="*/ 14988 h 93998"/>
                <a:gd name="connsiteX13" fmla="*/ 57181 w 147921"/>
                <a:gd name="connsiteY13" fmla="*/ 13033 h 93998"/>
                <a:gd name="connsiteX14" fmla="*/ 62394 w 147921"/>
                <a:gd name="connsiteY14" fmla="*/ 14988 h 93998"/>
                <a:gd name="connsiteX15" fmla="*/ 66793 w 147921"/>
                <a:gd name="connsiteY15" fmla="*/ 14988 h 93998"/>
                <a:gd name="connsiteX16" fmla="*/ 76404 w 147921"/>
                <a:gd name="connsiteY16" fmla="*/ 15965 h 93998"/>
                <a:gd name="connsiteX17" fmla="*/ 79500 w 147921"/>
                <a:gd name="connsiteY17" fmla="*/ 13847 h 93998"/>
                <a:gd name="connsiteX18" fmla="*/ 86016 w 147921"/>
                <a:gd name="connsiteY18" fmla="*/ 11729 h 93998"/>
                <a:gd name="connsiteX19" fmla="*/ 88134 w 147921"/>
                <a:gd name="connsiteY19" fmla="*/ 8145 h 93998"/>
                <a:gd name="connsiteX20" fmla="*/ 103284 w 147921"/>
                <a:gd name="connsiteY20" fmla="*/ 1140 h 93998"/>
                <a:gd name="connsiteX21" fmla="*/ 109964 w 147921"/>
                <a:gd name="connsiteY21" fmla="*/ 0 h 93998"/>
                <a:gd name="connsiteX22" fmla="*/ 117946 w 147921"/>
                <a:gd name="connsiteY22" fmla="*/ 814 h 93998"/>
                <a:gd name="connsiteX23" fmla="*/ 126255 w 147921"/>
                <a:gd name="connsiteY23" fmla="*/ 4236 h 93998"/>
                <a:gd name="connsiteX24" fmla="*/ 128861 w 147921"/>
                <a:gd name="connsiteY24" fmla="*/ 7005 h 93998"/>
                <a:gd name="connsiteX25" fmla="*/ 133748 w 147921"/>
                <a:gd name="connsiteY25" fmla="*/ 5213 h 93998"/>
                <a:gd name="connsiteX26" fmla="*/ 140428 w 147921"/>
                <a:gd name="connsiteY26" fmla="*/ 8308 h 93998"/>
                <a:gd name="connsiteX27" fmla="*/ 141568 w 147921"/>
                <a:gd name="connsiteY27" fmla="*/ 10915 h 93998"/>
                <a:gd name="connsiteX28" fmla="*/ 147596 w 147921"/>
                <a:gd name="connsiteY28" fmla="*/ 11241 h 93998"/>
                <a:gd name="connsiteX29" fmla="*/ 147922 w 147921"/>
                <a:gd name="connsiteY29" fmla="*/ 12381 h 93998"/>
                <a:gd name="connsiteX30" fmla="*/ 146944 w 147921"/>
                <a:gd name="connsiteY30" fmla="*/ 22156 h 93998"/>
                <a:gd name="connsiteX31" fmla="*/ 143686 w 147921"/>
                <a:gd name="connsiteY31" fmla="*/ 25251 h 93998"/>
                <a:gd name="connsiteX32" fmla="*/ 139125 w 147921"/>
                <a:gd name="connsiteY32" fmla="*/ 24599 h 93998"/>
                <a:gd name="connsiteX33" fmla="*/ 132120 w 147921"/>
                <a:gd name="connsiteY33" fmla="*/ 30790 h 93998"/>
                <a:gd name="connsiteX34" fmla="*/ 133260 w 147921"/>
                <a:gd name="connsiteY34" fmla="*/ 42030 h 93998"/>
                <a:gd name="connsiteX35" fmla="*/ 131468 w 147921"/>
                <a:gd name="connsiteY35" fmla="*/ 47081 h 93998"/>
                <a:gd name="connsiteX36" fmla="*/ 124300 w 147921"/>
                <a:gd name="connsiteY36" fmla="*/ 52457 h 93998"/>
                <a:gd name="connsiteX37" fmla="*/ 125277 w 147921"/>
                <a:gd name="connsiteY37" fmla="*/ 55226 h 93998"/>
                <a:gd name="connsiteX38" fmla="*/ 129513 w 147921"/>
                <a:gd name="connsiteY38" fmla="*/ 55715 h 93998"/>
                <a:gd name="connsiteX39" fmla="*/ 134563 w 147921"/>
                <a:gd name="connsiteY39" fmla="*/ 63046 h 93998"/>
                <a:gd name="connsiteX40" fmla="*/ 138473 w 147921"/>
                <a:gd name="connsiteY40" fmla="*/ 69236 h 93998"/>
                <a:gd name="connsiteX41" fmla="*/ 138473 w 147921"/>
                <a:gd name="connsiteY41" fmla="*/ 69725 h 93998"/>
                <a:gd name="connsiteX42" fmla="*/ 132771 w 147921"/>
                <a:gd name="connsiteY42" fmla="*/ 68259 h 93998"/>
                <a:gd name="connsiteX43" fmla="*/ 129187 w 147921"/>
                <a:gd name="connsiteY43" fmla="*/ 71191 h 93998"/>
                <a:gd name="connsiteX44" fmla="*/ 122182 w 147921"/>
                <a:gd name="connsiteY44" fmla="*/ 65652 h 93998"/>
                <a:gd name="connsiteX45" fmla="*/ 114688 w 147921"/>
                <a:gd name="connsiteY45" fmla="*/ 65652 h 93998"/>
                <a:gd name="connsiteX46" fmla="*/ 111756 w 147921"/>
                <a:gd name="connsiteY46" fmla="*/ 68911 h 93998"/>
                <a:gd name="connsiteX47" fmla="*/ 107683 w 147921"/>
                <a:gd name="connsiteY47" fmla="*/ 69399 h 93998"/>
                <a:gd name="connsiteX48" fmla="*/ 103610 w 147921"/>
                <a:gd name="connsiteY48" fmla="*/ 73798 h 93998"/>
                <a:gd name="connsiteX49" fmla="*/ 103610 w 147921"/>
                <a:gd name="connsiteY49" fmla="*/ 74124 h 93998"/>
                <a:gd name="connsiteX50" fmla="*/ 100515 w 147921"/>
                <a:gd name="connsiteY50" fmla="*/ 74124 h 93998"/>
                <a:gd name="connsiteX51" fmla="*/ 94487 w 147921"/>
                <a:gd name="connsiteY51" fmla="*/ 78685 h 93998"/>
                <a:gd name="connsiteX52" fmla="*/ 94161 w 147921"/>
                <a:gd name="connsiteY52" fmla="*/ 84550 h 93998"/>
                <a:gd name="connsiteX53" fmla="*/ 96116 w 147921"/>
                <a:gd name="connsiteY53" fmla="*/ 88948 h 93998"/>
                <a:gd name="connsiteX54" fmla="*/ 92858 w 147921"/>
                <a:gd name="connsiteY54" fmla="*/ 91718 h 93998"/>
                <a:gd name="connsiteX55" fmla="*/ 81943 w 147921"/>
                <a:gd name="connsiteY55" fmla="*/ 91066 h 93998"/>
                <a:gd name="connsiteX56" fmla="*/ 77056 w 147921"/>
                <a:gd name="connsiteY56" fmla="*/ 93347 h 93998"/>
                <a:gd name="connsiteX57" fmla="*/ 72495 w 147921"/>
                <a:gd name="connsiteY57" fmla="*/ 90903 h 93998"/>
                <a:gd name="connsiteX58" fmla="*/ 67607 w 147921"/>
                <a:gd name="connsiteY58" fmla="*/ 90903 h 93998"/>
                <a:gd name="connsiteX59" fmla="*/ 64023 w 147921"/>
                <a:gd name="connsiteY59" fmla="*/ 93673 h 93998"/>
                <a:gd name="connsiteX60" fmla="*/ 59299 w 147921"/>
                <a:gd name="connsiteY60" fmla="*/ 93184 h 93998"/>
                <a:gd name="connsiteX61" fmla="*/ 58484 w 147921"/>
                <a:gd name="connsiteY61" fmla="*/ 88948 h 93998"/>
                <a:gd name="connsiteX62" fmla="*/ 51968 w 147921"/>
                <a:gd name="connsiteY62" fmla="*/ 89111 h 93998"/>
                <a:gd name="connsiteX63" fmla="*/ 45614 w 147921"/>
                <a:gd name="connsiteY63" fmla="*/ 88134 h 93998"/>
                <a:gd name="connsiteX64" fmla="*/ 41216 w 147921"/>
                <a:gd name="connsiteY64" fmla="*/ 92369 h 93998"/>
                <a:gd name="connsiteX65" fmla="*/ 34700 w 147921"/>
                <a:gd name="connsiteY65" fmla="*/ 93999 h 93998"/>
                <a:gd name="connsiteX66" fmla="*/ 26229 w 147921"/>
                <a:gd name="connsiteY66" fmla="*/ 93836 h 93998"/>
                <a:gd name="connsiteX67" fmla="*/ 23785 w 147921"/>
                <a:gd name="connsiteY67" fmla="*/ 92532 h 93998"/>
                <a:gd name="connsiteX68" fmla="*/ 23622 w 147921"/>
                <a:gd name="connsiteY68" fmla="*/ 92695 h 93998"/>
                <a:gd name="connsiteX69" fmla="*/ 22645 w 147921"/>
                <a:gd name="connsiteY69" fmla="*/ 87482 h 93998"/>
                <a:gd name="connsiteX70" fmla="*/ 21667 w 147921"/>
                <a:gd name="connsiteY70" fmla="*/ 81454 h 93998"/>
                <a:gd name="connsiteX71" fmla="*/ 14825 w 147921"/>
                <a:gd name="connsiteY71" fmla="*/ 69399 h 93998"/>
                <a:gd name="connsiteX72" fmla="*/ 4561 w 147921"/>
                <a:gd name="connsiteY72" fmla="*/ 61417 h 93998"/>
                <a:gd name="connsiteX73" fmla="*/ 4887 w 147921"/>
                <a:gd name="connsiteY73" fmla="*/ 61417 h 93998"/>
                <a:gd name="connsiteX74" fmla="*/ 6516 w 147921"/>
                <a:gd name="connsiteY74" fmla="*/ 56692 h 93998"/>
                <a:gd name="connsiteX75" fmla="*/ 3258 w 147921"/>
                <a:gd name="connsiteY75" fmla="*/ 51642 h 93998"/>
                <a:gd name="connsiteX76" fmla="*/ 2770 w 147921"/>
                <a:gd name="connsiteY76" fmla="*/ 47406 h 93998"/>
                <a:gd name="connsiteX77" fmla="*/ 11729 w 147921"/>
                <a:gd name="connsiteY77" fmla="*/ 39098 h 93998"/>
                <a:gd name="connsiteX78" fmla="*/ 13359 w 147921"/>
                <a:gd name="connsiteY78" fmla="*/ 33885 h 93998"/>
                <a:gd name="connsiteX79" fmla="*/ 9938 w 147921"/>
                <a:gd name="connsiteY79" fmla="*/ 27206 h 93998"/>
                <a:gd name="connsiteX80" fmla="*/ 2607 w 147921"/>
                <a:gd name="connsiteY80" fmla="*/ 19712 h 93998"/>
                <a:gd name="connsiteX81" fmla="*/ 0 w 147921"/>
                <a:gd name="connsiteY81" fmla="*/ 9449 h 93998"/>
                <a:gd name="connsiteX82" fmla="*/ 4073 w 147921"/>
                <a:gd name="connsiteY82" fmla="*/ 5376 h 93998"/>
                <a:gd name="connsiteX83" fmla="*/ 2607 w 147921"/>
                <a:gd name="connsiteY83" fmla="*/ 489 h 939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</a:cxnLst>
              <a:rect l="l" t="t" r="r" b="b"/>
              <a:pathLst>
                <a:path w="147921" h="93998">
                  <a:moveTo>
                    <a:pt x="2607" y="489"/>
                  </a:moveTo>
                  <a:lnTo>
                    <a:pt x="9612" y="1140"/>
                  </a:lnTo>
                  <a:lnTo>
                    <a:pt x="12870" y="3910"/>
                  </a:lnTo>
                  <a:lnTo>
                    <a:pt x="12544" y="7820"/>
                  </a:lnTo>
                  <a:lnTo>
                    <a:pt x="10589" y="10426"/>
                  </a:lnTo>
                  <a:lnTo>
                    <a:pt x="13359" y="15151"/>
                  </a:lnTo>
                  <a:lnTo>
                    <a:pt x="19712" y="11078"/>
                  </a:lnTo>
                  <a:lnTo>
                    <a:pt x="26554" y="11404"/>
                  </a:lnTo>
                  <a:lnTo>
                    <a:pt x="29323" y="14336"/>
                  </a:lnTo>
                  <a:lnTo>
                    <a:pt x="31767" y="13684"/>
                  </a:lnTo>
                  <a:lnTo>
                    <a:pt x="40727" y="16943"/>
                  </a:lnTo>
                  <a:lnTo>
                    <a:pt x="48058" y="13521"/>
                  </a:lnTo>
                  <a:lnTo>
                    <a:pt x="52945" y="14988"/>
                  </a:lnTo>
                  <a:lnTo>
                    <a:pt x="57181" y="13033"/>
                  </a:lnTo>
                  <a:lnTo>
                    <a:pt x="62394" y="14988"/>
                  </a:lnTo>
                  <a:lnTo>
                    <a:pt x="66793" y="14988"/>
                  </a:lnTo>
                  <a:lnTo>
                    <a:pt x="76404" y="15965"/>
                  </a:lnTo>
                  <a:lnTo>
                    <a:pt x="79500" y="13847"/>
                  </a:lnTo>
                  <a:lnTo>
                    <a:pt x="86016" y="11729"/>
                  </a:lnTo>
                  <a:lnTo>
                    <a:pt x="88134" y="8145"/>
                  </a:lnTo>
                  <a:lnTo>
                    <a:pt x="103284" y="1140"/>
                  </a:lnTo>
                  <a:lnTo>
                    <a:pt x="109964" y="0"/>
                  </a:lnTo>
                  <a:lnTo>
                    <a:pt x="117946" y="814"/>
                  </a:lnTo>
                  <a:lnTo>
                    <a:pt x="126255" y="4236"/>
                  </a:lnTo>
                  <a:lnTo>
                    <a:pt x="128861" y="7005"/>
                  </a:lnTo>
                  <a:lnTo>
                    <a:pt x="133748" y="5213"/>
                  </a:lnTo>
                  <a:lnTo>
                    <a:pt x="140428" y="8308"/>
                  </a:lnTo>
                  <a:lnTo>
                    <a:pt x="141568" y="10915"/>
                  </a:lnTo>
                  <a:lnTo>
                    <a:pt x="147596" y="11241"/>
                  </a:lnTo>
                  <a:lnTo>
                    <a:pt x="147922" y="12381"/>
                  </a:lnTo>
                  <a:lnTo>
                    <a:pt x="146944" y="22156"/>
                  </a:lnTo>
                  <a:lnTo>
                    <a:pt x="143686" y="25251"/>
                  </a:lnTo>
                  <a:lnTo>
                    <a:pt x="139125" y="24599"/>
                  </a:lnTo>
                  <a:lnTo>
                    <a:pt x="132120" y="30790"/>
                  </a:lnTo>
                  <a:lnTo>
                    <a:pt x="133260" y="42030"/>
                  </a:lnTo>
                  <a:lnTo>
                    <a:pt x="131468" y="47081"/>
                  </a:lnTo>
                  <a:lnTo>
                    <a:pt x="124300" y="52457"/>
                  </a:lnTo>
                  <a:lnTo>
                    <a:pt x="125277" y="55226"/>
                  </a:lnTo>
                  <a:lnTo>
                    <a:pt x="129513" y="55715"/>
                  </a:lnTo>
                  <a:lnTo>
                    <a:pt x="134563" y="63046"/>
                  </a:lnTo>
                  <a:lnTo>
                    <a:pt x="138473" y="69236"/>
                  </a:lnTo>
                  <a:lnTo>
                    <a:pt x="138473" y="69725"/>
                  </a:lnTo>
                  <a:lnTo>
                    <a:pt x="132771" y="68259"/>
                  </a:lnTo>
                  <a:lnTo>
                    <a:pt x="129187" y="71191"/>
                  </a:lnTo>
                  <a:lnTo>
                    <a:pt x="122182" y="65652"/>
                  </a:lnTo>
                  <a:lnTo>
                    <a:pt x="114688" y="65652"/>
                  </a:lnTo>
                  <a:lnTo>
                    <a:pt x="111756" y="68911"/>
                  </a:lnTo>
                  <a:lnTo>
                    <a:pt x="107683" y="69399"/>
                  </a:lnTo>
                  <a:lnTo>
                    <a:pt x="103610" y="73798"/>
                  </a:lnTo>
                  <a:lnTo>
                    <a:pt x="103610" y="74124"/>
                  </a:lnTo>
                  <a:lnTo>
                    <a:pt x="100515" y="74124"/>
                  </a:lnTo>
                  <a:lnTo>
                    <a:pt x="94487" y="78685"/>
                  </a:lnTo>
                  <a:lnTo>
                    <a:pt x="94161" y="84550"/>
                  </a:lnTo>
                  <a:lnTo>
                    <a:pt x="96116" y="88948"/>
                  </a:lnTo>
                  <a:lnTo>
                    <a:pt x="92858" y="91718"/>
                  </a:lnTo>
                  <a:lnTo>
                    <a:pt x="81943" y="91066"/>
                  </a:lnTo>
                  <a:lnTo>
                    <a:pt x="77056" y="93347"/>
                  </a:lnTo>
                  <a:lnTo>
                    <a:pt x="72495" y="90903"/>
                  </a:lnTo>
                  <a:lnTo>
                    <a:pt x="67607" y="90903"/>
                  </a:lnTo>
                  <a:lnTo>
                    <a:pt x="64023" y="93673"/>
                  </a:lnTo>
                  <a:lnTo>
                    <a:pt x="59299" y="93184"/>
                  </a:lnTo>
                  <a:lnTo>
                    <a:pt x="58484" y="88948"/>
                  </a:lnTo>
                  <a:lnTo>
                    <a:pt x="51968" y="89111"/>
                  </a:lnTo>
                  <a:lnTo>
                    <a:pt x="45614" y="88134"/>
                  </a:lnTo>
                  <a:lnTo>
                    <a:pt x="41216" y="92369"/>
                  </a:lnTo>
                  <a:lnTo>
                    <a:pt x="34700" y="93999"/>
                  </a:lnTo>
                  <a:lnTo>
                    <a:pt x="26229" y="93836"/>
                  </a:lnTo>
                  <a:lnTo>
                    <a:pt x="23785" y="92532"/>
                  </a:lnTo>
                  <a:lnTo>
                    <a:pt x="23622" y="92695"/>
                  </a:lnTo>
                  <a:lnTo>
                    <a:pt x="22645" y="87482"/>
                  </a:lnTo>
                  <a:lnTo>
                    <a:pt x="21667" y="81454"/>
                  </a:lnTo>
                  <a:lnTo>
                    <a:pt x="14825" y="69399"/>
                  </a:lnTo>
                  <a:lnTo>
                    <a:pt x="4561" y="61417"/>
                  </a:lnTo>
                  <a:lnTo>
                    <a:pt x="4887" y="61417"/>
                  </a:lnTo>
                  <a:lnTo>
                    <a:pt x="6516" y="56692"/>
                  </a:lnTo>
                  <a:lnTo>
                    <a:pt x="3258" y="51642"/>
                  </a:lnTo>
                  <a:lnTo>
                    <a:pt x="2770" y="47406"/>
                  </a:lnTo>
                  <a:lnTo>
                    <a:pt x="11729" y="39098"/>
                  </a:lnTo>
                  <a:lnTo>
                    <a:pt x="13359" y="33885"/>
                  </a:lnTo>
                  <a:lnTo>
                    <a:pt x="9938" y="27206"/>
                  </a:lnTo>
                  <a:lnTo>
                    <a:pt x="2607" y="19712"/>
                  </a:lnTo>
                  <a:lnTo>
                    <a:pt x="0" y="9449"/>
                  </a:lnTo>
                  <a:lnTo>
                    <a:pt x="4073" y="5376"/>
                  </a:lnTo>
                  <a:lnTo>
                    <a:pt x="2607" y="489"/>
                  </a:lnTo>
                  <a:close/>
                </a:path>
              </a:pathLst>
            </a:custGeom>
            <a:solidFill>
              <a:schemeClr val="bg2"/>
            </a:solidFill>
            <a:ln w="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4" name="Forma livre: Forma 163">
              <a:extLst>
                <a:ext uri="{FF2B5EF4-FFF2-40B4-BE49-F238E27FC236}">
                  <a16:creationId xmlns:a16="http://schemas.microsoft.com/office/drawing/2014/main" id="{4509E7FD-1518-96EC-AA2A-0DC5D8DE5D60}"/>
                </a:ext>
              </a:extLst>
            </p:cNvPr>
            <p:cNvSpPr/>
            <p:nvPr/>
          </p:nvSpPr>
          <p:spPr>
            <a:xfrm>
              <a:off x="6460615" y="3751646"/>
              <a:ext cx="48821" cy="95960"/>
            </a:xfrm>
            <a:custGeom>
              <a:avLst/>
              <a:gdLst>
                <a:gd name="connsiteX0" fmla="*/ 34374 w 47243"/>
                <a:gd name="connsiteY0" fmla="*/ 25088 h 92858"/>
                <a:gd name="connsiteX1" fmla="*/ 33071 w 47243"/>
                <a:gd name="connsiteY1" fmla="*/ 33885 h 92858"/>
                <a:gd name="connsiteX2" fmla="*/ 35025 w 47243"/>
                <a:gd name="connsiteY2" fmla="*/ 43334 h 92858"/>
                <a:gd name="connsiteX3" fmla="*/ 39098 w 47243"/>
                <a:gd name="connsiteY3" fmla="*/ 50502 h 92858"/>
                <a:gd name="connsiteX4" fmla="*/ 41868 w 47243"/>
                <a:gd name="connsiteY4" fmla="*/ 56529 h 92858"/>
                <a:gd name="connsiteX5" fmla="*/ 47244 w 47243"/>
                <a:gd name="connsiteY5" fmla="*/ 60277 h 92858"/>
                <a:gd name="connsiteX6" fmla="*/ 46266 w 47243"/>
                <a:gd name="connsiteY6" fmla="*/ 66956 h 92858"/>
                <a:gd name="connsiteX7" fmla="*/ 42193 w 47243"/>
                <a:gd name="connsiteY7" fmla="*/ 74450 h 92858"/>
                <a:gd name="connsiteX8" fmla="*/ 32093 w 47243"/>
                <a:gd name="connsiteY8" fmla="*/ 77708 h 92858"/>
                <a:gd name="connsiteX9" fmla="*/ 31604 w 47243"/>
                <a:gd name="connsiteY9" fmla="*/ 83572 h 92858"/>
                <a:gd name="connsiteX10" fmla="*/ 28183 w 47243"/>
                <a:gd name="connsiteY10" fmla="*/ 91229 h 92858"/>
                <a:gd name="connsiteX11" fmla="*/ 24762 w 47243"/>
                <a:gd name="connsiteY11" fmla="*/ 92858 h 92858"/>
                <a:gd name="connsiteX12" fmla="*/ 20364 w 47243"/>
                <a:gd name="connsiteY12" fmla="*/ 89763 h 92858"/>
                <a:gd name="connsiteX13" fmla="*/ 15639 w 47243"/>
                <a:gd name="connsiteY13" fmla="*/ 77708 h 92858"/>
                <a:gd name="connsiteX14" fmla="*/ 6353 w 47243"/>
                <a:gd name="connsiteY14" fmla="*/ 77382 h 92858"/>
                <a:gd name="connsiteX15" fmla="*/ 3584 w 47243"/>
                <a:gd name="connsiteY15" fmla="*/ 74287 h 92858"/>
                <a:gd name="connsiteX16" fmla="*/ 5539 w 47243"/>
                <a:gd name="connsiteY16" fmla="*/ 68422 h 92858"/>
                <a:gd name="connsiteX17" fmla="*/ 2932 w 47243"/>
                <a:gd name="connsiteY17" fmla="*/ 63860 h 92858"/>
                <a:gd name="connsiteX18" fmla="*/ 2932 w 47243"/>
                <a:gd name="connsiteY18" fmla="*/ 57670 h 92858"/>
                <a:gd name="connsiteX19" fmla="*/ 5213 w 47243"/>
                <a:gd name="connsiteY19" fmla="*/ 52131 h 92858"/>
                <a:gd name="connsiteX20" fmla="*/ 2118 w 47243"/>
                <a:gd name="connsiteY20" fmla="*/ 43986 h 92858"/>
                <a:gd name="connsiteX21" fmla="*/ 4398 w 47243"/>
                <a:gd name="connsiteY21" fmla="*/ 32908 h 92858"/>
                <a:gd name="connsiteX22" fmla="*/ 6679 w 47243"/>
                <a:gd name="connsiteY22" fmla="*/ 31604 h 92858"/>
                <a:gd name="connsiteX23" fmla="*/ 7494 w 47243"/>
                <a:gd name="connsiteY23" fmla="*/ 27858 h 92858"/>
                <a:gd name="connsiteX24" fmla="*/ 0 w 47243"/>
                <a:gd name="connsiteY24" fmla="*/ 24111 h 92858"/>
                <a:gd name="connsiteX25" fmla="*/ 489 w 47243"/>
                <a:gd name="connsiteY25" fmla="*/ 14662 h 92858"/>
                <a:gd name="connsiteX26" fmla="*/ 4073 w 47243"/>
                <a:gd name="connsiteY26" fmla="*/ 7331 h 92858"/>
                <a:gd name="connsiteX27" fmla="*/ 9286 w 47243"/>
                <a:gd name="connsiteY27" fmla="*/ 815 h 92858"/>
                <a:gd name="connsiteX28" fmla="*/ 11241 w 47243"/>
                <a:gd name="connsiteY28" fmla="*/ 1303 h 92858"/>
                <a:gd name="connsiteX29" fmla="*/ 14336 w 47243"/>
                <a:gd name="connsiteY29" fmla="*/ 5865 h 92858"/>
                <a:gd name="connsiteX30" fmla="*/ 18734 w 47243"/>
                <a:gd name="connsiteY30" fmla="*/ 326 h 92858"/>
                <a:gd name="connsiteX31" fmla="*/ 18898 w 47243"/>
                <a:gd name="connsiteY31" fmla="*/ 0 h 92858"/>
                <a:gd name="connsiteX32" fmla="*/ 20689 w 47243"/>
                <a:gd name="connsiteY32" fmla="*/ 1303 h 92858"/>
                <a:gd name="connsiteX33" fmla="*/ 24110 w 47243"/>
                <a:gd name="connsiteY33" fmla="*/ 7168 h 92858"/>
                <a:gd name="connsiteX34" fmla="*/ 26554 w 47243"/>
                <a:gd name="connsiteY34" fmla="*/ 7657 h 92858"/>
                <a:gd name="connsiteX35" fmla="*/ 31767 w 47243"/>
                <a:gd name="connsiteY35" fmla="*/ 11078 h 92858"/>
                <a:gd name="connsiteX36" fmla="*/ 33233 w 47243"/>
                <a:gd name="connsiteY36" fmla="*/ 14825 h 92858"/>
                <a:gd name="connsiteX37" fmla="*/ 33233 w 47243"/>
                <a:gd name="connsiteY37" fmla="*/ 22644 h 92858"/>
                <a:gd name="connsiteX38" fmla="*/ 34374 w 47243"/>
                <a:gd name="connsiteY38" fmla="*/ 25088 h 928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47243" h="92858">
                  <a:moveTo>
                    <a:pt x="34374" y="25088"/>
                  </a:moveTo>
                  <a:lnTo>
                    <a:pt x="33071" y="33885"/>
                  </a:lnTo>
                  <a:lnTo>
                    <a:pt x="35025" y="43334"/>
                  </a:lnTo>
                  <a:lnTo>
                    <a:pt x="39098" y="50502"/>
                  </a:lnTo>
                  <a:lnTo>
                    <a:pt x="41868" y="56529"/>
                  </a:lnTo>
                  <a:lnTo>
                    <a:pt x="47244" y="60277"/>
                  </a:lnTo>
                  <a:lnTo>
                    <a:pt x="46266" y="66956"/>
                  </a:lnTo>
                  <a:lnTo>
                    <a:pt x="42193" y="74450"/>
                  </a:lnTo>
                  <a:lnTo>
                    <a:pt x="32093" y="77708"/>
                  </a:lnTo>
                  <a:lnTo>
                    <a:pt x="31604" y="83572"/>
                  </a:lnTo>
                  <a:lnTo>
                    <a:pt x="28183" y="91229"/>
                  </a:lnTo>
                  <a:lnTo>
                    <a:pt x="24762" y="92858"/>
                  </a:lnTo>
                  <a:lnTo>
                    <a:pt x="20364" y="89763"/>
                  </a:lnTo>
                  <a:lnTo>
                    <a:pt x="15639" y="77708"/>
                  </a:lnTo>
                  <a:lnTo>
                    <a:pt x="6353" y="77382"/>
                  </a:lnTo>
                  <a:lnTo>
                    <a:pt x="3584" y="74287"/>
                  </a:lnTo>
                  <a:lnTo>
                    <a:pt x="5539" y="68422"/>
                  </a:lnTo>
                  <a:lnTo>
                    <a:pt x="2932" y="63860"/>
                  </a:lnTo>
                  <a:lnTo>
                    <a:pt x="2932" y="57670"/>
                  </a:lnTo>
                  <a:lnTo>
                    <a:pt x="5213" y="52131"/>
                  </a:lnTo>
                  <a:lnTo>
                    <a:pt x="2118" y="43986"/>
                  </a:lnTo>
                  <a:lnTo>
                    <a:pt x="4398" y="32908"/>
                  </a:lnTo>
                  <a:lnTo>
                    <a:pt x="6679" y="31604"/>
                  </a:lnTo>
                  <a:lnTo>
                    <a:pt x="7494" y="27858"/>
                  </a:lnTo>
                  <a:lnTo>
                    <a:pt x="0" y="24111"/>
                  </a:lnTo>
                  <a:lnTo>
                    <a:pt x="489" y="14662"/>
                  </a:lnTo>
                  <a:lnTo>
                    <a:pt x="4073" y="7331"/>
                  </a:lnTo>
                  <a:lnTo>
                    <a:pt x="9286" y="815"/>
                  </a:lnTo>
                  <a:lnTo>
                    <a:pt x="11241" y="1303"/>
                  </a:lnTo>
                  <a:lnTo>
                    <a:pt x="14336" y="5865"/>
                  </a:lnTo>
                  <a:lnTo>
                    <a:pt x="18734" y="326"/>
                  </a:lnTo>
                  <a:lnTo>
                    <a:pt x="18898" y="0"/>
                  </a:lnTo>
                  <a:lnTo>
                    <a:pt x="20689" y="1303"/>
                  </a:lnTo>
                  <a:lnTo>
                    <a:pt x="24110" y="7168"/>
                  </a:lnTo>
                  <a:lnTo>
                    <a:pt x="26554" y="7657"/>
                  </a:lnTo>
                  <a:lnTo>
                    <a:pt x="31767" y="11078"/>
                  </a:lnTo>
                  <a:lnTo>
                    <a:pt x="33233" y="14825"/>
                  </a:lnTo>
                  <a:lnTo>
                    <a:pt x="33233" y="22644"/>
                  </a:lnTo>
                  <a:lnTo>
                    <a:pt x="34374" y="25088"/>
                  </a:lnTo>
                  <a:close/>
                </a:path>
              </a:pathLst>
            </a:custGeom>
            <a:solidFill>
              <a:schemeClr val="bg2"/>
            </a:solidFill>
            <a:ln w="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5" name="Forma livre: Forma 164">
              <a:extLst>
                <a:ext uri="{FF2B5EF4-FFF2-40B4-BE49-F238E27FC236}">
                  <a16:creationId xmlns:a16="http://schemas.microsoft.com/office/drawing/2014/main" id="{A7851C95-3E2D-01DD-45DB-B4255AEB799C}"/>
                </a:ext>
              </a:extLst>
            </p:cNvPr>
            <p:cNvSpPr/>
            <p:nvPr/>
          </p:nvSpPr>
          <p:spPr>
            <a:xfrm>
              <a:off x="6442601" y="3636159"/>
              <a:ext cx="107408" cy="142256"/>
            </a:xfrm>
            <a:custGeom>
              <a:avLst/>
              <a:gdLst>
                <a:gd name="connsiteX0" fmla="*/ 0 w 103936"/>
                <a:gd name="connsiteY0" fmla="*/ 13847 h 137658"/>
                <a:gd name="connsiteX1" fmla="*/ 3584 w 103936"/>
                <a:gd name="connsiteY1" fmla="*/ 9937 h 137658"/>
                <a:gd name="connsiteX2" fmla="*/ 9449 w 103936"/>
                <a:gd name="connsiteY2" fmla="*/ 7005 h 137658"/>
                <a:gd name="connsiteX3" fmla="*/ 13684 w 103936"/>
                <a:gd name="connsiteY3" fmla="*/ 7657 h 137658"/>
                <a:gd name="connsiteX4" fmla="*/ 15314 w 103936"/>
                <a:gd name="connsiteY4" fmla="*/ 5213 h 137658"/>
                <a:gd name="connsiteX5" fmla="*/ 21341 w 103936"/>
                <a:gd name="connsiteY5" fmla="*/ 0 h 137658"/>
                <a:gd name="connsiteX6" fmla="*/ 25251 w 103936"/>
                <a:gd name="connsiteY6" fmla="*/ 1303 h 137658"/>
                <a:gd name="connsiteX7" fmla="*/ 30627 w 103936"/>
                <a:gd name="connsiteY7" fmla="*/ 2606 h 137658"/>
                <a:gd name="connsiteX8" fmla="*/ 38936 w 103936"/>
                <a:gd name="connsiteY8" fmla="*/ 5376 h 137658"/>
                <a:gd name="connsiteX9" fmla="*/ 40564 w 103936"/>
                <a:gd name="connsiteY9" fmla="*/ 8634 h 137658"/>
                <a:gd name="connsiteX10" fmla="*/ 48710 w 103936"/>
                <a:gd name="connsiteY10" fmla="*/ 18409 h 137658"/>
                <a:gd name="connsiteX11" fmla="*/ 50339 w 103936"/>
                <a:gd name="connsiteY11" fmla="*/ 22807 h 137658"/>
                <a:gd name="connsiteX12" fmla="*/ 57018 w 103936"/>
                <a:gd name="connsiteY12" fmla="*/ 26391 h 137658"/>
                <a:gd name="connsiteX13" fmla="*/ 63698 w 103936"/>
                <a:gd name="connsiteY13" fmla="*/ 31441 h 137658"/>
                <a:gd name="connsiteX14" fmla="*/ 60765 w 103936"/>
                <a:gd name="connsiteY14" fmla="*/ 37795 h 137658"/>
                <a:gd name="connsiteX15" fmla="*/ 61743 w 103936"/>
                <a:gd name="connsiteY15" fmla="*/ 40564 h 137658"/>
                <a:gd name="connsiteX16" fmla="*/ 70214 w 103936"/>
                <a:gd name="connsiteY16" fmla="*/ 43334 h 137658"/>
                <a:gd name="connsiteX17" fmla="*/ 72657 w 103936"/>
                <a:gd name="connsiteY17" fmla="*/ 47569 h 137658"/>
                <a:gd name="connsiteX18" fmla="*/ 78034 w 103936"/>
                <a:gd name="connsiteY18" fmla="*/ 45289 h 137658"/>
                <a:gd name="connsiteX19" fmla="*/ 82106 w 103936"/>
                <a:gd name="connsiteY19" fmla="*/ 49036 h 137658"/>
                <a:gd name="connsiteX20" fmla="*/ 86342 w 103936"/>
                <a:gd name="connsiteY20" fmla="*/ 43334 h 137658"/>
                <a:gd name="connsiteX21" fmla="*/ 95139 w 103936"/>
                <a:gd name="connsiteY21" fmla="*/ 45126 h 137658"/>
                <a:gd name="connsiteX22" fmla="*/ 90903 w 103936"/>
                <a:gd name="connsiteY22" fmla="*/ 50013 h 137658"/>
                <a:gd name="connsiteX23" fmla="*/ 91718 w 103936"/>
                <a:gd name="connsiteY23" fmla="*/ 53760 h 137658"/>
                <a:gd name="connsiteX24" fmla="*/ 94650 w 103936"/>
                <a:gd name="connsiteY24" fmla="*/ 64186 h 137658"/>
                <a:gd name="connsiteX25" fmla="*/ 90577 w 103936"/>
                <a:gd name="connsiteY25" fmla="*/ 68259 h 137658"/>
                <a:gd name="connsiteX26" fmla="*/ 93184 w 103936"/>
                <a:gd name="connsiteY26" fmla="*/ 78522 h 137658"/>
                <a:gd name="connsiteX27" fmla="*/ 100515 w 103936"/>
                <a:gd name="connsiteY27" fmla="*/ 86016 h 137658"/>
                <a:gd name="connsiteX28" fmla="*/ 103936 w 103936"/>
                <a:gd name="connsiteY28" fmla="*/ 92695 h 137658"/>
                <a:gd name="connsiteX29" fmla="*/ 102307 w 103936"/>
                <a:gd name="connsiteY29" fmla="*/ 97908 h 137658"/>
                <a:gd name="connsiteX30" fmla="*/ 93347 w 103936"/>
                <a:gd name="connsiteY30" fmla="*/ 106217 h 137658"/>
                <a:gd name="connsiteX31" fmla="*/ 93836 w 103936"/>
                <a:gd name="connsiteY31" fmla="*/ 110452 h 137658"/>
                <a:gd name="connsiteX32" fmla="*/ 97094 w 103936"/>
                <a:gd name="connsiteY32" fmla="*/ 115503 h 137658"/>
                <a:gd name="connsiteX33" fmla="*/ 95465 w 103936"/>
                <a:gd name="connsiteY33" fmla="*/ 120227 h 137658"/>
                <a:gd name="connsiteX34" fmla="*/ 91392 w 103936"/>
                <a:gd name="connsiteY34" fmla="*/ 120227 h 137658"/>
                <a:gd name="connsiteX35" fmla="*/ 84224 w 103936"/>
                <a:gd name="connsiteY35" fmla="*/ 121856 h 137658"/>
                <a:gd name="connsiteX36" fmla="*/ 79500 w 103936"/>
                <a:gd name="connsiteY36" fmla="*/ 121042 h 137658"/>
                <a:gd name="connsiteX37" fmla="*/ 69562 w 103936"/>
                <a:gd name="connsiteY37" fmla="*/ 123485 h 137658"/>
                <a:gd name="connsiteX38" fmla="*/ 65327 w 103936"/>
                <a:gd name="connsiteY38" fmla="*/ 126580 h 137658"/>
                <a:gd name="connsiteX39" fmla="*/ 59950 w 103936"/>
                <a:gd name="connsiteY39" fmla="*/ 128046 h 137658"/>
                <a:gd name="connsiteX40" fmla="*/ 53923 w 103936"/>
                <a:gd name="connsiteY40" fmla="*/ 131468 h 137658"/>
                <a:gd name="connsiteX41" fmla="*/ 54249 w 103936"/>
                <a:gd name="connsiteY41" fmla="*/ 135540 h 137658"/>
                <a:gd name="connsiteX42" fmla="*/ 52294 w 103936"/>
                <a:gd name="connsiteY42" fmla="*/ 137658 h 137658"/>
                <a:gd name="connsiteX43" fmla="*/ 50665 w 103936"/>
                <a:gd name="connsiteY43" fmla="*/ 134400 h 137658"/>
                <a:gd name="connsiteX44" fmla="*/ 50665 w 103936"/>
                <a:gd name="connsiteY44" fmla="*/ 126580 h 137658"/>
                <a:gd name="connsiteX45" fmla="*/ 49198 w 103936"/>
                <a:gd name="connsiteY45" fmla="*/ 122834 h 137658"/>
                <a:gd name="connsiteX46" fmla="*/ 43986 w 103936"/>
                <a:gd name="connsiteY46" fmla="*/ 119412 h 137658"/>
                <a:gd name="connsiteX47" fmla="*/ 41542 w 103936"/>
                <a:gd name="connsiteY47" fmla="*/ 118924 h 137658"/>
                <a:gd name="connsiteX48" fmla="*/ 38121 w 103936"/>
                <a:gd name="connsiteY48" fmla="*/ 113059 h 137658"/>
                <a:gd name="connsiteX49" fmla="*/ 36329 w 103936"/>
                <a:gd name="connsiteY49" fmla="*/ 111756 h 137658"/>
                <a:gd name="connsiteX50" fmla="*/ 36980 w 103936"/>
                <a:gd name="connsiteY50" fmla="*/ 109312 h 137658"/>
                <a:gd name="connsiteX51" fmla="*/ 40727 w 103936"/>
                <a:gd name="connsiteY51" fmla="*/ 106054 h 137658"/>
                <a:gd name="connsiteX52" fmla="*/ 40402 w 103936"/>
                <a:gd name="connsiteY52" fmla="*/ 100352 h 137658"/>
                <a:gd name="connsiteX53" fmla="*/ 34048 w 103936"/>
                <a:gd name="connsiteY53" fmla="*/ 99212 h 137658"/>
                <a:gd name="connsiteX54" fmla="*/ 29975 w 103936"/>
                <a:gd name="connsiteY54" fmla="*/ 95302 h 137658"/>
                <a:gd name="connsiteX55" fmla="*/ 24273 w 103936"/>
                <a:gd name="connsiteY55" fmla="*/ 95302 h 137658"/>
                <a:gd name="connsiteX56" fmla="*/ 21830 w 103936"/>
                <a:gd name="connsiteY56" fmla="*/ 92532 h 137658"/>
                <a:gd name="connsiteX57" fmla="*/ 21830 w 103936"/>
                <a:gd name="connsiteY57" fmla="*/ 88460 h 137658"/>
                <a:gd name="connsiteX58" fmla="*/ 16454 w 103936"/>
                <a:gd name="connsiteY58" fmla="*/ 83247 h 137658"/>
                <a:gd name="connsiteX59" fmla="*/ 18083 w 103936"/>
                <a:gd name="connsiteY59" fmla="*/ 81455 h 137658"/>
                <a:gd name="connsiteX60" fmla="*/ 12381 w 103936"/>
                <a:gd name="connsiteY60" fmla="*/ 74775 h 137658"/>
                <a:gd name="connsiteX61" fmla="*/ 12381 w 103936"/>
                <a:gd name="connsiteY61" fmla="*/ 69236 h 137658"/>
                <a:gd name="connsiteX62" fmla="*/ 14825 w 103936"/>
                <a:gd name="connsiteY62" fmla="*/ 67607 h 137658"/>
                <a:gd name="connsiteX63" fmla="*/ 19223 w 103936"/>
                <a:gd name="connsiteY63" fmla="*/ 70051 h 137658"/>
                <a:gd name="connsiteX64" fmla="*/ 21015 w 103936"/>
                <a:gd name="connsiteY64" fmla="*/ 67118 h 137658"/>
                <a:gd name="connsiteX65" fmla="*/ 18083 w 103936"/>
                <a:gd name="connsiteY65" fmla="*/ 64023 h 137658"/>
                <a:gd name="connsiteX66" fmla="*/ 14336 w 103936"/>
                <a:gd name="connsiteY66" fmla="*/ 63860 h 137658"/>
                <a:gd name="connsiteX67" fmla="*/ 6842 w 103936"/>
                <a:gd name="connsiteY67" fmla="*/ 57833 h 137658"/>
                <a:gd name="connsiteX68" fmla="*/ 6679 w 103936"/>
                <a:gd name="connsiteY68" fmla="*/ 54412 h 137658"/>
                <a:gd name="connsiteX69" fmla="*/ 11893 w 103936"/>
                <a:gd name="connsiteY69" fmla="*/ 46592 h 137658"/>
                <a:gd name="connsiteX70" fmla="*/ 12544 w 103936"/>
                <a:gd name="connsiteY70" fmla="*/ 40076 h 137658"/>
                <a:gd name="connsiteX71" fmla="*/ 9449 w 103936"/>
                <a:gd name="connsiteY71" fmla="*/ 39913 h 137658"/>
                <a:gd name="connsiteX72" fmla="*/ 7168 w 103936"/>
                <a:gd name="connsiteY72" fmla="*/ 41542 h 137658"/>
                <a:gd name="connsiteX73" fmla="*/ 5864 w 103936"/>
                <a:gd name="connsiteY73" fmla="*/ 39750 h 137658"/>
                <a:gd name="connsiteX74" fmla="*/ 5213 w 103936"/>
                <a:gd name="connsiteY74" fmla="*/ 35677 h 137658"/>
                <a:gd name="connsiteX75" fmla="*/ 10263 w 103936"/>
                <a:gd name="connsiteY75" fmla="*/ 33722 h 137658"/>
                <a:gd name="connsiteX76" fmla="*/ 12544 w 103936"/>
                <a:gd name="connsiteY76" fmla="*/ 33722 h 137658"/>
                <a:gd name="connsiteX77" fmla="*/ 12544 w 103936"/>
                <a:gd name="connsiteY77" fmla="*/ 31767 h 137658"/>
                <a:gd name="connsiteX78" fmla="*/ 7820 w 103936"/>
                <a:gd name="connsiteY78" fmla="*/ 30627 h 137658"/>
                <a:gd name="connsiteX79" fmla="*/ 5213 w 103936"/>
                <a:gd name="connsiteY79" fmla="*/ 28346 h 137658"/>
                <a:gd name="connsiteX80" fmla="*/ 3747 w 103936"/>
                <a:gd name="connsiteY80" fmla="*/ 21830 h 137658"/>
                <a:gd name="connsiteX81" fmla="*/ 652 w 103936"/>
                <a:gd name="connsiteY81" fmla="*/ 14173 h 137658"/>
                <a:gd name="connsiteX82" fmla="*/ 0 w 103936"/>
                <a:gd name="connsiteY82" fmla="*/ 13847 h 1376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</a:cxnLst>
              <a:rect l="l" t="t" r="r" b="b"/>
              <a:pathLst>
                <a:path w="103936" h="137658">
                  <a:moveTo>
                    <a:pt x="0" y="13847"/>
                  </a:moveTo>
                  <a:lnTo>
                    <a:pt x="3584" y="9937"/>
                  </a:lnTo>
                  <a:lnTo>
                    <a:pt x="9449" y="7005"/>
                  </a:lnTo>
                  <a:lnTo>
                    <a:pt x="13684" y="7657"/>
                  </a:lnTo>
                  <a:lnTo>
                    <a:pt x="15314" y="5213"/>
                  </a:lnTo>
                  <a:lnTo>
                    <a:pt x="21341" y="0"/>
                  </a:lnTo>
                  <a:lnTo>
                    <a:pt x="25251" y="1303"/>
                  </a:lnTo>
                  <a:lnTo>
                    <a:pt x="30627" y="2606"/>
                  </a:lnTo>
                  <a:lnTo>
                    <a:pt x="38936" y="5376"/>
                  </a:lnTo>
                  <a:lnTo>
                    <a:pt x="40564" y="8634"/>
                  </a:lnTo>
                  <a:lnTo>
                    <a:pt x="48710" y="18409"/>
                  </a:lnTo>
                  <a:lnTo>
                    <a:pt x="50339" y="22807"/>
                  </a:lnTo>
                  <a:lnTo>
                    <a:pt x="57018" y="26391"/>
                  </a:lnTo>
                  <a:lnTo>
                    <a:pt x="63698" y="31441"/>
                  </a:lnTo>
                  <a:lnTo>
                    <a:pt x="60765" y="37795"/>
                  </a:lnTo>
                  <a:lnTo>
                    <a:pt x="61743" y="40564"/>
                  </a:lnTo>
                  <a:lnTo>
                    <a:pt x="70214" y="43334"/>
                  </a:lnTo>
                  <a:lnTo>
                    <a:pt x="72657" y="47569"/>
                  </a:lnTo>
                  <a:lnTo>
                    <a:pt x="78034" y="45289"/>
                  </a:lnTo>
                  <a:lnTo>
                    <a:pt x="82106" y="49036"/>
                  </a:lnTo>
                  <a:lnTo>
                    <a:pt x="86342" y="43334"/>
                  </a:lnTo>
                  <a:lnTo>
                    <a:pt x="95139" y="45126"/>
                  </a:lnTo>
                  <a:lnTo>
                    <a:pt x="90903" y="50013"/>
                  </a:lnTo>
                  <a:lnTo>
                    <a:pt x="91718" y="53760"/>
                  </a:lnTo>
                  <a:lnTo>
                    <a:pt x="94650" y="64186"/>
                  </a:lnTo>
                  <a:lnTo>
                    <a:pt x="90577" y="68259"/>
                  </a:lnTo>
                  <a:lnTo>
                    <a:pt x="93184" y="78522"/>
                  </a:lnTo>
                  <a:lnTo>
                    <a:pt x="100515" y="86016"/>
                  </a:lnTo>
                  <a:lnTo>
                    <a:pt x="103936" y="92695"/>
                  </a:lnTo>
                  <a:lnTo>
                    <a:pt x="102307" y="97908"/>
                  </a:lnTo>
                  <a:lnTo>
                    <a:pt x="93347" y="106217"/>
                  </a:lnTo>
                  <a:lnTo>
                    <a:pt x="93836" y="110452"/>
                  </a:lnTo>
                  <a:lnTo>
                    <a:pt x="97094" y="115503"/>
                  </a:lnTo>
                  <a:lnTo>
                    <a:pt x="95465" y="120227"/>
                  </a:lnTo>
                  <a:lnTo>
                    <a:pt x="91392" y="120227"/>
                  </a:lnTo>
                  <a:lnTo>
                    <a:pt x="84224" y="121856"/>
                  </a:lnTo>
                  <a:lnTo>
                    <a:pt x="79500" y="121042"/>
                  </a:lnTo>
                  <a:lnTo>
                    <a:pt x="69562" y="123485"/>
                  </a:lnTo>
                  <a:lnTo>
                    <a:pt x="65327" y="126580"/>
                  </a:lnTo>
                  <a:lnTo>
                    <a:pt x="59950" y="128046"/>
                  </a:lnTo>
                  <a:lnTo>
                    <a:pt x="53923" y="131468"/>
                  </a:lnTo>
                  <a:lnTo>
                    <a:pt x="54249" y="135540"/>
                  </a:lnTo>
                  <a:lnTo>
                    <a:pt x="52294" y="137658"/>
                  </a:lnTo>
                  <a:lnTo>
                    <a:pt x="50665" y="134400"/>
                  </a:lnTo>
                  <a:lnTo>
                    <a:pt x="50665" y="126580"/>
                  </a:lnTo>
                  <a:lnTo>
                    <a:pt x="49198" y="122834"/>
                  </a:lnTo>
                  <a:lnTo>
                    <a:pt x="43986" y="119412"/>
                  </a:lnTo>
                  <a:lnTo>
                    <a:pt x="41542" y="118924"/>
                  </a:lnTo>
                  <a:lnTo>
                    <a:pt x="38121" y="113059"/>
                  </a:lnTo>
                  <a:lnTo>
                    <a:pt x="36329" y="111756"/>
                  </a:lnTo>
                  <a:lnTo>
                    <a:pt x="36980" y="109312"/>
                  </a:lnTo>
                  <a:lnTo>
                    <a:pt x="40727" y="106054"/>
                  </a:lnTo>
                  <a:lnTo>
                    <a:pt x="40402" y="100352"/>
                  </a:lnTo>
                  <a:lnTo>
                    <a:pt x="34048" y="99212"/>
                  </a:lnTo>
                  <a:lnTo>
                    <a:pt x="29975" y="95302"/>
                  </a:lnTo>
                  <a:lnTo>
                    <a:pt x="24273" y="95302"/>
                  </a:lnTo>
                  <a:lnTo>
                    <a:pt x="21830" y="92532"/>
                  </a:lnTo>
                  <a:lnTo>
                    <a:pt x="21830" y="88460"/>
                  </a:lnTo>
                  <a:lnTo>
                    <a:pt x="16454" y="83247"/>
                  </a:lnTo>
                  <a:lnTo>
                    <a:pt x="18083" y="81455"/>
                  </a:lnTo>
                  <a:lnTo>
                    <a:pt x="12381" y="74775"/>
                  </a:lnTo>
                  <a:lnTo>
                    <a:pt x="12381" y="69236"/>
                  </a:lnTo>
                  <a:lnTo>
                    <a:pt x="14825" y="67607"/>
                  </a:lnTo>
                  <a:lnTo>
                    <a:pt x="19223" y="70051"/>
                  </a:lnTo>
                  <a:lnTo>
                    <a:pt x="21015" y="67118"/>
                  </a:lnTo>
                  <a:lnTo>
                    <a:pt x="18083" y="64023"/>
                  </a:lnTo>
                  <a:lnTo>
                    <a:pt x="14336" y="63860"/>
                  </a:lnTo>
                  <a:lnTo>
                    <a:pt x="6842" y="57833"/>
                  </a:lnTo>
                  <a:lnTo>
                    <a:pt x="6679" y="54412"/>
                  </a:lnTo>
                  <a:lnTo>
                    <a:pt x="11893" y="46592"/>
                  </a:lnTo>
                  <a:lnTo>
                    <a:pt x="12544" y="40076"/>
                  </a:lnTo>
                  <a:lnTo>
                    <a:pt x="9449" y="39913"/>
                  </a:lnTo>
                  <a:lnTo>
                    <a:pt x="7168" y="41542"/>
                  </a:lnTo>
                  <a:lnTo>
                    <a:pt x="5864" y="39750"/>
                  </a:lnTo>
                  <a:lnTo>
                    <a:pt x="5213" y="35677"/>
                  </a:lnTo>
                  <a:lnTo>
                    <a:pt x="10263" y="33722"/>
                  </a:lnTo>
                  <a:lnTo>
                    <a:pt x="12544" y="33722"/>
                  </a:lnTo>
                  <a:lnTo>
                    <a:pt x="12544" y="31767"/>
                  </a:lnTo>
                  <a:lnTo>
                    <a:pt x="7820" y="30627"/>
                  </a:lnTo>
                  <a:lnTo>
                    <a:pt x="5213" y="28346"/>
                  </a:lnTo>
                  <a:lnTo>
                    <a:pt x="3747" y="21830"/>
                  </a:lnTo>
                  <a:lnTo>
                    <a:pt x="652" y="14173"/>
                  </a:lnTo>
                  <a:lnTo>
                    <a:pt x="0" y="13847"/>
                  </a:lnTo>
                  <a:close/>
                </a:path>
              </a:pathLst>
            </a:custGeom>
            <a:solidFill>
              <a:schemeClr val="bg2"/>
            </a:solidFill>
            <a:ln w="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6" name="Forma livre: Forma 165">
              <a:extLst>
                <a:ext uri="{FF2B5EF4-FFF2-40B4-BE49-F238E27FC236}">
                  <a16:creationId xmlns:a16="http://schemas.microsoft.com/office/drawing/2014/main" id="{7626B80D-250D-2784-F01E-B21611AE7E07}"/>
                </a:ext>
              </a:extLst>
            </p:cNvPr>
            <p:cNvSpPr/>
            <p:nvPr/>
          </p:nvSpPr>
          <p:spPr>
            <a:xfrm>
              <a:off x="6437046" y="3717472"/>
              <a:ext cx="47643" cy="59091"/>
            </a:xfrm>
            <a:custGeom>
              <a:avLst/>
              <a:gdLst>
                <a:gd name="connsiteX0" fmla="*/ 22807 w 46103"/>
                <a:gd name="connsiteY0" fmla="*/ 57181 h 57181"/>
                <a:gd name="connsiteX1" fmla="*/ 23296 w 46103"/>
                <a:gd name="connsiteY1" fmla="*/ 47733 h 57181"/>
                <a:gd name="connsiteX2" fmla="*/ 26880 w 46103"/>
                <a:gd name="connsiteY2" fmla="*/ 40402 h 57181"/>
                <a:gd name="connsiteX3" fmla="*/ 32093 w 46103"/>
                <a:gd name="connsiteY3" fmla="*/ 33885 h 57181"/>
                <a:gd name="connsiteX4" fmla="*/ 34048 w 46103"/>
                <a:gd name="connsiteY4" fmla="*/ 34374 h 57181"/>
                <a:gd name="connsiteX5" fmla="*/ 37143 w 46103"/>
                <a:gd name="connsiteY5" fmla="*/ 38935 h 57181"/>
                <a:gd name="connsiteX6" fmla="*/ 41542 w 46103"/>
                <a:gd name="connsiteY6" fmla="*/ 33396 h 57181"/>
                <a:gd name="connsiteX7" fmla="*/ 42356 w 46103"/>
                <a:gd name="connsiteY7" fmla="*/ 30627 h 57181"/>
                <a:gd name="connsiteX8" fmla="*/ 46103 w 46103"/>
                <a:gd name="connsiteY8" fmla="*/ 27369 h 57181"/>
                <a:gd name="connsiteX9" fmla="*/ 45777 w 46103"/>
                <a:gd name="connsiteY9" fmla="*/ 21667 h 57181"/>
                <a:gd name="connsiteX10" fmla="*/ 39424 w 46103"/>
                <a:gd name="connsiteY10" fmla="*/ 20527 h 57181"/>
                <a:gd name="connsiteX11" fmla="*/ 35351 w 46103"/>
                <a:gd name="connsiteY11" fmla="*/ 16617 h 57181"/>
                <a:gd name="connsiteX12" fmla="*/ 29649 w 46103"/>
                <a:gd name="connsiteY12" fmla="*/ 16617 h 57181"/>
                <a:gd name="connsiteX13" fmla="*/ 27206 w 46103"/>
                <a:gd name="connsiteY13" fmla="*/ 13847 h 57181"/>
                <a:gd name="connsiteX14" fmla="*/ 27206 w 46103"/>
                <a:gd name="connsiteY14" fmla="*/ 9775 h 57181"/>
                <a:gd name="connsiteX15" fmla="*/ 21830 w 46103"/>
                <a:gd name="connsiteY15" fmla="*/ 4562 h 57181"/>
                <a:gd name="connsiteX16" fmla="*/ 21341 w 46103"/>
                <a:gd name="connsiteY16" fmla="*/ 5050 h 57181"/>
                <a:gd name="connsiteX17" fmla="*/ 17268 w 46103"/>
                <a:gd name="connsiteY17" fmla="*/ 3747 h 57181"/>
                <a:gd name="connsiteX18" fmla="*/ 11892 w 46103"/>
                <a:gd name="connsiteY18" fmla="*/ 0 h 57181"/>
                <a:gd name="connsiteX19" fmla="*/ 8797 w 46103"/>
                <a:gd name="connsiteY19" fmla="*/ 2281 h 57181"/>
                <a:gd name="connsiteX20" fmla="*/ 8960 w 46103"/>
                <a:gd name="connsiteY20" fmla="*/ 6191 h 57181"/>
                <a:gd name="connsiteX21" fmla="*/ 13521 w 46103"/>
                <a:gd name="connsiteY21" fmla="*/ 9123 h 57181"/>
                <a:gd name="connsiteX22" fmla="*/ 15150 w 46103"/>
                <a:gd name="connsiteY22" fmla="*/ 12707 h 57181"/>
                <a:gd name="connsiteX23" fmla="*/ 11403 w 46103"/>
                <a:gd name="connsiteY23" fmla="*/ 14825 h 57181"/>
                <a:gd name="connsiteX24" fmla="*/ 7657 w 46103"/>
                <a:gd name="connsiteY24" fmla="*/ 15151 h 57181"/>
                <a:gd name="connsiteX25" fmla="*/ 5539 w 46103"/>
                <a:gd name="connsiteY25" fmla="*/ 20364 h 57181"/>
                <a:gd name="connsiteX26" fmla="*/ 5376 w 46103"/>
                <a:gd name="connsiteY26" fmla="*/ 27043 h 57181"/>
                <a:gd name="connsiteX27" fmla="*/ 2444 w 46103"/>
                <a:gd name="connsiteY27" fmla="*/ 32582 h 57181"/>
                <a:gd name="connsiteX28" fmla="*/ 0 w 46103"/>
                <a:gd name="connsiteY28" fmla="*/ 33885 h 57181"/>
                <a:gd name="connsiteX29" fmla="*/ 1792 w 46103"/>
                <a:gd name="connsiteY29" fmla="*/ 36329 h 57181"/>
                <a:gd name="connsiteX30" fmla="*/ 6842 w 46103"/>
                <a:gd name="connsiteY30" fmla="*/ 38447 h 57181"/>
                <a:gd name="connsiteX31" fmla="*/ 16453 w 46103"/>
                <a:gd name="connsiteY31" fmla="*/ 50339 h 57181"/>
                <a:gd name="connsiteX32" fmla="*/ 17105 w 46103"/>
                <a:gd name="connsiteY32" fmla="*/ 54249 h 57181"/>
                <a:gd name="connsiteX33" fmla="*/ 22807 w 46103"/>
                <a:gd name="connsiteY33" fmla="*/ 57181 h 571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</a:cxnLst>
              <a:rect l="l" t="t" r="r" b="b"/>
              <a:pathLst>
                <a:path w="46103" h="57181">
                  <a:moveTo>
                    <a:pt x="22807" y="57181"/>
                  </a:moveTo>
                  <a:lnTo>
                    <a:pt x="23296" y="47733"/>
                  </a:lnTo>
                  <a:lnTo>
                    <a:pt x="26880" y="40402"/>
                  </a:lnTo>
                  <a:lnTo>
                    <a:pt x="32093" y="33885"/>
                  </a:lnTo>
                  <a:lnTo>
                    <a:pt x="34048" y="34374"/>
                  </a:lnTo>
                  <a:lnTo>
                    <a:pt x="37143" y="38935"/>
                  </a:lnTo>
                  <a:lnTo>
                    <a:pt x="41542" y="33396"/>
                  </a:lnTo>
                  <a:lnTo>
                    <a:pt x="42356" y="30627"/>
                  </a:lnTo>
                  <a:lnTo>
                    <a:pt x="46103" y="27369"/>
                  </a:lnTo>
                  <a:lnTo>
                    <a:pt x="45777" y="21667"/>
                  </a:lnTo>
                  <a:lnTo>
                    <a:pt x="39424" y="20527"/>
                  </a:lnTo>
                  <a:lnTo>
                    <a:pt x="35351" y="16617"/>
                  </a:lnTo>
                  <a:lnTo>
                    <a:pt x="29649" y="16617"/>
                  </a:lnTo>
                  <a:lnTo>
                    <a:pt x="27206" y="13847"/>
                  </a:lnTo>
                  <a:lnTo>
                    <a:pt x="27206" y="9775"/>
                  </a:lnTo>
                  <a:lnTo>
                    <a:pt x="21830" y="4562"/>
                  </a:lnTo>
                  <a:lnTo>
                    <a:pt x="21341" y="5050"/>
                  </a:lnTo>
                  <a:lnTo>
                    <a:pt x="17268" y="3747"/>
                  </a:lnTo>
                  <a:lnTo>
                    <a:pt x="11892" y="0"/>
                  </a:lnTo>
                  <a:lnTo>
                    <a:pt x="8797" y="2281"/>
                  </a:lnTo>
                  <a:lnTo>
                    <a:pt x="8960" y="6191"/>
                  </a:lnTo>
                  <a:lnTo>
                    <a:pt x="13521" y="9123"/>
                  </a:lnTo>
                  <a:lnTo>
                    <a:pt x="15150" y="12707"/>
                  </a:lnTo>
                  <a:lnTo>
                    <a:pt x="11403" y="14825"/>
                  </a:lnTo>
                  <a:lnTo>
                    <a:pt x="7657" y="15151"/>
                  </a:lnTo>
                  <a:lnTo>
                    <a:pt x="5539" y="20364"/>
                  </a:lnTo>
                  <a:lnTo>
                    <a:pt x="5376" y="27043"/>
                  </a:lnTo>
                  <a:lnTo>
                    <a:pt x="2444" y="32582"/>
                  </a:lnTo>
                  <a:lnTo>
                    <a:pt x="0" y="33885"/>
                  </a:lnTo>
                  <a:lnTo>
                    <a:pt x="1792" y="36329"/>
                  </a:lnTo>
                  <a:lnTo>
                    <a:pt x="6842" y="38447"/>
                  </a:lnTo>
                  <a:lnTo>
                    <a:pt x="16453" y="50339"/>
                  </a:lnTo>
                  <a:lnTo>
                    <a:pt x="17105" y="54249"/>
                  </a:lnTo>
                  <a:lnTo>
                    <a:pt x="22807" y="57181"/>
                  </a:lnTo>
                  <a:close/>
                </a:path>
              </a:pathLst>
            </a:custGeom>
            <a:solidFill>
              <a:schemeClr val="bg2"/>
            </a:solidFill>
            <a:ln w="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7" name="Forma livre: Forma 166">
              <a:extLst>
                <a:ext uri="{FF2B5EF4-FFF2-40B4-BE49-F238E27FC236}">
                  <a16:creationId xmlns:a16="http://schemas.microsoft.com/office/drawing/2014/main" id="{2071B41E-94D3-135F-9088-EB46BFAF823B}"/>
                </a:ext>
              </a:extLst>
            </p:cNvPr>
            <p:cNvSpPr/>
            <p:nvPr/>
          </p:nvSpPr>
          <p:spPr>
            <a:xfrm>
              <a:off x="6311962" y="3632286"/>
              <a:ext cx="143771" cy="111784"/>
            </a:xfrm>
            <a:custGeom>
              <a:avLst/>
              <a:gdLst>
                <a:gd name="connsiteX0" fmla="*/ 132282 w 139124"/>
                <a:gd name="connsiteY0" fmla="*/ 43497 h 108171"/>
                <a:gd name="connsiteX1" fmla="*/ 131631 w 139124"/>
                <a:gd name="connsiteY1" fmla="*/ 39424 h 108171"/>
                <a:gd name="connsiteX2" fmla="*/ 136681 w 139124"/>
                <a:gd name="connsiteY2" fmla="*/ 37632 h 108171"/>
                <a:gd name="connsiteX3" fmla="*/ 139125 w 139124"/>
                <a:gd name="connsiteY3" fmla="*/ 37632 h 108171"/>
                <a:gd name="connsiteX4" fmla="*/ 139125 w 139124"/>
                <a:gd name="connsiteY4" fmla="*/ 35677 h 108171"/>
                <a:gd name="connsiteX5" fmla="*/ 134400 w 139124"/>
                <a:gd name="connsiteY5" fmla="*/ 34537 h 108171"/>
                <a:gd name="connsiteX6" fmla="*/ 131793 w 139124"/>
                <a:gd name="connsiteY6" fmla="*/ 32256 h 108171"/>
                <a:gd name="connsiteX7" fmla="*/ 130327 w 139124"/>
                <a:gd name="connsiteY7" fmla="*/ 25577 h 108171"/>
                <a:gd name="connsiteX8" fmla="*/ 127232 w 139124"/>
                <a:gd name="connsiteY8" fmla="*/ 18083 h 108171"/>
                <a:gd name="connsiteX9" fmla="*/ 123974 w 139124"/>
                <a:gd name="connsiteY9" fmla="*/ 16291 h 108171"/>
                <a:gd name="connsiteX10" fmla="*/ 119901 w 139124"/>
                <a:gd name="connsiteY10" fmla="*/ 21504 h 108171"/>
                <a:gd name="connsiteX11" fmla="*/ 110452 w 139124"/>
                <a:gd name="connsiteY11" fmla="*/ 18246 h 108171"/>
                <a:gd name="connsiteX12" fmla="*/ 97257 w 139124"/>
                <a:gd name="connsiteY12" fmla="*/ 15965 h 108171"/>
                <a:gd name="connsiteX13" fmla="*/ 93184 w 139124"/>
                <a:gd name="connsiteY13" fmla="*/ 12870 h 108171"/>
                <a:gd name="connsiteX14" fmla="*/ 87808 w 139124"/>
                <a:gd name="connsiteY14" fmla="*/ 10915 h 108171"/>
                <a:gd name="connsiteX15" fmla="*/ 77382 w 139124"/>
                <a:gd name="connsiteY15" fmla="*/ 977 h 108171"/>
                <a:gd name="connsiteX16" fmla="*/ 72820 w 139124"/>
                <a:gd name="connsiteY16" fmla="*/ 0 h 108171"/>
                <a:gd name="connsiteX17" fmla="*/ 72820 w 139124"/>
                <a:gd name="connsiteY17" fmla="*/ 1140 h 108171"/>
                <a:gd name="connsiteX18" fmla="*/ 61906 w 139124"/>
                <a:gd name="connsiteY18" fmla="*/ 1140 h 108171"/>
                <a:gd name="connsiteX19" fmla="*/ 46429 w 139124"/>
                <a:gd name="connsiteY19" fmla="*/ 9286 h 108171"/>
                <a:gd name="connsiteX20" fmla="*/ 45289 w 139124"/>
                <a:gd name="connsiteY20" fmla="*/ 15965 h 108171"/>
                <a:gd name="connsiteX21" fmla="*/ 37143 w 139124"/>
                <a:gd name="connsiteY21" fmla="*/ 20038 h 108171"/>
                <a:gd name="connsiteX22" fmla="*/ 35677 w 139124"/>
                <a:gd name="connsiteY22" fmla="*/ 28835 h 108171"/>
                <a:gd name="connsiteX23" fmla="*/ 30464 w 139124"/>
                <a:gd name="connsiteY23" fmla="*/ 29161 h 108171"/>
                <a:gd name="connsiteX24" fmla="*/ 20852 w 139124"/>
                <a:gd name="connsiteY24" fmla="*/ 24762 h 108171"/>
                <a:gd name="connsiteX25" fmla="*/ 15640 w 139124"/>
                <a:gd name="connsiteY25" fmla="*/ 26228 h 108171"/>
                <a:gd name="connsiteX26" fmla="*/ 8960 w 139124"/>
                <a:gd name="connsiteY26" fmla="*/ 30953 h 108171"/>
                <a:gd name="connsiteX27" fmla="*/ 0 w 139124"/>
                <a:gd name="connsiteY27" fmla="*/ 31441 h 108171"/>
                <a:gd name="connsiteX28" fmla="*/ 0 w 139124"/>
                <a:gd name="connsiteY28" fmla="*/ 31930 h 108171"/>
                <a:gd name="connsiteX29" fmla="*/ 1466 w 139124"/>
                <a:gd name="connsiteY29" fmla="*/ 42031 h 108171"/>
                <a:gd name="connsiteX30" fmla="*/ 7331 w 139124"/>
                <a:gd name="connsiteY30" fmla="*/ 47407 h 108171"/>
                <a:gd name="connsiteX31" fmla="*/ 6679 w 139124"/>
                <a:gd name="connsiteY31" fmla="*/ 49361 h 108171"/>
                <a:gd name="connsiteX32" fmla="*/ 8960 w 139124"/>
                <a:gd name="connsiteY32" fmla="*/ 51316 h 108171"/>
                <a:gd name="connsiteX33" fmla="*/ 15151 w 139124"/>
                <a:gd name="connsiteY33" fmla="*/ 41216 h 108171"/>
                <a:gd name="connsiteX34" fmla="*/ 16128 w 139124"/>
                <a:gd name="connsiteY34" fmla="*/ 35840 h 108171"/>
                <a:gd name="connsiteX35" fmla="*/ 20038 w 139124"/>
                <a:gd name="connsiteY35" fmla="*/ 31441 h 108171"/>
                <a:gd name="connsiteX36" fmla="*/ 26229 w 139124"/>
                <a:gd name="connsiteY36" fmla="*/ 31441 h 108171"/>
                <a:gd name="connsiteX37" fmla="*/ 27532 w 139124"/>
                <a:gd name="connsiteY37" fmla="*/ 36329 h 108171"/>
                <a:gd name="connsiteX38" fmla="*/ 32582 w 139124"/>
                <a:gd name="connsiteY38" fmla="*/ 40402 h 108171"/>
                <a:gd name="connsiteX39" fmla="*/ 34048 w 139124"/>
                <a:gd name="connsiteY39" fmla="*/ 47895 h 108171"/>
                <a:gd name="connsiteX40" fmla="*/ 37795 w 139124"/>
                <a:gd name="connsiteY40" fmla="*/ 55063 h 108171"/>
                <a:gd name="connsiteX41" fmla="*/ 45452 w 139124"/>
                <a:gd name="connsiteY41" fmla="*/ 62231 h 108171"/>
                <a:gd name="connsiteX42" fmla="*/ 47407 w 139124"/>
                <a:gd name="connsiteY42" fmla="*/ 62557 h 108171"/>
                <a:gd name="connsiteX43" fmla="*/ 51805 w 139124"/>
                <a:gd name="connsiteY43" fmla="*/ 67444 h 108171"/>
                <a:gd name="connsiteX44" fmla="*/ 47895 w 139124"/>
                <a:gd name="connsiteY44" fmla="*/ 66141 h 108171"/>
                <a:gd name="connsiteX45" fmla="*/ 43497 w 139124"/>
                <a:gd name="connsiteY45" fmla="*/ 66793 h 108171"/>
                <a:gd name="connsiteX46" fmla="*/ 41542 w 139124"/>
                <a:gd name="connsiteY46" fmla="*/ 71028 h 108171"/>
                <a:gd name="connsiteX47" fmla="*/ 43823 w 139124"/>
                <a:gd name="connsiteY47" fmla="*/ 75427 h 108171"/>
                <a:gd name="connsiteX48" fmla="*/ 49361 w 139124"/>
                <a:gd name="connsiteY48" fmla="*/ 75427 h 108171"/>
                <a:gd name="connsiteX49" fmla="*/ 54900 w 139124"/>
                <a:gd name="connsiteY49" fmla="*/ 80803 h 108171"/>
                <a:gd name="connsiteX50" fmla="*/ 60440 w 139124"/>
                <a:gd name="connsiteY50" fmla="*/ 82758 h 108171"/>
                <a:gd name="connsiteX51" fmla="*/ 62394 w 139124"/>
                <a:gd name="connsiteY51" fmla="*/ 87156 h 108171"/>
                <a:gd name="connsiteX52" fmla="*/ 65164 w 139124"/>
                <a:gd name="connsiteY52" fmla="*/ 90252 h 108171"/>
                <a:gd name="connsiteX53" fmla="*/ 71029 w 139124"/>
                <a:gd name="connsiteY53" fmla="*/ 89111 h 108171"/>
                <a:gd name="connsiteX54" fmla="*/ 82269 w 139124"/>
                <a:gd name="connsiteY54" fmla="*/ 90089 h 108171"/>
                <a:gd name="connsiteX55" fmla="*/ 88460 w 139124"/>
                <a:gd name="connsiteY55" fmla="*/ 93184 h 108171"/>
                <a:gd name="connsiteX56" fmla="*/ 100841 w 139124"/>
                <a:gd name="connsiteY56" fmla="*/ 105891 h 108171"/>
                <a:gd name="connsiteX57" fmla="*/ 97420 w 139124"/>
                <a:gd name="connsiteY57" fmla="*/ 106217 h 108171"/>
                <a:gd name="connsiteX58" fmla="*/ 91555 w 139124"/>
                <a:gd name="connsiteY58" fmla="*/ 103122 h 108171"/>
                <a:gd name="connsiteX59" fmla="*/ 94650 w 139124"/>
                <a:gd name="connsiteY59" fmla="*/ 107031 h 108171"/>
                <a:gd name="connsiteX60" fmla="*/ 100026 w 139124"/>
                <a:gd name="connsiteY60" fmla="*/ 108172 h 108171"/>
                <a:gd name="connsiteX61" fmla="*/ 100026 w 139124"/>
                <a:gd name="connsiteY61" fmla="*/ 108172 h 108171"/>
                <a:gd name="connsiteX62" fmla="*/ 101818 w 139124"/>
                <a:gd name="connsiteY62" fmla="*/ 103773 h 108171"/>
                <a:gd name="connsiteX63" fmla="*/ 83899 w 139124"/>
                <a:gd name="connsiteY63" fmla="*/ 83735 h 108171"/>
                <a:gd name="connsiteX64" fmla="*/ 63209 w 139124"/>
                <a:gd name="connsiteY64" fmla="*/ 65652 h 108171"/>
                <a:gd name="connsiteX65" fmla="*/ 62394 w 139124"/>
                <a:gd name="connsiteY65" fmla="*/ 62720 h 108171"/>
                <a:gd name="connsiteX66" fmla="*/ 64024 w 139124"/>
                <a:gd name="connsiteY66" fmla="*/ 60928 h 108171"/>
                <a:gd name="connsiteX67" fmla="*/ 60765 w 139124"/>
                <a:gd name="connsiteY67" fmla="*/ 56692 h 108171"/>
                <a:gd name="connsiteX68" fmla="*/ 59788 w 139124"/>
                <a:gd name="connsiteY68" fmla="*/ 52457 h 108171"/>
                <a:gd name="connsiteX69" fmla="*/ 54575 w 139124"/>
                <a:gd name="connsiteY69" fmla="*/ 46592 h 108171"/>
                <a:gd name="connsiteX70" fmla="*/ 51317 w 139124"/>
                <a:gd name="connsiteY70" fmla="*/ 46592 h 108171"/>
                <a:gd name="connsiteX71" fmla="*/ 51154 w 139124"/>
                <a:gd name="connsiteY71" fmla="*/ 43171 h 108171"/>
                <a:gd name="connsiteX72" fmla="*/ 53109 w 139124"/>
                <a:gd name="connsiteY72" fmla="*/ 41216 h 108171"/>
                <a:gd name="connsiteX73" fmla="*/ 53109 w 139124"/>
                <a:gd name="connsiteY73" fmla="*/ 34537 h 108171"/>
                <a:gd name="connsiteX74" fmla="*/ 55063 w 139124"/>
                <a:gd name="connsiteY74" fmla="*/ 32093 h 108171"/>
                <a:gd name="connsiteX75" fmla="*/ 61091 w 139124"/>
                <a:gd name="connsiteY75" fmla="*/ 36655 h 108171"/>
                <a:gd name="connsiteX76" fmla="*/ 63046 w 139124"/>
                <a:gd name="connsiteY76" fmla="*/ 40076 h 108171"/>
                <a:gd name="connsiteX77" fmla="*/ 66304 w 139124"/>
                <a:gd name="connsiteY77" fmla="*/ 39424 h 108171"/>
                <a:gd name="connsiteX78" fmla="*/ 66304 w 139124"/>
                <a:gd name="connsiteY78" fmla="*/ 35840 h 108171"/>
                <a:gd name="connsiteX79" fmla="*/ 71029 w 139124"/>
                <a:gd name="connsiteY79" fmla="*/ 35188 h 108171"/>
                <a:gd name="connsiteX80" fmla="*/ 74124 w 139124"/>
                <a:gd name="connsiteY80" fmla="*/ 35188 h 108171"/>
                <a:gd name="connsiteX81" fmla="*/ 76731 w 139124"/>
                <a:gd name="connsiteY81" fmla="*/ 32582 h 108171"/>
                <a:gd name="connsiteX82" fmla="*/ 80803 w 139124"/>
                <a:gd name="connsiteY82" fmla="*/ 35025 h 108171"/>
                <a:gd name="connsiteX83" fmla="*/ 83084 w 139124"/>
                <a:gd name="connsiteY83" fmla="*/ 33071 h 108171"/>
                <a:gd name="connsiteX84" fmla="*/ 87156 w 139124"/>
                <a:gd name="connsiteY84" fmla="*/ 34048 h 108171"/>
                <a:gd name="connsiteX85" fmla="*/ 89437 w 139124"/>
                <a:gd name="connsiteY85" fmla="*/ 38284 h 108171"/>
                <a:gd name="connsiteX86" fmla="*/ 92695 w 139124"/>
                <a:gd name="connsiteY86" fmla="*/ 35840 h 108171"/>
                <a:gd name="connsiteX87" fmla="*/ 98397 w 139124"/>
                <a:gd name="connsiteY87" fmla="*/ 37795 h 108171"/>
                <a:gd name="connsiteX88" fmla="*/ 102470 w 139124"/>
                <a:gd name="connsiteY88" fmla="*/ 36166 h 108171"/>
                <a:gd name="connsiteX89" fmla="*/ 103773 w 139124"/>
                <a:gd name="connsiteY89" fmla="*/ 37795 h 108171"/>
                <a:gd name="connsiteX90" fmla="*/ 109964 w 139124"/>
                <a:gd name="connsiteY90" fmla="*/ 37143 h 108171"/>
                <a:gd name="connsiteX91" fmla="*/ 115340 w 139124"/>
                <a:gd name="connsiteY91" fmla="*/ 39098 h 108171"/>
                <a:gd name="connsiteX92" fmla="*/ 118598 w 139124"/>
                <a:gd name="connsiteY92" fmla="*/ 38610 h 108171"/>
                <a:gd name="connsiteX93" fmla="*/ 123811 w 139124"/>
                <a:gd name="connsiteY93" fmla="*/ 42845 h 108171"/>
                <a:gd name="connsiteX94" fmla="*/ 130979 w 139124"/>
                <a:gd name="connsiteY94" fmla="*/ 42845 h 108171"/>
                <a:gd name="connsiteX95" fmla="*/ 131631 w 139124"/>
                <a:gd name="connsiteY95" fmla="*/ 43823 h 108171"/>
                <a:gd name="connsiteX96" fmla="*/ 131631 w 139124"/>
                <a:gd name="connsiteY96" fmla="*/ 43823 h 108171"/>
                <a:gd name="connsiteX97" fmla="*/ 79011 w 139124"/>
                <a:gd name="connsiteY97" fmla="*/ 104099 h 108171"/>
                <a:gd name="connsiteX98" fmla="*/ 87808 w 139124"/>
                <a:gd name="connsiteY98" fmla="*/ 103936 h 108171"/>
                <a:gd name="connsiteX99" fmla="*/ 91066 w 139124"/>
                <a:gd name="connsiteY99" fmla="*/ 107031 h 108171"/>
                <a:gd name="connsiteX100" fmla="*/ 83247 w 139124"/>
                <a:gd name="connsiteY100" fmla="*/ 106543 h 108171"/>
                <a:gd name="connsiteX101" fmla="*/ 78848 w 139124"/>
                <a:gd name="connsiteY101" fmla="*/ 104099 h 108171"/>
                <a:gd name="connsiteX102" fmla="*/ 78848 w 139124"/>
                <a:gd name="connsiteY102" fmla="*/ 104099 h 108171"/>
                <a:gd name="connsiteX103" fmla="*/ 73147 w 139124"/>
                <a:gd name="connsiteY103" fmla="*/ 98560 h 108171"/>
                <a:gd name="connsiteX104" fmla="*/ 86179 w 139124"/>
                <a:gd name="connsiteY104" fmla="*/ 98560 h 108171"/>
                <a:gd name="connsiteX105" fmla="*/ 80803 w 139124"/>
                <a:gd name="connsiteY105" fmla="*/ 101330 h 108171"/>
                <a:gd name="connsiteX106" fmla="*/ 73147 w 139124"/>
                <a:gd name="connsiteY106" fmla="*/ 98560 h 108171"/>
                <a:gd name="connsiteX107" fmla="*/ 73147 w 139124"/>
                <a:gd name="connsiteY107" fmla="*/ 98560 h 108171"/>
                <a:gd name="connsiteX108" fmla="*/ 73309 w 139124"/>
                <a:gd name="connsiteY108" fmla="*/ 92695 h 108171"/>
                <a:gd name="connsiteX109" fmla="*/ 83409 w 139124"/>
                <a:gd name="connsiteY109" fmla="*/ 92695 h 108171"/>
                <a:gd name="connsiteX110" fmla="*/ 85690 w 139124"/>
                <a:gd name="connsiteY110" fmla="*/ 94161 h 108171"/>
                <a:gd name="connsiteX111" fmla="*/ 80803 w 139124"/>
                <a:gd name="connsiteY111" fmla="*/ 96605 h 108171"/>
                <a:gd name="connsiteX112" fmla="*/ 75753 w 139124"/>
                <a:gd name="connsiteY112" fmla="*/ 95791 h 108171"/>
                <a:gd name="connsiteX113" fmla="*/ 73309 w 139124"/>
                <a:gd name="connsiteY113" fmla="*/ 92695 h 108171"/>
                <a:gd name="connsiteX114" fmla="*/ 73309 w 139124"/>
                <a:gd name="connsiteY114" fmla="*/ 92695 h 108171"/>
                <a:gd name="connsiteX115" fmla="*/ 36818 w 139124"/>
                <a:gd name="connsiteY115" fmla="*/ 60114 h 108171"/>
                <a:gd name="connsiteX116" fmla="*/ 39750 w 139124"/>
                <a:gd name="connsiteY116" fmla="*/ 60765 h 108171"/>
                <a:gd name="connsiteX117" fmla="*/ 43008 w 139124"/>
                <a:gd name="connsiteY117" fmla="*/ 65164 h 108171"/>
                <a:gd name="connsiteX118" fmla="*/ 41216 w 139124"/>
                <a:gd name="connsiteY118" fmla="*/ 66467 h 108171"/>
                <a:gd name="connsiteX119" fmla="*/ 36818 w 139124"/>
                <a:gd name="connsiteY119" fmla="*/ 59951 h 108171"/>
                <a:gd name="connsiteX120" fmla="*/ 36818 w 139124"/>
                <a:gd name="connsiteY120" fmla="*/ 59951 h 108171"/>
                <a:gd name="connsiteX121" fmla="*/ 32745 w 139124"/>
                <a:gd name="connsiteY121" fmla="*/ 53271 h 108171"/>
                <a:gd name="connsiteX122" fmla="*/ 37306 w 139124"/>
                <a:gd name="connsiteY122" fmla="*/ 57996 h 108171"/>
                <a:gd name="connsiteX123" fmla="*/ 32582 w 139124"/>
                <a:gd name="connsiteY123" fmla="*/ 56692 h 108171"/>
                <a:gd name="connsiteX124" fmla="*/ 32582 w 139124"/>
                <a:gd name="connsiteY124" fmla="*/ 53271 h 108171"/>
                <a:gd name="connsiteX125" fmla="*/ 32745 w 139124"/>
                <a:gd name="connsiteY125" fmla="*/ 53271 h 108171"/>
                <a:gd name="connsiteX126" fmla="*/ 33885 w 139124"/>
                <a:gd name="connsiteY126" fmla="*/ 68748 h 108171"/>
                <a:gd name="connsiteX127" fmla="*/ 39099 w 139124"/>
                <a:gd name="connsiteY127" fmla="*/ 72983 h 108171"/>
                <a:gd name="connsiteX128" fmla="*/ 40402 w 139124"/>
                <a:gd name="connsiteY128" fmla="*/ 77382 h 108171"/>
                <a:gd name="connsiteX129" fmla="*/ 33885 w 139124"/>
                <a:gd name="connsiteY129" fmla="*/ 68748 h 108171"/>
                <a:gd name="connsiteX130" fmla="*/ 33885 w 139124"/>
                <a:gd name="connsiteY130" fmla="*/ 68748 h 108171"/>
                <a:gd name="connsiteX131" fmla="*/ 27532 w 139124"/>
                <a:gd name="connsiteY131" fmla="*/ 60276 h 108171"/>
                <a:gd name="connsiteX132" fmla="*/ 31442 w 139124"/>
                <a:gd name="connsiteY132" fmla="*/ 61906 h 108171"/>
                <a:gd name="connsiteX133" fmla="*/ 31931 w 139124"/>
                <a:gd name="connsiteY133" fmla="*/ 65652 h 108171"/>
                <a:gd name="connsiteX134" fmla="*/ 27532 w 139124"/>
                <a:gd name="connsiteY134" fmla="*/ 60276 h 108171"/>
                <a:gd name="connsiteX135" fmla="*/ 27532 w 139124"/>
                <a:gd name="connsiteY135" fmla="*/ 60276 h 108171"/>
                <a:gd name="connsiteX136" fmla="*/ 18409 w 139124"/>
                <a:gd name="connsiteY136" fmla="*/ 46429 h 108171"/>
                <a:gd name="connsiteX137" fmla="*/ 24925 w 139124"/>
                <a:gd name="connsiteY137" fmla="*/ 50991 h 108171"/>
                <a:gd name="connsiteX138" fmla="*/ 27206 w 139124"/>
                <a:gd name="connsiteY138" fmla="*/ 57670 h 108171"/>
                <a:gd name="connsiteX139" fmla="*/ 25251 w 139124"/>
                <a:gd name="connsiteY139" fmla="*/ 57996 h 108171"/>
                <a:gd name="connsiteX140" fmla="*/ 20852 w 139124"/>
                <a:gd name="connsiteY140" fmla="*/ 53271 h 108171"/>
                <a:gd name="connsiteX141" fmla="*/ 21993 w 139124"/>
                <a:gd name="connsiteY141" fmla="*/ 51805 h 108171"/>
                <a:gd name="connsiteX142" fmla="*/ 18735 w 139124"/>
                <a:gd name="connsiteY142" fmla="*/ 46429 h 108171"/>
                <a:gd name="connsiteX143" fmla="*/ 18735 w 139124"/>
                <a:gd name="connsiteY143" fmla="*/ 46429 h 108171"/>
                <a:gd name="connsiteX144" fmla="*/ 22645 w 139124"/>
                <a:gd name="connsiteY144" fmla="*/ 36166 h 108171"/>
                <a:gd name="connsiteX145" fmla="*/ 29975 w 139124"/>
                <a:gd name="connsiteY145" fmla="*/ 47244 h 108171"/>
                <a:gd name="connsiteX146" fmla="*/ 26229 w 139124"/>
                <a:gd name="connsiteY146" fmla="*/ 48710 h 108171"/>
                <a:gd name="connsiteX147" fmla="*/ 24274 w 139124"/>
                <a:gd name="connsiteY147" fmla="*/ 46103 h 108171"/>
                <a:gd name="connsiteX148" fmla="*/ 20527 w 139124"/>
                <a:gd name="connsiteY148" fmla="*/ 45126 h 108171"/>
                <a:gd name="connsiteX149" fmla="*/ 20038 w 139124"/>
                <a:gd name="connsiteY149" fmla="*/ 37958 h 108171"/>
                <a:gd name="connsiteX150" fmla="*/ 22645 w 139124"/>
                <a:gd name="connsiteY150" fmla="*/ 36166 h 1081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</a:cxnLst>
              <a:rect l="l" t="t" r="r" b="b"/>
              <a:pathLst>
                <a:path w="139124" h="108171">
                  <a:moveTo>
                    <a:pt x="132282" y="43497"/>
                  </a:moveTo>
                  <a:lnTo>
                    <a:pt x="131631" y="39424"/>
                  </a:lnTo>
                  <a:lnTo>
                    <a:pt x="136681" y="37632"/>
                  </a:lnTo>
                  <a:lnTo>
                    <a:pt x="139125" y="37632"/>
                  </a:lnTo>
                  <a:lnTo>
                    <a:pt x="139125" y="35677"/>
                  </a:lnTo>
                  <a:lnTo>
                    <a:pt x="134400" y="34537"/>
                  </a:lnTo>
                  <a:lnTo>
                    <a:pt x="131793" y="32256"/>
                  </a:lnTo>
                  <a:lnTo>
                    <a:pt x="130327" y="25577"/>
                  </a:lnTo>
                  <a:lnTo>
                    <a:pt x="127232" y="18083"/>
                  </a:lnTo>
                  <a:lnTo>
                    <a:pt x="123974" y="16291"/>
                  </a:lnTo>
                  <a:lnTo>
                    <a:pt x="119901" y="21504"/>
                  </a:lnTo>
                  <a:lnTo>
                    <a:pt x="110452" y="18246"/>
                  </a:lnTo>
                  <a:lnTo>
                    <a:pt x="97257" y="15965"/>
                  </a:lnTo>
                  <a:lnTo>
                    <a:pt x="93184" y="12870"/>
                  </a:lnTo>
                  <a:lnTo>
                    <a:pt x="87808" y="10915"/>
                  </a:lnTo>
                  <a:lnTo>
                    <a:pt x="77382" y="977"/>
                  </a:lnTo>
                  <a:lnTo>
                    <a:pt x="72820" y="0"/>
                  </a:lnTo>
                  <a:lnTo>
                    <a:pt x="72820" y="1140"/>
                  </a:lnTo>
                  <a:cubicBezTo>
                    <a:pt x="72820" y="1140"/>
                    <a:pt x="61906" y="1140"/>
                    <a:pt x="61906" y="1140"/>
                  </a:cubicBezTo>
                  <a:lnTo>
                    <a:pt x="46429" y="9286"/>
                  </a:lnTo>
                  <a:lnTo>
                    <a:pt x="45289" y="15965"/>
                  </a:lnTo>
                  <a:lnTo>
                    <a:pt x="37143" y="20038"/>
                  </a:lnTo>
                  <a:lnTo>
                    <a:pt x="35677" y="28835"/>
                  </a:lnTo>
                  <a:lnTo>
                    <a:pt x="30464" y="29161"/>
                  </a:lnTo>
                  <a:lnTo>
                    <a:pt x="20852" y="24762"/>
                  </a:lnTo>
                  <a:lnTo>
                    <a:pt x="15640" y="26228"/>
                  </a:lnTo>
                  <a:lnTo>
                    <a:pt x="8960" y="30953"/>
                  </a:lnTo>
                  <a:lnTo>
                    <a:pt x="0" y="31441"/>
                  </a:lnTo>
                  <a:lnTo>
                    <a:pt x="0" y="31930"/>
                  </a:lnTo>
                  <a:cubicBezTo>
                    <a:pt x="0" y="31930"/>
                    <a:pt x="1466" y="42031"/>
                    <a:pt x="1466" y="42031"/>
                  </a:cubicBezTo>
                  <a:lnTo>
                    <a:pt x="7331" y="47407"/>
                  </a:lnTo>
                  <a:lnTo>
                    <a:pt x="6679" y="49361"/>
                  </a:lnTo>
                  <a:lnTo>
                    <a:pt x="8960" y="51316"/>
                  </a:lnTo>
                  <a:lnTo>
                    <a:pt x="15151" y="41216"/>
                  </a:lnTo>
                  <a:lnTo>
                    <a:pt x="16128" y="35840"/>
                  </a:lnTo>
                  <a:lnTo>
                    <a:pt x="20038" y="31441"/>
                  </a:lnTo>
                  <a:lnTo>
                    <a:pt x="26229" y="31441"/>
                  </a:lnTo>
                  <a:cubicBezTo>
                    <a:pt x="26229" y="31441"/>
                    <a:pt x="27532" y="36329"/>
                    <a:pt x="27532" y="36329"/>
                  </a:cubicBezTo>
                  <a:lnTo>
                    <a:pt x="32582" y="40402"/>
                  </a:lnTo>
                  <a:lnTo>
                    <a:pt x="34048" y="47895"/>
                  </a:lnTo>
                  <a:lnTo>
                    <a:pt x="37795" y="55063"/>
                  </a:lnTo>
                  <a:lnTo>
                    <a:pt x="45452" y="62231"/>
                  </a:lnTo>
                  <a:lnTo>
                    <a:pt x="47407" y="62557"/>
                  </a:lnTo>
                  <a:lnTo>
                    <a:pt x="51805" y="67444"/>
                  </a:lnTo>
                  <a:lnTo>
                    <a:pt x="47895" y="66141"/>
                  </a:lnTo>
                  <a:lnTo>
                    <a:pt x="43497" y="66793"/>
                  </a:lnTo>
                  <a:lnTo>
                    <a:pt x="41542" y="71028"/>
                  </a:lnTo>
                  <a:lnTo>
                    <a:pt x="43823" y="75427"/>
                  </a:lnTo>
                  <a:lnTo>
                    <a:pt x="49361" y="75427"/>
                  </a:lnTo>
                  <a:lnTo>
                    <a:pt x="54900" y="80803"/>
                  </a:lnTo>
                  <a:lnTo>
                    <a:pt x="60440" y="82758"/>
                  </a:lnTo>
                  <a:lnTo>
                    <a:pt x="62394" y="87156"/>
                  </a:lnTo>
                  <a:lnTo>
                    <a:pt x="65164" y="90252"/>
                  </a:lnTo>
                  <a:lnTo>
                    <a:pt x="71029" y="89111"/>
                  </a:lnTo>
                  <a:lnTo>
                    <a:pt x="82269" y="90089"/>
                  </a:lnTo>
                  <a:lnTo>
                    <a:pt x="88460" y="93184"/>
                  </a:lnTo>
                  <a:lnTo>
                    <a:pt x="100841" y="105891"/>
                  </a:lnTo>
                  <a:lnTo>
                    <a:pt x="97420" y="106217"/>
                  </a:lnTo>
                  <a:lnTo>
                    <a:pt x="91555" y="103122"/>
                  </a:lnTo>
                  <a:lnTo>
                    <a:pt x="94650" y="107031"/>
                  </a:lnTo>
                  <a:lnTo>
                    <a:pt x="100026" y="108172"/>
                  </a:lnTo>
                  <a:lnTo>
                    <a:pt x="100026" y="108172"/>
                  </a:lnTo>
                  <a:cubicBezTo>
                    <a:pt x="100026" y="108172"/>
                    <a:pt x="101818" y="103773"/>
                    <a:pt x="101818" y="103773"/>
                  </a:cubicBezTo>
                  <a:lnTo>
                    <a:pt x="83899" y="83735"/>
                  </a:lnTo>
                  <a:lnTo>
                    <a:pt x="63209" y="65652"/>
                  </a:lnTo>
                  <a:lnTo>
                    <a:pt x="62394" y="62720"/>
                  </a:lnTo>
                  <a:lnTo>
                    <a:pt x="64024" y="60928"/>
                  </a:lnTo>
                  <a:lnTo>
                    <a:pt x="60765" y="56692"/>
                  </a:lnTo>
                  <a:lnTo>
                    <a:pt x="59788" y="52457"/>
                  </a:lnTo>
                  <a:lnTo>
                    <a:pt x="54575" y="46592"/>
                  </a:lnTo>
                  <a:lnTo>
                    <a:pt x="51317" y="46592"/>
                  </a:lnTo>
                  <a:cubicBezTo>
                    <a:pt x="51317" y="46592"/>
                    <a:pt x="51154" y="43171"/>
                    <a:pt x="51154" y="43171"/>
                  </a:cubicBezTo>
                  <a:lnTo>
                    <a:pt x="53109" y="41216"/>
                  </a:lnTo>
                  <a:lnTo>
                    <a:pt x="53109" y="34537"/>
                  </a:lnTo>
                  <a:lnTo>
                    <a:pt x="55063" y="32093"/>
                  </a:lnTo>
                  <a:lnTo>
                    <a:pt x="61091" y="36655"/>
                  </a:lnTo>
                  <a:lnTo>
                    <a:pt x="63046" y="40076"/>
                  </a:lnTo>
                  <a:lnTo>
                    <a:pt x="66304" y="39424"/>
                  </a:lnTo>
                  <a:lnTo>
                    <a:pt x="66304" y="35840"/>
                  </a:lnTo>
                  <a:cubicBezTo>
                    <a:pt x="66304" y="35840"/>
                    <a:pt x="71029" y="35188"/>
                    <a:pt x="71029" y="35188"/>
                  </a:cubicBezTo>
                  <a:lnTo>
                    <a:pt x="74124" y="35188"/>
                  </a:lnTo>
                  <a:cubicBezTo>
                    <a:pt x="74124" y="35188"/>
                    <a:pt x="76731" y="32582"/>
                    <a:pt x="76731" y="32582"/>
                  </a:cubicBezTo>
                  <a:lnTo>
                    <a:pt x="80803" y="35025"/>
                  </a:lnTo>
                  <a:lnTo>
                    <a:pt x="83084" y="33071"/>
                  </a:lnTo>
                  <a:lnTo>
                    <a:pt x="87156" y="34048"/>
                  </a:lnTo>
                  <a:lnTo>
                    <a:pt x="89437" y="38284"/>
                  </a:lnTo>
                  <a:lnTo>
                    <a:pt x="92695" y="35840"/>
                  </a:lnTo>
                  <a:lnTo>
                    <a:pt x="98397" y="37795"/>
                  </a:lnTo>
                  <a:lnTo>
                    <a:pt x="102470" y="36166"/>
                  </a:lnTo>
                  <a:lnTo>
                    <a:pt x="103773" y="37795"/>
                  </a:lnTo>
                  <a:lnTo>
                    <a:pt x="109964" y="37143"/>
                  </a:lnTo>
                  <a:lnTo>
                    <a:pt x="115340" y="39098"/>
                  </a:lnTo>
                  <a:lnTo>
                    <a:pt x="118598" y="38610"/>
                  </a:lnTo>
                  <a:lnTo>
                    <a:pt x="123811" y="42845"/>
                  </a:lnTo>
                  <a:lnTo>
                    <a:pt x="130979" y="42845"/>
                  </a:lnTo>
                  <a:cubicBezTo>
                    <a:pt x="130979" y="42845"/>
                    <a:pt x="131631" y="43823"/>
                    <a:pt x="131631" y="43823"/>
                  </a:cubicBezTo>
                  <a:lnTo>
                    <a:pt x="131631" y="43823"/>
                  </a:lnTo>
                  <a:close/>
                  <a:moveTo>
                    <a:pt x="79011" y="104099"/>
                  </a:moveTo>
                  <a:cubicBezTo>
                    <a:pt x="79011" y="104099"/>
                    <a:pt x="87808" y="103936"/>
                    <a:pt x="87808" y="103936"/>
                  </a:cubicBezTo>
                  <a:lnTo>
                    <a:pt x="91066" y="107031"/>
                  </a:lnTo>
                  <a:lnTo>
                    <a:pt x="83247" y="106543"/>
                  </a:lnTo>
                  <a:lnTo>
                    <a:pt x="78848" y="104099"/>
                  </a:lnTo>
                  <a:lnTo>
                    <a:pt x="78848" y="104099"/>
                  </a:lnTo>
                  <a:close/>
                  <a:moveTo>
                    <a:pt x="73147" y="98560"/>
                  </a:moveTo>
                  <a:lnTo>
                    <a:pt x="86179" y="98560"/>
                  </a:lnTo>
                  <a:cubicBezTo>
                    <a:pt x="86179" y="98560"/>
                    <a:pt x="80803" y="101330"/>
                    <a:pt x="80803" y="101330"/>
                  </a:cubicBezTo>
                  <a:lnTo>
                    <a:pt x="73147" y="98560"/>
                  </a:lnTo>
                  <a:lnTo>
                    <a:pt x="73147" y="98560"/>
                  </a:lnTo>
                  <a:close/>
                  <a:moveTo>
                    <a:pt x="73309" y="92695"/>
                  </a:moveTo>
                  <a:lnTo>
                    <a:pt x="83409" y="92695"/>
                  </a:lnTo>
                  <a:lnTo>
                    <a:pt x="85690" y="94161"/>
                  </a:lnTo>
                  <a:lnTo>
                    <a:pt x="80803" y="96605"/>
                  </a:lnTo>
                  <a:lnTo>
                    <a:pt x="75753" y="95791"/>
                  </a:lnTo>
                  <a:lnTo>
                    <a:pt x="73309" y="92695"/>
                  </a:lnTo>
                  <a:lnTo>
                    <a:pt x="73309" y="92695"/>
                  </a:lnTo>
                  <a:close/>
                  <a:moveTo>
                    <a:pt x="36818" y="60114"/>
                  </a:moveTo>
                  <a:lnTo>
                    <a:pt x="39750" y="60765"/>
                  </a:lnTo>
                  <a:lnTo>
                    <a:pt x="43008" y="65164"/>
                  </a:lnTo>
                  <a:lnTo>
                    <a:pt x="41216" y="66467"/>
                  </a:lnTo>
                  <a:lnTo>
                    <a:pt x="36818" y="59951"/>
                  </a:lnTo>
                  <a:lnTo>
                    <a:pt x="36818" y="59951"/>
                  </a:lnTo>
                  <a:close/>
                  <a:moveTo>
                    <a:pt x="32745" y="53271"/>
                  </a:moveTo>
                  <a:lnTo>
                    <a:pt x="37306" y="57996"/>
                  </a:lnTo>
                  <a:lnTo>
                    <a:pt x="32582" y="56692"/>
                  </a:lnTo>
                  <a:lnTo>
                    <a:pt x="32582" y="53271"/>
                  </a:lnTo>
                  <a:lnTo>
                    <a:pt x="32745" y="53271"/>
                  </a:lnTo>
                  <a:close/>
                  <a:moveTo>
                    <a:pt x="33885" y="68748"/>
                  </a:moveTo>
                  <a:lnTo>
                    <a:pt x="39099" y="72983"/>
                  </a:lnTo>
                  <a:lnTo>
                    <a:pt x="40402" y="77382"/>
                  </a:lnTo>
                  <a:lnTo>
                    <a:pt x="33885" y="68748"/>
                  </a:lnTo>
                  <a:lnTo>
                    <a:pt x="33885" y="68748"/>
                  </a:lnTo>
                  <a:close/>
                  <a:moveTo>
                    <a:pt x="27532" y="60276"/>
                  </a:moveTo>
                  <a:lnTo>
                    <a:pt x="31442" y="61906"/>
                  </a:lnTo>
                  <a:lnTo>
                    <a:pt x="31931" y="65652"/>
                  </a:lnTo>
                  <a:lnTo>
                    <a:pt x="27532" y="60276"/>
                  </a:lnTo>
                  <a:lnTo>
                    <a:pt x="27532" y="60276"/>
                  </a:lnTo>
                  <a:close/>
                  <a:moveTo>
                    <a:pt x="18409" y="46429"/>
                  </a:moveTo>
                  <a:lnTo>
                    <a:pt x="24925" y="50991"/>
                  </a:lnTo>
                  <a:lnTo>
                    <a:pt x="27206" y="57670"/>
                  </a:lnTo>
                  <a:lnTo>
                    <a:pt x="25251" y="57996"/>
                  </a:lnTo>
                  <a:lnTo>
                    <a:pt x="20852" y="53271"/>
                  </a:lnTo>
                  <a:lnTo>
                    <a:pt x="21993" y="51805"/>
                  </a:lnTo>
                  <a:lnTo>
                    <a:pt x="18735" y="46429"/>
                  </a:lnTo>
                  <a:lnTo>
                    <a:pt x="18735" y="46429"/>
                  </a:lnTo>
                  <a:close/>
                  <a:moveTo>
                    <a:pt x="22645" y="36166"/>
                  </a:moveTo>
                  <a:lnTo>
                    <a:pt x="29975" y="47244"/>
                  </a:lnTo>
                  <a:lnTo>
                    <a:pt x="26229" y="48710"/>
                  </a:lnTo>
                  <a:lnTo>
                    <a:pt x="24274" y="46103"/>
                  </a:lnTo>
                  <a:lnTo>
                    <a:pt x="20527" y="45126"/>
                  </a:lnTo>
                  <a:lnTo>
                    <a:pt x="20038" y="37958"/>
                  </a:lnTo>
                  <a:cubicBezTo>
                    <a:pt x="20038" y="37958"/>
                    <a:pt x="22318" y="36166"/>
                    <a:pt x="22645" y="36166"/>
                  </a:cubicBezTo>
                  <a:close/>
                </a:path>
              </a:pathLst>
            </a:custGeom>
            <a:solidFill>
              <a:schemeClr val="bg2"/>
            </a:solidFill>
            <a:ln w="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8" name="Forma livre: Forma 167">
              <a:extLst>
                <a:ext uri="{FF2B5EF4-FFF2-40B4-BE49-F238E27FC236}">
                  <a16:creationId xmlns:a16="http://schemas.microsoft.com/office/drawing/2014/main" id="{27D87475-5EAB-0D7B-A6AF-A926BA0E1480}"/>
                </a:ext>
              </a:extLst>
            </p:cNvPr>
            <p:cNvSpPr/>
            <p:nvPr/>
          </p:nvSpPr>
          <p:spPr>
            <a:xfrm>
              <a:off x="6365160" y="3665114"/>
              <a:ext cx="99158" cy="87373"/>
            </a:xfrm>
            <a:custGeom>
              <a:avLst/>
              <a:gdLst>
                <a:gd name="connsiteX0" fmla="*/ 48710 w 95953"/>
                <a:gd name="connsiteY0" fmla="*/ 76241 h 84549"/>
                <a:gd name="connsiteX1" fmla="*/ 50502 w 95953"/>
                <a:gd name="connsiteY1" fmla="*/ 71843 h 84549"/>
                <a:gd name="connsiteX2" fmla="*/ 32582 w 95953"/>
                <a:gd name="connsiteY2" fmla="*/ 51805 h 84549"/>
                <a:gd name="connsiteX3" fmla="*/ 12056 w 95953"/>
                <a:gd name="connsiteY3" fmla="*/ 33722 h 84549"/>
                <a:gd name="connsiteX4" fmla="*/ 11241 w 95953"/>
                <a:gd name="connsiteY4" fmla="*/ 30790 h 84549"/>
                <a:gd name="connsiteX5" fmla="*/ 12870 w 95953"/>
                <a:gd name="connsiteY5" fmla="*/ 28998 h 84549"/>
                <a:gd name="connsiteX6" fmla="*/ 9612 w 95953"/>
                <a:gd name="connsiteY6" fmla="*/ 24762 h 84549"/>
                <a:gd name="connsiteX7" fmla="*/ 8634 w 95953"/>
                <a:gd name="connsiteY7" fmla="*/ 20526 h 84549"/>
                <a:gd name="connsiteX8" fmla="*/ 3584 w 95953"/>
                <a:gd name="connsiteY8" fmla="*/ 14499 h 84549"/>
                <a:gd name="connsiteX9" fmla="*/ 163 w 95953"/>
                <a:gd name="connsiteY9" fmla="*/ 14825 h 84549"/>
                <a:gd name="connsiteX10" fmla="*/ 0 w 95953"/>
                <a:gd name="connsiteY10" fmla="*/ 11078 h 84549"/>
                <a:gd name="connsiteX11" fmla="*/ 1955 w 95953"/>
                <a:gd name="connsiteY11" fmla="*/ 9123 h 84549"/>
                <a:gd name="connsiteX12" fmla="*/ 1955 w 95953"/>
                <a:gd name="connsiteY12" fmla="*/ 2444 h 84549"/>
                <a:gd name="connsiteX13" fmla="*/ 4073 w 95953"/>
                <a:gd name="connsiteY13" fmla="*/ 0 h 84549"/>
                <a:gd name="connsiteX14" fmla="*/ 10100 w 95953"/>
                <a:gd name="connsiteY14" fmla="*/ 4561 h 84549"/>
                <a:gd name="connsiteX15" fmla="*/ 12218 w 95953"/>
                <a:gd name="connsiteY15" fmla="*/ 8145 h 84549"/>
                <a:gd name="connsiteX16" fmla="*/ 15477 w 95953"/>
                <a:gd name="connsiteY16" fmla="*/ 7331 h 84549"/>
                <a:gd name="connsiteX17" fmla="*/ 15639 w 95953"/>
                <a:gd name="connsiteY17" fmla="*/ 3910 h 84549"/>
                <a:gd name="connsiteX18" fmla="*/ 20201 w 95953"/>
                <a:gd name="connsiteY18" fmla="*/ 3095 h 84549"/>
                <a:gd name="connsiteX19" fmla="*/ 23459 w 95953"/>
                <a:gd name="connsiteY19" fmla="*/ 3258 h 84549"/>
                <a:gd name="connsiteX20" fmla="*/ 26066 w 95953"/>
                <a:gd name="connsiteY20" fmla="*/ 652 h 84549"/>
                <a:gd name="connsiteX21" fmla="*/ 29975 w 95953"/>
                <a:gd name="connsiteY21" fmla="*/ 2932 h 84549"/>
                <a:gd name="connsiteX22" fmla="*/ 32256 w 95953"/>
                <a:gd name="connsiteY22" fmla="*/ 977 h 84549"/>
                <a:gd name="connsiteX23" fmla="*/ 36329 w 95953"/>
                <a:gd name="connsiteY23" fmla="*/ 1792 h 84549"/>
                <a:gd name="connsiteX24" fmla="*/ 38447 w 95953"/>
                <a:gd name="connsiteY24" fmla="*/ 6028 h 84549"/>
                <a:gd name="connsiteX25" fmla="*/ 41868 w 95953"/>
                <a:gd name="connsiteY25" fmla="*/ 3747 h 84549"/>
                <a:gd name="connsiteX26" fmla="*/ 47570 w 95953"/>
                <a:gd name="connsiteY26" fmla="*/ 5702 h 84549"/>
                <a:gd name="connsiteX27" fmla="*/ 51642 w 95953"/>
                <a:gd name="connsiteY27" fmla="*/ 4073 h 84549"/>
                <a:gd name="connsiteX28" fmla="*/ 52945 w 95953"/>
                <a:gd name="connsiteY28" fmla="*/ 5702 h 84549"/>
                <a:gd name="connsiteX29" fmla="*/ 59136 w 95953"/>
                <a:gd name="connsiteY29" fmla="*/ 5050 h 84549"/>
                <a:gd name="connsiteX30" fmla="*/ 64512 w 95953"/>
                <a:gd name="connsiteY30" fmla="*/ 7005 h 84549"/>
                <a:gd name="connsiteX31" fmla="*/ 67770 w 95953"/>
                <a:gd name="connsiteY31" fmla="*/ 6516 h 84549"/>
                <a:gd name="connsiteX32" fmla="*/ 72983 w 95953"/>
                <a:gd name="connsiteY32" fmla="*/ 10752 h 84549"/>
                <a:gd name="connsiteX33" fmla="*/ 80152 w 95953"/>
                <a:gd name="connsiteY33" fmla="*/ 10915 h 84549"/>
                <a:gd name="connsiteX34" fmla="*/ 82106 w 95953"/>
                <a:gd name="connsiteY34" fmla="*/ 13521 h 84549"/>
                <a:gd name="connsiteX35" fmla="*/ 84387 w 95953"/>
                <a:gd name="connsiteY35" fmla="*/ 11892 h 84549"/>
                <a:gd name="connsiteX36" fmla="*/ 87482 w 95953"/>
                <a:gd name="connsiteY36" fmla="*/ 12055 h 84549"/>
                <a:gd name="connsiteX37" fmla="*/ 86831 w 95953"/>
                <a:gd name="connsiteY37" fmla="*/ 18572 h 84549"/>
                <a:gd name="connsiteX38" fmla="*/ 81618 w 95953"/>
                <a:gd name="connsiteY38" fmla="*/ 26391 h 84549"/>
                <a:gd name="connsiteX39" fmla="*/ 81781 w 95953"/>
                <a:gd name="connsiteY39" fmla="*/ 29812 h 84549"/>
                <a:gd name="connsiteX40" fmla="*/ 89274 w 95953"/>
                <a:gd name="connsiteY40" fmla="*/ 35840 h 84549"/>
                <a:gd name="connsiteX41" fmla="*/ 93021 w 95953"/>
                <a:gd name="connsiteY41" fmla="*/ 36003 h 84549"/>
                <a:gd name="connsiteX42" fmla="*/ 95954 w 95953"/>
                <a:gd name="connsiteY42" fmla="*/ 39098 h 84549"/>
                <a:gd name="connsiteX43" fmla="*/ 94161 w 95953"/>
                <a:gd name="connsiteY43" fmla="*/ 42030 h 84549"/>
                <a:gd name="connsiteX44" fmla="*/ 89763 w 95953"/>
                <a:gd name="connsiteY44" fmla="*/ 39587 h 84549"/>
                <a:gd name="connsiteX45" fmla="*/ 87320 w 95953"/>
                <a:gd name="connsiteY45" fmla="*/ 41216 h 84549"/>
                <a:gd name="connsiteX46" fmla="*/ 87320 w 95953"/>
                <a:gd name="connsiteY46" fmla="*/ 46755 h 84549"/>
                <a:gd name="connsiteX47" fmla="*/ 93021 w 95953"/>
                <a:gd name="connsiteY47" fmla="*/ 53434 h 84549"/>
                <a:gd name="connsiteX48" fmla="*/ 90904 w 95953"/>
                <a:gd name="connsiteY48" fmla="*/ 55715 h 84549"/>
                <a:gd name="connsiteX49" fmla="*/ 86831 w 95953"/>
                <a:gd name="connsiteY49" fmla="*/ 54412 h 84549"/>
                <a:gd name="connsiteX50" fmla="*/ 81455 w 95953"/>
                <a:gd name="connsiteY50" fmla="*/ 50665 h 84549"/>
                <a:gd name="connsiteX51" fmla="*/ 78359 w 95953"/>
                <a:gd name="connsiteY51" fmla="*/ 52945 h 84549"/>
                <a:gd name="connsiteX52" fmla="*/ 78522 w 95953"/>
                <a:gd name="connsiteY52" fmla="*/ 56855 h 84549"/>
                <a:gd name="connsiteX53" fmla="*/ 83084 w 95953"/>
                <a:gd name="connsiteY53" fmla="*/ 59788 h 84549"/>
                <a:gd name="connsiteX54" fmla="*/ 84713 w 95953"/>
                <a:gd name="connsiteY54" fmla="*/ 63372 h 84549"/>
                <a:gd name="connsiteX55" fmla="*/ 80966 w 95953"/>
                <a:gd name="connsiteY55" fmla="*/ 65489 h 84549"/>
                <a:gd name="connsiteX56" fmla="*/ 77219 w 95953"/>
                <a:gd name="connsiteY56" fmla="*/ 65815 h 84549"/>
                <a:gd name="connsiteX57" fmla="*/ 75101 w 95953"/>
                <a:gd name="connsiteY57" fmla="*/ 71028 h 84549"/>
                <a:gd name="connsiteX58" fmla="*/ 74938 w 95953"/>
                <a:gd name="connsiteY58" fmla="*/ 77708 h 84549"/>
                <a:gd name="connsiteX59" fmla="*/ 72006 w 95953"/>
                <a:gd name="connsiteY59" fmla="*/ 83246 h 84549"/>
                <a:gd name="connsiteX60" fmla="*/ 69563 w 95953"/>
                <a:gd name="connsiteY60" fmla="*/ 84550 h 84549"/>
                <a:gd name="connsiteX61" fmla="*/ 64186 w 95953"/>
                <a:gd name="connsiteY61" fmla="*/ 77219 h 84549"/>
                <a:gd name="connsiteX62" fmla="*/ 61417 w 95953"/>
                <a:gd name="connsiteY62" fmla="*/ 78685 h 84549"/>
                <a:gd name="connsiteX63" fmla="*/ 51805 w 95953"/>
                <a:gd name="connsiteY63" fmla="*/ 77056 h 84549"/>
                <a:gd name="connsiteX64" fmla="*/ 48710 w 95953"/>
                <a:gd name="connsiteY64" fmla="*/ 76404 h 84549"/>
                <a:gd name="connsiteX65" fmla="*/ 48710 w 95953"/>
                <a:gd name="connsiteY65" fmla="*/ 76241 h 845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</a:cxnLst>
              <a:rect l="l" t="t" r="r" b="b"/>
              <a:pathLst>
                <a:path w="95953" h="84549">
                  <a:moveTo>
                    <a:pt x="48710" y="76241"/>
                  </a:moveTo>
                  <a:lnTo>
                    <a:pt x="50502" y="71843"/>
                  </a:lnTo>
                  <a:lnTo>
                    <a:pt x="32582" y="51805"/>
                  </a:lnTo>
                  <a:lnTo>
                    <a:pt x="12056" y="33722"/>
                  </a:lnTo>
                  <a:lnTo>
                    <a:pt x="11241" y="30790"/>
                  </a:lnTo>
                  <a:lnTo>
                    <a:pt x="12870" y="28998"/>
                  </a:lnTo>
                  <a:lnTo>
                    <a:pt x="9612" y="24762"/>
                  </a:lnTo>
                  <a:lnTo>
                    <a:pt x="8634" y="20526"/>
                  </a:lnTo>
                  <a:lnTo>
                    <a:pt x="3584" y="14499"/>
                  </a:lnTo>
                  <a:lnTo>
                    <a:pt x="163" y="14825"/>
                  </a:lnTo>
                  <a:lnTo>
                    <a:pt x="0" y="11078"/>
                  </a:lnTo>
                  <a:lnTo>
                    <a:pt x="1955" y="9123"/>
                  </a:lnTo>
                  <a:lnTo>
                    <a:pt x="1955" y="2444"/>
                  </a:lnTo>
                  <a:lnTo>
                    <a:pt x="4073" y="0"/>
                  </a:lnTo>
                  <a:lnTo>
                    <a:pt x="10100" y="4561"/>
                  </a:lnTo>
                  <a:lnTo>
                    <a:pt x="12218" y="8145"/>
                  </a:lnTo>
                  <a:lnTo>
                    <a:pt x="15477" y="7331"/>
                  </a:lnTo>
                  <a:lnTo>
                    <a:pt x="15639" y="3910"/>
                  </a:lnTo>
                  <a:lnTo>
                    <a:pt x="20201" y="3095"/>
                  </a:lnTo>
                  <a:lnTo>
                    <a:pt x="23459" y="3258"/>
                  </a:lnTo>
                  <a:lnTo>
                    <a:pt x="26066" y="652"/>
                  </a:lnTo>
                  <a:lnTo>
                    <a:pt x="29975" y="2932"/>
                  </a:lnTo>
                  <a:lnTo>
                    <a:pt x="32256" y="977"/>
                  </a:lnTo>
                  <a:lnTo>
                    <a:pt x="36329" y="1792"/>
                  </a:lnTo>
                  <a:lnTo>
                    <a:pt x="38447" y="6028"/>
                  </a:lnTo>
                  <a:lnTo>
                    <a:pt x="41868" y="3747"/>
                  </a:lnTo>
                  <a:lnTo>
                    <a:pt x="47570" y="5702"/>
                  </a:lnTo>
                  <a:lnTo>
                    <a:pt x="51642" y="4073"/>
                  </a:lnTo>
                  <a:lnTo>
                    <a:pt x="52945" y="5702"/>
                  </a:lnTo>
                  <a:lnTo>
                    <a:pt x="59136" y="5050"/>
                  </a:lnTo>
                  <a:lnTo>
                    <a:pt x="64512" y="7005"/>
                  </a:lnTo>
                  <a:lnTo>
                    <a:pt x="67770" y="6516"/>
                  </a:lnTo>
                  <a:lnTo>
                    <a:pt x="72983" y="10752"/>
                  </a:lnTo>
                  <a:lnTo>
                    <a:pt x="80152" y="10915"/>
                  </a:lnTo>
                  <a:lnTo>
                    <a:pt x="82106" y="13521"/>
                  </a:lnTo>
                  <a:lnTo>
                    <a:pt x="84387" y="11892"/>
                  </a:lnTo>
                  <a:lnTo>
                    <a:pt x="87482" y="12055"/>
                  </a:lnTo>
                  <a:lnTo>
                    <a:pt x="86831" y="18572"/>
                  </a:lnTo>
                  <a:lnTo>
                    <a:pt x="81618" y="26391"/>
                  </a:lnTo>
                  <a:lnTo>
                    <a:pt x="81781" y="29812"/>
                  </a:lnTo>
                  <a:lnTo>
                    <a:pt x="89274" y="35840"/>
                  </a:lnTo>
                  <a:lnTo>
                    <a:pt x="93021" y="36003"/>
                  </a:lnTo>
                  <a:lnTo>
                    <a:pt x="95954" y="39098"/>
                  </a:lnTo>
                  <a:lnTo>
                    <a:pt x="94161" y="42030"/>
                  </a:lnTo>
                  <a:lnTo>
                    <a:pt x="89763" y="39587"/>
                  </a:lnTo>
                  <a:lnTo>
                    <a:pt x="87320" y="41216"/>
                  </a:lnTo>
                  <a:lnTo>
                    <a:pt x="87320" y="46755"/>
                  </a:lnTo>
                  <a:lnTo>
                    <a:pt x="93021" y="53434"/>
                  </a:lnTo>
                  <a:lnTo>
                    <a:pt x="90904" y="55715"/>
                  </a:lnTo>
                  <a:lnTo>
                    <a:pt x="86831" y="54412"/>
                  </a:lnTo>
                  <a:lnTo>
                    <a:pt x="81455" y="50665"/>
                  </a:lnTo>
                  <a:lnTo>
                    <a:pt x="78359" y="52945"/>
                  </a:lnTo>
                  <a:lnTo>
                    <a:pt x="78522" y="56855"/>
                  </a:lnTo>
                  <a:lnTo>
                    <a:pt x="83084" y="59788"/>
                  </a:lnTo>
                  <a:lnTo>
                    <a:pt x="84713" y="63372"/>
                  </a:lnTo>
                  <a:lnTo>
                    <a:pt x="80966" y="65489"/>
                  </a:lnTo>
                  <a:lnTo>
                    <a:pt x="77219" y="65815"/>
                  </a:lnTo>
                  <a:lnTo>
                    <a:pt x="75101" y="71028"/>
                  </a:lnTo>
                  <a:lnTo>
                    <a:pt x="74938" y="77708"/>
                  </a:lnTo>
                  <a:lnTo>
                    <a:pt x="72006" y="83246"/>
                  </a:lnTo>
                  <a:lnTo>
                    <a:pt x="69563" y="84550"/>
                  </a:lnTo>
                  <a:lnTo>
                    <a:pt x="64186" y="77219"/>
                  </a:lnTo>
                  <a:lnTo>
                    <a:pt x="61417" y="78685"/>
                  </a:lnTo>
                  <a:lnTo>
                    <a:pt x="51805" y="77056"/>
                  </a:lnTo>
                  <a:lnTo>
                    <a:pt x="48710" y="76404"/>
                  </a:lnTo>
                  <a:lnTo>
                    <a:pt x="48710" y="76241"/>
                  </a:lnTo>
                  <a:close/>
                </a:path>
              </a:pathLst>
            </a:custGeom>
            <a:solidFill>
              <a:schemeClr val="bg2"/>
            </a:solidFill>
            <a:ln w="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9" name="Forma livre: Forma 168">
              <a:extLst>
                <a:ext uri="{FF2B5EF4-FFF2-40B4-BE49-F238E27FC236}">
                  <a16:creationId xmlns:a16="http://schemas.microsoft.com/office/drawing/2014/main" id="{AF19644F-10B0-5257-170B-D8688EBE2122}"/>
                </a:ext>
              </a:extLst>
            </p:cNvPr>
            <p:cNvSpPr/>
            <p:nvPr/>
          </p:nvSpPr>
          <p:spPr>
            <a:xfrm>
              <a:off x="6309605" y="3615620"/>
              <a:ext cx="77441" cy="48989"/>
            </a:xfrm>
            <a:custGeom>
              <a:avLst/>
              <a:gdLst>
                <a:gd name="connsiteX0" fmla="*/ 2118 w 74938"/>
                <a:gd name="connsiteY0" fmla="*/ 47406 h 47406"/>
                <a:gd name="connsiteX1" fmla="*/ 11078 w 74938"/>
                <a:gd name="connsiteY1" fmla="*/ 46918 h 47406"/>
                <a:gd name="connsiteX2" fmla="*/ 17757 w 74938"/>
                <a:gd name="connsiteY2" fmla="*/ 42193 h 47406"/>
                <a:gd name="connsiteX3" fmla="*/ 22970 w 74938"/>
                <a:gd name="connsiteY3" fmla="*/ 40564 h 47406"/>
                <a:gd name="connsiteX4" fmla="*/ 32582 w 74938"/>
                <a:gd name="connsiteY4" fmla="*/ 45126 h 47406"/>
                <a:gd name="connsiteX5" fmla="*/ 37632 w 74938"/>
                <a:gd name="connsiteY5" fmla="*/ 44637 h 47406"/>
                <a:gd name="connsiteX6" fmla="*/ 39098 w 74938"/>
                <a:gd name="connsiteY6" fmla="*/ 35840 h 47406"/>
                <a:gd name="connsiteX7" fmla="*/ 47244 w 74938"/>
                <a:gd name="connsiteY7" fmla="*/ 31767 h 47406"/>
                <a:gd name="connsiteX8" fmla="*/ 48384 w 74938"/>
                <a:gd name="connsiteY8" fmla="*/ 25088 h 47406"/>
                <a:gd name="connsiteX9" fmla="*/ 63860 w 74938"/>
                <a:gd name="connsiteY9" fmla="*/ 16943 h 47406"/>
                <a:gd name="connsiteX10" fmla="*/ 74938 w 74938"/>
                <a:gd name="connsiteY10" fmla="*/ 16943 h 47406"/>
                <a:gd name="connsiteX11" fmla="*/ 73798 w 74938"/>
                <a:gd name="connsiteY11" fmla="*/ 7494 h 47406"/>
                <a:gd name="connsiteX12" fmla="*/ 67444 w 74938"/>
                <a:gd name="connsiteY12" fmla="*/ 0 h 47406"/>
                <a:gd name="connsiteX13" fmla="*/ 61254 w 74938"/>
                <a:gd name="connsiteY13" fmla="*/ 2118 h 47406"/>
                <a:gd name="connsiteX14" fmla="*/ 50013 w 74938"/>
                <a:gd name="connsiteY14" fmla="*/ 8308 h 47406"/>
                <a:gd name="connsiteX15" fmla="*/ 47407 w 74938"/>
                <a:gd name="connsiteY15" fmla="*/ 8145 h 47406"/>
                <a:gd name="connsiteX16" fmla="*/ 43660 w 74938"/>
                <a:gd name="connsiteY16" fmla="*/ 8471 h 47406"/>
                <a:gd name="connsiteX17" fmla="*/ 37795 w 74938"/>
                <a:gd name="connsiteY17" fmla="*/ 11241 h 47406"/>
                <a:gd name="connsiteX18" fmla="*/ 32256 w 74938"/>
                <a:gd name="connsiteY18" fmla="*/ 11241 h 47406"/>
                <a:gd name="connsiteX19" fmla="*/ 26228 w 74938"/>
                <a:gd name="connsiteY19" fmla="*/ 13684 h 47406"/>
                <a:gd name="connsiteX20" fmla="*/ 22807 w 74938"/>
                <a:gd name="connsiteY20" fmla="*/ 9612 h 47406"/>
                <a:gd name="connsiteX21" fmla="*/ 11403 w 74938"/>
                <a:gd name="connsiteY21" fmla="*/ 9775 h 47406"/>
                <a:gd name="connsiteX22" fmla="*/ 7331 w 74938"/>
                <a:gd name="connsiteY22" fmla="*/ 9286 h 47406"/>
                <a:gd name="connsiteX23" fmla="*/ 1466 w 74938"/>
                <a:gd name="connsiteY23" fmla="*/ 17757 h 47406"/>
                <a:gd name="connsiteX24" fmla="*/ 3421 w 74938"/>
                <a:gd name="connsiteY24" fmla="*/ 21830 h 47406"/>
                <a:gd name="connsiteX25" fmla="*/ 0 w 74938"/>
                <a:gd name="connsiteY25" fmla="*/ 27043 h 47406"/>
                <a:gd name="connsiteX26" fmla="*/ 1303 w 74938"/>
                <a:gd name="connsiteY26" fmla="*/ 35677 h 47406"/>
                <a:gd name="connsiteX27" fmla="*/ 1792 w 74938"/>
                <a:gd name="connsiteY27" fmla="*/ 35840 h 47406"/>
                <a:gd name="connsiteX28" fmla="*/ 6679 w 74938"/>
                <a:gd name="connsiteY28" fmla="*/ 38121 h 47406"/>
                <a:gd name="connsiteX29" fmla="*/ 6516 w 74938"/>
                <a:gd name="connsiteY29" fmla="*/ 41542 h 47406"/>
                <a:gd name="connsiteX30" fmla="*/ 2280 w 74938"/>
                <a:gd name="connsiteY30" fmla="*/ 42845 h 47406"/>
                <a:gd name="connsiteX31" fmla="*/ 2118 w 74938"/>
                <a:gd name="connsiteY31" fmla="*/ 47406 h 474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74938" h="47406">
                  <a:moveTo>
                    <a:pt x="2118" y="47406"/>
                  </a:moveTo>
                  <a:lnTo>
                    <a:pt x="11078" y="46918"/>
                  </a:lnTo>
                  <a:lnTo>
                    <a:pt x="17757" y="42193"/>
                  </a:lnTo>
                  <a:lnTo>
                    <a:pt x="22970" y="40564"/>
                  </a:lnTo>
                  <a:lnTo>
                    <a:pt x="32582" y="45126"/>
                  </a:lnTo>
                  <a:lnTo>
                    <a:pt x="37632" y="44637"/>
                  </a:lnTo>
                  <a:lnTo>
                    <a:pt x="39098" y="35840"/>
                  </a:lnTo>
                  <a:lnTo>
                    <a:pt x="47244" y="31767"/>
                  </a:lnTo>
                  <a:lnTo>
                    <a:pt x="48384" y="25088"/>
                  </a:lnTo>
                  <a:lnTo>
                    <a:pt x="63860" y="16943"/>
                  </a:lnTo>
                  <a:lnTo>
                    <a:pt x="74938" y="16943"/>
                  </a:lnTo>
                  <a:lnTo>
                    <a:pt x="73798" y="7494"/>
                  </a:lnTo>
                  <a:lnTo>
                    <a:pt x="67444" y="0"/>
                  </a:lnTo>
                  <a:lnTo>
                    <a:pt x="61254" y="2118"/>
                  </a:lnTo>
                  <a:lnTo>
                    <a:pt x="50013" y="8308"/>
                  </a:lnTo>
                  <a:lnTo>
                    <a:pt x="47407" y="8145"/>
                  </a:lnTo>
                  <a:lnTo>
                    <a:pt x="43660" y="8471"/>
                  </a:lnTo>
                  <a:lnTo>
                    <a:pt x="37795" y="11241"/>
                  </a:lnTo>
                  <a:lnTo>
                    <a:pt x="32256" y="11241"/>
                  </a:lnTo>
                  <a:lnTo>
                    <a:pt x="26228" y="13684"/>
                  </a:lnTo>
                  <a:lnTo>
                    <a:pt x="22807" y="9612"/>
                  </a:lnTo>
                  <a:lnTo>
                    <a:pt x="11403" y="9775"/>
                  </a:lnTo>
                  <a:lnTo>
                    <a:pt x="7331" y="9286"/>
                  </a:lnTo>
                  <a:lnTo>
                    <a:pt x="1466" y="17757"/>
                  </a:lnTo>
                  <a:lnTo>
                    <a:pt x="3421" y="21830"/>
                  </a:lnTo>
                  <a:lnTo>
                    <a:pt x="0" y="27043"/>
                  </a:lnTo>
                  <a:lnTo>
                    <a:pt x="1303" y="35677"/>
                  </a:lnTo>
                  <a:lnTo>
                    <a:pt x="1792" y="35840"/>
                  </a:lnTo>
                  <a:lnTo>
                    <a:pt x="6679" y="38121"/>
                  </a:lnTo>
                  <a:lnTo>
                    <a:pt x="6516" y="41542"/>
                  </a:lnTo>
                  <a:lnTo>
                    <a:pt x="2280" y="42845"/>
                  </a:lnTo>
                  <a:lnTo>
                    <a:pt x="2118" y="47406"/>
                  </a:lnTo>
                  <a:close/>
                </a:path>
              </a:pathLst>
            </a:custGeom>
            <a:solidFill>
              <a:schemeClr val="bg2"/>
            </a:solidFill>
            <a:ln w="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0" name="Forma livre: Forma 169">
              <a:extLst>
                <a:ext uri="{FF2B5EF4-FFF2-40B4-BE49-F238E27FC236}">
                  <a16:creationId xmlns:a16="http://schemas.microsoft.com/office/drawing/2014/main" id="{73F1F6D2-7677-C18F-6782-DC3664176128}"/>
                </a:ext>
              </a:extLst>
            </p:cNvPr>
            <p:cNvSpPr/>
            <p:nvPr/>
          </p:nvSpPr>
          <p:spPr>
            <a:xfrm>
              <a:off x="6209436" y="3541040"/>
              <a:ext cx="183839" cy="88721"/>
            </a:xfrm>
            <a:custGeom>
              <a:avLst/>
              <a:gdLst>
                <a:gd name="connsiteX0" fmla="*/ 104262 w 177897"/>
                <a:gd name="connsiteY0" fmla="*/ 81455 h 85853"/>
                <a:gd name="connsiteX1" fmla="*/ 108334 w 177897"/>
                <a:gd name="connsiteY1" fmla="*/ 81943 h 85853"/>
                <a:gd name="connsiteX2" fmla="*/ 119738 w 177897"/>
                <a:gd name="connsiteY2" fmla="*/ 81780 h 85853"/>
                <a:gd name="connsiteX3" fmla="*/ 123159 w 177897"/>
                <a:gd name="connsiteY3" fmla="*/ 85853 h 85853"/>
                <a:gd name="connsiteX4" fmla="*/ 129187 w 177897"/>
                <a:gd name="connsiteY4" fmla="*/ 83410 h 85853"/>
                <a:gd name="connsiteX5" fmla="*/ 134726 w 177897"/>
                <a:gd name="connsiteY5" fmla="*/ 83410 h 85853"/>
                <a:gd name="connsiteX6" fmla="*/ 140591 w 177897"/>
                <a:gd name="connsiteY6" fmla="*/ 80640 h 85853"/>
                <a:gd name="connsiteX7" fmla="*/ 144338 w 177897"/>
                <a:gd name="connsiteY7" fmla="*/ 80314 h 85853"/>
                <a:gd name="connsiteX8" fmla="*/ 146944 w 177897"/>
                <a:gd name="connsiteY8" fmla="*/ 80477 h 85853"/>
                <a:gd name="connsiteX9" fmla="*/ 158185 w 177897"/>
                <a:gd name="connsiteY9" fmla="*/ 74287 h 85853"/>
                <a:gd name="connsiteX10" fmla="*/ 165516 w 177897"/>
                <a:gd name="connsiteY10" fmla="*/ 71843 h 85853"/>
                <a:gd name="connsiteX11" fmla="*/ 169425 w 177897"/>
                <a:gd name="connsiteY11" fmla="*/ 66793 h 85853"/>
                <a:gd name="connsiteX12" fmla="*/ 166656 w 177897"/>
                <a:gd name="connsiteY12" fmla="*/ 62068 h 85853"/>
                <a:gd name="connsiteX13" fmla="*/ 167308 w 177897"/>
                <a:gd name="connsiteY13" fmla="*/ 57181 h 85853"/>
                <a:gd name="connsiteX14" fmla="*/ 169425 w 177897"/>
                <a:gd name="connsiteY14" fmla="*/ 51316 h 85853"/>
                <a:gd name="connsiteX15" fmla="*/ 164864 w 177897"/>
                <a:gd name="connsiteY15" fmla="*/ 45940 h 85853"/>
                <a:gd name="connsiteX16" fmla="*/ 166004 w 177897"/>
                <a:gd name="connsiteY16" fmla="*/ 43823 h 85853"/>
                <a:gd name="connsiteX17" fmla="*/ 177082 w 177897"/>
                <a:gd name="connsiteY17" fmla="*/ 43985 h 85853"/>
                <a:gd name="connsiteX18" fmla="*/ 177897 w 177897"/>
                <a:gd name="connsiteY18" fmla="*/ 38772 h 85853"/>
                <a:gd name="connsiteX19" fmla="*/ 177245 w 177897"/>
                <a:gd name="connsiteY19" fmla="*/ 33722 h 85853"/>
                <a:gd name="connsiteX20" fmla="*/ 175290 w 177897"/>
                <a:gd name="connsiteY20" fmla="*/ 19386 h 85853"/>
                <a:gd name="connsiteX21" fmla="*/ 175779 w 177897"/>
                <a:gd name="connsiteY21" fmla="*/ 11241 h 85853"/>
                <a:gd name="connsiteX22" fmla="*/ 165841 w 177897"/>
                <a:gd name="connsiteY22" fmla="*/ 8960 h 85853"/>
                <a:gd name="connsiteX23" fmla="*/ 161443 w 177897"/>
                <a:gd name="connsiteY23" fmla="*/ 5702 h 85853"/>
                <a:gd name="connsiteX24" fmla="*/ 154601 w 177897"/>
                <a:gd name="connsiteY24" fmla="*/ 7168 h 85853"/>
                <a:gd name="connsiteX25" fmla="*/ 147433 w 177897"/>
                <a:gd name="connsiteY25" fmla="*/ 6842 h 85853"/>
                <a:gd name="connsiteX26" fmla="*/ 141079 w 177897"/>
                <a:gd name="connsiteY26" fmla="*/ 2281 h 85853"/>
                <a:gd name="connsiteX27" fmla="*/ 131793 w 177897"/>
                <a:gd name="connsiteY27" fmla="*/ 1955 h 85853"/>
                <a:gd name="connsiteX28" fmla="*/ 126581 w 177897"/>
                <a:gd name="connsiteY28" fmla="*/ 0 h 85853"/>
                <a:gd name="connsiteX29" fmla="*/ 124463 w 177897"/>
                <a:gd name="connsiteY29" fmla="*/ 4724 h 85853"/>
                <a:gd name="connsiteX30" fmla="*/ 122019 w 177897"/>
                <a:gd name="connsiteY30" fmla="*/ 7168 h 85853"/>
                <a:gd name="connsiteX31" fmla="*/ 121530 w 177897"/>
                <a:gd name="connsiteY31" fmla="*/ 11078 h 85853"/>
                <a:gd name="connsiteX32" fmla="*/ 114525 w 177897"/>
                <a:gd name="connsiteY32" fmla="*/ 11404 h 85853"/>
                <a:gd name="connsiteX33" fmla="*/ 112245 w 177897"/>
                <a:gd name="connsiteY33" fmla="*/ 14173 h 85853"/>
                <a:gd name="connsiteX34" fmla="*/ 99375 w 177897"/>
                <a:gd name="connsiteY34" fmla="*/ 6842 h 85853"/>
                <a:gd name="connsiteX35" fmla="*/ 95628 w 177897"/>
                <a:gd name="connsiteY35" fmla="*/ 6353 h 85853"/>
                <a:gd name="connsiteX36" fmla="*/ 94813 w 177897"/>
                <a:gd name="connsiteY36" fmla="*/ 11078 h 85853"/>
                <a:gd name="connsiteX37" fmla="*/ 95139 w 177897"/>
                <a:gd name="connsiteY37" fmla="*/ 16128 h 85853"/>
                <a:gd name="connsiteX38" fmla="*/ 91066 w 177897"/>
                <a:gd name="connsiteY38" fmla="*/ 16128 h 85853"/>
                <a:gd name="connsiteX39" fmla="*/ 88134 w 177897"/>
                <a:gd name="connsiteY39" fmla="*/ 21178 h 85853"/>
                <a:gd name="connsiteX40" fmla="*/ 82106 w 177897"/>
                <a:gd name="connsiteY40" fmla="*/ 24110 h 85853"/>
                <a:gd name="connsiteX41" fmla="*/ 75264 w 177897"/>
                <a:gd name="connsiteY41" fmla="*/ 32745 h 85853"/>
                <a:gd name="connsiteX42" fmla="*/ 75264 w 177897"/>
                <a:gd name="connsiteY42" fmla="*/ 36003 h 85853"/>
                <a:gd name="connsiteX43" fmla="*/ 81618 w 177897"/>
                <a:gd name="connsiteY43" fmla="*/ 39261 h 85853"/>
                <a:gd name="connsiteX44" fmla="*/ 82269 w 177897"/>
                <a:gd name="connsiteY44" fmla="*/ 43985 h 85853"/>
                <a:gd name="connsiteX45" fmla="*/ 79825 w 177897"/>
                <a:gd name="connsiteY45" fmla="*/ 45777 h 85853"/>
                <a:gd name="connsiteX46" fmla="*/ 74124 w 177897"/>
                <a:gd name="connsiteY46" fmla="*/ 42519 h 85853"/>
                <a:gd name="connsiteX47" fmla="*/ 68259 w 177897"/>
                <a:gd name="connsiteY47" fmla="*/ 44148 h 85853"/>
                <a:gd name="connsiteX48" fmla="*/ 62394 w 177897"/>
                <a:gd name="connsiteY48" fmla="*/ 42519 h 85853"/>
                <a:gd name="connsiteX49" fmla="*/ 58322 w 177897"/>
                <a:gd name="connsiteY49" fmla="*/ 43008 h 85853"/>
                <a:gd name="connsiteX50" fmla="*/ 50339 w 177897"/>
                <a:gd name="connsiteY50" fmla="*/ 48384 h 85853"/>
                <a:gd name="connsiteX51" fmla="*/ 45777 w 177897"/>
                <a:gd name="connsiteY51" fmla="*/ 49361 h 85853"/>
                <a:gd name="connsiteX52" fmla="*/ 41868 w 177897"/>
                <a:gd name="connsiteY52" fmla="*/ 48058 h 85853"/>
                <a:gd name="connsiteX53" fmla="*/ 37306 w 177897"/>
                <a:gd name="connsiteY53" fmla="*/ 49199 h 85853"/>
                <a:gd name="connsiteX54" fmla="*/ 33722 w 177897"/>
                <a:gd name="connsiteY54" fmla="*/ 46755 h 85853"/>
                <a:gd name="connsiteX55" fmla="*/ 26717 w 177897"/>
                <a:gd name="connsiteY55" fmla="*/ 45615 h 85853"/>
                <a:gd name="connsiteX56" fmla="*/ 19875 w 177897"/>
                <a:gd name="connsiteY56" fmla="*/ 46592 h 85853"/>
                <a:gd name="connsiteX57" fmla="*/ 20364 w 177897"/>
                <a:gd name="connsiteY57" fmla="*/ 50013 h 85853"/>
                <a:gd name="connsiteX58" fmla="*/ 18734 w 177897"/>
                <a:gd name="connsiteY58" fmla="*/ 52131 h 85853"/>
                <a:gd name="connsiteX59" fmla="*/ 12381 w 177897"/>
                <a:gd name="connsiteY59" fmla="*/ 50502 h 85853"/>
                <a:gd name="connsiteX60" fmla="*/ 8797 w 177897"/>
                <a:gd name="connsiteY60" fmla="*/ 46592 h 85853"/>
                <a:gd name="connsiteX61" fmla="*/ 4236 w 177897"/>
                <a:gd name="connsiteY61" fmla="*/ 48221 h 85853"/>
                <a:gd name="connsiteX62" fmla="*/ 1304 w 177897"/>
                <a:gd name="connsiteY62" fmla="*/ 49687 h 85853"/>
                <a:gd name="connsiteX63" fmla="*/ 0 w 177897"/>
                <a:gd name="connsiteY63" fmla="*/ 49687 h 85853"/>
                <a:gd name="connsiteX64" fmla="*/ 3095 w 177897"/>
                <a:gd name="connsiteY64" fmla="*/ 51968 h 85853"/>
                <a:gd name="connsiteX65" fmla="*/ 2770 w 177897"/>
                <a:gd name="connsiteY65" fmla="*/ 55552 h 85853"/>
                <a:gd name="connsiteX66" fmla="*/ 5702 w 177897"/>
                <a:gd name="connsiteY66" fmla="*/ 57833 h 85853"/>
                <a:gd name="connsiteX67" fmla="*/ 5539 w 177897"/>
                <a:gd name="connsiteY67" fmla="*/ 62557 h 85853"/>
                <a:gd name="connsiteX68" fmla="*/ 9612 w 177897"/>
                <a:gd name="connsiteY68" fmla="*/ 62720 h 85853"/>
                <a:gd name="connsiteX69" fmla="*/ 12707 w 177897"/>
                <a:gd name="connsiteY69" fmla="*/ 61417 h 85853"/>
                <a:gd name="connsiteX70" fmla="*/ 18083 w 177897"/>
                <a:gd name="connsiteY70" fmla="*/ 66630 h 85853"/>
                <a:gd name="connsiteX71" fmla="*/ 22482 w 177897"/>
                <a:gd name="connsiteY71" fmla="*/ 62557 h 85853"/>
                <a:gd name="connsiteX72" fmla="*/ 26554 w 177897"/>
                <a:gd name="connsiteY72" fmla="*/ 62557 h 85853"/>
                <a:gd name="connsiteX73" fmla="*/ 28509 w 177897"/>
                <a:gd name="connsiteY73" fmla="*/ 66793 h 85853"/>
                <a:gd name="connsiteX74" fmla="*/ 28672 w 177897"/>
                <a:gd name="connsiteY74" fmla="*/ 66630 h 85853"/>
                <a:gd name="connsiteX75" fmla="*/ 37143 w 177897"/>
                <a:gd name="connsiteY75" fmla="*/ 70377 h 85853"/>
                <a:gd name="connsiteX76" fmla="*/ 50502 w 177897"/>
                <a:gd name="connsiteY76" fmla="*/ 62557 h 85853"/>
                <a:gd name="connsiteX77" fmla="*/ 56041 w 177897"/>
                <a:gd name="connsiteY77" fmla="*/ 64023 h 85853"/>
                <a:gd name="connsiteX78" fmla="*/ 64838 w 177897"/>
                <a:gd name="connsiteY78" fmla="*/ 63372 h 85853"/>
                <a:gd name="connsiteX79" fmla="*/ 64186 w 177897"/>
                <a:gd name="connsiteY79" fmla="*/ 68585 h 85853"/>
                <a:gd name="connsiteX80" fmla="*/ 76730 w 177897"/>
                <a:gd name="connsiteY80" fmla="*/ 75916 h 85853"/>
                <a:gd name="connsiteX81" fmla="*/ 92207 w 177897"/>
                <a:gd name="connsiteY81" fmla="*/ 78848 h 85853"/>
                <a:gd name="connsiteX82" fmla="*/ 100678 w 177897"/>
                <a:gd name="connsiteY82" fmla="*/ 78196 h 85853"/>
                <a:gd name="connsiteX83" fmla="*/ 104262 w 177897"/>
                <a:gd name="connsiteY83" fmla="*/ 81455 h 85853"/>
                <a:gd name="connsiteX84" fmla="*/ 104262 w 177897"/>
                <a:gd name="connsiteY84" fmla="*/ 81455 h 858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</a:cxnLst>
              <a:rect l="l" t="t" r="r" b="b"/>
              <a:pathLst>
                <a:path w="177897" h="85853">
                  <a:moveTo>
                    <a:pt x="104262" y="81455"/>
                  </a:moveTo>
                  <a:lnTo>
                    <a:pt x="108334" y="81943"/>
                  </a:lnTo>
                  <a:lnTo>
                    <a:pt x="119738" y="81780"/>
                  </a:lnTo>
                  <a:lnTo>
                    <a:pt x="123159" y="85853"/>
                  </a:lnTo>
                  <a:lnTo>
                    <a:pt x="129187" y="83410"/>
                  </a:lnTo>
                  <a:lnTo>
                    <a:pt x="134726" y="83410"/>
                  </a:lnTo>
                  <a:lnTo>
                    <a:pt x="140591" y="80640"/>
                  </a:lnTo>
                  <a:lnTo>
                    <a:pt x="144338" y="80314"/>
                  </a:lnTo>
                  <a:lnTo>
                    <a:pt x="146944" y="80477"/>
                  </a:lnTo>
                  <a:lnTo>
                    <a:pt x="158185" y="74287"/>
                  </a:lnTo>
                  <a:lnTo>
                    <a:pt x="165516" y="71843"/>
                  </a:lnTo>
                  <a:lnTo>
                    <a:pt x="169425" y="66793"/>
                  </a:lnTo>
                  <a:lnTo>
                    <a:pt x="166656" y="62068"/>
                  </a:lnTo>
                  <a:lnTo>
                    <a:pt x="167308" y="57181"/>
                  </a:lnTo>
                  <a:lnTo>
                    <a:pt x="169425" y="51316"/>
                  </a:lnTo>
                  <a:lnTo>
                    <a:pt x="164864" y="45940"/>
                  </a:lnTo>
                  <a:lnTo>
                    <a:pt x="166004" y="43823"/>
                  </a:lnTo>
                  <a:lnTo>
                    <a:pt x="177082" y="43985"/>
                  </a:lnTo>
                  <a:lnTo>
                    <a:pt x="177897" y="38772"/>
                  </a:lnTo>
                  <a:lnTo>
                    <a:pt x="177245" y="33722"/>
                  </a:lnTo>
                  <a:lnTo>
                    <a:pt x="175290" y="19386"/>
                  </a:lnTo>
                  <a:lnTo>
                    <a:pt x="175779" y="11241"/>
                  </a:lnTo>
                  <a:lnTo>
                    <a:pt x="165841" y="8960"/>
                  </a:lnTo>
                  <a:lnTo>
                    <a:pt x="161443" y="5702"/>
                  </a:lnTo>
                  <a:lnTo>
                    <a:pt x="154601" y="7168"/>
                  </a:lnTo>
                  <a:lnTo>
                    <a:pt x="147433" y="6842"/>
                  </a:lnTo>
                  <a:lnTo>
                    <a:pt x="141079" y="2281"/>
                  </a:lnTo>
                  <a:lnTo>
                    <a:pt x="131793" y="1955"/>
                  </a:lnTo>
                  <a:lnTo>
                    <a:pt x="126581" y="0"/>
                  </a:lnTo>
                  <a:lnTo>
                    <a:pt x="124463" y="4724"/>
                  </a:lnTo>
                  <a:lnTo>
                    <a:pt x="122019" y="7168"/>
                  </a:lnTo>
                  <a:lnTo>
                    <a:pt x="121530" y="11078"/>
                  </a:lnTo>
                  <a:lnTo>
                    <a:pt x="114525" y="11404"/>
                  </a:lnTo>
                  <a:lnTo>
                    <a:pt x="112245" y="14173"/>
                  </a:lnTo>
                  <a:lnTo>
                    <a:pt x="99375" y="6842"/>
                  </a:lnTo>
                  <a:lnTo>
                    <a:pt x="95628" y="6353"/>
                  </a:lnTo>
                  <a:lnTo>
                    <a:pt x="94813" y="11078"/>
                  </a:lnTo>
                  <a:lnTo>
                    <a:pt x="95139" y="16128"/>
                  </a:lnTo>
                  <a:lnTo>
                    <a:pt x="91066" y="16128"/>
                  </a:lnTo>
                  <a:lnTo>
                    <a:pt x="88134" y="21178"/>
                  </a:lnTo>
                  <a:lnTo>
                    <a:pt x="82106" y="24110"/>
                  </a:lnTo>
                  <a:lnTo>
                    <a:pt x="75264" y="32745"/>
                  </a:lnTo>
                  <a:lnTo>
                    <a:pt x="75264" y="36003"/>
                  </a:lnTo>
                  <a:lnTo>
                    <a:pt x="81618" y="39261"/>
                  </a:lnTo>
                  <a:lnTo>
                    <a:pt x="82269" y="43985"/>
                  </a:lnTo>
                  <a:lnTo>
                    <a:pt x="79825" y="45777"/>
                  </a:lnTo>
                  <a:lnTo>
                    <a:pt x="74124" y="42519"/>
                  </a:lnTo>
                  <a:lnTo>
                    <a:pt x="68259" y="44148"/>
                  </a:lnTo>
                  <a:lnTo>
                    <a:pt x="62394" y="42519"/>
                  </a:lnTo>
                  <a:lnTo>
                    <a:pt x="58322" y="43008"/>
                  </a:lnTo>
                  <a:lnTo>
                    <a:pt x="50339" y="48384"/>
                  </a:lnTo>
                  <a:lnTo>
                    <a:pt x="45777" y="49361"/>
                  </a:lnTo>
                  <a:lnTo>
                    <a:pt x="41868" y="48058"/>
                  </a:lnTo>
                  <a:lnTo>
                    <a:pt x="37306" y="49199"/>
                  </a:lnTo>
                  <a:lnTo>
                    <a:pt x="33722" y="46755"/>
                  </a:lnTo>
                  <a:lnTo>
                    <a:pt x="26717" y="45615"/>
                  </a:lnTo>
                  <a:lnTo>
                    <a:pt x="19875" y="46592"/>
                  </a:lnTo>
                  <a:lnTo>
                    <a:pt x="20364" y="50013"/>
                  </a:lnTo>
                  <a:lnTo>
                    <a:pt x="18734" y="52131"/>
                  </a:lnTo>
                  <a:lnTo>
                    <a:pt x="12381" y="50502"/>
                  </a:lnTo>
                  <a:lnTo>
                    <a:pt x="8797" y="46592"/>
                  </a:lnTo>
                  <a:lnTo>
                    <a:pt x="4236" y="48221"/>
                  </a:lnTo>
                  <a:lnTo>
                    <a:pt x="1304" y="49687"/>
                  </a:lnTo>
                  <a:lnTo>
                    <a:pt x="0" y="49687"/>
                  </a:lnTo>
                  <a:lnTo>
                    <a:pt x="3095" y="51968"/>
                  </a:lnTo>
                  <a:lnTo>
                    <a:pt x="2770" y="55552"/>
                  </a:lnTo>
                  <a:lnTo>
                    <a:pt x="5702" y="57833"/>
                  </a:lnTo>
                  <a:lnTo>
                    <a:pt x="5539" y="62557"/>
                  </a:lnTo>
                  <a:lnTo>
                    <a:pt x="9612" y="62720"/>
                  </a:lnTo>
                  <a:lnTo>
                    <a:pt x="12707" y="61417"/>
                  </a:lnTo>
                  <a:lnTo>
                    <a:pt x="18083" y="66630"/>
                  </a:lnTo>
                  <a:lnTo>
                    <a:pt x="22482" y="62557"/>
                  </a:lnTo>
                  <a:lnTo>
                    <a:pt x="26554" y="62557"/>
                  </a:lnTo>
                  <a:lnTo>
                    <a:pt x="28509" y="66793"/>
                  </a:lnTo>
                  <a:lnTo>
                    <a:pt x="28672" y="66630"/>
                  </a:lnTo>
                  <a:lnTo>
                    <a:pt x="37143" y="70377"/>
                  </a:lnTo>
                  <a:lnTo>
                    <a:pt x="50502" y="62557"/>
                  </a:lnTo>
                  <a:lnTo>
                    <a:pt x="56041" y="64023"/>
                  </a:lnTo>
                  <a:lnTo>
                    <a:pt x="64838" y="63372"/>
                  </a:lnTo>
                  <a:lnTo>
                    <a:pt x="64186" y="68585"/>
                  </a:lnTo>
                  <a:lnTo>
                    <a:pt x="76730" y="75916"/>
                  </a:lnTo>
                  <a:lnTo>
                    <a:pt x="92207" y="78848"/>
                  </a:lnTo>
                  <a:lnTo>
                    <a:pt x="100678" y="78196"/>
                  </a:lnTo>
                  <a:lnTo>
                    <a:pt x="104262" y="81455"/>
                  </a:lnTo>
                  <a:lnTo>
                    <a:pt x="104262" y="81455"/>
                  </a:lnTo>
                  <a:close/>
                </a:path>
              </a:pathLst>
            </a:custGeom>
            <a:solidFill>
              <a:schemeClr val="bg2"/>
            </a:solidFill>
            <a:ln w="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1" name="Forma livre: Forma 170">
              <a:extLst>
                <a:ext uri="{FF2B5EF4-FFF2-40B4-BE49-F238E27FC236}">
                  <a16:creationId xmlns:a16="http://schemas.microsoft.com/office/drawing/2014/main" id="{26DBE814-DDCF-D2B2-B0FC-467EAEEE11E2}"/>
                </a:ext>
              </a:extLst>
            </p:cNvPr>
            <p:cNvSpPr/>
            <p:nvPr/>
          </p:nvSpPr>
          <p:spPr>
            <a:xfrm>
              <a:off x="6313140" y="3329255"/>
              <a:ext cx="242929" cy="205219"/>
            </a:xfrm>
            <a:custGeom>
              <a:avLst/>
              <a:gdLst>
                <a:gd name="connsiteX0" fmla="*/ 141079 w 235077"/>
                <a:gd name="connsiteY0" fmla="*/ 197609 h 198586"/>
                <a:gd name="connsiteX1" fmla="*/ 142546 w 235077"/>
                <a:gd name="connsiteY1" fmla="*/ 198423 h 198586"/>
                <a:gd name="connsiteX2" fmla="*/ 147270 w 235077"/>
                <a:gd name="connsiteY2" fmla="*/ 198260 h 198586"/>
                <a:gd name="connsiteX3" fmla="*/ 150365 w 235077"/>
                <a:gd name="connsiteY3" fmla="*/ 193536 h 198586"/>
                <a:gd name="connsiteX4" fmla="*/ 154438 w 235077"/>
                <a:gd name="connsiteY4" fmla="*/ 192233 h 198586"/>
                <a:gd name="connsiteX5" fmla="*/ 158348 w 235077"/>
                <a:gd name="connsiteY5" fmla="*/ 192722 h 198586"/>
                <a:gd name="connsiteX6" fmla="*/ 164538 w 235077"/>
                <a:gd name="connsiteY6" fmla="*/ 192722 h 198586"/>
                <a:gd name="connsiteX7" fmla="*/ 168122 w 235077"/>
                <a:gd name="connsiteY7" fmla="*/ 195165 h 198586"/>
                <a:gd name="connsiteX8" fmla="*/ 171380 w 235077"/>
                <a:gd name="connsiteY8" fmla="*/ 191744 h 198586"/>
                <a:gd name="connsiteX9" fmla="*/ 175453 w 235077"/>
                <a:gd name="connsiteY9" fmla="*/ 191255 h 198586"/>
                <a:gd name="connsiteX10" fmla="*/ 179363 w 235077"/>
                <a:gd name="connsiteY10" fmla="*/ 193047 h 198586"/>
                <a:gd name="connsiteX11" fmla="*/ 182621 w 235077"/>
                <a:gd name="connsiteY11" fmla="*/ 191581 h 198586"/>
                <a:gd name="connsiteX12" fmla="*/ 192233 w 235077"/>
                <a:gd name="connsiteY12" fmla="*/ 192070 h 198586"/>
                <a:gd name="connsiteX13" fmla="*/ 202985 w 235077"/>
                <a:gd name="connsiteY13" fmla="*/ 198260 h 198586"/>
                <a:gd name="connsiteX14" fmla="*/ 208361 w 235077"/>
                <a:gd name="connsiteY14" fmla="*/ 198586 h 198586"/>
                <a:gd name="connsiteX15" fmla="*/ 208850 w 235077"/>
                <a:gd name="connsiteY15" fmla="*/ 190930 h 198586"/>
                <a:gd name="connsiteX16" fmla="*/ 207709 w 235077"/>
                <a:gd name="connsiteY16" fmla="*/ 183924 h 198586"/>
                <a:gd name="connsiteX17" fmla="*/ 223348 w 235077"/>
                <a:gd name="connsiteY17" fmla="*/ 166330 h 198586"/>
                <a:gd name="connsiteX18" fmla="*/ 225629 w 235077"/>
                <a:gd name="connsiteY18" fmla="*/ 158673 h 198586"/>
                <a:gd name="connsiteX19" fmla="*/ 229376 w 235077"/>
                <a:gd name="connsiteY19" fmla="*/ 154601 h 198586"/>
                <a:gd name="connsiteX20" fmla="*/ 233612 w 235077"/>
                <a:gd name="connsiteY20" fmla="*/ 154438 h 198586"/>
                <a:gd name="connsiteX21" fmla="*/ 235078 w 235077"/>
                <a:gd name="connsiteY21" fmla="*/ 146781 h 198586"/>
                <a:gd name="connsiteX22" fmla="*/ 233286 w 235077"/>
                <a:gd name="connsiteY22" fmla="*/ 143686 h 198586"/>
                <a:gd name="connsiteX23" fmla="*/ 232471 w 235077"/>
                <a:gd name="connsiteY23" fmla="*/ 139613 h 198586"/>
                <a:gd name="connsiteX24" fmla="*/ 234752 w 235077"/>
                <a:gd name="connsiteY24" fmla="*/ 136844 h 198586"/>
                <a:gd name="connsiteX25" fmla="*/ 228562 w 235077"/>
                <a:gd name="connsiteY25" fmla="*/ 132934 h 198586"/>
                <a:gd name="connsiteX26" fmla="*/ 225629 w 235077"/>
                <a:gd name="connsiteY26" fmla="*/ 125440 h 198586"/>
                <a:gd name="connsiteX27" fmla="*/ 222371 w 235077"/>
                <a:gd name="connsiteY27" fmla="*/ 122182 h 198586"/>
                <a:gd name="connsiteX28" fmla="*/ 222045 w 235077"/>
                <a:gd name="connsiteY28" fmla="*/ 110290 h 198586"/>
                <a:gd name="connsiteX29" fmla="*/ 222697 w 235077"/>
                <a:gd name="connsiteY29" fmla="*/ 103610 h 198586"/>
                <a:gd name="connsiteX30" fmla="*/ 217484 w 235077"/>
                <a:gd name="connsiteY30" fmla="*/ 95302 h 198586"/>
                <a:gd name="connsiteX31" fmla="*/ 215366 w 235077"/>
                <a:gd name="connsiteY31" fmla="*/ 87645 h 198586"/>
                <a:gd name="connsiteX32" fmla="*/ 219276 w 235077"/>
                <a:gd name="connsiteY32" fmla="*/ 81455 h 198586"/>
                <a:gd name="connsiteX33" fmla="*/ 224489 w 235077"/>
                <a:gd name="connsiteY33" fmla="*/ 79663 h 198586"/>
                <a:gd name="connsiteX34" fmla="*/ 224326 w 235077"/>
                <a:gd name="connsiteY34" fmla="*/ 63535 h 198586"/>
                <a:gd name="connsiteX35" fmla="*/ 221393 w 235077"/>
                <a:gd name="connsiteY35" fmla="*/ 60928 h 198586"/>
                <a:gd name="connsiteX36" fmla="*/ 220253 w 235077"/>
                <a:gd name="connsiteY36" fmla="*/ 54737 h 198586"/>
                <a:gd name="connsiteX37" fmla="*/ 216669 w 235077"/>
                <a:gd name="connsiteY37" fmla="*/ 49361 h 198586"/>
                <a:gd name="connsiteX38" fmla="*/ 212922 w 235077"/>
                <a:gd name="connsiteY38" fmla="*/ 37632 h 198586"/>
                <a:gd name="connsiteX39" fmla="*/ 208361 w 235077"/>
                <a:gd name="connsiteY39" fmla="*/ 30464 h 198586"/>
                <a:gd name="connsiteX40" fmla="*/ 208850 w 235077"/>
                <a:gd name="connsiteY40" fmla="*/ 24273 h 198586"/>
                <a:gd name="connsiteX41" fmla="*/ 206080 w 235077"/>
                <a:gd name="connsiteY41" fmla="*/ 14988 h 198586"/>
                <a:gd name="connsiteX42" fmla="*/ 202496 w 235077"/>
                <a:gd name="connsiteY42" fmla="*/ 14499 h 198586"/>
                <a:gd name="connsiteX43" fmla="*/ 196795 w 235077"/>
                <a:gd name="connsiteY43" fmla="*/ 9937 h 198586"/>
                <a:gd name="connsiteX44" fmla="*/ 163072 w 235077"/>
                <a:gd name="connsiteY44" fmla="*/ 13196 h 198586"/>
                <a:gd name="connsiteX45" fmla="*/ 130653 w 235077"/>
                <a:gd name="connsiteY45" fmla="*/ 11404 h 198586"/>
                <a:gd name="connsiteX46" fmla="*/ 127721 w 235077"/>
                <a:gd name="connsiteY46" fmla="*/ 12544 h 198586"/>
                <a:gd name="connsiteX47" fmla="*/ 118923 w 235077"/>
                <a:gd name="connsiteY47" fmla="*/ 20364 h 198586"/>
                <a:gd name="connsiteX48" fmla="*/ 111593 w 235077"/>
                <a:gd name="connsiteY48" fmla="*/ 21993 h 198586"/>
                <a:gd name="connsiteX49" fmla="*/ 109638 w 235077"/>
                <a:gd name="connsiteY49" fmla="*/ 20364 h 198586"/>
                <a:gd name="connsiteX50" fmla="*/ 117132 w 235077"/>
                <a:gd name="connsiteY50" fmla="*/ 16291 h 198586"/>
                <a:gd name="connsiteX51" fmla="*/ 123811 w 235077"/>
                <a:gd name="connsiteY51" fmla="*/ 9286 h 198586"/>
                <a:gd name="connsiteX52" fmla="*/ 121530 w 235077"/>
                <a:gd name="connsiteY52" fmla="*/ 9449 h 198586"/>
                <a:gd name="connsiteX53" fmla="*/ 116154 w 235077"/>
                <a:gd name="connsiteY53" fmla="*/ 14825 h 198586"/>
                <a:gd name="connsiteX54" fmla="*/ 106543 w 235077"/>
                <a:gd name="connsiteY54" fmla="*/ 19386 h 198586"/>
                <a:gd name="connsiteX55" fmla="*/ 95628 w 235077"/>
                <a:gd name="connsiteY55" fmla="*/ 16291 h 198586"/>
                <a:gd name="connsiteX56" fmla="*/ 93184 w 235077"/>
                <a:gd name="connsiteY56" fmla="*/ 10263 h 198586"/>
                <a:gd name="connsiteX57" fmla="*/ 94976 w 235077"/>
                <a:gd name="connsiteY57" fmla="*/ 6028 h 198586"/>
                <a:gd name="connsiteX58" fmla="*/ 100841 w 235077"/>
                <a:gd name="connsiteY58" fmla="*/ 6842 h 198586"/>
                <a:gd name="connsiteX59" fmla="*/ 103447 w 235077"/>
                <a:gd name="connsiteY59" fmla="*/ 8471 h 198586"/>
                <a:gd name="connsiteX60" fmla="*/ 103610 w 235077"/>
                <a:gd name="connsiteY60" fmla="*/ 6842 h 198586"/>
                <a:gd name="connsiteX61" fmla="*/ 96605 w 235077"/>
                <a:gd name="connsiteY61" fmla="*/ 3258 h 198586"/>
                <a:gd name="connsiteX62" fmla="*/ 83572 w 235077"/>
                <a:gd name="connsiteY62" fmla="*/ 0 h 198586"/>
                <a:gd name="connsiteX63" fmla="*/ 73472 w 235077"/>
                <a:gd name="connsiteY63" fmla="*/ 5213 h 198586"/>
                <a:gd name="connsiteX64" fmla="*/ 66141 w 235077"/>
                <a:gd name="connsiteY64" fmla="*/ 4561 h 198586"/>
                <a:gd name="connsiteX65" fmla="*/ 58647 w 235077"/>
                <a:gd name="connsiteY65" fmla="*/ 7494 h 198586"/>
                <a:gd name="connsiteX66" fmla="*/ 53923 w 235077"/>
                <a:gd name="connsiteY66" fmla="*/ 13847 h 198586"/>
                <a:gd name="connsiteX67" fmla="*/ 46592 w 235077"/>
                <a:gd name="connsiteY67" fmla="*/ 14173 h 198586"/>
                <a:gd name="connsiteX68" fmla="*/ 42031 w 235077"/>
                <a:gd name="connsiteY68" fmla="*/ 19386 h 198586"/>
                <a:gd name="connsiteX69" fmla="*/ 42031 w 235077"/>
                <a:gd name="connsiteY69" fmla="*/ 23459 h 198586"/>
                <a:gd name="connsiteX70" fmla="*/ 34048 w 235077"/>
                <a:gd name="connsiteY70" fmla="*/ 23622 h 198586"/>
                <a:gd name="connsiteX71" fmla="*/ 22156 w 235077"/>
                <a:gd name="connsiteY71" fmla="*/ 30138 h 198586"/>
                <a:gd name="connsiteX72" fmla="*/ 14010 w 235077"/>
                <a:gd name="connsiteY72" fmla="*/ 30790 h 198586"/>
                <a:gd name="connsiteX73" fmla="*/ 11078 w 235077"/>
                <a:gd name="connsiteY73" fmla="*/ 36980 h 198586"/>
                <a:gd name="connsiteX74" fmla="*/ 9123 w 235077"/>
                <a:gd name="connsiteY74" fmla="*/ 43171 h 198586"/>
                <a:gd name="connsiteX75" fmla="*/ 7331 w 235077"/>
                <a:gd name="connsiteY75" fmla="*/ 44148 h 198586"/>
                <a:gd name="connsiteX76" fmla="*/ 7820 w 235077"/>
                <a:gd name="connsiteY76" fmla="*/ 46592 h 198586"/>
                <a:gd name="connsiteX77" fmla="*/ 5213 w 235077"/>
                <a:gd name="connsiteY77" fmla="*/ 46755 h 198586"/>
                <a:gd name="connsiteX78" fmla="*/ 7982 w 235077"/>
                <a:gd name="connsiteY78" fmla="*/ 58159 h 198586"/>
                <a:gd name="connsiteX79" fmla="*/ 7168 w 235077"/>
                <a:gd name="connsiteY79" fmla="*/ 66630 h 198586"/>
                <a:gd name="connsiteX80" fmla="*/ 0 w 235077"/>
                <a:gd name="connsiteY80" fmla="*/ 70377 h 198586"/>
                <a:gd name="connsiteX81" fmla="*/ 0 w 235077"/>
                <a:gd name="connsiteY81" fmla="*/ 73961 h 198586"/>
                <a:gd name="connsiteX82" fmla="*/ 7982 w 235077"/>
                <a:gd name="connsiteY82" fmla="*/ 82432 h 198586"/>
                <a:gd name="connsiteX83" fmla="*/ 7005 w 235077"/>
                <a:gd name="connsiteY83" fmla="*/ 87482 h 198586"/>
                <a:gd name="connsiteX84" fmla="*/ 10752 w 235077"/>
                <a:gd name="connsiteY84" fmla="*/ 92369 h 198586"/>
                <a:gd name="connsiteX85" fmla="*/ 10752 w 235077"/>
                <a:gd name="connsiteY85" fmla="*/ 96116 h 198586"/>
                <a:gd name="connsiteX86" fmla="*/ 12870 w 235077"/>
                <a:gd name="connsiteY86" fmla="*/ 101492 h 198586"/>
                <a:gd name="connsiteX87" fmla="*/ 10915 w 235077"/>
                <a:gd name="connsiteY87" fmla="*/ 105891 h 198586"/>
                <a:gd name="connsiteX88" fmla="*/ 15477 w 235077"/>
                <a:gd name="connsiteY88" fmla="*/ 116480 h 198586"/>
                <a:gd name="connsiteX89" fmla="*/ 18898 w 235077"/>
                <a:gd name="connsiteY89" fmla="*/ 118272 h 198586"/>
                <a:gd name="connsiteX90" fmla="*/ 21993 w 235077"/>
                <a:gd name="connsiteY90" fmla="*/ 122345 h 198586"/>
                <a:gd name="connsiteX91" fmla="*/ 22318 w 235077"/>
                <a:gd name="connsiteY91" fmla="*/ 135866 h 198586"/>
                <a:gd name="connsiteX92" fmla="*/ 20852 w 235077"/>
                <a:gd name="connsiteY92" fmla="*/ 138147 h 198586"/>
                <a:gd name="connsiteX93" fmla="*/ 22807 w 235077"/>
                <a:gd name="connsiteY93" fmla="*/ 142220 h 198586"/>
                <a:gd name="connsiteX94" fmla="*/ 24925 w 235077"/>
                <a:gd name="connsiteY94" fmla="*/ 139613 h 198586"/>
                <a:gd name="connsiteX95" fmla="*/ 29487 w 235077"/>
                <a:gd name="connsiteY95" fmla="*/ 140428 h 198586"/>
                <a:gd name="connsiteX96" fmla="*/ 31930 w 235077"/>
                <a:gd name="connsiteY96" fmla="*/ 139124 h 198586"/>
                <a:gd name="connsiteX97" fmla="*/ 42356 w 235077"/>
                <a:gd name="connsiteY97" fmla="*/ 140753 h 198586"/>
                <a:gd name="connsiteX98" fmla="*/ 42031 w 235077"/>
                <a:gd name="connsiteY98" fmla="*/ 143686 h 198586"/>
                <a:gd name="connsiteX99" fmla="*/ 46429 w 235077"/>
                <a:gd name="connsiteY99" fmla="*/ 148247 h 198586"/>
                <a:gd name="connsiteX100" fmla="*/ 50502 w 235077"/>
                <a:gd name="connsiteY100" fmla="*/ 147596 h 198586"/>
                <a:gd name="connsiteX101" fmla="*/ 54412 w 235077"/>
                <a:gd name="connsiteY101" fmla="*/ 150854 h 198586"/>
                <a:gd name="connsiteX102" fmla="*/ 51805 w 235077"/>
                <a:gd name="connsiteY102" fmla="*/ 156556 h 198586"/>
                <a:gd name="connsiteX103" fmla="*/ 53923 w 235077"/>
                <a:gd name="connsiteY103" fmla="*/ 159488 h 198586"/>
                <a:gd name="connsiteX104" fmla="*/ 55715 w 235077"/>
                <a:gd name="connsiteY104" fmla="*/ 160628 h 198586"/>
                <a:gd name="connsiteX105" fmla="*/ 55552 w 235077"/>
                <a:gd name="connsiteY105" fmla="*/ 165516 h 198586"/>
                <a:gd name="connsiteX106" fmla="*/ 58973 w 235077"/>
                <a:gd name="connsiteY106" fmla="*/ 166982 h 198586"/>
                <a:gd name="connsiteX107" fmla="*/ 61417 w 235077"/>
                <a:gd name="connsiteY107" fmla="*/ 164375 h 198586"/>
                <a:gd name="connsiteX108" fmla="*/ 64675 w 235077"/>
                <a:gd name="connsiteY108" fmla="*/ 164375 h 198586"/>
                <a:gd name="connsiteX109" fmla="*/ 58810 w 235077"/>
                <a:gd name="connsiteY109" fmla="*/ 156556 h 198586"/>
                <a:gd name="connsiteX110" fmla="*/ 61254 w 235077"/>
                <a:gd name="connsiteY110" fmla="*/ 154927 h 198586"/>
                <a:gd name="connsiteX111" fmla="*/ 73146 w 235077"/>
                <a:gd name="connsiteY111" fmla="*/ 161606 h 198586"/>
                <a:gd name="connsiteX112" fmla="*/ 80803 w 235077"/>
                <a:gd name="connsiteY112" fmla="*/ 160628 h 198586"/>
                <a:gd name="connsiteX113" fmla="*/ 79500 w 235077"/>
                <a:gd name="connsiteY113" fmla="*/ 165027 h 198586"/>
                <a:gd name="connsiteX114" fmla="*/ 85039 w 235077"/>
                <a:gd name="connsiteY114" fmla="*/ 169588 h 198586"/>
                <a:gd name="connsiteX115" fmla="*/ 94487 w 235077"/>
                <a:gd name="connsiteY115" fmla="*/ 167308 h 198586"/>
                <a:gd name="connsiteX116" fmla="*/ 102144 w 235077"/>
                <a:gd name="connsiteY116" fmla="*/ 169751 h 198586"/>
                <a:gd name="connsiteX117" fmla="*/ 117620 w 235077"/>
                <a:gd name="connsiteY117" fmla="*/ 180992 h 198586"/>
                <a:gd name="connsiteX118" fmla="*/ 122345 w 235077"/>
                <a:gd name="connsiteY118" fmla="*/ 189300 h 198586"/>
                <a:gd name="connsiteX119" fmla="*/ 126743 w 235077"/>
                <a:gd name="connsiteY119" fmla="*/ 189463 h 198586"/>
                <a:gd name="connsiteX120" fmla="*/ 129024 w 235077"/>
                <a:gd name="connsiteY120" fmla="*/ 186857 h 198586"/>
                <a:gd name="connsiteX121" fmla="*/ 135866 w 235077"/>
                <a:gd name="connsiteY121" fmla="*/ 187020 h 198586"/>
                <a:gd name="connsiteX122" fmla="*/ 139776 w 235077"/>
                <a:gd name="connsiteY122" fmla="*/ 191092 h 198586"/>
                <a:gd name="connsiteX123" fmla="*/ 141079 w 235077"/>
                <a:gd name="connsiteY123" fmla="*/ 197609 h 1985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</a:cxnLst>
              <a:rect l="l" t="t" r="r" b="b"/>
              <a:pathLst>
                <a:path w="235077" h="198586">
                  <a:moveTo>
                    <a:pt x="141079" y="197609"/>
                  </a:moveTo>
                  <a:lnTo>
                    <a:pt x="142546" y="198423"/>
                  </a:lnTo>
                  <a:lnTo>
                    <a:pt x="147270" y="198260"/>
                  </a:lnTo>
                  <a:lnTo>
                    <a:pt x="150365" y="193536"/>
                  </a:lnTo>
                  <a:lnTo>
                    <a:pt x="154438" y="192233"/>
                  </a:lnTo>
                  <a:lnTo>
                    <a:pt x="158348" y="192722"/>
                  </a:lnTo>
                  <a:lnTo>
                    <a:pt x="164538" y="192722"/>
                  </a:lnTo>
                  <a:lnTo>
                    <a:pt x="168122" y="195165"/>
                  </a:lnTo>
                  <a:lnTo>
                    <a:pt x="171380" y="191744"/>
                  </a:lnTo>
                  <a:lnTo>
                    <a:pt x="175453" y="191255"/>
                  </a:lnTo>
                  <a:lnTo>
                    <a:pt x="179363" y="193047"/>
                  </a:lnTo>
                  <a:lnTo>
                    <a:pt x="182621" y="191581"/>
                  </a:lnTo>
                  <a:lnTo>
                    <a:pt x="192233" y="192070"/>
                  </a:lnTo>
                  <a:lnTo>
                    <a:pt x="202985" y="198260"/>
                  </a:lnTo>
                  <a:lnTo>
                    <a:pt x="208361" y="198586"/>
                  </a:lnTo>
                  <a:lnTo>
                    <a:pt x="208850" y="190930"/>
                  </a:lnTo>
                  <a:lnTo>
                    <a:pt x="207709" y="183924"/>
                  </a:lnTo>
                  <a:lnTo>
                    <a:pt x="223348" y="166330"/>
                  </a:lnTo>
                  <a:lnTo>
                    <a:pt x="225629" y="158673"/>
                  </a:lnTo>
                  <a:lnTo>
                    <a:pt x="229376" y="154601"/>
                  </a:lnTo>
                  <a:lnTo>
                    <a:pt x="233612" y="154438"/>
                  </a:lnTo>
                  <a:lnTo>
                    <a:pt x="235078" y="146781"/>
                  </a:lnTo>
                  <a:lnTo>
                    <a:pt x="233286" y="143686"/>
                  </a:lnTo>
                  <a:lnTo>
                    <a:pt x="232471" y="139613"/>
                  </a:lnTo>
                  <a:lnTo>
                    <a:pt x="234752" y="136844"/>
                  </a:lnTo>
                  <a:lnTo>
                    <a:pt x="228562" y="132934"/>
                  </a:lnTo>
                  <a:lnTo>
                    <a:pt x="225629" y="125440"/>
                  </a:lnTo>
                  <a:lnTo>
                    <a:pt x="222371" y="122182"/>
                  </a:lnTo>
                  <a:lnTo>
                    <a:pt x="222045" y="110290"/>
                  </a:lnTo>
                  <a:lnTo>
                    <a:pt x="222697" y="103610"/>
                  </a:lnTo>
                  <a:lnTo>
                    <a:pt x="217484" y="95302"/>
                  </a:lnTo>
                  <a:lnTo>
                    <a:pt x="215366" y="87645"/>
                  </a:lnTo>
                  <a:lnTo>
                    <a:pt x="219276" y="81455"/>
                  </a:lnTo>
                  <a:lnTo>
                    <a:pt x="224489" y="79663"/>
                  </a:lnTo>
                  <a:lnTo>
                    <a:pt x="224326" y="63535"/>
                  </a:lnTo>
                  <a:lnTo>
                    <a:pt x="221393" y="60928"/>
                  </a:lnTo>
                  <a:lnTo>
                    <a:pt x="220253" y="54737"/>
                  </a:lnTo>
                  <a:lnTo>
                    <a:pt x="216669" y="49361"/>
                  </a:lnTo>
                  <a:lnTo>
                    <a:pt x="212922" y="37632"/>
                  </a:lnTo>
                  <a:lnTo>
                    <a:pt x="208361" y="30464"/>
                  </a:lnTo>
                  <a:lnTo>
                    <a:pt x="208850" y="24273"/>
                  </a:lnTo>
                  <a:lnTo>
                    <a:pt x="206080" y="14988"/>
                  </a:lnTo>
                  <a:lnTo>
                    <a:pt x="202496" y="14499"/>
                  </a:lnTo>
                  <a:lnTo>
                    <a:pt x="196795" y="9937"/>
                  </a:lnTo>
                  <a:lnTo>
                    <a:pt x="163072" y="13196"/>
                  </a:lnTo>
                  <a:lnTo>
                    <a:pt x="130653" y="11404"/>
                  </a:lnTo>
                  <a:lnTo>
                    <a:pt x="127721" y="12544"/>
                  </a:lnTo>
                  <a:lnTo>
                    <a:pt x="118923" y="20364"/>
                  </a:lnTo>
                  <a:lnTo>
                    <a:pt x="111593" y="21993"/>
                  </a:lnTo>
                  <a:lnTo>
                    <a:pt x="109638" y="20364"/>
                  </a:lnTo>
                  <a:lnTo>
                    <a:pt x="117132" y="16291"/>
                  </a:lnTo>
                  <a:lnTo>
                    <a:pt x="123811" y="9286"/>
                  </a:lnTo>
                  <a:lnTo>
                    <a:pt x="121530" y="9449"/>
                  </a:lnTo>
                  <a:lnTo>
                    <a:pt x="116154" y="14825"/>
                  </a:lnTo>
                  <a:lnTo>
                    <a:pt x="106543" y="19386"/>
                  </a:lnTo>
                  <a:lnTo>
                    <a:pt x="95628" y="16291"/>
                  </a:lnTo>
                  <a:lnTo>
                    <a:pt x="93184" y="10263"/>
                  </a:lnTo>
                  <a:lnTo>
                    <a:pt x="94976" y="6028"/>
                  </a:lnTo>
                  <a:lnTo>
                    <a:pt x="100841" y="6842"/>
                  </a:lnTo>
                  <a:lnTo>
                    <a:pt x="103447" y="8471"/>
                  </a:lnTo>
                  <a:lnTo>
                    <a:pt x="103610" y="6842"/>
                  </a:lnTo>
                  <a:lnTo>
                    <a:pt x="96605" y="3258"/>
                  </a:lnTo>
                  <a:lnTo>
                    <a:pt x="83572" y="0"/>
                  </a:lnTo>
                  <a:lnTo>
                    <a:pt x="73472" y="5213"/>
                  </a:lnTo>
                  <a:lnTo>
                    <a:pt x="66141" y="4561"/>
                  </a:lnTo>
                  <a:lnTo>
                    <a:pt x="58647" y="7494"/>
                  </a:lnTo>
                  <a:lnTo>
                    <a:pt x="53923" y="13847"/>
                  </a:lnTo>
                  <a:lnTo>
                    <a:pt x="46592" y="14173"/>
                  </a:lnTo>
                  <a:lnTo>
                    <a:pt x="42031" y="19386"/>
                  </a:lnTo>
                  <a:lnTo>
                    <a:pt x="42031" y="23459"/>
                  </a:lnTo>
                  <a:lnTo>
                    <a:pt x="34048" y="23622"/>
                  </a:lnTo>
                  <a:lnTo>
                    <a:pt x="22156" y="30138"/>
                  </a:lnTo>
                  <a:lnTo>
                    <a:pt x="14010" y="30790"/>
                  </a:lnTo>
                  <a:lnTo>
                    <a:pt x="11078" y="36980"/>
                  </a:lnTo>
                  <a:lnTo>
                    <a:pt x="9123" y="43171"/>
                  </a:lnTo>
                  <a:lnTo>
                    <a:pt x="7331" y="44148"/>
                  </a:lnTo>
                  <a:lnTo>
                    <a:pt x="7820" y="46592"/>
                  </a:lnTo>
                  <a:lnTo>
                    <a:pt x="5213" y="46755"/>
                  </a:lnTo>
                  <a:lnTo>
                    <a:pt x="7982" y="58159"/>
                  </a:lnTo>
                  <a:lnTo>
                    <a:pt x="7168" y="66630"/>
                  </a:lnTo>
                  <a:lnTo>
                    <a:pt x="0" y="70377"/>
                  </a:lnTo>
                  <a:lnTo>
                    <a:pt x="0" y="73961"/>
                  </a:lnTo>
                  <a:lnTo>
                    <a:pt x="7982" y="82432"/>
                  </a:lnTo>
                  <a:lnTo>
                    <a:pt x="7005" y="87482"/>
                  </a:lnTo>
                  <a:lnTo>
                    <a:pt x="10752" y="92369"/>
                  </a:lnTo>
                  <a:lnTo>
                    <a:pt x="10752" y="96116"/>
                  </a:lnTo>
                  <a:lnTo>
                    <a:pt x="12870" y="101492"/>
                  </a:lnTo>
                  <a:lnTo>
                    <a:pt x="10915" y="105891"/>
                  </a:lnTo>
                  <a:lnTo>
                    <a:pt x="15477" y="116480"/>
                  </a:lnTo>
                  <a:lnTo>
                    <a:pt x="18898" y="118272"/>
                  </a:lnTo>
                  <a:lnTo>
                    <a:pt x="21993" y="122345"/>
                  </a:lnTo>
                  <a:lnTo>
                    <a:pt x="22318" y="135866"/>
                  </a:lnTo>
                  <a:lnTo>
                    <a:pt x="20852" y="138147"/>
                  </a:lnTo>
                  <a:lnTo>
                    <a:pt x="22807" y="142220"/>
                  </a:lnTo>
                  <a:lnTo>
                    <a:pt x="24925" y="139613"/>
                  </a:lnTo>
                  <a:lnTo>
                    <a:pt x="29487" y="140428"/>
                  </a:lnTo>
                  <a:lnTo>
                    <a:pt x="31930" y="139124"/>
                  </a:lnTo>
                  <a:lnTo>
                    <a:pt x="42356" y="140753"/>
                  </a:lnTo>
                  <a:lnTo>
                    <a:pt x="42031" y="143686"/>
                  </a:lnTo>
                  <a:lnTo>
                    <a:pt x="46429" y="148247"/>
                  </a:lnTo>
                  <a:lnTo>
                    <a:pt x="50502" y="147596"/>
                  </a:lnTo>
                  <a:lnTo>
                    <a:pt x="54412" y="150854"/>
                  </a:lnTo>
                  <a:lnTo>
                    <a:pt x="51805" y="156556"/>
                  </a:lnTo>
                  <a:lnTo>
                    <a:pt x="53923" y="159488"/>
                  </a:lnTo>
                  <a:lnTo>
                    <a:pt x="55715" y="160628"/>
                  </a:lnTo>
                  <a:lnTo>
                    <a:pt x="55552" y="165516"/>
                  </a:lnTo>
                  <a:lnTo>
                    <a:pt x="58973" y="166982"/>
                  </a:lnTo>
                  <a:lnTo>
                    <a:pt x="61417" y="164375"/>
                  </a:lnTo>
                  <a:lnTo>
                    <a:pt x="64675" y="164375"/>
                  </a:lnTo>
                  <a:lnTo>
                    <a:pt x="58810" y="156556"/>
                  </a:lnTo>
                  <a:lnTo>
                    <a:pt x="61254" y="154927"/>
                  </a:lnTo>
                  <a:lnTo>
                    <a:pt x="73146" y="161606"/>
                  </a:lnTo>
                  <a:lnTo>
                    <a:pt x="80803" y="160628"/>
                  </a:lnTo>
                  <a:lnTo>
                    <a:pt x="79500" y="165027"/>
                  </a:lnTo>
                  <a:lnTo>
                    <a:pt x="85039" y="169588"/>
                  </a:lnTo>
                  <a:lnTo>
                    <a:pt x="94487" y="167308"/>
                  </a:lnTo>
                  <a:lnTo>
                    <a:pt x="102144" y="169751"/>
                  </a:lnTo>
                  <a:lnTo>
                    <a:pt x="117620" y="180992"/>
                  </a:lnTo>
                  <a:lnTo>
                    <a:pt x="122345" y="189300"/>
                  </a:lnTo>
                  <a:lnTo>
                    <a:pt x="126743" y="189463"/>
                  </a:lnTo>
                  <a:lnTo>
                    <a:pt x="129024" y="186857"/>
                  </a:lnTo>
                  <a:lnTo>
                    <a:pt x="135866" y="187020"/>
                  </a:lnTo>
                  <a:lnTo>
                    <a:pt x="139776" y="191092"/>
                  </a:lnTo>
                  <a:lnTo>
                    <a:pt x="141079" y="197609"/>
                  </a:lnTo>
                  <a:close/>
                </a:path>
              </a:pathLst>
            </a:custGeom>
            <a:solidFill>
              <a:schemeClr val="bg2"/>
            </a:solidFill>
            <a:ln w="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2" name="Forma livre: Forma 171">
              <a:extLst>
                <a:ext uri="{FF2B5EF4-FFF2-40B4-BE49-F238E27FC236}">
                  <a16:creationId xmlns:a16="http://schemas.microsoft.com/office/drawing/2014/main" id="{855DE7AA-8E35-B3BA-4358-A2C830F5C0EE}"/>
                </a:ext>
              </a:extLst>
            </p:cNvPr>
            <p:cNvSpPr/>
            <p:nvPr/>
          </p:nvSpPr>
          <p:spPr>
            <a:xfrm>
              <a:off x="6264487" y="3471679"/>
              <a:ext cx="194612" cy="84006"/>
            </a:xfrm>
            <a:custGeom>
              <a:avLst/>
              <a:gdLst>
                <a:gd name="connsiteX0" fmla="*/ 67933 w 188322"/>
                <a:gd name="connsiteY0" fmla="*/ 326 h 81291"/>
                <a:gd name="connsiteX1" fmla="*/ 69888 w 188322"/>
                <a:gd name="connsiteY1" fmla="*/ 4399 h 81291"/>
                <a:gd name="connsiteX2" fmla="*/ 72006 w 188322"/>
                <a:gd name="connsiteY2" fmla="*/ 1792 h 81291"/>
                <a:gd name="connsiteX3" fmla="*/ 76567 w 188322"/>
                <a:gd name="connsiteY3" fmla="*/ 2607 h 81291"/>
                <a:gd name="connsiteX4" fmla="*/ 79011 w 188322"/>
                <a:gd name="connsiteY4" fmla="*/ 1303 h 81291"/>
                <a:gd name="connsiteX5" fmla="*/ 89437 w 188322"/>
                <a:gd name="connsiteY5" fmla="*/ 2932 h 81291"/>
                <a:gd name="connsiteX6" fmla="*/ 89111 w 188322"/>
                <a:gd name="connsiteY6" fmla="*/ 5865 h 81291"/>
                <a:gd name="connsiteX7" fmla="*/ 93510 w 188322"/>
                <a:gd name="connsiteY7" fmla="*/ 10426 h 81291"/>
                <a:gd name="connsiteX8" fmla="*/ 97582 w 188322"/>
                <a:gd name="connsiteY8" fmla="*/ 9775 h 81291"/>
                <a:gd name="connsiteX9" fmla="*/ 101492 w 188322"/>
                <a:gd name="connsiteY9" fmla="*/ 13033 h 81291"/>
                <a:gd name="connsiteX10" fmla="*/ 98885 w 188322"/>
                <a:gd name="connsiteY10" fmla="*/ 18735 h 81291"/>
                <a:gd name="connsiteX11" fmla="*/ 101003 w 188322"/>
                <a:gd name="connsiteY11" fmla="*/ 21667 h 81291"/>
                <a:gd name="connsiteX12" fmla="*/ 102796 w 188322"/>
                <a:gd name="connsiteY12" fmla="*/ 22807 h 81291"/>
                <a:gd name="connsiteX13" fmla="*/ 102633 w 188322"/>
                <a:gd name="connsiteY13" fmla="*/ 27695 h 81291"/>
                <a:gd name="connsiteX14" fmla="*/ 106054 w 188322"/>
                <a:gd name="connsiteY14" fmla="*/ 29161 h 81291"/>
                <a:gd name="connsiteX15" fmla="*/ 108497 w 188322"/>
                <a:gd name="connsiteY15" fmla="*/ 26554 h 81291"/>
                <a:gd name="connsiteX16" fmla="*/ 111755 w 188322"/>
                <a:gd name="connsiteY16" fmla="*/ 26554 h 81291"/>
                <a:gd name="connsiteX17" fmla="*/ 105891 w 188322"/>
                <a:gd name="connsiteY17" fmla="*/ 18735 h 81291"/>
                <a:gd name="connsiteX18" fmla="*/ 108334 w 188322"/>
                <a:gd name="connsiteY18" fmla="*/ 17106 h 81291"/>
                <a:gd name="connsiteX19" fmla="*/ 120227 w 188322"/>
                <a:gd name="connsiteY19" fmla="*/ 23785 h 81291"/>
                <a:gd name="connsiteX20" fmla="*/ 127883 w 188322"/>
                <a:gd name="connsiteY20" fmla="*/ 22807 h 81291"/>
                <a:gd name="connsiteX21" fmla="*/ 126580 w 188322"/>
                <a:gd name="connsiteY21" fmla="*/ 27206 h 81291"/>
                <a:gd name="connsiteX22" fmla="*/ 132119 w 188322"/>
                <a:gd name="connsiteY22" fmla="*/ 31767 h 81291"/>
                <a:gd name="connsiteX23" fmla="*/ 141568 w 188322"/>
                <a:gd name="connsiteY23" fmla="*/ 29487 h 81291"/>
                <a:gd name="connsiteX24" fmla="*/ 149224 w 188322"/>
                <a:gd name="connsiteY24" fmla="*/ 31930 h 81291"/>
                <a:gd name="connsiteX25" fmla="*/ 164701 w 188322"/>
                <a:gd name="connsiteY25" fmla="*/ 43171 h 81291"/>
                <a:gd name="connsiteX26" fmla="*/ 169425 w 188322"/>
                <a:gd name="connsiteY26" fmla="*/ 51479 h 81291"/>
                <a:gd name="connsiteX27" fmla="*/ 173824 w 188322"/>
                <a:gd name="connsiteY27" fmla="*/ 51642 h 81291"/>
                <a:gd name="connsiteX28" fmla="*/ 176105 w 188322"/>
                <a:gd name="connsiteY28" fmla="*/ 49036 h 81291"/>
                <a:gd name="connsiteX29" fmla="*/ 182947 w 188322"/>
                <a:gd name="connsiteY29" fmla="*/ 49199 h 81291"/>
                <a:gd name="connsiteX30" fmla="*/ 186857 w 188322"/>
                <a:gd name="connsiteY30" fmla="*/ 53271 h 81291"/>
                <a:gd name="connsiteX31" fmla="*/ 188323 w 188322"/>
                <a:gd name="connsiteY31" fmla="*/ 60114 h 81291"/>
                <a:gd name="connsiteX32" fmla="*/ 176430 w 188322"/>
                <a:gd name="connsiteY32" fmla="*/ 58973 h 81291"/>
                <a:gd name="connsiteX33" fmla="*/ 170892 w 188322"/>
                <a:gd name="connsiteY33" fmla="*/ 63860 h 81291"/>
                <a:gd name="connsiteX34" fmla="*/ 164538 w 188322"/>
                <a:gd name="connsiteY34" fmla="*/ 64512 h 81291"/>
                <a:gd name="connsiteX35" fmla="*/ 157370 w 188322"/>
                <a:gd name="connsiteY35" fmla="*/ 71680 h 81291"/>
                <a:gd name="connsiteX36" fmla="*/ 147921 w 188322"/>
                <a:gd name="connsiteY36" fmla="*/ 72983 h 81291"/>
                <a:gd name="connsiteX37" fmla="*/ 138147 w 188322"/>
                <a:gd name="connsiteY37" fmla="*/ 76404 h 81291"/>
                <a:gd name="connsiteX38" fmla="*/ 135703 w 188322"/>
                <a:gd name="connsiteY38" fmla="*/ 74449 h 81291"/>
                <a:gd name="connsiteX39" fmla="*/ 129839 w 188322"/>
                <a:gd name="connsiteY39" fmla="*/ 74612 h 81291"/>
                <a:gd name="connsiteX40" fmla="*/ 123811 w 188322"/>
                <a:gd name="connsiteY40" fmla="*/ 78685 h 81291"/>
                <a:gd name="connsiteX41" fmla="*/ 112570 w 188322"/>
                <a:gd name="connsiteY41" fmla="*/ 76079 h 81291"/>
                <a:gd name="connsiteX42" fmla="*/ 108171 w 188322"/>
                <a:gd name="connsiteY42" fmla="*/ 72820 h 81291"/>
                <a:gd name="connsiteX43" fmla="*/ 101330 w 188322"/>
                <a:gd name="connsiteY43" fmla="*/ 74287 h 81291"/>
                <a:gd name="connsiteX44" fmla="*/ 94161 w 188322"/>
                <a:gd name="connsiteY44" fmla="*/ 73961 h 81291"/>
                <a:gd name="connsiteX45" fmla="*/ 87808 w 188322"/>
                <a:gd name="connsiteY45" fmla="*/ 69399 h 81291"/>
                <a:gd name="connsiteX46" fmla="*/ 78522 w 188322"/>
                <a:gd name="connsiteY46" fmla="*/ 69074 h 81291"/>
                <a:gd name="connsiteX47" fmla="*/ 73309 w 188322"/>
                <a:gd name="connsiteY47" fmla="*/ 67119 h 81291"/>
                <a:gd name="connsiteX48" fmla="*/ 71191 w 188322"/>
                <a:gd name="connsiteY48" fmla="*/ 71843 h 81291"/>
                <a:gd name="connsiteX49" fmla="*/ 68748 w 188322"/>
                <a:gd name="connsiteY49" fmla="*/ 74287 h 81291"/>
                <a:gd name="connsiteX50" fmla="*/ 68258 w 188322"/>
                <a:gd name="connsiteY50" fmla="*/ 78196 h 81291"/>
                <a:gd name="connsiteX51" fmla="*/ 61254 w 188322"/>
                <a:gd name="connsiteY51" fmla="*/ 78522 h 81291"/>
                <a:gd name="connsiteX52" fmla="*/ 58973 w 188322"/>
                <a:gd name="connsiteY52" fmla="*/ 81292 h 81291"/>
                <a:gd name="connsiteX53" fmla="*/ 46103 w 188322"/>
                <a:gd name="connsiteY53" fmla="*/ 73961 h 81291"/>
                <a:gd name="connsiteX54" fmla="*/ 42356 w 188322"/>
                <a:gd name="connsiteY54" fmla="*/ 73472 h 81291"/>
                <a:gd name="connsiteX55" fmla="*/ 42519 w 188322"/>
                <a:gd name="connsiteY55" fmla="*/ 73309 h 81291"/>
                <a:gd name="connsiteX56" fmla="*/ 32256 w 188322"/>
                <a:gd name="connsiteY56" fmla="*/ 61417 h 81291"/>
                <a:gd name="connsiteX57" fmla="*/ 27206 w 188322"/>
                <a:gd name="connsiteY57" fmla="*/ 58159 h 81291"/>
                <a:gd name="connsiteX58" fmla="*/ 18408 w 188322"/>
                <a:gd name="connsiteY58" fmla="*/ 52131 h 81291"/>
                <a:gd name="connsiteX59" fmla="*/ 13521 w 188322"/>
                <a:gd name="connsiteY59" fmla="*/ 49361 h 81291"/>
                <a:gd name="connsiteX60" fmla="*/ 12055 w 188322"/>
                <a:gd name="connsiteY60" fmla="*/ 45615 h 81291"/>
                <a:gd name="connsiteX61" fmla="*/ 12381 w 188322"/>
                <a:gd name="connsiteY61" fmla="*/ 39424 h 81291"/>
                <a:gd name="connsiteX62" fmla="*/ 7168 w 188322"/>
                <a:gd name="connsiteY62" fmla="*/ 31116 h 81291"/>
                <a:gd name="connsiteX63" fmla="*/ 326 w 188322"/>
                <a:gd name="connsiteY63" fmla="*/ 27043 h 81291"/>
                <a:gd name="connsiteX64" fmla="*/ 0 w 188322"/>
                <a:gd name="connsiteY64" fmla="*/ 23133 h 81291"/>
                <a:gd name="connsiteX65" fmla="*/ 2280 w 188322"/>
                <a:gd name="connsiteY65" fmla="*/ 21504 h 81291"/>
                <a:gd name="connsiteX66" fmla="*/ 4724 w 188322"/>
                <a:gd name="connsiteY66" fmla="*/ 23622 h 81291"/>
                <a:gd name="connsiteX67" fmla="*/ 8960 w 188322"/>
                <a:gd name="connsiteY67" fmla="*/ 25577 h 81291"/>
                <a:gd name="connsiteX68" fmla="*/ 18083 w 188322"/>
                <a:gd name="connsiteY68" fmla="*/ 17268 h 81291"/>
                <a:gd name="connsiteX69" fmla="*/ 22481 w 188322"/>
                <a:gd name="connsiteY69" fmla="*/ 16943 h 81291"/>
                <a:gd name="connsiteX70" fmla="*/ 27369 w 188322"/>
                <a:gd name="connsiteY70" fmla="*/ 11241 h 81291"/>
                <a:gd name="connsiteX71" fmla="*/ 32907 w 188322"/>
                <a:gd name="connsiteY71" fmla="*/ 11078 h 81291"/>
                <a:gd name="connsiteX72" fmla="*/ 35677 w 188322"/>
                <a:gd name="connsiteY72" fmla="*/ 6842 h 81291"/>
                <a:gd name="connsiteX73" fmla="*/ 44148 w 188322"/>
                <a:gd name="connsiteY73" fmla="*/ 6679 h 81291"/>
                <a:gd name="connsiteX74" fmla="*/ 47895 w 188322"/>
                <a:gd name="connsiteY74" fmla="*/ 7494 h 81291"/>
                <a:gd name="connsiteX75" fmla="*/ 52131 w 188322"/>
                <a:gd name="connsiteY75" fmla="*/ 5050 h 81291"/>
                <a:gd name="connsiteX76" fmla="*/ 52131 w 188322"/>
                <a:gd name="connsiteY76" fmla="*/ 326 h 81291"/>
                <a:gd name="connsiteX77" fmla="*/ 59950 w 188322"/>
                <a:gd name="connsiteY77" fmla="*/ 2281 h 81291"/>
                <a:gd name="connsiteX78" fmla="*/ 63371 w 188322"/>
                <a:gd name="connsiteY78" fmla="*/ 0 h 81291"/>
                <a:gd name="connsiteX79" fmla="*/ 66955 w 188322"/>
                <a:gd name="connsiteY79" fmla="*/ 1792 h 81291"/>
                <a:gd name="connsiteX80" fmla="*/ 67933 w 188322"/>
                <a:gd name="connsiteY80" fmla="*/ 326 h 812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</a:cxnLst>
              <a:rect l="l" t="t" r="r" b="b"/>
              <a:pathLst>
                <a:path w="188322" h="81291">
                  <a:moveTo>
                    <a:pt x="67933" y="326"/>
                  </a:moveTo>
                  <a:lnTo>
                    <a:pt x="69888" y="4399"/>
                  </a:lnTo>
                  <a:lnTo>
                    <a:pt x="72006" y="1792"/>
                  </a:lnTo>
                  <a:lnTo>
                    <a:pt x="76567" y="2607"/>
                  </a:lnTo>
                  <a:lnTo>
                    <a:pt x="79011" y="1303"/>
                  </a:lnTo>
                  <a:lnTo>
                    <a:pt x="89437" y="2932"/>
                  </a:lnTo>
                  <a:lnTo>
                    <a:pt x="89111" y="5865"/>
                  </a:lnTo>
                  <a:lnTo>
                    <a:pt x="93510" y="10426"/>
                  </a:lnTo>
                  <a:lnTo>
                    <a:pt x="97582" y="9775"/>
                  </a:lnTo>
                  <a:lnTo>
                    <a:pt x="101492" y="13033"/>
                  </a:lnTo>
                  <a:lnTo>
                    <a:pt x="98885" y="18735"/>
                  </a:lnTo>
                  <a:lnTo>
                    <a:pt x="101003" y="21667"/>
                  </a:lnTo>
                  <a:lnTo>
                    <a:pt x="102796" y="22807"/>
                  </a:lnTo>
                  <a:lnTo>
                    <a:pt x="102633" y="27695"/>
                  </a:lnTo>
                  <a:lnTo>
                    <a:pt x="106054" y="29161"/>
                  </a:lnTo>
                  <a:lnTo>
                    <a:pt x="108497" y="26554"/>
                  </a:lnTo>
                  <a:lnTo>
                    <a:pt x="111755" y="26554"/>
                  </a:lnTo>
                  <a:lnTo>
                    <a:pt x="105891" y="18735"/>
                  </a:lnTo>
                  <a:lnTo>
                    <a:pt x="108334" y="17106"/>
                  </a:lnTo>
                  <a:lnTo>
                    <a:pt x="120227" y="23785"/>
                  </a:lnTo>
                  <a:lnTo>
                    <a:pt x="127883" y="22807"/>
                  </a:lnTo>
                  <a:lnTo>
                    <a:pt x="126580" y="27206"/>
                  </a:lnTo>
                  <a:lnTo>
                    <a:pt x="132119" y="31767"/>
                  </a:lnTo>
                  <a:lnTo>
                    <a:pt x="141568" y="29487"/>
                  </a:lnTo>
                  <a:lnTo>
                    <a:pt x="149224" y="31930"/>
                  </a:lnTo>
                  <a:lnTo>
                    <a:pt x="164701" y="43171"/>
                  </a:lnTo>
                  <a:lnTo>
                    <a:pt x="169425" y="51479"/>
                  </a:lnTo>
                  <a:lnTo>
                    <a:pt x="173824" y="51642"/>
                  </a:lnTo>
                  <a:lnTo>
                    <a:pt x="176105" y="49036"/>
                  </a:lnTo>
                  <a:lnTo>
                    <a:pt x="182947" y="49199"/>
                  </a:lnTo>
                  <a:lnTo>
                    <a:pt x="186857" y="53271"/>
                  </a:lnTo>
                  <a:lnTo>
                    <a:pt x="188323" y="60114"/>
                  </a:lnTo>
                  <a:lnTo>
                    <a:pt x="176430" y="58973"/>
                  </a:lnTo>
                  <a:lnTo>
                    <a:pt x="170892" y="63860"/>
                  </a:lnTo>
                  <a:lnTo>
                    <a:pt x="164538" y="64512"/>
                  </a:lnTo>
                  <a:lnTo>
                    <a:pt x="157370" y="71680"/>
                  </a:lnTo>
                  <a:lnTo>
                    <a:pt x="147921" y="72983"/>
                  </a:lnTo>
                  <a:lnTo>
                    <a:pt x="138147" y="76404"/>
                  </a:lnTo>
                  <a:lnTo>
                    <a:pt x="135703" y="74449"/>
                  </a:lnTo>
                  <a:lnTo>
                    <a:pt x="129839" y="74612"/>
                  </a:lnTo>
                  <a:lnTo>
                    <a:pt x="123811" y="78685"/>
                  </a:lnTo>
                  <a:lnTo>
                    <a:pt x="112570" y="76079"/>
                  </a:lnTo>
                  <a:lnTo>
                    <a:pt x="108171" y="72820"/>
                  </a:lnTo>
                  <a:lnTo>
                    <a:pt x="101330" y="74287"/>
                  </a:lnTo>
                  <a:lnTo>
                    <a:pt x="94161" y="73961"/>
                  </a:lnTo>
                  <a:lnTo>
                    <a:pt x="87808" y="69399"/>
                  </a:lnTo>
                  <a:lnTo>
                    <a:pt x="78522" y="69074"/>
                  </a:lnTo>
                  <a:lnTo>
                    <a:pt x="73309" y="67119"/>
                  </a:lnTo>
                  <a:lnTo>
                    <a:pt x="71191" y="71843"/>
                  </a:lnTo>
                  <a:lnTo>
                    <a:pt x="68748" y="74287"/>
                  </a:lnTo>
                  <a:lnTo>
                    <a:pt x="68258" y="78196"/>
                  </a:lnTo>
                  <a:lnTo>
                    <a:pt x="61254" y="78522"/>
                  </a:lnTo>
                  <a:lnTo>
                    <a:pt x="58973" y="81292"/>
                  </a:lnTo>
                  <a:lnTo>
                    <a:pt x="46103" y="73961"/>
                  </a:lnTo>
                  <a:lnTo>
                    <a:pt x="42356" y="73472"/>
                  </a:lnTo>
                  <a:lnTo>
                    <a:pt x="42519" y="73309"/>
                  </a:lnTo>
                  <a:lnTo>
                    <a:pt x="32256" y="61417"/>
                  </a:lnTo>
                  <a:lnTo>
                    <a:pt x="27206" y="58159"/>
                  </a:lnTo>
                  <a:lnTo>
                    <a:pt x="18408" y="52131"/>
                  </a:lnTo>
                  <a:lnTo>
                    <a:pt x="13521" y="49361"/>
                  </a:lnTo>
                  <a:lnTo>
                    <a:pt x="12055" y="45615"/>
                  </a:lnTo>
                  <a:lnTo>
                    <a:pt x="12381" y="39424"/>
                  </a:lnTo>
                  <a:lnTo>
                    <a:pt x="7168" y="31116"/>
                  </a:lnTo>
                  <a:lnTo>
                    <a:pt x="326" y="27043"/>
                  </a:lnTo>
                  <a:lnTo>
                    <a:pt x="0" y="23133"/>
                  </a:lnTo>
                  <a:lnTo>
                    <a:pt x="2280" y="21504"/>
                  </a:lnTo>
                  <a:lnTo>
                    <a:pt x="4724" y="23622"/>
                  </a:lnTo>
                  <a:lnTo>
                    <a:pt x="8960" y="25577"/>
                  </a:lnTo>
                  <a:lnTo>
                    <a:pt x="18083" y="17268"/>
                  </a:lnTo>
                  <a:lnTo>
                    <a:pt x="22481" y="16943"/>
                  </a:lnTo>
                  <a:lnTo>
                    <a:pt x="27369" y="11241"/>
                  </a:lnTo>
                  <a:lnTo>
                    <a:pt x="32907" y="11078"/>
                  </a:lnTo>
                  <a:lnTo>
                    <a:pt x="35677" y="6842"/>
                  </a:lnTo>
                  <a:lnTo>
                    <a:pt x="44148" y="6679"/>
                  </a:lnTo>
                  <a:lnTo>
                    <a:pt x="47895" y="7494"/>
                  </a:lnTo>
                  <a:lnTo>
                    <a:pt x="52131" y="5050"/>
                  </a:lnTo>
                  <a:lnTo>
                    <a:pt x="52131" y="326"/>
                  </a:lnTo>
                  <a:lnTo>
                    <a:pt x="59950" y="2281"/>
                  </a:lnTo>
                  <a:lnTo>
                    <a:pt x="63371" y="0"/>
                  </a:lnTo>
                  <a:lnTo>
                    <a:pt x="66955" y="1792"/>
                  </a:lnTo>
                  <a:lnTo>
                    <a:pt x="67933" y="326"/>
                  </a:lnTo>
                  <a:close/>
                </a:path>
              </a:pathLst>
            </a:custGeom>
            <a:solidFill>
              <a:schemeClr val="bg2"/>
            </a:solidFill>
            <a:ln w="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3" name="Forma livre: Forma 172">
              <a:extLst>
                <a:ext uri="{FF2B5EF4-FFF2-40B4-BE49-F238E27FC236}">
                  <a16:creationId xmlns:a16="http://schemas.microsoft.com/office/drawing/2014/main" id="{F8F09080-EBB5-6E65-A94F-6BF687C7FFCD}"/>
                </a:ext>
              </a:extLst>
            </p:cNvPr>
            <p:cNvSpPr/>
            <p:nvPr/>
          </p:nvSpPr>
          <p:spPr>
            <a:xfrm>
              <a:off x="6114991" y="3330938"/>
              <a:ext cx="221212" cy="263973"/>
            </a:xfrm>
            <a:custGeom>
              <a:avLst/>
              <a:gdLst>
                <a:gd name="connsiteX0" fmla="*/ 59625 w 214062"/>
                <a:gd name="connsiteY0" fmla="*/ 326 h 255441"/>
                <a:gd name="connsiteX1" fmla="*/ 66304 w 214062"/>
                <a:gd name="connsiteY1" fmla="*/ 0 h 255441"/>
                <a:gd name="connsiteX2" fmla="*/ 75753 w 214062"/>
                <a:gd name="connsiteY2" fmla="*/ 2607 h 255441"/>
                <a:gd name="connsiteX3" fmla="*/ 78522 w 214062"/>
                <a:gd name="connsiteY3" fmla="*/ 3910 h 255441"/>
                <a:gd name="connsiteX4" fmla="*/ 82921 w 214062"/>
                <a:gd name="connsiteY4" fmla="*/ 3095 h 255441"/>
                <a:gd name="connsiteX5" fmla="*/ 87971 w 214062"/>
                <a:gd name="connsiteY5" fmla="*/ 8471 h 255441"/>
                <a:gd name="connsiteX6" fmla="*/ 93021 w 214062"/>
                <a:gd name="connsiteY6" fmla="*/ 8960 h 255441"/>
                <a:gd name="connsiteX7" fmla="*/ 90251 w 214062"/>
                <a:gd name="connsiteY7" fmla="*/ 14825 h 255441"/>
                <a:gd name="connsiteX8" fmla="*/ 87645 w 214062"/>
                <a:gd name="connsiteY8" fmla="*/ 17268 h 255441"/>
                <a:gd name="connsiteX9" fmla="*/ 89111 w 214062"/>
                <a:gd name="connsiteY9" fmla="*/ 20201 h 255441"/>
                <a:gd name="connsiteX10" fmla="*/ 93184 w 214062"/>
                <a:gd name="connsiteY10" fmla="*/ 21341 h 255441"/>
                <a:gd name="connsiteX11" fmla="*/ 94650 w 214062"/>
                <a:gd name="connsiteY11" fmla="*/ 25577 h 255441"/>
                <a:gd name="connsiteX12" fmla="*/ 98560 w 214062"/>
                <a:gd name="connsiteY12" fmla="*/ 22807 h 255441"/>
                <a:gd name="connsiteX13" fmla="*/ 100026 w 214062"/>
                <a:gd name="connsiteY13" fmla="*/ 20038 h 255441"/>
                <a:gd name="connsiteX14" fmla="*/ 102470 w 214062"/>
                <a:gd name="connsiteY14" fmla="*/ 18572 h 255441"/>
                <a:gd name="connsiteX15" fmla="*/ 104262 w 214062"/>
                <a:gd name="connsiteY15" fmla="*/ 21341 h 255441"/>
                <a:gd name="connsiteX16" fmla="*/ 110778 w 214062"/>
                <a:gd name="connsiteY16" fmla="*/ 25903 h 255441"/>
                <a:gd name="connsiteX17" fmla="*/ 112082 w 214062"/>
                <a:gd name="connsiteY17" fmla="*/ 24111 h 255441"/>
                <a:gd name="connsiteX18" fmla="*/ 116154 w 214062"/>
                <a:gd name="connsiteY18" fmla="*/ 20852 h 255441"/>
                <a:gd name="connsiteX19" fmla="*/ 118272 w 214062"/>
                <a:gd name="connsiteY19" fmla="*/ 22156 h 255441"/>
                <a:gd name="connsiteX20" fmla="*/ 118272 w 214062"/>
                <a:gd name="connsiteY20" fmla="*/ 26391 h 255441"/>
                <a:gd name="connsiteX21" fmla="*/ 114851 w 214062"/>
                <a:gd name="connsiteY21" fmla="*/ 30464 h 255441"/>
                <a:gd name="connsiteX22" fmla="*/ 111919 w 214062"/>
                <a:gd name="connsiteY22" fmla="*/ 29975 h 255441"/>
                <a:gd name="connsiteX23" fmla="*/ 107357 w 214062"/>
                <a:gd name="connsiteY23" fmla="*/ 33071 h 255441"/>
                <a:gd name="connsiteX24" fmla="*/ 113710 w 214062"/>
                <a:gd name="connsiteY24" fmla="*/ 35025 h 255441"/>
                <a:gd name="connsiteX25" fmla="*/ 116154 w 214062"/>
                <a:gd name="connsiteY25" fmla="*/ 33885 h 255441"/>
                <a:gd name="connsiteX26" fmla="*/ 120716 w 214062"/>
                <a:gd name="connsiteY26" fmla="*/ 34374 h 255441"/>
                <a:gd name="connsiteX27" fmla="*/ 122344 w 214062"/>
                <a:gd name="connsiteY27" fmla="*/ 37143 h 255441"/>
                <a:gd name="connsiteX28" fmla="*/ 127721 w 214062"/>
                <a:gd name="connsiteY28" fmla="*/ 36655 h 255441"/>
                <a:gd name="connsiteX29" fmla="*/ 128535 w 214062"/>
                <a:gd name="connsiteY29" fmla="*/ 33071 h 255441"/>
                <a:gd name="connsiteX30" fmla="*/ 132119 w 214062"/>
                <a:gd name="connsiteY30" fmla="*/ 28183 h 255441"/>
                <a:gd name="connsiteX31" fmla="*/ 141405 w 214062"/>
                <a:gd name="connsiteY31" fmla="*/ 26717 h 255441"/>
                <a:gd name="connsiteX32" fmla="*/ 141731 w 214062"/>
                <a:gd name="connsiteY32" fmla="*/ 24436 h 255441"/>
                <a:gd name="connsiteX33" fmla="*/ 146781 w 214062"/>
                <a:gd name="connsiteY33" fmla="*/ 21830 h 255441"/>
                <a:gd name="connsiteX34" fmla="*/ 147433 w 214062"/>
                <a:gd name="connsiteY34" fmla="*/ 19223 h 255441"/>
                <a:gd name="connsiteX35" fmla="*/ 149714 w 214062"/>
                <a:gd name="connsiteY35" fmla="*/ 18083 h 255441"/>
                <a:gd name="connsiteX36" fmla="*/ 156230 w 214062"/>
                <a:gd name="connsiteY36" fmla="*/ 18735 h 255441"/>
                <a:gd name="connsiteX37" fmla="*/ 151017 w 214062"/>
                <a:gd name="connsiteY37" fmla="*/ 20852 h 255441"/>
                <a:gd name="connsiteX38" fmla="*/ 149062 w 214062"/>
                <a:gd name="connsiteY38" fmla="*/ 22807 h 255441"/>
                <a:gd name="connsiteX39" fmla="*/ 148247 w 214062"/>
                <a:gd name="connsiteY39" fmla="*/ 22156 h 255441"/>
                <a:gd name="connsiteX40" fmla="*/ 145478 w 214062"/>
                <a:gd name="connsiteY40" fmla="*/ 24925 h 255441"/>
                <a:gd name="connsiteX41" fmla="*/ 147433 w 214062"/>
                <a:gd name="connsiteY41" fmla="*/ 26717 h 255441"/>
                <a:gd name="connsiteX42" fmla="*/ 152646 w 214062"/>
                <a:gd name="connsiteY42" fmla="*/ 23133 h 255441"/>
                <a:gd name="connsiteX43" fmla="*/ 158348 w 214062"/>
                <a:gd name="connsiteY43" fmla="*/ 22482 h 255441"/>
                <a:gd name="connsiteX44" fmla="*/ 160628 w 214062"/>
                <a:gd name="connsiteY44" fmla="*/ 21341 h 255441"/>
                <a:gd name="connsiteX45" fmla="*/ 162420 w 214062"/>
                <a:gd name="connsiteY45" fmla="*/ 24111 h 255441"/>
                <a:gd name="connsiteX46" fmla="*/ 166819 w 214062"/>
                <a:gd name="connsiteY46" fmla="*/ 24925 h 255441"/>
                <a:gd name="connsiteX47" fmla="*/ 173173 w 214062"/>
                <a:gd name="connsiteY47" fmla="*/ 31279 h 255441"/>
                <a:gd name="connsiteX48" fmla="*/ 178385 w 214062"/>
                <a:gd name="connsiteY48" fmla="*/ 30301 h 255441"/>
                <a:gd name="connsiteX49" fmla="*/ 181318 w 214062"/>
                <a:gd name="connsiteY49" fmla="*/ 34700 h 255441"/>
                <a:gd name="connsiteX50" fmla="*/ 180340 w 214062"/>
                <a:gd name="connsiteY50" fmla="*/ 39587 h 255441"/>
                <a:gd name="connsiteX51" fmla="*/ 185065 w 214062"/>
                <a:gd name="connsiteY51" fmla="*/ 43171 h 255441"/>
                <a:gd name="connsiteX52" fmla="*/ 189300 w 214062"/>
                <a:gd name="connsiteY52" fmla="*/ 42682 h 255441"/>
                <a:gd name="connsiteX53" fmla="*/ 192396 w 214062"/>
                <a:gd name="connsiteY53" fmla="*/ 45289 h 255441"/>
                <a:gd name="connsiteX54" fmla="*/ 196957 w 214062"/>
                <a:gd name="connsiteY54" fmla="*/ 45126 h 255441"/>
                <a:gd name="connsiteX55" fmla="*/ 199726 w 214062"/>
                <a:gd name="connsiteY55" fmla="*/ 56529 h 255441"/>
                <a:gd name="connsiteX56" fmla="*/ 198912 w 214062"/>
                <a:gd name="connsiteY56" fmla="*/ 65001 h 255441"/>
                <a:gd name="connsiteX57" fmla="*/ 191744 w 214062"/>
                <a:gd name="connsiteY57" fmla="*/ 68748 h 255441"/>
                <a:gd name="connsiteX58" fmla="*/ 191744 w 214062"/>
                <a:gd name="connsiteY58" fmla="*/ 72332 h 255441"/>
                <a:gd name="connsiteX59" fmla="*/ 199726 w 214062"/>
                <a:gd name="connsiteY59" fmla="*/ 80803 h 255441"/>
                <a:gd name="connsiteX60" fmla="*/ 198749 w 214062"/>
                <a:gd name="connsiteY60" fmla="*/ 85853 h 255441"/>
                <a:gd name="connsiteX61" fmla="*/ 202496 w 214062"/>
                <a:gd name="connsiteY61" fmla="*/ 90740 h 255441"/>
                <a:gd name="connsiteX62" fmla="*/ 202496 w 214062"/>
                <a:gd name="connsiteY62" fmla="*/ 94487 h 255441"/>
                <a:gd name="connsiteX63" fmla="*/ 204614 w 214062"/>
                <a:gd name="connsiteY63" fmla="*/ 99863 h 255441"/>
                <a:gd name="connsiteX64" fmla="*/ 202659 w 214062"/>
                <a:gd name="connsiteY64" fmla="*/ 104262 h 255441"/>
                <a:gd name="connsiteX65" fmla="*/ 207220 w 214062"/>
                <a:gd name="connsiteY65" fmla="*/ 114851 h 255441"/>
                <a:gd name="connsiteX66" fmla="*/ 210641 w 214062"/>
                <a:gd name="connsiteY66" fmla="*/ 116643 h 255441"/>
                <a:gd name="connsiteX67" fmla="*/ 213737 w 214062"/>
                <a:gd name="connsiteY67" fmla="*/ 120716 h 255441"/>
                <a:gd name="connsiteX68" fmla="*/ 214062 w 214062"/>
                <a:gd name="connsiteY68" fmla="*/ 134237 h 255441"/>
                <a:gd name="connsiteX69" fmla="*/ 211619 w 214062"/>
                <a:gd name="connsiteY69" fmla="*/ 137984 h 255441"/>
                <a:gd name="connsiteX70" fmla="*/ 208035 w 214062"/>
                <a:gd name="connsiteY70" fmla="*/ 136192 h 255441"/>
                <a:gd name="connsiteX71" fmla="*/ 204614 w 214062"/>
                <a:gd name="connsiteY71" fmla="*/ 138473 h 255441"/>
                <a:gd name="connsiteX72" fmla="*/ 196794 w 214062"/>
                <a:gd name="connsiteY72" fmla="*/ 136518 h 255441"/>
                <a:gd name="connsiteX73" fmla="*/ 196794 w 214062"/>
                <a:gd name="connsiteY73" fmla="*/ 141242 h 255441"/>
                <a:gd name="connsiteX74" fmla="*/ 192558 w 214062"/>
                <a:gd name="connsiteY74" fmla="*/ 143686 h 255441"/>
                <a:gd name="connsiteX75" fmla="*/ 188812 w 214062"/>
                <a:gd name="connsiteY75" fmla="*/ 142871 h 255441"/>
                <a:gd name="connsiteX76" fmla="*/ 180340 w 214062"/>
                <a:gd name="connsiteY76" fmla="*/ 143034 h 255441"/>
                <a:gd name="connsiteX77" fmla="*/ 177571 w 214062"/>
                <a:gd name="connsiteY77" fmla="*/ 147270 h 255441"/>
                <a:gd name="connsiteX78" fmla="*/ 172032 w 214062"/>
                <a:gd name="connsiteY78" fmla="*/ 147433 h 255441"/>
                <a:gd name="connsiteX79" fmla="*/ 167144 w 214062"/>
                <a:gd name="connsiteY79" fmla="*/ 153135 h 255441"/>
                <a:gd name="connsiteX80" fmla="*/ 162746 w 214062"/>
                <a:gd name="connsiteY80" fmla="*/ 153461 h 255441"/>
                <a:gd name="connsiteX81" fmla="*/ 153623 w 214062"/>
                <a:gd name="connsiteY81" fmla="*/ 161769 h 255441"/>
                <a:gd name="connsiteX82" fmla="*/ 149387 w 214062"/>
                <a:gd name="connsiteY82" fmla="*/ 159814 h 255441"/>
                <a:gd name="connsiteX83" fmla="*/ 146944 w 214062"/>
                <a:gd name="connsiteY83" fmla="*/ 157696 h 255441"/>
                <a:gd name="connsiteX84" fmla="*/ 144663 w 214062"/>
                <a:gd name="connsiteY84" fmla="*/ 159325 h 255441"/>
                <a:gd name="connsiteX85" fmla="*/ 144989 w 214062"/>
                <a:gd name="connsiteY85" fmla="*/ 163235 h 255441"/>
                <a:gd name="connsiteX86" fmla="*/ 151831 w 214062"/>
                <a:gd name="connsiteY86" fmla="*/ 167308 h 255441"/>
                <a:gd name="connsiteX87" fmla="*/ 157044 w 214062"/>
                <a:gd name="connsiteY87" fmla="*/ 175616 h 255441"/>
                <a:gd name="connsiteX88" fmla="*/ 156719 w 214062"/>
                <a:gd name="connsiteY88" fmla="*/ 181807 h 255441"/>
                <a:gd name="connsiteX89" fmla="*/ 158185 w 214062"/>
                <a:gd name="connsiteY89" fmla="*/ 185554 h 255441"/>
                <a:gd name="connsiteX90" fmla="*/ 163072 w 214062"/>
                <a:gd name="connsiteY90" fmla="*/ 188323 h 255441"/>
                <a:gd name="connsiteX91" fmla="*/ 171869 w 214062"/>
                <a:gd name="connsiteY91" fmla="*/ 194351 h 255441"/>
                <a:gd name="connsiteX92" fmla="*/ 176919 w 214062"/>
                <a:gd name="connsiteY92" fmla="*/ 197609 h 255441"/>
                <a:gd name="connsiteX93" fmla="*/ 187182 w 214062"/>
                <a:gd name="connsiteY93" fmla="*/ 209501 h 255441"/>
                <a:gd name="connsiteX94" fmla="*/ 186205 w 214062"/>
                <a:gd name="connsiteY94" fmla="*/ 214388 h 255441"/>
                <a:gd name="connsiteX95" fmla="*/ 186531 w 214062"/>
                <a:gd name="connsiteY95" fmla="*/ 219439 h 255441"/>
                <a:gd name="connsiteX96" fmla="*/ 182458 w 214062"/>
                <a:gd name="connsiteY96" fmla="*/ 219439 h 255441"/>
                <a:gd name="connsiteX97" fmla="*/ 179526 w 214062"/>
                <a:gd name="connsiteY97" fmla="*/ 224489 h 255441"/>
                <a:gd name="connsiteX98" fmla="*/ 173498 w 214062"/>
                <a:gd name="connsiteY98" fmla="*/ 227421 h 255441"/>
                <a:gd name="connsiteX99" fmla="*/ 166656 w 214062"/>
                <a:gd name="connsiteY99" fmla="*/ 236055 h 255441"/>
                <a:gd name="connsiteX100" fmla="*/ 166656 w 214062"/>
                <a:gd name="connsiteY100" fmla="*/ 239314 h 255441"/>
                <a:gd name="connsiteX101" fmla="*/ 173009 w 214062"/>
                <a:gd name="connsiteY101" fmla="*/ 242572 h 255441"/>
                <a:gd name="connsiteX102" fmla="*/ 173661 w 214062"/>
                <a:gd name="connsiteY102" fmla="*/ 247296 h 255441"/>
                <a:gd name="connsiteX103" fmla="*/ 171217 w 214062"/>
                <a:gd name="connsiteY103" fmla="*/ 249088 h 255441"/>
                <a:gd name="connsiteX104" fmla="*/ 165516 w 214062"/>
                <a:gd name="connsiteY104" fmla="*/ 245830 h 255441"/>
                <a:gd name="connsiteX105" fmla="*/ 159651 w 214062"/>
                <a:gd name="connsiteY105" fmla="*/ 247459 h 255441"/>
                <a:gd name="connsiteX106" fmla="*/ 153786 w 214062"/>
                <a:gd name="connsiteY106" fmla="*/ 245830 h 255441"/>
                <a:gd name="connsiteX107" fmla="*/ 149714 w 214062"/>
                <a:gd name="connsiteY107" fmla="*/ 246319 h 255441"/>
                <a:gd name="connsiteX108" fmla="*/ 141731 w 214062"/>
                <a:gd name="connsiteY108" fmla="*/ 251695 h 255441"/>
                <a:gd name="connsiteX109" fmla="*/ 137169 w 214062"/>
                <a:gd name="connsiteY109" fmla="*/ 252672 h 255441"/>
                <a:gd name="connsiteX110" fmla="*/ 133260 w 214062"/>
                <a:gd name="connsiteY110" fmla="*/ 251369 h 255441"/>
                <a:gd name="connsiteX111" fmla="*/ 128698 w 214062"/>
                <a:gd name="connsiteY111" fmla="*/ 252509 h 255441"/>
                <a:gd name="connsiteX112" fmla="*/ 125114 w 214062"/>
                <a:gd name="connsiteY112" fmla="*/ 250066 h 255441"/>
                <a:gd name="connsiteX113" fmla="*/ 118109 w 214062"/>
                <a:gd name="connsiteY113" fmla="*/ 248925 h 255441"/>
                <a:gd name="connsiteX114" fmla="*/ 111267 w 214062"/>
                <a:gd name="connsiteY114" fmla="*/ 249903 h 255441"/>
                <a:gd name="connsiteX115" fmla="*/ 111755 w 214062"/>
                <a:gd name="connsiteY115" fmla="*/ 253324 h 255441"/>
                <a:gd name="connsiteX116" fmla="*/ 110126 w 214062"/>
                <a:gd name="connsiteY116" fmla="*/ 255442 h 255441"/>
                <a:gd name="connsiteX117" fmla="*/ 103773 w 214062"/>
                <a:gd name="connsiteY117" fmla="*/ 253812 h 255441"/>
                <a:gd name="connsiteX118" fmla="*/ 100189 w 214062"/>
                <a:gd name="connsiteY118" fmla="*/ 249903 h 255441"/>
                <a:gd name="connsiteX119" fmla="*/ 95628 w 214062"/>
                <a:gd name="connsiteY119" fmla="*/ 251532 h 255441"/>
                <a:gd name="connsiteX120" fmla="*/ 92695 w 214062"/>
                <a:gd name="connsiteY120" fmla="*/ 252998 h 255441"/>
                <a:gd name="connsiteX121" fmla="*/ 91392 w 214062"/>
                <a:gd name="connsiteY121" fmla="*/ 252998 h 255441"/>
                <a:gd name="connsiteX122" fmla="*/ 88785 w 214062"/>
                <a:gd name="connsiteY122" fmla="*/ 251369 h 255441"/>
                <a:gd name="connsiteX123" fmla="*/ 81780 w 214062"/>
                <a:gd name="connsiteY123" fmla="*/ 246156 h 255441"/>
                <a:gd name="connsiteX124" fmla="*/ 78196 w 214062"/>
                <a:gd name="connsiteY124" fmla="*/ 245993 h 255441"/>
                <a:gd name="connsiteX125" fmla="*/ 75753 w 214062"/>
                <a:gd name="connsiteY125" fmla="*/ 248436 h 255441"/>
                <a:gd name="connsiteX126" fmla="*/ 72494 w 214062"/>
                <a:gd name="connsiteY126" fmla="*/ 247459 h 255441"/>
                <a:gd name="connsiteX127" fmla="*/ 70703 w 214062"/>
                <a:gd name="connsiteY127" fmla="*/ 242572 h 255441"/>
                <a:gd name="connsiteX128" fmla="*/ 65489 w 214062"/>
                <a:gd name="connsiteY128" fmla="*/ 244364 h 255441"/>
                <a:gd name="connsiteX129" fmla="*/ 66141 w 214062"/>
                <a:gd name="connsiteY129" fmla="*/ 247459 h 255441"/>
                <a:gd name="connsiteX130" fmla="*/ 64349 w 214062"/>
                <a:gd name="connsiteY130" fmla="*/ 250554 h 255441"/>
                <a:gd name="connsiteX131" fmla="*/ 57996 w 214062"/>
                <a:gd name="connsiteY131" fmla="*/ 248436 h 255441"/>
                <a:gd name="connsiteX132" fmla="*/ 53434 w 214062"/>
                <a:gd name="connsiteY132" fmla="*/ 251043 h 255441"/>
                <a:gd name="connsiteX133" fmla="*/ 49198 w 214062"/>
                <a:gd name="connsiteY133" fmla="*/ 249740 h 255441"/>
                <a:gd name="connsiteX134" fmla="*/ 49361 w 214062"/>
                <a:gd name="connsiteY134" fmla="*/ 249740 h 255441"/>
                <a:gd name="connsiteX135" fmla="*/ 46918 w 214062"/>
                <a:gd name="connsiteY135" fmla="*/ 244690 h 255441"/>
                <a:gd name="connsiteX136" fmla="*/ 42519 w 214062"/>
                <a:gd name="connsiteY136" fmla="*/ 241920 h 255441"/>
                <a:gd name="connsiteX137" fmla="*/ 42193 w 214062"/>
                <a:gd name="connsiteY137" fmla="*/ 234589 h 255441"/>
                <a:gd name="connsiteX138" fmla="*/ 44800 w 214062"/>
                <a:gd name="connsiteY138" fmla="*/ 225792 h 255441"/>
                <a:gd name="connsiteX139" fmla="*/ 48221 w 214062"/>
                <a:gd name="connsiteY139" fmla="*/ 222371 h 255441"/>
                <a:gd name="connsiteX140" fmla="*/ 48221 w 214062"/>
                <a:gd name="connsiteY140" fmla="*/ 218624 h 255441"/>
                <a:gd name="connsiteX141" fmla="*/ 50991 w 214062"/>
                <a:gd name="connsiteY141" fmla="*/ 210804 h 255441"/>
                <a:gd name="connsiteX142" fmla="*/ 56692 w 214062"/>
                <a:gd name="connsiteY142" fmla="*/ 204940 h 255441"/>
                <a:gd name="connsiteX143" fmla="*/ 51805 w 214062"/>
                <a:gd name="connsiteY143" fmla="*/ 201682 h 255441"/>
                <a:gd name="connsiteX144" fmla="*/ 46918 w 214062"/>
                <a:gd name="connsiteY144" fmla="*/ 201682 h 255441"/>
                <a:gd name="connsiteX145" fmla="*/ 40890 w 214062"/>
                <a:gd name="connsiteY145" fmla="*/ 198912 h 255441"/>
                <a:gd name="connsiteX146" fmla="*/ 36328 w 214062"/>
                <a:gd name="connsiteY146" fmla="*/ 200378 h 255441"/>
                <a:gd name="connsiteX147" fmla="*/ 32907 w 214062"/>
                <a:gd name="connsiteY147" fmla="*/ 199075 h 255441"/>
                <a:gd name="connsiteX148" fmla="*/ 28509 w 214062"/>
                <a:gd name="connsiteY148" fmla="*/ 199075 h 255441"/>
                <a:gd name="connsiteX149" fmla="*/ 24273 w 214062"/>
                <a:gd name="connsiteY149" fmla="*/ 200541 h 255441"/>
                <a:gd name="connsiteX150" fmla="*/ 19875 w 214062"/>
                <a:gd name="connsiteY150" fmla="*/ 196794 h 255441"/>
                <a:gd name="connsiteX151" fmla="*/ 19875 w 214062"/>
                <a:gd name="connsiteY151" fmla="*/ 193699 h 255441"/>
                <a:gd name="connsiteX152" fmla="*/ 15150 w 214062"/>
                <a:gd name="connsiteY152" fmla="*/ 189952 h 255441"/>
                <a:gd name="connsiteX153" fmla="*/ 14987 w 214062"/>
                <a:gd name="connsiteY153" fmla="*/ 189952 h 255441"/>
                <a:gd name="connsiteX154" fmla="*/ 15476 w 214062"/>
                <a:gd name="connsiteY154" fmla="*/ 181970 h 255441"/>
                <a:gd name="connsiteX155" fmla="*/ 12707 w 214062"/>
                <a:gd name="connsiteY155" fmla="*/ 179526 h 255441"/>
                <a:gd name="connsiteX156" fmla="*/ 11566 w 214062"/>
                <a:gd name="connsiteY156" fmla="*/ 173987 h 255441"/>
                <a:gd name="connsiteX157" fmla="*/ 5539 w 214062"/>
                <a:gd name="connsiteY157" fmla="*/ 166330 h 255441"/>
                <a:gd name="connsiteX158" fmla="*/ 3910 w 214062"/>
                <a:gd name="connsiteY158" fmla="*/ 166330 h 255441"/>
                <a:gd name="connsiteX159" fmla="*/ 6842 w 214062"/>
                <a:gd name="connsiteY159" fmla="*/ 159488 h 255441"/>
                <a:gd name="connsiteX160" fmla="*/ 3584 w 214062"/>
                <a:gd name="connsiteY160" fmla="*/ 154601 h 255441"/>
                <a:gd name="connsiteX161" fmla="*/ 3910 w 214062"/>
                <a:gd name="connsiteY161" fmla="*/ 151506 h 255441"/>
                <a:gd name="connsiteX162" fmla="*/ 0 w 214062"/>
                <a:gd name="connsiteY162" fmla="*/ 143523 h 255441"/>
                <a:gd name="connsiteX163" fmla="*/ 1629 w 214062"/>
                <a:gd name="connsiteY163" fmla="*/ 139939 h 255441"/>
                <a:gd name="connsiteX164" fmla="*/ 977 w 214062"/>
                <a:gd name="connsiteY164" fmla="*/ 139613 h 255441"/>
                <a:gd name="connsiteX165" fmla="*/ 3095 w 214062"/>
                <a:gd name="connsiteY165" fmla="*/ 134074 h 255441"/>
                <a:gd name="connsiteX166" fmla="*/ 4724 w 214062"/>
                <a:gd name="connsiteY166" fmla="*/ 125603 h 255441"/>
                <a:gd name="connsiteX167" fmla="*/ 3258 w 214062"/>
                <a:gd name="connsiteY167" fmla="*/ 118109 h 255441"/>
                <a:gd name="connsiteX168" fmla="*/ 6679 w 214062"/>
                <a:gd name="connsiteY168" fmla="*/ 114036 h 255441"/>
                <a:gd name="connsiteX169" fmla="*/ 9775 w 214062"/>
                <a:gd name="connsiteY169" fmla="*/ 108986 h 255441"/>
                <a:gd name="connsiteX170" fmla="*/ 16617 w 214062"/>
                <a:gd name="connsiteY170" fmla="*/ 107194 h 255441"/>
                <a:gd name="connsiteX171" fmla="*/ 22970 w 214062"/>
                <a:gd name="connsiteY171" fmla="*/ 108660 h 255441"/>
                <a:gd name="connsiteX172" fmla="*/ 26717 w 214062"/>
                <a:gd name="connsiteY172" fmla="*/ 106706 h 255441"/>
                <a:gd name="connsiteX173" fmla="*/ 23948 w 214062"/>
                <a:gd name="connsiteY173" fmla="*/ 101981 h 255441"/>
                <a:gd name="connsiteX174" fmla="*/ 27206 w 214062"/>
                <a:gd name="connsiteY174" fmla="*/ 99538 h 255441"/>
                <a:gd name="connsiteX175" fmla="*/ 28020 w 214062"/>
                <a:gd name="connsiteY175" fmla="*/ 93999 h 255441"/>
                <a:gd name="connsiteX176" fmla="*/ 29487 w 214062"/>
                <a:gd name="connsiteY176" fmla="*/ 90903 h 255441"/>
                <a:gd name="connsiteX177" fmla="*/ 26880 w 214062"/>
                <a:gd name="connsiteY177" fmla="*/ 88460 h 255441"/>
                <a:gd name="connsiteX178" fmla="*/ 20526 w 214062"/>
                <a:gd name="connsiteY178" fmla="*/ 88623 h 255441"/>
                <a:gd name="connsiteX179" fmla="*/ 19875 w 214062"/>
                <a:gd name="connsiteY179" fmla="*/ 85364 h 255441"/>
                <a:gd name="connsiteX180" fmla="*/ 22155 w 214062"/>
                <a:gd name="connsiteY180" fmla="*/ 80314 h 255441"/>
                <a:gd name="connsiteX181" fmla="*/ 27369 w 214062"/>
                <a:gd name="connsiteY181" fmla="*/ 82758 h 255441"/>
                <a:gd name="connsiteX182" fmla="*/ 30790 w 214062"/>
                <a:gd name="connsiteY182" fmla="*/ 79988 h 255441"/>
                <a:gd name="connsiteX183" fmla="*/ 30790 w 214062"/>
                <a:gd name="connsiteY183" fmla="*/ 74938 h 255441"/>
                <a:gd name="connsiteX184" fmla="*/ 32907 w 214062"/>
                <a:gd name="connsiteY184" fmla="*/ 70540 h 255441"/>
                <a:gd name="connsiteX185" fmla="*/ 33233 w 214062"/>
                <a:gd name="connsiteY185" fmla="*/ 67607 h 255441"/>
                <a:gd name="connsiteX186" fmla="*/ 34700 w 214062"/>
                <a:gd name="connsiteY186" fmla="*/ 65815 h 255441"/>
                <a:gd name="connsiteX187" fmla="*/ 34862 w 214062"/>
                <a:gd name="connsiteY187" fmla="*/ 64675 h 255441"/>
                <a:gd name="connsiteX188" fmla="*/ 35351 w 214062"/>
                <a:gd name="connsiteY188" fmla="*/ 64838 h 255441"/>
                <a:gd name="connsiteX189" fmla="*/ 34211 w 214062"/>
                <a:gd name="connsiteY189" fmla="*/ 60114 h 255441"/>
                <a:gd name="connsiteX190" fmla="*/ 28509 w 214062"/>
                <a:gd name="connsiteY190" fmla="*/ 59136 h 255441"/>
                <a:gd name="connsiteX191" fmla="*/ 26228 w 214062"/>
                <a:gd name="connsiteY191" fmla="*/ 54575 h 255441"/>
                <a:gd name="connsiteX192" fmla="*/ 27206 w 214062"/>
                <a:gd name="connsiteY192" fmla="*/ 49687 h 255441"/>
                <a:gd name="connsiteX193" fmla="*/ 38609 w 214062"/>
                <a:gd name="connsiteY193" fmla="*/ 46592 h 255441"/>
                <a:gd name="connsiteX194" fmla="*/ 41867 w 214062"/>
                <a:gd name="connsiteY194" fmla="*/ 44963 h 255441"/>
                <a:gd name="connsiteX195" fmla="*/ 47569 w 214062"/>
                <a:gd name="connsiteY195" fmla="*/ 49036 h 255441"/>
                <a:gd name="connsiteX196" fmla="*/ 47569 w 214062"/>
                <a:gd name="connsiteY196" fmla="*/ 54900 h 255441"/>
                <a:gd name="connsiteX197" fmla="*/ 51805 w 214062"/>
                <a:gd name="connsiteY197" fmla="*/ 59788 h 255441"/>
                <a:gd name="connsiteX198" fmla="*/ 54249 w 214062"/>
                <a:gd name="connsiteY198" fmla="*/ 57181 h 255441"/>
                <a:gd name="connsiteX199" fmla="*/ 51968 w 214062"/>
                <a:gd name="connsiteY199" fmla="*/ 52783 h 255441"/>
                <a:gd name="connsiteX200" fmla="*/ 51968 w 214062"/>
                <a:gd name="connsiteY200" fmla="*/ 49036 h 255441"/>
                <a:gd name="connsiteX201" fmla="*/ 54249 w 214062"/>
                <a:gd name="connsiteY201" fmla="*/ 48058 h 255441"/>
                <a:gd name="connsiteX202" fmla="*/ 57996 w 214062"/>
                <a:gd name="connsiteY202" fmla="*/ 51316 h 255441"/>
                <a:gd name="connsiteX203" fmla="*/ 57507 w 214062"/>
                <a:gd name="connsiteY203" fmla="*/ 57181 h 255441"/>
                <a:gd name="connsiteX204" fmla="*/ 63209 w 214062"/>
                <a:gd name="connsiteY204" fmla="*/ 63535 h 255441"/>
                <a:gd name="connsiteX205" fmla="*/ 60765 w 214062"/>
                <a:gd name="connsiteY205" fmla="*/ 58647 h 255441"/>
                <a:gd name="connsiteX206" fmla="*/ 60602 w 214062"/>
                <a:gd name="connsiteY206" fmla="*/ 51316 h 255441"/>
                <a:gd name="connsiteX207" fmla="*/ 59625 w 214062"/>
                <a:gd name="connsiteY207" fmla="*/ 47081 h 255441"/>
                <a:gd name="connsiteX208" fmla="*/ 62720 w 214062"/>
                <a:gd name="connsiteY208" fmla="*/ 42031 h 255441"/>
                <a:gd name="connsiteX209" fmla="*/ 66793 w 214062"/>
                <a:gd name="connsiteY209" fmla="*/ 41379 h 255441"/>
                <a:gd name="connsiteX210" fmla="*/ 70866 w 214062"/>
                <a:gd name="connsiteY210" fmla="*/ 43497 h 255441"/>
                <a:gd name="connsiteX211" fmla="*/ 76241 w 214062"/>
                <a:gd name="connsiteY211" fmla="*/ 41379 h 255441"/>
                <a:gd name="connsiteX212" fmla="*/ 84387 w 214062"/>
                <a:gd name="connsiteY212" fmla="*/ 50176 h 255441"/>
                <a:gd name="connsiteX213" fmla="*/ 95465 w 214062"/>
                <a:gd name="connsiteY213" fmla="*/ 52294 h 255441"/>
                <a:gd name="connsiteX214" fmla="*/ 84876 w 214062"/>
                <a:gd name="connsiteY214" fmla="*/ 47895 h 255441"/>
                <a:gd name="connsiteX215" fmla="*/ 76893 w 214062"/>
                <a:gd name="connsiteY215" fmla="*/ 39587 h 255441"/>
                <a:gd name="connsiteX216" fmla="*/ 70703 w 214062"/>
                <a:gd name="connsiteY216" fmla="*/ 39098 h 255441"/>
                <a:gd name="connsiteX217" fmla="*/ 67282 w 214062"/>
                <a:gd name="connsiteY217" fmla="*/ 36980 h 255441"/>
                <a:gd name="connsiteX218" fmla="*/ 67282 w 214062"/>
                <a:gd name="connsiteY218" fmla="*/ 33396 h 255441"/>
                <a:gd name="connsiteX219" fmla="*/ 71354 w 214062"/>
                <a:gd name="connsiteY219" fmla="*/ 30301 h 255441"/>
                <a:gd name="connsiteX220" fmla="*/ 66630 w 214062"/>
                <a:gd name="connsiteY220" fmla="*/ 27369 h 255441"/>
                <a:gd name="connsiteX221" fmla="*/ 66630 w 214062"/>
                <a:gd name="connsiteY221" fmla="*/ 21341 h 255441"/>
                <a:gd name="connsiteX222" fmla="*/ 62231 w 214062"/>
                <a:gd name="connsiteY222" fmla="*/ 23296 h 255441"/>
                <a:gd name="connsiteX223" fmla="*/ 62068 w 214062"/>
                <a:gd name="connsiteY223" fmla="*/ 18898 h 255441"/>
                <a:gd name="connsiteX224" fmla="*/ 66304 w 214062"/>
                <a:gd name="connsiteY224" fmla="*/ 18898 h 255441"/>
                <a:gd name="connsiteX225" fmla="*/ 70866 w 214062"/>
                <a:gd name="connsiteY225" fmla="*/ 17106 h 255441"/>
                <a:gd name="connsiteX226" fmla="*/ 65326 w 214062"/>
                <a:gd name="connsiteY226" fmla="*/ 11892 h 255441"/>
                <a:gd name="connsiteX227" fmla="*/ 65652 w 214062"/>
                <a:gd name="connsiteY227" fmla="*/ 8145 h 255441"/>
                <a:gd name="connsiteX228" fmla="*/ 63046 w 214062"/>
                <a:gd name="connsiteY228" fmla="*/ 7983 h 255441"/>
                <a:gd name="connsiteX229" fmla="*/ 59462 w 214062"/>
                <a:gd name="connsiteY229" fmla="*/ 5702 h 255441"/>
                <a:gd name="connsiteX230" fmla="*/ 59787 w 214062"/>
                <a:gd name="connsiteY230" fmla="*/ 1466 h 255441"/>
                <a:gd name="connsiteX231" fmla="*/ 59625 w 214062"/>
                <a:gd name="connsiteY231" fmla="*/ 326 h 2554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</a:cxnLst>
              <a:rect l="l" t="t" r="r" b="b"/>
              <a:pathLst>
                <a:path w="214062" h="255441">
                  <a:moveTo>
                    <a:pt x="59625" y="326"/>
                  </a:moveTo>
                  <a:lnTo>
                    <a:pt x="66304" y="0"/>
                  </a:lnTo>
                  <a:lnTo>
                    <a:pt x="75753" y="2607"/>
                  </a:lnTo>
                  <a:lnTo>
                    <a:pt x="78522" y="3910"/>
                  </a:lnTo>
                  <a:lnTo>
                    <a:pt x="82921" y="3095"/>
                  </a:lnTo>
                  <a:lnTo>
                    <a:pt x="87971" y="8471"/>
                  </a:lnTo>
                  <a:lnTo>
                    <a:pt x="93021" y="8960"/>
                  </a:lnTo>
                  <a:lnTo>
                    <a:pt x="90251" y="14825"/>
                  </a:lnTo>
                  <a:lnTo>
                    <a:pt x="87645" y="17268"/>
                  </a:lnTo>
                  <a:lnTo>
                    <a:pt x="89111" y="20201"/>
                  </a:lnTo>
                  <a:lnTo>
                    <a:pt x="93184" y="21341"/>
                  </a:lnTo>
                  <a:lnTo>
                    <a:pt x="94650" y="25577"/>
                  </a:lnTo>
                  <a:lnTo>
                    <a:pt x="98560" y="22807"/>
                  </a:lnTo>
                  <a:lnTo>
                    <a:pt x="100026" y="20038"/>
                  </a:lnTo>
                  <a:lnTo>
                    <a:pt x="102470" y="18572"/>
                  </a:lnTo>
                  <a:lnTo>
                    <a:pt x="104262" y="21341"/>
                  </a:lnTo>
                  <a:lnTo>
                    <a:pt x="110778" y="25903"/>
                  </a:lnTo>
                  <a:lnTo>
                    <a:pt x="112082" y="24111"/>
                  </a:lnTo>
                  <a:lnTo>
                    <a:pt x="116154" y="20852"/>
                  </a:lnTo>
                  <a:lnTo>
                    <a:pt x="118272" y="22156"/>
                  </a:lnTo>
                  <a:lnTo>
                    <a:pt x="118272" y="26391"/>
                  </a:lnTo>
                  <a:lnTo>
                    <a:pt x="114851" y="30464"/>
                  </a:lnTo>
                  <a:lnTo>
                    <a:pt x="111919" y="29975"/>
                  </a:lnTo>
                  <a:lnTo>
                    <a:pt x="107357" y="33071"/>
                  </a:lnTo>
                  <a:lnTo>
                    <a:pt x="113710" y="35025"/>
                  </a:lnTo>
                  <a:lnTo>
                    <a:pt x="116154" y="33885"/>
                  </a:lnTo>
                  <a:lnTo>
                    <a:pt x="120716" y="34374"/>
                  </a:lnTo>
                  <a:lnTo>
                    <a:pt x="122344" y="37143"/>
                  </a:lnTo>
                  <a:lnTo>
                    <a:pt x="127721" y="36655"/>
                  </a:lnTo>
                  <a:lnTo>
                    <a:pt x="128535" y="33071"/>
                  </a:lnTo>
                  <a:lnTo>
                    <a:pt x="132119" y="28183"/>
                  </a:lnTo>
                  <a:lnTo>
                    <a:pt x="141405" y="26717"/>
                  </a:lnTo>
                  <a:lnTo>
                    <a:pt x="141731" y="24436"/>
                  </a:lnTo>
                  <a:lnTo>
                    <a:pt x="146781" y="21830"/>
                  </a:lnTo>
                  <a:lnTo>
                    <a:pt x="147433" y="19223"/>
                  </a:lnTo>
                  <a:lnTo>
                    <a:pt x="149714" y="18083"/>
                  </a:lnTo>
                  <a:lnTo>
                    <a:pt x="156230" y="18735"/>
                  </a:lnTo>
                  <a:lnTo>
                    <a:pt x="151017" y="20852"/>
                  </a:lnTo>
                  <a:lnTo>
                    <a:pt x="149062" y="22807"/>
                  </a:lnTo>
                  <a:lnTo>
                    <a:pt x="148247" y="22156"/>
                  </a:lnTo>
                  <a:lnTo>
                    <a:pt x="145478" y="24925"/>
                  </a:lnTo>
                  <a:lnTo>
                    <a:pt x="147433" y="26717"/>
                  </a:lnTo>
                  <a:lnTo>
                    <a:pt x="152646" y="23133"/>
                  </a:lnTo>
                  <a:lnTo>
                    <a:pt x="158348" y="22482"/>
                  </a:lnTo>
                  <a:lnTo>
                    <a:pt x="160628" y="21341"/>
                  </a:lnTo>
                  <a:lnTo>
                    <a:pt x="162420" y="24111"/>
                  </a:lnTo>
                  <a:lnTo>
                    <a:pt x="166819" y="24925"/>
                  </a:lnTo>
                  <a:lnTo>
                    <a:pt x="173173" y="31279"/>
                  </a:lnTo>
                  <a:lnTo>
                    <a:pt x="178385" y="30301"/>
                  </a:lnTo>
                  <a:lnTo>
                    <a:pt x="181318" y="34700"/>
                  </a:lnTo>
                  <a:lnTo>
                    <a:pt x="180340" y="39587"/>
                  </a:lnTo>
                  <a:lnTo>
                    <a:pt x="185065" y="43171"/>
                  </a:lnTo>
                  <a:lnTo>
                    <a:pt x="189300" y="42682"/>
                  </a:lnTo>
                  <a:lnTo>
                    <a:pt x="192396" y="45289"/>
                  </a:lnTo>
                  <a:lnTo>
                    <a:pt x="196957" y="45126"/>
                  </a:lnTo>
                  <a:lnTo>
                    <a:pt x="199726" y="56529"/>
                  </a:lnTo>
                  <a:lnTo>
                    <a:pt x="198912" y="65001"/>
                  </a:lnTo>
                  <a:lnTo>
                    <a:pt x="191744" y="68748"/>
                  </a:lnTo>
                  <a:lnTo>
                    <a:pt x="191744" y="72332"/>
                  </a:lnTo>
                  <a:lnTo>
                    <a:pt x="199726" y="80803"/>
                  </a:lnTo>
                  <a:lnTo>
                    <a:pt x="198749" y="85853"/>
                  </a:lnTo>
                  <a:lnTo>
                    <a:pt x="202496" y="90740"/>
                  </a:lnTo>
                  <a:lnTo>
                    <a:pt x="202496" y="94487"/>
                  </a:lnTo>
                  <a:lnTo>
                    <a:pt x="204614" y="99863"/>
                  </a:lnTo>
                  <a:lnTo>
                    <a:pt x="202659" y="104262"/>
                  </a:lnTo>
                  <a:lnTo>
                    <a:pt x="207220" y="114851"/>
                  </a:lnTo>
                  <a:lnTo>
                    <a:pt x="210641" y="116643"/>
                  </a:lnTo>
                  <a:lnTo>
                    <a:pt x="213737" y="120716"/>
                  </a:lnTo>
                  <a:lnTo>
                    <a:pt x="214062" y="134237"/>
                  </a:lnTo>
                  <a:lnTo>
                    <a:pt x="211619" y="137984"/>
                  </a:lnTo>
                  <a:lnTo>
                    <a:pt x="208035" y="136192"/>
                  </a:lnTo>
                  <a:lnTo>
                    <a:pt x="204614" y="138473"/>
                  </a:lnTo>
                  <a:lnTo>
                    <a:pt x="196794" y="136518"/>
                  </a:lnTo>
                  <a:lnTo>
                    <a:pt x="196794" y="141242"/>
                  </a:lnTo>
                  <a:lnTo>
                    <a:pt x="192558" y="143686"/>
                  </a:lnTo>
                  <a:lnTo>
                    <a:pt x="188812" y="142871"/>
                  </a:lnTo>
                  <a:lnTo>
                    <a:pt x="180340" y="143034"/>
                  </a:lnTo>
                  <a:lnTo>
                    <a:pt x="177571" y="147270"/>
                  </a:lnTo>
                  <a:lnTo>
                    <a:pt x="172032" y="147433"/>
                  </a:lnTo>
                  <a:lnTo>
                    <a:pt x="167144" y="153135"/>
                  </a:lnTo>
                  <a:lnTo>
                    <a:pt x="162746" y="153461"/>
                  </a:lnTo>
                  <a:lnTo>
                    <a:pt x="153623" y="161769"/>
                  </a:lnTo>
                  <a:lnTo>
                    <a:pt x="149387" y="159814"/>
                  </a:lnTo>
                  <a:lnTo>
                    <a:pt x="146944" y="157696"/>
                  </a:lnTo>
                  <a:lnTo>
                    <a:pt x="144663" y="159325"/>
                  </a:lnTo>
                  <a:lnTo>
                    <a:pt x="144989" y="163235"/>
                  </a:lnTo>
                  <a:lnTo>
                    <a:pt x="151831" y="167308"/>
                  </a:lnTo>
                  <a:lnTo>
                    <a:pt x="157044" y="175616"/>
                  </a:lnTo>
                  <a:lnTo>
                    <a:pt x="156719" y="181807"/>
                  </a:lnTo>
                  <a:lnTo>
                    <a:pt x="158185" y="185554"/>
                  </a:lnTo>
                  <a:lnTo>
                    <a:pt x="163072" y="188323"/>
                  </a:lnTo>
                  <a:lnTo>
                    <a:pt x="171869" y="194351"/>
                  </a:lnTo>
                  <a:lnTo>
                    <a:pt x="176919" y="197609"/>
                  </a:lnTo>
                  <a:lnTo>
                    <a:pt x="187182" y="209501"/>
                  </a:lnTo>
                  <a:lnTo>
                    <a:pt x="186205" y="214388"/>
                  </a:lnTo>
                  <a:lnTo>
                    <a:pt x="186531" y="219439"/>
                  </a:lnTo>
                  <a:lnTo>
                    <a:pt x="182458" y="219439"/>
                  </a:lnTo>
                  <a:lnTo>
                    <a:pt x="179526" y="224489"/>
                  </a:lnTo>
                  <a:lnTo>
                    <a:pt x="173498" y="227421"/>
                  </a:lnTo>
                  <a:lnTo>
                    <a:pt x="166656" y="236055"/>
                  </a:lnTo>
                  <a:lnTo>
                    <a:pt x="166656" y="239314"/>
                  </a:lnTo>
                  <a:lnTo>
                    <a:pt x="173009" y="242572"/>
                  </a:lnTo>
                  <a:lnTo>
                    <a:pt x="173661" y="247296"/>
                  </a:lnTo>
                  <a:lnTo>
                    <a:pt x="171217" y="249088"/>
                  </a:lnTo>
                  <a:lnTo>
                    <a:pt x="165516" y="245830"/>
                  </a:lnTo>
                  <a:lnTo>
                    <a:pt x="159651" y="247459"/>
                  </a:lnTo>
                  <a:lnTo>
                    <a:pt x="153786" y="245830"/>
                  </a:lnTo>
                  <a:lnTo>
                    <a:pt x="149714" y="246319"/>
                  </a:lnTo>
                  <a:lnTo>
                    <a:pt x="141731" y="251695"/>
                  </a:lnTo>
                  <a:lnTo>
                    <a:pt x="137169" y="252672"/>
                  </a:lnTo>
                  <a:lnTo>
                    <a:pt x="133260" y="251369"/>
                  </a:lnTo>
                  <a:lnTo>
                    <a:pt x="128698" y="252509"/>
                  </a:lnTo>
                  <a:lnTo>
                    <a:pt x="125114" y="250066"/>
                  </a:lnTo>
                  <a:lnTo>
                    <a:pt x="118109" y="248925"/>
                  </a:lnTo>
                  <a:lnTo>
                    <a:pt x="111267" y="249903"/>
                  </a:lnTo>
                  <a:lnTo>
                    <a:pt x="111755" y="253324"/>
                  </a:lnTo>
                  <a:lnTo>
                    <a:pt x="110126" y="255442"/>
                  </a:lnTo>
                  <a:lnTo>
                    <a:pt x="103773" y="253812"/>
                  </a:lnTo>
                  <a:lnTo>
                    <a:pt x="100189" y="249903"/>
                  </a:lnTo>
                  <a:lnTo>
                    <a:pt x="95628" y="251532"/>
                  </a:lnTo>
                  <a:lnTo>
                    <a:pt x="92695" y="252998"/>
                  </a:lnTo>
                  <a:lnTo>
                    <a:pt x="91392" y="252998"/>
                  </a:lnTo>
                  <a:lnTo>
                    <a:pt x="88785" y="251369"/>
                  </a:lnTo>
                  <a:lnTo>
                    <a:pt x="81780" y="246156"/>
                  </a:lnTo>
                  <a:lnTo>
                    <a:pt x="78196" y="245993"/>
                  </a:lnTo>
                  <a:lnTo>
                    <a:pt x="75753" y="248436"/>
                  </a:lnTo>
                  <a:lnTo>
                    <a:pt x="72494" y="247459"/>
                  </a:lnTo>
                  <a:lnTo>
                    <a:pt x="70703" y="242572"/>
                  </a:lnTo>
                  <a:lnTo>
                    <a:pt x="65489" y="244364"/>
                  </a:lnTo>
                  <a:lnTo>
                    <a:pt x="66141" y="247459"/>
                  </a:lnTo>
                  <a:lnTo>
                    <a:pt x="64349" y="250554"/>
                  </a:lnTo>
                  <a:lnTo>
                    <a:pt x="57996" y="248436"/>
                  </a:lnTo>
                  <a:lnTo>
                    <a:pt x="53434" y="251043"/>
                  </a:lnTo>
                  <a:lnTo>
                    <a:pt x="49198" y="249740"/>
                  </a:lnTo>
                  <a:lnTo>
                    <a:pt x="49361" y="249740"/>
                  </a:lnTo>
                  <a:lnTo>
                    <a:pt x="46918" y="244690"/>
                  </a:lnTo>
                  <a:lnTo>
                    <a:pt x="42519" y="241920"/>
                  </a:lnTo>
                  <a:lnTo>
                    <a:pt x="42193" y="234589"/>
                  </a:lnTo>
                  <a:lnTo>
                    <a:pt x="44800" y="225792"/>
                  </a:lnTo>
                  <a:lnTo>
                    <a:pt x="48221" y="222371"/>
                  </a:lnTo>
                  <a:lnTo>
                    <a:pt x="48221" y="218624"/>
                  </a:lnTo>
                  <a:lnTo>
                    <a:pt x="50991" y="210804"/>
                  </a:lnTo>
                  <a:lnTo>
                    <a:pt x="56692" y="204940"/>
                  </a:lnTo>
                  <a:lnTo>
                    <a:pt x="51805" y="201682"/>
                  </a:lnTo>
                  <a:lnTo>
                    <a:pt x="46918" y="201682"/>
                  </a:lnTo>
                  <a:lnTo>
                    <a:pt x="40890" y="198912"/>
                  </a:lnTo>
                  <a:lnTo>
                    <a:pt x="36328" y="200378"/>
                  </a:lnTo>
                  <a:lnTo>
                    <a:pt x="32907" y="199075"/>
                  </a:lnTo>
                  <a:lnTo>
                    <a:pt x="28509" y="199075"/>
                  </a:lnTo>
                  <a:lnTo>
                    <a:pt x="24273" y="200541"/>
                  </a:lnTo>
                  <a:lnTo>
                    <a:pt x="19875" y="196794"/>
                  </a:lnTo>
                  <a:lnTo>
                    <a:pt x="19875" y="193699"/>
                  </a:lnTo>
                  <a:lnTo>
                    <a:pt x="15150" y="189952"/>
                  </a:lnTo>
                  <a:lnTo>
                    <a:pt x="14987" y="189952"/>
                  </a:lnTo>
                  <a:lnTo>
                    <a:pt x="15476" y="181970"/>
                  </a:lnTo>
                  <a:lnTo>
                    <a:pt x="12707" y="179526"/>
                  </a:lnTo>
                  <a:lnTo>
                    <a:pt x="11566" y="173987"/>
                  </a:lnTo>
                  <a:lnTo>
                    <a:pt x="5539" y="166330"/>
                  </a:lnTo>
                  <a:lnTo>
                    <a:pt x="3910" y="166330"/>
                  </a:lnTo>
                  <a:lnTo>
                    <a:pt x="6842" y="159488"/>
                  </a:lnTo>
                  <a:lnTo>
                    <a:pt x="3584" y="154601"/>
                  </a:lnTo>
                  <a:lnTo>
                    <a:pt x="3910" y="151506"/>
                  </a:lnTo>
                  <a:lnTo>
                    <a:pt x="0" y="143523"/>
                  </a:lnTo>
                  <a:lnTo>
                    <a:pt x="1629" y="139939"/>
                  </a:lnTo>
                  <a:lnTo>
                    <a:pt x="977" y="139613"/>
                  </a:lnTo>
                  <a:lnTo>
                    <a:pt x="3095" y="134074"/>
                  </a:lnTo>
                  <a:lnTo>
                    <a:pt x="4724" y="125603"/>
                  </a:lnTo>
                  <a:lnTo>
                    <a:pt x="3258" y="118109"/>
                  </a:lnTo>
                  <a:lnTo>
                    <a:pt x="6679" y="114036"/>
                  </a:lnTo>
                  <a:lnTo>
                    <a:pt x="9775" y="108986"/>
                  </a:lnTo>
                  <a:lnTo>
                    <a:pt x="16617" y="107194"/>
                  </a:lnTo>
                  <a:lnTo>
                    <a:pt x="22970" y="108660"/>
                  </a:lnTo>
                  <a:lnTo>
                    <a:pt x="26717" y="106706"/>
                  </a:lnTo>
                  <a:lnTo>
                    <a:pt x="23948" y="101981"/>
                  </a:lnTo>
                  <a:lnTo>
                    <a:pt x="27206" y="99538"/>
                  </a:lnTo>
                  <a:lnTo>
                    <a:pt x="28020" y="93999"/>
                  </a:lnTo>
                  <a:lnTo>
                    <a:pt x="29487" y="90903"/>
                  </a:lnTo>
                  <a:lnTo>
                    <a:pt x="26880" y="88460"/>
                  </a:lnTo>
                  <a:lnTo>
                    <a:pt x="20526" y="88623"/>
                  </a:lnTo>
                  <a:lnTo>
                    <a:pt x="19875" y="85364"/>
                  </a:lnTo>
                  <a:lnTo>
                    <a:pt x="22155" y="80314"/>
                  </a:lnTo>
                  <a:lnTo>
                    <a:pt x="27369" y="82758"/>
                  </a:lnTo>
                  <a:lnTo>
                    <a:pt x="30790" y="79988"/>
                  </a:lnTo>
                  <a:lnTo>
                    <a:pt x="30790" y="74938"/>
                  </a:lnTo>
                  <a:lnTo>
                    <a:pt x="32907" y="70540"/>
                  </a:lnTo>
                  <a:lnTo>
                    <a:pt x="33233" y="67607"/>
                  </a:lnTo>
                  <a:lnTo>
                    <a:pt x="34700" y="65815"/>
                  </a:lnTo>
                  <a:lnTo>
                    <a:pt x="34862" y="64675"/>
                  </a:lnTo>
                  <a:lnTo>
                    <a:pt x="35351" y="64838"/>
                  </a:lnTo>
                  <a:lnTo>
                    <a:pt x="34211" y="60114"/>
                  </a:lnTo>
                  <a:lnTo>
                    <a:pt x="28509" y="59136"/>
                  </a:lnTo>
                  <a:lnTo>
                    <a:pt x="26228" y="54575"/>
                  </a:lnTo>
                  <a:lnTo>
                    <a:pt x="27206" y="49687"/>
                  </a:lnTo>
                  <a:lnTo>
                    <a:pt x="38609" y="46592"/>
                  </a:lnTo>
                  <a:lnTo>
                    <a:pt x="41867" y="44963"/>
                  </a:lnTo>
                  <a:lnTo>
                    <a:pt x="47569" y="49036"/>
                  </a:lnTo>
                  <a:lnTo>
                    <a:pt x="47569" y="54900"/>
                  </a:lnTo>
                  <a:lnTo>
                    <a:pt x="51805" y="59788"/>
                  </a:lnTo>
                  <a:lnTo>
                    <a:pt x="54249" y="57181"/>
                  </a:lnTo>
                  <a:lnTo>
                    <a:pt x="51968" y="52783"/>
                  </a:lnTo>
                  <a:lnTo>
                    <a:pt x="51968" y="49036"/>
                  </a:lnTo>
                  <a:lnTo>
                    <a:pt x="54249" y="48058"/>
                  </a:lnTo>
                  <a:lnTo>
                    <a:pt x="57996" y="51316"/>
                  </a:lnTo>
                  <a:lnTo>
                    <a:pt x="57507" y="57181"/>
                  </a:lnTo>
                  <a:lnTo>
                    <a:pt x="63209" y="63535"/>
                  </a:lnTo>
                  <a:lnTo>
                    <a:pt x="60765" y="58647"/>
                  </a:lnTo>
                  <a:lnTo>
                    <a:pt x="60602" y="51316"/>
                  </a:lnTo>
                  <a:lnTo>
                    <a:pt x="59625" y="47081"/>
                  </a:lnTo>
                  <a:lnTo>
                    <a:pt x="62720" y="42031"/>
                  </a:lnTo>
                  <a:lnTo>
                    <a:pt x="66793" y="41379"/>
                  </a:lnTo>
                  <a:lnTo>
                    <a:pt x="70866" y="43497"/>
                  </a:lnTo>
                  <a:lnTo>
                    <a:pt x="76241" y="41379"/>
                  </a:lnTo>
                  <a:lnTo>
                    <a:pt x="84387" y="50176"/>
                  </a:lnTo>
                  <a:lnTo>
                    <a:pt x="95465" y="52294"/>
                  </a:lnTo>
                  <a:lnTo>
                    <a:pt x="84876" y="47895"/>
                  </a:lnTo>
                  <a:lnTo>
                    <a:pt x="76893" y="39587"/>
                  </a:lnTo>
                  <a:lnTo>
                    <a:pt x="70703" y="39098"/>
                  </a:lnTo>
                  <a:lnTo>
                    <a:pt x="67282" y="36980"/>
                  </a:lnTo>
                  <a:lnTo>
                    <a:pt x="67282" y="33396"/>
                  </a:lnTo>
                  <a:lnTo>
                    <a:pt x="71354" y="30301"/>
                  </a:lnTo>
                  <a:lnTo>
                    <a:pt x="66630" y="27369"/>
                  </a:lnTo>
                  <a:lnTo>
                    <a:pt x="66630" y="21341"/>
                  </a:lnTo>
                  <a:lnTo>
                    <a:pt x="62231" y="23296"/>
                  </a:lnTo>
                  <a:lnTo>
                    <a:pt x="62068" y="18898"/>
                  </a:lnTo>
                  <a:lnTo>
                    <a:pt x="66304" y="18898"/>
                  </a:lnTo>
                  <a:lnTo>
                    <a:pt x="70866" y="17106"/>
                  </a:lnTo>
                  <a:lnTo>
                    <a:pt x="65326" y="11892"/>
                  </a:lnTo>
                  <a:lnTo>
                    <a:pt x="65652" y="8145"/>
                  </a:lnTo>
                  <a:lnTo>
                    <a:pt x="63046" y="7983"/>
                  </a:lnTo>
                  <a:lnTo>
                    <a:pt x="59462" y="5702"/>
                  </a:lnTo>
                  <a:lnTo>
                    <a:pt x="59787" y="1466"/>
                  </a:lnTo>
                  <a:lnTo>
                    <a:pt x="59625" y="326"/>
                  </a:lnTo>
                  <a:close/>
                </a:path>
              </a:pathLst>
            </a:custGeom>
            <a:solidFill>
              <a:schemeClr val="tx1"/>
            </a:solidFill>
            <a:ln w="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4" name="Forma livre: Forma 173">
              <a:extLst>
                <a:ext uri="{FF2B5EF4-FFF2-40B4-BE49-F238E27FC236}">
                  <a16:creationId xmlns:a16="http://schemas.microsoft.com/office/drawing/2014/main" id="{88BF32CF-889B-A718-C6FE-E9D5E3BE8D67}"/>
                </a:ext>
              </a:extLst>
            </p:cNvPr>
            <p:cNvSpPr/>
            <p:nvPr/>
          </p:nvSpPr>
          <p:spPr>
            <a:xfrm>
              <a:off x="6210783" y="3598448"/>
              <a:ext cx="4545" cy="7239"/>
            </a:xfrm>
            <a:custGeom>
              <a:avLst/>
              <a:gdLst>
                <a:gd name="connsiteX0" fmla="*/ 1466 w 4398"/>
                <a:gd name="connsiteY0" fmla="*/ 0 h 7005"/>
                <a:gd name="connsiteX1" fmla="*/ 4398 w 4398"/>
                <a:gd name="connsiteY1" fmla="*/ 2281 h 7005"/>
                <a:gd name="connsiteX2" fmla="*/ 4235 w 4398"/>
                <a:gd name="connsiteY2" fmla="*/ 7005 h 7005"/>
                <a:gd name="connsiteX3" fmla="*/ 1629 w 4398"/>
                <a:gd name="connsiteY3" fmla="*/ 6842 h 7005"/>
                <a:gd name="connsiteX4" fmla="*/ 0 w 4398"/>
                <a:gd name="connsiteY4" fmla="*/ 3910 h 7005"/>
                <a:gd name="connsiteX5" fmla="*/ 1466 w 4398"/>
                <a:gd name="connsiteY5" fmla="*/ 652 h 7005"/>
                <a:gd name="connsiteX6" fmla="*/ 1466 w 4398"/>
                <a:gd name="connsiteY6" fmla="*/ 0 h 70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398" h="7005">
                  <a:moveTo>
                    <a:pt x="1466" y="0"/>
                  </a:moveTo>
                  <a:lnTo>
                    <a:pt x="4398" y="2281"/>
                  </a:lnTo>
                  <a:lnTo>
                    <a:pt x="4235" y="7005"/>
                  </a:lnTo>
                  <a:lnTo>
                    <a:pt x="1629" y="6842"/>
                  </a:lnTo>
                  <a:lnTo>
                    <a:pt x="0" y="3910"/>
                  </a:lnTo>
                  <a:lnTo>
                    <a:pt x="1466" y="652"/>
                  </a:lnTo>
                  <a:lnTo>
                    <a:pt x="1466" y="0"/>
                  </a:lnTo>
                  <a:close/>
                </a:path>
              </a:pathLst>
            </a:custGeom>
            <a:solidFill>
              <a:schemeClr val="bg2"/>
            </a:solidFill>
            <a:ln w="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5" name="Forma livre: Forma 174">
              <a:extLst>
                <a:ext uri="{FF2B5EF4-FFF2-40B4-BE49-F238E27FC236}">
                  <a16:creationId xmlns:a16="http://schemas.microsoft.com/office/drawing/2014/main" id="{EE2D263F-6706-8B60-5855-361BC5F86A77}"/>
                </a:ext>
              </a:extLst>
            </p:cNvPr>
            <p:cNvSpPr/>
            <p:nvPr/>
          </p:nvSpPr>
          <p:spPr>
            <a:xfrm>
              <a:off x="6120042" y="3581612"/>
              <a:ext cx="118855" cy="67171"/>
            </a:xfrm>
            <a:custGeom>
              <a:avLst/>
              <a:gdLst>
                <a:gd name="connsiteX0" fmla="*/ 44311 w 115013"/>
                <a:gd name="connsiteY0" fmla="*/ 7168 h 65000"/>
                <a:gd name="connsiteX1" fmla="*/ 48547 w 115013"/>
                <a:gd name="connsiteY1" fmla="*/ 8471 h 65000"/>
                <a:gd name="connsiteX2" fmla="*/ 53109 w 115013"/>
                <a:gd name="connsiteY2" fmla="*/ 5865 h 65000"/>
                <a:gd name="connsiteX3" fmla="*/ 59462 w 115013"/>
                <a:gd name="connsiteY3" fmla="*/ 7983 h 65000"/>
                <a:gd name="connsiteX4" fmla="*/ 61254 w 115013"/>
                <a:gd name="connsiteY4" fmla="*/ 4887 h 65000"/>
                <a:gd name="connsiteX5" fmla="*/ 60602 w 115013"/>
                <a:gd name="connsiteY5" fmla="*/ 1792 h 65000"/>
                <a:gd name="connsiteX6" fmla="*/ 65815 w 115013"/>
                <a:gd name="connsiteY6" fmla="*/ 0 h 65000"/>
                <a:gd name="connsiteX7" fmla="*/ 67607 w 115013"/>
                <a:gd name="connsiteY7" fmla="*/ 4887 h 65000"/>
                <a:gd name="connsiteX8" fmla="*/ 70866 w 115013"/>
                <a:gd name="connsiteY8" fmla="*/ 5865 h 65000"/>
                <a:gd name="connsiteX9" fmla="*/ 73309 w 115013"/>
                <a:gd name="connsiteY9" fmla="*/ 3421 h 65000"/>
                <a:gd name="connsiteX10" fmla="*/ 76893 w 115013"/>
                <a:gd name="connsiteY10" fmla="*/ 3584 h 65000"/>
                <a:gd name="connsiteX11" fmla="*/ 83898 w 115013"/>
                <a:gd name="connsiteY11" fmla="*/ 8797 h 65000"/>
                <a:gd name="connsiteX12" fmla="*/ 89600 w 115013"/>
                <a:gd name="connsiteY12" fmla="*/ 12707 h 65000"/>
                <a:gd name="connsiteX13" fmla="*/ 89274 w 115013"/>
                <a:gd name="connsiteY13" fmla="*/ 16943 h 65000"/>
                <a:gd name="connsiteX14" fmla="*/ 87808 w 115013"/>
                <a:gd name="connsiteY14" fmla="*/ 20201 h 65000"/>
                <a:gd name="connsiteX15" fmla="*/ 89437 w 115013"/>
                <a:gd name="connsiteY15" fmla="*/ 23133 h 65000"/>
                <a:gd name="connsiteX16" fmla="*/ 96116 w 115013"/>
                <a:gd name="connsiteY16" fmla="*/ 23459 h 65000"/>
                <a:gd name="connsiteX17" fmla="*/ 99212 w 115013"/>
                <a:gd name="connsiteY17" fmla="*/ 22156 h 65000"/>
                <a:gd name="connsiteX18" fmla="*/ 104588 w 115013"/>
                <a:gd name="connsiteY18" fmla="*/ 27369 h 65000"/>
                <a:gd name="connsiteX19" fmla="*/ 108986 w 115013"/>
                <a:gd name="connsiteY19" fmla="*/ 23296 h 65000"/>
                <a:gd name="connsiteX20" fmla="*/ 113059 w 115013"/>
                <a:gd name="connsiteY20" fmla="*/ 23296 h 65000"/>
                <a:gd name="connsiteX21" fmla="*/ 115014 w 115013"/>
                <a:gd name="connsiteY21" fmla="*/ 27532 h 65000"/>
                <a:gd name="connsiteX22" fmla="*/ 109964 w 115013"/>
                <a:gd name="connsiteY22" fmla="*/ 33722 h 65000"/>
                <a:gd name="connsiteX23" fmla="*/ 112570 w 115013"/>
                <a:gd name="connsiteY23" fmla="*/ 41868 h 65000"/>
                <a:gd name="connsiteX24" fmla="*/ 102633 w 115013"/>
                <a:gd name="connsiteY24" fmla="*/ 43986 h 65000"/>
                <a:gd name="connsiteX25" fmla="*/ 101493 w 115013"/>
                <a:gd name="connsiteY25" fmla="*/ 53597 h 65000"/>
                <a:gd name="connsiteX26" fmla="*/ 97094 w 115013"/>
                <a:gd name="connsiteY26" fmla="*/ 49850 h 65000"/>
                <a:gd name="connsiteX27" fmla="*/ 92695 w 115013"/>
                <a:gd name="connsiteY27" fmla="*/ 50339 h 65000"/>
                <a:gd name="connsiteX28" fmla="*/ 81618 w 115013"/>
                <a:gd name="connsiteY28" fmla="*/ 47407 h 65000"/>
                <a:gd name="connsiteX29" fmla="*/ 81618 w 115013"/>
                <a:gd name="connsiteY29" fmla="*/ 54412 h 65000"/>
                <a:gd name="connsiteX30" fmla="*/ 76404 w 115013"/>
                <a:gd name="connsiteY30" fmla="*/ 63535 h 65000"/>
                <a:gd name="connsiteX31" fmla="*/ 73798 w 115013"/>
                <a:gd name="connsiteY31" fmla="*/ 58484 h 65000"/>
                <a:gd name="connsiteX32" fmla="*/ 65815 w 115013"/>
                <a:gd name="connsiteY32" fmla="*/ 54412 h 65000"/>
                <a:gd name="connsiteX33" fmla="*/ 66467 w 115013"/>
                <a:gd name="connsiteY33" fmla="*/ 48384 h 65000"/>
                <a:gd name="connsiteX34" fmla="*/ 60602 w 115013"/>
                <a:gd name="connsiteY34" fmla="*/ 44800 h 65000"/>
                <a:gd name="connsiteX35" fmla="*/ 51316 w 115013"/>
                <a:gd name="connsiteY35" fmla="*/ 60602 h 65000"/>
                <a:gd name="connsiteX36" fmla="*/ 44637 w 115013"/>
                <a:gd name="connsiteY36" fmla="*/ 57670 h 65000"/>
                <a:gd name="connsiteX37" fmla="*/ 34700 w 115013"/>
                <a:gd name="connsiteY37" fmla="*/ 65001 h 65000"/>
                <a:gd name="connsiteX38" fmla="*/ 29161 w 115013"/>
                <a:gd name="connsiteY38" fmla="*/ 63046 h 65000"/>
                <a:gd name="connsiteX39" fmla="*/ 28509 w 115013"/>
                <a:gd name="connsiteY39" fmla="*/ 58647 h 65000"/>
                <a:gd name="connsiteX40" fmla="*/ 25414 w 115013"/>
                <a:gd name="connsiteY40" fmla="*/ 56367 h 65000"/>
                <a:gd name="connsiteX41" fmla="*/ 23622 w 115013"/>
                <a:gd name="connsiteY41" fmla="*/ 50013 h 65000"/>
                <a:gd name="connsiteX42" fmla="*/ 21015 w 115013"/>
                <a:gd name="connsiteY42" fmla="*/ 45289 h 65000"/>
                <a:gd name="connsiteX43" fmla="*/ 13522 w 115013"/>
                <a:gd name="connsiteY43" fmla="*/ 44963 h 65000"/>
                <a:gd name="connsiteX44" fmla="*/ 9938 w 115013"/>
                <a:gd name="connsiteY44" fmla="*/ 48058 h 65000"/>
                <a:gd name="connsiteX45" fmla="*/ 12381 w 115013"/>
                <a:gd name="connsiteY45" fmla="*/ 54249 h 65000"/>
                <a:gd name="connsiteX46" fmla="*/ 6191 w 115013"/>
                <a:gd name="connsiteY46" fmla="*/ 56855 h 65000"/>
                <a:gd name="connsiteX47" fmla="*/ 652 w 115013"/>
                <a:gd name="connsiteY47" fmla="*/ 56367 h 65000"/>
                <a:gd name="connsiteX48" fmla="*/ 0 w 115013"/>
                <a:gd name="connsiteY48" fmla="*/ 52294 h 65000"/>
                <a:gd name="connsiteX49" fmla="*/ 2932 w 115013"/>
                <a:gd name="connsiteY49" fmla="*/ 50828 h 65000"/>
                <a:gd name="connsiteX50" fmla="*/ 6028 w 115013"/>
                <a:gd name="connsiteY50" fmla="*/ 50991 h 65000"/>
                <a:gd name="connsiteX51" fmla="*/ 6028 w 115013"/>
                <a:gd name="connsiteY51" fmla="*/ 45940 h 65000"/>
                <a:gd name="connsiteX52" fmla="*/ 7005 w 115013"/>
                <a:gd name="connsiteY52" fmla="*/ 38284 h 65000"/>
                <a:gd name="connsiteX53" fmla="*/ 13684 w 115013"/>
                <a:gd name="connsiteY53" fmla="*/ 27695 h 65000"/>
                <a:gd name="connsiteX54" fmla="*/ 17594 w 115013"/>
                <a:gd name="connsiteY54" fmla="*/ 26228 h 65000"/>
                <a:gd name="connsiteX55" fmla="*/ 22482 w 115013"/>
                <a:gd name="connsiteY55" fmla="*/ 19875 h 65000"/>
                <a:gd name="connsiteX56" fmla="*/ 27206 w 115013"/>
                <a:gd name="connsiteY56" fmla="*/ 17757 h 65000"/>
                <a:gd name="connsiteX57" fmla="*/ 26229 w 115013"/>
                <a:gd name="connsiteY57" fmla="*/ 13033 h 65000"/>
                <a:gd name="connsiteX58" fmla="*/ 20852 w 115013"/>
                <a:gd name="connsiteY58" fmla="*/ 10263 h 65000"/>
                <a:gd name="connsiteX59" fmla="*/ 24273 w 115013"/>
                <a:gd name="connsiteY59" fmla="*/ 6191 h 65000"/>
                <a:gd name="connsiteX60" fmla="*/ 30138 w 115013"/>
                <a:gd name="connsiteY60" fmla="*/ 5865 h 65000"/>
                <a:gd name="connsiteX61" fmla="*/ 31604 w 115013"/>
                <a:gd name="connsiteY61" fmla="*/ 9123 h 65000"/>
                <a:gd name="connsiteX62" fmla="*/ 36166 w 115013"/>
                <a:gd name="connsiteY62" fmla="*/ 9775 h 65000"/>
                <a:gd name="connsiteX63" fmla="*/ 44311 w 115013"/>
                <a:gd name="connsiteY63" fmla="*/ 7168 h 65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</a:cxnLst>
              <a:rect l="l" t="t" r="r" b="b"/>
              <a:pathLst>
                <a:path w="115013" h="65000">
                  <a:moveTo>
                    <a:pt x="44311" y="7168"/>
                  </a:moveTo>
                  <a:lnTo>
                    <a:pt x="48547" y="8471"/>
                  </a:lnTo>
                  <a:lnTo>
                    <a:pt x="53109" y="5865"/>
                  </a:lnTo>
                  <a:lnTo>
                    <a:pt x="59462" y="7983"/>
                  </a:lnTo>
                  <a:lnTo>
                    <a:pt x="61254" y="4887"/>
                  </a:lnTo>
                  <a:lnTo>
                    <a:pt x="60602" y="1792"/>
                  </a:lnTo>
                  <a:lnTo>
                    <a:pt x="65815" y="0"/>
                  </a:lnTo>
                  <a:lnTo>
                    <a:pt x="67607" y="4887"/>
                  </a:lnTo>
                  <a:lnTo>
                    <a:pt x="70866" y="5865"/>
                  </a:lnTo>
                  <a:lnTo>
                    <a:pt x="73309" y="3421"/>
                  </a:lnTo>
                  <a:lnTo>
                    <a:pt x="76893" y="3584"/>
                  </a:lnTo>
                  <a:lnTo>
                    <a:pt x="83898" y="8797"/>
                  </a:lnTo>
                  <a:lnTo>
                    <a:pt x="89600" y="12707"/>
                  </a:lnTo>
                  <a:lnTo>
                    <a:pt x="89274" y="16943"/>
                  </a:lnTo>
                  <a:lnTo>
                    <a:pt x="87808" y="20201"/>
                  </a:lnTo>
                  <a:lnTo>
                    <a:pt x="89437" y="23133"/>
                  </a:lnTo>
                  <a:lnTo>
                    <a:pt x="96116" y="23459"/>
                  </a:lnTo>
                  <a:lnTo>
                    <a:pt x="99212" y="22156"/>
                  </a:lnTo>
                  <a:lnTo>
                    <a:pt x="104588" y="27369"/>
                  </a:lnTo>
                  <a:lnTo>
                    <a:pt x="108986" y="23296"/>
                  </a:lnTo>
                  <a:lnTo>
                    <a:pt x="113059" y="23296"/>
                  </a:lnTo>
                  <a:lnTo>
                    <a:pt x="115014" y="27532"/>
                  </a:lnTo>
                  <a:lnTo>
                    <a:pt x="109964" y="33722"/>
                  </a:lnTo>
                  <a:lnTo>
                    <a:pt x="112570" y="41868"/>
                  </a:lnTo>
                  <a:lnTo>
                    <a:pt x="102633" y="43986"/>
                  </a:lnTo>
                  <a:lnTo>
                    <a:pt x="101493" y="53597"/>
                  </a:lnTo>
                  <a:lnTo>
                    <a:pt x="97094" y="49850"/>
                  </a:lnTo>
                  <a:lnTo>
                    <a:pt x="92695" y="50339"/>
                  </a:lnTo>
                  <a:lnTo>
                    <a:pt x="81618" y="47407"/>
                  </a:lnTo>
                  <a:lnTo>
                    <a:pt x="81618" y="54412"/>
                  </a:lnTo>
                  <a:lnTo>
                    <a:pt x="76404" y="63535"/>
                  </a:lnTo>
                  <a:lnTo>
                    <a:pt x="73798" y="58484"/>
                  </a:lnTo>
                  <a:lnTo>
                    <a:pt x="65815" y="54412"/>
                  </a:lnTo>
                  <a:lnTo>
                    <a:pt x="66467" y="48384"/>
                  </a:lnTo>
                  <a:lnTo>
                    <a:pt x="60602" y="44800"/>
                  </a:lnTo>
                  <a:lnTo>
                    <a:pt x="51316" y="60602"/>
                  </a:lnTo>
                  <a:lnTo>
                    <a:pt x="44637" y="57670"/>
                  </a:lnTo>
                  <a:lnTo>
                    <a:pt x="34700" y="65001"/>
                  </a:lnTo>
                  <a:lnTo>
                    <a:pt x="29161" y="63046"/>
                  </a:lnTo>
                  <a:lnTo>
                    <a:pt x="28509" y="58647"/>
                  </a:lnTo>
                  <a:lnTo>
                    <a:pt x="25414" y="56367"/>
                  </a:lnTo>
                  <a:lnTo>
                    <a:pt x="23622" y="50013"/>
                  </a:lnTo>
                  <a:lnTo>
                    <a:pt x="21015" y="45289"/>
                  </a:lnTo>
                  <a:lnTo>
                    <a:pt x="13522" y="44963"/>
                  </a:lnTo>
                  <a:lnTo>
                    <a:pt x="9938" y="48058"/>
                  </a:lnTo>
                  <a:lnTo>
                    <a:pt x="12381" y="54249"/>
                  </a:lnTo>
                  <a:lnTo>
                    <a:pt x="6191" y="56855"/>
                  </a:lnTo>
                  <a:lnTo>
                    <a:pt x="652" y="56367"/>
                  </a:lnTo>
                  <a:lnTo>
                    <a:pt x="0" y="52294"/>
                  </a:lnTo>
                  <a:lnTo>
                    <a:pt x="2932" y="50828"/>
                  </a:lnTo>
                  <a:lnTo>
                    <a:pt x="6028" y="50991"/>
                  </a:lnTo>
                  <a:lnTo>
                    <a:pt x="6028" y="45940"/>
                  </a:lnTo>
                  <a:lnTo>
                    <a:pt x="7005" y="38284"/>
                  </a:lnTo>
                  <a:lnTo>
                    <a:pt x="13684" y="27695"/>
                  </a:lnTo>
                  <a:lnTo>
                    <a:pt x="17594" y="26228"/>
                  </a:lnTo>
                  <a:lnTo>
                    <a:pt x="22482" y="19875"/>
                  </a:lnTo>
                  <a:lnTo>
                    <a:pt x="27206" y="17757"/>
                  </a:lnTo>
                  <a:lnTo>
                    <a:pt x="26229" y="13033"/>
                  </a:lnTo>
                  <a:lnTo>
                    <a:pt x="20852" y="10263"/>
                  </a:lnTo>
                  <a:lnTo>
                    <a:pt x="24273" y="6191"/>
                  </a:lnTo>
                  <a:lnTo>
                    <a:pt x="30138" y="5865"/>
                  </a:lnTo>
                  <a:lnTo>
                    <a:pt x="31604" y="9123"/>
                  </a:lnTo>
                  <a:lnTo>
                    <a:pt x="36166" y="9775"/>
                  </a:lnTo>
                  <a:lnTo>
                    <a:pt x="44311" y="7168"/>
                  </a:lnTo>
                  <a:close/>
                </a:path>
              </a:pathLst>
            </a:custGeom>
            <a:solidFill>
              <a:schemeClr val="bg2"/>
            </a:solidFill>
            <a:ln w="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6" name="Forma livre: Forma 175">
              <a:extLst>
                <a:ext uri="{FF2B5EF4-FFF2-40B4-BE49-F238E27FC236}">
                  <a16:creationId xmlns:a16="http://schemas.microsoft.com/office/drawing/2014/main" id="{866BEE99-55D2-2E57-7E4D-9962F6E7F1E8}"/>
                </a:ext>
              </a:extLst>
            </p:cNvPr>
            <p:cNvSpPr/>
            <p:nvPr/>
          </p:nvSpPr>
          <p:spPr>
            <a:xfrm>
              <a:off x="6057247" y="3388683"/>
              <a:ext cx="93771" cy="86532"/>
            </a:xfrm>
            <a:custGeom>
              <a:avLst/>
              <a:gdLst>
                <a:gd name="connsiteX0" fmla="*/ 56856 w 90740"/>
                <a:gd name="connsiteY0" fmla="*/ 83735 h 83735"/>
                <a:gd name="connsiteX1" fmla="*/ 58974 w 90740"/>
                <a:gd name="connsiteY1" fmla="*/ 78196 h 83735"/>
                <a:gd name="connsiteX2" fmla="*/ 60602 w 90740"/>
                <a:gd name="connsiteY2" fmla="*/ 69725 h 83735"/>
                <a:gd name="connsiteX3" fmla="*/ 59136 w 90740"/>
                <a:gd name="connsiteY3" fmla="*/ 62231 h 83735"/>
                <a:gd name="connsiteX4" fmla="*/ 62394 w 90740"/>
                <a:gd name="connsiteY4" fmla="*/ 58159 h 83735"/>
                <a:gd name="connsiteX5" fmla="*/ 65490 w 90740"/>
                <a:gd name="connsiteY5" fmla="*/ 52945 h 83735"/>
                <a:gd name="connsiteX6" fmla="*/ 72332 w 90740"/>
                <a:gd name="connsiteY6" fmla="*/ 51316 h 83735"/>
                <a:gd name="connsiteX7" fmla="*/ 78848 w 90740"/>
                <a:gd name="connsiteY7" fmla="*/ 52783 h 83735"/>
                <a:gd name="connsiteX8" fmla="*/ 82595 w 90740"/>
                <a:gd name="connsiteY8" fmla="*/ 50828 h 83735"/>
                <a:gd name="connsiteX9" fmla="*/ 79826 w 90740"/>
                <a:gd name="connsiteY9" fmla="*/ 46103 h 83735"/>
                <a:gd name="connsiteX10" fmla="*/ 83084 w 90740"/>
                <a:gd name="connsiteY10" fmla="*/ 43660 h 83735"/>
                <a:gd name="connsiteX11" fmla="*/ 83899 w 90740"/>
                <a:gd name="connsiteY11" fmla="*/ 38121 h 83735"/>
                <a:gd name="connsiteX12" fmla="*/ 85365 w 90740"/>
                <a:gd name="connsiteY12" fmla="*/ 35025 h 83735"/>
                <a:gd name="connsiteX13" fmla="*/ 82758 w 90740"/>
                <a:gd name="connsiteY13" fmla="*/ 32582 h 83735"/>
                <a:gd name="connsiteX14" fmla="*/ 76568 w 90740"/>
                <a:gd name="connsiteY14" fmla="*/ 32582 h 83735"/>
                <a:gd name="connsiteX15" fmla="*/ 75916 w 90740"/>
                <a:gd name="connsiteY15" fmla="*/ 29487 h 83735"/>
                <a:gd name="connsiteX16" fmla="*/ 78197 w 90740"/>
                <a:gd name="connsiteY16" fmla="*/ 24436 h 83735"/>
                <a:gd name="connsiteX17" fmla="*/ 83572 w 90740"/>
                <a:gd name="connsiteY17" fmla="*/ 26880 h 83735"/>
                <a:gd name="connsiteX18" fmla="*/ 86831 w 90740"/>
                <a:gd name="connsiteY18" fmla="*/ 24111 h 83735"/>
                <a:gd name="connsiteX19" fmla="*/ 86831 w 90740"/>
                <a:gd name="connsiteY19" fmla="*/ 19060 h 83735"/>
                <a:gd name="connsiteX20" fmla="*/ 88949 w 90740"/>
                <a:gd name="connsiteY20" fmla="*/ 14662 h 83735"/>
                <a:gd name="connsiteX21" fmla="*/ 89274 w 90740"/>
                <a:gd name="connsiteY21" fmla="*/ 11729 h 83735"/>
                <a:gd name="connsiteX22" fmla="*/ 90741 w 90740"/>
                <a:gd name="connsiteY22" fmla="*/ 9937 h 83735"/>
                <a:gd name="connsiteX23" fmla="*/ 90741 w 90740"/>
                <a:gd name="connsiteY23" fmla="*/ 8797 h 83735"/>
                <a:gd name="connsiteX24" fmla="*/ 86017 w 90740"/>
                <a:gd name="connsiteY24" fmla="*/ 7168 h 83735"/>
                <a:gd name="connsiteX25" fmla="*/ 82106 w 90740"/>
                <a:gd name="connsiteY25" fmla="*/ 3747 h 83735"/>
                <a:gd name="connsiteX26" fmla="*/ 74938 w 90740"/>
                <a:gd name="connsiteY26" fmla="*/ 0 h 83735"/>
                <a:gd name="connsiteX27" fmla="*/ 67445 w 90740"/>
                <a:gd name="connsiteY27" fmla="*/ 1140 h 83735"/>
                <a:gd name="connsiteX28" fmla="*/ 63046 w 90740"/>
                <a:gd name="connsiteY28" fmla="*/ 5050 h 83735"/>
                <a:gd name="connsiteX29" fmla="*/ 58810 w 90740"/>
                <a:gd name="connsiteY29" fmla="*/ 3258 h 83735"/>
                <a:gd name="connsiteX30" fmla="*/ 56041 w 90740"/>
                <a:gd name="connsiteY30" fmla="*/ 5050 h 83735"/>
                <a:gd name="connsiteX31" fmla="*/ 49851 w 90740"/>
                <a:gd name="connsiteY31" fmla="*/ 5050 h 83735"/>
                <a:gd name="connsiteX32" fmla="*/ 43986 w 90740"/>
                <a:gd name="connsiteY32" fmla="*/ 11567 h 83735"/>
                <a:gd name="connsiteX33" fmla="*/ 34700 w 90740"/>
                <a:gd name="connsiteY33" fmla="*/ 16617 h 83735"/>
                <a:gd name="connsiteX34" fmla="*/ 32745 w 90740"/>
                <a:gd name="connsiteY34" fmla="*/ 15313 h 83735"/>
                <a:gd name="connsiteX35" fmla="*/ 27369 w 90740"/>
                <a:gd name="connsiteY35" fmla="*/ 17431 h 83735"/>
                <a:gd name="connsiteX36" fmla="*/ 27369 w 90740"/>
                <a:gd name="connsiteY36" fmla="*/ 23622 h 83735"/>
                <a:gd name="connsiteX37" fmla="*/ 22156 w 90740"/>
                <a:gd name="connsiteY37" fmla="*/ 27532 h 83735"/>
                <a:gd name="connsiteX38" fmla="*/ 23785 w 90740"/>
                <a:gd name="connsiteY38" fmla="*/ 33559 h 83735"/>
                <a:gd name="connsiteX39" fmla="*/ 22645 w 90740"/>
                <a:gd name="connsiteY39" fmla="*/ 38935 h 83735"/>
                <a:gd name="connsiteX40" fmla="*/ 20527 w 90740"/>
                <a:gd name="connsiteY40" fmla="*/ 43334 h 83735"/>
                <a:gd name="connsiteX41" fmla="*/ 18735 w 90740"/>
                <a:gd name="connsiteY41" fmla="*/ 46429 h 83735"/>
                <a:gd name="connsiteX42" fmla="*/ 14825 w 90740"/>
                <a:gd name="connsiteY42" fmla="*/ 49361 h 83735"/>
                <a:gd name="connsiteX43" fmla="*/ 14825 w 90740"/>
                <a:gd name="connsiteY43" fmla="*/ 53271 h 83735"/>
                <a:gd name="connsiteX44" fmla="*/ 20853 w 90740"/>
                <a:gd name="connsiteY44" fmla="*/ 58484 h 83735"/>
                <a:gd name="connsiteX45" fmla="*/ 26066 w 90740"/>
                <a:gd name="connsiteY45" fmla="*/ 59951 h 83735"/>
                <a:gd name="connsiteX46" fmla="*/ 20201 w 90740"/>
                <a:gd name="connsiteY46" fmla="*/ 59951 h 83735"/>
                <a:gd name="connsiteX47" fmla="*/ 17431 w 90740"/>
                <a:gd name="connsiteY47" fmla="*/ 62231 h 83735"/>
                <a:gd name="connsiteX48" fmla="*/ 15640 w 90740"/>
                <a:gd name="connsiteY48" fmla="*/ 63860 h 83735"/>
                <a:gd name="connsiteX49" fmla="*/ 17920 w 90740"/>
                <a:gd name="connsiteY49" fmla="*/ 66793 h 83735"/>
                <a:gd name="connsiteX50" fmla="*/ 20853 w 90740"/>
                <a:gd name="connsiteY50" fmla="*/ 67119 h 83735"/>
                <a:gd name="connsiteX51" fmla="*/ 20853 w 90740"/>
                <a:gd name="connsiteY51" fmla="*/ 69562 h 83735"/>
                <a:gd name="connsiteX52" fmla="*/ 16454 w 90740"/>
                <a:gd name="connsiteY52" fmla="*/ 69725 h 83735"/>
                <a:gd name="connsiteX53" fmla="*/ 12218 w 90740"/>
                <a:gd name="connsiteY53" fmla="*/ 65327 h 83735"/>
                <a:gd name="connsiteX54" fmla="*/ 7820 w 90740"/>
                <a:gd name="connsiteY54" fmla="*/ 63209 h 83735"/>
                <a:gd name="connsiteX55" fmla="*/ 3584 w 90740"/>
                <a:gd name="connsiteY55" fmla="*/ 65001 h 83735"/>
                <a:gd name="connsiteX56" fmla="*/ 5213 w 90740"/>
                <a:gd name="connsiteY56" fmla="*/ 67282 h 83735"/>
                <a:gd name="connsiteX57" fmla="*/ 9286 w 90740"/>
                <a:gd name="connsiteY57" fmla="*/ 67607 h 83735"/>
                <a:gd name="connsiteX58" fmla="*/ 13033 w 90740"/>
                <a:gd name="connsiteY58" fmla="*/ 71028 h 83735"/>
                <a:gd name="connsiteX59" fmla="*/ 14336 w 90740"/>
                <a:gd name="connsiteY59" fmla="*/ 70377 h 83735"/>
                <a:gd name="connsiteX60" fmla="*/ 19224 w 90740"/>
                <a:gd name="connsiteY60" fmla="*/ 73635 h 83735"/>
                <a:gd name="connsiteX61" fmla="*/ 14499 w 90740"/>
                <a:gd name="connsiteY61" fmla="*/ 71843 h 83735"/>
                <a:gd name="connsiteX62" fmla="*/ 11567 w 90740"/>
                <a:gd name="connsiteY62" fmla="*/ 71843 h 83735"/>
                <a:gd name="connsiteX63" fmla="*/ 4562 w 90740"/>
                <a:gd name="connsiteY63" fmla="*/ 69725 h 83735"/>
                <a:gd name="connsiteX64" fmla="*/ 0 w 90740"/>
                <a:gd name="connsiteY64" fmla="*/ 69725 h 83735"/>
                <a:gd name="connsiteX65" fmla="*/ 2933 w 90740"/>
                <a:gd name="connsiteY65" fmla="*/ 71191 h 83735"/>
                <a:gd name="connsiteX66" fmla="*/ 5376 w 90740"/>
                <a:gd name="connsiteY66" fmla="*/ 74938 h 83735"/>
                <a:gd name="connsiteX67" fmla="*/ 9286 w 90740"/>
                <a:gd name="connsiteY67" fmla="*/ 74938 h 83735"/>
                <a:gd name="connsiteX68" fmla="*/ 11893 w 90740"/>
                <a:gd name="connsiteY68" fmla="*/ 77708 h 83735"/>
                <a:gd name="connsiteX69" fmla="*/ 14662 w 90740"/>
                <a:gd name="connsiteY69" fmla="*/ 74938 h 83735"/>
                <a:gd name="connsiteX70" fmla="*/ 19386 w 90740"/>
                <a:gd name="connsiteY70" fmla="*/ 73961 h 83735"/>
                <a:gd name="connsiteX71" fmla="*/ 20527 w 90740"/>
                <a:gd name="connsiteY71" fmla="*/ 72332 h 83735"/>
                <a:gd name="connsiteX72" fmla="*/ 24274 w 90740"/>
                <a:gd name="connsiteY72" fmla="*/ 72006 h 83735"/>
                <a:gd name="connsiteX73" fmla="*/ 25740 w 90740"/>
                <a:gd name="connsiteY73" fmla="*/ 68259 h 83735"/>
                <a:gd name="connsiteX74" fmla="*/ 34374 w 90740"/>
                <a:gd name="connsiteY74" fmla="*/ 68259 h 83735"/>
                <a:gd name="connsiteX75" fmla="*/ 37306 w 90740"/>
                <a:gd name="connsiteY75" fmla="*/ 71354 h 83735"/>
                <a:gd name="connsiteX76" fmla="*/ 41705 w 90740"/>
                <a:gd name="connsiteY76" fmla="*/ 71354 h 83735"/>
                <a:gd name="connsiteX77" fmla="*/ 44149 w 90740"/>
                <a:gd name="connsiteY77" fmla="*/ 74775 h 83735"/>
                <a:gd name="connsiteX78" fmla="*/ 50991 w 90740"/>
                <a:gd name="connsiteY78" fmla="*/ 74449 h 83735"/>
                <a:gd name="connsiteX79" fmla="*/ 53272 w 90740"/>
                <a:gd name="connsiteY79" fmla="*/ 78685 h 83735"/>
                <a:gd name="connsiteX80" fmla="*/ 52945 w 90740"/>
                <a:gd name="connsiteY80" fmla="*/ 81943 h 83735"/>
                <a:gd name="connsiteX81" fmla="*/ 57344 w 90740"/>
                <a:gd name="connsiteY81" fmla="*/ 83247 h 83735"/>
                <a:gd name="connsiteX82" fmla="*/ 57344 w 90740"/>
                <a:gd name="connsiteY82" fmla="*/ 83247 h 83735"/>
                <a:gd name="connsiteX83" fmla="*/ 7983 w 90740"/>
                <a:gd name="connsiteY83" fmla="*/ 61743 h 83735"/>
                <a:gd name="connsiteX84" fmla="*/ 12381 w 90740"/>
                <a:gd name="connsiteY84" fmla="*/ 59788 h 83735"/>
                <a:gd name="connsiteX85" fmla="*/ 14336 w 90740"/>
                <a:gd name="connsiteY85" fmla="*/ 62557 h 83735"/>
                <a:gd name="connsiteX86" fmla="*/ 11893 w 90740"/>
                <a:gd name="connsiteY86" fmla="*/ 63209 h 83735"/>
                <a:gd name="connsiteX87" fmla="*/ 11078 w 90740"/>
                <a:gd name="connsiteY87" fmla="*/ 61906 h 83735"/>
                <a:gd name="connsiteX88" fmla="*/ 8145 w 90740"/>
                <a:gd name="connsiteY88" fmla="*/ 61906 h 83735"/>
                <a:gd name="connsiteX89" fmla="*/ 10263 w 90740"/>
                <a:gd name="connsiteY89" fmla="*/ 56529 h 83735"/>
                <a:gd name="connsiteX90" fmla="*/ 13847 w 90740"/>
                <a:gd name="connsiteY90" fmla="*/ 56529 h 83735"/>
                <a:gd name="connsiteX91" fmla="*/ 18572 w 90740"/>
                <a:gd name="connsiteY91" fmla="*/ 58484 h 83735"/>
                <a:gd name="connsiteX92" fmla="*/ 17594 w 90740"/>
                <a:gd name="connsiteY92" fmla="*/ 59788 h 83735"/>
                <a:gd name="connsiteX93" fmla="*/ 14988 w 90740"/>
                <a:gd name="connsiteY93" fmla="*/ 59136 h 83735"/>
                <a:gd name="connsiteX94" fmla="*/ 14174 w 90740"/>
                <a:gd name="connsiteY94" fmla="*/ 57507 h 83735"/>
                <a:gd name="connsiteX95" fmla="*/ 11078 w 90740"/>
                <a:gd name="connsiteY95" fmla="*/ 58647 h 83735"/>
                <a:gd name="connsiteX96" fmla="*/ 10263 w 90740"/>
                <a:gd name="connsiteY96" fmla="*/ 56367 h 837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</a:cxnLst>
              <a:rect l="l" t="t" r="r" b="b"/>
              <a:pathLst>
                <a:path w="90740" h="83735">
                  <a:moveTo>
                    <a:pt x="56856" y="83735"/>
                  </a:moveTo>
                  <a:lnTo>
                    <a:pt x="58974" y="78196"/>
                  </a:lnTo>
                  <a:lnTo>
                    <a:pt x="60602" y="69725"/>
                  </a:lnTo>
                  <a:lnTo>
                    <a:pt x="59136" y="62231"/>
                  </a:lnTo>
                  <a:lnTo>
                    <a:pt x="62394" y="58159"/>
                  </a:lnTo>
                  <a:lnTo>
                    <a:pt x="65490" y="52945"/>
                  </a:lnTo>
                  <a:lnTo>
                    <a:pt x="72332" y="51316"/>
                  </a:lnTo>
                  <a:lnTo>
                    <a:pt x="78848" y="52783"/>
                  </a:lnTo>
                  <a:lnTo>
                    <a:pt x="82595" y="50828"/>
                  </a:lnTo>
                  <a:lnTo>
                    <a:pt x="79826" y="46103"/>
                  </a:lnTo>
                  <a:lnTo>
                    <a:pt x="83084" y="43660"/>
                  </a:lnTo>
                  <a:lnTo>
                    <a:pt x="83899" y="38121"/>
                  </a:lnTo>
                  <a:lnTo>
                    <a:pt x="85365" y="35025"/>
                  </a:lnTo>
                  <a:lnTo>
                    <a:pt x="82758" y="32582"/>
                  </a:lnTo>
                  <a:lnTo>
                    <a:pt x="76568" y="32582"/>
                  </a:lnTo>
                  <a:cubicBezTo>
                    <a:pt x="76568" y="32582"/>
                    <a:pt x="75916" y="29487"/>
                    <a:pt x="75916" y="29487"/>
                  </a:cubicBezTo>
                  <a:lnTo>
                    <a:pt x="78197" y="24436"/>
                  </a:lnTo>
                  <a:lnTo>
                    <a:pt x="83572" y="26880"/>
                  </a:lnTo>
                  <a:lnTo>
                    <a:pt x="86831" y="24111"/>
                  </a:lnTo>
                  <a:lnTo>
                    <a:pt x="86831" y="19060"/>
                  </a:lnTo>
                  <a:cubicBezTo>
                    <a:pt x="86831" y="19060"/>
                    <a:pt x="88949" y="14662"/>
                    <a:pt x="88949" y="14662"/>
                  </a:cubicBezTo>
                  <a:lnTo>
                    <a:pt x="89274" y="11729"/>
                  </a:lnTo>
                  <a:lnTo>
                    <a:pt x="90741" y="9937"/>
                  </a:lnTo>
                  <a:lnTo>
                    <a:pt x="90741" y="8797"/>
                  </a:lnTo>
                  <a:cubicBezTo>
                    <a:pt x="90741" y="8797"/>
                    <a:pt x="86017" y="7168"/>
                    <a:pt x="86017" y="7168"/>
                  </a:cubicBezTo>
                  <a:lnTo>
                    <a:pt x="82106" y="3747"/>
                  </a:lnTo>
                  <a:lnTo>
                    <a:pt x="74938" y="0"/>
                  </a:lnTo>
                  <a:lnTo>
                    <a:pt x="67445" y="1140"/>
                  </a:lnTo>
                  <a:lnTo>
                    <a:pt x="63046" y="5050"/>
                  </a:lnTo>
                  <a:lnTo>
                    <a:pt x="58810" y="3258"/>
                  </a:lnTo>
                  <a:lnTo>
                    <a:pt x="56041" y="5050"/>
                  </a:lnTo>
                  <a:lnTo>
                    <a:pt x="49851" y="5050"/>
                  </a:lnTo>
                  <a:cubicBezTo>
                    <a:pt x="49851" y="5050"/>
                    <a:pt x="43986" y="11567"/>
                    <a:pt x="43986" y="11567"/>
                  </a:cubicBezTo>
                  <a:lnTo>
                    <a:pt x="34700" y="16617"/>
                  </a:lnTo>
                  <a:lnTo>
                    <a:pt x="32745" y="15313"/>
                  </a:lnTo>
                  <a:lnTo>
                    <a:pt x="27369" y="17431"/>
                  </a:lnTo>
                  <a:lnTo>
                    <a:pt x="27369" y="23622"/>
                  </a:lnTo>
                  <a:cubicBezTo>
                    <a:pt x="27369" y="23622"/>
                    <a:pt x="22156" y="27532"/>
                    <a:pt x="22156" y="27532"/>
                  </a:cubicBezTo>
                  <a:lnTo>
                    <a:pt x="23785" y="33559"/>
                  </a:lnTo>
                  <a:lnTo>
                    <a:pt x="22645" y="38935"/>
                  </a:lnTo>
                  <a:lnTo>
                    <a:pt x="20527" y="43334"/>
                  </a:lnTo>
                  <a:lnTo>
                    <a:pt x="18735" y="46429"/>
                  </a:lnTo>
                  <a:lnTo>
                    <a:pt x="14825" y="49361"/>
                  </a:lnTo>
                  <a:lnTo>
                    <a:pt x="14825" y="53271"/>
                  </a:lnTo>
                  <a:cubicBezTo>
                    <a:pt x="14825" y="53271"/>
                    <a:pt x="20853" y="58484"/>
                    <a:pt x="20853" y="58484"/>
                  </a:cubicBezTo>
                  <a:lnTo>
                    <a:pt x="26066" y="59951"/>
                  </a:lnTo>
                  <a:lnTo>
                    <a:pt x="20201" y="59951"/>
                  </a:lnTo>
                  <a:lnTo>
                    <a:pt x="17431" y="62231"/>
                  </a:lnTo>
                  <a:lnTo>
                    <a:pt x="15640" y="63860"/>
                  </a:lnTo>
                  <a:lnTo>
                    <a:pt x="17920" y="66793"/>
                  </a:lnTo>
                  <a:lnTo>
                    <a:pt x="20853" y="67119"/>
                  </a:lnTo>
                  <a:lnTo>
                    <a:pt x="20853" y="69562"/>
                  </a:lnTo>
                  <a:cubicBezTo>
                    <a:pt x="20853" y="69562"/>
                    <a:pt x="16454" y="69725"/>
                    <a:pt x="16454" y="69725"/>
                  </a:cubicBezTo>
                  <a:lnTo>
                    <a:pt x="12218" y="65327"/>
                  </a:lnTo>
                  <a:lnTo>
                    <a:pt x="7820" y="63209"/>
                  </a:lnTo>
                  <a:lnTo>
                    <a:pt x="3584" y="65001"/>
                  </a:lnTo>
                  <a:lnTo>
                    <a:pt x="5213" y="67282"/>
                  </a:lnTo>
                  <a:lnTo>
                    <a:pt x="9286" y="67607"/>
                  </a:lnTo>
                  <a:lnTo>
                    <a:pt x="13033" y="71028"/>
                  </a:lnTo>
                  <a:lnTo>
                    <a:pt x="14336" y="70377"/>
                  </a:lnTo>
                  <a:lnTo>
                    <a:pt x="19224" y="73635"/>
                  </a:lnTo>
                  <a:lnTo>
                    <a:pt x="14499" y="71843"/>
                  </a:lnTo>
                  <a:lnTo>
                    <a:pt x="11567" y="71843"/>
                  </a:lnTo>
                  <a:cubicBezTo>
                    <a:pt x="11567" y="71843"/>
                    <a:pt x="4562" y="69725"/>
                    <a:pt x="4562" y="69725"/>
                  </a:cubicBezTo>
                  <a:lnTo>
                    <a:pt x="0" y="69725"/>
                  </a:lnTo>
                  <a:cubicBezTo>
                    <a:pt x="0" y="69725"/>
                    <a:pt x="2933" y="71191"/>
                    <a:pt x="2933" y="71191"/>
                  </a:cubicBezTo>
                  <a:lnTo>
                    <a:pt x="5376" y="74938"/>
                  </a:lnTo>
                  <a:lnTo>
                    <a:pt x="9286" y="74938"/>
                  </a:lnTo>
                  <a:lnTo>
                    <a:pt x="11893" y="77708"/>
                  </a:lnTo>
                  <a:lnTo>
                    <a:pt x="14662" y="74938"/>
                  </a:lnTo>
                  <a:lnTo>
                    <a:pt x="19386" y="73961"/>
                  </a:lnTo>
                  <a:lnTo>
                    <a:pt x="20527" y="72332"/>
                  </a:lnTo>
                  <a:lnTo>
                    <a:pt x="24274" y="72006"/>
                  </a:lnTo>
                  <a:lnTo>
                    <a:pt x="25740" y="68259"/>
                  </a:lnTo>
                  <a:lnTo>
                    <a:pt x="34374" y="68259"/>
                  </a:lnTo>
                  <a:cubicBezTo>
                    <a:pt x="34374" y="68259"/>
                    <a:pt x="37306" y="71354"/>
                    <a:pt x="37306" y="71354"/>
                  </a:cubicBezTo>
                  <a:lnTo>
                    <a:pt x="41705" y="71354"/>
                  </a:lnTo>
                  <a:lnTo>
                    <a:pt x="44149" y="74775"/>
                  </a:lnTo>
                  <a:lnTo>
                    <a:pt x="50991" y="74449"/>
                  </a:lnTo>
                  <a:lnTo>
                    <a:pt x="53272" y="78685"/>
                  </a:lnTo>
                  <a:lnTo>
                    <a:pt x="52945" y="81943"/>
                  </a:lnTo>
                  <a:lnTo>
                    <a:pt x="57344" y="83247"/>
                  </a:lnTo>
                  <a:lnTo>
                    <a:pt x="57344" y="83247"/>
                  </a:lnTo>
                  <a:close/>
                  <a:moveTo>
                    <a:pt x="7983" y="61743"/>
                  </a:moveTo>
                  <a:lnTo>
                    <a:pt x="12381" y="59788"/>
                  </a:lnTo>
                  <a:lnTo>
                    <a:pt x="14336" y="62557"/>
                  </a:lnTo>
                  <a:lnTo>
                    <a:pt x="11893" y="63209"/>
                  </a:lnTo>
                  <a:lnTo>
                    <a:pt x="11078" y="61906"/>
                  </a:lnTo>
                  <a:lnTo>
                    <a:pt x="8145" y="61906"/>
                  </a:lnTo>
                  <a:close/>
                  <a:moveTo>
                    <a:pt x="10263" y="56529"/>
                  </a:moveTo>
                  <a:lnTo>
                    <a:pt x="13847" y="56529"/>
                  </a:lnTo>
                  <a:cubicBezTo>
                    <a:pt x="13847" y="56529"/>
                    <a:pt x="18572" y="58484"/>
                    <a:pt x="18572" y="58484"/>
                  </a:cubicBezTo>
                  <a:lnTo>
                    <a:pt x="17594" y="59788"/>
                  </a:lnTo>
                  <a:lnTo>
                    <a:pt x="14988" y="59136"/>
                  </a:lnTo>
                  <a:lnTo>
                    <a:pt x="14174" y="57507"/>
                  </a:lnTo>
                  <a:lnTo>
                    <a:pt x="11078" y="58647"/>
                  </a:lnTo>
                  <a:lnTo>
                    <a:pt x="10263" y="56367"/>
                  </a:lnTo>
                  <a:close/>
                </a:path>
              </a:pathLst>
            </a:custGeom>
            <a:solidFill>
              <a:schemeClr val="bg2"/>
            </a:solidFill>
            <a:ln w="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7" name="Forma livre: Forma 176">
              <a:extLst>
                <a:ext uri="{FF2B5EF4-FFF2-40B4-BE49-F238E27FC236}">
                  <a16:creationId xmlns:a16="http://schemas.microsoft.com/office/drawing/2014/main" id="{3822119C-350F-8136-989B-AA107351072E}"/>
                </a:ext>
              </a:extLst>
            </p:cNvPr>
            <p:cNvSpPr/>
            <p:nvPr/>
          </p:nvSpPr>
          <p:spPr>
            <a:xfrm>
              <a:off x="6047988" y="3459727"/>
              <a:ext cx="74073" cy="63804"/>
            </a:xfrm>
            <a:custGeom>
              <a:avLst/>
              <a:gdLst>
                <a:gd name="connsiteX0" fmla="*/ 68748 w 71679"/>
                <a:gd name="connsiteY0" fmla="*/ 41705 h 61742"/>
                <a:gd name="connsiteX1" fmla="*/ 71680 w 71679"/>
                <a:gd name="connsiteY1" fmla="*/ 34863 h 61742"/>
                <a:gd name="connsiteX2" fmla="*/ 68422 w 71679"/>
                <a:gd name="connsiteY2" fmla="*/ 29975 h 61742"/>
                <a:gd name="connsiteX3" fmla="*/ 68748 w 71679"/>
                <a:gd name="connsiteY3" fmla="*/ 26880 h 61742"/>
                <a:gd name="connsiteX4" fmla="*/ 64838 w 71679"/>
                <a:gd name="connsiteY4" fmla="*/ 18898 h 61742"/>
                <a:gd name="connsiteX5" fmla="*/ 66467 w 71679"/>
                <a:gd name="connsiteY5" fmla="*/ 15313 h 61742"/>
                <a:gd name="connsiteX6" fmla="*/ 61417 w 71679"/>
                <a:gd name="connsiteY6" fmla="*/ 13684 h 61742"/>
                <a:gd name="connsiteX7" fmla="*/ 61743 w 71679"/>
                <a:gd name="connsiteY7" fmla="*/ 10426 h 61742"/>
                <a:gd name="connsiteX8" fmla="*/ 59462 w 71679"/>
                <a:gd name="connsiteY8" fmla="*/ 6191 h 61742"/>
                <a:gd name="connsiteX9" fmla="*/ 52620 w 71679"/>
                <a:gd name="connsiteY9" fmla="*/ 6516 h 61742"/>
                <a:gd name="connsiteX10" fmla="*/ 50176 w 71679"/>
                <a:gd name="connsiteY10" fmla="*/ 3095 h 61742"/>
                <a:gd name="connsiteX11" fmla="*/ 45777 w 71679"/>
                <a:gd name="connsiteY11" fmla="*/ 3095 h 61742"/>
                <a:gd name="connsiteX12" fmla="*/ 42845 w 71679"/>
                <a:gd name="connsiteY12" fmla="*/ 163 h 61742"/>
                <a:gd name="connsiteX13" fmla="*/ 34211 w 71679"/>
                <a:gd name="connsiteY13" fmla="*/ 0 h 61742"/>
                <a:gd name="connsiteX14" fmla="*/ 32745 w 71679"/>
                <a:gd name="connsiteY14" fmla="*/ 3584 h 61742"/>
                <a:gd name="connsiteX15" fmla="*/ 28998 w 71679"/>
                <a:gd name="connsiteY15" fmla="*/ 4073 h 61742"/>
                <a:gd name="connsiteX16" fmla="*/ 28020 w 71679"/>
                <a:gd name="connsiteY16" fmla="*/ 5702 h 61742"/>
                <a:gd name="connsiteX17" fmla="*/ 23133 w 71679"/>
                <a:gd name="connsiteY17" fmla="*/ 6516 h 61742"/>
                <a:gd name="connsiteX18" fmla="*/ 20364 w 71679"/>
                <a:gd name="connsiteY18" fmla="*/ 9286 h 61742"/>
                <a:gd name="connsiteX19" fmla="*/ 17757 w 71679"/>
                <a:gd name="connsiteY19" fmla="*/ 6516 h 61742"/>
                <a:gd name="connsiteX20" fmla="*/ 14010 w 71679"/>
                <a:gd name="connsiteY20" fmla="*/ 6516 h 61742"/>
                <a:gd name="connsiteX21" fmla="*/ 11566 w 71679"/>
                <a:gd name="connsiteY21" fmla="*/ 2932 h 61742"/>
                <a:gd name="connsiteX22" fmla="*/ 8634 w 71679"/>
                <a:gd name="connsiteY22" fmla="*/ 1466 h 61742"/>
                <a:gd name="connsiteX23" fmla="*/ 3421 w 71679"/>
                <a:gd name="connsiteY23" fmla="*/ 5702 h 61742"/>
                <a:gd name="connsiteX24" fmla="*/ 0 w 71679"/>
                <a:gd name="connsiteY24" fmla="*/ 12055 h 61742"/>
                <a:gd name="connsiteX25" fmla="*/ 2932 w 71679"/>
                <a:gd name="connsiteY25" fmla="*/ 14173 h 61742"/>
                <a:gd name="connsiteX26" fmla="*/ 4073 w 71679"/>
                <a:gd name="connsiteY26" fmla="*/ 22970 h 61742"/>
                <a:gd name="connsiteX27" fmla="*/ 9938 w 71679"/>
                <a:gd name="connsiteY27" fmla="*/ 25251 h 61742"/>
                <a:gd name="connsiteX28" fmla="*/ 10752 w 71679"/>
                <a:gd name="connsiteY28" fmla="*/ 29487 h 61742"/>
                <a:gd name="connsiteX29" fmla="*/ 18083 w 71679"/>
                <a:gd name="connsiteY29" fmla="*/ 35351 h 61742"/>
                <a:gd name="connsiteX30" fmla="*/ 21178 w 71679"/>
                <a:gd name="connsiteY30" fmla="*/ 35188 h 61742"/>
                <a:gd name="connsiteX31" fmla="*/ 24273 w 71679"/>
                <a:gd name="connsiteY31" fmla="*/ 37795 h 61742"/>
                <a:gd name="connsiteX32" fmla="*/ 27695 w 71679"/>
                <a:gd name="connsiteY32" fmla="*/ 39424 h 61742"/>
                <a:gd name="connsiteX33" fmla="*/ 28183 w 71679"/>
                <a:gd name="connsiteY33" fmla="*/ 46429 h 61742"/>
                <a:gd name="connsiteX34" fmla="*/ 33559 w 71679"/>
                <a:gd name="connsiteY34" fmla="*/ 49199 h 61742"/>
                <a:gd name="connsiteX35" fmla="*/ 36329 w 71679"/>
                <a:gd name="connsiteY35" fmla="*/ 47244 h 61742"/>
                <a:gd name="connsiteX36" fmla="*/ 39424 w 71679"/>
                <a:gd name="connsiteY36" fmla="*/ 47244 h 61742"/>
                <a:gd name="connsiteX37" fmla="*/ 41542 w 71679"/>
                <a:gd name="connsiteY37" fmla="*/ 49850 h 61742"/>
                <a:gd name="connsiteX38" fmla="*/ 44963 w 71679"/>
                <a:gd name="connsiteY38" fmla="*/ 50665 h 61742"/>
                <a:gd name="connsiteX39" fmla="*/ 50828 w 71679"/>
                <a:gd name="connsiteY39" fmla="*/ 57996 h 61742"/>
                <a:gd name="connsiteX40" fmla="*/ 56041 w 71679"/>
                <a:gd name="connsiteY40" fmla="*/ 58322 h 61742"/>
                <a:gd name="connsiteX41" fmla="*/ 60602 w 71679"/>
                <a:gd name="connsiteY41" fmla="*/ 61743 h 61742"/>
                <a:gd name="connsiteX42" fmla="*/ 62720 w 71679"/>
                <a:gd name="connsiteY42" fmla="*/ 60276 h 61742"/>
                <a:gd name="connsiteX43" fmla="*/ 66467 w 71679"/>
                <a:gd name="connsiteY43" fmla="*/ 60276 h 61742"/>
                <a:gd name="connsiteX44" fmla="*/ 66467 w 71679"/>
                <a:gd name="connsiteY44" fmla="*/ 57507 h 61742"/>
                <a:gd name="connsiteX45" fmla="*/ 64512 w 71679"/>
                <a:gd name="connsiteY45" fmla="*/ 55552 h 61742"/>
                <a:gd name="connsiteX46" fmla="*/ 64512 w 71679"/>
                <a:gd name="connsiteY46" fmla="*/ 52131 h 61742"/>
                <a:gd name="connsiteX47" fmla="*/ 62720 w 71679"/>
                <a:gd name="connsiteY47" fmla="*/ 49850 h 61742"/>
                <a:gd name="connsiteX48" fmla="*/ 65489 w 71679"/>
                <a:gd name="connsiteY48" fmla="*/ 46266 h 61742"/>
                <a:gd name="connsiteX49" fmla="*/ 66956 w 71679"/>
                <a:gd name="connsiteY49" fmla="*/ 41705 h 61742"/>
                <a:gd name="connsiteX50" fmla="*/ 68748 w 71679"/>
                <a:gd name="connsiteY50" fmla="*/ 41705 h 617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</a:cxnLst>
              <a:rect l="l" t="t" r="r" b="b"/>
              <a:pathLst>
                <a:path w="71679" h="61742">
                  <a:moveTo>
                    <a:pt x="68748" y="41705"/>
                  </a:moveTo>
                  <a:lnTo>
                    <a:pt x="71680" y="34863"/>
                  </a:lnTo>
                  <a:lnTo>
                    <a:pt x="68422" y="29975"/>
                  </a:lnTo>
                  <a:lnTo>
                    <a:pt x="68748" y="26880"/>
                  </a:lnTo>
                  <a:lnTo>
                    <a:pt x="64838" y="18898"/>
                  </a:lnTo>
                  <a:lnTo>
                    <a:pt x="66467" y="15313"/>
                  </a:lnTo>
                  <a:lnTo>
                    <a:pt x="61417" y="13684"/>
                  </a:lnTo>
                  <a:lnTo>
                    <a:pt x="61743" y="10426"/>
                  </a:lnTo>
                  <a:lnTo>
                    <a:pt x="59462" y="6191"/>
                  </a:lnTo>
                  <a:lnTo>
                    <a:pt x="52620" y="6516"/>
                  </a:lnTo>
                  <a:lnTo>
                    <a:pt x="50176" y="3095"/>
                  </a:lnTo>
                  <a:lnTo>
                    <a:pt x="45777" y="3095"/>
                  </a:lnTo>
                  <a:lnTo>
                    <a:pt x="42845" y="163"/>
                  </a:lnTo>
                  <a:lnTo>
                    <a:pt x="34211" y="0"/>
                  </a:lnTo>
                  <a:lnTo>
                    <a:pt x="32745" y="3584"/>
                  </a:lnTo>
                  <a:lnTo>
                    <a:pt x="28998" y="4073"/>
                  </a:lnTo>
                  <a:lnTo>
                    <a:pt x="28020" y="5702"/>
                  </a:lnTo>
                  <a:lnTo>
                    <a:pt x="23133" y="6516"/>
                  </a:lnTo>
                  <a:lnTo>
                    <a:pt x="20364" y="9286"/>
                  </a:lnTo>
                  <a:lnTo>
                    <a:pt x="17757" y="6516"/>
                  </a:lnTo>
                  <a:lnTo>
                    <a:pt x="14010" y="6516"/>
                  </a:lnTo>
                  <a:lnTo>
                    <a:pt x="11566" y="2932"/>
                  </a:lnTo>
                  <a:lnTo>
                    <a:pt x="8634" y="1466"/>
                  </a:lnTo>
                  <a:lnTo>
                    <a:pt x="3421" y="5702"/>
                  </a:lnTo>
                  <a:lnTo>
                    <a:pt x="0" y="12055"/>
                  </a:lnTo>
                  <a:lnTo>
                    <a:pt x="2932" y="14173"/>
                  </a:lnTo>
                  <a:lnTo>
                    <a:pt x="4073" y="22970"/>
                  </a:lnTo>
                  <a:lnTo>
                    <a:pt x="9938" y="25251"/>
                  </a:lnTo>
                  <a:lnTo>
                    <a:pt x="10752" y="29487"/>
                  </a:lnTo>
                  <a:lnTo>
                    <a:pt x="18083" y="35351"/>
                  </a:lnTo>
                  <a:lnTo>
                    <a:pt x="21178" y="35188"/>
                  </a:lnTo>
                  <a:lnTo>
                    <a:pt x="24273" y="37795"/>
                  </a:lnTo>
                  <a:lnTo>
                    <a:pt x="27695" y="39424"/>
                  </a:lnTo>
                  <a:lnTo>
                    <a:pt x="28183" y="46429"/>
                  </a:lnTo>
                  <a:lnTo>
                    <a:pt x="33559" y="49199"/>
                  </a:lnTo>
                  <a:lnTo>
                    <a:pt x="36329" y="47244"/>
                  </a:lnTo>
                  <a:lnTo>
                    <a:pt x="39424" y="47244"/>
                  </a:lnTo>
                  <a:lnTo>
                    <a:pt x="41542" y="49850"/>
                  </a:lnTo>
                  <a:lnTo>
                    <a:pt x="44963" y="50665"/>
                  </a:lnTo>
                  <a:lnTo>
                    <a:pt x="50828" y="57996"/>
                  </a:lnTo>
                  <a:lnTo>
                    <a:pt x="56041" y="58322"/>
                  </a:lnTo>
                  <a:lnTo>
                    <a:pt x="60602" y="61743"/>
                  </a:lnTo>
                  <a:lnTo>
                    <a:pt x="62720" y="60276"/>
                  </a:lnTo>
                  <a:lnTo>
                    <a:pt x="66467" y="60276"/>
                  </a:lnTo>
                  <a:lnTo>
                    <a:pt x="66467" y="57507"/>
                  </a:lnTo>
                  <a:lnTo>
                    <a:pt x="64512" y="55552"/>
                  </a:lnTo>
                  <a:lnTo>
                    <a:pt x="64512" y="52131"/>
                  </a:lnTo>
                  <a:lnTo>
                    <a:pt x="62720" y="49850"/>
                  </a:lnTo>
                  <a:lnTo>
                    <a:pt x="65489" y="46266"/>
                  </a:lnTo>
                  <a:lnTo>
                    <a:pt x="66956" y="41705"/>
                  </a:lnTo>
                  <a:lnTo>
                    <a:pt x="68748" y="41705"/>
                  </a:lnTo>
                  <a:close/>
                </a:path>
              </a:pathLst>
            </a:custGeom>
            <a:solidFill>
              <a:schemeClr val="bg2"/>
            </a:solidFill>
            <a:ln w="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8" name="Forma livre: Forma 177">
              <a:extLst>
                <a:ext uri="{FF2B5EF4-FFF2-40B4-BE49-F238E27FC236}">
                  <a16:creationId xmlns:a16="http://schemas.microsoft.com/office/drawing/2014/main" id="{461314C0-AA5D-5841-3770-DAB1D4B993C7}"/>
                </a:ext>
              </a:extLst>
            </p:cNvPr>
            <p:cNvSpPr/>
            <p:nvPr/>
          </p:nvSpPr>
          <p:spPr>
            <a:xfrm>
              <a:off x="6112803" y="3502825"/>
              <a:ext cx="18181" cy="25421"/>
            </a:xfrm>
            <a:custGeom>
              <a:avLst/>
              <a:gdLst>
                <a:gd name="connsiteX0" fmla="*/ 3747 w 17593"/>
                <a:gd name="connsiteY0" fmla="*/ 18572 h 24599"/>
                <a:gd name="connsiteX1" fmla="*/ 3747 w 17593"/>
                <a:gd name="connsiteY1" fmla="*/ 15802 h 24599"/>
                <a:gd name="connsiteX2" fmla="*/ 1792 w 17593"/>
                <a:gd name="connsiteY2" fmla="*/ 13847 h 24599"/>
                <a:gd name="connsiteX3" fmla="*/ 1792 w 17593"/>
                <a:gd name="connsiteY3" fmla="*/ 10426 h 24599"/>
                <a:gd name="connsiteX4" fmla="*/ 0 w 17593"/>
                <a:gd name="connsiteY4" fmla="*/ 8145 h 24599"/>
                <a:gd name="connsiteX5" fmla="*/ 2769 w 17593"/>
                <a:gd name="connsiteY5" fmla="*/ 4562 h 24599"/>
                <a:gd name="connsiteX6" fmla="*/ 4236 w 17593"/>
                <a:gd name="connsiteY6" fmla="*/ 0 h 24599"/>
                <a:gd name="connsiteX7" fmla="*/ 7657 w 17593"/>
                <a:gd name="connsiteY7" fmla="*/ 0 h 24599"/>
                <a:gd name="connsiteX8" fmla="*/ 13684 w 17593"/>
                <a:gd name="connsiteY8" fmla="*/ 7657 h 24599"/>
                <a:gd name="connsiteX9" fmla="*/ 14825 w 17593"/>
                <a:gd name="connsiteY9" fmla="*/ 13196 h 24599"/>
                <a:gd name="connsiteX10" fmla="*/ 17594 w 17593"/>
                <a:gd name="connsiteY10" fmla="*/ 15639 h 24599"/>
                <a:gd name="connsiteX11" fmla="*/ 17105 w 17593"/>
                <a:gd name="connsiteY11" fmla="*/ 23622 h 24599"/>
                <a:gd name="connsiteX12" fmla="*/ 13521 w 17593"/>
                <a:gd name="connsiteY12" fmla="*/ 24599 h 24599"/>
                <a:gd name="connsiteX13" fmla="*/ 7005 w 17593"/>
                <a:gd name="connsiteY13" fmla="*/ 23296 h 24599"/>
                <a:gd name="connsiteX14" fmla="*/ 4073 w 17593"/>
                <a:gd name="connsiteY14" fmla="*/ 18572 h 24599"/>
                <a:gd name="connsiteX15" fmla="*/ 3747 w 17593"/>
                <a:gd name="connsiteY15" fmla="*/ 18572 h 245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7593" h="24599">
                  <a:moveTo>
                    <a:pt x="3747" y="18572"/>
                  </a:moveTo>
                  <a:lnTo>
                    <a:pt x="3747" y="15802"/>
                  </a:lnTo>
                  <a:lnTo>
                    <a:pt x="1792" y="13847"/>
                  </a:lnTo>
                  <a:lnTo>
                    <a:pt x="1792" y="10426"/>
                  </a:lnTo>
                  <a:lnTo>
                    <a:pt x="0" y="8145"/>
                  </a:lnTo>
                  <a:lnTo>
                    <a:pt x="2769" y="4562"/>
                  </a:lnTo>
                  <a:lnTo>
                    <a:pt x="4236" y="0"/>
                  </a:lnTo>
                  <a:lnTo>
                    <a:pt x="7657" y="0"/>
                  </a:lnTo>
                  <a:lnTo>
                    <a:pt x="13684" y="7657"/>
                  </a:lnTo>
                  <a:lnTo>
                    <a:pt x="14825" y="13196"/>
                  </a:lnTo>
                  <a:lnTo>
                    <a:pt x="17594" y="15639"/>
                  </a:lnTo>
                  <a:lnTo>
                    <a:pt x="17105" y="23622"/>
                  </a:lnTo>
                  <a:lnTo>
                    <a:pt x="13521" y="24599"/>
                  </a:lnTo>
                  <a:lnTo>
                    <a:pt x="7005" y="23296"/>
                  </a:lnTo>
                  <a:lnTo>
                    <a:pt x="4073" y="18572"/>
                  </a:lnTo>
                  <a:lnTo>
                    <a:pt x="3747" y="18572"/>
                  </a:lnTo>
                  <a:close/>
                </a:path>
              </a:pathLst>
            </a:custGeom>
            <a:solidFill>
              <a:schemeClr val="bg2"/>
            </a:solidFill>
            <a:ln w="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9" name="Forma livre: Forma 178">
              <a:extLst>
                <a:ext uri="{FF2B5EF4-FFF2-40B4-BE49-F238E27FC236}">
                  <a16:creationId xmlns:a16="http://schemas.microsoft.com/office/drawing/2014/main" id="{FE72A403-CD6A-4DD8-9FBC-013DE2843FBF}"/>
                </a:ext>
              </a:extLst>
            </p:cNvPr>
            <p:cNvSpPr/>
            <p:nvPr/>
          </p:nvSpPr>
          <p:spPr>
            <a:xfrm>
              <a:off x="5818189" y="3034642"/>
              <a:ext cx="18854" cy="42929"/>
            </a:xfrm>
            <a:custGeom>
              <a:avLst/>
              <a:gdLst>
                <a:gd name="connsiteX0" fmla="*/ 9286 w 18245"/>
                <a:gd name="connsiteY0" fmla="*/ 31767 h 41541"/>
                <a:gd name="connsiteX1" fmla="*/ 13196 w 18245"/>
                <a:gd name="connsiteY1" fmla="*/ 41542 h 41541"/>
                <a:gd name="connsiteX2" fmla="*/ 12707 w 18245"/>
                <a:gd name="connsiteY2" fmla="*/ 36329 h 41541"/>
                <a:gd name="connsiteX3" fmla="*/ 13196 w 18245"/>
                <a:gd name="connsiteY3" fmla="*/ 33722 h 41541"/>
                <a:gd name="connsiteX4" fmla="*/ 9286 w 18245"/>
                <a:gd name="connsiteY4" fmla="*/ 31767 h 41541"/>
                <a:gd name="connsiteX5" fmla="*/ 9286 w 18245"/>
                <a:gd name="connsiteY5" fmla="*/ 31767 h 41541"/>
                <a:gd name="connsiteX6" fmla="*/ 12218 w 18245"/>
                <a:gd name="connsiteY6" fmla="*/ 19875 h 41541"/>
                <a:gd name="connsiteX7" fmla="*/ 9937 w 18245"/>
                <a:gd name="connsiteY7" fmla="*/ 21504 h 41541"/>
                <a:gd name="connsiteX8" fmla="*/ 13684 w 18245"/>
                <a:gd name="connsiteY8" fmla="*/ 25903 h 41541"/>
                <a:gd name="connsiteX9" fmla="*/ 14010 w 18245"/>
                <a:gd name="connsiteY9" fmla="*/ 22482 h 41541"/>
                <a:gd name="connsiteX10" fmla="*/ 12381 w 18245"/>
                <a:gd name="connsiteY10" fmla="*/ 20038 h 41541"/>
                <a:gd name="connsiteX11" fmla="*/ 12381 w 18245"/>
                <a:gd name="connsiteY11" fmla="*/ 20038 h 41541"/>
                <a:gd name="connsiteX12" fmla="*/ 0 w 18245"/>
                <a:gd name="connsiteY12" fmla="*/ 5539 h 41541"/>
                <a:gd name="connsiteX13" fmla="*/ 652 w 18245"/>
                <a:gd name="connsiteY13" fmla="*/ 10100 h 41541"/>
                <a:gd name="connsiteX14" fmla="*/ 4561 w 18245"/>
                <a:gd name="connsiteY14" fmla="*/ 11241 h 41541"/>
                <a:gd name="connsiteX15" fmla="*/ 0 w 18245"/>
                <a:gd name="connsiteY15" fmla="*/ 5539 h 41541"/>
                <a:gd name="connsiteX16" fmla="*/ 0 w 18245"/>
                <a:gd name="connsiteY16" fmla="*/ 5539 h 41541"/>
                <a:gd name="connsiteX17" fmla="*/ 15314 w 18245"/>
                <a:gd name="connsiteY17" fmla="*/ 0 h 41541"/>
                <a:gd name="connsiteX18" fmla="*/ 18246 w 18245"/>
                <a:gd name="connsiteY18" fmla="*/ 3584 h 41541"/>
                <a:gd name="connsiteX19" fmla="*/ 17268 w 18245"/>
                <a:gd name="connsiteY19" fmla="*/ 326 h 41541"/>
                <a:gd name="connsiteX20" fmla="*/ 15314 w 18245"/>
                <a:gd name="connsiteY20" fmla="*/ 326 h 41541"/>
                <a:gd name="connsiteX21" fmla="*/ 7331 w 18245"/>
                <a:gd name="connsiteY21" fmla="*/ 0 h 41541"/>
                <a:gd name="connsiteX22" fmla="*/ 9937 w 18245"/>
                <a:gd name="connsiteY22" fmla="*/ 163 h 41541"/>
                <a:gd name="connsiteX23" fmla="*/ 14825 w 18245"/>
                <a:gd name="connsiteY23" fmla="*/ 3421 h 41541"/>
                <a:gd name="connsiteX24" fmla="*/ 15314 w 18245"/>
                <a:gd name="connsiteY24" fmla="*/ 7820 h 41541"/>
                <a:gd name="connsiteX25" fmla="*/ 11404 w 18245"/>
                <a:gd name="connsiteY25" fmla="*/ 6516 h 41541"/>
                <a:gd name="connsiteX26" fmla="*/ 7168 w 18245"/>
                <a:gd name="connsiteY26" fmla="*/ 0 h 41541"/>
                <a:gd name="connsiteX27" fmla="*/ 7168 w 18245"/>
                <a:gd name="connsiteY27" fmla="*/ 0 h 41541"/>
                <a:gd name="connsiteX28" fmla="*/ 5376 w 18245"/>
                <a:gd name="connsiteY28" fmla="*/ 977 h 41541"/>
                <a:gd name="connsiteX29" fmla="*/ 11729 w 18245"/>
                <a:gd name="connsiteY29" fmla="*/ 11567 h 41541"/>
                <a:gd name="connsiteX30" fmla="*/ 16617 w 18245"/>
                <a:gd name="connsiteY30" fmla="*/ 15313 h 41541"/>
                <a:gd name="connsiteX31" fmla="*/ 12381 w 18245"/>
                <a:gd name="connsiteY31" fmla="*/ 15313 h 41541"/>
                <a:gd name="connsiteX32" fmla="*/ 5702 w 18245"/>
                <a:gd name="connsiteY32" fmla="*/ 8308 h 41541"/>
                <a:gd name="connsiteX33" fmla="*/ 3747 w 18245"/>
                <a:gd name="connsiteY33" fmla="*/ 2932 h 41541"/>
                <a:gd name="connsiteX34" fmla="*/ 5376 w 18245"/>
                <a:gd name="connsiteY34" fmla="*/ 977 h 415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18245" h="41541">
                  <a:moveTo>
                    <a:pt x="9286" y="31767"/>
                  </a:moveTo>
                  <a:lnTo>
                    <a:pt x="13196" y="41542"/>
                  </a:lnTo>
                  <a:lnTo>
                    <a:pt x="12707" y="36329"/>
                  </a:lnTo>
                  <a:lnTo>
                    <a:pt x="13196" y="33722"/>
                  </a:lnTo>
                  <a:lnTo>
                    <a:pt x="9286" y="31767"/>
                  </a:lnTo>
                  <a:lnTo>
                    <a:pt x="9286" y="31767"/>
                  </a:lnTo>
                  <a:close/>
                  <a:moveTo>
                    <a:pt x="12218" y="19875"/>
                  </a:moveTo>
                  <a:lnTo>
                    <a:pt x="9937" y="21504"/>
                  </a:lnTo>
                  <a:lnTo>
                    <a:pt x="13684" y="25903"/>
                  </a:lnTo>
                  <a:lnTo>
                    <a:pt x="14010" y="22482"/>
                  </a:lnTo>
                  <a:lnTo>
                    <a:pt x="12381" y="20038"/>
                  </a:lnTo>
                  <a:lnTo>
                    <a:pt x="12381" y="20038"/>
                  </a:lnTo>
                  <a:close/>
                  <a:moveTo>
                    <a:pt x="0" y="5539"/>
                  </a:moveTo>
                  <a:lnTo>
                    <a:pt x="652" y="10100"/>
                  </a:lnTo>
                  <a:lnTo>
                    <a:pt x="4561" y="11241"/>
                  </a:lnTo>
                  <a:lnTo>
                    <a:pt x="0" y="5539"/>
                  </a:lnTo>
                  <a:lnTo>
                    <a:pt x="0" y="5539"/>
                  </a:lnTo>
                  <a:close/>
                  <a:moveTo>
                    <a:pt x="15314" y="0"/>
                  </a:moveTo>
                  <a:lnTo>
                    <a:pt x="18246" y="3584"/>
                  </a:lnTo>
                  <a:lnTo>
                    <a:pt x="17268" y="326"/>
                  </a:lnTo>
                  <a:lnTo>
                    <a:pt x="15314" y="326"/>
                  </a:lnTo>
                  <a:close/>
                  <a:moveTo>
                    <a:pt x="7331" y="0"/>
                  </a:moveTo>
                  <a:cubicBezTo>
                    <a:pt x="7331" y="0"/>
                    <a:pt x="9937" y="163"/>
                    <a:pt x="9937" y="163"/>
                  </a:cubicBezTo>
                  <a:lnTo>
                    <a:pt x="14825" y="3421"/>
                  </a:lnTo>
                  <a:lnTo>
                    <a:pt x="15314" y="7820"/>
                  </a:lnTo>
                  <a:lnTo>
                    <a:pt x="11404" y="6516"/>
                  </a:lnTo>
                  <a:lnTo>
                    <a:pt x="7168" y="0"/>
                  </a:lnTo>
                  <a:lnTo>
                    <a:pt x="7168" y="0"/>
                  </a:lnTo>
                  <a:close/>
                  <a:moveTo>
                    <a:pt x="5376" y="977"/>
                  </a:moveTo>
                  <a:lnTo>
                    <a:pt x="11729" y="11567"/>
                  </a:lnTo>
                  <a:lnTo>
                    <a:pt x="16617" y="15313"/>
                  </a:lnTo>
                  <a:lnTo>
                    <a:pt x="12381" y="15313"/>
                  </a:lnTo>
                  <a:cubicBezTo>
                    <a:pt x="12381" y="15313"/>
                    <a:pt x="5702" y="8308"/>
                    <a:pt x="5702" y="8308"/>
                  </a:cubicBezTo>
                  <a:lnTo>
                    <a:pt x="3747" y="2932"/>
                  </a:lnTo>
                  <a:lnTo>
                    <a:pt x="5376" y="977"/>
                  </a:lnTo>
                  <a:close/>
                </a:path>
              </a:pathLst>
            </a:custGeom>
            <a:solidFill>
              <a:schemeClr val="bg2"/>
            </a:solidFill>
            <a:ln w="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0" name="Forma livre: Forma 179">
              <a:extLst>
                <a:ext uri="{FF2B5EF4-FFF2-40B4-BE49-F238E27FC236}">
                  <a16:creationId xmlns:a16="http://schemas.microsoft.com/office/drawing/2014/main" id="{FC58D1EA-3BFF-D275-A7AF-88625F277F3A}"/>
                </a:ext>
              </a:extLst>
            </p:cNvPr>
            <p:cNvSpPr/>
            <p:nvPr/>
          </p:nvSpPr>
          <p:spPr>
            <a:xfrm>
              <a:off x="5735530" y="3313767"/>
              <a:ext cx="106565" cy="140404"/>
            </a:xfrm>
            <a:custGeom>
              <a:avLst/>
              <a:gdLst>
                <a:gd name="connsiteX0" fmla="*/ 26066 w 103121"/>
                <a:gd name="connsiteY0" fmla="*/ 135866 h 135866"/>
                <a:gd name="connsiteX1" fmla="*/ 34537 w 103121"/>
                <a:gd name="connsiteY1" fmla="*/ 134889 h 135866"/>
                <a:gd name="connsiteX2" fmla="*/ 42682 w 103121"/>
                <a:gd name="connsiteY2" fmla="*/ 132445 h 135866"/>
                <a:gd name="connsiteX3" fmla="*/ 49036 w 103121"/>
                <a:gd name="connsiteY3" fmla="*/ 128210 h 135866"/>
                <a:gd name="connsiteX4" fmla="*/ 46918 w 103121"/>
                <a:gd name="connsiteY4" fmla="*/ 123159 h 135866"/>
                <a:gd name="connsiteX5" fmla="*/ 51805 w 103121"/>
                <a:gd name="connsiteY5" fmla="*/ 123648 h 135866"/>
                <a:gd name="connsiteX6" fmla="*/ 50502 w 103121"/>
                <a:gd name="connsiteY6" fmla="*/ 126580 h 135866"/>
                <a:gd name="connsiteX7" fmla="*/ 55552 w 103121"/>
                <a:gd name="connsiteY7" fmla="*/ 126580 h 135866"/>
                <a:gd name="connsiteX8" fmla="*/ 60114 w 103121"/>
                <a:gd name="connsiteY8" fmla="*/ 121530 h 135866"/>
                <a:gd name="connsiteX9" fmla="*/ 63698 w 103121"/>
                <a:gd name="connsiteY9" fmla="*/ 121693 h 135866"/>
                <a:gd name="connsiteX10" fmla="*/ 64838 w 103121"/>
                <a:gd name="connsiteY10" fmla="*/ 116969 h 135866"/>
                <a:gd name="connsiteX11" fmla="*/ 79174 w 103121"/>
                <a:gd name="connsiteY11" fmla="*/ 115340 h 135866"/>
                <a:gd name="connsiteX12" fmla="*/ 80314 w 103121"/>
                <a:gd name="connsiteY12" fmla="*/ 112244 h 135866"/>
                <a:gd name="connsiteX13" fmla="*/ 82432 w 103121"/>
                <a:gd name="connsiteY13" fmla="*/ 115991 h 135866"/>
                <a:gd name="connsiteX14" fmla="*/ 85527 w 103121"/>
                <a:gd name="connsiteY14" fmla="*/ 113059 h 135866"/>
                <a:gd name="connsiteX15" fmla="*/ 88460 w 103121"/>
                <a:gd name="connsiteY15" fmla="*/ 114199 h 135866"/>
                <a:gd name="connsiteX16" fmla="*/ 95791 w 103121"/>
                <a:gd name="connsiteY16" fmla="*/ 114199 h 135866"/>
                <a:gd name="connsiteX17" fmla="*/ 90903 w 103121"/>
                <a:gd name="connsiteY17" fmla="*/ 107683 h 135866"/>
                <a:gd name="connsiteX18" fmla="*/ 94487 w 103121"/>
                <a:gd name="connsiteY18" fmla="*/ 106054 h 135866"/>
                <a:gd name="connsiteX19" fmla="*/ 98397 w 103121"/>
                <a:gd name="connsiteY19" fmla="*/ 101330 h 135866"/>
                <a:gd name="connsiteX20" fmla="*/ 97583 w 103121"/>
                <a:gd name="connsiteY20" fmla="*/ 97257 h 135866"/>
                <a:gd name="connsiteX21" fmla="*/ 101655 w 103121"/>
                <a:gd name="connsiteY21" fmla="*/ 92695 h 135866"/>
                <a:gd name="connsiteX22" fmla="*/ 103122 w 103121"/>
                <a:gd name="connsiteY22" fmla="*/ 87482 h 135866"/>
                <a:gd name="connsiteX23" fmla="*/ 101167 w 103121"/>
                <a:gd name="connsiteY23" fmla="*/ 76079 h 135866"/>
                <a:gd name="connsiteX24" fmla="*/ 98071 w 103121"/>
                <a:gd name="connsiteY24" fmla="*/ 74124 h 135866"/>
                <a:gd name="connsiteX25" fmla="*/ 101655 w 103121"/>
                <a:gd name="connsiteY25" fmla="*/ 71680 h 135866"/>
                <a:gd name="connsiteX26" fmla="*/ 101655 w 103121"/>
                <a:gd name="connsiteY26" fmla="*/ 66630 h 135866"/>
                <a:gd name="connsiteX27" fmla="*/ 98397 w 103121"/>
                <a:gd name="connsiteY27" fmla="*/ 61580 h 135866"/>
                <a:gd name="connsiteX28" fmla="*/ 99375 w 103121"/>
                <a:gd name="connsiteY28" fmla="*/ 56367 h 135866"/>
                <a:gd name="connsiteX29" fmla="*/ 95465 w 103121"/>
                <a:gd name="connsiteY29" fmla="*/ 53597 h 135866"/>
                <a:gd name="connsiteX30" fmla="*/ 97420 w 103121"/>
                <a:gd name="connsiteY30" fmla="*/ 50665 h 135866"/>
                <a:gd name="connsiteX31" fmla="*/ 100515 w 103121"/>
                <a:gd name="connsiteY31" fmla="*/ 51153 h 135866"/>
                <a:gd name="connsiteX32" fmla="*/ 94976 w 103121"/>
                <a:gd name="connsiteY32" fmla="*/ 47406 h 135866"/>
                <a:gd name="connsiteX33" fmla="*/ 91229 w 103121"/>
                <a:gd name="connsiteY33" fmla="*/ 46755 h 135866"/>
                <a:gd name="connsiteX34" fmla="*/ 86505 w 103121"/>
                <a:gd name="connsiteY34" fmla="*/ 37143 h 135866"/>
                <a:gd name="connsiteX35" fmla="*/ 79174 w 103121"/>
                <a:gd name="connsiteY35" fmla="*/ 33396 h 135866"/>
                <a:gd name="connsiteX36" fmla="*/ 76079 w 103121"/>
                <a:gd name="connsiteY36" fmla="*/ 35677 h 135866"/>
                <a:gd name="connsiteX37" fmla="*/ 74612 w 103121"/>
                <a:gd name="connsiteY37" fmla="*/ 42682 h 135866"/>
                <a:gd name="connsiteX38" fmla="*/ 71028 w 103121"/>
                <a:gd name="connsiteY38" fmla="*/ 43334 h 135866"/>
                <a:gd name="connsiteX39" fmla="*/ 60276 w 103121"/>
                <a:gd name="connsiteY39" fmla="*/ 33396 h 135866"/>
                <a:gd name="connsiteX40" fmla="*/ 65815 w 103121"/>
                <a:gd name="connsiteY40" fmla="*/ 21993 h 135866"/>
                <a:gd name="connsiteX41" fmla="*/ 71028 w 103121"/>
                <a:gd name="connsiteY41" fmla="*/ 21178 h 135866"/>
                <a:gd name="connsiteX42" fmla="*/ 72495 w 103121"/>
                <a:gd name="connsiteY42" fmla="*/ 16780 h 135866"/>
                <a:gd name="connsiteX43" fmla="*/ 75916 w 103121"/>
                <a:gd name="connsiteY43" fmla="*/ 14988 h 135866"/>
                <a:gd name="connsiteX44" fmla="*/ 78359 w 103121"/>
                <a:gd name="connsiteY44" fmla="*/ 12381 h 135866"/>
                <a:gd name="connsiteX45" fmla="*/ 75916 w 103121"/>
                <a:gd name="connsiteY45" fmla="*/ 12870 h 135866"/>
                <a:gd name="connsiteX46" fmla="*/ 81129 w 103121"/>
                <a:gd name="connsiteY46" fmla="*/ 8797 h 135866"/>
                <a:gd name="connsiteX47" fmla="*/ 85690 w 103121"/>
                <a:gd name="connsiteY47" fmla="*/ 6191 h 135866"/>
                <a:gd name="connsiteX48" fmla="*/ 80314 w 103121"/>
                <a:gd name="connsiteY48" fmla="*/ 3258 h 135866"/>
                <a:gd name="connsiteX49" fmla="*/ 76404 w 103121"/>
                <a:gd name="connsiteY49" fmla="*/ 0 h 135866"/>
                <a:gd name="connsiteX50" fmla="*/ 78196 w 103121"/>
                <a:gd name="connsiteY50" fmla="*/ 3584 h 135866"/>
                <a:gd name="connsiteX51" fmla="*/ 72983 w 103121"/>
                <a:gd name="connsiteY51" fmla="*/ 3584 h 135866"/>
                <a:gd name="connsiteX52" fmla="*/ 73798 w 103121"/>
                <a:gd name="connsiteY52" fmla="*/ 9286 h 135866"/>
                <a:gd name="connsiteX53" fmla="*/ 70214 w 103121"/>
                <a:gd name="connsiteY53" fmla="*/ 14662 h 135866"/>
                <a:gd name="connsiteX54" fmla="*/ 70703 w 103121"/>
                <a:gd name="connsiteY54" fmla="*/ 11078 h 135866"/>
                <a:gd name="connsiteX55" fmla="*/ 72658 w 103121"/>
                <a:gd name="connsiteY55" fmla="*/ 8634 h 135866"/>
                <a:gd name="connsiteX56" fmla="*/ 70214 w 103121"/>
                <a:gd name="connsiteY56" fmla="*/ 4236 h 135866"/>
                <a:gd name="connsiteX57" fmla="*/ 66793 w 103121"/>
                <a:gd name="connsiteY57" fmla="*/ 4887 h 135866"/>
                <a:gd name="connsiteX58" fmla="*/ 68748 w 103121"/>
                <a:gd name="connsiteY58" fmla="*/ 7820 h 135866"/>
                <a:gd name="connsiteX59" fmla="*/ 64838 w 103121"/>
                <a:gd name="connsiteY59" fmla="*/ 7983 h 135866"/>
                <a:gd name="connsiteX60" fmla="*/ 62720 w 103121"/>
                <a:gd name="connsiteY60" fmla="*/ 5865 h 135866"/>
                <a:gd name="connsiteX61" fmla="*/ 55715 w 103121"/>
                <a:gd name="connsiteY61" fmla="*/ 7657 h 135866"/>
                <a:gd name="connsiteX62" fmla="*/ 55715 w 103121"/>
                <a:gd name="connsiteY62" fmla="*/ 10915 h 135866"/>
                <a:gd name="connsiteX63" fmla="*/ 53434 w 103121"/>
                <a:gd name="connsiteY63" fmla="*/ 11078 h 135866"/>
                <a:gd name="connsiteX64" fmla="*/ 51805 w 103121"/>
                <a:gd name="connsiteY64" fmla="*/ 15151 h 135866"/>
                <a:gd name="connsiteX65" fmla="*/ 55226 w 103121"/>
                <a:gd name="connsiteY65" fmla="*/ 16617 h 135866"/>
                <a:gd name="connsiteX66" fmla="*/ 54249 w 103121"/>
                <a:gd name="connsiteY66" fmla="*/ 18572 h 135866"/>
                <a:gd name="connsiteX67" fmla="*/ 50665 w 103121"/>
                <a:gd name="connsiteY67" fmla="*/ 18735 h 135866"/>
                <a:gd name="connsiteX68" fmla="*/ 51153 w 103121"/>
                <a:gd name="connsiteY68" fmla="*/ 20689 h 135866"/>
                <a:gd name="connsiteX69" fmla="*/ 46103 w 103121"/>
                <a:gd name="connsiteY69" fmla="*/ 21993 h 135866"/>
                <a:gd name="connsiteX70" fmla="*/ 47407 w 103121"/>
                <a:gd name="connsiteY70" fmla="*/ 26065 h 135866"/>
                <a:gd name="connsiteX71" fmla="*/ 52945 w 103121"/>
                <a:gd name="connsiteY71" fmla="*/ 26065 h 135866"/>
                <a:gd name="connsiteX72" fmla="*/ 52131 w 103121"/>
                <a:gd name="connsiteY72" fmla="*/ 27532 h 135866"/>
                <a:gd name="connsiteX73" fmla="*/ 56529 w 103121"/>
                <a:gd name="connsiteY73" fmla="*/ 26065 h 135866"/>
                <a:gd name="connsiteX74" fmla="*/ 59462 w 103121"/>
                <a:gd name="connsiteY74" fmla="*/ 26065 h 135866"/>
                <a:gd name="connsiteX75" fmla="*/ 53760 w 103121"/>
                <a:gd name="connsiteY75" fmla="*/ 32256 h 135866"/>
                <a:gd name="connsiteX76" fmla="*/ 46429 w 103121"/>
                <a:gd name="connsiteY76" fmla="*/ 35025 h 135866"/>
                <a:gd name="connsiteX77" fmla="*/ 49036 w 103121"/>
                <a:gd name="connsiteY77" fmla="*/ 37306 h 135866"/>
                <a:gd name="connsiteX78" fmla="*/ 41868 w 103121"/>
                <a:gd name="connsiteY78" fmla="*/ 38610 h 135866"/>
                <a:gd name="connsiteX79" fmla="*/ 38121 w 103121"/>
                <a:gd name="connsiteY79" fmla="*/ 36980 h 135866"/>
                <a:gd name="connsiteX80" fmla="*/ 34863 w 103121"/>
                <a:gd name="connsiteY80" fmla="*/ 40564 h 135866"/>
                <a:gd name="connsiteX81" fmla="*/ 33396 w 103121"/>
                <a:gd name="connsiteY81" fmla="*/ 35840 h 135866"/>
                <a:gd name="connsiteX82" fmla="*/ 21667 w 103121"/>
                <a:gd name="connsiteY82" fmla="*/ 34211 h 135866"/>
                <a:gd name="connsiteX83" fmla="*/ 21667 w 103121"/>
                <a:gd name="connsiteY83" fmla="*/ 36329 h 135866"/>
                <a:gd name="connsiteX84" fmla="*/ 15150 w 103121"/>
                <a:gd name="connsiteY84" fmla="*/ 34537 h 135866"/>
                <a:gd name="connsiteX85" fmla="*/ 14010 w 103121"/>
                <a:gd name="connsiteY85" fmla="*/ 41542 h 135866"/>
                <a:gd name="connsiteX86" fmla="*/ 17106 w 103121"/>
                <a:gd name="connsiteY86" fmla="*/ 38284 h 135866"/>
                <a:gd name="connsiteX87" fmla="*/ 17920 w 103121"/>
                <a:gd name="connsiteY87" fmla="*/ 42682 h 135866"/>
                <a:gd name="connsiteX88" fmla="*/ 19223 w 103121"/>
                <a:gd name="connsiteY88" fmla="*/ 43497 h 135866"/>
                <a:gd name="connsiteX89" fmla="*/ 20852 w 103121"/>
                <a:gd name="connsiteY89" fmla="*/ 47732 h 135866"/>
                <a:gd name="connsiteX90" fmla="*/ 17920 w 103121"/>
                <a:gd name="connsiteY90" fmla="*/ 47732 h 135866"/>
                <a:gd name="connsiteX91" fmla="*/ 17431 w 103121"/>
                <a:gd name="connsiteY91" fmla="*/ 45289 h 135866"/>
                <a:gd name="connsiteX92" fmla="*/ 11241 w 103121"/>
                <a:gd name="connsiteY92" fmla="*/ 45615 h 135866"/>
                <a:gd name="connsiteX93" fmla="*/ 18409 w 103121"/>
                <a:gd name="connsiteY93" fmla="*/ 50665 h 135866"/>
                <a:gd name="connsiteX94" fmla="*/ 23459 w 103121"/>
                <a:gd name="connsiteY94" fmla="*/ 49361 h 135866"/>
                <a:gd name="connsiteX95" fmla="*/ 25088 w 103121"/>
                <a:gd name="connsiteY95" fmla="*/ 53434 h 135866"/>
                <a:gd name="connsiteX96" fmla="*/ 18734 w 103121"/>
                <a:gd name="connsiteY96" fmla="*/ 54737 h 135866"/>
                <a:gd name="connsiteX97" fmla="*/ 17920 w 103121"/>
                <a:gd name="connsiteY97" fmla="*/ 57670 h 135866"/>
                <a:gd name="connsiteX98" fmla="*/ 19712 w 103121"/>
                <a:gd name="connsiteY98" fmla="*/ 60114 h 135866"/>
                <a:gd name="connsiteX99" fmla="*/ 12544 w 103121"/>
                <a:gd name="connsiteY99" fmla="*/ 60276 h 135866"/>
                <a:gd name="connsiteX100" fmla="*/ 14173 w 103121"/>
                <a:gd name="connsiteY100" fmla="*/ 64512 h 135866"/>
                <a:gd name="connsiteX101" fmla="*/ 11567 w 103121"/>
                <a:gd name="connsiteY101" fmla="*/ 65489 h 135866"/>
                <a:gd name="connsiteX102" fmla="*/ 15476 w 103121"/>
                <a:gd name="connsiteY102" fmla="*/ 67933 h 135866"/>
                <a:gd name="connsiteX103" fmla="*/ 18572 w 103121"/>
                <a:gd name="connsiteY103" fmla="*/ 66793 h 135866"/>
                <a:gd name="connsiteX104" fmla="*/ 16617 w 103121"/>
                <a:gd name="connsiteY104" fmla="*/ 69236 h 135866"/>
                <a:gd name="connsiteX105" fmla="*/ 22482 w 103121"/>
                <a:gd name="connsiteY105" fmla="*/ 67933 h 135866"/>
                <a:gd name="connsiteX106" fmla="*/ 23948 w 103121"/>
                <a:gd name="connsiteY106" fmla="*/ 74287 h 135866"/>
                <a:gd name="connsiteX107" fmla="*/ 37795 w 103121"/>
                <a:gd name="connsiteY107" fmla="*/ 74124 h 135866"/>
                <a:gd name="connsiteX108" fmla="*/ 33396 w 103121"/>
                <a:gd name="connsiteY108" fmla="*/ 78685 h 135866"/>
                <a:gd name="connsiteX109" fmla="*/ 30301 w 103121"/>
                <a:gd name="connsiteY109" fmla="*/ 76730 h 135866"/>
                <a:gd name="connsiteX110" fmla="*/ 24925 w 103121"/>
                <a:gd name="connsiteY110" fmla="*/ 85364 h 135866"/>
                <a:gd name="connsiteX111" fmla="*/ 27369 w 103121"/>
                <a:gd name="connsiteY111" fmla="*/ 85039 h 135866"/>
                <a:gd name="connsiteX112" fmla="*/ 23133 w 103121"/>
                <a:gd name="connsiteY112" fmla="*/ 90903 h 135866"/>
                <a:gd name="connsiteX113" fmla="*/ 14173 w 103121"/>
                <a:gd name="connsiteY113" fmla="*/ 97094 h 135866"/>
                <a:gd name="connsiteX114" fmla="*/ 17757 w 103121"/>
                <a:gd name="connsiteY114" fmla="*/ 97094 h 135866"/>
                <a:gd name="connsiteX115" fmla="*/ 22644 w 103121"/>
                <a:gd name="connsiteY115" fmla="*/ 93999 h 135866"/>
                <a:gd name="connsiteX116" fmla="*/ 25577 w 103121"/>
                <a:gd name="connsiteY116" fmla="*/ 95628 h 135866"/>
                <a:gd name="connsiteX117" fmla="*/ 31604 w 103121"/>
                <a:gd name="connsiteY117" fmla="*/ 95791 h 135866"/>
                <a:gd name="connsiteX118" fmla="*/ 35677 w 103121"/>
                <a:gd name="connsiteY118" fmla="*/ 91881 h 135866"/>
                <a:gd name="connsiteX119" fmla="*/ 36003 w 103121"/>
                <a:gd name="connsiteY119" fmla="*/ 93673 h 135866"/>
                <a:gd name="connsiteX120" fmla="*/ 41053 w 103121"/>
                <a:gd name="connsiteY120" fmla="*/ 94161 h 135866"/>
                <a:gd name="connsiteX121" fmla="*/ 29812 w 103121"/>
                <a:gd name="connsiteY121" fmla="*/ 97257 h 135866"/>
                <a:gd name="connsiteX122" fmla="*/ 21341 w 103121"/>
                <a:gd name="connsiteY122" fmla="*/ 97583 h 135866"/>
                <a:gd name="connsiteX123" fmla="*/ 19223 w 103121"/>
                <a:gd name="connsiteY123" fmla="*/ 100841 h 135866"/>
                <a:gd name="connsiteX124" fmla="*/ 13847 w 103121"/>
                <a:gd name="connsiteY124" fmla="*/ 102633 h 135866"/>
                <a:gd name="connsiteX125" fmla="*/ 15639 w 103121"/>
                <a:gd name="connsiteY125" fmla="*/ 105239 h 135866"/>
                <a:gd name="connsiteX126" fmla="*/ 14499 w 103121"/>
                <a:gd name="connsiteY126" fmla="*/ 107683 h 135866"/>
                <a:gd name="connsiteX127" fmla="*/ 16942 w 103121"/>
                <a:gd name="connsiteY127" fmla="*/ 108335 h 135866"/>
                <a:gd name="connsiteX128" fmla="*/ 12870 w 103121"/>
                <a:gd name="connsiteY128" fmla="*/ 109149 h 135866"/>
                <a:gd name="connsiteX129" fmla="*/ 9286 w 103121"/>
                <a:gd name="connsiteY129" fmla="*/ 106217 h 135866"/>
                <a:gd name="connsiteX130" fmla="*/ 7983 w 103121"/>
                <a:gd name="connsiteY130" fmla="*/ 108172 h 135866"/>
                <a:gd name="connsiteX131" fmla="*/ 6842 w 103121"/>
                <a:gd name="connsiteY131" fmla="*/ 106868 h 135866"/>
                <a:gd name="connsiteX132" fmla="*/ 0 w 103121"/>
                <a:gd name="connsiteY132" fmla="*/ 110452 h 135866"/>
                <a:gd name="connsiteX133" fmla="*/ 652 w 103121"/>
                <a:gd name="connsiteY133" fmla="*/ 112244 h 135866"/>
                <a:gd name="connsiteX134" fmla="*/ 16454 w 103121"/>
                <a:gd name="connsiteY134" fmla="*/ 111267 h 135866"/>
                <a:gd name="connsiteX135" fmla="*/ 11241 w 103121"/>
                <a:gd name="connsiteY135" fmla="*/ 115828 h 135866"/>
                <a:gd name="connsiteX136" fmla="*/ 4561 w 103121"/>
                <a:gd name="connsiteY136" fmla="*/ 117295 h 135866"/>
                <a:gd name="connsiteX137" fmla="*/ 2281 w 103121"/>
                <a:gd name="connsiteY137" fmla="*/ 122671 h 135866"/>
                <a:gd name="connsiteX138" fmla="*/ 6516 w 103121"/>
                <a:gd name="connsiteY138" fmla="*/ 122671 h 135866"/>
                <a:gd name="connsiteX139" fmla="*/ 7494 w 103121"/>
                <a:gd name="connsiteY139" fmla="*/ 125766 h 135866"/>
                <a:gd name="connsiteX140" fmla="*/ 19386 w 103121"/>
                <a:gd name="connsiteY140" fmla="*/ 121856 h 135866"/>
                <a:gd name="connsiteX141" fmla="*/ 10426 w 103121"/>
                <a:gd name="connsiteY141" fmla="*/ 127721 h 135866"/>
                <a:gd name="connsiteX142" fmla="*/ 6679 w 103121"/>
                <a:gd name="connsiteY142" fmla="*/ 130816 h 135866"/>
                <a:gd name="connsiteX143" fmla="*/ 13033 w 103121"/>
                <a:gd name="connsiteY143" fmla="*/ 130816 h 135866"/>
                <a:gd name="connsiteX144" fmla="*/ 21178 w 103121"/>
                <a:gd name="connsiteY144" fmla="*/ 126255 h 135866"/>
                <a:gd name="connsiteX145" fmla="*/ 20852 w 103121"/>
                <a:gd name="connsiteY145" fmla="*/ 129513 h 135866"/>
                <a:gd name="connsiteX146" fmla="*/ 13847 w 103121"/>
                <a:gd name="connsiteY146" fmla="*/ 132771 h 135866"/>
                <a:gd name="connsiteX147" fmla="*/ 17594 w 103121"/>
                <a:gd name="connsiteY147" fmla="*/ 132771 h 135866"/>
                <a:gd name="connsiteX148" fmla="*/ 16454 w 103121"/>
                <a:gd name="connsiteY148" fmla="*/ 135215 h 135866"/>
                <a:gd name="connsiteX149" fmla="*/ 22807 w 103121"/>
                <a:gd name="connsiteY149" fmla="*/ 133585 h 135866"/>
                <a:gd name="connsiteX150" fmla="*/ 26066 w 103121"/>
                <a:gd name="connsiteY150" fmla="*/ 135866 h 1358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</a:cxnLst>
              <a:rect l="l" t="t" r="r" b="b"/>
              <a:pathLst>
                <a:path w="103121" h="135866">
                  <a:moveTo>
                    <a:pt x="26066" y="135866"/>
                  </a:moveTo>
                  <a:lnTo>
                    <a:pt x="34537" y="134889"/>
                  </a:lnTo>
                  <a:lnTo>
                    <a:pt x="42682" y="132445"/>
                  </a:lnTo>
                  <a:lnTo>
                    <a:pt x="49036" y="128210"/>
                  </a:lnTo>
                  <a:lnTo>
                    <a:pt x="46918" y="123159"/>
                  </a:lnTo>
                  <a:lnTo>
                    <a:pt x="51805" y="123648"/>
                  </a:lnTo>
                  <a:lnTo>
                    <a:pt x="50502" y="126580"/>
                  </a:lnTo>
                  <a:lnTo>
                    <a:pt x="55552" y="126580"/>
                  </a:lnTo>
                  <a:lnTo>
                    <a:pt x="60114" y="121530"/>
                  </a:lnTo>
                  <a:lnTo>
                    <a:pt x="63698" y="121693"/>
                  </a:lnTo>
                  <a:lnTo>
                    <a:pt x="64838" y="116969"/>
                  </a:lnTo>
                  <a:lnTo>
                    <a:pt x="79174" y="115340"/>
                  </a:lnTo>
                  <a:lnTo>
                    <a:pt x="80314" y="112244"/>
                  </a:lnTo>
                  <a:lnTo>
                    <a:pt x="82432" y="115991"/>
                  </a:lnTo>
                  <a:lnTo>
                    <a:pt x="85527" y="113059"/>
                  </a:lnTo>
                  <a:lnTo>
                    <a:pt x="88460" y="114199"/>
                  </a:lnTo>
                  <a:lnTo>
                    <a:pt x="95791" y="114199"/>
                  </a:lnTo>
                  <a:lnTo>
                    <a:pt x="90903" y="107683"/>
                  </a:lnTo>
                  <a:lnTo>
                    <a:pt x="94487" y="106054"/>
                  </a:lnTo>
                  <a:lnTo>
                    <a:pt x="98397" y="101330"/>
                  </a:lnTo>
                  <a:lnTo>
                    <a:pt x="97583" y="97257"/>
                  </a:lnTo>
                  <a:lnTo>
                    <a:pt x="101655" y="92695"/>
                  </a:lnTo>
                  <a:lnTo>
                    <a:pt x="103122" y="87482"/>
                  </a:lnTo>
                  <a:lnTo>
                    <a:pt x="101167" y="76079"/>
                  </a:lnTo>
                  <a:lnTo>
                    <a:pt x="98071" y="74124"/>
                  </a:lnTo>
                  <a:lnTo>
                    <a:pt x="101655" y="71680"/>
                  </a:lnTo>
                  <a:lnTo>
                    <a:pt x="101655" y="66630"/>
                  </a:lnTo>
                  <a:lnTo>
                    <a:pt x="98397" y="61580"/>
                  </a:lnTo>
                  <a:lnTo>
                    <a:pt x="99375" y="56367"/>
                  </a:lnTo>
                  <a:lnTo>
                    <a:pt x="95465" y="53597"/>
                  </a:lnTo>
                  <a:lnTo>
                    <a:pt x="97420" y="50665"/>
                  </a:lnTo>
                  <a:lnTo>
                    <a:pt x="100515" y="51153"/>
                  </a:lnTo>
                  <a:lnTo>
                    <a:pt x="94976" y="47406"/>
                  </a:lnTo>
                  <a:lnTo>
                    <a:pt x="91229" y="46755"/>
                  </a:lnTo>
                  <a:lnTo>
                    <a:pt x="86505" y="37143"/>
                  </a:lnTo>
                  <a:lnTo>
                    <a:pt x="79174" y="33396"/>
                  </a:lnTo>
                  <a:lnTo>
                    <a:pt x="76079" y="35677"/>
                  </a:lnTo>
                  <a:lnTo>
                    <a:pt x="74612" y="42682"/>
                  </a:lnTo>
                  <a:lnTo>
                    <a:pt x="71028" y="43334"/>
                  </a:lnTo>
                  <a:lnTo>
                    <a:pt x="60276" y="33396"/>
                  </a:lnTo>
                  <a:lnTo>
                    <a:pt x="65815" y="21993"/>
                  </a:lnTo>
                  <a:lnTo>
                    <a:pt x="71028" y="21178"/>
                  </a:lnTo>
                  <a:lnTo>
                    <a:pt x="72495" y="16780"/>
                  </a:lnTo>
                  <a:lnTo>
                    <a:pt x="75916" y="14988"/>
                  </a:lnTo>
                  <a:lnTo>
                    <a:pt x="78359" y="12381"/>
                  </a:lnTo>
                  <a:lnTo>
                    <a:pt x="75916" y="12870"/>
                  </a:lnTo>
                  <a:lnTo>
                    <a:pt x="81129" y="8797"/>
                  </a:lnTo>
                  <a:lnTo>
                    <a:pt x="85690" y="6191"/>
                  </a:lnTo>
                  <a:lnTo>
                    <a:pt x="80314" y="3258"/>
                  </a:lnTo>
                  <a:lnTo>
                    <a:pt x="76404" y="0"/>
                  </a:lnTo>
                  <a:lnTo>
                    <a:pt x="78196" y="3584"/>
                  </a:lnTo>
                  <a:lnTo>
                    <a:pt x="72983" y="3584"/>
                  </a:lnTo>
                  <a:lnTo>
                    <a:pt x="73798" y="9286"/>
                  </a:lnTo>
                  <a:lnTo>
                    <a:pt x="70214" y="14662"/>
                  </a:lnTo>
                  <a:lnTo>
                    <a:pt x="70703" y="11078"/>
                  </a:lnTo>
                  <a:lnTo>
                    <a:pt x="72658" y="8634"/>
                  </a:lnTo>
                  <a:lnTo>
                    <a:pt x="70214" y="4236"/>
                  </a:lnTo>
                  <a:lnTo>
                    <a:pt x="66793" y="4887"/>
                  </a:lnTo>
                  <a:lnTo>
                    <a:pt x="68748" y="7820"/>
                  </a:lnTo>
                  <a:lnTo>
                    <a:pt x="64838" y="7983"/>
                  </a:lnTo>
                  <a:lnTo>
                    <a:pt x="62720" y="5865"/>
                  </a:lnTo>
                  <a:lnTo>
                    <a:pt x="55715" y="7657"/>
                  </a:lnTo>
                  <a:lnTo>
                    <a:pt x="55715" y="10915"/>
                  </a:lnTo>
                  <a:lnTo>
                    <a:pt x="53434" y="11078"/>
                  </a:lnTo>
                  <a:lnTo>
                    <a:pt x="51805" y="15151"/>
                  </a:lnTo>
                  <a:lnTo>
                    <a:pt x="55226" y="16617"/>
                  </a:lnTo>
                  <a:lnTo>
                    <a:pt x="54249" y="18572"/>
                  </a:lnTo>
                  <a:lnTo>
                    <a:pt x="50665" y="18735"/>
                  </a:lnTo>
                  <a:lnTo>
                    <a:pt x="51153" y="20689"/>
                  </a:lnTo>
                  <a:lnTo>
                    <a:pt x="46103" y="21993"/>
                  </a:lnTo>
                  <a:lnTo>
                    <a:pt x="47407" y="26065"/>
                  </a:lnTo>
                  <a:lnTo>
                    <a:pt x="52945" y="26065"/>
                  </a:lnTo>
                  <a:lnTo>
                    <a:pt x="52131" y="27532"/>
                  </a:lnTo>
                  <a:lnTo>
                    <a:pt x="56529" y="26065"/>
                  </a:lnTo>
                  <a:lnTo>
                    <a:pt x="59462" y="26065"/>
                  </a:lnTo>
                  <a:lnTo>
                    <a:pt x="53760" y="32256"/>
                  </a:lnTo>
                  <a:lnTo>
                    <a:pt x="46429" y="35025"/>
                  </a:lnTo>
                  <a:lnTo>
                    <a:pt x="49036" y="37306"/>
                  </a:lnTo>
                  <a:lnTo>
                    <a:pt x="41868" y="38610"/>
                  </a:lnTo>
                  <a:lnTo>
                    <a:pt x="38121" y="36980"/>
                  </a:lnTo>
                  <a:lnTo>
                    <a:pt x="34863" y="40564"/>
                  </a:lnTo>
                  <a:lnTo>
                    <a:pt x="33396" y="35840"/>
                  </a:lnTo>
                  <a:lnTo>
                    <a:pt x="21667" y="34211"/>
                  </a:lnTo>
                  <a:lnTo>
                    <a:pt x="21667" y="36329"/>
                  </a:lnTo>
                  <a:lnTo>
                    <a:pt x="15150" y="34537"/>
                  </a:lnTo>
                  <a:lnTo>
                    <a:pt x="14010" y="41542"/>
                  </a:lnTo>
                  <a:lnTo>
                    <a:pt x="17106" y="38284"/>
                  </a:lnTo>
                  <a:lnTo>
                    <a:pt x="17920" y="42682"/>
                  </a:lnTo>
                  <a:lnTo>
                    <a:pt x="19223" y="43497"/>
                  </a:lnTo>
                  <a:lnTo>
                    <a:pt x="20852" y="47732"/>
                  </a:lnTo>
                  <a:lnTo>
                    <a:pt x="17920" y="47732"/>
                  </a:lnTo>
                  <a:lnTo>
                    <a:pt x="17431" y="45289"/>
                  </a:lnTo>
                  <a:lnTo>
                    <a:pt x="11241" y="45615"/>
                  </a:lnTo>
                  <a:lnTo>
                    <a:pt x="18409" y="50665"/>
                  </a:lnTo>
                  <a:lnTo>
                    <a:pt x="23459" y="49361"/>
                  </a:lnTo>
                  <a:lnTo>
                    <a:pt x="25088" y="53434"/>
                  </a:lnTo>
                  <a:lnTo>
                    <a:pt x="18734" y="54737"/>
                  </a:lnTo>
                  <a:lnTo>
                    <a:pt x="17920" y="57670"/>
                  </a:lnTo>
                  <a:lnTo>
                    <a:pt x="19712" y="60114"/>
                  </a:lnTo>
                  <a:lnTo>
                    <a:pt x="12544" y="60276"/>
                  </a:lnTo>
                  <a:lnTo>
                    <a:pt x="14173" y="64512"/>
                  </a:lnTo>
                  <a:lnTo>
                    <a:pt x="11567" y="65489"/>
                  </a:lnTo>
                  <a:lnTo>
                    <a:pt x="15476" y="67933"/>
                  </a:lnTo>
                  <a:lnTo>
                    <a:pt x="18572" y="66793"/>
                  </a:lnTo>
                  <a:lnTo>
                    <a:pt x="16617" y="69236"/>
                  </a:lnTo>
                  <a:lnTo>
                    <a:pt x="22482" y="67933"/>
                  </a:lnTo>
                  <a:lnTo>
                    <a:pt x="23948" y="74287"/>
                  </a:lnTo>
                  <a:lnTo>
                    <a:pt x="37795" y="74124"/>
                  </a:lnTo>
                  <a:lnTo>
                    <a:pt x="33396" y="78685"/>
                  </a:lnTo>
                  <a:lnTo>
                    <a:pt x="30301" y="76730"/>
                  </a:lnTo>
                  <a:lnTo>
                    <a:pt x="24925" y="85364"/>
                  </a:lnTo>
                  <a:lnTo>
                    <a:pt x="27369" y="85039"/>
                  </a:lnTo>
                  <a:lnTo>
                    <a:pt x="23133" y="90903"/>
                  </a:lnTo>
                  <a:lnTo>
                    <a:pt x="14173" y="97094"/>
                  </a:lnTo>
                  <a:lnTo>
                    <a:pt x="17757" y="97094"/>
                  </a:lnTo>
                  <a:lnTo>
                    <a:pt x="22644" y="93999"/>
                  </a:lnTo>
                  <a:lnTo>
                    <a:pt x="25577" y="95628"/>
                  </a:lnTo>
                  <a:lnTo>
                    <a:pt x="31604" y="95791"/>
                  </a:lnTo>
                  <a:lnTo>
                    <a:pt x="35677" y="91881"/>
                  </a:lnTo>
                  <a:lnTo>
                    <a:pt x="36003" y="93673"/>
                  </a:lnTo>
                  <a:lnTo>
                    <a:pt x="41053" y="94161"/>
                  </a:lnTo>
                  <a:lnTo>
                    <a:pt x="29812" y="97257"/>
                  </a:lnTo>
                  <a:lnTo>
                    <a:pt x="21341" y="97583"/>
                  </a:lnTo>
                  <a:lnTo>
                    <a:pt x="19223" y="100841"/>
                  </a:lnTo>
                  <a:lnTo>
                    <a:pt x="13847" y="102633"/>
                  </a:lnTo>
                  <a:lnTo>
                    <a:pt x="15639" y="105239"/>
                  </a:lnTo>
                  <a:lnTo>
                    <a:pt x="14499" y="107683"/>
                  </a:lnTo>
                  <a:lnTo>
                    <a:pt x="16942" y="108335"/>
                  </a:lnTo>
                  <a:lnTo>
                    <a:pt x="12870" y="109149"/>
                  </a:lnTo>
                  <a:lnTo>
                    <a:pt x="9286" y="106217"/>
                  </a:lnTo>
                  <a:lnTo>
                    <a:pt x="7983" y="108172"/>
                  </a:lnTo>
                  <a:lnTo>
                    <a:pt x="6842" y="106868"/>
                  </a:lnTo>
                  <a:lnTo>
                    <a:pt x="0" y="110452"/>
                  </a:lnTo>
                  <a:lnTo>
                    <a:pt x="652" y="112244"/>
                  </a:lnTo>
                  <a:lnTo>
                    <a:pt x="16454" y="111267"/>
                  </a:lnTo>
                  <a:lnTo>
                    <a:pt x="11241" y="115828"/>
                  </a:lnTo>
                  <a:lnTo>
                    <a:pt x="4561" y="117295"/>
                  </a:lnTo>
                  <a:lnTo>
                    <a:pt x="2281" y="122671"/>
                  </a:lnTo>
                  <a:lnTo>
                    <a:pt x="6516" y="122671"/>
                  </a:lnTo>
                  <a:lnTo>
                    <a:pt x="7494" y="125766"/>
                  </a:lnTo>
                  <a:lnTo>
                    <a:pt x="19386" y="121856"/>
                  </a:lnTo>
                  <a:lnTo>
                    <a:pt x="10426" y="127721"/>
                  </a:lnTo>
                  <a:lnTo>
                    <a:pt x="6679" y="130816"/>
                  </a:lnTo>
                  <a:lnTo>
                    <a:pt x="13033" y="130816"/>
                  </a:lnTo>
                  <a:lnTo>
                    <a:pt x="21178" y="126255"/>
                  </a:lnTo>
                  <a:lnTo>
                    <a:pt x="20852" y="129513"/>
                  </a:lnTo>
                  <a:lnTo>
                    <a:pt x="13847" y="132771"/>
                  </a:lnTo>
                  <a:lnTo>
                    <a:pt x="17594" y="132771"/>
                  </a:lnTo>
                  <a:lnTo>
                    <a:pt x="16454" y="135215"/>
                  </a:lnTo>
                  <a:lnTo>
                    <a:pt x="22807" y="133585"/>
                  </a:lnTo>
                  <a:lnTo>
                    <a:pt x="26066" y="135866"/>
                  </a:lnTo>
                  <a:close/>
                </a:path>
              </a:pathLst>
            </a:custGeom>
            <a:solidFill>
              <a:schemeClr val="tx1"/>
            </a:solidFill>
            <a:ln w="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1" name="Forma livre: Forma 180">
              <a:extLst>
                <a:ext uri="{FF2B5EF4-FFF2-40B4-BE49-F238E27FC236}">
                  <a16:creationId xmlns:a16="http://schemas.microsoft.com/office/drawing/2014/main" id="{E0915EDD-B351-3E20-D3F2-1C430CE45841}"/>
                </a:ext>
              </a:extLst>
            </p:cNvPr>
            <p:cNvSpPr/>
            <p:nvPr/>
          </p:nvSpPr>
          <p:spPr>
            <a:xfrm>
              <a:off x="5797819" y="3097269"/>
              <a:ext cx="227946" cy="420539"/>
            </a:xfrm>
            <a:custGeom>
              <a:avLst/>
              <a:gdLst>
                <a:gd name="connsiteX0" fmla="*/ 40239 w 220578"/>
                <a:gd name="connsiteY0" fmla="*/ 260655 h 406947"/>
                <a:gd name="connsiteX1" fmla="*/ 34700 w 220578"/>
                <a:gd name="connsiteY1" fmla="*/ 256908 h 406947"/>
                <a:gd name="connsiteX2" fmla="*/ 30953 w 220578"/>
                <a:gd name="connsiteY2" fmla="*/ 256093 h 406947"/>
                <a:gd name="connsiteX3" fmla="*/ 26228 w 220578"/>
                <a:gd name="connsiteY3" fmla="*/ 246481 h 406947"/>
                <a:gd name="connsiteX4" fmla="*/ 18898 w 220578"/>
                <a:gd name="connsiteY4" fmla="*/ 242735 h 406947"/>
                <a:gd name="connsiteX5" fmla="*/ 15965 w 220578"/>
                <a:gd name="connsiteY5" fmla="*/ 245015 h 406947"/>
                <a:gd name="connsiteX6" fmla="*/ 14499 w 220578"/>
                <a:gd name="connsiteY6" fmla="*/ 252020 h 406947"/>
                <a:gd name="connsiteX7" fmla="*/ 10752 w 220578"/>
                <a:gd name="connsiteY7" fmla="*/ 252835 h 406947"/>
                <a:gd name="connsiteX8" fmla="*/ 0 w 220578"/>
                <a:gd name="connsiteY8" fmla="*/ 242898 h 406947"/>
                <a:gd name="connsiteX9" fmla="*/ 5539 w 220578"/>
                <a:gd name="connsiteY9" fmla="*/ 231494 h 406947"/>
                <a:gd name="connsiteX10" fmla="*/ 10752 w 220578"/>
                <a:gd name="connsiteY10" fmla="*/ 230842 h 406947"/>
                <a:gd name="connsiteX11" fmla="*/ 12218 w 220578"/>
                <a:gd name="connsiteY11" fmla="*/ 226444 h 406947"/>
                <a:gd name="connsiteX12" fmla="*/ 15639 w 220578"/>
                <a:gd name="connsiteY12" fmla="*/ 224652 h 406947"/>
                <a:gd name="connsiteX13" fmla="*/ 18083 w 220578"/>
                <a:gd name="connsiteY13" fmla="*/ 222045 h 406947"/>
                <a:gd name="connsiteX14" fmla="*/ 22807 w 220578"/>
                <a:gd name="connsiteY14" fmla="*/ 221068 h 406947"/>
                <a:gd name="connsiteX15" fmla="*/ 24436 w 220578"/>
                <a:gd name="connsiteY15" fmla="*/ 219276 h 406947"/>
                <a:gd name="connsiteX16" fmla="*/ 27369 w 220578"/>
                <a:gd name="connsiteY16" fmla="*/ 218950 h 406947"/>
                <a:gd name="connsiteX17" fmla="*/ 32256 w 220578"/>
                <a:gd name="connsiteY17" fmla="*/ 215855 h 406947"/>
                <a:gd name="connsiteX18" fmla="*/ 39913 w 220578"/>
                <a:gd name="connsiteY18" fmla="*/ 216669 h 406947"/>
                <a:gd name="connsiteX19" fmla="*/ 43660 w 220578"/>
                <a:gd name="connsiteY19" fmla="*/ 218787 h 406947"/>
                <a:gd name="connsiteX20" fmla="*/ 44148 w 220578"/>
                <a:gd name="connsiteY20" fmla="*/ 223511 h 406947"/>
                <a:gd name="connsiteX21" fmla="*/ 51642 w 220578"/>
                <a:gd name="connsiteY21" fmla="*/ 234100 h 406947"/>
                <a:gd name="connsiteX22" fmla="*/ 47895 w 220578"/>
                <a:gd name="connsiteY22" fmla="*/ 236870 h 406947"/>
                <a:gd name="connsiteX23" fmla="*/ 54737 w 220578"/>
                <a:gd name="connsiteY23" fmla="*/ 237196 h 406947"/>
                <a:gd name="connsiteX24" fmla="*/ 56367 w 220578"/>
                <a:gd name="connsiteY24" fmla="*/ 248436 h 406947"/>
                <a:gd name="connsiteX25" fmla="*/ 53434 w 220578"/>
                <a:gd name="connsiteY25" fmla="*/ 239639 h 406947"/>
                <a:gd name="connsiteX26" fmla="*/ 50665 w 220578"/>
                <a:gd name="connsiteY26" fmla="*/ 239965 h 406947"/>
                <a:gd name="connsiteX27" fmla="*/ 52131 w 220578"/>
                <a:gd name="connsiteY27" fmla="*/ 242898 h 406947"/>
                <a:gd name="connsiteX28" fmla="*/ 50665 w 220578"/>
                <a:gd name="connsiteY28" fmla="*/ 246807 h 406947"/>
                <a:gd name="connsiteX29" fmla="*/ 54412 w 220578"/>
                <a:gd name="connsiteY29" fmla="*/ 247622 h 406947"/>
                <a:gd name="connsiteX30" fmla="*/ 53597 w 220578"/>
                <a:gd name="connsiteY30" fmla="*/ 251858 h 406947"/>
                <a:gd name="connsiteX31" fmla="*/ 47569 w 220578"/>
                <a:gd name="connsiteY31" fmla="*/ 251043 h 406947"/>
                <a:gd name="connsiteX32" fmla="*/ 47244 w 220578"/>
                <a:gd name="connsiteY32" fmla="*/ 254627 h 406947"/>
                <a:gd name="connsiteX33" fmla="*/ 43334 w 220578"/>
                <a:gd name="connsiteY33" fmla="*/ 257722 h 406947"/>
                <a:gd name="connsiteX34" fmla="*/ 41053 w 220578"/>
                <a:gd name="connsiteY34" fmla="*/ 257071 h 406947"/>
                <a:gd name="connsiteX35" fmla="*/ 41379 w 220578"/>
                <a:gd name="connsiteY35" fmla="*/ 260818 h 406947"/>
                <a:gd name="connsiteX36" fmla="*/ 40401 w 220578"/>
                <a:gd name="connsiteY36" fmla="*/ 260818 h 406947"/>
                <a:gd name="connsiteX37" fmla="*/ 147433 w 220578"/>
                <a:gd name="connsiteY37" fmla="*/ 36166 h 406947"/>
                <a:gd name="connsiteX38" fmla="*/ 149714 w 220578"/>
                <a:gd name="connsiteY38" fmla="*/ 31930 h 406947"/>
                <a:gd name="connsiteX39" fmla="*/ 151180 w 220578"/>
                <a:gd name="connsiteY39" fmla="*/ 33396 h 406947"/>
                <a:gd name="connsiteX40" fmla="*/ 147433 w 220578"/>
                <a:gd name="connsiteY40" fmla="*/ 36166 h 406947"/>
                <a:gd name="connsiteX41" fmla="*/ 147433 w 220578"/>
                <a:gd name="connsiteY41" fmla="*/ 36166 h 406947"/>
                <a:gd name="connsiteX42" fmla="*/ 157044 w 220578"/>
                <a:gd name="connsiteY42" fmla="*/ 5702 h 406947"/>
                <a:gd name="connsiteX43" fmla="*/ 155741 w 220578"/>
                <a:gd name="connsiteY43" fmla="*/ 3258 h 406947"/>
                <a:gd name="connsiteX44" fmla="*/ 158999 w 220578"/>
                <a:gd name="connsiteY44" fmla="*/ 0 h 406947"/>
                <a:gd name="connsiteX45" fmla="*/ 157044 w 220578"/>
                <a:gd name="connsiteY45" fmla="*/ 5702 h 406947"/>
                <a:gd name="connsiteX46" fmla="*/ 157044 w 220578"/>
                <a:gd name="connsiteY46" fmla="*/ 5702 h 406947"/>
                <a:gd name="connsiteX47" fmla="*/ 146455 w 220578"/>
                <a:gd name="connsiteY47" fmla="*/ 17594 h 406947"/>
                <a:gd name="connsiteX48" fmla="*/ 146944 w 220578"/>
                <a:gd name="connsiteY48" fmla="*/ 11567 h 406947"/>
                <a:gd name="connsiteX49" fmla="*/ 143523 w 220578"/>
                <a:gd name="connsiteY49" fmla="*/ 12381 h 406947"/>
                <a:gd name="connsiteX50" fmla="*/ 142546 w 220578"/>
                <a:gd name="connsiteY50" fmla="*/ 15476 h 406947"/>
                <a:gd name="connsiteX51" fmla="*/ 146292 w 220578"/>
                <a:gd name="connsiteY51" fmla="*/ 17594 h 406947"/>
                <a:gd name="connsiteX52" fmla="*/ 146292 w 220578"/>
                <a:gd name="connsiteY52" fmla="*/ 17594 h 406947"/>
                <a:gd name="connsiteX53" fmla="*/ 151994 w 220578"/>
                <a:gd name="connsiteY53" fmla="*/ 14173 h 406947"/>
                <a:gd name="connsiteX54" fmla="*/ 149388 w 220578"/>
                <a:gd name="connsiteY54" fmla="*/ 11404 h 406947"/>
                <a:gd name="connsiteX55" fmla="*/ 151342 w 220578"/>
                <a:gd name="connsiteY55" fmla="*/ 8471 h 406947"/>
                <a:gd name="connsiteX56" fmla="*/ 151669 w 220578"/>
                <a:gd name="connsiteY56" fmla="*/ 5213 h 406947"/>
                <a:gd name="connsiteX57" fmla="*/ 153460 w 220578"/>
                <a:gd name="connsiteY57" fmla="*/ 6516 h 406947"/>
                <a:gd name="connsiteX58" fmla="*/ 153460 w 220578"/>
                <a:gd name="connsiteY58" fmla="*/ 12218 h 406947"/>
                <a:gd name="connsiteX59" fmla="*/ 151831 w 220578"/>
                <a:gd name="connsiteY59" fmla="*/ 14010 h 406947"/>
                <a:gd name="connsiteX60" fmla="*/ 151831 w 220578"/>
                <a:gd name="connsiteY60" fmla="*/ 14010 h 406947"/>
                <a:gd name="connsiteX61" fmla="*/ 149551 w 220578"/>
                <a:gd name="connsiteY61" fmla="*/ 29324 h 406947"/>
                <a:gd name="connsiteX62" fmla="*/ 147596 w 220578"/>
                <a:gd name="connsiteY62" fmla="*/ 25251 h 406947"/>
                <a:gd name="connsiteX63" fmla="*/ 141568 w 220578"/>
                <a:gd name="connsiteY63" fmla="*/ 25251 h 406947"/>
                <a:gd name="connsiteX64" fmla="*/ 139613 w 220578"/>
                <a:gd name="connsiteY64" fmla="*/ 22481 h 406947"/>
                <a:gd name="connsiteX65" fmla="*/ 142708 w 220578"/>
                <a:gd name="connsiteY65" fmla="*/ 21178 h 406947"/>
                <a:gd name="connsiteX66" fmla="*/ 147922 w 220578"/>
                <a:gd name="connsiteY66" fmla="*/ 21667 h 406947"/>
                <a:gd name="connsiteX67" fmla="*/ 148410 w 220578"/>
                <a:gd name="connsiteY67" fmla="*/ 19223 h 406947"/>
                <a:gd name="connsiteX68" fmla="*/ 147270 w 220578"/>
                <a:gd name="connsiteY68" fmla="*/ 17431 h 406947"/>
                <a:gd name="connsiteX69" fmla="*/ 148736 w 220578"/>
                <a:gd name="connsiteY69" fmla="*/ 15965 h 406947"/>
                <a:gd name="connsiteX70" fmla="*/ 151669 w 220578"/>
                <a:gd name="connsiteY70" fmla="*/ 17431 h 406947"/>
                <a:gd name="connsiteX71" fmla="*/ 155253 w 220578"/>
                <a:gd name="connsiteY71" fmla="*/ 18572 h 406947"/>
                <a:gd name="connsiteX72" fmla="*/ 153135 w 220578"/>
                <a:gd name="connsiteY72" fmla="*/ 20852 h 406947"/>
                <a:gd name="connsiteX73" fmla="*/ 153787 w 220578"/>
                <a:gd name="connsiteY73" fmla="*/ 23622 h 406947"/>
                <a:gd name="connsiteX74" fmla="*/ 151506 w 220578"/>
                <a:gd name="connsiteY74" fmla="*/ 26065 h 406947"/>
                <a:gd name="connsiteX75" fmla="*/ 152646 w 220578"/>
                <a:gd name="connsiteY75" fmla="*/ 30138 h 406947"/>
                <a:gd name="connsiteX76" fmla="*/ 149876 w 220578"/>
                <a:gd name="connsiteY76" fmla="*/ 29161 h 406947"/>
                <a:gd name="connsiteX77" fmla="*/ 149876 w 220578"/>
                <a:gd name="connsiteY77" fmla="*/ 29161 h 406947"/>
                <a:gd name="connsiteX78" fmla="*/ 199075 w 220578"/>
                <a:gd name="connsiteY78" fmla="*/ 350092 h 406947"/>
                <a:gd name="connsiteX79" fmla="*/ 202170 w 220578"/>
                <a:gd name="connsiteY79" fmla="*/ 351721 h 406947"/>
                <a:gd name="connsiteX80" fmla="*/ 204777 w 220578"/>
                <a:gd name="connsiteY80" fmla="*/ 351069 h 406947"/>
                <a:gd name="connsiteX81" fmla="*/ 203311 w 220578"/>
                <a:gd name="connsiteY81" fmla="*/ 349277 h 406947"/>
                <a:gd name="connsiteX82" fmla="*/ 200867 w 220578"/>
                <a:gd name="connsiteY82" fmla="*/ 349277 h 406947"/>
                <a:gd name="connsiteX83" fmla="*/ 199075 w 220578"/>
                <a:gd name="connsiteY83" fmla="*/ 350255 h 406947"/>
                <a:gd name="connsiteX84" fmla="*/ 199075 w 220578"/>
                <a:gd name="connsiteY84" fmla="*/ 350255 h 406947"/>
                <a:gd name="connsiteX85" fmla="*/ 146618 w 220578"/>
                <a:gd name="connsiteY85" fmla="*/ 379252 h 406947"/>
                <a:gd name="connsiteX86" fmla="*/ 153460 w 220578"/>
                <a:gd name="connsiteY86" fmla="*/ 375668 h 406947"/>
                <a:gd name="connsiteX87" fmla="*/ 155904 w 220578"/>
                <a:gd name="connsiteY87" fmla="*/ 377460 h 406947"/>
                <a:gd name="connsiteX88" fmla="*/ 158348 w 220578"/>
                <a:gd name="connsiteY88" fmla="*/ 377135 h 406947"/>
                <a:gd name="connsiteX89" fmla="*/ 156719 w 220578"/>
                <a:gd name="connsiteY89" fmla="*/ 380067 h 406947"/>
                <a:gd name="connsiteX90" fmla="*/ 156719 w 220578"/>
                <a:gd name="connsiteY90" fmla="*/ 381859 h 406947"/>
                <a:gd name="connsiteX91" fmla="*/ 153297 w 220578"/>
                <a:gd name="connsiteY91" fmla="*/ 382511 h 406947"/>
                <a:gd name="connsiteX92" fmla="*/ 149876 w 220578"/>
                <a:gd name="connsiteY92" fmla="*/ 379904 h 406947"/>
                <a:gd name="connsiteX93" fmla="*/ 146618 w 220578"/>
                <a:gd name="connsiteY93" fmla="*/ 379252 h 406947"/>
                <a:gd name="connsiteX94" fmla="*/ 146618 w 220578"/>
                <a:gd name="connsiteY94" fmla="*/ 379252 h 406947"/>
                <a:gd name="connsiteX95" fmla="*/ 64023 w 220578"/>
                <a:gd name="connsiteY95" fmla="*/ 193047 h 406947"/>
                <a:gd name="connsiteX96" fmla="*/ 63698 w 220578"/>
                <a:gd name="connsiteY96" fmla="*/ 196468 h 406947"/>
                <a:gd name="connsiteX97" fmla="*/ 66467 w 220578"/>
                <a:gd name="connsiteY97" fmla="*/ 198749 h 406947"/>
                <a:gd name="connsiteX98" fmla="*/ 66141 w 220578"/>
                <a:gd name="connsiteY98" fmla="*/ 195165 h 406947"/>
                <a:gd name="connsiteX99" fmla="*/ 64023 w 220578"/>
                <a:gd name="connsiteY99" fmla="*/ 193047 h 406947"/>
                <a:gd name="connsiteX100" fmla="*/ 64023 w 220578"/>
                <a:gd name="connsiteY100" fmla="*/ 193047 h 406947"/>
                <a:gd name="connsiteX101" fmla="*/ 40076 w 220578"/>
                <a:gd name="connsiteY101" fmla="*/ 188975 h 406947"/>
                <a:gd name="connsiteX102" fmla="*/ 41542 w 220578"/>
                <a:gd name="connsiteY102" fmla="*/ 184087 h 406947"/>
                <a:gd name="connsiteX103" fmla="*/ 42193 w 220578"/>
                <a:gd name="connsiteY103" fmla="*/ 186694 h 406947"/>
                <a:gd name="connsiteX104" fmla="*/ 39913 w 220578"/>
                <a:gd name="connsiteY104" fmla="*/ 188975 h 406947"/>
                <a:gd name="connsiteX105" fmla="*/ 39913 w 220578"/>
                <a:gd name="connsiteY105" fmla="*/ 188975 h 406947"/>
                <a:gd name="connsiteX106" fmla="*/ 25902 w 220578"/>
                <a:gd name="connsiteY106" fmla="*/ 173010 h 406947"/>
                <a:gd name="connsiteX107" fmla="*/ 26228 w 220578"/>
                <a:gd name="connsiteY107" fmla="*/ 169426 h 406947"/>
                <a:gd name="connsiteX108" fmla="*/ 30301 w 220578"/>
                <a:gd name="connsiteY108" fmla="*/ 169751 h 406947"/>
                <a:gd name="connsiteX109" fmla="*/ 25902 w 220578"/>
                <a:gd name="connsiteY109" fmla="*/ 173172 h 406947"/>
                <a:gd name="connsiteX110" fmla="*/ 25902 w 220578"/>
                <a:gd name="connsiteY110" fmla="*/ 173172 h 406947"/>
                <a:gd name="connsiteX111" fmla="*/ 32093 w 220578"/>
                <a:gd name="connsiteY111" fmla="*/ 167959 h 406947"/>
                <a:gd name="connsiteX112" fmla="*/ 36492 w 220578"/>
                <a:gd name="connsiteY112" fmla="*/ 162583 h 406947"/>
                <a:gd name="connsiteX113" fmla="*/ 35351 w 220578"/>
                <a:gd name="connsiteY113" fmla="*/ 166493 h 406947"/>
                <a:gd name="connsiteX114" fmla="*/ 32093 w 220578"/>
                <a:gd name="connsiteY114" fmla="*/ 167959 h 406947"/>
                <a:gd name="connsiteX115" fmla="*/ 32093 w 220578"/>
                <a:gd name="connsiteY115" fmla="*/ 167959 h 406947"/>
                <a:gd name="connsiteX116" fmla="*/ 42519 w 220578"/>
                <a:gd name="connsiteY116" fmla="*/ 157859 h 406947"/>
                <a:gd name="connsiteX117" fmla="*/ 44800 w 220578"/>
                <a:gd name="connsiteY117" fmla="*/ 155415 h 406947"/>
                <a:gd name="connsiteX118" fmla="*/ 42356 w 220578"/>
                <a:gd name="connsiteY118" fmla="*/ 155415 h 406947"/>
                <a:gd name="connsiteX119" fmla="*/ 42519 w 220578"/>
                <a:gd name="connsiteY119" fmla="*/ 157859 h 406947"/>
                <a:gd name="connsiteX120" fmla="*/ 42519 w 220578"/>
                <a:gd name="connsiteY120" fmla="*/ 157859 h 406947"/>
                <a:gd name="connsiteX121" fmla="*/ 37632 w 220578"/>
                <a:gd name="connsiteY121" fmla="*/ 151180 h 406947"/>
                <a:gd name="connsiteX122" fmla="*/ 39587 w 220578"/>
                <a:gd name="connsiteY122" fmla="*/ 155252 h 406947"/>
                <a:gd name="connsiteX123" fmla="*/ 41379 w 220578"/>
                <a:gd name="connsiteY123" fmla="*/ 153623 h 406947"/>
                <a:gd name="connsiteX124" fmla="*/ 40076 w 220578"/>
                <a:gd name="connsiteY124" fmla="*/ 150854 h 406947"/>
                <a:gd name="connsiteX125" fmla="*/ 37632 w 220578"/>
                <a:gd name="connsiteY125" fmla="*/ 151180 h 406947"/>
                <a:gd name="connsiteX126" fmla="*/ 37632 w 220578"/>
                <a:gd name="connsiteY126" fmla="*/ 151180 h 406947"/>
                <a:gd name="connsiteX127" fmla="*/ 104099 w 220578"/>
                <a:gd name="connsiteY127" fmla="*/ 75427 h 406947"/>
                <a:gd name="connsiteX128" fmla="*/ 106054 w 220578"/>
                <a:gd name="connsiteY128" fmla="*/ 77545 h 406947"/>
                <a:gd name="connsiteX129" fmla="*/ 106380 w 220578"/>
                <a:gd name="connsiteY129" fmla="*/ 74938 h 406947"/>
                <a:gd name="connsiteX130" fmla="*/ 103936 w 220578"/>
                <a:gd name="connsiteY130" fmla="*/ 75264 h 406947"/>
                <a:gd name="connsiteX131" fmla="*/ 103936 w 220578"/>
                <a:gd name="connsiteY131" fmla="*/ 75264 h 406947"/>
                <a:gd name="connsiteX132" fmla="*/ 98886 w 220578"/>
                <a:gd name="connsiteY132" fmla="*/ 77219 h 406947"/>
                <a:gd name="connsiteX133" fmla="*/ 102633 w 220578"/>
                <a:gd name="connsiteY133" fmla="*/ 76893 h 406947"/>
                <a:gd name="connsiteX134" fmla="*/ 105565 w 220578"/>
                <a:gd name="connsiteY134" fmla="*/ 79826 h 406947"/>
                <a:gd name="connsiteX135" fmla="*/ 103773 w 220578"/>
                <a:gd name="connsiteY135" fmla="*/ 81943 h 406947"/>
                <a:gd name="connsiteX136" fmla="*/ 109312 w 220578"/>
                <a:gd name="connsiteY136" fmla="*/ 81455 h 406947"/>
                <a:gd name="connsiteX137" fmla="*/ 109312 w 220578"/>
                <a:gd name="connsiteY137" fmla="*/ 85364 h 406947"/>
                <a:gd name="connsiteX138" fmla="*/ 106543 w 220578"/>
                <a:gd name="connsiteY138" fmla="*/ 83735 h 406947"/>
                <a:gd name="connsiteX139" fmla="*/ 101818 w 220578"/>
                <a:gd name="connsiteY139" fmla="*/ 84387 h 406947"/>
                <a:gd name="connsiteX140" fmla="*/ 101492 w 220578"/>
                <a:gd name="connsiteY140" fmla="*/ 80803 h 406947"/>
                <a:gd name="connsiteX141" fmla="*/ 100352 w 220578"/>
                <a:gd name="connsiteY141" fmla="*/ 83898 h 406947"/>
                <a:gd name="connsiteX142" fmla="*/ 98723 w 220578"/>
                <a:gd name="connsiteY142" fmla="*/ 82106 h 406947"/>
                <a:gd name="connsiteX143" fmla="*/ 98723 w 220578"/>
                <a:gd name="connsiteY143" fmla="*/ 77545 h 406947"/>
                <a:gd name="connsiteX144" fmla="*/ 98723 w 220578"/>
                <a:gd name="connsiteY144" fmla="*/ 77545 h 406947"/>
                <a:gd name="connsiteX145" fmla="*/ 98560 w 220578"/>
                <a:gd name="connsiteY145" fmla="*/ 85690 h 406947"/>
                <a:gd name="connsiteX146" fmla="*/ 101330 w 220578"/>
                <a:gd name="connsiteY146" fmla="*/ 90089 h 406947"/>
                <a:gd name="connsiteX147" fmla="*/ 102470 w 220578"/>
                <a:gd name="connsiteY147" fmla="*/ 87808 h 406947"/>
                <a:gd name="connsiteX148" fmla="*/ 100841 w 220578"/>
                <a:gd name="connsiteY148" fmla="*/ 85202 h 406947"/>
                <a:gd name="connsiteX149" fmla="*/ 98560 w 220578"/>
                <a:gd name="connsiteY149" fmla="*/ 85690 h 406947"/>
                <a:gd name="connsiteX150" fmla="*/ 98560 w 220578"/>
                <a:gd name="connsiteY150" fmla="*/ 85690 h 406947"/>
                <a:gd name="connsiteX151" fmla="*/ 25414 w 220578"/>
                <a:gd name="connsiteY151" fmla="*/ 116480 h 406947"/>
                <a:gd name="connsiteX152" fmla="*/ 27695 w 220578"/>
                <a:gd name="connsiteY152" fmla="*/ 114688 h 406947"/>
                <a:gd name="connsiteX153" fmla="*/ 24925 w 220578"/>
                <a:gd name="connsiteY153" fmla="*/ 111919 h 406947"/>
                <a:gd name="connsiteX154" fmla="*/ 27695 w 220578"/>
                <a:gd name="connsiteY154" fmla="*/ 108335 h 406947"/>
                <a:gd name="connsiteX155" fmla="*/ 33071 w 220578"/>
                <a:gd name="connsiteY155" fmla="*/ 110778 h 406947"/>
                <a:gd name="connsiteX156" fmla="*/ 31767 w 220578"/>
                <a:gd name="connsiteY156" fmla="*/ 107031 h 406947"/>
                <a:gd name="connsiteX157" fmla="*/ 43171 w 220578"/>
                <a:gd name="connsiteY157" fmla="*/ 98886 h 406947"/>
                <a:gd name="connsiteX158" fmla="*/ 43985 w 220578"/>
                <a:gd name="connsiteY158" fmla="*/ 105402 h 406947"/>
                <a:gd name="connsiteX159" fmla="*/ 39587 w 220578"/>
                <a:gd name="connsiteY159" fmla="*/ 109475 h 406947"/>
                <a:gd name="connsiteX160" fmla="*/ 38121 w 220578"/>
                <a:gd name="connsiteY160" fmla="*/ 113222 h 406947"/>
                <a:gd name="connsiteX161" fmla="*/ 39750 w 220578"/>
                <a:gd name="connsiteY161" fmla="*/ 114362 h 406947"/>
                <a:gd name="connsiteX162" fmla="*/ 36492 w 220578"/>
                <a:gd name="connsiteY162" fmla="*/ 118924 h 406947"/>
                <a:gd name="connsiteX163" fmla="*/ 32093 w 220578"/>
                <a:gd name="connsiteY163" fmla="*/ 117783 h 406947"/>
                <a:gd name="connsiteX164" fmla="*/ 27695 w 220578"/>
                <a:gd name="connsiteY164" fmla="*/ 118435 h 406947"/>
                <a:gd name="connsiteX165" fmla="*/ 25414 w 220578"/>
                <a:gd name="connsiteY165" fmla="*/ 116480 h 406947"/>
                <a:gd name="connsiteX166" fmla="*/ 25414 w 220578"/>
                <a:gd name="connsiteY166" fmla="*/ 116480 h 406947"/>
                <a:gd name="connsiteX167" fmla="*/ 25251 w 220578"/>
                <a:gd name="connsiteY167" fmla="*/ 123811 h 406947"/>
                <a:gd name="connsiteX168" fmla="*/ 28509 w 220578"/>
                <a:gd name="connsiteY168" fmla="*/ 126255 h 406947"/>
                <a:gd name="connsiteX169" fmla="*/ 34048 w 220578"/>
                <a:gd name="connsiteY169" fmla="*/ 121367 h 406947"/>
                <a:gd name="connsiteX170" fmla="*/ 30138 w 220578"/>
                <a:gd name="connsiteY170" fmla="*/ 119738 h 406947"/>
                <a:gd name="connsiteX171" fmla="*/ 28020 w 220578"/>
                <a:gd name="connsiteY171" fmla="*/ 120879 h 406947"/>
                <a:gd name="connsiteX172" fmla="*/ 27043 w 220578"/>
                <a:gd name="connsiteY172" fmla="*/ 122996 h 406947"/>
                <a:gd name="connsiteX173" fmla="*/ 25251 w 220578"/>
                <a:gd name="connsiteY173" fmla="*/ 123974 h 406947"/>
                <a:gd name="connsiteX174" fmla="*/ 25251 w 220578"/>
                <a:gd name="connsiteY174" fmla="*/ 123974 h 406947"/>
                <a:gd name="connsiteX175" fmla="*/ 23948 w 220578"/>
                <a:gd name="connsiteY175" fmla="*/ 131793 h 406947"/>
                <a:gd name="connsiteX176" fmla="*/ 19549 w 220578"/>
                <a:gd name="connsiteY176" fmla="*/ 132934 h 406947"/>
                <a:gd name="connsiteX177" fmla="*/ 16128 w 220578"/>
                <a:gd name="connsiteY177" fmla="*/ 129350 h 406947"/>
                <a:gd name="connsiteX178" fmla="*/ 18083 w 220578"/>
                <a:gd name="connsiteY178" fmla="*/ 128210 h 406947"/>
                <a:gd name="connsiteX179" fmla="*/ 24436 w 220578"/>
                <a:gd name="connsiteY179" fmla="*/ 128861 h 406947"/>
                <a:gd name="connsiteX180" fmla="*/ 24110 w 220578"/>
                <a:gd name="connsiteY180" fmla="*/ 131631 h 406947"/>
                <a:gd name="connsiteX181" fmla="*/ 24110 w 220578"/>
                <a:gd name="connsiteY181" fmla="*/ 131631 h 406947"/>
                <a:gd name="connsiteX182" fmla="*/ 21504 w 220578"/>
                <a:gd name="connsiteY182" fmla="*/ 137658 h 406947"/>
                <a:gd name="connsiteX183" fmla="*/ 18246 w 220578"/>
                <a:gd name="connsiteY183" fmla="*/ 136355 h 406947"/>
                <a:gd name="connsiteX184" fmla="*/ 18246 w 220578"/>
                <a:gd name="connsiteY184" fmla="*/ 134726 h 406947"/>
                <a:gd name="connsiteX185" fmla="*/ 22807 w 220578"/>
                <a:gd name="connsiteY185" fmla="*/ 134074 h 406947"/>
                <a:gd name="connsiteX186" fmla="*/ 21504 w 220578"/>
                <a:gd name="connsiteY186" fmla="*/ 137658 h 406947"/>
                <a:gd name="connsiteX187" fmla="*/ 21504 w 220578"/>
                <a:gd name="connsiteY187" fmla="*/ 137658 h 406947"/>
                <a:gd name="connsiteX188" fmla="*/ 16943 w 220578"/>
                <a:gd name="connsiteY188" fmla="*/ 150039 h 406947"/>
                <a:gd name="connsiteX189" fmla="*/ 18083 w 220578"/>
                <a:gd name="connsiteY189" fmla="*/ 153135 h 406947"/>
                <a:gd name="connsiteX190" fmla="*/ 14662 w 220578"/>
                <a:gd name="connsiteY190" fmla="*/ 155252 h 406947"/>
                <a:gd name="connsiteX191" fmla="*/ 14662 w 220578"/>
                <a:gd name="connsiteY191" fmla="*/ 152646 h 406947"/>
                <a:gd name="connsiteX192" fmla="*/ 16943 w 220578"/>
                <a:gd name="connsiteY192" fmla="*/ 150039 h 406947"/>
                <a:gd name="connsiteX193" fmla="*/ 16943 w 220578"/>
                <a:gd name="connsiteY193" fmla="*/ 150039 h 406947"/>
                <a:gd name="connsiteX194" fmla="*/ 21341 w 220578"/>
                <a:gd name="connsiteY194" fmla="*/ 148410 h 406947"/>
                <a:gd name="connsiteX195" fmla="*/ 20364 w 220578"/>
                <a:gd name="connsiteY195" fmla="*/ 144175 h 406947"/>
                <a:gd name="connsiteX196" fmla="*/ 21667 w 220578"/>
                <a:gd name="connsiteY196" fmla="*/ 141731 h 406947"/>
                <a:gd name="connsiteX197" fmla="*/ 21178 w 220578"/>
                <a:gd name="connsiteY197" fmla="*/ 138636 h 406947"/>
                <a:gd name="connsiteX198" fmla="*/ 18572 w 220578"/>
                <a:gd name="connsiteY198" fmla="*/ 138147 h 406947"/>
                <a:gd name="connsiteX199" fmla="*/ 18572 w 220578"/>
                <a:gd name="connsiteY199" fmla="*/ 141079 h 406947"/>
                <a:gd name="connsiteX200" fmla="*/ 17431 w 220578"/>
                <a:gd name="connsiteY200" fmla="*/ 144175 h 406947"/>
                <a:gd name="connsiteX201" fmla="*/ 18409 w 220578"/>
                <a:gd name="connsiteY201" fmla="*/ 147596 h 406947"/>
                <a:gd name="connsiteX202" fmla="*/ 21341 w 220578"/>
                <a:gd name="connsiteY202" fmla="*/ 148247 h 406947"/>
                <a:gd name="connsiteX203" fmla="*/ 21341 w 220578"/>
                <a:gd name="connsiteY203" fmla="*/ 148247 h 406947"/>
                <a:gd name="connsiteX204" fmla="*/ 46429 w 220578"/>
                <a:gd name="connsiteY204" fmla="*/ 151343 h 406947"/>
                <a:gd name="connsiteX205" fmla="*/ 46103 w 220578"/>
                <a:gd name="connsiteY205" fmla="*/ 146455 h 406947"/>
                <a:gd name="connsiteX206" fmla="*/ 40239 w 220578"/>
                <a:gd name="connsiteY206" fmla="*/ 147107 h 406947"/>
                <a:gd name="connsiteX207" fmla="*/ 36818 w 220578"/>
                <a:gd name="connsiteY207" fmla="*/ 141079 h 406947"/>
                <a:gd name="connsiteX208" fmla="*/ 37469 w 220578"/>
                <a:gd name="connsiteY208" fmla="*/ 139450 h 406947"/>
                <a:gd name="connsiteX209" fmla="*/ 35677 w 220578"/>
                <a:gd name="connsiteY209" fmla="*/ 138147 h 406947"/>
                <a:gd name="connsiteX210" fmla="*/ 35677 w 220578"/>
                <a:gd name="connsiteY210" fmla="*/ 139939 h 406947"/>
                <a:gd name="connsiteX211" fmla="*/ 30790 w 220578"/>
                <a:gd name="connsiteY211" fmla="*/ 136518 h 406947"/>
                <a:gd name="connsiteX212" fmla="*/ 32745 w 220578"/>
                <a:gd name="connsiteY212" fmla="*/ 134726 h 406947"/>
                <a:gd name="connsiteX213" fmla="*/ 34537 w 220578"/>
                <a:gd name="connsiteY213" fmla="*/ 135866 h 406947"/>
                <a:gd name="connsiteX214" fmla="*/ 34211 w 220578"/>
                <a:gd name="connsiteY214" fmla="*/ 131468 h 406947"/>
                <a:gd name="connsiteX215" fmla="*/ 39587 w 220578"/>
                <a:gd name="connsiteY215" fmla="*/ 135215 h 406947"/>
                <a:gd name="connsiteX216" fmla="*/ 38935 w 220578"/>
                <a:gd name="connsiteY216" fmla="*/ 129513 h 406947"/>
                <a:gd name="connsiteX217" fmla="*/ 41379 w 220578"/>
                <a:gd name="connsiteY217" fmla="*/ 128372 h 406947"/>
                <a:gd name="connsiteX218" fmla="*/ 43985 w 220578"/>
                <a:gd name="connsiteY218" fmla="*/ 132771 h 406947"/>
                <a:gd name="connsiteX219" fmla="*/ 43334 w 220578"/>
                <a:gd name="connsiteY219" fmla="*/ 141242 h 406947"/>
                <a:gd name="connsiteX220" fmla="*/ 48384 w 220578"/>
                <a:gd name="connsiteY220" fmla="*/ 144012 h 406947"/>
                <a:gd name="connsiteX221" fmla="*/ 51317 w 220578"/>
                <a:gd name="connsiteY221" fmla="*/ 143360 h 406947"/>
                <a:gd name="connsiteX222" fmla="*/ 53109 w 220578"/>
                <a:gd name="connsiteY222" fmla="*/ 144663 h 406947"/>
                <a:gd name="connsiteX223" fmla="*/ 49687 w 220578"/>
                <a:gd name="connsiteY223" fmla="*/ 146618 h 406947"/>
                <a:gd name="connsiteX224" fmla="*/ 48221 w 220578"/>
                <a:gd name="connsiteY224" fmla="*/ 151017 h 406947"/>
                <a:gd name="connsiteX225" fmla="*/ 46266 w 220578"/>
                <a:gd name="connsiteY225" fmla="*/ 151343 h 406947"/>
                <a:gd name="connsiteX226" fmla="*/ 46266 w 220578"/>
                <a:gd name="connsiteY226" fmla="*/ 151343 h 406947"/>
                <a:gd name="connsiteX227" fmla="*/ 38610 w 220578"/>
                <a:gd name="connsiteY227" fmla="*/ 178874 h 406947"/>
                <a:gd name="connsiteX228" fmla="*/ 48058 w 220578"/>
                <a:gd name="connsiteY228" fmla="*/ 176756 h 406947"/>
                <a:gd name="connsiteX229" fmla="*/ 48384 w 220578"/>
                <a:gd name="connsiteY229" fmla="*/ 178223 h 406947"/>
                <a:gd name="connsiteX230" fmla="*/ 52783 w 220578"/>
                <a:gd name="connsiteY230" fmla="*/ 174802 h 406947"/>
                <a:gd name="connsiteX231" fmla="*/ 50991 w 220578"/>
                <a:gd name="connsiteY231" fmla="*/ 170729 h 406947"/>
                <a:gd name="connsiteX232" fmla="*/ 47733 w 220578"/>
                <a:gd name="connsiteY232" fmla="*/ 170240 h 406947"/>
                <a:gd name="connsiteX233" fmla="*/ 43660 w 220578"/>
                <a:gd name="connsiteY233" fmla="*/ 165679 h 406947"/>
                <a:gd name="connsiteX234" fmla="*/ 39098 w 220578"/>
                <a:gd name="connsiteY234" fmla="*/ 168937 h 406947"/>
                <a:gd name="connsiteX235" fmla="*/ 45615 w 220578"/>
                <a:gd name="connsiteY235" fmla="*/ 172195 h 406947"/>
                <a:gd name="connsiteX236" fmla="*/ 41868 w 220578"/>
                <a:gd name="connsiteY236" fmla="*/ 174150 h 406947"/>
                <a:gd name="connsiteX237" fmla="*/ 42845 w 220578"/>
                <a:gd name="connsiteY237" fmla="*/ 175779 h 406947"/>
                <a:gd name="connsiteX238" fmla="*/ 38447 w 220578"/>
                <a:gd name="connsiteY238" fmla="*/ 178874 h 406947"/>
                <a:gd name="connsiteX239" fmla="*/ 38447 w 220578"/>
                <a:gd name="connsiteY239" fmla="*/ 178874 h 406947"/>
                <a:gd name="connsiteX240" fmla="*/ 45615 w 220578"/>
                <a:gd name="connsiteY240" fmla="*/ 196631 h 406947"/>
                <a:gd name="connsiteX241" fmla="*/ 43823 w 220578"/>
                <a:gd name="connsiteY241" fmla="*/ 192070 h 406947"/>
                <a:gd name="connsiteX242" fmla="*/ 52457 w 220578"/>
                <a:gd name="connsiteY242" fmla="*/ 183924 h 406947"/>
                <a:gd name="connsiteX243" fmla="*/ 48547 w 220578"/>
                <a:gd name="connsiteY243" fmla="*/ 192559 h 406947"/>
                <a:gd name="connsiteX244" fmla="*/ 45452 w 220578"/>
                <a:gd name="connsiteY244" fmla="*/ 196631 h 406947"/>
                <a:gd name="connsiteX245" fmla="*/ 45452 w 220578"/>
                <a:gd name="connsiteY245" fmla="*/ 196631 h 406947"/>
                <a:gd name="connsiteX246" fmla="*/ 39261 w 220578"/>
                <a:gd name="connsiteY246" fmla="*/ 202985 h 406947"/>
                <a:gd name="connsiteX247" fmla="*/ 44474 w 220578"/>
                <a:gd name="connsiteY247" fmla="*/ 199889 h 406947"/>
                <a:gd name="connsiteX248" fmla="*/ 42356 w 220578"/>
                <a:gd name="connsiteY248" fmla="*/ 191581 h 406947"/>
                <a:gd name="connsiteX249" fmla="*/ 35026 w 220578"/>
                <a:gd name="connsiteY249" fmla="*/ 194514 h 406947"/>
                <a:gd name="connsiteX250" fmla="*/ 35026 w 220578"/>
                <a:gd name="connsiteY250" fmla="*/ 201030 h 406947"/>
                <a:gd name="connsiteX251" fmla="*/ 39750 w 220578"/>
                <a:gd name="connsiteY251" fmla="*/ 198098 h 406947"/>
                <a:gd name="connsiteX252" fmla="*/ 39098 w 220578"/>
                <a:gd name="connsiteY252" fmla="*/ 202985 h 406947"/>
                <a:gd name="connsiteX253" fmla="*/ 39098 w 220578"/>
                <a:gd name="connsiteY253" fmla="*/ 202985 h 406947"/>
                <a:gd name="connsiteX254" fmla="*/ 57996 w 220578"/>
                <a:gd name="connsiteY254" fmla="*/ 202007 h 406947"/>
                <a:gd name="connsiteX255" fmla="*/ 59299 w 220578"/>
                <a:gd name="connsiteY255" fmla="*/ 209338 h 406947"/>
                <a:gd name="connsiteX256" fmla="*/ 64186 w 220578"/>
                <a:gd name="connsiteY256" fmla="*/ 211293 h 406947"/>
                <a:gd name="connsiteX257" fmla="*/ 65652 w 220578"/>
                <a:gd name="connsiteY257" fmla="*/ 206243 h 406947"/>
                <a:gd name="connsiteX258" fmla="*/ 62231 w 220578"/>
                <a:gd name="connsiteY258" fmla="*/ 199075 h 406947"/>
                <a:gd name="connsiteX259" fmla="*/ 58159 w 220578"/>
                <a:gd name="connsiteY259" fmla="*/ 202007 h 406947"/>
                <a:gd name="connsiteX260" fmla="*/ 58159 w 220578"/>
                <a:gd name="connsiteY260" fmla="*/ 202007 h 406947"/>
                <a:gd name="connsiteX261" fmla="*/ 74938 w 220578"/>
                <a:gd name="connsiteY261" fmla="*/ 286231 h 406947"/>
                <a:gd name="connsiteX262" fmla="*/ 81943 w 220578"/>
                <a:gd name="connsiteY262" fmla="*/ 289815 h 406947"/>
                <a:gd name="connsiteX263" fmla="*/ 87971 w 220578"/>
                <a:gd name="connsiteY263" fmla="*/ 285091 h 406947"/>
                <a:gd name="connsiteX264" fmla="*/ 83572 w 220578"/>
                <a:gd name="connsiteY264" fmla="*/ 285580 h 406947"/>
                <a:gd name="connsiteX265" fmla="*/ 81618 w 220578"/>
                <a:gd name="connsiteY265" fmla="*/ 281344 h 406947"/>
                <a:gd name="connsiteX266" fmla="*/ 76242 w 220578"/>
                <a:gd name="connsiteY266" fmla="*/ 281996 h 406947"/>
                <a:gd name="connsiteX267" fmla="*/ 74938 w 220578"/>
                <a:gd name="connsiteY267" fmla="*/ 286231 h 406947"/>
                <a:gd name="connsiteX268" fmla="*/ 74938 w 220578"/>
                <a:gd name="connsiteY268" fmla="*/ 286231 h 406947"/>
                <a:gd name="connsiteX269" fmla="*/ 70051 w 220578"/>
                <a:gd name="connsiteY269" fmla="*/ 259026 h 406947"/>
                <a:gd name="connsiteX270" fmla="*/ 72006 w 220578"/>
                <a:gd name="connsiteY270" fmla="*/ 252509 h 406947"/>
                <a:gd name="connsiteX271" fmla="*/ 80314 w 220578"/>
                <a:gd name="connsiteY271" fmla="*/ 245341 h 406947"/>
                <a:gd name="connsiteX272" fmla="*/ 79500 w 220578"/>
                <a:gd name="connsiteY272" fmla="*/ 249740 h 406947"/>
                <a:gd name="connsiteX273" fmla="*/ 80477 w 220578"/>
                <a:gd name="connsiteY273" fmla="*/ 252346 h 406947"/>
                <a:gd name="connsiteX274" fmla="*/ 74450 w 220578"/>
                <a:gd name="connsiteY274" fmla="*/ 258537 h 406947"/>
                <a:gd name="connsiteX275" fmla="*/ 70214 w 220578"/>
                <a:gd name="connsiteY275" fmla="*/ 259189 h 406947"/>
                <a:gd name="connsiteX276" fmla="*/ 70214 w 220578"/>
                <a:gd name="connsiteY276" fmla="*/ 259189 h 406947"/>
                <a:gd name="connsiteX277" fmla="*/ 60439 w 220578"/>
                <a:gd name="connsiteY277" fmla="*/ 404503 h 406947"/>
                <a:gd name="connsiteX278" fmla="*/ 63209 w 220578"/>
                <a:gd name="connsiteY278" fmla="*/ 401897 h 406947"/>
                <a:gd name="connsiteX279" fmla="*/ 62068 w 220578"/>
                <a:gd name="connsiteY279" fmla="*/ 399942 h 406947"/>
                <a:gd name="connsiteX280" fmla="*/ 64512 w 220578"/>
                <a:gd name="connsiteY280" fmla="*/ 396521 h 406947"/>
                <a:gd name="connsiteX281" fmla="*/ 65652 w 220578"/>
                <a:gd name="connsiteY281" fmla="*/ 398150 h 406947"/>
                <a:gd name="connsiteX282" fmla="*/ 68748 w 220578"/>
                <a:gd name="connsiteY282" fmla="*/ 395218 h 406947"/>
                <a:gd name="connsiteX283" fmla="*/ 70703 w 220578"/>
                <a:gd name="connsiteY283" fmla="*/ 395218 h 406947"/>
                <a:gd name="connsiteX284" fmla="*/ 72169 w 220578"/>
                <a:gd name="connsiteY284" fmla="*/ 391471 h 406947"/>
                <a:gd name="connsiteX285" fmla="*/ 76893 w 220578"/>
                <a:gd name="connsiteY285" fmla="*/ 392774 h 406947"/>
                <a:gd name="connsiteX286" fmla="*/ 80640 w 220578"/>
                <a:gd name="connsiteY286" fmla="*/ 391145 h 406947"/>
                <a:gd name="connsiteX287" fmla="*/ 83572 w 220578"/>
                <a:gd name="connsiteY287" fmla="*/ 391634 h 406947"/>
                <a:gd name="connsiteX288" fmla="*/ 85690 w 220578"/>
                <a:gd name="connsiteY288" fmla="*/ 390493 h 406947"/>
                <a:gd name="connsiteX289" fmla="*/ 87808 w 220578"/>
                <a:gd name="connsiteY289" fmla="*/ 393263 h 406947"/>
                <a:gd name="connsiteX290" fmla="*/ 90252 w 220578"/>
                <a:gd name="connsiteY290" fmla="*/ 393263 h 406947"/>
                <a:gd name="connsiteX291" fmla="*/ 93673 w 220578"/>
                <a:gd name="connsiteY291" fmla="*/ 396032 h 406947"/>
                <a:gd name="connsiteX292" fmla="*/ 97745 w 220578"/>
                <a:gd name="connsiteY292" fmla="*/ 396032 h 406947"/>
                <a:gd name="connsiteX293" fmla="*/ 96931 w 220578"/>
                <a:gd name="connsiteY293" fmla="*/ 393100 h 406947"/>
                <a:gd name="connsiteX294" fmla="*/ 100189 w 220578"/>
                <a:gd name="connsiteY294" fmla="*/ 391634 h 406947"/>
                <a:gd name="connsiteX295" fmla="*/ 101004 w 220578"/>
                <a:gd name="connsiteY295" fmla="*/ 389190 h 406947"/>
                <a:gd name="connsiteX296" fmla="*/ 100189 w 220578"/>
                <a:gd name="connsiteY296" fmla="*/ 384791 h 406947"/>
                <a:gd name="connsiteX297" fmla="*/ 102959 w 220578"/>
                <a:gd name="connsiteY297" fmla="*/ 382022 h 406947"/>
                <a:gd name="connsiteX298" fmla="*/ 105239 w 220578"/>
                <a:gd name="connsiteY298" fmla="*/ 381696 h 406947"/>
                <a:gd name="connsiteX299" fmla="*/ 106217 w 220578"/>
                <a:gd name="connsiteY299" fmla="*/ 379904 h 406947"/>
                <a:gd name="connsiteX300" fmla="*/ 115340 w 220578"/>
                <a:gd name="connsiteY300" fmla="*/ 377786 h 406947"/>
                <a:gd name="connsiteX301" fmla="*/ 120064 w 220578"/>
                <a:gd name="connsiteY301" fmla="*/ 378112 h 406947"/>
                <a:gd name="connsiteX302" fmla="*/ 125603 w 220578"/>
                <a:gd name="connsiteY302" fmla="*/ 381859 h 406947"/>
                <a:gd name="connsiteX303" fmla="*/ 127558 w 220578"/>
                <a:gd name="connsiteY303" fmla="*/ 381044 h 406947"/>
                <a:gd name="connsiteX304" fmla="*/ 133585 w 220578"/>
                <a:gd name="connsiteY304" fmla="*/ 381370 h 406947"/>
                <a:gd name="connsiteX305" fmla="*/ 136844 w 220578"/>
                <a:gd name="connsiteY305" fmla="*/ 382511 h 406947"/>
                <a:gd name="connsiteX306" fmla="*/ 138310 w 220578"/>
                <a:gd name="connsiteY306" fmla="*/ 378601 h 406947"/>
                <a:gd name="connsiteX307" fmla="*/ 143849 w 220578"/>
                <a:gd name="connsiteY307" fmla="*/ 375831 h 406947"/>
                <a:gd name="connsiteX308" fmla="*/ 147596 w 220578"/>
                <a:gd name="connsiteY308" fmla="*/ 376972 h 406947"/>
                <a:gd name="connsiteX309" fmla="*/ 152972 w 220578"/>
                <a:gd name="connsiteY309" fmla="*/ 373388 h 406947"/>
                <a:gd name="connsiteX310" fmla="*/ 156719 w 220578"/>
                <a:gd name="connsiteY310" fmla="*/ 374202 h 406947"/>
                <a:gd name="connsiteX311" fmla="*/ 158674 w 220578"/>
                <a:gd name="connsiteY311" fmla="*/ 373876 h 406947"/>
                <a:gd name="connsiteX312" fmla="*/ 161280 w 220578"/>
                <a:gd name="connsiteY312" fmla="*/ 371922 h 406947"/>
                <a:gd name="connsiteX313" fmla="*/ 162095 w 220578"/>
                <a:gd name="connsiteY313" fmla="*/ 373876 h 406947"/>
                <a:gd name="connsiteX314" fmla="*/ 165353 w 220578"/>
                <a:gd name="connsiteY314" fmla="*/ 375668 h 406947"/>
                <a:gd name="connsiteX315" fmla="*/ 169100 w 220578"/>
                <a:gd name="connsiteY315" fmla="*/ 373225 h 406947"/>
                <a:gd name="connsiteX316" fmla="*/ 177408 w 220578"/>
                <a:gd name="connsiteY316" fmla="*/ 373225 h 406947"/>
                <a:gd name="connsiteX317" fmla="*/ 182621 w 220578"/>
                <a:gd name="connsiteY317" fmla="*/ 371922 h 406947"/>
                <a:gd name="connsiteX318" fmla="*/ 187671 w 220578"/>
                <a:gd name="connsiteY318" fmla="*/ 373551 h 406947"/>
                <a:gd name="connsiteX319" fmla="*/ 190115 w 220578"/>
                <a:gd name="connsiteY319" fmla="*/ 374039 h 406947"/>
                <a:gd name="connsiteX320" fmla="*/ 193862 w 220578"/>
                <a:gd name="connsiteY320" fmla="*/ 370944 h 406947"/>
                <a:gd name="connsiteX321" fmla="*/ 198097 w 220578"/>
                <a:gd name="connsiteY321" fmla="*/ 370130 h 406947"/>
                <a:gd name="connsiteX322" fmla="*/ 201844 w 220578"/>
                <a:gd name="connsiteY322" fmla="*/ 366709 h 406947"/>
                <a:gd name="connsiteX323" fmla="*/ 204288 w 220578"/>
                <a:gd name="connsiteY323" fmla="*/ 366709 h 406947"/>
                <a:gd name="connsiteX324" fmla="*/ 206895 w 220578"/>
                <a:gd name="connsiteY324" fmla="*/ 367034 h 406947"/>
                <a:gd name="connsiteX325" fmla="*/ 206243 w 220578"/>
                <a:gd name="connsiteY325" fmla="*/ 364265 h 406947"/>
                <a:gd name="connsiteX326" fmla="*/ 212108 w 220578"/>
                <a:gd name="connsiteY326" fmla="*/ 360192 h 406947"/>
                <a:gd name="connsiteX327" fmla="*/ 215855 w 220578"/>
                <a:gd name="connsiteY327" fmla="*/ 359378 h 406947"/>
                <a:gd name="connsiteX328" fmla="*/ 216181 w 220578"/>
                <a:gd name="connsiteY328" fmla="*/ 355631 h 406947"/>
                <a:gd name="connsiteX329" fmla="*/ 215040 w 220578"/>
                <a:gd name="connsiteY329" fmla="*/ 353024 h 406947"/>
                <a:gd name="connsiteX330" fmla="*/ 216181 w 220578"/>
                <a:gd name="connsiteY330" fmla="*/ 349929 h 406947"/>
                <a:gd name="connsiteX331" fmla="*/ 209501 w 220578"/>
                <a:gd name="connsiteY331" fmla="*/ 349929 h 406947"/>
                <a:gd name="connsiteX332" fmla="*/ 204777 w 220578"/>
                <a:gd name="connsiteY332" fmla="*/ 351884 h 406947"/>
                <a:gd name="connsiteX333" fmla="*/ 202008 w 220578"/>
                <a:gd name="connsiteY333" fmla="*/ 352372 h 406947"/>
                <a:gd name="connsiteX334" fmla="*/ 197609 w 220578"/>
                <a:gd name="connsiteY334" fmla="*/ 350743 h 406947"/>
                <a:gd name="connsiteX335" fmla="*/ 195980 w 220578"/>
                <a:gd name="connsiteY335" fmla="*/ 350255 h 406947"/>
                <a:gd name="connsiteX336" fmla="*/ 197446 w 220578"/>
                <a:gd name="connsiteY336" fmla="*/ 348789 h 406947"/>
                <a:gd name="connsiteX337" fmla="*/ 198749 w 220578"/>
                <a:gd name="connsiteY337" fmla="*/ 348789 h 406947"/>
                <a:gd name="connsiteX338" fmla="*/ 199238 w 220578"/>
                <a:gd name="connsiteY338" fmla="*/ 347648 h 406947"/>
                <a:gd name="connsiteX339" fmla="*/ 195165 w 220578"/>
                <a:gd name="connsiteY339" fmla="*/ 346671 h 406947"/>
                <a:gd name="connsiteX340" fmla="*/ 191744 w 220578"/>
                <a:gd name="connsiteY340" fmla="*/ 347974 h 406947"/>
                <a:gd name="connsiteX341" fmla="*/ 196631 w 220578"/>
                <a:gd name="connsiteY341" fmla="*/ 344553 h 406947"/>
                <a:gd name="connsiteX342" fmla="*/ 199890 w 220578"/>
                <a:gd name="connsiteY342" fmla="*/ 344879 h 406947"/>
                <a:gd name="connsiteX343" fmla="*/ 203799 w 220578"/>
                <a:gd name="connsiteY343" fmla="*/ 342924 h 406947"/>
                <a:gd name="connsiteX344" fmla="*/ 202659 w 220578"/>
                <a:gd name="connsiteY344" fmla="*/ 339666 h 406947"/>
                <a:gd name="connsiteX345" fmla="*/ 198749 w 220578"/>
                <a:gd name="connsiteY345" fmla="*/ 339666 h 406947"/>
                <a:gd name="connsiteX346" fmla="*/ 201681 w 220578"/>
                <a:gd name="connsiteY346" fmla="*/ 337059 h 406947"/>
                <a:gd name="connsiteX347" fmla="*/ 203799 w 220578"/>
                <a:gd name="connsiteY347" fmla="*/ 334941 h 406947"/>
                <a:gd name="connsiteX348" fmla="*/ 206080 w 220578"/>
                <a:gd name="connsiteY348" fmla="*/ 336896 h 406947"/>
                <a:gd name="connsiteX349" fmla="*/ 209664 w 220578"/>
                <a:gd name="connsiteY349" fmla="*/ 334290 h 406947"/>
                <a:gd name="connsiteX350" fmla="*/ 211130 w 220578"/>
                <a:gd name="connsiteY350" fmla="*/ 332009 h 406947"/>
                <a:gd name="connsiteX351" fmla="*/ 209338 w 220578"/>
                <a:gd name="connsiteY351" fmla="*/ 331683 h 406947"/>
                <a:gd name="connsiteX352" fmla="*/ 210479 w 220578"/>
                <a:gd name="connsiteY352" fmla="*/ 329891 h 406947"/>
                <a:gd name="connsiteX353" fmla="*/ 206406 w 220578"/>
                <a:gd name="connsiteY353" fmla="*/ 329402 h 406947"/>
                <a:gd name="connsiteX354" fmla="*/ 208035 w 220578"/>
                <a:gd name="connsiteY354" fmla="*/ 326633 h 406947"/>
                <a:gd name="connsiteX355" fmla="*/ 210642 w 220578"/>
                <a:gd name="connsiteY355" fmla="*/ 327284 h 406947"/>
                <a:gd name="connsiteX356" fmla="*/ 211456 w 220578"/>
                <a:gd name="connsiteY356" fmla="*/ 329239 h 406947"/>
                <a:gd name="connsiteX357" fmla="*/ 214388 w 220578"/>
                <a:gd name="connsiteY357" fmla="*/ 325330 h 406947"/>
                <a:gd name="connsiteX358" fmla="*/ 217321 w 220578"/>
                <a:gd name="connsiteY358" fmla="*/ 324189 h 406947"/>
                <a:gd name="connsiteX359" fmla="*/ 217810 w 220578"/>
                <a:gd name="connsiteY359" fmla="*/ 316858 h 406947"/>
                <a:gd name="connsiteX360" fmla="*/ 220579 w 220578"/>
                <a:gd name="connsiteY360" fmla="*/ 310016 h 406947"/>
                <a:gd name="connsiteX361" fmla="*/ 218461 w 220578"/>
                <a:gd name="connsiteY361" fmla="*/ 307247 h 406947"/>
                <a:gd name="connsiteX362" fmla="*/ 217321 w 220578"/>
                <a:gd name="connsiteY362" fmla="*/ 300893 h 406947"/>
                <a:gd name="connsiteX363" fmla="*/ 208849 w 220578"/>
                <a:gd name="connsiteY363" fmla="*/ 294214 h 406947"/>
                <a:gd name="connsiteX364" fmla="*/ 196957 w 220578"/>
                <a:gd name="connsiteY364" fmla="*/ 293725 h 406947"/>
                <a:gd name="connsiteX365" fmla="*/ 189626 w 220578"/>
                <a:gd name="connsiteY365" fmla="*/ 293725 h 406947"/>
                <a:gd name="connsiteX366" fmla="*/ 188974 w 220578"/>
                <a:gd name="connsiteY366" fmla="*/ 299427 h 406947"/>
                <a:gd name="connsiteX367" fmla="*/ 187020 w 220578"/>
                <a:gd name="connsiteY367" fmla="*/ 302522 h 406947"/>
                <a:gd name="connsiteX368" fmla="*/ 183110 w 220578"/>
                <a:gd name="connsiteY368" fmla="*/ 298124 h 406947"/>
                <a:gd name="connsiteX369" fmla="*/ 178385 w 220578"/>
                <a:gd name="connsiteY369" fmla="*/ 296983 h 406947"/>
                <a:gd name="connsiteX370" fmla="*/ 185717 w 220578"/>
                <a:gd name="connsiteY370" fmla="*/ 289652 h 406947"/>
                <a:gd name="connsiteX371" fmla="*/ 185717 w 220578"/>
                <a:gd name="connsiteY371" fmla="*/ 285091 h 406947"/>
                <a:gd name="connsiteX372" fmla="*/ 179852 w 220578"/>
                <a:gd name="connsiteY372" fmla="*/ 275642 h 406947"/>
                <a:gd name="connsiteX373" fmla="*/ 177571 w 220578"/>
                <a:gd name="connsiteY373" fmla="*/ 275316 h 406947"/>
                <a:gd name="connsiteX374" fmla="*/ 172521 w 220578"/>
                <a:gd name="connsiteY374" fmla="*/ 272384 h 406947"/>
                <a:gd name="connsiteX375" fmla="*/ 170403 w 220578"/>
                <a:gd name="connsiteY375" fmla="*/ 268800 h 406947"/>
                <a:gd name="connsiteX376" fmla="*/ 167796 w 220578"/>
                <a:gd name="connsiteY376" fmla="*/ 269289 h 406947"/>
                <a:gd name="connsiteX377" fmla="*/ 166005 w 220578"/>
                <a:gd name="connsiteY377" fmla="*/ 269940 h 406947"/>
                <a:gd name="connsiteX378" fmla="*/ 162909 w 220578"/>
                <a:gd name="connsiteY378" fmla="*/ 268800 h 406947"/>
                <a:gd name="connsiteX379" fmla="*/ 161117 w 220578"/>
                <a:gd name="connsiteY379" fmla="*/ 268800 h 406947"/>
                <a:gd name="connsiteX380" fmla="*/ 164538 w 220578"/>
                <a:gd name="connsiteY380" fmla="*/ 267986 h 406947"/>
                <a:gd name="connsiteX381" fmla="*/ 166819 w 220578"/>
                <a:gd name="connsiteY381" fmla="*/ 268637 h 406947"/>
                <a:gd name="connsiteX382" fmla="*/ 170566 w 220578"/>
                <a:gd name="connsiteY382" fmla="*/ 267823 h 406947"/>
                <a:gd name="connsiteX383" fmla="*/ 172847 w 220578"/>
                <a:gd name="connsiteY383" fmla="*/ 268963 h 406947"/>
                <a:gd name="connsiteX384" fmla="*/ 174801 w 220578"/>
                <a:gd name="connsiteY384" fmla="*/ 271081 h 406947"/>
                <a:gd name="connsiteX385" fmla="*/ 177408 w 220578"/>
                <a:gd name="connsiteY385" fmla="*/ 270592 h 406947"/>
                <a:gd name="connsiteX386" fmla="*/ 179852 w 220578"/>
                <a:gd name="connsiteY386" fmla="*/ 271244 h 406947"/>
                <a:gd name="connsiteX387" fmla="*/ 173010 w 220578"/>
                <a:gd name="connsiteY387" fmla="*/ 262772 h 406947"/>
                <a:gd name="connsiteX388" fmla="*/ 169751 w 220578"/>
                <a:gd name="connsiteY388" fmla="*/ 258700 h 406947"/>
                <a:gd name="connsiteX389" fmla="*/ 171706 w 220578"/>
                <a:gd name="connsiteY389" fmla="*/ 255442 h 406947"/>
                <a:gd name="connsiteX390" fmla="*/ 173498 w 220578"/>
                <a:gd name="connsiteY390" fmla="*/ 254790 h 406947"/>
                <a:gd name="connsiteX391" fmla="*/ 170077 w 220578"/>
                <a:gd name="connsiteY391" fmla="*/ 252998 h 406947"/>
                <a:gd name="connsiteX392" fmla="*/ 168611 w 220578"/>
                <a:gd name="connsiteY392" fmla="*/ 250391 h 406947"/>
                <a:gd name="connsiteX393" fmla="*/ 167145 w 220578"/>
                <a:gd name="connsiteY393" fmla="*/ 250391 h 406947"/>
                <a:gd name="connsiteX394" fmla="*/ 163072 w 220578"/>
                <a:gd name="connsiteY394" fmla="*/ 242898 h 406947"/>
                <a:gd name="connsiteX395" fmla="*/ 157044 w 220578"/>
                <a:gd name="connsiteY395" fmla="*/ 239802 h 406947"/>
                <a:gd name="connsiteX396" fmla="*/ 148573 w 220578"/>
                <a:gd name="connsiteY396" fmla="*/ 237847 h 406947"/>
                <a:gd name="connsiteX397" fmla="*/ 148247 w 220578"/>
                <a:gd name="connsiteY397" fmla="*/ 234426 h 406947"/>
                <a:gd name="connsiteX398" fmla="*/ 146292 w 220578"/>
                <a:gd name="connsiteY398" fmla="*/ 233286 h 406947"/>
                <a:gd name="connsiteX399" fmla="*/ 143523 w 220578"/>
                <a:gd name="connsiteY399" fmla="*/ 224000 h 406947"/>
                <a:gd name="connsiteX400" fmla="*/ 140428 w 220578"/>
                <a:gd name="connsiteY400" fmla="*/ 218950 h 406947"/>
                <a:gd name="connsiteX401" fmla="*/ 138310 w 220578"/>
                <a:gd name="connsiteY401" fmla="*/ 207058 h 406947"/>
                <a:gd name="connsiteX402" fmla="*/ 135866 w 220578"/>
                <a:gd name="connsiteY402" fmla="*/ 203148 h 406947"/>
                <a:gd name="connsiteX403" fmla="*/ 133585 w 220578"/>
                <a:gd name="connsiteY403" fmla="*/ 203148 h 406947"/>
                <a:gd name="connsiteX404" fmla="*/ 126418 w 220578"/>
                <a:gd name="connsiteY404" fmla="*/ 192559 h 406947"/>
                <a:gd name="connsiteX405" fmla="*/ 122182 w 220578"/>
                <a:gd name="connsiteY405" fmla="*/ 191581 h 406947"/>
                <a:gd name="connsiteX406" fmla="*/ 118924 w 220578"/>
                <a:gd name="connsiteY406" fmla="*/ 188812 h 406947"/>
                <a:gd name="connsiteX407" fmla="*/ 113548 w 220578"/>
                <a:gd name="connsiteY407" fmla="*/ 186694 h 406947"/>
                <a:gd name="connsiteX408" fmla="*/ 111430 w 220578"/>
                <a:gd name="connsiteY408" fmla="*/ 188649 h 406947"/>
                <a:gd name="connsiteX409" fmla="*/ 107194 w 220578"/>
                <a:gd name="connsiteY409" fmla="*/ 191418 h 406947"/>
                <a:gd name="connsiteX410" fmla="*/ 101167 w 220578"/>
                <a:gd name="connsiteY410" fmla="*/ 189463 h 406947"/>
                <a:gd name="connsiteX411" fmla="*/ 98234 w 220578"/>
                <a:gd name="connsiteY411" fmla="*/ 189789 h 406947"/>
                <a:gd name="connsiteX412" fmla="*/ 93347 w 220578"/>
                <a:gd name="connsiteY412" fmla="*/ 188160 h 406947"/>
                <a:gd name="connsiteX413" fmla="*/ 91881 w 220578"/>
                <a:gd name="connsiteY413" fmla="*/ 185554 h 406947"/>
                <a:gd name="connsiteX414" fmla="*/ 94813 w 220578"/>
                <a:gd name="connsiteY414" fmla="*/ 187020 h 406947"/>
                <a:gd name="connsiteX415" fmla="*/ 100678 w 220578"/>
                <a:gd name="connsiteY415" fmla="*/ 187508 h 406947"/>
                <a:gd name="connsiteX416" fmla="*/ 105565 w 220578"/>
                <a:gd name="connsiteY416" fmla="*/ 185879 h 406947"/>
                <a:gd name="connsiteX417" fmla="*/ 107031 w 220578"/>
                <a:gd name="connsiteY417" fmla="*/ 181969 h 406947"/>
                <a:gd name="connsiteX418" fmla="*/ 111919 w 220578"/>
                <a:gd name="connsiteY418" fmla="*/ 181969 h 406947"/>
                <a:gd name="connsiteX419" fmla="*/ 116317 w 220578"/>
                <a:gd name="connsiteY419" fmla="*/ 178711 h 406947"/>
                <a:gd name="connsiteX420" fmla="*/ 111756 w 220578"/>
                <a:gd name="connsiteY420" fmla="*/ 176593 h 406947"/>
                <a:gd name="connsiteX421" fmla="*/ 111430 w 220578"/>
                <a:gd name="connsiteY421" fmla="*/ 173987 h 406947"/>
                <a:gd name="connsiteX422" fmla="*/ 109638 w 220578"/>
                <a:gd name="connsiteY422" fmla="*/ 172521 h 406947"/>
                <a:gd name="connsiteX423" fmla="*/ 103284 w 220578"/>
                <a:gd name="connsiteY423" fmla="*/ 175942 h 406947"/>
                <a:gd name="connsiteX424" fmla="*/ 102307 w 220578"/>
                <a:gd name="connsiteY424" fmla="*/ 174639 h 406947"/>
                <a:gd name="connsiteX425" fmla="*/ 107194 w 220578"/>
                <a:gd name="connsiteY425" fmla="*/ 171055 h 406947"/>
                <a:gd name="connsiteX426" fmla="*/ 113059 w 220578"/>
                <a:gd name="connsiteY426" fmla="*/ 171380 h 406947"/>
                <a:gd name="connsiteX427" fmla="*/ 116480 w 220578"/>
                <a:gd name="connsiteY427" fmla="*/ 168448 h 406947"/>
                <a:gd name="connsiteX428" fmla="*/ 117132 w 220578"/>
                <a:gd name="connsiteY428" fmla="*/ 165842 h 406947"/>
                <a:gd name="connsiteX429" fmla="*/ 119412 w 220578"/>
                <a:gd name="connsiteY429" fmla="*/ 164375 h 406947"/>
                <a:gd name="connsiteX430" fmla="*/ 122834 w 220578"/>
                <a:gd name="connsiteY430" fmla="*/ 157859 h 406947"/>
                <a:gd name="connsiteX431" fmla="*/ 124951 w 220578"/>
                <a:gd name="connsiteY431" fmla="*/ 154764 h 406947"/>
                <a:gd name="connsiteX432" fmla="*/ 124626 w 220578"/>
                <a:gd name="connsiteY432" fmla="*/ 152646 h 406947"/>
                <a:gd name="connsiteX433" fmla="*/ 127069 w 220578"/>
                <a:gd name="connsiteY433" fmla="*/ 148247 h 406947"/>
                <a:gd name="connsiteX434" fmla="*/ 126255 w 220578"/>
                <a:gd name="connsiteY434" fmla="*/ 146618 h 406947"/>
                <a:gd name="connsiteX435" fmla="*/ 128372 w 220578"/>
                <a:gd name="connsiteY435" fmla="*/ 140591 h 406947"/>
                <a:gd name="connsiteX436" fmla="*/ 132445 w 220578"/>
                <a:gd name="connsiteY436" fmla="*/ 137169 h 406947"/>
                <a:gd name="connsiteX437" fmla="*/ 132445 w 220578"/>
                <a:gd name="connsiteY437" fmla="*/ 133260 h 406947"/>
                <a:gd name="connsiteX438" fmla="*/ 126418 w 220578"/>
                <a:gd name="connsiteY438" fmla="*/ 127721 h 406947"/>
                <a:gd name="connsiteX439" fmla="*/ 125114 w 220578"/>
                <a:gd name="connsiteY439" fmla="*/ 128698 h 406947"/>
                <a:gd name="connsiteX440" fmla="*/ 114851 w 220578"/>
                <a:gd name="connsiteY440" fmla="*/ 129024 h 406947"/>
                <a:gd name="connsiteX441" fmla="*/ 108498 w 220578"/>
                <a:gd name="connsiteY441" fmla="*/ 127884 h 406947"/>
                <a:gd name="connsiteX442" fmla="*/ 106706 w 220578"/>
                <a:gd name="connsiteY442" fmla="*/ 129187 h 406947"/>
                <a:gd name="connsiteX443" fmla="*/ 103610 w 220578"/>
                <a:gd name="connsiteY443" fmla="*/ 129187 h 406947"/>
                <a:gd name="connsiteX444" fmla="*/ 99701 w 220578"/>
                <a:gd name="connsiteY444" fmla="*/ 127884 h 406947"/>
                <a:gd name="connsiteX445" fmla="*/ 96931 w 220578"/>
                <a:gd name="connsiteY445" fmla="*/ 127884 h 406947"/>
                <a:gd name="connsiteX446" fmla="*/ 96605 w 220578"/>
                <a:gd name="connsiteY446" fmla="*/ 129350 h 406947"/>
                <a:gd name="connsiteX447" fmla="*/ 92695 w 220578"/>
                <a:gd name="connsiteY447" fmla="*/ 130490 h 406947"/>
                <a:gd name="connsiteX448" fmla="*/ 88460 w 220578"/>
                <a:gd name="connsiteY448" fmla="*/ 132771 h 406947"/>
                <a:gd name="connsiteX449" fmla="*/ 86831 w 220578"/>
                <a:gd name="connsiteY449" fmla="*/ 132771 h 406947"/>
                <a:gd name="connsiteX450" fmla="*/ 84061 w 220578"/>
                <a:gd name="connsiteY450" fmla="*/ 134889 h 406947"/>
                <a:gd name="connsiteX451" fmla="*/ 83247 w 220578"/>
                <a:gd name="connsiteY451" fmla="*/ 134074 h 406947"/>
                <a:gd name="connsiteX452" fmla="*/ 86993 w 220578"/>
                <a:gd name="connsiteY452" fmla="*/ 129676 h 406947"/>
                <a:gd name="connsiteX453" fmla="*/ 90903 w 220578"/>
                <a:gd name="connsiteY453" fmla="*/ 123322 h 406947"/>
                <a:gd name="connsiteX454" fmla="*/ 87971 w 220578"/>
                <a:gd name="connsiteY454" fmla="*/ 124951 h 406947"/>
                <a:gd name="connsiteX455" fmla="*/ 84387 w 220578"/>
                <a:gd name="connsiteY455" fmla="*/ 123648 h 406947"/>
                <a:gd name="connsiteX456" fmla="*/ 86505 w 220578"/>
                <a:gd name="connsiteY456" fmla="*/ 122345 h 406947"/>
                <a:gd name="connsiteX457" fmla="*/ 87319 w 220578"/>
                <a:gd name="connsiteY457" fmla="*/ 119412 h 406947"/>
                <a:gd name="connsiteX458" fmla="*/ 97257 w 220578"/>
                <a:gd name="connsiteY458" fmla="*/ 111919 h 406947"/>
                <a:gd name="connsiteX459" fmla="*/ 100189 w 220578"/>
                <a:gd name="connsiteY459" fmla="*/ 107031 h 406947"/>
                <a:gd name="connsiteX460" fmla="*/ 103610 w 220578"/>
                <a:gd name="connsiteY460" fmla="*/ 105891 h 406947"/>
                <a:gd name="connsiteX461" fmla="*/ 105239 w 220578"/>
                <a:gd name="connsiteY461" fmla="*/ 101492 h 406947"/>
                <a:gd name="connsiteX462" fmla="*/ 103447 w 220578"/>
                <a:gd name="connsiteY462" fmla="*/ 99538 h 406947"/>
                <a:gd name="connsiteX463" fmla="*/ 105402 w 220578"/>
                <a:gd name="connsiteY463" fmla="*/ 96442 h 406947"/>
                <a:gd name="connsiteX464" fmla="*/ 105402 w 220578"/>
                <a:gd name="connsiteY464" fmla="*/ 94487 h 406947"/>
                <a:gd name="connsiteX465" fmla="*/ 100189 w 220578"/>
                <a:gd name="connsiteY465" fmla="*/ 94487 h 406947"/>
                <a:gd name="connsiteX466" fmla="*/ 98234 w 220578"/>
                <a:gd name="connsiteY466" fmla="*/ 96605 h 406947"/>
                <a:gd name="connsiteX467" fmla="*/ 94976 w 220578"/>
                <a:gd name="connsiteY467" fmla="*/ 95628 h 406947"/>
                <a:gd name="connsiteX468" fmla="*/ 90089 w 220578"/>
                <a:gd name="connsiteY468" fmla="*/ 97745 h 406947"/>
                <a:gd name="connsiteX469" fmla="*/ 85690 w 220578"/>
                <a:gd name="connsiteY469" fmla="*/ 97257 h 406947"/>
                <a:gd name="connsiteX470" fmla="*/ 81943 w 220578"/>
                <a:gd name="connsiteY470" fmla="*/ 98886 h 406947"/>
                <a:gd name="connsiteX471" fmla="*/ 79826 w 220578"/>
                <a:gd name="connsiteY471" fmla="*/ 98886 h 406947"/>
                <a:gd name="connsiteX472" fmla="*/ 77545 w 220578"/>
                <a:gd name="connsiteY472" fmla="*/ 101004 h 406947"/>
                <a:gd name="connsiteX473" fmla="*/ 78034 w 220578"/>
                <a:gd name="connsiteY473" fmla="*/ 98723 h 406947"/>
                <a:gd name="connsiteX474" fmla="*/ 76079 w 220578"/>
                <a:gd name="connsiteY474" fmla="*/ 97908 h 406947"/>
                <a:gd name="connsiteX475" fmla="*/ 72006 w 220578"/>
                <a:gd name="connsiteY475" fmla="*/ 101492 h 406947"/>
                <a:gd name="connsiteX476" fmla="*/ 73309 w 220578"/>
                <a:gd name="connsiteY476" fmla="*/ 98234 h 406947"/>
                <a:gd name="connsiteX477" fmla="*/ 67607 w 220578"/>
                <a:gd name="connsiteY477" fmla="*/ 95628 h 406947"/>
                <a:gd name="connsiteX478" fmla="*/ 66630 w 220578"/>
                <a:gd name="connsiteY478" fmla="*/ 99212 h 406947"/>
                <a:gd name="connsiteX479" fmla="*/ 64675 w 220578"/>
                <a:gd name="connsiteY479" fmla="*/ 100678 h 406947"/>
                <a:gd name="connsiteX480" fmla="*/ 65327 w 220578"/>
                <a:gd name="connsiteY480" fmla="*/ 103936 h 406947"/>
                <a:gd name="connsiteX481" fmla="*/ 64186 w 220578"/>
                <a:gd name="connsiteY481" fmla="*/ 103936 h 406947"/>
                <a:gd name="connsiteX482" fmla="*/ 64349 w 220578"/>
                <a:gd name="connsiteY482" fmla="*/ 108009 h 406947"/>
                <a:gd name="connsiteX483" fmla="*/ 60114 w 220578"/>
                <a:gd name="connsiteY483" fmla="*/ 108986 h 406947"/>
                <a:gd name="connsiteX484" fmla="*/ 62068 w 220578"/>
                <a:gd name="connsiteY484" fmla="*/ 112407 h 406947"/>
                <a:gd name="connsiteX485" fmla="*/ 60276 w 220578"/>
                <a:gd name="connsiteY485" fmla="*/ 115828 h 406947"/>
                <a:gd name="connsiteX486" fmla="*/ 58322 w 220578"/>
                <a:gd name="connsiteY486" fmla="*/ 115828 h 406947"/>
                <a:gd name="connsiteX487" fmla="*/ 63209 w 220578"/>
                <a:gd name="connsiteY487" fmla="*/ 120390 h 406947"/>
                <a:gd name="connsiteX488" fmla="*/ 65001 w 220578"/>
                <a:gd name="connsiteY488" fmla="*/ 123485 h 406947"/>
                <a:gd name="connsiteX489" fmla="*/ 59951 w 220578"/>
                <a:gd name="connsiteY489" fmla="*/ 120879 h 406947"/>
                <a:gd name="connsiteX490" fmla="*/ 58159 w 220578"/>
                <a:gd name="connsiteY490" fmla="*/ 122508 h 406947"/>
                <a:gd name="connsiteX491" fmla="*/ 54412 w 220578"/>
                <a:gd name="connsiteY491" fmla="*/ 120064 h 406947"/>
                <a:gd name="connsiteX492" fmla="*/ 54412 w 220578"/>
                <a:gd name="connsiteY492" fmla="*/ 121856 h 406947"/>
                <a:gd name="connsiteX493" fmla="*/ 55226 w 220578"/>
                <a:gd name="connsiteY493" fmla="*/ 124137 h 406947"/>
                <a:gd name="connsiteX494" fmla="*/ 54086 w 220578"/>
                <a:gd name="connsiteY494" fmla="*/ 125929 h 406947"/>
                <a:gd name="connsiteX495" fmla="*/ 52131 w 220578"/>
                <a:gd name="connsiteY495" fmla="*/ 122182 h 406947"/>
                <a:gd name="connsiteX496" fmla="*/ 50339 w 220578"/>
                <a:gd name="connsiteY496" fmla="*/ 126255 h 406947"/>
                <a:gd name="connsiteX497" fmla="*/ 52294 w 220578"/>
                <a:gd name="connsiteY497" fmla="*/ 128372 h 406947"/>
                <a:gd name="connsiteX498" fmla="*/ 50665 w 220578"/>
                <a:gd name="connsiteY498" fmla="*/ 130490 h 406947"/>
                <a:gd name="connsiteX499" fmla="*/ 53597 w 220578"/>
                <a:gd name="connsiteY499" fmla="*/ 133911 h 406947"/>
                <a:gd name="connsiteX500" fmla="*/ 56529 w 220578"/>
                <a:gd name="connsiteY500" fmla="*/ 133911 h 406947"/>
                <a:gd name="connsiteX501" fmla="*/ 53109 w 220578"/>
                <a:gd name="connsiteY501" fmla="*/ 135215 h 406947"/>
                <a:gd name="connsiteX502" fmla="*/ 49687 w 220578"/>
                <a:gd name="connsiteY502" fmla="*/ 133260 h 406947"/>
                <a:gd name="connsiteX503" fmla="*/ 50502 w 220578"/>
                <a:gd name="connsiteY503" fmla="*/ 138799 h 406947"/>
                <a:gd name="connsiteX504" fmla="*/ 50502 w 220578"/>
                <a:gd name="connsiteY504" fmla="*/ 140591 h 406947"/>
                <a:gd name="connsiteX505" fmla="*/ 56855 w 220578"/>
                <a:gd name="connsiteY505" fmla="*/ 139613 h 406947"/>
                <a:gd name="connsiteX506" fmla="*/ 52620 w 220578"/>
                <a:gd name="connsiteY506" fmla="*/ 141731 h 406947"/>
                <a:gd name="connsiteX507" fmla="*/ 52131 w 220578"/>
                <a:gd name="connsiteY507" fmla="*/ 142871 h 406947"/>
                <a:gd name="connsiteX508" fmla="*/ 53434 w 220578"/>
                <a:gd name="connsiteY508" fmla="*/ 143686 h 406947"/>
                <a:gd name="connsiteX509" fmla="*/ 57507 w 220578"/>
                <a:gd name="connsiteY509" fmla="*/ 142220 h 406947"/>
                <a:gd name="connsiteX510" fmla="*/ 56529 w 220578"/>
                <a:gd name="connsiteY510" fmla="*/ 143197 h 406947"/>
                <a:gd name="connsiteX511" fmla="*/ 58159 w 220578"/>
                <a:gd name="connsiteY511" fmla="*/ 145315 h 406947"/>
                <a:gd name="connsiteX512" fmla="*/ 55226 w 220578"/>
                <a:gd name="connsiteY512" fmla="*/ 144175 h 406947"/>
                <a:gd name="connsiteX513" fmla="*/ 54086 w 220578"/>
                <a:gd name="connsiteY513" fmla="*/ 144989 h 406947"/>
                <a:gd name="connsiteX514" fmla="*/ 53271 w 220578"/>
                <a:gd name="connsiteY514" fmla="*/ 147759 h 406947"/>
                <a:gd name="connsiteX515" fmla="*/ 54901 w 220578"/>
                <a:gd name="connsiteY515" fmla="*/ 148899 h 406947"/>
                <a:gd name="connsiteX516" fmla="*/ 52457 w 220578"/>
                <a:gd name="connsiteY516" fmla="*/ 149225 h 406947"/>
                <a:gd name="connsiteX517" fmla="*/ 50991 w 220578"/>
                <a:gd name="connsiteY517" fmla="*/ 151506 h 406947"/>
                <a:gd name="connsiteX518" fmla="*/ 53760 w 220578"/>
                <a:gd name="connsiteY518" fmla="*/ 152483 h 406947"/>
                <a:gd name="connsiteX519" fmla="*/ 54412 w 220578"/>
                <a:gd name="connsiteY519" fmla="*/ 154601 h 406947"/>
                <a:gd name="connsiteX520" fmla="*/ 49850 w 220578"/>
                <a:gd name="connsiteY520" fmla="*/ 152809 h 406947"/>
                <a:gd name="connsiteX521" fmla="*/ 49036 w 220578"/>
                <a:gd name="connsiteY521" fmla="*/ 155904 h 406947"/>
                <a:gd name="connsiteX522" fmla="*/ 50828 w 220578"/>
                <a:gd name="connsiteY522" fmla="*/ 157207 h 406947"/>
                <a:gd name="connsiteX523" fmla="*/ 49850 w 220578"/>
                <a:gd name="connsiteY523" fmla="*/ 159162 h 406947"/>
                <a:gd name="connsiteX524" fmla="*/ 47733 w 220578"/>
                <a:gd name="connsiteY524" fmla="*/ 160791 h 406947"/>
                <a:gd name="connsiteX525" fmla="*/ 43334 w 220578"/>
                <a:gd name="connsiteY525" fmla="*/ 160791 h 406947"/>
                <a:gd name="connsiteX526" fmla="*/ 41379 w 220578"/>
                <a:gd name="connsiteY526" fmla="*/ 162909 h 406947"/>
                <a:gd name="connsiteX527" fmla="*/ 43008 w 220578"/>
                <a:gd name="connsiteY527" fmla="*/ 164050 h 406947"/>
                <a:gd name="connsiteX528" fmla="*/ 46755 w 220578"/>
                <a:gd name="connsiteY528" fmla="*/ 163724 h 406947"/>
                <a:gd name="connsiteX529" fmla="*/ 49361 w 220578"/>
                <a:gd name="connsiteY529" fmla="*/ 164538 h 406947"/>
                <a:gd name="connsiteX530" fmla="*/ 48710 w 220578"/>
                <a:gd name="connsiteY530" fmla="*/ 165679 h 406947"/>
                <a:gd name="connsiteX531" fmla="*/ 45777 w 220578"/>
                <a:gd name="connsiteY531" fmla="*/ 165679 h 406947"/>
                <a:gd name="connsiteX532" fmla="*/ 49687 w 220578"/>
                <a:gd name="connsiteY532" fmla="*/ 169426 h 406947"/>
                <a:gd name="connsiteX533" fmla="*/ 50991 w 220578"/>
                <a:gd name="connsiteY533" fmla="*/ 168937 h 406947"/>
                <a:gd name="connsiteX534" fmla="*/ 52945 w 220578"/>
                <a:gd name="connsiteY534" fmla="*/ 171055 h 406947"/>
                <a:gd name="connsiteX535" fmla="*/ 63372 w 220578"/>
                <a:gd name="connsiteY535" fmla="*/ 160628 h 406947"/>
                <a:gd name="connsiteX536" fmla="*/ 61743 w 220578"/>
                <a:gd name="connsiteY536" fmla="*/ 163724 h 406947"/>
                <a:gd name="connsiteX537" fmla="*/ 63372 w 220578"/>
                <a:gd name="connsiteY537" fmla="*/ 164701 h 406947"/>
                <a:gd name="connsiteX538" fmla="*/ 60276 w 220578"/>
                <a:gd name="connsiteY538" fmla="*/ 165842 h 406947"/>
                <a:gd name="connsiteX539" fmla="*/ 57833 w 220578"/>
                <a:gd name="connsiteY539" fmla="*/ 171869 h 406947"/>
                <a:gd name="connsiteX540" fmla="*/ 58159 w 220578"/>
                <a:gd name="connsiteY540" fmla="*/ 173335 h 406947"/>
                <a:gd name="connsiteX541" fmla="*/ 54901 w 220578"/>
                <a:gd name="connsiteY541" fmla="*/ 179526 h 406947"/>
                <a:gd name="connsiteX542" fmla="*/ 56204 w 220578"/>
                <a:gd name="connsiteY542" fmla="*/ 180340 h 406947"/>
                <a:gd name="connsiteX543" fmla="*/ 53434 w 220578"/>
                <a:gd name="connsiteY543" fmla="*/ 187671 h 406947"/>
                <a:gd name="connsiteX544" fmla="*/ 54086 w 220578"/>
                <a:gd name="connsiteY544" fmla="*/ 192396 h 406947"/>
                <a:gd name="connsiteX545" fmla="*/ 52131 w 220578"/>
                <a:gd name="connsiteY545" fmla="*/ 195165 h 406947"/>
                <a:gd name="connsiteX546" fmla="*/ 53597 w 220578"/>
                <a:gd name="connsiteY546" fmla="*/ 197446 h 406947"/>
                <a:gd name="connsiteX547" fmla="*/ 55389 w 220578"/>
                <a:gd name="connsiteY547" fmla="*/ 196631 h 406947"/>
                <a:gd name="connsiteX548" fmla="*/ 52131 w 220578"/>
                <a:gd name="connsiteY548" fmla="*/ 201844 h 406947"/>
                <a:gd name="connsiteX549" fmla="*/ 51479 w 220578"/>
                <a:gd name="connsiteY549" fmla="*/ 209175 h 406947"/>
                <a:gd name="connsiteX550" fmla="*/ 49036 w 220578"/>
                <a:gd name="connsiteY550" fmla="*/ 211619 h 406947"/>
                <a:gd name="connsiteX551" fmla="*/ 49036 w 220578"/>
                <a:gd name="connsiteY551" fmla="*/ 213411 h 406947"/>
                <a:gd name="connsiteX552" fmla="*/ 54575 w 220578"/>
                <a:gd name="connsiteY552" fmla="*/ 213411 h 406947"/>
                <a:gd name="connsiteX553" fmla="*/ 53760 w 220578"/>
                <a:gd name="connsiteY553" fmla="*/ 209664 h 406947"/>
                <a:gd name="connsiteX554" fmla="*/ 56041 w 220578"/>
                <a:gd name="connsiteY554" fmla="*/ 204288 h 406947"/>
                <a:gd name="connsiteX555" fmla="*/ 56041 w 220578"/>
                <a:gd name="connsiteY555" fmla="*/ 201030 h 406947"/>
                <a:gd name="connsiteX556" fmla="*/ 58647 w 220578"/>
                <a:gd name="connsiteY556" fmla="*/ 197609 h 406947"/>
                <a:gd name="connsiteX557" fmla="*/ 56529 w 220578"/>
                <a:gd name="connsiteY557" fmla="*/ 188649 h 406947"/>
                <a:gd name="connsiteX558" fmla="*/ 58484 w 220578"/>
                <a:gd name="connsiteY558" fmla="*/ 188649 h 406947"/>
                <a:gd name="connsiteX559" fmla="*/ 64838 w 220578"/>
                <a:gd name="connsiteY559" fmla="*/ 180992 h 406947"/>
                <a:gd name="connsiteX560" fmla="*/ 59951 w 220578"/>
                <a:gd name="connsiteY560" fmla="*/ 188323 h 406947"/>
                <a:gd name="connsiteX561" fmla="*/ 59299 w 220578"/>
                <a:gd name="connsiteY561" fmla="*/ 193699 h 406947"/>
                <a:gd name="connsiteX562" fmla="*/ 61091 w 220578"/>
                <a:gd name="connsiteY562" fmla="*/ 195002 h 406947"/>
                <a:gd name="connsiteX563" fmla="*/ 61417 w 220578"/>
                <a:gd name="connsiteY563" fmla="*/ 191907 h 406947"/>
                <a:gd name="connsiteX564" fmla="*/ 64675 w 220578"/>
                <a:gd name="connsiteY564" fmla="*/ 189300 h 406947"/>
                <a:gd name="connsiteX565" fmla="*/ 66141 w 220578"/>
                <a:gd name="connsiteY565" fmla="*/ 194188 h 406947"/>
                <a:gd name="connsiteX566" fmla="*/ 68748 w 220578"/>
                <a:gd name="connsiteY566" fmla="*/ 188323 h 406947"/>
                <a:gd name="connsiteX567" fmla="*/ 68096 w 220578"/>
                <a:gd name="connsiteY567" fmla="*/ 184250 h 406947"/>
                <a:gd name="connsiteX568" fmla="*/ 70214 w 220578"/>
                <a:gd name="connsiteY568" fmla="*/ 183110 h 406947"/>
                <a:gd name="connsiteX569" fmla="*/ 69399 w 220578"/>
                <a:gd name="connsiteY569" fmla="*/ 188486 h 406947"/>
                <a:gd name="connsiteX570" fmla="*/ 74775 w 220578"/>
                <a:gd name="connsiteY570" fmla="*/ 192559 h 406947"/>
                <a:gd name="connsiteX571" fmla="*/ 70051 w 220578"/>
                <a:gd name="connsiteY571" fmla="*/ 191255 h 406947"/>
                <a:gd name="connsiteX572" fmla="*/ 68422 w 220578"/>
                <a:gd name="connsiteY572" fmla="*/ 198098 h 406947"/>
                <a:gd name="connsiteX573" fmla="*/ 69399 w 220578"/>
                <a:gd name="connsiteY573" fmla="*/ 203148 h 406947"/>
                <a:gd name="connsiteX574" fmla="*/ 72169 w 220578"/>
                <a:gd name="connsiteY574" fmla="*/ 203799 h 406947"/>
                <a:gd name="connsiteX575" fmla="*/ 73798 w 220578"/>
                <a:gd name="connsiteY575" fmla="*/ 208198 h 406947"/>
                <a:gd name="connsiteX576" fmla="*/ 69562 w 220578"/>
                <a:gd name="connsiteY576" fmla="*/ 212434 h 406947"/>
                <a:gd name="connsiteX577" fmla="*/ 65327 w 220578"/>
                <a:gd name="connsiteY577" fmla="*/ 223511 h 406947"/>
                <a:gd name="connsiteX578" fmla="*/ 66304 w 220578"/>
                <a:gd name="connsiteY578" fmla="*/ 228399 h 406947"/>
                <a:gd name="connsiteX579" fmla="*/ 62557 w 220578"/>
                <a:gd name="connsiteY579" fmla="*/ 226118 h 406947"/>
                <a:gd name="connsiteX580" fmla="*/ 62557 w 220578"/>
                <a:gd name="connsiteY580" fmla="*/ 231494 h 406947"/>
                <a:gd name="connsiteX581" fmla="*/ 67770 w 220578"/>
                <a:gd name="connsiteY581" fmla="*/ 238499 h 406947"/>
                <a:gd name="connsiteX582" fmla="*/ 66141 w 220578"/>
                <a:gd name="connsiteY582" fmla="*/ 231983 h 406947"/>
                <a:gd name="connsiteX583" fmla="*/ 69562 w 220578"/>
                <a:gd name="connsiteY583" fmla="*/ 231005 h 406947"/>
                <a:gd name="connsiteX584" fmla="*/ 78522 w 220578"/>
                <a:gd name="connsiteY584" fmla="*/ 237522 h 406947"/>
                <a:gd name="connsiteX585" fmla="*/ 78522 w 220578"/>
                <a:gd name="connsiteY585" fmla="*/ 232471 h 406947"/>
                <a:gd name="connsiteX586" fmla="*/ 75101 w 220578"/>
                <a:gd name="connsiteY586" fmla="*/ 229539 h 406947"/>
                <a:gd name="connsiteX587" fmla="*/ 77382 w 220578"/>
                <a:gd name="connsiteY587" fmla="*/ 228887 h 406947"/>
                <a:gd name="connsiteX588" fmla="*/ 84550 w 220578"/>
                <a:gd name="connsiteY588" fmla="*/ 233449 h 406947"/>
                <a:gd name="connsiteX589" fmla="*/ 89600 w 220578"/>
                <a:gd name="connsiteY589" fmla="*/ 232634 h 406947"/>
                <a:gd name="connsiteX590" fmla="*/ 89600 w 220578"/>
                <a:gd name="connsiteY590" fmla="*/ 230516 h 406947"/>
                <a:gd name="connsiteX591" fmla="*/ 94325 w 220578"/>
                <a:gd name="connsiteY591" fmla="*/ 230516 h 406947"/>
                <a:gd name="connsiteX592" fmla="*/ 95628 w 220578"/>
                <a:gd name="connsiteY592" fmla="*/ 226281 h 406947"/>
                <a:gd name="connsiteX593" fmla="*/ 108172 w 220578"/>
                <a:gd name="connsiteY593" fmla="*/ 226770 h 406947"/>
                <a:gd name="connsiteX594" fmla="*/ 99863 w 220578"/>
                <a:gd name="connsiteY594" fmla="*/ 229050 h 406947"/>
                <a:gd name="connsiteX595" fmla="*/ 94813 w 220578"/>
                <a:gd name="connsiteY595" fmla="*/ 243386 h 406947"/>
                <a:gd name="connsiteX596" fmla="*/ 101004 w 220578"/>
                <a:gd name="connsiteY596" fmla="*/ 254627 h 406947"/>
                <a:gd name="connsiteX597" fmla="*/ 104099 w 220578"/>
                <a:gd name="connsiteY597" fmla="*/ 252835 h 406947"/>
                <a:gd name="connsiteX598" fmla="*/ 104099 w 220578"/>
                <a:gd name="connsiteY598" fmla="*/ 258700 h 406947"/>
                <a:gd name="connsiteX599" fmla="*/ 108172 w 220578"/>
                <a:gd name="connsiteY599" fmla="*/ 253812 h 406947"/>
                <a:gd name="connsiteX600" fmla="*/ 113222 w 220578"/>
                <a:gd name="connsiteY600" fmla="*/ 254627 h 406947"/>
                <a:gd name="connsiteX601" fmla="*/ 111430 w 220578"/>
                <a:gd name="connsiteY601" fmla="*/ 260818 h 406947"/>
                <a:gd name="connsiteX602" fmla="*/ 113059 w 220578"/>
                <a:gd name="connsiteY602" fmla="*/ 261795 h 406947"/>
                <a:gd name="connsiteX603" fmla="*/ 108009 w 220578"/>
                <a:gd name="connsiteY603" fmla="*/ 265705 h 406947"/>
                <a:gd name="connsiteX604" fmla="*/ 109475 w 220578"/>
                <a:gd name="connsiteY604" fmla="*/ 272547 h 406947"/>
                <a:gd name="connsiteX605" fmla="*/ 106706 w 220578"/>
                <a:gd name="connsiteY605" fmla="*/ 277760 h 406947"/>
                <a:gd name="connsiteX606" fmla="*/ 109801 w 220578"/>
                <a:gd name="connsiteY606" fmla="*/ 281833 h 406947"/>
                <a:gd name="connsiteX607" fmla="*/ 113548 w 220578"/>
                <a:gd name="connsiteY607" fmla="*/ 285091 h 406947"/>
                <a:gd name="connsiteX608" fmla="*/ 116480 w 220578"/>
                <a:gd name="connsiteY608" fmla="*/ 285417 h 406947"/>
                <a:gd name="connsiteX609" fmla="*/ 114525 w 220578"/>
                <a:gd name="connsiteY609" fmla="*/ 286883 h 406947"/>
                <a:gd name="connsiteX610" fmla="*/ 111104 w 220578"/>
                <a:gd name="connsiteY610" fmla="*/ 286883 h 406947"/>
                <a:gd name="connsiteX611" fmla="*/ 108172 w 220578"/>
                <a:gd name="connsiteY611" fmla="*/ 282973 h 406947"/>
                <a:gd name="connsiteX612" fmla="*/ 105402 w 220578"/>
                <a:gd name="connsiteY612" fmla="*/ 284114 h 406947"/>
                <a:gd name="connsiteX613" fmla="*/ 107683 w 220578"/>
                <a:gd name="connsiteY613" fmla="*/ 288186 h 406947"/>
                <a:gd name="connsiteX614" fmla="*/ 110127 w 220578"/>
                <a:gd name="connsiteY614" fmla="*/ 289815 h 406947"/>
                <a:gd name="connsiteX615" fmla="*/ 106217 w 220578"/>
                <a:gd name="connsiteY615" fmla="*/ 289001 h 406947"/>
                <a:gd name="connsiteX616" fmla="*/ 102959 w 220578"/>
                <a:gd name="connsiteY616" fmla="*/ 285743 h 406947"/>
                <a:gd name="connsiteX617" fmla="*/ 94813 w 220578"/>
                <a:gd name="connsiteY617" fmla="*/ 288349 h 406947"/>
                <a:gd name="connsiteX618" fmla="*/ 91066 w 220578"/>
                <a:gd name="connsiteY618" fmla="*/ 287698 h 406947"/>
                <a:gd name="connsiteX619" fmla="*/ 82595 w 220578"/>
                <a:gd name="connsiteY619" fmla="*/ 291933 h 406947"/>
                <a:gd name="connsiteX620" fmla="*/ 78196 w 220578"/>
                <a:gd name="connsiteY620" fmla="*/ 298124 h 406947"/>
                <a:gd name="connsiteX621" fmla="*/ 72169 w 220578"/>
                <a:gd name="connsiteY621" fmla="*/ 302034 h 406947"/>
                <a:gd name="connsiteX622" fmla="*/ 69562 w 220578"/>
                <a:gd name="connsiteY622" fmla="*/ 305780 h 406947"/>
                <a:gd name="connsiteX623" fmla="*/ 73472 w 220578"/>
                <a:gd name="connsiteY623" fmla="*/ 305129 h 406947"/>
                <a:gd name="connsiteX624" fmla="*/ 75427 w 220578"/>
                <a:gd name="connsiteY624" fmla="*/ 305780 h 406947"/>
                <a:gd name="connsiteX625" fmla="*/ 76079 w 220578"/>
                <a:gd name="connsiteY625" fmla="*/ 303500 h 406947"/>
                <a:gd name="connsiteX626" fmla="*/ 84713 w 220578"/>
                <a:gd name="connsiteY626" fmla="*/ 301219 h 406947"/>
                <a:gd name="connsiteX627" fmla="*/ 83898 w 220578"/>
                <a:gd name="connsiteY627" fmla="*/ 305780 h 406947"/>
                <a:gd name="connsiteX628" fmla="*/ 86831 w 220578"/>
                <a:gd name="connsiteY628" fmla="*/ 308876 h 406947"/>
                <a:gd name="connsiteX629" fmla="*/ 83572 w 220578"/>
                <a:gd name="connsiteY629" fmla="*/ 311319 h 406947"/>
                <a:gd name="connsiteX630" fmla="*/ 85364 w 220578"/>
                <a:gd name="connsiteY630" fmla="*/ 314740 h 406947"/>
                <a:gd name="connsiteX631" fmla="*/ 87319 w 220578"/>
                <a:gd name="connsiteY631" fmla="*/ 315229 h 406947"/>
                <a:gd name="connsiteX632" fmla="*/ 81780 w 220578"/>
                <a:gd name="connsiteY632" fmla="*/ 325981 h 406947"/>
                <a:gd name="connsiteX633" fmla="*/ 77708 w 220578"/>
                <a:gd name="connsiteY633" fmla="*/ 327447 h 406947"/>
                <a:gd name="connsiteX634" fmla="*/ 73635 w 220578"/>
                <a:gd name="connsiteY634" fmla="*/ 330543 h 406947"/>
                <a:gd name="connsiteX635" fmla="*/ 71680 w 220578"/>
                <a:gd name="connsiteY635" fmla="*/ 330543 h 406947"/>
                <a:gd name="connsiteX636" fmla="*/ 66467 w 220578"/>
                <a:gd name="connsiteY636" fmla="*/ 333964 h 406947"/>
                <a:gd name="connsiteX637" fmla="*/ 62720 w 220578"/>
                <a:gd name="connsiteY637" fmla="*/ 333964 h 406947"/>
                <a:gd name="connsiteX638" fmla="*/ 56692 w 220578"/>
                <a:gd name="connsiteY638" fmla="*/ 337874 h 406947"/>
                <a:gd name="connsiteX639" fmla="*/ 61580 w 220578"/>
                <a:gd name="connsiteY639" fmla="*/ 338525 h 406947"/>
                <a:gd name="connsiteX640" fmla="*/ 61906 w 220578"/>
                <a:gd name="connsiteY640" fmla="*/ 342109 h 406947"/>
                <a:gd name="connsiteX641" fmla="*/ 58484 w 220578"/>
                <a:gd name="connsiteY641" fmla="*/ 343738 h 406947"/>
                <a:gd name="connsiteX642" fmla="*/ 64675 w 220578"/>
                <a:gd name="connsiteY642" fmla="*/ 344716 h 406947"/>
                <a:gd name="connsiteX643" fmla="*/ 63209 w 220578"/>
                <a:gd name="connsiteY643" fmla="*/ 346182 h 406947"/>
                <a:gd name="connsiteX644" fmla="*/ 65652 w 220578"/>
                <a:gd name="connsiteY644" fmla="*/ 347485 h 406947"/>
                <a:gd name="connsiteX645" fmla="*/ 69074 w 220578"/>
                <a:gd name="connsiteY645" fmla="*/ 346508 h 406947"/>
                <a:gd name="connsiteX646" fmla="*/ 73146 w 220578"/>
                <a:gd name="connsiteY646" fmla="*/ 344064 h 406947"/>
                <a:gd name="connsiteX647" fmla="*/ 79663 w 220578"/>
                <a:gd name="connsiteY647" fmla="*/ 341946 h 406947"/>
                <a:gd name="connsiteX648" fmla="*/ 80314 w 220578"/>
                <a:gd name="connsiteY648" fmla="*/ 345042 h 406947"/>
                <a:gd name="connsiteX649" fmla="*/ 85527 w 220578"/>
                <a:gd name="connsiteY649" fmla="*/ 346345 h 406947"/>
                <a:gd name="connsiteX650" fmla="*/ 81292 w 220578"/>
                <a:gd name="connsiteY650" fmla="*/ 347485 h 406947"/>
                <a:gd name="connsiteX651" fmla="*/ 80803 w 220578"/>
                <a:gd name="connsiteY651" fmla="*/ 349929 h 406947"/>
                <a:gd name="connsiteX652" fmla="*/ 87971 w 220578"/>
                <a:gd name="connsiteY652" fmla="*/ 349929 h 406947"/>
                <a:gd name="connsiteX653" fmla="*/ 87971 w 220578"/>
                <a:gd name="connsiteY653" fmla="*/ 348789 h 406947"/>
                <a:gd name="connsiteX654" fmla="*/ 91555 w 220578"/>
                <a:gd name="connsiteY654" fmla="*/ 347811 h 406947"/>
                <a:gd name="connsiteX655" fmla="*/ 95302 w 220578"/>
                <a:gd name="connsiteY655" fmla="*/ 352047 h 406947"/>
                <a:gd name="connsiteX656" fmla="*/ 98560 w 220578"/>
                <a:gd name="connsiteY656" fmla="*/ 355956 h 406947"/>
                <a:gd name="connsiteX657" fmla="*/ 106706 w 220578"/>
                <a:gd name="connsiteY657" fmla="*/ 355956 h 406947"/>
                <a:gd name="connsiteX658" fmla="*/ 108660 w 220578"/>
                <a:gd name="connsiteY658" fmla="*/ 352535 h 406947"/>
                <a:gd name="connsiteX659" fmla="*/ 112570 w 220578"/>
                <a:gd name="connsiteY659" fmla="*/ 350906 h 406947"/>
                <a:gd name="connsiteX660" fmla="*/ 117946 w 220578"/>
                <a:gd name="connsiteY660" fmla="*/ 348951 h 406947"/>
                <a:gd name="connsiteX661" fmla="*/ 119901 w 220578"/>
                <a:gd name="connsiteY661" fmla="*/ 346019 h 406947"/>
                <a:gd name="connsiteX662" fmla="*/ 124300 w 220578"/>
                <a:gd name="connsiteY662" fmla="*/ 343901 h 406947"/>
                <a:gd name="connsiteX663" fmla="*/ 118272 w 220578"/>
                <a:gd name="connsiteY663" fmla="*/ 351069 h 406947"/>
                <a:gd name="connsiteX664" fmla="*/ 112244 w 220578"/>
                <a:gd name="connsiteY664" fmla="*/ 356934 h 406947"/>
                <a:gd name="connsiteX665" fmla="*/ 111919 w 220578"/>
                <a:gd name="connsiteY665" fmla="*/ 363776 h 406947"/>
                <a:gd name="connsiteX666" fmla="*/ 107683 w 220578"/>
                <a:gd name="connsiteY666" fmla="*/ 363776 h 406947"/>
                <a:gd name="connsiteX667" fmla="*/ 104425 w 220578"/>
                <a:gd name="connsiteY667" fmla="*/ 364754 h 406947"/>
                <a:gd name="connsiteX668" fmla="*/ 100678 w 220578"/>
                <a:gd name="connsiteY668" fmla="*/ 362636 h 406947"/>
                <a:gd name="connsiteX669" fmla="*/ 90089 w 220578"/>
                <a:gd name="connsiteY669" fmla="*/ 361495 h 406947"/>
                <a:gd name="connsiteX670" fmla="*/ 82595 w 220578"/>
                <a:gd name="connsiteY670" fmla="*/ 363450 h 406947"/>
                <a:gd name="connsiteX671" fmla="*/ 82595 w 220578"/>
                <a:gd name="connsiteY671" fmla="*/ 367360 h 406947"/>
                <a:gd name="connsiteX672" fmla="*/ 79500 w 220578"/>
                <a:gd name="connsiteY672" fmla="*/ 370455 h 406947"/>
                <a:gd name="connsiteX673" fmla="*/ 75264 w 220578"/>
                <a:gd name="connsiteY673" fmla="*/ 370455 h 406947"/>
                <a:gd name="connsiteX674" fmla="*/ 74612 w 220578"/>
                <a:gd name="connsiteY674" fmla="*/ 379252 h 406947"/>
                <a:gd name="connsiteX675" fmla="*/ 70214 w 220578"/>
                <a:gd name="connsiteY675" fmla="*/ 383325 h 406947"/>
                <a:gd name="connsiteX676" fmla="*/ 69074 w 220578"/>
                <a:gd name="connsiteY676" fmla="*/ 385606 h 406947"/>
                <a:gd name="connsiteX677" fmla="*/ 64186 w 220578"/>
                <a:gd name="connsiteY677" fmla="*/ 386583 h 406947"/>
                <a:gd name="connsiteX678" fmla="*/ 62883 w 220578"/>
                <a:gd name="connsiteY678" fmla="*/ 391634 h 406947"/>
                <a:gd name="connsiteX679" fmla="*/ 60765 w 220578"/>
                <a:gd name="connsiteY679" fmla="*/ 391634 h 406947"/>
                <a:gd name="connsiteX680" fmla="*/ 59625 w 220578"/>
                <a:gd name="connsiteY680" fmla="*/ 394240 h 406947"/>
                <a:gd name="connsiteX681" fmla="*/ 53597 w 220578"/>
                <a:gd name="connsiteY681" fmla="*/ 398639 h 406947"/>
                <a:gd name="connsiteX682" fmla="*/ 50828 w 220578"/>
                <a:gd name="connsiteY682" fmla="*/ 397661 h 406947"/>
                <a:gd name="connsiteX683" fmla="*/ 46592 w 220578"/>
                <a:gd name="connsiteY683" fmla="*/ 400594 h 406947"/>
                <a:gd name="connsiteX684" fmla="*/ 46592 w 220578"/>
                <a:gd name="connsiteY684" fmla="*/ 404503 h 406947"/>
                <a:gd name="connsiteX685" fmla="*/ 51153 w 220578"/>
                <a:gd name="connsiteY685" fmla="*/ 404829 h 406947"/>
                <a:gd name="connsiteX686" fmla="*/ 51153 w 220578"/>
                <a:gd name="connsiteY686" fmla="*/ 401408 h 406947"/>
                <a:gd name="connsiteX687" fmla="*/ 56855 w 220578"/>
                <a:gd name="connsiteY687" fmla="*/ 402874 h 406947"/>
                <a:gd name="connsiteX688" fmla="*/ 59136 w 220578"/>
                <a:gd name="connsiteY688" fmla="*/ 406947 h 4069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</a:cxnLst>
              <a:rect l="l" t="t" r="r" b="b"/>
              <a:pathLst>
                <a:path w="220578" h="406947">
                  <a:moveTo>
                    <a:pt x="40239" y="260655"/>
                  </a:moveTo>
                  <a:lnTo>
                    <a:pt x="34700" y="256908"/>
                  </a:lnTo>
                  <a:lnTo>
                    <a:pt x="30953" y="256093"/>
                  </a:lnTo>
                  <a:lnTo>
                    <a:pt x="26228" y="246481"/>
                  </a:lnTo>
                  <a:lnTo>
                    <a:pt x="18898" y="242735"/>
                  </a:lnTo>
                  <a:lnTo>
                    <a:pt x="15965" y="245015"/>
                  </a:lnTo>
                  <a:lnTo>
                    <a:pt x="14499" y="252020"/>
                  </a:lnTo>
                  <a:lnTo>
                    <a:pt x="10752" y="252835"/>
                  </a:lnTo>
                  <a:lnTo>
                    <a:pt x="0" y="242898"/>
                  </a:lnTo>
                  <a:lnTo>
                    <a:pt x="5539" y="231494"/>
                  </a:lnTo>
                  <a:lnTo>
                    <a:pt x="10752" y="230842"/>
                  </a:lnTo>
                  <a:lnTo>
                    <a:pt x="12218" y="226444"/>
                  </a:lnTo>
                  <a:lnTo>
                    <a:pt x="15639" y="224652"/>
                  </a:lnTo>
                  <a:lnTo>
                    <a:pt x="18083" y="222045"/>
                  </a:lnTo>
                  <a:lnTo>
                    <a:pt x="22807" y="221068"/>
                  </a:lnTo>
                  <a:lnTo>
                    <a:pt x="24436" y="219276"/>
                  </a:lnTo>
                  <a:lnTo>
                    <a:pt x="27369" y="218950"/>
                  </a:lnTo>
                  <a:lnTo>
                    <a:pt x="32256" y="215855"/>
                  </a:lnTo>
                  <a:lnTo>
                    <a:pt x="39913" y="216669"/>
                  </a:lnTo>
                  <a:lnTo>
                    <a:pt x="43660" y="218787"/>
                  </a:lnTo>
                  <a:lnTo>
                    <a:pt x="44148" y="223511"/>
                  </a:lnTo>
                  <a:lnTo>
                    <a:pt x="51642" y="234100"/>
                  </a:lnTo>
                  <a:lnTo>
                    <a:pt x="47895" y="236870"/>
                  </a:lnTo>
                  <a:lnTo>
                    <a:pt x="54737" y="237196"/>
                  </a:lnTo>
                  <a:lnTo>
                    <a:pt x="56367" y="248436"/>
                  </a:lnTo>
                  <a:lnTo>
                    <a:pt x="53434" y="239639"/>
                  </a:lnTo>
                  <a:lnTo>
                    <a:pt x="50665" y="239965"/>
                  </a:lnTo>
                  <a:lnTo>
                    <a:pt x="52131" y="242898"/>
                  </a:lnTo>
                  <a:lnTo>
                    <a:pt x="50665" y="246807"/>
                  </a:lnTo>
                  <a:lnTo>
                    <a:pt x="54412" y="247622"/>
                  </a:lnTo>
                  <a:lnTo>
                    <a:pt x="53597" y="251858"/>
                  </a:lnTo>
                  <a:lnTo>
                    <a:pt x="47569" y="251043"/>
                  </a:lnTo>
                  <a:lnTo>
                    <a:pt x="47244" y="254627"/>
                  </a:lnTo>
                  <a:lnTo>
                    <a:pt x="43334" y="257722"/>
                  </a:lnTo>
                  <a:lnTo>
                    <a:pt x="41053" y="257071"/>
                  </a:lnTo>
                  <a:lnTo>
                    <a:pt x="41379" y="260818"/>
                  </a:lnTo>
                  <a:lnTo>
                    <a:pt x="40401" y="260818"/>
                  </a:lnTo>
                  <a:close/>
                  <a:moveTo>
                    <a:pt x="147433" y="36166"/>
                  </a:moveTo>
                  <a:lnTo>
                    <a:pt x="149714" y="31930"/>
                  </a:lnTo>
                  <a:lnTo>
                    <a:pt x="151180" y="33396"/>
                  </a:lnTo>
                  <a:lnTo>
                    <a:pt x="147433" y="36166"/>
                  </a:lnTo>
                  <a:lnTo>
                    <a:pt x="147433" y="36166"/>
                  </a:lnTo>
                  <a:close/>
                  <a:moveTo>
                    <a:pt x="157044" y="5702"/>
                  </a:moveTo>
                  <a:lnTo>
                    <a:pt x="155741" y="3258"/>
                  </a:lnTo>
                  <a:lnTo>
                    <a:pt x="158999" y="0"/>
                  </a:lnTo>
                  <a:lnTo>
                    <a:pt x="157044" y="5702"/>
                  </a:lnTo>
                  <a:lnTo>
                    <a:pt x="157044" y="5702"/>
                  </a:lnTo>
                  <a:close/>
                  <a:moveTo>
                    <a:pt x="146455" y="17594"/>
                  </a:moveTo>
                  <a:lnTo>
                    <a:pt x="146944" y="11567"/>
                  </a:lnTo>
                  <a:lnTo>
                    <a:pt x="143523" y="12381"/>
                  </a:lnTo>
                  <a:lnTo>
                    <a:pt x="142546" y="15476"/>
                  </a:lnTo>
                  <a:cubicBezTo>
                    <a:pt x="142546" y="15476"/>
                    <a:pt x="146130" y="17594"/>
                    <a:pt x="146292" y="17594"/>
                  </a:cubicBezTo>
                  <a:lnTo>
                    <a:pt x="146292" y="17594"/>
                  </a:lnTo>
                  <a:close/>
                  <a:moveTo>
                    <a:pt x="151994" y="14173"/>
                  </a:moveTo>
                  <a:lnTo>
                    <a:pt x="149388" y="11404"/>
                  </a:lnTo>
                  <a:lnTo>
                    <a:pt x="151342" y="8471"/>
                  </a:lnTo>
                  <a:lnTo>
                    <a:pt x="151669" y="5213"/>
                  </a:lnTo>
                  <a:lnTo>
                    <a:pt x="153460" y="6516"/>
                  </a:lnTo>
                  <a:lnTo>
                    <a:pt x="153460" y="12218"/>
                  </a:lnTo>
                  <a:cubicBezTo>
                    <a:pt x="153460" y="12218"/>
                    <a:pt x="151831" y="14010"/>
                    <a:pt x="151831" y="14010"/>
                  </a:cubicBezTo>
                  <a:lnTo>
                    <a:pt x="151831" y="14010"/>
                  </a:lnTo>
                  <a:close/>
                  <a:moveTo>
                    <a:pt x="149551" y="29324"/>
                  </a:moveTo>
                  <a:lnTo>
                    <a:pt x="147596" y="25251"/>
                  </a:lnTo>
                  <a:lnTo>
                    <a:pt x="141568" y="25251"/>
                  </a:lnTo>
                  <a:cubicBezTo>
                    <a:pt x="141568" y="25251"/>
                    <a:pt x="139613" y="22481"/>
                    <a:pt x="139613" y="22481"/>
                  </a:cubicBezTo>
                  <a:lnTo>
                    <a:pt x="142708" y="21178"/>
                  </a:lnTo>
                  <a:lnTo>
                    <a:pt x="147922" y="21667"/>
                  </a:lnTo>
                  <a:lnTo>
                    <a:pt x="148410" y="19223"/>
                  </a:lnTo>
                  <a:lnTo>
                    <a:pt x="147270" y="17431"/>
                  </a:lnTo>
                  <a:lnTo>
                    <a:pt x="148736" y="15965"/>
                  </a:lnTo>
                  <a:lnTo>
                    <a:pt x="151669" y="17431"/>
                  </a:lnTo>
                  <a:lnTo>
                    <a:pt x="155253" y="18572"/>
                  </a:lnTo>
                  <a:lnTo>
                    <a:pt x="153135" y="20852"/>
                  </a:lnTo>
                  <a:lnTo>
                    <a:pt x="153787" y="23622"/>
                  </a:lnTo>
                  <a:lnTo>
                    <a:pt x="151506" y="26065"/>
                  </a:lnTo>
                  <a:lnTo>
                    <a:pt x="152646" y="30138"/>
                  </a:lnTo>
                  <a:lnTo>
                    <a:pt x="149876" y="29161"/>
                  </a:lnTo>
                  <a:lnTo>
                    <a:pt x="149876" y="29161"/>
                  </a:lnTo>
                  <a:close/>
                  <a:moveTo>
                    <a:pt x="199075" y="350092"/>
                  </a:moveTo>
                  <a:lnTo>
                    <a:pt x="202170" y="351721"/>
                  </a:lnTo>
                  <a:lnTo>
                    <a:pt x="204777" y="351069"/>
                  </a:lnTo>
                  <a:lnTo>
                    <a:pt x="203311" y="349277"/>
                  </a:lnTo>
                  <a:lnTo>
                    <a:pt x="200867" y="349277"/>
                  </a:lnTo>
                  <a:cubicBezTo>
                    <a:pt x="200867" y="349277"/>
                    <a:pt x="199075" y="350255"/>
                    <a:pt x="199075" y="350255"/>
                  </a:cubicBezTo>
                  <a:lnTo>
                    <a:pt x="199075" y="350255"/>
                  </a:lnTo>
                  <a:close/>
                  <a:moveTo>
                    <a:pt x="146618" y="379252"/>
                  </a:moveTo>
                  <a:lnTo>
                    <a:pt x="153460" y="375668"/>
                  </a:lnTo>
                  <a:lnTo>
                    <a:pt x="155904" y="377460"/>
                  </a:lnTo>
                  <a:lnTo>
                    <a:pt x="158348" y="377135"/>
                  </a:lnTo>
                  <a:lnTo>
                    <a:pt x="156719" y="380067"/>
                  </a:lnTo>
                  <a:lnTo>
                    <a:pt x="156719" y="381859"/>
                  </a:lnTo>
                  <a:lnTo>
                    <a:pt x="153297" y="382511"/>
                  </a:lnTo>
                  <a:lnTo>
                    <a:pt x="149876" y="379904"/>
                  </a:lnTo>
                  <a:lnTo>
                    <a:pt x="146618" y="379252"/>
                  </a:lnTo>
                  <a:lnTo>
                    <a:pt x="146618" y="379252"/>
                  </a:lnTo>
                  <a:close/>
                  <a:moveTo>
                    <a:pt x="64023" y="193047"/>
                  </a:moveTo>
                  <a:lnTo>
                    <a:pt x="63698" y="196468"/>
                  </a:lnTo>
                  <a:lnTo>
                    <a:pt x="66467" y="198749"/>
                  </a:lnTo>
                  <a:lnTo>
                    <a:pt x="66141" y="195165"/>
                  </a:lnTo>
                  <a:lnTo>
                    <a:pt x="64023" y="193047"/>
                  </a:lnTo>
                  <a:lnTo>
                    <a:pt x="64023" y="193047"/>
                  </a:lnTo>
                  <a:close/>
                  <a:moveTo>
                    <a:pt x="40076" y="188975"/>
                  </a:moveTo>
                  <a:lnTo>
                    <a:pt x="41542" y="184087"/>
                  </a:lnTo>
                  <a:lnTo>
                    <a:pt x="42193" y="186694"/>
                  </a:lnTo>
                  <a:lnTo>
                    <a:pt x="39913" y="188975"/>
                  </a:lnTo>
                  <a:lnTo>
                    <a:pt x="39913" y="188975"/>
                  </a:lnTo>
                  <a:close/>
                  <a:moveTo>
                    <a:pt x="25902" y="173010"/>
                  </a:moveTo>
                  <a:lnTo>
                    <a:pt x="26228" y="169426"/>
                  </a:lnTo>
                  <a:lnTo>
                    <a:pt x="30301" y="169751"/>
                  </a:lnTo>
                  <a:lnTo>
                    <a:pt x="25902" y="173172"/>
                  </a:lnTo>
                  <a:lnTo>
                    <a:pt x="25902" y="173172"/>
                  </a:lnTo>
                  <a:close/>
                  <a:moveTo>
                    <a:pt x="32093" y="167959"/>
                  </a:moveTo>
                  <a:lnTo>
                    <a:pt x="36492" y="162583"/>
                  </a:lnTo>
                  <a:lnTo>
                    <a:pt x="35351" y="166493"/>
                  </a:lnTo>
                  <a:lnTo>
                    <a:pt x="32093" y="167959"/>
                  </a:lnTo>
                  <a:lnTo>
                    <a:pt x="32093" y="167959"/>
                  </a:lnTo>
                  <a:close/>
                  <a:moveTo>
                    <a:pt x="42519" y="157859"/>
                  </a:moveTo>
                  <a:lnTo>
                    <a:pt x="44800" y="155415"/>
                  </a:lnTo>
                  <a:lnTo>
                    <a:pt x="42356" y="155415"/>
                  </a:lnTo>
                  <a:cubicBezTo>
                    <a:pt x="42356" y="155415"/>
                    <a:pt x="42519" y="157859"/>
                    <a:pt x="42519" y="157859"/>
                  </a:cubicBezTo>
                  <a:lnTo>
                    <a:pt x="42519" y="157859"/>
                  </a:lnTo>
                  <a:close/>
                  <a:moveTo>
                    <a:pt x="37632" y="151180"/>
                  </a:moveTo>
                  <a:lnTo>
                    <a:pt x="39587" y="155252"/>
                  </a:lnTo>
                  <a:lnTo>
                    <a:pt x="41379" y="153623"/>
                  </a:lnTo>
                  <a:lnTo>
                    <a:pt x="40076" y="150854"/>
                  </a:lnTo>
                  <a:lnTo>
                    <a:pt x="37632" y="151180"/>
                  </a:lnTo>
                  <a:lnTo>
                    <a:pt x="37632" y="151180"/>
                  </a:lnTo>
                  <a:close/>
                  <a:moveTo>
                    <a:pt x="104099" y="75427"/>
                  </a:moveTo>
                  <a:lnTo>
                    <a:pt x="106054" y="77545"/>
                  </a:lnTo>
                  <a:lnTo>
                    <a:pt x="106380" y="74938"/>
                  </a:lnTo>
                  <a:lnTo>
                    <a:pt x="103936" y="75264"/>
                  </a:lnTo>
                  <a:lnTo>
                    <a:pt x="103936" y="75264"/>
                  </a:lnTo>
                  <a:close/>
                  <a:moveTo>
                    <a:pt x="98886" y="77219"/>
                  </a:moveTo>
                  <a:lnTo>
                    <a:pt x="102633" y="76893"/>
                  </a:lnTo>
                  <a:lnTo>
                    <a:pt x="105565" y="79826"/>
                  </a:lnTo>
                  <a:lnTo>
                    <a:pt x="103773" y="81943"/>
                  </a:lnTo>
                  <a:lnTo>
                    <a:pt x="109312" y="81455"/>
                  </a:lnTo>
                  <a:lnTo>
                    <a:pt x="109312" y="85364"/>
                  </a:lnTo>
                  <a:cubicBezTo>
                    <a:pt x="109312" y="85364"/>
                    <a:pt x="106543" y="83735"/>
                    <a:pt x="106543" y="83735"/>
                  </a:cubicBezTo>
                  <a:lnTo>
                    <a:pt x="101818" y="84387"/>
                  </a:lnTo>
                  <a:lnTo>
                    <a:pt x="101492" y="80803"/>
                  </a:lnTo>
                  <a:lnTo>
                    <a:pt x="100352" y="83898"/>
                  </a:lnTo>
                  <a:lnTo>
                    <a:pt x="98723" y="82106"/>
                  </a:lnTo>
                  <a:lnTo>
                    <a:pt x="98723" y="77545"/>
                  </a:lnTo>
                  <a:lnTo>
                    <a:pt x="98723" y="77545"/>
                  </a:lnTo>
                  <a:close/>
                  <a:moveTo>
                    <a:pt x="98560" y="85690"/>
                  </a:moveTo>
                  <a:lnTo>
                    <a:pt x="101330" y="90089"/>
                  </a:lnTo>
                  <a:lnTo>
                    <a:pt x="102470" y="87808"/>
                  </a:lnTo>
                  <a:lnTo>
                    <a:pt x="100841" y="85202"/>
                  </a:lnTo>
                  <a:lnTo>
                    <a:pt x="98560" y="85690"/>
                  </a:lnTo>
                  <a:lnTo>
                    <a:pt x="98560" y="85690"/>
                  </a:lnTo>
                  <a:close/>
                  <a:moveTo>
                    <a:pt x="25414" y="116480"/>
                  </a:moveTo>
                  <a:lnTo>
                    <a:pt x="27695" y="114688"/>
                  </a:lnTo>
                  <a:lnTo>
                    <a:pt x="24925" y="111919"/>
                  </a:lnTo>
                  <a:lnTo>
                    <a:pt x="27695" y="108335"/>
                  </a:lnTo>
                  <a:lnTo>
                    <a:pt x="33071" y="110778"/>
                  </a:lnTo>
                  <a:lnTo>
                    <a:pt x="31767" y="107031"/>
                  </a:lnTo>
                  <a:lnTo>
                    <a:pt x="43171" y="98886"/>
                  </a:lnTo>
                  <a:lnTo>
                    <a:pt x="43985" y="105402"/>
                  </a:lnTo>
                  <a:lnTo>
                    <a:pt x="39587" y="109475"/>
                  </a:lnTo>
                  <a:lnTo>
                    <a:pt x="38121" y="113222"/>
                  </a:lnTo>
                  <a:lnTo>
                    <a:pt x="39750" y="114362"/>
                  </a:lnTo>
                  <a:lnTo>
                    <a:pt x="36492" y="118924"/>
                  </a:lnTo>
                  <a:lnTo>
                    <a:pt x="32093" y="117783"/>
                  </a:lnTo>
                  <a:lnTo>
                    <a:pt x="27695" y="118435"/>
                  </a:lnTo>
                  <a:lnTo>
                    <a:pt x="25414" y="116480"/>
                  </a:lnTo>
                  <a:lnTo>
                    <a:pt x="25414" y="116480"/>
                  </a:lnTo>
                  <a:close/>
                  <a:moveTo>
                    <a:pt x="25251" y="123811"/>
                  </a:moveTo>
                  <a:lnTo>
                    <a:pt x="28509" y="126255"/>
                  </a:lnTo>
                  <a:lnTo>
                    <a:pt x="34048" y="121367"/>
                  </a:lnTo>
                  <a:lnTo>
                    <a:pt x="30138" y="119738"/>
                  </a:lnTo>
                  <a:lnTo>
                    <a:pt x="28020" y="120879"/>
                  </a:lnTo>
                  <a:lnTo>
                    <a:pt x="27043" y="122996"/>
                  </a:lnTo>
                  <a:lnTo>
                    <a:pt x="25251" y="123974"/>
                  </a:lnTo>
                  <a:lnTo>
                    <a:pt x="25251" y="123974"/>
                  </a:lnTo>
                  <a:close/>
                  <a:moveTo>
                    <a:pt x="23948" y="131793"/>
                  </a:moveTo>
                  <a:lnTo>
                    <a:pt x="19549" y="132934"/>
                  </a:lnTo>
                  <a:lnTo>
                    <a:pt x="16128" y="129350"/>
                  </a:lnTo>
                  <a:lnTo>
                    <a:pt x="18083" y="128210"/>
                  </a:lnTo>
                  <a:lnTo>
                    <a:pt x="24436" y="128861"/>
                  </a:lnTo>
                  <a:lnTo>
                    <a:pt x="24110" y="131631"/>
                  </a:lnTo>
                  <a:lnTo>
                    <a:pt x="24110" y="131631"/>
                  </a:lnTo>
                  <a:close/>
                  <a:moveTo>
                    <a:pt x="21504" y="137658"/>
                  </a:moveTo>
                  <a:lnTo>
                    <a:pt x="18246" y="136355"/>
                  </a:lnTo>
                  <a:lnTo>
                    <a:pt x="18246" y="134726"/>
                  </a:lnTo>
                  <a:lnTo>
                    <a:pt x="22807" y="134074"/>
                  </a:lnTo>
                  <a:lnTo>
                    <a:pt x="21504" y="137658"/>
                  </a:lnTo>
                  <a:lnTo>
                    <a:pt x="21504" y="137658"/>
                  </a:lnTo>
                  <a:close/>
                  <a:moveTo>
                    <a:pt x="16943" y="150039"/>
                  </a:moveTo>
                  <a:lnTo>
                    <a:pt x="18083" y="153135"/>
                  </a:lnTo>
                  <a:lnTo>
                    <a:pt x="14662" y="155252"/>
                  </a:lnTo>
                  <a:lnTo>
                    <a:pt x="14662" y="152646"/>
                  </a:lnTo>
                  <a:cubicBezTo>
                    <a:pt x="14662" y="152646"/>
                    <a:pt x="16943" y="150039"/>
                    <a:pt x="16943" y="150039"/>
                  </a:cubicBezTo>
                  <a:lnTo>
                    <a:pt x="16943" y="150039"/>
                  </a:lnTo>
                  <a:close/>
                  <a:moveTo>
                    <a:pt x="21341" y="148410"/>
                  </a:moveTo>
                  <a:lnTo>
                    <a:pt x="20364" y="144175"/>
                  </a:lnTo>
                  <a:lnTo>
                    <a:pt x="21667" y="141731"/>
                  </a:lnTo>
                  <a:lnTo>
                    <a:pt x="21178" y="138636"/>
                  </a:lnTo>
                  <a:lnTo>
                    <a:pt x="18572" y="138147"/>
                  </a:lnTo>
                  <a:lnTo>
                    <a:pt x="18572" y="141079"/>
                  </a:lnTo>
                  <a:cubicBezTo>
                    <a:pt x="18572" y="141079"/>
                    <a:pt x="17431" y="144175"/>
                    <a:pt x="17431" y="144175"/>
                  </a:cubicBezTo>
                  <a:lnTo>
                    <a:pt x="18409" y="147596"/>
                  </a:lnTo>
                  <a:lnTo>
                    <a:pt x="21341" y="148247"/>
                  </a:lnTo>
                  <a:lnTo>
                    <a:pt x="21341" y="148247"/>
                  </a:lnTo>
                  <a:close/>
                  <a:moveTo>
                    <a:pt x="46429" y="151343"/>
                  </a:moveTo>
                  <a:lnTo>
                    <a:pt x="46103" y="146455"/>
                  </a:lnTo>
                  <a:lnTo>
                    <a:pt x="40239" y="147107"/>
                  </a:lnTo>
                  <a:lnTo>
                    <a:pt x="36818" y="141079"/>
                  </a:lnTo>
                  <a:lnTo>
                    <a:pt x="37469" y="139450"/>
                  </a:lnTo>
                  <a:lnTo>
                    <a:pt x="35677" y="138147"/>
                  </a:lnTo>
                  <a:lnTo>
                    <a:pt x="35677" y="139939"/>
                  </a:lnTo>
                  <a:cubicBezTo>
                    <a:pt x="35677" y="139939"/>
                    <a:pt x="30790" y="136518"/>
                    <a:pt x="30790" y="136518"/>
                  </a:cubicBezTo>
                  <a:lnTo>
                    <a:pt x="32745" y="134726"/>
                  </a:lnTo>
                  <a:lnTo>
                    <a:pt x="34537" y="135866"/>
                  </a:lnTo>
                  <a:lnTo>
                    <a:pt x="34211" y="131468"/>
                  </a:lnTo>
                  <a:lnTo>
                    <a:pt x="39587" y="135215"/>
                  </a:lnTo>
                  <a:lnTo>
                    <a:pt x="38935" y="129513"/>
                  </a:lnTo>
                  <a:lnTo>
                    <a:pt x="41379" y="128372"/>
                  </a:lnTo>
                  <a:lnTo>
                    <a:pt x="43985" y="132771"/>
                  </a:lnTo>
                  <a:lnTo>
                    <a:pt x="43334" y="141242"/>
                  </a:lnTo>
                  <a:lnTo>
                    <a:pt x="48384" y="144012"/>
                  </a:lnTo>
                  <a:lnTo>
                    <a:pt x="51317" y="143360"/>
                  </a:lnTo>
                  <a:lnTo>
                    <a:pt x="53109" y="144663"/>
                  </a:lnTo>
                  <a:lnTo>
                    <a:pt x="49687" y="146618"/>
                  </a:lnTo>
                  <a:lnTo>
                    <a:pt x="48221" y="151017"/>
                  </a:lnTo>
                  <a:lnTo>
                    <a:pt x="46266" y="151343"/>
                  </a:lnTo>
                  <a:lnTo>
                    <a:pt x="46266" y="151343"/>
                  </a:lnTo>
                  <a:close/>
                  <a:moveTo>
                    <a:pt x="38610" y="178874"/>
                  </a:moveTo>
                  <a:lnTo>
                    <a:pt x="48058" y="176756"/>
                  </a:lnTo>
                  <a:lnTo>
                    <a:pt x="48384" y="178223"/>
                  </a:lnTo>
                  <a:lnTo>
                    <a:pt x="52783" y="174802"/>
                  </a:lnTo>
                  <a:lnTo>
                    <a:pt x="50991" y="170729"/>
                  </a:lnTo>
                  <a:lnTo>
                    <a:pt x="47733" y="170240"/>
                  </a:lnTo>
                  <a:lnTo>
                    <a:pt x="43660" y="165679"/>
                  </a:lnTo>
                  <a:lnTo>
                    <a:pt x="39098" y="168937"/>
                  </a:lnTo>
                  <a:lnTo>
                    <a:pt x="45615" y="172195"/>
                  </a:lnTo>
                  <a:lnTo>
                    <a:pt x="41868" y="174150"/>
                  </a:lnTo>
                  <a:lnTo>
                    <a:pt x="42845" y="175779"/>
                  </a:lnTo>
                  <a:lnTo>
                    <a:pt x="38447" y="178874"/>
                  </a:lnTo>
                  <a:lnTo>
                    <a:pt x="38447" y="178874"/>
                  </a:lnTo>
                  <a:close/>
                  <a:moveTo>
                    <a:pt x="45615" y="196631"/>
                  </a:moveTo>
                  <a:lnTo>
                    <a:pt x="43823" y="192070"/>
                  </a:lnTo>
                  <a:lnTo>
                    <a:pt x="52457" y="183924"/>
                  </a:lnTo>
                  <a:lnTo>
                    <a:pt x="48547" y="192559"/>
                  </a:lnTo>
                  <a:lnTo>
                    <a:pt x="45452" y="196631"/>
                  </a:lnTo>
                  <a:lnTo>
                    <a:pt x="45452" y="196631"/>
                  </a:lnTo>
                  <a:close/>
                  <a:moveTo>
                    <a:pt x="39261" y="202985"/>
                  </a:moveTo>
                  <a:lnTo>
                    <a:pt x="44474" y="199889"/>
                  </a:lnTo>
                  <a:lnTo>
                    <a:pt x="42356" y="191581"/>
                  </a:lnTo>
                  <a:lnTo>
                    <a:pt x="35026" y="194514"/>
                  </a:lnTo>
                  <a:lnTo>
                    <a:pt x="35026" y="201030"/>
                  </a:lnTo>
                  <a:cubicBezTo>
                    <a:pt x="35026" y="201030"/>
                    <a:pt x="39750" y="198098"/>
                    <a:pt x="39750" y="198098"/>
                  </a:cubicBezTo>
                  <a:lnTo>
                    <a:pt x="39098" y="202985"/>
                  </a:lnTo>
                  <a:lnTo>
                    <a:pt x="39098" y="202985"/>
                  </a:lnTo>
                  <a:close/>
                  <a:moveTo>
                    <a:pt x="57996" y="202007"/>
                  </a:moveTo>
                  <a:lnTo>
                    <a:pt x="59299" y="209338"/>
                  </a:lnTo>
                  <a:lnTo>
                    <a:pt x="64186" y="211293"/>
                  </a:lnTo>
                  <a:lnTo>
                    <a:pt x="65652" y="206243"/>
                  </a:lnTo>
                  <a:lnTo>
                    <a:pt x="62231" y="199075"/>
                  </a:lnTo>
                  <a:lnTo>
                    <a:pt x="58159" y="202007"/>
                  </a:lnTo>
                  <a:lnTo>
                    <a:pt x="58159" y="202007"/>
                  </a:lnTo>
                  <a:close/>
                  <a:moveTo>
                    <a:pt x="74938" y="286231"/>
                  </a:moveTo>
                  <a:lnTo>
                    <a:pt x="81943" y="289815"/>
                  </a:lnTo>
                  <a:lnTo>
                    <a:pt x="87971" y="285091"/>
                  </a:lnTo>
                  <a:lnTo>
                    <a:pt x="83572" y="285580"/>
                  </a:lnTo>
                  <a:lnTo>
                    <a:pt x="81618" y="281344"/>
                  </a:lnTo>
                  <a:lnTo>
                    <a:pt x="76242" y="281996"/>
                  </a:lnTo>
                  <a:cubicBezTo>
                    <a:pt x="76242" y="281996"/>
                    <a:pt x="74938" y="286068"/>
                    <a:pt x="74938" y="286231"/>
                  </a:cubicBezTo>
                  <a:lnTo>
                    <a:pt x="74938" y="286231"/>
                  </a:lnTo>
                  <a:close/>
                  <a:moveTo>
                    <a:pt x="70051" y="259026"/>
                  </a:moveTo>
                  <a:lnTo>
                    <a:pt x="72006" y="252509"/>
                  </a:lnTo>
                  <a:lnTo>
                    <a:pt x="80314" y="245341"/>
                  </a:lnTo>
                  <a:lnTo>
                    <a:pt x="79500" y="249740"/>
                  </a:lnTo>
                  <a:lnTo>
                    <a:pt x="80477" y="252346"/>
                  </a:lnTo>
                  <a:lnTo>
                    <a:pt x="74450" y="258537"/>
                  </a:lnTo>
                  <a:lnTo>
                    <a:pt x="70214" y="259189"/>
                  </a:lnTo>
                  <a:lnTo>
                    <a:pt x="70214" y="259189"/>
                  </a:lnTo>
                  <a:close/>
                  <a:moveTo>
                    <a:pt x="60439" y="404503"/>
                  </a:moveTo>
                  <a:lnTo>
                    <a:pt x="63209" y="401897"/>
                  </a:lnTo>
                  <a:lnTo>
                    <a:pt x="62068" y="399942"/>
                  </a:lnTo>
                  <a:lnTo>
                    <a:pt x="64512" y="396521"/>
                  </a:lnTo>
                  <a:lnTo>
                    <a:pt x="65652" y="398150"/>
                  </a:lnTo>
                  <a:lnTo>
                    <a:pt x="68748" y="395218"/>
                  </a:lnTo>
                  <a:lnTo>
                    <a:pt x="70703" y="395218"/>
                  </a:lnTo>
                  <a:cubicBezTo>
                    <a:pt x="70703" y="395218"/>
                    <a:pt x="72169" y="391471"/>
                    <a:pt x="72169" y="391471"/>
                  </a:cubicBezTo>
                  <a:lnTo>
                    <a:pt x="76893" y="392774"/>
                  </a:lnTo>
                  <a:lnTo>
                    <a:pt x="80640" y="391145"/>
                  </a:lnTo>
                  <a:lnTo>
                    <a:pt x="83572" y="391634"/>
                  </a:lnTo>
                  <a:lnTo>
                    <a:pt x="85690" y="390493"/>
                  </a:lnTo>
                  <a:lnTo>
                    <a:pt x="87808" y="393263"/>
                  </a:lnTo>
                  <a:lnTo>
                    <a:pt x="90252" y="393263"/>
                  </a:lnTo>
                  <a:cubicBezTo>
                    <a:pt x="90252" y="393263"/>
                    <a:pt x="93673" y="396032"/>
                    <a:pt x="93673" y="396032"/>
                  </a:cubicBezTo>
                  <a:lnTo>
                    <a:pt x="97745" y="396032"/>
                  </a:lnTo>
                  <a:cubicBezTo>
                    <a:pt x="97745" y="396032"/>
                    <a:pt x="96931" y="393100"/>
                    <a:pt x="96931" y="393100"/>
                  </a:cubicBezTo>
                  <a:lnTo>
                    <a:pt x="100189" y="391634"/>
                  </a:lnTo>
                  <a:lnTo>
                    <a:pt x="101004" y="389190"/>
                  </a:lnTo>
                  <a:lnTo>
                    <a:pt x="100189" y="384791"/>
                  </a:lnTo>
                  <a:lnTo>
                    <a:pt x="102959" y="382022"/>
                  </a:lnTo>
                  <a:lnTo>
                    <a:pt x="105239" y="381696"/>
                  </a:lnTo>
                  <a:lnTo>
                    <a:pt x="106217" y="379904"/>
                  </a:lnTo>
                  <a:lnTo>
                    <a:pt x="115340" y="377786"/>
                  </a:lnTo>
                  <a:lnTo>
                    <a:pt x="120064" y="378112"/>
                  </a:lnTo>
                  <a:lnTo>
                    <a:pt x="125603" y="381859"/>
                  </a:lnTo>
                  <a:lnTo>
                    <a:pt x="127558" y="381044"/>
                  </a:lnTo>
                  <a:lnTo>
                    <a:pt x="133585" y="381370"/>
                  </a:lnTo>
                  <a:lnTo>
                    <a:pt x="136844" y="382511"/>
                  </a:lnTo>
                  <a:lnTo>
                    <a:pt x="138310" y="378601"/>
                  </a:lnTo>
                  <a:lnTo>
                    <a:pt x="143849" y="375831"/>
                  </a:lnTo>
                  <a:lnTo>
                    <a:pt x="147596" y="376972"/>
                  </a:lnTo>
                  <a:lnTo>
                    <a:pt x="152972" y="373388"/>
                  </a:lnTo>
                  <a:lnTo>
                    <a:pt x="156719" y="374202"/>
                  </a:lnTo>
                  <a:lnTo>
                    <a:pt x="158674" y="373876"/>
                  </a:lnTo>
                  <a:lnTo>
                    <a:pt x="161280" y="371922"/>
                  </a:lnTo>
                  <a:lnTo>
                    <a:pt x="162095" y="373876"/>
                  </a:lnTo>
                  <a:lnTo>
                    <a:pt x="165353" y="375668"/>
                  </a:lnTo>
                  <a:lnTo>
                    <a:pt x="169100" y="373225"/>
                  </a:lnTo>
                  <a:lnTo>
                    <a:pt x="177408" y="373225"/>
                  </a:lnTo>
                  <a:cubicBezTo>
                    <a:pt x="177408" y="373225"/>
                    <a:pt x="182621" y="371922"/>
                    <a:pt x="182621" y="371922"/>
                  </a:cubicBezTo>
                  <a:lnTo>
                    <a:pt x="187671" y="373551"/>
                  </a:lnTo>
                  <a:lnTo>
                    <a:pt x="190115" y="374039"/>
                  </a:lnTo>
                  <a:lnTo>
                    <a:pt x="193862" y="370944"/>
                  </a:lnTo>
                  <a:lnTo>
                    <a:pt x="198097" y="370130"/>
                  </a:lnTo>
                  <a:lnTo>
                    <a:pt x="201844" y="366709"/>
                  </a:lnTo>
                  <a:lnTo>
                    <a:pt x="204288" y="366709"/>
                  </a:lnTo>
                  <a:cubicBezTo>
                    <a:pt x="204288" y="366709"/>
                    <a:pt x="206895" y="367034"/>
                    <a:pt x="206895" y="367034"/>
                  </a:cubicBezTo>
                  <a:lnTo>
                    <a:pt x="206243" y="364265"/>
                  </a:lnTo>
                  <a:lnTo>
                    <a:pt x="212108" y="360192"/>
                  </a:lnTo>
                  <a:lnTo>
                    <a:pt x="215855" y="359378"/>
                  </a:lnTo>
                  <a:lnTo>
                    <a:pt x="216181" y="355631"/>
                  </a:lnTo>
                  <a:lnTo>
                    <a:pt x="215040" y="353024"/>
                  </a:lnTo>
                  <a:lnTo>
                    <a:pt x="216181" y="349929"/>
                  </a:lnTo>
                  <a:lnTo>
                    <a:pt x="209501" y="349929"/>
                  </a:lnTo>
                  <a:cubicBezTo>
                    <a:pt x="209501" y="349929"/>
                    <a:pt x="204777" y="351884"/>
                    <a:pt x="204777" y="351884"/>
                  </a:cubicBezTo>
                  <a:lnTo>
                    <a:pt x="202008" y="352372"/>
                  </a:lnTo>
                  <a:lnTo>
                    <a:pt x="197609" y="350743"/>
                  </a:lnTo>
                  <a:lnTo>
                    <a:pt x="195980" y="350255"/>
                  </a:lnTo>
                  <a:lnTo>
                    <a:pt x="197446" y="348789"/>
                  </a:lnTo>
                  <a:lnTo>
                    <a:pt x="198749" y="348789"/>
                  </a:lnTo>
                  <a:cubicBezTo>
                    <a:pt x="198749" y="348789"/>
                    <a:pt x="199238" y="347648"/>
                    <a:pt x="199238" y="347648"/>
                  </a:cubicBezTo>
                  <a:lnTo>
                    <a:pt x="195165" y="346671"/>
                  </a:lnTo>
                  <a:lnTo>
                    <a:pt x="191744" y="347974"/>
                  </a:lnTo>
                  <a:lnTo>
                    <a:pt x="196631" y="344553"/>
                  </a:lnTo>
                  <a:lnTo>
                    <a:pt x="199890" y="344879"/>
                  </a:lnTo>
                  <a:lnTo>
                    <a:pt x="203799" y="342924"/>
                  </a:lnTo>
                  <a:lnTo>
                    <a:pt x="202659" y="339666"/>
                  </a:lnTo>
                  <a:lnTo>
                    <a:pt x="198749" y="339666"/>
                  </a:lnTo>
                  <a:cubicBezTo>
                    <a:pt x="198749" y="339666"/>
                    <a:pt x="201681" y="337059"/>
                    <a:pt x="201681" y="337059"/>
                  </a:cubicBezTo>
                  <a:lnTo>
                    <a:pt x="203799" y="334941"/>
                  </a:lnTo>
                  <a:lnTo>
                    <a:pt x="206080" y="336896"/>
                  </a:lnTo>
                  <a:lnTo>
                    <a:pt x="209664" y="334290"/>
                  </a:lnTo>
                  <a:lnTo>
                    <a:pt x="211130" y="332009"/>
                  </a:lnTo>
                  <a:lnTo>
                    <a:pt x="209338" y="331683"/>
                  </a:lnTo>
                  <a:lnTo>
                    <a:pt x="210479" y="329891"/>
                  </a:lnTo>
                  <a:lnTo>
                    <a:pt x="206406" y="329402"/>
                  </a:lnTo>
                  <a:lnTo>
                    <a:pt x="208035" y="326633"/>
                  </a:lnTo>
                  <a:lnTo>
                    <a:pt x="210642" y="327284"/>
                  </a:lnTo>
                  <a:lnTo>
                    <a:pt x="211456" y="329239"/>
                  </a:lnTo>
                  <a:lnTo>
                    <a:pt x="214388" y="325330"/>
                  </a:lnTo>
                  <a:lnTo>
                    <a:pt x="217321" y="324189"/>
                  </a:lnTo>
                  <a:lnTo>
                    <a:pt x="217810" y="316858"/>
                  </a:lnTo>
                  <a:lnTo>
                    <a:pt x="220579" y="310016"/>
                  </a:lnTo>
                  <a:lnTo>
                    <a:pt x="218461" y="307247"/>
                  </a:lnTo>
                  <a:lnTo>
                    <a:pt x="217321" y="300893"/>
                  </a:lnTo>
                  <a:lnTo>
                    <a:pt x="208849" y="294214"/>
                  </a:lnTo>
                  <a:lnTo>
                    <a:pt x="196957" y="293725"/>
                  </a:lnTo>
                  <a:lnTo>
                    <a:pt x="189626" y="293725"/>
                  </a:lnTo>
                  <a:cubicBezTo>
                    <a:pt x="189626" y="293725"/>
                    <a:pt x="188974" y="299427"/>
                    <a:pt x="188974" y="299427"/>
                  </a:cubicBezTo>
                  <a:lnTo>
                    <a:pt x="187020" y="302522"/>
                  </a:lnTo>
                  <a:lnTo>
                    <a:pt x="183110" y="298124"/>
                  </a:lnTo>
                  <a:lnTo>
                    <a:pt x="178385" y="296983"/>
                  </a:lnTo>
                  <a:lnTo>
                    <a:pt x="185717" y="289652"/>
                  </a:lnTo>
                  <a:lnTo>
                    <a:pt x="185717" y="285091"/>
                  </a:lnTo>
                  <a:lnTo>
                    <a:pt x="179852" y="275642"/>
                  </a:lnTo>
                  <a:lnTo>
                    <a:pt x="177571" y="275316"/>
                  </a:lnTo>
                  <a:lnTo>
                    <a:pt x="172521" y="272384"/>
                  </a:lnTo>
                  <a:lnTo>
                    <a:pt x="170403" y="268800"/>
                  </a:lnTo>
                  <a:lnTo>
                    <a:pt x="167796" y="269289"/>
                  </a:lnTo>
                  <a:lnTo>
                    <a:pt x="166005" y="269940"/>
                  </a:lnTo>
                  <a:lnTo>
                    <a:pt x="162909" y="268800"/>
                  </a:lnTo>
                  <a:lnTo>
                    <a:pt x="161117" y="268800"/>
                  </a:lnTo>
                  <a:cubicBezTo>
                    <a:pt x="161117" y="268800"/>
                    <a:pt x="164538" y="267986"/>
                    <a:pt x="164538" y="267986"/>
                  </a:cubicBezTo>
                  <a:lnTo>
                    <a:pt x="166819" y="268637"/>
                  </a:lnTo>
                  <a:lnTo>
                    <a:pt x="170566" y="267823"/>
                  </a:lnTo>
                  <a:lnTo>
                    <a:pt x="172847" y="268963"/>
                  </a:lnTo>
                  <a:lnTo>
                    <a:pt x="174801" y="271081"/>
                  </a:lnTo>
                  <a:lnTo>
                    <a:pt x="177408" y="270592"/>
                  </a:lnTo>
                  <a:lnTo>
                    <a:pt x="179852" y="271244"/>
                  </a:lnTo>
                  <a:lnTo>
                    <a:pt x="173010" y="262772"/>
                  </a:lnTo>
                  <a:lnTo>
                    <a:pt x="169751" y="258700"/>
                  </a:lnTo>
                  <a:lnTo>
                    <a:pt x="171706" y="255442"/>
                  </a:lnTo>
                  <a:lnTo>
                    <a:pt x="173498" y="254790"/>
                  </a:lnTo>
                  <a:lnTo>
                    <a:pt x="170077" y="252998"/>
                  </a:lnTo>
                  <a:lnTo>
                    <a:pt x="168611" y="250391"/>
                  </a:lnTo>
                  <a:lnTo>
                    <a:pt x="167145" y="250391"/>
                  </a:lnTo>
                  <a:cubicBezTo>
                    <a:pt x="167145" y="250391"/>
                    <a:pt x="163072" y="242898"/>
                    <a:pt x="163072" y="242898"/>
                  </a:cubicBezTo>
                  <a:lnTo>
                    <a:pt x="157044" y="239802"/>
                  </a:lnTo>
                  <a:lnTo>
                    <a:pt x="148573" y="237847"/>
                  </a:lnTo>
                  <a:lnTo>
                    <a:pt x="148247" y="234426"/>
                  </a:lnTo>
                  <a:lnTo>
                    <a:pt x="146292" y="233286"/>
                  </a:lnTo>
                  <a:lnTo>
                    <a:pt x="143523" y="224000"/>
                  </a:lnTo>
                  <a:lnTo>
                    <a:pt x="140428" y="218950"/>
                  </a:lnTo>
                  <a:lnTo>
                    <a:pt x="138310" y="207058"/>
                  </a:lnTo>
                  <a:lnTo>
                    <a:pt x="135866" y="203148"/>
                  </a:lnTo>
                  <a:lnTo>
                    <a:pt x="133585" y="203148"/>
                  </a:lnTo>
                  <a:cubicBezTo>
                    <a:pt x="133585" y="203148"/>
                    <a:pt x="126418" y="192559"/>
                    <a:pt x="126418" y="192559"/>
                  </a:cubicBezTo>
                  <a:lnTo>
                    <a:pt x="122182" y="191581"/>
                  </a:lnTo>
                  <a:lnTo>
                    <a:pt x="118924" y="188812"/>
                  </a:lnTo>
                  <a:lnTo>
                    <a:pt x="113548" y="186694"/>
                  </a:lnTo>
                  <a:lnTo>
                    <a:pt x="111430" y="188649"/>
                  </a:lnTo>
                  <a:lnTo>
                    <a:pt x="107194" y="191418"/>
                  </a:lnTo>
                  <a:lnTo>
                    <a:pt x="101167" y="189463"/>
                  </a:lnTo>
                  <a:lnTo>
                    <a:pt x="98234" y="189789"/>
                  </a:lnTo>
                  <a:lnTo>
                    <a:pt x="93347" y="188160"/>
                  </a:lnTo>
                  <a:lnTo>
                    <a:pt x="91881" y="185554"/>
                  </a:lnTo>
                  <a:lnTo>
                    <a:pt x="94813" y="187020"/>
                  </a:lnTo>
                  <a:lnTo>
                    <a:pt x="100678" y="187508"/>
                  </a:lnTo>
                  <a:lnTo>
                    <a:pt x="105565" y="185879"/>
                  </a:lnTo>
                  <a:lnTo>
                    <a:pt x="107031" y="181969"/>
                  </a:lnTo>
                  <a:lnTo>
                    <a:pt x="111919" y="181969"/>
                  </a:lnTo>
                  <a:cubicBezTo>
                    <a:pt x="111919" y="181969"/>
                    <a:pt x="116317" y="178711"/>
                    <a:pt x="116317" y="178711"/>
                  </a:cubicBezTo>
                  <a:lnTo>
                    <a:pt x="111756" y="176593"/>
                  </a:lnTo>
                  <a:lnTo>
                    <a:pt x="111430" y="173987"/>
                  </a:lnTo>
                  <a:lnTo>
                    <a:pt x="109638" y="172521"/>
                  </a:lnTo>
                  <a:lnTo>
                    <a:pt x="103284" y="175942"/>
                  </a:lnTo>
                  <a:lnTo>
                    <a:pt x="102307" y="174639"/>
                  </a:lnTo>
                  <a:lnTo>
                    <a:pt x="107194" y="171055"/>
                  </a:lnTo>
                  <a:lnTo>
                    <a:pt x="113059" y="171380"/>
                  </a:lnTo>
                  <a:lnTo>
                    <a:pt x="116480" y="168448"/>
                  </a:lnTo>
                  <a:lnTo>
                    <a:pt x="117132" y="165842"/>
                  </a:lnTo>
                  <a:lnTo>
                    <a:pt x="119412" y="164375"/>
                  </a:lnTo>
                  <a:lnTo>
                    <a:pt x="122834" y="157859"/>
                  </a:lnTo>
                  <a:lnTo>
                    <a:pt x="124951" y="154764"/>
                  </a:lnTo>
                  <a:lnTo>
                    <a:pt x="124626" y="152646"/>
                  </a:lnTo>
                  <a:lnTo>
                    <a:pt x="127069" y="148247"/>
                  </a:lnTo>
                  <a:lnTo>
                    <a:pt x="126255" y="146618"/>
                  </a:lnTo>
                  <a:lnTo>
                    <a:pt x="128372" y="140591"/>
                  </a:lnTo>
                  <a:lnTo>
                    <a:pt x="132445" y="137169"/>
                  </a:lnTo>
                  <a:lnTo>
                    <a:pt x="132445" y="133260"/>
                  </a:lnTo>
                  <a:lnTo>
                    <a:pt x="126418" y="127721"/>
                  </a:lnTo>
                  <a:lnTo>
                    <a:pt x="125114" y="128698"/>
                  </a:lnTo>
                  <a:lnTo>
                    <a:pt x="114851" y="129024"/>
                  </a:lnTo>
                  <a:lnTo>
                    <a:pt x="108498" y="127884"/>
                  </a:lnTo>
                  <a:lnTo>
                    <a:pt x="106706" y="129187"/>
                  </a:lnTo>
                  <a:lnTo>
                    <a:pt x="103610" y="129187"/>
                  </a:lnTo>
                  <a:cubicBezTo>
                    <a:pt x="103610" y="129187"/>
                    <a:pt x="99701" y="127884"/>
                    <a:pt x="99701" y="127884"/>
                  </a:cubicBezTo>
                  <a:lnTo>
                    <a:pt x="96931" y="127884"/>
                  </a:lnTo>
                  <a:cubicBezTo>
                    <a:pt x="96931" y="127884"/>
                    <a:pt x="96605" y="129350"/>
                    <a:pt x="96605" y="129350"/>
                  </a:cubicBezTo>
                  <a:lnTo>
                    <a:pt x="92695" y="130490"/>
                  </a:lnTo>
                  <a:lnTo>
                    <a:pt x="88460" y="132771"/>
                  </a:lnTo>
                  <a:lnTo>
                    <a:pt x="86831" y="132771"/>
                  </a:lnTo>
                  <a:cubicBezTo>
                    <a:pt x="86831" y="132771"/>
                    <a:pt x="84061" y="134889"/>
                    <a:pt x="84061" y="134889"/>
                  </a:cubicBezTo>
                  <a:lnTo>
                    <a:pt x="83247" y="134074"/>
                  </a:lnTo>
                  <a:lnTo>
                    <a:pt x="86993" y="129676"/>
                  </a:lnTo>
                  <a:lnTo>
                    <a:pt x="90903" y="123322"/>
                  </a:lnTo>
                  <a:lnTo>
                    <a:pt x="87971" y="124951"/>
                  </a:lnTo>
                  <a:lnTo>
                    <a:pt x="84387" y="123648"/>
                  </a:lnTo>
                  <a:lnTo>
                    <a:pt x="86505" y="122345"/>
                  </a:lnTo>
                  <a:lnTo>
                    <a:pt x="87319" y="119412"/>
                  </a:lnTo>
                  <a:lnTo>
                    <a:pt x="97257" y="111919"/>
                  </a:lnTo>
                  <a:lnTo>
                    <a:pt x="100189" y="107031"/>
                  </a:lnTo>
                  <a:lnTo>
                    <a:pt x="103610" y="105891"/>
                  </a:lnTo>
                  <a:lnTo>
                    <a:pt x="105239" y="101492"/>
                  </a:lnTo>
                  <a:lnTo>
                    <a:pt x="103447" y="99538"/>
                  </a:lnTo>
                  <a:lnTo>
                    <a:pt x="105402" y="96442"/>
                  </a:lnTo>
                  <a:lnTo>
                    <a:pt x="105402" y="94487"/>
                  </a:lnTo>
                  <a:cubicBezTo>
                    <a:pt x="105402" y="94487"/>
                    <a:pt x="100189" y="94487"/>
                    <a:pt x="100189" y="94487"/>
                  </a:cubicBezTo>
                  <a:lnTo>
                    <a:pt x="98234" y="96605"/>
                  </a:lnTo>
                  <a:lnTo>
                    <a:pt x="94976" y="95628"/>
                  </a:lnTo>
                  <a:lnTo>
                    <a:pt x="90089" y="97745"/>
                  </a:lnTo>
                  <a:lnTo>
                    <a:pt x="85690" y="97257"/>
                  </a:lnTo>
                  <a:lnTo>
                    <a:pt x="81943" y="98886"/>
                  </a:lnTo>
                  <a:lnTo>
                    <a:pt x="79826" y="98886"/>
                  </a:lnTo>
                  <a:cubicBezTo>
                    <a:pt x="79826" y="98886"/>
                    <a:pt x="77545" y="101004"/>
                    <a:pt x="77545" y="101004"/>
                  </a:cubicBezTo>
                  <a:lnTo>
                    <a:pt x="78034" y="98723"/>
                  </a:lnTo>
                  <a:lnTo>
                    <a:pt x="76079" y="97908"/>
                  </a:lnTo>
                  <a:lnTo>
                    <a:pt x="72006" y="101492"/>
                  </a:lnTo>
                  <a:lnTo>
                    <a:pt x="73309" y="98234"/>
                  </a:lnTo>
                  <a:lnTo>
                    <a:pt x="67607" y="95628"/>
                  </a:lnTo>
                  <a:lnTo>
                    <a:pt x="66630" y="99212"/>
                  </a:lnTo>
                  <a:lnTo>
                    <a:pt x="64675" y="100678"/>
                  </a:lnTo>
                  <a:lnTo>
                    <a:pt x="65327" y="103936"/>
                  </a:lnTo>
                  <a:lnTo>
                    <a:pt x="64186" y="103936"/>
                  </a:lnTo>
                  <a:cubicBezTo>
                    <a:pt x="64186" y="103936"/>
                    <a:pt x="64349" y="108009"/>
                    <a:pt x="64349" y="108009"/>
                  </a:cubicBezTo>
                  <a:lnTo>
                    <a:pt x="60114" y="108986"/>
                  </a:lnTo>
                  <a:lnTo>
                    <a:pt x="62068" y="112407"/>
                  </a:lnTo>
                  <a:lnTo>
                    <a:pt x="60276" y="115828"/>
                  </a:lnTo>
                  <a:lnTo>
                    <a:pt x="58322" y="115828"/>
                  </a:lnTo>
                  <a:cubicBezTo>
                    <a:pt x="58322" y="115828"/>
                    <a:pt x="63209" y="120390"/>
                    <a:pt x="63209" y="120390"/>
                  </a:cubicBezTo>
                  <a:lnTo>
                    <a:pt x="65001" y="123485"/>
                  </a:lnTo>
                  <a:lnTo>
                    <a:pt x="59951" y="120879"/>
                  </a:lnTo>
                  <a:lnTo>
                    <a:pt x="58159" y="122508"/>
                  </a:lnTo>
                  <a:lnTo>
                    <a:pt x="54412" y="120064"/>
                  </a:lnTo>
                  <a:lnTo>
                    <a:pt x="54412" y="121856"/>
                  </a:lnTo>
                  <a:cubicBezTo>
                    <a:pt x="54412" y="121856"/>
                    <a:pt x="55226" y="124137"/>
                    <a:pt x="55226" y="124137"/>
                  </a:cubicBezTo>
                  <a:lnTo>
                    <a:pt x="54086" y="125929"/>
                  </a:lnTo>
                  <a:lnTo>
                    <a:pt x="52131" y="122182"/>
                  </a:lnTo>
                  <a:lnTo>
                    <a:pt x="50339" y="126255"/>
                  </a:lnTo>
                  <a:lnTo>
                    <a:pt x="52294" y="128372"/>
                  </a:lnTo>
                  <a:lnTo>
                    <a:pt x="50665" y="130490"/>
                  </a:lnTo>
                  <a:lnTo>
                    <a:pt x="53597" y="133911"/>
                  </a:lnTo>
                  <a:lnTo>
                    <a:pt x="56529" y="133911"/>
                  </a:lnTo>
                  <a:cubicBezTo>
                    <a:pt x="56529" y="133911"/>
                    <a:pt x="53109" y="135215"/>
                    <a:pt x="53109" y="135215"/>
                  </a:cubicBezTo>
                  <a:lnTo>
                    <a:pt x="49687" y="133260"/>
                  </a:lnTo>
                  <a:lnTo>
                    <a:pt x="50502" y="138799"/>
                  </a:lnTo>
                  <a:lnTo>
                    <a:pt x="50502" y="140591"/>
                  </a:lnTo>
                  <a:cubicBezTo>
                    <a:pt x="50502" y="140591"/>
                    <a:pt x="56855" y="139613"/>
                    <a:pt x="56855" y="139613"/>
                  </a:cubicBezTo>
                  <a:lnTo>
                    <a:pt x="52620" y="141731"/>
                  </a:lnTo>
                  <a:lnTo>
                    <a:pt x="52131" y="142871"/>
                  </a:lnTo>
                  <a:lnTo>
                    <a:pt x="53434" y="143686"/>
                  </a:lnTo>
                  <a:lnTo>
                    <a:pt x="57507" y="142220"/>
                  </a:lnTo>
                  <a:lnTo>
                    <a:pt x="56529" y="143197"/>
                  </a:lnTo>
                  <a:lnTo>
                    <a:pt x="58159" y="145315"/>
                  </a:lnTo>
                  <a:lnTo>
                    <a:pt x="55226" y="144175"/>
                  </a:lnTo>
                  <a:lnTo>
                    <a:pt x="54086" y="144989"/>
                  </a:lnTo>
                  <a:lnTo>
                    <a:pt x="53271" y="147759"/>
                  </a:lnTo>
                  <a:lnTo>
                    <a:pt x="54901" y="148899"/>
                  </a:lnTo>
                  <a:lnTo>
                    <a:pt x="52457" y="149225"/>
                  </a:lnTo>
                  <a:lnTo>
                    <a:pt x="50991" y="151506"/>
                  </a:lnTo>
                  <a:lnTo>
                    <a:pt x="53760" y="152483"/>
                  </a:lnTo>
                  <a:lnTo>
                    <a:pt x="54412" y="154601"/>
                  </a:lnTo>
                  <a:lnTo>
                    <a:pt x="49850" y="152809"/>
                  </a:lnTo>
                  <a:lnTo>
                    <a:pt x="49036" y="155904"/>
                  </a:lnTo>
                  <a:lnTo>
                    <a:pt x="50828" y="157207"/>
                  </a:lnTo>
                  <a:lnTo>
                    <a:pt x="49850" y="159162"/>
                  </a:lnTo>
                  <a:lnTo>
                    <a:pt x="47733" y="160791"/>
                  </a:lnTo>
                  <a:lnTo>
                    <a:pt x="43334" y="160791"/>
                  </a:lnTo>
                  <a:cubicBezTo>
                    <a:pt x="43334" y="160791"/>
                    <a:pt x="41379" y="162909"/>
                    <a:pt x="41379" y="162909"/>
                  </a:cubicBezTo>
                  <a:lnTo>
                    <a:pt x="43008" y="164050"/>
                  </a:lnTo>
                  <a:lnTo>
                    <a:pt x="46755" y="163724"/>
                  </a:lnTo>
                  <a:lnTo>
                    <a:pt x="49361" y="164538"/>
                  </a:lnTo>
                  <a:lnTo>
                    <a:pt x="48710" y="165679"/>
                  </a:lnTo>
                  <a:lnTo>
                    <a:pt x="45777" y="165679"/>
                  </a:lnTo>
                  <a:cubicBezTo>
                    <a:pt x="45777" y="165679"/>
                    <a:pt x="49687" y="169426"/>
                    <a:pt x="49687" y="169426"/>
                  </a:cubicBezTo>
                  <a:lnTo>
                    <a:pt x="50991" y="168937"/>
                  </a:lnTo>
                  <a:lnTo>
                    <a:pt x="52945" y="171055"/>
                  </a:lnTo>
                  <a:lnTo>
                    <a:pt x="63372" y="160628"/>
                  </a:lnTo>
                  <a:lnTo>
                    <a:pt x="61743" y="163724"/>
                  </a:lnTo>
                  <a:lnTo>
                    <a:pt x="63372" y="164701"/>
                  </a:lnTo>
                  <a:lnTo>
                    <a:pt x="60276" y="165842"/>
                  </a:lnTo>
                  <a:lnTo>
                    <a:pt x="57833" y="171869"/>
                  </a:lnTo>
                  <a:lnTo>
                    <a:pt x="58159" y="173335"/>
                  </a:lnTo>
                  <a:lnTo>
                    <a:pt x="54901" y="179526"/>
                  </a:lnTo>
                  <a:lnTo>
                    <a:pt x="56204" y="180340"/>
                  </a:lnTo>
                  <a:lnTo>
                    <a:pt x="53434" y="187671"/>
                  </a:lnTo>
                  <a:lnTo>
                    <a:pt x="54086" y="192396"/>
                  </a:lnTo>
                  <a:lnTo>
                    <a:pt x="52131" y="195165"/>
                  </a:lnTo>
                  <a:lnTo>
                    <a:pt x="53597" y="197446"/>
                  </a:lnTo>
                  <a:lnTo>
                    <a:pt x="55389" y="196631"/>
                  </a:lnTo>
                  <a:lnTo>
                    <a:pt x="52131" y="201844"/>
                  </a:lnTo>
                  <a:lnTo>
                    <a:pt x="51479" y="209175"/>
                  </a:lnTo>
                  <a:lnTo>
                    <a:pt x="49036" y="211619"/>
                  </a:lnTo>
                  <a:lnTo>
                    <a:pt x="49036" y="213411"/>
                  </a:lnTo>
                  <a:cubicBezTo>
                    <a:pt x="49036" y="213411"/>
                    <a:pt x="54575" y="213411"/>
                    <a:pt x="54575" y="213411"/>
                  </a:cubicBezTo>
                  <a:lnTo>
                    <a:pt x="53760" y="209664"/>
                  </a:lnTo>
                  <a:lnTo>
                    <a:pt x="56041" y="204288"/>
                  </a:lnTo>
                  <a:lnTo>
                    <a:pt x="56041" y="201030"/>
                  </a:lnTo>
                  <a:cubicBezTo>
                    <a:pt x="56041" y="201030"/>
                    <a:pt x="58647" y="197609"/>
                    <a:pt x="58647" y="197609"/>
                  </a:cubicBezTo>
                  <a:lnTo>
                    <a:pt x="56529" y="188649"/>
                  </a:lnTo>
                  <a:lnTo>
                    <a:pt x="58484" y="188649"/>
                  </a:lnTo>
                  <a:cubicBezTo>
                    <a:pt x="58484" y="188649"/>
                    <a:pt x="64838" y="180992"/>
                    <a:pt x="64838" y="180992"/>
                  </a:cubicBezTo>
                  <a:lnTo>
                    <a:pt x="59951" y="188323"/>
                  </a:lnTo>
                  <a:lnTo>
                    <a:pt x="59299" y="193699"/>
                  </a:lnTo>
                  <a:lnTo>
                    <a:pt x="61091" y="195002"/>
                  </a:lnTo>
                  <a:lnTo>
                    <a:pt x="61417" y="191907"/>
                  </a:lnTo>
                  <a:lnTo>
                    <a:pt x="64675" y="189300"/>
                  </a:lnTo>
                  <a:lnTo>
                    <a:pt x="66141" y="194188"/>
                  </a:lnTo>
                  <a:lnTo>
                    <a:pt x="68748" y="188323"/>
                  </a:lnTo>
                  <a:lnTo>
                    <a:pt x="68096" y="184250"/>
                  </a:lnTo>
                  <a:lnTo>
                    <a:pt x="70214" y="183110"/>
                  </a:lnTo>
                  <a:lnTo>
                    <a:pt x="69399" y="188486"/>
                  </a:lnTo>
                  <a:lnTo>
                    <a:pt x="74775" y="192559"/>
                  </a:lnTo>
                  <a:lnTo>
                    <a:pt x="70051" y="191255"/>
                  </a:lnTo>
                  <a:lnTo>
                    <a:pt x="68422" y="198098"/>
                  </a:lnTo>
                  <a:lnTo>
                    <a:pt x="69399" y="203148"/>
                  </a:lnTo>
                  <a:lnTo>
                    <a:pt x="72169" y="203799"/>
                  </a:lnTo>
                  <a:lnTo>
                    <a:pt x="73798" y="208198"/>
                  </a:lnTo>
                  <a:lnTo>
                    <a:pt x="69562" y="212434"/>
                  </a:lnTo>
                  <a:lnTo>
                    <a:pt x="65327" y="223511"/>
                  </a:lnTo>
                  <a:lnTo>
                    <a:pt x="66304" y="228399"/>
                  </a:lnTo>
                  <a:lnTo>
                    <a:pt x="62557" y="226118"/>
                  </a:lnTo>
                  <a:lnTo>
                    <a:pt x="62557" y="231494"/>
                  </a:lnTo>
                  <a:cubicBezTo>
                    <a:pt x="62557" y="231494"/>
                    <a:pt x="67770" y="238499"/>
                    <a:pt x="67770" y="238499"/>
                  </a:cubicBezTo>
                  <a:lnTo>
                    <a:pt x="66141" y="231983"/>
                  </a:lnTo>
                  <a:lnTo>
                    <a:pt x="69562" y="231005"/>
                  </a:lnTo>
                  <a:lnTo>
                    <a:pt x="78522" y="237522"/>
                  </a:lnTo>
                  <a:lnTo>
                    <a:pt x="78522" y="232471"/>
                  </a:lnTo>
                  <a:cubicBezTo>
                    <a:pt x="78522" y="232471"/>
                    <a:pt x="75101" y="229539"/>
                    <a:pt x="75101" y="229539"/>
                  </a:cubicBezTo>
                  <a:lnTo>
                    <a:pt x="77382" y="228887"/>
                  </a:lnTo>
                  <a:lnTo>
                    <a:pt x="84550" y="233449"/>
                  </a:lnTo>
                  <a:lnTo>
                    <a:pt x="89600" y="232634"/>
                  </a:lnTo>
                  <a:lnTo>
                    <a:pt x="89600" y="230516"/>
                  </a:lnTo>
                  <a:lnTo>
                    <a:pt x="94325" y="230516"/>
                  </a:lnTo>
                  <a:cubicBezTo>
                    <a:pt x="94325" y="230516"/>
                    <a:pt x="95628" y="226281"/>
                    <a:pt x="95628" y="226281"/>
                  </a:cubicBezTo>
                  <a:lnTo>
                    <a:pt x="108172" y="226770"/>
                  </a:lnTo>
                  <a:lnTo>
                    <a:pt x="99863" y="229050"/>
                  </a:lnTo>
                  <a:lnTo>
                    <a:pt x="94813" y="243386"/>
                  </a:lnTo>
                  <a:lnTo>
                    <a:pt x="101004" y="254627"/>
                  </a:lnTo>
                  <a:lnTo>
                    <a:pt x="104099" y="252835"/>
                  </a:lnTo>
                  <a:lnTo>
                    <a:pt x="104099" y="258700"/>
                  </a:lnTo>
                  <a:lnTo>
                    <a:pt x="108172" y="253812"/>
                  </a:lnTo>
                  <a:lnTo>
                    <a:pt x="113222" y="254627"/>
                  </a:lnTo>
                  <a:lnTo>
                    <a:pt x="111430" y="260818"/>
                  </a:lnTo>
                  <a:lnTo>
                    <a:pt x="113059" y="261795"/>
                  </a:lnTo>
                  <a:lnTo>
                    <a:pt x="108009" y="265705"/>
                  </a:lnTo>
                  <a:lnTo>
                    <a:pt x="109475" y="272547"/>
                  </a:lnTo>
                  <a:lnTo>
                    <a:pt x="106706" y="277760"/>
                  </a:lnTo>
                  <a:lnTo>
                    <a:pt x="109801" y="281833"/>
                  </a:lnTo>
                  <a:lnTo>
                    <a:pt x="113548" y="285091"/>
                  </a:lnTo>
                  <a:lnTo>
                    <a:pt x="116480" y="285417"/>
                  </a:lnTo>
                  <a:lnTo>
                    <a:pt x="114525" y="286883"/>
                  </a:lnTo>
                  <a:lnTo>
                    <a:pt x="111104" y="286883"/>
                  </a:lnTo>
                  <a:cubicBezTo>
                    <a:pt x="111104" y="286883"/>
                    <a:pt x="108172" y="282973"/>
                    <a:pt x="108172" y="282973"/>
                  </a:cubicBezTo>
                  <a:lnTo>
                    <a:pt x="105402" y="284114"/>
                  </a:lnTo>
                  <a:lnTo>
                    <a:pt x="107683" y="288186"/>
                  </a:lnTo>
                  <a:lnTo>
                    <a:pt x="110127" y="289815"/>
                  </a:lnTo>
                  <a:lnTo>
                    <a:pt x="106217" y="289001"/>
                  </a:lnTo>
                  <a:lnTo>
                    <a:pt x="102959" y="285743"/>
                  </a:lnTo>
                  <a:lnTo>
                    <a:pt x="94813" y="288349"/>
                  </a:lnTo>
                  <a:lnTo>
                    <a:pt x="91066" y="287698"/>
                  </a:lnTo>
                  <a:lnTo>
                    <a:pt x="82595" y="291933"/>
                  </a:lnTo>
                  <a:lnTo>
                    <a:pt x="78196" y="298124"/>
                  </a:lnTo>
                  <a:lnTo>
                    <a:pt x="72169" y="302034"/>
                  </a:lnTo>
                  <a:lnTo>
                    <a:pt x="69562" y="305780"/>
                  </a:lnTo>
                  <a:lnTo>
                    <a:pt x="73472" y="305129"/>
                  </a:lnTo>
                  <a:lnTo>
                    <a:pt x="75427" y="305780"/>
                  </a:lnTo>
                  <a:lnTo>
                    <a:pt x="76079" y="303500"/>
                  </a:lnTo>
                  <a:lnTo>
                    <a:pt x="84713" y="301219"/>
                  </a:lnTo>
                  <a:lnTo>
                    <a:pt x="83898" y="305780"/>
                  </a:lnTo>
                  <a:lnTo>
                    <a:pt x="86831" y="308876"/>
                  </a:lnTo>
                  <a:lnTo>
                    <a:pt x="83572" y="311319"/>
                  </a:lnTo>
                  <a:lnTo>
                    <a:pt x="85364" y="314740"/>
                  </a:lnTo>
                  <a:lnTo>
                    <a:pt x="87319" y="315229"/>
                  </a:lnTo>
                  <a:lnTo>
                    <a:pt x="81780" y="325981"/>
                  </a:lnTo>
                  <a:lnTo>
                    <a:pt x="77708" y="327447"/>
                  </a:lnTo>
                  <a:lnTo>
                    <a:pt x="73635" y="330543"/>
                  </a:lnTo>
                  <a:lnTo>
                    <a:pt x="71680" y="330543"/>
                  </a:lnTo>
                  <a:cubicBezTo>
                    <a:pt x="71680" y="330543"/>
                    <a:pt x="66467" y="333964"/>
                    <a:pt x="66467" y="333964"/>
                  </a:cubicBezTo>
                  <a:lnTo>
                    <a:pt x="62720" y="333964"/>
                  </a:lnTo>
                  <a:cubicBezTo>
                    <a:pt x="62720" y="333964"/>
                    <a:pt x="56692" y="337874"/>
                    <a:pt x="56692" y="337874"/>
                  </a:cubicBezTo>
                  <a:lnTo>
                    <a:pt x="61580" y="338525"/>
                  </a:lnTo>
                  <a:lnTo>
                    <a:pt x="61906" y="342109"/>
                  </a:lnTo>
                  <a:lnTo>
                    <a:pt x="58484" y="343738"/>
                  </a:lnTo>
                  <a:lnTo>
                    <a:pt x="64675" y="344716"/>
                  </a:lnTo>
                  <a:lnTo>
                    <a:pt x="63209" y="346182"/>
                  </a:lnTo>
                  <a:lnTo>
                    <a:pt x="65652" y="347485"/>
                  </a:lnTo>
                  <a:lnTo>
                    <a:pt x="69074" y="346508"/>
                  </a:lnTo>
                  <a:lnTo>
                    <a:pt x="73146" y="344064"/>
                  </a:lnTo>
                  <a:lnTo>
                    <a:pt x="79663" y="341946"/>
                  </a:lnTo>
                  <a:lnTo>
                    <a:pt x="80314" y="345042"/>
                  </a:lnTo>
                  <a:lnTo>
                    <a:pt x="85527" y="346345"/>
                  </a:lnTo>
                  <a:lnTo>
                    <a:pt x="81292" y="347485"/>
                  </a:lnTo>
                  <a:lnTo>
                    <a:pt x="80803" y="349929"/>
                  </a:lnTo>
                  <a:lnTo>
                    <a:pt x="87971" y="349929"/>
                  </a:lnTo>
                  <a:cubicBezTo>
                    <a:pt x="87971" y="349929"/>
                    <a:pt x="87971" y="348789"/>
                    <a:pt x="87971" y="348789"/>
                  </a:cubicBezTo>
                  <a:lnTo>
                    <a:pt x="91555" y="347811"/>
                  </a:lnTo>
                  <a:lnTo>
                    <a:pt x="95302" y="352047"/>
                  </a:lnTo>
                  <a:lnTo>
                    <a:pt x="98560" y="355956"/>
                  </a:lnTo>
                  <a:lnTo>
                    <a:pt x="106706" y="355956"/>
                  </a:lnTo>
                  <a:cubicBezTo>
                    <a:pt x="106706" y="355956"/>
                    <a:pt x="108660" y="352535"/>
                    <a:pt x="108660" y="352535"/>
                  </a:cubicBezTo>
                  <a:lnTo>
                    <a:pt x="112570" y="350906"/>
                  </a:lnTo>
                  <a:lnTo>
                    <a:pt x="117946" y="348951"/>
                  </a:lnTo>
                  <a:lnTo>
                    <a:pt x="119901" y="346019"/>
                  </a:lnTo>
                  <a:lnTo>
                    <a:pt x="124300" y="343901"/>
                  </a:lnTo>
                  <a:lnTo>
                    <a:pt x="118272" y="351069"/>
                  </a:lnTo>
                  <a:lnTo>
                    <a:pt x="112244" y="356934"/>
                  </a:lnTo>
                  <a:lnTo>
                    <a:pt x="111919" y="363776"/>
                  </a:lnTo>
                  <a:lnTo>
                    <a:pt x="107683" y="363776"/>
                  </a:lnTo>
                  <a:cubicBezTo>
                    <a:pt x="107683" y="363776"/>
                    <a:pt x="104425" y="364754"/>
                    <a:pt x="104425" y="364754"/>
                  </a:cubicBezTo>
                  <a:lnTo>
                    <a:pt x="100678" y="362636"/>
                  </a:lnTo>
                  <a:lnTo>
                    <a:pt x="90089" y="361495"/>
                  </a:lnTo>
                  <a:lnTo>
                    <a:pt x="82595" y="363450"/>
                  </a:lnTo>
                  <a:lnTo>
                    <a:pt x="82595" y="367360"/>
                  </a:lnTo>
                  <a:cubicBezTo>
                    <a:pt x="82595" y="367360"/>
                    <a:pt x="79500" y="370455"/>
                    <a:pt x="79500" y="370455"/>
                  </a:cubicBezTo>
                  <a:lnTo>
                    <a:pt x="75264" y="370455"/>
                  </a:lnTo>
                  <a:cubicBezTo>
                    <a:pt x="75264" y="370455"/>
                    <a:pt x="74612" y="379252"/>
                    <a:pt x="74612" y="379252"/>
                  </a:cubicBezTo>
                  <a:lnTo>
                    <a:pt x="70214" y="383325"/>
                  </a:lnTo>
                  <a:lnTo>
                    <a:pt x="69074" y="385606"/>
                  </a:lnTo>
                  <a:lnTo>
                    <a:pt x="64186" y="386583"/>
                  </a:lnTo>
                  <a:lnTo>
                    <a:pt x="62883" y="391634"/>
                  </a:lnTo>
                  <a:lnTo>
                    <a:pt x="60765" y="391634"/>
                  </a:lnTo>
                  <a:cubicBezTo>
                    <a:pt x="60765" y="391634"/>
                    <a:pt x="59625" y="394240"/>
                    <a:pt x="59625" y="394240"/>
                  </a:cubicBezTo>
                  <a:lnTo>
                    <a:pt x="53597" y="398639"/>
                  </a:lnTo>
                  <a:lnTo>
                    <a:pt x="50828" y="397661"/>
                  </a:lnTo>
                  <a:lnTo>
                    <a:pt x="46592" y="400594"/>
                  </a:lnTo>
                  <a:lnTo>
                    <a:pt x="46592" y="404503"/>
                  </a:lnTo>
                  <a:lnTo>
                    <a:pt x="51153" y="404829"/>
                  </a:lnTo>
                  <a:lnTo>
                    <a:pt x="51153" y="401408"/>
                  </a:lnTo>
                  <a:cubicBezTo>
                    <a:pt x="51153" y="401408"/>
                    <a:pt x="56855" y="402874"/>
                    <a:pt x="56855" y="402874"/>
                  </a:cubicBezTo>
                  <a:lnTo>
                    <a:pt x="59136" y="406947"/>
                  </a:lnTo>
                  <a:close/>
                </a:path>
              </a:pathLst>
            </a:custGeom>
            <a:solidFill>
              <a:schemeClr val="tx1"/>
            </a:solidFill>
            <a:ln w="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2" name="Forma livre: Forma 181">
              <a:extLst>
                <a:ext uri="{FF2B5EF4-FFF2-40B4-BE49-F238E27FC236}">
                  <a16:creationId xmlns:a16="http://schemas.microsoft.com/office/drawing/2014/main" id="{9617D99D-5CEB-1671-A5F3-E09F3C430666}"/>
                </a:ext>
              </a:extLst>
            </p:cNvPr>
            <p:cNvSpPr/>
            <p:nvPr/>
          </p:nvSpPr>
          <p:spPr>
            <a:xfrm>
              <a:off x="5872567" y="3472522"/>
              <a:ext cx="343771" cy="319360"/>
            </a:xfrm>
            <a:custGeom>
              <a:avLst/>
              <a:gdLst>
                <a:gd name="connsiteX0" fmla="*/ 268637 w 332660"/>
                <a:gd name="connsiteY0" fmla="*/ 168611 h 309038"/>
                <a:gd name="connsiteX1" fmla="*/ 267822 w 332660"/>
                <a:gd name="connsiteY1" fmla="*/ 164375 h 309038"/>
                <a:gd name="connsiteX2" fmla="*/ 264890 w 332660"/>
                <a:gd name="connsiteY2" fmla="*/ 161932 h 309038"/>
                <a:gd name="connsiteX3" fmla="*/ 263098 w 332660"/>
                <a:gd name="connsiteY3" fmla="*/ 155741 h 309038"/>
                <a:gd name="connsiteX4" fmla="*/ 260492 w 332660"/>
                <a:gd name="connsiteY4" fmla="*/ 151017 h 309038"/>
                <a:gd name="connsiteX5" fmla="*/ 252998 w 332660"/>
                <a:gd name="connsiteY5" fmla="*/ 150691 h 309038"/>
                <a:gd name="connsiteX6" fmla="*/ 249577 w 332660"/>
                <a:gd name="connsiteY6" fmla="*/ 153786 h 309038"/>
                <a:gd name="connsiteX7" fmla="*/ 252020 w 332660"/>
                <a:gd name="connsiteY7" fmla="*/ 159977 h 309038"/>
                <a:gd name="connsiteX8" fmla="*/ 245830 w 332660"/>
                <a:gd name="connsiteY8" fmla="*/ 162583 h 309038"/>
                <a:gd name="connsiteX9" fmla="*/ 240291 w 332660"/>
                <a:gd name="connsiteY9" fmla="*/ 162095 h 309038"/>
                <a:gd name="connsiteX10" fmla="*/ 239802 w 332660"/>
                <a:gd name="connsiteY10" fmla="*/ 158022 h 309038"/>
                <a:gd name="connsiteX11" fmla="*/ 242735 w 332660"/>
                <a:gd name="connsiteY11" fmla="*/ 156556 h 309038"/>
                <a:gd name="connsiteX12" fmla="*/ 245830 w 332660"/>
                <a:gd name="connsiteY12" fmla="*/ 156556 h 309038"/>
                <a:gd name="connsiteX13" fmla="*/ 245830 w 332660"/>
                <a:gd name="connsiteY13" fmla="*/ 151831 h 309038"/>
                <a:gd name="connsiteX14" fmla="*/ 246970 w 332660"/>
                <a:gd name="connsiteY14" fmla="*/ 144012 h 309038"/>
                <a:gd name="connsiteX15" fmla="*/ 253649 w 332660"/>
                <a:gd name="connsiteY15" fmla="*/ 133585 h 309038"/>
                <a:gd name="connsiteX16" fmla="*/ 257560 w 332660"/>
                <a:gd name="connsiteY16" fmla="*/ 132119 h 309038"/>
                <a:gd name="connsiteX17" fmla="*/ 262610 w 332660"/>
                <a:gd name="connsiteY17" fmla="*/ 125603 h 309038"/>
                <a:gd name="connsiteX18" fmla="*/ 267171 w 332660"/>
                <a:gd name="connsiteY18" fmla="*/ 123648 h 309038"/>
                <a:gd name="connsiteX19" fmla="*/ 266194 w 332660"/>
                <a:gd name="connsiteY19" fmla="*/ 118924 h 309038"/>
                <a:gd name="connsiteX20" fmla="*/ 260817 w 332660"/>
                <a:gd name="connsiteY20" fmla="*/ 116154 h 309038"/>
                <a:gd name="connsiteX21" fmla="*/ 264076 w 332660"/>
                <a:gd name="connsiteY21" fmla="*/ 112081 h 309038"/>
                <a:gd name="connsiteX22" fmla="*/ 269940 w 332660"/>
                <a:gd name="connsiteY22" fmla="*/ 111756 h 309038"/>
                <a:gd name="connsiteX23" fmla="*/ 271406 w 332660"/>
                <a:gd name="connsiteY23" fmla="*/ 115014 h 309038"/>
                <a:gd name="connsiteX24" fmla="*/ 275968 w 332660"/>
                <a:gd name="connsiteY24" fmla="*/ 115503 h 309038"/>
                <a:gd name="connsiteX25" fmla="*/ 284276 w 332660"/>
                <a:gd name="connsiteY25" fmla="*/ 112896 h 309038"/>
                <a:gd name="connsiteX26" fmla="*/ 281833 w 332660"/>
                <a:gd name="connsiteY26" fmla="*/ 107846 h 309038"/>
                <a:gd name="connsiteX27" fmla="*/ 277435 w 332660"/>
                <a:gd name="connsiteY27" fmla="*/ 105076 h 309038"/>
                <a:gd name="connsiteX28" fmla="*/ 277108 w 332660"/>
                <a:gd name="connsiteY28" fmla="*/ 97745 h 309038"/>
                <a:gd name="connsiteX29" fmla="*/ 279715 w 332660"/>
                <a:gd name="connsiteY29" fmla="*/ 88948 h 309038"/>
                <a:gd name="connsiteX30" fmla="*/ 283136 w 332660"/>
                <a:gd name="connsiteY30" fmla="*/ 85690 h 309038"/>
                <a:gd name="connsiteX31" fmla="*/ 283136 w 332660"/>
                <a:gd name="connsiteY31" fmla="*/ 81780 h 309038"/>
                <a:gd name="connsiteX32" fmla="*/ 285906 w 332660"/>
                <a:gd name="connsiteY32" fmla="*/ 73961 h 309038"/>
                <a:gd name="connsiteX33" fmla="*/ 291608 w 332660"/>
                <a:gd name="connsiteY33" fmla="*/ 68096 h 309038"/>
                <a:gd name="connsiteX34" fmla="*/ 286720 w 332660"/>
                <a:gd name="connsiteY34" fmla="*/ 64838 h 309038"/>
                <a:gd name="connsiteX35" fmla="*/ 281996 w 332660"/>
                <a:gd name="connsiteY35" fmla="*/ 64838 h 309038"/>
                <a:gd name="connsiteX36" fmla="*/ 275968 w 332660"/>
                <a:gd name="connsiteY36" fmla="*/ 62068 h 309038"/>
                <a:gd name="connsiteX37" fmla="*/ 271406 w 332660"/>
                <a:gd name="connsiteY37" fmla="*/ 63535 h 309038"/>
                <a:gd name="connsiteX38" fmla="*/ 268149 w 332660"/>
                <a:gd name="connsiteY38" fmla="*/ 62231 h 309038"/>
                <a:gd name="connsiteX39" fmla="*/ 263750 w 332660"/>
                <a:gd name="connsiteY39" fmla="*/ 62231 h 309038"/>
                <a:gd name="connsiteX40" fmla="*/ 259514 w 332660"/>
                <a:gd name="connsiteY40" fmla="*/ 63697 h 309038"/>
                <a:gd name="connsiteX41" fmla="*/ 255116 w 332660"/>
                <a:gd name="connsiteY41" fmla="*/ 59951 h 309038"/>
                <a:gd name="connsiteX42" fmla="*/ 255116 w 332660"/>
                <a:gd name="connsiteY42" fmla="*/ 56855 h 309038"/>
                <a:gd name="connsiteX43" fmla="*/ 250392 w 332660"/>
                <a:gd name="connsiteY43" fmla="*/ 53108 h 309038"/>
                <a:gd name="connsiteX44" fmla="*/ 246644 w 332660"/>
                <a:gd name="connsiteY44" fmla="*/ 54086 h 309038"/>
                <a:gd name="connsiteX45" fmla="*/ 240128 w 332660"/>
                <a:gd name="connsiteY45" fmla="*/ 52783 h 309038"/>
                <a:gd name="connsiteX46" fmla="*/ 237196 w 332660"/>
                <a:gd name="connsiteY46" fmla="*/ 48058 h 309038"/>
                <a:gd name="connsiteX47" fmla="*/ 233123 w 332660"/>
                <a:gd name="connsiteY47" fmla="*/ 48058 h 309038"/>
                <a:gd name="connsiteX48" fmla="*/ 230842 w 332660"/>
                <a:gd name="connsiteY48" fmla="*/ 49524 h 309038"/>
                <a:gd name="connsiteX49" fmla="*/ 226281 w 332660"/>
                <a:gd name="connsiteY49" fmla="*/ 46266 h 309038"/>
                <a:gd name="connsiteX50" fmla="*/ 221068 w 332660"/>
                <a:gd name="connsiteY50" fmla="*/ 45940 h 309038"/>
                <a:gd name="connsiteX51" fmla="*/ 215203 w 332660"/>
                <a:gd name="connsiteY51" fmla="*/ 38610 h 309038"/>
                <a:gd name="connsiteX52" fmla="*/ 211945 w 332660"/>
                <a:gd name="connsiteY52" fmla="*/ 37958 h 309038"/>
                <a:gd name="connsiteX53" fmla="*/ 209664 w 332660"/>
                <a:gd name="connsiteY53" fmla="*/ 35351 h 309038"/>
                <a:gd name="connsiteX54" fmla="*/ 206569 w 332660"/>
                <a:gd name="connsiteY54" fmla="*/ 35351 h 309038"/>
                <a:gd name="connsiteX55" fmla="*/ 203799 w 332660"/>
                <a:gd name="connsiteY55" fmla="*/ 37143 h 309038"/>
                <a:gd name="connsiteX56" fmla="*/ 198423 w 332660"/>
                <a:gd name="connsiteY56" fmla="*/ 34374 h 309038"/>
                <a:gd name="connsiteX57" fmla="*/ 198097 w 332660"/>
                <a:gd name="connsiteY57" fmla="*/ 27369 h 309038"/>
                <a:gd name="connsiteX58" fmla="*/ 194676 w 332660"/>
                <a:gd name="connsiteY58" fmla="*/ 25740 h 309038"/>
                <a:gd name="connsiteX59" fmla="*/ 191581 w 332660"/>
                <a:gd name="connsiteY59" fmla="*/ 23133 h 309038"/>
                <a:gd name="connsiteX60" fmla="*/ 188486 w 332660"/>
                <a:gd name="connsiteY60" fmla="*/ 23133 h 309038"/>
                <a:gd name="connsiteX61" fmla="*/ 181318 w 332660"/>
                <a:gd name="connsiteY61" fmla="*/ 17431 h 309038"/>
                <a:gd name="connsiteX62" fmla="*/ 180340 w 332660"/>
                <a:gd name="connsiteY62" fmla="*/ 13196 h 309038"/>
                <a:gd name="connsiteX63" fmla="*/ 174476 w 332660"/>
                <a:gd name="connsiteY63" fmla="*/ 10915 h 309038"/>
                <a:gd name="connsiteX64" fmla="*/ 173335 w 332660"/>
                <a:gd name="connsiteY64" fmla="*/ 2118 h 309038"/>
                <a:gd name="connsiteX65" fmla="*/ 170403 w 332660"/>
                <a:gd name="connsiteY65" fmla="*/ 0 h 309038"/>
                <a:gd name="connsiteX66" fmla="*/ 169588 w 332660"/>
                <a:gd name="connsiteY66" fmla="*/ 1466 h 309038"/>
                <a:gd name="connsiteX67" fmla="*/ 160465 w 332660"/>
                <a:gd name="connsiteY67" fmla="*/ 4561 h 309038"/>
                <a:gd name="connsiteX68" fmla="*/ 158347 w 332660"/>
                <a:gd name="connsiteY68" fmla="*/ 2769 h 309038"/>
                <a:gd name="connsiteX69" fmla="*/ 151017 w 332660"/>
                <a:gd name="connsiteY69" fmla="*/ 7005 h 309038"/>
                <a:gd name="connsiteX70" fmla="*/ 149225 w 332660"/>
                <a:gd name="connsiteY70" fmla="*/ 12055 h 309038"/>
                <a:gd name="connsiteX71" fmla="*/ 150365 w 332660"/>
                <a:gd name="connsiteY71" fmla="*/ 18083 h 309038"/>
                <a:gd name="connsiteX72" fmla="*/ 148899 w 332660"/>
                <a:gd name="connsiteY72" fmla="*/ 27532 h 309038"/>
                <a:gd name="connsiteX73" fmla="*/ 141568 w 332660"/>
                <a:gd name="connsiteY73" fmla="*/ 34700 h 309038"/>
                <a:gd name="connsiteX74" fmla="*/ 141568 w 332660"/>
                <a:gd name="connsiteY74" fmla="*/ 37795 h 309038"/>
                <a:gd name="connsiteX75" fmla="*/ 133422 w 332660"/>
                <a:gd name="connsiteY75" fmla="*/ 40076 h 309038"/>
                <a:gd name="connsiteX76" fmla="*/ 129187 w 332660"/>
                <a:gd name="connsiteY76" fmla="*/ 40076 h 309038"/>
                <a:gd name="connsiteX77" fmla="*/ 124463 w 332660"/>
                <a:gd name="connsiteY77" fmla="*/ 38772 h 309038"/>
                <a:gd name="connsiteX78" fmla="*/ 114851 w 332660"/>
                <a:gd name="connsiteY78" fmla="*/ 43985 h 309038"/>
                <a:gd name="connsiteX79" fmla="*/ 112570 w 332660"/>
                <a:gd name="connsiteY79" fmla="*/ 48384 h 309038"/>
                <a:gd name="connsiteX80" fmla="*/ 114362 w 332660"/>
                <a:gd name="connsiteY80" fmla="*/ 51479 h 309038"/>
                <a:gd name="connsiteX81" fmla="*/ 118761 w 332660"/>
                <a:gd name="connsiteY81" fmla="*/ 52945 h 309038"/>
                <a:gd name="connsiteX82" fmla="*/ 112733 w 332660"/>
                <a:gd name="connsiteY82" fmla="*/ 57181 h 309038"/>
                <a:gd name="connsiteX83" fmla="*/ 105402 w 332660"/>
                <a:gd name="connsiteY83" fmla="*/ 58810 h 309038"/>
                <a:gd name="connsiteX84" fmla="*/ 95302 w 332660"/>
                <a:gd name="connsiteY84" fmla="*/ 57507 h 309038"/>
                <a:gd name="connsiteX85" fmla="*/ 90903 w 332660"/>
                <a:gd name="connsiteY85" fmla="*/ 55226 h 309038"/>
                <a:gd name="connsiteX86" fmla="*/ 87156 w 332660"/>
                <a:gd name="connsiteY86" fmla="*/ 57344 h 309038"/>
                <a:gd name="connsiteX87" fmla="*/ 85528 w 332660"/>
                <a:gd name="connsiteY87" fmla="*/ 53923 h 309038"/>
                <a:gd name="connsiteX88" fmla="*/ 82269 w 332660"/>
                <a:gd name="connsiteY88" fmla="*/ 51479 h 309038"/>
                <a:gd name="connsiteX89" fmla="*/ 83735 w 332660"/>
                <a:gd name="connsiteY89" fmla="*/ 47406 h 309038"/>
                <a:gd name="connsiteX90" fmla="*/ 79663 w 332660"/>
                <a:gd name="connsiteY90" fmla="*/ 45452 h 309038"/>
                <a:gd name="connsiteX91" fmla="*/ 75427 w 332660"/>
                <a:gd name="connsiteY91" fmla="*/ 47081 h 309038"/>
                <a:gd name="connsiteX92" fmla="*/ 69399 w 332660"/>
                <a:gd name="connsiteY92" fmla="*/ 47081 h 309038"/>
                <a:gd name="connsiteX93" fmla="*/ 66630 w 332660"/>
                <a:gd name="connsiteY93" fmla="*/ 45777 h 309038"/>
                <a:gd name="connsiteX94" fmla="*/ 68422 w 332660"/>
                <a:gd name="connsiteY94" fmla="*/ 51642 h 309038"/>
                <a:gd name="connsiteX95" fmla="*/ 67444 w 332660"/>
                <a:gd name="connsiteY95" fmla="*/ 54086 h 309038"/>
                <a:gd name="connsiteX96" fmla="*/ 75915 w 332660"/>
                <a:gd name="connsiteY96" fmla="*/ 62068 h 309038"/>
                <a:gd name="connsiteX97" fmla="*/ 74287 w 332660"/>
                <a:gd name="connsiteY97" fmla="*/ 64512 h 309038"/>
                <a:gd name="connsiteX98" fmla="*/ 75427 w 332660"/>
                <a:gd name="connsiteY98" fmla="*/ 68422 h 309038"/>
                <a:gd name="connsiteX99" fmla="*/ 74449 w 332660"/>
                <a:gd name="connsiteY99" fmla="*/ 72332 h 309038"/>
                <a:gd name="connsiteX100" fmla="*/ 77219 w 332660"/>
                <a:gd name="connsiteY100" fmla="*/ 75753 h 309038"/>
                <a:gd name="connsiteX101" fmla="*/ 77871 w 332660"/>
                <a:gd name="connsiteY101" fmla="*/ 80151 h 309038"/>
                <a:gd name="connsiteX102" fmla="*/ 68911 w 332660"/>
                <a:gd name="connsiteY102" fmla="*/ 79011 h 309038"/>
                <a:gd name="connsiteX103" fmla="*/ 65001 w 332660"/>
                <a:gd name="connsiteY103" fmla="*/ 80314 h 309038"/>
                <a:gd name="connsiteX104" fmla="*/ 61254 w 332660"/>
                <a:gd name="connsiteY104" fmla="*/ 79337 h 309038"/>
                <a:gd name="connsiteX105" fmla="*/ 56855 w 332660"/>
                <a:gd name="connsiteY105" fmla="*/ 80477 h 309038"/>
                <a:gd name="connsiteX106" fmla="*/ 55063 w 332660"/>
                <a:gd name="connsiteY106" fmla="*/ 78685 h 309038"/>
                <a:gd name="connsiteX107" fmla="*/ 49524 w 332660"/>
                <a:gd name="connsiteY107" fmla="*/ 83410 h 309038"/>
                <a:gd name="connsiteX108" fmla="*/ 42356 w 332660"/>
                <a:gd name="connsiteY108" fmla="*/ 73961 h 309038"/>
                <a:gd name="connsiteX109" fmla="*/ 38284 w 332660"/>
                <a:gd name="connsiteY109" fmla="*/ 72657 h 309038"/>
                <a:gd name="connsiteX110" fmla="*/ 32256 w 332660"/>
                <a:gd name="connsiteY110" fmla="*/ 73961 h 309038"/>
                <a:gd name="connsiteX111" fmla="*/ 27369 w 332660"/>
                <a:gd name="connsiteY111" fmla="*/ 78359 h 309038"/>
                <a:gd name="connsiteX112" fmla="*/ 24925 w 332660"/>
                <a:gd name="connsiteY112" fmla="*/ 77056 h 309038"/>
                <a:gd name="connsiteX113" fmla="*/ 21993 w 332660"/>
                <a:gd name="connsiteY113" fmla="*/ 79826 h 309038"/>
                <a:gd name="connsiteX114" fmla="*/ 19549 w 332660"/>
                <a:gd name="connsiteY114" fmla="*/ 78033 h 309038"/>
                <a:gd name="connsiteX115" fmla="*/ 14336 w 332660"/>
                <a:gd name="connsiteY115" fmla="*/ 78685 h 309038"/>
                <a:gd name="connsiteX116" fmla="*/ 11078 w 332660"/>
                <a:gd name="connsiteY116" fmla="*/ 81943 h 309038"/>
                <a:gd name="connsiteX117" fmla="*/ 3421 w 332660"/>
                <a:gd name="connsiteY117" fmla="*/ 82595 h 309038"/>
                <a:gd name="connsiteX118" fmla="*/ 0 w 332660"/>
                <a:gd name="connsiteY118" fmla="*/ 86668 h 309038"/>
                <a:gd name="connsiteX119" fmla="*/ 1955 w 332660"/>
                <a:gd name="connsiteY119" fmla="*/ 89926 h 309038"/>
                <a:gd name="connsiteX120" fmla="*/ 6353 w 332660"/>
                <a:gd name="connsiteY120" fmla="*/ 88460 h 309038"/>
                <a:gd name="connsiteX121" fmla="*/ 10752 w 332660"/>
                <a:gd name="connsiteY121" fmla="*/ 89763 h 309038"/>
                <a:gd name="connsiteX122" fmla="*/ 11892 w 332660"/>
                <a:gd name="connsiteY122" fmla="*/ 91555 h 309038"/>
                <a:gd name="connsiteX123" fmla="*/ 7005 w 332660"/>
                <a:gd name="connsiteY123" fmla="*/ 90577 h 309038"/>
                <a:gd name="connsiteX124" fmla="*/ 4073 w 332660"/>
                <a:gd name="connsiteY124" fmla="*/ 90903 h 309038"/>
                <a:gd name="connsiteX125" fmla="*/ 5865 w 332660"/>
                <a:gd name="connsiteY125" fmla="*/ 95791 h 309038"/>
                <a:gd name="connsiteX126" fmla="*/ 7494 w 332660"/>
                <a:gd name="connsiteY126" fmla="*/ 92044 h 309038"/>
                <a:gd name="connsiteX127" fmla="*/ 10589 w 332660"/>
                <a:gd name="connsiteY127" fmla="*/ 93184 h 309038"/>
                <a:gd name="connsiteX128" fmla="*/ 11404 w 332660"/>
                <a:gd name="connsiteY128" fmla="*/ 96442 h 309038"/>
                <a:gd name="connsiteX129" fmla="*/ 8471 w 332660"/>
                <a:gd name="connsiteY129" fmla="*/ 97583 h 309038"/>
                <a:gd name="connsiteX130" fmla="*/ 3910 w 332660"/>
                <a:gd name="connsiteY130" fmla="*/ 99375 h 309038"/>
                <a:gd name="connsiteX131" fmla="*/ 3910 w 332660"/>
                <a:gd name="connsiteY131" fmla="*/ 100678 h 309038"/>
                <a:gd name="connsiteX132" fmla="*/ 8471 w 332660"/>
                <a:gd name="connsiteY132" fmla="*/ 100678 h 309038"/>
                <a:gd name="connsiteX133" fmla="*/ 10426 w 332660"/>
                <a:gd name="connsiteY133" fmla="*/ 106054 h 309038"/>
                <a:gd name="connsiteX134" fmla="*/ 9775 w 332660"/>
                <a:gd name="connsiteY134" fmla="*/ 109149 h 309038"/>
                <a:gd name="connsiteX135" fmla="*/ 14988 w 332660"/>
                <a:gd name="connsiteY135" fmla="*/ 105728 h 309038"/>
                <a:gd name="connsiteX136" fmla="*/ 18734 w 332660"/>
                <a:gd name="connsiteY136" fmla="*/ 106705 h 309038"/>
                <a:gd name="connsiteX137" fmla="*/ 21830 w 332660"/>
                <a:gd name="connsiteY137" fmla="*/ 106054 h 309038"/>
                <a:gd name="connsiteX138" fmla="*/ 29975 w 332660"/>
                <a:gd name="connsiteY138" fmla="*/ 109312 h 309038"/>
                <a:gd name="connsiteX139" fmla="*/ 31767 w 332660"/>
                <a:gd name="connsiteY139" fmla="*/ 112244 h 309038"/>
                <a:gd name="connsiteX140" fmla="*/ 35025 w 332660"/>
                <a:gd name="connsiteY140" fmla="*/ 112244 h 309038"/>
                <a:gd name="connsiteX141" fmla="*/ 40564 w 332660"/>
                <a:gd name="connsiteY141" fmla="*/ 115991 h 309038"/>
                <a:gd name="connsiteX142" fmla="*/ 44637 w 332660"/>
                <a:gd name="connsiteY142" fmla="*/ 112244 h 309038"/>
                <a:gd name="connsiteX143" fmla="*/ 47081 w 332660"/>
                <a:gd name="connsiteY143" fmla="*/ 112896 h 309038"/>
                <a:gd name="connsiteX144" fmla="*/ 46103 w 332660"/>
                <a:gd name="connsiteY144" fmla="*/ 115828 h 309038"/>
                <a:gd name="connsiteX145" fmla="*/ 47407 w 332660"/>
                <a:gd name="connsiteY145" fmla="*/ 117620 h 309038"/>
                <a:gd name="connsiteX146" fmla="*/ 51642 w 332660"/>
                <a:gd name="connsiteY146" fmla="*/ 115177 h 309038"/>
                <a:gd name="connsiteX147" fmla="*/ 54086 w 332660"/>
                <a:gd name="connsiteY147" fmla="*/ 117620 h 309038"/>
                <a:gd name="connsiteX148" fmla="*/ 52131 w 332660"/>
                <a:gd name="connsiteY148" fmla="*/ 122671 h 309038"/>
                <a:gd name="connsiteX149" fmla="*/ 54412 w 332660"/>
                <a:gd name="connsiteY149" fmla="*/ 126418 h 309038"/>
                <a:gd name="connsiteX150" fmla="*/ 57507 w 332660"/>
                <a:gd name="connsiteY150" fmla="*/ 126418 h 309038"/>
                <a:gd name="connsiteX151" fmla="*/ 62394 w 332660"/>
                <a:gd name="connsiteY151" fmla="*/ 123485 h 309038"/>
                <a:gd name="connsiteX152" fmla="*/ 67607 w 332660"/>
                <a:gd name="connsiteY152" fmla="*/ 124137 h 309038"/>
                <a:gd name="connsiteX153" fmla="*/ 70865 w 332660"/>
                <a:gd name="connsiteY153" fmla="*/ 128535 h 309038"/>
                <a:gd name="connsiteX154" fmla="*/ 66793 w 332660"/>
                <a:gd name="connsiteY154" fmla="*/ 126255 h 309038"/>
                <a:gd name="connsiteX155" fmla="*/ 62231 w 332660"/>
                <a:gd name="connsiteY155" fmla="*/ 126255 h 309038"/>
                <a:gd name="connsiteX156" fmla="*/ 59299 w 332660"/>
                <a:gd name="connsiteY156" fmla="*/ 130490 h 309038"/>
                <a:gd name="connsiteX157" fmla="*/ 62068 w 332660"/>
                <a:gd name="connsiteY157" fmla="*/ 131631 h 309038"/>
                <a:gd name="connsiteX158" fmla="*/ 63046 w 332660"/>
                <a:gd name="connsiteY158" fmla="*/ 136681 h 309038"/>
                <a:gd name="connsiteX159" fmla="*/ 60765 w 332660"/>
                <a:gd name="connsiteY159" fmla="*/ 140916 h 309038"/>
                <a:gd name="connsiteX160" fmla="*/ 61742 w 332660"/>
                <a:gd name="connsiteY160" fmla="*/ 144175 h 309038"/>
                <a:gd name="connsiteX161" fmla="*/ 65978 w 332660"/>
                <a:gd name="connsiteY161" fmla="*/ 144826 h 309038"/>
                <a:gd name="connsiteX162" fmla="*/ 72331 w 332660"/>
                <a:gd name="connsiteY162" fmla="*/ 152809 h 309038"/>
                <a:gd name="connsiteX163" fmla="*/ 78522 w 332660"/>
                <a:gd name="connsiteY163" fmla="*/ 153786 h 309038"/>
                <a:gd name="connsiteX164" fmla="*/ 84550 w 332660"/>
                <a:gd name="connsiteY164" fmla="*/ 157207 h 309038"/>
                <a:gd name="connsiteX165" fmla="*/ 84550 w 332660"/>
                <a:gd name="connsiteY165" fmla="*/ 161606 h 309038"/>
                <a:gd name="connsiteX166" fmla="*/ 86668 w 332660"/>
                <a:gd name="connsiteY166" fmla="*/ 165353 h 309038"/>
                <a:gd name="connsiteX167" fmla="*/ 84713 w 332660"/>
                <a:gd name="connsiteY167" fmla="*/ 170403 h 309038"/>
                <a:gd name="connsiteX168" fmla="*/ 83572 w 332660"/>
                <a:gd name="connsiteY168" fmla="*/ 171055 h 309038"/>
                <a:gd name="connsiteX169" fmla="*/ 82432 w 332660"/>
                <a:gd name="connsiteY169" fmla="*/ 175453 h 309038"/>
                <a:gd name="connsiteX170" fmla="*/ 86668 w 332660"/>
                <a:gd name="connsiteY170" fmla="*/ 176431 h 309038"/>
                <a:gd name="connsiteX171" fmla="*/ 94487 w 332660"/>
                <a:gd name="connsiteY171" fmla="*/ 182458 h 309038"/>
                <a:gd name="connsiteX172" fmla="*/ 100515 w 332660"/>
                <a:gd name="connsiteY172" fmla="*/ 196957 h 309038"/>
                <a:gd name="connsiteX173" fmla="*/ 93999 w 332660"/>
                <a:gd name="connsiteY173" fmla="*/ 190604 h 309038"/>
                <a:gd name="connsiteX174" fmla="*/ 92206 w 332660"/>
                <a:gd name="connsiteY174" fmla="*/ 184413 h 309038"/>
                <a:gd name="connsiteX175" fmla="*/ 86994 w 332660"/>
                <a:gd name="connsiteY175" fmla="*/ 181644 h 309038"/>
                <a:gd name="connsiteX176" fmla="*/ 84550 w 332660"/>
                <a:gd name="connsiteY176" fmla="*/ 183436 h 309038"/>
                <a:gd name="connsiteX177" fmla="*/ 82106 w 332660"/>
                <a:gd name="connsiteY177" fmla="*/ 196143 h 309038"/>
                <a:gd name="connsiteX178" fmla="*/ 82106 w 332660"/>
                <a:gd name="connsiteY178" fmla="*/ 205428 h 309038"/>
                <a:gd name="connsiteX179" fmla="*/ 86342 w 332660"/>
                <a:gd name="connsiteY179" fmla="*/ 208198 h 309038"/>
                <a:gd name="connsiteX180" fmla="*/ 83084 w 332660"/>
                <a:gd name="connsiteY180" fmla="*/ 210642 h 309038"/>
                <a:gd name="connsiteX181" fmla="*/ 81780 w 332660"/>
                <a:gd name="connsiteY181" fmla="*/ 228073 h 309038"/>
                <a:gd name="connsiteX182" fmla="*/ 77219 w 332660"/>
                <a:gd name="connsiteY182" fmla="*/ 243223 h 309038"/>
                <a:gd name="connsiteX183" fmla="*/ 71354 w 332660"/>
                <a:gd name="connsiteY183" fmla="*/ 246807 h 309038"/>
                <a:gd name="connsiteX184" fmla="*/ 75753 w 332660"/>
                <a:gd name="connsiteY184" fmla="*/ 249251 h 309038"/>
                <a:gd name="connsiteX185" fmla="*/ 76242 w 332660"/>
                <a:gd name="connsiteY185" fmla="*/ 250554 h 309038"/>
                <a:gd name="connsiteX186" fmla="*/ 79337 w 332660"/>
                <a:gd name="connsiteY186" fmla="*/ 251043 h 309038"/>
                <a:gd name="connsiteX187" fmla="*/ 80314 w 332660"/>
                <a:gd name="connsiteY187" fmla="*/ 256419 h 309038"/>
                <a:gd name="connsiteX188" fmla="*/ 79663 w 332660"/>
                <a:gd name="connsiteY188" fmla="*/ 260492 h 309038"/>
                <a:gd name="connsiteX189" fmla="*/ 87156 w 332660"/>
                <a:gd name="connsiteY189" fmla="*/ 259514 h 309038"/>
                <a:gd name="connsiteX190" fmla="*/ 97257 w 332660"/>
                <a:gd name="connsiteY190" fmla="*/ 263587 h 309038"/>
                <a:gd name="connsiteX191" fmla="*/ 101981 w 332660"/>
                <a:gd name="connsiteY191" fmla="*/ 268800 h 309038"/>
                <a:gd name="connsiteX192" fmla="*/ 107194 w 332660"/>
                <a:gd name="connsiteY192" fmla="*/ 266356 h 309038"/>
                <a:gd name="connsiteX193" fmla="*/ 112896 w 332660"/>
                <a:gd name="connsiteY193" fmla="*/ 272221 h 309038"/>
                <a:gd name="connsiteX194" fmla="*/ 119901 w 332660"/>
                <a:gd name="connsiteY194" fmla="*/ 272221 h 309038"/>
                <a:gd name="connsiteX195" fmla="*/ 123322 w 332660"/>
                <a:gd name="connsiteY195" fmla="*/ 273850 h 309038"/>
                <a:gd name="connsiteX196" fmla="*/ 127721 w 332660"/>
                <a:gd name="connsiteY196" fmla="*/ 269289 h 309038"/>
                <a:gd name="connsiteX197" fmla="*/ 139287 w 332660"/>
                <a:gd name="connsiteY197" fmla="*/ 268963 h 309038"/>
                <a:gd name="connsiteX198" fmla="*/ 143686 w 332660"/>
                <a:gd name="connsiteY198" fmla="*/ 271407 h 309038"/>
                <a:gd name="connsiteX199" fmla="*/ 150691 w 332660"/>
                <a:gd name="connsiteY199" fmla="*/ 270592 h 309038"/>
                <a:gd name="connsiteX200" fmla="*/ 158022 w 332660"/>
                <a:gd name="connsiteY200" fmla="*/ 274665 h 309038"/>
                <a:gd name="connsiteX201" fmla="*/ 170077 w 332660"/>
                <a:gd name="connsiteY201" fmla="*/ 273524 h 309038"/>
                <a:gd name="connsiteX202" fmla="*/ 178549 w 332660"/>
                <a:gd name="connsiteY202" fmla="*/ 278737 h 309038"/>
                <a:gd name="connsiteX203" fmla="*/ 181806 w 332660"/>
                <a:gd name="connsiteY203" fmla="*/ 279878 h 309038"/>
                <a:gd name="connsiteX204" fmla="*/ 181481 w 332660"/>
                <a:gd name="connsiteY204" fmla="*/ 277434 h 309038"/>
                <a:gd name="connsiteX205" fmla="*/ 179526 w 332660"/>
                <a:gd name="connsiteY205" fmla="*/ 270103 h 309038"/>
                <a:gd name="connsiteX206" fmla="*/ 181481 w 332660"/>
                <a:gd name="connsiteY206" fmla="*/ 261469 h 309038"/>
                <a:gd name="connsiteX207" fmla="*/ 182133 w 332660"/>
                <a:gd name="connsiteY207" fmla="*/ 257234 h 309038"/>
                <a:gd name="connsiteX208" fmla="*/ 187997 w 332660"/>
                <a:gd name="connsiteY208" fmla="*/ 252020 h 309038"/>
                <a:gd name="connsiteX209" fmla="*/ 196957 w 332660"/>
                <a:gd name="connsiteY209" fmla="*/ 242572 h 309038"/>
                <a:gd name="connsiteX210" fmla="*/ 199890 w 332660"/>
                <a:gd name="connsiteY210" fmla="*/ 242572 h 309038"/>
                <a:gd name="connsiteX211" fmla="*/ 202822 w 332660"/>
                <a:gd name="connsiteY211" fmla="*/ 244527 h 309038"/>
                <a:gd name="connsiteX212" fmla="*/ 208687 w 332660"/>
                <a:gd name="connsiteY212" fmla="*/ 245341 h 309038"/>
                <a:gd name="connsiteX213" fmla="*/ 214877 w 332660"/>
                <a:gd name="connsiteY213" fmla="*/ 249088 h 309038"/>
                <a:gd name="connsiteX214" fmla="*/ 219113 w 332660"/>
                <a:gd name="connsiteY214" fmla="*/ 249088 h 309038"/>
                <a:gd name="connsiteX215" fmla="*/ 223022 w 332660"/>
                <a:gd name="connsiteY215" fmla="*/ 245993 h 309038"/>
                <a:gd name="connsiteX216" fmla="*/ 226770 w 332660"/>
                <a:gd name="connsiteY216" fmla="*/ 245667 h 309038"/>
                <a:gd name="connsiteX217" fmla="*/ 242246 w 332660"/>
                <a:gd name="connsiteY217" fmla="*/ 255279 h 309038"/>
                <a:gd name="connsiteX218" fmla="*/ 246481 w 332660"/>
                <a:gd name="connsiteY218" fmla="*/ 259026 h 309038"/>
                <a:gd name="connsiteX219" fmla="*/ 257885 w 332660"/>
                <a:gd name="connsiteY219" fmla="*/ 259677 h 309038"/>
                <a:gd name="connsiteX220" fmla="*/ 262772 w 332660"/>
                <a:gd name="connsiteY220" fmla="*/ 255604 h 309038"/>
                <a:gd name="connsiteX221" fmla="*/ 261795 w 332660"/>
                <a:gd name="connsiteY221" fmla="*/ 253161 h 309038"/>
                <a:gd name="connsiteX222" fmla="*/ 266194 w 332660"/>
                <a:gd name="connsiteY222" fmla="*/ 247622 h 309038"/>
                <a:gd name="connsiteX223" fmla="*/ 282322 w 332660"/>
                <a:gd name="connsiteY223" fmla="*/ 235567 h 309038"/>
                <a:gd name="connsiteX224" fmla="*/ 283299 w 332660"/>
                <a:gd name="connsiteY224" fmla="*/ 235567 h 309038"/>
                <a:gd name="connsiteX225" fmla="*/ 281507 w 332660"/>
                <a:gd name="connsiteY225" fmla="*/ 229865 h 309038"/>
                <a:gd name="connsiteX226" fmla="*/ 284765 w 332660"/>
                <a:gd name="connsiteY226" fmla="*/ 222045 h 309038"/>
                <a:gd name="connsiteX227" fmla="*/ 276946 w 332660"/>
                <a:gd name="connsiteY227" fmla="*/ 222045 h 309038"/>
                <a:gd name="connsiteX228" fmla="*/ 268800 w 332660"/>
                <a:gd name="connsiteY228" fmla="*/ 216506 h 309038"/>
                <a:gd name="connsiteX229" fmla="*/ 267660 w 332660"/>
                <a:gd name="connsiteY229" fmla="*/ 203148 h 309038"/>
                <a:gd name="connsiteX230" fmla="*/ 261469 w 332660"/>
                <a:gd name="connsiteY230" fmla="*/ 196468 h 309038"/>
                <a:gd name="connsiteX231" fmla="*/ 265216 w 332660"/>
                <a:gd name="connsiteY231" fmla="*/ 192396 h 309038"/>
                <a:gd name="connsiteX232" fmla="*/ 271081 w 332660"/>
                <a:gd name="connsiteY232" fmla="*/ 191581 h 309038"/>
                <a:gd name="connsiteX233" fmla="*/ 272547 w 332660"/>
                <a:gd name="connsiteY233" fmla="*/ 183110 h 309038"/>
                <a:gd name="connsiteX234" fmla="*/ 267822 w 332660"/>
                <a:gd name="connsiteY234" fmla="*/ 178711 h 309038"/>
                <a:gd name="connsiteX235" fmla="*/ 267171 w 332660"/>
                <a:gd name="connsiteY235" fmla="*/ 172358 h 309038"/>
                <a:gd name="connsiteX236" fmla="*/ 269452 w 332660"/>
                <a:gd name="connsiteY236" fmla="*/ 169751 h 309038"/>
                <a:gd name="connsiteX237" fmla="*/ 269778 w 332660"/>
                <a:gd name="connsiteY237" fmla="*/ 169751 h 309038"/>
                <a:gd name="connsiteX238" fmla="*/ 322071 w 332660"/>
                <a:gd name="connsiteY238" fmla="*/ 309039 h 309038"/>
                <a:gd name="connsiteX239" fmla="*/ 314415 w 332660"/>
                <a:gd name="connsiteY239" fmla="*/ 305780 h 309038"/>
                <a:gd name="connsiteX240" fmla="*/ 313111 w 332660"/>
                <a:gd name="connsiteY240" fmla="*/ 303500 h 309038"/>
                <a:gd name="connsiteX241" fmla="*/ 314903 w 332660"/>
                <a:gd name="connsiteY241" fmla="*/ 300730 h 309038"/>
                <a:gd name="connsiteX242" fmla="*/ 316858 w 332660"/>
                <a:gd name="connsiteY242" fmla="*/ 301056 h 309038"/>
                <a:gd name="connsiteX243" fmla="*/ 315555 w 332660"/>
                <a:gd name="connsiteY243" fmla="*/ 298775 h 309038"/>
                <a:gd name="connsiteX244" fmla="*/ 313763 w 332660"/>
                <a:gd name="connsiteY244" fmla="*/ 298775 h 309038"/>
                <a:gd name="connsiteX245" fmla="*/ 313763 w 332660"/>
                <a:gd name="connsiteY245" fmla="*/ 295354 h 309038"/>
                <a:gd name="connsiteX246" fmla="*/ 310505 w 332660"/>
                <a:gd name="connsiteY246" fmla="*/ 293399 h 309038"/>
                <a:gd name="connsiteX247" fmla="*/ 308876 w 332660"/>
                <a:gd name="connsiteY247" fmla="*/ 290956 h 309038"/>
                <a:gd name="connsiteX248" fmla="*/ 310831 w 332660"/>
                <a:gd name="connsiteY248" fmla="*/ 289815 h 309038"/>
                <a:gd name="connsiteX249" fmla="*/ 310831 w 332660"/>
                <a:gd name="connsiteY249" fmla="*/ 287861 h 309038"/>
                <a:gd name="connsiteX250" fmla="*/ 307084 w 332660"/>
                <a:gd name="connsiteY250" fmla="*/ 285905 h 309038"/>
                <a:gd name="connsiteX251" fmla="*/ 306106 w 332660"/>
                <a:gd name="connsiteY251" fmla="*/ 282159 h 309038"/>
                <a:gd name="connsiteX252" fmla="*/ 309038 w 332660"/>
                <a:gd name="connsiteY252" fmla="*/ 282159 h 309038"/>
                <a:gd name="connsiteX253" fmla="*/ 310016 w 332660"/>
                <a:gd name="connsiteY253" fmla="*/ 279878 h 309038"/>
                <a:gd name="connsiteX254" fmla="*/ 307084 w 332660"/>
                <a:gd name="connsiteY254" fmla="*/ 277109 h 309038"/>
                <a:gd name="connsiteX255" fmla="*/ 310505 w 332660"/>
                <a:gd name="connsiteY255" fmla="*/ 270918 h 309038"/>
                <a:gd name="connsiteX256" fmla="*/ 318162 w 332660"/>
                <a:gd name="connsiteY256" fmla="*/ 268148 h 309038"/>
                <a:gd name="connsiteX257" fmla="*/ 321257 w 332660"/>
                <a:gd name="connsiteY257" fmla="*/ 265053 h 309038"/>
                <a:gd name="connsiteX258" fmla="*/ 324352 w 332660"/>
                <a:gd name="connsiteY258" fmla="*/ 268311 h 309038"/>
                <a:gd name="connsiteX259" fmla="*/ 326307 w 332660"/>
                <a:gd name="connsiteY259" fmla="*/ 268311 h 309038"/>
                <a:gd name="connsiteX260" fmla="*/ 327122 w 332660"/>
                <a:gd name="connsiteY260" fmla="*/ 263750 h 309038"/>
                <a:gd name="connsiteX261" fmla="*/ 325655 w 332660"/>
                <a:gd name="connsiteY261" fmla="*/ 260492 h 309038"/>
                <a:gd name="connsiteX262" fmla="*/ 326633 w 332660"/>
                <a:gd name="connsiteY262" fmla="*/ 256093 h 309038"/>
                <a:gd name="connsiteX263" fmla="*/ 329240 w 332660"/>
                <a:gd name="connsiteY263" fmla="*/ 256093 h 309038"/>
                <a:gd name="connsiteX264" fmla="*/ 330543 w 332660"/>
                <a:gd name="connsiteY264" fmla="*/ 263424 h 309038"/>
                <a:gd name="connsiteX265" fmla="*/ 329891 w 332660"/>
                <a:gd name="connsiteY265" fmla="*/ 269940 h 309038"/>
                <a:gd name="connsiteX266" fmla="*/ 332660 w 332660"/>
                <a:gd name="connsiteY266" fmla="*/ 280204 h 309038"/>
                <a:gd name="connsiteX267" fmla="*/ 329565 w 332660"/>
                <a:gd name="connsiteY267" fmla="*/ 291933 h 309038"/>
                <a:gd name="connsiteX268" fmla="*/ 329565 w 332660"/>
                <a:gd name="connsiteY268" fmla="*/ 298450 h 309038"/>
                <a:gd name="connsiteX269" fmla="*/ 327122 w 332660"/>
                <a:gd name="connsiteY269" fmla="*/ 306595 h 309038"/>
                <a:gd name="connsiteX270" fmla="*/ 322235 w 332660"/>
                <a:gd name="connsiteY270" fmla="*/ 308876 h 3090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</a:cxnLst>
              <a:rect l="l" t="t" r="r" b="b"/>
              <a:pathLst>
                <a:path w="332660" h="309038">
                  <a:moveTo>
                    <a:pt x="268637" y="168611"/>
                  </a:moveTo>
                  <a:lnTo>
                    <a:pt x="267822" y="164375"/>
                  </a:lnTo>
                  <a:lnTo>
                    <a:pt x="264890" y="161932"/>
                  </a:lnTo>
                  <a:lnTo>
                    <a:pt x="263098" y="155741"/>
                  </a:lnTo>
                  <a:lnTo>
                    <a:pt x="260492" y="151017"/>
                  </a:lnTo>
                  <a:lnTo>
                    <a:pt x="252998" y="150691"/>
                  </a:lnTo>
                  <a:lnTo>
                    <a:pt x="249577" y="153786"/>
                  </a:lnTo>
                  <a:lnTo>
                    <a:pt x="252020" y="159977"/>
                  </a:lnTo>
                  <a:lnTo>
                    <a:pt x="245830" y="162583"/>
                  </a:lnTo>
                  <a:lnTo>
                    <a:pt x="240291" y="162095"/>
                  </a:lnTo>
                  <a:lnTo>
                    <a:pt x="239802" y="158022"/>
                  </a:lnTo>
                  <a:lnTo>
                    <a:pt x="242735" y="156556"/>
                  </a:lnTo>
                  <a:lnTo>
                    <a:pt x="245830" y="156556"/>
                  </a:lnTo>
                  <a:cubicBezTo>
                    <a:pt x="245830" y="156556"/>
                    <a:pt x="245830" y="151831"/>
                    <a:pt x="245830" y="151831"/>
                  </a:cubicBezTo>
                  <a:lnTo>
                    <a:pt x="246970" y="144012"/>
                  </a:lnTo>
                  <a:lnTo>
                    <a:pt x="253649" y="133585"/>
                  </a:lnTo>
                  <a:lnTo>
                    <a:pt x="257560" y="132119"/>
                  </a:lnTo>
                  <a:lnTo>
                    <a:pt x="262610" y="125603"/>
                  </a:lnTo>
                  <a:lnTo>
                    <a:pt x="267171" y="123648"/>
                  </a:lnTo>
                  <a:lnTo>
                    <a:pt x="266194" y="118924"/>
                  </a:lnTo>
                  <a:lnTo>
                    <a:pt x="260817" y="116154"/>
                  </a:lnTo>
                  <a:lnTo>
                    <a:pt x="264076" y="112081"/>
                  </a:lnTo>
                  <a:lnTo>
                    <a:pt x="269940" y="111756"/>
                  </a:lnTo>
                  <a:lnTo>
                    <a:pt x="271406" y="115014"/>
                  </a:lnTo>
                  <a:lnTo>
                    <a:pt x="275968" y="115503"/>
                  </a:lnTo>
                  <a:lnTo>
                    <a:pt x="284276" y="112896"/>
                  </a:lnTo>
                  <a:lnTo>
                    <a:pt x="281833" y="107846"/>
                  </a:lnTo>
                  <a:lnTo>
                    <a:pt x="277435" y="105076"/>
                  </a:lnTo>
                  <a:lnTo>
                    <a:pt x="277108" y="97745"/>
                  </a:lnTo>
                  <a:lnTo>
                    <a:pt x="279715" y="88948"/>
                  </a:lnTo>
                  <a:lnTo>
                    <a:pt x="283136" y="85690"/>
                  </a:lnTo>
                  <a:lnTo>
                    <a:pt x="283136" y="81780"/>
                  </a:lnTo>
                  <a:lnTo>
                    <a:pt x="285906" y="73961"/>
                  </a:lnTo>
                  <a:lnTo>
                    <a:pt x="291608" y="68096"/>
                  </a:lnTo>
                  <a:lnTo>
                    <a:pt x="286720" y="64838"/>
                  </a:lnTo>
                  <a:lnTo>
                    <a:pt x="281996" y="64838"/>
                  </a:lnTo>
                  <a:lnTo>
                    <a:pt x="275968" y="62068"/>
                  </a:lnTo>
                  <a:lnTo>
                    <a:pt x="271406" y="63535"/>
                  </a:lnTo>
                  <a:lnTo>
                    <a:pt x="268149" y="62231"/>
                  </a:lnTo>
                  <a:lnTo>
                    <a:pt x="263750" y="62231"/>
                  </a:lnTo>
                  <a:lnTo>
                    <a:pt x="259514" y="63697"/>
                  </a:lnTo>
                  <a:lnTo>
                    <a:pt x="255116" y="59951"/>
                  </a:lnTo>
                  <a:lnTo>
                    <a:pt x="255116" y="56855"/>
                  </a:lnTo>
                  <a:lnTo>
                    <a:pt x="250392" y="53108"/>
                  </a:lnTo>
                  <a:lnTo>
                    <a:pt x="246644" y="54086"/>
                  </a:lnTo>
                  <a:lnTo>
                    <a:pt x="240128" y="52783"/>
                  </a:lnTo>
                  <a:lnTo>
                    <a:pt x="237196" y="48058"/>
                  </a:lnTo>
                  <a:lnTo>
                    <a:pt x="233123" y="48058"/>
                  </a:lnTo>
                  <a:lnTo>
                    <a:pt x="230842" y="49524"/>
                  </a:lnTo>
                  <a:lnTo>
                    <a:pt x="226281" y="46266"/>
                  </a:lnTo>
                  <a:lnTo>
                    <a:pt x="221068" y="45940"/>
                  </a:lnTo>
                  <a:lnTo>
                    <a:pt x="215203" y="38610"/>
                  </a:lnTo>
                  <a:lnTo>
                    <a:pt x="211945" y="37958"/>
                  </a:lnTo>
                  <a:lnTo>
                    <a:pt x="209664" y="35351"/>
                  </a:lnTo>
                  <a:lnTo>
                    <a:pt x="206569" y="35351"/>
                  </a:lnTo>
                  <a:lnTo>
                    <a:pt x="203799" y="37143"/>
                  </a:lnTo>
                  <a:lnTo>
                    <a:pt x="198423" y="34374"/>
                  </a:lnTo>
                  <a:lnTo>
                    <a:pt x="198097" y="27369"/>
                  </a:lnTo>
                  <a:lnTo>
                    <a:pt x="194676" y="25740"/>
                  </a:lnTo>
                  <a:lnTo>
                    <a:pt x="191581" y="23133"/>
                  </a:lnTo>
                  <a:lnTo>
                    <a:pt x="188486" y="23133"/>
                  </a:lnTo>
                  <a:cubicBezTo>
                    <a:pt x="188486" y="23133"/>
                    <a:pt x="181318" y="17431"/>
                    <a:pt x="181318" y="17431"/>
                  </a:cubicBezTo>
                  <a:lnTo>
                    <a:pt x="180340" y="13196"/>
                  </a:lnTo>
                  <a:lnTo>
                    <a:pt x="174476" y="10915"/>
                  </a:lnTo>
                  <a:lnTo>
                    <a:pt x="173335" y="2118"/>
                  </a:lnTo>
                  <a:lnTo>
                    <a:pt x="170403" y="0"/>
                  </a:lnTo>
                  <a:lnTo>
                    <a:pt x="169588" y="1466"/>
                  </a:lnTo>
                  <a:lnTo>
                    <a:pt x="160465" y="4561"/>
                  </a:lnTo>
                  <a:lnTo>
                    <a:pt x="158347" y="2769"/>
                  </a:lnTo>
                  <a:lnTo>
                    <a:pt x="151017" y="7005"/>
                  </a:lnTo>
                  <a:lnTo>
                    <a:pt x="149225" y="12055"/>
                  </a:lnTo>
                  <a:lnTo>
                    <a:pt x="150365" y="18083"/>
                  </a:lnTo>
                  <a:lnTo>
                    <a:pt x="148899" y="27532"/>
                  </a:lnTo>
                  <a:lnTo>
                    <a:pt x="141568" y="34700"/>
                  </a:lnTo>
                  <a:lnTo>
                    <a:pt x="141568" y="37795"/>
                  </a:lnTo>
                  <a:lnTo>
                    <a:pt x="133422" y="40076"/>
                  </a:lnTo>
                  <a:lnTo>
                    <a:pt x="129187" y="40076"/>
                  </a:lnTo>
                  <a:cubicBezTo>
                    <a:pt x="129187" y="40076"/>
                    <a:pt x="124463" y="38772"/>
                    <a:pt x="124463" y="38772"/>
                  </a:cubicBezTo>
                  <a:lnTo>
                    <a:pt x="114851" y="43985"/>
                  </a:lnTo>
                  <a:lnTo>
                    <a:pt x="112570" y="48384"/>
                  </a:lnTo>
                  <a:lnTo>
                    <a:pt x="114362" y="51479"/>
                  </a:lnTo>
                  <a:lnTo>
                    <a:pt x="118761" y="52945"/>
                  </a:lnTo>
                  <a:lnTo>
                    <a:pt x="112733" y="57181"/>
                  </a:lnTo>
                  <a:lnTo>
                    <a:pt x="105402" y="58810"/>
                  </a:lnTo>
                  <a:lnTo>
                    <a:pt x="95302" y="57507"/>
                  </a:lnTo>
                  <a:lnTo>
                    <a:pt x="90903" y="55226"/>
                  </a:lnTo>
                  <a:lnTo>
                    <a:pt x="87156" y="57344"/>
                  </a:lnTo>
                  <a:lnTo>
                    <a:pt x="85528" y="53923"/>
                  </a:lnTo>
                  <a:lnTo>
                    <a:pt x="82269" y="51479"/>
                  </a:lnTo>
                  <a:lnTo>
                    <a:pt x="83735" y="47406"/>
                  </a:lnTo>
                  <a:lnTo>
                    <a:pt x="79663" y="45452"/>
                  </a:lnTo>
                  <a:lnTo>
                    <a:pt x="75427" y="47081"/>
                  </a:lnTo>
                  <a:lnTo>
                    <a:pt x="69399" y="47081"/>
                  </a:lnTo>
                  <a:cubicBezTo>
                    <a:pt x="69399" y="47081"/>
                    <a:pt x="66630" y="45777"/>
                    <a:pt x="66630" y="45777"/>
                  </a:cubicBezTo>
                  <a:lnTo>
                    <a:pt x="68422" y="51642"/>
                  </a:lnTo>
                  <a:lnTo>
                    <a:pt x="67444" y="54086"/>
                  </a:lnTo>
                  <a:lnTo>
                    <a:pt x="75915" y="62068"/>
                  </a:lnTo>
                  <a:lnTo>
                    <a:pt x="74287" y="64512"/>
                  </a:lnTo>
                  <a:lnTo>
                    <a:pt x="75427" y="68422"/>
                  </a:lnTo>
                  <a:lnTo>
                    <a:pt x="74449" y="72332"/>
                  </a:lnTo>
                  <a:lnTo>
                    <a:pt x="77219" y="75753"/>
                  </a:lnTo>
                  <a:lnTo>
                    <a:pt x="77871" y="80151"/>
                  </a:lnTo>
                  <a:lnTo>
                    <a:pt x="68911" y="79011"/>
                  </a:lnTo>
                  <a:lnTo>
                    <a:pt x="65001" y="80314"/>
                  </a:lnTo>
                  <a:lnTo>
                    <a:pt x="61254" y="79337"/>
                  </a:lnTo>
                  <a:lnTo>
                    <a:pt x="56855" y="80477"/>
                  </a:lnTo>
                  <a:lnTo>
                    <a:pt x="55063" y="78685"/>
                  </a:lnTo>
                  <a:lnTo>
                    <a:pt x="49524" y="83410"/>
                  </a:lnTo>
                  <a:lnTo>
                    <a:pt x="42356" y="73961"/>
                  </a:lnTo>
                  <a:lnTo>
                    <a:pt x="38284" y="72657"/>
                  </a:lnTo>
                  <a:lnTo>
                    <a:pt x="32256" y="73961"/>
                  </a:lnTo>
                  <a:lnTo>
                    <a:pt x="27369" y="78359"/>
                  </a:lnTo>
                  <a:lnTo>
                    <a:pt x="24925" y="77056"/>
                  </a:lnTo>
                  <a:lnTo>
                    <a:pt x="21993" y="79826"/>
                  </a:lnTo>
                  <a:lnTo>
                    <a:pt x="19549" y="78033"/>
                  </a:lnTo>
                  <a:lnTo>
                    <a:pt x="14336" y="78685"/>
                  </a:lnTo>
                  <a:lnTo>
                    <a:pt x="11078" y="81943"/>
                  </a:lnTo>
                  <a:lnTo>
                    <a:pt x="3421" y="82595"/>
                  </a:lnTo>
                  <a:lnTo>
                    <a:pt x="0" y="86668"/>
                  </a:lnTo>
                  <a:lnTo>
                    <a:pt x="1955" y="89926"/>
                  </a:lnTo>
                  <a:lnTo>
                    <a:pt x="6353" y="88460"/>
                  </a:lnTo>
                  <a:lnTo>
                    <a:pt x="10752" y="89763"/>
                  </a:lnTo>
                  <a:lnTo>
                    <a:pt x="11892" y="91555"/>
                  </a:lnTo>
                  <a:lnTo>
                    <a:pt x="7005" y="90577"/>
                  </a:lnTo>
                  <a:lnTo>
                    <a:pt x="4073" y="90903"/>
                  </a:lnTo>
                  <a:lnTo>
                    <a:pt x="5865" y="95791"/>
                  </a:lnTo>
                  <a:lnTo>
                    <a:pt x="7494" y="92044"/>
                  </a:lnTo>
                  <a:lnTo>
                    <a:pt x="10589" y="93184"/>
                  </a:lnTo>
                  <a:lnTo>
                    <a:pt x="11404" y="96442"/>
                  </a:lnTo>
                  <a:lnTo>
                    <a:pt x="8471" y="97583"/>
                  </a:lnTo>
                  <a:lnTo>
                    <a:pt x="3910" y="99375"/>
                  </a:lnTo>
                  <a:lnTo>
                    <a:pt x="3910" y="100678"/>
                  </a:lnTo>
                  <a:lnTo>
                    <a:pt x="8471" y="100678"/>
                  </a:lnTo>
                  <a:lnTo>
                    <a:pt x="10426" y="106054"/>
                  </a:lnTo>
                  <a:lnTo>
                    <a:pt x="9775" y="109149"/>
                  </a:lnTo>
                  <a:lnTo>
                    <a:pt x="14988" y="105728"/>
                  </a:lnTo>
                  <a:lnTo>
                    <a:pt x="18734" y="106705"/>
                  </a:lnTo>
                  <a:lnTo>
                    <a:pt x="21830" y="106054"/>
                  </a:lnTo>
                  <a:lnTo>
                    <a:pt x="29975" y="109312"/>
                  </a:lnTo>
                  <a:lnTo>
                    <a:pt x="31767" y="112244"/>
                  </a:lnTo>
                  <a:lnTo>
                    <a:pt x="35025" y="112244"/>
                  </a:lnTo>
                  <a:lnTo>
                    <a:pt x="40564" y="115991"/>
                  </a:lnTo>
                  <a:lnTo>
                    <a:pt x="44637" y="112244"/>
                  </a:lnTo>
                  <a:lnTo>
                    <a:pt x="47081" y="112896"/>
                  </a:lnTo>
                  <a:lnTo>
                    <a:pt x="46103" y="115828"/>
                  </a:lnTo>
                  <a:lnTo>
                    <a:pt x="47407" y="117620"/>
                  </a:lnTo>
                  <a:lnTo>
                    <a:pt x="51642" y="115177"/>
                  </a:lnTo>
                  <a:lnTo>
                    <a:pt x="54086" y="117620"/>
                  </a:lnTo>
                  <a:lnTo>
                    <a:pt x="52131" y="122671"/>
                  </a:lnTo>
                  <a:lnTo>
                    <a:pt x="54412" y="126418"/>
                  </a:lnTo>
                  <a:lnTo>
                    <a:pt x="57507" y="126418"/>
                  </a:lnTo>
                  <a:cubicBezTo>
                    <a:pt x="57507" y="126418"/>
                    <a:pt x="62394" y="123485"/>
                    <a:pt x="62394" y="123485"/>
                  </a:cubicBezTo>
                  <a:lnTo>
                    <a:pt x="67607" y="124137"/>
                  </a:lnTo>
                  <a:lnTo>
                    <a:pt x="70865" y="128535"/>
                  </a:lnTo>
                  <a:lnTo>
                    <a:pt x="66793" y="126255"/>
                  </a:lnTo>
                  <a:lnTo>
                    <a:pt x="62231" y="126255"/>
                  </a:lnTo>
                  <a:cubicBezTo>
                    <a:pt x="62231" y="126255"/>
                    <a:pt x="59299" y="130490"/>
                    <a:pt x="59299" y="130490"/>
                  </a:cubicBezTo>
                  <a:lnTo>
                    <a:pt x="62068" y="131631"/>
                  </a:lnTo>
                  <a:lnTo>
                    <a:pt x="63046" y="136681"/>
                  </a:lnTo>
                  <a:lnTo>
                    <a:pt x="60765" y="140916"/>
                  </a:lnTo>
                  <a:lnTo>
                    <a:pt x="61742" y="144175"/>
                  </a:lnTo>
                  <a:lnTo>
                    <a:pt x="65978" y="144826"/>
                  </a:lnTo>
                  <a:lnTo>
                    <a:pt x="72331" y="152809"/>
                  </a:lnTo>
                  <a:lnTo>
                    <a:pt x="78522" y="153786"/>
                  </a:lnTo>
                  <a:lnTo>
                    <a:pt x="84550" y="157207"/>
                  </a:lnTo>
                  <a:lnTo>
                    <a:pt x="84550" y="161606"/>
                  </a:lnTo>
                  <a:cubicBezTo>
                    <a:pt x="84550" y="161606"/>
                    <a:pt x="86668" y="165353"/>
                    <a:pt x="86668" y="165353"/>
                  </a:cubicBezTo>
                  <a:lnTo>
                    <a:pt x="84713" y="170403"/>
                  </a:lnTo>
                  <a:lnTo>
                    <a:pt x="83572" y="171055"/>
                  </a:lnTo>
                  <a:lnTo>
                    <a:pt x="82432" y="175453"/>
                  </a:lnTo>
                  <a:lnTo>
                    <a:pt x="86668" y="176431"/>
                  </a:lnTo>
                  <a:lnTo>
                    <a:pt x="94487" y="182458"/>
                  </a:lnTo>
                  <a:lnTo>
                    <a:pt x="100515" y="196957"/>
                  </a:lnTo>
                  <a:lnTo>
                    <a:pt x="93999" y="190604"/>
                  </a:lnTo>
                  <a:lnTo>
                    <a:pt x="92206" y="184413"/>
                  </a:lnTo>
                  <a:lnTo>
                    <a:pt x="86994" y="181644"/>
                  </a:lnTo>
                  <a:lnTo>
                    <a:pt x="84550" y="183436"/>
                  </a:lnTo>
                  <a:lnTo>
                    <a:pt x="82106" y="196143"/>
                  </a:lnTo>
                  <a:lnTo>
                    <a:pt x="82106" y="205428"/>
                  </a:lnTo>
                  <a:cubicBezTo>
                    <a:pt x="82106" y="205428"/>
                    <a:pt x="86342" y="208198"/>
                    <a:pt x="86342" y="208198"/>
                  </a:cubicBezTo>
                  <a:lnTo>
                    <a:pt x="83084" y="210642"/>
                  </a:lnTo>
                  <a:lnTo>
                    <a:pt x="81780" y="228073"/>
                  </a:lnTo>
                  <a:lnTo>
                    <a:pt x="77219" y="243223"/>
                  </a:lnTo>
                  <a:lnTo>
                    <a:pt x="71354" y="246807"/>
                  </a:lnTo>
                  <a:lnTo>
                    <a:pt x="75753" y="249251"/>
                  </a:lnTo>
                  <a:lnTo>
                    <a:pt x="76242" y="250554"/>
                  </a:lnTo>
                  <a:lnTo>
                    <a:pt x="79337" y="251043"/>
                  </a:lnTo>
                  <a:lnTo>
                    <a:pt x="80314" y="256419"/>
                  </a:lnTo>
                  <a:lnTo>
                    <a:pt x="79663" y="260492"/>
                  </a:lnTo>
                  <a:lnTo>
                    <a:pt x="87156" y="259514"/>
                  </a:lnTo>
                  <a:lnTo>
                    <a:pt x="97257" y="263587"/>
                  </a:lnTo>
                  <a:lnTo>
                    <a:pt x="101981" y="268800"/>
                  </a:lnTo>
                  <a:lnTo>
                    <a:pt x="107194" y="266356"/>
                  </a:lnTo>
                  <a:lnTo>
                    <a:pt x="112896" y="272221"/>
                  </a:lnTo>
                  <a:lnTo>
                    <a:pt x="119901" y="272221"/>
                  </a:lnTo>
                  <a:cubicBezTo>
                    <a:pt x="119901" y="272221"/>
                    <a:pt x="123322" y="273850"/>
                    <a:pt x="123322" y="273850"/>
                  </a:cubicBezTo>
                  <a:lnTo>
                    <a:pt x="127721" y="269289"/>
                  </a:lnTo>
                  <a:lnTo>
                    <a:pt x="139287" y="268963"/>
                  </a:lnTo>
                  <a:lnTo>
                    <a:pt x="143686" y="271407"/>
                  </a:lnTo>
                  <a:lnTo>
                    <a:pt x="150691" y="270592"/>
                  </a:lnTo>
                  <a:lnTo>
                    <a:pt x="158022" y="274665"/>
                  </a:lnTo>
                  <a:lnTo>
                    <a:pt x="170077" y="273524"/>
                  </a:lnTo>
                  <a:lnTo>
                    <a:pt x="178549" y="278737"/>
                  </a:lnTo>
                  <a:lnTo>
                    <a:pt x="181806" y="279878"/>
                  </a:lnTo>
                  <a:lnTo>
                    <a:pt x="181481" y="277434"/>
                  </a:lnTo>
                  <a:lnTo>
                    <a:pt x="179526" y="270103"/>
                  </a:lnTo>
                  <a:lnTo>
                    <a:pt x="181481" y="261469"/>
                  </a:lnTo>
                  <a:lnTo>
                    <a:pt x="182133" y="257234"/>
                  </a:lnTo>
                  <a:lnTo>
                    <a:pt x="187997" y="252020"/>
                  </a:lnTo>
                  <a:lnTo>
                    <a:pt x="196957" y="242572"/>
                  </a:lnTo>
                  <a:lnTo>
                    <a:pt x="199890" y="242572"/>
                  </a:lnTo>
                  <a:cubicBezTo>
                    <a:pt x="199890" y="242572"/>
                    <a:pt x="202822" y="244527"/>
                    <a:pt x="202822" y="244527"/>
                  </a:cubicBezTo>
                  <a:lnTo>
                    <a:pt x="208687" y="245341"/>
                  </a:lnTo>
                  <a:lnTo>
                    <a:pt x="214877" y="249088"/>
                  </a:lnTo>
                  <a:lnTo>
                    <a:pt x="219113" y="249088"/>
                  </a:lnTo>
                  <a:lnTo>
                    <a:pt x="223022" y="245993"/>
                  </a:lnTo>
                  <a:lnTo>
                    <a:pt x="226770" y="245667"/>
                  </a:lnTo>
                  <a:lnTo>
                    <a:pt x="242246" y="255279"/>
                  </a:lnTo>
                  <a:lnTo>
                    <a:pt x="246481" y="259026"/>
                  </a:lnTo>
                  <a:lnTo>
                    <a:pt x="257885" y="259677"/>
                  </a:lnTo>
                  <a:lnTo>
                    <a:pt x="262772" y="255604"/>
                  </a:lnTo>
                  <a:lnTo>
                    <a:pt x="261795" y="253161"/>
                  </a:lnTo>
                  <a:lnTo>
                    <a:pt x="266194" y="247622"/>
                  </a:lnTo>
                  <a:lnTo>
                    <a:pt x="282322" y="235567"/>
                  </a:lnTo>
                  <a:lnTo>
                    <a:pt x="283299" y="235567"/>
                  </a:lnTo>
                  <a:cubicBezTo>
                    <a:pt x="283299" y="235567"/>
                    <a:pt x="281507" y="229865"/>
                    <a:pt x="281507" y="229865"/>
                  </a:cubicBezTo>
                  <a:lnTo>
                    <a:pt x="284765" y="222045"/>
                  </a:lnTo>
                  <a:lnTo>
                    <a:pt x="276946" y="222045"/>
                  </a:lnTo>
                  <a:lnTo>
                    <a:pt x="268800" y="216506"/>
                  </a:lnTo>
                  <a:lnTo>
                    <a:pt x="267660" y="203148"/>
                  </a:lnTo>
                  <a:lnTo>
                    <a:pt x="261469" y="196468"/>
                  </a:lnTo>
                  <a:lnTo>
                    <a:pt x="265216" y="192396"/>
                  </a:lnTo>
                  <a:lnTo>
                    <a:pt x="271081" y="191581"/>
                  </a:lnTo>
                  <a:lnTo>
                    <a:pt x="272547" y="183110"/>
                  </a:lnTo>
                  <a:lnTo>
                    <a:pt x="267822" y="178711"/>
                  </a:lnTo>
                  <a:lnTo>
                    <a:pt x="267171" y="172358"/>
                  </a:lnTo>
                  <a:lnTo>
                    <a:pt x="269452" y="169751"/>
                  </a:lnTo>
                  <a:lnTo>
                    <a:pt x="269778" y="169751"/>
                  </a:lnTo>
                  <a:close/>
                  <a:moveTo>
                    <a:pt x="322071" y="309039"/>
                  </a:moveTo>
                  <a:lnTo>
                    <a:pt x="314415" y="305780"/>
                  </a:lnTo>
                  <a:lnTo>
                    <a:pt x="313111" y="303500"/>
                  </a:lnTo>
                  <a:lnTo>
                    <a:pt x="314903" y="300730"/>
                  </a:lnTo>
                  <a:lnTo>
                    <a:pt x="316858" y="301056"/>
                  </a:lnTo>
                  <a:lnTo>
                    <a:pt x="315555" y="298775"/>
                  </a:lnTo>
                  <a:lnTo>
                    <a:pt x="313763" y="298775"/>
                  </a:lnTo>
                  <a:lnTo>
                    <a:pt x="313763" y="295354"/>
                  </a:lnTo>
                  <a:cubicBezTo>
                    <a:pt x="313763" y="295354"/>
                    <a:pt x="310505" y="293399"/>
                    <a:pt x="310505" y="293399"/>
                  </a:cubicBezTo>
                  <a:lnTo>
                    <a:pt x="308876" y="290956"/>
                  </a:lnTo>
                  <a:lnTo>
                    <a:pt x="310831" y="289815"/>
                  </a:lnTo>
                  <a:lnTo>
                    <a:pt x="310831" y="287861"/>
                  </a:lnTo>
                  <a:lnTo>
                    <a:pt x="307084" y="285905"/>
                  </a:lnTo>
                  <a:lnTo>
                    <a:pt x="306106" y="282159"/>
                  </a:lnTo>
                  <a:lnTo>
                    <a:pt x="309038" y="282159"/>
                  </a:lnTo>
                  <a:lnTo>
                    <a:pt x="310016" y="279878"/>
                  </a:lnTo>
                  <a:lnTo>
                    <a:pt x="307084" y="277109"/>
                  </a:lnTo>
                  <a:lnTo>
                    <a:pt x="310505" y="270918"/>
                  </a:lnTo>
                  <a:lnTo>
                    <a:pt x="318162" y="268148"/>
                  </a:lnTo>
                  <a:lnTo>
                    <a:pt x="321257" y="265053"/>
                  </a:lnTo>
                  <a:lnTo>
                    <a:pt x="324352" y="268311"/>
                  </a:lnTo>
                  <a:lnTo>
                    <a:pt x="326307" y="268311"/>
                  </a:lnTo>
                  <a:lnTo>
                    <a:pt x="327122" y="263750"/>
                  </a:lnTo>
                  <a:lnTo>
                    <a:pt x="325655" y="260492"/>
                  </a:lnTo>
                  <a:lnTo>
                    <a:pt x="326633" y="256093"/>
                  </a:lnTo>
                  <a:lnTo>
                    <a:pt x="329240" y="256093"/>
                  </a:lnTo>
                  <a:lnTo>
                    <a:pt x="330543" y="263424"/>
                  </a:lnTo>
                  <a:lnTo>
                    <a:pt x="329891" y="269940"/>
                  </a:lnTo>
                  <a:lnTo>
                    <a:pt x="332660" y="280204"/>
                  </a:lnTo>
                  <a:lnTo>
                    <a:pt x="329565" y="291933"/>
                  </a:lnTo>
                  <a:lnTo>
                    <a:pt x="329565" y="298450"/>
                  </a:lnTo>
                  <a:cubicBezTo>
                    <a:pt x="329565" y="298450"/>
                    <a:pt x="327122" y="306595"/>
                    <a:pt x="327122" y="306595"/>
                  </a:cubicBezTo>
                  <a:lnTo>
                    <a:pt x="322235" y="308876"/>
                  </a:lnTo>
                  <a:close/>
                </a:path>
              </a:pathLst>
            </a:custGeom>
            <a:solidFill>
              <a:schemeClr val="tx1"/>
            </a:solidFill>
            <a:ln w="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3" name="Forma livre: Forma 182">
              <a:extLst>
                <a:ext uri="{FF2B5EF4-FFF2-40B4-BE49-F238E27FC236}">
                  <a16:creationId xmlns:a16="http://schemas.microsoft.com/office/drawing/2014/main" id="{15853422-88D6-B900-4688-38CAEB09DA06}"/>
                </a:ext>
              </a:extLst>
            </p:cNvPr>
            <p:cNvSpPr/>
            <p:nvPr/>
          </p:nvSpPr>
          <p:spPr>
            <a:xfrm>
              <a:off x="6141591" y="3605350"/>
              <a:ext cx="301347" cy="339731"/>
            </a:xfrm>
            <a:custGeom>
              <a:avLst/>
              <a:gdLst>
                <a:gd name="connsiteX0" fmla="*/ 21830 w 291607"/>
                <a:gd name="connsiteY0" fmla="*/ 105076 h 328750"/>
                <a:gd name="connsiteX1" fmla="*/ 20038 w 291607"/>
                <a:gd name="connsiteY1" fmla="*/ 99538 h 328750"/>
                <a:gd name="connsiteX2" fmla="*/ 23296 w 291607"/>
                <a:gd name="connsiteY2" fmla="*/ 91718 h 328750"/>
                <a:gd name="connsiteX3" fmla="*/ 15477 w 291607"/>
                <a:gd name="connsiteY3" fmla="*/ 91718 h 328750"/>
                <a:gd name="connsiteX4" fmla="*/ 7331 w 291607"/>
                <a:gd name="connsiteY4" fmla="*/ 86179 h 328750"/>
                <a:gd name="connsiteX5" fmla="*/ 6191 w 291607"/>
                <a:gd name="connsiteY5" fmla="*/ 72820 h 328750"/>
                <a:gd name="connsiteX6" fmla="*/ 0 w 291607"/>
                <a:gd name="connsiteY6" fmla="*/ 66141 h 328750"/>
                <a:gd name="connsiteX7" fmla="*/ 3747 w 291607"/>
                <a:gd name="connsiteY7" fmla="*/ 62068 h 328750"/>
                <a:gd name="connsiteX8" fmla="*/ 9612 w 291607"/>
                <a:gd name="connsiteY8" fmla="*/ 61254 h 328750"/>
                <a:gd name="connsiteX9" fmla="*/ 11078 w 291607"/>
                <a:gd name="connsiteY9" fmla="*/ 52783 h 328750"/>
                <a:gd name="connsiteX10" fmla="*/ 6354 w 291607"/>
                <a:gd name="connsiteY10" fmla="*/ 48384 h 328750"/>
                <a:gd name="connsiteX11" fmla="*/ 5702 w 291607"/>
                <a:gd name="connsiteY11" fmla="*/ 42031 h 328750"/>
                <a:gd name="connsiteX12" fmla="*/ 7982 w 291607"/>
                <a:gd name="connsiteY12" fmla="*/ 39424 h 328750"/>
                <a:gd name="connsiteX13" fmla="*/ 13847 w 291607"/>
                <a:gd name="connsiteY13" fmla="*/ 41705 h 328750"/>
                <a:gd name="connsiteX14" fmla="*/ 23785 w 291607"/>
                <a:gd name="connsiteY14" fmla="*/ 34374 h 328750"/>
                <a:gd name="connsiteX15" fmla="*/ 30464 w 291607"/>
                <a:gd name="connsiteY15" fmla="*/ 37306 h 328750"/>
                <a:gd name="connsiteX16" fmla="*/ 39750 w 291607"/>
                <a:gd name="connsiteY16" fmla="*/ 21504 h 328750"/>
                <a:gd name="connsiteX17" fmla="*/ 45615 w 291607"/>
                <a:gd name="connsiteY17" fmla="*/ 25251 h 328750"/>
                <a:gd name="connsiteX18" fmla="*/ 44800 w 291607"/>
                <a:gd name="connsiteY18" fmla="*/ 31116 h 328750"/>
                <a:gd name="connsiteX19" fmla="*/ 52945 w 291607"/>
                <a:gd name="connsiteY19" fmla="*/ 35188 h 328750"/>
                <a:gd name="connsiteX20" fmla="*/ 55552 w 291607"/>
                <a:gd name="connsiteY20" fmla="*/ 40402 h 328750"/>
                <a:gd name="connsiteX21" fmla="*/ 60765 w 291607"/>
                <a:gd name="connsiteY21" fmla="*/ 31116 h 328750"/>
                <a:gd name="connsiteX22" fmla="*/ 60765 w 291607"/>
                <a:gd name="connsiteY22" fmla="*/ 24111 h 328750"/>
                <a:gd name="connsiteX23" fmla="*/ 71843 w 291607"/>
                <a:gd name="connsiteY23" fmla="*/ 27043 h 328750"/>
                <a:gd name="connsiteX24" fmla="*/ 76241 w 291607"/>
                <a:gd name="connsiteY24" fmla="*/ 26717 h 328750"/>
                <a:gd name="connsiteX25" fmla="*/ 80640 w 291607"/>
                <a:gd name="connsiteY25" fmla="*/ 30464 h 328750"/>
                <a:gd name="connsiteX26" fmla="*/ 81781 w 291607"/>
                <a:gd name="connsiteY26" fmla="*/ 20852 h 328750"/>
                <a:gd name="connsiteX27" fmla="*/ 91718 w 291607"/>
                <a:gd name="connsiteY27" fmla="*/ 18572 h 328750"/>
                <a:gd name="connsiteX28" fmla="*/ 89111 w 291607"/>
                <a:gd name="connsiteY28" fmla="*/ 10426 h 328750"/>
                <a:gd name="connsiteX29" fmla="*/ 94325 w 291607"/>
                <a:gd name="connsiteY29" fmla="*/ 4073 h 328750"/>
                <a:gd name="connsiteX30" fmla="*/ 102796 w 291607"/>
                <a:gd name="connsiteY30" fmla="*/ 7820 h 328750"/>
                <a:gd name="connsiteX31" fmla="*/ 116154 w 291607"/>
                <a:gd name="connsiteY31" fmla="*/ 0 h 328750"/>
                <a:gd name="connsiteX32" fmla="*/ 121693 w 291607"/>
                <a:gd name="connsiteY32" fmla="*/ 1466 h 328750"/>
                <a:gd name="connsiteX33" fmla="*/ 130490 w 291607"/>
                <a:gd name="connsiteY33" fmla="*/ 652 h 328750"/>
                <a:gd name="connsiteX34" fmla="*/ 129839 w 291607"/>
                <a:gd name="connsiteY34" fmla="*/ 5865 h 328750"/>
                <a:gd name="connsiteX35" fmla="*/ 142382 w 291607"/>
                <a:gd name="connsiteY35" fmla="*/ 13196 h 328750"/>
                <a:gd name="connsiteX36" fmla="*/ 157859 w 291607"/>
                <a:gd name="connsiteY36" fmla="*/ 16128 h 328750"/>
                <a:gd name="connsiteX37" fmla="*/ 166330 w 291607"/>
                <a:gd name="connsiteY37" fmla="*/ 15313 h 328750"/>
                <a:gd name="connsiteX38" fmla="*/ 170077 w 291607"/>
                <a:gd name="connsiteY38" fmla="*/ 18572 h 328750"/>
                <a:gd name="connsiteX39" fmla="*/ 164213 w 291607"/>
                <a:gd name="connsiteY39" fmla="*/ 27043 h 328750"/>
                <a:gd name="connsiteX40" fmla="*/ 166004 w 291607"/>
                <a:gd name="connsiteY40" fmla="*/ 31116 h 328750"/>
                <a:gd name="connsiteX41" fmla="*/ 162746 w 291607"/>
                <a:gd name="connsiteY41" fmla="*/ 36329 h 328750"/>
                <a:gd name="connsiteX42" fmla="*/ 164050 w 291607"/>
                <a:gd name="connsiteY42" fmla="*/ 45126 h 328750"/>
                <a:gd name="connsiteX43" fmla="*/ 158348 w 291607"/>
                <a:gd name="connsiteY43" fmla="*/ 43660 h 328750"/>
                <a:gd name="connsiteX44" fmla="*/ 154927 w 291607"/>
                <a:gd name="connsiteY44" fmla="*/ 45452 h 328750"/>
                <a:gd name="connsiteX45" fmla="*/ 151180 w 291607"/>
                <a:gd name="connsiteY45" fmla="*/ 49199 h 328750"/>
                <a:gd name="connsiteX46" fmla="*/ 145641 w 291607"/>
                <a:gd name="connsiteY46" fmla="*/ 49199 h 328750"/>
                <a:gd name="connsiteX47" fmla="*/ 140428 w 291607"/>
                <a:gd name="connsiteY47" fmla="*/ 53760 h 328750"/>
                <a:gd name="connsiteX48" fmla="*/ 134889 w 291607"/>
                <a:gd name="connsiteY48" fmla="*/ 54575 h 328750"/>
                <a:gd name="connsiteX49" fmla="*/ 132934 w 291607"/>
                <a:gd name="connsiteY49" fmla="*/ 58484 h 328750"/>
                <a:gd name="connsiteX50" fmla="*/ 135704 w 291607"/>
                <a:gd name="connsiteY50" fmla="*/ 63860 h 328750"/>
                <a:gd name="connsiteX51" fmla="*/ 139125 w 291607"/>
                <a:gd name="connsiteY51" fmla="*/ 68259 h 328750"/>
                <a:gd name="connsiteX52" fmla="*/ 135215 w 291607"/>
                <a:gd name="connsiteY52" fmla="*/ 74124 h 328750"/>
                <a:gd name="connsiteX53" fmla="*/ 132934 w 291607"/>
                <a:gd name="connsiteY53" fmla="*/ 76079 h 328750"/>
                <a:gd name="connsiteX54" fmla="*/ 135866 w 291607"/>
                <a:gd name="connsiteY54" fmla="*/ 82432 h 328750"/>
                <a:gd name="connsiteX55" fmla="*/ 136681 w 291607"/>
                <a:gd name="connsiteY55" fmla="*/ 89763 h 328750"/>
                <a:gd name="connsiteX56" fmla="*/ 139450 w 291607"/>
                <a:gd name="connsiteY56" fmla="*/ 93673 h 328750"/>
                <a:gd name="connsiteX57" fmla="*/ 150691 w 291607"/>
                <a:gd name="connsiteY57" fmla="*/ 99700 h 328750"/>
                <a:gd name="connsiteX58" fmla="*/ 156882 w 291607"/>
                <a:gd name="connsiteY58" fmla="*/ 102959 h 328750"/>
                <a:gd name="connsiteX59" fmla="*/ 159977 w 291607"/>
                <a:gd name="connsiteY59" fmla="*/ 107194 h 328750"/>
                <a:gd name="connsiteX60" fmla="*/ 176593 w 291607"/>
                <a:gd name="connsiteY60" fmla="*/ 123974 h 328750"/>
                <a:gd name="connsiteX61" fmla="*/ 176920 w 291607"/>
                <a:gd name="connsiteY61" fmla="*/ 128372 h 328750"/>
                <a:gd name="connsiteX62" fmla="*/ 179037 w 291607"/>
                <a:gd name="connsiteY62" fmla="*/ 129513 h 328750"/>
                <a:gd name="connsiteX63" fmla="*/ 179037 w 291607"/>
                <a:gd name="connsiteY63" fmla="*/ 134726 h 328750"/>
                <a:gd name="connsiteX64" fmla="*/ 182784 w 291607"/>
                <a:gd name="connsiteY64" fmla="*/ 139776 h 328750"/>
                <a:gd name="connsiteX65" fmla="*/ 187509 w 291607"/>
                <a:gd name="connsiteY65" fmla="*/ 144500 h 328750"/>
                <a:gd name="connsiteX66" fmla="*/ 191093 w 291607"/>
                <a:gd name="connsiteY66" fmla="*/ 150202 h 328750"/>
                <a:gd name="connsiteX67" fmla="*/ 198586 w 291607"/>
                <a:gd name="connsiteY67" fmla="*/ 156067 h 328750"/>
                <a:gd name="connsiteX68" fmla="*/ 202170 w 291607"/>
                <a:gd name="connsiteY68" fmla="*/ 159814 h 328750"/>
                <a:gd name="connsiteX69" fmla="*/ 206895 w 291607"/>
                <a:gd name="connsiteY69" fmla="*/ 160791 h 328750"/>
                <a:gd name="connsiteX70" fmla="*/ 210153 w 291607"/>
                <a:gd name="connsiteY70" fmla="*/ 162746 h 328750"/>
                <a:gd name="connsiteX71" fmla="*/ 219764 w 291607"/>
                <a:gd name="connsiteY71" fmla="*/ 162746 h 328750"/>
                <a:gd name="connsiteX72" fmla="*/ 223837 w 291607"/>
                <a:gd name="connsiteY72" fmla="*/ 163887 h 328750"/>
                <a:gd name="connsiteX73" fmla="*/ 230028 w 291607"/>
                <a:gd name="connsiteY73" fmla="*/ 162909 h 328750"/>
                <a:gd name="connsiteX74" fmla="*/ 234427 w 291607"/>
                <a:gd name="connsiteY74" fmla="*/ 165190 h 328750"/>
                <a:gd name="connsiteX75" fmla="*/ 233449 w 291607"/>
                <a:gd name="connsiteY75" fmla="*/ 168611 h 328750"/>
                <a:gd name="connsiteX76" fmla="*/ 227095 w 291607"/>
                <a:gd name="connsiteY76" fmla="*/ 173010 h 328750"/>
                <a:gd name="connsiteX77" fmla="*/ 227095 w 291607"/>
                <a:gd name="connsiteY77" fmla="*/ 175290 h 328750"/>
                <a:gd name="connsiteX78" fmla="*/ 229376 w 291607"/>
                <a:gd name="connsiteY78" fmla="*/ 179363 h 328750"/>
                <a:gd name="connsiteX79" fmla="*/ 234589 w 291607"/>
                <a:gd name="connsiteY79" fmla="*/ 179363 h 328750"/>
                <a:gd name="connsiteX80" fmla="*/ 244201 w 291607"/>
                <a:gd name="connsiteY80" fmla="*/ 181644 h 328750"/>
                <a:gd name="connsiteX81" fmla="*/ 264239 w 291607"/>
                <a:gd name="connsiteY81" fmla="*/ 192396 h 328750"/>
                <a:gd name="connsiteX82" fmla="*/ 272058 w 291607"/>
                <a:gd name="connsiteY82" fmla="*/ 198261 h 328750"/>
                <a:gd name="connsiteX83" fmla="*/ 277109 w 291607"/>
                <a:gd name="connsiteY83" fmla="*/ 203636 h 328750"/>
                <a:gd name="connsiteX84" fmla="*/ 285417 w 291607"/>
                <a:gd name="connsiteY84" fmla="*/ 205754 h 328750"/>
                <a:gd name="connsiteX85" fmla="*/ 289652 w 291607"/>
                <a:gd name="connsiteY85" fmla="*/ 208687 h 328750"/>
                <a:gd name="connsiteX86" fmla="*/ 291607 w 291607"/>
                <a:gd name="connsiteY86" fmla="*/ 212108 h 328750"/>
                <a:gd name="connsiteX87" fmla="*/ 290793 w 291607"/>
                <a:gd name="connsiteY87" fmla="*/ 218624 h 328750"/>
                <a:gd name="connsiteX88" fmla="*/ 288675 w 291607"/>
                <a:gd name="connsiteY88" fmla="*/ 221719 h 328750"/>
                <a:gd name="connsiteX89" fmla="*/ 289327 w 291607"/>
                <a:gd name="connsiteY89" fmla="*/ 225792 h 328750"/>
                <a:gd name="connsiteX90" fmla="*/ 288023 w 291607"/>
                <a:gd name="connsiteY90" fmla="*/ 226932 h 328750"/>
                <a:gd name="connsiteX91" fmla="*/ 288023 w 291607"/>
                <a:gd name="connsiteY91" fmla="*/ 228399 h 328750"/>
                <a:gd name="connsiteX92" fmla="*/ 283299 w 291607"/>
                <a:gd name="connsiteY92" fmla="*/ 226444 h 328750"/>
                <a:gd name="connsiteX93" fmla="*/ 279715 w 291607"/>
                <a:gd name="connsiteY93" fmla="*/ 222045 h 328750"/>
                <a:gd name="connsiteX94" fmla="*/ 277597 w 291607"/>
                <a:gd name="connsiteY94" fmla="*/ 217321 h 328750"/>
                <a:gd name="connsiteX95" fmla="*/ 278249 w 291607"/>
                <a:gd name="connsiteY95" fmla="*/ 213411 h 328750"/>
                <a:gd name="connsiteX96" fmla="*/ 275479 w 291607"/>
                <a:gd name="connsiteY96" fmla="*/ 211782 h 328750"/>
                <a:gd name="connsiteX97" fmla="*/ 267660 w 291607"/>
                <a:gd name="connsiteY97" fmla="*/ 211782 h 328750"/>
                <a:gd name="connsiteX98" fmla="*/ 266031 w 291607"/>
                <a:gd name="connsiteY98" fmla="*/ 209338 h 328750"/>
                <a:gd name="connsiteX99" fmla="*/ 260818 w 291607"/>
                <a:gd name="connsiteY99" fmla="*/ 206895 h 328750"/>
                <a:gd name="connsiteX100" fmla="*/ 257397 w 291607"/>
                <a:gd name="connsiteY100" fmla="*/ 207383 h 328750"/>
                <a:gd name="connsiteX101" fmla="*/ 255116 w 291607"/>
                <a:gd name="connsiteY101" fmla="*/ 208850 h 328750"/>
                <a:gd name="connsiteX102" fmla="*/ 253324 w 291607"/>
                <a:gd name="connsiteY102" fmla="*/ 215040 h 328750"/>
                <a:gd name="connsiteX103" fmla="*/ 250391 w 291607"/>
                <a:gd name="connsiteY103" fmla="*/ 218135 h 328750"/>
                <a:gd name="connsiteX104" fmla="*/ 250717 w 291607"/>
                <a:gd name="connsiteY104" fmla="*/ 221394 h 328750"/>
                <a:gd name="connsiteX105" fmla="*/ 249903 w 291607"/>
                <a:gd name="connsiteY105" fmla="*/ 225303 h 328750"/>
                <a:gd name="connsiteX106" fmla="*/ 246156 w 291607"/>
                <a:gd name="connsiteY106" fmla="*/ 227747 h 328750"/>
                <a:gd name="connsiteX107" fmla="*/ 246156 w 291607"/>
                <a:gd name="connsiteY107" fmla="*/ 231494 h 328750"/>
                <a:gd name="connsiteX108" fmla="*/ 247948 w 291607"/>
                <a:gd name="connsiteY108" fmla="*/ 234100 h 328750"/>
                <a:gd name="connsiteX109" fmla="*/ 252020 w 291607"/>
                <a:gd name="connsiteY109" fmla="*/ 234752 h 328750"/>
                <a:gd name="connsiteX110" fmla="*/ 259189 w 291607"/>
                <a:gd name="connsiteY110" fmla="*/ 241431 h 328750"/>
                <a:gd name="connsiteX111" fmla="*/ 260655 w 291607"/>
                <a:gd name="connsiteY111" fmla="*/ 244364 h 328750"/>
                <a:gd name="connsiteX112" fmla="*/ 259840 w 291607"/>
                <a:gd name="connsiteY112" fmla="*/ 250880 h 328750"/>
                <a:gd name="connsiteX113" fmla="*/ 261143 w 291607"/>
                <a:gd name="connsiteY113" fmla="*/ 253161 h 328750"/>
                <a:gd name="connsiteX114" fmla="*/ 259352 w 291607"/>
                <a:gd name="connsiteY114" fmla="*/ 256908 h 328750"/>
                <a:gd name="connsiteX115" fmla="*/ 254953 w 291607"/>
                <a:gd name="connsiteY115" fmla="*/ 258048 h 328750"/>
                <a:gd name="connsiteX116" fmla="*/ 250717 w 291607"/>
                <a:gd name="connsiteY116" fmla="*/ 262447 h 328750"/>
                <a:gd name="connsiteX117" fmla="*/ 250066 w 291607"/>
                <a:gd name="connsiteY117" fmla="*/ 274176 h 328750"/>
                <a:gd name="connsiteX118" fmla="*/ 243061 w 291607"/>
                <a:gd name="connsiteY118" fmla="*/ 279715 h 328750"/>
                <a:gd name="connsiteX119" fmla="*/ 242083 w 291607"/>
                <a:gd name="connsiteY119" fmla="*/ 285091 h 328750"/>
                <a:gd name="connsiteX120" fmla="*/ 238336 w 291607"/>
                <a:gd name="connsiteY120" fmla="*/ 290141 h 328750"/>
                <a:gd name="connsiteX121" fmla="*/ 231005 w 291607"/>
                <a:gd name="connsiteY121" fmla="*/ 290793 h 328750"/>
                <a:gd name="connsiteX122" fmla="*/ 225466 w 291607"/>
                <a:gd name="connsiteY122" fmla="*/ 285254 h 328750"/>
                <a:gd name="connsiteX123" fmla="*/ 225466 w 291607"/>
                <a:gd name="connsiteY123" fmla="*/ 281344 h 328750"/>
                <a:gd name="connsiteX124" fmla="*/ 226444 w 291607"/>
                <a:gd name="connsiteY124" fmla="*/ 279389 h 328750"/>
                <a:gd name="connsiteX125" fmla="*/ 229539 w 291607"/>
                <a:gd name="connsiteY125" fmla="*/ 277597 h 328750"/>
                <a:gd name="connsiteX126" fmla="*/ 232634 w 291607"/>
                <a:gd name="connsiteY126" fmla="*/ 274176 h 328750"/>
                <a:gd name="connsiteX127" fmla="*/ 233286 w 291607"/>
                <a:gd name="connsiteY127" fmla="*/ 269289 h 328750"/>
                <a:gd name="connsiteX128" fmla="*/ 232634 w 291607"/>
                <a:gd name="connsiteY128" fmla="*/ 264239 h 328750"/>
                <a:gd name="connsiteX129" fmla="*/ 234100 w 291607"/>
                <a:gd name="connsiteY129" fmla="*/ 263424 h 328750"/>
                <a:gd name="connsiteX130" fmla="*/ 236055 w 291607"/>
                <a:gd name="connsiteY130" fmla="*/ 263424 h 328750"/>
                <a:gd name="connsiteX131" fmla="*/ 238825 w 291607"/>
                <a:gd name="connsiteY131" fmla="*/ 260003 h 328750"/>
                <a:gd name="connsiteX132" fmla="*/ 238825 w 291607"/>
                <a:gd name="connsiteY132" fmla="*/ 255279 h 328750"/>
                <a:gd name="connsiteX133" fmla="*/ 236055 w 291607"/>
                <a:gd name="connsiteY133" fmla="*/ 251043 h 328750"/>
                <a:gd name="connsiteX134" fmla="*/ 233938 w 291607"/>
                <a:gd name="connsiteY134" fmla="*/ 241920 h 328750"/>
                <a:gd name="connsiteX135" fmla="*/ 231168 w 291607"/>
                <a:gd name="connsiteY135" fmla="*/ 238499 h 328750"/>
                <a:gd name="connsiteX136" fmla="*/ 230028 w 291607"/>
                <a:gd name="connsiteY136" fmla="*/ 230679 h 328750"/>
                <a:gd name="connsiteX137" fmla="*/ 227747 w 291607"/>
                <a:gd name="connsiteY137" fmla="*/ 222534 h 328750"/>
                <a:gd name="connsiteX138" fmla="*/ 224000 w 291607"/>
                <a:gd name="connsiteY138" fmla="*/ 220253 h 328750"/>
                <a:gd name="connsiteX139" fmla="*/ 221068 w 291607"/>
                <a:gd name="connsiteY139" fmla="*/ 222045 h 328750"/>
                <a:gd name="connsiteX140" fmla="*/ 214552 w 291607"/>
                <a:gd name="connsiteY140" fmla="*/ 220416 h 328750"/>
                <a:gd name="connsiteX141" fmla="*/ 212434 w 291607"/>
                <a:gd name="connsiteY141" fmla="*/ 216180 h 328750"/>
                <a:gd name="connsiteX142" fmla="*/ 207220 w 291607"/>
                <a:gd name="connsiteY142" fmla="*/ 215854 h 328750"/>
                <a:gd name="connsiteX143" fmla="*/ 204777 w 291607"/>
                <a:gd name="connsiteY143" fmla="*/ 213411 h 328750"/>
                <a:gd name="connsiteX144" fmla="*/ 205917 w 291607"/>
                <a:gd name="connsiteY144" fmla="*/ 211293 h 328750"/>
                <a:gd name="connsiteX145" fmla="*/ 206569 w 291607"/>
                <a:gd name="connsiteY145" fmla="*/ 206243 h 328750"/>
                <a:gd name="connsiteX146" fmla="*/ 203311 w 291607"/>
                <a:gd name="connsiteY146" fmla="*/ 202007 h 328750"/>
                <a:gd name="connsiteX147" fmla="*/ 198586 w 291607"/>
                <a:gd name="connsiteY147" fmla="*/ 201681 h 328750"/>
                <a:gd name="connsiteX148" fmla="*/ 194188 w 291607"/>
                <a:gd name="connsiteY148" fmla="*/ 201681 h 328750"/>
                <a:gd name="connsiteX149" fmla="*/ 194514 w 291607"/>
                <a:gd name="connsiteY149" fmla="*/ 198423 h 328750"/>
                <a:gd name="connsiteX150" fmla="*/ 190278 w 291607"/>
                <a:gd name="connsiteY150" fmla="*/ 196794 h 328750"/>
                <a:gd name="connsiteX151" fmla="*/ 187346 w 291607"/>
                <a:gd name="connsiteY151" fmla="*/ 197935 h 328750"/>
                <a:gd name="connsiteX152" fmla="*/ 184088 w 291607"/>
                <a:gd name="connsiteY152" fmla="*/ 195817 h 328750"/>
                <a:gd name="connsiteX153" fmla="*/ 178711 w 291607"/>
                <a:gd name="connsiteY153" fmla="*/ 185716 h 328750"/>
                <a:gd name="connsiteX154" fmla="*/ 173661 w 291607"/>
                <a:gd name="connsiteY154" fmla="*/ 185391 h 328750"/>
                <a:gd name="connsiteX155" fmla="*/ 168448 w 291607"/>
                <a:gd name="connsiteY155" fmla="*/ 183273 h 328750"/>
                <a:gd name="connsiteX156" fmla="*/ 165190 w 291607"/>
                <a:gd name="connsiteY156" fmla="*/ 186368 h 328750"/>
                <a:gd name="connsiteX157" fmla="*/ 160466 w 291607"/>
                <a:gd name="connsiteY157" fmla="*/ 186368 h 328750"/>
                <a:gd name="connsiteX158" fmla="*/ 159488 w 291607"/>
                <a:gd name="connsiteY158" fmla="*/ 182132 h 328750"/>
                <a:gd name="connsiteX159" fmla="*/ 155252 w 291607"/>
                <a:gd name="connsiteY159" fmla="*/ 179200 h 328750"/>
                <a:gd name="connsiteX160" fmla="*/ 150365 w 291607"/>
                <a:gd name="connsiteY160" fmla="*/ 178386 h 328750"/>
                <a:gd name="connsiteX161" fmla="*/ 140265 w 291607"/>
                <a:gd name="connsiteY161" fmla="*/ 170892 h 328750"/>
                <a:gd name="connsiteX162" fmla="*/ 129839 w 291607"/>
                <a:gd name="connsiteY162" fmla="*/ 157533 h 328750"/>
                <a:gd name="connsiteX163" fmla="*/ 126581 w 291607"/>
                <a:gd name="connsiteY163" fmla="*/ 156393 h 328750"/>
                <a:gd name="connsiteX164" fmla="*/ 125603 w 291607"/>
                <a:gd name="connsiteY164" fmla="*/ 152320 h 328750"/>
                <a:gd name="connsiteX165" fmla="*/ 120879 w 291607"/>
                <a:gd name="connsiteY165" fmla="*/ 146129 h 328750"/>
                <a:gd name="connsiteX166" fmla="*/ 113548 w 291607"/>
                <a:gd name="connsiteY166" fmla="*/ 146129 h 328750"/>
                <a:gd name="connsiteX167" fmla="*/ 112733 w 291607"/>
                <a:gd name="connsiteY167" fmla="*/ 141242 h 328750"/>
                <a:gd name="connsiteX168" fmla="*/ 105728 w 291607"/>
                <a:gd name="connsiteY168" fmla="*/ 134726 h 328750"/>
                <a:gd name="connsiteX169" fmla="*/ 101818 w 291607"/>
                <a:gd name="connsiteY169" fmla="*/ 129839 h 328750"/>
                <a:gd name="connsiteX170" fmla="*/ 95791 w 291607"/>
                <a:gd name="connsiteY170" fmla="*/ 126906 h 328750"/>
                <a:gd name="connsiteX171" fmla="*/ 95791 w 291607"/>
                <a:gd name="connsiteY171" fmla="*/ 119738 h 328750"/>
                <a:gd name="connsiteX172" fmla="*/ 91881 w 291607"/>
                <a:gd name="connsiteY172" fmla="*/ 117295 h 328750"/>
                <a:gd name="connsiteX173" fmla="*/ 91881 w 291607"/>
                <a:gd name="connsiteY173" fmla="*/ 112896 h 328750"/>
                <a:gd name="connsiteX174" fmla="*/ 86993 w 291607"/>
                <a:gd name="connsiteY174" fmla="*/ 105402 h 328750"/>
                <a:gd name="connsiteX175" fmla="*/ 84876 w 291607"/>
                <a:gd name="connsiteY175" fmla="*/ 101492 h 328750"/>
                <a:gd name="connsiteX176" fmla="*/ 83409 w 291607"/>
                <a:gd name="connsiteY176" fmla="*/ 98723 h 328750"/>
                <a:gd name="connsiteX177" fmla="*/ 81292 w 291607"/>
                <a:gd name="connsiteY177" fmla="*/ 94650 h 328750"/>
                <a:gd name="connsiteX178" fmla="*/ 73798 w 291607"/>
                <a:gd name="connsiteY178" fmla="*/ 92369 h 328750"/>
                <a:gd name="connsiteX179" fmla="*/ 68748 w 291607"/>
                <a:gd name="connsiteY179" fmla="*/ 89111 h 328750"/>
                <a:gd name="connsiteX180" fmla="*/ 51805 w 291607"/>
                <a:gd name="connsiteY180" fmla="*/ 84713 h 328750"/>
                <a:gd name="connsiteX181" fmla="*/ 38609 w 291607"/>
                <a:gd name="connsiteY181" fmla="*/ 92044 h 328750"/>
                <a:gd name="connsiteX182" fmla="*/ 38609 w 291607"/>
                <a:gd name="connsiteY182" fmla="*/ 96279 h 328750"/>
                <a:gd name="connsiteX183" fmla="*/ 33885 w 291607"/>
                <a:gd name="connsiteY183" fmla="*/ 101818 h 328750"/>
                <a:gd name="connsiteX184" fmla="*/ 21667 w 291607"/>
                <a:gd name="connsiteY184" fmla="*/ 103936 h 328750"/>
                <a:gd name="connsiteX185" fmla="*/ 21667 w 291607"/>
                <a:gd name="connsiteY185" fmla="*/ 103936 h 328750"/>
                <a:gd name="connsiteX186" fmla="*/ 40564 w 291607"/>
                <a:gd name="connsiteY186" fmla="*/ 191418 h 328750"/>
                <a:gd name="connsiteX187" fmla="*/ 42193 w 291607"/>
                <a:gd name="connsiteY187" fmla="*/ 191418 h 328750"/>
                <a:gd name="connsiteX188" fmla="*/ 42682 w 291607"/>
                <a:gd name="connsiteY188" fmla="*/ 188812 h 328750"/>
                <a:gd name="connsiteX189" fmla="*/ 44800 w 291607"/>
                <a:gd name="connsiteY189" fmla="*/ 186368 h 328750"/>
                <a:gd name="connsiteX190" fmla="*/ 42845 w 291607"/>
                <a:gd name="connsiteY190" fmla="*/ 184576 h 328750"/>
                <a:gd name="connsiteX191" fmla="*/ 42031 w 291607"/>
                <a:gd name="connsiteY191" fmla="*/ 187020 h 328750"/>
                <a:gd name="connsiteX192" fmla="*/ 40402 w 291607"/>
                <a:gd name="connsiteY192" fmla="*/ 187834 h 328750"/>
                <a:gd name="connsiteX193" fmla="*/ 40402 w 291607"/>
                <a:gd name="connsiteY193" fmla="*/ 191092 h 328750"/>
                <a:gd name="connsiteX194" fmla="*/ 40564 w 291607"/>
                <a:gd name="connsiteY194" fmla="*/ 191092 h 328750"/>
                <a:gd name="connsiteX195" fmla="*/ 105728 w 291607"/>
                <a:gd name="connsiteY195" fmla="*/ 149713 h 328750"/>
                <a:gd name="connsiteX196" fmla="*/ 108661 w 291607"/>
                <a:gd name="connsiteY196" fmla="*/ 151017 h 328750"/>
                <a:gd name="connsiteX197" fmla="*/ 107683 w 291607"/>
                <a:gd name="connsiteY197" fmla="*/ 148736 h 328750"/>
                <a:gd name="connsiteX198" fmla="*/ 105728 w 291607"/>
                <a:gd name="connsiteY198" fmla="*/ 149713 h 328750"/>
                <a:gd name="connsiteX199" fmla="*/ 105728 w 291607"/>
                <a:gd name="connsiteY199" fmla="*/ 149713 h 328750"/>
                <a:gd name="connsiteX200" fmla="*/ 85364 w 291607"/>
                <a:gd name="connsiteY200" fmla="*/ 135052 h 328750"/>
                <a:gd name="connsiteX201" fmla="*/ 83084 w 291607"/>
                <a:gd name="connsiteY201" fmla="*/ 137332 h 328750"/>
                <a:gd name="connsiteX202" fmla="*/ 85853 w 291607"/>
                <a:gd name="connsiteY202" fmla="*/ 138473 h 328750"/>
                <a:gd name="connsiteX203" fmla="*/ 91066 w 291607"/>
                <a:gd name="connsiteY203" fmla="*/ 136681 h 328750"/>
                <a:gd name="connsiteX204" fmla="*/ 95139 w 291607"/>
                <a:gd name="connsiteY204" fmla="*/ 136681 h 328750"/>
                <a:gd name="connsiteX205" fmla="*/ 94488 w 291607"/>
                <a:gd name="connsiteY205" fmla="*/ 134074 h 328750"/>
                <a:gd name="connsiteX206" fmla="*/ 92044 w 291607"/>
                <a:gd name="connsiteY206" fmla="*/ 131142 h 328750"/>
                <a:gd name="connsiteX207" fmla="*/ 90904 w 291607"/>
                <a:gd name="connsiteY207" fmla="*/ 132771 h 328750"/>
                <a:gd name="connsiteX208" fmla="*/ 85202 w 291607"/>
                <a:gd name="connsiteY208" fmla="*/ 135052 h 328750"/>
                <a:gd name="connsiteX209" fmla="*/ 85202 w 291607"/>
                <a:gd name="connsiteY209" fmla="*/ 135052 h 328750"/>
                <a:gd name="connsiteX210" fmla="*/ 53923 w 291607"/>
                <a:gd name="connsiteY210" fmla="*/ 260166 h 328750"/>
                <a:gd name="connsiteX211" fmla="*/ 55878 w 291607"/>
                <a:gd name="connsiteY211" fmla="*/ 259026 h 328750"/>
                <a:gd name="connsiteX212" fmla="*/ 58322 w 291607"/>
                <a:gd name="connsiteY212" fmla="*/ 260166 h 328750"/>
                <a:gd name="connsiteX213" fmla="*/ 62068 w 291607"/>
                <a:gd name="connsiteY213" fmla="*/ 258700 h 328750"/>
                <a:gd name="connsiteX214" fmla="*/ 62394 w 291607"/>
                <a:gd name="connsiteY214" fmla="*/ 252835 h 328750"/>
                <a:gd name="connsiteX215" fmla="*/ 63861 w 291607"/>
                <a:gd name="connsiteY215" fmla="*/ 249414 h 328750"/>
                <a:gd name="connsiteX216" fmla="*/ 68748 w 291607"/>
                <a:gd name="connsiteY216" fmla="*/ 249740 h 328750"/>
                <a:gd name="connsiteX217" fmla="*/ 71843 w 291607"/>
                <a:gd name="connsiteY217" fmla="*/ 252835 h 328750"/>
                <a:gd name="connsiteX218" fmla="*/ 74775 w 291607"/>
                <a:gd name="connsiteY218" fmla="*/ 252835 h 328750"/>
                <a:gd name="connsiteX219" fmla="*/ 76730 w 291607"/>
                <a:gd name="connsiteY219" fmla="*/ 249088 h 328750"/>
                <a:gd name="connsiteX220" fmla="*/ 76730 w 291607"/>
                <a:gd name="connsiteY220" fmla="*/ 239639 h 328750"/>
                <a:gd name="connsiteX221" fmla="*/ 77708 w 291607"/>
                <a:gd name="connsiteY221" fmla="*/ 236870 h 328750"/>
                <a:gd name="connsiteX222" fmla="*/ 76568 w 291607"/>
                <a:gd name="connsiteY222" fmla="*/ 226607 h 328750"/>
                <a:gd name="connsiteX223" fmla="*/ 78522 w 291607"/>
                <a:gd name="connsiteY223" fmla="*/ 217321 h 328750"/>
                <a:gd name="connsiteX224" fmla="*/ 72006 w 291607"/>
                <a:gd name="connsiteY224" fmla="*/ 211456 h 328750"/>
                <a:gd name="connsiteX225" fmla="*/ 77545 w 291607"/>
                <a:gd name="connsiteY225" fmla="*/ 207709 h 328750"/>
                <a:gd name="connsiteX226" fmla="*/ 78359 w 291607"/>
                <a:gd name="connsiteY226" fmla="*/ 203799 h 328750"/>
                <a:gd name="connsiteX227" fmla="*/ 77056 w 291607"/>
                <a:gd name="connsiteY227" fmla="*/ 197772 h 328750"/>
                <a:gd name="connsiteX228" fmla="*/ 73798 w 291607"/>
                <a:gd name="connsiteY228" fmla="*/ 194025 h 328750"/>
                <a:gd name="connsiteX229" fmla="*/ 70051 w 291607"/>
                <a:gd name="connsiteY229" fmla="*/ 187183 h 328750"/>
                <a:gd name="connsiteX230" fmla="*/ 68096 w 291607"/>
                <a:gd name="connsiteY230" fmla="*/ 189137 h 328750"/>
                <a:gd name="connsiteX231" fmla="*/ 63698 w 291607"/>
                <a:gd name="connsiteY231" fmla="*/ 185716 h 328750"/>
                <a:gd name="connsiteX232" fmla="*/ 59788 w 291607"/>
                <a:gd name="connsiteY232" fmla="*/ 186042 h 328750"/>
                <a:gd name="connsiteX233" fmla="*/ 50502 w 291607"/>
                <a:gd name="connsiteY233" fmla="*/ 197120 h 328750"/>
                <a:gd name="connsiteX234" fmla="*/ 46429 w 291607"/>
                <a:gd name="connsiteY234" fmla="*/ 197120 h 328750"/>
                <a:gd name="connsiteX235" fmla="*/ 40564 w 291607"/>
                <a:gd name="connsiteY235" fmla="*/ 193862 h 328750"/>
                <a:gd name="connsiteX236" fmla="*/ 40564 w 291607"/>
                <a:gd name="connsiteY236" fmla="*/ 199401 h 328750"/>
                <a:gd name="connsiteX237" fmla="*/ 39587 w 291607"/>
                <a:gd name="connsiteY237" fmla="*/ 203148 h 328750"/>
                <a:gd name="connsiteX238" fmla="*/ 43660 w 291607"/>
                <a:gd name="connsiteY238" fmla="*/ 207220 h 328750"/>
                <a:gd name="connsiteX239" fmla="*/ 44637 w 291607"/>
                <a:gd name="connsiteY239" fmla="*/ 211130 h 328750"/>
                <a:gd name="connsiteX240" fmla="*/ 47895 w 291607"/>
                <a:gd name="connsiteY240" fmla="*/ 214063 h 328750"/>
                <a:gd name="connsiteX241" fmla="*/ 47895 w 291607"/>
                <a:gd name="connsiteY241" fmla="*/ 220090 h 328750"/>
                <a:gd name="connsiteX242" fmla="*/ 44311 w 291607"/>
                <a:gd name="connsiteY242" fmla="*/ 224000 h 328750"/>
                <a:gd name="connsiteX243" fmla="*/ 45777 w 291607"/>
                <a:gd name="connsiteY243" fmla="*/ 227095 h 328750"/>
                <a:gd name="connsiteX244" fmla="*/ 50828 w 291607"/>
                <a:gd name="connsiteY244" fmla="*/ 227421 h 328750"/>
                <a:gd name="connsiteX245" fmla="*/ 50828 w 291607"/>
                <a:gd name="connsiteY245" fmla="*/ 229539 h 328750"/>
                <a:gd name="connsiteX246" fmla="*/ 47732 w 291607"/>
                <a:gd name="connsiteY246" fmla="*/ 233286 h 328750"/>
                <a:gd name="connsiteX247" fmla="*/ 45452 w 291607"/>
                <a:gd name="connsiteY247" fmla="*/ 242246 h 328750"/>
                <a:gd name="connsiteX248" fmla="*/ 47570 w 291607"/>
                <a:gd name="connsiteY248" fmla="*/ 245504 h 328750"/>
                <a:gd name="connsiteX249" fmla="*/ 50176 w 291607"/>
                <a:gd name="connsiteY249" fmla="*/ 255930 h 328750"/>
                <a:gd name="connsiteX250" fmla="*/ 54086 w 291607"/>
                <a:gd name="connsiteY250" fmla="*/ 260003 h 328750"/>
                <a:gd name="connsiteX251" fmla="*/ 54086 w 291607"/>
                <a:gd name="connsiteY251" fmla="*/ 260003 h 328750"/>
                <a:gd name="connsiteX252" fmla="*/ 215692 w 291607"/>
                <a:gd name="connsiteY252" fmla="*/ 327610 h 328750"/>
                <a:gd name="connsiteX253" fmla="*/ 215366 w 291607"/>
                <a:gd name="connsiteY253" fmla="*/ 321257 h 328750"/>
                <a:gd name="connsiteX254" fmla="*/ 217973 w 291607"/>
                <a:gd name="connsiteY254" fmla="*/ 318162 h 328750"/>
                <a:gd name="connsiteX255" fmla="*/ 217321 w 291607"/>
                <a:gd name="connsiteY255" fmla="*/ 312623 h 328750"/>
                <a:gd name="connsiteX256" fmla="*/ 212597 w 291607"/>
                <a:gd name="connsiteY256" fmla="*/ 306269 h 328750"/>
                <a:gd name="connsiteX257" fmla="*/ 217321 w 291607"/>
                <a:gd name="connsiteY257" fmla="*/ 293888 h 328750"/>
                <a:gd name="connsiteX258" fmla="*/ 222045 w 291607"/>
                <a:gd name="connsiteY258" fmla="*/ 289653 h 328750"/>
                <a:gd name="connsiteX259" fmla="*/ 223023 w 291607"/>
                <a:gd name="connsiteY259" fmla="*/ 282810 h 328750"/>
                <a:gd name="connsiteX260" fmla="*/ 219113 w 291607"/>
                <a:gd name="connsiteY260" fmla="*/ 278086 h 328750"/>
                <a:gd name="connsiteX261" fmla="*/ 212759 w 291607"/>
                <a:gd name="connsiteY261" fmla="*/ 284277 h 328750"/>
                <a:gd name="connsiteX262" fmla="*/ 209990 w 291607"/>
                <a:gd name="connsiteY262" fmla="*/ 283951 h 328750"/>
                <a:gd name="connsiteX263" fmla="*/ 204451 w 291607"/>
                <a:gd name="connsiteY263" fmla="*/ 280855 h 328750"/>
                <a:gd name="connsiteX264" fmla="*/ 199075 w 291607"/>
                <a:gd name="connsiteY264" fmla="*/ 286720 h 328750"/>
                <a:gd name="connsiteX265" fmla="*/ 187509 w 291607"/>
                <a:gd name="connsiteY265" fmla="*/ 285905 h 328750"/>
                <a:gd name="connsiteX266" fmla="*/ 178060 w 291607"/>
                <a:gd name="connsiteY266" fmla="*/ 288838 h 328750"/>
                <a:gd name="connsiteX267" fmla="*/ 171218 w 291607"/>
                <a:gd name="connsiteY267" fmla="*/ 287535 h 328750"/>
                <a:gd name="connsiteX268" fmla="*/ 166330 w 291607"/>
                <a:gd name="connsiteY268" fmla="*/ 284277 h 328750"/>
                <a:gd name="connsiteX269" fmla="*/ 160791 w 291607"/>
                <a:gd name="connsiteY269" fmla="*/ 284928 h 328750"/>
                <a:gd name="connsiteX270" fmla="*/ 157696 w 291607"/>
                <a:gd name="connsiteY270" fmla="*/ 287372 h 328750"/>
                <a:gd name="connsiteX271" fmla="*/ 155904 w 291607"/>
                <a:gd name="connsiteY271" fmla="*/ 285091 h 328750"/>
                <a:gd name="connsiteX272" fmla="*/ 149714 w 291607"/>
                <a:gd name="connsiteY272" fmla="*/ 288023 h 328750"/>
                <a:gd name="connsiteX273" fmla="*/ 148899 w 291607"/>
                <a:gd name="connsiteY273" fmla="*/ 296332 h 328750"/>
                <a:gd name="connsiteX274" fmla="*/ 154275 w 291607"/>
                <a:gd name="connsiteY274" fmla="*/ 301382 h 328750"/>
                <a:gd name="connsiteX275" fmla="*/ 159651 w 291607"/>
                <a:gd name="connsiteY275" fmla="*/ 300404 h 328750"/>
                <a:gd name="connsiteX276" fmla="*/ 169263 w 291607"/>
                <a:gd name="connsiteY276" fmla="*/ 306921 h 328750"/>
                <a:gd name="connsiteX277" fmla="*/ 174476 w 291607"/>
                <a:gd name="connsiteY277" fmla="*/ 308224 h 328750"/>
                <a:gd name="connsiteX278" fmla="*/ 179363 w 291607"/>
                <a:gd name="connsiteY278" fmla="*/ 313437 h 328750"/>
                <a:gd name="connsiteX279" fmla="*/ 190766 w 291607"/>
                <a:gd name="connsiteY279" fmla="*/ 317673 h 328750"/>
                <a:gd name="connsiteX280" fmla="*/ 193047 w 291607"/>
                <a:gd name="connsiteY280" fmla="*/ 316207 h 328750"/>
                <a:gd name="connsiteX281" fmla="*/ 198098 w 291607"/>
                <a:gd name="connsiteY281" fmla="*/ 319954 h 328750"/>
                <a:gd name="connsiteX282" fmla="*/ 199075 w 291607"/>
                <a:gd name="connsiteY282" fmla="*/ 324026 h 328750"/>
                <a:gd name="connsiteX283" fmla="*/ 210804 w 291607"/>
                <a:gd name="connsiteY283" fmla="*/ 328751 h 328750"/>
                <a:gd name="connsiteX284" fmla="*/ 215692 w 291607"/>
                <a:gd name="connsiteY284" fmla="*/ 327936 h 328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</a:cxnLst>
              <a:rect l="l" t="t" r="r" b="b"/>
              <a:pathLst>
                <a:path w="291607" h="328750">
                  <a:moveTo>
                    <a:pt x="21830" y="105076"/>
                  </a:moveTo>
                  <a:lnTo>
                    <a:pt x="20038" y="99538"/>
                  </a:lnTo>
                  <a:lnTo>
                    <a:pt x="23296" y="91718"/>
                  </a:lnTo>
                  <a:lnTo>
                    <a:pt x="15477" y="91718"/>
                  </a:lnTo>
                  <a:lnTo>
                    <a:pt x="7331" y="86179"/>
                  </a:lnTo>
                  <a:lnTo>
                    <a:pt x="6191" y="72820"/>
                  </a:lnTo>
                  <a:lnTo>
                    <a:pt x="0" y="66141"/>
                  </a:lnTo>
                  <a:lnTo>
                    <a:pt x="3747" y="62068"/>
                  </a:lnTo>
                  <a:lnTo>
                    <a:pt x="9612" y="61254"/>
                  </a:lnTo>
                  <a:lnTo>
                    <a:pt x="11078" y="52783"/>
                  </a:lnTo>
                  <a:lnTo>
                    <a:pt x="6354" y="48384"/>
                  </a:lnTo>
                  <a:lnTo>
                    <a:pt x="5702" y="42031"/>
                  </a:lnTo>
                  <a:lnTo>
                    <a:pt x="7982" y="39424"/>
                  </a:lnTo>
                  <a:lnTo>
                    <a:pt x="13847" y="41705"/>
                  </a:lnTo>
                  <a:lnTo>
                    <a:pt x="23785" y="34374"/>
                  </a:lnTo>
                  <a:lnTo>
                    <a:pt x="30464" y="37306"/>
                  </a:lnTo>
                  <a:lnTo>
                    <a:pt x="39750" y="21504"/>
                  </a:lnTo>
                  <a:lnTo>
                    <a:pt x="45615" y="25251"/>
                  </a:lnTo>
                  <a:lnTo>
                    <a:pt x="44800" y="31116"/>
                  </a:lnTo>
                  <a:lnTo>
                    <a:pt x="52945" y="35188"/>
                  </a:lnTo>
                  <a:lnTo>
                    <a:pt x="55552" y="40402"/>
                  </a:lnTo>
                  <a:lnTo>
                    <a:pt x="60765" y="31116"/>
                  </a:lnTo>
                  <a:lnTo>
                    <a:pt x="60765" y="24111"/>
                  </a:lnTo>
                  <a:lnTo>
                    <a:pt x="71843" y="27043"/>
                  </a:lnTo>
                  <a:lnTo>
                    <a:pt x="76241" y="26717"/>
                  </a:lnTo>
                  <a:lnTo>
                    <a:pt x="80640" y="30464"/>
                  </a:lnTo>
                  <a:lnTo>
                    <a:pt x="81781" y="20852"/>
                  </a:lnTo>
                  <a:lnTo>
                    <a:pt x="91718" y="18572"/>
                  </a:lnTo>
                  <a:lnTo>
                    <a:pt x="89111" y="10426"/>
                  </a:lnTo>
                  <a:lnTo>
                    <a:pt x="94325" y="4073"/>
                  </a:lnTo>
                  <a:lnTo>
                    <a:pt x="102796" y="7820"/>
                  </a:lnTo>
                  <a:lnTo>
                    <a:pt x="116154" y="0"/>
                  </a:lnTo>
                  <a:lnTo>
                    <a:pt x="121693" y="1466"/>
                  </a:lnTo>
                  <a:lnTo>
                    <a:pt x="130490" y="652"/>
                  </a:lnTo>
                  <a:lnTo>
                    <a:pt x="129839" y="5865"/>
                  </a:lnTo>
                  <a:lnTo>
                    <a:pt x="142382" y="13196"/>
                  </a:lnTo>
                  <a:lnTo>
                    <a:pt x="157859" y="16128"/>
                  </a:lnTo>
                  <a:lnTo>
                    <a:pt x="166330" y="15313"/>
                  </a:lnTo>
                  <a:lnTo>
                    <a:pt x="170077" y="18572"/>
                  </a:lnTo>
                  <a:lnTo>
                    <a:pt x="164213" y="27043"/>
                  </a:lnTo>
                  <a:lnTo>
                    <a:pt x="166004" y="31116"/>
                  </a:lnTo>
                  <a:lnTo>
                    <a:pt x="162746" y="36329"/>
                  </a:lnTo>
                  <a:lnTo>
                    <a:pt x="164050" y="45126"/>
                  </a:lnTo>
                  <a:lnTo>
                    <a:pt x="158348" y="43660"/>
                  </a:lnTo>
                  <a:lnTo>
                    <a:pt x="154927" y="45452"/>
                  </a:lnTo>
                  <a:lnTo>
                    <a:pt x="151180" y="49199"/>
                  </a:lnTo>
                  <a:lnTo>
                    <a:pt x="145641" y="49199"/>
                  </a:lnTo>
                  <a:lnTo>
                    <a:pt x="140428" y="53760"/>
                  </a:lnTo>
                  <a:lnTo>
                    <a:pt x="134889" y="54575"/>
                  </a:lnTo>
                  <a:lnTo>
                    <a:pt x="132934" y="58484"/>
                  </a:lnTo>
                  <a:lnTo>
                    <a:pt x="135704" y="63860"/>
                  </a:lnTo>
                  <a:lnTo>
                    <a:pt x="139125" y="68259"/>
                  </a:lnTo>
                  <a:lnTo>
                    <a:pt x="135215" y="74124"/>
                  </a:lnTo>
                  <a:lnTo>
                    <a:pt x="132934" y="76079"/>
                  </a:lnTo>
                  <a:lnTo>
                    <a:pt x="135866" y="82432"/>
                  </a:lnTo>
                  <a:lnTo>
                    <a:pt x="136681" y="89763"/>
                  </a:lnTo>
                  <a:lnTo>
                    <a:pt x="139450" y="93673"/>
                  </a:lnTo>
                  <a:lnTo>
                    <a:pt x="150691" y="99700"/>
                  </a:lnTo>
                  <a:lnTo>
                    <a:pt x="156882" y="102959"/>
                  </a:lnTo>
                  <a:lnTo>
                    <a:pt x="159977" y="107194"/>
                  </a:lnTo>
                  <a:lnTo>
                    <a:pt x="176593" y="123974"/>
                  </a:lnTo>
                  <a:lnTo>
                    <a:pt x="176920" y="128372"/>
                  </a:lnTo>
                  <a:lnTo>
                    <a:pt x="179037" y="129513"/>
                  </a:lnTo>
                  <a:lnTo>
                    <a:pt x="179037" y="134726"/>
                  </a:lnTo>
                  <a:cubicBezTo>
                    <a:pt x="179037" y="134726"/>
                    <a:pt x="182784" y="139776"/>
                    <a:pt x="182784" y="139776"/>
                  </a:cubicBezTo>
                  <a:lnTo>
                    <a:pt x="187509" y="144500"/>
                  </a:lnTo>
                  <a:lnTo>
                    <a:pt x="191093" y="150202"/>
                  </a:lnTo>
                  <a:lnTo>
                    <a:pt x="198586" y="156067"/>
                  </a:lnTo>
                  <a:lnTo>
                    <a:pt x="202170" y="159814"/>
                  </a:lnTo>
                  <a:lnTo>
                    <a:pt x="206895" y="160791"/>
                  </a:lnTo>
                  <a:lnTo>
                    <a:pt x="210153" y="162746"/>
                  </a:lnTo>
                  <a:lnTo>
                    <a:pt x="219764" y="162746"/>
                  </a:lnTo>
                  <a:cubicBezTo>
                    <a:pt x="219764" y="162746"/>
                    <a:pt x="223837" y="163887"/>
                    <a:pt x="223837" y="163887"/>
                  </a:cubicBezTo>
                  <a:lnTo>
                    <a:pt x="230028" y="162909"/>
                  </a:lnTo>
                  <a:lnTo>
                    <a:pt x="234427" y="165190"/>
                  </a:lnTo>
                  <a:lnTo>
                    <a:pt x="233449" y="168611"/>
                  </a:lnTo>
                  <a:lnTo>
                    <a:pt x="227095" y="173010"/>
                  </a:lnTo>
                  <a:lnTo>
                    <a:pt x="227095" y="175290"/>
                  </a:lnTo>
                  <a:cubicBezTo>
                    <a:pt x="227095" y="175290"/>
                    <a:pt x="229376" y="179363"/>
                    <a:pt x="229376" y="179363"/>
                  </a:cubicBezTo>
                  <a:lnTo>
                    <a:pt x="234589" y="179363"/>
                  </a:lnTo>
                  <a:lnTo>
                    <a:pt x="244201" y="181644"/>
                  </a:lnTo>
                  <a:lnTo>
                    <a:pt x="264239" y="192396"/>
                  </a:lnTo>
                  <a:lnTo>
                    <a:pt x="272058" y="198261"/>
                  </a:lnTo>
                  <a:lnTo>
                    <a:pt x="277109" y="203636"/>
                  </a:lnTo>
                  <a:lnTo>
                    <a:pt x="285417" y="205754"/>
                  </a:lnTo>
                  <a:lnTo>
                    <a:pt x="289652" y="208687"/>
                  </a:lnTo>
                  <a:lnTo>
                    <a:pt x="291607" y="212108"/>
                  </a:lnTo>
                  <a:lnTo>
                    <a:pt x="290793" y="218624"/>
                  </a:lnTo>
                  <a:lnTo>
                    <a:pt x="288675" y="221719"/>
                  </a:lnTo>
                  <a:lnTo>
                    <a:pt x="289327" y="225792"/>
                  </a:lnTo>
                  <a:lnTo>
                    <a:pt x="288023" y="226932"/>
                  </a:lnTo>
                  <a:lnTo>
                    <a:pt x="288023" y="228399"/>
                  </a:lnTo>
                  <a:cubicBezTo>
                    <a:pt x="288023" y="228399"/>
                    <a:pt x="283299" y="226444"/>
                    <a:pt x="283299" y="226444"/>
                  </a:cubicBezTo>
                  <a:lnTo>
                    <a:pt x="279715" y="222045"/>
                  </a:lnTo>
                  <a:lnTo>
                    <a:pt x="277597" y="217321"/>
                  </a:lnTo>
                  <a:lnTo>
                    <a:pt x="278249" y="213411"/>
                  </a:lnTo>
                  <a:lnTo>
                    <a:pt x="275479" y="211782"/>
                  </a:lnTo>
                  <a:lnTo>
                    <a:pt x="267660" y="211782"/>
                  </a:lnTo>
                  <a:cubicBezTo>
                    <a:pt x="267660" y="211782"/>
                    <a:pt x="266031" y="209338"/>
                    <a:pt x="266031" y="209338"/>
                  </a:cubicBezTo>
                  <a:lnTo>
                    <a:pt x="260818" y="206895"/>
                  </a:lnTo>
                  <a:lnTo>
                    <a:pt x="257397" y="207383"/>
                  </a:lnTo>
                  <a:lnTo>
                    <a:pt x="255116" y="208850"/>
                  </a:lnTo>
                  <a:lnTo>
                    <a:pt x="253324" y="215040"/>
                  </a:lnTo>
                  <a:lnTo>
                    <a:pt x="250391" y="218135"/>
                  </a:lnTo>
                  <a:lnTo>
                    <a:pt x="250717" y="221394"/>
                  </a:lnTo>
                  <a:lnTo>
                    <a:pt x="249903" y="225303"/>
                  </a:lnTo>
                  <a:lnTo>
                    <a:pt x="246156" y="227747"/>
                  </a:lnTo>
                  <a:lnTo>
                    <a:pt x="246156" y="231494"/>
                  </a:lnTo>
                  <a:cubicBezTo>
                    <a:pt x="246156" y="231494"/>
                    <a:pt x="247948" y="234100"/>
                    <a:pt x="247948" y="234100"/>
                  </a:cubicBezTo>
                  <a:lnTo>
                    <a:pt x="252020" y="234752"/>
                  </a:lnTo>
                  <a:lnTo>
                    <a:pt x="259189" y="241431"/>
                  </a:lnTo>
                  <a:lnTo>
                    <a:pt x="260655" y="244364"/>
                  </a:lnTo>
                  <a:lnTo>
                    <a:pt x="259840" y="250880"/>
                  </a:lnTo>
                  <a:lnTo>
                    <a:pt x="261143" y="253161"/>
                  </a:lnTo>
                  <a:lnTo>
                    <a:pt x="259352" y="256908"/>
                  </a:lnTo>
                  <a:lnTo>
                    <a:pt x="254953" y="258048"/>
                  </a:lnTo>
                  <a:lnTo>
                    <a:pt x="250717" y="262447"/>
                  </a:lnTo>
                  <a:lnTo>
                    <a:pt x="250066" y="274176"/>
                  </a:lnTo>
                  <a:lnTo>
                    <a:pt x="243061" y="279715"/>
                  </a:lnTo>
                  <a:lnTo>
                    <a:pt x="242083" y="285091"/>
                  </a:lnTo>
                  <a:lnTo>
                    <a:pt x="238336" y="290141"/>
                  </a:lnTo>
                  <a:lnTo>
                    <a:pt x="231005" y="290793"/>
                  </a:lnTo>
                  <a:lnTo>
                    <a:pt x="225466" y="285254"/>
                  </a:lnTo>
                  <a:lnTo>
                    <a:pt x="225466" y="281344"/>
                  </a:lnTo>
                  <a:cubicBezTo>
                    <a:pt x="225466" y="281344"/>
                    <a:pt x="226444" y="279389"/>
                    <a:pt x="226444" y="279389"/>
                  </a:cubicBezTo>
                  <a:lnTo>
                    <a:pt x="229539" y="277597"/>
                  </a:lnTo>
                  <a:lnTo>
                    <a:pt x="232634" y="274176"/>
                  </a:lnTo>
                  <a:lnTo>
                    <a:pt x="233286" y="269289"/>
                  </a:lnTo>
                  <a:lnTo>
                    <a:pt x="232634" y="264239"/>
                  </a:lnTo>
                  <a:lnTo>
                    <a:pt x="234100" y="263424"/>
                  </a:lnTo>
                  <a:lnTo>
                    <a:pt x="236055" y="263424"/>
                  </a:lnTo>
                  <a:cubicBezTo>
                    <a:pt x="236055" y="263424"/>
                    <a:pt x="238825" y="260003"/>
                    <a:pt x="238825" y="260003"/>
                  </a:cubicBezTo>
                  <a:lnTo>
                    <a:pt x="238825" y="255279"/>
                  </a:lnTo>
                  <a:cubicBezTo>
                    <a:pt x="238825" y="255279"/>
                    <a:pt x="236055" y="251043"/>
                    <a:pt x="236055" y="251043"/>
                  </a:cubicBezTo>
                  <a:lnTo>
                    <a:pt x="233938" y="241920"/>
                  </a:lnTo>
                  <a:lnTo>
                    <a:pt x="231168" y="238499"/>
                  </a:lnTo>
                  <a:lnTo>
                    <a:pt x="230028" y="230679"/>
                  </a:lnTo>
                  <a:lnTo>
                    <a:pt x="227747" y="222534"/>
                  </a:lnTo>
                  <a:lnTo>
                    <a:pt x="224000" y="220253"/>
                  </a:lnTo>
                  <a:lnTo>
                    <a:pt x="221068" y="222045"/>
                  </a:lnTo>
                  <a:lnTo>
                    <a:pt x="214552" y="220416"/>
                  </a:lnTo>
                  <a:lnTo>
                    <a:pt x="212434" y="216180"/>
                  </a:lnTo>
                  <a:lnTo>
                    <a:pt x="207220" y="215854"/>
                  </a:lnTo>
                  <a:lnTo>
                    <a:pt x="204777" y="213411"/>
                  </a:lnTo>
                  <a:lnTo>
                    <a:pt x="205917" y="211293"/>
                  </a:lnTo>
                  <a:lnTo>
                    <a:pt x="206569" y="206243"/>
                  </a:lnTo>
                  <a:lnTo>
                    <a:pt x="203311" y="202007"/>
                  </a:lnTo>
                  <a:lnTo>
                    <a:pt x="198586" y="201681"/>
                  </a:lnTo>
                  <a:lnTo>
                    <a:pt x="194188" y="201681"/>
                  </a:lnTo>
                  <a:cubicBezTo>
                    <a:pt x="194188" y="201681"/>
                    <a:pt x="194514" y="198423"/>
                    <a:pt x="194514" y="198423"/>
                  </a:cubicBezTo>
                  <a:lnTo>
                    <a:pt x="190278" y="196794"/>
                  </a:lnTo>
                  <a:lnTo>
                    <a:pt x="187346" y="197935"/>
                  </a:lnTo>
                  <a:lnTo>
                    <a:pt x="184088" y="195817"/>
                  </a:lnTo>
                  <a:lnTo>
                    <a:pt x="178711" y="185716"/>
                  </a:lnTo>
                  <a:lnTo>
                    <a:pt x="173661" y="185391"/>
                  </a:lnTo>
                  <a:lnTo>
                    <a:pt x="168448" y="183273"/>
                  </a:lnTo>
                  <a:lnTo>
                    <a:pt x="165190" y="186368"/>
                  </a:lnTo>
                  <a:lnTo>
                    <a:pt x="160466" y="186368"/>
                  </a:lnTo>
                  <a:lnTo>
                    <a:pt x="159488" y="182132"/>
                  </a:lnTo>
                  <a:lnTo>
                    <a:pt x="155252" y="179200"/>
                  </a:lnTo>
                  <a:lnTo>
                    <a:pt x="150365" y="178386"/>
                  </a:lnTo>
                  <a:lnTo>
                    <a:pt x="140265" y="170892"/>
                  </a:lnTo>
                  <a:lnTo>
                    <a:pt x="129839" y="157533"/>
                  </a:lnTo>
                  <a:lnTo>
                    <a:pt x="126581" y="156393"/>
                  </a:lnTo>
                  <a:lnTo>
                    <a:pt x="125603" y="152320"/>
                  </a:lnTo>
                  <a:lnTo>
                    <a:pt x="120879" y="146129"/>
                  </a:lnTo>
                  <a:lnTo>
                    <a:pt x="113548" y="146129"/>
                  </a:lnTo>
                  <a:cubicBezTo>
                    <a:pt x="113548" y="146129"/>
                    <a:pt x="112733" y="141242"/>
                    <a:pt x="112733" y="141242"/>
                  </a:cubicBezTo>
                  <a:lnTo>
                    <a:pt x="105728" y="134726"/>
                  </a:lnTo>
                  <a:lnTo>
                    <a:pt x="101818" y="129839"/>
                  </a:lnTo>
                  <a:lnTo>
                    <a:pt x="95791" y="126906"/>
                  </a:lnTo>
                  <a:lnTo>
                    <a:pt x="95791" y="119738"/>
                  </a:lnTo>
                  <a:cubicBezTo>
                    <a:pt x="95791" y="119738"/>
                    <a:pt x="91881" y="117295"/>
                    <a:pt x="91881" y="117295"/>
                  </a:cubicBezTo>
                  <a:lnTo>
                    <a:pt x="91881" y="112896"/>
                  </a:lnTo>
                  <a:cubicBezTo>
                    <a:pt x="91881" y="112896"/>
                    <a:pt x="86993" y="105402"/>
                    <a:pt x="86993" y="105402"/>
                  </a:cubicBezTo>
                  <a:lnTo>
                    <a:pt x="84876" y="101492"/>
                  </a:lnTo>
                  <a:lnTo>
                    <a:pt x="83409" y="98723"/>
                  </a:lnTo>
                  <a:lnTo>
                    <a:pt x="81292" y="94650"/>
                  </a:lnTo>
                  <a:lnTo>
                    <a:pt x="73798" y="92369"/>
                  </a:lnTo>
                  <a:lnTo>
                    <a:pt x="68748" y="89111"/>
                  </a:lnTo>
                  <a:lnTo>
                    <a:pt x="51805" y="84713"/>
                  </a:lnTo>
                  <a:lnTo>
                    <a:pt x="38609" y="92044"/>
                  </a:lnTo>
                  <a:lnTo>
                    <a:pt x="38609" y="96279"/>
                  </a:lnTo>
                  <a:cubicBezTo>
                    <a:pt x="38609" y="96279"/>
                    <a:pt x="33885" y="101818"/>
                    <a:pt x="33885" y="101818"/>
                  </a:cubicBezTo>
                  <a:lnTo>
                    <a:pt x="21667" y="103936"/>
                  </a:lnTo>
                  <a:lnTo>
                    <a:pt x="21667" y="103936"/>
                  </a:lnTo>
                  <a:close/>
                  <a:moveTo>
                    <a:pt x="40564" y="191418"/>
                  </a:moveTo>
                  <a:lnTo>
                    <a:pt x="42193" y="191418"/>
                  </a:lnTo>
                  <a:cubicBezTo>
                    <a:pt x="42193" y="191418"/>
                    <a:pt x="42682" y="188812"/>
                    <a:pt x="42682" y="188812"/>
                  </a:cubicBezTo>
                  <a:lnTo>
                    <a:pt x="44800" y="186368"/>
                  </a:lnTo>
                  <a:lnTo>
                    <a:pt x="42845" y="184576"/>
                  </a:lnTo>
                  <a:lnTo>
                    <a:pt x="42031" y="187020"/>
                  </a:lnTo>
                  <a:lnTo>
                    <a:pt x="40402" y="187834"/>
                  </a:lnTo>
                  <a:lnTo>
                    <a:pt x="40402" y="191092"/>
                  </a:lnTo>
                  <a:lnTo>
                    <a:pt x="40564" y="191092"/>
                  </a:lnTo>
                  <a:close/>
                  <a:moveTo>
                    <a:pt x="105728" y="149713"/>
                  </a:moveTo>
                  <a:lnTo>
                    <a:pt x="108661" y="151017"/>
                  </a:lnTo>
                  <a:lnTo>
                    <a:pt x="107683" y="148736"/>
                  </a:lnTo>
                  <a:lnTo>
                    <a:pt x="105728" y="149713"/>
                  </a:lnTo>
                  <a:lnTo>
                    <a:pt x="105728" y="149713"/>
                  </a:lnTo>
                  <a:close/>
                  <a:moveTo>
                    <a:pt x="85364" y="135052"/>
                  </a:moveTo>
                  <a:lnTo>
                    <a:pt x="83084" y="137332"/>
                  </a:lnTo>
                  <a:lnTo>
                    <a:pt x="85853" y="138473"/>
                  </a:lnTo>
                  <a:lnTo>
                    <a:pt x="91066" y="136681"/>
                  </a:lnTo>
                  <a:lnTo>
                    <a:pt x="95139" y="136681"/>
                  </a:lnTo>
                  <a:cubicBezTo>
                    <a:pt x="95139" y="136681"/>
                    <a:pt x="94488" y="134074"/>
                    <a:pt x="94488" y="134074"/>
                  </a:cubicBezTo>
                  <a:lnTo>
                    <a:pt x="92044" y="131142"/>
                  </a:lnTo>
                  <a:lnTo>
                    <a:pt x="90904" y="132771"/>
                  </a:lnTo>
                  <a:lnTo>
                    <a:pt x="85202" y="135052"/>
                  </a:lnTo>
                  <a:lnTo>
                    <a:pt x="85202" y="135052"/>
                  </a:lnTo>
                  <a:close/>
                  <a:moveTo>
                    <a:pt x="53923" y="260166"/>
                  </a:moveTo>
                  <a:lnTo>
                    <a:pt x="55878" y="259026"/>
                  </a:lnTo>
                  <a:lnTo>
                    <a:pt x="58322" y="260166"/>
                  </a:lnTo>
                  <a:lnTo>
                    <a:pt x="62068" y="258700"/>
                  </a:lnTo>
                  <a:lnTo>
                    <a:pt x="62394" y="252835"/>
                  </a:lnTo>
                  <a:lnTo>
                    <a:pt x="63861" y="249414"/>
                  </a:lnTo>
                  <a:lnTo>
                    <a:pt x="68748" y="249740"/>
                  </a:lnTo>
                  <a:lnTo>
                    <a:pt x="71843" y="252835"/>
                  </a:lnTo>
                  <a:lnTo>
                    <a:pt x="74775" y="252835"/>
                  </a:lnTo>
                  <a:lnTo>
                    <a:pt x="76730" y="249088"/>
                  </a:lnTo>
                  <a:lnTo>
                    <a:pt x="76730" y="239639"/>
                  </a:lnTo>
                  <a:lnTo>
                    <a:pt x="77708" y="236870"/>
                  </a:lnTo>
                  <a:lnTo>
                    <a:pt x="76568" y="226607"/>
                  </a:lnTo>
                  <a:lnTo>
                    <a:pt x="78522" y="217321"/>
                  </a:lnTo>
                  <a:lnTo>
                    <a:pt x="72006" y="211456"/>
                  </a:lnTo>
                  <a:lnTo>
                    <a:pt x="77545" y="207709"/>
                  </a:lnTo>
                  <a:lnTo>
                    <a:pt x="78359" y="203799"/>
                  </a:lnTo>
                  <a:lnTo>
                    <a:pt x="77056" y="197772"/>
                  </a:lnTo>
                  <a:lnTo>
                    <a:pt x="73798" y="194025"/>
                  </a:lnTo>
                  <a:lnTo>
                    <a:pt x="70051" y="187183"/>
                  </a:lnTo>
                  <a:lnTo>
                    <a:pt x="68096" y="189137"/>
                  </a:lnTo>
                  <a:lnTo>
                    <a:pt x="63698" y="185716"/>
                  </a:lnTo>
                  <a:lnTo>
                    <a:pt x="59788" y="186042"/>
                  </a:lnTo>
                  <a:lnTo>
                    <a:pt x="50502" y="197120"/>
                  </a:lnTo>
                  <a:lnTo>
                    <a:pt x="46429" y="197120"/>
                  </a:lnTo>
                  <a:cubicBezTo>
                    <a:pt x="46429" y="197120"/>
                    <a:pt x="40564" y="193862"/>
                    <a:pt x="40564" y="193862"/>
                  </a:cubicBezTo>
                  <a:lnTo>
                    <a:pt x="40564" y="199401"/>
                  </a:lnTo>
                  <a:lnTo>
                    <a:pt x="39587" y="203148"/>
                  </a:lnTo>
                  <a:lnTo>
                    <a:pt x="43660" y="207220"/>
                  </a:lnTo>
                  <a:lnTo>
                    <a:pt x="44637" y="211130"/>
                  </a:lnTo>
                  <a:lnTo>
                    <a:pt x="47895" y="214063"/>
                  </a:lnTo>
                  <a:lnTo>
                    <a:pt x="47895" y="220090"/>
                  </a:lnTo>
                  <a:lnTo>
                    <a:pt x="44311" y="224000"/>
                  </a:lnTo>
                  <a:lnTo>
                    <a:pt x="45777" y="227095"/>
                  </a:lnTo>
                  <a:lnTo>
                    <a:pt x="50828" y="227421"/>
                  </a:lnTo>
                  <a:lnTo>
                    <a:pt x="50828" y="229539"/>
                  </a:lnTo>
                  <a:lnTo>
                    <a:pt x="47732" y="233286"/>
                  </a:lnTo>
                  <a:lnTo>
                    <a:pt x="45452" y="242246"/>
                  </a:lnTo>
                  <a:lnTo>
                    <a:pt x="47570" y="245504"/>
                  </a:lnTo>
                  <a:lnTo>
                    <a:pt x="50176" y="255930"/>
                  </a:lnTo>
                  <a:lnTo>
                    <a:pt x="54086" y="260003"/>
                  </a:lnTo>
                  <a:lnTo>
                    <a:pt x="54086" y="260003"/>
                  </a:lnTo>
                  <a:close/>
                  <a:moveTo>
                    <a:pt x="215692" y="327610"/>
                  </a:moveTo>
                  <a:lnTo>
                    <a:pt x="215366" y="321257"/>
                  </a:lnTo>
                  <a:lnTo>
                    <a:pt x="217973" y="318162"/>
                  </a:lnTo>
                  <a:lnTo>
                    <a:pt x="217321" y="312623"/>
                  </a:lnTo>
                  <a:lnTo>
                    <a:pt x="212597" y="306269"/>
                  </a:lnTo>
                  <a:lnTo>
                    <a:pt x="217321" y="293888"/>
                  </a:lnTo>
                  <a:lnTo>
                    <a:pt x="222045" y="289653"/>
                  </a:lnTo>
                  <a:lnTo>
                    <a:pt x="223023" y="282810"/>
                  </a:lnTo>
                  <a:lnTo>
                    <a:pt x="219113" y="278086"/>
                  </a:lnTo>
                  <a:lnTo>
                    <a:pt x="212759" y="284277"/>
                  </a:lnTo>
                  <a:lnTo>
                    <a:pt x="209990" y="283951"/>
                  </a:lnTo>
                  <a:lnTo>
                    <a:pt x="204451" y="280855"/>
                  </a:lnTo>
                  <a:lnTo>
                    <a:pt x="199075" y="286720"/>
                  </a:lnTo>
                  <a:lnTo>
                    <a:pt x="187509" y="285905"/>
                  </a:lnTo>
                  <a:lnTo>
                    <a:pt x="178060" y="288838"/>
                  </a:lnTo>
                  <a:lnTo>
                    <a:pt x="171218" y="287535"/>
                  </a:lnTo>
                  <a:lnTo>
                    <a:pt x="166330" y="284277"/>
                  </a:lnTo>
                  <a:lnTo>
                    <a:pt x="160791" y="284928"/>
                  </a:lnTo>
                  <a:lnTo>
                    <a:pt x="157696" y="287372"/>
                  </a:lnTo>
                  <a:lnTo>
                    <a:pt x="155904" y="285091"/>
                  </a:lnTo>
                  <a:lnTo>
                    <a:pt x="149714" y="288023"/>
                  </a:lnTo>
                  <a:lnTo>
                    <a:pt x="148899" y="296332"/>
                  </a:lnTo>
                  <a:lnTo>
                    <a:pt x="154275" y="301382"/>
                  </a:lnTo>
                  <a:lnTo>
                    <a:pt x="159651" y="300404"/>
                  </a:lnTo>
                  <a:lnTo>
                    <a:pt x="169263" y="306921"/>
                  </a:lnTo>
                  <a:lnTo>
                    <a:pt x="174476" y="308224"/>
                  </a:lnTo>
                  <a:lnTo>
                    <a:pt x="179363" y="313437"/>
                  </a:lnTo>
                  <a:lnTo>
                    <a:pt x="190766" y="317673"/>
                  </a:lnTo>
                  <a:lnTo>
                    <a:pt x="193047" y="316207"/>
                  </a:lnTo>
                  <a:lnTo>
                    <a:pt x="198098" y="319954"/>
                  </a:lnTo>
                  <a:lnTo>
                    <a:pt x="199075" y="324026"/>
                  </a:lnTo>
                  <a:lnTo>
                    <a:pt x="210804" y="328751"/>
                  </a:lnTo>
                  <a:lnTo>
                    <a:pt x="215692" y="327936"/>
                  </a:lnTo>
                  <a:close/>
                </a:path>
              </a:pathLst>
            </a:custGeom>
            <a:solidFill>
              <a:schemeClr val="bg2"/>
            </a:solidFill>
            <a:ln w="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4" name="Forma livre: Forma 183">
              <a:extLst>
                <a:ext uri="{FF2B5EF4-FFF2-40B4-BE49-F238E27FC236}">
                  <a16:creationId xmlns:a16="http://schemas.microsoft.com/office/drawing/2014/main" id="{AF918423-2CB1-2D20-E5EE-BA205FB2F02B}"/>
                </a:ext>
              </a:extLst>
            </p:cNvPr>
            <p:cNvSpPr/>
            <p:nvPr/>
          </p:nvSpPr>
          <p:spPr>
            <a:xfrm>
              <a:off x="5760445" y="3713936"/>
              <a:ext cx="326768" cy="246633"/>
            </a:xfrm>
            <a:custGeom>
              <a:avLst/>
              <a:gdLst>
                <a:gd name="connsiteX0" fmla="*/ 179037 w 316206"/>
                <a:gd name="connsiteY0" fmla="*/ 12055 h 238661"/>
                <a:gd name="connsiteX1" fmla="*/ 183436 w 316206"/>
                <a:gd name="connsiteY1" fmla="*/ 14499 h 238661"/>
                <a:gd name="connsiteX2" fmla="*/ 183924 w 316206"/>
                <a:gd name="connsiteY2" fmla="*/ 15802 h 238661"/>
                <a:gd name="connsiteX3" fmla="*/ 187020 w 316206"/>
                <a:gd name="connsiteY3" fmla="*/ 16291 h 238661"/>
                <a:gd name="connsiteX4" fmla="*/ 187997 w 316206"/>
                <a:gd name="connsiteY4" fmla="*/ 21667 h 238661"/>
                <a:gd name="connsiteX5" fmla="*/ 187346 w 316206"/>
                <a:gd name="connsiteY5" fmla="*/ 25740 h 238661"/>
                <a:gd name="connsiteX6" fmla="*/ 194839 w 316206"/>
                <a:gd name="connsiteY6" fmla="*/ 24762 h 238661"/>
                <a:gd name="connsiteX7" fmla="*/ 204940 w 316206"/>
                <a:gd name="connsiteY7" fmla="*/ 28835 h 238661"/>
                <a:gd name="connsiteX8" fmla="*/ 209664 w 316206"/>
                <a:gd name="connsiteY8" fmla="*/ 34048 h 238661"/>
                <a:gd name="connsiteX9" fmla="*/ 214877 w 316206"/>
                <a:gd name="connsiteY9" fmla="*/ 31604 h 238661"/>
                <a:gd name="connsiteX10" fmla="*/ 220579 w 316206"/>
                <a:gd name="connsiteY10" fmla="*/ 37469 h 238661"/>
                <a:gd name="connsiteX11" fmla="*/ 227584 w 316206"/>
                <a:gd name="connsiteY11" fmla="*/ 37469 h 238661"/>
                <a:gd name="connsiteX12" fmla="*/ 231005 w 316206"/>
                <a:gd name="connsiteY12" fmla="*/ 39098 h 238661"/>
                <a:gd name="connsiteX13" fmla="*/ 235404 w 316206"/>
                <a:gd name="connsiteY13" fmla="*/ 34537 h 238661"/>
                <a:gd name="connsiteX14" fmla="*/ 246971 w 316206"/>
                <a:gd name="connsiteY14" fmla="*/ 34211 h 238661"/>
                <a:gd name="connsiteX15" fmla="*/ 251369 w 316206"/>
                <a:gd name="connsiteY15" fmla="*/ 36655 h 238661"/>
                <a:gd name="connsiteX16" fmla="*/ 258374 w 316206"/>
                <a:gd name="connsiteY16" fmla="*/ 35840 h 238661"/>
                <a:gd name="connsiteX17" fmla="*/ 265705 w 316206"/>
                <a:gd name="connsiteY17" fmla="*/ 39913 h 238661"/>
                <a:gd name="connsiteX18" fmla="*/ 277760 w 316206"/>
                <a:gd name="connsiteY18" fmla="*/ 38772 h 238661"/>
                <a:gd name="connsiteX19" fmla="*/ 286231 w 316206"/>
                <a:gd name="connsiteY19" fmla="*/ 43986 h 238661"/>
                <a:gd name="connsiteX20" fmla="*/ 289490 w 316206"/>
                <a:gd name="connsiteY20" fmla="*/ 45126 h 238661"/>
                <a:gd name="connsiteX21" fmla="*/ 289815 w 316206"/>
                <a:gd name="connsiteY21" fmla="*/ 47895 h 238661"/>
                <a:gd name="connsiteX22" fmla="*/ 285743 w 316206"/>
                <a:gd name="connsiteY22" fmla="*/ 50665 h 238661"/>
                <a:gd name="connsiteX23" fmla="*/ 287046 w 316206"/>
                <a:gd name="connsiteY23" fmla="*/ 58810 h 238661"/>
                <a:gd name="connsiteX24" fmla="*/ 286394 w 316206"/>
                <a:gd name="connsiteY24" fmla="*/ 65164 h 238661"/>
                <a:gd name="connsiteX25" fmla="*/ 283788 w 316206"/>
                <a:gd name="connsiteY25" fmla="*/ 70051 h 238661"/>
                <a:gd name="connsiteX26" fmla="*/ 274176 w 316206"/>
                <a:gd name="connsiteY26" fmla="*/ 75916 h 238661"/>
                <a:gd name="connsiteX27" fmla="*/ 269778 w 316206"/>
                <a:gd name="connsiteY27" fmla="*/ 81455 h 238661"/>
                <a:gd name="connsiteX28" fmla="*/ 261632 w 316206"/>
                <a:gd name="connsiteY28" fmla="*/ 84713 h 238661"/>
                <a:gd name="connsiteX29" fmla="*/ 251858 w 316206"/>
                <a:gd name="connsiteY29" fmla="*/ 84224 h 238661"/>
                <a:gd name="connsiteX30" fmla="*/ 245504 w 316206"/>
                <a:gd name="connsiteY30" fmla="*/ 88786 h 238661"/>
                <a:gd name="connsiteX31" fmla="*/ 239803 w 316206"/>
                <a:gd name="connsiteY31" fmla="*/ 91881 h 238661"/>
                <a:gd name="connsiteX32" fmla="*/ 242572 w 316206"/>
                <a:gd name="connsiteY32" fmla="*/ 94162 h 238661"/>
                <a:gd name="connsiteX33" fmla="*/ 241269 w 316206"/>
                <a:gd name="connsiteY33" fmla="*/ 100189 h 238661"/>
                <a:gd name="connsiteX34" fmla="*/ 237685 w 316206"/>
                <a:gd name="connsiteY34" fmla="*/ 102470 h 238661"/>
                <a:gd name="connsiteX35" fmla="*/ 237033 w 316206"/>
                <a:gd name="connsiteY35" fmla="*/ 101818 h 238661"/>
                <a:gd name="connsiteX36" fmla="*/ 238010 w 316206"/>
                <a:gd name="connsiteY36" fmla="*/ 101004 h 238661"/>
                <a:gd name="connsiteX37" fmla="*/ 235241 w 316206"/>
                <a:gd name="connsiteY37" fmla="*/ 100026 h 238661"/>
                <a:gd name="connsiteX38" fmla="*/ 227910 w 316206"/>
                <a:gd name="connsiteY38" fmla="*/ 112570 h 238661"/>
                <a:gd name="connsiteX39" fmla="*/ 222697 w 316206"/>
                <a:gd name="connsiteY39" fmla="*/ 115014 h 238661"/>
                <a:gd name="connsiteX40" fmla="*/ 212760 w 316206"/>
                <a:gd name="connsiteY40" fmla="*/ 131468 h 238661"/>
                <a:gd name="connsiteX41" fmla="*/ 209827 w 316206"/>
                <a:gd name="connsiteY41" fmla="*/ 135215 h 238661"/>
                <a:gd name="connsiteX42" fmla="*/ 214063 w 316206"/>
                <a:gd name="connsiteY42" fmla="*/ 142546 h 238661"/>
                <a:gd name="connsiteX43" fmla="*/ 215203 w 316206"/>
                <a:gd name="connsiteY43" fmla="*/ 147596 h 238661"/>
                <a:gd name="connsiteX44" fmla="*/ 219113 w 316206"/>
                <a:gd name="connsiteY44" fmla="*/ 149714 h 238661"/>
                <a:gd name="connsiteX45" fmla="*/ 225466 w 316206"/>
                <a:gd name="connsiteY45" fmla="*/ 158348 h 238661"/>
                <a:gd name="connsiteX46" fmla="*/ 219928 w 316206"/>
                <a:gd name="connsiteY46" fmla="*/ 163724 h 238661"/>
                <a:gd name="connsiteX47" fmla="*/ 211456 w 316206"/>
                <a:gd name="connsiteY47" fmla="*/ 165842 h 238661"/>
                <a:gd name="connsiteX48" fmla="*/ 211456 w 316206"/>
                <a:gd name="connsiteY48" fmla="*/ 171869 h 238661"/>
                <a:gd name="connsiteX49" fmla="*/ 203474 w 316206"/>
                <a:gd name="connsiteY49" fmla="*/ 183273 h 238661"/>
                <a:gd name="connsiteX50" fmla="*/ 202496 w 316206"/>
                <a:gd name="connsiteY50" fmla="*/ 190767 h 238661"/>
                <a:gd name="connsiteX51" fmla="*/ 204614 w 316206"/>
                <a:gd name="connsiteY51" fmla="*/ 192884 h 238661"/>
                <a:gd name="connsiteX52" fmla="*/ 202496 w 316206"/>
                <a:gd name="connsiteY52" fmla="*/ 196143 h 238661"/>
                <a:gd name="connsiteX53" fmla="*/ 193862 w 316206"/>
                <a:gd name="connsiteY53" fmla="*/ 196469 h 238661"/>
                <a:gd name="connsiteX54" fmla="*/ 178385 w 316206"/>
                <a:gd name="connsiteY54" fmla="*/ 203799 h 238661"/>
                <a:gd name="connsiteX55" fmla="*/ 178385 w 316206"/>
                <a:gd name="connsiteY55" fmla="*/ 209013 h 238661"/>
                <a:gd name="connsiteX56" fmla="*/ 172358 w 316206"/>
                <a:gd name="connsiteY56" fmla="*/ 218624 h 238661"/>
                <a:gd name="connsiteX57" fmla="*/ 166982 w 316206"/>
                <a:gd name="connsiteY57" fmla="*/ 216180 h 238661"/>
                <a:gd name="connsiteX58" fmla="*/ 162095 w 316206"/>
                <a:gd name="connsiteY58" fmla="*/ 211945 h 238661"/>
                <a:gd name="connsiteX59" fmla="*/ 159651 w 316206"/>
                <a:gd name="connsiteY59" fmla="*/ 216343 h 238661"/>
                <a:gd name="connsiteX60" fmla="*/ 155578 w 316206"/>
                <a:gd name="connsiteY60" fmla="*/ 219764 h 238661"/>
                <a:gd name="connsiteX61" fmla="*/ 151343 w 316206"/>
                <a:gd name="connsiteY61" fmla="*/ 216506 h 238661"/>
                <a:gd name="connsiteX62" fmla="*/ 146944 w 316206"/>
                <a:gd name="connsiteY62" fmla="*/ 216506 h 238661"/>
                <a:gd name="connsiteX63" fmla="*/ 145152 w 316206"/>
                <a:gd name="connsiteY63" fmla="*/ 218461 h 238661"/>
                <a:gd name="connsiteX64" fmla="*/ 138147 w 316206"/>
                <a:gd name="connsiteY64" fmla="*/ 217647 h 238661"/>
                <a:gd name="connsiteX65" fmla="*/ 127721 w 316206"/>
                <a:gd name="connsiteY65" fmla="*/ 214714 h 238661"/>
                <a:gd name="connsiteX66" fmla="*/ 123485 w 316206"/>
                <a:gd name="connsiteY66" fmla="*/ 216995 h 238661"/>
                <a:gd name="connsiteX67" fmla="*/ 114362 w 316206"/>
                <a:gd name="connsiteY67" fmla="*/ 218135 h 238661"/>
                <a:gd name="connsiteX68" fmla="*/ 106380 w 316206"/>
                <a:gd name="connsiteY68" fmla="*/ 226118 h 238661"/>
                <a:gd name="connsiteX69" fmla="*/ 96931 w 316206"/>
                <a:gd name="connsiteY69" fmla="*/ 227258 h 238661"/>
                <a:gd name="connsiteX70" fmla="*/ 93347 w 316206"/>
                <a:gd name="connsiteY70" fmla="*/ 230516 h 238661"/>
                <a:gd name="connsiteX71" fmla="*/ 93347 w 316206"/>
                <a:gd name="connsiteY71" fmla="*/ 234589 h 238661"/>
                <a:gd name="connsiteX72" fmla="*/ 85690 w 316206"/>
                <a:gd name="connsiteY72" fmla="*/ 238662 h 238661"/>
                <a:gd name="connsiteX73" fmla="*/ 77382 w 316206"/>
                <a:gd name="connsiteY73" fmla="*/ 237359 h 238661"/>
                <a:gd name="connsiteX74" fmla="*/ 68911 w 316206"/>
                <a:gd name="connsiteY74" fmla="*/ 228887 h 238661"/>
                <a:gd name="connsiteX75" fmla="*/ 64023 w 316206"/>
                <a:gd name="connsiteY75" fmla="*/ 217158 h 238661"/>
                <a:gd name="connsiteX76" fmla="*/ 65164 w 316206"/>
                <a:gd name="connsiteY76" fmla="*/ 215529 h 238661"/>
                <a:gd name="connsiteX77" fmla="*/ 54737 w 316206"/>
                <a:gd name="connsiteY77" fmla="*/ 205429 h 238661"/>
                <a:gd name="connsiteX78" fmla="*/ 47244 w 316206"/>
                <a:gd name="connsiteY78" fmla="*/ 204614 h 238661"/>
                <a:gd name="connsiteX79" fmla="*/ 43008 w 316206"/>
                <a:gd name="connsiteY79" fmla="*/ 203473 h 238661"/>
                <a:gd name="connsiteX80" fmla="*/ 43008 w 316206"/>
                <a:gd name="connsiteY80" fmla="*/ 197446 h 238661"/>
                <a:gd name="connsiteX81" fmla="*/ 39098 w 316206"/>
                <a:gd name="connsiteY81" fmla="*/ 191581 h 238661"/>
                <a:gd name="connsiteX82" fmla="*/ 44963 w 316206"/>
                <a:gd name="connsiteY82" fmla="*/ 180503 h 238661"/>
                <a:gd name="connsiteX83" fmla="*/ 51317 w 316206"/>
                <a:gd name="connsiteY83" fmla="*/ 175290 h 238661"/>
                <a:gd name="connsiteX84" fmla="*/ 52131 w 316206"/>
                <a:gd name="connsiteY84" fmla="*/ 170566 h 238661"/>
                <a:gd name="connsiteX85" fmla="*/ 46592 w 316206"/>
                <a:gd name="connsiteY85" fmla="*/ 170240 h 238661"/>
                <a:gd name="connsiteX86" fmla="*/ 42845 w 316206"/>
                <a:gd name="connsiteY86" fmla="*/ 162909 h 238661"/>
                <a:gd name="connsiteX87" fmla="*/ 50991 w 316206"/>
                <a:gd name="connsiteY87" fmla="*/ 154764 h 238661"/>
                <a:gd name="connsiteX88" fmla="*/ 50665 w 316206"/>
                <a:gd name="connsiteY88" fmla="*/ 144500 h 238661"/>
                <a:gd name="connsiteX89" fmla="*/ 44800 w 316206"/>
                <a:gd name="connsiteY89" fmla="*/ 140754 h 238661"/>
                <a:gd name="connsiteX90" fmla="*/ 38121 w 316206"/>
                <a:gd name="connsiteY90" fmla="*/ 128210 h 238661"/>
                <a:gd name="connsiteX91" fmla="*/ 44474 w 316206"/>
                <a:gd name="connsiteY91" fmla="*/ 126743 h 238661"/>
                <a:gd name="connsiteX92" fmla="*/ 48873 w 316206"/>
                <a:gd name="connsiteY92" fmla="*/ 127558 h 238661"/>
                <a:gd name="connsiteX93" fmla="*/ 55552 w 316206"/>
                <a:gd name="connsiteY93" fmla="*/ 118272 h 238661"/>
                <a:gd name="connsiteX94" fmla="*/ 51153 w 316206"/>
                <a:gd name="connsiteY94" fmla="*/ 113873 h 238661"/>
                <a:gd name="connsiteX95" fmla="*/ 56693 w 316206"/>
                <a:gd name="connsiteY95" fmla="*/ 108335 h 238661"/>
                <a:gd name="connsiteX96" fmla="*/ 57507 w 316206"/>
                <a:gd name="connsiteY96" fmla="*/ 92044 h 238661"/>
                <a:gd name="connsiteX97" fmla="*/ 56367 w 316206"/>
                <a:gd name="connsiteY97" fmla="*/ 85364 h 238661"/>
                <a:gd name="connsiteX98" fmla="*/ 65978 w 316206"/>
                <a:gd name="connsiteY98" fmla="*/ 76079 h 238661"/>
                <a:gd name="connsiteX99" fmla="*/ 69725 w 316206"/>
                <a:gd name="connsiteY99" fmla="*/ 76079 h 238661"/>
                <a:gd name="connsiteX100" fmla="*/ 71191 w 316206"/>
                <a:gd name="connsiteY100" fmla="*/ 70865 h 238661"/>
                <a:gd name="connsiteX101" fmla="*/ 65978 w 316206"/>
                <a:gd name="connsiteY101" fmla="*/ 63535 h 238661"/>
                <a:gd name="connsiteX102" fmla="*/ 65164 w 316206"/>
                <a:gd name="connsiteY102" fmla="*/ 57181 h 238661"/>
                <a:gd name="connsiteX103" fmla="*/ 52945 w 316206"/>
                <a:gd name="connsiteY103" fmla="*/ 55715 h 238661"/>
                <a:gd name="connsiteX104" fmla="*/ 48221 w 316206"/>
                <a:gd name="connsiteY104" fmla="*/ 60439 h 238661"/>
                <a:gd name="connsiteX105" fmla="*/ 34211 w 316206"/>
                <a:gd name="connsiteY105" fmla="*/ 57507 h 238661"/>
                <a:gd name="connsiteX106" fmla="*/ 25740 w 316206"/>
                <a:gd name="connsiteY106" fmla="*/ 61905 h 238661"/>
                <a:gd name="connsiteX107" fmla="*/ 23459 w 316206"/>
                <a:gd name="connsiteY107" fmla="*/ 58159 h 238661"/>
                <a:gd name="connsiteX108" fmla="*/ 24111 w 316206"/>
                <a:gd name="connsiteY108" fmla="*/ 52620 h 238661"/>
                <a:gd name="connsiteX109" fmla="*/ 19875 w 316206"/>
                <a:gd name="connsiteY109" fmla="*/ 51479 h 238661"/>
                <a:gd name="connsiteX110" fmla="*/ 8471 w 316206"/>
                <a:gd name="connsiteY110" fmla="*/ 53271 h 238661"/>
                <a:gd name="connsiteX111" fmla="*/ 8471 w 316206"/>
                <a:gd name="connsiteY111" fmla="*/ 51805 h 238661"/>
                <a:gd name="connsiteX112" fmla="*/ 14336 w 316206"/>
                <a:gd name="connsiteY112" fmla="*/ 46592 h 238661"/>
                <a:gd name="connsiteX113" fmla="*/ 10101 w 316206"/>
                <a:gd name="connsiteY113" fmla="*/ 45778 h 238661"/>
                <a:gd name="connsiteX114" fmla="*/ 13033 w 316206"/>
                <a:gd name="connsiteY114" fmla="*/ 42682 h 238661"/>
                <a:gd name="connsiteX115" fmla="*/ 11078 w 316206"/>
                <a:gd name="connsiteY115" fmla="*/ 40727 h 238661"/>
                <a:gd name="connsiteX116" fmla="*/ 12218 w 316206"/>
                <a:gd name="connsiteY116" fmla="*/ 35351 h 238661"/>
                <a:gd name="connsiteX117" fmla="*/ 8145 w 316206"/>
                <a:gd name="connsiteY117" fmla="*/ 39261 h 238661"/>
                <a:gd name="connsiteX118" fmla="*/ 6191 w 316206"/>
                <a:gd name="connsiteY118" fmla="*/ 38447 h 238661"/>
                <a:gd name="connsiteX119" fmla="*/ 7494 w 316206"/>
                <a:gd name="connsiteY119" fmla="*/ 31279 h 238661"/>
                <a:gd name="connsiteX120" fmla="*/ 5376 w 316206"/>
                <a:gd name="connsiteY120" fmla="*/ 30301 h 238661"/>
                <a:gd name="connsiteX121" fmla="*/ 5376 w 316206"/>
                <a:gd name="connsiteY121" fmla="*/ 27369 h 238661"/>
                <a:gd name="connsiteX122" fmla="*/ 2281 w 316206"/>
                <a:gd name="connsiteY122" fmla="*/ 28509 h 238661"/>
                <a:gd name="connsiteX123" fmla="*/ 0 w 316206"/>
                <a:gd name="connsiteY123" fmla="*/ 23133 h 238661"/>
                <a:gd name="connsiteX124" fmla="*/ 2769 w 316206"/>
                <a:gd name="connsiteY124" fmla="*/ 17594 h 238661"/>
                <a:gd name="connsiteX125" fmla="*/ 12381 w 316206"/>
                <a:gd name="connsiteY125" fmla="*/ 14173 h 238661"/>
                <a:gd name="connsiteX126" fmla="*/ 15639 w 316206"/>
                <a:gd name="connsiteY126" fmla="*/ 15639 h 238661"/>
                <a:gd name="connsiteX127" fmla="*/ 23785 w 316206"/>
                <a:gd name="connsiteY127" fmla="*/ 14662 h 238661"/>
                <a:gd name="connsiteX128" fmla="*/ 27695 w 316206"/>
                <a:gd name="connsiteY128" fmla="*/ 11729 h 238661"/>
                <a:gd name="connsiteX129" fmla="*/ 24599 w 316206"/>
                <a:gd name="connsiteY129" fmla="*/ 9612 h 238661"/>
                <a:gd name="connsiteX130" fmla="*/ 23948 w 316206"/>
                <a:gd name="connsiteY130" fmla="*/ 6191 h 238661"/>
                <a:gd name="connsiteX131" fmla="*/ 33234 w 316206"/>
                <a:gd name="connsiteY131" fmla="*/ 978 h 238661"/>
                <a:gd name="connsiteX132" fmla="*/ 34537 w 316206"/>
                <a:gd name="connsiteY132" fmla="*/ 2770 h 238661"/>
                <a:gd name="connsiteX133" fmla="*/ 38447 w 316206"/>
                <a:gd name="connsiteY133" fmla="*/ 0 h 238661"/>
                <a:gd name="connsiteX134" fmla="*/ 44800 w 316206"/>
                <a:gd name="connsiteY134" fmla="*/ 1303 h 238661"/>
                <a:gd name="connsiteX135" fmla="*/ 50176 w 316206"/>
                <a:gd name="connsiteY135" fmla="*/ 8145 h 238661"/>
                <a:gd name="connsiteX136" fmla="*/ 54737 w 316206"/>
                <a:gd name="connsiteY136" fmla="*/ 4236 h 238661"/>
                <a:gd name="connsiteX137" fmla="*/ 59951 w 316206"/>
                <a:gd name="connsiteY137" fmla="*/ 4236 h 238661"/>
                <a:gd name="connsiteX138" fmla="*/ 65978 w 316206"/>
                <a:gd name="connsiteY138" fmla="*/ 6679 h 238661"/>
                <a:gd name="connsiteX139" fmla="*/ 72495 w 316206"/>
                <a:gd name="connsiteY139" fmla="*/ 3910 h 238661"/>
                <a:gd name="connsiteX140" fmla="*/ 80640 w 316206"/>
                <a:gd name="connsiteY140" fmla="*/ 1629 h 238661"/>
                <a:gd name="connsiteX141" fmla="*/ 82432 w 316206"/>
                <a:gd name="connsiteY141" fmla="*/ 3910 h 238661"/>
                <a:gd name="connsiteX142" fmla="*/ 88949 w 316206"/>
                <a:gd name="connsiteY142" fmla="*/ 7657 h 238661"/>
                <a:gd name="connsiteX143" fmla="*/ 107194 w 316206"/>
                <a:gd name="connsiteY143" fmla="*/ 10589 h 238661"/>
                <a:gd name="connsiteX144" fmla="*/ 115503 w 316206"/>
                <a:gd name="connsiteY144" fmla="*/ 12544 h 238661"/>
                <a:gd name="connsiteX145" fmla="*/ 127884 w 316206"/>
                <a:gd name="connsiteY145" fmla="*/ 7331 h 238661"/>
                <a:gd name="connsiteX146" fmla="*/ 137169 w 316206"/>
                <a:gd name="connsiteY146" fmla="*/ 8145 h 238661"/>
                <a:gd name="connsiteX147" fmla="*/ 138961 w 316206"/>
                <a:gd name="connsiteY147" fmla="*/ 12218 h 238661"/>
                <a:gd name="connsiteX148" fmla="*/ 148085 w 316206"/>
                <a:gd name="connsiteY148" fmla="*/ 14010 h 238661"/>
                <a:gd name="connsiteX149" fmla="*/ 152809 w 316206"/>
                <a:gd name="connsiteY149" fmla="*/ 9286 h 238661"/>
                <a:gd name="connsiteX150" fmla="*/ 157207 w 316206"/>
                <a:gd name="connsiteY150" fmla="*/ 9286 h 238661"/>
                <a:gd name="connsiteX151" fmla="*/ 170729 w 316206"/>
                <a:gd name="connsiteY151" fmla="*/ 17268 h 238661"/>
                <a:gd name="connsiteX152" fmla="*/ 173172 w 316206"/>
                <a:gd name="connsiteY152" fmla="*/ 13521 h 238661"/>
                <a:gd name="connsiteX153" fmla="*/ 176919 w 316206"/>
                <a:gd name="connsiteY153" fmla="*/ 13196 h 238661"/>
                <a:gd name="connsiteX154" fmla="*/ 179200 w 316206"/>
                <a:gd name="connsiteY154" fmla="*/ 11892 h 238661"/>
                <a:gd name="connsiteX155" fmla="*/ 179200 w 316206"/>
                <a:gd name="connsiteY155" fmla="*/ 11892 h 238661"/>
                <a:gd name="connsiteX156" fmla="*/ 302522 w 316206"/>
                <a:gd name="connsiteY156" fmla="*/ 123974 h 238661"/>
                <a:gd name="connsiteX157" fmla="*/ 310831 w 316206"/>
                <a:gd name="connsiteY157" fmla="*/ 124788 h 238661"/>
                <a:gd name="connsiteX158" fmla="*/ 314903 w 316206"/>
                <a:gd name="connsiteY158" fmla="*/ 127069 h 238661"/>
                <a:gd name="connsiteX159" fmla="*/ 316207 w 316206"/>
                <a:gd name="connsiteY159" fmla="*/ 124463 h 238661"/>
                <a:gd name="connsiteX160" fmla="*/ 310994 w 316206"/>
                <a:gd name="connsiteY160" fmla="*/ 119087 h 238661"/>
                <a:gd name="connsiteX161" fmla="*/ 303663 w 316206"/>
                <a:gd name="connsiteY161" fmla="*/ 120553 h 238661"/>
                <a:gd name="connsiteX162" fmla="*/ 302522 w 316206"/>
                <a:gd name="connsiteY162" fmla="*/ 123974 h 238661"/>
                <a:gd name="connsiteX163" fmla="*/ 302522 w 316206"/>
                <a:gd name="connsiteY163" fmla="*/ 123974 h 238661"/>
                <a:gd name="connsiteX164" fmla="*/ 287698 w 316206"/>
                <a:gd name="connsiteY164" fmla="*/ 141242 h 238661"/>
                <a:gd name="connsiteX165" fmla="*/ 289978 w 316206"/>
                <a:gd name="connsiteY165" fmla="*/ 134563 h 238661"/>
                <a:gd name="connsiteX166" fmla="*/ 295680 w 316206"/>
                <a:gd name="connsiteY166" fmla="*/ 129350 h 238661"/>
                <a:gd name="connsiteX167" fmla="*/ 290467 w 316206"/>
                <a:gd name="connsiteY167" fmla="*/ 129024 h 238661"/>
                <a:gd name="connsiteX168" fmla="*/ 284603 w 316206"/>
                <a:gd name="connsiteY168" fmla="*/ 128047 h 238661"/>
                <a:gd name="connsiteX169" fmla="*/ 279552 w 316206"/>
                <a:gd name="connsiteY169" fmla="*/ 131305 h 238661"/>
                <a:gd name="connsiteX170" fmla="*/ 278412 w 316206"/>
                <a:gd name="connsiteY170" fmla="*/ 135703 h 238661"/>
                <a:gd name="connsiteX171" fmla="*/ 283625 w 316206"/>
                <a:gd name="connsiteY171" fmla="*/ 137332 h 238661"/>
                <a:gd name="connsiteX172" fmla="*/ 287698 w 316206"/>
                <a:gd name="connsiteY172" fmla="*/ 141079 h 238661"/>
                <a:gd name="connsiteX173" fmla="*/ 287698 w 316206"/>
                <a:gd name="connsiteY173" fmla="*/ 141079 h 238661"/>
                <a:gd name="connsiteX174" fmla="*/ 256582 w 316206"/>
                <a:gd name="connsiteY174" fmla="*/ 158185 h 238661"/>
                <a:gd name="connsiteX175" fmla="*/ 259514 w 316206"/>
                <a:gd name="connsiteY175" fmla="*/ 154112 h 238661"/>
                <a:gd name="connsiteX176" fmla="*/ 262284 w 316206"/>
                <a:gd name="connsiteY176" fmla="*/ 151343 h 238661"/>
                <a:gd name="connsiteX177" fmla="*/ 260329 w 316206"/>
                <a:gd name="connsiteY177" fmla="*/ 148084 h 238661"/>
                <a:gd name="connsiteX178" fmla="*/ 253649 w 316206"/>
                <a:gd name="connsiteY178" fmla="*/ 150039 h 238661"/>
                <a:gd name="connsiteX179" fmla="*/ 252835 w 316206"/>
                <a:gd name="connsiteY179" fmla="*/ 154601 h 238661"/>
                <a:gd name="connsiteX180" fmla="*/ 256582 w 316206"/>
                <a:gd name="connsiteY180" fmla="*/ 158022 h 2386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</a:cxnLst>
              <a:rect l="l" t="t" r="r" b="b"/>
              <a:pathLst>
                <a:path w="316206" h="238661">
                  <a:moveTo>
                    <a:pt x="179037" y="12055"/>
                  </a:moveTo>
                  <a:lnTo>
                    <a:pt x="183436" y="14499"/>
                  </a:lnTo>
                  <a:lnTo>
                    <a:pt x="183924" y="15802"/>
                  </a:lnTo>
                  <a:lnTo>
                    <a:pt x="187020" y="16291"/>
                  </a:lnTo>
                  <a:lnTo>
                    <a:pt x="187997" y="21667"/>
                  </a:lnTo>
                  <a:lnTo>
                    <a:pt x="187346" y="25740"/>
                  </a:lnTo>
                  <a:lnTo>
                    <a:pt x="194839" y="24762"/>
                  </a:lnTo>
                  <a:lnTo>
                    <a:pt x="204940" y="28835"/>
                  </a:lnTo>
                  <a:lnTo>
                    <a:pt x="209664" y="34048"/>
                  </a:lnTo>
                  <a:lnTo>
                    <a:pt x="214877" y="31604"/>
                  </a:lnTo>
                  <a:lnTo>
                    <a:pt x="220579" y="37469"/>
                  </a:lnTo>
                  <a:lnTo>
                    <a:pt x="227584" y="37469"/>
                  </a:lnTo>
                  <a:cubicBezTo>
                    <a:pt x="227584" y="37469"/>
                    <a:pt x="231005" y="39098"/>
                    <a:pt x="231005" y="39098"/>
                  </a:cubicBezTo>
                  <a:lnTo>
                    <a:pt x="235404" y="34537"/>
                  </a:lnTo>
                  <a:lnTo>
                    <a:pt x="246971" y="34211"/>
                  </a:lnTo>
                  <a:lnTo>
                    <a:pt x="251369" y="36655"/>
                  </a:lnTo>
                  <a:lnTo>
                    <a:pt x="258374" y="35840"/>
                  </a:lnTo>
                  <a:lnTo>
                    <a:pt x="265705" y="39913"/>
                  </a:lnTo>
                  <a:lnTo>
                    <a:pt x="277760" y="38772"/>
                  </a:lnTo>
                  <a:lnTo>
                    <a:pt x="286231" y="43986"/>
                  </a:lnTo>
                  <a:lnTo>
                    <a:pt x="289490" y="45126"/>
                  </a:lnTo>
                  <a:lnTo>
                    <a:pt x="289815" y="47895"/>
                  </a:lnTo>
                  <a:lnTo>
                    <a:pt x="285743" y="50665"/>
                  </a:lnTo>
                  <a:lnTo>
                    <a:pt x="287046" y="58810"/>
                  </a:lnTo>
                  <a:lnTo>
                    <a:pt x="286394" y="65164"/>
                  </a:lnTo>
                  <a:lnTo>
                    <a:pt x="283788" y="70051"/>
                  </a:lnTo>
                  <a:lnTo>
                    <a:pt x="274176" y="75916"/>
                  </a:lnTo>
                  <a:cubicBezTo>
                    <a:pt x="274176" y="75916"/>
                    <a:pt x="270266" y="81292"/>
                    <a:pt x="269778" y="81455"/>
                  </a:cubicBezTo>
                  <a:cubicBezTo>
                    <a:pt x="269289" y="81618"/>
                    <a:pt x="261632" y="84713"/>
                    <a:pt x="261632" y="84713"/>
                  </a:cubicBezTo>
                  <a:lnTo>
                    <a:pt x="251858" y="84224"/>
                  </a:lnTo>
                  <a:lnTo>
                    <a:pt x="245504" y="88786"/>
                  </a:lnTo>
                  <a:lnTo>
                    <a:pt x="239803" y="91881"/>
                  </a:lnTo>
                  <a:lnTo>
                    <a:pt x="242572" y="94162"/>
                  </a:lnTo>
                  <a:lnTo>
                    <a:pt x="241269" y="100189"/>
                  </a:lnTo>
                  <a:lnTo>
                    <a:pt x="237685" y="102470"/>
                  </a:lnTo>
                  <a:lnTo>
                    <a:pt x="237033" y="101818"/>
                  </a:lnTo>
                  <a:lnTo>
                    <a:pt x="238010" y="101004"/>
                  </a:lnTo>
                  <a:lnTo>
                    <a:pt x="235241" y="100026"/>
                  </a:lnTo>
                  <a:lnTo>
                    <a:pt x="227910" y="112570"/>
                  </a:lnTo>
                  <a:lnTo>
                    <a:pt x="222697" y="115014"/>
                  </a:lnTo>
                  <a:lnTo>
                    <a:pt x="212760" y="131468"/>
                  </a:lnTo>
                  <a:lnTo>
                    <a:pt x="209827" y="135215"/>
                  </a:lnTo>
                  <a:lnTo>
                    <a:pt x="214063" y="142546"/>
                  </a:lnTo>
                  <a:lnTo>
                    <a:pt x="215203" y="147596"/>
                  </a:lnTo>
                  <a:lnTo>
                    <a:pt x="219113" y="149714"/>
                  </a:lnTo>
                  <a:lnTo>
                    <a:pt x="225466" y="158348"/>
                  </a:lnTo>
                  <a:lnTo>
                    <a:pt x="219928" y="163724"/>
                  </a:lnTo>
                  <a:lnTo>
                    <a:pt x="211456" y="165842"/>
                  </a:lnTo>
                  <a:lnTo>
                    <a:pt x="211456" y="171869"/>
                  </a:lnTo>
                  <a:cubicBezTo>
                    <a:pt x="211456" y="171869"/>
                    <a:pt x="203474" y="183273"/>
                    <a:pt x="203474" y="183273"/>
                  </a:cubicBezTo>
                  <a:lnTo>
                    <a:pt x="202496" y="190767"/>
                  </a:lnTo>
                  <a:lnTo>
                    <a:pt x="204614" y="192884"/>
                  </a:lnTo>
                  <a:lnTo>
                    <a:pt x="202496" y="196143"/>
                  </a:lnTo>
                  <a:lnTo>
                    <a:pt x="193862" y="196469"/>
                  </a:lnTo>
                  <a:lnTo>
                    <a:pt x="178385" y="203799"/>
                  </a:lnTo>
                  <a:lnTo>
                    <a:pt x="178385" y="209013"/>
                  </a:lnTo>
                  <a:lnTo>
                    <a:pt x="172358" y="218624"/>
                  </a:lnTo>
                  <a:lnTo>
                    <a:pt x="166982" y="216180"/>
                  </a:lnTo>
                  <a:lnTo>
                    <a:pt x="162095" y="211945"/>
                  </a:lnTo>
                  <a:lnTo>
                    <a:pt x="159651" y="216343"/>
                  </a:lnTo>
                  <a:lnTo>
                    <a:pt x="155578" y="219764"/>
                  </a:lnTo>
                  <a:lnTo>
                    <a:pt x="151343" y="216506"/>
                  </a:lnTo>
                  <a:lnTo>
                    <a:pt x="146944" y="216506"/>
                  </a:lnTo>
                  <a:cubicBezTo>
                    <a:pt x="146944" y="216506"/>
                    <a:pt x="145152" y="218461"/>
                    <a:pt x="145152" y="218461"/>
                  </a:cubicBezTo>
                  <a:lnTo>
                    <a:pt x="138147" y="217647"/>
                  </a:lnTo>
                  <a:lnTo>
                    <a:pt x="127721" y="214714"/>
                  </a:lnTo>
                  <a:lnTo>
                    <a:pt x="123485" y="216995"/>
                  </a:lnTo>
                  <a:lnTo>
                    <a:pt x="114362" y="218135"/>
                  </a:lnTo>
                  <a:lnTo>
                    <a:pt x="106380" y="226118"/>
                  </a:lnTo>
                  <a:lnTo>
                    <a:pt x="96931" y="227258"/>
                  </a:lnTo>
                  <a:lnTo>
                    <a:pt x="93347" y="230516"/>
                  </a:lnTo>
                  <a:lnTo>
                    <a:pt x="93347" y="234589"/>
                  </a:lnTo>
                  <a:cubicBezTo>
                    <a:pt x="93347" y="234589"/>
                    <a:pt x="85690" y="238662"/>
                    <a:pt x="85690" y="238662"/>
                  </a:cubicBezTo>
                  <a:lnTo>
                    <a:pt x="77382" y="237359"/>
                  </a:lnTo>
                  <a:lnTo>
                    <a:pt x="68911" y="228887"/>
                  </a:lnTo>
                  <a:lnTo>
                    <a:pt x="64023" y="217158"/>
                  </a:lnTo>
                  <a:lnTo>
                    <a:pt x="65164" y="215529"/>
                  </a:lnTo>
                  <a:lnTo>
                    <a:pt x="54737" y="205429"/>
                  </a:lnTo>
                  <a:lnTo>
                    <a:pt x="47244" y="204614"/>
                  </a:lnTo>
                  <a:lnTo>
                    <a:pt x="43008" y="203473"/>
                  </a:lnTo>
                  <a:lnTo>
                    <a:pt x="43008" y="197446"/>
                  </a:lnTo>
                  <a:cubicBezTo>
                    <a:pt x="43008" y="197446"/>
                    <a:pt x="39098" y="191581"/>
                    <a:pt x="39098" y="191581"/>
                  </a:cubicBezTo>
                  <a:lnTo>
                    <a:pt x="44963" y="180503"/>
                  </a:lnTo>
                  <a:lnTo>
                    <a:pt x="51317" y="175290"/>
                  </a:lnTo>
                  <a:lnTo>
                    <a:pt x="52131" y="170566"/>
                  </a:lnTo>
                  <a:lnTo>
                    <a:pt x="46592" y="170240"/>
                  </a:lnTo>
                  <a:lnTo>
                    <a:pt x="42845" y="162909"/>
                  </a:lnTo>
                  <a:lnTo>
                    <a:pt x="50991" y="154764"/>
                  </a:lnTo>
                  <a:lnTo>
                    <a:pt x="50665" y="144500"/>
                  </a:lnTo>
                  <a:lnTo>
                    <a:pt x="44800" y="140754"/>
                  </a:lnTo>
                  <a:lnTo>
                    <a:pt x="38121" y="128210"/>
                  </a:lnTo>
                  <a:lnTo>
                    <a:pt x="44474" y="126743"/>
                  </a:lnTo>
                  <a:lnTo>
                    <a:pt x="48873" y="127558"/>
                  </a:lnTo>
                  <a:lnTo>
                    <a:pt x="55552" y="118272"/>
                  </a:lnTo>
                  <a:lnTo>
                    <a:pt x="51153" y="113873"/>
                  </a:lnTo>
                  <a:lnTo>
                    <a:pt x="56693" y="108335"/>
                  </a:lnTo>
                  <a:lnTo>
                    <a:pt x="57507" y="92044"/>
                  </a:lnTo>
                  <a:lnTo>
                    <a:pt x="56367" y="85364"/>
                  </a:lnTo>
                  <a:lnTo>
                    <a:pt x="65978" y="76079"/>
                  </a:lnTo>
                  <a:lnTo>
                    <a:pt x="69725" y="76079"/>
                  </a:lnTo>
                  <a:lnTo>
                    <a:pt x="71191" y="70865"/>
                  </a:lnTo>
                  <a:lnTo>
                    <a:pt x="65978" y="63535"/>
                  </a:lnTo>
                  <a:lnTo>
                    <a:pt x="65164" y="57181"/>
                  </a:lnTo>
                  <a:lnTo>
                    <a:pt x="52945" y="55715"/>
                  </a:lnTo>
                  <a:lnTo>
                    <a:pt x="48221" y="60439"/>
                  </a:lnTo>
                  <a:lnTo>
                    <a:pt x="34211" y="57507"/>
                  </a:lnTo>
                  <a:lnTo>
                    <a:pt x="25740" y="61905"/>
                  </a:lnTo>
                  <a:lnTo>
                    <a:pt x="23459" y="58159"/>
                  </a:lnTo>
                  <a:lnTo>
                    <a:pt x="24111" y="52620"/>
                  </a:lnTo>
                  <a:lnTo>
                    <a:pt x="19875" y="51479"/>
                  </a:lnTo>
                  <a:lnTo>
                    <a:pt x="8471" y="53271"/>
                  </a:lnTo>
                  <a:lnTo>
                    <a:pt x="8471" y="51805"/>
                  </a:lnTo>
                  <a:cubicBezTo>
                    <a:pt x="8471" y="51805"/>
                    <a:pt x="14336" y="46592"/>
                    <a:pt x="14336" y="46592"/>
                  </a:cubicBezTo>
                  <a:lnTo>
                    <a:pt x="10101" y="45778"/>
                  </a:lnTo>
                  <a:lnTo>
                    <a:pt x="13033" y="42682"/>
                  </a:lnTo>
                  <a:lnTo>
                    <a:pt x="11078" y="40727"/>
                  </a:lnTo>
                  <a:lnTo>
                    <a:pt x="12218" y="35351"/>
                  </a:lnTo>
                  <a:lnTo>
                    <a:pt x="8145" y="39261"/>
                  </a:lnTo>
                  <a:lnTo>
                    <a:pt x="6191" y="38447"/>
                  </a:lnTo>
                  <a:lnTo>
                    <a:pt x="7494" y="31279"/>
                  </a:lnTo>
                  <a:lnTo>
                    <a:pt x="5376" y="30301"/>
                  </a:lnTo>
                  <a:lnTo>
                    <a:pt x="5376" y="27369"/>
                  </a:lnTo>
                  <a:cubicBezTo>
                    <a:pt x="5376" y="27369"/>
                    <a:pt x="2281" y="28509"/>
                    <a:pt x="2281" y="28509"/>
                  </a:cubicBezTo>
                  <a:lnTo>
                    <a:pt x="0" y="23133"/>
                  </a:lnTo>
                  <a:lnTo>
                    <a:pt x="2769" y="17594"/>
                  </a:lnTo>
                  <a:lnTo>
                    <a:pt x="12381" y="14173"/>
                  </a:lnTo>
                  <a:lnTo>
                    <a:pt x="15639" y="15639"/>
                  </a:lnTo>
                  <a:lnTo>
                    <a:pt x="23785" y="14662"/>
                  </a:lnTo>
                  <a:lnTo>
                    <a:pt x="27695" y="11729"/>
                  </a:lnTo>
                  <a:lnTo>
                    <a:pt x="24599" y="9612"/>
                  </a:lnTo>
                  <a:lnTo>
                    <a:pt x="23948" y="6191"/>
                  </a:lnTo>
                  <a:lnTo>
                    <a:pt x="33234" y="978"/>
                  </a:lnTo>
                  <a:lnTo>
                    <a:pt x="34537" y="2770"/>
                  </a:lnTo>
                  <a:lnTo>
                    <a:pt x="38447" y="0"/>
                  </a:lnTo>
                  <a:lnTo>
                    <a:pt x="44800" y="1303"/>
                  </a:lnTo>
                  <a:lnTo>
                    <a:pt x="50176" y="8145"/>
                  </a:lnTo>
                  <a:lnTo>
                    <a:pt x="54737" y="4236"/>
                  </a:lnTo>
                  <a:lnTo>
                    <a:pt x="59951" y="4236"/>
                  </a:lnTo>
                  <a:lnTo>
                    <a:pt x="65978" y="6679"/>
                  </a:lnTo>
                  <a:lnTo>
                    <a:pt x="72495" y="3910"/>
                  </a:lnTo>
                  <a:lnTo>
                    <a:pt x="80640" y="1629"/>
                  </a:lnTo>
                  <a:lnTo>
                    <a:pt x="82432" y="3910"/>
                  </a:lnTo>
                  <a:lnTo>
                    <a:pt x="88949" y="7657"/>
                  </a:lnTo>
                  <a:lnTo>
                    <a:pt x="107194" y="10589"/>
                  </a:lnTo>
                  <a:lnTo>
                    <a:pt x="115503" y="12544"/>
                  </a:lnTo>
                  <a:lnTo>
                    <a:pt x="127884" y="7331"/>
                  </a:lnTo>
                  <a:lnTo>
                    <a:pt x="137169" y="8145"/>
                  </a:lnTo>
                  <a:lnTo>
                    <a:pt x="138961" y="12218"/>
                  </a:lnTo>
                  <a:lnTo>
                    <a:pt x="148085" y="14010"/>
                  </a:lnTo>
                  <a:lnTo>
                    <a:pt x="152809" y="9286"/>
                  </a:lnTo>
                  <a:lnTo>
                    <a:pt x="157207" y="9286"/>
                  </a:lnTo>
                  <a:lnTo>
                    <a:pt x="170729" y="17268"/>
                  </a:lnTo>
                  <a:lnTo>
                    <a:pt x="173172" y="13521"/>
                  </a:lnTo>
                  <a:lnTo>
                    <a:pt x="176919" y="13196"/>
                  </a:lnTo>
                  <a:lnTo>
                    <a:pt x="179200" y="11892"/>
                  </a:lnTo>
                  <a:lnTo>
                    <a:pt x="179200" y="11892"/>
                  </a:lnTo>
                  <a:close/>
                  <a:moveTo>
                    <a:pt x="302522" y="123974"/>
                  </a:moveTo>
                  <a:lnTo>
                    <a:pt x="310831" y="124788"/>
                  </a:lnTo>
                  <a:lnTo>
                    <a:pt x="314903" y="127069"/>
                  </a:lnTo>
                  <a:lnTo>
                    <a:pt x="316207" y="124463"/>
                  </a:lnTo>
                  <a:lnTo>
                    <a:pt x="310994" y="119087"/>
                  </a:lnTo>
                  <a:lnTo>
                    <a:pt x="303663" y="120553"/>
                  </a:lnTo>
                  <a:lnTo>
                    <a:pt x="302522" y="123974"/>
                  </a:lnTo>
                  <a:lnTo>
                    <a:pt x="302522" y="123974"/>
                  </a:lnTo>
                  <a:close/>
                  <a:moveTo>
                    <a:pt x="287698" y="141242"/>
                  </a:moveTo>
                  <a:lnTo>
                    <a:pt x="289978" y="134563"/>
                  </a:lnTo>
                  <a:lnTo>
                    <a:pt x="295680" y="129350"/>
                  </a:lnTo>
                  <a:lnTo>
                    <a:pt x="290467" y="129024"/>
                  </a:lnTo>
                  <a:lnTo>
                    <a:pt x="284603" y="128047"/>
                  </a:lnTo>
                  <a:lnTo>
                    <a:pt x="279552" y="131305"/>
                  </a:lnTo>
                  <a:lnTo>
                    <a:pt x="278412" y="135703"/>
                  </a:lnTo>
                  <a:lnTo>
                    <a:pt x="283625" y="137332"/>
                  </a:lnTo>
                  <a:lnTo>
                    <a:pt x="287698" y="141079"/>
                  </a:lnTo>
                  <a:lnTo>
                    <a:pt x="287698" y="141079"/>
                  </a:lnTo>
                  <a:close/>
                  <a:moveTo>
                    <a:pt x="256582" y="158185"/>
                  </a:moveTo>
                  <a:lnTo>
                    <a:pt x="259514" y="154112"/>
                  </a:lnTo>
                  <a:lnTo>
                    <a:pt x="262284" y="151343"/>
                  </a:lnTo>
                  <a:lnTo>
                    <a:pt x="260329" y="148084"/>
                  </a:lnTo>
                  <a:lnTo>
                    <a:pt x="253649" y="150039"/>
                  </a:lnTo>
                  <a:lnTo>
                    <a:pt x="252835" y="154601"/>
                  </a:lnTo>
                  <a:lnTo>
                    <a:pt x="256582" y="158022"/>
                  </a:lnTo>
                  <a:close/>
                </a:path>
              </a:pathLst>
            </a:custGeom>
            <a:solidFill>
              <a:schemeClr val="tx1"/>
            </a:solidFill>
            <a:ln w="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5" name="Forma livre: Forma 184">
              <a:extLst>
                <a:ext uri="{FF2B5EF4-FFF2-40B4-BE49-F238E27FC236}">
                  <a16:creationId xmlns:a16="http://schemas.microsoft.com/office/drawing/2014/main" id="{C964E7EA-97AF-F0B4-10A9-8A25E8CD18F2}"/>
                </a:ext>
              </a:extLst>
            </p:cNvPr>
            <p:cNvSpPr/>
            <p:nvPr/>
          </p:nvSpPr>
          <p:spPr>
            <a:xfrm>
              <a:off x="5751522" y="3767303"/>
              <a:ext cx="82154" cy="164141"/>
            </a:xfrm>
            <a:custGeom>
              <a:avLst/>
              <a:gdLst>
                <a:gd name="connsiteX0" fmla="*/ 51642 w 79499"/>
                <a:gd name="connsiteY0" fmla="*/ 151994 h 158836"/>
                <a:gd name="connsiteX1" fmla="*/ 51479 w 79499"/>
                <a:gd name="connsiteY1" fmla="*/ 145966 h 158836"/>
                <a:gd name="connsiteX2" fmla="*/ 47733 w 79499"/>
                <a:gd name="connsiteY2" fmla="*/ 140102 h 158836"/>
                <a:gd name="connsiteX3" fmla="*/ 53597 w 79499"/>
                <a:gd name="connsiteY3" fmla="*/ 129024 h 158836"/>
                <a:gd name="connsiteX4" fmla="*/ 59951 w 79499"/>
                <a:gd name="connsiteY4" fmla="*/ 123811 h 158836"/>
                <a:gd name="connsiteX5" fmla="*/ 60602 w 79499"/>
                <a:gd name="connsiteY5" fmla="*/ 118924 h 158836"/>
                <a:gd name="connsiteX6" fmla="*/ 55063 w 79499"/>
                <a:gd name="connsiteY6" fmla="*/ 118598 h 158836"/>
                <a:gd name="connsiteX7" fmla="*/ 51479 w 79499"/>
                <a:gd name="connsiteY7" fmla="*/ 111267 h 158836"/>
                <a:gd name="connsiteX8" fmla="*/ 59625 w 79499"/>
                <a:gd name="connsiteY8" fmla="*/ 103122 h 158836"/>
                <a:gd name="connsiteX9" fmla="*/ 59136 w 79499"/>
                <a:gd name="connsiteY9" fmla="*/ 92858 h 158836"/>
                <a:gd name="connsiteX10" fmla="*/ 53271 w 79499"/>
                <a:gd name="connsiteY10" fmla="*/ 89111 h 158836"/>
                <a:gd name="connsiteX11" fmla="*/ 46592 w 79499"/>
                <a:gd name="connsiteY11" fmla="*/ 76567 h 158836"/>
                <a:gd name="connsiteX12" fmla="*/ 52945 w 79499"/>
                <a:gd name="connsiteY12" fmla="*/ 75101 h 158836"/>
                <a:gd name="connsiteX13" fmla="*/ 57344 w 79499"/>
                <a:gd name="connsiteY13" fmla="*/ 75753 h 158836"/>
                <a:gd name="connsiteX14" fmla="*/ 64023 w 79499"/>
                <a:gd name="connsiteY14" fmla="*/ 66630 h 158836"/>
                <a:gd name="connsiteX15" fmla="*/ 59625 w 79499"/>
                <a:gd name="connsiteY15" fmla="*/ 62068 h 158836"/>
                <a:gd name="connsiteX16" fmla="*/ 65164 w 79499"/>
                <a:gd name="connsiteY16" fmla="*/ 56692 h 158836"/>
                <a:gd name="connsiteX17" fmla="*/ 65815 w 79499"/>
                <a:gd name="connsiteY17" fmla="*/ 40401 h 158836"/>
                <a:gd name="connsiteX18" fmla="*/ 64675 w 79499"/>
                <a:gd name="connsiteY18" fmla="*/ 33722 h 158836"/>
                <a:gd name="connsiteX19" fmla="*/ 74287 w 79499"/>
                <a:gd name="connsiteY19" fmla="*/ 24436 h 158836"/>
                <a:gd name="connsiteX20" fmla="*/ 78034 w 79499"/>
                <a:gd name="connsiteY20" fmla="*/ 24436 h 158836"/>
                <a:gd name="connsiteX21" fmla="*/ 79500 w 79499"/>
                <a:gd name="connsiteY21" fmla="*/ 19386 h 158836"/>
                <a:gd name="connsiteX22" fmla="*/ 74287 w 79499"/>
                <a:gd name="connsiteY22" fmla="*/ 11892 h 158836"/>
                <a:gd name="connsiteX23" fmla="*/ 73635 w 79499"/>
                <a:gd name="connsiteY23" fmla="*/ 5702 h 158836"/>
                <a:gd name="connsiteX24" fmla="*/ 61417 w 79499"/>
                <a:gd name="connsiteY24" fmla="*/ 4236 h 158836"/>
                <a:gd name="connsiteX25" fmla="*/ 56692 w 79499"/>
                <a:gd name="connsiteY25" fmla="*/ 8960 h 158836"/>
                <a:gd name="connsiteX26" fmla="*/ 42519 w 79499"/>
                <a:gd name="connsiteY26" fmla="*/ 6028 h 158836"/>
                <a:gd name="connsiteX27" fmla="*/ 34048 w 79499"/>
                <a:gd name="connsiteY27" fmla="*/ 10426 h 158836"/>
                <a:gd name="connsiteX28" fmla="*/ 31930 w 79499"/>
                <a:gd name="connsiteY28" fmla="*/ 6842 h 158836"/>
                <a:gd name="connsiteX29" fmla="*/ 32582 w 79499"/>
                <a:gd name="connsiteY29" fmla="*/ 1303 h 158836"/>
                <a:gd name="connsiteX30" fmla="*/ 28346 w 79499"/>
                <a:gd name="connsiteY30" fmla="*/ 0 h 158836"/>
                <a:gd name="connsiteX31" fmla="*/ 16943 w 79499"/>
                <a:gd name="connsiteY31" fmla="*/ 1792 h 158836"/>
                <a:gd name="connsiteX32" fmla="*/ 17431 w 79499"/>
                <a:gd name="connsiteY32" fmla="*/ 7168 h 158836"/>
                <a:gd name="connsiteX33" fmla="*/ 21341 w 79499"/>
                <a:gd name="connsiteY33" fmla="*/ 15965 h 158836"/>
                <a:gd name="connsiteX34" fmla="*/ 19549 w 79499"/>
                <a:gd name="connsiteY34" fmla="*/ 31930 h 158836"/>
                <a:gd name="connsiteX35" fmla="*/ 20527 w 79499"/>
                <a:gd name="connsiteY35" fmla="*/ 34537 h 158836"/>
                <a:gd name="connsiteX36" fmla="*/ 18572 w 79499"/>
                <a:gd name="connsiteY36" fmla="*/ 41705 h 158836"/>
                <a:gd name="connsiteX37" fmla="*/ 22319 w 79499"/>
                <a:gd name="connsiteY37" fmla="*/ 45940 h 158836"/>
                <a:gd name="connsiteX38" fmla="*/ 19549 w 79499"/>
                <a:gd name="connsiteY38" fmla="*/ 49524 h 158836"/>
                <a:gd name="connsiteX39" fmla="*/ 16454 w 79499"/>
                <a:gd name="connsiteY39" fmla="*/ 56204 h 158836"/>
                <a:gd name="connsiteX40" fmla="*/ 16128 w 79499"/>
                <a:gd name="connsiteY40" fmla="*/ 64512 h 158836"/>
                <a:gd name="connsiteX41" fmla="*/ 10263 w 79499"/>
                <a:gd name="connsiteY41" fmla="*/ 72820 h 158836"/>
                <a:gd name="connsiteX42" fmla="*/ 10263 w 79499"/>
                <a:gd name="connsiteY42" fmla="*/ 77545 h 158836"/>
                <a:gd name="connsiteX43" fmla="*/ 3584 w 79499"/>
                <a:gd name="connsiteY43" fmla="*/ 87319 h 158836"/>
                <a:gd name="connsiteX44" fmla="*/ 0 w 79499"/>
                <a:gd name="connsiteY44" fmla="*/ 102144 h 158836"/>
                <a:gd name="connsiteX45" fmla="*/ 163 w 79499"/>
                <a:gd name="connsiteY45" fmla="*/ 105891 h 158836"/>
                <a:gd name="connsiteX46" fmla="*/ 5376 w 79499"/>
                <a:gd name="connsiteY46" fmla="*/ 105891 h 158836"/>
                <a:gd name="connsiteX47" fmla="*/ 7983 w 79499"/>
                <a:gd name="connsiteY47" fmla="*/ 102144 h 158836"/>
                <a:gd name="connsiteX48" fmla="*/ 13196 w 79499"/>
                <a:gd name="connsiteY48" fmla="*/ 98886 h 158836"/>
                <a:gd name="connsiteX49" fmla="*/ 12381 w 79499"/>
                <a:gd name="connsiteY49" fmla="*/ 102144 h 158836"/>
                <a:gd name="connsiteX50" fmla="*/ 13684 w 79499"/>
                <a:gd name="connsiteY50" fmla="*/ 104914 h 158836"/>
                <a:gd name="connsiteX51" fmla="*/ 6191 w 79499"/>
                <a:gd name="connsiteY51" fmla="*/ 108498 h 158836"/>
                <a:gd name="connsiteX52" fmla="*/ 5865 w 79499"/>
                <a:gd name="connsiteY52" fmla="*/ 114036 h 158836"/>
                <a:gd name="connsiteX53" fmla="*/ 8145 w 79499"/>
                <a:gd name="connsiteY53" fmla="*/ 116480 h 158836"/>
                <a:gd name="connsiteX54" fmla="*/ 12055 w 79499"/>
                <a:gd name="connsiteY54" fmla="*/ 112733 h 158836"/>
                <a:gd name="connsiteX55" fmla="*/ 18572 w 79499"/>
                <a:gd name="connsiteY55" fmla="*/ 113059 h 158836"/>
                <a:gd name="connsiteX56" fmla="*/ 15965 w 79499"/>
                <a:gd name="connsiteY56" fmla="*/ 116480 h 158836"/>
                <a:gd name="connsiteX57" fmla="*/ 17594 w 79499"/>
                <a:gd name="connsiteY57" fmla="*/ 123322 h 158836"/>
                <a:gd name="connsiteX58" fmla="*/ 15151 w 79499"/>
                <a:gd name="connsiteY58" fmla="*/ 129187 h 158836"/>
                <a:gd name="connsiteX59" fmla="*/ 15476 w 79499"/>
                <a:gd name="connsiteY59" fmla="*/ 142708 h 158836"/>
                <a:gd name="connsiteX60" fmla="*/ 13033 w 79499"/>
                <a:gd name="connsiteY60" fmla="*/ 152483 h 158836"/>
                <a:gd name="connsiteX61" fmla="*/ 11078 w 79499"/>
                <a:gd name="connsiteY61" fmla="*/ 155415 h 158836"/>
                <a:gd name="connsiteX62" fmla="*/ 13033 w 79499"/>
                <a:gd name="connsiteY62" fmla="*/ 156881 h 158836"/>
                <a:gd name="connsiteX63" fmla="*/ 20527 w 79499"/>
                <a:gd name="connsiteY63" fmla="*/ 151668 h 158836"/>
                <a:gd name="connsiteX64" fmla="*/ 31116 w 79499"/>
                <a:gd name="connsiteY64" fmla="*/ 155904 h 158836"/>
                <a:gd name="connsiteX65" fmla="*/ 36003 w 79499"/>
                <a:gd name="connsiteY65" fmla="*/ 158836 h 158836"/>
                <a:gd name="connsiteX66" fmla="*/ 43497 w 79499"/>
                <a:gd name="connsiteY66" fmla="*/ 154601 h 158836"/>
                <a:gd name="connsiteX67" fmla="*/ 50339 w 79499"/>
                <a:gd name="connsiteY67" fmla="*/ 153949 h 158836"/>
                <a:gd name="connsiteX68" fmla="*/ 51479 w 79499"/>
                <a:gd name="connsiteY68" fmla="*/ 151831 h 158836"/>
                <a:gd name="connsiteX69" fmla="*/ 51642 w 79499"/>
                <a:gd name="connsiteY69" fmla="*/ 151994 h 1588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</a:cxnLst>
              <a:rect l="l" t="t" r="r" b="b"/>
              <a:pathLst>
                <a:path w="79499" h="158836">
                  <a:moveTo>
                    <a:pt x="51642" y="151994"/>
                  </a:moveTo>
                  <a:lnTo>
                    <a:pt x="51479" y="145966"/>
                  </a:lnTo>
                  <a:lnTo>
                    <a:pt x="47733" y="140102"/>
                  </a:lnTo>
                  <a:lnTo>
                    <a:pt x="53597" y="129024"/>
                  </a:lnTo>
                  <a:lnTo>
                    <a:pt x="59951" y="123811"/>
                  </a:lnTo>
                  <a:lnTo>
                    <a:pt x="60602" y="118924"/>
                  </a:lnTo>
                  <a:lnTo>
                    <a:pt x="55063" y="118598"/>
                  </a:lnTo>
                  <a:lnTo>
                    <a:pt x="51479" y="111267"/>
                  </a:lnTo>
                  <a:lnTo>
                    <a:pt x="59625" y="103122"/>
                  </a:lnTo>
                  <a:lnTo>
                    <a:pt x="59136" y="92858"/>
                  </a:lnTo>
                  <a:lnTo>
                    <a:pt x="53271" y="89111"/>
                  </a:lnTo>
                  <a:lnTo>
                    <a:pt x="46592" y="76567"/>
                  </a:lnTo>
                  <a:lnTo>
                    <a:pt x="52945" y="75101"/>
                  </a:lnTo>
                  <a:lnTo>
                    <a:pt x="57344" y="75753"/>
                  </a:lnTo>
                  <a:lnTo>
                    <a:pt x="64023" y="66630"/>
                  </a:lnTo>
                  <a:lnTo>
                    <a:pt x="59625" y="62068"/>
                  </a:lnTo>
                  <a:lnTo>
                    <a:pt x="65164" y="56692"/>
                  </a:lnTo>
                  <a:lnTo>
                    <a:pt x="65815" y="40401"/>
                  </a:lnTo>
                  <a:lnTo>
                    <a:pt x="64675" y="33722"/>
                  </a:lnTo>
                  <a:lnTo>
                    <a:pt x="74287" y="24436"/>
                  </a:lnTo>
                  <a:lnTo>
                    <a:pt x="78034" y="24436"/>
                  </a:lnTo>
                  <a:lnTo>
                    <a:pt x="79500" y="19386"/>
                  </a:lnTo>
                  <a:lnTo>
                    <a:pt x="74287" y="11892"/>
                  </a:lnTo>
                  <a:lnTo>
                    <a:pt x="73635" y="5702"/>
                  </a:lnTo>
                  <a:lnTo>
                    <a:pt x="61417" y="4236"/>
                  </a:lnTo>
                  <a:lnTo>
                    <a:pt x="56692" y="8960"/>
                  </a:lnTo>
                  <a:lnTo>
                    <a:pt x="42519" y="6028"/>
                  </a:lnTo>
                  <a:lnTo>
                    <a:pt x="34048" y="10426"/>
                  </a:lnTo>
                  <a:lnTo>
                    <a:pt x="31930" y="6842"/>
                  </a:lnTo>
                  <a:lnTo>
                    <a:pt x="32582" y="1303"/>
                  </a:lnTo>
                  <a:lnTo>
                    <a:pt x="28346" y="0"/>
                  </a:lnTo>
                  <a:lnTo>
                    <a:pt x="16943" y="1792"/>
                  </a:lnTo>
                  <a:lnTo>
                    <a:pt x="17431" y="7168"/>
                  </a:lnTo>
                  <a:lnTo>
                    <a:pt x="21341" y="15965"/>
                  </a:lnTo>
                  <a:lnTo>
                    <a:pt x="19549" y="31930"/>
                  </a:lnTo>
                  <a:lnTo>
                    <a:pt x="20527" y="34537"/>
                  </a:lnTo>
                  <a:lnTo>
                    <a:pt x="18572" y="41705"/>
                  </a:lnTo>
                  <a:lnTo>
                    <a:pt x="22319" y="45940"/>
                  </a:lnTo>
                  <a:lnTo>
                    <a:pt x="19549" y="49524"/>
                  </a:lnTo>
                  <a:lnTo>
                    <a:pt x="16454" y="56204"/>
                  </a:lnTo>
                  <a:lnTo>
                    <a:pt x="16128" y="64512"/>
                  </a:lnTo>
                  <a:lnTo>
                    <a:pt x="10263" y="72820"/>
                  </a:lnTo>
                  <a:lnTo>
                    <a:pt x="10263" y="77545"/>
                  </a:lnTo>
                  <a:lnTo>
                    <a:pt x="3584" y="87319"/>
                  </a:lnTo>
                  <a:lnTo>
                    <a:pt x="0" y="102144"/>
                  </a:lnTo>
                  <a:lnTo>
                    <a:pt x="163" y="105891"/>
                  </a:lnTo>
                  <a:lnTo>
                    <a:pt x="5376" y="105891"/>
                  </a:lnTo>
                  <a:lnTo>
                    <a:pt x="7983" y="102144"/>
                  </a:lnTo>
                  <a:lnTo>
                    <a:pt x="13196" y="98886"/>
                  </a:lnTo>
                  <a:lnTo>
                    <a:pt x="12381" y="102144"/>
                  </a:lnTo>
                  <a:lnTo>
                    <a:pt x="13684" y="104914"/>
                  </a:lnTo>
                  <a:lnTo>
                    <a:pt x="6191" y="108498"/>
                  </a:lnTo>
                  <a:lnTo>
                    <a:pt x="5865" y="114036"/>
                  </a:lnTo>
                  <a:lnTo>
                    <a:pt x="8145" y="116480"/>
                  </a:lnTo>
                  <a:lnTo>
                    <a:pt x="12055" y="112733"/>
                  </a:lnTo>
                  <a:lnTo>
                    <a:pt x="18572" y="113059"/>
                  </a:lnTo>
                  <a:lnTo>
                    <a:pt x="15965" y="116480"/>
                  </a:lnTo>
                  <a:lnTo>
                    <a:pt x="17594" y="123322"/>
                  </a:lnTo>
                  <a:lnTo>
                    <a:pt x="15151" y="129187"/>
                  </a:lnTo>
                  <a:lnTo>
                    <a:pt x="15476" y="142708"/>
                  </a:lnTo>
                  <a:lnTo>
                    <a:pt x="13033" y="152483"/>
                  </a:lnTo>
                  <a:lnTo>
                    <a:pt x="11078" y="155415"/>
                  </a:lnTo>
                  <a:lnTo>
                    <a:pt x="13033" y="156881"/>
                  </a:lnTo>
                  <a:lnTo>
                    <a:pt x="20527" y="151668"/>
                  </a:lnTo>
                  <a:lnTo>
                    <a:pt x="31116" y="155904"/>
                  </a:lnTo>
                  <a:lnTo>
                    <a:pt x="36003" y="158836"/>
                  </a:lnTo>
                  <a:lnTo>
                    <a:pt x="43497" y="154601"/>
                  </a:lnTo>
                  <a:lnTo>
                    <a:pt x="50339" y="153949"/>
                  </a:lnTo>
                  <a:lnTo>
                    <a:pt x="51479" y="151831"/>
                  </a:lnTo>
                  <a:lnTo>
                    <a:pt x="51642" y="151994"/>
                  </a:lnTo>
                  <a:close/>
                </a:path>
              </a:pathLst>
            </a:custGeom>
            <a:solidFill>
              <a:schemeClr val="tx1"/>
            </a:solidFill>
            <a:ln w="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r>
                <a:rPr lang="pt-PT" dirty="0"/>
                <a:t> </a:t>
              </a:r>
            </a:p>
          </p:txBody>
        </p:sp>
        <p:sp>
          <p:nvSpPr>
            <p:cNvPr id="186" name="Forma livre: Forma 185">
              <a:extLst>
                <a:ext uri="{FF2B5EF4-FFF2-40B4-BE49-F238E27FC236}">
                  <a16:creationId xmlns:a16="http://schemas.microsoft.com/office/drawing/2014/main" id="{9D072EDF-43B6-644B-D8B8-ED7276338332}"/>
                </a:ext>
              </a:extLst>
            </p:cNvPr>
            <p:cNvSpPr/>
            <p:nvPr/>
          </p:nvSpPr>
          <p:spPr>
            <a:xfrm>
              <a:off x="6471727" y="3773196"/>
              <a:ext cx="228619" cy="221717"/>
            </a:xfrm>
            <a:custGeom>
              <a:avLst/>
              <a:gdLst>
                <a:gd name="connsiteX0" fmla="*/ 166004 w 221230"/>
                <a:gd name="connsiteY0" fmla="*/ 326 h 214551"/>
                <a:gd name="connsiteX1" fmla="*/ 162909 w 221230"/>
                <a:gd name="connsiteY1" fmla="*/ 326 h 214551"/>
                <a:gd name="connsiteX2" fmla="*/ 156881 w 221230"/>
                <a:gd name="connsiteY2" fmla="*/ 4887 h 214551"/>
                <a:gd name="connsiteX3" fmla="*/ 156555 w 221230"/>
                <a:gd name="connsiteY3" fmla="*/ 10752 h 214551"/>
                <a:gd name="connsiteX4" fmla="*/ 158510 w 221230"/>
                <a:gd name="connsiteY4" fmla="*/ 15151 h 214551"/>
                <a:gd name="connsiteX5" fmla="*/ 155252 w 221230"/>
                <a:gd name="connsiteY5" fmla="*/ 17920 h 214551"/>
                <a:gd name="connsiteX6" fmla="*/ 144337 w 221230"/>
                <a:gd name="connsiteY6" fmla="*/ 17269 h 214551"/>
                <a:gd name="connsiteX7" fmla="*/ 139450 w 221230"/>
                <a:gd name="connsiteY7" fmla="*/ 19712 h 214551"/>
                <a:gd name="connsiteX8" fmla="*/ 135051 w 221230"/>
                <a:gd name="connsiteY8" fmla="*/ 17106 h 214551"/>
                <a:gd name="connsiteX9" fmla="*/ 130001 w 221230"/>
                <a:gd name="connsiteY9" fmla="*/ 17106 h 214551"/>
                <a:gd name="connsiteX10" fmla="*/ 126580 w 221230"/>
                <a:gd name="connsiteY10" fmla="*/ 19875 h 214551"/>
                <a:gd name="connsiteX11" fmla="*/ 121856 w 221230"/>
                <a:gd name="connsiteY11" fmla="*/ 19549 h 214551"/>
                <a:gd name="connsiteX12" fmla="*/ 121204 w 221230"/>
                <a:gd name="connsiteY12" fmla="*/ 15313 h 214551"/>
                <a:gd name="connsiteX13" fmla="*/ 114525 w 221230"/>
                <a:gd name="connsiteY13" fmla="*/ 15313 h 214551"/>
                <a:gd name="connsiteX14" fmla="*/ 108334 w 221230"/>
                <a:gd name="connsiteY14" fmla="*/ 14336 h 214551"/>
                <a:gd name="connsiteX15" fmla="*/ 103936 w 221230"/>
                <a:gd name="connsiteY15" fmla="*/ 18572 h 214551"/>
                <a:gd name="connsiteX16" fmla="*/ 97419 w 221230"/>
                <a:gd name="connsiteY16" fmla="*/ 20201 h 214551"/>
                <a:gd name="connsiteX17" fmla="*/ 88948 w 221230"/>
                <a:gd name="connsiteY17" fmla="*/ 20201 h 214551"/>
                <a:gd name="connsiteX18" fmla="*/ 86342 w 221230"/>
                <a:gd name="connsiteY18" fmla="*/ 18735 h 214551"/>
                <a:gd name="connsiteX19" fmla="*/ 83083 w 221230"/>
                <a:gd name="connsiteY19" fmla="*/ 21667 h 214551"/>
                <a:gd name="connsiteX20" fmla="*/ 78522 w 221230"/>
                <a:gd name="connsiteY20" fmla="*/ 21667 h 214551"/>
                <a:gd name="connsiteX21" fmla="*/ 72657 w 221230"/>
                <a:gd name="connsiteY21" fmla="*/ 25577 h 214551"/>
                <a:gd name="connsiteX22" fmla="*/ 59950 w 221230"/>
                <a:gd name="connsiteY22" fmla="*/ 25088 h 214551"/>
                <a:gd name="connsiteX23" fmla="*/ 54574 w 221230"/>
                <a:gd name="connsiteY23" fmla="*/ 28020 h 214551"/>
                <a:gd name="connsiteX24" fmla="*/ 54249 w 221230"/>
                <a:gd name="connsiteY24" fmla="*/ 30301 h 214551"/>
                <a:gd name="connsiteX25" fmla="*/ 47080 w 221230"/>
                <a:gd name="connsiteY25" fmla="*/ 32908 h 214551"/>
                <a:gd name="connsiteX26" fmla="*/ 36980 w 221230"/>
                <a:gd name="connsiteY26" fmla="*/ 39098 h 214551"/>
                <a:gd name="connsiteX27" fmla="*/ 35840 w 221230"/>
                <a:gd name="connsiteY27" fmla="*/ 46266 h 214551"/>
                <a:gd name="connsiteX28" fmla="*/ 31767 w 221230"/>
                <a:gd name="connsiteY28" fmla="*/ 53597 h 214551"/>
                <a:gd name="connsiteX29" fmla="*/ 21667 w 221230"/>
                <a:gd name="connsiteY29" fmla="*/ 56855 h 214551"/>
                <a:gd name="connsiteX30" fmla="*/ 21341 w 221230"/>
                <a:gd name="connsiteY30" fmla="*/ 62720 h 214551"/>
                <a:gd name="connsiteX31" fmla="*/ 17920 w 221230"/>
                <a:gd name="connsiteY31" fmla="*/ 70214 h 214551"/>
                <a:gd name="connsiteX32" fmla="*/ 14499 w 221230"/>
                <a:gd name="connsiteY32" fmla="*/ 72006 h 214551"/>
                <a:gd name="connsiteX33" fmla="*/ 14987 w 221230"/>
                <a:gd name="connsiteY33" fmla="*/ 72332 h 214551"/>
                <a:gd name="connsiteX34" fmla="*/ 15314 w 221230"/>
                <a:gd name="connsiteY34" fmla="*/ 79663 h 214551"/>
                <a:gd name="connsiteX35" fmla="*/ 24599 w 221230"/>
                <a:gd name="connsiteY35" fmla="*/ 86668 h 214551"/>
                <a:gd name="connsiteX36" fmla="*/ 29812 w 221230"/>
                <a:gd name="connsiteY36" fmla="*/ 94325 h 214551"/>
                <a:gd name="connsiteX37" fmla="*/ 32256 w 221230"/>
                <a:gd name="connsiteY37" fmla="*/ 94976 h 214551"/>
                <a:gd name="connsiteX38" fmla="*/ 31604 w 221230"/>
                <a:gd name="connsiteY38" fmla="*/ 97257 h 214551"/>
                <a:gd name="connsiteX39" fmla="*/ 38772 w 221230"/>
                <a:gd name="connsiteY39" fmla="*/ 107357 h 214551"/>
                <a:gd name="connsiteX40" fmla="*/ 40564 w 221230"/>
                <a:gd name="connsiteY40" fmla="*/ 114362 h 214551"/>
                <a:gd name="connsiteX41" fmla="*/ 43823 w 221230"/>
                <a:gd name="connsiteY41" fmla="*/ 115666 h 214551"/>
                <a:gd name="connsiteX42" fmla="*/ 48058 w 221230"/>
                <a:gd name="connsiteY42" fmla="*/ 110452 h 214551"/>
                <a:gd name="connsiteX43" fmla="*/ 51968 w 221230"/>
                <a:gd name="connsiteY43" fmla="*/ 115340 h 214551"/>
                <a:gd name="connsiteX44" fmla="*/ 57996 w 221230"/>
                <a:gd name="connsiteY44" fmla="*/ 116154 h 214551"/>
                <a:gd name="connsiteX45" fmla="*/ 60439 w 221230"/>
                <a:gd name="connsiteY45" fmla="*/ 112244 h 214551"/>
                <a:gd name="connsiteX46" fmla="*/ 64675 w 221230"/>
                <a:gd name="connsiteY46" fmla="*/ 112570 h 214551"/>
                <a:gd name="connsiteX47" fmla="*/ 71517 w 221230"/>
                <a:gd name="connsiteY47" fmla="*/ 116643 h 214551"/>
                <a:gd name="connsiteX48" fmla="*/ 75590 w 221230"/>
                <a:gd name="connsiteY48" fmla="*/ 114688 h 214551"/>
                <a:gd name="connsiteX49" fmla="*/ 76404 w 221230"/>
                <a:gd name="connsiteY49" fmla="*/ 118109 h 214551"/>
                <a:gd name="connsiteX50" fmla="*/ 79662 w 221230"/>
                <a:gd name="connsiteY50" fmla="*/ 118109 h 214551"/>
                <a:gd name="connsiteX51" fmla="*/ 82432 w 221230"/>
                <a:gd name="connsiteY51" fmla="*/ 120064 h 214551"/>
                <a:gd name="connsiteX52" fmla="*/ 87808 w 221230"/>
                <a:gd name="connsiteY52" fmla="*/ 121042 h 214551"/>
                <a:gd name="connsiteX53" fmla="*/ 83898 w 221230"/>
                <a:gd name="connsiteY53" fmla="*/ 123322 h 214551"/>
                <a:gd name="connsiteX54" fmla="*/ 80477 w 221230"/>
                <a:gd name="connsiteY54" fmla="*/ 126743 h 214551"/>
                <a:gd name="connsiteX55" fmla="*/ 77056 w 221230"/>
                <a:gd name="connsiteY55" fmla="*/ 123811 h 214551"/>
                <a:gd name="connsiteX56" fmla="*/ 72332 w 221230"/>
                <a:gd name="connsiteY56" fmla="*/ 122671 h 214551"/>
                <a:gd name="connsiteX57" fmla="*/ 62231 w 221230"/>
                <a:gd name="connsiteY57" fmla="*/ 116154 h 214551"/>
                <a:gd name="connsiteX58" fmla="*/ 57833 w 221230"/>
                <a:gd name="connsiteY58" fmla="*/ 117620 h 214551"/>
                <a:gd name="connsiteX59" fmla="*/ 53597 w 221230"/>
                <a:gd name="connsiteY59" fmla="*/ 120064 h 214551"/>
                <a:gd name="connsiteX60" fmla="*/ 49198 w 221230"/>
                <a:gd name="connsiteY60" fmla="*/ 117946 h 214551"/>
                <a:gd name="connsiteX61" fmla="*/ 45451 w 221230"/>
                <a:gd name="connsiteY61" fmla="*/ 122508 h 214551"/>
                <a:gd name="connsiteX62" fmla="*/ 42682 w 221230"/>
                <a:gd name="connsiteY62" fmla="*/ 123322 h 214551"/>
                <a:gd name="connsiteX63" fmla="*/ 40890 w 221230"/>
                <a:gd name="connsiteY63" fmla="*/ 127721 h 214551"/>
                <a:gd name="connsiteX64" fmla="*/ 46266 w 221230"/>
                <a:gd name="connsiteY64" fmla="*/ 133911 h 214551"/>
                <a:gd name="connsiteX65" fmla="*/ 51805 w 221230"/>
                <a:gd name="connsiteY65" fmla="*/ 136681 h 214551"/>
                <a:gd name="connsiteX66" fmla="*/ 57181 w 221230"/>
                <a:gd name="connsiteY66" fmla="*/ 141731 h 214551"/>
                <a:gd name="connsiteX67" fmla="*/ 57833 w 221230"/>
                <a:gd name="connsiteY67" fmla="*/ 145478 h 214551"/>
                <a:gd name="connsiteX68" fmla="*/ 55715 w 221230"/>
                <a:gd name="connsiteY68" fmla="*/ 147922 h 214551"/>
                <a:gd name="connsiteX69" fmla="*/ 56041 w 221230"/>
                <a:gd name="connsiteY69" fmla="*/ 152809 h 214551"/>
                <a:gd name="connsiteX70" fmla="*/ 60765 w 221230"/>
                <a:gd name="connsiteY70" fmla="*/ 158836 h 214551"/>
                <a:gd name="connsiteX71" fmla="*/ 63860 w 221230"/>
                <a:gd name="connsiteY71" fmla="*/ 162258 h 214551"/>
                <a:gd name="connsiteX72" fmla="*/ 65164 w 221230"/>
                <a:gd name="connsiteY72" fmla="*/ 158999 h 214551"/>
                <a:gd name="connsiteX73" fmla="*/ 64023 w 221230"/>
                <a:gd name="connsiteY73" fmla="*/ 156556 h 214551"/>
                <a:gd name="connsiteX74" fmla="*/ 65978 w 221230"/>
                <a:gd name="connsiteY74" fmla="*/ 152157 h 214551"/>
                <a:gd name="connsiteX75" fmla="*/ 67770 w 221230"/>
                <a:gd name="connsiteY75" fmla="*/ 157696 h 214551"/>
                <a:gd name="connsiteX76" fmla="*/ 74612 w 221230"/>
                <a:gd name="connsiteY76" fmla="*/ 160628 h 214551"/>
                <a:gd name="connsiteX77" fmla="*/ 76241 w 221230"/>
                <a:gd name="connsiteY77" fmla="*/ 164376 h 214551"/>
                <a:gd name="connsiteX78" fmla="*/ 75264 w 221230"/>
                <a:gd name="connsiteY78" fmla="*/ 168611 h 214551"/>
                <a:gd name="connsiteX79" fmla="*/ 78196 w 221230"/>
                <a:gd name="connsiteY79" fmla="*/ 172032 h 214551"/>
                <a:gd name="connsiteX80" fmla="*/ 78196 w 221230"/>
                <a:gd name="connsiteY80" fmla="*/ 164864 h 214551"/>
                <a:gd name="connsiteX81" fmla="*/ 80640 w 221230"/>
                <a:gd name="connsiteY81" fmla="*/ 158999 h 214551"/>
                <a:gd name="connsiteX82" fmla="*/ 84876 w 221230"/>
                <a:gd name="connsiteY82" fmla="*/ 158999 h 214551"/>
                <a:gd name="connsiteX83" fmla="*/ 86830 w 221230"/>
                <a:gd name="connsiteY83" fmla="*/ 163561 h 214551"/>
                <a:gd name="connsiteX84" fmla="*/ 94324 w 221230"/>
                <a:gd name="connsiteY84" fmla="*/ 168611 h 214551"/>
                <a:gd name="connsiteX85" fmla="*/ 91229 w 221230"/>
                <a:gd name="connsiteY85" fmla="*/ 163398 h 214551"/>
                <a:gd name="connsiteX86" fmla="*/ 92044 w 221230"/>
                <a:gd name="connsiteY86" fmla="*/ 159977 h 214551"/>
                <a:gd name="connsiteX87" fmla="*/ 89274 w 221230"/>
                <a:gd name="connsiteY87" fmla="*/ 154927 h 214551"/>
                <a:gd name="connsiteX88" fmla="*/ 85853 w 221230"/>
                <a:gd name="connsiteY88" fmla="*/ 146618 h 214551"/>
                <a:gd name="connsiteX89" fmla="*/ 82758 w 221230"/>
                <a:gd name="connsiteY89" fmla="*/ 141731 h 214551"/>
                <a:gd name="connsiteX90" fmla="*/ 82758 w 221230"/>
                <a:gd name="connsiteY90" fmla="*/ 139776 h 214551"/>
                <a:gd name="connsiteX91" fmla="*/ 86016 w 221230"/>
                <a:gd name="connsiteY91" fmla="*/ 139450 h 214551"/>
                <a:gd name="connsiteX92" fmla="*/ 91555 w 221230"/>
                <a:gd name="connsiteY92" fmla="*/ 142383 h 214551"/>
                <a:gd name="connsiteX93" fmla="*/ 89763 w 221230"/>
                <a:gd name="connsiteY93" fmla="*/ 144501 h 214551"/>
                <a:gd name="connsiteX94" fmla="*/ 91555 w 221230"/>
                <a:gd name="connsiteY94" fmla="*/ 146455 h 214551"/>
                <a:gd name="connsiteX95" fmla="*/ 94487 w 221230"/>
                <a:gd name="connsiteY95" fmla="*/ 143360 h 214551"/>
                <a:gd name="connsiteX96" fmla="*/ 100352 w 221230"/>
                <a:gd name="connsiteY96" fmla="*/ 145315 h 214551"/>
                <a:gd name="connsiteX97" fmla="*/ 100352 w 221230"/>
                <a:gd name="connsiteY97" fmla="*/ 143360 h 214551"/>
                <a:gd name="connsiteX98" fmla="*/ 98234 w 221230"/>
                <a:gd name="connsiteY98" fmla="*/ 141568 h 214551"/>
                <a:gd name="connsiteX99" fmla="*/ 97745 w 221230"/>
                <a:gd name="connsiteY99" fmla="*/ 139450 h 214551"/>
                <a:gd name="connsiteX100" fmla="*/ 95790 w 221230"/>
                <a:gd name="connsiteY100" fmla="*/ 138961 h 214551"/>
                <a:gd name="connsiteX101" fmla="*/ 91555 w 221230"/>
                <a:gd name="connsiteY101" fmla="*/ 136192 h 214551"/>
                <a:gd name="connsiteX102" fmla="*/ 91881 w 221230"/>
                <a:gd name="connsiteY102" fmla="*/ 133749 h 214551"/>
                <a:gd name="connsiteX103" fmla="*/ 86830 w 221230"/>
                <a:gd name="connsiteY103" fmla="*/ 129839 h 214551"/>
                <a:gd name="connsiteX104" fmla="*/ 91717 w 221230"/>
                <a:gd name="connsiteY104" fmla="*/ 127721 h 214551"/>
                <a:gd name="connsiteX105" fmla="*/ 96116 w 221230"/>
                <a:gd name="connsiteY105" fmla="*/ 127721 h 214551"/>
                <a:gd name="connsiteX106" fmla="*/ 98885 w 221230"/>
                <a:gd name="connsiteY106" fmla="*/ 125603 h 214551"/>
                <a:gd name="connsiteX107" fmla="*/ 105891 w 221230"/>
                <a:gd name="connsiteY107" fmla="*/ 130490 h 214551"/>
                <a:gd name="connsiteX108" fmla="*/ 106705 w 221230"/>
                <a:gd name="connsiteY108" fmla="*/ 132608 h 214551"/>
                <a:gd name="connsiteX109" fmla="*/ 111592 w 221230"/>
                <a:gd name="connsiteY109" fmla="*/ 133260 h 214551"/>
                <a:gd name="connsiteX110" fmla="*/ 112896 w 221230"/>
                <a:gd name="connsiteY110" fmla="*/ 130327 h 214551"/>
                <a:gd name="connsiteX111" fmla="*/ 108660 w 221230"/>
                <a:gd name="connsiteY111" fmla="*/ 124137 h 214551"/>
                <a:gd name="connsiteX112" fmla="*/ 109801 w 221230"/>
                <a:gd name="connsiteY112" fmla="*/ 118272 h 214551"/>
                <a:gd name="connsiteX113" fmla="*/ 108008 w 221230"/>
                <a:gd name="connsiteY113" fmla="*/ 115014 h 214551"/>
                <a:gd name="connsiteX114" fmla="*/ 96279 w 221230"/>
                <a:gd name="connsiteY114" fmla="*/ 107683 h 214551"/>
                <a:gd name="connsiteX115" fmla="*/ 92532 w 221230"/>
                <a:gd name="connsiteY115" fmla="*/ 106706 h 214551"/>
                <a:gd name="connsiteX116" fmla="*/ 90740 w 221230"/>
                <a:gd name="connsiteY116" fmla="*/ 103773 h 214551"/>
                <a:gd name="connsiteX117" fmla="*/ 87482 w 221230"/>
                <a:gd name="connsiteY117" fmla="*/ 103773 h 214551"/>
                <a:gd name="connsiteX118" fmla="*/ 85364 w 221230"/>
                <a:gd name="connsiteY118" fmla="*/ 101330 h 214551"/>
                <a:gd name="connsiteX119" fmla="*/ 80314 w 221230"/>
                <a:gd name="connsiteY119" fmla="*/ 100678 h 214551"/>
                <a:gd name="connsiteX120" fmla="*/ 75264 w 221230"/>
                <a:gd name="connsiteY120" fmla="*/ 96279 h 214551"/>
                <a:gd name="connsiteX121" fmla="*/ 80640 w 221230"/>
                <a:gd name="connsiteY121" fmla="*/ 95465 h 214551"/>
                <a:gd name="connsiteX122" fmla="*/ 83735 w 221230"/>
                <a:gd name="connsiteY122" fmla="*/ 91718 h 214551"/>
                <a:gd name="connsiteX123" fmla="*/ 83735 w 221230"/>
                <a:gd name="connsiteY123" fmla="*/ 88949 h 214551"/>
                <a:gd name="connsiteX124" fmla="*/ 78522 w 221230"/>
                <a:gd name="connsiteY124" fmla="*/ 87645 h 214551"/>
                <a:gd name="connsiteX125" fmla="*/ 81292 w 221230"/>
                <a:gd name="connsiteY125" fmla="*/ 84224 h 214551"/>
                <a:gd name="connsiteX126" fmla="*/ 81292 w 221230"/>
                <a:gd name="connsiteY126" fmla="*/ 81292 h 214551"/>
                <a:gd name="connsiteX127" fmla="*/ 85039 w 221230"/>
                <a:gd name="connsiteY127" fmla="*/ 82758 h 214551"/>
                <a:gd name="connsiteX128" fmla="*/ 88296 w 221230"/>
                <a:gd name="connsiteY128" fmla="*/ 85364 h 214551"/>
                <a:gd name="connsiteX129" fmla="*/ 86993 w 221230"/>
                <a:gd name="connsiteY129" fmla="*/ 88134 h 214551"/>
                <a:gd name="connsiteX130" fmla="*/ 87319 w 221230"/>
                <a:gd name="connsiteY130" fmla="*/ 90903 h 214551"/>
                <a:gd name="connsiteX131" fmla="*/ 90089 w 221230"/>
                <a:gd name="connsiteY131" fmla="*/ 90252 h 214551"/>
                <a:gd name="connsiteX132" fmla="*/ 91881 w 221230"/>
                <a:gd name="connsiteY132" fmla="*/ 84224 h 214551"/>
                <a:gd name="connsiteX133" fmla="*/ 88460 w 221230"/>
                <a:gd name="connsiteY133" fmla="*/ 80152 h 214551"/>
                <a:gd name="connsiteX134" fmla="*/ 80640 w 221230"/>
                <a:gd name="connsiteY134" fmla="*/ 70703 h 214551"/>
                <a:gd name="connsiteX135" fmla="*/ 77382 w 221230"/>
                <a:gd name="connsiteY135" fmla="*/ 68259 h 214551"/>
                <a:gd name="connsiteX136" fmla="*/ 76567 w 221230"/>
                <a:gd name="connsiteY136" fmla="*/ 64838 h 214551"/>
                <a:gd name="connsiteX137" fmla="*/ 70539 w 221230"/>
                <a:gd name="connsiteY137" fmla="*/ 59788 h 214551"/>
                <a:gd name="connsiteX138" fmla="*/ 72657 w 221230"/>
                <a:gd name="connsiteY138" fmla="*/ 57018 h 214551"/>
                <a:gd name="connsiteX139" fmla="*/ 71680 w 221230"/>
                <a:gd name="connsiteY139" fmla="*/ 46918 h 214551"/>
                <a:gd name="connsiteX140" fmla="*/ 74938 w 221230"/>
                <a:gd name="connsiteY140" fmla="*/ 41705 h 214551"/>
                <a:gd name="connsiteX141" fmla="*/ 81128 w 221230"/>
                <a:gd name="connsiteY141" fmla="*/ 40402 h 214551"/>
                <a:gd name="connsiteX142" fmla="*/ 81943 w 221230"/>
                <a:gd name="connsiteY142" fmla="*/ 45452 h 214551"/>
                <a:gd name="connsiteX143" fmla="*/ 79011 w 221230"/>
                <a:gd name="connsiteY143" fmla="*/ 45452 h 214551"/>
                <a:gd name="connsiteX144" fmla="*/ 79662 w 221230"/>
                <a:gd name="connsiteY144" fmla="*/ 48221 h 214551"/>
                <a:gd name="connsiteX145" fmla="*/ 87645 w 221230"/>
                <a:gd name="connsiteY145" fmla="*/ 51968 h 214551"/>
                <a:gd name="connsiteX146" fmla="*/ 88460 w 221230"/>
                <a:gd name="connsiteY146" fmla="*/ 58159 h 214551"/>
                <a:gd name="connsiteX147" fmla="*/ 93510 w 221230"/>
                <a:gd name="connsiteY147" fmla="*/ 62231 h 214551"/>
                <a:gd name="connsiteX148" fmla="*/ 99049 w 221230"/>
                <a:gd name="connsiteY148" fmla="*/ 62231 h 214551"/>
                <a:gd name="connsiteX149" fmla="*/ 94976 w 221230"/>
                <a:gd name="connsiteY149" fmla="*/ 59299 h 214551"/>
                <a:gd name="connsiteX150" fmla="*/ 92858 w 221230"/>
                <a:gd name="connsiteY150" fmla="*/ 55389 h 214551"/>
                <a:gd name="connsiteX151" fmla="*/ 93673 w 221230"/>
                <a:gd name="connsiteY151" fmla="*/ 51968 h 214551"/>
                <a:gd name="connsiteX152" fmla="*/ 98885 w 221230"/>
                <a:gd name="connsiteY152" fmla="*/ 53760 h 214551"/>
                <a:gd name="connsiteX153" fmla="*/ 102958 w 221230"/>
                <a:gd name="connsiteY153" fmla="*/ 59299 h 214551"/>
                <a:gd name="connsiteX154" fmla="*/ 106380 w 221230"/>
                <a:gd name="connsiteY154" fmla="*/ 60602 h 214551"/>
                <a:gd name="connsiteX155" fmla="*/ 108334 w 221230"/>
                <a:gd name="connsiteY155" fmla="*/ 57344 h 214551"/>
                <a:gd name="connsiteX156" fmla="*/ 104425 w 221230"/>
                <a:gd name="connsiteY156" fmla="*/ 54412 h 214551"/>
                <a:gd name="connsiteX157" fmla="*/ 101003 w 221230"/>
                <a:gd name="connsiteY157" fmla="*/ 53109 h 214551"/>
                <a:gd name="connsiteX158" fmla="*/ 101003 w 221230"/>
                <a:gd name="connsiteY158" fmla="*/ 50176 h 214551"/>
                <a:gd name="connsiteX159" fmla="*/ 110615 w 221230"/>
                <a:gd name="connsiteY159" fmla="*/ 50502 h 214551"/>
                <a:gd name="connsiteX160" fmla="*/ 114036 w 221230"/>
                <a:gd name="connsiteY160" fmla="*/ 53923 h 214551"/>
                <a:gd name="connsiteX161" fmla="*/ 115665 w 221230"/>
                <a:gd name="connsiteY161" fmla="*/ 52131 h 214551"/>
                <a:gd name="connsiteX162" fmla="*/ 110289 w 221230"/>
                <a:gd name="connsiteY162" fmla="*/ 47081 h 214551"/>
                <a:gd name="connsiteX163" fmla="*/ 104750 w 221230"/>
                <a:gd name="connsiteY163" fmla="*/ 46266 h 214551"/>
                <a:gd name="connsiteX164" fmla="*/ 100189 w 221230"/>
                <a:gd name="connsiteY164" fmla="*/ 40890 h 214551"/>
                <a:gd name="connsiteX165" fmla="*/ 102958 w 221230"/>
                <a:gd name="connsiteY165" fmla="*/ 37795 h 214551"/>
                <a:gd name="connsiteX166" fmla="*/ 108008 w 221230"/>
                <a:gd name="connsiteY166" fmla="*/ 39261 h 214551"/>
                <a:gd name="connsiteX167" fmla="*/ 112081 w 221230"/>
                <a:gd name="connsiteY167" fmla="*/ 36980 h 214551"/>
                <a:gd name="connsiteX168" fmla="*/ 114036 w 221230"/>
                <a:gd name="connsiteY168" fmla="*/ 30138 h 214551"/>
                <a:gd name="connsiteX169" fmla="*/ 117783 w 221230"/>
                <a:gd name="connsiteY169" fmla="*/ 28835 h 214551"/>
                <a:gd name="connsiteX170" fmla="*/ 123322 w 221230"/>
                <a:gd name="connsiteY170" fmla="*/ 33071 h 214551"/>
                <a:gd name="connsiteX171" fmla="*/ 127558 w 221230"/>
                <a:gd name="connsiteY171" fmla="*/ 33396 h 214551"/>
                <a:gd name="connsiteX172" fmla="*/ 132282 w 221230"/>
                <a:gd name="connsiteY172" fmla="*/ 28509 h 214551"/>
                <a:gd name="connsiteX173" fmla="*/ 132282 w 221230"/>
                <a:gd name="connsiteY173" fmla="*/ 26066 h 214551"/>
                <a:gd name="connsiteX174" fmla="*/ 134563 w 221230"/>
                <a:gd name="connsiteY174" fmla="*/ 26066 h 214551"/>
                <a:gd name="connsiteX175" fmla="*/ 137984 w 221230"/>
                <a:gd name="connsiteY175" fmla="*/ 30138 h 214551"/>
                <a:gd name="connsiteX176" fmla="*/ 148410 w 221230"/>
                <a:gd name="connsiteY176" fmla="*/ 30138 h 214551"/>
                <a:gd name="connsiteX177" fmla="*/ 156230 w 221230"/>
                <a:gd name="connsiteY177" fmla="*/ 32256 h 214551"/>
                <a:gd name="connsiteX178" fmla="*/ 161769 w 221230"/>
                <a:gd name="connsiteY178" fmla="*/ 30790 h 214551"/>
                <a:gd name="connsiteX179" fmla="*/ 164701 w 221230"/>
                <a:gd name="connsiteY179" fmla="*/ 24925 h 214551"/>
                <a:gd name="connsiteX180" fmla="*/ 163560 w 221230"/>
                <a:gd name="connsiteY180" fmla="*/ 19386 h 214551"/>
                <a:gd name="connsiteX181" fmla="*/ 170240 w 221230"/>
                <a:gd name="connsiteY181" fmla="*/ 15313 h 214551"/>
                <a:gd name="connsiteX182" fmla="*/ 170566 w 221230"/>
                <a:gd name="connsiteY182" fmla="*/ 8960 h 214551"/>
                <a:gd name="connsiteX183" fmla="*/ 165353 w 221230"/>
                <a:gd name="connsiteY183" fmla="*/ 6679 h 214551"/>
                <a:gd name="connsiteX184" fmla="*/ 166493 w 221230"/>
                <a:gd name="connsiteY184" fmla="*/ 0 h 214551"/>
                <a:gd name="connsiteX185" fmla="*/ 166493 w 221230"/>
                <a:gd name="connsiteY185" fmla="*/ 0 h 214551"/>
                <a:gd name="connsiteX186" fmla="*/ 108986 w 221230"/>
                <a:gd name="connsiteY186" fmla="*/ 198586 h 214551"/>
                <a:gd name="connsiteX187" fmla="*/ 107357 w 221230"/>
                <a:gd name="connsiteY187" fmla="*/ 195491 h 214551"/>
                <a:gd name="connsiteX188" fmla="*/ 107357 w 221230"/>
                <a:gd name="connsiteY188" fmla="*/ 199075 h 214551"/>
                <a:gd name="connsiteX189" fmla="*/ 105565 w 221230"/>
                <a:gd name="connsiteY189" fmla="*/ 202333 h 214551"/>
                <a:gd name="connsiteX190" fmla="*/ 106054 w 221230"/>
                <a:gd name="connsiteY190" fmla="*/ 206243 h 214551"/>
                <a:gd name="connsiteX191" fmla="*/ 109801 w 221230"/>
                <a:gd name="connsiteY191" fmla="*/ 207872 h 214551"/>
                <a:gd name="connsiteX192" fmla="*/ 118272 w 221230"/>
                <a:gd name="connsiteY192" fmla="*/ 206732 h 214551"/>
                <a:gd name="connsiteX193" fmla="*/ 121856 w 221230"/>
                <a:gd name="connsiteY193" fmla="*/ 207709 h 214551"/>
                <a:gd name="connsiteX194" fmla="*/ 125277 w 221230"/>
                <a:gd name="connsiteY194" fmla="*/ 206569 h 214551"/>
                <a:gd name="connsiteX195" fmla="*/ 130327 w 221230"/>
                <a:gd name="connsiteY195" fmla="*/ 208035 h 214551"/>
                <a:gd name="connsiteX196" fmla="*/ 135866 w 221230"/>
                <a:gd name="connsiteY196" fmla="*/ 211293 h 214551"/>
                <a:gd name="connsiteX197" fmla="*/ 136517 w 221230"/>
                <a:gd name="connsiteY197" fmla="*/ 214552 h 214551"/>
                <a:gd name="connsiteX198" fmla="*/ 142871 w 221230"/>
                <a:gd name="connsiteY198" fmla="*/ 214226 h 214551"/>
                <a:gd name="connsiteX199" fmla="*/ 148084 w 221230"/>
                <a:gd name="connsiteY199" fmla="*/ 210968 h 214551"/>
                <a:gd name="connsiteX200" fmla="*/ 153949 w 221230"/>
                <a:gd name="connsiteY200" fmla="*/ 211456 h 214551"/>
                <a:gd name="connsiteX201" fmla="*/ 163398 w 221230"/>
                <a:gd name="connsiteY201" fmla="*/ 211130 h 214551"/>
                <a:gd name="connsiteX202" fmla="*/ 169914 w 221230"/>
                <a:gd name="connsiteY202" fmla="*/ 211130 h 214551"/>
                <a:gd name="connsiteX203" fmla="*/ 173661 w 221230"/>
                <a:gd name="connsiteY203" fmla="*/ 209012 h 214551"/>
                <a:gd name="connsiteX204" fmla="*/ 175290 w 221230"/>
                <a:gd name="connsiteY204" fmla="*/ 205428 h 214551"/>
                <a:gd name="connsiteX205" fmla="*/ 174476 w 221230"/>
                <a:gd name="connsiteY205" fmla="*/ 201844 h 214551"/>
                <a:gd name="connsiteX206" fmla="*/ 174476 w 221230"/>
                <a:gd name="connsiteY206" fmla="*/ 199564 h 214551"/>
                <a:gd name="connsiteX207" fmla="*/ 173172 w 221230"/>
                <a:gd name="connsiteY207" fmla="*/ 201519 h 214551"/>
                <a:gd name="connsiteX208" fmla="*/ 173172 w 221230"/>
                <a:gd name="connsiteY208" fmla="*/ 204125 h 214551"/>
                <a:gd name="connsiteX209" fmla="*/ 169914 w 221230"/>
                <a:gd name="connsiteY209" fmla="*/ 206732 h 214551"/>
                <a:gd name="connsiteX210" fmla="*/ 167633 w 221230"/>
                <a:gd name="connsiteY210" fmla="*/ 204777 h 214551"/>
                <a:gd name="connsiteX211" fmla="*/ 165027 w 221230"/>
                <a:gd name="connsiteY211" fmla="*/ 205754 h 214551"/>
                <a:gd name="connsiteX212" fmla="*/ 162257 w 221230"/>
                <a:gd name="connsiteY212" fmla="*/ 205428 h 214551"/>
                <a:gd name="connsiteX213" fmla="*/ 162746 w 221230"/>
                <a:gd name="connsiteY213" fmla="*/ 202985 h 214551"/>
                <a:gd name="connsiteX214" fmla="*/ 161443 w 221230"/>
                <a:gd name="connsiteY214" fmla="*/ 199727 h 214551"/>
                <a:gd name="connsiteX215" fmla="*/ 158999 w 221230"/>
                <a:gd name="connsiteY215" fmla="*/ 199727 h 214551"/>
                <a:gd name="connsiteX216" fmla="*/ 152157 w 221230"/>
                <a:gd name="connsiteY216" fmla="*/ 198912 h 214551"/>
                <a:gd name="connsiteX217" fmla="*/ 146781 w 221230"/>
                <a:gd name="connsiteY217" fmla="*/ 196469 h 214551"/>
                <a:gd name="connsiteX218" fmla="*/ 139613 w 221230"/>
                <a:gd name="connsiteY218" fmla="*/ 196794 h 214551"/>
                <a:gd name="connsiteX219" fmla="*/ 133585 w 221230"/>
                <a:gd name="connsiteY219" fmla="*/ 200541 h 214551"/>
                <a:gd name="connsiteX220" fmla="*/ 129024 w 221230"/>
                <a:gd name="connsiteY220" fmla="*/ 201682 h 214551"/>
                <a:gd name="connsiteX221" fmla="*/ 125114 w 221230"/>
                <a:gd name="connsiteY221" fmla="*/ 199727 h 214551"/>
                <a:gd name="connsiteX222" fmla="*/ 123322 w 221230"/>
                <a:gd name="connsiteY222" fmla="*/ 197772 h 214551"/>
                <a:gd name="connsiteX223" fmla="*/ 120227 w 221230"/>
                <a:gd name="connsiteY223" fmla="*/ 198261 h 214551"/>
                <a:gd name="connsiteX224" fmla="*/ 122344 w 221230"/>
                <a:gd name="connsiteY224" fmla="*/ 196306 h 214551"/>
                <a:gd name="connsiteX225" fmla="*/ 120553 w 221230"/>
                <a:gd name="connsiteY225" fmla="*/ 193210 h 214551"/>
                <a:gd name="connsiteX226" fmla="*/ 116643 w 221230"/>
                <a:gd name="connsiteY226" fmla="*/ 193536 h 214551"/>
                <a:gd name="connsiteX227" fmla="*/ 117294 w 221230"/>
                <a:gd name="connsiteY227" fmla="*/ 195491 h 214551"/>
                <a:gd name="connsiteX228" fmla="*/ 118598 w 221230"/>
                <a:gd name="connsiteY228" fmla="*/ 195817 h 214551"/>
                <a:gd name="connsiteX229" fmla="*/ 117132 w 221230"/>
                <a:gd name="connsiteY229" fmla="*/ 197120 h 214551"/>
                <a:gd name="connsiteX230" fmla="*/ 113385 w 221230"/>
                <a:gd name="connsiteY230" fmla="*/ 197120 h 214551"/>
                <a:gd name="connsiteX231" fmla="*/ 112407 w 221230"/>
                <a:gd name="connsiteY231" fmla="*/ 193536 h 214551"/>
                <a:gd name="connsiteX232" fmla="*/ 111267 w 221230"/>
                <a:gd name="connsiteY232" fmla="*/ 193210 h 214551"/>
                <a:gd name="connsiteX233" fmla="*/ 110778 w 221230"/>
                <a:gd name="connsiteY233" fmla="*/ 195328 h 214551"/>
                <a:gd name="connsiteX234" fmla="*/ 111430 w 221230"/>
                <a:gd name="connsiteY234" fmla="*/ 197935 h 214551"/>
                <a:gd name="connsiteX235" fmla="*/ 109475 w 221230"/>
                <a:gd name="connsiteY235" fmla="*/ 198586 h 214551"/>
                <a:gd name="connsiteX236" fmla="*/ 109475 w 221230"/>
                <a:gd name="connsiteY236" fmla="*/ 198586 h 214551"/>
                <a:gd name="connsiteX237" fmla="*/ 6679 w 221230"/>
                <a:gd name="connsiteY237" fmla="*/ 69562 h 214551"/>
                <a:gd name="connsiteX238" fmla="*/ 6679 w 221230"/>
                <a:gd name="connsiteY238" fmla="*/ 74612 h 214551"/>
                <a:gd name="connsiteX239" fmla="*/ 9285 w 221230"/>
                <a:gd name="connsiteY239" fmla="*/ 77871 h 214551"/>
                <a:gd name="connsiteX240" fmla="*/ 12544 w 221230"/>
                <a:gd name="connsiteY240" fmla="*/ 79011 h 214551"/>
                <a:gd name="connsiteX241" fmla="*/ 13033 w 221230"/>
                <a:gd name="connsiteY241" fmla="*/ 80803 h 214551"/>
                <a:gd name="connsiteX242" fmla="*/ 11892 w 221230"/>
                <a:gd name="connsiteY242" fmla="*/ 81780 h 214551"/>
                <a:gd name="connsiteX243" fmla="*/ 7819 w 221230"/>
                <a:gd name="connsiteY243" fmla="*/ 79826 h 214551"/>
                <a:gd name="connsiteX244" fmla="*/ 3258 w 221230"/>
                <a:gd name="connsiteY244" fmla="*/ 75101 h 214551"/>
                <a:gd name="connsiteX245" fmla="*/ 2932 w 221230"/>
                <a:gd name="connsiteY245" fmla="*/ 73635 h 214551"/>
                <a:gd name="connsiteX246" fmla="*/ 326 w 221230"/>
                <a:gd name="connsiteY246" fmla="*/ 72495 h 214551"/>
                <a:gd name="connsiteX247" fmla="*/ 0 w 221230"/>
                <a:gd name="connsiteY247" fmla="*/ 69888 h 214551"/>
                <a:gd name="connsiteX248" fmla="*/ 4398 w 221230"/>
                <a:gd name="connsiteY248" fmla="*/ 68259 h 214551"/>
                <a:gd name="connsiteX249" fmla="*/ 6679 w 221230"/>
                <a:gd name="connsiteY249" fmla="*/ 69725 h 214551"/>
                <a:gd name="connsiteX250" fmla="*/ 6679 w 221230"/>
                <a:gd name="connsiteY250" fmla="*/ 69725 h 214551"/>
                <a:gd name="connsiteX251" fmla="*/ 26391 w 221230"/>
                <a:gd name="connsiteY251" fmla="*/ 105891 h 214551"/>
                <a:gd name="connsiteX252" fmla="*/ 26065 w 221230"/>
                <a:gd name="connsiteY252" fmla="*/ 104262 h 214551"/>
                <a:gd name="connsiteX253" fmla="*/ 28346 w 221230"/>
                <a:gd name="connsiteY253" fmla="*/ 100189 h 214551"/>
                <a:gd name="connsiteX254" fmla="*/ 30138 w 221230"/>
                <a:gd name="connsiteY254" fmla="*/ 99863 h 214551"/>
                <a:gd name="connsiteX255" fmla="*/ 30790 w 221230"/>
                <a:gd name="connsiteY255" fmla="*/ 104262 h 214551"/>
                <a:gd name="connsiteX256" fmla="*/ 29160 w 221230"/>
                <a:gd name="connsiteY256" fmla="*/ 106217 h 214551"/>
                <a:gd name="connsiteX257" fmla="*/ 27532 w 221230"/>
                <a:gd name="connsiteY257" fmla="*/ 106543 h 214551"/>
                <a:gd name="connsiteX258" fmla="*/ 26228 w 221230"/>
                <a:gd name="connsiteY258" fmla="*/ 106054 h 214551"/>
                <a:gd name="connsiteX259" fmla="*/ 26228 w 221230"/>
                <a:gd name="connsiteY259" fmla="*/ 106054 h 214551"/>
                <a:gd name="connsiteX260" fmla="*/ 26880 w 221230"/>
                <a:gd name="connsiteY260" fmla="*/ 114199 h 214551"/>
                <a:gd name="connsiteX261" fmla="*/ 26880 w 221230"/>
                <a:gd name="connsiteY261" fmla="*/ 108009 h 214551"/>
                <a:gd name="connsiteX262" fmla="*/ 29812 w 221230"/>
                <a:gd name="connsiteY262" fmla="*/ 110452 h 214551"/>
                <a:gd name="connsiteX263" fmla="*/ 31441 w 221230"/>
                <a:gd name="connsiteY263" fmla="*/ 114036 h 214551"/>
                <a:gd name="connsiteX264" fmla="*/ 30790 w 221230"/>
                <a:gd name="connsiteY264" fmla="*/ 116154 h 214551"/>
                <a:gd name="connsiteX265" fmla="*/ 33071 w 221230"/>
                <a:gd name="connsiteY265" fmla="*/ 118435 h 214551"/>
                <a:gd name="connsiteX266" fmla="*/ 33722 w 221230"/>
                <a:gd name="connsiteY266" fmla="*/ 120879 h 214551"/>
                <a:gd name="connsiteX267" fmla="*/ 34699 w 221230"/>
                <a:gd name="connsiteY267" fmla="*/ 122345 h 214551"/>
                <a:gd name="connsiteX268" fmla="*/ 33071 w 221230"/>
                <a:gd name="connsiteY268" fmla="*/ 124788 h 214551"/>
                <a:gd name="connsiteX269" fmla="*/ 29975 w 221230"/>
                <a:gd name="connsiteY269" fmla="*/ 123160 h 214551"/>
                <a:gd name="connsiteX270" fmla="*/ 26391 w 221230"/>
                <a:gd name="connsiteY270" fmla="*/ 122671 h 214551"/>
                <a:gd name="connsiteX271" fmla="*/ 26391 w 221230"/>
                <a:gd name="connsiteY271" fmla="*/ 119738 h 214551"/>
                <a:gd name="connsiteX272" fmla="*/ 25251 w 221230"/>
                <a:gd name="connsiteY272" fmla="*/ 118435 h 214551"/>
                <a:gd name="connsiteX273" fmla="*/ 25251 w 221230"/>
                <a:gd name="connsiteY273" fmla="*/ 121042 h 214551"/>
                <a:gd name="connsiteX274" fmla="*/ 23948 w 221230"/>
                <a:gd name="connsiteY274" fmla="*/ 122345 h 214551"/>
                <a:gd name="connsiteX275" fmla="*/ 21667 w 221230"/>
                <a:gd name="connsiteY275" fmla="*/ 119901 h 214551"/>
                <a:gd name="connsiteX276" fmla="*/ 21667 w 221230"/>
                <a:gd name="connsiteY276" fmla="*/ 114525 h 214551"/>
                <a:gd name="connsiteX277" fmla="*/ 24762 w 221230"/>
                <a:gd name="connsiteY277" fmla="*/ 113711 h 214551"/>
                <a:gd name="connsiteX278" fmla="*/ 27043 w 221230"/>
                <a:gd name="connsiteY278" fmla="*/ 114036 h 214551"/>
                <a:gd name="connsiteX279" fmla="*/ 27043 w 221230"/>
                <a:gd name="connsiteY279" fmla="*/ 114036 h 214551"/>
                <a:gd name="connsiteX280" fmla="*/ 36166 w 221230"/>
                <a:gd name="connsiteY280" fmla="*/ 132445 h 214551"/>
                <a:gd name="connsiteX281" fmla="*/ 38121 w 221230"/>
                <a:gd name="connsiteY281" fmla="*/ 134726 h 214551"/>
                <a:gd name="connsiteX282" fmla="*/ 35025 w 221230"/>
                <a:gd name="connsiteY282" fmla="*/ 134237 h 214551"/>
                <a:gd name="connsiteX283" fmla="*/ 34374 w 221230"/>
                <a:gd name="connsiteY283" fmla="*/ 135866 h 214551"/>
                <a:gd name="connsiteX284" fmla="*/ 31441 w 221230"/>
                <a:gd name="connsiteY284" fmla="*/ 135052 h 214551"/>
                <a:gd name="connsiteX285" fmla="*/ 28020 w 221230"/>
                <a:gd name="connsiteY285" fmla="*/ 131468 h 214551"/>
                <a:gd name="connsiteX286" fmla="*/ 28672 w 221230"/>
                <a:gd name="connsiteY286" fmla="*/ 128698 h 214551"/>
                <a:gd name="connsiteX287" fmla="*/ 30627 w 221230"/>
                <a:gd name="connsiteY287" fmla="*/ 127721 h 214551"/>
                <a:gd name="connsiteX288" fmla="*/ 33722 w 221230"/>
                <a:gd name="connsiteY288" fmla="*/ 129187 h 214551"/>
                <a:gd name="connsiteX289" fmla="*/ 36003 w 221230"/>
                <a:gd name="connsiteY289" fmla="*/ 132282 h 214551"/>
                <a:gd name="connsiteX290" fmla="*/ 36003 w 221230"/>
                <a:gd name="connsiteY290" fmla="*/ 132282 h 214551"/>
                <a:gd name="connsiteX291" fmla="*/ 195165 w 221230"/>
                <a:gd name="connsiteY291" fmla="*/ 188486 h 214551"/>
                <a:gd name="connsiteX292" fmla="*/ 194514 w 221230"/>
                <a:gd name="connsiteY292" fmla="*/ 187346 h 214551"/>
                <a:gd name="connsiteX293" fmla="*/ 195817 w 221230"/>
                <a:gd name="connsiteY293" fmla="*/ 185065 h 214551"/>
                <a:gd name="connsiteX294" fmla="*/ 195817 w 221230"/>
                <a:gd name="connsiteY294" fmla="*/ 187509 h 214551"/>
                <a:gd name="connsiteX295" fmla="*/ 195165 w 221230"/>
                <a:gd name="connsiteY295" fmla="*/ 188486 h 214551"/>
                <a:gd name="connsiteX296" fmla="*/ 195165 w 221230"/>
                <a:gd name="connsiteY296" fmla="*/ 188486 h 214551"/>
                <a:gd name="connsiteX297" fmla="*/ 194025 w 221230"/>
                <a:gd name="connsiteY297" fmla="*/ 201519 h 214551"/>
                <a:gd name="connsiteX298" fmla="*/ 193210 w 221230"/>
                <a:gd name="connsiteY298" fmla="*/ 196306 h 214551"/>
                <a:gd name="connsiteX299" fmla="*/ 191581 w 221230"/>
                <a:gd name="connsiteY299" fmla="*/ 193210 h 214551"/>
                <a:gd name="connsiteX300" fmla="*/ 194351 w 221230"/>
                <a:gd name="connsiteY300" fmla="*/ 189789 h 214551"/>
                <a:gd name="connsiteX301" fmla="*/ 195002 w 221230"/>
                <a:gd name="connsiteY301" fmla="*/ 192885 h 214551"/>
                <a:gd name="connsiteX302" fmla="*/ 197446 w 221230"/>
                <a:gd name="connsiteY302" fmla="*/ 195980 h 214551"/>
                <a:gd name="connsiteX303" fmla="*/ 195654 w 221230"/>
                <a:gd name="connsiteY303" fmla="*/ 200867 h 214551"/>
                <a:gd name="connsiteX304" fmla="*/ 194025 w 221230"/>
                <a:gd name="connsiteY304" fmla="*/ 201682 h 214551"/>
                <a:gd name="connsiteX305" fmla="*/ 194025 w 221230"/>
                <a:gd name="connsiteY305" fmla="*/ 201682 h 214551"/>
                <a:gd name="connsiteX306" fmla="*/ 207383 w 221230"/>
                <a:gd name="connsiteY306" fmla="*/ 186368 h 214551"/>
                <a:gd name="connsiteX307" fmla="*/ 205754 w 221230"/>
                <a:gd name="connsiteY307" fmla="*/ 184739 h 214551"/>
                <a:gd name="connsiteX308" fmla="*/ 207057 w 221230"/>
                <a:gd name="connsiteY308" fmla="*/ 181970 h 214551"/>
                <a:gd name="connsiteX309" fmla="*/ 206243 w 221230"/>
                <a:gd name="connsiteY309" fmla="*/ 180992 h 214551"/>
                <a:gd name="connsiteX310" fmla="*/ 206569 w 221230"/>
                <a:gd name="connsiteY310" fmla="*/ 178386 h 214551"/>
                <a:gd name="connsiteX311" fmla="*/ 212108 w 221230"/>
                <a:gd name="connsiteY311" fmla="*/ 173824 h 214551"/>
                <a:gd name="connsiteX312" fmla="*/ 217972 w 221230"/>
                <a:gd name="connsiteY312" fmla="*/ 171380 h 214551"/>
                <a:gd name="connsiteX313" fmla="*/ 221230 w 221230"/>
                <a:gd name="connsiteY313" fmla="*/ 169914 h 214551"/>
                <a:gd name="connsiteX314" fmla="*/ 220905 w 221230"/>
                <a:gd name="connsiteY314" fmla="*/ 172521 h 214551"/>
                <a:gd name="connsiteX315" fmla="*/ 219113 w 221230"/>
                <a:gd name="connsiteY315" fmla="*/ 173987 h 214551"/>
                <a:gd name="connsiteX316" fmla="*/ 218135 w 221230"/>
                <a:gd name="connsiteY316" fmla="*/ 176757 h 214551"/>
                <a:gd name="connsiteX317" fmla="*/ 216832 w 221230"/>
                <a:gd name="connsiteY317" fmla="*/ 179037 h 214551"/>
                <a:gd name="connsiteX318" fmla="*/ 216832 w 221230"/>
                <a:gd name="connsiteY318" fmla="*/ 180666 h 214551"/>
                <a:gd name="connsiteX319" fmla="*/ 214551 w 221230"/>
                <a:gd name="connsiteY319" fmla="*/ 180666 h 214551"/>
                <a:gd name="connsiteX320" fmla="*/ 211782 w 221230"/>
                <a:gd name="connsiteY320" fmla="*/ 183273 h 214551"/>
                <a:gd name="connsiteX321" fmla="*/ 209501 w 221230"/>
                <a:gd name="connsiteY321" fmla="*/ 186042 h 214551"/>
                <a:gd name="connsiteX322" fmla="*/ 207383 w 221230"/>
                <a:gd name="connsiteY322" fmla="*/ 186368 h 214551"/>
                <a:gd name="connsiteX323" fmla="*/ 207383 w 221230"/>
                <a:gd name="connsiteY323" fmla="*/ 186368 h 214551"/>
                <a:gd name="connsiteX324" fmla="*/ 173172 w 221230"/>
                <a:gd name="connsiteY324" fmla="*/ 169588 h 214551"/>
                <a:gd name="connsiteX325" fmla="*/ 170892 w 221230"/>
                <a:gd name="connsiteY325" fmla="*/ 167796 h 214551"/>
                <a:gd name="connsiteX326" fmla="*/ 172032 w 221230"/>
                <a:gd name="connsiteY326" fmla="*/ 166004 h 214551"/>
                <a:gd name="connsiteX327" fmla="*/ 175942 w 221230"/>
                <a:gd name="connsiteY327" fmla="*/ 164538 h 214551"/>
                <a:gd name="connsiteX328" fmla="*/ 177897 w 221230"/>
                <a:gd name="connsiteY328" fmla="*/ 165516 h 214551"/>
                <a:gd name="connsiteX329" fmla="*/ 176267 w 221230"/>
                <a:gd name="connsiteY329" fmla="*/ 168122 h 214551"/>
                <a:gd name="connsiteX330" fmla="*/ 173009 w 221230"/>
                <a:gd name="connsiteY330" fmla="*/ 169588 h 214551"/>
                <a:gd name="connsiteX331" fmla="*/ 173009 w 221230"/>
                <a:gd name="connsiteY331" fmla="*/ 169588 h 214551"/>
                <a:gd name="connsiteX332" fmla="*/ 172683 w 221230"/>
                <a:gd name="connsiteY332" fmla="*/ 133260 h 214551"/>
                <a:gd name="connsiteX333" fmla="*/ 176919 w 221230"/>
                <a:gd name="connsiteY333" fmla="*/ 129839 h 214551"/>
                <a:gd name="connsiteX334" fmla="*/ 179851 w 221230"/>
                <a:gd name="connsiteY334" fmla="*/ 130164 h 214551"/>
                <a:gd name="connsiteX335" fmla="*/ 182947 w 221230"/>
                <a:gd name="connsiteY335" fmla="*/ 132608 h 214551"/>
                <a:gd name="connsiteX336" fmla="*/ 183762 w 221230"/>
                <a:gd name="connsiteY336" fmla="*/ 131631 h 214551"/>
                <a:gd name="connsiteX337" fmla="*/ 185065 w 221230"/>
                <a:gd name="connsiteY337" fmla="*/ 131957 h 214551"/>
                <a:gd name="connsiteX338" fmla="*/ 185553 w 221230"/>
                <a:gd name="connsiteY338" fmla="*/ 133911 h 214551"/>
                <a:gd name="connsiteX339" fmla="*/ 182784 w 221230"/>
                <a:gd name="connsiteY339" fmla="*/ 135215 h 214551"/>
                <a:gd name="connsiteX340" fmla="*/ 181644 w 221230"/>
                <a:gd name="connsiteY340" fmla="*/ 136681 h 214551"/>
                <a:gd name="connsiteX341" fmla="*/ 179200 w 221230"/>
                <a:gd name="connsiteY341" fmla="*/ 136681 h 214551"/>
                <a:gd name="connsiteX342" fmla="*/ 177082 w 221230"/>
                <a:gd name="connsiteY342" fmla="*/ 134237 h 214551"/>
                <a:gd name="connsiteX343" fmla="*/ 174313 w 221230"/>
                <a:gd name="connsiteY343" fmla="*/ 134237 h 214551"/>
                <a:gd name="connsiteX344" fmla="*/ 171706 w 221230"/>
                <a:gd name="connsiteY344" fmla="*/ 135215 h 214551"/>
                <a:gd name="connsiteX345" fmla="*/ 172846 w 221230"/>
                <a:gd name="connsiteY345" fmla="*/ 133423 h 214551"/>
                <a:gd name="connsiteX346" fmla="*/ 172846 w 221230"/>
                <a:gd name="connsiteY346" fmla="*/ 133423 h 214551"/>
                <a:gd name="connsiteX347" fmla="*/ 164049 w 221230"/>
                <a:gd name="connsiteY347" fmla="*/ 106217 h 214551"/>
                <a:gd name="connsiteX348" fmla="*/ 165190 w 221230"/>
                <a:gd name="connsiteY348" fmla="*/ 112570 h 214551"/>
                <a:gd name="connsiteX349" fmla="*/ 164212 w 221230"/>
                <a:gd name="connsiteY349" fmla="*/ 116806 h 214551"/>
                <a:gd name="connsiteX350" fmla="*/ 160791 w 221230"/>
                <a:gd name="connsiteY350" fmla="*/ 118435 h 214551"/>
                <a:gd name="connsiteX351" fmla="*/ 158022 w 221230"/>
                <a:gd name="connsiteY351" fmla="*/ 116317 h 214551"/>
                <a:gd name="connsiteX352" fmla="*/ 158022 w 221230"/>
                <a:gd name="connsiteY352" fmla="*/ 114362 h 214551"/>
                <a:gd name="connsiteX353" fmla="*/ 160303 w 221230"/>
                <a:gd name="connsiteY353" fmla="*/ 113385 h 214551"/>
                <a:gd name="connsiteX354" fmla="*/ 160303 w 221230"/>
                <a:gd name="connsiteY354" fmla="*/ 109638 h 214551"/>
                <a:gd name="connsiteX355" fmla="*/ 156881 w 221230"/>
                <a:gd name="connsiteY355" fmla="*/ 107194 h 214551"/>
                <a:gd name="connsiteX356" fmla="*/ 156881 w 221230"/>
                <a:gd name="connsiteY356" fmla="*/ 105565 h 214551"/>
                <a:gd name="connsiteX357" fmla="*/ 159814 w 221230"/>
                <a:gd name="connsiteY357" fmla="*/ 103936 h 214551"/>
                <a:gd name="connsiteX358" fmla="*/ 162909 w 221230"/>
                <a:gd name="connsiteY358" fmla="*/ 105239 h 214551"/>
                <a:gd name="connsiteX359" fmla="*/ 164049 w 221230"/>
                <a:gd name="connsiteY359" fmla="*/ 106380 h 214551"/>
                <a:gd name="connsiteX360" fmla="*/ 164049 w 221230"/>
                <a:gd name="connsiteY360" fmla="*/ 106380 h 214551"/>
                <a:gd name="connsiteX361" fmla="*/ 157207 w 221230"/>
                <a:gd name="connsiteY361" fmla="*/ 91392 h 214551"/>
                <a:gd name="connsiteX362" fmla="*/ 153460 w 221230"/>
                <a:gd name="connsiteY362" fmla="*/ 88297 h 214551"/>
                <a:gd name="connsiteX363" fmla="*/ 155741 w 221230"/>
                <a:gd name="connsiteY363" fmla="*/ 84387 h 214551"/>
                <a:gd name="connsiteX364" fmla="*/ 161443 w 221230"/>
                <a:gd name="connsiteY364" fmla="*/ 82432 h 214551"/>
                <a:gd name="connsiteX365" fmla="*/ 164212 w 221230"/>
                <a:gd name="connsiteY365" fmla="*/ 80640 h 214551"/>
                <a:gd name="connsiteX366" fmla="*/ 169588 w 221230"/>
                <a:gd name="connsiteY366" fmla="*/ 79826 h 214551"/>
                <a:gd name="connsiteX367" fmla="*/ 170403 w 221230"/>
                <a:gd name="connsiteY367" fmla="*/ 81129 h 214551"/>
                <a:gd name="connsiteX368" fmla="*/ 169425 w 221230"/>
                <a:gd name="connsiteY368" fmla="*/ 84061 h 214551"/>
                <a:gd name="connsiteX369" fmla="*/ 170566 w 221230"/>
                <a:gd name="connsiteY369" fmla="*/ 84061 h 214551"/>
                <a:gd name="connsiteX370" fmla="*/ 171380 w 221230"/>
                <a:gd name="connsiteY370" fmla="*/ 87971 h 214551"/>
                <a:gd name="connsiteX371" fmla="*/ 171380 w 221230"/>
                <a:gd name="connsiteY371" fmla="*/ 93347 h 214551"/>
                <a:gd name="connsiteX372" fmla="*/ 166167 w 221230"/>
                <a:gd name="connsiteY372" fmla="*/ 93673 h 214551"/>
                <a:gd name="connsiteX373" fmla="*/ 162746 w 221230"/>
                <a:gd name="connsiteY373" fmla="*/ 92044 h 214551"/>
                <a:gd name="connsiteX374" fmla="*/ 164049 w 221230"/>
                <a:gd name="connsiteY374" fmla="*/ 90089 h 214551"/>
                <a:gd name="connsiteX375" fmla="*/ 166167 w 221230"/>
                <a:gd name="connsiteY375" fmla="*/ 88297 h 214551"/>
                <a:gd name="connsiteX376" fmla="*/ 166493 w 221230"/>
                <a:gd name="connsiteY376" fmla="*/ 85202 h 214551"/>
                <a:gd name="connsiteX377" fmla="*/ 162746 w 221230"/>
                <a:gd name="connsiteY377" fmla="*/ 85202 h 214551"/>
                <a:gd name="connsiteX378" fmla="*/ 161606 w 221230"/>
                <a:gd name="connsiteY378" fmla="*/ 88297 h 214551"/>
                <a:gd name="connsiteX379" fmla="*/ 161117 w 221230"/>
                <a:gd name="connsiteY379" fmla="*/ 91392 h 214551"/>
                <a:gd name="connsiteX380" fmla="*/ 158673 w 221230"/>
                <a:gd name="connsiteY380" fmla="*/ 91881 h 214551"/>
                <a:gd name="connsiteX381" fmla="*/ 157044 w 221230"/>
                <a:gd name="connsiteY381" fmla="*/ 91881 h 214551"/>
                <a:gd name="connsiteX382" fmla="*/ 144337 w 221230"/>
                <a:gd name="connsiteY382" fmla="*/ 44800 h 214551"/>
                <a:gd name="connsiteX383" fmla="*/ 145315 w 221230"/>
                <a:gd name="connsiteY383" fmla="*/ 43008 h 214551"/>
                <a:gd name="connsiteX384" fmla="*/ 148736 w 221230"/>
                <a:gd name="connsiteY384" fmla="*/ 42519 h 214551"/>
                <a:gd name="connsiteX385" fmla="*/ 151831 w 221230"/>
                <a:gd name="connsiteY385" fmla="*/ 43334 h 214551"/>
                <a:gd name="connsiteX386" fmla="*/ 151831 w 221230"/>
                <a:gd name="connsiteY386" fmla="*/ 45615 h 214551"/>
                <a:gd name="connsiteX387" fmla="*/ 149225 w 221230"/>
                <a:gd name="connsiteY387" fmla="*/ 46592 h 214551"/>
                <a:gd name="connsiteX388" fmla="*/ 144500 w 221230"/>
                <a:gd name="connsiteY388" fmla="*/ 44637 h 214551"/>
                <a:gd name="connsiteX389" fmla="*/ 144500 w 221230"/>
                <a:gd name="connsiteY389" fmla="*/ 44637 h 214551"/>
                <a:gd name="connsiteX390" fmla="*/ 133260 w 221230"/>
                <a:gd name="connsiteY390" fmla="*/ 57996 h 214551"/>
                <a:gd name="connsiteX391" fmla="*/ 137332 w 221230"/>
                <a:gd name="connsiteY391" fmla="*/ 57996 h 214551"/>
                <a:gd name="connsiteX392" fmla="*/ 139124 w 221230"/>
                <a:gd name="connsiteY392" fmla="*/ 59462 h 214551"/>
                <a:gd name="connsiteX393" fmla="*/ 141731 w 221230"/>
                <a:gd name="connsiteY393" fmla="*/ 57018 h 214551"/>
                <a:gd name="connsiteX394" fmla="*/ 144337 w 221230"/>
                <a:gd name="connsiteY394" fmla="*/ 58485 h 214551"/>
                <a:gd name="connsiteX395" fmla="*/ 141242 w 221230"/>
                <a:gd name="connsiteY395" fmla="*/ 61906 h 214551"/>
                <a:gd name="connsiteX396" fmla="*/ 140590 w 221230"/>
                <a:gd name="connsiteY396" fmla="*/ 66793 h 214551"/>
                <a:gd name="connsiteX397" fmla="*/ 137658 w 221230"/>
                <a:gd name="connsiteY397" fmla="*/ 65490 h 214551"/>
                <a:gd name="connsiteX398" fmla="*/ 135703 w 221230"/>
                <a:gd name="connsiteY398" fmla="*/ 65815 h 214551"/>
                <a:gd name="connsiteX399" fmla="*/ 133423 w 221230"/>
                <a:gd name="connsiteY399" fmla="*/ 63861 h 214551"/>
                <a:gd name="connsiteX400" fmla="*/ 132282 w 221230"/>
                <a:gd name="connsiteY400" fmla="*/ 59951 h 214551"/>
                <a:gd name="connsiteX401" fmla="*/ 133585 w 221230"/>
                <a:gd name="connsiteY401" fmla="*/ 57996 h 214551"/>
                <a:gd name="connsiteX402" fmla="*/ 133585 w 221230"/>
                <a:gd name="connsiteY402" fmla="*/ 57996 h 214551"/>
                <a:gd name="connsiteX403" fmla="*/ 120878 w 221230"/>
                <a:gd name="connsiteY403" fmla="*/ 36003 h 214551"/>
                <a:gd name="connsiteX404" fmla="*/ 122833 w 221230"/>
                <a:gd name="connsiteY404" fmla="*/ 35188 h 214551"/>
                <a:gd name="connsiteX405" fmla="*/ 126417 w 221230"/>
                <a:gd name="connsiteY405" fmla="*/ 36980 h 214551"/>
                <a:gd name="connsiteX406" fmla="*/ 126906 w 221230"/>
                <a:gd name="connsiteY406" fmla="*/ 39750 h 214551"/>
                <a:gd name="connsiteX407" fmla="*/ 123648 w 221230"/>
                <a:gd name="connsiteY407" fmla="*/ 41379 h 214551"/>
                <a:gd name="connsiteX408" fmla="*/ 122344 w 221230"/>
                <a:gd name="connsiteY408" fmla="*/ 40564 h 214551"/>
                <a:gd name="connsiteX409" fmla="*/ 119575 w 221230"/>
                <a:gd name="connsiteY409" fmla="*/ 40564 h 214551"/>
                <a:gd name="connsiteX410" fmla="*/ 121041 w 221230"/>
                <a:gd name="connsiteY410" fmla="*/ 36003 h 214551"/>
                <a:gd name="connsiteX411" fmla="*/ 121041 w 221230"/>
                <a:gd name="connsiteY411" fmla="*/ 36003 h 214551"/>
                <a:gd name="connsiteX412" fmla="*/ 97745 w 221230"/>
                <a:gd name="connsiteY412" fmla="*/ 87645 h 214551"/>
                <a:gd name="connsiteX413" fmla="*/ 99374 w 221230"/>
                <a:gd name="connsiteY413" fmla="*/ 87156 h 214551"/>
                <a:gd name="connsiteX414" fmla="*/ 101981 w 221230"/>
                <a:gd name="connsiteY414" fmla="*/ 88134 h 214551"/>
                <a:gd name="connsiteX415" fmla="*/ 102796 w 221230"/>
                <a:gd name="connsiteY415" fmla="*/ 91392 h 214551"/>
                <a:gd name="connsiteX416" fmla="*/ 101981 w 221230"/>
                <a:gd name="connsiteY416" fmla="*/ 93184 h 214551"/>
                <a:gd name="connsiteX417" fmla="*/ 97745 w 221230"/>
                <a:gd name="connsiteY417" fmla="*/ 87808 h 214551"/>
                <a:gd name="connsiteX418" fmla="*/ 97745 w 221230"/>
                <a:gd name="connsiteY418" fmla="*/ 87808 h 214551"/>
                <a:gd name="connsiteX419" fmla="*/ 93021 w 221230"/>
                <a:gd name="connsiteY419" fmla="*/ 87808 h 214551"/>
                <a:gd name="connsiteX420" fmla="*/ 94976 w 221230"/>
                <a:gd name="connsiteY420" fmla="*/ 86505 h 214551"/>
                <a:gd name="connsiteX421" fmla="*/ 96116 w 221230"/>
                <a:gd name="connsiteY421" fmla="*/ 87645 h 214551"/>
                <a:gd name="connsiteX422" fmla="*/ 94813 w 221230"/>
                <a:gd name="connsiteY422" fmla="*/ 90089 h 214551"/>
                <a:gd name="connsiteX423" fmla="*/ 93021 w 221230"/>
                <a:gd name="connsiteY423" fmla="*/ 87808 h 214551"/>
                <a:gd name="connsiteX424" fmla="*/ 93021 w 221230"/>
                <a:gd name="connsiteY424" fmla="*/ 87808 h 214551"/>
                <a:gd name="connsiteX425" fmla="*/ 122182 w 221230"/>
                <a:gd name="connsiteY425" fmla="*/ 93510 h 214551"/>
                <a:gd name="connsiteX426" fmla="*/ 123974 w 221230"/>
                <a:gd name="connsiteY426" fmla="*/ 92858 h 214551"/>
                <a:gd name="connsiteX427" fmla="*/ 126092 w 221230"/>
                <a:gd name="connsiteY427" fmla="*/ 95139 h 214551"/>
                <a:gd name="connsiteX428" fmla="*/ 128698 w 221230"/>
                <a:gd name="connsiteY428" fmla="*/ 96117 h 214551"/>
                <a:gd name="connsiteX429" fmla="*/ 129187 w 221230"/>
                <a:gd name="connsiteY429" fmla="*/ 100352 h 214551"/>
                <a:gd name="connsiteX430" fmla="*/ 127558 w 221230"/>
                <a:gd name="connsiteY430" fmla="*/ 101004 h 214551"/>
                <a:gd name="connsiteX431" fmla="*/ 126255 w 221230"/>
                <a:gd name="connsiteY431" fmla="*/ 98071 h 214551"/>
                <a:gd name="connsiteX432" fmla="*/ 124951 w 221230"/>
                <a:gd name="connsiteY432" fmla="*/ 97745 h 214551"/>
                <a:gd name="connsiteX433" fmla="*/ 122344 w 221230"/>
                <a:gd name="connsiteY433" fmla="*/ 93510 h 214551"/>
                <a:gd name="connsiteX434" fmla="*/ 122344 w 221230"/>
                <a:gd name="connsiteY434" fmla="*/ 93510 h 214551"/>
                <a:gd name="connsiteX435" fmla="*/ 163724 w 221230"/>
                <a:gd name="connsiteY435" fmla="*/ 142220 h 214551"/>
                <a:gd name="connsiteX436" fmla="*/ 162094 w 221230"/>
                <a:gd name="connsiteY436" fmla="*/ 140102 h 214551"/>
                <a:gd name="connsiteX437" fmla="*/ 162909 w 221230"/>
                <a:gd name="connsiteY437" fmla="*/ 137333 h 214551"/>
                <a:gd name="connsiteX438" fmla="*/ 168285 w 221230"/>
                <a:gd name="connsiteY438" fmla="*/ 136355 h 214551"/>
                <a:gd name="connsiteX439" fmla="*/ 167471 w 221230"/>
                <a:gd name="connsiteY439" fmla="*/ 138961 h 214551"/>
                <a:gd name="connsiteX440" fmla="*/ 163887 w 221230"/>
                <a:gd name="connsiteY440" fmla="*/ 142220 h 214551"/>
                <a:gd name="connsiteX441" fmla="*/ 163887 w 221230"/>
                <a:gd name="connsiteY441" fmla="*/ 142220 h 214551"/>
                <a:gd name="connsiteX442" fmla="*/ 121693 w 221230"/>
                <a:gd name="connsiteY442" fmla="*/ 167960 h 214551"/>
                <a:gd name="connsiteX443" fmla="*/ 124137 w 221230"/>
                <a:gd name="connsiteY443" fmla="*/ 164376 h 214551"/>
                <a:gd name="connsiteX444" fmla="*/ 127395 w 221230"/>
                <a:gd name="connsiteY444" fmla="*/ 164376 h 214551"/>
                <a:gd name="connsiteX445" fmla="*/ 126580 w 221230"/>
                <a:gd name="connsiteY445" fmla="*/ 167145 h 214551"/>
                <a:gd name="connsiteX446" fmla="*/ 123811 w 221230"/>
                <a:gd name="connsiteY446" fmla="*/ 168122 h 214551"/>
                <a:gd name="connsiteX447" fmla="*/ 121530 w 221230"/>
                <a:gd name="connsiteY447" fmla="*/ 167796 h 214551"/>
                <a:gd name="connsiteX448" fmla="*/ 121530 w 221230"/>
                <a:gd name="connsiteY448" fmla="*/ 167796 h 214551"/>
                <a:gd name="connsiteX449" fmla="*/ 123648 w 221230"/>
                <a:gd name="connsiteY449" fmla="*/ 152157 h 214551"/>
                <a:gd name="connsiteX450" fmla="*/ 125928 w 221230"/>
                <a:gd name="connsiteY450" fmla="*/ 150528 h 214551"/>
                <a:gd name="connsiteX451" fmla="*/ 125928 w 221230"/>
                <a:gd name="connsiteY451" fmla="*/ 153786 h 214551"/>
                <a:gd name="connsiteX452" fmla="*/ 123648 w 221230"/>
                <a:gd name="connsiteY452" fmla="*/ 152157 h 214551"/>
                <a:gd name="connsiteX453" fmla="*/ 123648 w 221230"/>
                <a:gd name="connsiteY453" fmla="*/ 152157 h 214551"/>
                <a:gd name="connsiteX454" fmla="*/ 122671 w 221230"/>
                <a:gd name="connsiteY454" fmla="*/ 147433 h 214551"/>
                <a:gd name="connsiteX455" fmla="*/ 122671 w 221230"/>
                <a:gd name="connsiteY455" fmla="*/ 143197 h 214551"/>
                <a:gd name="connsiteX456" fmla="*/ 124951 w 221230"/>
                <a:gd name="connsiteY456" fmla="*/ 143849 h 214551"/>
                <a:gd name="connsiteX457" fmla="*/ 124951 w 221230"/>
                <a:gd name="connsiteY457" fmla="*/ 146130 h 214551"/>
                <a:gd name="connsiteX458" fmla="*/ 122671 w 221230"/>
                <a:gd name="connsiteY458" fmla="*/ 147433 h 214551"/>
                <a:gd name="connsiteX459" fmla="*/ 122671 w 221230"/>
                <a:gd name="connsiteY459" fmla="*/ 147433 h 214551"/>
                <a:gd name="connsiteX460" fmla="*/ 120227 w 221230"/>
                <a:gd name="connsiteY460" fmla="*/ 141405 h 214551"/>
                <a:gd name="connsiteX461" fmla="*/ 119412 w 221230"/>
                <a:gd name="connsiteY461" fmla="*/ 139776 h 214551"/>
                <a:gd name="connsiteX462" fmla="*/ 121041 w 221230"/>
                <a:gd name="connsiteY462" fmla="*/ 137821 h 214551"/>
                <a:gd name="connsiteX463" fmla="*/ 122833 w 221230"/>
                <a:gd name="connsiteY463" fmla="*/ 140265 h 214551"/>
                <a:gd name="connsiteX464" fmla="*/ 120227 w 221230"/>
                <a:gd name="connsiteY464" fmla="*/ 141405 h 214551"/>
                <a:gd name="connsiteX465" fmla="*/ 120227 w 221230"/>
                <a:gd name="connsiteY465" fmla="*/ 141405 h 214551"/>
                <a:gd name="connsiteX466" fmla="*/ 143360 w 221230"/>
                <a:gd name="connsiteY466" fmla="*/ 156556 h 214551"/>
                <a:gd name="connsiteX467" fmla="*/ 141079 w 221230"/>
                <a:gd name="connsiteY467" fmla="*/ 154601 h 214551"/>
                <a:gd name="connsiteX468" fmla="*/ 142057 w 221230"/>
                <a:gd name="connsiteY468" fmla="*/ 150528 h 214551"/>
                <a:gd name="connsiteX469" fmla="*/ 144500 w 221230"/>
                <a:gd name="connsiteY469" fmla="*/ 150528 h 214551"/>
                <a:gd name="connsiteX470" fmla="*/ 145641 w 221230"/>
                <a:gd name="connsiteY470" fmla="*/ 153135 h 214551"/>
                <a:gd name="connsiteX471" fmla="*/ 143197 w 221230"/>
                <a:gd name="connsiteY471" fmla="*/ 156556 h 214551"/>
                <a:gd name="connsiteX472" fmla="*/ 143197 w 221230"/>
                <a:gd name="connsiteY472" fmla="*/ 156556 h 214551"/>
                <a:gd name="connsiteX473" fmla="*/ 149550 w 221230"/>
                <a:gd name="connsiteY473" fmla="*/ 155578 h 214551"/>
                <a:gd name="connsiteX474" fmla="*/ 147758 w 221230"/>
                <a:gd name="connsiteY474" fmla="*/ 152646 h 214551"/>
                <a:gd name="connsiteX475" fmla="*/ 151342 w 221230"/>
                <a:gd name="connsiteY475" fmla="*/ 149551 h 214551"/>
                <a:gd name="connsiteX476" fmla="*/ 153623 w 221230"/>
                <a:gd name="connsiteY476" fmla="*/ 150039 h 214551"/>
                <a:gd name="connsiteX477" fmla="*/ 154112 w 221230"/>
                <a:gd name="connsiteY477" fmla="*/ 152646 h 214551"/>
                <a:gd name="connsiteX478" fmla="*/ 151831 w 221230"/>
                <a:gd name="connsiteY478" fmla="*/ 155578 h 214551"/>
                <a:gd name="connsiteX479" fmla="*/ 149387 w 221230"/>
                <a:gd name="connsiteY479" fmla="*/ 155578 h 214551"/>
                <a:gd name="connsiteX480" fmla="*/ 148084 w 221230"/>
                <a:gd name="connsiteY480" fmla="*/ 144338 h 214551"/>
                <a:gd name="connsiteX481" fmla="*/ 148084 w 221230"/>
                <a:gd name="connsiteY481" fmla="*/ 142383 h 214551"/>
                <a:gd name="connsiteX482" fmla="*/ 150365 w 221230"/>
                <a:gd name="connsiteY482" fmla="*/ 143034 h 214551"/>
                <a:gd name="connsiteX483" fmla="*/ 148084 w 221230"/>
                <a:gd name="connsiteY483" fmla="*/ 144501 h 214551"/>
                <a:gd name="connsiteX484" fmla="*/ 148084 w 221230"/>
                <a:gd name="connsiteY484" fmla="*/ 144501 h 214551"/>
                <a:gd name="connsiteX485" fmla="*/ 140753 w 221230"/>
                <a:gd name="connsiteY485" fmla="*/ 137984 h 214551"/>
                <a:gd name="connsiteX486" fmla="*/ 143197 w 221230"/>
                <a:gd name="connsiteY486" fmla="*/ 137170 h 214551"/>
                <a:gd name="connsiteX487" fmla="*/ 145478 w 221230"/>
                <a:gd name="connsiteY487" fmla="*/ 139287 h 214551"/>
                <a:gd name="connsiteX488" fmla="*/ 145803 w 221230"/>
                <a:gd name="connsiteY488" fmla="*/ 141731 h 214551"/>
                <a:gd name="connsiteX489" fmla="*/ 142871 w 221230"/>
                <a:gd name="connsiteY489" fmla="*/ 140428 h 214551"/>
                <a:gd name="connsiteX490" fmla="*/ 140753 w 221230"/>
                <a:gd name="connsiteY490" fmla="*/ 137984 h 214551"/>
                <a:gd name="connsiteX491" fmla="*/ 140753 w 221230"/>
                <a:gd name="connsiteY491" fmla="*/ 137984 h 214551"/>
                <a:gd name="connsiteX492" fmla="*/ 129512 w 221230"/>
                <a:gd name="connsiteY492" fmla="*/ 127884 h 214551"/>
                <a:gd name="connsiteX493" fmla="*/ 131793 w 221230"/>
                <a:gd name="connsiteY493" fmla="*/ 127884 h 214551"/>
                <a:gd name="connsiteX494" fmla="*/ 133748 w 221230"/>
                <a:gd name="connsiteY494" fmla="*/ 130816 h 214551"/>
                <a:gd name="connsiteX495" fmla="*/ 138147 w 221230"/>
                <a:gd name="connsiteY495" fmla="*/ 134726 h 214551"/>
                <a:gd name="connsiteX496" fmla="*/ 138147 w 221230"/>
                <a:gd name="connsiteY496" fmla="*/ 137495 h 214551"/>
                <a:gd name="connsiteX497" fmla="*/ 135866 w 221230"/>
                <a:gd name="connsiteY497" fmla="*/ 137495 h 214551"/>
                <a:gd name="connsiteX498" fmla="*/ 130490 w 221230"/>
                <a:gd name="connsiteY498" fmla="*/ 132119 h 214551"/>
                <a:gd name="connsiteX499" fmla="*/ 128209 w 221230"/>
                <a:gd name="connsiteY499" fmla="*/ 130164 h 214551"/>
                <a:gd name="connsiteX500" fmla="*/ 129512 w 221230"/>
                <a:gd name="connsiteY500" fmla="*/ 127884 h 214551"/>
                <a:gd name="connsiteX501" fmla="*/ 129512 w 221230"/>
                <a:gd name="connsiteY501" fmla="*/ 127884 h 214551"/>
                <a:gd name="connsiteX502" fmla="*/ 81780 w 221230"/>
                <a:gd name="connsiteY502" fmla="*/ 96768 h 214551"/>
                <a:gd name="connsiteX503" fmla="*/ 85364 w 221230"/>
                <a:gd name="connsiteY503" fmla="*/ 93673 h 214551"/>
                <a:gd name="connsiteX504" fmla="*/ 91881 w 221230"/>
                <a:gd name="connsiteY504" fmla="*/ 92695 h 214551"/>
                <a:gd name="connsiteX505" fmla="*/ 95790 w 221230"/>
                <a:gd name="connsiteY505" fmla="*/ 96931 h 214551"/>
                <a:gd name="connsiteX506" fmla="*/ 100189 w 221230"/>
                <a:gd name="connsiteY506" fmla="*/ 98560 h 214551"/>
                <a:gd name="connsiteX507" fmla="*/ 104587 w 221230"/>
                <a:gd name="connsiteY507" fmla="*/ 100841 h 214551"/>
                <a:gd name="connsiteX508" fmla="*/ 105076 w 221230"/>
                <a:gd name="connsiteY508" fmla="*/ 101818 h 214551"/>
                <a:gd name="connsiteX509" fmla="*/ 108334 w 221230"/>
                <a:gd name="connsiteY509" fmla="*/ 101818 h 214551"/>
                <a:gd name="connsiteX510" fmla="*/ 108823 w 221230"/>
                <a:gd name="connsiteY510" fmla="*/ 101167 h 214551"/>
                <a:gd name="connsiteX511" fmla="*/ 114851 w 221230"/>
                <a:gd name="connsiteY511" fmla="*/ 107194 h 214551"/>
                <a:gd name="connsiteX512" fmla="*/ 116969 w 221230"/>
                <a:gd name="connsiteY512" fmla="*/ 111104 h 214551"/>
                <a:gd name="connsiteX513" fmla="*/ 116969 w 221230"/>
                <a:gd name="connsiteY513" fmla="*/ 113222 h 214551"/>
                <a:gd name="connsiteX514" fmla="*/ 117783 w 221230"/>
                <a:gd name="connsiteY514" fmla="*/ 115828 h 214551"/>
                <a:gd name="connsiteX515" fmla="*/ 117294 w 221230"/>
                <a:gd name="connsiteY515" fmla="*/ 119576 h 214551"/>
                <a:gd name="connsiteX516" fmla="*/ 120716 w 221230"/>
                <a:gd name="connsiteY516" fmla="*/ 122834 h 214551"/>
                <a:gd name="connsiteX517" fmla="*/ 122182 w 221230"/>
                <a:gd name="connsiteY517" fmla="*/ 121693 h 214551"/>
                <a:gd name="connsiteX518" fmla="*/ 126743 w 221230"/>
                <a:gd name="connsiteY518" fmla="*/ 122182 h 214551"/>
                <a:gd name="connsiteX519" fmla="*/ 124951 w 221230"/>
                <a:gd name="connsiteY519" fmla="*/ 127395 h 214551"/>
                <a:gd name="connsiteX520" fmla="*/ 122508 w 221230"/>
                <a:gd name="connsiteY520" fmla="*/ 126092 h 214551"/>
                <a:gd name="connsiteX521" fmla="*/ 120390 w 221230"/>
                <a:gd name="connsiteY521" fmla="*/ 127232 h 214551"/>
                <a:gd name="connsiteX522" fmla="*/ 116643 w 221230"/>
                <a:gd name="connsiteY522" fmla="*/ 124788 h 214551"/>
                <a:gd name="connsiteX523" fmla="*/ 115339 w 221230"/>
                <a:gd name="connsiteY523" fmla="*/ 122182 h 214551"/>
                <a:gd name="connsiteX524" fmla="*/ 115828 w 221230"/>
                <a:gd name="connsiteY524" fmla="*/ 119412 h 214551"/>
                <a:gd name="connsiteX525" fmla="*/ 113873 w 221230"/>
                <a:gd name="connsiteY525" fmla="*/ 117458 h 214551"/>
                <a:gd name="connsiteX526" fmla="*/ 110615 w 221230"/>
                <a:gd name="connsiteY526" fmla="*/ 112570 h 214551"/>
                <a:gd name="connsiteX527" fmla="*/ 109312 w 221230"/>
                <a:gd name="connsiteY527" fmla="*/ 110452 h 214551"/>
                <a:gd name="connsiteX528" fmla="*/ 106054 w 221230"/>
                <a:gd name="connsiteY528" fmla="*/ 110778 h 214551"/>
                <a:gd name="connsiteX529" fmla="*/ 101492 w 221230"/>
                <a:gd name="connsiteY529" fmla="*/ 108335 h 214551"/>
                <a:gd name="connsiteX530" fmla="*/ 99537 w 221230"/>
                <a:gd name="connsiteY530" fmla="*/ 105239 h 214551"/>
                <a:gd name="connsiteX531" fmla="*/ 96442 w 221230"/>
                <a:gd name="connsiteY531" fmla="*/ 104425 h 214551"/>
                <a:gd name="connsiteX532" fmla="*/ 94487 w 221230"/>
                <a:gd name="connsiteY532" fmla="*/ 101655 h 214551"/>
                <a:gd name="connsiteX533" fmla="*/ 92207 w 221230"/>
                <a:gd name="connsiteY533" fmla="*/ 100678 h 214551"/>
                <a:gd name="connsiteX534" fmla="*/ 91229 w 221230"/>
                <a:gd name="connsiteY534" fmla="*/ 99049 h 214551"/>
                <a:gd name="connsiteX535" fmla="*/ 88785 w 221230"/>
                <a:gd name="connsiteY535" fmla="*/ 97094 h 214551"/>
                <a:gd name="connsiteX536" fmla="*/ 84387 w 221230"/>
                <a:gd name="connsiteY536" fmla="*/ 97094 h 214551"/>
                <a:gd name="connsiteX537" fmla="*/ 82106 w 221230"/>
                <a:gd name="connsiteY537" fmla="*/ 96768 h 214551"/>
                <a:gd name="connsiteX538" fmla="*/ 82106 w 221230"/>
                <a:gd name="connsiteY538" fmla="*/ 96768 h 214551"/>
                <a:gd name="connsiteX539" fmla="*/ 88948 w 221230"/>
                <a:gd name="connsiteY539" fmla="*/ 172521 h 214551"/>
                <a:gd name="connsiteX540" fmla="*/ 89763 w 221230"/>
                <a:gd name="connsiteY540" fmla="*/ 171380 h 214551"/>
                <a:gd name="connsiteX541" fmla="*/ 90577 w 221230"/>
                <a:gd name="connsiteY541" fmla="*/ 174802 h 214551"/>
                <a:gd name="connsiteX542" fmla="*/ 93184 w 221230"/>
                <a:gd name="connsiteY542" fmla="*/ 178223 h 214551"/>
                <a:gd name="connsiteX543" fmla="*/ 91392 w 221230"/>
                <a:gd name="connsiteY543" fmla="*/ 181970 h 214551"/>
                <a:gd name="connsiteX544" fmla="*/ 88948 w 221230"/>
                <a:gd name="connsiteY544" fmla="*/ 180666 h 214551"/>
                <a:gd name="connsiteX545" fmla="*/ 88948 w 221230"/>
                <a:gd name="connsiteY545" fmla="*/ 177897 h 214551"/>
                <a:gd name="connsiteX546" fmla="*/ 87645 w 221230"/>
                <a:gd name="connsiteY546" fmla="*/ 175453 h 214551"/>
                <a:gd name="connsiteX547" fmla="*/ 88948 w 221230"/>
                <a:gd name="connsiteY547" fmla="*/ 172358 h 214551"/>
                <a:gd name="connsiteX548" fmla="*/ 88948 w 221230"/>
                <a:gd name="connsiteY548" fmla="*/ 172358 h 214551"/>
                <a:gd name="connsiteX549" fmla="*/ 88623 w 221230"/>
                <a:gd name="connsiteY549" fmla="*/ 167796 h 214551"/>
                <a:gd name="connsiteX550" fmla="*/ 89926 w 221230"/>
                <a:gd name="connsiteY550" fmla="*/ 169914 h 214551"/>
                <a:gd name="connsiteX551" fmla="*/ 88134 w 221230"/>
                <a:gd name="connsiteY551" fmla="*/ 169914 h 214551"/>
                <a:gd name="connsiteX552" fmla="*/ 88623 w 221230"/>
                <a:gd name="connsiteY552" fmla="*/ 167796 h 2145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</a:cxnLst>
              <a:rect l="l" t="t" r="r" b="b"/>
              <a:pathLst>
                <a:path w="221230" h="214551">
                  <a:moveTo>
                    <a:pt x="166004" y="326"/>
                  </a:moveTo>
                  <a:lnTo>
                    <a:pt x="162909" y="326"/>
                  </a:lnTo>
                  <a:lnTo>
                    <a:pt x="156881" y="4887"/>
                  </a:lnTo>
                  <a:lnTo>
                    <a:pt x="156555" y="10752"/>
                  </a:lnTo>
                  <a:lnTo>
                    <a:pt x="158510" y="15151"/>
                  </a:lnTo>
                  <a:lnTo>
                    <a:pt x="155252" y="17920"/>
                  </a:lnTo>
                  <a:lnTo>
                    <a:pt x="144337" y="17269"/>
                  </a:lnTo>
                  <a:lnTo>
                    <a:pt x="139450" y="19712"/>
                  </a:lnTo>
                  <a:lnTo>
                    <a:pt x="135051" y="17106"/>
                  </a:lnTo>
                  <a:lnTo>
                    <a:pt x="130001" y="17106"/>
                  </a:lnTo>
                  <a:lnTo>
                    <a:pt x="126580" y="19875"/>
                  </a:lnTo>
                  <a:lnTo>
                    <a:pt x="121856" y="19549"/>
                  </a:lnTo>
                  <a:lnTo>
                    <a:pt x="121204" y="15313"/>
                  </a:lnTo>
                  <a:lnTo>
                    <a:pt x="114525" y="15313"/>
                  </a:lnTo>
                  <a:cubicBezTo>
                    <a:pt x="114525" y="15313"/>
                    <a:pt x="108334" y="14336"/>
                    <a:pt x="108334" y="14336"/>
                  </a:cubicBezTo>
                  <a:lnTo>
                    <a:pt x="103936" y="18572"/>
                  </a:lnTo>
                  <a:lnTo>
                    <a:pt x="97419" y="20201"/>
                  </a:lnTo>
                  <a:lnTo>
                    <a:pt x="88948" y="20201"/>
                  </a:lnTo>
                  <a:cubicBezTo>
                    <a:pt x="88948" y="20201"/>
                    <a:pt x="86342" y="18735"/>
                    <a:pt x="86342" y="18735"/>
                  </a:cubicBezTo>
                  <a:lnTo>
                    <a:pt x="83083" y="21667"/>
                  </a:lnTo>
                  <a:lnTo>
                    <a:pt x="78522" y="21667"/>
                  </a:lnTo>
                  <a:cubicBezTo>
                    <a:pt x="78522" y="21667"/>
                    <a:pt x="72657" y="25577"/>
                    <a:pt x="72657" y="25577"/>
                  </a:cubicBezTo>
                  <a:lnTo>
                    <a:pt x="59950" y="25088"/>
                  </a:lnTo>
                  <a:lnTo>
                    <a:pt x="54574" y="28020"/>
                  </a:lnTo>
                  <a:lnTo>
                    <a:pt x="54249" y="30301"/>
                  </a:lnTo>
                  <a:lnTo>
                    <a:pt x="47080" y="32908"/>
                  </a:lnTo>
                  <a:lnTo>
                    <a:pt x="36980" y="39098"/>
                  </a:lnTo>
                  <a:lnTo>
                    <a:pt x="35840" y="46266"/>
                  </a:lnTo>
                  <a:lnTo>
                    <a:pt x="31767" y="53597"/>
                  </a:lnTo>
                  <a:lnTo>
                    <a:pt x="21667" y="56855"/>
                  </a:lnTo>
                  <a:lnTo>
                    <a:pt x="21341" y="62720"/>
                  </a:lnTo>
                  <a:lnTo>
                    <a:pt x="17920" y="70214"/>
                  </a:lnTo>
                  <a:lnTo>
                    <a:pt x="14499" y="72006"/>
                  </a:lnTo>
                  <a:lnTo>
                    <a:pt x="14987" y="72332"/>
                  </a:lnTo>
                  <a:lnTo>
                    <a:pt x="15314" y="79663"/>
                  </a:lnTo>
                  <a:lnTo>
                    <a:pt x="24599" y="86668"/>
                  </a:lnTo>
                  <a:lnTo>
                    <a:pt x="29812" y="94325"/>
                  </a:lnTo>
                  <a:lnTo>
                    <a:pt x="32256" y="94976"/>
                  </a:lnTo>
                  <a:lnTo>
                    <a:pt x="31604" y="97257"/>
                  </a:lnTo>
                  <a:lnTo>
                    <a:pt x="38772" y="107357"/>
                  </a:lnTo>
                  <a:lnTo>
                    <a:pt x="40564" y="114362"/>
                  </a:lnTo>
                  <a:lnTo>
                    <a:pt x="43823" y="115666"/>
                  </a:lnTo>
                  <a:lnTo>
                    <a:pt x="48058" y="110452"/>
                  </a:lnTo>
                  <a:lnTo>
                    <a:pt x="51968" y="115340"/>
                  </a:lnTo>
                  <a:lnTo>
                    <a:pt x="57996" y="116154"/>
                  </a:lnTo>
                  <a:lnTo>
                    <a:pt x="60439" y="112244"/>
                  </a:lnTo>
                  <a:lnTo>
                    <a:pt x="64675" y="112570"/>
                  </a:lnTo>
                  <a:lnTo>
                    <a:pt x="71517" y="116643"/>
                  </a:lnTo>
                  <a:lnTo>
                    <a:pt x="75590" y="114688"/>
                  </a:lnTo>
                  <a:lnTo>
                    <a:pt x="76404" y="118109"/>
                  </a:lnTo>
                  <a:lnTo>
                    <a:pt x="79662" y="118109"/>
                  </a:lnTo>
                  <a:cubicBezTo>
                    <a:pt x="79662" y="118109"/>
                    <a:pt x="82432" y="120064"/>
                    <a:pt x="82432" y="120064"/>
                  </a:cubicBezTo>
                  <a:lnTo>
                    <a:pt x="87808" y="121042"/>
                  </a:lnTo>
                  <a:lnTo>
                    <a:pt x="83898" y="123322"/>
                  </a:lnTo>
                  <a:lnTo>
                    <a:pt x="80477" y="126743"/>
                  </a:lnTo>
                  <a:lnTo>
                    <a:pt x="77056" y="123811"/>
                  </a:lnTo>
                  <a:lnTo>
                    <a:pt x="72332" y="122671"/>
                  </a:lnTo>
                  <a:lnTo>
                    <a:pt x="62231" y="116154"/>
                  </a:lnTo>
                  <a:lnTo>
                    <a:pt x="57833" y="117620"/>
                  </a:lnTo>
                  <a:lnTo>
                    <a:pt x="53597" y="120064"/>
                  </a:lnTo>
                  <a:lnTo>
                    <a:pt x="49198" y="117946"/>
                  </a:lnTo>
                  <a:lnTo>
                    <a:pt x="45451" y="122508"/>
                  </a:lnTo>
                  <a:lnTo>
                    <a:pt x="42682" y="123322"/>
                  </a:lnTo>
                  <a:lnTo>
                    <a:pt x="40890" y="127721"/>
                  </a:lnTo>
                  <a:lnTo>
                    <a:pt x="46266" y="133911"/>
                  </a:lnTo>
                  <a:lnTo>
                    <a:pt x="51805" y="136681"/>
                  </a:lnTo>
                  <a:lnTo>
                    <a:pt x="57181" y="141731"/>
                  </a:lnTo>
                  <a:lnTo>
                    <a:pt x="57833" y="145478"/>
                  </a:lnTo>
                  <a:lnTo>
                    <a:pt x="55715" y="147922"/>
                  </a:lnTo>
                  <a:lnTo>
                    <a:pt x="56041" y="152809"/>
                  </a:lnTo>
                  <a:lnTo>
                    <a:pt x="60765" y="158836"/>
                  </a:lnTo>
                  <a:lnTo>
                    <a:pt x="63860" y="162258"/>
                  </a:lnTo>
                  <a:lnTo>
                    <a:pt x="65164" y="158999"/>
                  </a:lnTo>
                  <a:lnTo>
                    <a:pt x="64023" y="156556"/>
                  </a:lnTo>
                  <a:lnTo>
                    <a:pt x="65978" y="152157"/>
                  </a:lnTo>
                  <a:lnTo>
                    <a:pt x="67770" y="157696"/>
                  </a:lnTo>
                  <a:lnTo>
                    <a:pt x="74612" y="160628"/>
                  </a:lnTo>
                  <a:lnTo>
                    <a:pt x="76241" y="164376"/>
                  </a:lnTo>
                  <a:lnTo>
                    <a:pt x="75264" y="168611"/>
                  </a:lnTo>
                  <a:lnTo>
                    <a:pt x="78196" y="172032"/>
                  </a:lnTo>
                  <a:lnTo>
                    <a:pt x="78196" y="164864"/>
                  </a:lnTo>
                  <a:lnTo>
                    <a:pt x="80640" y="158999"/>
                  </a:lnTo>
                  <a:lnTo>
                    <a:pt x="84876" y="158999"/>
                  </a:lnTo>
                  <a:lnTo>
                    <a:pt x="86830" y="163561"/>
                  </a:lnTo>
                  <a:lnTo>
                    <a:pt x="94324" y="168611"/>
                  </a:lnTo>
                  <a:lnTo>
                    <a:pt x="91229" y="163398"/>
                  </a:lnTo>
                  <a:lnTo>
                    <a:pt x="92044" y="159977"/>
                  </a:lnTo>
                  <a:lnTo>
                    <a:pt x="89274" y="154927"/>
                  </a:lnTo>
                  <a:lnTo>
                    <a:pt x="85853" y="146618"/>
                  </a:lnTo>
                  <a:lnTo>
                    <a:pt x="82758" y="141731"/>
                  </a:lnTo>
                  <a:lnTo>
                    <a:pt x="82758" y="139776"/>
                  </a:lnTo>
                  <a:cubicBezTo>
                    <a:pt x="82758" y="139776"/>
                    <a:pt x="86016" y="139450"/>
                    <a:pt x="86016" y="139450"/>
                  </a:cubicBezTo>
                  <a:lnTo>
                    <a:pt x="91555" y="142383"/>
                  </a:lnTo>
                  <a:lnTo>
                    <a:pt x="89763" y="144501"/>
                  </a:lnTo>
                  <a:lnTo>
                    <a:pt x="91555" y="146455"/>
                  </a:lnTo>
                  <a:lnTo>
                    <a:pt x="94487" y="143360"/>
                  </a:lnTo>
                  <a:lnTo>
                    <a:pt x="100352" y="145315"/>
                  </a:lnTo>
                  <a:lnTo>
                    <a:pt x="100352" y="143360"/>
                  </a:lnTo>
                  <a:cubicBezTo>
                    <a:pt x="100352" y="143360"/>
                    <a:pt x="98234" y="141568"/>
                    <a:pt x="98234" y="141568"/>
                  </a:cubicBezTo>
                  <a:lnTo>
                    <a:pt x="97745" y="139450"/>
                  </a:lnTo>
                  <a:lnTo>
                    <a:pt x="95790" y="138961"/>
                  </a:lnTo>
                  <a:lnTo>
                    <a:pt x="91555" y="136192"/>
                  </a:lnTo>
                  <a:lnTo>
                    <a:pt x="91881" y="133749"/>
                  </a:lnTo>
                  <a:lnTo>
                    <a:pt x="86830" y="129839"/>
                  </a:lnTo>
                  <a:lnTo>
                    <a:pt x="91717" y="127721"/>
                  </a:lnTo>
                  <a:lnTo>
                    <a:pt x="96116" y="127721"/>
                  </a:lnTo>
                  <a:cubicBezTo>
                    <a:pt x="96116" y="127721"/>
                    <a:pt x="98885" y="125603"/>
                    <a:pt x="98885" y="125603"/>
                  </a:cubicBezTo>
                  <a:lnTo>
                    <a:pt x="105891" y="130490"/>
                  </a:lnTo>
                  <a:lnTo>
                    <a:pt x="106705" y="132608"/>
                  </a:lnTo>
                  <a:lnTo>
                    <a:pt x="111592" y="133260"/>
                  </a:lnTo>
                  <a:lnTo>
                    <a:pt x="112896" y="130327"/>
                  </a:lnTo>
                  <a:lnTo>
                    <a:pt x="108660" y="124137"/>
                  </a:lnTo>
                  <a:lnTo>
                    <a:pt x="109801" y="118272"/>
                  </a:lnTo>
                  <a:lnTo>
                    <a:pt x="108008" y="115014"/>
                  </a:lnTo>
                  <a:lnTo>
                    <a:pt x="96279" y="107683"/>
                  </a:lnTo>
                  <a:lnTo>
                    <a:pt x="92532" y="106706"/>
                  </a:lnTo>
                  <a:lnTo>
                    <a:pt x="90740" y="103773"/>
                  </a:lnTo>
                  <a:lnTo>
                    <a:pt x="87482" y="103773"/>
                  </a:lnTo>
                  <a:cubicBezTo>
                    <a:pt x="87482" y="103773"/>
                    <a:pt x="85364" y="101330"/>
                    <a:pt x="85364" y="101330"/>
                  </a:cubicBezTo>
                  <a:lnTo>
                    <a:pt x="80314" y="100678"/>
                  </a:lnTo>
                  <a:lnTo>
                    <a:pt x="75264" y="96279"/>
                  </a:lnTo>
                  <a:lnTo>
                    <a:pt x="80640" y="95465"/>
                  </a:lnTo>
                  <a:lnTo>
                    <a:pt x="83735" y="91718"/>
                  </a:lnTo>
                  <a:lnTo>
                    <a:pt x="83735" y="88949"/>
                  </a:lnTo>
                  <a:cubicBezTo>
                    <a:pt x="83735" y="88949"/>
                    <a:pt x="78522" y="87645"/>
                    <a:pt x="78522" y="87645"/>
                  </a:cubicBezTo>
                  <a:lnTo>
                    <a:pt x="81292" y="84224"/>
                  </a:lnTo>
                  <a:lnTo>
                    <a:pt x="81292" y="81292"/>
                  </a:lnTo>
                  <a:cubicBezTo>
                    <a:pt x="81292" y="81292"/>
                    <a:pt x="85039" y="82758"/>
                    <a:pt x="85039" y="82758"/>
                  </a:cubicBezTo>
                  <a:lnTo>
                    <a:pt x="88296" y="85364"/>
                  </a:lnTo>
                  <a:lnTo>
                    <a:pt x="86993" y="88134"/>
                  </a:lnTo>
                  <a:lnTo>
                    <a:pt x="87319" y="90903"/>
                  </a:lnTo>
                  <a:lnTo>
                    <a:pt x="90089" y="90252"/>
                  </a:lnTo>
                  <a:lnTo>
                    <a:pt x="91881" y="84224"/>
                  </a:lnTo>
                  <a:lnTo>
                    <a:pt x="88460" y="80152"/>
                  </a:lnTo>
                  <a:lnTo>
                    <a:pt x="80640" y="70703"/>
                  </a:lnTo>
                  <a:lnTo>
                    <a:pt x="77382" y="68259"/>
                  </a:lnTo>
                  <a:lnTo>
                    <a:pt x="76567" y="64838"/>
                  </a:lnTo>
                  <a:lnTo>
                    <a:pt x="70539" y="59788"/>
                  </a:lnTo>
                  <a:lnTo>
                    <a:pt x="72657" y="57018"/>
                  </a:lnTo>
                  <a:lnTo>
                    <a:pt x="71680" y="46918"/>
                  </a:lnTo>
                  <a:lnTo>
                    <a:pt x="74938" y="41705"/>
                  </a:lnTo>
                  <a:lnTo>
                    <a:pt x="81128" y="40402"/>
                  </a:lnTo>
                  <a:lnTo>
                    <a:pt x="81943" y="45452"/>
                  </a:lnTo>
                  <a:lnTo>
                    <a:pt x="79011" y="45452"/>
                  </a:lnTo>
                  <a:lnTo>
                    <a:pt x="79662" y="48221"/>
                  </a:lnTo>
                  <a:lnTo>
                    <a:pt x="87645" y="51968"/>
                  </a:lnTo>
                  <a:lnTo>
                    <a:pt x="88460" y="58159"/>
                  </a:lnTo>
                  <a:lnTo>
                    <a:pt x="93510" y="62231"/>
                  </a:lnTo>
                  <a:lnTo>
                    <a:pt x="99049" y="62231"/>
                  </a:lnTo>
                  <a:cubicBezTo>
                    <a:pt x="99049" y="62231"/>
                    <a:pt x="94976" y="59299"/>
                    <a:pt x="94976" y="59299"/>
                  </a:cubicBezTo>
                  <a:lnTo>
                    <a:pt x="92858" y="55389"/>
                  </a:lnTo>
                  <a:lnTo>
                    <a:pt x="93673" y="51968"/>
                  </a:lnTo>
                  <a:lnTo>
                    <a:pt x="98885" y="53760"/>
                  </a:lnTo>
                  <a:lnTo>
                    <a:pt x="102958" y="59299"/>
                  </a:lnTo>
                  <a:lnTo>
                    <a:pt x="106380" y="60602"/>
                  </a:lnTo>
                  <a:lnTo>
                    <a:pt x="108334" y="57344"/>
                  </a:lnTo>
                  <a:lnTo>
                    <a:pt x="104425" y="54412"/>
                  </a:lnTo>
                  <a:lnTo>
                    <a:pt x="101003" y="53109"/>
                  </a:lnTo>
                  <a:lnTo>
                    <a:pt x="101003" y="50176"/>
                  </a:lnTo>
                  <a:cubicBezTo>
                    <a:pt x="101003" y="50176"/>
                    <a:pt x="110615" y="50502"/>
                    <a:pt x="110615" y="50502"/>
                  </a:cubicBezTo>
                  <a:lnTo>
                    <a:pt x="114036" y="53923"/>
                  </a:lnTo>
                  <a:lnTo>
                    <a:pt x="115665" y="52131"/>
                  </a:lnTo>
                  <a:lnTo>
                    <a:pt x="110289" y="47081"/>
                  </a:lnTo>
                  <a:lnTo>
                    <a:pt x="104750" y="46266"/>
                  </a:lnTo>
                  <a:lnTo>
                    <a:pt x="100189" y="40890"/>
                  </a:lnTo>
                  <a:lnTo>
                    <a:pt x="102958" y="37795"/>
                  </a:lnTo>
                  <a:lnTo>
                    <a:pt x="108008" y="39261"/>
                  </a:lnTo>
                  <a:lnTo>
                    <a:pt x="112081" y="36980"/>
                  </a:lnTo>
                  <a:lnTo>
                    <a:pt x="114036" y="30138"/>
                  </a:lnTo>
                  <a:lnTo>
                    <a:pt x="117783" y="28835"/>
                  </a:lnTo>
                  <a:lnTo>
                    <a:pt x="123322" y="33071"/>
                  </a:lnTo>
                  <a:lnTo>
                    <a:pt x="127558" y="33396"/>
                  </a:lnTo>
                  <a:lnTo>
                    <a:pt x="132282" y="28509"/>
                  </a:lnTo>
                  <a:lnTo>
                    <a:pt x="132282" y="26066"/>
                  </a:lnTo>
                  <a:lnTo>
                    <a:pt x="134563" y="26066"/>
                  </a:lnTo>
                  <a:lnTo>
                    <a:pt x="137984" y="30138"/>
                  </a:lnTo>
                  <a:lnTo>
                    <a:pt x="148410" y="30138"/>
                  </a:lnTo>
                  <a:lnTo>
                    <a:pt x="156230" y="32256"/>
                  </a:lnTo>
                  <a:lnTo>
                    <a:pt x="161769" y="30790"/>
                  </a:lnTo>
                  <a:lnTo>
                    <a:pt x="164701" y="24925"/>
                  </a:lnTo>
                  <a:lnTo>
                    <a:pt x="163560" y="19386"/>
                  </a:lnTo>
                  <a:lnTo>
                    <a:pt x="170240" y="15313"/>
                  </a:lnTo>
                  <a:lnTo>
                    <a:pt x="170566" y="8960"/>
                  </a:lnTo>
                  <a:lnTo>
                    <a:pt x="165353" y="6679"/>
                  </a:lnTo>
                  <a:lnTo>
                    <a:pt x="166493" y="0"/>
                  </a:lnTo>
                  <a:lnTo>
                    <a:pt x="166493" y="0"/>
                  </a:lnTo>
                  <a:close/>
                  <a:moveTo>
                    <a:pt x="108986" y="198586"/>
                  </a:moveTo>
                  <a:lnTo>
                    <a:pt x="107357" y="195491"/>
                  </a:lnTo>
                  <a:lnTo>
                    <a:pt x="107357" y="199075"/>
                  </a:lnTo>
                  <a:cubicBezTo>
                    <a:pt x="107357" y="199075"/>
                    <a:pt x="105565" y="202333"/>
                    <a:pt x="105565" y="202333"/>
                  </a:cubicBezTo>
                  <a:lnTo>
                    <a:pt x="106054" y="206243"/>
                  </a:lnTo>
                  <a:lnTo>
                    <a:pt x="109801" y="207872"/>
                  </a:lnTo>
                  <a:lnTo>
                    <a:pt x="118272" y="206732"/>
                  </a:lnTo>
                  <a:lnTo>
                    <a:pt x="121856" y="207709"/>
                  </a:lnTo>
                  <a:lnTo>
                    <a:pt x="125277" y="206569"/>
                  </a:lnTo>
                  <a:lnTo>
                    <a:pt x="130327" y="208035"/>
                  </a:lnTo>
                  <a:lnTo>
                    <a:pt x="135866" y="211293"/>
                  </a:lnTo>
                  <a:lnTo>
                    <a:pt x="136517" y="214552"/>
                  </a:lnTo>
                  <a:lnTo>
                    <a:pt x="142871" y="214226"/>
                  </a:lnTo>
                  <a:lnTo>
                    <a:pt x="148084" y="210968"/>
                  </a:lnTo>
                  <a:lnTo>
                    <a:pt x="153949" y="211456"/>
                  </a:lnTo>
                  <a:lnTo>
                    <a:pt x="163398" y="211130"/>
                  </a:lnTo>
                  <a:lnTo>
                    <a:pt x="169914" y="211130"/>
                  </a:lnTo>
                  <a:cubicBezTo>
                    <a:pt x="169914" y="211130"/>
                    <a:pt x="173661" y="209012"/>
                    <a:pt x="173661" y="209012"/>
                  </a:cubicBezTo>
                  <a:lnTo>
                    <a:pt x="175290" y="205428"/>
                  </a:lnTo>
                  <a:lnTo>
                    <a:pt x="174476" y="201844"/>
                  </a:lnTo>
                  <a:lnTo>
                    <a:pt x="174476" y="199564"/>
                  </a:lnTo>
                  <a:lnTo>
                    <a:pt x="173172" y="201519"/>
                  </a:lnTo>
                  <a:lnTo>
                    <a:pt x="173172" y="204125"/>
                  </a:lnTo>
                  <a:cubicBezTo>
                    <a:pt x="173172" y="204125"/>
                    <a:pt x="169914" y="206732"/>
                    <a:pt x="169914" y="206732"/>
                  </a:cubicBezTo>
                  <a:lnTo>
                    <a:pt x="167633" y="204777"/>
                  </a:lnTo>
                  <a:lnTo>
                    <a:pt x="165027" y="205754"/>
                  </a:lnTo>
                  <a:lnTo>
                    <a:pt x="162257" y="205428"/>
                  </a:lnTo>
                  <a:lnTo>
                    <a:pt x="162746" y="202985"/>
                  </a:lnTo>
                  <a:lnTo>
                    <a:pt x="161443" y="199727"/>
                  </a:lnTo>
                  <a:lnTo>
                    <a:pt x="158999" y="199727"/>
                  </a:lnTo>
                  <a:cubicBezTo>
                    <a:pt x="158999" y="199727"/>
                    <a:pt x="152157" y="198912"/>
                    <a:pt x="152157" y="198912"/>
                  </a:cubicBezTo>
                  <a:lnTo>
                    <a:pt x="146781" y="196469"/>
                  </a:lnTo>
                  <a:lnTo>
                    <a:pt x="139613" y="196794"/>
                  </a:lnTo>
                  <a:lnTo>
                    <a:pt x="133585" y="200541"/>
                  </a:lnTo>
                  <a:lnTo>
                    <a:pt x="129024" y="201682"/>
                  </a:lnTo>
                  <a:lnTo>
                    <a:pt x="125114" y="199727"/>
                  </a:lnTo>
                  <a:lnTo>
                    <a:pt x="123322" y="197772"/>
                  </a:lnTo>
                  <a:lnTo>
                    <a:pt x="120227" y="198261"/>
                  </a:lnTo>
                  <a:lnTo>
                    <a:pt x="122344" y="196306"/>
                  </a:lnTo>
                  <a:lnTo>
                    <a:pt x="120553" y="193210"/>
                  </a:lnTo>
                  <a:lnTo>
                    <a:pt x="116643" y="193536"/>
                  </a:lnTo>
                  <a:lnTo>
                    <a:pt x="117294" y="195491"/>
                  </a:lnTo>
                  <a:lnTo>
                    <a:pt x="118598" y="195817"/>
                  </a:lnTo>
                  <a:lnTo>
                    <a:pt x="117132" y="197120"/>
                  </a:lnTo>
                  <a:lnTo>
                    <a:pt x="113385" y="197120"/>
                  </a:lnTo>
                  <a:cubicBezTo>
                    <a:pt x="113385" y="197120"/>
                    <a:pt x="112407" y="193536"/>
                    <a:pt x="112407" y="193536"/>
                  </a:cubicBezTo>
                  <a:lnTo>
                    <a:pt x="111267" y="193210"/>
                  </a:lnTo>
                  <a:lnTo>
                    <a:pt x="110778" y="195328"/>
                  </a:lnTo>
                  <a:lnTo>
                    <a:pt x="111430" y="197935"/>
                  </a:lnTo>
                  <a:lnTo>
                    <a:pt x="109475" y="198586"/>
                  </a:lnTo>
                  <a:lnTo>
                    <a:pt x="109475" y="198586"/>
                  </a:lnTo>
                  <a:close/>
                  <a:moveTo>
                    <a:pt x="6679" y="69562"/>
                  </a:moveTo>
                  <a:lnTo>
                    <a:pt x="6679" y="74612"/>
                  </a:lnTo>
                  <a:cubicBezTo>
                    <a:pt x="6679" y="74612"/>
                    <a:pt x="9285" y="77871"/>
                    <a:pt x="9285" y="77871"/>
                  </a:cubicBezTo>
                  <a:lnTo>
                    <a:pt x="12544" y="79011"/>
                  </a:lnTo>
                  <a:lnTo>
                    <a:pt x="13033" y="80803"/>
                  </a:lnTo>
                  <a:lnTo>
                    <a:pt x="11892" y="81780"/>
                  </a:lnTo>
                  <a:lnTo>
                    <a:pt x="7819" y="79826"/>
                  </a:lnTo>
                  <a:lnTo>
                    <a:pt x="3258" y="75101"/>
                  </a:lnTo>
                  <a:lnTo>
                    <a:pt x="2932" y="73635"/>
                  </a:lnTo>
                  <a:lnTo>
                    <a:pt x="326" y="72495"/>
                  </a:lnTo>
                  <a:lnTo>
                    <a:pt x="0" y="69888"/>
                  </a:lnTo>
                  <a:lnTo>
                    <a:pt x="4398" y="68259"/>
                  </a:lnTo>
                  <a:lnTo>
                    <a:pt x="6679" y="69725"/>
                  </a:lnTo>
                  <a:lnTo>
                    <a:pt x="6679" y="69725"/>
                  </a:lnTo>
                  <a:close/>
                  <a:moveTo>
                    <a:pt x="26391" y="105891"/>
                  </a:moveTo>
                  <a:lnTo>
                    <a:pt x="26065" y="104262"/>
                  </a:lnTo>
                  <a:lnTo>
                    <a:pt x="28346" y="100189"/>
                  </a:lnTo>
                  <a:lnTo>
                    <a:pt x="30138" y="99863"/>
                  </a:lnTo>
                  <a:lnTo>
                    <a:pt x="30790" y="104262"/>
                  </a:lnTo>
                  <a:lnTo>
                    <a:pt x="29160" y="106217"/>
                  </a:lnTo>
                  <a:lnTo>
                    <a:pt x="27532" y="106543"/>
                  </a:lnTo>
                  <a:lnTo>
                    <a:pt x="26228" y="106054"/>
                  </a:lnTo>
                  <a:lnTo>
                    <a:pt x="26228" y="106054"/>
                  </a:lnTo>
                  <a:close/>
                  <a:moveTo>
                    <a:pt x="26880" y="114199"/>
                  </a:moveTo>
                  <a:lnTo>
                    <a:pt x="26880" y="108009"/>
                  </a:lnTo>
                  <a:cubicBezTo>
                    <a:pt x="26880" y="108009"/>
                    <a:pt x="29812" y="110452"/>
                    <a:pt x="29812" y="110452"/>
                  </a:cubicBezTo>
                  <a:lnTo>
                    <a:pt x="31441" y="114036"/>
                  </a:lnTo>
                  <a:lnTo>
                    <a:pt x="30790" y="116154"/>
                  </a:lnTo>
                  <a:lnTo>
                    <a:pt x="33071" y="118435"/>
                  </a:lnTo>
                  <a:lnTo>
                    <a:pt x="33722" y="120879"/>
                  </a:lnTo>
                  <a:lnTo>
                    <a:pt x="34699" y="122345"/>
                  </a:lnTo>
                  <a:lnTo>
                    <a:pt x="33071" y="124788"/>
                  </a:lnTo>
                  <a:lnTo>
                    <a:pt x="29975" y="123160"/>
                  </a:lnTo>
                  <a:lnTo>
                    <a:pt x="26391" y="122671"/>
                  </a:lnTo>
                  <a:lnTo>
                    <a:pt x="26391" y="119738"/>
                  </a:lnTo>
                  <a:lnTo>
                    <a:pt x="25251" y="118435"/>
                  </a:lnTo>
                  <a:lnTo>
                    <a:pt x="25251" y="121042"/>
                  </a:lnTo>
                  <a:cubicBezTo>
                    <a:pt x="25251" y="121042"/>
                    <a:pt x="23948" y="122345"/>
                    <a:pt x="23948" y="122345"/>
                  </a:cubicBezTo>
                  <a:lnTo>
                    <a:pt x="21667" y="119901"/>
                  </a:lnTo>
                  <a:lnTo>
                    <a:pt x="21667" y="114525"/>
                  </a:lnTo>
                  <a:lnTo>
                    <a:pt x="24762" y="113711"/>
                  </a:lnTo>
                  <a:lnTo>
                    <a:pt x="27043" y="114036"/>
                  </a:lnTo>
                  <a:lnTo>
                    <a:pt x="27043" y="114036"/>
                  </a:lnTo>
                  <a:close/>
                  <a:moveTo>
                    <a:pt x="36166" y="132445"/>
                  </a:moveTo>
                  <a:lnTo>
                    <a:pt x="38121" y="134726"/>
                  </a:lnTo>
                  <a:lnTo>
                    <a:pt x="35025" y="134237"/>
                  </a:lnTo>
                  <a:lnTo>
                    <a:pt x="34374" y="135866"/>
                  </a:lnTo>
                  <a:lnTo>
                    <a:pt x="31441" y="135052"/>
                  </a:lnTo>
                  <a:lnTo>
                    <a:pt x="28020" y="131468"/>
                  </a:lnTo>
                  <a:lnTo>
                    <a:pt x="28672" y="128698"/>
                  </a:lnTo>
                  <a:lnTo>
                    <a:pt x="30627" y="127721"/>
                  </a:lnTo>
                  <a:lnTo>
                    <a:pt x="33722" y="129187"/>
                  </a:lnTo>
                  <a:lnTo>
                    <a:pt x="36003" y="132282"/>
                  </a:lnTo>
                  <a:lnTo>
                    <a:pt x="36003" y="132282"/>
                  </a:lnTo>
                  <a:close/>
                  <a:moveTo>
                    <a:pt x="195165" y="188486"/>
                  </a:moveTo>
                  <a:lnTo>
                    <a:pt x="194514" y="187346"/>
                  </a:lnTo>
                  <a:lnTo>
                    <a:pt x="195817" y="185065"/>
                  </a:lnTo>
                  <a:lnTo>
                    <a:pt x="195817" y="187509"/>
                  </a:lnTo>
                  <a:lnTo>
                    <a:pt x="195165" y="188486"/>
                  </a:lnTo>
                  <a:lnTo>
                    <a:pt x="195165" y="188486"/>
                  </a:lnTo>
                  <a:close/>
                  <a:moveTo>
                    <a:pt x="194025" y="201519"/>
                  </a:moveTo>
                  <a:lnTo>
                    <a:pt x="193210" y="196306"/>
                  </a:lnTo>
                  <a:lnTo>
                    <a:pt x="191581" y="193210"/>
                  </a:lnTo>
                  <a:lnTo>
                    <a:pt x="194351" y="189789"/>
                  </a:lnTo>
                  <a:lnTo>
                    <a:pt x="195002" y="192885"/>
                  </a:lnTo>
                  <a:lnTo>
                    <a:pt x="197446" y="195980"/>
                  </a:lnTo>
                  <a:lnTo>
                    <a:pt x="195654" y="200867"/>
                  </a:lnTo>
                  <a:lnTo>
                    <a:pt x="194025" y="201682"/>
                  </a:lnTo>
                  <a:lnTo>
                    <a:pt x="194025" y="201682"/>
                  </a:lnTo>
                  <a:close/>
                  <a:moveTo>
                    <a:pt x="207383" y="186368"/>
                  </a:moveTo>
                  <a:lnTo>
                    <a:pt x="205754" y="184739"/>
                  </a:lnTo>
                  <a:lnTo>
                    <a:pt x="207057" y="181970"/>
                  </a:lnTo>
                  <a:lnTo>
                    <a:pt x="206243" y="180992"/>
                  </a:lnTo>
                  <a:lnTo>
                    <a:pt x="206569" y="178386"/>
                  </a:lnTo>
                  <a:lnTo>
                    <a:pt x="212108" y="173824"/>
                  </a:lnTo>
                  <a:lnTo>
                    <a:pt x="217972" y="171380"/>
                  </a:lnTo>
                  <a:lnTo>
                    <a:pt x="221230" y="169914"/>
                  </a:lnTo>
                  <a:lnTo>
                    <a:pt x="220905" y="172521"/>
                  </a:lnTo>
                  <a:lnTo>
                    <a:pt x="219113" y="173987"/>
                  </a:lnTo>
                  <a:lnTo>
                    <a:pt x="218135" y="176757"/>
                  </a:lnTo>
                  <a:lnTo>
                    <a:pt x="216832" y="179037"/>
                  </a:lnTo>
                  <a:lnTo>
                    <a:pt x="216832" y="180666"/>
                  </a:lnTo>
                  <a:cubicBezTo>
                    <a:pt x="216832" y="180666"/>
                    <a:pt x="214551" y="180666"/>
                    <a:pt x="214551" y="180666"/>
                  </a:cubicBezTo>
                  <a:lnTo>
                    <a:pt x="211782" y="183273"/>
                  </a:lnTo>
                  <a:lnTo>
                    <a:pt x="209501" y="186042"/>
                  </a:lnTo>
                  <a:lnTo>
                    <a:pt x="207383" y="186368"/>
                  </a:lnTo>
                  <a:lnTo>
                    <a:pt x="207383" y="186368"/>
                  </a:lnTo>
                  <a:close/>
                  <a:moveTo>
                    <a:pt x="173172" y="169588"/>
                  </a:moveTo>
                  <a:lnTo>
                    <a:pt x="170892" y="167796"/>
                  </a:lnTo>
                  <a:lnTo>
                    <a:pt x="172032" y="166004"/>
                  </a:lnTo>
                  <a:lnTo>
                    <a:pt x="175942" y="164538"/>
                  </a:lnTo>
                  <a:lnTo>
                    <a:pt x="177897" y="165516"/>
                  </a:lnTo>
                  <a:lnTo>
                    <a:pt x="176267" y="168122"/>
                  </a:lnTo>
                  <a:cubicBezTo>
                    <a:pt x="176267" y="168122"/>
                    <a:pt x="173009" y="169588"/>
                    <a:pt x="173009" y="169588"/>
                  </a:cubicBezTo>
                  <a:lnTo>
                    <a:pt x="173009" y="169588"/>
                  </a:lnTo>
                  <a:close/>
                  <a:moveTo>
                    <a:pt x="172683" y="133260"/>
                  </a:moveTo>
                  <a:lnTo>
                    <a:pt x="176919" y="129839"/>
                  </a:lnTo>
                  <a:lnTo>
                    <a:pt x="179851" y="130164"/>
                  </a:lnTo>
                  <a:lnTo>
                    <a:pt x="182947" y="132608"/>
                  </a:lnTo>
                  <a:lnTo>
                    <a:pt x="183762" y="131631"/>
                  </a:lnTo>
                  <a:lnTo>
                    <a:pt x="185065" y="131957"/>
                  </a:lnTo>
                  <a:lnTo>
                    <a:pt x="185553" y="133911"/>
                  </a:lnTo>
                  <a:lnTo>
                    <a:pt x="182784" y="135215"/>
                  </a:lnTo>
                  <a:lnTo>
                    <a:pt x="181644" y="136681"/>
                  </a:lnTo>
                  <a:lnTo>
                    <a:pt x="179200" y="136681"/>
                  </a:lnTo>
                  <a:cubicBezTo>
                    <a:pt x="179200" y="136681"/>
                    <a:pt x="177082" y="134237"/>
                    <a:pt x="177082" y="134237"/>
                  </a:cubicBezTo>
                  <a:lnTo>
                    <a:pt x="174313" y="134237"/>
                  </a:lnTo>
                  <a:cubicBezTo>
                    <a:pt x="174313" y="134237"/>
                    <a:pt x="171706" y="135215"/>
                    <a:pt x="171706" y="135215"/>
                  </a:cubicBezTo>
                  <a:lnTo>
                    <a:pt x="172846" y="133423"/>
                  </a:lnTo>
                  <a:lnTo>
                    <a:pt x="172846" y="133423"/>
                  </a:lnTo>
                  <a:close/>
                  <a:moveTo>
                    <a:pt x="164049" y="106217"/>
                  </a:moveTo>
                  <a:lnTo>
                    <a:pt x="165190" y="112570"/>
                  </a:lnTo>
                  <a:lnTo>
                    <a:pt x="164212" y="116806"/>
                  </a:lnTo>
                  <a:lnTo>
                    <a:pt x="160791" y="118435"/>
                  </a:lnTo>
                  <a:lnTo>
                    <a:pt x="158022" y="116317"/>
                  </a:lnTo>
                  <a:lnTo>
                    <a:pt x="158022" y="114362"/>
                  </a:lnTo>
                  <a:cubicBezTo>
                    <a:pt x="158022" y="114362"/>
                    <a:pt x="160303" y="113385"/>
                    <a:pt x="160303" y="113385"/>
                  </a:cubicBezTo>
                  <a:lnTo>
                    <a:pt x="160303" y="109638"/>
                  </a:lnTo>
                  <a:cubicBezTo>
                    <a:pt x="160303" y="109638"/>
                    <a:pt x="156881" y="107194"/>
                    <a:pt x="156881" y="107194"/>
                  </a:cubicBezTo>
                  <a:lnTo>
                    <a:pt x="156881" y="105565"/>
                  </a:lnTo>
                  <a:lnTo>
                    <a:pt x="159814" y="103936"/>
                  </a:lnTo>
                  <a:lnTo>
                    <a:pt x="162909" y="105239"/>
                  </a:lnTo>
                  <a:lnTo>
                    <a:pt x="164049" y="106380"/>
                  </a:lnTo>
                  <a:lnTo>
                    <a:pt x="164049" y="106380"/>
                  </a:lnTo>
                  <a:close/>
                  <a:moveTo>
                    <a:pt x="157207" y="91392"/>
                  </a:moveTo>
                  <a:lnTo>
                    <a:pt x="153460" y="88297"/>
                  </a:lnTo>
                  <a:lnTo>
                    <a:pt x="155741" y="84387"/>
                  </a:lnTo>
                  <a:lnTo>
                    <a:pt x="161443" y="82432"/>
                  </a:lnTo>
                  <a:lnTo>
                    <a:pt x="164212" y="80640"/>
                  </a:lnTo>
                  <a:lnTo>
                    <a:pt x="169588" y="79826"/>
                  </a:lnTo>
                  <a:lnTo>
                    <a:pt x="170403" y="81129"/>
                  </a:lnTo>
                  <a:lnTo>
                    <a:pt x="169425" y="84061"/>
                  </a:lnTo>
                  <a:lnTo>
                    <a:pt x="170566" y="84061"/>
                  </a:lnTo>
                  <a:cubicBezTo>
                    <a:pt x="170566" y="84061"/>
                    <a:pt x="171380" y="87971"/>
                    <a:pt x="171380" y="87971"/>
                  </a:cubicBezTo>
                  <a:lnTo>
                    <a:pt x="171380" y="93347"/>
                  </a:lnTo>
                  <a:cubicBezTo>
                    <a:pt x="171380" y="93347"/>
                    <a:pt x="166167" y="93673"/>
                    <a:pt x="166167" y="93673"/>
                  </a:cubicBezTo>
                  <a:lnTo>
                    <a:pt x="162746" y="92044"/>
                  </a:lnTo>
                  <a:lnTo>
                    <a:pt x="164049" y="90089"/>
                  </a:lnTo>
                  <a:lnTo>
                    <a:pt x="166167" y="88297"/>
                  </a:lnTo>
                  <a:lnTo>
                    <a:pt x="166493" y="85202"/>
                  </a:lnTo>
                  <a:lnTo>
                    <a:pt x="162746" y="85202"/>
                  </a:lnTo>
                  <a:cubicBezTo>
                    <a:pt x="162746" y="85202"/>
                    <a:pt x="161606" y="88297"/>
                    <a:pt x="161606" y="88297"/>
                  </a:cubicBezTo>
                  <a:lnTo>
                    <a:pt x="161117" y="91392"/>
                  </a:lnTo>
                  <a:lnTo>
                    <a:pt x="158673" y="91881"/>
                  </a:lnTo>
                  <a:lnTo>
                    <a:pt x="157044" y="91881"/>
                  </a:lnTo>
                  <a:close/>
                  <a:moveTo>
                    <a:pt x="144337" y="44800"/>
                  </a:moveTo>
                  <a:lnTo>
                    <a:pt x="145315" y="43008"/>
                  </a:lnTo>
                  <a:lnTo>
                    <a:pt x="148736" y="42519"/>
                  </a:lnTo>
                  <a:lnTo>
                    <a:pt x="151831" y="43334"/>
                  </a:lnTo>
                  <a:lnTo>
                    <a:pt x="151831" y="45615"/>
                  </a:lnTo>
                  <a:cubicBezTo>
                    <a:pt x="151831" y="45615"/>
                    <a:pt x="149225" y="46592"/>
                    <a:pt x="149225" y="46592"/>
                  </a:cubicBezTo>
                  <a:lnTo>
                    <a:pt x="144500" y="44637"/>
                  </a:lnTo>
                  <a:lnTo>
                    <a:pt x="144500" y="44637"/>
                  </a:lnTo>
                  <a:close/>
                  <a:moveTo>
                    <a:pt x="133260" y="57996"/>
                  </a:moveTo>
                  <a:lnTo>
                    <a:pt x="137332" y="57996"/>
                  </a:lnTo>
                  <a:cubicBezTo>
                    <a:pt x="137332" y="57996"/>
                    <a:pt x="139124" y="59462"/>
                    <a:pt x="139124" y="59462"/>
                  </a:cubicBezTo>
                  <a:lnTo>
                    <a:pt x="141731" y="57018"/>
                  </a:lnTo>
                  <a:lnTo>
                    <a:pt x="144337" y="58485"/>
                  </a:lnTo>
                  <a:lnTo>
                    <a:pt x="141242" y="61906"/>
                  </a:lnTo>
                  <a:lnTo>
                    <a:pt x="140590" y="66793"/>
                  </a:lnTo>
                  <a:lnTo>
                    <a:pt x="137658" y="65490"/>
                  </a:lnTo>
                  <a:lnTo>
                    <a:pt x="135703" y="65815"/>
                  </a:lnTo>
                  <a:lnTo>
                    <a:pt x="133423" y="63861"/>
                  </a:lnTo>
                  <a:lnTo>
                    <a:pt x="132282" y="59951"/>
                  </a:lnTo>
                  <a:lnTo>
                    <a:pt x="133585" y="57996"/>
                  </a:lnTo>
                  <a:lnTo>
                    <a:pt x="133585" y="57996"/>
                  </a:lnTo>
                  <a:close/>
                  <a:moveTo>
                    <a:pt x="120878" y="36003"/>
                  </a:moveTo>
                  <a:lnTo>
                    <a:pt x="122833" y="35188"/>
                  </a:lnTo>
                  <a:lnTo>
                    <a:pt x="126417" y="36980"/>
                  </a:lnTo>
                  <a:lnTo>
                    <a:pt x="126906" y="39750"/>
                  </a:lnTo>
                  <a:lnTo>
                    <a:pt x="123648" y="41379"/>
                  </a:lnTo>
                  <a:lnTo>
                    <a:pt x="122344" y="40564"/>
                  </a:lnTo>
                  <a:lnTo>
                    <a:pt x="119575" y="40564"/>
                  </a:lnTo>
                  <a:cubicBezTo>
                    <a:pt x="119575" y="40564"/>
                    <a:pt x="121041" y="36003"/>
                    <a:pt x="121041" y="36003"/>
                  </a:cubicBezTo>
                  <a:lnTo>
                    <a:pt x="121041" y="36003"/>
                  </a:lnTo>
                  <a:close/>
                  <a:moveTo>
                    <a:pt x="97745" y="87645"/>
                  </a:moveTo>
                  <a:lnTo>
                    <a:pt x="99374" y="87156"/>
                  </a:lnTo>
                  <a:lnTo>
                    <a:pt x="101981" y="88134"/>
                  </a:lnTo>
                  <a:lnTo>
                    <a:pt x="102796" y="91392"/>
                  </a:lnTo>
                  <a:lnTo>
                    <a:pt x="101981" y="93184"/>
                  </a:lnTo>
                  <a:lnTo>
                    <a:pt x="97745" y="87808"/>
                  </a:lnTo>
                  <a:lnTo>
                    <a:pt x="97745" y="87808"/>
                  </a:lnTo>
                  <a:close/>
                  <a:moveTo>
                    <a:pt x="93021" y="87808"/>
                  </a:moveTo>
                  <a:lnTo>
                    <a:pt x="94976" y="86505"/>
                  </a:lnTo>
                  <a:lnTo>
                    <a:pt x="96116" y="87645"/>
                  </a:lnTo>
                  <a:lnTo>
                    <a:pt x="94813" y="90089"/>
                  </a:lnTo>
                  <a:lnTo>
                    <a:pt x="93021" y="87808"/>
                  </a:lnTo>
                  <a:lnTo>
                    <a:pt x="93021" y="87808"/>
                  </a:lnTo>
                  <a:close/>
                  <a:moveTo>
                    <a:pt x="122182" y="93510"/>
                  </a:moveTo>
                  <a:lnTo>
                    <a:pt x="123974" y="92858"/>
                  </a:lnTo>
                  <a:lnTo>
                    <a:pt x="126092" y="95139"/>
                  </a:lnTo>
                  <a:lnTo>
                    <a:pt x="128698" y="96117"/>
                  </a:lnTo>
                  <a:lnTo>
                    <a:pt x="129187" y="100352"/>
                  </a:lnTo>
                  <a:lnTo>
                    <a:pt x="127558" y="101004"/>
                  </a:lnTo>
                  <a:lnTo>
                    <a:pt x="126255" y="98071"/>
                  </a:lnTo>
                  <a:lnTo>
                    <a:pt x="124951" y="97745"/>
                  </a:lnTo>
                  <a:lnTo>
                    <a:pt x="122344" y="93510"/>
                  </a:lnTo>
                  <a:lnTo>
                    <a:pt x="122344" y="93510"/>
                  </a:lnTo>
                  <a:close/>
                  <a:moveTo>
                    <a:pt x="163724" y="142220"/>
                  </a:moveTo>
                  <a:lnTo>
                    <a:pt x="162094" y="140102"/>
                  </a:lnTo>
                  <a:lnTo>
                    <a:pt x="162909" y="137333"/>
                  </a:lnTo>
                  <a:lnTo>
                    <a:pt x="168285" y="136355"/>
                  </a:lnTo>
                  <a:lnTo>
                    <a:pt x="167471" y="138961"/>
                  </a:lnTo>
                  <a:lnTo>
                    <a:pt x="163887" y="142220"/>
                  </a:lnTo>
                  <a:lnTo>
                    <a:pt x="163887" y="142220"/>
                  </a:lnTo>
                  <a:close/>
                  <a:moveTo>
                    <a:pt x="121693" y="167960"/>
                  </a:moveTo>
                  <a:lnTo>
                    <a:pt x="124137" y="164376"/>
                  </a:lnTo>
                  <a:lnTo>
                    <a:pt x="127395" y="164376"/>
                  </a:lnTo>
                  <a:cubicBezTo>
                    <a:pt x="127395" y="164376"/>
                    <a:pt x="126580" y="167145"/>
                    <a:pt x="126580" y="167145"/>
                  </a:cubicBezTo>
                  <a:lnTo>
                    <a:pt x="123811" y="168122"/>
                  </a:lnTo>
                  <a:lnTo>
                    <a:pt x="121530" y="167796"/>
                  </a:lnTo>
                  <a:lnTo>
                    <a:pt x="121530" y="167796"/>
                  </a:lnTo>
                  <a:close/>
                  <a:moveTo>
                    <a:pt x="123648" y="152157"/>
                  </a:moveTo>
                  <a:lnTo>
                    <a:pt x="125928" y="150528"/>
                  </a:lnTo>
                  <a:lnTo>
                    <a:pt x="125928" y="153786"/>
                  </a:lnTo>
                  <a:lnTo>
                    <a:pt x="123648" y="152157"/>
                  </a:lnTo>
                  <a:lnTo>
                    <a:pt x="123648" y="152157"/>
                  </a:lnTo>
                  <a:close/>
                  <a:moveTo>
                    <a:pt x="122671" y="147433"/>
                  </a:moveTo>
                  <a:lnTo>
                    <a:pt x="122671" y="143197"/>
                  </a:lnTo>
                  <a:lnTo>
                    <a:pt x="124951" y="143849"/>
                  </a:lnTo>
                  <a:lnTo>
                    <a:pt x="124951" y="146130"/>
                  </a:lnTo>
                  <a:cubicBezTo>
                    <a:pt x="124951" y="146130"/>
                    <a:pt x="122833" y="147433"/>
                    <a:pt x="122671" y="147433"/>
                  </a:cubicBezTo>
                  <a:lnTo>
                    <a:pt x="122671" y="147433"/>
                  </a:lnTo>
                  <a:close/>
                  <a:moveTo>
                    <a:pt x="120227" y="141405"/>
                  </a:moveTo>
                  <a:lnTo>
                    <a:pt x="119412" y="139776"/>
                  </a:lnTo>
                  <a:lnTo>
                    <a:pt x="121041" y="137821"/>
                  </a:lnTo>
                  <a:lnTo>
                    <a:pt x="122833" y="140265"/>
                  </a:lnTo>
                  <a:lnTo>
                    <a:pt x="120227" y="141405"/>
                  </a:lnTo>
                  <a:lnTo>
                    <a:pt x="120227" y="141405"/>
                  </a:lnTo>
                  <a:close/>
                  <a:moveTo>
                    <a:pt x="143360" y="156556"/>
                  </a:moveTo>
                  <a:lnTo>
                    <a:pt x="141079" y="154601"/>
                  </a:lnTo>
                  <a:lnTo>
                    <a:pt x="142057" y="150528"/>
                  </a:lnTo>
                  <a:lnTo>
                    <a:pt x="144500" y="150528"/>
                  </a:lnTo>
                  <a:lnTo>
                    <a:pt x="145641" y="153135"/>
                  </a:lnTo>
                  <a:lnTo>
                    <a:pt x="143197" y="156556"/>
                  </a:lnTo>
                  <a:lnTo>
                    <a:pt x="143197" y="156556"/>
                  </a:lnTo>
                  <a:close/>
                  <a:moveTo>
                    <a:pt x="149550" y="155578"/>
                  </a:moveTo>
                  <a:lnTo>
                    <a:pt x="147758" y="152646"/>
                  </a:lnTo>
                  <a:lnTo>
                    <a:pt x="151342" y="149551"/>
                  </a:lnTo>
                  <a:lnTo>
                    <a:pt x="153623" y="150039"/>
                  </a:lnTo>
                  <a:lnTo>
                    <a:pt x="154112" y="152646"/>
                  </a:lnTo>
                  <a:lnTo>
                    <a:pt x="151831" y="155578"/>
                  </a:lnTo>
                  <a:lnTo>
                    <a:pt x="149387" y="155578"/>
                  </a:lnTo>
                  <a:close/>
                  <a:moveTo>
                    <a:pt x="148084" y="144338"/>
                  </a:moveTo>
                  <a:lnTo>
                    <a:pt x="148084" y="142383"/>
                  </a:lnTo>
                  <a:cubicBezTo>
                    <a:pt x="148084" y="142383"/>
                    <a:pt x="150365" y="143034"/>
                    <a:pt x="150365" y="143034"/>
                  </a:cubicBezTo>
                  <a:lnTo>
                    <a:pt x="148084" y="144501"/>
                  </a:lnTo>
                  <a:lnTo>
                    <a:pt x="148084" y="144501"/>
                  </a:lnTo>
                  <a:close/>
                  <a:moveTo>
                    <a:pt x="140753" y="137984"/>
                  </a:moveTo>
                  <a:lnTo>
                    <a:pt x="143197" y="137170"/>
                  </a:lnTo>
                  <a:lnTo>
                    <a:pt x="145478" y="139287"/>
                  </a:lnTo>
                  <a:lnTo>
                    <a:pt x="145803" y="141731"/>
                  </a:lnTo>
                  <a:lnTo>
                    <a:pt x="142871" y="140428"/>
                  </a:lnTo>
                  <a:lnTo>
                    <a:pt x="140753" y="137984"/>
                  </a:lnTo>
                  <a:lnTo>
                    <a:pt x="140753" y="137984"/>
                  </a:lnTo>
                  <a:close/>
                  <a:moveTo>
                    <a:pt x="129512" y="127884"/>
                  </a:moveTo>
                  <a:lnTo>
                    <a:pt x="131793" y="127884"/>
                  </a:lnTo>
                  <a:cubicBezTo>
                    <a:pt x="131793" y="127884"/>
                    <a:pt x="133748" y="130816"/>
                    <a:pt x="133748" y="130816"/>
                  </a:cubicBezTo>
                  <a:lnTo>
                    <a:pt x="138147" y="134726"/>
                  </a:lnTo>
                  <a:lnTo>
                    <a:pt x="138147" y="137495"/>
                  </a:lnTo>
                  <a:cubicBezTo>
                    <a:pt x="138147" y="137495"/>
                    <a:pt x="135866" y="137495"/>
                    <a:pt x="135866" y="137495"/>
                  </a:cubicBezTo>
                  <a:lnTo>
                    <a:pt x="130490" y="132119"/>
                  </a:lnTo>
                  <a:lnTo>
                    <a:pt x="128209" y="130164"/>
                  </a:lnTo>
                  <a:lnTo>
                    <a:pt x="129512" y="127884"/>
                  </a:lnTo>
                  <a:lnTo>
                    <a:pt x="129512" y="127884"/>
                  </a:lnTo>
                  <a:close/>
                  <a:moveTo>
                    <a:pt x="81780" y="96768"/>
                  </a:moveTo>
                  <a:lnTo>
                    <a:pt x="85364" y="93673"/>
                  </a:lnTo>
                  <a:lnTo>
                    <a:pt x="91881" y="92695"/>
                  </a:lnTo>
                  <a:lnTo>
                    <a:pt x="95790" y="96931"/>
                  </a:lnTo>
                  <a:lnTo>
                    <a:pt x="100189" y="98560"/>
                  </a:lnTo>
                  <a:lnTo>
                    <a:pt x="104587" y="100841"/>
                  </a:lnTo>
                  <a:lnTo>
                    <a:pt x="105076" y="101818"/>
                  </a:lnTo>
                  <a:lnTo>
                    <a:pt x="108334" y="101818"/>
                  </a:lnTo>
                  <a:cubicBezTo>
                    <a:pt x="108334" y="101818"/>
                    <a:pt x="108823" y="101167"/>
                    <a:pt x="108823" y="101167"/>
                  </a:cubicBezTo>
                  <a:lnTo>
                    <a:pt x="114851" y="107194"/>
                  </a:lnTo>
                  <a:lnTo>
                    <a:pt x="116969" y="111104"/>
                  </a:lnTo>
                  <a:lnTo>
                    <a:pt x="116969" y="113222"/>
                  </a:lnTo>
                  <a:cubicBezTo>
                    <a:pt x="116969" y="113222"/>
                    <a:pt x="117783" y="115828"/>
                    <a:pt x="117783" y="115828"/>
                  </a:cubicBezTo>
                  <a:lnTo>
                    <a:pt x="117294" y="119576"/>
                  </a:lnTo>
                  <a:lnTo>
                    <a:pt x="120716" y="122834"/>
                  </a:lnTo>
                  <a:lnTo>
                    <a:pt x="122182" y="121693"/>
                  </a:lnTo>
                  <a:lnTo>
                    <a:pt x="126743" y="122182"/>
                  </a:lnTo>
                  <a:lnTo>
                    <a:pt x="124951" y="127395"/>
                  </a:lnTo>
                  <a:lnTo>
                    <a:pt x="122508" y="126092"/>
                  </a:lnTo>
                  <a:lnTo>
                    <a:pt x="120390" y="127232"/>
                  </a:lnTo>
                  <a:lnTo>
                    <a:pt x="116643" y="124788"/>
                  </a:lnTo>
                  <a:lnTo>
                    <a:pt x="115339" y="122182"/>
                  </a:lnTo>
                  <a:lnTo>
                    <a:pt x="115828" y="119412"/>
                  </a:lnTo>
                  <a:lnTo>
                    <a:pt x="113873" y="117458"/>
                  </a:lnTo>
                  <a:lnTo>
                    <a:pt x="110615" y="112570"/>
                  </a:lnTo>
                  <a:lnTo>
                    <a:pt x="109312" y="110452"/>
                  </a:lnTo>
                  <a:lnTo>
                    <a:pt x="106054" y="110778"/>
                  </a:lnTo>
                  <a:lnTo>
                    <a:pt x="101492" y="108335"/>
                  </a:lnTo>
                  <a:lnTo>
                    <a:pt x="99537" y="105239"/>
                  </a:lnTo>
                  <a:lnTo>
                    <a:pt x="96442" y="104425"/>
                  </a:lnTo>
                  <a:lnTo>
                    <a:pt x="94487" y="101655"/>
                  </a:lnTo>
                  <a:lnTo>
                    <a:pt x="92207" y="100678"/>
                  </a:lnTo>
                  <a:lnTo>
                    <a:pt x="91229" y="99049"/>
                  </a:lnTo>
                  <a:lnTo>
                    <a:pt x="88785" y="97094"/>
                  </a:lnTo>
                  <a:lnTo>
                    <a:pt x="84387" y="97094"/>
                  </a:lnTo>
                  <a:cubicBezTo>
                    <a:pt x="84387" y="97094"/>
                    <a:pt x="82106" y="96768"/>
                    <a:pt x="82106" y="96768"/>
                  </a:cubicBezTo>
                  <a:lnTo>
                    <a:pt x="82106" y="96768"/>
                  </a:lnTo>
                  <a:close/>
                  <a:moveTo>
                    <a:pt x="88948" y="172521"/>
                  </a:moveTo>
                  <a:lnTo>
                    <a:pt x="89763" y="171380"/>
                  </a:lnTo>
                  <a:lnTo>
                    <a:pt x="90577" y="174802"/>
                  </a:lnTo>
                  <a:lnTo>
                    <a:pt x="93184" y="178223"/>
                  </a:lnTo>
                  <a:lnTo>
                    <a:pt x="91392" y="181970"/>
                  </a:lnTo>
                  <a:lnTo>
                    <a:pt x="88948" y="180666"/>
                  </a:lnTo>
                  <a:lnTo>
                    <a:pt x="88948" y="177897"/>
                  </a:lnTo>
                  <a:cubicBezTo>
                    <a:pt x="88948" y="177897"/>
                    <a:pt x="87645" y="175453"/>
                    <a:pt x="87645" y="175453"/>
                  </a:cubicBezTo>
                  <a:lnTo>
                    <a:pt x="88948" y="172358"/>
                  </a:lnTo>
                  <a:lnTo>
                    <a:pt x="88948" y="172358"/>
                  </a:lnTo>
                  <a:close/>
                  <a:moveTo>
                    <a:pt x="88623" y="167796"/>
                  </a:moveTo>
                  <a:lnTo>
                    <a:pt x="89926" y="169914"/>
                  </a:lnTo>
                  <a:lnTo>
                    <a:pt x="88134" y="169914"/>
                  </a:lnTo>
                  <a:cubicBezTo>
                    <a:pt x="88134" y="169914"/>
                    <a:pt x="88623" y="167796"/>
                    <a:pt x="88623" y="167796"/>
                  </a:cubicBezTo>
                  <a:close/>
                </a:path>
              </a:pathLst>
            </a:custGeom>
            <a:solidFill>
              <a:schemeClr val="bg2"/>
            </a:solidFill>
            <a:ln w="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7" name="Forma livre: Forma 186">
              <a:extLst>
                <a:ext uri="{FF2B5EF4-FFF2-40B4-BE49-F238E27FC236}">
                  <a16:creationId xmlns:a16="http://schemas.microsoft.com/office/drawing/2014/main" id="{19451673-7BA3-683C-1DDC-F668EEBA4837}"/>
                </a:ext>
              </a:extLst>
            </p:cNvPr>
            <p:cNvSpPr/>
            <p:nvPr/>
          </p:nvSpPr>
          <p:spPr>
            <a:xfrm>
              <a:off x="5269198" y="3871007"/>
              <a:ext cx="77441" cy="34511"/>
            </a:xfrm>
            <a:custGeom>
              <a:avLst/>
              <a:gdLst>
                <a:gd name="connsiteX0" fmla="*/ 31116 w 74938"/>
                <a:gd name="connsiteY0" fmla="*/ 814 h 33396"/>
                <a:gd name="connsiteX1" fmla="*/ 34699 w 74938"/>
                <a:gd name="connsiteY1" fmla="*/ 3421 h 33396"/>
                <a:gd name="connsiteX2" fmla="*/ 34699 w 74938"/>
                <a:gd name="connsiteY2" fmla="*/ 1466 h 33396"/>
                <a:gd name="connsiteX3" fmla="*/ 32419 w 74938"/>
                <a:gd name="connsiteY3" fmla="*/ 0 h 33396"/>
                <a:gd name="connsiteX4" fmla="*/ 31116 w 74938"/>
                <a:gd name="connsiteY4" fmla="*/ 814 h 33396"/>
                <a:gd name="connsiteX5" fmla="*/ 31116 w 74938"/>
                <a:gd name="connsiteY5" fmla="*/ 814 h 33396"/>
                <a:gd name="connsiteX6" fmla="*/ 9286 w 74938"/>
                <a:gd name="connsiteY6" fmla="*/ 814 h 33396"/>
                <a:gd name="connsiteX7" fmla="*/ 13847 w 74938"/>
                <a:gd name="connsiteY7" fmla="*/ 4073 h 33396"/>
                <a:gd name="connsiteX8" fmla="*/ 12381 w 74938"/>
                <a:gd name="connsiteY8" fmla="*/ 1466 h 33396"/>
                <a:gd name="connsiteX9" fmla="*/ 9286 w 74938"/>
                <a:gd name="connsiteY9" fmla="*/ 977 h 33396"/>
                <a:gd name="connsiteX10" fmla="*/ 9286 w 74938"/>
                <a:gd name="connsiteY10" fmla="*/ 977 h 33396"/>
                <a:gd name="connsiteX11" fmla="*/ 0 w 74938"/>
                <a:gd name="connsiteY11" fmla="*/ 5539 h 33396"/>
                <a:gd name="connsiteX12" fmla="*/ 489 w 74938"/>
                <a:gd name="connsiteY12" fmla="*/ 10426 h 33396"/>
                <a:gd name="connsiteX13" fmla="*/ 5702 w 74938"/>
                <a:gd name="connsiteY13" fmla="*/ 10752 h 33396"/>
                <a:gd name="connsiteX14" fmla="*/ 8634 w 74938"/>
                <a:gd name="connsiteY14" fmla="*/ 10100 h 33396"/>
                <a:gd name="connsiteX15" fmla="*/ 4073 w 74938"/>
                <a:gd name="connsiteY15" fmla="*/ 5865 h 33396"/>
                <a:gd name="connsiteX16" fmla="*/ 0 w 74938"/>
                <a:gd name="connsiteY16" fmla="*/ 5376 h 33396"/>
                <a:gd name="connsiteX17" fmla="*/ 0 w 74938"/>
                <a:gd name="connsiteY17" fmla="*/ 5376 h 33396"/>
                <a:gd name="connsiteX18" fmla="*/ 70214 w 74938"/>
                <a:gd name="connsiteY18" fmla="*/ 28672 h 33396"/>
                <a:gd name="connsiteX19" fmla="*/ 65652 w 74938"/>
                <a:gd name="connsiteY19" fmla="*/ 29975 h 33396"/>
                <a:gd name="connsiteX20" fmla="*/ 66467 w 74938"/>
                <a:gd name="connsiteY20" fmla="*/ 32256 h 33396"/>
                <a:gd name="connsiteX21" fmla="*/ 72983 w 74938"/>
                <a:gd name="connsiteY21" fmla="*/ 33396 h 33396"/>
                <a:gd name="connsiteX22" fmla="*/ 74938 w 74938"/>
                <a:gd name="connsiteY22" fmla="*/ 31930 h 33396"/>
                <a:gd name="connsiteX23" fmla="*/ 73146 w 74938"/>
                <a:gd name="connsiteY23" fmla="*/ 29487 h 33396"/>
                <a:gd name="connsiteX24" fmla="*/ 70214 w 74938"/>
                <a:gd name="connsiteY24" fmla="*/ 28835 h 33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74938" h="33396">
                  <a:moveTo>
                    <a:pt x="31116" y="814"/>
                  </a:moveTo>
                  <a:lnTo>
                    <a:pt x="34699" y="3421"/>
                  </a:lnTo>
                  <a:lnTo>
                    <a:pt x="34699" y="1466"/>
                  </a:lnTo>
                  <a:cubicBezTo>
                    <a:pt x="34699" y="1466"/>
                    <a:pt x="32419" y="0"/>
                    <a:pt x="32419" y="0"/>
                  </a:cubicBezTo>
                  <a:lnTo>
                    <a:pt x="31116" y="814"/>
                  </a:lnTo>
                  <a:lnTo>
                    <a:pt x="31116" y="814"/>
                  </a:lnTo>
                  <a:close/>
                  <a:moveTo>
                    <a:pt x="9286" y="814"/>
                  </a:moveTo>
                  <a:lnTo>
                    <a:pt x="13847" y="4073"/>
                  </a:lnTo>
                  <a:lnTo>
                    <a:pt x="12381" y="1466"/>
                  </a:lnTo>
                  <a:lnTo>
                    <a:pt x="9286" y="977"/>
                  </a:lnTo>
                  <a:lnTo>
                    <a:pt x="9286" y="977"/>
                  </a:lnTo>
                  <a:close/>
                  <a:moveTo>
                    <a:pt x="0" y="5539"/>
                  </a:moveTo>
                  <a:lnTo>
                    <a:pt x="489" y="10426"/>
                  </a:lnTo>
                  <a:lnTo>
                    <a:pt x="5702" y="10752"/>
                  </a:lnTo>
                  <a:lnTo>
                    <a:pt x="8634" y="10100"/>
                  </a:lnTo>
                  <a:lnTo>
                    <a:pt x="4073" y="5865"/>
                  </a:lnTo>
                  <a:lnTo>
                    <a:pt x="0" y="5376"/>
                  </a:lnTo>
                  <a:lnTo>
                    <a:pt x="0" y="5376"/>
                  </a:lnTo>
                  <a:close/>
                  <a:moveTo>
                    <a:pt x="70214" y="28672"/>
                  </a:moveTo>
                  <a:lnTo>
                    <a:pt x="65652" y="29975"/>
                  </a:lnTo>
                  <a:lnTo>
                    <a:pt x="66467" y="32256"/>
                  </a:lnTo>
                  <a:lnTo>
                    <a:pt x="72983" y="33396"/>
                  </a:lnTo>
                  <a:lnTo>
                    <a:pt x="74938" y="31930"/>
                  </a:lnTo>
                  <a:lnTo>
                    <a:pt x="73146" y="29487"/>
                  </a:lnTo>
                  <a:lnTo>
                    <a:pt x="70214" y="28835"/>
                  </a:lnTo>
                  <a:close/>
                </a:path>
              </a:pathLst>
            </a:custGeom>
            <a:solidFill>
              <a:schemeClr val="bg2"/>
            </a:solidFill>
            <a:ln w="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8" name="Forma livre: Forma 187">
              <a:extLst>
                <a:ext uri="{FF2B5EF4-FFF2-40B4-BE49-F238E27FC236}">
                  <a16:creationId xmlns:a16="http://schemas.microsoft.com/office/drawing/2014/main" id="{EDD1F13B-7B0D-96DD-ED96-5DC43E85D0F0}"/>
                </a:ext>
              </a:extLst>
            </p:cNvPr>
            <p:cNvSpPr/>
            <p:nvPr/>
          </p:nvSpPr>
          <p:spPr>
            <a:xfrm>
              <a:off x="5454889" y="2841039"/>
              <a:ext cx="233670" cy="147475"/>
            </a:xfrm>
            <a:custGeom>
              <a:avLst/>
              <a:gdLst>
                <a:gd name="connsiteX0" fmla="*/ 79500 w 226117"/>
                <a:gd name="connsiteY0" fmla="*/ 142708 h 142708"/>
                <a:gd name="connsiteX1" fmla="*/ 77871 w 226117"/>
                <a:gd name="connsiteY1" fmla="*/ 139287 h 142708"/>
                <a:gd name="connsiteX2" fmla="*/ 79174 w 226117"/>
                <a:gd name="connsiteY2" fmla="*/ 135703 h 142708"/>
                <a:gd name="connsiteX3" fmla="*/ 81780 w 226117"/>
                <a:gd name="connsiteY3" fmla="*/ 135052 h 142708"/>
                <a:gd name="connsiteX4" fmla="*/ 82595 w 226117"/>
                <a:gd name="connsiteY4" fmla="*/ 140428 h 142708"/>
                <a:gd name="connsiteX5" fmla="*/ 79337 w 226117"/>
                <a:gd name="connsiteY5" fmla="*/ 142708 h 142708"/>
                <a:gd name="connsiteX6" fmla="*/ 79337 w 226117"/>
                <a:gd name="connsiteY6" fmla="*/ 142708 h 142708"/>
                <a:gd name="connsiteX7" fmla="*/ 67770 w 226117"/>
                <a:gd name="connsiteY7" fmla="*/ 120390 h 142708"/>
                <a:gd name="connsiteX8" fmla="*/ 73146 w 226117"/>
                <a:gd name="connsiteY8" fmla="*/ 118598 h 142708"/>
                <a:gd name="connsiteX9" fmla="*/ 72657 w 226117"/>
                <a:gd name="connsiteY9" fmla="*/ 123974 h 142708"/>
                <a:gd name="connsiteX10" fmla="*/ 78359 w 226117"/>
                <a:gd name="connsiteY10" fmla="*/ 129676 h 142708"/>
                <a:gd name="connsiteX11" fmla="*/ 82432 w 226117"/>
                <a:gd name="connsiteY11" fmla="*/ 131631 h 142708"/>
                <a:gd name="connsiteX12" fmla="*/ 86505 w 226117"/>
                <a:gd name="connsiteY12" fmla="*/ 128210 h 142708"/>
                <a:gd name="connsiteX13" fmla="*/ 91229 w 226117"/>
                <a:gd name="connsiteY13" fmla="*/ 128535 h 142708"/>
                <a:gd name="connsiteX14" fmla="*/ 99374 w 226117"/>
                <a:gd name="connsiteY14" fmla="*/ 136192 h 142708"/>
                <a:gd name="connsiteX15" fmla="*/ 110127 w 226117"/>
                <a:gd name="connsiteY15" fmla="*/ 136192 h 142708"/>
                <a:gd name="connsiteX16" fmla="*/ 114362 w 226117"/>
                <a:gd name="connsiteY16" fmla="*/ 137658 h 142708"/>
                <a:gd name="connsiteX17" fmla="*/ 121204 w 226117"/>
                <a:gd name="connsiteY17" fmla="*/ 135703 h 142708"/>
                <a:gd name="connsiteX18" fmla="*/ 120227 w 226117"/>
                <a:gd name="connsiteY18" fmla="*/ 130002 h 142708"/>
                <a:gd name="connsiteX19" fmla="*/ 121856 w 226117"/>
                <a:gd name="connsiteY19" fmla="*/ 127558 h 142708"/>
                <a:gd name="connsiteX20" fmla="*/ 123159 w 226117"/>
                <a:gd name="connsiteY20" fmla="*/ 130653 h 142708"/>
                <a:gd name="connsiteX21" fmla="*/ 128861 w 226117"/>
                <a:gd name="connsiteY21" fmla="*/ 132119 h 142708"/>
                <a:gd name="connsiteX22" fmla="*/ 134400 w 226117"/>
                <a:gd name="connsiteY22" fmla="*/ 126743 h 142708"/>
                <a:gd name="connsiteX23" fmla="*/ 134726 w 226117"/>
                <a:gd name="connsiteY23" fmla="*/ 120553 h 142708"/>
                <a:gd name="connsiteX24" fmla="*/ 141405 w 226117"/>
                <a:gd name="connsiteY24" fmla="*/ 119738 h 142708"/>
                <a:gd name="connsiteX25" fmla="*/ 138961 w 226117"/>
                <a:gd name="connsiteY25" fmla="*/ 122834 h 142708"/>
                <a:gd name="connsiteX26" fmla="*/ 140754 w 226117"/>
                <a:gd name="connsiteY26" fmla="*/ 125277 h 142708"/>
                <a:gd name="connsiteX27" fmla="*/ 142708 w 226117"/>
                <a:gd name="connsiteY27" fmla="*/ 122834 h 142708"/>
                <a:gd name="connsiteX28" fmla="*/ 146618 w 226117"/>
                <a:gd name="connsiteY28" fmla="*/ 122019 h 142708"/>
                <a:gd name="connsiteX29" fmla="*/ 151180 w 226117"/>
                <a:gd name="connsiteY29" fmla="*/ 115991 h 142708"/>
                <a:gd name="connsiteX30" fmla="*/ 153623 w 226117"/>
                <a:gd name="connsiteY30" fmla="*/ 117295 h 142708"/>
                <a:gd name="connsiteX31" fmla="*/ 155252 w 226117"/>
                <a:gd name="connsiteY31" fmla="*/ 116806 h 142708"/>
                <a:gd name="connsiteX32" fmla="*/ 159651 w 226117"/>
                <a:gd name="connsiteY32" fmla="*/ 117132 h 142708"/>
                <a:gd name="connsiteX33" fmla="*/ 159651 w 226117"/>
                <a:gd name="connsiteY33" fmla="*/ 118435 h 142708"/>
                <a:gd name="connsiteX34" fmla="*/ 161606 w 226117"/>
                <a:gd name="connsiteY34" fmla="*/ 117132 h 142708"/>
                <a:gd name="connsiteX35" fmla="*/ 172358 w 226117"/>
                <a:gd name="connsiteY35" fmla="*/ 107846 h 142708"/>
                <a:gd name="connsiteX36" fmla="*/ 176431 w 226117"/>
                <a:gd name="connsiteY36" fmla="*/ 102307 h 142708"/>
                <a:gd name="connsiteX37" fmla="*/ 189138 w 226117"/>
                <a:gd name="connsiteY37" fmla="*/ 99863 h 142708"/>
                <a:gd name="connsiteX38" fmla="*/ 191581 w 226117"/>
                <a:gd name="connsiteY38" fmla="*/ 96768 h 142708"/>
                <a:gd name="connsiteX39" fmla="*/ 190441 w 226117"/>
                <a:gd name="connsiteY39" fmla="*/ 94487 h 142708"/>
                <a:gd name="connsiteX40" fmla="*/ 191092 w 226117"/>
                <a:gd name="connsiteY40" fmla="*/ 91066 h 142708"/>
                <a:gd name="connsiteX41" fmla="*/ 193536 w 226117"/>
                <a:gd name="connsiteY41" fmla="*/ 91392 h 142708"/>
                <a:gd name="connsiteX42" fmla="*/ 194676 w 226117"/>
                <a:gd name="connsiteY42" fmla="*/ 95139 h 142708"/>
                <a:gd name="connsiteX43" fmla="*/ 201030 w 226117"/>
                <a:gd name="connsiteY43" fmla="*/ 97420 h 142708"/>
                <a:gd name="connsiteX44" fmla="*/ 204777 w 226117"/>
                <a:gd name="connsiteY44" fmla="*/ 93347 h 142708"/>
                <a:gd name="connsiteX45" fmla="*/ 205428 w 226117"/>
                <a:gd name="connsiteY45" fmla="*/ 90252 h 142708"/>
                <a:gd name="connsiteX46" fmla="*/ 203799 w 226117"/>
                <a:gd name="connsiteY46" fmla="*/ 88460 h 142708"/>
                <a:gd name="connsiteX47" fmla="*/ 204288 w 226117"/>
                <a:gd name="connsiteY47" fmla="*/ 85202 h 142708"/>
                <a:gd name="connsiteX48" fmla="*/ 207220 w 226117"/>
                <a:gd name="connsiteY48" fmla="*/ 84387 h 142708"/>
                <a:gd name="connsiteX49" fmla="*/ 204940 w 226117"/>
                <a:gd name="connsiteY49" fmla="*/ 78033 h 142708"/>
                <a:gd name="connsiteX50" fmla="*/ 206895 w 226117"/>
                <a:gd name="connsiteY50" fmla="*/ 75590 h 142708"/>
                <a:gd name="connsiteX51" fmla="*/ 211293 w 226117"/>
                <a:gd name="connsiteY51" fmla="*/ 78196 h 142708"/>
                <a:gd name="connsiteX52" fmla="*/ 212271 w 226117"/>
                <a:gd name="connsiteY52" fmla="*/ 82269 h 142708"/>
                <a:gd name="connsiteX53" fmla="*/ 216343 w 226117"/>
                <a:gd name="connsiteY53" fmla="*/ 81618 h 142708"/>
                <a:gd name="connsiteX54" fmla="*/ 219113 w 226117"/>
                <a:gd name="connsiteY54" fmla="*/ 76241 h 142708"/>
                <a:gd name="connsiteX55" fmla="*/ 217647 w 226117"/>
                <a:gd name="connsiteY55" fmla="*/ 71680 h 142708"/>
                <a:gd name="connsiteX56" fmla="*/ 213085 w 226117"/>
                <a:gd name="connsiteY56" fmla="*/ 66956 h 142708"/>
                <a:gd name="connsiteX57" fmla="*/ 213085 w 226117"/>
                <a:gd name="connsiteY57" fmla="*/ 61906 h 142708"/>
                <a:gd name="connsiteX58" fmla="*/ 215692 w 226117"/>
                <a:gd name="connsiteY58" fmla="*/ 59625 h 142708"/>
                <a:gd name="connsiteX59" fmla="*/ 215366 w 226117"/>
                <a:gd name="connsiteY59" fmla="*/ 55063 h 142708"/>
                <a:gd name="connsiteX60" fmla="*/ 219765 w 226117"/>
                <a:gd name="connsiteY60" fmla="*/ 52783 h 142708"/>
                <a:gd name="connsiteX61" fmla="*/ 223674 w 226117"/>
                <a:gd name="connsiteY61" fmla="*/ 52783 h 142708"/>
                <a:gd name="connsiteX62" fmla="*/ 226118 w 226117"/>
                <a:gd name="connsiteY62" fmla="*/ 49199 h 142708"/>
                <a:gd name="connsiteX63" fmla="*/ 221882 w 226117"/>
                <a:gd name="connsiteY63" fmla="*/ 44963 h 142708"/>
                <a:gd name="connsiteX64" fmla="*/ 211782 w 226117"/>
                <a:gd name="connsiteY64" fmla="*/ 44148 h 142708"/>
                <a:gd name="connsiteX65" fmla="*/ 208524 w 226117"/>
                <a:gd name="connsiteY65" fmla="*/ 46592 h 142708"/>
                <a:gd name="connsiteX66" fmla="*/ 211130 w 226117"/>
                <a:gd name="connsiteY66" fmla="*/ 42031 h 142708"/>
                <a:gd name="connsiteX67" fmla="*/ 210479 w 226117"/>
                <a:gd name="connsiteY67" fmla="*/ 38284 h 142708"/>
                <a:gd name="connsiteX68" fmla="*/ 204777 w 226117"/>
                <a:gd name="connsiteY68" fmla="*/ 37795 h 142708"/>
                <a:gd name="connsiteX69" fmla="*/ 203311 w 226117"/>
                <a:gd name="connsiteY69" fmla="*/ 39098 h 142708"/>
                <a:gd name="connsiteX70" fmla="*/ 201519 w 226117"/>
                <a:gd name="connsiteY70" fmla="*/ 34374 h 142708"/>
                <a:gd name="connsiteX71" fmla="*/ 205103 w 226117"/>
                <a:gd name="connsiteY71" fmla="*/ 29975 h 142708"/>
                <a:gd name="connsiteX72" fmla="*/ 208849 w 226117"/>
                <a:gd name="connsiteY72" fmla="*/ 28835 h 142708"/>
                <a:gd name="connsiteX73" fmla="*/ 208035 w 226117"/>
                <a:gd name="connsiteY73" fmla="*/ 22156 h 142708"/>
                <a:gd name="connsiteX74" fmla="*/ 205591 w 226117"/>
                <a:gd name="connsiteY74" fmla="*/ 20690 h 142708"/>
                <a:gd name="connsiteX75" fmla="*/ 202170 w 226117"/>
                <a:gd name="connsiteY75" fmla="*/ 23296 h 142708"/>
                <a:gd name="connsiteX76" fmla="*/ 198098 w 226117"/>
                <a:gd name="connsiteY76" fmla="*/ 21504 h 142708"/>
                <a:gd name="connsiteX77" fmla="*/ 196143 w 226117"/>
                <a:gd name="connsiteY77" fmla="*/ 16780 h 142708"/>
                <a:gd name="connsiteX78" fmla="*/ 200704 w 226117"/>
                <a:gd name="connsiteY78" fmla="*/ 14825 h 142708"/>
                <a:gd name="connsiteX79" fmla="*/ 201193 w 226117"/>
                <a:gd name="connsiteY79" fmla="*/ 10915 h 142708"/>
                <a:gd name="connsiteX80" fmla="*/ 203474 w 226117"/>
                <a:gd name="connsiteY80" fmla="*/ 8960 h 142708"/>
                <a:gd name="connsiteX81" fmla="*/ 208361 w 226117"/>
                <a:gd name="connsiteY81" fmla="*/ 7820 h 142708"/>
                <a:gd name="connsiteX82" fmla="*/ 203148 w 226117"/>
                <a:gd name="connsiteY82" fmla="*/ 5539 h 142708"/>
                <a:gd name="connsiteX83" fmla="*/ 199238 w 226117"/>
                <a:gd name="connsiteY83" fmla="*/ 6679 h 142708"/>
                <a:gd name="connsiteX84" fmla="*/ 191092 w 226117"/>
                <a:gd name="connsiteY84" fmla="*/ 14336 h 142708"/>
                <a:gd name="connsiteX85" fmla="*/ 189626 w 226117"/>
                <a:gd name="connsiteY85" fmla="*/ 18572 h 142708"/>
                <a:gd name="connsiteX86" fmla="*/ 186694 w 226117"/>
                <a:gd name="connsiteY86" fmla="*/ 19060 h 142708"/>
                <a:gd name="connsiteX87" fmla="*/ 183436 w 226117"/>
                <a:gd name="connsiteY87" fmla="*/ 14010 h 142708"/>
                <a:gd name="connsiteX88" fmla="*/ 185391 w 226117"/>
                <a:gd name="connsiteY88" fmla="*/ 10915 h 142708"/>
                <a:gd name="connsiteX89" fmla="*/ 182947 w 226117"/>
                <a:gd name="connsiteY89" fmla="*/ 8471 h 142708"/>
                <a:gd name="connsiteX90" fmla="*/ 182132 w 226117"/>
                <a:gd name="connsiteY90" fmla="*/ 3910 h 142708"/>
                <a:gd name="connsiteX91" fmla="*/ 177408 w 226117"/>
                <a:gd name="connsiteY91" fmla="*/ 2444 h 142708"/>
                <a:gd name="connsiteX92" fmla="*/ 173498 w 226117"/>
                <a:gd name="connsiteY92" fmla="*/ 5050 h 142708"/>
                <a:gd name="connsiteX93" fmla="*/ 170403 w 226117"/>
                <a:gd name="connsiteY93" fmla="*/ 3584 h 142708"/>
                <a:gd name="connsiteX94" fmla="*/ 168122 w 226117"/>
                <a:gd name="connsiteY94" fmla="*/ 7983 h 142708"/>
                <a:gd name="connsiteX95" fmla="*/ 170077 w 226117"/>
                <a:gd name="connsiteY95" fmla="*/ 12870 h 142708"/>
                <a:gd name="connsiteX96" fmla="*/ 168122 w 226117"/>
                <a:gd name="connsiteY96" fmla="*/ 16454 h 142708"/>
                <a:gd name="connsiteX97" fmla="*/ 163072 w 226117"/>
                <a:gd name="connsiteY97" fmla="*/ 16943 h 142708"/>
                <a:gd name="connsiteX98" fmla="*/ 158022 w 226117"/>
                <a:gd name="connsiteY98" fmla="*/ 19223 h 142708"/>
                <a:gd name="connsiteX99" fmla="*/ 158022 w 226117"/>
                <a:gd name="connsiteY99" fmla="*/ 14988 h 142708"/>
                <a:gd name="connsiteX100" fmla="*/ 155252 w 226117"/>
                <a:gd name="connsiteY100" fmla="*/ 13033 h 142708"/>
                <a:gd name="connsiteX101" fmla="*/ 152320 w 226117"/>
                <a:gd name="connsiteY101" fmla="*/ 17431 h 142708"/>
                <a:gd name="connsiteX102" fmla="*/ 149388 w 226117"/>
                <a:gd name="connsiteY102" fmla="*/ 23948 h 142708"/>
                <a:gd name="connsiteX103" fmla="*/ 144500 w 226117"/>
                <a:gd name="connsiteY103" fmla="*/ 23948 h 142708"/>
                <a:gd name="connsiteX104" fmla="*/ 139776 w 226117"/>
                <a:gd name="connsiteY104" fmla="*/ 15476 h 142708"/>
                <a:gd name="connsiteX105" fmla="*/ 136029 w 226117"/>
                <a:gd name="connsiteY105" fmla="*/ 16454 h 142708"/>
                <a:gd name="connsiteX106" fmla="*/ 134400 w 226117"/>
                <a:gd name="connsiteY106" fmla="*/ 15151 h 142708"/>
                <a:gd name="connsiteX107" fmla="*/ 130490 w 226117"/>
                <a:gd name="connsiteY107" fmla="*/ 15476 h 142708"/>
                <a:gd name="connsiteX108" fmla="*/ 128861 w 226117"/>
                <a:gd name="connsiteY108" fmla="*/ 23948 h 142708"/>
                <a:gd name="connsiteX109" fmla="*/ 133423 w 226117"/>
                <a:gd name="connsiteY109" fmla="*/ 32908 h 142708"/>
                <a:gd name="connsiteX110" fmla="*/ 127884 w 226117"/>
                <a:gd name="connsiteY110" fmla="*/ 45777 h 142708"/>
                <a:gd name="connsiteX111" fmla="*/ 129839 w 226117"/>
                <a:gd name="connsiteY111" fmla="*/ 34700 h 142708"/>
                <a:gd name="connsiteX112" fmla="*/ 124788 w 226117"/>
                <a:gd name="connsiteY112" fmla="*/ 27206 h 142708"/>
                <a:gd name="connsiteX113" fmla="*/ 124788 w 226117"/>
                <a:gd name="connsiteY113" fmla="*/ 23133 h 142708"/>
                <a:gd name="connsiteX114" fmla="*/ 122833 w 226117"/>
                <a:gd name="connsiteY114" fmla="*/ 21178 h 142708"/>
                <a:gd name="connsiteX115" fmla="*/ 123322 w 226117"/>
                <a:gd name="connsiteY115" fmla="*/ 15965 h 142708"/>
                <a:gd name="connsiteX116" fmla="*/ 118109 w 226117"/>
                <a:gd name="connsiteY116" fmla="*/ 12870 h 142708"/>
                <a:gd name="connsiteX117" fmla="*/ 108172 w 226117"/>
                <a:gd name="connsiteY117" fmla="*/ 19386 h 142708"/>
                <a:gd name="connsiteX118" fmla="*/ 106706 w 226117"/>
                <a:gd name="connsiteY118" fmla="*/ 24925 h 142708"/>
                <a:gd name="connsiteX119" fmla="*/ 108498 w 226117"/>
                <a:gd name="connsiteY119" fmla="*/ 29161 h 142708"/>
                <a:gd name="connsiteX120" fmla="*/ 104262 w 226117"/>
                <a:gd name="connsiteY120" fmla="*/ 36003 h 142708"/>
                <a:gd name="connsiteX121" fmla="*/ 100189 w 226117"/>
                <a:gd name="connsiteY121" fmla="*/ 36003 h 142708"/>
                <a:gd name="connsiteX122" fmla="*/ 99700 w 226117"/>
                <a:gd name="connsiteY122" fmla="*/ 28509 h 142708"/>
                <a:gd name="connsiteX123" fmla="*/ 96279 w 226117"/>
                <a:gd name="connsiteY123" fmla="*/ 27043 h 142708"/>
                <a:gd name="connsiteX124" fmla="*/ 95465 w 226117"/>
                <a:gd name="connsiteY124" fmla="*/ 16617 h 142708"/>
                <a:gd name="connsiteX125" fmla="*/ 92044 w 226117"/>
                <a:gd name="connsiteY125" fmla="*/ 13847 h 142708"/>
                <a:gd name="connsiteX126" fmla="*/ 85853 w 226117"/>
                <a:gd name="connsiteY126" fmla="*/ 19223 h 142708"/>
                <a:gd name="connsiteX127" fmla="*/ 86831 w 226117"/>
                <a:gd name="connsiteY127" fmla="*/ 30790 h 142708"/>
                <a:gd name="connsiteX128" fmla="*/ 89437 w 226117"/>
                <a:gd name="connsiteY128" fmla="*/ 34211 h 142708"/>
                <a:gd name="connsiteX129" fmla="*/ 89111 w 226117"/>
                <a:gd name="connsiteY129" fmla="*/ 42356 h 142708"/>
                <a:gd name="connsiteX130" fmla="*/ 86016 w 226117"/>
                <a:gd name="connsiteY130" fmla="*/ 46429 h 142708"/>
                <a:gd name="connsiteX131" fmla="*/ 81617 w 226117"/>
                <a:gd name="connsiteY131" fmla="*/ 46429 h 142708"/>
                <a:gd name="connsiteX132" fmla="*/ 81455 w 226117"/>
                <a:gd name="connsiteY132" fmla="*/ 40564 h 142708"/>
                <a:gd name="connsiteX133" fmla="*/ 76241 w 226117"/>
                <a:gd name="connsiteY133" fmla="*/ 43171 h 142708"/>
                <a:gd name="connsiteX134" fmla="*/ 74287 w 226117"/>
                <a:gd name="connsiteY134" fmla="*/ 49199 h 142708"/>
                <a:gd name="connsiteX135" fmla="*/ 71191 w 226117"/>
                <a:gd name="connsiteY135" fmla="*/ 51153 h 142708"/>
                <a:gd name="connsiteX136" fmla="*/ 71191 w 226117"/>
                <a:gd name="connsiteY136" fmla="*/ 59299 h 142708"/>
                <a:gd name="connsiteX137" fmla="*/ 67444 w 226117"/>
                <a:gd name="connsiteY137" fmla="*/ 51316 h 142708"/>
                <a:gd name="connsiteX138" fmla="*/ 63698 w 226117"/>
                <a:gd name="connsiteY138" fmla="*/ 50991 h 142708"/>
                <a:gd name="connsiteX139" fmla="*/ 64349 w 226117"/>
                <a:gd name="connsiteY139" fmla="*/ 47081 h 142708"/>
                <a:gd name="connsiteX140" fmla="*/ 68096 w 226117"/>
                <a:gd name="connsiteY140" fmla="*/ 42356 h 142708"/>
                <a:gd name="connsiteX141" fmla="*/ 68096 w 226117"/>
                <a:gd name="connsiteY141" fmla="*/ 38447 h 142708"/>
                <a:gd name="connsiteX142" fmla="*/ 62394 w 226117"/>
                <a:gd name="connsiteY142" fmla="*/ 38447 h 142708"/>
                <a:gd name="connsiteX143" fmla="*/ 64838 w 226117"/>
                <a:gd name="connsiteY143" fmla="*/ 35188 h 142708"/>
                <a:gd name="connsiteX144" fmla="*/ 61906 w 226117"/>
                <a:gd name="connsiteY144" fmla="*/ 29324 h 142708"/>
                <a:gd name="connsiteX145" fmla="*/ 65652 w 226117"/>
                <a:gd name="connsiteY145" fmla="*/ 31767 h 142708"/>
                <a:gd name="connsiteX146" fmla="*/ 69725 w 226117"/>
                <a:gd name="connsiteY146" fmla="*/ 27532 h 142708"/>
                <a:gd name="connsiteX147" fmla="*/ 68585 w 226117"/>
                <a:gd name="connsiteY147" fmla="*/ 24599 h 142708"/>
                <a:gd name="connsiteX148" fmla="*/ 63860 w 226117"/>
                <a:gd name="connsiteY148" fmla="*/ 22319 h 142708"/>
                <a:gd name="connsiteX149" fmla="*/ 68096 w 226117"/>
                <a:gd name="connsiteY149" fmla="*/ 19223 h 142708"/>
                <a:gd name="connsiteX150" fmla="*/ 64186 w 226117"/>
                <a:gd name="connsiteY150" fmla="*/ 14988 h 142708"/>
                <a:gd name="connsiteX151" fmla="*/ 61417 w 226117"/>
                <a:gd name="connsiteY151" fmla="*/ 17268 h 142708"/>
                <a:gd name="connsiteX152" fmla="*/ 58973 w 226117"/>
                <a:gd name="connsiteY152" fmla="*/ 13359 h 142708"/>
                <a:gd name="connsiteX153" fmla="*/ 52620 w 226117"/>
                <a:gd name="connsiteY153" fmla="*/ 9775 h 142708"/>
                <a:gd name="connsiteX154" fmla="*/ 52620 w 226117"/>
                <a:gd name="connsiteY154" fmla="*/ 5376 h 142708"/>
                <a:gd name="connsiteX155" fmla="*/ 50013 w 226117"/>
                <a:gd name="connsiteY155" fmla="*/ 489 h 142708"/>
                <a:gd name="connsiteX156" fmla="*/ 45289 w 226117"/>
                <a:gd name="connsiteY156" fmla="*/ 1629 h 142708"/>
                <a:gd name="connsiteX157" fmla="*/ 39913 w 226117"/>
                <a:gd name="connsiteY157" fmla="*/ 0 h 142708"/>
                <a:gd name="connsiteX158" fmla="*/ 32419 w 226117"/>
                <a:gd name="connsiteY158" fmla="*/ 489 h 142708"/>
                <a:gd name="connsiteX159" fmla="*/ 31604 w 226117"/>
                <a:gd name="connsiteY159" fmla="*/ 2607 h 142708"/>
                <a:gd name="connsiteX160" fmla="*/ 33722 w 226117"/>
                <a:gd name="connsiteY160" fmla="*/ 5702 h 142708"/>
                <a:gd name="connsiteX161" fmla="*/ 36817 w 226117"/>
                <a:gd name="connsiteY161" fmla="*/ 5702 h 142708"/>
                <a:gd name="connsiteX162" fmla="*/ 37306 w 226117"/>
                <a:gd name="connsiteY162" fmla="*/ 3258 h 142708"/>
                <a:gd name="connsiteX163" fmla="*/ 41053 w 226117"/>
                <a:gd name="connsiteY163" fmla="*/ 3258 h 142708"/>
                <a:gd name="connsiteX164" fmla="*/ 43985 w 226117"/>
                <a:gd name="connsiteY164" fmla="*/ 5376 h 142708"/>
                <a:gd name="connsiteX165" fmla="*/ 48058 w 226117"/>
                <a:gd name="connsiteY165" fmla="*/ 6679 h 142708"/>
                <a:gd name="connsiteX166" fmla="*/ 46103 w 226117"/>
                <a:gd name="connsiteY166" fmla="*/ 9123 h 142708"/>
                <a:gd name="connsiteX167" fmla="*/ 41542 w 226117"/>
                <a:gd name="connsiteY167" fmla="*/ 7657 h 142708"/>
                <a:gd name="connsiteX168" fmla="*/ 36980 w 226117"/>
                <a:gd name="connsiteY168" fmla="*/ 7657 h 142708"/>
                <a:gd name="connsiteX169" fmla="*/ 37632 w 226117"/>
                <a:gd name="connsiteY169" fmla="*/ 9449 h 142708"/>
                <a:gd name="connsiteX170" fmla="*/ 44637 w 226117"/>
                <a:gd name="connsiteY170" fmla="*/ 14010 h 142708"/>
                <a:gd name="connsiteX171" fmla="*/ 49199 w 226117"/>
                <a:gd name="connsiteY171" fmla="*/ 19549 h 142708"/>
                <a:gd name="connsiteX172" fmla="*/ 47895 w 226117"/>
                <a:gd name="connsiteY172" fmla="*/ 23296 h 142708"/>
                <a:gd name="connsiteX173" fmla="*/ 45615 w 226117"/>
                <a:gd name="connsiteY173" fmla="*/ 23622 h 142708"/>
                <a:gd name="connsiteX174" fmla="*/ 45615 w 226117"/>
                <a:gd name="connsiteY174" fmla="*/ 20527 h 142708"/>
                <a:gd name="connsiteX175" fmla="*/ 40401 w 226117"/>
                <a:gd name="connsiteY175" fmla="*/ 16780 h 142708"/>
                <a:gd name="connsiteX176" fmla="*/ 36817 w 226117"/>
                <a:gd name="connsiteY176" fmla="*/ 19875 h 142708"/>
                <a:gd name="connsiteX177" fmla="*/ 33885 w 226117"/>
                <a:gd name="connsiteY177" fmla="*/ 18898 h 142708"/>
                <a:gd name="connsiteX178" fmla="*/ 35351 w 226117"/>
                <a:gd name="connsiteY178" fmla="*/ 15802 h 142708"/>
                <a:gd name="connsiteX179" fmla="*/ 31279 w 226117"/>
                <a:gd name="connsiteY179" fmla="*/ 10589 h 142708"/>
                <a:gd name="connsiteX180" fmla="*/ 26391 w 226117"/>
                <a:gd name="connsiteY180" fmla="*/ 8471 h 142708"/>
                <a:gd name="connsiteX181" fmla="*/ 22807 w 226117"/>
                <a:gd name="connsiteY181" fmla="*/ 10752 h 142708"/>
                <a:gd name="connsiteX182" fmla="*/ 26391 w 226117"/>
                <a:gd name="connsiteY182" fmla="*/ 15639 h 142708"/>
                <a:gd name="connsiteX183" fmla="*/ 25414 w 226117"/>
                <a:gd name="connsiteY183" fmla="*/ 18246 h 142708"/>
                <a:gd name="connsiteX184" fmla="*/ 22482 w 226117"/>
                <a:gd name="connsiteY184" fmla="*/ 13847 h 142708"/>
                <a:gd name="connsiteX185" fmla="*/ 18409 w 226117"/>
                <a:gd name="connsiteY185" fmla="*/ 12544 h 142708"/>
                <a:gd name="connsiteX186" fmla="*/ 17268 w 226117"/>
                <a:gd name="connsiteY186" fmla="*/ 15639 h 142708"/>
                <a:gd name="connsiteX187" fmla="*/ 20201 w 226117"/>
                <a:gd name="connsiteY187" fmla="*/ 19386 h 142708"/>
                <a:gd name="connsiteX188" fmla="*/ 23133 w 226117"/>
                <a:gd name="connsiteY188" fmla="*/ 21178 h 142708"/>
                <a:gd name="connsiteX189" fmla="*/ 24925 w 226117"/>
                <a:gd name="connsiteY189" fmla="*/ 23785 h 142708"/>
                <a:gd name="connsiteX190" fmla="*/ 20201 w 226117"/>
                <a:gd name="connsiteY190" fmla="*/ 21830 h 142708"/>
                <a:gd name="connsiteX191" fmla="*/ 15639 w 226117"/>
                <a:gd name="connsiteY191" fmla="*/ 23785 h 142708"/>
                <a:gd name="connsiteX192" fmla="*/ 18409 w 226117"/>
                <a:gd name="connsiteY192" fmla="*/ 27695 h 142708"/>
                <a:gd name="connsiteX193" fmla="*/ 25088 w 226117"/>
                <a:gd name="connsiteY193" fmla="*/ 29649 h 142708"/>
                <a:gd name="connsiteX194" fmla="*/ 21830 w 226117"/>
                <a:gd name="connsiteY194" fmla="*/ 30301 h 142708"/>
                <a:gd name="connsiteX195" fmla="*/ 20526 w 226117"/>
                <a:gd name="connsiteY195" fmla="*/ 31441 h 142708"/>
                <a:gd name="connsiteX196" fmla="*/ 21667 w 226117"/>
                <a:gd name="connsiteY196" fmla="*/ 34374 h 142708"/>
                <a:gd name="connsiteX197" fmla="*/ 20038 w 226117"/>
                <a:gd name="connsiteY197" fmla="*/ 34700 h 142708"/>
                <a:gd name="connsiteX198" fmla="*/ 12870 w 226117"/>
                <a:gd name="connsiteY198" fmla="*/ 28020 h 142708"/>
                <a:gd name="connsiteX199" fmla="*/ 10589 w 226117"/>
                <a:gd name="connsiteY199" fmla="*/ 27532 h 142708"/>
                <a:gd name="connsiteX200" fmla="*/ 8145 w 226117"/>
                <a:gd name="connsiteY200" fmla="*/ 30138 h 142708"/>
                <a:gd name="connsiteX201" fmla="*/ 11241 w 226117"/>
                <a:gd name="connsiteY201" fmla="*/ 36003 h 142708"/>
                <a:gd name="connsiteX202" fmla="*/ 13196 w 226117"/>
                <a:gd name="connsiteY202" fmla="*/ 39587 h 142708"/>
                <a:gd name="connsiteX203" fmla="*/ 11241 w 226117"/>
                <a:gd name="connsiteY203" fmla="*/ 40402 h 142708"/>
                <a:gd name="connsiteX204" fmla="*/ 6842 w 226117"/>
                <a:gd name="connsiteY204" fmla="*/ 34537 h 142708"/>
                <a:gd name="connsiteX205" fmla="*/ 2607 w 226117"/>
                <a:gd name="connsiteY205" fmla="*/ 33396 h 142708"/>
                <a:gd name="connsiteX206" fmla="*/ 0 w 226117"/>
                <a:gd name="connsiteY206" fmla="*/ 38447 h 142708"/>
                <a:gd name="connsiteX207" fmla="*/ 5376 w 226117"/>
                <a:gd name="connsiteY207" fmla="*/ 40564 h 142708"/>
                <a:gd name="connsiteX208" fmla="*/ 9612 w 226117"/>
                <a:gd name="connsiteY208" fmla="*/ 45289 h 142708"/>
                <a:gd name="connsiteX209" fmla="*/ 15965 w 226117"/>
                <a:gd name="connsiteY209" fmla="*/ 46429 h 142708"/>
                <a:gd name="connsiteX210" fmla="*/ 19060 w 226117"/>
                <a:gd name="connsiteY210" fmla="*/ 41379 h 142708"/>
                <a:gd name="connsiteX211" fmla="*/ 24599 w 226117"/>
                <a:gd name="connsiteY211" fmla="*/ 39750 h 142708"/>
                <a:gd name="connsiteX212" fmla="*/ 27043 w 226117"/>
                <a:gd name="connsiteY212" fmla="*/ 35351 h 142708"/>
                <a:gd name="connsiteX213" fmla="*/ 28672 w 226117"/>
                <a:gd name="connsiteY213" fmla="*/ 37958 h 142708"/>
                <a:gd name="connsiteX214" fmla="*/ 28672 w 226117"/>
                <a:gd name="connsiteY214" fmla="*/ 40402 h 142708"/>
                <a:gd name="connsiteX215" fmla="*/ 31604 w 226117"/>
                <a:gd name="connsiteY215" fmla="*/ 40402 h 142708"/>
                <a:gd name="connsiteX216" fmla="*/ 34863 w 226117"/>
                <a:gd name="connsiteY216" fmla="*/ 38447 h 142708"/>
                <a:gd name="connsiteX217" fmla="*/ 35840 w 226117"/>
                <a:gd name="connsiteY217" fmla="*/ 43171 h 142708"/>
                <a:gd name="connsiteX218" fmla="*/ 37958 w 226117"/>
                <a:gd name="connsiteY218" fmla="*/ 43171 h 142708"/>
                <a:gd name="connsiteX219" fmla="*/ 42031 w 226117"/>
                <a:gd name="connsiteY219" fmla="*/ 40076 h 142708"/>
                <a:gd name="connsiteX220" fmla="*/ 43171 w 226117"/>
                <a:gd name="connsiteY220" fmla="*/ 37469 h 142708"/>
                <a:gd name="connsiteX221" fmla="*/ 43660 w 226117"/>
                <a:gd name="connsiteY221" fmla="*/ 42519 h 142708"/>
                <a:gd name="connsiteX222" fmla="*/ 45289 w 226117"/>
                <a:gd name="connsiteY222" fmla="*/ 42519 h 142708"/>
                <a:gd name="connsiteX223" fmla="*/ 50502 w 226117"/>
                <a:gd name="connsiteY223" fmla="*/ 38121 h 142708"/>
                <a:gd name="connsiteX224" fmla="*/ 50176 w 226117"/>
                <a:gd name="connsiteY224" fmla="*/ 40564 h 142708"/>
                <a:gd name="connsiteX225" fmla="*/ 48547 w 226117"/>
                <a:gd name="connsiteY225" fmla="*/ 44474 h 142708"/>
                <a:gd name="connsiteX226" fmla="*/ 50828 w 226117"/>
                <a:gd name="connsiteY226" fmla="*/ 46266 h 142708"/>
                <a:gd name="connsiteX227" fmla="*/ 54249 w 226117"/>
                <a:gd name="connsiteY227" fmla="*/ 43334 h 142708"/>
                <a:gd name="connsiteX228" fmla="*/ 59625 w 226117"/>
                <a:gd name="connsiteY228" fmla="*/ 46429 h 142708"/>
                <a:gd name="connsiteX229" fmla="*/ 56692 w 226117"/>
                <a:gd name="connsiteY229" fmla="*/ 47569 h 142708"/>
                <a:gd name="connsiteX230" fmla="*/ 53760 w 226117"/>
                <a:gd name="connsiteY230" fmla="*/ 47569 h 142708"/>
                <a:gd name="connsiteX231" fmla="*/ 50176 w 226117"/>
                <a:gd name="connsiteY231" fmla="*/ 50176 h 142708"/>
                <a:gd name="connsiteX232" fmla="*/ 45940 w 226117"/>
                <a:gd name="connsiteY232" fmla="*/ 50502 h 142708"/>
                <a:gd name="connsiteX233" fmla="*/ 39261 w 226117"/>
                <a:gd name="connsiteY233" fmla="*/ 53434 h 142708"/>
                <a:gd name="connsiteX234" fmla="*/ 38772 w 226117"/>
                <a:gd name="connsiteY234" fmla="*/ 55226 h 142708"/>
                <a:gd name="connsiteX235" fmla="*/ 47244 w 226117"/>
                <a:gd name="connsiteY235" fmla="*/ 57670 h 142708"/>
                <a:gd name="connsiteX236" fmla="*/ 51805 w 226117"/>
                <a:gd name="connsiteY236" fmla="*/ 56855 h 142708"/>
                <a:gd name="connsiteX237" fmla="*/ 53760 w 226117"/>
                <a:gd name="connsiteY237" fmla="*/ 53760 h 142708"/>
                <a:gd name="connsiteX238" fmla="*/ 56692 w 226117"/>
                <a:gd name="connsiteY238" fmla="*/ 52620 h 142708"/>
                <a:gd name="connsiteX239" fmla="*/ 56366 w 226117"/>
                <a:gd name="connsiteY239" fmla="*/ 56692 h 142708"/>
                <a:gd name="connsiteX240" fmla="*/ 53434 w 226117"/>
                <a:gd name="connsiteY240" fmla="*/ 60602 h 142708"/>
                <a:gd name="connsiteX241" fmla="*/ 44637 w 226117"/>
                <a:gd name="connsiteY241" fmla="*/ 61580 h 142708"/>
                <a:gd name="connsiteX242" fmla="*/ 41705 w 226117"/>
                <a:gd name="connsiteY242" fmla="*/ 60765 h 142708"/>
                <a:gd name="connsiteX243" fmla="*/ 37632 w 226117"/>
                <a:gd name="connsiteY243" fmla="*/ 64675 h 142708"/>
                <a:gd name="connsiteX244" fmla="*/ 35677 w 226117"/>
                <a:gd name="connsiteY244" fmla="*/ 62231 h 142708"/>
                <a:gd name="connsiteX245" fmla="*/ 34048 w 226117"/>
                <a:gd name="connsiteY245" fmla="*/ 60602 h 142708"/>
                <a:gd name="connsiteX246" fmla="*/ 34048 w 226117"/>
                <a:gd name="connsiteY246" fmla="*/ 58484 h 142708"/>
                <a:gd name="connsiteX247" fmla="*/ 31441 w 226117"/>
                <a:gd name="connsiteY247" fmla="*/ 57670 h 142708"/>
                <a:gd name="connsiteX248" fmla="*/ 30627 w 226117"/>
                <a:gd name="connsiteY248" fmla="*/ 58810 h 142708"/>
                <a:gd name="connsiteX249" fmla="*/ 31604 w 226117"/>
                <a:gd name="connsiteY249" fmla="*/ 60928 h 142708"/>
                <a:gd name="connsiteX250" fmla="*/ 27695 w 226117"/>
                <a:gd name="connsiteY250" fmla="*/ 63860 h 142708"/>
                <a:gd name="connsiteX251" fmla="*/ 24762 w 226117"/>
                <a:gd name="connsiteY251" fmla="*/ 62231 h 142708"/>
                <a:gd name="connsiteX252" fmla="*/ 20526 w 226117"/>
                <a:gd name="connsiteY252" fmla="*/ 62557 h 142708"/>
                <a:gd name="connsiteX253" fmla="*/ 16128 w 226117"/>
                <a:gd name="connsiteY253" fmla="*/ 64838 h 142708"/>
                <a:gd name="connsiteX254" fmla="*/ 11078 w 226117"/>
                <a:gd name="connsiteY254" fmla="*/ 62883 h 142708"/>
                <a:gd name="connsiteX255" fmla="*/ 7657 w 226117"/>
                <a:gd name="connsiteY255" fmla="*/ 64186 h 142708"/>
                <a:gd name="connsiteX256" fmla="*/ 5213 w 226117"/>
                <a:gd name="connsiteY256" fmla="*/ 63860 h 142708"/>
                <a:gd name="connsiteX257" fmla="*/ 8634 w 226117"/>
                <a:gd name="connsiteY257" fmla="*/ 69236 h 142708"/>
                <a:gd name="connsiteX258" fmla="*/ 10589 w 226117"/>
                <a:gd name="connsiteY258" fmla="*/ 73798 h 142708"/>
                <a:gd name="connsiteX259" fmla="*/ 17106 w 226117"/>
                <a:gd name="connsiteY259" fmla="*/ 74287 h 142708"/>
                <a:gd name="connsiteX260" fmla="*/ 17106 w 226117"/>
                <a:gd name="connsiteY260" fmla="*/ 72657 h 142708"/>
                <a:gd name="connsiteX261" fmla="*/ 25251 w 226117"/>
                <a:gd name="connsiteY261" fmla="*/ 74938 h 142708"/>
                <a:gd name="connsiteX262" fmla="*/ 34863 w 226117"/>
                <a:gd name="connsiteY262" fmla="*/ 74287 h 142708"/>
                <a:gd name="connsiteX263" fmla="*/ 40239 w 226117"/>
                <a:gd name="connsiteY263" fmla="*/ 74775 h 142708"/>
                <a:gd name="connsiteX264" fmla="*/ 39913 w 226117"/>
                <a:gd name="connsiteY264" fmla="*/ 77056 h 142708"/>
                <a:gd name="connsiteX265" fmla="*/ 36655 w 226117"/>
                <a:gd name="connsiteY265" fmla="*/ 79337 h 142708"/>
                <a:gd name="connsiteX266" fmla="*/ 36655 w 226117"/>
                <a:gd name="connsiteY266" fmla="*/ 81943 h 142708"/>
                <a:gd name="connsiteX267" fmla="*/ 41053 w 226117"/>
                <a:gd name="connsiteY267" fmla="*/ 85202 h 142708"/>
                <a:gd name="connsiteX268" fmla="*/ 42193 w 226117"/>
                <a:gd name="connsiteY268" fmla="*/ 88460 h 142708"/>
                <a:gd name="connsiteX269" fmla="*/ 45289 w 226117"/>
                <a:gd name="connsiteY269" fmla="*/ 87971 h 142708"/>
                <a:gd name="connsiteX270" fmla="*/ 51642 w 226117"/>
                <a:gd name="connsiteY270" fmla="*/ 83572 h 142708"/>
                <a:gd name="connsiteX271" fmla="*/ 50502 w 226117"/>
                <a:gd name="connsiteY271" fmla="*/ 86831 h 142708"/>
                <a:gd name="connsiteX272" fmla="*/ 45940 w 226117"/>
                <a:gd name="connsiteY272" fmla="*/ 90089 h 142708"/>
                <a:gd name="connsiteX273" fmla="*/ 43497 w 226117"/>
                <a:gd name="connsiteY273" fmla="*/ 93836 h 142708"/>
                <a:gd name="connsiteX274" fmla="*/ 47407 w 226117"/>
                <a:gd name="connsiteY274" fmla="*/ 96768 h 142708"/>
                <a:gd name="connsiteX275" fmla="*/ 54249 w 226117"/>
                <a:gd name="connsiteY275" fmla="*/ 91229 h 142708"/>
                <a:gd name="connsiteX276" fmla="*/ 59625 w 226117"/>
                <a:gd name="connsiteY276" fmla="*/ 92858 h 142708"/>
                <a:gd name="connsiteX277" fmla="*/ 60928 w 226117"/>
                <a:gd name="connsiteY277" fmla="*/ 95791 h 142708"/>
                <a:gd name="connsiteX278" fmla="*/ 57670 w 226117"/>
                <a:gd name="connsiteY278" fmla="*/ 93836 h 142708"/>
                <a:gd name="connsiteX279" fmla="*/ 52620 w 226117"/>
                <a:gd name="connsiteY279" fmla="*/ 95628 h 142708"/>
                <a:gd name="connsiteX280" fmla="*/ 49036 w 226117"/>
                <a:gd name="connsiteY280" fmla="*/ 98723 h 142708"/>
                <a:gd name="connsiteX281" fmla="*/ 44311 w 226117"/>
                <a:gd name="connsiteY281" fmla="*/ 98723 h 142708"/>
                <a:gd name="connsiteX282" fmla="*/ 43985 w 226117"/>
                <a:gd name="connsiteY282" fmla="*/ 102307 h 142708"/>
                <a:gd name="connsiteX283" fmla="*/ 41542 w 226117"/>
                <a:gd name="connsiteY283" fmla="*/ 105239 h 142708"/>
                <a:gd name="connsiteX284" fmla="*/ 38772 w 226117"/>
                <a:gd name="connsiteY284" fmla="*/ 104588 h 142708"/>
                <a:gd name="connsiteX285" fmla="*/ 35514 w 226117"/>
                <a:gd name="connsiteY285" fmla="*/ 106380 h 142708"/>
                <a:gd name="connsiteX286" fmla="*/ 33885 w 226117"/>
                <a:gd name="connsiteY286" fmla="*/ 103122 h 142708"/>
                <a:gd name="connsiteX287" fmla="*/ 29649 w 226117"/>
                <a:gd name="connsiteY287" fmla="*/ 100189 h 142708"/>
                <a:gd name="connsiteX288" fmla="*/ 29649 w 226117"/>
                <a:gd name="connsiteY288" fmla="*/ 102470 h 142708"/>
                <a:gd name="connsiteX289" fmla="*/ 27695 w 226117"/>
                <a:gd name="connsiteY289" fmla="*/ 102470 h 142708"/>
                <a:gd name="connsiteX290" fmla="*/ 28835 w 226117"/>
                <a:gd name="connsiteY290" fmla="*/ 108498 h 142708"/>
                <a:gd name="connsiteX291" fmla="*/ 31279 w 226117"/>
                <a:gd name="connsiteY291" fmla="*/ 109638 h 142708"/>
                <a:gd name="connsiteX292" fmla="*/ 29487 w 226117"/>
                <a:gd name="connsiteY292" fmla="*/ 111104 h 142708"/>
                <a:gd name="connsiteX293" fmla="*/ 28835 w 226117"/>
                <a:gd name="connsiteY293" fmla="*/ 119412 h 142708"/>
                <a:gd name="connsiteX294" fmla="*/ 34863 w 226117"/>
                <a:gd name="connsiteY294" fmla="*/ 119412 h 142708"/>
                <a:gd name="connsiteX295" fmla="*/ 36492 w 226117"/>
                <a:gd name="connsiteY295" fmla="*/ 117457 h 142708"/>
                <a:gd name="connsiteX296" fmla="*/ 40401 w 226117"/>
                <a:gd name="connsiteY296" fmla="*/ 119738 h 142708"/>
                <a:gd name="connsiteX297" fmla="*/ 48873 w 226117"/>
                <a:gd name="connsiteY297" fmla="*/ 120716 h 142708"/>
                <a:gd name="connsiteX298" fmla="*/ 54900 w 226117"/>
                <a:gd name="connsiteY298" fmla="*/ 116154 h 142708"/>
                <a:gd name="connsiteX299" fmla="*/ 59950 w 226117"/>
                <a:gd name="connsiteY299" fmla="*/ 118924 h 142708"/>
                <a:gd name="connsiteX300" fmla="*/ 63860 w 226117"/>
                <a:gd name="connsiteY300" fmla="*/ 116480 h 142708"/>
                <a:gd name="connsiteX301" fmla="*/ 64838 w 226117"/>
                <a:gd name="connsiteY301" fmla="*/ 119412 h 142708"/>
                <a:gd name="connsiteX302" fmla="*/ 67933 w 226117"/>
                <a:gd name="connsiteY302" fmla="*/ 120390 h 1427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</a:cxnLst>
              <a:rect l="l" t="t" r="r" b="b"/>
              <a:pathLst>
                <a:path w="226117" h="142708">
                  <a:moveTo>
                    <a:pt x="79500" y="142708"/>
                  </a:moveTo>
                  <a:lnTo>
                    <a:pt x="77871" y="139287"/>
                  </a:lnTo>
                  <a:lnTo>
                    <a:pt x="79174" y="135703"/>
                  </a:lnTo>
                  <a:lnTo>
                    <a:pt x="81780" y="135052"/>
                  </a:lnTo>
                  <a:lnTo>
                    <a:pt x="82595" y="140428"/>
                  </a:lnTo>
                  <a:lnTo>
                    <a:pt x="79337" y="142708"/>
                  </a:lnTo>
                  <a:lnTo>
                    <a:pt x="79337" y="142708"/>
                  </a:lnTo>
                  <a:close/>
                  <a:moveTo>
                    <a:pt x="67770" y="120390"/>
                  </a:moveTo>
                  <a:lnTo>
                    <a:pt x="73146" y="118598"/>
                  </a:lnTo>
                  <a:lnTo>
                    <a:pt x="72657" y="123974"/>
                  </a:lnTo>
                  <a:lnTo>
                    <a:pt x="78359" y="129676"/>
                  </a:lnTo>
                  <a:lnTo>
                    <a:pt x="82432" y="131631"/>
                  </a:lnTo>
                  <a:lnTo>
                    <a:pt x="86505" y="128210"/>
                  </a:lnTo>
                  <a:lnTo>
                    <a:pt x="91229" y="128535"/>
                  </a:lnTo>
                  <a:lnTo>
                    <a:pt x="99374" y="136192"/>
                  </a:lnTo>
                  <a:lnTo>
                    <a:pt x="110127" y="136192"/>
                  </a:lnTo>
                  <a:cubicBezTo>
                    <a:pt x="110127" y="136192"/>
                    <a:pt x="114362" y="137658"/>
                    <a:pt x="114362" y="137658"/>
                  </a:cubicBezTo>
                  <a:lnTo>
                    <a:pt x="121204" y="135703"/>
                  </a:lnTo>
                  <a:lnTo>
                    <a:pt x="120227" y="130002"/>
                  </a:lnTo>
                  <a:lnTo>
                    <a:pt x="121856" y="127558"/>
                  </a:lnTo>
                  <a:lnTo>
                    <a:pt x="123159" y="130653"/>
                  </a:lnTo>
                  <a:lnTo>
                    <a:pt x="128861" y="132119"/>
                  </a:lnTo>
                  <a:lnTo>
                    <a:pt x="134400" y="126743"/>
                  </a:lnTo>
                  <a:lnTo>
                    <a:pt x="134726" y="120553"/>
                  </a:lnTo>
                  <a:lnTo>
                    <a:pt x="141405" y="119738"/>
                  </a:lnTo>
                  <a:lnTo>
                    <a:pt x="138961" y="122834"/>
                  </a:lnTo>
                  <a:lnTo>
                    <a:pt x="140754" y="125277"/>
                  </a:lnTo>
                  <a:lnTo>
                    <a:pt x="142708" y="122834"/>
                  </a:lnTo>
                  <a:lnTo>
                    <a:pt x="146618" y="122019"/>
                  </a:lnTo>
                  <a:lnTo>
                    <a:pt x="151180" y="115991"/>
                  </a:lnTo>
                  <a:lnTo>
                    <a:pt x="153623" y="117295"/>
                  </a:lnTo>
                  <a:lnTo>
                    <a:pt x="155252" y="116806"/>
                  </a:lnTo>
                  <a:lnTo>
                    <a:pt x="159651" y="117132"/>
                  </a:lnTo>
                  <a:lnTo>
                    <a:pt x="159651" y="118435"/>
                  </a:lnTo>
                  <a:cubicBezTo>
                    <a:pt x="159651" y="118435"/>
                    <a:pt x="161606" y="117132"/>
                    <a:pt x="161606" y="117132"/>
                  </a:cubicBezTo>
                  <a:lnTo>
                    <a:pt x="172358" y="107846"/>
                  </a:lnTo>
                  <a:lnTo>
                    <a:pt x="176431" y="102307"/>
                  </a:lnTo>
                  <a:lnTo>
                    <a:pt x="189138" y="99863"/>
                  </a:lnTo>
                  <a:lnTo>
                    <a:pt x="191581" y="96768"/>
                  </a:lnTo>
                  <a:lnTo>
                    <a:pt x="190441" y="94487"/>
                  </a:lnTo>
                  <a:lnTo>
                    <a:pt x="191092" y="91066"/>
                  </a:lnTo>
                  <a:lnTo>
                    <a:pt x="193536" y="91392"/>
                  </a:lnTo>
                  <a:lnTo>
                    <a:pt x="194676" y="95139"/>
                  </a:lnTo>
                  <a:lnTo>
                    <a:pt x="201030" y="97420"/>
                  </a:lnTo>
                  <a:lnTo>
                    <a:pt x="204777" y="93347"/>
                  </a:lnTo>
                  <a:lnTo>
                    <a:pt x="205428" y="90252"/>
                  </a:lnTo>
                  <a:lnTo>
                    <a:pt x="203799" y="88460"/>
                  </a:lnTo>
                  <a:lnTo>
                    <a:pt x="204288" y="85202"/>
                  </a:lnTo>
                  <a:lnTo>
                    <a:pt x="207220" y="84387"/>
                  </a:lnTo>
                  <a:lnTo>
                    <a:pt x="204940" y="78033"/>
                  </a:lnTo>
                  <a:lnTo>
                    <a:pt x="206895" y="75590"/>
                  </a:lnTo>
                  <a:lnTo>
                    <a:pt x="211293" y="78196"/>
                  </a:lnTo>
                  <a:lnTo>
                    <a:pt x="212271" y="82269"/>
                  </a:lnTo>
                  <a:lnTo>
                    <a:pt x="216343" y="81618"/>
                  </a:lnTo>
                  <a:lnTo>
                    <a:pt x="219113" y="76241"/>
                  </a:lnTo>
                  <a:lnTo>
                    <a:pt x="217647" y="71680"/>
                  </a:lnTo>
                  <a:lnTo>
                    <a:pt x="213085" y="66956"/>
                  </a:lnTo>
                  <a:lnTo>
                    <a:pt x="213085" y="61906"/>
                  </a:lnTo>
                  <a:cubicBezTo>
                    <a:pt x="213085" y="61906"/>
                    <a:pt x="215692" y="59625"/>
                    <a:pt x="215692" y="59625"/>
                  </a:cubicBezTo>
                  <a:lnTo>
                    <a:pt x="215366" y="55063"/>
                  </a:lnTo>
                  <a:lnTo>
                    <a:pt x="219765" y="52783"/>
                  </a:lnTo>
                  <a:lnTo>
                    <a:pt x="223674" y="52783"/>
                  </a:lnTo>
                  <a:cubicBezTo>
                    <a:pt x="223674" y="52783"/>
                    <a:pt x="226118" y="49199"/>
                    <a:pt x="226118" y="49199"/>
                  </a:cubicBezTo>
                  <a:lnTo>
                    <a:pt x="221882" y="44963"/>
                  </a:lnTo>
                  <a:lnTo>
                    <a:pt x="211782" y="44148"/>
                  </a:lnTo>
                  <a:lnTo>
                    <a:pt x="208524" y="46592"/>
                  </a:lnTo>
                  <a:lnTo>
                    <a:pt x="211130" y="42031"/>
                  </a:lnTo>
                  <a:lnTo>
                    <a:pt x="210479" y="38284"/>
                  </a:lnTo>
                  <a:lnTo>
                    <a:pt x="204777" y="37795"/>
                  </a:lnTo>
                  <a:lnTo>
                    <a:pt x="203311" y="39098"/>
                  </a:lnTo>
                  <a:lnTo>
                    <a:pt x="201519" y="34374"/>
                  </a:lnTo>
                  <a:lnTo>
                    <a:pt x="205103" y="29975"/>
                  </a:lnTo>
                  <a:lnTo>
                    <a:pt x="208849" y="28835"/>
                  </a:lnTo>
                  <a:lnTo>
                    <a:pt x="208035" y="22156"/>
                  </a:lnTo>
                  <a:lnTo>
                    <a:pt x="205591" y="20690"/>
                  </a:lnTo>
                  <a:lnTo>
                    <a:pt x="202170" y="23296"/>
                  </a:lnTo>
                  <a:lnTo>
                    <a:pt x="198098" y="21504"/>
                  </a:lnTo>
                  <a:lnTo>
                    <a:pt x="196143" y="16780"/>
                  </a:lnTo>
                  <a:lnTo>
                    <a:pt x="200704" y="14825"/>
                  </a:lnTo>
                  <a:lnTo>
                    <a:pt x="201193" y="10915"/>
                  </a:lnTo>
                  <a:lnTo>
                    <a:pt x="203474" y="8960"/>
                  </a:lnTo>
                  <a:lnTo>
                    <a:pt x="208361" y="7820"/>
                  </a:lnTo>
                  <a:lnTo>
                    <a:pt x="203148" y="5539"/>
                  </a:lnTo>
                  <a:lnTo>
                    <a:pt x="199238" y="6679"/>
                  </a:lnTo>
                  <a:lnTo>
                    <a:pt x="191092" y="14336"/>
                  </a:lnTo>
                  <a:lnTo>
                    <a:pt x="189626" y="18572"/>
                  </a:lnTo>
                  <a:lnTo>
                    <a:pt x="186694" y="19060"/>
                  </a:lnTo>
                  <a:lnTo>
                    <a:pt x="183436" y="14010"/>
                  </a:lnTo>
                  <a:lnTo>
                    <a:pt x="185391" y="10915"/>
                  </a:lnTo>
                  <a:lnTo>
                    <a:pt x="182947" y="8471"/>
                  </a:lnTo>
                  <a:lnTo>
                    <a:pt x="182132" y="3910"/>
                  </a:lnTo>
                  <a:lnTo>
                    <a:pt x="177408" y="2444"/>
                  </a:lnTo>
                  <a:lnTo>
                    <a:pt x="173498" y="5050"/>
                  </a:lnTo>
                  <a:lnTo>
                    <a:pt x="170403" y="3584"/>
                  </a:lnTo>
                  <a:lnTo>
                    <a:pt x="168122" y="7983"/>
                  </a:lnTo>
                  <a:lnTo>
                    <a:pt x="170077" y="12870"/>
                  </a:lnTo>
                  <a:lnTo>
                    <a:pt x="168122" y="16454"/>
                  </a:lnTo>
                  <a:lnTo>
                    <a:pt x="163072" y="16943"/>
                  </a:lnTo>
                  <a:lnTo>
                    <a:pt x="158022" y="19223"/>
                  </a:lnTo>
                  <a:lnTo>
                    <a:pt x="158022" y="14988"/>
                  </a:lnTo>
                  <a:cubicBezTo>
                    <a:pt x="158022" y="14988"/>
                    <a:pt x="155252" y="13033"/>
                    <a:pt x="155252" y="13033"/>
                  </a:cubicBezTo>
                  <a:lnTo>
                    <a:pt x="152320" y="17431"/>
                  </a:lnTo>
                  <a:lnTo>
                    <a:pt x="149388" y="23948"/>
                  </a:lnTo>
                  <a:lnTo>
                    <a:pt x="144500" y="23948"/>
                  </a:lnTo>
                  <a:cubicBezTo>
                    <a:pt x="144500" y="23948"/>
                    <a:pt x="139776" y="15476"/>
                    <a:pt x="139776" y="15476"/>
                  </a:cubicBezTo>
                  <a:lnTo>
                    <a:pt x="136029" y="16454"/>
                  </a:lnTo>
                  <a:lnTo>
                    <a:pt x="134400" y="15151"/>
                  </a:lnTo>
                  <a:lnTo>
                    <a:pt x="130490" y="15476"/>
                  </a:lnTo>
                  <a:lnTo>
                    <a:pt x="128861" y="23948"/>
                  </a:lnTo>
                  <a:lnTo>
                    <a:pt x="133423" y="32908"/>
                  </a:lnTo>
                  <a:lnTo>
                    <a:pt x="127884" y="45777"/>
                  </a:lnTo>
                  <a:lnTo>
                    <a:pt x="129839" y="34700"/>
                  </a:lnTo>
                  <a:lnTo>
                    <a:pt x="124788" y="27206"/>
                  </a:lnTo>
                  <a:lnTo>
                    <a:pt x="124788" y="23133"/>
                  </a:lnTo>
                  <a:lnTo>
                    <a:pt x="122833" y="21178"/>
                  </a:lnTo>
                  <a:lnTo>
                    <a:pt x="123322" y="15965"/>
                  </a:lnTo>
                  <a:lnTo>
                    <a:pt x="118109" y="12870"/>
                  </a:lnTo>
                  <a:lnTo>
                    <a:pt x="108172" y="19386"/>
                  </a:lnTo>
                  <a:lnTo>
                    <a:pt x="106706" y="24925"/>
                  </a:lnTo>
                  <a:lnTo>
                    <a:pt x="108498" y="29161"/>
                  </a:lnTo>
                  <a:lnTo>
                    <a:pt x="104262" y="36003"/>
                  </a:lnTo>
                  <a:lnTo>
                    <a:pt x="100189" y="36003"/>
                  </a:lnTo>
                  <a:lnTo>
                    <a:pt x="99700" y="28509"/>
                  </a:lnTo>
                  <a:lnTo>
                    <a:pt x="96279" y="27043"/>
                  </a:lnTo>
                  <a:lnTo>
                    <a:pt x="95465" y="16617"/>
                  </a:lnTo>
                  <a:lnTo>
                    <a:pt x="92044" y="13847"/>
                  </a:lnTo>
                  <a:lnTo>
                    <a:pt x="85853" y="19223"/>
                  </a:lnTo>
                  <a:lnTo>
                    <a:pt x="86831" y="30790"/>
                  </a:lnTo>
                  <a:lnTo>
                    <a:pt x="89437" y="34211"/>
                  </a:lnTo>
                  <a:lnTo>
                    <a:pt x="89111" y="42356"/>
                  </a:lnTo>
                  <a:lnTo>
                    <a:pt x="86016" y="46429"/>
                  </a:lnTo>
                  <a:lnTo>
                    <a:pt x="81617" y="46429"/>
                  </a:lnTo>
                  <a:cubicBezTo>
                    <a:pt x="81617" y="46429"/>
                    <a:pt x="81455" y="40564"/>
                    <a:pt x="81455" y="40564"/>
                  </a:cubicBezTo>
                  <a:lnTo>
                    <a:pt x="76241" y="43171"/>
                  </a:lnTo>
                  <a:lnTo>
                    <a:pt x="74287" y="49199"/>
                  </a:lnTo>
                  <a:lnTo>
                    <a:pt x="71191" y="51153"/>
                  </a:lnTo>
                  <a:lnTo>
                    <a:pt x="71191" y="59299"/>
                  </a:lnTo>
                  <a:cubicBezTo>
                    <a:pt x="71191" y="59299"/>
                    <a:pt x="67444" y="51316"/>
                    <a:pt x="67444" y="51316"/>
                  </a:cubicBezTo>
                  <a:lnTo>
                    <a:pt x="63698" y="50991"/>
                  </a:lnTo>
                  <a:lnTo>
                    <a:pt x="64349" y="47081"/>
                  </a:lnTo>
                  <a:lnTo>
                    <a:pt x="68096" y="42356"/>
                  </a:lnTo>
                  <a:lnTo>
                    <a:pt x="68096" y="38447"/>
                  </a:lnTo>
                  <a:lnTo>
                    <a:pt x="62394" y="38447"/>
                  </a:lnTo>
                  <a:lnTo>
                    <a:pt x="64838" y="35188"/>
                  </a:lnTo>
                  <a:lnTo>
                    <a:pt x="61906" y="29324"/>
                  </a:lnTo>
                  <a:lnTo>
                    <a:pt x="65652" y="31767"/>
                  </a:lnTo>
                  <a:lnTo>
                    <a:pt x="69725" y="27532"/>
                  </a:lnTo>
                  <a:lnTo>
                    <a:pt x="68585" y="24599"/>
                  </a:lnTo>
                  <a:lnTo>
                    <a:pt x="63860" y="22319"/>
                  </a:lnTo>
                  <a:lnTo>
                    <a:pt x="68096" y="19223"/>
                  </a:lnTo>
                  <a:lnTo>
                    <a:pt x="64186" y="14988"/>
                  </a:lnTo>
                  <a:lnTo>
                    <a:pt x="61417" y="17268"/>
                  </a:lnTo>
                  <a:lnTo>
                    <a:pt x="58973" y="13359"/>
                  </a:lnTo>
                  <a:lnTo>
                    <a:pt x="52620" y="9775"/>
                  </a:lnTo>
                  <a:lnTo>
                    <a:pt x="52620" y="5376"/>
                  </a:lnTo>
                  <a:cubicBezTo>
                    <a:pt x="52620" y="5376"/>
                    <a:pt x="50013" y="489"/>
                    <a:pt x="50013" y="489"/>
                  </a:cubicBezTo>
                  <a:lnTo>
                    <a:pt x="45289" y="1629"/>
                  </a:lnTo>
                  <a:lnTo>
                    <a:pt x="39913" y="0"/>
                  </a:lnTo>
                  <a:lnTo>
                    <a:pt x="32419" y="489"/>
                  </a:lnTo>
                  <a:lnTo>
                    <a:pt x="31604" y="2607"/>
                  </a:lnTo>
                  <a:lnTo>
                    <a:pt x="33722" y="5702"/>
                  </a:lnTo>
                  <a:lnTo>
                    <a:pt x="36817" y="5702"/>
                  </a:lnTo>
                  <a:cubicBezTo>
                    <a:pt x="36817" y="5702"/>
                    <a:pt x="37306" y="3258"/>
                    <a:pt x="37306" y="3258"/>
                  </a:cubicBezTo>
                  <a:lnTo>
                    <a:pt x="41053" y="3258"/>
                  </a:lnTo>
                  <a:cubicBezTo>
                    <a:pt x="41053" y="3258"/>
                    <a:pt x="43985" y="5376"/>
                    <a:pt x="43985" y="5376"/>
                  </a:cubicBezTo>
                  <a:lnTo>
                    <a:pt x="48058" y="6679"/>
                  </a:lnTo>
                  <a:lnTo>
                    <a:pt x="46103" y="9123"/>
                  </a:lnTo>
                  <a:lnTo>
                    <a:pt x="41542" y="7657"/>
                  </a:lnTo>
                  <a:lnTo>
                    <a:pt x="36980" y="7657"/>
                  </a:lnTo>
                  <a:cubicBezTo>
                    <a:pt x="36980" y="7657"/>
                    <a:pt x="37632" y="9449"/>
                    <a:pt x="37632" y="9449"/>
                  </a:cubicBezTo>
                  <a:lnTo>
                    <a:pt x="44637" y="14010"/>
                  </a:lnTo>
                  <a:lnTo>
                    <a:pt x="49199" y="19549"/>
                  </a:lnTo>
                  <a:lnTo>
                    <a:pt x="47895" y="23296"/>
                  </a:lnTo>
                  <a:lnTo>
                    <a:pt x="45615" y="23622"/>
                  </a:lnTo>
                  <a:lnTo>
                    <a:pt x="45615" y="20527"/>
                  </a:lnTo>
                  <a:lnTo>
                    <a:pt x="40401" y="16780"/>
                  </a:lnTo>
                  <a:lnTo>
                    <a:pt x="36817" y="19875"/>
                  </a:lnTo>
                  <a:lnTo>
                    <a:pt x="33885" y="18898"/>
                  </a:lnTo>
                  <a:lnTo>
                    <a:pt x="35351" y="15802"/>
                  </a:lnTo>
                  <a:lnTo>
                    <a:pt x="31279" y="10589"/>
                  </a:lnTo>
                  <a:lnTo>
                    <a:pt x="26391" y="8471"/>
                  </a:lnTo>
                  <a:lnTo>
                    <a:pt x="22807" y="10752"/>
                  </a:lnTo>
                  <a:lnTo>
                    <a:pt x="26391" y="15639"/>
                  </a:lnTo>
                  <a:lnTo>
                    <a:pt x="25414" y="18246"/>
                  </a:lnTo>
                  <a:lnTo>
                    <a:pt x="22482" y="13847"/>
                  </a:lnTo>
                  <a:lnTo>
                    <a:pt x="18409" y="12544"/>
                  </a:lnTo>
                  <a:lnTo>
                    <a:pt x="17268" y="15639"/>
                  </a:lnTo>
                  <a:lnTo>
                    <a:pt x="20201" y="19386"/>
                  </a:lnTo>
                  <a:lnTo>
                    <a:pt x="23133" y="21178"/>
                  </a:lnTo>
                  <a:lnTo>
                    <a:pt x="24925" y="23785"/>
                  </a:lnTo>
                  <a:lnTo>
                    <a:pt x="20201" y="21830"/>
                  </a:lnTo>
                  <a:lnTo>
                    <a:pt x="15639" y="23785"/>
                  </a:lnTo>
                  <a:lnTo>
                    <a:pt x="18409" y="27695"/>
                  </a:lnTo>
                  <a:lnTo>
                    <a:pt x="25088" y="29649"/>
                  </a:lnTo>
                  <a:lnTo>
                    <a:pt x="21830" y="30301"/>
                  </a:lnTo>
                  <a:lnTo>
                    <a:pt x="20526" y="31441"/>
                  </a:lnTo>
                  <a:lnTo>
                    <a:pt x="21667" y="34374"/>
                  </a:lnTo>
                  <a:lnTo>
                    <a:pt x="20038" y="34700"/>
                  </a:lnTo>
                  <a:lnTo>
                    <a:pt x="12870" y="28020"/>
                  </a:lnTo>
                  <a:lnTo>
                    <a:pt x="10589" y="27532"/>
                  </a:lnTo>
                  <a:lnTo>
                    <a:pt x="8145" y="30138"/>
                  </a:lnTo>
                  <a:lnTo>
                    <a:pt x="11241" y="36003"/>
                  </a:lnTo>
                  <a:lnTo>
                    <a:pt x="13196" y="39587"/>
                  </a:lnTo>
                  <a:lnTo>
                    <a:pt x="11241" y="40402"/>
                  </a:lnTo>
                  <a:lnTo>
                    <a:pt x="6842" y="34537"/>
                  </a:lnTo>
                  <a:lnTo>
                    <a:pt x="2607" y="33396"/>
                  </a:lnTo>
                  <a:lnTo>
                    <a:pt x="0" y="38447"/>
                  </a:lnTo>
                  <a:lnTo>
                    <a:pt x="5376" y="40564"/>
                  </a:lnTo>
                  <a:lnTo>
                    <a:pt x="9612" y="45289"/>
                  </a:lnTo>
                  <a:lnTo>
                    <a:pt x="15965" y="46429"/>
                  </a:lnTo>
                  <a:lnTo>
                    <a:pt x="19060" y="41379"/>
                  </a:lnTo>
                  <a:lnTo>
                    <a:pt x="24599" y="39750"/>
                  </a:lnTo>
                  <a:lnTo>
                    <a:pt x="27043" y="35351"/>
                  </a:lnTo>
                  <a:lnTo>
                    <a:pt x="28672" y="37958"/>
                  </a:lnTo>
                  <a:lnTo>
                    <a:pt x="28672" y="40402"/>
                  </a:lnTo>
                  <a:lnTo>
                    <a:pt x="31604" y="40402"/>
                  </a:lnTo>
                  <a:lnTo>
                    <a:pt x="34863" y="38447"/>
                  </a:lnTo>
                  <a:lnTo>
                    <a:pt x="35840" y="43171"/>
                  </a:lnTo>
                  <a:lnTo>
                    <a:pt x="37958" y="43171"/>
                  </a:lnTo>
                  <a:lnTo>
                    <a:pt x="42031" y="40076"/>
                  </a:lnTo>
                  <a:lnTo>
                    <a:pt x="43171" y="37469"/>
                  </a:lnTo>
                  <a:lnTo>
                    <a:pt x="43660" y="42519"/>
                  </a:lnTo>
                  <a:lnTo>
                    <a:pt x="45289" y="42519"/>
                  </a:lnTo>
                  <a:cubicBezTo>
                    <a:pt x="45289" y="42519"/>
                    <a:pt x="50502" y="38121"/>
                    <a:pt x="50502" y="38121"/>
                  </a:cubicBezTo>
                  <a:lnTo>
                    <a:pt x="50176" y="40564"/>
                  </a:lnTo>
                  <a:lnTo>
                    <a:pt x="48547" y="44474"/>
                  </a:lnTo>
                  <a:lnTo>
                    <a:pt x="50828" y="46266"/>
                  </a:lnTo>
                  <a:lnTo>
                    <a:pt x="54249" y="43334"/>
                  </a:lnTo>
                  <a:lnTo>
                    <a:pt x="59625" y="46429"/>
                  </a:lnTo>
                  <a:lnTo>
                    <a:pt x="56692" y="47569"/>
                  </a:lnTo>
                  <a:lnTo>
                    <a:pt x="53760" y="47569"/>
                  </a:lnTo>
                  <a:cubicBezTo>
                    <a:pt x="53760" y="47569"/>
                    <a:pt x="50176" y="50176"/>
                    <a:pt x="50176" y="50176"/>
                  </a:cubicBezTo>
                  <a:lnTo>
                    <a:pt x="45940" y="50502"/>
                  </a:lnTo>
                  <a:lnTo>
                    <a:pt x="39261" y="53434"/>
                  </a:lnTo>
                  <a:lnTo>
                    <a:pt x="38772" y="55226"/>
                  </a:lnTo>
                  <a:lnTo>
                    <a:pt x="47244" y="57670"/>
                  </a:lnTo>
                  <a:lnTo>
                    <a:pt x="51805" y="56855"/>
                  </a:lnTo>
                  <a:lnTo>
                    <a:pt x="53760" y="53760"/>
                  </a:lnTo>
                  <a:lnTo>
                    <a:pt x="56692" y="52620"/>
                  </a:lnTo>
                  <a:lnTo>
                    <a:pt x="56366" y="56692"/>
                  </a:lnTo>
                  <a:lnTo>
                    <a:pt x="53434" y="60602"/>
                  </a:lnTo>
                  <a:lnTo>
                    <a:pt x="44637" y="61580"/>
                  </a:lnTo>
                  <a:lnTo>
                    <a:pt x="41705" y="60765"/>
                  </a:lnTo>
                  <a:lnTo>
                    <a:pt x="37632" y="64675"/>
                  </a:lnTo>
                  <a:lnTo>
                    <a:pt x="35677" y="62231"/>
                  </a:lnTo>
                  <a:lnTo>
                    <a:pt x="34048" y="60602"/>
                  </a:lnTo>
                  <a:lnTo>
                    <a:pt x="34048" y="58484"/>
                  </a:lnTo>
                  <a:cubicBezTo>
                    <a:pt x="34048" y="58484"/>
                    <a:pt x="31441" y="57670"/>
                    <a:pt x="31441" y="57670"/>
                  </a:cubicBezTo>
                  <a:lnTo>
                    <a:pt x="30627" y="58810"/>
                  </a:lnTo>
                  <a:lnTo>
                    <a:pt x="31604" y="60928"/>
                  </a:lnTo>
                  <a:lnTo>
                    <a:pt x="27695" y="63860"/>
                  </a:lnTo>
                  <a:lnTo>
                    <a:pt x="24762" y="62231"/>
                  </a:lnTo>
                  <a:lnTo>
                    <a:pt x="20526" y="62557"/>
                  </a:lnTo>
                  <a:lnTo>
                    <a:pt x="16128" y="64838"/>
                  </a:lnTo>
                  <a:lnTo>
                    <a:pt x="11078" y="62883"/>
                  </a:lnTo>
                  <a:lnTo>
                    <a:pt x="7657" y="64186"/>
                  </a:lnTo>
                  <a:lnTo>
                    <a:pt x="5213" y="63860"/>
                  </a:lnTo>
                  <a:lnTo>
                    <a:pt x="8634" y="69236"/>
                  </a:lnTo>
                  <a:lnTo>
                    <a:pt x="10589" y="73798"/>
                  </a:lnTo>
                  <a:lnTo>
                    <a:pt x="17106" y="74287"/>
                  </a:lnTo>
                  <a:lnTo>
                    <a:pt x="17106" y="72657"/>
                  </a:lnTo>
                  <a:lnTo>
                    <a:pt x="25251" y="74938"/>
                  </a:lnTo>
                  <a:lnTo>
                    <a:pt x="34863" y="74287"/>
                  </a:lnTo>
                  <a:lnTo>
                    <a:pt x="40239" y="74775"/>
                  </a:lnTo>
                  <a:lnTo>
                    <a:pt x="39913" y="77056"/>
                  </a:lnTo>
                  <a:lnTo>
                    <a:pt x="36655" y="79337"/>
                  </a:lnTo>
                  <a:lnTo>
                    <a:pt x="36655" y="81943"/>
                  </a:lnTo>
                  <a:cubicBezTo>
                    <a:pt x="36655" y="81943"/>
                    <a:pt x="41053" y="85202"/>
                    <a:pt x="41053" y="85202"/>
                  </a:cubicBezTo>
                  <a:lnTo>
                    <a:pt x="42193" y="88460"/>
                  </a:lnTo>
                  <a:lnTo>
                    <a:pt x="45289" y="87971"/>
                  </a:lnTo>
                  <a:lnTo>
                    <a:pt x="51642" y="83572"/>
                  </a:lnTo>
                  <a:lnTo>
                    <a:pt x="50502" y="86831"/>
                  </a:lnTo>
                  <a:lnTo>
                    <a:pt x="45940" y="90089"/>
                  </a:lnTo>
                  <a:lnTo>
                    <a:pt x="43497" y="93836"/>
                  </a:lnTo>
                  <a:lnTo>
                    <a:pt x="47407" y="96768"/>
                  </a:lnTo>
                  <a:lnTo>
                    <a:pt x="54249" y="91229"/>
                  </a:lnTo>
                  <a:lnTo>
                    <a:pt x="59625" y="92858"/>
                  </a:lnTo>
                  <a:lnTo>
                    <a:pt x="60928" y="95791"/>
                  </a:lnTo>
                  <a:lnTo>
                    <a:pt x="57670" y="93836"/>
                  </a:lnTo>
                  <a:lnTo>
                    <a:pt x="52620" y="95628"/>
                  </a:lnTo>
                  <a:lnTo>
                    <a:pt x="49036" y="98723"/>
                  </a:lnTo>
                  <a:lnTo>
                    <a:pt x="44311" y="98723"/>
                  </a:lnTo>
                  <a:cubicBezTo>
                    <a:pt x="44311" y="98723"/>
                    <a:pt x="43985" y="102307"/>
                    <a:pt x="43985" y="102307"/>
                  </a:cubicBezTo>
                  <a:lnTo>
                    <a:pt x="41542" y="105239"/>
                  </a:lnTo>
                  <a:lnTo>
                    <a:pt x="38772" y="104588"/>
                  </a:lnTo>
                  <a:lnTo>
                    <a:pt x="35514" y="106380"/>
                  </a:lnTo>
                  <a:lnTo>
                    <a:pt x="33885" y="103122"/>
                  </a:lnTo>
                  <a:lnTo>
                    <a:pt x="29649" y="100189"/>
                  </a:lnTo>
                  <a:lnTo>
                    <a:pt x="29649" y="102470"/>
                  </a:lnTo>
                  <a:lnTo>
                    <a:pt x="27695" y="102470"/>
                  </a:lnTo>
                  <a:lnTo>
                    <a:pt x="28835" y="108498"/>
                  </a:lnTo>
                  <a:lnTo>
                    <a:pt x="31279" y="109638"/>
                  </a:lnTo>
                  <a:lnTo>
                    <a:pt x="29487" y="111104"/>
                  </a:lnTo>
                  <a:lnTo>
                    <a:pt x="28835" y="119412"/>
                  </a:lnTo>
                  <a:lnTo>
                    <a:pt x="34863" y="119412"/>
                  </a:lnTo>
                  <a:cubicBezTo>
                    <a:pt x="34863" y="119412"/>
                    <a:pt x="36492" y="117457"/>
                    <a:pt x="36492" y="117457"/>
                  </a:cubicBezTo>
                  <a:lnTo>
                    <a:pt x="40401" y="119738"/>
                  </a:lnTo>
                  <a:lnTo>
                    <a:pt x="48873" y="120716"/>
                  </a:lnTo>
                  <a:lnTo>
                    <a:pt x="54900" y="116154"/>
                  </a:lnTo>
                  <a:lnTo>
                    <a:pt x="59950" y="118924"/>
                  </a:lnTo>
                  <a:lnTo>
                    <a:pt x="63860" y="116480"/>
                  </a:lnTo>
                  <a:lnTo>
                    <a:pt x="64838" y="119412"/>
                  </a:lnTo>
                  <a:lnTo>
                    <a:pt x="67933" y="120390"/>
                  </a:lnTo>
                  <a:close/>
                </a:path>
              </a:pathLst>
            </a:custGeom>
            <a:solidFill>
              <a:schemeClr val="bg2"/>
            </a:solidFill>
            <a:ln w="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9" name="Forma livre: Forma 188">
              <a:extLst>
                <a:ext uri="{FF2B5EF4-FFF2-40B4-BE49-F238E27FC236}">
                  <a16:creationId xmlns:a16="http://schemas.microsoft.com/office/drawing/2014/main" id="{DC097F9D-34D4-49E7-06C3-845356A1093B}"/>
                </a:ext>
              </a:extLst>
            </p:cNvPr>
            <p:cNvSpPr/>
            <p:nvPr/>
          </p:nvSpPr>
          <p:spPr>
            <a:xfrm>
              <a:off x="6570548" y="1690869"/>
              <a:ext cx="3480815" cy="2098993"/>
            </a:xfrm>
            <a:custGeom>
              <a:avLst/>
              <a:gdLst>
                <a:gd name="connsiteX0" fmla="*/ 2610945 w 3368309"/>
                <a:gd name="connsiteY0" fmla="*/ 1865798 h 2031151"/>
                <a:gd name="connsiteX1" fmla="*/ 2610456 w 3368309"/>
                <a:gd name="connsiteY1" fmla="*/ 1864984 h 2031151"/>
                <a:gd name="connsiteX2" fmla="*/ 2606058 w 3368309"/>
                <a:gd name="connsiteY2" fmla="*/ 1860911 h 2031151"/>
                <a:gd name="connsiteX3" fmla="*/ 2606058 w 3368309"/>
                <a:gd name="connsiteY3" fmla="*/ 1860911 h 2031151"/>
                <a:gd name="connsiteX4" fmla="*/ 2607035 w 3368309"/>
                <a:gd name="connsiteY4" fmla="*/ 1858142 h 2031151"/>
                <a:gd name="connsiteX5" fmla="*/ 2607035 w 3368309"/>
                <a:gd name="connsiteY5" fmla="*/ 1855209 h 2031151"/>
                <a:gd name="connsiteX6" fmla="*/ 2605080 w 3368309"/>
                <a:gd name="connsiteY6" fmla="*/ 1853906 h 2031151"/>
                <a:gd name="connsiteX7" fmla="*/ 2604266 w 3368309"/>
                <a:gd name="connsiteY7" fmla="*/ 1849508 h 2031151"/>
                <a:gd name="connsiteX8" fmla="*/ 2604592 w 3368309"/>
                <a:gd name="connsiteY8" fmla="*/ 1847553 h 2031151"/>
                <a:gd name="connsiteX9" fmla="*/ 2607524 w 3368309"/>
                <a:gd name="connsiteY9" fmla="*/ 1845761 h 2031151"/>
                <a:gd name="connsiteX10" fmla="*/ 2613552 w 3368309"/>
                <a:gd name="connsiteY10" fmla="*/ 1846412 h 2031151"/>
                <a:gd name="connsiteX11" fmla="*/ 2615344 w 3368309"/>
                <a:gd name="connsiteY11" fmla="*/ 1845924 h 2031151"/>
                <a:gd name="connsiteX12" fmla="*/ 2615344 w 3368309"/>
                <a:gd name="connsiteY12" fmla="*/ 1841525 h 2031151"/>
                <a:gd name="connsiteX13" fmla="*/ 2614692 w 3368309"/>
                <a:gd name="connsiteY13" fmla="*/ 1838918 h 2031151"/>
                <a:gd name="connsiteX14" fmla="*/ 2614692 w 3368309"/>
                <a:gd name="connsiteY14" fmla="*/ 1835497 h 2031151"/>
                <a:gd name="connsiteX15" fmla="*/ 2616158 w 3368309"/>
                <a:gd name="connsiteY15" fmla="*/ 1833054 h 2031151"/>
                <a:gd name="connsiteX16" fmla="*/ 2616158 w 3368309"/>
                <a:gd name="connsiteY16" fmla="*/ 1828492 h 2031151"/>
                <a:gd name="connsiteX17" fmla="*/ 2615669 w 3368309"/>
                <a:gd name="connsiteY17" fmla="*/ 1823931 h 2031151"/>
                <a:gd name="connsiteX18" fmla="*/ 2612737 w 3368309"/>
                <a:gd name="connsiteY18" fmla="*/ 1821650 h 2031151"/>
                <a:gd name="connsiteX19" fmla="*/ 2612737 w 3368309"/>
                <a:gd name="connsiteY19" fmla="*/ 1812853 h 2031151"/>
                <a:gd name="connsiteX20" fmla="*/ 2612248 w 3368309"/>
                <a:gd name="connsiteY20" fmla="*/ 1808617 h 2031151"/>
                <a:gd name="connsiteX21" fmla="*/ 2611760 w 3368309"/>
                <a:gd name="connsiteY21" fmla="*/ 1802427 h 2031151"/>
                <a:gd name="connsiteX22" fmla="*/ 2611760 w 3368309"/>
                <a:gd name="connsiteY22" fmla="*/ 1797865 h 2031151"/>
                <a:gd name="connsiteX23" fmla="*/ 2608664 w 3368309"/>
                <a:gd name="connsiteY23" fmla="*/ 1793467 h 2031151"/>
                <a:gd name="connsiteX24" fmla="*/ 2607035 w 3368309"/>
                <a:gd name="connsiteY24" fmla="*/ 1790372 h 2031151"/>
                <a:gd name="connsiteX25" fmla="*/ 2605895 w 3368309"/>
                <a:gd name="connsiteY25" fmla="*/ 1786625 h 2031151"/>
                <a:gd name="connsiteX26" fmla="*/ 2599867 w 3368309"/>
                <a:gd name="connsiteY26" fmla="*/ 1777339 h 2031151"/>
                <a:gd name="connsiteX27" fmla="*/ 2598075 w 3368309"/>
                <a:gd name="connsiteY27" fmla="*/ 1773103 h 2031151"/>
                <a:gd name="connsiteX28" fmla="*/ 2599215 w 3368309"/>
                <a:gd name="connsiteY28" fmla="*/ 1770823 h 2031151"/>
                <a:gd name="connsiteX29" fmla="*/ 2602311 w 3368309"/>
                <a:gd name="connsiteY29" fmla="*/ 1768868 h 2031151"/>
                <a:gd name="connsiteX30" fmla="*/ 2605243 w 3368309"/>
                <a:gd name="connsiteY30" fmla="*/ 1768542 h 2031151"/>
                <a:gd name="connsiteX31" fmla="*/ 2607687 w 3368309"/>
                <a:gd name="connsiteY31" fmla="*/ 1765284 h 2031151"/>
                <a:gd name="connsiteX32" fmla="*/ 2608664 w 3368309"/>
                <a:gd name="connsiteY32" fmla="*/ 1761862 h 2031151"/>
                <a:gd name="connsiteX33" fmla="*/ 2613388 w 3368309"/>
                <a:gd name="connsiteY33" fmla="*/ 1754532 h 2031151"/>
                <a:gd name="connsiteX34" fmla="*/ 2615344 w 3368309"/>
                <a:gd name="connsiteY34" fmla="*/ 1754043 h 2031151"/>
                <a:gd name="connsiteX35" fmla="*/ 2619417 w 3368309"/>
                <a:gd name="connsiteY35" fmla="*/ 1755183 h 2031151"/>
                <a:gd name="connsiteX36" fmla="*/ 2622674 w 3368309"/>
                <a:gd name="connsiteY36" fmla="*/ 1756486 h 2031151"/>
                <a:gd name="connsiteX37" fmla="*/ 2638965 w 3368309"/>
                <a:gd name="connsiteY37" fmla="*/ 1759419 h 2031151"/>
                <a:gd name="connsiteX38" fmla="*/ 2641409 w 3368309"/>
                <a:gd name="connsiteY38" fmla="*/ 1760233 h 2031151"/>
                <a:gd name="connsiteX39" fmla="*/ 2644342 w 3368309"/>
                <a:gd name="connsiteY39" fmla="*/ 1760233 h 2031151"/>
                <a:gd name="connsiteX40" fmla="*/ 2646296 w 3368309"/>
                <a:gd name="connsiteY40" fmla="*/ 1757790 h 2031151"/>
                <a:gd name="connsiteX41" fmla="*/ 2645645 w 3368309"/>
                <a:gd name="connsiteY41" fmla="*/ 1754043 h 2031151"/>
                <a:gd name="connsiteX42" fmla="*/ 2644015 w 3368309"/>
                <a:gd name="connsiteY42" fmla="*/ 1751110 h 2031151"/>
                <a:gd name="connsiteX43" fmla="*/ 2643690 w 3368309"/>
                <a:gd name="connsiteY43" fmla="*/ 1748504 h 2031151"/>
                <a:gd name="connsiteX44" fmla="*/ 2644667 w 3368309"/>
                <a:gd name="connsiteY44" fmla="*/ 1746549 h 2031151"/>
                <a:gd name="connsiteX45" fmla="*/ 2643690 w 3368309"/>
                <a:gd name="connsiteY45" fmla="*/ 1743942 h 2031151"/>
                <a:gd name="connsiteX46" fmla="*/ 2643038 w 3368309"/>
                <a:gd name="connsiteY46" fmla="*/ 1741010 h 2031151"/>
                <a:gd name="connsiteX47" fmla="*/ 2645319 w 3368309"/>
                <a:gd name="connsiteY47" fmla="*/ 1735960 h 2031151"/>
                <a:gd name="connsiteX48" fmla="*/ 2646948 w 3368309"/>
                <a:gd name="connsiteY48" fmla="*/ 1734168 h 2031151"/>
                <a:gd name="connsiteX49" fmla="*/ 2646133 w 3368309"/>
                <a:gd name="connsiteY49" fmla="*/ 1730258 h 2031151"/>
                <a:gd name="connsiteX50" fmla="*/ 2644667 w 3368309"/>
                <a:gd name="connsiteY50" fmla="*/ 1727652 h 2031151"/>
                <a:gd name="connsiteX51" fmla="*/ 2645482 w 3368309"/>
                <a:gd name="connsiteY51" fmla="*/ 1726185 h 2031151"/>
                <a:gd name="connsiteX52" fmla="*/ 2648903 w 3368309"/>
                <a:gd name="connsiteY52" fmla="*/ 1724393 h 2031151"/>
                <a:gd name="connsiteX53" fmla="*/ 2647599 w 3368309"/>
                <a:gd name="connsiteY53" fmla="*/ 1721950 h 2031151"/>
                <a:gd name="connsiteX54" fmla="*/ 2647599 w 3368309"/>
                <a:gd name="connsiteY54" fmla="*/ 1719017 h 2031151"/>
                <a:gd name="connsiteX55" fmla="*/ 2645970 w 3368309"/>
                <a:gd name="connsiteY55" fmla="*/ 1716411 h 2031151"/>
                <a:gd name="connsiteX56" fmla="*/ 2646948 w 3368309"/>
                <a:gd name="connsiteY56" fmla="*/ 1712990 h 2031151"/>
                <a:gd name="connsiteX57" fmla="*/ 2649392 w 3368309"/>
                <a:gd name="connsiteY57" fmla="*/ 1711198 h 2031151"/>
                <a:gd name="connsiteX58" fmla="*/ 2649392 w 3368309"/>
                <a:gd name="connsiteY58" fmla="*/ 1709243 h 2031151"/>
                <a:gd name="connsiteX59" fmla="*/ 2648088 w 3368309"/>
                <a:gd name="connsiteY59" fmla="*/ 1706636 h 2031151"/>
                <a:gd name="connsiteX60" fmla="*/ 2646133 w 3368309"/>
                <a:gd name="connsiteY60" fmla="*/ 1701423 h 2031151"/>
                <a:gd name="connsiteX61" fmla="*/ 2645808 w 3368309"/>
                <a:gd name="connsiteY61" fmla="*/ 1695395 h 2031151"/>
                <a:gd name="connsiteX62" fmla="*/ 2647436 w 3368309"/>
                <a:gd name="connsiteY62" fmla="*/ 1694744 h 2031151"/>
                <a:gd name="connsiteX63" fmla="*/ 2648577 w 3368309"/>
                <a:gd name="connsiteY63" fmla="*/ 1693603 h 2031151"/>
                <a:gd name="connsiteX64" fmla="*/ 2648577 w 3368309"/>
                <a:gd name="connsiteY64" fmla="*/ 1691649 h 2031151"/>
                <a:gd name="connsiteX65" fmla="*/ 2647274 w 3368309"/>
                <a:gd name="connsiteY65" fmla="*/ 1689857 h 2031151"/>
                <a:gd name="connsiteX66" fmla="*/ 2647599 w 3368309"/>
                <a:gd name="connsiteY66" fmla="*/ 1686924 h 2031151"/>
                <a:gd name="connsiteX67" fmla="*/ 2645319 w 3368309"/>
                <a:gd name="connsiteY67" fmla="*/ 1685295 h 2031151"/>
                <a:gd name="connsiteX68" fmla="*/ 2643690 w 3368309"/>
                <a:gd name="connsiteY68" fmla="*/ 1683014 h 2031151"/>
                <a:gd name="connsiteX69" fmla="*/ 2645156 w 3368309"/>
                <a:gd name="connsiteY69" fmla="*/ 1679268 h 2031151"/>
                <a:gd name="connsiteX70" fmla="*/ 2645482 w 3368309"/>
                <a:gd name="connsiteY70" fmla="*/ 1675032 h 2031151"/>
                <a:gd name="connsiteX71" fmla="*/ 2644342 w 3368309"/>
                <a:gd name="connsiteY71" fmla="*/ 1673729 h 2031151"/>
                <a:gd name="connsiteX72" fmla="*/ 2642061 w 3368309"/>
                <a:gd name="connsiteY72" fmla="*/ 1670633 h 2031151"/>
                <a:gd name="connsiteX73" fmla="*/ 2642061 w 3368309"/>
                <a:gd name="connsiteY73" fmla="*/ 1668353 h 2031151"/>
                <a:gd name="connsiteX74" fmla="*/ 2645482 w 3368309"/>
                <a:gd name="connsiteY74" fmla="*/ 1664117 h 2031151"/>
                <a:gd name="connsiteX75" fmla="*/ 2649392 w 3368309"/>
                <a:gd name="connsiteY75" fmla="*/ 1663302 h 2031151"/>
                <a:gd name="connsiteX76" fmla="*/ 2650369 w 3368309"/>
                <a:gd name="connsiteY76" fmla="*/ 1661348 h 2031151"/>
                <a:gd name="connsiteX77" fmla="*/ 2650369 w 3368309"/>
                <a:gd name="connsiteY77" fmla="*/ 1656949 h 2031151"/>
                <a:gd name="connsiteX78" fmla="*/ 2651672 w 3368309"/>
                <a:gd name="connsiteY78" fmla="*/ 1651573 h 2031151"/>
                <a:gd name="connsiteX79" fmla="*/ 2648577 w 3368309"/>
                <a:gd name="connsiteY79" fmla="*/ 1649781 h 2031151"/>
                <a:gd name="connsiteX80" fmla="*/ 2646133 w 3368309"/>
                <a:gd name="connsiteY80" fmla="*/ 1647174 h 2031151"/>
                <a:gd name="connsiteX81" fmla="*/ 2645645 w 3368309"/>
                <a:gd name="connsiteY81" fmla="*/ 1643427 h 2031151"/>
                <a:gd name="connsiteX82" fmla="*/ 2641409 w 3368309"/>
                <a:gd name="connsiteY82" fmla="*/ 1638866 h 2031151"/>
                <a:gd name="connsiteX83" fmla="*/ 2640431 w 3368309"/>
                <a:gd name="connsiteY83" fmla="*/ 1636260 h 2031151"/>
                <a:gd name="connsiteX84" fmla="*/ 2643038 w 3368309"/>
                <a:gd name="connsiteY84" fmla="*/ 1633816 h 2031151"/>
                <a:gd name="connsiteX85" fmla="*/ 2640431 w 3368309"/>
                <a:gd name="connsiteY85" fmla="*/ 1629254 h 2031151"/>
                <a:gd name="connsiteX86" fmla="*/ 2638965 w 3368309"/>
                <a:gd name="connsiteY86" fmla="*/ 1626485 h 2031151"/>
                <a:gd name="connsiteX87" fmla="*/ 2634730 w 3368309"/>
                <a:gd name="connsiteY87" fmla="*/ 1626485 h 2031151"/>
                <a:gd name="connsiteX88" fmla="*/ 2631960 w 3368309"/>
                <a:gd name="connsiteY88" fmla="*/ 1624041 h 2031151"/>
                <a:gd name="connsiteX89" fmla="*/ 2627073 w 3368309"/>
                <a:gd name="connsiteY89" fmla="*/ 1622249 h 2031151"/>
                <a:gd name="connsiteX90" fmla="*/ 2624467 w 3368309"/>
                <a:gd name="connsiteY90" fmla="*/ 1624856 h 2031151"/>
                <a:gd name="connsiteX91" fmla="*/ 2620394 w 3368309"/>
                <a:gd name="connsiteY91" fmla="*/ 1625345 h 2031151"/>
                <a:gd name="connsiteX92" fmla="*/ 2617461 w 3368309"/>
                <a:gd name="connsiteY92" fmla="*/ 1627788 h 2031151"/>
                <a:gd name="connsiteX93" fmla="*/ 2616810 w 3368309"/>
                <a:gd name="connsiteY93" fmla="*/ 1631698 h 2031151"/>
                <a:gd name="connsiteX94" fmla="*/ 2614203 w 3368309"/>
                <a:gd name="connsiteY94" fmla="*/ 1632513 h 2031151"/>
                <a:gd name="connsiteX95" fmla="*/ 2611597 w 3368309"/>
                <a:gd name="connsiteY95" fmla="*/ 1633001 h 2031151"/>
                <a:gd name="connsiteX96" fmla="*/ 2610293 w 3368309"/>
                <a:gd name="connsiteY96" fmla="*/ 1638214 h 2031151"/>
                <a:gd name="connsiteX97" fmla="*/ 2605080 w 3368309"/>
                <a:gd name="connsiteY97" fmla="*/ 1638214 h 2031151"/>
                <a:gd name="connsiteX98" fmla="*/ 2601822 w 3368309"/>
                <a:gd name="connsiteY98" fmla="*/ 1638703 h 2031151"/>
                <a:gd name="connsiteX99" fmla="*/ 2600193 w 3368309"/>
                <a:gd name="connsiteY99" fmla="*/ 1642450 h 2031151"/>
                <a:gd name="connsiteX100" fmla="*/ 2600193 w 3368309"/>
                <a:gd name="connsiteY100" fmla="*/ 1646523 h 2031151"/>
                <a:gd name="connsiteX101" fmla="*/ 2596935 w 3368309"/>
                <a:gd name="connsiteY101" fmla="*/ 1648315 h 2031151"/>
                <a:gd name="connsiteX102" fmla="*/ 2595794 w 3368309"/>
                <a:gd name="connsiteY102" fmla="*/ 1653039 h 2031151"/>
                <a:gd name="connsiteX103" fmla="*/ 2596120 w 3368309"/>
                <a:gd name="connsiteY103" fmla="*/ 1655809 h 2031151"/>
                <a:gd name="connsiteX104" fmla="*/ 2593514 w 3368309"/>
                <a:gd name="connsiteY104" fmla="*/ 1656949 h 2031151"/>
                <a:gd name="connsiteX105" fmla="*/ 2590256 w 3368309"/>
                <a:gd name="connsiteY105" fmla="*/ 1659881 h 2031151"/>
                <a:gd name="connsiteX106" fmla="*/ 2583088 w 3368309"/>
                <a:gd name="connsiteY106" fmla="*/ 1661185 h 2031151"/>
                <a:gd name="connsiteX107" fmla="*/ 2580644 w 3368309"/>
                <a:gd name="connsiteY107" fmla="*/ 1662162 h 2031151"/>
                <a:gd name="connsiteX108" fmla="*/ 2577060 w 3368309"/>
                <a:gd name="connsiteY108" fmla="*/ 1661185 h 2031151"/>
                <a:gd name="connsiteX109" fmla="*/ 2574942 w 3368309"/>
                <a:gd name="connsiteY109" fmla="*/ 1663302 h 2031151"/>
                <a:gd name="connsiteX110" fmla="*/ 2571847 w 3368309"/>
                <a:gd name="connsiteY110" fmla="*/ 1664443 h 2031151"/>
                <a:gd name="connsiteX111" fmla="*/ 2570544 w 3368309"/>
                <a:gd name="connsiteY111" fmla="*/ 1661022 h 2031151"/>
                <a:gd name="connsiteX112" fmla="*/ 2568263 w 3368309"/>
                <a:gd name="connsiteY112" fmla="*/ 1657764 h 2031151"/>
                <a:gd name="connsiteX113" fmla="*/ 2564679 w 3368309"/>
                <a:gd name="connsiteY113" fmla="*/ 1657764 h 2031151"/>
                <a:gd name="connsiteX114" fmla="*/ 2561258 w 3368309"/>
                <a:gd name="connsiteY114" fmla="*/ 1660207 h 2031151"/>
                <a:gd name="connsiteX115" fmla="*/ 2557348 w 3368309"/>
                <a:gd name="connsiteY115" fmla="*/ 1661348 h 2031151"/>
                <a:gd name="connsiteX116" fmla="*/ 2556045 w 3368309"/>
                <a:gd name="connsiteY116" fmla="*/ 1658741 h 2031151"/>
                <a:gd name="connsiteX117" fmla="*/ 2551972 w 3368309"/>
                <a:gd name="connsiteY117" fmla="*/ 1653528 h 2031151"/>
                <a:gd name="connsiteX118" fmla="*/ 2549691 w 3368309"/>
                <a:gd name="connsiteY118" fmla="*/ 1652062 h 2031151"/>
                <a:gd name="connsiteX119" fmla="*/ 2544804 w 3368309"/>
                <a:gd name="connsiteY119" fmla="*/ 1646034 h 2031151"/>
                <a:gd name="connsiteX120" fmla="*/ 2544804 w 3368309"/>
                <a:gd name="connsiteY120" fmla="*/ 1642287 h 2031151"/>
                <a:gd name="connsiteX121" fmla="*/ 2545944 w 3368309"/>
                <a:gd name="connsiteY121" fmla="*/ 1640821 h 2031151"/>
                <a:gd name="connsiteX122" fmla="*/ 2546759 w 3368309"/>
                <a:gd name="connsiteY122" fmla="*/ 1636097 h 2031151"/>
                <a:gd name="connsiteX123" fmla="*/ 2545129 w 3368309"/>
                <a:gd name="connsiteY123" fmla="*/ 1631861 h 2031151"/>
                <a:gd name="connsiteX124" fmla="*/ 2544152 w 3368309"/>
                <a:gd name="connsiteY124" fmla="*/ 1627299 h 2031151"/>
                <a:gd name="connsiteX125" fmla="*/ 2539917 w 3368309"/>
                <a:gd name="connsiteY125" fmla="*/ 1627625 h 2031151"/>
                <a:gd name="connsiteX126" fmla="*/ 2539428 w 3368309"/>
                <a:gd name="connsiteY126" fmla="*/ 1624693 h 2031151"/>
                <a:gd name="connsiteX127" fmla="*/ 2539428 w 3368309"/>
                <a:gd name="connsiteY127" fmla="*/ 1621109 h 2031151"/>
                <a:gd name="connsiteX128" fmla="*/ 2541383 w 3368309"/>
                <a:gd name="connsiteY128" fmla="*/ 1618014 h 2031151"/>
                <a:gd name="connsiteX129" fmla="*/ 2541872 w 3368309"/>
                <a:gd name="connsiteY129" fmla="*/ 1614756 h 2031151"/>
                <a:gd name="connsiteX130" fmla="*/ 2539917 w 3368309"/>
                <a:gd name="connsiteY130" fmla="*/ 1613778 h 2031151"/>
                <a:gd name="connsiteX131" fmla="*/ 2537962 w 3368309"/>
                <a:gd name="connsiteY131" fmla="*/ 1614267 h 2031151"/>
                <a:gd name="connsiteX132" fmla="*/ 2535355 w 3368309"/>
                <a:gd name="connsiteY132" fmla="*/ 1616222 h 2031151"/>
                <a:gd name="connsiteX133" fmla="*/ 2532260 w 3368309"/>
                <a:gd name="connsiteY133" fmla="*/ 1616548 h 2031151"/>
                <a:gd name="connsiteX134" fmla="*/ 2529653 w 3368309"/>
                <a:gd name="connsiteY134" fmla="*/ 1617362 h 2031151"/>
                <a:gd name="connsiteX135" fmla="*/ 2526232 w 3368309"/>
                <a:gd name="connsiteY135" fmla="*/ 1616710 h 2031151"/>
                <a:gd name="connsiteX136" fmla="*/ 2523626 w 3368309"/>
                <a:gd name="connsiteY136" fmla="*/ 1614756 h 2031151"/>
                <a:gd name="connsiteX137" fmla="*/ 2521182 w 3368309"/>
                <a:gd name="connsiteY137" fmla="*/ 1614430 h 2031151"/>
                <a:gd name="connsiteX138" fmla="*/ 2519879 w 3368309"/>
                <a:gd name="connsiteY138" fmla="*/ 1613289 h 2031151"/>
                <a:gd name="connsiteX139" fmla="*/ 2514340 w 3368309"/>
                <a:gd name="connsiteY139" fmla="*/ 1610846 h 2031151"/>
                <a:gd name="connsiteX140" fmla="*/ 2513688 w 3368309"/>
                <a:gd name="connsiteY140" fmla="*/ 1608402 h 2031151"/>
                <a:gd name="connsiteX141" fmla="*/ 2511408 w 3368309"/>
                <a:gd name="connsiteY141" fmla="*/ 1605958 h 2031151"/>
                <a:gd name="connsiteX142" fmla="*/ 2510104 w 3368309"/>
                <a:gd name="connsiteY142" fmla="*/ 1605958 h 2031151"/>
                <a:gd name="connsiteX143" fmla="*/ 2507498 w 3368309"/>
                <a:gd name="connsiteY143" fmla="*/ 1603841 h 2031151"/>
                <a:gd name="connsiteX144" fmla="*/ 2506683 w 3368309"/>
                <a:gd name="connsiteY144" fmla="*/ 1601397 h 2031151"/>
                <a:gd name="connsiteX145" fmla="*/ 2503913 w 3368309"/>
                <a:gd name="connsiteY145" fmla="*/ 1601071 h 2031151"/>
                <a:gd name="connsiteX146" fmla="*/ 2501307 w 3368309"/>
                <a:gd name="connsiteY146" fmla="*/ 1597976 h 2031151"/>
                <a:gd name="connsiteX147" fmla="*/ 2500329 w 3368309"/>
                <a:gd name="connsiteY147" fmla="*/ 1595044 h 2031151"/>
                <a:gd name="connsiteX148" fmla="*/ 2498375 w 3368309"/>
                <a:gd name="connsiteY148" fmla="*/ 1593252 h 2031151"/>
                <a:gd name="connsiteX149" fmla="*/ 2495768 w 3368309"/>
                <a:gd name="connsiteY149" fmla="*/ 1593577 h 2031151"/>
                <a:gd name="connsiteX150" fmla="*/ 2494791 w 3368309"/>
                <a:gd name="connsiteY150" fmla="*/ 1596673 h 2031151"/>
                <a:gd name="connsiteX151" fmla="*/ 2492021 w 3368309"/>
                <a:gd name="connsiteY151" fmla="*/ 1595858 h 2031151"/>
                <a:gd name="connsiteX152" fmla="*/ 2489415 w 3368309"/>
                <a:gd name="connsiteY152" fmla="*/ 1596836 h 2031151"/>
                <a:gd name="connsiteX153" fmla="*/ 2488763 w 3368309"/>
                <a:gd name="connsiteY153" fmla="*/ 1598790 h 2031151"/>
                <a:gd name="connsiteX154" fmla="*/ 2485668 w 3368309"/>
                <a:gd name="connsiteY154" fmla="*/ 1596836 h 2031151"/>
                <a:gd name="connsiteX155" fmla="*/ 2484039 w 3368309"/>
                <a:gd name="connsiteY155" fmla="*/ 1594881 h 2031151"/>
                <a:gd name="connsiteX156" fmla="*/ 2481432 w 3368309"/>
                <a:gd name="connsiteY156" fmla="*/ 1593577 h 2031151"/>
                <a:gd name="connsiteX157" fmla="*/ 2475731 w 3368309"/>
                <a:gd name="connsiteY157" fmla="*/ 1593089 h 2031151"/>
                <a:gd name="connsiteX158" fmla="*/ 2474101 w 3368309"/>
                <a:gd name="connsiteY158" fmla="*/ 1591622 h 2031151"/>
                <a:gd name="connsiteX159" fmla="*/ 2476056 w 3368309"/>
                <a:gd name="connsiteY159" fmla="*/ 1589342 h 2031151"/>
                <a:gd name="connsiteX160" fmla="*/ 2476056 w 3368309"/>
                <a:gd name="connsiteY160" fmla="*/ 1588038 h 2031151"/>
                <a:gd name="connsiteX161" fmla="*/ 2472635 w 3368309"/>
                <a:gd name="connsiteY161" fmla="*/ 1588038 h 2031151"/>
                <a:gd name="connsiteX162" fmla="*/ 2469866 w 3368309"/>
                <a:gd name="connsiteY162" fmla="*/ 1590319 h 2031151"/>
                <a:gd name="connsiteX163" fmla="*/ 2464490 w 3368309"/>
                <a:gd name="connsiteY163" fmla="*/ 1589505 h 2031151"/>
                <a:gd name="connsiteX164" fmla="*/ 2462535 w 3368309"/>
                <a:gd name="connsiteY164" fmla="*/ 1590645 h 2031151"/>
                <a:gd name="connsiteX165" fmla="*/ 2459928 w 3368309"/>
                <a:gd name="connsiteY165" fmla="*/ 1589179 h 2031151"/>
                <a:gd name="connsiteX166" fmla="*/ 2457322 w 3368309"/>
                <a:gd name="connsiteY166" fmla="*/ 1590156 h 2031151"/>
                <a:gd name="connsiteX167" fmla="*/ 2454063 w 3368309"/>
                <a:gd name="connsiteY167" fmla="*/ 1589667 h 2031151"/>
                <a:gd name="connsiteX168" fmla="*/ 2452272 w 3368309"/>
                <a:gd name="connsiteY168" fmla="*/ 1586409 h 2031151"/>
                <a:gd name="connsiteX169" fmla="*/ 2448036 w 3368309"/>
                <a:gd name="connsiteY169" fmla="*/ 1584943 h 2031151"/>
                <a:gd name="connsiteX170" fmla="*/ 2442334 w 3368309"/>
                <a:gd name="connsiteY170" fmla="*/ 1579078 h 2031151"/>
                <a:gd name="connsiteX171" fmla="*/ 2439565 w 3368309"/>
                <a:gd name="connsiteY171" fmla="*/ 1574028 h 2031151"/>
                <a:gd name="connsiteX172" fmla="*/ 2440053 w 3368309"/>
                <a:gd name="connsiteY172" fmla="*/ 1570607 h 2031151"/>
                <a:gd name="connsiteX173" fmla="*/ 2438913 w 3368309"/>
                <a:gd name="connsiteY173" fmla="*/ 1566209 h 2031151"/>
                <a:gd name="connsiteX174" fmla="*/ 2436144 w 3368309"/>
                <a:gd name="connsiteY174" fmla="*/ 1565720 h 2031151"/>
                <a:gd name="connsiteX175" fmla="*/ 2433211 w 3368309"/>
                <a:gd name="connsiteY175" fmla="*/ 1564091 h 2031151"/>
                <a:gd name="connsiteX176" fmla="*/ 2432885 w 3368309"/>
                <a:gd name="connsiteY176" fmla="*/ 1558878 h 2031151"/>
                <a:gd name="connsiteX177" fmla="*/ 2431093 w 3368309"/>
                <a:gd name="connsiteY177" fmla="*/ 1557249 h 2031151"/>
                <a:gd name="connsiteX178" fmla="*/ 2430116 w 3368309"/>
                <a:gd name="connsiteY178" fmla="*/ 1552036 h 2031151"/>
                <a:gd name="connsiteX179" fmla="*/ 2428487 w 3368309"/>
                <a:gd name="connsiteY179" fmla="*/ 1547311 h 2031151"/>
                <a:gd name="connsiteX180" fmla="*/ 2419201 w 3368309"/>
                <a:gd name="connsiteY180" fmla="*/ 1541446 h 2031151"/>
                <a:gd name="connsiteX181" fmla="*/ 2414313 w 3368309"/>
                <a:gd name="connsiteY181" fmla="*/ 1534930 h 2031151"/>
                <a:gd name="connsiteX182" fmla="*/ 2413662 w 3368309"/>
                <a:gd name="connsiteY182" fmla="*/ 1531835 h 2031151"/>
                <a:gd name="connsiteX183" fmla="*/ 2411218 w 3368309"/>
                <a:gd name="connsiteY183" fmla="*/ 1527925 h 2031151"/>
                <a:gd name="connsiteX184" fmla="*/ 2408775 w 3368309"/>
                <a:gd name="connsiteY184" fmla="*/ 1529065 h 2031151"/>
                <a:gd name="connsiteX185" fmla="*/ 2407308 w 3368309"/>
                <a:gd name="connsiteY185" fmla="*/ 1528251 h 2031151"/>
                <a:gd name="connsiteX186" fmla="*/ 2408123 w 3368309"/>
                <a:gd name="connsiteY186" fmla="*/ 1525318 h 2031151"/>
                <a:gd name="connsiteX187" fmla="*/ 2408123 w 3368309"/>
                <a:gd name="connsiteY187" fmla="*/ 1523038 h 2031151"/>
                <a:gd name="connsiteX188" fmla="*/ 2405028 w 3368309"/>
                <a:gd name="connsiteY188" fmla="*/ 1520594 h 2031151"/>
                <a:gd name="connsiteX189" fmla="*/ 2403399 w 3368309"/>
                <a:gd name="connsiteY189" fmla="*/ 1516358 h 2031151"/>
                <a:gd name="connsiteX190" fmla="*/ 2400792 w 3368309"/>
                <a:gd name="connsiteY190" fmla="*/ 1515055 h 2031151"/>
                <a:gd name="connsiteX191" fmla="*/ 2399815 w 3368309"/>
                <a:gd name="connsiteY191" fmla="*/ 1511308 h 2031151"/>
                <a:gd name="connsiteX192" fmla="*/ 2396719 w 3368309"/>
                <a:gd name="connsiteY192" fmla="*/ 1507398 h 2031151"/>
                <a:gd name="connsiteX193" fmla="*/ 2394602 w 3368309"/>
                <a:gd name="connsiteY193" fmla="*/ 1503163 h 2031151"/>
                <a:gd name="connsiteX194" fmla="*/ 2388737 w 3368309"/>
                <a:gd name="connsiteY194" fmla="*/ 1499579 h 2031151"/>
                <a:gd name="connsiteX195" fmla="*/ 2388248 w 3368309"/>
                <a:gd name="connsiteY195" fmla="*/ 1496809 h 2031151"/>
                <a:gd name="connsiteX196" fmla="*/ 2389715 w 3368309"/>
                <a:gd name="connsiteY196" fmla="*/ 1493388 h 2031151"/>
                <a:gd name="connsiteX197" fmla="*/ 2388900 w 3368309"/>
                <a:gd name="connsiteY197" fmla="*/ 1490456 h 2031151"/>
                <a:gd name="connsiteX198" fmla="*/ 2382383 w 3368309"/>
                <a:gd name="connsiteY198" fmla="*/ 1490130 h 2031151"/>
                <a:gd name="connsiteX199" fmla="*/ 2381406 w 3368309"/>
                <a:gd name="connsiteY199" fmla="*/ 1488501 h 2031151"/>
                <a:gd name="connsiteX200" fmla="*/ 2381406 w 3368309"/>
                <a:gd name="connsiteY200" fmla="*/ 1486057 h 2031151"/>
                <a:gd name="connsiteX201" fmla="*/ 2380103 w 3368309"/>
                <a:gd name="connsiteY201" fmla="*/ 1482962 h 2031151"/>
                <a:gd name="connsiteX202" fmla="*/ 2379777 w 3368309"/>
                <a:gd name="connsiteY202" fmla="*/ 1479378 h 2031151"/>
                <a:gd name="connsiteX203" fmla="*/ 2377985 w 3368309"/>
                <a:gd name="connsiteY203" fmla="*/ 1476446 h 2031151"/>
                <a:gd name="connsiteX204" fmla="*/ 2375541 w 3368309"/>
                <a:gd name="connsiteY204" fmla="*/ 1475142 h 2031151"/>
                <a:gd name="connsiteX205" fmla="*/ 2375541 w 3368309"/>
                <a:gd name="connsiteY205" fmla="*/ 1472699 h 2031151"/>
                <a:gd name="connsiteX206" fmla="*/ 2373749 w 3368309"/>
                <a:gd name="connsiteY206" fmla="*/ 1471070 h 2031151"/>
                <a:gd name="connsiteX207" fmla="*/ 2371306 w 3368309"/>
                <a:gd name="connsiteY207" fmla="*/ 1471395 h 2031151"/>
                <a:gd name="connsiteX208" fmla="*/ 2367070 w 3368309"/>
                <a:gd name="connsiteY208" fmla="*/ 1470255 h 2031151"/>
                <a:gd name="connsiteX209" fmla="*/ 2365929 w 3368309"/>
                <a:gd name="connsiteY209" fmla="*/ 1467974 h 2031151"/>
                <a:gd name="connsiteX210" fmla="*/ 2367233 w 3368309"/>
                <a:gd name="connsiteY210" fmla="*/ 1465531 h 2031151"/>
                <a:gd name="connsiteX211" fmla="*/ 2366418 w 3368309"/>
                <a:gd name="connsiteY211" fmla="*/ 1463087 h 2031151"/>
                <a:gd name="connsiteX212" fmla="*/ 2362835 w 3368309"/>
                <a:gd name="connsiteY212" fmla="*/ 1462435 h 2031151"/>
                <a:gd name="connsiteX213" fmla="*/ 2360228 w 3368309"/>
                <a:gd name="connsiteY213" fmla="*/ 1464390 h 2031151"/>
                <a:gd name="connsiteX214" fmla="*/ 2359088 w 3368309"/>
                <a:gd name="connsiteY214" fmla="*/ 1462435 h 2031151"/>
                <a:gd name="connsiteX215" fmla="*/ 2356318 w 3368309"/>
                <a:gd name="connsiteY215" fmla="*/ 1462435 h 2031151"/>
                <a:gd name="connsiteX216" fmla="*/ 2355503 w 3368309"/>
                <a:gd name="connsiteY216" fmla="*/ 1459829 h 2031151"/>
                <a:gd name="connsiteX217" fmla="*/ 2356155 w 3368309"/>
                <a:gd name="connsiteY217" fmla="*/ 1457222 h 2031151"/>
                <a:gd name="connsiteX218" fmla="*/ 2354526 w 3368309"/>
                <a:gd name="connsiteY218" fmla="*/ 1454942 h 2031151"/>
                <a:gd name="connsiteX219" fmla="*/ 2351268 w 3368309"/>
                <a:gd name="connsiteY219" fmla="*/ 1453638 h 2031151"/>
                <a:gd name="connsiteX220" fmla="*/ 2348661 w 3368309"/>
                <a:gd name="connsiteY220" fmla="*/ 1453964 h 2031151"/>
                <a:gd name="connsiteX221" fmla="*/ 2346054 w 3368309"/>
                <a:gd name="connsiteY221" fmla="*/ 1451032 h 2031151"/>
                <a:gd name="connsiteX222" fmla="*/ 2344263 w 3368309"/>
                <a:gd name="connsiteY222" fmla="*/ 1451846 h 2031151"/>
                <a:gd name="connsiteX223" fmla="*/ 2340516 w 3368309"/>
                <a:gd name="connsiteY223" fmla="*/ 1451846 h 2031151"/>
                <a:gd name="connsiteX224" fmla="*/ 2338235 w 3368309"/>
                <a:gd name="connsiteY224" fmla="*/ 1450869 h 2031151"/>
                <a:gd name="connsiteX225" fmla="*/ 2335792 w 3368309"/>
                <a:gd name="connsiteY225" fmla="*/ 1452335 h 2031151"/>
                <a:gd name="connsiteX226" fmla="*/ 2336117 w 3368309"/>
                <a:gd name="connsiteY226" fmla="*/ 1455430 h 2031151"/>
                <a:gd name="connsiteX227" fmla="*/ 2334162 w 3368309"/>
                <a:gd name="connsiteY227" fmla="*/ 1456408 h 2031151"/>
                <a:gd name="connsiteX228" fmla="*/ 2329601 w 3368309"/>
                <a:gd name="connsiteY228" fmla="*/ 1454127 h 2031151"/>
                <a:gd name="connsiteX229" fmla="*/ 2327972 w 3368309"/>
                <a:gd name="connsiteY229" fmla="*/ 1452498 h 2031151"/>
                <a:gd name="connsiteX230" fmla="*/ 2324713 w 3368309"/>
                <a:gd name="connsiteY230" fmla="*/ 1453638 h 2031151"/>
                <a:gd name="connsiteX231" fmla="*/ 2318849 w 3368309"/>
                <a:gd name="connsiteY231" fmla="*/ 1453638 h 2031151"/>
                <a:gd name="connsiteX232" fmla="*/ 2317872 w 3368309"/>
                <a:gd name="connsiteY232" fmla="*/ 1451358 h 2031151"/>
                <a:gd name="connsiteX233" fmla="*/ 2314613 w 3368309"/>
                <a:gd name="connsiteY233" fmla="*/ 1448588 h 2031151"/>
                <a:gd name="connsiteX234" fmla="*/ 2306468 w 3368309"/>
                <a:gd name="connsiteY234" fmla="*/ 1447774 h 2031151"/>
                <a:gd name="connsiteX235" fmla="*/ 2303047 w 3368309"/>
                <a:gd name="connsiteY235" fmla="*/ 1445167 h 2031151"/>
                <a:gd name="connsiteX236" fmla="*/ 2298974 w 3368309"/>
                <a:gd name="connsiteY236" fmla="*/ 1444841 h 2031151"/>
                <a:gd name="connsiteX237" fmla="*/ 2296042 w 3368309"/>
                <a:gd name="connsiteY237" fmla="*/ 1444190 h 2031151"/>
                <a:gd name="connsiteX238" fmla="*/ 2294738 w 3368309"/>
                <a:gd name="connsiteY238" fmla="*/ 1444841 h 2031151"/>
                <a:gd name="connsiteX239" fmla="*/ 2287408 w 3368309"/>
                <a:gd name="connsiteY239" fmla="*/ 1445819 h 2031151"/>
                <a:gd name="connsiteX240" fmla="*/ 2285941 w 3368309"/>
                <a:gd name="connsiteY240" fmla="*/ 1449728 h 2031151"/>
                <a:gd name="connsiteX241" fmla="*/ 2283986 w 3368309"/>
                <a:gd name="connsiteY241" fmla="*/ 1449728 h 2031151"/>
                <a:gd name="connsiteX242" fmla="*/ 2281706 w 3368309"/>
                <a:gd name="connsiteY242" fmla="*/ 1451683 h 2031151"/>
                <a:gd name="connsiteX243" fmla="*/ 2276329 w 3368309"/>
                <a:gd name="connsiteY243" fmla="*/ 1451683 h 2031151"/>
                <a:gd name="connsiteX244" fmla="*/ 2273235 w 3368309"/>
                <a:gd name="connsiteY244" fmla="*/ 1452009 h 2031151"/>
                <a:gd name="connsiteX245" fmla="*/ 2267695 w 3368309"/>
                <a:gd name="connsiteY245" fmla="*/ 1451032 h 2031151"/>
                <a:gd name="connsiteX246" fmla="*/ 2264763 w 3368309"/>
                <a:gd name="connsiteY246" fmla="*/ 1454290 h 2031151"/>
                <a:gd name="connsiteX247" fmla="*/ 2260365 w 3368309"/>
                <a:gd name="connsiteY247" fmla="*/ 1454290 h 2031151"/>
                <a:gd name="connsiteX248" fmla="*/ 2258410 w 3368309"/>
                <a:gd name="connsiteY248" fmla="*/ 1458200 h 2031151"/>
                <a:gd name="connsiteX249" fmla="*/ 2254500 w 3368309"/>
                <a:gd name="connsiteY249" fmla="*/ 1459829 h 2031151"/>
                <a:gd name="connsiteX250" fmla="*/ 2250753 w 3368309"/>
                <a:gd name="connsiteY250" fmla="*/ 1459503 h 2031151"/>
                <a:gd name="connsiteX251" fmla="*/ 2249776 w 3368309"/>
                <a:gd name="connsiteY251" fmla="*/ 1460481 h 2031151"/>
                <a:gd name="connsiteX252" fmla="*/ 2246517 w 3368309"/>
                <a:gd name="connsiteY252" fmla="*/ 1460481 h 2031151"/>
                <a:gd name="connsiteX253" fmla="*/ 2243422 w 3368309"/>
                <a:gd name="connsiteY253" fmla="*/ 1461784 h 2031151"/>
                <a:gd name="connsiteX254" fmla="*/ 2236743 w 3368309"/>
                <a:gd name="connsiteY254" fmla="*/ 1462598 h 2031151"/>
                <a:gd name="connsiteX255" fmla="*/ 2233973 w 3368309"/>
                <a:gd name="connsiteY255" fmla="*/ 1465042 h 2031151"/>
                <a:gd name="connsiteX256" fmla="*/ 2233973 w 3368309"/>
                <a:gd name="connsiteY256" fmla="*/ 1468137 h 2031151"/>
                <a:gd name="connsiteX257" fmla="*/ 2230226 w 3368309"/>
                <a:gd name="connsiteY257" fmla="*/ 1472536 h 2031151"/>
                <a:gd name="connsiteX258" fmla="*/ 2228760 w 3368309"/>
                <a:gd name="connsiteY258" fmla="*/ 1477260 h 2031151"/>
                <a:gd name="connsiteX259" fmla="*/ 2226805 w 3368309"/>
                <a:gd name="connsiteY259" fmla="*/ 1479867 h 2031151"/>
                <a:gd name="connsiteX260" fmla="*/ 2226805 w 3368309"/>
                <a:gd name="connsiteY260" fmla="*/ 1482473 h 2031151"/>
                <a:gd name="connsiteX261" fmla="*/ 2225176 w 3368309"/>
                <a:gd name="connsiteY261" fmla="*/ 1484754 h 2031151"/>
                <a:gd name="connsiteX262" fmla="*/ 2225176 w 3368309"/>
                <a:gd name="connsiteY262" fmla="*/ 1490945 h 2031151"/>
                <a:gd name="connsiteX263" fmla="*/ 2226805 w 3368309"/>
                <a:gd name="connsiteY263" fmla="*/ 1492899 h 2031151"/>
                <a:gd name="connsiteX264" fmla="*/ 2229412 w 3368309"/>
                <a:gd name="connsiteY264" fmla="*/ 1493225 h 2031151"/>
                <a:gd name="connsiteX265" fmla="*/ 2235113 w 3368309"/>
                <a:gd name="connsiteY265" fmla="*/ 1489804 h 2031151"/>
                <a:gd name="connsiteX266" fmla="*/ 2238535 w 3368309"/>
                <a:gd name="connsiteY266" fmla="*/ 1488338 h 2031151"/>
                <a:gd name="connsiteX267" fmla="*/ 2241630 w 3368309"/>
                <a:gd name="connsiteY267" fmla="*/ 1489153 h 2031151"/>
                <a:gd name="connsiteX268" fmla="*/ 2245377 w 3368309"/>
                <a:gd name="connsiteY268" fmla="*/ 1495180 h 2031151"/>
                <a:gd name="connsiteX269" fmla="*/ 2247332 w 3368309"/>
                <a:gd name="connsiteY269" fmla="*/ 1499905 h 2031151"/>
                <a:gd name="connsiteX270" fmla="*/ 2251079 w 3368309"/>
                <a:gd name="connsiteY270" fmla="*/ 1502674 h 2031151"/>
                <a:gd name="connsiteX271" fmla="*/ 2251079 w 3368309"/>
                <a:gd name="connsiteY271" fmla="*/ 1506584 h 2031151"/>
                <a:gd name="connsiteX272" fmla="*/ 2252219 w 3368309"/>
                <a:gd name="connsiteY272" fmla="*/ 1509679 h 2031151"/>
                <a:gd name="connsiteX273" fmla="*/ 2251893 w 3368309"/>
                <a:gd name="connsiteY273" fmla="*/ 1515707 h 2031151"/>
                <a:gd name="connsiteX274" fmla="*/ 2248798 w 3368309"/>
                <a:gd name="connsiteY274" fmla="*/ 1518150 h 2031151"/>
                <a:gd name="connsiteX275" fmla="*/ 2245540 w 3368309"/>
                <a:gd name="connsiteY275" fmla="*/ 1523201 h 2031151"/>
                <a:gd name="connsiteX276" fmla="*/ 2244399 w 3368309"/>
                <a:gd name="connsiteY276" fmla="*/ 1529065 h 2031151"/>
                <a:gd name="connsiteX277" fmla="*/ 2241304 w 3368309"/>
                <a:gd name="connsiteY277" fmla="*/ 1531672 h 2031151"/>
                <a:gd name="connsiteX278" fmla="*/ 2238372 w 3368309"/>
                <a:gd name="connsiteY278" fmla="*/ 1536885 h 2031151"/>
                <a:gd name="connsiteX279" fmla="*/ 2238046 w 3368309"/>
                <a:gd name="connsiteY279" fmla="*/ 1541121 h 2031151"/>
                <a:gd name="connsiteX280" fmla="*/ 2240653 w 3368309"/>
                <a:gd name="connsiteY280" fmla="*/ 1545356 h 2031151"/>
                <a:gd name="connsiteX281" fmla="*/ 2239675 w 3368309"/>
                <a:gd name="connsiteY281" fmla="*/ 1548126 h 2031151"/>
                <a:gd name="connsiteX282" fmla="*/ 2240490 w 3368309"/>
                <a:gd name="connsiteY282" fmla="*/ 1553665 h 2031151"/>
                <a:gd name="connsiteX283" fmla="*/ 2243585 w 3368309"/>
                <a:gd name="connsiteY283" fmla="*/ 1556760 h 2031151"/>
                <a:gd name="connsiteX284" fmla="*/ 2243096 w 3368309"/>
                <a:gd name="connsiteY284" fmla="*/ 1561647 h 2031151"/>
                <a:gd name="connsiteX285" fmla="*/ 2240001 w 3368309"/>
                <a:gd name="connsiteY285" fmla="*/ 1563276 h 2031151"/>
                <a:gd name="connsiteX286" fmla="*/ 2239024 w 3368309"/>
                <a:gd name="connsiteY286" fmla="*/ 1566209 h 2031151"/>
                <a:gd name="connsiteX287" fmla="*/ 2240815 w 3368309"/>
                <a:gd name="connsiteY287" fmla="*/ 1570770 h 2031151"/>
                <a:gd name="connsiteX288" fmla="*/ 2240815 w 3368309"/>
                <a:gd name="connsiteY288" fmla="*/ 1578101 h 2031151"/>
                <a:gd name="connsiteX289" fmla="*/ 2239512 w 3368309"/>
                <a:gd name="connsiteY289" fmla="*/ 1580219 h 2031151"/>
                <a:gd name="connsiteX290" fmla="*/ 2240001 w 3368309"/>
                <a:gd name="connsiteY290" fmla="*/ 1587387 h 2031151"/>
                <a:gd name="connsiteX291" fmla="*/ 2242608 w 3368309"/>
                <a:gd name="connsiteY291" fmla="*/ 1587875 h 2031151"/>
                <a:gd name="connsiteX292" fmla="*/ 2244399 w 3368309"/>
                <a:gd name="connsiteY292" fmla="*/ 1589342 h 2031151"/>
                <a:gd name="connsiteX293" fmla="*/ 2246354 w 3368309"/>
                <a:gd name="connsiteY293" fmla="*/ 1587875 h 2031151"/>
                <a:gd name="connsiteX294" fmla="*/ 2248309 w 3368309"/>
                <a:gd name="connsiteY294" fmla="*/ 1589016 h 2031151"/>
                <a:gd name="connsiteX295" fmla="*/ 2249287 w 3368309"/>
                <a:gd name="connsiteY295" fmla="*/ 1594229 h 2031151"/>
                <a:gd name="connsiteX296" fmla="*/ 2247820 w 3368309"/>
                <a:gd name="connsiteY296" fmla="*/ 1599116 h 2031151"/>
                <a:gd name="connsiteX297" fmla="*/ 2243911 w 3368309"/>
                <a:gd name="connsiteY297" fmla="*/ 1603026 h 2031151"/>
                <a:gd name="connsiteX298" fmla="*/ 2234788 w 3368309"/>
                <a:gd name="connsiteY298" fmla="*/ 1604655 h 2031151"/>
                <a:gd name="connsiteX299" fmla="*/ 2228923 w 3368309"/>
                <a:gd name="connsiteY299" fmla="*/ 1608728 h 2031151"/>
                <a:gd name="connsiteX300" fmla="*/ 2216705 w 3368309"/>
                <a:gd name="connsiteY300" fmla="*/ 1620294 h 2031151"/>
                <a:gd name="connsiteX301" fmla="*/ 2213772 w 3368309"/>
                <a:gd name="connsiteY301" fmla="*/ 1620783 h 2031151"/>
                <a:gd name="connsiteX302" fmla="*/ 2210026 w 3368309"/>
                <a:gd name="connsiteY302" fmla="*/ 1617688 h 2031151"/>
                <a:gd name="connsiteX303" fmla="*/ 2202532 w 3368309"/>
                <a:gd name="connsiteY303" fmla="*/ 1616710 h 2031151"/>
                <a:gd name="connsiteX304" fmla="*/ 2197970 w 3368309"/>
                <a:gd name="connsiteY304" fmla="*/ 1617525 h 2031151"/>
                <a:gd name="connsiteX305" fmla="*/ 2197156 w 3368309"/>
                <a:gd name="connsiteY305" fmla="*/ 1615733 h 2031151"/>
                <a:gd name="connsiteX306" fmla="*/ 2193572 w 3368309"/>
                <a:gd name="connsiteY306" fmla="*/ 1615244 h 2031151"/>
                <a:gd name="connsiteX307" fmla="*/ 2190640 w 3368309"/>
                <a:gd name="connsiteY307" fmla="*/ 1616222 h 2031151"/>
                <a:gd name="connsiteX308" fmla="*/ 2188196 w 3368309"/>
                <a:gd name="connsiteY308" fmla="*/ 1613615 h 2031151"/>
                <a:gd name="connsiteX309" fmla="*/ 2178584 w 3368309"/>
                <a:gd name="connsiteY309" fmla="*/ 1610683 h 2031151"/>
                <a:gd name="connsiteX310" fmla="*/ 2170113 w 3368309"/>
                <a:gd name="connsiteY310" fmla="*/ 1612149 h 2031151"/>
                <a:gd name="connsiteX311" fmla="*/ 2170113 w 3368309"/>
                <a:gd name="connsiteY311" fmla="*/ 1614756 h 2031151"/>
                <a:gd name="connsiteX312" fmla="*/ 2164248 w 3368309"/>
                <a:gd name="connsiteY312" fmla="*/ 1618014 h 2031151"/>
                <a:gd name="connsiteX313" fmla="*/ 2159687 w 3368309"/>
                <a:gd name="connsiteY313" fmla="*/ 1618014 h 2031151"/>
                <a:gd name="connsiteX314" fmla="*/ 2157080 w 3368309"/>
                <a:gd name="connsiteY314" fmla="*/ 1616222 h 2031151"/>
                <a:gd name="connsiteX315" fmla="*/ 2152356 w 3368309"/>
                <a:gd name="connsiteY315" fmla="*/ 1618828 h 2031151"/>
                <a:gd name="connsiteX316" fmla="*/ 2148446 w 3368309"/>
                <a:gd name="connsiteY316" fmla="*/ 1617362 h 2031151"/>
                <a:gd name="connsiteX317" fmla="*/ 2145513 w 3368309"/>
                <a:gd name="connsiteY317" fmla="*/ 1612964 h 2031151"/>
                <a:gd name="connsiteX318" fmla="*/ 2139486 w 3368309"/>
                <a:gd name="connsiteY318" fmla="*/ 1609054 h 2031151"/>
                <a:gd name="connsiteX319" fmla="*/ 2134762 w 3368309"/>
                <a:gd name="connsiteY319" fmla="*/ 1608565 h 2031151"/>
                <a:gd name="connsiteX320" fmla="*/ 2127268 w 3368309"/>
                <a:gd name="connsiteY320" fmla="*/ 1610520 h 2031151"/>
                <a:gd name="connsiteX321" fmla="*/ 2125638 w 3368309"/>
                <a:gd name="connsiteY321" fmla="*/ 1609054 h 2031151"/>
                <a:gd name="connsiteX322" fmla="*/ 2121240 w 3368309"/>
                <a:gd name="connsiteY322" fmla="*/ 1609054 h 2031151"/>
                <a:gd name="connsiteX323" fmla="*/ 2117330 w 3368309"/>
                <a:gd name="connsiteY323" fmla="*/ 1612801 h 2031151"/>
                <a:gd name="connsiteX324" fmla="*/ 2115376 w 3368309"/>
                <a:gd name="connsiteY324" fmla="*/ 1618177 h 2031151"/>
                <a:gd name="connsiteX325" fmla="*/ 2111628 w 3368309"/>
                <a:gd name="connsiteY325" fmla="*/ 1622086 h 2031151"/>
                <a:gd name="connsiteX326" fmla="*/ 2106253 w 3368309"/>
                <a:gd name="connsiteY326" fmla="*/ 1624530 h 2031151"/>
                <a:gd name="connsiteX327" fmla="*/ 2103157 w 3368309"/>
                <a:gd name="connsiteY327" fmla="*/ 1629743 h 2031151"/>
                <a:gd name="connsiteX328" fmla="*/ 2103157 w 3368309"/>
                <a:gd name="connsiteY328" fmla="*/ 1632024 h 2031151"/>
                <a:gd name="connsiteX329" fmla="*/ 2101528 w 3368309"/>
                <a:gd name="connsiteY329" fmla="*/ 1637074 h 2031151"/>
                <a:gd name="connsiteX330" fmla="*/ 2096478 w 3368309"/>
                <a:gd name="connsiteY330" fmla="*/ 1641636 h 2031151"/>
                <a:gd name="connsiteX331" fmla="*/ 2084748 w 3368309"/>
                <a:gd name="connsiteY331" fmla="*/ 1641636 h 2031151"/>
                <a:gd name="connsiteX332" fmla="*/ 2080513 w 3368309"/>
                <a:gd name="connsiteY332" fmla="*/ 1641961 h 2031151"/>
                <a:gd name="connsiteX333" fmla="*/ 2076440 w 3368309"/>
                <a:gd name="connsiteY333" fmla="*/ 1646686 h 2031151"/>
                <a:gd name="connsiteX334" fmla="*/ 2070575 w 3368309"/>
                <a:gd name="connsiteY334" fmla="*/ 1646686 h 2031151"/>
                <a:gd name="connsiteX335" fmla="*/ 2060963 w 3368309"/>
                <a:gd name="connsiteY335" fmla="*/ 1652062 h 2031151"/>
                <a:gd name="connsiteX336" fmla="*/ 2056891 w 3368309"/>
                <a:gd name="connsiteY336" fmla="*/ 1658252 h 2031151"/>
                <a:gd name="connsiteX337" fmla="*/ 2053958 w 3368309"/>
                <a:gd name="connsiteY337" fmla="*/ 1658578 h 2031151"/>
                <a:gd name="connsiteX338" fmla="*/ 2049234 w 3368309"/>
                <a:gd name="connsiteY338" fmla="*/ 1655972 h 2031151"/>
                <a:gd name="connsiteX339" fmla="*/ 2043532 w 3368309"/>
                <a:gd name="connsiteY339" fmla="*/ 1655972 h 2031151"/>
                <a:gd name="connsiteX340" fmla="*/ 2040926 w 3368309"/>
                <a:gd name="connsiteY340" fmla="*/ 1657926 h 2031151"/>
                <a:gd name="connsiteX341" fmla="*/ 2034410 w 3368309"/>
                <a:gd name="connsiteY341" fmla="*/ 1658904 h 2031151"/>
                <a:gd name="connsiteX342" fmla="*/ 2019096 w 3368309"/>
                <a:gd name="connsiteY342" fmla="*/ 1658904 h 2031151"/>
                <a:gd name="connsiteX343" fmla="*/ 2008996 w 3368309"/>
                <a:gd name="connsiteY343" fmla="*/ 1656134 h 2031151"/>
                <a:gd name="connsiteX344" fmla="*/ 1997429 w 3368309"/>
                <a:gd name="connsiteY344" fmla="*/ 1657275 h 2031151"/>
                <a:gd name="connsiteX345" fmla="*/ 1993519 w 3368309"/>
                <a:gd name="connsiteY345" fmla="*/ 1657275 h 2031151"/>
                <a:gd name="connsiteX346" fmla="*/ 1989121 w 3368309"/>
                <a:gd name="connsiteY346" fmla="*/ 1652225 h 2031151"/>
                <a:gd name="connsiteX347" fmla="*/ 1985863 w 3368309"/>
                <a:gd name="connsiteY347" fmla="*/ 1651410 h 2031151"/>
                <a:gd name="connsiteX348" fmla="*/ 1982767 w 3368309"/>
                <a:gd name="connsiteY348" fmla="*/ 1649618 h 2031151"/>
                <a:gd name="connsiteX349" fmla="*/ 1977554 w 3368309"/>
                <a:gd name="connsiteY349" fmla="*/ 1646197 h 2031151"/>
                <a:gd name="connsiteX350" fmla="*/ 1974785 w 3368309"/>
                <a:gd name="connsiteY350" fmla="*/ 1638052 h 2031151"/>
                <a:gd name="connsiteX351" fmla="*/ 1972178 w 3368309"/>
                <a:gd name="connsiteY351" fmla="*/ 1635608 h 2031151"/>
                <a:gd name="connsiteX352" fmla="*/ 1966802 w 3368309"/>
                <a:gd name="connsiteY352" fmla="*/ 1636911 h 2031151"/>
                <a:gd name="connsiteX353" fmla="*/ 1959471 w 3368309"/>
                <a:gd name="connsiteY353" fmla="*/ 1636911 h 2031151"/>
                <a:gd name="connsiteX354" fmla="*/ 1950511 w 3368309"/>
                <a:gd name="connsiteY354" fmla="*/ 1633653 h 2031151"/>
                <a:gd name="connsiteX355" fmla="*/ 1945298 w 3368309"/>
                <a:gd name="connsiteY355" fmla="*/ 1626322 h 2031151"/>
                <a:gd name="connsiteX356" fmla="*/ 1935361 w 3368309"/>
                <a:gd name="connsiteY356" fmla="*/ 1626322 h 2031151"/>
                <a:gd name="connsiteX357" fmla="*/ 1927867 w 3368309"/>
                <a:gd name="connsiteY357" fmla="*/ 1625833 h 2031151"/>
                <a:gd name="connsiteX358" fmla="*/ 1922165 w 3368309"/>
                <a:gd name="connsiteY358" fmla="*/ 1622575 h 2031151"/>
                <a:gd name="connsiteX359" fmla="*/ 1915812 w 3368309"/>
                <a:gd name="connsiteY359" fmla="*/ 1624367 h 2031151"/>
                <a:gd name="connsiteX360" fmla="*/ 1909132 w 3368309"/>
                <a:gd name="connsiteY360" fmla="*/ 1624693 h 2031151"/>
                <a:gd name="connsiteX361" fmla="*/ 1903919 w 3368309"/>
                <a:gd name="connsiteY361" fmla="*/ 1627788 h 2031151"/>
                <a:gd name="connsiteX362" fmla="*/ 1893819 w 3368309"/>
                <a:gd name="connsiteY362" fmla="*/ 1628603 h 2031151"/>
                <a:gd name="connsiteX363" fmla="*/ 1886488 w 3368309"/>
                <a:gd name="connsiteY363" fmla="*/ 1630883 h 2031151"/>
                <a:gd name="connsiteX364" fmla="*/ 1882089 w 3368309"/>
                <a:gd name="connsiteY364" fmla="*/ 1635608 h 2031151"/>
                <a:gd name="connsiteX365" fmla="*/ 1878831 w 3368309"/>
                <a:gd name="connsiteY365" fmla="*/ 1636585 h 2031151"/>
                <a:gd name="connsiteX366" fmla="*/ 1875736 w 3368309"/>
                <a:gd name="connsiteY366" fmla="*/ 1635445 h 2031151"/>
                <a:gd name="connsiteX367" fmla="*/ 1871989 w 3368309"/>
                <a:gd name="connsiteY367" fmla="*/ 1635445 h 2031151"/>
                <a:gd name="connsiteX368" fmla="*/ 1868568 w 3368309"/>
                <a:gd name="connsiteY368" fmla="*/ 1637726 h 2031151"/>
                <a:gd name="connsiteX369" fmla="*/ 1860748 w 3368309"/>
                <a:gd name="connsiteY369" fmla="*/ 1637400 h 2031151"/>
                <a:gd name="connsiteX370" fmla="*/ 1858956 w 3368309"/>
                <a:gd name="connsiteY370" fmla="*/ 1639192 h 2031151"/>
                <a:gd name="connsiteX371" fmla="*/ 1855372 w 3368309"/>
                <a:gd name="connsiteY371" fmla="*/ 1639192 h 2031151"/>
                <a:gd name="connsiteX372" fmla="*/ 1847553 w 3368309"/>
                <a:gd name="connsiteY372" fmla="*/ 1634956 h 2031151"/>
                <a:gd name="connsiteX373" fmla="*/ 1840059 w 3368309"/>
                <a:gd name="connsiteY373" fmla="*/ 1632838 h 2031151"/>
                <a:gd name="connsiteX374" fmla="*/ 1838593 w 3368309"/>
                <a:gd name="connsiteY374" fmla="*/ 1630069 h 2031151"/>
                <a:gd name="connsiteX375" fmla="*/ 1833380 w 3368309"/>
                <a:gd name="connsiteY375" fmla="*/ 1625507 h 2031151"/>
                <a:gd name="connsiteX376" fmla="*/ 1830284 w 3368309"/>
                <a:gd name="connsiteY376" fmla="*/ 1625507 h 2031151"/>
                <a:gd name="connsiteX377" fmla="*/ 1827189 w 3368309"/>
                <a:gd name="connsiteY377" fmla="*/ 1622738 h 2031151"/>
                <a:gd name="connsiteX378" fmla="*/ 1827189 w 3368309"/>
                <a:gd name="connsiteY378" fmla="*/ 1618177 h 2031151"/>
                <a:gd name="connsiteX379" fmla="*/ 1824745 w 3368309"/>
                <a:gd name="connsiteY379" fmla="*/ 1612475 h 2031151"/>
                <a:gd name="connsiteX380" fmla="*/ 1822302 w 3368309"/>
                <a:gd name="connsiteY380" fmla="*/ 1609705 h 2031151"/>
                <a:gd name="connsiteX381" fmla="*/ 1822302 w 3368309"/>
                <a:gd name="connsiteY381" fmla="*/ 1605958 h 2031151"/>
                <a:gd name="connsiteX382" fmla="*/ 1819695 w 3368309"/>
                <a:gd name="connsiteY382" fmla="*/ 1602374 h 2031151"/>
                <a:gd name="connsiteX383" fmla="*/ 1819695 w 3368309"/>
                <a:gd name="connsiteY383" fmla="*/ 1599116 h 2031151"/>
                <a:gd name="connsiteX384" fmla="*/ 1817903 w 3368309"/>
                <a:gd name="connsiteY384" fmla="*/ 1595044 h 2031151"/>
                <a:gd name="connsiteX385" fmla="*/ 1813830 w 3368309"/>
                <a:gd name="connsiteY385" fmla="*/ 1593414 h 2031151"/>
                <a:gd name="connsiteX386" fmla="*/ 1803078 w 3368309"/>
                <a:gd name="connsiteY386" fmla="*/ 1593740 h 2031151"/>
                <a:gd name="connsiteX387" fmla="*/ 1798680 w 3368309"/>
                <a:gd name="connsiteY387" fmla="*/ 1592926 h 2031151"/>
                <a:gd name="connsiteX388" fmla="*/ 1795096 w 3368309"/>
                <a:gd name="connsiteY388" fmla="*/ 1591134 h 2031151"/>
                <a:gd name="connsiteX389" fmla="*/ 1788580 w 3368309"/>
                <a:gd name="connsiteY389" fmla="*/ 1590482 h 2031151"/>
                <a:gd name="connsiteX390" fmla="*/ 1786136 w 3368309"/>
                <a:gd name="connsiteY390" fmla="*/ 1588201 h 2031151"/>
                <a:gd name="connsiteX391" fmla="*/ 1782552 w 3368309"/>
                <a:gd name="connsiteY391" fmla="*/ 1585921 h 2031151"/>
                <a:gd name="connsiteX392" fmla="*/ 1773266 w 3368309"/>
                <a:gd name="connsiteY392" fmla="*/ 1586246 h 2031151"/>
                <a:gd name="connsiteX393" fmla="*/ 1766913 w 3368309"/>
                <a:gd name="connsiteY393" fmla="*/ 1585758 h 2031151"/>
                <a:gd name="connsiteX394" fmla="*/ 1761048 w 3368309"/>
                <a:gd name="connsiteY394" fmla="*/ 1583803 h 2031151"/>
                <a:gd name="connsiteX395" fmla="*/ 1760071 w 3368309"/>
                <a:gd name="connsiteY395" fmla="*/ 1582011 h 2031151"/>
                <a:gd name="connsiteX396" fmla="*/ 1753228 w 3368309"/>
                <a:gd name="connsiteY396" fmla="*/ 1578753 h 2031151"/>
                <a:gd name="connsiteX397" fmla="*/ 1746549 w 3368309"/>
                <a:gd name="connsiteY397" fmla="*/ 1576961 h 2031151"/>
                <a:gd name="connsiteX398" fmla="*/ 1743128 w 3368309"/>
                <a:gd name="connsiteY398" fmla="*/ 1574680 h 2031151"/>
                <a:gd name="connsiteX399" fmla="*/ 1738078 w 3368309"/>
                <a:gd name="connsiteY399" fmla="*/ 1574354 h 2031151"/>
                <a:gd name="connsiteX400" fmla="*/ 1734819 w 3368309"/>
                <a:gd name="connsiteY400" fmla="*/ 1577286 h 2031151"/>
                <a:gd name="connsiteX401" fmla="*/ 1734168 w 3368309"/>
                <a:gd name="connsiteY401" fmla="*/ 1581196 h 2031151"/>
                <a:gd name="connsiteX402" fmla="*/ 1735634 w 3368309"/>
                <a:gd name="connsiteY402" fmla="*/ 1585432 h 2031151"/>
                <a:gd name="connsiteX403" fmla="*/ 1733842 w 3368309"/>
                <a:gd name="connsiteY403" fmla="*/ 1589667 h 2031151"/>
                <a:gd name="connsiteX404" fmla="*/ 1731235 w 3368309"/>
                <a:gd name="connsiteY404" fmla="*/ 1588690 h 2031151"/>
                <a:gd name="connsiteX405" fmla="*/ 1727000 w 3368309"/>
                <a:gd name="connsiteY405" fmla="*/ 1590156 h 2031151"/>
                <a:gd name="connsiteX406" fmla="*/ 1724394 w 3368309"/>
                <a:gd name="connsiteY406" fmla="*/ 1594392 h 2031151"/>
                <a:gd name="connsiteX407" fmla="*/ 1724394 w 3368309"/>
                <a:gd name="connsiteY407" fmla="*/ 1598302 h 2031151"/>
                <a:gd name="connsiteX408" fmla="*/ 1719180 w 3368309"/>
                <a:gd name="connsiteY408" fmla="*/ 1604166 h 2031151"/>
                <a:gd name="connsiteX409" fmla="*/ 1719180 w 3368309"/>
                <a:gd name="connsiteY409" fmla="*/ 1616710 h 2031151"/>
                <a:gd name="connsiteX410" fmla="*/ 1720810 w 3368309"/>
                <a:gd name="connsiteY410" fmla="*/ 1622901 h 2031151"/>
                <a:gd name="connsiteX411" fmla="*/ 1728303 w 3368309"/>
                <a:gd name="connsiteY411" fmla="*/ 1624856 h 2031151"/>
                <a:gd name="connsiteX412" fmla="*/ 1730910 w 3368309"/>
                <a:gd name="connsiteY412" fmla="*/ 1628114 h 2031151"/>
                <a:gd name="connsiteX413" fmla="*/ 1735634 w 3368309"/>
                <a:gd name="connsiteY413" fmla="*/ 1629743 h 2031151"/>
                <a:gd name="connsiteX414" fmla="*/ 1736612 w 3368309"/>
                <a:gd name="connsiteY414" fmla="*/ 1633001 h 2031151"/>
                <a:gd name="connsiteX415" fmla="*/ 1735145 w 3368309"/>
                <a:gd name="connsiteY415" fmla="*/ 1641310 h 2031151"/>
                <a:gd name="connsiteX416" fmla="*/ 1735145 w 3368309"/>
                <a:gd name="connsiteY416" fmla="*/ 1648966 h 2031151"/>
                <a:gd name="connsiteX417" fmla="*/ 1740196 w 3368309"/>
                <a:gd name="connsiteY417" fmla="*/ 1652387 h 2031151"/>
                <a:gd name="connsiteX418" fmla="*/ 1742965 w 3368309"/>
                <a:gd name="connsiteY418" fmla="*/ 1655483 h 2031151"/>
                <a:gd name="connsiteX419" fmla="*/ 1738240 w 3368309"/>
                <a:gd name="connsiteY419" fmla="*/ 1663302 h 2031151"/>
                <a:gd name="connsiteX420" fmla="*/ 1729606 w 3368309"/>
                <a:gd name="connsiteY420" fmla="*/ 1664443 h 2031151"/>
                <a:gd name="connsiteX421" fmla="*/ 1724882 w 3368309"/>
                <a:gd name="connsiteY421" fmla="*/ 1663465 h 2031151"/>
                <a:gd name="connsiteX422" fmla="*/ 1723742 w 3368309"/>
                <a:gd name="connsiteY422" fmla="*/ 1664769 h 2031151"/>
                <a:gd name="connsiteX423" fmla="*/ 1719017 w 3368309"/>
                <a:gd name="connsiteY423" fmla="*/ 1665257 h 2031151"/>
                <a:gd name="connsiteX424" fmla="*/ 1714781 w 3368309"/>
                <a:gd name="connsiteY424" fmla="*/ 1663302 h 2031151"/>
                <a:gd name="connsiteX425" fmla="*/ 1703704 w 3368309"/>
                <a:gd name="connsiteY425" fmla="*/ 1663302 h 2031151"/>
                <a:gd name="connsiteX426" fmla="*/ 1699631 w 3368309"/>
                <a:gd name="connsiteY426" fmla="*/ 1664443 h 2031151"/>
                <a:gd name="connsiteX427" fmla="*/ 1695721 w 3368309"/>
                <a:gd name="connsiteY427" fmla="*/ 1661673 h 2031151"/>
                <a:gd name="connsiteX428" fmla="*/ 1690997 w 3368309"/>
                <a:gd name="connsiteY428" fmla="*/ 1660370 h 2031151"/>
                <a:gd name="connsiteX429" fmla="*/ 1686598 w 3368309"/>
                <a:gd name="connsiteY429" fmla="*/ 1660859 h 2031151"/>
                <a:gd name="connsiteX430" fmla="*/ 1681060 w 3368309"/>
                <a:gd name="connsiteY430" fmla="*/ 1664932 h 2031151"/>
                <a:gd name="connsiteX431" fmla="*/ 1675846 w 3368309"/>
                <a:gd name="connsiteY431" fmla="*/ 1666723 h 2031151"/>
                <a:gd name="connsiteX432" fmla="*/ 1672588 w 3368309"/>
                <a:gd name="connsiteY432" fmla="*/ 1668515 h 2031151"/>
                <a:gd name="connsiteX433" fmla="*/ 1663303 w 3368309"/>
                <a:gd name="connsiteY433" fmla="*/ 1664280 h 2031151"/>
                <a:gd name="connsiteX434" fmla="*/ 1658578 w 3368309"/>
                <a:gd name="connsiteY434" fmla="*/ 1660370 h 2031151"/>
                <a:gd name="connsiteX435" fmla="*/ 1646034 w 3368309"/>
                <a:gd name="connsiteY435" fmla="*/ 1653202 h 2031151"/>
                <a:gd name="connsiteX436" fmla="*/ 1644568 w 3368309"/>
                <a:gd name="connsiteY436" fmla="*/ 1649944 h 2031151"/>
                <a:gd name="connsiteX437" fmla="*/ 1643590 w 3368309"/>
                <a:gd name="connsiteY437" fmla="*/ 1645708 h 2031151"/>
                <a:gd name="connsiteX438" fmla="*/ 1641962 w 3368309"/>
                <a:gd name="connsiteY438" fmla="*/ 1641636 h 2031151"/>
                <a:gd name="connsiteX439" fmla="*/ 1633816 w 3368309"/>
                <a:gd name="connsiteY439" fmla="*/ 1642124 h 2031151"/>
                <a:gd name="connsiteX440" fmla="*/ 1629906 w 3368309"/>
                <a:gd name="connsiteY440" fmla="*/ 1644731 h 2031151"/>
                <a:gd name="connsiteX441" fmla="*/ 1625344 w 3368309"/>
                <a:gd name="connsiteY441" fmla="*/ 1644405 h 2031151"/>
                <a:gd name="connsiteX442" fmla="*/ 1622575 w 3368309"/>
                <a:gd name="connsiteY442" fmla="*/ 1645382 h 2031151"/>
                <a:gd name="connsiteX443" fmla="*/ 1617199 w 3368309"/>
                <a:gd name="connsiteY443" fmla="*/ 1645708 h 2031151"/>
                <a:gd name="connsiteX444" fmla="*/ 1614267 w 3368309"/>
                <a:gd name="connsiteY444" fmla="*/ 1642613 h 2031151"/>
                <a:gd name="connsiteX445" fmla="*/ 1613778 w 3368309"/>
                <a:gd name="connsiteY445" fmla="*/ 1639681 h 2031151"/>
                <a:gd name="connsiteX446" fmla="*/ 1610683 w 3368309"/>
                <a:gd name="connsiteY446" fmla="*/ 1635445 h 2031151"/>
                <a:gd name="connsiteX447" fmla="*/ 1609380 w 3368309"/>
                <a:gd name="connsiteY447" fmla="*/ 1635445 h 2031151"/>
                <a:gd name="connsiteX448" fmla="*/ 1605470 w 3368309"/>
                <a:gd name="connsiteY448" fmla="*/ 1637726 h 2031151"/>
                <a:gd name="connsiteX449" fmla="*/ 1599605 w 3368309"/>
                <a:gd name="connsiteY449" fmla="*/ 1637400 h 2031151"/>
                <a:gd name="connsiteX450" fmla="*/ 1595369 w 3368309"/>
                <a:gd name="connsiteY450" fmla="*/ 1637400 h 2031151"/>
                <a:gd name="connsiteX451" fmla="*/ 1590319 w 3368309"/>
                <a:gd name="connsiteY451" fmla="*/ 1638866 h 2031151"/>
                <a:gd name="connsiteX452" fmla="*/ 1581359 w 3368309"/>
                <a:gd name="connsiteY452" fmla="*/ 1640006 h 2031151"/>
                <a:gd name="connsiteX453" fmla="*/ 1577287 w 3368309"/>
                <a:gd name="connsiteY453" fmla="*/ 1641636 h 2031151"/>
                <a:gd name="connsiteX454" fmla="*/ 1574680 w 3368309"/>
                <a:gd name="connsiteY454" fmla="*/ 1648315 h 2031151"/>
                <a:gd name="connsiteX455" fmla="*/ 1571259 w 3368309"/>
                <a:gd name="connsiteY455" fmla="*/ 1650107 h 2031151"/>
                <a:gd name="connsiteX456" fmla="*/ 1562787 w 3368309"/>
                <a:gd name="connsiteY456" fmla="*/ 1647663 h 2031151"/>
                <a:gd name="connsiteX457" fmla="*/ 1561158 w 3368309"/>
                <a:gd name="connsiteY457" fmla="*/ 1649944 h 2031151"/>
                <a:gd name="connsiteX458" fmla="*/ 1561158 w 3368309"/>
                <a:gd name="connsiteY458" fmla="*/ 1653691 h 2031151"/>
                <a:gd name="connsiteX459" fmla="*/ 1564090 w 3368309"/>
                <a:gd name="connsiteY459" fmla="*/ 1655646 h 2031151"/>
                <a:gd name="connsiteX460" fmla="*/ 1561810 w 3368309"/>
                <a:gd name="connsiteY460" fmla="*/ 1657601 h 2031151"/>
                <a:gd name="connsiteX461" fmla="*/ 1558389 w 3368309"/>
                <a:gd name="connsiteY461" fmla="*/ 1662651 h 2031151"/>
                <a:gd name="connsiteX462" fmla="*/ 1554153 w 3368309"/>
                <a:gd name="connsiteY462" fmla="*/ 1663791 h 2031151"/>
                <a:gd name="connsiteX463" fmla="*/ 1549917 w 3368309"/>
                <a:gd name="connsiteY463" fmla="*/ 1667864 h 2031151"/>
                <a:gd name="connsiteX464" fmla="*/ 1549917 w 3368309"/>
                <a:gd name="connsiteY464" fmla="*/ 1671285 h 2031151"/>
                <a:gd name="connsiteX465" fmla="*/ 1543076 w 3368309"/>
                <a:gd name="connsiteY465" fmla="*/ 1674380 h 2031151"/>
                <a:gd name="connsiteX466" fmla="*/ 1541283 w 3368309"/>
                <a:gd name="connsiteY466" fmla="*/ 1679593 h 2031151"/>
                <a:gd name="connsiteX467" fmla="*/ 1540958 w 3368309"/>
                <a:gd name="connsiteY467" fmla="*/ 1684806 h 2031151"/>
                <a:gd name="connsiteX468" fmla="*/ 1532812 w 3368309"/>
                <a:gd name="connsiteY468" fmla="*/ 1687739 h 2031151"/>
                <a:gd name="connsiteX469" fmla="*/ 1528414 w 3368309"/>
                <a:gd name="connsiteY469" fmla="*/ 1692463 h 2031151"/>
                <a:gd name="connsiteX470" fmla="*/ 1526785 w 3368309"/>
                <a:gd name="connsiteY470" fmla="*/ 1695070 h 2031151"/>
                <a:gd name="connsiteX471" fmla="*/ 1515055 w 3368309"/>
                <a:gd name="connsiteY471" fmla="*/ 1694581 h 2031151"/>
                <a:gd name="connsiteX472" fmla="*/ 1510494 w 3368309"/>
                <a:gd name="connsiteY472" fmla="*/ 1697025 h 2031151"/>
                <a:gd name="connsiteX473" fmla="*/ 1506421 w 3368309"/>
                <a:gd name="connsiteY473" fmla="*/ 1706473 h 2031151"/>
                <a:gd name="connsiteX474" fmla="*/ 1506421 w 3368309"/>
                <a:gd name="connsiteY474" fmla="*/ 1707125 h 2031151"/>
                <a:gd name="connsiteX475" fmla="*/ 1504303 w 3368309"/>
                <a:gd name="connsiteY475" fmla="*/ 1707125 h 2031151"/>
                <a:gd name="connsiteX476" fmla="*/ 1499090 w 3368309"/>
                <a:gd name="connsiteY476" fmla="*/ 1705333 h 2031151"/>
                <a:gd name="connsiteX477" fmla="*/ 1495995 w 3368309"/>
                <a:gd name="connsiteY477" fmla="*/ 1705333 h 2031151"/>
                <a:gd name="connsiteX478" fmla="*/ 1494692 w 3368309"/>
                <a:gd name="connsiteY478" fmla="*/ 1703867 h 2031151"/>
                <a:gd name="connsiteX479" fmla="*/ 1487198 w 3368309"/>
                <a:gd name="connsiteY479" fmla="*/ 1701260 h 2031151"/>
                <a:gd name="connsiteX480" fmla="*/ 1481496 w 3368309"/>
                <a:gd name="connsiteY480" fmla="*/ 1696210 h 2031151"/>
                <a:gd name="connsiteX481" fmla="*/ 1477749 w 3368309"/>
                <a:gd name="connsiteY481" fmla="*/ 1695233 h 2031151"/>
                <a:gd name="connsiteX482" fmla="*/ 1476283 w 3368309"/>
                <a:gd name="connsiteY482" fmla="*/ 1690997 h 2031151"/>
                <a:gd name="connsiteX483" fmla="*/ 1478563 w 3368309"/>
                <a:gd name="connsiteY483" fmla="*/ 1684806 h 2031151"/>
                <a:gd name="connsiteX484" fmla="*/ 1475794 w 3368309"/>
                <a:gd name="connsiteY484" fmla="*/ 1683503 h 2031151"/>
                <a:gd name="connsiteX485" fmla="*/ 1470907 w 3368309"/>
                <a:gd name="connsiteY485" fmla="*/ 1686273 h 2031151"/>
                <a:gd name="connsiteX486" fmla="*/ 1468300 w 3368309"/>
                <a:gd name="connsiteY486" fmla="*/ 1690671 h 2031151"/>
                <a:gd name="connsiteX487" fmla="*/ 1462761 w 3368309"/>
                <a:gd name="connsiteY487" fmla="*/ 1692300 h 2031151"/>
                <a:gd name="connsiteX488" fmla="*/ 1450706 w 3368309"/>
                <a:gd name="connsiteY488" fmla="*/ 1693115 h 2031151"/>
                <a:gd name="connsiteX489" fmla="*/ 1446633 w 3368309"/>
                <a:gd name="connsiteY489" fmla="*/ 1695395 h 2031151"/>
                <a:gd name="connsiteX490" fmla="*/ 1445330 w 3368309"/>
                <a:gd name="connsiteY490" fmla="*/ 1697676 h 2031151"/>
                <a:gd name="connsiteX491" fmla="*/ 1441420 w 3368309"/>
                <a:gd name="connsiteY491" fmla="*/ 1695884 h 2031151"/>
                <a:gd name="connsiteX492" fmla="*/ 1436370 w 3368309"/>
                <a:gd name="connsiteY492" fmla="*/ 1693766 h 2031151"/>
                <a:gd name="connsiteX493" fmla="*/ 1434089 w 3368309"/>
                <a:gd name="connsiteY493" fmla="*/ 1693766 h 2031151"/>
                <a:gd name="connsiteX494" fmla="*/ 1432949 w 3368309"/>
                <a:gd name="connsiteY494" fmla="*/ 1692626 h 2031151"/>
                <a:gd name="connsiteX495" fmla="*/ 1430505 w 3368309"/>
                <a:gd name="connsiteY495" fmla="*/ 1690182 h 2031151"/>
                <a:gd name="connsiteX496" fmla="*/ 1429202 w 3368309"/>
                <a:gd name="connsiteY496" fmla="*/ 1686761 h 2031151"/>
                <a:gd name="connsiteX497" fmla="*/ 1429202 w 3368309"/>
                <a:gd name="connsiteY497" fmla="*/ 1682689 h 2031151"/>
                <a:gd name="connsiteX498" fmla="*/ 1430017 w 3368309"/>
                <a:gd name="connsiteY498" fmla="*/ 1680245 h 2031151"/>
                <a:gd name="connsiteX499" fmla="*/ 1429690 w 3368309"/>
                <a:gd name="connsiteY499" fmla="*/ 1677313 h 2031151"/>
                <a:gd name="connsiteX500" fmla="*/ 1425944 w 3368309"/>
                <a:gd name="connsiteY500" fmla="*/ 1675521 h 2031151"/>
                <a:gd name="connsiteX501" fmla="*/ 1424152 w 3368309"/>
                <a:gd name="connsiteY501" fmla="*/ 1675521 h 2031151"/>
                <a:gd name="connsiteX502" fmla="*/ 1418124 w 3368309"/>
                <a:gd name="connsiteY502" fmla="*/ 1671774 h 2031151"/>
                <a:gd name="connsiteX503" fmla="*/ 1412748 w 3368309"/>
                <a:gd name="connsiteY503" fmla="*/ 1670307 h 2031151"/>
                <a:gd name="connsiteX504" fmla="*/ 1410305 w 3368309"/>
                <a:gd name="connsiteY504" fmla="*/ 1670307 h 2031151"/>
                <a:gd name="connsiteX505" fmla="*/ 1407698 w 3368309"/>
                <a:gd name="connsiteY505" fmla="*/ 1664280 h 2031151"/>
                <a:gd name="connsiteX506" fmla="*/ 1403625 w 3368309"/>
                <a:gd name="connsiteY506" fmla="*/ 1656949 h 2031151"/>
                <a:gd name="connsiteX507" fmla="*/ 1396131 w 3368309"/>
                <a:gd name="connsiteY507" fmla="*/ 1651410 h 2031151"/>
                <a:gd name="connsiteX508" fmla="*/ 1388312 w 3368309"/>
                <a:gd name="connsiteY508" fmla="*/ 1649455 h 2031151"/>
                <a:gd name="connsiteX509" fmla="*/ 1379189 w 3368309"/>
                <a:gd name="connsiteY509" fmla="*/ 1649455 h 2031151"/>
                <a:gd name="connsiteX510" fmla="*/ 1370717 w 3368309"/>
                <a:gd name="connsiteY510" fmla="*/ 1650595 h 2031151"/>
                <a:gd name="connsiteX511" fmla="*/ 1369740 w 3368309"/>
                <a:gd name="connsiteY511" fmla="*/ 1653202 h 2031151"/>
                <a:gd name="connsiteX512" fmla="*/ 1371369 w 3368309"/>
                <a:gd name="connsiteY512" fmla="*/ 1655809 h 2031151"/>
                <a:gd name="connsiteX513" fmla="*/ 1370066 w 3368309"/>
                <a:gd name="connsiteY513" fmla="*/ 1658089 h 2031151"/>
                <a:gd name="connsiteX514" fmla="*/ 1365016 w 3368309"/>
                <a:gd name="connsiteY514" fmla="*/ 1660044 h 2031151"/>
                <a:gd name="connsiteX515" fmla="*/ 1360780 w 3368309"/>
                <a:gd name="connsiteY515" fmla="*/ 1659067 h 2031151"/>
                <a:gd name="connsiteX516" fmla="*/ 1355241 w 3368309"/>
                <a:gd name="connsiteY516" fmla="*/ 1661510 h 2031151"/>
                <a:gd name="connsiteX517" fmla="*/ 1348725 w 3368309"/>
                <a:gd name="connsiteY517" fmla="*/ 1657926 h 2031151"/>
                <a:gd name="connsiteX518" fmla="*/ 1344489 w 3368309"/>
                <a:gd name="connsiteY518" fmla="*/ 1658741 h 2031151"/>
                <a:gd name="connsiteX519" fmla="*/ 1341068 w 3368309"/>
                <a:gd name="connsiteY519" fmla="*/ 1661022 h 2031151"/>
                <a:gd name="connsiteX520" fmla="*/ 1336507 w 3368309"/>
                <a:gd name="connsiteY520" fmla="*/ 1661022 h 2031151"/>
                <a:gd name="connsiteX521" fmla="*/ 1332760 w 3368309"/>
                <a:gd name="connsiteY521" fmla="*/ 1657112 h 2031151"/>
                <a:gd name="connsiteX522" fmla="*/ 1326895 w 3368309"/>
                <a:gd name="connsiteY522" fmla="*/ 1655483 h 2031151"/>
                <a:gd name="connsiteX523" fmla="*/ 1326406 w 3368309"/>
                <a:gd name="connsiteY523" fmla="*/ 1651899 h 2031151"/>
                <a:gd name="connsiteX524" fmla="*/ 1327058 w 3368309"/>
                <a:gd name="connsiteY524" fmla="*/ 1648315 h 2031151"/>
                <a:gd name="connsiteX525" fmla="*/ 1319727 w 3368309"/>
                <a:gd name="connsiteY525" fmla="*/ 1644731 h 2031151"/>
                <a:gd name="connsiteX526" fmla="*/ 1315817 w 3368309"/>
                <a:gd name="connsiteY526" fmla="*/ 1646686 h 2031151"/>
                <a:gd name="connsiteX527" fmla="*/ 1315817 w 3368309"/>
                <a:gd name="connsiteY527" fmla="*/ 1652387 h 2031151"/>
                <a:gd name="connsiteX528" fmla="*/ 1317283 w 3368309"/>
                <a:gd name="connsiteY528" fmla="*/ 1653528 h 2031151"/>
                <a:gd name="connsiteX529" fmla="*/ 1316143 w 3368309"/>
                <a:gd name="connsiteY529" fmla="*/ 1656623 h 2031151"/>
                <a:gd name="connsiteX530" fmla="*/ 1312071 w 3368309"/>
                <a:gd name="connsiteY530" fmla="*/ 1659230 h 2031151"/>
                <a:gd name="connsiteX531" fmla="*/ 1305880 w 3368309"/>
                <a:gd name="connsiteY531" fmla="*/ 1660370 h 2031151"/>
                <a:gd name="connsiteX532" fmla="*/ 1243160 w 3368309"/>
                <a:gd name="connsiteY532" fmla="*/ 1581685 h 2031151"/>
                <a:gd name="connsiteX533" fmla="*/ 1197219 w 3368309"/>
                <a:gd name="connsiteY533" fmla="*/ 1547148 h 2031151"/>
                <a:gd name="connsiteX534" fmla="*/ 1195264 w 3368309"/>
                <a:gd name="connsiteY534" fmla="*/ 1543401 h 2031151"/>
                <a:gd name="connsiteX535" fmla="*/ 1199337 w 3368309"/>
                <a:gd name="connsiteY535" fmla="*/ 1542424 h 2031151"/>
                <a:gd name="connsiteX536" fmla="*/ 1203573 w 3368309"/>
                <a:gd name="connsiteY536" fmla="*/ 1537699 h 2031151"/>
                <a:gd name="connsiteX537" fmla="*/ 1203573 w 3368309"/>
                <a:gd name="connsiteY537" fmla="*/ 1533138 h 2031151"/>
                <a:gd name="connsiteX538" fmla="*/ 1200966 w 3368309"/>
                <a:gd name="connsiteY538" fmla="*/ 1531346 h 2031151"/>
                <a:gd name="connsiteX539" fmla="*/ 1194450 w 3368309"/>
                <a:gd name="connsiteY539" fmla="*/ 1533301 h 2031151"/>
                <a:gd name="connsiteX540" fmla="*/ 1188911 w 3368309"/>
                <a:gd name="connsiteY540" fmla="*/ 1534767 h 2031151"/>
                <a:gd name="connsiteX541" fmla="*/ 1185001 w 3368309"/>
                <a:gd name="connsiteY541" fmla="*/ 1538840 h 2031151"/>
                <a:gd name="connsiteX542" fmla="*/ 1180928 w 3368309"/>
                <a:gd name="connsiteY542" fmla="*/ 1540306 h 2031151"/>
                <a:gd name="connsiteX543" fmla="*/ 1175226 w 3368309"/>
                <a:gd name="connsiteY543" fmla="*/ 1545845 h 2031151"/>
                <a:gd name="connsiteX544" fmla="*/ 1174738 w 3368309"/>
                <a:gd name="connsiteY544" fmla="*/ 1549592 h 2031151"/>
                <a:gd name="connsiteX545" fmla="*/ 1170828 w 3368309"/>
                <a:gd name="connsiteY545" fmla="*/ 1552687 h 2031151"/>
                <a:gd name="connsiteX546" fmla="*/ 1168710 w 3368309"/>
                <a:gd name="connsiteY546" fmla="*/ 1557086 h 2031151"/>
                <a:gd name="connsiteX547" fmla="*/ 1163986 w 3368309"/>
                <a:gd name="connsiteY547" fmla="*/ 1560344 h 2031151"/>
                <a:gd name="connsiteX548" fmla="*/ 1156492 w 3368309"/>
                <a:gd name="connsiteY548" fmla="*/ 1561321 h 2031151"/>
                <a:gd name="connsiteX549" fmla="*/ 1151767 w 3368309"/>
                <a:gd name="connsiteY549" fmla="*/ 1563113 h 2031151"/>
                <a:gd name="connsiteX550" fmla="*/ 1152745 w 3368309"/>
                <a:gd name="connsiteY550" fmla="*/ 1568978 h 2031151"/>
                <a:gd name="connsiteX551" fmla="*/ 1149650 w 3368309"/>
                <a:gd name="connsiteY551" fmla="*/ 1571259 h 2031151"/>
                <a:gd name="connsiteX552" fmla="*/ 1147206 w 3368309"/>
                <a:gd name="connsiteY552" fmla="*/ 1569630 h 2031151"/>
                <a:gd name="connsiteX553" fmla="*/ 1136943 w 3368309"/>
                <a:gd name="connsiteY553" fmla="*/ 1567186 h 2031151"/>
                <a:gd name="connsiteX554" fmla="*/ 1131078 w 3368309"/>
                <a:gd name="connsiteY554" fmla="*/ 1568815 h 2031151"/>
                <a:gd name="connsiteX555" fmla="*/ 1128146 w 3368309"/>
                <a:gd name="connsiteY555" fmla="*/ 1572399 h 2031151"/>
                <a:gd name="connsiteX556" fmla="*/ 1124725 w 3368309"/>
                <a:gd name="connsiteY556" fmla="*/ 1572725 h 2031151"/>
                <a:gd name="connsiteX557" fmla="*/ 1121304 w 3368309"/>
                <a:gd name="connsiteY557" fmla="*/ 1568163 h 2031151"/>
                <a:gd name="connsiteX558" fmla="*/ 1121304 w 3368309"/>
                <a:gd name="connsiteY558" fmla="*/ 1561484 h 2031151"/>
                <a:gd name="connsiteX559" fmla="*/ 1124562 w 3368309"/>
                <a:gd name="connsiteY559" fmla="*/ 1558715 h 2031151"/>
                <a:gd name="connsiteX560" fmla="*/ 1126680 w 3368309"/>
                <a:gd name="connsiteY560" fmla="*/ 1553665 h 2031151"/>
                <a:gd name="connsiteX561" fmla="*/ 1123747 w 3368309"/>
                <a:gd name="connsiteY561" fmla="*/ 1552036 h 2031151"/>
                <a:gd name="connsiteX562" fmla="*/ 1120000 w 3368309"/>
                <a:gd name="connsiteY562" fmla="*/ 1555131 h 2031151"/>
                <a:gd name="connsiteX563" fmla="*/ 1116742 w 3368309"/>
                <a:gd name="connsiteY563" fmla="*/ 1555131 h 2031151"/>
                <a:gd name="connsiteX564" fmla="*/ 1107131 w 3368309"/>
                <a:gd name="connsiteY564" fmla="*/ 1550569 h 2031151"/>
                <a:gd name="connsiteX565" fmla="*/ 1101429 w 3368309"/>
                <a:gd name="connsiteY565" fmla="*/ 1551710 h 2031151"/>
                <a:gd name="connsiteX566" fmla="*/ 1102732 w 3368309"/>
                <a:gd name="connsiteY566" fmla="*/ 1554642 h 2031151"/>
                <a:gd name="connsiteX567" fmla="*/ 1105664 w 3368309"/>
                <a:gd name="connsiteY567" fmla="*/ 1555945 h 2031151"/>
                <a:gd name="connsiteX568" fmla="*/ 1101917 w 3368309"/>
                <a:gd name="connsiteY568" fmla="*/ 1559855 h 2031151"/>
                <a:gd name="connsiteX569" fmla="*/ 1098822 w 3368309"/>
                <a:gd name="connsiteY569" fmla="*/ 1560181 h 2031151"/>
                <a:gd name="connsiteX570" fmla="*/ 1095564 w 3368309"/>
                <a:gd name="connsiteY570" fmla="*/ 1553827 h 2031151"/>
                <a:gd name="connsiteX571" fmla="*/ 1094587 w 3368309"/>
                <a:gd name="connsiteY571" fmla="*/ 1545682 h 2031151"/>
                <a:gd name="connsiteX572" fmla="*/ 1085789 w 3368309"/>
                <a:gd name="connsiteY572" fmla="*/ 1539329 h 2031151"/>
                <a:gd name="connsiteX573" fmla="*/ 1084160 w 3368309"/>
                <a:gd name="connsiteY573" fmla="*/ 1540469 h 2031151"/>
                <a:gd name="connsiteX574" fmla="*/ 1086115 w 3368309"/>
                <a:gd name="connsiteY574" fmla="*/ 1545682 h 2031151"/>
                <a:gd name="connsiteX575" fmla="*/ 1085464 w 3368309"/>
                <a:gd name="connsiteY575" fmla="*/ 1549592 h 2031151"/>
                <a:gd name="connsiteX576" fmla="*/ 1082369 w 3368309"/>
                <a:gd name="connsiteY576" fmla="*/ 1549592 h 2031151"/>
                <a:gd name="connsiteX577" fmla="*/ 1080739 w 3368309"/>
                <a:gd name="connsiteY577" fmla="*/ 1544379 h 2031151"/>
                <a:gd name="connsiteX578" fmla="*/ 1077481 w 3368309"/>
                <a:gd name="connsiteY578" fmla="*/ 1545845 h 2031151"/>
                <a:gd name="connsiteX579" fmla="*/ 1076504 w 3368309"/>
                <a:gd name="connsiteY579" fmla="*/ 1550732 h 2031151"/>
                <a:gd name="connsiteX580" fmla="*/ 1073571 w 3368309"/>
                <a:gd name="connsiteY580" fmla="*/ 1551710 h 2031151"/>
                <a:gd name="connsiteX581" fmla="*/ 1069662 w 3368309"/>
                <a:gd name="connsiteY581" fmla="*/ 1548451 h 2031151"/>
                <a:gd name="connsiteX582" fmla="*/ 1063960 w 3368309"/>
                <a:gd name="connsiteY582" fmla="*/ 1551873 h 2031151"/>
                <a:gd name="connsiteX583" fmla="*/ 1060864 w 3368309"/>
                <a:gd name="connsiteY583" fmla="*/ 1549592 h 2031151"/>
                <a:gd name="connsiteX584" fmla="*/ 1058583 w 3368309"/>
                <a:gd name="connsiteY584" fmla="*/ 1544705 h 2031151"/>
                <a:gd name="connsiteX585" fmla="*/ 1062494 w 3368309"/>
                <a:gd name="connsiteY585" fmla="*/ 1543564 h 2031151"/>
                <a:gd name="connsiteX586" fmla="*/ 1062819 w 3368309"/>
                <a:gd name="connsiteY586" fmla="*/ 1541609 h 2031151"/>
                <a:gd name="connsiteX587" fmla="*/ 1061842 w 3368309"/>
                <a:gd name="connsiteY587" fmla="*/ 1536722 h 2031151"/>
                <a:gd name="connsiteX588" fmla="*/ 1063145 w 3368309"/>
                <a:gd name="connsiteY588" fmla="*/ 1532323 h 2031151"/>
                <a:gd name="connsiteX589" fmla="*/ 1062656 w 3368309"/>
                <a:gd name="connsiteY589" fmla="*/ 1529391 h 2031151"/>
                <a:gd name="connsiteX590" fmla="*/ 1059235 w 3368309"/>
                <a:gd name="connsiteY590" fmla="*/ 1527599 h 2031151"/>
                <a:gd name="connsiteX591" fmla="*/ 1055814 w 3368309"/>
                <a:gd name="connsiteY591" fmla="*/ 1523201 h 2031151"/>
                <a:gd name="connsiteX592" fmla="*/ 1054022 w 3368309"/>
                <a:gd name="connsiteY592" fmla="*/ 1517987 h 2031151"/>
                <a:gd name="connsiteX593" fmla="*/ 1052067 w 3368309"/>
                <a:gd name="connsiteY593" fmla="*/ 1516358 h 2031151"/>
                <a:gd name="connsiteX594" fmla="*/ 1049949 w 3368309"/>
                <a:gd name="connsiteY594" fmla="*/ 1510005 h 2031151"/>
                <a:gd name="connsiteX595" fmla="*/ 1044736 w 3368309"/>
                <a:gd name="connsiteY595" fmla="*/ 1509516 h 2031151"/>
                <a:gd name="connsiteX596" fmla="*/ 1039035 w 3368309"/>
                <a:gd name="connsiteY596" fmla="*/ 1511960 h 2031151"/>
                <a:gd name="connsiteX597" fmla="*/ 1033007 w 3368309"/>
                <a:gd name="connsiteY597" fmla="*/ 1511960 h 2031151"/>
                <a:gd name="connsiteX598" fmla="*/ 1026816 w 3368309"/>
                <a:gd name="connsiteY598" fmla="*/ 1507887 h 2031151"/>
                <a:gd name="connsiteX599" fmla="*/ 1019811 w 3368309"/>
                <a:gd name="connsiteY599" fmla="*/ 1508702 h 2031151"/>
                <a:gd name="connsiteX600" fmla="*/ 1013621 w 3368309"/>
                <a:gd name="connsiteY600" fmla="*/ 1506095 h 2031151"/>
                <a:gd name="connsiteX601" fmla="*/ 1009711 w 3368309"/>
                <a:gd name="connsiteY601" fmla="*/ 1507398 h 2031151"/>
                <a:gd name="connsiteX602" fmla="*/ 1006616 w 3368309"/>
                <a:gd name="connsiteY602" fmla="*/ 1506910 h 2031151"/>
                <a:gd name="connsiteX603" fmla="*/ 1002054 w 3368309"/>
                <a:gd name="connsiteY603" fmla="*/ 1509516 h 2031151"/>
                <a:gd name="connsiteX604" fmla="*/ 1000588 w 3368309"/>
                <a:gd name="connsiteY604" fmla="*/ 1514566 h 2031151"/>
                <a:gd name="connsiteX605" fmla="*/ 993746 w 3368309"/>
                <a:gd name="connsiteY605" fmla="*/ 1514892 h 2031151"/>
                <a:gd name="connsiteX606" fmla="*/ 990976 w 3368309"/>
                <a:gd name="connsiteY606" fmla="*/ 1516358 h 2031151"/>
                <a:gd name="connsiteX607" fmla="*/ 993420 w 3368309"/>
                <a:gd name="connsiteY607" fmla="*/ 1520268 h 2031151"/>
                <a:gd name="connsiteX608" fmla="*/ 993420 w 3368309"/>
                <a:gd name="connsiteY608" fmla="*/ 1524015 h 2031151"/>
                <a:gd name="connsiteX609" fmla="*/ 986741 w 3368309"/>
                <a:gd name="connsiteY609" fmla="*/ 1525481 h 2031151"/>
                <a:gd name="connsiteX610" fmla="*/ 983482 w 3368309"/>
                <a:gd name="connsiteY610" fmla="*/ 1524504 h 2031151"/>
                <a:gd name="connsiteX611" fmla="*/ 980062 w 3368309"/>
                <a:gd name="connsiteY611" fmla="*/ 1529065 h 2031151"/>
                <a:gd name="connsiteX612" fmla="*/ 974034 w 3368309"/>
                <a:gd name="connsiteY612" fmla="*/ 1530206 h 2031151"/>
                <a:gd name="connsiteX613" fmla="*/ 971590 w 3368309"/>
                <a:gd name="connsiteY613" fmla="*/ 1531835 h 2031151"/>
                <a:gd name="connsiteX614" fmla="*/ 969146 w 3368309"/>
                <a:gd name="connsiteY614" fmla="*/ 1531835 h 2031151"/>
                <a:gd name="connsiteX615" fmla="*/ 958232 w 3368309"/>
                <a:gd name="connsiteY615" fmla="*/ 1539166 h 2031151"/>
                <a:gd name="connsiteX616" fmla="*/ 952530 w 3368309"/>
                <a:gd name="connsiteY616" fmla="*/ 1540958 h 2031151"/>
                <a:gd name="connsiteX617" fmla="*/ 947805 w 3368309"/>
                <a:gd name="connsiteY617" fmla="*/ 1543727 h 2031151"/>
                <a:gd name="connsiteX618" fmla="*/ 944058 w 3368309"/>
                <a:gd name="connsiteY618" fmla="*/ 1542913 h 2031151"/>
                <a:gd name="connsiteX619" fmla="*/ 941289 w 3368309"/>
                <a:gd name="connsiteY619" fmla="*/ 1540306 h 2031151"/>
                <a:gd name="connsiteX620" fmla="*/ 938031 w 3368309"/>
                <a:gd name="connsiteY620" fmla="*/ 1543075 h 2031151"/>
                <a:gd name="connsiteX621" fmla="*/ 937379 w 3368309"/>
                <a:gd name="connsiteY621" fmla="*/ 1546334 h 2031151"/>
                <a:gd name="connsiteX622" fmla="*/ 931840 w 3368309"/>
                <a:gd name="connsiteY622" fmla="*/ 1546334 h 2031151"/>
                <a:gd name="connsiteX623" fmla="*/ 928908 w 3368309"/>
                <a:gd name="connsiteY623" fmla="*/ 1548940 h 2031151"/>
                <a:gd name="connsiteX624" fmla="*/ 928908 w 3368309"/>
                <a:gd name="connsiteY624" fmla="*/ 1554316 h 2031151"/>
                <a:gd name="connsiteX625" fmla="*/ 927116 w 3368309"/>
                <a:gd name="connsiteY625" fmla="*/ 1556108 h 2031151"/>
                <a:gd name="connsiteX626" fmla="*/ 923695 w 3368309"/>
                <a:gd name="connsiteY626" fmla="*/ 1554642 h 2031151"/>
                <a:gd name="connsiteX627" fmla="*/ 919948 w 3368309"/>
                <a:gd name="connsiteY627" fmla="*/ 1554968 h 2031151"/>
                <a:gd name="connsiteX628" fmla="*/ 915875 w 3368309"/>
                <a:gd name="connsiteY628" fmla="*/ 1557737 h 2031151"/>
                <a:gd name="connsiteX629" fmla="*/ 909685 w 3368309"/>
                <a:gd name="connsiteY629" fmla="*/ 1557737 h 2031151"/>
                <a:gd name="connsiteX630" fmla="*/ 902842 w 3368309"/>
                <a:gd name="connsiteY630" fmla="*/ 1562136 h 2031151"/>
                <a:gd name="connsiteX631" fmla="*/ 901539 w 3368309"/>
                <a:gd name="connsiteY631" fmla="*/ 1564417 h 2031151"/>
                <a:gd name="connsiteX632" fmla="*/ 894697 w 3368309"/>
                <a:gd name="connsiteY632" fmla="*/ 1564905 h 2031151"/>
                <a:gd name="connsiteX633" fmla="*/ 888181 w 3368309"/>
                <a:gd name="connsiteY633" fmla="*/ 1568001 h 2031151"/>
                <a:gd name="connsiteX634" fmla="*/ 882316 w 3368309"/>
                <a:gd name="connsiteY634" fmla="*/ 1568489 h 2031151"/>
                <a:gd name="connsiteX635" fmla="*/ 873519 w 3368309"/>
                <a:gd name="connsiteY635" fmla="*/ 1571259 h 2031151"/>
                <a:gd name="connsiteX636" fmla="*/ 873030 w 3368309"/>
                <a:gd name="connsiteY636" fmla="*/ 1575006 h 2031151"/>
                <a:gd name="connsiteX637" fmla="*/ 870587 w 3368309"/>
                <a:gd name="connsiteY637" fmla="*/ 1578264 h 2031151"/>
                <a:gd name="connsiteX638" fmla="*/ 867654 w 3368309"/>
                <a:gd name="connsiteY638" fmla="*/ 1573702 h 2031151"/>
                <a:gd name="connsiteX639" fmla="*/ 863092 w 3368309"/>
                <a:gd name="connsiteY639" fmla="*/ 1573702 h 2031151"/>
                <a:gd name="connsiteX640" fmla="*/ 858694 w 3368309"/>
                <a:gd name="connsiteY640" fmla="*/ 1576309 h 2031151"/>
                <a:gd name="connsiteX641" fmla="*/ 858694 w 3368309"/>
                <a:gd name="connsiteY641" fmla="*/ 1579404 h 2031151"/>
                <a:gd name="connsiteX642" fmla="*/ 856739 w 3368309"/>
                <a:gd name="connsiteY642" fmla="*/ 1582011 h 2031151"/>
                <a:gd name="connsiteX643" fmla="*/ 852178 w 3368309"/>
                <a:gd name="connsiteY643" fmla="*/ 1578753 h 2031151"/>
                <a:gd name="connsiteX644" fmla="*/ 846313 w 3368309"/>
                <a:gd name="connsiteY644" fmla="*/ 1579567 h 2031151"/>
                <a:gd name="connsiteX645" fmla="*/ 844684 w 3368309"/>
                <a:gd name="connsiteY645" fmla="*/ 1576798 h 2031151"/>
                <a:gd name="connsiteX646" fmla="*/ 840937 w 3368309"/>
                <a:gd name="connsiteY646" fmla="*/ 1576798 h 2031151"/>
                <a:gd name="connsiteX647" fmla="*/ 838330 w 3368309"/>
                <a:gd name="connsiteY647" fmla="*/ 1579730 h 2031151"/>
                <a:gd name="connsiteX648" fmla="*/ 832792 w 3368309"/>
                <a:gd name="connsiteY648" fmla="*/ 1580056 h 2031151"/>
                <a:gd name="connsiteX649" fmla="*/ 830999 w 3368309"/>
                <a:gd name="connsiteY649" fmla="*/ 1581685 h 2031151"/>
                <a:gd name="connsiteX650" fmla="*/ 833769 w 3368309"/>
                <a:gd name="connsiteY650" fmla="*/ 1587713 h 2031151"/>
                <a:gd name="connsiteX651" fmla="*/ 831325 w 3368309"/>
                <a:gd name="connsiteY651" fmla="*/ 1590319 h 2031151"/>
                <a:gd name="connsiteX652" fmla="*/ 835887 w 3368309"/>
                <a:gd name="connsiteY652" fmla="*/ 1591622 h 2031151"/>
                <a:gd name="connsiteX653" fmla="*/ 842403 w 3368309"/>
                <a:gd name="connsiteY653" fmla="*/ 1590645 h 2031151"/>
                <a:gd name="connsiteX654" fmla="*/ 844358 w 3368309"/>
                <a:gd name="connsiteY654" fmla="*/ 1596184 h 2031151"/>
                <a:gd name="connsiteX655" fmla="*/ 837516 w 3368309"/>
                <a:gd name="connsiteY655" fmla="*/ 1596184 h 2031151"/>
                <a:gd name="connsiteX656" fmla="*/ 835235 w 3368309"/>
                <a:gd name="connsiteY656" fmla="*/ 1598465 h 2031151"/>
                <a:gd name="connsiteX657" fmla="*/ 835724 w 3368309"/>
                <a:gd name="connsiteY657" fmla="*/ 1601723 h 2031151"/>
                <a:gd name="connsiteX658" fmla="*/ 842240 w 3368309"/>
                <a:gd name="connsiteY658" fmla="*/ 1601723 h 2031151"/>
                <a:gd name="connsiteX659" fmla="*/ 847453 w 3368309"/>
                <a:gd name="connsiteY659" fmla="*/ 1604166 h 2031151"/>
                <a:gd name="connsiteX660" fmla="*/ 850549 w 3368309"/>
                <a:gd name="connsiteY660" fmla="*/ 1601723 h 2031151"/>
                <a:gd name="connsiteX661" fmla="*/ 854621 w 3368309"/>
                <a:gd name="connsiteY661" fmla="*/ 1601723 h 2031151"/>
                <a:gd name="connsiteX662" fmla="*/ 858694 w 3368309"/>
                <a:gd name="connsiteY662" fmla="*/ 1605633 h 2031151"/>
                <a:gd name="connsiteX663" fmla="*/ 863581 w 3368309"/>
                <a:gd name="connsiteY663" fmla="*/ 1607099 h 2031151"/>
                <a:gd name="connsiteX664" fmla="*/ 863581 w 3368309"/>
                <a:gd name="connsiteY664" fmla="*/ 1612312 h 2031151"/>
                <a:gd name="connsiteX665" fmla="*/ 860486 w 3368309"/>
                <a:gd name="connsiteY665" fmla="*/ 1614267 h 2031151"/>
                <a:gd name="connsiteX666" fmla="*/ 856250 w 3368309"/>
                <a:gd name="connsiteY666" fmla="*/ 1612801 h 2031151"/>
                <a:gd name="connsiteX667" fmla="*/ 845498 w 3368309"/>
                <a:gd name="connsiteY667" fmla="*/ 1613941 h 2031151"/>
                <a:gd name="connsiteX668" fmla="*/ 839634 w 3368309"/>
                <a:gd name="connsiteY668" fmla="*/ 1619317 h 2031151"/>
                <a:gd name="connsiteX669" fmla="*/ 833932 w 3368309"/>
                <a:gd name="connsiteY669" fmla="*/ 1627625 h 2031151"/>
                <a:gd name="connsiteX670" fmla="*/ 834258 w 3368309"/>
                <a:gd name="connsiteY670" fmla="*/ 1633164 h 2031151"/>
                <a:gd name="connsiteX671" fmla="*/ 838167 w 3368309"/>
                <a:gd name="connsiteY671" fmla="*/ 1633653 h 2031151"/>
                <a:gd name="connsiteX672" fmla="*/ 839471 w 3368309"/>
                <a:gd name="connsiteY672" fmla="*/ 1639518 h 2031151"/>
                <a:gd name="connsiteX673" fmla="*/ 835561 w 3368309"/>
                <a:gd name="connsiteY673" fmla="*/ 1644079 h 2031151"/>
                <a:gd name="connsiteX674" fmla="*/ 834583 w 3368309"/>
                <a:gd name="connsiteY674" fmla="*/ 1649455 h 2031151"/>
                <a:gd name="connsiteX675" fmla="*/ 830022 w 3368309"/>
                <a:gd name="connsiteY675" fmla="*/ 1649944 h 2031151"/>
                <a:gd name="connsiteX676" fmla="*/ 829208 w 3368309"/>
                <a:gd name="connsiteY676" fmla="*/ 1652550 h 2031151"/>
                <a:gd name="connsiteX677" fmla="*/ 830837 w 3368309"/>
                <a:gd name="connsiteY677" fmla="*/ 1655646 h 2031151"/>
                <a:gd name="connsiteX678" fmla="*/ 831162 w 3368309"/>
                <a:gd name="connsiteY678" fmla="*/ 1658904 h 2031151"/>
                <a:gd name="connsiteX679" fmla="*/ 837190 w 3368309"/>
                <a:gd name="connsiteY679" fmla="*/ 1658904 h 2031151"/>
                <a:gd name="connsiteX680" fmla="*/ 840611 w 3368309"/>
                <a:gd name="connsiteY680" fmla="*/ 1662162 h 2031151"/>
                <a:gd name="connsiteX681" fmla="*/ 846313 w 3368309"/>
                <a:gd name="connsiteY681" fmla="*/ 1663465 h 2031151"/>
                <a:gd name="connsiteX682" fmla="*/ 847290 w 3368309"/>
                <a:gd name="connsiteY682" fmla="*/ 1666235 h 2031151"/>
                <a:gd name="connsiteX683" fmla="*/ 852015 w 3368309"/>
                <a:gd name="connsiteY683" fmla="*/ 1670145 h 2031151"/>
                <a:gd name="connsiteX684" fmla="*/ 859508 w 3368309"/>
                <a:gd name="connsiteY684" fmla="*/ 1670145 h 2031151"/>
                <a:gd name="connsiteX685" fmla="*/ 861952 w 3368309"/>
                <a:gd name="connsiteY685" fmla="*/ 1672099 h 2031151"/>
                <a:gd name="connsiteX686" fmla="*/ 863255 w 3368309"/>
                <a:gd name="connsiteY686" fmla="*/ 1692137 h 2031151"/>
                <a:gd name="connsiteX687" fmla="*/ 860812 w 3368309"/>
                <a:gd name="connsiteY687" fmla="*/ 1696373 h 2031151"/>
                <a:gd name="connsiteX688" fmla="*/ 852178 w 3368309"/>
                <a:gd name="connsiteY688" fmla="*/ 1699305 h 2031151"/>
                <a:gd name="connsiteX689" fmla="*/ 845010 w 3368309"/>
                <a:gd name="connsiteY689" fmla="*/ 1698491 h 2031151"/>
                <a:gd name="connsiteX690" fmla="*/ 837027 w 3368309"/>
                <a:gd name="connsiteY690" fmla="*/ 1693766 h 2031151"/>
                <a:gd name="connsiteX691" fmla="*/ 834421 w 3368309"/>
                <a:gd name="connsiteY691" fmla="*/ 1696210 h 2031151"/>
                <a:gd name="connsiteX692" fmla="*/ 834095 w 3368309"/>
                <a:gd name="connsiteY692" fmla="*/ 1701260 h 2031151"/>
                <a:gd name="connsiteX693" fmla="*/ 831488 w 3368309"/>
                <a:gd name="connsiteY693" fmla="*/ 1706636 h 2031151"/>
                <a:gd name="connsiteX694" fmla="*/ 825787 w 3368309"/>
                <a:gd name="connsiteY694" fmla="*/ 1707777 h 2031151"/>
                <a:gd name="connsiteX695" fmla="*/ 816826 w 3368309"/>
                <a:gd name="connsiteY695" fmla="*/ 1702726 h 2031151"/>
                <a:gd name="connsiteX696" fmla="*/ 809170 w 3368309"/>
                <a:gd name="connsiteY696" fmla="*/ 1703052 h 2031151"/>
                <a:gd name="connsiteX697" fmla="*/ 805585 w 3368309"/>
                <a:gd name="connsiteY697" fmla="*/ 1701097 h 2031151"/>
                <a:gd name="connsiteX698" fmla="*/ 803305 w 3368309"/>
                <a:gd name="connsiteY698" fmla="*/ 1702564 h 2031151"/>
                <a:gd name="connsiteX699" fmla="*/ 798744 w 3368309"/>
                <a:gd name="connsiteY699" fmla="*/ 1701097 h 2031151"/>
                <a:gd name="connsiteX700" fmla="*/ 793693 w 3368309"/>
                <a:gd name="connsiteY700" fmla="*/ 1695233 h 2031151"/>
                <a:gd name="connsiteX701" fmla="*/ 797603 w 3368309"/>
                <a:gd name="connsiteY701" fmla="*/ 1693278 h 2031151"/>
                <a:gd name="connsiteX702" fmla="*/ 799232 w 3368309"/>
                <a:gd name="connsiteY702" fmla="*/ 1689857 h 2031151"/>
                <a:gd name="connsiteX703" fmla="*/ 795485 w 3368309"/>
                <a:gd name="connsiteY703" fmla="*/ 1688065 h 2031151"/>
                <a:gd name="connsiteX704" fmla="*/ 789458 w 3368309"/>
                <a:gd name="connsiteY704" fmla="*/ 1684806 h 2031151"/>
                <a:gd name="connsiteX705" fmla="*/ 786688 w 3368309"/>
                <a:gd name="connsiteY705" fmla="*/ 1688227 h 2031151"/>
                <a:gd name="connsiteX706" fmla="*/ 780987 w 3368309"/>
                <a:gd name="connsiteY706" fmla="*/ 1687739 h 2031151"/>
                <a:gd name="connsiteX707" fmla="*/ 776914 w 3368309"/>
                <a:gd name="connsiteY707" fmla="*/ 1689042 h 2031151"/>
                <a:gd name="connsiteX708" fmla="*/ 777891 w 3368309"/>
                <a:gd name="connsiteY708" fmla="*/ 1695233 h 2031151"/>
                <a:gd name="connsiteX709" fmla="*/ 770723 w 3368309"/>
                <a:gd name="connsiteY709" fmla="*/ 1696047 h 2031151"/>
                <a:gd name="connsiteX710" fmla="*/ 769257 w 3368309"/>
                <a:gd name="connsiteY710" fmla="*/ 1693278 h 2031151"/>
                <a:gd name="connsiteX711" fmla="*/ 761926 w 3368309"/>
                <a:gd name="connsiteY711" fmla="*/ 1686436 h 2031151"/>
                <a:gd name="connsiteX712" fmla="*/ 756061 w 3368309"/>
                <a:gd name="connsiteY712" fmla="*/ 1687413 h 2031151"/>
                <a:gd name="connsiteX713" fmla="*/ 753780 w 3368309"/>
                <a:gd name="connsiteY713" fmla="*/ 1691649 h 2031151"/>
                <a:gd name="connsiteX714" fmla="*/ 750848 w 3368309"/>
                <a:gd name="connsiteY714" fmla="*/ 1687739 h 2031151"/>
                <a:gd name="connsiteX715" fmla="*/ 746776 w 3368309"/>
                <a:gd name="connsiteY715" fmla="*/ 1689042 h 2031151"/>
                <a:gd name="connsiteX716" fmla="*/ 746450 w 3368309"/>
                <a:gd name="connsiteY716" fmla="*/ 1693766 h 2031151"/>
                <a:gd name="connsiteX717" fmla="*/ 741074 w 3368309"/>
                <a:gd name="connsiteY717" fmla="*/ 1694255 h 2031151"/>
                <a:gd name="connsiteX718" fmla="*/ 740585 w 3368309"/>
                <a:gd name="connsiteY718" fmla="*/ 1703867 h 2031151"/>
                <a:gd name="connsiteX719" fmla="*/ 734394 w 3368309"/>
                <a:gd name="connsiteY719" fmla="*/ 1708591 h 2031151"/>
                <a:gd name="connsiteX720" fmla="*/ 730322 w 3368309"/>
                <a:gd name="connsiteY720" fmla="*/ 1706962 h 2031151"/>
                <a:gd name="connsiteX721" fmla="*/ 727389 w 3368309"/>
                <a:gd name="connsiteY721" fmla="*/ 1702238 h 2031151"/>
                <a:gd name="connsiteX722" fmla="*/ 717615 w 3368309"/>
                <a:gd name="connsiteY722" fmla="*/ 1700772 h 2031151"/>
                <a:gd name="connsiteX723" fmla="*/ 714194 w 3368309"/>
                <a:gd name="connsiteY723" fmla="*/ 1695721 h 2031151"/>
                <a:gd name="connsiteX724" fmla="*/ 709144 w 3368309"/>
                <a:gd name="connsiteY724" fmla="*/ 1698654 h 2031151"/>
                <a:gd name="connsiteX725" fmla="*/ 709632 w 3368309"/>
                <a:gd name="connsiteY725" fmla="*/ 1705170 h 2031151"/>
                <a:gd name="connsiteX726" fmla="*/ 706374 w 3368309"/>
                <a:gd name="connsiteY726" fmla="*/ 1710220 h 2031151"/>
                <a:gd name="connsiteX727" fmla="*/ 703442 w 3368309"/>
                <a:gd name="connsiteY727" fmla="*/ 1709243 h 2031151"/>
                <a:gd name="connsiteX728" fmla="*/ 703116 w 3368309"/>
                <a:gd name="connsiteY728" fmla="*/ 1703378 h 2031151"/>
                <a:gd name="connsiteX729" fmla="*/ 701161 w 3368309"/>
                <a:gd name="connsiteY729" fmla="*/ 1699957 h 2031151"/>
                <a:gd name="connsiteX730" fmla="*/ 697088 w 3368309"/>
                <a:gd name="connsiteY730" fmla="*/ 1699631 h 2031151"/>
                <a:gd name="connsiteX731" fmla="*/ 689920 w 3368309"/>
                <a:gd name="connsiteY731" fmla="*/ 1694255 h 2031151"/>
                <a:gd name="connsiteX732" fmla="*/ 685848 w 3368309"/>
                <a:gd name="connsiteY732" fmla="*/ 1688879 h 2031151"/>
                <a:gd name="connsiteX733" fmla="*/ 680308 w 3368309"/>
                <a:gd name="connsiteY733" fmla="*/ 1688879 h 2031151"/>
                <a:gd name="connsiteX734" fmla="*/ 675096 w 3368309"/>
                <a:gd name="connsiteY734" fmla="*/ 1682200 h 2031151"/>
                <a:gd name="connsiteX735" fmla="*/ 672163 w 3368309"/>
                <a:gd name="connsiteY735" fmla="*/ 1682200 h 2031151"/>
                <a:gd name="connsiteX736" fmla="*/ 669557 w 3368309"/>
                <a:gd name="connsiteY736" fmla="*/ 1678127 h 2031151"/>
                <a:gd name="connsiteX737" fmla="*/ 665321 w 3368309"/>
                <a:gd name="connsiteY737" fmla="*/ 1678127 h 2031151"/>
                <a:gd name="connsiteX738" fmla="*/ 656035 w 3368309"/>
                <a:gd name="connsiteY738" fmla="*/ 1680897 h 2031151"/>
                <a:gd name="connsiteX739" fmla="*/ 650333 w 3368309"/>
                <a:gd name="connsiteY739" fmla="*/ 1676987 h 2031151"/>
                <a:gd name="connsiteX740" fmla="*/ 647564 w 3368309"/>
                <a:gd name="connsiteY740" fmla="*/ 1670145 h 2031151"/>
                <a:gd name="connsiteX741" fmla="*/ 643002 w 3368309"/>
                <a:gd name="connsiteY741" fmla="*/ 1670145 h 2031151"/>
                <a:gd name="connsiteX742" fmla="*/ 637626 w 3368309"/>
                <a:gd name="connsiteY742" fmla="*/ 1674054 h 2031151"/>
                <a:gd name="connsiteX743" fmla="*/ 632576 w 3368309"/>
                <a:gd name="connsiteY743" fmla="*/ 1674543 h 2031151"/>
                <a:gd name="connsiteX744" fmla="*/ 631925 w 3368309"/>
                <a:gd name="connsiteY744" fmla="*/ 1677638 h 2031151"/>
                <a:gd name="connsiteX745" fmla="*/ 628666 w 3368309"/>
                <a:gd name="connsiteY745" fmla="*/ 1681060 h 2031151"/>
                <a:gd name="connsiteX746" fmla="*/ 628666 w 3368309"/>
                <a:gd name="connsiteY746" fmla="*/ 1676661 h 2031151"/>
                <a:gd name="connsiteX747" fmla="*/ 624919 w 3368309"/>
                <a:gd name="connsiteY747" fmla="*/ 1678942 h 2031151"/>
                <a:gd name="connsiteX748" fmla="*/ 623616 w 3368309"/>
                <a:gd name="connsiteY748" fmla="*/ 1682852 h 2031151"/>
                <a:gd name="connsiteX749" fmla="*/ 618892 w 3368309"/>
                <a:gd name="connsiteY749" fmla="*/ 1685621 h 2031151"/>
                <a:gd name="connsiteX750" fmla="*/ 616285 w 3368309"/>
                <a:gd name="connsiteY750" fmla="*/ 1683014 h 2031151"/>
                <a:gd name="connsiteX751" fmla="*/ 619707 w 3368309"/>
                <a:gd name="connsiteY751" fmla="*/ 1678779 h 2031151"/>
                <a:gd name="connsiteX752" fmla="*/ 620521 w 3368309"/>
                <a:gd name="connsiteY752" fmla="*/ 1675521 h 2031151"/>
                <a:gd name="connsiteX753" fmla="*/ 614493 w 3368309"/>
                <a:gd name="connsiteY753" fmla="*/ 1672914 h 2031151"/>
                <a:gd name="connsiteX754" fmla="*/ 606999 w 3368309"/>
                <a:gd name="connsiteY754" fmla="*/ 1668515 h 2031151"/>
                <a:gd name="connsiteX755" fmla="*/ 605696 w 3368309"/>
                <a:gd name="connsiteY755" fmla="*/ 1671774 h 2031151"/>
                <a:gd name="connsiteX756" fmla="*/ 606999 w 3368309"/>
                <a:gd name="connsiteY756" fmla="*/ 1676335 h 2031151"/>
                <a:gd name="connsiteX757" fmla="*/ 606348 w 3368309"/>
                <a:gd name="connsiteY757" fmla="*/ 1680897 h 2031151"/>
                <a:gd name="connsiteX758" fmla="*/ 600972 w 3368309"/>
                <a:gd name="connsiteY758" fmla="*/ 1679430 h 2031151"/>
                <a:gd name="connsiteX759" fmla="*/ 597062 w 3368309"/>
                <a:gd name="connsiteY759" fmla="*/ 1682363 h 2031151"/>
                <a:gd name="connsiteX760" fmla="*/ 594618 w 3368309"/>
                <a:gd name="connsiteY760" fmla="*/ 1689205 h 2031151"/>
                <a:gd name="connsiteX761" fmla="*/ 591197 w 3368309"/>
                <a:gd name="connsiteY761" fmla="*/ 1689205 h 2031151"/>
                <a:gd name="connsiteX762" fmla="*/ 583703 w 3368309"/>
                <a:gd name="connsiteY762" fmla="*/ 1694255 h 2031151"/>
                <a:gd name="connsiteX763" fmla="*/ 582074 w 3368309"/>
                <a:gd name="connsiteY763" fmla="*/ 1700120 h 2031151"/>
                <a:gd name="connsiteX764" fmla="*/ 585821 w 3368309"/>
                <a:gd name="connsiteY764" fmla="*/ 1704681 h 2031151"/>
                <a:gd name="connsiteX765" fmla="*/ 585821 w 3368309"/>
                <a:gd name="connsiteY765" fmla="*/ 1710709 h 2031151"/>
                <a:gd name="connsiteX766" fmla="*/ 577513 w 3368309"/>
                <a:gd name="connsiteY766" fmla="*/ 1710709 h 2031151"/>
                <a:gd name="connsiteX767" fmla="*/ 569530 w 3368309"/>
                <a:gd name="connsiteY767" fmla="*/ 1711686 h 2031151"/>
                <a:gd name="connsiteX768" fmla="*/ 575395 w 3368309"/>
                <a:gd name="connsiteY768" fmla="*/ 1732213 h 2031151"/>
                <a:gd name="connsiteX769" fmla="*/ 572300 w 3368309"/>
                <a:gd name="connsiteY769" fmla="*/ 1734819 h 2031151"/>
                <a:gd name="connsiteX770" fmla="*/ 573277 w 3368309"/>
                <a:gd name="connsiteY770" fmla="*/ 1742639 h 2031151"/>
                <a:gd name="connsiteX771" fmla="*/ 565294 w 3368309"/>
                <a:gd name="connsiteY771" fmla="*/ 1743291 h 2031151"/>
                <a:gd name="connsiteX772" fmla="*/ 557638 w 3368309"/>
                <a:gd name="connsiteY772" fmla="*/ 1738566 h 2031151"/>
                <a:gd name="connsiteX773" fmla="*/ 556009 w 3368309"/>
                <a:gd name="connsiteY773" fmla="*/ 1734005 h 2031151"/>
                <a:gd name="connsiteX774" fmla="*/ 542325 w 3368309"/>
                <a:gd name="connsiteY774" fmla="*/ 1721624 h 2031151"/>
                <a:gd name="connsiteX775" fmla="*/ 538578 w 3368309"/>
                <a:gd name="connsiteY775" fmla="*/ 1726348 h 2031151"/>
                <a:gd name="connsiteX776" fmla="*/ 538578 w 3368309"/>
                <a:gd name="connsiteY776" fmla="*/ 1732865 h 2031151"/>
                <a:gd name="connsiteX777" fmla="*/ 531735 w 3368309"/>
                <a:gd name="connsiteY777" fmla="*/ 1741336 h 2031151"/>
                <a:gd name="connsiteX778" fmla="*/ 526685 w 3368309"/>
                <a:gd name="connsiteY778" fmla="*/ 1743780 h 2031151"/>
                <a:gd name="connsiteX779" fmla="*/ 527989 w 3368309"/>
                <a:gd name="connsiteY779" fmla="*/ 1756323 h 2031151"/>
                <a:gd name="connsiteX780" fmla="*/ 531898 w 3368309"/>
                <a:gd name="connsiteY780" fmla="*/ 1760233 h 2031151"/>
                <a:gd name="connsiteX781" fmla="*/ 529617 w 3368309"/>
                <a:gd name="connsiteY781" fmla="*/ 1776036 h 2031151"/>
                <a:gd name="connsiteX782" fmla="*/ 525708 w 3368309"/>
                <a:gd name="connsiteY782" fmla="*/ 1784833 h 2031151"/>
                <a:gd name="connsiteX783" fmla="*/ 536134 w 3368309"/>
                <a:gd name="connsiteY783" fmla="*/ 1788905 h 2031151"/>
                <a:gd name="connsiteX784" fmla="*/ 540532 w 3368309"/>
                <a:gd name="connsiteY784" fmla="*/ 1796073 h 2031151"/>
                <a:gd name="connsiteX785" fmla="*/ 538903 w 3368309"/>
                <a:gd name="connsiteY785" fmla="*/ 1799983 h 2031151"/>
                <a:gd name="connsiteX786" fmla="*/ 547212 w 3368309"/>
                <a:gd name="connsiteY786" fmla="*/ 1806988 h 2031151"/>
                <a:gd name="connsiteX787" fmla="*/ 549167 w 3368309"/>
                <a:gd name="connsiteY787" fmla="*/ 1803078 h 2031151"/>
                <a:gd name="connsiteX788" fmla="*/ 565783 w 3368309"/>
                <a:gd name="connsiteY788" fmla="*/ 1807640 h 2031151"/>
                <a:gd name="connsiteX789" fmla="*/ 577513 w 3368309"/>
                <a:gd name="connsiteY789" fmla="*/ 1818718 h 2031151"/>
                <a:gd name="connsiteX790" fmla="*/ 587776 w 3368309"/>
                <a:gd name="connsiteY790" fmla="*/ 1835986 h 2031151"/>
                <a:gd name="connsiteX791" fmla="*/ 578001 w 3368309"/>
                <a:gd name="connsiteY791" fmla="*/ 1835986 h 2031151"/>
                <a:gd name="connsiteX792" fmla="*/ 577513 w 3368309"/>
                <a:gd name="connsiteY792" fmla="*/ 1840222 h 2031151"/>
                <a:gd name="connsiteX793" fmla="*/ 586962 w 3368309"/>
                <a:gd name="connsiteY793" fmla="*/ 1846412 h 2031151"/>
                <a:gd name="connsiteX794" fmla="*/ 593641 w 3368309"/>
                <a:gd name="connsiteY794" fmla="*/ 1844132 h 2031151"/>
                <a:gd name="connsiteX795" fmla="*/ 599832 w 3368309"/>
                <a:gd name="connsiteY795" fmla="*/ 1848204 h 2031151"/>
                <a:gd name="connsiteX796" fmla="*/ 599832 w 3368309"/>
                <a:gd name="connsiteY796" fmla="*/ 1848204 h 2031151"/>
                <a:gd name="connsiteX797" fmla="*/ 599669 w 3368309"/>
                <a:gd name="connsiteY797" fmla="*/ 1848204 h 2031151"/>
                <a:gd name="connsiteX798" fmla="*/ 599343 w 3368309"/>
                <a:gd name="connsiteY798" fmla="*/ 1850159 h 2031151"/>
                <a:gd name="connsiteX799" fmla="*/ 599017 w 3368309"/>
                <a:gd name="connsiteY799" fmla="*/ 1852766 h 2031151"/>
                <a:gd name="connsiteX800" fmla="*/ 595107 w 3368309"/>
                <a:gd name="connsiteY800" fmla="*/ 1853580 h 2031151"/>
                <a:gd name="connsiteX801" fmla="*/ 597388 w 3368309"/>
                <a:gd name="connsiteY801" fmla="*/ 1855535 h 2031151"/>
                <a:gd name="connsiteX802" fmla="*/ 597388 w 3368309"/>
                <a:gd name="connsiteY802" fmla="*/ 1858468 h 2031151"/>
                <a:gd name="connsiteX803" fmla="*/ 594781 w 3368309"/>
                <a:gd name="connsiteY803" fmla="*/ 1858631 h 2031151"/>
                <a:gd name="connsiteX804" fmla="*/ 597225 w 3368309"/>
                <a:gd name="connsiteY804" fmla="*/ 1860260 h 2031151"/>
                <a:gd name="connsiteX805" fmla="*/ 597225 w 3368309"/>
                <a:gd name="connsiteY805" fmla="*/ 1863355 h 2031151"/>
                <a:gd name="connsiteX806" fmla="*/ 593152 w 3368309"/>
                <a:gd name="connsiteY806" fmla="*/ 1862377 h 2031151"/>
                <a:gd name="connsiteX807" fmla="*/ 591360 w 3368309"/>
                <a:gd name="connsiteY807" fmla="*/ 1863029 h 2031151"/>
                <a:gd name="connsiteX808" fmla="*/ 586636 w 3368309"/>
                <a:gd name="connsiteY808" fmla="*/ 1861726 h 2031151"/>
                <a:gd name="connsiteX809" fmla="*/ 583378 w 3368309"/>
                <a:gd name="connsiteY809" fmla="*/ 1862540 h 2031151"/>
                <a:gd name="connsiteX810" fmla="*/ 590708 w 3368309"/>
                <a:gd name="connsiteY810" fmla="*/ 1866776 h 2031151"/>
                <a:gd name="connsiteX811" fmla="*/ 591686 w 3368309"/>
                <a:gd name="connsiteY811" fmla="*/ 1869708 h 2031151"/>
                <a:gd name="connsiteX812" fmla="*/ 589894 w 3368309"/>
                <a:gd name="connsiteY812" fmla="*/ 1871337 h 2031151"/>
                <a:gd name="connsiteX813" fmla="*/ 587450 w 3368309"/>
                <a:gd name="connsiteY813" fmla="*/ 1868894 h 2031151"/>
                <a:gd name="connsiteX814" fmla="*/ 583541 w 3368309"/>
                <a:gd name="connsiteY814" fmla="*/ 1869871 h 2031151"/>
                <a:gd name="connsiteX815" fmla="*/ 581260 w 3368309"/>
                <a:gd name="connsiteY815" fmla="*/ 1868894 h 2031151"/>
                <a:gd name="connsiteX816" fmla="*/ 578816 w 3368309"/>
                <a:gd name="connsiteY816" fmla="*/ 1868894 h 2031151"/>
                <a:gd name="connsiteX817" fmla="*/ 582563 w 3368309"/>
                <a:gd name="connsiteY817" fmla="*/ 1870523 h 2031151"/>
                <a:gd name="connsiteX818" fmla="*/ 583378 w 3368309"/>
                <a:gd name="connsiteY818" fmla="*/ 1872641 h 2031151"/>
                <a:gd name="connsiteX819" fmla="*/ 579794 w 3368309"/>
                <a:gd name="connsiteY819" fmla="*/ 1875247 h 2031151"/>
                <a:gd name="connsiteX820" fmla="*/ 576373 w 3368309"/>
                <a:gd name="connsiteY820" fmla="*/ 1875247 h 2031151"/>
                <a:gd name="connsiteX821" fmla="*/ 573929 w 3368309"/>
                <a:gd name="connsiteY821" fmla="*/ 1877202 h 2031151"/>
                <a:gd name="connsiteX822" fmla="*/ 571811 w 3368309"/>
                <a:gd name="connsiteY822" fmla="*/ 1875084 h 2031151"/>
                <a:gd name="connsiteX823" fmla="*/ 570671 w 3368309"/>
                <a:gd name="connsiteY823" fmla="*/ 1878017 h 2031151"/>
                <a:gd name="connsiteX824" fmla="*/ 568716 w 3368309"/>
                <a:gd name="connsiteY824" fmla="*/ 1879157 h 2031151"/>
                <a:gd name="connsiteX825" fmla="*/ 566272 w 3368309"/>
                <a:gd name="connsiteY825" fmla="*/ 1877202 h 2031151"/>
                <a:gd name="connsiteX826" fmla="*/ 563666 w 3368309"/>
                <a:gd name="connsiteY826" fmla="*/ 1876225 h 2031151"/>
                <a:gd name="connsiteX827" fmla="*/ 563666 w 3368309"/>
                <a:gd name="connsiteY827" fmla="*/ 1879483 h 2031151"/>
                <a:gd name="connsiteX828" fmla="*/ 561222 w 3368309"/>
                <a:gd name="connsiteY828" fmla="*/ 1883556 h 2031151"/>
                <a:gd name="connsiteX829" fmla="*/ 560082 w 3368309"/>
                <a:gd name="connsiteY829" fmla="*/ 1889257 h 2031151"/>
                <a:gd name="connsiteX830" fmla="*/ 557312 w 3368309"/>
                <a:gd name="connsiteY830" fmla="*/ 1891049 h 2031151"/>
                <a:gd name="connsiteX831" fmla="*/ 555683 w 3368309"/>
                <a:gd name="connsiteY831" fmla="*/ 1896425 h 2031151"/>
                <a:gd name="connsiteX832" fmla="*/ 553728 w 3368309"/>
                <a:gd name="connsiteY832" fmla="*/ 1900498 h 2031151"/>
                <a:gd name="connsiteX833" fmla="*/ 553728 w 3368309"/>
                <a:gd name="connsiteY833" fmla="*/ 1909947 h 2031151"/>
                <a:gd name="connsiteX834" fmla="*/ 550959 w 3368309"/>
                <a:gd name="connsiteY834" fmla="*/ 1911902 h 2031151"/>
                <a:gd name="connsiteX835" fmla="*/ 549330 w 3368309"/>
                <a:gd name="connsiteY835" fmla="*/ 1916463 h 2031151"/>
                <a:gd name="connsiteX836" fmla="*/ 551773 w 3368309"/>
                <a:gd name="connsiteY836" fmla="*/ 1925260 h 2031151"/>
                <a:gd name="connsiteX837" fmla="*/ 556009 w 3368309"/>
                <a:gd name="connsiteY837" fmla="*/ 1925749 h 2031151"/>
                <a:gd name="connsiteX838" fmla="*/ 559104 w 3368309"/>
                <a:gd name="connsiteY838" fmla="*/ 1924772 h 2031151"/>
                <a:gd name="connsiteX839" fmla="*/ 562362 w 3368309"/>
                <a:gd name="connsiteY839" fmla="*/ 1928844 h 2031151"/>
                <a:gd name="connsiteX840" fmla="*/ 567087 w 3368309"/>
                <a:gd name="connsiteY840" fmla="*/ 1930310 h 2031151"/>
                <a:gd name="connsiteX841" fmla="*/ 567087 w 3368309"/>
                <a:gd name="connsiteY841" fmla="*/ 1938782 h 2031151"/>
                <a:gd name="connsiteX842" fmla="*/ 572951 w 3368309"/>
                <a:gd name="connsiteY842" fmla="*/ 1942529 h 2031151"/>
                <a:gd name="connsiteX843" fmla="*/ 575558 w 3368309"/>
                <a:gd name="connsiteY843" fmla="*/ 1940085 h 2031151"/>
                <a:gd name="connsiteX844" fmla="*/ 578490 w 3368309"/>
                <a:gd name="connsiteY844" fmla="*/ 1940085 h 2031151"/>
                <a:gd name="connsiteX845" fmla="*/ 576535 w 3368309"/>
                <a:gd name="connsiteY845" fmla="*/ 1944158 h 2031151"/>
                <a:gd name="connsiteX846" fmla="*/ 575232 w 3368309"/>
                <a:gd name="connsiteY846" fmla="*/ 1948882 h 2031151"/>
                <a:gd name="connsiteX847" fmla="*/ 572626 w 3368309"/>
                <a:gd name="connsiteY847" fmla="*/ 1947742 h 2031151"/>
                <a:gd name="connsiteX848" fmla="*/ 572137 w 3368309"/>
                <a:gd name="connsiteY848" fmla="*/ 1952140 h 2031151"/>
                <a:gd name="connsiteX849" fmla="*/ 575558 w 3368309"/>
                <a:gd name="connsiteY849" fmla="*/ 1952140 h 2031151"/>
                <a:gd name="connsiteX850" fmla="*/ 576373 w 3368309"/>
                <a:gd name="connsiteY850" fmla="*/ 1954910 h 2031151"/>
                <a:gd name="connsiteX851" fmla="*/ 577839 w 3368309"/>
                <a:gd name="connsiteY851" fmla="*/ 1958331 h 2031151"/>
                <a:gd name="connsiteX852" fmla="*/ 578328 w 3368309"/>
                <a:gd name="connsiteY852" fmla="*/ 1965662 h 2031151"/>
                <a:gd name="connsiteX853" fmla="*/ 582237 w 3368309"/>
                <a:gd name="connsiteY853" fmla="*/ 1970060 h 2031151"/>
                <a:gd name="connsiteX854" fmla="*/ 583866 w 3368309"/>
                <a:gd name="connsiteY854" fmla="*/ 1977391 h 2031151"/>
                <a:gd name="connsiteX855" fmla="*/ 593478 w 3368309"/>
                <a:gd name="connsiteY855" fmla="*/ 1989121 h 2031151"/>
                <a:gd name="connsiteX856" fmla="*/ 607162 w 3368309"/>
                <a:gd name="connsiteY856" fmla="*/ 2000199 h 2031151"/>
                <a:gd name="connsiteX857" fmla="*/ 609443 w 3368309"/>
                <a:gd name="connsiteY857" fmla="*/ 2001828 h 2031151"/>
                <a:gd name="connsiteX858" fmla="*/ 609443 w 3368309"/>
                <a:gd name="connsiteY858" fmla="*/ 2002316 h 2031151"/>
                <a:gd name="connsiteX859" fmla="*/ 600646 w 3368309"/>
                <a:gd name="connsiteY859" fmla="*/ 2012742 h 2031151"/>
                <a:gd name="connsiteX860" fmla="*/ 593315 w 3368309"/>
                <a:gd name="connsiteY860" fmla="*/ 2016815 h 2031151"/>
                <a:gd name="connsiteX861" fmla="*/ 591034 w 3368309"/>
                <a:gd name="connsiteY861" fmla="*/ 2021214 h 2031151"/>
                <a:gd name="connsiteX862" fmla="*/ 579305 w 3368309"/>
                <a:gd name="connsiteY862" fmla="*/ 2020074 h 2031151"/>
                <a:gd name="connsiteX863" fmla="*/ 576047 w 3368309"/>
                <a:gd name="connsiteY863" fmla="*/ 2013720 h 2031151"/>
                <a:gd name="connsiteX864" fmla="*/ 564155 w 3368309"/>
                <a:gd name="connsiteY864" fmla="*/ 2004108 h 2031151"/>
                <a:gd name="connsiteX865" fmla="*/ 556823 w 3368309"/>
                <a:gd name="connsiteY865" fmla="*/ 2003294 h 2031151"/>
                <a:gd name="connsiteX866" fmla="*/ 554217 w 3368309"/>
                <a:gd name="connsiteY866" fmla="*/ 2012580 h 2031151"/>
                <a:gd name="connsiteX867" fmla="*/ 560896 w 3368309"/>
                <a:gd name="connsiteY867" fmla="*/ 2016652 h 2031151"/>
                <a:gd name="connsiteX868" fmla="*/ 564643 w 3368309"/>
                <a:gd name="connsiteY868" fmla="*/ 2021866 h 2031151"/>
                <a:gd name="connsiteX869" fmla="*/ 563177 w 3368309"/>
                <a:gd name="connsiteY869" fmla="*/ 2031151 h 2031151"/>
                <a:gd name="connsiteX870" fmla="*/ 553891 w 3368309"/>
                <a:gd name="connsiteY870" fmla="*/ 2026427 h 2031151"/>
                <a:gd name="connsiteX871" fmla="*/ 544280 w 3368309"/>
                <a:gd name="connsiteY871" fmla="*/ 2026101 h 2031151"/>
                <a:gd name="connsiteX872" fmla="*/ 529943 w 3368309"/>
                <a:gd name="connsiteY872" fmla="*/ 2017956 h 2031151"/>
                <a:gd name="connsiteX873" fmla="*/ 520332 w 3368309"/>
                <a:gd name="connsiteY873" fmla="*/ 2021702 h 2031151"/>
                <a:gd name="connsiteX874" fmla="*/ 519843 w 3368309"/>
                <a:gd name="connsiteY874" fmla="*/ 2025938 h 2031151"/>
                <a:gd name="connsiteX875" fmla="*/ 524730 w 3368309"/>
                <a:gd name="connsiteY875" fmla="*/ 2030500 h 2031151"/>
                <a:gd name="connsiteX876" fmla="*/ 518540 w 3368309"/>
                <a:gd name="connsiteY876" fmla="*/ 2024635 h 2031151"/>
                <a:gd name="connsiteX877" fmla="*/ 504204 w 3368309"/>
                <a:gd name="connsiteY877" fmla="*/ 2024961 h 2031151"/>
                <a:gd name="connsiteX878" fmla="*/ 500946 w 3368309"/>
                <a:gd name="connsiteY878" fmla="*/ 2024146 h 2031151"/>
                <a:gd name="connsiteX879" fmla="*/ 489542 w 3368309"/>
                <a:gd name="connsiteY879" fmla="*/ 2026753 h 2031151"/>
                <a:gd name="connsiteX880" fmla="*/ 481559 w 3368309"/>
                <a:gd name="connsiteY880" fmla="*/ 2029522 h 2031151"/>
                <a:gd name="connsiteX881" fmla="*/ 481234 w 3368309"/>
                <a:gd name="connsiteY881" fmla="*/ 2029033 h 2031151"/>
                <a:gd name="connsiteX882" fmla="*/ 476672 w 3368309"/>
                <a:gd name="connsiteY882" fmla="*/ 2027893 h 2031151"/>
                <a:gd name="connsiteX883" fmla="*/ 465920 w 3368309"/>
                <a:gd name="connsiteY883" fmla="*/ 2018933 h 2031151"/>
                <a:gd name="connsiteX884" fmla="*/ 461684 w 3368309"/>
                <a:gd name="connsiteY884" fmla="*/ 2017793 h 2031151"/>
                <a:gd name="connsiteX885" fmla="*/ 457937 w 3368309"/>
                <a:gd name="connsiteY885" fmla="*/ 2020888 h 2031151"/>
                <a:gd name="connsiteX886" fmla="*/ 454842 w 3368309"/>
                <a:gd name="connsiteY886" fmla="*/ 2021377 h 2031151"/>
                <a:gd name="connsiteX887" fmla="*/ 448163 w 3368309"/>
                <a:gd name="connsiteY887" fmla="*/ 2018770 h 2031151"/>
                <a:gd name="connsiteX888" fmla="*/ 445719 w 3368309"/>
                <a:gd name="connsiteY888" fmla="*/ 2021866 h 2031151"/>
                <a:gd name="connsiteX889" fmla="*/ 442787 w 3368309"/>
                <a:gd name="connsiteY889" fmla="*/ 2020888 h 2031151"/>
                <a:gd name="connsiteX890" fmla="*/ 441646 w 3368309"/>
                <a:gd name="connsiteY890" fmla="*/ 2016326 h 2031151"/>
                <a:gd name="connsiteX891" fmla="*/ 438389 w 3368309"/>
                <a:gd name="connsiteY891" fmla="*/ 2016001 h 2031151"/>
                <a:gd name="connsiteX892" fmla="*/ 438389 w 3368309"/>
                <a:gd name="connsiteY892" fmla="*/ 2016001 h 2031151"/>
                <a:gd name="connsiteX893" fmla="*/ 439203 w 3368309"/>
                <a:gd name="connsiteY893" fmla="*/ 2014860 h 2031151"/>
                <a:gd name="connsiteX894" fmla="*/ 438062 w 3368309"/>
                <a:gd name="connsiteY894" fmla="*/ 2010462 h 2031151"/>
                <a:gd name="connsiteX895" fmla="*/ 439855 w 3368309"/>
                <a:gd name="connsiteY895" fmla="*/ 2007529 h 2031151"/>
                <a:gd name="connsiteX896" fmla="*/ 435456 w 3368309"/>
                <a:gd name="connsiteY896" fmla="*/ 1999384 h 2031151"/>
                <a:gd name="connsiteX897" fmla="*/ 434153 w 3368309"/>
                <a:gd name="connsiteY897" fmla="*/ 1988795 h 2031151"/>
                <a:gd name="connsiteX898" fmla="*/ 431057 w 3368309"/>
                <a:gd name="connsiteY898" fmla="*/ 1984885 h 2031151"/>
                <a:gd name="connsiteX899" fmla="*/ 425682 w 3368309"/>
                <a:gd name="connsiteY899" fmla="*/ 1976414 h 2031151"/>
                <a:gd name="connsiteX900" fmla="*/ 419491 w 3368309"/>
                <a:gd name="connsiteY900" fmla="*/ 1975599 h 2031151"/>
                <a:gd name="connsiteX901" fmla="*/ 419165 w 3368309"/>
                <a:gd name="connsiteY901" fmla="*/ 1972341 h 2031151"/>
                <a:gd name="connsiteX902" fmla="*/ 412649 w 3368309"/>
                <a:gd name="connsiteY902" fmla="*/ 1966802 h 2031151"/>
                <a:gd name="connsiteX903" fmla="*/ 409879 w 3368309"/>
                <a:gd name="connsiteY903" fmla="*/ 1968594 h 2031151"/>
                <a:gd name="connsiteX904" fmla="*/ 407435 w 3368309"/>
                <a:gd name="connsiteY904" fmla="*/ 1967291 h 2031151"/>
                <a:gd name="connsiteX905" fmla="*/ 402385 w 3368309"/>
                <a:gd name="connsiteY905" fmla="*/ 1966476 h 2031151"/>
                <a:gd name="connsiteX906" fmla="*/ 398313 w 3368309"/>
                <a:gd name="connsiteY906" fmla="*/ 1960449 h 2031151"/>
                <a:gd name="connsiteX907" fmla="*/ 395543 w 3368309"/>
                <a:gd name="connsiteY907" fmla="*/ 1960449 h 2031151"/>
                <a:gd name="connsiteX908" fmla="*/ 390656 w 3368309"/>
                <a:gd name="connsiteY908" fmla="*/ 1958494 h 2031151"/>
                <a:gd name="connsiteX909" fmla="*/ 389027 w 3368309"/>
                <a:gd name="connsiteY909" fmla="*/ 1955073 h 2031151"/>
                <a:gd name="connsiteX910" fmla="*/ 384954 w 3368309"/>
                <a:gd name="connsiteY910" fmla="*/ 1955073 h 2031151"/>
                <a:gd name="connsiteX911" fmla="*/ 380882 w 3368309"/>
                <a:gd name="connsiteY911" fmla="*/ 1951326 h 2031151"/>
                <a:gd name="connsiteX912" fmla="*/ 379416 w 3368309"/>
                <a:gd name="connsiteY912" fmla="*/ 1948231 h 2031151"/>
                <a:gd name="connsiteX913" fmla="*/ 374691 w 3368309"/>
                <a:gd name="connsiteY913" fmla="*/ 1946601 h 2031151"/>
                <a:gd name="connsiteX914" fmla="*/ 371433 w 3368309"/>
                <a:gd name="connsiteY914" fmla="*/ 1940411 h 2031151"/>
                <a:gd name="connsiteX915" fmla="*/ 354979 w 3368309"/>
                <a:gd name="connsiteY915" fmla="*/ 1928356 h 2031151"/>
                <a:gd name="connsiteX916" fmla="*/ 348137 w 3368309"/>
                <a:gd name="connsiteY916" fmla="*/ 1926564 h 2031151"/>
                <a:gd name="connsiteX917" fmla="*/ 338199 w 3368309"/>
                <a:gd name="connsiteY917" fmla="*/ 1920536 h 2031151"/>
                <a:gd name="connsiteX918" fmla="*/ 328751 w 3368309"/>
                <a:gd name="connsiteY918" fmla="*/ 1921351 h 2031151"/>
                <a:gd name="connsiteX919" fmla="*/ 323212 w 3368309"/>
                <a:gd name="connsiteY919" fmla="*/ 1915486 h 2031151"/>
                <a:gd name="connsiteX920" fmla="*/ 322886 w 3368309"/>
                <a:gd name="connsiteY920" fmla="*/ 1911576 h 2031151"/>
                <a:gd name="connsiteX921" fmla="*/ 315881 w 3368309"/>
                <a:gd name="connsiteY921" fmla="*/ 1905711 h 2031151"/>
                <a:gd name="connsiteX922" fmla="*/ 312948 w 3368309"/>
                <a:gd name="connsiteY922" fmla="*/ 1905711 h 2031151"/>
                <a:gd name="connsiteX923" fmla="*/ 306921 w 3368309"/>
                <a:gd name="connsiteY923" fmla="*/ 1905060 h 2031151"/>
                <a:gd name="connsiteX924" fmla="*/ 310342 w 3368309"/>
                <a:gd name="connsiteY924" fmla="*/ 1902127 h 2031151"/>
                <a:gd name="connsiteX925" fmla="*/ 314252 w 3368309"/>
                <a:gd name="connsiteY925" fmla="*/ 1900335 h 2031151"/>
                <a:gd name="connsiteX926" fmla="*/ 312297 w 3368309"/>
                <a:gd name="connsiteY926" fmla="*/ 1896588 h 2031151"/>
                <a:gd name="connsiteX927" fmla="*/ 312297 w 3368309"/>
                <a:gd name="connsiteY927" fmla="*/ 1894308 h 2031151"/>
                <a:gd name="connsiteX928" fmla="*/ 318162 w 3368309"/>
                <a:gd name="connsiteY928" fmla="*/ 1895611 h 2031151"/>
                <a:gd name="connsiteX929" fmla="*/ 322234 w 3368309"/>
                <a:gd name="connsiteY929" fmla="*/ 1898706 h 2031151"/>
                <a:gd name="connsiteX930" fmla="*/ 323375 w 3368309"/>
                <a:gd name="connsiteY930" fmla="*/ 1897892 h 2031151"/>
                <a:gd name="connsiteX931" fmla="*/ 328425 w 3368309"/>
                <a:gd name="connsiteY931" fmla="*/ 1898706 h 2031151"/>
                <a:gd name="connsiteX932" fmla="*/ 329565 w 3368309"/>
                <a:gd name="connsiteY932" fmla="*/ 1891375 h 2031151"/>
                <a:gd name="connsiteX933" fmla="*/ 327121 w 3368309"/>
                <a:gd name="connsiteY933" fmla="*/ 1889583 h 2031151"/>
                <a:gd name="connsiteX934" fmla="*/ 327121 w 3368309"/>
                <a:gd name="connsiteY934" fmla="*/ 1884370 h 2031151"/>
                <a:gd name="connsiteX935" fmla="*/ 332498 w 3368309"/>
                <a:gd name="connsiteY935" fmla="*/ 1878994 h 2031151"/>
                <a:gd name="connsiteX936" fmla="*/ 332498 w 3368309"/>
                <a:gd name="connsiteY936" fmla="*/ 1877039 h 2031151"/>
                <a:gd name="connsiteX937" fmla="*/ 334616 w 3368309"/>
                <a:gd name="connsiteY937" fmla="*/ 1875084 h 2031151"/>
                <a:gd name="connsiteX938" fmla="*/ 338037 w 3368309"/>
                <a:gd name="connsiteY938" fmla="*/ 1875736 h 2031151"/>
                <a:gd name="connsiteX939" fmla="*/ 340154 w 3368309"/>
                <a:gd name="connsiteY939" fmla="*/ 1872641 h 2031151"/>
                <a:gd name="connsiteX940" fmla="*/ 343412 w 3368309"/>
                <a:gd name="connsiteY940" fmla="*/ 1871826 h 2031151"/>
                <a:gd name="connsiteX941" fmla="*/ 343412 w 3368309"/>
                <a:gd name="connsiteY941" fmla="*/ 1869708 h 2031151"/>
                <a:gd name="connsiteX942" fmla="*/ 338199 w 3368309"/>
                <a:gd name="connsiteY942" fmla="*/ 1868079 h 2031151"/>
                <a:gd name="connsiteX943" fmla="*/ 336896 w 3368309"/>
                <a:gd name="connsiteY943" fmla="*/ 1865310 h 2031151"/>
                <a:gd name="connsiteX944" fmla="*/ 334126 w 3368309"/>
                <a:gd name="connsiteY944" fmla="*/ 1867590 h 2031151"/>
                <a:gd name="connsiteX945" fmla="*/ 330380 w 3368309"/>
                <a:gd name="connsiteY945" fmla="*/ 1863844 h 2031151"/>
                <a:gd name="connsiteX946" fmla="*/ 326959 w 3368309"/>
                <a:gd name="connsiteY946" fmla="*/ 1856350 h 2031151"/>
                <a:gd name="connsiteX947" fmla="*/ 335593 w 3368309"/>
                <a:gd name="connsiteY947" fmla="*/ 1855209 h 2031151"/>
                <a:gd name="connsiteX948" fmla="*/ 341783 w 3368309"/>
                <a:gd name="connsiteY948" fmla="*/ 1856350 h 2031151"/>
                <a:gd name="connsiteX949" fmla="*/ 345041 w 3368309"/>
                <a:gd name="connsiteY949" fmla="*/ 1852603 h 2031151"/>
                <a:gd name="connsiteX950" fmla="*/ 341783 w 3368309"/>
                <a:gd name="connsiteY950" fmla="*/ 1852603 h 2031151"/>
                <a:gd name="connsiteX951" fmla="*/ 339340 w 3368309"/>
                <a:gd name="connsiteY951" fmla="*/ 1850159 h 2031151"/>
                <a:gd name="connsiteX952" fmla="*/ 344878 w 3368309"/>
                <a:gd name="connsiteY952" fmla="*/ 1846249 h 2031151"/>
                <a:gd name="connsiteX953" fmla="*/ 358237 w 3368309"/>
                <a:gd name="connsiteY953" fmla="*/ 1839081 h 2031151"/>
                <a:gd name="connsiteX954" fmla="*/ 359541 w 3368309"/>
                <a:gd name="connsiteY954" fmla="*/ 1835172 h 2031151"/>
                <a:gd name="connsiteX955" fmla="*/ 357911 w 3368309"/>
                <a:gd name="connsiteY955" fmla="*/ 1832402 h 2031151"/>
                <a:gd name="connsiteX956" fmla="*/ 351232 w 3368309"/>
                <a:gd name="connsiteY956" fmla="*/ 1833380 h 2031151"/>
                <a:gd name="connsiteX957" fmla="*/ 345693 w 3368309"/>
                <a:gd name="connsiteY957" fmla="*/ 1837289 h 2031151"/>
                <a:gd name="connsiteX958" fmla="*/ 340480 w 3368309"/>
                <a:gd name="connsiteY958" fmla="*/ 1836312 h 2031151"/>
                <a:gd name="connsiteX959" fmla="*/ 339503 w 3368309"/>
                <a:gd name="connsiteY959" fmla="*/ 1836638 h 2031151"/>
                <a:gd name="connsiteX960" fmla="*/ 339503 w 3368309"/>
                <a:gd name="connsiteY960" fmla="*/ 1836312 h 2031151"/>
                <a:gd name="connsiteX961" fmla="*/ 340806 w 3368309"/>
                <a:gd name="connsiteY961" fmla="*/ 1824745 h 2031151"/>
                <a:gd name="connsiteX962" fmla="*/ 344064 w 3368309"/>
                <a:gd name="connsiteY962" fmla="*/ 1823279 h 2031151"/>
                <a:gd name="connsiteX963" fmla="*/ 349603 w 3368309"/>
                <a:gd name="connsiteY963" fmla="*/ 1814482 h 2031151"/>
                <a:gd name="connsiteX964" fmla="*/ 361984 w 3368309"/>
                <a:gd name="connsiteY964" fmla="*/ 1813668 h 2031151"/>
                <a:gd name="connsiteX965" fmla="*/ 366546 w 3368309"/>
                <a:gd name="connsiteY965" fmla="*/ 1810246 h 2031151"/>
                <a:gd name="connsiteX966" fmla="*/ 365568 w 3368309"/>
                <a:gd name="connsiteY966" fmla="*/ 1803730 h 2031151"/>
                <a:gd name="connsiteX967" fmla="*/ 368664 w 3368309"/>
                <a:gd name="connsiteY967" fmla="*/ 1794281 h 2031151"/>
                <a:gd name="connsiteX968" fmla="*/ 367523 w 3368309"/>
                <a:gd name="connsiteY968" fmla="*/ 1786950 h 2031151"/>
                <a:gd name="connsiteX969" fmla="*/ 360192 w 3368309"/>
                <a:gd name="connsiteY969" fmla="*/ 1781737 h 2031151"/>
                <a:gd name="connsiteX970" fmla="*/ 361821 w 3368309"/>
                <a:gd name="connsiteY970" fmla="*/ 1770660 h 2031151"/>
                <a:gd name="connsiteX971" fmla="*/ 367197 w 3368309"/>
                <a:gd name="connsiteY971" fmla="*/ 1769519 h 2031151"/>
                <a:gd name="connsiteX972" fmla="*/ 371433 w 3368309"/>
                <a:gd name="connsiteY972" fmla="*/ 1763817 h 2031151"/>
                <a:gd name="connsiteX973" fmla="*/ 371433 w 3368309"/>
                <a:gd name="connsiteY973" fmla="*/ 1756975 h 2031151"/>
                <a:gd name="connsiteX974" fmla="*/ 367686 w 3368309"/>
                <a:gd name="connsiteY974" fmla="*/ 1755020 h 2031151"/>
                <a:gd name="connsiteX975" fmla="*/ 365405 w 3368309"/>
                <a:gd name="connsiteY975" fmla="*/ 1749156 h 2031151"/>
                <a:gd name="connsiteX976" fmla="*/ 361495 w 3368309"/>
                <a:gd name="connsiteY976" fmla="*/ 1753065 h 2031151"/>
                <a:gd name="connsiteX977" fmla="*/ 353676 w 3368309"/>
                <a:gd name="connsiteY977" fmla="*/ 1751599 h 2031151"/>
                <a:gd name="connsiteX978" fmla="*/ 346996 w 3368309"/>
                <a:gd name="connsiteY978" fmla="*/ 1747526 h 2031151"/>
                <a:gd name="connsiteX979" fmla="*/ 341457 w 3368309"/>
                <a:gd name="connsiteY979" fmla="*/ 1748504 h 2031151"/>
                <a:gd name="connsiteX980" fmla="*/ 336733 w 3368309"/>
                <a:gd name="connsiteY980" fmla="*/ 1745572 h 2031151"/>
                <a:gd name="connsiteX981" fmla="*/ 329891 w 3368309"/>
                <a:gd name="connsiteY981" fmla="*/ 1745572 h 2031151"/>
                <a:gd name="connsiteX982" fmla="*/ 320605 w 3368309"/>
                <a:gd name="connsiteY982" fmla="*/ 1743291 h 2031151"/>
                <a:gd name="connsiteX983" fmla="*/ 317184 w 3368309"/>
                <a:gd name="connsiteY983" fmla="*/ 1746712 h 2031151"/>
                <a:gd name="connsiteX984" fmla="*/ 314741 w 3368309"/>
                <a:gd name="connsiteY984" fmla="*/ 1741662 h 2031151"/>
                <a:gd name="connsiteX985" fmla="*/ 306758 w 3368309"/>
                <a:gd name="connsiteY985" fmla="*/ 1736611 h 2031151"/>
                <a:gd name="connsiteX986" fmla="*/ 301056 w 3368309"/>
                <a:gd name="connsiteY986" fmla="*/ 1724068 h 2031151"/>
                <a:gd name="connsiteX987" fmla="*/ 296983 w 3368309"/>
                <a:gd name="connsiteY987" fmla="*/ 1724556 h 2031151"/>
                <a:gd name="connsiteX988" fmla="*/ 288349 w 3368309"/>
                <a:gd name="connsiteY988" fmla="*/ 1731236 h 2031151"/>
                <a:gd name="connsiteX989" fmla="*/ 282810 w 3368309"/>
                <a:gd name="connsiteY989" fmla="*/ 1730095 h 2031151"/>
                <a:gd name="connsiteX990" fmla="*/ 276946 w 3368309"/>
                <a:gd name="connsiteY990" fmla="*/ 1731724 h 2031151"/>
                <a:gd name="connsiteX991" fmla="*/ 269778 w 3368309"/>
                <a:gd name="connsiteY991" fmla="*/ 1727814 h 2031151"/>
                <a:gd name="connsiteX992" fmla="*/ 265216 w 3368309"/>
                <a:gd name="connsiteY992" fmla="*/ 1733027 h 2031151"/>
                <a:gd name="connsiteX993" fmla="*/ 253650 w 3368309"/>
                <a:gd name="connsiteY993" fmla="*/ 1721787 h 2031151"/>
                <a:gd name="connsiteX994" fmla="*/ 250880 w 3368309"/>
                <a:gd name="connsiteY994" fmla="*/ 1713478 h 2031151"/>
                <a:gd name="connsiteX995" fmla="*/ 250880 w 3368309"/>
                <a:gd name="connsiteY995" fmla="*/ 1706473 h 2031151"/>
                <a:gd name="connsiteX996" fmla="*/ 246155 w 3368309"/>
                <a:gd name="connsiteY996" fmla="*/ 1705659 h 2031151"/>
                <a:gd name="connsiteX997" fmla="*/ 245504 w 3368309"/>
                <a:gd name="connsiteY997" fmla="*/ 1700283 h 2031151"/>
                <a:gd name="connsiteX998" fmla="*/ 240291 w 3368309"/>
                <a:gd name="connsiteY998" fmla="*/ 1695884 h 2031151"/>
                <a:gd name="connsiteX999" fmla="*/ 226118 w 3368309"/>
                <a:gd name="connsiteY999" fmla="*/ 1697839 h 2031151"/>
                <a:gd name="connsiteX1000" fmla="*/ 219113 w 3368309"/>
                <a:gd name="connsiteY1000" fmla="*/ 1688553 h 2031151"/>
                <a:gd name="connsiteX1001" fmla="*/ 222045 w 3368309"/>
                <a:gd name="connsiteY1001" fmla="*/ 1682852 h 2031151"/>
                <a:gd name="connsiteX1002" fmla="*/ 216669 w 3368309"/>
                <a:gd name="connsiteY1002" fmla="*/ 1678453 h 2031151"/>
                <a:gd name="connsiteX1003" fmla="*/ 212759 w 3368309"/>
                <a:gd name="connsiteY1003" fmla="*/ 1666723 h 2031151"/>
                <a:gd name="connsiteX1004" fmla="*/ 206894 w 3368309"/>
                <a:gd name="connsiteY1004" fmla="*/ 1666398 h 2031151"/>
                <a:gd name="connsiteX1005" fmla="*/ 200378 w 3368309"/>
                <a:gd name="connsiteY1005" fmla="*/ 1669819 h 2031151"/>
                <a:gd name="connsiteX1006" fmla="*/ 187346 w 3368309"/>
                <a:gd name="connsiteY1006" fmla="*/ 1669819 h 2031151"/>
                <a:gd name="connsiteX1007" fmla="*/ 174639 w 3368309"/>
                <a:gd name="connsiteY1007" fmla="*/ 1665583 h 2031151"/>
                <a:gd name="connsiteX1008" fmla="*/ 170728 w 3368309"/>
                <a:gd name="connsiteY1008" fmla="*/ 1669004 h 2031151"/>
                <a:gd name="connsiteX1009" fmla="*/ 171217 w 3368309"/>
                <a:gd name="connsiteY1009" fmla="*/ 1674380 h 2031151"/>
                <a:gd name="connsiteX1010" fmla="*/ 165353 w 3368309"/>
                <a:gd name="connsiteY1010" fmla="*/ 1675684 h 2031151"/>
                <a:gd name="connsiteX1011" fmla="*/ 161280 w 3368309"/>
                <a:gd name="connsiteY1011" fmla="*/ 1674706 h 2031151"/>
                <a:gd name="connsiteX1012" fmla="*/ 161280 w 3368309"/>
                <a:gd name="connsiteY1012" fmla="*/ 1668190 h 2031151"/>
                <a:gd name="connsiteX1013" fmla="*/ 155415 w 3368309"/>
                <a:gd name="connsiteY1013" fmla="*/ 1661510 h 2031151"/>
                <a:gd name="connsiteX1014" fmla="*/ 156067 w 3368309"/>
                <a:gd name="connsiteY1014" fmla="*/ 1654505 h 2031151"/>
                <a:gd name="connsiteX1015" fmla="*/ 150854 w 3368309"/>
                <a:gd name="connsiteY1015" fmla="*/ 1646360 h 2031151"/>
                <a:gd name="connsiteX1016" fmla="*/ 150528 w 3368309"/>
                <a:gd name="connsiteY1016" fmla="*/ 1640169 h 2031151"/>
                <a:gd name="connsiteX1017" fmla="*/ 152809 w 3368309"/>
                <a:gd name="connsiteY1017" fmla="*/ 1636097 h 2031151"/>
                <a:gd name="connsiteX1018" fmla="*/ 158348 w 3368309"/>
                <a:gd name="connsiteY1018" fmla="*/ 1641310 h 2031151"/>
                <a:gd name="connsiteX1019" fmla="*/ 171706 w 3368309"/>
                <a:gd name="connsiteY1019" fmla="*/ 1639518 h 2031151"/>
                <a:gd name="connsiteX1020" fmla="*/ 176919 w 3368309"/>
                <a:gd name="connsiteY1020" fmla="*/ 1631046 h 2031151"/>
                <a:gd name="connsiteX1021" fmla="*/ 179852 w 3368309"/>
                <a:gd name="connsiteY1021" fmla="*/ 1628440 h 2031151"/>
                <a:gd name="connsiteX1022" fmla="*/ 173173 w 3368309"/>
                <a:gd name="connsiteY1022" fmla="*/ 1624041 h 2031151"/>
                <a:gd name="connsiteX1023" fmla="*/ 172521 w 3368309"/>
                <a:gd name="connsiteY1023" fmla="*/ 1619317 h 2031151"/>
                <a:gd name="connsiteX1024" fmla="*/ 162909 w 3368309"/>
                <a:gd name="connsiteY1024" fmla="*/ 1610846 h 2031151"/>
                <a:gd name="connsiteX1025" fmla="*/ 154438 w 3368309"/>
                <a:gd name="connsiteY1025" fmla="*/ 1608565 h 2031151"/>
                <a:gd name="connsiteX1026" fmla="*/ 152157 w 3368309"/>
                <a:gd name="connsiteY1026" fmla="*/ 1600094 h 2031151"/>
                <a:gd name="connsiteX1027" fmla="*/ 146944 w 3368309"/>
                <a:gd name="connsiteY1027" fmla="*/ 1596347 h 2031151"/>
                <a:gd name="connsiteX1028" fmla="*/ 140265 w 3368309"/>
                <a:gd name="connsiteY1028" fmla="*/ 1587061 h 2031151"/>
                <a:gd name="connsiteX1029" fmla="*/ 137332 w 3368309"/>
                <a:gd name="connsiteY1029" fmla="*/ 1580056 h 2031151"/>
                <a:gd name="connsiteX1030" fmla="*/ 131468 w 3368309"/>
                <a:gd name="connsiteY1030" fmla="*/ 1573702 h 2031151"/>
                <a:gd name="connsiteX1031" fmla="*/ 131468 w 3368309"/>
                <a:gd name="connsiteY1031" fmla="*/ 1565883 h 2031151"/>
                <a:gd name="connsiteX1032" fmla="*/ 127069 w 3368309"/>
                <a:gd name="connsiteY1032" fmla="*/ 1560670 h 2031151"/>
                <a:gd name="connsiteX1033" fmla="*/ 128861 w 3368309"/>
                <a:gd name="connsiteY1033" fmla="*/ 1553990 h 2031151"/>
                <a:gd name="connsiteX1034" fmla="*/ 127395 w 3368309"/>
                <a:gd name="connsiteY1034" fmla="*/ 1548126 h 2031151"/>
                <a:gd name="connsiteX1035" fmla="*/ 116317 w 3368309"/>
                <a:gd name="connsiteY1035" fmla="*/ 1544053 h 2031151"/>
                <a:gd name="connsiteX1036" fmla="*/ 112570 w 3368309"/>
                <a:gd name="connsiteY1036" fmla="*/ 1544053 h 2031151"/>
                <a:gd name="connsiteX1037" fmla="*/ 109638 w 3368309"/>
                <a:gd name="connsiteY1037" fmla="*/ 1540306 h 2031151"/>
                <a:gd name="connsiteX1038" fmla="*/ 102307 w 3368309"/>
                <a:gd name="connsiteY1038" fmla="*/ 1542587 h 2031151"/>
                <a:gd name="connsiteX1039" fmla="*/ 95628 w 3368309"/>
                <a:gd name="connsiteY1039" fmla="*/ 1547800 h 2031151"/>
                <a:gd name="connsiteX1040" fmla="*/ 90903 w 3368309"/>
                <a:gd name="connsiteY1040" fmla="*/ 1539329 h 2031151"/>
                <a:gd name="connsiteX1041" fmla="*/ 85364 w 3368309"/>
                <a:gd name="connsiteY1041" fmla="*/ 1538514 h 2031151"/>
                <a:gd name="connsiteX1042" fmla="*/ 79174 w 3368309"/>
                <a:gd name="connsiteY1042" fmla="*/ 1541446 h 2031151"/>
                <a:gd name="connsiteX1043" fmla="*/ 73961 w 3368309"/>
                <a:gd name="connsiteY1043" fmla="*/ 1533301 h 2031151"/>
                <a:gd name="connsiteX1044" fmla="*/ 68422 w 3368309"/>
                <a:gd name="connsiteY1044" fmla="*/ 1536559 h 2031151"/>
                <a:gd name="connsiteX1045" fmla="*/ 64023 w 3368309"/>
                <a:gd name="connsiteY1045" fmla="*/ 1533627 h 2031151"/>
                <a:gd name="connsiteX1046" fmla="*/ 61905 w 3368309"/>
                <a:gd name="connsiteY1046" fmla="*/ 1534115 h 2031151"/>
                <a:gd name="connsiteX1047" fmla="*/ 61091 w 3368309"/>
                <a:gd name="connsiteY1047" fmla="*/ 1526947 h 2031151"/>
                <a:gd name="connsiteX1048" fmla="*/ 57670 w 3368309"/>
                <a:gd name="connsiteY1048" fmla="*/ 1522223 h 2031151"/>
                <a:gd name="connsiteX1049" fmla="*/ 54900 w 3368309"/>
                <a:gd name="connsiteY1049" fmla="*/ 1514892 h 2031151"/>
                <a:gd name="connsiteX1050" fmla="*/ 53271 w 3368309"/>
                <a:gd name="connsiteY1050" fmla="*/ 1512449 h 2031151"/>
                <a:gd name="connsiteX1051" fmla="*/ 50013 w 3368309"/>
                <a:gd name="connsiteY1051" fmla="*/ 1506258 h 2031151"/>
                <a:gd name="connsiteX1052" fmla="*/ 50665 w 3368309"/>
                <a:gd name="connsiteY1052" fmla="*/ 1503000 h 2031151"/>
                <a:gd name="connsiteX1053" fmla="*/ 49198 w 3368309"/>
                <a:gd name="connsiteY1053" fmla="*/ 1498764 h 2031151"/>
                <a:gd name="connsiteX1054" fmla="*/ 46918 w 3368309"/>
                <a:gd name="connsiteY1054" fmla="*/ 1496809 h 2031151"/>
                <a:gd name="connsiteX1055" fmla="*/ 48058 w 3368309"/>
                <a:gd name="connsiteY1055" fmla="*/ 1494366 h 2031151"/>
                <a:gd name="connsiteX1056" fmla="*/ 47407 w 3368309"/>
                <a:gd name="connsiteY1056" fmla="*/ 1489967 h 2031151"/>
                <a:gd name="connsiteX1057" fmla="*/ 42356 w 3368309"/>
                <a:gd name="connsiteY1057" fmla="*/ 1489153 h 2031151"/>
                <a:gd name="connsiteX1058" fmla="*/ 46103 w 3368309"/>
                <a:gd name="connsiteY1058" fmla="*/ 1483451 h 2031151"/>
                <a:gd name="connsiteX1059" fmla="*/ 45452 w 3368309"/>
                <a:gd name="connsiteY1059" fmla="*/ 1478726 h 2031151"/>
                <a:gd name="connsiteX1060" fmla="*/ 49525 w 3368309"/>
                <a:gd name="connsiteY1060" fmla="*/ 1475305 h 2031151"/>
                <a:gd name="connsiteX1061" fmla="*/ 49525 w 3368309"/>
                <a:gd name="connsiteY1061" fmla="*/ 1470092 h 2031151"/>
                <a:gd name="connsiteX1062" fmla="*/ 37795 w 3368309"/>
                <a:gd name="connsiteY1062" fmla="*/ 1448751 h 2031151"/>
                <a:gd name="connsiteX1063" fmla="*/ 39587 w 3368309"/>
                <a:gd name="connsiteY1063" fmla="*/ 1429528 h 2031151"/>
                <a:gd name="connsiteX1064" fmla="*/ 42519 w 3368309"/>
                <a:gd name="connsiteY1064" fmla="*/ 1427410 h 2031151"/>
                <a:gd name="connsiteX1065" fmla="*/ 44311 w 3368309"/>
                <a:gd name="connsiteY1065" fmla="*/ 1420079 h 2031151"/>
                <a:gd name="connsiteX1066" fmla="*/ 48384 w 3368309"/>
                <a:gd name="connsiteY1066" fmla="*/ 1415029 h 2031151"/>
                <a:gd name="connsiteX1067" fmla="*/ 49035 w 3368309"/>
                <a:gd name="connsiteY1067" fmla="*/ 1413400 h 2031151"/>
                <a:gd name="connsiteX1068" fmla="*/ 48710 w 3368309"/>
                <a:gd name="connsiteY1068" fmla="*/ 1412585 h 2031151"/>
                <a:gd name="connsiteX1069" fmla="*/ 46429 w 3368309"/>
                <a:gd name="connsiteY1069" fmla="*/ 1408675 h 2031151"/>
                <a:gd name="connsiteX1070" fmla="*/ 46429 w 3368309"/>
                <a:gd name="connsiteY1070" fmla="*/ 1408187 h 2031151"/>
                <a:gd name="connsiteX1071" fmla="*/ 47895 w 3368309"/>
                <a:gd name="connsiteY1071" fmla="*/ 1402648 h 2031151"/>
                <a:gd name="connsiteX1072" fmla="*/ 45614 w 3368309"/>
                <a:gd name="connsiteY1072" fmla="*/ 1398738 h 2031151"/>
                <a:gd name="connsiteX1073" fmla="*/ 45614 w 3368309"/>
                <a:gd name="connsiteY1073" fmla="*/ 1395806 h 2031151"/>
                <a:gd name="connsiteX1074" fmla="*/ 47895 w 3368309"/>
                <a:gd name="connsiteY1074" fmla="*/ 1394991 h 2031151"/>
                <a:gd name="connsiteX1075" fmla="*/ 50013 w 3368309"/>
                <a:gd name="connsiteY1075" fmla="*/ 1399227 h 2031151"/>
                <a:gd name="connsiteX1076" fmla="*/ 54737 w 3368309"/>
                <a:gd name="connsiteY1076" fmla="*/ 1397761 h 2031151"/>
                <a:gd name="connsiteX1077" fmla="*/ 54412 w 3368309"/>
                <a:gd name="connsiteY1077" fmla="*/ 1392710 h 2031151"/>
                <a:gd name="connsiteX1078" fmla="*/ 57344 w 3368309"/>
                <a:gd name="connsiteY1078" fmla="*/ 1390430 h 2031151"/>
                <a:gd name="connsiteX1079" fmla="*/ 62394 w 3368309"/>
                <a:gd name="connsiteY1079" fmla="*/ 1393525 h 2031151"/>
                <a:gd name="connsiteX1080" fmla="*/ 68585 w 3368309"/>
                <a:gd name="connsiteY1080" fmla="*/ 1388800 h 2031151"/>
                <a:gd name="connsiteX1081" fmla="*/ 69888 w 3368309"/>
                <a:gd name="connsiteY1081" fmla="*/ 1384402 h 2031151"/>
                <a:gd name="connsiteX1082" fmla="*/ 72983 w 3368309"/>
                <a:gd name="connsiteY1082" fmla="*/ 1383262 h 2031151"/>
                <a:gd name="connsiteX1083" fmla="*/ 80477 w 3368309"/>
                <a:gd name="connsiteY1083" fmla="*/ 1385705 h 2031151"/>
                <a:gd name="connsiteX1084" fmla="*/ 83572 w 3368309"/>
                <a:gd name="connsiteY1084" fmla="*/ 1381795 h 2031151"/>
                <a:gd name="connsiteX1085" fmla="*/ 79174 w 3368309"/>
                <a:gd name="connsiteY1085" fmla="*/ 1375442 h 2031151"/>
                <a:gd name="connsiteX1086" fmla="*/ 75101 w 3368309"/>
                <a:gd name="connsiteY1086" fmla="*/ 1375442 h 2031151"/>
                <a:gd name="connsiteX1087" fmla="*/ 72820 w 3368309"/>
                <a:gd name="connsiteY1087" fmla="*/ 1376419 h 2031151"/>
                <a:gd name="connsiteX1088" fmla="*/ 66955 w 3368309"/>
                <a:gd name="connsiteY1088" fmla="*/ 1376419 h 2031151"/>
                <a:gd name="connsiteX1089" fmla="*/ 63698 w 3368309"/>
                <a:gd name="connsiteY1089" fmla="*/ 1371532 h 2031151"/>
                <a:gd name="connsiteX1090" fmla="*/ 57670 w 3368309"/>
                <a:gd name="connsiteY1090" fmla="*/ 1371206 h 2031151"/>
                <a:gd name="connsiteX1091" fmla="*/ 51642 w 3368309"/>
                <a:gd name="connsiteY1091" fmla="*/ 1364690 h 2031151"/>
                <a:gd name="connsiteX1092" fmla="*/ 52619 w 3368309"/>
                <a:gd name="connsiteY1092" fmla="*/ 1361432 h 2031151"/>
                <a:gd name="connsiteX1093" fmla="*/ 58159 w 3368309"/>
                <a:gd name="connsiteY1093" fmla="*/ 1366156 h 2031151"/>
                <a:gd name="connsiteX1094" fmla="*/ 58159 w 3368309"/>
                <a:gd name="connsiteY1094" fmla="*/ 1361758 h 2031151"/>
                <a:gd name="connsiteX1095" fmla="*/ 56366 w 3368309"/>
                <a:gd name="connsiteY1095" fmla="*/ 1358499 h 2031151"/>
                <a:gd name="connsiteX1096" fmla="*/ 59950 w 3368309"/>
                <a:gd name="connsiteY1096" fmla="*/ 1355404 h 2031151"/>
                <a:gd name="connsiteX1097" fmla="*/ 54412 w 3368309"/>
                <a:gd name="connsiteY1097" fmla="*/ 1356382 h 2031151"/>
                <a:gd name="connsiteX1098" fmla="*/ 47244 w 3368309"/>
                <a:gd name="connsiteY1098" fmla="*/ 1360291 h 2031151"/>
                <a:gd name="connsiteX1099" fmla="*/ 46103 w 3368309"/>
                <a:gd name="connsiteY1099" fmla="*/ 1361595 h 2031151"/>
                <a:gd name="connsiteX1100" fmla="*/ 46103 w 3368309"/>
                <a:gd name="connsiteY1100" fmla="*/ 1361595 h 2031151"/>
                <a:gd name="connsiteX1101" fmla="*/ 45126 w 3368309"/>
                <a:gd name="connsiteY1101" fmla="*/ 1354590 h 2031151"/>
                <a:gd name="connsiteX1102" fmla="*/ 56855 w 3368309"/>
                <a:gd name="connsiteY1102" fmla="*/ 1343349 h 2031151"/>
                <a:gd name="connsiteX1103" fmla="*/ 62883 w 3368309"/>
                <a:gd name="connsiteY1103" fmla="*/ 1340416 h 2031151"/>
                <a:gd name="connsiteX1104" fmla="*/ 69725 w 3368309"/>
                <a:gd name="connsiteY1104" fmla="*/ 1328198 h 2031151"/>
                <a:gd name="connsiteX1105" fmla="*/ 76893 w 3368309"/>
                <a:gd name="connsiteY1105" fmla="*/ 1317446 h 2031151"/>
                <a:gd name="connsiteX1106" fmla="*/ 82269 w 3368309"/>
                <a:gd name="connsiteY1106" fmla="*/ 1304739 h 2031151"/>
                <a:gd name="connsiteX1107" fmla="*/ 92532 w 3368309"/>
                <a:gd name="connsiteY1107" fmla="*/ 1287308 h 2031151"/>
                <a:gd name="connsiteX1108" fmla="*/ 99863 w 3368309"/>
                <a:gd name="connsiteY1108" fmla="*/ 1269062 h 2031151"/>
                <a:gd name="connsiteX1109" fmla="*/ 98234 w 3368309"/>
                <a:gd name="connsiteY1109" fmla="*/ 1261243 h 2031151"/>
                <a:gd name="connsiteX1110" fmla="*/ 87156 w 3368309"/>
                <a:gd name="connsiteY1110" fmla="*/ 1248536 h 2031151"/>
                <a:gd name="connsiteX1111" fmla="*/ 80477 w 3368309"/>
                <a:gd name="connsiteY1111" fmla="*/ 1246255 h 2031151"/>
                <a:gd name="connsiteX1112" fmla="*/ 68748 w 3368309"/>
                <a:gd name="connsiteY1112" fmla="*/ 1229638 h 2031151"/>
                <a:gd name="connsiteX1113" fmla="*/ 70703 w 3368309"/>
                <a:gd name="connsiteY1113" fmla="*/ 1222145 h 2031151"/>
                <a:gd name="connsiteX1114" fmla="*/ 75427 w 3368309"/>
                <a:gd name="connsiteY1114" fmla="*/ 1215465 h 2031151"/>
                <a:gd name="connsiteX1115" fmla="*/ 74938 w 3368309"/>
                <a:gd name="connsiteY1115" fmla="*/ 1207971 h 2031151"/>
                <a:gd name="connsiteX1116" fmla="*/ 67282 w 3368309"/>
                <a:gd name="connsiteY1116" fmla="*/ 1202595 h 2031151"/>
                <a:gd name="connsiteX1117" fmla="*/ 64512 w 3368309"/>
                <a:gd name="connsiteY1117" fmla="*/ 1196731 h 2031151"/>
                <a:gd name="connsiteX1118" fmla="*/ 64186 w 3368309"/>
                <a:gd name="connsiteY1118" fmla="*/ 1187282 h 2031151"/>
                <a:gd name="connsiteX1119" fmla="*/ 66141 w 3368309"/>
                <a:gd name="connsiteY1119" fmla="*/ 1184838 h 2031151"/>
                <a:gd name="connsiteX1120" fmla="*/ 63860 w 3368309"/>
                <a:gd name="connsiteY1120" fmla="*/ 1180114 h 2031151"/>
                <a:gd name="connsiteX1121" fmla="*/ 57670 w 3368309"/>
                <a:gd name="connsiteY1121" fmla="*/ 1178974 h 2031151"/>
                <a:gd name="connsiteX1122" fmla="*/ 54412 w 3368309"/>
                <a:gd name="connsiteY1122" fmla="*/ 1174738 h 2031151"/>
                <a:gd name="connsiteX1123" fmla="*/ 54412 w 3368309"/>
                <a:gd name="connsiteY1123" fmla="*/ 1166267 h 2031151"/>
                <a:gd name="connsiteX1124" fmla="*/ 57833 w 3368309"/>
                <a:gd name="connsiteY1124" fmla="*/ 1161705 h 2031151"/>
                <a:gd name="connsiteX1125" fmla="*/ 52782 w 3368309"/>
                <a:gd name="connsiteY1125" fmla="*/ 1160402 h 2031151"/>
                <a:gd name="connsiteX1126" fmla="*/ 52782 w 3368309"/>
                <a:gd name="connsiteY1126" fmla="*/ 1156003 h 2031151"/>
                <a:gd name="connsiteX1127" fmla="*/ 53760 w 3368309"/>
                <a:gd name="connsiteY1127" fmla="*/ 1139387 h 2031151"/>
                <a:gd name="connsiteX1128" fmla="*/ 58321 w 3368309"/>
                <a:gd name="connsiteY1128" fmla="*/ 1138246 h 2031151"/>
                <a:gd name="connsiteX1129" fmla="*/ 46918 w 3368309"/>
                <a:gd name="connsiteY1129" fmla="*/ 1111692 h 2031151"/>
                <a:gd name="connsiteX1130" fmla="*/ 36328 w 3368309"/>
                <a:gd name="connsiteY1130" fmla="*/ 1092306 h 2031151"/>
                <a:gd name="connsiteX1131" fmla="*/ 34048 w 3368309"/>
                <a:gd name="connsiteY1131" fmla="*/ 1085138 h 2031151"/>
                <a:gd name="connsiteX1132" fmla="*/ 28020 w 3368309"/>
                <a:gd name="connsiteY1132" fmla="*/ 1078459 h 2031151"/>
                <a:gd name="connsiteX1133" fmla="*/ 32256 w 3368309"/>
                <a:gd name="connsiteY1133" fmla="*/ 1066240 h 2031151"/>
                <a:gd name="connsiteX1134" fmla="*/ 37469 w 3368309"/>
                <a:gd name="connsiteY1134" fmla="*/ 1057932 h 2031151"/>
                <a:gd name="connsiteX1135" fmla="*/ 39912 w 3368309"/>
                <a:gd name="connsiteY1135" fmla="*/ 1050438 h 2031151"/>
                <a:gd name="connsiteX1136" fmla="*/ 36817 w 3368309"/>
                <a:gd name="connsiteY1136" fmla="*/ 1047506 h 2031151"/>
                <a:gd name="connsiteX1137" fmla="*/ 25251 w 3368309"/>
                <a:gd name="connsiteY1137" fmla="*/ 1040175 h 2031151"/>
                <a:gd name="connsiteX1138" fmla="*/ 23296 w 3368309"/>
                <a:gd name="connsiteY1138" fmla="*/ 1035450 h 2031151"/>
                <a:gd name="connsiteX1139" fmla="*/ 19386 w 3368309"/>
                <a:gd name="connsiteY1139" fmla="*/ 1029586 h 2031151"/>
                <a:gd name="connsiteX1140" fmla="*/ 12381 w 3368309"/>
                <a:gd name="connsiteY1140" fmla="*/ 1025676 h 2031151"/>
                <a:gd name="connsiteX1141" fmla="*/ 8960 w 3368309"/>
                <a:gd name="connsiteY1141" fmla="*/ 1025187 h 2031151"/>
                <a:gd name="connsiteX1142" fmla="*/ 4561 w 3368309"/>
                <a:gd name="connsiteY1142" fmla="*/ 1013621 h 2031151"/>
                <a:gd name="connsiteX1143" fmla="*/ 1140 w 3368309"/>
                <a:gd name="connsiteY1143" fmla="*/ 1009385 h 2031151"/>
                <a:gd name="connsiteX1144" fmla="*/ 2932 w 3368309"/>
                <a:gd name="connsiteY1144" fmla="*/ 1000751 h 2031151"/>
                <a:gd name="connsiteX1145" fmla="*/ 4073 w 3368309"/>
                <a:gd name="connsiteY1145" fmla="*/ 993909 h 2031151"/>
                <a:gd name="connsiteX1146" fmla="*/ 0 w 3368309"/>
                <a:gd name="connsiteY1146" fmla="*/ 992605 h 2031151"/>
                <a:gd name="connsiteX1147" fmla="*/ 4073 w 3368309"/>
                <a:gd name="connsiteY1147" fmla="*/ 989673 h 2031151"/>
                <a:gd name="connsiteX1148" fmla="*/ 10752 w 3368309"/>
                <a:gd name="connsiteY1148" fmla="*/ 987067 h 2031151"/>
                <a:gd name="connsiteX1149" fmla="*/ 10752 w 3368309"/>
                <a:gd name="connsiteY1149" fmla="*/ 987067 h 2031151"/>
                <a:gd name="connsiteX1150" fmla="*/ 13847 w 3368309"/>
                <a:gd name="connsiteY1150" fmla="*/ 986252 h 2031151"/>
                <a:gd name="connsiteX1151" fmla="*/ 13847 w 3368309"/>
                <a:gd name="connsiteY1151" fmla="*/ 977292 h 2031151"/>
                <a:gd name="connsiteX1152" fmla="*/ 20852 w 3368309"/>
                <a:gd name="connsiteY1152" fmla="*/ 970776 h 2031151"/>
                <a:gd name="connsiteX1153" fmla="*/ 26880 w 3368309"/>
                <a:gd name="connsiteY1153" fmla="*/ 969961 h 2031151"/>
                <a:gd name="connsiteX1154" fmla="*/ 30790 w 3368309"/>
                <a:gd name="connsiteY1154" fmla="*/ 964585 h 2031151"/>
                <a:gd name="connsiteX1155" fmla="*/ 30301 w 3368309"/>
                <a:gd name="connsiteY1155" fmla="*/ 957254 h 2031151"/>
                <a:gd name="connsiteX1156" fmla="*/ 34537 w 3368309"/>
                <a:gd name="connsiteY1156" fmla="*/ 956928 h 2031151"/>
                <a:gd name="connsiteX1157" fmla="*/ 39750 w 3368309"/>
                <a:gd name="connsiteY1157" fmla="*/ 959046 h 2031151"/>
                <a:gd name="connsiteX1158" fmla="*/ 42845 w 3368309"/>
                <a:gd name="connsiteY1158" fmla="*/ 955136 h 2031151"/>
                <a:gd name="connsiteX1159" fmla="*/ 42845 w 3368309"/>
                <a:gd name="connsiteY1159" fmla="*/ 949923 h 2031151"/>
                <a:gd name="connsiteX1160" fmla="*/ 42845 w 3368309"/>
                <a:gd name="connsiteY1160" fmla="*/ 949923 h 2031151"/>
                <a:gd name="connsiteX1161" fmla="*/ 48384 w 3368309"/>
                <a:gd name="connsiteY1161" fmla="*/ 950575 h 2031151"/>
                <a:gd name="connsiteX1162" fmla="*/ 50502 w 3368309"/>
                <a:gd name="connsiteY1162" fmla="*/ 952530 h 2031151"/>
                <a:gd name="connsiteX1163" fmla="*/ 50502 w 3368309"/>
                <a:gd name="connsiteY1163" fmla="*/ 957580 h 2031151"/>
                <a:gd name="connsiteX1164" fmla="*/ 52619 w 3368309"/>
                <a:gd name="connsiteY1164" fmla="*/ 960838 h 2031151"/>
                <a:gd name="connsiteX1165" fmla="*/ 53271 w 3368309"/>
                <a:gd name="connsiteY1165" fmla="*/ 954485 h 2031151"/>
                <a:gd name="connsiteX1166" fmla="*/ 55226 w 3368309"/>
                <a:gd name="connsiteY1166" fmla="*/ 951064 h 2031151"/>
                <a:gd name="connsiteX1167" fmla="*/ 58647 w 3368309"/>
                <a:gd name="connsiteY1167" fmla="*/ 951389 h 2031151"/>
                <a:gd name="connsiteX1168" fmla="*/ 60928 w 3368309"/>
                <a:gd name="connsiteY1168" fmla="*/ 950249 h 2031151"/>
                <a:gd name="connsiteX1169" fmla="*/ 56529 w 3368309"/>
                <a:gd name="connsiteY1169" fmla="*/ 947317 h 2031151"/>
                <a:gd name="connsiteX1170" fmla="*/ 56529 w 3368309"/>
                <a:gd name="connsiteY1170" fmla="*/ 945362 h 2031151"/>
                <a:gd name="connsiteX1171" fmla="*/ 59462 w 3368309"/>
                <a:gd name="connsiteY1171" fmla="*/ 946013 h 2031151"/>
                <a:gd name="connsiteX1172" fmla="*/ 62557 w 3368309"/>
                <a:gd name="connsiteY1172" fmla="*/ 945362 h 2031151"/>
                <a:gd name="connsiteX1173" fmla="*/ 62557 w 3368309"/>
                <a:gd name="connsiteY1173" fmla="*/ 943407 h 2031151"/>
                <a:gd name="connsiteX1174" fmla="*/ 61091 w 3368309"/>
                <a:gd name="connsiteY1174" fmla="*/ 942918 h 2031151"/>
                <a:gd name="connsiteX1175" fmla="*/ 59299 w 3368309"/>
                <a:gd name="connsiteY1175" fmla="*/ 939986 h 2031151"/>
                <a:gd name="connsiteX1176" fmla="*/ 60439 w 3368309"/>
                <a:gd name="connsiteY1176" fmla="*/ 938357 h 2031151"/>
                <a:gd name="connsiteX1177" fmla="*/ 65326 w 3368309"/>
                <a:gd name="connsiteY1177" fmla="*/ 938845 h 2031151"/>
                <a:gd name="connsiteX1178" fmla="*/ 70377 w 3368309"/>
                <a:gd name="connsiteY1178" fmla="*/ 941289 h 2031151"/>
                <a:gd name="connsiteX1179" fmla="*/ 73146 w 3368309"/>
                <a:gd name="connsiteY1179" fmla="*/ 945036 h 2031151"/>
                <a:gd name="connsiteX1180" fmla="*/ 75916 w 3368309"/>
                <a:gd name="connsiteY1180" fmla="*/ 947317 h 2031151"/>
                <a:gd name="connsiteX1181" fmla="*/ 77871 w 3368309"/>
                <a:gd name="connsiteY1181" fmla="*/ 945362 h 2031151"/>
                <a:gd name="connsiteX1182" fmla="*/ 81780 w 3368309"/>
                <a:gd name="connsiteY1182" fmla="*/ 946991 h 2031151"/>
                <a:gd name="connsiteX1183" fmla="*/ 83084 w 3368309"/>
                <a:gd name="connsiteY1183" fmla="*/ 948783 h 2031151"/>
                <a:gd name="connsiteX1184" fmla="*/ 86179 w 3368309"/>
                <a:gd name="connsiteY1184" fmla="*/ 950738 h 2031151"/>
                <a:gd name="connsiteX1185" fmla="*/ 86505 w 3368309"/>
                <a:gd name="connsiteY1185" fmla="*/ 953507 h 2031151"/>
                <a:gd name="connsiteX1186" fmla="*/ 82106 w 3368309"/>
                <a:gd name="connsiteY1186" fmla="*/ 956928 h 2031151"/>
                <a:gd name="connsiteX1187" fmla="*/ 78196 w 3368309"/>
                <a:gd name="connsiteY1187" fmla="*/ 955136 h 2031151"/>
                <a:gd name="connsiteX1188" fmla="*/ 72169 w 3368309"/>
                <a:gd name="connsiteY1188" fmla="*/ 955951 h 2031151"/>
                <a:gd name="connsiteX1189" fmla="*/ 68259 w 3368309"/>
                <a:gd name="connsiteY1189" fmla="*/ 952041 h 2031151"/>
                <a:gd name="connsiteX1190" fmla="*/ 67933 w 3368309"/>
                <a:gd name="connsiteY1190" fmla="*/ 948783 h 2031151"/>
                <a:gd name="connsiteX1191" fmla="*/ 65164 w 3368309"/>
                <a:gd name="connsiteY1191" fmla="*/ 952367 h 2031151"/>
                <a:gd name="connsiteX1192" fmla="*/ 65164 w 3368309"/>
                <a:gd name="connsiteY1192" fmla="*/ 957906 h 2031151"/>
                <a:gd name="connsiteX1193" fmla="*/ 66467 w 3368309"/>
                <a:gd name="connsiteY1193" fmla="*/ 962467 h 2031151"/>
                <a:gd name="connsiteX1194" fmla="*/ 69888 w 3368309"/>
                <a:gd name="connsiteY1194" fmla="*/ 959046 h 2031151"/>
                <a:gd name="connsiteX1195" fmla="*/ 71843 w 3368309"/>
                <a:gd name="connsiteY1195" fmla="*/ 960512 h 2031151"/>
                <a:gd name="connsiteX1196" fmla="*/ 73146 w 3368309"/>
                <a:gd name="connsiteY1196" fmla="*/ 965074 h 2031151"/>
                <a:gd name="connsiteX1197" fmla="*/ 77219 w 3368309"/>
                <a:gd name="connsiteY1197" fmla="*/ 961653 h 2031151"/>
                <a:gd name="connsiteX1198" fmla="*/ 81455 w 3368309"/>
                <a:gd name="connsiteY1198" fmla="*/ 963119 h 2031151"/>
                <a:gd name="connsiteX1199" fmla="*/ 81943 w 3368309"/>
                <a:gd name="connsiteY1199" fmla="*/ 966866 h 2031151"/>
                <a:gd name="connsiteX1200" fmla="*/ 83246 w 3368309"/>
                <a:gd name="connsiteY1200" fmla="*/ 966540 h 2031151"/>
                <a:gd name="connsiteX1201" fmla="*/ 85527 w 3368309"/>
                <a:gd name="connsiteY1201" fmla="*/ 963445 h 2031151"/>
                <a:gd name="connsiteX1202" fmla="*/ 86830 w 3368309"/>
                <a:gd name="connsiteY1202" fmla="*/ 965074 h 2031151"/>
                <a:gd name="connsiteX1203" fmla="*/ 86179 w 3368309"/>
                <a:gd name="connsiteY1203" fmla="*/ 967029 h 2031151"/>
                <a:gd name="connsiteX1204" fmla="*/ 86179 w 3368309"/>
                <a:gd name="connsiteY1204" fmla="*/ 970287 h 2031151"/>
                <a:gd name="connsiteX1205" fmla="*/ 90414 w 3368309"/>
                <a:gd name="connsiteY1205" fmla="*/ 964911 h 2031151"/>
                <a:gd name="connsiteX1206" fmla="*/ 92695 w 3368309"/>
                <a:gd name="connsiteY1206" fmla="*/ 962630 h 2031151"/>
                <a:gd name="connsiteX1207" fmla="*/ 94813 w 3368309"/>
                <a:gd name="connsiteY1207" fmla="*/ 963771 h 2031151"/>
                <a:gd name="connsiteX1208" fmla="*/ 93510 w 3368309"/>
                <a:gd name="connsiteY1208" fmla="*/ 965725 h 2031151"/>
                <a:gd name="connsiteX1209" fmla="*/ 92532 w 3368309"/>
                <a:gd name="connsiteY1209" fmla="*/ 968658 h 2031151"/>
                <a:gd name="connsiteX1210" fmla="*/ 96442 w 3368309"/>
                <a:gd name="connsiteY1210" fmla="*/ 968658 h 2031151"/>
                <a:gd name="connsiteX1211" fmla="*/ 98234 w 3368309"/>
                <a:gd name="connsiteY1211" fmla="*/ 970776 h 2031151"/>
                <a:gd name="connsiteX1212" fmla="*/ 95139 w 3368309"/>
                <a:gd name="connsiteY1212" fmla="*/ 972730 h 2031151"/>
                <a:gd name="connsiteX1213" fmla="*/ 92044 w 3368309"/>
                <a:gd name="connsiteY1213" fmla="*/ 977618 h 2031151"/>
                <a:gd name="connsiteX1214" fmla="*/ 97419 w 3368309"/>
                <a:gd name="connsiteY1214" fmla="*/ 976966 h 2031151"/>
                <a:gd name="connsiteX1215" fmla="*/ 100678 w 3368309"/>
                <a:gd name="connsiteY1215" fmla="*/ 970776 h 2031151"/>
                <a:gd name="connsiteX1216" fmla="*/ 99700 w 3368309"/>
                <a:gd name="connsiteY1216" fmla="*/ 967517 h 2031151"/>
                <a:gd name="connsiteX1217" fmla="*/ 101655 w 3368309"/>
                <a:gd name="connsiteY1217" fmla="*/ 965563 h 2031151"/>
                <a:gd name="connsiteX1218" fmla="*/ 106868 w 3368309"/>
                <a:gd name="connsiteY1218" fmla="*/ 964911 h 2031151"/>
                <a:gd name="connsiteX1219" fmla="*/ 110289 w 3368309"/>
                <a:gd name="connsiteY1219" fmla="*/ 967354 h 2031151"/>
                <a:gd name="connsiteX1220" fmla="*/ 111104 w 3368309"/>
                <a:gd name="connsiteY1220" fmla="*/ 965074 h 2031151"/>
                <a:gd name="connsiteX1221" fmla="*/ 108334 w 3368309"/>
                <a:gd name="connsiteY1221" fmla="*/ 961327 h 2031151"/>
                <a:gd name="connsiteX1222" fmla="*/ 108334 w 3368309"/>
                <a:gd name="connsiteY1222" fmla="*/ 960024 h 2031151"/>
                <a:gd name="connsiteX1223" fmla="*/ 113385 w 3368309"/>
                <a:gd name="connsiteY1223" fmla="*/ 962141 h 2031151"/>
                <a:gd name="connsiteX1224" fmla="*/ 116643 w 3368309"/>
                <a:gd name="connsiteY1224" fmla="*/ 966540 h 2031151"/>
                <a:gd name="connsiteX1225" fmla="*/ 123974 w 3368309"/>
                <a:gd name="connsiteY1225" fmla="*/ 966866 h 2031151"/>
                <a:gd name="connsiteX1226" fmla="*/ 129024 w 3368309"/>
                <a:gd name="connsiteY1226" fmla="*/ 968821 h 2031151"/>
                <a:gd name="connsiteX1227" fmla="*/ 132934 w 3368309"/>
                <a:gd name="connsiteY1227" fmla="*/ 966703 h 2031151"/>
                <a:gd name="connsiteX1228" fmla="*/ 132282 w 3368309"/>
                <a:gd name="connsiteY1228" fmla="*/ 964259 h 2031151"/>
                <a:gd name="connsiteX1229" fmla="*/ 138473 w 3368309"/>
                <a:gd name="connsiteY1229" fmla="*/ 965563 h 2031151"/>
                <a:gd name="connsiteX1230" fmla="*/ 143849 w 3368309"/>
                <a:gd name="connsiteY1230" fmla="*/ 968821 h 2031151"/>
                <a:gd name="connsiteX1231" fmla="*/ 144663 w 3368309"/>
                <a:gd name="connsiteY1231" fmla="*/ 966703 h 2031151"/>
                <a:gd name="connsiteX1232" fmla="*/ 150691 w 3368309"/>
                <a:gd name="connsiteY1232" fmla="*/ 969146 h 2031151"/>
                <a:gd name="connsiteX1233" fmla="*/ 176757 w 3368309"/>
                <a:gd name="connsiteY1233" fmla="*/ 983157 h 2031151"/>
                <a:gd name="connsiteX1234" fmla="*/ 194351 w 3368309"/>
                <a:gd name="connsiteY1234" fmla="*/ 994723 h 2031151"/>
                <a:gd name="connsiteX1235" fmla="*/ 198098 w 3368309"/>
                <a:gd name="connsiteY1235" fmla="*/ 998959 h 2031151"/>
                <a:gd name="connsiteX1236" fmla="*/ 202985 w 3368309"/>
                <a:gd name="connsiteY1236" fmla="*/ 1000588 h 2031151"/>
                <a:gd name="connsiteX1237" fmla="*/ 209012 w 3368309"/>
                <a:gd name="connsiteY1237" fmla="*/ 1009548 h 2031151"/>
                <a:gd name="connsiteX1238" fmla="*/ 212922 w 3368309"/>
                <a:gd name="connsiteY1238" fmla="*/ 1010525 h 2031151"/>
                <a:gd name="connsiteX1239" fmla="*/ 211944 w 3368309"/>
                <a:gd name="connsiteY1239" fmla="*/ 1007593 h 2031151"/>
                <a:gd name="connsiteX1240" fmla="*/ 211944 w 3368309"/>
                <a:gd name="connsiteY1240" fmla="*/ 1005475 h 2031151"/>
                <a:gd name="connsiteX1241" fmla="*/ 214551 w 3368309"/>
                <a:gd name="connsiteY1241" fmla="*/ 1005475 h 2031151"/>
                <a:gd name="connsiteX1242" fmla="*/ 221882 w 3368309"/>
                <a:gd name="connsiteY1242" fmla="*/ 1012317 h 2031151"/>
                <a:gd name="connsiteX1243" fmla="*/ 225955 w 3368309"/>
                <a:gd name="connsiteY1243" fmla="*/ 1012643 h 2031151"/>
                <a:gd name="connsiteX1244" fmla="*/ 232308 w 3368309"/>
                <a:gd name="connsiteY1244" fmla="*/ 1018508 h 2031151"/>
                <a:gd name="connsiteX1245" fmla="*/ 236055 w 3368309"/>
                <a:gd name="connsiteY1245" fmla="*/ 1016879 h 2031151"/>
                <a:gd name="connsiteX1246" fmla="*/ 231982 w 3368309"/>
                <a:gd name="connsiteY1246" fmla="*/ 1010851 h 2031151"/>
                <a:gd name="connsiteX1247" fmla="*/ 230842 w 3368309"/>
                <a:gd name="connsiteY1247" fmla="*/ 1008408 h 2031151"/>
                <a:gd name="connsiteX1248" fmla="*/ 233612 w 3368309"/>
                <a:gd name="connsiteY1248" fmla="*/ 1008408 h 2031151"/>
                <a:gd name="connsiteX1249" fmla="*/ 238987 w 3368309"/>
                <a:gd name="connsiteY1249" fmla="*/ 1013784 h 2031151"/>
                <a:gd name="connsiteX1250" fmla="*/ 238662 w 3368309"/>
                <a:gd name="connsiteY1250" fmla="*/ 1018671 h 2031151"/>
                <a:gd name="connsiteX1251" fmla="*/ 248925 w 3368309"/>
                <a:gd name="connsiteY1251" fmla="*/ 1025839 h 2031151"/>
                <a:gd name="connsiteX1252" fmla="*/ 248273 w 3368309"/>
                <a:gd name="connsiteY1252" fmla="*/ 1029097 h 2031151"/>
                <a:gd name="connsiteX1253" fmla="*/ 254138 w 3368309"/>
                <a:gd name="connsiteY1253" fmla="*/ 1031867 h 2031151"/>
                <a:gd name="connsiteX1254" fmla="*/ 255278 w 3368309"/>
                <a:gd name="connsiteY1254" fmla="*/ 1029586 h 2031151"/>
                <a:gd name="connsiteX1255" fmla="*/ 259677 w 3368309"/>
                <a:gd name="connsiteY1255" fmla="*/ 1030563 h 2031151"/>
                <a:gd name="connsiteX1256" fmla="*/ 265053 w 3368309"/>
                <a:gd name="connsiteY1256" fmla="*/ 1036102 h 2031151"/>
                <a:gd name="connsiteX1257" fmla="*/ 266845 w 3368309"/>
                <a:gd name="connsiteY1257" fmla="*/ 1042456 h 2031151"/>
                <a:gd name="connsiteX1258" fmla="*/ 269941 w 3368309"/>
                <a:gd name="connsiteY1258" fmla="*/ 1044411 h 2031151"/>
                <a:gd name="connsiteX1259" fmla="*/ 274013 w 3368309"/>
                <a:gd name="connsiteY1259" fmla="*/ 1050764 h 2031151"/>
                <a:gd name="connsiteX1260" fmla="*/ 275968 w 3368309"/>
                <a:gd name="connsiteY1260" fmla="*/ 1050112 h 2031151"/>
                <a:gd name="connsiteX1261" fmla="*/ 277923 w 3368309"/>
                <a:gd name="connsiteY1261" fmla="*/ 1052067 h 2031151"/>
                <a:gd name="connsiteX1262" fmla="*/ 277923 w 3368309"/>
                <a:gd name="connsiteY1262" fmla="*/ 1058421 h 2031151"/>
                <a:gd name="connsiteX1263" fmla="*/ 278249 w 3368309"/>
                <a:gd name="connsiteY1263" fmla="*/ 1064448 h 2031151"/>
                <a:gd name="connsiteX1264" fmla="*/ 277108 w 3368309"/>
                <a:gd name="connsiteY1264" fmla="*/ 1071942 h 2031151"/>
                <a:gd name="connsiteX1265" fmla="*/ 275316 w 3368309"/>
                <a:gd name="connsiteY1265" fmla="*/ 1075852 h 2031151"/>
                <a:gd name="connsiteX1266" fmla="*/ 275316 w 3368309"/>
                <a:gd name="connsiteY1266" fmla="*/ 1079273 h 2031151"/>
                <a:gd name="connsiteX1267" fmla="*/ 269778 w 3368309"/>
                <a:gd name="connsiteY1267" fmla="*/ 1086441 h 2031151"/>
                <a:gd name="connsiteX1268" fmla="*/ 268800 w 3368309"/>
                <a:gd name="connsiteY1268" fmla="*/ 1089862 h 2031151"/>
                <a:gd name="connsiteX1269" fmla="*/ 259189 w 3368309"/>
                <a:gd name="connsiteY1269" fmla="*/ 1103058 h 2031151"/>
                <a:gd name="connsiteX1270" fmla="*/ 252183 w 3368309"/>
                <a:gd name="connsiteY1270" fmla="*/ 1106805 h 2031151"/>
                <a:gd name="connsiteX1271" fmla="*/ 243875 w 3368309"/>
                <a:gd name="connsiteY1271" fmla="*/ 1108434 h 2031151"/>
                <a:gd name="connsiteX1272" fmla="*/ 240128 w 3368309"/>
                <a:gd name="connsiteY1272" fmla="*/ 1111366 h 2031151"/>
                <a:gd name="connsiteX1273" fmla="*/ 232634 w 3368309"/>
                <a:gd name="connsiteY1273" fmla="*/ 1111366 h 2031151"/>
                <a:gd name="connsiteX1274" fmla="*/ 231168 w 3368309"/>
                <a:gd name="connsiteY1274" fmla="*/ 1113484 h 2031151"/>
                <a:gd name="connsiteX1275" fmla="*/ 219601 w 3368309"/>
                <a:gd name="connsiteY1275" fmla="*/ 1114787 h 2031151"/>
                <a:gd name="connsiteX1276" fmla="*/ 204777 w 3368309"/>
                <a:gd name="connsiteY1276" fmla="*/ 1113973 h 2031151"/>
                <a:gd name="connsiteX1277" fmla="*/ 196305 w 3368309"/>
                <a:gd name="connsiteY1277" fmla="*/ 1111529 h 2031151"/>
                <a:gd name="connsiteX1278" fmla="*/ 190278 w 3368309"/>
                <a:gd name="connsiteY1278" fmla="*/ 1107131 h 2031151"/>
                <a:gd name="connsiteX1279" fmla="*/ 186531 w 3368309"/>
                <a:gd name="connsiteY1279" fmla="*/ 1109900 h 2031151"/>
                <a:gd name="connsiteX1280" fmla="*/ 182295 w 3368309"/>
                <a:gd name="connsiteY1280" fmla="*/ 1108597 h 2031151"/>
                <a:gd name="connsiteX1281" fmla="*/ 175290 w 3368309"/>
                <a:gd name="connsiteY1281" fmla="*/ 1108597 h 2031151"/>
                <a:gd name="connsiteX1282" fmla="*/ 174313 w 3368309"/>
                <a:gd name="connsiteY1282" fmla="*/ 1105990 h 2031151"/>
                <a:gd name="connsiteX1283" fmla="*/ 170077 w 3368309"/>
                <a:gd name="connsiteY1283" fmla="*/ 1104687 h 2031151"/>
                <a:gd name="connsiteX1284" fmla="*/ 166167 w 3368309"/>
                <a:gd name="connsiteY1284" fmla="*/ 1107456 h 2031151"/>
                <a:gd name="connsiteX1285" fmla="*/ 159814 w 3368309"/>
                <a:gd name="connsiteY1285" fmla="*/ 1101266 h 2031151"/>
                <a:gd name="connsiteX1286" fmla="*/ 159814 w 3368309"/>
                <a:gd name="connsiteY1286" fmla="*/ 1098171 h 2031151"/>
                <a:gd name="connsiteX1287" fmla="*/ 154926 w 3368309"/>
                <a:gd name="connsiteY1287" fmla="*/ 1098985 h 2031151"/>
                <a:gd name="connsiteX1288" fmla="*/ 150528 w 3368309"/>
                <a:gd name="connsiteY1288" fmla="*/ 1098333 h 2031151"/>
                <a:gd name="connsiteX1289" fmla="*/ 152646 w 3368309"/>
                <a:gd name="connsiteY1289" fmla="*/ 1097193 h 2031151"/>
                <a:gd name="connsiteX1290" fmla="*/ 144500 w 3368309"/>
                <a:gd name="connsiteY1290" fmla="*/ 1097193 h 2031151"/>
                <a:gd name="connsiteX1291" fmla="*/ 142219 w 3368309"/>
                <a:gd name="connsiteY1291" fmla="*/ 1099474 h 2031151"/>
                <a:gd name="connsiteX1292" fmla="*/ 137169 w 3368309"/>
                <a:gd name="connsiteY1292" fmla="*/ 1099474 h 2031151"/>
                <a:gd name="connsiteX1293" fmla="*/ 137169 w 3368309"/>
                <a:gd name="connsiteY1293" fmla="*/ 1096379 h 2031151"/>
                <a:gd name="connsiteX1294" fmla="*/ 135214 w 3368309"/>
                <a:gd name="connsiteY1294" fmla="*/ 1094912 h 2031151"/>
                <a:gd name="connsiteX1295" fmla="*/ 138310 w 3368309"/>
                <a:gd name="connsiteY1295" fmla="*/ 1092795 h 2031151"/>
                <a:gd name="connsiteX1296" fmla="*/ 135052 w 3368309"/>
                <a:gd name="connsiteY1296" fmla="*/ 1089048 h 2031151"/>
                <a:gd name="connsiteX1297" fmla="*/ 134074 w 3368309"/>
                <a:gd name="connsiteY1297" fmla="*/ 1091166 h 2031151"/>
                <a:gd name="connsiteX1298" fmla="*/ 125766 w 3368309"/>
                <a:gd name="connsiteY1298" fmla="*/ 1091166 h 2031151"/>
                <a:gd name="connsiteX1299" fmla="*/ 120553 w 3368309"/>
                <a:gd name="connsiteY1299" fmla="*/ 1087419 h 2031151"/>
                <a:gd name="connsiteX1300" fmla="*/ 119575 w 3368309"/>
                <a:gd name="connsiteY1300" fmla="*/ 1089211 h 2031151"/>
                <a:gd name="connsiteX1301" fmla="*/ 116154 w 3368309"/>
                <a:gd name="connsiteY1301" fmla="*/ 1088885 h 2031151"/>
                <a:gd name="connsiteX1302" fmla="*/ 105076 w 3368309"/>
                <a:gd name="connsiteY1302" fmla="*/ 1079762 h 2031151"/>
                <a:gd name="connsiteX1303" fmla="*/ 104099 w 3368309"/>
                <a:gd name="connsiteY1303" fmla="*/ 1074875 h 2031151"/>
                <a:gd name="connsiteX1304" fmla="*/ 97582 w 3368309"/>
                <a:gd name="connsiteY1304" fmla="*/ 1074223 h 2031151"/>
                <a:gd name="connsiteX1305" fmla="*/ 96279 w 3368309"/>
                <a:gd name="connsiteY1305" fmla="*/ 1072757 h 2031151"/>
                <a:gd name="connsiteX1306" fmla="*/ 91555 w 3368309"/>
                <a:gd name="connsiteY1306" fmla="*/ 1072757 h 2031151"/>
                <a:gd name="connsiteX1307" fmla="*/ 90414 w 3368309"/>
                <a:gd name="connsiteY1307" fmla="*/ 1074549 h 2031151"/>
                <a:gd name="connsiteX1308" fmla="*/ 95791 w 3368309"/>
                <a:gd name="connsiteY1308" fmla="*/ 1078296 h 2031151"/>
                <a:gd name="connsiteX1309" fmla="*/ 96931 w 3368309"/>
                <a:gd name="connsiteY1309" fmla="*/ 1085627 h 2031151"/>
                <a:gd name="connsiteX1310" fmla="*/ 102959 w 3368309"/>
                <a:gd name="connsiteY1310" fmla="*/ 1089536 h 2031151"/>
                <a:gd name="connsiteX1311" fmla="*/ 104262 w 3368309"/>
                <a:gd name="connsiteY1311" fmla="*/ 1093446 h 2031151"/>
                <a:gd name="connsiteX1312" fmla="*/ 111755 w 3368309"/>
                <a:gd name="connsiteY1312" fmla="*/ 1095238 h 2031151"/>
                <a:gd name="connsiteX1313" fmla="*/ 113222 w 3368309"/>
                <a:gd name="connsiteY1313" fmla="*/ 1097030 h 2031151"/>
                <a:gd name="connsiteX1314" fmla="*/ 108171 w 3368309"/>
                <a:gd name="connsiteY1314" fmla="*/ 1099474 h 2031151"/>
                <a:gd name="connsiteX1315" fmla="*/ 105891 w 3368309"/>
                <a:gd name="connsiteY1315" fmla="*/ 1102569 h 2031151"/>
                <a:gd name="connsiteX1316" fmla="*/ 107031 w 3368309"/>
                <a:gd name="connsiteY1316" fmla="*/ 1103872 h 2031151"/>
                <a:gd name="connsiteX1317" fmla="*/ 115339 w 3368309"/>
                <a:gd name="connsiteY1317" fmla="*/ 1101755 h 2031151"/>
                <a:gd name="connsiteX1318" fmla="*/ 118761 w 3368309"/>
                <a:gd name="connsiteY1318" fmla="*/ 1099474 h 2031151"/>
                <a:gd name="connsiteX1319" fmla="*/ 122182 w 3368309"/>
                <a:gd name="connsiteY1319" fmla="*/ 1101917 h 2031151"/>
                <a:gd name="connsiteX1320" fmla="*/ 118435 w 3368309"/>
                <a:gd name="connsiteY1320" fmla="*/ 1103547 h 2031151"/>
                <a:gd name="connsiteX1321" fmla="*/ 118435 w 3368309"/>
                <a:gd name="connsiteY1321" fmla="*/ 1105013 h 2031151"/>
                <a:gd name="connsiteX1322" fmla="*/ 123974 w 3368309"/>
                <a:gd name="connsiteY1322" fmla="*/ 1105664 h 2031151"/>
                <a:gd name="connsiteX1323" fmla="*/ 122671 w 3368309"/>
                <a:gd name="connsiteY1323" fmla="*/ 1109574 h 2031151"/>
                <a:gd name="connsiteX1324" fmla="*/ 117620 w 3368309"/>
                <a:gd name="connsiteY1324" fmla="*/ 1110389 h 2031151"/>
                <a:gd name="connsiteX1325" fmla="*/ 115503 w 3368309"/>
                <a:gd name="connsiteY1325" fmla="*/ 1113321 h 2031151"/>
                <a:gd name="connsiteX1326" fmla="*/ 121530 w 3368309"/>
                <a:gd name="connsiteY1326" fmla="*/ 1114299 h 2031151"/>
                <a:gd name="connsiteX1327" fmla="*/ 123648 w 3368309"/>
                <a:gd name="connsiteY1327" fmla="*/ 1112670 h 2031151"/>
                <a:gd name="connsiteX1328" fmla="*/ 127721 w 3368309"/>
                <a:gd name="connsiteY1328" fmla="*/ 1112670 h 2031151"/>
                <a:gd name="connsiteX1329" fmla="*/ 130164 w 3368309"/>
                <a:gd name="connsiteY1329" fmla="*/ 1115439 h 2031151"/>
                <a:gd name="connsiteX1330" fmla="*/ 133260 w 3368309"/>
                <a:gd name="connsiteY1330" fmla="*/ 1113158 h 2031151"/>
                <a:gd name="connsiteX1331" fmla="*/ 144826 w 3368309"/>
                <a:gd name="connsiteY1331" fmla="*/ 1118045 h 2031151"/>
                <a:gd name="connsiteX1332" fmla="*/ 150365 w 3368309"/>
                <a:gd name="connsiteY1332" fmla="*/ 1125865 h 2031151"/>
                <a:gd name="connsiteX1333" fmla="*/ 153135 w 3368309"/>
                <a:gd name="connsiteY1333" fmla="*/ 1126517 h 2031151"/>
                <a:gd name="connsiteX1334" fmla="*/ 151343 w 3368309"/>
                <a:gd name="connsiteY1334" fmla="*/ 1129612 h 2031151"/>
                <a:gd name="connsiteX1335" fmla="*/ 151017 w 3368309"/>
                <a:gd name="connsiteY1335" fmla="*/ 1133033 h 2031151"/>
                <a:gd name="connsiteX1336" fmla="*/ 152809 w 3368309"/>
                <a:gd name="connsiteY1336" fmla="*/ 1133685 h 2031151"/>
                <a:gd name="connsiteX1337" fmla="*/ 153135 w 3368309"/>
                <a:gd name="connsiteY1337" fmla="*/ 1138735 h 2031151"/>
                <a:gd name="connsiteX1338" fmla="*/ 152320 w 3368309"/>
                <a:gd name="connsiteY1338" fmla="*/ 1146880 h 2031151"/>
                <a:gd name="connsiteX1339" fmla="*/ 148410 w 3368309"/>
                <a:gd name="connsiteY1339" fmla="*/ 1148184 h 2031151"/>
                <a:gd name="connsiteX1340" fmla="*/ 147433 w 3368309"/>
                <a:gd name="connsiteY1340" fmla="*/ 1152582 h 2031151"/>
                <a:gd name="connsiteX1341" fmla="*/ 151505 w 3368309"/>
                <a:gd name="connsiteY1341" fmla="*/ 1153723 h 2031151"/>
                <a:gd name="connsiteX1342" fmla="*/ 151831 w 3368309"/>
                <a:gd name="connsiteY1342" fmla="*/ 1159587 h 2031151"/>
                <a:gd name="connsiteX1343" fmla="*/ 158836 w 3368309"/>
                <a:gd name="connsiteY1343" fmla="*/ 1166429 h 2031151"/>
                <a:gd name="connsiteX1344" fmla="*/ 158836 w 3368309"/>
                <a:gd name="connsiteY1344" fmla="*/ 1170665 h 2031151"/>
                <a:gd name="connsiteX1345" fmla="*/ 163724 w 3368309"/>
                <a:gd name="connsiteY1345" fmla="*/ 1174412 h 2031151"/>
                <a:gd name="connsiteX1346" fmla="*/ 163724 w 3368309"/>
                <a:gd name="connsiteY1346" fmla="*/ 1179299 h 2031151"/>
                <a:gd name="connsiteX1347" fmla="*/ 164701 w 3368309"/>
                <a:gd name="connsiteY1347" fmla="*/ 1185327 h 2031151"/>
                <a:gd name="connsiteX1348" fmla="*/ 162583 w 3368309"/>
                <a:gd name="connsiteY1348" fmla="*/ 1189400 h 2031151"/>
                <a:gd name="connsiteX1349" fmla="*/ 165027 w 3368309"/>
                <a:gd name="connsiteY1349" fmla="*/ 1191843 h 2031151"/>
                <a:gd name="connsiteX1350" fmla="*/ 167308 w 3368309"/>
                <a:gd name="connsiteY1350" fmla="*/ 1195916 h 2031151"/>
                <a:gd name="connsiteX1351" fmla="*/ 177571 w 3368309"/>
                <a:gd name="connsiteY1351" fmla="*/ 1199663 h 2031151"/>
                <a:gd name="connsiteX1352" fmla="*/ 182295 w 3368309"/>
                <a:gd name="connsiteY1352" fmla="*/ 1195753 h 2031151"/>
                <a:gd name="connsiteX1353" fmla="*/ 184250 w 3368309"/>
                <a:gd name="connsiteY1353" fmla="*/ 1196079 h 2031151"/>
                <a:gd name="connsiteX1354" fmla="*/ 187671 w 3368309"/>
                <a:gd name="connsiteY1354" fmla="*/ 1200803 h 2031151"/>
                <a:gd name="connsiteX1355" fmla="*/ 192070 w 3368309"/>
                <a:gd name="connsiteY1355" fmla="*/ 1203573 h 2031151"/>
                <a:gd name="connsiteX1356" fmla="*/ 192721 w 3368309"/>
                <a:gd name="connsiteY1356" fmla="*/ 1209763 h 2031151"/>
                <a:gd name="connsiteX1357" fmla="*/ 195002 w 3368309"/>
                <a:gd name="connsiteY1357" fmla="*/ 1211555 h 2031151"/>
                <a:gd name="connsiteX1358" fmla="*/ 202985 w 3368309"/>
                <a:gd name="connsiteY1358" fmla="*/ 1211555 h 2031151"/>
                <a:gd name="connsiteX1359" fmla="*/ 206243 w 3368309"/>
                <a:gd name="connsiteY1359" fmla="*/ 1214488 h 2031151"/>
                <a:gd name="connsiteX1360" fmla="*/ 213574 w 3368309"/>
                <a:gd name="connsiteY1360" fmla="*/ 1214488 h 2031151"/>
                <a:gd name="connsiteX1361" fmla="*/ 218135 w 3368309"/>
                <a:gd name="connsiteY1361" fmla="*/ 1218886 h 2031151"/>
                <a:gd name="connsiteX1362" fmla="*/ 220905 w 3368309"/>
                <a:gd name="connsiteY1362" fmla="*/ 1218886 h 2031151"/>
                <a:gd name="connsiteX1363" fmla="*/ 226444 w 3368309"/>
                <a:gd name="connsiteY1363" fmla="*/ 1213184 h 2031151"/>
                <a:gd name="connsiteX1364" fmla="*/ 230679 w 3368309"/>
                <a:gd name="connsiteY1364" fmla="*/ 1212859 h 2031151"/>
                <a:gd name="connsiteX1365" fmla="*/ 233775 w 3368309"/>
                <a:gd name="connsiteY1365" fmla="*/ 1211555 h 2031151"/>
                <a:gd name="connsiteX1366" fmla="*/ 234100 w 3368309"/>
                <a:gd name="connsiteY1366" fmla="*/ 1203573 h 2031151"/>
                <a:gd name="connsiteX1367" fmla="*/ 230191 w 3368309"/>
                <a:gd name="connsiteY1367" fmla="*/ 1200152 h 2031151"/>
                <a:gd name="connsiteX1368" fmla="*/ 231982 w 3368309"/>
                <a:gd name="connsiteY1368" fmla="*/ 1197708 h 2031151"/>
                <a:gd name="connsiteX1369" fmla="*/ 231657 w 3368309"/>
                <a:gd name="connsiteY1369" fmla="*/ 1195753 h 2031151"/>
                <a:gd name="connsiteX1370" fmla="*/ 225955 w 3368309"/>
                <a:gd name="connsiteY1370" fmla="*/ 1193635 h 2031151"/>
                <a:gd name="connsiteX1371" fmla="*/ 225303 w 3368309"/>
                <a:gd name="connsiteY1371" fmla="*/ 1189563 h 2031151"/>
                <a:gd name="connsiteX1372" fmla="*/ 221230 w 3368309"/>
                <a:gd name="connsiteY1372" fmla="*/ 1192495 h 2031151"/>
                <a:gd name="connsiteX1373" fmla="*/ 218298 w 3368309"/>
                <a:gd name="connsiteY1373" fmla="*/ 1192495 h 2031151"/>
                <a:gd name="connsiteX1374" fmla="*/ 213411 w 3368309"/>
                <a:gd name="connsiteY1374" fmla="*/ 1194450 h 2031151"/>
                <a:gd name="connsiteX1375" fmla="*/ 207220 w 3368309"/>
                <a:gd name="connsiteY1375" fmla="*/ 1191355 h 2031151"/>
                <a:gd name="connsiteX1376" fmla="*/ 202822 w 3368309"/>
                <a:gd name="connsiteY1376" fmla="*/ 1185327 h 2031151"/>
                <a:gd name="connsiteX1377" fmla="*/ 195817 w 3368309"/>
                <a:gd name="connsiteY1377" fmla="*/ 1182069 h 2031151"/>
                <a:gd name="connsiteX1378" fmla="*/ 194514 w 3368309"/>
                <a:gd name="connsiteY1378" fmla="*/ 1176530 h 2031151"/>
                <a:gd name="connsiteX1379" fmla="*/ 190766 w 3368309"/>
                <a:gd name="connsiteY1379" fmla="*/ 1169525 h 2031151"/>
                <a:gd name="connsiteX1380" fmla="*/ 195817 w 3368309"/>
                <a:gd name="connsiteY1380" fmla="*/ 1169851 h 2031151"/>
                <a:gd name="connsiteX1381" fmla="*/ 199075 w 3368309"/>
                <a:gd name="connsiteY1381" fmla="*/ 1166592 h 2031151"/>
                <a:gd name="connsiteX1382" fmla="*/ 197283 w 3368309"/>
                <a:gd name="connsiteY1382" fmla="*/ 1163823 h 2031151"/>
                <a:gd name="connsiteX1383" fmla="*/ 198423 w 3368309"/>
                <a:gd name="connsiteY1383" fmla="*/ 1160891 h 2031151"/>
                <a:gd name="connsiteX1384" fmla="*/ 196957 w 3368309"/>
                <a:gd name="connsiteY1384" fmla="*/ 1157632 h 2031151"/>
                <a:gd name="connsiteX1385" fmla="*/ 198098 w 3368309"/>
                <a:gd name="connsiteY1385" fmla="*/ 1154374 h 2031151"/>
                <a:gd name="connsiteX1386" fmla="*/ 203962 w 3368309"/>
                <a:gd name="connsiteY1386" fmla="*/ 1154374 h 2031151"/>
                <a:gd name="connsiteX1387" fmla="*/ 209827 w 3368309"/>
                <a:gd name="connsiteY1387" fmla="*/ 1158121 h 2031151"/>
                <a:gd name="connsiteX1388" fmla="*/ 216995 w 3368309"/>
                <a:gd name="connsiteY1388" fmla="*/ 1159424 h 2031151"/>
                <a:gd name="connsiteX1389" fmla="*/ 220416 w 3368309"/>
                <a:gd name="connsiteY1389" fmla="*/ 1164800 h 2031151"/>
                <a:gd name="connsiteX1390" fmla="*/ 225141 w 3368309"/>
                <a:gd name="connsiteY1390" fmla="*/ 1168710 h 2031151"/>
                <a:gd name="connsiteX1391" fmla="*/ 234100 w 3368309"/>
                <a:gd name="connsiteY1391" fmla="*/ 1169036 h 2031151"/>
                <a:gd name="connsiteX1392" fmla="*/ 235892 w 3368309"/>
                <a:gd name="connsiteY1392" fmla="*/ 1172294 h 2031151"/>
                <a:gd name="connsiteX1393" fmla="*/ 241431 w 3368309"/>
                <a:gd name="connsiteY1393" fmla="*/ 1172946 h 2031151"/>
                <a:gd name="connsiteX1394" fmla="*/ 257722 w 3368309"/>
                <a:gd name="connsiteY1394" fmla="*/ 1180603 h 2031151"/>
                <a:gd name="connsiteX1395" fmla="*/ 264564 w 3368309"/>
                <a:gd name="connsiteY1395" fmla="*/ 1187119 h 2031151"/>
                <a:gd name="connsiteX1396" fmla="*/ 267334 w 3368309"/>
                <a:gd name="connsiteY1396" fmla="*/ 1182883 h 2031151"/>
                <a:gd name="connsiteX1397" fmla="*/ 271732 w 3368309"/>
                <a:gd name="connsiteY1397" fmla="*/ 1179136 h 2031151"/>
                <a:gd name="connsiteX1398" fmla="*/ 271732 w 3368309"/>
                <a:gd name="connsiteY1398" fmla="*/ 1173760 h 2031151"/>
                <a:gd name="connsiteX1399" fmla="*/ 275479 w 3368309"/>
                <a:gd name="connsiteY1399" fmla="*/ 1173598 h 2031151"/>
                <a:gd name="connsiteX1400" fmla="*/ 279389 w 3368309"/>
                <a:gd name="connsiteY1400" fmla="*/ 1169199 h 2031151"/>
                <a:gd name="connsiteX1401" fmla="*/ 272547 w 3368309"/>
                <a:gd name="connsiteY1401" fmla="*/ 1159099 h 2031151"/>
                <a:gd name="connsiteX1402" fmla="*/ 261306 w 3368309"/>
                <a:gd name="connsiteY1402" fmla="*/ 1147532 h 2031151"/>
                <a:gd name="connsiteX1403" fmla="*/ 258537 w 3368309"/>
                <a:gd name="connsiteY1403" fmla="*/ 1140038 h 2031151"/>
                <a:gd name="connsiteX1404" fmla="*/ 259189 w 3368309"/>
                <a:gd name="connsiteY1404" fmla="*/ 1135640 h 2031151"/>
                <a:gd name="connsiteX1405" fmla="*/ 266194 w 3368309"/>
                <a:gd name="connsiteY1405" fmla="*/ 1130101 h 2031151"/>
                <a:gd name="connsiteX1406" fmla="*/ 271732 w 3368309"/>
                <a:gd name="connsiteY1406" fmla="*/ 1122607 h 2031151"/>
                <a:gd name="connsiteX1407" fmla="*/ 273362 w 3368309"/>
                <a:gd name="connsiteY1407" fmla="*/ 1116091 h 2031151"/>
                <a:gd name="connsiteX1408" fmla="*/ 277597 w 3368309"/>
                <a:gd name="connsiteY1408" fmla="*/ 1112018 h 2031151"/>
                <a:gd name="connsiteX1409" fmla="*/ 283625 w 3368309"/>
                <a:gd name="connsiteY1409" fmla="*/ 1110878 h 2031151"/>
                <a:gd name="connsiteX1410" fmla="*/ 291933 w 3368309"/>
                <a:gd name="connsiteY1410" fmla="*/ 1104035 h 2031151"/>
                <a:gd name="connsiteX1411" fmla="*/ 297798 w 3368309"/>
                <a:gd name="connsiteY1411" fmla="*/ 1091654 h 2031151"/>
                <a:gd name="connsiteX1412" fmla="*/ 301219 w 3368309"/>
                <a:gd name="connsiteY1412" fmla="*/ 1088885 h 2031151"/>
                <a:gd name="connsiteX1413" fmla="*/ 307573 w 3368309"/>
                <a:gd name="connsiteY1413" fmla="*/ 1089862 h 2031151"/>
                <a:gd name="connsiteX1414" fmla="*/ 312623 w 3368309"/>
                <a:gd name="connsiteY1414" fmla="*/ 1093935 h 2031151"/>
                <a:gd name="connsiteX1415" fmla="*/ 319953 w 3368309"/>
                <a:gd name="connsiteY1415" fmla="*/ 1092958 h 2031151"/>
                <a:gd name="connsiteX1416" fmla="*/ 327936 w 3368309"/>
                <a:gd name="connsiteY1416" fmla="*/ 1093935 h 2031151"/>
                <a:gd name="connsiteX1417" fmla="*/ 330705 w 3368309"/>
                <a:gd name="connsiteY1417" fmla="*/ 1097356 h 2031151"/>
                <a:gd name="connsiteX1418" fmla="*/ 329891 w 3368309"/>
                <a:gd name="connsiteY1418" fmla="*/ 1102732 h 2031151"/>
                <a:gd name="connsiteX1419" fmla="*/ 336082 w 3368309"/>
                <a:gd name="connsiteY1419" fmla="*/ 1096867 h 2031151"/>
                <a:gd name="connsiteX1420" fmla="*/ 342435 w 3368309"/>
                <a:gd name="connsiteY1420" fmla="*/ 1101755 h 2031151"/>
                <a:gd name="connsiteX1421" fmla="*/ 344390 w 3368309"/>
                <a:gd name="connsiteY1421" fmla="*/ 1108108 h 2031151"/>
                <a:gd name="connsiteX1422" fmla="*/ 347648 w 3368309"/>
                <a:gd name="connsiteY1422" fmla="*/ 1111040 h 2031151"/>
                <a:gd name="connsiteX1423" fmla="*/ 346834 w 3368309"/>
                <a:gd name="connsiteY1423" fmla="*/ 1101755 h 2031151"/>
                <a:gd name="connsiteX1424" fmla="*/ 343412 w 3368309"/>
                <a:gd name="connsiteY1424" fmla="*/ 1094912 h 2031151"/>
                <a:gd name="connsiteX1425" fmla="*/ 345530 w 3368309"/>
                <a:gd name="connsiteY1425" fmla="*/ 1091980 h 2031151"/>
                <a:gd name="connsiteX1426" fmla="*/ 345530 w 3368309"/>
                <a:gd name="connsiteY1426" fmla="*/ 1080251 h 2031151"/>
                <a:gd name="connsiteX1427" fmla="*/ 346996 w 3368309"/>
                <a:gd name="connsiteY1427" fmla="*/ 1076504 h 2031151"/>
                <a:gd name="connsiteX1428" fmla="*/ 344716 w 3368309"/>
                <a:gd name="connsiteY1428" fmla="*/ 1074712 h 2031151"/>
                <a:gd name="connsiteX1429" fmla="*/ 344716 w 3368309"/>
                <a:gd name="connsiteY1429" fmla="*/ 1071779 h 2031151"/>
                <a:gd name="connsiteX1430" fmla="*/ 345530 w 3368309"/>
                <a:gd name="connsiteY1430" fmla="*/ 1069336 h 2031151"/>
                <a:gd name="connsiteX1431" fmla="*/ 344553 w 3368309"/>
                <a:gd name="connsiteY1431" fmla="*/ 1065915 h 2031151"/>
                <a:gd name="connsiteX1432" fmla="*/ 345530 w 3368309"/>
                <a:gd name="connsiteY1432" fmla="*/ 1063471 h 2031151"/>
                <a:gd name="connsiteX1433" fmla="*/ 341783 w 3368309"/>
                <a:gd name="connsiteY1433" fmla="*/ 1059398 h 2031151"/>
                <a:gd name="connsiteX1434" fmla="*/ 336244 w 3368309"/>
                <a:gd name="connsiteY1434" fmla="*/ 1056140 h 2031151"/>
                <a:gd name="connsiteX1435" fmla="*/ 328751 w 3368309"/>
                <a:gd name="connsiteY1435" fmla="*/ 1056466 h 2031151"/>
                <a:gd name="connsiteX1436" fmla="*/ 326633 w 3368309"/>
                <a:gd name="connsiteY1436" fmla="*/ 1050112 h 2031151"/>
                <a:gd name="connsiteX1437" fmla="*/ 328587 w 3368309"/>
                <a:gd name="connsiteY1437" fmla="*/ 1043596 h 2031151"/>
                <a:gd name="connsiteX1438" fmla="*/ 328587 w 3368309"/>
                <a:gd name="connsiteY1438" fmla="*/ 1032029 h 2031151"/>
                <a:gd name="connsiteX1439" fmla="*/ 330543 w 3368309"/>
                <a:gd name="connsiteY1439" fmla="*/ 1030400 h 2031151"/>
                <a:gd name="connsiteX1440" fmla="*/ 329402 w 3368309"/>
                <a:gd name="connsiteY1440" fmla="*/ 1026654 h 2031151"/>
                <a:gd name="connsiteX1441" fmla="*/ 329402 w 3368309"/>
                <a:gd name="connsiteY1441" fmla="*/ 1021766 h 2031151"/>
                <a:gd name="connsiteX1442" fmla="*/ 331683 w 3368309"/>
                <a:gd name="connsiteY1442" fmla="*/ 1019974 h 2031151"/>
                <a:gd name="connsiteX1443" fmla="*/ 328914 w 3368309"/>
                <a:gd name="connsiteY1443" fmla="*/ 1016553 h 2031151"/>
                <a:gd name="connsiteX1444" fmla="*/ 328914 w 3368309"/>
                <a:gd name="connsiteY1444" fmla="*/ 1010688 h 2031151"/>
                <a:gd name="connsiteX1445" fmla="*/ 325003 w 3368309"/>
                <a:gd name="connsiteY1445" fmla="*/ 999936 h 2031151"/>
                <a:gd name="connsiteX1446" fmla="*/ 317673 w 3368309"/>
                <a:gd name="connsiteY1446" fmla="*/ 994723 h 2031151"/>
                <a:gd name="connsiteX1447" fmla="*/ 305129 w 3368309"/>
                <a:gd name="connsiteY1447" fmla="*/ 984460 h 2031151"/>
                <a:gd name="connsiteX1448" fmla="*/ 305129 w 3368309"/>
                <a:gd name="connsiteY1448" fmla="*/ 981691 h 2031151"/>
                <a:gd name="connsiteX1449" fmla="*/ 310668 w 3368309"/>
                <a:gd name="connsiteY1449" fmla="*/ 981691 h 2031151"/>
                <a:gd name="connsiteX1450" fmla="*/ 321094 w 3368309"/>
                <a:gd name="connsiteY1450" fmla="*/ 988696 h 2031151"/>
                <a:gd name="connsiteX1451" fmla="*/ 327284 w 3368309"/>
                <a:gd name="connsiteY1451" fmla="*/ 988696 h 2031151"/>
                <a:gd name="connsiteX1452" fmla="*/ 331357 w 3368309"/>
                <a:gd name="connsiteY1452" fmla="*/ 986415 h 2031151"/>
                <a:gd name="connsiteX1453" fmla="*/ 340806 w 3368309"/>
                <a:gd name="connsiteY1453" fmla="*/ 985600 h 2031151"/>
                <a:gd name="connsiteX1454" fmla="*/ 354490 w 3368309"/>
                <a:gd name="connsiteY1454" fmla="*/ 986904 h 2031151"/>
                <a:gd name="connsiteX1455" fmla="*/ 360844 w 3368309"/>
                <a:gd name="connsiteY1455" fmla="*/ 990976 h 2031151"/>
                <a:gd name="connsiteX1456" fmla="*/ 360844 w 3368309"/>
                <a:gd name="connsiteY1456" fmla="*/ 995701 h 2031151"/>
                <a:gd name="connsiteX1457" fmla="*/ 366057 w 3368309"/>
                <a:gd name="connsiteY1457" fmla="*/ 1002054 h 2031151"/>
                <a:gd name="connsiteX1458" fmla="*/ 371921 w 3368309"/>
                <a:gd name="connsiteY1458" fmla="*/ 1002869 h 2031151"/>
                <a:gd name="connsiteX1459" fmla="*/ 372899 w 3368309"/>
                <a:gd name="connsiteY1459" fmla="*/ 1006941 h 2031151"/>
                <a:gd name="connsiteX1460" fmla="*/ 380067 w 3368309"/>
                <a:gd name="connsiteY1460" fmla="*/ 1016064 h 2031151"/>
                <a:gd name="connsiteX1461" fmla="*/ 379089 w 3368309"/>
                <a:gd name="connsiteY1461" fmla="*/ 1019974 h 2031151"/>
                <a:gd name="connsiteX1462" fmla="*/ 369967 w 3368309"/>
                <a:gd name="connsiteY1462" fmla="*/ 1019974 h 2031151"/>
                <a:gd name="connsiteX1463" fmla="*/ 367686 w 3368309"/>
                <a:gd name="connsiteY1463" fmla="*/ 1023232 h 2031151"/>
                <a:gd name="connsiteX1464" fmla="*/ 359703 w 3368309"/>
                <a:gd name="connsiteY1464" fmla="*/ 1023232 h 2031151"/>
                <a:gd name="connsiteX1465" fmla="*/ 357260 w 3368309"/>
                <a:gd name="connsiteY1465" fmla="*/ 1026165 h 2031151"/>
                <a:gd name="connsiteX1466" fmla="*/ 358074 w 3368309"/>
                <a:gd name="connsiteY1466" fmla="*/ 1029097 h 2031151"/>
                <a:gd name="connsiteX1467" fmla="*/ 355957 w 3368309"/>
                <a:gd name="connsiteY1467" fmla="*/ 1032844 h 2031151"/>
                <a:gd name="connsiteX1468" fmla="*/ 353187 w 3368309"/>
                <a:gd name="connsiteY1468" fmla="*/ 1031215 h 2031151"/>
                <a:gd name="connsiteX1469" fmla="*/ 351884 w 3368309"/>
                <a:gd name="connsiteY1469" fmla="*/ 1034147 h 2031151"/>
                <a:gd name="connsiteX1470" fmla="*/ 351558 w 3368309"/>
                <a:gd name="connsiteY1470" fmla="*/ 1041641 h 2031151"/>
                <a:gd name="connsiteX1471" fmla="*/ 355305 w 3368309"/>
                <a:gd name="connsiteY1471" fmla="*/ 1043596 h 2031151"/>
                <a:gd name="connsiteX1472" fmla="*/ 365894 w 3368309"/>
                <a:gd name="connsiteY1472" fmla="*/ 1052556 h 2031151"/>
                <a:gd name="connsiteX1473" fmla="*/ 376157 w 3368309"/>
                <a:gd name="connsiteY1473" fmla="*/ 1065915 h 2031151"/>
                <a:gd name="connsiteX1474" fmla="*/ 380719 w 3368309"/>
                <a:gd name="connsiteY1474" fmla="*/ 1065915 h 2031151"/>
                <a:gd name="connsiteX1475" fmla="*/ 387561 w 3368309"/>
                <a:gd name="connsiteY1475" fmla="*/ 1061027 h 2031151"/>
                <a:gd name="connsiteX1476" fmla="*/ 390656 w 3368309"/>
                <a:gd name="connsiteY1476" fmla="*/ 1066566 h 2031151"/>
                <a:gd name="connsiteX1477" fmla="*/ 392937 w 3368309"/>
                <a:gd name="connsiteY1477" fmla="*/ 1063471 h 2031151"/>
                <a:gd name="connsiteX1478" fmla="*/ 398313 w 3368309"/>
                <a:gd name="connsiteY1478" fmla="*/ 1063471 h 2031151"/>
                <a:gd name="connsiteX1479" fmla="*/ 399616 w 3368309"/>
                <a:gd name="connsiteY1479" fmla="*/ 1060701 h 2031151"/>
                <a:gd name="connsiteX1480" fmla="*/ 408739 w 3368309"/>
                <a:gd name="connsiteY1480" fmla="*/ 1056629 h 2031151"/>
                <a:gd name="connsiteX1481" fmla="*/ 410531 w 3368309"/>
                <a:gd name="connsiteY1481" fmla="*/ 1051253 h 2031151"/>
                <a:gd name="connsiteX1482" fmla="*/ 408250 w 3368309"/>
                <a:gd name="connsiteY1482" fmla="*/ 1043596 h 2031151"/>
                <a:gd name="connsiteX1483" fmla="*/ 411508 w 3368309"/>
                <a:gd name="connsiteY1483" fmla="*/ 1037731 h 2031151"/>
                <a:gd name="connsiteX1484" fmla="*/ 411508 w 3368309"/>
                <a:gd name="connsiteY1484" fmla="*/ 1033170 h 2031151"/>
                <a:gd name="connsiteX1485" fmla="*/ 407435 w 3368309"/>
                <a:gd name="connsiteY1485" fmla="*/ 1028283 h 2031151"/>
                <a:gd name="connsiteX1486" fmla="*/ 410205 w 3368309"/>
                <a:gd name="connsiteY1486" fmla="*/ 1026328 h 2031151"/>
                <a:gd name="connsiteX1487" fmla="*/ 423889 w 3368309"/>
                <a:gd name="connsiteY1487" fmla="*/ 1024536 h 2031151"/>
                <a:gd name="connsiteX1488" fmla="*/ 426007 w 3368309"/>
                <a:gd name="connsiteY1488" fmla="*/ 1021603 h 2031151"/>
                <a:gd name="connsiteX1489" fmla="*/ 434316 w 3368309"/>
                <a:gd name="connsiteY1489" fmla="*/ 1024699 h 2031151"/>
                <a:gd name="connsiteX1490" fmla="*/ 433175 w 3368309"/>
                <a:gd name="connsiteY1490" fmla="*/ 1020789 h 2031151"/>
                <a:gd name="connsiteX1491" fmla="*/ 426496 w 3368309"/>
                <a:gd name="connsiteY1491" fmla="*/ 1015738 h 2031151"/>
                <a:gd name="connsiteX1492" fmla="*/ 424378 w 3368309"/>
                <a:gd name="connsiteY1492" fmla="*/ 1010688 h 2031151"/>
                <a:gd name="connsiteX1493" fmla="*/ 426822 w 3368309"/>
                <a:gd name="connsiteY1493" fmla="*/ 1010688 h 2031151"/>
                <a:gd name="connsiteX1494" fmla="*/ 430732 w 3368309"/>
                <a:gd name="connsiteY1494" fmla="*/ 1014435 h 2031151"/>
                <a:gd name="connsiteX1495" fmla="*/ 434967 w 3368309"/>
                <a:gd name="connsiteY1495" fmla="*/ 1012154 h 2031151"/>
                <a:gd name="connsiteX1496" fmla="*/ 444416 w 3368309"/>
                <a:gd name="connsiteY1496" fmla="*/ 1000588 h 2031151"/>
                <a:gd name="connsiteX1497" fmla="*/ 447348 w 3368309"/>
                <a:gd name="connsiteY1497" fmla="*/ 999773 h 2031151"/>
                <a:gd name="connsiteX1498" fmla="*/ 457775 w 3368309"/>
                <a:gd name="connsiteY1498" fmla="*/ 987067 h 2031151"/>
                <a:gd name="connsiteX1499" fmla="*/ 457775 w 3368309"/>
                <a:gd name="connsiteY1499" fmla="*/ 984134 h 2031151"/>
                <a:gd name="connsiteX1500" fmla="*/ 460870 w 3368309"/>
                <a:gd name="connsiteY1500" fmla="*/ 982505 h 2031151"/>
                <a:gd name="connsiteX1501" fmla="*/ 466409 w 3368309"/>
                <a:gd name="connsiteY1501" fmla="*/ 983483 h 2031151"/>
                <a:gd name="connsiteX1502" fmla="*/ 473414 w 3368309"/>
                <a:gd name="connsiteY1502" fmla="*/ 980224 h 2031151"/>
                <a:gd name="connsiteX1503" fmla="*/ 474717 w 3368309"/>
                <a:gd name="connsiteY1503" fmla="*/ 976966 h 2031151"/>
                <a:gd name="connsiteX1504" fmla="*/ 484655 w 3368309"/>
                <a:gd name="connsiteY1504" fmla="*/ 973871 h 2031151"/>
                <a:gd name="connsiteX1505" fmla="*/ 485307 w 3368309"/>
                <a:gd name="connsiteY1505" fmla="*/ 977781 h 2031151"/>
                <a:gd name="connsiteX1506" fmla="*/ 487098 w 3368309"/>
                <a:gd name="connsiteY1506" fmla="*/ 977781 h 2031151"/>
                <a:gd name="connsiteX1507" fmla="*/ 488076 w 3368309"/>
                <a:gd name="connsiteY1507" fmla="*/ 981853 h 2031151"/>
                <a:gd name="connsiteX1508" fmla="*/ 486284 w 3368309"/>
                <a:gd name="connsiteY1508" fmla="*/ 984786 h 2031151"/>
                <a:gd name="connsiteX1509" fmla="*/ 489053 w 3368309"/>
                <a:gd name="connsiteY1509" fmla="*/ 986741 h 2031151"/>
                <a:gd name="connsiteX1510" fmla="*/ 494918 w 3368309"/>
                <a:gd name="connsiteY1510" fmla="*/ 981039 h 2031151"/>
                <a:gd name="connsiteX1511" fmla="*/ 495569 w 3368309"/>
                <a:gd name="connsiteY1511" fmla="*/ 977292 h 2031151"/>
                <a:gd name="connsiteX1512" fmla="*/ 492637 w 3368309"/>
                <a:gd name="connsiteY1512" fmla="*/ 975989 h 2031151"/>
                <a:gd name="connsiteX1513" fmla="*/ 488890 w 3368309"/>
                <a:gd name="connsiteY1513" fmla="*/ 972079 h 2031151"/>
                <a:gd name="connsiteX1514" fmla="*/ 488564 w 3368309"/>
                <a:gd name="connsiteY1514" fmla="*/ 969798 h 2031151"/>
                <a:gd name="connsiteX1515" fmla="*/ 498013 w 3368309"/>
                <a:gd name="connsiteY1515" fmla="*/ 960512 h 2031151"/>
                <a:gd name="connsiteX1516" fmla="*/ 499642 w 3368309"/>
                <a:gd name="connsiteY1516" fmla="*/ 960512 h 2031151"/>
                <a:gd name="connsiteX1517" fmla="*/ 500457 w 3368309"/>
                <a:gd name="connsiteY1517" fmla="*/ 963608 h 2031151"/>
                <a:gd name="connsiteX1518" fmla="*/ 498665 w 3368309"/>
                <a:gd name="connsiteY1518" fmla="*/ 964585 h 2031151"/>
                <a:gd name="connsiteX1519" fmla="*/ 496873 w 3368309"/>
                <a:gd name="connsiteY1519" fmla="*/ 967029 h 2031151"/>
                <a:gd name="connsiteX1520" fmla="*/ 501597 w 3368309"/>
                <a:gd name="connsiteY1520" fmla="*/ 972242 h 2031151"/>
                <a:gd name="connsiteX1521" fmla="*/ 504692 w 3368309"/>
                <a:gd name="connsiteY1521" fmla="*/ 971264 h 2031151"/>
                <a:gd name="connsiteX1522" fmla="*/ 507462 w 3368309"/>
                <a:gd name="connsiteY1522" fmla="*/ 967517 h 2031151"/>
                <a:gd name="connsiteX1523" fmla="*/ 505507 w 3368309"/>
                <a:gd name="connsiteY1523" fmla="*/ 964422 h 2031151"/>
                <a:gd name="connsiteX1524" fmla="*/ 504041 w 3368309"/>
                <a:gd name="connsiteY1524" fmla="*/ 959698 h 2031151"/>
                <a:gd name="connsiteX1525" fmla="*/ 502249 w 3368309"/>
                <a:gd name="connsiteY1525" fmla="*/ 957417 h 2031151"/>
                <a:gd name="connsiteX1526" fmla="*/ 506321 w 3368309"/>
                <a:gd name="connsiteY1526" fmla="*/ 954159 h 2031151"/>
                <a:gd name="connsiteX1527" fmla="*/ 519843 w 3368309"/>
                <a:gd name="connsiteY1527" fmla="*/ 948457 h 2031151"/>
                <a:gd name="connsiteX1528" fmla="*/ 528966 w 3368309"/>
                <a:gd name="connsiteY1528" fmla="*/ 947154 h 2031151"/>
                <a:gd name="connsiteX1529" fmla="*/ 529943 w 3368309"/>
                <a:gd name="connsiteY1529" fmla="*/ 949109 h 2031151"/>
                <a:gd name="connsiteX1530" fmla="*/ 524893 w 3368309"/>
                <a:gd name="connsiteY1530" fmla="*/ 951715 h 2031151"/>
                <a:gd name="connsiteX1531" fmla="*/ 520983 w 3368309"/>
                <a:gd name="connsiteY1531" fmla="*/ 952041 h 2031151"/>
                <a:gd name="connsiteX1532" fmla="*/ 511535 w 3368309"/>
                <a:gd name="connsiteY1532" fmla="*/ 956440 h 2031151"/>
                <a:gd name="connsiteX1533" fmla="*/ 513326 w 3368309"/>
                <a:gd name="connsiteY1533" fmla="*/ 958883 h 2031151"/>
                <a:gd name="connsiteX1534" fmla="*/ 516748 w 3368309"/>
                <a:gd name="connsiteY1534" fmla="*/ 959698 h 2031151"/>
                <a:gd name="connsiteX1535" fmla="*/ 519680 w 3368309"/>
                <a:gd name="connsiteY1535" fmla="*/ 958069 h 2031151"/>
                <a:gd name="connsiteX1536" fmla="*/ 525545 w 3368309"/>
                <a:gd name="connsiteY1536" fmla="*/ 963608 h 2031151"/>
                <a:gd name="connsiteX1537" fmla="*/ 522287 w 3368309"/>
                <a:gd name="connsiteY1537" fmla="*/ 965400 h 2031151"/>
                <a:gd name="connsiteX1538" fmla="*/ 521146 w 3368309"/>
                <a:gd name="connsiteY1538" fmla="*/ 967354 h 2031151"/>
                <a:gd name="connsiteX1539" fmla="*/ 524567 w 3368309"/>
                <a:gd name="connsiteY1539" fmla="*/ 972730 h 2031151"/>
                <a:gd name="connsiteX1540" fmla="*/ 522450 w 3368309"/>
                <a:gd name="connsiteY1540" fmla="*/ 976477 h 2031151"/>
                <a:gd name="connsiteX1541" fmla="*/ 517399 w 3368309"/>
                <a:gd name="connsiteY1541" fmla="*/ 976477 h 2031151"/>
                <a:gd name="connsiteX1542" fmla="*/ 512186 w 3368309"/>
                <a:gd name="connsiteY1542" fmla="*/ 981691 h 2031151"/>
                <a:gd name="connsiteX1543" fmla="*/ 513326 w 3368309"/>
                <a:gd name="connsiteY1543" fmla="*/ 985763 h 2031151"/>
                <a:gd name="connsiteX1544" fmla="*/ 517562 w 3368309"/>
                <a:gd name="connsiteY1544" fmla="*/ 986578 h 2031151"/>
                <a:gd name="connsiteX1545" fmla="*/ 520983 w 3368309"/>
                <a:gd name="connsiteY1545" fmla="*/ 985600 h 2031151"/>
                <a:gd name="connsiteX1546" fmla="*/ 524405 w 3368309"/>
                <a:gd name="connsiteY1546" fmla="*/ 985600 h 2031151"/>
                <a:gd name="connsiteX1547" fmla="*/ 527989 w 3368309"/>
                <a:gd name="connsiteY1547" fmla="*/ 983320 h 2031151"/>
                <a:gd name="connsiteX1548" fmla="*/ 533364 w 3368309"/>
                <a:gd name="connsiteY1548" fmla="*/ 985275 h 2031151"/>
                <a:gd name="connsiteX1549" fmla="*/ 533364 w 3368309"/>
                <a:gd name="connsiteY1549" fmla="*/ 991302 h 2031151"/>
                <a:gd name="connsiteX1550" fmla="*/ 535808 w 3368309"/>
                <a:gd name="connsiteY1550" fmla="*/ 985112 h 2031151"/>
                <a:gd name="connsiteX1551" fmla="*/ 541184 w 3368309"/>
                <a:gd name="connsiteY1551" fmla="*/ 978921 h 2031151"/>
                <a:gd name="connsiteX1552" fmla="*/ 543628 w 3368309"/>
                <a:gd name="connsiteY1552" fmla="*/ 978595 h 2031151"/>
                <a:gd name="connsiteX1553" fmla="*/ 545908 w 3368309"/>
                <a:gd name="connsiteY1553" fmla="*/ 982016 h 2031151"/>
                <a:gd name="connsiteX1554" fmla="*/ 549981 w 3368309"/>
                <a:gd name="connsiteY1554" fmla="*/ 985112 h 2031151"/>
                <a:gd name="connsiteX1555" fmla="*/ 551610 w 3368309"/>
                <a:gd name="connsiteY1555" fmla="*/ 982994 h 2031151"/>
                <a:gd name="connsiteX1556" fmla="*/ 550470 w 3368309"/>
                <a:gd name="connsiteY1556" fmla="*/ 980061 h 2031151"/>
                <a:gd name="connsiteX1557" fmla="*/ 551773 w 3368309"/>
                <a:gd name="connsiteY1557" fmla="*/ 976803 h 2031151"/>
                <a:gd name="connsiteX1558" fmla="*/ 548026 w 3368309"/>
                <a:gd name="connsiteY1558" fmla="*/ 974034 h 2031151"/>
                <a:gd name="connsiteX1559" fmla="*/ 548026 w 3368309"/>
                <a:gd name="connsiteY1559" fmla="*/ 971753 h 2031151"/>
                <a:gd name="connsiteX1560" fmla="*/ 552262 w 3368309"/>
                <a:gd name="connsiteY1560" fmla="*/ 967029 h 2031151"/>
                <a:gd name="connsiteX1561" fmla="*/ 557475 w 3368309"/>
                <a:gd name="connsiteY1561" fmla="*/ 966214 h 2031151"/>
                <a:gd name="connsiteX1562" fmla="*/ 558941 w 3368309"/>
                <a:gd name="connsiteY1562" fmla="*/ 963445 h 2031151"/>
                <a:gd name="connsiteX1563" fmla="*/ 565621 w 3368309"/>
                <a:gd name="connsiteY1563" fmla="*/ 959209 h 2031151"/>
                <a:gd name="connsiteX1564" fmla="*/ 568553 w 3368309"/>
                <a:gd name="connsiteY1564" fmla="*/ 961490 h 2031151"/>
                <a:gd name="connsiteX1565" fmla="*/ 571974 w 3368309"/>
                <a:gd name="connsiteY1565" fmla="*/ 961490 h 2031151"/>
                <a:gd name="connsiteX1566" fmla="*/ 574255 w 3368309"/>
                <a:gd name="connsiteY1566" fmla="*/ 960512 h 2031151"/>
                <a:gd name="connsiteX1567" fmla="*/ 578001 w 3368309"/>
                <a:gd name="connsiteY1567" fmla="*/ 961979 h 2031151"/>
                <a:gd name="connsiteX1568" fmla="*/ 589080 w 3368309"/>
                <a:gd name="connsiteY1568" fmla="*/ 961979 h 2031151"/>
                <a:gd name="connsiteX1569" fmla="*/ 592989 w 3368309"/>
                <a:gd name="connsiteY1569" fmla="*/ 959046 h 2031151"/>
                <a:gd name="connsiteX1570" fmla="*/ 592989 w 3368309"/>
                <a:gd name="connsiteY1570" fmla="*/ 955788 h 2031151"/>
                <a:gd name="connsiteX1571" fmla="*/ 595759 w 3368309"/>
                <a:gd name="connsiteY1571" fmla="*/ 952856 h 2031151"/>
                <a:gd name="connsiteX1572" fmla="*/ 602112 w 3368309"/>
                <a:gd name="connsiteY1572" fmla="*/ 952204 h 2031151"/>
                <a:gd name="connsiteX1573" fmla="*/ 602601 w 3368309"/>
                <a:gd name="connsiteY1573" fmla="*/ 949435 h 2031151"/>
                <a:gd name="connsiteX1574" fmla="*/ 607325 w 3368309"/>
                <a:gd name="connsiteY1574" fmla="*/ 945362 h 2031151"/>
                <a:gd name="connsiteX1575" fmla="*/ 611235 w 3368309"/>
                <a:gd name="connsiteY1575" fmla="*/ 944547 h 2031151"/>
                <a:gd name="connsiteX1576" fmla="*/ 617914 w 3368309"/>
                <a:gd name="connsiteY1576" fmla="*/ 937868 h 2031151"/>
                <a:gd name="connsiteX1577" fmla="*/ 620684 w 3368309"/>
                <a:gd name="connsiteY1577" fmla="*/ 937868 h 2031151"/>
                <a:gd name="connsiteX1578" fmla="*/ 624594 w 3368309"/>
                <a:gd name="connsiteY1578" fmla="*/ 935587 h 2031151"/>
                <a:gd name="connsiteX1579" fmla="*/ 625571 w 3368309"/>
                <a:gd name="connsiteY1579" fmla="*/ 937379 h 2031151"/>
                <a:gd name="connsiteX1580" fmla="*/ 621661 w 3368309"/>
                <a:gd name="connsiteY1580" fmla="*/ 941778 h 2031151"/>
                <a:gd name="connsiteX1581" fmla="*/ 625571 w 3368309"/>
                <a:gd name="connsiteY1581" fmla="*/ 943244 h 2031151"/>
                <a:gd name="connsiteX1582" fmla="*/ 630621 w 3368309"/>
                <a:gd name="connsiteY1582" fmla="*/ 948294 h 2031151"/>
                <a:gd name="connsiteX1583" fmla="*/ 630621 w 3368309"/>
                <a:gd name="connsiteY1583" fmla="*/ 951064 h 2031151"/>
                <a:gd name="connsiteX1584" fmla="*/ 626548 w 3368309"/>
                <a:gd name="connsiteY1584" fmla="*/ 954973 h 2031151"/>
                <a:gd name="connsiteX1585" fmla="*/ 628992 w 3368309"/>
                <a:gd name="connsiteY1585" fmla="*/ 960024 h 2031151"/>
                <a:gd name="connsiteX1586" fmla="*/ 627852 w 3368309"/>
                <a:gd name="connsiteY1586" fmla="*/ 963933 h 2031151"/>
                <a:gd name="connsiteX1587" fmla="*/ 630784 w 3368309"/>
                <a:gd name="connsiteY1587" fmla="*/ 967680 h 2031151"/>
                <a:gd name="connsiteX1588" fmla="*/ 643654 w 3368309"/>
                <a:gd name="connsiteY1588" fmla="*/ 968332 h 2031151"/>
                <a:gd name="connsiteX1589" fmla="*/ 646423 w 3368309"/>
                <a:gd name="connsiteY1589" fmla="*/ 965400 h 2031151"/>
                <a:gd name="connsiteX1590" fmla="*/ 646423 w 3368309"/>
                <a:gd name="connsiteY1590" fmla="*/ 962304 h 2031151"/>
                <a:gd name="connsiteX1591" fmla="*/ 644632 w 3368309"/>
                <a:gd name="connsiteY1591" fmla="*/ 960512 h 2031151"/>
                <a:gd name="connsiteX1592" fmla="*/ 639255 w 3368309"/>
                <a:gd name="connsiteY1592" fmla="*/ 953996 h 2031151"/>
                <a:gd name="connsiteX1593" fmla="*/ 639581 w 3368309"/>
                <a:gd name="connsiteY1593" fmla="*/ 951064 h 2031151"/>
                <a:gd name="connsiteX1594" fmla="*/ 643165 w 3368309"/>
                <a:gd name="connsiteY1594" fmla="*/ 948294 h 2031151"/>
                <a:gd name="connsiteX1595" fmla="*/ 650171 w 3368309"/>
                <a:gd name="connsiteY1595" fmla="*/ 951389 h 2031151"/>
                <a:gd name="connsiteX1596" fmla="*/ 655058 w 3368309"/>
                <a:gd name="connsiteY1596" fmla="*/ 948131 h 2031151"/>
                <a:gd name="connsiteX1597" fmla="*/ 657175 w 3368309"/>
                <a:gd name="connsiteY1597" fmla="*/ 939660 h 2031151"/>
                <a:gd name="connsiteX1598" fmla="*/ 661085 w 3368309"/>
                <a:gd name="connsiteY1598" fmla="*/ 939334 h 2031151"/>
                <a:gd name="connsiteX1599" fmla="*/ 663366 w 3368309"/>
                <a:gd name="connsiteY1599" fmla="*/ 941452 h 2031151"/>
                <a:gd name="connsiteX1600" fmla="*/ 670208 w 3368309"/>
                <a:gd name="connsiteY1600" fmla="*/ 942592 h 2031151"/>
                <a:gd name="connsiteX1601" fmla="*/ 663203 w 3368309"/>
                <a:gd name="connsiteY1601" fmla="*/ 935099 h 2031151"/>
                <a:gd name="connsiteX1602" fmla="*/ 657339 w 3368309"/>
                <a:gd name="connsiteY1602" fmla="*/ 933469 h 2031151"/>
                <a:gd name="connsiteX1603" fmla="*/ 656687 w 3368309"/>
                <a:gd name="connsiteY1603" fmla="*/ 928745 h 2031151"/>
                <a:gd name="connsiteX1604" fmla="*/ 652451 w 3368309"/>
                <a:gd name="connsiteY1604" fmla="*/ 920437 h 2031151"/>
                <a:gd name="connsiteX1605" fmla="*/ 649356 w 3368309"/>
                <a:gd name="connsiteY1605" fmla="*/ 920111 h 2031151"/>
                <a:gd name="connsiteX1606" fmla="*/ 648378 w 3368309"/>
                <a:gd name="connsiteY1606" fmla="*/ 924509 h 2031151"/>
                <a:gd name="connsiteX1607" fmla="*/ 645935 w 3368309"/>
                <a:gd name="connsiteY1607" fmla="*/ 920274 h 2031151"/>
                <a:gd name="connsiteX1608" fmla="*/ 643165 w 3368309"/>
                <a:gd name="connsiteY1608" fmla="*/ 910988 h 2031151"/>
                <a:gd name="connsiteX1609" fmla="*/ 639744 w 3368309"/>
                <a:gd name="connsiteY1609" fmla="*/ 909033 h 2031151"/>
                <a:gd name="connsiteX1610" fmla="*/ 635997 w 3368309"/>
                <a:gd name="connsiteY1610" fmla="*/ 903168 h 2031151"/>
                <a:gd name="connsiteX1611" fmla="*/ 635997 w 3368309"/>
                <a:gd name="connsiteY1611" fmla="*/ 901051 h 2031151"/>
                <a:gd name="connsiteX1612" fmla="*/ 641373 w 3368309"/>
                <a:gd name="connsiteY1612" fmla="*/ 899096 h 2031151"/>
                <a:gd name="connsiteX1613" fmla="*/ 641373 w 3368309"/>
                <a:gd name="connsiteY1613" fmla="*/ 894860 h 2031151"/>
                <a:gd name="connsiteX1614" fmla="*/ 638930 w 3368309"/>
                <a:gd name="connsiteY1614" fmla="*/ 889484 h 2031151"/>
                <a:gd name="connsiteX1615" fmla="*/ 642025 w 3368309"/>
                <a:gd name="connsiteY1615" fmla="*/ 886552 h 2031151"/>
                <a:gd name="connsiteX1616" fmla="*/ 646260 w 3368309"/>
                <a:gd name="connsiteY1616" fmla="*/ 887529 h 2031151"/>
                <a:gd name="connsiteX1617" fmla="*/ 648378 w 3368309"/>
                <a:gd name="connsiteY1617" fmla="*/ 886389 h 2031151"/>
                <a:gd name="connsiteX1618" fmla="*/ 652614 w 3368309"/>
                <a:gd name="connsiteY1618" fmla="*/ 889321 h 2031151"/>
                <a:gd name="connsiteX1619" fmla="*/ 657664 w 3368309"/>
                <a:gd name="connsiteY1619" fmla="*/ 888506 h 2031151"/>
                <a:gd name="connsiteX1620" fmla="*/ 662551 w 3368309"/>
                <a:gd name="connsiteY1620" fmla="*/ 890136 h 2031151"/>
                <a:gd name="connsiteX1621" fmla="*/ 681937 w 3368309"/>
                <a:gd name="connsiteY1621" fmla="*/ 887366 h 2031151"/>
                <a:gd name="connsiteX1622" fmla="*/ 706537 w 3368309"/>
                <a:gd name="connsiteY1622" fmla="*/ 888669 h 2031151"/>
                <a:gd name="connsiteX1623" fmla="*/ 713868 w 3368309"/>
                <a:gd name="connsiteY1623" fmla="*/ 893720 h 2031151"/>
                <a:gd name="connsiteX1624" fmla="*/ 730159 w 3368309"/>
                <a:gd name="connsiteY1624" fmla="*/ 899747 h 2031151"/>
                <a:gd name="connsiteX1625" fmla="*/ 731462 w 3368309"/>
                <a:gd name="connsiteY1625" fmla="*/ 903168 h 2031151"/>
                <a:gd name="connsiteX1626" fmla="*/ 729670 w 3368309"/>
                <a:gd name="connsiteY1626" fmla="*/ 905938 h 2031151"/>
                <a:gd name="connsiteX1627" fmla="*/ 732114 w 3368309"/>
                <a:gd name="connsiteY1627" fmla="*/ 911477 h 2031151"/>
                <a:gd name="connsiteX1628" fmla="*/ 737001 w 3368309"/>
                <a:gd name="connsiteY1628" fmla="*/ 907241 h 2031151"/>
                <a:gd name="connsiteX1629" fmla="*/ 744332 w 3368309"/>
                <a:gd name="connsiteY1629" fmla="*/ 904472 h 2031151"/>
                <a:gd name="connsiteX1630" fmla="*/ 748567 w 3368309"/>
                <a:gd name="connsiteY1630" fmla="*/ 908381 h 2031151"/>
                <a:gd name="connsiteX1631" fmla="*/ 752477 w 3368309"/>
                <a:gd name="connsiteY1631" fmla="*/ 908707 h 2031151"/>
                <a:gd name="connsiteX1632" fmla="*/ 753455 w 3368309"/>
                <a:gd name="connsiteY1632" fmla="*/ 913595 h 2031151"/>
                <a:gd name="connsiteX1633" fmla="*/ 761926 w 3368309"/>
                <a:gd name="connsiteY1633" fmla="*/ 914735 h 2031151"/>
                <a:gd name="connsiteX1634" fmla="*/ 776099 w 3368309"/>
                <a:gd name="connsiteY1634" fmla="*/ 922880 h 2031151"/>
                <a:gd name="connsiteX1635" fmla="*/ 789621 w 3368309"/>
                <a:gd name="connsiteY1635" fmla="*/ 924021 h 2031151"/>
                <a:gd name="connsiteX1636" fmla="*/ 794996 w 3368309"/>
                <a:gd name="connsiteY1636" fmla="*/ 928419 h 2031151"/>
                <a:gd name="connsiteX1637" fmla="*/ 798255 w 3368309"/>
                <a:gd name="connsiteY1637" fmla="*/ 935587 h 2031151"/>
                <a:gd name="connsiteX1638" fmla="*/ 806237 w 3368309"/>
                <a:gd name="connsiteY1638" fmla="*/ 937216 h 2031151"/>
                <a:gd name="connsiteX1639" fmla="*/ 813242 w 3368309"/>
                <a:gd name="connsiteY1639" fmla="*/ 942429 h 2031151"/>
                <a:gd name="connsiteX1640" fmla="*/ 819270 w 3368309"/>
                <a:gd name="connsiteY1640" fmla="*/ 953833 h 2031151"/>
                <a:gd name="connsiteX1641" fmla="*/ 824646 w 3368309"/>
                <a:gd name="connsiteY1641" fmla="*/ 954973 h 2031151"/>
                <a:gd name="connsiteX1642" fmla="*/ 824972 w 3368309"/>
                <a:gd name="connsiteY1642" fmla="*/ 951715 h 2031151"/>
                <a:gd name="connsiteX1643" fmla="*/ 823669 w 3368309"/>
                <a:gd name="connsiteY1643" fmla="*/ 944547 h 2031151"/>
                <a:gd name="connsiteX1644" fmla="*/ 826764 w 3368309"/>
                <a:gd name="connsiteY1644" fmla="*/ 944547 h 2031151"/>
                <a:gd name="connsiteX1645" fmla="*/ 827904 w 3368309"/>
                <a:gd name="connsiteY1645" fmla="*/ 941615 h 2031151"/>
                <a:gd name="connsiteX1646" fmla="*/ 824483 w 3368309"/>
                <a:gd name="connsiteY1646" fmla="*/ 936239 h 2031151"/>
                <a:gd name="connsiteX1647" fmla="*/ 825949 w 3368309"/>
                <a:gd name="connsiteY1647" fmla="*/ 932818 h 2031151"/>
                <a:gd name="connsiteX1648" fmla="*/ 825949 w 3368309"/>
                <a:gd name="connsiteY1648" fmla="*/ 919133 h 2031151"/>
                <a:gd name="connsiteX1649" fmla="*/ 830348 w 3368309"/>
                <a:gd name="connsiteY1649" fmla="*/ 915387 h 2031151"/>
                <a:gd name="connsiteX1650" fmla="*/ 825623 w 3368309"/>
                <a:gd name="connsiteY1650" fmla="*/ 915712 h 2031151"/>
                <a:gd name="connsiteX1651" fmla="*/ 824809 w 3368309"/>
                <a:gd name="connsiteY1651" fmla="*/ 913595 h 2031151"/>
                <a:gd name="connsiteX1652" fmla="*/ 819922 w 3368309"/>
                <a:gd name="connsiteY1652" fmla="*/ 913595 h 2031151"/>
                <a:gd name="connsiteX1653" fmla="*/ 816012 w 3368309"/>
                <a:gd name="connsiteY1653" fmla="*/ 916038 h 2031151"/>
                <a:gd name="connsiteX1654" fmla="*/ 810799 w 3368309"/>
                <a:gd name="connsiteY1654" fmla="*/ 914409 h 2031151"/>
                <a:gd name="connsiteX1655" fmla="*/ 800373 w 3368309"/>
                <a:gd name="connsiteY1655" fmla="*/ 902028 h 2031151"/>
                <a:gd name="connsiteX1656" fmla="*/ 797440 w 3368309"/>
                <a:gd name="connsiteY1656" fmla="*/ 901376 h 2031151"/>
                <a:gd name="connsiteX1657" fmla="*/ 793530 w 3368309"/>
                <a:gd name="connsiteY1657" fmla="*/ 896489 h 2031151"/>
                <a:gd name="connsiteX1658" fmla="*/ 793530 w 3368309"/>
                <a:gd name="connsiteY1658" fmla="*/ 887366 h 2031151"/>
                <a:gd name="connsiteX1659" fmla="*/ 790761 w 3368309"/>
                <a:gd name="connsiteY1659" fmla="*/ 884922 h 2031151"/>
                <a:gd name="connsiteX1660" fmla="*/ 785874 w 3368309"/>
                <a:gd name="connsiteY1660" fmla="*/ 891765 h 2031151"/>
                <a:gd name="connsiteX1661" fmla="*/ 780498 w 3368309"/>
                <a:gd name="connsiteY1661" fmla="*/ 888018 h 2031151"/>
                <a:gd name="connsiteX1662" fmla="*/ 774470 w 3368309"/>
                <a:gd name="connsiteY1662" fmla="*/ 888018 h 2031151"/>
                <a:gd name="connsiteX1663" fmla="*/ 769746 w 3368309"/>
                <a:gd name="connsiteY1663" fmla="*/ 884760 h 2031151"/>
                <a:gd name="connsiteX1664" fmla="*/ 767302 w 3368309"/>
                <a:gd name="connsiteY1664" fmla="*/ 888832 h 2031151"/>
                <a:gd name="connsiteX1665" fmla="*/ 765510 w 3368309"/>
                <a:gd name="connsiteY1665" fmla="*/ 880198 h 2031151"/>
                <a:gd name="connsiteX1666" fmla="*/ 761600 w 3368309"/>
                <a:gd name="connsiteY1666" fmla="*/ 876777 h 2031151"/>
                <a:gd name="connsiteX1667" fmla="*/ 757365 w 3368309"/>
                <a:gd name="connsiteY1667" fmla="*/ 865699 h 2031151"/>
                <a:gd name="connsiteX1668" fmla="*/ 757365 w 3368309"/>
                <a:gd name="connsiteY1668" fmla="*/ 861789 h 2031151"/>
                <a:gd name="connsiteX1669" fmla="*/ 760785 w 3368309"/>
                <a:gd name="connsiteY1669" fmla="*/ 864559 h 2031151"/>
                <a:gd name="connsiteX1670" fmla="*/ 764858 w 3368309"/>
                <a:gd name="connsiteY1670" fmla="*/ 860812 h 2031151"/>
                <a:gd name="connsiteX1671" fmla="*/ 764858 w 3368309"/>
                <a:gd name="connsiteY1671" fmla="*/ 854947 h 2031151"/>
                <a:gd name="connsiteX1672" fmla="*/ 757039 w 3368309"/>
                <a:gd name="connsiteY1672" fmla="*/ 849408 h 2031151"/>
                <a:gd name="connsiteX1673" fmla="*/ 756387 w 3368309"/>
                <a:gd name="connsiteY1673" fmla="*/ 843055 h 2031151"/>
                <a:gd name="connsiteX1674" fmla="*/ 760134 w 3368309"/>
                <a:gd name="connsiteY1674" fmla="*/ 838168 h 2031151"/>
                <a:gd name="connsiteX1675" fmla="*/ 763881 w 3368309"/>
                <a:gd name="connsiteY1675" fmla="*/ 839145 h 2031151"/>
                <a:gd name="connsiteX1676" fmla="*/ 759157 w 3368309"/>
                <a:gd name="connsiteY1676" fmla="*/ 834909 h 2031151"/>
                <a:gd name="connsiteX1677" fmla="*/ 753292 w 3368309"/>
                <a:gd name="connsiteY1677" fmla="*/ 834584 h 2031151"/>
                <a:gd name="connsiteX1678" fmla="*/ 749545 w 3368309"/>
                <a:gd name="connsiteY1678" fmla="*/ 825298 h 2031151"/>
                <a:gd name="connsiteX1679" fmla="*/ 746124 w 3368309"/>
                <a:gd name="connsiteY1679" fmla="*/ 822040 h 2031151"/>
                <a:gd name="connsiteX1680" fmla="*/ 742866 w 3368309"/>
                <a:gd name="connsiteY1680" fmla="*/ 824157 h 2031151"/>
                <a:gd name="connsiteX1681" fmla="*/ 736675 w 3368309"/>
                <a:gd name="connsiteY1681" fmla="*/ 818293 h 2031151"/>
                <a:gd name="connsiteX1682" fmla="*/ 737490 w 3368309"/>
                <a:gd name="connsiteY1682" fmla="*/ 809821 h 2031151"/>
                <a:gd name="connsiteX1683" fmla="*/ 740422 w 3368309"/>
                <a:gd name="connsiteY1683" fmla="*/ 805423 h 2031151"/>
                <a:gd name="connsiteX1684" fmla="*/ 737164 w 3368309"/>
                <a:gd name="connsiteY1684" fmla="*/ 800373 h 2031151"/>
                <a:gd name="connsiteX1685" fmla="*/ 736187 w 3368309"/>
                <a:gd name="connsiteY1685" fmla="*/ 796137 h 2031151"/>
                <a:gd name="connsiteX1686" fmla="*/ 739607 w 3368309"/>
                <a:gd name="connsiteY1686" fmla="*/ 793856 h 2031151"/>
                <a:gd name="connsiteX1687" fmla="*/ 748567 w 3368309"/>
                <a:gd name="connsiteY1687" fmla="*/ 779846 h 2031151"/>
                <a:gd name="connsiteX1688" fmla="*/ 754107 w 3368309"/>
                <a:gd name="connsiteY1688" fmla="*/ 775936 h 2031151"/>
                <a:gd name="connsiteX1689" fmla="*/ 755573 w 3368309"/>
                <a:gd name="connsiteY1689" fmla="*/ 772841 h 2031151"/>
                <a:gd name="connsiteX1690" fmla="*/ 753292 w 3368309"/>
                <a:gd name="connsiteY1690" fmla="*/ 766488 h 2031151"/>
                <a:gd name="connsiteX1691" fmla="*/ 752640 w 3368309"/>
                <a:gd name="connsiteY1691" fmla="*/ 761600 h 2031151"/>
                <a:gd name="connsiteX1692" fmla="*/ 756061 w 3368309"/>
                <a:gd name="connsiteY1692" fmla="*/ 755247 h 2031151"/>
                <a:gd name="connsiteX1693" fmla="*/ 752151 w 3368309"/>
                <a:gd name="connsiteY1693" fmla="*/ 749219 h 2031151"/>
                <a:gd name="connsiteX1694" fmla="*/ 751500 w 3368309"/>
                <a:gd name="connsiteY1694" fmla="*/ 741400 h 2031151"/>
                <a:gd name="connsiteX1695" fmla="*/ 753455 w 3368309"/>
                <a:gd name="connsiteY1695" fmla="*/ 737327 h 2031151"/>
                <a:gd name="connsiteX1696" fmla="*/ 751663 w 3368309"/>
                <a:gd name="connsiteY1696" fmla="*/ 733417 h 2031151"/>
                <a:gd name="connsiteX1697" fmla="*/ 751663 w 3368309"/>
                <a:gd name="connsiteY1697" fmla="*/ 727389 h 2031151"/>
                <a:gd name="connsiteX1698" fmla="*/ 748730 w 3368309"/>
                <a:gd name="connsiteY1698" fmla="*/ 724294 h 2031151"/>
                <a:gd name="connsiteX1699" fmla="*/ 751174 w 3368309"/>
                <a:gd name="connsiteY1699" fmla="*/ 714845 h 2031151"/>
                <a:gd name="connsiteX1700" fmla="*/ 752966 w 3368309"/>
                <a:gd name="connsiteY1700" fmla="*/ 712890 h 2031151"/>
                <a:gd name="connsiteX1701" fmla="*/ 748567 w 3368309"/>
                <a:gd name="connsiteY1701" fmla="*/ 707026 h 2031151"/>
                <a:gd name="connsiteX1702" fmla="*/ 750034 w 3368309"/>
                <a:gd name="connsiteY1702" fmla="*/ 698392 h 2031151"/>
                <a:gd name="connsiteX1703" fmla="*/ 749219 w 3368309"/>
                <a:gd name="connsiteY1703" fmla="*/ 687802 h 2031151"/>
                <a:gd name="connsiteX1704" fmla="*/ 753292 w 3368309"/>
                <a:gd name="connsiteY1704" fmla="*/ 686662 h 2031151"/>
                <a:gd name="connsiteX1705" fmla="*/ 757528 w 3368309"/>
                <a:gd name="connsiteY1705" fmla="*/ 688780 h 2031151"/>
                <a:gd name="connsiteX1706" fmla="*/ 755735 w 3368309"/>
                <a:gd name="connsiteY1706" fmla="*/ 691061 h 2031151"/>
                <a:gd name="connsiteX1707" fmla="*/ 757528 w 3368309"/>
                <a:gd name="connsiteY1707" fmla="*/ 693178 h 2031151"/>
                <a:gd name="connsiteX1708" fmla="*/ 763392 w 3368309"/>
                <a:gd name="connsiteY1708" fmla="*/ 690735 h 2031151"/>
                <a:gd name="connsiteX1709" fmla="*/ 770560 w 3368309"/>
                <a:gd name="connsiteY1709" fmla="*/ 690735 h 2031151"/>
                <a:gd name="connsiteX1710" fmla="*/ 776914 w 3368309"/>
                <a:gd name="connsiteY1710" fmla="*/ 687314 h 2031151"/>
                <a:gd name="connsiteX1711" fmla="*/ 781312 w 3368309"/>
                <a:gd name="connsiteY1711" fmla="*/ 687314 h 2031151"/>
                <a:gd name="connsiteX1712" fmla="*/ 785711 w 3368309"/>
                <a:gd name="connsiteY1712" fmla="*/ 689594 h 2031151"/>
                <a:gd name="connsiteX1713" fmla="*/ 788643 w 3368309"/>
                <a:gd name="connsiteY1713" fmla="*/ 687151 h 2031151"/>
                <a:gd name="connsiteX1714" fmla="*/ 794671 w 3368309"/>
                <a:gd name="connsiteY1714" fmla="*/ 687151 h 2031151"/>
                <a:gd name="connsiteX1715" fmla="*/ 809984 w 3368309"/>
                <a:gd name="connsiteY1715" fmla="*/ 693504 h 2031151"/>
                <a:gd name="connsiteX1716" fmla="*/ 817152 w 3368309"/>
                <a:gd name="connsiteY1716" fmla="*/ 693504 h 2031151"/>
                <a:gd name="connsiteX1717" fmla="*/ 822365 w 3368309"/>
                <a:gd name="connsiteY1717" fmla="*/ 694808 h 2031151"/>
                <a:gd name="connsiteX1718" fmla="*/ 824320 w 3368309"/>
                <a:gd name="connsiteY1718" fmla="*/ 699532 h 2031151"/>
                <a:gd name="connsiteX1719" fmla="*/ 820248 w 3368309"/>
                <a:gd name="connsiteY1719" fmla="*/ 701324 h 2031151"/>
                <a:gd name="connsiteX1720" fmla="*/ 823506 w 3368309"/>
                <a:gd name="connsiteY1720" fmla="*/ 707189 h 2031151"/>
                <a:gd name="connsiteX1721" fmla="*/ 823506 w 3368309"/>
                <a:gd name="connsiteY1721" fmla="*/ 713379 h 2031151"/>
                <a:gd name="connsiteX1722" fmla="*/ 826275 w 3368309"/>
                <a:gd name="connsiteY1722" fmla="*/ 716312 h 2031151"/>
                <a:gd name="connsiteX1723" fmla="*/ 826275 w 3368309"/>
                <a:gd name="connsiteY1723" fmla="*/ 725434 h 2031151"/>
                <a:gd name="connsiteX1724" fmla="*/ 829696 w 3368309"/>
                <a:gd name="connsiteY1724" fmla="*/ 733417 h 2031151"/>
                <a:gd name="connsiteX1725" fmla="*/ 827416 w 3368309"/>
                <a:gd name="connsiteY1725" fmla="*/ 747427 h 2031151"/>
                <a:gd name="connsiteX1726" fmla="*/ 830185 w 3368309"/>
                <a:gd name="connsiteY1726" fmla="*/ 751500 h 2031151"/>
                <a:gd name="connsiteX1727" fmla="*/ 829044 w 3368309"/>
                <a:gd name="connsiteY1727" fmla="*/ 754921 h 2031151"/>
                <a:gd name="connsiteX1728" fmla="*/ 831325 w 3368309"/>
                <a:gd name="connsiteY1728" fmla="*/ 759157 h 2031151"/>
                <a:gd name="connsiteX1729" fmla="*/ 830022 w 3368309"/>
                <a:gd name="connsiteY1729" fmla="*/ 764044 h 2031151"/>
                <a:gd name="connsiteX1730" fmla="*/ 826927 w 3368309"/>
                <a:gd name="connsiteY1730" fmla="*/ 765836 h 2031151"/>
                <a:gd name="connsiteX1731" fmla="*/ 828882 w 3368309"/>
                <a:gd name="connsiteY1731" fmla="*/ 771864 h 2031151"/>
                <a:gd name="connsiteX1732" fmla="*/ 834258 w 3368309"/>
                <a:gd name="connsiteY1732" fmla="*/ 776914 h 2031151"/>
                <a:gd name="connsiteX1733" fmla="*/ 837679 w 3368309"/>
                <a:gd name="connsiteY1733" fmla="*/ 783430 h 2031151"/>
                <a:gd name="connsiteX1734" fmla="*/ 843707 w 3368309"/>
                <a:gd name="connsiteY1734" fmla="*/ 785222 h 2031151"/>
                <a:gd name="connsiteX1735" fmla="*/ 843707 w 3368309"/>
                <a:gd name="connsiteY1735" fmla="*/ 786525 h 2031151"/>
                <a:gd name="connsiteX1736" fmla="*/ 847616 w 3368309"/>
                <a:gd name="connsiteY1736" fmla="*/ 784896 h 2031151"/>
                <a:gd name="connsiteX1737" fmla="*/ 850386 w 3368309"/>
                <a:gd name="connsiteY1737" fmla="*/ 787014 h 2031151"/>
                <a:gd name="connsiteX1738" fmla="*/ 852503 w 3368309"/>
                <a:gd name="connsiteY1738" fmla="*/ 796626 h 2031151"/>
                <a:gd name="connsiteX1739" fmla="*/ 858694 w 3368309"/>
                <a:gd name="connsiteY1739" fmla="*/ 800861 h 2031151"/>
                <a:gd name="connsiteX1740" fmla="*/ 861952 w 3368309"/>
                <a:gd name="connsiteY1740" fmla="*/ 806074 h 2031151"/>
                <a:gd name="connsiteX1741" fmla="*/ 863907 w 3368309"/>
                <a:gd name="connsiteY1741" fmla="*/ 821714 h 2031151"/>
                <a:gd name="connsiteX1742" fmla="*/ 868143 w 3368309"/>
                <a:gd name="connsiteY1742" fmla="*/ 826112 h 2031151"/>
                <a:gd name="connsiteX1743" fmla="*/ 868143 w 3368309"/>
                <a:gd name="connsiteY1743" fmla="*/ 829533 h 2031151"/>
                <a:gd name="connsiteX1744" fmla="*/ 866351 w 3368309"/>
                <a:gd name="connsiteY1744" fmla="*/ 833280 h 2031151"/>
                <a:gd name="connsiteX1745" fmla="*/ 871727 w 3368309"/>
                <a:gd name="connsiteY1745" fmla="*/ 839308 h 2031151"/>
                <a:gd name="connsiteX1746" fmla="*/ 871727 w 3368309"/>
                <a:gd name="connsiteY1746" fmla="*/ 846965 h 2031151"/>
                <a:gd name="connsiteX1747" fmla="*/ 879709 w 3368309"/>
                <a:gd name="connsiteY1747" fmla="*/ 858531 h 2031151"/>
                <a:gd name="connsiteX1748" fmla="*/ 877755 w 3368309"/>
                <a:gd name="connsiteY1748" fmla="*/ 865373 h 2031151"/>
                <a:gd name="connsiteX1749" fmla="*/ 880850 w 3368309"/>
                <a:gd name="connsiteY1749" fmla="*/ 870912 h 2031151"/>
                <a:gd name="connsiteX1750" fmla="*/ 886226 w 3368309"/>
                <a:gd name="connsiteY1750" fmla="*/ 874170 h 2031151"/>
                <a:gd name="connsiteX1751" fmla="*/ 883456 w 3368309"/>
                <a:gd name="connsiteY1751" fmla="*/ 878569 h 2031151"/>
                <a:gd name="connsiteX1752" fmla="*/ 886389 w 3368309"/>
                <a:gd name="connsiteY1752" fmla="*/ 881339 h 2031151"/>
                <a:gd name="connsiteX1753" fmla="*/ 888507 w 3368309"/>
                <a:gd name="connsiteY1753" fmla="*/ 892253 h 2031151"/>
                <a:gd name="connsiteX1754" fmla="*/ 898770 w 3368309"/>
                <a:gd name="connsiteY1754" fmla="*/ 905449 h 2031151"/>
                <a:gd name="connsiteX1755" fmla="*/ 906915 w 3368309"/>
                <a:gd name="connsiteY1755" fmla="*/ 908218 h 2031151"/>
                <a:gd name="connsiteX1756" fmla="*/ 910336 w 3368309"/>
                <a:gd name="connsiteY1756" fmla="*/ 912454 h 2031151"/>
                <a:gd name="connsiteX1757" fmla="*/ 914083 w 3368309"/>
                <a:gd name="connsiteY1757" fmla="*/ 913269 h 2031151"/>
                <a:gd name="connsiteX1758" fmla="*/ 921740 w 3368309"/>
                <a:gd name="connsiteY1758" fmla="*/ 920762 h 2031151"/>
                <a:gd name="connsiteX1759" fmla="*/ 921740 w 3368309"/>
                <a:gd name="connsiteY1759" fmla="*/ 924835 h 2031151"/>
                <a:gd name="connsiteX1760" fmla="*/ 919296 w 3368309"/>
                <a:gd name="connsiteY1760" fmla="*/ 923858 h 2031151"/>
                <a:gd name="connsiteX1761" fmla="*/ 919296 w 3368309"/>
                <a:gd name="connsiteY1761" fmla="*/ 929397 h 2031151"/>
                <a:gd name="connsiteX1762" fmla="*/ 917830 w 3368309"/>
                <a:gd name="connsiteY1762" fmla="*/ 936402 h 2031151"/>
                <a:gd name="connsiteX1763" fmla="*/ 921089 w 3368309"/>
                <a:gd name="connsiteY1763" fmla="*/ 946013 h 2031151"/>
                <a:gd name="connsiteX1764" fmla="*/ 926953 w 3368309"/>
                <a:gd name="connsiteY1764" fmla="*/ 951878 h 2031151"/>
                <a:gd name="connsiteX1765" fmla="*/ 927767 w 3368309"/>
                <a:gd name="connsiteY1765" fmla="*/ 959861 h 2031151"/>
                <a:gd name="connsiteX1766" fmla="*/ 923043 w 3368309"/>
                <a:gd name="connsiteY1766" fmla="*/ 963933 h 2031151"/>
                <a:gd name="connsiteX1767" fmla="*/ 923369 w 3368309"/>
                <a:gd name="connsiteY1767" fmla="*/ 966377 h 2031151"/>
                <a:gd name="connsiteX1768" fmla="*/ 919948 w 3368309"/>
                <a:gd name="connsiteY1768" fmla="*/ 970613 h 2031151"/>
                <a:gd name="connsiteX1769" fmla="*/ 922066 w 3368309"/>
                <a:gd name="connsiteY1769" fmla="*/ 973545 h 2031151"/>
                <a:gd name="connsiteX1770" fmla="*/ 922066 w 3368309"/>
                <a:gd name="connsiteY1770" fmla="*/ 984623 h 2031151"/>
                <a:gd name="connsiteX1771" fmla="*/ 916201 w 3368309"/>
                <a:gd name="connsiteY1771" fmla="*/ 987555 h 2031151"/>
                <a:gd name="connsiteX1772" fmla="*/ 917341 w 3368309"/>
                <a:gd name="connsiteY1772" fmla="*/ 989673 h 2031151"/>
                <a:gd name="connsiteX1773" fmla="*/ 921251 w 3368309"/>
                <a:gd name="connsiteY1773" fmla="*/ 988696 h 2031151"/>
                <a:gd name="connsiteX1774" fmla="*/ 922066 w 3368309"/>
                <a:gd name="connsiteY1774" fmla="*/ 991628 h 2031151"/>
                <a:gd name="connsiteX1775" fmla="*/ 916038 w 3368309"/>
                <a:gd name="connsiteY1775" fmla="*/ 995049 h 2031151"/>
                <a:gd name="connsiteX1776" fmla="*/ 915712 w 3368309"/>
                <a:gd name="connsiteY1776" fmla="*/ 1005638 h 2031151"/>
                <a:gd name="connsiteX1777" fmla="*/ 913432 w 3368309"/>
                <a:gd name="connsiteY1777" fmla="*/ 1008896 h 2031151"/>
                <a:gd name="connsiteX1778" fmla="*/ 907078 w 3368309"/>
                <a:gd name="connsiteY1778" fmla="*/ 1005801 h 2031151"/>
                <a:gd name="connsiteX1779" fmla="*/ 907078 w 3368309"/>
                <a:gd name="connsiteY1779" fmla="*/ 1009222 h 2031151"/>
                <a:gd name="connsiteX1780" fmla="*/ 912291 w 3368309"/>
                <a:gd name="connsiteY1780" fmla="*/ 1015087 h 2031151"/>
                <a:gd name="connsiteX1781" fmla="*/ 912943 w 3368309"/>
                <a:gd name="connsiteY1781" fmla="*/ 1018997 h 2031151"/>
                <a:gd name="connsiteX1782" fmla="*/ 907567 w 3368309"/>
                <a:gd name="connsiteY1782" fmla="*/ 1021440 h 2031151"/>
                <a:gd name="connsiteX1783" fmla="*/ 903657 w 3368309"/>
                <a:gd name="connsiteY1783" fmla="*/ 1026491 h 2031151"/>
                <a:gd name="connsiteX1784" fmla="*/ 894208 w 3368309"/>
                <a:gd name="connsiteY1784" fmla="*/ 1027142 h 2031151"/>
                <a:gd name="connsiteX1785" fmla="*/ 889321 w 3368309"/>
                <a:gd name="connsiteY1785" fmla="*/ 1023069 h 2031151"/>
                <a:gd name="connsiteX1786" fmla="*/ 896978 w 3368309"/>
                <a:gd name="connsiteY1786" fmla="*/ 1018834 h 2031151"/>
                <a:gd name="connsiteX1787" fmla="*/ 896978 w 3368309"/>
                <a:gd name="connsiteY1787" fmla="*/ 1014924 h 2031151"/>
                <a:gd name="connsiteX1788" fmla="*/ 891765 w 3368309"/>
                <a:gd name="connsiteY1788" fmla="*/ 1014924 h 2031151"/>
                <a:gd name="connsiteX1789" fmla="*/ 890462 w 3368309"/>
                <a:gd name="connsiteY1789" fmla="*/ 1018182 h 2031151"/>
                <a:gd name="connsiteX1790" fmla="*/ 886714 w 3368309"/>
                <a:gd name="connsiteY1790" fmla="*/ 1018508 h 2031151"/>
                <a:gd name="connsiteX1791" fmla="*/ 875148 w 3368309"/>
                <a:gd name="connsiteY1791" fmla="*/ 1011992 h 2031151"/>
                <a:gd name="connsiteX1792" fmla="*/ 872704 w 3368309"/>
                <a:gd name="connsiteY1792" fmla="*/ 1015250 h 2031151"/>
                <a:gd name="connsiteX1793" fmla="*/ 858205 w 3368309"/>
                <a:gd name="connsiteY1793" fmla="*/ 1017205 h 2031151"/>
                <a:gd name="connsiteX1794" fmla="*/ 850712 w 3368309"/>
                <a:gd name="connsiteY1794" fmla="*/ 1017856 h 2031151"/>
                <a:gd name="connsiteX1795" fmla="*/ 846965 w 3368309"/>
                <a:gd name="connsiteY1795" fmla="*/ 1024699 h 2031151"/>
                <a:gd name="connsiteX1796" fmla="*/ 850386 w 3368309"/>
                <a:gd name="connsiteY1796" fmla="*/ 1025350 h 2031151"/>
                <a:gd name="connsiteX1797" fmla="*/ 852178 w 3368309"/>
                <a:gd name="connsiteY1797" fmla="*/ 1027305 h 2031151"/>
                <a:gd name="connsiteX1798" fmla="*/ 855110 w 3368309"/>
                <a:gd name="connsiteY1798" fmla="*/ 1022418 h 2031151"/>
                <a:gd name="connsiteX1799" fmla="*/ 863092 w 3368309"/>
                <a:gd name="connsiteY1799" fmla="*/ 1020952 h 2031151"/>
                <a:gd name="connsiteX1800" fmla="*/ 865373 w 3368309"/>
                <a:gd name="connsiteY1800" fmla="*/ 1026002 h 2031151"/>
                <a:gd name="connsiteX1801" fmla="*/ 872053 w 3368309"/>
                <a:gd name="connsiteY1801" fmla="*/ 1032355 h 2031151"/>
                <a:gd name="connsiteX1802" fmla="*/ 890950 w 3368309"/>
                <a:gd name="connsiteY1802" fmla="*/ 1035450 h 2031151"/>
                <a:gd name="connsiteX1803" fmla="*/ 899096 w 3368309"/>
                <a:gd name="connsiteY1803" fmla="*/ 1037731 h 2031151"/>
                <a:gd name="connsiteX1804" fmla="*/ 908544 w 3368309"/>
                <a:gd name="connsiteY1804" fmla="*/ 1036265 h 2031151"/>
                <a:gd name="connsiteX1805" fmla="*/ 917504 w 3368309"/>
                <a:gd name="connsiteY1805" fmla="*/ 1036265 h 2031151"/>
                <a:gd name="connsiteX1806" fmla="*/ 919296 w 3368309"/>
                <a:gd name="connsiteY1806" fmla="*/ 1038709 h 2031151"/>
                <a:gd name="connsiteX1807" fmla="*/ 929234 w 3368309"/>
                <a:gd name="connsiteY1807" fmla="*/ 1040827 h 2031151"/>
                <a:gd name="connsiteX1808" fmla="*/ 936890 w 3368309"/>
                <a:gd name="connsiteY1808" fmla="*/ 1036428 h 2031151"/>
                <a:gd name="connsiteX1809" fmla="*/ 936890 w 3368309"/>
                <a:gd name="connsiteY1809" fmla="*/ 1031378 h 2031151"/>
                <a:gd name="connsiteX1810" fmla="*/ 933632 w 3368309"/>
                <a:gd name="connsiteY1810" fmla="*/ 1027631 h 2031151"/>
                <a:gd name="connsiteX1811" fmla="*/ 933632 w 3368309"/>
                <a:gd name="connsiteY1811" fmla="*/ 1021277 h 2031151"/>
                <a:gd name="connsiteX1812" fmla="*/ 936890 w 3368309"/>
                <a:gd name="connsiteY1812" fmla="*/ 1016879 h 2031151"/>
                <a:gd name="connsiteX1813" fmla="*/ 941778 w 3368309"/>
                <a:gd name="connsiteY1813" fmla="*/ 1014598 h 2031151"/>
                <a:gd name="connsiteX1814" fmla="*/ 942103 w 3368309"/>
                <a:gd name="connsiteY1814" fmla="*/ 1010851 h 2031151"/>
                <a:gd name="connsiteX1815" fmla="*/ 949271 w 3368309"/>
                <a:gd name="connsiteY1815" fmla="*/ 1003683 h 2031151"/>
                <a:gd name="connsiteX1816" fmla="*/ 949923 w 3368309"/>
                <a:gd name="connsiteY1816" fmla="*/ 998959 h 2031151"/>
                <a:gd name="connsiteX1817" fmla="*/ 954322 w 3368309"/>
                <a:gd name="connsiteY1817" fmla="*/ 986904 h 2031151"/>
                <a:gd name="connsiteX1818" fmla="*/ 949923 w 3368309"/>
                <a:gd name="connsiteY1818" fmla="*/ 979410 h 2031151"/>
                <a:gd name="connsiteX1819" fmla="*/ 951226 w 3368309"/>
                <a:gd name="connsiteY1819" fmla="*/ 970938 h 2031151"/>
                <a:gd name="connsiteX1820" fmla="*/ 959209 w 3368309"/>
                <a:gd name="connsiteY1820" fmla="*/ 956928 h 2031151"/>
                <a:gd name="connsiteX1821" fmla="*/ 960024 w 3368309"/>
                <a:gd name="connsiteY1821" fmla="*/ 952204 h 2031151"/>
                <a:gd name="connsiteX1822" fmla="*/ 952367 w 3368309"/>
                <a:gd name="connsiteY1822" fmla="*/ 933469 h 2031151"/>
                <a:gd name="connsiteX1823" fmla="*/ 941778 w 3368309"/>
                <a:gd name="connsiteY1823" fmla="*/ 927279 h 2031151"/>
                <a:gd name="connsiteX1824" fmla="*/ 938682 w 3368309"/>
                <a:gd name="connsiteY1824" fmla="*/ 922880 h 2031151"/>
                <a:gd name="connsiteX1825" fmla="*/ 937868 w 3368309"/>
                <a:gd name="connsiteY1825" fmla="*/ 908218 h 2031151"/>
                <a:gd name="connsiteX1826" fmla="*/ 945851 w 3368309"/>
                <a:gd name="connsiteY1826" fmla="*/ 902028 h 2031151"/>
                <a:gd name="connsiteX1827" fmla="*/ 949923 w 3368309"/>
                <a:gd name="connsiteY1827" fmla="*/ 896000 h 2031151"/>
                <a:gd name="connsiteX1828" fmla="*/ 956603 w 3368309"/>
                <a:gd name="connsiteY1828" fmla="*/ 895023 h 2031151"/>
                <a:gd name="connsiteX1829" fmla="*/ 967029 w 3368309"/>
                <a:gd name="connsiteY1829" fmla="*/ 884922 h 2031151"/>
                <a:gd name="connsiteX1830" fmla="*/ 974034 w 3368309"/>
                <a:gd name="connsiteY1830" fmla="*/ 884597 h 2031151"/>
                <a:gd name="connsiteX1831" fmla="*/ 982179 w 3368309"/>
                <a:gd name="connsiteY1831" fmla="*/ 892579 h 2031151"/>
                <a:gd name="connsiteX1832" fmla="*/ 982179 w 3368309"/>
                <a:gd name="connsiteY1832" fmla="*/ 899584 h 2031151"/>
                <a:gd name="connsiteX1833" fmla="*/ 990487 w 3368309"/>
                <a:gd name="connsiteY1833" fmla="*/ 903657 h 2031151"/>
                <a:gd name="connsiteX1834" fmla="*/ 992605 w 3368309"/>
                <a:gd name="connsiteY1834" fmla="*/ 907567 h 2031151"/>
                <a:gd name="connsiteX1835" fmla="*/ 994886 w 3368309"/>
                <a:gd name="connsiteY1835" fmla="*/ 907567 h 2031151"/>
                <a:gd name="connsiteX1836" fmla="*/ 1001240 w 3368309"/>
                <a:gd name="connsiteY1836" fmla="*/ 915549 h 2031151"/>
                <a:gd name="connsiteX1837" fmla="*/ 1000262 w 3368309"/>
                <a:gd name="connsiteY1837" fmla="*/ 921740 h 2031151"/>
                <a:gd name="connsiteX1838" fmla="*/ 1004660 w 3368309"/>
                <a:gd name="connsiteY1838" fmla="*/ 924672 h 2031151"/>
                <a:gd name="connsiteX1839" fmla="*/ 1005964 w 3368309"/>
                <a:gd name="connsiteY1839" fmla="*/ 930537 h 2031151"/>
                <a:gd name="connsiteX1840" fmla="*/ 1010851 w 3368309"/>
                <a:gd name="connsiteY1840" fmla="*/ 936565 h 2031151"/>
                <a:gd name="connsiteX1841" fmla="*/ 1011829 w 3368309"/>
                <a:gd name="connsiteY1841" fmla="*/ 942918 h 2031151"/>
                <a:gd name="connsiteX1842" fmla="*/ 1009385 w 3368309"/>
                <a:gd name="connsiteY1842" fmla="*/ 945199 h 2031151"/>
                <a:gd name="connsiteX1843" fmla="*/ 1013295 w 3368309"/>
                <a:gd name="connsiteY1843" fmla="*/ 951064 h 2031151"/>
                <a:gd name="connsiteX1844" fmla="*/ 1019485 w 3368309"/>
                <a:gd name="connsiteY1844" fmla="*/ 951389 h 2031151"/>
                <a:gd name="connsiteX1845" fmla="*/ 1026328 w 3368309"/>
                <a:gd name="connsiteY1845" fmla="*/ 956277 h 2031151"/>
                <a:gd name="connsiteX1846" fmla="*/ 1033333 w 3368309"/>
                <a:gd name="connsiteY1846" fmla="*/ 954648 h 2031151"/>
                <a:gd name="connsiteX1847" fmla="*/ 1037568 w 3368309"/>
                <a:gd name="connsiteY1847" fmla="*/ 953344 h 2031151"/>
                <a:gd name="connsiteX1848" fmla="*/ 1045225 w 3368309"/>
                <a:gd name="connsiteY1848" fmla="*/ 952530 h 2031151"/>
                <a:gd name="connsiteX1849" fmla="*/ 1047017 w 3368309"/>
                <a:gd name="connsiteY1849" fmla="*/ 949597 h 2031151"/>
                <a:gd name="connsiteX1850" fmla="*/ 1049949 w 3368309"/>
                <a:gd name="connsiteY1850" fmla="*/ 947805 h 2031151"/>
                <a:gd name="connsiteX1851" fmla="*/ 1046528 w 3368309"/>
                <a:gd name="connsiteY1851" fmla="*/ 946502 h 2031151"/>
                <a:gd name="connsiteX1852" fmla="*/ 1041478 w 3368309"/>
                <a:gd name="connsiteY1852" fmla="*/ 947805 h 2031151"/>
                <a:gd name="connsiteX1853" fmla="*/ 1039686 w 3368309"/>
                <a:gd name="connsiteY1853" fmla="*/ 943896 h 2031151"/>
                <a:gd name="connsiteX1854" fmla="*/ 1035776 w 3368309"/>
                <a:gd name="connsiteY1854" fmla="*/ 950412 h 2031151"/>
                <a:gd name="connsiteX1855" fmla="*/ 1028446 w 3368309"/>
                <a:gd name="connsiteY1855" fmla="*/ 950412 h 2031151"/>
                <a:gd name="connsiteX1856" fmla="*/ 1025187 w 3368309"/>
                <a:gd name="connsiteY1856" fmla="*/ 945851 h 2031151"/>
                <a:gd name="connsiteX1857" fmla="*/ 1019323 w 3368309"/>
                <a:gd name="connsiteY1857" fmla="*/ 945851 h 2031151"/>
                <a:gd name="connsiteX1858" fmla="*/ 1016227 w 3368309"/>
                <a:gd name="connsiteY1858" fmla="*/ 941452 h 2031151"/>
                <a:gd name="connsiteX1859" fmla="*/ 1018019 w 3368309"/>
                <a:gd name="connsiteY1859" fmla="*/ 937216 h 2031151"/>
                <a:gd name="connsiteX1860" fmla="*/ 1014924 w 3368309"/>
                <a:gd name="connsiteY1860" fmla="*/ 935261 h 2031151"/>
                <a:gd name="connsiteX1861" fmla="*/ 1011177 w 3368309"/>
                <a:gd name="connsiteY1861" fmla="*/ 927930 h 2031151"/>
                <a:gd name="connsiteX1862" fmla="*/ 1011829 w 3368309"/>
                <a:gd name="connsiteY1862" fmla="*/ 919459 h 2031151"/>
                <a:gd name="connsiteX1863" fmla="*/ 1016879 w 3368309"/>
                <a:gd name="connsiteY1863" fmla="*/ 918156 h 2031151"/>
                <a:gd name="connsiteX1864" fmla="*/ 1020951 w 3368309"/>
                <a:gd name="connsiteY1864" fmla="*/ 914735 h 2031151"/>
                <a:gd name="connsiteX1865" fmla="*/ 1017205 w 3368309"/>
                <a:gd name="connsiteY1865" fmla="*/ 911803 h 2031151"/>
                <a:gd name="connsiteX1866" fmla="*/ 1016064 w 3368309"/>
                <a:gd name="connsiteY1866" fmla="*/ 907730 h 2031151"/>
                <a:gd name="connsiteX1867" fmla="*/ 1014435 w 3368309"/>
                <a:gd name="connsiteY1867" fmla="*/ 906752 h 2031151"/>
                <a:gd name="connsiteX1868" fmla="*/ 1012643 w 3368309"/>
                <a:gd name="connsiteY1868" fmla="*/ 902680 h 2031151"/>
                <a:gd name="connsiteX1869" fmla="*/ 1004987 w 3368309"/>
                <a:gd name="connsiteY1869" fmla="*/ 898281 h 2031151"/>
                <a:gd name="connsiteX1870" fmla="*/ 1004660 w 3368309"/>
                <a:gd name="connsiteY1870" fmla="*/ 894208 h 2031151"/>
                <a:gd name="connsiteX1871" fmla="*/ 998796 w 3368309"/>
                <a:gd name="connsiteY1871" fmla="*/ 886552 h 2031151"/>
                <a:gd name="connsiteX1872" fmla="*/ 990162 w 3368309"/>
                <a:gd name="connsiteY1872" fmla="*/ 886552 h 2031151"/>
                <a:gd name="connsiteX1873" fmla="*/ 977944 w 3368309"/>
                <a:gd name="connsiteY1873" fmla="*/ 881664 h 2031151"/>
                <a:gd name="connsiteX1874" fmla="*/ 974848 w 3368309"/>
                <a:gd name="connsiteY1874" fmla="*/ 875800 h 2031151"/>
                <a:gd name="connsiteX1875" fmla="*/ 969472 w 3368309"/>
                <a:gd name="connsiteY1875" fmla="*/ 877754 h 2031151"/>
                <a:gd name="connsiteX1876" fmla="*/ 960187 w 3368309"/>
                <a:gd name="connsiteY1876" fmla="*/ 872378 h 2031151"/>
                <a:gd name="connsiteX1877" fmla="*/ 955788 w 3368309"/>
                <a:gd name="connsiteY1877" fmla="*/ 874008 h 2031151"/>
                <a:gd name="connsiteX1878" fmla="*/ 949435 w 3368309"/>
                <a:gd name="connsiteY1878" fmla="*/ 872053 h 2031151"/>
                <a:gd name="connsiteX1879" fmla="*/ 943244 w 3368309"/>
                <a:gd name="connsiteY1879" fmla="*/ 878406 h 2031151"/>
                <a:gd name="connsiteX1880" fmla="*/ 941452 w 3368309"/>
                <a:gd name="connsiteY1880" fmla="*/ 885411 h 2031151"/>
                <a:gd name="connsiteX1881" fmla="*/ 938031 w 3368309"/>
                <a:gd name="connsiteY1881" fmla="*/ 888344 h 2031151"/>
                <a:gd name="connsiteX1882" fmla="*/ 928908 w 3368309"/>
                <a:gd name="connsiteY1882" fmla="*/ 885411 h 2031151"/>
                <a:gd name="connsiteX1883" fmla="*/ 921414 w 3368309"/>
                <a:gd name="connsiteY1883" fmla="*/ 890136 h 2031151"/>
                <a:gd name="connsiteX1884" fmla="*/ 914246 w 3368309"/>
                <a:gd name="connsiteY1884" fmla="*/ 888018 h 2031151"/>
                <a:gd name="connsiteX1885" fmla="*/ 911476 w 3368309"/>
                <a:gd name="connsiteY1885" fmla="*/ 884597 h 2031151"/>
                <a:gd name="connsiteX1886" fmla="*/ 912291 w 3368309"/>
                <a:gd name="connsiteY1886" fmla="*/ 878080 h 2031151"/>
                <a:gd name="connsiteX1887" fmla="*/ 911476 w 3368309"/>
                <a:gd name="connsiteY1887" fmla="*/ 872704 h 2031151"/>
                <a:gd name="connsiteX1888" fmla="*/ 901865 w 3368309"/>
                <a:gd name="connsiteY1888" fmla="*/ 862604 h 2031151"/>
                <a:gd name="connsiteX1889" fmla="*/ 898770 w 3368309"/>
                <a:gd name="connsiteY1889" fmla="*/ 856576 h 2031151"/>
                <a:gd name="connsiteX1890" fmla="*/ 899747 w 3368309"/>
                <a:gd name="connsiteY1890" fmla="*/ 845173 h 2031151"/>
                <a:gd name="connsiteX1891" fmla="*/ 893882 w 3368309"/>
                <a:gd name="connsiteY1891" fmla="*/ 836050 h 2031151"/>
                <a:gd name="connsiteX1892" fmla="*/ 895186 w 3368309"/>
                <a:gd name="connsiteY1892" fmla="*/ 829696 h 2031151"/>
                <a:gd name="connsiteX1893" fmla="*/ 896652 w 3368309"/>
                <a:gd name="connsiteY1893" fmla="*/ 813080 h 2031151"/>
                <a:gd name="connsiteX1894" fmla="*/ 891928 w 3368309"/>
                <a:gd name="connsiteY1894" fmla="*/ 802653 h 2031151"/>
                <a:gd name="connsiteX1895" fmla="*/ 886389 w 3368309"/>
                <a:gd name="connsiteY1895" fmla="*/ 796626 h 2031151"/>
                <a:gd name="connsiteX1896" fmla="*/ 879872 w 3368309"/>
                <a:gd name="connsiteY1896" fmla="*/ 796626 h 2031151"/>
                <a:gd name="connsiteX1897" fmla="*/ 877266 w 3368309"/>
                <a:gd name="connsiteY1897" fmla="*/ 789458 h 2031151"/>
                <a:gd name="connsiteX1898" fmla="*/ 865536 w 3368309"/>
                <a:gd name="connsiteY1898" fmla="*/ 779357 h 2031151"/>
                <a:gd name="connsiteX1899" fmla="*/ 855925 w 3368309"/>
                <a:gd name="connsiteY1899" fmla="*/ 773981 h 2031151"/>
                <a:gd name="connsiteX1900" fmla="*/ 855925 w 3368309"/>
                <a:gd name="connsiteY1900" fmla="*/ 767628 h 2031151"/>
                <a:gd name="connsiteX1901" fmla="*/ 859183 w 3368309"/>
                <a:gd name="connsiteY1901" fmla="*/ 757690 h 2031151"/>
                <a:gd name="connsiteX1902" fmla="*/ 857717 w 3368309"/>
                <a:gd name="connsiteY1902" fmla="*/ 749708 h 2031151"/>
                <a:gd name="connsiteX1903" fmla="*/ 853807 w 3368309"/>
                <a:gd name="connsiteY1903" fmla="*/ 745961 h 2031151"/>
                <a:gd name="connsiteX1904" fmla="*/ 853807 w 3368309"/>
                <a:gd name="connsiteY1904" fmla="*/ 743029 h 2031151"/>
                <a:gd name="connsiteX1905" fmla="*/ 859020 w 3368309"/>
                <a:gd name="connsiteY1905" fmla="*/ 737653 h 2031151"/>
                <a:gd name="connsiteX1906" fmla="*/ 867491 w 3368309"/>
                <a:gd name="connsiteY1906" fmla="*/ 727715 h 2031151"/>
                <a:gd name="connsiteX1907" fmla="*/ 870260 w 3368309"/>
                <a:gd name="connsiteY1907" fmla="*/ 716474 h 2031151"/>
                <a:gd name="connsiteX1908" fmla="*/ 867003 w 3368309"/>
                <a:gd name="connsiteY1908" fmla="*/ 702790 h 2031151"/>
                <a:gd name="connsiteX1909" fmla="*/ 856250 w 3368309"/>
                <a:gd name="connsiteY1909" fmla="*/ 682101 h 2031151"/>
                <a:gd name="connsiteX1910" fmla="*/ 859508 w 3368309"/>
                <a:gd name="connsiteY1910" fmla="*/ 680146 h 2031151"/>
                <a:gd name="connsiteX1911" fmla="*/ 866839 w 3368309"/>
                <a:gd name="connsiteY1911" fmla="*/ 685359 h 2031151"/>
                <a:gd name="connsiteX1912" fmla="*/ 867980 w 3368309"/>
                <a:gd name="connsiteY1912" fmla="*/ 692201 h 2031151"/>
                <a:gd name="connsiteX1913" fmla="*/ 871401 w 3368309"/>
                <a:gd name="connsiteY1913" fmla="*/ 693178 h 2031151"/>
                <a:gd name="connsiteX1914" fmla="*/ 873682 w 3368309"/>
                <a:gd name="connsiteY1914" fmla="*/ 695948 h 2031151"/>
                <a:gd name="connsiteX1915" fmla="*/ 874333 w 3368309"/>
                <a:gd name="connsiteY1915" fmla="*/ 704093 h 2031151"/>
                <a:gd name="connsiteX1916" fmla="*/ 879872 w 3368309"/>
                <a:gd name="connsiteY1916" fmla="*/ 709469 h 2031151"/>
                <a:gd name="connsiteX1917" fmla="*/ 879221 w 3368309"/>
                <a:gd name="connsiteY1917" fmla="*/ 720710 h 2031151"/>
                <a:gd name="connsiteX1918" fmla="*/ 883293 w 3368309"/>
                <a:gd name="connsiteY1918" fmla="*/ 727715 h 2031151"/>
                <a:gd name="connsiteX1919" fmla="*/ 881013 w 3368309"/>
                <a:gd name="connsiteY1919" fmla="*/ 734069 h 2031151"/>
                <a:gd name="connsiteX1920" fmla="*/ 884108 w 3368309"/>
                <a:gd name="connsiteY1920" fmla="*/ 739608 h 2031151"/>
                <a:gd name="connsiteX1921" fmla="*/ 891765 w 3368309"/>
                <a:gd name="connsiteY1921" fmla="*/ 746450 h 2031151"/>
                <a:gd name="connsiteX1922" fmla="*/ 891765 w 3368309"/>
                <a:gd name="connsiteY1922" fmla="*/ 750685 h 2031151"/>
                <a:gd name="connsiteX1923" fmla="*/ 896163 w 3368309"/>
                <a:gd name="connsiteY1923" fmla="*/ 754432 h 2031151"/>
                <a:gd name="connsiteX1924" fmla="*/ 896163 w 3368309"/>
                <a:gd name="connsiteY1924" fmla="*/ 758179 h 2031151"/>
                <a:gd name="connsiteX1925" fmla="*/ 891765 w 3368309"/>
                <a:gd name="connsiteY1925" fmla="*/ 761274 h 2031151"/>
                <a:gd name="connsiteX1926" fmla="*/ 894208 w 3368309"/>
                <a:gd name="connsiteY1926" fmla="*/ 765347 h 2031151"/>
                <a:gd name="connsiteX1927" fmla="*/ 900399 w 3368309"/>
                <a:gd name="connsiteY1927" fmla="*/ 764207 h 2031151"/>
                <a:gd name="connsiteX1928" fmla="*/ 907404 w 3368309"/>
                <a:gd name="connsiteY1928" fmla="*/ 768605 h 2031151"/>
                <a:gd name="connsiteX1929" fmla="*/ 916527 w 3368309"/>
                <a:gd name="connsiteY1929" fmla="*/ 768605 h 2031151"/>
                <a:gd name="connsiteX1930" fmla="*/ 921414 w 3368309"/>
                <a:gd name="connsiteY1930" fmla="*/ 766488 h 2031151"/>
                <a:gd name="connsiteX1931" fmla="*/ 925976 w 3368309"/>
                <a:gd name="connsiteY1931" fmla="*/ 769746 h 2031151"/>
                <a:gd name="connsiteX1932" fmla="*/ 927767 w 3368309"/>
                <a:gd name="connsiteY1932" fmla="*/ 773818 h 2031151"/>
                <a:gd name="connsiteX1933" fmla="*/ 932329 w 3368309"/>
                <a:gd name="connsiteY1933" fmla="*/ 768280 h 2031151"/>
                <a:gd name="connsiteX1934" fmla="*/ 938194 w 3368309"/>
                <a:gd name="connsiteY1934" fmla="*/ 767628 h 2031151"/>
                <a:gd name="connsiteX1935" fmla="*/ 943081 w 3368309"/>
                <a:gd name="connsiteY1935" fmla="*/ 765184 h 2031151"/>
                <a:gd name="connsiteX1936" fmla="*/ 947480 w 3368309"/>
                <a:gd name="connsiteY1936" fmla="*/ 766325 h 2031151"/>
                <a:gd name="connsiteX1937" fmla="*/ 954485 w 3368309"/>
                <a:gd name="connsiteY1937" fmla="*/ 774144 h 2031151"/>
                <a:gd name="connsiteX1938" fmla="*/ 959372 w 3368309"/>
                <a:gd name="connsiteY1938" fmla="*/ 774796 h 2031151"/>
                <a:gd name="connsiteX1939" fmla="*/ 966214 w 3368309"/>
                <a:gd name="connsiteY1939" fmla="*/ 778706 h 2031151"/>
                <a:gd name="connsiteX1940" fmla="*/ 976803 w 3368309"/>
                <a:gd name="connsiteY1940" fmla="*/ 776914 h 2031151"/>
                <a:gd name="connsiteX1941" fmla="*/ 980387 w 3368309"/>
                <a:gd name="connsiteY1941" fmla="*/ 772026 h 2031151"/>
                <a:gd name="connsiteX1942" fmla="*/ 975989 w 3368309"/>
                <a:gd name="connsiteY1942" fmla="*/ 775122 h 2031151"/>
                <a:gd name="connsiteX1943" fmla="*/ 965562 w 3368309"/>
                <a:gd name="connsiteY1943" fmla="*/ 774144 h 2031151"/>
                <a:gd name="connsiteX1944" fmla="*/ 964259 w 3368309"/>
                <a:gd name="connsiteY1944" fmla="*/ 769094 h 2031151"/>
                <a:gd name="connsiteX1945" fmla="*/ 961001 w 3368309"/>
                <a:gd name="connsiteY1945" fmla="*/ 767954 h 2031151"/>
                <a:gd name="connsiteX1946" fmla="*/ 958069 w 3368309"/>
                <a:gd name="connsiteY1946" fmla="*/ 760460 h 2031151"/>
                <a:gd name="connsiteX1947" fmla="*/ 949435 w 3368309"/>
                <a:gd name="connsiteY1947" fmla="*/ 760460 h 2031151"/>
                <a:gd name="connsiteX1948" fmla="*/ 948457 w 3368309"/>
                <a:gd name="connsiteY1948" fmla="*/ 756387 h 2031151"/>
                <a:gd name="connsiteX1949" fmla="*/ 946176 w 3368309"/>
                <a:gd name="connsiteY1949" fmla="*/ 756061 h 2031151"/>
                <a:gd name="connsiteX1950" fmla="*/ 943081 w 3368309"/>
                <a:gd name="connsiteY1950" fmla="*/ 759482 h 2031151"/>
                <a:gd name="connsiteX1951" fmla="*/ 930537 w 3368309"/>
                <a:gd name="connsiteY1951" fmla="*/ 758505 h 2031151"/>
                <a:gd name="connsiteX1952" fmla="*/ 925650 w 3368309"/>
                <a:gd name="connsiteY1952" fmla="*/ 754595 h 2031151"/>
                <a:gd name="connsiteX1953" fmla="*/ 917178 w 3368309"/>
                <a:gd name="connsiteY1953" fmla="*/ 753944 h 2031151"/>
                <a:gd name="connsiteX1954" fmla="*/ 908219 w 3368309"/>
                <a:gd name="connsiteY1954" fmla="*/ 746287 h 2031151"/>
                <a:gd name="connsiteX1955" fmla="*/ 906264 w 3368309"/>
                <a:gd name="connsiteY1955" fmla="*/ 739933 h 2031151"/>
                <a:gd name="connsiteX1956" fmla="*/ 903168 w 3368309"/>
                <a:gd name="connsiteY1956" fmla="*/ 739608 h 2031151"/>
                <a:gd name="connsiteX1957" fmla="*/ 895349 w 3368309"/>
                <a:gd name="connsiteY1957" fmla="*/ 728041 h 2031151"/>
                <a:gd name="connsiteX1958" fmla="*/ 899096 w 3368309"/>
                <a:gd name="connsiteY1958" fmla="*/ 726738 h 2031151"/>
                <a:gd name="connsiteX1959" fmla="*/ 901376 w 3368309"/>
                <a:gd name="connsiteY1959" fmla="*/ 723805 h 2031151"/>
                <a:gd name="connsiteX1960" fmla="*/ 908544 w 3368309"/>
                <a:gd name="connsiteY1960" fmla="*/ 718592 h 2031151"/>
                <a:gd name="connsiteX1961" fmla="*/ 912454 w 3368309"/>
                <a:gd name="connsiteY1961" fmla="*/ 718592 h 2031151"/>
                <a:gd name="connsiteX1962" fmla="*/ 919459 w 3368309"/>
                <a:gd name="connsiteY1962" fmla="*/ 726738 h 2031151"/>
                <a:gd name="connsiteX1963" fmla="*/ 931026 w 3368309"/>
                <a:gd name="connsiteY1963" fmla="*/ 731625 h 2031151"/>
                <a:gd name="connsiteX1964" fmla="*/ 938194 w 3368309"/>
                <a:gd name="connsiteY1964" fmla="*/ 730159 h 2031151"/>
                <a:gd name="connsiteX1965" fmla="*/ 943733 w 3368309"/>
                <a:gd name="connsiteY1965" fmla="*/ 719896 h 2031151"/>
                <a:gd name="connsiteX1966" fmla="*/ 939008 w 3368309"/>
                <a:gd name="connsiteY1966" fmla="*/ 710610 h 2031151"/>
                <a:gd name="connsiteX1967" fmla="*/ 929560 w 3368309"/>
                <a:gd name="connsiteY1967" fmla="*/ 708329 h 2031151"/>
                <a:gd name="connsiteX1968" fmla="*/ 921089 w 3368309"/>
                <a:gd name="connsiteY1968" fmla="*/ 713705 h 2031151"/>
                <a:gd name="connsiteX1969" fmla="*/ 917830 w 3368309"/>
                <a:gd name="connsiteY1969" fmla="*/ 709958 h 2031151"/>
                <a:gd name="connsiteX1970" fmla="*/ 919133 w 3368309"/>
                <a:gd name="connsiteY1970" fmla="*/ 706863 h 2031151"/>
                <a:gd name="connsiteX1971" fmla="*/ 921577 w 3368309"/>
                <a:gd name="connsiteY1971" fmla="*/ 708655 h 2031151"/>
                <a:gd name="connsiteX1972" fmla="*/ 924509 w 3368309"/>
                <a:gd name="connsiteY1972" fmla="*/ 706700 h 2031151"/>
                <a:gd name="connsiteX1973" fmla="*/ 925161 w 3368309"/>
                <a:gd name="connsiteY1973" fmla="*/ 700835 h 2031151"/>
                <a:gd name="connsiteX1974" fmla="*/ 931351 w 3368309"/>
                <a:gd name="connsiteY1974" fmla="*/ 691224 h 2031151"/>
                <a:gd name="connsiteX1975" fmla="*/ 937216 w 3368309"/>
                <a:gd name="connsiteY1975" fmla="*/ 687802 h 2031151"/>
                <a:gd name="connsiteX1976" fmla="*/ 942267 w 3368309"/>
                <a:gd name="connsiteY1976" fmla="*/ 690083 h 2031151"/>
                <a:gd name="connsiteX1977" fmla="*/ 960024 w 3368309"/>
                <a:gd name="connsiteY1977" fmla="*/ 689757 h 2031151"/>
                <a:gd name="connsiteX1978" fmla="*/ 966214 w 3368309"/>
                <a:gd name="connsiteY1978" fmla="*/ 696274 h 2031151"/>
                <a:gd name="connsiteX1979" fmla="*/ 972567 w 3368309"/>
                <a:gd name="connsiteY1979" fmla="*/ 700509 h 2031151"/>
                <a:gd name="connsiteX1980" fmla="*/ 987392 w 3368309"/>
                <a:gd name="connsiteY1980" fmla="*/ 702301 h 2031151"/>
                <a:gd name="connsiteX1981" fmla="*/ 988533 w 3368309"/>
                <a:gd name="connsiteY1981" fmla="*/ 707352 h 2031151"/>
                <a:gd name="connsiteX1982" fmla="*/ 994398 w 3368309"/>
                <a:gd name="connsiteY1982" fmla="*/ 710447 h 2031151"/>
                <a:gd name="connsiteX1983" fmla="*/ 1004987 w 3368309"/>
                <a:gd name="connsiteY1983" fmla="*/ 721199 h 2031151"/>
                <a:gd name="connsiteX1984" fmla="*/ 1012317 w 3368309"/>
                <a:gd name="connsiteY1984" fmla="*/ 721525 h 2031151"/>
                <a:gd name="connsiteX1985" fmla="*/ 1025839 w 3368309"/>
                <a:gd name="connsiteY1985" fmla="*/ 719570 h 2031151"/>
                <a:gd name="connsiteX1986" fmla="*/ 1036591 w 3368309"/>
                <a:gd name="connsiteY1986" fmla="*/ 713053 h 2031151"/>
                <a:gd name="connsiteX1987" fmla="*/ 1040501 w 3368309"/>
                <a:gd name="connsiteY1987" fmla="*/ 716963 h 2031151"/>
                <a:gd name="connsiteX1988" fmla="*/ 1042619 w 3368309"/>
                <a:gd name="connsiteY1988" fmla="*/ 716312 h 2031151"/>
                <a:gd name="connsiteX1989" fmla="*/ 1048646 w 3368309"/>
                <a:gd name="connsiteY1989" fmla="*/ 716963 h 2031151"/>
                <a:gd name="connsiteX1990" fmla="*/ 1047343 w 3368309"/>
                <a:gd name="connsiteY1990" fmla="*/ 726086 h 2031151"/>
                <a:gd name="connsiteX1991" fmla="*/ 1048321 w 3368309"/>
                <a:gd name="connsiteY1991" fmla="*/ 731136 h 2031151"/>
                <a:gd name="connsiteX1992" fmla="*/ 1048321 w 3368309"/>
                <a:gd name="connsiteY1992" fmla="*/ 735046 h 2031151"/>
                <a:gd name="connsiteX1993" fmla="*/ 1040501 w 3368309"/>
                <a:gd name="connsiteY1993" fmla="*/ 739445 h 2031151"/>
                <a:gd name="connsiteX1994" fmla="*/ 1040501 w 3368309"/>
                <a:gd name="connsiteY1994" fmla="*/ 746287 h 2031151"/>
                <a:gd name="connsiteX1995" fmla="*/ 1043596 w 3368309"/>
                <a:gd name="connsiteY1995" fmla="*/ 752152 h 2031151"/>
                <a:gd name="connsiteX1996" fmla="*/ 1043596 w 3368309"/>
                <a:gd name="connsiteY1996" fmla="*/ 760623 h 2031151"/>
                <a:gd name="connsiteX1997" fmla="*/ 1052067 w 3368309"/>
                <a:gd name="connsiteY1997" fmla="*/ 767139 h 2031151"/>
                <a:gd name="connsiteX1998" fmla="*/ 1052719 w 3368309"/>
                <a:gd name="connsiteY1998" fmla="*/ 773004 h 2031151"/>
                <a:gd name="connsiteX1999" fmla="*/ 1049298 w 3368309"/>
                <a:gd name="connsiteY1999" fmla="*/ 777402 h 2031151"/>
                <a:gd name="connsiteX2000" fmla="*/ 1051578 w 3368309"/>
                <a:gd name="connsiteY2000" fmla="*/ 793530 h 2031151"/>
                <a:gd name="connsiteX2001" fmla="*/ 1054837 w 3368309"/>
                <a:gd name="connsiteY2001" fmla="*/ 793205 h 2031151"/>
                <a:gd name="connsiteX2002" fmla="*/ 1056466 w 3368309"/>
                <a:gd name="connsiteY2002" fmla="*/ 787992 h 2031151"/>
                <a:gd name="connsiteX2003" fmla="*/ 1054837 w 3368309"/>
                <a:gd name="connsiteY2003" fmla="*/ 784570 h 2031151"/>
                <a:gd name="connsiteX2004" fmla="*/ 1057932 w 3368309"/>
                <a:gd name="connsiteY2004" fmla="*/ 780661 h 2031151"/>
                <a:gd name="connsiteX2005" fmla="*/ 1057117 w 3368309"/>
                <a:gd name="connsiteY2005" fmla="*/ 774307 h 2031151"/>
                <a:gd name="connsiteX2006" fmla="*/ 1061027 w 3368309"/>
                <a:gd name="connsiteY2006" fmla="*/ 772678 h 2031151"/>
                <a:gd name="connsiteX2007" fmla="*/ 1063960 w 3368309"/>
                <a:gd name="connsiteY2007" fmla="*/ 764533 h 2031151"/>
                <a:gd name="connsiteX2008" fmla="*/ 1068032 w 3368309"/>
                <a:gd name="connsiteY2008" fmla="*/ 767465 h 2031151"/>
                <a:gd name="connsiteX2009" fmla="*/ 1071128 w 3368309"/>
                <a:gd name="connsiteY2009" fmla="*/ 776425 h 2031151"/>
                <a:gd name="connsiteX2010" fmla="*/ 1071942 w 3368309"/>
                <a:gd name="connsiteY2010" fmla="*/ 788480 h 2031151"/>
                <a:gd name="connsiteX2011" fmla="*/ 1073246 w 3368309"/>
                <a:gd name="connsiteY2011" fmla="*/ 792553 h 2031151"/>
                <a:gd name="connsiteX2012" fmla="*/ 1069824 w 3368309"/>
                <a:gd name="connsiteY2012" fmla="*/ 794834 h 2031151"/>
                <a:gd name="connsiteX2013" fmla="*/ 1069824 w 3368309"/>
                <a:gd name="connsiteY2013" fmla="*/ 800861 h 2031151"/>
                <a:gd name="connsiteX2014" fmla="*/ 1067544 w 3368309"/>
                <a:gd name="connsiteY2014" fmla="*/ 802816 h 2031151"/>
                <a:gd name="connsiteX2015" fmla="*/ 1076830 w 3368309"/>
                <a:gd name="connsiteY2015" fmla="*/ 809007 h 2031151"/>
                <a:gd name="connsiteX2016" fmla="*/ 1084975 w 3368309"/>
                <a:gd name="connsiteY2016" fmla="*/ 808518 h 2031151"/>
                <a:gd name="connsiteX2017" fmla="*/ 1092957 w 3368309"/>
                <a:gd name="connsiteY2017" fmla="*/ 810473 h 2031151"/>
                <a:gd name="connsiteX2018" fmla="*/ 1097845 w 3368309"/>
                <a:gd name="connsiteY2018" fmla="*/ 816989 h 2031151"/>
                <a:gd name="connsiteX2019" fmla="*/ 1097519 w 3368309"/>
                <a:gd name="connsiteY2019" fmla="*/ 822365 h 2031151"/>
                <a:gd name="connsiteX2020" fmla="*/ 1103058 w 3368309"/>
                <a:gd name="connsiteY2020" fmla="*/ 826601 h 2031151"/>
                <a:gd name="connsiteX2021" fmla="*/ 1113484 w 3368309"/>
                <a:gd name="connsiteY2021" fmla="*/ 826601 h 2031151"/>
                <a:gd name="connsiteX2022" fmla="*/ 1123747 w 3368309"/>
                <a:gd name="connsiteY2022" fmla="*/ 837516 h 2031151"/>
                <a:gd name="connsiteX2023" fmla="*/ 1122770 w 3368309"/>
                <a:gd name="connsiteY2023" fmla="*/ 833769 h 2031151"/>
                <a:gd name="connsiteX2024" fmla="*/ 1122770 w 3368309"/>
                <a:gd name="connsiteY2024" fmla="*/ 826601 h 2031151"/>
                <a:gd name="connsiteX2025" fmla="*/ 1130753 w 3368309"/>
                <a:gd name="connsiteY2025" fmla="*/ 818456 h 2031151"/>
                <a:gd name="connsiteX2026" fmla="*/ 1136291 w 3368309"/>
                <a:gd name="connsiteY2026" fmla="*/ 818456 h 2031151"/>
                <a:gd name="connsiteX2027" fmla="*/ 1147369 w 3368309"/>
                <a:gd name="connsiteY2027" fmla="*/ 826927 h 2031151"/>
                <a:gd name="connsiteX2028" fmla="*/ 1155026 w 3368309"/>
                <a:gd name="connsiteY2028" fmla="*/ 826927 h 2031151"/>
                <a:gd name="connsiteX2029" fmla="*/ 1159099 w 3368309"/>
                <a:gd name="connsiteY2029" fmla="*/ 831977 h 2031151"/>
                <a:gd name="connsiteX2030" fmla="*/ 1161542 w 3368309"/>
                <a:gd name="connsiteY2030" fmla="*/ 841426 h 2031151"/>
                <a:gd name="connsiteX2031" fmla="*/ 1160402 w 3368309"/>
                <a:gd name="connsiteY2031" fmla="*/ 831162 h 2031151"/>
                <a:gd name="connsiteX2032" fmla="*/ 1157307 w 3368309"/>
                <a:gd name="connsiteY2032" fmla="*/ 824646 h 2031151"/>
                <a:gd name="connsiteX2033" fmla="*/ 1152582 w 3368309"/>
                <a:gd name="connsiteY2033" fmla="*/ 824646 h 2031151"/>
                <a:gd name="connsiteX2034" fmla="*/ 1145577 w 3368309"/>
                <a:gd name="connsiteY2034" fmla="*/ 821877 h 2031151"/>
                <a:gd name="connsiteX2035" fmla="*/ 1135965 w 3368309"/>
                <a:gd name="connsiteY2035" fmla="*/ 815523 h 2031151"/>
                <a:gd name="connsiteX2036" fmla="*/ 1127657 w 3368309"/>
                <a:gd name="connsiteY2036" fmla="*/ 817152 h 2031151"/>
                <a:gd name="connsiteX2037" fmla="*/ 1119349 w 3368309"/>
                <a:gd name="connsiteY2037" fmla="*/ 823669 h 2031151"/>
                <a:gd name="connsiteX2038" fmla="*/ 1115439 w 3368309"/>
                <a:gd name="connsiteY2038" fmla="*/ 822365 h 2031151"/>
                <a:gd name="connsiteX2039" fmla="*/ 1114462 w 3368309"/>
                <a:gd name="connsiteY2039" fmla="*/ 823343 h 2031151"/>
                <a:gd name="connsiteX2040" fmla="*/ 1105501 w 3368309"/>
                <a:gd name="connsiteY2040" fmla="*/ 819596 h 2031151"/>
                <a:gd name="connsiteX2041" fmla="*/ 1096053 w 3368309"/>
                <a:gd name="connsiteY2041" fmla="*/ 809333 h 2031151"/>
                <a:gd name="connsiteX2042" fmla="*/ 1091003 w 3368309"/>
                <a:gd name="connsiteY2042" fmla="*/ 805586 h 2031151"/>
                <a:gd name="connsiteX2043" fmla="*/ 1082205 w 3368309"/>
                <a:gd name="connsiteY2043" fmla="*/ 804771 h 2031151"/>
                <a:gd name="connsiteX2044" fmla="*/ 1077318 w 3368309"/>
                <a:gd name="connsiteY2044" fmla="*/ 797277 h 2031151"/>
                <a:gd name="connsiteX2045" fmla="*/ 1081391 w 3368309"/>
                <a:gd name="connsiteY2045" fmla="*/ 798744 h 2031151"/>
                <a:gd name="connsiteX2046" fmla="*/ 1084486 w 3368309"/>
                <a:gd name="connsiteY2046" fmla="*/ 798092 h 2031151"/>
                <a:gd name="connsiteX2047" fmla="*/ 1090351 w 3368309"/>
                <a:gd name="connsiteY2047" fmla="*/ 786851 h 2031151"/>
                <a:gd name="connsiteX2048" fmla="*/ 1088396 w 3368309"/>
                <a:gd name="connsiteY2048" fmla="*/ 781638 h 2031151"/>
                <a:gd name="connsiteX2049" fmla="*/ 1081391 w 3368309"/>
                <a:gd name="connsiteY2049" fmla="*/ 775448 h 2031151"/>
                <a:gd name="connsiteX2050" fmla="*/ 1078296 w 3368309"/>
                <a:gd name="connsiteY2050" fmla="*/ 764044 h 2031151"/>
                <a:gd name="connsiteX2051" fmla="*/ 1070150 w 3368309"/>
                <a:gd name="connsiteY2051" fmla="*/ 752314 h 2031151"/>
                <a:gd name="connsiteX2052" fmla="*/ 1065100 w 3368309"/>
                <a:gd name="connsiteY2052" fmla="*/ 748893 h 2031151"/>
                <a:gd name="connsiteX2053" fmla="*/ 1059561 w 3368309"/>
                <a:gd name="connsiteY2053" fmla="*/ 741888 h 2031151"/>
                <a:gd name="connsiteX2054" fmla="*/ 1060864 w 3368309"/>
                <a:gd name="connsiteY2054" fmla="*/ 735861 h 2031151"/>
                <a:gd name="connsiteX2055" fmla="*/ 1059072 w 3368309"/>
                <a:gd name="connsiteY2055" fmla="*/ 730485 h 2031151"/>
                <a:gd name="connsiteX2056" fmla="*/ 1057769 w 3368309"/>
                <a:gd name="connsiteY2056" fmla="*/ 717289 h 2031151"/>
                <a:gd name="connsiteX2057" fmla="*/ 1052556 w 3368309"/>
                <a:gd name="connsiteY2057" fmla="*/ 711098 h 2031151"/>
                <a:gd name="connsiteX2058" fmla="*/ 1049135 w 3368309"/>
                <a:gd name="connsiteY2058" fmla="*/ 711098 h 2031151"/>
                <a:gd name="connsiteX2059" fmla="*/ 1040175 w 3368309"/>
                <a:gd name="connsiteY2059" fmla="*/ 705234 h 2031151"/>
                <a:gd name="connsiteX2060" fmla="*/ 1026816 w 3368309"/>
                <a:gd name="connsiteY2060" fmla="*/ 704908 h 2031151"/>
                <a:gd name="connsiteX2061" fmla="*/ 1022744 w 3368309"/>
                <a:gd name="connsiteY2061" fmla="*/ 697740 h 2031151"/>
                <a:gd name="connsiteX2062" fmla="*/ 1015087 w 3368309"/>
                <a:gd name="connsiteY2062" fmla="*/ 693667 h 2031151"/>
                <a:gd name="connsiteX2063" fmla="*/ 1015087 w 3368309"/>
                <a:gd name="connsiteY2063" fmla="*/ 687151 h 2031151"/>
                <a:gd name="connsiteX2064" fmla="*/ 1012969 w 3368309"/>
                <a:gd name="connsiteY2064" fmla="*/ 682915 h 2031151"/>
                <a:gd name="connsiteX2065" fmla="*/ 1012969 w 3368309"/>
                <a:gd name="connsiteY2065" fmla="*/ 679005 h 2031151"/>
                <a:gd name="connsiteX2066" fmla="*/ 1006778 w 3368309"/>
                <a:gd name="connsiteY2066" fmla="*/ 682915 h 2031151"/>
                <a:gd name="connsiteX2067" fmla="*/ 989184 w 3368309"/>
                <a:gd name="connsiteY2067" fmla="*/ 682101 h 2031151"/>
                <a:gd name="connsiteX2068" fmla="*/ 983157 w 3368309"/>
                <a:gd name="connsiteY2068" fmla="*/ 682752 h 2031151"/>
                <a:gd name="connsiteX2069" fmla="*/ 975826 w 3368309"/>
                <a:gd name="connsiteY2069" fmla="*/ 677865 h 2031151"/>
                <a:gd name="connsiteX2070" fmla="*/ 974848 w 3368309"/>
                <a:gd name="connsiteY2070" fmla="*/ 670860 h 2031151"/>
                <a:gd name="connsiteX2071" fmla="*/ 972567 w 3368309"/>
                <a:gd name="connsiteY2071" fmla="*/ 670860 h 2031151"/>
                <a:gd name="connsiteX2072" fmla="*/ 970450 w 3368309"/>
                <a:gd name="connsiteY2072" fmla="*/ 666624 h 2031151"/>
                <a:gd name="connsiteX2073" fmla="*/ 971101 w 3368309"/>
                <a:gd name="connsiteY2073" fmla="*/ 657501 h 2031151"/>
                <a:gd name="connsiteX2074" fmla="*/ 964585 w 3368309"/>
                <a:gd name="connsiteY2074" fmla="*/ 645935 h 2031151"/>
                <a:gd name="connsiteX2075" fmla="*/ 955462 w 3368309"/>
                <a:gd name="connsiteY2075" fmla="*/ 640559 h 2031151"/>
                <a:gd name="connsiteX2076" fmla="*/ 957417 w 3368309"/>
                <a:gd name="connsiteY2076" fmla="*/ 636649 h 2031151"/>
                <a:gd name="connsiteX2077" fmla="*/ 956276 w 3368309"/>
                <a:gd name="connsiteY2077" fmla="*/ 633554 h 2031151"/>
                <a:gd name="connsiteX2078" fmla="*/ 952204 w 3368309"/>
                <a:gd name="connsiteY2078" fmla="*/ 633554 h 2031151"/>
                <a:gd name="connsiteX2079" fmla="*/ 949108 w 3368309"/>
                <a:gd name="connsiteY2079" fmla="*/ 630133 h 2031151"/>
                <a:gd name="connsiteX2080" fmla="*/ 950575 w 3368309"/>
                <a:gd name="connsiteY2080" fmla="*/ 624919 h 2031151"/>
                <a:gd name="connsiteX2081" fmla="*/ 950575 w 3368309"/>
                <a:gd name="connsiteY2081" fmla="*/ 619381 h 2031151"/>
                <a:gd name="connsiteX2082" fmla="*/ 944710 w 3368309"/>
                <a:gd name="connsiteY2082" fmla="*/ 614656 h 2031151"/>
                <a:gd name="connsiteX2083" fmla="*/ 948620 w 3368309"/>
                <a:gd name="connsiteY2083" fmla="*/ 611561 h 2031151"/>
                <a:gd name="connsiteX2084" fmla="*/ 955788 w 3368309"/>
                <a:gd name="connsiteY2084" fmla="*/ 611561 h 2031151"/>
                <a:gd name="connsiteX2085" fmla="*/ 962141 w 3368309"/>
                <a:gd name="connsiteY2085" fmla="*/ 605045 h 2031151"/>
                <a:gd name="connsiteX2086" fmla="*/ 968332 w 3368309"/>
                <a:gd name="connsiteY2086" fmla="*/ 605045 h 2031151"/>
                <a:gd name="connsiteX2087" fmla="*/ 982179 w 3368309"/>
                <a:gd name="connsiteY2087" fmla="*/ 601949 h 2031151"/>
                <a:gd name="connsiteX2088" fmla="*/ 1001728 w 3368309"/>
                <a:gd name="connsiteY2088" fmla="*/ 594781 h 2031151"/>
                <a:gd name="connsiteX2089" fmla="*/ 1009059 w 3368309"/>
                <a:gd name="connsiteY2089" fmla="*/ 588428 h 2031151"/>
                <a:gd name="connsiteX2090" fmla="*/ 1015250 w 3368309"/>
                <a:gd name="connsiteY2090" fmla="*/ 587125 h 2031151"/>
                <a:gd name="connsiteX2091" fmla="*/ 1020300 w 3368309"/>
                <a:gd name="connsiteY2091" fmla="*/ 589079 h 2031151"/>
                <a:gd name="connsiteX2092" fmla="*/ 1026490 w 3368309"/>
                <a:gd name="connsiteY2092" fmla="*/ 586636 h 2031151"/>
                <a:gd name="connsiteX2093" fmla="*/ 1029260 w 3368309"/>
                <a:gd name="connsiteY2093" fmla="*/ 580445 h 2031151"/>
                <a:gd name="connsiteX2094" fmla="*/ 1038546 w 3368309"/>
                <a:gd name="connsiteY2094" fmla="*/ 577024 h 2031151"/>
                <a:gd name="connsiteX2095" fmla="*/ 1056303 w 3368309"/>
                <a:gd name="connsiteY2095" fmla="*/ 569530 h 2031151"/>
                <a:gd name="connsiteX2096" fmla="*/ 1058095 w 3368309"/>
                <a:gd name="connsiteY2096" fmla="*/ 571648 h 2031151"/>
                <a:gd name="connsiteX2097" fmla="*/ 1055162 w 3368309"/>
                <a:gd name="connsiteY2097" fmla="*/ 577024 h 2031151"/>
                <a:gd name="connsiteX2098" fmla="*/ 1055814 w 3368309"/>
                <a:gd name="connsiteY2098" fmla="*/ 580934 h 2031151"/>
                <a:gd name="connsiteX2099" fmla="*/ 1051905 w 3368309"/>
                <a:gd name="connsiteY2099" fmla="*/ 583704 h 2031151"/>
                <a:gd name="connsiteX2100" fmla="*/ 1047017 w 3368309"/>
                <a:gd name="connsiteY2100" fmla="*/ 594130 h 2031151"/>
                <a:gd name="connsiteX2101" fmla="*/ 1047017 w 3368309"/>
                <a:gd name="connsiteY2101" fmla="*/ 599669 h 2031151"/>
                <a:gd name="connsiteX2102" fmla="*/ 1057932 w 3368309"/>
                <a:gd name="connsiteY2102" fmla="*/ 608140 h 2031151"/>
                <a:gd name="connsiteX2103" fmla="*/ 1067381 w 3368309"/>
                <a:gd name="connsiteY2103" fmla="*/ 608140 h 2031151"/>
                <a:gd name="connsiteX2104" fmla="*/ 1061842 w 3368309"/>
                <a:gd name="connsiteY2104" fmla="*/ 605370 h 2031151"/>
                <a:gd name="connsiteX2105" fmla="*/ 1052882 w 3368309"/>
                <a:gd name="connsiteY2105" fmla="*/ 596410 h 2031151"/>
                <a:gd name="connsiteX2106" fmla="*/ 1052882 w 3368309"/>
                <a:gd name="connsiteY2106" fmla="*/ 592989 h 2031151"/>
                <a:gd name="connsiteX2107" fmla="*/ 1056792 w 3368309"/>
                <a:gd name="connsiteY2107" fmla="*/ 587450 h 2031151"/>
                <a:gd name="connsiteX2108" fmla="*/ 1067055 w 3368309"/>
                <a:gd name="connsiteY2108" fmla="*/ 581260 h 2031151"/>
                <a:gd name="connsiteX2109" fmla="*/ 1070802 w 3368309"/>
                <a:gd name="connsiteY2109" fmla="*/ 571974 h 2031151"/>
                <a:gd name="connsiteX2110" fmla="*/ 1067055 w 3368309"/>
                <a:gd name="connsiteY2110" fmla="*/ 564643 h 2031151"/>
                <a:gd name="connsiteX2111" fmla="*/ 1060864 w 3368309"/>
                <a:gd name="connsiteY2111" fmla="*/ 564643 h 2031151"/>
                <a:gd name="connsiteX2112" fmla="*/ 1053533 w 3368309"/>
                <a:gd name="connsiteY2112" fmla="*/ 559593 h 2031151"/>
                <a:gd name="connsiteX2113" fmla="*/ 1055162 w 3368309"/>
                <a:gd name="connsiteY2113" fmla="*/ 555194 h 2031151"/>
                <a:gd name="connsiteX2114" fmla="*/ 1047180 w 3368309"/>
                <a:gd name="connsiteY2114" fmla="*/ 554869 h 2031151"/>
                <a:gd name="connsiteX2115" fmla="*/ 1044736 w 3368309"/>
                <a:gd name="connsiteY2115" fmla="*/ 557964 h 2031151"/>
                <a:gd name="connsiteX2116" fmla="*/ 1041641 w 3368309"/>
                <a:gd name="connsiteY2116" fmla="*/ 555520 h 2031151"/>
                <a:gd name="connsiteX2117" fmla="*/ 1039198 w 3368309"/>
                <a:gd name="connsiteY2117" fmla="*/ 548515 h 2031151"/>
                <a:gd name="connsiteX2118" fmla="*/ 1030726 w 3368309"/>
                <a:gd name="connsiteY2118" fmla="*/ 548841 h 2031151"/>
                <a:gd name="connsiteX2119" fmla="*/ 1026653 w 3368309"/>
                <a:gd name="connsiteY2119" fmla="*/ 550633 h 2031151"/>
                <a:gd name="connsiteX2120" fmla="*/ 1020626 w 3368309"/>
                <a:gd name="connsiteY2120" fmla="*/ 543465 h 2031151"/>
                <a:gd name="connsiteX2121" fmla="*/ 1023069 w 3368309"/>
                <a:gd name="connsiteY2121" fmla="*/ 541673 h 2031151"/>
                <a:gd name="connsiteX2122" fmla="*/ 1023884 w 3368309"/>
                <a:gd name="connsiteY2122" fmla="*/ 537600 h 2031151"/>
                <a:gd name="connsiteX2123" fmla="*/ 1026816 w 3368309"/>
                <a:gd name="connsiteY2123" fmla="*/ 535971 h 2031151"/>
                <a:gd name="connsiteX2124" fmla="*/ 1031703 w 3368309"/>
                <a:gd name="connsiteY2124" fmla="*/ 540370 h 2031151"/>
                <a:gd name="connsiteX2125" fmla="*/ 1037894 w 3368309"/>
                <a:gd name="connsiteY2125" fmla="*/ 540370 h 2031151"/>
                <a:gd name="connsiteX2126" fmla="*/ 1043107 w 3368309"/>
                <a:gd name="connsiteY2126" fmla="*/ 537437 h 2031151"/>
                <a:gd name="connsiteX2127" fmla="*/ 1041152 w 3368309"/>
                <a:gd name="connsiteY2127" fmla="*/ 534342 h 2031151"/>
                <a:gd name="connsiteX2128" fmla="*/ 1038383 w 3368309"/>
                <a:gd name="connsiteY2128" fmla="*/ 535645 h 2031151"/>
                <a:gd name="connsiteX2129" fmla="*/ 1033496 w 3368309"/>
                <a:gd name="connsiteY2129" fmla="*/ 536949 h 2031151"/>
                <a:gd name="connsiteX2130" fmla="*/ 1028446 w 3368309"/>
                <a:gd name="connsiteY2130" fmla="*/ 533039 h 2031151"/>
                <a:gd name="connsiteX2131" fmla="*/ 1027468 w 3368309"/>
                <a:gd name="connsiteY2131" fmla="*/ 528151 h 2031151"/>
                <a:gd name="connsiteX2132" fmla="*/ 1021603 w 3368309"/>
                <a:gd name="connsiteY2132" fmla="*/ 527337 h 2031151"/>
                <a:gd name="connsiteX2133" fmla="*/ 1013458 w 3368309"/>
                <a:gd name="connsiteY2133" fmla="*/ 524893 h 2031151"/>
                <a:gd name="connsiteX2134" fmla="*/ 1008408 w 3368309"/>
                <a:gd name="connsiteY2134" fmla="*/ 527174 h 2031151"/>
                <a:gd name="connsiteX2135" fmla="*/ 1005149 w 3368309"/>
                <a:gd name="connsiteY2135" fmla="*/ 521961 h 2031151"/>
                <a:gd name="connsiteX2136" fmla="*/ 1008082 w 3368309"/>
                <a:gd name="connsiteY2136" fmla="*/ 518703 h 2031151"/>
                <a:gd name="connsiteX2137" fmla="*/ 1007756 w 3368309"/>
                <a:gd name="connsiteY2137" fmla="*/ 514141 h 2031151"/>
                <a:gd name="connsiteX2138" fmla="*/ 1004498 w 3368309"/>
                <a:gd name="connsiteY2138" fmla="*/ 511046 h 2031151"/>
                <a:gd name="connsiteX2139" fmla="*/ 1005638 w 3368309"/>
                <a:gd name="connsiteY2139" fmla="*/ 509091 h 2031151"/>
                <a:gd name="connsiteX2140" fmla="*/ 1009385 w 3368309"/>
                <a:gd name="connsiteY2140" fmla="*/ 509906 h 2031151"/>
                <a:gd name="connsiteX2141" fmla="*/ 1014761 w 3368309"/>
                <a:gd name="connsiteY2141" fmla="*/ 517399 h 2031151"/>
                <a:gd name="connsiteX2142" fmla="*/ 1019485 w 3368309"/>
                <a:gd name="connsiteY2142" fmla="*/ 516096 h 2031151"/>
                <a:gd name="connsiteX2143" fmla="*/ 1025024 w 3368309"/>
                <a:gd name="connsiteY2143" fmla="*/ 524079 h 2031151"/>
                <a:gd name="connsiteX2144" fmla="*/ 1025839 w 3368309"/>
                <a:gd name="connsiteY2144" fmla="*/ 519191 h 2031151"/>
                <a:gd name="connsiteX2145" fmla="*/ 1024862 w 3368309"/>
                <a:gd name="connsiteY2145" fmla="*/ 515445 h 2031151"/>
                <a:gd name="connsiteX2146" fmla="*/ 1029423 w 3368309"/>
                <a:gd name="connsiteY2146" fmla="*/ 512186 h 2031151"/>
                <a:gd name="connsiteX2147" fmla="*/ 1030400 w 3368309"/>
                <a:gd name="connsiteY2147" fmla="*/ 501923 h 2031151"/>
                <a:gd name="connsiteX2148" fmla="*/ 1026490 w 3368309"/>
                <a:gd name="connsiteY2148" fmla="*/ 498828 h 2031151"/>
                <a:gd name="connsiteX2149" fmla="*/ 1027631 w 3368309"/>
                <a:gd name="connsiteY2149" fmla="*/ 496873 h 2031151"/>
                <a:gd name="connsiteX2150" fmla="*/ 1032844 w 3368309"/>
                <a:gd name="connsiteY2150" fmla="*/ 497850 h 2031151"/>
                <a:gd name="connsiteX2151" fmla="*/ 1035614 w 3368309"/>
                <a:gd name="connsiteY2151" fmla="*/ 493941 h 2031151"/>
                <a:gd name="connsiteX2152" fmla="*/ 1023558 w 3368309"/>
                <a:gd name="connsiteY2152" fmla="*/ 491008 h 2031151"/>
                <a:gd name="connsiteX2153" fmla="*/ 1021114 w 3368309"/>
                <a:gd name="connsiteY2153" fmla="*/ 494429 h 2031151"/>
                <a:gd name="connsiteX2154" fmla="*/ 1017205 w 3368309"/>
                <a:gd name="connsiteY2154" fmla="*/ 494429 h 2031151"/>
                <a:gd name="connsiteX2155" fmla="*/ 1017367 w 3368309"/>
                <a:gd name="connsiteY2155" fmla="*/ 489216 h 2031151"/>
                <a:gd name="connsiteX2156" fmla="*/ 1022255 w 3368309"/>
                <a:gd name="connsiteY2156" fmla="*/ 485143 h 2031151"/>
                <a:gd name="connsiteX2157" fmla="*/ 1030889 w 3368309"/>
                <a:gd name="connsiteY2157" fmla="*/ 484818 h 2031151"/>
                <a:gd name="connsiteX2158" fmla="*/ 1037242 w 3368309"/>
                <a:gd name="connsiteY2158" fmla="*/ 482700 h 2031151"/>
                <a:gd name="connsiteX2159" fmla="*/ 1036428 w 3368309"/>
                <a:gd name="connsiteY2159" fmla="*/ 478138 h 2031151"/>
                <a:gd name="connsiteX2160" fmla="*/ 1041478 w 3368309"/>
                <a:gd name="connsiteY2160" fmla="*/ 472599 h 2031151"/>
                <a:gd name="connsiteX2161" fmla="*/ 1041478 w 3368309"/>
                <a:gd name="connsiteY2161" fmla="*/ 467712 h 2031151"/>
                <a:gd name="connsiteX2162" fmla="*/ 1043270 w 3368309"/>
                <a:gd name="connsiteY2162" fmla="*/ 465757 h 2031151"/>
                <a:gd name="connsiteX2163" fmla="*/ 1042456 w 3368309"/>
                <a:gd name="connsiteY2163" fmla="*/ 463314 h 2031151"/>
                <a:gd name="connsiteX2164" fmla="*/ 1047343 w 3368309"/>
                <a:gd name="connsiteY2164" fmla="*/ 456309 h 2031151"/>
                <a:gd name="connsiteX2165" fmla="*/ 1049298 w 3368309"/>
                <a:gd name="connsiteY2165" fmla="*/ 456309 h 2031151"/>
                <a:gd name="connsiteX2166" fmla="*/ 1051578 w 3368309"/>
                <a:gd name="connsiteY2166" fmla="*/ 459730 h 2031151"/>
                <a:gd name="connsiteX2167" fmla="*/ 1054348 w 3368309"/>
                <a:gd name="connsiteY2167" fmla="*/ 458426 h 2031151"/>
                <a:gd name="connsiteX2168" fmla="*/ 1055814 w 3368309"/>
                <a:gd name="connsiteY2168" fmla="*/ 453865 h 2031151"/>
                <a:gd name="connsiteX2169" fmla="*/ 1057932 w 3368309"/>
                <a:gd name="connsiteY2169" fmla="*/ 453865 h 2031151"/>
                <a:gd name="connsiteX2170" fmla="*/ 1054837 w 3368309"/>
                <a:gd name="connsiteY2170" fmla="*/ 449141 h 2031151"/>
                <a:gd name="connsiteX2171" fmla="*/ 1056792 w 3368309"/>
                <a:gd name="connsiteY2171" fmla="*/ 446208 h 2031151"/>
                <a:gd name="connsiteX2172" fmla="*/ 1063308 w 3368309"/>
                <a:gd name="connsiteY2172" fmla="*/ 444090 h 2031151"/>
                <a:gd name="connsiteX2173" fmla="*/ 1066240 w 3368309"/>
                <a:gd name="connsiteY2173" fmla="*/ 442787 h 2031151"/>
                <a:gd name="connsiteX2174" fmla="*/ 1067544 w 3368309"/>
                <a:gd name="connsiteY2174" fmla="*/ 438063 h 2031151"/>
                <a:gd name="connsiteX2175" fmla="*/ 1070313 w 3368309"/>
                <a:gd name="connsiteY2175" fmla="*/ 437411 h 2031151"/>
                <a:gd name="connsiteX2176" fmla="*/ 1075037 w 3368309"/>
                <a:gd name="connsiteY2176" fmla="*/ 439366 h 2031151"/>
                <a:gd name="connsiteX2177" fmla="*/ 1083672 w 3368309"/>
                <a:gd name="connsiteY2177" fmla="*/ 437411 h 2031151"/>
                <a:gd name="connsiteX2178" fmla="*/ 1081717 w 3368309"/>
                <a:gd name="connsiteY2178" fmla="*/ 434316 h 2031151"/>
                <a:gd name="connsiteX2179" fmla="*/ 1082531 w 3368309"/>
                <a:gd name="connsiteY2179" fmla="*/ 430243 h 2031151"/>
                <a:gd name="connsiteX2180" fmla="*/ 1093772 w 3368309"/>
                <a:gd name="connsiteY2180" fmla="*/ 428451 h 2031151"/>
                <a:gd name="connsiteX2181" fmla="*/ 1099962 w 3368309"/>
                <a:gd name="connsiteY2181" fmla="*/ 424704 h 2031151"/>
                <a:gd name="connsiteX2182" fmla="*/ 1102406 w 3368309"/>
                <a:gd name="connsiteY2182" fmla="*/ 419328 h 2031151"/>
                <a:gd name="connsiteX2183" fmla="*/ 1116742 w 3368309"/>
                <a:gd name="connsiteY2183" fmla="*/ 413301 h 2031151"/>
                <a:gd name="connsiteX2184" fmla="*/ 1117883 w 3368309"/>
                <a:gd name="connsiteY2184" fmla="*/ 408250 h 2031151"/>
                <a:gd name="connsiteX2185" fmla="*/ 1114787 w 3368309"/>
                <a:gd name="connsiteY2185" fmla="*/ 407436 h 2031151"/>
                <a:gd name="connsiteX2186" fmla="*/ 1106153 w 3368309"/>
                <a:gd name="connsiteY2186" fmla="*/ 412812 h 2031151"/>
                <a:gd name="connsiteX2187" fmla="*/ 1103221 w 3368309"/>
                <a:gd name="connsiteY2187" fmla="*/ 409879 h 2031151"/>
                <a:gd name="connsiteX2188" fmla="*/ 1097356 w 3368309"/>
                <a:gd name="connsiteY2188" fmla="*/ 415744 h 2031151"/>
                <a:gd name="connsiteX2189" fmla="*/ 1094261 w 3368309"/>
                <a:gd name="connsiteY2189" fmla="*/ 412649 h 2031151"/>
                <a:gd name="connsiteX2190" fmla="*/ 1094261 w 3368309"/>
                <a:gd name="connsiteY2190" fmla="*/ 401408 h 2031151"/>
                <a:gd name="connsiteX2191" fmla="*/ 1097356 w 3368309"/>
                <a:gd name="connsiteY2191" fmla="*/ 399453 h 2031151"/>
                <a:gd name="connsiteX2192" fmla="*/ 1099474 w 3368309"/>
                <a:gd name="connsiteY2192" fmla="*/ 394729 h 2031151"/>
                <a:gd name="connsiteX2193" fmla="*/ 1101429 w 3368309"/>
                <a:gd name="connsiteY2193" fmla="*/ 395543 h 2031151"/>
                <a:gd name="connsiteX2194" fmla="*/ 1102243 w 3368309"/>
                <a:gd name="connsiteY2194" fmla="*/ 397987 h 2031151"/>
                <a:gd name="connsiteX2195" fmla="*/ 1104035 w 3368309"/>
                <a:gd name="connsiteY2195" fmla="*/ 398965 h 2031151"/>
                <a:gd name="connsiteX2196" fmla="*/ 1107945 w 3368309"/>
                <a:gd name="connsiteY2196" fmla="*/ 395055 h 2031151"/>
                <a:gd name="connsiteX2197" fmla="*/ 1102080 w 3368309"/>
                <a:gd name="connsiteY2197" fmla="*/ 389679 h 2031151"/>
                <a:gd name="connsiteX2198" fmla="*/ 1108597 w 3368309"/>
                <a:gd name="connsiteY2198" fmla="*/ 388701 h 2031151"/>
                <a:gd name="connsiteX2199" fmla="*/ 1112996 w 3368309"/>
                <a:gd name="connsiteY2199" fmla="*/ 391634 h 2031151"/>
                <a:gd name="connsiteX2200" fmla="*/ 1117394 w 3368309"/>
                <a:gd name="connsiteY2200" fmla="*/ 392611 h 2031151"/>
                <a:gd name="connsiteX2201" fmla="*/ 1124725 w 3368309"/>
                <a:gd name="connsiteY2201" fmla="*/ 387235 h 2031151"/>
                <a:gd name="connsiteX2202" fmla="*/ 1129775 w 3368309"/>
                <a:gd name="connsiteY2202" fmla="*/ 389027 h 2031151"/>
                <a:gd name="connsiteX2203" fmla="*/ 1143296 w 3368309"/>
                <a:gd name="connsiteY2203" fmla="*/ 384140 h 2031151"/>
                <a:gd name="connsiteX2204" fmla="*/ 1148835 w 3368309"/>
                <a:gd name="connsiteY2204" fmla="*/ 385117 h 2031151"/>
                <a:gd name="connsiteX2205" fmla="*/ 1150953 w 3368309"/>
                <a:gd name="connsiteY2205" fmla="*/ 389190 h 2031151"/>
                <a:gd name="connsiteX2206" fmla="*/ 1145740 w 3368309"/>
                <a:gd name="connsiteY2206" fmla="*/ 401245 h 2031151"/>
                <a:gd name="connsiteX2207" fmla="*/ 1145740 w 3368309"/>
                <a:gd name="connsiteY2207" fmla="*/ 404341 h 2031151"/>
                <a:gd name="connsiteX2208" fmla="*/ 1151116 w 3368309"/>
                <a:gd name="connsiteY2208" fmla="*/ 408250 h 2031151"/>
                <a:gd name="connsiteX2209" fmla="*/ 1153071 w 3368309"/>
                <a:gd name="connsiteY2209" fmla="*/ 400919 h 2031151"/>
                <a:gd name="connsiteX2210" fmla="*/ 1157796 w 3368309"/>
                <a:gd name="connsiteY2210" fmla="*/ 393100 h 2031151"/>
                <a:gd name="connsiteX2211" fmla="*/ 1156655 w 3368309"/>
                <a:gd name="connsiteY2211" fmla="*/ 388213 h 2031151"/>
                <a:gd name="connsiteX2212" fmla="*/ 1157796 w 3368309"/>
                <a:gd name="connsiteY2212" fmla="*/ 386095 h 2031151"/>
                <a:gd name="connsiteX2213" fmla="*/ 1161868 w 3368309"/>
                <a:gd name="connsiteY2213" fmla="*/ 390982 h 2031151"/>
                <a:gd name="connsiteX2214" fmla="*/ 1162846 w 3368309"/>
                <a:gd name="connsiteY2214" fmla="*/ 398965 h 2031151"/>
                <a:gd name="connsiteX2215" fmla="*/ 1167081 w 3368309"/>
                <a:gd name="connsiteY2215" fmla="*/ 398965 h 2031151"/>
                <a:gd name="connsiteX2216" fmla="*/ 1169036 w 3368309"/>
                <a:gd name="connsiteY2216" fmla="*/ 393426 h 2031151"/>
                <a:gd name="connsiteX2217" fmla="*/ 1167081 w 3368309"/>
                <a:gd name="connsiteY2217" fmla="*/ 388050 h 2031151"/>
                <a:gd name="connsiteX2218" fmla="*/ 1170828 w 3368309"/>
                <a:gd name="connsiteY2218" fmla="*/ 385117 h 2031151"/>
                <a:gd name="connsiteX2219" fmla="*/ 1172946 w 3368309"/>
                <a:gd name="connsiteY2219" fmla="*/ 385769 h 2031151"/>
                <a:gd name="connsiteX2220" fmla="*/ 1173923 w 3368309"/>
                <a:gd name="connsiteY2220" fmla="*/ 391145 h 2031151"/>
                <a:gd name="connsiteX2221" fmla="*/ 1181417 w 3368309"/>
                <a:gd name="connsiteY2221" fmla="*/ 385606 h 2031151"/>
                <a:gd name="connsiteX2222" fmla="*/ 1182394 w 3368309"/>
                <a:gd name="connsiteY2222" fmla="*/ 382511 h 2031151"/>
                <a:gd name="connsiteX2223" fmla="*/ 1178974 w 3368309"/>
                <a:gd name="connsiteY2223" fmla="*/ 378275 h 2031151"/>
                <a:gd name="connsiteX2224" fmla="*/ 1184512 w 3368309"/>
                <a:gd name="connsiteY2224" fmla="*/ 378275 h 2031151"/>
                <a:gd name="connsiteX2225" fmla="*/ 1187445 w 3368309"/>
                <a:gd name="connsiteY2225" fmla="*/ 375343 h 2031151"/>
                <a:gd name="connsiteX2226" fmla="*/ 1182069 w 3368309"/>
                <a:gd name="connsiteY2226" fmla="*/ 373388 h 2031151"/>
                <a:gd name="connsiteX2227" fmla="*/ 1187933 w 3368309"/>
                <a:gd name="connsiteY2227" fmla="*/ 367849 h 2031151"/>
                <a:gd name="connsiteX2228" fmla="*/ 1194450 w 3368309"/>
                <a:gd name="connsiteY2228" fmla="*/ 367523 h 2031151"/>
                <a:gd name="connsiteX2229" fmla="*/ 1199337 w 3368309"/>
                <a:gd name="connsiteY2229" fmla="*/ 364591 h 2031151"/>
                <a:gd name="connsiteX2230" fmla="*/ 1202269 w 3368309"/>
                <a:gd name="connsiteY2230" fmla="*/ 365731 h 2031151"/>
                <a:gd name="connsiteX2231" fmla="*/ 1202269 w 3368309"/>
                <a:gd name="connsiteY2231" fmla="*/ 368989 h 2031151"/>
                <a:gd name="connsiteX2232" fmla="*/ 1204387 w 3368309"/>
                <a:gd name="connsiteY2232" fmla="*/ 370293 h 2031151"/>
                <a:gd name="connsiteX2233" fmla="*/ 1212370 w 3368309"/>
                <a:gd name="connsiteY2233" fmla="*/ 370944 h 2031151"/>
                <a:gd name="connsiteX2234" fmla="*/ 1212370 w 3368309"/>
                <a:gd name="connsiteY2234" fmla="*/ 378275 h 2031151"/>
                <a:gd name="connsiteX2235" fmla="*/ 1215302 w 3368309"/>
                <a:gd name="connsiteY2235" fmla="*/ 381370 h 2031151"/>
                <a:gd name="connsiteX2236" fmla="*/ 1211067 w 3368309"/>
                <a:gd name="connsiteY2236" fmla="*/ 393100 h 2031151"/>
                <a:gd name="connsiteX2237" fmla="*/ 1218235 w 3368309"/>
                <a:gd name="connsiteY2237" fmla="*/ 389679 h 2031151"/>
                <a:gd name="connsiteX2238" fmla="*/ 1223285 w 3368309"/>
                <a:gd name="connsiteY2238" fmla="*/ 379090 h 2031151"/>
                <a:gd name="connsiteX2239" fmla="*/ 1217420 w 3368309"/>
                <a:gd name="connsiteY2239" fmla="*/ 368663 h 2031151"/>
                <a:gd name="connsiteX2240" fmla="*/ 1210904 w 3368309"/>
                <a:gd name="connsiteY2240" fmla="*/ 364591 h 2031151"/>
                <a:gd name="connsiteX2241" fmla="*/ 1206016 w 3368309"/>
                <a:gd name="connsiteY2241" fmla="*/ 357748 h 2031151"/>
                <a:gd name="connsiteX2242" fmla="*/ 1200640 w 3368309"/>
                <a:gd name="connsiteY2242" fmla="*/ 361170 h 2031151"/>
                <a:gd name="connsiteX2243" fmla="*/ 1197545 w 3368309"/>
                <a:gd name="connsiteY2243" fmla="*/ 358889 h 2031151"/>
                <a:gd name="connsiteX2244" fmla="*/ 1191517 w 3368309"/>
                <a:gd name="connsiteY2244" fmla="*/ 360029 h 2031151"/>
                <a:gd name="connsiteX2245" fmla="*/ 1190377 w 3368309"/>
                <a:gd name="connsiteY2245" fmla="*/ 355794 h 2031151"/>
                <a:gd name="connsiteX2246" fmla="*/ 1185164 w 3368309"/>
                <a:gd name="connsiteY2246" fmla="*/ 354002 h 2031151"/>
                <a:gd name="connsiteX2247" fmla="*/ 1184187 w 3368309"/>
                <a:gd name="connsiteY2247" fmla="*/ 352047 h 2031151"/>
                <a:gd name="connsiteX2248" fmla="*/ 1187771 w 3368309"/>
                <a:gd name="connsiteY2248" fmla="*/ 347974 h 2031151"/>
                <a:gd name="connsiteX2249" fmla="*/ 1198197 w 3368309"/>
                <a:gd name="connsiteY2249" fmla="*/ 347974 h 2031151"/>
                <a:gd name="connsiteX2250" fmla="*/ 1201618 w 3368309"/>
                <a:gd name="connsiteY2250" fmla="*/ 344227 h 2031151"/>
                <a:gd name="connsiteX2251" fmla="*/ 1206342 w 3368309"/>
                <a:gd name="connsiteY2251" fmla="*/ 344227 h 2031151"/>
                <a:gd name="connsiteX2252" fmla="*/ 1211392 w 3368309"/>
                <a:gd name="connsiteY2252" fmla="*/ 345367 h 2031151"/>
                <a:gd name="connsiteX2253" fmla="*/ 1216442 w 3368309"/>
                <a:gd name="connsiteY2253" fmla="*/ 343250 h 2031151"/>
                <a:gd name="connsiteX2254" fmla="*/ 1219864 w 3368309"/>
                <a:gd name="connsiteY2254" fmla="*/ 345530 h 2031151"/>
                <a:gd name="connsiteX2255" fmla="*/ 1231430 w 3368309"/>
                <a:gd name="connsiteY2255" fmla="*/ 340643 h 2031151"/>
                <a:gd name="connsiteX2256" fmla="*/ 1237621 w 3368309"/>
                <a:gd name="connsiteY2256" fmla="*/ 343738 h 2031151"/>
                <a:gd name="connsiteX2257" fmla="*/ 1241531 w 3368309"/>
                <a:gd name="connsiteY2257" fmla="*/ 343087 h 2031151"/>
                <a:gd name="connsiteX2258" fmla="*/ 1245929 w 3368309"/>
                <a:gd name="connsiteY2258" fmla="*/ 344064 h 2031151"/>
                <a:gd name="connsiteX2259" fmla="*/ 1250165 w 3368309"/>
                <a:gd name="connsiteY2259" fmla="*/ 340969 h 2031151"/>
                <a:gd name="connsiteX2260" fmla="*/ 1248210 w 3368309"/>
                <a:gd name="connsiteY2260" fmla="*/ 337874 h 2031151"/>
                <a:gd name="connsiteX2261" fmla="*/ 1240064 w 3368309"/>
                <a:gd name="connsiteY2261" fmla="*/ 337222 h 2031151"/>
                <a:gd name="connsiteX2262" fmla="*/ 1232082 w 3368309"/>
                <a:gd name="connsiteY2262" fmla="*/ 333964 h 2031151"/>
                <a:gd name="connsiteX2263" fmla="*/ 1225728 w 3368309"/>
                <a:gd name="connsiteY2263" fmla="*/ 336407 h 2031151"/>
                <a:gd name="connsiteX2264" fmla="*/ 1216442 w 3368309"/>
                <a:gd name="connsiteY2264" fmla="*/ 335593 h 2031151"/>
                <a:gd name="connsiteX2265" fmla="*/ 1216442 w 3368309"/>
                <a:gd name="connsiteY2265" fmla="*/ 331683 h 2031151"/>
                <a:gd name="connsiteX2266" fmla="*/ 1214162 w 3368309"/>
                <a:gd name="connsiteY2266" fmla="*/ 325492 h 2031151"/>
                <a:gd name="connsiteX2267" fmla="*/ 1221493 w 3368309"/>
                <a:gd name="connsiteY2267" fmla="*/ 320605 h 2031151"/>
                <a:gd name="connsiteX2268" fmla="*/ 1214488 w 3368309"/>
                <a:gd name="connsiteY2268" fmla="*/ 318976 h 2031151"/>
                <a:gd name="connsiteX2269" fmla="*/ 1208623 w 3368309"/>
                <a:gd name="connsiteY2269" fmla="*/ 311482 h 2031151"/>
                <a:gd name="connsiteX2270" fmla="*/ 1203573 w 3368309"/>
                <a:gd name="connsiteY2270" fmla="*/ 311808 h 2031151"/>
                <a:gd name="connsiteX2271" fmla="*/ 1198685 w 3368309"/>
                <a:gd name="connsiteY2271" fmla="*/ 305618 h 2031151"/>
                <a:gd name="connsiteX2272" fmla="*/ 1197871 w 3368309"/>
                <a:gd name="connsiteY2272" fmla="*/ 299427 h 2031151"/>
                <a:gd name="connsiteX2273" fmla="*/ 1202596 w 3368309"/>
                <a:gd name="connsiteY2273" fmla="*/ 299427 h 2031151"/>
                <a:gd name="connsiteX2274" fmla="*/ 1202596 w 3368309"/>
                <a:gd name="connsiteY2274" fmla="*/ 293399 h 2031151"/>
                <a:gd name="connsiteX2275" fmla="*/ 1196405 w 3368309"/>
                <a:gd name="connsiteY2275" fmla="*/ 287860 h 2031151"/>
                <a:gd name="connsiteX2276" fmla="*/ 1197219 w 3368309"/>
                <a:gd name="connsiteY2276" fmla="*/ 264239 h 2031151"/>
                <a:gd name="connsiteX2277" fmla="*/ 1202596 w 3368309"/>
                <a:gd name="connsiteY2277" fmla="*/ 257885 h 2031151"/>
                <a:gd name="connsiteX2278" fmla="*/ 1200640 w 3368309"/>
                <a:gd name="connsiteY2278" fmla="*/ 251695 h 2031151"/>
                <a:gd name="connsiteX2279" fmla="*/ 1201781 w 3368309"/>
                <a:gd name="connsiteY2279" fmla="*/ 243223 h 2031151"/>
                <a:gd name="connsiteX2280" fmla="*/ 1206668 w 3368309"/>
                <a:gd name="connsiteY2280" fmla="*/ 238336 h 2031151"/>
                <a:gd name="connsiteX2281" fmla="*/ 1203410 w 3368309"/>
                <a:gd name="connsiteY2281" fmla="*/ 233123 h 2031151"/>
                <a:gd name="connsiteX2282" fmla="*/ 1207971 w 3368309"/>
                <a:gd name="connsiteY2282" fmla="*/ 231820 h 2031151"/>
                <a:gd name="connsiteX2283" fmla="*/ 1209112 w 3368309"/>
                <a:gd name="connsiteY2283" fmla="*/ 227584 h 2031151"/>
                <a:gd name="connsiteX2284" fmla="*/ 1216280 w 3368309"/>
                <a:gd name="connsiteY2284" fmla="*/ 221394 h 2031151"/>
                <a:gd name="connsiteX2285" fmla="*/ 1219701 w 3368309"/>
                <a:gd name="connsiteY2285" fmla="*/ 221394 h 2031151"/>
                <a:gd name="connsiteX2286" fmla="*/ 1225891 w 3368309"/>
                <a:gd name="connsiteY2286" fmla="*/ 228724 h 2031151"/>
                <a:gd name="connsiteX2287" fmla="*/ 1230779 w 3368309"/>
                <a:gd name="connsiteY2287" fmla="*/ 223837 h 2031151"/>
                <a:gd name="connsiteX2288" fmla="*/ 1235177 w 3368309"/>
                <a:gd name="connsiteY2288" fmla="*/ 223837 h 2031151"/>
                <a:gd name="connsiteX2289" fmla="*/ 1237947 w 3368309"/>
                <a:gd name="connsiteY2289" fmla="*/ 231005 h 2031151"/>
                <a:gd name="connsiteX2290" fmla="*/ 1244952 w 3368309"/>
                <a:gd name="connsiteY2290" fmla="*/ 232146 h 2031151"/>
                <a:gd name="connsiteX2291" fmla="*/ 1251794 w 3368309"/>
                <a:gd name="connsiteY2291" fmla="*/ 226281 h 2031151"/>
                <a:gd name="connsiteX2292" fmla="*/ 1254074 w 3368309"/>
                <a:gd name="connsiteY2292" fmla="*/ 227095 h 2031151"/>
                <a:gd name="connsiteX2293" fmla="*/ 1254726 w 3368309"/>
                <a:gd name="connsiteY2293" fmla="*/ 234426 h 2031151"/>
                <a:gd name="connsiteX2294" fmla="*/ 1256681 w 3368309"/>
                <a:gd name="connsiteY2294" fmla="*/ 236707 h 2031151"/>
                <a:gd name="connsiteX2295" fmla="*/ 1264338 w 3368309"/>
                <a:gd name="connsiteY2295" fmla="*/ 238662 h 2031151"/>
                <a:gd name="connsiteX2296" fmla="*/ 1264990 w 3368309"/>
                <a:gd name="connsiteY2296" fmla="*/ 240780 h 2031151"/>
                <a:gd name="connsiteX2297" fmla="*/ 1259939 w 3368309"/>
                <a:gd name="connsiteY2297" fmla="*/ 243875 h 2031151"/>
                <a:gd name="connsiteX2298" fmla="*/ 1259939 w 3368309"/>
                <a:gd name="connsiteY2298" fmla="*/ 246156 h 2031151"/>
                <a:gd name="connsiteX2299" fmla="*/ 1257170 w 3368309"/>
                <a:gd name="connsiteY2299" fmla="*/ 250554 h 2031151"/>
                <a:gd name="connsiteX2300" fmla="*/ 1258799 w 3368309"/>
                <a:gd name="connsiteY2300" fmla="*/ 255930 h 2031151"/>
                <a:gd name="connsiteX2301" fmla="*/ 1253423 w 3368309"/>
                <a:gd name="connsiteY2301" fmla="*/ 264239 h 2031151"/>
                <a:gd name="connsiteX2302" fmla="*/ 1247884 w 3368309"/>
                <a:gd name="connsiteY2302" fmla="*/ 265379 h 2031151"/>
                <a:gd name="connsiteX2303" fmla="*/ 1243812 w 3368309"/>
                <a:gd name="connsiteY2303" fmla="*/ 272221 h 2031151"/>
                <a:gd name="connsiteX2304" fmla="*/ 1247884 w 3368309"/>
                <a:gd name="connsiteY2304" fmla="*/ 273362 h 2031151"/>
                <a:gd name="connsiteX2305" fmla="*/ 1259614 w 3368309"/>
                <a:gd name="connsiteY2305" fmla="*/ 268637 h 2031151"/>
                <a:gd name="connsiteX2306" fmla="*/ 1267922 w 3368309"/>
                <a:gd name="connsiteY2306" fmla="*/ 256256 h 2031151"/>
                <a:gd name="connsiteX2307" fmla="*/ 1271669 w 3368309"/>
                <a:gd name="connsiteY2307" fmla="*/ 257071 h 2031151"/>
                <a:gd name="connsiteX2308" fmla="*/ 1271669 w 3368309"/>
                <a:gd name="connsiteY2308" fmla="*/ 260818 h 2031151"/>
                <a:gd name="connsiteX2309" fmla="*/ 1268248 w 3368309"/>
                <a:gd name="connsiteY2309" fmla="*/ 266031 h 2031151"/>
                <a:gd name="connsiteX2310" fmla="*/ 1268574 w 3368309"/>
                <a:gd name="connsiteY2310" fmla="*/ 269778 h 2031151"/>
                <a:gd name="connsiteX2311" fmla="*/ 1273461 w 3368309"/>
                <a:gd name="connsiteY2311" fmla="*/ 269778 h 2031151"/>
                <a:gd name="connsiteX2312" fmla="*/ 1277859 w 3368309"/>
                <a:gd name="connsiteY2312" fmla="*/ 262935 h 2031151"/>
                <a:gd name="connsiteX2313" fmla="*/ 1282910 w 3368309"/>
                <a:gd name="connsiteY2313" fmla="*/ 260166 h 2031151"/>
                <a:gd name="connsiteX2314" fmla="*/ 1285353 w 3368309"/>
                <a:gd name="connsiteY2314" fmla="*/ 262447 h 2031151"/>
                <a:gd name="connsiteX2315" fmla="*/ 1291707 w 3368309"/>
                <a:gd name="connsiteY2315" fmla="*/ 261795 h 2031151"/>
                <a:gd name="connsiteX2316" fmla="*/ 1293010 w 3368309"/>
                <a:gd name="connsiteY2316" fmla="*/ 255930 h 2031151"/>
                <a:gd name="connsiteX2317" fmla="*/ 1295780 w 3368309"/>
                <a:gd name="connsiteY2317" fmla="*/ 255604 h 2031151"/>
                <a:gd name="connsiteX2318" fmla="*/ 1299201 w 3368309"/>
                <a:gd name="connsiteY2318" fmla="*/ 257885 h 2031151"/>
                <a:gd name="connsiteX2319" fmla="*/ 1303273 w 3368309"/>
                <a:gd name="connsiteY2319" fmla="*/ 255604 h 2031151"/>
                <a:gd name="connsiteX2320" fmla="*/ 1309953 w 3368309"/>
                <a:gd name="connsiteY2320" fmla="*/ 262284 h 2031151"/>
                <a:gd name="connsiteX2321" fmla="*/ 1309953 w 3368309"/>
                <a:gd name="connsiteY2321" fmla="*/ 267334 h 2031151"/>
                <a:gd name="connsiteX2322" fmla="*/ 1313048 w 3368309"/>
                <a:gd name="connsiteY2322" fmla="*/ 274991 h 2031151"/>
                <a:gd name="connsiteX2323" fmla="*/ 1311093 w 3368309"/>
                <a:gd name="connsiteY2323" fmla="*/ 278086 h 2031151"/>
                <a:gd name="connsiteX2324" fmla="*/ 1311093 w 3368309"/>
                <a:gd name="connsiteY2324" fmla="*/ 282973 h 2031151"/>
                <a:gd name="connsiteX2325" fmla="*/ 1307346 w 3368309"/>
                <a:gd name="connsiteY2325" fmla="*/ 290304 h 2031151"/>
                <a:gd name="connsiteX2326" fmla="*/ 1313537 w 3368309"/>
                <a:gd name="connsiteY2326" fmla="*/ 300567 h 2031151"/>
                <a:gd name="connsiteX2327" fmla="*/ 1312885 w 3368309"/>
                <a:gd name="connsiteY2327" fmla="*/ 306432 h 2031151"/>
                <a:gd name="connsiteX2328" fmla="*/ 1308812 w 3368309"/>
                <a:gd name="connsiteY2328" fmla="*/ 308061 h 2031151"/>
                <a:gd name="connsiteX2329" fmla="*/ 1304576 w 3368309"/>
                <a:gd name="connsiteY2329" fmla="*/ 311482 h 2031151"/>
                <a:gd name="connsiteX2330" fmla="*/ 1307998 w 3368309"/>
                <a:gd name="connsiteY2330" fmla="*/ 312297 h 2031151"/>
                <a:gd name="connsiteX2331" fmla="*/ 1317935 w 3368309"/>
                <a:gd name="connsiteY2331" fmla="*/ 310016 h 2031151"/>
                <a:gd name="connsiteX2332" fmla="*/ 1323963 w 3368309"/>
                <a:gd name="connsiteY2332" fmla="*/ 303988 h 2031151"/>
                <a:gd name="connsiteX2333" fmla="*/ 1331619 w 3368309"/>
                <a:gd name="connsiteY2333" fmla="*/ 303663 h 2031151"/>
                <a:gd name="connsiteX2334" fmla="*/ 1335040 w 3368309"/>
                <a:gd name="connsiteY2334" fmla="*/ 296495 h 2031151"/>
                <a:gd name="connsiteX2335" fmla="*/ 1334389 w 3368309"/>
                <a:gd name="connsiteY2335" fmla="*/ 287372 h 2031151"/>
                <a:gd name="connsiteX2336" fmla="*/ 1331782 w 3368309"/>
                <a:gd name="connsiteY2336" fmla="*/ 280367 h 2031151"/>
                <a:gd name="connsiteX2337" fmla="*/ 1329013 w 3368309"/>
                <a:gd name="connsiteY2337" fmla="*/ 280855 h 2031151"/>
                <a:gd name="connsiteX2338" fmla="*/ 1325103 w 3368309"/>
                <a:gd name="connsiteY2338" fmla="*/ 279389 h 2031151"/>
                <a:gd name="connsiteX2339" fmla="*/ 1324777 w 3368309"/>
                <a:gd name="connsiteY2339" fmla="*/ 274176 h 2031151"/>
                <a:gd name="connsiteX2340" fmla="*/ 1327058 w 3368309"/>
                <a:gd name="connsiteY2340" fmla="*/ 272384 h 2031151"/>
                <a:gd name="connsiteX2341" fmla="*/ 1330805 w 3368309"/>
                <a:gd name="connsiteY2341" fmla="*/ 272384 h 2031151"/>
                <a:gd name="connsiteX2342" fmla="*/ 1333248 w 3368309"/>
                <a:gd name="connsiteY2342" fmla="*/ 274176 h 2031151"/>
                <a:gd name="connsiteX2343" fmla="*/ 1336669 w 3368309"/>
                <a:gd name="connsiteY2343" fmla="*/ 272873 h 2031151"/>
                <a:gd name="connsiteX2344" fmla="*/ 1345304 w 3368309"/>
                <a:gd name="connsiteY2344" fmla="*/ 270592 h 2031151"/>
                <a:gd name="connsiteX2345" fmla="*/ 1351657 w 3368309"/>
                <a:gd name="connsiteY2345" fmla="*/ 263913 h 2031151"/>
                <a:gd name="connsiteX2346" fmla="*/ 1355241 w 3368309"/>
                <a:gd name="connsiteY2346" fmla="*/ 264727 h 2031151"/>
                <a:gd name="connsiteX2347" fmla="*/ 1362246 w 3368309"/>
                <a:gd name="connsiteY2347" fmla="*/ 264727 h 2031151"/>
                <a:gd name="connsiteX2348" fmla="*/ 1364038 w 3368309"/>
                <a:gd name="connsiteY2348" fmla="*/ 259677 h 2031151"/>
                <a:gd name="connsiteX2349" fmla="*/ 1368600 w 3368309"/>
                <a:gd name="connsiteY2349" fmla="*/ 255442 h 2031151"/>
                <a:gd name="connsiteX2350" fmla="*/ 1370392 w 3368309"/>
                <a:gd name="connsiteY2350" fmla="*/ 256582 h 2031151"/>
                <a:gd name="connsiteX2351" fmla="*/ 1374301 w 3368309"/>
                <a:gd name="connsiteY2351" fmla="*/ 252672 h 2031151"/>
                <a:gd name="connsiteX2352" fmla="*/ 1379515 w 3368309"/>
                <a:gd name="connsiteY2352" fmla="*/ 251532 h 2031151"/>
                <a:gd name="connsiteX2353" fmla="*/ 1381633 w 3368309"/>
                <a:gd name="connsiteY2353" fmla="*/ 253487 h 2031151"/>
                <a:gd name="connsiteX2354" fmla="*/ 1387008 w 3368309"/>
                <a:gd name="connsiteY2354" fmla="*/ 252346 h 2031151"/>
                <a:gd name="connsiteX2355" fmla="*/ 1387823 w 3368309"/>
                <a:gd name="connsiteY2355" fmla="*/ 255604 h 2031151"/>
                <a:gd name="connsiteX2356" fmla="*/ 1386031 w 3368309"/>
                <a:gd name="connsiteY2356" fmla="*/ 258374 h 2031151"/>
                <a:gd name="connsiteX2357" fmla="*/ 1387008 w 3368309"/>
                <a:gd name="connsiteY2357" fmla="*/ 262447 h 2031151"/>
                <a:gd name="connsiteX2358" fmla="*/ 1398249 w 3368309"/>
                <a:gd name="connsiteY2358" fmla="*/ 261632 h 2031151"/>
                <a:gd name="connsiteX2359" fmla="*/ 1399553 w 3368309"/>
                <a:gd name="connsiteY2359" fmla="*/ 263098 h 2031151"/>
                <a:gd name="connsiteX2360" fmla="*/ 1404603 w 3368309"/>
                <a:gd name="connsiteY2360" fmla="*/ 264890 h 2031151"/>
                <a:gd name="connsiteX2361" fmla="*/ 1423826 w 3368309"/>
                <a:gd name="connsiteY2361" fmla="*/ 275968 h 2031151"/>
                <a:gd name="connsiteX2362" fmla="*/ 1428224 w 3368309"/>
                <a:gd name="connsiteY2362" fmla="*/ 276946 h 2031151"/>
                <a:gd name="connsiteX2363" fmla="*/ 1430994 w 3368309"/>
                <a:gd name="connsiteY2363" fmla="*/ 282322 h 2031151"/>
                <a:gd name="connsiteX2364" fmla="*/ 1430668 w 3368309"/>
                <a:gd name="connsiteY2364" fmla="*/ 286068 h 2031151"/>
                <a:gd name="connsiteX2365" fmla="*/ 1439465 w 3368309"/>
                <a:gd name="connsiteY2365" fmla="*/ 296332 h 2031151"/>
                <a:gd name="connsiteX2366" fmla="*/ 1441746 w 3368309"/>
                <a:gd name="connsiteY2366" fmla="*/ 295191 h 2031151"/>
                <a:gd name="connsiteX2367" fmla="*/ 1441746 w 3368309"/>
                <a:gd name="connsiteY2367" fmla="*/ 291444 h 2031151"/>
                <a:gd name="connsiteX2368" fmla="*/ 1444841 w 3368309"/>
                <a:gd name="connsiteY2368" fmla="*/ 289490 h 2031151"/>
                <a:gd name="connsiteX2369" fmla="*/ 1445656 w 3368309"/>
                <a:gd name="connsiteY2369" fmla="*/ 286720 h 2031151"/>
                <a:gd name="connsiteX2370" fmla="*/ 1442398 w 3368309"/>
                <a:gd name="connsiteY2370" fmla="*/ 284439 h 2031151"/>
                <a:gd name="connsiteX2371" fmla="*/ 1437836 w 3368309"/>
                <a:gd name="connsiteY2371" fmla="*/ 284114 h 2031151"/>
                <a:gd name="connsiteX2372" fmla="*/ 1437836 w 3368309"/>
                <a:gd name="connsiteY2372" fmla="*/ 279226 h 2031151"/>
                <a:gd name="connsiteX2373" fmla="*/ 1441909 w 3368309"/>
                <a:gd name="connsiteY2373" fmla="*/ 276294 h 2031151"/>
                <a:gd name="connsiteX2374" fmla="*/ 1445330 w 3368309"/>
                <a:gd name="connsiteY2374" fmla="*/ 276294 h 2031151"/>
                <a:gd name="connsiteX2375" fmla="*/ 1448099 w 3368309"/>
                <a:gd name="connsiteY2375" fmla="*/ 280367 h 2031151"/>
                <a:gd name="connsiteX2376" fmla="*/ 1452009 w 3368309"/>
                <a:gd name="connsiteY2376" fmla="*/ 283788 h 2031151"/>
                <a:gd name="connsiteX2377" fmla="*/ 1452009 w 3368309"/>
                <a:gd name="connsiteY2377" fmla="*/ 288186 h 2031151"/>
                <a:gd name="connsiteX2378" fmla="*/ 1459340 w 3368309"/>
                <a:gd name="connsiteY2378" fmla="*/ 294866 h 2031151"/>
                <a:gd name="connsiteX2379" fmla="*/ 1460481 w 3368309"/>
                <a:gd name="connsiteY2379" fmla="*/ 300404 h 2031151"/>
                <a:gd name="connsiteX2380" fmla="*/ 1463901 w 3368309"/>
                <a:gd name="connsiteY2380" fmla="*/ 301871 h 2031151"/>
                <a:gd name="connsiteX2381" fmla="*/ 1466671 w 3368309"/>
                <a:gd name="connsiteY2381" fmla="*/ 300079 h 2031151"/>
                <a:gd name="connsiteX2382" fmla="*/ 1468626 w 3368309"/>
                <a:gd name="connsiteY2382" fmla="*/ 299753 h 2031151"/>
                <a:gd name="connsiteX2383" fmla="*/ 1471884 w 3368309"/>
                <a:gd name="connsiteY2383" fmla="*/ 301871 h 2031151"/>
                <a:gd name="connsiteX2384" fmla="*/ 1475305 w 3368309"/>
                <a:gd name="connsiteY2384" fmla="*/ 306758 h 2031151"/>
                <a:gd name="connsiteX2385" fmla="*/ 1475957 w 3368309"/>
                <a:gd name="connsiteY2385" fmla="*/ 311645 h 2031151"/>
                <a:gd name="connsiteX2386" fmla="*/ 1480030 w 3368309"/>
                <a:gd name="connsiteY2386" fmla="*/ 317021 h 2031151"/>
                <a:gd name="connsiteX2387" fmla="*/ 1479378 w 3368309"/>
                <a:gd name="connsiteY2387" fmla="*/ 320931 h 2031151"/>
                <a:gd name="connsiteX2388" fmla="*/ 1477423 w 3368309"/>
                <a:gd name="connsiteY2388" fmla="*/ 320605 h 2031151"/>
                <a:gd name="connsiteX2389" fmla="*/ 1476771 w 3368309"/>
                <a:gd name="connsiteY2389" fmla="*/ 317836 h 2031151"/>
                <a:gd name="connsiteX2390" fmla="*/ 1474654 w 3368309"/>
                <a:gd name="connsiteY2390" fmla="*/ 314903 h 2031151"/>
                <a:gd name="connsiteX2391" fmla="*/ 1472699 w 3368309"/>
                <a:gd name="connsiteY2391" fmla="*/ 314903 h 2031151"/>
                <a:gd name="connsiteX2392" fmla="*/ 1470418 w 3368309"/>
                <a:gd name="connsiteY2392" fmla="*/ 317673 h 2031151"/>
                <a:gd name="connsiteX2393" fmla="*/ 1466345 w 3368309"/>
                <a:gd name="connsiteY2393" fmla="*/ 313926 h 2031151"/>
                <a:gd name="connsiteX2394" fmla="*/ 1457548 w 3368309"/>
                <a:gd name="connsiteY2394" fmla="*/ 310505 h 2031151"/>
                <a:gd name="connsiteX2395" fmla="*/ 1450706 w 3368309"/>
                <a:gd name="connsiteY2395" fmla="*/ 310831 h 2031151"/>
                <a:gd name="connsiteX2396" fmla="*/ 1449565 w 3368309"/>
                <a:gd name="connsiteY2396" fmla="*/ 312297 h 2031151"/>
                <a:gd name="connsiteX2397" fmla="*/ 1452987 w 3368309"/>
                <a:gd name="connsiteY2397" fmla="*/ 316858 h 2031151"/>
                <a:gd name="connsiteX2398" fmla="*/ 1459666 w 3368309"/>
                <a:gd name="connsiteY2398" fmla="*/ 317673 h 2031151"/>
                <a:gd name="connsiteX2399" fmla="*/ 1462110 w 3368309"/>
                <a:gd name="connsiteY2399" fmla="*/ 319465 h 2031151"/>
                <a:gd name="connsiteX2400" fmla="*/ 1460969 w 3368309"/>
                <a:gd name="connsiteY2400" fmla="*/ 320931 h 2031151"/>
                <a:gd name="connsiteX2401" fmla="*/ 1464065 w 3368309"/>
                <a:gd name="connsiteY2401" fmla="*/ 326959 h 2031151"/>
                <a:gd name="connsiteX2402" fmla="*/ 1466834 w 3368309"/>
                <a:gd name="connsiteY2402" fmla="*/ 328914 h 2031151"/>
                <a:gd name="connsiteX2403" fmla="*/ 1468952 w 3368309"/>
                <a:gd name="connsiteY2403" fmla="*/ 327122 h 2031151"/>
                <a:gd name="connsiteX2404" fmla="*/ 1471721 w 3368309"/>
                <a:gd name="connsiteY2404" fmla="*/ 321257 h 2031151"/>
                <a:gd name="connsiteX2405" fmla="*/ 1473187 w 3368309"/>
                <a:gd name="connsiteY2405" fmla="*/ 321257 h 2031151"/>
                <a:gd name="connsiteX2406" fmla="*/ 1475631 w 3368309"/>
                <a:gd name="connsiteY2406" fmla="*/ 325167 h 2031151"/>
                <a:gd name="connsiteX2407" fmla="*/ 1479215 w 3368309"/>
                <a:gd name="connsiteY2407" fmla="*/ 327284 h 2031151"/>
                <a:gd name="connsiteX2408" fmla="*/ 1481822 w 3368309"/>
                <a:gd name="connsiteY2408" fmla="*/ 325818 h 2031151"/>
                <a:gd name="connsiteX2409" fmla="*/ 1484754 w 3368309"/>
                <a:gd name="connsiteY2409" fmla="*/ 326633 h 2031151"/>
                <a:gd name="connsiteX2410" fmla="*/ 1485894 w 3368309"/>
                <a:gd name="connsiteY2410" fmla="*/ 330217 h 2031151"/>
                <a:gd name="connsiteX2411" fmla="*/ 1484428 w 3368309"/>
                <a:gd name="connsiteY2411" fmla="*/ 332986 h 2031151"/>
                <a:gd name="connsiteX2412" fmla="*/ 1488990 w 3368309"/>
                <a:gd name="connsiteY2412" fmla="*/ 340969 h 2031151"/>
                <a:gd name="connsiteX2413" fmla="*/ 1490781 w 3368309"/>
                <a:gd name="connsiteY2413" fmla="*/ 349766 h 2031151"/>
                <a:gd name="connsiteX2414" fmla="*/ 1490781 w 3368309"/>
                <a:gd name="connsiteY2414" fmla="*/ 359541 h 2031151"/>
                <a:gd name="connsiteX2415" fmla="*/ 1487035 w 3368309"/>
                <a:gd name="connsiteY2415" fmla="*/ 367686 h 2031151"/>
                <a:gd name="connsiteX2416" fmla="*/ 1484917 w 3368309"/>
                <a:gd name="connsiteY2416" fmla="*/ 368500 h 2031151"/>
                <a:gd name="connsiteX2417" fmla="*/ 1482962 w 3368309"/>
                <a:gd name="connsiteY2417" fmla="*/ 372573 h 2031151"/>
                <a:gd name="connsiteX2418" fmla="*/ 1484265 w 3368309"/>
                <a:gd name="connsiteY2418" fmla="*/ 377460 h 2031151"/>
                <a:gd name="connsiteX2419" fmla="*/ 1480355 w 3368309"/>
                <a:gd name="connsiteY2419" fmla="*/ 383814 h 2031151"/>
                <a:gd name="connsiteX2420" fmla="*/ 1480681 w 3368309"/>
                <a:gd name="connsiteY2420" fmla="*/ 386258 h 2031151"/>
                <a:gd name="connsiteX2421" fmla="*/ 1483939 w 3368309"/>
                <a:gd name="connsiteY2421" fmla="*/ 389679 h 2031151"/>
                <a:gd name="connsiteX2422" fmla="*/ 1484265 w 3368309"/>
                <a:gd name="connsiteY2422" fmla="*/ 393751 h 2031151"/>
                <a:gd name="connsiteX2423" fmla="*/ 1477749 w 3368309"/>
                <a:gd name="connsiteY2423" fmla="*/ 396847 h 2031151"/>
                <a:gd name="connsiteX2424" fmla="*/ 1475794 w 3368309"/>
                <a:gd name="connsiteY2424" fmla="*/ 401897 h 2031151"/>
                <a:gd name="connsiteX2425" fmla="*/ 1477097 w 3368309"/>
                <a:gd name="connsiteY2425" fmla="*/ 404503 h 2031151"/>
                <a:gd name="connsiteX2426" fmla="*/ 1473187 w 3368309"/>
                <a:gd name="connsiteY2426" fmla="*/ 412649 h 2031151"/>
                <a:gd name="connsiteX2427" fmla="*/ 1470255 w 3368309"/>
                <a:gd name="connsiteY2427" fmla="*/ 416070 h 2031151"/>
                <a:gd name="connsiteX2428" fmla="*/ 1471069 w 3368309"/>
                <a:gd name="connsiteY2428" fmla="*/ 418839 h 2031151"/>
                <a:gd name="connsiteX2429" fmla="*/ 1468789 w 3368309"/>
                <a:gd name="connsiteY2429" fmla="*/ 423890 h 2031151"/>
                <a:gd name="connsiteX2430" fmla="*/ 1464228 w 3368309"/>
                <a:gd name="connsiteY2430" fmla="*/ 426170 h 2031151"/>
                <a:gd name="connsiteX2431" fmla="*/ 1458200 w 3368309"/>
                <a:gd name="connsiteY2431" fmla="*/ 431221 h 2031151"/>
                <a:gd name="connsiteX2432" fmla="*/ 1452824 w 3368309"/>
                <a:gd name="connsiteY2432" fmla="*/ 431221 h 2031151"/>
                <a:gd name="connsiteX2433" fmla="*/ 1458689 w 3368309"/>
                <a:gd name="connsiteY2433" fmla="*/ 433175 h 2031151"/>
                <a:gd name="connsiteX2434" fmla="*/ 1462761 w 3368309"/>
                <a:gd name="connsiteY2434" fmla="*/ 433175 h 2031151"/>
                <a:gd name="connsiteX2435" fmla="*/ 1465856 w 3368309"/>
                <a:gd name="connsiteY2435" fmla="*/ 429591 h 2031151"/>
                <a:gd name="connsiteX2436" fmla="*/ 1467485 w 3368309"/>
                <a:gd name="connsiteY2436" fmla="*/ 429591 h 2031151"/>
                <a:gd name="connsiteX2437" fmla="*/ 1470255 w 3368309"/>
                <a:gd name="connsiteY2437" fmla="*/ 436922 h 2031151"/>
                <a:gd name="connsiteX2438" fmla="*/ 1466182 w 3368309"/>
                <a:gd name="connsiteY2438" fmla="*/ 445557 h 2031151"/>
                <a:gd name="connsiteX2439" fmla="*/ 1462272 w 3368309"/>
                <a:gd name="connsiteY2439" fmla="*/ 451095 h 2031151"/>
                <a:gd name="connsiteX2440" fmla="*/ 1459340 w 3368309"/>
                <a:gd name="connsiteY2440" fmla="*/ 463314 h 2031151"/>
                <a:gd name="connsiteX2441" fmla="*/ 1462110 w 3368309"/>
                <a:gd name="connsiteY2441" fmla="*/ 468853 h 2031151"/>
                <a:gd name="connsiteX2442" fmla="*/ 1462924 w 3368309"/>
                <a:gd name="connsiteY2442" fmla="*/ 473088 h 2031151"/>
                <a:gd name="connsiteX2443" fmla="*/ 1458363 w 3368309"/>
                <a:gd name="connsiteY2443" fmla="*/ 484329 h 2031151"/>
                <a:gd name="connsiteX2444" fmla="*/ 1451521 w 3368309"/>
                <a:gd name="connsiteY2444" fmla="*/ 486773 h 2031151"/>
                <a:gd name="connsiteX2445" fmla="*/ 1449565 w 3368309"/>
                <a:gd name="connsiteY2445" fmla="*/ 485958 h 2031151"/>
                <a:gd name="connsiteX2446" fmla="*/ 1446144 w 3368309"/>
                <a:gd name="connsiteY2446" fmla="*/ 486447 h 2031151"/>
                <a:gd name="connsiteX2447" fmla="*/ 1444353 w 3368309"/>
                <a:gd name="connsiteY2447" fmla="*/ 489705 h 2031151"/>
                <a:gd name="connsiteX2448" fmla="*/ 1445819 w 3368309"/>
                <a:gd name="connsiteY2448" fmla="*/ 492637 h 2031151"/>
                <a:gd name="connsiteX2449" fmla="*/ 1448751 w 3368309"/>
                <a:gd name="connsiteY2449" fmla="*/ 502738 h 2031151"/>
                <a:gd name="connsiteX2450" fmla="*/ 1446796 w 3368309"/>
                <a:gd name="connsiteY2450" fmla="*/ 507299 h 2031151"/>
                <a:gd name="connsiteX2451" fmla="*/ 1441746 w 3368309"/>
                <a:gd name="connsiteY2451" fmla="*/ 510394 h 2031151"/>
                <a:gd name="connsiteX2452" fmla="*/ 1439303 w 3368309"/>
                <a:gd name="connsiteY2452" fmla="*/ 517237 h 2031151"/>
                <a:gd name="connsiteX2453" fmla="*/ 1441746 w 3368309"/>
                <a:gd name="connsiteY2453" fmla="*/ 524405 h 2031151"/>
                <a:gd name="connsiteX2454" fmla="*/ 1442235 w 3368309"/>
                <a:gd name="connsiteY2454" fmla="*/ 530595 h 2031151"/>
                <a:gd name="connsiteX2455" fmla="*/ 1439954 w 3368309"/>
                <a:gd name="connsiteY2455" fmla="*/ 533365 h 2031151"/>
                <a:gd name="connsiteX2456" fmla="*/ 1440606 w 3368309"/>
                <a:gd name="connsiteY2456" fmla="*/ 537437 h 2031151"/>
                <a:gd name="connsiteX2457" fmla="*/ 1444027 w 3368309"/>
                <a:gd name="connsiteY2457" fmla="*/ 539881 h 2031151"/>
                <a:gd name="connsiteX2458" fmla="*/ 1440606 w 3368309"/>
                <a:gd name="connsiteY2458" fmla="*/ 553402 h 2031151"/>
                <a:gd name="connsiteX2459" fmla="*/ 1436533 w 3368309"/>
                <a:gd name="connsiteY2459" fmla="*/ 556661 h 2031151"/>
                <a:gd name="connsiteX2460" fmla="*/ 1435392 w 3368309"/>
                <a:gd name="connsiteY2460" fmla="*/ 561385 h 2031151"/>
                <a:gd name="connsiteX2461" fmla="*/ 1437185 w 3368309"/>
                <a:gd name="connsiteY2461" fmla="*/ 558127 h 2031151"/>
                <a:gd name="connsiteX2462" fmla="*/ 1442072 w 3368309"/>
                <a:gd name="connsiteY2462" fmla="*/ 557801 h 2031151"/>
                <a:gd name="connsiteX2463" fmla="*/ 1446959 w 3368309"/>
                <a:gd name="connsiteY2463" fmla="*/ 552914 h 2031151"/>
                <a:gd name="connsiteX2464" fmla="*/ 1449240 w 3368309"/>
                <a:gd name="connsiteY2464" fmla="*/ 548189 h 2031151"/>
                <a:gd name="connsiteX2465" fmla="*/ 1448099 w 3368309"/>
                <a:gd name="connsiteY2465" fmla="*/ 546071 h 2031151"/>
                <a:gd name="connsiteX2466" fmla="*/ 1449892 w 3368309"/>
                <a:gd name="connsiteY2466" fmla="*/ 542650 h 2031151"/>
                <a:gd name="connsiteX2467" fmla="*/ 1456571 w 3368309"/>
                <a:gd name="connsiteY2467" fmla="*/ 542325 h 2031151"/>
                <a:gd name="connsiteX2468" fmla="*/ 1460317 w 3368309"/>
                <a:gd name="connsiteY2468" fmla="*/ 541184 h 2031151"/>
                <a:gd name="connsiteX2469" fmla="*/ 1456408 w 3368309"/>
                <a:gd name="connsiteY2469" fmla="*/ 540207 h 2031151"/>
                <a:gd name="connsiteX2470" fmla="*/ 1447774 w 3368309"/>
                <a:gd name="connsiteY2470" fmla="*/ 531247 h 2031151"/>
                <a:gd name="connsiteX2471" fmla="*/ 1445330 w 3368309"/>
                <a:gd name="connsiteY2471" fmla="*/ 524405 h 2031151"/>
                <a:gd name="connsiteX2472" fmla="*/ 1448262 w 3368309"/>
                <a:gd name="connsiteY2472" fmla="*/ 518866 h 2031151"/>
                <a:gd name="connsiteX2473" fmla="*/ 1456896 w 3368309"/>
                <a:gd name="connsiteY2473" fmla="*/ 518051 h 2031151"/>
                <a:gd name="connsiteX2474" fmla="*/ 1466019 w 3368309"/>
                <a:gd name="connsiteY2474" fmla="*/ 516911 h 2031151"/>
                <a:gd name="connsiteX2475" fmla="*/ 1473513 w 3368309"/>
                <a:gd name="connsiteY2475" fmla="*/ 510394 h 2031151"/>
                <a:gd name="connsiteX2476" fmla="*/ 1477423 w 3368309"/>
                <a:gd name="connsiteY2476" fmla="*/ 510394 h 2031151"/>
                <a:gd name="connsiteX2477" fmla="*/ 1480355 w 3368309"/>
                <a:gd name="connsiteY2477" fmla="*/ 507625 h 2031151"/>
                <a:gd name="connsiteX2478" fmla="*/ 1477423 w 3368309"/>
                <a:gd name="connsiteY2478" fmla="*/ 503389 h 2031151"/>
                <a:gd name="connsiteX2479" fmla="*/ 1484917 w 3368309"/>
                <a:gd name="connsiteY2479" fmla="*/ 497362 h 2031151"/>
                <a:gd name="connsiteX2480" fmla="*/ 1488664 w 3368309"/>
                <a:gd name="connsiteY2480" fmla="*/ 491334 h 2031151"/>
                <a:gd name="connsiteX2481" fmla="*/ 1485894 w 3368309"/>
                <a:gd name="connsiteY2481" fmla="*/ 485958 h 2031151"/>
                <a:gd name="connsiteX2482" fmla="*/ 1485894 w 3368309"/>
                <a:gd name="connsiteY2482" fmla="*/ 484003 h 2031151"/>
                <a:gd name="connsiteX2483" fmla="*/ 1491108 w 3368309"/>
                <a:gd name="connsiteY2483" fmla="*/ 487098 h 2031151"/>
                <a:gd name="connsiteX2484" fmla="*/ 1497298 w 3368309"/>
                <a:gd name="connsiteY2484" fmla="*/ 485143 h 2031151"/>
                <a:gd name="connsiteX2485" fmla="*/ 1501045 w 3368309"/>
                <a:gd name="connsiteY2485" fmla="*/ 479605 h 2031151"/>
                <a:gd name="connsiteX2486" fmla="*/ 1498112 w 3368309"/>
                <a:gd name="connsiteY2486" fmla="*/ 475695 h 2031151"/>
                <a:gd name="connsiteX2487" fmla="*/ 1507561 w 3368309"/>
                <a:gd name="connsiteY2487" fmla="*/ 468527 h 2031151"/>
                <a:gd name="connsiteX2488" fmla="*/ 1508213 w 3368309"/>
                <a:gd name="connsiteY2488" fmla="*/ 462988 h 2031151"/>
                <a:gd name="connsiteX2489" fmla="*/ 1506095 w 3368309"/>
                <a:gd name="connsiteY2489" fmla="*/ 459078 h 2031151"/>
                <a:gd name="connsiteX2490" fmla="*/ 1496646 w 3368309"/>
                <a:gd name="connsiteY2490" fmla="*/ 464454 h 2031151"/>
                <a:gd name="connsiteX2491" fmla="*/ 1495832 w 3368309"/>
                <a:gd name="connsiteY2491" fmla="*/ 467875 h 2031151"/>
                <a:gd name="connsiteX2492" fmla="*/ 1488338 w 3368309"/>
                <a:gd name="connsiteY2492" fmla="*/ 473414 h 2031151"/>
                <a:gd name="connsiteX2493" fmla="*/ 1482799 w 3368309"/>
                <a:gd name="connsiteY2493" fmla="*/ 470645 h 2031151"/>
                <a:gd name="connsiteX2494" fmla="*/ 1479052 w 3368309"/>
                <a:gd name="connsiteY2494" fmla="*/ 464128 h 2031151"/>
                <a:gd name="connsiteX2495" fmla="*/ 1483125 w 3368309"/>
                <a:gd name="connsiteY2495" fmla="*/ 458263 h 2031151"/>
                <a:gd name="connsiteX2496" fmla="*/ 1481985 w 3368309"/>
                <a:gd name="connsiteY2496" fmla="*/ 449792 h 2031151"/>
                <a:gd name="connsiteX2497" fmla="*/ 1487035 w 3368309"/>
                <a:gd name="connsiteY2497" fmla="*/ 445557 h 2031151"/>
                <a:gd name="connsiteX2498" fmla="*/ 1494365 w 3368309"/>
                <a:gd name="connsiteY2498" fmla="*/ 445231 h 2031151"/>
                <a:gd name="connsiteX2499" fmla="*/ 1503000 w 3368309"/>
                <a:gd name="connsiteY2499" fmla="*/ 451095 h 2031151"/>
                <a:gd name="connsiteX2500" fmla="*/ 1506421 w 3368309"/>
                <a:gd name="connsiteY2500" fmla="*/ 447023 h 2031151"/>
                <a:gd name="connsiteX2501" fmla="*/ 1506095 w 3368309"/>
                <a:gd name="connsiteY2501" fmla="*/ 441158 h 2031151"/>
                <a:gd name="connsiteX2502" fmla="*/ 1513100 w 3368309"/>
                <a:gd name="connsiteY2502" fmla="*/ 438226 h 2031151"/>
                <a:gd name="connsiteX2503" fmla="*/ 1513915 w 3368309"/>
                <a:gd name="connsiteY2503" fmla="*/ 442298 h 2031151"/>
                <a:gd name="connsiteX2504" fmla="*/ 1510982 w 3368309"/>
                <a:gd name="connsiteY2504" fmla="*/ 445557 h 2031151"/>
                <a:gd name="connsiteX2505" fmla="*/ 1511308 w 3368309"/>
                <a:gd name="connsiteY2505" fmla="*/ 450607 h 2031151"/>
                <a:gd name="connsiteX2506" fmla="*/ 1525155 w 3368309"/>
                <a:gd name="connsiteY2506" fmla="*/ 461847 h 2031151"/>
                <a:gd name="connsiteX2507" fmla="*/ 1531835 w 3368309"/>
                <a:gd name="connsiteY2507" fmla="*/ 462499 h 2031151"/>
                <a:gd name="connsiteX2508" fmla="*/ 1535256 w 3368309"/>
                <a:gd name="connsiteY2508" fmla="*/ 460381 h 2031151"/>
                <a:gd name="connsiteX2509" fmla="*/ 1544867 w 3368309"/>
                <a:gd name="connsiteY2509" fmla="*/ 458589 h 2031151"/>
                <a:gd name="connsiteX2510" fmla="*/ 1549103 w 3368309"/>
                <a:gd name="connsiteY2510" fmla="*/ 453865 h 2031151"/>
                <a:gd name="connsiteX2511" fmla="*/ 1548289 w 3368309"/>
                <a:gd name="connsiteY2511" fmla="*/ 448489 h 2031151"/>
                <a:gd name="connsiteX2512" fmla="*/ 1540306 w 3368309"/>
                <a:gd name="connsiteY2512" fmla="*/ 439366 h 2031151"/>
                <a:gd name="connsiteX2513" fmla="*/ 1540306 w 3368309"/>
                <a:gd name="connsiteY2513" fmla="*/ 436271 h 2031151"/>
                <a:gd name="connsiteX2514" fmla="*/ 1542912 w 3368309"/>
                <a:gd name="connsiteY2514" fmla="*/ 436922 h 2031151"/>
                <a:gd name="connsiteX2515" fmla="*/ 1552850 w 3368309"/>
                <a:gd name="connsiteY2515" fmla="*/ 446534 h 2031151"/>
                <a:gd name="connsiteX2516" fmla="*/ 1556271 w 3368309"/>
                <a:gd name="connsiteY2516" fmla="*/ 447186 h 2031151"/>
                <a:gd name="connsiteX2517" fmla="*/ 1561647 w 3368309"/>
                <a:gd name="connsiteY2517" fmla="*/ 452073 h 2031151"/>
                <a:gd name="connsiteX2518" fmla="*/ 1560507 w 3368309"/>
                <a:gd name="connsiteY2518" fmla="*/ 455983 h 2031151"/>
                <a:gd name="connsiteX2519" fmla="*/ 1561647 w 3368309"/>
                <a:gd name="connsiteY2519" fmla="*/ 459730 h 2031151"/>
                <a:gd name="connsiteX2520" fmla="*/ 1568489 w 3368309"/>
                <a:gd name="connsiteY2520" fmla="*/ 465106 h 2031151"/>
                <a:gd name="connsiteX2521" fmla="*/ 1569467 w 3368309"/>
                <a:gd name="connsiteY2521" fmla="*/ 474717 h 2031151"/>
                <a:gd name="connsiteX2522" fmla="*/ 1571422 w 3368309"/>
                <a:gd name="connsiteY2522" fmla="*/ 476509 h 2031151"/>
                <a:gd name="connsiteX2523" fmla="*/ 1571096 w 3368309"/>
                <a:gd name="connsiteY2523" fmla="*/ 473740 h 2031151"/>
                <a:gd name="connsiteX2524" fmla="*/ 1575820 w 3368309"/>
                <a:gd name="connsiteY2524" fmla="*/ 468690 h 2031151"/>
                <a:gd name="connsiteX2525" fmla="*/ 1578590 w 3368309"/>
                <a:gd name="connsiteY2525" fmla="*/ 468038 h 2031151"/>
                <a:gd name="connsiteX2526" fmla="*/ 1581033 w 3368309"/>
                <a:gd name="connsiteY2526" fmla="*/ 464128 h 2031151"/>
                <a:gd name="connsiteX2527" fmla="*/ 1578915 w 3368309"/>
                <a:gd name="connsiteY2527" fmla="*/ 462499 h 2031151"/>
                <a:gd name="connsiteX2528" fmla="*/ 1574843 w 3368309"/>
                <a:gd name="connsiteY2528" fmla="*/ 464454 h 2031151"/>
                <a:gd name="connsiteX2529" fmla="*/ 1571096 w 3368309"/>
                <a:gd name="connsiteY2529" fmla="*/ 463314 h 2031151"/>
                <a:gd name="connsiteX2530" fmla="*/ 1567838 w 3368309"/>
                <a:gd name="connsiteY2530" fmla="*/ 456960 h 2031151"/>
                <a:gd name="connsiteX2531" fmla="*/ 1574354 w 3368309"/>
                <a:gd name="connsiteY2531" fmla="*/ 450770 h 2031151"/>
                <a:gd name="connsiteX2532" fmla="*/ 1579730 w 3368309"/>
                <a:gd name="connsiteY2532" fmla="*/ 447674 h 2031151"/>
                <a:gd name="connsiteX2533" fmla="*/ 1582174 w 3368309"/>
                <a:gd name="connsiteY2533" fmla="*/ 444253 h 2031151"/>
                <a:gd name="connsiteX2534" fmla="*/ 1585432 w 3368309"/>
                <a:gd name="connsiteY2534" fmla="*/ 444253 h 2031151"/>
                <a:gd name="connsiteX2535" fmla="*/ 1587549 w 3368309"/>
                <a:gd name="connsiteY2535" fmla="*/ 440506 h 2031151"/>
                <a:gd name="connsiteX2536" fmla="*/ 1598139 w 3368309"/>
                <a:gd name="connsiteY2536" fmla="*/ 438551 h 2031151"/>
                <a:gd name="connsiteX2537" fmla="*/ 1614919 w 3368309"/>
                <a:gd name="connsiteY2537" fmla="*/ 434153 h 2031151"/>
                <a:gd name="connsiteX2538" fmla="*/ 1635282 w 3368309"/>
                <a:gd name="connsiteY2538" fmla="*/ 433338 h 2031151"/>
                <a:gd name="connsiteX2539" fmla="*/ 1650921 w 3368309"/>
                <a:gd name="connsiteY2539" fmla="*/ 426333 h 2031151"/>
                <a:gd name="connsiteX2540" fmla="*/ 1658578 w 3368309"/>
                <a:gd name="connsiteY2540" fmla="*/ 426333 h 2031151"/>
                <a:gd name="connsiteX2541" fmla="*/ 1665746 w 3368309"/>
                <a:gd name="connsiteY2541" fmla="*/ 428777 h 2031151"/>
                <a:gd name="connsiteX2542" fmla="*/ 1665420 w 3368309"/>
                <a:gd name="connsiteY2542" fmla="*/ 432850 h 2031151"/>
                <a:gd name="connsiteX2543" fmla="*/ 1663465 w 3368309"/>
                <a:gd name="connsiteY2543" fmla="*/ 433827 h 2031151"/>
                <a:gd name="connsiteX2544" fmla="*/ 1660207 w 3368309"/>
                <a:gd name="connsiteY2544" fmla="*/ 439855 h 2031151"/>
                <a:gd name="connsiteX2545" fmla="*/ 1663140 w 3368309"/>
                <a:gd name="connsiteY2545" fmla="*/ 449466 h 2031151"/>
                <a:gd name="connsiteX2546" fmla="*/ 1669981 w 3368309"/>
                <a:gd name="connsiteY2546" fmla="*/ 454842 h 2031151"/>
                <a:gd name="connsiteX2547" fmla="*/ 1692626 w 3368309"/>
                <a:gd name="connsiteY2547" fmla="*/ 455820 h 2031151"/>
                <a:gd name="connsiteX2548" fmla="*/ 1697024 w 3368309"/>
                <a:gd name="connsiteY2548" fmla="*/ 457123 h 2031151"/>
                <a:gd name="connsiteX2549" fmla="*/ 1698817 w 3368309"/>
                <a:gd name="connsiteY2549" fmla="*/ 456146 h 2031151"/>
                <a:gd name="connsiteX2550" fmla="*/ 1706962 w 3368309"/>
                <a:gd name="connsiteY2550" fmla="*/ 456146 h 2031151"/>
                <a:gd name="connsiteX2551" fmla="*/ 1713153 w 3368309"/>
                <a:gd name="connsiteY2551" fmla="*/ 458263 h 2031151"/>
                <a:gd name="connsiteX2552" fmla="*/ 1728955 w 3368309"/>
                <a:gd name="connsiteY2552" fmla="*/ 455657 h 2031151"/>
                <a:gd name="connsiteX2553" fmla="*/ 1740196 w 3368309"/>
                <a:gd name="connsiteY2553" fmla="*/ 449629 h 2031151"/>
                <a:gd name="connsiteX2554" fmla="*/ 1744105 w 3368309"/>
                <a:gd name="connsiteY2554" fmla="*/ 450933 h 2031151"/>
                <a:gd name="connsiteX2555" fmla="*/ 1749481 w 3368309"/>
                <a:gd name="connsiteY2555" fmla="*/ 450607 h 2031151"/>
                <a:gd name="connsiteX2556" fmla="*/ 1752414 w 3368309"/>
                <a:gd name="connsiteY2556" fmla="*/ 445719 h 2031151"/>
                <a:gd name="connsiteX2557" fmla="*/ 1750459 w 3368309"/>
                <a:gd name="connsiteY2557" fmla="*/ 442135 h 2031151"/>
                <a:gd name="connsiteX2558" fmla="*/ 1755346 w 3368309"/>
                <a:gd name="connsiteY2558" fmla="*/ 440995 h 2031151"/>
                <a:gd name="connsiteX2559" fmla="*/ 1759908 w 3368309"/>
                <a:gd name="connsiteY2559" fmla="*/ 442298 h 2031151"/>
                <a:gd name="connsiteX2560" fmla="*/ 1766913 w 3368309"/>
                <a:gd name="connsiteY2560" fmla="*/ 440343 h 2031151"/>
                <a:gd name="connsiteX2561" fmla="*/ 1768542 w 3368309"/>
                <a:gd name="connsiteY2561" fmla="*/ 444253 h 2031151"/>
                <a:gd name="connsiteX2562" fmla="*/ 1770985 w 3368309"/>
                <a:gd name="connsiteY2562" fmla="*/ 445068 h 2031151"/>
                <a:gd name="connsiteX2563" fmla="*/ 1774244 w 3368309"/>
                <a:gd name="connsiteY2563" fmla="*/ 440018 h 2031151"/>
                <a:gd name="connsiteX2564" fmla="*/ 1772614 w 3368309"/>
                <a:gd name="connsiteY2564" fmla="*/ 436108 h 2031151"/>
                <a:gd name="connsiteX2565" fmla="*/ 1768379 w 3368309"/>
                <a:gd name="connsiteY2565" fmla="*/ 432035 h 2031151"/>
                <a:gd name="connsiteX2566" fmla="*/ 1769030 w 3368309"/>
                <a:gd name="connsiteY2566" fmla="*/ 426985 h 2031151"/>
                <a:gd name="connsiteX2567" fmla="*/ 1766587 w 3368309"/>
                <a:gd name="connsiteY2567" fmla="*/ 423075 h 2031151"/>
                <a:gd name="connsiteX2568" fmla="*/ 1760885 w 3368309"/>
                <a:gd name="connsiteY2568" fmla="*/ 421935 h 2031151"/>
                <a:gd name="connsiteX2569" fmla="*/ 1760071 w 3368309"/>
                <a:gd name="connsiteY2569" fmla="*/ 415255 h 2031151"/>
                <a:gd name="connsiteX2570" fmla="*/ 1757301 w 3368309"/>
                <a:gd name="connsiteY2570" fmla="*/ 414115 h 2031151"/>
                <a:gd name="connsiteX2571" fmla="*/ 1755998 w 3368309"/>
                <a:gd name="connsiteY2571" fmla="*/ 409065 h 2031151"/>
                <a:gd name="connsiteX2572" fmla="*/ 1752576 w 3368309"/>
                <a:gd name="connsiteY2572" fmla="*/ 405155 h 2031151"/>
                <a:gd name="connsiteX2573" fmla="*/ 1751762 w 3368309"/>
                <a:gd name="connsiteY2573" fmla="*/ 398639 h 2031151"/>
                <a:gd name="connsiteX2574" fmla="*/ 1754369 w 3368309"/>
                <a:gd name="connsiteY2574" fmla="*/ 393751 h 2031151"/>
                <a:gd name="connsiteX2575" fmla="*/ 1755183 w 3368309"/>
                <a:gd name="connsiteY2575" fmla="*/ 396684 h 2031151"/>
                <a:gd name="connsiteX2576" fmla="*/ 1757627 w 3368309"/>
                <a:gd name="connsiteY2576" fmla="*/ 398150 h 2031151"/>
                <a:gd name="connsiteX2577" fmla="*/ 1763329 w 3368309"/>
                <a:gd name="connsiteY2577" fmla="*/ 393589 h 2031151"/>
                <a:gd name="connsiteX2578" fmla="*/ 1762188 w 3368309"/>
                <a:gd name="connsiteY2578" fmla="*/ 391634 h 2031151"/>
                <a:gd name="connsiteX2579" fmla="*/ 1761048 w 3368309"/>
                <a:gd name="connsiteY2579" fmla="*/ 387235 h 2031151"/>
                <a:gd name="connsiteX2580" fmla="*/ 1765121 w 3368309"/>
                <a:gd name="connsiteY2580" fmla="*/ 386746 h 2031151"/>
                <a:gd name="connsiteX2581" fmla="*/ 1771148 w 3368309"/>
                <a:gd name="connsiteY2581" fmla="*/ 391471 h 2031151"/>
                <a:gd name="connsiteX2582" fmla="*/ 1774244 w 3368309"/>
                <a:gd name="connsiteY2582" fmla="*/ 389190 h 2031151"/>
                <a:gd name="connsiteX2583" fmla="*/ 1775384 w 3368309"/>
                <a:gd name="connsiteY2583" fmla="*/ 384954 h 2031151"/>
                <a:gd name="connsiteX2584" fmla="*/ 1777339 w 3368309"/>
                <a:gd name="connsiteY2584" fmla="*/ 387887 h 2031151"/>
                <a:gd name="connsiteX2585" fmla="*/ 1784018 w 3368309"/>
                <a:gd name="connsiteY2585" fmla="*/ 387561 h 2031151"/>
                <a:gd name="connsiteX2586" fmla="*/ 1787928 w 3368309"/>
                <a:gd name="connsiteY2586" fmla="*/ 386746 h 2031151"/>
                <a:gd name="connsiteX2587" fmla="*/ 1789557 w 3368309"/>
                <a:gd name="connsiteY2587" fmla="*/ 383651 h 2031151"/>
                <a:gd name="connsiteX2588" fmla="*/ 1794119 w 3368309"/>
                <a:gd name="connsiteY2588" fmla="*/ 388538 h 2031151"/>
                <a:gd name="connsiteX2589" fmla="*/ 1798517 w 3368309"/>
                <a:gd name="connsiteY2589" fmla="*/ 390004 h 2031151"/>
                <a:gd name="connsiteX2590" fmla="*/ 1801775 w 3368309"/>
                <a:gd name="connsiteY2590" fmla="*/ 394077 h 2031151"/>
                <a:gd name="connsiteX2591" fmla="*/ 1804871 w 3368309"/>
                <a:gd name="connsiteY2591" fmla="*/ 391634 h 2031151"/>
                <a:gd name="connsiteX2592" fmla="*/ 1804871 w 3368309"/>
                <a:gd name="connsiteY2592" fmla="*/ 386909 h 2031151"/>
                <a:gd name="connsiteX2593" fmla="*/ 1809269 w 3368309"/>
                <a:gd name="connsiteY2593" fmla="*/ 387887 h 2031151"/>
                <a:gd name="connsiteX2594" fmla="*/ 1812201 w 3368309"/>
                <a:gd name="connsiteY2594" fmla="*/ 392774 h 2031151"/>
                <a:gd name="connsiteX2595" fmla="*/ 1808943 w 3368309"/>
                <a:gd name="connsiteY2595" fmla="*/ 395543 h 2031151"/>
                <a:gd name="connsiteX2596" fmla="*/ 1806662 w 3368309"/>
                <a:gd name="connsiteY2596" fmla="*/ 399942 h 2031151"/>
                <a:gd name="connsiteX2597" fmla="*/ 1808454 w 3368309"/>
                <a:gd name="connsiteY2597" fmla="*/ 401408 h 2031151"/>
                <a:gd name="connsiteX2598" fmla="*/ 1814156 w 3368309"/>
                <a:gd name="connsiteY2598" fmla="*/ 400105 h 2031151"/>
                <a:gd name="connsiteX2599" fmla="*/ 1815622 w 3368309"/>
                <a:gd name="connsiteY2599" fmla="*/ 400919 h 2031151"/>
                <a:gd name="connsiteX2600" fmla="*/ 1815622 w 3368309"/>
                <a:gd name="connsiteY2600" fmla="*/ 397173 h 2031151"/>
                <a:gd name="connsiteX2601" fmla="*/ 1817903 w 3368309"/>
                <a:gd name="connsiteY2601" fmla="*/ 395869 h 2031151"/>
                <a:gd name="connsiteX2602" fmla="*/ 1821324 w 3368309"/>
                <a:gd name="connsiteY2602" fmla="*/ 396684 h 2031151"/>
                <a:gd name="connsiteX2603" fmla="*/ 1819532 w 3368309"/>
                <a:gd name="connsiteY2603" fmla="*/ 391308 h 2031151"/>
                <a:gd name="connsiteX2604" fmla="*/ 1816763 w 3368309"/>
                <a:gd name="connsiteY2604" fmla="*/ 389027 h 2031151"/>
                <a:gd name="connsiteX2605" fmla="*/ 1817903 w 3368309"/>
                <a:gd name="connsiteY2605" fmla="*/ 386746 h 2031151"/>
                <a:gd name="connsiteX2606" fmla="*/ 1822465 w 3368309"/>
                <a:gd name="connsiteY2606" fmla="*/ 386746 h 2031151"/>
                <a:gd name="connsiteX2607" fmla="*/ 1829958 w 3368309"/>
                <a:gd name="connsiteY2607" fmla="*/ 384791 h 2031151"/>
                <a:gd name="connsiteX2608" fmla="*/ 1832402 w 3368309"/>
                <a:gd name="connsiteY2608" fmla="*/ 387072 h 2031151"/>
                <a:gd name="connsiteX2609" fmla="*/ 1835335 w 3368309"/>
                <a:gd name="connsiteY2609" fmla="*/ 385443 h 2031151"/>
                <a:gd name="connsiteX2610" fmla="*/ 1842340 w 3368309"/>
                <a:gd name="connsiteY2610" fmla="*/ 385443 h 2031151"/>
                <a:gd name="connsiteX2611" fmla="*/ 1842340 w 3368309"/>
                <a:gd name="connsiteY2611" fmla="*/ 389027 h 2031151"/>
                <a:gd name="connsiteX2612" fmla="*/ 1844131 w 3368309"/>
                <a:gd name="connsiteY2612" fmla="*/ 395706 h 2031151"/>
                <a:gd name="connsiteX2613" fmla="*/ 1845435 w 3368309"/>
                <a:gd name="connsiteY2613" fmla="*/ 392448 h 2031151"/>
                <a:gd name="connsiteX2614" fmla="*/ 1847878 w 3368309"/>
                <a:gd name="connsiteY2614" fmla="*/ 392122 h 2031151"/>
                <a:gd name="connsiteX2615" fmla="*/ 1852277 w 3368309"/>
                <a:gd name="connsiteY2615" fmla="*/ 387887 h 2031151"/>
                <a:gd name="connsiteX2616" fmla="*/ 1854232 w 3368309"/>
                <a:gd name="connsiteY2616" fmla="*/ 395055 h 2031151"/>
                <a:gd name="connsiteX2617" fmla="*/ 1857164 w 3368309"/>
                <a:gd name="connsiteY2617" fmla="*/ 395055 h 2031151"/>
                <a:gd name="connsiteX2618" fmla="*/ 1861889 w 3368309"/>
                <a:gd name="connsiteY2618" fmla="*/ 391634 h 2031151"/>
                <a:gd name="connsiteX2619" fmla="*/ 1866776 w 3368309"/>
                <a:gd name="connsiteY2619" fmla="*/ 395706 h 2031151"/>
                <a:gd name="connsiteX2620" fmla="*/ 1868405 w 3368309"/>
                <a:gd name="connsiteY2620" fmla="*/ 405481 h 2031151"/>
                <a:gd name="connsiteX2621" fmla="*/ 1871826 w 3368309"/>
                <a:gd name="connsiteY2621" fmla="*/ 399290 h 2031151"/>
                <a:gd name="connsiteX2622" fmla="*/ 1874921 w 3368309"/>
                <a:gd name="connsiteY2622" fmla="*/ 396847 h 2031151"/>
                <a:gd name="connsiteX2623" fmla="*/ 1877202 w 3368309"/>
                <a:gd name="connsiteY2623" fmla="*/ 399127 h 2031151"/>
                <a:gd name="connsiteX2624" fmla="*/ 1874433 w 3368309"/>
                <a:gd name="connsiteY2624" fmla="*/ 405807 h 2031151"/>
                <a:gd name="connsiteX2625" fmla="*/ 1878180 w 3368309"/>
                <a:gd name="connsiteY2625" fmla="*/ 408902 h 2031151"/>
                <a:gd name="connsiteX2626" fmla="*/ 1879972 w 3368309"/>
                <a:gd name="connsiteY2626" fmla="*/ 411183 h 2031151"/>
                <a:gd name="connsiteX2627" fmla="*/ 1884696 w 3368309"/>
                <a:gd name="connsiteY2627" fmla="*/ 411183 h 2031151"/>
                <a:gd name="connsiteX2628" fmla="*/ 1886162 w 3368309"/>
                <a:gd name="connsiteY2628" fmla="*/ 416070 h 2031151"/>
                <a:gd name="connsiteX2629" fmla="*/ 1888280 w 3368309"/>
                <a:gd name="connsiteY2629" fmla="*/ 414115 h 2031151"/>
                <a:gd name="connsiteX2630" fmla="*/ 1890235 w 3368309"/>
                <a:gd name="connsiteY2630" fmla="*/ 413463 h 2031151"/>
                <a:gd name="connsiteX2631" fmla="*/ 1892027 w 3368309"/>
                <a:gd name="connsiteY2631" fmla="*/ 419002 h 2031151"/>
                <a:gd name="connsiteX2632" fmla="*/ 1888117 w 3368309"/>
                <a:gd name="connsiteY2632" fmla="*/ 423238 h 2031151"/>
                <a:gd name="connsiteX2633" fmla="*/ 1888769 w 3368309"/>
                <a:gd name="connsiteY2633" fmla="*/ 429266 h 2031151"/>
                <a:gd name="connsiteX2634" fmla="*/ 1895774 w 3368309"/>
                <a:gd name="connsiteY2634" fmla="*/ 422260 h 2031151"/>
                <a:gd name="connsiteX2635" fmla="*/ 1900010 w 3368309"/>
                <a:gd name="connsiteY2635" fmla="*/ 422586 h 2031151"/>
                <a:gd name="connsiteX2636" fmla="*/ 1900824 w 3368309"/>
                <a:gd name="connsiteY2636" fmla="*/ 426333 h 2031151"/>
                <a:gd name="connsiteX2637" fmla="*/ 1891212 w 3368309"/>
                <a:gd name="connsiteY2637" fmla="*/ 434967 h 2031151"/>
                <a:gd name="connsiteX2638" fmla="*/ 1891864 w 3368309"/>
                <a:gd name="connsiteY2638" fmla="*/ 441973 h 2031151"/>
                <a:gd name="connsiteX2639" fmla="*/ 1900010 w 3368309"/>
                <a:gd name="connsiteY2639" fmla="*/ 443113 h 2031151"/>
                <a:gd name="connsiteX2640" fmla="*/ 1902290 w 3368309"/>
                <a:gd name="connsiteY2640" fmla="*/ 440343 h 2031151"/>
                <a:gd name="connsiteX2641" fmla="*/ 1905711 w 3368309"/>
                <a:gd name="connsiteY2641" fmla="*/ 438063 h 2031151"/>
                <a:gd name="connsiteX2642" fmla="*/ 1908644 w 3368309"/>
                <a:gd name="connsiteY2642" fmla="*/ 439692 h 2031151"/>
                <a:gd name="connsiteX2643" fmla="*/ 1909784 w 3368309"/>
                <a:gd name="connsiteY2643" fmla="*/ 444090 h 2031151"/>
                <a:gd name="connsiteX2644" fmla="*/ 1913368 w 3368309"/>
                <a:gd name="connsiteY2644" fmla="*/ 441810 h 2031151"/>
                <a:gd name="connsiteX2645" fmla="*/ 1919070 w 3368309"/>
                <a:gd name="connsiteY2645" fmla="*/ 448000 h 2031151"/>
                <a:gd name="connsiteX2646" fmla="*/ 1917278 w 3368309"/>
                <a:gd name="connsiteY2646" fmla="*/ 455657 h 2031151"/>
                <a:gd name="connsiteX2647" fmla="*/ 1922165 w 3368309"/>
                <a:gd name="connsiteY2647" fmla="*/ 454842 h 2031151"/>
                <a:gd name="connsiteX2648" fmla="*/ 1923305 w 3368309"/>
                <a:gd name="connsiteY2648" fmla="*/ 458752 h 2031151"/>
                <a:gd name="connsiteX2649" fmla="*/ 1927378 w 3368309"/>
                <a:gd name="connsiteY2649" fmla="*/ 456960 h 2031151"/>
                <a:gd name="connsiteX2650" fmla="*/ 1928030 w 3368309"/>
                <a:gd name="connsiteY2650" fmla="*/ 460870 h 2031151"/>
                <a:gd name="connsiteX2651" fmla="*/ 1923631 w 3368309"/>
                <a:gd name="connsiteY2651" fmla="*/ 468853 h 2031151"/>
                <a:gd name="connsiteX2652" fmla="*/ 1918092 w 3368309"/>
                <a:gd name="connsiteY2652" fmla="*/ 471133 h 2031151"/>
                <a:gd name="connsiteX2653" fmla="*/ 1913368 w 3368309"/>
                <a:gd name="connsiteY2653" fmla="*/ 467712 h 2031151"/>
                <a:gd name="connsiteX2654" fmla="*/ 1903431 w 3368309"/>
                <a:gd name="connsiteY2654" fmla="*/ 465269 h 2031151"/>
                <a:gd name="connsiteX2655" fmla="*/ 1892190 w 3368309"/>
                <a:gd name="connsiteY2655" fmla="*/ 465269 h 2031151"/>
                <a:gd name="connsiteX2656" fmla="*/ 1896588 w 3368309"/>
                <a:gd name="connsiteY2656" fmla="*/ 468201 h 2031151"/>
                <a:gd name="connsiteX2657" fmla="*/ 1898543 w 3368309"/>
                <a:gd name="connsiteY2657" fmla="*/ 473577 h 2031151"/>
                <a:gd name="connsiteX2658" fmla="*/ 1908481 w 3368309"/>
                <a:gd name="connsiteY2658" fmla="*/ 474717 h 2031151"/>
                <a:gd name="connsiteX2659" fmla="*/ 1910436 w 3368309"/>
                <a:gd name="connsiteY2659" fmla="*/ 478627 h 2031151"/>
                <a:gd name="connsiteX2660" fmla="*/ 1919885 w 3368309"/>
                <a:gd name="connsiteY2660" fmla="*/ 485795 h 2031151"/>
                <a:gd name="connsiteX2661" fmla="*/ 1929333 w 3368309"/>
                <a:gd name="connsiteY2661" fmla="*/ 488239 h 2031151"/>
                <a:gd name="connsiteX2662" fmla="*/ 1935361 w 3368309"/>
                <a:gd name="connsiteY2662" fmla="*/ 484166 h 2031151"/>
                <a:gd name="connsiteX2663" fmla="*/ 1935687 w 3368309"/>
                <a:gd name="connsiteY2663" fmla="*/ 478953 h 2031151"/>
                <a:gd name="connsiteX2664" fmla="*/ 1930799 w 3368309"/>
                <a:gd name="connsiteY2664" fmla="*/ 474391 h 2031151"/>
                <a:gd name="connsiteX2665" fmla="*/ 1929333 w 3368309"/>
                <a:gd name="connsiteY2665" fmla="*/ 471133 h 2031151"/>
                <a:gd name="connsiteX2666" fmla="*/ 1930799 w 3368309"/>
                <a:gd name="connsiteY2666" fmla="*/ 471133 h 2031151"/>
                <a:gd name="connsiteX2667" fmla="*/ 1936664 w 3368309"/>
                <a:gd name="connsiteY2667" fmla="*/ 476998 h 2031151"/>
                <a:gd name="connsiteX2668" fmla="*/ 1942692 w 3368309"/>
                <a:gd name="connsiteY2668" fmla="*/ 479930 h 2031151"/>
                <a:gd name="connsiteX2669" fmla="*/ 1946113 w 3368309"/>
                <a:gd name="connsiteY2669" fmla="*/ 482211 h 2031151"/>
                <a:gd name="connsiteX2670" fmla="*/ 1941714 w 3368309"/>
                <a:gd name="connsiteY2670" fmla="*/ 481885 h 2031151"/>
                <a:gd name="connsiteX2671" fmla="*/ 1931614 w 3368309"/>
                <a:gd name="connsiteY2671" fmla="*/ 491334 h 2031151"/>
                <a:gd name="connsiteX2672" fmla="*/ 1933894 w 3368309"/>
                <a:gd name="connsiteY2672" fmla="*/ 494429 h 2031151"/>
                <a:gd name="connsiteX2673" fmla="*/ 1938293 w 3368309"/>
                <a:gd name="connsiteY2673" fmla="*/ 495081 h 2031151"/>
                <a:gd name="connsiteX2674" fmla="*/ 1941551 w 3368309"/>
                <a:gd name="connsiteY2674" fmla="*/ 492637 h 2031151"/>
                <a:gd name="connsiteX2675" fmla="*/ 1944810 w 3368309"/>
                <a:gd name="connsiteY2675" fmla="*/ 492637 h 2031151"/>
                <a:gd name="connsiteX2676" fmla="*/ 1961426 w 3368309"/>
                <a:gd name="connsiteY2676" fmla="*/ 507951 h 2031151"/>
                <a:gd name="connsiteX2677" fmla="*/ 1965662 w 3368309"/>
                <a:gd name="connsiteY2677" fmla="*/ 509743 h 2031151"/>
                <a:gd name="connsiteX2678" fmla="*/ 1970875 w 3368309"/>
                <a:gd name="connsiteY2678" fmla="*/ 516585 h 2031151"/>
                <a:gd name="connsiteX2679" fmla="*/ 1983093 w 3368309"/>
                <a:gd name="connsiteY2679" fmla="*/ 517725 h 2031151"/>
                <a:gd name="connsiteX2680" fmla="*/ 1990424 w 3368309"/>
                <a:gd name="connsiteY2680" fmla="*/ 526197 h 2031151"/>
                <a:gd name="connsiteX2681" fmla="*/ 1997918 w 3368309"/>
                <a:gd name="connsiteY2681" fmla="*/ 527989 h 2031151"/>
                <a:gd name="connsiteX2682" fmla="*/ 1999710 w 3368309"/>
                <a:gd name="connsiteY2682" fmla="*/ 524730 h 2031151"/>
                <a:gd name="connsiteX2683" fmla="*/ 1997755 w 3368309"/>
                <a:gd name="connsiteY2683" fmla="*/ 521309 h 2031151"/>
                <a:gd name="connsiteX2684" fmla="*/ 2000524 w 3368309"/>
                <a:gd name="connsiteY2684" fmla="*/ 519354 h 2031151"/>
                <a:gd name="connsiteX2685" fmla="*/ 2004923 w 3368309"/>
                <a:gd name="connsiteY2685" fmla="*/ 523916 h 2031151"/>
                <a:gd name="connsiteX2686" fmla="*/ 2006063 w 3368309"/>
                <a:gd name="connsiteY2686" fmla="*/ 527989 h 2031151"/>
                <a:gd name="connsiteX2687" fmla="*/ 2009158 w 3368309"/>
                <a:gd name="connsiteY2687" fmla="*/ 532713 h 2031151"/>
                <a:gd name="connsiteX2688" fmla="*/ 2012254 w 3368309"/>
                <a:gd name="connsiteY2688" fmla="*/ 532713 h 2031151"/>
                <a:gd name="connsiteX2689" fmla="*/ 2013557 w 3368309"/>
                <a:gd name="connsiteY2689" fmla="*/ 526685 h 2031151"/>
                <a:gd name="connsiteX2690" fmla="*/ 2008344 w 3368309"/>
                <a:gd name="connsiteY2690" fmla="*/ 499642 h 2031151"/>
                <a:gd name="connsiteX2691" fmla="*/ 2002968 w 3368309"/>
                <a:gd name="connsiteY2691" fmla="*/ 487424 h 2031151"/>
                <a:gd name="connsiteX2692" fmla="*/ 1995800 w 3368309"/>
                <a:gd name="connsiteY2692" fmla="*/ 472111 h 2031151"/>
                <a:gd name="connsiteX2693" fmla="*/ 1994171 w 3368309"/>
                <a:gd name="connsiteY2693" fmla="*/ 458589 h 2031151"/>
                <a:gd name="connsiteX2694" fmla="*/ 1990261 w 3368309"/>
                <a:gd name="connsiteY2694" fmla="*/ 450281 h 2031151"/>
                <a:gd name="connsiteX2695" fmla="*/ 1989610 w 3368309"/>
                <a:gd name="connsiteY2695" fmla="*/ 446371 h 2031151"/>
                <a:gd name="connsiteX2696" fmla="*/ 1994171 w 3368309"/>
                <a:gd name="connsiteY2696" fmla="*/ 448326 h 2031151"/>
                <a:gd name="connsiteX2697" fmla="*/ 1997266 w 3368309"/>
                <a:gd name="connsiteY2697" fmla="*/ 454842 h 2031151"/>
                <a:gd name="connsiteX2698" fmla="*/ 2002805 w 3368309"/>
                <a:gd name="connsiteY2698" fmla="*/ 460870 h 2031151"/>
                <a:gd name="connsiteX2699" fmla="*/ 2008996 w 3368309"/>
                <a:gd name="connsiteY2699" fmla="*/ 462336 h 2031151"/>
                <a:gd name="connsiteX2700" fmla="*/ 2014372 w 3368309"/>
                <a:gd name="connsiteY2700" fmla="*/ 468527 h 2031151"/>
                <a:gd name="connsiteX2701" fmla="*/ 2023820 w 3368309"/>
                <a:gd name="connsiteY2701" fmla="*/ 469504 h 2031151"/>
                <a:gd name="connsiteX2702" fmla="*/ 2043858 w 3368309"/>
                <a:gd name="connsiteY2702" fmla="*/ 467223 h 2031151"/>
                <a:gd name="connsiteX2703" fmla="*/ 2048257 w 3368309"/>
                <a:gd name="connsiteY2703" fmla="*/ 469015 h 2031151"/>
                <a:gd name="connsiteX2704" fmla="*/ 2052167 w 3368309"/>
                <a:gd name="connsiteY2704" fmla="*/ 467061 h 2031151"/>
                <a:gd name="connsiteX2705" fmla="*/ 2057217 w 3368309"/>
                <a:gd name="connsiteY2705" fmla="*/ 471296 h 2031151"/>
                <a:gd name="connsiteX2706" fmla="*/ 2058194 w 3368309"/>
                <a:gd name="connsiteY2706" fmla="*/ 469993 h 2031151"/>
                <a:gd name="connsiteX2707" fmla="*/ 2054285 w 3368309"/>
                <a:gd name="connsiteY2707" fmla="*/ 464128 h 2031151"/>
                <a:gd name="connsiteX2708" fmla="*/ 2055425 w 3368309"/>
                <a:gd name="connsiteY2708" fmla="*/ 460870 h 2031151"/>
                <a:gd name="connsiteX2709" fmla="*/ 2051515 w 3368309"/>
                <a:gd name="connsiteY2709" fmla="*/ 457123 h 2031151"/>
                <a:gd name="connsiteX2710" fmla="*/ 2053633 w 3368309"/>
                <a:gd name="connsiteY2710" fmla="*/ 454679 h 2031151"/>
                <a:gd name="connsiteX2711" fmla="*/ 2054447 w 3368309"/>
                <a:gd name="connsiteY2711" fmla="*/ 449792 h 2031151"/>
                <a:gd name="connsiteX2712" fmla="*/ 2071715 w 3368309"/>
                <a:gd name="connsiteY2712" fmla="*/ 442624 h 2031151"/>
                <a:gd name="connsiteX2713" fmla="*/ 2074485 w 3368309"/>
                <a:gd name="connsiteY2713" fmla="*/ 443927 h 2031151"/>
                <a:gd name="connsiteX2714" fmla="*/ 2078721 w 3368309"/>
                <a:gd name="connsiteY2714" fmla="*/ 443113 h 2031151"/>
                <a:gd name="connsiteX2715" fmla="*/ 2084097 w 3368309"/>
                <a:gd name="connsiteY2715" fmla="*/ 446208 h 2031151"/>
                <a:gd name="connsiteX2716" fmla="*/ 2092079 w 3368309"/>
                <a:gd name="connsiteY2716" fmla="*/ 446208 h 2031151"/>
                <a:gd name="connsiteX2717" fmla="*/ 2098107 w 3368309"/>
                <a:gd name="connsiteY2717" fmla="*/ 452236 h 2031151"/>
                <a:gd name="connsiteX2718" fmla="*/ 2104135 w 3368309"/>
                <a:gd name="connsiteY2718" fmla="*/ 454028 h 2031151"/>
                <a:gd name="connsiteX2719" fmla="*/ 2107393 w 3368309"/>
                <a:gd name="connsiteY2719" fmla="*/ 459404 h 2031151"/>
                <a:gd name="connsiteX2720" fmla="*/ 2115864 w 3368309"/>
                <a:gd name="connsiteY2720" fmla="*/ 459404 h 2031151"/>
                <a:gd name="connsiteX2721" fmla="*/ 2118633 w 3368309"/>
                <a:gd name="connsiteY2721" fmla="*/ 464617 h 2031151"/>
                <a:gd name="connsiteX2722" fmla="*/ 2130037 w 3368309"/>
                <a:gd name="connsiteY2722" fmla="*/ 464617 h 2031151"/>
                <a:gd name="connsiteX2723" fmla="*/ 2122869 w 3368309"/>
                <a:gd name="connsiteY2723" fmla="*/ 460544 h 2031151"/>
                <a:gd name="connsiteX2724" fmla="*/ 2122544 w 3368309"/>
                <a:gd name="connsiteY2724" fmla="*/ 458101 h 2031151"/>
                <a:gd name="connsiteX2725" fmla="*/ 2129549 w 3368309"/>
                <a:gd name="connsiteY2725" fmla="*/ 460055 h 2031151"/>
                <a:gd name="connsiteX2726" fmla="*/ 2134110 w 3368309"/>
                <a:gd name="connsiteY2726" fmla="*/ 456309 h 2031151"/>
                <a:gd name="connsiteX2727" fmla="*/ 2128571 w 3368309"/>
                <a:gd name="connsiteY2727" fmla="*/ 453376 h 2031151"/>
                <a:gd name="connsiteX2728" fmla="*/ 2132644 w 3368309"/>
                <a:gd name="connsiteY2728" fmla="*/ 449955 h 2031151"/>
                <a:gd name="connsiteX2729" fmla="*/ 2128245 w 3368309"/>
                <a:gd name="connsiteY2729" fmla="*/ 445231 h 2031151"/>
                <a:gd name="connsiteX2730" fmla="*/ 2121729 w 3368309"/>
                <a:gd name="connsiteY2730" fmla="*/ 448652 h 2031151"/>
                <a:gd name="connsiteX2731" fmla="*/ 2115864 w 3368309"/>
                <a:gd name="connsiteY2731" fmla="*/ 447023 h 2031151"/>
                <a:gd name="connsiteX2732" fmla="*/ 2115049 w 3368309"/>
                <a:gd name="connsiteY2732" fmla="*/ 438877 h 2031151"/>
                <a:gd name="connsiteX2733" fmla="*/ 2112769 w 3368309"/>
                <a:gd name="connsiteY2733" fmla="*/ 433013 h 2031151"/>
                <a:gd name="connsiteX2734" fmla="*/ 2115864 w 3368309"/>
                <a:gd name="connsiteY2734" fmla="*/ 430569 h 2031151"/>
                <a:gd name="connsiteX2735" fmla="*/ 2118960 w 3368309"/>
                <a:gd name="connsiteY2735" fmla="*/ 433338 h 2031151"/>
                <a:gd name="connsiteX2736" fmla="*/ 2123358 w 3368309"/>
                <a:gd name="connsiteY2736" fmla="*/ 430406 h 2031151"/>
                <a:gd name="connsiteX2737" fmla="*/ 2120588 w 3368309"/>
                <a:gd name="connsiteY2737" fmla="*/ 426333 h 2031151"/>
                <a:gd name="connsiteX2738" fmla="*/ 2124498 w 3368309"/>
                <a:gd name="connsiteY2738" fmla="*/ 425030 h 2031151"/>
                <a:gd name="connsiteX2739" fmla="*/ 2132481 w 3368309"/>
                <a:gd name="connsiteY2739" fmla="*/ 431058 h 2031151"/>
                <a:gd name="connsiteX2740" fmla="*/ 2134599 w 3368309"/>
                <a:gd name="connsiteY2740" fmla="*/ 436596 h 2031151"/>
                <a:gd name="connsiteX2741" fmla="*/ 2137857 w 3368309"/>
                <a:gd name="connsiteY2741" fmla="*/ 435456 h 2031151"/>
                <a:gd name="connsiteX2742" fmla="*/ 2140789 w 3368309"/>
                <a:gd name="connsiteY2742" fmla="*/ 437900 h 2031151"/>
                <a:gd name="connsiteX2743" fmla="*/ 2143885 w 3368309"/>
                <a:gd name="connsiteY2743" fmla="*/ 436108 h 2031151"/>
                <a:gd name="connsiteX2744" fmla="*/ 2142092 w 3368309"/>
                <a:gd name="connsiteY2744" fmla="*/ 430080 h 2031151"/>
                <a:gd name="connsiteX2745" fmla="*/ 2147469 w 3368309"/>
                <a:gd name="connsiteY2745" fmla="*/ 427962 h 2031151"/>
                <a:gd name="connsiteX2746" fmla="*/ 2151378 w 3368309"/>
                <a:gd name="connsiteY2746" fmla="*/ 430732 h 2031151"/>
                <a:gd name="connsiteX2747" fmla="*/ 2152681 w 3368309"/>
                <a:gd name="connsiteY2747" fmla="*/ 426170 h 2031151"/>
                <a:gd name="connsiteX2748" fmla="*/ 2144699 w 3368309"/>
                <a:gd name="connsiteY2748" fmla="*/ 416884 h 2031151"/>
                <a:gd name="connsiteX2749" fmla="*/ 2138508 w 3368309"/>
                <a:gd name="connsiteY2749" fmla="*/ 416233 h 2031151"/>
                <a:gd name="connsiteX2750" fmla="*/ 2132318 w 3368309"/>
                <a:gd name="connsiteY2750" fmla="*/ 409879 h 2031151"/>
                <a:gd name="connsiteX2751" fmla="*/ 2133458 w 3368309"/>
                <a:gd name="connsiteY2751" fmla="*/ 404015 h 2031151"/>
                <a:gd name="connsiteX2752" fmla="*/ 2130689 w 3368309"/>
                <a:gd name="connsiteY2752" fmla="*/ 399942 h 2031151"/>
                <a:gd name="connsiteX2753" fmla="*/ 2125313 w 3368309"/>
                <a:gd name="connsiteY2753" fmla="*/ 402223 h 2031151"/>
                <a:gd name="connsiteX2754" fmla="*/ 2120100 w 3368309"/>
                <a:gd name="connsiteY2754" fmla="*/ 400919 h 2031151"/>
                <a:gd name="connsiteX2755" fmla="*/ 2126453 w 3368309"/>
                <a:gd name="connsiteY2755" fmla="*/ 397173 h 2031151"/>
                <a:gd name="connsiteX2756" fmla="*/ 2124172 w 3368309"/>
                <a:gd name="connsiteY2756" fmla="*/ 392774 h 2031151"/>
                <a:gd name="connsiteX2757" fmla="*/ 2125313 w 3368309"/>
                <a:gd name="connsiteY2757" fmla="*/ 391471 h 2031151"/>
                <a:gd name="connsiteX2758" fmla="*/ 2121240 w 3368309"/>
                <a:gd name="connsiteY2758" fmla="*/ 385280 h 2031151"/>
                <a:gd name="connsiteX2759" fmla="*/ 2129874 w 3368309"/>
                <a:gd name="connsiteY2759" fmla="*/ 385280 h 2031151"/>
                <a:gd name="connsiteX2760" fmla="*/ 2131666 w 3368309"/>
                <a:gd name="connsiteY2760" fmla="*/ 375831 h 2031151"/>
                <a:gd name="connsiteX2761" fmla="*/ 2122217 w 3368309"/>
                <a:gd name="connsiteY2761" fmla="*/ 378764 h 2031151"/>
                <a:gd name="connsiteX2762" fmla="*/ 2116842 w 3368309"/>
                <a:gd name="connsiteY2762" fmla="*/ 384140 h 2031151"/>
                <a:gd name="connsiteX2763" fmla="*/ 2115864 w 3368309"/>
                <a:gd name="connsiteY2763" fmla="*/ 389679 h 2031151"/>
                <a:gd name="connsiteX2764" fmla="*/ 2106741 w 3368309"/>
                <a:gd name="connsiteY2764" fmla="*/ 387235 h 2031151"/>
                <a:gd name="connsiteX2765" fmla="*/ 2101365 w 3368309"/>
                <a:gd name="connsiteY2765" fmla="*/ 377298 h 2031151"/>
                <a:gd name="connsiteX2766" fmla="*/ 2104297 w 3368309"/>
                <a:gd name="connsiteY2766" fmla="*/ 372410 h 2031151"/>
                <a:gd name="connsiteX2767" fmla="*/ 2105275 w 3368309"/>
                <a:gd name="connsiteY2767" fmla="*/ 365242 h 2031151"/>
                <a:gd name="connsiteX2768" fmla="*/ 2113909 w 3368309"/>
                <a:gd name="connsiteY2768" fmla="*/ 361984 h 2031151"/>
                <a:gd name="connsiteX2769" fmla="*/ 2119285 w 3368309"/>
                <a:gd name="connsiteY2769" fmla="*/ 362799 h 2031151"/>
                <a:gd name="connsiteX2770" fmla="*/ 2128245 w 3368309"/>
                <a:gd name="connsiteY2770" fmla="*/ 354490 h 2031151"/>
                <a:gd name="connsiteX2771" fmla="*/ 2128897 w 3368309"/>
                <a:gd name="connsiteY2771" fmla="*/ 350743 h 2031151"/>
                <a:gd name="connsiteX2772" fmla="*/ 2123684 w 3368309"/>
                <a:gd name="connsiteY2772" fmla="*/ 344553 h 2031151"/>
                <a:gd name="connsiteX2773" fmla="*/ 2118797 w 3368309"/>
                <a:gd name="connsiteY2773" fmla="*/ 345367 h 2031151"/>
                <a:gd name="connsiteX2774" fmla="*/ 2113909 w 3368309"/>
                <a:gd name="connsiteY2774" fmla="*/ 343413 h 2031151"/>
                <a:gd name="connsiteX2775" fmla="*/ 2105275 w 3368309"/>
                <a:gd name="connsiteY2775" fmla="*/ 343413 h 2031151"/>
                <a:gd name="connsiteX2776" fmla="*/ 2099736 w 3368309"/>
                <a:gd name="connsiteY2776" fmla="*/ 336570 h 2031151"/>
                <a:gd name="connsiteX2777" fmla="*/ 2107067 w 3368309"/>
                <a:gd name="connsiteY2777" fmla="*/ 333638 h 2031151"/>
                <a:gd name="connsiteX2778" fmla="*/ 2117167 w 3368309"/>
                <a:gd name="connsiteY2778" fmla="*/ 332172 h 2031151"/>
                <a:gd name="connsiteX2779" fmla="*/ 2128571 w 3368309"/>
                <a:gd name="connsiteY2779" fmla="*/ 337222 h 2031151"/>
                <a:gd name="connsiteX2780" fmla="*/ 2139160 w 3368309"/>
                <a:gd name="connsiteY2780" fmla="*/ 335104 h 2031151"/>
                <a:gd name="connsiteX2781" fmla="*/ 2156428 w 3368309"/>
                <a:gd name="connsiteY2781" fmla="*/ 334778 h 2031151"/>
                <a:gd name="connsiteX2782" fmla="*/ 2186078 w 3368309"/>
                <a:gd name="connsiteY2782" fmla="*/ 332660 h 2031151"/>
                <a:gd name="connsiteX2783" fmla="*/ 2190965 w 3368309"/>
                <a:gd name="connsiteY2783" fmla="*/ 329728 h 2031151"/>
                <a:gd name="connsiteX2784" fmla="*/ 2212795 w 3368309"/>
                <a:gd name="connsiteY2784" fmla="*/ 329402 h 2031151"/>
                <a:gd name="connsiteX2785" fmla="*/ 2222733 w 3368309"/>
                <a:gd name="connsiteY2785" fmla="*/ 330543 h 2031151"/>
                <a:gd name="connsiteX2786" fmla="*/ 2230063 w 3368309"/>
                <a:gd name="connsiteY2786" fmla="*/ 329402 h 2031151"/>
                <a:gd name="connsiteX2787" fmla="*/ 2242444 w 3368309"/>
                <a:gd name="connsiteY2787" fmla="*/ 329402 h 2031151"/>
                <a:gd name="connsiteX2788" fmla="*/ 2235928 w 3368309"/>
                <a:gd name="connsiteY2788" fmla="*/ 331683 h 2031151"/>
                <a:gd name="connsiteX2789" fmla="*/ 2218986 w 3368309"/>
                <a:gd name="connsiteY2789" fmla="*/ 339177 h 2031151"/>
                <a:gd name="connsiteX2790" fmla="*/ 2213447 w 3368309"/>
                <a:gd name="connsiteY2790" fmla="*/ 336244 h 2031151"/>
                <a:gd name="connsiteX2791" fmla="*/ 2210677 w 3368309"/>
                <a:gd name="connsiteY2791" fmla="*/ 337222 h 2031151"/>
                <a:gd name="connsiteX2792" fmla="*/ 2205301 w 3368309"/>
                <a:gd name="connsiteY2792" fmla="*/ 335104 h 2031151"/>
                <a:gd name="connsiteX2793" fmla="*/ 2202043 w 3368309"/>
                <a:gd name="connsiteY2793" fmla="*/ 346019 h 2031151"/>
                <a:gd name="connsiteX2794" fmla="*/ 2207256 w 3368309"/>
                <a:gd name="connsiteY2794" fmla="*/ 351884 h 2031151"/>
                <a:gd name="connsiteX2795" fmla="*/ 2203020 w 3368309"/>
                <a:gd name="connsiteY2795" fmla="*/ 353676 h 2031151"/>
                <a:gd name="connsiteX2796" fmla="*/ 2201880 w 3368309"/>
                <a:gd name="connsiteY2796" fmla="*/ 357586 h 2031151"/>
                <a:gd name="connsiteX2797" fmla="*/ 2206930 w 3368309"/>
                <a:gd name="connsiteY2797" fmla="*/ 360681 h 2031151"/>
                <a:gd name="connsiteX2798" fmla="*/ 2214424 w 3368309"/>
                <a:gd name="connsiteY2798" fmla="*/ 355305 h 2031151"/>
                <a:gd name="connsiteX2799" fmla="*/ 2214750 w 3368309"/>
                <a:gd name="connsiteY2799" fmla="*/ 349929 h 2031151"/>
                <a:gd name="connsiteX2800" fmla="*/ 2228108 w 3368309"/>
                <a:gd name="connsiteY2800" fmla="*/ 340806 h 2031151"/>
                <a:gd name="connsiteX2801" fmla="*/ 2245377 w 3368309"/>
                <a:gd name="connsiteY2801" fmla="*/ 333964 h 2031151"/>
                <a:gd name="connsiteX2802" fmla="*/ 2247820 w 3368309"/>
                <a:gd name="connsiteY2802" fmla="*/ 343250 h 2031151"/>
                <a:gd name="connsiteX2803" fmla="*/ 2248635 w 3368309"/>
                <a:gd name="connsiteY2803" fmla="*/ 356445 h 2031151"/>
                <a:gd name="connsiteX2804" fmla="*/ 2247006 w 3368309"/>
                <a:gd name="connsiteY2804" fmla="*/ 359378 h 2031151"/>
                <a:gd name="connsiteX2805" fmla="*/ 2243911 w 3368309"/>
                <a:gd name="connsiteY2805" fmla="*/ 351069 h 2031151"/>
                <a:gd name="connsiteX2806" fmla="*/ 2238860 w 3368309"/>
                <a:gd name="connsiteY2806" fmla="*/ 346182 h 2031151"/>
                <a:gd name="connsiteX2807" fmla="*/ 2238860 w 3368309"/>
                <a:gd name="connsiteY2807" fmla="*/ 340806 h 2031151"/>
                <a:gd name="connsiteX2808" fmla="*/ 2233485 w 3368309"/>
                <a:gd name="connsiteY2808" fmla="*/ 345530 h 2031151"/>
                <a:gd name="connsiteX2809" fmla="*/ 2230063 w 3368309"/>
                <a:gd name="connsiteY2809" fmla="*/ 344227 h 2031151"/>
                <a:gd name="connsiteX2810" fmla="*/ 2233322 w 3368309"/>
                <a:gd name="connsiteY2810" fmla="*/ 353350 h 2031151"/>
                <a:gd name="connsiteX2811" fmla="*/ 2238535 w 3368309"/>
                <a:gd name="connsiteY2811" fmla="*/ 355468 h 2031151"/>
                <a:gd name="connsiteX2812" fmla="*/ 2240490 w 3368309"/>
                <a:gd name="connsiteY2812" fmla="*/ 365731 h 2031151"/>
                <a:gd name="connsiteX2813" fmla="*/ 2236743 w 3368309"/>
                <a:gd name="connsiteY2813" fmla="*/ 373876 h 2031151"/>
                <a:gd name="connsiteX2814" fmla="*/ 2233322 w 3368309"/>
                <a:gd name="connsiteY2814" fmla="*/ 372247 h 2031151"/>
                <a:gd name="connsiteX2815" fmla="*/ 2229575 w 3368309"/>
                <a:gd name="connsiteY2815" fmla="*/ 375343 h 2031151"/>
                <a:gd name="connsiteX2816" fmla="*/ 2235602 w 3368309"/>
                <a:gd name="connsiteY2816" fmla="*/ 379415 h 2031151"/>
                <a:gd name="connsiteX2817" fmla="*/ 2235276 w 3368309"/>
                <a:gd name="connsiteY2817" fmla="*/ 382836 h 2031151"/>
                <a:gd name="connsiteX2818" fmla="*/ 2237557 w 3368309"/>
                <a:gd name="connsiteY2818" fmla="*/ 385280 h 2031151"/>
                <a:gd name="connsiteX2819" fmla="*/ 2241793 w 3368309"/>
                <a:gd name="connsiteY2819" fmla="*/ 385280 h 2031151"/>
                <a:gd name="connsiteX2820" fmla="*/ 2248309 w 3368309"/>
                <a:gd name="connsiteY2820" fmla="*/ 380067 h 2031151"/>
                <a:gd name="connsiteX2821" fmla="*/ 2248309 w 3368309"/>
                <a:gd name="connsiteY2821" fmla="*/ 373225 h 2031151"/>
                <a:gd name="connsiteX2822" fmla="*/ 2253360 w 3368309"/>
                <a:gd name="connsiteY2822" fmla="*/ 365731 h 2031151"/>
                <a:gd name="connsiteX2823" fmla="*/ 2251404 w 3368309"/>
                <a:gd name="connsiteY2823" fmla="*/ 360844 h 2031151"/>
                <a:gd name="connsiteX2824" fmla="*/ 2252056 w 3368309"/>
                <a:gd name="connsiteY2824" fmla="*/ 353839 h 2031151"/>
                <a:gd name="connsiteX2825" fmla="*/ 2250101 w 3368309"/>
                <a:gd name="connsiteY2825" fmla="*/ 327773 h 2031151"/>
                <a:gd name="connsiteX2826" fmla="*/ 2259061 w 3368309"/>
                <a:gd name="connsiteY2826" fmla="*/ 320605 h 2031151"/>
                <a:gd name="connsiteX2827" fmla="*/ 2272583 w 3368309"/>
                <a:gd name="connsiteY2827" fmla="*/ 317673 h 2031151"/>
                <a:gd name="connsiteX2828" fmla="*/ 2287408 w 3368309"/>
                <a:gd name="connsiteY2828" fmla="*/ 313763 h 2031151"/>
                <a:gd name="connsiteX2829" fmla="*/ 2301092 w 3368309"/>
                <a:gd name="connsiteY2829" fmla="*/ 315555 h 2031151"/>
                <a:gd name="connsiteX2830" fmla="*/ 2318035 w 3368309"/>
                <a:gd name="connsiteY2830" fmla="*/ 321746 h 2031151"/>
                <a:gd name="connsiteX2831" fmla="*/ 2326506 w 3368309"/>
                <a:gd name="connsiteY2831" fmla="*/ 332986 h 2031151"/>
                <a:gd name="connsiteX2832" fmla="*/ 2325691 w 3368309"/>
                <a:gd name="connsiteY2832" fmla="*/ 338851 h 2031151"/>
                <a:gd name="connsiteX2833" fmla="*/ 2321456 w 3368309"/>
                <a:gd name="connsiteY2833" fmla="*/ 341946 h 2031151"/>
                <a:gd name="connsiteX2834" fmla="*/ 2312170 w 3368309"/>
                <a:gd name="connsiteY2834" fmla="*/ 334778 h 2031151"/>
                <a:gd name="connsiteX2835" fmla="*/ 2311192 w 3368309"/>
                <a:gd name="connsiteY2835" fmla="*/ 336407 h 2031151"/>
                <a:gd name="connsiteX2836" fmla="*/ 2312984 w 3368309"/>
                <a:gd name="connsiteY2836" fmla="*/ 341783 h 2031151"/>
                <a:gd name="connsiteX2837" fmla="*/ 2312658 w 3368309"/>
                <a:gd name="connsiteY2837" fmla="*/ 346834 h 2031151"/>
                <a:gd name="connsiteX2838" fmla="*/ 2313799 w 3368309"/>
                <a:gd name="connsiteY2838" fmla="*/ 351721 h 2031151"/>
                <a:gd name="connsiteX2839" fmla="*/ 2309400 w 3368309"/>
                <a:gd name="connsiteY2839" fmla="*/ 355468 h 2031151"/>
                <a:gd name="connsiteX2840" fmla="*/ 2313147 w 3368309"/>
                <a:gd name="connsiteY2840" fmla="*/ 356934 h 2031151"/>
                <a:gd name="connsiteX2841" fmla="*/ 2318686 w 3368309"/>
                <a:gd name="connsiteY2841" fmla="*/ 353513 h 2031151"/>
                <a:gd name="connsiteX2842" fmla="*/ 2327320 w 3368309"/>
                <a:gd name="connsiteY2842" fmla="*/ 352861 h 2031151"/>
                <a:gd name="connsiteX2843" fmla="*/ 2332533 w 3368309"/>
                <a:gd name="connsiteY2843" fmla="*/ 347648 h 2031151"/>
                <a:gd name="connsiteX2844" fmla="*/ 2334814 w 3368309"/>
                <a:gd name="connsiteY2844" fmla="*/ 355142 h 2031151"/>
                <a:gd name="connsiteX2845" fmla="*/ 2337746 w 3368309"/>
                <a:gd name="connsiteY2845" fmla="*/ 360518 h 2031151"/>
                <a:gd name="connsiteX2846" fmla="*/ 2338561 w 3368309"/>
                <a:gd name="connsiteY2846" fmla="*/ 366871 h 2031151"/>
                <a:gd name="connsiteX2847" fmla="*/ 2341656 w 3368309"/>
                <a:gd name="connsiteY2847" fmla="*/ 370130 h 2031151"/>
                <a:gd name="connsiteX2848" fmla="*/ 2344914 w 3368309"/>
                <a:gd name="connsiteY2848" fmla="*/ 364265 h 2031151"/>
                <a:gd name="connsiteX2849" fmla="*/ 2343937 w 3368309"/>
                <a:gd name="connsiteY2849" fmla="*/ 360844 h 2031151"/>
                <a:gd name="connsiteX2850" fmla="*/ 2350127 w 3368309"/>
                <a:gd name="connsiteY2850" fmla="*/ 355305 h 2031151"/>
                <a:gd name="connsiteX2851" fmla="*/ 2356318 w 3368309"/>
                <a:gd name="connsiteY2851" fmla="*/ 358400 h 2031151"/>
                <a:gd name="connsiteX2852" fmla="*/ 2358599 w 3368309"/>
                <a:gd name="connsiteY2852" fmla="*/ 364754 h 2031151"/>
                <a:gd name="connsiteX2853" fmla="*/ 2356318 w 3368309"/>
                <a:gd name="connsiteY2853" fmla="*/ 368175 h 2031151"/>
                <a:gd name="connsiteX2854" fmla="*/ 2354363 w 3368309"/>
                <a:gd name="connsiteY2854" fmla="*/ 375343 h 2031151"/>
                <a:gd name="connsiteX2855" fmla="*/ 2355829 w 3368309"/>
                <a:gd name="connsiteY2855" fmla="*/ 377786 h 2031151"/>
                <a:gd name="connsiteX2856" fmla="*/ 2359576 w 3368309"/>
                <a:gd name="connsiteY2856" fmla="*/ 375831 h 2031151"/>
                <a:gd name="connsiteX2857" fmla="*/ 2362345 w 3368309"/>
                <a:gd name="connsiteY2857" fmla="*/ 369478 h 2031151"/>
                <a:gd name="connsiteX2858" fmla="*/ 2365115 w 3368309"/>
                <a:gd name="connsiteY2858" fmla="*/ 368338 h 2031151"/>
                <a:gd name="connsiteX2859" fmla="*/ 2367233 w 3368309"/>
                <a:gd name="connsiteY2859" fmla="*/ 372247 h 2031151"/>
                <a:gd name="connsiteX2860" fmla="*/ 2367233 w 3368309"/>
                <a:gd name="connsiteY2860" fmla="*/ 366383 h 2031151"/>
                <a:gd name="connsiteX2861" fmla="*/ 2372120 w 3368309"/>
                <a:gd name="connsiteY2861" fmla="*/ 356119 h 2031151"/>
                <a:gd name="connsiteX2862" fmla="*/ 2374238 w 3368309"/>
                <a:gd name="connsiteY2862" fmla="*/ 354002 h 2031151"/>
                <a:gd name="connsiteX2863" fmla="*/ 2378148 w 3368309"/>
                <a:gd name="connsiteY2863" fmla="*/ 355956 h 2031151"/>
                <a:gd name="connsiteX2864" fmla="*/ 2390203 w 3368309"/>
                <a:gd name="connsiteY2864" fmla="*/ 364102 h 2031151"/>
                <a:gd name="connsiteX2865" fmla="*/ 2403073 w 3368309"/>
                <a:gd name="connsiteY2865" fmla="*/ 367197 h 2031151"/>
                <a:gd name="connsiteX2866" fmla="*/ 2410241 w 3368309"/>
                <a:gd name="connsiteY2866" fmla="*/ 375669 h 2031151"/>
                <a:gd name="connsiteX2867" fmla="*/ 2409101 w 3368309"/>
                <a:gd name="connsiteY2867" fmla="*/ 380067 h 2031151"/>
                <a:gd name="connsiteX2868" fmla="*/ 2400792 w 3368309"/>
                <a:gd name="connsiteY2868" fmla="*/ 385117 h 2031151"/>
                <a:gd name="connsiteX2869" fmla="*/ 2395253 w 3368309"/>
                <a:gd name="connsiteY2869" fmla="*/ 390982 h 2031151"/>
                <a:gd name="connsiteX2870" fmla="*/ 2402584 w 3368309"/>
                <a:gd name="connsiteY2870" fmla="*/ 387235 h 2031151"/>
                <a:gd name="connsiteX2871" fmla="*/ 2413336 w 3368309"/>
                <a:gd name="connsiteY2871" fmla="*/ 384954 h 2031151"/>
                <a:gd name="connsiteX2872" fmla="*/ 2420504 w 3368309"/>
                <a:gd name="connsiteY2872" fmla="*/ 387398 h 2031151"/>
                <a:gd name="connsiteX2873" fmla="*/ 2428976 w 3368309"/>
                <a:gd name="connsiteY2873" fmla="*/ 385280 h 2031151"/>
                <a:gd name="connsiteX2874" fmla="*/ 2435166 w 3368309"/>
                <a:gd name="connsiteY2874" fmla="*/ 379741 h 2031151"/>
                <a:gd name="connsiteX2875" fmla="*/ 2441031 w 3368309"/>
                <a:gd name="connsiteY2875" fmla="*/ 376972 h 2031151"/>
                <a:gd name="connsiteX2876" fmla="*/ 2451294 w 3368309"/>
                <a:gd name="connsiteY2876" fmla="*/ 368500 h 2031151"/>
                <a:gd name="connsiteX2877" fmla="*/ 2456344 w 3368309"/>
                <a:gd name="connsiteY2877" fmla="*/ 366546 h 2031151"/>
                <a:gd name="connsiteX2878" fmla="*/ 2464653 w 3368309"/>
                <a:gd name="connsiteY2878" fmla="*/ 358237 h 2031151"/>
                <a:gd name="connsiteX2879" fmla="*/ 2471820 w 3368309"/>
                <a:gd name="connsiteY2879" fmla="*/ 356445 h 2031151"/>
                <a:gd name="connsiteX2880" fmla="*/ 2491044 w 3368309"/>
                <a:gd name="connsiteY2880" fmla="*/ 346834 h 2031151"/>
                <a:gd name="connsiteX2881" fmla="*/ 2500493 w 3368309"/>
                <a:gd name="connsiteY2881" fmla="*/ 343575 h 2031151"/>
                <a:gd name="connsiteX2882" fmla="*/ 2506031 w 3368309"/>
                <a:gd name="connsiteY2882" fmla="*/ 344716 h 2031151"/>
                <a:gd name="connsiteX2883" fmla="*/ 2506683 w 3368309"/>
                <a:gd name="connsiteY2883" fmla="*/ 342598 h 2031151"/>
                <a:gd name="connsiteX2884" fmla="*/ 2517435 w 3368309"/>
                <a:gd name="connsiteY2884" fmla="*/ 335430 h 2031151"/>
                <a:gd name="connsiteX2885" fmla="*/ 2523463 w 3368309"/>
                <a:gd name="connsiteY2885" fmla="*/ 334290 h 2031151"/>
                <a:gd name="connsiteX2886" fmla="*/ 2536658 w 3368309"/>
                <a:gd name="connsiteY2886" fmla="*/ 334615 h 2031151"/>
                <a:gd name="connsiteX2887" fmla="*/ 2561583 w 3368309"/>
                <a:gd name="connsiteY2887" fmla="*/ 342924 h 2031151"/>
                <a:gd name="connsiteX2888" fmla="*/ 2572172 w 3368309"/>
                <a:gd name="connsiteY2888" fmla="*/ 354165 h 2031151"/>
                <a:gd name="connsiteX2889" fmla="*/ 2582925 w 3368309"/>
                <a:gd name="connsiteY2889" fmla="*/ 359703 h 2031151"/>
                <a:gd name="connsiteX2890" fmla="*/ 2592047 w 3368309"/>
                <a:gd name="connsiteY2890" fmla="*/ 370130 h 2031151"/>
                <a:gd name="connsiteX2891" fmla="*/ 2596935 w 3368309"/>
                <a:gd name="connsiteY2891" fmla="*/ 379252 h 2031151"/>
                <a:gd name="connsiteX2892" fmla="*/ 2597586 w 3368309"/>
                <a:gd name="connsiteY2892" fmla="*/ 384140 h 2031151"/>
                <a:gd name="connsiteX2893" fmla="*/ 2599867 w 3368309"/>
                <a:gd name="connsiteY2893" fmla="*/ 386909 h 2031151"/>
                <a:gd name="connsiteX2894" fmla="*/ 2599542 w 3368309"/>
                <a:gd name="connsiteY2894" fmla="*/ 394240 h 2031151"/>
                <a:gd name="connsiteX2895" fmla="*/ 2604754 w 3368309"/>
                <a:gd name="connsiteY2895" fmla="*/ 404341 h 2031151"/>
                <a:gd name="connsiteX2896" fmla="*/ 2605406 w 3368309"/>
                <a:gd name="connsiteY2896" fmla="*/ 409228 h 2031151"/>
                <a:gd name="connsiteX2897" fmla="*/ 2601659 w 3368309"/>
                <a:gd name="connsiteY2897" fmla="*/ 414604 h 2031151"/>
                <a:gd name="connsiteX2898" fmla="*/ 2607524 w 3368309"/>
                <a:gd name="connsiteY2898" fmla="*/ 413301 h 2031151"/>
                <a:gd name="connsiteX2899" fmla="*/ 2613552 w 3368309"/>
                <a:gd name="connsiteY2899" fmla="*/ 406132 h 2031151"/>
                <a:gd name="connsiteX2900" fmla="*/ 2620556 w 3368309"/>
                <a:gd name="connsiteY2900" fmla="*/ 406132 h 2031151"/>
                <a:gd name="connsiteX2901" fmla="*/ 2623815 w 3368309"/>
                <a:gd name="connsiteY2901" fmla="*/ 409391 h 2031151"/>
                <a:gd name="connsiteX2902" fmla="*/ 2624141 w 3368309"/>
                <a:gd name="connsiteY2902" fmla="*/ 405644 h 2031151"/>
                <a:gd name="connsiteX2903" fmla="*/ 2631145 w 3368309"/>
                <a:gd name="connsiteY2903" fmla="*/ 404666 h 2031151"/>
                <a:gd name="connsiteX2904" fmla="*/ 2636685 w 3368309"/>
                <a:gd name="connsiteY2904" fmla="*/ 407925 h 2031151"/>
                <a:gd name="connsiteX2905" fmla="*/ 2638965 w 3368309"/>
                <a:gd name="connsiteY2905" fmla="*/ 414115 h 2031151"/>
                <a:gd name="connsiteX2906" fmla="*/ 2640106 w 3368309"/>
                <a:gd name="connsiteY2906" fmla="*/ 409228 h 2031151"/>
                <a:gd name="connsiteX2907" fmla="*/ 2637988 w 3368309"/>
                <a:gd name="connsiteY2907" fmla="*/ 401245 h 2031151"/>
                <a:gd name="connsiteX2908" fmla="*/ 2642386 w 3368309"/>
                <a:gd name="connsiteY2908" fmla="*/ 400594 h 2031151"/>
                <a:gd name="connsiteX2909" fmla="*/ 2646296 w 3368309"/>
                <a:gd name="connsiteY2909" fmla="*/ 407436 h 2031151"/>
                <a:gd name="connsiteX2910" fmla="*/ 2654768 w 3368309"/>
                <a:gd name="connsiteY2910" fmla="*/ 415581 h 2031151"/>
                <a:gd name="connsiteX2911" fmla="*/ 2656234 w 3368309"/>
                <a:gd name="connsiteY2911" fmla="*/ 424867 h 2031151"/>
                <a:gd name="connsiteX2912" fmla="*/ 2660958 w 3368309"/>
                <a:gd name="connsiteY2912" fmla="*/ 424867 h 2031151"/>
                <a:gd name="connsiteX2913" fmla="*/ 2668452 w 3368309"/>
                <a:gd name="connsiteY2913" fmla="*/ 434316 h 2031151"/>
                <a:gd name="connsiteX2914" fmla="*/ 2668452 w 3368309"/>
                <a:gd name="connsiteY2914" fmla="*/ 431383 h 2031151"/>
                <a:gd name="connsiteX2915" fmla="*/ 2665683 w 3368309"/>
                <a:gd name="connsiteY2915" fmla="*/ 423238 h 2031151"/>
                <a:gd name="connsiteX2916" fmla="*/ 2660633 w 3368309"/>
                <a:gd name="connsiteY2916" fmla="*/ 420957 h 2031151"/>
                <a:gd name="connsiteX2917" fmla="*/ 2659655 w 3368309"/>
                <a:gd name="connsiteY2917" fmla="*/ 416233 h 2031151"/>
                <a:gd name="connsiteX2918" fmla="*/ 2665031 w 3368309"/>
                <a:gd name="connsiteY2918" fmla="*/ 419328 h 2031151"/>
                <a:gd name="connsiteX2919" fmla="*/ 2669267 w 3368309"/>
                <a:gd name="connsiteY2919" fmla="*/ 418677 h 2031151"/>
                <a:gd name="connsiteX2920" fmla="*/ 2674479 w 3368309"/>
                <a:gd name="connsiteY2920" fmla="*/ 423890 h 2031151"/>
                <a:gd name="connsiteX2921" fmla="*/ 2681485 w 3368309"/>
                <a:gd name="connsiteY2921" fmla="*/ 433501 h 2031151"/>
                <a:gd name="connsiteX2922" fmla="*/ 2680181 w 3368309"/>
                <a:gd name="connsiteY2922" fmla="*/ 425845 h 2031151"/>
                <a:gd name="connsiteX2923" fmla="*/ 2670733 w 3368309"/>
                <a:gd name="connsiteY2923" fmla="*/ 412486 h 2031151"/>
                <a:gd name="connsiteX2924" fmla="*/ 2671058 w 3368309"/>
                <a:gd name="connsiteY2924" fmla="*/ 400431 h 2031151"/>
                <a:gd name="connsiteX2925" fmla="*/ 2671058 w 3368309"/>
                <a:gd name="connsiteY2925" fmla="*/ 390656 h 2031151"/>
                <a:gd name="connsiteX2926" fmla="*/ 2677086 w 3368309"/>
                <a:gd name="connsiteY2926" fmla="*/ 383488 h 2031151"/>
                <a:gd name="connsiteX2927" fmla="*/ 2687349 w 3368309"/>
                <a:gd name="connsiteY2927" fmla="*/ 382348 h 2031151"/>
                <a:gd name="connsiteX2928" fmla="*/ 2692074 w 3368309"/>
                <a:gd name="connsiteY2928" fmla="*/ 378601 h 2031151"/>
                <a:gd name="connsiteX2929" fmla="*/ 2700871 w 3368309"/>
                <a:gd name="connsiteY2929" fmla="*/ 375017 h 2031151"/>
                <a:gd name="connsiteX2930" fmla="*/ 2700219 w 3368309"/>
                <a:gd name="connsiteY2930" fmla="*/ 371107 h 2031151"/>
                <a:gd name="connsiteX2931" fmla="*/ 2702011 w 3368309"/>
                <a:gd name="connsiteY2931" fmla="*/ 369152 h 2031151"/>
                <a:gd name="connsiteX2932" fmla="*/ 2705433 w 3368309"/>
                <a:gd name="connsiteY2932" fmla="*/ 369152 h 2031151"/>
                <a:gd name="connsiteX2933" fmla="*/ 2710483 w 3368309"/>
                <a:gd name="connsiteY2933" fmla="*/ 374202 h 2031151"/>
                <a:gd name="connsiteX2934" fmla="*/ 2714881 w 3368309"/>
                <a:gd name="connsiteY2934" fmla="*/ 375506 h 2031151"/>
                <a:gd name="connsiteX2935" fmla="*/ 2722375 w 3368309"/>
                <a:gd name="connsiteY2935" fmla="*/ 374039 h 2031151"/>
                <a:gd name="connsiteX2936" fmla="*/ 2729217 w 3368309"/>
                <a:gd name="connsiteY2936" fmla="*/ 368663 h 2031151"/>
                <a:gd name="connsiteX2937" fmla="*/ 2732964 w 3368309"/>
                <a:gd name="connsiteY2937" fmla="*/ 369967 h 2031151"/>
                <a:gd name="connsiteX2938" fmla="*/ 2742087 w 3368309"/>
                <a:gd name="connsiteY2938" fmla="*/ 366546 h 2031151"/>
                <a:gd name="connsiteX2939" fmla="*/ 2752839 w 3368309"/>
                <a:gd name="connsiteY2939" fmla="*/ 367360 h 2031151"/>
                <a:gd name="connsiteX2940" fmla="*/ 2757563 w 3368309"/>
                <a:gd name="connsiteY2940" fmla="*/ 364102 h 2031151"/>
                <a:gd name="connsiteX2941" fmla="*/ 2760007 w 3368309"/>
                <a:gd name="connsiteY2941" fmla="*/ 364102 h 2031151"/>
                <a:gd name="connsiteX2942" fmla="*/ 2760658 w 3368309"/>
                <a:gd name="connsiteY2942" fmla="*/ 367034 h 2031151"/>
                <a:gd name="connsiteX2943" fmla="*/ 2763917 w 3368309"/>
                <a:gd name="connsiteY2943" fmla="*/ 370455 h 2031151"/>
                <a:gd name="connsiteX2944" fmla="*/ 2766197 w 3368309"/>
                <a:gd name="connsiteY2944" fmla="*/ 365079 h 2031151"/>
                <a:gd name="connsiteX2945" fmla="*/ 2772225 w 3368309"/>
                <a:gd name="connsiteY2945" fmla="*/ 356771 h 2031151"/>
                <a:gd name="connsiteX2946" fmla="*/ 2771247 w 3368309"/>
                <a:gd name="connsiteY2946" fmla="*/ 353187 h 2031151"/>
                <a:gd name="connsiteX2947" fmla="*/ 2771247 w 3368309"/>
                <a:gd name="connsiteY2947" fmla="*/ 346345 h 2031151"/>
                <a:gd name="connsiteX2948" fmla="*/ 2771899 w 3368309"/>
                <a:gd name="connsiteY2948" fmla="*/ 340643 h 2031151"/>
                <a:gd name="connsiteX2949" fmla="*/ 2774669 w 3368309"/>
                <a:gd name="connsiteY2949" fmla="*/ 338199 h 2031151"/>
                <a:gd name="connsiteX2950" fmla="*/ 2782814 w 3368309"/>
                <a:gd name="connsiteY2950" fmla="*/ 340154 h 2031151"/>
                <a:gd name="connsiteX2951" fmla="*/ 2785420 w 3368309"/>
                <a:gd name="connsiteY2951" fmla="*/ 346019 h 2031151"/>
                <a:gd name="connsiteX2952" fmla="*/ 2786561 w 3368309"/>
                <a:gd name="connsiteY2952" fmla="*/ 349114 h 2031151"/>
                <a:gd name="connsiteX2953" fmla="*/ 2793077 w 3368309"/>
                <a:gd name="connsiteY2953" fmla="*/ 349929 h 2031151"/>
                <a:gd name="connsiteX2954" fmla="*/ 2797802 w 3368309"/>
                <a:gd name="connsiteY2954" fmla="*/ 353676 h 2031151"/>
                <a:gd name="connsiteX2955" fmla="*/ 2797802 w 3368309"/>
                <a:gd name="connsiteY2955" fmla="*/ 359866 h 2031151"/>
                <a:gd name="connsiteX2956" fmla="*/ 2804970 w 3368309"/>
                <a:gd name="connsiteY2956" fmla="*/ 368012 h 2031151"/>
                <a:gd name="connsiteX2957" fmla="*/ 2808717 w 3368309"/>
                <a:gd name="connsiteY2957" fmla="*/ 370455 h 2031151"/>
                <a:gd name="connsiteX2958" fmla="*/ 2816374 w 3368309"/>
                <a:gd name="connsiteY2958" fmla="*/ 369315 h 2031151"/>
                <a:gd name="connsiteX2959" fmla="*/ 2828592 w 3368309"/>
                <a:gd name="connsiteY2959" fmla="*/ 372084 h 2031151"/>
                <a:gd name="connsiteX2960" fmla="*/ 2830384 w 3368309"/>
                <a:gd name="connsiteY2960" fmla="*/ 370455 h 2031151"/>
                <a:gd name="connsiteX2961" fmla="*/ 2834131 w 3368309"/>
                <a:gd name="connsiteY2961" fmla="*/ 371107 h 2031151"/>
                <a:gd name="connsiteX2962" fmla="*/ 2842602 w 3368309"/>
                <a:gd name="connsiteY2962" fmla="*/ 382674 h 2031151"/>
                <a:gd name="connsiteX2963" fmla="*/ 2842602 w 3368309"/>
                <a:gd name="connsiteY2963" fmla="*/ 388213 h 2031151"/>
                <a:gd name="connsiteX2964" fmla="*/ 2845860 w 3368309"/>
                <a:gd name="connsiteY2964" fmla="*/ 391308 h 2031151"/>
                <a:gd name="connsiteX2965" fmla="*/ 2854331 w 3368309"/>
                <a:gd name="connsiteY2965" fmla="*/ 392448 h 2031151"/>
                <a:gd name="connsiteX2966" fmla="*/ 2858404 w 3368309"/>
                <a:gd name="connsiteY2966" fmla="*/ 389516 h 2031151"/>
                <a:gd name="connsiteX2967" fmla="*/ 2864758 w 3368309"/>
                <a:gd name="connsiteY2967" fmla="*/ 388701 h 2031151"/>
                <a:gd name="connsiteX2968" fmla="*/ 2863943 w 3368309"/>
                <a:gd name="connsiteY2968" fmla="*/ 384628 h 2031151"/>
                <a:gd name="connsiteX2969" fmla="*/ 2869970 w 3368309"/>
                <a:gd name="connsiteY2969" fmla="*/ 380719 h 2031151"/>
                <a:gd name="connsiteX2970" fmla="*/ 2873392 w 3368309"/>
                <a:gd name="connsiteY2970" fmla="*/ 381859 h 2031151"/>
                <a:gd name="connsiteX2971" fmla="*/ 2875509 w 3368309"/>
                <a:gd name="connsiteY2971" fmla="*/ 379741 h 2031151"/>
                <a:gd name="connsiteX2972" fmla="*/ 2872088 w 3368309"/>
                <a:gd name="connsiteY2972" fmla="*/ 374854 h 2031151"/>
                <a:gd name="connsiteX2973" fmla="*/ 2874369 w 3368309"/>
                <a:gd name="connsiteY2973" fmla="*/ 372736 h 2031151"/>
                <a:gd name="connsiteX2974" fmla="*/ 2872903 w 3368309"/>
                <a:gd name="connsiteY2974" fmla="*/ 369641 h 2031151"/>
                <a:gd name="connsiteX2975" fmla="*/ 2873554 w 3368309"/>
                <a:gd name="connsiteY2975" fmla="*/ 366220 h 2031151"/>
                <a:gd name="connsiteX2976" fmla="*/ 2868504 w 3368309"/>
                <a:gd name="connsiteY2976" fmla="*/ 359866 h 2031151"/>
                <a:gd name="connsiteX2977" fmla="*/ 2861174 w 3368309"/>
                <a:gd name="connsiteY2977" fmla="*/ 357423 h 2031151"/>
                <a:gd name="connsiteX2978" fmla="*/ 2859381 w 3368309"/>
                <a:gd name="connsiteY2978" fmla="*/ 349277 h 2031151"/>
                <a:gd name="connsiteX2979" fmla="*/ 2850095 w 3368309"/>
                <a:gd name="connsiteY2979" fmla="*/ 340154 h 2031151"/>
                <a:gd name="connsiteX2980" fmla="*/ 2846349 w 3368309"/>
                <a:gd name="connsiteY2980" fmla="*/ 339177 h 2031151"/>
                <a:gd name="connsiteX2981" fmla="*/ 2844068 w 3368309"/>
                <a:gd name="connsiteY2981" fmla="*/ 335267 h 2031151"/>
                <a:gd name="connsiteX2982" fmla="*/ 2834945 w 3368309"/>
                <a:gd name="connsiteY2982" fmla="*/ 331031 h 2031151"/>
                <a:gd name="connsiteX2983" fmla="*/ 2830384 w 3368309"/>
                <a:gd name="connsiteY2983" fmla="*/ 335104 h 2031151"/>
                <a:gd name="connsiteX2984" fmla="*/ 2827451 w 3368309"/>
                <a:gd name="connsiteY2984" fmla="*/ 335104 h 2031151"/>
                <a:gd name="connsiteX2985" fmla="*/ 2827288 w 3368309"/>
                <a:gd name="connsiteY2985" fmla="*/ 328262 h 2031151"/>
                <a:gd name="connsiteX2986" fmla="*/ 2829406 w 3368309"/>
                <a:gd name="connsiteY2986" fmla="*/ 325167 h 2031151"/>
                <a:gd name="connsiteX2987" fmla="*/ 2825496 w 3368309"/>
                <a:gd name="connsiteY2987" fmla="*/ 317347 h 2031151"/>
                <a:gd name="connsiteX2988" fmla="*/ 2824030 w 3368309"/>
                <a:gd name="connsiteY2988" fmla="*/ 312134 h 2031151"/>
                <a:gd name="connsiteX2989" fmla="*/ 2820935 w 3368309"/>
                <a:gd name="connsiteY2989" fmla="*/ 309853 h 2031151"/>
                <a:gd name="connsiteX2990" fmla="*/ 2817677 w 3368309"/>
                <a:gd name="connsiteY2990" fmla="*/ 301545 h 2031151"/>
                <a:gd name="connsiteX2991" fmla="*/ 2810672 w 3368309"/>
                <a:gd name="connsiteY2991" fmla="*/ 296332 h 2031151"/>
                <a:gd name="connsiteX2992" fmla="*/ 2811812 w 3368309"/>
                <a:gd name="connsiteY2992" fmla="*/ 294866 h 2031151"/>
                <a:gd name="connsiteX2993" fmla="*/ 2823216 w 3368309"/>
                <a:gd name="connsiteY2993" fmla="*/ 293074 h 2031151"/>
                <a:gd name="connsiteX2994" fmla="*/ 2826636 w 3368309"/>
                <a:gd name="connsiteY2994" fmla="*/ 295191 h 2031151"/>
                <a:gd name="connsiteX2995" fmla="*/ 2840484 w 3368309"/>
                <a:gd name="connsiteY2995" fmla="*/ 293888 h 2031151"/>
                <a:gd name="connsiteX2996" fmla="*/ 2852051 w 3368309"/>
                <a:gd name="connsiteY2996" fmla="*/ 293888 h 2031151"/>
                <a:gd name="connsiteX2997" fmla="*/ 2852702 w 3368309"/>
                <a:gd name="connsiteY2997" fmla="*/ 290467 h 2031151"/>
                <a:gd name="connsiteX2998" fmla="*/ 2858730 w 3368309"/>
                <a:gd name="connsiteY2998" fmla="*/ 288349 h 2031151"/>
                <a:gd name="connsiteX2999" fmla="*/ 2865572 w 3368309"/>
                <a:gd name="connsiteY2999" fmla="*/ 292748 h 2031151"/>
                <a:gd name="connsiteX3000" fmla="*/ 2869808 w 3368309"/>
                <a:gd name="connsiteY3000" fmla="*/ 290793 h 2031151"/>
                <a:gd name="connsiteX3001" fmla="*/ 2873229 w 3368309"/>
                <a:gd name="connsiteY3001" fmla="*/ 291119 h 2031151"/>
                <a:gd name="connsiteX3002" fmla="*/ 2873229 w 3368309"/>
                <a:gd name="connsiteY3002" fmla="*/ 286231 h 2031151"/>
                <a:gd name="connsiteX3003" fmla="*/ 2880234 w 3368309"/>
                <a:gd name="connsiteY3003" fmla="*/ 285417 h 2031151"/>
                <a:gd name="connsiteX3004" fmla="*/ 2882189 w 3368309"/>
                <a:gd name="connsiteY3004" fmla="*/ 288838 h 2031151"/>
                <a:gd name="connsiteX3005" fmla="*/ 2884144 w 3368309"/>
                <a:gd name="connsiteY3005" fmla="*/ 288838 h 2031151"/>
                <a:gd name="connsiteX3006" fmla="*/ 2886913 w 3368309"/>
                <a:gd name="connsiteY3006" fmla="*/ 282810 h 2031151"/>
                <a:gd name="connsiteX3007" fmla="*/ 2891800 w 3368309"/>
                <a:gd name="connsiteY3007" fmla="*/ 284602 h 2031151"/>
                <a:gd name="connsiteX3008" fmla="*/ 2892126 w 3368309"/>
                <a:gd name="connsiteY3008" fmla="*/ 279552 h 2031151"/>
                <a:gd name="connsiteX3009" fmla="*/ 2912653 w 3368309"/>
                <a:gd name="connsiteY3009" fmla="*/ 274176 h 2031151"/>
                <a:gd name="connsiteX3010" fmla="*/ 2915097 w 3368309"/>
                <a:gd name="connsiteY3010" fmla="*/ 279063 h 2031151"/>
                <a:gd name="connsiteX3011" fmla="*/ 2916237 w 3368309"/>
                <a:gd name="connsiteY3011" fmla="*/ 274991 h 2031151"/>
                <a:gd name="connsiteX3012" fmla="*/ 2919495 w 3368309"/>
                <a:gd name="connsiteY3012" fmla="*/ 270755 h 2031151"/>
                <a:gd name="connsiteX3013" fmla="*/ 2921450 w 3368309"/>
                <a:gd name="connsiteY3013" fmla="*/ 272058 h 2031151"/>
                <a:gd name="connsiteX3014" fmla="*/ 2928618 w 3368309"/>
                <a:gd name="connsiteY3014" fmla="*/ 271081 h 2031151"/>
                <a:gd name="connsiteX3015" fmla="*/ 2932039 w 3368309"/>
                <a:gd name="connsiteY3015" fmla="*/ 270429 h 2031151"/>
                <a:gd name="connsiteX3016" fmla="*/ 2936438 w 3368309"/>
                <a:gd name="connsiteY3016" fmla="*/ 274339 h 2031151"/>
                <a:gd name="connsiteX3017" fmla="*/ 2945886 w 3368309"/>
                <a:gd name="connsiteY3017" fmla="*/ 274339 h 2031151"/>
                <a:gd name="connsiteX3018" fmla="*/ 2950774 w 3368309"/>
                <a:gd name="connsiteY3018" fmla="*/ 272384 h 2031151"/>
                <a:gd name="connsiteX3019" fmla="*/ 2953217 w 3368309"/>
                <a:gd name="connsiteY3019" fmla="*/ 275642 h 2031151"/>
                <a:gd name="connsiteX3020" fmla="*/ 2956964 w 3368309"/>
                <a:gd name="connsiteY3020" fmla="*/ 276946 h 2031151"/>
                <a:gd name="connsiteX3021" fmla="*/ 2959897 w 3368309"/>
                <a:gd name="connsiteY3021" fmla="*/ 273524 h 2031151"/>
                <a:gd name="connsiteX3022" fmla="*/ 2968205 w 3368309"/>
                <a:gd name="connsiteY3022" fmla="*/ 272547 h 2031151"/>
                <a:gd name="connsiteX3023" fmla="*/ 2984007 w 3368309"/>
                <a:gd name="connsiteY3023" fmla="*/ 277597 h 2031151"/>
                <a:gd name="connsiteX3024" fmla="*/ 2989872 w 3368309"/>
                <a:gd name="connsiteY3024" fmla="*/ 280367 h 2031151"/>
                <a:gd name="connsiteX3025" fmla="*/ 2993456 w 3368309"/>
                <a:gd name="connsiteY3025" fmla="*/ 279226 h 2031151"/>
                <a:gd name="connsiteX3026" fmla="*/ 2991664 w 3368309"/>
                <a:gd name="connsiteY3026" fmla="*/ 277760 h 2031151"/>
                <a:gd name="connsiteX3027" fmla="*/ 2997040 w 3368309"/>
                <a:gd name="connsiteY3027" fmla="*/ 276457 h 2031151"/>
                <a:gd name="connsiteX3028" fmla="*/ 3001113 w 3368309"/>
                <a:gd name="connsiteY3028" fmla="*/ 279389 h 2031151"/>
                <a:gd name="connsiteX3029" fmla="*/ 2998180 w 3368309"/>
                <a:gd name="connsiteY3029" fmla="*/ 282159 h 2031151"/>
                <a:gd name="connsiteX3030" fmla="*/ 3000786 w 3368309"/>
                <a:gd name="connsiteY3030" fmla="*/ 283951 h 2031151"/>
                <a:gd name="connsiteX3031" fmla="*/ 3008281 w 3368309"/>
                <a:gd name="connsiteY3031" fmla="*/ 281996 h 2031151"/>
                <a:gd name="connsiteX3032" fmla="*/ 3025875 w 3368309"/>
                <a:gd name="connsiteY3032" fmla="*/ 283951 h 2031151"/>
                <a:gd name="connsiteX3033" fmla="*/ 3040699 w 3368309"/>
                <a:gd name="connsiteY3033" fmla="*/ 294051 h 2031151"/>
                <a:gd name="connsiteX3034" fmla="*/ 3039885 w 3368309"/>
                <a:gd name="connsiteY3034" fmla="*/ 296332 h 2031151"/>
                <a:gd name="connsiteX3035" fmla="*/ 3035324 w 3368309"/>
                <a:gd name="connsiteY3035" fmla="*/ 294051 h 2031151"/>
                <a:gd name="connsiteX3036" fmla="*/ 3026363 w 3368309"/>
                <a:gd name="connsiteY3036" fmla="*/ 290793 h 2031151"/>
                <a:gd name="connsiteX3037" fmla="*/ 3025711 w 3368309"/>
                <a:gd name="connsiteY3037" fmla="*/ 292748 h 2031151"/>
                <a:gd name="connsiteX3038" fmla="*/ 3041025 w 3368309"/>
                <a:gd name="connsiteY3038" fmla="*/ 298124 h 2031151"/>
                <a:gd name="connsiteX3039" fmla="*/ 3048682 w 3368309"/>
                <a:gd name="connsiteY3039" fmla="*/ 298450 h 2031151"/>
                <a:gd name="connsiteX3040" fmla="*/ 3050474 w 3368309"/>
                <a:gd name="connsiteY3040" fmla="*/ 294377 h 2031151"/>
                <a:gd name="connsiteX3041" fmla="*/ 3056990 w 3368309"/>
                <a:gd name="connsiteY3041" fmla="*/ 293725 h 2031151"/>
                <a:gd name="connsiteX3042" fmla="*/ 3064321 w 3368309"/>
                <a:gd name="connsiteY3042" fmla="*/ 294051 h 2031151"/>
                <a:gd name="connsiteX3043" fmla="*/ 3063018 w 3368309"/>
                <a:gd name="connsiteY3043" fmla="*/ 289815 h 2031151"/>
                <a:gd name="connsiteX3044" fmla="*/ 3066113 w 3368309"/>
                <a:gd name="connsiteY3044" fmla="*/ 288349 h 2031151"/>
                <a:gd name="connsiteX3045" fmla="*/ 3070838 w 3368309"/>
                <a:gd name="connsiteY3045" fmla="*/ 292096 h 2031151"/>
                <a:gd name="connsiteX3046" fmla="*/ 3075725 w 3368309"/>
                <a:gd name="connsiteY3046" fmla="*/ 293562 h 2031151"/>
                <a:gd name="connsiteX3047" fmla="*/ 3078494 w 3368309"/>
                <a:gd name="connsiteY3047" fmla="*/ 295354 h 2031151"/>
                <a:gd name="connsiteX3048" fmla="*/ 3078494 w 3368309"/>
                <a:gd name="connsiteY3048" fmla="*/ 292585 h 2031151"/>
                <a:gd name="connsiteX3049" fmla="*/ 3079472 w 3368309"/>
                <a:gd name="connsiteY3049" fmla="*/ 291282 h 2031151"/>
                <a:gd name="connsiteX3050" fmla="*/ 3086965 w 3368309"/>
                <a:gd name="connsiteY3050" fmla="*/ 293236 h 2031151"/>
                <a:gd name="connsiteX3051" fmla="*/ 3086965 w 3368309"/>
                <a:gd name="connsiteY3051" fmla="*/ 296495 h 2031151"/>
                <a:gd name="connsiteX3052" fmla="*/ 3095437 w 3368309"/>
                <a:gd name="connsiteY3052" fmla="*/ 299427 h 2031151"/>
                <a:gd name="connsiteX3053" fmla="*/ 3101465 w 3368309"/>
                <a:gd name="connsiteY3053" fmla="*/ 297146 h 2031151"/>
                <a:gd name="connsiteX3054" fmla="*/ 3123294 w 3368309"/>
                <a:gd name="connsiteY3054" fmla="*/ 301382 h 2031151"/>
                <a:gd name="connsiteX3055" fmla="*/ 3121013 w 3368309"/>
                <a:gd name="connsiteY3055" fmla="*/ 297309 h 2031151"/>
                <a:gd name="connsiteX3056" fmla="*/ 3128345 w 3368309"/>
                <a:gd name="connsiteY3056" fmla="*/ 297309 h 2031151"/>
                <a:gd name="connsiteX3057" fmla="*/ 3130462 w 3368309"/>
                <a:gd name="connsiteY3057" fmla="*/ 301545 h 2031151"/>
                <a:gd name="connsiteX3058" fmla="*/ 3134698 w 3368309"/>
                <a:gd name="connsiteY3058" fmla="*/ 302848 h 2031151"/>
                <a:gd name="connsiteX3059" fmla="*/ 3133720 w 3368309"/>
                <a:gd name="connsiteY3059" fmla="*/ 297961 h 2031151"/>
                <a:gd name="connsiteX3060" fmla="*/ 3135675 w 3368309"/>
                <a:gd name="connsiteY3060" fmla="*/ 297146 h 2031151"/>
                <a:gd name="connsiteX3061" fmla="*/ 3143984 w 3368309"/>
                <a:gd name="connsiteY3061" fmla="*/ 298775 h 2031151"/>
                <a:gd name="connsiteX3062" fmla="*/ 3142518 w 3368309"/>
                <a:gd name="connsiteY3062" fmla="*/ 301219 h 2031151"/>
                <a:gd name="connsiteX3063" fmla="*/ 3146590 w 3368309"/>
                <a:gd name="connsiteY3063" fmla="*/ 306269 h 2031151"/>
                <a:gd name="connsiteX3064" fmla="*/ 3153758 w 3368309"/>
                <a:gd name="connsiteY3064" fmla="*/ 304314 h 2031151"/>
                <a:gd name="connsiteX3065" fmla="*/ 3153758 w 3368309"/>
                <a:gd name="connsiteY3065" fmla="*/ 301545 h 2031151"/>
                <a:gd name="connsiteX3066" fmla="*/ 3150989 w 3368309"/>
                <a:gd name="connsiteY3066" fmla="*/ 299753 h 2031151"/>
                <a:gd name="connsiteX3067" fmla="*/ 3159134 w 3368309"/>
                <a:gd name="connsiteY3067" fmla="*/ 300079 h 2031151"/>
                <a:gd name="connsiteX3068" fmla="*/ 3161578 w 3368309"/>
                <a:gd name="connsiteY3068" fmla="*/ 301871 h 2031151"/>
                <a:gd name="connsiteX3069" fmla="*/ 3160438 w 3368309"/>
                <a:gd name="connsiteY3069" fmla="*/ 305618 h 2031151"/>
                <a:gd name="connsiteX3070" fmla="*/ 3165162 w 3368309"/>
                <a:gd name="connsiteY3070" fmla="*/ 310342 h 2031151"/>
                <a:gd name="connsiteX3071" fmla="*/ 3174122 w 3368309"/>
                <a:gd name="connsiteY3071" fmla="*/ 314089 h 2031151"/>
                <a:gd name="connsiteX3072" fmla="*/ 3181127 w 3368309"/>
                <a:gd name="connsiteY3072" fmla="*/ 311319 h 2031151"/>
                <a:gd name="connsiteX3073" fmla="*/ 3171515 w 3368309"/>
                <a:gd name="connsiteY3073" fmla="*/ 307898 h 2031151"/>
                <a:gd name="connsiteX3074" fmla="*/ 3167117 w 3368309"/>
                <a:gd name="connsiteY3074" fmla="*/ 305455 h 2031151"/>
                <a:gd name="connsiteX3075" fmla="*/ 3166140 w 3368309"/>
                <a:gd name="connsiteY3075" fmla="*/ 302034 h 2031151"/>
                <a:gd name="connsiteX3076" fmla="*/ 3171352 w 3368309"/>
                <a:gd name="connsiteY3076" fmla="*/ 300893 h 2031151"/>
                <a:gd name="connsiteX3077" fmla="*/ 3177380 w 3368309"/>
                <a:gd name="connsiteY3077" fmla="*/ 301545 h 2031151"/>
                <a:gd name="connsiteX3078" fmla="*/ 3187481 w 3368309"/>
                <a:gd name="connsiteY3078" fmla="*/ 307084 h 2031151"/>
                <a:gd name="connsiteX3079" fmla="*/ 3189761 w 3368309"/>
                <a:gd name="connsiteY3079" fmla="*/ 312623 h 2031151"/>
                <a:gd name="connsiteX3080" fmla="*/ 3192042 w 3368309"/>
                <a:gd name="connsiteY3080" fmla="*/ 314252 h 2031151"/>
                <a:gd name="connsiteX3081" fmla="*/ 3193671 w 3368309"/>
                <a:gd name="connsiteY3081" fmla="*/ 310016 h 2031151"/>
                <a:gd name="connsiteX3082" fmla="*/ 3192205 w 3368309"/>
                <a:gd name="connsiteY3082" fmla="*/ 308061 h 2031151"/>
                <a:gd name="connsiteX3083" fmla="*/ 3196277 w 3368309"/>
                <a:gd name="connsiteY3083" fmla="*/ 308876 h 2031151"/>
                <a:gd name="connsiteX3084" fmla="*/ 3199536 w 3368309"/>
                <a:gd name="connsiteY3084" fmla="*/ 311808 h 2031151"/>
                <a:gd name="connsiteX3085" fmla="*/ 3198721 w 3368309"/>
                <a:gd name="connsiteY3085" fmla="*/ 314089 h 2031151"/>
                <a:gd name="connsiteX3086" fmla="*/ 3203934 w 3368309"/>
                <a:gd name="connsiteY3086" fmla="*/ 319954 h 2031151"/>
                <a:gd name="connsiteX3087" fmla="*/ 3212080 w 3368309"/>
                <a:gd name="connsiteY3087" fmla="*/ 334615 h 2031151"/>
                <a:gd name="connsiteX3088" fmla="*/ 3220877 w 3368309"/>
                <a:gd name="connsiteY3088" fmla="*/ 337548 h 2031151"/>
                <a:gd name="connsiteX3089" fmla="*/ 3222343 w 3368309"/>
                <a:gd name="connsiteY3089" fmla="*/ 343087 h 2031151"/>
                <a:gd name="connsiteX3090" fmla="*/ 3226904 w 3368309"/>
                <a:gd name="connsiteY3090" fmla="*/ 347159 h 2031151"/>
                <a:gd name="connsiteX3091" fmla="*/ 3230000 w 3368309"/>
                <a:gd name="connsiteY3091" fmla="*/ 352535 h 2031151"/>
                <a:gd name="connsiteX3092" fmla="*/ 3227719 w 3368309"/>
                <a:gd name="connsiteY3092" fmla="*/ 355142 h 2031151"/>
                <a:gd name="connsiteX3093" fmla="*/ 3229348 w 3368309"/>
                <a:gd name="connsiteY3093" fmla="*/ 360681 h 2031151"/>
                <a:gd name="connsiteX3094" fmla="*/ 3233258 w 3368309"/>
                <a:gd name="connsiteY3094" fmla="*/ 362310 h 2031151"/>
                <a:gd name="connsiteX3095" fmla="*/ 3238308 w 3368309"/>
                <a:gd name="connsiteY3095" fmla="*/ 357748 h 2031151"/>
                <a:gd name="connsiteX3096" fmla="*/ 3244988 w 3368309"/>
                <a:gd name="connsiteY3096" fmla="*/ 358726 h 2031151"/>
                <a:gd name="connsiteX3097" fmla="*/ 3249060 w 3368309"/>
                <a:gd name="connsiteY3097" fmla="*/ 365894 h 2031151"/>
                <a:gd name="connsiteX3098" fmla="*/ 3253459 w 3368309"/>
                <a:gd name="connsiteY3098" fmla="*/ 367034 h 2031151"/>
                <a:gd name="connsiteX3099" fmla="*/ 3254273 w 3368309"/>
                <a:gd name="connsiteY3099" fmla="*/ 365405 h 2031151"/>
                <a:gd name="connsiteX3100" fmla="*/ 3251993 w 3368309"/>
                <a:gd name="connsiteY3100" fmla="*/ 363776 h 2031151"/>
                <a:gd name="connsiteX3101" fmla="*/ 3250526 w 3368309"/>
                <a:gd name="connsiteY3101" fmla="*/ 359052 h 2031151"/>
                <a:gd name="connsiteX3102" fmla="*/ 3253459 w 3368309"/>
                <a:gd name="connsiteY3102" fmla="*/ 354653 h 2031151"/>
                <a:gd name="connsiteX3103" fmla="*/ 3256717 w 3368309"/>
                <a:gd name="connsiteY3103" fmla="*/ 355956 h 2031151"/>
                <a:gd name="connsiteX3104" fmla="*/ 3259649 w 3368309"/>
                <a:gd name="connsiteY3104" fmla="*/ 362473 h 2031151"/>
                <a:gd name="connsiteX3105" fmla="*/ 3264211 w 3368309"/>
                <a:gd name="connsiteY3105" fmla="*/ 367360 h 2031151"/>
                <a:gd name="connsiteX3106" fmla="*/ 3263885 w 3368309"/>
                <a:gd name="connsiteY3106" fmla="*/ 365079 h 2031151"/>
                <a:gd name="connsiteX3107" fmla="*/ 3260464 w 3368309"/>
                <a:gd name="connsiteY3107" fmla="*/ 356934 h 2031151"/>
                <a:gd name="connsiteX3108" fmla="*/ 3260138 w 3368309"/>
                <a:gd name="connsiteY3108" fmla="*/ 352372 h 2031151"/>
                <a:gd name="connsiteX3109" fmla="*/ 3256391 w 3368309"/>
                <a:gd name="connsiteY3109" fmla="*/ 347974 h 2031151"/>
                <a:gd name="connsiteX3110" fmla="*/ 3249875 w 3368309"/>
                <a:gd name="connsiteY3110" fmla="*/ 351395 h 2031151"/>
                <a:gd name="connsiteX3111" fmla="*/ 3243195 w 3368309"/>
                <a:gd name="connsiteY3111" fmla="*/ 352698 h 2031151"/>
                <a:gd name="connsiteX3112" fmla="*/ 3242055 w 3368309"/>
                <a:gd name="connsiteY3112" fmla="*/ 348626 h 2031151"/>
                <a:gd name="connsiteX3113" fmla="*/ 3245476 w 3368309"/>
                <a:gd name="connsiteY3113" fmla="*/ 344716 h 2031151"/>
                <a:gd name="connsiteX3114" fmla="*/ 3244010 w 3368309"/>
                <a:gd name="connsiteY3114" fmla="*/ 338688 h 2031151"/>
                <a:gd name="connsiteX3115" fmla="*/ 3234887 w 3368309"/>
                <a:gd name="connsiteY3115" fmla="*/ 332172 h 2031151"/>
                <a:gd name="connsiteX3116" fmla="*/ 3230000 w 3368309"/>
                <a:gd name="connsiteY3116" fmla="*/ 327773 h 2031151"/>
                <a:gd name="connsiteX3117" fmla="*/ 3227719 w 3368309"/>
                <a:gd name="connsiteY3117" fmla="*/ 322560 h 2031151"/>
                <a:gd name="connsiteX3118" fmla="*/ 3224461 w 3368309"/>
                <a:gd name="connsiteY3118" fmla="*/ 322560 h 2031151"/>
                <a:gd name="connsiteX3119" fmla="*/ 3217782 w 3368309"/>
                <a:gd name="connsiteY3119" fmla="*/ 327936 h 2031151"/>
                <a:gd name="connsiteX3120" fmla="*/ 3216967 w 3368309"/>
                <a:gd name="connsiteY3120" fmla="*/ 325167 h 2031151"/>
                <a:gd name="connsiteX3121" fmla="*/ 3222180 w 3368309"/>
                <a:gd name="connsiteY3121" fmla="*/ 320768 h 2031151"/>
                <a:gd name="connsiteX3122" fmla="*/ 3225927 w 3368309"/>
                <a:gd name="connsiteY3122" fmla="*/ 313274 h 2031151"/>
                <a:gd name="connsiteX3123" fmla="*/ 3232443 w 3368309"/>
                <a:gd name="connsiteY3123" fmla="*/ 303988 h 2031151"/>
                <a:gd name="connsiteX3124" fmla="*/ 3235865 w 3368309"/>
                <a:gd name="connsiteY3124" fmla="*/ 303174 h 2031151"/>
                <a:gd name="connsiteX3125" fmla="*/ 3235213 w 3368309"/>
                <a:gd name="connsiteY3125" fmla="*/ 306106 h 2031151"/>
                <a:gd name="connsiteX3126" fmla="*/ 3239123 w 3368309"/>
                <a:gd name="connsiteY3126" fmla="*/ 315555 h 2031151"/>
                <a:gd name="connsiteX3127" fmla="*/ 3244336 w 3368309"/>
                <a:gd name="connsiteY3127" fmla="*/ 317021 h 2031151"/>
                <a:gd name="connsiteX3128" fmla="*/ 3245639 w 3368309"/>
                <a:gd name="connsiteY3128" fmla="*/ 315066 h 2031151"/>
                <a:gd name="connsiteX3129" fmla="*/ 3241077 w 3368309"/>
                <a:gd name="connsiteY3129" fmla="*/ 311156 h 2031151"/>
                <a:gd name="connsiteX3130" fmla="*/ 3239286 w 3368309"/>
                <a:gd name="connsiteY3130" fmla="*/ 306595 h 2031151"/>
                <a:gd name="connsiteX3131" fmla="*/ 3241892 w 3368309"/>
                <a:gd name="connsiteY3131" fmla="*/ 306269 h 2031151"/>
                <a:gd name="connsiteX3132" fmla="*/ 3247757 w 3368309"/>
                <a:gd name="connsiteY3132" fmla="*/ 302522 h 2031151"/>
                <a:gd name="connsiteX3133" fmla="*/ 3249549 w 3368309"/>
                <a:gd name="connsiteY3133" fmla="*/ 298775 h 2031151"/>
                <a:gd name="connsiteX3134" fmla="*/ 3243195 w 3368309"/>
                <a:gd name="connsiteY3134" fmla="*/ 298775 h 2031151"/>
                <a:gd name="connsiteX3135" fmla="*/ 3245965 w 3368309"/>
                <a:gd name="connsiteY3135" fmla="*/ 296495 h 2031151"/>
                <a:gd name="connsiteX3136" fmla="*/ 3248409 w 3368309"/>
                <a:gd name="connsiteY3136" fmla="*/ 295191 h 2031151"/>
                <a:gd name="connsiteX3137" fmla="*/ 3253459 w 3368309"/>
                <a:gd name="connsiteY3137" fmla="*/ 294051 h 2031151"/>
                <a:gd name="connsiteX3138" fmla="*/ 3257857 w 3368309"/>
                <a:gd name="connsiteY3138" fmla="*/ 286720 h 2031151"/>
                <a:gd name="connsiteX3139" fmla="*/ 3262256 w 3368309"/>
                <a:gd name="connsiteY3139" fmla="*/ 287372 h 2031151"/>
                <a:gd name="connsiteX3140" fmla="*/ 3264211 w 3368309"/>
                <a:gd name="connsiteY3140" fmla="*/ 290304 h 2031151"/>
                <a:gd name="connsiteX3141" fmla="*/ 3266817 w 3368309"/>
                <a:gd name="connsiteY3141" fmla="*/ 289490 h 2031151"/>
                <a:gd name="connsiteX3142" fmla="*/ 3271379 w 3368309"/>
                <a:gd name="connsiteY3142" fmla="*/ 290630 h 2031151"/>
                <a:gd name="connsiteX3143" fmla="*/ 3272031 w 3368309"/>
                <a:gd name="connsiteY3143" fmla="*/ 293074 h 2031151"/>
                <a:gd name="connsiteX3144" fmla="*/ 3276429 w 3368309"/>
                <a:gd name="connsiteY3144" fmla="*/ 297309 h 2031151"/>
                <a:gd name="connsiteX3145" fmla="*/ 3283923 w 3368309"/>
                <a:gd name="connsiteY3145" fmla="*/ 298775 h 2031151"/>
                <a:gd name="connsiteX3146" fmla="*/ 3287344 w 3368309"/>
                <a:gd name="connsiteY3146" fmla="*/ 296820 h 2031151"/>
                <a:gd name="connsiteX3147" fmla="*/ 3302983 w 3368309"/>
                <a:gd name="connsiteY3147" fmla="*/ 299590 h 2031151"/>
                <a:gd name="connsiteX3148" fmla="*/ 3301843 w 3368309"/>
                <a:gd name="connsiteY3148" fmla="*/ 304966 h 2031151"/>
                <a:gd name="connsiteX3149" fmla="*/ 3303146 w 3368309"/>
                <a:gd name="connsiteY3149" fmla="*/ 307410 h 2031151"/>
                <a:gd name="connsiteX3150" fmla="*/ 3306241 w 3368309"/>
                <a:gd name="connsiteY3150" fmla="*/ 306106 h 2031151"/>
                <a:gd name="connsiteX3151" fmla="*/ 3306567 w 3368309"/>
                <a:gd name="connsiteY3151" fmla="*/ 302359 h 2031151"/>
                <a:gd name="connsiteX3152" fmla="*/ 3311129 w 3368309"/>
                <a:gd name="connsiteY3152" fmla="*/ 302848 h 2031151"/>
                <a:gd name="connsiteX3153" fmla="*/ 3311129 w 3368309"/>
                <a:gd name="connsiteY3153" fmla="*/ 309364 h 2031151"/>
                <a:gd name="connsiteX3154" fmla="*/ 3315527 w 3368309"/>
                <a:gd name="connsiteY3154" fmla="*/ 306106 h 2031151"/>
                <a:gd name="connsiteX3155" fmla="*/ 3320415 w 3368309"/>
                <a:gd name="connsiteY3155" fmla="*/ 300567 h 2031151"/>
                <a:gd name="connsiteX3156" fmla="*/ 3325302 w 3368309"/>
                <a:gd name="connsiteY3156" fmla="*/ 302359 h 2031151"/>
                <a:gd name="connsiteX3157" fmla="*/ 3324976 w 3368309"/>
                <a:gd name="connsiteY3157" fmla="*/ 306106 h 2031151"/>
                <a:gd name="connsiteX3158" fmla="*/ 3322206 w 3368309"/>
                <a:gd name="connsiteY3158" fmla="*/ 310016 h 2031151"/>
                <a:gd name="connsiteX3159" fmla="*/ 3321066 w 3368309"/>
                <a:gd name="connsiteY3159" fmla="*/ 313111 h 2031151"/>
                <a:gd name="connsiteX3160" fmla="*/ 3325465 w 3368309"/>
                <a:gd name="connsiteY3160" fmla="*/ 326796 h 2031151"/>
                <a:gd name="connsiteX3161" fmla="*/ 3323672 w 3368309"/>
                <a:gd name="connsiteY3161" fmla="*/ 333475 h 2031151"/>
                <a:gd name="connsiteX3162" fmla="*/ 3324324 w 3368309"/>
                <a:gd name="connsiteY3162" fmla="*/ 336407 h 2031151"/>
                <a:gd name="connsiteX3163" fmla="*/ 3329211 w 3368309"/>
                <a:gd name="connsiteY3163" fmla="*/ 335267 h 2031151"/>
                <a:gd name="connsiteX3164" fmla="*/ 3332470 w 3368309"/>
                <a:gd name="connsiteY3164" fmla="*/ 340643 h 2031151"/>
                <a:gd name="connsiteX3165" fmla="*/ 3338009 w 3368309"/>
                <a:gd name="connsiteY3165" fmla="*/ 343087 h 2031151"/>
                <a:gd name="connsiteX3166" fmla="*/ 3339963 w 3368309"/>
                <a:gd name="connsiteY3166" fmla="*/ 348463 h 2031151"/>
                <a:gd name="connsiteX3167" fmla="*/ 3337194 w 3368309"/>
                <a:gd name="connsiteY3167" fmla="*/ 351721 h 2031151"/>
                <a:gd name="connsiteX3168" fmla="*/ 3329049 w 3368309"/>
                <a:gd name="connsiteY3168" fmla="*/ 351395 h 2031151"/>
                <a:gd name="connsiteX3169" fmla="*/ 3320415 w 3368309"/>
                <a:gd name="connsiteY3169" fmla="*/ 352861 h 2031151"/>
                <a:gd name="connsiteX3170" fmla="*/ 3331818 w 3368309"/>
                <a:gd name="connsiteY3170" fmla="*/ 355468 h 2031151"/>
                <a:gd name="connsiteX3171" fmla="*/ 3334913 w 3368309"/>
                <a:gd name="connsiteY3171" fmla="*/ 360029 h 2031151"/>
                <a:gd name="connsiteX3172" fmla="*/ 3333610 w 3368309"/>
                <a:gd name="connsiteY3172" fmla="*/ 364428 h 2031151"/>
                <a:gd name="connsiteX3173" fmla="*/ 3327745 w 3368309"/>
                <a:gd name="connsiteY3173" fmla="*/ 365731 h 2031151"/>
                <a:gd name="connsiteX3174" fmla="*/ 3322858 w 3368309"/>
                <a:gd name="connsiteY3174" fmla="*/ 374365 h 2031151"/>
                <a:gd name="connsiteX3175" fmla="*/ 3321066 w 3368309"/>
                <a:gd name="connsiteY3175" fmla="*/ 371596 h 2031151"/>
                <a:gd name="connsiteX3176" fmla="*/ 3314875 w 3368309"/>
                <a:gd name="connsiteY3176" fmla="*/ 376646 h 2031151"/>
                <a:gd name="connsiteX3177" fmla="*/ 3308033 w 3368309"/>
                <a:gd name="connsiteY3177" fmla="*/ 376646 h 2031151"/>
                <a:gd name="connsiteX3178" fmla="*/ 3302657 w 3368309"/>
                <a:gd name="connsiteY3178" fmla="*/ 381207 h 2031151"/>
                <a:gd name="connsiteX3179" fmla="*/ 3309825 w 3368309"/>
                <a:gd name="connsiteY3179" fmla="*/ 380067 h 2031151"/>
                <a:gd name="connsiteX3180" fmla="*/ 3313735 w 3368309"/>
                <a:gd name="connsiteY3180" fmla="*/ 381859 h 2031151"/>
                <a:gd name="connsiteX3181" fmla="*/ 3316342 w 3368309"/>
                <a:gd name="connsiteY3181" fmla="*/ 385769 h 2031151"/>
                <a:gd name="connsiteX3182" fmla="*/ 3320251 w 3368309"/>
                <a:gd name="connsiteY3182" fmla="*/ 381696 h 2031151"/>
                <a:gd name="connsiteX3183" fmla="*/ 3322695 w 3368309"/>
                <a:gd name="connsiteY3183" fmla="*/ 381696 h 2031151"/>
                <a:gd name="connsiteX3184" fmla="*/ 3323184 w 3368309"/>
                <a:gd name="connsiteY3184" fmla="*/ 386258 h 2031151"/>
                <a:gd name="connsiteX3185" fmla="*/ 3328071 w 3368309"/>
                <a:gd name="connsiteY3185" fmla="*/ 392774 h 2031151"/>
                <a:gd name="connsiteX3186" fmla="*/ 3323836 w 3368309"/>
                <a:gd name="connsiteY3186" fmla="*/ 395543 h 2031151"/>
                <a:gd name="connsiteX3187" fmla="*/ 3322695 w 3368309"/>
                <a:gd name="connsiteY3187" fmla="*/ 403526 h 2031151"/>
                <a:gd name="connsiteX3188" fmla="*/ 3328723 w 3368309"/>
                <a:gd name="connsiteY3188" fmla="*/ 397335 h 2031151"/>
                <a:gd name="connsiteX3189" fmla="*/ 3335076 w 3368309"/>
                <a:gd name="connsiteY3189" fmla="*/ 396684 h 2031151"/>
                <a:gd name="connsiteX3190" fmla="*/ 3341918 w 3368309"/>
                <a:gd name="connsiteY3190" fmla="*/ 402386 h 2031151"/>
                <a:gd name="connsiteX3191" fmla="*/ 3341104 w 3368309"/>
                <a:gd name="connsiteY3191" fmla="*/ 406132 h 2031151"/>
                <a:gd name="connsiteX3192" fmla="*/ 3345014 w 3368309"/>
                <a:gd name="connsiteY3192" fmla="*/ 412649 h 2031151"/>
                <a:gd name="connsiteX3193" fmla="*/ 3338986 w 3368309"/>
                <a:gd name="connsiteY3193" fmla="*/ 416884 h 2031151"/>
                <a:gd name="connsiteX3194" fmla="*/ 3342081 w 3368309"/>
                <a:gd name="connsiteY3194" fmla="*/ 418351 h 2031151"/>
                <a:gd name="connsiteX3195" fmla="*/ 3343384 w 3368309"/>
                <a:gd name="connsiteY3195" fmla="*/ 426170 h 2031151"/>
                <a:gd name="connsiteX3196" fmla="*/ 3337845 w 3368309"/>
                <a:gd name="connsiteY3196" fmla="*/ 428614 h 2031151"/>
                <a:gd name="connsiteX3197" fmla="*/ 3337520 w 3368309"/>
                <a:gd name="connsiteY3197" fmla="*/ 432361 h 2031151"/>
                <a:gd name="connsiteX3198" fmla="*/ 3339638 w 3368309"/>
                <a:gd name="connsiteY3198" fmla="*/ 435619 h 2031151"/>
                <a:gd name="connsiteX3199" fmla="*/ 3339963 w 3368309"/>
                <a:gd name="connsiteY3199" fmla="*/ 431546 h 2031151"/>
                <a:gd name="connsiteX3200" fmla="*/ 3344362 w 3368309"/>
                <a:gd name="connsiteY3200" fmla="*/ 430406 h 2031151"/>
                <a:gd name="connsiteX3201" fmla="*/ 3347457 w 3368309"/>
                <a:gd name="connsiteY3201" fmla="*/ 433827 h 2031151"/>
                <a:gd name="connsiteX3202" fmla="*/ 3346480 w 3368309"/>
                <a:gd name="connsiteY3202" fmla="*/ 440343 h 2031151"/>
                <a:gd name="connsiteX3203" fmla="*/ 3352345 w 3368309"/>
                <a:gd name="connsiteY3203" fmla="*/ 439040 h 2031151"/>
                <a:gd name="connsiteX3204" fmla="*/ 3354299 w 3368309"/>
                <a:gd name="connsiteY3204" fmla="*/ 442787 h 2031151"/>
                <a:gd name="connsiteX3205" fmla="*/ 3354625 w 3368309"/>
                <a:gd name="connsiteY3205" fmla="*/ 438551 h 2031151"/>
                <a:gd name="connsiteX3206" fmla="*/ 3357720 w 3368309"/>
                <a:gd name="connsiteY3206" fmla="*/ 435782 h 2031151"/>
                <a:gd name="connsiteX3207" fmla="*/ 3361467 w 3368309"/>
                <a:gd name="connsiteY3207" fmla="*/ 437737 h 2031151"/>
                <a:gd name="connsiteX3208" fmla="*/ 3366681 w 3368309"/>
                <a:gd name="connsiteY3208" fmla="*/ 438551 h 2031151"/>
                <a:gd name="connsiteX3209" fmla="*/ 3366681 w 3368309"/>
                <a:gd name="connsiteY3209" fmla="*/ 444905 h 2031151"/>
                <a:gd name="connsiteX3210" fmla="*/ 3362771 w 3368309"/>
                <a:gd name="connsiteY3210" fmla="*/ 446697 h 2031151"/>
                <a:gd name="connsiteX3211" fmla="*/ 3358047 w 3368309"/>
                <a:gd name="connsiteY3211" fmla="*/ 443765 h 2031151"/>
                <a:gd name="connsiteX3212" fmla="*/ 3354788 w 3368309"/>
                <a:gd name="connsiteY3212" fmla="*/ 448163 h 2031151"/>
                <a:gd name="connsiteX3213" fmla="*/ 3360653 w 3368309"/>
                <a:gd name="connsiteY3213" fmla="*/ 451584 h 2031151"/>
                <a:gd name="connsiteX3214" fmla="*/ 3364888 w 3368309"/>
                <a:gd name="connsiteY3214" fmla="*/ 450770 h 2031151"/>
                <a:gd name="connsiteX3215" fmla="*/ 3368309 w 3368309"/>
                <a:gd name="connsiteY3215" fmla="*/ 457775 h 2031151"/>
                <a:gd name="connsiteX3216" fmla="*/ 3368309 w 3368309"/>
                <a:gd name="connsiteY3216" fmla="*/ 461196 h 2031151"/>
                <a:gd name="connsiteX3217" fmla="*/ 3360979 w 3368309"/>
                <a:gd name="connsiteY3217" fmla="*/ 464454 h 2031151"/>
                <a:gd name="connsiteX3218" fmla="*/ 3355440 w 3368309"/>
                <a:gd name="connsiteY3218" fmla="*/ 456146 h 2031151"/>
                <a:gd name="connsiteX3219" fmla="*/ 3353648 w 3368309"/>
                <a:gd name="connsiteY3219" fmla="*/ 455005 h 2031151"/>
                <a:gd name="connsiteX3220" fmla="*/ 3356417 w 3368309"/>
                <a:gd name="connsiteY3220" fmla="*/ 464454 h 2031151"/>
                <a:gd name="connsiteX3221" fmla="*/ 3352508 w 3368309"/>
                <a:gd name="connsiteY3221" fmla="*/ 468201 h 2031151"/>
                <a:gd name="connsiteX3222" fmla="*/ 3350064 w 3368309"/>
                <a:gd name="connsiteY3222" fmla="*/ 467875 h 2031151"/>
                <a:gd name="connsiteX3223" fmla="*/ 3348761 w 3368309"/>
                <a:gd name="connsiteY3223" fmla="*/ 465757 h 2031151"/>
                <a:gd name="connsiteX3224" fmla="*/ 3344688 w 3368309"/>
                <a:gd name="connsiteY3224" fmla="*/ 466246 h 2031151"/>
                <a:gd name="connsiteX3225" fmla="*/ 3341429 w 3368309"/>
                <a:gd name="connsiteY3225" fmla="*/ 464128 h 2031151"/>
                <a:gd name="connsiteX3226" fmla="*/ 3329537 w 3368309"/>
                <a:gd name="connsiteY3226" fmla="*/ 463151 h 2031151"/>
                <a:gd name="connsiteX3227" fmla="*/ 3325139 w 3368309"/>
                <a:gd name="connsiteY3227" fmla="*/ 465594 h 2031151"/>
                <a:gd name="connsiteX3228" fmla="*/ 3320088 w 3368309"/>
                <a:gd name="connsiteY3228" fmla="*/ 465594 h 2031151"/>
                <a:gd name="connsiteX3229" fmla="*/ 3321392 w 3368309"/>
                <a:gd name="connsiteY3229" fmla="*/ 462010 h 2031151"/>
                <a:gd name="connsiteX3230" fmla="*/ 3319437 w 3368309"/>
                <a:gd name="connsiteY3230" fmla="*/ 458589 h 2031151"/>
                <a:gd name="connsiteX3231" fmla="*/ 3315527 w 3368309"/>
                <a:gd name="connsiteY3231" fmla="*/ 457938 h 2031151"/>
                <a:gd name="connsiteX3232" fmla="*/ 3316667 w 3368309"/>
                <a:gd name="connsiteY3232" fmla="*/ 464617 h 2031151"/>
                <a:gd name="connsiteX3233" fmla="*/ 3313572 w 3368309"/>
                <a:gd name="connsiteY3233" fmla="*/ 464617 h 2031151"/>
                <a:gd name="connsiteX3234" fmla="*/ 3312595 w 3368309"/>
                <a:gd name="connsiteY3234" fmla="*/ 466083 h 2031151"/>
                <a:gd name="connsiteX3235" fmla="*/ 3315038 w 3368309"/>
                <a:gd name="connsiteY3235" fmla="*/ 470156 h 2031151"/>
                <a:gd name="connsiteX3236" fmla="*/ 3310966 w 3368309"/>
                <a:gd name="connsiteY3236" fmla="*/ 475043 h 2031151"/>
                <a:gd name="connsiteX3237" fmla="*/ 3309499 w 3368309"/>
                <a:gd name="connsiteY3237" fmla="*/ 475043 h 2031151"/>
                <a:gd name="connsiteX3238" fmla="*/ 3309499 w 3368309"/>
                <a:gd name="connsiteY3238" fmla="*/ 472599 h 2031151"/>
                <a:gd name="connsiteX3239" fmla="*/ 3307545 w 3368309"/>
                <a:gd name="connsiteY3239" fmla="*/ 471296 h 2031151"/>
                <a:gd name="connsiteX3240" fmla="*/ 3296793 w 3368309"/>
                <a:gd name="connsiteY3240" fmla="*/ 473903 h 2031151"/>
                <a:gd name="connsiteX3241" fmla="*/ 3294023 w 3368309"/>
                <a:gd name="connsiteY3241" fmla="*/ 472437 h 2031151"/>
                <a:gd name="connsiteX3242" fmla="*/ 3294349 w 3368309"/>
                <a:gd name="connsiteY3242" fmla="*/ 469504 h 2031151"/>
                <a:gd name="connsiteX3243" fmla="*/ 3292231 w 3368309"/>
                <a:gd name="connsiteY3243" fmla="*/ 462988 h 2031151"/>
                <a:gd name="connsiteX3244" fmla="*/ 3290439 w 3368309"/>
                <a:gd name="connsiteY3244" fmla="*/ 461685 h 2031151"/>
                <a:gd name="connsiteX3245" fmla="*/ 3278058 w 3368309"/>
                <a:gd name="connsiteY3245" fmla="*/ 452562 h 2031151"/>
                <a:gd name="connsiteX3246" fmla="*/ 3276429 w 3368309"/>
                <a:gd name="connsiteY3246" fmla="*/ 450607 h 2031151"/>
                <a:gd name="connsiteX3247" fmla="*/ 3277732 w 3368309"/>
                <a:gd name="connsiteY3247" fmla="*/ 448815 h 2031151"/>
                <a:gd name="connsiteX3248" fmla="*/ 3269098 w 3368309"/>
                <a:gd name="connsiteY3248" fmla="*/ 445882 h 2031151"/>
                <a:gd name="connsiteX3249" fmla="*/ 3267958 w 3368309"/>
                <a:gd name="connsiteY3249" fmla="*/ 451258 h 2031151"/>
                <a:gd name="connsiteX3250" fmla="*/ 3259324 w 3368309"/>
                <a:gd name="connsiteY3250" fmla="*/ 453539 h 2031151"/>
                <a:gd name="connsiteX3251" fmla="*/ 3254925 w 3368309"/>
                <a:gd name="connsiteY3251" fmla="*/ 457938 h 2031151"/>
                <a:gd name="connsiteX3252" fmla="*/ 3251993 w 3368309"/>
                <a:gd name="connsiteY3252" fmla="*/ 458589 h 2031151"/>
                <a:gd name="connsiteX3253" fmla="*/ 3251341 w 3368309"/>
                <a:gd name="connsiteY3253" fmla="*/ 452073 h 2031151"/>
                <a:gd name="connsiteX3254" fmla="*/ 3248572 w 3368309"/>
                <a:gd name="connsiteY3254" fmla="*/ 447023 h 2031151"/>
                <a:gd name="connsiteX3255" fmla="*/ 3250038 w 3368309"/>
                <a:gd name="connsiteY3255" fmla="*/ 451910 h 2031151"/>
                <a:gd name="connsiteX3256" fmla="*/ 3249060 w 3368309"/>
                <a:gd name="connsiteY3256" fmla="*/ 462173 h 2031151"/>
                <a:gd name="connsiteX3257" fmla="*/ 3251341 w 3368309"/>
                <a:gd name="connsiteY3257" fmla="*/ 467875 h 2031151"/>
                <a:gd name="connsiteX3258" fmla="*/ 3249549 w 3368309"/>
                <a:gd name="connsiteY3258" fmla="*/ 473903 h 2031151"/>
                <a:gd name="connsiteX3259" fmla="*/ 3240263 w 3368309"/>
                <a:gd name="connsiteY3259" fmla="*/ 487098 h 2031151"/>
                <a:gd name="connsiteX3260" fmla="*/ 3235539 w 3368309"/>
                <a:gd name="connsiteY3260" fmla="*/ 487098 h 2031151"/>
                <a:gd name="connsiteX3261" fmla="*/ 3235213 w 3368309"/>
                <a:gd name="connsiteY3261" fmla="*/ 477813 h 2031151"/>
                <a:gd name="connsiteX3262" fmla="*/ 3229674 w 3368309"/>
                <a:gd name="connsiteY3262" fmla="*/ 475695 h 2031151"/>
                <a:gd name="connsiteX3263" fmla="*/ 3225113 w 3368309"/>
                <a:gd name="connsiteY3263" fmla="*/ 478464 h 2031151"/>
                <a:gd name="connsiteX3264" fmla="*/ 3212568 w 3368309"/>
                <a:gd name="connsiteY3264" fmla="*/ 468853 h 2031151"/>
                <a:gd name="connsiteX3265" fmla="*/ 3213383 w 3368309"/>
                <a:gd name="connsiteY3265" fmla="*/ 464780 h 2031151"/>
                <a:gd name="connsiteX3266" fmla="*/ 3211591 w 3368309"/>
                <a:gd name="connsiteY3266" fmla="*/ 452399 h 2031151"/>
                <a:gd name="connsiteX3267" fmla="*/ 3206867 w 3368309"/>
                <a:gd name="connsiteY3267" fmla="*/ 450607 h 2031151"/>
                <a:gd name="connsiteX3268" fmla="*/ 3205075 w 3368309"/>
                <a:gd name="connsiteY3268" fmla="*/ 447186 h 2031151"/>
                <a:gd name="connsiteX3269" fmla="*/ 3202305 w 3368309"/>
                <a:gd name="connsiteY3269" fmla="*/ 443927 h 2031151"/>
                <a:gd name="connsiteX3270" fmla="*/ 3199699 w 3368309"/>
                <a:gd name="connsiteY3270" fmla="*/ 446371 h 2031151"/>
                <a:gd name="connsiteX3271" fmla="*/ 3201491 w 3368309"/>
                <a:gd name="connsiteY3271" fmla="*/ 450281 h 2031151"/>
                <a:gd name="connsiteX3272" fmla="*/ 3201002 w 3368309"/>
                <a:gd name="connsiteY3272" fmla="*/ 454517 h 2031151"/>
                <a:gd name="connsiteX3273" fmla="*/ 3204260 w 3368309"/>
                <a:gd name="connsiteY3273" fmla="*/ 458101 h 2031151"/>
                <a:gd name="connsiteX3274" fmla="*/ 3202957 w 3368309"/>
                <a:gd name="connsiteY3274" fmla="*/ 461685 h 2031151"/>
                <a:gd name="connsiteX3275" fmla="*/ 3194974 w 3368309"/>
                <a:gd name="connsiteY3275" fmla="*/ 457123 h 2031151"/>
                <a:gd name="connsiteX3276" fmla="*/ 3189272 w 3368309"/>
                <a:gd name="connsiteY3276" fmla="*/ 450118 h 2031151"/>
                <a:gd name="connsiteX3277" fmla="*/ 3188295 w 3368309"/>
                <a:gd name="connsiteY3277" fmla="*/ 450770 h 2031151"/>
                <a:gd name="connsiteX3278" fmla="*/ 3191227 w 3368309"/>
                <a:gd name="connsiteY3278" fmla="*/ 457449 h 2031151"/>
                <a:gd name="connsiteX3279" fmla="*/ 3187969 w 3368309"/>
                <a:gd name="connsiteY3279" fmla="*/ 459893 h 2031151"/>
                <a:gd name="connsiteX3280" fmla="*/ 3190250 w 3368309"/>
                <a:gd name="connsiteY3280" fmla="*/ 461847 h 2031151"/>
                <a:gd name="connsiteX3281" fmla="*/ 3196277 w 3368309"/>
                <a:gd name="connsiteY3281" fmla="*/ 461847 h 2031151"/>
                <a:gd name="connsiteX3282" fmla="*/ 3199699 w 3368309"/>
                <a:gd name="connsiteY3282" fmla="*/ 465920 h 2031151"/>
                <a:gd name="connsiteX3283" fmla="*/ 3197744 w 3368309"/>
                <a:gd name="connsiteY3283" fmla="*/ 471459 h 2031151"/>
                <a:gd name="connsiteX3284" fmla="*/ 3190250 w 3368309"/>
                <a:gd name="connsiteY3284" fmla="*/ 471948 h 2031151"/>
                <a:gd name="connsiteX3285" fmla="*/ 3189435 w 3368309"/>
                <a:gd name="connsiteY3285" fmla="*/ 475206 h 2031151"/>
                <a:gd name="connsiteX3286" fmla="*/ 3192856 w 3368309"/>
                <a:gd name="connsiteY3286" fmla="*/ 476998 h 2031151"/>
                <a:gd name="connsiteX3287" fmla="*/ 3207029 w 3368309"/>
                <a:gd name="connsiteY3287" fmla="*/ 493941 h 2031151"/>
                <a:gd name="connsiteX3288" fmla="*/ 3217293 w 3368309"/>
                <a:gd name="connsiteY3288" fmla="*/ 496710 h 2031151"/>
                <a:gd name="connsiteX3289" fmla="*/ 3223158 w 3368309"/>
                <a:gd name="connsiteY3289" fmla="*/ 494266 h 2031151"/>
                <a:gd name="connsiteX3290" fmla="*/ 3229674 w 3368309"/>
                <a:gd name="connsiteY3290" fmla="*/ 497525 h 2031151"/>
                <a:gd name="connsiteX3291" fmla="*/ 3231466 w 3368309"/>
                <a:gd name="connsiteY3291" fmla="*/ 504693 h 2031151"/>
                <a:gd name="connsiteX3292" fmla="*/ 3230488 w 3368309"/>
                <a:gd name="connsiteY3292" fmla="*/ 504693 h 2031151"/>
                <a:gd name="connsiteX3293" fmla="*/ 3225927 w 3368309"/>
                <a:gd name="connsiteY3293" fmla="*/ 498665 h 2031151"/>
                <a:gd name="connsiteX3294" fmla="*/ 3223483 w 3368309"/>
                <a:gd name="connsiteY3294" fmla="*/ 498665 h 2031151"/>
                <a:gd name="connsiteX3295" fmla="*/ 3226742 w 3368309"/>
                <a:gd name="connsiteY3295" fmla="*/ 506159 h 2031151"/>
                <a:gd name="connsiteX3296" fmla="*/ 3234072 w 3368309"/>
                <a:gd name="connsiteY3296" fmla="*/ 511698 h 2031151"/>
                <a:gd name="connsiteX3297" fmla="*/ 3236027 w 3368309"/>
                <a:gd name="connsiteY3297" fmla="*/ 518051 h 2031151"/>
                <a:gd name="connsiteX3298" fmla="*/ 3240915 w 3368309"/>
                <a:gd name="connsiteY3298" fmla="*/ 523753 h 2031151"/>
                <a:gd name="connsiteX3299" fmla="*/ 3240915 w 3368309"/>
                <a:gd name="connsiteY3299" fmla="*/ 534668 h 2031151"/>
                <a:gd name="connsiteX3300" fmla="*/ 3236679 w 3368309"/>
                <a:gd name="connsiteY3300" fmla="*/ 551448 h 2031151"/>
                <a:gd name="connsiteX3301" fmla="*/ 3239123 w 3368309"/>
                <a:gd name="connsiteY3301" fmla="*/ 561385 h 2031151"/>
                <a:gd name="connsiteX3302" fmla="*/ 3239123 w 3368309"/>
                <a:gd name="connsiteY3302" fmla="*/ 568390 h 2031151"/>
                <a:gd name="connsiteX3303" fmla="*/ 3240426 w 3368309"/>
                <a:gd name="connsiteY3303" fmla="*/ 571811 h 2031151"/>
                <a:gd name="connsiteX3304" fmla="*/ 3234235 w 3368309"/>
                <a:gd name="connsiteY3304" fmla="*/ 581260 h 2031151"/>
                <a:gd name="connsiteX3305" fmla="*/ 3234235 w 3368309"/>
                <a:gd name="connsiteY3305" fmla="*/ 587450 h 2031151"/>
                <a:gd name="connsiteX3306" fmla="*/ 3229837 w 3368309"/>
                <a:gd name="connsiteY3306" fmla="*/ 590709 h 2031151"/>
                <a:gd name="connsiteX3307" fmla="*/ 3231140 w 3368309"/>
                <a:gd name="connsiteY3307" fmla="*/ 585821 h 2031151"/>
                <a:gd name="connsiteX3308" fmla="*/ 3229837 w 3368309"/>
                <a:gd name="connsiteY3308" fmla="*/ 583866 h 2031151"/>
                <a:gd name="connsiteX3309" fmla="*/ 3218108 w 3368309"/>
                <a:gd name="connsiteY3309" fmla="*/ 592826 h 2031151"/>
                <a:gd name="connsiteX3310" fmla="*/ 3215175 w 3368309"/>
                <a:gd name="connsiteY3310" fmla="*/ 589405 h 2031151"/>
                <a:gd name="connsiteX3311" fmla="*/ 3209799 w 3368309"/>
                <a:gd name="connsiteY3311" fmla="*/ 593315 h 2031151"/>
                <a:gd name="connsiteX3312" fmla="*/ 3205889 w 3368309"/>
                <a:gd name="connsiteY3312" fmla="*/ 592338 h 2031151"/>
                <a:gd name="connsiteX3313" fmla="*/ 3203120 w 3368309"/>
                <a:gd name="connsiteY3313" fmla="*/ 587450 h 2031151"/>
                <a:gd name="connsiteX3314" fmla="*/ 3197744 w 3368309"/>
                <a:gd name="connsiteY3314" fmla="*/ 586799 h 2031151"/>
                <a:gd name="connsiteX3315" fmla="*/ 3190413 w 3368309"/>
                <a:gd name="connsiteY3315" fmla="*/ 578979 h 2031151"/>
                <a:gd name="connsiteX3316" fmla="*/ 3184385 w 3368309"/>
                <a:gd name="connsiteY3316" fmla="*/ 574744 h 2031151"/>
                <a:gd name="connsiteX3317" fmla="*/ 3177706 w 3368309"/>
                <a:gd name="connsiteY3317" fmla="*/ 573929 h 2031151"/>
                <a:gd name="connsiteX3318" fmla="*/ 3173470 w 3368309"/>
                <a:gd name="connsiteY3318" fmla="*/ 571159 h 2031151"/>
                <a:gd name="connsiteX3319" fmla="*/ 3169072 w 3368309"/>
                <a:gd name="connsiteY3319" fmla="*/ 572300 h 2031151"/>
                <a:gd name="connsiteX3320" fmla="*/ 3164510 w 3368309"/>
                <a:gd name="connsiteY3320" fmla="*/ 578490 h 2031151"/>
                <a:gd name="connsiteX3321" fmla="*/ 3158972 w 3368309"/>
                <a:gd name="connsiteY3321" fmla="*/ 578490 h 2031151"/>
                <a:gd name="connsiteX3322" fmla="*/ 3164673 w 3368309"/>
                <a:gd name="connsiteY3322" fmla="*/ 580934 h 2031151"/>
                <a:gd name="connsiteX3323" fmla="*/ 3171841 w 3368309"/>
                <a:gd name="connsiteY3323" fmla="*/ 580934 h 2031151"/>
                <a:gd name="connsiteX3324" fmla="*/ 3175099 w 3368309"/>
                <a:gd name="connsiteY3324" fmla="*/ 575884 h 2031151"/>
                <a:gd name="connsiteX3325" fmla="*/ 3188621 w 3368309"/>
                <a:gd name="connsiteY3325" fmla="*/ 581586 h 2031151"/>
                <a:gd name="connsiteX3326" fmla="*/ 3191065 w 3368309"/>
                <a:gd name="connsiteY3326" fmla="*/ 586147 h 2031151"/>
                <a:gd name="connsiteX3327" fmla="*/ 3184222 w 3368309"/>
                <a:gd name="connsiteY3327" fmla="*/ 590871 h 2031151"/>
                <a:gd name="connsiteX3328" fmla="*/ 3179824 w 3368309"/>
                <a:gd name="connsiteY3328" fmla="*/ 587939 h 2031151"/>
                <a:gd name="connsiteX3329" fmla="*/ 3173959 w 3368309"/>
                <a:gd name="connsiteY3329" fmla="*/ 587939 h 2031151"/>
                <a:gd name="connsiteX3330" fmla="*/ 3173796 w 3368309"/>
                <a:gd name="connsiteY3330" fmla="*/ 593315 h 2031151"/>
                <a:gd name="connsiteX3331" fmla="*/ 3168909 w 3368309"/>
                <a:gd name="connsiteY3331" fmla="*/ 587776 h 2031151"/>
                <a:gd name="connsiteX3332" fmla="*/ 3164184 w 3368309"/>
                <a:gd name="connsiteY3332" fmla="*/ 588428 h 2031151"/>
                <a:gd name="connsiteX3333" fmla="*/ 3166465 w 3368309"/>
                <a:gd name="connsiteY3333" fmla="*/ 588754 h 2031151"/>
                <a:gd name="connsiteX3334" fmla="*/ 3168909 w 3368309"/>
                <a:gd name="connsiteY3334" fmla="*/ 595596 h 2031151"/>
                <a:gd name="connsiteX3335" fmla="*/ 3176729 w 3368309"/>
                <a:gd name="connsiteY3335" fmla="*/ 599669 h 2031151"/>
                <a:gd name="connsiteX3336" fmla="*/ 3174774 w 3368309"/>
                <a:gd name="connsiteY3336" fmla="*/ 607000 h 2031151"/>
                <a:gd name="connsiteX3337" fmla="*/ 3177869 w 3368309"/>
                <a:gd name="connsiteY3337" fmla="*/ 615960 h 2031151"/>
                <a:gd name="connsiteX3338" fmla="*/ 3182756 w 3368309"/>
                <a:gd name="connsiteY3338" fmla="*/ 618403 h 2031151"/>
                <a:gd name="connsiteX3339" fmla="*/ 3179824 w 3368309"/>
                <a:gd name="connsiteY3339" fmla="*/ 615471 h 2031151"/>
                <a:gd name="connsiteX3340" fmla="*/ 3180475 w 3368309"/>
                <a:gd name="connsiteY3340" fmla="*/ 604882 h 2031151"/>
                <a:gd name="connsiteX3341" fmla="*/ 3183897 w 3368309"/>
                <a:gd name="connsiteY3341" fmla="*/ 602764 h 2031151"/>
                <a:gd name="connsiteX3342" fmla="*/ 3188295 w 3368309"/>
                <a:gd name="connsiteY3342" fmla="*/ 603904 h 2031151"/>
                <a:gd name="connsiteX3343" fmla="*/ 3188295 w 3368309"/>
                <a:gd name="connsiteY3343" fmla="*/ 600972 h 2031151"/>
                <a:gd name="connsiteX3344" fmla="*/ 3196277 w 3368309"/>
                <a:gd name="connsiteY3344" fmla="*/ 593804 h 2031151"/>
                <a:gd name="connsiteX3345" fmla="*/ 3200513 w 3368309"/>
                <a:gd name="connsiteY3345" fmla="*/ 592663 h 2031151"/>
                <a:gd name="connsiteX3346" fmla="*/ 3203772 w 3368309"/>
                <a:gd name="connsiteY3346" fmla="*/ 595433 h 2031151"/>
                <a:gd name="connsiteX3347" fmla="*/ 3203772 w 3368309"/>
                <a:gd name="connsiteY3347" fmla="*/ 598691 h 2031151"/>
                <a:gd name="connsiteX3348" fmla="*/ 3210125 w 3368309"/>
                <a:gd name="connsiteY3348" fmla="*/ 608629 h 2031151"/>
                <a:gd name="connsiteX3349" fmla="*/ 3216478 w 3368309"/>
                <a:gd name="connsiteY3349" fmla="*/ 610421 h 2031151"/>
                <a:gd name="connsiteX3350" fmla="*/ 3222669 w 3368309"/>
                <a:gd name="connsiteY3350" fmla="*/ 616448 h 2031151"/>
                <a:gd name="connsiteX3351" fmla="*/ 3229837 w 3368309"/>
                <a:gd name="connsiteY3351" fmla="*/ 615471 h 2031151"/>
                <a:gd name="connsiteX3352" fmla="*/ 3231955 w 3368309"/>
                <a:gd name="connsiteY3352" fmla="*/ 611235 h 2031151"/>
                <a:gd name="connsiteX3353" fmla="*/ 3230651 w 3368309"/>
                <a:gd name="connsiteY3353" fmla="*/ 607488 h 2031151"/>
                <a:gd name="connsiteX3354" fmla="*/ 3232932 w 3368309"/>
                <a:gd name="connsiteY3354" fmla="*/ 608140 h 2031151"/>
                <a:gd name="connsiteX3355" fmla="*/ 3246291 w 3368309"/>
                <a:gd name="connsiteY3355" fmla="*/ 618892 h 2031151"/>
                <a:gd name="connsiteX3356" fmla="*/ 3248572 w 3368309"/>
                <a:gd name="connsiteY3356" fmla="*/ 623127 h 2031151"/>
                <a:gd name="connsiteX3357" fmla="*/ 3243521 w 3368309"/>
                <a:gd name="connsiteY3357" fmla="*/ 622313 h 2031151"/>
                <a:gd name="connsiteX3358" fmla="*/ 3242870 w 3368309"/>
                <a:gd name="connsiteY3358" fmla="*/ 627200 h 2031151"/>
                <a:gd name="connsiteX3359" fmla="*/ 3252156 w 3368309"/>
                <a:gd name="connsiteY3359" fmla="*/ 636323 h 2031151"/>
                <a:gd name="connsiteX3360" fmla="*/ 3255577 w 3368309"/>
                <a:gd name="connsiteY3360" fmla="*/ 635997 h 2031151"/>
                <a:gd name="connsiteX3361" fmla="*/ 3255577 w 3368309"/>
                <a:gd name="connsiteY3361" fmla="*/ 633879 h 2031151"/>
                <a:gd name="connsiteX3362" fmla="*/ 3255740 w 3368309"/>
                <a:gd name="connsiteY3362" fmla="*/ 626386 h 2031151"/>
                <a:gd name="connsiteX3363" fmla="*/ 3263070 w 3368309"/>
                <a:gd name="connsiteY3363" fmla="*/ 631925 h 2031151"/>
                <a:gd name="connsiteX3364" fmla="*/ 3273334 w 3368309"/>
                <a:gd name="connsiteY3364" fmla="*/ 648053 h 2031151"/>
                <a:gd name="connsiteX3365" fmla="*/ 3269424 w 3368309"/>
                <a:gd name="connsiteY3365" fmla="*/ 644631 h 2031151"/>
                <a:gd name="connsiteX3366" fmla="*/ 3266166 w 3368309"/>
                <a:gd name="connsiteY3366" fmla="*/ 644631 h 2031151"/>
                <a:gd name="connsiteX3367" fmla="*/ 3265025 w 3368309"/>
                <a:gd name="connsiteY3367" fmla="*/ 646423 h 2031151"/>
                <a:gd name="connsiteX3368" fmla="*/ 3268935 w 3368309"/>
                <a:gd name="connsiteY3368" fmla="*/ 651637 h 2031151"/>
                <a:gd name="connsiteX3369" fmla="*/ 3263722 w 3368309"/>
                <a:gd name="connsiteY3369" fmla="*/ 655383 h 2031151"/>
                <a:gd name="connsiteX3370" fmla="*/ 3263070 w 3368309"/>
                <a:gd name="connsiteY3370" fmla="*/ 660922 h 2031151"/>
                <a:gd name="connsiteX3371" fmla="*/ 3265025 w 3368309"/>
                <a:gd name="connsiteY3371" fmla="*/ 664181 h 2031151"/>
                <a:gd name="connsiteX3372" fmla="*/ 3270238 w 3368309"/>
                <a:gd name="connsiteY3372" fmla="*/ 662389 h 2031151"/>
                <a:gd name="connsiteX3373" fmla="*/ 3271216 w 3368309"/>
                <a:gd name="connsiteY3373" fmla="*/ 656524 h 2031151"/>
                <a:gd name="connsiteX3374" fmla="*/ 3273171 w 3368309"/>
                <a:gd name="connsiteY3374" fmla="*/ 654895 h 2031151"/>
                <a:gd name="connsiteX3375" fmla="*/ 3276918 w 3368309"/>
                <a:gd name="connsiteY3375" fmla="*/ 656524 h 2031151"/>
                <a:gd name="connsiteX3376" fmla="*/ 3278221 w 3368309"/>
                <a:gd name="connsiteY3376" fmla="*/ 651637 h 2031151"/>
                <a:gd name="connsiteX3377" fmla="*/ 3282456 w 3368309"/>
                <a:gd name="connsiteY3377" fmla="*/ 659130 h 2031151"/>
                <a:gd name="connsiteX3378" fmla="*/ 3293860 w 3368309"/>
                <a:gd name="connsiteY3378" fmla="*/ 666624 h 2031151"/>
                <a:gd name="connsiteX3379" fmla="*/ 3305427 w 3368309"/>
                <a:gd name="connsiteY3379" fmla="*/ 669394 h 2031151"/>
                <a:gd name="connsiteX3380" fmla="*/ 3312106 w 3368309"/>
                <a:gd name="connsiteY3380" fmla="*/ 675421 h 2031151"/>
                <a:gd name="connsiteX3381" fmla="*/ 3308359 w 3368309"/>
                <a:gd name="connsiteY3381" fmla="*/ 679331 h 2031151"/>
                <a:gd name="connsiteX3382" fmla="*/ 3314875 w 3368309"/>
                <a:gd name="connsiteY3382" fmla="*/ 688617 h 2031151"/>
                <a:gd name="connsiteX3383" fmla="*/ 3320415 w 3368309"/>
                <a:gd name="connsiteY3383" fmla="*/ 689920 h 2031151"/>
                <a:gd name="connsiteX3384" fmla="*/ 3327256 w 3368309"/>
                <a:gd name="connsiteY3384" fmla="*/ 700346 h 2031151"/>
                <a:gd name="connsiteX3385" fmla="*/ 3327908 w 3368309"/>
                <a:gd name="connsiteY3385" fmla="*/ 715660 h 2031151"/>
                <a:gd name="connsiteX3386" fmla="*/ 3324487 w 3368309"/>
                <a:gd name="connsiteY3386" fmla="*/ 716800 h 2031151"/>
                <a:gd name="connsiteX3387" fmla="*/ 3324487 w 3368309"/>
                <a:gd name="connsiteY3387" fmla="*/ 719244 h 2031151"/>
                <a:gd name="connsiteX3388" fmla="*/ 3329537 w 3368309"/>
                <a:gd name="connsiteY3388" fmla="*/ 722339 h 2031151"/>
                <a:gd name="connsiteX3389" fmla="*/ 3332307 w 3368309"/>
                <a:gd name="connsiteY3389" fmla="*/ 728856 h 2031151"/>
                <a:gd name="connsiteX3390" fmla="*/ 3329863 w 3368309"/>
                <a:gd name="connsiteY3390" fmla="*/ 729833 h 2031151"/>
                <a:gd name="connsiteX3391" fmla="*/ 3326605 w 3368309"/>
                <a:gd name="connsiteY3391" fmla="*/ 726901 h 2031151"/>
                <a:gd name="connsiteX3392" fmla="*/ 3307870 w 3368309"/>
                <a:gd name="connsiteY3392" fmla="*/ 726901 h 2031151"/>
                <a:gd name="connsiteX3393" fmla="*/ 3302331 w 3368309"/>
                <a:gd name="connsiteY3393" fmla="*/ 723480 h 2031151"/>
                <a:gd name="connsiteX3394" fmla="*/ 3298584 w 3368309"/>
                <a:gd name="connsiteY3394" fmla="*/ 725760 h 2031151"/>
                <a:gd name="connsiteX3395" fmla="*/ 3293860 w 3368309"/>
                <a:gd name="connsiteY3395" fmla="*/ 724294 h 2031151"/>
                <a:gd name="connsiteX3396" fmla="*/ 3292883 w 3368309"/>
                <a:gd name="connsiteY3396" fmla="*/ 719896 h 2031151"/>
                <a:gd name="connsiteX3397" fmla="*/ 3289950 w 3368309"/>
                <a:gd name="connsiteY3397" fmla="*/ 718104 h 2031151"/>
                <a:gd name="connsiteX3398" fmla="*/ 3288647 w 3368309"/>
                <a:gd name="connsiteY3398" fmla="*/ 720221 h 2031151"/>
                <a:gd name="connsiteX3399" fmla="*/ 3290928 w 3368309"/>
                <a:gd name="connsiteY3399" fmla="*/ 724131 h 2031151"/>
                <a:gd name="connsiteX3400" fmla="*/ 3282782 w 3368309"/>
                <a:gd name="connsiteY3400" fmla="*/ 729181 h 2031151"/>
                <a:gd name="connsiteX3401" fmla="*/ 3276429 w 3368309"/>
                <a:gd name="connsiteY3401" fmla="*/ 729181 h 2031151"/>
                <a:gd name="connsiteX3402" fmla="*/ 3274474 w 3368309"/>
                <a:gd name="connsiteY3402" fmla="*/ 731136 h 2031151"/>
                <a:gd name="connsiteX3403" fmla="*/ 3278221 w 3368309"/>
                <a:gd name="connsiteY3403" fmla="*/ 733417 h 2031151"/>
                <a:gd name="connsiteX3404" fmla="*/ 3269424 w 3368309"/>
                <a:gd name="connsiteY3404" fmla="*/ 741400 h 2031151"/>
                <a:gd name="connsiteX3405" fmla="*/ 3264862 w 3368309"/>
                <a:gd name="connsiteY3405" fmla="*/ 741400 h 2031151"/>
                <a:gd name="connsiteX3406" fmla="*/ 3264699 w 3368309"/>
                <a:gd name="connsiteY3406" fmla="*/ 746287 h 2031151"/>
                <a:gd name="connsiteX3407" fmla="*/ 3267958 w 3368309"/>
                <a:gd name="connsiteY3407" fmla="*/ 747427 h 2031151"/>
                <a:gd name="connsiteX3408" fmla="*/ 3260301 w 3368309"/>
                <a:gd name="connsiteY3408" fmla="*/ 757365 h 2031151"/>
                <a:gd name="connsiteX3409" fmla="*/ 3257368 w 3368309"/>
                <a:gd name="connsiteY3409" fmla="*/ 760297 h 2031151"/>
                <a:gd name="connsiteX3410" fmla="*/ 3256554 w 3368309"/>
                <a:gd name="connsiteY3410" fmla="*/ 758994 h 2031151"/>
                <a:gd name="connsiteX3411" fmla="*/ 3252318 w 3368309"/>
                <a:gd name="connsiteY3411" fmla="*/ 758994 h 2031151"/>
                <a:gd name="connsiteX3412" fmla="*/ 3252318 w 3368309"/>
                <a:gd name="connsiteY3412" fmla="*/ 766162 h 2031151"/>
                <a:gd name="connsiteX3413" fmla="*/ 3255577 w 3368309"/>
                <a:gd name="connsiteY3413" fmla="*/ 773493 h 2031151"/>
                <a:gd name="connsiteX3414" fmla="*/ 3250363 w 3368309"/>
                <a:gd name="connsiteY3414" fmla="*/ 778543 h 2031151"/>
                <a:gd name="connsiteX3415" fmla="*/ 3247431 w 3368309"/>
                <a:gd name="connsiteY3415" fmla="*/ 775448 h 2031151"/>
                <a:gd name="connsiteX3416" fmla="*/ 3246454 w 3368309"/>
                <a:gd name="connsiteY3416" fmla="*/ 780661 h 2031151"/>
                <a:gd name="connsiteX3417" fmla="*/ 3248734 w 3368309"/>
                <a:gd name="connsiteY3417" fmla="*/ 784408 h 2031151"/>
                <a:gd name="connsiteX3418" fmla="*/ 3242870 w 3368309"/>
                <a:gd name="connsiteY3418" fmla="*/ 790435 h 2031151"/>
                <a:gd name="connsiteX3419" fmla="*/ 3238634 w 3368309"/>
                <a:gd name="connsiteY3419" fmla="*/ 791576 h 2031151"/>
                <a:gd name="connsiteX3420" fmla="*/ 3241404 w 3368309"/>
                <a:gd name="connsiteY3420" fmla="*/ 794019 h 2031151"/>
                <a:gd name="connsiteX3421" fmla="*/ 3240100 w 3368309"/>
                <a:gd name="connsiteY3421" fmla="*/ 796789 h 2031151"/>
                <a:gd name="connsiteX3422" fmla="*/ 3238145 w 3368309"/>
                <a:gd name="connsiteY3422" fmla="*/ 801187 h 2031151"/>
                <a:gd name="connsiteX3423" fmla="*/ 3235050 w 3368309"/>
                <a:gd name="connsiteY3423" fmla="*/ 799558 h 2031151"/>
                <a:gd name="connsiteX3424" fmla="*/ 3231140 w 3368309"/>
                <a:gd name="connsiteY3424" fmla="*/ 801513 h 2031151"/>
                <a:gd name="connsiteX3425" fmla="*/ 3234235 w 3368309"/>
                <a:gd name="connsiteY3425" fmla="*/ 805260 h 2031151"/>
                <a:gd name="connsiteX3426" fmla="*/ 3234561 w 3368309"/>
                <a:gd name="connsiteY3426" fmla="*/ 809333 h 2031151"/>
                <a:gd name="connsiteX3427" fmla="*/ 3229348 w 3368309"/>
                <a:gd name="connsiteY3427" fmla="*/ 813405 h 2031151"/>
                <a:gd name="connsiteX3428" fmla="*/ 3231792 w 3368309"/>
                <a:gd name="connsiteY3428" fmla="*/ 817152 h 2031151"/>
                <a:gd name="connsiteX3429" fmla="*/ 3230651 w 3368309"/>
                <a:gd name="connsiteY3429" fmla="*/ 821225 h 2031151"/>
                <a:gd name="connsiteX3430" fmla="*/ 3227231 w 3368309"/>
                <a:gd name="connsiteY3430" fmla="*/ 822040 h 2031151"/>
                <a:gd name="connsiteX3431" fmla="*/ 3224461 w 3368309"/>
                <a:gd name="connsiteY3431" fmla="*/ 819270 h 2031151"/>
                <a:gd name="connsiteX3432" fmla="*/ 3221202 w 3368309"/>
                <a:gd name="connsiteY3432" fmla="*/ 820410 h 2031151"/>
                <a:gd name="connsiteX3433" fmla="*/ 3223972 w 3368309"/>
                <a:gd name="connsiteY3433" fmla="*/ 824483 h 2031151"/>
                <a:gd name="connsiteX3434" fmla="*/ 3231466 w 3368309"/>
                <a:gd name="connsiteY3434" fmla="*/ 827904 h 2031151"/>
                <a:gd name="connsiteX3435" fmla="*/ 3229022 w 3368309"/>
                <a:gd name="connsiteY3435" fmla="*/ 833443 h 2031151"/>
                <a:gd name="connsiteX3436" fmla="*/ 3221854 w 3368309"/>
                <a:gd name="connsiteY3436" fmla="*/ 834095 h 2031151"/>
                <a:gd name="connsiteX3437" fmla="*/ 3221854 w 3368309"/>
                <a:gd name="connsiteY3437" fmla="*/ 836864 h 2031151"/>
                <a:gd name="connsiteX3438" fmla="*/ 3225275 w 3368309"/>
                <a:gd name="connsiteY3438" fmla="*/ 838819 h 2031151"/>
                <a:gd name="connsiteX3439" fmla="*/ 3229022 w 3368309"/>
                <a:gd name="connsiteY3439" fmla="*/ 847128 h 2031151"/>
                <a:gd name="connsiteX3440" fmla="*/ 3225927 w 3368309"/>
                <a:gd name="connsiteY3440" fmla="*/ 849571 h 2031151"/>
                <a:gd name="connsiteX3441" fmla="*/ 3227882 w 3368309"/>
                <a:gd name="connsiteY3441" fmla="*/ 852992 h 2031151"/>
                <a:gd name="connsiteX3442" fmla="*/ 3222506 w 3368309"/>
                <a:gd name="connsiteY3442" fmla="*/ 860812 h 2031151"/>
                <a:gd name="connsiteX3443" fmla="*/ 3223809 w 3368309"/>
                <a:gd name="connsiteY3443" fmla="*/ 864885 h 2031151"/>
                <a:gd name="connsiteX3444" fmla="*/ 3220388 w 3368309"/>
                <a:gd name="connsiteY3444" fmla="*/ 873845 h 2031151"/>
                <a:gd name="connsiteX3445" fmla="*/ 3218433 w 3368309"/>
                <a:gd name="connsiteY3445" fmla="*/ 885900 h 2031151"/>
                <a:gd name="connsiteX3446" fmla="*/ 3215501 w 3368309"/>
                <a:gd name="connsiteY3446" fmla="*/ 890299 h 2031151"/>
                <a:gd name="connsiteX3447" fmla="*/ 3214849 w 3368309"/>
                <a:gd name="connsiteY3447" fmla="*/ 894860 h 2031151"/>
                <a:gd name="connsiteX3448" fmla="*/ 3218108 w 3368309"/>
                <a:gd name="connsiteY3448" fmla="*/ 896000 h 2031151"/>
                <a:gd name="connsiteX3449" fmla="*/ 3219574 w 3368309"/>
                <a:gd name="connsiteY3449" fmla="*/ 899096 h 2031151"/>
                <a:gd name="connsiteX3450" fmla="*/ 3217618 w 3368309"/>
                <a:gd name="connsiteY3450" fmla="*/ 902191 h 2031151"/>
                <a:gd name="connsiteX3451" fmla="*/ 3225113 w 3368309"/>
                <a:gd name="connsiteY3451" fmla="*/ 912128 h 2031151"/>
                <a:gd name="connsiteX3452" fmla="*/ 3225113 w 3368309"/>
                <a:gd name="connsiteY3452" fmla="*/ 916364 h 2031151"/>
                <a:gd name="connsiteX3453" fmla="*/ 3221202 w 3368309"/>
                <a:gd name="connsiteY3453" fmla="*/ 915061 h 2031151"/>
                <a:gd name="connsiteX3454" fmla="*/ 3215175 w 3368309"/>
                <a:gd name="connsiteY3454" fmla="*/ 916038 h 2031151"/>
                <a:gd name="connsiteX3455" fmla="*/ 3210777 w 3368309"/>
                <a:gd name="connsiteY3455" fmla="*/ 911640 h 2031151"/>
                <a:gd name="connsiteX3456" fmla="*/ 3208007 w 3368309"/>
                <a:gd name="connsiteY3456" fmla="*/ 914083 h 2031151"/>
                <a:gd name="connsiteX3457" fmla="*/ 3200676 w 3368309"/>
                <a:gd name="connsiteY3457" fmla="*/ 905775 h 2031151"/>
                <a:gd name="connsiteX3458" fmla="*/ 3202957 w 3368309"/>
                <a:gd name="connsiteY3458" fmla="*/ 903983 h 2031151"/>
                <a:gd name="connsiteX3459" fmla="*/ 3200350 w 3368309"/>
                <a:gd name="connsiteY3459" fmla="*/ 902680 h 2031151"/>
                <a:gd name="connsiteX3460" fmla="*/ 3195952 w 3368309"/>
                <a:gd name="connsiteY3460" fmla="*/ 903657 h 2031151"/>
                <a:gd name="connsiteX3461" fmla="*/ 3192042 w 3368309"/>
                <a:gd name="connsiteY3461" fmla="*/ 903005 h 2031151"/>
                <a:gd name="connsiteX3462" fmla="*/ 3191065 w 3368309"/>
                <a:gd name="connsiteY3462" fmla="*/ 898607 h 2031151"/>
                <a:gd name="connsiteX3463" fmla="*/ 3177543 w 3368309"/>
                <a:gd name="connsiteY3463" fmla="*/ 890624 h 2031151"/>
                <a:gd name="connsiteX3464" fmla="*/ 3170375 w 3368309"/>
                <a:gd name="connsiteY3464" fmla="*/ 889321 h 2031151"/>
                <a:gd name="connsiteX3465" fmla="*/ 3161904 w 3368309"/>
                <a:gd name="connsiteY3465" fmla="*/ 894697 h 2031151"/>
                <a:gd name="connsiteX3466" fmla="*/ 3159134 w 3368309"/>
                <a:gd name="connsiteY3466" fmla="*/ 892579 h 2031151"/>
                <a:gd name="connsiteX3467" fmla="*/ 3153758 w 3368309"/>
                <a:gd name="connsiteY3467" fmla="*/ 894045 h 2031151"/>
                <a:gd name="connsiteX3468" fmla="*/ 3148382 w 3368309"/>
                <a:gd name="connsiteY3468" fmla="*/ 901051 h 2031151"/>
                <a:gd name="connsiteX3469" fmla="*/ 3143332 w 3368309"/>
                <a:gd name="connsiteY3469" fmla="*/ 901051 h 2031151"/>
                <a:gd name="connsiteX3470" fmla="*/ 3140888 w 3368309"/>
                <a:gd name="connsiteY3470" fmla="*/ 910662 h 2031151"/>
                <a:gd name="connsiteX3471" fmla="*/ 3137467 w 3368309"/>
                <a:gd name="connsiteY3471" fmla="*/ 913920 h 2031151"/>
                <a:gd name="connsiteX3472" fmla="*/ 3132417 w 3368309"/>
                <a:gd name="connsiteY3472" fmla="*/ 911151 h 2031151"/>
                <a:gd name="connsiteX3473" fmla="*/ 3136327 w 3368309"/>
                <a:gd name="connsiteY3473" fmla="*/ 918156 h 2031151"/>
                <a:gd name="connsiteX3474" fmla="*/ 3133395 w 3368309"/>
                <a:gd name="connsiteY3474" fmla="*/ 922392 h 2031151"/>
                <a:gd name="connsiteX3475" fmla="*/ 3134535 w 3368309"/>
                <a:gd name="connsiteY3475" fmla="*/ 928256 h 2031151"/>
                <a:gd name="connsiteX3476" fmla="*/ 3132743 w 3368309"/>
                <a:gd name="connsiteY3476" fmla="*/ 932655 h 2031151"/>
                <a:gd name="connsiteX3477" fmla="*/ 3130951 w 3368309"/>
                <a:gd name="connsiteY3477" fmla="*/ 946176 h 2031151"/>
                <a:gd name="connsiteX3478" fmla="*/ 3128508 w 3368309"/>
                <a:gd name="connsiteY3478" fmla="*/ 948294 h 2031151"/>
                <a:gd name="connsiteX3479" fmla="*/ 3125249 w 3368309"/>
                <a:gd name="connsiteY3479" fmla="*/ 944221 h 2031151"/>
                <a:gd name="connsiteX3480" fmla="*/ 3119059 w 3368309"/>
                <a:gd name="connsiteY3480" fmla="*/ 927768 h 2031151"/>
                <a:gd name="connsiteX3481" fmla="*/ 3118733 w 3368309"/>
                <a:gd name="connsiteY3481" fmla="*/ 922229 h 2031151"/>
                <a:gd name="connsiteX3482" fmla="*/ 3114008 w 3368309"/>
                <a:gd name="connsiteY3482" fmla="*/ 919785 h 2031151"/>
                <a:gd name="connsiteX3483" fmla="*/ 3110099 w 3368309"/>
                <a:gd name="connsiteY3483" fmla="*/ 914735 h 2031151"/>
                <a:gd name="connsiteX3484" fmla="*/ 3109447 w 3368309"/>
                <a:gd name="connsiteY3484" fmla="*/ 920600 h 2031151"/>
                <a:gd name="connsiteX3485" fmla="*/ 3103256 w 3368309"/>
                <a:gd name="connsiteY3485" fmla="*/ 931352 h 2031151"/>
                <a:gd name="connsiteX3486" fmla="*/ 3099184 w 3368309"/>
                <a:gd name="connsiteY3486" fmla="*/ 933795 h 2031151"/>
                <a:gd name="connsiteX3487" fmla="*/ 3098206 w 3368309"/>
                <a:gd name="connsiteY3487" fmla="*/ 938845 h 2031151"/>
                <a:gd name="connsiteX3488" fmla="*/ 3103745 w 3368309"/>
                <a:gd name="connsiteY3488" fmla="*/ 940963 h 2031151"/>
                <a:gd name="connsiteX3489" fmla="*/ 3098369 w 3368309"/>
                <a:gd name="connsiteY3489" fmla="*/ 952367 h 2031151"/>
                <a:gd name="connsiteX3490" fmla="*/ 3094459 w 3368309"/>
                <a:gd name="connsiteY3490" fmla="*/ 946828 h 2031151"/>
                <a:gd name="connsiteX3491" fmla="*/ 3091690 w 3368309"/>
                <a:gd name="connsiteY3491" fmla="*/ 946828 h 2031151"/>
                <a:gd name="connsiteX3492" fmla="*/ 3089246 w 3368309"/>
                <a:gd name="connsiteY3492" fmla="*/ 942918 h 2031151"/>
                <a:gd name="connsiteX3493" fmla="*/ 3085336 w 3368309"/>
                <a:gd name="connsiteY3493" fmla="*/ 943570 h 2031151"/>
                <a:gd name="connsiteX3494" fmla="*/ 3083218 w 3368309"/>
                <a:gd name="connsiteY3494" fmla="*/ 950901 h 2031151"/>
                <a:gd name="connsiteX3495" fmla="*/ 3080286 w 3368309"/>
                <a:gd name="connsiteY3495" fmla="*/ 951878 h 2031151"/>
                <a:gd name="connsiteX3496" fmla="*/ 3075073 w 3368309"/>
                <a:gd name="connsiteY3496" fmla="*/ 948946 h 2031151"/>
                <a:gd name="connsiteX3497" fmla="*/ 3071326 w 3368309"/>
                <a:gd name="connsiteY3497" fmla="*/ 948946 h 2031151"/>
                <a:gd name="connsiteX3498" fmla="*/ 3070675 w 3368309"/>
                <a:gd name="connsiteY3498" fmla="*/ 952367 h 2031151"/>
                <a:gd name="connsiteX3499" fmla="*/ 3074096 w 3368309"/>
                <a:gd name="connsiteY3499" fmla="*/ 957254 h 2031151"/>
                <a:gd name="connsiteX3500" fmla="*/ 3071489 w 3368309"/>
                <a:gd name="connsiteY3500" fmla="*/ 959209 h 2031151"/>
                <a:gd name="connsiteX3501" fmla="*/ 3069860 w 3368309"/>
                <a:gd name="connsiteY3501" fmla="*/ 963608 h 2031151"/>
                <a:gd name="connsiteX3502" fmla="*/ 3069208 w 3368309"/>
                <a:gd name="connsiteY3502" fmla="*/ 968006 h 2031151"/>
                <a:gd name="connsiteX3503" fmla="*/ 3073770 w 3368309"/>
                <a:gd name="connsiteY3503" fmla="*/ 973219 h 2031151"/>
                <a:gd name="connsiteX3504" fmla="*/ 3075073 w 3368309"/>
                <a:gd name="connsiteY3504" fmla="*/ 979247 h 2031151"/>
                <a:gd name="connsiteX3505" fmla="*/ 3072629 w 3368309"/>
                <a:gd name="connsiteY3505" fmla="*/ 980224 h 2031151"/>
                <a:gd name="connsiteX3506" fmla="*/ 3073933 w 3368309"/>
                <a:gd name="connsiteY3506" fmla="*/ 983645 h 2031151"/>
                <a:gd name="connsiteX3507" fmla="*/ 3079309 w 3368309"/>
                <a:gd name="connsiteY3507" fmla="*/ 985275 h 2031151"/>
                <a:gd name="connsiteX3508" fmla="*/ 3083218 w 3368309"/>
                <a:gd name="connsiteY3508" fmla="*/ 989347 h 2031151"/>
                <a:gd name="connsiteX3509" fmla="*/ 3084196 w 3368309"/>
                <a:gd name="connsiteY3509" fmla="*/ 992605 h 2031151"/>
                <a:gd name="connsiteX3510" fmla="*/ 3082241 w 3368309"/>
                <a:gd name="connsiteY3510" fmla="*/ 992605 h 2031151"/>
                <a:gd name="connsiteX3511" fmla="*/ 3080612 w 3368309"/>
                <a:gd name="connsiteY3511" fmla="*/ 996027 h 2031151"/>
                <a:gd name="connsiteX3512" fmla="*/ 3084685 w 3368309"/>
                <a:gd name="connsiteY3512" fmla="*/ 999773 h 2031151"/>
                <a:gd name="connsiteX3513" fmla="*/ 3088432 w 3368309"/>
                <a:gd name="connsiteY3513" fmla="*/ 1003032 h 2031151"/>
                <a:gd name="connsiteX3514" fmla="*/ 3088106 w 3368309"/>
                <a:gd name="connsiteY3514" fmla="*/ 1005150 h 2031151"/>
                <a:gd name="connsiteX3515" fmla="*/ 3083545 w 3368309"/>
                <a:gd name="connsiteY3515" fmla="*/ 1002054 h 2031151"/>
                <a:gd name="connsiteX3516" fmla="*/ 3079960 w 3368309"/>
                <a:gd name="connsiteY3516" fmla="*/ 1003357 h 2031151"/>
                <a:gd name="connsiteX3517" fmla="*/ 3079309 w 3368309"/>
                <a:gd name="connsiteY3517" fmla="*/ 1005312 h 2031151"/>
                <a:gd name="connsiteX3518" fmla="*/ 3084359 w 3368309"/>
                <a:gd name="connsiteY3518" fmla="*/ 1010851 h 2031151"/>
                <a:gd name="connsiteX3519" fmla="*/ 3087129 w 3368309"/>
                <a:gd name="connsiteY3519" fmla="*/ 1009222 h 2031151"/>
                <a:gd name="connsiteX3520" fmla="*/ 3087129 w 3368309"/>
                <a:gd name="connsiteY3520" fmla="*/ 1014598 h 2031151"/>
                <a:gd name="connsiteX3521" fmla="*/ 3085662 w 3368309"/>
                <a:gd name="connsiteY3521" fmla="*/ 1020463 h 2031151"/>
                <a:gd name="connsiteX3522" fmla="*/ 3086151 w 3368309"/>
                <a:gd name="connsiteY3522" fmla="*/ 1025024 h 2031151"/>
                <a:gd name="connsiteX3523" fmla="*/ 3083056 w 3368309"/>
                <a:gd name="connsiteY3523" fmla="*/ 1029097 h 2031151"/>
                <a:gd name="connsiteX3524" fmla="*/ 3085662 w 3368309"/>
                <a:gd name="connsiteY3524" fmla="*/ 1036754 h 2031151"/>
                <a:gd name="connsiteX3525" fmla="*/ 3083870 w 3368309"/>
                <a:gd name="connsiteY3525" fmla="*/ 1040338 h 2031151"/>
                <a:gd name="connsiteX3526" fmla="*/ 3086477 w 3368309"/>
                <a:gd name="connsiteY3526" fmla="*/ 1045551 h 2031151"/>
                <a:gd name="connsiteX3527" fmla="*/ 3086477 w 3368309"/>
                <a:gd name="connsiteY3527" fmla="*/ 1048483 h 2031151"/>
                <a:gd name="connsiteX3528" fmla="*/ 3086477 w 3368309"/>
                <a:gd name="connsiteY3528" fmla="*/ 1053859 h 2031151"/>
                <a:gd name="connsiteX3529" fmla="*/ 3090549 w 3368309"/>
                <a:gd name="connsiteY3529" fmla="*/ 1062982 h 2031151"/>
                <a:gd name="connsiteX3530" fmla="*/ 3088595 w 3368309"/>
                <a:gd name="connsiteY3530" fmla="*/ 1065426 h 2031151"/>
                <a:gd name="connsiteX3531" fmla="*/ 3092504 w 3368309"/>
                <a:gd name="connsiteY3531" fmla="*/ 1068195 h 2031151"/>
                <a:gd name="connsiteX3532" fmla="*/ 3097066 w 3368309"/>
                <a:gd name="connsiteY3532" fmla="*/ 1072920 h 2031151"/>
                <a:gd name="connsiteX3533" fmla="*/ 3103908 w 3368309"/>
                <a:gd name="connsiteY3533" fmla="*/ 1082043 h 2031151"/>
                <a:gd name="connsiteX3534" fmla="*/ 3110099 w 3368309"/>
                <a:gd name="connsiteY3534" fmla="*/ 1084975 h 2031151"/>
                <a:gd name="connsiteX3535" fmla="*/ 3112217 w 3368309"/>
                <a:gd name="connsiteY3535" fmla="*/ 1083183 h 2031151"/>
                <a:gd name="connsiteX3536" fmla="*/ 3113031 w 3368309"/>
                <a:gd name="connsiteY3536" fmla="*/ 1078621 h 2031151"/>
                <a:gd name="connsiteX3537" fmla="*/ 3106677 w 3368309"/>
                <a:gd name="connsiteY3537" fmla="*/ 1071454 h 2031151"/>
                <a:gd name="connsiteX3538" fmla="*/ 3106352 w 3368309"/>
                <a:gd name="connsiteY3538" fmla="*/ 1067870 h 2031151"/>
                <a:gd name="connsiteX3539" fmla="*/ 3110099 w 3368309"/>
                <a:gd name="connsiteY3539" fmla="*/ 1064937 h 2031151"/>
                <a:gd name="connsiteX3540" fmla="*/ 3115475 w 3368309"/>
                <a:gd name="connsiteY3540" fmla="*/ 1065263 h 2031151"/>
                <a:gd name="connsiteX3541" fmla="*/ 3124109 w 3368309"/>
                <a:gd name="connsiteY3541" fmla="*/ 1071779 h 2031151"/>
                <a:gd name="connsiteX3542" fmla="*/ 3128345 w 3368309"/>
                <a:gd name="connsiteY3542" fmla="*/ 1070965 h 2031151"/>
                <a:gd name="connsiteX3543" fmla="*/ 3131929 w 3368309"/>
                <a:gd name="connsiteY3543" fmla="*/ 1072757 h 2031151"/>
                <a:gd name="connsiteX3544" fmla="*/ 3132254 w 3368309"/>
                <a:gd name="connsiteY3544" fmla="*/ 1077318 h 2031151"/>
                <a:gd name="connsiteX3545" fmla="*/ 3130951 w 3368309"/>
                <a:gd name="connsiteY3545" fmla="*/ 1080251 h 2031151"/>
                <a:gd name="connsiteX3546" fmla="*/ 3134209 w 3368309"/>
                <a:gd name="connsiteY3546" fmla="*/ 1084160 h 2031151"/>
                <a:gd name="connsiteX3547" fmla="*/ 3131114 w 3368309"/>
                <a:gd name="connsiteY3547" fmla="*/ 1088885 h 2031151"/>
                <a:gd name="connsiteX3548" fmla="*/ 3132417 w 3368309"/>
                <a:gd name="connsiteY3548" fmla="*/ 1093120 h 2031151"/>
                <a:gd name="connsiteX3549" fmla="*/ 3130625 w 3368309"/>
                <a:gd name="connsiteY3549" fmla="*/ 1094587 h 2031151"/>
                <a:gd name="connsiteX3550" fmla="*/ 3126878 w 3368309"/>
                <a:gd name="connsiteY3550" fmla="*/ 1098985 h 2031151"/>
                <a:gd name="connsiteX3551" fmla="*/ 3131602 w 3368309"/>
                <a:gd name="connsiteY3551" fmla="*/ 1108434 h 2031151"/>
                <a:gd name="connsiteX3552" fmla="*/ 3135350 w 3368309"/>
                <a:gd name="connsiteY3552" fmla="*/ 1113973 h 2031151"/>
                <a:gd name="connsiteX3553" fmla="*/ 3135024 w 3368309"/>
                <a:gd name="connsiteY3553" fmla="*/ 1123096 h 2031151"/>
                <a:gd name="connsiteX3554" fmla="*/ 3140400 w 3368309"/>
                <a:gd name="connsiteY3554" fmla="*/ 1127006 h 2031151"/>
                <a:gd name="connsiteX3555" fmla="*/ 3143169 w 3368309"/>
                <a:gd name="connsiteY3555" fmla="*/ 1125051 h 2031151"/>
                <a:gd name="connsiteX3556" fmla="*/ 3143169 w 3368309"/>
                <a:gd name="connsiteY3556" fmla="*/ 1122281 h 2031151"/>
                <a:gd name="connsiteX3557" fmla="*/ 3147079 w 3368309"/>
                <a:gd name="connsiteY3557" fmla="*/ 1119186 h 2031151"/>
                <a:gd name="connsiteX3558" fmla="*/ 3148545 w 3368309"/>
                <a:gd name="connsiteY3558" fmla="*/ 1117068 h 2031151"/>
                <a:gd name="connsiteX3559" fmla="*/ 3149849 w 3368309"/>
                <a:gd name="connsiteY3559" fmla="*/ 1118371 h 2031151"/>
                <a:gd name="connsiteX3560" fmla="*/ 3155224 w 3368309"/>
                <a:gd name="connsiteY3560" fmla="*/ 1121141 h 2031151"/>
                <a:gd name="connsiteX3561" fmla="*/ 3155224 w 3368309"/>
                <a:gd name="connsiteY3561" fmla="*/ 1132870 h 2031151"/>
                <a:gd name="connsiteX3562" fmla="*/ 3166465 w 3368309"/>
                <a:gd name="connsiteY3562" fmla="*/ 1142971 h 2031151"/>
                <a:gd name="connsiteX3563" fmla="*/ 3170538 w 3368309"/>
                <a:gd name="connsiteY3563" fmla="*/ 1151116 h 2031151"/>
                <a:gd name="connsiteX3564" fmla="*/ 3168257 w 3368309"/>
                <a:gd name="connsiteY3564" fmla="*/ 1154374 h 2031151"/>
                <a:gd name="connsiteX3565" fmla="*/ 3167931 w 3368309"/>
                <a:gd name="connsiteY3565" fmla="*/ 1161379 h 2031151"/>
                <a:gd name="connsiteX3566" fmla="*/ 3164510 w 3368309"/>
                <a:gd name="connsiteY3566" fmla="*/ 1162683 h 2031151"/>
                <a:gd name="connsiteX3567" fmla="*/ 3157994 w 3368309"/>
                <a:gd name="connsiteY3567" fmla="*/ 1157795 h 2031151"/>
                <a:gd name="connsiteX3568" fmla="*/ 3150174 w 3368309"/>
                <a:gd name="connsiteY3568" fmla="*/ 1154863 h 2031151"/>
                <a:gd name="connsiteX3569" fmla="*/ 3149523 w 3368309"/>
                <a:gd name="connsiteY3569" fmla="*/ 1147532 h 2031151"/>
                <a:gd name="connsiteX3570" fmla="*/ 3151803 w 3368309"/>
                <a:gd name="connsiteY3570" fmla="*/ 1142319 h 2031151"/>
                <a:gd name="connsiteX3571" fmla="*/ 3152455 w 3368309"/>
                <a:gd name="connsiteY3571" fmla="*/ 1135966 h 2031151"/>
                <a:gd name="connsiteX3572" fmla="*/ 3151152 w 3368309"/>
                <a:gd name="connsiteY3572" fmla="*/ 1131078 h 2031151"/>
                <a:gd name="connsiteX3573" fmla="*/ 3147893 w 3368309"/>
                <a:gd name="connsiteY3573" fmla="*/ 1134174 h 2031151"/>
                <a:gd name="connsiteX3574" fmla="*/ 3149686 w 3368309"/>
                <a:gd name="connsiteY3574" fmla="*/ 1136128 h 2031151"/>
                <a:gd name="connsiteX3575" fmla="*/ 3149686 w 3368309"/>
                <a:gd name="connsiteY3575" fmla="*/ 1140038 h 2031151"/>
                <a:gd name="connsiteX3576" fmla="*/ 3144635 w 3368309"/>
                <a:gd name="connsiteY3576" fmla="*/ 1141016 h 2031151"/>
                <a:gd name="connsiteX3577" fmla="*/ 3139748 w 3368309"/>
                <a:gd name="connsiteY3577" fmla="*/ 1148184 h 2031151"/>
                <a:gd name="connsiteX3578" fmla="*/ 3141051 w 3368309"/>
                <a:gd name="connsiteY3578" fmla="*/ 1151279 h 2031151"/>
                <a:gd name="connsiteX3579" fmla="*/ 3147079 w 3368309"/>
                <a:gd name="connsiteY3579" fmla="*/ 1149976 h 2031151"/>
                <a:gd name="connsiteX3580" fmla="*/ 3147079 w 3368309"/>
                <a:gd name="connsiteY3580" fmla="*/ 1155189 h 2031151"/>
                <a:gd name="connsiteX3581" fmla="*/ 3143332 w 3368309"/>
                <a:gd name="connsiteY3581" fmla="*/ 1161054 h 2031151"/>
                <a:gd name="connsiteX3582" fmla="*/ 3145450 w 3368309"/>
                <a:gd name="connsiteY3582" fmla="*/ 1169199 h 2031151"/>
                <a:gd name="connsiteX3583" fmla="*/ 3144309 w 3368309"/>
                <a:gd name="connsiteY3583" fmla="*/ 1171480 h 2031151"/>
                <a:gd name="connsiteX3584" fmla="*/ 3144961 w 3368309"/>
                <a:gd name="connsiteY3584" fmla="*/ 1189400 h 2031151"/>
                <a:gd name="connsiteX3585" fmla="*/ 3148708 w 3368309"/>
                <a:gd name="connsiteY3585" fmla="*/ 1193147 h 2031151"/>
                <a:gd name="connsiteX3586" fmla="*/ 3148382 w 3368309"/>
                <a:gd name="connsiteY3586" fmla="*/ 1197382 h 2031151"/>
                <a:gd name="connsiteX3587" fmla="*/ 3161578 w 3368309"/>
                <a:gd name="connsiteY3587" fmla="*/ 1216931 h 2031151"/>
                <a:gd name="connsiteX3588" fmla="*/ 3165488 w 3368309"/>
                <a:gd name="connsiteY3588" fmla="*/ 1216931 h 2031151"/>
                <a:gd name="connsiteX3589" fmla="*/ 3174122 w 3368309"/>
                <a:gd name="connsiteY3589" fmla="*/ 1229150 h 2031151"/>
                <a:gd name="connsiteX3590" fmla="*/ 3179986 w 3368309"/>
                <a:gd name="connsiteY3590" fmla="*/ 1232408 h 2031151"/>
                <a:gd name="connsiteX3591" fmla="*/ 3176566 w 3368309"/>
                <a:gd name="connsiteY3591" fmla="*/ 1236480 h 2031151"/>
                <a:gd name="connsiteX3592" fmla="*/ 3177217 w 3368309"/>
                <a:gd name="connsiteY3592" fmla="*/ 1242997 h 2031151"/>
                <a:gd name="connsiteX3593" fmla="*/ 3162067 w 3368309"/>
                <a:gd name="connsiteY3593" fmla="*/ 1248862 h 2031151"/>
                <a:gd name="connsiteX3594" fmla="*/ 3160926 w 3368309"/>
                <a:gd name="connsiteY3594" fmla="*/ 1246092 h 2031151"/>
                <a:gd name="connsiteX3595" fmla="*/ 3152618 w 3368309"/>
                <a:gd name="connsiteY3595" fmla="*/ 1251305 h 2031151"/>
                <a:gd name="connsiteX3596" fmla="*/ 3148708 w 3368309"/>
                <a:gd name="connsiteY3596" fmla="*/ 1250328 h 2031151"/>
                <a:gd name="connsiteX3597" fmla="*/ 3150826 w 3368309"/>
                <a:gd name="connsiteY3597" fmla="*/ 1252771 h 2031151"/>
                <a:gd name="connsiteX3598" fmla="*/ 3146265 w 3368309"/>
                <a:gd name="connsiteY3598" fmla="*/ 1262709 h 2031151"/>
                <a:gd name="connsiteX3599" fmla="*/ 3145287 w 3368309"/>
                <a:gd name="connsiteY3599" fmla="*/ 1269551 h 2031151"/>
                <a:gd name="connsiteX3600" fmla="*/ 3142029 w 3368309"/>
                <a:gd name="connsiteY3600" fmla="*/ 1272646 h 2031151"/>
                <a:gd name="connsiteX3601" fmla="*/ 3146265 w 3368309"/>
                <a:gd name="connsiteY3601" fmla="*/ 1277045 h 2031151"/>
                <a:gd name="connsiteX3602" fmla="*/ 3143169 w 3368309"/>
                <a:gd name="connsiteY3602" fmla="*/ 1290078 h 2031151"/>
                <a:gd name="connsiteX3603" fmla="*/ 3148056 w 3368309"/>
                <a:gd name="connsiteY3603" fmla="*/ 1304739 h 2031151"/>
                <a:gd name="connsiteX3604" fmla="*/ 3155061 w 3368309"/>
                <a:gd name="connsiteY3604" fmla="*/ 1308649 h 2031151"/>
                <a:gd name="connsiteX3605" fmla="*/ 3154736 w 3368309"/>
                <a:gd name="connsiteY3605" fmla="*/ 1315003 h 2031151"/>
                <a:gd name="connsiteX3606" fmla="*/ 3162067 w 3368309"/>
                <a:gd name="connsiteY3606" fmla="*/ 1318750 h 2031151"/>
                <a:gd name="connsiteX3607" fmla="*/ 3165813 w 3368309"/>
                <a:gd name="connsiteY3607" fmla="*/ 1323800 h 2031151"/>
                <a:gd name="connsiteX3608" fmla="*/ 3159949 w 3368309"/>
                <a:gd name="connsiteY3608" fmla="*/ 1323148 h 2031151"/>
                <a:gd name="connsiteX3609" fmla="*/ 3158157 w 3368309"/>
                <a:gd name="connsiteY3609" fmla="*/ 1321356 h 2031151"/>
                <a:gd name="connsiteX3610" fmla="*/ 3153270 w 3368309"/>
                <a:gd name="connsiteY3610" fmla="*/ 1324451 h 2031151"/>
                <a:gd name="connsiteX3611" fmla="*/ 3149034 w 3368309"/>
                <a:gd name="connsiteY3611" fmla="*/ 1328524 h 2031151"/>
                <a:gd name="connsiteX3612" fmla="*/ 3145124 w 3368309"/>
                <a:gd name="connsiteY3612" fmla="*/ 1327710 h 2031151"/>
                <a:gd name="connsiteX3613" fmla="*/ 3137630 w 3368309"/>
                <a:gd name="connsiteY3613" fmla="*/ 1334715 h 2031151"/>
                <a:gd name="connsiteX3614" fmla="*/ 3132580 w 3368309"/>
                <a:gd name="connsiteY3614" fmla="*/ 1330642 h 2031151"/>
                <a:gd name="connsiteX3615" fmla="*/ 3129811 w 3368309"/>
                <a:gd name="connsiteY3615" fmla="*/ 1335692 h 2031151"/>
                <a:gd name="connsiteX3616" fmla="*/ 3132906 w 3368309"/>
                <a:gd name="connsiteY3616" fmla="*/ 1338462 h 2031151"/>
                <a:gd name="connsiteX3617" fmla="*/ 3138282 w 3368309"/>
                <a:gd name="connsiteY3617" fmla="*/ 1338136 h 2031151"/>
                <a:gd name="connsiteX3618" fmla="*/ 3136979 w 3368309"/>
                <a:gd name="connsiteY3618" fmla="*/ 1343675 h 2031151"/>
                <a:gd name="connsiteX3619" fmla="*/ 3135838 w 3368309"/>
                <a:gd name="connsiteY3619" fmla="*/ 1346933 h 2031151"/>
                <a:gd name="connsiteX3620" fmla="*/ 3140888 w 3368309"/>
                <a:gd name="connsiteY3620" fmla="*/ 1351983 h 2031151"/>
                <a:gd name="connsiteX3621" fmla="*/ 3138934 w 3368309"/>
                <a:gd name="connsiteY3621" fmla="*/ 1354427 h 2031151"/>
                <a:gd name="connsiteX3622" fmla="*/ 3136001 w 3368309"/>
                <a:gd name="connsiteY3622" fmla="*/ 1353449 h 2031151"/>
                <a:gd name="connsiteX3623" fmla="*/ 3139422 w 3368309"/>
                <a:gd name="connsiteY3623" fmla="*/ 1360780 h 2031151"/>
                <a:gd name="connsiteX3624" fmla="*/ 3137630 w 3368309"/>
                <a:gd name="connsiteY3624" fmla="*/ 1364690 h 2031151"/>
                <a:gd name="connsiteX3625" fmla="*/ 3140888 w 3368309"/>
                <a:gd name="connsiteY3625" fmla="*/ 1365504 h 2031151"/>
                <a:gd name="connsiteX3626" fmla="*/ 3143821 w 3368309"/>
                <a:gd name="connsiteY3626" fmla="*/ 1364038 h 2031151"/>
                <a:gd name="connsiteX3627" fmla="*/ 3148545 w 3368309"/>
                <a:gd name="connsiteY3627" fmla="*/ 1368926 h 2031151"/>
                <a:gd name="connsiteX3628" fmla="*/ 3144309 w 3368309"/>
                <a:gd name="connsiteY3628" fmla="*/ 1372835 h 2031151"/>
                <a:gd name="connsiteX3629" fmla="*/ 3143658 w 3368309"/>
                <a:gd name="connsiteY3629" fmla="*/ 1380329 h 2031151"/>
                <a:gd name="connsiteX3630" fmla="*/ 3146590 w 3368309"/>
                <a:gd name="connsiteY3630" fmla="*/ 1384891 h 2031151"/>
                <a:gd name="connsiteX3631" fmla="*/ 3144799 w 3368309"/>
                <a:gd name="connsiteY3631" fmla="*/ 1395969 h 2031151"/>
                <a:gd name="connsiteX3632" fmla="*/ 3142681 w 3368309"/>
                <a:gd name="connsiteY3632" fmla="*/ 1400204 h 2031151"/>
                <a:gd name="connsiteX3633" fmla="*/ 3143821 w 3368309"/>
                <a:gd name="connsiteY3633" fmla="*/ 1402485 h 2031151"/>
                <a:gd name="connsiteX3634" fmla="*/ 3142681 w 3368309"/>
                <a:gd name="connsiteY3634" fmla="*/ 1407046 h 2031151"/>
                <a:gd name="connsiteX3635" fmla="*/ 3136490 w 3368309"/>
                <a:gd name="connsiteY3635" fmla="*/ 1412422 h 2031151"/>
                <a:gd name="connsiteX3636" fmla="*/ 3135838 w 3368309"/>
                <a:gd name="connsiteY3636" fmla="*/ 1417635 h 2031151"/>
                <a:gd name="connsiteX3637" fmla="*/ 3134372 w 3368309"/>
                <a:gd name="connsiteY3637" fmla="*/ 1418613 h 2031151"/>
                <a:gd name="connsiteX3638" fmla="*/ 3131602 w 3368309"/>
                <a:gd name="connsiteY3638" fmla="*/ 1429854 h 2031151"/>
                <a:gd name="connsiteX3639" fmla="*/ 3126227 w 3368309"/>
                <a:gd name="connsiteY3639" fmla="*/ 1441583 h 2031151"/>
                <a:gd name="connsiteX3640" fmla="*/ 3127204 w 3368309"/>
                <a:gd name="connsiteY3640" fmla="*/ 1436207 h 2031151"/>
                <a:gd name="connsiteX3641" fmla="*/ 3125901 w 3368309"/>
                <a:gd name="connsiteY3641" fmla="*/ 1432297 h 2031151"/>
                <a:gd name="connsiteX3642" fmla="*/ 3125901 w 3368309"/>
                <a:gd name="connsiteY3642" fmla="*/ 1427084 h 2031151"/>
                <a:gd name="connsiteX3643" fmla="*/ 3124597 w 3368309"/>
                <a:gd name="connsiteY3643" fmla="*/ 1423663 h 2031151"/>
                <a:gd name="connsiteX3644" fmla="*/ 3114497 w 3368309"/>
                <a:gd name="connsiteY3644" fmla="*/ 1422523 h 2031151"/>
                <a:gd name="connsiteX3645" fmla="*/ 3109121 w 3368309"/>
                <a:gd name="connsiteY3645" fmla="*/ 1414540 h 2031151"/>
                <a:gd name="connsiteX3646" fmla="*/ 3107981 w 3368309"/>
                <a:gd name="connsiteY3646" fmla="*/ 1405417 h 2031151"/>
                <a:gd name="connsiteX3647" fmla="*/ 3098043 w 3368309"/>
                <a:gd name="connsiteY3647" fmla="*/ 1383587 h 2031151"/>
                <a:gd name="connsiteX3648" fmla="*/ 3091527 w 3368309"/>
                <a:gd name="connsiteY3648" fmla="*/ 1373161 h 2031151"/>
                <a:gd name="connsiteX3649" fmla="*/ 3095274 w 3368309"/>
                <a:gd name="connsiteY3649" fmla="*/ 1373487 h 2031151"/>
                <a:gd name="connsiteX3650" fmla="*/ 3099509 w 3368309"/>
                <a:gd name="connsiteY3650" fmla="*/ 1371206 h 2031151"/>
                <a:gd name="connsiteX3651" fmla="*/ 3101465 w 3368309"/>
                <a:gd name="connsiteY3651" fmla="*/ 1366971 h 2031151"/>
                <a:gd name="connsiteX3652" fmla="*/ 3097392 w 3368309"/>
                <a:gd name="connsiteY3652" fmla="*/ 1368926 h 2031151"/>
                <a:gd name="connsiteX3653" fmla="*/ 3090549 w 3368309"/>
                <a:gd name="connsiteY3653" fmla="*/ 1368926 h 2031151"/>
                <a:gd name="connsiteX3654" fmla="*/ 3081427 w 3368309"/>
                <a:gd name="connsiteY3654" fmla="*/ 1364038 h 2031151"/>
                <a:gd name="connsiteX3655" fmla="*/ 3061715 w 3368309"/>
                <a:gd name="connsiteY3655" fmla="*/ 1328361 h 2031151"/>
                <a:gd name="connsiteX3656" fmla="*/ 3043632 w 3368309"/>
                <a:gd name="connsiteY3656" fmla="*/ 1307183 h 2031151"/>
                <a:gd name="connsiteX3657" fmla="*/ 3043306 w 3368309"/>
                <a:gd name="connsiteY3657" fmla="*/ 1299363 h 2031151"/>
                <a:gd name="connsiteX3658" fmla="*/ 3036790 w 3368309"/>
                <a:gd name="connsiteY3658" fmla="*/ 1292032 h 2031151"/>
                <a:gd name="connsiteX3659" fmla="*/ 3022617 w 3368309"/>
                <a:gd name="connsiteY3659" fmla="*/ 1269714 h 2031151"/>
                <a:gd name="connsiteX3660" fmla="*/ 3009095 w 3368309"/>
                <a:gd name="connsiteY3660" fmla="*/ 1242671 h 2031151"/>
                <a:gd name="connsiteX3661" fmla="*/ 2997854 w 3368309"/>
                <a:gd name="connsiteY3661" fmla="*/ 1217094 h 2031151"/>
                <a:gd name="connsiteX3662" fmla="*/ 2997854 w 3368309"/>
                <a:gd name="connsiteY3662" fmla="*/ 1208134 h 2031151"/>
                <a:gd name="connsiteX3663" fmla="*/ 2990849 w 3368309"/>
                <a:gd name="connsiteY3663" fmla="*/ 1196894 h 2031151"/>
                <a:gd name="connsiteX3664" fmla="*/ 2988568 w 3368309"/>
                <a:gd name="connsiteY3664" fmla="*/ 1179136 h 2031151"/>
                <a:gd name="connsiteX3665" fmla="*/ 2984333 w 3368309"/>
                <a:gd name="connsiteY3665" fmla="*/ 1170176 h 2031151"/>
                <a:gd name="connsiteX3666" fmla="*/ 2985473 w 3368309"/>
                <a:gd name="connsiteY3666" fmla="*/ 1159587 h 2031151"/>
                <a:gd name="connsiteX3667" fmla="*/ 2991175 w 3368309"/>
                <a:gd name="connsiteY3667" fmla="*/ 1152745 h 2031151"/>
                <a:gd name="connsiteX3668" fmla="*/ 2992478 w 3368309"/>
                <a:gd name="connsiteY3668" fmla="*/ 1143948 h 2031151"/>
                <a:gd name="connsiteX3669" fmla="*/ 2996551 w 3368309"/>
                <a:gd name="connsiteY3669" fmla="*/ 1142482 h 2031151"/>
                <a:gd name="connsiteX3670" fmla="*/ 2993618 w 3368309"/>
                <a:gd name="connsiteY3670" fmla="*/ 1139061 h 2031151"/>
                <a:gd name="connsiteX3671" fmla="*/ 2995736 w 3368309"/>
                <a:gd name="connsiteY3671" fmla="*/ 1135966 h 2031151"/>
                <a:gd name="connsiteX3672" fmla="*/ 2996388 w 3368309"/>
                <a:gd name="connsiteY3672" fmla="*/ 1123421 h 2031151"/>
                <a:gd name="connsiteX3673" fmla="*/ 2986776 w 3368309"/>
                <a:gd name="connsiteY3673" fmla="*/ 1110063 h 2031151"/>
                <a:gd name="connsiteX3674" fmla="*/ 2980260 w 3368309"/>
                <a:gd name="connsiteY3674" fmla="*/ 1110063 h 2031151"/>
                <a:gd name="connsiteX3675" fmla="*/ 2979934 w 3368309"/>
                <a:gd name="connsiteY3675" fmla="*/ 1106316 h 2031151"/>
                <a:gd name="connsiteX3676" fmla="*/ 2984984 w 3368309"/>
                <a:gd name="connsiteY3676" fmla="*/ 1101592 h 2031151"/>
                <a:gd name="connsiteX3677" fmla="*/ 2995085 w 3368309"/>
                <a:gd name="connsiteY3677" fmla="*/ 1106479 h 2031151"/>
                <a:gd name="connsiteX3678" fmla="*/ 3000624 w 3368309"/>
                <a:gd name="connsiteY3678" fmla="*/ 1100288 h 2031151"/>
                <a:gd name="connsiteX3679" fmla="*/ 2999320 w 3368309"/>
                <a:gd name="connsiteY3679" fmla="*/ 1096216 h 2031151"/>
                <a:gd name="connsiteX3680" fmla="*/ 2999320 w 3368309"/>
                <a:gd name="connsiteY3680" fmla="*/ 1086278 h 2031151"/>
                <a:gd name="connsiteX3681" fmla="*/ 3007954 w 3368309"/>
                <a:gd name="connsiteY3681" fmla="*/ 1085138 h 2031151"/>
                <a:gd name="connsiteX3682" fmla="*/ 3012842 w 3368309"/>
                <a:gd name="connsiteY3682" fmla="*/ 1086441 h 2031151"/>
                <a:gd name="connsiteX3683" fmla="*/ 3008606 w 3368309"/>
                <a:gd name="connsiteY3683" fmla="*/ 1080413 h 2031151"/>
                <a:gd name="connsiteX3684" fmla="*/ 3016589 w 3368309"/>
                <a:gd name="connsiteY3684" fmla="*/ 1065100 h 2031151"/>
                <a:gd name="connsiteX3685" fmla="*/ 3013331 w 3368309"/>
                <a:gd name="connsiteY3685" fmla="*/ 1055651 h 2031151"/>
                <a:gd name="connsiteX3686" fmla="*/ 3013331 w 3368309"/>
                <a:gd name="connsiteY3686" fmla="*/ 1045551 h 2031151"/>
                <a:gd name="connsiteX3687" fmla="*/ 3010398 w 3368309"/>
                <a:gd name="connsiteY3687" fmla="*/ 1040175 h 2031151"/>
                <a:gd name="connsiteX3688" fmla="*/ 3014634 w 3368309"/>
                <a:gd name="connsiteY3688" fmla="*/ 1035613 h 2031151"/>
                <a:gd name="connsiteX3689" fmla="*/ 3014634 w 3368309"/>
                <a:gd name="connsiteY3689" fmla="*/ 1029260 h 2031151"/>
                <a:gd name="connsiteX3690" fmla="*/ 3012842 w 3368309"/>
                <a:gd name="connsiteY3690" fmla="*/ 1026328 h 2031151"/>
                <a:gd name="connsiteX3691" fmla="*/ 3014471 w 3368309"/>
                <a:gd name="connsiteY3691" fmla="*/ 1017693 h 2031151"/>
                <a:gd name="connsiteX3692" fmla="*/ 3018381 w 3368309"/>
                <a:gd name="connsiteY3692" fmla="*/ 1017693 h 2031151"/>
                <a:gd name="connsiteX3693" fmla="*/ 3013656 w 3368309"/>
                <a:gd name="connsiteY3693" fmla="*/ 1013132 h 2031151"/>
                <a:gd name="connsiteX3694" fmla="*/ 3012679 w 3368309"/>
                <a:gd name="connsiteY3694" fmla="*/ 1009059 h 2031151"/>
                <a:gd name="connsiteX3695" fmla="*/ 3014308 w 3368309"/>
                <a:gd name="connsiteY3695" fmla="*/ 1006779 h 2031151"/>
                <a:gd name="connsiteX3696" fmla="*/ 3015611 w 3368309"/>
                <a:gd name="connsiteY3696" fmla="*/ 997004 h 2031151"/>
                <a:gd name="connsiteX3697" fmla="*/ 3013331 w 3368309"/>
                <a:gd name="connsiteY3697" fmla="*/ 995049 h 2031151"/>
                <a:gd name="connsiteX3698" fmla="*/ 3014145 w 3368309"/>
                <a:gd name="connsiteY3698" fmla="*/ 989999 h 2031151"/>
                <a:gd name="connsiteX3699" fmla="*/ 3020010 w 3368309"/>
                <a:gd name="connsiteY3699" fmla="*/ 987718 h 2031151"/>
                <a:gd name="connsiteX3700" fmla="*/ 3022454 w 3368309"/>
                <a:gd name="connsiteY3700" fmla="*/ 984134 h 2031151"/>
                <a:gd name="connsiteX3701" fmla="*/ 3020824 w 3368309"/>
                <a:gd name="connsiteY3701" fmla="*/ 975989 h 2031151"/>
                <a:gd name="connsiteX3702" fmla="*/ 3022617 w 3368309"/>
                <a:gd name="connsiteY3702" fmla="*/ 965074 h 2031151"/>
                <a:gd name="connsiteX3703" fmla="*/ 3019847 w 3368309"/>
                <a:gd name="connsiteY3703" fmla="*/ 963445 h 2031151"/>
                <a:gd name="connsiteX3704" fmla="*/ 3018870 w 3368309"/>
                <a:gd name="connsiteY3704" fmla="*/ 960187 h 2031151"/>
                <a:gd name="connsiteX3705" fmla="*/ 3023268 w 3368309"/>
                <a:gd name="connsiteY3705" fmla="*/ 952204 h 2031151"/>
                <a:gd name="connsiteX3706" fmla="*/ 3023594 w 3368309"/>
                <a:gd name="connsiteY3706" fmla="*/ 945199 h 2031151"/>
                <a:gd name="connsiteX3707" fmla="*/ 3019847 w 3368309"/>
                <a:gd name="connsiteY3707" fmla="*/ 946502 h 2031151"/>
                <a:gd name="connsiteX3708" fmla="*/ 3017892 w 3368309"/>
                <a:gd name="connsiteY3708" fmla="*/ 940149 h 2031151"/>
                <a:gd name="connsiteX3709" fmla="*/ 3020661 w 3368309"/>
                <a:gd name="connsiteY3709" fmla="*/ 936239 h 2031151"/>
                <a:gd name="connsiteX3710" fmla="*/ 3021313 w 3368309"/>
                <a:gd name="connsiteY3710" fmla="*/ 931352 h 2031151"/>
                <a:gd name="connsiteX3711" fmla="*/ 3025223 w 3368309"/>
                <a:gd name="connsiteY3711" fmla="*/ 929885 h 2031151"/>
                <a:gd name="connsiteX3712" fmla="*/ 3026200 w 3368309"/>
                <a:gd name="connsiteY3712" fmla="*/ 927442 h 2031151"/>
                <a:gd name="connsiteX3713" fmla="*/ 3032065 w 3368309"/>
                <a:gd name="connsiteY3713" fmla="*/ 923858 h 2031151"/>
                <a:gd name="connsiteX3714" fmla="*/ 3032717 w 3368309"/>
                <a:gd name="connsiteY3714" fmla="*/ 918970 h 2031151"/>
                <a:gd name="connsiteX3715" fmla="*/ 3039070 w 3368309"/>
                <a:gd name="connsiteY3715" fmla="*/ 912943 h 2031151"/>
                <a:gd name="connsiteX3716" fmla="*/ 3040699 w 3368309"/>
                <a:gd name="connsiteY3716" fmla="*/ 912943 h 2031151"/>
                <a:gd name="connsiteX3717" fmla="*/ 3045586 w 3368309"/>
                <a:gd name="connsiteY3717" fmla="*/ 909359 h 2031151"/>
                <a:gd name="connsiteX3718" fmla="*/ 3048519 w 3368309"/>
                <a:gd name="connsiteY3718" fmla="*/ 909359 h 2031151"/>
                <a:gd name="connsiteX3719" fmla="*/ 3049497 w 3368309"/>
                <a:gd name="connsiteY3719" fmla="*/ 906101 h 2031151"/>
                <a:gd name="connsiteX3720" fmla="*/ 3048193 w 3368309"/>
                <a:gd name="connsiteY3720" fmla="*/ 904146 h 2031151"/>
                <a:gd name="connsiteX3721" fmla="*/ 3043306 w 3368309"/>
                <a:gd name="connsiteY3721" fmla="*/ 903494 h 2031151"/>
                <a:gd name="connsiteX3722" fmla="*/ 3040048 w 3368309"/>
                <a:gd name="connsiteY3722" fmla="*/ 905612 h 2031151"/>
                <a:gd name="connsiteX3723" fmla="*/ 3036138 w 3368309"/>
                <a:gd name="connsiteY3723" fmla="*/ 902680 h 2031151"/>
                <a:gd name="connsiteX3724" fmla="*/ 3036138 w 3368309"/>
                <a:gd name="connsiteY3724" fmla="*/ 892905 h 2031151"/>
                <a:gd name="connsiteX3725" fmla="*/ 3039396 w 3368309"/>
                <a:gd name="connsiteY3725" fmla="*/ 885248 h 2031151"/>
                <a:gd name="connsiteX3726" fmla="*/ 3037441 w 3368309"/>
                <a:gd name="connsiteY3726" fmla="*/ 881990 h 2031151"/>
                <a:gd name="connsiteX3727" fmla="*/ 3034509 w 3368309"/>
                <a:gd name="connsiteY3727" fmla="*/ 876777 h 2031151"/>
                <a:gd name="connsiteX3728" fmla="*/ 3032717 w 3368309"/>
                <a:gd name="connsiteY3728" fmla="*/ 876451 h 2031151"/>
                <a:gd name="connsiteX3729" fmla="*/ 3030925 w 3368309"/>
                <a:gd name="connsiteY3729" fmla="*/ 879872 h 2031151"/>
                <a:gd name="connsiteX3730" fmla="*/ 3029133 w 3368309"/>
                <a:gd name="connsiteY3730" fmla="*/ 879221 h 2031151"/>
                <a:gd name="connsiteX3731" fmla="*/ 3027992 w 3368309"/>
                <a:gd name="connsiteY3731" fmla="*/ 867002 h 2031151"/>
                <a:gd name="connsiteX3732" fmla="*/ 3030110 w 3368309"/>
                <a:gd name="connsiteY3732" fmla="*/ 864396 h 2031151"/>
                <a:gd name="connsiteX3733" fmla="*/ 3030110 w 3368309"/>
                <a:gd name="connsiteY3733" fmla="*/ 861464 h 2031151"/>
                <a:gd name="connsiteX3734" fmla="*/ 3028807 w 3368309"/>
                <a:gd name="connsiteY3734" fmla="*/ 855436 h 2031151"/>
                <a:gd name="connsiteX3735" fmla="*/ 3023431 w 3368309"/>
                <a:gd name="connsiteY3735" fmla="*/ 853155 h 2031151"/>
                <a:gd name="connsiteX3736" fmla="*/ 3024734 w 3368309"/>
                <a:gd name="connsiteY3736" fmla="*/ 851037 h 2031151"/>
                <a:gd name="connsiteX3737" fmla="*/ 3024083 w 3368309"/>
                <a:gd name="connsiteY3737" fmla="*/ 850386 h 2031151"/>
                <a:gd name="connsiteX3738" fmla="*/ 3023757 w 3368309"/>
                <a:gd name="connsiteY3738" fmla="*/ 847616 h 2031151"/>
                <a:gd name="connsiteX3739" fmla="*/ 3018055 w 3368309"/>
                <a:gd name="connsiteY3739" fmla="*/ 841100 h 2031151"/>
                <a:gd name="connsiteX3740" fmla="*/ 3017240 w 3368309"/>
                <a:gd name="connsiteY3740" fmla="*/ 837190 h 2031151"/>
                <a:gd name="connsiteX3741" fmla="*/ 3013982 w 3368309"/>
                <a:gd name="connsiteY3741" fmla="*/ 834258 h 2031151"/>
                <a:gd name="connsiteX3742" fmla="*/ 3013656 w 3368309"/>
                <a:gd name="connsiteY3742" fmla="*/ 828882 h 2031151"/>
                <a:gd name="connsiteX3743" fmla="*/ 3010887 w 3368309"/>
                <a:gd name="connsiteY3743" fmla="*/ 822528 h 2031151"/>
                <a:gd name="connsiteX3744" fmla="*/ 3011538 w 3368309"/>
                <a:gd name="connsiteY3744" fmla="*/ 818618 h 2031151"/>
                <a:gd name="connsiteX3745" fmla="*/ 3018381 w 3368309"/>
                <a:gd name="connsiteY3745" fmla="*/ 811450 h 2031151"/>
                <a:gd name="connsiteX3746" fmla="*/ 3024245 w 3368309"/>
                <a:gd name="connsiteY3746" fmla="*/ 812754 h 2031151"/>
                <a:gd name="connsiteX3747" fmla="*/ 3029459 w 3368309"/>
                <a:gd name="connsiteY3747" fmla="*/ 810962 h 2031151"/>
                <a:gd name="connsiteX3748" fmla="*/ 3026200 w 3368309"/>
                <a:gd name="connsiteY3748" fmla="*/ 808518 h 2031151"/>
                <a:gd name="connsiteX3749" fmla="*/ 3032717 w 3368309"/>
                <a:gd name="connsiteY3749" fmla="*/ 804771 h 2031151"/>
                <a:gd name="connsiteX3750" fmla="*/ 3029622 w 3368309"/>
                <a:gd name="connsiteY3750" fmla="*/ 805586 h 2031151"/>
                <a:gd name="connsiteX3751" fmla="*/ 3024408 w 3368309"/>
                <a:gd name="connsiteY3751" fmla="*/ 804934 h 2031151"/>
                <a:gd name="connsiteX3752" fmla="*/ 3021639 w 3368309"/>
                <a:gd name="connsiteY3752" fmla="*/ 803631 h 2031151"/>
                <a:gd name="connsiteX3753" fmla="*/ 3014634 w 3368309"/>
                <a:gd name="connsiteY3753" fmla="*/ 803957 h 2031151"/>
                <a:gd name="connsiteX3754" fmla="*/ 3007140 w 3368309"/>
                <a:gd name="connsiteY3754" fmla="*/ 797929 h 2031151"/>
                <a:gd name="connsiteX3755" fmla="*/ 3005185 w 3368309"/>
                <a:gd name="connsiteY3755" fmla="*/ 799721 h 2031151"/>
                <a:gd name="connsiteX3756" fmla="*/ 2998669 w 3368309"/>
                <a:gd name="connsiteY3756" fmla="*/ 799395 h 2031151"/>
                <a:gd name="connsiteX3757" fmla="*/ 2994108 w 3368309"/>
                <a:gd name="connsiteY3757" fmla="*/ 804771 h 2031151"/>
                <a:gd name="connsiteX3758" fmla="*/ 2988731 w 3368309"/>
                <a:gd name="connsiteY3758" fmla="*/ 805097 h 2031151"/>
                <a:gd name="connsiteX3759" fmla="*/ 2982052 w 3368309"/>
                <a:gd name="connsiteY3759" fmla="*/ 811450 h 2031151"/>
                <a:gd name="connsiteX3760" fmla="*/ 2984333 w 3368309"/>
                <a:gd name="connsiteY3760" fmla="*/ 814057 h 2031151"/>
                <a:gd name="connsiteX3761" fmla="*/ 2983681 w 3368309"/>
                <a:gd name="connsiteY3761" fmla="*/ 818293 h 2031151"/>
                <a:gd name="connsiteX3762" fmla="*/ 2989383 w 3368309"/>
                <a:gd name="connsiteY3762" fmla="*/ 822854 h 2031151"/>
                <a:gd name="connsiteX3763" fmla="*/ 2990524 w 3368309"/>
                <a:gd name="connsiteY3763" fmla="*/ 828230 h 2031151"/>
                <a:gd name="connsiteX3764" fmla="*/ 2988568 w 3368309"/>
                <a:gd name="connsiteY3764" fmla="*/ 830348 h 2031151"/>
                <a:gd name="connsiteX3765" fmla="*/ 2990197 w 3368309"/>
                <a:gd name="connsiteY3765" fmla="*/ 837842 h 2031151"/>
                <a:gd name="connsiteX3766" fmla="*/ 2995085 w 3368309"/>
                <a:gd name="connsiteY3766" fmla="*/ 841589 h 2031151"/>
                <a:gd name="connsiteX3767" fmla="*/ 2995411 w 3368309"/>
                <a:gd name="connsiteY3767" fmla="*/ 844358 h 2031151"/>
                <a:gd name="connsiteX3768" fmla="*/ 2998832 w 3368309"/>
                <a:gd name="connsiteY3768" fmla="*/ 846313 h 2031151"/>
                <a:gd name="connsiteX3769" fmla="*/ 3001438 w 3368309"/>
                <a:gd name="connsiteY3769" fmla="*/ 856902 h 2031151"/>
                <a:gd name="connsiteX3770" fmla="*/ 3008932 w 3368309"/>
                <a:gd name="connsiteY3770" fmla="*/ 860486 h 2031151"/>
                <a:gd name="connsiteX3771" fmla="*/ 3007954 w 3368309"/>
                <a:gd name="connsiteY3771" fmla="*/ 865862 h 2031151"/>
                <a:gd name="connsiteX3772" fmla="*/ 3011213 w 3368309"/>
                <a:gd name="connsiteY3772" fmla="*/ 869446 h 2031151"/>
                <a:gd name="connsiteX3773" fmla="*/ 3009258 w 3368309"/>
                <a:gd name="connsiteY3773" fmla="*/ 872541 h 2031151"/>
                <a:gd name="connsiteX3774" fmla="*/ 3005348 w 3368309"/>
                <a:gd name="connsiteY3774" fmla="*/ 869283 h 2031151"/>
                <a:gd name="connsiteX3775" fmla="*/ 3003556 w 3368309"/>
                <a:gd name="connsiteY3775" fmla="*/ 865210 h 2031151"/>
                <a:gd name="connsiteX3776" fmla="*/ 2996551 w 3368309"/>
                <a:gd name="connsiteY3776" fmla="*/ 866840 h 2031151"/>
                <a:gd name="connsiteX3777" fmla="*/ 2992641 w 3368309"/>
                <a:gd name="connsiteY3777" fmla="*/ 869772 h 2031151"/>
                <a:gd name="connsiteX3778" fmla="*/ 2989872 w 3368309"/>
                <a:gd name="connsiteY3778" fmla="*/ 877429 h 2031151"/>
                <a:gd name="connsiteX3779" fmla="*/ 2992967 w 3368309"/>
                <a:gd name="connsiteY3779" fmla="*/ 880524 h 2031151"/>
                <a:gd name="connsiteX3780" fmla="*/ 2991664 w 3368309"/>
                <a:gd name="connsiteY3780" fmla="*/ 888181 h 2031151"/>
                <a:gd name="connsiteX3781" fmla="*/ 2989872 w 3368309"/>
                <a:gd name="connsiteY3781" fmla="*/ 889484 h 2031151"/>
                <a:gd name="connsiteX3782" fmla="*/ 2989872 w 3368309"/>
                <a:gd name="connsiteY3782" fmla="*/ 891276 h 2031151"/>
                <a:gd name="connsiteX3783" fmla="*/ 2991501 w 3368309"/>
                <a:gd name="connsiteY3783" fmla="*/ 892579 h 2031151"/>
                <a:gd name="connsiteX3784" fmla="*/ 2991175 w 3368309"/>
                <a:gd name="connsiteY3784" fmla="*/ 896652 h 2031151"/>
                <a:gd name="connsiteX3785" fmla="*/ 2986940 w 3368309"/>
                <a:gd name="connsiteY3785" fmla="*/ 900725 h 2031151"/>
                <a:gd name="connsiteX3786" fmla="*/ 2990524 w 3368309"/>
                <a:gd name="connsiteY3786" fmla="*/ 903983 h 2031151"/>
                <a:gd name="connsiteX3787" fmla="*/ 2987102 w 3368309"/>
                <a:gd name="connsiteY3787" fmla="*/ 907567 h 2031151"/>
                <a:gd name="connsiteX3788" fmla="*/ 2986776 w 3368309"/>
                <a:gd name="connsiteY3788" fmla="*/ 920437 h 2031151"/>
                <a:gd name="connsiteX3789" fmla="*/ 2984822 w 3368309"/>
                <a:gd name="connsiteY3789" fmla="*/ 923532 h 2031151"/>
                <a:gd name="connsiteX3790" fmla="*/ 2984822 w 3368309"/>
                <a:gd name="connsiteY3790" fmla="*/ 926627 h 2031151"/>
                <a:gd name="connsiteX3791" fmla="*/ 2981075 w 3368309"/>
                <a:gd name="connsiteY3791" fmla="*/ 928908 h 2031151"/>
                <a:gd name="connsiteX3792" fmla="*/ 2977979 w 3368309"/>
                <a:gd name="connsiteY3792" fmla="*/ 936565 h 2031151"/>
                <a:gd name="connsiteX3793" fmla="*/ 2976350 w 3368309"/>
                <a:gd name="connsiteY3793" fmla="*/ 930863 h 2031151"/>
                <a:gd name="connsiteX3794" fmla="*/ 2971789 w 3368309"/>
                <a:gd name="connsiteY3794" fmla="*/ 926790 h 2031151"/>
                <a:gd name="connsiteX3795" fmla="*/ 2976024 w 3368309"/>
                <a:gd name="connsiteY3795" fmla="*/ 919296 h 2031151"/>
                <a:gd name="connsiteX3796" fmla="*/ 2973744 w 3368309"/>
                <a:gd name="connsiteY3796" fmla="*/ 916527 h 2031151"/>
                <a:gd name="connsiteX3797" fmla="*/ 2970322 w 3368309"/>
                <a:gd name="connsiteY3797" fmla="*/ 916201 h 2031151"/>
                <a:gd name="connsiteX3798" fmla="*/ 2965761 w 3368309"/>
                <a:gd name="connsiteY3798" fmla="*/ 920274 h 2031151"/>
                <a:gd name="connsiteX3799" fmla="*/ 2965761 w 3368309"/>
                <a:gd name="connsiteY3799" fmla="*/ 924184 h 2031151"/>
                <a:gd name="connsiteX3800" fmla="*/ 2962992 w 3368309"/>
                <a:gd name="connsiteY3800" fmla="*/ 926139 h 2031151"/>
                <a:gd name="connsiteX3801" fmla="*/ 2962177 w 3368309"/>
                <a:gd name="connsiteY3801" fmla="*/ 917016 h 2031151"/>
                <a:gd name="connsiteX3802" fmla="*/ 2957127 w 3368309"/>
                <a:gd name="connsiteY3802" fmla="*/ 915712 h 2031151"/>
                <a:gd name="connsiteX3803" fmla="*/ 2955335 w 3368309"/>
                <a:gd name="connsiteY3803" fmla="*/ 912128 h 2031151"/>
                <a:gd name="connsiteX3804" fmla="*/ 2950936 w 3368309"/>
                <a:gd name="connsiteY3804" fmla="*/ 916201 h 2031151"/>
                <a:gd name="connsiteX3805" fmla="*/ 2949308 w 3368309"/>
                <a:gd name="connsiteY3805" fmla="*/ 913757 h 2031151"/>
                <a:gd name="connsiteX3806" fmla="*/ 2950774 w 3368309"/>
                <a:gd name="connsiteY3806" fmla="*/ 911803 h 2031151"/>
                <a:gd name="connsiteX3807" fmla="*/ 2953054 w 3368309"/>
                <a:gd name="connsiteY3807" fmla="*/ 908544 h 2031151"/>
                <a:gd name="connsiteX3808" fmla="*/ 2951588 w 3368309"/>
                <a:gd name="connsiteY3808" fmla="*/ 906426 h 2031151"/>
                <a:gd name="connsiteX3809" fmla="*/ 2951588 w 3368309"/>
                <a:gd name="connsiteY3809" fmla="*/ 902517 h 2031151"/>
                <a:gd name="connsiteX3810" fmla="*/ 2953054 w 3368309"/>
                <a:gd name="connsiteY3810" fmla="*/ 902191 h 2031151"/>
                <a:gd name="connsiteX3811" fmla="*/ 2951588 w 3368309"/>
                <a:gd name="connsiteY3811" fmla="*/ 896815 h 2031151"/>
                <a:gd name="connsiteX3812" fmla="*/ 2949308 w 3368309"/>
                <a:gd name="connsiteY3812" fmla="*/ 895349 h 2031151"/>
                <a:gd name="connsiteX3813" fmla="*/ 2952728 w 3368309"/>
                <a:gd name="connsiteY3813" fmla="*/ 891602 h 2031151"/>
                <a:gd name="connsiteX3814" fmla="*/ 2951099 w 3368309"/>
                <a:gd name="connsiteY3814" fmla="*/ 887040 h 2031151"/>
                <a:gd name="connsiteX3815" fmla="*/ 2948818 w 3368309"/>
                <a:gd name="connsiteY3815" fmla="*/ 884434 h 2031151"/>
                <a:gd name="connsiteX3816" fmla="*/ 2950285 w 3368309"/>
                <a:gd name="connsiteY3816" fmla="*/ 882153 h 2031151"/>
                <a:gd name="connsiteX3817" fmla="*/ 2949959 w 3368309"/>
                <a:gd name="connsiteY3817" fmla="*/ 875962 h 2031151"/>
                <a:gd name="connsiteX3818" fmla="*/ 2944583 w 3368309"/>
                <a:gd name="connsiteY3818" fmla="*/ 872216 h 2031151"/>
                <a:gd name="connsiteX3819" fmla="*/ 2943117 w 3368309"/>
                <a:gd name="connsiteY3819" fmla="*/ 867980 h 2031151"/>
                <a:gd name="connsiteX3820" fmla="*/ 2940836 w 3368309"/>
                <a:gd name="connsiteY3820" fmla="*/ 868306 h 2031151"/>
                <a:gd name="connsiteX3821" fmla="*/ 2939859 w 3368309"/>
                <a:gd name="connsiteY3821" fmla="*/ 874496 h 2031151"/>
                <a:gd name="connsiteX3822" fmla="*/ 2936438 w 3368309"/>
                <a:gd name="connsiteY3822" fmla="*/ 875474 h 2031151"/>
                <a:gd name="connsiteX3823" fmla="*/ 2936926 w 3368309"/>
                <a:gd name="connsiteY3823" fmla="*/ 881827 h 2031151"/>
                <a:gd name="connsiteX3824" fmla="*/ 2932690 w 3368309"/>
                <a:gd name="connsiteY3824" fmla="*/ 887203 h 2031151"/>
                <a:gd name="connsiteX3825" fmla="*/ 2930736 w 3368309"/>
                <a:gd name="connsiteY3825" fmla="*/ 887203 h 2031151"/>
                <a:gd name="connsiteX3826" fmla="*/ 2927803 w 3368309"/>
                <a:gd name="connsiteY3826" fmla="*/ 880850 h 2031151"/>
                <a:gd name="connsiteX3827" fmla="*/ 2925849 w 3368309"/>
                <a:gd name="connsiteY3827" fmla="*/ 880361 h 2031151"/>
                <a:gd name="connsiteX3828" fmla="*/ 2923568 w 3368309"/>
                <a:gd name="connsiteY3828" fmla="*/ 881990 h 2031151"/>
                <a:gd name="connsiteX3829" fmla="*/ 2922590 w 3368309"/>
                <a:gd name="connsiteY3829" fmla="*/ 877103 h 2031151"/>
                <a:gd name="connsiteX3830" fmla="*/ 2916563 w 3368309"/>
                <a:gd name="connsiteY3830" fmla="*/ 877103 h 2031151"/>
                <a:gd name="connsiteX3831" fmla="*/ 2914770 w 3368309"/>
                <a:gd name="connsiteY3831" fmla="*/ 878895 h 2031151"/>
                <a:gd name="connsiteX3832" fmla="*/ 2912490 w 3368309"/>
                <a:gd name="connsiteY3832" fmla="*/ 878895 h 2031151"/>
                <a:gd name="connsiteX3833" fmla="*/ 2911512 w 3368309"/>
                <a:gd name="connsiteY3833" fmla="*/ 883782 h 2031151"/>
                <a:gd name="connsiteX3834" fmla="*/ 2907602 w 3368309"/>
                <a:gd name="connsiteY3834" fmla="*/ 884760 h 2031151"/>
                <a:gd name="connsiteX3835" fmla="*/ 2906951 w 3368309"/>
                <a:gd name="connsiteY3835" fmla="*/ 887203 h 2031151"/>
                <a:gd name="connsiteX3836" fmla="*/ 2897665 w 3368309"/>
                <a:gd name="connsiteY3836" fmla="*/ 887692 h 2031151"/>
                <a:gd name="connsiteX3837" fmla="*/ 2894895 w 3368309"/>
                <a:gd name="connsiteY3837" fmla="*/ 891602 h 2031151"/>
                <a:gd name="connsiteX3838" fmla="*/ 2891311 w 3368309"/>
                <a:gd name="connsiteY3838" fmla="*/ 890299 h 2031151"/>
                <a:gd name="connsiteX3839" fmla="*/ 2888379 w 3368309"/>
                <a:gd name="connsiteY3839" fmla="*/ 892579 h 2031151"/>
                <a:gd name="connsiteX3840" fmla="*/ 2882352 w 3368309"/>
                <a:gd name="connsiteY3840" fmla="*/ 891765 h 2031151"/>
                <a:gd name="connsiteX3841" fmla="*/ 2876813 w 3368309"/>
                <a:gd name="connsiteY3841" fmla="*/ 900888 h 2031151"/>
                <a:gd name="connsiteX3842" fmla="*/ 2873554 w 3368309"/>
                <a:gd name="connsiteY3842" fmla="*/ 902680 h 2031151"/>
                <a:gd name="connsiteX3843" fmla="*/ 2874206 w 3368309"/>
                <a:gd name="connsiteY3843" fmla="*/ 909685 h 2031151"/>
                <a:gd name="connsiteX3844" fmla="*/ 2869645 w 3368309"/>
                <a:gd name="connsiteY3844" fmla="*/ 913106 h 2031151"/>
                <a:gd name="connsiteX3845" fmla="*/ 2869319 w 3368309"/>
                <a:gd name="connsiteY3845" fmla="*/ 915549 h 2031151"/>
                <a:gd name="connsiteX3846" fmla="*/ 2872740 w 3368309"/>
                <a:gd name="connsiteY3846" fmla="*/ 917993 h 2031151"/>
                <a:gd name="connsiteX3847" fmla="*/ 2873717 w 3368309"/>
                <a:gd name="connsiteY3847" fmla="*/ 924672 h 2031151"/>
                <a:gd name="connsiteX3848" fmla="*/ 2878931 w 3368309"/>
                <a:gd name="connsiteY3848" fmla="*/ 931840 h 2031151"/>
                <a:gd name="connsiteX3849" fmla="*/ 2874858 w 3368309"/>
                <a:gd name="connsiteY3849" fmla="*/ 935424 h 2031151"/>
                <a:gd name="connsiteX3850" fmla="*/ 2872251 w 3368309"/>
                <a:gd name="connsiteY3850" fmla="*/ 953344 h 2031151"/>
                <a:gd name="connsiteX3851" fmla="*/ 2878605 w 3368309"/>
                <a:gd name="connsiteY3851" fmla="*/ 960512 h 2031151"/>
                <a:gd name="connsiteX3852" fmla="*/ 2873392 w 3368309"/>
                <a:gd name="connsiteY3852" fmla="*/ 962467 h 2031151"/>
                <a:gd name="connsiteX3853" fmla="*/ 2874858 w 3368309"/>
                <a:gd name="connsiteY3853" fmla="*/ 963282 h 2031151"/>
                <a:gd name="connsiteX3854" fmla="*/ 2874858 w 3368309"/>
                <a:gd name="connsiteY3854" fmla="*/ 968984 h 2031151"/>
                <a:gd name="connsiteX3855" fmla="*/ 2869970 w 3368309"/>
                <a:gd name="connsiteY3855" fmla="*/ 974197 h 2031151"/>
                <a:gd name="connsiteX3856" fmla="*/ 2869482 w 3368309"/>
                <a:gd name="connsiteY3856" fmla="*/ 982016 h 2031151"/>
                <a:gd name="connsiteX3857" fmla="*/ 2865735 w 3368309"/>
                <a:gd name="connsiteY3857" fmla="*/ 986578 h 2031151"/>
                <a:gd name="connsiteX3858" fmla="*/ 2865735 w 3368309"/>
                <a:gd name="connsiteY3858" fmla="*/ 992280 h 2031151"/>
                <a:gd name="connsiteX3859" fmla="*/ 2863128 w 3368309"/>
                <a:gd name="connsiteY3859" fmla="*/ 1001077 h 2031151"/>
                <a:gd name="connsiteX3860" fmla="*/ 2867853 w 3368309"/>
                <a:gd name="connsiteY3860" fmla="*/ 1007593 h 2031151"/>
                <a:gd name="connsiteX3861" fmla="*/ 2863780 w 3368309"/>
                <a:gd name="connsiteY3861" fmla="*/ 1010851 h 2031151"/>
                <a:gd name="connsiteX3862" fmla="*/ 2870622 w 3368309"/>
                <a:gd name="connsiteY3862" fmla="*/ 1020137 h 2031151"/>
                <a:gd name="connsiteX3863" fmla="*/ 2868179 w 3368309"/>
                <a:gd name="connsiteY3863" fmla="*/ 1021440 h 2031151"/>
                <a:gd name="connsiteX3864" fmla="*/ 2866875 w 3368309"/>
                <a:gd name="connsiteY3864" fmla="*/ 1025839 h 2031151"/>
                <a:gd name="connsiteX3865" fmla="*/ 2870948 w 3368309"/>
                <a:gd name="connsiteY3865" fmla="*/ 1028120 h 2031151"/>
                <a:gd name="connsiteX3866" fmla="*/ 2872903 w 3368309"/>
                <a:gd name="connsiteY3866" fmla="*/ 1026328 h 2031151"/>
                <a:gd name="connsiteX3867" fmla="*/ 2877790 w 3368309"/>
                <a:gd name="connsiteY3867" fmla="*/ 1026328 h 2031151"/>
                <a:gd name="connsiteX3868" fmla="*/ 2877301 w 3368309"/>
                <a:gd name="connsiteY3868" fmla="*/ 1023884 h 2031151"/>
                <a:gd name="connsiteX3869" fmla="*/ 2878605 w 3368309"/>
                <a:gd name="connsiteY3869" fmla="*/ 1023069 h 2031151"/>
                <a:gd name="connsiteX3870" fmla="*/ 2883166 w 3368309"/>
                <a:gd name="connsiteY3870" fmla="*/ 1025513 h 2031151"/>
                <a:gd name="connsiteX3871" fmla="*/ 2886099 w 3368309"/>
                <a:gd name="connsiteY3871" fmla="*/ 1025513 h 2031151"/>
                <a:gd name="connsiteX3872" fmla="*/ 2885773 w 3368309"/>
                <a:gd name="connsiteY3872" fmla="*/ 1023395 h 2031151"/>
                <a:gd name="connsiteX3873" fmla="*/ 2886424 w 3368309"/>
                <a:gd name="connsiteY3873" fmla="*/ 1022255 h 2031151"/>
                <a:gd name="connsiteX3874" fmla="*/ 2889357 w 3368309"/>
                <a:gd name="connsiteY3874" fmla="*/ 1024210 h 2031151"/>
                <a:gd name="connsiteX3875" fmla="*/ 2894570 w 3368309"/>
                <a:gd name="connsiteY3875" fmla="*/ 1026328 h 2031151"/>
                <a:gd name="connsiteX3876" fmla="*/ 2894895 w 3368309"/>
                <a:gd name="connsiteY3876" fmla="*/ 1029097 h 2031151"/>
                <a:gd name="connsiteX3877" fmla="*/ 2893918 w 3368309"/>
                <a:gd name="connsiteY3877" fmla="*/ 1030889 h 2031151"/>
                <a:gd name="connsiteX3878" fmla="*/ 2898317 w 3368309"/>
                <a:gd name="connsiteY3878" fmla="*/ 1035776 h 2031151"/>
                <a:gd name="connsiteX3879" fmla="*/ 2897339 w 3368309"/>
                <a:gd name="connsiteY3879" fmla="*/ 1038220 h 2031151"/>
                <a:gd name="connsiteX3880" fmla="*/ 2893918 w 3368309"/>
                <a:gd name="connsiteY3880" fmla="*/ 1037568 h 2031151"/>
                <a:gd name="connsiteX3881" fmla="*/ 2890660 w 3368309"/>
                <a:gd name="connsiteY3881" fmla="*/ 1039686 h 2031151"/>
                <a:gd name="connsiteX3882" fmla="*/ 2887076 w 3368309"/>
                <a:gd name="connsiteY3882" fmla="*/ 1038220 h 2031151"/>
                <a:gd name="connsiteX3883" fmla="*/ 2883166 w 3368309"/>
                <a:gd name="connsiteY3883" fmla="*/ 1040664 h 2031151"/>
                <a:gd name="connsiteX3884" fmla="*/ 2882515 w 3368309"/>
                <a:gd name="connsiteY3884" fmla="*/ 1042293 h 2031151"/>
                <a:gd name="connsiteX3885" fmla="*/ 2885773 w 3368309"/>
                <a:gd name="connsiteY3885" fmla="*/ 1045062 h 2031151"/>
                <a:gd name="connsiteX3886" fmla="*/ 2879093 w 3368309"/>
                <a:gd name="connsiteY3886" fmla="*/ 1051579 h 2031151"/>
                <a:gd name="connsiteX3887" fmla="*/ 2875672 w 3368309"/>
                <a:gd name="connsiteY3887" fmla="*/ 1049787 h 2031151"/>
                <a:gd name="connsiteX3888" fmla="*/ 2875021 w 3368309"/>
                <a:gd name="connsiteY3888" fmla="*/ 1045877 h 2031151"/>
                <a:gd name="connsiteX3889" fmla="*/ 2872251 w 3368309"/>
                <a:gd name="connsiteY3889" fmla="*/ 1043433 h 2031151"/>
                <a:gd name="connsiteX3890" fmla="*/ 2868667 w 3368309"/>
                <a:gd name="connsiteY3890" fmla="*/ 1045551 h 2031151"/>
                <a:gd name="connsiteX3891" fmla="*/ 2865735 w 3368309"/>
                <a:gd name="connsiteY3891" fmla="*/ 1043270 h 2031151"/>
                <a:gd name="connsiteX3892" fmla="*/ 2862314 w 3368309"/>
                <a:gd name="connsiteY3892" fmla="*/ 1044573 h 2031151"/>
                <a:gd name="connsiteX3893" fmla="*/ 2863128 w 3368309"/>
                <a:gd name="connsiteY3893" fmla="*/ 1047995 h 2031151"/>
                <a:gd name="connsiteX3894" fmla="*/ 2862802 w 3368309"/>
                <a:gd name="connsiteY3894" fmla="*/ 1052393 h 2031151"/>
                <a:gd name="connsiteX3895" fmla="*/ 2861336 w 3368309"/>
                <a:gd name="connsiteY3895" fmla="*/ 1052393 h 2031151"/>
                <a:gd name="connsiteX3896" fmla="*/ 2858893 w 3368309"/>
                <a:gd name="connsiteY3896" fmla="*/ 1055814 h 2031151"/>
                <a:gd name="connsiteX3897" fmla="*/ 2855472 w 3368309"/>
                <a:gd name="connsiteY3897" fmla="*/ 1058258 h 2031151"/>
                <a:gd name="connsiteX3898" fmla="*/ 2857752 w 3368309"/>
                <a:gd name="connsiteY3898" fmla="*/ 1060539 h 2031151"/>
                <a:gd name="connsiteX3899" fmla="*/ 2855472 w 3368309"/>
                <a:gd name="connsiteY3899" fmla="*/ 1063797 h 2031151"/>
                <a:gd name="connsiteX3900" fmla="*/ 2851725 w 3368309"/>
                <a:gd name="connsiteY3900" fmla="*/ 1063145 h 2031151"/>
                <a:gd name="connsiteX3901" fmla="*/ 2845371 w 3368309"/>
                <a:gd name="connsiteY3901" fmla="*/ 1056629 h 2031151"/>
                <a:gd name="connsiteX3902" fmla="*/ 2842276 w 3368309"/>
                <a:gd name="connsiteY3902" fmla="*/ 1056629 h 2031151"/>
                <a:gd name="connsiteX3903" fmla="*/ 2846186 w 3368309"/>
                <a:gd name="connsiteY3903" fmla="*/ 1062005 h 2031151"/>
                <a:gd name="connsiteX3904" fmla="*/ 2840973 w 3368309"/>
                <a:gd name="connsiteY3904" fmla="*/ 1064448 h 2031151"/>
                <a:gd name="connsiteX3905" fmla="*/ 2842113 w 3368309"/>
                <a:gd name="connsiteY3905" fmla="*/ 1066403 h 2031151"/>
                <a:gd name="connsiteX3906" fmla="*/ 2838855 w 3368309"/>
                <a:gd name="connsiteY3906" fmla="*/ 1070639 h 2031151"/>
                <a:gd name="connsiteX3907" fmla="*/ 2831035 w 3368309"/>
                <a:gd name="connsiteY3907" fmla="*/ 1072920 h 2031151"/>
                <a:gd name="connsiteX3908" fmla="*/ 2828917 w 3368309"/>
                <a:gd name="connsiteY3908" fmla="*/ 1075363 h 2031151"/>
                <a:gd name="connsiteX3909" fmla="*/ 2822075 w 3368309"/>
                <a:gd name="connsiteY3909" fmla="*/ 1066078 h 2031151"/>
                <a:gd name="connsiteX3910" fmla="*/ 2818002 w 3368309"/>
                <a:gd name="connsiteY3910" fmla="*/ 1066078 h 2031151"/>
                <a:gd name="connsiteX3911" fmla="*/ 2815885 w 3368309"/>
                <a:gd name="connsiteY3911" fmla="*/ 1064774 h 2031151"/>
                <a:gd name="connsiteX3912" fmla="*/ 2817188 w 3368309"/>
                <a:gd name="connsiteY3912" fmla="*/ 1062331 h 2031151"/>
                <a:gd name="connsiteX3913" fmla="*/ 2821424 w 3368309"/>
                <a:gd name="connsiteY3913" fmla="*/ 1062331 h 2031151"/>
                <a:gd name="connsiteX3914" fmla="*/ 2820772 w 3368309"/>
                <a:gd name="connsiteY3914" fmla="*/ 1057117 h 2031151"/>
                <a:gd name="connsiteX3915" fmla="*/ 2822727 w 3368309"/>
                <a:gd name="connsiteY3915" fmla="*/ 1054348 h 2031151"/>
                <a:gd name="connsiteX3916" fmla="*/ 2830709 w 3368309"/>
                <a:gd name="connsiteY3916" fmla="*/ 1054348 h 2031151"/>
                <a:gd name="connsiteX3917" fmla="*/ 2839670 w 3368309"/>
                <a:gd name="connsiteY3917" fmla="*/ 1047832 h 2031151"/>
                <a:gd name="connsiteX3918" fmla="*/ 2838529 w 3368309"/>
                <a:gd name="connsiteY3918" fmla="*/ 1044736 h 2031151"/>
                <a:gd name="connsiteX3919" fmla="*/ 2834456 w 3368309"/>
                <a:gd name="connsiteY3919" fmla="*/ 1043922 h 2031151"/>
                <a:gd name="connsiteX3920" fmla="*/ 2830058 w 3368309"/>
                <a:gd name="connsiteY3920" fmla="*/ 1048158 h 2031151"/>
                <a:gd name="connsiteX3921" fmla="*/ 2823704 w 3368309"/>
                <a:gd name="connsiteY3921" fmla="*/ 1047017 h 2031151"/>
                <a:gd name="connsiteX3922" fmla="*/ 2823379 w 3368309"/>
                <a:gd name="connsiteY3922" fmla="*/ 1044736 h 2031151"/>
                <a:gd name="connsiteX3923" fmla="*/ 2818491 w 3368309"/>
                <a:gd name="connsiteY3923" fmla="*/ 1040989 h 2031151"/>
                <a:gd name="connsiteX3924" fmla="*/ 2813767 w 3368309"/>
                <a:gd name="connsiteY3924" fmla="*/ 1040338 h 2031151"/>
                <a:gd name="connsiteX3925" fmla="*/ 2806436 w 3368309"/>
                <a:gd name="connsiteY3925" fmla="*/ 1039035 h 2031151"/>
                <a:gd name="connsiteX3926" fmla="*/ 2798942 w 3368309"/>
                <a:gd name="connsiteY3926" fmla="*/ 1039360 h 2031151"/>
                <a:gd name="connsiteX3927" fmla="*/ 2801060 w 3368309"/>
                <a:gd name="connsiteY3927" fmla="*/ 1043107 h 2031151"/>
                <a:gd name="connsiteX3928" fmla="*/ 2797802 w 3368309"/>
                <a:gd name="connsiteY3928" fmla="*/ 1044085 h 2031151"/>
                <a:gd name="connsiteX3929" fmla="*/ 2794544 w 3368309"/>
                <a:gd name="connsiteY3929" fmla="*/ 1041804 h 2031151"/>
                <a:gd name="connsiteX3930" fmla="*/ 2795195 w 3368309"/>
                <a:gd name="connsiteY3930" fmla="*/ 1039360 h 2031151"/>
                <a:gd name="connsiteX3931" fmla="*/ 2788190 w 3368309"/>
                <a:gd name="connsiteY3931" fmla="*/ 1040012 h 2031151"/>
                <a:gd name="connsiteX3932" fmla="*/ 2779067 w 3368309"/>
                <a:gd name="connsiteY3932" fmla="*/ 1037731 h 2031151"/>
                <a:gd name="connsiteX3933" fmla="*/ 2774995 w 3368309"/>
                <a:gd name="connsiteY3933" fmla="*/ 1039849 h 2031151"/>
                <a:gd name="connsiteX3934" fmla="*/ 2771085 w 3368309"/>
                <a:gd name="connsiteY3934" fmla="*/ 1036917 h 2031151"/>
                <a:gd name="connsiteX3935" fmla="*/ 2763754 w 3368309"/>
                <a:gd name="connsiteY3935" fmla="*/ 1036591 h 2031151"/>
                <a:gd name="connsiteX3936" fmla="*/ 2756911 w 3368309"/>
                <a:gd name="connsiteY3936" fmla="*/ 1044736 h 2031151"/>
                <a:gd name="connsiteX3937" fmla="*/ 2753653 w 3368309"/>
                <a:gd name="connsiteY3937" fmla="*/ 1044736 h 2031151"/>
                <a:gd name="connsiteX3938" fmla="*/ 2753490 w 3368309"/>
                <a:gd name="connsiteY3938" fmla="*/ 1048158 h 2031151"/>
                <a:gd name="connsiteX3939" fmla="*/ 2760170 w 3368309"/>
                <a:gd name="connsiteY3939" fmla="*/ 1052393 h 2031151"/>
                <a:gd name="connsiteX3940" fmla="*/ 2752839 w 3368309"/>
                <a:gd name="connsiteY3940" fmla="*/ 1055325 h 2031151"/>
                <a:gd name="connsiteX3941" fmla="*/ 2751699 w 3368309"/>
                <a:gd name="connsiteY3941" fmla="*/ 1051579 h 2031151"/>
                <a:gd name="connsiteX3942" fmla="*/ 2747789 w 3368309"/>
                <a:gd name="connsiteY3942" fmla="*/ 1057606 h 2031151"/>
                <a:gd name="connsiteX3943" fmla="*/ 2753979 w 3368309"/>
                <a:gd name="connsiteY3943" fmla="*/ 1060864 h 2031151"/>
                <a:gd name="connsiteX3944" fmla="*/ 2756097 w 3368309"/>
                <a:gd name="connsiteY3944" fmla="*/ 1059072 h 2031151"/>
                <a:gd name="connsiteX3945" fmla="*/ 2759192 w 3368309"/>
                <a:gd name="connsiteY3945" fmla="*/ 1060864 h 2031151"/>
                <a:gd name="connsiteX3946" fmla="*/ 2759192 w 3368309"/>
                <a:gd name="connsiteY3946" fmla="*/ 1064774 h 2031151"/>
                <a:gd name="connsiteX3947" fmla="*/ 2749255 w 3368309"/>
                <a:gd name="connsiteY3947" fmla="*/ 1068684 h 2031151"/>
                <a:gd name="connsiteX3948" fmla="*/ 2745834 w 3368309"/>
                <a:gd name="connsiteY3948" fmla="*/ 1064448 h 2031151"/>
                <a:gd name="connsiteX3949" fmla="*/ 2737526 w 3368309"/>
                <a:gd name="connsiteY3949" fmla="*/ 1064123 h 2031151"/>
                <a:gd name="connsiteX3950" fmla="*/ 2734430 w 3368309"/>
                <a:gd name="connsiteY3950" fmla="*/ 1066403 h 2031151"/>
                <a:gd name="connsiteX3951" fmla="*/ 2735733 w 3368309"/>
                <a:gd name="connsiteY3951" fmla="*/ 1070639 h 2031151"/>
                <a:gd name="connsiteX3952" fmla="*/ 2731824 w 3368309"/>
                <a:gd name="connsiteY3952" fmla="*/ 1069987 h 2031151"/>
                <a:gd name="connsiteX3953" fmla="*/ 2728891 w 3368309"/>
                <a:gd name="connsiteY3953" fmla="*/ 1073083 h 2031151"/>
                <a:gd name="connsiteX3954" fmla="*/ 2726447 w 3368309"/>
                <a:gd name="connsiteY3954" fmla="*/ 1073083 h 2031151"/>
                <a:gd name="connsiteX3955" fmla="*/ 2724656 w 3368309"/>
                <a:gd name="connsiteY3955" fmla="*/ 1069336 h 2031151"/>
                <a:gd name="connsiteX3956" fmla="*/ 2714229 w 3368309"/>
                <a:gd name="connsiteY3956" fmla="*/ 1068684 h 2031151"/>
                <a:gd name="connsiteX3957" fmla="*/ 2709994 w 3368309"/>
                <a:gd name="connsiteY3957" fmla="*/ 1071128 h 2031151"/>
                <a:gd name="connsiteX3958" fmla="*/ 2700056 w 3368309"/>
                <a:gd name="connsiteY3958" fmla="*/ 1069824 h 2031151"/>
                <a:gd name="connsiteX3959" fmla="*/ 2694192 w 3368309"/>
                <a:gd name="connsiteY3959" fmla="*/ 1072920 h 2031151"/>
                <a:gd name="connsiteX3960" fmla="*/ 2694192 w 3368309"/>
                <a:gd name="connsiteY3960" fmla="*/ 1075363 h 2031151"/>
                <a:gd name="connsiteX3961" fmla="*/ 2701522 w 3368309"/>
                <a:gd name="connsiteY3961" fmla="*/ 1080902 h 2031151"/>
                <a:gd name="connsiteX3962" fmla="*/ 2697450 w 3368309"/>
                <a:gd name="connsiteY3962" fmla="*/ 1084323 h 2031151"/>
                <a:gd name="connsiteX3963" fmla="*/ 2695006 w 3368309"/>
                <a:gd name="connsiteY3963" fmla="*/ 1089374 h 2031151"/>
                <a:gd name="connsiteX3964" fmla="*/ 2690282 w 3368309"/>
                <a:gd name="connsiteY3964" fmla="*/ 1084975 h 2031151"/>
                <a:gd name="connsiteX3965" fmla="*/ 2686535 w 3368309"/>
                <a:gd name="connsiteY3965" fmla="*/ 1083672 h 2031151"/>
                <a:gd name="connsiteX3966" fmla="*/ 2688653 w 3368309"/>
                <a:gd name="connsiteY3966" fmla="*/ 1078133 h 2031151"/>
                <a:gd name="connsiteX3967" fmla="*/ 2684254 w 3368309"/>
                <a:gd name="connsiteY3967" fmla="*/ 1075200 h 2031151"/>
                <a:gd name="connsiteX3968" fmla="*/ 2681974 w 3368309"/>
                <a:gd name="connsiteY3968" fmla="*/ 1079110 h 2031151"/>
                <a:gd name="connsiteX3969" fmla="*/ 2677575 w 3368309"/>
                <a:gd name="connsiteY3969" fmla="*/ 1079762 h 2031151"/>
                <a:gd name="connsiteX3970" fmla="*/ 2673176 w 3368309"/>
                <a:gd name="connsiteY3970" fmla="*/ 1079762 h 2031151"/>
                <a:gd name="connsiteX3971" fmla="*/ 2667963 w 3368309"/>
                <a:gd name="connsiteY3971" fmla="*/ 1083183 h 2031151"/>
                <a:gd name="connsiteX3972" fmla="*/ 2662750 w 3368309"/>
                <a:gd name="connsiteY3972" fmla="*/ 1082857 h 2031151"/>
                <a:gd name="connsiteX3973" fmla="*/ 2655256 w 3368309"/>
                <a:gd name="connsiteY3973" fmla="*/ 1087419 h 2031151"/>
                <a:gd name="connsiteX3974" fmla="*/ 2647763 w 3368309"/>
                <a:gd name="connsiteY3974" fmla="*/ 1087744 h 2031151"/>
                <a:gd name="connsiteX3975" fmla="*/ 2638802 w 3368309"/>
                <a:gd name="connsiteY3975" fmla="*/ 1094912 h 2031151"/>
                <a:gd name="connsiteX3976" fmla="*/ 2633426 w 3368309"/>
                <a:gd name="connsiteY3976" fmla="*/ 1095890 h 2031151"/>
                <a:gd name="connsiteX3977" fmla="*/ 2630006 w 3368309"/>
                <a:gd name="connsiteY3977" fmla="*/ 1092143 h 2031151"/>
                <a:gd name="connsiteX3978" fmla="*/ 2626747 w 3368309"/>
                <a:gd name="connsiteY3978" fmla="*/ 1092469 h 2031151"/>
                <a:gd name="connsiteX3979" fmla="*/ 2625444 w 3368309"/>
                <a:gd name="connsiteY3979" fmla="*/ 1097519 h 2031151"/>
                <a:gd name="connsiteX3980" fmla="*/ 2616158 w 3368309"/>
                <a:gd name="connsiteY3980" fmla="*/ 1104524 h 2031151"/>
                <a:gd name="connsiteX3981" fmla="*/ 2614855 w 3368309"/>
                <a:gd name="connsiteY3981" fmla="*/ 1109900 h 2031151"/>
                <a:gd name="connsiteX3982" fmla="*/ 2609967 w 3368309"/>
                <a:gd name="connsiteY3982" fmla="*/ 1114299 h 2031151"/>
                <a:gd name="connsiteX3983" fmla="*/ 2608990 w 3368309"/>
                <a:gd name="connsiteY3983" fmla="*/ 1120163 h 2031151"/>
                <a:gd name="connsiteX3984" fmla="*/ 2615506 w 3368309"/>
                <a:gd name="connsiteY3984" fmla="*/ 1130427 h 2031151"/>
                <a:gd name="connsiteX3985" fmla="*/ 2613715 w 3368309"/>
                <a:gd name="connsiteY3985" fmla="*/ 1140364 h 2031151"/>
                <a:gd name="connsiteX3986" fmla="*/ 2606220 w 3368309"/>
                <a:gd name="connsiteY3986" fmla="*/ 1148835 h 2031151"/>
                <a:gd name="connsiteX3987" fmla="*/ 2602474 w 3368309"/>
                <a:gd name="connsiteY3987" fmla="*/ 1156981 h 2031151"/>
                <a:gd name="connsiteX3988" fmla="*/ 2603940 w 3368309"/>
                <a:gd name="connsiteY3988" fmla="*/ 1163334 h 2031151"/>
                <a:gd name="connsiteX3989" fmla="*/ 2603614 w 3368309"/>
                <a:gd name="connsiteY3989" fmla="*/ 1173435 h 2031151"/>
                <a:gd name="connsiteX3990" fmla="*/ 2605895 w 3368309"/>
                <a:gd name="connsiteY3990" fmla="*/ 1177344 h 2031151"/>
                <a:gd name="connsiteX3991" fmla="*/ 2605895 w 3368309"/>
                <a:gd name="connsiteY3991" fmla="*/ 1182883 h 2031151"/>
                <a:gd name="connsiteX3992" fmla="*/ 2603777 w 3368309"/>
                <a:gd name="connsiteY3992" fmla="*/ 1182720 h 2031151"/>
                <a:gd name="connsiteX3993" fmla="*/ 2600519 w 3368309"/>
                <a:gd name="connsiteY3993" fmla="*/ 1184675 h 2031151"/>
                <a:gd name="connsiteX3994" fmla="*/ 2600519 w 3368309"/>
                <a:gd name="connsiteY3994" fmla="*/ 1190703 h 2031151"/>
                <a:gd name="connsiteX3995" fmla="*/ 2597749 w 3368309"/>
                <a:gd name="connsiteY3995" fmla="*/ 1192658 h 2031151"/>
                <a:gd name="connsiteX3996" fmla="*/ 2600682 w 3368309"/>
                <a:gd name="connsiteY3996" fmla="*/ 1201292 h 2031151"/>
                <a:gd name="connsiteX3997" fmla="*/ 2595631 w 3368309"/>
                <a:gd name="connsiteY3997" fmla="*/ 1205039 h 2031151"/>
                <a:gd name="connsiteX3998" fmla="*/ 2594817 w 3368309"/>
                <a:gd name="connsiteY3998" fmla="*/ 1211555 h 2031151"/>
                <a:gd name="connsiteX3999" fmla="*/ 2587812 w 3368309"/>
                <a:gd name="connsiteY3999" fmla="*/ 1220027 h 2031151"/>
                <a:gd name="connsiteX4000" fmla="*/ 2588952 w 3368309"/>
                <a:gd name="connsiteY4000" fmla="*/ 1225566 h 2031151"/>
                <a:gd name="connsiteX4001" fmla="*/ 2584879 w 3368309"/>
                <a:gd name="connsiteY4001" fmla="*/ 1227683 h 2031151"/>
                <a:gd name="connsiteX4002" fmla="*/ 2583576 w 3368309"/>
                <a:gd name="connsiteY4002" fmla="*/ 1237132 h 2031151"/>
                <a:gd name="connsiteX4003" fmla="*/ 2581621 w 3368309"/>
                <a:gd name="connsiteY4003" fmla="*/ 1237132 h 2031151"/>
                <a:gd name="connsiteX4004" fmla="*/ 2578689 w 3368309"/>
                <a:gd name="connsiteY4004" fmla="*/ 1249513 h 2031151"/>
                <a:gd name="connsiteX4005" fmla="*/ 2579015 w 3368309"/>
                <a:gd name="connsiteY4005" fmla="*/ 1258799 h 2031151"/>
                <a:gd name="connsiteX4006" fmla="*/ 2577223 w 3368309"/>
                <a:gd name="connsiteY4006" fmla="*/ 1261894 h 2031151"/>
                <a:gd name="connsiteX4007" fmla="*/ 2579340 w 3368309"/>
                <a:gd name="connsiteY4007" fmla="*/ 1267759 h 2031151"/>
                <a:gd name="connsiteX4008" fmla="*/ 2575756 w 3368309"/>
                <a:gd name="connsiteY4008" fmla="*/ 1273298 h 2031151"/>
                <a:gd name="connsiteX4009" fmla="*/ 2574779 w 3368309"/>
                <a:gd name="connsiteY4009" fmla="*/ 1279163 h 2031151"/>
                <a:gd name="connsiteX4010" fmla="*/ 2569892 w 3368309"/>
                <a:gd name="connsiteY4010" fmla="*/ 1286657 h 2031151"/>
                <a:gd name="connsiteX4011" fmla="*/ 2570218 w 3368309"/>
                <a:gd name="connsiteY4011" fmla="*/ 1289426 h 2031151"/>
                <a:gd name="connsiteX4012" fmla="*/ 2567774 w 3368309"/>
                <a:gd name="connsiteY4012" fmla="*/ 1290403 h 2031151"/>
                <a:gd name="connsiteX4013" fmla="*/ 2567774 w 3368309"/>
                <a:gd name="connsiteY4013" fmla="*/ 1296920 h 2031151"/>
                <a:gd name="connsiteX4014" fmla="*/ 2559792 w 3368309"/>
                <a:gd name="connsiteY4014" fmla="*/ 1303273 h 2031151"/>
                <a:gd name="connsiteX4015" fmla="*/ 2559466 w 3368309"/>
                <a:gd name="connsiteY4015" fmla="*/ 1311745 h 2031151"/>
                <a:gd name="connsiteX4016" fmla="*/ 2552298 w 3368309"/>
                <a:gd name="connsiteY4016" fmla="*/ 1318261 h 2031151"/>
                <a:gd name="connsiteX4017" fmla="*/ 2552298 w 3368309"/>
                <a:gd name="connsiteY4017" fmla="*/ 1322171 h 2031151"/>
                <a:gd name="connsiteX4018" fmla="*/ 2547410 w 3368309"/>
                <a:gd name="connsiteY4018" fmla="*/ 1329990 h 2031151"/>
                <a:gd name="connsiteX4019" fmla="*/ 2545944 w 3368309"/>
                <a:gd name="connsiteY4019" fmla="*/ 1335366 h 2031151"/>
                <a:gd name="connsiteX4020" fmla="*/ 2543338 w 3368309"/>
                <a:gd name="connsiteY4020" fmla="*/ 1339928 h 2031151"/>
                <a:gd name="connsiteX4021" fmla="*/ 2546107 w 3368309"/>
                <a:gd name="connsiteY4021" fmla="*/ 1344652 h 2031151"/>
                <a:gd name="connsiteX4022" fmla="*/ 2550831 w 3368309"/>
                <a:gd name="connsiteY4022" fmla="*/ 1347910 h 2031151"/>
                <a:gd name="connsiteX4023" fmla="*/ 2555719 w 3368309"/>
                <a:gd name="connsiteY4023" fmla="*/ 1346118 h 2031151"/>
                <a:gd name="connsiteX4024" fmla="*/ 2559954 w 3368309"/>
                <a:gd name="connsiteY4024" fmla="*/ 1350028 h 2031151"/>
                <a:gd name="connsiteX4025" fmla="*/ 2565004 w 3368309"/>
                <a:gd name="connsiteY4025" fmla="*/ 1350354 h 2031151"/>
                <a:gd name="connsiteX4026" fmla="*/ 2571358 w 3368309"/>
                <a:gd name="connsiteY4026" fmla="*/ 1345792 h 2031151"/>
                <a:gd name="connsiteX4027" fmla="*/ 2575268 w 3368309"/>
                <a:gd name="connsiteY4027" fmla="*/ 1344489 h 2031151"/>
                <a:gd name="connsiteX4028" fmla="*/ 2579504 w 3368309"/>
                <a:gd name="connsiteY4028" fmla="*/ 1341557 h 2031151"/>
                <a:gd name="connsiteX4029" fmla="*/ 2581784 w 3368309"/>
                <a:gd name="connsiteY4029" fmla="*/ 1342208 h 2031151"/>
                <a:gd name="connsiteX4030" fmla="*/ 2587323 w 3368309"/>
                <a:gd name="connsiteY4030" fmla="*/ 1340579 h 2031151"/>
                <a:gd name="connsiteX4031" fmla="*/ 2587323 w 3368309"/>
                <a:gd name="connsiteY4031" fmla="*/ 1353775 h 2031151"/>
                <a:gd name="connsiteX4032" fmla="*/ 2593188 w 3368309"/>
                <a:gd name="connsiteY4032" fmla="*/ 1361432 h 2031151"/>
                <a:gd name="connsiteX4033" fmla="*/ 2595306 w 3368309"/>
                <a:gd name="connsiteY4033" fmla="*/ 1369414 h 2031151"/>
                <a:gd name="connsiteX4034" fmla="*/ 2594328 w 3368309"/>
                <a:gd name="connsiteY4034" fmla="*/ 1375931 h 2031151"/>
                <a:gd name="connsiteX4035" fmla="*/ 2600845 w 3368309"/>
                <a:gd name="connsiteY4035" fmla="*/ 1381470 h 2031151"/>
                <a:gd name="connsiteX4036" fmla="*/ 2604266 w 3368309"/>
                <a:gd name="connsiteY4036" fmla="*/ 1377234 h 2031151"/>
                <a:gd name="connsiteX4037" fmla="*/ 2605569 w 3368309"/>
                <a:gd name="connsiteY4037" fmla="*/ 1377560 h 2031151"/>
                <a:gd name="connsiteX4038" fmla="*/ 2608664 w 3368309"/>
                <a:gd name="connsiteY4038" fmla="*/ 1375442 h 2031151"/>
                <a:gd name="connsiteX4039" fmla="*/ 2610945 w 3368309"/>
                <a:gd name="connsiteY4039" fmla="*/ 1370392 h 2031151"/>
                <a:gd name="connsiteX4040" fmla="*/ 2614366 w 3368309"/>
                <a:gd name="connsiteY4040" fmla="*/ 1369088 h 2031151"/>
                <a:gd name="connsiteX4041" fmla="*/ 2616321 w 3368309"/>
                <a:gd name="connsiteY4041" fmla="*/ 1372021 h 2031151"/>
                <a:gd name="connsiteX4042" fmla="*/ 2619253 w 3368309"/>
                <a:gd name="connsiteY4042" fmla="*/ 1369251 h 2031151"/>
                <a:gd name="connsiteX4043" fmla="*/ 2624792 w 3368309"/>
                <a:gd name="connsiteY4043" fmla="*/ 1369903 h 2031151"/>
                <a:gd name="connsiteX4044" fmla="*/ 2622674 w 3368309"/>
                <a:gd name="connsiteY4044" fmla="*/ 1372021 h 2031151"/>
                <a:gd name="connsiteX4045" fmla="*/ 2620394 w 3368309"/>
                <a:gd name="connsiteY4045" fmla="*/ 1375931 h 2031151"/>
                <a:gd name="connsiteX4046" fmla="*/ 2621045 w 3368309"/>
                <a:gd name="connsiteY4046" fmla="*/ 1383262 h 2031151"/>
                <a:gd name="connsiteX4047" fmla="*/ 2618113 w 3368309"/>
                <a:gd name="connsiteY4047" fmla="*/ 1383262 h 2031151"/>
                <a:gd name="connsiteX4048" fmla="*/ 2614040 w 3368309"/>
                <a:gd name="connsiteY4048" fmla="*/ 1387171 h 2031151"/>
                <a:gd name="connsiteX4049" fmla="*/ 2615669 w 3368309"/>
                <a:gd name="connsiteY4049" fmla="*/ 1389452 h 2031151"/>
                <a:gd name="connsiteX4050" fmla="*/ 2627073 w 3368309"/>
                <a:gd name="connsiteY4050" fmla="*/ 1387660 h 2031151"/>
                <a:gd name="connsiteX4051" fmla="*/ 2633101 w 3368309"/>
                <a:gd name="connsiteY4051" fmla="*/ 1383913 h 2031151"/>
                <a:gd name="connsiteX4052" fmla="*/ 2635218 w 3368309"/>
                <a:gd name="connsiteY4052" fmla="*/ 1376094 h 2031151"/>
                <a:gd name="connsiteX4053" fmla="*/ 2634241 w 3368309"/>
                <a:gd name="connsiteY4053" fmla="*/ 1371043 h 2031151"/>
                <a:gd name="connsiteX4054" fmla="*/ 2636196 w 3368309"/>
                <a:gd name="connsiteY4054" fmla="*/ 1367296 h 2031151"/>
                <a:gd name="connsiteX4055" fmla="*/ 2639291 w 3368309"/>
                <a:gd name="connsiteY4055" fmla="*/ 1374302 h 2031151"/>
                <a:gd name="connsiteX4056" fmla="*/ 2638314 w 3368309"/>
                <a:gd name="connsiteY4056" fmla="*/ 1380655 h 2031151"/>
                <a:gd name="connsiteX4057" fmla="*/ 2638640 w 3368309"/>
                <a:gd name="connsiteY4057" fmla="*/ 1387008 h 2031151"/>
                <a:gd name="connsiteX4058" fmla="*/ 2641898 w 3368309"/>
                <a:gd name="connsiteY4058" fmla="*/ 1384891 h 2031151"/>
                <a:gd name="connsiteX4059" fmla="*/ 2643853 w 3368309"/>
                <a:gd name="connsiteY4059" fmla="*/ 1377886 h 2031151"/>
                <a:gd name="connsiteX4060" fmla="*/ 2641083 w 3368309"/>
                <a:gd name="connsiteY4060" fmla="*/ 1369251 h 2031151"/>
                <a:gd name="connsiteX4061" fmla="*/ 2643201 w 3368309"/>
                <a:gd name="connsiteY4061" fmla="*/ 1364853 h 2031151"/>
                <a:gd name="connsiteX4062" fmla="*/ 2638802 w 3368309"/>
                <a:gd name="connsiteY4062" fmla="*/ 1360128 h 2031151"/>
                <a:gd name="connsiteX4063" fmla="*/ 2636359 w 3368309"/>
                <a:gd name="connsiteY4063" fmla="*/ 1351494 h 2031151"/>
                <a:gd name="connsiteX4064" fmla="*/ 2641409 w 3368309"/>
                <a:gd name="connsiteY4064" fmla="*/ 1351494 h 2031151"/>
                <a:gd name="connsiteX4065" fmla="*/ 2646296 w 3368309"/>
                <a:gd name="connsiteY4065" fmla="*/ 1354101 h 2031151"/>
                <a:gd name="connsiteX4066" fmla="*/ 2645970 w 3368309"/>
                <a:gd name="connsiteY4066" fmla="*/ 1356382 h 2031151"/>
                <a:gd name="connsiteX4067" fmla="*/ 2647926 w 3368309"/>
                <a:gd name="connsiteY4067" fmla="*/ 1358662 h 2031151"/>
                <a:gd name="connsiteX4068" fmla="*/ 2650858 w 3368309"/>
                <a:gd name="connsiteY4068" fmla="*/ 1358662 h 2031151"/>
                <a:gd name="connsiteX4069" fmla="*/ 2652976 w 3368309"/>
                <a:gd name="connsiteY4069" fmla="*/ 1355404 h 2031151"/>
                <a:gd name="connsiteX4070" fmla="*/ 2657863 w 3368309"/>
                <a:gd name="connsiteY4070" fmla="*/ 1354753 h 2031151"/>
                <a:gd name="connsiteX4071" fmla="*/ 2663727 w 3368309"/>
                <a:gd name="connsiteY4071" fmla="*/ 1350191 h 2031151"/>
                <a:gd name="connsiteX4072" fmla="*/ 2669592 w 3368309"/>
                <a:gd name="connsiteY4072" fmla="*/ 1354915 h 2031151"/>
                <a:gd name="connsiteX4073" fmla="*/ 2675457 w 3368309"/>
                <a:gd name="connsiteY4073" fmla="*/ 1355404 h 2031151"/>
                <a:gd name="connsiteX4074" fmla="*/ 2679204 w 3368309"/>
                <a:gd name="connsiteY4074" fmla="*/ 1358825 h 2031151"/>
                <a:gd name="connsiteX4075" fmla="*/ 2682136 w 3368309"/>
                <a:gd name="connsiteY4075" fmla="*/ 1365016 h 2031151"/>
                <a:gd name="connsiteX4076" fmla="*/ 2685231 w 3368309"/>
                <a:gd name="connsiteY4076" fmla="*/ 1367134 h 2031151"/>
                <a:gd name="connsiteX4077" fmla="*/ 2692236 w 3368309"/>
                <a:gd name="connsiteY4077" fmla="*/ 1368111 h 2031151"/>
                <a:gd name="connsiteX4078" fmla="*/ 2694843 w 3368309"/>
                <a:gd name="connsiteY4078" fmla="*/ 1371532 h 2031151"/>
                <a:gd name="connsiteX4079" fmla="*/ 2705921 w 3368309"/>
                <a:gd name="connsiteY4079" fmla="*/ 1375605 h 2031151"/>
                <a:gd name="connsiteX4080" fmla="*/ 2707387 w 3368309"/>
                <a:gd name="connsiteY4080" fmla="*/ 1379026 h 2031151"/>
                <a:gd name="connsiteX4081" fmla="*/ 2711460 w 3368309"/>
                <a:gd name="connsiteY4081" fmla="*/ 1379678 h 2031151"/>
                <a:gd name="connsiteX4082" fmla="*/ 2714718 w 3368309"/>
                <a:gd name="connsiteY4082" fmla="*/ 1383750 h 2031151"/>
                <a:gd name="connsiteX4083" fmla="*/ 2717651 w 3368309"/>
                <a:gd name="connsiteY4083" fmla="*/ 1383750 h 2031151"/>
                <a:gd name="connsiteX4084" fmla="*/ 2721886 w 3368309"/>
                <a:gd name="connsiteY4084" fmla="*/ 1391733 h 2031151"/>
                <a:gd name="connsiteX4085" fmla="*/ 2719117 w 3368309"/>
                <a:gd name="connsiteY4085" fmla="*/ 1395969 h 2031151"/>
                <a:gd name="connsiteX4086" fmla="*/ 2718791 w 3368309"/>
                <a:gd name="connsiteY4086" fmla="*/ 1400204 h 2031151"/>
                <a:gd name="connsiteX4087" fmla="*/ 2715370 w 3368309"/>
                <a:gd name="connsiteY4087" fmla="*/ 1402322 h 2031151"/>
                <a:gd name="connsiteX4088" fmla="*/ 2720420 w 3368309"/>
                <a:gd name="connsiteY4088" fmla="*/ 1407861 h 2031151"/>
                <a:gd name="connsiteX4089" fmla="*/ 2724167 w 3368309"/>
                <a:gd name="connsiteY4089" fmla="*/ 1407861 h 2031151"/>
                <a:gd name="connsiteX4090" fmla="*/ 2731009 w 3368309"/>
                <a:gd name="connsiteY4090" fmla="*/ 1416332 h 2031151"/>
                <a:gd name="connsiteX4091" fmla="*/ 2731335 w 3368309"/>
                <a:gd name="connsiteY4091" fmla="*/ 1420894 h 2031151"/>
                <a:gd name="connsiteX4092" fmla="*/ 2728402 w 3368309"/>
                <a:gd name="connsiteY4092" fmla="*/ 1424315 h 2031151"/>
                <a:gd name="connsiteX4093" fmla="*/ 2728402 w 3368309"/>
                <a:gd name="connsiteY4093" fmla="*/ 1429854 h 2031151"/>
                <a:gd name="connsiteX4094" fmla="*/ 2733453 w 3368309"/>
                <a:gd name="connsiteY4094" fmla="*/ 1434252 h 2031151"/>
                <a:gd name="connsiteX4095" fmla="*/ 2737688 w 3368309"/>
                <a:gd name="connsiteY4095" fmla="*/ 1435393 h 2031151"/>
                <a:gd name="connsiteX4096" fmla="*/ 2740947 w 3368309"/>
                <a:gd name="connsiteY4096" fmla="*/ 1432460 h 2031151"/>
                <a:gd name="connsiteX4097" fmla="*/ 2741924 w 3368309"/>
                <a:gd name="connsiteY4097" fmla="*/ 1436859 h 2031151"/>
                <a:gd name="connsiteX4098" fmla="*/ 2739643 w 3368309"/>
                <a:gd name="connsiteY4098" fmla="*/ 1439791 h 2031151"/>
                <a:gd name="connsiteX4099" fmla="*/ 2740458 w 3368309"/>
                <a:gd name="connsiteY4099" fmla="*/ 1445982 h 2031151"/>
                <a:gd name="connsiteX4100" fmla="*/ 2744693 w 3368309"/>
                <a:gd name="connsiteY4100" fmla="*/ 1449891 h 2031151"/>
                <a:gd name="connsiteX4101" fmla="*/ 2741598 w 3368309"/>
                <a:gd name="connsiteY4101" fmla="*/ 1452335 h 2031151"/>
                <a:gd name="connsiteX4102" fmla="*/ 2740947 w 3368309"/>
                <a:gd name="connsiteY4102" fmla="*/ 1456082 h 2031151"/>
                <a:gd name="connsiteX4103" fmla="*/ 2743064 w 3368309"/>
                <a:gd name="connsiteY4103" fmla="*/ 1460481 h 2031151"/>
                <a:gd name="connsiteX4104" fmla="*/ 2740295 w 3368309"/>
                <a:gd name="connsiteY4104" fmla="*/ 1465694 h 2031151"/>
                <a:gd name="connsiteX4105" fmla="*/ 2742413 w 3368309"/>
                <a:gd name="connsiteY4105" fmla="*/ 1467486 h 2031151"/>
                <a:gd name="connsiteX4106" fmla="*/ 2742087 w 3368309"/>
                <a:gd name="connsiteY4106" fmla="*/ 1470907 h 2031151"/>
                <a:gd name="connsiteX4107" fmla="*/ 2740947 w 3368309"/>
                <a:gd name="connsiteY4107" fmla="*/ 1473350 h 2031151"/>
                <a:gd name="connsiteX4108" fmla="*/ 2743716 w 3368309"/>
                <a:gd name="connsiteY4108" fmla="*/ 1475142 h 2031151"/>
                <a:gd name="connsiteX4109" fmla="*/ 2740620 w 3368309"/>
                <a:gd name="connsiteY4109" fmla="*/ 1478889 h 2031151"/>
                <a:gd name="connsiteX4110" fmla="*/ 2744693 w 3368309"/>
                <a:gd name="connsiteY4110" fmla="*/ 1491107 h 2031151"/>
                <a:gd name="connsiteX4111" fmla="*/ 2742901 w 3368309"/>
                <a:gd name="connsiteY4111" fmla="*/ 1494528 h 2031151"/>
                <a:gd name="connsiteX4112" fmla="*/ 2743879 w 3368309"/>
                <a:gd name="connsiteY4112" fmla="*/ 1503977 h 2031151"/>
                <a:gd name="connsiteX4113" fmla="*/ 2744693 w 3368309"/>
                <a:gd name="connsiteY4113" fmla="*/ 1507724 h 2031151"/>
                <a:gd name="connsiteX4114" fmla="*/ 2744693 w 3368309"/>
                <a:gd name="connsiteY4114" fmla="*/ 1511960 h 2031151"/>
                <a:gd name="connsiteX4115" fmla="*/ 2749744 w 3368309"/>
                <a:gd name="connsiteY4115" fmla="*/ 1528740 h 2031151"/>
                <a:gd name="connsiteX4116" fmla="*/ 2753817 w 3368309"/>
                <a:gd name="connsiteY4116" fmla="*/ 1529554 h 2031151"/>
                <a:gd name="connsiteX4117" fmla="*/ 2758541 w 3368309"/>
                <a:gd name="connsiteY4117" fmla="*/ 1526296 h 2031151"/>
                <a:gd name="connsiteX4118" fmla="*/ 2759192 w 3368309"/>
                <a:gd name="connsiteY4118" fmla="*/ 1528577 h 2031151"/>
                <a:gd name="connsiteX4119" fmla="*/ 2755283 w 3368309"/>
                <a:gd name="connsiteY4119" fmla="*/ 1535093 h 2031151"/>
                <a:gd name="connsiteX4120" fmla="*/ 2753165 w 3368309"/>
                <a:gd name="connsiteY4120" fmla="*/ 1537374 h 2031151"/>
                <a:gd name="connsiteX4121" fmla="*/ 2755608 w 3368309"/>
                <a:gd name="connsiteY4121" fmla="*/ 1541772 h 2031151"/>
                <a:gd name="connsiteX4122" fmla="*/ 2757889 w 3368309"/>
                <a:gd name="connsiteY4122" fmla="*/ 1541772 h 2031151"/>
                <a:gd name="connsiteX4123" fmla="*/ 2765057 w 3368309"/>
                <a:gd name="connsiteY4123" fmla="*/ 1549755 h 2031151"/>
                <a:gd name="connsiteX4124" fmla="*/ 2764406 w 3368309"/>
                <a:gd name="connsiteY4124" fmla="*/ 1559366 h 2031151"/>
                <a:gd name="connsiteX4125" fmla="*/ 2766197 w 3368309"/>
                <a:gd name="connsiteY4125" fmla="*/ 1562787 h 2031151"/>
                <a:gd name="connsiteX4126" fmla="*/ 2765546 w 3368309"/>
                <a:gd name="connsiteY4126" fmla="*/ 1566046 h 2031151"/>
                <a:gd name="connsiteX4127" fmla="*/ 2767338 w 3368309"/>
                <a:gd name="connsiteY4127" fmla="*/ 1578427 h 2031151"/>
                <a:gd name="connsiteX4128" fmla="*/ 2771247 w 3368309"/>
                <a:gd name="connsiteY4128" fmla="*/ 1578101 h 2031151"/>
                <a:gd name="connsiteX4129" fmla="*/ 2771247 w 3368309"/>
                <a:gd name="connsiteY4129" fmla="*/ 1584129 h 2031151"/>
                <a:gd name="connsiteX4130" fmla="*/ 2769293 w 3368309"/>
                <a:gd name="connsiteY4130" fmla="*/ 1586083 h 2031151"/>
                <a:gd name="connsiteX4131" fmla="*/ 2769618 w 3368309"/>
                <a:gd name="connsiteY4131" fmla="*/ 1593903 h 2031151"/>
                <a:gd name="connsiteX4132" fmla="*/ 2772062 w 3368309"/>
                <a:gd name="connsiteY4132" fmla="*/ 1598790 h 2031151"/>
                <a:gd name="connsiteX4133" fmla="*/ 2772388 w 3368309"/>
                <a:gd name="connsiteY4133" fmla="*/ 1605633 h 2031151"/>
                <a:gd name="connsiteX4134" fmla="*/ 2765057 w 3368309"/>
                <a:gd name="connsiteY4134" fmla="*/ 1613289 h 2031151"/>
                <a:gd name="connsiteX4135" fmla="*/ 2764406 w 3368309"/>
                <a:gd name="connsiteY4135" fmla="*/ 1620620 h 2031151"/>
                <a:gd name="connsiteX4136" fmla="*/ 2761147 w 3368309"/>
                <a:gd name="connsiteY4136" fmla="*/ 1628766 h 2031151"/>
                <a:gd name="connsiteX4137" fmla="*/ 2762125 w 3368309"/>
                <a:gd name="connsiteY4137" fmla="*/ 1637237 h 2031151"/>
                <a:gd name="connsiteX4138" fmla="*/ 2763428 w 3368309"/>
                <a:gd name="connsiteY4138" fmla="*/ 1638052 h 2031151"/>
                <a:gd name="connsiteX4139" fmla="*/ 2762776 w 3368309"/>
                <a:gd name="connsiteY4139" fmla="*/ 1645545 h 2031151"/>
                <a:gd name="connsiteX4140" fmla="*/ 2757889 w 3368309"/>
                <a:gd name="connsiteY4140" fmla="*/ 1650270 h 2031151"/>
                <a:gd name="connsiteX4141" fmla="*/ 2757889 w 3368309"/>
                <a:gd name="connsiteY4141" fmla="*/ 1656786 h 2031151"/>
                <a:gd name="connsiteX4142" fmla="*/ 2754468 w 3368309"/>
                <a:gd name="connsiteY4142" fmla="*/ 1665094 h 2031151"/>
                <a:gd name="connsiteX4143" fmla="*/ 2756586 w 3368309"/>
                <a:gd name="connsiteY4143" fmla="*/ 1665420 h 2031151"/>
                <a:gd name="connsiteX4144" fmla="*/ 2756911 w 3368309"/>
                <a:gd name="connsiteY4144" fmla="*/ 1669330 h 2031151"/>
                <a:gd name="connsiteX4145" fmla="*/ 2752513 w 3368309"/>
                <a:gd name="connsiteY4145" fmla="*/ 1674706 h 2031151"/>
                <a:gd name="connsiteX4146" fmla="*/ 2755283 w 3368309"/>
                <a:gd name="connsiteY4146" fmla="*/ 1686110 h 2031151"/>
                <a:gd name="connsiteX4147" fmla="*/ 2749906 w 3368309"/>
                <a:gd name="connsiteY4147" fmla="*/ 1691486 h 2031151"/>
                <a:gd name="connsiteX4148" fmla="*/ 2751699 w 3368309"/>
                <a:gd name="connsiteY4148" fmla="*/ 1698328 h 2031151"/>
                <a:gd name="connsiteX4149" fmla="*/ 2754142 w 3368309"/>
                <a:gd name="connsiteY4149" fmla="*/ 1699142 h 2031151"/>
                <a:gd name="connsiteX4150" fmla="*/ 2753817 w 3368309"/>
                <a:gd name="connsiteY4150" fmla="*/ 1704356 h 2031151"/>
                <a:gd name="connsiteX4151" fmla="*/ 2747626 w 3368309"/>
                <a:gd name="connsiteY4151" fmla="*/ 1711849 h 2031151"/>
                <a:gd name="connsiteX4152" fmla="*/ 2746485 w 3368309"/>
                <a:gd name="connsiteY4152" fmla="*/ 1717877 h 2031151"/>
                <a:gd name="connsiteX4153" fmla="*/ 2741272 w 3368309"/>
                <a:gd name="connsiteY4153" fmla="*/ 1722601 h 2031151"/>
                <a:gd name="connsiteX4154" fmla="*/ 2740947 w 3368309"/>
                <a:gd name="connsiteY4154" fmla="*/ 1727163 h 2031151"/>
                <a:gd name="connsiteX4155" fmla="*/ 2735733 w 3368309"/>
                <a:gd name="connsiteY4155" fmla="*/ 1734005 h 2031151"/>
                <a:gd name="connsiteX4156" fmla="*/ 2730846 w 3368309"/>
                <a:gd name="connsiteY4156" fmla="*/ 1755835 h 2031151"/>
                <a:gd name="connsiteX4157" fmla="*/ 2727914 w 3368309"/>
                <a:gd name="connsiteY4157" fmla="*/ 1757627 h 2031151"/>
                <a:gd name="connsiteX4158" fmla="*/ 2726936 w 3368309"/>
                <a:gd name="connsiteY4158" fmla="*/ 1763654 h 2031151"/>
                <a:gd name="connsiteX4159" fmla="*/ 2729054 w 3368309"/>
                <a:gd name="connsiteY4159" fmla="*/ 1765609 h 2031151"/>
                <a:gd name="connsiteX4160" fmla="*/ 2728077 w 3368309"/>
                <a:gd name="connsiteY4160" fmla="*/ 1768053 h 2031151"/>
                <a:gd name="connsiteX4161" fmla="*/ 2721072 w 3368309"/>
                <a:gd name="connsiteY4161" fmla="*/ 1772614 h 2031151"/>
                <a:gd name="connsiteX4162" fmla="*/ 2721072 w 3368309"/>
                <a:gd name="connsiteY4162" fmla="*/ 1777827 h 2031151"/>
                <a:gd name="connsiteX4163" fmla="*/ 2716184 w 3368309"/>
                <a:gd name="connsiteY4163" fmla="*/ 1780271 h 2031151"/>
                <a:gd name="connsiteX4164" fmla="*/ 2716836 w 3368309"/>
                <a:gd name="connsiteY4164" fmla="*/ 1788254 h 2031151"/>
                <a:gd name="connsiteX4165" fmla="*/ 2714067 w 3368309"/>
                <a:gd name="connsiteY4165" fmla="*/ 1789068 h 2031151"/>
                <a:gd name="connsiteX4166" fmla="*/ 2716510 w 3368309"/>
                <a:gd name="connsiteY4166" fmla="*/ 1793956 h 2031151"/>
                <a:gd name="connsiteX4167" fmla="*/ 2710483 w 3368309"/>
                <a:gd name="connsiteY4167" fmla="*/ 1802427 h 2031151"/>
                <a:gd name="connsiteX4168" fmla="*/ 2710157 w 3368309"/>
                <a:gd name="connsiteY4168" fmla="*/ 1801123 h 2031151"/>
                <a:gd name="connsiteX4169" fmla="*/ 2706247 w 3368309"/>
                <a:gd name="connsiteY4169" fmla="*/ 1799983 h 2031151"/>
                <a:gd name="connsiteX4170" fmla="*/ 2708202 w 3368309"/>
                <a:gd name="connsiteY4170" fmla="*/ 1805359 h 2031151"/>
                <a:gd name="connsiteX4171" fmla="*/ 2708202 w 3368309"/>
                <a:gd name="connsiteY4171" fmla="*/ 1811387 h 2031151"/>
                <a:gd name="connsiteX4172" fmla="*/ 2702174 w 3368309"/>
                <a:gd name="connsiteY4172" fmla="*/ 1814156 h 2031151"/>
                <a:gd name="connsiteX4173" fmla="*/ 2703640 w 3368309"/>
                <a:gd name="connsiteY4173" fmla="*/ 1816926 h 2031151"/>
                <a:gd name="connsiteX4174" fmla="*/ 2695169 w 3368309"/>
                <a:gd name="connsiteY4174" fmla="*/ 1827352 h 2031151"/>
                <a:gd name="connsiteX4175" fmla="*/ 2691259 w 3368309"/>
                <a:gd name="connsiteY4175" fmla="*/ 1833868 h 2031151"/>
                <a:gd name="connsiteX4176" fmla="*/ 2687512 w 3368309"/>
                <a:gd name="connsiteY4176" fmla="*/ 1833868 h 2031151"/>
                <a:gd name="connsiteX4177" fmla="*/ 2686535 w 3368309"/>
                <a:gd name="connsiteY4177" fmla="*/ 1837615 h 2031151"/>
                <a:gd name="connsiteX4178" fmla="*/ 2679367 w 3368309"/>
                <a:gd name="connsiteY4178" fmla="*/ 1838756 h 2031151"/>
                <a:gd name="connsiteX4179" fmla="*/ 2673502 w 3368309"/>
                <a:gd name="connsiteY4179" fmla="*/ 1844783 h 2031151"/>
                <a:gd name="connsiteX4180" fmla="*/ 2670407 w 3368309"/>
                <a:gd name="connsiteY4180" fmla="*/ 1841525 h 2031151"/>
                <a:gd name="connsiteX4181" fmla="*/ 2667474 w 3368309"/>
                <a:gd name="connsiteY4181" fmla="*/ 1844457 h 2031151"/>
                <a:gd name="connsiteX4182" fmla="*/ 2659492 w 3368309"/>
                <a:gd name="connsiteY4182" fmla="*/ 1839407 h 2031151"/>
                <a:gd name="connsiteX4183" fmla="*/ 2651509 w 3368309"/>
                <a:gd name="connsiteY4183" fmla="*/ 1837289 h 2031151"/>
                <a:gd name="connsiteX4184" fmla="*/ 2650858 w 3368309"/>
                <a:gd name="connsiteY4184" fmla="*/ 1828166 h 2031151"/>
                <a:gd name="connsiteX4185" fmla="*/ 2647926 w 3368309"/>
                <a:gd name="connsiteY4185" fmla="*/ 1825723 h 2031151"/>
                <a:gd name="connsiteX4186" fmla="*/ 2641735 w 3368309"/>
                <a:gd name="connsiteY4186" fmla="*/ 1828492 h 2031151"/>
                <a:gd name="connsiteX4187" fmla="*/ 2636359 w 3368309"/>
                <a:gd name="connsiteY4187" fmla="*/ 1825071 h 2031151"/>
                <a:gd name="connsiteX4188" fmla="*/ 2634730 w 3368309"/>
                <a:gd name="connsiteY4188" fmla="*/ 1827841 h 2031151"/>
                <a:gd name="connsiteX4189" fmla="*/ 2634730 w 3368309"/>
                <a:gd name="connsiteY4189" fmla="*/ 1832565 h 2031151"/>
                <a:gd name="connsiteX4190" fmla="*/ 2630331 w 3368309"/>
                <a:gd name="connsiteY4190" fmla="*/ 1836312 h 2031151"/>
                <a:gd name="connsiteX4191" fmla="*/ 2629679 w 3368309"/>
                <a:gd name="connsiteY4191" fmla="*/ 1845598 h 2031151"/>
                <a:gd name="connsiteX4192" fmla="*/ 2626421 w 3368309"/>
                <a:gd name="connsiteY4192" fmla="*/ 1847878 h 2031151"/>
                <a:gd name="connsiteX4193" fmla="*/ 2624304 w 3368309"/>
                <a:gd name="connsiteY4193" fmla="*/ 1856350 h 2031151"/>
                <a:gd name="connsiteX4194" fmla="*/ 2622186 w 3368309"/>
                <a:gd name="connsiteY4194" fmla="*/ 1854069 h 2031151"/>
                <a:gd name="connsiteX4195" fmla="*/ 2615669 w 3368309"/>
                <a:gd name="connsiteY4195" fmla="*/ 1855209 h 2031151"/>
                <a:gd name="connsiteX4196" fmla="*/ 2613877 w 3368309"/>
                <a:gd name="connsiteY4196" fmla="*/ 1862703 h 2031151"/>
                <a:gd name="connsiteX4197" fmla="*/ 2612248 w 3368309"/>
                <a:gd name="connsiteY4197" fmla="*/ 1862703 h 2031151"/>
                <a:gd name="connsiteX4198" fmla="*/ 845498 w 3368309"/>
                <a:gd name="connsiteY4198" fmla="*/ 1883393 h 2031151"/>
                <a:gd name="connsiteX4199" fmla="*/ 839145 w 3368309"/>
                <a:gd name="connsiteY4199" fmla="*/ 1878994 h 2031151"/>
                <a:gd name="connsiteX4200" fmla="*/ 809007 w 3368309"/>
                <a:gd name="connsiteY4200" fmla="*/ 1884696 h 2031151"/>
                <a:gd name="connsiteX4201" fmla="*/ 845498 w 3368309"/>
                <a:gd name="connsiteY4201" fmla="*/ 1883393 h 2031151"/>
                <a:gd name="connsiteX4202" fmla="*/ 845498 w 3368309"/>
                <a:gd name="connsiteY4202" fmla="*/ 1883393 h 2031151"/>
                <a:gd name="connsiteX4203" fmla="*/ 2987917 w 3368309"/>
                <a:gd name="connsiteY4203" fmla="*/ 1775221 h 2031151"/>
                <a:gd name="connsiteX4204" fmla="*/ 2990197 w 3368309"/>
                <a:gd name="connsiteY4204" fmla="*/ 1776036 h 2031151"/>
                <a:gd name="connsiteX4205" fmla="*/ 2994759 w 3368309"/>
                <a:gd name="connsiteY4205" fmla="*/ 1772940 h 2031151"/>
                <a:gd name="connsiteX4206" fmla="*/ 2995574 w 3368309"/>
                <a:gd name="connsiteY4206" fmla="*/ 1769193 h 2031151"/>
                <a:gd name="connsiteX4207" fmla="*/ 2991827 w 3368309"/>
                <a:gd name="connsiteY4207" fmla="*/ 1770823 h 2031151"/>
                <a:gd name="connsiteX4208" fmla="*/ 2987917 w 3368309"/>
                <a:gd name="connsiteY4208" fmla="*/ 1775221 h 2031151"/>
                <a:gd name="connsiteX4209" fmla="*/ 2987917 w 3368309"/>
                <a:gd name="connsiteY4209" fmla="*/ 1775221 h 2031151"/>
                <a:gd name="connsiteX4210" fmla="*/ 164864 w 3368309"/>
                <a:gd name="connsiteY4210" fmla="*/ 260492 h 2031151"/>
                <a:gd name="connsiteX4211" fmla="*/ 161606 w 3368309"/>
                <a:gd name="connsiteY4211" fmla="*/ 254953 h 2031151"/>
                <a:gd name="connsiteX4212" fmla="*/ 160791 w 3368309"/>
                <a:gd name="connsiteY4212" fmla="*/ 247622 h 2031151"/>
                <a:gd name="connsiteX4213" fmla="*/ 158022 w 3368309"/>
                <a:gd name="connsiteY4213" fmla="*/ 244364 h 2031151"/>
                <a:gd name="connsiteX4214" fmla="*/ 155089 w 3368309"/>
                <a:gd name="connsiteY4214" fmla="*/ 243223 h 2031151"/>
                <a:gd name="connsiteX4215" fmla="*/ 152809 w 3368309"/>
                <a:gd name="connsiteY4215" fmla="*/ 238173 h 2031151"/>
                <a:gd name="connsiteX4216" fmla="*/ 158185 w 3368309"/>
                <a:gd name="connsiteY4216" fmla="*/ 233449 h 2031151"/>
                <a:gd name="connsiteX4217" fmla="*/ 162257 w 3368309"/>
                <a:gd name="connsiteY4217" fmla="*/ 228236 h 2031151"/>
                <a:gd name="connsiteX4218" fmla="*/ 169588 w 3368309"/>
                <a:gd name="connsiteY4218" fmla="*/ 227584 h 2031151"/>
                <a:gd name="connsiteX4219" fmla="*/ 172521 w 3368309"/>
                <a:gd name="connsiteY4219" fmla="*/ 224652 h 2031151"/>
                <a:gd name="connsiteX4220" fmla="*/ 175779 w 3368309"/>
                <a:gd name="connsiteY4220" fmla="*/ 226118 h 2031151"/>
                <a:gd name="connsiteX4221" fmla="*/ 178548 w 3368309"/>
                <a:gd name="connsiteY4221" fmla="*/ 231494 h 2031151"/>
                <a:gd name="connsiteX4222" fmla="*/ 184250 w 3368309"/>
                <a:gd name="connsiteY4222" fmla="*/ 234100 h 2031151"/>
                <a:gd name="connsiteX4223" fmla="*/ 189952 w 3368309"/>
                <a:gd name="connsiteY4223" fmla="*/ 233449 h 2031151"/>
                <a:gd name="connsiteX4224" fmla="*/ 190930 w 3368309"/>
                <a:gd name="connsiteY4224" fmla="*/ 231657 h 2031151"/>
                <a:gd name="connsiteX4225" fmla="*/ 193699 w 3368309"/>
                <a:gd name="connsiteY4225" fmla="*/ 230191 h 2031151"/>
                <a:gd name="connsiteX4226" fmla="*/ 190603 w 3368309"/>
                <a:gd name="connsiteY4226" fmla="*/ 226607 h 2031151"/>
                <a:gd name="connsiteX4227" fmla="*/ 184739 w 3368309"/>
                <a:gd name="connsiteY4227" fmla="*/ 225303 h 2031151"/>
                <a:gd name="connsiteX4228" fmla="*/ 171706 w 3368309"/>
                <a:gd name="connsiteY4228" fmla="*/ 217321 h 2031151"/>
                <a:gd name="connsiteX4229" fmla="*/ 160466 w 3368309"/>
                <a:gd name="connsiteY4229" fmla="*/ 215529 h 2031151"/>
                <a:gd name="connsiteX4230" fmla="*/ 153298 w 3368309"/>
                <a:gd name="connsiteY4230" fmla="*/ 216018 h 2031151"/>
                <a:gd name="connsiteX4231" fmla="*/ 143686 w 3368309"/>
                <a:gd name="connsiteY4231" fmla="*/ 224489 h 2031151"/>
                <a:gd name="connsiteX4232" fmla="*/ 140265 w 3368309"/>
                <a:gd name="connsiteY4232" fmla="*/ 231657 h 2031151"/>
                <a:gd name="connsiteX4233" fmla="*/ 134563 w 3368309"/>
                <a:gd name="connsiteY4233" fmla="*/ 233286 h 2031151"/>
                <a:gd name="connsiteX4234" fmla="*/ 128372 w 3368309"/>
                <a:gd name="connsiteY4234" fmla="*/ 238825 h 2031151"/>
                <a:gd name="connsiteX4235" fmla="*/ 128698 w 3368309"/>
                <a:gd name="connsiteY4235" fmla="*/ 252020 h 2031151"/>
                <a:gd name="connsiteX4236" fmla="*/ 132608 w 3368309"/>
                <a:gd name="connsiteY4236" fmla="*/ 254790 h 2031151"/>
                <a:gd name="connsiteX4237" fmla="*/ 138798 w 3368309"/>
                <a:gd name="connsiteY4237" fmla="*/ 251043 h 2031151"/>
                <a:gd name="connsiteX4238" fmla="*/ 143360 w 3368309"/>
                <a:gd name="connsiteY4238" fmla="*/ 254464 h 2031151"/>
                <a:gd name="connsiteX4239" fmla="*/ 145803 w 3368309"/>
                <a:gd name="connsiteY4239" fmla="*/ 257722 h 2031151"/>
                <a:gd name="connsiteX4240" fmla="*/ 148736 w 3368309"/>
                <a:gd name="connsiteY4240" fmla="*/ 259351 h 2031151"/>
                <a:gd name="connsiteX4241" fmla="*/ 151017 w 3368309"/>
                <a:gd name="connsiteY4241" fmla="*/ 255442 h 2031151"/>
                <a:gd name="connsiteX4242" fmla="*/ 151017 w 3368309"/>
                <a:gd name="connsiteY4242" fmla="*/ 252672 h 2031151"/>
                <a:gd name="connsiteX4243" fmla="*/ 153949 w 3368309"/>
                <a:gd name="connsiteY4243" fmla="*/ 249903 h 2031151"/>
                <a:gd name="connsiteX4244" fmla="*/ 157207 w 3368309"/>
                <a:gd name="connsiteY4244" fmla="*/ 253324 h 2031151"/>
                <a:gd name="connsiteX4245" fmla="*/ 159814 w 3368309"/>
                <a:gd name="connsiteY4245" fmla="*/ 260818 h 2031151"/>
                <a:gd name="connsiteX4246" fmla="*/ 164050 w 3368309"/>
                <a:gd name="connsiteY4246" fmla="*/ 263587 h 2031151"/>
                <a:gd name="connsiteX4247" fmla="*/ 165027 w 3368309"/>
                <a:gd name="connsiteY4247" fmla="*/ 260166 h 2031151"/>
                <a:gd name="connsiteX4248" fmla="*/ 165027 w 3368309"/>
                <a:gd name="connsiteY4248" fmla="*/ 260166 h 2031151"/>
                <a:gd name="connsiteX4249" fmla="*/ 205266 w 3368309"/>
                <a:gd name="connsiteY4249" fmla="*/ 185554 h 2031151"/>
                <a:gd name="connsiteX4250" fmla="*/ 206243 w 3368309"/>
                <a:gd name="connsiteY4250" fmla="*/ 179852 h 2031151"/>
                <a:gd name="connsiteX4251" fmla="*/ 209664 w 3368309"/>
                <a:gd name="connsiteY4251" fmla="*/ 175616 h 2031151"/>
                <a:gd name="connsiteX4252" fmla="*/ 211782 w 3368309"/>
                <a:gd name="connsiteY4252" fmla="*/ 175616 h 2031151"/>
                <a:gd name="connsiteX4253" fmla="*/ 212271 w 3368309"/>
                <a:gd name="connsiteY4253" fmla="*/ 180340 h 2031151"/>
                <a:gd name="connsiteX4254" fmla="*/ 214551 w 3368309"/>
                <a:gd name="connsiteY4254" fmla="*/ 183273 h 2031151"/>
                <a:gd name="connsiteX4255" fmla="*/ 213574 w 3368309"/>
                <a:gd name="connsiteY4255" fmla="*/ 187020 h 2031151"/>
                <a:gd name="connsiteX4256" fmla="*/ 207057 w 3368309"/>
                <a:gd name="connsiteY4256" fmla="*/ 187020 h 2031151"/>
                <a:gd name="connsiteX4257" fmla="*/ 205266 w 3368309"/>
                <a:gd name="connsiteY4257" fmla="*/ 185716 h 2031151"/>
                <a:gd name="connsiteX4258" fmla="*/ 205266 w 3368309"/>
                <a:gd name="connsiteY4258" fmla="*/ 185716 h 2031151"/>
                <a:gd name="connsiteX4259" fmla="*/ 194351 w 3368309"/>
                <a:gd name="connsiteY4259" fmla="*/ 287535 h 2031151"/>
                <a:gd name="connsiteX4260" fmla="*/ 196631 w 3368309"/>
                <a:gd name="connsiteY4260" fmla="*/ 287535 h 2031151"/>
                <a:gd name="connsiteX4261" fmla="*/ 199564 w 3368309"/>
                <a:gd name="connsiteY4261" fmla="*/ 285743 h 2031151"/>
                <a:gd name="connsiteX4262" fmla="*/ 202007 w 3368309"/>
                <a:gd name="connsiteY4262" fmla="*/ 281507 h 2031151"/>
                <a:gd name="connsiteX4263" fmla="*/ 201682 w 3368309"/>
                <a:gd name="connsiteY4263" fmla="*/ 277760 h 2031151"/>
                <a:gd name="connsiteX4264" fmla="*/ 202659 w 3368309"/>
                <a:gd name="connsiteY4264" fmla="*/ 275479 h 2031151"/>
                <a:gd name="connsiteX4265" fmla="*/ 204940 w 3368309"/>
                <a:gd name="connsiteY4265" fmla="*/ 277108 h 2031151"/>
                <a:gd name="connsiteX4266" fmla="*/ 208524 w 3368309"/>
                <a:gd name="connsiteY4266" fmla="*/ 275154 h 2031151"/>
                <a:gd name="connsiteX4267" fmla="*/ 209664 w 3368309"/>
                <a:gd name="connsiteY4267" fmla="*/ 268311 h 2031151"/>
                <a:gd name="connsiteX4268" fmla="*/ 208687 w 3368309"/>
                <a:gd name="connsiteY4268" fmla="*/ 261306 h 2031151"/>
                <a:gd name="connsiteX4269" fmla="*/ 204614 w 3368309"/>
                <a:gd name="connsiteY4269" fmla="*/ 257396 h 2031151"/>
                <a:gd name="connsiteX4270" fmla="*/ 203962 w 3368309"/>
                <a:gd name="connsiteY4270" fmla="*/ 255279 h 2031151"/>
                <a:gd name="connsiteX4271" fmla="*/ 209175 w 3368309"/>
                <a:gd name="connsiteY4271" fmla="*/ 252835 h 2031151"/>
                <a:gd name="connsiteX4272" fmla="*/ 213411 w 3368309"/>
                <a:gd name="connsiteY4272" fmla="*/ 253161 h 2031151"/>
                <a:gd name="connsiteX4273" fmla="*/ 221068 w 3368309"/>
                <a:gd name="connsiteY4273" fmla="*/ 251532 h 2031151"/>
                <a:gd name="connsiteX4274" fmla="*/ 223023 w 3368309"/>
                <a:gd name="connsiteY4274" fmla="*/ 250228 h 2031151"/>
                <a:gd name="connsiteX4275" fmla="*/ 223023 w 3368309"/>
                <a:gd name="connsiteY4275" fmla="*/ 248274 h 2031151"/>
                <a:gd name="connsiteX4276" fmla="*/ 221393 w 3368309"/>
                <a:gd name="connsiteY4276" fmla="*/ 246807 h 2031151"/>
                <a:gd name="connsiteX4277" fmla="*/ 219764 w 3368309"/>
                <a:gd name="connsiteY4277" fmla="*/ 243549 h 2031151"/>
                <a:gd name="connsiteX4278" fmla="*/ 216669 w 3368309"/>
                <a:gd name="connsiteY4278" fmla="*/ 243223 h 2031151"/>
                <a:gd name="connsiteX4279" fmla="*/ 215692 w 3368309"/>
                <a:gd name="connsiteY4279" fmla="*/ 241757 h 2031151"/>
                <a:gd name="connsiteX4280" fmla="*/ 215692 w 3368309"/>
                <a:gd name="connsiteY4280" fmla="*/ 236544 h 2031151"/>
                <a:gd name="connsiteX4281" fmla="*/ 217973 w 3368309"/>
                <a:gd name="connsiteY4281" fmla="*/ 234589 h 2031151"/>
                <a:gd name="connsiteX4282" fmla="*/ 220579 w 3368309"/>
                <a:gd name="connsiteY4282" fmla="*/ 235078 h 2031151"/>
                <a:gd name="connsiteX4283" fmla="*/ 221393 w 3368309"/>
                <a:gd name="connsiteY4283" fmla="*/ 236870 h 2031151"/>
                <a:gd name="connsiteX4284" fmla="*/ 224326 w 3368309"/>
                <a:gd name="connsiteY4284" fmla="*/ 237684 h 2031151"/>
                <a:gd name="connsiteX4285" fmla="*/ 227421 w 3368309"/>
                <a:gd name="connsiteY4285" fmla="*/ 236544 h 2031151"/>
                <a:gd name="connsiteX4286" fmla="*/ 232146 w 3368309"/>
                <a:gd name="connsiteY4286" fmla="*/ 231494 h 2031151"/>
                <a:gd name="connsiteX4287" fmla="*/ 235567 w 3368309"/>
                <a:gd name="connsiteY4287" fmla="*/ 229050 h 2031151"/>
                <a:gd name="connsiteX4288" fmla="*/ 236055 w 3368309"/>
                <a:gd name="connsiteY4288" fmla="*/ 227095 h 2031151"/>
                <a:gd name="connsiteX4289" fmla="*/ 233286 w 3368309"/>
                <a:gd name="connsiteY4289" fmla="*/ 222045 h 2031151"/>
                <a:gd name="connsiteX4290" fmla="*/ 232960 w 3368309"/>
                <a:gd name="connsiteY4290" fmla="*/ 219602 h 2031151"/>
                <a:gd name="connsiteX4291" fmla="*/ 227910 w 3368309"/>
                <a:gd name="connsiteY4291" fmla="*/ 216180 h 2031151"/>
                <a:gd name="connsiteX4292" fmla="*/ 226769 w 3368309"/>
                <a:gd name="connsiteY4292" fmla="*/ 211782 h 2031151"/>
                <a:gd name="connsiteX4293" fmla="*/ 224489 w 3368309"/>
                <a:gd name="connsiteY4293" fmla="*/ 211293 h 2031151"/>
                <a:gd name="connsiteX4294" fmla="*/ 218950 w 3368309"/>
                <a:gd name="connsiteY4294" fmla="*/ 214226 h 2031151"/>
                <a:gd name="connsiteX4295" fmla="*/ 215528 w 3368309"/>
                <a:gd name="connsiteY4295" fmla="*/ 219439 h 2031151"/>
                <a:gd name="connsiteX4296" fmla="*/ 212922 w 3368309"/>
                <a:gd name="connsiteY4296" fmla="*/ 221068 h 2031151"/>
                <a:gd name="connsiteX4297" fmla="*/ 212596 w 3368309"/>
                <a:gd name="connsiteY4297" fmla="*/ 218461 h 2031151"/>
                <a:gd name="connsiteX4298" fmla="*/ 213737 w 3368309"/>
                <a:gd name="connsiteY4298" fmla="*/ 213737 h 2031151"/>
                <a:gd name="connsiteX4299" fmla="*/ 217321 w 3368309"/>
                <a:gd name="connsiteY4299" fmla="*/ 210479 h 2031151"/>
                <a:gd name="connsiteX4300" fmla="*/ 219601 w 3368309"/>
                <a:gd name="connsiteY4300" fmla="*/ 204451 h 2031151"/>
                <a:gd name="connsiteX4301" fmla="*/ 220253 w 3368309"/>
                <a:gd name="connsiteY4301" fmla="*/ 198098 h 2031151"/>
                <a:gd name="connsiteX4302" fmla="*/ 219601 w 3368309"/>
                <a:gd name="connsiteY4302" fmla="*/ 196306 h 2031151"/>
                <a:gd name="connsiteX4303" fmla="*/ 213900 w 3368309"/>
                <a:gd name="connsiteY4303" fmla="*/ 202659 h 2031151"/>
                <a:gd name="connsiteX4304" fmla="*/ 210804 w 3368309"/>
                <a:gd name="connsiteY4304" fmla="*/ 209664 h 2031151"/>
                <a:gd name="connsiteX4305" fmla="*/ 209175 w 3368309"/>
                <a:gd name="connsiteY4305" fmla="*/ 210316 h 2031151"/>
                <a:gd name="connsiteX4306" fmla="*/ 208687 w 3368309"/>
                <a:gd name="connsiteY4306" fmla="*/ 207872 h 2031151"/>
                <a:gd name="connsiteX4307" fmla="*/ 209664 w 3368309"/>
                <a:gd name="connsiteY4307" fmla="*/ 202985 h 2031151"/>
                <a:gd name="connsiteX4308" fmla="*/ 208361 w 3368309"/>
                <a:gd name="connsiteY4308" fmla="*/ 200378 h 2031151"/>
                <a:gd name="connsiteX4309" fmla="*/ 206569 w 3368309"/>
                <a:gd name="connsiteY4309" fmla="*/ 202333 h 2031151"/>
                <a:gd name="connsiteX4310" fmla="*/ 204125 w 3368309"/>
                <a:gd name="connsiteY4310" fmla="*/ 208524 h 2031151"/>
                <a:gd name="connsiteX4311" fmla="*/ 200052 w 3368309"/>
                <a:gd name="connsiteY4311" fmla="*/ 210153 h 2031151"/>
                <a:gd name="connsiteX4312" fmla="*/ 200052 w 3368309"/>
                <a:gd name="connsiteY4312" fmla="*/ 214714 h 2031151"/>
                <a:gd name="connsiteX4313" fmla="*/ 201844 w 3368309"/>
                <a:gd name="connsiteY4313" fmla="*/ 216180 h 2031151"/>
                <a:gd name="connsiteX4314" fmla="*/ 205754 w 3368309"/>
                <a:gd name="connsiteY4314" fmla="*/ 215366 h 2031151"/>
                <a:gd name="connsiteX4315" fmla="*/ 208198 w 3368309"/>
                <a:gd name="connsiteY4315" fmla="*/ 216343 h 2031151"/>
                <a:gd name="connsiteX4316" fmla="*/ 208198 w 3368309"/>
                <a:gd name="connsiteY4316" fmla="*/ 219439 h 2031151"/>
                <a:gd name="connsiteX4317" fmla="*/ 204125 w 3368309"/>
                <a:gd name="connsiteY4317" fmla="*/ 220905 h 2031151"/>
                <a:gd name="connsiteX4318" fmla="*/ 200378 w 3368309"/>
                <a:gd name="connsiteY4318" fmla="*/ 224326 h 2031151"/>
                <a:gd name="connsiteX4319" fmla="*/ 201030 w 3368309"/>
                <a:gd name="connsiteY4319" fmla="*/ 229865 h 2031151"/>
                <a:gd name="connsiteX4320" fmla="*/ 199238 w 3368309"/>
                <a:gd name="connsiteY4320" fmla="*/ 233286 h 2031151"/>
                <a:gd name="connsiteX4321" fmla="*/ 195491 w 3368309"/>
                <a:gd name="connsiteY4321" fmla="*/ 234263 h 2031151"/>
                <a:gd name="connsiteX4322" fmla="*/ 191744 w 3368309"/>
                <a:gd name="connsiteY4322" fmla="*/ 239639 h 2031151"/>
                <a:gd name="connsiteX4323" fmla="*/ 187508 w 3368309"/>
                <a:gd name="connsiteY4323" fmla="*/ 242246 h 2031151"/>
                <a:gd name="connsiteX4324" fmla="*/ 182784 w 3368309"/>
                <a:gd name="connsiteY4324" fmla="*/ 239802 h 2031151"/>
                <a:gd name="connsiteX4325" fmla="*/ 178711 w 3368309"/>
                <a:gd name="connsiteY4325" fmla="*/ 240617 h 2031151"/>
                <a:gd name="connsiteX4326" fmla="*/ 173335 w 3368309"/>
                <a:gd name="connsiteY4326" fmla="*/ 238173 h 2031151"/>
                <a:gd name="connsiteX4327" fmla="*/ 170728 w 3368309"/>
                <a:gd name="connsiteY4327" fmla="*/ 235241 h 2031151"/>
                <a:gd name="connsiteX4328" fmla="*/ 168122 w 3368309"/>
                <a:gd name="connsiteY4328" fmla="*/ 237522 h 2031151"/>
                <a:gd name="connsiteX4329" fmla="*/ 168122 w 3368309"/>
                <a:gd name="connsiteY4329" fmla="*/ 240943 h 2031151"/>
                <a:gd name="connsiteX4330" fmla="*/ 166819 w 3368309"/>
                <a:gd name="connsiteY4330" fmla="*/ 243549 h 2031151"/>
                <a:gd name="connsiteX4331" fmla="*/ 166819 w 3368309"/>
                <a:gd name="connsiteY4331" fmla="*/ 247785 h 2031151"/>
                <a:gd name="connsiteX4332" fmla="*/ 170892 w 3368309"/>
                <a:gd name="connsiteY4332" fmla="*/ 248762 h 2031151"/>
                <a:gd name="connsiteX4333" fmla="*/ 174313 w 3368309"/>
                <a:gd name="connsiteY4333" fmla="*/ 245504 h 2031151"/>
                <a:gd name="connsiteX4334" fmla="*/ 178385 w 3368309"/>
                <a:gd name="connsiteY4334" fmla="*/ 248274 h 2031151"/>
                <a:gd name="connsiteX4335" fmla="*/ 179526 w 3368309"/>
                <a:gd name="connsiteY4335" fmla="*/ 254138 h 2031151"/>
                <a:gd name="connsiteX4336" fmla="*/ 183762 w 3368309"/>
                <a:gd name="connsiteY4336" fmla="*/ 254953 h 2031151"/>
                <a:gd name="connsiteX4337" fmla="*/ 185716 w 3368309"/>
                <a:gd name="connsiteY4337" fmla="*/ 256745 h 2031151"/>
                <a:gd name="connsiteX4338" fmla="*/ 182458 w 3368309"/>
                <a:gd name="connsiteY4338" fmla="*/ 258374 h 2031151"/>
                <a:gd name="connsiteX4339" fmla="*/ 176593 w 3368309"/>
                <a:gd name="connsiteY4339" fmla="*/ 258374 h 2031151"/>
                <a:gd name="connsiteX4340" fmla="*/ 172195 w 3368309"/>
                <a:gd name="connsiteY4340" fmla="*/ 262121 h 2031151"/>
                <a:gd name="connsiteX4341" fmla="*/ 173987 w 3368309"/>
                <a:gd name="connsiteY4341" fmla="*/ 274502 h 2031151"/>
                <a:gd name="connsiteX4342" fmla="*/ 176430 w 3368309"/>
                <a:gd name="connsiteY4342" fmla="*/ 278575 h 2031151"/>
                <a:gd name="connsiteX4343" fmla="*/ 175290 w 3368309"/>
                <a:gd name="connsiteY4343" fmla="*/ 281507 h 2031151"/>
                <a:gd name="connsiteX4344" fmla="*/ 176593 w 3368309"/>
                <a:gd name="connsiteY4344" fmla="*/ 284439 h 2031151"/>
                <a:gd name="connsiteX4345" fmla="*/ 180014 w 3368309"/>
                <a:gd name="connsiteY4345" fmla="*/ 282810 h 2031151"/>
                <a:gd name="connsiteX4346" fmla="*/ 184250 w 3368309"/>
                <a:gd name="connsiteY4346" fmla="*/ 282810 h 2031151"/>
                <a:gd name="connsiteX4347" fmla="*/ 186531 w 3368309"/>
                <a:gd name="connsiteY4347" fmla="*/ 279389 h 2031151"/>
                <a:gd name="connsiteX4348" fmla="*/ 186857 w 3368309"/>
                <a:gd name="connsiteY4348" fmla="*/ 274013 h 2031151"/>
                <a:gd name="connsiteX4349" fmla="*/ 189626 w 3368309"/>
                <a:gd name="connsiteY4349" fmla="*/ 274013 h 2031151"/>
                <a:gd name="connsiteX4350" fmla="*/ 193536 w 3368309"/>
                <a:gd name="connsiteY4350" fmla="*/ 278412 h 2031151"/>
                <a:gd name="connsiteX4351" fmla="*/ 193862 w 3368309"/>
                <a:gd name="connsiteY4351" fmla="*/ 288023 h 2031151"/>
                <a:gd name="connsiteX4352" fmla="*/ 193862 w 3368309"/>
                <a:gd name="connsiteY4352" fmla="*/ 288023 h 2031151"/>
                <a:gd name="connsiteX4353" fmla="*/ 227747 w 3368309"/>
                <a:gd name="connsiteY4353" fmla="*/ 278086 h 2031151"/>
                <a:gd name="connsiteX4354" fmla="*/ 228887 w 3368309"/>
                <a:gd name="connsiteY4354" fmla="*/ 273687 h 2031151"/>
                <a:gd name="connsiteX4355" fmla="*/ 231331 w 3368309"/>
                <a:gd name="connsiteY4355" fmla="*/ 269452 h 2031151"/>
                <a:gd name="connsiteX4356" fmla="*/ 231331 w 3368309"/>
                <a:gd name="connsiteY4356" fmla="*/ 264727 h 2031151"/>
                <a:gd name="connsiteX4357" fmla="*/ 225466 w 3368309"/>
                <a:gd name="connsiteY4357" fmla="*/ 262935 h 2031151"/>
                <a:gd name="connsiteX4358" fmla="*/ 221068 w 3368309"/>
                <a:gd name="connsiteY4358" fmla="*/ 260329 h 2031151"/>
                <a:gd name="connsiteX4359" fmla="*/ 219927 w 3368309"/>
                <a:gd name="connsiteY4359" fmla="*/ 266845 h 2031151"/>
                <a:gd name="connsiteX4360" fmla="*/ 218787 w 3368309"/>
                <a:gd name="connsiteY4360" fmla="*/ 269778 h 2031151"/>
                <a:gd name="connsiteX4361" fmla="*/ 220416 w 3368309"/>
                <a:gd name="connsiteY4361" fmla="*/ 274176 h 2031151"/>
                <a:gd name="connsiteX4362" fmla="*/ 227747 w 3368309"/>
                <a:gd name="connsiteY4362" fmla="*/ 278249 h 2031151"/>
                <a:gd name="connsiteX4363" fmla="*/ 227747 w 3368309"/>
                <a:gd name="connsiteY4363" fmla="*/ 278249 h 2031151"/>
                <a:gd name="connsiteX4364" fmla="*/ 235241 w 3368309"/>
                <a:gd name="connsiteY4364" fmla="*/ 291607 h 2031151"/>
                <a:gd name="connsiteX4365" fmla="*/ 239639 w 3368309"/>
                <a:gd name="connsiteY4365" fmla="*/ 291119 h 2031151"/>
                <a:gd name="connsiteX4366" fmla="*/ 243549 w 3368309"/>
                <a:gd name="connsiteY4366" fmla="*/ 288675 h 2031151"/>
                <a:gd name="connsiteX4367" fmla="*/ 251043 w 3368309"/>
                <a:gd name="connsiteY4367" fmla="*/ 288675 h 2031151"/>
                <a:gd name="connsiteX4368" fmla="*/ 252998 w 3368309"/>
                <a:gd name="connsiteY4368" fmla="*/ 285906 h 2031151"/>
                <a:gd name="connsiteX4369" fmla="*/ 251694 w 3368309"/>
                <a:gd name="connsiteY4369" fmla="*/ 282159 h 2031151"/>
                <a:gd name="connsiteX4370" fmla="*/ 245993 w 3368309"/>
                <a:gd name="connsiteY4370" fmla="*/ 281181 h 2031151"/>
                <a:gd name="connsiteX4371" fmla="*/ 245504 w 3368309"/>
                <a:gd name="connsiteY4371" fmla="*/ 275968 h 2031151"/>
                <a:gd name="connsiteX4372" fmla="*/ 239965 w 3368309"/>
                <a:gd name="connsiteY4372" fmla="*/ 267660 h 2031151"/>
                <a:gd name="connsiteX4373" fmla="*/ 238662 w 3368309"/>
                <a:gd name="connsiteY4373" fmla="*/ 270103 h 2031151"/>
                <a:gd name="connsiteX4374" fmla="*/ 238662 w 3368309"/>
                <a:gd name="connsiteY4374" fmla="*/ 278575 h 2031151"/>
                <a:gd name="connsiteX4375" fmla="*/ 236870 w 3368309"/>
                <a:gd name="connsiteY4375" fmla="*/ 281670 h 2031151"/>
                <a:gd name="connsiteX4376" fmla="*/ 230842 w 3368309"/>
                <a:gd name="connsiteY4376" fmla="*/ 281670 h 2031151"/>
                <a:gd name="connsiteX4377" fmla="*/ 229050 w 3368309"/>
                <a:gd name="connsiteY4377" fmla="*/ 283136 h 2031151"/>
                <a:gd name="connsiteX4378" fmla="*/ 234263 w 3368309"/>
                <a:gd name="connsiteY4378" fmla="*/ 287046 h 2031151"/>
                <a:gd name="connsiteX4379" fmla="*/ 235403 w 3368309"/>
                <a:gd name="connsiteY4379" fmla="*/ 291444 h 2031151"/>
                <a:gd name="connsiteX4380" fmla="*/ 235403 w 3368309"/>
                <a:gd name="connsiteY4380" fmla="*/ 291444 h 2031151"/>
                <a:gd name="connsiteX4381" fmla="*/ 301545 w 3368309"/>
                <a:gd name="connsiteY4381" fmla="*/ 110452 h 2031151"/>
                <a:gd name="connsiteX4382" fmla="*/ 306432 w 3368309"/>
                <a:gd name="connsiteY4382" fmla="*/ 106543 h 2031151"/>
                <a:gd name="connsiteX4383" fmla="*/ 310994 w 3368309"/>
                <a:gd name="connsiteY4383" fmla="*/ 106543 h 2031151"/>
                <a:gd name="connsiteX4384" fmla="*/ 312623 w 3368309"/>
                <a:gd name="connsiteY4384" fmla="*/ 104425 h 2031151"/>
                <a:gd name="connsiteX4385" fmla="*/ 314578 w 3368309"/>
                <a:gd name="connsiteY4385" fmla="*/ 102959 h 2031151"/>
                <a:gd name="connsiteX4386" fmla="*/ 312948 w 3368309"/>
                <a:gd name="connsiteY4386" fmla="*/ 100352 h 2031151"/>
                <a:gd name="connsiteX4387" fmla="*/ 311808 w 3368309"/>
                <a:gd name="connsiteY4387" fmla="*/ 94650 h 2031151"/>
                <a:gd name="connsiteX4388" fmla="*/ 308550 w 3368309"/>
                <a:gd name="connsiteY4388" fmla="*/ 92695 h 2031151"/>
                <a:gd name="connsiteX4389" fmla="*/ 305292 w 3368309"/>
                <a:gd name="connsiteY4389" fmla="*/ 94976 h 2031151"/>
                <a:gd name="connsiteX4390" fmla="*/ 298775 w 3368309"/>
                <a:gd name="connsiteY4390" fmla="*/ 96605 h 2031151"/>
                <a:gd name="connsiteX4391" fmla="*/ 294377 w 3368309"/>
                <a:gd name="connsiteY4391" fmla="*/ 99049 h 2031151"/>
                <a:gd name="connsiteX4392" fmla="*/ 294377 w 3368309"/>
                <a:gd name="connsiteY4392" fmla="*/ 100841 h 2031151"/>
                <a:gd name="connsiteX4393" fmla="*/ 296983 w 3368309"/>
                <a:gd name="connsiteY4393" fmla="*/ 103121 h 2031151"/>
                <a:gd name="connsiteX4394" fmla="*/ 298775 w 3368309"/>
                <a:gd name="connsiteY4394" fmla="*/ 107357 h 2031151"/>
                <a:gd name="connsiteX4395" fmla="*/ 301708 w 3368309"/>
                <a:gd name="connsiteY4395" fmla="*/ 110615 h 2031151"/>
                <a:gd name="connsiteX4396" fmla="*/ 301708 w 3368309"/>
                <a:gd name="connsiteY4396" fmla="*/ 110615 h 2031151"/>
                <a:gd name="connsiteX4397" fmla="*/ 306595 w 3368309"/>
                <a:gd name="connsiteY4397" fmla="*/ 119412 h 2031151"/>
                <a:gd name="connsiteX4398" fmla="*/ 306106 w 3368309"/>
                <a:gd name="connsiteY4398" fmla="*/ 115828 h 2031151"/>
                <a:gd name="connsiteX4399" fmla="*/ 308224 w 3368309"/>
                <a:gd name="connsiteY4399" fmla="*/ 113873 h 2031151"/>
                <a:gd name="connsiteX4400" fmla="*/ 309364 w 3368309"/>
                <a:gd name="connsiteY4400" fmla="*/ 116969 h 2031151"/>
                <a:gd name="connsiteX4401" fmla="*/ 306758 w 3368309"/>
                <a:gd name="connsiteY4401" fmla="*/ 119249 h 2031151"/>
                <a:gd name="connsiteX4402" fmla="*/ 306758 w 3368309"/>
                <a:gd name="connsiteY4402" fmla="*/ 119249 h 2031151"/>
                <a:gd name="connsiteX4403" fmla="*/ 307898 w 3368309"/>
                <a:gd name="connsiteY4403" fmla="*/ 135703 h 2031151"/>
                <a:gd name="connsiteX4404" fmla="*/ 310342 w 3368309"/>
                <a:gd name="connsiteY4404" fmla="*/ 131631 h 2031151"/>
                <a:gd name="connsiteX4405" fmla="*/ 312948 w 3368309"/>
                <a:gd name="connsiteY4405" fmla="*/ 129839 h 2031151"/>
                <a:gd name="connsiteX4406" fmla="*/ 314414 w 3368309"/>
                <a:gd name="connsiteY4406" fmla="*/ 126906 h 2031151"/>
                <a:gd name="connsiteX4407" fmla="*/ 312134 w 3368309"/>
                <a:gd name="connsiteY4407" fmla="*/ 125114 h 2031151"/>
                <a:gd name="connsiteX4408" fmla="*/ 309853 w 3368309"/>
                <a:gd name="connsiteY4408" fmla="*/ 125766 h 2031151"/>
                <a:gd name="connsiteX4409" fmla="*/ 304966 w 3368309"/>
                <a:gd name="connsiteY4409" fmla="*/ 125766 h 2031151"/>
                <a:gd name="connsiteX4410" fmla="*/ 301871 w 3368309"/>
                <a:gd name="connsiteY4410" fmla="*/ 123322 h 2031151"/>
                <a:gd name="connsiteX4411" fmla="*/ 298124 w 3368309"/>
                <a:gd name="connsiteY4411" fmla="*/ 122833 h 2031151"/>
                <a:gd name="connsiteX4412" fmla="*/ 293725 w 3368309"/>
                <a:gd name="connsiteY4412" fmla="*/ 125440 h 2031151"/>
                <a:gd name="connsiteX4413" fmla="*/ 289001 w 3368309"/>
                <a:gd name="connsiteY4413" fmla="*/ 129676 h 2031151"/>
                <a:gd name="connsiteX4414" fmla="*/ 288512 w 3368309"/>
                <a:gd name="connsiteY4414" fmla="*/ 132608 h 2031151"/>
                <a:gd name="connsiteX4415" fmla="*/ 290141 w 3368309"/>
                <a:gd name="connsiteY4415" fmla="*/ 135540 h 2031151"/>
                <a:gd name="connsiteX4416" fmla="*/ 294540 w 3368309"/>
                <a:gd name="connsiteY4416" fmla="*/ 137495 h 2031151"/>
                <a:gd name="connsiteX4417" fmla="*/ 299264 w 3368309"/>
                <a:gd name="connsiteY4417" fmla="*/ 134889 h 2031151"/>
                <a:gd name="connsiteX4418" fmla="*/ 301708 w 3368309"/>
                <a:gd name="connsiteY4418" fmla="*/ 137821 h 2031151"/>
                <a:gd name="connsiteX4419" fmla="*/ 304803 w 3368309"/>
                <a:gd name="connsiteY4419" fmla="*/ 138147 h 2031151"/>
                <a:gd name="connsiteX4420" fmla="*/ 307735 w 3368309"/>
                <a:gd name="connsiteY4420" fmla="*/ 135540 h 2031151"/>
                <a:gd name="connsiteX4421" fmla="*/ 307735 w 3368309"/>
                <a:gd name="connsiteY4421" fmla="*/ 135540 h 2031151"/>
                <a:gd name="connsiteX4422" fmla="*/ 319791 w 3368309"/>
                <a:gd name="connsiteY4422" fmla="*/ 136681 h 2031151"/>
                <a:gd name="connsiteX4423" fmla="*/ 318813 w 3368309"/>
                <a:gd name="connsiteY4423" fmla="*/ 130816 h 2031151"/>
                <a:gd name="connsiteX4424" fmla="*/ 321094 w 3368309"/>
                <a:gd name="connsiteY4424" fmla="*/ 127721 h 2031151"/>
                <a:gd name="connsiteX4425" fmla="*/ 323863 w 3368309"/>
                <a:gd name="connsiteY4425" fmla="*/ 127232 h 2031151"/>
                <a:gd name="connsiteX4426" fmla="*/ 326959 w 3368309"/>
                <a:gd name="connsiteY4426" fmla="*/ 129513 h 2031151"/>
                <a:gd name="connsiteX4427" fmla="*/ 328262 w 3368309"/>
                <a:gd name="connsiteY4427" fmla="*/ 132771 h 2031151"/>
                <a:gd name="connsiteX4428" fmla="*/ 327284 w 3368309"/>
                <a:gd name="connsiteY4428" fmla="*/ 136192 h 2031151"/>
                <a:gd name="connsiteX4429" fmla="*/ 323700 w 3368309"/>
                <a:gd name="connsiteY4429" fmla="*/ 137984 h 2031151"/>
                <a:gd name="connsiteX4430" fmla="*/ 319953 w 3368309"/>
                <a:gd name="connsiteY4430" fmla="*/ 136844 h 2031151"/>
                <a:gd name="connsiteX4431" fmla="*/ 319953 w 3368309"/>
                <a:gd name="connsiteY4431" fmla="*/ 136844 h 2031151"/>
                <a:gd name="connsiteX4432" fmla="*/ 299101 w 3368309"/>
                <a:gd name="connsiteY4432" fmla="*/ 163398 h 2031151"/>
                <a:gd name="connsiteX4433" fmla="*/ 304314 w 3368309"/>
                <a:gd name="connsiteY4433" fmla="*/ 155578 h 2031151"/>
                <a:gd name="connsiteX4434" fmla="*/ 307410 w 3368309"/>
                <a:gd name="connsiteY4434" fmla="*/ 148899 h 2031151"/>
                <a:gd name="connsiteX4435" fmla="*/ 311808 w 3368309"/>
                <a:gd name="connsiteY4435" fmla="*/ 144989 h 2031151"/>
                <a:gd name="connsiteX4436" fmla="*/ 311808 w 3368309"/>
                <a:gd name="connsiteY4436" fmla="*/ 143034 h 2031151"/>
                <a:gd name="connsiteX4437" fmla="*/ 307735 w 3368309"/>
                <a:gd name="connsiteY4437" fmla="*/ 141079 h 2031151"/>
                <a:gd name="connsiteX4438" fmla="*/ 301871 w 3368309"/>
                <a:gd name="connsiteY4438" fmla="*/ 144826 h 2031151"/>
                <a:gd name="connsiteX4439" fmla="*/ 296983 w 3368309"/>
                <a:gd name="connsiteY4439" fmla="*/ 142383 h 2031151"/>
                <a:gd name="connsiteX4440" fmla="*/ 290956 w 3368309"/>
                <a:gd name="connsiteY4440" fmla="*/ 141894 h 2031151"/>
                <a:gd name="connsiteX4441" fmla="*/ 289652 w 3368309"/>
                <a:gd name="connsiteY4441" fmla="*/ 146130 h 2031151"/>
                <a:gd name="connsiteX4442" fmla="*/ 287209 w 3368309"/>
                <a:gd name="connsiteY4442" fmla="*/ 150039 h 2031151"/>
                <a:gd name="connsiteX4443" fmla="*/ 288838 w 3368309"/>
                <a:gd name="connsiteY4443" fmla="*/ 151180 h 2031151"/>
                <a:gd name="connsiteX4444" fmla="*/ 292748 w 3368309"/>
                <a:gd name="connsiteY4444" fmla="*/ 150691 h 2031151"/>
                <a:gd name="connsiteX4445" fmla="*/ 294540 w 3368309"/>
                <a:gd name="connsiteY4445" fmla="*/ 156882 h 2031151"/>
                <a:gd name="connsiteX4446" fmla="*/ 295843 w 3368309"/>
                <a:gd name="connsiteY4446" fmla="*/ 158674 h 2031151"/>
                <a:gd name="connsiteX4447" fmla="*/ 289816 w 3368309"/>
                <a:gd name="connsiteY4447" fmla="*/ 159651 h 2031151"/>
                <a:gd name="connsiteX4448" fmla="*/ 281344 w 3368309"/>
                <a:gd name="connsiteY4448" fmla="*/ 162909 h 2031151"/>
                <a:gd name="connsiteX4449" fmla="*/ 279878 w 3368309"/>
                <a:gd name="connsiteY4449" fmla="*/ 165679 h 2031151"/>
                <a:gd name="connsiteX4450" fmla="*/ 281670 w 3368309"/>
                <a:gd name="connsiteY4450" fmla="*/ 168611 h 2031151"/>
                <a:gd name="connsiteX4451" fmla="*/ 287209 w 3368309"/>
                <a:gd name="connsiteY4451" fmla="*/ 169588 h 2031151"/>
                <a:gd name="connsiteX4452" fmla="*/ 292422 w 3368309"/>
                <a:gd name="connsiteY4452" fmla="*/ 165190 h 2031151"/>
                <a:gd name="connsiteX4453" fmla="*/ 299264 w 3368309"/>
                <a:gd name="connsiteY4453" fmla="*/ 163561 h 2031151"/>
                <a:gd name="connsiteX4454" fmla="*/ 299264 w 3368309"/>
                <a:gd name="connsiteY4454" fmla="*/ 163561 h 2031151"/>
                <a:gd name="connsiteX4455" fmla="*/ 313600 w 3368309"/>
                <a:gd name="connsiteY4455" fmla="*/ 163887 h 2031151"/>
                <a:gd name="connsiteX4456" fmla="*/ 308550 w 3368309"/>
                <a:gd name="connsiteY4456" fmla="*/ 163561 h 2031151"/>
                <a:gd name="connsiteX4457" fmla="*/ 305943 w 3368309"/>
                <a:gd name="connsiteY4457" fmla="*/ 165516 h 2031151"/>
                <a:gd name="connsiteX4458" fmla="*/ 302522 w 3368309"/>
                <a:gd name="connsiteY4458" fmla="*/ 163724 h 2031151"/>
                <a:gd name="connsiteX4459" fmla="*/ 305292 w 3368309"/>
                <a:gd name="connsiteY4459" fmla="*/ 159325 h 2031151"/>
                <a:gd name="connsiteX4460" fmla="*/ 310016 w 3368309"/>
                <a:gd name="connsiteY4460" fmla="*/ 156067 h 2031151"/>
                <a:gd name="connsiteX4461" fmla="*/ 311319 w 3368309"/>
                <a:gd name="connsiteY4461" fmla="*/ 152646 h 2031151"/>
                <a:gd name="connsiteX4462" fmla="*/ 315555 w 3368309"/>
                <a:gd name="connsiteY4462" fmla="*/ 157044 h 2031151"/>
                <a:gd name="connsiteX4463" fmla="*/ 314252 w 3368309"/>
                <a:gd name="connsiteY4463" fmla="*/ 159651 h 2031151"/>
                <a:gd name="connsiteX4464" fmla="*/ 313600 w 3368309"/>
                <a:gd name="connsiteY4464" fmla="*/ 164050 h 2031151"/>
                <a:gd name="connsiteX4465" fmla="*/ 313600 w 3368309"/>
                <a:gd name="connsiteY4465" fmla="*/ 164050 h 2031151"/>
                <a:gd name="connsiteX4466" fmla="*/ 328751 w 3368309"/>
                <a:gd name="connsiteY4466" fmla="*/ 173661 h 2031151"/>
                <a:gd name="connsiteX4467" fmla="*/ 321094 w 3368309"/>
                <a:gd name="connsiteY4467" fmla="*/ 168937 h 2031151"/>
                <a:gd name="connsiteX4468" fmla="*/ 319302 w 3368309"/>
                <a:gd name="connsiteY4468" fmla="*/ 164212 h 2031151"/>
                <a:gd name="connsiteX4469" fmla="*/ 321094 w 3368309"/>
                <a:gd name="connsiteY4469" fmla="*/ 160954 h 2031151"/>
                <a:gd name="connsiteX4470" fmla="*/ 323049 w 3368309"/>
                <a:gd name="connsiteY4470" fmla="*/ 160954 h 2031151"/>
                <a:gd name="connsiteX4471" fmla="*/ 324841 w 3368309"/>
                <a:gd name="connsiteY4471" fmla="*/ 164701 h 2031151"/>
                <a:gd name="connsiteX4472" fmla="*/ 330543 w 3368309"/>
                <a:gd name="connsiteY4472" fmla="*/ 164701 h 2031151"/>
                <a:gd name="connsiteX4473" fmla="*/ 334289 w 3368309"/>
                <a:gd name="connsiteY4473" fmla="*/ 167634 h 2031151"/>
                <a:gd name="connsiteX4474" fmla="*/ 333801 w 3368309"/>
                <a:gd name="connsiteY4474" fmla="*/ 172358 h 2031151"/>
                <a:gd name="connsiteX4475" fmla="*/ 328751 w 3368309"/>
                <a:gd name="connsiteY4475" fmla="*/ 173824 h 2031151"/>
                <a:gd name="connsiteX4476" fmla="*/ 328751 w 3368309"/>
                <a:gd name="connsiteY4476" fmla="*/ 173824 h 2031151"/>
                <a:gd name="connsiteX4477" fmla="*/ 321583 w 3368309"/>
                <a:gd name="connsiteY4477" fmla="*/ 188812 h 2031151"/>
                <a:gd name="connsiteX4478" fmla="*/ 317673 w 3368309"/>
                <a:gd name="connsiteY4478" fmla="*/ 183436 h 2031151"/>
                <a:gd name="connsiteX4479" fmla="*/ 307735 w 3368309"/>
                <a:gd name="connsiteY4479" fmla="*/ 176268 h 2031151"/>
                <a:gd name="connsiteX4480" fmla="*/ 299427 w 3368309"/>
                <a:gd name="connsiteY4480" fmla="*/ 173010 h 2031151"/>
                <a:gd name="connsiteX4481" fmla="*/ 294377 w 3368309"/>
                <a:gd name="connsiteY4481" fmla="*/ 173010 h 2031151"/>
                <a:gd name="connsiteX4482" fmla="*/ 291444 w 3368309"/>
                <a:gd name="connsiteY4482" fmla="*/ 171055 h 2031151"/>
                <a:gd name="connsiteX4483" fmla="*/ 292748 w 3368309"/>
                <a:gd name="connsiteY4483" fmla="*/ 169263 h 2031151"/>
                <a:gd name="connsiteX4484" fmla="*/ 297798 w 3368309"/>
                <a:gd name="connsiteY4484" fmla="*/ 167634 h 2031151"/>
                <a:gd name="connsiteX4485" fmla="*/ 304640 w 3368309"/>
                <a:gd name="connsiteY4485" fmla="*/ 167959 h 2031151"/>
                <a:gd name="connsiteX4486" fmla="*/ 312948 w 3368309"/>
                <a:gd name="connsiteY4486" fmla="*/ 171869 h 2031151"/>
                <a:gd name="connsiteX4487" fmla="*/ 320442 w 3368309"/>
                <a:gd name="connsiteY4487" fmla="*/ 178711 h 2031151"/>
                <a:gd name="connsiteX4488" fmla="*/ 323375 w 3368309"/>
                <a:gd name="connsiteY4488" fmla="*/ 178711 h 2031151"/>
                <a:gd name="connsiteX4489" fmla="*/ 326470 w 3368309"/>
                <a:gd name="connsiteY4489" fmla="*/ 175942 h 2031151"/>
                <a:gd name="connsiteX4490" fmla="*/ 327773 w 3368309"/>
                <a:gd name="connsiteY4490" fmla="*/ 177571 h 2031151"/>
                <a:gd name="connsiteX4491" fmla="*/ 326633 w 3368309"/>
                <a:gd name="connsiteY4491" fmla="*/ 181318 h 2031151"/>
                <a:gd name="connsiteX4492" fmla="*/ 325167 w 3368309"/>
                <a:gd name="connsiteY4492" fmla="*/ 187183 h 2031151"/>
                <a:gd name="connsiteX4493" fmla="*/ 321419 w 3368309"/>
                <a:gd name="connsiteY4493" fmla="*/ 188975 h 2031151"/>
                <a:gd name="connsiteX4494" fmla="*/ 321419 w 3368309"/>
                <a:gd name="connsiteY4494" fmla="*/ 188975 h 2031151"/>
                <a:gd name="connsiteX4495" fmla="*/ 325167 w 3368309"/>
                <a:gd name="connsiteY4495" fmla="*/ 202170 h 2031151"/>
                <a:gd name="connsiteX4496" fmla="*/ 326307 w 3368309"/>
                <a:gd name="connsiteY4496" fmla="*/ 195002 h 2031151"/>
                <a:gd name="connsiteX4497" fmla="*/ 322886 w 3368309"/>
                <a:gd name="connsiteY4497" fmla="*/ 189952 h 2031151"/>
                <a:gd name="connsiteX4498" fmla="*/ 318487 w 3368309"/>
                <a:gd name="connsiteY4498" fmla="*/ 189952 h 2031151"/>
                <a:gd name="connsiteX4499" fmla="*/ 310505 w 3368309"/>
                <a:gd name="connsiteY4499" fmla="*/ 187346 h 2031151"/>
                <a:gd name="connsiteX4500" fmla="*/ 302522 w 3368309"/>
                <a:gd name="connsiteY4500" fmla="*/ 181481 h 2031151"/>
                <a:gd name="connsiteX4501" fmla="*/ 299916 w 3368309"/>
                <a:gd name="connsiteY4501" fmla="*/ 181481 h 2031151"/>
                <a:gd name="connsiteX4502" fmla="*/ 296821 w 3368309"/>
                <a:gd name="connsiteY4502" fmla="*/ 178874 h 2031151"/>
                <a:gd name="connsiteX4503" fmla="*/ 290304 w 3368309"/>
                <a:gd name="connsiteY4503" fmla="*/ 178874 h 2031151"/>
                <a:gd name="connsiteX4504" fmla="*/ 286068 w 3368309"/>
                <a:gd name="connsiteY4504" fmla="*/ 176919 h 2031151"/>
                <a:gd name="connsiteX4505" fmla="*/ 274013 w 3368309"/>
                <a:gd name="connsiteY4505" fmla="*/ 176919 h 2031151"/>
                <a:gd name="connsiteX4506" fmla="*/ 268474 w 3368309"/>
                <a:gd name="connsiteY4506" fmla="*/ 178386 h 2031151"/>
                <a:gd name="connsiteX4507" fmla="*/ 269614 w 3368309"/>
                <a:gd name="connsiteY4507" fmla="*/ 182784 h 2031151"/>
                <a:gd name="connsiteX4508" fmla="*/ 269126 w 3368309"/>
                <a:gd name="connsiteY4508" fmla="*/ 185065 h 2031151"/>
                <a:gd name="connsiteX4509" fmla="*/ 272384 w 3368309"/>
                <a:gd name="connsiteY4509" fmla="*/ 187020 h 2031151"/>
                <a:gd name="connsiteX4510" fmla="*/ 279552 w 3368309"/>
                <a:gd name="connsiteY4510" fmla="*/ 189626 h 2031151"/>
                <a:gd name="connsiteX4511" fmla="*/ 282321 w 3368309"/>
                <a:gd name="connsiteY4511" fmla="*/ 186205 h 2031151"/>
                <a:gd name="connsiteX4512" fmla="*/ 284765 w 3368309"/>
                <a:gd name="connsiteY4512" fmla="*/ 185879 h 2031151"/>
                <a:gd name="connsiteX4513" fmla="*/ 288838 w 3368309"/>
                <a:gd name="connsiteY4513" fmla="*/ 189626 h 2031151"/>
                <a:gd name="connsiteX4514" fmla="*/ 290793 w 3368309"/>
                <a:gd name="connsiteY4514" fmla="*/ 194025 h 2031151"/>
                <a:gd name="connsiteX4515" fmla="*/ 293562 w 3368309"/>
                <a:gd name="connsiteY4515" fmla="*/ 194025 h 2031151"/>
                <a:gd name="connsiteX4516" fmla="*/ 296332 w 3368309"/>
                <a:gd name="connsiteY4516" fmla="*/ 193047 h 2031151"/>
                <a:gd name="connsiteX4517" fmla="*/ 299101 w 3368309"/>
                <a:gd name="connsiteY4517" fmla="*/ 198586 h 2031151"/>
                <a:gd name="connsiteX4518" fmla="*/ 305129 w 3368309"/>
                <a:gd name="connsiteY4518" fmla="*/ 200052 h 2031151"/>
                <a:gd name="connsiteX4519" fmla="*/ 310994 w 3368309"/>
                <a:gd name="connsiteY4519" fmla="*/ 198912 h 2031151"/>
                <a:gd name="connsiteX4520" fmla="*/ 317673 w 3368309"/>
                <a:gd name="connsiteY4520" fmla="*/ 201844 h 2031151"/>
                <a:gd name="connsiteX4521" fmla="*/ 322723 w 3368309"/>
                <a:gd name="connsiteY4521" fmla="*/ 203474 h 2031151"/>
                <a:gd name="connsiteX4522" fmla="*/ 325167 w 3368309"/>
                <a:gd name="connsiteY4522" fmla="*/ 202170 h 2031151"/>
                <a:gd name="connsiteX4523" fmla="*/ 325167 w 3368309"/>
                <a:gd name="connsiteY4523" fmla="*/ 202170 h 2031151"/>
                <a:gd name="connsiteX4524" fmla="*/ 287698 w 3368309"/>
                <a:gd name="connsiteY4524" fmla="*/ 210967 h 2031151"/>
                <a:gd name="connsiteX4525" fmla="*/ 284602 w 3368309"/>
                <a:gd name="connsiteY4525" fmla="*/ 209338 h 2031151"/>
                <a:gd name="connsiteX4526" fmla="*/ 281507 w 3368309"/>
                <a:gd name="connsiteY4526" fmla="*/ 207383 h 2031151"/>
                <a:gd name="connsiteX4527" fmla="*/ 276131 w 3368309"/>
                <a:gd name="connsiteY4527" fmla="*/ 207709 h 2031151"/>
                <a:gd name="connsiteX4528" fmla="*/ 272873 w 3368309"/>
                <a:gd name="connsiteY4528" fmla="*/ 203799 h 2031151"/>
                <a:gd name="connsiteX4529" fmla="*/ 272384 w 3368309"/>
                <a:gd name="connsiteY4529" fmla="*/ 201356 h 2031151"/>
                <a:gd name="connsiteX4530" fmla="*/ 275316 w 3368309"/>
                <a:gd name="connsiteY4530" fmla="*/ 199564 h 2031151"/>
                <a:gd name="connsiteX4531" fmla="*/ 280692 w 3368309"/>
                <a:gd name="connsiteY4531" fmla="*/ 197935 h 2031151"/>
                <a:gd name="connsiteX4532" fmla="*/ 286557 w 3368309"/>
                <a:gd name="connsiteY4532" fmla="*/ 198749 h 2031151"/>
                <a:gd name="connsiteX4533" fmla="*/ 288675 w 3368309"/>
                <a:gd name="connsiteY4533" fmla="*/ 197120 h 2031151"/>
                <a:gd name="connsiteX4534" fmla="*/ 291119 w 3368309"/>
                <a:gd name="connsiteY4534" fmla="*/ 202007 h 2031151"/>
                <a:gd name="connsiteX4535" fmla="*/ 294214 w 3368309"/>
                <a:gd name="connsiteY4535" fmla="*/ 202007 h 2031151"/>
                <a:gd name="connsiteX4536" fmla="*/ 295517 w 3368309"/>
                <a:gd name="connsiteY4536" fmla="*/ 200704 h 2031151"/>
                <a:gd name="connsiteX4537" fmla="*/ 298287 w 3368309"/>
                <a:gd name="connsiteY4537" fmla="*/ 201519 h 2031151"/>
                <a:gd name="connsiteX4538" fmla="*/ 299427 w 3368309"/>
                <a:gd name="connsiteY4538" fmla="*/ 204125 h 2031151"/>
                <a:gd name="connsiteX4539" fmla="*/ 298287 w 3368309"/>
                <a:gd name="connsiteY4539" fmla="*/ 206406 h 2031151"/>
                <a:gd name="connsiteX4540" fmla="*/ 287698 w 3368309"/>
                <a:gd name="connsiteY4540" fmla="*/ 210967 h 2031151"/>
                <a:gd name="connsiteX4541" fmla="*/ 287698 w 3368309"/>
                <a:gd name="connsiteY4541" fmla="*/ 210967 h 2031151"/>
                <a:gd name="connsiteX4542" fmla="*/ 276783 w 3368309"/>
                <a:gd name="connsiteY4542" fmla="*/ 238336 h 2031151"/>
                <a:gd name="connsiteX4543" fmla="*/ 273850 w 3368309"/>
                <a:gd name="connsiteY4543" fmla="*/ 233938 h 2031151"/>
                <a:gd name="connsiteX4544" fmla="*/ 273525 w 3368309"/>
                <a:gd name="connsiteY4544" fmla="*/ 226770 h 2031151"/>
                <a:gd name="connsiteX4545" fmla="*/ 270755 w 3368309"/>
                <a:gd name="connsiteY4545" fmla="*/ 225629 h 2031151"/>
                <a:gd name="connsiteX4546" fmla="*/ 269614 w 3368309"/>
                <a:gd name="connsiteY4546" fmla="*/ 233123 h 2031151"/>
                <a:gd name="connsiteX4547" fmla="*/ 267985 w 3368309"/>
                <a:gd name="connsiteY4547" fmla="*/ 234752 h 2031151"/>
                <a:gd name="connsiteX4548" fmla="*/ 269941 w 3368309"/>
                <a:gd name="connsiteY4548" fmla="*/ 237847 h 2031151"/>
                <a:gd name="connsiteX4549" fmla="*/ 274502 w 3368309"/>
                <a:gd name="connsiteY4549" fmla="*/ 239802 h 2031151"/>
                <a:gd name="connsiteX4550" fmla="*/ 276783 w 3368309"/>
                <a:gd name="connsiteY4550" fmla="*/ 238173 h 2031151"/>
                <a:gd name="connsiteX4551" fmla="*/ 276783 w 3368309"/>
                <a:gd name="connsiteY4551" fmla="*/ 238173 h 2031151"/>
                <a:gd name="connsiteX4552" fmla="*/ 281670 w 3368309"/>
                <a:gd name="connsiteY4552" fmla="*/ 236544 h 2031151"/>
                <a:gd name="connsiteX4553" fmla="*/ 284114 w 3368309"/>
                <a:gd name="connsiteY4553" fmla="*/ 236870 h 2031151"/>
                <a:gd name="connsiteX4554" fmla="*/ 285417 w 3368309"/>
                <a:gd name="connsiteY4554" fmla="*/ 233938 h 2031151"/>
                <a:gd name="connsiteX4555" fmla="*/ 283625 w 3368309"/>
                <a:gd name="connsiteY4555" fmla="*/ 229376 h 2031151"/>
                <a:gd name="connsiteX4556" fmla="*/ 279878 w 3368309"/>
                <a:gd name="connsiteY4556" fmla="*/ 224000 h 2031151"/>
                <a:gd name="connsiteX4557" fmla="*/ 277108 w 3368309"/>
                <a:gd name="connsiteY4557" fmla="*/ 224489 h 2031151"/>
                <a:gd name="connsiteX4558" fmla="*/ 277108 w 3368309"/>
                <a:gd name="connsiteY4558" fmla="*/ 229213 h 2031151"/>
                <a:gd name="connsiteX4559" fmla="*/ 281670 w 3368309"/>
                <a:gd name="connsiteY4559" fmla="*/ 236381 h 2031151"/>
                <a:gd name="connsiteX4560" fmla="*/ 281670 w 3368309"/>
                <a:gd name="connsiteY4560" fmla="*/ 236381 h 2031151"/>
                <a:gd name="connsiteX4561" fmla="*/ 292096 w 3368309"/>
                <a:gd name="connsiteY4561" fmla="*/ 231331 h 2031151"/>
                <a:gd name="connsiteX4562" fmla="*/ 296821 w 3368309"/>
                <a:gd name="connsiteY4562" fmla="*/ 232797 h 2031151"/>
                <a:gd name="connsiteX4563" fmla="*/ 297309 w 3368309"/>
                <a:gd name="connsiteY4563" fmla="*/ 230354 h 2031151"/>
                <a:gd name="connsiteX4564" fmla="*/ 294051 w 3368309"/>
                <a:gd name="connsiteY4564" fmla="*/ 226118 h 2031151"/>
                <a:gd name="connsiteX4565" fmla="*/ 289816 w 3368309"/>
                <a:gd name="connsiteY4565" fmla="*/ 225140 h 2031151"/>
                <a:gd name="connsiteX4566" fmla="*/ 288186 w 3368309"/>
                <a:gd name="connsiteY4566" fmla="*/ 226770 h 2031151"/>
                <a:gd name="connsiteX4567" fmla="*/ 292096 w 3368309"/>
                <a:gd name="connsiteY4567" fmla="*/ 231168 h 2031151"/>
                <a:gd name="connsiteX4568" fmla="*/ 292096 w 3368309"/>
                <a:gd name="connsiteY4568" fmla="*/ 231168 h 2031151"/>
                <a:gd name="connsiteX4569" fmla="*/ 290467 w 3368309"/>
                <a:gd name="connsiteY4569" fmla="*/ 244038 h 2031151"/>
                <a:gd name="connsiteX4570" fmla="*/ 292422 w 3368309"/>
                <a:gd name="connsiteY4570" fmla="*/ 242572 h 2031151"/>
                <a:gd name="connsiteX4571" fmla="*/ 293888 w 3368309"/>
                <a:gd name="connsiteY4571" fmla="*/ 237196 h 2031151"/>
                <a:gd name="connsiteX4572" fmla="*/ 293562 w 3368309"/>
                <a:gd name="connsiteY4572" fmla="*/ 234263 h 2031151"/>
                <a:gd name="connsiteX4573" fmla="*/ 289489 w 3368309"/>
                <a:gd name="connsiteY4573" fmla="*/ 232634 h 2031151"/>
                <a:gd name="connsiteX4574" fmla="*/ 288349 w 3368309"/>
                <a:gd name="connsiteY4574" fmla="*/ 234915 h 2031151"/>
                <a:gd name="connsiteX4575" fmla="*/ 288675 w 3368309"/>
                <a:gd name="connsiteY4575" fmla="*/ 237684 h 2031151"/>
                <a:gd name="connsiteX4576" fmla="*/ 287209 w 3368309"/>
                <a:gd name="connsiteY4576" fmla="*/ 241268 h 2031151"/>
                <a:gd name="connsiteX4577" fmla="*/ 290304 w 3368309"/>
                <a:gd name="connsiteY4577" fmla="*/ 244201 h 2031151"/>
                <a:gd name="connsiteX4578" fmla="*/ 290304 w 3368309"/>
                <a:gd name="connsiteY4578" fmla="*/ 244201 h 2031151"/>
                <a:gd name="connsiteX4579" fmla="*/ 283951 w 3368309"/>
                <a:gd name="connsiteY4579" fmla="*/ 257071 h 2031151"/>
                <a:gd name="connsiteX4580" fmla="*/ 282810 w 3368309"/>
                <a:gd name="connsiteY4580" fmla="*/ 252672 h 2031151"/>
                <a:gd name="connsiteX4581" fmla="*/ 279063 w 3368309"/>
                <a:gd name="connsiteY4581" fmla="*/ 252672 h 2031151"/>
                <a:gd name="connsiteX4582" fmla="*/ 274991 w 3368309"/>
                <a:gd name="connsiteY4582" fmla="*/ 248274 h 2031151"/>
                <a:gd name="connsiteX4583" fmla="*/ 272058 w 3368309"/>
                <a:gd name="connsiteY4583" fmla="*/ 248274 h 2031151"/>
                <a:gd name="connsiteX4584" fmla="*/ 268311 w 3368309"/>
                <a:gd name="connsiteY4584" fmla="*/ 250880 h 2031151"/>
                <a:gd name="connsiteX4585" fmla="*/ 270918 w 3368309"/>
                <a:gd name="connsiteY4585" fmla="*/ 254953 h 2031151"/>
                <a:gd name="connsiteX4586" fmla="*/ 270918 w 3368309"/>
                <a:gd name="connsiteY4586" fmla="*/ 258700 h 2031151"/>
                <a:gd name="connsiteX4587" fmla="*/ 266519 w 3368309"/>
                <a:gd name="connsiteY4587" fmla="*/ 261958 h 2031151"/>
                <a:gd name="connsiteX4588" fmla="*/ 268800 w 3368309"/>
                <a:gd name="connsiteY4588" fmla="*/ 264890 h 2031151"/>
                <a:gd name="connsiteX4589" fmla="*/ 276294 w 3368309"/>
                <a:gd name="connsiteY4589" fmla="*/ 266682 h 2031151"/>
                <a:gd name="connsiteX4590" fmla="*/ 281507 w 3368309"/>
                <a:gd name="connsiteY4590" fmla="*/ 262935 h 2031151"/>
                <a:gd name="connsiteX4591" fmla="*/ 283951 w 3368309"/>
                <a:gd name="connsiteY4591" fmla="*/ 257071 h 2031151"/>
                <a:gd name="connsiteX4592" fmla="*/ 283951 w 3368309"/>
                <a:gd name="connsiteY4592" fmla="*/ 257071 h 2031151"/>
                <a:gd name="connsiteX4593" fmla="*/ 287860 w 3368309"/>
                <a:gd name="connsiteY4593" fmla="*/ 248599 h 2031151"/>
                <a:gd name="connsiteX4594" fmla="*/ 287860 w 3368309"/>
                <a:gd name="connsiteY4594" fmla="*/ 252835 h 2031151"/>
                <a:gd name="connsiteX4595" fmla="*/ 289652 w 3368309"/>
                <a:gd name="connsiteY4595" fmla="*/ 257234 h 2031151"/>
                <a:gd name="connsiteX4596" fmla="*/ 292748 w 3368309"/>
                <a:gd name="connsiteY4596" fmla="*/ 258537 h 2031151"/>
                <a:gd name="connsiteX4597" fmla="*/ 292748 w 3368309"/>
                <a:gd name="connsiteY4597" fmla="*/ 253487 h 2031151"/>
                <a:gd name="connsiteX4598" fmla="*/ 290793 w 3368309"/>
                <a:gd name="connsiteY4598" fmla="*/ 249577 h 2031151"/>
                <a:gd name="connsiteX4599" fmla="*/ 287860 w 3368309"/>
                <a:gd name="connsiteY4599" fmla="*/ 248436 h 2031151"/>
                <a:gd name="connsiteX4600" fmla="*/ 287860 w 3368309"/>
                <a:gd name="connsiteY4600" fmla="*/ 248436 h 2031151"/>
                <a:gd name="connsiteX4601" fmla="*/ 328587 w 3368309"/>
                <a:gd name="connsiteY4601" fmla="*/ 191581 h 2031151"/>
                <a:gd name="connsiteX4602" fmla="*/ 328587 w 3368309"/>
                <a:gd name="connsiteY4602" fmla="*/ 187997 h 2031151"/>
                <a:gd name="connsiteX4603" fmla="*/ 330543 w 3368309"/>
                <a:gd name="connsiteY4603" fmla="*/ 186042 h 2031151"/>
                <a:gd name="connsiteX4604" fmla="*/ 332335 w 3368309"/>
                <a:gd name="connsiteY4604" fmla="*/ 180340 h 2031151"/>
                <a:gd name="connsiteX4605" fmla="*/ 334778 w 3368309"/>
                <a:gd name="connsiteY4605" fmla="*/ 178223 h 2031151"/>
                <a:gd name="connsiteX4606" fmla="*/ 337059 w 3368309"/>
                <a:gd name="connsiteY4606" fmla="*/ 178548 h 2031151"/>
                <a:gd name="connsiteX4607" fmla="*/ 339666 w 3368309"/>
                <a:gd name="connsiteY4607" fmla="*/ 182947 h 2031151"/>
                <a:gd name="connsiteX4608" fmla="*/ 340154 w 3368309"/>
                <a:gd name="connsiteY4608" fmla="*/ 186531 h 2031151"/>
                <a:gd name="connsiteX4609" fmla="*/ 338199 w 3368309"/>
                <a:gd name="connsiteY4609" fmla="*/ 187834 h 2031151"/>
                <a:gd name="connsiteX4610" fmla="*/ 337548 w 3368309"/>
                <a:gd name="connsiteY4610" fmla="*/ 191255 h 2031151"/>
                <a:gd name="connsiteX4611" fmla="*/ 334941 w 3368309"/>
                <a:gd name="connsiteY4611" fmla="*/ 193210 h 2031151"/>
                <a:gd name="connsiteX4612" fmla="*/ 330380 w 3368309"/>
                <a:gd name="connsiteY4612" fmla="*/ 193210 h 2031151"/>
                <a:gd name="connsiteX4613" fmla="*/ 328425 w 3368309"/>
                <a:gd name="connsiteY4613" fmla="*/ 191581 h 2031151"/>
                <a:gd name="connsiteX4614" fmla="*/ 328425 w 3368309"/>
                <a:gd name="connsiteY4614" fmla="*/ 191581 h 2031151"/>
                <a:gd name="connsiteX4615" fmla="*/ 298124 w 3368309"/>
                <a:gd name="connsiteY4615" fmla="*/ 247133 h 2031151"/>
                <a:gd name="connsiteX4616" fmla="*/ 299427 w 3368309"/>
                <a:gd name="connsiteY4616" fmla="*/ 250391 h 2031151"/>
                <a:gd name="connsiteX4617" fmla="*/ 304803 w 3368309"/>
                <a:gd name="connsiteY4617" fmla="*/ 251858 h 2031151"/>
                <a:gd name="connsiteX4618" fmla="*/ 308550 w 3368309"/>
                <a:gd name="connsiteY4618" fmla="*/ 251043 h 2031151"/>
                <a:gd name="connsiteX4619" fmla="*/ 310179 w 3368309"/>
                <a:gd name="connsiteY4619" fmla="*/ 248111 h 2031151"/>
                <a:gd name="connsiteX4620" fmla="*/ 309364 w 3368309"/>
                <a:gd name="connsiteY4620" fmla="*/ 244201 h 2031151"/>
                <a:gd name="connsiteX4621" fmla="*/ 307084 w 3368309"/>
                <a:gd name="connsiteY4621" fmla="*/ 241268 h 2031151"/>
                <a:gd name="connsiteX4622" fmla="*/ 304640 w 3368309"/>
                <a:gd name="connsiteY4622" fmla="*/ 242246 h 2031151"/>
                <a:gd name="connsiteX4623" fmla="*/ 301708 w 3368309"/>
                <a:gd name="connsiteY4623" fmla="*/ 245993 h 2031151"/>
                <a:gd name="connsiteX4624" fmla="*/ 298124 w 3368309"/>
                <a:gd name="connsiteY4624" fmla="*/ 247133 h 2031151"/>
                <a:gd name="connsiteX4625" fmla="*/ 298124 w 3368309"/>
                <a:gd name="connsiteY4625" fmla="*/ 247133 h 2031151"/>
                <a:gd name="connsiteX4626" fmla="*/ 300730 w 3368309"/>
                <a:gd name="connsiteY4626" fmla="*/ 237847 h 2031151"/>
                <a:gd name="connsiteX4627" fmla="*/ 302685 w 3368309"/>
                <a:gd name="connsiteY4627" fmla="*/ 237196 h 2031151"/>
                <a:gd name="connsiteX4628" fmla="*/ 304640 w 3368309"/>
                <a:gd name="connsiteY4628" fmla="*/ 234263 h 2031151"/>
                <a:gd name="connsiteX4629" fmla="*/ 304966 w 3368309"/>
                <a:gd name="connsiteY4629" fmla="*/ 230842 h 2031151"/>
                <a:gd name="connsiteX4630" fmla="*/ 301871 w 3368309"/>
                <a:gd name="connsiteY4630" fmla="*/ 232471 h 2031151"/>
                <a:gd name="connsiteX4631" fmla="*/ 300730 w 3368309"/>
                <a:gd name="connsiteY4631" fmla="*/ 237684 h 2031151"/>
                <a:gd name="connsiteX4632" fmla="*/ 300730 w 3368309"/>
                <a:gd name="connsiteY4632" fmla="*/ 237684 h 2031151"/>
                <a:gd name="connsiteX4633" fmla="*/ 308061 w 3368309"/>
                <a:gd name="connsiteY4633" fmla="*/ 233612 h 2031151"/>
                <a:gd name="connsiteX4634" fmla="*/ 308550 w 3368309"/>
                <a:gd name="connsiteY4634" fmla="*/ 235404 h 2031151"/>
                <a:gd name="connsiteX4635" fmla="*/ 311808 w 3368309"/>
                <a:gd name="connsiteY4635" fmla="*/ 236381 h 2031151"/>
                <a:gd name="connsiteX4636" fmla="*/ 315555 w 3368309"/>
                <a:gd name="connsiteY4636" fmla="*/ 235241 h 2031151"/>
                <a:gd name="connsiteX4637" fmla="*/ 317184 w 3368309"/>
                <a:gd name="connsiteY4637" fmla="*/ 232471 h 2031151"/>
                <a:gd name="connsiteX4638" fmla="*/ 315555 w 3368309"/>
                <a:gd name="connsiteY4638" fmla="*/ 230516 h 2031151"/>
                <a:gd name="connsiteX4639" fmla="*/ 312134 w 3368309"/>
                <a:gd name="connsiteY4639" fmla="*/ 230516 h 2031151"/>
                <a:gd name="connsiteX4640" fmla="*/ 311157 w 3368309"/>
                <a:gd name="connsiteY4640" fmla="*/ 232471 h 2031151"/>
                <a:gd name="connsiteX4641" fmla="*/ 308224 w 3368309"/>
                <a:gd name="connsiteY4641" fmla="*/ 233612 h 2031151"/>
                <a:gd name="connsiteX4642" fmla="*/ 308224 w 3368309"/>
                <a:gd name="connsiteY4642" fmla="*/ 233612 h 2031151"/>
                <a:gd name="connsiteX4643" fmla="*/ 309201 w 3368309"/>
                <a:gd name="connsiteY4643" fmla="*/ 213085 h 2031151"/>
                <a:gd name="connsiteX4644" fmla="*/ 306432 w 3368309"/>
                <a:gd name="connsiteY4644" fmla="*/ 216669 h 2031151"/>
                <a:gd name="connsiteX4645" fmla="*/ 302685 w 3368309"/>
                <a:gd name="connsiteY4645" fmla="*/ 216995 h 2031151"/>
                <a:gd name="connsiteX4646" fmla="*/ 299916 w 3368309"/>
                <a:gd name="connsiteY4646" fmla="*/ 215040 h 2031151"/>
                <a:gd name="connsiteX4647" fmla="*/ 299427 w 3368309"/>
                <a:gd name="connsiteY4647" fmla="*/ 209501 h 2031151"/>
                <a:gd name="connsiteX4648" fmla="*/ 303662 w 3368309"/>
                <a:gd name="connsiteY4648" fmla="*/ 204288 h 2031151"/>
                <a:gd name="connsiteX4649" fmla="*/ 309527 w 3368309"/>
                <a:gd name="connsiteY4649" fmla="*/ 202659 h 2031151"/>
                <a:gd name="connsiteX4650" fmla="*/ 313437 w 3368309"/>
                <a:gd name="connsiteY4650" fmla="*/ 203799 h 2031151"/>
                <a:gd name="connsiteX4651" fmla="*/ 315718 w 3368309"/>
                <a:gd name="connsiteY4651" fmla="*/ 206569 h 2031151"/>
                <a:gd name="connsiteX4652" fmla="*/ 320279 w 3368309"/>
                <a:gd name="connsiteY4652" fmla="*/ 208361 h 2031151"/>
                <a:gd name="connsiteX4653" fmla="*/ 320279 w 3368309"/>
                <a:gd name="connsiteY4653" fmla="*/ 212271 h 2031151"/>
                <a:gd name="connsiteX4654" fmla="*/ 317835 w 3368309"/>
                <a:gd name="connsiteY4654" fmla="*/ 214551 h 2031151"/>
                <a:gd name="connsiteX4655" fmla="*/ 312297 w 3368309"/>
                <a:gd name="connsiteY4655" fmla="*/ 214551 h 2031151"/>
                <a:gd name="connsiteX4656" fmla="*/ 309039 w 3368309"/>
                <a:gd name="connsiteY4656" fmla="*/ 213248 h 2031151"/>
                <a:gd name="connsiteX4657" fmla="*/ 309039 w 3368309"/>
                <a:gd name="connsiteY4657" fmla="*/ 213248 h 2031151"/>
                <a:gd name="connsiteX4658" fmla="*/ 328587 w 3368309"/>
                <a:gd name="connsiteY4658" fmla="*/ 210967 h 2031151"/>
                <a:gd name="connsiteX4659" fmla="*/ 332335 w 3368309"/>
                <a:gd name="connsiteY4659" fmla="*/ 214714 h 2031151"/>
                <a:gd name="connsiteX4660" fmla="*/ 335919 w 3368309"/>
                <a:gd name="connsiteY4660" fmla="*/ 215366 h 2031151"/>
                <a:gd name="connsiteX4661" fmla="*/ 339828 w 3368309"/>
                <a:gd name="connsiteY4661" fmla="*/ 212759 h 2031151"/>
                <a:gd name="connsiteX4662" fmla="*/ 340480 w 3368309"/>
                <a:gd name="connsiteY4662" fmla="*/ 209664 h 2031151"/>
                <a:gd name="connsiteX4663" fmla="*/ 338037 w 3368309"/>
                <a:gd name="connsiteY4663" fmla="*/ 206895 h 2031151"/>
                <a:gd name="connsiteX4664" fmla="*/ 335104 w 3368309"/>
                <a:gd name="connsiteY4664" fmla="*/ 207872 h 2031151"/>
                <a:gd name="connsiteX4665" fmla="*/ 332660 w 3368309"/>
                <a:gd name="connsiteY4665" fmla="*/ 210967 h 2031151"/>
                <a:gd name="connsiteX4666" fmla="*/ 328587 w 3368309"/>
                <a:gd name="connsiteY4666" fmla="*/ 210967 h 2031151"/>
                <a:gd name="connsiteX4667" fmla="*/ 339991 w 3368309"/>
                <a:gd name="connsiteY4667" fmla="*/ 259351 h 2031151"/>
                <a:gd name="connsiteX4668" fmla="*/ 340317 w 3368309"/>
                <a:gd name="connsiteY4668" fmla="*/ 256093 h 2031151"/>
                <a:gd name="connsiteX4669" fmla="*/ 337222 w 3368309"/>
                <a:gd name="connsiteY4669" fmla="*/ 251695 h 2031151"/>
                <a:gd name="connsiteX4670" fmla="*/ 336570 w 3368309"/>
                <a:gd name="connsiteY4670" fmla="*/ 245830 h 2031151"/>
                <a:gd name="connsiteX4671" fmla="*/ 337222 w 3368309"/>
                <a:gd name="connsiteY4671" fmla="*/ 241594 h 2031151"/>
                <a:gd name="connsiteX4672" fmla="*/ 333312 w 3368309"/>
                <a:gd name="connsiteY4672" fmla="*/ 235078 h 2031151"/>
                <a:gd name="connsiteX4673" fmla="*/ 329565 w 3368309"/>
                <a:gd name="connsiteY4673" fmla="*/ 232146 h 2031151"/>
                <a:gd name="connsiteX4674" fmla="*/ 327121 w 3368309"/>
                <a:gd name="connsiteY4674" fmla="*/ 234589 h 2031151"/>
                <a:gd name="connsiteX4675" fmla="*/ 320931 w 3368309"/>
                <a:gd name="connsiteY4675" fmla="*/ 235404 h 2031151"/>
                <a:gd name="connsiteX4676" fmla="*/ 315229 w 3368309"/>
                <a:gd name="connsiteY4676" fmla="*/ 239151 h 2031151"/>
                <a:gd name="connsiteX4677" fmla="*/ 313926 w 3368309"/>
                <a:gd name="connsiteY4677" fmla="*/ 243223 h 2031151"/>
                <a:gd name="connsiteX4678" fmla="*/ 318162 w 3368309"/>
                <a:gd name="connsiteY4678" fmla="*/ 249251 h 2031151"/>
                <a:gd name="connsiteX4679" fmla="*/ 319628 w 3368309"/>
                <a:gd name="connsiteY4679" fmla="*/ 257722 h 2031151"/>
                <a:gd name="connsiteX4680" fmla="*/ 322886 w 3368309"/>
                <a:gd name="connsiteY4680" fmla="*/ 260818 h 2031151"/>
                <a:gd name="connsiteX4681" fmla="*/ 326307 w 3368309"/>
                <a:gd name="connsiteY4681" fmla="*/ 262121 h 2031151"/>
                <a:gd name="connsiteX4682" fmla="*/ 333638 w 3368309"/>
                <a:gd name="connsiteY4682" fmla="*/ 259188 h 2031151"/>
                <a:gd name="connsiteX4683" fmla="*/ 339666 w 3368309"/>
                <a:gd name="connsiteY4683" fmla="*/ 259514 h 2031151"/>
                <a:gd name="connsiteX4684" fmla="*/ 339666 w 3368309"/>
                <a:gd name="connsiteY4684" fmla="*/ 259514 h 2031151"/>
                <a:gd name="connsiteX4685" fmla="*/ 353024 w 3368309"/>
                <a:gd name="connsiteY4685" fmla="*/ 255116 h 2031151"/>
                <a:gd name="connsiteX4686" fmla="*/ 353024 w 3368309"/>
                <a:gd name="connsiteY4686" fmla="*/ 252346 h 2031151"/>
                <a:gd name="connsiteX4687" fmla="*/ 349766 w 3368309"/>
                <a:gd name="connsiteY4687" fmla="*/ 249251 h 2031151"/>
                <a:gd name="connsiteX4688" fmla="*/ 349766 w 3368309"/>
                <a:gd name="connsiteY4688" fmla="*/ 246807 h 2031151"/>
                <a:gd name="connsiteX4689" fmla="*/ 353513 w 3368309"/>
                <a:gd name="connsiteY4689" fmla="*/ 244527 h 2031151"/>
                <a:gd name="connsiteX4690" fmla="*/ 355468 w 3368309"/>
                <a:gd name="connsiteY4690" fmla="*/ 239314 h 2031151"/>
                <a:gd name="connsiteX4691" fmla="*/ 356445 w 3368309"/>
                <a:gd name="connsiteY4691" fmla="*/ 236055 h 2031151"/>
                <a:gd name="connsiteX4692" fmla="*/ 363125 w 3368309"/>
                <a:gd name="connsiteY4692" fmla="*/ 232308 h 2031151"/>
                <a:gd name="connsiteX4693" fmla="*/ 366219 w 3368309"/>
                <a:gd name="connsiteY4693" fmla="*/ 231983 h 2031151"/>
                <a:gd name="connsiteX4694" fmla="*/ 367360 w 3368309"/>
                <a:gd name="connsiteY4694" fmla="*/ 230028 h 2031151"/>
                <a:gd name="connsiteX4695" fmla="*/ 363450 w 3368309"/>
                <a:gd name="connsiteY4695" fmla="*/ 228562 h 2031151"/>
                <a:gd name="connsiteX4696" fmla="*/ 359378 w 3368309"/>
                <a:gd name="connsiteY4696" fmla="*/ 229865 h 2031151"/>
                <a:gd name="connsiteX4697" fmla="*/ 349766 w 3368309"/>
                <a:gd name="connsiteY4697" fmla="*/ 224163 h 2031151"/>
                <a:gd name="connsiteX4698" fmla="*/ 344064 w 3368309"/>
                <a:gd name="connsiteY4698" fmla="*/ 219113 h 2031151"/>
                <a:gd name="connsiteX4699" fmla="*/ 340969 w 3368309"/>
                <a:gd name="connsiteY4699" fmla="*/ 220905 h 2031151"/>
                <a:gd name="connsiteX4700" fmla="*/ 336407 w 3368309"/>
                <a:gd name="connsiteY4700" fmla="*/ 222208 h 2031151"/>
                <a:gd name="connsiteX4701" fmla="*/ 334941 w 3368309"/>
                <a:gd name="connsiteY4701" fmla="*/ 221882 h 2031151"/>
                <a:gd name="connsiteX4702" fmla="*/ 334616 w 3368309"/>
                <a:gd name="connsiteY4702" fmla="*/ 226281 h 2031151"/>
                <a:gd name="connsiteX4703" fmla="*/ 340154 w 3368309"/>
                <a:gd name="connsiteY4703" fmla="*/ 236870 h 2031151"/>
                <a:gd name="connsiteX4704" fmla="*/ 340154 w 3368309"/>
                <a:gd name="connsiteY4704" fmla="*/ 244038 h 2031151"/>
                <a:gd name="connsiteX4705" fmla="*/ 343412 w 3368309"/>
                <a:gd name="connsiteY4705" fmla="*/ 252346 h 2031151"/>
                <a:gd name="connsiteX4706" fmla="*/ 349114 w 3368309"/>
                <a:gd name="connsiteY4706" fmla="*/ 255442 h 2031151"/>
                <a:gd name="connsiteX4707" fmla="*/ 353187 w 3368309"/>
                <a:gd name="connsiteY4707" fmla="*/ 255116 h 2031151"/>
                <a:gd name="connsiteX4708" fmla="*/ 353187 w 3368309"/>
                <a:gd name="connsiteY4708" fmla="*/ 255116 h 2031151"/>
                <a:gd name="connsiteX4709" fmla="*/ 369315 w 3368309"/>
                <a:gd name="connsiteY4709" fmla="*/ 255279 h 2031151"/>
                <a:gd name="connsiteX4710" fmla="*/ 368989 w 3368309"/>
                <a:gd name="connsiteY4710" fmla="*/ 258374 h 2031151"/>
                <a:gd name="connsiteX4711" fmla="*/ 374691 w 3368309"/>
                <a:gd name="connsiteY4711" fmla="*/ 261469 h 2031151"/>
                <a:gd name="connsiteX4712" fmla="*/ 378926 w 3368309"/>
                <a:gd name="connsiteY4712" fmla="*/ 265868 h 2031151"/>
                <a:gd name="connsiteX4713" fmla="*/ 385117 w 3368309"/>
                <a:gd name="connsiteY4713" fmla="*/ 266356 h 2031151"/>
                <a:gd name="connsiteX4714" fmla="*/ 389353 w 3368309"/>
                <a:gd name="connsiteY4714" fmla="*/ 258863 h 2031151"/>
                <a:gd name="connsiteX4715" fmla="*/ 387398 w 3368309"/>
                <a:gd name="connsiteY4715" fmla="*/ 251369 h 2031151"/>
                <a:gd name="connsiteX4716" fmla="*/ 382999 w 3368309"/>
                <a:gd name="connsiteY4716" fmla="*/ 248925 h 2031151"/>
                <a:gd name="connsiteX4717" fmla="*/ 376483 w 3368309"/>
                <a:gd name="connsiteY4717" fmla="*/ 250554 h 2031151"/>
                <a:gd name="connsiteX4718" fmla="*/ 369315 w 3368309"/>
                <a:gd name="connsiteY4718" fmla="*/ 255116 h 2031151"/>
                <a:gd name="connsiteX4719" fmla="*/ 369315 w 3368309"/>
                <a:gd name="connsiteY4719" fmla="*/ 255116 h 2031151"/>
                <a:gd name="connsiteX4720" fmla="*/ 367686 w 3368309"/>
                <a:gd name="connsiteY4720" fmla="*/ 266031 h 2031151"/>
                <a:gd name="connsiteX4721" fmla="*/ 367197 w 3368309"/>
                <a:gd name="connsiteY4721" fmla="*/ 269452 h 2031151"/>
                <a:gd name="connsiteX4722" fmla="*/ 372410 w 3368309"/>
                <a:gd name="connsiteY4722" fmla="*/ 271081 h 2031151"/>
                <a:gd name="connsiteX4723" fmla="*/ 374854 w 3368309"/>
                <a:gd name="connsiteY4723" fmla="*/ 272384 h 2031151"/>
                <a:gd name="connsiteX4724" fmla="*/ 377135 w 3368309"/>
                <a:gd name="connsiteY4724" fmla="*/ 270755 h 2031151"/>
                <a:gd name="connsiteX4725" fmla="*/ 372573 w 3368309"/>
                <a:gd name="connsiteY4725" fmla="*/ 266031 h 2031151"/>
                <a:gd name="connsiteX4726" fmla="*/ 368012 w 3368309"/>
                <a:gd name="connsiteY4726" fmla="*/ 266031 h 2031151"/>
                <a:gd name="connsiteX4727" fmla="*/ 368664 w 3368309"/>
                <a:gd name="connsiteY4727" fmla="*/ 102144 h 2031151"/>
                <a:gd name="connsiteX4728" fmla="*/ 371270 w 3368309"/>
                <a:gd name="connsiteY4728" fmla="*/ 100515 h 2031151"/>
                <a:gd name="connsiteX4729" fmla="*/ 374528 w 3368309"/>
                <a:gd name="connsiteY4729" fmla="*/ 100515 h 2031151"/>
                <a:gd name="connsiteX4730" fmla="*/ 378601 w 3368309"/>
                <a:gd name="connsiteY4730" fmla="*/ 96442 h 2031151"/>
                <a:gd name="connsiteX4731" fmla="*/ 382185 w 3368309"/>
                <a:gd name="connsiteY4731" fmla="*/ 96442 h 2031151"/>
                <a:gd name="connsiteX4732" fmla="*/ 383977 w 3368309"/>
                <a:gd name="connsiteY4732" fmla="*/ 98560 h 2031151"/>
                <a:gd name="connsiteX4733" fmla="*/ 388050 w 3368309"/>
                <a:gd name="connsiteY4733" fmla="*/ 98886 h 2031151"/>
                <a:gd name="connsiteX4734" fmla="*/ 388538 w 3368309"/>
                <a:gd name="connsiteY4734" fmla="*/ 102144 h 2031151"/>
                <a:gd name="connsiteX4735" fmla="*/ 384140 w 3368309"/>
                <a:gd name="connsiteY4735" fmla="*/ 106380 h 2031151"/>
                <a:gd name="connsiteX4736" fmla="*/ 380882 w 3368309"/>
                <a:gd name="connsiteY4736" fmla="*/ 106705 h 2031151"/>
                <a:gd name="connsiteX4737" fmla="*/ 377623 w 3368309"/>
                <a:gd name="connsiteY4737" fmla="*/ 104751 h 2031151"/>
                <a:gd name="connsiteX4738" fmla="*/ 370130 w 3368309"/>
                <a:gd name="connsiteY4738" fmla="*/ 104262 h 2031151"/>
                <a:gd name="connsiteX4739" fmla="*/ 368664 w 3368309"/>
                <a:gd name="connsiteY4739" fmla="*/ 102307 h 2031151"/>
                <a:gd name="connsiteX4740" fmla="*/ 368664 w 3368309"/>
                <a:gd name="connsiteY4740" fmla="*/ 102307 h 2031151"/>
                <a:gd name="connsiteX4741" fmla="*/ 378438 w 3368309"/>
                <a:gd name="connsiteY4741" fmla="*/ 173824 h 2031151"/>
                <a:gd name="connsiteX4742" fmla="*/ 381044 w 3368309"/>
                <a:gd name="connsiteY4742" fmla="*/ 167796 h 2031151"/>
                <a:gd name="connsiteX4743" fmla="*/ 383651 w 3368309"/>
                <a:gd name="connsiteY4743" fmla="*/ 165353 h 2031151"/>
                <a:gd name="connsiteX4744" fmla="*/ 383651 w 3368309"/>
                <a:gd name="connsiteY4744" fmla="*/ 162909 h 2031151"/>
                <a:gd name="connsiteX4745" fmla="*/ 379904 w 3368309"/>
                <a:gd name="connsiteY4745" fmla="*/ 160140 h 2031151"/>
                <a:gd name="connsiteX4746" fmla="*/ 377623 w 3368309"/>
                <a:gd name="connsiteY4746" fmla="*/ 156393 h 2031151"/>
                <a:gd name="connsiteX4747" fmla="*/ 373062 w 3368309"/>
                <a:gd name="connsiteY4747" fmla="*/ 155904 h 2031151"/>
                <a:gd name="connsiteX4748" fmla="*/ 366219 w 3368309"/>
                <a:gd name="connsiteY4748" fmla="*/ 158185 h 2031151"/>
                <a:gd name="connsiteX4749" fmla="*/ 359541 w 3368309"/>
                <a:gd name="connsiteY4749" fmla="*/ 162095 h 2031151"/>
                <a:gd name="connsiteX4750" fmla="*/ 357748 w 3368309"/>
                <a:gd name="connsiteY4750" fmla="*/ 165679 h 2031151"/>
                <a:gd name="connsiteX4751" fmla="*/ 358563 w 3368309"/>
                <a:gd name="connsiteY4751" fmla="*/ 168611 h 2031151"/>
                <a:gd name="connsiteX4752" fmla="*/ 367197 w 3368309"/>
                <a:gd name="connsiteY4752" fmla="*/ 174639 h 2031151"/>
                <a:gd name="connsiteX4753" fmla="*/ 372410 w 3368309"/>
                <a:gd name="connsiteY4753" fmla="*/ 175942 h 2031151"/>
                <a:gd name="connsiteX4754" fmla="*/ 378112 w 3368309"/>
                <a:gd name="connsiteY4754" fmla="*/ 173824 h 2031151"/>
                <a:gd name="connsiteX4755" fmla="*/ 378112 w 3368309"/>
                <a:gd name="connsiteY4755" fmla="*/ 173824 h 2031151"/>
                <a:gd name="connsiteX4756" fmla="*/ 390982 w 3368309"/>
                <a:gd name="connsiteY4756" fmla="*/ 165190 h 2031151"/>
                <a:gd name="connsiteX4757" fmla="*/ 389353 w 3368309"/>
                <a:gd name="connsiteY4757" fmla="*/ 168448 h 2031151"/>
                <a:gd name="connsiteX4758" fmla="*/ 389353 w 3368309"/>
                <a:gd name="connsiteY4758" fmla="*/ 174150 h 2031151"/>
                <a:gd name="connsiteX4759" fmla="*/ 384791 w 3368309"/>
                <a:gd name="connsiteY4759" fmla="*/ 177897 h 2031151"/>
                <a:gd name="connsiteX4760" fmla="*/ 383325 w 3368309"/>
                <a:gd name="connsiteY4760" fmla="*/ 176431 h 2031151"/>
                <a:gd name="connsiteX4761" fmla="*/ 379904 w 3368309"/>
                <a:gd name="connsiteY4761" fmla="*/ 176756 h 2031151"/>
                <a:gd name="connsiteX4762" fmla="*/ 372899 w 3368309"/>
                <a:gd name="connsiteY4762" fmla="*/ 182621 h 2031151"/>
                <a:gd name="connsiteX4763" fmla="*/ 368175 w 3368309"/>
                <a:gd name="connsiteY4763" fmla="*/ 182621 h 2031151"/>
                <a:gd name="connsiteX4764" fmla="*/ 365079 w 3368309"/>
                <a:gd name="connsiteY4764" fmla="*/ 180015 h 2031151"/>
                <a:gd name="connsiteX4765" fmla="*/ 361821 w 3368309"/>
                <a:gd name="connsiteY4765" fmla="*/ 181644 h 2031151"/>
                <a:gd name="connsiteX4766" fmla="*/ 361821 w 3368309"/>
                <a:gd name="connsiteY4766" fmla="*/ 186042 h 2031151"/>
                <a:gd name="connsiteX4767" fmla="*/ 363613 w 3368309"/>
                <a:gd name="connsiteY4767" fmla="*/ 191581 h 2031151"/>
                <a:gd name="connsiteX4768" fmla="*/ 363287 w 3368309"/>
                <a:gd name="connsiteY4768" fmla="*/ 205754 h 2031151"/>
                <a:gd name="connsiteX4769" fmla="*/ 366383 w 3368309"/>
                <a:gd name="connsiteY4769" fmla="*/ 213574 h 2031151"/>
                <a:gd name="connsiteX4770" fmla="*/ 372573 w 3368309"/>
                <a:gd name="connsiteY4770" fmla="*/ 222208 h 2031151"/>
                <a:gd name="connsiteX4771" fmla="*/ 377298 w 3368309"/>
                <a:gd name="connsiteY4771" fmla="*/ 222208 h 2031151"/>
                <a:gd name="connsiteX4772" fmla="*/ 385443 w 3368309"/>
                <a:gd name="connsiteY4772" fmla="*/ 218950 h 2031151"/>
                <a:gd name="connsiteX4773" fmla="*/ 391634 w 3368309"/>
                <a:gd name="connsiteY4773" fmla="*/ 218461 h 2031151"/>
                <a:gd name="connsiteX4774" fmla="*/ 396358 w 3368309"/>
                <a:gd name="connsiteY4774" fmla="*/ 215203 h 2031151"/>
                <a:gd name="connsiteX4775" fmla="*/ 403852 w 3368309"/>
                <a:gd name="connsiteY4775" fmla="*/ 213737 h 2031151"/>
                <a:gd name="connsiteX4776" fmla="*/ 403526 w 3368309"/>
                <a:gd name="connsiteY4776" fmla="*/ 210316 h 2031151"/>
                <a:gd name="connsiteX4777" fmla="*/ 399453 w 3368309"/>
                <a:gd name="connsiteY4777" fmla="*/ 206406 h 2031151"/>
                <a:gd name="connsiteX4778" fmla="*/ 396358 w 3368309"/>
                <a:gd name="connsiteY4778" fmla="*/ 201356 h 2031151"/>
                <a:gd name="connsiteX4779" fmla="*/ 390819 w 3368309"/>
                <a:gd name="connsiteY4779" fmla="*/ 199075 h 2031151"/>
                <a:gd name="connsiteX4780" fmla="*/ 387724 w 3368309"/>
                <a:gd name="connsiteY4780" fmla="*/ 192884 h 2031151"/>
                <a:gd name="connsiteX4781" fmla="*/ 388212 w 3368309"/>
                <a:gd name="connsiteY4781" fmla="*/ 189300 h 2031151"/>
                <a:gd name="connsiteX4782" fmla="*/ 392448 w 3368309"/>
                <a:gd name="connsiteY4782" fmla="*/ 186368 h 2031151"/>
                <a:gd name="connsiteX4783" fmla="*/ 398313 w 3368309"/>
                <a:gd name="connsiteY4783" fmla="*/ 186368 h 2031151"/>
                <a:gd name="connsiteX4784" fmla="*/ 402874 w 3368309"/>
                <a:gd name="connsiteY4784" fmla="*/ 183436 h 2031151"/>
                <a:gd name="connsiteX4785" fmla="*/ 402874 w 3368309"/>
                <a:gd name="connsiteY4785" fmla="*/ 180178 h 2031151"/>
                <a:gd name="connsiteX4786" fmla="*/ 398476 w 3368309"/>
                <a:gd name="connsiteY4786" fmla="*/ 174639 h 2031151"/>
                <a:gd name="connsiteX4787" fmla="*/ 393751 w 3368309"/>
                <a:gd name="connsiteY4787" fmla="*/ 171706 h 2031151"/>
                <a:gd name="connsiteX4788" fmla="*/ 390982 w 3368309"/>
                <a:gd name="connsiteY4788" fmla="*/ 165190 h 2031151"/>
                <a:gd name="connsiteX4789" fmla="*/ 390982 w 3368309"/>
                <a:gd name="connsiteY4789" fmla="*/ 165190 h 2031151"/>
                <a:gd name="connsiteX4790" fmla="*/ 414930 w 3368309"/>
                <a:gd name="connsiteY4790" fmla="*/ 175453 h 2031151"/>
                <a:gd name="connsiteX4791" fmla="*/ 410694 w 3368309"/>
                <a:gd name="connsiteY4791" fmla="*/ 172521 h 2031151"/>
                <a:gd name="connsiteX4792" fmla="*/ 410205 w 3368309"/>
                <a:gd name="connsiteY4792" fmla="*/ 168611 h 2031151"/>
                <a:gd name="connsiteX4793" fmla="*/ 406947 w 3368309"/>
                <a:gd name="connsiteY4793" fmla="*/ 165190 h 2031151"/>
                <a:gd name="connsiteX4794" fmla="*/ 401734 w 3368309"/>
                <a:gd name="connsiteY4794" fmla="*/ 165679 h 2031151"/>
                <a:gd name="connsiteX4795" fmla="*/ 397498 w 3368309"/>
                <a:gd name="connsiteY4795" fmla="*/ 161606 h 2031151"/>
                <a:gd name="connsiteX4796" fmla="*/ 397498 w 3368309"/>
                <a:gd name="connsiteY4796" fmla="*/ 157859 h 2031151"/>
                <a:gd name="connsiteX4797" fmla="*/ 399290 w 3368309"/>
                <a:gd name="connsiteY4797" fmla="*/ 153949 h 2031151"/>
                <a:gd name="connsiteX4798" fmla="*/ 396521 w 3368309"/>
                <a:gd name="connsiteY4798" fmla="*/ 147107 h 2031151"/>
                <a:gd name="connsiteX4799" fmla="*/ 395217 w 3368309"/>
                <a:gd name="connsiteY4799" fmla="*/ 141079 h 2031151"/>
                <a:gd name="connsiteX4800" fmla="*/ 396846 w 3368309"/>
                <a:gd name="connsiteY4800" fmla="*/ 134237 h 2031151"/>
                <a:gd name="connsiteX4801" fmla="*/ 401245 w 3368309"/>
                <a:gd name="connsiteY4801" fmla="*/ 131305 h 2031151"/>
                <a:gd name="connsiteX4802" fmla="*/ 405807 w 3368309"/>
                <a:gd name="connsiteY4802" fmla="*/ 125277 h 2031151"/>
                <a:gd name="connsiteX4803" fmla="*/ 405807 w 3368309"/>
                <a:gd name="connsiteY4803" fmla="*/ 122182 h 2031151"/>
                <a:gd name="connsiteX4804" fmla="*/ 407273 w 3368309"/>
                <a:gd name="connsiteY4804" fmla="*/ 118435 h 2031151"/>
                <a:gd name="connsiteX4805" fmla="*/ 410694 w 3368309"/>
                <a:gd name="connsiteY4805" fmla="*/ 117946 h 2031151"/>
                <a:gd name="connsiteX4806" fmla="*/ 414115 w 3368309"/>
                <a:gd name="connsiteY4806" fmla="*/ 119738 h 2031151"/>
                <a:gd name="connsiteX4807" fmla="*/ 418676 w 3368309"/>
                <a:gd name="connsiteY4807" fmla="*/ 121042 h 2031151"/>
                <a:gd name="connsiteX4808" fmla="*/ 420468 w 3368309"/>
                <a:gd name="connsiteY4808" fmla="*/ 126092 h 2031151"/>
                <a:gd name="connsiteX4809" fmla="*/ 420143 w 3368309"/>
                <a:gd name="connsiteY4809" fmla="*/ 134400 h 2031151"/>
                <a:gd name="connsiteX4810" fmla="*/ 421609 w 3368309"/>
                <a:gd name="connsiteY4810" fmla="*/ 137007 h 2031151"/>
                <a:gd name="connsiteX4811" fmla="*/ 426007 w 3368309"/>
                <a:gd name="connsiteY4811" fmla="*/ 138799 h 2031151"/>
                <a:gd name="connsiteX4812" fmla="*/ 431872 w 3368309"/>
                <a:gd name="connsiteY4812" fmla="*/ 144826 h 2031151"/>
                <a:gd name="connsiteX4813" fmla="*/ 435130 w 3368309"/>
                <a:gd name="connsiteY4813" fmla="*/ 144826 h 2031151"/>
                <a:gd name="connsiteX4814" fmla="*/ 435130 w 3368309"/>
                <a:gd name="connsiteY4814" fmla="*/ 147596 h 2031151"/>
                <a:gd name="connsiteX4815" fmla="*/ 426985 w 3368309"/>
                <a:gd name="connsiteY4815" fmla="*/ 152320 h 2031151"/>
                <a:gd name="connsiteX4816" fmla="*/ 419002 w 3368309"/>
                <a:gd name="connsiteY4816" fmla="*/ 155578 h 2031151"/>
                <a:gd name="connsiteX4817" fmla="*/ 417373 w 3368309"/>
                <a:gd name="connsiteY4817" fmla="*/ 158999 h 2031151"/>
                <a:gd name="connsiteX4818" fmla="*/ 418839 w 3368309"/>
                <a:gd name="connsiteY4818" fmla="*/ 163561 h 2031151"/>
                <a:gd name="connsiteX4819" fmla="*/ 418188 w 3368309"/>
                <a:gd name="connsiteY4819" fmla="*/ 169588 h 2031151"/>
                <a:gd name="connsiteX4820" fmla="*/ 414441 w 3368309"/>
                <a:gd name="connsiteY4820" fmla="*/ 175127 h 2031151"/>
                <a:gd name="connsiteX4821" fmla="*/ 414441 w 3368309"/>
                <a:gd name="connsiteY4821" fmla="*/ 175127 h 2031151"/>
                <a:gd name="connsiteX4822" fmla="*/ 2608990 w 3368309"/>
                <a:gd name="connsiteY4822" fmla="*/ 319628 h 2031151"/>
                <a:gd name="connsiteX4823" fmla="*/ 2610945 w 3368309"/>
                <a:gd name="connsiteY4823" fmla="*/ 318976 h 2031151"/>
                <a:gd name="connsiteX4824" fmla="*/ 2612085 w 3368309"/>
                <a:gd name="connsiteY4824" fmla="*/ 315881 h 2031151"/>
                <a:gd name="connsiteX4825" fmla="*/ 2609479 w 3368309"/>
                <a:gd name="connsiteY4825" fmla="*/ 313600 h 2031151"/>
                <a:gd name="connsiteX4826" fmla="*/ 2607687 w 3368309"/>
                <a:gd name="connsiteY4826" fmla="*/ 315881 h 2031151"/>
                <a:gd name="connsiteX4827" fmla="*/ 2609153 w 3368309"/>
                <a:gd name="connsiteY4827" fmla="*/ 319628 h 2031151"/>
                <a:gd name="connsiteX4828" fmla="*/ 2609153 w 3368309"/>
                <a:gd name="connsiteY4828" fmla="*/ 319628 h 2031151"/>
                <a:gd name="connsiteX4829" fmla="*/ 2589604 w 3368309"/>
                <a:gd name="connsiteY4829" fmla="*/ 315555 h 2031151"/>
                <a:gd name="connsiteX4830" fmla="*/ 2592699 w 3368309"/>
                <a:gd name="connsiteY4830" fmla="*/ 315066 h 2031151"/>
                <a:gd name="connsiteX4831" fmla="*/ 2594491 w 3368309"/>
                <a:gd name="connsiteY4831" fmla="*/ 312134 h 2031151"/>
                <a:gd name="connsiteX4832" fmla="*/ 2588138 w 3368309"/>
                <a:gd name="connsiteY4832" fmla="*/ 310505 h 2031151"/>
                <a:gd name="connsiteX4833" fmla="*/ 2586997 w 3368309"/>
                <a:gd name="connsiteY4833" fmla="*/ 312948 h 2031151"/>
                <a:gd name="connsiteX4834" fmla="*/ 2589441 w 3368309"/>
                <a:gd name="connsiteY4834" fmla="*/ 315555 h 2031151"/>
                <a:gd name="connsiteX4835" fmla="*/ 2589441 w 3368309"/>
                <a:gd name="connsiteY4835" fmla="*/ 315555 h 2031151"/>
                <a:gd name="connsiteX4836" fmla="*/ 2570381 w 3368309"/>
                <a:gd name="connsiteY4836" fmla="*/ 322397 h 2031151"/>
                <a:gd name="connsiteX4837" fmla="*/ 2572499 w 3368309"/>
                <a:gd name="connsiteY4837" fmla="*/ 322397 h 2031151"/>
                <a:gd name="connsiteX4838" fmla="*/ 2574290 w 3368309"/>
                <a:gd name="connsiteY4838" fmla="*/ 320605 h 2031151"/>
                <a:gd name="connsiteX4839" fmla="*/ 2573150 w 3368309"/>
                <a:gd name="connsiteY4839" fmla="*/ 316207 h 2031151"/>
                <a:gd name="connsiteX4840" fmla="*/ 2569403 w 3368309"/>
                <a:gd name="connsiteY4840" fmla="*/ 315066 h 2031151"/>
                <a:gd name="connsiteX4841" fmla="*/ 2567122 w 3368309"/>
                <a:gd name="connsiteY4841" fmla="*/ 318487 h 2031151"/>
                <a:gd name="connsiteX4842" fmla="*/ 2570218 w 3368309"/>
                <a:gd name="connsiteY4842" fmla="*/ 322397 h 2031151"/>
                <a:gd name="connsiteX4843" fmla="*/ 2570218 w 3368309"/>
                <a:gd name="connsiteY4843" fmla="*/ 322397 h 2031151"/>
                <a:gd name="connsiteX4844" fmla="*/ 3014145 w 3368309"/>
                <a:gd name="connsiteY4844" fmla="*/ 865373 h 2031151"/>
                <a:gd name="connsiteX4845" fmla="*/ 3012516 w 3368309"/>
                <a:gd name="connsiteY4845" fmla="*/ 866188 h 2031151"/>
                <a:gd name="connsiteX4846" fmla="*/ 3014308 w 3368309"/>
                <a:gd name="connsiteY4846" fmla="*/ 871401 h 2031151"/>
                <a:gd name="connsiteX4847" fmla="*/ 3016589 w 3368309"/>
                <a:gd name="connsiteY4847" fmla="*/ 868469 h 2031151"/>
                <a:gd name="connsiteX4848" fmla="*/ 3016589 w 3368309"/>
                <a:gd name="connsiteY4848" fmla="*/ 865373 h 2031151"/>
                <a:gd name="connsiteX4849" fmla="*/ 3015286 w 3368309"/>
                <a:gd name="connsiteY4849" fmla="*/ 863907 h 2031151"/>
                <a:gd name="connsiteX4850" fmla="*/ 3014308 w 3368309"/>
                <a:gd name="connsiteY4850" fmla="*/ 865373 h 2031151"/>
                <a:gd name="connsiteX4851" fmla="*/ 3014308 w 3368309"/>
                <a:gd name="connsiteY4851" fmla="*/ 865373 h 2031151"/>
                <a:gd name="connsiteX4852" fmla="*/ 3007303 w 3368309"/>
                <a:gd name="connsiteY4852" fmla="*/ 855436 h 2031151"/>
                <a:gd name="connsiteX4853" fmla="*/ 3012679 w 3368309"/>
                <a:gd name="connsiteY4853" fmla="*/ 860486 h 2031151"/>
                <a:gd name="connsiteX4854" fmla="*/ 3014960 w 3368309"/>
                <a:gd name="connsiteY4854" fmla="*/ 859672 h 2031151"/>
                <a:gd name="connsiteX4855" fmla="*/ 3015286 w 3368309"/>
                <a:gd name="connsiteY4855" fmla="*/ 857391 h 2031151"/>
                <a:gd name="connsiteX4856" fmla="*/ 3011702 w 3368309"/>
                <a:gd name="connsiteY4856" fmla="*/ 852504 h 2031151"/>
                <a:gd name="connsiteX4857" fmla="*/ 3008281 w 3368309"/>
                <a:gd name="connsiteY4857" fmla="*/ 852829 h 2031151"/>
                <a:gd name="connsiteX4858" fmla="*/ 3007303 w 3368309"/>
                <a:gd name="connsiteY4858" fmla="*/ 855273 h 2031151"/>
                <a:gd name="connsiteX4859" fmla="*/ 3007303 w 3368309"/>
                <a:gd name="connsiteY4859" fmla="*/ 855273 h 2031151"/>
                <a:gd name="connsiteX4860" fmla="*/ 476346 w 3368309"/>
                <a:gd name="connsiteY4860" fmla="*/ 544768 h 2031151"/>
                <a:gd name="connsiteX4861" fmla="*/ 478301 w 3368309"/>
                <a:gd name="connsiteY4861" fmla="*/ 544279 h 2031151"/>
                <a:gd name="connsiteX4862" fmla="*/ 479605 w 3368309"/>
                <a:gd name="connsiteY4862" fmla="*/ 541673 h 2031151"/>
                <a:gd name="connsiteX4863" fmla="*/ 486447 w 3368309"/>
                <a:gd name="connsiteY4863" fmla="*/ 536949 h 2031151"/>
                <a:gd name="connsiteX4864" fmla="*/ 487424 w 3368309"/>
                <a:gd name="connsiteY4864" fmla="*/ 533365 h 2031151"/>
                <a:gd name="connsiteX4865" fmla="*/ 485795 w 3368309"/>
                <a:gd name="connsiteY4865" fmla="*/ 533365 h 2031151"/>
                <a:gd name="connsiteX4866" fmla="*/ 480256 w 3368309"/>
                <a:gd name="connsiteY4866" fmla="*/ 537111 h 2031151"/>
                <a:gd name="connsiteX4867" fmla="*/ 476998 w 3368309"/>
                <a:gd name="connsiteY4867" fmla="*/ 538089 h 2031151"/>
                <a:gd name="connsiteX4868" fmla="*/ 474228 w 3368309"/>
                <a:gd name="connsiteY4868" fmla="*/ 541510 h 2031151"/>
                <a:gd name="connsiteX4869" fmla="*/ 476183 w 3368309"/>
                <a:gd name="connsiteY4869" fmla="*/ 544605 h 2031151"/>
                <a:gd name="connsiteX4870" fmla="*/ 476183 w 3368309"/>
                <a:gd name="connsiteY4870" fmla="*/ 544605 h 2031151"/>
                <a:gd name="connsiteX4871" fmla="*/ 445231 w 3368309"/>
                <a:gd name="connsiteY4871" fmla="*/ 708981 h 2031151"/>
                <a:gd name="connsiteX4872" fmla="*/ 452725 w 3368309"/>
                <a:gd name="connsiteY4872" fmla="*/ 708981 h 2031151"/>
                <a:gd name="connsiteX4873" fmla="*/ 460055 w 3368309"/>
                <a:gd name="connsiteY4873" fmla="*/ 705560 h 2031151"/>
                <a:gd name="connsiteX4874" fmla="*/ 466083 w 3368309"/>
                <a:gd name="connsiteY4874" fmla="*/ 702790 h 2031151"/>
                <a:gd name="connsiteX4875" fmla="*/ 470807 w 3368309"/>
                <a:gd name="connsiteY4875" fmla="*/ 703930 h 2031151"/>
                <a:gd name="connsiteX4876" fmla="*/ 473251 w 3368309"/>
                <a:gd name="connsiteY4876" fmla="*/ 706863 h 2031151"/>
                <a:gd name="connsiteX4877" fmla="*/ 478953 w 3368309"/>
                <a:gd name="connsiteY4877" fmla="*/ 708166 h 2031151"/>
                <a:gd name="connsiteX4878" fmla="*/ 482862 w 3368309"/>
                <a:gd name="connsiteY4878" fmla="*/ 705885 h 2031151"/>
                <a:gd name="connsiteX4879" fmla="*/ 480582 w 3368309"/>
                <a:gd name="connsiteY4879" fmla="*/ 703116 h 2031151"/>
                <a:gd name="connsiteX4880" fmla="*/ 480908 w 3368309"/>
                <a:gd name="connsiteY4880" fmla="*/ 699369 h 2031151"/>
                <a:gd name="connsiteX4881" fmla="*/ 483189 w 3368309"/>
                <a:gd name="connsiteY4881" fmla="*/ 700184 h 2031151"/>
                <a:gd name="connsiteX4882" fmla="*/ 485632 w 3368309"/>
                <a:gd name="connsiteY4882" fmla="*/ 705234 h 2031151"/>
                <a:gd name="connsiteX4883" fmla="*/ 489868 w 3368309"/>
                <a:gd name="connsiteY4883" fmla="*/ 707514 h 2031151"/>
                <a:gd name="connsiteX4884" fmla="*/ 497199 w 3368309"/>
                <a:gd name="connsiteY4884" fmla="*/ 707514 h 2031151"/>
                <a:gd name="connsiteX4885" fmla="*/ 498502 w 3368309"/>
                <a:gd name="connsiteY4885" fmla="*/ 704745 h 2031151"/>
                <a:gd name="connsiteX4886" fmla="*/ 502412 w 3368309"/>
                <a:gd name="connsiteY4886" fmla="*/ 703768 h 2031151"/>
                <a:gd name="connsiteX4887" fmla="*/ 505018 w 3368309"/>
                <a:gd name="connsiteY4887" fmla="*/ 697577 h 2031151"/>
                <a:gd name="connsiteX4888" fmla="*/ 504692 w 3368309"/>
                <a:gd name="connsiteY4888" fmla="*/ 692038 h 2031151"/>
                <a:gd name="connsiteX4889" fmla="*/ 507951 w 3368309"/>
                <a:gd name="connsiteY4889" fmla="*/ 686499 h 2031151"/>
                <a:gd name="connsiteX4890" fmla="*/ 508602 w 3368309"/>
                <a:gd name="connsiteY4890" fmla="*/ 681938 h 2031151"/>
                <a:gd name="connsiteX4891" fmla="*/ 505181 w 3368309"/>
                <a:gd name="connsiteY4891" fmla="*/ 678842 h 2031151"/>
                <a:gd name="connsiteX4892" fmla="*/ 502412 w 3368309"/>
                <a:gd name="connsiteY4892" fmla="*/ 672652 h 2031151"/>
                <a:gd name="connsiteX4893" fmla="*/ 497687 w 3368309"/>
                <a:gd name="connsiteY4893" fmla="*/ 671512 h 2031151"/>
                <a:gd name="connsiteX4894" fmla="*/ 494266 w 3368309"/>
                <a:gd name="connsiteY4894" fmla="*/ 671512 h 2031151"/>
                <a:gd name="connsiteX4895" fmla="*/ 492474 w 3368309"/>
                <a:gd name="connsiteY4895" fmla="*/ 669068 h 2031151"/>
                <a:gd name="connsiteX4896" fmla="*/ 495407 w 3368309"/>
                <a:gd name="connsiteY4896" fmla="*/ 667602 h 2031151"/>
                <a:gd name="connsiteX4897" fmla="*/ 499480 w 3368309"/>
                <a:gd name="connsiteY4897" fmla="*/ 668742 h 2031151"/>
                <a:gd name="connsiteX4898" fmla="*/ 502737 w 3368309"/>
                <a:gd name="connsiteY4898" fmla="*/ 667602 h 2031151"/>
                <a:gd name="connsiteX4899" fmla="*/ 505507 w 3368309"/>
                <a:gd name="connsiteY4899" fmla="*/ 671674 h 2031151"/>
                <a:gd name="connsiteX4900" fmla="*/ 505507 w 3368309"/>
                <a:gd name="connsiteY4900" fmla="*/ 674770 h 2031151"/>
                <a:gd name="connsiteX4901" fmla="*/ 508114 w 3368309"/>
                <a:gd name="connsiteY4901" fmla="*/ 676236 h 2031151"/>
                <a:gd name="connsiteX4902" fmla="*/ 510557 w 3368309"/>
                <a:gd name="connsiteY4902" fmla="*/ 672978 h 2031151"/>
                <a:gd name="connsiteX4903" fmla="*/ 508602 w 3368309"/>
                <a:gd name="connsiteY4903" fmla="*/ 665484 h 2031151"/>
                <a:gd name="connsiteX4904" fmla="*/ 503226 w 3368309"/>
                <a:gd name="connsiteY4904" fmla="*/ 658316 h 2031151"/>
                <a:gd name="connsiteX4905" fmla="*/ 498176 w 3368309"/>
                <a:gd name="connsiteY4905" fmla="*/ 651311 h 2031151"/>
                <a:gd name="connsiteX4906" fmla="*/ 499642 w 3368309"/>
                <a:gd name="connsiteY4906" fmla="*/ 648541 h 2031151"/>
                <a:gd name="connsiteX4907" fmla="*/ 503064 w 3368309"/>
                <a:gd name="connsiteY4907" fmla="*/ 652614 h 2031151"/>
                <a:gd name="connsiteX4908" fmla="*/ 503715 w 3368309"/>
                <a:gd name="connsiteY4908" fmla="*/ 656361 h 2031151"/>
                <a:gd name="connsiteX4909" fmla="*/ 508439 w 3368309"/>
                <a:gd name="connsiteY4909" fmla="*/ 658642 h 2031151"/>
                <a:gd name="connsiteX4910" fmla="*/ 512838 w 3368309"/>
                <a:gd name="connsiteY4910" fmla="*/ 659945 h 2031151"/>
                <a:gd name="connsiteX4911" fmla="*/ 514141 w 3368309"/>
                <a:gd name="connsiteY4911" fmla="*/ 657013 h 2031151"/>
                <a:gd name="connsiteX4912" fmla="*/ 513653 w 3368309"/>
                <a:gd name="connsiteY4912" fmla="*/ 653754 h 2031151"/>
                <a:gd name="connsiteX4913" fmla="*/ 511698 w 3368309"/>
                <a:gd name="connsiteY4913" fmla="*/ 651800 h 2031151"/>
                <a:gd name="connsiteX4914" fmla="*/ 512023 w 3368309"/>
                <a:gd name="connsiteY4914" fmla="*/ 648704 h 2031151"/>
                <a:gd name="connsiteX4915" fmla="*/ 514956 w 3368309"/>
                <a:gd name="connsiteY4915" fmla="*/ 643491 h 2031151"/>
                <a:gd name="connsiteX4916" fmla="*/ 514467 w 3368309"/>
                <a:gd name="connsiteY4916" fmla="*/ 638767 h 2031151"/>
                <a:gd name="connsiteX4917" fmla="*/ 510557 w 3368309"/>
                <a:gd name="connsiteY4917" fmla="*/ 634042 h 2031151"/>
                <a:gd name="connsiteX4918" fmla="*/ 505181 w 3368309"/>
                <a:gd name="connsiteY4918" fmla="*/ 627363 h 2031151"/>
                <a:gd name="connsiteX4919" fmla="*/ 508928 w 3368309"/>
                <a:gd name="connsiteY4919" fmla="*/ 626874 h 2031151"/>
                <a:gd name="connsiteX4920" fmla="*/ 513001 w 3368309"/>
                <a:gd name="connsiteY4920" fmla="*/ 630621 h 2031151"/>
                <a:gd name="connsiteX4921" fmla="*/ 516422 w 3368309"/>
                <a:gd name="connsiteY4921" fmla="*/ 629644 h 2031151"/>
                <a:gd name="connsiteX4922" fmla="*/ 518377 w 3368309"/>
                <a:gd name="connsiteY4922" fmla="*/ 624105 h 2031151"/>
                <a:gd name="connsiteX4923" fmla="*/ 517074 w 3368309"/>
                <a:gd name="connsiteY4923" fmla="*/ 622639 h 2031151"/>
                <a:gd name="connsiteX4924" fmla="*/ 513816 w 3368309"/>
                <a:gd name="connsiteY4924" fmla="*/ 622639 h 2031151"/>
                <a:gd name="connsiteX4925" fmla="*/ 514141 w 3368309"/>
                <a:gd name="connsiteY4925" fmla="*/ 615960 h 2031151"/>
                <a:gd name="connsiteX4926" fmla="*/ 517237 w 3368309"/>
                <a:gd name="connsiteY4926" fmla="*/ 614982 h 2031151"/>
                <a:gd name="connsiteX4927" fmla="*/ 521635 w 3368309"/>
                <a:gd name="connsiteY4927" fmla="*/ 618077 h 2031151"/>
                <a:gd name="connsiteX4928" fmla="*/ 528314 w 3368309"/>
                <a:gd name="connsiteY4928" fmla="*/ 620684 h 2031151"/>
                <a:gd name="connsiteX4929" fmla="*/ 530269 w 3368309"/>
                <a:gd name="connsiteY4929" fmla="*/ 617752 h 2031151"/>
                <a:gd name="connsiteX4930" fmla="*/ 526523 w 3368309"/>
                <a:gd name="connsiteY4930" fmla="*/ 615308 h 2031151"/>
                <a:gd name="connsiteX4931" fmla="*/ 526034 w 3368309"/>
                <a:gd name="connsiteY4931" fmla="*/ 612538 h 2031151"/>
                <a:gd name="connsiteX4932" fmla="*/ 530107 w 3368309"/>
                <a:gd name="connsiteY4932" fmla="*/ 612538 h 2031151"/>
                <a:gd name="connsiteX4933" fmla="*/ 533039 w 3368309"/>
                <a:gd name="connsiteY4933" fmla="*/ 614167 h 2031151"/>
                <a:gd name="connsiteX4934" fmla="*/ 536785 w 3368309"/>
                <a:gd name="connsiteY4934" fmla="*/ 610909 h 2031151"/>
                <a:gd name="connsiteX4935" fmla="*/ 537112 w 3368309"/>
                <a:gd name="connsiteY4935" fmla="*/ 605696 h 2031151"/>
                <a:gd name="connsiteX4936" fmla="*/ 535482 w 3368309"/>
                <a:gd name="connsiteY4936" fmla="*/ 603904 h 2031151"/>
                <a:gd name="connsiteX4937" fmla="*/ 536460 w 3368309"/>
                <a:gd name="connsiteY4937" fmla="*/ 601949 h 2031151"/>
                <a:gd name="connsiteX4938" fmla="*/ 543139 w 3368309"/>
                <a:gd name="connsiteY4938" fmla="*/ 598854 h 2031151"/>
                <a:gd name="connsiteX4939" fmla="*/ 544442 w 3368309"/>
                <a:gd name="connsiteY4939" fmla="*/ 595107 h 2031151"/>
                <a:gd name="connsiteX4940" fmla="*/ 540207 w 3368309"/>
                <a:gd name="connsiteY4940" fmla="*/ 592338 h 2031151"/>
                <a:gd name="connsiteX4941" fmla="*/ 538252 w 3368309"/>
                <a:gd name="connsiteY4941" fmla="*/ 588591 h 2031151"/>
                <a:gd name="connsiteX4942" fmla="*/ 540858 w 3368309"/>
                <a:gd name="connsiteY4942" fmla="*/ 584192 h 2031151"/>
                <a:gd name="connsiteX4943" fmla="*/ 543302 w 3368309"/>
                <a:gd name="connsiteY4943" fmla="*/ 588591 h 2031151"/>
                <a:gd name="connsiteX4944" fmla="*/ 546397 w 3368309"/>
                <a:gd name="connsiteY4944" fmla="*/ 585984 h 2031151"/>
                <a:gd name="connsiteX4945" fmla="*/ 553565 w 3368309"/>
                <a:gd name="connsiteY4945" fmla="*/ 576698 h 2031151"/>
                <a:gd name="connsiteX4946" fmla="*/ 555357 w 3368309"/>
                <a:gd name="connsiteY4946" fmla="*/ 570997 h 2031151"/>
                <a:gd name="connsiteX4947" fmla="*/ 558290 w 3368309"/>
                <a:gd name="connsiteY4947" fmla="*/ 568227 h 2031151"/>
                <a:gd name="connsiteX4948" fmla="*/ 558941 w 3368309"/>
                <a:gd name="connsiteY4948" fmla="*/ 562037 h 2031151"/>
                <a:gd name="connsiteX4949" fmla="*/ 566272 w 3368309"/>
                <a:gd name="connsiteY4949" fmla="*/ 557475 h 2031151"/>
                <a:gd name="connsiteX4950" fmla="*/ 570345 w 3368309"/>
                <a:gd name="connsiteY4950" fmla="*/ 550307 h 2031151"/>
                <a:gd name="connsiteX4951" fmla="*/ 573277 w 3368309"/>
                <a:gd name="connsiteY4951" fmla="*/ 541021 h 2031151"/>
                <a:gd name="connsiteX4952" fmla="*/ 577350 w 3368309"/>
                <a:gd name="connsiteY4952" fmla="*/ 540696 h 2031151"/>
                <a:gd name="connsiteX4953" fmla="*/ 586799 w 3368309"/>
                <a:gd name="connsiteY4953" fmla="*/ 533690 h 2031151"/>
                <a:gd name="connsiteX4954" fmla="*/ 597062 w 3368309"/>
                <a:gd name="connsiteY4954" fmla="*/ 521961 h 2031151"/>
                <a:gd name="connsiteX4955" fmla="*/ 605370 w 3368309"/>
                <a:gd name="connsiteY4955" fmla="*/ 515282 h 2031151"/>
                <a:gd name="connsiteX4956" fmla="*/ 608303 w 3368309"/>
                <a:gd name="connsiteY4956" fmla="*/ 514793 h 2031151"/>
                <a:gd name="connsiteX4957" fmla="*/ 615145 w 3368309"/>
                <a:gd name="connsiteY4957" fmla="*/ 508928 h 2031151"/>
                <a:gd name="connsiteX4958" fmla="*/ 623290 w 3368309"/>
                <a:gd name="connsiteY4958" fmla="*/ 506485 h 2031151"/>
                <a:gd name="connsiteX4959" fmla="*/ 628015 w 3368309"/>
                <a:gd name="connsiteY4959" fmla="*/ 502575 h 2031151"/>
                <a:gd name="connsiteX4960" fmla="*/ 635183 w 3368309"/>
                <a:gd name="connsiteY4960" fmla="*/ 493778 h 2031151"/>
                <a:gd name="connsiteX4961" fmla="*/ 639255 w 3368309"/>
                <a:gd name="connsiteY4961" fmla="*/ 491171 h 2031151"/>
                <a:gd name="connsiteX4962" fmla="*/ 642025 w 3368309"/>
                <a:gd name="connsiteY4962" fmla="*/ 491660 h 2031151"/>
                <a:gd name="connsiteX4963" fmla="*/ 645935 w 3368309"/>
                <a:gd name="connsiteY4963" fmla="*/ 490031 h 2031151"/>
                <a:gd name="connsiteX4964" fmla="*/ 646260 w 3368309"/>
                <a:gd name="connsiteY4964" fmla="*/ 486773 h 2031151"/>
                <a:gd name="connsiteX4965" fmla="*/ 644794 w 3368309"/>
                <a:gd name="connsiteY4965" fmla="*/ 484329 h 2031151"/>
                <a:gd name="connsiteX4966" fmla="*/ 647238 w 3368309"/>
                <a:gd name="connsiteY4966" fmla="*/ 479605 h 2031151"/>
                <a:gd name="connsiteX4967" fmla="*/ 646423 w 3368309"/>
                <a:gd name="connsiteY4967" fmla="*/ 475369 h 2031151"/>
                <a:gd name="connsiteX4968" fmla="*/ 646423 w 3368309"/>
                <a:gd name="connsiteY4968" fmla="*/ 468364 h 2031151"/>
                <a:gd name="connsiteX4969" fmla="*/ 644794 w 3368309"/>
                <a:gd name="connsiteY4969" fmla="*/ 467061 h 2031151"/>
                <a:gd name="connsiteX4970" fmla="*/ 641536 w 3368309"/>
                <a:gd name="connsiteY4970" fmla="*/ 466572 h 2031151"/>
                <a:gd name="connsiteX4971" fmla="*/ 641048 w 3368309"/>
                <a:gd name="connsiteY4971" fmla="*/ 460055 h 2031151"/>
                <a:gd name="connsiteX4972" fmla="*/ 643654 w 3368309"/>
                <a:gd name="connsiteY4972" fmla="*/ 453865 h 2031151"/>
                <a:gd name="connsiteX4973" fmla="*/ 642188 w 3368309"/>
                <a:gd name="connsiteY4973" fmla="*/ 451584 h 2031151"/>
                <a:gd name="connsiteX4974" fmla="*/ 636975 w 3368309"/>
                <a:gd name="connsiteY4974" fmla="*/ 450770 h 2031151"/>
                <a:gd name="connsiteX4975" fmla="*/ 634368 w 3368309"/>
                <a:gd name="connsiteY4975" fmla="*/ 448000 h 2031151"/>
                <a:gd name="connsiteX4976" fmla="*/ 629644 w 3368309"/>
                <a:gd name="connsiteY4976" fmla="*/ 447186 h 2031151"/>
                <a:gd name="connsiteX4977" fmla="*/ 626874 w 3368309"/>
                <a:gd name="connsiteY4977" fmla="*/ 443439 h 2031151"/>
                <a:gd name="connsiteX4978" fmla="*/ 626548 w 3368309"/>
                <a:gd name="connsiteY4978" fmla="*/ 439366 h 2031151"/>
                <a:gd name="connsiteX4979" fmla="*/ 624594 w 3368309"/>
                <a:gd name="connsiteY4979" fmla="*/ 436759 h 2031151"/>
                <a:gd name="connsiteX4980" fmla="*/ 618729 w 3368309"/>
                <a:gd name="connsiteY4980" fmla="*/ 440506 h 2031151"/>
                <a:gd name="connsiteX4981" fmla="*/ 617751 w 3368309"/>
                <a:gd name="connsiteY4981" fmla="*/ 443113 h 2031151"/>
                <a:gd name="connsiteX4982" fmla="*/ 614656 w 3368309"/>
                <a:gd name="connsiteY4982" fmla="*/ 441973 h 2031151"/>
                <a:gd name="connsiteX4983" fmla="*/ 610746 w 3368309"/>
                <a:gd name="connsiteY4983" fmla="*/ 440181 h 2031151"/>
                <a:gd name="connsiteX4984" fmla="*/ 606510 w 3368309"/>
                <a:gd name="connsiteY4984" fmla="*/ 441321 h 2031151"/>
                <a:gd name="connsiteX4985" fmla="*/ 600157 w 3368309"/>
                <a:gd name="connsiteY4985" fmla="*/ 445394 h 2031151"/>
                <a:gd name="connsiteX4986" fmla="*/ 598854 w 3368309"/>
                <a:gd name="connsiteY4986" fmla="*/ 449792 h 2031151"/>
                <a:gd name="connsiteX4987" fmla="*/ 595759 w 3368309"/>
                <a:gd name="connsiteY4987" fmla="*/ 452236 h 2031151"/>
                <a:gd name="connsiteX4988" fmla="*/ 592012 w 3368309"/>
                <a:gd name="connsiteY4988" fmla="*/ 452887 h 2031151"/>
                <a:gd name="connsiteX4989" fmla="*/ 589080 w 3368309"/>
                <a:gd name="connsiteY4989" fmla="*/ 455983 h 2031151"/>
                <a:gd name="connsiteX4990" fmla="*/ 588591 w 3368309"/>
                <a:gd name="connsiteY4990" fmla="*/ 459567 h 2031151"/>
                <a:gd name="connsiteX4991" fmla="*/ 584844 w 3368309"/>
                <a:gd name="connsiteY4991" fmla="*/ 463802 h 2031151"/>
                <a:gd name="connsiteX4992" fmla="*/ 584355 w 3368309"/>
                <a:gd name="connsiteY4992" fmla="*/ 466409 h 2031151"/>
                <a:gd name="connsiteX4993" fmla="*/ 587450 w 3368309"/>
                <a:gd name="connsiteY4993" fmla="*/ 471459 h 2031151"/>
                <a:gd name="connsiteX4994" fmla="*/ 587776 w 3368309"/>
                <a:gd name="connsiteY4994" fmla="*/ 474880 h 2031151"/>
                <a:gd name="connsiteX4995" fmla="*/ 583378 w 3368309"/>
                <a:gd name="connsiteY4995" fmla="*/ 474880 h 2031151"/>
                <a:gd name="connsiteX4996" fmla="*/ 581097 w 3368309"/>
                <a:gd name="connsiteY4996" fmla="*/ 477487 h 2031151"/>
                <a:gd name="connsiteX4997" fmla="*/ 581097 w 3368309"/>
                <a:gd name="connsiteY4997" fmla="*/ 481234 h 2031151"/>
                <a:gd name="connsiteX4998" fmla="*/ 578653 w 3368309"/>
                <a:gd name="connsiteY4998" fmla="*/ 483026 h 2031151"/>
                <a:gd name="connsiteX4999" fmla="*/ 575721 w 3368309"/>
                <a:gd name="connsiteY4999" fmla="*/ 486773 h 2031151"/>
                <a:gd name="connsiteX5000" fmla="*/ 566924 w 3368309"/>
                <a:gd name="connsiteY5000" fmla="*/ 492637 h 2031151"/>
                <a:gd name="connsiteX5001" fmla="*/ 563828 w 3368309"/>
                <a:gd name="connsiteY5001" fmla="*/ 495244 h 2031151"/>
                <a:gd name="connsiteX5002" fmla="*/ 561874 w 3368309"/>
                <a:gd name="connsiteY5002" fmla="*/ 494266 h 2031151"/>
                <a:gd name="connsiteX5003" fmla="*/ 557638 w 3368309"/>
                <a:gd name="connsiteY5003" fmla="*/ 494266 h 2031151"/>
                <a:gd name="connsiteX5004" fmla="*/ 553728 w 3368309"/>
                <a:gd name="connsiteY5004" fmla="*/ 497036 h 2031151"/>
                <a:gd name="connsiteX5005" fmla="*/ 549655 w 3368309"/>
                <a:gd name="connsiteY5005" fmla="*/ 503389 h 2031151"/>
                <a:gd name="connsiteX5006" fmla="*/ 545908 w 3368309"/>
                <a:gd name="connsiteY5006" fmla="*/ 505833 h 2031151"/>
                <a:gd name="connsiteX5007" fmla="*/ 543953 w 3368309"/>
                <a:gd name="connsiteY5007" fmla="*/ 504367 h 2031151"/>
                <a:gd name="connsiteX5008" fmla="*/ 542325 w 3368309"/>
                <a:gd name="connsiteY5008" fmla="*/ 500620 h 2031151"/>
                <a:gd name="connsiteX5009" fmla="*/ 540369 w 3368309"/>
                <a:gd name="connsiteY5009" fmla="*/ 500620 h 2031151"/>
                <a:gd name="connsiteX5010" fmla="*/ 539718 w 3368309"/>
                <a:gd name="connsiteY5010" fmla="*/ 503878 h 2031151"/>
                <a:gd name="connsiteX5011" fmla="*/ 540369 w 3368309"/>
                <a:gd name="connsiteY5011" fmla="*/ 509580 h 2031151"/>
                <a:gd name="connsiteX5012" fmla="*/ 538741 w 3368309"/>
                <a:gd name="connsiteY5012" fmla="*/ 511372 h 2031151"/>
                <a:gd name="connsiteX5013" fmla="*/ 537112 w 3368309"/>
                <a:gd name="connsiteY5013" fmla="*/ 506973 h 2031151"/>
                <a:gd name="connsiteX5014" fmla="*/ 534668 w 3368309"/>
                <a:gd name="connsiteY5014" fmla="*/ 502738 h 2031151"/>
                <a:gd name="connsiteX5015" fmla="*/ 526848 w 3368309"/>
                <a:gd name="connsiteY5015" fmla="*/ 503552 h 2031151"/>
                <a:gd name="connsiteX5016" fmla="*/ 517237 w 3368309"/>
                <a:gd name="connsiteY5016" fmla="*/ 506159 h 2031151"/>
                <a:gd name="connsiteX5017" fmla="*/ 515282 w 3368309"/>
                <a:gd name="connsiteY5017" fmla="*/ 507951 h 2031151"/>
                <a:gd name="connsiteX5018" fmla="*/ 511535 w 3368309"/>
                <a:gd name="connsiteY5018" fmla="*/ 508602 h 2031151"/>
                <a:gd name="connsiteX5019" fmla="*/ 510069 w 3368309"/>
                <a:gd name="connsiteY5019" fmla="*/ 511209 h 2031151"/>
                <a:gd name="connsiteX5020" fmla="*/ 513001 w 3368309"/>
                <a:gd name="connsiteY5020" fmla="*/ 517725 h 2031151"/>
                <a:gd name="connsiteX5021" fmla="*/ 515119 w 3368309"/>
                <a:gd name="connsiteY5021" fmla="*/ 519843 h 2031151"/>
                <a:gd name="connsiteX5022" fmla="*/ 514630 w 3368309"/>
                <a:gd name="connsiteY5022" fmla="*/ 522124 h 2031151"/>
                <a:gd name="connsiteX5023" fmla="*/ 512186 w 3368309"/>
                <a:gd name="connsiteY5023" fmla="*/ 523101 h 2031151"/>
                <a:gd name="connsiteX5024" fmla="*/ 509091 w 3368309"/>
                <a:gd name="connsiteY5024" fmla="*/ 527500 h 2031151"/>
                <a:gd name="connsiteX5025" fmla="*/ 507136 w 3368309"/>
                <a:gd name="connsiteY5025" fmla="*/ 526685 h 2031151"/>
                <a:gd name="connsiteX5026" fmla="*/ 507462 w 3368309"/>
                <a:gd name="connsiteY5026" fmla="*/ 523753 h 2031151"/>
                <a:gd name="connsiteX5027" fmla="*/ 509254 w 3368309"/>
                <a:gd name="connsiteY5027" fmla="*/ 521798 h 2031151"/>
                <a:gd name="connsiteX5028" fmla="*/ 509254 w 3368309"/>
                <a:gd name="connsiteY5028" fmla="*/ 518214 h 2031151"/>
                <a:gd name="connsiteX5029" fmla="*/ 505996 w 3368309"/>
                <a:gd name="connsiteY5029" fmla="*/ 518214 h 2031151"/>
                <a:gd name="connsiteX5030" fmla="*/ 501923 w 3368309"/>
                <a:gd name="connsiteY5030" fmla="*/ 523916 h 2031151"/>
                <a:gd name="connsiteX5031" fmla="*/ 498176 w 3368309"/>
                <a:gd name="connsiteY5031" fmla="*/ 526522 h 2031151"/>
                <a:gd name="connsiteX5032" fmla="*/ 498176 w 3368309"/>
                <a:gd name="connsiteY5032" fmla="*/ 530106 h 2031151"/>
                <a:gd name="connsiteX5033" fmla="*/ 501597 w 3368309"/>
                <a:gd name="connsiteY5033" fmla="*/ 531735 h 2031151"/>
                <a:gd name="connsiteX5034" fmla="*/ 498991 w 3368309"/>
                <a:gd name="connsiteY5034" fmla="*/ 533690 h 2031151"/>
                <a:gd name="connsiteX5035" fmla="*/ 497035 w 3368309"/>
                <a:gd name="connsiteY5035" fmla="*/ 537763 h 2031151"/>
                <a:gd name="connsiteX5036" fmla="*/ 491334 w 3368309"/>
                <a:gd name="connsiteY5036" fmla="*/ 537763 h 2031151"/>
                <a:gd name="connsiteX5037" fmla="*/ 488239 w 3368309"/>
                <a:gd name="connsiteY5037" fmla="*/ 540370 h 2031151"/>
                <a:gd name="connsiteX5038" fmla="*/ 487587 w 3368309"/>
                <a:gd name="connsiteY5038" fmla="*/ 543465 h 2031151"/>
                <a:gd name="connsiteX5039" fmla="*/ 483026 w 3368309"/>
                <a:gd name="connsiteY5039" fmla="*/ 545094 h 2031151"/>
                <a:gd name="connsiteX5040" fmla="*/ 480256 w 3368309"/>
                <a:gd name="connsiteY5040" fmla="*/ 548026 h 2031151"/>
                <a:gd name="connsiteX5041" fmla="*/ 479278 w 3368309"/>
                <a:gd name="connsiteY5041" fmla="*/ 555194 h 2031151"/>
                <a:gd name="connsiteX5042" fmla="*/ 480582 w 3368309"/>
                <a:gd name="connsiteY5042" fmla="*/ 556823 h 2031151"/>
                <a:gd name="connsiteX5043" fmla="*/ 483677 w 3368309"/>
                <a:gd name="connsiteY5043" fmla="*/ 557312 h 2031151"/>
                <a:gd name="connsiteX5044" fmla="*/ 479930 w 3368309"/>
                <a:gd name="connsiteY5044" fmla="*/ 560896 h 2031151"/>
                <a:gd name="connsiteX5045" fmla="*/ 472437 w 3368309"/>
                <a:gd name="connsiteY5045" fmla="*/ 560896 h 2031151"/>
                <a:gd name="connsiteX5046" fmla="*/ 469667 w 3368309"/>
                <a:gd name="connsiteY5046" fmla="*/ 563177 h 2031151"/>
                <a:gd name="connsiteX5047" fmla="*/ 468689 w 3368309"/>
                <a:gd name="connsiteY5047" fmla="*/ 569856 h 2031151"/>
                <a:gd name="connsiteX5048" fmla="*/ 469341 w 3368309"/>
                <a:gd name="connsiteY5048" fmla="*/ 573766 h 2031151"/>
                <a:gd name="connsiteX5049" fmla="*/ 471785 w 3368309"/>
                <a:gd name="connsiteY5049" fmla="*/ 573766 h 2031151"/>
                <a:gd name="connsiteX5050" fmla="*/ 475532 w 3368309"/>
                <a:gd name="connsiteY5050" fmla="*/ 573277 h 2031151"/>
                <a:gd name="connsiteX5051" fmla="*/ 477161 w 3368309"/>
                <a:gd name="connsiteY5051" fmla="*/ 575395 h 2031151"/>
                <a:gd name="connsiteX5052" fmla="*/ 476346 w 3368309"/>
                <a:gd name="connsiteY5052" fmla="*/ 578002 h 2031151"/>
                <a:gd name="connsiteX5053" fmla="*/ 476835 w 3368309"/>
                <a:gd name="connsiteY5053" fmla="*/ 582237 h 2031151"/>
                <a:gd name="connsiteX5054" fmla="*/ 473414 w 3368309"/>
                <a:gd name="connsiteY5054" fmla="*/ 585007 h 2031151"/>
                <a:gd name="connsiteX5055" fmla="*/ 470319 w 3368309"/>
                <a:gd name="connsiteY5055" fmla="*/ 583866 h 2031151"/>
                <a:gd name="connsiteX5056" fmla="*/ 464291 w 3368309"/>
                <a:gd name="connsiteY5056" fmla="*/ 582400 h 2031151"/>
                <a:gd name="connsiteX5057" fmla="*/ 458915 w 3368309"/>
                <a:gd name="connsiteY5057" fmla="*/ 585333 h 2031151"/>
                <a:gd name="connsiteX5058" fmla="*/ 457449 w 3368309"/>
                <a:gd name="connsiteY5058" fmla="*/ 588917 h 2031151"/>
                <a:gd name="connsiteX5059" fmla="*/ 457449 w 3368309"/>
                <a:gd name="connsiteY5059" fmla="*/ 592501 h 2031151"/>
                <a:gd name="connsiteX5060" fmla="*/ 455331 w 3368309"/>
                <a:gd name="connsiteY5060" fmla="*/ 596899 h 2031151"/>
                <a:gd name="connsiteX5061" fmla="*/ 450769 w 3368309"/>
                <a:gd name="connsiteY5061" fmla="*/ 600809 h 2031151"/>
                <a:gd name="connsiteX5062" fmla="*/ 447185 w 3368309"/>
                <a:gd name="connsiteY5062" fmla="*/ 598854 h 2031151"/>
                <a:gd name="connsiteX5063" fmla="*/ 444579 w 3368309"/>
                <a:gd name="connsiteY5063" fmla="*/ 595433 h 2031151"/>
                <a:gd name="connsiteX5064" fmla="*/ 443276 w 3368309"/>
                <a:gd name="connsiteY5064" fmla="*/ 591849 h 2031151"/>
                <a:gd name="connsiteX5065" fmla="*/ 441321 w 3368309"/>
                <a:gd name="connsiteY5065" fmla="*/ 592826 h 2031151"/>
                <a:gd name="connsiteX5066" fmla="*/ 439855 w 3368309"/>
                <a:gd name="connsiteY5066" fmla="*/ 599343 h 2031151"/>
                <a:gd name="connsiteX5067" fmla="*/ 440832 w 3368309"/>
                <a:gd name="connsiteY5067" fmla="*/ 604882 h 2031151"/>
                <a:gd name="connsiteX5068" fmla="*/ 445394 w 3368309"/>
                <a:gd name="connsiteY5068" fmla="*/ 608629 h 2031151"/>
                <a:gd name="connsiteX5069" fmla="*/ 448652 w 3368309"/>
                <a:gd name="connsiteY5069" fmla="*/ 607651 h 2031151"/>
                <a:gd name="connsiteX5070" fmla="*/ 450281 w 3368309"/>
                <a:gd name="connsiteY5070" fmla="*/ 608303 h 2031151"/>
                <a:gd name="connsiteX5071" fmla="*/ 450607 w 3368309"/>
                <a:gd name="connsiteY5071" fmla="*/ 611561 h 2031151"/>
                <a:gd name="connsiteX5072" fmla="*/ 448163 w 3368309"/>
                <a:gd name="connsiteY5072" fmla="*/ 616937 h 2031151"/>
                <a:gd name="connsiteX5073" fmla="*/ 448815 w 3368309"/>
                <a:gd name="connsiteY5073" fmla="*/ 619381 h 2031151"/>
                <a:gd name="connsiteX5074" fmla="*/ 451910 w 3368309"/>
                <a:gd name="connsiteY5074" fmla="*/ 621010 h 2031151"/>
                <a:gd name="connsiteX5075" fmla="*/ 454516 w 3368309"/>
                <a:gd name="connsiteY5075" fmla="*/ 617914 h 2031151"/>
                <a:gd name="connsiteX5076" fmla="*/ 456797 w 3368309"/>
                <a:gd name="connsiteY5076" fmla="*/ 617914 h 2031151"/>
                <a:gd name="connsiteX5077" fmla="*/ 458752 w 3368309"/>
                <a:gd name="connsiteY5077" fmla="*/ 619381 h 2031151"/>
                <a:gd name="connsiteX5078" fmla="*/ 463802 w 3368309"/>
                <a:gd name="connsiteY5078" fmla="*/ 619381 h 2031151"/>
                <a:gd name="connsiteX5079" fmla="*/ 467060 w 3368309"/>
                <a:gd name="connsiteY5079" fmla="*/ 617263 h 2031151"/>
                <a:gd name="connsiteX5080" fmla="*/ 468526 w 3368309"/>
                <a:gd name="connsiteY5080" fmla="*/ 618566 h 2031151"/>
                <a:gd name="connsiteX5081" fmla="*/ 466735 w 3368309"/>
                <a:gd name="connsiteY5081" fmla="*/ 622150 h 2031151"/>
                <a:gd name="connsiteX5082" fmla="*/ 462825 w 3368309"/>
                <a:gd name="connsiteY5082" fmla="*/ 623127 h 2031151"/>
                <a:gd name="connsiteX5083" fmla="*/ 456797 w 3368309"/>
                <a:gd name="connsiteY5083" fmla="*/ 623127 h 2031151"/>
                <a:gd name="connsiteX5084" fmla="*/ 454516 w 3368309"/>
                <a:gd name="connsiteY5084" fmla="*/ 626060 h 2031151"/>
                <a:gd name="connsiteX5085" fmla="*/ 451584 w 3368309"/>
                <a:gd name="connsiteY5085" fmla="*/ 624919 h 2031151"/>
                <a:gd name="connsiteX5086" fmla="*/ 449792 w 3368309"/>
                <a:gd name="connsiteY5086" fmla="*/ 628178 h 2031151"/>
                <a:gd name="connsiteX5087" fmla="*/ 451421 w 3368309"/>
                <a:gd name="connsiteY5087" fmla="*/ 633554 h 2031151"/>
                <a:gd name="connsiteX5088" fmla="*/ 455331 w 3368309"/>
                <a:gd name="connsiteY5088" fmla="*/ 635834 h 2031151"/>
                <a:gd name="connsiteX5089" fmla="*/ 458589 w 3368309"/>
                <a:gd name="connsiteY5089" fmla="*/ 636649 h 2031151"/>
                <a:gd name="connsiteX5090" fmla="*/ 462010 w 3368309"/>
                <a:gd name="connsiteY5090" fmla="*/ 635183 h 2031151"/>
                <a:gd name="connsiteX5091" fmla="*/ 463639 w 3368309"/>
                <a:gd name="connsiteY5091" fmla="*/ 636812 h 2031151"/>
                <a:gd name="connsiteX5092" fmla="*/ 462499 w 3368309"/>
                <a:gd name="connsiteY5092" fmla="*/ 638767 h 2031151"/>
                <a:gd name="connsiteX5093" fmla="*/ 456797 w 3368309"/>
                <a:gd name="connsiteY5093" fmla="*/ 641210 h 2031151"/>
                <a:gd name="connsiteX5094" fmla="*/ 450769 w 3368309"/>
                <a:gd name="connsiteY5094" fmla="*/ 641210 h 2031151"/>
                <a:gd name="connsiteX5095" fmla="*/ 447837 w 3368309"/>
                <a:gd name="connsiteY5095" fmla="*/ 643165 h 2031151"/>
                <a:gd name="connsiteX5096" fmla="*/ 447348 w 3368309"/>
                <a:gd name="connsiteY5096" fmla="*/ 645935 h 2031151"/>
                <a:gd name="connsiteX5097" fmla="*/ 449792 w 3368309"/>
                <a:gd name="connsiteY5097" fmla="*/ 647727 h 2031151"/>
                <a:gd name="connsiteX5098" fmla="*/ 454191 w 3368309"/>
                <a:gd name="connsiteY5098" fmla="*/ 647075 h 2031151"/>
                <a:gd name="connsiteX5099" fmla="*/ 459241 w 3368309"/>
                <a:gd name="connsiteY5099" fmla="*/ 647564 h 2031151"/>
                <a:gd name="connsiteX5100" fmla="*/ 459241 w 3368309"/>
                <a:gd name="connsiteY5100" fmla="*/ 649356 h 2031151"/>
                <a:gd name="connsiteX5101" fmla="*/ 456146 w 3368309"/>
                <a:gd name="connsiteY5101" fmla="*/ 650496 h 2031151"/>
                <a:gd name="connsiteX5102" fmla="*/ 451095 w 3368309"/>
                <a:gd name="connsiteY5102" fmla="*/ 651311 h 2031151"/>
                <a:gd name="connsiteX5103" fmla="*/ 451421 w 3368309"/>
                <a:gd name="connsiteY5103" fmla="*/ 653917 h 2031151"/>
                <a:gd name="connsiteX5104" fmla="*/ 453050 w 3368309"/>
                <a:gd name="connsiteY5104" fmla="*/ 654895 h 2031151"/>
                <a:gd name="connsiteX5105" fmla="*/ 459404 w 3368309"/>
                <a:gd name="connsiteY5105" fmla="*/ 655709 h 2031151"/>
                <a:gd name="connsiteX5106" fmla="*/ 466572 w 3368309"/>
                <a:gd name="connsiteY5106" fmla="*/ 660271 h 2031151"/>
                <a:gd name="connsiteX5107" fmla="*/ 470644 w 3368309"/>
                <a:gd name="connsiteY5107" fmla="*/ 661900 h 2031151"/>
                <a:gd name="connsiteX5108" fmla="*/ 470644 w 3368309"/>
                <a:gd name="connsiteY5108" fmla="*/ 663366 h 2031151"/>
                <a:gd name="connsiteX5109" fmla="*/ 471133 w 3368309"/>
                <a:gd name="connsiteY5109" fmla="*/ 666624 h 2031151"/>
                <a:gd name="connsiteX5110" fmla="*/ 467712 w 3368309"/>
                <a:gd name="connsiteY5110" fmla="*/ 662714 h 2031151"/>
                <a:gd name="connsiteX5111" fmla="*/ 462662 w 3368309"/>
                <a:gd name="connsiteY5111" fmla="*/ 660434 h 2031151"/>
                <a:gd name="connsiteX5112" fmla="*/ 458100 w 3368309"/>
                <a:gd name="connsiteY5112" fmla="*/ 660108 h 2031151"/>
                <a:gd name="connsiteX5113" fmla="*/ 454028 w 3368309"/>
                <a:gd name="connsiteY5113" fmla="*/ 657501 h 2031151"/>
                <a:gd name="connsiteX5114" fmla="*/ 449629 w 3368309"/>
                <a:gd name="connsiteY5114" fmla="*/ 657501 h 2031151"/>
                <a:gd name="connsiteX5115" fmla="*/ 446697 w 3368309"/>
                <a:gd name="connsiteY5115" fmla="*/ 660271 h 2031151"/>
                <a:gd name="connsiteX5116" fmla="*/ 445882 w 3368309"/>
                <a:gd name="connsiteY5116" fmla="*/ 663529 h 2031151"/>
                <a:gd name="connsiteX5117" fmla="*/ 443927 w 3368309"/>
                <a:gd name="connsiteY5117" fmla="*/ 665321 h 2031151"/>
                <a:gd name="connsiteX5118" fmla="*/ 443927 w 3368309"/>
                <a:gd name="connsiteY5118" fmla="*/ 668090 h 2031151"/>
                <a:gd name="connsiteX5119" fmla="*/ 445882 w 3368309"/>
                <a:gd name="connsiteY5119" fmla="*/ 670371 h 2031151"/>
                <a:gd name="connsiteX5120" fmla="*/ 445231 w 3368309"/>
                <a:gd name="connsiteY5120" fmla="*/ 672652 h 2031151"/>
                <a:gd name="connsiteX5121" fmla="*/ 442787 w 3368309"/>
                <a:gd name="connsiteY5121" fmla="*/ 673629 h 2031151"/>
                <a:gd name="connsiteX5122" fmla="*/ 440506 w 3368309"/>
                <a:gd name="connsiteY5122" fmla="*/ 673141 h 2031151"/>
                <a:gd name="connsiteX5123" fmla="*/ 437574 w 3368309"/>
                <a:gd name="connsiteY5123" fmla="*/ 676887 h 2031151"/>
                <a:gd name="connsiteX5124" fmla="*/ 435945 w 3368309"/>
                <a:gd name="connsiteY5124" fmla="*/ 680960 h 2031151"/>
                <a:gd name="connsiteX5125" fmla="*/ 436759 w 3368309"/>
                <a:gd name="connsiteY5125" fmla="*/ 682752 h 2031151"/>
                <a:gd name="connsiteX5126" fmla="*/ 435293 w 3368309"/>
                <a:gd name="connsiteY5126" fmla="*/ 684707 h 2031151"/>
                <a:gd name="connsiteX5127" fmla="*/ 431057 w 3368309"/>
                <a:gd name="connsiteY5127" fmla="*/ 685848 h 2031151"/>
                <a:gd name="connsiteX5128" fmla="*/ 431057 w 3368309"/>
                <a:gd name="connsiteY5128" fmla="*/ 687477 h 2031151"/>
                <a:gd name="connsiteX5129" fmla="*/ 436434 w 3368309"/>
                <a:gd name="connsiteY5129" fmla="*/ 693016 h 2031151"/>
                <a:gd name="connsiteX5130" fmla="*/ 440995 w 3368309"/>
                <a:gd name="connsiteY5130" fmla="*/ 695459 h 2031151"/>
                <a:gd name="connsiteX5131" fmla="*/ 443113 w 3368309"/>
                <a:gd name="connsiteY5131" fmla="*/ 694156 h 2031151"/>
                <a:gd name="connsiteX5132" fmla="*/ 444416 w 3368309"/>
                <a:gd name="connsiteY5132" fmla="*/ 691224 h 2031151"/>
                <a:gd name="connsiteX5133" fmla="*/ 448000 w 3368309"/>
                <a:gd name="connsiteY5133" fmla="*/ 689269 h 2031151"/>
                <a:gd name="connsiteX5134" fmla="*/ 454516 w 3368309"/>
                <a:gd name="connsiteY5134" fmla="*/ 684056 h 2031151"/>
                <a:gd name="connsiteX5135" fmla="*/ 459730 w 3368309"/>
                <a:gd name="connsiteY5135" fmla="*/ 682264 h 2031151"/>
                <a:gd name="connsiteX5136" fmla="*/ 464943 w 3368309"/>
                <a:gd name="connsiteY5136" fmla="*/ 682752 h 2031151"/>
                <a:gd name="connsiteX5137" fmla="*/ 467386 w 3368309"/>
                <a:gd name="connsiteY5137" fmla="*/ 685033 h 2031151"/>
                <a:gd name="connsiteX5138" fmla="*/ 467386 w 3368309"/>
                <a:gd name="connsiteY5138" fmla="*/ 687477 h 2031151"/>
                <a:gd name="connsiteX5139" fmla="*/ 464943 w 3368309"/>
                <a:gd name="connsiteY5139" fmla="*/ 687639 h 2031151"/>
                <a:gd name="connsiteX5140" fmla="*/ 461848 w 3368309"/>
                <a:gd name="connsiteY5140" fmla="*/ 685033 h 2031151"/>
                <a:gd name="connsiteX5141" fmla="*/ 458915 w 3368309"/>
                <a:gd name="connsiteY5141" fmla="*/ 685033 h 2031151"/>
                <a:gd name="connsiteX5142" fmla="*/ 457123 w 3368309"/>
                <a:gd name="connsiteY5142" fmla="*/ 687965 h 2031151"/>
                <a:gd name="connsiteX5143" fmla="*/ 450281 w 3368309"/>
                <a:gd name="connsiteY5143" fmla="*/ 692038 h 2031151"/>
                <a:gd name="connsiteX5144" fmla="*/ 447511 w 3368309"/>
                <a:gd name="connsiteY5144" fmla="*/ 696274 h 2031151"/>
                <a:gd name="connsiteX5145" fmla="*/ 446534 w 3368309"/>
                <a:gd name="connsiteY5145" fmla="*/ 700672 h 2031151"/>
                <a:gd name="connsiteX5146" fmla="*/ 447837 w 3368309"/>
                <a:gd name="connsiteY5146" fmla="*/ 704908 h 2031151"/>
                <a:gd name="connsiteX5147" fmla="*/ 446697 w 3368309"/>
                <a:gd name="connsiteY5147" fmla="*/ 706863 h 2031151"/>
                <a:gd name="connsiteX5148" fmla="*/ 446371 w 3368309"/>
                <a:gd name="connsiteY5148" fmla="*/ 709306 h 2031151"/>
                <a:gd name="connsiteX5149" fmla="*/ 446371 w 3368309"/>
                <a:gd name="connsiteY5149" fmla="*/ 709306 h 2031151"/>
                <a:gd name="connsiteX5150" fmla="*/ 468201 w 3368309"/>
                <a:gd name="connsiteY5150" fmla="*/ 847291 h 2031151"/>
                <a:gd name="connsiteX5151" fmla="*/ 470156 w 3368309"/>
                <a:gd name="connsiteY5151" fmla="*/ 848268 h 2031151"/>
                <a:gd name="connsiteX5152" fmla="*/ 470482 w 3368309"/>
                <a:gd name="connsiteY5152" fmla="*/ 845336 h 2031151"/>
                <a:gd name="connsiteX5153" fmla="*/ 468038 w 3368309"/>
                <a:gd name="connsiteY5153" fmla="*/ 842240 h 2031151"/>
                <a:gd name="connsiteX5154" fmla="*/ 470482 w 3368309"/>
                <a:gd name="connsiteY5154" fmla="*/ 838168 h 2031151"/>
                <a:gd name="connsiteX5155" fmla="*/ 468853 w 3368309"/>
                <a:gd name="connsiteY5155" fmla="*/ 834258 h 2031151"/>
                <a:gd name="connsiteX5156" fmla="*/ 463151 w 3368309"/>
                <a:gd name="connsiteY5156" fmla="*/ 832466 h 2031151"/>
                <a:gd name="connsiteX5157" fmla="*/ 462010 w 3368309"/>
                <a:gd name="connsiteY5157" fmla="*/ 829208 h 2031151"/>
                <a:gd name="connsiteX5158" fmla="*/ 458752 w 3368309"/>
                <a:gd name="connsiteY5158" fmla="*/ 827416 h 2031151"/>
                <a:gd name="connsiteX5159" fmla="*/ 452887 w 3368309"/>
                <a:gd name="connsiteY5159" fmla="*/ 827904 h 2031151"/>
                <a:gd name="connsiteX5160" fmla="*/ 449466 w 3368309"/>
                <a:gd name="connsiteY5160" fmla="*/ 831325 h 2031151"/>
                <a:gd name="connsiteX5161" fmla="*/ 450118 w 3368309"/>
                <a:gd name="connsiteY5161" fmla="*/ 834095 h 2031151"/>
                <a:gd name="connsiteX5162" fmla="*/ 453539 w 3368309"/>
                <a:gd name="connsiteY5162" fmla="*/ 835887 h 2031151"/>
                <a:gd name="connsiteX5163" fmla="*/ 456146 w 3368309"/>
                <a:gd name="connsiteY5163" fmla="*/ 834909 h 2031151"/>
                <a:gd name="connsiteX5164" fmla="*/ 459892 w 3368309"/>
                <a:gd name="connsiteY5164" fmla="*/ 836376 h 2031151"/>
                <a:gd name="connsiteX5165" fmla="*/ 460218 w 3368309"/>
                <a:gd name="connsiteY5165" fmla="*/ 840937 h 2031151"/>
                <a:gd name="connsiteX5166" fmla="*/ 464454 w 3368309"/>
                <a:gd name="connsiteY5166" fmla="*/ 841914 h 2031151"/>
                <a:gd name="connsiteX5167" fmla="*/ 468201 w 3368309"/>
                <a:gd name="connsiteY5167" fmla="*/ 847291 h 2031151"/>
                <a:gd name="connsiteX5168" fmla="*/ 468201 w 3368309"/>
                <a:gd name="connsiteY5168" fmla="*/ 847291 h 2031151"/>
                <a:gd name="connsiteX5169" fmla="*/ 559919 w 3368309"/>
                <a:gd name="connsiteY5169" fmla="*/ 846802 h 2031151"/>
                <a:gd name="connsiteX5170" fmla="*/ 554380 w 3368309"/>
                <a:gd name="connsiteY5170" fmla="*/ 842729 h 2031151"/>
                <a:gd name="connsiteX5171" fmla="*/ 551448 w 3368309"/>
                <a:gd name="connsiteY5171" fmla="*/ 844195 h 2031151"/>
                <a:gd name="connsiteX5172" fmla="*/ 547375 w 3368309"/>
                <a:gd name="connsiteY5172" fmla="*/ 843055 h 2031151"/>
                <a:gd name="connsiteX5173" fmla="*/ 543628 w 3368309"/>
                <a:gd name="connsiteY5173" fmla="*/ 836376 h 2031151"/>
                <a:gd name="connsiteX5174" fmla="*/ 538415 w 3368309"/>
                <a:gd name="connsiteY5174" fmla="*/ 836376 h 2031151"/>
                <a:gd name="connsiteX5175" fmla="*/ 529943 w 3368309"/>
                <a:gd name="connsiteY5175" fmla="*/ 829696 h 2031151"/>
                <a:gd name="connsiteX5176" fmla="*/ 527011 w 3368309"/>
                <a:gd name="connsiteY5176" fmla="*/ 824483 h 2031151"/>
                <a:gd name="connsiteX5177" fmla="*/ 521472 w 3368309"/>
                <a:gd name="connsiteY5177" fmla="*/ 824483 h 2031151"/>
                <a:gd name="connsiteX5178" fmla="*/ 515282 w 3368309"/>
                <a:gd name="connsiteY5178" fmla="*/ 813405 h 2031151"/>
                <a:gd name="connsiteX5179" fmla="*/ 506485 w 3368309"/>
                <a:gd name="connsiteY5179" fmla="*/ 802653 h 2031151"/>
                <a:gd name="connsiteX5180" fmla="*/ 503226 w 3368309"/>
                <a:gd name="connsiteY5180" fmla="*/ 791576 h 2031151"/>
                <a:gd name="connsiteX5181" fmla="*/ 498502 w 3368309"/>
                <a:gd name="connsiteY5181" fmla="*/ 783430 h 2031151"/>
                <a:gd name="connsiteX5182" fmla="*/ 498176 w 3368309"/>
                <a:gd name="connsiteY5182" fmla="*/ 770886 h 2031151"/>
                <a:gd name="connsiteX5183" fmla="*/ 494429 w 3368309"/>
                <a:gd name="connsiteY5183" fmla="*/ 763555 h 2031151"/>
                <a:gd name="connsiteX5184" fmla="*/ 492148 w 3368309"/>
                <a:gd name="connsiteY5184" fmla="*/ 749545 h 2031151"/>
                <a:gd name="connsiteX5185" fmla="*/ 491008 w 3368309"/>
                <a:gd name="connsiteY5185" fmla="*/ 746287 h 2031151"/>
                <a:gd name="connsiteX5186" fmla="*/ 493289 w 3368309"/>
                <a:gd name="connsiteY5186" fmla="*/ 742051 h 2031151"/>
                <a:gd name="connsiteX5187" fmla="*/ 492800 w 3368309"/>
                <a:gd name="connsiteY5187" fmla="*/ 738956 h 2031151"/>
                <a:gd name="connsiteX5188" fmla="*/ 488401 w 3368309"/>
                <a:gd name="connsiteY5188" fmla="*/ 737816 h 2031151"/>
                <a:gd name="connsiteX5189" fmla="*/ 484492 w 3368309"/>
                <a:gd name="connsiteY5189" fmla="*/ 739608 h 2031151"/>
                <a:gd name="connsiteX5190" fmla="*/ 481396 w 3368309"/>
                <a:gd name="connsiteY5190" fmla="*/ 737164 h 2031151"/>
                <a:gd name="connsiteX5191" fmla="*/ 482537 w 3368309"/>
                <a:gd name="connsiteY5191" fmla="*/ 735535 h 2031151"/>
                <a:gd name="connsiteX5192" fmla="*/ 489542 w 3368309"/>
                <a:gd name="connsiteY5192" fmla="*/ 736024 h 2031151"/>
                <a:gd name="connsiteX5193" fmla="*/ 495244 w 3368309"/>
                <a:gd name="connsiteY5193" fmla="*/ 732602 h 2031151"/>
                <a:gd name="connsiteX5194" fmla="*/ 496221 w 3368309"/>
                <a:gd name="connsiteY5194" fmla="*/ 722828 h 2031151"/>
                <a:gd name="connsiteX5195" fmla="*/ 495081 w 3368309"/>
                <a:gd name="connsiteY5195" fmla="*/ 718429 h 2031151"/>
                <a:gd name="connsiteX5196" fmla="*/ 490682 w 3368309"/>
                <a:gd name="connsiteY5196" fmla="*/ 719407 h 2031151"/>
                <a:gd name="connsiteX5197" fmla="*/ 486121 w 3368309"/>
                <a:gd name="connsiteY5197" fmla="*/ 720710 h 2031151"/>
                <a:gd name="connsiteX5198" fmla="*/ 487913 w 3368309"/>
                <a:gd name="connsiteY5198" fmla="*/ 718429 h 2031151"/>
                <a:gd name="connsiteX5199" fmla="*/ 494755 w 3368309"/>
                <a:gd name="connsiteY5199" fmla="*/ 715823 h 2031151"/>
                <a:gd name="connsiteX5200" fmla="*/ 496058 w 3368309"/>
                <a:gd name="connsiteY5200" fmla="*/ 712890 h 2031151"/>
                <a:gd name="connsiteX5201" fmla="*/ 494103 w 3368309"/>
                <a:gd name="connsiteY5201" fmla="*/ 710610 h 2031151"/>
                <a:gd name="connsiteX5202" fmla="*/ 484655 w 3368309"/>
                <a:gd name="connsiteY5202" fmla="*/ 710610 h 2031151"/>
                <a:gd name="connsiteX5203" fmla="*/ 472273 w 3368309"/>
                <a:gd name="connsiteY5203" fmla="*/ 708818 h 2031151"/>
                <a:gd name="connsiteX5204" fmla="*/ 467549 w 3368309"/>
                <a:gd name="connsiteY5204" fmla="*/ 705722 h 2031151"/>
                <a:gd name="connsiteX5205" fmla="*/ 463476 w 3368309"/>
                <a:gd name="connsiteY5205" fmla="*/ 705722 h 2031151"/>
                <a:gd name="connsiteX5206" fmla="*/ 454516 w 3368309"/>
                <a:gd name="connsiteY5206" fmla="*/ 711587 h 2031151"/>
                <a:gd name="connsiteX5207" fmla="*/ 445882 w 3368309"/>
                <a:gd name="connsiteY5207" fmla="*/ 711587 h 2031151"/>
                <a:gd name="connsiteX5208" fmla="*/ 442787 w 3368309"/>
                <a:gd name="connsiteY5208" fmla="*/ 714194 h 2031151"/>
                <a:gd name="connsiteX5209" fmla="*/ 436108 w 3368309"/>
                <a:gd name="connsiteY5209" fmla="*/ 718918 h 2031151"/>
                <a:gd name="connsiteX5210" fmla="*/ 435619 w 3368309"/>
                <a:gd name="connsiteY5210" fmla="*/ 724620 h 2031151"/>
                <a:gd name="connsiteX5211" fmla="*/ 433990 w 3368309"/>
                <a:gd name="connsiteY5211" fmla="*/ 727878 h 2031151"/>
                <a:gd name="connsiteX5212" fmla="*/ 435293 w 3368309"/>
                <a:gd name="connsiteY5212" fmla="*/ 732928 h 2031151"/>
                <a:gd name="connsiteX5213" fmla="*/ 439692 w 3368309"/>
                <a:gd name="connsiteY5213" fmla="*/ 733417 h 2031151"/>
                <a:gd name="connsiteX5214" fmla="*/ 441484 w 3368309"/>
                <a:gd name="connsiteY5214" fmla="*/ 735209 h 2031151"/>
                <a:gd name="connsiteX5215" fmla="*/ 440343 w 3368309"/>
                <a:gd name="connsiteY5215" fmla="*/ 737978 h 2031151"/>
                <a:gd name="connsiteX5216" fmla="*/ 435782 w 3368309"/>
                <a:gd name="connsiteY5216" fmla="*/ 737978 h 2031151"/>
                <a:gd name="connsiteX5217" fmla="*/ 430406 w 3368309"/>
                <a:gd name="connsiteY5217" fmla="*/ 739445 h 2031151"/>
                <a:gd name="connsiteX5218" fmla="*/ 426170 w 3368309"/>
                <a:gd name="connsiteY5218" fmla="*/ 746776 h 2031151"/>
                <a:gd name="connsiteX5219" fmla="*/ 425844 w 3368309"/>
                <a:gd name="connsiteY5219" fmla="*/ 752477 h 2031151"/>
                <a:gd name="connsiteX5220" fmla="*/ 428288 w 3368309"/>
                <a:gd name="connsiteY5220" fmla="*/ 755247 h 2031151"/>
                <a:gd name="connsiteX5221" fmla="*/ 432361 w 3368309"/>
                <a:gd name="connsiteY5221" fmla="*/ 753944 h 2031151"/>
                <a:gd name="connsiteX5222" fmla="*/ 438877 w 3368309"/>
                <a:gd name="connsiteY5222" fmla="*/ 750522 h 2031151"/>
                <a:gd name="connsiteX5223" fmla="*/ 440017 w 3368309"/>
                <a:gd name="connsiteY5223" fmla="*/ 752803 h 2031151"/>
                <a:gd name="connsiteX5224" fmla="*/ 435456 w 3368309"/>
                <a:gd name="connsiteY5224" fmla="*/ 756876 h 2031151"/>
                <a:gd name="connsiteX5225" fmla="*/ 434478 w 3368309"/>
                <a:gd name="connsiteY5225" fmla="*/ 761112 h 2031151"/>
                <a:gd name="connsiteX5226" fmla="*/ 437248 w 3368309"/>
                <a:gd name="connsiteY5226" fmla="*/ 761112 h 2031151"/>
                <a:gd name="connsiteX5227" fmla="*/ 440506 w 3368309"/>
                <a:gd name="connsiteY5227" fmla="*/ 757039 h 2031151"/>
                <a:gd name="connsiteX5228" fmla="*/ 443764 w 3368309"/>
                <a:gd name="connsiteY5228" fmla="*/ 756061 h 2031151"/>
                <a:gd name="connsiteX5229" fmla="*/ 444905 w 3368309"/>
                <a:gd name="connsiteY5229" fmla="*/ 758342 h 2031151"/>
                <a:gd name="connsiteX5230" fmla="*/ 440832 w 3368309"/>
                <a:gd name="connsiteY5230" fmla="*/ 762089 h 2031151"/>
                <a:gd name="connsiteX5231" fmla="*/ 439855 w 3368309"/>
                <a:gd name="connsiteY5231" fmla="*/ 765836 h 2031151"/>
                <a:gd name="connsiteX5232" fmla="*/ 443601 w 3368309"/>
                <a:gd name="connsiteY5232" fmla="*/ 769909 h 2031151"/>
                <a:gd name="connsiteX5233" fmla="*/ 448815 w 3368309"/>
                <a:gd name="connsiteY5233" fmla="*/ 769909 h 2031151"/>
                <a:gd name="connsiteX5234" fmla="*/ 445882 w 3368309"/>
                <a:gd name="connsiteY5234" fmla="*/ 771538 h 2031151"/>
                <a:gd name="connsiteX5235" fmla="*/ 442461 w 3368309"/>
                <a:gd name="connsiteY5235" fmla="*/ 771538 h 2031151"/>
                <a:gd name="connsiteX5236" fmla="*/ 439203 w 3368309"/>
                <a:gd name="connsiteY5236" fmla="*/ 774796 h 2031151"/>
                <a:gd name="connsiteX5237" fmla="*/ 439203 w 3368309"/>
                <a:gd name="connsiteY5237" fmla="*/ 778217 h 2031151"/>
                <a:gd name="connsiteX5238" fmla="*/ 442135 w 3368309"/>
                <a:gd name="connsiteY5238" fmla="*/ 783430 h 2031151"/>
                <a:gd name="connsiteX5239" fmla="*/ 439855 w 3368309"/>
                <a:gd name="connsiteY5239" fmla="*/ 785222 h 2031151"/>
                <a:gd name="connsiteX5240" fmla="*/ 437248 w 3368309"/>
                <a:gd name="connsiteY5240" fmla="*/ 783919 h 2031151"/>
                <a:gd name="connsiteX5241" fmla="*/ 432687 w 3368309"/>
                <a:gd name="connsiteY5241" fmla="*/ 785222 h 2031151"/>
                <a:gd name="connsiteX5242" fmla="*/ 428940 w 3368309"/>
                <a:gd name="connsiteY5242" fmla="*/ 783267 h 2031151"/>
                <a:gd name="connsiteX5243" fmla="*/ 425682 w 3368309"/>
                <a:gd name="connsiteY5243" fmla="*/ 783593 h 2031151"/>
                <a:gd name="connsiteX5244" fmla="*/ 421283 w 3368309"/>
                <a:gd name="connsiteY5244" fmla="*/ 789132 h 2031151"/>
                <a:gd name="connsiteX5245" fmla="*/ 421283 w 3368309"/>
                <a:gd name="connsiteY5245" fmla="*/ 794345 h 2031151"/>
                <a:gd name="connsiteX5246" fmla="*/ 422912 w 3368309"/>
                <a:gd name="connsiteY5246" fmla="*/ 800861 h 2031151"/>
                <a:gd name="connsiteX5247" fmla="*/ 421772 w 3368309"/>
                <a:gd name="connsiteY5247" fmla="*/ 806563 h 2031151"/>
                <a:gd name="connsiteX5248" fmla="*/ 423075 w 3368309"/>
                <a:gd name="connsiteY5248" fmla="*/ 811125 h 2031151"/>
                <a:gd name="connsiteX5249" fmla="*/ 429917 w 3368309"/>
                <a:gd name="connsiteY5249" fmla="*/ 816826 h 2031151"/>
                <a:gd name="connsiteX5250" fmla="*/ 429917 w 3368309"/>
                <a:gd name="connsiteY5250" fmla="*/ 819922 h 2031151"/>
                <a:gd name="connsiteX5251" fmla="*/ 436922 w 3368309"/>
                <a:gd name="connsiteY5251" fmla="*/ 825298 h 2031151"/>
                <a:gd name="connsiteX5252" fmla="*/ 441484 w 3368309"/>
                <a:gd name="connsiteY5252" fmla="*/ 827090 h 2031151"/>
                <a:gd name="connsiteX5253" fmla="*/ 444090 w 3368309"/>
                <a:gd name="connsiteY5253" fmla="*/ 825624 h 2031151"/>
                <a:gd name="connsiteX5254" fmla="*/ 448163 w 3368309"/>
                <a:gd name="connsiteY5254" fmla="*/ 824483 h 2031151"/>
                <a:gd name="connsiteX5255" fmla="*/ 452399 w 3368309"/>
                <a:gd name="connsiteY5255" fmla="*/ 817967 h 2031151"/>
                <a:gd name="connsiteX5256" fmla="*/ 450769 w 3368309"/>
                <a:gd name="connsiteY5256" fmla="*/ 811125 h 2031151"/>
                <a:gd name="connsiteX5257" fmla="*/ 451910 w 3368309"/>
                <a:gd name="connsiteY5257" fmla="*/ 806074 h 2031151"/>
                <a:gd name="connsiteX5258" fmla="*/ 455005 w 3368309"/>
                <a:gd name="connsiteY5258" fmla="*/ 801513 h 2031151"/>
                <a:gd name="connsiteX5259" fmla="*/ 452562 w 3368309"/>
                <a:gd name="connsiteY5259" fmla="*/ 807378 h 2031151"/>
                <a:gd name="connsiteX5260" fmla="*/ 452562 w 3368309"/>
                <a:gd name="connsiteY5260" fmla="*/ 811125 h 2031151"/>
                <a:gd name="connsiteX5261" fmla="*/ 454516 w 3368309"/>
                <a:gd name="connsiteY5261" fmla="*/ 814546 h 2031151"/>
                <a:gd name="connsiteX5262" fmla="*/ 456308 w 3368309"/>
                <a:gd name="connsiteY5262" fmla="*/ 821225 h 2031151"/>
                <a:gd name="connsiteX5263" fmla="*/ 459404 w 3368309"/>
                <a:gd name="connsiteY5263" fmla="*/ 822202 h 2031151"/>
                <a:gd name="connsiteX5264" fmla="*/ 462662 w 3368309"/>
                <a:gd name="connsiteY5264" fmla="*/ 819759 h 2031151"/>
                <a:gd name="connsiteX5265" fmla="*/ 462662 w 3368309"/>
                <a:gd name="connsiteY5265" fmla="*/ 816338 h 2031151"/>
                <a:gd name="connsiteX5266" fmla="*/ 465432 w 3368309"/>
                <a:gd name="connsiteY5266" fmla="*/ 811125 h 2031151"/>
                <a:gd name="connsiteX5267" fmla="*/ 466735 w 3368309"/>
                <a:gd name="connsiteY5267" fmla="*/ 813731 h 2031151"/>
                <a:gd name="connsiteX5268" fmla="*/ 466083 w 3368309"/>
                <a:gd name="connsiteY5268" fmla="*/ 816012 h 2031151"/>
                <a:gd name="connsiteX5269" fmla="*/ 466083 w 3368309"/>
                <a:gd name="connsiteY5269" fmla="*/ 820573 h 2031151"/>
                <a:gd name="connsiteX5270" fmla="*/ 471296 w 3368309"/>
                <a:gd name="connsiteY5270" fmla="*/ 828230 h 2031151"/>
                <a:gd name="connsiteX5271" fmla="*/ 477161 w 3368309"/>
                <a:gd name="connsiteY5271" fmla="*/ 831814 h 2031151"/>
                <a:gd name="connsiteX5272" fmla="*/ 481234 w 3368309"/>
                <a:gd name="connsiteY5272" fmla="*/ 831814 h 2031151"/>
                <a:gd name="connsiteX5273" fmla="*/ 484655 w 3368309"/>
                <a:gd name="connsiteY5273" fmla="*/ 829208 h 2031151"/>
                <a:gd name="connsiteX5274" fmla="*/ 487098 w 3368309"/>
                <a:gd name="connsiteY5274" fmla="*/ 830511 h 2031151"/>
                <a:gd name="connsiteX5275" fmla="*/ 485795 w 3368309"/>
                <a:gd name="connsiteY5275" fmla="*/ 832466 h 2031151"/>
                <a:gd name="connsiteX5276" fmla="*/ 483026 w 3368309"/>
                <a:gd name="connsiteY5276" fmla="*/ 832466 h 2031151"/>
                <a:gd name="connsiteX5277" fmla="*/ 481396 w 3368309"/>
                <a:gd name="connsiteY5277" fmla="*/ 835561 h 2031151"/>
                <a:gd name="connsiteX5278" fmla="*/ 477975 w 3368309"/>
                <a:gd name="connsiteY5278" fmla="*/ 837842 h 2031151"/>
                <a:gd name="connsiteX5279" fmla="*/ 476998 w 3368309"/>
                <a:gd name="connsiteY5279" fmla="*/ 840774 h 2031151"/>
                <a:gd name="connsiteX5280" fmla="*/ 481559 w 3368309"/>
                <a:gd name="connsiteY5280" fmla="*/ 844847 h 2031151"/>
                <a:gd name="connsiteX5281" fmla="*/ 481885 w 3368309"/>
                <a:gd name="connsiteY5281" fmla="*/ 848594 h 2031151"/>
                <a:gd name="connsiteX5282" fmla="*/ 478953 w 3368309"/>
                <a:gd name="connsiteY5282" fmla="*/ 848594 h 2031151"/>
                <a:gd name="connsiteX5283" fmla="*/ 476021 w 3368309"/>
                <a:gd name="connsiteY5283" fmla="*/ 847779 h 2031151"/>
                <a:gd name="connsiteX5284" fmla="*/ 476021 w 3368309"/>
                <a:gd name="connsiteY5284" fmla="*/ 850874 h 2031151"/>
                <a:gd name="connsiteX5285" fmla="*/ 478953 w 3368309"/>
                <a:gd name="connsiteY5285" fmla="*/ 853644 h 2031151"/>
                <a:gd name="connsiteX5286" fmla="*/ 486447 w 3368309"/>
                <a:gd name="connsiteY5286" fmla="*/ 854458 h 2031151"/>
                <a:gd name="connsiteX5287" fmla="*/ 491660 w 3368309"/>
                <a:gd name="connsiteY5287" fmla="*/ 856902 h 2031151"/>
                <a:gd name="connsiteX5288" fmla="*/ 496873 w 3368309"/>
                <a:gd name="connsiteY5288" fmla="*/ 855599 h 2031151"/>
                <a:gd name="connsiteX5289" fmla="*/ 503389 w 3368309"/>
                <a:gd name="connsiteY5289" fmla="*/ 858205 h 2031151"/>
                <a:gd name="connsiteX5290" fmla="*/ 503064 w 3368309"/>
                <a:gd name="connsiteY5290" fmla="*/ 853644 h 2031151"/>
                <a:gd name="connsiteX5291" fmla="*/ 505996 w 3368309"/>
                <a:gd name="connsiteY5291" fmla="*/ 854621 h 2031151"/>
                <a:gd name="connsiteX5292" fmla="*/ 507625 w 3368309"/>
                <a:gd name="connsiteY5292" fmla="*/ 857717 h 2031151"/>
                <a:gd name="connsiteX5293" fmla="*/ 509580 w 3368309"/>
                <a:gd name="connsiteY5293" fmla="*/ 864722 h 2031151"/>
                <a:gd name="connsiteX5294" fmla="*/ 513489 w 3368309"/>
                <a:gd name="connsiteY5294" fmla="*/ 867980 h 2031151"/>
                <a:gd name="connsiteX5295" fmla="*/ 516910 w 3368309"/>
                <a:gd name="connsiteY5295" fmla="*/ 867654 h 2031151"/>
                <a:gd name="connsiteX5296" fmla="*/ 520494 w 3368309"/>
                <a:gd name="connsiteY5296" fmla="*/ 863418 h 2031151"/>
                <a:gd name="connsiteX5297" fmla="*/ 519354 w 3368309"/>
                <a:gd name="connsiteY5297" fmla="*/ 858205 h 2031151"/>
                <a:gd name="connsiteX5298" fmla="*/ 512675 w 3368309"/>
                <a:gd name="connsiteY5298" fmla="*/ 855273 h 2031151"/>
                <a:gd name="connsiteX5299" fmla="*/ 510394 w 3368309"/>
                <a:gd name="connsiteY5299" fmla="*/ 853807 h 2031151"/>
                <a:gd name="connsiteX5300" fmla="*/ 512675 w 3368309"/>
                <a:gd name="connsiteY5300" fmla="*/ 852504 h 2031151"/>
                <a:gd name="connsiteX5301" fmla="*/ 516422 w 3368309"/>
                <a:gd name="connsiteY5301" fmla="*/ 853318 h 2031151"/>
                <a:gd name="connsiteX5302" fmla="*/ 521472 w 3368309"/>
                <a:gd name="connsiteY5302" fmla="*/ 856413 h 2031151"/>
                <a:gd name="connsiteX5303" fmla="*/ 523753 w 3368309"/>
                <a:gd name="connsiteY5303" fmla="*/ 860160 h 2031151"/>
                <a:gd name="connsiteX5304" fmla="*/ 526034 w 3368309"/>
                <a:gd name="connsiteY5304" fmla="*/ 865210 h 2031151"/>
                <a:gd name="connsiteX5305" fmla="*/ 527826 w 3368309"/>
                <a:gd name="connsiteY5305" fmla="*/ 865210 h 2031151"/>
                <a:gd name="connsiteX5306" fmla="*/ 528966 w 3368309"/>
                <a:gd name="connsiteY5306" fmla="*/ 860649 h 2031151"/>
                <a:gd name="connsiteX5307" fmla="*/ 530921 w 3368309"/>
                <a:gd name="connsiteY5307" fmla="*/ 859835 h 2031151"/>
                <a:gd name="connsiteX5308" fmla="*/ 533853 w 3368309"/>
                <a:gd name="connsiteY5308" fmla="*/ 863907 h 2031151"/>
                <a:gd name="connsiteX5309" fmla="*/ 539555 w 3368309"/>
                <a:gd name="connsiteY5309" fmla="*/ 866677 h 2031151"/>
                <a:gd name="connsiteX5310" fmla="*/ 543139 w 3368309"/>
                <a:gd name="connsiteY5310" fmla="*/ 866351 h 2031151"/>
                <a:gd name="connsiteX5311" fmla="*/ 543139 w 3368309"/>
                <a:gd name="connsiteY5311" fmla="*/ 863256 h 2031151"/>
                <a:gd name="connsiteX5312" fmla="*/ 538903 w 3368309"/>
                <a:gd name="connsiteY5312" fmla="*/ 859672 h 2031151"/>
                <a:gd name="connsiteX5313" fmla="*/ 538903 w 3368309"/>
                <a:gd name="connsiteY5313" fmla="*/ 857554 h 2031151"/>
                <a:gd name="connsiteX5314" fmla="*/ 541021 w 3368309"/>
                <a:gd name="connsiteY5314" fmla="*/ 856576 h 2031151"/>
                <a:gd name="connsiteX5315" fmla="*/ 546234 w 3368309"/>
                <a:gd name="connsiteY5315" fmla="*/ 859346 h 2031151"/>
                <a:gd name="connsiteX5316" fmla="*/ 548189 w 3368309"/>
                <a:gd name="connsiteY5316" fmla="*/ 861789 h 2031151"/>
                <a:gd name="connsiteX5317" fmla="*/ 549655 w 3368309"/>
                <a:gd name="connsiteY5317" fmla="*/ 861789 h 2031151"/>
                <a:gd name="connsiteX5318" fmla="*/ 551285 w 3368309"/>
                <a:gd name="connsiteY5318" fmla="*/ 866677 h 2031151"/>
                <a:gd name="connsiteX5319" fmla="*/ 554380 w 3368309"/>
                <a:gd name="connsiteY5319" fmla="*/ 868795 h 2031151"/>
                <a:gd name="connsiteX5320" fmla="*/ 556660 w 3368309"/>
                <a:gd name="connsiteY5320" fmla="*/ 867491 h 2031151"/>
                <a:gd name="connsiteX5321" fmla="*/ 557638 w 3368309"/>
                <a:gd name="connsiteY5321" fmla="*/ 863418 h 2031151"/>
                <a:gd name="connsiteX5322" fmla="*/ 555683 w 3368309"/>
                <a:gd name="connsiteY5322" fmla="*/ 859509 h 2031151"/>
                <a:gd name="connsiteX5323" fmla="*/ 552588 w 3368309"/>
                <a:gd name="connsiteY5323" fmla="*/ 859509 h 2031151"/>
                <a:gd name="connsiteX5324" fmla="*/ 549981 w 3368309"/>
                <a:gd name="connsiteY5324" fmla="*/ 857228 h 2031151"/>
                <a:gd name="connsiteX5325" fmla="*/ 550959 w 3368309"/>
                <a:gd name="connsiteY5325" fmla="*/ 855436 h 2031151"/>
                <a:gd name="connsiteX5326" fmla="*/ 553402 w 3368309"/>
                <a:gd name="connsiteY5326" fmla="*/ 856576 h 2031151"/>
                <a:gd name="connsiteX5327" fmla="*/ 556335 w 3368309"/>
                <a:gd name="connsiteY5327" fmla="*/ 856576 h 2031151"/>
                <a:gd name="connsiteX5328" fmla="*/ 559593 w 3368309"/>
                <a:gd name="connsiteY5328" fmla="*/ 852341 h 2031151"/>
                <a:gd name="connsiteX5329" fmla="*/ 560896 w 3368309"/>
                <a:gd name="connsiteY5329" fmla="*/ 849245 h 2031151"/>
                <a:gd name="connsiteX5330" fmla="*/ 560896 w 3368309"/>
                <a:gd name="connsiteY5330" fmla="*/ 846476 h 2031151"/>
                <a:gd name="connsiteX5331" fmla="*/ 560733 w 3368309"/>
                <a:gd name="connsiteY5331" fmla="*/ 846476 h 2031151"/>
                <a:gd name="connsiteX5332" fmla="*/ 175453 w 3368309"/>
                <a:gd name="connsiteY5332" fmla="*/ 1166592 h 2031151"/>
                <a:gd name="connsiteX5333" fmla="*/ 173009 w 3368309"/>
                <a:gd name="connsiteY5333" fmla="*/ 1162357 h 2031151"/>
                <a:gd name="connsiteX5334" fmla="*/ 174801 w 3368309"/>
                <a:gd name="connsiteY5334" fmla="*/ 1160239 h 2031151"/>
                <a:gd name="connsiteX5335" fmla="*/ 174150 w 3368309"/>
                <a:gd name="connsiteY5335" fmla="*/ 1157144 h 2031151"/>
                <a:gd name="connsiteX5336" fmla="*/ 170892 w 3368309"/>
                <a:gd name="connsiteY5336" fmla="*/ 1156329 h 2031151"/>
                <a:gd name="connsiteX5337" fmla="*/ 167634 w 3368309"/>
                <a:gd name="connsiteY5337" fmla="*/ 1159750 h 2031151"/>
                <a:gd name="connsiteX5338" fmla="*/ 167634 w 3368309"/>
                <a:gd name="connsiteY5338" fmla="*/ 1163334 h 2031151"/>
                <a:gd name="connsiteX5339" fmla="*/ 171543 w 3368309"/>
                <a:gd name="connsiteY5339" fmla="*/ 1166918 h 2031151"/>
                <a:gd name="connsiteX5340" fmla="*/ 172684 w 3368309"/>
                <a:gd name="connsiteY5340" fmla="*/ 1169199 h 2031151"/>
                <a:gd name="connsiteX5341" fmla="*/ 174801 w 3368309"/>
                <a:gd name="connsiteY5341" fmla="*/ 1169199 h 2031151"/>
                <a:gd name="connsiteX5342" fmla="*/ 175453 w 3368309"/>
                <a:gd name="connsiteY5342" fmla="*/ 1166755 h 2031151"/>
                <a:gd name="connsiteX5343" fmla="*/ 175453 w 3368309"/>
                <a:gd name="connsiteY5343" fmla="*/ 1166755 h 2031151"/>
                <a:gd name="connsiteX5344" fmla="*/ 308061 w 3368309"/>
                <a:gd name="connsiteY5344" fmla="*/ 1082531 h 2031151"/>
                <a:gd name="connsiteX5345" fmla="*/ 310505 w 3368309"/>
                <a:gd name="connsiteY5345" fmla="*/ 1082205 h 2031151"/>
                <a:gd name="connsiteX5346" fmla="*/ 310179 w 3368309"/>
                <a:gd name="connsiteY5346" fmla="*/ 1079599 h 2031151"/>
                <a:gd name="connsiteX5347" fmla="*/ 307410 w 3368309"/>
                <a:gd name="connsiteY5347" fmla="*/ 1076341 h 2031151"/>
                <a:gd name="connsiteX5348" fmla="*/ 304803 w 3368309"/>
                <a:gd name="connsiteY5348" fmla="*/ 1076829 h 2031151"/>
                <a:gd name="connsiteX5349" fmla="*/ 304803 w 3368309"/>
                <a:gd name="connsiteY5349" fmla="*/ 1079436 h 2031151"/>
                <a:gd name="connsiteX5350" fmla="*/ 308061 w 3368309"/>
                <a:gd name="connsiteY5350" fmla="*/ 1082531 h 2031151"/>
                <a:gd name="connsiteX5351" fmla="*/ 308061 w 3368309"/>
                <a:gd name="connsiteY5351" fmla="*/ 1082531 h 2031151"/>
                <a:gd name="connsiteX5352" fmla="*/ 410857 w 3368309"/>
                <a:gd name="connsiteY5352" fmla="*/ 971590 h 2031151"/>
                <a:gd name="connsiteX5353" fmla="*/ 416233 w 3368309"/>
                <a:gd name="connsiteY5353" fmla="*/ 971264 h 2031151"/>
                <a:gd name="connsiteX5354" fmla="*/ 423075 w 3368309"/>
                <a:gd name="connsiteY5354" fmla="*/ 965563 h 2031151"/>
                <a:gd name="connsiteX5355" fmla="*/ 427637 w 3368309"/>
                <a:gd name="connsiteY5355" fmla="*/ 959861 h 2031151"/>
                <a:gd name="connsiteX5356" fmla="*/ 427637 w 3368309"/>
                <a:gd name="connsiteY5356" fmla="*/ 951064 h 2031151"/>
                <a:gd name="connsiteX5357" fmla="*/ 430732 w 3368309"/>
                <a:gd name="connsiteY5357" fmla="*/ 947805 h 2031151"/>
                <a:gd name="connsiteX5358" fmla="*/ 432524 w 3368309"/>
                <a:gd name="connsiteY5358" fmla="*/ 952204 h 2031151"/>
                <a:gd name="connsiteX5359" fmla="*/ 431057 w 3368309"/>
                <a:gd name="connsiteY5359" fmla="*/ 959209 h 2031151"/>
                <a:gd name="connsiteX5360" fmla="*/ 434805 w 3368309"/>
                <a:gd name="connsiteY5360" fmla="*/ 952693 h 2031151"/>
                <a:gd name="connsiteX5361" fmla="*/ 434805 w 3368309"/>
                <a:gd name="connsiteY5361" fmla="*/ 946828 h 2031151"/>
                <a:gd name="connsiteX5362" fmla="*/ 430080 w 3368309"/>
                <a:gd name="connsiteY5362" fmla="*/ 941289 h 2031151"/>
                <a:gd name="connsiteX5363" fmla="*/ 411671 w 3368309"/>
                <a:gd name="connsiteY5363" fmla="*/ 933469 h 2031151"/>
                <a:gd name="connsiteX5364" fmla="*/ 403200 w 3368309"/>
                <a:gd name="connsiteY5364" fmla="*/ 932003 h 2031151"/>
                <a:gd name="connsiteX5365" fmla="*/ 397824 w 3368309"/>
                <a:gd name="connsiteY5365" fmla="*/ 935261 h 2031151"/>
                <a:gd name="connsiteX5366" fmla="*/ 394729 w 3368309"/>
                <a:gd name="connsiteY5366" fmla="*/ 945851 h 2031151"/>
                <a:gd name="connsiteX5367" fmla="*/ 394729 w 3368309"/>
                <a:gd name="connsiteY5367" fmla="*/ 958557 h 2031151"/>
                <a:gd name="connsiteX5368" fmla="*/ 397661 w 3368309"/>
                <a:gd name="connsiteY5368" fmla="*/ 964259 h 2031151"/>
                <a:gd name="connsiteX5369" fmla="*/ 399127 w 3368309"/>
                <a:gd name="connsiteY5369" fmla="*/ 970776 h 2031151"/>
                <a:gd name="connsiteX5370" fmla="*/ 400757 w 3368309"/>
                <a:gd name="connsiteY5370" fmla="*/ 969472 h 2031151"/>
                <a:gd name="connsiteX5371" fmla="*/ 404666 w 3368309"/>
                <a:gd name="connsiteY5371" fmla="*/ 971753 h 2031151"/>
                <a:gd name="connsiteX5372" fmla="*/ 403200 w 3368309"/>
                <a:gd name="connsiteY5372" fmla="*/ 975174 h 2031151"/>
                <a:gd name="connsiteX5373" fmla="*/ 407110 w 3368309"/>
                <a:gd name="connsiteY5373" fmla="*/ 975174 h 2031151"/>
                <a:gd name="connsiteX5374" fmla="*/ 411019 w 3368309"/>
                <a:gd name="connsiteY5374" fmla="*/ 971753 h 2031151"/>
                <a:gd name="connsiteX5375" fmla="*/ 411019 w 3368309"/>
                <a:gd name="connsiteY5375" fmla="*/ 971753 h 2031151"/>
                <a:gd name="connsiteX5376" fmla="*/ 456797 w 3368309"/>
                <a:gd name="connsiteY5376" fmla="*/ 981039 h 2031151"/>
                <a:gd name="connsiteX5377" fmla="*/ 458589 w 3368309"/>
                <a:gd name="connsiteY5377" fmla="*/ 981039 h 2031151"/>
                <a:gd name="connsiteX5378" fmla="*/ 459892 w 3368309"/>
                <a:gd name="connsiteY5378" fmla="*/ 979410 h 2031151"/>
                <a:gd name="connsiteX5379" fmla="*/ 465594 w 3368309"/>
                <a:gd name="connsiteY5379" fmla="*/ 978269 h 2031151"/>
                <a:gd name="connsiteX5380" fmla="*/ 468201 w 3368309"/>
                <a:gd name="connsiteY5380" fmla="*/ 976477 h 2031151"/>
                <a:gd name="connsiteX5381" fmla="*/ 461684 w 3368309"/>
                <a:gd name="connsiteY5381" fmla="*/ 975826 h 2031151"/>
                <a:gd name="connsiteX5382" fmla="*/ 456960 w 3368309"/>
                <a:gd name="connsiteY5382" fmla="*/ 978269 h 2031151"/>
                <a:gd name="connsiteX5383" fmla="*/ 456634 w 3368309"/>
                <a:gd name="connsiteY5383" fmla="*/ 981039 h 2031151"/>
                <a:gd name="connsiteX5384" fmla="*/ 456634 w 3368309"/>
                <a:gd name="connsiteY5384" fmla="*/ 981039 h 2031151"/>
                <a:gd name="connsiteX5385" fmla="*/ 530595 w 3368309"/>
                <a:gd name="connsiteY5385" fmla="*/ 979573 h 2031151"/>
                <a:gd name="connsiteX5386" fmla="*/ 532224 w 3368309"/>
                <a:gd name="connsiteY5386" fmla="*/ 981528 h 2031151"/>
                <a:gd name="connsiteX5387" fmla="*/ 535808 w 3368309"/>
                <a:gd name="connsiteY5387" fmla="*/ 976803 h 2031151"/>
                <a:gd name="connsiteX5388" fmla="*/ 535808 w 3368309"/>
                <a:gd name="connsiteY5388" fmla="*/ 973056 h 2031151"/>
                <a:gd name="connsiteX5389" fmla="*/ 532224 w 3368309"/>
                <a:gd name="connsiteY5389" fmla="*/ 973708 h 2031151"/>
                <a:gd name="connsiteX5390" fmla="*/ 530269 w 3368309"/>
                <a:gd name="connsiteY5390" fmla="*/ 976966 h 2031151"/>
                <a:gd name="connsiteX5391" fmla="*/ 530595 w 3368309"/>
                <a:gd name="connsiteY5391" fmla="*/ 979410 h 2031151"/>
                <a:gd name="connsiteX5392" fmla="*/ 530595 w 3368309"/>
                <a:gd name="connsiteY5392" fmla="*/ 979410 h 2031151"/>
                <a:gd name="connsiteX5393" fmla="*/ 520658 w 3368309"/>
                <a:gd name="connsiteY5393" fmla="*/ 980550 h 2031151"/>
                <a:gd name="connsiteX5394" fmla="*/ 524405 w 3368309"/>
                <a:gd name="connsiteY5394" fmla="*/ 981039 h 2031151"/>
                <a:gd name="connsiteX5395" fmla="*/ 526685 w 3368309"/>
                <a:gd name="connsiteY5395" fmla="*/ 978107 h 2031151"/>
                <a:gd name="connsiteX5396" fmla="*/ 524893 w 3368309"/>
                <a:gd name="connsiteY5396" fmla="*/ 975500 h 2031151"/>
                <a:gd name="connsiteX5397" fmla="*/ 522450 w 3368309"/>
                <a:gd name="connsiteY5397" fmla="*/ 976477 h 2031151"/>
                <a:gd name="connsiteX5398" fmla="*/ 520658 w 3368309"/>
                <a:gd name="connsiteY5398" fmla="*/ 980550 h 2031151"/>
                <a:gd name="connsiteX5399" fmla="*/ 520658 w 3368309"/>
                <a:gd name="connsiteY5399" fmla="*/ 980550 h 2031151"/>
                <a:gd name="connsiteX5400" fmla="*/ 581585 w 3368309"/>
                <a:gd name="connsiteY5400" fmla="*/ 954811 h 2031151"/>
                <a:gd name="connsiteX5401" fmla="*/ 583703 w 3368309"/>
                <a:gd name="connsiteY5401" fmla="*/ 955462 h 2031151"/>
                <a:gd name="connsiteX5402" fmla="*/ 586473 w 3368309"/>
                <a:gd name="connsiteY5402" fmla="*/ 953344 h 2031151"/>
                <a:gd name="connsiteX5403" fmla="*/ 593641 w 3368309"/>
                <a:gd name="connsiteY5403" fmla="*/ 951064 h 2031151"/>
                <a:gd name="connsiteX5404" fmla="*/ 595433 w 3368309"/>
                <a:gd name="connsiteY5404" fmla="*/ 948620 h 2031151"/>
                <a:gd name="connsiteX5405" fmla="*/ 590871 w 3368309"/>
                <a:gd name="connsiteY5405" fmla="*/ 947317 h 2031151"/>
                <a:gd name="connsiteX5406" fmla="*/ 584192 w 3368309"/>
                <a:gd name="connsiteY5406" fmla="*/ 950738 h 2031151"/>
                <a:gd name="connsiteX5407" fmla="*/ 581585 w 3368309"/>
                <a:gd name="connsiteY5407" fmla="*/ 954973 h 2031151"/>
                <a:gd name="connsiteX5408" fmla="*/ 581585 w 3368309"/>
                <a:gd name="connsiteY5408" fmla="*/ 954973 h 2031151"/>
                <a:gd name="connsiteX5409" fmla="*/ 557149 w 3368309"/>
                <a:gd name="connsiteY5409" fmla="*/ 949597 h 2031151"/>
                <a:gd name="connsiteX5410" fmla="*/ 559430 w 3368309"/>
                <a:gd name="connsiteY5410" fmla="*/ 952367 h 2031151"/>
                <a:gd name="connsiteX5411" fmla="*/ 562688 w 3368309"/>
                <a:gd name="connsiteY5411" fmla="*/ 952367 h 2031151"/>
                <a:gd name="connsiteX5412" fmla="*/ 563340 w 3368309"/>
                <a:gd name="connsiteY5412" fmla="*/ 949923 h 2031151"/>
                <a:gd name="connsiteX5413" fmla="*/ 559593 w 3368309"/>
                <a:gd name="connsiteY5413" fmla="*/ 947968 h 2031151"/>
                <a:gd name="connsiteX5414" fmla="*/ 557149 w 3368309"/>
                <a:gd name="connsiteY5414" fmla="*/ 949597 h 2031151"/>
                <a:gd name="connsiteX5415" fmla="*/ 557149 w 3368309"/>
                <a:gd name="connsiteY5415" fmla="*/ 949597 h 2031151"/>
                <a:gd name="connsiteX5416" fmla="*/ 541510 w 3368309"/>
                <a:gd name="connsiteY5416" fmla="*/ 948457 h 2031151"/>
                <a:gd name="connsiteX5417" fmla="*/ 544931 w 3368309"/>
                <a:gd name="connsiteY5417" fmla="*/ 949435 h 2031151"/>
                <a:gd name="connsiteX5418" fmla="*/ 547212 w 3368309"/>
                <a:gd name="connsiteY5418" fmla="*/ 951715 h 2031151"/>
                <a:gd name="connsiteX5419" fmla="*/ 551936 w 3368309"/>
                <a:gd name="connsiteY5419" fmla="*/ 952856 h 2031151"/>
                <a:gd name="connsiteX5420" fmla="*/ 549981 w 3368309"/>
                <a:gd name="connsiteY5420" fmla="*/ 947805 h 2031151"/>
                <a:gd name="connsiteX5421" fmla="*/ 545420 w 3368309"/>
                <a:gd name="connsiteY5421" fmla="*/ 945851 h 2031151"/>
                <a:gd name="connsiteX5422" fmla="*/ 541673 w 3368309"/>
                <a:gd name="connsiteY5422" fmla="*/ 948294 h 2031151"/>
                <a:gd name="connsiteX5423" fmla="*/ 541673 w 3368309"/>
                <a:gd name="connsiteY5423" fmla="*/ 948294 h 2031151"/>
                <a:gd name="connsiteX5424" fmla="*/ 533853 w 3368309"/>
                <a:gd name="connsiteY5424" fmla="*/ 948783 h 2031151"/>
                <a:gd name="connsiteX5425" fmla="*/ 534668 w 3368309"/>
                <a:gd name="connsiteY5425" fmla="*/ 950249 h 2031151"/>
                <a:gd name="connsiteX5426" fmla="*/ 537763 w 3368309"/>
                <a:gd name="connsiteY5426" fmla="*/ 950249 h 2031151"/>
                <a:gd name="connsiteX5427" fmla="*/ 539881 w 3368309"/>
                <a:gd name="connsiteY5427" fmla="*/ 947643 h 2031151"/>
                <a:gd name="connsiteX5428" fmla="*/ 537437 w 3368309"/>
                <a:gd name="connsiteY5428" fmla="*/ 946665 h 2031151"/>
                <a:gd name="connsiteX5429" fmla="*/ 533853 w 3368309"/>
                <a:gd name="connsiteY5429" fmla="*/ 948620 h 2031151"/>
                <a:gd name="connsiteX5430" fmla="*/ 533853 w 3368309"/>
                <a:gd name="connsiteY5430" fmla="*/ 948620 h 2031151"/>
                <a:gd name="connsiteX5431" fmla="*/ 1080739 w 3368309"/>
                <a:gd name="connsiteY5431" fmla="*/ 782453 h 2031151"/>
                <a:gd name="connsiteX5432" fmla="*/ 1080739 w 3368309"/>
                <a:gd name="connsiteY5432" fmla="*/ 788154 h 2031151"/>
                <a:gd name="connsiteX5433" fmla="*/ 1083346 w 3368309"/>
                <a:gd name="connsiteY5433" fmla="*/ 791250 h 2031151"/>
                <a:gd name="connsiteX5434" fmla="*/ 1084486 w 3368309"/>
                <a:gd name="connsiteY5434" fmla="*/ 786362 h 2031151"/>
                <a:gd name="connsiteX5435" fmla="*/ 1082694 w 3368309"/>
                <a:gd name="connsiteY5435" fmla="*/ 782778 h 2031151"/>
                <a:gd name="connsiteX5436" fmla="*/ 1080739 w 3368309"/>
                <a:gd name="connsiteY5436" fmla="*/ 782453 h 2031151"/>
                <a:gd name="connsiteX5437" fmla="*/ 1080739 w 3368309"/>
                <a:gd name="connsiteY5437" fmla="*/ 782453 h 2031151"/>
                <a:gd name="connsiteX5438" fmla="*/ 1070639 w 3368309"/>
                <a:gd name="connsiteY5438" fmla="*/ 767139 h 2031151"/>
                <a:gd name="connsiteX5439" fmla="*/ 1070639 w 3368309"/>
                <a:gd name="connsiteY5439" fmla="*/ 776099 h 2031151"/>
                <a:gd name="connsiteX5440" fmla="*/ 1073246 w 3368309"/>
                <a:gd name="connsiteY5440" fmla="*/ 781638 h 2031151"/>
                <a:gd name="connsiteX5441" fmla="*/ 1072594 w 3368309"/>
                <a:gd name="connsiteY5441" fmla="*/ 789946 h 2031151"/>
                <a:gd name="connsiteX5442" fmla="*/ 1074223 w 3368309"/>
                <a:gd name="connsiteY5442" fmla="*/ 791738 h 2031151"/>
                <a:gd name="connsiteX5443" fmla="*/ 1077155 w 3368309"/>
                <a:gd name="connsiteY5443" fmla="*/ 787177 h 2031151"/>
                <a:gd name="connsiteX5444" fmla="*/ 1075852 w 3368309"/>
                <a:gd name="connsiteY5444" fmla="*/ 773330 h 2031151"/>
                <a:gd name="connsiteX5445" fmla="*/ 1072594 w 3368309"/>
                <a:gd name="connsiteY5445" fmla="*/ 766976 h 2031151"/>
                <a:gd name="connsiteX5446" fmla="*/ 1070802 w 3368309"/>
                <a:gd name="connsiteY5446" fmla="*/ 766976 h 2031151"/>
                <a:gd name="connsiteX5447" fmla="*/ 1063634 w 3368309"/>
                <a:gd name="connsiteY5447" fmla="*/ 757365 h 2031151"/>
                <a:gd name="connsiteX5448" fmla="*/ 1066078 w 3368309"/>
                <a:gd name="connsiteY5448" fmla="*/ 762741 h 2031151"/>
                <a:gd name="connsiteX5449" fmla="*/ 1068847 w 3368309"/>
                <a:gd name="connsiteY5449" fmla="*/ 764044 h 2031151"/>
                <a:gd name="connsiteX5450" fmla="*/ 1068847 w 3368309"/>
                <a:gd name="connsiteY5450" fmla="*/ 759971 h 2031151"/>
                <a:gd name="connsiteX5451" fmla="*/ 1065589 w 3368309"/>
                <a:gd name="connsiteY5451" fmla="*/ 756550 h 2031151"/>
                <a:gd name="connsiteX5452" fmla="*/ 1063634 w 3368309"/>
                <a:gd name="connsiteY5452" fmla="*/ 757365 h 2031151"/>
                <a:gd name="connsiteX5453" fmla="*/ 1063634 w 3368309"/>
                <a:gd name="connsiteY5453" fmla="*/ 757365 h 2031151"/>
                <a:gd name="connsiteX5454" fmla="*/ 598039 w 3368309"/>
                <a:gd name="connsiteY5454" fmla="*/ 911477 h 2031151"/>
                <a:gd name="connsiteX5455" fmla="*/ 599994 w 3368309"/>
                <a:gd name="connsiteY5455" fmla="*/ 910499 h 2031151"/>
                <a:gd name="connsiteX5456" fmla="*/ 600646 w 3368309"/>
                <a:gd name="connsiteY5456" fmla="*/ 906589 h 2031151"/>
                <a:gd name="connsiteX5457" fmla="*/ 598039 w 3368309"/>
                <a:gd name="connsiteY5457" fmla="*/ 905123 h 2031151"/>
                <a:gd name="connsiteX5458" fmla="*/ 598039 w 3368309"/>
                <a:gd name="connsiteY5458" fmla="*/ 911314 h 2031151"/>
                <a:gd name="connsiteX5459" fmla="*/ 597876 w 3368309"/>
                <a:gd name="connsiteY5459" fmla="*/ 911314 h 2031151"/>
                <a:gd name="connsiteX5460" fmla="*/ 622964 w 3368309"/>
                <a:gd name="connsiteY5460" fmla="*/ 932166 h 2031151"/>
                <a:gd name="connsiteX5461" fmla="*/ 626060 w 3368309"/>
                <a:gd name="connsiteY5461" fmla="*/ 928256 h 2031151"/>
                <a:gd name="connsiteX5462" fmla="*/ 621987 w 3368309"/>
                <a:gd name="connsiteY5462" fmla="*/ 929071 h 2031151"/>
                <a:gd name="connsiteX5463" fmla="*/ 622964 w 3368309"/>
                <a:gd name="connsiteY5463" fmla="*/ 932166 h 2031151"/>
                <a:gd name="connsiteX5464" fmla="*/ 622964 w 3368309"/>
                <a:gd name="connsiteY5464" fmla="*/ 932166 h 2031151"/>
                <a:gd name="connsiteX5465" fmla="*/ 618566 w 3368309"/>
                <a:gd name="connsiteY5465" fmla="*/ 924509 h 2031151"/>
                <a:gd name="connsiteX5466" fmla="*/ 617589 w 3368309"/>
                <a:gd name="connsiteY5466" fmla="*/ 918808 h 2031151"/>
                <a:gd name="connsiteX5467" fmla="*/ 609443 w 3368309"/>
                <a:gd name="connsiteY5467" fmla="*/ 914572 h 2031151"/>
                <a:gd name="connsiteX5468" fmla="*/ 606185 w 3368309"/>
                <a:gd name="connsiteY5468" fmla="*/ 911151 h 2031151"/>
                <a:gd name="connsiteX5469" fmla="*/ 605044 w 3368309"/>
                <a:gd name="connsiteY5469" fmla="*/ 913757 h 2031151"/>
                <a:gd name="connsiteX5470" fmla="*/ 610258 w 3368309"/>
                <a:gd name="connsiteY5470" fmla="*/ 918808 h 2031151"/>
                <a:gd name="connsiteX5471" fmla="*/ 618566 w 3368309"/>
                <a:gd name="connsiteY5471" fmla="*/ 924672 h 2031151"/>
                <a:gd name="connsiteX5472" fmla="*/ 618566 w 3368309"/>
                <a:gd name="connsiteY5472" fmla="*/ 924672 h 2031151"/>
                <a:gd name="connsiteX5473" fmla="*/ 631599 w 3368309"/>
                <a:gd name="connsiteY5473" fmla="*/ 899910 h 2031151"/>
                <a:gd name="connsiteX5474" fmla="*/ 634205 w 3368309"/>
                <a:gd name="connsiteY5474" fmla="*/ 894860 h 2031151"/>
                <a:gd name="connsiteX5475" fmla="*/ 632902 w 3368309"/>
                <a:gd name="connsiteY5475" fmla="*/ 886714 h 2031151"/>
                <a:gd name="connsiteX5476" fmla="*/ 623453 w 3368309"/>
                <a:gd name="connsiteY5476" fmla="*/ 880850 h 2031151"/>
                <a:gd name="connsiteX5477" fmla="*/ 617589 w 3368309"/>
                <a:gd name="connsiteY5477" fmla="*/ 874170 h 2031151"/>
                <a:gd name="connsiteX5478" fmla="*/ 612375 w 3368309"/>
                <a:gd name="connsiteY5478" fmla="*/ 873682 h 2031151"/>
                <a:gd name="connsiteX5479" fmla="*/ 606837 w 3368309"/>
                <a:gd name="connsiteY5479" fmla="*/ 867980 h 2031151"/>
                <a:gd name="connsiteX5480" fmla="*/ 601460 w 3368309"/>
                <a:gd name="connsiteY5480" fmla="*/ 865048 h 2031151"/>
                <a:gd name="connsiteX5481" fmla="*/ 599832 w 3368309"/>
                <a:gd name="connsiteY5481" fmla="*/ 861626 h 2031151"/>
                <a:gd name="connsiteX5482" fmla="*/ 593315 w 3368309"/>
                <a:gd name="connsiteY5482" fmla="*/ 856902 h 2031151"/>
                <a:gd name="connsiteX5483" fmla="*/ 589894 w 3368309"/>
                <a:gd name="connsiteY5483" fmla="*/ 856902 h 2031151"/>
                <a:gd name="connsiteX5484" fmla="*/ 587125 w 3368309"/>
                <a:gd name="connsiteY5484" fmla="*/ 858857 h 2031151"/>
                <a:gd name="connsiteX5485" fmla="*/ 587450 w 3368309"/>
                <a:gd name="connsiteY5485" fmla="*/ 861626 h 2031151"/>
                <a:gd name="connsiteX5486" fmla="*/ 584029 w 3368309"/>
                <a:gd name="connsiteY5486" fmla="*/ 864559 h 2031151"/>
                <a:gd name="connsiteX5487" fmla="*/ 586962 w 3368309"/>
                <a:gd name="connsiteY5487" fmla="*/ 868795 h 2031151"/>
                <a:gd name="connsiteX5488" fmla="*/ 591197 w 3368309"/>
                <a:gd name="connsiteY5488" fmla="*/ 869609 h 2031151"/>
                <a:gd name="connsiteX5489" fmla="*/ 590220 w 3368309"/>
                <a:gd name="connsiteY5489" fmla="*/ 872053 h 2031151"/>
                <a:gd name="connsiteX5490" fmla="*/ 587613 w 3368309"/>
                <a:gd name="connsiteY5490" fmla="*/ 873030 h 2031151"/>
                <a:gd name="connsiteX5491" fmla="*/ 583866 w 3368309"/>
                <a:gd name="connsiteY5491" fmla="*/ 869935 h 2031151"/>
                <a:gd name="connsiteX5492" fmla="*/ 581912 w 3368309"/>
                <a:gd name="connsiteY5492" fmla="*/ 870261 h 2031151"/>
                <a:gd name="connsiteX5493" fmla="*/ 583703 w 3368309"/>
                <a:gd name="connsiteY5493" fmla="*/ 874496 h 2031151"/>
                <a:gd name="connsiteX5494" fmla="*/ 592501 w 3368309"/>
                <a:gd name="connsiteY5494" fmla="*/ 884434 h 2031151"/>
                <a:gd name="connsiteX5495" fmla="*/ 597551 w 3368309"/>
                <a:gd name="connsiteY5495" fmla="*/ 887203 h 2031151"/>
                <a:gd name="connsiteX5496" fmla="*/ 600809 w 3368309"/>
                <a:gd name="connsiteY5496" fmla="*/ 891765 h 2031151"/>
                <a:gd name="connsiteX5497" fmla="*/ 603253 w 3368309"/>
                <a:gd name="connsiteY5497" fmla="*/ 892091 h 2031151"/>
                <a:gd name="connsiteX5498" fmla="*/ 603578 w 3368309"/>
                <a:gd name="connsiteY5498" fmla="*/ 886389 h 2031151"/>
                <a:gd name="connsiteX5499" fmla="*/ 607325 w 3368309"/>
                <a:gd name="connsiteY5499" fmla="*/ 888018 h 2031151"/>
                <a:gd name="connsiteX5500" fmla="*/ 611724 w 3368309"/>
                <a:gd name="connsiteY5500" fmla="*/ 887529 h 2031151"/>
                <a:gd name="connsiteX5501" fmla="*/ 613190 w 3368309"/>
                <a:gd name="connsiteY5501" fmla="*/ 889484 h 2031151"/>
                <a:gd name="connsiteX5502" fmla="*/ 614819 w 3368309"/>
                <a:gd name="connsiteY5502" fmla="*/ 895674 h 2031151"/>
                <a:gd name="connsiteX5503" fmla="*/ 613842 w 3368309"/>
                <a:gd name="connsiteY5503" fmla="*/ 897955 h 2031151"/>
                <a:gd name="connsiteX5504" fmla="*/ 616774 w 3368309"/>
                <a:gd name="connsiteY5504" fmla="*/ 900888 h 2031151"/>
                <a:gd name="connsiteX5505" fmla="*/ 623453 w 3368309"/>
                <a:gd name="connsiteY5505" fmla="*/ 902028 h 2031151"/>
                <a:gd name="connsiteX5506" fmla="*/ 626060 w 3368309"/>
                <a:gd name="connsiteY5506" fmla="*/ 898607 h 2031151"/>
                <a:gd name="connsiteX5507" fmla="*/ 631436 w 3368309"/>
                <a:gd name="connsiteY5507" fmla="*/ 900073 h 2031151"/>
                <a:gd name="connsiteX5508" fmla="*/ 631436 w 3368309"/>
                <a:gd name="connsiteY5508" fmla="*/ 900073 h 2031151"/>
                <a:gd name="connsiteX5509" fmla="*/ 753292 w 3368309"/>
                <a:gd name="connsiteY5509" fmla="*/ 682589 h 2031151"/>
                <a:gd name="connsiteX5510" fmla="*/ 755247 w 3368309"/>
                <a:gd name="connsiteY5510" fmla="*/ 682915 h 2031151"/>
                <a:gd name="connsiteX5511" fmla="*/ 754107 w 3368309"/>
                <a:gd name="connsiteY5511" fmla="*/ 679983 h 2031151"/>
                <a:gd name="connsiteX5512" fmla="*/ 754432 w 3368309"/>
                <a:gd name="connsiteY5512" fmla="*/ 677050 h 2031151"/>
                <a:gd name="connsiteX5513" fmla="*/ 757365 w 3368309"/>
                <a:gd name="connsiteY5513" fmla="*/ 676725 h 2031151"/>
                <a:gd name="connsiteX5514" fmla="*/ 759482 w 3368309"/>
                <a:gd name="connsiteY5514" fmla="*/ 681449 h 2031151"/>
                <a:gd name="connsiteX5515" fmla="*/ 762252 w 3368309"/>
                <a:gd name="connsiteY5515" fmla="*/ 680309 h 2031151"/>
                <a:gd name="connsiteX5516" fmla="*/ 764207 w 3368309"/>
                <a:gd name="connsiteY5516" fmla="*/ 681286 h 2031151"/>
                <a:gd name="connsiteX5517" fmla="*/ 767954 w 3368309"/>
                <a:gd name="connsiteY5517" fmla="*/ 680309 h 2031151"/>
                <a:gd name="connsiteX5518" fmla="*/ 769746 w 3368309"/>
                <a:gd name="connsiteY5518" fmla="*/ 676073 h 2031151"/>
                <a:gd name="connsiteX5519" fmla="*/ 774470 w 3368309"/>
                <a:gd name="connsiteY5519" fmla="*/ 671837 h 2031151"/>
                <a:gd name="connsiteX5520" fmla="*/ 779520 w 3368309"/>
                <a:gd name="connsiteY5520" fmla="*/ 670045 h 2031151"/>
                <a:gd name="connsiteX5521" fmla="*/ 780172 w 3368309"/>
                <a:gd name="connsiteY5521" fmla="*/ 667439 h 2031151"/>
                <a:gd name="connsiteX5522" fmla="*/ 777565 w 3368309"/>
                <a:gd name="connsiteY5522" fmla="*/ 662063 h 2031151"/>
                <a:gd name="connsiteX5523" fmla="*/ 770723 w 3368309"/>
                <a:gd name="connsiteY5523" fmla="*/ 658479 h 2031151"/>
                <a:gd name="connsiteX5524" fmla="*/ 769746 w 3368309"/>
                <a:gd name="connsiteY5524" fmla="*/ 654569 h 2031151"/>
                <a:gd name="connsiteX5525" fmla="*/ 765347 w 3368309"/>
                <a:gd name="connsiteY5525" fmla="*/ 649030 h 2031151"/>
                <a:gd name="connsiteX5526" fmla="*/ 762415 w 3368309"/>
                <a:gd name="connsiteY5526" fmla="*/ 647238 h 2031151"/>
                <a:gd name="connsiteX5527" fmla="*/ 758668 w 3368309"/>
                <a:gd name="connsiteY5527" fmla="*/ 648867 h 2031151"/>
                <a:gd name="connsiteX5528" fmla="*/ 754107 w 3368309"/>
                <a:gd name="connsiteY5528" fmla="*/ 653266 h 2031151"/>
                <a:gd name="connsiteX5529" fmla="*/ 750034 w 3368309"/>
                <a:gd name="connsiteY5529" fmla="*/ 653592 h 2031151"/>
                <a:gd name="connsiteX5530" fmla="*/ 744983 w 3368309"/>
                <a:gd name="connsiteY5530" fmla="*/ 657990 h 2031151"/>
                <a:gd name="connsiteX5531" fmla="*/ 745309 w 3368309"/>
                <a:gd name="connsiteY5531" fmla="*/ 661900 h 2031151"/>
                <a:gd name="connsiteX5532" fmla="*/ 748567 w 3368309"/>
                <a:gd name="connsiteY5532" fmla="*/ 666624 h 2031151"/>
                <a:gd name="connsiteX5533" fmla="*/ 749219 w 3368309"/>
                <a:gd name="connsiteY5533" fmla="*/ 671512 h 2031151"/>
                <a:gd name="connsiteX5534" fmla="*/ 748567 w 3368309"/>
                <a:gd name="connsiteY5534" fmla="*/ 678680 h 2031151"/>
                <a:gd name="connsiteX5535" fmla="*/ 752966 w 3368309"/>
                <a:gd name="connsiteY5535" fmla="*/ 682426 h 2031151"/>
                <a:gd name="connsiteX5536" fmla="*/ 752966 w 3368309"/>
                <a:gd name="connsiteY5536" fmla="*/ 682426 h 2031151"/>
                <a:gd name="connsiteX5537" fmla="*/ 768768 w 3368309"/>
                <a:gd name="connsiteY5537" fmla="*/ 897792 h 2031151"/>
                <a:gd name="connsiteX5538" fmla="*/ 769908 w 3368309"/>
                <a:gd name="connsiteY5538" fmla="*/ 900073 h 2031151"/>
                <a:gd name="connsiteX5539" fmla="*/ 773492 w 3368309"/>
                <a:gd name="connsiteY5539" fmla="*/ 901213 h 2031151"/>
                <a:gd name="connsiteX5540" fmla="*/ 776425 w 3368309"/>
                <a:gd name="connsiteY5540" fmla="*/ 897629 h 2031151"/>
                <a:gd name="connsiteX5541" fmla="*/ 775936 w 3368309"/>
                <a:gd name="connsiteY5541" fmla="*/ 893720 h 2031151"/>
                <a:gd name="connsiteX5542" fmla="*/ 773492 w 3368309"/>
                <a:gd name="connsiteY5542" fmla="*/ 890950 h 2031151"/>
                <a:gd name="connsiteX5543" fmla="*/ 770398 w 3368309"/>
                <a:gd name="connsiteY5543" fmla="*/ 892905 h 2031151"/>
                <a:gd name="connsiteX5544" fmla="*/ 770398 w 3368309"/>
                <a:gd name="connsiteY5544" fmla="*/ 895349 h 2031151"/>
                <a:gd name="connsiteX5545" fmla="*/ 769094 w 3368309"/>
                <a:gd name="connsiteY5545" fmla="*/ 897629 h 2031151"/>
                <a:gd name="connsiteX5546" fmla="*/ 769094 w 3368309"/>
                <a:gd name="connsiteY5546" fmla="*/ 897629 h 2031151"/>
                <a:gd name="connsiteX5547" fmla="*/ 864559 w 3368309"/>
                <a:gd name="connsiteY5547" fmla="*/ 1019323 h 2031151"/>
                <a:gd name="connsiteX5548" fmla="*/ 864885 w 3368309"/>
                <a:gd name="connsiteY5548" fmla="*/ 1021603 h 2031151"/>
                <a:gd name="connsiteX5549" fmla="*/ 868306 w 3368309"/>
                <a:gd name="connsiteY5549" fmla="*/ 1022581 h 2031151"/>
                <a:gd name="connsiteX5550" fmla="*/ 868632 w 3368309"/>
                <a:gd name="connsiteY5550" fmla="*/ 1025676 h 2031151"/>
                <a:gd name="connsiteX5551" fmla="*/ 874333 w 3368309"/>
                <a:gd name="connsiteY5551" fmla="*/ 1029260 h 2031151"/>
                <a:gd name="connsiteX5552" fmla="*/ 879546 w 3368309"/>
                <a:gd name="connsiteY5552" fmla="*/ 1027468 h 2031151"/>
                <a:gd name="connsiteX5553" fmla="*/ 881501 w 3368309"/>
                <a:gd name="connsiteY5553" fmla="*/ 1025187 h 2031151"/>
                <a:gd name="connsiteX5554" fmla="*/ 879546 w 3368309"/>
                <a:gd name="connsiteY5554" fmla="*/ 1020463 h 2031151"/>
                <a:gd name="connsiteX5555" fmla="*/ 875474 w 3368309"/>
                <a:gd name="connsiteY5555" fmla="*/ 1019323 h 2031151"/>
                <a:gd name="connsiteX5556" fmla="*/ 871564 w 3368309"/>
                <a:gd name="connsiteY5556" fmla="*/ 1020463 h 2031151"/>
                <a:gd name="connsiteX5557" fmla="*/ 867980 w 3368309"/>
                <a:gd name="connsiteY5557" fmla="*/ 1019160 h 2031151"/>
                <a:gd name="connsiteX5558" fmla="*/ 864559 w 3368309"/>
                <a:gd name="connsiteY5558" fmla="*/ 1019160 h 2031151"/>
                <a:gd name="connsiteX5559" fmla="*/ 847128 w 3368309"/>
                <a:gd name="connsiteY5559" fmla="*/ 679657 h 2031151"/>
                <a:gd name="connsiteX5560" fmla="*/ 846150 w 3368309"/>
                <a:gd name="connsiteY5560" fmla="*/ 674607 h 2031151"/>
                <a:gd name="connsiteX5561" fmla="*/ 843544 w 3368309"/>
                <a:gd name="connsiteY5561" fmla="*/ 671837 h 2031151"/>
                <a:gd name="connsiteX5562" fmla="*/ 843544 w 3368309"/>
                <a:gd name="connsiteY5562" fmla="*/ 668253 h 2031151"/>
                <a:gd name="connsiteX5563" fmla="*/ 846150 w 3368309"/>
                <a:gd name="connsiteY5563" fmla="*/ 665973 h 2031151"/>
                <a:gd name="connsiteX5564" fmla="*/ 844521 w 3368309"/>
                <a:gd name="connsiteY5564" fmla="*/ 662552 h 2031151"/>
                <a:gd name="connsiteX5565" fmla="*/ 839960 w 3368309"/>
                <a:gd name="connsiteY5565" fmla="*/ 661248 h 2031151"/>
                <a:gd name="connsiteX5566" fmla="*/ 836050 w 3368309"/>
                <a:gd name="connsiteY5566" fmla="*/ 663203 h 2031151"/>
                <a:gd name="connsiteX5567" fmla="*/ 834583 w 3368309"/>
                <a:gd name="connsiteY5567" fmla="*/ 671837 h 2031151"/>
                <a:gd name="connsiteX5568" fmla="*/ 836376 w 3368309"/>
                <a:gd name="connsiteY5568" fmla="*/ 675421 h 2031151"/>
                <a:gd name="connsiteX5569" fmla="*/ 840611 w 3368309"/>
                <a:gd name="connsiteY5569" fmla="*/ 675910 h 2031151"/>
                <a:gd name="connsiteX5570" fmla="*/ 843381 w 3368309"/>
                <a:gd name="connsiteY5570" fmla="*/ 679168 h 2031151"/>
                <a:gd name="connsiteX5571" fmla="*/ 847128 w 3368309"/>
                <a:gd name="connsiteY5571" fmla="*/ 679168 h 2031151"/>
                <a:gd name="connsiteX5572" fmla="*/ 838493 w 3368309"/>
                <a:gd name="connsiteY5572" fmla="*/ 642514 h 2031151"/>
                <a:gd name="connsiteX5573" fmla="*/ 843055 w 3368309"/>
                <a:gd name="connsiteY5573" fmla="*/ 637626 h 2031151"/>
                <a:gd name="connsiteX5574" fmla="*/ 846150 w 3368309"/>
                <a:gd name="connsiteY5574" fmla="*/ 639093 h 2031151"/>
                <a:gd name="connsiteX5575" fmla="*/ 850712 w 3368309"/>
                <a:gd name="connsiteY5575" fmla="*/ 635834 h 2031151"/>
                <a:gd name="connsiteX5576" fmla="*/ 849734 w 3368309"/>
                <a:gd name="connsiteY5576" fmla="*/ 633065 h 2031151"/>
                <a:gd name="connsiteX5577" fmla="*/ 850549 w 3368309"/>
                <a:gd name="connsiteY5577" fmla="*/ 630296 h 2031151"/>
                <a:gd name="connsiteX5578" fmla="*/ 853318 w 3368309"/>
                <a:gd name="connsiteY5578" fmla="*/ 628666 h 2031151"/>
                <a:gd name="connsiteX5579" fmla="*/ 852015 w 3368309"/>
                <a:gd name="connsiteY5579" fmla="*/ 627363 h 2031151"/>
                <a:gd name="connsiteX5580" fmla="*/ 848268 w 3368309"/>
                <a:gd name="connsiteY5580" fmla="*/ 627689 h 2031151"/>
                <a:gd name="connsiteX5581" fmla="*/ 841263 w 3368309"/>
                <a:gd name="connsiteY5581" fmla="*/ 632902 h 2031151"/>
                <a:gd name="connsiteX5582" fmla="*/ 838493 w 3368309"/>
                <a:gd name="connsiteY5582" fmla="*/ 638767 h 2031151"/>
                <a:gd name="connsiteX5583" fmla="*/ 838493 w 3368309"/>
                <a:gd name="connsiteY5583" fmla="*/ 642677 h 2031151"/>
                <a:gd name="connsiteX5584" fmla="*/ 838656 w 3368309"/>
                <a:gd name="connsiteY5584" fmla="*/ 642677 h 2031151"/>
                <a:gd name="connsiteX5585" fmla="*/ 860812 w 3368309"/>
                <a:gd name="connsiteY5585" fmla="*/ 648378 h 2031151"/>
                <a:gd name="connsiteX5586" fmla="*/ 866025 w 3368309"/>
                <a:gd name="connsiteY5586" fmla="*/ 652940 h 2031151"/>
                <a:gd name="connsiteX5587" fmla="*/ 872704 w 3368309"/>
                <a:gd name="connsiteY5587" fmla="*/ 653917 h 2031151"/>
                <a:gd name="connsiteX5588" fmla="*/ 876125 w 3368309"/>
                <a:gd name="connsiteY5588" fmla="*/ 653103 h 2031151"/>
                <a:gd name="connsiteX5589" fmla="*/ 876125 w 3368309"/>
                <a:gd name="connsiteY5589" fmla="*/ 650170 h 2031151"/>
                <a:gd name="connsiteX5590" fmla="*/ 868632 w 3368309"/>
                <a:gd name="connsiteY5590" fmla="*/ 649193 h 2031151"/>
                <a:gd name="connsiteX5591" fmla="*/ 863907 w 3368309"/>
                <a:gd name="connsiteY5591" fmla="*/ 647238 h 2031151"/>
                <a:gd name="connsiteX5592" fmla="*/ 860975 w 3368309"/>
                <a:gd name="connsiteY5592" fmla="*/ 648541 h 2031151"/>
                <a:gd name="connsiteX5593" fmla="*/ 860975 w 3368309"/>
                <a:gd name="connsiteY5593" fmla="*/ 648541 h 2031151"/>
                <a:gd name="connsiteX5594" fmla="*/ 910010 w 3368309"/>
                <a:gd name="connsiteY5594" fmla="*/ 685033 h 2031151"/>
                <a:gd name="connsiteX5595" fmla="*/ 910499 w 3368309"/>
                <a:gd name="connsiteY5595" fmla="*/ 689920 h 2031151"/>
                <a:gd name="connsiteX5596" fmla="*/ 907241 w 3368309"/>
                <a:gd name="connsiteY5596" fmla="*/ 694482 h 2031151"/>
                <a:gd name="connsiteX5597" fmla="*/ 904308 w 3368309"/>
                <a:gd name="connsiteY5597" fmla="*/ 696600 h 2031151"/>
                <a:gd name="connsiteX5598" fmla="*/ 903494 w 3368309"/>
                <a:gd name="connsiteY5598" fmla="*/ 701324 h 2031151"/>
                <a:gd name="connsiteX5599" fmla="*/ 905938 w 3368309"/>
                <a:gd name="connsiteY5599" fmla="*/ 704582 h 2031151"/>
                <a:gd name="connsiteX5600" fmla="*/ 908707 w 3368309"/>
                <a:gd name="connsiteY5600" fmla="*/ 704093 h 2031151"/>
                <a:gd name="connsiteX5601" fmla="*/ 913757 w 3368309"/>
                <a:gd name="connsiteY5601" fmla="*/ 699695 h 2031151"/>
                <a:gd name="connsiteX5602" fmla="*/ 917016 w 3368309"/>
                <a:gd name="connsiteY5602" fmla="*/ 698066 h 2031151"/>
                <a:gd name="connsiteX5603" fmla="*/ 920599 w 3368309"/>
                <a:gd name="connsiteY5603" fmla="*/ 692364 h 2031151"/>
                <a:gd name="connsiteX5604" fmla="*/ 924672 w 3368309"/>
                <a:gd name="connsiteY5604" fmla="*/ 690572 h 2031151"/>
                <a:gd name="connsiteX5605" fmla="*/ 929071 w 3368309"/>
                <a:gd name="connsiteY5605" fmla="*/ 684870 h 2031151"/>
                <a:gd name="connsiteX5606" fmla="*/ 928582 w 3368309"/>
                <a:gd name="connsiteY5606" fmla="*/ 680960 h 2031151"/>
                <a:gd name="connsiteX5607" fmla="*/ 926139 w 3368309"/>
                <a:gd name="connsiteY5607" fmla="*/ 679494 h 2031151"/>
                <a:gd name="connsiteX5608" fmla="*/ 920925 w 3368309"/>
                <a:gd name="connsiteY5608" fmla="*/ 678842 h 2031151"/>
                <a:gd name="connsiteX5609" fmla="*/ 913432 w 3368309"/>
                <a:gd name="connsiteY5609" fmla="*/ 680797 h 2031151"/>
                <a:gd name="connsiteX5610" fmla="*/ 910010 w 3368309"/>
                <a:gd name="connsiteY5610" fmla="*/ 685033 h 2031151"/>
                <a:gd name="connsiteX5611" fmla="*/ 910010 w 3368309"/>
                <a:gd name="connsiteY5611" fmla="*/ 685033 h 2031151"/>
                <a:gd name="connsiteX5612" fmla="*/ 928419 w 3368309"/>
                <a:gd name="connsiteY5612" fmla="*/ 638441 h 2031151"/>
                <a:gd name="connsiteX5613" fmla="*/ 924021 w 3368309"/>
                <a:gd name="connsiteY5613" fmla="*/ 644306 h 2031151"/>
                <a:gd name="connsiteX5614" fmla="*/ 922717 w 3368309"/>
                <a:gd name="connsiteY5614" fmla="*/ 652451 h 2031151"/>
                <a:gd name="connsiteX5615" fmla="*/ 919622 w 3368309"/>
                <a:gd name="connsiteY5615" fmla="*/ 658642 h 2031151"/>
                <a:gd name="connsiteX5616" fmla="*/ 920274 w 3368309"/>
                <a:gd name="connsiteY5616" fmla="*/ 662389 h 2031151"/>
                <a:gd name="connsiteX5617" fmla="*/ 926139 w 3368309"/>
                <a:gd name="connsiteY5617" fmla="*/ 663366 h 2031151"/>
                <a:gd name="connsiteX5618" fmla="*/ 928093 w 3368309"/>
                <a:gd name="connsiteY5618" fmla="*/ 665973 h 2031151"/>
                <a:gd name="connsiteX5619" fmla="*/ 933307 w 3368309"/>
                <a:gd name="connsiteY5619" fmla="*/ 666461 h 2031151"/>
                <a:gd name="connsiteX5620" fmla="*/ 937542 w 3368309"/>
                <a:gd name="connsiteY5620" fmla="*/ 668253 h 2031151"/>
                <a:gd name="connsiteX5621" fmla="*/ 941778 w 3368309"/>
                <a:gd name="connsiteY5621" fmla="*/ 666787 h 2031151"/>
                <a:gd name="connsiteX5622" fmla="*/ 941778 w 3368309"/>
                <a:gd name="connsiteY5622" fmla="*/ 663529 h 2031151"/>
                <a:gd name="connsiteX5623" fmla="*/ 937868 w 3368309"/>
                <a:gd name="connsiteY5623" fmla="*/ 656198 h 2031151"/>
                <a:gd name="connsiteX5624" fmla="*/ 936728 w 3368309"/>
                <a:gd name="connsiteY5624" fmla="*/ 649193 h 2031151"/>
                <a:gd name="connsiteX5625" fmla="*/ 930863 w 3368309"/>
                <a:gd name="connsiteY5625" fmla="*/ 643980 h 2031151"/>
                <a:gd name="connsiteX5626" fmla="*/ 928256 w 3368309"/>
                <a:gd name="connsiteY5626" fmla="*/ 638441 h 2031151"/>
                <a:gd name="connsiteX5627" fmla="*/ 928256 w 3368309"/>
                <a:gd name="connsiteY5627" fmla="*/ 638441 h 2031151"/>
                <a:gd name="connsiteX5628" fmla="*/ 893394 w 3368309"/>
                <a:gd name="connsiteY5628" fmla="*/ 552914 h 2031151"/>
                <a:gd name="connsiteX5629" fmla="*/ 892090 w 3368309"/>
                <a:gd name="connsiteY5629" fmla="*/ 548678 h 2031151"/>
                <a:gd name="connsiteX5630" fmla="*/ 892416 w 3368309"/>
                <a:gd name="connsiteY5630" fmla="*/ 545583 h 2031151"/>
                <a:gd name="connsiteX5631" fmla="*/ 888832 w 3368309"/>
                <a:gd name="connsiteY5631" fmla="*/ 544117 h 2031151"/>
                <a:gd name="connsiteX5632" fmla="*/ 883456 w 3368309"/>
                <a:gd name="connsiteY5632" fmla="*/ 545094 h 2031151"/>
                <a:gd name="connsiteX5633" fmla="*/ 882316 w 3368309"/>
                <a:gd name="connsiteY5633" fmla="*/ 547538 h 2031151"/>
                <a:gd name="connsiteX5634" fmla="*/ 884923 w 3368309"/>
                <a:gd name="connsiteY5634" fmla="*/ 549330 h 2031151"/>
                <a:gd name="connsiteX5635" fmla="*/ 885900 w 3368309"/>
                <a:gd name="connsiteY5635" fmla="*/ 553077 h 2031151"/>
                <a:gd name="connsiteX5636" fmla="*/ 889973 w 3368309"/>
                <a:gd name="connsiteY5636" fmla="*/ 555031 h 2031151"/>
                <a:gd name="connsiteX5637" fmla="*/ 893394 w 3368309"/>
                <a:gd name="connsiteY5637" fmla="*/ 552914 h 2031151"/>
                <a:gd name="connsiteX5638" fmla="*/ 893394 w 3368309"/>
                <a:gd name="connsiteY5638" fmla="*/ 552914 h 2031151"/>
                <a:gd name="connsiteX5639" fmla="*/ 908707 w 3368309"/>
                <a:gd name="connsiteY5639" fmla="*/ 488890 h 2031151"/>
                <a:gd name="connsiteX5640" fmla="*/ 906426 w 3368309"/>
                <a:gd name="connsiteY5640" fmla="*/ 487913 h 2031151"/>
                <a:gd name="connsiteX5641" fmla="*/ 904308 w 3368309"/>
                <a:gd name="connsiteY5641" fmla="*/ 485469 h 2031151"/>
                <a:gd name="connsiteX5642" fmla="*/ 904798 w 3368309"/>
                <a:gd name="connsiteY5642" fmla="*/ 495081 h 2031151"/>
                <a:gd name="connsiteX5643" fmla="*/ 908055 w 3368309"/>
                <a:gd name="connsiteY5643" fmla="*/ 496221 h 2031151"/>
                <a:gd name="connsiteX5644" fmla="*/ 910662 w 3368309"/>
                <a:gd name="connsiteY5644" fmla="*/ 493941 h 2031151"/>
                <a:gd name="connsiteX5645" fmla="*/ 912617 w 3368309"/>
                <a:gd name="connsiteY5645" fmla="*/ 495407 h 2031151"/>
                <a:gd name="connsiteX5646" fmla="*/ 913106 w 3368309"/>
                <a:gd name="connsiteY5646" fmla="*/ 500783 h 2031151"/>
                <a:gd name="connsiteX5647" fmla="*/ 915549 w 3368309"/>
                <a:gd name="connsiteY5647" fmla="*/ 503715 h 2031151"/>
                <a:gd name="connsiteX5648" fmla="*/ 916038 w 3368309"/>
                <a:gd name="connsiteY5648" fmla="*/ 498665 h 2031151"/>
                <a:gd name="connsiteX5649" fmla="*/ 914409 w 3368309"/>
                <a:gd name="connsiteY5649" fmla="*/ 492963 h 2031151"/>
                <a:gd name="connsiteX5650" fmla="*/ 917830 w 3368309"/>
                <a:gd name="connsiteY5650" fmla="*/ 490682 h 2031151"/>
                <a:gd name="connsiteX5651" fmla="*/ 917830 w 3368309"/>
                <a:gd name="connsiteY5651" fmla="*/ 487750 h 2031151"/>
                <a:gd name="connsiteX5652" fmla="*/ 914246 w 3368309"/>
                <a:gd name="connsiteY5652" fmla="*/ 484329 h 2031151"/>
                <a:gd name="connsiteX5653" fmla="*/ 914246 w 3368309"/>
                <a:gd name="connsiteY5653" fmla="*/ 481071 h 2031151"/>
                <a:gd name="connsiteX5654" fmla="*/ 912943 w 3368309"/>
                <a:gd name="connsiteY5654" fmla="*/ 476835 h 2031151"/>
                <a:gd name="connsiteX5655" fmla="*/ 909359 w 3368309"/>
                <a:gd name="connsiteY5655" fmla="*/ 479116 h 2031151"/>
                <a:gd name="connsiteX5656" fmla="*/ 907078 w 3368309"/>
                <a:gd name="connsiteY5656" fmla="*/ 479116 h 2031151"/>
                <a:gd name="connsiteX5657" fmla="*/ 905449 w 3368309"/>
                <a:gd name="connsiteY5657" fmla="*/ 481234 h 2031151"/>
                <a:gd name="connsiteX5658" fmla="*/ 909196 w 3368309"/>
                <a:gd name="connsiteY5658" fmla="*/ 485143 h 2031151"/>
                <a:gd name="connsiteX5659" fmla="*/ 908381 w 3368309"/>
                <a:gd name="connsiteY5659" fmla="*/ 488890 h 2031151"/>
                <a:gd name="connsiteX5660" fmla="*/ 908381 w 3368309"/>
                <a:gd name="connsiteY5660" fmla="*/ 488890 h 2031151"/>
                <a:gd name="connsiteX5661" fmla="*/ 900725 w 3368309"/>
                <a:gd name="connsiteY5661" fmla="*/ 458589 h 2031151"/>
                <a:gd name="connsiteX5662" fmla="*/ 894208 w 3368309"/>
                <a:gd name="connsiteY5662" fmla="*/ 456960 h 2031151"/>
                <a:gd name="connsiteX5663" fmla="*/ 892416 w 3368309"/>
                <a:gd name="connsiteY5663" fmla="*/ 453865 h 2031151"/>
                <a:gd name="connsiteX5664" fmla="*/ 889321 w 3368309"/>
                <a:gd name="connsiteY5664" fmla="*/ 452887 h 2031151"/>
                <a:gd name="connsiteX5665" fmla="*/ 887040 w 3368309"/>
                <a:gd name="connsiteY5665" fmla="*/ 455005 h 2031151"/>
                <a:gd name="connsiteX5666" fmla="*/ 887692 w 3368309"/>
                <a:gd name="connsiteY5666" fmla="*/ 458263 h 2031151"/>
                <a:gd name="connsiteX5667" fmla="*/ 893557 w 3368309"/>
                <a:gd name="connsiteY5667" fmla="*/ 460870 h 2031151"/>
                <a:gd name="connsiteX5668" fmla="*/ 898607 w 3368309"/>
                <a:gd name="connsiteY5668" fmla="*/ 461196 h 2031151"/>
                <a:gd name="connsiteX5669" fmla="*/ 900562 w 3368309"/>
                <a:gd name="connsiteY5669" fmla="*/ 458589 h 2031151"/>
                <a:gd name="connsiteX5670" fmla="*/ 900562 w 3368309"/>
                <a:gd name="connsiteY5670" fmla="*/ 458589 h 2031151"/>
                <a:gd name="connsiteX5671" fmla="*/ 901539 w 3368309"/>
                <a:gd name="connsiteY5671" fmla="*/ 453376 h 2031151"/>
                <a:gd name="connsiteX5672" fmla="*/ 903820 w 3368309"/>
                <a:gd name="connsiteY5672" fmla="*/ 454517 h 2031151"/>
                <a:gd name="connsiteX5673" fmla="*/ 909685 w 3368309"/>
                <a:gd name="connsiteY5673" fmla="*/ 453539 h 2031151"/>
                <a:gd name="connsiteX5674" fmla="*/ 913432 w 3368309"/>
                <a:gd name="connsiteY5674" fmla="*/ 453865 h 2031151"/>
                <a:gd name="connsiteX5675" fmla="*/ 917993 w 3368309"/>
                <a:gd name="connsiteY5675" fmla="*/ 452073 h 2031151"/>
                <a:gd name="connsiteX5676" fmla="*/ 918644 w 3368309"/>
                <a:gd name="connsiteY5676" fmla="*/ 450118 h 2031151"/>
                <a:gd name="connsiteX5677" fmla="*/ 910825 w 3368309"/>
                <a:gd name="connsiteY5677" fmla="*/ 448978 h 2031151"/>
                <a:gd name="connsiteX5678" fmla="*/ 907404 w 3368309"/>
                <a:gd name="connsiteY5678" fmla="*/ 446860 h 2031151"/>
                <a:gd name="connsiteX5679" fmla="*/ 904308 w 3368309"/>
                <a:gd name="connsiteY5679" fmla="*/ 447837 h 2031151"/>
                <a:gd name="connsiteX5680" fmla="*/ 901539 w 3368309"/>
                <a:gd name="connsiteY5680" fmla="*/ 453539 h 2031151"/>
                <a:gd name="connsiteX5681" fmla="*/ 901539 w 3368309"/>
                <a:gd name="connsiteY5681" fmla="*/ 453539 h 2031151"/>
                <a:gd name="connsiteX5682" fmla="*/ 959535 w 3368309"/>
                <a:gd name="connsiteY5682" fmla="*/ 576535 h 2031151"/>
                <a:gd name="connsiteX5683" fmla="*/ 963444 w 3368309"/>
                <a:gd name="connsiteY5683" fmla="*/ 570834 h 2031151"/>
                <a:gd name="connsiteX5684" fmla="*/ 961490 w 3368309"/>
                <a:gd name="connsiteY5684" fmla="*/ 568553 h 2031151"/>
                <a:gd name="connsiteX5685" fmla="*/ 957091 w 3368309"/>
                <a:gd name="connsiteY5685" fmla="*/ 568879 h 2031151"/>
                <a:gd name="connsiteX5686" fmla="*/ 953833 w 3368309"/>
                <a:gd name="connsiteY5686" fmla="*/ 571811 h 2031151"/>
                <a:gd name="connsiteX5687" fmla="*/ 955625 w 3368309"/>
                <a:gd name="connsiteY5687" fmla="*/ 576047 h 2031151"/>
                <a:gd name="connsiteX5688" fmla="*/ 959372 w 3368309"/>
                <a:gd name="connsiteY5688" fmla="*/ 576698 h 2031151"/>
                <a:gd name="connsiteX5689" fmla="*/ 959372 w 3368309"/>
                <a:gd name="connsiteY5689" fmla="*/ 576698 h 2031151"/>
                <a:gd name="connsiteX5690" fmla="*/ 974685 w 3368309"/>
                <a:gd name="connsiteY5690" fmla="*/ 572463 h 2031151"/>
                <a:gd name="connsiteX5691" fmla="*/ 978107 w 3368309"/>
                <a:gd name="connsiteY5691" fmla="*/ 569367 h 2031151"/>
                <a:gd name="connsiteX5692" fmla="*/ 979084 w 3368309"/>
                <a:gd name="connsiteY5692" fmla="*/ 566109 h 2031151"/>
                <a:gd name="connsiteX5693" fmla="*/ 973708 w 3368309"/>
                <a:gd name="connsiteY5693" fmla="*/ 565132 h 2031151"/>
                <a:gd name="connsiteX5694" fmla="*/ 971427 w 3368309"/>
                <a:gd name="connsiteY5694" fmla="*/ 566924 h 2031151"/>
                <a:gd name="connsiteX5695" fmla="*/ 967517 w 3368309"/>
                <a:gd name="connsiteY5695" fmla="*/ 568553 h 2031151"/>
                <a:gd name="connsiteX5696" fmla="*/ 969309 w 3368309"/>
                <a:gd name="connsiteY5696" fmla="*/ 570834 h 2031151"/>
                <a:gd name="connsiteX5697" fmla="*/ 974685 w 3368309"/>
                <a:gd name="connsiteY5697" fmla="*/ 572626 h 2031151"/>
                <a:gd name="connsiteX5698" fmla="*/ 974685 w 3368309"/>
                <a:gd name="connsiteY5698" fmla="*/ 572626 h 2031151"/>
                <a:gd name="connsiteX5699" fmla="*/ 997330 w 3368309"/>
                <a:gd name="connsiteY5699" fmla="*/ 575884 h 2031151"/>
                <a:gd name="connsiteX5700" fmla="*/ 999610 w 3368309"/>
                <a:gd name="connsiteY5700" fmla="*/ 574255 h 2031151"/>
                <a:gd name="connsiteX5701" fmla="*/ 994560 w 3368309"/>
                <a:gd name="connsiteY5701" fmla="*/ 571648 h 2031151"/>
                <a:gd name="connsiteX5702" fmla="*/ 988207 w 3368309"/>
                <a:gd name="connsiteY5702" fmla="*/ 574092 h 2031151"/>
                <a:gd name="connsiteX5703" fmla="*/ 990162 w 3368309"/>
                <a:gd name="connsiteY5703" fmla="*/ 575558 h 2031151"/>
                <a:gd name="connsiteX5704" fmla="*/ 997330 w 3368309"/>
                <a:gd name="connsiteY5704" fmla="*/ 575884 h 2031151"/>
                <a:gd name="connsiteX5705" fmla="*/ 997330 w 3368309"/>
                <a:gd name="connsiteY5705" fmla="*/ 575884 h 2031151"/>
                <a:gd name="connsiteX5706" fmla="*/ 1034147 w 3368309"/>
                <a:gd name="connsiteY5706" fmla="*/ 564154 h 2031151"/>
                <a:gd name="connsiteX5707" fmla="*/ 1036265 w 3368309"/>
                <a:gd name="connsiteY5707" fmla="*/ 570508 h 2031151"/>
                <a:gd name="connsiteX5708" fmla="*/ 1038872 w 3368309"/>
                <a:gd name="connsiteY5708" fmla="*/ 571811 h 2031151"/>
                <a:gd name="connsiteX5709" fmla="*/ 1041152 w 3368309"/>
                <a:gd name="connsiteY5709" fmla="*/ 569042 h 2031151"/>
                <a:gd name="connsiteX5710" fmla="*/ 1038057 w 3368309"/>
                <a:gd name="connsiteY5710" fmla="*/ 565783 h 2031151"/>
                <a:gd name="connsiteX5711" fmla="*/ 1034147 w 3368309"/>
                <a:gd name="connsiteY5711" fmla="*/ 564154 h 2031151"/>
                <a:gd name="connsiteX5712" fmla="*/ 1034147 w 3368309"/>
                <a:gd name="connsiteY5712" fmla="*/ 564154 h 2031151"/>
                <a:gd name="connsiteX5713" fmla="*/ 1012806 w 3368309"/>
                <a:gd name="connsiteY5713" fmla="*/ 560570 h 2031151"/>
                <a:gd name="connsiteX5714" fmla="*/ 1018345 w 3368309"/>
                <a:gd name="connsiteY5714" fmla="*/ 560245 h 2031151"/>
                <a:gd name="connsiteX5715" fmla="*/ 1021278 w 3368309"/>
                <a:gd name="connsiteY5715" fmla="*/ 556335 h 2031151"/>
                <a:gd name="connsiteX5716" fmla="*/ 1016879 w 3368309"/>
                <a:gd name="connsiteY5716" fmla="*/ 554706 h 2031151"/>
                <a:gd name="connsiteX5717" fmla="*/ 1013783 w 3368309"/>
                <a:gd name="connsiteY5717" fmla="*/ 555683 h 2031151"/>
                <a:gd name="connsiteX5718" fmla="*/ 1014272 w 3368309"/>
                <a:gd name="connsiteY5718" fmla="*/ 558127 h 2031151"/>
                <a:gd name="connsiteX5719" fmla="*/ 1012806 w 3368309"/>
                <a:gd name="connsiteY5719" fmla="*/ 560570 h 2031151"/>
                <a:gd name="connsiteX5720" fmla="*/ 1012806 w 3368309"/>
                <a:gd name="connsiteY5720" fmla="*/ 560570 h 2031151"/>
                <a:gd name="connsiteX5721" fmla="*/ 996189 w 3368309"/>
                <a:gd name="connsiteY5721" fmla="*/ 538741 h 2031151"/>
                <a:gd name="connsiteX5722" fmla="*/ 996189 w 3368309"/>
                <a:gd name="connsiteY5722" fmla="*/ 536460 h 2031151"/>
                <a:gd name="connsiteX5723" fmla="*/ 993420 w 3368309"/>
                <a:gd name="connsiteY5723" fmla="*/ 536134 h 2031151"/>
                <a:gd name="connsiteX5724" fmla="*/ 987392 w 3368309"/>
                <a:gd name="connsiteY5724" fmla="*/ 540696 h 2031151"/>
                <a:gd name="connsiteX5725" fmla="*/ 987392 w 3368309"/>
                <a:gd name="connsiteY5725" fmla="*/ 543628 h 2031151"/>
                <a:gd name="connsiteX5726" fmla="*/ 992117 w 3368309"/>
                <a:gd name="connsiteY5726" fmla="*/ 545746 h 2031151"/>
                <a:gd name="connsiteX5727" fmla="*/ 993257 w 3368309"/>
                <a:gd name="connsiteY5727" fmla="*/ 543954 h 2031151"/>
                <a:gd name="connsiteX5728" fmla="*/ 992280 w 3368309"/>
                <a:gd name="connsiteY5728" fmla="*/ 542162 h 2031151"/>
                <a:gd name="connsiteX5729" fmla="*/ 992931 w 3368309"/>
                <a:gd name="connsiteY5729" fmla="*/ 540696 h 2031151"/>
                <a:gd name="connsiteX5730" fmla="*/ 996189 w 3368309"/>
                <a:gd name="connsiteY5730" fmla="*/ 538903 h 2031151"/>
                <a:gd name="connsiteX5731" fmla="*/ 996189 w 3368309"/>
                <a:gd name="connsiteY5731" fmla="*/ 538903 h 2031151"/>
                <a:gd name="connsiteX5732" fmla="*/ 1009548 w 3368309"/>
                <a:gd name="connsiteY5732" fmla="*/ 535157 h 2031151"/>
                <a:gd name="connsiteX5733" fmla="*/ 1008571 w 3368309"/>
                <a:gd name="connsiteY5733" fmla="*/ 532061 h 2031151"/>
                <a:gd name="connsiteX5734" fmla="*/ 1003194 w 3368309"/>
                <a:gd name="connsiteY5734" fmla="*/ 531735 h 2031151"/>
                <a:gd name="connsiteX5735" fmla="*/ 1001728 w 3368309"/>
                <a:gd name="connsiteY5735" fmla="*/ 534016 h 2031151"/>
                <a:gd name="connsiteX5736" fmla="*/ 1002706 w 3368309"/>
                <a:gd name="connsiteY5736" fmla="*/ 538415 h 2031151"/>
                <a:gd name="connsiteX5737" fmla="*/ 1006453 w 3368309"/>
                <a:gd name="connsiteY5737" fmla="*/ 538415 h 2031151"/>
                <a:gd name="connsiteX5738" fmla="*/ 1009222 w 3368309"/>
                <a:gd name="connsiteY5738" fmla="*/ 536786 h 2031151"/>
                <a:gd name="connsiteX5739" fmla="*/ 1009711 w 3368309"/>
                <a:gd name="connsiteY5739" fmla="*/ 535157 h 2031151"/>
                <a:gd name="connsiteX5740" fmla="*/ 1009711 w 3368309"/>
                <a:gd name="connsiteY5740" fmla="*/ 535157 h 2031151"/>
                <a:gd name="connsiteX5741" fmla="*/ 1011666 w 3368309"/>
                <a:gd name="connsiteY5741" fmla="*/ 537600 h 2031151"/>
                <a:gd name="connsiteX5742" fmla="*/ 1012806 w 3368309"/>
                <a:gd name="connsiteY5742" fmla="*/ 538741 h 2031151"/>
                <a:gd name="connsiteX5743" fmla="*/ 1014761 w 3368309"/>
                <a:gd name="connsiteY5743" fmla="*/ 537926 h 2031151"/>
                <a:gd name="connsiteX5744" fmla="*/ 1019485 w 3368309"/>
                <a:gd name="connsiteY5744" fmla="*/ 533853 h 2031151"/>
                <a:gd name="connsiteX5745" fmla="*/ 1019811 w 3368309"/>
                <a:gd name="connsiteY5745" fmla="*/ 530432 h 2031151"/>
                <a:gd name="connsiteX5746" fmla="*/ 1017367 w 3368309"/>
                <a:gd name="connsiteY5746" fmla="*/ 527500 h 2031151"/>
                <a:gd name="connsiteX5747" fmla="*/ 1012806 w 3368309"/>
                <a:gd name="connsiteY5747" fmla="*/ 527500 h 2031151"/>
                <a:gd name="connsiteX5748" fmla="*/ 1012317 w 3368309"/>
                <a:gd name="connsiteY5748" fmla="*/ 531410 h 2031151"/>
                <a:gd name="connsiteX5749" fmla="*/ 1013132 w 3368309"/>
                <a:gd name="connsiteY5749" fmla="*/ 534342 h 2031151"/>
                <a:gd name="connsiteX5750" fmla="*/ 1011503 w 3368309"/>
                <a:gd name="connsiteY5750" fmla="*/ 537437 h 2031151"/>
                <a:gd name="connsiteX5751" fmla="*/ 1011503 w 3368309"/>
                <a:gd name="connsiteY5751" fmla="*/ 537437 h 2031151"/>
                <a:gd name="connsiteX5752" fmla="*/ 996352 w 3368309"/>
                <a:gd name="connsiteY5752" fmla="*/ 522287 h 2031151"/>
                <a:gd name="connsiteX5753" fmla="*/ 1000099 w 3368309"/>
                <a:gd name="connsiteY5753" fmla="*/ 517399 h 2031151"/>
                <a:gd name="connsiteX5754" fmla="*/ 998959 w 3368309"/>
                <a:gd name="connsiteY5754" fmla="*/ 515445 h 2031151"/>
                <a:gd name="connsiteX5755" fmla="*/ 995701 w 3368309"/>
                <a:gd name="connsiteY5755" fmla="*/ 514467 h 2031151"/>
                <a:gd name="connsiteX5756" fmla="*/ 991954 w 3368309"/>
                <a:gd name="connsiteY5756" fmla="*/ 516096 h 2031151"/>
                <a:gd name="connsiteX5757" fmla="*/ 987718 w 3368309"/>
                <a:gd name="connsiteY5757" fmla="*/ 517074 h 2031151"/>
                <a:gd name="connsiteX5758" fmla="*/ 988044 w 3368309"/>
                <a:gd name="connsiteY5758" fmla="*/ 518540 h 2031151"/>
                <a:gd name="connsiteX5759" fmla="*/ 994398 w 3368309"/>
                <a:gd name="connsiteY5759" fmla="*/ 520495 h 2031151"/>
                <a:gd name="connsiteX5760" fmla="*/ 996678 w 3368309"/>
                <a:gd name="connsiteY5760" fmla="*/ 522450 h 2031151"/>
                <a:gd name="connsiteX5761" fmla="*/ 996678 w 3368309"/>
                <a:gd name="connsiteY5761" fmla="*/ 522450 h 2031151"/>
                <a:gd name="connsiteX5762" fmla="*/ 1020463 w 3368309"/>
                <a:gd name="connsiteY5762" fmla="*/ 510394 h 2031151"/>
                <a:gd name="connsiteX5763" fmla="*/ 1022744 w 3368309"/>
                <a:gd name="connsiteY5763" fmla="*/ 509417 h 2031151"/>
                <a:gd name="connsiteX5764" fmla="*/ 1022418 w 3368309"/>
                <a:gd name="connsiteY5764" fmla="*/ 507625 h 2031151"/>
                <a:gd name="connsiteX5765" fmla="*/ 1020463 w 3368309"/>
                <a:gd name="connsiteY5765" fmla="*/ 504693 h 2031151"/>
                <a:gd name="connsiteX5766" fmla="*/ 1024373 w 3368309"/>
                <a:gd name="connsiteY5766" fmla="*/ 503878 h 2031151"/>
                <a:gd name="connsiteX5767" fmla="*/ 1024698 w 3368309"/>
                <a:gd name="connsiteY5767" fmla="*/ 501760 h 2031151"/>
                <a:gd name="connsiteX5768" fmla="*/ 1021440 w 3368309"/>
                <a:gd name="connsiteY5768" fmla="*/ 498013 h 2031151"/>
                <a:gd name="connsiteX5769" fmla="*/ 1015250 w 3368309"/>
                <a:gd name="connsiteY5769" fmla="*/ 497199 h 2031151"/>
                <a:gd name="connsiteX5770" fmla="*/ 1012643 w 3368309"/>
                <a:gd name="connsiteY5770" fmla="*/ 498828 h 2031151"/>
                <a:gd name="connsiteX5771" fmla="*/ 1013132 w 3368309"/>
                <a:gd name="connsiteY5771" fmla="*/ 502086 h 2031151"/>
                <a:gd name="connsiteX5772" fmla="*/ 1011829 w 3368309"/>
                <a:gd name="connsiteY5772" fmla="*/ 502412 h 2031151"/>
                <a:gd name="connsiteX5773" fmla="*/ 1008082 w 3368309"/>
                <a:gd name="connsiteY5773" fmla="*/ 500131 h 2031151"/>
                <a:gd name="connsiteX5774" fmla="*/ 1006616 w 3368309"/>
                <a:gd name="connsiteY5774" fmla="*/ 501109 h 2031151"/>
                <a:gd name="connsiteX5775" fmla="*/ 1009059 w 3368309"/>
                <a:gd name="connsiteY5775" fmla="*/ 505507 h 2031151"/>
                <a:gd name="connsiteX5776" fmla="*/ 1011992 w 3368309"/>
                <a:gd name="connsiteY5776" fmla="*/ 507299 h 2031151"/>
                <a:gd name="connsiteX5777" fmla="*/ 1017042 w 3368309"/>
                <a:gd name="connsiteY5777" fmla="*/ 507299 h 2031151"/>
                <a:gd name="connsiteX5778" fmla="*/ 1020789 w 3368309"/>
                <a:gd name="connsiteY5778" fmla="*/ 510069 h 2031151"/>
                <a:gd name="connsiteX5779" fmla="*/ 1020789 w 3368309"/>
                <a:gd name="connsiteY5779" fmla="*/ 510069 h 2031151"/>
                <a:gd name="connsiteX5780" fmla="*/ 1002054 w 3368309"/>
                <a:gd name="connsiteY5780" fmla="*/ 290304 h 2031151"/>
                <a:gd name="connsiteX5781" fmla="*/ 1004498 w 3368309"/>
                <a:gd name="connsiteY5781" fmla="*/ 289815 h 2031151"/>
                <a:gd name="connsiteX5782" fmla="*/ 1004498 w 3368309"/>
                <a:gd name="connsiteY5782" fmla="*/ 286394 h 2031151"/>
                <a:gd name="connsiteX5783" fmla="*/ 1000751 w 3368309"/>
                <a:gd name="connsiteY5783" fmla="*/ 284928 h 2031151"/>
                <a:gd name="connsiteX5784" fmla="*/ 998633 w 3368309"/>
                <a:gd name="connsiteY5784" fmla="*/ 286394 h 2031151"/>
                <a:gd name="connsiteX5785" fmla="*/ 1002054 w 3368309"/>
                <a:gd name="connsiteY5785" fmla="*/ 290467 h 2031151"/>
                <a:gd name="connsiteX5786" fmla="*/ 1002054 w 3368309"/>
                <a:gd name="connsiteY5786" fmla="*/ 290467 h 2031151"/>
                <a:gd name="connsiteX5787" fmla="*/ 973545 w 3368309"/>
                <a:gd name="connsiteY5787" fmla="*/ 335104 h 2031151"/>
                <a:gd name="connsiteX5788" fmla="*/ 974523 w 3368309"/>
                <a:gd name="connsiteY5788" fmla="*/ 338199 h 2031151"/>
                <a:gd name="connsiteX5789" fmla="*/ 977129 w 3368309"/>
                <a:gd name="connsiteY5789" fmla="*/ 338525 h 2031151"/>
                <a:gd name="connsiteX5790" fmla="*/ 981690 w 3368309"/>
                <a:gd name="connsiteY5790" fmla="*/ 336570 h 2031151"/>
                <a:gd name="connsiteX5791" fmla="*/ 983319 w 3368309"/>
                <a:gd name="connsiteY5791" fmla="*/ 333312 h 2031151"/>
                <a:gd name="connsiteX5792" fmla="*/ 982831 w 3368309"/>
                <a:gd name="connsiteY5792" fmla="*/ 326633 h 2031151"/>
                <a:gd name="connsiteX5793" fmla="*/ 979084 w 3368309"/>
                <a:gd name="connsiteY5793" fmla="*/ 323538 h 2031151"/>
                <a:gd name="connsiteX5794" fmla="*/ 975826 w 3368309"/>
                <a:gd name="connsiteY5794" fmla="*/ 323212 h 2031151"/>
                <a:gd name="connsiteX5795" fmla="*/ 973382 w 3368309"/>
                <a:gd name="connsiteY5795" fmla="*/ 325818 h 2031151"/>
                <a:gd name="connsiteX5796" fmla="*/ 973871 w 3368309"/>
                <a:gd name="connsiteY5796" fmla="*/ 330217 h 2031151"/>
                <a:gd name="connsiteX5797" fmla="*/ 973545 w 3368309"/>
                <a:gd name="connsiteY5797" fmla="*/ 335267 h 2031151"/>
                <a:gd name="connsiteX5798" fmla="*/ 973545 w 3368309"/>
                <a:gd name="connsiteY5798" fmla="*/ 335267 h 2031151"/>
                <a:gd name="connsiteX5799" fmla="*/ 1086930 w 3368309"/>
                <a:gd name="connsiteY5799" fmla="*/ 325818 h 2031151"/>
                <a:gd name="connsiteX5800" fmla="*/ 1089373 w 3368309"/>
                <a:gd name="connsiteY5800" fmla="*/ 325818 h 2031151"/>
                <a:gd name="connsiteX5801" fmla="*/ 1093935 w 3368309"/>
                <a:gd name="connsiteY5801" fmla="*/ 324189 h 2031151"/>
                <a:gd name="connsiteX5802" fmla="*/ 1097356 w 3368309"/>
                <a:gd name="connsiteY5802" fmla="*/ 320279 h 2031151"/>
                <a:gd name="connsiteX5803" fmla="*/ 1099637 w 3368309"/>
                <a:gd name="connsiteY5803" fmla="*/ 319954 h 2031151"/>
                <a:gd name="connsiteX5804" fmla="*/ 1099962 w 3368309"/>
                <a:gd name="connsiteY5804" fmla="*/ 322234 h 2031151"/>
                <a:gd name="connsiteX5805" fmla="*/ 1098333 w 3368309"/>
                <a:gd name="connsiteY5805" fmla="*/ 325004 h 2031151"/>
                <a:gd name="connsiteX5806" fmla="*/ 1103546 w 3368309"/>
                <a:gd name="connsiteY5806" fmla="*/ 321420 h 2031151"/>
                <a:gd name="connsiteX5807" fmla="*/ 1107945 w 3368309"/>
                <a:gd name="connsiteY5807" fmla="*/ 316370 h 2031151"/>
                <a:gd name="connsiteX5808" fmla="*/ 1108271 w 3368309"/>
                <a:gd name="connsiteY5808" fmla="*/ 311971 h 2031151"/>
                <a:gd name="connsiteX5809" fmla="*/ 1111203 w 3368309"/>
                <a:gd name="connsiteY5809" fmla="*/ 310016 h 2031151"/>
                <a:gd name="connsiteX5810" fmla="*/ 1111203 w 3368309"/>
                <a:gd name="connsiteY5810" fmla="*/ 304151 h 2031151"/>
                <a:gd name="connsiteX5811" fmla="*/ 1109248 w 3368309"/>
                <a:gd name="connsiteY5811" fmla="*/ 302522 h 2031151"/>
                <a:gd name="connsiteX5812" fmla="*/ 1106642 w 3368309"/>
                <a:gd name="connsiteY5812" fmla="*/ 303663 h 2031151"/>
                <a:gd name="connsiteX5813" fmla="*/ 1104850 w 3368309"/>
                <a:gd name="connsiteY5813" fmla="*/ 306106 h 2031151"/>
                <a:gd name="connsiteX5814" fmla="*/ 1100126 w 3368309"/>
                <a:gd name="connsiteY5814" fmla="*/ 310016 h 2031151"/>
                <a:gd name="connsiteX5815" fmla="*/ 1093935 w 3368309"/>
                <a:gd name="connsiteY5815" fmla="*/ 313111 h 2031151"/>
                <a:gd name="connsiteX5816" fmla="*/ 1088885 w 3368309"/>
                <a:gd name="connsiteY5816" fmla="*/ 320116 h 2031151"/>
                <a:gd name="connsiteX5817" fmla="*/ 1086604 w 3368309"/>
                <a:gd name="connsiteY5817" fmla="*/ 325818 h 2031151"/>
                <a:gd name="connsiteX5818" fmla="*/ 1086604 w 3368309"/>
                <a:gd name="connsiteY5818" fmla="*/ 325818 h 2031151"/>
                <a:gd name="connsiteX5819" fmla="*/ 1137106 w 3368309"/>
                <a:gd name="connsiteY5819" fmla="*/ 329728 h 2031151"/>
                <a:gd name="connsiteX5820" fmla="*/ 1142645 w 3368309"/>
                <a:gd name="connsiteY5820" fmla="*/ 328588 h 2031151"/>
                <a:gd name="connsiteX5821" fmla="*/ 1145251 w 3368309"/>
                <a:gd name="connsiteY5821" fmla="*/ 324841 h 2031151"/>
                <a:gd name="connsiteX5822" fmla="*/ 1141505 w 3368309"/>
                <a:gd name="connsiteY5822" fmla="*/ 323863 h 2031151"/>
                <a:gd name="connsiteX5823" fmla="*/ 1137432 w 3368309"/>
                <a:gd name="connsiteY5823" fmla="*/ 325655 h 2031151"/>
                <a:gd name="connsiteX5824" fmla="*/ 1136128 w 3368309"/>
                <a:gd name="connsiteY5824" fmla="*/ 328262 h 2031151"/>
                <a:gd name="connsiteX5825" fmla="*/ 1137269 w 3368309"/>
                <a:gd name="connsiteY5825" fmla="*/ 329728 h 2031151"/>
                <a:gd name="connsiteX5826" fmla="*/ 1137269 w 3368309"/>
                <a:gd name="connsiteY5826" fmla="*/ 329728 h 2031151"/>
                <a:gd name="connsiteX5827" fmla="*/ 1145089 w 3368309"/>
                <a:gd name="connsiteY5827" fmla="*/ 341132 h 2031151"/>
                <a:gd name="connsiteX5828" fmla="*/ 1147369 w 3368309"/>
                <a:gd name="connsiteY5828" fmla="*/ 341132 h 2031151"/>
                <a:gd name="connsiteX5829" fmla="*/ 1149487 w 3368309"/>
                <a:gd name="connsiteY5829" fmla="*/ 339828 h 2031151"/>
                <a:gd name="connsiteX5830" fmla="*/ 1150464 w 3368309"/>
                <a:gd name="connsiteY5830" fmla="*/ 336896 h 2031151"/>
                <a:gd name="connsiteX5831" fmla="*/ 1146229 w 3368309"/>
                <a:gd name="connsiteY5831" fmla="*/ 335267 h 2031151"/>
                <a:gd name="connsiteX5832" fmla="*/ 1143948 w 3368309"/>
                <a:gd name="connsiteY5832" fmla="*/ 331520 h 2031151"/>
                <a:gd name="connsiteX5833" fmla="*/ 1141993 w 3368309"/>
                <a:gd name="connsiteY5833" fmla="*/ 331520 h 2031151"/>
                <a:gd name="connsiteX5834" fmla="*/ 1141667 w 3368309"/>
                <a:gd name="connsiteY5834" fmla="*/ 333475 h 2031151"/>
                <a:gd name="connsiteX5835" fmla="*/ 1144274 w 3368309"/>
                <a:gd name="connsiteY5835" fmla="*/ 336407 h 2031151"/>
                <a:gd name="connsiteX5836" fmla="*/ 1145251 w 3368309"/>
                <a:gd name="connsiteY5836" fmla="*/ 340969 h 2031151"/>
                <a:gd name="connsiteX5837" fmla="*/ 1145251 w 3368309"/>
                <a:gd name="connsiteY5837" fmla="*/ 340969 h 2031151"/>
                <a:gd name="connsiteX5838" fmla="*/ 1100777 w 3368309"/>
                <a:gd name="connsiteY5838" fmla="*/ 353187 h 2031151"/>
                <a:gd name="connsiteX5839" fmla="*/ 1106153 w 3368309"/>
                <a:gd name="connsiteY5839" fmla="*/ 351232 h 2031151"/>
                <a:gd name="connsiteX5840" fmla="*/ 1105664 w 3368309"/>
                <a:gd name="connsiteY5840" fmla="*/ 348626 h 2031151"/>
                <a:gd name="connsiteX5841" fmla="*/ 1102406 w 3368309"/>
                <a:gd name="connsiteY5841" fmla="*/ 346182 h 2031151"/>
                <a:gd name="connsiteX5842" fmla="*/ 1100126 w 3368309"/>
                <a:gd name="connsiteY5842" fmla="*/ 349440 h 2031151"/>
                <a:gd name="connsiteX5843" fmla="*/ 1094587 w 3368309"/>
                <a:gd name="connsiteY5843" fmla="*/ 351395 h 2031151"/>
                <a:gd name="connsiteX5844" fmla="*/ 1096053 w 3368309"/>
                <a:gd name="connsiteY5844" fmla="*/ 353513 h 2031151"/>
                <a:gd name="connsiteX5845" fmla="*/ 1100777 w 3368309"/>
                <a:gd name="connsiteY5845" fmla="*/ 353024 h 2031151"/>
                <a:gd name="connsiteX5846" fmla="*/ 1100777 w 3368309"/>
                <a:gd name="connsiteY5846" fmla="*/ 353024 h 2031151"/>
                <a:gd name="connsiteX5847" fmla="*/ 1126028 w 3368309"/>
                <a:gd name="connsiteY5847" fmla="*/ 354002 h 2031151"/>
                <a:gd name="connsiteX5848" fmla="*/ 1128309 w 3368309"/>
                <a:gd name="connsiteY5848" fmla="*/ 351558 h 2031151"/>
                <a:gd name="connsiteX5849" fmla="*/ 1128798 w 3368309"/>
                <a:gd name="connsiteY5849" fmla="*/ 347648 h 2031151"/>
                <a:gd name="connsiteX5850" fmla="*/ 1127005 w 3368309"/>
                <a:gd name="connsiteY5850" fmla="*/ 346182 h 2031151"/>
                <a:gd name="connsiteX5851" fmla="*/ 1127331 w 3368309"/>
                <a:gd name="connsiteY5851" fmla="*/ 340480 h 2031151"/>
                <a:gd name="connsiteX5852" fmla="*/ 1124236 w 3368309"/>
                <a:gd name="connsiteY5852" fmla="*/ 340480 h 2031151"/>
                <a:gd name="connsiteX5853" fmla="*/ 1121792 w 3368309"/>
                <a:gd name="connsiteY5853" fmla="*/ 342761 h 2031151"/>
                <a:gd name="connsiteX5854" fmla="*/ 1120489 w 3368309"/>
                <a:gd name="connsiteY5854" fmla="*/ 346671 h 2031151"/>
                <a:gd name="connsiteX5855" fmla="*/ 1116253 w 3368309"/>
                <a:gd name="connsiteY5855" fmla="*/ 349929 h 2031151"/>
                <a:gd name="connsiteX5856" fmla="*/ 1117231 w 3368309"/>
                <a:gd name="connsiteY5856" fmla="*/ 351721 h 2031151"/>
                <a:gd name="connsiteX5857" fmla="*/ 1120000 w 3368309"/>
                <a:gd name="connsiteY5857" fmla="*/ 350743 h 2031151"/>
                <a:gd name="connsiteX5858" fmla="*/ 1123096 w 3368309"/>
                <a:gd name="connsiteY5858" fmla="*/ 347811 h 2031151"/>
                <a:gd name="connsiteX5859" fmla="*/ 1124888 w 3368309"/>
                <a:gd name="connsiteY5859" fmla="*/ 349277 h 2031151"/>
                <a:gd name="connsiteX5860" fmla="*/ 1126191 w 3368309"/>
                <a:gd name="connsiteY5860" fmla="*/ 354002 h 2031151"/>
                <a:gd name="connsiteX5861" fmla="*/ 1126191 w 3368309"/>
                <a:gd name="connsiteY5861" fmla="*/ 354002 h 2031151"/>
                <a:gd name="connsiteX5862" fmla="*/ 1128309 w 3368309"/>
                <a:gd name="connsiteY5862" fmla="*/ 379415 h 2031151"/>
                <a:gd name="connsiteX5863" fmla="*/ 1132056 w 3368309"/>
                <a:gd name="connsiteY5863" fmla="*/ 378601 h 2031151"/>
                <a:gd name="connsiteX5864" fmla="*/ 1134662 w 3368309"/>
                <a:gd name="connsiteY5864" fmla="*/ 381045 h 2031151"/>
                <a:gd name="connsiteX5865" fmla="*/ 1139387 w 3368309"/>
                <a:gd name="connsiteY5865" fmla="*/ 381045 h 2031151"/>
                <a:gd name="connsiteX5866" fmla="*/ 1142645 w 3368309"/>
                <a:gd name="connsiteY5866" fmla="*/ 379741 h 2031151"/>
                <a:gd name="connsiteX5867" fmla="*/ 1147858 w 3368309"/>
                <a:gd name="connsiteY5867" fmla="*/ 380556 h 2031151"/>
                <a:gd name="connsiteX5868" fmla="*/ 1151767 w 3368309"/>
                <a:gd name="connsiteY5868" fmla="*/ 379578 h 2031151"/>
                <a:gd name="connsiteX5869" fmla="*/ 1153560 w 3368309"/>
                <a:gd name="connsiteY5869" fmla="*/ 376320 h 2031151"/>
                <a:gd name="connsiteX5870" fmla="*/ 1153560 w 3368309"/>
                <a:gd name="connsiteY5870" fmla="*/ 374365 h 2031151"/>
                <a:gd name="connsiteX5871" fmla="*/ 1151931 w 3368309"/>
                <a:gd name="connsiteY5871" fmla="*/ 373876 h 2031151"/>
                <a:gd name="connsiteX5872" fmla="*/ 1152908 w 3368309"/>
                <a:gd name="connsiteY5872" fmla="*/ 371433 h 2031151"/>
                <a:gd name="connsiteX5873" fmla="*/ 1151442 w 3368309"/>
                <a:gd name="connsiteY5873" fmla="*/ 367034 h 2031151"/>
                <a:gd name="connsiteX5874" fmla="*/ 1147369 w 3368309"/>
                <a:gd name="connsiteY5874" fmla="*/ 367034 h 2031151"/>
                <a:gd name="connsiteX5875" fmla="*/ 1144762 w 3368309"/>
                <a:gd name="connsiteY5875" fmla="*/ 369804 h 2031151"/>
                <a:gd name="connsiteX5876" fmla="*/ 1145577 w 3368309"/>
                <a:gd name="connsiteY5876" fmla="*/ 372410 h 2031151"/>
                <a:gd name="connsiteX5877" fmla="*/ 1143785 w 3368309"/>
                <a:gd name="connsiteY5877" fmla="*/ 373388 h 2031151"/>
                <a:gd name="connsiteX5878" fmla="*/ 1141342 w 3368309"/>
                <a:gd name="connsiteY5878" fmla="*/ 372573 h 2031151"/>
                <a:gd name="connsiteX5879" fmla="*/ 1139549 w 3368309"/>
                <a:gd name="connsiteY5879" fmla="*/ 370293 h 2031151"/>
                <a:gd name="connsiteX5880" fmla="*/ 1137594 w 3368309"/>
                <a:gd name="connsiteY5880" fmla="*/ 370293 h 2031151"/>
                <a:gd name="connsiteX5881" fmla="*/ 1135314 w 3368309"/>
                <a:gd name="connsiteY5881" fmla="*/ 373225 h 2031151"/>
                <a:gd name="connsiteX5882" fmla="*/ 1132707 w 3368309"/>
                <a:gd name="connsiteY5882" fmla="*/ 374528 h 2031151"/>
                <a:gd name="connsiteX5883" fmla="*/ 1128960 w 3368309"/>
                <a:gd name="connsiteY5883" fmla="*/ 374039 h 2031151"/>
                <a:gd name="connsiteX5884" fmla="*/ 1126680 w 3368309"/>
                <a:gd name="connsiteY5884" fmla="*/ 377623 h 2031151"/>
                <a:gd name="connsiteX5885" fmla="*/ 1128309 w 3368309"/>
                <a:gd name="connsiteY5885" fmla="*/ 379578 h 2031151"/>
                <a:gd name="connsiteX5886" fmla="*/ 1128309 w 3368309"/>
                <a:gd name="connsiteY5886" fmla="*/ 379578 h 2031151"/>
                <a:gd name="connsiteX5887" fmla="*/ 669068 w 3368309"/>
                <a:gd name="connsiteY5887" fmla="*/ 228236 h 2031151"/>
                <a:gd name="connsiteX5888" fmla="*/ 674281 w 3368309"/>
                <a:gd name="connsiteY5888" fmla="*/ 229213 h 2031151"/>
                <a:gd name="connsiteX5889" fmla="*/ 678028 w 3368309"/>
                <a:gd name="connsiteY5889" fmla="*/ 232471 h 2031151"/>
                <a:gd name="connsiteX5890" fmla="*/ 680634 w 3368309"/>
                <a:gd name="connsiteY5890" fmla="*/ 232471 h 2031151"/>
                <a:gd name="connsiteX5891" fmla="*/ 687802 w 3368309"/>
                <a:gd name="connsiteY5891" fmla="*/ 229050 h 2031151"/>
                <a:gd name="connsiteX5892" fmla="*/ 688454 w 3368309"/>
                <a:gd name="connsiteY5892" fmla="*/ 226281 h 2031151"/>
                <a:gd name="connsiteX5893" fmla="*/ 685685 w 3368309"/>
                <a:gd name="connsiteY5893" fmla="*/ 225140 h 2031151"/>
                <a:gd name="connsiteX5894" fmla="*/ 679005 w 3368309"/>
                <a:gd name="connsiteY5894" fmla="*/ 226770 h 2031151"/>
                <a:gd name="connsiteX5895" fmla="*/ 674933 w 3368309"/>
                <a:gd name="connsiteY5895" fmla="*/ 225466 h 2031151"/>
                <a:gd name="connsiteX5896" fmla="*/ 671837 w 3368309"/>
                <a:gd name="connsiteY5896" fmla="*/ 223348 h 2031151"/>
                <a:gd name="connsiteX5897" fmla="*/ 668742 w 3368309"/>
                <a:gd name="connsiteY5897" fmla="*/ 224163 h 2031151"/>
                <a:gd name="connsiteX5898" fmla="*/ 667764 w 3368309"/>
                <a:gd name="connsiteY5898" fmla="*/ 226770 h 2031151"/>
                <a:gd name="connsiteX5899" fmla="*/ 669068 w 3368309"/>
                <a:gd name="connsiteY5899" fmla="*/ 228399 h 2031151"/>
                <a:gd name="connsiteX5900" fmla="*/ 669068 w 3368309"/>
                <a:gd name="connsiteY5900" fmla="*/ 228399 h 2031151"/>
                <a:gd name="connsiteX5901" fmla="*/ 657012 w 3368309"/>
                <a:gd name="connsiteY5901" fmla="*/ 119412 h 2031151"/>
                <a:gd name="connsiteX5902" fmla="*/ 655221 w 3368309"/>
                <a:gd name="connsiteY5902" fmla="*/ 117132 h 2031151"/>
                <a:gd name="connsiteX5903" fmla="*/ 655221 w 3368309"/>
                <a:gd name="connsiteY5903" fmla="*/ 113385 h 2031151"/>
                <a:gd name="connsiteX5904" fmla="*/ 661900 w 3368309"/>
                <a:gd name="connsiteY5904" fmla="*/ 108009 h 2031151"/>
                <a:gd name="connsiteX5905" fmla="*/ 670371 w 3368309"/>
                <a:gd name="connsiteY5905" fmla="*/ 107520 h 2031151"/>
                <a:gd name="connsiteX5906" fmla="*/ 677539 w 3368309"/>
                <a:gd name="connsiteY5906" fmla="*/ 109312 h 2031151"/>
                <a:gd name="connsiteX5907" fmla="*/ 679820 w 3368309"/>
                <a:gd name="connsiteY5907" fmla="*/ 114362 h 2031151"/>
                <a:gd name="connsiteX5908" fmla="*/ 676887 w 3368309"/>
                <a:gd name="connsiteY5908" fmla="*/ 118272 h 2031151"/>
                <a:gd name="connsiteX5909" fmla="*/ 670534 w 3368309"/>
                <a:gd name="connsiteY5909" fmla="*/ 120227 h 2031151"/>
                <a:gd name="connsiteX5910" fmla="*/ 661085 w 3368309"/>
                <a:gd name="connsiteY5910" fmla="*/ 120227 h 2031151"/>
                <a:gd name="connsiteX5911" fmla="*/ 657339 w 3368309"/>
                <a:gd name="connsiteY5911" fmla="*/ 119249 h 2031151"/>
                <a:gd name="connsiteX5912" fmla="*/ 657339 w 3368309"/>
                <a:gd name="connsiteY5912" fmla="*/ 119249 h 2031151"/>
                <a:gd name="connsiteX5913" fmla="*/ 816012 w 3368309"/>
                <a:gd name="connsiteY5913" fmla="*/ 37469 h 2031151"/>
                <a:gd name="connsiteX5914" fmla="*/ 820736 w 3368309"/>
                <a:gd name="connsiteY5914" fmla="*/ 32419 h 2031151"/>
                <a:gd name="connsiteX5915" fmla="*/ 823669 w 3368309"/>
                <a:gd name="connsiteY5915" fmla="*/ 28020 h 2031151"/>
                <a:gd name="connsiteX5916" fmla="*/ 830999 w 3368309"/>
                <a:gd name="connsiteY5916" fmla="*/ 27369 h 2031151"/>
                <a:gd name="connsiteX5917" fmla="*/ 837190 w 3368309"/>
                <a:gd name="connsiteY5917" fmla="*/ 28998 h 2031151"/>
                <a:gd name="connsiteX5918" fmla="*/ 835072 w 3368309"/>
                <a:gd name="connsiteY5918" fmla="*/ 32256 h 2031151"/>
                <a:gd name="connsiteX5919" fmla="*/ 834421 w 3368309"/>
                <a:gd name="connsiteY5919" fmla="*/ 35840 h 2031151"/>
                <a:gd name="connsiteX5920" fmla="*/ 830022 w 3368309"/>
                <a:gd name="connsiteY5920" fmla="*/ 40076 h 2031151"/>
                <a:gd name="connsiteX5921" fmla="*/ 823832 w 3368309"/>
                <a:gd name="connsiteY5921" fmla="*/ 41379 h 2031151"/>
                <a:gd name="connsiteX5922" fmla="*/ 818619 w 3368309"/>
                <a:gd name="connsiteY5922" fmla="*/ 40076 h 2031151"/>
                <a:gd name="connsiteX5923" fmla="*/ 815849 w 3368309"/>
                <a:gd name="connsiteY5923" fmla="*/ 37632 h 2031151"/>
                <a:gd name="connsiteX5924" fmla="*/ 815849 w 3368309"/>
                <a:gd name="connsiteY5924" fmla="*/ 37632 h 2031151"/>
                <a:gd name="connsiteX5925" fmla="*/ 930374 w 3368309"/>
                <a:gd name="connsiteY5925" fmla="*/ 109638 h 2031151"/>
                <a:gd name="connsiteX5926" fmla="*/ 939008 w 3368309"/>
                <a:gd name="connsiteY5926" fmla="*/ 104588 h 2031151"/>
                <a:gd name="connsiteX5927" fmla="*/ 942430 w 3368309"/>
                <a:gd name="connsiteY5927" fmla="*/ 99375 h 2031151"/>
                <a:gd name="connsiteX5928" fmla="*/ 942918 w 3368309"/>
                <a:gd name="connsiteY5928" fmla="*/ 94324 h 2031151"/>
                <a:gd name="connsiteX5929" fmla="*/ 949108 w 3368309"/>
                <a:gd name="connsiteY5929" fmla="*/ 88297 h 2031151"/>
                <a:gd name="connsiteX5930" fmla="*/ 959046 w 3368309"/>
                <a:gd name="connsiteY5930" fmla="*/ 81129 h 2031151"/>
                <a:gd name="connsiteX5931" fmla="*/ 965889 w 3368309"/>
                <a:gd name="connsiteY5931" fmla="*/ 77219 h 2031151"/>
                <a:gd name="connsiteX5932" fmla="*/ 968332 w 3368309"/>
                <a:gd name="connsiteY5932" fmla="*/ 72820 h 2031151"/>
                <a:gd name="connsiteX5933" fmla="*/ 967843 w 3368309"/>
                <a:gd name="connsiteY5933" fmla="*/ 67444 h 2031151"/>
                <a:gd name="connsiteX5934" fmla="*/ 959209 w 3368309"/>
                <a:gd name="connsiteY5934" fmla="*/ 62720 h 2031151"/>
                <a:gd name="connsiteX5935" fmla="*/ 951389 w 3368309"/>
                <a:gd name="connsiteY5935" fmla="*/ 55389 h 2031151"/>
                <a:gd name="connsiteX5936" fmla="*/ 946828 w 3368309"/>
                <a:gd name="connsiteY5936" fmla="*/ 47081 h 2031151"/>
                <a:gd name="connsiteX5937" fmla="*/ 947154 w 3368309"/>
                <a:gd name="connsiteY5937" fmla="*/ 41542 h 2031151"/>
                <a:gd name="connsiteX5938" fmla="*/ 949923 w 3368309"/>
                <a:gd name="connsiteY5938" fmla="*/ 36166 h 2031151"/>
                <a:gd name="connsiteX5939" fmla="*/ 949923 w 3368309"/>
                <a:gd name="connsiteY5939" fmla="*/ 31930 h 2031151"/>
                <a:gd name="connsiteX5940" fmla="*/ 947642 w 3368309"/>
                <a:gd name="connsiteY5940" fmla="*/ 30464 h 2031151"/>
                <a:gd name="connsiteX5941" fmla="*/ 934935 w 3368309"/>
                <a:gd name="connsiteY5941" fmla="*/ 30464 h 2031151"/>
                <a:gd name="connsiteX5942" fmla="*/ 925324 w 3368309"/>
                <a:gd name="connsiteY5942" fmla="*/ 27695 h 2031151"/>
                <a:gd name="connsiteX5943" fmla="*/ 918644 w 3368309"/>
                <a:gd name="connsiteY5943" fmla="*/ 22970 h 2031151"/>
                <a:gd name="connsiteX5944" fmla="*/ 908381 w 3368309"/>
                <a:gd name="connsiteY5944" fmla="*/ 10426 h 2031151"/>
                <a:gd name="connsiteX5945" fmla="*/ 900887 w 3368309"/>
                <a:gd name="connsiteY5945" fmla="*/ 4561 h 2031151"/>
                <a:gd name="connsiteX5946" fmla="*/ 892416 w 3368309"/>
                <a:gd name="connsiteY5946" fmla="*/ 326 h 2031151"/>
                <a:gd name="connsiteX5947" fmla="*/ 888669 w 3368309"/>
                <a:gd name="connsiteY5947" fmla="*/ 0 h 2031151"/>
                <a:gd name="connsiteX5948" fmla="*/ 887203 w 3368309"/>
                <a:gd name="connsiteY5948" fmla="*/ 2281 h 2031151"/>
                <a:gd name="connsiteX5949" fmla="*/ 886063 w 3368309"/>
                <a:gd name="connsiteY5949" fmla="*/ 6516 h 2031151"/>
                <a:gd name="connsiteX5950" fmla="*/ 887203 w 3368309"/>
                <a:gd name="connsiteY5950" fmla="*/ 10426 h 2031151"/>
                <a:gd name="connsiteX5951" fmla="*/ 887203 w 3368309"/>
                <a:gd name="connsiteY5951" fmla="*/ 17431 h 2031151"/>
                <a:gd name="connsiteX5952" fmla="*/ 882642 w 3368309"/>
                <a:gd name="connsiteY5952" fmla="*/ 23459 h 2031151"/>
                <a:gd name="connsiteX5953" fmla="*/ 878080 w 3368309"/>
                <a:gd name="connsiteY5953" fmla="*/ 31116 h 2031151"/>
                <a:gd name="connsiteX5954" fmla="*/ 872704 w 3368309"/>
                <a:gd name="connsiteY5954" fmla="*/ 37795 h 2031151"/>
                <a:gd name="connsiteX5955" fmla="*/ 871890 w 3368309"/>
                <a:gd name="connsiteY5955" fmla="*/ 43008 h 2031151"/>
                <a:gd name="connsiteX5956" fmla="*/ 872704 w 3368309"/>
                <a:gd name="connsiteY5956" fmla="*/ 63372 h 2031151"/>
                <a:gd name="connsiteX5957" fmla="*/ 876125 w 3368309"/>
                <a:gd name="connsiteY5957" fmla="*/ 68585 h 2031151"/>
                <a:gd name="connsiteX5958" fmla="*/ 880687 w 3368309"/>
                <a:gd name="connsiteY5958" fmla="*/ 71354 h 2031151"/>
                <a:gd name="connsiteX5959" fmla="*/ 881339 w 3368309"/>
                <a:gd name="connsiteY5959" fmla="*/ 76404 h 2031151"/>
                <a:gd name="connsiteX5960" fmla="*/ 879546 w 3368309"/>
                <a:gd name="connsiteY5960" fmla="*/ 90415 h 2031151"/>
                <a:gd name="connsiteX5961" fmla="*/ 876940 w 3368309"/>
                <a:gd name="connsiteY5961" fmla="*/ 95791 h 2031151"/>
                <a:gd name="connsiteX5962" fmla="*/ 875311 w 3368309"/>
                <a:gd name="connsiteY5962" fmla="*/ 100189 h 2031151"/>
                <a:gd name="connsiteX5963" fmla="*/ 876777 w 3368309"/>
                <a:gd name="connsiteY5963" fmla="*/ 103773 h 2031151"/>
                <a:gd name="connsiteX5964" fmla="*/ 879383 w 3368309"/>
                <a:gd name="connsiteY5964" fmla="*/ 102959 h 2031151"/>
                <a:gd name="connsiteX5965" fmla="*/ 882479 w 3368309"/>
                <a:gd name="connsiteY5965" fmla="*/ 97745 h 2031151"/>
                <a:gd name="connsiteX5966" fmla="*/ 889158 w 3368309"/>
                <a:gd name="connsiteY5966" fmla="*/ 95302 h 2031151"/>
                <a:gd name="connsiteX5967" fmla="*/ 891439 w 3368309"/>
                <a:gd name="connsiteY5967" fmla="*/ 97094 h 2031151"/>
                <a:gd name="connsiteX5968" fmla="*/ 892905 w 3368309"/>
                <a:gd name="connsiteY5968" fmla="*/ 102144 h 2031151"/>
                <a:gd name="connsiteX5969" fmla="*/ 900399 w 3368309"/>
                <a:gd name="connsiteY5969" fmla="*/ 107520 h 2031151"/>
                <a:gd name="connsiteX5970" fmla="*/ 904471 w 3368309"/>
                <a:gd name="connsiteY5970" fmla="*/ 107520 h 2031151"/>
                <a:gd name="connsiteX5971" fmla="*/ 906915 w 3368309"/>
                <a:gd name="connsiteY5971" fmla="*/ 105076 h 2031151"/>
                <a:gd name="connsiteX5972" fmla="*/ 911151 w 3368309"/>
                <a:gd name="connsiteY5972" fmla="*/ 105891 h 2031151"/>
                <a:gd name="connsiteX5973" fmla="*/ 917830 w 3368309"/>
                <a:gd name="connsiteY5973" fmla="*/ 109801 h 2031151"/>
                <a:gd name="connsiteX5974" fmla="*/ 924346 w 3368309"/>
                <a:gd name="connsiteY5974" fmla="*/ 110778 h 2031151"/>
                <a:gd name="connsiteX5975" fmla="*/ 930048 w 3368309"/>
                <a:gd name="connsiteY5975" fmla="*/ 109964 h 2031151"/>
                <a:gd name="connsiteX5976" fmla="*/ 930048 w 3368309"/>
                <a:gd name="connsiteY5976" fmla="*/ 109964 h 2031151"/>
                <a:gd name="connsiteX5977" fmla="*/ 906589 w 3368309"/>
                <a:gd name="connsiteY5977" fmla="*/ 145152 h 2031151"/>
                <a:gd name="connsiteX5978" fmla="*/ 906915 w 3368309"/>
                <a:gd name="connsiteY5978" fmla="*/ 147433 h 2031151"/>
                <a:gd name="connsiteX5979" fmla="*/ 911640 w 3368309"/>
                <a:gd name="connsiteY5979" fmla="*/ 150202 h 2031151"/>
                <a:gd name="connsiteX5980" fmla="*/ 917016 w 3368309"/>
                <a:gd name="connsiteY5980" fmla="*/ 150691 h 2031151"/>
                <a:gd name="connsiteX5981" fmla="*/ 922066 w 3368309"/>
                <a:gd name="connsiteY5981" fmla="*/ 146944 h 2031151"/>
                <a:gd name="connsiteX5982" fmla="*/ 927930 w 3368309"/>
                <a:gd name="connsiteY5982" fmla="*/ 141894 h 2031151"/>
                <a:gd name="connsiteX5983" fmla="*/ 931514 w 3368309"/>
                <a:gd name="connsiteY5983" fmla="*/ 139939 h 2031151"/>
                <a:gd name="connsiteX5984" fmla="*/ 933795 w 3368309"/>
                <a:gd name="connsiteY5984" fmla="*/ 132934 h 2031151"/>
                <a:gd name="connsiteX5985" fmla="*/ 936728 w 3368309"/>
                <a:gd name="connsiteY5985" fmla="*/ 125277 h 2031151"/>
                <a:gd name="connsiteX5986" fmla="*/ 935587 w 3368309"/>
                <a:gd name="connsiteY5986" fmla="*/ 121693 h 2031151"/>
                <a:gd name="connsiteX5987" fmla="*/ 924835 w 3368309"/>
                <a:gd name="connsiteY5987" fmla="*/ 115991 h 2031151"/>
                <a:gd name="connsiteX5988" fmla="*/ 915875 w 3368309"/>
                <a:gd name="connsiteY5988" fmla="*/ 114525 h 2031151"/>
                <a:gd name="connsiteX5989" fmla="*/ 908055 w 3368309"/>
                <a:gd name="connsiteY5989" fmla="*/ 116154 h 2031151"/>
                <a:gd name="connsiteX5990" fmla="*/ 903494 w 3368309"/>
                <a:gd name="connsiteY5990" fmla="*/ 118435 h 2031151"/>
                <a:gd name="connsiteX5991" fmla="*/ 898770 w 3368309"/>
                <a:gd name="connsiteY5991" fmla="*/ 116480 h 2031151"/>
                <a:gd name="connsiteX5992" fmla="*/ 895674 w 3368309"/>
                <a:gd name="connsiteY5992" fmla="*/ 116480 h 2031151"/>
                <a:gd name="connsiteX5993" fmla="*/ 891113 w 3368309"/>
                <a:gd name="connsiteY5993" fmla="*/ 120227 h 2031151"/>
                <a:gd name="connsiteX5994" fmla="*/ 884923 w 3368309"/>
                <a:gd name="connsiteY5994" fmla="*/ 120227 h 2031151"/>
                <a:gd name="connsiteX5995" fmla="*/ 883456 w 3368309"/>
                <a:gd name="connsiteY5995" fmla="*/ 121693 h 2031151"/>
                <a:gd name="connsiteX5996" fmla="*/ 885411 w 3368309"/>
                <a:gd name="connsiteY5996" fmla="*/ 125114 h 2031151"/>
                <a:gd name="connsiteX5997" fmla="*/ 891765 w 3368309"/>
                <a:gd name="connsiteY5997" fmla="*/ 126418 h 2031151"/>
                <a:gd name="connsiteX5998" fmla="*/ 894371 w 3368309"/>
                <a:gd name="connsiteY5998" fmla="*/ 130653 h 2031151"/>
                <a:gd name="connsiteX5999" fmla="*/ 899747 w 3368309"/>
                <a:gd name="connsiteY5999" fmla="*/ 133260 h 2031151"/>
                <a:gd name="connsiteX6000" fmla="*/ 903005 w 3368309"/>
                <a:gd name="connsiteY6000" fmla="*/ 138310 h 2031151"/>
                <a:gd name="connsiteX6001" fmla="*/ 909522 w 3368309"/>
                <a:gd name="connsiteY6001" fmla="*/ 140591 h 2031151"/>
                <a:gd name="connsiteX6002" fmla="*/ 918971 w 3368309"/>
                <a:gd name="connsiteY6002" fmla="*/ 140265 h 2031151"/>
                <a:gd name="connsiteX6003" fmla="*/ 922392 w 3368309"/>
                <a:gd name="connsiteY6003" fmla="*/ 141405 h 2031151"/>
                <a:gd name="connsiteX6004" fmla="*/ 920274 w 3368309"/>
                <a:gd name="connsiteY6004" fmla="*/ 143034 h 2031151"/>
                <a:gd name="connsiteX6005" fmla="*/ 913106 w 3368309"/>
                <a:gd name="connsiteY6005" fmla="*/ 144989 h 2031151"/>
                <a:gd name="connsiteX6006" fmla="*/ 907078 w 3368309"/>
                <a:gd name="connsiteY6006" fmla="*/ 144989 h 2031151"/>
                <a:gd name="connsiteX6007" fmla="*/ 1079925 w 3368309"/>
                <a:gd name="connsiteY6007" fmla="*/ 160628 h 2031151"/>
                <a:gd name="connsiteX6008" fmla="*/ 1079925 w 3368309"/>
                <a:gd name="connsiteY6008" fmla="*/ 164701 h 2031151"/>
                <a:gd name="connsiteX6009" fmla="*/ 1073897 w 3368309"/>
                <a:gd name="connsiteY6009" fmla="*/ 172847 h 2031151"/>
                <a:gd name="connsiteX6010" fmla="*/ 1066566 w 3368309"/>
                <a:gd name="connsiteY6010" fmla="*/ 174802 h 2031151"/>
                <a:gd name="connsiteX6011" fmla="*/ 1060539 w 3368309"/>
                <a:gd name="connsiteY6011" fmla="*/ 180666 h 2031151"/>
                <a:gd name="connsiteX6012" fmla="*/ 1055814 w 3368309"/>
                <a:gd name="connsiteY6012" fmla="*/ 184413 h 2031151"/>
                <a:gd name="connsiteX6013" fmla="*/ 1051253 w 3368309"/>
                <a:gd name="connsiteY6013" fmla="*/ 184902 h 2031151"/>
                <a:gd name="connsiteX6014" fmla="*/ 1046040 w 3368309"/>
                <a:gd name="connsiteY6014" fmla="*/ 180666 h 2031151"/>
                <a:gd name="connsiteX6015" fmla="*/ 1042944 w 3368309"/>
                <a:gd name="connsiteY6015" fmla="*/ 177734 h 2031151"/>
                <a:gd name="connsiteX6016" fmla="*/ 1038220 w 3368309"/>
                <a:gd name="connsiteY6016" fmla="*/ 178223 h 2031151"/>
                <a:gd name="connsiteX6017" fmla="*/ 1034147 w 3368309"/>
                <a:gd name="connsiteY6017" fmla="*/ 176756 h 2031151"/>
                <a:gd name="connsiteX6018" fmla="*/ 1028934 w 3368309"/>
                <a:gd name="connsiteY6018" fmla="*/ 178223 h 2031151"/>
                <a:gd name="connsiteX6019" fmla="*/ 1016553 w 3368309"/>
                <a:gd name="connsiteY6019" fmla="*/ 177245 h 2031151"/>
                <a:gd name="connsiteX6020" fmla="*/ 1010037 w 3368309"/>
                <a:gd name="connsiteY6020" fmla="*/ 173498 h 2031151"/>
                <a:gd name="connsiteX6021" fmla="*/ 1006941 w 3368309"/>
                <a:gd name="connsiteY6021" fmla="*/ 171055 h 2031151"/>
                <a:gd name="connsiteX6022" fmla="*/ 999936 w 3368309"/>
                <a:gd name="connsiteY6022" fmla="*/ 173498 h 2031151"/>
                <a:gd name="connsiteX6023" fmla="*/ 993908 w 3368309"/>
                <a:gd name="connsiteY6023" fmla="*/ 176594 h 2031151"/>
                <a:gd name="connsiteX6024" fmla="*/ 989347 w 3368309"/>
                <a:gd name="connsiteY6024" fmla="*/ 175290 h 2031151"/>
                <a:gd name="connsiteX6025" fmla="*/ 983808 w 3368309"/>
                <a:gd name="connsiteY6025" fmla="*/ 171869 h 2031151"/>
                <a:gd name="connsiteX6026" fmla="*/ 977618 w 3368309"/>
                <a:gd name="connsiteY6026" fmla="*/ 171055 h 2031151"/>
                <a:gd name="connsiteX6027" fmla="*/ 974197 w 3368309"/>
                <a:gd name="connsiteY6027" fmla="*/ 167308 h 2031151"/>
                <a:gd name="connsiteX6028" fmla="*/ 970939 w 3368309"/>
                <a:gd name="connsiteY6028" fmla="*/ 157533 h 2031151"/>
                <a:gd name="connsiteX6029" fmla="*/ 967192 w 3368309"/>
                <a:gd name="connsiteY6029" fmla="*/ 152483 h 2031151"/>
                <a:gd name="connsiteX6030" fmla="*/ 963933 w 3368309"/>
                <a:gd name="connsiteY6030" fmla="*/ 151994 h 2031151"/>
                <a:gd name="connsiteX6031" fmla="*/ 959535 w 3368309"/>
                <a:gd name="connsiteY6031" fmla="*/ 154438 h 2031151"/>
                <a:gd name="connsiteX6032" fmla="*/ 955136 w 3368309"/>
                <a:gd name="connsiteY6032" fmla="*/ 151017 h 2031151"/>
                <a:gd name="connsiteX6033" fmla="*/ 950901 w 3368309"/>
                <a:gd name="connsiteY6033" fmla="*/ 149062 h 2031151"/>
                <a:gd name="connsiteX6034" fmla="*/ 949598 w 3368309"/>
                <a:gd name="connsiteY6034" fmla="*/ 151668 h 2031151"/>
                <a:gd name="connsiteX6035" fmla="*/ 950901 w 3368309"/>
                <a:gd name="connsiteY6035" fmla="*/ 155415 h 2031151"/>
                <a:gd name="connsiteX6036" fmla="*/ 948131 w 3368309"/>
                <a:gd name="connsiteY6036" fmla="*/ 156556 h 2031151"/>
                <a:gd name="connsiteX6037" fmla="*/ 946339 w 3368309"/>
                <a:gd name="connsiteY6037" fmla="*/ 154601 h 2031151"/>
                <a:gd name="connsiteX6038" fmla="*/ 940963 w 3368309"/>
                <a:gd name="connsiteY6038" fmla="*/ 151343 h 2031151"/>
                <a:gd name="connsiteX6039" fmla="*/ 941941 w 3368309"/>
                <a:gd name="connsiteY6039" fmla="*/ 148736 h 2031151"/>
                <a:gd name="connsiteX6040" fmla="*/ 947642 w 3368309"/>
                <a:gd name="connsiteY6040" fmla="*/ 144989 h 2031151"/>
                <a:gd name="connsiteX6041" fmla="*/ 948620 w 3368309"/>
                <a:gd name="connsiteY6041" fmla="*/ 141731 h 2031151"/>
                <a:gd name="connsiteX6042" fmla="*/ 946665 w 3368309"/>
                <a:gd name="connsiteY6042" fmla="*/ 133748 h 2031151"/>
                <a:gd name="connsiteX6043" fmla="*/ 947968 w 3368309"/>
                <a:gd name="connsiteY6043" fmla="*/ 129024 h 2031151"/>
                <a:gd name="connsiteX6044" fmla="*/ 953996 w 3368309"/>
                <a:gd name="connsiteY6044" fmla="*/ 123648 h 2031151"/>
                <a:gd name="connsiteX6045" fmla="*/ 952041 w 3368309"/>
                <a:gd name="connsiteY6045" fmla="*/ 120390 h 2031151"/>
                <a:gd name="connsiteX6046" fmla="*/ 948783 w 3368309"/>
                <a:gd name="connsiteY6046" fmla="*/ 120390 h 2031151"/>
                <a:gd name="connsiteX6047" fmla="*/ 943896 w 3368309"/>
                <a:gd name="connsiteY6047" fmla="*/ 117457 h 2031151"/>
                <a:gd name="connsiteX6048" fmla="*/ 943407 w 3368309"/>
                <a:gd name="connsiteY6048" fmla="*/ 113222 h 2031151"/>
                <a:gd name="connsiteX6049" fmla="*/ 946014 w 3368309"/>
                <a:gd name="connsiteY6049" fmla="*/ 105239 h 2031151"/>
                <a:gd name="connsiteX6050" fmla="*/ 950412 w 3368309"/>
                <a:gd name="connsiteY6050" fmla="*/ 101167 h 2031151"/>
                <a:gd name="connsiteX6051" fmla="*/ 957254 w 3368309"/>
                <a:gd name="connsiteY6051" fmla="*/ 99537 h 2031151"/>
                <a:gd name="connsiteX6052" fmla="*/ 957743 w 3368309"/>
                <a:gd name="connsiteY6052" fmla="*/ 95465 h 2031151"/>
                <a:gd name="connsiteX6053" fmla="*/ 960024 w 3368309"/>
                <a:gd name="connsiteY6053" fmla="*/ 91718 h 2031151"/>
                <a:gd name="connsiteX6054" fmla="*/ 966540 w 3368309"/>
                <a:gd name="connsiteY6054" fmla="*/ 89111 h 2031151"/>
                <a:gd name="connsiteX6055" fmla="*/ 974848 w 3368309"/>
                <a:gd name="connsiteY6055" fmla="*/ 83572 h 2031151"/>
                <a:gd name="connsiteX6056" fmla="*/ 976803 w 3368309"/>
                <a:gd name="connsiteY6056" fmla="*/ 77545 h 2031151"/>
                <a:gd name="connsiteX6057" fmla="*/ 978758 w 3368309"/>
                <a:gd name="connsiteY6057" fmla="*/ 76079 h 2031151"/>
                <a:gd name="connsiteX6058" fmla="*/ 988533 w 3368309"/>
                <a:gd name="connsiteY6058" fmla="*/ 77056 h 2031151"/>
                <a:gd name="connsiteX6059" fmla="*/ 995375 w 3368309"/>
                <a:gd name="connsiteY6059" fmla="*/ 82106 h 2031151"/>
                <a:gd name="connsiteX6060" fmla="*/ 1004009 w 3368309"/>
                <a:gd name="connsiteY6060" fmla="*/ 93673 h 2031151"/>
                <a:gd name="connsiteX6061" fmla="*/ 1006290 w 3368309"/>
                <a:gd name="connsiteY6061" fmla="*/ 98723 h 2031151"/>
                <a:gd name="connsiteX6062" fmla="*/ 1003521 w 3368309"/>
                <a:gd name="connsiteY6062" fmla="*/ 106868 h 2031151"/>
                <a:gd name="connsiteX6063" fmla="*/ 1006127 w 3368309"/>
                <a:gd name="connsiteY6063" fmla="*/ 109149 h 2031151"/>
                <a:gd name="connsiteX6064" fmla="*/ 1004660 w 3368309"/>
                <a:gd name="connsiteY6064" fmla="*/ 113711 h 2031151"/>
                <a:gd name="connsiteX6065" fmla="*/ 1002054 w 3368309"/>
                <a:gd name="connsiteY6065" fmla="*/ 117946 h 2031151"/>
                <a:gd name="connsiteX6066" fmla="*/ 1002706 w 3368309"/>
                <a:gd name="connsiteY6066" fmla="*/ 121856 h 2031151"/>
                <a:gd name="connsiteX6067" fmla="*/ 1005312 w 3368309"/>
                <a:gd name="connsiteY6067" fmla="*/ 119901 h 2031151"/>
                <a:gd name="connsiteX6068" fmla="*/ 1008408 w 3368309"/>
                <a:gd name="connsiteY6068" fmla="*/ 113059 h 2031151"/>
                <a:gd name="connsiteX6069" fmla="*/ 1009548 w 3368309"/>
                <a:gd name="connsiteY6069" fmla="*/ 106868 h 2031151"/>
                <a:gd name="connsiteX6070" fmla="*/ 1009548 w 3368309"/>
                <a:gd name="connsiteY6070" fmla="*/ 102470 h 2031151"/>
                <a:gd name="connsiteX6071" fmla="*/ 1011829 w 3368309"/>
                <a:gd name="connsiteY6071" fmla="*/ 98397 h 2031151"/>
                <a:gd name="connsiteX6072" fmla="*/ 1011340 w 3368309"/>
                <a:gd name="connsiteY6072" fmla="*/ 95139 h 2031151"/>
                <a:gd name="connsiteX6073" fmla="*/ 1004660 w 3368309"/>
                <a:gd name="connsiteY6073" fmla="*/ 87482 h 2031151"/>
                <a:gd name="connsiteX6074" fmla="*/ 1003683 w 3368309"/>
                <a:gd name="connsiteY6074" fmla="*/ 83898 h 2031151"/>
                <a:gd name="connsiteX6075" fmla="*/ 1004660 w 3368309"/>
                <a:gd name="connsiteY6075" fmla="*/ 80640 h 2031151"/>
                <a:gd name="connsiteX6076" fmla="*/ 1013295 w 3368309"/>
                <a:gd name="connsiteY6076" fmla="*/ 79337 h 2031151"/>
                <a:gd name="connsiteX6077" fmla="*/ 1023069 w 3368309"/>
                <a:gd name="connsiteY6077" fmla="*/ 80477 h 2031151"/>
                <a:gd name="connsiteX6078" fmla="*/ 1038708 w 3368309"/>
                <a:gd name="connsiteY6078" fmla="*/ 93673 h 2031151"/>
                <a:gd name="connsiteX6079" fmla="*/ 1041315 w 3368309"/>
                <a:gd name="connsiteY6079" fmla="*/ 94161 h 2031151"/>
                <a:gd name="connsiteX6080" fmla="*/ 1044085 w 3368309"/>
                <a:gd name="connsiteY6080" fmla="*/ 96116 h 2031151"/>
                <a:gd name="connsiteX6081" fmla="*/ 1044410 w 3368309"/>
                <a:gd name="connsiteY6081" fmla="*/ 101981 h 2031151"/>
                <a:gd name="connsiteX6082" fmla="*/ 1048646 w 3368309"/>
                <a:gd name="connsiteY6082" fmla="*/ 104751 h 2031151"/>
                <a:gd name="connsiteX6083" fmla="*/ 1049949 w 3368309"/>
                <a:gd name="connsiteY6083" fmla="*/ 111756 h 2031151"/>
                <a:gd name="connsiteX6084" fmla="*/ 1049949 w 3368309"/>
                <a:gd name="connsiteY6084" fmla="*/ 118598 h 2031151"/>
                <a:gd name="connsiteX6085" fmla="*/ 1057443 w 3368309"/>
                <a:gd name="connsiteY6085" fmla="*/ 126255 h 2031151"/>
                <a:gd name="connsiteX6086" fmla="*/ 1062982 w 3368309"/>
                <a:gd name="connsiteY6086" fmla="*/ 133748 h 2031151"/>
                <a:gd name="connsiteX6087" fmla="*/ 1062656 w 3368309"/>
                <a:gd name="connsiteY6087" fmla="*/ 136681 h 2031151"/>
                <a:gd name="connsiteX6088" fmla="*/ 1057932 w 3368309"/>
                <a:gd name="connsiteY6088" fmla="*/ 136681 h 2031151"/>
                <a:gd name="connsiteX6089" fmla="*/ 1054674 w 3368309"/>
                <a:gd name="connsiteY6089" fmla="*/ 134726 h 2031151"/>
                <a:gd name="connsiteX6090" fmla="*/ 1051742 w 3368309"/>
                <a:gd name="connsiteY6090" fmla="*/ 134726 h 2031151"/>
                <a:gd name="connsiteX6091" fmla="*/ 1052393 w 3368309"/>
                <a:gd name="connsiteY6091" fmla="*/ 140916 h 2031151"/>
                <a:gd name="connsiteX6092" fmla="*/ 1058095 w 3368309"/>
                <a:gd name="connsiteY6092" fmla="*/ 144826 h 2031151"/>
                <a:gd name="connsiteX6093" fmla="*/ 1064937 w 3368309"/>
                <a:gd name="connsiteY6093" fmla="*/ 145967 h 2031151"/>
                <a:gd name="connsiteX6094" fmla="*/ 1070965 w 3368309"/>
                <a:gd name="connsiteY6094" fmla="*/ 152646 h 2031151"/>
                <a:gd name="connsiteX6095" fmla="*/ 1074712 w 3368309"/>
                <a:gd name="connsiteY6095" fmla="*/ 153786 h 2031151"/>
                <a:gd name="connsiteX6096" fmla="*/ 1080902 w 3368309"/>
                <a:gd name="connsiteY6096" fmla="*/ 160791 h 2031151"/>
                <a:gd name="connsiteX6097" fmla="*/ 1080902 w 3368309"/>
                <a:gd name="connsiteY6097" fmla="*/ 160791 h 2031151"/>
                <a:gd name="connsiteX6098" fmla="*/ 2015186 w 3368309"/>
                <a:gd name="connsiteY6098" fmla="*/ 17757 h 2031151"/>
                <a:gd name="connsiteX6099" fmla="*/ 2017630 w 3368309"/>
                <a:gd name="connsiteY6099" fmla="*/ 7983 h 2031151"/>
                <a:gd name="connsiteX6100" fmla="*/ 2024635 w 3368309"/>
                <a:gd name="connsiteY6100" fmla="*/ 977 h 2031151"/>
                <a:gd name="connsiteX6101" fmla="*/ 2026264 w 3368309"/>
                <a:gd name="connsiteY6101" fmla="*/ 2444 h 2031151"/>
                <a:gd name="connsiteX6102" fmla="*/ 2026590 w 3368309"/>
                <a:gd name="connsiteY6102" fmla="*/ 6842 h 2031151"/>
                <a:gd name="connsiteX6103" fmla="*/ 2028219 w 3368309"/>
                <a:gd name="connsiteY6103" fmla="*/ 8797 h 2031151"/>
                <a:gd name="connsiteX6104" fmla="*/ 2024146 w 3368309"/>
                <a:gd name="connsiteY6104" fmla="*/ 11567 h 2031151"/>
                <a:gd name="connsiteX6105" fmla="*/ 2021051 w 3368309"/>
                <a:gd name="connsiteY6105" fmla="*/ 15476 h 2031151"/>
                <a:gd name="connsiteX6106" fmla="*/ 2015186 w 3368309"/>
                <a:gd name="connsiteY6106" fmla="*/ 17757 h 2031151"/>
                <a:gd name="connsiteX6107" fmla="*/ 2015186 w 3368309"/>
                <a:gd name="connsiteY6107" fmla="*/ 17757 h 2031151"/>
                <a:gd name="connsiteX6108" fmla="*/ 2070412 w 3368309"/>
                <a:gd name="connsiteY6108" fmla="*/ 105402 h 2031151"/>
                <a:gd name="connsiteX6109" fmla="*/ 2072693 w 3368309"/>
                <a:gd name="connsiteY6109" fmla="*/ 114851 h 2031151"/>
                <a:gd name="connsiteX6110" fmla="*/ 2081490 w 3368309"/>
                <a:gd name="connsiteY6110" fmla="*/ 126255 h 2031151"/>
                <a:gd name="connsiteX6111" fmla="*/ 2084097 w 3368309"/>
                <a:gd name="connsiteY6111" fmla="*/ 131305 h 2031151"/>
                <a:gd name="connsiteX6112" fmla="*/ 2101528 w 3368309"/>
                <a:gd name="connsiteY6112" fmla="*/ 137332 h 2031151"/>
                <a:gd name="connsiteX6113" fmla="*/ 2114561 w 3368309"/>
                <a:gd name="connsiteY6113" fmla="*/ 138636 h 2031151"/>
                <a:gd name="connsiteX6114" fmla="*/ 2123521 w 3368309"/>
                <a:gd name="connsiteY6114" fmla="*/ 142871 h 2031151"/>
                <a:gd name="connsiteX6115" fmla="*/ 2132155 w 3368309"/>
                <a:gd name="connsiteY6115" fmla="*/ 143197 h 2031151"/>
                <a:gd name="connsiteX6116" fmla="*/ 2138835 w 3368309"/>
                <a:gd name="connsiteY6116" fmla="*/ 140916 h 2031151"/>
                <a:gd name="connsiteX6117" fmla="*/ 2146328 w 3368309"/>
                <a:gd name="connsiteY6117" fmla="*/ 143360 h 2031151"/>
                <a:gd name="connsiteX6118" fmla="*/ 2150890 w 3368309"/>
                <a:gd name="connsiteY6118" fmla="*/ 141568 h 2031151"/>
                <a:gd name="connsiteX6119" fmla="*/ 2160827 w 3368309"/>
                <a:gd name="connsiteY6119" fmla="*/ 135378 h 2031151"/>
                <a:gd name="connsiteX6120" fmla="*/ 2162782 w 3368309"/>
                <a:gd name="connsiteY6120" fmla="*/ 128698 h 2031151"/>
                <a:gd name="connsiteX6121" fmla="*/ 2166692 w 3368309"/>
                <a:gd name="connsiteY6121" fmla="*/ 123159 h 2031151"/>
                <a:gd name="connsiteX6122" fmla="*/ 2164737 w 3368309"/>
                <a:gd name="connsiteY6122" fmla="*/ 115991 h 2031151"/>
                <a:gd name="connsiteX6123" fmla="*/ 2160338 w 3368309"/>
                <a:gd name="connsiteY6123" fmla="*/ 114199 h 2031151"/>
                <a:gd name="connsiteX6124" fmla="*/ 2156917 w 3368309"/>
                <a:gd name="connsiteY6124" fmla="*/ 114688 h 2031151"/>
                <a:gd name="connsiteX6125" fmla="*/ 2155451 w 3368309"/>
                <a:gd name="connsiteY6125" fmla="*/ 110778 h 2031151"/>
                <a:gd name="connsiteX6126" fmla="*/ 2155777 w 3368309"/>
                <a:gd name="connsiteY6126" fmla="*/ 107846 h 2031151"/>
                <a:gd name="connsiteX6127" fmla="*/ 2153170 w 3368309"/>
                <a:gd name="connsiteY6127" fmla="*/ 104913 h 2031151"/>
                <a:gd name="connsiteX6128" fmla="*/ 2148935 w 3368309"/>
                <a:gd name="connsiteY6128" fmla="*/ 107520 h 2031151"/>
                <a:gd name="connsiteX6129" fmla="*/ 2141278 w 3368309"/>
                <a:gd name="connsiteY6129" fmla="*/ 105565 h 2031151"/>
                <a:gd name="connsiteX6130" fmla="*/ 2128897 w 3368309"/>
                <a:gd name="connsiteY6130" fmla="*/ 108009 h 2031151"/>
                <a:gd name="connsiteX6131" fmla="*/ 2121240 w 3368309"/>
                <a:gd name="connsiteY6131" fmla="*/ 113548 h 2031151"/>
                <a:gd name="connsiteX6132" fmla="*/ 2116027 w 3368309"/>
                <a:gd name="connsiteY6132" fmla="*/ 114851 h 2031151"/>
                <a:gd name="connsiteX6133" fmla="*/ 2114235 w 3368309"/>
                <a:gd name="connsiteY6133" fmla="*/ 111919 h 2031151"/>
                <a:gd name="connsiteX6134" fmla="*/ 2112932 w 3368309"/>
                <a:gd name="connsiteY6134" fmla="*/ 107683 h 2031151"/>
                <a:gd name="connsiteX6135" fmla="*/ 2109511 w 3368309"/>
                <a:gd name="connsiteY6135" fmla="*/ 107683 h 2031151"/>
                <a:gd name="connsiteX6136" fmla="*/ 2103809 w 3368309"/>
                <a:gd name="connsiteY6136" fmla="*/ 109149 h 2031151"/>
                <a:gd name="connsiteX6137" fmla="*/ 2095501 w 3368309"/>
                <a:gd name="connsiteY6137" fmla="*/ 109149 h 2031151"/>
                <a:gd name="connsiteX6138" fmla="*/ 2091590 w 3368309"/>
                <a:gd name="connsiteY6138" fmla="*/ 107683 h 2031151"/>
                <a:gd name="connsiteX6139" fmla="*/ 2091590 w 3368309"/>
                <a:gd name="connsiteY6139" fmla="*/ 111919 h 2031151"/>
                <a:gd name="connsiteX6140" fmla="*/ 2088169 w 3368309"/>
                <a:gd name="connsiteY6140" fmla="*/ 115666 h 2031151"/>
                <a:gd name="connsiteX6141" fmla="*/ 2078721 w 3368309"/>
                <a:gd name="connsiteY6141" fmla="*/ 113385 h 2031151"/>
                <a:gd name="connsiteX6142" fmla="*/ 2075299 w 3368309"/>
                <a:gd name="connsiteY6142" fmla="*/ 109964 h 2031151"/>
                <a:gd name="connsiteX6143" fmla="*/ 2074811 w 3368309"/>
                <a:gd name="connsiteY6143" fmla="*/ 106543 h 2031151"/>
                <a:gd name="connsiteX6144" fmla="*/ 2070575 w 3368309"/>
                <a:gd name="connsiteY6144" fmla="*/ 105728 h 2031151"/>
                <a:gd name="connsiteX6145" fmla="*/ 2070575 w 3368309"/>
                <a:gd name="connsiteY6145" fmla="*/ 105728 h 2031151"/>
                <a:gd name="connsiteX6146" fmla="*/ 1872967 w 3368309"/>
                <a:gd name="connsiteY6146" fmla="*/ 193210 h 2031151"/>
                <a:gd name="connsiteX6147" fmla="*/ 1867590 w 3368309"/>
                <a:gd name="connsiteY6147" fmla="*/ 180829 h 2031151"/>
                <a:gd name="connsiteX6148" fmla="*/ 1866287 w 3368309"/>
                <a:gd name="connsiteY6148" fmla="*/ 174639 h 2031151"/>
                <a:gd name="connsiteX6149" fmla="*/ 1861889 w 3368309"/>
                <a:gd name="connsiteY6149" fmla="*/ 171380 h 2031151"/>
                <a:gd name="connsiteX6150" fmla="*/ 1852929 w 3368309"/>
                <a:gd name="connsiteY6150" fmla="*/ 170566 h 2031151"/>
                <a:gd name="connsiteX6151" fmla="*/ 1848693 w 3368309"/>
                <a:gd name="connsiteY6151" fmla="*/ 163887 h 2031151"/>
                <a:gd name="connsiteX6152" fmla="*/ 1844294 w 3368309"/>
                <a:gd name="connsiteY6152" fmla="*/ 160466 h 2031151"/>
                <a:gd name="connsiteX6153" fmla="*/ 1841362 w 3368309"/>
                <a:gd name="connsiteY6153" fmla="*/ 159325 h 2031151"/>
                <a:gd name="connsiteX6154" fmla="*/ 1842503 w 3368309"/>
                <a:gd name="connsiteY6154" fmla="*/ 163398 h 2031151"/>
                <a:gd name="connsiteX6155" fmla="*/ 1847227 w 3368309"/>
                <a:gd name="connsiteY6155" fmla="*/ 170892 h 2031151"/>
                <a:gd name="connsiteX6156" fmla="*/ 1854395 w 3368309"/>
                <a:gd name="connsiteY6156" fmla="*/ 177734 h 2031151"/>
                <a:gd name="connsiteX6157" fmla="*/ 1861563 w 3368309"/>
                <a:gd name="connsiteY6157" fmla="*/ 188160 h 2031151"/>
                <a:gd name="connsiteX6158" fmla="*/ 1865635 w 3368309"/>
                <a:gd name="connsiteY6158" fmla="*/ 198586 h 2031151"/>
                <a:gd name="connsiteX6159" fmla="*/ 1870360 w 3368309"/>
                <a:gd name="connsiteY6159" fmla="*/ 201030 h 2031151"/>
                <a:gd name="connsiteX6160" fmla="*/ 1873292 w 3368309"/>
                <a:gd name="connsiteY6160" fmla="*/ 199075 h 2031151"/>
                <a:gd name="connsiteX6161" fmla="*/ 1872967 w 3368309"/>
                <a:gd name="connsiteY6161" fmla="*/ 193210 h 2031151"/>
                <a:gd name="connsiteX6162" fmla="*/ 1872967 w 3368309"/>
                <a:gd name="connsiteY6162" fmla="*/ 193210 h 2031151"/>
                <a:gd name="connsiteX6163" fmla="*/ 1972993 w 3368309"/>
                <a:gd name="connsiteY6163" fmla="*/ 204451 h 2031151"/>
                <a:gd name="connsiteX6164" fmla="*/ 1969572 w 3368309"/>
                <a:gd name="connsiteY6164" fmla="*/ 204940 h 2031151"/>
                <a:gd name="connsiteX6165" fmla="*/ 1966476 w 3368309"/>
                <a:gd name="connsiteY6165" fmla="*/ 202496 h 2031151"/>
                <a:gd name="connsiteX6166" fmla="*/ 1965988 w 3368309"/>
                <a:gd name="connsiteY6166" fmla="*/ 198749 h 2031151"/>
                <a:gd name="connsiteX6167" fmla="*/ 1967128 w 3368309"/>
                <a:gd name="connsiteY6167" fmla="*/ 196143 h 2031151"/>
                <a:gd name="connsiteX6168" fmla="*/ 1969897 w 3368309"/>
                <a:gd name="connsiteY6168" fmla="*/ 197935 h 2031151"/>
                <a:gd name="connsiteX6169" fmla="*/ 1972015 w 3368309"/>
                <a:gd name="connsiteY6169" fmla="*/ 201030 h 2031151"/>
                <a:gd name="connsiteX6170" fmla="*/ 1976903 w 3368309"/>
                <a:gd name="connsiteY6170" fmla="*/ 202822 h 2031151"/>
                <a:gd name="connsiteX6171" fmla="*/ 1978858 w 3368309"/>
                <a:gd name="connsiteY6171" fmla="*/ 206406 h 2031151"/>
                <a:gd name="connsiteX6172" fmla="*/ 1978531 w 3368309"/>
                <a:gd name="connsiteY6172" fmla="*/ 208687 h 2031151"/>
                <a:gd name="connsiteX6173" fmla="*/ 1982604 w 3368309"/>
                <a:gd name="connsiteY6173" fmla="*/ 208198 h 2031151"/>
                <a:gd name="connsiteX6174" fmla="*/ 1987003 w 3368309"/>
                <a:gd name="connsiteY6174" fmla="*/ 201356 h 2031151"/>
                <a:gd name="connsiteX6175" fmla="*/ 1991727 w 3368309"/>
                <a:gd name="connsiteY6175" fmla="*/ 191744 h 2031151"/>
                <a:gd name="connsiteX6176" fmla="*/ 2000199 w 3368309"/>
                <a:gd name="connsiteY6176" fmla="*/ 183110 h 2031151"/>
                <a:gd name="connsiteX6177" fmla="*/ 2006226 w 3368309"/>
                <a:gd name="connsiteY6177" fmla="*/ 181970 h 2031151"/>
                <a:gd name="connsiteX6178" fmla="*/ 2010788 w 3368309"/>
                <a:gd name="connsiteY6178" fmla="*/ 178548 h 2031151"/>
                <a:gd name="connsiteX6179" fmla="*/ 2013069 w 3368309"/>
                <a:gd name="connsiteY6179" fmla="*/ 179852 h 2031151"/>
                <a:gd name="connsiteX6180" fmla="*/ 2011113 w 3368309"/>
                <a:gd name="connsiteY6180" fmla="*/ 183599 h 2031151"/>
                <a:gd name="connsiteX6181" fmla="*/ 2016326 w 3368309"/>
                <a:gd name="connsiteY6181" fmla="*/ 184250 h 2031151"/>
                <a:gd name="connsiteX6182" fmla="*/ 2020236 w 3368309"/>
                <a:gd name="connsiteY6182" fmla="*/ 186531 h 2031151"/>
                <a:gd name="connsiteX6183" fmla="*/ 2024309 w 3368309"/>
                <a:gd name="connsiteY6183" fmla="*/ 184250 h 2031151"/>
                <a:gd name="connsiteX6184" fmla="*/ 2024309 w 3368309"/>
                <a:gd name="connsiteY6184" fmla="*/ 179852 h 2031151"/>
                <a:gd name="connsiteX6185" fmla="*/ 2032292 w 3368309"/>
                <a:gd name="connsiteY6185" fmla="*/ 175779 h 2031151"/>
                <a:gd name="connsiteX6186" fmla="*/ 2036364 w 3368309"/>
                <a:gd name="connsiteY6186" fmla="*/ 171380 h 2031151"/>
                <a:gd name="connsiteX6187" fmla="*/ 2033921 w 3368309"/>
                <a:gd name="connsiteY6187" fmla="*/ 169426 h 2031151"/>
                <a:gd name="connsiteX6188" fmla="*/ 2027242 w 3368309"/>
                <a:gd name="connsiteY6188" fmla="*/ 169914 h 2031151"/>
                <a:gd name="connsiteX6189" fmla="*/ 2019259 w 3368309"/>
                <a:gd name="connsiteY6189" fmla="*/ 173335 h 2031151"/>
                <a:gd name="connsiteX6190" fmla="*/ 2012417 w 3368309"/>
                <a:gd name="connsiteY6190" fmla="*/ 168937 h 2031151"/>
                <a:gd name="connsiteX6191" fmla="*/ 2003783 w 3368309"/>
                <a:gd name="connsiteY6191" fmla="*/ 166656 h 2031151"/>
                <a:gd name="connsiteX6192" fmla="*/ 2001013 w 3368309"/>
                <a:gd name="connsiteY6192" fmla="*/ 163072 h 2031151"/>
                <a:gd name="connsiteX6193" fmla="*/ 1994822 w 3368309"/>
                <a:gd name="connsiteY6193" fmla="*/ 162583 h 2031151"/>
                <a:gd name="connsiteX6194" fmla="*/ 1993845 w 3368309"/>
                <a:gd name="connsiteY6194" fmla="*/ 159977 h 2031151"/>
                <a:gd name="connsiteX6195" fmla="*/ 1985863 w 3368309"/>
                <a:gd name="connsiteY6195" fmla="*/ 152320 h 2031151"/>
                <a:gd name="connsiteX6196" fmla="*/ 1981790 w 3368309"/>
                <a:gd name="connsiteY6196" fmla="*/ 149876 h 2031151"/>
                <a:gd name="connsiteX6197" fmla="*/ 1979672 w 3368309"/>
                <a:gd name="connsiteY6197" fmla="*/ 141405 h 2031151"/>
                <a:gd name="connsiteX6198" fmla="*/ 1978694 w 3368309"/>
                <a:gd name="connsiteY6198" fmla="*/ 137495 h 2031151"/>
                <a:gd name="connsiteX6199" fmla="*/ 1974785 w 3368309"/>
                <a:gd name="connsiteY6199" fmla="*/ 132934 h 2031151"/>
                <a:gd name="connsiteX6200" fmla="*/ 1973644 w 3368309"/>
                <a:gd name="connsiteY6200" fmla="*/ 127721 h 2031151"/>
                <a:gd name="connsiteX6201" fmla="*/ 1968269 w 3368309"/>
                <a:gd name="connsiteY6201" fmla="*/ 124951 h 2031151"/>
                <a:gd name="connsiteX6202" fmla="*/ 1968269 w 3368309"/>
                <a:gd name="connsiteY6202" fmla="*/ 122508 h 2031151"/>
                <a:gd name="connsiteX6203" fmla="*/ 1971201 w 3368309"/>
                <a:gd name="connsiteY6203" fmla="*/ 121204 h 2031151"/>
                <a:gd name="connsiteX6204" fmla="*/ 1968594 w 3368309"/>
                <a:gd name="connsiteY6204" fmla="*/ 117620 h 2031151"/>
                <a:gd name="connsiteX6205" fmla="*/ 1971526 w 3368309"/>
                <a:gd name="connsiteY6205" fmla="*/ 115503 h 2031151"/>
                <a:gd name="connsiteX6206" fmla="*/ 1973156 w 3368309"/>
                <a:gd name="connsiteY6206" fmla="*/ 114362 h 2031151"/>
                <a:gd name="connsiteX6207" fmla="*/ 1972830 w 3368309"/>
                <a:gd name="connsiteY6207" fmla="*/ 110615 h 2031151"/>
                <a:gd name="connsiteX6208" fmla="*/ 1970386 w 3368309"/>
                <a:gd name="connsiteY6208" fmla="*/ 108986 h 2031151"/>
                <a:gd name="connsiteX6209" fmla="*/ 1966151 w 3368309"/>
                <a:gd name="connsiteY6209" fmla="*/ 106054 h 2031151"/>
                <a:gd name="connsiteX6210" fmla="*/ 1956702 w 3368309"/>
                <a:gd name="connsiteY6210" fmla="*/ 106054 h 2031151"/>
                <a:gd name="connsiteX6211" fmla="*/ 1950674 w 3368309"/>
                <a:gd name="connsiteY6211" fmla="*/ 104751 h 2031151"/>
                <a:gd name="connsiteX6212" fmla="*/ 1946113 w 3368309"/>
                <a:gd name="connsiteY6212" fmla="*/ 100515 h 2031151"/>
                <a:gd name="connsiteX6213" fmla="*/ 1940574 w 3368309"/>
                <a:gd name="connsiteY6213" fmla="*/ 100515 h 2031151"/>
                <a:gd name="connsiteX6214" fmla="*/ 1935198 w 3368309"/>
                <a:gd name="connsiteY6214" fmla="*/ 98560 h 2031151"/>
                <a:gd name="connsiteX6215" fmla="*/ 1933569 w 3368309"/>
                <a:gd name="connsiteY6215" fmla="*/ 100026 h 2031151"/>
                <a:gd name="connsiteX6216" fmla="*/ 1941388 w 3368309"/>
                <a:gd name="connsiteY6216" fmla="*/ 106868 h 2031151"/>
                <a:gd name="connsiteX6217" fmla="*/ 1945461 w 3368309"/>
                <a:gd name="connsiteY6217" fmla="*/ 108009 h 2031151"/>
                <a:gd name="connsiteX6218" fmla="*/ 1947742 w 3368309"/>
                <a:gd name="connsiteY6218" fmla="*/ 110778 h 2031151"/>
                <a:gd name="connsiteX6219" fmla="*/ 1941551 w 3368309"/>
                <a:gd name="connsiteY6219" fmla="*/ 110778 h 2031151"/>
                <a:gd name="connsiteX6220" fmla="*/ 1939922 w 3368309"/>
                <a:gd name="connsiteY6220" fmla="*/ 109638 h 2031151"/>
                <a:gd name="connsiteX6221" fmla="*/ 1935687 w 3368309"/>
                <a:gd name="connsiteY6221" fmla="*/ 109638 h 2031151"/>
                <a:gd name="connsiteX6222" fmla="*/ 1932917 w 3368309"/>
                <a:gd name="connsiteY6222" fmla="*/ 113548 h 2031151"/>
                <a:gd name="connsiteX6223" fmla="*/ 1934220 w 3368309"/>
                <a:gd name="connsiteY6223" fmla="*/ 119249 h 2031151"/>
                <a:gd name="connsiteX6224" fmla="*/ 1937153 w 3368309"/>
                <a:gd name="connsiteY6224" fmla="*/ 124625 h 2031151"/>
                <a:gd name="connsiteX6225" fmla="*/ 1938782 w 3368309"/>
                <a:gd name="connsiteY6225" fmla="*/ 131794 h 2031151"/>
                <a:gd name="connsiteX6226" fmla="*/ 1946927 w 3368309"/>
                <a:gd name="connsiteY6226" fmla="*/ 139939 h 2031151"/>
                <a:gd name="connsiteX6227" fmla="*/ 1948556 w 3368309"/>
                <a:gd name="connsiteY6227" fmla="*/ 143197 h 2031151"/>
                <a:gd name="connsiteX6228" fmla="*/ 1946113 w 3368309"/>
                <a:gd name="connsiteY6228" fmla="*/ 144989 h 2031151"/>
                <a:gd name="connsiteX6229" fmla="*/ 1940248 w 3368309"/>
                <a:gd name="connsiteY6229" fmla="*/ 145967 h 2031151"/>
                <a:gd name="connsiteX6230" fmla="*/ 1934546 w 3368309"/>
                <a:gd name="connsiteY6230" fmla="*/ 139939 h 2031151"/>
                <a:gd name="connsiteX6231" fmla="*/ 1931940 w 3368309"/>
                <a:gd name="connsiteY6231" fmla="*/ 132608 h 2031151"/>
                <a:gd name="connsiteX6232" fmla="*/ 1928030 w 3368309"/>
                <a:gd name="connsiteY6232" fmla="*/ 130327 h 2031151"/>
                <a:gd name="connsiteX6233" fmla="*/ 1922817 w 3368309"/>
                <a:gd name="connsiteY6233" fmla="*/ 131631 h 2031151"/>
                <a:gd name="connsiteX6234" fmla="*/ 1920210 w 3368309"/>
                <a:gd name="connsiteY6234" fmla="*/ 133260 h 2031151"/>
                <a:gd name="connsiteX6235" fmla="*/ 1918255 w 3368309"/>
                <a:gd name="connsiteY6235" fmla="*/ 131631 h 2031151"/>
                <a:gd name="connsiteX6236" fmla="*/ 1913531 w 3368309"/>
                <a:gd name="connsiteY6236" fmla="*/ 130490 h 2031151"/>
                <a:gd name="connsiteX6237" fmla="*/ 1913205 w 3368309"/>
                <a:gd name="connsiteY6237" fmla="*/ 125114 h 2031151"/>
                <a:gd name="connsiteX6238" fmla="*/ 1911576 w 3368309"/>
                <a:gd name="connsiteY6238" fmla="*/ 121042 h 2031151"/>
                <a:gd name="connsiteX6239" fmla="*/ 1906363 w 3368309"/>
                <a:gd name="connsiteY6239" fmla="*/ 120390 h 2031151"/>
                <a:gd name="connsiteX6240" fmla="*/ 1900987 w 3368309"/>
                <a:gd name="connsiteY6240" fmla="*/ 115666 h 2031151"/>
                <a:gd name="connsiteX6241" fmla="*/ 1893656 w 3368309"/>
                <a:gd name="connsiteY6241" fmla="*/ 115014 h 2031151"/>
                <a:gd name="connsiteX6242" fmla="*/ 1890724 w 3368309"/>
                <a:gd name="connsiteY6242" fmla="*/ 113222 h 2031151"/>
                <a:gd name="connsiteX6243" fmla="*/ 1888443 w 3368309"/>
                <a:gd name="connsiteY6243" fmla="*/ 108660 h 2031151"/>
                <a:gd name="connsiteX6244" fmla="*/ 1882741 w 3368309"/>
                <a:gd name="connsiteY6244" fmla="*/ 110941 h 2031151"/>
                <a:gd name="connsiteX6245" fmla="*/ 1878669 w 3368309"/>
                <a:gd name="connsiteY6245" fmla="*/ 114199 h 2031151"/>
                <a:gd name="connsiteX6246" fmla="*/ 1878994 w 3368309"/>
                <a:gd name="connsiteY6246" fmla="*/ 121693 h 2031151"/>
                <a:gd name="connsiteX6247" fmla="*/ 1877365 w 3368309"/>
                <a:gd name="connsiteY6247" fmla="*/ 123159 h 2031151"/>
                <a:gd name="connsiteX6248" fmla="*/ 1877854 w 3368309"/>
                <a:gd name="connsiteY6248" fmla="*/ 130164 h 2031151"/>
                <a:gd name="connsiteX6249" fmla="*/ 1876062 w 3368309"/>
                <a:gd name="connsiteY6249" fmla="*/ 136192 h 2031151"/>
                <a:gd name="connsiteX6250" fmla="*/ 1870360 w 3368309"/>
                <a:gd name="connsiteY6250" fmla="*/ 140754 h 2031151"/>
                <a:gd name="connsiteX6251" fmla="*/ 1869871 w 3368309"/>
                <a:gd name="connsiteY6251" fmla="*/ 143849 h 2031151"/>
                <a:gd name="connsiteX6252" fmla="*/ 1876062 w 3368309"/>
                <a:gd name="connsiteY6252" fmla="*/ 152646 h 2031151"/>
                <a:gd name="connsiteX6253" fmla="*/ 1879320 w 3368309"/>
                <a:gd name="connsiteY6253" fmla="*/ 152972 h 2031151"/>
                <a:gd name="connsiteX6254" fmla="*/ 1882741 w 3368309"/>
                <a:gd name="connsiteY6254" fmla="*/ 155741 h 2031151"/>
                <a:gd name="connsiteX6255" fmla="*/ 1880786 w 3368309"/>
                <a:gd name="connsiteY6255" fmla="*/ 157533 h 2031151"/>
                <a:gd name="connsiteX6256" fmla="*/ 1877528 w 3368309"/>
                <a:gd name="connsiteY6256" fmla="*/ 158022 h 2031151"/>
                <a:gd name="connsiteX6257" fmla="*/ 1878505 w 3368309"/>
                <a:gd name="connsiteY6257" fmla="*/ 163235 h 2031151"/>
                <a:gd name="connsiteX6258" fmla="*/ 1882415 w 3368309"/>
                <a:gd name="connsiteY6258" fmla="*/ 164375 h 2031151"/>
                <a:gd name="connsiteX6259" fmla="*/ 1884696 w 3368309"/>
                <a:gd name="connsiteY6259" fmla="*/ 168937 h 2031151"/>
                <a:gd name="connsiteX6260" fmla="*/ 1884696 w 3368309"/>
                <a:gd name="connsiteY6260" fmla="*/ 172195 h 2031151"/>
                <a:gd name="connsiteX6261" fmla="*/ 1887465 w 3368309"/>
                <a:gd name="connsiteY6261" fmla="*/ 174964 h 2031151"/>
                <a:gd name="connsiteX6262" fmla="*/ 1893330 w 3368309"/>
                <a:gd name="connsiteY6262" fmla="*/ 176756 h 2031151"/>
                <a:gd name="connsiteX6263" fmla="*/ 1895122 w 3368309"/>
                <a:gd name="connsiteY6263" fmla="*/ 179689 h 2031151"/>
                <a:gd name="connsiteX6264" fmla="*/ 1893982 w 3368309"/>
                <a:gd name="connsiteY6264" fmla="*/ 181644 h 2031151"/>
                <a:gd name="connsiteX6265" fmla="*/ 1896426 w 3368309"/>
                <a:gd name="connsiteY6265" fmla="*/ 184087 h 2031151"/>
                <a:gd name="connsiteX6266" fmla="*/ 1898869 w 3368309"/>
                <a:gd name="connsiteY6266" fmla="*/ 182784 h 2031151"/>
                <a:gd name="connsiteX6267" fmla="*/ 1902290 w 3368309"/>
                <a:gd name="connsiteY6267" fmla="*/ 183273 h 2031151"/>
                <a:gd name="connsiteX6268" fmla="*/ 1904245 w 3368309"/>
                <a:gd name="connsiteY6268" fmla="*/ 186042 h 2031151"/>
                <a:gd name="connsiteX6269" fmla="*/ 1900824 w 3368309"/>
                <a:gd name="connsiteY6269" fmla="*/ 188649 h 2031151"/>
                <a:gd name="connsiteX6270" fmla="*/ 1899195 w 3368309"/>
                <a:gd name="connsiteY6270" fmla="*/ 187508 h 2031151"/>
                <a:gd name="connsiteX6271" fmla="*/ 1895448 w 3368309"/>
                <a:gd name="connsiteY6271" fmla="*/ 187508 h 2031151"/>
                <a:gd name="connsiteX6272" fmla="*/ 1893982 w 3368309"/>
                <a:gd name="connsiteY6272" fmla="*/ 190278 h 2031151"/>
                <a:gd name="connsiteX6273" fmla="*/ 1895774 w 3368309"/>
                <a:gd name="connsiteY6273" fmla="*/ 194839 h 2031151"/>
                <a:gd name="connsiteX6274" fmla="*/ 1911087 w 3368309"/>
                <a:gd name="connsiteY6274" fmla="*/ 205103 h 2031151"/>
                <a:gd name="connsiteX6275" fmla="*/ 1919396 w 3368309"/>
                <a:gd name="connsiteY6275" fmla="*/ 208361 h 2031151"/>
                <a:gd name="connsiteX6276" fmla="*/ 1926726 w 3368309"/>
                <a:gd name="connsiteY6276" fmla="*/ 207546 h 2031151"/>
                <a:gd name="connsiteX6277" fmla="*/ 1931125 w 3368309"/>
                <a:gd name="connsiteY6277" fmla="*/ 211130 h 2031151"/>
                <a:gd name="connsiteX6278" fmla="*/ 1935687 w 3368309"/>
                <a:gd name="connsiteY6278" fmla="*/ 214226 h 2031151"/>
                <a:gd name="connsiteX6279" fmla="*/ 1937315 w 3368309"/>
                <a:gd name="connsiteY6279" fmla="*/ 219276 h 2031151"/>
                <a:gd name="connsiteX6280" fmla="*/ 1942040 w 3368309"/>
                <a:gd name="connsiteY6280" fmla="*/ 223674 h 2031151"/>
                <a:gd name="connsiteX6281" fmla="*/ 1949045 w 3368309"/>
                <a:gd name="connsiteY6281" fmla="*/ 223674 h 2031151"/>
                <a:gd name="connsiteX6282" fmla="*/ 1956865 w 3368309"/>
                <a:gd name="connsiteY6282" fmla="*/ 220742 h 2031151"/>
                <a:gd name="connsiteX6283" fmla="*/ 1963544 w 3368309"/>
                <a:gd name="connsiteY6283" fmla="*/ 221231 h 2031151"/>
                <a:gd name="connsiteX6284" fmla="*/ 1968431 w 3368309"/>
                <a:gd name="connsiteY6284" fmla="*/ 224326 h 2031151"/>
                <a:gd name="connsiteX6285" fmla="*/ 1972993 w 3368309"/>
                <a:gd name="connsiteY6285" fmla="*/ 223348 h 2031151"/>
                <a:gd name="connsiteX6286" fmla="*/ 1975274 w 3368309"/>
                <a:gd name="connsiteY6286" fmla="*/ 218787 h 2031151"/>
                <a:gd name="connsiteX6287" fmla="*/ 1975274 w 3368309"/>
                <a:gd name="connsiteY6287" fmla="*/ 214226 h 2031151"/>
                <a:gd name="connsiteX6288" fmla="*/ 1972341 w 3368309"/>
                <a:gd name="connsiteY6288" fmla="*/ 208361 h 2031151"/>
                <a:gd name="connsiteX6289" fmla="*/ 1972667 w 3368309"/>
                <a:gd name="connsiteY6289" fmla="*/ 204125 h 2031151"/>
                <a:gd name="connsiteX6290" fmla="*/ 1972667 w 3368309"/>
                <a:gd name="connsiteY6290" fmla="*/ 204125 h 2031151"/>
                <a:gd name="connsiteX6291" fmla="*/ 1975599 w 3368309"/>
                <a:gd name="connsiteY6291" fmla="*/ 105076 h 2031151"/>
                <a:gd name="connsiteX6292" fmla="*/ 1983093 w 3368309"/>
                <a:gd name="connsiteY6292" fmla="*/ 105076 h 2031151"/>
                <a:gd name="connsiteX6293" fmla="*/ 1991238 w 3368309"/>
                <a:gd name="connsiteY6293" fmla="*/ 104588 h 2031151"/>
                <a:gd name="connsiteX6294" fmla="*/ 1996615 w 3368309"/>
                <a:gd name="connsiteY6294" fmla="*/ 105402 h 2031151"/>
                <a:gd name="connsiteX6295" fmla="*/ 2008996 w 3368309"/>
                <a:gd name="connsiteY6295" fmla="*/ 111593 h 2031151"/>
                <a:gd name="connsiteX6296" fmla="*/ 2014860 w 3368309"/>
                <a:gd name="connsiteY6296" fmla="*/ 112081 h 2031151"/>
                <a:gd name="connsiteX6297" fmla="*/ 2019259 w 3368309"/>
                <a:gd name="connsiteY6297" fmla="*/ 110941 h 2031151"/>
                <a:gd name="connsiteX6298" fmla="*/ 2031477 w 3368309"/>
                <a:gd name="connsiteY6298" fmla="*/ 112407 h 2031151"/>
                <a:gd name="connsiteX6299" fmla="*/ 2044347 w 3368309"/>
                <a:gd name="connsiteY6299" fmla="*/ 116317 h 2031151"/>
                <a:gd name="connsiteX6300" fmla="*/ 2044347 w 3368309"/>
                <a:gd name="connsiteY6300" fmla="*/ 118924 h 2031151"/>
                <a:gd name="connsiteX6301" fmla="*/ 2038808 w 3368309"/>
                <a:gd name="connsiteY6301" fmla="*/ 120390 h 2031151"/>
                <a:gd name="connsiteX6302" fmla="*/ 2035550 w 3368309"/>
                <a:gd name="connsiteY6302" fmla="*/ 124137 h 2031151"/>
                <a:gd name="connsiteX6303" fmla="*/ 2035550 w 3368309"/>
                <a:gd name="connsiteY6303" fmla="*/ 129350 h 2031151"/>
                <a:gd name="connsiteX6304" fmla="*/ 2040763 w 3368309"/>
                <a:gd name="connsiteY6304" fmla="*/ 135215 h 2031151"/>
                <a:gd name="connsiteX6305" fmla="*/ 2046790 w 3368309"/>
                <a:gd name="connsiteY6305" fmla="*/ 136844 h 2031151"/>
                <a:gd name="connsiteX6306" fmla="*/ 2046790 w 3368309"/>
                <a:gd name="connsiteY6306" fmla="*/ 143197 h 2031151"/>
                <a:gd name="connsiteX6307" fmla="*/ 2048094 w 3368309"/>
                <a:gd name="connsiteY6307" fmla="*/ 147107 h 2031151"/>
                <a:gd name="connsiteX6308" fmla="*/ 2045487 w 3368309"/>
                <a:gd name="connsiteY6308" fmla="*/ 151506 h 2031151"/>
                <a:gd name="connsiteX6309" fmla="*/ 2044347 w 3368309"/>
                <a:gd name="connsiteY6309" fmla="*/ 158348 h 2031151"/>
                <a:gd name="connsiteX6310" fmla="*/ 2039948 w 3368309"/>
                <a:gd name="connsiteY6310" fmla="*/ 162583 h 2031151"/>
                <a:gd name="connsiteX6311" fmla="*/ 2038156 w 3368309"/>
                <a:gd name="connsiteY6311" fmla="*/ 166004 h 2031151"/>
                <a:gd name="connsiteX6312" fmla="*/ 2033269 w 3368309"/>
                <a:gd name="connsiteY6312" fmla="*/ 162258 h 2031151"/>
                <a:gd name="connsiteX6313" fmla="*/ 2030499 w 3368309"/>
                <a:gd name="connsiteY6313" fmla="*/ 162583 h 2031151"/>
                <a:gd name="connsiteX6314" fmla="*/ 2024961 w 3368309"/>
                <a:gd name="connsiteY6314" fmla="*/ 166493 h 2031151"/>
                <a:gd name="connsiteX6315" fmla="*/ 2019585 w 3368309"/>
                <a:gd name="connsiteY6315" fmla="*/ 166819 h 2031151"/>
                <a:gd name="connsiteX6316" fmla="*/ 2008181 w 3368309"/>
                <a:gd name="connsiteY6316" fmla="*/ 161280 h 2031151"/>
                <a:gd name="connsiteX6317" fmla="*/ 2002153 w 3368309"/>
                <a:gd name="connsiteY6317" fmla="*/ 155741 h 2031151"/>
                <a:gd name="connsiteX6318" fmla="*/ 1990750 w 3368309"/>
                <a:gd name="connsiteY6318" fmla="*/ 146292 h 2031151"/>
                <a:gd name="connsiteX6319" fmla="*/ 1989121 w 3368309"/>
                <a:gd name="connsiteY6319" fmla="*/ 139287 h 2031151"/>
                <a:gd name="connsiteX6320" fmla="*/ 1990587 w 3368309"/>
                <a:gd name="connsiteY6320" fmla="*/ 134726 h 2031151"/>
                <a:gd name="connsiteX6321" fmla="*/ 1991076 w 3368309"/>
                <a:gd name="connsiteY6321" fmla="*/ 130001 h 2031151"/>
                <a:gd name="connsiteX6322" fmla="*/ 1992379 w 3368309"/>
                <a:gd name="connsiteY6322" fmla="*/ 127395 h 2031151"/>
                <a:gd name="connsiteX6323" fmla="*/ 1989772 w 3368309"/>
                <a:gd name="connsiteY6323" fmla="*/ 122833 h 2031151"/>
                <a:gd name="connsiteX6324" fmla="*/ 1986840 w 3368309"/>
                <a:gd name="connsiteY6324" fmla="*/ 121042 h 2031151"/>
                <a:gd name="connsiteX6325" fmla="*/ 1985863 w 3368309"/>
                <a:gd name="connsiteY6325" fmla="*/ 115991 h 2031151"/>
                <a:gd name="connsiteX6326" fmla="*/ 1982767 w 3368309"/>
                <a:gd name="connsiteY6326" fmla="*/ 114362 h 2031151"/>
                <a:gd name="connsiteX6327" fmla="*/ 1979346 w 3368309"/>
                <a:gd name="connsiteY6327" fmla="*/ 110127 h 2031151"/>
                <a:gd name="connsiteX6328" fmla="*/ 1975925 w 3368309"/>
                <a:gd name="connsiteY6328" fmla="*/ 105076 h 2031151"/>
                <a:gd name="connsiteX6329" fmla="*/ 1975925 w 3368309"/>
                <a:gd name="connsiteY6329" fmla="*/ 105076 h 2031151"/>
                <a:gd name="connsiteX6330" fmla="*/ 1124888 w 3368309"/>
                <a:gd name="connsiteY6330" fmla="*/ 237359 h 2031151"/>
                <a:gd name="connsiteX6331" fmla="*/ 1131567 w 3368309"/>
                <a:gd name="connsiteY6331" fmla="*/ 235078 h 2031151"/>
                <a:gd name="connsiteX6332" fmla="*/ 1134825 w 3368309"/>
                <a:gd name="connsiteY6332" fmla="*/ 228236 h 2031151"/>
                <a:gd name="connsiteX6333" fmla="*/ 1140364 w 3368309"/>
                <a:gd name="connsiteY6333" fmla="*/ 220579 h 2031151"/>
                <a:gd name="connsiteX6334" fmla="*/ 1144274 w 3368309"/>
                <a:gd name="connsiteY6334" fmla="*/ 218298 h 2031151"/>
                <a:gd name="connsiteX6335" fmla="*/ 1143296 w 3368309"/>
                <a:gd name="connsiteY6335" fmla="*/ 215203 h 2031151"/>
                <a:gd name="connsiteX6336" fmla="*/ 1144111 w 3368309"/>
                <a:gd name="connsiteY6336" fmla="*/ 210967 h 2031151"/>
                <a:gd name="connsiteX6337" fmla="*/ 1155351 w 3368309"/>
                <a:gd name="connsiteY6337" fmla="*/ 203474 h 2031151"/>
                <a:gd name="connsiteX6338" fmla="*/ 1159587 w 3368309"/>
                <a:gd name="connsiteY6338" fmla="*/ 202659 h 2031151"/>
                <a:gd name="connsiteX6339" fmla="*/ 1162520 w 3368309"/>
                <a:gd name="connsiteY6339" fmla="*/ 205266 h 2031151"/>
                <a:gd name="connsiteX6340" fmla="*/ 1166267 w 3368309"/>
                <a:gd name="connsiteY6340" fmla="*/ 204777 h 2031151"/>
                <a:gd name="connsiteX6341" fmla="*/ 1168710 w 3368309"/>
                <a:gd name="connsiteY6341" fmla="*/ 200052 h 2031151"/>
                <a:gd name="connsiteX6342" fmla="*/ 1170991 w 3368309"/>
                <a:gd name="connsiteY6342" fmla="*/ 196143 h 2031151"/>
                <a:gd name="connsiteX6343" fmla="*/ 1176693 w 3368309"/>
                <a:gd name="connsiteY6343" fmla="*/ 194188 h 2031151"/>
                <a:gd name="connsiteX6344" fmla="*/ 1185001 w 3368309"/>
                <a:gd name="connsiteY6344" fmla="*/ 187508 h 2031151"/>
                <a:gd name="connsiteX6345" fmla="*/ 1186305 w 3368309"/>
                <a:gd name="connsiteY6345" fmla="*/ 183273 h 2031151"/>
                <a:gd name="connsiteX6346" fmla="*/ 1189726 w 3368309"/>
                <a:gd name="connsiteY6346" fmla="*/ 180829 h 2031151"/>
                <a:gd name="connsiteX6347" fmla="*/ 1194124 w 3368309"/>
                <a:gd name="connsiteY6347" fmla="*/ 170892 h 2031151"/>
                <a:gd name="connsiteX6348" fmla="*/ 1192658 w 3368309"/>
                <a:gd name="connsiteY6348" fmla="*/ 165353 h 2031151"/>
                <a:gd name="connsiteX6349" fmla="*/ 1185978 w 3368309"/>
                <a:gd name="connsiteY6349" fmla="*/ 157370 h 2031151"/>
                <a:gd name="connsiteX6350" fmla="*/ 1183046 w 3368309"/>
                <a:gd name="connsiteY6350" fmla="*/ 151343 h 2031151"/>
                <a:gd name="connsiteX6351" fmla="*/ 1182721 w 3368309"/>
                <a:gd name="connsiteY6351" fmla="*/ 146781 h 2031151"/>
                <a:gd name="connsiteX6352" fmla="*/ 1174575 w 3368309"/>
                <a:gd name="connsiteY6352" fmla="*/ 141405 h 2031151"/>
                <a:gd name="connsiteX6353" fmla="*/ 1169525 w 3368309"/>
                <a:gd name="connsiteY6353" fmla="*/ 140916 h 2031151"/>
                <a:gd name="connsiteX6354" fmla="*/ 1167244 w 3368309"/>
                <a:gd name="connsiteY6354" fmla="*/ 142383 h 2031151"/>
                <a:gd name="connsiteX6355" fmla="*/ 1163334 w 3368309"/>
                <a:gd name="connsiteY6355" fmla="*/ 139939 h 2031151"/>
                <a:gd name="connsiteX6356" fmla="*/ 1157307 w 3368309"/>
                <a:gd name="connsiteY6356" fmla="*/ 137495 h 2031151"/>
                <a:gd name="connsiteX6357" fmla="*/ 1151116 w 3368309"/>
                <a:gd name="connsiteY6357" fmla="*/ 131468 h 2031151"/>
                <a:gd name="connsiteX6358" fmla="*/ 1148347 w 3368309"/>
                <a:gd name="connsiteY6358" fmla="*/ 130816 h 2031151"/>
                <a:gd name="connsiteX6359" fmla="*/ 1147043 w 3368309"/>
                <a:gd name="connsiteY6359" fmla="*/ 133097 h 2031151"/>
                <a:gd name="connsiteX6360" fmla="*/ 1143296 w 3368309"/>
                <a:gd name="connsiteY6360" fmla="*/ 131794 h 2031151"/>
                <a:gd name="connsiteX6361" fmla="*/ 1141993 w 3368309"/>
                <a:gd name="connsiteY6361" fmla="*/ 128047 h 2031151"/>
                <a:gd name="connsiteX6362" fmla="*/ 1138083 w 3368309"/>
                <a:gd name="connsiteY6362" fmla="*/ 123648 h 2031151"/>
                <a:gd name="connsiteX6363" fmla="*/ 1134825 w 3368309"/>
                <a:gd name="connsiteY6363" fmla="*/ 123648 h 2031151"/>
                <a:gd name="connsiteX6364" fmla="*/ 1133848 w 3368309"/>
                <a:gd name="connsiteY6364" fmla="*/ 128372 h 2031151"/>
                <a:gd name="connsiteX6365" fmla="*/ 1131404 w 3368309"/>
                <a:gd name="connsiteY6365" fmla="*/ 128047 h 2031151"/>
                <a:gd name="connsiteX6366" fmla="*/ 1126191 w 3368309"/>
                <a:gd name="connsiteY6366" fmla="*/ 121530 h 2031151"/>
                <a:gd name="connsiteX6367" fmla="*/ 1123258 w 3368309"/>
                <a:gd name="connsiteY6367" fmla="*/ 119575 h 2031151"/>
                <a:gd name="connsiteX6368" fmla="*/ 1123258 w 3368309"/>
                <a:gd name="connsiteY6368" fmla="*/ 122182 h 2031151"/>
                <a:gd name="connsiteX6369" fmla="*/ 1126680 w 3368309"/>
                <a:gd name="connsiteY6369" fmla="*/ 126580 h 2031151"/>
                <a:gd name="connsiteX6370" fmla="*/ 1127169 w 3368309"/>
                <a:gd name="connsiteY6370" fmla="*/ 129839 h 2031151"/>
                <a:gd name="connsiteX6371" fmla="*/ 1123747 w 3368309"/>
                <a:gd name="connsiteY6371" fmla="*/ 132608 h 2031151"/>
                <a:gd name="connsiteX6372" fmla="*/ 1124073 w 3368309"/>
                <a:gd name="connsiteY6372" fmla="*/ 137332 h 2031151"/>
                <a:gd name="connsiteX6373" fmla="*/ 1121304 w 3368309"/>
                <a:gd name="connsiteY6373" fmla="*/ 137007 h 2031151"/>
                <a:gd name="connsiteX6374" fmla="*/ 1119349 w 3368309"/>
                <a:gd name="connsiteY6374" fmla="*/ 133423 h 2031151"/>
                <a:gd name="connsiteX6375" fmla="*/ 1118371 w 3368309"/>
                <a:gd name="connsiteY6375" fmla="*/ 116643 h 2031151"/>
                <a:gd name="connsiteX6376" fmla="*/ 1113158 w 3368309"/>
                <a:gd name="connsiteY6376" fmla="*/ 114362 h 2031151"/>
                <a:gd name="connsiteX6377" fmla="*/ 1108108 w 3368309"/>
                <a:gd name="connsiteY6377" fmla="*/ 113222 h 2031151"/>
                <a:gd name="connsiteX6378" fmla="*/ 1101429 w 3368309"/>
                <a:gd name="connsiteY6378" fmla="*/ 110127 h 2031151"/>
                <a:gd name="connsiteX6379" fmla="*/ 1098008 w 3368309"/>
                <a:gd name="connsiteY6379" fmla="*/ 110127 h 2031151"/>
                <a:gd name="connsiteX6380" fmla="*/ 1095075 w 3368309"/>
                <a:gd name="connsiteY6380" fmla="*/ 114199 h 2031151"/>
                <a:gd name="connsiteX6381" fmla="*/ 1096216 w 3368309"/>
                <a:gd name="connsiteY6381" fmla="*/ 118924 h 2031151"/>
                <a:gd name="connsiteX6382" fmla="*/ 1101429 w 3368309"/>
                <a:gd name="connsiteY6382" fmla="*/ 122182 h 2031151"/>
                <a:gd name="connsiteX6383" fmla="*/ 1105176 w 3368309"/>
                <a:gd name="connsiteY6383" fmla="*/ 126743 h 2031151"/>
                <a:gd name="connsiteX6384" fmla="*/ 1102895 w 3368309"/>
                <a:gd name="connsiteY6384" fmla="*/ 129024 h 2031151"/>
                <a:gd name="connsiteX6385" fmla="*/ 1098822 w 3368309"/>
                <a:gd name="connsiteY6385" fmla="*/ 128698 h 2031151"/>
                <a:gd name="connsiteX6386" fmla="*/ 1097030 w 3368309"/>
                <a:gd name="connsiteY6386" fmla="*/ 125603 h 2031151"/>
                <a:gd name="connsiteX6387" fmla="*/ 1093609 w 3368309"/>
                <a:gd name="connsiteY6387" fmla="*/ 122833 h 2031151"/>
                <a:gd name="connsiteX6388" fmla="*/ 1091654 w 3368309"/>
                <a:gd name="connsiteY6388" fmla="*/ 122833 h 2031151"/>
                <a:gd name="connsiteX6389" fmla="*/ 1092632 w 3368309"/>
                <a:gd name="connsiteY6389" fmla="*/ 126580 h 2031151"/>
                <a:gd name="connsiteX6390" fmla="*/ 1094261 w 3368309"/>
                <a:gd name="connsiteY6390" fmla="*/ 130816 h 2031151"/>
                <a:gd name="connsiteX6391" fmla="*/ 1092794 w 3368309"/>
                <a:gd name="connsiteY6391" fmla="*/ 132282 h 2031151"/>
                <a:gd name="connsiteX6392" fmla="*/ 1092794 w 3368309"/>
                <a:gd name="connsiteY6392" fmla="*/ 137984 h 2031151"/>
                <a:gd name="connsiteX6393" fmla="*/ 1095401 w 3368309"/>
                <a:gd name="connsiteY6393" fmla="*/ 140754 h 2031151"/>
                <a:gd name="connsiteX6394" fmla="*/ 1099311 w 3368309"/>
                <a:gd name="connsiteY6394" fmla="*/ 141731 h 2031151"/>
                <a:gd name="connsiteX6395" fmla="*/ 1101266 w 3368309"/>
                <a:gd name="connsiteY6395" fmla="*/ 144663 h 2031151"/>
                <a:gd name="connsiteX6396" fmla="*/ 1100289 w 3368309"/>
                <a:gd name="connsiteY6396" fmla="*/ 148899 h 2031151"/>
                <a:gd name="connsiteX6397" fmla="*/ 1105827 w 3368309"/>
                <a:gd name="connsiteY6397" fmla="*/ 161769 h 2031151"/>
                <a:gd name="connsiteX6398" fmla="*/ 1109737 w 3368309"/>
                <a:gd name="connsiteY6398" fmla="*/ 165679 h 2031151"/>
                <a:gd name="connsiteX6399" fmla="*/ 1114299 w 3368309"/>
                <a:gd name="connsiteY6399" fmla="*/ 165679 h 2031151"/>
                <a:gd name="connsiteX6400" fmla="*/ 1111203 w 3368309"/>
                <a:gd name="connsiteY6400" fmla="*/ 168611 h 2031151"/>
                <a:gd name="connsiteX6401" fmla="*/ 1106479 w 3368309"/>
                <a:gd name="connsiteY6401" fmla="*/ 169588 h 2031151"/>
                <a:gd name="connsiteX6402" fmla="*/ 1103872 w 3368309"/>
                <a:gd name="connsiteY6402" fmla="*/ 178223 h 2031151"/>
                <a:gd name="connsiteX6403" fmla="*/ 1108271 w 3368309"/>
                <a:gd name="connsiteY6403" fmla="*/ 187183 h 2031151"/>
                <a:gd name="connsiteX6404" fmla="*/ 1110063 w 3368309"/>
                <a:gd name="connsiteY6404" fmla="*/ 193862 h 2031151"/>
                <a:gd name="connsiteX6405" fmla="*/ 1109737 w 3368309"/>
                <a:gd name="connsiteY6405" fmla="*/ 200052 h 2031151"/>
                <a:gd name="connsiteX6406" fmla="*/ 1112507 w 3368309"/>
                <a:gd name="connsiteY6406" fmla="*/ 202333 h 2031151"/>
                <a:gd name="connsiteX6407" fmla="*/ 1113158 w 3368309"/>
                <a:gd name="connsiteY6407" fmla="*/ 207058 h 2031151"/>
                <a:gd name="connsiteX6408" fmla="*/ 1111366 w 3368309"/>
                <a:gd name="connsiteY6408" fmla="*/ 209827 h 2031151"/>
                <a:gd name="connsiteX6409" fmla="*/ 1114624 w 3368309"/>
                <a:gd name="connsiteY6409" fmla="*/ 217321 h 2031151"/>
                <a:gd name="connsiteX6410" fmla="*/ 1117394 w 3368309"/>
                <a:gd name="connsiteY6410" fmla="*/ 225303 h 2031151"/>
                <a:gd name="connsiteX6411" fmla="*/ 1121792 w 3368309"/>
                <a:gd name="connsiteY6411" fmla="*/ 229376 h 2031151"/>
                <a:gd name="connsiteX6412" fmla="*/ 1121792 w 3368309"/>
                <a:gd name="connsiteY6412" fmla="*/ 234426 h 2031151"/>
                <a:gd name="connsiteX6413" fmla="*/ 1124725 w 3368309"/>
                <a:gd name="connsiteY6413" fmla="*/ 237359 h 2031151"/>
                <a:gd name="connsiteX6414" fmla="*/ 1124725 w 3368309"/>
                <a:gd name="connsiteY6414" fmla="*/ 237359 h 2031151"/>
                <a:gd name="connsiteX6415" fmla="*/ 1223610 w 3368309"/>
                <a:gd name="connsiteY6415" fmla="*/ 180829 h 2031151"/>
                <a:gd name="connsiteX6416" fmla="*/ 1227846 w 3368309"/>
                <a:gd name="connsiteY6416" fmla="*/ 176919 h 2031151"/>
                <a:gd name="connsiteX6417" fmla="*/ 1227846 w 3368309"/>
                <a:gd name="connsiteY6417" fmla="*/ 174476 h 2031151"/>
                <a:gd name="connsiteX6418" fmla="*/ 1226054 w 3368309"/>
                <a:gd name="connsiteY6418" fmla="*/ 173010 h 2031151"/>
                <a:gd name="connsiteX6419" fmla="*/ 1227846 w 3368309"/>
                <a:gd name="connsiteY6419" fmla="*/ 170403 h 2031151"/>
                <a:gd name="connsiteX6420" fmla="*/ 1230453 w 3368309"/>
                <a:gd name="connsiteY6420" fmla="*/ 169426 h 2031151"/>
                <a:gd name="connsiteX6421" fmla="*/ 1229149 w 3368309"/>
                <a:gd name="connsiteY6421" fmla="*/ 166493 h 2031151"/>
                <a:gd name="connsiteX6422" fmla="*/ 1225240 w 3368309"/>
                <a:gd name="connsiteY6422" fmla="*/ 166982 h 2031151"/>
                <a:gd name="connsiteX6423" fmla="*/ 1221493 w 3368309"/>
                <a:gd name="connsiteY6423" fmla="*/ 171706 h 2031151"/>
                <a:gd name="connsiteX6424" fmla="*/ 1221981 w 3368309"/>
                <a:gd name="connsiteY6424" fmla="*/ 174476 h 2031151"/>
                <a:gd name="connsiteX6425" fmla="*/ 1219049 w 3368309"/>
                <a:gd name="connsiteY6425" fmla="*/ 175453 h 2031151"/>
                <a:gd name="connsiteX6426" fmla="*/ 1218072 w 3368309"/>
                <a:gd name="connsiteY6426" fmla="*/ 179526 h 2031151"/>
                <a:gd name="connsiteX6427" fmla="*/ 1220678 w 3368309"/>
                <a:gd name="connsiteY6427" fmla="*/ 181481 h 2031151"/>
                <a:gd name="connsiteX6428" fmla="*/ 1223448 w 3368309"/>
                <a:gd name="connsiteY6428" fmla="*/ 180503 h 2031151"/>
                <a:gd name="connsiteX6429" fmla="*/ 1223448 w 3368309"/>
                <a:gd name="connsiteY6429" fmla="*/ 180503 h 2031151"/>
                <a:gd name="connsiteX6430" fmla="*/ 1230127 w 3368309"/>
                <a:gd name="connsiteY6430" fmla="*/ 181318 h 2031151"/>
                <a:gd name="connsiteX6431" fmla="*/ 1232571 w 3368309"/>
                <a:gd name="connsiteY6431" fmla="*/ 177571 h 2031151"/>
                <a:gd name="connsiteX6432" fmla="*/ 1239250 w 3368309"/>
                <a:gd name="connsiteY6432" fmla="*/ 178386 h 2031151"/>
                <a:gd name="connsiteX6433" fmla="*/ 1242182 w 3368309"/>
                <a:gd name="connsiteY6433" fmla="*/ 173335 h 2031151"/>
                <a:gd name="connsiteX6434" fmla="*/ 1246581 w 3368309"/>
                <a:gd name="connsiteY6434" fmla="*/ 173335 h 2031151"/>
                <a:gd name="connsiteX6435" fmla="*/ 1248210 w 3368309"/>
                <a:gd name="connsiteY6435" fmla="*/ 172032 h 2031151"/>
                <a:gd name="connsiteX6436" fmla="*/ 1251631 w 3368309"/>
                <a:gd name="connsiteY6436" fmla="*/ 173010 h 2031151"/>
                <a:gd name="connsiteX6437" fmla="*/ 1253586 w 3368309"/>
                <a:gd name="connsiteY6437" fmla="*/ 178874 h 2031151"/>
                <a:gd name="connsiteX6438" fmla="*/ 1250817 w 3368309"/>
                <a:gd name="connsiteY6438" fmla="*/ 183924 h 2031151"/>
                <a:gd name="connsiteX6439" fmla="*/ 1247396 w 3368309"/>
                <a:gd name="connsiteY6439" fmla="*/ 180829 h 2031151"/>
                <a:gd name="connsiteX6440" fmla="*/ 1244626 w 3368309"/>
                <a:gd name="connsiteY6440" fmla="*/ 183924 h 2031151"/>
                <a:gd name="connsiteX6441" fmla="*/ 1237783 w 3368309"/>
                <a:gd name="connsiteY6441" fmla="*/ 184902 h 2031151"/>
                <a:gd name="connsiteX6442" fmla="*/ 1230290 w 3368309"/>
                <a:gd name="connsiteY6442" fmla="*/ 184413 h 2031151"/>
                <a:gd name="connsiteX6443" fmla="*/ 1230290 w 3368309"/>
                <a:gd name="connsiteY6443" fmla="*/ 181481 h 2031151"/>
                <a:gd name="connsiteX6444" fmla="*/ 1230127 w 3368309"/>
                <a:gd name="connsiteY6444" fmla="*/ 181481 h 2031151"/>
                <a:gd name="connsiteX6445" fmla="*/ 1281932 w 3368309"/>
                <a:gd name="connsiteY6445" fmla="*/ 229702 h 2031151"/>
                <a:gd name="connsiteX6446" fmla="*/ 1281932 w 3368309"/>
                <a:gd name="connsiteY6446" fmla="*/ 233775 h 2031151"/>
                <a:gd name="connsiteX6447" fmla="*/ 1286656 w 3368309"/>
                <a:gd name="connsiteY6447" fmla="*/ 239802 h 2031151"/>
                <a:gd name="connsiteX6448" fmla="*/ 1285516 w 3368309"/>
                <a:gd name="connsiteY6448" fmla="*/ 241757 h 2031151"/>
                <a:gd name="connsiteX6449" fmla="*/ 1286005 w 3368309"/>
                <a:gd name="connsiteY6449" fmla="*/ 244038 h 2031151"/>
                <a:gd name="connsiteX6450" fmla="*/ 1290729 w 3368309"/>
                <a:gd name="connsiteY6450" fmla="*/ 242083 h 2031151"/>
                <a:gd name="connsiteX6451" fmla="*/ 1292358 w 3368309"/>
                <a:gd name="connsiteY6451" fmla="*/ 236707 h 2031151"/>
                <a:gd name="connsiteX6452" fmla="*/ 1289100 w 3368309"/>
                <a:gd name="connsiteY6452" fmla="*/ 229376 h 2031151"/>
                <a:gd name="connsiteX6453" fmla="*/ 1283887 w 3368309"/>
                <a:gd name="connsiteY6453" fmla="*/ 228724 h 2031151"/>
                <a:gd name="connsiteX6454" fmla="*/ 1281606 w 3368309"/>
                <a:gd name="connsiteY6454" fmla="*/ 229865 h 2031151"/>
                <a:gd name="connsiteX6455" fmla="*/ 1281606 w 3368309"/>
                <a:gd name="connsiteY6455" fmla="*/ 229865 h 2031151"/>
                <a:gd name="connsiteX6456" fmla="*/ 1758441 w 3368309"/>
                <a:gd name="connsiteY6456" fmla="*/ 384303 h 2031151"/>
                <a:gd name="connsiteX6457" fmla="*/ 1760885 w 3368309"/>
                <a:gd name="connsiteY6457" fmla="*/ 382836 h 2031151"/>
                <a:gd name="connsiteX6458" fmla="*/ 1761862 w 3368309"/>
                <a:gd name="connsiteY6458" fmla="*/ 377135 h 2031151"/>
                <a:gd name="connsiteX6459" fmla="*/ 1761374 w 3368309"/>
                <a:gd name="connsiteY6459" fmla="*/ 372899 h 2031151"/>
                <a:gd name="connsiteX6460" fmla="*/ 1754531 w 3368309"/>
                <a:gd name="connsiteY6460" fmla="*/ 375994 h 2031151"/>
                <a:gd name="connsiteX6461" fmla="*/ 1752903 w 3368309"/>
                <a:gd name="connsiteY6461" fmla="*/ 377623 h 2031151"/>
                <a:gd name="connsiteX6462" fmla="*/ 1754043 w 3368309"/>
                <a:gd name="connsiteY6462" fmla="*/ 382022 h 2031151"/>
                <a:gd name="connsiteX6463" fmla="*/ 1756487 w 3368309"/>
                <a:gd name="connsiteY6463" fmla="*/ 382022 h 2031151"/>
                <a:gd name="connsiteX6464" fmla="*/ 1758441 w 3368309"/>
                <a:gd name="connsiteY6464" fmla="*/ 384303 h 2031151"/>
                <a:gd name="connsiteX6465" fmla="*/ 1758441 w 3368309"/>
                <a:gd name="connsiteY6465" fmla="*/ 384303 h 2031151"/>
                <a:gd name="connsiteX6466" fmla="*/ 1694581 w 3368309"/>
                <a:gd name="connsiteY6466" fmla="*/ 455331 h 2031151"/>
                <a:gd name="connsiteX6467" fmla="*/ 1701260 w 3368309"/>
                <a:gd name="connsiteY6467" fmla="*/ 455331 h 2031151"/>
                <a:gd name="connsiteX6468" fmla="*/ 1703215 w 3368309"/>
                <a:gd name="connsiteY6468" fmla="*/ 453702 h 2031151"/>
                <a:gd name="connsiteX6469" fmla="*/ 1705333 w 3368309"/>
                <a:gd name="connsiteY6469" fmla="*/ 454028 h 2031151"/>
                <a:gd name="connsiteX6470" fmla="*/ 1705659 w 3368309"/>
                <a:gd name="connsiteY6470" fmla="*/ 451910 h 2031151"/>
                <a:gd name="connsiteX6471" fmla="*/ 1702401 w 3368309"/>
                <a:gd name="connsiteY6471" fmla="*/ 448652 h 2031151"/>
                <a:gd name="connsiteX6472" fmla="*/ 1697187 w 3368309"/>
                <a:gd name="connsiteY6472" fmla="*/ 444905 h 2031151"/>
                <a:gd name="connsiteX6473" fmla="*/ 1693278 w 3368309"/>
                <a:gd name="connsiteY6473" fmla="*/ 444579 h 2031151"/>
                <a:gd name="connsiteX6474" fmla="*/ 1690997 w 3368309"/>
                <a:gd name="connsiteY6474" fmla="*/ 446697 h 2031151"/>
                <a:gd name="connsiteX6475" fmla="*/ 1691323 w 3368309"/>
                <a:gd name="connsiteY6475" fmla="*/ 448978 h 2031151"/>
                <a:gd name="connsiteX6476" fmla="*/ 1694907 w 3368309"/>
                <a:gd name="connsiteY6476" fmla="*/ 451258 h 2031151"/>
                <a:gd name="connsiteX6477" fmla="*/ 1694907 w 3368309"/>
                <a:gd name="connsiteY6477" fmla="*/ 455168 h 2031151"/>
                <a:gd name="connsiteX6478" fmla="*/ 1694907 w 3368309"/>
                <a:gd name="connsiteY6478" fmla="*/ 455168 h 2031151"/>
                <a:gd name="connsiteX6479" fmla="*/ 1516847 w 3368309"/>
                <a:gd name="connsiteY6479" fmla="*/ 423727 h 2031151"/>
                <a:gd name="connsiteX6480" fmla="*/ 1522549 w 3368309"/>
                <a:gd name="connsiteY6480" fmla="*/ 425030 h 2031151"/>
                <a:gd name="connsiteX6481" fmla="*/ 1525481 w 3368309"/>
                <a:gd name="connsiteY6481" fmla="*/ 426659 h 2031151"/>
                <a:gd name="connsiteX6482" fmla="*/ 1529228 w 3368309"/>
                <a:gd name="connsiteY6482" fmla="*/ 424704 h 2031151"/>
                <a:gd name="connsiteX6483" fmla="*/ 1530206 w 3368309"/>
                <a:gd name="connsiteY6483" fmla="*/ 420631 h 2031151"/>
                <a:gd name="connsiteX6484" fmla="*/ 1532812 w 3368309"/>
                <a:gd name="connsiteY6484" fmla="*/ 418351 h 2031151"/>
                <a:gd name="connsiteX6485" fmla="*/ 1532812 w 3368309"/>
                <a:gd name="connsiteY6485" fmla="*/ 415255 h 2031151"/>
                <a:gd name="connsiteX6486" fmla="*/ 1530043 w 3368309"/>
                <a:gd name="connsiteY6486" fmla="*/ 412323 h 2031151"/>
                <a:gd name="connsiteX6487" fmla="*/ 1530043 w 3368309"/>
                <a:gd name="connsiteY6487" fmla="*/ 403689 h 2031151"/>
                <a:gd name="connsiteX6488" fmla="*/ 1526785 w 3368309"/>
                <a:gd name="connsiteY6488" fmla="*/ 400431 h 2031151"/>
                <a:gd name="connsiteX6489" fmla="*/ 1524341 w 3368309"/>
                <a:gd name="connsiteY6489" fmla="*/ 395055 h 2031151"/>
                <a:gd name="connsiteX6490" fmla="*/ 1524341 w 3368309"/>
                <a:gd name="connsiteY6490" fmla="*/ 391797 h 2031151"/>
                <a:gd name="connsiteX6491" fmla="*/ 1520268 w 3368309"/>
                <a:gd name="connsiteY6491" fmla="*/ 390819 h 2031151"/>
                <a:gd name="connsiteX6492" fmla="*/ 1510819 w 3368309"/>
                <a:gd name="connsiteY6492" fmla="*/ 393589 h 2031151"/>
                <a:gd name="connsiteX6493" fmla="*/ 1501860 w 3368309"/>
                <a:gd name="connsiteY6493" fmla="*/ 399127 h 2031151"/>
                <a:gd name="connsiteX6494" fmla="*/ 1497135 w 3368309"/>
                <a:gd name="connsiteY6494" fmla="*/ 399127 h 2031151"/>
                <a:gd name="connsiteX6495" fmla="*/ 1495832 w 3368309"/>
                <a:gd name="connsiteY6495" fmla="*/ 401734 h 2031151"/>
                <a:gd name="connsiteX6496" fmla="*/ 1497298 w 3368309"/>
                <a:gd name="connsiteY6496" fmla="*/ 407110 h 2031151"/>
                <a:gd name="connsiteX6497" fmla="*/ 1501533 w 3368309"/>
                <a:gd name="connsiteY6497" fmla="*/ 409717 h 2031151"/>
                <a:gd name="connsiteX6498" fmla="*/ 1502674 w 3368309"/>
                <a:gd name="connsiteY6498" fmla="*/ 413952 h 2031151"/>
                <a:gd name="connsiteX6499" fmla="*/ 1500393 w 3368309"/>
                <a:gd name="connsiteY6499" fmla="*/ 416559 h 2031151"/>
                <a:gd name="connsiteX6500" fmla="*/ 1495669 w 3368309"/>
                <a:gd name="connsiteY6500" fmla="*/ 416233 h 2031151"/>
                <a:gd name="connsiteX6501" fmla="*/ 1494692 w 3368309"/>
                <a:gd name="connsiteY6501" fmla="*/ 417699 h 2031151"/>
                <a:gd name="connsiteX6502" fmla="*/ 1497135 w 3368309"/>
                <a:gd name="connsiteY6502" fmla="*/ 420631 h 2031151"/>
                <a:gd name="connsiteX6503" fmla="*/ 1504303 w 3368309"/>
                <a:gd name="connsiteY6503" fmla="*/ 420957 h 2031151"/>
                <a:gd name="connsiteX6504" fmla="*/ 1517010 w 3368309"/>
                <a:gd name="connsiteY6504" fmla="*/ 423890 h 2031151"/>
                <a:gd name="connsiteX6505" fmla="*/ 1517010 w 3368309"/>
                <a:gd name="connsiteY6505" fmla="*/ 423890 h 2031151"/>
                <a:gd name="connsiteX6506" fmla="*/ 2037668 w 3368309"/>
                <a:gd name="connsiteY6506" fmla="*/ 268637 h 2031151"/>
                <a:gd name="connsiteX6507" fmla="*/ 2040111 w 3368309"/>
                <a:gd name="connsiteY6507" fmla="*/ 266682 h 2031151"/>
                <a:gd name="connsiteX6508" fmla="*/ 2038971 w 3368309"/>
                <a:gd name="connsiteY6508" fmla="*/ 264890 h 2031151"/>
                <a:gd name="connsiteX6509" fmla="*/ 2040763 w 3368309"/>
                <a:gd name="connsiteY6509" fmla="*/ 259840 h 2031151"/>
                <a:gd name="connsiteX6510" fmla="*/ 2043532 w 3368309"/>
                <a:gd name="connsiteY6510" fmla="*/ 255604 h 2031151"/>
                <a:gd name="connsiteX6511" fmla="*/ 2042392 w 3368309"/>
                <a:gd name="connsiteY6511" fmla="*/ 250554 h 2031151"/>
                <a:gd name="connsiteX6512" fmla="*/ 2035550 w 3368309"/>
                <a:gd name="connsiteY6512" fmla="*/ 243549 h 2031151"/>
                <a:gd name="connsiteX6513" fmla="*/ 2033106 w 3368309"/>
                <a:gd name="connsiteY6513" fmla="*/ 237522 h 2031151"/>
                <a:gd name="connsiteX6514" fmla="*/ 2029359 w 3368309"/>
                <a:gd name="connsiteY6514" fmla="*/ 236707 h 2031151"/>
                <a:gd name="connsiteX6515" fmla="*/ 2023494 w 3368309"/>
                <a:gd name="connsiteY6515" fmla="*/ 238173 h 2031151"/>
                <a:gd name="connsiteX6516" fmla="*/ 2018770 w 3368309"/>
                <a:gd name="connsiteY6516" fmla="*/ 242898 h 2031151"/>
                <a:gd name="connsiteX6517" fmla="*/ 2019259 w 3368309"/>
                <a:gd name="connsiteY6517" fmla="*/ 247296 h 2031151"/>
                <a:gd name="connsiteX6518" fmla="*/ 2022680 w 3368309"/>
                <a:gd name="connsiteY6518" fmla="*/ 252835 h 2031151"/>
                <a:gd name="connsiteX6519" fmla="*/ 2022028 w 3368309"/>
                <a:gd name="connsiteY6519" fmla="*/ 255604 h 2031151"/>
                <a:gd name="connsiteX6520" fmla="*/ 2023820 w 3368309"/>
                <a:gd name="connsiteY6520" fmla="*/ 258700 h 2031151"/>
                <a:gd name="connsiteX6521" fmla="*/ 2028056 w 3368309"/>
                <a:gd name="connsiteY6521" fmla="*/ 260003 h 2031151"/>
                <a:gd name="connsiteX6522" fmla="*/ 2032617 w 3368309"/>
                <a:gd name="connsiteY6522" fmla="*/ 266194 h 2031151"/>
                <a:gd name="connsiteX6523" fmla="*/ 2037342 w 3368309"/>
                <a:gd name="connsiteY6523" fmla="*/ 268474 h 2031151"/>
                <a:gd name="connsiteX6524" fmla="*/ 2037342 w 3368309"/>
                <a:gd name="connsiteY6524" fmla="*/ 268474 h 2031151"/>
                <a:gd name="connsiteX6525" fmla="*/ 2052655 w 3368309"/>
                <a:gd name="connsiteY6525" fmla="*/ 306758 h 2031151"/>
                <a:gd name="connsiteX6526" fmla="*/ 2055913 w 3368309"/>
                <a:gd name="connsiteY6526" fmla="*/ 304966 h 2031151"/>
                <a:gd name="connsiteX6527" fmla="*/ 2059823 w 3368309"/>
                <a:gd name="connsiteY6527" fmla="*/ 299101 h 2031151"/>
                <a:gd name="connsiteX6528" fmla="*/ 2067480 w 3368309"/>
                <a:gd name="connsiteY6528" fmla="*/ 294540 h 2031151"/>
                <a:gd name="connsiteX6529" fmla="*/ 2075299 w 3368309"/>
                <a:gd name="connsiteY6529" fmla="*/ 296169 h 2031151"/>
                <a:gd name="connsiteX6530" fmla="*/ 2085563 w 3368309"/>
                <a:gd name="connsiteY6530" fmla="*/ 296169 h 2031151"/>
                <a:gd name="connsiteX6531" fmla="*/ 2092568 w 3368309"/>
                <a:gd name="connsiteY6531" fmla="*/ 294866 h 2031151"/>
                <a:gd name="connsiteX6532" fmla="*/ 2104297 w 3368309"/>
                <a:gd name="connsiteY6532" fmla="*/ 294866 h 2031151"/>
                <a:gd name="connsiteX6533" fmla="*/ 2109022 w 3368309"/>
                <a:gd name="connsiteY6533" fmla="*/ 291933 h 2031151"/>
                <a:gd name="connsiteX6534" fmla="*/ 2117167 w 3368309"/>
                <a:gd name="connsiteY6534" fmla="*/ 291119 h 2031151"/>
                <a:gd name="connsiteX6535" fmla="*/ 2122381 w 3368309"/>
                <a:gd name="connsiteY6535" fmla="*/ 292422 h 2031151"/>
                <a:gd name="connsiteX6536" fmla="*/ 2126942 w 3368309"/>
                <a:gd name="connsiteY6536" fmla="*/ 288349 h 2031151"/>
                <a:gd name="connsiteX6537" fmla="*/ 2122381 w 3368309"/>
                <a:gd name="connsiteY6537" fmla="*/ 284439 h 2031151"/>
                <a:gd name="connsiteX6538" fmla="*/ 2120100 w 3368309"/>
                <a:gd name="connsiteY6538" fmla="*/ 279715 h 2031151"/>
                <a:gd name="connsiteX6539" fmla="*/ 2114072 w 3368309"/>
                <a:gd name="connsiteY6539" fmla="*/ 271732 h 2031151"/>
                <a:gd name="connsiteX6540" fmla="*/ 2103809 w 3368309"/>
                <a:gd name="connsiteY6540" fmla="*/ 263424 h 2031151"/>
                <a:gd name="connsiteX6541" fmla="*/ 2096967 w 3368309"/>
                <a:gd name="connsiteY6541" fmla="*/ 262935 h 2031151"/>
                <a:gd name="connsiteX6542" fmla="*/ 2089962 w 3368309"/>
                <a:gd name="connsiteY6542" fmla="*/ 261143 h 2031151"/>
                <a:gd name="connsiteX6543" fmla="*/ 2085074 w 3368309"/>
                <a:gd name="connsiteY6543" fmla="*/ 256093 h 2031151"/>
                <a:gd name="connsiteX6544" fmla="*/ 2080513 w 3368309"/>
                <a:gd name="connsiteY6544" fmla="*/ 256093 h 2031151"/>
                <a:gd name="connsiteX6545" fmla="*/ 2077254 w 3368309"/>
                <a:gd name="connsiteY6545" fmla="*/ 258374 h 2031151"/>
                <a:gd name="connsiteX6546" fmla="*/ 2070087 w 3368309"/>
                <a:gd name="connsiteY6546" fmla="*/ 255442 h 2031151"/>
                <a:gd name="connsiteX6547" fmla="*/ 2066177 w 3368309"/>
                <a:gd name="connsiteY6547" fmla="*/ 255442 h 2031151"/>
                <a:gd name="connsiteX6548" fmla="*/ 2062104 w 3368309"/>
                <a:gd name="connsiteY6548" fmla="*/ 260980 h 2031151"/>
                <a:gd name="connsiteX6549" fmla="*/ 2056402 w 3368309"/>
                <a:gd name="connsiteY6549" fmla="*/ 269126 h 2031151"/>
                <a:gd name="connsiteX6550" fmla="*/ 2058031 w 3368309"/>
                <a:gd name="connsiteY6550" fmla="*/ 274665 h 2031151"/>
                <a:gd name="connsiteX6551" fmla="*/ 2058031 w 3368309"/>
                <a:gd name="connsiteY6551" fmla="*/ 285417 h 2031151"/>
                <a:gd name="connsiteX6552" fmla="*/ 2054610 w 3368309"/>
                <a:gd name="connsiteY6552" fmla="*/ 297635 h 2031151"/>
                <a:gd name="connsiteX6553" fmla="*/ 2049397 w 3368309"/>
                <a:gd name="connsiteY6553" fmla="*/ 302034 h 2031151"/>
                <a:gd name="connsiteX6554" fmla="*/ 2049071 w 3368309"/>
                <a:gd name="connsiteY6554" fmla="*/ 306432 h 2031151"/>
                <a:gd name="connsiteX6555" fmla="*/ 2052818 w 3368309"/>
                <a:gd name="connsiteY6555" fmla="*/ 306921 h 2031151"/>
                <a:gd name="connsiteX6556" fmla="*/ 2052818 w 3368309"/>
                <a:gd name="connsiteY6556" fmla="*/ 306921 h 2031151"/>
                <a:gd name="connsiteX6557" fmla="*/ 1930636 w 3368309"/>
                <a:gd name="connsiteY6557" fmla="*/ 281507 h 2031151"/>
                <a:gd name="connsiteX6558" fmla="*/ 1932428 w 3368309"/>
                <a:gd name="connsiteY6558" fmla="*/ 286068 h 2031151"/>
                <a:gd name="connsiteX6559" fmla="*/ 1935361 w 3368309"/>
                <a:gd name="connsiteY6559" fmla="*/ 289978 h 2031151"/>
                <a:gd name="connsiteX6560" fmla="*/ 1940737 w 3368309"/>
                <a:gd name="connsiteY6560" fmla="*/ 289978 h 2031151"/>
                <a:gd name="connsiteX6561" fmla="*/ 1945461 w 3368309"/>
                <a:gd name="connsiteY6561" fmla="*/ 293399 h 2031151"/>
                <a:gd name="connsiteX6562" fmla="*/ 1951326 w 3368309"/>
                <a:gd name="connsiteY6562" fmla="*/ 293888 h 2031151"/>
                <a:gd name="connsiteX6563" fmla="*/ 1956539 w 3368309"/>
                <a:gd name="connsiteY6563" fmla="*/ 298612 h 2031151"/>
                <a:gd name="connsiteX6564" fmla="*/ 1959634 w 3368309"/>
                <a:gd name="connsiteY6564" fmla="*/ 298612 h 2031151"/>
                <a:gd name="connsiteX6565" fmla="*/ 1959960 w 3368309"/>
                <a:gd name="connsiteY6565" fmla="*/ 295354 h 2031151"/>
                <a:gd name="connsiteX6566" fmla="*/ 1952792 w 3368309"/>
                <a:gd name="connsiteY6566" fmla="*/ 288349 h 2031151"/>
                <a:gd name="connsiteX6567" fmla="*/ 1947416 w 3368309"/>
                <a:gd name="connsiteY6567" fmla="*/ 286557 h 2031151"/>
                <a:gd name="connsiteX6568" fmla="*/ 1941551 w 3368309"/>
                <a:gd name="connsiteY6568" fmla="*/ 286557 h 2031151"/>
                <a:gd name="connsiteX6569" fmla="*/ 1935361 w 3368309"/>
                <a:gd name="connsiteY6569" fmla="*/ 280855 h 2031151"/>
                <a:gd name="connsiteX6570" fmla="*/ 1931614 w 3368309"/>
                <a:gd name="connsiteY6570" fmla="*/ 279878 h 2031151"/>
                <a:gd name="connsiteX6571" fmla="*/ 1930474 w 3368309"/>
                <a:gd name="connsiteY6571" fmla="*/ 281344 h 2031151"/>
                <a:gd name="connsiteX6572" fmla="*/ 1930474 w 3368309"/>
                <a:gd name="connsiteY6572" fmla="*/ 281344 h 2031151"/>
                <a:gd name="connsiteX6573" fmla="*/ 2093383 w 3368309"/>
                <a:gd name="connsiteY6573" fmla="*/ 443276 h 2031151"/>
                <a:gd name="connsiteX6574" fmla="*/ 2097944 w 3368309"/>
                <a:gd name="connsiteY6574" fmla="*/ 449303 h 2031151"/>
                <a:gd name="connsiteX6575" fmla="*/ 2102017 w 3368309"/>
                <a:gd name="connsiteY6575" fmla="*/ 450770 h 2031151"/>
                <a:gd name="connsiteX6576" fmla="*/ 2102506 w 3368309"/>
                <a:gd name="connsiteY6576" fmla="*/ 448000 h 2031151"/>
                <a:gd name="connsiteX6577" fmla="*/ 2109347 w 3368309"/>
                <a:gd name="connsiteY6577" fmla="*/ 446045 h 2031151"/>
                <a:gd name="connsiteX6578" fmla="*/ 2110814 w 3368309"/>
                <a:gd name="connsiteY6578" fmla="*/ 443602 h 2031151"/>
                <a:gd name="connsiteX6579" fmla="*/ 2109022 w 3368309"/>
                <a:gd name="connsiteY6579" fmla="*/ 440343 h 2031151"/>
                <a:gd name="connsiteX6580" fmla="*/ 2107067 w 3368309"/>
                <a:gd name="connsiteY6580" fmla="*/ 434642 h 2031151"/>
                <a:gd name="connsiteX6581" fmla="*/ 2105112 w 3368309"/>
                <a:gd name="connsiteY6581" fmla="*/ 435619 h 2031151"/>
                <a:gd name="connsiteX6582" fmla="*/ 2104135 w 3368309"/>
                <a:gd name="connsiteY6582" fmla="*/ 439855 h 2031151"/>
                <a:gd name="connsiteX6583" fmla="*/ 2099410 w 3368309"/>
                <a:gd name="connsiteY6583" fmla="*/ 443113 h 2031151"/>
                <a:gd name="connsiteX6584" fmla="*/ 2093545 w 3368309"/>
                <a:gd name="connsiteY6584" fmla="*/ 443276 h 2031151"/>
                <a:gd name="connsiteX6585" fmla="*/ 2093545 w 3368309"/>
                <a:gd name="connsiteY6585" fmla="*/ 443276 h 2031151"/>
                <a:gd name="connsiteX6586" fmla="*/ 2664705 w 3368309"/>
                <a:gd name="connsiteY6586" fmla="*/ 398965 h 2031151"/>
                <a:gd name="connsiteX6587" fmla="*/ 2666497 w 3368309"/>
                <a:gd name="connsiteY6587" fmla="*/ 398965 h 2031151"/>
                <a:gd name="connsiteX6588" fmla="*/ 2667474 w 3368309"/>
                <a:gd name="connsiteY6588" fmla="*/ 394729 h 2031151"/>
                <a:gd name="connsiteX6589" fmla="*/ 2665845 w 3368309"/>
                <a:gd name="connsiteY6589" fmla="*/ 390493 h 2031151"/>
                <a:gd name="connsiteX6590" fmla="*/ 2663239 w 3368309"/>
                <a:gd name="connsiteY6590" fmla="*/ 390167 h 2031151"/>
                <a:gd name="connsiteX6591" fmla="*/ 2662424 w 3368309"/>
                <a:gd name="connsiteY6591" fmla="*/ 392122 h 2031151"/>
                <a:gd name="connsiteX6592" fmla="*/ 2664705 w 3368309"/>
                <a:gd name="connsiteY6592" fmla="*/ 398802 h 2031151"/>
                <a:gd name="connsiteX6593" fmla="*/ 2664705 w 3368309"/>
                <a:gd name="connsiteY6593" fmla="*/ 398802 h 2031151"/>
                <a:gd name="connsiteX6594" fmla="*/ 2660795 w 3368309"/>
                <a:gd name="connsiteY6594" fmla="*/ 403037 h 2031151"/>
                <a:gd name="connsiteX6595" fmla="*/ 2663239 w 3368309"/>
                <a:gd name="connsiteY6595" fmla="*/ 404178 h 2031151"/>
                <a:gd name="connsiteX6596" fmla="*/ 2662913 w 3368309"/>
                <a:gd name="connsiteY6596" fmla="*/ 400268 h 2031151"/>
                <a:gd name="connsiteX6597" fmla="*/ 2660633 w 3368309"/>
                <a:gd name="connsiteY6597" fmla="*/ 396195 h 2031151"/>
                <a:gd name="connsiteX6598" fmla="*/ 2657374 w 3368309"/>
                <a:gd name="connsiteY6598" fmla="*/ 396195 h 2031151"/>
                <a:gd name="connsiteX6599" fmla="*/ 2657048 w 3368309"/>
                <a:gd name="connsiteY6599" fmla="*/ 398476 h 2031151"/>
                <a:gd name="connsiteX6600" fmla="*/ 2660795 w 3368309"/>
                <a:gd name="connsiteY6600" fmla="*/ 402874 h 2031151"/>
                <a:gd name="connsiteX6601" fmla="*/ 2660795 w 3368309"/>
                <a:gd name="connsiteY6601" fmla="*/ 402874 h 2031151"/>
                <a:gd name="connsiteX6602" fmla="*/ 2656560 w 3368309"/>
                <a:gd name="connsiteY6602" fmla="*/ 405644 h 2031151"/>
                <a:gd name="connsiteX6603" fmla="*/ 2660633 w 3368309"/>
                <a:gd name="connsiteY6603" fmla="*/ 411183 h 2031151"/>
                <a:gd name="connsiteX6604" fmla="*/ 2663076 w 3368309"/>
                <a:gd name="connsiteY6604" fmla="*/ 416070 h 2031151"/>
                <a:gd name="connsiteX6605" fmla="*/ 2664542 w 3368309"/>
                <a:gd name="connsiteY6605" fmla="*/ 413789 h 2031151"/>
                <a:gd name="connsiteX6606" fmla="*/ 2662750 w 3368309"/>
                <a:gd name="connsiteY6606" fmla="*/ 407110 h 2031151"/>
                <a:gd name="connsiteX6607" fmla="*/ 2658188 w 3368309"/>
                <a:gd name="connsiteY6607" fmla="*/ 403363 h 2031151"/>
                <a:gd name="connsiteX6608" fmla="*/ 2656234 w 3368309"/>
                <a:gd name="connsiteY6608" fmla="*/ 403363 h 2031151"/>
                <a:gd name="connsiteX6609" fmla="*/ 2656560 w 3368309"/>
                <a:gd name="connsiteY6609" fmla="*/ 405481 h 2031151"/>
                <a:gd name="connsiteX6610" fmla="*/ 2656560 w 3368309"/>
                <a:gd name="connsiteY6610" fmla="*/ 405481 h 2031151"/>
                <a:gd name="connsiteX6611" fmla="*/ 2643527 w 3368309"/>
                <a:gd name="connsiteY6611" fmla="*/ 402549 h 2031151"/>
                <a:gd name="connsiteX6612" fmla="*/ 2646296 w 3368309"/>
                <a:gd name="connsiteY6612" fmla="*/ 407925 h 2031151"/>
                <a:gd name="connsiteX6613" fmla="*/ 2649554 w 3368309"/>
                <a:gd name="connsiteY6613" fmla="*/ 410205 h 2031151"/>
                <a:gd name="connsiteX6614" fmla="*/ 2651020 w 3368309"/>
                <a:gd name="connsiteY6614" fmla="*/ 407436 h 2031151"/>
                <a:gd name="connsiteX6615" fmla="*/ 2652487 w 3368309"/>
                <a:gd name="connsiteY6615" fmla="*/ 406784 h 2031151"/>
                <a:gd name="connsiteX6616" fmla="*/ 2651020 w 3368309"/>
                <a:gd name="connsiteY6616" fmla="*/ 401408 h 2031151"/>
                <a:gd name="connsiteX6617" fmla="*/ 2647926 w 3368309"/>
                <a:gd name="connsiteY6617" fmla="*/ 399779 h 2031151"/>
                <a:gd name="connsiteX6618" fmla="*/ 2647274 w 3368309"/>
                <a:gd name="connsiteY6618" fmla="*/ 401245 h 2031151"/>
                <a:gd name="connsiteX6619" fmla="*/ 2643527 w 3368309"/>
                <a:gd name="connsiteY6619" fmla="*/ 402711 h 2031151"/>
                <a:gd name="connsiteX6620" fmla="*/ 2643527 w 3368309"/>
                <a:gd name="connsiteY6620" fmla="*/ 402711 h 2031151"/>
                <a:gd name="connsiteX6621" fmla="*/ 2786072 w 3368309"/>
                <a:gd name="connsiteY6621" fmla="*/ 343901 h 2031151"/>
                <a:gd name="connsiteX6622" fmla="*/ 2791449 w 3368309"/>
                <a:gd name="connsiteY6622" fmla="*/ 346671 h 2031151"/>
                <a:gd name="connsiteX6623" fmla="*/ 2797313 w 3368309"/>
                <a:gd name="connsiteY6623" fmla="*/ 345204 h 2031151"/>
                <a:gd name="connsiteX6624" fmla="*/ 2800245 w 3368309"/>
                <a:gd name="connsiteY6624" fmla="*/ 340154 h 2031151"/>
                <a:gd name="connsiteX6625" fmla="*/ 2799268 w 3368309"/>
                <a:gd name="connsiteY6625" fmla="*/ 334615 h 2031151"/>
                <a:gd name="connsiteX6626" fmla="*/ 2795195 w 3368309"/>
                <a:gd name="connsiteY6626" fmla="*/ 329891 h 2031151"/>
                <a:gd name="connsiteX6627" fmla="*/ 2796824 w 3368309"/>
                <a:gd name="connsiteY6627" fmla="*/ 328262 h 2031151"/>
                <a:gd name="connsiteX6628" fmla="*/ 2794869 w 3368309"/>
                <a:gd name="connsiteY6628" fmla="*/ 323538 h 2031151"/>
                <a:gd name="connsiteX6629" fmla="*/ 2789493 w 3368309"/>
                <a:gd name="connsiteY6629" fmla="*/ 319791 h 2031151"/>
                <a:gd name="connsiteX6630" fmla="*/ 2788353 w 3368309"/>
                <a:gd name="connsiteY6630" fmla="*/ 322071 h 2031151"/>
                <a:gd name="connsiteX6631" fmla="*/ 2784117 w 3368309"/>
                <a:gd name="connsiteY6631" fmla="*/ 321746 h 2031151"/>
                <a:gd name="connsiteX6632" fmla="*/ 2779556 w 3368309"/>
                <a:gd name="connsiteY6632" fmla="*/ 319302 h 2031151"/>
                <a:gd name="connsiteX6633" fmla="*/ 2774343 w 3368309"/>
                <a:gd name="connsiteY6633" fmla="*/ 319302 h 2031151"/>
                <a:gd name="connsiteX6634" fmla="*/ 2773528 w 3368309"/>
                <a:gd name="connsiteY6634" fmla="*/ 321257 h 2031151"/>
                <a:gd name="connsiteX6635" fmla="*/ 2770433 w 3368309"/>
                <a:gd name="connsiteY6635" fmla="*/ 321746 h 2031151"/>
                <a:gd name="connsiteX6636" fmla="*/ 2771247 w 3368309"/>
                <a:gd name="connsiteY6636" fmla="*/ 323538 h 2031151"/>
                <a:gd name="connsiteX6637" fmla="*/ 2767338 w 3368309"/>
                <a:gd name="connsiteY6637" fmla="*/ 323863 h 2031151"/>
                <a:gd name="connsiteX6638" fmla="*/ 2765709 w 3368309"/>
                <a:gd name="connsiteY6638" fmla="*/ 328262 h 2031151"/>
                <a:gd name="connsiteX6639" fmla="*/ 2766035 w 3368309"/>
                <a:gd name="connsiteY6639" fmla="*/ 336896 h 2031151"/>
                <a:gd name="connsiteX6640" fmla="*/ 2768478 w 3368309"/>
                <a:gd name="connsiteY6640" fmla="*/ 338362 h 2031151"/>
                <a:gd name="connsiteX6641" fmla="*/ 2773202 w 3368309"/>
                <a:gd name="connsiteY6641" fmla="*/ 337711 h 2031151"/>
                <a:gd name="connsiteX6642" fmla="*/ 2779393 w 3368309"/>
                <a:gd name="connsiteY6642" fmla="*/ 339014 h 2031151"/>
                <a:gd name="connsiteX6643" fmla="*/ 2785909 w 3368309"/>
                <a:gd name="connsiteY6643" fmla="*/ 343738 h 2031151"/>
                <a:gd name="connsiteX6644" fmla="*/ 2785909 w 3368309"/>
                <a:gd name="connsiteY6644" fmla="*/ 343738 h 2031151"/>
                <a:gd name="connsiteX6645" fmla="*/ 2817514 w 3368309"/>
                <a:gd name="connsiteY6645" fmla="*/ 332172 h 2031151"/>
                <a:gd name="connsiteX6646" fmla="*/ 2820609 w 3368309"/>
                <a:gd name="connsiteY6646" fmla="*/ 329239 h 2031151"/>
                <a:gd name="connsiteX6647" fmla="*/ 2821424 w 3368309"/>
                <a:gd name="connsiteY6647" fmla="*/ 325492 h 2031151"/>
                <a:gd name="connsiteX6648" fmla="*/ 2817025 w 3368309"/>
                <a:gd name="connsiteY6648" fmla="*/ 326796 h 2031151"/>
                <a:gd name="connsiteX6649" fmla="*/ 2815396 w 3368309"/>
                <a:gd name="connsiteY6649" fmla="*/ 329239 h 2031151"/>
                <a:gd name="connsiteX6650" fmla="*/ 2817514 w 3368309"/>
                <a:gd name="connsiteY6650" fmla="*/ 332172 h 2031151"/>
                <a:gd name="connsiteX6651" fmla="*/ 2817514 w 3368309"/>
                <a:gd name="connsiteY6651" fmla="*/ 332172 h 2031151"/>
                <a:gd name="connsiteX6652" fmla="*/ 2852702 w 3368309"/>
                <a:gd name="connsiteY6652" fmla="*/ 1703704 h 2031151"/>
                <a:gd name="connsiteX6653" fmla="*/ 2851888 w 3368309"/>
                <a:gd name="connsiteY6653" fmla="*/ 1698002 h 2031151"/>
                <a:gd name="connsiteX6654" fmla="*/ 2852865 w 3368309"/>
                <a:gd name="connsiteY6654" fmla="*/ 1692463 h 2031151"/>
                <a:gd name="connsiteX6655" fmla="*/ 2850584 w 3368309"/>
                <a:gd name="connsiteY6655" fmla="*/ 1687739 h 2031151"/>
                <a:gd name="connsiteX6656" fmla="*/ 2848955 w 3368309"/>
                <a:gd name="connsiteY6656" fmla="*/ 1681874 h 2031151"/>
                <a:gd name="connsiteX6657" fmla="*/ 2850095 w 3368309"/>
                <a:gd name="connsiteY6657" fmla="*/ 1673566 h 2031151"/>
                <a:gd name="connsiteX6658" fmla="*/ 2854657 w 3368309"/>
                <a:gd name="connsiteY6658" fmla="*/ 1669493 h 2031151"/>
                <a:gd name="connsiteX6659" fmla="*/ 2857101 w 3368309"/>
                <a:gd name="connsiteY6659" fmla="*/ 1670633 h 2031151"/>
                <a:gd name="connsiteX6660" fmla="*/ 2857101 w 3368309"/>
                <a:gd name="connsiteY6660" fmla="*/ 1674380 h 2031151"/>
                <a:gd name="connsiteX6661" fmla="*/ 2860033 w 3368309"/>
                <a:gd name="connsiteY6661" fmla="*/ 1676335 h 2031151"/>
                <a:gd name="connsiteX6662" fmla="*/ 2869970 w 3368309"/>
                <a:gd name="connsiteY6662" fmla="*/ 1675358 h 2031151"/>
                <a:gd name="connsiteX6663" fmla="*/ 2871111 w 3368309"/>
                <a:gd name="connsiteY6663" fmla="*/ 1672914 h 2031151"/>
                <a:gd name="connsiteX6664" fmla="*/ 2873554 w 3368309"/>
                <a:gd name="connsiteY6664" fmla="*/ 1672425 h 2031151"/>
                <a:gd name="connsiteX6665" fmla="*/ 2875184 w 3368309"/>
                <a:gd name="connsiteY6665" fmla="*/ 1675032 h 2031151"/>
                <a:gd name="connsiteX6666" fmla="*/ 2873881 w 3368309"/>
                <a:gd name="connsiteY6666" fmla="*/ 1676824 h 2031151"/>
                <a:gd name="connsiteX6667" fmla="*/ 2874206 w 3368309"/>
                <a:gd name="connsiteY6667" fmla="*/ 1680734 h 2031151"/>
                <a:gd name="connsiteX6668" fmla="*/ 2879582 w 3368309"/>
                <a:gd name="connsiteY6668" fmla="*/ 1686436 h 2031151"/>
                <a:gd name="connsiteX6669" fmla="*/ 2880234 w 3368309"/>
                <a:gd name="connsiteY6669" fmla="*/ 1690997 h 2031151"/>
                <a:gd name="connsiteX6670" fmla="*/ 2883166 w 3368309"/>
                <a:gd name="connsiteY6670" fmla="*/ 1694092 h 2031151"/>
                <a:gd name="connsiteX6671" fmla="*/ 2883166 w 3368309"/>
                <a:gd name="connsiteY6671" fmla="*/ 1690671 h 2031151"/>
                <a:gd name="connsiteX6672" fmla="*/ 2882189 w 3368309"/>
                <a:gd name="connsiteY6672" fmla="*/ 1687902 h 2031151"/>
                <a:gd name="connsiteX6673" fmla="*/ 2882515 w 3368309"/>
                <a:gd name="connsiteY6673" fmla="*/ 1682526 h 2031151"/>
                <a:gd name="connsiteX6674" fmla="*/ 2882515 w 3368309"/>
                <a:gd name="connsiteY6674" fmla="*/ 1676661 h 2031151"/>
                <a:gd name="connsiteX6675" fmla="*/ 2877790 w 3368309"/>
                <a:gd name="connsiteY6675" fmla="*/ 1672588 h 2031151"/>
                <a:gd name="connsiteX6676" fmla="*/ 2876487 w 3368309"/>
                <a:gd name="connsiteY6676" fmla="*/ 1665746 h 2031151"/>
                <a:gd name="connsiteX6677" fmla="*/ 2874695 w 3368309"/>
                <a:gd name="connsiteY6677" fmla="*/ 1661510 h 2031151"/>
                <a:gd name="connsiteX6678" fmla="*/ 2870948 w 3368309"/>
                <a:gd name="connsiteY6678" fmla="*/ 1663302 h 2031151"/>
                <a:gd name="connsiteX6679" fmla="*/ 2867690 w 3368309"/>
                <a:gd name="connsiteY6679" fmla="*/ 1663302 h 2031151"/>
                <a:gd name="connsiteX6680" fmla="*/ 2860685 w 3368309"/>
                <a:gd name="connsiteY6680" fmla="*/ 1658904 h 2031151"/>
                <a:gd name="connsiteX6681" fmla="*/ 2859544 w 3368309"/>
                <a:gd name="connsiteY6681" fmla="*/ 1651410 h 2031151"/>
                <a:gd name="connsiteX6682" fmla="*/ 2856286 w 3368309"/>
                <a:gd name="connsiteY6682" fmla="*/ 1645545 h 2031151"/>
                <a:gd name="connsiteX6683" fmla="*/ 2850095 w 3368309"/>
                <a:gd name="connsiteY6683" fmla="*/ 1640006 h 2031151"/>
                <a:gd name="connsiteX6684" fmla="*/ 2846186 w 3368309"/>
                <a:gd name="connsiteY6684" fmla="*/ 1639029 h 2031151"/>
                <a:gd name="connsiteX6685" fmla="*/ 2842113 w 3368309"/>
                <a:gd name="connsiteY6685" fmla="*/ 1633979 h 2031151"/>
                <a:gd name="connsiteX6686" fmla="*/ 2839833 w 3368309"/>
                <a:gd name="connsiteY6686" fmla="*/ 1625182 h 2031151"/>
                <a:gd name="connsiteX6687" fmla="*/ 2835922 w 3368309"/>
                <a:gd name="connsiteY6687" fmla="*/ 1618502 h 2031151"/>
                <a:gd name="connsiteX6688" fmla="*/ 2834131 w 3368309"/>
                <a:gd name="connsiteY6688" fmla="*/ 1612312 h 2031151"/>
                <a:gd name="connsiteX6689" fmla="*/ 2834131 w 3368309"/>
                <a:gd name="connsiteY6689" fmla="*/ 1604003 h 2031151"/>
                <a:gd name="connsiteX6690" fmla="*/ 2833316 w 3368309"/>
                <a:gd name="connsiteY6690" fmla="*/ 1594066 h 2031151"/>
                <a:gd name="connsiteX6691" fmla="*/ 2830220 w 3368309"/>
                <a:gd name="connsiteY6691" fmla="*/ 1588853 h 2031151"/>
                <a:gd name="connsiteX6692" fmla="*/ 2831361 w 3368309"/>
                <a:gd name="connsiteY6692" fmla="*/ 1580219 h 2031151"/>
                <a:gd name="connsiteX6693" fmla="*/ 2830872 w 3368309"/>
                <a:gd name="connsiteY6693" fmla="*/ 1575169 h 2031151"/>
                <a:gd name="connsiteX6694" fmla="*/ 2827288 w 3368309"/>
                <a:gd name="connsiteY6694" fmla="*/ 1568652 h 2031151"/>
                <a:gd name="connsiteX6695" fmla="*/ 2829732 w 3368309"/>
                <a:gd name="connsiteY6695" fmla="*/ 1565394 h 2031151"/>
                <a:gd name="connsiteX6696" fmla="*/ 2830709 w 3368309"/>
                <a:gd name="connsiteY6696" fmla="*/ 1561647 h 2031151"/>
                <a:gd name="connsiteX6697" fmla="*/ 2830709 w 3368309"/>
                <a:gd name="connsiteY6697" fmla="*/ 1558715 h 2031151"/>
                <a:gd name="connsiteX6698" fmla="*/ 2832990 w 3368309"/>
                <a:gd name="connsiteY6698" fmla="*/ 1558389 h 2031151"/>
                <a:gd name="connsiteX6699" fmla="*/ 2835922 w 3368309"/>
                <a:gd name="connsiteY6699" fmla="*/ 1559041 h 2031151"/>
                <a:gd name="connsiteX6700" fmla="*/ 2841950 w 3368309"/>
                <a:gd name="connsiteY6700" fmla="*/ 1557574 h 2031151"/>
                <a:gd name="connsiteX6701" fmla="*/ 2847978 w 3368309"/>
                <a:gd name="connsiteY6701" fmla="*/ 1558389 h 2031151"/>
                <a:gd name="connsiteX6702" fmla="*/ 2853354 w 3368309"/>
                <a:gd name="connsiteY6702" fmla="*/ 1561973 h 2031151"/>
                <a:gd name="connsiteX6703" fmla="*/ 2856938 w 3368309"/>
                <a:gd name="connsiteY6703" fmla="*/ 1569304 h 2031151"/>
                <a:gd name="connsiteX6704" fmla="*/ 2862314 w 3368309"/>
                <a:gd name="connsiteY6704" fmla="*/ 1571259 h 2031151"/>
                <a:gd name="connsiteX6705" fmla="*/ 2867038 w 3368309"/>
                <a:gd name="connsiteY6705" fmla="*/ 1574354 h 2031151"/>
                <a:gd name="connsiteX6706" fmla="*/ 2871600 w 3368309"/>
                <a:gd name="connsiteY6706" fmla="*/ 1581522 h 2031151"/>
                <a:gd name="connsiteX6707" fmla="*/ 2874532 w 3368309"/>
                <a:gd name="connsiteY6707" fmla="*/ 1582825 h 2031151"/>
                <a:gd name="connsiteX6708" fmla="*/ 2872088 w 3368309"/>
                <a:gd name="connsiteY6708" fmla="*/ 1576309 h 2031151"/>
                <a:gd name="connsiteX6709" fmla="*/ 2866875 w 3368309"/>
                <a:gd name="connsiteY6709" fmla="*/ 1569793 h 2031151"/>
                <a:gd name="connsiteX6710" fmla="*/ 2859544 w 3368309"/>
                <a:gd name="connsiteY6710" fmla="*/ 1564417 h 2031151"/>
                <a:gd name="connsiteX6711" fmla="*/ 2855472 w 3368309"/>
                <a:gd name="connsiteY6711" fmla="*/ 1557411 h 2031151"/>
                <a:gd name="connsiteX6712" fmla="*/ 2851073 w 3368309"/>
                <a:gd name="connsiteY6712" fmla="*/ 1551221 h 2031151"/>
                <a:gd name="connsiteX6713" fmla="*/ 2851073 w 3368309"/>
                <a:gd name="connsiteY6713" fmla="*/ 1547963 h 2031151"/>
                <a:gd name="connsiteX6714" fmla="*/ 2848141 w 3368309"/>
                <a:gd name="connsiteY6714" fmla="*/ 1545356 h 2031151"/>
                <a:gd name="connsiteX6715" fmla="*/ 2843417 w 3368309"/>
                <a:gd name="connsiteY6715" fmla="*/ 1536396 h 2031151"/>
                <a:gd name="connsiteX6716" fmla="*/ 2841136 w 3368309"/>
                <a:gd name="connsiteY6716" fmla="*/ 1530532 h 2031151"/>
                <a:gd name="connsiteX6717" fmla="*/ 2837715 w 3368309"/>
                <a:gd name="connsiteY6717" fmla="*/ 1528740 h 2031151"/>
                <a:gd name="connsiteX6718" fmla="*/ 2837063 w 3368309"/>
                <a:gd name="connsiteY6718" fmla="*/ 1523689 h 2031151"/>
                <a:gd name="connsiteX6719" fmla="*/ 2829569 w 3368309"/>
                <a:gd name="connsiteY6719" fmla="*/ 1514729 h 2031151"/>
                <a:gd name="connsiteX6720" fmla="*/ 2822564 w 3368309"/>
                <a:gd name="connsiteY6720" fmla="*/ 1502185 h 2031151"/>
                <a:gd name="connsiteX6721" fmla="*/ 2820935 w 3368309"/>
                <a:gd name="connsiteY6721" fmla="*/ 1495995 h 2031151"/>
                <a:gd name="connsiteX6722" fmla="*/ 2811975 w 3368309"/>
                <a:gd name="connsiteY6722" fmla="*/ 1483939 h 2031151"/>
                <a:gd name="connsiteX6723" fmla="*/ 2807413 w 3368309"/>
                <a:gd name="connsiteY6723" fmla="*/ 1475142 h 2031151"/>
                <a:gd name="connsiteX6724" fmla="*/ 2803667 w 3368309"/>
                <a:gd name="connsiteY6724" fmla="*/ 1472536 h 2031151"/>
                <a:gd name="connsiteX6725" fmla="*/ 2803667 w 3368309"/>
                <a:gd name="connsiteY6725" fmla="*/ 1467160 h 2031151"/>
                <a:gd name="connsiteX6726" fmla="*/ 2800734 w 3368309"/>
                <a:gd name="connsiteY6726" fmla="*/ 1462435 h 2031151"/>
                <a:gd name="connsiteX6727" fmla="*/ 2797476 w 3368309"/>
                <a:gd name="connsiteY6727" fmla="*/ 1461132 h 2031151"/>
                <a:gd name="connsiteX6728" fmla="*/ 2797476 w 3368309"/>
                <a:gd name="connsiteY6728" fmla="*/ 1463413 h 2031151"/>
                <a:gd name="connsiteX6729" fmla="*/ 2794218 w 3368309"/>
                <a:gd name="connsiteY6729" fmla="*/ 1463087 h 2031151"/>
                <a:gd name="connsiteX6730" fmla="*/ 2793077 w 3368309"/>
                <a:gd name="connsiteY6730" fmla="*/ 1461132 h 2031151"/>
                <a:gd name="connsiteX6731" fmla="*/ 2794218 w 3368309"/>
                <a:gd name="connsiteY6731" fmla="*/ 1456897 h 2031151"/>
                <a:gd name="connsiteX6732" fmla="*/ 2792752 w 3368309"/>
                <a:gd name="connsiteY6732" fmla="*/ 1453150 h 2031151"/>
                <a:gd name="connsiteX6733" fmla="*/ 2788027 w 3368309"/>
                <a:gd name="connsiteY6733" fmla="*/ 1450217 h 2031151"/>
                <a:gd name="connsiteX6734" fmla="*/ 2783466 w 3368309"/>
                <a:gd name="connsiteY6734" fmla="*/ 1444678 h 2031151"/>
                <a:gd name="connsiteX6735" fmla="*/ 2780859 w 3368309"/>
                <a:gd name="connsiteY6735" fmla="*/ 1437673 h 2031151"/>
                <a:gd name="connsiteX6736" fmla="*/ 2778253 w 3368309"/>
                <a:gd name="connsiteY6736" fmla="*/ 1433763 h 2031151"/>
                <a:gd name="connsiteX6737" fmla="*/ 2777601 w 3368309"/>
                <a:gd name="connsiteY6737" fmla="*/ 1428224 h 2031151"/>
                <a:gd name="connsiteX6738" fmla="*/ 2778904 w 3368309"/>
                <a:gd name="connsiteY6738" fmla="*/ 1424152 h 2031151"/>
                <a:gd name="connsiteX6739" fmla="*/ 2780045 w 3368309"/>
                <a:gd name="connsiteY6739" fmla="*/ 1425129 h 2031151"/>
                <a:gd name="connsiteX6740" fmla="*/ 2778742 w 3368309"/>
                <a:gd name="connsiteY6740" fmla="*/ 1417798 h 2031151"/>
                <a:gd name="connsiteX6741" fmla="*/ 2777601 w 3368309"/>
                <a:gd name="connsiteY6741" fmla="*/ 1409490 h 2031151"/>
                <a:gd name="connsiteX6742" fmla="*/ 2776298 w 3368309"/>
                <a:gd name="connsiteY6742" fmla="*/ 1403788 h 2031151"/>
                <a:gd name="connsiteX6743" fmla="*/ 2771085 w 3368309"/>
                <a:gd name="connsiteY6743" fmla="*/ 1401507 h 2031151"/>
                <a:gd name="connsiteX6744" fmla="*/ 2765709 w 3368309"/>
                <a:gd name="connsiteY6744" fmla="*/ 1395643 h 2031151"/>
                <a:gd name="connsiteX6745" fmla="*/ 2765220 w 3368309"/>
                <a:gd name="connsiteY6745" fmla="*/ 1392385 h 2031151"/>
                <a:gd name="connsiteX6746" fmla="*/ 2762451 w 3368309"/>
                <a:gd name="connsiteY6746" fmla="*/ 1389615 h 2031151"/>
                <a:gd name="connsiteX6747" fmla="*/ 2762451 w 3368309"/>
                <a:gd name="connsiteY6747" fmla="*/ 1387008 h 2031151"/>
                <a:gd name="connsiteX6748" fmla="*/ 2764731 w 3368309"/>
                <a:gd name="connsiteY6748" fmla="*/ 1386520 h 2031151"/>
                <a:gd name="connsiteX6749" fmla="*/ 2769456 w 3368309"/>
                <a:gd name="connsiteY6749" fmla="*/ 1391244 h 2031151"/>
                <a:gd name="connsiteX6750" fmla="*/ 2774180 w 3368309"/>
                <a:gd name="connsiteY6750" fmla="*/ 1398249 h 2031151"/>
                <a:gd name="connsiteX6751" fmla="*/ 2771899 w 3368309"/>
                <a:gd name="connsiteY6751" fmla="*/ 1391733 h 2031151"/>
                <a:gd name="connsiteX6752" fmla="*/ 2766035 w 3368309"/>
                <a:gd name="connsiteY6752" fmla="*/ 1382936 h 2031151"/>
                <a:gd name="connsiteX6753" fmla="*/ 2760170 w 3368309"/>
                <a:gd name="connsiteY6753" fmla="*/ 1376745 h 2031151"/>
                <a:gd name="connsiteX6754" fmla="*/ 2757889 w 3368309"/>
                <a:gd name="connsiteY6754" fmla="*/ 1376745 h 2031151"/>
                <a:gd name="connsiteX6755" fmla="*/ 2756423 w 3368309"/>
                <a:gd name="connsiteY6755" fmla="*/ 1372347 h 2031151"/>
                <a:gd name="connsiteX6756" fmla="*/ 2746160 w 3368309"/>
                <a:gd name="connsiteY6756" fmla="*/ 1364038 h 2031151"/>
                <a:gd name="connsiteX6757" fmla="*/ 2742738 w 3368309"/>
                <a:gd name="connsiteY6757" fmla="*/ 1358336 h 2031151"/>
                <a:gd name="connsiteX6758" fmla="*/ 2743064 w 3368309"/>
                <a:gd name="connsiteY6758" fmla="*/ 1349865 h 2031151"/>
                <a:gd name="connsiteX6759" fmla="*/ 2740132 w 3368309"/>
                <a:gd name="connsiteY6759" fmla="*/ 1346607 h 2031151"/>
                <a:gd name="connsiteX6760" fmla="*/ 2732312 w 3368309"/>
                <a:gd name="connsiteY6760" fmla="*/ 1343675 h 2031151"/>
                <a:gd name="connsiteX6761" fmla="*/ 2728891 w 3368309"/>
                <a:gd name="connsiteY6761" fmla="*/ 1336507 h 2031151"/>
                <a:gd name="connsiteX6762" fmla="*/ 2727099 w 3368309"/>
                <a:gd name="connsiteY6762" fmla="*/ 1334226 h 2031151"/>
                <a:gd name="connsiteX6763" fmla="*/ 2725307 w 3368309"/>
                <a:gd name="connsiteY6763" fmla="*/ 1336832 h 2031151"/>
                <a:gd name="connsiteX6764" fmla="*/ 2727099 w 3368309"/>
                <a:gd name="connsiteY6764" fmla="*/ 1339113 h 2031151"/>
                <a:gd name="connsiteX6765" fmla="*/ 2727099 w 3368309"/>
                <a:gd name="connsiteY6765" fmla="*/ 1342860 h 2031151"/>
                <a:gd name="connsiteX6766" fmla="*/ 2724330 w 3368309"/>
                <a:gd name="connsiteY6766" fmla="*/ 1344000 h 2031151"/>
                <a:gd name="connsiteX6767" fmla="*/ 2720583 w 3368309"/>
                <a:gd name="connsiteY6767" fmla="*/ 1341394 h 2031151"/>
                <a:gd name="connsiteX6768" fmla="*/ 2716347 w 3368309"/>
                <a:gd name="connsiteY6768" fmla="*/ 1341720 h 2031151"/>
                <a:gd name="connsiteX6769" fmla="*/ 2723026 w 3368309"/>
                <a:gd name="connsiteY6769" fmla="*/ 1348725 h 2031151"/>
                <a:gd name="connsiteX6770" fmla="*/ 2731824 w 3368309"/>
                <a:gd name="connsiteY6770" fmla="*/ 1353938 h 2031151"/>
                <a:gd name="connsiteX6771" fmla="*/ 2734430 w 3368309"/>
                <a:gd name="connsiteY6771" fmla="*/ 1358011 h 2031151"/>
                <a:gd name="connsiteX6772" fmla="*/ 2733615 w 3368309"/>
                <a:gd name="connsiteY6772" fmla="*/ 1363712 h 2031151"/>
                <a:gd name="connsiteX6773" fmla="*/ 2736059 w 3368309"/>
                <a:gd name="connsiteY6773" fmla="*/ 1361432 h 2031151"/>
                <a:gd name="connsiteX6774" fmla="*/ 2738992 w 3368309"/>
                <a:gd name="connsiteY6774" fmla="*/ 1361106 h 2031151"/>
                <a:gd name="connsiteX6775" fmla="*/ 2740295 w 3368309"/>
                <a:gd name="connsiteY6775" fmla="*/ 1364527 h 2031151"/>
                <a:gd name="connsiteX6776" fmla="*/ 2738340 w 3368309"/>
                <a:gd name="connsiteY6776" fmla="*/ 1366971 h 2031151"/>
                <a:gd name="connsiteX6777" fmla="*/ 2734919 w 3368309"/>
                <a:gd name="connsiteY6777" fmla="*/ 1368437 h 2031151"/>
                <a:gd name="connsiteX6778" fmla="*/ 2735896 w 3368309"/>
                <a:gd name="connsiteY6778" fmla="*/ 1371695 h 2031151"/>
                <a:gd name="connsiteX6779" fmla="*/ 2739806 w 3368309"/>
                <a:gd name="connsiteY6779" fmla="*/ 1371695 h 2031151"/>
                <a:gd name="connsiteX6780" fmla="*/ 2741109 w 3368309"/>
                <a:gd name="connsiteY6780" fmla="*/ 1377071 h 2031151"/>
                <a:gd name="connsiteX6781" fmla="*/ 2737036 w 3368309"/>
                <a:gd name="connsiteY6781" fmla="*/ 1379515 h 2031151"/>
                <a:gd name="connsiteX6782" fmla="*/ 2733127 w 3368309"/>
                <a:gd name="connsiteY6782" fmla="*/ 1378700 h 2031151"/>
                <a:gd name="connsiteX6783" fmla="*/ 2730031 w 3368309"/>
                <a:gd name="connsiteY6783" fmla="*/ 1374465 h 2031151"/>
                <a:gd name="connsiteX6784" fmla="*/ 2726774 w 3368309"/>
                <a:gd name="connsiteY6784" fmla="*/ 1377560 h 2031151"/>
                <a:gd name="connsiteX6785" fmla="*/ 2724004 w 3368309"/>
                <a:gd name="connsiteY6785" fmla="*/ 1384402 h 2031151"/>
                <a:gd name="connsiteX6786" fmla="*/ 2728565 w 3368309"/>
                <a:gd name="connsiteY6786" fmla="*/ 1389615 h 2031151"/>
                <a:gd name="connsiteX6787" fmla="*/ 2730031 w 3368309"/>
                <a:gd name="connsiteY6787" fmla="*/ 1395643 h 2031151"/>
                <a:gd name="connsiteX6788" fmla="*/ 2735245 w 3368309"/>
                <a:gd name="connsiteY6788" fmla="*/ 1401833 h 2031151"/>
                <a:gd name="connsiteX6789" fmla="*/ 2739643 w 3368309"/>
                <a:gd name="connsiteY6789" fmla="*/ 1409979 h 2031151"/>
                <a:gd name="connsiteX6790" fmla="*/ 2740132 w 3368309"/>
                <a:gd name="connsiteY6790" fmla="*/ 1420894 h 2031151"/>
                <a:gd name="connsiteX6791" fmla="*/ 2741924 w 3368309"/>
                <a:gd name="connsiteY6791" fmla="*/ 1423337 h 2031151"/>
                <a:gd name="connsiteX6792" fmla="*/ 2743064 w 3368309"/>
                <a:gd name="connsiteY6792" fmla="*/ 1431483 h 2031151"/>
                <a:gd name="connsiteX6793" fmla="*/ 2746322 w 3368309"/>
                <a:gd name="connsiteY6793" fmla="*/ 1443701 h 2031151"/>
                <a:gd name="connsiteX6794" fmla="*/ 2750395 w 3368309"/>
                <a:gd name="connsiteY6794" fmla="*/ 1451846 h 2031151"/>
                <a:gd name="connsiteX6795" fmla="*/ 2755934 w 3368309"/>
                <a:gd name="connsiteY6795" fmla="*/ 1454779 h 2031151"/>
                <a:gd name="connsiteX6796" fmla="*/ 2756423 w 3368309"/>
                <a:gd name="connsiteY6796" fmla="*/ 1457222 h 2031151"/>
                <a:gd name="connsiteX6797" fmla="*/ 2753979 w 3368309"/>
                <a:gd name="connsiteY6797" fmla="*/ 1458851 h 2031151"/>
                <a:gd name="connsiteX6798" fmla="*/ 2766523 w 3368309"/>
                <a:gd name="connsiteY6798" fmla="*/ 1471232 h 2031151"/>
                <a:gd name="connsiteX6799" fmla="*/ 2770759 w 3368309"/>
                <a:gd name="connsiteY6799" fmla="*/ 1472699 h 2031151"/>
                <a:gd name="connsiteX6800" fmla="*/ 2776624 w 3368309"/>
                <a:gd name="connsiteY6800" fmla="*/ 1481333 h 2031151"/>
                <a:gd name="connsiteX6801" fmla="*/ 2778253 w 3368309"/>
                <a:gd name="connsiteY6801" fmla="*/ 1489804 h 2031151"/>
                <a:gd name="connsiteX6802" fmla="*/ 2777764 w 3368309"/>
                <a:gd name="connsiteY6802" fmla="*/ 1496483 h 2031151"/>
                <a:gd name="connsiteX6803" fmla="*/ 2781836 w 3368309"/>
                <a:gd name="connsiteY6803" fmla="*/ 1503326 h 2031151"/>
                <a:gd name="connsiteX6804" fmla="*/ 2781836 w 3368309"/>
                <a:gd name="connsiteY6804" fmla="*/ 1508539 h 2031151"/>
                <a:gd name="connsiteX6805" fmla="*/ 2786072 w 3368309"/>
                <a:gd name="connsiteY6805" fmla="*/ 1511471 h 2031151"/>
                <a:gd name="connsiteX6806" fmla="*/ 2790797 w 3368309"/>
                <a:gd name="connsiteY6806" fmla="*/ 1516847 h 2031151"/>
                <a:gd name="connsiteX6807" fmla="*/ 2789331 w 3368309"/>
                <a:gd name="connsiteY6807" fmla="*/ 1518313 h 2031151"/>
                <a:gd name="connsiteX6808" fmla="*/ 2789819 w 3368309"/>
                <a:gd name="connsiteY6808" fmla="*/ 1522223 h 2031151"/>
                <a:gd name="connsiteX6809" fmla="*/ 2795521 w 3368309"/>
                <a:gd name="connsiteY6809" fmla="*/ 1531183 h 2031151"/>
                <a:gd name="connsiteX6810" fmla="*/ 2796824 w 3368309"/>
                <a:gd name="connsiteY6810" fmla="*/ 1536885 h 2031151"/>
                <a:gd name="connsiteX6811" fmla="*/ 2799431 w 3368309"/>
                <a:gd name="connsiteY6811" fmla="*/ 1543890 h 2031151"/>
                <a:gd name="connsiteX6812" fmla="*/ 2800245 w 3368309"/>
                <a:gd name="connsiteY6812" fmla="*/ 1553339 h 2031151"/>
                <a:gd name="connsiteX6813" fmla="*/ 2802038 w 3368309"/>
                <a:gd name="connsiteY6813" fmla="*/ 1556597 h 2031151"/>
                <a:gd name="connsiteX6814" fmla="*/ 2801386 w 3368309"/>
                <a:gd name="connsiteY6814" fmla="*/ 1561647 h 2031151"/>
                <a:gd name="connsiteX6815" fmla="*/ 2802526 w 3368309"/>
                <a:gd name="connsiteY6815" fmla="*/ 1570118 h 2031151"/>
                <a:gd name="connsiteX6816" fmla="*/ 2806599 w 3368309"/>
                <a:gd name="connsiteY6816" fmla="*/ 1580056 h 2031151"/>
                <a:gd name="connsiteX6817" fmla="*/ 2805458 w 3368309"/>
                <a:gd name="connsiteY6817" fmla="*/ 1583803 h 2031151"/>
                <a:gd name="connsiteX6818" fmla="*/ 2806110 w 3368309"/>
                <a:gd name="connsiteY6818" fmla="*/ 1590645 h 2031151"/>
                <a:gd name="connsiteX6819" fmla="*/ 2811160 w 3368309"/>
                <a:gd name="connsiteY6819" fmla="*/ 1595044 h 2031151"/>
                <a:gd name="connsiteX6820" fmla="*/ 2820609 w 3368309"/>
                <a:gd name="connsiteY6820" fmla="*/ 1606773 h 2031151"/>
                <a:gd name="connsiteX6821" fmla="*/ 2820609 w 3368309"/>
                <a:gd name="connsiteY6821" fmla="*/ 1611823 h 2031151"/>
                <a:gd name="connsiteX6822" fmla="*/ 2824519 w 3368309"/>
                <a:gd name="connsiteY6822" fmla="*/ 1618828 h 2031151"/>
                <a:gd name="connsiteX6823" fmla="*/ 2823542 w 3368309"/>
                <a:gd name="connsiteY6823" fmla="*/ 1629580 h 2031151"/>
                <a:gd name="connsiteX6824" fmla="*/ 2824845 w 3368309"/>
                <a:gd name="connsiteY6824" fmla="*/ 1638052 h 2031151"/>
                <a:gd name="connsiteX6825" fmla="*/ 2829081 w 3368309"/>
                <a:gd name="connsiteY6825" fmla="*/ 1646034 h 2031151"/>
                <a:gd name="connsiteX6826" fmla="*/ 2830384 w 3368309"/>
                <a:gd name="connsiteY6826" fmla="*/ 1651410 h 2031151"/>
                <a:gd name="connsiteX6827" fmla="*/ 2837226 w 3368309"/>
                <a:gd name="connsiteY6827" fmla="*/ 1660207 h 2031151"/>
                <a:gd name="connsiteX6828" fmla="*/ 2837877 w 3368309"/>
                <a:gd name="connsiteY6828" fmla="*/ 1664117 h 2031151"/>
                <a:gd name="connsiteX6829" fmla="*/ 2836411 w 3368309"/>
                <a:gd name="connsiteY6829" fmla="*/ 1672262 h 2031151"/>
                <a:gd name="connsiteX6830" fmla="*/ 2835760 w 3368309"/>
                <a:gd name="connsiteY6830" fmla="*/ 1683014 h 2031151"/>
                <a:gd name="connsiteX6831" fmla="*/ 2838040 w 3368309"/>
                <a:gd name="connsiteY6831" fmla="*/ 1689531 h 2031151"/>
                <a:gd name="connsiteX6832" fmla="*/ 2843417 w 3368309"/>
                <a:gd name="connsiteY6832" fmla="*/ 1693441 h 2031151"/>
                <a:gd name="connsiteX6833" fmla="*/ 2847163 w 3368309"/>
                <a:gd name="connsiteY6833" fmla="*/ 1701260 h 2031151"/>
                <a:gd name="connsiteX6834" fmla="*/ 2853679 w 3368309"/>
                <a:gd name="connsiteY6834" fmla="*/ 1705170 h 2031151"/>
                <a:gd name="connsiteX6835" fmla="*/ 2853679 w 3368309"/>
                <a:gd name="connsiteY6835" fmla="*/ 1705170 h 2031151"/>
                <a:gd name="connsiteX6836" fmla="*/ 2591722 w 3368309"/>
                <a:gd name="connsiteY6836" fmla="*/ 1341720 h 2031151"/>
                <a:gd name="connsiteX6837" fmla="*/ 2593351 w 3368309"/>
                <a:gd name="connsiteY6837" fmla="*/ 1341068 h 2031151"/>
                <a:gd name="connsiteX6838" fmla="*/ 2594002 w 3368309"/>
                <a:gd name="connsiteY6838" fmla="*/ 1338624 h 2031151"/>
                <a:gd name="connsiteX6839" fmla="*/ 2595631 w 3368309"/>
                <a:gd name="connsiteY6839" fmla="*/ 1336995 h 2031151"/>
                <a:gd name="connsiteX6840" fmla="*/ 2597912 w 3368309"/>
                <a:gd name="connsiteY6840" fmla="*/ 1337647 h 2031151"/>
                <a:gd name="connsiteX6841" fmla="*/ 2601170 w 3368309"/>
                <a:gd name="connsiteY6841" fmla="*/ 1341231 h 2031151"/>
                <a:gd name="connsiteX6842" fmla="*/ 2605406 w 3368309"/>
                <a:gd name="connsiteY6842" fmla="*/ 1342371 h 2031151"/>
                <a:gd name="connsiteX6843" fmla="*/ 2608176 w 3368309"/>
                <a:gd name="connsiteY6843" fmla="*/ 1339439 h 2031151"/>
                <a:gd name="connsiteX6844" fmla="*/ 2609642 w 3368309"/>
                <a:gd name="connsiteY6844" fmla="*/ 1336507 h 2031151"/>
                <a:gd name="connsiteX6845" fmla="*/ 2607850 w 3368309"/>
                <a:gd name="connsiteY6845" fmla="*/ 1333737 h 2031151"/>
                <a:gd name="connsiteX6846" fmla="*/ 2607850 w 3368309"/>
                <a:gd name="connsiteY6846" fmla="*/ 1330642 h 2031151"/>
                <a:gd name="connsiteX6847" fmla="*/ 2610945 w 3368309"/>
                <a:gd name="connsiteY6847" fmla="*/ 1327873 h 2031151"/>
                <a:gd name="connsiteX6848" fmla="*/ 2611760 w 3368309"/>
                <a:gd name="connsiteY6848" fmla="*/ 1325429 h 2031151"/>
                <a:gd name="connsiteX6849" fmla="*/ 2607687 w 3368309"/>
                <a:gd name="connsiteY6849" fmla="*/ 1325429 h 2031151"/>
                <a:gd name="connsiteX6850" fmla="*/ 2606872 w 3368309"/>
                <a:gd name="connsiteY6850" fmla="*/ 1327710 h 2031151"/>
                <a:gd name="connsiteX6851" fmla="*/ 2604103 w 3368309"/>
                <a:gd name="connsiteY6851" fmla="*/ 1329502 h 2031151"/>
                <a:gd name="connsiteX6852" fmla="*/ 2603126 w 3368309"/>
                <a:gd name="connsiteY6852" fmla="*/ 1328035 h 2031151"/>
                <a:gd name="connsiteX6853" fmla="*/ 2605243 w 3368309"/>
                <a:gd name="connsiteY6853" fmla="*/ 1324777 h 2031151"/>
                <a:gd name="connsiteX6854" fmla="*/ 2605569 w 3368309"/>
                <a:gd name="connsiteY6854" fmla="*/ 1322822 h 2031151"/>
                <a:gd name="connsiteX6855" fmla="*/ 2604266 w 3368309"/>
                <a:gd name="connsiteY6855" fmla="*/ 1321682 h 2031151"/>
                <a:gd name="connsiteX6856" fmla="*/ 2598890 w 3368309"/>
                <a:gd name="connsiteY6856" fmla="*/ 1322822 h 2031151"/>
                <a:gd name="connsiteX6857" fmla="*/ 2595469 w 3368309"/>
                <a:gd name="connsiteY6857" fmla="*/ 1321030 h 2031151"/>
                <a:gd name="connsiteX6858" fmla="*/ 2592699 w 3368309"/>
                <a:gd name="connsiteY6858" fmla="*/ 1323474 h 2031151"/>
                <a:gd name="connsiteX6859" fmla="*/ 2591396 w 3368309"/>
                <a:gd name="connsiteY6859" fmla="*/ 1328035 h 2031151"/>
                <a:gd name="connsiteX6860" fmla="*/ 2588138 w 3368309"/>
                <a:gd name="connsiteY6860" fmla="*/ 1330968 h 2031151"/>
                <a:gd name="connsiteX6861" fmla="*/ 2588138 w 3368309"/>
                <a:gd name="connsiteY6861" fmla="*/ 1334715 h 2031151"/>
                <a:gd name="connsiteX6862" fmla="*/ 2592210 w 3368309"/>
                <a:gd name="connsiteY6862" fmla="*/ 1341557 h 2031151"/>
                <a:gd name="connsiteX6863" fmla="*/ 2592210 w 3368309"/>
                <a:gd name="connsiteY6863" fmla="*/ 1341557 h 2031151"/>
                <a:gd name="connsiteX6864" fmla="*/ 2574942 w 3368309"/>
                <a:gd name="connsiteY6864" fmla="*/ 1337810 h 2031151"/>
                <a:gd name="connsiteX6865" fmla="*/ 2576734 w 3368309"/>
                <a:gd name="connsiteY6865" fmla="*/ 1336995 h 2031151"/>
                <a:gd name="connsiteX6866" fmla="*/ 2576734 w 3368309"/>
                <a:gd name="connsiteY6866" fmla="*/ 1335692 h 2031151"/>
                <a:gd name="connsiteX6867" fmla="*/ 2578363 w 3368309"/>
                <a:gd name="connsiteY6867" fmla="*/ 1333900 h 2031151"/>
                <a:gd name="connsiteX6868" fmla="*/ 2581295 w 3368309"/>
                <a:gd name="connsiteY6868" fmla="*/ 1335692 h 2031151"/>
                <a:gd name="connsiteX6869" fmla="*/ 2583088 w 3368309"/>
                <a:gd name="connsiteY6869" fmla="*/ 1334389 h 2031151"/>
                <a:gd name="connsiteX6870" fmla="*/ 2581458 w 3368309"/>
                <a:gd name="connsiteY6870" fmla="*/ 1330805 h 2031151"/>
                <a:gd name="connsiteX6871" fmla="*/ 2583413 w 3368309"/>
                <a:gd name="connsiteY6871" fmla="*/ 1327873 h 2031151"/>
                <a:gd name="connsiteX6872" fmla="*/ 2582273 w 3368309"/>
                <a:gd name="connsiteY6872" fmla="*/ 1324777 h 2031151"/>
                <a:gd name="connsiteX6873" fmla="*/ 2580644 w 3368309"/>
                <a:gd name="connsiteY6873" fmla="*/ 1324777 h 2031151"/>
                <a:gd name="connsiteX6874" fmla="*/ 2577711 w 3368309"/>
                <a:gd name="connsiteY6874" fmla="*/ 1328198 h 2031151"/>
                <a:gd name="connsiteX6875" fmla="*/ 2572661 w 3368309"/>
                <a:gd name="connsiteY6875" fmla="*/ 1330153 h 2031151"/>
                <a:gd name="connsiteX6876" fmla="*/ 2572661 w 3368309"/>
                <a:gd name="connsiteY6876" fmla="*/ 1334389 h 2031151"/>
                <a:gd name="connsiteX6877" fmla="*/ 2574616 w 3368309"/>
                <a:gd name="connsiteY6877" fmla="*/ 1337973 h 2031151"/>
                <a:gd name="connsiteX6878" fmla="*/ 2574616 w 3368309"/>
                <a:gd name="connsiteY6878" fmla="*/ 1337973 h 2031151"/>
                <a:gd name="connsiteX6879" fmla="*/ 2609804 w 3368309"/>
                <a:gd name="connsiteY6879" fmla="*/ 1354753 h 2031151"/>
                <a:gd name="connsiteX6880" fmla="*/ 2610782 w 3368309"/>
                <a:gd name="connsiteY6880" fmla="*/ 1356056 h 2031151"/>
                <a:gd name="connsiteX6881" fmla="*/ 2613715 w 3368309"/>
                <a:gd name="connsiteY6881" fmla="*/ 1353775 h 2031151"/>
                <a:gd name="connsiteX6882" fmla="*/ 2614855 w 3368309"/>
                <a:gd name="connsiteY6882" fmla="*/ 1350680 h 2031151"/>
                <a:gd name="connsiteX6883" fmla="*/ 2612085 w 3368309"/>
                <a:gd name="connsiteY6883" fmla="*/ 1348399 h 2031151"/>
                <a:gd name="connsiteX6884" fmla="*/ 2611434 w 3368309"/>
                <a:gd name="connsiteY6884" fmla="*/ 1349539 h 2031151"/>
                <a:gd name="connsiteX6885" fmla="*/ 2611922 w 3368309"/>
                <a:gd name="connsiteY6885" fmla="*/ 1351331 h 2031151"/>
                <a:gd name="connsiteX6886" fmla="*/ 2609967 w 3368309"/>
                <a:gd name="connsiteY6886" fmla="*/ 1354590 h 2031151"/>
                <a:gd name="connsiteX6887" fmla="*/ 2609967 w 3368309"/>
                <a:gd name="connsiteY6887" fmla="*/ 1354590 h 2031151"/>
                <a:gd name="connsiteX6888" fmla="*/ 2604592 w 3368309"/>
                <a:gd name="connsiteY6888" fmla="*/ 1348725 h 2031151"/>
                <a:gd name="connsiteX6889" fmla="*/ 2604592 w 3368309"/>
                <a:gd name="connsiteY6889" fmla="*/ 1351657 h 2031151"/>
                <a:gd name="connsiteX6890" fmla="*/ 2606547 w 3368309"/>
                <a:gd name="connsiteY6890" fmla="*/ 1354915 h 2031151"/>
                <a:gd name="connsiteX6891" fmla="*/ 2607687 w 3368309"/>
                <a:gd name="connsiteY6891" fmla="*/ 1352472 h 2031151"/>
                <a:gd name="connsiteX6892" fmla="*/ 2607361 w 3368309"/>
                <a:gd name="connsiteY6892" fmla="*/ 1348725 h 2031151"/>
                <a:gd name="connsiteX6893" fmla="*/ 2606058 w 3368309"/>
                <a:gd name="connsiteY6893" fmla="*/ 1347584 h 2031151"/>
                <a:gd name="connsiteX6894" fmla="*/ 2604592 w 3368309"/>
                <a:gd name="connsiteY6894" fmla="*/ 1348725 h 2031151"/>
                <a:gd name="connsiteX6895" fmla="*/ 2604592 w 3368309"/>
                <a:gd name="connsiteY6895" fmla="*/ 1348725 h 2031151"/>
                <a:gd name="connsiteX6896" fmla="*/ 2605732 w 3368309"/>
                <a:gd name="connsiteY6896" fmla="*/ 1372347 h 2031151"/>
                <a:gd name="connsiteX6897" fmla="*/ 2608664 w 3368309"/>
                <a:gd name="connsiteY6897" fmla="*/ 1367622 h 2031151"/>
                <a:gd name="connsiteX6898" fmla="*/ 2611434 w 3368309"/>
                <a:gd name="connsiteY6898" fmla="*/ 1366808 h 2031151"/>
                <a:gd name="connsiteX6899" fmla="*/ 2613063 w 3368309"/>
                <a:gd name="connsiteY6899" fmla="*/ 1362735 h 2031151"/>
                <a:gd name="connsiteX6900" fmla="*/ 2611922 w 3368309"/>
                <a:gd name="connsiteY6900" fmla="*/ 1361269 h 2031151"/>
                <a:gd name="connsiteX6901" fmla="*/ 2613226 w 3368309"/>
                <a:gd name="connsiteY6901" fmla="*/ 1358174 h 2031151"/>
                <a:gd name="connsiteX6902" fmla="*/ 2605732 w 3368309"/>
                <a:gd name="connsiteY6902" fmla="*/ 1359966 h 2031151"/>
                <a:gd name="connsiteX6903" fmla="*/ 2601496 w 3368309"/>
                <a:gd name="connsiteY6903" fmla="*/ 1365830 h 2031151"/>
                <a:gd name="connsiteX6904" fmla="*/ 2601985 w 3368309"/>
                <a:gd name="connsiteY6904" fmla="*/ 1369577 h 2031151"/>
                <a:gd name="connsiteX6905" fmla="*/ 2605732 w 3368309"/>
                <a:gd name="connsiteY6905" fmla="*/ 1372347 h 2031151"/>
                <a:gd name="connsiteX6906" fmla="*/ 2605732 w 3368309"/>
                <a:gd name="connsiteY6906" fmla="*/ 1372347 h 2031151"/>
                <a:gd name="connsiteX6907" fmla="*/ 2801711 w 3368309"/>
                <a:gd name="connsiteY6907" fmla="*/ 1073245 h 2031151"/>
                <a:gd name="connsiteX6908" fmla="*/ 2803992 w 3368309"/>
                <a:gd name="connsiteY6908" fmla="*/ 1073571 h 2031151"/>
                <a:gd name="connsiteX6909" fmla="*/ 2807576 w 3368309"/>
                <a:gd name="connsiteY6909" fmla="*/ 1068358 h 2031151"/>
                <a:gd name="connsiteX6910" fmla="*/ 2807902 w 3368309"/>
                <a:gd name="connsiteY6910" fmla="*/ 1064774 h 2031151"/>
                <a:gd name="connsiteX6911" fmla="*/ 2804807 w 3368309"/>
                <a:gd name="connsiteY6911" fmla="*/ 1065426 h 2031151"/>
                <a:gd name="connsiteX6912" fmla="*/ 2802200 w 3368309"/>
                <a:gd name="connsiteY6912" fmla="*/ 1069336 h 2031151"/>
                <a:gd name="connsiteX6913" fmla="*/ 2801874 w 3368309"/>
                <a:gd name="connsiteY6913" fmla="*/ 1073245 h 2031151"/>
                <a:gd name="connsiteX6914" fmla="*/ 2801874 w 3368309"/>
                <a:gd name="connsiteY6914" fmla="*/ 1073245 h 2031151"/>
                <a:gd name="connsiteX6915" fmla="*/ 3114497 w 3368309"/>
                <a:gd name="connsiteY6915" fmla="*/ 1040664 h 2031151"/>
                <a:gd name="connsiteX6916" fmla="*/ 3116126 w 3368309"/>
                <a:gd name="connsiteY6916" fmla="*/ 1041315 h 2031151"/>
                <a:gd name="connsiteX6917" fmla="*/ 3115475 w 3368309"/>
                <a:gd name="connsiteY6917" fmla="*/ 1035613 h 2031151"/>
                <a:gd name="connsiteX6918" fmla="*/ 3113031 w 3368309"/>
                <a:gd name="connsiteY6918" fmla="*/ 1030889 h 2031151"/>
                <a:gd name="connsiteX6919" fmla="*/ 3114660 w 3368309"/>
                <a:gd name="connsiteY6919" fmla="*/ 1028445 h 2031151"/>
                <a:gd name="connsiteX6920" fmla="*/ 3114660 w 3368309"/>
                <a:gd name="connsiteY6920" fmla="*/ 1024861 h 2031151"/>
                <a:gd name="connsiteX6921" fmla="*/ 3117267 w 3368309"/>
                <a:gd name="connsiteY6921" fmla="*/ 1018834 h 2031151"/>
                <a:gd name="connsiteX6922" fmla="*/ 3121176 w 3368309"/>
                <a:gd name="connsiteY6922" fmla="*/ 1014272 h 2031151"/>
                <a:gd name="connsiteX6923" fmla="*/ 3127530 w 3368309"/>
                <a:gd name="connsiteY6923" fmla="*/ 1009711 h 2031151"/>
                <a:gd name="connsiteX6924" fmla="*/ 3129974 w 3368309"/>
                <a:gd name="connsiteY6924" fmla="*/ 1008408 h 2031151"/>
                <a:gd name="connsiteX6925" fmla="*/ 3128670 w 3368309"/>
                <a:gd name="connsiteY6925" fmla="*/ 1002869 h 2031151"/>
                <a:gd name="connsiteX6926" fmla="*/ 3126064 w 3368309"/>
                <a:gd name="connsiteY6926" fmla="*/ 996515 h 2031151"/>
                <a:gd name="connsiteX6927" fmla="*/ 3120199 w 3368309"/>
                <a:gd name="connsiteY6927" fmla="*/ 989836 h 2031151"/>
                <a:gd name="connsiteX6928" fmla="*/ 3117267 w 3368309"/>
                <a:gd name="connsiteY6928" fmla="*/ 988859 h 2031151"/>
                <a:gd name="connsiteX6929" fmla="*/ 3114660 w 3368309"/>
                <a:gd name="connsiteY6929" fmla="*/ 991628 h 2031151"/>
                <a:gd name="connsiteX6930" fmla="*/ 3113845 w 3368309"/>
                <a:gd name="connsiteY6930" fmla="*/ 994234 h 2031151"/>
                <a:gd name="connsiteX6931" fmla="*/ 3111727 w 3368309"/>
                <a:gd name="connsiteY6931" fmla="*/ 995701 h 2031151"/>
                <a:gd name="connsiteX6932" fmla="*/ 3105374 w 3368309"/>
                <a:gd name="connsiteY6932" fmla="*/ 1003032 h 2031151"/>
                <a:gd name="connsiteX6933" fmla="*/ 3102931 w 3368309"/>
                <a:gd name="connsiteY6933" fmla="*/ 1004172 h 2031151"/>
                <a:gd name="connsiteX6934" fmla="*/ 3099835 w 3368309"/>
                <a:gd name="connsiteY6934" fmla="*/ 1009059 h 2031151"/>
                <a:gd name="connsiteX6935" fmla="*/ 3102768 w 3368309"/>
                <a:gd name="connsiteY6935" fmla="*/ 1008733 h 2031151"/>
                <a:gd name="connsiteX6936" fmla="*/ 3107492 w 3368309"/>
                <a:gd name="connsiteY6936" fmla="*/ 1006941 h 2031151"/>
                <a:gd name="connsiteX6937" fmla="*/ 3108144 w 3368309"/>
                <a:gd name="connsiteY6937" fmla="*/ 1007756 h 2031151"/>
                <a:gd name="connsiteX6938" fmla="*/ 3106677 w 3368309"/>
                <a:gd name="connsiteY6938" fmla="*/ 1012317 h 2031151"/>
                <a:gd name="connsiteX6939" fmla="*/ 3108470 w 3368309"/>
                <a:gd name="connsiteY6939" fmla="*/ 1020463 h 2031151"/>
                <a:gd name="connsiteX6940" fmla="*/ 3111076 w 3368309"/>
                <a:gd name="connsiteY6940" fmla="*/ 1024210 h 2031151"/>
                <a:gd name="connsiteX6941" fmla="*/ 3111402 w 3368309"/>
                <a:gd name="connsiteY6941" fmla="*/ 1029912 h 2031151"/>
                <a:gd name="connsiteX6942" fmla="*/ 3109121 w 3368309"/>
                <a:gd name="connsiteY6942" fmla="*/ 1033170 h 2031151"/>
                <a:gd name="connsiteX6943" fmla="*/ 3110099 w 3368309"/>
                <a:gd name="connsiteY6943" fmla="*/ 1036102 h 2031151"/>
                <a:gd name="connsiteX6944" fmla="*/ 3114660 w 3368309"/>
                <a:gd name="connsiteY6944" fmla="*/ 1040827 h 2031151"/>
                <a:gd name="connsiteX6945" fmla="*/ 3114660 w 3368309"/>
                <a:gd name="connsiteY6945" fmla="*/ 1040827 h 2031151"/>
                <a:gd name="connsiteX6946" fmla="*/ 3298584 w 3368309"/>
                <a:gd name="connsiteY6946" fmla="*/ 1202270 h 2031151"/>
                <a:gd name="connsiteX6947" fmla="*/ 3301191 w 3368309"/>
                <a:gd name="connsiteY6947" fmla="*/ 1206342 h 2031151"/>
                <a:gd name="connsiteX6948" fmla="*/ 3305915 w 3368309"/>
                <a:gd name="connsiteY6948" fmla="*/ 1206342 h 2031151"/>
                <a:gd name="connsiteX6949" fmla="*/ 3311454 w 3368309"/>
                <a:gd name="connsiteY6949" fmla="*/ 1211555 h 2031151"/>
                <a:gd name="connsiteX6950" fmla="*/ 3319111 w 3368309"/>
                <a:gd name="connsiteY6950" fmla="*/ 1213999 h 2031151"/>
                <a:gd name="connsiteX6951" fmla="*/ 3321881 w 3368309"/>
                <a:gd name="connsiteY6951" fmla="*/ 1216443 h 2031151"/>
                <a:gd name="connsiteX6952" fmla="*/ 3328723 w 3368309"/>
                <a:gd name="connsiteY6952" fmla="*/ 1214976 h 2031151"/>
                <a:gd name="connsiteX6953" fmla="*/ 3326768 w 3368309"/>
                <a:gd name="connsiteY6953" fmla="*/ 1213184 h 2031151"/>
                <a:gd name="connsiteX6954" fmla="*/ 3319111 w 3368309"/>
                <a:gd name="connsiteY6954" fmla="*/ 1210089 h 2031151"/>
                <a:gd name="connsiteX6955" fmla="*/ 3315853 w 3368309"/>
                <a:gd name="connsiteY6955" fmla="*/ 1207320 h 2031151"/>
                <a:gd name="connsiteX6956" fmla="*/ 3310640 w 3368309"/>
                <a:gd name="connsiteY6956" fmla="*/ 1206831 h 2031151"/>
                <a:gd name="connsiteX6957" fmla="*/ 3307218 w 3368309"/>
                <a:gd name="connsiteY6957" fmla="*/ 1202595 h 2031151"/>
                <a:gd name="connsiteX6958" fmla="*/ 3301028 w 3368309"/>
                <a:gd name="connsiteY6958" fmla="*/ 1200966 h 2031151"/>
                <a:gd name="connsiteX6959" fmla="*/ 3298747 w 3368309"/>
                <a:gd name="connsiteY6959" fmla="*/ 1202595 h 2031151"/>
                <a:gd name="connsiteX6960" fmla="*/ 3298747 w 3368309"/>
                <a:gd name="connsiteY6960" fmla="*/ 1202595 h 2031151"/>
                <a:gd name="connsiteX6961" fmla="*/ 3245476 w 3368309"/>
                <a:gd name="connsiteY6961" fmla="*/ 1189725 h 2031151"/>
                <a:gd name="connsiteX6962" fmla="*/ 3249549 w 3368309"/>
                <a:gd name="connsiteY6962" fmla="*/ 1191518 h 2031151"/>
                <a:gd name="connsiteX6963" fmla="*/ 3253784 w 3368309"/>
                <a:gd name="connsiteY6963" fmla="*/ 1191518 h 2031151"/>
                <a:gd name="connsiteX6964" fmla="*/ 3256554 w 3368309"/>
                <a:gd name="connsiteY6964" fmla="*/ 1194287 h 2031151"/>
                <a:gd name="connsiteX6965" fmla="*/ 3256228 w 3368309"/>
                <a:gd name="connsiteY6965" fmla="*/ 1196079 h 2031151"/>
                <a:gd name="connsiteX6966" fmla="*/ 3261115 w 3368309"/>
                <a:gd name="connsiteY6966" fmla="*/ 1202270 h 2031151"/>
                <a:gd name="connsiteX6967" fmla="*/ 3264862 w 3368309"/>
                <a:gd name="connsiteY6967" fmla="*/ 1203084 h 2031151"/>
                <a:gd name="connsiteX6968" fmla="*/ 3269098 w 3368309"/>
                <a:gd name="connsiteY6968" fmla="*/ 1207808 h 2031151"/>
                <a:gd name="connsiteX6969" fmla="*/ 3271542 w 3368309"/>
                <a:gd name="connsiteY6969" fmla="*/ 1208134 h 2031151"/>
                <a:gd name="connsiteX6970" fmla="*/ 3273822 w 3368309"/>
                <a:gd name="connsiteY6970" fmla="*/ 1206994 h 2031151"/>
                <a:gd name="connsiteX6971" fmla="*/ 3278547 w 3368309"/>
                <a:gd name="connsiteY6971" fmla="*/ 1211718 h 2031151"/>
                <a:gd name="connsiteX6972" fmla="*/ 3284086 w 3368309"/>
                <a:gd name="connsiteY6972" fmla="*/ 1212370 h 2031151"/>
                <a:gd name="connsiteX6973" fmla="*/ 3285226 w 3368309"/>
                <a:gd name="connsiteY6973" fmla="*/ 1210415 h 2031151"/>
                <a:gd name="connsiteX6974" fmla="*/ 3282293 w 3368309"/>
                <a:gd name="connsiteY6974" fmla="*/ 1204713 h 2031151"/>
                <a:gd name="connsiteX6975" fmla="*/ 3276918 w 3368309"/>
                <a:gd name="connsiteY6975" fmla="*/ 1202921 h 2031151"/>
                <a:gd name="connsiteX6976" fmla="*/ 3269913 w 3368309"/>
                <a:gd name="connsiteY6976" fmla="*/ 1197708 h 2031151"/>
                <a:gd name="connsiteX6977" fmla="*/ 3268120 w 3368309"/>
                <a:gd name="connsiteY6977" fmla="*/ 1192984 h 2031151"/>
                <a:gd name="connsiteX6978" fmla="*/ 3263396 w 3368309"/>
                <a:gd name="connsiteY6978" fmla="*/ 1192658 h 2031151"/>
                <a:gd name="connsiteX6979" fmla="*/ 3258835 w 3368309"/>
                <a:gd name="connsiteY6979" fmla="*/ 1185653 h 2031151"/>
                <a:gd name="connsiteX6980" fmla="*/ 3258835 w 3368309"/>
                <a:gd name="connsiteY6980" fmla="*/ 1183861 h 2031151"/>
                <a:gd name="connsiteX6981" fmla="*/ 3261278 w 3368309"/>
                <a:gd name="connsiteY6981" fmla="*/ 1181580 h 2031151"/>
                <a:gd name="connsiteX6982" fmla="*/ 3255902 w 3368309"/>
                <a:gd name="connsiteY6982" fmla="*/ 1181091 h 2031151"/>
                <a:gd name="connsiteX6983" fmla="*/ 3252807 w 3368309"/>
                <a:gd name="connsiteY6983" fmla="*/ 1182232 h 2031151"/>
                <a:gd name="connsiteX6984" fmla="*/ 3249386 w 3368309"/>
                <a:gd name="connsiteY6984" fmla="*/ 1182232 h 2031151"/>
                <a:gd name="connsiteX6985" fmla="*/ 3245639 w 3368309"/>
                <a:gd name="connsiteY6985" fmla="*/ 1186630 h 2031151"/>
                <a:gd name="connsiteX6986" fmla="*/ 3245639 w 3368309"/>
                <a:gd name="connsiteY6986" fmla="*/ 1189563 h 2031151"/>
                <a:gd name="connsiteX6987" fmla="*/ 3245802 w 3368309"/>
                <a:gd name="connsiteY6987" fmla="*/ 1189563 h 2031151"/>
                <a:gd name="connsiteX6988" fmla="*/ 3119547 w 3368309"/>
                <a:gd name="connsiteY6988" fmla="*/ 1453801 h 2031151"/>
                <a:gd name="connsiteX6989" fmla="*/ 3121665 w 3368309"/>
                <a:gd name="connsiteY6989" fmla="*/ 1453801 h 2031151"/>
                <a:gd name="connsiteX6990" fmla="*/ 3123620 w 3368309"/>
                <a:gd name="connsiteY6990" fmla="*/ 1451358 h 2031151"/>
                <a:gd name="connsiteX6991" fmla="*/ 3122643 w 3368309"/>
                <a:gd name="connsiteY6991" fmla="*/ 1446959 h 2031151"/>
                <a:gd name="connsiteX6992" fmla="*/ 3119873 w 3368309"/>
                <a:gd name="connsiteY6992" fmla="*/ 1443864 h 2031151"/>
                <a:gd name="connsiteX6993" fmla="*/ 3116289 w 3368309"/>
                <a:gd name="connsiteY6993" fmla="*/ 1446796 h 2031151"/>
                <a:gd name="connsiteX6994" fmla="*/ 3116289 w 3368309"/>
                <a:gd name="connsiteY6994" fmla="*/ 1450054 h 2031151"/>
                <a:gd name="connsiteX6995" fmla="*/ 3119547 w 3368309"/>
                <a:gd name="connsiteY6995" fmla="*/ 1453964 h 2031151"/>
                <a:gd name="connsiteX6996" fmla="*/ 3119547 w 3368309"/>
                <a:gd name="connsiteY6996" fmla="*/ 1453964 h 2031151"/>
                <a:gd name="connsiteX6997" fmla="*/ 3092830 w 3368309"/>
                <a:gd name="connsiteY6997" fmla="*/ 1447122 h 2031151"/>
                <a:gd name="connsiteX6998" fmla="*/ 3092504 w 3368309"/>
                <a:gd name="connsiteY6998" fmla="*/ 1451195 h 2031151"/>
                <a:gd name="connsiteX6999" fmla="*/ 3094785 w 3368309"/>
                <a:gd name="connsiteY6999" fmla="*/ 1453150 h 2031151"/>
                <a:gd name="connsiteX7000" fmla="*/ 3099999 w 3368309"/>
                <a:gd name="connsiteY7000" fmla="*/ 1452824 h 2031151"/>
                <a:gd name="connsiteX7001" fmla="*/ 3100976 w 3368309"/>
                <a:gd name="connsiteY7001" fmla="*/ 1449403 h 2031151"/>
                <a:gd name="connsiteX7002" fmla="*/ 3095926 w 3368309"/>
                <a:gd name="connsiteY7002" fmla="*/ 1445330 h 2031151"/>
                <a:gd name="connsiteX7003" fmla="*/ 3092993 w 3368309"/>
                <a:gd name="connsiteY7003" fmla="*/ 1447122 h 2031151"/>
                <a:gd name="connsiteX7004" fmla="*/ 3092993 w 3368309"/>
                <a:gd name="connsiteY7004" fmla="*/ 1447122 h 2031151"/>
                <a:gd name="connsiteX7005" fmla="*/ 3107003 w 3368309"/>
                <a:gd name="connsiteY7005" fmla="*/ 1489804 h 2031151"/>
                <a:gd name="connsiteX7006" fmla="*/ 3108795 w 3368309"/>
                <a:gd name="connsiteY7006" fmla="*/ 1490130 h 2031151"/>
                <a:gd name="connsiteX7007" fmla="*/ 3108795 w 3368309"/>
                <a:gd name="connsiteY7007" fmla="*/ 1484265 h 2031151"/>
                <a:gd name="connsiteX7008" fmla="*/ 3109610 w 3368309"/>
                <a:gd name="connsiteY7008" fmla="*/ 1480355 h 2031151"/>
                <a:gd name="connsiteX7009" fmla="*/ 3113683 w 3368309"/>
                <a:gd name="connsiteY7009" fmla="*/ 1478238 h 2031151"/>
                <a:gd name="connsiteX7010" fmla="*/ 3116615 w 3368309"/>
                <a:gd name="connsiteY7010" fmla="*/ 1473676 h 2031151"/>
                <a:gd name="connsiteX7011" fmla="*/ 3116289 w 3368309"/>
                <a:gd name="connsiteY7011" fmla="*/ 1468300 h 2031151"/>
                <a:gd name="connsiteX7012" fmla="*/ 3117104 w 3368309"/>
                <a:gd name="connsiteY7012" fmla="*/ 1464227 h 2031151"/>
                <a:gd name="connsiteX7013" fmla="*/ 3120036 w 3368309"/>
                <a:gd name="connsiteY7013" fmla="*/ 1461784 h 2031151"/>
                <a:gd name="connsiteX7014" fmla="*/ 3118407 w 3368309"/>
                <a:gd name="connsiteY7014" fmla="*/ 1456734 h 2031151"/>
                <a:gd name="connsiteX7015" fmla="*/ 3110261 w 3368309"/>
                <a:gd name="connsiteY7015" fmla="*/ 1449566 h 2031151"/>
                <a:gd name="connsiteX7016" fmla="*/ 3109121 w 3368309"/>
                <a:gd name="connsiteY7016" fmla="*/ 1453638 h 2031151"/>
                <a:gd name="connsiteX7017" fmla="*/ 3109773 w 3368309"/>
                <a:gd name="connsiteY7017" fmla="*/ 1462598 h 2031151"/>
                <a:gd name="connsiteX7018" fmla="*/ 3109121 w 3368309"/>
                <a:gd name="connsiteY7018" fmla="*/ 1467649 h 2031151"/>
                <a:gd name="connsiteX7019" fmla="*/ 3104723 w 3368309"/>
                <a:gd name="connsiteY7019" fmla="*/ 1469278 h 2031151"/>
                <a:gd name="connsiteX7020" fmla="*/ 3101790 w 3368309"/>
                <a:gd name="connsiteY7020" fmla="*/ 1474165 h 2031151"/>
                <a:gd name="connsiteX7021" fmla="*/ 3098695 w 3368309"/>
                <a:gd name="connsiteY7021" fmla="*/ 1474491 h 2031151"/>
                <a:gd name="connsiteX7022" fmla="*/ 3098206 w 3368309"/>
                <a:gd name="connsiteY7022" fmla="*/ 1475957 h 2031151"/>
                <a:gd name="connsiteX7023" fmla="*/ 3102116 w 3368309"/>
                <a:gd name="connsiteY7023" fmla="*/ 1480518 h 2031151"/>
                <a:gd name="connsiteX7024" fmla="*/ 3102116 w 3368309"/>
                <a:gd name="connsiteY7024" fmla="*/ 1484428 h 2031151"/>
                <a:gd name="connsiteX7025" fmla="*/ 3099184 w 3368309"/>
                <a:gd name="connsiteY7025" fmla="*/ 1486057 h 2031151"/>
                <a:gd name="connsiteX7026" fmla="*/ 3100324 w 3368309"/>
                <a:gd name="connsiteY7026" fmla="*/ 1487686 h 2031151"/>
                <a:gd name="connsiteX7027" fmla="*/ 3104886 w 3368309"/>
                <a:gd name="connsiteY7027" fmla="*/ 1487361 h 2031151"/>
                <a:gd name="connsiteX7028" fmla="*/ 3106515 w 3368309"/>
                <a:gd name="connsiteY7028" fmla="*/ 1489967 h 2031151"/>
                <a:gd name="connsiteX7029" fmla="*/ 3106515 w 3368309"/>
                <a:gd name="connsiteY7029" fmla="*/ 1489967 h 2031151"/>
                <a:gd name="connsiteX7030" fmla="*/ 3102116 w 3368309"/>
                <a:gd name="connsiteY7030" fmla="*/ 1521083 h 2031151"/>
                <a:gd name="connsiteX7031" fmla="*/ 3104560 w 3368309"/>
                <a:gd name="connsiteY7031" fmla="*/ 1517987 h 2031151"/>
                <a:gd name="connsiteX7032" fmla="*/ 3102116 w 3368309"/>
                <a:gd name="connsiteY7032" fmla="*/ 1512937 h 2031151"/>
                <a:gd name="connsiteX7033" fmla="*/ 3102116 w 3368309"/>
                <a:gd name="connsiteY7033" fmla="*/ 1508539 h 2031151"/>
                <a:gd name="connsiteX7034" fmla="*/ 3100487 w 3368309"/>
                <a:gd name="connsiteY7034" fmla="*/ 1507887 h 2031151"/>
                <a:gd name="connsiteX7035" fmla="*/ 3100487 w 3368309"/>
                <a:gd name="connsiteY7035" fmla="*/ 1512449 h 2031151"/>
                <a:gd name="connsiteX7036" fmla="*/ 3098858 w 3368309"/>
                <a:gd name="connsiteY7036" fmla="*/ 1517499 h 2031151"/>
                <a:gd name="connsiteX7037" fmla="*/ 3102116 w 3368309"/>
                <a:gd name="connsiteY7037" fmla="*/ 1521246 h 2031151"/>
                <a:gd name="connsiteX7038" fmla="*/ 3102116 w 3368309"/>
                <a:gd name="connsiteY7038" fmla="*/ 1521246 h 2031151"/>
                <a:gd name="connsiteX7039" fmla="*/ 3103419 w 3368309"/>
                <a:gd name="connsiteY7039" fmla="*/ 1531183 h 2031151"/>
                <a:gd name="connsiteX7040" fmla="*/ 3105863 w 3368309"/>
                <a:gd name="connsiteY7040" fmla="*/ 1530043 h 2031151"/>
                <a:gd name="connsiteX7041" fmla="*/ 3105049 w 3368309"/>
                <a:gd name="connsiteY7041" fmla="*/ 1526947 h 2031151"/>
                <a:gd name="connsiteX7042" fmla="*/ 3101302 w 3368309"/>
                <a:gd name="connsiteY7042" fmla="*/ 1525481 h 2031151"/>
                <a:gd name="connsiteX7043" fmla="*/ 3099835 w 3368309"/>
                <a:gd name="connsiteY7043" fmla="*/ 1526459 h 2031151"/>
                <a:gd name="connsiteX7044" fmla="*/ 3100813 w 3368309"/>
                <a:gd name="connsiteY7044" fmla="*/ 1528740 h 2031151"/>
                <a:gd name="connsiteX7045" fmla="*/ 3103419 w 3368309"/>
                <a:gd name="connsiteY7045" fmla="*/ 1531183 h 2031151"/>
                <a:gd name="connsiteX7046" fmla="*/ 3103419 w 3368309"/>
                <a:gd name="connsiteY7046" fmla="*/ 1531183 h 2031151"/>
                <a:gd name="connsiteX7047" fmla="*/ 3094297 w 3368309"/>
                <a:gd name="connsiteY7047" fmla="*/ 1538351 h 2031151"/>
                <a:gd name="connsiteX7048" fmla="*/ 3095600 w 3368309"/>
                <a:gd name="connsiteY7048" fmla="*/ 1537699 h 2031151"/>
                <a:gd name="connsiteX7049" fmla="*/ 3094622 w 3368309"/>
                <a:gd name="connsiteY7049" fmla="*/ 1536070 h 2031151"/>
                <a:gd name="connsiteX7050" fmla="*/ 3092667 w 3368309"/>
                <a:gd name="connsiteY7050" fmla="*/ 1535419 h 2031151"/>
                <a:gd name="connsiteX7051" fmla="*/ 3091690 w 3368309"/>
                <a:gd name="connsiteY7051" fmla="*/ 1537699 h 2031151"/>
                <a:gd name="connsiteX7052" fmla="*/ 3094134 w 3368309"/>
                <a:gd name="connsiteY7052" fmla="*/ 1538514 h 2031151"/>
                <a:gd name="connsiteX7053" fmla="*/ 3094134 w 3368309"/>
                <a:gd name="connsiteY7053" fmla="*/ 1538514 h 2031151"/>
                <a:gd name="connsiteX7054" fmla="*/ 3097718 w 3368309"/>
                <a:gd name="connsiteY7054" fmla="*/ 1550406 h 2031151"/>
                <a:gd name="connsiteX7055" fmla="*/ 3099509 w 3368309"/>
                <a:gd name="connsiteY7055" fmla="*/ 1549266 h 2031151"/>
                <a:gd name="connsiteX7056" fmla="*/ 3101465 w 3368309"/>
                <a:gd name="connsiteY7056" fmla="*/ 1546822 h 2031151"/>
                <a:gd name="connsiteX7057" fmla="*/ 3101790 w 3368309"/>
                <a:gd name="connsiteY7057" fmla="*/ 1542261 h 2031151"/>
                <a:gd name="connsiteX7058" fmla="*/ 3100161 w 3368309"/>
                <a:gd name="connsiteY7058" fmla="*/ 1540306 h 2031151"/>
                <a:gd name="connsiteX7059" fmla="*/ 3098695 w 3368309"/>
                <a:gd name="connsiteY7059" fmla="*/ 1544053 h 2031151"/>
                <a:gd name="connsiteX7060" fmla="*/ 3097718 w 3368309"/>
                <a:gd name="connsiteY7060" fmla="*/ 1550406 h 2031151"/>
                <a:gd name="connsiteX7061" fmla="*/ 3097718 w 3368309"/>
                <a:gd name="connsiteY7061" fmla="*/ 1550406 h 2031151"/>
                <a:gd name="connsiteX7062" fmla="*/ 3090875 w 3368309"/>
                <a:gd name="connsiteY7062" fmla="*/ 1581522 h 2031151"/>
                <a:gd name="connsiteX7063" fmla="*/ 3092830 w 3368309"/>
                <a:gd name="connsiteY7063" fmla="*/ 1580056 h 2031151"/>
                <a:gd name="connsiteX7064" fmla="*/ 3090386 w 3368309"/>
                <a:gd name="connsiteY7064" fmla="*/ 1578427 h 2031151"/>
                <a:gd name="connsiteX7065" fmla="*/ 3088758 w 3368309"/>
                <a:gd name="connsiteY7065" fmla="*/ 1579404 h 2031151"/>
                <a:gd name="connsiteX7066" fmla="*/ 3090713 w 3368309"/>
                <a:gd name="connsiteY7066" fmla="*/ 1581685 h 2031151"/>
                <a:gd name="connsiteX7067" fmla="*/ 3090713 w 3368309"/>
                <a:gd name="connsiteY7067" fmla="*/ 1581685 h 2031151"/>
                <a:gd name="connsiteX7068" fmla="*/ 3089409 w 3368309"/>
                <a:gd name="connsiteY7068" fmla="*/ 1599605 h 2031151"/>
                <a:gd name="connsiteX7069" fmla="*/ 3090875 w 3368309"/>
                <a:gd name="connsiteY7069" fmla="*/ 1595695 h 2031151"/>
                <a:gd name="connsiteX7070" fmla="*/ 3089735 w 3368309"/>
                <a:gd name="connsiteY7070" fmla="*/ 1592926 h 2031151"/>
                <a:gd name="connsiteX7071" fmla="*/ 3088106 w 3368309"/>
                <a:gd name="connsiteY7071" fmla="*/ 1595369 h 2031151"/>
                <a:gd name="connsiteX7072" fmla="*/ 3089409 w 3368309"/>
                <a:gd name="connsiteY7072" fmla="*/ 1599605 h 2031151"/>
                <a:gd name="connsiteX7073" fmla="*/ 3089409 w 3368309"/>
                <a:gd name="connsiteY7073" fmla="*/ 1599605 h 2031151"/>
                <a:gd name="connsiteX7074" fmla="*/ 3088269 w 3368309"/>
                <a:gd name="connsiteY7074" fmla="*/ 1603515 h 2031151"/>
                <a:gd name="connsiteX7075" fmla="*/ 3089246 w 3368309"/>
                <a:gd name="connsiteY7075" fmla="*/ 1606610 h 2031151"/>
                <a:gd name="connsiteX7076" fmla="*/ 3090875 w 3368309"/>
                <a:gd name="connsiteY7076" fmla="*/ 1603678 h 2031151"/>
                <a:gd name="connsiteX7077" fmla="*/ 3088269 w 3368309"/>
                <a:gd name="connsiteY7077" fmla="*/ 1603678 h 2031151"/>
                <a:gd name="connsiteX7078" fmla="*/ 3083545 w 3368309"/>
                <a:gd name="connsiteY7078" fmla="*/ 1612312 h 2031151"/>
                <a:gd name="connsiteX7079" fmla="*/ 3084033 w 3368309"/>
                <a:gd name="connsiteY7079" fmla="*/ 1614104 h 2031151"/>
                <a:gd name="connsiteX7080" fmla="*/ 3086314 w 3368309"/>
                <a:gd name="connsiteY7080" fmla="*/ 1614918 h 2031151"/>
                <a:gd name="connsiteX7081" fmla="*/ 3086965 w 3368309"/>
                <a:gd name="connsiteY7081" fmla="*/ 1612312 h 2031151"/>
                <a:gd name="connsiteX7082" fmla="*/ 3084522 w 3368309"/>
                <a:gd name="connsiteY7082" fmla="*/ 1611171 h 2031151"/>
                <a:gd name="connsiteX7083" fmla="*/ 3083545 w 3368309"/>
                <a:gd name="connsiteY7083" fmla="*/ 1612312 h 2031151"/>
                <a:gd name="connsiteX7084" fmla="*/ 3083545 w 3368309"/>
                <a:gd name="connsiteY7084" fmla="*/ 1612312 h 2031151"/>
                <a:gd name="connsiteX7085" fmla="*/ 3079309 w 3368309"/>
                <a:gd name="connsiteY7085" fmla="*/ 1633979 h 2031151"/>
                <a:gd name="connsiteX7086" fmla="*/ 3081264 w 3368309"/>
                <a:gd name="connsiteY7086" fmla="*/ 1631209 h 2031151"/>
                <a:gd name="connsiteX7087" fmla="*/ 3082078 w 3368309"/>
                <a:gd name="connsiteY7087" fmla="*/ 1622738 h 2031151"/>
                <a:gd name="connsiteX7088" fmla="*/ 3080286 w 3368309"/>
                <a:gd name="connsiteY7088" fmla="*/ 1622412 h 2031151"/>
                <a:gd name="connsiteX7089" fmla="*/ 3079797 w 3368309"/>
                <a:gd name="connsiteY7089" fmla="*/ 1626811 h 2031151"/>
                <a:gd name="connsiteX7090" fmla="*/ 3077680 w 3368309"/>
                <a:gd name="connsiteY7090" fmla="*/ 1633327 h 2031151"/>
                <a:gd name="connsiteX7091" fmla="*/ 3079472 w 3368309"/>
                <a:gd name="connsiteY7091" fmla="*/ 1633979 h 2031151"/>
                <a:gd name="connsiteX7092" fmla="*/ 3079472 w 3368309"/>
                <a:gd name="connsiteY7092" fmla="*/ 1633979 h 2031151"/>
                <a:gd name="connsiteX7093" fmla="*/ 3035160 w 3368309"/>
                <a:gd name="connsiteY7093" fmla="*/ 1692137 h 2031151"/>
                <a:gd name="connsiteX7094" fmla="*/ 3037767 w 3368309"/>
                <a:gd name="connsiteY7094" fmla="*/ 1693115 h 2031151"/>
                <a:gd name="connsiteX7095" fmla="*/ 3043143 w 3368309"/>
                <a:gd name="connsiteY7095" fmla="*/ 1687739 h 2031151"/>
                <a:gd name="connsiteX7096" fmla="*/ 3046890 w 3368309"/>
                <a:gd name="connsiteY7096" fmla="*/ 1681548 h 2031151"/>
                <a:gd name="connsiteX7097" fmla="*/ 3050148 w 3368309"/>
                <a:gd name="connsiteY7097" fmla="*/ 1679105 h 2031151"/>
                <a:gd name="connsiteX7098" fmla="*/ 3050148 w 3368309"/>
                <a:gd name="connsiteY7098" fmla="*/ 1674054 h 2031151"/>
                <a:gd name="connsiteX7099" fmla="*/ 3051940 w 3368309"/>
                <a:gd name="connsiteY7099" fmla="*/ 1668515 h 2031151"/>
                <a:gd name="connsiteX7100" fmla="*/ 3057153 w 3368309"/>
                <a:gd name="connsiteY7100" fmla="*/ 1661348 h 2031151"/>
                <a:gd name="connsiteX7101" fmla="*/ 3054709 w 3368309"/>
                <a:gd name="connsiteY7101" fmla="*/ 1662651 h 2031151"/>
                <a:gd name="connsiteX7102" fmla="*/ 3049497 w 3368309"/>
                <a:gd name="connsiteY7102" fmla="*/ 1663628 h 2031151"/>
                <a:gd name="connsiteX7103" fmla="*/ 3047053 w 3368309"/>
                <a:gd name="connsiteY7103" fmla="*/ 1668841 h 2031151"/>
                <a:gd name="connsiteX7104" fmla="*/ 3045098 w 3368309"/>
                <a:gd name="connsiteY7104" fmla="*/ 1670633 h 2031151"/>
                <a:gd name="connsiteX7105" fmla="*/ 3043632 w 3368309"/>
                <a:gd name="connsiteY7105" fmla="*/ 1675195 h 2031151"/>
                <a:gd name="connsiteX7106" fmla="*/ 3041677 w 3368309"/>
                <a:gd name="connsiteY7106" fmla="*/ 1677313 h 2031151"/>
                <a:gd name="connsiteX7107" fmla="*/ 3040699 w 3368309"/>
                <a:gd name="connsiteY7107" fmla="*/ 1680408 h 2031151"/>
                <a:gd name="connsiteX7108" fmla="*/ 3036952 w 3368309"/>
                <a:gd name="connsiteY7108" fmla="*/ 1684481 h 2031151"/>
                <a:gd name="connsiteX7109" fmla="*/ 3035324 w 3368309"/>
                <a:gd name="connsiteY7109" fmla="*/ 1691974 h 2031151"/>
                <a:gd name="connsiteX7110" fmla="*/ 3035324 w 3368309"/>
                <a:gd name="connsiteY7110" fmla="*/ 1691974 h 2031151"/>
                <a:gd name="connsiteX7111" fmla="*/ 2987265 w 3368309"/>
                <a:gd name="connsiteY7111" fmla="*/ 1748341 h 2031151"/>
                <a:gd name="connsiteX7112" fmla="*/ 2989709 w 3368309"/>
                <a:gd name="connsiteY7112" fmla="*/ 1747364 h 2031151"/>
                <a:gd name="connsiteX7113" fmla="*/ 2991175 w 3368309"/>
                <a:gd name="connsiteY7113" fmla="*/ 1741825 h 2031151"/>
                <a:gd name="connsiteX7114" fmla="*/ 2994759 w 3368309"/>
                <a:gd name="connsiteY7114" fmla="*/ 1738729 h 2031151"/>
                <a:gd name="connsiteX7115" fmla="*/ 2993944 w 3368309"/>
                <a:gd name="connsiteY7115" fmla="*/ 1732213 h 2031151"/>
                <a:gd name="connsiteX7116" fmla="*/ 2996388 w 3368309"/>
                <a:gd name="connsiteY7116" fmla="*/ 1729932 h 2031151"/>
                <a:gd name="connsiteX7117" fmla="*/ 2996714 w 3368309"/>
                <a:gd name="connsiteY7117" fmla="*/ 1727326 h 2031151"/>
                <a:gd name="connsiteX7118" fmla="*/ 2999158 w 3368309"/>
                <a:gd name="connsiteY7118" fmla="*/ 1725371 h 2031151"/>
                <a:gd name="connsiteX7119" fmla="*/ 3001764 w 3368309"/>
                <a:gd name="connsiteY7119" fmla="*/ 1726511 h 2031151"/>
                <a:gd name="connsiteX7120" fmla="*/ 3005185 w 3368309"/>
                <a:gd name="connsiteY7120" fmla="*/ 1723253 h 2031151"/>
                <a:gd name="connsiteX7121" fmla="*/ 3008932 w 3368309"/>
                <a:gd name="connsiteY7121" fmla="*/ 1715596 h 2031151"/>
                <a:gd name="connsiteX7122" fmla="*/ 3013982 w 3368309"/>
                <a:gd name="connsiteY7122" fmla="*/ 1709569 h 2031151"/>
                <a:gd name="connsiteX7123" fmla="*/ 3019684 w 3368309"/>
                <a:gd name="connsiteY7123" fmla="*/ 1709080 h 2031151"/>
                <a:gd name="connsiteX7124" fmla="*/ 3023594 w 3368309"/>
                <a:gd name="connsiteY7124" fmla="*/ 1706636 h 2031151"/>
                <a:gd name="connsiteX7125" fmla="*/ 3023268 w 3368309"/>
                <a:gd name="connsiteY7125" fmla="*/ 1701423 h 2031151"/>
                <a:gd name="connsiteX7126" fmla="*/ 3021639 w 3368309"/>
                <a:gd name="connsiteY7126" fmla="*/ 1696373 h 2031151"/>
                <a:gd name="connsiteX7127" fmla="*/ 3018381 w 3368309"/>
                <a:gd name="connsiteY7127" fmla="*/ 1697350 h 2031151"/>
                <a:gd name="connsiteX7128" fmla="*/ 3013005 w 3368309"/>
                <a:gd name="connsiteY7128" fmla="*/ 1703541 h 2031151"/>
                <a:gd name="connsiteX7129" fmla="*/ 3011865 w 3368309"/>
                <a:gd name="connsiteY7129" fmla="*/ 1707451 h 2031151"/>
                <a:gd name="connsiteX7130" fmla="*/ 3008769 w 3368309"/>
                <a:gd name="connsiteY7130" fmla="*/ 1707777 h 2031151"/>
                <a:gd name="connsiteX7131" fmla="*/ 3005185 w 3368309"/>
                <a:gd name="connsiteY7131" fmla="*/ 1710220 h 2031151"/>
                <a:gd name="connsiteX7132" fmla="*/ 3002579 w 3368309"/>
                <a:gd name="connsiteY7132" fmla="*/ 1709243 h 2031151"/>
                <a:gd name="connsiteX7133" fmla="*/ 3000786 w 3368309"/>
                <a:gd name="connsiteY7133" fmla="*/ 1705333 h 2031151"/>
                <a:gd name="connsiteX7134" fmla="*/ 2999646 w 3368309"/>
                <a:gd name="connsiteY7134" fmla="*/ 1705822 h 2031151"/>
                <a:gd name="connsiteX7135" fmla="*/ 2997854 w 3368309"/>
                <a:gd name="connsiteY7135" fmla="*/ 1710220 h 2031151"/>
                <a:gd name="connsiteX7136" fmla="*/ 2999483 w 3368309"/>
                <a:gd name="connsiteY7136" fmla="*/ 1712990 h 2031151"/>
                <a:gd name="connsiteX7137" fmla="*/ 2997529 w 3368309"/>
                <a:gd name="connsiteY7137" fmla="*/ 1716411 h 2031151"/>
                <a:gd name="connsiteX7138" fmla="*/ 2994433 w 3368309"/>
                <a:gd name="connsiteY7138" fmla="*/ 1721624 h 2031151"/>
                <a:gd name="connsiteX7139" fmla="*/ 2992152 w 3368309"/>
                <a:gd name="connsiteY7139" fmla="*/ 1721624 h 2031151"/>
                <a:gd name="connsiteX7140" fmla="*/ 2992478 w 3368309"/>
                <a:gd name="connsiteY7140" fmla="*/ 1724393 h 2031151"/>
                <a:gd name="connsiteX7141" fmla="*/ 2991175 w 3368309"/>
                <a:gd name="connsiteY7141" fmla="*/ 1729444 h 2031151"/>
                <a:gd name="connsiteX7142" fmla="*/ 2987102 w 3368309"/>
                <a:gd name="connsiteY7142" fmla="*/ 1731724 h 2031151"/>
                <a:gd name="connsiteX7143" fmla="*/ 2986613 w 3368309"/>
                <a:gd name="connsiteY7143" fmla="*/ 1734657 h 2031151"/>
                <a:gd name="connsiteX7144" fmla="*/ 2989057 w 3368309"/>
                <a:gd name="connsiteY7144" fmla="*/ 1737263 h 2031151"/>
                <a:gd name="connsiteX7145" fmla="*/ 2987102 w 3368309"/>
                <a:gd name="connsiteY7145" fmla="*/ 1739055 h 2031151"/>
                <a:gd name="connsiteX7146" fmla="*/ 2986125 w 3368309"/>
                <a:gd name="connsiteY7146" fmla="*/ 1742965 h 2031151"/>
                <a:gd name="connsiteX7147" fmla="*/ 2987428 w 3368309"/>
                <a:gd name="connsiteY7147" fmla="*/ 1748667 h 2031151"/>
                <a:gd name="connsiteX7148" fmla="*/ 2987428 w 3368309"/>
                <a:gd name="connsiteY7148" fmla="*/ 1748667 h 2031151"/>
                <a:gd name="connsiteX7149" fmla="*/ 2966250 w 3368309"/>
                <a:gd name="connsiteY7149" fmla="*/ 1782226 h 2031151"/>
                <a:gd name="connsiteX7150" fmla="*/ 2966413 w 3368309"/>
                <a:gd name="connsiteY7150" fmla="*/ 1775058 h 2031151"/>
                <a:gd name="connsiteX7151" fmla="*/ 2968693 w 3368309"/>
                <a:gd name="connsiteY7151" fmla="*/ 1762840 h 2031151"/>
                <a:gd name="connsiteX7152" fmla="*/ 2970974 w 3368309"/>
                <a:gd name="connsiteY7152" fmla="*/ 1761700 h 2031151"/>
                <a:gd name="connsiteX7153" fmla="*/ 2977165 w 3368309"/>
                <a:gd name="connsiteY7153" fmla="*/ 1755835 h 2031151"/>
                <a:gd name="connsiteX7154" fmla="*/ 2978305 w 3368309"/>
                <a:gd name="connsiteY7154" fmla="*/ 1750296 h 2031151"/>
                <a:gd name="connsiteX7155" fmla="*/ 2976839 w 3368309"/>
                <a:gd name="connsiteY7155" fmla="*/ 1750296 h 2031151"/>
                <a:gd name="connsiteX7156" fmla="*/ 2973092 w 3368309"/>
                <a:gd name="connsiteY7156" fmla="*/ 1751273 h 2031151"/>
                <a:gd name="connsiteX7157" fmla="*/ 2970322 w 3368309"/>
                <a:gd name="connsiteY7157" fmla="*/ 1750296 h 2031151"/>
                <a:gd name="connsiteX7158" fmla="*/ 2967716 w 3368309"/>
                <a:gd name="connsiteY7158" fmla="*/ 1747852 h 2031151"/>
                <a:gd name="connsiteX7159" fmla="*/ 2966250 w 3368309"/>
                <a:gd name="connsiteY7159" fmla="*/ 1749644 h 2031151"/>
                <a:gd name="connsiteX7160" fmla="*/ 2965272 w 3368309"/>
                <a:gd name="connsiteY7160" fmla="*/ 1755672 h 2031151"/>
                <a:gd name="connsiteX7161" fmla="*/ 2963969 w 3368309"/>
                <a:gd name="connsiteY7161" fmla="*/ 1761048 h 2031151"/>
                <a:gd name="connsiteX7162" fmla="*/ 2962992 w 3368309"/>
                <a:gd name="connsiteY7162" fmla="*/ 1768542 h 2031151"/>
                <a:gd name="connsiteX7163" fmla="*/ 2960385 w 3368309"/>
                <a:gd name="connsiteY7163" fmla="*/ 1773592 h 2031151"/>
                <a:gd name="connsiteX7164" fmla="*/ 2961526 w 3368309"/>
                <a:gd name="connsiteY7164" fmla="*/ 1776687 h 2031151"/>
                <a:gd name="connsiteX7165" fmla="*/ 2966087 w 3368309"/>
                <a:gd name="connsiteY7165" fmla="*/ 1782063 h 2031151"/>
                <a:gd name="connsiteX7166" fmla="*/ 2966087 w 3368309"/>
                <a:gd name="connsiteY7166" fmla="*/ 1782063 h 2031151"/>
                <a:gd name="connsiteX7167" fmla="*/ 49198 w 3368309"/>
                <a:gd name="connsiteY7167" fmla="*/ 1372021 h 2031151"/>
                <a:gd name="connsiteX7168" fmla="*/ 47407 w 3368309"/>
                <a:gd name="connsiteY7168" fmla="*/ 1376582 h 2031151"/>
                <a:gd name="connsiteX7169" fmla="*/ 52457 w 3368309"/>
                <a:gd name="connsiteY7169" fmla="*/ 1379189 h 2031151"/>
                <a:gd name="connsiteX7170" fmla="*/ 54086 w 3368309"/>
                <a:gd name="connsiteY7170" fmla="*/ 1376582 h 2031151"/>
                <a:gd name="connsiteX7171" fmla="*/ 49198 w 3368309"/>
                <a:gd name="connsiteY7171" fmla="*/ 1372021 h 20311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  <a:cxn ang="0">
                  <a:pos x="connsiteX1317" y="connsiteY1317"/>
                </a:cxn>
                <a:cxn ang="0">
                  <a:pos x="connsiteX1318" y="connsiteY1318"/>
                </a:cxn>
                <a:cxn ang="0">
                  <a:pos x="connsiteX1319" y="connsiteY1319"/>
                </a:cxn>
                <a:cxn ang="0">
                  <a:pos x="connsiteX1320" y="connsiteY1320"/>
                </a:cxn>
                <a:cxn ang="0">
                  <a:pos x="connsiteX1321" y="connsiteY1321"/>
                </a:cxn>
                <a:cxn ang="0">
                  <a:pos x="connsiteX1322" y="connsiteY1322"/>
                </a:cxn>
                <a:cxn ang="0">
                  <a:pos x="connsiteX1323" y="connsiteY1323"/>
                </a:cxn>
                <a:cxn ang="0">
                  <a:pos x="connsiteX1324" y="connsiteY1324"/>
                </a:cxn>
                <a:cxn ang="0">
                  <a:pos x="connsiteX1325" y="connsiteY1325"/>
                </a:cxn>
                <a:cxn ang="0">
                  <a:pos x="connsiteX1326" y="connsiteY1326"/>
                </a:cxn>
                <a:cxn ang="0">
                  <a:pos x="connsiteX1327" y="connsiteY1327"/>
                </a:cxn>
                <a:cxn ang="0">
                  <a:pos x="connsiteX1328" y="connsiteY1328"/>
                </a:cxn>
                <a:cxn ang="0">
                  <a:pos x="connsiteX1329" y="connsiteY1329"/>
                </a:cxn>
                <a:cxn ang="0">
                  <a:pos x="connsiteX1330" y="connsiteY1330"/>
                </a:cxn>
                <a:cxn ang="0">
                  <a:pos x="connsiteX1331" y="connsiteY1331"/>
                </a:cxn>
                <a:cxn ang="0">
                  <a:pos x="connsiteX1332" y="connsiteY1332"/>
                </a:cxn>
                <a:cxn ang="0">
                  <a:pos x="connsiteX1333" y="connsiteY1333"/>
                </a:cxn>
                <a:cxn ang="0">
                  <a:pos x="connsiteX1334" y="connsiteY1334"/>
                </a:cxn>
                <a:cxn ang="0">
                  <a:pos x="connsiteX1335" y="connsiteY1335"/>
                </a:cxn>
                <a:cxn ang="0">
                  <a:pos x="connsiteX1336" y="connsiteY1336"/>
                </a:cxn>
                <a:cxn ang="0">
                  <a:pos x="connsiteX1337" y="connsiteY1337"/>
                </a:cxn>
                <a:cxn ang="0">
                  <a:pos x="connsiteX1338" y="connsiteY1338"/>
                </a:cxn>
                <a:cxn ang="0">
                  <a:pos x="connsiteX1339" y="connsiteY1339"/>
                </a:cxn>
                <a:cxn ang="0">
                  <a:pos x="connsiteX1340" y="connsiteY1340"/>
                </a:cxn>
                <a:cxn ang="0">
                  <a:pos x="connsiteX1341" y="connsiteY1341"/>
                </a:cxn>
                <a:cxn ang="0">
                  <a:pos x="connsiteX1342" y="connsiteY1342"/>
                </a:cxn>
                <a:cxn ang="0">
                  <a:pos x="connsiteX1343" y="connsiteY1343"/>
                </a:cxn>
                <a:cxn ang="0">
                  <a:pos x="connsiteX1344" y="connsiteY1344"/>
                </a:cxn>
                <a:cxn ang="0">
                  <a:pos x="connsiteX1345" y="connsiteY1345"/>
                </a:cxn>
                <a:cxn ang="0">
                  <a:pos x="connsiteX1346" y="connsiteY1346"/>
                </a:cxn>
                <a:cxn ang="0">
                  <a:pos x="connsiteX1347" y="connsiteY1347"/>
                </a:cxn>
                <a:cxn ang="0">
                  <a:pos x="connsiteX1348" y="connsiteY1348"/>
                </a:cxn>
                <a:cxn ang="0">
                  <a:pos x="connsiteX1349" y="connsiteY1349"/>
                </a:cxn>
                <a:cxn ang="0">
                  <a:pos x="connsiteX1350" y="connsiteY1350"/>
                </a:cxn>
                <a:cxn ang="0">
                  <a:pos x="connsiteX1351" y="connsiteY1351"/>
                </a:cxn>
                <a:cxn ang="0">
                  <a:pos x="connsiteX1352" y="connsiteY1352"/>
                </a:cxn>
                <a:cxn ang="0">
                  <a:pos x="connsiteX1353" y="connsiteY1353"/>
                </a:cxn>
                <a:cxn ang="0">
                  <a:pos x="connsiteX1354" y="connsiteY1354"/>
                </a:cxn>
                <a:cxn ang="0">
                  <a:pos x="connsiteX1355" y="connsiteY1355"/>
                </a:cxn>
                <a:cxn ang="0">
                  <a:pos x="connsiteX1356" y="connsiteY1356"/>
                </a:cxn>
                <a:cxn ang="0">
                  <a:pos x="connsiteX1357" y="connsiteY1357"/>
                </a:cxn>
                <a:cxn ang="0">
                  <a:pos x="connsiteX1358" y="connsiteY1358"/>
                </a:cxn>
                <a:cxn ang="0">
                  <a:pos x="connsiteX1359" y="connsiteY1359"/>
                </a:cxn>
                <a:cxn ang="0">
                  <a:pos x="connsiteX1360" y="connsiteY1360"/>
                </a:cxn>
                <a:cxn ang="0">
                  <a:pos x="connsiteX1361" y="connsiteY1361"/>
                </a:cxn>
                <a:cxn ang="0">
                  <a:pos x="connsiteX1362" y="connsiteY1362"/>
                </a:cxn>
                <a:cxn ang="0">
                  <a:pos x="connsiteX1363" y="connsiteY1363"/>
                </a:cxn>
                <a:cxn ang="0">
                  <a:pos x="connsiteX1364" y="connsiteY1364"/>
                </a:cxn>
                <a:cxn ang="0">
                  <a:pos x="connsiteX1365" y="connsiteY1365"/>
                </a:cxn>
                <a:cxn ang="0">
                  <a:pos x="connsiteX1366" y="connsiteY1366"/>
                </a:cxn>
                <a:cxn ang="0">
                  <a:pos x="connsiteX1367" y="connsiteY1367"/>
                </a:cxn>
                <a:cxn ang="0">
                  <a:pos x="connsiteX1368" y="connsiteY1368"/>
                </a:cxn>
                <a:cxn ang="0">
                  <a:pos x="connsiteX1369" y="connsiteY1369"/>
                </a:cxn>
                <a:cxn ang="0">
                  <a:pos x="connsiteX1370" y="connsiteY1370"/>
                </a:cxn>
                <a:cxn ang="0">
                  <a:pos x="connsiteX1371" y="connsiteY1371"/>
                </a:cxn>
                <a:cxn ang="0">
                  <a:pos x="connsiteX1372" y="connsiteY1372"/>
                </a:cxn>
                <a:cxn ang="0">
                  <a:pos x="connsiteX1373" y="connsiteY1373"/>
                </a:cxn>
                <a:cxn ang="0">
                  <a:pos x="connsiteX1374" y="connsiteY1374"/>
                </a:cxn>
                <a:cxn ang="0">
                  <a:pos x="connsiteX1375" y="connsiteY1375"/>
                </a:cxn>
                <a:cxn ang="0">
                  <a:pos x="connsiteX1376" y="connsiteY1376"/>
                </a:cxn>
                <a:cxn ang="0">
                  <a:pos x="connsiteX1377" y="connsiteY1377"/>
                </a:cxn>
                <a:cxn ang="0">
                  <a:pos x="connsiteX1378" y="connsiteY1378"/>
                </a:cxn>
                <a:cxn ang="0">
                  <a:pos x="connsiteX1379" y="connsiteY1379"/>
                </a:cxn>
                <a:cxn ang="0">
                  <a:pos x="connsiteX1380" y="connsiteY1380"/>
                </a:cxn>
                <a:cxn ang="0">
                  <a:pos x="connsiteX1381" y="connsiteY1381"/>
                </a:cxn>
                <a:cxn ang="0">
                  <a:pos x="connsiteX1382" y="connsiteY1382"/>
                </a:cxn>
                <a:cxn ang="0">
                  <a:pos x="connsiteX1383" y="connsiteY1383"/>
                </a:cxn>
                <a:cxn ang="0">
                  <a:pos x="connsiteX1384" y="connsiteY1384"/>
                </a:cxn>
                <a:cxn ang="0">
                  <a:pos x="connsiteX1385" y="connsiteY1385"/>
                </a:cxn>
                <a:cxn ang="0">
                  <a:pos x="connsiteX1386" y="connsiteY1386"/>
                </a:cxn>
                <a:cxn ang="0">
                  <a:pos x="connsiteX1387" y="connsiteY1387"/>
                </a:cxn>
                <a:cxn ang="0">
                  <a:pos x="connsiteX1388" y="connsiteY1388"/>
                </a:cxn>
                <a:cxn ang="0">
                  <a:pos x="connsiteX1389" y="connsiteY1389"/>
                </a:cxn>
                <a:cxn ang="0">
                  <a:pos x="connsiteX1390" y="connsiteY1390"/>
                </a:cxn>
                <a:cxn ang="0">
                  <a:pos x="connsiteX1391" y="connsiteY1391"/>
                </a:cxn>
                <a:cxn ang="0">
                  <a:pos x="connsiteX1392" y="connsiteY1392"/>
                </a:cxn>
                <a:cxn ang="0">
                  <a:pos x="connsiteX1393" y="connsiteY1393"/>
                </a:cxn>
                <a:cxn ang="0">
                  <a:pos x="connsiteX1394" y="connsiteY1394"/>
                </a:cxn>
                <a:cxn ang="0">
                  <a:pos x="connsiteX1395" y="connsiteY1395"/>
                </a:cxn>
                <a:cxn ang="0">
                  <a:pos x="connsiteX1396" y="connsiteY1396"/>
                </a:cxn>
                <a:cxn ang="0">
                  <a:pos x="connsiteX1397" y="connsiteY1397"/>
                </a:cxn>
                <a:cxn ang="0">
                  <a:pos x="connsiteX1398" y="connsiteY1398"/>
                </a:cxn>
                <a:cxn ang="0">
                  <a:pos x="connsiteX1399" y="connsiteY1399"/>
                </a:cxn>
                <a:cxn ang="0">
                  <a:pos x="connsiteX1400" y="connsiteY1400"/>
                </a:cxn>
                <a:cxn ang="0">
                  <a:pos x="connsiteX1401" y="connsiteY1401"/>
                </a:cxn>
                <a:cxn ang="0">
                  <a:pos x="connsiteX1402" y="connsiteY1402"/>
                </a:cxn>
                <a:cxn ang="0">
                  <a:pos x="connsiteX1403" y="connsiteY1403"/>
                </a:cxn>
                <a:cxn ang="0">
                  <a:pos x="connsiteX1404" y="connsiteY1404"/>
                </a:cxn>
                <a:cxn ang="0">
                  <a:pos x="connsiteX1405" y="connsiteY1405"/>
                </a:cxn>
                <a:cxn ang="0">
                  <a:pos x="connsiteX1406" y="connsiteY1406"/>
                </a:cxn>
                <a:cxn ang="0">
                  <a:pos x="connsiteX1407" y="connsiteY1407"/>
                </a:cxn>
                <a:cxn ang="0">
                  <a:pos x="connsiteX1408" y="connsiteY1408"/>
                </a:cxn>
                <a:cxn ang="0">
                  <a:pos x="connsiteX1409" y="connsiteY1409"/>
                </a:cxn>
                <a:cxn ang="0">
                  <a:pos x="connsiteX1410" y="connsiteY1410"/>
                </a:cxn>
                <a:cxn ang="0">
                  <a:pos x="connsiteX1411" y="connsiteY1411"/>
                </a:cxn>
                <a:cxn ang="0">
                  <a:pos x="connsiteX1412" y="connsiteY1412"/>
                </a:cxn>
                <a:cxn ang="0">
                  <a:pos x="connsiteX1413" y="connsiteY1413"/>
                </a:cxn>
                <a:cxn ang="0">
                  <a:pos x="connsiteX1414" y="connsiteY1414"/>
                </a:cxn>
                <a:cxn ang="0">
                  <a:pos x="connsiteX1415" y="connsiteY1415"/>
                </a:cxn>
                <a:cxn ang="0">
                  <a:pos x="connsiteX1416" y="connsiteY1416"/>
                </a:cxn>
                <a:cxn ang="0">
                  <a:pos x="connsiteX1417" y="connsiteY1417"/>
                </a:cxn>
                <a:cxn ang="0">
                  <a:pos x="connsiteX1418" y="connsiteY1418"/>
                </a:cxn>
                <a:cxn ang="0">
                  <a:pos x="connsiteX1419" y="connsiteY1419"/>
                </a:cxn>
                <a:cxn ang="0">
                  <a:pos x="connsiteX1420" y="connsiteY1420"/>
                </a:cxn>
                <a:cxn ang="0">
                  <a:pos x="connsiteX1421" y="connsiteY1421"/>
                </a:cxn>
                <a:cxn ang="0">
                  <a:pos x="connsiteX1422" y="connsiteY1422"/>
                </a:cxn>
                <a:cxn ang="0">
                  <a:pos x="connsiteX1423" y="connsiteY1423"/>
                </a:cxn>
                <a:cxn ang="0">
                  <a:pos x="connsiteX1424" y="connsiteY1424"/>
                </a:cxn>
                <a:cxn ang="0">
                  <a:pos x="connsiteX1425" y="connsiteY1425"/>
                </a:cxn>
                <a:cxn ang="0">
                  <a:pos x="connsiteX1426" y="connsiteY1426"/>
                </a:cxn>
                <a:cxn ang="0">
                  <a:pos x="connsiteX1427" y="connsiteY1427"/>
                </a:cxn>
                <a:cxn ang="0">
                  <a:pos x="connsiteX1428" y="connsiteY1428"/>
                </a:cxn>
                <a:cxn ang="0">
                  <a:pos x="connsiteX1429" y="connsiteY1429"/>
                </a:cxn>
                <a:cxn ang="0">
                  <a:pos x="connsiteX1430" y="connsiteY1430"/>
                </a:cxn>
                <a:cxn ang="0">
                  <a:pos x="connsiteX1431" y="connsiteY1431"/>
                </a:cxn>
                <a:cxn ang="0">
                  <a:pos x="connsiteX1432" y="connsiteY1432"/>
                </a:cxn>
                <a:cxn ang="0">
                  <a:pos x="connsiteX1433" y="connsiteY1433"/>
                </a:cxn>
                <a:cxn ang="0">
                  <a:pos x="connsiteX1434" y="connsiteY1434"/>
                </a:cxn>
                <a:cxn ang="0">
                  <a:pos x="connsiteX1435" y="connsiteY1435"/>
                </a:cxn>
                <a:cxn ang="0">
                  <a:pos x="connsiteX1436" y="connsiteY1436"/>
                </a:cxn>
                <a:cxn ang="0">
                  <a:pos x="connsiteX1437" y="connsiteY1437"/>
                </a:cxn>
                <a:cxn ang="0">
                  <a:pos x="connsiteX1438" y="connsiteY1438"/>
                </a:cxn>
                <a:cxn ang="0">
                  <a:pos x="connsiteX1439" y="connsiteY1439"/>
                </a:cxn>
                <a:cxn ang="0">
                  <a:pos x="connsiteX1440" y="connsiteY1440"/>
                </a:cxn>
                <a:cxn ang="0">
                  <a:pos x="connsiteX1441" y="connsiteY1441"/>
                </a:cxn>
                <a:cxn ang="0">
                  <a:pos x="connsiteX1442" y="connsiteY1442"/>
                </a:cxn>
                <a:cxn ang="0">
                  <a:pos x="connsiteX1443" y="connsiteY1443"/>
                </a:cxn>
                <a:cxn ang="0">
                  <a:pos x="connsiteX1444" y="connsiteY1444"/>
                </a:cxn>
                <a:cxn ang="0">
                  <a:pos x="connsiteX1445" y="connsiteY1445"/>
                </a:cxn>
                <a:cxn ang="0">
                  <a:pos x="connsiteX1446" y="connsiteY1446"/>
                </a:cxn>
                <a:cxn ang="0">
                  <a:pos x="connsiteX1447" y="connsiteY1447"/>
                </a:cxn>
                <a:cxn ang="0">
                  <a:pos x="connsiteX1448" y="connsiteY1448"/>
                </a:cxn>
                <a:cxn ang="0">
                  <a:pos x="connsiteX1449" y="connsiteY1449"/>
                </a:cxn>
                <a:cxn ang="0">
                  <a:pos x="connsiteX1450" y="connsiteY1450"/>
                </a:cxn>
                <a:cxn ang="0">
                  <a:pos x="connsiteX1451" y="connsiteY1451"/>
                </a:cxn>
                <a:cxn ang="0">
                  <a:pos x="connsiteX1452" y="connsiteY1452"/>
                </a:cxn>
                <a:cxn ang="0">
                  <a:pos x="connsiteX1453" y="connsiteY1453"/>
                </a:cxn>
                <a:cxn ang="0">
                  <a:pos x="connsiteX1454" y="connsiteY1454"/>
                </a:cxn>
                <a:cxn ang="0">
                  <a:pos x="connsiteX1455" y="connsiteY1455"/>
                </a:cxn>
                <a:cxn ang="0">
                  <a:pos x="connsiteX1456" y="connsiteY1456"/>
                </a:cxn>
                <a:cxn ang="0">
                  <a:pos x="connsiteX1457" y="connsiteY1457"/>
                </a:cxn>
                <a:cxn ang="0">
                  <a:pos x="connsiteX1458" y="connsiteY1458"/>
                </a:cxn>
                <a:cxn ang="0">
                  <a:pos x="connsiteX1459" y="connsiteY1459"/>
                </a:cxn>
                <a:cxn ang="0">
                  <a:pos x="connsiteX1460" y="connsiteY1460"/>
                </a:cxn>
                <a:cxn ang="0">
                  <a:pos x="connsiteX1461" y="connsiteY1461"/>
                </a:cxn>
                <a:cxn ang="0">
                  <a:pos x="connsiteX1462" y="connsiteY1462"/>
                </a:cxn>
                <a:cxn ang="0">
                  <a:pos x="connsiteX1463" y="connsiteY1463"/>
                </a:cxn>
                <a:cxn ang="0">
                  <a:pos x="connsiteX1464" y="connsiteY1464"/>
                </a:cxn>
                <a:cxn ang="0">
                  <a:pos x="connsiteX1465" y="connsiteY1465"/>
                </a:cxn>
                <a:cxn ang="0">
                  <a:pos x="connsiteX1466" y="connsiteY1466"/>
                </a:cxn>
                <a:cxn ang="0">
                  <a:pos x="connsiteX1467" y="connsiteY1467"/>
                </a:cxn>
                <a:cxn ang="0">
                  <a:pos x="connsiteX1468" y="connsiteY1468"/>
                </a:cxn>
                <a:cxn ang="0">
                  <a:pos x="connsiteX1469" y="connsiteY1469"/>
                </a:cxn>
                <a:cxn ang="0">
                  <a:pos x="connsiteX1470" y="connsiteY1470"/>
                </a:cxn>
                <a:cxn ang="0">
                  <a:pos x="connsiteX1471" y="connsiteY1471"/>
                </a:cxn>
                <a:cxn ang="0">
                  <a:pos x="connsiteX1472" y="connsiteY1472"/>
                </a:cxn>
                <a:cxn ang="0">
                  <a:pos x="connsiteX1473" y="connsiteY1473"/>
                </a:cxn>
                <a:cxn ang="0">
                  <a:pos x="connsiteX1474" y="connsiteY1474"/>
                </a:cxn>
                <a:cxn ang="0">
                  <a:pos x="connsiteX1475" y="connsiteY1475"/>
                </a:cxn>
                <a:cxn ang="0">
                  <a:pos x="connsiteX1476" y="connsiteY1476"/>
                </a:cxn>
                <a:cxn ang="0">
                  <a:pos x="connsiteX1477" y="connsiteY1477"/>
                </a:cxn>
                <a:cxn ang="0">
                  <a:pos x="connsiteX1478" y="connsiteY1478"/>
                </a:cxn>
                <a:cxn ang="0">
                  <a:pos x="connsiteX1479" y="connsiteY1479"/>
                </a:cxn>
                <a:cxn ang="0">
                  <a:pos x="connsiteX1480" y="connsiteY1480"/>
                </a:cxn>
                <a:cxn ang="0">
                  <a:pos x="connsiteX1481" y="connsiteY1481"/>
                </a:cxn>
                <a:cxn ang="0">
                  <a:pos x="connsiteX1482" y="connsiteY1482"/>
                </a:cxn>
                <a:cxn ang="0">
                  <a:pos x="connsiteX1483" y="connsiteY1483"/>
                </a:cxn>
                <a:cxn ang="0">
                  <a:pos x="connsiteX1484" y="connsiteY1484"/>
                </a:cxn>
                <a:cxn ang="0">
                  <a:pos x="connsiteX1485" y="connsiteY1485"/>
                </a:cxn>
                <a:cxn ang="0">
                  <a:pos x="connsiteX1486" y="connsiteY1486"/>
                </a:cxn>
                <a:cxn ang="0">
                  <a:pos x="connsiteX1487" y="connsiteY1487"/>
                </a:cxn>
                <a:cxn ang="0">
                  <a:pos x="connsiteX1488" y="connsiteY1488"/>
                </a:cxn>
                <a:cxn ang="0">
                  <a:pos x="connsiteX1489" y="connsiteY1489"/>
                </a:cxn>
                <a:cxn ang="0">
                  <a:pos x="connsiteX1490" y="connsiteY1490"/>
                </a:cxn>
                <a:cxn ang="0">
                  <a:pos x="connsiteX1491" y="connsiteY1491"/>
                </a:cxn>
                <a:cxn ang="0">
                  <a:pos x="connsiteX1492" y="connsiteY1492"/>
                </a:cxn>
                <a:cxn ang="0">
                  <a:pos x="connsiteX1493" y="connsiteY1493"/>
                </a:cxn>
                <a:cxn ang="0">
                  <a:pos x="connsiteX1494" y="connsiteY1494"/>
                </a:cxn>
                <a:cxn ang="0">
                  <a:pos x="connsiteX1495" y="connsiteY1495"/>
                </a:cxn>
                <a:cxn ang="0">
                  <a:pos x="connsiteX1496" y="connsiteY1496"/>
                </a:cxn>
                <a:cxn ang="0">
                  <a:pos x="connsiteX1497" y="connsiteY1497"/>
                </a:cxn>
                <a:cxn ang="0">
                  <a:pos x="connsiteX1498" y="connsiteY1498"/>
                </a:cxn>
                <a:cxn ang="0">
                  <a:pos x="connsiteX1499" y="connsiteY1499"/>
                </a:cxn>
                <a:cxn ang="0">
                  <a:pos x="connsiteX1500" y="connsiteY1500"/>
                </a:cxn>
                <a:cxn ang="0">
                  <a:pos x="connsiteX1501" y="connsiteY1501"/>
                </a:cxn>
                <a:cxn ang="0">
                  <a:pos x="connsiteX1502" y="connsiteY1502"/>
                </a:cxn>
                <a:cxn ang="0">
                  <a:pos x="connsiteX1503" y="connsiteY1503"/>
                </a:cxn>
                <a:cxn ang="0">
                  <a:pos x="connsiteX1504" y="connsiteY1504"/>
                </a:cxn>
                <a:cxn ang="0">
                  <a:pos x="connsiteX1505" y="connsiteY1505"/>
                </a:cxn>
                <a:cxn ang="0">
                  <a:pos x="connsiteX1506" y="connsiteY1506"/>
                </a:cxn>
                <a:cxn ang="0">
                  <a:pos x="connsiteX1507" y="connsiteY1507"/>
                </a:cxn>
                <a:cxn ang="0">
                  <a:pos x="connsiteX1508" y="connsiteY1508"/>
                </a:cxn>
                <a:cxn ang="0">
                  <a:pos x="connsiteX1509" y="connsiteY1509"/>
                </a:cxn>
                <a:cxn ang="0">
                  <a:pos x="connsiteX1510" y="connsiteY1510"/>
                </a:cxn>
                <a:cxn ang="0">
                  <a:pos x="connsiteX1511" y="connsiteY1511"/>
                </a:cxn>
                <a:cxn ang="0">
                  <a:pos x="connsiteX1512" y="connsiteY1512"/>
                </a:cxn>
                <a:cxn ang="0">
                  <a:pos x="connsiteX1513" y="connsiteY1513"/>
                </a:cxn>
                <a:cxn ang="0">
                  <a:pos x="connsiteX1514" y="connsiteY1514"/>
                </a:cxn>
                <a:cxn ang="0">
                  <a:pos x="connsiteX1515" y="connsiteY1515"/>
                </a:cxn>
                <a:cxn ang="0">
                  <a:pos x="connsiteX1516" y="connsiteY1516"/>
                </a:cxn>
                <a:cxn ang="0">
                  <a:pos x="connsiteX1517" y="connsiteY1517"/>
                </a:cxn>
                <a:cxn ang="0">
                  <a:pos x="connsiteX1518" y="connsiteY1518"/>
                </a:cxn>
                <a:cxn ang="0">
                  <a:pos x="connsiteX1519" y="connsiteY1519"/>
                </a:cxn>
                <a:cxn ang="0">
                  <a:pos x="connsiteX1520" y="connsiteY1520"/>
                </a:cxn>
                <a:cxn ang="0">
                  <a:pos x="connsiteX1521" y="connsiteY1521"/>
                </a:cxn>
                <a:cxn ang="0">
                  <a:pos x="connsiteX1522" y="connsiteY1522"/>
                </a:cxn>
                <a:cxn ang="0">
                  <a:pos x="connsiteX1523" y="connsiteY1523"/>
                </a:cxn>
                <a:cxn ang="0">
                  <a:pos x="connsiteX1524" y="connsiteY1524"/>
                </a:cxn>
                <a:cxn ang="0">
                  <a:pos x="connsiteX1525" y="connsiteY1525"/>
                </a:cxn>
                <a:cxn ang="0">
                  <a:pos x="connsiteX1526" y="connsiteY1526"/>
                </a:cxn>
                <a:cxn ang="0">
                  <a:pos x="connsiteX1527" y="connsiteY1527"/>
                </a:cxn>
                <a:cxn ang="0">
                  <a:pos x="connsiteX1528" y="connsiteY1528"/>
                </a:cxn>
                <a:cxn ang="0">
                  <a:pos x="connsiteX1529" y="connsiteY1529"/>
                </a:cxn>
                <a:cxn ang="0">
                  <a:pos x="connsiteX1530" y="connsiteY1530"/>
                </a:cxn>
                <a:cxn ang="0">
                  <a:pos x="connsiteX1531" y="connsiteY1531"/>
                </a:cxn>
                <a:cxn ang="0">
                  <a:pos x="connsiteX1532" y="connsiteY1532"/>
                </a:cxn>
                <a:cxn ang="0">
                  <a:pos x="connsiteX1533" y="connsiteY1533"/>
                </a:cxn>
                <a:cxn ang="0">
                  <a:pos x="connsiteX1534" y="connsiteY1534"/>
                </a:cxn>
                <a:cxn ang="0">
                  <a:pos x="connsiteX1535" y="connsiteY1535"/>
                </a:cxn>
                <a:cxn ang="0">
                  <a:pos x="connsiteX1536" y="connsiteY1536"/>
                </a:cxn>
                <a:cxn ang="0">
                  <a:pos x="connsiteX1537" y="connsiteY1537"/>
                </a:cxn>
                <a:cxn ang="0">
                  <a:pos x="connsiteX1538" y="connsiteY1538"/>
                </a:cxn>
                <a:cxn ang="0">
                  <a:pos x="connsiteX1539" y="connsiteY1539"/>
                </a:cxn>
                <a:cxn ang="0">
                  <a:pos x="connsiteX1540" y="connsiteY1540"/>
                </a:cxn>
                <a:cxn ang="0">
                  <a:pos x="connsiteX1541" y="connsiteY1541"/>
                </a:cxn>
                <a:cxn ang="0">
                  <a:pos x="connsiteX1542" y="connsiteY1542"/>
                </a:cxn>
                <a:cxn ang="0">
                  <a:pos x="connsiteX1543" y="connsiteY1543"/>
                </a:cxn>
                <a:cxn ang="0">
                  <a:pos x="connsiteX1544" y="connsiteY1544"/>
                </a:cxn>
                <a:cxn ang="0">
                  <a:pos x="connsiteX1545" y="connsiteY1545"/>
                </a:cxn>
                <a:cxn ang="0">
                  <a:pos x="connsiteX1546" y="connsiteY1546"/>
                </a:cxn>
                <a:cxn ang="0">
                  <a:pos x="connsiteX1547" y="connsiteY1547"/>
                </a:cxn>
                <a:cxn ang="0">
                  <a:pos x="connsiteX1548" y="connsiteY1548"/>
                </a:cxn>
                <a:cxn ang="0">
                  <a:pos x="connsiteX1549" y="connsiteY1549"/>
                </a:cxn>
                <a:cxn ang="0">
                  <a:pos x="connsiteX1550" y="connsiteY1550"/>
                </a:cxn>
                <a:cxn ang="0">
                  <a:pos x="connsiteX1551" y="connsiteY1551"/>
                </a:cxn>
                <a:cxn ang="0">
                  <a:pos x="connsiteX1552" y="connsiteY1552"/>
                </a:cxn>
                <a:cxn ang="0">
                  <a:pos x="connsiteX1553" y="connsiteY1553"/>
                </a:cxn>
                <a:cxn ang="0">
                  <a:pos x="connsiteX1554" y="connsiteY1554"/>
                </a:cxn>
                <a:cxn ang="0">
                  <a:pos x="connsiteX1555" y="connsiteY1555"/>
                </a:cxn>
                <a:cxn ang="0">
                  <a:pos x="connsiteX1556" y="connsiteY1556"/>
                </a:cxn>
                <a:cxn ang="0">
                  <a:pos x="connsiteX1557" y="connsiteY1557"/>
                </a:cxn>
                <a:cxn ang="0">
                  <a:pos x="connsiteX1558" y="connsiteY1558"/>
                </a:cxn>
                <a:cxn ang="0">
                  <a:pos x="connsiteX1559" y="connsiteY1559"/>
                </a:cxn>
                <a:cxn ang="0">
                  <a:pos x="connsiteX1560" y="connsiteY1560"/>
                </a:cxn>
                <a:cxn ang="0">
                  <a:pos x="connsiteX1561" y="connsiteY1561"/>
                </a:cxn>
                <a:cxn ang="0">
                  <a:pos x="connsiteX1562" y="connsiteY1562"/>
                </a:cxn>
                <a:cxn ang="0">
                  <a:pos x="connsiteX1563" y="connsiteY1563"/>
                </a:cxn>
                <a:cxn ang="0">
                  <a:pos x="connsiteX1564" y="connsiteY1564"/>
                </a:cxn>
                <a:cxn ang="0">
                  <a:pos x="connsiteX1565" y="connsiteY1565"/>
                </a:cxn>
                <a:cxn ang="0">
                  <a:pos x="connsiteX1566" y="connsiteY1566"/>
                </a:cxn>
                <a:cxn ang="0">
                  <a:pos x="connsiteX1567" y="connsiteY1567"/>
                </a:cxn>
                <a:cxn ang="0">
                  <a:pos x="connsiteX1568" y="connsiteY1568"/>
                </a:cxn>
                <a:cxn ang="0">
                  <a:pos x="connsiteX1569" y="connsiteY1569"/>
                </a:cxn>
                <a:cxn ang="0">
                  <a:pos x="connsiteX1570" y="connsiteY1570"/>
                </a:cxn>
                <a:cxn ang="0">
                  <a:pos x="connsiteX1571" y="connsiteY1571"/>
                </a:cxn>
                <a:cxn ang="0">
                  <a:pos x="connsiteX1572" y="connsiteY1572"/>
                </a:cxn>
                <a:cxn ang="0">
                  <a:pos x="connsiteX1573" y="connsiteY1573"/>
                </a:cxn>
                <a:cxn ang="0">
                  <a:pos x="connsiteX1574" y="connsiteY1574"/>
                </a:cxn>
                <a:cxn ang="0">
                  <a:pos x="connsiteX1575" y="connsiteY1575"/>
                </a:cxn>
                <a:cxn ang="0">
                  <a:pos x="connsiteX1576" y="connsiteY1576"/>
                </a:cxn>
                <a:cxn ang="0">
                  <a:pos x="connsiteX1577" y="connsiteY1577"/>
                </a:cxn>
                <a:cxn ang="0">
                  <a:pos x="connsiteX1578" y="connsiteY1578"/>
                </a:cxn>
                <a:cxn ang="0">
                  <a:pos x="connsiteX1579" y="connsiteY1579"/>
                </a:cxn>
                <a:cxn ang="0">
                  <a:pos x="connsiteX1580" y="connsiteY1580"/>
                </a:cxn>
                <a:cxn ang="0">
                  <a:pos x="connsiteX1581" y="connsiteY1581"/>
                </a:cxn>
                <a:cxn ang="0">
                  <a:pos x="connsiteX1582" y="connsiteY1582"/>
                </a:cxn>
                <a:cxn ang="0">
                  <a:pos x="connsiteX1583" y="connsiteY1583"/>
                </a:cxn>
                <a:cxn ang="0">
                  <a:pos x="connsiteX1584" y="connsiteY1584"/>
                </a:cxn>
                <a:cxn ang="0">
                  <a:pos x="connsiteX1585" y="connsiteY1585"/>
                </a:cxn>
                <a:cxn ang="0">
                  <a:pos x="connsiteX1586" y="connsiteY1586"/>
                </a:cxn>
                <a:cxn ang="0">
                  <a:pos x="connsiteX1587" y="connsiteY1587"/>
                </a:cxn>
                <a:cxn ang="0">
                  <a:pos x="connsiteX1588" y="connsiteY1588"/>
                </a:cxn>
                <a:cxn ang="0">
                  <a:pos x="connsiteX1589" y="connsiteY1589"/>
                </a:cxn>
                <a:cxn ang="0">
                  <a:pos x="connsiteX1590" y="connsiteY1590"/>
                </a:cxn>
                <a:cxn ang="0">
                  <a:pos x="connsiteX1591" y="connsiteY1591"/>
                </a:cxn>
                <a:cxn ang="0">
                  <a:pos x="connsiteX1592" y="connsiteY1592"/>
                </a:cxn>
                <a:cxn ang="0">
                  <a:pos x="connsiteX1593" y="connsiteY1593"/>
                </a:cxn>
                <a:cxn ang="0">
                  <a:pos x="connsiteX1594" y="connsiteY1594"/>
                </a:cxn>
                <a:cxn ang="0">
                  <a:pos x="connsiteX1595" y="connsiteY1595"/>
                </a:cxn>
                <a:cxn ang="0">
                  <a:pos x="connsiteX1596" y="connsiteY1596"/>
                </a:cxn>
                <a:cxn ang="0">
                  <a:pos x="connsiteX1597" y="connsiteY1597"/>
                </a:cxn>
                <a:cxn ang="0">
                  <a:pos x="connsiteX1598" y="connsiteY1598"/>
                </a:cxn>
                <a:cxn ang="0">
                  <a:pos x="connsiteX1599" y="connsiteY1599"/>
                </a:cxn>
                <a:cxn ang="0">
                  <a:pos x="connsiteX1600" y="connsiteY1600"/>
                </a:cxn>
                <a:cxn ang="0">
                  <a:pos x="connsiteX1601" y="connsiteY1601"/>
                </a:cxn>
                <a:cxn ang="0">
                  <a:pos x="connsiteX1602" y="connsiteY1602"/>
                </a:cxn>
                <a:cxn ang="0">
                  <a:pos x="connsiteX1603" y="connsiteY1603"/>
                </a:cxn>
                <a:cxn ang="0">
                  <a:pos x="connsiteX1604" y="connsiteY1604"/>
                </a:cxn>
                <a:cxn ang="0">
                  <a:pos x="connsiteX1605" y="connsiteY1605"/>
                </a:cxn>
                <a:cxn ang="0">
                  <a:pos x="connsiteX1606" y="connsiteY1606"/>
                </a:cxn>
                <a:cxn ang="0">
                  <a:pos x="connsiteX1607" y="connsiteY1607"/>
                </a:cxn>
                <a:cxn ang="0">
                  <a:pos x="connsiteX1608" y="connsiteY1608"/>
                </a:cxn>
                <a:cxn ang="0">
                  <a:pos x="connsiteX1609" y="connsiteY1609"/>
                </a:cxn>
                <a:cxn ang="0">
                  <a:pos x="connsiteX1610" y="connsiteY1610"/>
                </a:cxn>
                <a:cxn ang="0">
                  <a:pos x="connsiteX1611" y="connsiteY1611"/>
                </a:cxn>
                <a:cxn ang="0">
                  <a:pos x="connsiteX1612" y="connsiteY1612"/>
                </a:cxn>
                <a:cxn ang="0">
                  <a:pos x="connsiteX1613" y="connsiteY1613"/>
                </a:cxn>
                <a:cxn ang="0">
                  <a:pos x="connsiteX1614" y="connsiteY1614"/>
                </a:cxn>
                <a:cxn ang="0">
                  <a:pos x="connsiteX1615" y="connsiteY1615"/>
                </a:cxn>
                <a:cxn ang="0">
                  <a:pos x="connsiteX1616" y="connsiteY1616"/>
                </a:cxn>
                <a:cxn ang="0">
                  <a:pos x="connsiteX1617" y="connsiteY1617"/>
                </a:cxn>
                <a:cxn ang="0">
                  <a:pos x="connsiteX1618" y="connsiteY1618"/>
                </a:cxn>
                <a:cxn ang="0">
                  <a:pos x="connsiteX1619" y="connsiteY1619"/>
                </a:cxn>
                <a:cxn ang="0">
                  <a:pos x="connsiteX1620" y="connsiteY1620"/>
                </a:cxn>
                <a:cxn ang="0">
                  <a:pos x="connsiteX1621" y="connsiteY1621"/>
                </a:cxn>
                <a:cxn ang="0">
                  <a:pos x="connsiteX1622" y="connsiteY1622"/>
                </a:cxn>
                <a:cxn ang="0">
                  <a:pos x="connsiteX1623" y="connsiteY1623"/>
                </a:cxn>
                <a:cxn ang="0">
                  <a:pos x="connsiteX1624" y="connsiteY1624"/>
                </a:cxn>
                <a:cxn ang="0">
                  <a:pos x="connsiteX1625" y="connsiteY1625"/>
                </a:cxn>
                <a:cxn ang="0">
                  <a:pos x="connsiteX1626" y="connsiteY1626"/>
                </a:cxn>
                <a:cxn ang="0">
                  <a:pos x="connsiteX1627" y="connsiteY1627"/>
                </a:cxn>
                <a:cxn ang="0">
                  <a:pos x="connsiteX1628" y="connsiteY1628"/>
                </a:cxn>
                <a:cxn ang="0">
                  <a:pos x="connsiteX1629" y="connsiteY1629"/>
                </a:cxn>
                <a:cxn ang="0">
                  <a:pos x="connsiteX1630" y="connsiteY1630"/>
                </a:cxn>
                <a:cxn ang="0">
                  <a:pos x="connsiteX1631" y="connsiteY1631"/>
                </a:cxn>
                <a:cxn ang="0">
                  <a:pos x="connsiteX1632" y="connsiteY1632"/>
                </a:cxn>
                <a:cxn ang="0">
                  <a:pos x="connsiteX1633" y="connsiteY1633"/>
                </a:cxn>
                <a:cxn ang="0">
                  <a:pos x="connsiteX1634" y="connsiteY1634"/>
                </a:cxn>
                <a:cxn ang="0">
                  <a:pos x="connsiteX1635" y="connsiteY1635"/>
                </a:cxn>
                <a:cxn ang="0">
                  <a:pos x="connsiteX1636" y="connsiteY1636"/>
                </a:cxn>
                <a:cxn ang="0">
                  <a:pos x="connsiteX1637" y="connsiteY1637"/>
                </a:cxn>
                <a:cxn ang="0">
                  <a:pos x="connsiteX1638" y="connsiteY1638"/>
                </a:cxn>
                <a:cxn ang="0">
                  <a:pos x="connsiteX1639" y="connsiteY1639"/>
                </a:cxn>
                <a:cxn ang="0">
                  <a:pos x="connsiteX1640" y="connsiteY1640"/>
                </a:cxn>
                <a:cxn ang="0">
                  <a:pos x="connsiteX1641" y="connsiteY1641"/>
                </a:cxn>
                <a:cxn ang="0">
                  <a:pos x="connsiteX1642" y="connsiteY1642"/>
                </a:cxn>
                <a:cxn ang="0">
                  <a:pos x="connsiteX1643" y="connsiteY1643"/>
                </a:cxn>
                <a:cxn ang="0">
                  <a:pos x="connsiteX1644" y="connsiteY1644"/>
                </a:cxn>
                <a:cxn ang="0">
                  <a:pos x="connsiteX1645" y="connsiteY1645"/>
                </a:cxn>
                <a:cxn ang="0">
                  <a:pos x="connsiteX1646" y="connsiteY1646"/>
                </a:cxn>
                <a:cxn ang="0">
                  <a:pos x="connsiteX1647" y="connsiteY1647"/>
                </a:cxn>
                <a:cxn ang="0">
                  <a:pos x="connsiteX1648" y="connsiteY1648"/>
                </a:cxn>
                <a:cxn ang="0">
                  <a:pos x="connsiteX1649" y="connsiteY1649"/>
                </a:cxn>
                <a:cxn ang="0">
                  <a:pos x="connsiteX1650" y="connsiteY1650"/>
                </a:cxn>
                <a:cxn ang="0">
                  <a:pos x="connsiteX1651" y="connsiteY1651"/>
                </a:cxn>
                <a:cxn ang="0">
                  <a:pos x="connsiteX1652" y="connsiteY1652"/>
                </a:cxn>
                <a:cxn ang="0">
                  <a:pos x="connsiteX1653" y="connsiteY1653"/>
                </a:cxn>
                <a:cxn ang="0">
                  <a:pos x="connsiteX1654" y="connsiteY1654"/>
                </a:cxn>
                <a:cxn ang="0">
                  <a:pos x="connsiteX1655" y="connsiteY1655"/>
                </a:cxn>
                <a:cxn ang="0">
                  <a:pos x="connsiteX1656" y="connsiteY1656"/>
                </a:cxn>
                <a:cxn ang="0">
                  <a:pos x="connsiteX1657" y="connsiteY1657"/>
                </a:cxn>
                <a:cxn ang="0">
                  <a:pos x="connsiteX1658" y="connsiteY1658"/>
                </a:cxn>
                <a:cxn ang="0">
                  <a:pos x="connsiteX1659" y="connsiteY1659"/>
                </a:cxn>
                <a:cxn ang="0">
                  <a:pos x="connsiteX1660" y="connsiteY1660"/>
                </a:cxn>
                <a:cxn ang="0">
                  <a:pos x="connsiteX1661" y="connsiteY1661"/>
                </a:cxn>
                <a:cxn ang="0">
                  <a:pos x="connsiteX1662" y="connsiteY1662"/>
                </a:cxn>
                <a:cxn ang="0">
                  <a:pos x="connsiteX1663" y="connsiteY1663"/>
                </a:cxn>
                <a:cxn ang="0">
                  <a:pos x="connsiteX1664" y="connsiteY1664"/>
                </a:cxn>
                <a:cxn ang="0">
                  <a:pos x="connsiteX1665" y="connsiteY1665"/>
                </a:cxn>
                <a:cxn ang="0">
                  <a:pos x="connsiteX1666" y="connsiteY1666"/>
                </a:cxn>
                <a:cxn ang="0">
                  <a:pos x="connsiteX1667" y="connsiteY1667"/>
                </a:cxn>
                <a:cxn ang="0">
                  <a:pos x="connsiteX1668" y="connsiteY1668"/>
                </a:cxn>
                <a:cxn ang="0">
                  <a:pos x="connsiteX1669" y="connsiteY1669"/>
                </a:cxn>
                <a:cxn ang="0">
                  <a:pos x="connsiteX1670" y="connsiteY1670"/>
                </a:cxn>
                <a:cxn ang="0">
                  <a:pos x="connsiteX1671" y="connsiteY1671"/>
                </a:cxn>
                <a:cxn ang="0">
                  <a:pos x="connsiteX1672" y="connsiteY1672"/>
                </a:cxn>
                <a:cxn ang="0">
                  <a:pos x="connsiteX1673" y="connsiteY1673"/>
                </a:cxn>
                <a:cxn ang="0">
                  <a:pos x="connsiteX1674" y="connsiteY1674"/>
                </a:cxn>
                <a:cxn ang="0">
                  <a:pos x="connsiteX1675" y="connsiteY1675"/>
                </a:cxn>
                <a:cxn ang="0">
                  <a:pos x="connsiteX1676" y="connsiteY1676"/>
                </a:cxn>
                <a:cxn ang="0">
                  <a:pos x="connsiteX1677" y="connsiteY1677"/>
                </a:cxn>
                <a:cxn ang="0">
                  <a:pos x="connsiteX1678" y="connsiteY1678"/>
                </a:cxn>
                <a:cxn ang="0">
                  <a:pos x="connsiteX1679" y="connsiteY1679"/>
                </a:cxn>
                <a:cxn ang="0">
                  <a:pos x="connsiteX1680" y="connsiteY1680"/>
                </a:cxn>
                <a:cxn ang="0">
                  <a:pos x="connsiteX1681" y="connsiteY1681"/>
                </a:cxn>
                <a:cxn ang="0">
                  <a:pos x="connsiteX1682" y="connsiteY1682"/>
                </a:cxn>
                <a:cxn ang="0">
                  <a:pos x="connsiteX1683" y="connsiteY1683"/>
                </a:cxn>
                <a:cxn ang="0">
                  <a:pos x="connsiteX1684" y="connsiteY1684"/>
                </a:cxn>
                <a:cxn ang="0">
                  <a:pos x="connsiteX1685" y="connsiteY1685"/>
                </a:cxn>
                <a:cxn ang="0">
                  <a:pos x="connsiteX1686" y="connsiteY1686"/>
                </a:cxn>
                <a:cxn ang="0">
                  <a:pos x="connsiteX1687" y="connsiteY1687"/>
                </a:cxn>
                <a:cxn ang="0">
                  <a:pos x="connsiteX1688" y="connsiteY1688"/>
                </a:cxn>
                <a:cxn ang="0">
                  <a:pos x="connsiteX1689" y="connsiteY1689"/>
                </a:cxn>
                <a:cxn ang="0">
                  <a:pos x="connsiteX1690" y="connsiteY1690"/>
                </a:cxn>
                <a:cxn ang="0">
                  <a:pos x="connsiteX1691" y="connsiteY1691"/>
                </a:cxn>
                <a:cxn ang="0">
                  <a:pos x="connsiteX1692" y="connsiteY1692"/>
                </a:cxn>
                <a:cxn ang="0">
                  <a:pos x="connsiteX1693" y="connsiteY1693"/>
                </a:cxn>
                <a:cxn ang="0">
                  <a:pos x="connsiteX1694" y="connsiteY1694"/>
                </a:cxn>
                <a:cxn ang="0">
                  <a:pos x="connsiteX1695" y="connsiteY1695"/>
                </a:cxn>
                <a:cxn ang="0">
                  <a:pos x="connsiteX1696" y="connsiteY1696"/>
                </a:cxn>
                <a:cxn ang="0">
                  <a:pos x="connsiteX1697" y="connsiteY1697"/>
                </a:cxn>
                <a:cxn ang="0">
                  <a:pos x="connsiteX1698" y="connsiteY1698"/>
                </a:cxn>
                <a:cxn ang="0">
                  <a:pos x="connsiteX1699" y="connsiteY1699"/>
                </a:cxn>
                <a:cxn ang="0">
                  <a:pos x="connsiteX1700" y="connsiteY1700"/>
                </a:cxn>
                <a:cxn ang="0">
                  <a:pos x="connsiteX1701" y="connsiteY1701"/>
                </a:cxn>
                <a:cxn ang="0">
                  <a:pos x="connsiteX1702" y="connsiteY1702"/>
                </a:cxn>
                <a:cxn ang="0">
                  <a:pos x="connsiteX1703" y="connsiteY1703"/>
                </a:cxn>
                <a:cxn ang="0">
                  <a:pos x="connsiteX1704" y="connsiteY1704"/>
                </a:cxn>
                <a:cxn ang="0">
                  <a:pos x="connsiteX1705" y="connsiteY1705"/>
                </a:cxn>
                <a:cxn ang="0">
                  <a:pos x="connsiteX1706" y="connsiteY1706"/>
                </a:cxn>
                <a:cxn ang="0">
                  <a:pos x="connsiteX1707" y="connsiteY1707"/>
                </a:cxn>
                <a:cxn ang="0">
                  <a:pos x="connsiteX1708" y="connsiteY1708"/>
                </a:cxn>
                <a:cxn ang="0">
                  <a:pos x="connsiteX1709" y="connsiteY1709"/>
                </a:cxn>
                <a:cxn ang="0">
                  <a:pos x="connsiteX1710" y="connsiteY1710"/>
                </a:cxn>
                <a:cxn ang="0">
                  <a:pos x="connsiteX1711" y="connsiteY1711"/>
                </a:cxn>
                <a:cxn ang="0">
                  <a:pos x="connsiteX1712" y="connsiteY1712"/>
                </a:cxn>
                <a:cxn ang="0">
                  <a:pos x="connsiteX1713" y="connsiteY1713"/>
                </a:cxn>
                <a:cxn ang="0">
                  <a:pos x="connsiteX1714" y="connsiteY1714"/>
                </a:cxn>
                <a:cxn ang="0">
                  <a:pos x="connsiteX1715" y="connsiteY1715"/>
                </a:cxn>
                <a:cxn ang="0">
                  <a:pos x="connsiteX1716" y="connsiteY1716"/>
                </a:cxn>
                <a:cxn ang="0">
                  <a:pos x="connsiteX1717" y="connsiteY1717"/>
                </a:cxn>
                <a:cxn ang="0">
                  <a:pos x="connsiteX1718" y="connsiteY1718"/>
                </a:cxn>
                <a:cxn ang="0">
                  <a:pos x="connsiteX1719" y="connsiteY1719"/>
                </a:cxn>
                <a:cxn ang="0">
                  <a:pos x="connsiteX1720" y="connsiteY1720"/>
                </a:cxn>
                <a:cxn ang="0">
                  <a:pos x="connsiteX1721" y="connsiteY1721"/>
                </a:cxn>
                <a:cxn ang="0">
                  <a:pos x="connsiteX1722" y="connsiteY1722"/>
                </a:cxn>
                <a:cxn ang="0">
                  <a:pos x="connsiteX1723" y="connsiteY1723"/>
                </a:cxn>
                <a:cxn ang="0">
                  <a:pos x="connsiteX1724" y="connsiteY1724"/>
                </a:cxn>
                <a:cxn ang="0">
                  <a:pos x="connsiteX1725" y="connsiteY1725"/>
                </a:cxn>
                <a:cxn ang="0">
                  <a:pos x="connsiteX1726" y="connsiteY1726"/>
                </a:cxn>
                <a:cxn ang="0">
                  <a:pos x="connsiteX1727" y="connsiteY1727"/>
                </a:cxn>
                <a:cxn ang="0">
                  <a:pos x="connsiteX1728" y="connsiteY1728"/>
                </a:cxn>
                <a:cxn ang="0">
                  <a:pos x="connsiteX1729" y="connsiteY1729"/>
                </a:cxn>
                <a:cxn ang="0">
                  <a:pos x="connsiteX1730" y="connsiteY1730"/>
                </a:cxn>
                <a:cxn ang="0">
                  <a:pos x="connsiteX1731" y="connsiteY1731"/>
                </a:cxn>
                <a:cxn ang="0">
                  <a:pos x="connsiteX1732" y="connsiteY1732"/>
                </a:cxn>
                <a:cxn ang="0">
                  <a:pos x="connsiteX1733" y="connsiteY1733"/>
                </a:cxn>
                <a:cxn ang="0">
                  <a:pos x="connsiteX1734" y="connsiteY1734"/>
                </a:cxn>
                <a:cxn ang="0">
                  <a:pos x="connsiteX1735" y="connsiteY1735"/>
                </a:cxn>
                <a:cxn ang="0">
                  <a:pos x="connsiteX1736" y="connsiteY1736"/>
                </a:cxn>
                <a:cxn ang="0">
                  <a:pos x="connsiteX1737" y="connsiteY1737"/>
                </a:cxn>
                <a:cxn ang="0">
                  <a:pos x="connsiteX1738" y="connsiteY1738"/>
                </a:cxn>
                <a:cxn ang="0">
                  <a:pos x="connsiteX1739" y="connsiteY1739"/>
                </a:cxn>
                <a:cxn ang="0">
                  <a:pos x="connsiteX1740" y="connsiteY1740"/>
                </a:cxn>
                <a:cxn ang="0">
                  <a:pos x="connsiteX1741" y="connsiteY1741"/>
                </a:cxn>
                <a:cxn ang="0">
                  <a:pos x="connsiteX1742" y="connsiteY1742"/>
                </a:cxn>
                <a:cxn ang="0">
                  <a:pos x="connsiteX1743" y="connsiteY1743"/>
                </a:cxn>
                <a:cxn ang="0">
                  <a:pos x="connsiteX1744" y="connsiteY1744"/>
                </a:cxn>
                <a:cxn ang="0">
                  <a:pos x="connsiteX1745" y="connsiteY1745"/>
                </a:cxn>
                <a:cxn ang="0">
                  <a:pos x="connsiteX1746" y="connsiteY1746"/>
                </a:cxn>
                <a:cxn ang="0">
                  <a:pos x="connsiteX1747" y="connsiteY1747"/>
                </a:cxn>
                <a:cxn ang="0">
                  <a:pos x="connsiteX1748" y="connsiteY1748"/>
                </a:cxn>
                <a:cxn ang="0">
                  <a:pos x="connsiteX1749" y="connsiteY1749"/>
                </a:cxn>
                <a:cxn ang="0">
                  <a:pos x="connsiteX1750" y="connsiteY1750"/>
                </a:cxn>
                <a:cxn ang="0">
                  <a:pos x="connsiteX1751" y="connsiteY1751"/>
                </a:cxn>
                <a:cxn ang="0">
                  <a:pos x="connsiteX1752" y="connsiteY1752"/>
                </a:cxn>
                <a:cxn ang="0">
                  <a:pos x="connsiteX1753" y="connsiteY1753"/>
                </a:cxn>
                <a:cxn ang="0">
                  <a:pos x="connsiteX1754" y="connsiteY1754"/>
                </a:cxn>
                <a:cxn ang="0">
                  <a:pos x="connsiteX1755" y="connsiteY1755"/>
                </a:cxn>
                <a:cxn ang="0">
                  <a:pos x="connsiteX1756" y="connsiteY1756"/>
                </a:cxn>
                <a:cxn ang="0">
                  <a:pos x="connsiteX1757" y="connsiteY1757"/>
                </a:cxn>
                <a:cxn ang="0">
                  <a:pos x="connsiteX1758" y="connsiteY1758"/>
                </a:cxn>
                <a:cxn ang="0">
                  <a:pos x="connsiteX1759" y="connsiteY1759"/>
                </a:cxn>
                <a:cxn ang="0">
                  <a:pos x="connsiteX1760" y="connsiteY1760"/>
                </a:cxn>
                <a:cxn ang="0">
                  <a:pos x="connsiteX1761" y="connsiteY1761"/>
                </a:cxn>
                <a:cxn ang="0">
                  <a:pos x="connsiteX1762" y="connsiteY1762"/>
                </a:cxn>
                <a:cxn ang="0">
                  <a:pos x="connsiteX1763" y="connsiteY1763"/>
                </a:cxn>
                <a:cxn ang="0">
                  <a:pos x="connsiteX1764" y="connsiteY1764"/>
                </a:cxn>
                <a:cxn ang="0">
                  <a:pos x="connsiteX1765" y="connsiteY1765"/>
                </a:cxn>
                <a:cxn ang="0">
                  <a:pos x="connsiteX1766" y="connsiteY1766"/>
                </a:cxn>
                <a:cxn ang="0">
                  <a:pos x="connsiteX1767" y="connsiteY1767"/>
                </a:cxn>
                <a:cxn ang="0">
                  <a:pos x="connsiteX1768" y="connsiteY1768"/>
                </a:cxn>
                <a:cxn ang="0">
                  <a:pos x="connsiteX1769" y="connsiteY1769"/>
                </a:cxn>
                <a:cxn ang="0">
                  <a:pos x="connsiteX1770" y="connsiteY1770"/>
                </a:cxn>
                <a:cxn ang="0">
                  <a:pos x="connsiteX1771" y="connsiteY1771"/>
                </a:cxn>
                <a:cxn ang="0">
                  <a:pos x="connsiteX1772" y="connsiteY1772"/>
                </a:cxn>
                <a:cxn ang="0">
                  <a:pos x="connsiteX1773" y="connsiteY1773"/>
                </a:cxn>
                <a:cxn ang="0">
                  <a:pos x="connsiteX1774" y="connsiteY1774"/>
                </a:cxn>
                <a:cxn ang="0">
                  <a:pos x="connsiteX1775" y="connsiteY1775"/>
                </a:cxn>
                <a:cxn ang="0">
                  <a:pos x="connsiteX1776" y="connsiteY1776"/>
                </a:cxn>
                <a:cxn ang="0">
                  <a:pos x="connsiteX1777" y="connsiteY1777"/>
                </a:cxn>
                <a:cxn ang="0">
                  <a:pos x="connsiteX1778" y="connsiteY1778"/>
                </a:cxn>
                <a:cxn ang="0">
                  <a:pos x="connsiteX1779" y="connsiteY1779"/>
                </a:cxn>
                <a:cxn ang="0">
                  <a:pos x="connsiteX1780" y="connsiteY1780"/>
                </a:cxn>
                <a:cxn ang="0">
                  <a:pos x="connsiteX1781" y="connsiteY1781"/>
                </a:cxn>
                <a:cxn ang="0">
                  <a:pos x="connsiteX1782" y="connsiteY1782"/>
                </a:cxn>
                <a:cxn ang="0">
                  <a:pos x="connsiteX1783" y="connsiteY1783"/>
                </a:cxn>
                <a:cxn ang="0">
                  <a:pos x="connsiteX1784" y="connsiteY1784"/>
                </a:cxn>
                <a:cxn ang="0">
                  <a:pos x="connsiteX1785" y="connsiteY1785"/>
                </a:cxn>
                <a:cxn ang="0">
                  <a:pos x="connsiteX1786" y="connsiteY1786"/>
                </a:cxn>
                <a:cxn ang="0">
                  <a:pos x="connsiteX1787" y="connsiteY1787"/>
                </a:cxn>
                <a:cxn ang="0">
                  <a:pos x="connsiteX1788" y="connsiteY1788"/>
                </a:cxn>
                <a:cxn ang="0">
                  <a:pos x="connsiteX1789" y="connsiteY1789"/>
                </a:cxn>
                <a:cxn ang="0">
                  <a:pos x="connsiteX1790" y="connsiteY1790"/>
                </a:cxn>
                <a:cxn ang="0">
                  <a:pos x="connsiteX1791" y="connsiteY1791"/>
                </a:cxn>
                <a:cxn ang="0">
                  <a:pos x="connsiteX1792" y="connsiteY1792"/>
                </a:cxn>
                <a:cxn ang="0">
                  <a:pos x="connsiteX1793" y="connsiteY1793"/>
                </a:cxn>
                <a:cxn ang="0">
                  <a:pos x="connsiteX1794" y="connsiteY1794"/>
                </a:cxn>
                <a:cxn ang="0">
                  <a:pos x="connsiteX1795" y="connsiteY1795"/>
                </a:cxn>
                <a:cxn ang="0">
                  <a:pos x="connsiteX1796" y="connsiteY1796"/>
                </a:cxn>
                <a:cxn ang="0">
                  <a:pos x="connsiteX1797" y="connsiteY1797"/>
                </a:cxn>
                <a:cxn ang="0">
                  <a:pos x="connsiteX1798" y="connsiteY1798"/>
                </a:cxn>
                <a:cxn ang="0">
                  <a:pos x="connsiteX1799" y="connsiteY1799"/>
                </a:cxn>
                <a:cxn ang="0">
                  <a:pos x="connsiteX1800" y="connsiteY1800"/>
                </a:cxn>
                <a:cxn ang="0">
                  <a:pos x="connsiteX1801" y="connsiteY1801"/>
                </a:cxn>
                <a:cxn ang="0">
                  <a:pos x="connsiteX1802" y="connsiteY1802"/>
                </a:cxn>
                <a:cxn ang="0">
                  <a:pos x="connsiteX1803" y="connsiteY1803"/>
                </a:cxn>
                <a:cxn ang="0">
                  <a:pos x="connsiteX1804" y="connsiteY1804"/>
                </a:cxn>
                <a:cxn ang="0">
                  <a:pos x="connsiteX1805" y="connsiteY1805"/>
                </a:cxn>
                <a:cxn ang="0">
                  <a:pos x="connsiteX1806" y="connsiteY1806"/>
                </a:cxn>
                <a:cxn ang="0">
                  <a:pos x="connsiteX1807" y="connsiteY1807"/>
                </a:cxn>
                <a:cxn ang="0">
                  <a:pos x="connsiteX1808" y="connsiteY1808"/>
                </a:cxn>
                <a:cxn ang="0">
                  <a:pos x="connsiteX1809" y="connsiteY1809"/>
                </a:cxn>
                <a:cxn ang="0">
                  <a:pos x="connsiteX1810" y="connsiteY1810"/>
                </a:cxn>
                <a:cxn ang="0">
                  <a:pos x="connsiteX1811" y="connsiteY1811"/>
                </a:cxn>
                <a:cxn ang="0">
                  <a:pos x="connsiteX1812" y="connsiteY1812"/>
                </a:cxn>
                <a:cxn ang="0">
                  <a:pos x="connsiteX1813" y="connsiteY1813"/>
                </a:cxn>
                <a:cxn ang="0">
                  <a:pos x="connsiteX1814" y="connsiteY1814"/>
                </a:cxn>
                <a:cxn ang="0">
                  <a:pos x="connsiteX1815" y="connsiteY1815"/>
                </a:cxn>
                <a:cxn ang="0">
                  <a:pos x="connsiteX1816" y="connsiteY1816"/>
                </a:cxn>
                <a:cxn ang="0">
                  <a:pos x="connsiteX1817" y="connsiteY1817"/>
                </a:cxn>
                <a:cxn ang="0">
                  <a:pos x="connsiteX1818" y="connsiteY1818"/>
                </a:cxn>
                <a:cxn ang="0">
                  <a:pos x="connsiteX1819" y="connsiteY1819"/>
                </a:cxn>
                <a:cxn ang="0">
                  <a:pos x="connsiteX1820" y="connsiteY1820"/>
                </a:cxn>
                <a:cxn ang="0">
                  <a:pos x="connsiteX1821" y="connsiteY1821"/>
                </a:cxn>
                <a:cxn ang="0">
                  <a:pos x="connsiteX1822" y="connsiteY1822"/>
                </a:cxn>
                <a:cxn ang="0">
                  <a:pos x="connsiteX1823" y="connsiteY1823"/>
                </a:cxn>
                <a:cxn ang="0">
                  <a:pos x="connsiteX1824" y="connsiteY1824"/>
                </a:cxn>
                <a:cxn ang="0">
                  <a:pos x="connsiteX1825" y="connsiteY1825"/>
                </a:cxn>
                <a:cxn ang="0">
                  <a:pos x="connsiteX1826" y="connsiteY1826"/>
                </a:cxn>
                <a:cxn ang="0">
                  <a:pos x="connsiteX1827" y="connsiteY1827"/>
                </a:cxn>
                <a:cxn ang="0">
                  <a:pos x="connsiteX1828" y="connsiteY1828"/>
                </a:cxn>
                <a:cxn ang="0">
                  <a:pos x="connsiteX1829" y="connsiteY1829"/>
                </a:cxn>
                <a:cxn ang="0">
                  <a:pos x="connsiteX1830" y="connsiteY1830"/>
                </a:cxn>
                <a:cxn ang="0">
                  <a:pos x="connsiteX1831" y="connsiteY1831"/>
                </a:cxn>
                <a:cxn ang="0">
                  <a:pos x="connsiteX1832" y="connsiteY1832"/>
                </a:cxn>
                <a:cxn ang="0">
                  <a:pos x="connsiteX1833" y="connsiteY1833"/>
                </a:cxn>
                <a:cxn ang="0">
                  <a:pos x="connsiteX1834" y="connsiteY1834"/>
                </a:cxn>
                <a:cxn ang="0">
                  <a:pos x="connsiteX1835" y="connsiteY1835"/>
                </a:cxn>
                <a:cxn ang="0">
                  <a:pos x="connsiteX1836" y="connsiteY1836"/>
                </a:cxn>
                <a:cxn ang="0">
                  <a:pos x="connsiteX1837" y="connsiteY1837"/>
                </a:cxn>
                <a:cxn ang="0">
                  <a:pos x="connsiteX1838" y="connsiteY1838"/>
                </a:cxn>
                <a:cxn ang="0">
                  <a:pos x="connsiteX1839" y="connsiteY1839"/>
                </a:cxn>
                <a:cxn ang="0">
                  <a:pos x="connsiteX1840" y="connsiteY1840"/>
                </a:cxn>
                <a:cxn ang="0">
                  <a:pos x="connsiteX1841" y="connsiteY1841"/>
                </a:cxn>
                <a:cxn ang="0">
                  <a:pos x="connsiteX1842" y="connsiteY1842"/>
                </a:cxn>
                <a:cxn ang="0">
                  <a:pos x="connsiteX1843" y="connsiteY1843"/>
                </a:cxn>
                <a:cxn ang="0">
                  <a:pos x="connsiteX1844" y="connsiteY1844"/>
                </a:cxn>
                <a:cxn ang="0">
                  <a:pos x="connsiteX1845" y="connsiteY1845"/>
                </a:cxn>
                <a:cxn ang="0">
                  <a:pos x="connsiteX1846" y="connsiteY1846"/>
                </a:cxn>
                <a:cxn ang="0">
                  <a:pos x="connsiteX1847" y="connsiteY1847"/>
                </a:cxn>
                <a:cxn ang="0">
                  <a:pos x="connsiteX1848" y="connsiteY1848"/>
                </a:cxn>
                <a:cxn ang="0">
                  <a:pos x="connsiteX1849" y="connsiteY1849"/>
                </a:cxn>
                <a:cxn ang="0">
                  <a:pos x="connsiteX1850" y="connsiteY1850"/>
                </a:cxn>
                <a:cxn ang="0">
                  <a:pos x="connsiteX1851" y="connsiteY1851"/>
                </a:cxn>
                <a:cxn ang="0">
                  <a:pos x="connsiteX1852" y="connsiteY1852"/>
                </a:cxn>
                <a:cxn ang="0">
                  <a:pos x="connsiteX1853" y="connsiteY1853"/>
                </a:cxn>
                <a:cxn ang="0">
                  <a:pos x="connsiteX1854" y="connsiteY1854"/>
                </a:cxn>
                <a:cxn ang="0">
                  <a:pos x="connsiteX1855" y="connsiteY1855"/>
                </a:cxn>
                <a:cxn ang="0">
                  <a:pos x="connsiteX1856" y="connsiteY1856"/>
                </a:cxn>
                <a:cxn ang="0">
                  <a:pos x="connsiteX1857" y="connsiteY1857"/>
                </a:cxn>
                <a:cxn ang="0">
                  <a:pos x="connsiteX1858" y="connsiteY1858"/>
                </a:cxn>
                <a:cxn ang="0">
                  <a:pos x="connsiteX1859" y="connsiteY1859"/>
                </a:cxn>
                <a:cxn ang="0">
                  <a:pos x="connsiteX1860" y="connsiteY1860"/>
                </a:cxn>
                <a:cxn ang="0">
                  <a:pos x="connsiteX1861" y="connsiteY1861"/>
                </a:cxn>
                <a:cxn ang="0">
                  <a:pos x="connsiteX1862" y="connsiteY1862"/>
                </a:cxn>
                <a:cxn ang="0">
                  <a:pos x="connsiteX1863" y="connsiteY1863"/>
                </a:cxn>
                <a:cxn ang="0">
                  <a:pos x="connsiteX1864" y="connsiteY1864"/>
                </a:cxn>
                <a:cxn ang="0">
                  <a:pos x="connsiteX1865" y="connsiteY1865"/>
                </a:cxn>
                <a:cxn ang="0">
                  <a:pos x="connsiteX1866" y="connsiteY1866"/>
                </a:cxn>
                <a:cxn ang="0">
                  <a:pos x="connsiteX1867" y="connsiteY1867"/>
                </a:cxn>
                <a:cxn ang="0">
                  <a:pos x="connsiteX1868" y="connsiteY1868"/>
                </a:cxn>
                <a:cxn ang="0">
                  <a:pos x="connsiteX1869" y="connsiteY1869"/>
                </a:cxn>
                <a:cxn ang="0">
                  <a:pos x="connsiteX1870" y="connsiteY1870"/>
                </a:cxn>
                <a:cxn ang="0">
                  <a:pos x="connsiteX1871" y="connsiteY1871"/>
                </a:cxn>
                <a:cxn ang="0">
                  <a:pos x="connsiteX1872" y="connsiteY1872"/>
                </a:cxn>
                <a:cxn ang="0">
                  <a:pos x="connsiteX1873" y="connsiteY1873"/>
                </a:cxn>
                <a:cxn ang="0">
                  <a:pos x="connsiteX1874" y="connsiteY1874"/>
                </a:cxn>
                <a:cxn ang="0">
                  <a:pos x="connsiteX1875" y="connsiteY1875"/>
                </a:cxn>
                <a:cxn ang="0">
                  <a:pos x="connsiteX1876" y="connsiteY1876"/>
                </a:cxn>
                <a:cxn ang="0">
                  <a:pos x="connsiteX1877" y="connsiteY1877"/>
                </a:cxn>
                <a:cxn ang="0">
                  <a:pos x="connsiteX1878" y="connsiteY1878"/>
                </a:cxn>
                <a:cxn ang="0">
                  <a:pos x="connsiteX1879" y="connsiteY1879"/>
                </a:cxn>
                <a:cxn ang="0">
                  <a:pos x="connsiteX1880" y="connsiteY1880"/>
                </a:cxn>
                <a:cxn ang="0">
                  <a:pos x="connsiteX1881" y="connsiteY1881"/>
                </a:cxn>
                <a:cxn ang="0">
                  <a:pos x="connsiteX1882" y="connsiteY1882"/>
                </a:cxn>
                <a:cxn ang="0">
                  <a:pos x="connsiteX1883" y="connsiteY1883"/>
                </a:cxn>
                <a:cxn ang="0">
                  <a:pos x="connsiteX1884" y="connsiteY1884"/>
                </a:cxn>
                <a:cxn ang="0">
                  <a:pos x="connsiteX1885" y="connsiteY1885"/>
                </a:cxn>
                <a:cxn ang="0">
                  <a:pos x="connsiteX1886" y="connsiteY1886"/>
                </a:cxn>
                <a:cxn ang="0">
                  <a:pos x="connsiteX1887" y="connsiteY1887"/>
                </a:cxn>
                <a:cxn ang="0">
                  <a:pos x="connsiteX1888" y="connsiteY1888"/>
                </a:cxn>
                <a:cxn ang="0">
                  <a:pos x="connsiteX1889" y="connsiteY1889"/>
                </a:cxn>
                <a:cxn ang="0">
                  <a:pos x="connsiteX1890" y="connsiteY1890"/>
                </a:cxn>
                <a:cxn ang="0">
                  <a:pos x="connsiteX1891" y="connsiteY1891"/>
                </a:cxn>
                <a:cxn ang="0">
                  <a:pos x="connsiteX1892" y="connsiteY1892"/>
                </a:cxn>
                <a:cxn ang="0">
                  <a:pos x="connsiteX1893" y="connsiteY1893"/>
                </a:cxn>
                <a:cxn ang="0">
                  <a:pos x="connsiteX1894" y="connsiteY1894"/>
                </a:cxn>
                <a:cxn ang="0">
                  <a:pos x="connsiteX1895" y="connsiteY1895"/>
                </a:cxn>
                <a:cxn ang="0">
                  <a:pos x="connsiteX1896" y="connsiteY1896"/>
                </a:cxn>
                <a:cxn ang="0">
                  <a:pos x="connsiteX1897" y="connsiteY1897"/>
                </a:cxn>
                <a:cxn ang="0">
                  <a:pos x="connsiteX1898" y="connsiteY1898"/>
                </a:cxn>
                <a:cxn ang="0">
                  <a:pos x="connsiteX1899" y="connsiteY1899"/>
                </a:cxn>
                <a:cxn ang="0">
                  <a:pos x="connsiteX1900" y="connsiteY1900"/>
                </a:cxn>
                <a:cxn ang="0">
                  <a:pos x="connsiteX1901" y="connsiteY1901"/>
                </a:cxn>
                <a:cxn ang="0">
                  <a:pos x="connsiteX1902" y="connsiteY1902"/>
                </a:cxn>
                <a:cxn ang="0">
                  <a:pos x="connsiteX1903" y="connsiteY1903"/>
                </a:cxn>
                <a:cxn ang="0">
                  <a:pos x="connsiteX1904" y="connsiteY1904"/>
                </a:cxn>
                <a:cxn ang="0">
                  <a:pos x="connsiteX1905" y="connsiteY1905"/>
                </a:cxn>
                <a:cxn ang="0">
                  <a:pos x="connsiteX1906" y="connsiteY1906"/>
                </a:cxn>
                <a:cxn ang="0">
                  <a:pos x="connsiteX1907" y="connsiteY1907"/>
                </a:cxn>
                <a:cxn ang="0">
                  <a:pos x="connsiteX1908" y="connsiteY1908"/>
                </a:cxn>
                <a:cxn ang="0">
                  <a:pos x="connsiteX1909" y="connsiteY1909"/>
                </a:cxn>
                <a:cxn ang="0">
                  <a:pos x="connsiteX1910" y="connsiteY1910"/>
                </a:cxn>
                <a:cxn ang="0">
                  <a:pos x="connsiteX1911" y="connsiteY1911"/>
                </a:cxn>
                <a:cxn ang="0">
                  <a:pos x="connsiteX1912" y="connsiteY1912"/>
                </a:cxn>
                <a:cxn ang="0">
                  <a:pos x="connsiteX1913" y="connsiteY1913"/>
                </a:cxn>
                <a:cxn ang="0">
                  <a:pos x="connsiteX1914" y="connsiteY1914"/>
                </a:cxn>
                <a:cxn ang="0">
                  <a:pos x="connsiteX1915" y="connsiteY1915"/>
                </a:cxn>
                <a:cxn ang="0">
                  <a:pos x="connsiteX1916" y="connsiteY1916"/>
                </a:cxn>
                <a:cxn ang="0">
                  <a:pos x="connsiteX1917" y="connsiteY1917"/>
                </a:cxn>
                <a:cxn ang="0">
                  <a:pos x="connsiteX1918" y="connsiteY1918"/>
                </a:cxn>
                <a:cxn ang="0">
                  <a:pos x="connsiteX1919" y="connsiteY1919"/>
                </a:cxn>
                <a:cxn ang="0">
                  <a:pos x="connsiteX1920" y="connsiteY1920"/>
                </a:cxn>
                <a:cxn ang="0">
                  <a:pos x="connsiteX1921" y="connsiteY1921"/>
                </a:cxn>
                <a:cxn ang="0">
                  <a:pos x="connsiteX1922" y="connsiteY1922"/>
                </a:cxn>
                <a:cxn ang="0">
                  <a:pos x="connsiteX1923" y="connsiteY1923"/>
                </a:cxn>
                <a:cxn ang="0">
                  <a:pos x="connsiteX1924" y="connsiteY1924"/>
                </a:cxn>
                <a:cxn ang="0">
                  <a:pos x="connsiteX1925" y="connsiteY1925"/>
                </a:cxn>
                <a:cxn ang="0">
                  <a:pos x="connsiteX1926" y="connsiteY1926"/>
                </a:cxn>
                <a:cxn ang="0">
                  <a:pos x="connsiteX1927" y="connsiteY1927"/>
                </a:cxn>
                <a:cxn ang="0">
                  <a:pos x="connsiteX1928" y="connsiteY1928"/>
                </a:cxn>
                <a:cxn ang="0">
                  <a:pos x="connsiteX1929" y="connsiteY1929"/>
                </a:cxn>
                <a:cxn ang="0">
                  <a:pos x="connsiteX1930" y="connsiteY1930"/>
                </a:cxn>
                <a:cxn ang="0">
                  <a:pos x="connsiteX1931" y="connsiteY1931"/>
                </a:cxn>
                <a:cxn ang="0">
                  <a:pos x="connsiteX1932" y="connsiteY1932"/>
                </a:cxn>
                <a:cxn ang="0">
                  <a:pos x="connsiteX1933" y="connsiteY1933"/>
                </a:cxn>
                <a:cxn ang="0">
                  <a:pos x="connsiteX1934" y="connsiteY1934"/>
                </a:cxn>
                <a:cxn ang="0">
                  <a:pos x="connsiteX1935" y="connsiteY1935"/>
                </a:cxn>
                <a:cxn ang="0">
                  <a:pos x="connsiteX1936" y="connsiteY1936"/>
                </a:cxn>
                <a:cxn ang="0">
                  <a:pos x="connsiteX1937" y="connsiteY1937"/>
                </a:cxn>
                <a:cxn ang="0">
                  <a:pos x="connsiteX1938" y="connsiteY1938"/>
                </a:cxn>
                <a:cxn ang="0">
                  <a:pos x="connsiteX1939" y="connsiteY1939"/>
                </a:cxn>
                <a:cxn ang="0">
                  <a:pos x="connsiteX1940" y="connsiteY1940"/>
                </a:cxn>
                <a:cxn ang="0">
                  <a:pos x="connsiteX1941" y="connsiteY1941"/>
                </a:cxn>
                <a:cxn ang="0">
                  <a:pos x="connsiteX1942" y="connsiteY1942"/>
                </a:cxn>
                <a:cxn ang="0">
                  <a:pos x="connsiteX1943" y="connsiteY1943"/>
                </a:cxn>
                <a:cxn ang="0">
                  <a:pos x="connsiteX1944" y="connsiteY1944"/>
                </a:cxn>
                <a:cxn ang="0">
                  <a:pos x="connsiteX1945" y="connsiteY1945"/>
                </a:cxn>
                <a:cxn ang="0">
                  <a:pos x="connsiteX1946" y="connsiteY1946"/>
                </a:cxn>
                <a:cxn ang="0">
                  <a:pos x="connsiteX1947" y="connsiteY1947"/>
                </a:cxn>
                <a:cxn ang="0">
                  <a:pos x="connsiteX1948" y="connsiteY1948"/>
                </a:cxn>
                <a:cxn ang="0">
                  <a:pos x="connsiteX1949" y="connsiteY1949"/>
                </a:cxn>
                <a:cxn ang="0">
                  <a:pos x="connsiteX1950" y="connsiteY1950"/>
                </a:cxn>
                <a:cxn ang="0">
                  <a:pos x="connsiteX1951" y="connsiteY1951"/>
                </a:cxn>
                <a:cxn ang="0">
                  <a:pos x="connsiteX1952" y="connsiteY1952"/>
                </a:cxn>
                <a:cxn ang="0">
                  <a:pos x="connsiteX1953" y="connsiteY1953"/>
                </a:cxn>
                <a:cxn ang="0">
                  <a:pos x="connsiteX1954" y="connsiteY1954"/>
                </a:cxn>
                <a:cxn ang="0">
                  <a:pos x="connsiteX1955" y="connsiteY1955"/>
                </a:cxn>
                <a:cxn ang="0">
                  <a:pos x="connsiteX1956" y="connsiteY1956"/>
                </a:cxn>
                <a:cxn ang="0">
                  <a:pos x="connsiteX1957" y="connsiteY1957"/>
                </a:cxn>
                <a:cxn ang="0">
                  <a:pos x="connsiteX1958" y="connsiteY1958"/>
                </a:cxn>
                <a:cxn ang="0">
                  <a:pos x="connsiteX1959" y="connsiteY1959"/>
                </a:cxn>
                <a:cxn ang="0">
                  <a:pos x="connsiteX1960" y="connsiteY1960"/>
                </a:cxn>
                <a:cxn ang="0">
                  <a:pos x="connsiteX1961" y="connsiteY1961"/>
                </a:cxn>
                <a:cxn ang="0">
                  <a:pos x="connsiteX1962" y="connsiteY1962"/>
                </a:cxn>
                <a:cxn ang="0">
                  <a:pos x="connsiteX1963" y="connsiteY1963"/>
                </a:cxn>
                <a:cxn ang="0">
                  <a:pos x="connsiteX1964" y="connsiteY1964"/>
                </a:cxn>
                <a:cxn ang="0">
                  <a:pos x="connsiteX1965" y="connsiteY1965"/>
                </a:cxn>
                <a:cxn ang="0">
                  <a:pos x="connsiteX1966" y="connsiteY1966"/>
                </a:cxn>
                <a:cxn ang="0">
                  <a:pos x="connsiteX1967" y="connsiteY1967"/>
                </a:cxn>
                <a:cxn ang="0">
                  <a:pos x="connsiteX1968" y="connsiteY1968"/>
                </a:cxn>
                <a:cxn ang="0">
                  <a:pos x="connsiteX1969" y="connsiteY1969"/>
                </a:cxn>
                <a:cxn ang="0">
                  <a:pos x="connsiteX1970" y="connsiteY1970"/>
                </a:cxn>
                <a:cxn ang="0">
                  <a:pos x="connsiteX1971" y="connsiteY1971"/>
                </a:cxn>
                <a:cxn ang="0">
                  <a:pos x="connsiteX1972" y="connsiteY1972"/>
                </a:cxn>
                <a:cxn ang="0">
                  <a:pos x="connsiteX1973" y="connsiteY1973"/>
                </a:cxn>
                <a:cxn ang="0">
                  <a:pos x="connsiteX1974" y="connsiteY1974"/>
                </a:cxn>
                <a:cxn ang="0">
                  <a:pos x="connsiteX1975" y="connsiteY1975"/>
                </a:cxn>
                <a:cxn ang="0">
                  <a:pos x="connsiteX1976" y="connsiteY1976"/>
                </a:cxn>
                <a:cxn ang="0">
                  <a:pos x="connsiteX1977" y="connsiteY1977"/>
                </a:cxn>
                <a:cxn ang="0">
                  <a:pos x="connsiteX1978" y="connsiteY1978"/>
                </a:cxn>
                <a:cxn ang="0">
                  <a:pos x="connsiteX1979" y="connsiteY1979"/>
                </a:cxn>
                <a:cxn ang="0">
                  <a:pos x="connsiteX1980" y="connsiteY1980"/>
                </a:cxn>
                <a:cxn ang="0">
                  <a:pos x="connsiteX1981" y="connsiteY1981"/>
                </a:cxn>
                <a:cxn ang="0">
                  <a:pos x="connsiteX1982" y="connsiteY1982"/>
                </a:cxn>
                <a:cxn ang="0">
                  <a:pos x="connsiteX1983" y="connsiteY1983"/>
                </a:cxn>
                <a:cxn ang="0">
                  <a:pos x="connsiteX1984" y="connsiteY1984"/>
                </a:cxn>
                <a:cxn ang="0">
                  <a:pos x="connsiteX1985" y="connsiteY1985"/>
                </a:cxn>
                <a:cxn ang="0">
                  <a:pos x="connsiteX1986" y="connsiteY1986"/>
                </a:cxn>
                <a:cxn ang="0">
                  <a:pos x="connsiteX1987" y="connsiteY1987"/>
                </a:cxn>
                <a:cxn ang="0">
                  <a:pos x="connsiteX1988" y="connsiteY1988"/>
                </a:cxn>
                <a:cxn ang="0">
                  <a:pos x="connsiteX1989" y="connsiteY1989"/>
                </a:cxn>
                <a:cxn ang="0">
                  <a:pos x="connsiteX1990" y="connsiteY1990"/>
                </a:cxn>
                <a:cxn ang="0">
                  <a:pos x="connsiteX1991" y="connsiteY1991"/>
                </a:cxn>
                <a:cxn ang="0">
                  <a:pos x="connsiteX1992" y="connsiteY1992"/>
                </a:cxn>
                <a:cxn ang="0">
                  <a:pos x="connsiteX1993" y="connsiteY1993"/>
                </a:cxn>
                <a:cxn ang="0">
                  <a:pos x="connsiteX1994" y="connsiteY1994"/>
                </a:cxn>
                <a:cxn ang="0">
                  <a:pos x="connsiteX1995" y="connsiteY1995"/>
                </a:cxn>
                <a:cxn ang="0">
                  <a:pos x="connsiteX1996" y="connsiteY1996"/>
                </a:cxn>
                <a:cxn ang="0">
                  <a:pos x="connsiteX1997" y="connsiteY1997"/>
                </a:cxn>
                <a:cxn ang="0">
                  <a:pos x="connsiteX1998" y="connsiteY1998"/>
                </a:cxn>
                <a:cxn ang="0">
                  <a:pos x="connsiteX1999" y="connsiteY1999"/>
                </a:cxn>
                <a:cxn ang="0">
                  <a:pos x="connsiteX2000" y="connsiteY2000"/>
                </a:cxn>
                <a:cxn ang="0">
                  <a:pos x="connsiteX2001" y="connsiteY2001"/>
                </a:cxn>
                <a:cxn ang="0">
                  <a:pos x="connsiteX2002" y="connsiteY2002"/>
                </a:cxn>
                <a:cxn ang="0">
                  <a:pos x="connsiteX2003" y="connsiteY2003"/>
                </a:cxn>
                <a:cxn ang="0">
                  <a:pos x="connsiteX2004" y="connsiteY2004"/>
                </a:cxn>
                <a:cxn ang="0">
                  <a:pos x="connsiteX2005" y="connsiteY2005"/>
                </a:cxn>
                <a:cxn ang="0">
                  <a:pos x="connsiteX2006" y="connsiteY2006"/>
                </a:cxn>
                <a:cxn ang="0">
                  <a:pos x="connsiteX2007" y="connsiteY2007"/>
                </a:cxn>
                <a:cxn ang="0">
                  <a:pos x="connsiteX2008" y="connsiteY2008"/>
                </a:cxn>
                <a:cxn ang="0">
                  <a:pos x="connsiteX2009" y="connsiteY2009"/>
                </a:cxn>
                <a:cxn ang="0">
                  <a:pos x="connsiteX2010" y="connsiteY2010"/>
                </a:cxn>
                <a:cxn ang="0">
                  <a:pos x="connsiteX2011" y="connsiteY2011"/>
                </a:cxn>
                <a:cxn ang="0">
                  <a:pos x="connsiteX2012" y="connsiteY2012"/>
                </a:cxn>
                <a:cxn ang="0">
                  <a:pos x="connsiteX2013" y="connsiteY2013"/>
                </a:cxn>
                <a:cxn ang="0">
                  <a:pos x="connsiteX2014" y="connsiteY2014"/>
                </a:cxn>
                <a:cxn ang="0">
                  <a:pos x="connsiteX2015" y="connsiteY2015"/>
                </a:cxn>
                <a:cxn ang="0">
                  <a:pos x="connsiteX2016" y="connsiteY2016"/>
                </a:cxn>
                <a:cxn ang="0">
                  <a:pos x="connsiteX2017" y="connsiteY2017"/>
                </a:cxn>
                <a:cxn ang="0">
                  <a:pos x="connsiteX2018" y="connsiteY2018"/>
                </a:cxn>
                <a:cxn ang="0">
                  <a:pos x="connsiteX2019" y="connsiteY2019"/>
                </a:cxn>
                <a:cxn ang="0">
                  <a:pos x="connsiteX2020" y="connsiteY2020"/>
                </a:cxn>
                <a:cxn ang="0">
                  <a:pos x="connsiteX2021" y="connsiteY2021"/>
                </a:cxn>
                <a:cxn ang="0">
                  <a:pos x="connsiteX2022" y="connsiteY2022"/>
                </a:cxn>
                <a:cxn ang="0">
                  <a:pos x="connsiteX2023" y="connsiteY2023"/>
                </a:cxn>
                <a:cxn ang="0">
                  <a:pos x="connsiteX2024" y="connsiteY2024"/>
                </a:cxn>
                <a:cxn ang="0">
                  <a:pos x="connsiteX2025" y="connsiteY2025"/>
                </a:cxn>
                <a:cxn ang="0">
                  <a:pos x="connsiteX2026" y="connsiteY2026"/>
                </a:cxn>
                <a:cxn ang="0">
                  <a:pos x="connsiteX2027" y="connsiteY2027"/>
                </a:cxn>
                <a:cxn ang="0">
                  <a:pos x="connsiteX2028" y="connsiteY2028"/>
                </a:cxn>
                <a:cxn ang="0">
                  <a:pos x="connsiteX2029" y="connsiteY2029"/>
                </a:cxn>
                <a:cxn ang="0">
                  <a:pos x="connsiteX2030" y="connsiteY2030"/>
                </a:cxn>
                <a:cxn ang="0">
                  <a:pos x="connsiteX2031" y="connsiteY2031"/>
                </a:cxn>
                <a:cxn ang="0">
                  <a:pos x="connsiteX2032" y="connsiteY2032"/>
                </a:cxn>
                <a:cxn ang="0">
                  <a:pos x="connsiteX2033" y="connsiteY2033"/>
                </a:cxn>
                <a:cxn ang="0">
                  <a:pos x="connsiteX2034" y="connsiteY2034"/>
                </a:cxn>
                <a:cxn ang="0">
                  <a:pos x="connsiteX2035" y="connsiteY2035"/>
                </a:cxn>
                <a:cxn ang="0">
                  <a:pos x="connsiteX2036" y="connsiteY2036"/>
                </a:cxn>
                <a:cxn ang="0">
                  <a:pos x="connsiteX2037" y="connsiteY2037"/>
                </a:cxn>
                <a:cxn ang="0">
                  <a:pos x="connsiteX2038" y="connsiteY2038"/>
                </a:cxn>
                <a:cxn ang="0">
                  <a:pos x="connsiteX2039" y="connsiteY2039"/>
                </a:cxn>
                <a:cxn ang="0">
                  <a:pos x="connsiteX2040" y="connsiteY2040"/>
                </a:cxn>
                <a:cxn ang="0">
                  <a:pos x="connsiteX2041" y="connsiteY2041"/>
                </a:cxn>
                <a:cxn ang="0">
                  <a:pos x="connsiteX2042" y="connsiteY2042"/>
                </a:cxn>
                <a:cxn ang="0">
                  <a:pos x="connsiteX2043" y="connsiteY2043"/>
                </a:cxn>
                <a:cxn ang="0">
                  <a:pos x="connsiteX2044" y="connsiteY2044"/>
                </a:cxn>
                <a:cxn ang="0">
                  <a:pos x="connsiteX2045" y="connsiteY2045"/>
                </a:cxn>
                <a:cxn ang="0">
                  <a:pos x="connsiteX2046" y="connsiteY2046"/>
                </a:cxn>
                <a:cxn ang="0">
                  <a:pos x="connsiteX2047" y="connsiteY2047"/>
                </a:cxn>
                <a:cxn ang="0">
                  <a:pos x="connsiteX2048" y="connsiteY2048"/>
                </a:cxn>
                <a:cxn ang="0">
                  <a:pos x="connsiteX2049" y="connsiteY2049"/>
                </a:cxn>
                <a:cxn ang="0">
                  <a:pos x="connsiteX2050" y="connsiteY2050"/>
                </a:cxn>
                <a:cxn ang="0">
                  <a:pos x="connsiteX2051" y="connsiteY2051"/>
                </a:cxn>
                <a:cxn ang="0">
                  <a:pos x="connsiteX2052" y="connsiteY2052"/>
                </a:cxn>
                <a:cxn ang="0">
                  <a:pos x="connsiteX2053" y="connsiteY2053"/>
                </a:cxn>
                <a:cxn ang="0">
                  <a:pos x="connsiteX2054" y="connsiteY2054"/>
                </a:cxn>
                <a:cxn ang="0">
                  <a:pos x="connsiteX2055" y="connsiteY2055"/>
                </a:cxn>
                <a:cxn ang="0">
                  <a:pos x="connsiteX2056" y="connsiteY2056"/>
                </a:cxn>
                <a:cxn ang="0">
                  <a:pos x="connsiteX2057" y="connsiteY2057"/>
                </a:cxn>
                <a:cxn ang="0">
                  <a:pos x="connsiteX2058" y="connsiteY2058"/>
                </a:cxn>
                <a:cxn ang="0">
                  <a:pos x="connsiteX2059" y="connsiteY2059"/>
                </a:cxn>
                <a:cxn ang="0">
                  <a:pos x="connsiteX2060" y="connsiteY2060"/>
                </a:cxn>
                <a:cxn ang="0">
                  <a:pos x="connsiteX2061" y="connsiteY2061"/>
                </a:cxn>
                <a:cxn ang="0">
                  <a:pos x="connsiteX2062" y="connsiteY2062"/>
                </a:cxn>
                <a:cxn ang="0">
                  <a:pos x="connsiteX2063" y="connsiteY2063"/>
                </a:cxn>
                <a:cxn ang="0">
                  <a:pos x="connsiteX2064" y="connsiteY2064"/>
                </a:cxn>
                <a:cxn ang="0">
                  <a:pos x="connsiteX2065" y="connsiteY2065"/>
                </a:cxn>
                <a:cxn ang="0">
                  <a:pos x="connsiteX2066" y="connsiteY2066"/>
                </a:cxn>
                <a:cxn ang="0">
                  <a:pos x="connsiteX2067" y="connsiteY2067"/>
                </a:cxn>
                <a:cxn ang="0">
                  <a:pos x="connsiteX2068" y="connsiteY2068"/>
                </a:cxn>
                <a:cxn ang="0">
                  <a:pos x="connsiteX2069" y="connsiteY2069"/>
                </a:cxn>
                <a:cxn ang="0">
                  <a:pos x="connsiteX2070" y="connsiteY2070"/>
                </a:cxn>
                <a:cxn ang="0">
                  <a:pos x="connsiteX2071" y="connsiteY2071"/>
                </a:cxn>
                <a:cxn ang="0">
                  <a:pos x="connsiteX2072" y="connsiteY2072"/>
                </a:cxn>
                <a:cxn ang="0">
                  <a:pos x="connsiteX2073" y="connsiteY2073"/>
                </a:cxn>
                <a:cxn ang="0">
                  <a:pos x="connsiteX2074" y="connsiteY2074"/>
                </a:cxn>
                <a:cxn ang="0">
                  <a:pos x="connsiteX2075" y="connsiteY2075"/>
                </a:cxn>
                <a:cxn ang="0">
                  <a:pos x="connsiteX2076" y="connsiteY2076"/>
                </a:cxn>
                <a:cxn ang="0">
                  <a:pos x="connsiteX2077" y="connsiteY2077"/>
                </a:cxn>
                <a:cxn ang="0">
                  <a:pos x="connsiteX2078" y="connsiteY2078"/>
                </a:cxn>
                <a:cxn ang="0">
                  <a:pos x="connsiteX2079" y="connsiteY2079"/>
                </a:cxn>
                <a:cxn ang="0">
                  <a:pos x="connsiteX2080" y="connsiteY2080"/>
                </a:cxn>
                <a:cxn ang="0">
                  <a:pos x="connsiteX2081" y="connsiteY2081"/>
                </a:cxn>
                <a:cxn ang="0">
                  <a:pos x="connsiteX2082" y="connsiteY2082"/>
                </a:cxn>
                <a:cxn ang="0">
                  <a:pos x="connsiteX2083" y="connsiteY2083"/>
                </a:cxn>
                <a:cxn ang="0">
                  <a:pos x="connsiteX2084" y="connsiteY2084"/>
                </a:cxn>
                <a:cxn ang="0">
                  <a:pos x="connsiteX2085" y="connsiteY2085"/>
                </a:cxn>
                <a:cxn ang="0">
                  <a:pos x="connsiteX2086" y="connsiteY2086"/>
                </a:cxn>
                <a:cxn ang="0">
                  <a:pos x="connsiteX2087" y="connsiteY2087"/>
                </a:cxn>
                <a:cxn ang="0">
                  <a:pos x="connsiteX2088" y="connsiteY2088"/>
                </a:cxn>
                <a:cxn ang="0">
                  <a:pos x="connsiteX2089" y="connsiteY2089"/>
                </a:cxn>
                <a:cxn ang="0">
                  <a:pos x="connsiteX2090" y="connsiteY2090"/>
                </a:cxn>
                <a:cxn ang="0">
                  <a:pos x="connsiteX2091" y="connsiteY2091"/>
                </a:cxn>
                <a:cxn ang="0">
                  <a:pos x="connsiteX2092" y="connsiteY2092"/>
                </a:cxn>
                <a:cxn ang="0">
                  <a:pos x="connsiteX2093" y="connsiteY2093"/>
                </a:cxn>
                <a:cxn ang="0">
                  <a:pos x="connsiteX2094" y="connsiteY2094"/>
                </a:cxn>
                <a:cxn ang="0">
                  <a:pos x="connsiteX2095" y="connsiteY2095"/>
                </a:cxn>
                <a:cxn ang="0">
                  <a:pos x="connsiteX2096" y="connsiteY2096"/>
                </a:cxn>
                <a:cxn ang="0">
                  <a:pos x="connsiteX2097" y="connsiteY2097"/>
                </a:cxn>
                <a:cxn ang="0">
                  <a:pos x="connsiteX2098" y="connsiteY2098"/>
                </a:cxn>
                <a:cxn ang="0">
                  <a:pos x="connsiteX2099" y="connsiteY2099"/>
                </a:cxn>
                <a:cxn ang="0">
                  <a:pos x="connsiteX2100" y="connsiteY2100"/>
                </a:cxn>
                <a:cxn ang="0">
                  <a:pos x="connsiteX2101" y="connsiteY2101"/>
                </a:cxn>
                <a:cxn ang="0">
                  <a:pos x="connsiteX2102" y="connsiteY2102"/>
                </a:cxn>
                <a:cxn ang="0">
                  <a:pos x="connsiteX2103" y="connsiteY2103"/>
                </a:cxn>
                <a:cxn ang="0">
                  <a:pos x="connsiteX2104" y="connsiteY2104"/>
                </a:cxn>
                <a:cxn ang="0">
                  <a:pos x="connsiteX2105" y="connsiteY2105"/>
                </a:cxn>
                <a:cxn ang="0">
                  <a:pos x="connsiteX2106" y="connsiteY2106"/>
                </a:cxn>
                <a:cxn ang="0">
                  <a:pos x="connsiteX2107" y="connsiteY2107"/>
                </a:cxn>
                <a:cxn ang="0">
                  <a:pos x="connsiteX2108" y="connsiteY2108"/>
                </a:cxn>
                <a:cxn ang="0">
                  <a:pos x="connsiteX2109" y="connsiteY2109"/>
                </a:cxn>
                <a:cxn ang="0">
                  <a:pos x="connsiteX2110" y="connsiteY2110"/>
                </a:cxn>
                <a:cxn ang="0">
                  <a:pos x="connsiteX2111" y="connsiteY2111"/>
                </a:cxn>
                <a:cxn ang="0">
                  <a:pos x="connsiteX2112" y="connsiteY2112"/>
                </a:cxn>
                <a:cxn ang="0">
                  <a:pos x="connsiteX2113" y="connsiteY2113"/>
                </a:cxn>
                <a:cxn ang="0">
                  <a:pos x="connsiteX2114" y="connsiteY2114"/>
                </a:cxn>
                <a:cxn ang="0">
                  <a:pos x="connsiteX2115" y="connsiteY2115"/>
                </a:cxn>
                <a:cxn ang="0">
                  <a:pos x="connsiteX2116" y="connsiteY2116"/>
                </a:cxn>
                <a:cxn ang="0">
                  <a:pos x="connsiteX2117" y="connsiteY2117"/>
                </a:cxn>
                <a:cxn ang="0">
                  <a:pos x="connsiteX2118" y="connsiteY2118"/>
                </a:cxn>
                <a:cxn ang="0">
                  <a:pos x="connsiteX2119" y="connsiteY2119"/>
                </a:cxn>
                <a:cxn ang="0">
                  <a:pos x="connsiteX2120" y="connsiteY2120"/>
                </a:cxn>
                <a:cxn ang="0">
                  <a:pos x="connsiteX2121" y="connsiteY2121"/>
                </a:cxn>
                <a:cxn ang="0">
                  <a:pos x="connsiteX2122" y="connsiteY2122"/>
                </a:cxn>
                <a:cxn ang="0">
                  <a:pos x="connsiteX2123" y="connsiteY2123"/>
                </a:cxn>
                <a:cxn ang="0">
                  <a:pos x="connsiteX2124" y="connsiteY2124"/>
                </a:cxn>
                <a:cxn ang="0">
                  <a:pos x="connsiteX2125" y="connsiteY2125"/>
                </a:cxn>
                <a:cxn ang="0">
                  <a:pos x="connsiteX2126" y="connsiteY2126"/>
                </a:cxn>
                <a:cxn ang="0">
                  <a:pos x="connsiteX2127" y="connsiteY2127"/>
                </a:cxn>
                <a:cxn ang="0">
                  <a:pos x="connsiteX2128" y="connsiteY2128"/>
                </a:cxn>
                <a:cxn ang="0">
                  <a:pos x="connsiteX2129" y="connsiteY2129"/>
                </a:cxn>
                <a:cxn ang="0">
                  <a:pos x="connsiteX2130" y="connsiteY2130"/>
                </a:cxn>
                <a:cxn ang="0">
                  <a:pos x="connsiteX2131" y="connsiteY2131"/>
                </a:cxn>
                <a:cxn ang="0">
                  <a:pos x="connsiteX2132" y="connsiteY2132"/>
                </a:cxn>
                <a:cxn ang="0">
                  <a:pos x="connsiteX2133" y="connsiteY2133"/>
                </a:cxn>
                <a:cxn ang="0">
                  <a:pos x="connsiteX2134" y="connsiteY2134"/>
                </a:cxn>
                <a:cxn ang="0">
                  <a:pos x="connsiteX2135" y="connsiteY2135"/>
                </a:cxn>
                <a:cxn ang="0">
                  <a:pos x="connsiteX2136" y="connsiteY2136"/>
                </a:cxn>
                <a:cxn ang="0">
                  <a:pos x="connsiteX2137" y="connsiteY2137"/>
                </a:cxn>
                <a:cxn ang="0">
                  <a:pos x="connsiteX2138" y="connsiteY2138"/>
                </a:cxn>
                <a:cxn ang="0">
                  <a:pos x="connsiteX2139" y="connsiteY2139"/>
                </a:cxn>
                <a:cxn ang="0">
                  <a:pos x="connsiteX2140" y="connsiteY2140"/>
                </a:cxn>
                <a:cxn ang="0">
                  <a:pos x="connsiteX2141" y="connsiteY2141"/>
                </a:cxn>
                <a:cxn ang="0">
                  <a:pos x="connsiteX2142" y="connsiteY2142"/>
                </a:cxn>
                <a:cxn ang="0">
                  <a:pos x="connsiteX2143" y="connsiteY2143"/>
                </a:cxn>
                <a:cxn ang="0">
                  <a:pos x="connsiteX2144" y="connsiteY2144"/>
                </a:cxn>
                <a:cxn ang="0">
                  <a:pos x="connsiteX2145" y="connsiteY2145"/>
                </a:cxn>
                <a:cxn ang="0">
                  <a:pos x="connsiteX2146" y="connsiteY2146"/>
                </a:cxn>
                <a:cxn ang="0">
                  <a:pos x="connsiteX2147" y="connsiteY2147"/>
                </a:cxn>
                <a:cxn ang="0">
                  <a:pos x="connsiteX2148" y="connsiteY2148"/>
                </a:cxn>
                <a:cxn ang="0">
                  <a:pos x="connsiteX2149" y="connsiteY2149"/>
                </a:cxn>
                <a:cxn ang="0">
                  <a:pos x="connsiteX2150" y="connsiteY2150"/>
                </a:cxn>
                <a:cxn ang="0">
                  <a:pos x="connsiteX2151" y="connsiteY2151"/>
                </a:cxn>
                <a:cxn ang="0">
                  <a:pos x="connsiteX2152" y="connsiteY2152"/>
                </a:cxn>
                <a:cxn ang="0">
                  <a:pos x="connsiteX2153" y="connsiteY2153"/>
                </a:cxn>
                <a:cxn ang="0">
                  <a:pos x="connsiteX2154" y="connsiteY2154"/>
                </a:cxn>
                <a:cxn ang="0">
                  <a:pos x="connsiteX2155" y="connsiteY2155"/>
                </a:cxn>
                <a:cxn ang="0">
                  <a:pos x="connsiteX2156" y="connsiteY2156"/>
                </a:cxn>
                <a:cxn ang="0">
                  <a:pos x="connsiteX2157" y="connsiteY2157"/>
                </a:cxn>
                <a:cxn ang="0">
                  <a:pos x="connsiteX2158" y="connsiteY2158"/>
                </a:cxn>
                <a:cxn ang="0">
                  <a:pos x="connsiteX2159" y="connsiteY2159"/>
                </a:cxn>
                <a:cxn ang="0">
                  <a:pos x="connsiteX2160" y="connsiteY2160"/>
                </a:cxn>
                <a:cxn ang="0">
                  <a:pos x="connsiteX2161" y="connsiteY2161"/>
                </a:cxn>
                <a:cxn ang="0">
                  <a:pos x="connsiteX2162" y="connsiteY2162"/>
                </a:cxn>
                <a:cxn ang="0">
                  <a:pos x="connsiteX2163" y="connsiteY2163"/>
                </a:cxn>
                <a:cxn ang="0">
                  <a:pos x="connsiteX2164" y="connsiteY2164"/>
                </a:cxn>
                <a:cxn ang="0">
                  <a:pos x="connsiteX2165" y="connsiteY2165"/>
                </a:cxn>
                <a:cxn ang="0">
                  <a:pos x="connsiteX2166" y="connsiteY2166"/>
                </a:cxn>
                <a:cxn ang="0">
                  <a:pos x="connsiteX2167" y="connsiteY2167"/>
                </a:cxn>
                <a:cxn ang="0">
                  <a:pos x="connsiteX2168" y="connsiteY2168"/>
                </a:cxn>
                <a:cxn ang="0">
                  <a:pos x="connsiteX2169" y="connsiteY2169"/>
                </a:cxn>
                <a:cxn ang="0">
                  <a:pos x="connsiteX2170" y="connsiteY2170"/>
                </a:cxn>
                <a:cxn ang="0">
                  <a:pos x="connsiteX2171" y="connsiteY2171"/>
                </a:cxn>
                <a:cxn ang="0">
                  <a:pos x="connsiteX2172" y="connsiteY2172"/>
                </a:cxn>
                <a:cxn ang="0">
                  <a:pos x="connsiteX2173" y="connsiteY2173"/>
                </a:cxn>
                <a:cxn ang="0">
                  <a:pos x="connsiteX2174" y="connsiteY2174"/>
                </a:cxn>
                <a:cxn ang="0">
                  <a:pos x="connsiteX2175" y="connsiteY2175"/>
                </a:cxn>
                <a:cxn ang="0">
                  <a:pos x="connsiteX2176" y="connsiteY2176"/>
                </a:cxn>
                <a:cxn ang="0">
                  <a:pos x="connsiteX2177" y="connsiteY2177"/>
                </a:cxn>
                <a:cxn ang="0">
                  <a:pos x="connsiteX2178" y="connsiteY2178"/>
                </a:cxn>
                <a:cxn ang="0">
                  <a:pos x="connsiteX2179" y="connsiteY2179"/>
                </a:cxn>
                <a:cxn ang="0">
                  <a:pos x="connsiteX2180" y="connsiteY2180"/>
                </a:cxn>
                <a:cxn ang="0">
                  <a:pos x="connsiteX2181" y="connsiteY2181"/>
                </a:cxn>
                <a:cxn ang="0">
                  <a:pos x="connsiteX2182" y="connsiteY2182"/>
                </a:cxn>
                <a:cxn ang="0">
                  <a:pos x="connsiteX2183" y="connsiteY2183"/>
                </a:cxn>
                <a:cxn ang="0">
                  <a:pos x="connsiteX2184" y="connsiteY2184"/>
                </a:cxn>
                <a:cxn ang="0">
                  <a:pos x="connsiteX2185" y="connsiteY2185"/>
                </a:cxn>
                <a:cxn ang="0">
                  <a:pos x="connsiteX2186" y="connsiteY2186"/>
                </a:cxn>
                <a:cxn ang="0">
                  <a:pos x="connsiteX2187" y="connsiteY2187"/>
                </a:cxn>
                <a:cxn ang="0">
                  <a:pos x="connsiteX2188" y="connsiteY2188"/>
                </a:cxn>
                <a:cxn ang="0">
                  <a:pos x="connsiteX2189" y="connsiteY2189"/>
                </a:cxn>
                <a:cxn ang="0">
                  <a:pos x="connsiteX2190" y="connsiteY2190"/>
                </a:cxn>
                <a:cxn ang="0">
                  <a:pos x="connsiteX2191" y="connsiteY2191"/>
                </a:cxn>
                <a:cxn ang="0">
                  <a:pos x="connsiteX2192" y="connsiteY2192"/>
                </a:cxn>
                <a:cxn ang="0">
                  <a:pos x="connsiteX2193" y="connsiteY2193"/>
                </a:cxn>
                <a:cxn ang="0">
                  <a:pos x="connsiteX2194" y="connsiteY2194"/>
                </a:cxn>
                <a:cxn ang="0">
                  <a:pos x="connsiteX2195" y="connsiteY2195"/>
                </a:cxn>
                <a:cxn ang="0">
                  <a:pos x="connsiteX2196" y="connsiteY2196"/>
                </a:cxn>
                <a:cxn ang="0">
                  <a:pos x="connsiteX2197" y="connsiteY2197"/>
                </a:cxn>
                <a:cxn ang="0">
                  <a:pos x="connsiteX2198" y="connsiteY2198"/>
                </a:cxn>
                <a:cxn ang="0">
                  <a:pos x="connsiteX2199" y="connsiteY2199"/>
                </a:cxn>
                <a:cxn ang="0">
                  <a:pos x="connsiteX2200" y="connsiteY2200"/>
                </a:cxn>
                <a:cxn ang="0">
                  <a:pos x="connsiteX2201" y="connsiteY2201"/>
                </a:cxn>
                <a:cxn ang="0">
                  <a:pos x="connsiteX2202" y="connsiteY2202"/>
                </a:cxn>
                <a:cxn ang="0">
                  <a:pos x="connsiteX2203" y="connsiteY2203"/>
                </a:cxn>
                <a:cxn ang="0">
                  <a:pos x="connsiteX2204" y="connsiteY2204"/>
                </a:cxn>
                <a:cxn ang="0">
                  <a:pos x="connsiteX2205" y="connsiteY2205"/>
                </a:cxn>
                <a:cxn ang="0">
                  <a:pos x="connsiteX2206" y="connsiteY2206"/>
                </a:cxn>
                <a:cxn ang="0">
                  <a:pos x="connsiteX2207" y="connsiteY2207"/>
                </a:cxn>
                <a:cxn ang="0">
                  <a:pos x="connsiteX2208" y="connsiteY2208"/>
                </a:cxn>
                <a:cxn ang="0">
                  <a:pos x="connsiteX2209" y="connsiteY2209"/>
                </a:cxn>
                <a:cxn ang="0">
                  <a:pos x="connsiteX2210" y="connsiteY2210"/>
                </a:cxn>
                <a:cxn ang="0">
                  <a:pos x="connsiteX2211" y="connsiteY2211"/>
                </a:cxn>
                <a:cxn ang="0">
                  <a:pos x="connsiteX2212" y="connsiteY2212"/>
                </a:cxn>
                <a:cxn ang="0">
                  <a:pos x="connsiteX2213" y="connsiteY2213"/>
                </a:cxn>
                <a:cxn ang="0">
                  <a:pos x="connsiteX2214" y="connsiteY2214"/>
                </a:cxn>
                <a:cxn ang="0">
                  <a:pos x="connsiteX2215" y="connsiteY2215"/>
                </a:cxn>
                <a:cxn ang="0">
                  <a:pos x="connsiteX2216" y="connsiteY2216"/>
                </a:cxn>
                <a:cxn ang="0">
                  <a:pos x="connsiteX2217" y="connsiteY2217"/>
                </a:cxn>
                <a:cxn ang="0">
                  <a:pos x="connsiteX2218" y="connsiteY2218"/>
                </a:cxn>
                <a:cxn ang="0">
                  <a:pos x="connsiteX2219" y="connsiteY2219"/>
                </a:cxn>
                <a:cxn ang="0">
                  <a:pos x="connsiteX2220" y="connsiteY2220"/>
                </a:cxn>
                <a:cxn ang="0">
                  <a:pos x="connsiteX2221" y="connsiteY2221"/>
                </a:cxn>
                <a:cxn ang="0">
                  <a:pos x="connsiteX2222" y="connsiteY2222"/>
                </a:cxn>
                <a:cxn ang="0">
                  <a:pos x="connsiteX2223" y="connsiteY2223"/>
                </a:cxn>
                <a:cxn ang="0">
                  <a:pos x="connsiteX2224" y="connsiteY2224"/>
                </a:cxn>
                <a:cxn ang="0">
                  <a:pos x="connsiteX2225" y="connsiteY2225"/>
                </a:cxn>
                <a:cxn ang="0">
                  <a:pos x="connsiteX2226" y="connsiteY2226"/>
                </a:cxn>
                <a:cxn ang="0">
                  <a:pos x="connsiteX2227" y="connsiteY2227"/>
                </a:cxn>
                <a:cxn ang="0">
                  <a:pos x="connsiteX2228" y="connsiteY2228"/>
                </a:cxn>
                <a:cxn ang="0">
                  <a:pos x="connsiteX2229" y="connsiteY2229"/>
                </a:cxn>
                <a:cxn ang="0">
                  <a:pos x="connsiteX2230" y="connsiteY2230"/>
                </a:cxn>
                <a:cxn ang="0">
                  <a:pos x="connsiteX2231" y="connsiteY2231"/>
                </a:cxn>
                <a:cxn ang="0">
                  <a:pos x="connsiteX2232" y="connsiteY2232"/>
                </a:cxn>
                <a:cxn ang="0">
                  <a:pos x="connsiteX2233" y="connsiteY2233"/>
                </a:cxn>
                <a:cxn ang="0">
                  <a:pos x="connsiteX2234" y="connsiteY2234"/>
                </a:cxn>
                <a:cxn ang="0">
                  <a:pos x="connsiteX2235" y="connsiteY2235"/>
                </a:cxn>
                <a:cxn ang="0">
                  <a:pos x="connsiteX2236" y="connsiteY2236"/>
                </a:cxn>
                <a:cxn ang="0">
                  <a:pos x="connsiteX2237" y="connsiteY2237"/>
                </a:cxn>
                <a:cxn ang="0">
                  <a:pos x="connsiteX2238" y="connsiteY2238"/>
                </a:cxn>
                <a:cxn ang="0">
                  <a:pos x="connsiteX2239" y="connsiteY2239"/>
                </a:cxn>
                <a:cxn ang="0">
                  <a:pos x="connsiteX2240" y="connsiteY2240"/>
                </a:cxn>
                <a:cxn ang="0">
                  <a:pos x="connsiteX2241" y="connsiteY2241"/>
                </a:cxn>
                <a:cxn ang="0">
                  <a:pos x="connsiteX2242" y="connsiteY2242"/>
                </a:cxn>
                <a:cxn ang="0">
                  <a:pos x="connsiteX2243" y="connsiteY2243"/>
                </a:cxn>
                <a:cxn ang="0">
                  <a:pos x="connsiteX2244" y="connsiteY2244"/>
                </a:cxn>
                <a:cxn ang="0">
                  <a:pos x="connsiteX2245" y="connsiteY2245"/>
                </a:cxn>
                <a:cxn ang="0">
                  <a:pos x="connsiteX2246" y="connsiteY2246"/>
                </a:cxn>
                <a:cxn ang="0">
                  <a:pos x="connsiteX2247" y="connsiteY2247"/>
                </a:cxn>
                <a:cxn ang="0">
                  <a:pos x="connsiteX2248" y="connsiteY2248"/>
                </a:cxn>
                <a:cxn ang="0">
                  <a:pos x="connsiteX2249" y="connsiteY2249"/>
                </a:cxn>
                <a:cxn ang="0">
                  <a:pos x="connsiteX2250" y="connsiteY2250"/>
                </a:cxn>
                <a:cxn ang="0">
                  <a:pos x="connsiteX2251" y="connsiteY2251"/>
                </a:cxn>
                <a:cxn ang="0">
                  <a:pos x="connsiteX2252" y="connsiteY2252"/>
                </a:cxn>
                <a:cxn ang="0">
                  <a:pos x="connsiteX2253" y="connsiteY2253"/>
                </a:cxn>
                <a:cxn ang="0">
                  <a:pos x="connsiteX2254" y="connsiteY2254"/>
                </a:cxn>
                <a:cxn ang="0">
                  <a:pos x="connsiteX2255" y="connsiteY2255"/>
                </a:cxn>
                <a:cxn ang="0">
                  <a:pos x="connsiteX2256" y="connsiteY2256"/>
                </a:cxn>
                <a:cxn ang="0">
                  <a:pos x="connsiteX2257" y="connsiteY2257"/>
                </a:cxn>
                <a:cxn ang="0">
                  <a:pos x="connsiteX2258" y="connsiteY2258"/>
                </a:cxn>
                <a:cxn ang="0">
                  <a:pos x="connsiteX2259" y="connsiteY2259"/>
                </a:cxn>
                <a:cxn ang="0">
                  <a:pos x="connsiteX2260" y="connsiteY2260"/>
                </a:cxn>
                <a:cxn ang="0">
                  <a:pos x="connsiteX2261" y="connsiteY2261"/>
                </a:cxn>
                <a:cxn ang="0">
                  <a:pos x="connsiteX2262" y="connsiteY2262"/>
                </a:cxn>
                <a:cxn ang="0">
                  <a:pos x="connsiteX2263" y="connsiteY2263"/>
                </a:cxn>
                <a:cxn ang="0">
                  <a:pos x="connsiteX2264" y="connsiteY2264"/>
                </a:cxn>
                <a:cxn ang="0">
                  <a:pos x="connsiteX2265" y="connsiteY2265"/>
                </a:cxn>
                <a:cxn ang="0">
                  <a:pos x="connsiteX2266" y="connsiteY2266"/>
                </a:cxn>
                <a:cxn ang="0">
                  <a:pos x="connsiteX2267" y="connsiteY2267"/>
                </a:cxn>
                <a:cxn ang="0">
                  <a:pos x="connsiteX2268" y="connsiteY2268"/>
                </a:cxn>
                <a:cxn ang="0">
                  <a:pos x="connsiteX2269" y="connsiteY2269"/>
                </a:cxn>
                <a:cxn ang="0">
                  <a:pos x="connsiteX2270" y="connsiteY2270"/>
                </a:cxn>
                <a:cxn ang="0">
                  <a:pos x="connsiteX2271" y="connsiteY2271"/>
                </a:cxn>
                <a:cxn ang="0">
                  <a:pos x="connsiteX2272" y="connsiteY2272"/>
                </a:cxn>
                <a:cxn ang="0">
                  <a:pos x="connsiteX2273" y="connsiteY2273"/>
                </a:cxn>
                <a:cxn ang="0">
                  <a:pos x="connsiteX2274" y="connsiteY2274"/>
                </a:cxn>
                <a:cxn ang="0">
                  <a:pos x="connsiteX2275" y="connsiteY2275"/>
                </a:cxn>
                <a:cxn ang="0">
                  <a:pos x="connsiteX2276" y="connsiteY2276"/>
                </a:cxn>
                <a:cxn ang="0">
                  <a:pos x="connsiteX2277" y="connsiteY2277"/>
                </a:cxn>
                <a:cxn ang="0">
                  <a:pos x="connsiteX2278" y="connsiteY2278"/>
                </a:cxn>
                <a:cxn ang="0">
                  <a:pos x="connsiteX2279" y="connsiteY2279"/>
                </a:cxn>
                <a:cxn ang="0">
                  <a:pos x="connsiteX2280" y="connsiteY2280"/>
                </a:cxn>
                <a:cxn ang="0">
                  <a:pos x="connsiteX2281" y="connsiteY2281"/>
                </a:cxn>
                <a:cxn ang="0">
                  <a:pos x="connsiteX2282" y="connsiteY2282"/>
                </a:cxn>
                <a:cxn ang="0">
                  <a:pos x="connsiteX2283" y="connsiteY2283"/>
                </a:cxn>
                <a:cxn ang="0">
                  <a:pos x="connsiteX2284" y="connsiteY2284"/>
                </a:cxn>
                <a:cxn ang="0">
                  <a:pos x="connsiteX2285" y="connsiteY2285"/>
                </a:cxn>
                <a:cxn ang="0">
                  <a:pos x="connsiteX2286" y="connsiteY2286"/>
                </a:cxn>
                <a:cxn ang="0">
                  <a:pos x="connsiteX2287" y="connsiteY2287"/>
                </a:cxn>
                <a:cxn ang="0">
                  <a:pos x="connsiteX2288" y="connsiteY2288"/>
                </a:cxn>
                <a:cxn ang="0">
                  <a:pos x="connsiteX2289" y="connsiteY2289"/>
                </a:cxn>
                <a:cxn ang="0">
                  <a:pos x="connsiteX2290" y="connsiteY2290"/>
                </a:cxn>
                <a:cxn ang="0">
                  <a:pos x="connsiteX2291" y="connsiteY2291"/>
                </a:cxn>
                <a:cxn ang="0">
                  <a:pos x="connsiteX2292" y="connsiteY2292"/>
                </a:cxn>
                <a:cxn ang="0">
                  <a:pos x="connsiteX2293" y="connsiteY2293"/>
                </a:cxn>
                <a:cxn ang="0">
                  <a:pos x="connsiteX2294" y="connsiteY2294"/>
                </a:cxn>
                <a:cxn ang="0">
                  <a:pos x="connsiteX2295" y="connsiteY2295"/>
                </a:cxn>
                <a:cxn ang="0">
                  <a:pos x="connsiteX2296" y="connsiteY2296"/>
                </a:cxn>
                <a:cxn ang="0">
                  <a:pos x="connsiteX2297" y="connsiteY2297"/>
                </a:cxn>
                <a:cxn ang="0">
                  <a:pos x="connsiteX2298" y="connsiteY2298"/>
                </a:cxn>
                <a:cxn ang="0">
                  <a:pos x="connsiteX2299" y="connsiteY2299"/>
                </a:cxn>
                <a:cxn ang="0">
                  <a:pos x="connsiteX2300" y="connsiteY2300"/>
                </a:cxn>
                <a:cxn ang="0">
                  <a:pos x="connsiteX2301" y="connsiteY2301"/>
                </a:cxn>
                <a:cxn ang="0">
                  <a:pos x="connsiteX2302" y="connsiteY2302"/>
                </a:cxn>
                <a:cxn ang="0">
                  <a:pos x="connsiteX2303" y="connsiteY2303"/>
                </a:cxn>
                <a:cxn ang="0">
                  <a:pos x="connsiteX2304" y="connsiteY2304"/>
                </a:cxn>
                <a:cxn ang="0">
                  <a:pos x="connsiteX2305" y="connsiteY2305"/>
                </a:cxn>
                <a:cxn ang="0">
                  <a:pos x="connsiteX2306" y="connsiteY2306"/>
                </a:cxn>
                <a:cxn ang="0">
                  <a:pos x="connsiteX2307" y="connsiteY2307"/>
                </a:cxn>
                <a:cxn ang="0">
                  <a:pos x="connsiteX2308" y="connsiteY2308"/>
                </a:cxn>
                <a:cxn ang="0">
                  <a:pos x="connsiteX2309" y="connsiteY2309"/>
                </a:cxn>
                <a:cxn ang="0">
                  <a:pos x="connsiteX2310" y="connsiteY2310"/>
                </a:cxn>
                <a:cxn ang="0">
                  <a:pos x="connsiteX2311" y="connsiteY2311"/>
                </a:cxn>
                <a:cxn ang="0">
                  <a:pos x="connsiteX2312" y="connsiteY2312"/>
                </a:cxn>
                <a:cxn ang="0">
                  <a:pos x="connsiteX2313" y="connsiteY2313"/>
                </a:cxn>
                <a:cxn ang="0">
                  <a:pos x="connsiteX2314" y="connsiteY2314"/>
                </a:cxn>
                <a:cxn ang="0">
                  <a:pos x="connsiteX2315" y="connsiteY2315"/>
                </a:cxn>
                <a:cxn ang="0">
                  <a:pos x="connsiteX2316" y="connsiteY2316"/>
                </a:cxn>
                <a:cxn ang="0">
                  <a:pos x="connsiteX2317" y="connsiteY2317"/>
                </a:cxn>
                <a:cxn ang="0">
                  <a:pos x="connsiteX2318" y="connsiteY2318"/>
                </a:cxn>
                <a:cxn ang="0">
                  <a:pos x="connsiteX2319" y="connsiteY2319"/>
                </a:cxn>
                <a:cxn ang="0">
                  <a:pos x="connsiteX2320" y="connsiteY2320"/>
                </a:cxn>
                <a:cxn ang="0">
                  <a:pos x="connsiteX2321" y="connsiteY2321"/>
                </a:cxn>
                <a:cxn ang="0">
                  <a:pos x="connsiteX2322" y="connsiteY2322"/>
                </a:cxn>
                <a:cxn ang="0">
                  <a:pos x="connsiteX2323" y="connsiteY2323"/>
                </a:cxn>
                <a:cxn ang="0">
                  <a:pos x="connsiteX2324" y="connsiteY2324"/>
                </a:cxn>
                <a:cxn ang="0">
                  <a:pos x="connsiteX2325" y="connsiteY2325"/>
                </a:cxn>
                <a:cxn ang="0">
                  <a:pos x="connsiteX2326" y="connsiteY2326"/>
                </a:cxn>
                <a:cxn ang="0">
                  <a:pos x="connsiteX2327" y="connsiteY2327"/>
                </a:cxn>
                <a:cxn ang="0">
                  <a:pos x="connsiteX2328" y="connsiteY2328"/>
                </a:cxn>
                <a:cxn ang="0">
                  <a:pos x="connsiteX2329" y="connsiteY2329"/>
                </a:cxn>
                <a:cxn ang="0">
                  <a:pos x="connsiteX2330" y="connsiteY2330"/>
                </a:cxn>
                <a:cxn ang="0">
                  <a:pos x="connsiteX2331" y="connsiteY2331"/>
                </a:cxn>
                <a:cxn ang="0">
                  <a:pos x="connsiteX2332" y="connsiteY2332"/>
                </a:cxn>
                <a:cxn ang="0">
                  <a:pos x="connsiteX2333" y="connsiteY2333"/>
                </a:cxn>
                <a:cxn ang="0">
                  <a:pos x="connsiteX2334" y="connsiteY2334"/>
                </a:cxn>
                <a:cxn ang="0">
                  <a:pos x="connsiteX2335" y="connsiteY2335"/>
                </a:cxn>
                <a:cxn ang="0">
                  <a:pos x="connsiteX2336" y="connsiteY2336"/>
                </a:cxn>
                <a:cxn ang="0">
                  <a:pos x="connsiteX2337" y="connsiteY2337"/>
                </a:cxn>
                <a:cxn ang="0">
                  <a:pos x="connsiteX2338" y="connsiteY2338"/>
                </a:cxn>
                <a:cxn ang="0">
                  <a:pos x="connsiteX2339" y="connsiteY2339"/>
                </a:cxn>
                <a:cxn ang="0">
                  <a:pos x="connsiteX2340" y="connsiteY2340"/>
                </a:cxn>
                <a:cxn ang="0">
                  <a:pos x="connsiteX2341" y="connsiteY2341"/>
                </a:cxn>
                <a:cxn ang="0">
                  <a:pos x="connsiteX2342" y="connsiteY2342"/>
                </a:cxn>
                <a:cxn ang="0">
                  <a:pos x="connsiteX2343" y="connsiteY2343"/>
                </a:cxn>
                <a:cxn ang="0">
                  <a:pos x="connsiteX2344" y="connsiteY2344"/>
                </a:cxn>
                <a:cxn ang="0">
                  <a:pos x="connsiteX2345" y="connsiteY2345"/>
                </a:cxn>
                <a:cxn ang="0">
                  <a:pos x="connsiteX2346" y="connsiteY2346"/>
                </a:cxn>
                <a:cxn ang="0">
                  <a:pos x="connsiteX2347" y="connsiteY2347"/>
                </a:cxn>
                <a:cxn ang="0">
                  <a:pos x="connsiteX2348" y="connsiteY2348"/>
                </a:cxn>
                <a:cxn ang="0">
                  <a:pos x="connsiteX2349" y="connsiteY2349"/>
                </a:cxn>
                <a:cxn ang="0">
                  <a:pos x="connsiteX2350" y="connsiteY2350"/>
                </a:cxn>
                <a:cxn ang="0">
                  <a:pos x="connsiteX2351" y="connsiteY2351"/>
                </a:cxn>
                <a:cxn ang="0">
                  <a:pos x="connsiteX2352" y="connsiteY2352"/>
                </a:cxn>
                <a:cxn ang="0">
                  <a:pos x="connsiteX2353" y="connsiteY2353"/>
                </a:cxn>
                <a:cxn ang="0">
                  <a:pos x="connsiteX2354" y="connsiteY2354"/>
                </a:cxn>
                <a:cxn ang="0">
                  <a:pos x="connsiteX2355" y="connsiteY2355"/>
                </a:cxn>
                <a:cxn ang="0">
                  <a:pos x="connsiteX2356" y="connsiteY2356"/>
                </a:cxn>
                <a:cxn ang="0">
                  <a:pos x="connsiteX2357" y="connsiteY2357"/>
                </a:cxn>
                <a:cxn ang="0">
                  <a:pos x="connsiteX2358" y="connsiteY2358"/>
                </a:cxn>
                <a:cxn ang="0">
                  <a:pos x="connsiteX2359" y="connsiteY2359"/>
                </a:cxn>
                <a:cxn ang="0">
                  <a:pos x="connsiteX2360" y="connsiteY2360"/>
                </a:cxn>
                <a:cxn ang="0">
                  <a:pos x="connsiteX2361" y="connsiteY2361"/>
                </a:cxn>
                <a:cxn ang="0">
                  <a:pos x="connsiteX2362" y="connsiteY2362"/>
                </a:cxn>
                <a:cxn ang="0">
                  <a:pos x="connsiteX2363" y="connsiteY2363"/>
                </a:cxn>
                <a:cxn ang="0">
                  <a:pos x="connsiteX2364" y="connsiteY2364"/>
                </a:cxn>
                <a:cxn ang="0">
                  <a:pos x="connsiteX2365" y="connsiteY2365"/>
                </a:cxn>
                <a:cxn ang="0">
                  <a:pos x="connsiteX2366" y="connsiteY2366"/>
                </a:cxn>
                <a:cxn ang="0">
                  <a:pos x="connsiteX2367" y="connsiteY2367"/>
                </a:cxn>
                <a:cxn ang="0">
                  <a:pos x="connsiteX2368" y="connsiteY2368"/>
                </a:cxn>
                <a:cxn ang="0">
                  <a:pos x="connsiteX2369" y="connsiteY2369"/>
                </a:cxn>
                <a:cxn ang="0">
                  <a:pos x="connsiteX2370" y="connsiteY2370"/>
                </a:cxn>
                <a:cxn ang="0">
                  <a:pos x="connsiteX2371" y="connsiteY2371"/>
                </a:cxn>
                <a:cxn ang="0">
                  <a:pos x="connsiteX2372" y="connsiteY2372"/>
                </a:cxn>
                <a:cxn ang="0">
                  <a:pos x="connsiteX2373" y="connsiteY2373"/>
                </a:cxn>
                <a:cxn ang="0">
                  <a:pos x="connsiteX2374" y="connsiteY2374"/>
                </a:cxn>
                <a:cxn ang="0">
                  <a:pos x="connsiteX2375" y="connsiteY2375"/>
                </a:cxn>
                <a:cxn ang="0">
                  <a:pos x="connsiteX2376" y="connsiteY2376"/>
                </a:cxn>
                <a:cxn ang="0">
                  <a:pos x="connsiteX2377" y="connsiteY2377"/>
                </a:cxn>
                <a:cxn ang="0">
                  <a:pos x="connsiteX2378" y="connsiteY2378"/>
                </a:cxn>
                <a:cxn ang="0">
                  <a:pos x="connsiteX2379" y="connsiteY2379"/>
                </a:cxn>
                <a:cxn ang="0">
                  <a:pos x="connsiteX2380" y="connsiteY2380"/>
                </a:cxn>
                <a:cxn ang="0">
                  <a:pos x="connsiteX2381" y="connsiteY2381"/>
                </a:cxn>
                <a:cxn ang="0">
                  <a:pos x="connsiteX2382" y="connsiteY2382"/>
                </a:cxn>
                <a:cxn ang="0">
                  <a:pos x="connsiteX2383" y="connsiteY2383"/>
                </a:cxn>
                <a:cxn ang="0">
                  <a:pos x="connsiteX2384" y="connsiteY2384"/>
                </a:cxn>
                <a:cxn ang="0">
                  <a:pos x="connsiteX2385" y="connsiteY2385"/>
                </a:cxn>
                <a:cxn ang="0">
                  <a:pos x="connsiteX2386" y="connsiteY2386"/>
                </a:cxn>
                <a:cxn ang="0">
                  <a:pos x="connsiteX2387" y="connsiteY2387"/>
                </a:cxn>
                <a:cxn ang="0">
                  <a:pos x="connsiteX2388" y="connsiteY2388"/>
                </a:cxn>
                <a:cxn ang="0">
                  <a:pos x="connsiteX2389" y="connsiteY2389"/>
                </a:cxn>
                <a:cxn ang="0">
                  <a:pos x="connsiteX2390" y="connsiteY2390"/>
                </a:cxn>
                <a:cxn ang="0">
                  <a:pos x="connsiteX2391" y="connsiteY2391"/>
                </a:cxn>
                <a:cxn ang="0">
                  <a:pos x="connsiteX2392" y="connsiteY2392"/>
                </a:cxn>
                <a:cxn ang="0">
                  <a:pos x="connsiteX2393" y="connsiteY2393"/>
                </a:cxn>
                <a:cxn ang="0">
                  <a:pos x="connsiteX2394" y="connsiteY2394"/>
                </a:cxn>
                <a:cxn ang="0">
                  <a:pos x="connsiteX2395" y="connsiteY2395"/>
                </a:cxn>
                <a:cxn ang="0">
                  <a:pos x="connsiteX2396" y="connsiteY2396"/>
                </a:cxn>
                <a:cxn ang="0">
                  <a:pos x="connsiteX2397" y="connsiteY2397"/>
                </a:cxn>
                <a:cxn ang="0">
                  <a:pos x="connsiteX2398" y="connsiteY2398"/>
                </a:cxn>
                <a:cxn ang="0">
                  <a:pos x="connsiteX2399" y="connsiteY2399"/>
                </a:cxn>
                <a:cxn ang="0">
                  <a:pos x="connsiteX2400" y="connsiteY2400"/>
                </a:cxn>
                <a:cxn ang="0">
                  <a:pos x="connsiteX2401" y="connsiteY2401"/>
                </a:cxn>
                <a:cxn ang="0">
                  <a:pos x="connsiteX2402" y="connsiteY2402"/>
                </a:cxn>
                <a:cxn ang="0">
                  <a:pos x="connsiteX2403" y="connsiteY2403"/>
                </a:cxn>
                <a:cxn ang="0">
                  <a:pos x="connsiteX2404" y="connsiteY2404"/>
                </a:cxn>
                <a:cxn ang="0">
                  <a:pos x="connsiteX2405" y="connsiteY2405"/>
                </a:cxn>
                <a:cxn ang="0">
                  <a:pos x="connsiteX2406" y="connsiteY2406"/>
                </a:cxn>
                <a:cxn ang="0">
                  <a:pos x="connsiteX2407" y="connsiteY2407"/>
                </a:cxn>
                <a:cxn ang="0">
                  <a:pos x="connsiteX2408" y="connsiteY2408"/>
                </a:cxn>
                <a:cxn ang="0">
                  <a:pos x="connsiteX2409" y="connsiteY2409"/>
                </a:cxn>
                <a:cxn ang="0">
                  <a:pos x="connsiteX2410" y="connsiteY2410"/>
                </a:cxn>
                <a:cxn ang="0">
                  <a:pos x="connsiteX2411" y="connsiteY2411"/>
                </a:cxn>
                <a:cxn ang="0">
                  <a:pos x="connsiteX2412" y="connsiteY2412"/>
                </a:cxn>
                <a:cxn ang="0">
                  <a:pos x="connsiteX2413" y="connsiteY2413"/>
                </a:cxn>
                <a:cxn ang="0">
                  <a:pos x="connsiteX2414" y="connsiteY2414"/>
                </a:cxn>
                <a:cxn ang="0">
                  <a:pos x="connsiteX2415" y="connsiteY2415"/>
                </a:cxn>
                <a:cxn ang="0">
                  <a:pos x="connsiteX2416" y="connsiteY2416"/>
                </a:cxn>
                <a:cxn ang="0">
                  <a:pos x="connsiteX2417" y="connsiteY2417"/>
                </a:cxn>
                <a:cxn ang="0">
                  <a:pos x="connsiteX2418" y="connsiteY2418"/>
                </a:cxn>
                <a:cxn ang="0">
                  <a:pos x="connsiteX2419" y="connsiteY2419"/>
                </a:cxn>
                <a:cxn ang="0">
                  <a:pos x="connsiteX2420" y="connsiteY2420"/>
                </a:cxn>
                <a:cxn ang="0">
                  <a:pos x="connsiteX2421" y="connsiteY2421"/>
                </a:cxn>
                <a:cxn ang="0">
                  <a:pos x="connsiteX2422" y="connsiteY2422"/>
                </a:cxn>
                <a:cxn ang="0">
                  <a:pos x="connsiteX2423" y="connsiteY2423"/>
                </a:cxn>
                <a:cxn ang="0">
                  <a:pos x="connsiteX2424" y="connsiteY2424"/>
                </a:cxn>
                <a:cxn ang="0">
                  <a:pos x="connsiteX2425" y="connsiteY2425"/>
                </a:cxn>
                <a:cxn ang="0">
                  <a:pos x="connsiteX2426" y="connsiteY2426"/>
                </a:cxn>
                <a:cxn ang="0">
                  <a:pos x="connsiteX2427" y="connsiteY2427"/>
                </a:cxn>
                <a:cxn ang="0">
                  <a:pos x="connsiteX2428" y="connsiteY2428"/>
                </a:cxn>
                <a:cxn ang="0">
                  <a:pos x="connsiteX2429" y="connsiteY2429"/>
                </a:cxn>
                <a:cxn ang="0">
                  <a:pos x="connsiteX2430" y="connsiteY2430"/>
                </a:cxn>
                <a:cxn ang="0">
                  <a:pos x="connsiteX2431" y="connsiteY2431"/>
                </a:cxn>
                <a:cxn ang="0">
                  <a:pos x="connsiteX2432" y="connsiteY2432"/>
                </a:cxn>
                <a:cxn ang="0">
                  <a:pos x="connsiteX2433" y="connsiteY2433"/>
                </a:cxn>
                <a:cxn ang="0">
                  <a:pos x="connsiteX2434" y="connsiteY2434"/>
                </a:cxn>
                <a:cxn ang="0">
                  <a:pos x="connsiteX2435" y="connsiteY2435"/>
                </a:cxn>
                <a:cxn ang="0">
                  <a:pos x="connsiteX2436" y="connsiteY2436"/>
                </a:cxn>
                <a:cxn ang="0">
                  <a:pos x="connsiteX2437" y="connsiteY2437"/>
                </a:cxn>
                <a:cxn ang="0">
                  <a:pos x="connsiteX2438" y="connsiteY2438"/>
                </a:cxn>
                <a:cxn ang="0">
                  <a:pos x="connsiteX2439" y="connsiteY2439"/>
                </a:cxn>
                <a:cxn ang="0">
                  <a:pos x="connsiteX2440" y="connsiteY2440"/>
                </a:cxn>
                <a:cxn ang="0">
                  <a:pos x="connsiteX2441" y="connsiteY2441"/>
                </a:cxn>
                <a:cxn ang="0">
                  <a:pos x="connsiteX2442" y="connsiteY2442"/>
                </a:cxn>
                <a:cxn ang="0">
                  <a:pos x="connsiteX2443" y="connsiteY2443"/>
                </a:cxn>
                <a:cxn ang="0">
                  <a:pos x="connsiteX2444" y="connsiteY2444"/>
                </a:cxn>
                <a:cxn ang="0">
                  <a:pos x="connsiteX2445" y="connsiteY2445"/>
                </a:cxn>
                <a:cxn ang="0">
                  <a:pos x="connsiteX2446" y="connsiteY2446"/>
                </a:cxn>
                <a:cxn ang="0">
                  <a:pos x="connsiteX2447" y="connsiteY2447"/>
                </a:cxn>
                <a:cxn ang="0">
                  <a:pos x="connsiteX2448" y="connsiteY2448"/>
                </a:cxn>
                <a:cxn ang="0">
                  <a:pos x="connsiteX2449" y="connsiteY2449"/>
                </a:cxn>
                <a:cxn ang="0">
                  <a:pos x="connsiteX2450" y="connsiteY2450"/>
                </a:cxn>
                <a:cxn ang="0">
                  <a:pos x="connsiteX2451" y="connsiteY2451"/>
                </a:cxn>
                <a:cxn ang="0">
                  <a:pos x="connsiteX2452" y="connsiteY2452"/>
                </a:cxn>
                <a:cxn ang="0">
                  <a:pos x="connsiteX2453" y="connsiteY2453"/>
                </a:cxn>
                <a:cxn ang="0">
                  <a:pos x="connsiteX2454" y="connsiteY2454"/>
                </a:cxn>
                <a:cxn ang="0">
                  <a:pos x="connsiteX2455" y="connsiteY2455"/>
                </a:cxn>
                <a:cxn ang="0">
                  <a:pos x="connsiteX2456" y="connsiteY2456"/>
                </a:cxn>
                <a:cxn ang="0">
                  <a:pos x="connsiteX2457" y="connsiteY2457"/>
                </a:cxn>
                <a:cxn ang="0">
                  <a:pos x="connsiteX2458" y="connsiteY2458"/>
                </a:cxn>
                <a:cxn ang="0">
                  <a:pos x="connsiteX2459" y="connsiteY2459"/>
                </a:cxn>
                <a:cxn ang="0">
                  <a:pos x="connsiteX2460" y="connsiteY2460"/>
                </a:cxn>
                <a:cxn ang="0">
                  <a:pos x="connsiteX2461" y="connsiteY2461"/>
                </a:cxn>
                <a:cxn ang="0">
                  <a:pos x="connsiteX2462" y="connsiteY2462"/>
                </a:cxn>
                <a:cxn ang="0">
                  <a:pos x="connsiteX2463" y="connsiteY2463"/>
                </a:cxn>
                <a:cxn ang="0">
                  <a:pos x="connsiteX2464" y="connsiteY2464"/>
                </a:cxn>
                <a:cxn ang="0">
                  <a:pos x="connsiteX2465" y="connsiteY2465"/>
                </a:cxn>
                <a:cxn ang="0">
                  <a:pos x="connsiteX2466" y="connsiteY2466"/>
                </a:cxn>
                <a:cxn ang="0">
                  <a:pos x="connsiteX2467" y="connsiteY2467"/>
                </a:cxn>
                <a:cxn ang="0">
                  <a:pos x="connsiteX2468" y="connsiteY2468"/>
                </a:cxn>
                <a:cxn ang="0">
                  <a:pos x="connsiteX2469" y="connsiteY2469"/>
                </a:cxn>
                <a:cxn ang="0">
                  <a:pos x="connsiteX2470" y="connsiteY2470"/>
                </a:cxn>
                <a:cxn ang="0">
                  <a:pos x="connsiteX2471" y="connsiteY2471"/>
                </a:cxn>
                <a:cxn ang="0">
                  <a:pos x="connsiteX2472" y="connsiteY2472"/>
                </a:cxn>
                <a:cxn ang="0">
                  <a:pos x="connsiteX2473" y="connsiteY2473"/>
                </a:cxn>
                <a:cxn ang="0">
                  <a:pos x="connsiteX2474" y="connsiteY2474"/>
                </a:cxn>
                <a:cxn ang="0">
                  <a:pos x="connsiteX2475" y="connsiteY2475"/>
                </a:cxn>
                <a:cxn ang="0">
                  <a:pos x="connsiteX2476" y="connsiteY2476"/>
                </a:cxn>
                <a:cxn ang="0">
                  <a:pos x="connsiteX2477" y="connsiteY2477"/>
                </a:cxn>
                <a:cxn ang="0">
                  <a:pos x="connsiteX2478" y="connsiteY2478"/>
                </a:cxn>
                <a:cxn ang="0">
                  <a:pos x="connsiteX2479" y="connsiteY2479"/>
                </a:cxn>
                <a:cxn ang="0">
                  <a:pos x="connsiteX2480" y="connsiteY2480"/>
                </a:cxn>
                <a:cxn ang="0">
                  <a:pos x="connsiteX2481" y="connsiteY2481"/>
                </a:cxn>
                <a:cxn ang="0">
                  <a:pos x="connsiteX2482" y="connsiteY2482"/>
                </a:cxn>
                <a:cxn ang="0">
                  <a:pos x="connsiteX2483" y="connsiteY2483"/>
                </a:cxn>
                <a:cxn ang="0">
                  <a:pos x="connsiteX2484" y="connsiteY2484"/>
                </a:cxn>
                <a:cxn ang="0">
                  <a:pos x="connsiteX2485" y="connsiteY2485"/>
                </a:cxn>
                <a:cxn ang="0">
                  <a:pos x="connsiteX2486" y="connsiteY2486"/>
                </a:cxn>
                <a:cxn ang="0">
                  <a:pos x="connsiteX2487" y="connsiteY2487"/>
                </a:cxn>
                <a:cxn ang="0">
                  <a:pos x="connsiteX2488" y="connsiteY2488"/>
                </a:cxn>
                <a:cxn ang="0">
                  <a:pos x="connsiteX2489" y="connsiteY2489"/>
                </a:cxn>
                <a:cxn ang="0">
                  <a:pos x="connsiteX2490" y="connsiteY2490"/>
                </a:cxn>
                <a:cxn ang="0">
                  <a:pos x="connsiteX2491" y="connsiteY2491"/>
                </a:cxn>
                <a:cxn ang="0">
                  <a:pos x="connsiteX2492" y="connsiteY2492"/>
                </a:cxn>
                <a:cxn ang="0">
                  <a:pos x="connsiteX2493" y="connsiteY2493"/>
                </a:cxn>
                <a:cxn ang="0">
                  <a:pos x="connsiteX2494" y="connsiteY2494"/>
                </a:cxn>
                <a:cxn ang="0">
                  <a:pos x="connsiteX2495" y="connsiteY2495"/>
                </a:cxn>
                <a:cxn ang="0">
                  <a:pos x="connsiteX2496" y="connsiteY2496"/>
                </a:cxn>
                <a:cxn ang="0">
                  <a:pos x="connsiteX2497" y="connsiteY2497"/>
                </a:cxn>
                <a:cxn ang="0">
                  <a:pos x="connsiteX2498" y="connsiteY2498"/>
                </a:cxn>
                <a:cxn ang="0">
                  <a:pos x="connsiteX2499" y="connsiteY2499"/>
                </a:cxn>
                <a:cxn ang="0">
                  <a:pos x="connsiteX2500" y="connsiteY2500"/>
                </a:cxn>
                <a:cxn ang="0">
                  <a:pos x="connsiteX2501" y="connsiteY2501"/>
                </a:cxn>
                <a:cxn ang="0">
                  <a:pos x="connsiteX2502" y="connsiteY2502"/>
                </a:cxn>
                <a:cxn ang="0">
                  <a:pos x="connsiteX2503" y="connsiteY2503"/>
                </a:cxn>
                <a:cxn ang="0">
                  <a:pos x="connsiteX2504" y="connsiteY2504"/>
                </a:cxn>
                <a:cxn ang="0">
                  <a:pos x="connsiteX2505" y="connsiteY2505"/>
                </a:cxn>
                <a:cxn ang="0">
                  <a:pos x="connsiteX2506" y="connsiteY2506"/>
                </a:cxn>
                <a:cxn ang="0">
                  <a:pos x="connsiteX2507" y="connsiteY2507"/>
                </a:cxn>
                <a:cxn ang="0">
                  <a:pos x="connsiteX2508" y="connsiteY2508"/>
                </a:cxn>
                <a:cxn ang="0">
                  <a:pos x="connsiteX2509" y="connsiteY2509"/>
                </a:cxn>
                <a:cxn ang="0">
                  <a:pos x="connsiteX2510" y="connsiteY2510"/>
                </a:cxn>
                <a:cxn ang="0">
                  <a:pos x="connsiteX2511" y="connsiteY2511"/>
                </a:cxn>
                <a:cxn ang="0">
                  <a:pos x="connsiteX2512" y="connsiteY2512"/>
                </a:cxn>
                <a:cxn ang="0">
                  <a:pos x="connsiteX2513" y="connsiteY2513"/>
                </a:cxn>
                <a:cxn ang="0">
                  <a:pos x="connsiteX2514" y="connsiteY2514"/>
                </a:cxn>
                <a:cxn ang="0">
                  <a:pos x="connsiteX2515" y="connsiteY2515"/>
                </a:cxn>
                <a:cxn ang="0">
                  <a:pos x="connsiteX2516" y="connsiteY2516"/>
                </a:cxn>
                <a:cxn ang="0">
                  <a:pos x="connsiteX2517" y="connsiteY2517"/>
                </a:cxn>
                <a:cxn ang="0">
                  <a:pos x="connsiteX2518" y="connsiteY2518"/>
                </a:cxn>
                <a:cxn ang="0">
                  <a:pos x="connsiteX2519" y="connsiteY2519"/>
                </a:cxn>
                <a:cxn ang="0">
                  <a:pos x="connsiteX2520" y="connsiteY2520"/>
                </a:cxn>
                <a:cxn ang="0">
                  <a:pos x="connsiteX2521" y="connsiteY2521"/>
                </a:cxn>
                <a:cxn ang="0">
                  <a:pos x="connsiteX2522" y="connsiteY2522"/>
                </a:cxn>
                <a:cxn ang="0">
                  <a:pos x="connsiteX2523" y="connsiteY2523"/>
                </a:cxn>
                <a:cxn ang="0">
                  <a:pos x="connsiteX2524" y="connsiteY2524"/>
                </a:cxn>
                <a:cxn ang="0">
                  <a:pos x="connsiteX2525" y="connsiteY2525"/>
                </a:cxn>
                <a:cxn ang="0">
                  <a:pos x="connsiteX2526" y="connsiteY2526"/>
                </a:cxn>
                <a:cxn ang="0">
                  <a:pos x="connsiteX2527" y="connsiteY2527"/>
                </a:cxn>
                <a:cxn ang="0">
                  <a:pos x="connsiteX2528" y="connsiteY2528"/>
                </a:cxn>
                <a:cxn ang="0">
                  <a:pos x="connsiteX2529" y="connsiteY2529"/>
                </a:cxn>
                <a:cxn ang="0">
                  <a:pos x="connsiteX2530" y="connsiteY2530"/>
                </a:cxn>
                <a:cxn ang="0">
                  <a:pos x="connsiteX2531" y="connsiteY2531"/>
                </a:cxn>
                <a:cxn ang="0">
                  <a:pos x="connsiteX2532" y="connsiteY2532"/>
                </a:cxn>
                <a:cxn ang="0">
                  <a:pos x="connsiteX2533" y="connsiteY2533"/>
                </a:cxn>
                <a:cxn ang="0">
                  <a:pos x="connsiteX2534" y="connsiteY2534"/>
                </a:cxn>
                <a:cxn ang="0">
                  <a:pos x="connsiteX2535" y="connsiteY2535"/>
                </a:cxn>
                <a:cxn ang="0">
                  <a:pos x="connsiteX2536" y="connsiteY2536"/>
                </a:cxn>
                <a:cxn ang="0">
                  <a:pos x="connsiteX2537" y="connsiteY2537"/>
                </a:cxn>
                <a:cxn ang="0">
                  <a:pos x="connsiteX2538" y="connsiteY2538"/>
                </a:cxn>
                <a:cxn ang="0">
                  <a:pos x="connsiteX2539" y="connsiteY2539"/>
                </a:cxn>
                <a:cxn ang="0">
                  <a:pos x="connsiteX2540" y="connsiteY2540"/>
                </a:cxn>
                <a:cxn ang="0">
                  <a:pos x="connsiteX2541" y="connsiteY2541"/>
                </a:cxn>
                <a:cxn ang="0">
                  <a:pos x="connsiteX2542" y="connsiteY2542"/>
                </a:cxn>
                <a:cxn ang="0">
                  <a:pos x="connsiteX2543" y="connsiteY2543"/>
                </a:cxn>
                <a:cxn ang="0">
                  <a:pos x="connsiteX2544" y="connsiteY2544"/>
                </a:cxn>
                <a:cxn ang="0">
                  <a:pos x="connsiteX2545" y="connsiteY2545"/>
                </a:cxn>
                <a:cxn ang="0">
                  <a:pos x="connsiteX2546" y="connsiteY2546"/>
                </a:cxn>
                <a:cxn ang="0">
                  <a:pos x="connsiteX2547" y="connsiteY2547"/>
                </a:cxn>
                <a:cxn ang="0">
                  <a:pos x="connsiteX2548" y="connsiteY2548"/>
                </a:cxn>
                <a:cxn ang="0">
                  <a:pos x="connsiteX2549" y="connsiteY2549"/>
                </a:cxn>
                <a:cxn ang="0">
                  <a:pos x="connsiteX2550" y="connsiteY2550"/>
                </a:cxn>
                <a:cxn ang="0">
                  <a:pos x="connsiteX2551" y="connsiteY2551"/>
                </a:cxn>
                <a:cxn ang="0">
                  <a:pos x="connsiteX2552" y="connsiteY2552"/>
                </a:cxn>
                <a:cxn ang="0">
                  <a:pos x="connsiteX2553" y="connsiteY2553"/>
                </a:cxn>
                <a:cxn ang="0">
                  <a:pos x="connsiteX2554" y="connsiteY2554"/>
                </a:cxn>
                <a:cxn ang="0">
                  <a:pos x="connsiteX2555" y="connsiteY2555"/>
                </a:cxn>
                <a:cxn ang="0">
                  <a:pos x="connsiteX2556" y="connsiteY2556"/>
                </a:cxn>
                <a:cxn ang="0">
                  <a:pos x="connsiteX2557" y="connsiteY2557"/>
                </a:cxn>
                <a:cxn ang="0">
                  <a:pos x="connsiteX2558" y="connsiteY2558"/>
                </a:cxn>
                <a:cxn ang="0">
                  <a:pos x="connsiteX2559" y="connsiteY2559"/>
                </a:cxn>
                <a:cxn ang="0">
                  <a:pos x="connsiteX2560" y="connsiteY2560"/>
                </a:cxn>
                <a:cxn ang="0">
                  <a:pos x="connsiteX2561" y="connsiteY2561"/>
                </a:cxn>
                <a:cxn ang="0">
                  <a:pos x="connsiteX2562" y="connsiteY2562"/>
                </a:cxn>
                <a:cxn ang="0">
                  <a:pos x="connsiteX2563" y="connsiteY2563"/>
                </a:cxn>
                <a:cxn ang="0">
                  <a:pos x="connsiteX2564" y="connsiteY2564"/>
                </a:cxn>
                <a:cxn ang="0">
                  <a:pos x="connsiteX2565" y="connsiteY2565"/>
                </a:cxn>
                <a:cxn ang="0">
                  <a:pos x="connsiteX2566" y="connsiteY2566"/>
                </a:cxn>
                <a:cxn ang="0">
                  <a:pos x="connsiteX2567" y="connsiteY2567"/>
                </a:cxn>
                <a:cxn ang="0">
                  <a:pos x="connsiteX2568" y="connsiteY2568"/>
                </a:cxn>
                <a:cxn ang="0">
                  <a:pos x="connsiteX2569" y="connsiteY2569"/>
                </a:cxn>
                <a:cxn ang="0">
                  <a:pos x="connsiteX2570" y="connsiteY2570"/>
                </a:cxn>
                <a:cxn ang="0">
                  <a:pos x="connsiteX2571" y="connsiteY2571"/>
                </a:cxn>
                <a:cxn ang="0">
                  <a:pos x="connsiteX2572" y="connsiteY2572"/>
                </a:cxn>
                <a:cxn ang="0">
                  <a:pos x="connsiteX2573" y="connsiteY2573"/>
                </a:cxn>
                <a:cxn ang="0">
                  <a:pos x="connsiteX2574" y="connsiteY2574"/>
                </a:cxn>
                <a:cxn ang="0">
                  <a:pos x="connsiteX2575" y="connsiteY2575"/>
                </a:cxn>
                <a:cxn ang="0">
                  <a:pos x="connsiteX2576" y="connsiteY2576"/>
                </a:cxn>
                <a:cxn ang="0">
                  <a:pos x="connsiteX2577" y="connsiteY2577"/>
                </a:cxn>
                <a:cxn ang="0">
                  <a:pos x="connsiteX2578" y="connsiteY2578"/>
                </a:cxn>
                <a:cxn ang="0">
                  <a:pos x="connsiteX2579" y="connsiteY2579"/>
                </a:cxn>
                <a:cxn ang="0">
                  <a:pos x="connsiteX2580" y="connsiteY2580"/>
                </a:cxn>
                <a:cxn ang="0">
                  <a:pos x="connsiteX2581" y="connsiteY2581"/>
                </a:cxn>
                <a:cxn ang="0">
                  <a:pos x="connsiteX2582" y="connsiteY2582"/>
                </a:cxn>
                <a:cxn ang="0">
                  <a:pos x="connsiteX2583" y="connsiteY2583"/>
                </a:cxn>
                <a:cxn ang="0">
                  <a:pos x="connsiteX2584" y="connsiteY2584"/>
                </a:cxn>
                <a:cxn ang="0">
                  <a:pos x="connsiteX2585" y="connsiteY2585"/>
                </a:cxn>
                <a:cxn ang="0">
                  <a:pos x="connsiteX2586" y="connsiteY2586"/>
                </a:cxn>
                <a:cxn ang="0">
                  <a:pos x="connsiteX2587" y="connsiteY2587"/>
                </a:cxn>
                <a:cxn ang="0">
                  <a:pos x="connsiteX2588" y="connsiteY2588"/>
                </a:cxn>
                <a:cxn ang="0">
                  <a:pos x="connsiteX2589" y="connsiteY2589"/>
                </a:cxn>
                <a:cxn ang="0">
                  <a:pos x="connsiteX2590" y="connsiteY2590"/>
                </a:cxn>
                <a:cxn ang="0">
                  <a:pos x="connsiteX2591" y="connsiteY2591"/>
                </a:cxn>
                <a:cxn ang="0">
                  <a:pos x="connsiteX2592" y="connsiteY2592"/>
                </a:cxn>
                <a:cxn ang="0">
                  <a:pos x="connsiteX2593" y="connsiteY2593"/>
                </a:cxn>
                <a:cxn ang="0">
                  <a:pos x="connsiteX2594" y="connsiteY2594"/>
                </a:cxn>
                <a:cxn ang="0">
                  <a:pos x="connsiteX2595" y="connsiteY2595"/>
                </a:cxn>
                <a:cxn ang="0">
                  <a:pos x="connsiteX2596" y="connsiteY2596"/>
                </a:cxn>
                <a:cxn ang="0">
                  <a:pos x="connsiteX2597" y="connsiteY2597"/>
                </a:cxn>
                <a:cxn ang="0">
                  <a:pos x="connsiteX2598" y="connsiteY2598"/>
                </a:cxn>
                <a:cxn ang="0">
                  <a:pos x="connsiteX2599" y="connsiteY2599"/>
                </a:cxn>
                <a:cxn ang="0">
                  <a:pos x="connsiteX2600" y="connsiteY2600"/>
                </a:cxn>
                <a:cxn ang="0">
                  <a:pos x="connsiteX2601" y="connsiteY2601"/>
                </a:cxn>
                <a:cxn ang="0">
                  <a:pos x="connsiteX2602" y="connsiteY2602"/>
                </a:cxn>
                <a:cxn ang="0">
                  <a:pos x="connsiteX2603" y="connsiteY2603"/>
                </a:cxn>
                <a:cxn ang="0">
                  <a:pos x="connsiteX2604" y="connsiteY2604"/>
                </a:cxn>
                <a:cxn ang="0">
                  <a:pos x="connsiteX2605" y="connsiteY2605"/>
                </a:cxn>
                <a:cxn ang="0">
                  <a:pos x="connsiteX2606" y="connsiteY2606"/>
                </a:cxn>
                <a:cxn ang="0">
                  <a:pos x="connsiteX2607" y="connsiteY2607"/>
                </a:cxn>
                <a:cxn ang="0">
                  <a:pos x="connsiteX2608" y="connsiteY2608"/>
                </a:cxn>
                <a:cxn ang="0">
                  <a:pos x="connsiteX2609" y="connsiteY2609"/>
                </a:cxn>
                <a:cxn ang="0">
                  <a:pos x="connsiteX2610" y="connsiteY2610"/>
                </a:cxn>
                <a:cxn ang="0">
                  <a:pos x="connsiteX2611" y="connsiteY2611"/>
                </a:cxn>
                <a:cxn ang="0">
                  <a:pos x="connsiteX2612" y="connsiteY2612"/>
                </a:cxn>
                <a:cxn ang="0">
                  <a:pos x="connsiteX2613" y="connsiteY2613"/>
                </a:cxn>
                <a:cxn ang="0">
                  <a:pos x="connsiteX2614" y="connsiteY2614"/>
                </a:cxn>
                <a:cxn ang="0">
                  <a:pos x="connsiteX2615" y="connsiteY2615"/>
                </a:cxn>
                <a:cxn ang="0">
                  <a:pos x="connsiteX2616" y="connsiteY2616"/>
                </a:cxn>
                <a:cxn ang="0">
                  <a:pos x="connsiteX2617" y="connsiteY2617"/>
                </a:cxn>
                <a:cxn ang="0">
                  <a:pos x="connsiteX2618" y="connsiteY2618"/>
                </a:cxn>
                <a:cxn ang="0">
                  <a:pos x="connsiteX2619" y="connsiteY2619"/>
                </a:cxn>
                <a:cxn ang="0">
                  <a:pos x="connsiteX2620" y="connsiteY2620"/>
                </a:cxn>
                <a:cxn ang="0">
                  <a:pos x="connsiteX2621" y="connsiteY2621"/>
                </a:cxn>
                <a:cxn ang="0">
                  <a:pos x="connsiteX2622" y="connsiteY2622"/>
                </a:cxn>
                <a:cxn ang="0">
                  <a:pos x="connsiteX2623" y="connsiteY2623"/>
                </a:cxn>
                <a:cxn ang="0">
                  <a:pos x="connsiteX2624" y="connsiteY2624"/>
                </a:cxn>
                <a:cxn ang="0">
                  <a:pos x="connsiteX2625" y="connsiteY2625"/>
                </a:cxn>
                <a:cxn ang="0">
                  <a:pos x="connsiteX2626" y="connsiteY2626"/>
                </a:cxn>
                <a:cxn ang="0">
                  <a:pos x="connsiteX2627" y="connsiteY2627"/>
                </a:cxn>
                <a:cxn ang="0">
                  <a:pos x="connsiteX2628" y="connsiteY2628"/>
                </a:cxn>
                <a:cxn ang="0">
                  <a:pos x="connsiteX2629" y="connsiteY2629"/>
                </a:cxn>
                <a:cxn ang="0">
                  <a:pos x="connsiteX2630" y="connsiteY2630"/>
                </a:cxn>
                <a:cxn ang="0">
                  <a:pos x="connsiteX2631" y="connsiteY2631"/>
                </a:cxn>
                <a:cxn ang="0">
                  <a:pos x="connsiteX2632" y="connsiteY2632"/>
                </a:cxn>
                <a:cxn ang="0">
                  <a:pos x="connsiteX2633" y="connsiteY2633"/>
                </a:cxn>
                <a:cxn ang="0">
                  <a:pos x="connsiteX2634" y="connsiteY2634"/>
                </a:cxn>
                <a:cxn ang="0">
                  <a:pos x="connsiteX2635" y="connsiteY2635"/>
                </a:cxn>
                <a:cxn ang="0">
                  <a:pos x="connsiteX2636" y="connsiteY2636"/>
                </a:cxn>
                <a:cxn ang="0">
                  <a:pos x="connsiteX2637" y="connsiteY2637"/>
                </a:cxn>
                <a:cxn ang="0">
                  <a:pos x="connsiteX2638" y="connsiteY2638"/>
                </a:cxn>
                <a:cxn ang="0">
                  <a:pos x="connsiteX2639" y="connsiteY2639"/>
                </a:cxn>
                <a:cxn ang="0">
                  <a:pos x="connsiteX2640" y="connsiteY2640"/>
                </a:cxn>
                <a:cxn ang="0">
                  <a:pos x="connsiteX2641" y="connsiteY2641"/>
                </a:cxn>
                <a:cxn ang="0">
                  <a:pos x="connsiteX2642" y="connsiteY2642"/>
                </a:cxn>
                <a:cxn ang="0">
                  <a:pos x="connsiteX2643" y="connsiteY2643"/>
                </a:cxn>
                <a:cxn ang="0">
                  <a:pos x="connsiteX2644" y="connsiteY2644"/>
                </a:cxn>
                <a:cxn ang="0">
                  <a:pos x="connsiteX2645" y="connsiteY2645"/>
                </a:cxn>
                <a:cxn ang="0">
                  <a:pos x="connsiteX2646" y="connsiteY2646"/>
                </a:cxn>
                <a:cxn ang="0">
                  <a:pos x="connsiteX2647" y="connsiteY2647"/>
                </a:cxn>
                <a:cxn ang="0">
                  <a:pos x="connsiteX2648" y="connsiteY2648"/>
                </a:cxn>
                <a:cxn ang="0">
                  <a:pos x="connsiteX2649" y="connsiteY2649"/>
                </a:cxn>
                <a:cxn ang="0">
                  <a:pos x="connsiteX2650" y="connsiteY2650"/>
                </a:cxn>
                <a:cxn ang="0">
                  <a:pos x="connsiteX2651" y="connsiteY2651"/>
                </a:cxn>
                <a:cxn ang="0">
                  <a:pos x="connsiteX2652" y="connsiteY2652"/>
                </a:cxn>
                <a:cxn ang="0">
                  <a:pos x="connsiteX2653" y="connsiteY2653"/>
                </a:cxn>
                <a:cxn ang="0">
                  <a:pos x="connsiteX2654" y="connsiteY2654"/>
                </a:cxn>
                <a:cxn ang="0">
                  <a:pos x="connsiteX2655" y="connsiteY2655"/>
                </a:cxn>
                <a:cxn ang="0">
                  <a:pos x="connsiteX2656" y="connsiteY2656"/>
                </a:cxn>
                <a:cxn ang="0">
                  <a:pos x="connsiteX2657" y="connsiteY2657"/>
                </a:cxn>
                <a:cxn ang="0">
                  <a:pos x="connsiteX2658" y="connsiteY2658"/>
                </a:cxn>
                <a:cxn ang="0">
                  <a:pos x="connsiteX2659" y="connsiteY2659"/>
                </a:cxn>
                <a:cxn ang="0">
                  <a:pos x="connsiteX2660" y="connsiteY2660"/>
                </a:cxn>
                <a:cxn ang="0">
                  <a:pos x="connsiteX2661" y="connsiteY2661"/>
                </a:cxn>
                <a:cxn ang="0">
                  <a:pos x="connsiteX2662" y="connsiteY2662"/>
                </a:cxn>
                <a:cxn ang="0">
                  <a:pos x="connsiteX2663" y="connsiteY2663"/>
                </a:cxn>
                <a:cxn ang="0">
                  <a:pos x="connsiteX2664" y="connsiteY2664"/>
                </a:cxn>
                <a:cxn ang="0">
                  <a:pos x="connsiteX2665" y="connsiteY2665"/>
                </a:cxn>
                <a:cxn ang="0">
                  <a:pos x="connsiteX2666" y="connsiteY2666"/>
                </a:cxn>
                <a:cxn ang="0">
                  <a:pos x="connsiteX2667" y="connsiteY2667"/>
                </a:cxn>
                <a:cxn ang="0">
                  <a:pos x="connsiteX2668" y="connsiteY2668"/>
                </a:cxn>
                <a:cxn ang="0">
                  <a:pos x="connsiteX2669" y="connsiteY2669"/>
                </a:cxn>
                <a:cxn ang="0">
                  <a:pos x="connsiteX2670" y="connsiteY2670"/>
                </a:cxn>
                <a:cxn ang="0">
                  <a:pos x="connsiteX2671" y="connsiteY2671"/>
                </a:cxn>
                <a:cxn ang="0">
                  <a:pos x="connsiteX2672" y="connsiteY2672"/>
                </a:cxn>
                <a:cxn ang="0">
                  <a:pos x="connsiteX2673" y="connsiteY2673"/>
                </a:cxn>
                <a:cxn ang="0">
                  <a:pos x="connsiteX2674" y="connsiteY2674"/>
                </a:cxn>
                <a:cxn ang="0">
                  <a:pos x="connsiteX2675" y="connsiteY2675"/>
                </a:cxn>
                <a:cxn ang="0">
                  <a:pos x="connsiteX2676" y="connsiteY2676"/>
                </a:cxn>
                <a:cxn ang="0">
                  <a:pos x="connsiteX2677" y="connsiteY2677"/>
                </a:cxn>
                <a:cxn ang="0">
                  <a:pos x="connsiteX2678" y="connsiteY2678"/>
                </a:cxn>
                <a:cxn ang="0">
                  <a:pos x="connsiteX2679" y="connsiteY2679"/>
                </a:cxn>
                <a:cxn ang="0">
                  <a:pos x="connsiteX2680" y="connsiteY2680"/>
                </a:cxn>
                <a:cxn ang="0">
                  <a:pos x="connsiteX2681" y="connsiteY2681"/>
                </a:cxn>
                <a:cxn ang="0">
                  <a:pos x="connsiteX2682" y="connsiteY2682"/>
                </a:cxn>
                <a:cxn ang="0">
                  <a:pos x="connsiteX2683" y="connsiteY2683"/>
                </a:cxn>
                <a:cxn ang="0">
                  <a:pos x="connsiteX2684" y="connsiteY2684"/>
                </a:cxn>
                <a:cxn ang="0">
                  <a:pos x="connsiteX2685" y="connsiteY2685"/>
                </a:cxn>
                <a:cxn ang="0">
                  <a:pos x="connsiteX2686" y="connsiteY2686"/>
                </a:cxn>
                <a:cxn ang="0">
                  <a:pos x="connsiteX2687" y="connsiteY2687"/>
                </a:cxn>
                <a:cxn ang="0">
                  <a:pos x="connsiteX2688" y="connsiteY2688"/>
                </a:cxn>
                <a:cxn ang="0">
                  <a:pos x="connsiteX2689" y="connsiteY2689"/>
                </a:cxn>
                <a:cxn ang="0">
                  <a:pos x="connsiteX2690" y="connsiteY2690"/>
                </a:cxn>
                <a:cxn ang="0">
                  <a:pos x="connsiteX2691" y="connsiteY2691"/>
                </a:cxn>
                <a:cxn ang="0">
                  <a:pos x="connsiteX2692" y="connsiteY2692"/>
                </a:cxn>
                <a:cxn ang="0">
                  <a:pos x="connsiteX2693" y="connsiteY2693"/>
                </a:cxn>
                <a:cxn ang="0">
                  <a:pos x="connsiteX2694" y="connsiteY2694"/>
                </a:cxn>
                <a:cxn ang="0">
                  <a:pos x="connsiteX2695" y="connsiteY2695"/>
                </a:cxn>
                <a:cxn ang="0">
                  <a:pos x="connsiteX2696" y="connsiteY2696"/>
                </a:cxn>
                <a:cxn ang="0">
                  <a:pos x="connsiteX2697" y="connsiteY2697"/>
                </a:cxn>
                <a:cxn ang="0">
                  <a:pos x="connsiteX2698" y="connsiteY2698"/>
                </a:cxn>
                <a:cxn ang="0">
                  <a:pos x="connsiteX2699" y="connsiteY2699"/>
                </a:cxn>
                <a:cxn ang="0">
                  <a:pos x="connsiteX2700" y="connsiteY2700"/>
                </a:cxn>
                <a:cxn ang="0">
                  <a:pos x="connsiteX2701" y="connsiteY2701"/>
                </a:cxn>
                <a:cxn ang="0">
                  <a:pos x="connsiteX2702" y="connsiteY2702"/>
                </a:cxn>
                <a:cxn ang="0">
                  <a:pos x="connsiteX2703" y="connsiteY2703"/>
                </a:cxn>
                <a:cxn ang="0">
                  <a:pos x="connsiteX2704" y="connsiteY2704"/>
                </a:cxn>
                <a:cxn ang="0">
                  <a:pos x="connsiteX2705" y="connsiteY2705"/>
                </a:cxn>
                <a:cxn ang="0">
                  <a:pos x="connsiteX2706" y="connsiteY2706"/>
                </a:cxn>
                <a:cxn ang="0">
                  <a:pos x="connsiteX2707" y="connsiteY2707"/>
                </a:cxn>
                <a:cxn ang="0">
                  <a:pos x="connsiteX2708" y="connsiteY2708"/>
                </a:cxn>
                <a:cxn ang="0">
                  <a:pos x="connsiteX2709" y="connsiteY2709"/>
                </a:cxn>
                <a:cxn ang="0">
                  <a:pos x="connsiteX2710" y="connsiteY2710"/>
                </a:cxn>
                <a:cxn ang="0">
                  <a:pos x="connsiteX2711" y="connsiteY2711"/>
                </a:cxn>
                <a:cxn ang="0">
                  <a:pos x="connsiteX2712" y="connsiteY2712"/>
                </a:cxn>
                <a:cxn ang="0">
                  <a:pos x="connsiteX2713" y="connsiteY2713"/>
                </a:cxn>
                <a:cxn ang="0">
                  <a:pos x="connsiteX2714" y="connsiteY2714"/>
                </a:cxn>
                <a:cxn ang="0">
                  <a:pos x="connsiteX2715" y="connsiteY2715"/>
                </a:cxn>
                <a:cxn ang="0">
                  <a:pos x="connsiteX2716" y="connsiteY2716"/>
                </a:cxn>
                <a:cxn ang="0">
                  <a:pos x="connsiteX2717" y="connsiteY2717"/>
                </a:cxn>
                <a:cxn ang="0">
                  <a:pos x="connsiteX2718" y="connsiteY2718"/>
                </a:cxn>
                <a:cxn ang="0">
                  <a:pos x="connsiteX2719" y="connsiteY2719"/>
                </a:cxn>
                <a:cxn ang="0">
                  <a:pos x="connsiteX2720" y="connsiteY2720"/>
                </a:cxn>
                <a:cxn ang="0">
                  <a:pos x="connsiteX2721" y="connsiteY2721"/>
                </a:cxn>
                <a:cxn ang="0">
                  <a:pos x="connsiteX2722" y="connsiteY2722"/>
                </a:cxn>
                <a:cxn ang="0">
                  <a:pos x="connsiteX2723" y="connsiteY2723"/>
                </a:cxn>
                <a:cxn ang="0">
                  <a:pos x="connsiteX2724" y="connsiteY2724"/>
                </a:cxn>
                <a:cxn ang="0">
                  <a:pos x="connsiteX2725" y="connsiteY2725"/>
                </a:cxn>
                <a:cxn ang="0">
                  <a:pos x="connsiteX2726" y="connsiteY2726"/>
                </a:cxn>
                <a:cxn ang="0">
                  <a:pos x="connsiteX2727" y="connsiteY2727"/>
                </a:cxn>
                <a:cxn ang="0">
                  <a:pos x="connsiteX2728" y="connsiteY2728"/>
                </a:cxn>
                <a:cxn ang="0">
                  <a:pos x="connsiteX2729" y="connsiteY2729"/>
                </a:cxn>
                <a:cxn ang="0">
                  <a:pos x="connsiteX2730" y="connsiteY2730"/>
                </a:cxn>
                <a:cxn ang="0">
                  <a:pos x="connsiteX2731" y="connsiteY2731"/>
                </a:cxn>
                <a:cxn ang="0">
                  <a:pos x="connsiteX2732" y="connsiteY2732"/>
                </a:cxn>
                <a:cxn ang="0">
                  <a:pos x="connsiteX2733" y="connsiteY2733"/>
                </a:cxn>
                <a:cxn ang="0">
                  <a:pos x="connsiteX2734" y="connsiteY2734"/>
                </a:cxn>
                <a:cxn ang="0">
                  <a:pos x="connsiteX2735" y="connsiteY2735"/>
                </a:cxn>
                <a:cxn ang="0">
                  <a:pos x="connsiteX2736" y="connsiteY2736"/>
                </a:cxn>
                <a:cxn ang="0">
                  <a:pos x="connsiteX2737" y="connsiteY2737"/>
                </a:cxn>
                <a:cxn ang="0">
                  <a:pos x="connsiteX2738" y="connsiteY2738"/>
                </a:cxn>
                <a:cxn ang="0">
                  <a:pos x="connsiteX2739" y="connsiteY2739"/>
                </a:cxn>
                <a:cxn ang="0">
                  <a:pos x="connsiteX2740" y="connsiteY2740"/>
                </a:cxn>
                <a:cxn ang="0">
                  <a:pos x="connsiteX2741" y="connsiteY2741"/>
                </a:cxn>
                <a:cxn ang="0">
                  <a:pos x="connsiteX2742" y="connsiteY2742"/>
                </a:cxn>
                <a:cxn ang="0">
                  <a:pos x="connsiteX2743" y="connsiteY2743"/>
                </a:cxn>
                <a:cxn ang="0">
                  <a:pos x="connsiteX2744" y="connsiteY2744"/>
                </a:cxn>
                <a:cxn ang="0">
                  <a:pos x="connsiteX2745" y="connsiteY2745"/>
                </a:cxn>
                <a:cxn ang="0">
                  <a:pos x="connsiteX2746" y="connsiteY2746"/>
                </a:cxn>
                <a:cxn ang="0">
                  <a:pos x="connsiteX2747" y="connsiteY2747"/>
                </a:cxn>
                <a:cxn ang="0">
                  <a:pos x="connsiteX2748" y="connsiteY2748"/>
                </a:cxn>
                <a:cxn ang="0">
                  <a:pos x="connsiteX2749" y="connsiteY2749"/>
                </a:cxn>
                <a:cxn ang="0">
                  <a:pos x="connsiteX2750" y="connsiteY2750"/>
                </a:cxn>
                <a:cxn ang="0">
                  <a:pos x="connsiteX2751" y="connsiteY2751"/>
                </a:cxn>
                <a:cxn ang="0">
                  <a:pos x="connsiteX2752" y="connsiteY2752"/>
                </a:cxn>
                <a:cxn ang="0">
                  <a:pos x="connsiteX2753" y="connsiteY2753"/>
                </a:cxn>
                <a:cxn ang="0">
                  <a:pos x="connsiteX2754" y="connsiteY2754"/>
                </a:cxn>
                <a:cxn ang="0">
                  <a:pos x="connsiteX2755" y="connsiteY2755"/>
                </a:cxn>
                <a:cxn ang="0">
                  <a:pos x="connsiteX2756" y="connsiteY2756"/>
                </a:cxn>
                <a:cxn ang="0">
                  <a:pos x="connsiteX2757" y="connsiteY2757"/>
                </a:cxn>
                <a:cxn ang="0">
                  <a:pos x="connsiteX2758" y="connsiteY2758"/>
                </a:cxn>
                <a:cxn ang="0">
                  <a:pos x="connsiteX2759" y="connsiteY2759"/>
                </a:cxn>
                <a:cxn ang="0">
                  <a:pos x="connsiteX2760" y="connsiteY2760"/>
                </a:cxn>
                <a:cxn ang="0">
                  <a:pos x="connsiteX2761" y="connsiteY2761"/>
                </a:cxn>
                <a:cxn ang="0">
                  <a:pos x="connsiteX2762" y="connsiteY2762"/>
                </a:cxn>
                <a:cxn ang="0">
                  <a:pos x="connsiteX2763" y="connsiteY2763"/>
                </a:cxn>
                <a:cxn ang="0">
                  <a:pos x="connsiteX2764" y="connsiteY2764"/>
                </a:cxn>
                <a:cxn ang="0">
                  <a:pos x="connsiteX2765" y="connsiteY2765"/>
                </a:cxn>
                <a:cxn ang="0">
                  <a:pos x="connsiteX2766" y="connsiteY2766"/>
                </a:cxn>
                <a:cxn ang="0">
                  <a:pos x="connsiteX2767" y="connsiteY2767"/>
                </a:cxn>
                <a:cxn ang="0">
                  <a:pos x="connsiteX2768" y="connsiteY2768"/>
                </a:cxn>
                <a:cxn ang="0">
                  <a:pos x="connsiteX2769" y="connsiteY2769"/>
                </a:cxn>
                <a:cxn ang="0">
                  <a:pos x="connsiteX2770" y="connsiteY2770"/>
                </a:cxn>
                <a:cxn ang="0">
                  <a:pos x="connsiteX2771" y="connsiteY2771"/>
                </a:cxn>
                <a:cxn ang="0">
                  <a:pos x="connsiteX2772" y="connsiteY2772"/>
                </a:cxn>
                <a:cxn ang="0">
                  <a:pos x="connsiteX2773" y="connsiteY2773"/>
                </a:cxn>
                <a:cxn ang="0">
                  <a:pos x="connsiteX2774" y="connsiteY2774"/>
                </a:cxn>
                <a:cxn ang="0">
                  <a:pos x="connsiteX2775" y="connsiteY2775"/>
                </a:cxn>
                <a:cxn ang="0">
                  <a:pos x="connsiteX2776" y="connsiteY2776"/>
                </a:cxn>
                <a:cxn ang="0">
                  <a:pos x="connsiteX2777" y="connsiteY2777"/>
                </a:cxn>
                <a:cxn ang="0">
                  <a:pos x="connsiteX2778" y="connsiteY2778"/>
                </a:cxn>
                <a:cxn ang="0">
                  <a:pos x="connsiteX2779" y="connsiteY2779"/>
                </a:cxn>
                <a:cxn ang="0">
                  <a:pos x="connsiteX2780" y="connsiteY2780"/>
                </a:cxn>
                <a:cxn ang="0">
                  <a:pos x="connsiteX2781" y="connsiteY2781"/>
                </a:cxn>
                <a:cxn ang="0">
                  <a:pos x="connsiteX2782" y="connsiteY2782"/>
                </a:cxn>
                <a:cxn ang="0">
                  <a:pos x="connsiteX2783" y="connsiteY2783"/>
                </a:cxn>
                <a:cxn ang="0">
                  <a:pos x="connsiteX2784" y="connsiteY2784"/>
                </a:cxn>
                <a:cxn ang="0">
                  <a:pos x="connsiteX2785" y="connsiteY2785"/>
                </a:cxn>
                <a:cxn ang="0">
                  <a:pos x="connsiteX2786" y="connsiteY2786"/>
                </a:cxn>
                <a:cxn ang="0">
                  <a:pos x="connsiteX2787" y="connsiteY2787"/>
                </a:cxn>
                <a:cxn ang="0">
                  <a:pos x="connsiteX2788" y="connsiteY2788"/>
                </a:cxn>
                <a:cxn ang="0">
                  <a:pos x="connsiteX2789" y="connsiteY2789"/>
                </a:cxn>
                <a:cxn ang="0">
                  <a:pos x="connsiteX2790" y="connsiteY2790"/>
                </a:cxn>
                <a:cxn ang="0">
                  <a:pos x="connsiteX2791" y="connsiteY2791"/>
                </a:cxn>
                <a:cxn ang="0">
                  <a:pos x="connsiteX2792" y="connsiteY2792"/>
                </a:cxn>
                <a:cxn ang="0">
                  <a:pos x="connsiteX2793" y="connsiteY2793"/>
                </a:cxn>
                <a:cxn ang="0">
                  <a:pos x="connsiteX2794" y="connsiteY2794"/>
                </a:cxn>
                <a:cxn ang="0">
                  <a:pos x="connsiteX2795" y="connsiteY2795"/>
                </a:cxn>
                <a:cxn ang="0">
                  <a:pos x="connsiteX2796" y="connsiteY2796"/>
                </a:cxn>
                <a:cxn ang="0">
                  <a:pos x="connsiteX2797" y="connsiteY2797"/>
                </a:cxn>
                <a:cxn ang="0">
                  <a:pos x="connsiteX2798" y="connsiteY2798"/>
                </a:cxn>
                <a:cxn ang="0">
                  <a:pos x="connsiteX2799" y="connsiteY2799"/>
                </a:cxn>
                <a:cxn ang="0">
                  <a:pos x="connsiteX2800" y="connsiteY2800"/>
                </a:cxn>
                <a:cxn ang="0">
                  <a:pos x="connsiteX2801" y="connsiteY2801"/>
                </a:cxn>
                <a:cxn ang="0">
                  <a:pos x="connsiteX2802" y="connsiteY2802"/>
                </a:cxn>
                <a:cxn ang="0">
                  <a:pos x="connsiteX2803" y="connsiteY2803"/>
                </a:cxn>
                <a:cxn ang="0">
                  <a:pos x="connsiteX2804" y="connsiteY2804"/>
                </a:cxn>
                <a:cxn ang="0">
                  <a:pos x="connsiteX2805" y="connsiteY2805"/>
                </a:cxn>
                <a:cxn ang="0">
                  <a:pos x="connsiteX2806" y="connsiteY2806"/>
                </a:cxn>
                <a:cxn ang="0">
                  <a:pos x="connsiteX2807" y="connsiteY2807"/>
                </a:cxn>
                <a:cxn ang="0">
                  <a:pos x="connsiteX2808" y="connsiteY2808"/>
                </a:cxn>
                <a:cxn ang="0">
                  <a:pos x="connsiteX2809" y="connsiteY2809"/>
                </a:cxn>
                <a:cxn ang="0">
                  <a:pos x="connsiteX2810" y="connsiteY2810"/>
                </a:cxn>
                <a:cxn ang="0">
                  <a:pos x="connsiteX2811" y="connsiteY2811"/>
                </a:cxn>
                <a:cxn ang="0">
                  <a:pos x="connsiteX2812" y="connsiteY2812"/>
                </a:cxn>
                <a:cxn ang="0">
                  <a:pos x="connsiteX2813" y="connsiteY2813"/>
                </a:cxn>
                <a:cxn ang="0">
                  <a:pos x="connsiteX2814" y="connsiteY2814"/>
                </a:cxn>
                <a:cxn ang="0">
                  <a:pos x="connsiteX2815" y="connsiteY2815"/>
                </a:cxn>
                <a:cxn ang="0">
                  <a:pos x="connsiteX2816" y="connsiteY2816"/>
                </a:cxn>
                <a:cxn ang="0">
                  <a:pos x="connsiteX2817" y="connsiteY2817"/>
                </a:cxn>
                <a:cxn ang="0">
                  <a:pos x="connsiteX2818" y="connsiteY2818"/>
                </a:cxn>
                <a:cxn ang="0">
                  <a:pos x="connsiteX2819" y="connsiteY2819"/>
                </a:cxn>
                <a:cxn ang="0">
                  <a:pos x="connsiteX2820" y="connsiteY2820"/>
                </a:cxn>
                <a:cxn ang="0">
                  <a:pos x="connsiteX2821" y="connsiteY2821"/>
                </a:cxn>
                <a:cxn ang="0">
                  <a:pos x="connsiteX2822" y="connsiteY2822"/>
                </a:cxn>
                <a:cxn ang="0">
                  <a:pos x="connsiteX2823" y="connsiteY2823"/>
                </a:cxn>
                <a:cxn ang="0">
                  <a:pos x="connsiteX2824" y="connsiteY2824"/>
                </a:cxn>
                <a:cxn ang="0">
                  <a:pos x="connsiteX2825" y="connsiteY2825"/>
                </a:cxn>
                <a:cxn ang="0">
                  <a:pos x="connsiteX2826" y="connsiteY2826"/>
                </a:cxn>
                <a:cxn ang="0">
                  <a:pos x="connsiteX2827" y="connsiteY2827"/>
                </a:cxn>
                <a:cxn ang="0">
                  <a:pos x="connsiteX2828" y="connsiteY2828"/>
                </a:cxn>
                <a:cxn ang="0">
                  <a:pos x="connsiteX2829" y="connsiteY2829"/>
                </a:cxn>
                <a:cxn ang="0">
                  <a:pos x="connsiteX2830" y="connsiteY2830"/>
                </a:cxn>
                <a:cxn ang="0">
                  <a:pos x="connsiteX2831" y="connsiteY2831"/>
                </a:cxn>
                <a:cxn ang="0">
                  <a:pos x="connsiteX2832" y="connsiteY2832"/>
                </a:cxn>
                <a:cxn ang="0">
                  <a:pos x="connsiteX2833" y="connsiteY2833"/>
                </a:cxn>
                <a:cxn ang="0">
                  <a:pos x="connsiteX2834" y="connsiteY2834"/>
                </a:cxn>
                <a:cxn ang="0">
                  <a:pos x="connsiteX2835" y="connsiteY2835"/>
                </a:cxn>
                <a:cxn ang="0">
                  <a:pos x="connsiteX2836" y="connsiteY2836"/>
                </a:cxn>
                <a:cxn ang="0">
                  <a:pos x="connsiteX2837" y="connsiteY2837"/>
                </a:cxn>
                <a:cxn ang="0">
                  <a:pos x="connsiteX2838" y="connsiteY2838"/>
                </a:cxn>
                <a:cxn ang="0">
                  <a:pos x="connsiteX2839" y="connsiteY2839"/>
                </a:cxn>
                <a:cxn ang="0">
                  <a:pos x="connsiteX2840" y="connsiteY2840"/>
                </a:cxn>
                <a:cxn ang="0">
                  <a:pos x="connsiteX2841" y="connsiteY2841"/>
                </a:cxn>
                <a:cxn ang="0">
                  <a:pos x="connsiteX2842" y="connsiteY2842"/>
                </a:cxn>
                <a:cxn ang="0">
                  <a:pos x="connsiteX2843" y="connsiteY2843"/>
                </a:cxn>
                <a:cxn ang="0">
                  <a:pos x="connsiteX2844" y="connsiteY2844"/>
                </a:cxn>
                <a:cxn ang="0">
                  <a:pos x="connsiteX2845" y="connsiteY2845"/>
                </a:cxn>
                <a:cxn ang="0">
                  <a:pos x="connsiteX2846" y="connsiteY2846"/>
                </a:cxn>
                <a:cxn ang="0">
                  <a:pos x="connsiteX2847" y="connsiteY2847"/>
                </a:cxn>
                <a:cxn ang="0">
                  <a:pos x="connsiteX2848" y="connsiteY2848"/>
                </a:cxn>
                <a:cxn ang="0">
                  <a:pos x="connsiteX2849" y="connsiteY2849"/>
                </a:cxn>
                <a:cxn ang="0">
                  <a:pos x="connsiteX2850" y="connsiteY2850"/>
                </a:cxn>
                <a:cxn ang="0">
                  <a:pos x="connsiteX2851" y="connsiteY2851"/>
                </a:cxn>
                <a:cxn ang="0">
                  <a:pos x="connsiteX2852" y="connsiteY2852"/>
                </a:cxn>
                <a:cxn ang="0">
                  <a:pos x="connsiteX2853" y="connsiteY2853"/>
                </a:cxn>
                <a:cxn ang="0">
                  <a:pos x="connsiteX2854" y="connsiteY2854"/>
                </a:cxn>
                <a:cxn ang="0">
                  <a:pos x="connsiteX2855" y="connsiteY2855"/>
                </a:cxn>
                <a:cxn ang="0">
                  <a:pos x="connsiteX2856" y="connsiteY2856"/>
                </a:cxn>
                <a:cxn ang="0">
                  <a:pos x="connsiteX2857" y="connsiteY2857"/>
                </a:cxn>
                <a:cxn ang="0">
                  <a:pos x="connsiteX2858" y="connsiteY2858"/>
                </a:cxn>
                <a:cxn ang="0">
                  <a:pos x="connsiteX2859" y="connsiteY2859"/>
                </a:cxn>
                <a:cxn ang="0">
                  <a:pos x="connsiteX2860" y="connsiteY2860"/>
                </a:cxn>
                <a:cxn ang="0">
                  <a:pos x="connsiteX2861" y="connsiteY2861"/>
                </a:cxn>
                <a:cxn ang="0">
                  <a:pos x="connsiteX2862" y="connsiteY2862"/>
                </a:cxn>
                <a:cxn ang="0">
                  <a:pos x="connsiteX2863" y="connsiteY2863"/>
                </a:cxn>
                <a:cxn ang="0">
                  <a:pos x="connsiteX2864" y="connsiteY2864"/>
                </a:cxn>
                <a:cxn ang="0">
                  <a:pos x="connsiteX2865" y="connsiteY2865"/>
                </a:cxn>
                <a:cxn ang="0">
                  <a:pos x="connsiteX2866" y="connsiteY2866"/>
                </a:cxn>
                <a:cxn ang="0">
                  <a:pos x="connsiteX2867" y="connsiteY2867"/>
                </a:cxn>
                <a:cxn ang="0">
                  <a:pos x="connsiteX2868" y="connsiteY2868"/>
                </a:cxn>
                <a:cxn ang="0">
                  <a:pos x="connsiteX2869" y="connsiteY2869"/>
                </a:cxn>
                <a:cxn ang="0">
                  <a:pos x="connsiteX2870" y="connsiteY2870"/>
                </a:cxn>
                <a:cxn ang="0">
                  <a:pos x="connsiteX2871" y="connsiteY2871"/>
                </a:cxn>
                <a:cxn ang="0">
                  <a:pos x="connsiteX2872" y="connsiteY2872"/>
                </a:cxn>
                <a:cxn ang="0">
                  <a:pos x="connsiteX2873" y="connsiteY2873"/>
                </a:cxn>
                <a:cxn ang="0">
                  <a:pos x="connsiteX2874" y="connsiteY2874"/>
                </a:cxn>
                <a:cxn ang="0">
                  <a:pos x="connsiteX2875" y="connsiteY2875"/>
                </a:cxn>
                <a:cxn ang="0">
                  <a:pos x="connsiteX2876" y="connsiteY2876"/>
                </a:cxn>
                <a:cxn ang="0">
                  <a:pos x="connsiteX2877" y="connsiteY2877"/>
                </a:cxn>
                <a:cxn ang="0">
                  <a:pos x="connsiteX2878" y="connsiteY2878"/>
                </a:cxn>
                <a:cxn ang="0">
                  <a:pos x="connsiteX2879" y="connsiteY2879"/>
                </a:cxn>
                <a:cxn ang="0">
                  <a:pos x="connsiteX2880" y="connsiteY2880"/>
                </a:cxn>
                <a:cxn ang="0">
                  <a:pos x="connsiteX2881" y="connsiteY2881"/>
                </a:cxn>
                <a:cxn ang="0">
                  <a:pos x="connsiteX2882" y="connsiteY2882"/>
                </a:cxn>
                <a:cxn ang="0">
                  <a:pos x="connsiteX2883" y="connsiteY2883"/>
                </a:cxn>
                <a:cxn ang="0">
                  <a:pos x="connsiteX2884" y="connsiteY2884"/>
                </a:cxn>
                <a:cxn ang="0">
                  <a:pos x="connsiteX2885" y="connsiteY2885"/>
                </a:cxn>
                <a:cxn ang="0">
                  <a:pos x="connsiteX2886" y="connsiteY2886"/>
                </a:cxn>
                <a:cxn ang="0">
                  <a:pos x="connsiteX2887" y="connsiteY2887"/>
                </a:cxn>
                <a:cxn ang="0">
                  <a:pos x="connsiteX2888" y="connsiteY2888"/>
                </a:cxn>
                <a:cxn ang="0">
                  <a:pos x="connsiteX2889" y="connsiteY2889"/>
                </a:cxn>
                <a:cxn ang="0">
                  <a:pos x="connsiteX2890" y="connsiteY2890"/>
                </a:cxn>
                <a:cxn ang="0">
                  <a:pos x="connsiteX2891" y="connsiteY2891"/>
                </a:cxn>
                <a:cxn ang="0">
                  <a:pos x="connsiteX2892" y="connsiteY2892"/>
                </a:cxn>
                <a:cxn ang="0">
                  <a:pos x="connsiteX2893" y="connsiteY2893"/>
                </a:cxn>
                <a:cxn ang="0">
                  <a:pos x="connsiteX2894" y="connsiteY2894"/>
                </a:cxn>
                <a:cxn ang="0">
                  <a:pos x="connsiteX2895" y="connsiteY2895"/>
                </a:cxn>
                <a:cxn ang="0">
                  <a:pos x="connsiteX2896" y="connsiteY2896"/>
                </a:cxn>
                <a:cxn ang="0">
                  <a:pos x="connsiteX2897" y="connsiteY2897"/>
                </a:cxn>
                <a:cxn ang="0">
                  <a:pos x="connsiteX2898" y="connsiteY2898"/>
                </a:cxn>
                <a:cxn ang="0">
                  <a:pos x="connsiteX2899" y="connsiteY2899"/>
                </a:cxn>
                <a:cxn ang="0">
                  <a:pos x="connsiteX2900" y="connsiteY2900"/>
                </a:cxn>
                <a:cxn ang="0">
                  <a:pos x="connsiteX2901" y="connsiteY2901"/>
                </a:cxn>
                <a:cxn ang="0">
                  <a:pos x="connsiteX2902" y="connsiteY2902"/>
                </a:cxn>
                <a:cxn ang="0">
                  <a:pos x="connsiteX2903" y="connsiteY2903"/>
                </a:cxn>
                <a:cxn ang="0">
                  <a:pos x="connsiteX2904" y="connsiteY2904"/>
                </a:cxn>
                <a:cxn ang="0">
                  <a:pos x="connsiteX2905" y="connsiteY2905"/>
                </a:cxn>
                <a:cxn ang="0">
                  <a:pos x="connsiteX2906" y="connsiteY2906"/>
                </a:cxn>
                <a:cxn ang="0">
                  <a:pos x="connsiteX2907" y="connsiteY2907"/>
                </a:cxn>
                <a:cxn ang="0">
                  <a:pos x="connsiteX2908" y="connsiteY2908"/>
                </a:cxn>
                <a:cxn ang="0">
                  <a:pos x="connsiteX2909" y="connsiteY2909"/>
                </a:cxn>
                <a:cxn ang="0">
                  <a:pos x="connsiteX2910" y="connsiteY2910"/>
                </a:cxn>
                <a:cxn ang="0">
                  <a:pos x="connsiteX2911" y="connsiteY2911"/>
                </a:cxn>
                <a:cxn ang="0">
                  <a:pos x="connsiteX2912" y="connsiteY2912"/>
                </a:cxn>
                <a:cxn ang="0">
                  <a:pos x="connsiteX2913" y="connsiteY2913"/>
                </a:cxn>
                <a:cxn ang="0">
                  <a:pos x="connsiteX2914" y="connsiteY2914"/>
                </a:cxn>
                <a:cxn ang="0">
                  <a:pos x="connsiteX2915" y="connsiteY2915"/>
                </a:cxn>
                <a:cxn ang="0">
                  <a:pos x="connsiteX2916" y="connsiteY2916"/>
                </a:cxn>
                <a:cxn ang="0">
                  <a:pos x="connsiteX2917" y="connsiteY2917"/>
                </a:cxn>
                <a:cxn ang="0">
                  <a:pos x="connsiteX2918" y="connsiteY2918"/>
                </a:cxn>
                <a:cxn ang="0">
                  <a:pos x="connsiteX2919" y="connsiteY2919"/>
                </a:cxn>
                <a:cxn ang="0">
                  <a:pos x="connsiteX2920" y="connsiteY2920"/>
                </a:cxn>
                <a:cxn ang="0">
                  <a:pos x="connsiteX2921" y="connsiteY2921"/>
                </a:cxn>
                <a:cxn ang="0">
                  <a:pos x="connsiteX2922" y="connsiteY2922"/>
                </a:cxn>
                <a:cxn ang="0">
                  <a:pos x="connsiteX2923" y="connsiteY2923"/>
                </a:cxn>
                <a:cxn ang="0">
                  <a:pos x="connsiteX2924" y="connsiteY2924"/>
                </a:cxn>
                <a:cxn ang="0">
                  <a:pos x="connsiteX2925" y="connsiteY2925"/>
                </a:cxn>
                <a:cxn ang="0">
                  <a:pos x="connsiteX2926" y="connsiteY2926"/>
                </a:cxn>
                <a:cxn ang="0">
                  <a:pos x="connsiteX2927" y="connsiteY2927"/>
                </a:cxn>
                <a:cxn ang="0">
                  <a:pos x="connsiteX2928" y="connsiteY2928"/>
                </a:cxn>
                <a:cxn ang="0">
                  <a:pos x="connsiteX2929" y="connsiteY2929"/>
                </a:cxn>
                <a:cxn ang="0">
                  <a:pos x="connsiteX2930" y="connsiteY2930"/>
                </a:cxn>
                <a:cxn ang="0">
                  <a:pos x="connsiteX2931" y="connsiteY2931"/>
                </a:cxn>
                <a:cxn ang="0">
                  <a:pos x="connsiteX2932" y="connsiteY2932"/>
                </a:cxn>
                <a:cxn ang="0">
                  <a:pos x="connsiteX2933" y="connsiteY2933"/>
                </a:cxn>
                <a:cxn ang="0">
                  <a:pos x="connsiteX2934" y="connsiteY2934"/>
                </a:cxn>
                <a:cxn ang="0">
                  <a:pos x="connsiteX2935" y="connsiteY2935"/>
                </a:cxn>
                <a:cxn ang="0">
                  <a:pos x="connsiteX2936" y="connsiteY2936"/>
                </a:cxn>
                <a:cxn ang="0">
                  <a:pos x="connsiteX2937" y="connsiteY2937"/>
                </a:cxn>
                <a:cxn ang="0">
                  <a:pos x="connsiteX2938" y="connsiteY2938"/>
                </a:cxn>
                <a:cxn ang="0">
                  <a:pos x="connsiteX2939" y="connsiteY2939"/>
                </a:cxn>
                <a:cxn ang="0">
                  <a:pos x="connsiteX2940" y="connsiteY2940"/>
                </a:cxn>
                <a:cxn ang="0">
                  <a:pos x="connsiteX2941" y="connsiteY2941"/>
                </a:cxn>
                <a:cxn ang="0">
                  <a:pos x="connsiteX2942" y="connsiteY2942"/>
                </a:cxn>
                <a:cxn ang="0">
                  <a:pos x="connsiteX2943" y="connsiteY2943"/>
                </a:cxn>
                <a:cxn ang="0">
                  <a:pos x="connsiteX2944" y="connsiteY2944"/>
                </a:cxn>
                <a:cxn ang="0">
                  <a:pos x="connsiteX2945" y="connsiteY2945"/>
                </a:cxn>
                <a:cxn ang="0">
                  <a:pos x="connsiteX2946" y="connsiteY2946"/>
                </a:cxn>
                <a:cxn ang="0">
                  <a:pos x="connsiteX2947" y="connsiteY2947"/>
                </a:cxn>
                <a:cxn ang="0">
                  <a:pos x="connsiteX2948" y="connsiteY2948"/>
                </a:cxn>
                <a:cxn ang="0">
                  <a:pos x="connsiteX2949" y="connsiteY2949"/>
                </a:cxn>
                <a:cxn ang="0">
                  <a:pos x="connsiteX2950" y="connsiteY2950"/>
                </a:cxn>
                <a:cxn ang="0">
                  <a:pos x="connsiteX2951" y="connsiteY2951"/>
                </a:cxn>
                <a:cxn ang="0">
                  <a:pos x="connsiteX2952" y="connsiteY2952"/>
                </a:cxn>
                <a:cxn ang="0">
                  <a:pos x="connsiteX2953" y="connsiteY2953"/>
                </a:cxn>
                <a:cxn ang="0">
                  <a:pos x="connsiteX2954" y="connsiteY2954"/>
                </a:cxn>
                <a:cxn ang="0">
                  <a:pos x="connsiteX2955" y="connsiteY2955"/>
                </a:cxn>
                <a:cxn ang="0">
                  <a:pos x="connsiteX2956" y="connsiteY2956"/>
                </a:cxn>
                <a:cxn ang="0">
                  <a:pos x="connsiteX2957" y="connsiteY2957"/>
                </a:cxn>
                <a:cxn ang="0">
                  <a:pos x="connsiteX2958" y="connsiteY2958"/>
                </a:cxn>
                <a:cxn ang="0">
                  <a:pos x="connsiteX2959" y="connsiteY2959"/>
                </a:cxn>
                <a:cxn ang="0">
                  <a:pos x="connsiteX2960" y="connsiteY2960"/>
                </a:cxn>
                <a:cxn ang="0">
                  <a:pos x="connsiteX2961" y="connsiteY2961"/>
                </a:cxn>
                <a:cxn ang="0">
                  <a:pos x="connsiteX2962" y="connsiteY2962"/>
                </a:cxn>
                <a:cxn ang="0">
                  <a:pos x="connsiteX2963" y="connsiteY2963"/>
                </a:cxn>
                <a:cxn ang="0">
                  <a:pos x="connsiteX2964" y="connsiteY2964"/>
                </a:cxn>
                <a:cxn ang="0">
                  <a:pos x="connsiteX2965" y="connsiteY2965"/>
                </a:cxn>
                <a:cxn ang="0">
                  <a:pos x="connsiteX2966" y="connsiteY2966"/>
                </a:cxn>
                <a:cxn ang="0">
                  <a:pos x="connsiteX2967" y="connsiteY2967"/>
                </a:cxn>
                <a:cxn ang="0">
                  <a:pos x="connsiteX2968" y="connsiteY2968"/>
                </a:cxn>
                <a:cxn ang="0">
                  <a:pos x="connsiteX2969" y="connsiteY2969"/>
                </a:cxn>
                <a:cxn ang="0">
                  <a:pos x="connsiteX2970" y="connsiteY2970"/>
                </a:cxn>
                <a:cxn ang="0">
                  <a:pos x="connsiteX2971" y="connsiteY2971"/>
                </a:cxn>
                <a:cxn ang="0">
                  <a:pos x="connsiteX2972" y="connsiteY2972"/>
                </a:cxn>
                <a:cxn ang="0">
                  <a:pos x="connsiteX2973" y="connsiteY2973"/>
                </a:cxn>
                <a:cxn ang="0">
                  <a:pos x="connsiteX2974" y="connsiteY2974"/>
                </a:cxn>
                <a:cxn ang="0">
                  <a:pos x="connsiteX2975" y="connsiteY2975"/>
                </a:cxn>
                <a:cxn ang="0">
                  <a:pos x="connsiteX2976" y="connsiteY2976"/>
                </a:cxn>
                <a:cxn ang="0">
                  <a:pos x="connsiteX2977" y="connsiteY2977"/>
                </a:cxn>
                <a:cxn ang="0">
                  <a:pos x="connsiteX2978" y="connsiteY2978"/>
                </a:cxn>
                <a:cxn ang="0">
                  <a:pos x="connsiteX2979" y="connsiteY2979"/>
                </a:cxn>
                <a:cxn ang="0">
                  <a:pos x="connsiteX2980" y="connsiteY2980"/>
                </a:cxn>
                <a:cxn ang="0">
                  <a:pos x="connsiteX2981" y="connsiteY2981"/>
                </a:cxn>
                <a:cxn ang="0">
                  <a:pos x="connsiteX2982" y="connsiteY2982"/>
                </a:cxn>
                <a:cxn ang="0">
                  <a:pos x="connsiteX2983" y="connsiteY2983"/>
                </a:cxn>
                <a:cxn ang="0">
                  <a:pos x="connsiteX2984" y="connsiteY2984"/>
                </a:cxn>
                <a:cxn ang="0">
                  <a:pos x="connsiteX2985" y="connsiteY2985"/>
                </a:cxn>
                <a:cxn ang="0">
                  <a:pos x="connsiteX2986" y="connsiteY2986"/>
                </a:cxn>
                <a:cxn ang="0">
                  <a:pos x="connsiteX2987" y="connsiteY2987"/>
                </a:cxn>
                <a:cxn ang="0">
                  <a:pos x="connsiteX2988" y="connsiteY2988"/>
                </a:cxn>
                <a:cxn ang="0">
                  <a:pos x="connsiteX2989" y="connsiteY2989"/>
                </a:cxn>
                <a:cxn ang="0">
                  <a:pos x="connsiteX2990" y="connsiteY2990"/>
                </a:cxn>
                <a:cxn ang="0">
                  <a:pos x="connsiteX2991" y="connsiteY2991"/>
                </a:cxn>
                <a:cxn ang="0">
                  <a:pos x="connsiteX2992" y="connsiteY2992"/>
                </a:cxn>
                <a:cxn ang="0">
                  <a:pos x="connsiteX2993" y="connsiteY2993"/>
                </a:cxn>
                <a:cxn ang="0">
                  <a:pos x="connsiteX2994" y="connsiteY2994"/>
                </a:cxn>
                <a:cxn ang="0">
                  <a:pos x="connsiteX2995" y="connsiteY2995"/>
                </a:cxn>
                <a:cxn ang="0">
                  <a:pos x="connsiteX2996" y="connsiteY2996"/>
                </a:cxn>
                <a:cxn ang="0">
                  <a:pos x="connsiteX2997" y="connsiteY2997"/>
                </a:cxn>
                <a:cxn ang="0">
                  <a:pos x="connsiteX2998" y="connsiteY2998"/>
                </a:cxn>
                <a:cxn ang="0">
                  <a:pos x="connsiteX2999" y="connsiteY2999"/>
                </a:cxn>
                <a:cxn ang="0">
                  <a:pos x="connsiteX3000" y="connsiteY3000"/>
                </a:cxn>
                <a:cxn ang="0">
                  <a:pos x="connsiteX3001" y="connsiteY3001"/>
                </a:cxn>
                <a:cxn ang="0">
                  <a:pos x="connsiteX3002" y="connsiteY3002"/>
                </a:cxn>
                <a:cxn ang="0">
                  <a:pos x="connsiteX3003" y="connsiteY3003"/>
                </a:cxn>
                <a:cxn ang="0">
                  <a:pos x="connsiteX3004" y="connsiteY3004"/>
                </a:cxn>
                <a:cxn ang="0">
                  <a:pos x="connsiteX3005" y="connsiteY3005"/>
                </a:cxn>
                <a:cxn ang="0">
                  <a:pos x="connsiteX3006" y="connsiteY3006"/>
                </a:cxn>
                <a:cxn ang="0">
                  <a:pos x="connsiteX3007" y="connsiteY3007"/>
                </a:cxn>
                <a:cxn ang="0">
                  <a:pos x="connsiteX3008" y="connsiteY3008"/>
                </a:cxn>
                <a:cxn ang="0">
                  <a:pos x="connsiteX3009" y="connsiteY3009"/>
                </a:cxn>
                <a:cxn ang="0">
                  <a:pos x="connsiteX3010" y="connsiteY3010"/>
                </a:cxn>
                <a:cxn ang="0">
                  <a:pos x="connsiteX3011" y="connsiteY3011"/>
                </a:cxn>
                <a:cxn ang="0">
                  <a:pos x="connsiteX3012" y="connsiteY3012"/>
                </a:cxn>
                <a:cxn ang="0">
                  <a:pos x="connsiteX3013" y="connsiteY3013"/>
                </a:cxn>
                <a:cxn ang="0">
                  <a:pos x="connsiteX3014" y="connsiteY3014"/>
                </a:cxn>
                <a:cxn ang="0">
                  <a:pos x="connsiteX3015" y="connsiteY3015"/>
                </a:cxn>
                <a:cxn ang="0">
                  <a:pos x="connsiteX3016" y="connsiteY3016"/>
                </a:cxn>
                <a:cxn ang="0">
                  <a:pos x="connsiteX3017" y="connsiteY3017"/>
                </a:cxn>
                <a:cxn ang="0">
                  <a:pos x="connsiteX3018" y="connsiteY3018"/>
                </a:cxn>
                <a:cxn ang="0">
                  <a:pos x="connsiteX3019" y="connsiteY3019"/>
                </a:cxn>
                <a:cxn ang="0">
                  <a:pos x="connsiteX3020" y="connsiteY3020"/>
                </a:cxn>
                <a:cxn ang="0">
                  <a:pos x="connsiteX3021" y="connsiteY3021"/>
                </a:cxn>
                <a:cxn ang="0">
                  <a:pos x="connsiteX3022" y="connsiteY3022"/>
                </a:cxn>
                <a:cxn ang="0">
                  <a:pos x="connsiteX3023" y="connsiteY3023"/>
                </a:cxn>
                <a:cxn ang="0">
                  <a:pos x="connsiteX3024" y="connsiteY3024"/>
                </a:cxn>
                <a:cxn ang="0">
                  <a:pos x="connsiteX3025" y="connsiteY3025"/>
                </a:cxn>
                <a:cxn ang="0">
                  <a:pos x="connsiteX3026" y="connsiteY3026"/>
                </a:cxn>
                <a:cxn ang="0">
                  <a:pos x="connsiteX3027" y="connsiteY3027"/>
                </a:cxn>
                <a:cxn ang="0">
                  <a:pos x="connsiteX3028" y="connsiteY3028"/>
                </a:cxn>
                <a:cxn ang="0">
                  <a:pos x="connsiteX3029" y="connsiteY3029"/>
                </a:cxn>
                <a:cxn ang="0">
                  <a:pos x="connsiteX3030" y="connsiteY3030"/>
                </a:cxn>
                <a:cxn ang="0">
                  <a:pos x="connsiteX3031" y="connsiteY3031"/>
                </a:cxn>
                <a:cxn ang="0">
                  <a:pos x="connsiteX3032" y="connsiteY3032"/>
                </a:cxn>
                <a:cxn ang="0">
                  <a:pos x="connsiteX3033" y="connsiteY3033"/>
                </a:cxn>
                <a:cxn ang="0">
                  <a:pos x="connsiteX3034" y="connsiteY3034"/>
                </a:cxn>
                <a:cxn ang="0">
                  <a:pos x="connsiteX3035" y="connsiteY3035"/>
                </a:cxn>
                <a:cxn ang="0">
                  <a:pos x="connsiteX3036" y="connsiteY3036"/>
                </a:cxn>
                <a:cxn ang="0">
                  <a:pos x="connsiteX3037" y="connsiteY3037"/>
                </a:cxn>
                <a:cxn ang="0">
                  <a:pos x="connsiteX3038" y="connsiteY3038"/>
                </a:cxn>
                <a:cxn ang="0">
                  <a:pos x="connsiteX3039" y="connsiteY3039"/>
                </a:cxn>
                <a:cxn ang="0">
                  <a:pos x="connsiteX3040" y="connsiteY3040"/>
                </a:cxn>
                <a:cxn ang="0">
                  <a:pos x="connsiteX3041" y="connsiteY3041"/>
                </a:cxn>
                <a:cxn ang="0">
                  <a:pos x="connsiteX3042" y="connsiteY3042"/>
                </a:cxn>
                <a:cxn ang="0">
                  <a:pos x="connsiteX3043" y="connsiteY3043"/>
                </a:cxn>
                <a:cxn ang="0">
                  <a:pos x="connsiteX3044" y="connsiteY3044"/>
                </a:cxn>
                <a:cxn ang="0">
                  <a:pos x="connsiteX3045" y="connsiteY3045"/>
                </a:cxn>
                <a:cxn ang="0">
                  <a:pos x="connsiteX3046" y="connsiteY3046"/>
                </a:cxn>
                <a:cxn ang="0">
                  <a:pos x="connsiteX3047" y="connsiteY3047"/>
                </a:cxn>
                <a:cxn ang="0">
                  <a:pos x="connsiteX3048" y="connsiteY3048"/>
                </a:cxn>
                <a:cxn ang="0">
                  <a:pos x="connsiteX3049" y="connsiteY3049"/>
                </a:cxn>
                <a:cxn ang="0">
                  <a:pos x="connsiteX3050" y="connsiteY3050"/>
                </a:cxn>
                <a:cxn ang="0">
                  <a:pos x="connsiteX3051" y="connsiteY3051"/>
                </a:cxn>
                <a:cxn ang="0">
                  <a:pos x="connsiteX3052" y="connsiteY3052"/>
                </a:cxn>
                <a:cxn ang="0">
                  <a:pos x="connsiteX3053" y="connsiteY3053"/>
                </a:cxn>
                <a:cxn ang="0">
                  <a:pos x="connsiteX3054" y="connsiteY3054"/>
                </a:cxn>
                <a:cxn ang="0">
                  <a:pos x="connsiteX3055" y="connsiteY3055"/>
                </a:cxn>
                <a:cxn ang="0">
                  <a:pos x="connsiteX3056" y="connsiteY3056"/>
                </a:cxn>
                <a:cxn ang="0">
                  <a:pos x="connsiteX3057" y="connsiteY3057"/>
                </a:cxn>
                <a:cxn ang="0">
                  <a:pos x="connsiteX3058" y="connsiteY3058"/>
                </a:cxn>
                <a:cxn ang="0">
                  <a:pos x="connsiteX3059" y="connsiteY3059"/>
                </a:cxn>
                <a:cxn ang="0">
                  <a:pos x="connsiteX3060" y="connsiteY3060"/>
                </a:cxn>
                <a:cxn ang="0">
                  <a:pos x="connsiteX3061" y="connsiteY3061"/>
                </a:cxn>
                <a:cxn ang="0">
                  <a:pos x="connsiteX3062" y="connsiteY3062"/>
                </a:cxn>
                <a:cxn ang="0">
                  <a:pos x="connsiteX3063" y="connsiteY3063"/>
                </a:cxn>
                <a:cxn ang="0">
                  <a:pos x="connsiteX3064" y="connsiteY3064"/>
                </a:cxn>
                <a:cxn ang="0">
                  <a:pos x="connsiteX3065" y="connsiteY3065"/>
                </a:cxn>
                <a:cxn ang="0">
                  <a:pos x="connsiteX3066" y="connsiteY3066"/>
                </a:cxn>
                <a:cxn ang="0">
                  <a:pos x="connsiteX3067" y="connsiteY3067"/>
                </a:cxn>
                <a:cxn ang="0">
                  <a:pos x="connsiteX3068" y="connsiteY3068"/>
                </a:cxn>
                <a:cxn ang="0">
                  <a:pos x="connsiteX3069" y="connsiteY3069"/>
                </a:cxn>
                <a:cxn ang="0">
                  <a:pos x="connsiteX3070" y="connsiteY3070"/>
                </a:cxn>
                <a:cxn ang="0">
                  <a:pos x="connsiteX3071" y="connsiteY3071"/>
                </a:cxn>
                <a:cxn ang="0">
                  <a:pos x="connsiteX3072" y="connsiteY3072"/>
                </a:cxn>
                <a:cxn ang="0">
                  <a:pos x="connsiteX3073" y="connsiteY3073"/>
                </a:cxn>
                <a:cxn ang="0">
                  <a:pos x="connsiteX3074" y="connsiteY3074"/>
                </a:cxn>
                <a:cxn ang="0">
                  <a:pos x="connsiteX3075" y="connsiteY3075"/>
                </a:cxn>
                <a:cxn ang="0">
                  <a:pos x="connsiteX3076" y="connsiteY3076"/>
                </a:cxn>
                <a:cxn ang="0">
                  <a:pos x="connsiteX3077" y="connsiteY3077"/>
                </a:cxn>
                <a:cxn ang="0">
                  <a:pos x="connsiteX3078" y="connsiteY3078"/>
                </a:cxn>
                <a:cxn ang="0">
                  <a:pos x="connsiteX3079" y="connsiteY3079"/>
                </a:cxn>
                <a:cxn ang="0">
                  <a:pos x="connsiteX3080" y="connsiteY3080"/>
                </a:cxn>
                <a:cxn ang="0">
                  <a:pos x="connsiteX3081" y="connsiteY3081"/>
                </a:cxn>
                <a:cxn ang="0">
                  <a:pos x="connsiteX3082" y="connsiteY3082"/>
                </a:cxn>
                <a:cxn ang="0">
                  <a:pos x="connsiteX3083" y="connsiteY3083"/>
                </a:cxn>
                <a:cxn ang="0">
                  <a:pos x="connsiteX3084" y="connsiteY3084"/>
                </a:cxn>
                <a:cxn ang="0">
                  <a:pos x="connsiteX3085" y="connsiteY3085"/>
                </a:cxn>
                <a:cxn ang="0">
                  <a:pos x="connsiteX3086" y="connsiteY3086"/>
                </a:cxn>
                <a:cxn ang="0">
                  <a:pos x="connsiteX3087" y="connsiteY3087"/>
                </a:cxn>
                <a:cxn ang="0">
                  <a:pos x="connsiteX3088" y="connsiteY3088"/>
                </a:cxn>
                <a:cxn ang="0">
                  <a:pos x="connsiteX3089" y="connsiteY3089"/>
                </a:cxn>
                <a:cxn ang="0">
                  <a:pos x="connsiteX3090" y="connsiteY3090"/>
                </a:cxn>
                <a:cxn ang="0">
                  <a:pos x="connsiteX3091" y="connsiteY3091"/>
                </a:cxn>
                <a:cxn ang="0">
                  <a:pos x="connsiteX3092" y="connsiteY3092"/>
                </a:cxn>
                <a:cxn ang="0">
                  <a:pos x="connsiteX3093" y="connsiteY3093"/>
                </a:cxn>
                <a:cxn ang="0">
                  <a:pos x="connsiteX3094" y="connsiteY3094"/>
                </a:cxn>
                <a:cxn ang="0">
                  <a:pos x="connsiteX3095" y="connsiteY3095"/>
                </a:cxn>
                <a:cxn ang="0">
                  <a:pos x="connsiteX3096" y="connsiteY3096"/>
                </a:cxn>
                <a:cxn ang="0">
                  <a:pos x="connsiteX3097" y="connsiteY3097"/>
                </a:cxn>
                <a:cxn ang="0">
                  <a:pos x="connsiteX3098" y="connsiteY3098"/>
                </a:cxn>
                <a:cxn ang="0">
                  <a:pos x="connsiteX3099" y="connsiteY3099"/>
                </a:cxn>
                <a:cxn ang="0">
                  <a:pos x="connsiteX3100" y="connsiteY3100"/>
                </a:cxn>
                <a:cxn ang="0">
                  <a:pos x="connsiteX3101" y="connsiteY3101"/>
                </a:cxn>
                <a:cxn ang="0">
                  <a:pos x="connsiteX3102" y="connsiteY3102"/>
                </a:cxn>
                <a:cxn ang="0">
                  <a:pos x="connsiteX3103" y="connsiteY3103"/>
                </a:cxn>
                <a:cxn ang="0">
                  <a:pos x="connsiteX3104" y="connsiteY3104"/>
                </a:cxn>
                <a:cxn ang="0">
                  <a:pos x="connsiteX3105" y="connsiteY3105"/>
                </a:cxn>
                <a:cxn ang="0">
                  <a:pos x="connsiteX3106" y="connsiteY3106"/>
                </a:cxn>
                <a:cxn ang="0">
                  <a:pos x="connsiteX3107" y="connsiteY3107"/>
                </a:cxn>
                <a:cxn ang="0">
                  <a:pos x="connsiteX3108" y="connsiteY3108"/>
                </a:cxn>
                <a:cxn ang="0">
                  <a:pos x="connsiteX3109" y="connsiteY3109"/>
                </a:cxn>
                <a:cxn ang="0">
                  <a:pos x="connsiteX3110" y="connsiteY3110"/>
                </a:cxn>
                <a:cxn ang="0">
                  <a:pos x="connsiteX3111" y="connsiteY3111"/>
                </a:cxn>
                <a:cxn ang="0">
                  <a:pos x="connsiteX3112" y="connsiteY3112"/>
                </a:cxn>
                <a:cxn ang="0">
                  <a:pos x="connsiteX3113" y="connsiteY3113"/>
                </a:cxn>
                <a:cxn ang="0">
                  <a:pos x="connsiteX3114" y="connsiteY3114"/>
                </a:cxn>
                <a:cxn ang="0">
                  <a:pos x="connsiteX3115" y="connsiteY3115"/>
                </a:cxn>
                <a:cxn ang="0">
                  <a:pos x="connsiteX3116" y="connsiteY3116"/>
                </a:cxn>
                <a:cxn ang="0">
                  <a:pos x="connsiteX3117" y="connsiteY3117"/>
                </a:cxn>
                <a:cxn ang="0">
                  <a:pos x="connsiteX3118" y="connsiteY3118"/>
                </a:cxn>
                <a:cxn ang="0">
                  <a:pos x="connsiteX3119" y="connsiteY3119"/>
                </a:cxn>
                <a:cxn ang="0">
                  <a:pos x="connsiteX3120" y="connsiteY3120"/>
                </a:cxn>
                <a:cxn ang="0">
                  <a:pos x="connsiteX3121" y="connsiteY3121"/>
                </a:cxn>
                <a:cxn ang="0">
                  <a:pos x="connsiteX3122" y="connsiteY3122"/>
                </a:cxn>
                <a:cxn ang="0">
                  <a:pos x="connsiteX3123" y="connsiteY3123"/>
                </a:cxn>
                <a:cxn ang="0">
                  <a:pos x="connsiteX3124" y="connsiteY3124"/>
                </a:cxn>
                <a:cxn ang="0">
                  <a:pos x="connsiteX3125" y="connsiteY3125"/>
                </a:cxn>
                <a:cxn ang="0">
                  <a:pos x="connsiteX3126" y="connsiteY3126"/>
                </a:cxn>
                <a:cxn ang="0">
                  <a:pos x="connsiteX3127" y="connsiteY3127"/>
                </a:cxn>
                <a:cxn ang="0">
                  <a:pos x="connsiteX3128" y="connsiteY3128"/>
                </a:cxn>
                <a:cxn ang="0">
                  <a:pos x="connsiteX3129" y="connsiteY3129"/>
                </a:cxn>
                <a:cxn ang="0">
                  <a:pos x="connsiteX3130" y="connsiteY3130"/>
                </a:cxn>
                <a:cxn ang="0">
                  <a:pos x="connsiteX3131" y="connsiteY3131"/>
                </a:cxn>
                <a:cxn ang="0">
                  <a:pos x="connsiteX3132" y="connsiteY3132"/>
                </a:cxn>
                <a:cxn ang="0">
                  <a:pos x="connsiteX3133" y="connsiteY3133"/>
                </a:cxn>
                <a:cxn ang="0">
                  <a:pos x="connsiteX3134" y="connsiteY3134"/>
                </a:cxn>
                <a:cxn ang="0">
                  <a:pos x="connsiteX3135" y="connsiteY3135"/>
                </a:cxn>
                <a:cxn ang="0">
                  <a:pos x="connsiteX3136" y="connsiteY3136"/>
                </a:cxn>
                <a:cxn ang="0">
                  <a:pos x="connsiteX3137" y="connsiteY3137"/>
                </a:cxn>
                <a:cxn ang="0">
                  <a:pos x="connsiteX3138" y="connsiteY3138"/>
                </a:cxn>
                <a:cxn ang="0">
                  <a:pos x="connsiteX3139" y="connsiteY3139"/>
                </a:cxn>
                <a:cxn ang="0">
                  <a:pos x="connsiteX3140" y="connsiteY3140"/>
                </a:cxn>
                <a:cxn ang="0">
                  <a:pos x="connsiteX3141" y="connsiteY3141"/>
                </a:cxn>
                <a:cxn ang="0">
                  <a:pos x="connsiteX3142" y="connsiteY3142"/>
                </a:cxn>
                <a:cxn ang="0">
                  <a:pos x="connsiteX3143" y="connsiteY3143"/>
                </a:cxn>
                <a:cxn ang="0">
                  <a:pos x="connsiteX3144" y="connsiteY3144"/>
                </a:cxn>
                <a:cxn ang="0">
                  <a:pos x="connsiteX3145" y="connsiteY3145"/>
                </a:cxn>
                <a:cxn ang="0">
                  <a:pos x="connsiteX3146" y="connsiteY3146"/>
                </a:cxn>
                <a:cxn ang="0">
                  <a:pos x="connsiteX3147" y="connsiteY3147"/>
                </a:cxn>
                <a:cxn ang="0">
                  <a:pos x="connsiteX3148" y="connsiteY3148"/>
                </a:cxn>
                <a:cxn ang="0">
                  <a:pos x="connsiteX3149" y="connsiteY3149"/>
                </a:cxn>
                <a:cxn ang="0">
                  <a:pos x="connsiteX3150" y="connsiteY3150"/>
                </a:cxn>
                <a:cxn ang="0">
                  <a:pos x="connsiteX3151" y="connsiteY3151"/>
                </a:cxn>
                <a:cxn ang="0">
                  <a:pos x="connsiteX3152" y="connsiteY3152"/>
                </a:cxn>
                <a:cxn ang="0">
                  <a:pos x="connsiteX3153" y="connsiteY3153"/>
                </a:cxn>
                <a:cxn ang="0">
                  <a:pos x="connsiteX3154" y="connsiteY3154"/>
                </a:cxn>
                <a:cxn ang="0">
                  <a:pos x="connsiteX3155" y="connsiteY3155"/>
                </a:cxn>
                <a:cxn ang="0">
                  <a:pos x="connsiteX3156" y="connsiteY3156"/>
                </a:cxn>
                <a:cxn ang="0">
                  <a:pos x="connsiteX3157" y="connsiteY3157"/>
                </a:cxn>
                <a:cxn ang="0">
                  <a:pos x="connsiteX3158" y="connsiteY3158"/>
                </a:cxn>
                <a:cxn ang="0">
                  <a:pos x="connsiteX3159" y="connsiteY3159"/>
                </a:cxn>
                <a:cxn ang="0">
                  <a:pos x="connsiteX3160" y="connsiteY3160"/>
                </a:cxn>
                <a:cxn ang="0">
                  <a:pos x="connsiteX3161" y="connsiteY3161"/>
                </a:cxn>
                <a:cxn ang="0">
                  <a:pos x="connsiteX3162" y="connsiteY3162"/>
                </a:cxn>
                <a:cxn ang="0">
                  <a:pos x="connsiteX3163" y="connsiteY3163"/>
                </a:cxn>
                <a:cxn ang="0">
                  <a:pos x="connsiteX3164" y="connsiteY3164"/>
                </a:cxn>
                <a:cxn ang="0">
                  <a:pos x="connsiteX3165" y="connsiteY3165"/>
                </a:cxn>
                <a:cxn ang="0">
                  <a:pos x="connsiteX3166" y="connsiteY3166"/>
                </a:cxn>
                <a:cxn ang="0">
                  <a:pos x="connsiteX3167" y="connsiteY3167"/>
                </a:cxn>
                <a:cxn ang="0">
                  <a:pos x="connsiteX3168" y="connsiteY3168"/>
                </a:cxn>
                <a:cxn ang="0">
                  <a:pos x="connsiteX3169" y="connsiteY3169"/>
                </a:cxn>
                <a:cxn ang="0">
                  <a:pos x="connsiteX3170" y="connsiteY3170"/>
                </a:cxn>
                <a:cxn ang="0">
                  <a:pos x="connsiteX3171" y="connsiteY3171"/>
                </a:cxn>
                <a:cxn ang="0">
                  <a:pos x="connsiteX3172" y="connsiteY3172"/>
                </a:cxn>
                <a:cxn ang="0">
                  <a:pos x="connsiteX3173" y="connsiteY3173"/>
                </a:cxn>
                <a:cxn ang="0">
                  <a:pos x="connsiteX3174" y="connsiteY3174"/>
                </a:cxn>
                <a:cxn ang="0">
                  <a:pos x="connsiteX3175" y="connsiteY3175"/>
                </a:cxn>
                <a:cxn ang="0">
                  <a:pos x="connsiteX3176" y="connsiteY3176"/>
                </a:cxn>
                <a:cxn ang="0">
                  <a:pos x="connsiteX3177" y="connsiteY3177"/>
                </a:cxn>
                <a:cxn ang="0">
                  <a:pos x="connsiteX3178" y="connsiteY3178"/>
                </a:cxn>
                <a:cxn ang="0">
                  <a:pos x="connsiteX3179" y="connsiteY3179"/>
                </a:cxn>
                <a:cxn ang="0">
                  <a:pos x="connsiteX3180" y="connsiteY3180"/>
                </a:cxn>
                <a:cxn ang="0">
                  <a:pos x="connsiteX3181" y="connsiteY3181"/>
                </a:cxn>
                <a:cxn ang="0">
                  <a:pos x="connsiteX3182" y="connsiteY3182"/>
                </a:cxn>
                <a:cxn ang="0">
                  <a:pos x="connsiteX3183" y="connsiteY3183"/>
                </a:cxn>
                <a:cxn ang="0">
                  <a:pos x="connsiteX3184" y="connsiteY3184"/>
                </a:cxn>
                <a:cxn ang="0">
                  <a:pos x="connsiteX3185" y="connsiteY3185"/>
                </a:cxn>
                <a:cxn ang="0">
                  <a:pos x="connsiteX3186" y="connsiteY3186"/>
                </a:cxn>
                <a:cxn ang="0">
                  <a:pos x="connsiteX3187" y="connsiteY3187"/>
                </a:cxn>
                <a:cxn ang="0">
                  <a:pos x="connsiteX3188" y="connsiteY3188"/>
                </a:cxn>
                <a:cxn ang="0">
                  <a:pos x="connsiteX3189" y="connsiteY3189"/>
                </a:cxn>
                <a:cxn ang="0">
                  <a:pos x="connsiteX3190" y="connsiteY3190"/>
                </a:cxn>
                <a:cxn ang="0">
                  <a:pos x="connsiteX3191" y="connsiteY3191"/>
                </a:cxn>
                <a:cxn ang="0">
                  <a:pos x="connsiteX3192" y="connsiteY3192"/>
                </a:cxn>
                <a:cxn ang="0">
                  <a:pos x="connsiteX3193" y="connsiteY3193"/>
                </a:cxn>
                <a:cxn ang="0">
                  <a:pos x="connsiteX3194" y="connsiteY3194"/>
                </a:cxn>
                <a:cxn ang="0">
                  <a:pos x="connsiteX3195" y="connsiteY3195"/>
                </a:cxn>
                <a:cxn ang="0">
                  <a:pos x="connsiteX3196" y="connsiteY3196"/>
                </a:cxn>
                <a:cxn ang="0">
                  <a:pos x="connsiteX3197" y="connsiteY3197"/>
                </a:cxn>
                <a:cxn ang="0">
                  <a:pos x="connsiteX3198" y="connsiteY3198"/>
                </a:cxn>
                <a:cxn ang="0">
                  <a:pos x="connsiteX3199" y="connsiteY3199"/>
                </a:cxn>
                <a:cxn ang="0">
                  <a:pos x="connsiteX3200" y="connsiteY3200"/>
                </a:cxn>
                <a:cxn ang="0">
                  <a:pos x="connsiteX3201" y="connsiteY3201"/>
                </a:cxn>
                <a:cxn ang="0">
                  <a:pos x="connsiteX3202" y="connsiteY3202"/>
                </a:cxn>
                <a:cxn ang="0">
                  <a:pos x="connsiteX3203" y="connsiteY3203"/>
                </a:cxn>
                <a:cxn ang="0">
                  <a:pos x="connsiteX3204" y="connsiteY3204"/>
                </a:cxn>
                <a:cxn ang="0">
                  <a:pos x="connsiteX3205" y="connsiteY3205"/>
                </a:cxn>
                <a:cxn ang="0">
                  <a:pos x="connsiteX3206" y="connsiteY3206"/>
                </a:cxn>
                <a:cxn ang="0">
                  <a:pos x="connsiteX3207" y="connsiteY3207"/>
                </a:cxn>
                <a:cxn ang="0">
                  <a:pos x="connsiteX3208" y="connsiteY3208"/>
                </a:cxn>
                <a:cxn ang="0">
                  <a:pos x="connsiteX3209" y="connsiteY3209"/>
                </a:cxn>
                <a:cxn ang="0">
                  <a:pos x="connsiteX3210" y="connsiteY3210"/>
                </a:cxn>
                <a:cxn ang="0">
                  <a:pos x="connsiteX3211" y="connsiteY3211"/>
                </a:cxn>
                <a:cxn ang="0">
                  <a:pos x="connsiteX3212" y="connsiteY3212"/>
                </a:cxn>
                <a:cxn ang="0">
                  <a:pos x="connsiteX3213" y="connsiteY3213"/>
                </a:cxn>
                <a:cxn ang="0">
                  <a:pos x="connsiteX3214" y="connsiteY3214"/>
                </a:cxn>
                <a:cxn ang="0">
                  <a:pos x="connsiteX3215" y="connsiteY3215"/>
                </a:cxn>
                <a:cxn ang="0">
                  <a:pos x="connsiteX3216" y="connsiteY3216"/>
                </a:cxn>
                <a:cxn ang="0">
                  <a:pos x="connsiteX3217" y="connsiteY3217"/>
                </a:cxn>
                <a:cxn ang="0">
                  <a:pos x="connsiteX3218" y="connsiteY3218"/>
                </a:cxn>
                <a:cxn ang="0">
                  <a:pos x="connsiteX3219" y="connsiteY3219"/>
                </a:cxn>
                <a:cxn ang="0">
                  <a:pos x="connsiteX3220" y="connsiteY3220"/>
                </a:cxn>
                <a:cxn ang="0">
                  <a:pos x="connsiteX3221" y="connsiteY3221"/>
                </a:cxn>
                <a:cxn ang="0">
                  <a:pos x="connsiteX3222" y="connsiteY3222"/>
                </a:cxn>
                <a:cxn ang="0">
                  <a:pos x="connsiteX3223" y="connsiteY3223"/>
                </a:cxn>
                <a:cxn ang="0">
                  <a:pos x="connsiteX3224" y="connsiteY3224"/>
                </a:cxn>
                <a:cxn ang="0">
                  <a:pos x="connsiteX3225" y="connsiteY3225"/>
                </a:cxn>
                <a:cxn ang="0">
                  <a:pos x="connsiteX3226" y="connsiteY3226"/>
                </a:cxn>
                <a:cxn ang="0">
                  <a:pos x="connsiteX3227" y="connsiteY3227"/>
                </a:cxn>
                <a:cxn ang="0">
                  <a:pos x="connsiteX3228" y="connsiteY3228"/>
                </a:cxn>
                <a:cxn ang="0">
                  <a:pos x="connsiteX3229" y="connsiteY3229"/>
                </a:cxn>
                <a:cxn ang="0">
                  <a:pos x="connsiteX3230" y="connsiteY3230"/>
                </a:cxn>
                <a:cxn ang="0">
                  <a:pos x="connsiteX3231" y="connsiteY3231"/>
                </a:cxn>
                <a:cxn ang="0">
                  <a:pos x="connsiteX3232" y="connsiteY3232"/>
                </a:cxn>
                <a:cxn ang="0">
                  <a:pos x="connsiteX3233" y="connsiteY3233"/>
                </a:cxn>
                <a:cxn ang="0">
                  <a:pos x="connsiteX3234" y="connsiteY3234"/>
                </a:cxn>
                <a:cxn ang="0">
                  <a:pos x="connsiteX3235" y="connsiteY3235"/>
                </a:cxn>
                <a:cxn ang="0">
                  <a:pos x="connsiteX3236" y="connsiteY3236"/>
                </a:cxn>
                <a:cxn ang="0">
                  <a:pos x="connsiteX3237" y="connsiteY3237"/>
                </a:cxn>
                <a:cxn ang="0">
                  <a:pos x="connsiteX3238" y="connsiteY3238"/>
                </a:cxn>
                <a:cxn ang="0">
                  <a:pos x="connsiteX3239" y="connsiteY3239"/>
                </a:cxn>
                <a:cxn ang="0">
                  <a:pos x="connsiteX3240" y="connsiteY3240"/>
                </a:cxn>
                <a:cxn ang="0">
                  <a:pos x="connsiteX3241" y="connsiteY3241"/>
                </a:cxn>
                <a:cxn ang="0">
                  <a:pos x="connsiteX3242" y="connsiteY3242"/>
                </a:cxn>
                <a:cxn ang="0">
                  <a:pos x="connsiteX3243" y="connsiteY3243"/>
                </a:cxn>
                <a:cxn ang="0">
                  <a:pos x="connsiteX3244" y="connsiteY3244"/>
                </a:cxn>
                <a:cxn ang="0">
                  <a:pos x="connsiteX3245" y="connsiteY3245"/>
                </a:cxn>
                <a:cxn ang="0">
                  <a:pos x="connsiteX3246" y="connsiteY3246"/>
                </a:cxn>
                <a:cxn ang="0">
                  <a:pos x="connsiteX3247" y="connsiteY3247"/>
                </a:cxn>
                <a:cxn ang="0">
                  <a:pos x="connsiteX3248" y="connsiteY3248"/>
                </a:cxn>
                <a:cxn ang="0">
                  <a:pos x="connsiteX3249" y="connsiteY3249"/>
                </a:cxn>
                <a:cxn ang="0">
                  <a:pos x="connsiteX3250" y="connsiteY3250"/>
                </a:cxn>
                <a:cxn ang="0">
                  <a:pos x="connsiteX3251" y="connsiteY3251"/>
                </a:cxn>
                <a:cxn ang="0">
                  <a:pos x="connsiteX3252" y="connsiteY3252"/>
                </a:cxn>
                <a:cxn ang="0">
                  <a:pos x="connsiteX3253" y="connsiteY3253"/>
                </a:cxn>
                <a:cxn ang="0">
                  <a:pos x="connsiteX3254" y="connsiteY3254"/>
                </a:cxn>
                <a:cxn ang="0">
                  <a:pos x="connsiteX3255" y="connsiteY3255"/>
                </a:cxn>
                <a:cxn ang="0">
                  <a:pos x="connsiteX3256" y="connsiteY3256"/>
                </a:cxn>
                <a:cxn ang="0">
                  <a:pos x="connsiteX3257" y="connsiteY3257"/>
                </a:cxn>
                <a:cxn ang="0">
                  <a:pos x="connsiteX3258" y="connsiteY3258"/>
                </a:cxn>
                <a:cxn ang="0">
                  <a:pos x="connsiteX3259" y="connsiteY3259"/>
                </a:cxn>
                <a:cxn ang="0">
                  <a:pos x="connsiteX3260" y="connsiteY3260"/>
                </a:cxn>
                <a:cxn ang="0">
                  <a:pos x="connsiteX3261" y="connsiteY3261"/>
                </a:cxn>
                <a:cxn ang="0">
                  <a:pos x="connsiteX3262" y="connsiteY3262"/>
                </a:cxn>
                <a:cxn ang="0">
                  <a:pos x="connsiteX3263" y="connsiteY3263"/>
                </a:cxn>
                <a:cxn ang="0">
                  <a:pos x="connsiteX3264" y="connsiteY3264"/>
                </a:cxn>
                <a:cxn ang="0">
                  <a:pos x="connsiteX3265" y="connsiteY3265"/>
                </a:cxn>
                <a:cxn ang="0">
                  <a:pos x="connsiteX3266" y="connsiteY3266"/>
                </a:cxn>
                <a:cxn ang="0">
                  <a:pos x="connsiteX3267" y="connsiteY3267"/>
                </a:cxn>
                <a:cxn ang="0">
                  <a:pos x="connsiteX3268" y="connsiteY3268"/>
                </a:cxn>
                <a:cxn ang="0">
                  <a:pos x="connsiteX3269" y="connsiteY3269"/>
                </a:cxn>
                <a:cxn ang="0">
                  <a:pos x="connsiteX3270" y="connsiteY3270"/>
                </a:cxn>
                <a:cxn ang="0">
                  <a:pos x="connsiteX3271" y="connsiteY3271"/>
                </a:cxn>
                <a:cxn ang="0">
                  <a:pos x="connsiteX3272" y="connsiteY3272"/>
                </a:cxn>
                <a:cxn ang="0">
                  <a:pos x="connsiteX3273" y="connsiteY3273"/>
                </a:cxn>
                <a:cxn ang="0">
                  <a:pos x="connsiteX3274" y="connsiteY3274"/>
                </a:cxn>
                <a:cxn ang="0">
                  <a:pos x="connsiteX3275" y="connsiteY3275"/>
                </a:cxn>
                <a:cxn ang="0">
                  <a:pos x="connsiteX3276" y="connsiteY3276"/>
                </a:cxn>
                <a:cxn ang="0">
                  <a:pos x="connsiteX3277" y="connsiteY3277"/>
                </a:cxn>
                <a:cxn ang="0">
                  <a:pos x="connsiteX3278" y="connsiteY3278"/>
                </a:cxn>
                <a:cxn ang="0">
                  <a:pos x="connsiteX3279" y="connsiteY3279"/>
                </a:cxn>
                <a:cxn ang="0">
                  <a:pos x="connsiteX3280" y="connsiteY3280"/>
                </a:cxn>
                <a:cxn ang="0">
                  <a:pos x="connsiteX3281" y="connsiteY3281"/>
                </a:cxn>
                <a:cxn ang="0">
                  <a:pos x="connsiteX3282" y="connsiteY3282"/>
                </a:cxn>
                <a:cxn ang="0">
                  <a:pos x="connsiteX3283" y="connsiteY3283"/>
                </a:cxn>
                <a:cxn ang="0">
                  <a:pos x="connsiteX3284" y="connsiteY3284"/>
                </a:cxn>
                <a:cxn ang="0">
                  <a:pos x="connsiteX3285" y="connsiteY3285"/>
                </a:cxn>
                <a:cxn ang="0">
                  <a:pos x="connsiteX3286" y="connsiteY3286"/>
                </a:cxn>
                <a:cxn ang="0">
                  <a:pos x="connsiteX3287" y="connsiteY3287"/>
                </a:cxn>
                <a:cxn ang="0">
                  <a:pos x="connsiteX3288" y="connsiteY3288"/>
                </a:cxn>
                <a:cxn ang="0">
                  <a:pos x="connsiteX3289" y="connsiteY3289"/>
                </a:cxn>
                <a:cxn ang="0">
                  <a:pos x="connsiteX3290" y="connsiteY3290"/>
                </a:cxn>
                <a:cxn ang="0">
                  <a:pos x="connsiteX3291" y="connsiteY3291"/>
                </a:cxn>
                <a:cxn ang="0">
                  <a:pos x="connsiteX3292" y="connsiteY3292"/>
                </a:cxn>
                <a:cxn ang="0">
                  <a:pos x="connsiteX3293" y="connsiteY3293"/>
                </a:cxn>
                <a:cxn ang="0">
                  <a:pos x="connsiteX3294" y="connsiteY3294"/>
                </a:cxn>
                <a:cxn ang="0">
                  <a:pos x="connsiteX3295" y="connsiteY3295"/>
                </a:cxn>
                <a:cxn ang="0">
                  <a:pos x="connsiteX3296" y="connsiteY3296"/>
                </a:cxn>
                <a:cxn ang="0">
                  <a:pos x="connsiteX3297" y="connsiteY3297"/>
                </a:cxn>
                <a:cxn ang="0">
                  <a:pos x="connsiteX3298" y="connsiteY3298"/>
                </a:cxn>
                <a:cxn ang="0">
                  <a:pos x="connsiteX3299" y="connsiteY3299"/>
                </a:cxn>
                <a:cxn ang="0">
                  <a:pos x="connsiteX3300" y="connsiteY3300"/>
                </a:cxn>
                <a:cxn ang="0">
                  <a:pos x="connsiteX3301" y="connsiteY3301"/>
                </a:cxn>
                <a:cxn ang="0">
                  <a:pos x="connsiteX3302" y="connsiteY3302"/>
                </a:cxn>
                <a:cxn ang="0">
                  <a:pos x="connsiteX3303" y="connsiteY3303"/>
                </a:cxn>
                <a:cxn ang="0">
                  <a:pos x="connsiteX3304" y="connsiteY3304"/>
                </a:cxn>
                <a:cxn ang="0">
                  <a:pos x="connsiteX3305" y="connsiteY3305"/>
                </a:cxn>
                <a:cxn ang="0">
                  <a:pos x="connsiteX3306" y="connsiteY3306"/>
                </a:cxn>
                <a:cxn ang="0">
                  <a:pos x="connsiteX3307" y="connsiteY3307"/>
                </a:cxn>
                <a:cxn ang="0">
                  <a:pos x="connsiteX3308" y="connsiteY3308"/>
                </a:cxn>
                <a:cxn ang="0">
                  <a:pos x="connsiteX3309" y="connsiteY3309"/>
                </a:cxn>
                <a:cxn ang="0">
                  <a:pos x="connsiteX3310" y="connsiteY3310"/>
                </a:cxn>
                <a:cxn ang="0">
                  <a:pos x="connsiteX3311" y="connsiteY3311"/>
                </a:cxn>
                <a:cxn ang="0">
                  <a:pos x="connsiteX3312" y="connsiteY3312"/>
                </a:cxn>
                <a:cxn ang="0">
                  <a:pos x="connsiteX3313" y="connsiteY3313"/>
                </a:cxn>
                <a:cxn ang="0">
                  <a:pos x="connsiteX3314" y="connsiteY3314"/>
                </a:cxn>
                <a:cxn ang="0">
                  <a:pos x="connsiteX3315" y="connsiteY3315"/>
                </a:cxn>
                <a:cxn ang="0">
                  <a:pos x="connsiteX3316" y="connsiteY3316"/>
                </a:cxn>
                <a:cxn ang="0">
                  <a:pos x="connsiteX3317" y="connsiteY3317"/>
                </a:cxn>
                <a:cxn ang="0">
                  <a:pos x="connsiteX3318" y="connsiteY3318"/>
                </a:cxn>
                <a:cxn ang="0">
                  <a:pos x="connsiteX3319" y="connsiteY3319"/>
                </a:cxn>
                <a:cxn ang="0">
                  <a:pos x="connsiteX3320" y="connsiteY3320"/>
                </a:cxn>
                <a:cxn ang="0">
                  <a:pos x="connsiteX3321" y="connsiteY3321"/>
                </a:cxn>
                <a:cxn ang="0">
                  <a:pos x="connsiteX3322" y="connsiteY3322"/>
                </a:cxn>
                <a:cxn ang="0">
                  <a:pos x="connsiteX3323" y="connsiteY3323"/>
                </a:cxn>
                <a:cxn ang="0">
                  <a:pos x="connsiteX3324" y="connsiteY3324"/>
                </a:cxn>
                <a:cxn ang="0">
                  <a:pos x="connsiteX3325" y="connsiteY3325"/>
                </a:cxn>
                <a:cxn ang="0">
                  <a:pos x="connsiteX3326" y="connsiteY3326"/>
                </a:cxn>
                <a:cxn ang="0">
                  <a:pos x="connsiteX3327" y="connsiteY3327"/>
                </a:cxn>
                <a:cxn ang="0">
                  <a:pos x="connsiteX3328" y="connsiteY3328"/>
                </a:cxn>
                <a:cxn ang="0">
                  <a:pos x="connsiteX3329" y="connsiteY3329"/>
                </a:cxn>
                <a:cxn ang="0">
                  <a:pos x="connsiteX3330" y="connsiteY3330"/>
                </a:cxn>
                <a:cxn ang="0">
                  <a:pos x="connsiteX3331" y="connsiteY3331"/>
                </a:cxn>
                <a:cxn ang="0">
                  <a:pos x="connsiteX3332" y="connsiteY3332"/>
                </a:cxn>
                <a:cxn ang="0">
                  <a:pos x="connsiteX3333" y="connsiteY3333"/>
                </a:cxn>
                <a:cxn ang="0">
                  <a:pos x="connsiteX3334" y="connsiteY3334"/>
                </a:cxn>
                <a:cxn ang="0">
                  <a:pos x="connsiteX3335" y="connsiteY3335"/>
                </a:cxn>
                <a:cxn ang="0">
                  <a:pos x="connsiteX3336" y="connsiteY3336"/>
                </a:cxn>
                <a:cxn ang="0">
                  <a:pos x="connsiteX3337" y="connsiteY3337"/>
                </a:cxn>
                <a:cxn ang="0">
                  <a:pos x="connsiteX3338" y="connsiteY3338"/>
                </a:cxn>
                <a:cxn ang="0">
                  <a:pos x="connsiteX3339" y="connsiteY3339"/>
                </a:cxn>
                <a:cxn ang="0">
                  <a:pos x="connsiteX3340" y="connsiteY3340"/>
                </a:cxn>
                <a:cxn ang="0">
                  <a:pos x="connsiteX3341" y="connsiteY3341"/>
                </a:cxn>
                <a:cxn ang="0">
                  <a:pos x="connsiteX3342" y="connsiteY3342"/>
                </a:cxn>
                <a:cxn ang="0">
                  <a:pos x="connsiteX3343" y="connsiteY3343"/>
                </a:cxn>
                <a:cxn ang="0">
                  <a:pos x="connsiteX3344" y="connsiteY3344"/>
                </a:cxn>
                <a:cxn ang="0">
                  <a:pos x="connsiteX3345" y="connsiteY3345"/>
                </a:cxn>
                <a:cxn ang="0">
                  <a:pos x="connsiteX3346" y="connsiteY3346"/>
                </a:cxn>
                <a:cxn ang="0">
                  <a:pos x="connsiteX3347" y="connsiteY3347"/>
                </a:cxn>
                <a:cxn ang="0">
                  <a:pos x="connsiteX3348" y="connsiteY3348"/>
                </a:cxn>
                <a:cxn ang="0">
                  <a:pos x="connsiteX3349" y="connsiteY3349"/>
                </a:cxn>
                <a:cxn ang="0">
                  <a:pos x="connsiteX3350" y="connsiteY3350"/>
                </a:cxn>
                <a:cxn ang="0">
                  <a:pos x="connsiteX3351" y="connsiteY3351"/>
                </a:cxn>
                <a:cxn ang="0">
                  <a:pos x="connsiteX3352" y="connsiteY3352"/>
                </a:cxn>
                <a:cxn ang="0">
                  <a:pos x="connsiteX3353" y="connsiteY3353"/>
                </a:cxn>
                <a:cxn ang="0">
                  <a:pos x="connsiteX3354" y="connsiteY3354"/>
                </a:cxn>
                <a:cxn ang="0">
                  <a:pos x="connsiteX3355" y="connsiteY3355"/>
                </a:cxn>
                <a:cxn ang="0">
                  <a:pos x="connsiteX3356" y="connsiteY3356"/>
                </a:cxn>
                <a:cxn ang="0">
                  <a:pos x="connsiteX3357" y="connsiteY3357"/>
                </a:cxn>
                <a:cxn ang="0">
                  <a:pos x="connsiteX3358" y="connsiteY3358"/>
                </a:cxn>
                <a:cxn ang="0">
                  <a:pos x="connsiteX3359" y="connsiteY3359"/>
                </a:cxn>
                <a:cxn ang="0">
                  <a:pos x="connsiteX3360" y="connsiteY3360"/>
                </a:cxn>
                <a:cxn ang="0">
                  <a:pos x="connsiteX3361" y="connsiteY3361"/>
                </a:cxn>
                <a:cxn ang="0">
                  <a:pos x="connsiteX3362" y="connsiteY3362"/>
                </a:cxn>
                <a:cxn ang="0">
                  <a:pos x="connsiteX3363" y="connsiteY3363"/>
                </a:cxn>
                <a:cxn ang="0">
                  <a:pos x="connsiteX3364" y="connsiteY3364"/>
                </a:cxn>
                <a:cxn ang="0">
                  <a:pos x="connsiteX3365" y="connsiteY3365"/>
                </a:cxn>
                <a:cxn ang="0">
                  <a:pos x="connsiteX3366" y="connsiteY3366"/>
                </a:cxn>
                <a:cxn ang="0">
                  <a:pos x="connsiteX3367" y="connsiteY3367"/>
                </a:cxn>
                <a:cxn ang="0">
                  <a:pos x="connsiteX3368" y="connsiteY3368"/>
                </a:cxn>
                <a:cxn ang="0">
                  <a:pos x="connsiteX3369" y="connsiteY3369"/>
                </a:cxn>
                <a:cxn ang="0">
                  <a:pos x="connsiteX3370" y="connsiteY3370"/>
                </a:cxn>
                <a:cxn ang="0">
                  <a:pos x="connsiteX3371" y="connsiteY3371"/>
                </a:cxn>
                <a:cxn ang="0">
                  <a:pos x="connsiteX3372" y="connsiteY3372"/>
                </a:cxn>
                <a:cxn ang="0">
                  <a:pos x="connsiteX3373" y="connsiteY3373"/>
                </a:cxn>
                <a:cxn ang="0">
                  <a:pos x="connsiteX3374" y="connsiteY3374"/>
                </a:cxn>
                <a:cxn ang="0">
                  <a:pos x="connsiteX3375" y="connsiteY3375"/>
                </a:cxn>
                <a:cxn ang="0">
                  <a:pos x="connsiteX3376" y="connsiteY3376"/>
                </a:cxn>
                <a:cxn ang="0">
                  <a:pos x="connsiteX3377" y="connsiteY3377"/>
                </a:cxn>
                <a:cxn ang="0">
                  <a:pos x="connsiteX3378" y="connsiteY3378"/>
                </a:cxn>
                <a:cxn ang="0">
                  <a:pos x="connsiteX3379" y="connsiteY3379"/>
                </a:cxn>
                <a:cxn ang="0">
                  <a:pos x="connsiteX3380" y="connsiteY3380"/>
                </a:cxn>
                <a:cxn ang="0">
                  <a:pos x="connsiteX3381" y="connsiteY3381"/>
                </a:cxn>
                <a:cxn ang="0">
                  <a:pos x="connsiteX3382" y="connsiteY3382"/>
                </a:cxn>
                <a:cxn ang="0">
                  <a:pos x="connsiteX3383" y="connsiteY3383"/>
                </a:cxn>
                <a:cxn ang="0">
                  <a:pos x="connsiteX3384" y="connsiteY3384"/>
                </a:cxn>
                <a:cxn ang="0">
                  <a:pos x="connsiteX3385" y="connsiteY3385"/>
                </a:cxn>
                <a:cxn ang="0">
                  <a:pos x="connsiteX3386" y="connsiteY3386"/>
                </a:cxn>
                <a:cxn ang="0">
                  <a:pos x="connsiteX3387" y="connsiteY3387"/>
                </a:cxn>
                <a:cxn ang="0">
                  <a:pos x="connsiteX3388" y="connsiteY3388"/>
                </a:cxn>
                <a:cxn ang="0">
                  <a:pos x="connsiteX3389" y="connsiteY3389"/>
                </a:cxn>
                <a:cxn ang="0">
                  <a:pos x="connsiteX3390" y="connsiteY3390"/>
                </a:cxn>
                <a:cxn ang="0">
                  <a:pos x="connsiteX3391" y="connsiteY3391"/>
                </a:cxn>
                <a:cxn ang="0">
                  <a:pos x="connsiteX3392" y="connsiteY3392"/>
                </a:cxn>
                <a:cxn ang="0">
                  <a:pos x="connsiteX3393" y="connsiteY3393"/>
                </a:cxn>
                <a:cxn ang="0">
                  <a:pos x="connsiteX3394" y="connsiteY3394"/>
                </a:cxn>
                <a:cxn ang="0">
                  <a:pos x="connsiteX3395" y="connsiteY3395"/>
                </a:cxn>
                <a:cxn ang="0">
                  <a:pos x="connsiteX3396" y="connsiteY3396"/>
                </a:cxn>
                <a:cxn ang="0">
                  <a:pos x="connsiteX3397" y="connsiteY3397"/>
                </a:cxn>
                <a:cxn ang="0">
                  <a:pos x="connsiteX3398" y="connsiteY3398"/>
                </a:cxn>
                <a:cxn ang="0">
                  <a:pos x="connsiteX3399" y="connsiteY3399"/>
                </a:cxn>
                <a:cxn ang="0">
                  <a:pos x="connsiteX3400" y="connsiteY3400"/>
                </a:cxn>
                <a:cxn ang="0">
                  <a:pos x="connsiteX3401" y="connsiteY3401"/>
                </a:cxn>
                <a:cxn ang="0">
                  <a:pos x="connsiteX3402" y="connsiteY3402"/>
                </a:cxn>
                <a:cxn ang="0">
                  <a:pos x="connsiteX3403" y="connsiteY3403"/>
                </a:cxn>
                <a:cxn ang="0">
                  <a:pos x="connsiteX3404" y="connsiteY3404"/>
                </a:cxn>
                <a:cxn ang="0">
                  <a:pos x="connsiteX3405" y="connsiteY3405"/>
                </a:cxn>
                <a:cxn ang="0">
                  <a:pos x="connsiteX3406" y="connsiteY3406"/>
                </a:cxn>
                <a:cxn ang="0">
                  <a:pos x="connsiteX3407" y="connsiteY3407"/>
                </a:cxn>
                <a:cxn ang="0">
                  <a:pos x="connsiteX3408" y="connsiteY3408"/>
                </a:cxn>
                <a:cxn ang="0">
                  <a:pos x="connsiteX3409" y="connsiteY3409"/>
                </a:cxn>
                <a:cxn ang="0">
                  <a:pos x="connsiteX3410" y="connsiteY3410"/>
                </a:cxn>
                <a:cxn ang="0">
                  <a:pos x="connsiteX3411" y="connsiteY3411"/>
                </a:cxn>
                <a:cxn ang="0">
                  <a:pos x="connsiteX3412" y="connsiteY3412"/>
                </a:cxn>
                <a:cxn ang="0">
                  <a:pos x="connsiteX3413" y="connsiteY3413"/>
                </a:cxn>
                <a:cxn ang="0">
                  <a:pos x="connsiteX3414" y="connsiteY3414"/>
                </a:cxn>
                <a:cxn ang="0">
                  <a:pos x="connsiteX3415" y="connsiteY3415"/>
                </a:cxn>
                <a:cxn ang="0">
                  <a:pos x="connsiteX3416" y="connsiteY3416"/>
                </a:cxn>
                <a:cxn ang="0">
                  <a:pos x="connsiteX3417" y="connsiteY3417"/>
                </a:cxn>
                <a:cxn ang="0">
                  <a:pos x="connsiteX3418" y="connsiteY3418"/>
                </a:cxn>
                <a:cxn ang="0">
                  <a:pos x="connsiteX3419" y="connsiteY3419"/>
                </a:cxn>
                <a:cxn ang="0">
                  <a:pos x="connsiteX3420" y="connsiteY3420"/>
                </a:cxn>
                <a:cxn ang="0">
                  <a:pos x="connsiteX3421" y="connsiteY3421"/>
                </a:cxn>
                <a:cxn ang="0">
                  <a:pos x="connsiteX3422" y="connsiteY3422"/>
                </a:cxn>
                <a:cxn ang="0">
                  <a:pos x="connsiteX3423" y="connsiteY3423"/>
                </a:cxn>
                <a:cxn ang="0">
                  <a:pos x="connsiteX3424" y="connsiteY3424"/>
                </a:cxn>
                <a:cxn ang="0">
                  <a:pos x="connsiteX3425" y="connsiteY3425"/>
                </a:cxn>
                <a:cxn ang="0">
                  <a:pos x="connsiteX3426" y="connsiteY3426"/>
                </a:cxn>
                <a:cxn ang="0">
                  <a:pos x="connsiteX3427" y="connsiteY3427"/>
                </a:cxn>
                <a:cxn ang="0">
                  <a:pos x="connsiteX3428" y="connsiteY3428"/>
                </a:cxn>
                <a:cxn ang="0">
                  <a:pos x="connsiteX3429" y="connsiteY3429"/>
                </a:cxn>
                <a:cxn ang="0">
                  <a:pos x="connsiteX3430" y="connsiteY3430"/>
                </a:cxn>
                <a:cxn ang="0">
                  <a:pos x="connsiteX3431" y="connsiteY3431"/>
                </a:cxn>
                <a:cxn ang="0">
                  <a:pos x="connsiteX3432" y="connsiteY3432"/>
                </a:cxn>
                <a:cxn ang="0">
                  <a:pos x="connsiteX3433" y="connsiteY3433"/>
                </a:cxn>
                <a:cxn ang="0">
                  <a:pos x="connsiteX3434" y="connsiteY3434"/>
                </a:cxn>
                <a:cxn ang="0">
                  <a:pos x="connsiteX3435" y="connsiteY3435"/>
                </a:cxn>
                <a:cxn ang="0">
                  <a:pos x="connsiteX3436" y="connsiteY3436"/>
                </a:cxn>
                <a:cxn ang="0">
                  <a:pos x="connsiteX3437" y="connsiteY3437"/>
                </a:cxn>
                <a:cxn ang="0">
                  <a:pos x="connsiteX3438" y="connsiteY3438"/>
                </a:cxn>
                <a:cxn ang="0">
                  <a:pos x="connsiteX3439" y="connsiteY3439"/>
                </a:cxn>
                <a:cxn ang="0">
                  <a:pos x="connsiteX3440" y="connsiteY3440"/>
                </a:cxn>
                <a:cxn ang="0">
                  <a:pos x="connsiteX3441" y="connsiteY3441"/>
                </a:cxn>
                <a:cxn ang="0">
                  <a:pos x="connsiteX3442" y="connsiteY3442"/>
                </a:cxn>
                <a:cxn ang="0">
                  <a:pos x="connsiteX3443" y="connsiteY3443"/>
                </a:cxn>
                <a:cxn ang="0">
                  <a:pos x="connsiteX3444" y="connsiteY3444"/>
                </a:cxn>
                <a:cxn ang="0">
                  <a:pos x="connsiteX3445" y="connsiteY3445"/>
                </a:cxn>
                <a:cxn ang="0">
                  <a:pos x="connsiteX3446" y="connsiteY3446"/>
                </a:cxn>
                <a:cxn ang="0">
                  <a:pos x="connsiteX3447" y="connsiteY3447"/>
                </a:cxn>
                <a:cxn ang="0">
                  <a:pos x="connsiteX3448" y="connsiteY3448"/>
                </a:cxn>
                <a:cxn ang="0">
                  <a:pos x="connsiteX3449" y="connsiteY3449"/>
                </a:cxn>
                <a:cxn ang="0">
                  <a:pos x="connsiteX3450" y="connsiteY3450"/>
                </a:cxn>
                <a:cxn ang="0">
                  <a:pos x="connsiteX3451" y="connsiteY3451"/>
                </a:cxn>
                <a:cxn ang="0">
                  <a:pos x="connsiteX3452" y="connsiteY3452"/>
                </a:cxn>
                <a:cxn ang="0">
                  <a:pos x="connsiteX3453" y="connsiteY3453"/>
                </a:cxn>
                <a:cxn ang="0">
                  <a:pos x="connsiteX3454" y="connsiteY3454"/>
                </a:cxn>
                <a:cxn ang="0">
                  <a:pos x="connsiteX3455" y="connsiteY3455"/>
                </a:cxn>
                <a:cxn ang="0">
                  <a:pos x="connsiteX3456" y="connsiteY3456"/>
                </a:cxn>
                <a:cxn ang="0">
                  <a:pos x="connsiteX3457" y="connsiteY3457"/>
                </a:cxn>
                <a:cxn ang="0">
                  <a:pos x="connsiteX3458" y="connsiteY3458"/>
                </a:cxn>
                <a:cxn ang="0">
                  <a:pos x="connsiteX3459" y="connsiteY3459"/>
                </a:cxn>
                <a:cxn ang="0">
                  <a:pos x="connsiteX3460" y="connsiteY3460"/>
                </a:cxn>
                <a:cxn ang="0">
                  <a:pos x="connsiteX3461" y="connsiteY3461"/>
                </a:cxn>
                <a:cxn ang="0">
                  <a:pos x="connsiteX3462" y="connsiteY3462"/>
                </a:cxn>
                <a:cxn ang="0">
                  <a:pos x="connsiteX3463" y="connsiteY3463"/>
                </a:cxn>
                <a:cxn ang="0">
                  <a:pos x="connsiteX3464" y="connsiteY3464"/>
                </a:cxn>
                <a:cxn ang="0">
                  <a:pos x="connsiteX3465" y="connsiteY3465"/>
                </a:cxn>
                <a:cxn ang="0">
                  <a:pos x="connsiteX3466" y="connsiteY3466"/>
                </a:cxn>
                <a:cxn ang="0">
                  <a:pos x="connsiteX3467" y="connsiteY3467"/>
                </a:cxn>
                <a:cxn ang="0">
                  <a:pos x="connsiteX3468" y="connsiteY3468"/>
                </a:cxn>
                <a:cxn ang="0">
                  <a:pos x="connsiteX3469" y="connsiteY3469"/>
                </a:cxn>
                <a:cxn ang="0">
                  <a:pos x="connsiteX3470" y="connsiteY3470"/>
                </a:cxn>
                <a:cxn ang="0">
                  <a:pos x="connsiteX3471" y="connsiteY3471"/>
                </a:cxn>
                <a:cxn ang="0">
                  <a:pos x="connsiteX3472" y="connsiteY3472"/>
                </a:cxn>
                <a:cxn ang="0">
                  <a:pos x="connsiteX3473" y="connsiteY3473"/>
                </a:cxn>
                <a:cxn ang="0">
                  <a:pos x="connsiteX3474" y="connsiteY3474"/>
                </a:cxn>
                <a:cxn ang="0">
                  <a:pos x="connsiteX3475" y="connsiteY3475"/>
                </a:cxn>
                <a:cxn ang="0">
                  <a:pos x="connsiteX3476" y="connsiteY3476"/>
                </a:cxn>
                <a:cxn ang="0">
                  <a:pos x="connsiteX3477" y="connsiteY3477"/>
                </a:cxn>
                <a:cxn ang="0">
                  <a:pos x="connsiteX3478" y="connsiteY3478"/>
                </a:cxn>
                <a:cxn ang="0">
                  <a:pos x="connsiteX3479" y="connsiteY3479"/>
                </a:cxn>
                <a:cxn ang="0">
                  <a:pos x="connsiteX3480" y="connsiteY3480"/>
                </a:cxn>
                <a:cxn ang="0">
                  <a:pos x="connsiteX3481" y="connsiteY3481"/>
                </a:cxn>
                <a:cxn ang="0">
                  <a:pos x="connsiteX3482" y="connsiteY3482"/>
                </a:cxn>
                <a:cxn ang="0">
                  <a:pos x="connsiteX3483" y="connsiteY3483"/>
                </a:cxn>
                <a:cxn ang="0">
                  <a:pos x="connsiteX3484" y="connsiteY3484"/>
                </a:cxn>
                <a:cxn ang="0">
                  <a:pos x="connsiteX3485" y="connsiteY3485"/>
                </a:cxn>
                <a:cxn ang="0">
                  <a:pos x="connsiteX3486" y="connsiteY3486"/>
                </a:cxn>
                <a:cxn ang="0">
                  <a:pos x="connsiteX3487" y="connsiteY3487"/>
                </a:cxn>
                <a:cxn ang="0">
                  <a:pos x="connsiteX3488" y="connsiteY3488"/>
                </a:cxn>
                <a:cxn ang="0">
                  <a:pos x="connsiteX3489" y="connsiteY3489"/>
                </a:cxn>
                <a:cxn ang="0">
                  <a:pos x="connsiteX3490" y="connsiteY3490"/>
                </a:cxn>
                <a:cxn ang="0">
                  <a:pos x="connsiteX3491" y="connsiteY3491"/>
                </a:cxn>
                <a:cxn ang="0">
                  <a:pos x="connsiteX3492" y="connsiteY3492"/>
                </a:cxn>
                <a:cxn ang="0">
                  <a:pos x="connsiteX3493" y="connsiteY3493"/>
                </a:cxn>
                <a:cxn ang="0">
                  <a:pos x="connsiteX3494" y="connsiteY3494"/>
                </a:cxn>
                <a:cxn ang="0">
                  <a:pos x="connsiteX3495" y="connsiteY3495"/>
                </a:cxn>
                <a:cxn ang="0">
                  <a:pos x="connsiteX3496" y="connsiteY3496"/>
                </a:cxn>
                <a:cxn ang="0">
                  <a:pos x="connsiteX3497" y="connsiteY3497"/>
                </a:cxn>
                <a:cxn ang="0">
                  <a:pos x="connsiteX3498" y="connsiteY3498"/>
                </a:cxn>
                <a:cxn ang="0">
                  <a:pos x="connsiteX3499" y="connsiteY3499"/>
                </a:cxn>
                <a:cxn ang="0">
                  <a:pos x="connsiteX3500" y="connsiteY3500"/>
                </a:cxn>
                <a:cxn ang="0">
                  <a:pos x="connsiteX3501" y="connsiteY3501"/>
                </a:cxn>
                <a:cxn ang="0">
                  <a:pos x="connsiteX3502" y="connsiteY3502"/>
                </a:cxn>
                <a:cxn ang="0">
                  <a:pos x="connsiteX3503" y="connsiteY3503"/>
                </a:cxn>
                <a:cxn ang="0">
                  <a:pos x="connsiteX3504" y="connsiteY3504"/>
                </a:cxn>
                <a:cxn ang="0">
                  <a:pos x="connsiteX3505" y="connsiteY3505"/>
                </a:cxn>
                <a:cxn ang="0">
                  <a:pos x="connsiteX3506" y="connsiteY3506"/>
                </a:cxn>
                <a:cxn ang="0">
                  <a:pos x="connsiteX3507" y="connsiteY3507"/>
                </a:cxn>
                <a:cxn ang="0">
                  <a:pos x="connsiteX3508" y="connsiteY3508"/>
                </a:cxn>
                <a:cxn ang="0">
                  <a:pos x="connsiteX3509" y="connsiteY3509"/>
                </a:cxn>
                <a:cxn ang="0">
                  <a:pos x="connsiteX3510" y="connsiteY3510"/>
                </a:cxn>
                <a:cxn ang="0">
                  <a:pos x="connsiteX3511" y="connsiteY3511"/>
                </a:cxn>
                <a:cxn ang="0">
                  <a:pos x="connsiteX3512" y="connsiteY3512"/>
                </a:cxn>
                <a:cxn ang="0">
                  <a:pos x="connsiteX3513" y="connsiteY3513"/>
                </a:cxn>
                <a:cxn ang="0">
                  <a:pos x="connsiteX3514" y="connsiteY3514"/>
                </a:cxn>
                <a:cxn ang="0">
                  <a:pos x="connsiteX3515" y="connsiteY3515"/>
                </a:cxn>
                <a:cxn ang="0">
                  <a:pos x="connsiteX3516" y="connsiteY3516"/>
                </a:cxn>
                <a:cxn ang="0">
                  <a:pos x="connsiteX3517" y="connsiteY3517"/>
                </a:cxn>
                <a:cxn ang="0">
                  <a:pos x="connsiteX3518" y="connsiteY3518"/>
                </a:cxn>
                <a:cxn ang="0">
                  <a:pos x="connsiteX3519" y="connsiteY3519"/>
                </a:cxn>
                <a:cxn ang="0">
                  <a:pos x="connsiteX3520" y="connsiteY3520"/>
                </a:cxn>
                <a:cxn ang="0">
                  <a:pos x="connsiteX3521" y="connsiteY3521"/>
                </a:cxn>
                <a:cxn ang="0">
                  <a:pos x="connsiteX3522" y="connsiteY3522"/>
                </a:cxn>
                <a:cxn ang="0">
                  <a:pos x="connsiteX3523" y="connsiteY3523"/>
                </a:cxn>
                <a:cxn ang="0">
                  <a:pos x="connsiteX3524" y="connsiteY3524"/>
                </a:cxn>
                <a:cxn ang="0">
                  <a:pos x="connsiteX3525" y="connsiteY3525"/>
                </a:cxn>
                <a:cxn ang="0">
                  <a:pos x="connsiteX3526" y="connsiteY3526"/>
                </a:cxn>
                <a:cxn ang="0">
                  <a:pos x="connsiteX3527" y="connsiteY3527"/>
                </a:cxn>
                <a:cxn ang="0">
                  <a:pos x="connsiteX3528" y="connsiteY3528"/>
                </a:cxn>
                <a:cxn ang="0">
                  <a:pos x="connsiteX3529" y="connsiteY3529"/>
                </a:cxn>
                <a:cxn ang="0">
                  <a:pos x="connsiteX3530" y="connsiteY3530"/>
                </a:cxn>
                <a:cxn ang="0">
                  <a:pos x="connsiteX3531" y="connsiteY3531"/>
                </a:cxn>
                <a:cxn ang="0">
                  <a:pos x="connsiteX3532" y="connsiteY3532"/>
                </a:cxn>
                <a:cxn ang="0">
                  <a:pos x="connsiteX3533" y="connsiteY3533"/>
                </a:cxn>
                <a:cxn ang="0">
                  <a:pos x="connsiteX3534" y="connsiteY3534"/>
                </a:cxn>
                <a:cxn ang="0">
                  <a:pos x="connsiteX3535" y="connsiteY3535"/>
                </a:cxn>
                <a:cxn ang="0">
                  <a:pos x="connsiteX3536" y="connsiteY3536"/>
                </a:cxn>
                <a:cxn ang="0">
                  <a:pos x="connsiteX3537" y="connsiteY3537"/>
                </a:cxn>
                <a:cxn ang="0">
                  <a:pos x="connsiteX3538" y="connsiteY3538"/>
                </a:cxn>
                <a:cxn ang="0">
                  <a:pos x="connsiteX3539" y="connsiteY3539"/>
                </a:cxn>
                <a:cxn ang="0">
                  <a:pos x="connsiteX3540" y="connsiteY3540"/>
                </a:cxn>
                <a:cxn ang="0">
                  <a:pos x="connsiteX3541" y="connsiteY3541"/>
                </a:cxn>
                <a:cxn ang="0">
                  <a:pos x="connsiteX3542" y="connsiteY3542"/>
                </a:cxn>
                <a:cxn ang="0">
                  <a:pos x="connsiteX3543" y="connsiteY3543"/>
                </a:cxn>
                <a:cxn ang="0">
                  <a:pos x="connsiteX3544" y="connsiteY3544"/>
                </a:cxn>
                <a:cxn ang="0">
                  <a:pos x="connsiteX3545" y="connsiteY3545"/>
                </a:cxn>
                <a:cxn ang="0">
                  <a:pos x="connsiteX3546" y="connsiteY3546"/>
                </a:cxn>
                <a:cxn ang="0">
                  <a:pos x="connsiteX3547" y="connsiteY3547"/>
                </a:cxn>
                <a:cxn ang="0">
                  <a:pos x="connsiteX3548" y="connsiteY3548"/>
                </a:cxn>
                <a:cxn ang="0">
                  <a:pos x="connsiteX3549" y="connsiteY3549"/>
                </a:cxn>
                <a:cxn ang="0">
                  <a:pos x="connsiteX3550" y="connsiteY3550"/>
                </a:cxn>
                <a:cxn ang="0">
                  <a:pos x="connsiteX3551" y="connsiteY3551"/>
                </a:cxn>
                <a:cxn ang="0">
                  <a:pos x="connsiteX3552" y="connsiteY3552"/>
                </a:cxn>
                <a:cxn ang="0">
                  <a:pos x="connsiteX3553" y="connsiteY3553"/>
                </a:cxn>
                <a:cxn ang="0">
                  <a:pos x="connsiteX3554" y="connsiteY3554"/>
                </a:cxn>
                <a:cxn ang="0">
                  <a:pos x="connsiteX3555" y="connsiteY3555"/>
                </a:cxn>
                <a:cxn ang="0">
                  <a:pos x="connsiteX3556" y="connsiteY3556"/>
                </a:cxn>
                <a:cxn ang="0">
                  <a:pos x="connsiteX3557" y="connsiteY3557"/>
                </a:cxn>
                <a:cxn ang="0">
                  <a:pos x="connsiteX3558" y="connsiteY3558"/>
                </a:cxn>
                <a:cxn ang="0">
                  <a:pos x="connsiteX3559" y="connsiteY3559"/>
                </a:cxn>
                <a:cxn ang="0">
                  <a:pos x="connsiteX3560" y="connsiteY3560"/>
                </a:cxn>
                <a:cxn ang="0">
                  <a:pos x="connsiteX3561" y="connsiteY3561"/>
                </a:cxn>
                <a:cxn ang="0">
                  <a:pos x="connsiteX3562" y="connsiteY3562"/>
                </a:cxn>
                <a:cxn ang="0">
                  <a:pos x="connsiteX3563" y="connsiteY3563"/>
                </a:cxn>
                <a:cxn ang="0">
                  <a:pos x="connsiteX3564" y="connsiteY3564"/>
                </a:cxn>
                <a:cxn ang="0">
                  <a:pos x="connsiteX3565" y="connsiteY3565"/>
                </a:cxn>
                <a:cxn ang="0">
                  <a:pos x="connsiteX3566" y="connsiteY3566"/>
                </a:cxn>
                <a:cxn ang="0">
                  <a:pos x="connsiteX3567" y="connsiteY3567"/>
                </a:cxn>
                <a:cxn ang="0">
                  <a:pos x="connsiteX3568" y="connsiteY3568"/>
                </a:cxn>
                <a:cxn ang="0">
                  <a:pos x="connsiteX3569" y="connsiteY3569"/>
                </a:cxn>
                <a:cxn ang="0">
                  <a:pos x="connsiteX3570" y="connsiteY3570"/>
                </a:cxn>
                <a:cxn ang="0">
                  <a:pos x="connsiteX3571" y="connsiteY3571"/>
                </a:cxn>
                <a:cxn ang="0">
                  <a:pos x="connsiteX3572" y="connsiteY3572"/>
                </a:cxn>
                <a:cxn ang="0">
                  <a:pos x="connsiteX3573" y="connsiteY3573"/>
                </a:cxn>
                <a:cxn ang="0">
                  <a:pos x="connsiteX3574" y="connsiteY3574"/>
                </a:cxn>
                <a:cxn ang="0">
                  <a:pos x="connsiteX3575" y="connsiteY3575"/>
                </a:cxn>
                <a:cxn ang="0">
                  <a:pos x="connsiteX3576" y="connsiteY3576"/>
                </a:cxn>
                <a:cxn ang="0">
                  <a:pos x="connsiteX3577" y="connsiteY3577"/>
                </a:cxn>
                <a:cxn ang="0">
                  <a:pos x="connsiteX3578" y="connsiteY3578"/>
                </a:cxn>
                <a:cxn ang="0">
                  <a:pos x="connsiteX3579" y="connsiteY3579"/>
                </a:cxn>
                <a:cxn ang="0">
                  <a:pos x="connsiteX3580" y="connsiteY3580"/>
                </a:cxn>
                <a:cxn ang="0">
                  <a:pos x="connsiteX3581" y="connsiteY3581"/>
                </a:cxn>
                <a:cxn ang="0">
                  <a:pos x="connsiteX3582" y="connsiteY3582"/>
                </a:cxn>
                <a:cxn ang="0">
                  <a:pos x="connsiteX3583" y="connsiteY3583"/>
                </a:cxn>
                <a:cxn ang="0">
                  <a:pos x="connsiteX3584" y="connsiteY3584"/>
                </a:cxn>
                <a:cxn ang="0">
                  <a:pos x="connsiteX3585" y="connsiteY3585"/>
                </a:cxn>
                <a:cxn ang="0">
                  <a:pos x="connsiteX3586" y="connsiteY3586"/>
                </a:cxn>
                <a:cxn ang="0">
                  <a:pos x="connsiteX3587" y="connsiteY3587"/>
                </a:cxn>
                <a:cxn ang="0">
                  <a:pos x="connsiteX3588" y="connsiteY3588"/>
                </a:cxn>
                <a:cxn ang="0">
                  <a:pos x="connsiteX3589" y="connsiteY3589"/>
                </a:cxn>
                <a:cxn ang="0">
                  <a:pos x="connsiteX3590" y="connsiteY3590"/>
                </a:cxn>
                <a:cxn ang="0">
                  <a:pos x="connsiteX3591" y="connsiteY3591"/>
                </a:cxn>
                <a:cxn ang="0">
                  <a:pos x="connsiteX3592" y="connsiteY3592"/>
                </a:cxn>
                <a:cxn ang="0">
                  <a:pos x="connsiteX3593" y="connsiteY3593"/>
                </a:cxn>
                <a:cxn ang="0">
                  <a:pos x="connsiteX3594" y="connsiteY3594"/>
                </a:cxn>
                <a:cxn ang="0">
                  <a:pos x="connsiteX3595" y="connsiteY3595"/>
                </a:cxn>
                <a:cxn ang="0">
                  <a:pos x="connsiteX3596" y="connsiteY3596"/>
                </a:cxn>
                <a:cxn ang="0">
                  <a:pos x="connsiteX3597" y="connsiteY3597"/>
                </a:cxn>
                <a:cxn ang="0">
                  <a:pos x="connsiteX3598" y="connsiteY3598"/>
                </a:cxn>
                <a:cxn ang="0">
                  <a:pos x="connsiteX3599" y="connsiteY3599"/>
                </a:cxn>
                <a:cxn ang="0">
                  <a:pos x="connsiteX3600" y="connsiteY3600"/>
                </a:cxn>
                <a:cxn ang="0">
                  <a:pos x="connsiteX3601" y="connsiteY3601"/>
                </a:cxn>
                <a:cxn ang="0">
                  <a:pos x="connsiteX3602" y="connsiteY3602"/>
                </a:cxn>
                <a:cxn ang="0">
                  <a:pos x="connsiteX3603" y="connsiteY3603"/>
                </a:cxn>
                <a:cxn ang="0">
                  <a:pos x="connsiteX3604" y="connsiteY3604"/>
                </a:cxn>
                <a:cxn ang="0">
                  <a:pos x="connsiteX3605" y="connsiteY3605"/>
                </a:cxn>
                <a:cxn ang="0">
                  <a:pos x="connsiteX3606" y="connsiteY3606"/>
                </a:cxn>
                <a:cxn ang="0">
                  <a:pos x="connsiteX3607" y="connsiteY3607"/>
                </a:cxn>
                <a:cxn ang="0">
                  <a:pos x="connsiteX3608" y="connsiteY3608"/>
                </a:cxn>
                <a:cxn ang="0">
                  <a:pos x="connsiteX3609" y="connsiteY3609"/>
                </a:cxn>
                <a:cxn ang="0">
                  <a:pos x="connsiteX3610" y="connsiteY3610"/>
                </a:cxn>
                <a:cxn ang="0">
                  <a:pos x="connsiteX3611" y="connsiteY3611"/>
                </a:cxn>
                <a:cxn ang="0">
                  <a:pos x="connsiteX3612" y="connsiteY3612"/>
                </a:cxn>
                <a:cxn ang="0">
                  <a:pos x="connsiteX3613" y="connsiteY3613"/>
                </a:cxn>
                <a:cxn ang="0">
                  <a:pos x="connsiteX3614" y="connsiteY3614"/>
                </a:cxn>
                <a:cxn ang="0">
                  <a:pos x="connsiteX3615" y="connsiteY3615"/>
                </a:cxn>
                <a:cxn ang="0">
                  <a:pos x="connsiteX3616" y="connsiteY3616"/>
                </a:cxn>
                <a:cxn ang="0">
                  <a:pos x="connsiteX3617" y="connsiteY3617"/>
                </a:cxn>
                <a:cxn ang="0">
                  <a:pos x="connsiteX3618" y="connsiteY3618"/>
                </a:cxn>
                <a:cxn ang="0">
                  <a:pos x="connsiteX3619" y="connsiteY3619"/>
                </a:cxn>
                <a:cxn ang="0">
                  <a:pos x="connsiteX3620" y="connsiteY3620"/>
                </a:cxn>
                <a:cxn ang="0">
                  <a:pos x="connsiteX3621" y="connsiteY3621"/>
                </a:cxn>
                <a:cxn ang="0">
                  <a:pos x="connsiteX3622" y="connsiteY3622"/>
                </a:cxn>
                <a:cxn ang="0">
                  <a:pos x="connsiteX3623" y="connsiteY3623"/>
                </a:cxn>
                <a:cxn ang="0">
                  <a:pos x="connsiteX3624" y="connsiteY3624"/>
                </a:cxn>
                <a:cxn ang="0">
                  <a:pos x="connsiteX3625" y="connsiteY3625"/>
                </a:cxn>
                <a:cxn ang="0">
                  <a:pos x="connsiteX3626" y="connsiteY3626"/>
                </a:cxn>
                <a:cxn ang="0">
                  <a:pos x="connsiteX3627" y="connsiteY3627"/>
                </a:cxn>
                <a:cxn ang="0">
                  <a:pos x="connsiteX3628" y="connsiteY3628"/>
                </a:cxn>
                <a:cxn ang="0">
                  <a:pos x="connsiteX3629" y="connsiteY3629"/>
                </a:cxn>
                <a:cxn ang="0">
                  <a:pos x="connsiteX3630" y="connsiteY3630"/>
                </a:cxn>
                <a:cxn ang="0">
                  <a:pos x="connsiteX3631" y="connsiteY3631"/>
                </a:cxn>
                <a:cxn ang="0">
                  <a:pos x="connsiteX3632" y="connsiteY3632"/>
                </a:cxn>
                <a:cxn ang="0">
                  <a:pos x="connsiteX3633" y="connsiteY3633"/>
                </a:cxn>
                <a:cxn ang="0">
                  <a:pos x="connsiteX3634" y="connsiteY3634"/>
                </a:cxn>
                <a:cxn ang="0">
                  <a:pos x="connsiteX3635" y="connsiteY3635"/>
                </a:cxn>
                <a:cxn ang="0">
                  <a:pos x="connsiteX3636" y="connsiteY3636"/>
                </a:cxn>
                <a:cxn ang="0">
                  <a:pos x="connsiteX3637" y="connsiteY3637"/>
                </a:cxn>
                <a:cxn ang="0">
                  <a:pos x="connsiteX3638" y="connsiteY3638"/>
                </a:cxn>
                <a:cxn ang="0">
                  <a:pos x="connsiteX3639" y="connsiteY3639"/>
                </a:cxn>
                <a:cxn ang="0">
                  <a:pos x="connsiteX3640" y="connsiteY3640"/>
                </a:cxn>
                <a:cxn ang="0">
                  <a:pos x="connsiteX3641" y="connsiteY3641"/>
                </a:cxn>
                <a:cxn ang="0">
                  <a:pos x="connsiteX3642" y="connsiteY3642"/>
                </a:cxn>
                <a:cxn ang="0">
                  <a:pos x="connsiteX3643" y="connsiteY3643"/>
                </a:cxn>
                <a:cxn ang="0">
                  <a:pos x="connsiteX3644" y="connsiteY3644"/>
                </a:cxn>
                <a:cxn ang="0">
                  <a:pos x="connsiteX3645" y="connsiteY3645"/>
                </a:cxn>
                <a:cxn ang="0">
                  <a:pos x="connsiteX3646" y="connsiteY3646"/>
                </a:cxn>
                <a:cxn ang="0">
                  <a:pos x="connsiteX3647" y="connsiteY3647"/>
                </a:cxn>
                <a:cxn ang="0">
                  <a:pos x="connsiteX3648" y="connsiteY3648"/>
                </a:cxn>
                <a:cxn ang="0">
                  <a:pos x="connsiteX3649" y="connsiteY3649"/>
                </a:cxn>
                <a:cxn ang="0">
                  <a:pos x="connsiteX3650" y="connsiteY3650"/>
                </a:cxn>
                <a:cxn ang="0">
                  <a:pos x="connsiteX3651" y="connsiteY3651"/>
                </a:cxn>
                <a:cxn ang="0">
                  <a:pos x="connsiteX3652" y="connsiteY3652"/>
                </a:cxn>
                <a:cxn ang="0">
                  <a:pos x="connsiteX3653" y="connsiteY3653"/>
                </a:cxn>
                <a:cxn ang="0">
                  <a:pos x="connsiteX3654" y="connsiteY3654"/>
                </a:cxn>
                <a:cxn ang="0">
                  <a:pos x="connsiteX3655" y="connsiteY3655"/>
                </a:cxn>
                <a:cxn ang="0">
                  <a:pos x="connsiteX3656" y="connsiteY3656"/>
                </a:cxn>
                <a:cxn ang="0">
                  <a:pos x="connsiteX3657" y="connsiteY3657"/>
                </a:cxn>
                <a:cxn ang="0">
                  <a:pos x="connsiteX3658" y="connsiteY3658"/>
                </a:cxn>
                <a:cxn ang="0">
                  <a:pos x="connsiteX3659" y="connsiteY3659"/>
                </a:cxn>
                <a:cxn ang="0">
                  <a:pos x="connsiteX3660" y="connsiteY3660"/>
                </a:cxn>
                <a:cxn ang="0">
                  <a:pos x="connsiteX3661" y="connsiteY3661"/>
                </a:cxn>
                <a:cxn ang="0">
                  <a:pos x="connsiteX3662" y="connsiteY3662"/>
                </a:cxn>
                <a:cxn ang="0">
                  <a:pos x="connsiteX3663" y="connsiteY3663"/>
                </a:cxn>
                <a:cxn ang="0">
                  <a:pos x="connsiteX3664" y="connsiteY3664"/>
                </a:cxn>
                <a:cxn ang="0">
                  <a:pos x="connsiteX3665" y="connsiteY3665"/>
                </a:cxn>
                <a:cxn ang="0">
                  <a:pos x="connsiteX3666" y="connsiteY3666"/>
                </a:cxn>
                <a:cxn ang="0">
                  <a:pos x="connsiteX3667" y="connsiteY3667"/>
                </a:cxn>
                <a:cxn ang="0">
                  <a:pos x="connsiteX3668" y="connsiteY3668"/>
                </a:cxn>
                <a:cxn ang="0">
                  <a:pos x="connsiteX3669" y="connsiteY3669"/>
                </a:cxn>
                <a:cxn ang="0">
                  <a:pos x="connsiteX3670" y="connsiteY3670"/>
                </a:cxn>
                <a:cxn ang="0">
                  <a:pos x="connsiteX3671" y="connsiteY3671"/>
                </a:cxn>
                <a:cxn ang="0">
                  <a:pos x="connsiteX3672" y="connsiteY3672"/>
                </a:cxn>
                <a:cxn ang="0">
                  <a:pos x="connsiteX3673" y="connsiteY3673"/>
                </a:cxn>
                <a:cxn ang="0">
                  <a:pos x="connsiteX3674" y="connsiteY3674"/>
                </a:cxn>
                <a:cxn ang="0">
                  <a:pos x="connsiteX3675" y="connsiteY3675"/>
                </a:cxn>
                <a:cxn ang="0">
                  <a:pos x="connsiteX3676" y="connsiteY3676"/>
                </a:cxn>
                <a:cxn ang="0">
                  <a:pos x="connsiteX3677" y="connsiteY3677"/>
                </a:cxn>
                <a:cxn ang="0">
                  <a:pos x="connsiteX3678" y="connsiteY3678"/>
                </a:cxn>
                <a:cxn ang="0">
                  <a:pos x="connsiteX3679" y="connsiteY3679"/>
                </a:cxn>
                <a:cxn ang="0">
                  <a:pos x="connsiteX3680" y="connsiteY3680"/>
                </a:cxn>
                <a:cxn ang="0">
                  <a:pos x="connsiteX3681" y="connsiteY3681"/>
                </a:cxn>
                <a:cxn ang="0">
                  <a:pos x="connsiteX3682" y="connsiteY3682"/>
                </a:cxn>
                <a:cxn ang="0">
                  <a:pos x="connsiteX3683" y="connsiteY3683"/>
                </a:cxn>
                <a:cxn ang="0">
                  <a:pos x="connsiteX3684" y="connsiteY3684"/>
                </a:cxn>
                <a:cxn ang="0">
                  <a:pos x="connsiteX3685" y="connsiteY3685"/>
                </a:cxn>
                <a:cxn ang="0">
                  <a:pos x="connsiteX3686" y="connsiteY3686"/>
                </a:cxn>
                <a:cxn ang="0">
                  <a:pos x="connsiteX3687" y="connsiteY3687"/>
                </a:cxn>
                <a:cxn ang="0">
                  <a:pos x="connsiteX3688" y="connsiteY3688"/>
                </a:cxn>
                <a:cxn ang="0">
                  <a:pos x="connsiteX3689" y="connsiteY3689"/>
                </a:cxn>
                <a:cxn ang="0">
                  <a:pos x="connsiteX3690" y="connsiteY3690"/>
                </a:cxn>
                <a:cxn ang="0">
                  <a:pos x="connsiteX3691" y="connsiteY3691"/>
                </a:cxn>
                <a:cxn ang="0">
                  <a:pos x="connsiteX3692" y="connsiteY3692"/>
                </a:cxn>
                <a:cxn ang="0">
                  <a:pos x="connsiteX3693" y="connsiteY3693"/>
                </a:cxn>
                <a:cxn ang="0">
                  <a:pos x="connsiteX3694" y="connsiteY3694"/>
                </a:cxn>
                <a:cxn ang="0">
                  <a:pos x="connsiteX3695" y="connsiteY3695"/>
                </a:cxn>
                <a:cxn ang="0">
                  <a:pos x="connsiteX3696" y="connsiteY3696"/>
                </a:cxn>
                <a:cxn ang="0">
                  <a:pos x="connsiteX3697" y="connsiteY3697"/>
                </a:cxn>
                <a:cxn ang="0">
                  <a:pos x="connsiteX3698" y="connsiteY3698"/>
                </a:cxn>
                <a:cxn ang="0">
                  <a:pos x="connsiteX3699" y="connsiteY3699"/>
                </a:cxn>
                <a:cxn ang="0">
                  <a:pos x="connsiteX3700" y="connsiteY3700"/>
                </a:cxn>
                <a:cxn ang="0">
                  <a:pos x="connsiteX3701" y="connsiteY3701"/>
                </a:cxn>
                <a:cxn ang="0">
                  <a:pos x="connsiteX3702" y="connsiteY3702"/>
                </a:cxn>
                <a:cxn ang="0">
                  <a:pos x="connsiteX3703" y="connsiteY3703"/>
                </a:cxn>
                <a:cxn ang="0">
                  <a:pos x="connsiteX3704" y="connsiteY3704"/>
                </a:cxn>
                <a:cxn ang="0">
                  <a:pos x="connsiteX3705" y="connsiteY3705"/>
                </a:cxn>
                <a:cxn ang="0">
                  <a:pos x="connsiteX3706" y="connsiteY3706"/>
                </a:cxn>
                <a:cxn ang="0">
                  <a:pos x="connsiteX3707" y="connsiteY3707"/>
                </a:cxn>
                <a:cxn ang="0">
                  <a:pos x="connsiteX3708" y="connsiteY3708"/>
                </a:cxn>
                <a:cxn ang="0">
                  <a:pos x="connsiteX3709" y="connsiteY3709"/>
                </a:cxn>
                <a:cxn ang="0">
                  <a:pos x="connsiteX3710" y="connsiteY3710"/>
                </a:cxn>
                <a:cxn ang="0">
                  <a:pos x="connsiteX3711" y="connsiteY3711"/>
                </a:cxn>
                <a:cxn ang="0">
                  <a:pos x="connsiteX3712" y="connsiteY3712"/>
                </a:cxn>
                <a:cxn ang="0">
                  <a:pos x="connsiteX3713" y="connsiteY3713"/>
                </a:cxn>
                <a:cxn ang="0">
                  <a:pos x="connsiteX3714" y="connsiteY3714"/>
                </a:cxn>
                <a:cxn ang="0">
                  <a:pos x="connsiteX3715" y="connsiteY3715"/>
                </a:cxn>
                <a:cxn ang="0">
                  <a:pos x="connsiteX3716" y="connsiteY3716"/>
                </a:cxn>
                <a:cxn ang="0">
                  <a:pos x="connsiteX3717" y="connsiteY3717"/>
                </a:cxn>
                <a:cxn ang="0">
                  <a:pos x="connsiteX3718" y="connsiteY3718"/>
                </a:cxn>
                <a:cxn ang="0">
                  <a:pos x="connsiteX3719" y="connsiteY3719"/>
                </a:cxn>
                <a:cxn ang="0">
                  <a:pos x="connsiteX3720" y="connsiteY3720"/>
                </a:cxn>
                <a:cxn ang="0">
                  <a:pos x="connsiteX3721" y="connsiteY3721"/>
                </a:cxn>
                <a:cxn ang="0">
                  <a:pos x="connsiteX3722" y="connsiteY3722"/>
                </a:cxn>
                <a:cxn ang="0">
                  <a:pos x="connsiteX3723" y="connsiteY3723"/>
                </a:cxn>
                <a:cxn ang="0">
                  <a:pos x="connsiteX3724" y="connsiteY3724"/>
                </a:cxn>
                <a:cxn ang="0">
                  <a:pos x="connsiteX3725" y="connsiteY3725"/>
                </a:cxn>
                <a:cxn ang="0">
                  <a:pos x="connsiteX3726" y="connsiteY3726"/>
                </a:cxn>
                <a:cxn ang="0">
                  <a:pos x="connsiteX3727" y="connsiteY3727"/>
                </a:cxn>
                <a:cxn ang="0">
                  <a:pos x="connsiteX3728" y="connsiteY3728"/>
                </a:cxn>
                <a:cxn ang="0">
                  <a:pos x="connsiteX3729" y="connsiteY3729"/>
                </a:cxn>
                <a:cxn ang="0">
                  <a:pos x="connsiteX3730" y="connsiteY3730"/>
                </a:cxn>
                <a:cxn ang="0">
                  <a:pos x="connsiteX3731" y="connsiteY3731"/>
                </a:cxn>
                <a:cxn ang="0">
                  <a:pos x="connsiteX3732" y="connsiteY3732"/>
                </a:cxn>
                <a:cxn ang="0">
                  <a:pos x="connsiteX3733" y="connsiteY3733"/>
                </a:cxn>
                <a:cxn ang="0">
                  <a:pos x="connsiteX3734" y="connsiteY3734"/>
                </a:cxn>
                <a:cxn ang="0">
                  <a:pos x="connsiteX3735" y="connsiteY3735"/>
                </a:cxn>
                <a:cxn ang="0">
                  <a:pos x="connsiteX3736" y="connsiteY3736"/>
                </a:cxn>
                <a:cxn ang="0">
                  <a:pos x="connsiteX3737" y="connsiteY3737"/>
                </a:cxn>
                <a:cxn ang="0">
                  <a:pos x="connsiteX3738" y="connsiteY3738"/>
                </a:cxn>
                <a:cxn ang="0">
                  <a:pos x="connsiteX3739" y="connsiteY3739"/>
                </a:cxn>
                <a:cxn ang="0">
                  <a:pos x="connsiteX3740" y="connsiteY3740"/>
                </a:cxn>
                <a:cxn ang="0">
                  <a:pos x="connsiteX3741" y="connsiteY3741"/>
                </a:cxn>
                <a:cxn ang="0">
                  <a:pos x="connsiteX3742" y="connsiteY3742"/>
                </a:cxn>
                <a:cxn ang="0">
                  <a:pos x="connsiteX3743" y="connsiteY3743"/>
                </a:cxn>
                <a:cxn ang="0">
                  <a:pos x="connsiteX3744" y="connsiteY3744"/>
                </a:cxn>
                <a:cxn ang="0">
                  <a:pos x="connsiteX3745" y="connsiteY3745"/>
                </a:cxn>
                <a:cxn ang="0">
                  <a:pos x="connsiteX3746" y="connsiteY3746"/>
                </a:cxn>
                <a:cxn ang="0">
                  <a:pos x="connsiteX3747" y="connsiteY3747"/>
                </a:cxn>
                <a:cxn ang="0">
                  <a:pos x="connsiteX3748" y="connsiteY3748"/>
                </a:cxn>
                <a:cxn ang="0">
                  <a:pos x="connsiteX3749" y="connsiteY3749"/>
                </a:cxn>
                <a:cxn ang="0">
                  <a:pos x="connsiteX3750" y="connsiteY3750"/>
                </a:cxn>
                <a:cxn ang="0">
                  <a:pos x="connsiteX3751" y="connsiteY3751"/>
                </a:cxn>
                <a:cxn ang="0">
                  <a:pos x="connsiteX3752" y="connsiteY3752"/>
                </a:cxn>
                <a:cxn ang="0">
                  <a:pos x="connsiteX3753" y="connsiteY3753"/>
                </a:cxn>
                <a:cxn ang="0">
                  <a:pos x="connsiteX3754" y="connsiteY3754"/>
                </a:cxn>
                <a:cxn ang="0">
                  <a:pos x="connsiteX3755" y="connsiteY3755"/>
                </a:cxn>
                <a:cxn ang="0">
                  <a:pos x="connsiteX3756" y="connsiteY3756"/>
                </a:cxn>
                <a:cxn ang="0">
                  <a:pos x="connsiteX3757" y="connsiteY3757"/>
                </a:cxn>
                <a:cxn ang="0">
                  <a:pos x="connsiteX3758" y="connsiteY3758"/>
                </a:cxn>
                <a:cxn ang="0">
                  <a:pos x="connsiteX3759" y="connsiteY3759"/>
                </a:cxn>
                <a:cxn ang="0">
                  <a:pos x="connsiteX3760" y="connsiteY3760"/>
                </a:cxn>
                <a:cxn ang="0">
                  <a:pos x="connsiteX3761" y="connsiteY3761"/>
                </a:cxn>
                <a:cxn ang="0">
                  <a:pos x="connsiteX3762" y="connsiteY3762"/>
                </a:cxn>
                <a:cxn ang="0">
                  <a:pos x="connsiteX3763" y="connsiteY3763"/>
                </a:cxn>
                <a:cxn ang="0">
                  <a:pos x="connsiteX3764" y="connsiteY3764"/>
                </a:cxn>
                <a:cxn ang="0">
                  <a:pos x="connsiteX3765" y="connsiteY3765"/>
                </a:cxn>
                <a:cxn ang="0">
                  <a:pos x="connsiteX3766" y="connsiteY3766"/>
                </a:cxn>
                <a:cxn ang="0">
                  <a:pos x="connsiteX3767" y="connsiteY3767"/>
                </a:cxn>
                <a:cxn ang="0">
                  <a:pos x="connsiteX3768" y="connsiteY3768"/>
                </a:cxn>
                <a:cxn ang="0">
                  <a:pos x="connsiteX3769" y="connsiteY3769"/>
                </a:cxn>
                <a:cxn ang="0">
                  <a:pos x="connsiteX3770" y="connsiteY3770"/>
                </a:cxn>
                <a:cxn ang="0">
                  <a:pos x="connsiteX3771" y="connsiteY3771"/>
                </a:cxn>
                <a:cxn ang="0">
                  <a:pos x="connsiteX3772" y="connsiteY3772"/>
                </a:cxn>
                <a:cxn ang="0">
                  <a:pos x="connsiteX3773" y="connsiteY3773"/>
                </a:cxn>
                <a:cxn ang="0">
                  <a:pos x="connsiteX3774" y="connsiteY3774"/>
                </a:cxn>
                <a:cxn ang="0">
                  <a:pos x="connsiteX3775" y="connsiteY3775"/>
                </a:cxn>
                <a:cxn ang="0">
                  <a:pos x="connsiteX3776" y="connsiteY3776"/>
                </a:cxn>
                <a:cxn ang="0">
                  <a:pos x="connsiteX3777" y="connsiteY3777"/>
                </a:cxn>
                <a:cxn ang="0">
                  <a:pos x="connsiteX3778" y="connsiteY3778"/>
                </a:cxn>
                <a:cxn ang="0">
                  <a:pos x="connsiteX3779" y="connsiteY3779"/>
                </a:cxn>
                <a:cxn ang="0">
                  <a:pos x="connsiteX3780" y="connsiteY3780"/>
                </a:cxn>
                <a:cxn ang="0">
                  <a:pos x="connsiteX3781" y="connsiteY3781"/>
                </a:cxn>
                <a:cxn ang="0">
                  <a:pos x="connsiteX3782" y="connsiteY3782"/>
                </a:cxn>
                <a:cxn ang="0">
                  <a:pos x="connsiteX3783" y="connsiteY3783"/>
                </a:cxn>
                <a:cxn ang="0">
                  <a:pos x="connsiteX3784" y="connsiteY3784"/>
                </a:cxn>
                <a:cxn ang="0">
                  <a:pos x="connsiteX3785" y="connsiteY3785"/>
                </a:cxn>
                <a:cxn ang="0">
                  <a:pos x="connsiteX3786" y="connsiteY3786"/>
                </a:cxn>
                <a:cxn ang="0">
                  <a:pos x="connsiteX3787" y="connsiteY3787"/>
                </a:cxn>
                <a:cxn ang="0">
                  <a:pos x="connsiteX3788" y="connsiteY3788"/>
                </a:cxn>
                <a:cxn ang="0">
                  <a:pos x="connsiteX3789" y="connsiteY3789"/>
                </a:cxn>
                <a:cxn ang="0">
                  <a:pos x="connsiteX3790" y="connsiteY3790"/>
                </a:cxn>
                <a:cxn ang="0">
                  <a:pos x="connsiteX3791" y="connsiteY3791"/>
                </a:cxn>
                <a:cxn ang="0">
                  <a:pos x="connsiteX3792" y="connsiteY3792"/>
                </a:cxn>
                <a:cxn ang="0">
                  <a:pos x="connsiteX3793" y="connsiteY3793"/>
                </a:cxn>
                <a:cxn ang="0">
                  <a:pos x="connsiteX3794" y="connsiteY3794"/>
                </a:cxn>
                <a:cxn ang="0">
                  <a:pos x="connsiteX3795" y="connsiteY3795"/>
                </a:cxn>
                <a:cxn ang="0">
                  <a:pos x="connsiteX3796" y="connsiteY3796"/>
                </a:cxn>
                <a:cxn ang="0">
                  <a:pos x="connsiteX3797" y="connsiteY3797"/>
                </a:cxn>
                <a:cxn ang="0">
                  <a:pos x="connsiteX3798" y="connsiteY3798"/>
                </a:cxn>
                <a:cxn ang="0">
                  <a:pos x="connsiteX3799" y="connsiteY3799"/>
                </a:cxn>
                <a:cxn ang="0">
                  <a:pos x="connsiteX3800" y="connsiteY3800"/>
                </a:cxn>
                <a:cxn ang="0">
                  <a:pos x="connsiteX3801" y="connsiteY3801"/>
                </a:cxn>
                <a:cxn ang="0">
                  <a:pos x="connsiteX3802" y="connsiteY3802"/>
                </a:cxn>
                <a:cxn ang="0">
                  <a:pos x="connsiteX3803" y="connsiteY3803"/>
                </a:cxn>
                <a:cxn ang="0">
                  <a:pos x="connsiteX3804" y="connsiteY3804"/>
                </a:cxn>
                <a:cxn ang="0">
                  <a:pos x="connsiteX3805" y="connsiteY3805"/>
                </a:cxn>
                <a:cxn ang="0">
                  <a:pos x="connsiteX3806" y="connsiteY3806"/>
                </a:cxn>
                <a:cxn ang="0">
                  <a:pos x="connsiteX3807" y="connsiteY3807"/>
                </a:cxn>
                <a:cxn ang="0">
                  <a:pos x="connsiteX3808" y="connsiteY3808"/>
                </a:cxn>
                <a:cxn ang="0">
                  <a:pos x="connsiteX3809" y="connsiteY3809"/>
                </a:cxn>
                <a:cxn ang="0">
                  <a:pos x="connsiteX3810" y="connsiteY3810"/>
                </a:cxn>
                <a:cxn ang="0">
                  <a:pos x="connsiteX3811" y="connsiteY3811"/>
                </a:cxn>
                <a:cxn ang="0">
                  <a:pos x="connsiteX3812" y="connsiteY3812"/>
                </a:cxn>
                <a:cxn ang="0">
                  <a:pos x="connsiteX3813" y="connsiteY3813"/>
                </a:cxn>
                <a:cxn ang="0">
                  <a:pos x="connsiteX3814" y="connsiteY3814"/>
                </a:cxn>
                <a:cxn ang="0">
                  <a:pos x="connsiteX3815" y="connsiteY3815"/>
                </a:cxn>
                <a:cxn ang="0">
                  <a:pos x="connsiteX3816" y="connsiteY3816"/>
                </a:cxn>
                <a:cxn ang="0">
                  <a:pos x="connsiteX3817" y="connsiteY3817"/>
                </a:cxn>
                <a:cxn ang="0">
                  <a:pos x="connsiteX3818" y="connsiteY3818"/>
                </a:cxn>
                <a:cxn ang="0">
                  <a:pos x="connsiteX3819" y="connsiteY3819"/>
                </a:cxn>
                <a:cxn ang="0">
                  <a:pos x="connsiteX3820" y="connsiteY3820"/>
                </a:cxn>
                <a:cxn ang="0">
                  <a:pos x="connsiteX3821" y="connsiteY3821"/>
                </a:cxn>
                <a:cxn ang="0">
                  <a:pos x="connsiteX3822" y="connsiteY3822"/>
                </a:cxn>
                <a:cxn ang="0">
                  <a:pos x="connsiteX3823" y="connsiteY3823"/>
                </a:cxn>
                <a:cxn ang="0">
                  <a:pos x="connsiteX3824" y="connsiteY3824"/>
                </a:cxn>
                <a:cxn ang="0">
                  <a:pos x="connsiteX3825" y="connsiteY3825"/>
                </a:cxn>
                <a:cxn ang="0">
                  <a:pos x="connsiteX3826" y="connsiteY3826"/>
                </a:cxn>
                <a:cxn ang="0">
                  <a:pos x="connsiteX3827" y="connsiteY3827"/>
                </a:cxn>
                <a:cxn ang="0">
                  <a:pos x="connsiteX3828" y="connsiteY3828"/>
                </a:cxn>
                <a:cxn ang="0">
                  <a:pos x="connsiteX3829" y="connsiteY3829"/>
                </a:cxn>
                <a:cxn ang="0">
                  <a:pos x="connsiteX3830" y="connsiteY3830"/>
                </a:cxn>
                <a:cxn ang="0">
                  <a:pos x="connsiteX3831" y="connsiteY3831"/>
                </a:cxn>
                <a:cxn ang="0">
                  <a:pos x="connsiteX3832" y="connsiteY3832"/>
                </a:cxn>
                <a:cxn ang="0">
                  <a:pos x="connsiteX3833" y="connsiteY3833"/>
                </a:cxn>
                <a:cxn ang="0">
                  <a:pos x="connsiteX3834" y="connsiteY3834"/>
                </a:cxn>
                <a:cxn ang="0">
                  <a:pos x="connsiteX3835" y="connsiteY3835"/>
                </a:cxn>
                <a:cxn ang="0">
                  <a:pos x="connsiteX3836" y="connsiteY3836"/>
                </a:cxn>
                <a:cxn ang="0">
                  <a:pos x="connsiteX3837" y="connsiteY3837"/>
                </a:cxn>
                <a:cxn ang="0">
                  <a:pos x="connsiteX3838" y="connsiteY3838"/>
                </a:cxn>
                <a:cxn ang="0">
                  <a:pos x="connsiteX3839" y="connsiteY3839"/>
                </a:cxn>
                <a:cxn ang="0">
                  <a:pos x="connsiteX3840" y="connsiteY3840"/>
                </a:cxn>
                <a:cxn ang="0">
                  <a:pos x="connsiteX3841" y="connsiteY3841"/>
                </a:cxn>
                <a:cxn ang="0">
                  <a:pos x="connsiteX3842" y="connsiteY3842"/>
                </a:cxn>
                <a:cxn ang="0">
                  <a:pos x="connsiteX3843" y="connsiteY3843"/>
                </a:cxn>
                <a:cxn ang="0">
                  <a:pos x="connsiteX3844" y="connsiteY3844"/>
                </a:cxn>
                <a:cxn ang="0">
                  <a:pos x="connsiteX3845" y="connsiteY3845"/>
                </a:cxn>
                <a:cxn ang="0">
                  <a:pos x="connsiteX3846" y="connsiteY3846"/>
                </a:cxn>
                <a:cxn ang="0">
                  <a:pos x="connsiteX3847" y="connsiteY3847"/>
                </a:cxn>
                <a:cxn ang="0">
                  <a:pos x="connsiteX3848" y="connsiteY3848"/>
                </a:cxn>
                <a:cxn ang="0">
                  <a:pos x="connsiteX3849" y="connsiteY3849"/>
                </a:cxn>
                <a:cxn ang="0">
                  <a:pos x="connsiteX3850" y="connsiteY3850"/>
                </a:cxn>
                <a:cxn ang="0">
                  <a:pos x="connsiteX3851" y="connsiteY3851"/>
                </a:cxn>
                <a:cxn ang="0">
                  <a:pos x="connsiteX3852" y="connsiteY3852"/>
                </a:cxn>
                <a:cxn ang="0">
                  <a:pos x="connsiteX3853" y="connsiteY3853"/>
                </a:cxn>
                <a:cxn ang="0">
                  <a:pos x="connsiteX3854" y="connsiteY3854"/>
                </a:cxn>
                <a:cxn ang="0">
                  <a:pos x="connsiteX3855" y="connsiteY3855"/>
                </a:cxn>
                <a:cxn ang="0">
                  <a:pos x="connsiteX3856" y="connsiteY3856"/>
                </a:cxn>
                <a:cxn ang="0">
                  <a:pos x="connsiteX3857" y="connsiteY3857"/>
                </a:cxn>
                <a:cxn ang="0">
                  <a:pos x="connsiteX3858" y="connsiteY3858"/>
                </a:cxn>
                <a:cxn ang="0">
                  <a:pos x="connsiteX3859" y="connsiteY3859"/>
                </a:cxn>
                <a:cxn ang="0">
                  <a:pos x="connsiteX3860" y="connsiteY3860"/>
                </a:cxn>
                <a:cxn ang="0">
                  <a:pos x="connsiteX3861" y="connsiteY3861"/>
                </a:cxn>
                <a:cxn ang="0">
                  <a:pos x="connsiteX3862" y="connsiteY3862"/>
                </a:cxn>
                <a:cxn ang="0">
                  <a:pos x="connsiteX3863" y="connsiteY3863"/>
                </a:cxn>
                <a:cxn ang="0">
                  <a:pos x="connsiteX3864" y="connsiteY3864"/>
                </a:cxn>
                <a:cxn ang="0">
                  <a:pos x="connsiteX3865" y="connsiteY3865"/>
                </a:cxn>
                <a:cxn ang="0">
                  <a:pos x="connsiteX3866" y="connsiteY3866"/>
                </a:cxn>
                <a:cxn ang="0">
                  <a:pos x="connsiteX3867" y="connsiteY3867"/>
                </a:cxn>
                <a:cxn ang="0">
                  <a:pos x="connsiteX3868" y="connsiteY3868"/>
                </a:cxn>
                <a:cxn ang="0">
                  <a:pos x="connsiteX3869" y="connsiteY3869"/>
                </a:cxn>
                <a:cxn ang="0">
                  <a:pos x="connsiteX3870" y="connsiteY3870"/>
                </a:cxn>
                <a:cxn ang="0">
                  <a:pos x="connsiteX3871" y="connsiteY3871"/>
                </a:cxn>
                <a:cxn ang="0">
                  <a:pos x="connsiteX3872" y="connsiteY3872"/>
                </a:cxn>
                <a:cxn ang="0">
                  <a:pos x="connsiteX3873" y="connsiteY3873"/>
                </a:cxn>
                <a:cxn ang="0">
                  <a:pos x="connsiteX3874" y="connsiteY3874"/>
                </a:cxn>
                <a:cxn ang="0">
                  <a:pos x="connsiteX3875" y="connsiteY3875"/>
                </a:cxn>
                <a:cxn ang="0">
                  <a:pos x="connsiteX3876" y="connsiteY3876"/>
                </a:cxn>
                <a:cxn ang="0">
                  <a:pos x="connsiteX3877" y="connsiteY3877"/>
                </a:cxn>
                <a:cxn ang="0">
                  <a:pos x="connsiteX3878" y="connsiteY3878"/>
                </a:cxn>
                <a:cxn ang="0">
                  <a:pos x="connsiteX3879" y="connsiteY3879"/>
                </a:cxn>
                <a:cxn ang="0">
                  <a:pos x="connsiteX3880" y="connsiteY3880"/>
                </a:cxn>
                <a:cxn ang="0">
                  <a:pos x="connsiteX3881" y="connsiteY3881"/>
                </a:cxn>
                <a:cxn ang="0">
                  <a:pos x="connsiteX3882" y="connsiteY3882"/>
                </a:cxn>
                <a:cxn ang="0">
                  <a:pos x="connsiteX3883" y="connsiteY3883"/>
                </a:cxn>
                <a:cxn ang="0">
                  <a:pos x="connsiteX3884" y="connsiteY3884"/>
                </a:cxn>
                <a:cxn ang="0">
                  <a:pos x="connsiteX3885" y="connsiteY3885"/>
                </a:cxn>
                <a:cxn ang="0">
                  <a:pos x="connsiteX3886" y="connsiteY3886"/>
                </a:cxn>
                <a:cxn ang="0">
                  <a:pos x="connsiteX3887" y="connsiteY3887"/>
                </a:cxn>
                <a:cxn ang="0">
                  <a:pos x="connsiteX3888" y="connsiteY3888"/>
                </a:cxn>
                <a:cxn ang="0">
                  <a:pos x="connsiteX3889" y="connsiteY3889"/>
                </a:cxn>
                <a:cxn ang="0">
                  <a:pos x="connsiteX3890" y="connsiteY3890"/>
                </a:cxn>
                <a:cxn ang="0">
                  <a:pos x="connsiteX3891" y="connsiteY3891"/>
                </a:cxn>
                <a:cxn ang="0">
                  <a:pos x="connsiteX3892" y="connsiteY3892"/>
                </a:cxn>
                <a:cxn ang="0">
                  <a:pos x="connsiteX3893" y="connsiteY3893"/>
                </a:cxn>
                <a:cxn ang="0">
                  <a:pos x="connsiteX3894" y="connsiteY3894"/>
                </a:cxn>
                <a:cxn ang="0">
                  <a:pos x="connsiteX3895" y="connsiteY3895"/>
                </a:cxn>
                <a:cxn ang="0">
                  <a:pos x="connsiteX3896" y="connsiteY3896"/>
                </a:cxn>
                <a:cxn ang="0">
                  <a:pos x="connsiteX3897" y="connsiteY3897"/>
                </a:cxn>
                <a:cxn ang="0">
                  <a:pos x="connsiteX3898" y="connsiteY3898"/>
                </a:cxn>
                <a:cxn ang="0">
                  <a:pos x="connsiteX3899" y="connsiteY3899"/>
                </a:cxn>
                <a:cxn ang="0">
                  <a:pos x="connsiteX3900" y="connsiteY3900"/>
                </a:cxn>
                <a:cxn ang="0">
                  <a:pos x="connsiteX3901" y="connsiteY3901"/>
                </a:cxn>
                <a:cxn ang="0">
                  <a:pos x="connsiteX3902" y="connsiteY3902"/>
                </a:cxn>
                <a:cxn ang="0">
                  <a:pos x="connsiteX3903" y="connsiteY3903"/>
                </a:cxn>
                <a:cxn ang="0">
                  <a:pos x="connsiteX3904" y="connsiteY3904"/>
                </a:cxn>
                <a:cxn ang="0">
                  <a:pos x="connsiteX3905" y="connsiteY3905"/>
                </a:cxn>
                <a:cxn ang="0">
                  <a:pos x="connsiteX3906" y="connsiteY3906"/>
                </a:cxn>
                <a:cxn ang="0">
                  <a:pos x="connsiteX3907" y="connsiteY3907"/>
                </a:cxn>
                <a:cxn ang="0">
                  <a:pos x="connsiteX3908" y="connsiteY3908"/>
                </a:cxn>
                <a:cxn ang="0">
                  <a:pos x="connsiteX3909" y="connsiteY3909"/>
                </a:cxn>
                <a:cxn ang="0">
                  <a:pos x="connsiteX3910" y="connsiteY3910"/>
                </a:cxn>
                <a:cxn ang="0">
                  <a:pos x="connsiteX3911" y="connsiteY3911"/>
                </a:cxn>
                <a:cxn ang="0">
                  <a:pos x="connsiteX3912" y="connsiteY3912"/>
                </a:cxn>
                <a:cxn ang="0">
                  <a:pos x="connsiteX3913" y="connsiteY3913"/>
                </a:cxn>
                <a:cxn ang="0">
                  <a:pos x="connsiteX3914" y="connsiteY3914"/>
                </a:cxn>
                <a:cxn ang="0">
                  <a:pos x="connsiteX3915" y="connsiteY3915"/>
                </a:cxn>
                <a:cxn ang="0">
                  <a:pos x="connsiteX3916" y="connsiteY3916"/>
                </a:cxn>
                <a:cxn ang="0">
                  <a:pos x="connsiteX3917" y="connsiteY3917"/>
                </a:cxn>
                <a:cxn ang="0">
                  <a:pos x="connsiteX3918" y="connsiteY3918"/>
                </a:cxn>
                <a:cxn ang="0">
                  <a:pos x="connsiteX3919" y="connsiteY3919"/>
                </a:cxn>
                <a:cxn ang="0">
                  <a:pos x="connsiteX3920" y="connsiteY3920"/>
                </a:cxn>
                <a:cxn ang="0">
                  <a:pos x="connsiteX3921" y="connsiteY3921"/>
                </a:cxn>
                <a:cxn ang="0">
                  <a:pos x="connsiteX3922" y="connsiteY3922"/>
                </a:cxn>
                <a:cxn ang="0">
                  <a:pos x="connsiteX3923" y="connsiteY3923"/>
                </a:cxn>
                <a:cxn ang="0">
                  <a:pos x="connsiteX3924" y="connsiteY3924"/>
                </a:cxn>
                <a:cxn ang="0">
                  <a:pos x="connsiteX3925" y="connsiteY3925"/>
                </a:cxn>
                <a:cxn ang="0">
                  <a:pos x="connsiteX3926" y="connsiteY3926"/>
                </a:cxn>
                <a:cxn ang="0">
                  <a:pos x="connsiteX3927" y="connsiteY3927"/>
                </a:cxn>
                <a:cxn ang="0">
                  <a:pos x="connsiteX3928" y="connsiteY3928"/>
                </a:cxn>
                <a:cxn ang="0">
                  <a:pos x="connsiteX3929" y="connsiteY3929"/>
                </a:cxn>
                <a:cxn ang="0">
                  <a:pos x="connsiteX3930" y="connsiteY3930"/>
                </a:cxn>
                <a:cxn ang="0">
                  <a:pos x="connsiteX3931" y="connsiteY3931"/>
                </a:cxn>
                <a:cxn ang="0">
                  <a:pos x="connsiteX3932" y="connsiteY3932"/>
                </a:cxn>
                <a:cxn ang="0">
                  <a:pos x="connsiteX3933" y="connsiteY3933"/>
                </a:cxn>
                <a:cxn ang="0">
                  <a:pos x="connsiteX3934" y="connsiteY3934"/>
                </a:cxn>
                <a:cxn ang="0">
                  <a:pos x="connsiteX3935" y="connsiteY3935"/>
                </a:cxn>
                <a:cxn ang="0">
                  <a:pos x="connsiteX3936" y="connsiteY3936"/>
                </a:cxn>
                <a:cxn ang="0">
                  <a:pos x="connsiteX3937" y="connsiteY3937"/>
                </a:cxn>
                <a:cxn ang="0">
                  <a:pos x="connsiteX3938" y="connsiteY3938"/>
                </a:cxn>
                <a:cxn ang="0">
                  <a:pos x="connsiteX3939" y="connsiteY3939"/>
                </a:cxn>
                <a:cxn ang="0">
                  <a:pos x="connsiteX3940" y="connsiteY3940"/>
                </a:cxn>
                <a:cxn ang="0">
                  <a:pos x="connsiteX3941" y="connsiteY3941"/>
                </a:cxn>
                <a:cxn ang="0">
                  <a:pos x="connsiteX3942" y="connsiteY3942"/>
                </a:cxn>
                <a:cxn ang="0">
                  <a:pos x="connsiteX3943" y="connsiteY3943"/>
                </a:cxn>
                <a:cxn ang="0">
                  <a:pos x="connsiteX3944" y="connsiteY3944"/>
                </a:cxn>
                <a:cxn ang="0">
                  <a:pos x="connsiteX3945" y="connsiteY3945"/>
                </a:cxn>
                <a:cxn ang="0">
                  <a:pos x="connsiteX3946" y="connsiteY3946"/>
                </a:cxn>
                <a:cxn ang="0">
                  <a:pos x="connsiteX3947" y="connsiteY3947"/>
                </a:cxn>
                <a:cxn ang="0">
                  <a:pos x="connsiteX3948" y="connsiteY3948"/>
                </a:cxn>
                <a:cxn ang="0">
                  <a:pos x="connsiteX3949" y="connsiteY3949"/>
                </a:cxn>
                <a:cxn ang="0">
                  <a:pos x="connsiteX3950" y="connsiteY3950"/>
                </a:cxn>
                <a:cxn ang="0">
                  <a:pos x="connsiteX3951" y="connsiteY3951"/>
                </a:cxn>
                <a:cxn ang="0">
                  <a:pos x="connsiteX3952" y="connsiteY3952"/>
                </a:cxn>
                <a:cxn ang="0">
                  <a:pos x="connsiteX3953" y="connsiteY3953"/>
                </a:cxn>
                <a:cxn ang="0">
                  <a:pos x="connsiteX3954" y="connsiteY3954"/>
                </a:cxn>
                <a:cxn ang="0">
                  <a:pos x="connsiteX3955" y="connsiteY3955"/>
                </a:cxn>
                <a:cxn ang="0">
                  <a:pos x="connsiteX3956" y="connsiteY3956"/>
                </a:cxn>
                <a:cxn ang="0">
                  <a:pos x="connsiteX3957" y="connsiteY3957"/>
                </a:cxn>
                <a:cxn ang="0">
                  <a:pos x="connsiteX3958" y="connsiteY3958"/>
                </a:cxn>
                <a:cxn ang="0">
                  <a:pos x="connsiteX3959" y="connsiteY3959"/>
                </a:cxn>
                <a:cxn ang="0">
                  <a:pos x="connsiteX3960" y="connsiteY3960"/>
                </a:cxn>
                <a:cxn ang="0">
                  <a:pos x="connsiteX3961" y="connsiteY3961"/>
                </a:cxn>
                <a:cxn ang="0">
                  <a:pos x="connsiteX3962" y="connsiteY3962"/>
                </a:cxn>
                <a:cxn ang="0">
                  <a:pos x="connsiteX3963" y="connsiteY3963"/>
                </a:cxn>
                <a:cxn ang="0">
                  <a:pos x="connsiteX3964" y="connsiteY3964"/>
                </a:cxn>
                <a:cxn ang="0">
                  <a:pos x="connsiteX3965" y="connsiteY3965"/>
                </a:cxn>
                <a:cxn ang="0">
                  <a:pos x="connsiteX3966" y="connsiteY3966"/>
                </a:cxn>
                <a:cxn ang="0">
                  <a:pos x="connsiteX3967" y="connsiteY3967"/>
                </a:cxn>
                <a:cxn ang="0">
                  <a:pos x="connsiteX3968" y="connsiteY3968"/>
                </a:cxn>
                <a:cxn ang="0">
                  <a:pos x="connsiteX3969" y="connsiteY3969"/>
                </a:cxn>
                <a:cxn ang="0">
                  <a:pos x="connsiteX3970" y="connsiteY3970"/>
                </a:cxn>
                <a:cxn ang="0">
                  <a:pos x="connsiteX3971" y="connsiteY3971"/>
                </a:cxn>
                <a:cxn ang="0">
                  <a:pos x="connsiteX3972" y="connsiteY3972"/>
                </a:cxn>
                <a:cxn ang="0">
                  <a:pos x="connsiteX3973" y="connsiteY3973"/>
                </a:cxn>
                <a:cxn ang="0">
                  <a:pos x="connsiteX3974" y="connsiteY3974"/>
                </a:cxn>
                <a:cxn ang="0">
                  <a:pos x="connsiteX3975" y="connsiteY3975"/>
                </a:cxn>
                <a:cxn ang="0">
                  <a:pos x="connsiteX3976" y="connsiteY3976"/>
                </a:cxn>
                <a:cxn ang="0">
                  <a:pos x="connsiteX3977" y="connsiteY3977"/>
                </a:cxn>
                <a:cxn ang="0">
                  <a:pos x="connsiteX3978" y="connsiteY3978"/>
                </a:cxn>
                <a:cxn ang="0">
                  <a:pos x="connsiteX3979" y="connsiteY3979"/>
                </a:cxn>
                <a:cxn ang="0">
                  <a:pos x="connsiteX3980" y="connsiteY3980"/>
                </a:cxn>
                <a:cxn ang="0">
                  <a:pos x="connsiteX3981" y="connsiteY3981"/>
                </a:cxn>
                <a:cxn ang="0">
                  <a:pos x="connsiteX3982" y="connsiteY3982"/>
                </a:cxn>
                <a:cxn ang="0">
                  <a:pos x="connsiteX3983" y="connsiteY3983"/>
                </a:cxn>
                <a:cxn ang="0">
                  <a:pos x="connsiteX3984" y="connsiteY3984"/>
                </a:cxn>
                <a:cxn ang="0">
                  <a:pos x="connsiteX3985" y="connsiteY3985"/>
                </a:cxn>
                <a:cxn ang="0">
                  <a:pos x="connsiteX3986" y="connsiteY3986"/>
                </a:cxn>
                <a:cxn ang="0">
                  <a:pos x="connsiteX3987" y="connsiteY3987"/>
                </a:cxn>
                <a:cxn ang="0">
                  <a:pos x="connsiteX3988" y="connsiteY3988"/>
                </a:cxn>
                <a:cxn ang="0">
                  <a:pos x="connsiteX3989" y="connsiteY3989"/>
                </a:cxn>
                <a:cxn ang="0">
                  <a:pos x="connsiteX3990" y="connsiteY3990"/>
                </a:cxn>
                <a:cxn ang="0">
                  <a:pos x="connsiteX3991" y="connsiteY3991"/>
                </a:cxn>
                <a:cxn ang="0">
                  <a:pos x="connsiteX3992" y="connsiteY3992"/>
                </a:cxn>
                <a:cxn ang="0">
                  <a:pos x="connsiteX3993" y="connsiteY3993"/>
                </a:cxn>
                <a:cxn ang="0">
                  <a:pos x="connsiteX3994" y="connsiteY3994"/>
                </a:cxn>
                <a:cxn ang="0">
                  <a:pos x="connsiteX3995" y="connsiteY3995"/>
                </a:cxn>
                <a:cxn ang="0">
                  <a:pos x="connsiteX3996" y="connsiteY3996"/>
                </a:cxn>
                <a:cxn ang="0">
                  <a:pos x="connsiteX3997" y="connsiteY3997"/>
                </a:cxn>
                <a:cxn ang="0">
                  <a:pos x="connsiteX3998" y="connsiteY3998"/>
                </a:cxn>
                <a:cxn ang="0">
                  <a:pos x="connsiteX3999" y="connsiteY3999"/>
                </a:cxn>
                <a:cxn ang="0">
                  <a:pos x="connsiteX4000" y="connsiteY4000"/>
                </a:cxn>
                <a:cxn ang="0">
                  <a:pos x="connsiteX4001" y="connsiteY4001"/>
                </a:cxn>
                <a:cxn ang="0">
                  <a:pos x="connsiteX4002" y="connsiteY4002"/>
                </a:cxn>
                <a:cxn ang="0">
                  <a:pos x="connsiteX4003" y="connsiteY4003"/>
                </a:cxn>
                <a:cxn ang="0">
                  <a:pos x="connsiteX4004" y="connsiteY4004"/>
                </a:cxn>
                <a:cxn ang="0">
                  <a:pos x="connsiteX4005" y="connsiteY4005"/>
                </a:cxn>
                <a:cxn ang="0">
                  <a:pos x="connsiteX4006" y="connsiteY4006"/>
                </a:cxn>
                <a:cxn ang="0">
                  <a:pos x="connsiteX4007" y="connsiteY4007"/>
                </a:cxn>
                <a:cxn ang="0">
                  <a:pos x="connsiteX4008" y="connsiteY4008"/>
                </a:cxn>
                <a:cxn ang="0">
                  <a:pos x="connsiteX4009" y="connsiteY4009"/>
                </a:cxn>
                <a:cxn ang="0">
                  <a:pos x="connsiteX4010" y="connsiteY4010"/>
                </a:cxn>
                <a:cxn ang="0">
                  <a:pos x="connsiteX4011" y="connsiteY4011"/>
                </a:cxn>
                <a:cxn ang="0">
                  <a:pos x="connsiteX4012" y="connsiteY4012"/>
                </a:cxn>
                <a:cxn ang="0">
                  <a:pos x="connsiteX4013" y="connsiteY4013"/>
                </a:cxn>
                <a:cxn ang="0">
                  <a:pos x="connsiteX4014" y="connsiteY4014"/>
                </a:cxn>
                <a:cxn ang="0">
                  <a:pos x="connsiteX4015" y="connsiteY4015"/>
                </a:cxn>
                <a:cxn ang="0">
                  <a:pos x="connsiteX4016" y="connsiteY4016"/>
                </a:cxn>
                <a:cxn ang="0">
                  <a:pos x="connsiteX4017" y="connsiteY4017"/>
                </a:cxn>
                <a:cxn ang="0">
                  <a:pos x="connsiteX4018" y="connsiteY4018"/>
                </a:cxn>
                <a:cxn ang="0">
                  <a:pos x="connsiteX4019" y="connsiteY4019"/>
                </a:cxn>
                <a:cxn ang="0">
                  <a:pos x="connsiteX4020" y="connsiteY4020"/>
                </a:cxn>
                <a:cxn ang="0">
                  <a:pos x="connsiteX4021" y="connsiteY4021"/>
                </a:cxn>
                <a:cxn ang="0">
                  <a:pos x="connsiteX4022" y="connsiteY4022"/>
                </a:cxn>
                <a:cxn ang="0">
                  <a:pos x="connsiteX4023" y="connsiteY4023"/>
                </a:cxn>
                <a:cxn ang="0">
                  <a:pos x="connsiteX4024" y="connsiteY4024"/>
                </a:cxn>
                <a:cxn ang="0">
                  <a:pos x="connsiteX4025" y="connsiteY4025"/>
                </a:cxn>
                <a:cxn ang="0">
                  <a:pos x="connsiteX4026" y="connsiteY4026"/>
                </a:cxn>
                <a:cxn ang="0">
                  <a:pos x="connsiteX4027" y="connsiteY4027"/>
                </a:cxn>
                <a:cxn ang="0">
                  <a:pos x="connsiteX4028" y="connsiteY4028"/>
                </a:cxn>
                <a:cxn ang="0">
                  <a:pos x="connsiteX4029" y="connsiteY4029"/>
                </a:cxn>
                <a:cxn ang="0">
                  <a:pos x="connsiteX4030" y="connsiteY4030"/>
                </a:cxn>
                <a:cxn ang="0">
                  <a:pos x="connsiteX4031" y="connsiteY4031"/>
                </a:cxn>
                <a:cxn ang="0">
                  <a:pos x="connsiteX4032" y="connsiteY4032"/>
                </a:cxn>
                <a:cxn ang="0">
                  <a:pos x="connsiteX4033" y="connsiteY4033"/>
                </a:cxn>
                <a:cxn ang="0">
                  <a:pos x="connsiteX4034" y="connsiteY4034"/>
                </a:cxn>
                <a:cxn ang="0">
                  <a:pos x="connsiteX4035" y="connsiteY4035"/>
                </a:cxn>
                <a:cxn ang="0">
                  <a:pos x="connsiteX4036" y="connsiteY4036"/>
                </a:cxn>
                <a:cxn ang="0">
                  <a:pos x="connsiteX4037" y="connsiteY4037"/>
                </a:cxn>
                <a:cxn ang="0">
                  <a:pos x="connsiteX4038" y="connsiteY4038"/>
                </a:cxn>
                <a:cxn ang="0">
                  <a:pos x="connsiteX4039" y="connsiteY4039"/>
                </a:cxn>
                <a:cxn ang="0">
                  <a:pos x="connsiteX4040" y="connsiteY4040"/>
                </a:cxn>
                <a:cxn ang="0">
                  <a:pos x="connsiteX4041" y="connsiteY4041"/>
                </a:cxn>
                <a:cxn ang="0">
                  <a:pos x="connsiteX4042" y="connsiteY4042"/>
                </a:cxn>
                <a:cxn ang="0">
                  <a:pos x="connsiteX4043" y="connsiteY4043"/>
                </a:cxn>
                <a:cxn ang="0">
                  <a:pos x="connsiteX4044" y="connsiteY4044"/>
                </a:cxn>
                <a:cxn ang="0">
                  <a:pos x="connsiteX4045" y="connsiteY4045"/>
                </a:cxn>
                <a:cxn ang="0">
                  <a:pos x="connsiteX4046" y="connsiteY4046"/>
                </a:cxn>
                <a:cxn ang="0">
                  <a:pos x="connsiteX4047" y="connsiteY4047"/>
                </a:cxn>
                <a:cxn ang="0">
                  <a:pos x="connsiteX4048" y="connsiteY4048"/>
                </a:cxn>
                <a:cxn ang="0">
                  <a:pos x="connsiteX4049" y="connsiteY4049"/>
                </a:cxn>
                <a:cxn ang="0">
                  <a:pos x="connsiteX4050" y="connsiteY4050"/>
                </a:cxn>
                <a:cxn ang="0">
                  <a:pos x="connsiteX4051" y="connsiteY4051"/>
                </a:cxn>
                <a:cxn ang="0">
                  <a:pos x="connsiteX4052" y="connsiteY4052"/>
                </a:cxn>
                <a:cxn ang="0">
                  <a:pos x="connsiteX4053" y="connsiteY4053"/>
                </a:cxn>
                <a:cxn ang="0">
                  <a:pos x="connsiteX4054" y="connsiteY4054"/>
                </a:cxn>
                <a:cxn ang="0">
                  <a:pos x="connsiteX4055" y="connsiteY4055"/>
                </a:cxn>
                <a:cxn ang="0">
                  <a:pos x="connsiteX4056" y="connsiteY4056"/>
                </a:cxn>
                <a:cxn ang="0">
                  <a:pos x="connsiteX4057" y="connsiteY4057"/>
                </a:cxn>
                <a:cxn ang="0">
                  <a:pos x="connsiteX4058" y="connsiteY4058"/>
                </a:cxn>
                <a:cxn ang="0">
                  <a:pos x="connsiteX4059" y="connsiteY4059"/>
                </a:cxn>
                <a:cxn ang="0">
                  <a:pos x="connsiteX4060" y="connsiteY4060"/>
                </a:cxn>
                <a:cxn ang="0">
                  <a:pos x="connsiteX4061" y="connsiteY4061"/>
                </a:cxn>
                <a:cxn ang="0">
                  <a:pos x="connsiteX4062" y="connsiteY4062"/>
                </a:cxn>
                <a:cxn ang="0">
                  <a:pos x="connsiteX4063" y="connsiteY4063"/>
                </a:cxn>
                <a:cxn ang="0">
                  <a:pos x="connsiteX4064" y="connsiteY4064"/>
                </a:cxn>
                <a:cxn ang="0">
                  <a:pos x="connsiteX4065" y="connsiteY4065"/>
                </a:cxn>
                <a:cxn ang="0">
                  <a:pos x="connsiteX4066" y="connsiteY4066"/>
                </a:cxn>
                <a:cxn ang="0">
                  <a:pos x="connsiteX4067" y="connsiteY4067"/>
                </a:cxn>
                <a:cxn ang="0">
                  <a:pos x="connsiteX4068" y="connsiteY4068"/>
                </a:cxn>
                <a:cxn ang="0">
                  <a:pos x="connsiteX4069" y="connsiteY4069"/>
                </a:cxn>
                <a:cxn ang="0">
                  <a:pos x="connsiteX4070" y="connsiteY4070"/>
                </a:cxn>
                <a:cxn ang="0">
                  <a:pos x="connsiteX4071" y="connsiteY4071"/>
                </a:cxn>
                <a:cxn ang="0">
                  <a:pos x="connsiteX4072" y="connsiteY4072"/>
                </a:cxn>
                <a:cxn ang="0">
                  <a:pos x="connsiteX4073" y="connsiteY4073"/>
                </a:cxn>
                <a:cxn ang="0">
                  <a:pos x="connsiteX4074" y="connsiteY4074"/>
                </a:cxn>
                <a:cxn ang="0">
                  <a:pos x="connsiteX4075" y="connsiteY4075"/>
                </a:cxn>
                <a:cxn ang="0">
                  <a:pos x="connsiteX4076" y="connsiteY4076"/>
                </a:cxn>
                <a:cxn ang="0">
                  <a:pos x="connsiteX4077" y="connsiteY4077"/>
                </a:cxn>
                <a:cxn ang="0">
                  <a:pos x="connsiteX4078" y="connsiteY4078"/>
                </a:cxn>
                <a:cxn ang="0">
                  <a:pos x="connsiteX4079" y="connsiteY4079"/>
                </a:cxn>
                <a:cxn ang="0">
                  <a:pos x="connsiteX4080" y="connsiteY4080"/>
                </a:cxn>
                <a:cxn ang="0">
                  <a:pos x="connsiteX4081" y="connsiteY4081"/>
                </a:cxn>
                <a:cxn ang="0">
                  <a:pos x="connsiteX4082" y="connsiteY4082"/>
                </a:cxn>
                <a:cxn ang="0">
                  <a:pos x="connsiteX4083" y="connsiteY4083"/>
                </a:cxn>
                <a:cxn ang="0">
                  <a:pos x="connsiteX4084" y="connsiteY4084"/>
                </a:cxn>
                <a:cxn ang="0">
                  <a:pos x="connsiteX4085" y="connsiteY4085"/>
                </a:cxn>
                <a:cxn ang="0">
                  <a:pos x="connsiteX4086" y="connsiteY4086"/>
                </a:cxn>
                <a:cxn ang="0">
                  <a:pos x="connsiteX4087" y="connsiteY4087"/>
                </a:cxn>
                <a:cxn ang="0">
                  <a:pos x="connsiteX4088" y="connsiteY4088"/>
                </a:cxn>
                <a:cxn ang="0">
                  <a:pos x="connsiteX4089" y="connsiteY4089"/>
                </a:cxn>
                <a:cxn ang="0">
                  <a:pos x="connsiteX4090" y="connsiteY4090"/>
                </a:cxn>
                <a:cxn ang="0">
                  <a:pos x="connsiteX4091" y="connsiteY4091"/>
                </a:cxn>
                <a:cxn ang="0">
                  <a:pos x="connsiteX4092" y="connsiteY4092"/>
                </a:cxn>
                <a:cxn ang="0">
                  <a:pos x="connsiteX4093" y="connsiteY4093"/>
                </a:cxn>
                <a:cxn ang="0">
                  <a:pos x="connsiteX4094" y="connsiteY4094"/>
                </a:cxn>
                <a:cxn ang="0">
                  <a:pos x="connsiteX4095" y="connsiteY4095"/>
                </a:cxn>
                <a:cxn ang="0">
                  <a:pos x="connsiteX4096" y="connsiteY4096"/>
                </a:cxn>
                <a:cxn ang="0">
                  <a:pos x="connsiteX4097" y="connsiteY4097"/>
                </a:cxn>
                <a:cxn ang="0">
                  <a:pos x="connsiteX4098" y="connsiteY4098"/>
                </a:cxn>
                <a:cxn ang="0">
                  <a:pos x="connsiteX4099" y="connsiteY4099"/>
                </a:cxn>
                <a:cxn ang="0">
                  <a:pos x="connsiteX4100" y="connsiteY4100"/>
                </a:cxn>
                <a:cxn ang="0">
                  <a:pos x="connsiteX4101" y="connsiteY4101"/>
                </a:cxn>
                <a:cxn ang="0">
                  <a:pos x="connsiteX4102" y="connsiteY4102"/>
                </a:cxn>
                <a:cxn ang="0">
                  <a:pos x="connsiteX4103" y="connsiteY4103"/>
                </a:cxn>
                <a:cxn ang="0">
                  <a:pos x="connsiteX4104" y="connsiteY4104"/>
                </a:cxn>
                <a:cxn ang="0">
                  <a:pos x="connsiteX4105" y="connsiteY4105"/>
                </a:cxn>
                <a:cxn ang="0">
                  <a:pos x="connsiteX4106" y="connsiteY4106"/>
                </a:cxn>
                <a:cxn ang="0">
                  <a:pos x="connsiteX4107" y="connsiteY4107"/>
                </a:cxn>
                <a:cxn ang="0">
                  <a:pos x="connsiteX4108" y="connsiteY4108"/>
                </a:cxn>
                <a:cxn ang="0">
                  <a:pos x="connsiteX4109" y="connsiteY4109"/>
                </a:cxn>
                <a:cxn ang="0">
                  <a:pos x="connsiteX4110" y="connsiteY4110"/>
                </a:cxn>
                <a:cxn ang="0">
                  <a:pos x="connsiteX4111" y="connsiteY4111"/>
                </a:cxn>
                <a:cxn ang="0">
                  <a:pos x="connsiteX4112" y="connsiteY4112"/>
                </a:cxn>
                <a:cxn ang="0">
                  <a:pos x="connsiteX4113" y="connsiteY4113"/>
                </a:cxn>
                <a:cxn ang="0">
                  <a:pos x="connsiteX4114" y="connsiteY4114"/>
                </a:cxn>
                <a:cxn ang="0">
                  <a:pos x="connsiteX4115" y="connsiteY4115"/>
                </a:cxn>
                <a:cxn ang="0">
                  <a:pos x="connsiteX4116" y="connsiteY4116"/>
                </a:cxn>
                <a:cxn ang="0">
                  <a:pos x="connsiteX4117" y="connsiteY4117"/>
                </a:cxn>
                <a:cxn ang="0">
                  <a:pos x="connsiteX4118" y="connsiteY4118"/>
                </a:cxn>
                <a:cxn ang="0">
                  <a:pos x="connsiteX4119" y="connsiteY4119"/>
                </a:cxn>
                <a:cxn ang="0">
                  <a:pos x="connsiteX4120" y="connsiteY4120"/>
                </a:cxn>
                <a:cxn ang="0">
                  <a:pos x="connsiteX4121" y="connsiteY4121"/>
                </a:cxn>
                <a:cxn ang="0">
                  <a:pos x="connsiteX4122" y="connsiteY4122"/>
                </a:cxn>
                <a:cxn ang="0">
                  <a:pos x="connsiteX4123" y="connsiteY4123"/>
                </a:cxn>
                <a:cxn ang="0">
                  <a:pos x="connsiteX4124" y="connsiteY4124"/>
                </a:cxn>
                <a:cxn ang="0">
                  <a:pos x="connsiteX4125" y="connsiteY4125"/>
                </a:cxn>
                <a:cxn ang="0">
                  <a:pos x="connsiteX4126" y="connsiteY4126"/>
                </a:cxn>
                <a:cxn ang="0">
                  <a:pos x="connsiteX4127" y="connsiteY4127"/>
                </a:cxn>
                <a:cxn ang="0">
                  <a:pos x="connsiteX4128" y="connsiteY4128"/>
                </a:cxn>
                <a:cxn ang="0">
                  <a:pos x="connsiteX4129" y="connsiteY4129"/>
                </a:cxn>
                <a:cxn ang="0">
                  <a:pos x="connsiteX4130" y="connsiteY4130"/>
                </a:cxn>
                <a:cxn ang="0">
                  <a:pos x="connsiteX4131" y="connsiteY4131"/>
                </a:cxn>
                <a:cxn ang="0">
                  <a:pos x="connsiteX4132" y="connsiteY4132"/>
                </a:cxn>
                <a:cxn ang="0">
                  <a:pos x="connsiteX4133" y="connsiteY4133"/>
                </a:cxn>
                <a:cxn ang="0">
                  <a:pos x="connsiteX4134" y="connsiteY4134"/>
                </a:cxn>
                <a:cxn ang="0">
                  <a:pos x="connsiteX4135" y="connsiteY4135"/>
                </a:cxn>
                <a:cxn ang="0">
                  <a:pos x="connsiteX4136" y="connsiteY4136"/>
                </a:cxn>
                <a:cxn ang="0">
                  <a:pos x="connsiteX4137" y="connsiteY4137"/>
                </a:cxn>
                <a:cxn ang="0">
                  <a:pos x="connsiteX4138" y="connsiteY4138"/>
                </a:cxn>
                <a:cxn ang="0">
                  <a:pos x="connsiteX4139" y="connsiteY4139"/>
                </a:cxn>
                <a:cxn ang="0">
                  <a:pos x="connsiteX4140" y="connsiteY4140"/>
                </a:cxn>
                <a:cxn ang="0">
                  <a:pos x="connsiteX4141" y="connsiteY4141"/>
                </a:cxn>
                <a:cxn ang="0">
                  <a:pos x="connsiteX4142" y="connsiteY4142"/>
                </a:cxn>
                <a:cxn ang="0">
                  <a:pos x="connsiteX4143" y="connsiteY4143"/>
                </a:cxn>
                <a:cxn ang="0">
                  <a:pos x="connsiteX4144" y="connsiteY4144"/>
                </a:cxn>
                <a:cxn ang="0">
                  <a:pos x="connsiteX4145" y="connsiteY4145"/>
                </a:cxn>
                <a:cxn ang="0">
                  <a:pos x="connsiteX4146" y="connsiteY4146"/>
                </a:cxn>
                <a:cxn ang="0">
                  <a:pos x="connsiteX4147" y="connsiteY4147"/>
                </a:cxn>
                <a:cxn ang="0">
                  <a:pos x="connsiteX4148" y="connsiteY4148"/>
                </a:cxn>
                <a:cxn ang="0">
                  <a:pos x="connsiteX4149" y="connsiteY4149"/>
                </a:cxn>
                <a:cxn ang="0">
                  <a:pos x="connsiteX4150" y="connsiteY4150"/>
                </a:cxn>
                <a:cxn ang="0">
                  <a:pos x="connsiteX4151" y="connsiteY4151"/>
                </a:cxn>
                <a:cxn ang="0">
                  <a:pos x="connsiteX4152" y="connsiteY4152"/>
                </a:cxn>
                <a:cxn ang="0">
                  <a:pos x="connsiteX4153" y="connsiteY4153"/>
                </a:cxn>
                <a:cxn ang="0">
                  <a:pos x="connsiteX4154" y="connsiteY4154"/>
                </a:cxn>
                <a:cxn ang="0">
                  <a:pos x="connsiteX4155" y="connsiteY4155"/>
                </a:cxn>
                <a:cxn ang="0">
                  <a:pos x="connsiteX4156" y="connsiteY4156"/>
                </a:cxn>
                <a:cxn ang="0">
                  <a:pos x="connsiteX4157" y="connsiteY4157"/>
                </a:cxn>
                <a:cxn ang="0">
                  <a:pos x="connsiteX4158" y="connsiteY4158"/>
                </a:cxn>
                <a:cxn ang="0">
                  <a:pos x="connsiteX4159" y="connsiteY4159"/>
                </a:cxn>
                <a:cxn ang="0">
                  <a:pos x="connsiteX4160" y="connsiteY4160"/>
                </a:cxn>
                <a:cxn ang="0">
                  <a:pos x="connsiteX4161" y="connsiteY4161"/>
                </a:cxn>
                <a:cxn ang="0">
                  <a:pos x="connsiteX4162" y="connsiteY4162"/>
                </a:cxn>
                <a:cxn ang="0">
                  <a:pos x="connsiteX4163" y="connsiteY4163"/>
                </a:cxn>
                <a:cxn ang="0">
                  <a:pos x="connsiteX4164" y="connsiteY4164"/>
                </a:cxn>
                <a:cxn ang="0">
                  <a:pos x="connsiteX4165" y="connsiteY4165"/>
                </a:cxn>
                <a:cxn ang="0">
                  <a:pos x="connsiteX4166" y="connsiteY4166"/>
                </a:cxn>
                <a:cxn ang="0">
                  <a:pos x="connsiteX4167" y="connsiteY4167"/>
                </a:cxn>
                <a:cxn ang="0">
                  <a:pos x="connsiteX4168" y="connsiteY4168"/>
                </a:cxn>
                <a:cxn ang="0">
                  <a:pos x="connsiteX4169" y="connsiteY4169"/>
                </a:cxn>
                <a:cxn ang="0">
                  <a:pos x="connsiteX4170" y="connsiteY4170"/>
                </a:cxn>
                <a:cxn ang="0">
                  <a:pos x="connsiteX4171" y="connsiteY4171"/>
                </a:cxn>
                <a:cxn ang="0">
                  <a:pos x="connsiteX4172" y="connsiteY4172"/>
                </a:cxn>
                <a:cxn ang="0">
                  <a:pos x="connsiteX4173" y="connsiteY4173"/>
                </a:cxn>
                <a:cxn ang="0">
                  <a:pos x="connsiteX4174" y="connsiteY4174"/>
                </a:cxn>
                <a:cxn ang="0">
                  <a:pos x="connsiteX4175" y="connsiteY4175"/>
                </a:cxn>
                <a:cxn ang="0">
                  <a:pos x="connsiteX4176" y="connsiteY4176"/>
                </a:cxn>
                <a:cxn ang="0">
                  <a:pos x="connsiteX4177" y="connsiteY4177"/>
                </a:cxn>
                <a:cxn ang="0">
                  <a:pos x="connsiteX4178" y="connsiteY4178"/>
                </a:cxn>
                <a:cxn ang="0">
                  <a:pos x="connsiteX4179" y="connsiteY4179"/>
                </a:cxn>
                <a:cxn ang="0">
                  <a:pos x="connsiteX4180" y="connsiteY4180"/>
                </a:cxn>
                <a:cxn ang="0">
                  <a:pos x="connsiteX4181" y="connsiteY4181"/>
                </a:cxn>
                <a:cxn ang="0">
                  <a:pos x="connsiteX4182" y="connsiteY4182"/>
                </a:cxn>
                <a:cxn ang="0">
                  <a:pos x="connsiteX4183" y="connsiteY4183"/>
                </a:cxn>
                <a:cxn ang="0">
                  <a:pos x="connsiteX4184" y="connsiteY4184"/>
                </a:cxn>
                <a:cxn ang="0">
                  <a:pos x="connsiteX4185" y="connsiteY4185"/>
                </a:cxn>
                <a:cxn ang="0">
                  <a:pos x="connsiteX4186" y="connsiteY4186"/>
                </a:cxn>
                <a:cxn ang="0">
                  <a:pos x="connsiteX4187" y="connsiteY4187"/>
                </a:cxn>
                <a:cxn ang="0">
                  <a:pos x="connsiteX4188" y="connsiteY4188"/>
                </a:cxn>
                <a:cxn ang="0">
                  <a:pos x="connsiteX4189" y="connsiteY4189"/>
                </a:cxn>
                <a:cxn ang="0">
                  <a:pos x="connsiteX4190" y="connsiteY4190"/>
                </a:cxn>
                <a:cxn ang="0">
                  <a:pos x="connsiteX4191" y="connsiteY4191"/>
                </a:cxn>
                <a:cxn ang="0">
                  <a:pos x="connsiteX4192" y="connsiteY4192"/>
                </a:cxn>
                <a:cxn ang="0">
                  <a:pos x="connsiteX4193" y="connsiteY4193"/>
                </a:cxn>
                <a:cxn ang="0">
                  <a:pos x="connsiteX4194" y="connsiteY4194"/>
                </a:cxn>
                <a:cxn ang="0">
                  <a:pos x="connsiteX4195" y="connsiteY4195"/>
                </a:cxn>
                <a:cxn ang="0">
                  <a:pos x="connsiteX4196" y="connsiteY4196"/>
                </a:cxn>
                <a:cxn ang="0">
                  <a:pos x="connsiteX4197" y="connsiteY4197"/>
                </a:cxn>
                <a:cxn ang="0">
                  <a:pos x="connsiteX4198" y="connsiteY4198"/>
                </a:cxn>
                <a:cxn ang="0">
                  <a:pos x="connsiteX4199" y="connsiteY4199"/>
                </a:cxn>
                <a:cxn ang="0">
                  <a:pos x="connsiteX4200" y="connsiteY4200"/>
                </a:cxn>
                <a:cxn ang="0">
                  <a:pos x="connsiteX4201" y="connsiteY4201"/>
                </a:cxn>
                <a:cxn ang="0">
                  <a:pos x="connsiteX4202" y="connsiteY4202"/>
                </a:cxn>
                <a:cxn ang="0">
                  <a:pos x="connsiteX4203" y="connsiteY4203"/>
                </a:cxn>
                <a:cxn ang="0">
                  <a:pos x="connsiteX4204" y="connsiteY4204"/>
                </a:cxn>
                <a:cxn ang="0">
                  <a:pos x="connsiteX4205" y="connsiteY4205"/>
                </a:cxn>
                <a:cxn ang="0">
                  <a:pos x="connsiteX4206" y="connsiteY4206"/>
                </a:cxn>
                <a:cxn ang="0">
                  <a:pos x="connsiteX4207" y="connsiteY4207"/>
                </a:cxn>
                <a:cxn ang="0">
                  <a:pos x="connsiteX4208" y="connsiteY4208"/>
                </a:cxn>
                <a:cxn ang="0">
                  <a:pos x="connsiteX4209" y="connsiteY4209"/>
                </a:cxn>
                <a:cxn ang="0">
                  <a:pos x="connsiteX4210" y="connsiteY4210"/>
                </a:cxn>
                <a:cxn ang="0">
                  <a:pos x="connsiteX4211" y="connsiteY4211"/>
                </a:cxn>
                <a:cxn ang="0">
                  <a:pos x="connsiteX4212" y="connsiteY4212"/>
                </a:cxn>
                <a:cxn ang="0">
                  <a:pos x="connsiteX4213" y="connsiteY4213"/>
                </a:cxn>
                <a:cxn ang="0">
                  <a:pos x="connsiteX4214" y="connsiteY4214"/>
                </a:cxn>
                <a:cxn ang="0">
                  <a:pos x="connsiteX4215" y="connsiteY4215"/>
                </a:cxn>
                <a:cxn ang="0">
                  <a:pos x="connsiteX4216" y="connsiteY4216"/>
                </a:cxn>
                <a:cxn ang="0">
                  <a:pos x="connsiteX4217" y="connsiteY4217"/>
                </a:cxn>
                <a:cxn ang="0">
                  <a:pos x="connsiteX4218" y="connsiteY4218"/>
                </a:cxn>
                <a:cxn ang="0">
                  <a:pos x="connsiteX4219" y="connsiteY4219"/>
                </a:cxn>
                <a:cxn ang="0">
                  <a:pos x="connsiteX4220" y="connsiteY4220"/>
                </a:cxn>
                <a:cxn ang="0">
                  <a:pos x="connsiteX4221" y="connsiteY4221"/>
                </a:cxn>
                <a:cxn ang="0">
                  <a:pos x="connsiteX4222" y="connsiteY4222"/>
                </a:cxn>
                <a:cxn ang="0">
                  <a:pos x="connsiteX4223" y="connsiteY4223"/>
                </a:cxn>
                <a:cxn ang="0">
                  <a:pos x="connsiteX4224" y="connsiteY4224"/>
                </a:cxn>
                <a:cxn ang="0">
                  <a:pos x="connsiteX4225" y="connsiteY4225"/>
                </a:cxn>
                <a:cxn ang="0">
                  <a:pos x="connsiteX4226" y="connsiteY4226"/>
                </a:cxn>
                <a:cxn ang="0">
                  <a:pos x="connsiteX4227" y="connsiteY4227"/>
                </a:cxn>
                <a:cxn ang="0">
                  <a:pos x="connsiteX4228" y="connsiteY4228"/>
                </a:cxn>
                <a:cxn ang="0">
                  <a:pos x="connsiteX4229" y="connsiteY4229"/>
                </a:cxn>
                <a:cxn ang="0">
                  <a:pos x="connsiteX4230" y="connsiteY4230"/>
                </a:cxn>
                <a:cxn ang="0">
                  <a:pos x="connsiteX4231" y="connsiteY4231"/>
                </a:cxn>
                <a:cxn ang="0">
                  <a:pos x="connsiteX4232" y="connsiteY4232"/>
                </a:cxn>
                <a:cxn ang="0">
                  <a:pos x="connsiteX4233" y="connsiteY4233"/>
                </a:cxn>
                <a:cxn ang="0">
                  <a:pos x="connsiteX4234" y="connsiteY4234"/>
                </a:cxn>
                <a:cxn ang="0">
                  <a:pos x="connsiteX4235" y="connsiteY4235"/>
                </a:cxn>
                <a:cxn ang="0">
                  <a:pos x="connsiteX4236" y="connsiteY4236"/>
                </a:cxn>
                <a:cxn ang="0">
                  <a:pos x="connsiteX4237" y="connsiteY4237"/>
                </a:cxn>
                <a:cxn ang="0">
                  <a:pos x="connsiteX4238" y="connsiteY4238"/>
                </a:cxn>
                <a:cxn ang="0">
                  <a:pos x="connsiteX4239" y="connsiteY4239"/>
                </a:cxn>
                <a:cxn ang="0">
                  <a:pos x="connsiteX4240" y="connsiteY4240"/>
                </a:cxn>
                <a:cxn ang="0">
                  <a:pos x="connsiteX4241" y="connsiteY4241"/>
                </a:cxn>
                <a:cxn ang="0">
                  <a:pos x="connsiteX4242" y="connsiteY4242"/>
                </a:cxn>
                <a:cxn ang="0">
                  <a:pos x="connsiteX4243" y="connsiteY4243"/>
                </a:cxn>
                <a:cxn ang="0">
                  <a:pos x="connsiteX4244" y="connsiteY4244"/>
                </a:cxn>
                <a:cxn ang="0">
                  <a:pos x="connsiteX4245" y="connsiteY4245"/>
                </a:cxn>
                <a:cxn ang="0">
                  <a:pos x="connsiteX4246" y="connsiteY4246"/>
                </a:cxn>
                <a:cxn ang="0">
                  <a:pos x="connsiteX4247" y="connsiteY4247"/>
                </a:cxn>
                <a:cxn ang="0">
                  <a:pos x="connsiteX4248" y="connsiteY4248"/>
                </a:cxn>
                <a:cxn ang="0">
                  <a:pos x="connsiteX4249" y="connsiteY4249"/>
                </a:cxn>
                <a:cxn ang="0">
                  <a:pos x="connsiteX4250" y="connsiteY4250"/>
                </a:cxn>
                <a:cxn ang="0">
                  <a:pos x="connsiteX4251" y="connsiteY4251"/>
                </a:cxn>
                <a:cxn ang="0">
                  <a:pos x="connsiteX4252" y="connsiteY4252"/>
                </a:cxn>
                <a:cxn ang="0">
                  <a:pos x="connsiteX4253" y="connsiteY4253"/>
                </a:cxn>
                <a:cxn ang="0">
                  <a:pos x="connsiteX4254" y="connsiteY4254"/>
                </a:cxn>
                <a:cxn ang="0">
                  <a:pos x="connsiteX4255" y="connsiteY4255"/>
                </a:cxn>
                <a:cxn ang="0">
                  <a:pos x="connsiteX4256" y="connsiteY4256"/>
                </a:cxn>
                <a:cxn ang="0">
                  <a:pos x="connsiteX4257" y="connsiteY4257"/>
                </a:cxn>
                <a:cxn ang="0">
                  <a:pos x="connsiteX4258" y="connsiteY4258"/>
                </a:cxn>
                <a:cxn ang="0">
                  <a:pos x="connsiteX4259" y="connsiteY4259"/>
                </a:cxn>
                <a:cxn ang="0">
                  <a:pos x="connsiteX4260" y="connsiteY4260"/>
                </a:cxn>
                <a:cxn ang="0">
                  <a:pos x="connsiteX4261" y="connsiteY4261"/>
                </a:cxn>
                <a:cxn ang="0">
                  <a:pos x="connsiteX4262" y="connsiteY4262"/>
                </a:cxn>
                <a:cxn ang="0">
                  <a:pos x="connsiteX4263" y="connsiteY4263"/>
                </a:cxn>
                <a:cxn ang="0">
                  <a:pos x="connsiteX4264" y="connsiteY4264"/>
                </a:cxn>
                <a:cxn ang="0">
                  <a:pos x="connsiteX4265" y="connsiteY4265"/>
                </a:cxn>
                <a:cxn ang="0">
                  <a:pos x="connsiteX4266" y="connsiteY4266"/>
                </a:cxn>
                <a:cxn ang="0">
                  <a:pos x="connsiteX4267" y="connsiteY4267"/>
                </a:cxn>
                <a:cxn ang="0">
                  <a:pos x="connsiteX4268" y="connsiteY4268"/>
                </a:cxn>
                <a:cxn ang="0">
                  <a:pos x="connsiteX4269" y="connsiteY4269"/>
                </a:cxn>
                <a:cxn ang="0">
                  <a:pos x="connsiteX4270" y="connsiteY4270"/>
                </a:cxn>
                <a:cxn ang="0">
                  <a:pos x="connsiteX4271" y="connsiteY4271"/>
                </a:cxn>
                <a:cxn ang="0">
                  <a:pos x="connsiteX4272" y="connsiteY4272"/>
                </a:cxn>
                <a:cxn ang="0">
                  <a:pos x="connsiteX4273" y="connsiteY4273"/>
                </a:cxn>
                <a:cxn ang="0">
                  <a:pos x="connsiteX4274" y="connsiteY4274"/>
                </a:cxn>
                <a:cxn ang="0">
                  <a:pos x="connsiteX4275" y="connsiteY4275"/>
                </a:cxn>
                <a:cxn ang="0">
                  <a:pos x="connsiteX4276" y="connsiteY4276"/>
                </a:cxn>
                <a:cxn ang="0">
                  <a:pos x="connsiteX4277" y="connsiteY4277"/>
                </a:cxn>
                <a:cxn ang="0">
                  <a:pos x="connsiteX4278" y="connsiteY4278"/>
                </a:cxn>
                <a:cxn ang="0">
                  <a:pos x="connsiteX4279" y="connsiteY4279"/>
                </a:cxn>
                <a:cxn ang="0">
                  <a:pos x="connsiteX4280" y="connsiteY4280"/>
                </a:cxn>
                <a:cxn ang="0">
                  <a:pos x="connsiteX4281" y="connsiteY4281"/>
                </a:cxn>
                <a:cxn ang="0">
                  <a:pos x="connsiteX4282" y="connsiteY4282"/>
                </a:cxn>
                <a:cxn ang="0">
                  <a:pos x="connsiteX4283" y="connsiteY4283"/>
                </a:cxn>
                <a:cxn ang="0">
                  <a:pos x="connsiteX4284" y="connsiteY4284"/>
                </a:cxn>
                <a:cxn ang="0">
                  <a:pos x="connsiteX4285" y="connsiteY4285"/>
                </a:cxn>
                <a:cxn ang="0">
                  <a:pos x="connsiteX4286" y="connsiteY4286"/>
                </a:cxn>
                <a:cxn ang="0">
                  <a:pos x="connsiteX4287" y="connsiteY4287"/>
                </a:cxn>
                <a:cxn ang="0">
                  <a:pos x="connsiteX4288" y="connsiteY4288"/>
                </a:cxn>
                <a:cxn ang="0">
                  <a:pos x="connsiteX4289" y="connsiteY4289"/>
                </a:cxn>
                <a:cxn ang="0">
                  <a:pos x="connsiteX4290" y="connsiteY4290"/>
                </a:cxn>
                <a:cxn ang="0">
                  <a:pos x="connsiteX4291" y="connsiteY4291"/>
                </a:cxn>
                <a:cxn ang="0">
                  <a:pos x="connsiteX4292" y="connsiteY4292"/>
                </a:cxn>
                <a:cxn ang="0">
                  <a:pos x="connsiteX4293" y="connsiteY4293"/>
                </a:cxn>
                <a:cxn ang="0">
                  <a:pos x="connsiteX4294" y="connsiteY4294"/>
                </a:cxn>
                <a:cxn ang="0">
                  <a:pos x="connsiteX4295" y="connsiteY4295"/>
                </a:cxn>
                <a:cxn ang="0">
                  <a:pos x="connsiteX4296" y="connsiteY4296"/>
                </a:cxn>
                <a:cxn ang="0">
                  <a:pos x="connsiteX4297" y="connsiteY4297"/>
                </a:cxn>
                <a:cxn ang="0">
                  <a:pos x="connsiteX4298" y="connsiteY4298"/>
                </a:cxn>
                <a:cxn ang="0">
                  <a:pos x="connsiteX4299" y="connsiteY4299"/>
                </a:cxn>
                <a:cxn ang="0">
                  <a:pos x="connsiteX4300" y="connsiteY4300"/>
                </a:cxn>
                <a:cxn ang="0">
                  <a:pos x="connsiteX4301" y="connsiteY4301"/>
                </a:cxn>
                <a:cxn ang="0">
                  <a:pos x="connsiteX4302" y="connsiteY4302"/>
                </a:cxn>
                <a:cxn ang="0">
                  <a:pos x="connsiteX4303" y="connsiteY4303"/>
                </a:cxn>
                <a:cxn ang="0">
                  <a:pos x="connsiteX4304" y="connsiteY4304"/>
                </a:cxn>
                <a:cxn ang="0">
                  <a:pos x="connsiteX4305" y="connsiteY4305"/>
                </a:cxn>
                <a:cxn ang="0">
                  <a:pos x="connsiteX4306" y="connsiteY4306"/>
                </a:cxn>
                <a:cxn ang="0">
                  <a:pos x="connsiteX4307" y="connsiteY4307"/>
                </a:cxn>
                <a:cxn ang="0">
                  <a:pos x="connsiteX4308" y="connsiteY4308"/>
                </a:cxn>
                <a:cxn ang="0">
                  <a:pos x="connsiteX4309" y="connsiteY4309"/>
                </a:cxn>
                <a:cxn ang="0">
                  <a:pos x="connsiteX4310" y="connsiteY4310"/>
                </a:cxn>
                <a:cxn ang="0">
                  <a:pos x="connsiteX4311" y="connsiteY4311"/>
                </a:cxn>
                <a:cxn ang="0">
                  <a:pos x="connsiteX4312" y="connsiteY4312"/>
                </a:cxn>
                <a:cxn ang="0">
                  <a:pos x="connsiteX4313" y="connsiteY4313"/>
                </a:cxn>
                <a:cxn ang="0">
                  <a:pos x="connsiteX4314" y="connsiteY4314"/>
                </a:cxn>
                <a:cxn ang="0">
                  <a:pos x="connsiteX4315" y="connsiteY4315"/>
                </a:cxn>
                <a:cxn ang="0">
                  <a:pos x="connsiteX4316" y="connsiteY4316"/>
                </a:cxn>
                <a:cxn ang="0">
                  <a:pos x="connsiteX4317" y="connsiteY4317"/>
                </a:cxn>
                <a:cxn ang="0">
                  <a:pos x="connsiteX4318" y="connsiteY4318"/>
                </a:cxn>
                <a:cxn ang="0">
                  <a:pos x="connsiteX4319" y="connsiteY4319"/>
                </a:cxn>
                <a:cxn ang="0">
                  <a:pos x="connsiteX4320" y="connsiteY4320"/>
                </a:cxn>
                <a:cxn ang="0">
                  <a:pos x="connsiteX4321" y="connsiteY4321"/>
                </a:cxn>
                <a:cxn ang="0">
                  <a:pos x="connsiteX4322" y="connsiteY4322"/>
                </a:cxn>
                <a:cxn ang="0">
                  <a:pos x="connsiteX4323" y="connsiteY4323"/>
                </a:cxn>
                <a:cxn ang="0">
                  <a:pos x="connsiteX4324" y="connsiteY4324"/>
                </a:cxn>
                <a:cxn ang="0">
                  <a:pos x="connsiteX4325" y="connsiteY4325"/>
                </a:cxn>
                <a:cxn ang="0">
                  <a:pos x="connsiteX4326" y="connsiteY4326"/>
                </a:cxn>
                <a:cxn ang="0">
                  <a:pos x="connsiteX4327" y="connsiteY4327"/>
                </a:cxn>
                <a:cxn ang="0">
                  <a:pos x="connsiteX4328" y="connsiteY4328"/>
                </a:cxn>
                <a:cxn ang="0">
                  <a:pos x="connsiteX4329" y="connsiteY4329"/>
                </a:cxn>
                <a:cxn ang="0">
                  <a:pos x="connsiteX4330" y="connsiteY4330"/>
                </a:cxn>
                <a:cxn ang="0">
                  <a:pos x="connsiteX4331" y="connsiteY4331"/>
                </a:cxn>
                <a:cxn ang="0">
                  <a:pos x="connsiteX4332" y="connsiteY4332"/>
                </a:cxn>
                <a:cxn ang="0">
                  <a:pos x="connsiteX4333" y="connsiteY4333"/>
                </a:cxn>
                <a:cxn ang="0">
                  <a:pos x="connsiteX4334" y="connsiteY4334"/>
                </a:cxn>
                <a:cxn ang="0">
                  <a:pos x="connsiteX4335" y="connsiteY4335"/>
                </a:cxn>
                <a:cxn ang="0">
                  <a:pos x="connsiteX4336" y="connsiteY4336"/>
                </a:cxn>
                <a:cxn ang="0">
                  <a:pos x="connsiteX4337" y="connsiteY4337"/>
                </a:cxn>
                <a:cxn ang="0">
                  <a:pos x="connsiteX4338" y="connsiteY4338"/>
                </a:cxn>
                <a:cxn ang="0">
                  <a:pos x="connsiteX4339" y="connsiteY4339"/>
                </a:cxn>
                <a:cxn ang="0">
                  <a:pos x="connsiteX4340" y="connsiteY4340"/>
                </a:cxn>
                <a:cxn ang="0">
                  <a:pos x="connsiteX4341" y="connsiteY4341"/>
                </a:cxn>
                <a:cxn ang="0">
                  <a:pos x="connsiteX4342" y="connsiteY4342"/>
                </a:cxn>
                <a:cxn ang="0">
                  <a:pos x="connsiteX4343" y="connsiteY4343"/>
                </a:cxn>
                <a:cxn ang="0">
                  <a:pos x="connsiteX4344" y="connsiteY4344"/>
                </a:cxn>
                <a:cxn ang="0">
                  <a:pos x="connsiteX4345" y="connsiteY4345"/>
                </a:cxn>
                <a:cxn ang="0">
                  <a:pos x="connsiteX4346" y="connsiteY4346"/>
                </a:cxn>
                <a:cxn ang="0">
                  <a:pos x="connsiteX4347" y="connsiteY4347"/>
                </a:cxn>
                <a:cxn ang="0">
                  <a:pos x="connsiteX4348" y="connsiteY4348"/>
                </a:cxn>
                <a:cxn ang="0">
                  <a:pos x="connsiteX4349" y="connsiteY4349"/>
                </a:cxn>
                <a:cxn ang="0">
                  <a:pos x="connsiteX4350" y="connsiteY4350"/>
                </a:cxn>
                <a:cxn ang="0">
                  <a:pos x="connsiteX4351" y="connsiteY4351"/>
                </a:cxn>
                <a:cxn ang="0">
                  <a:pos x="connsiteX4352" y="connsiteY4352"/>
                </a:cxn>
                <a:cxn ang="0">
                  <a:pos x="connsiteX4353" y="connsiteY4353"/>
                </a:cxn>
                <a:cxn ang="0">
                  <a:pos x="connsiteX4354" y="connsiteY4354"/>
                </a:cxn>
                <a:cxn ang="0">
                  <a:pos x="connsiteX4355" y="connsiteY4355"/>
                </a:cxn>
                <a:cxn ang="0">
                  <a:pos x="connsiteX4356" y="connsiteY4356"/>
                </a:cxn>
                <a:cxn ang="0">
                  <a:pos x="connsiteX4357" y="connsiteY4357"/>
                </a:cxn>
                <a:cxn ang="0">
                  <a:pos x="connsiteX4358" y="connsiteY4358"/>
                </a:cxn>
                <a:cxn ang="0">
                  <a:pos x="connsiteX4359" y="connsiteY4359"/>
                </a:cxn>
                <a:cxn ang="0">
                  <a:pos x="connsiteX4360" y="connsiteY4360"/>
                </a:cxn>
                <a:cxn ang="0">
                  <a:pos x="connsiteX4361" y="connsiteY4361"/>
                </a:cxn>
                <a:cxn ang="0">
                  <a:pos x="connsiteX4362" y="connsiteY4362"/>
                </a:cxn>
                <a:cxn ang="0">
                  <a:pos x="connsiteX4363" y="connsiteY4363"/>
                </a:cxn>
                <a:cxn ang="0">
                  <a:pos x="connsiteX4364" y="connsiteY4364"/>
                </a:cxn>
                <a:cxn ang="0">
                  <a:pos x="connsiteX4365" y="connsiteY4365"/>
                </a:cxn>
                <a:cxn ang="0">
                  <a:pos x="connsiteX4366" y="connsiteY4366"/>
                </a:cxn>
                <a:cxn ang="0">
                  <a:pos x="connsiteX4367" y="connsiteY4367"/>
                </a:cxn>
                <a:cxn ang="0">
                  <a:pos x="connsiteX4368" y="connsiteY4368"/>
                </a:cxn>
                <a:cxn ang="0">
                  <a:pos x="connsiteX4369" y="connsiteY4369"/>
                </a:cxn>
                <a:cxn ang="0">
                  <a:pos x="connsiteX4370" y="connsiteY4370"/>
                </a:cxn>
                <a:cxn ang="0">
                  <a:pos x="connsiteX4371" y="connsiteY4371"/>
                </a:cxn>
                <a:cxn ang="0">
                  <a:pos x="connsiteX4372" y="connsiteY4372"/>
                </a:cxn>
                <a:cxn ang="0">
                  <a:pos x="connsiteX4373" y="connsiteY4373"/>
                </a:cxn>
                <a:cxn ang="0">
                  <a:pos x="connsiteX4374" y="connsiteY4374"/>
                </a:cxn>
                <a:cxn ang="0">
                  <a:pos x="connsiteX4375" y="connsiteY4375"/>
                </a:cxn>
                <a:cxn ang="0">
                  <a:pos x="connsiteX4376" y="connsiteY4376"/>
                </a:cxn>
                <a:cxn ang="0">
                  <a:pos x="connsiteX4377" y="connsiteY4377"/>
                </a:cxn>
                <a:cxn ang="0">
                  <a:pos x="connsiteX4378" y="connsiteY4378"/>
                </a:cxn>
                <a:cxn ang="0">
                  <a:pos x="connsiteX4379" y="connsiteY4379"/>
                </a:cxn>
                <a:cxn ang="0">
                  <a:pos x="connsiteX4380" y="connsiteY4380"/>
                </a:cxn>
                <a:cxn ang="0">
                  <a:pos x="connsiteX4381" y="connsiteY4381"/>
                </a:cxn>
                <a:cxn ang="0">
                  <a:pos x="connsiteX4382" y="connsiteY4382"/>
                </a:cxn>
                <a:cxn ang="0">
                  <a:pos x="connsiteX4383" y="connsiteY4383"/>
                </a:cxn>
                <a:cxn ang="0">
                  <a:pos x="connsiteX4384" y="connsiteY4384"/>
                </a:cxn>
                <a:cxn ang="0">
                  <a:pos x="connsiteX4385" y="connsiteY4385"/>
                </a:cxn>
                <a:cxn ang="0">
                  <a:pos x="connsiteX4386" y="connsiteY4386"/>
                </a:cxn>
                <a:cxn ang="0">
                  <a:pos x="connsiteX4387" y="connsiteY4387"/>
                </a:cxn>
                <a:cxn ang="0">
                  <a:pos x="connsiteX4388" y="connsiteY4388"/>
                </a:cxn>
                <a:cxn ang="0">
                  <a:pos x="connsiteX4389" y="connsiteY4389"/>
                </a:cxn>
                <a:cxn ang="0">
                  <a:pos x="connsiteX4390" y="connsiteY4390"/>
                </a:cxn>
                <a:cxn ang="0">
                  <a:pos x="connsiteX4391" y="connsiteY4391"/>
                </a:cxn>
                <a:cxn ang="0">
                  <a:pos x="connsiteX4392" y="connsiteY4392"/>
                </a:cxn>
                <a:cxn ang="0">
                  <a:pos x="connsiteX4393" y="connsiteY4393"/>
                </a:cxn>
                <a:cxn ang="0">
                  <a:pos x="connsiteX4394" y="connsiteY4394"/>
                </a:cxn>
                <a:cxn ang="0">
                  <a:pos x="connsiteX4395" y="connsiteY4395"/>
                </a:cxn>
                <a:cxn ang="0">
                  <a:pos x="connsiteX4396" y="connsiteY4396"/>
                </a:cxn>
                <a:cxn ang="0">
                  <a:pos x="connsiteX4397" y="connsiteY4397"/>
                </a:cxn>
                <a:cxn ang="0">
                  <a:pos x="connsiteX4398" y="connsiteY4398"/>
                </a:cxn>
                <a:cxn ang="0">
                  <a:pos x="connsiteX4399" y="connsiteY4399"/>
                </a:cxn>
                <a:cxn ang="0">
                  <a:pos x="connsiteX4400" y="connsiteY4400"/>
                </a:cxn>
                <a:cxn ang="0">
                  <a:pos x="connsiteX4401" y="connsiteY4401"/>
                </a:cxn>
                <a:cxn ang="0">
                  <a:pos x="connsiteX4402" y="connsiteY4402"/>
                </a:cxn>
                <a:cxn ang="0">
                  <a:pos x="connsiteX4403" y="connsiteY4403"/>
                </a:cxn>
                <a:cxn ang="0">
                  <a:pos x="connsiteX4404" y="connsiteY4404"/>
                </a:cxn>
                <a:cxn ang="0">
                  <a:pos x="connsiteX4405" y="connsiteY4405"/>
                </a:cxn>
                <a:cxn ang="0">
                  <a:pos x="connsiteX4406" y="connsiteY4406"/>
                </a:cxn>
                <a:cxn ang="0">
                  <a:pos x="connsiteX4407" y="connsiteY4407"/>
                </a:cxn>
                <a:cxn ang="0">
                  <a:pos x="connsiteX4408" y="connsiteY4408"/>
                </a:cxn>
                <a:cxn ang="0">
                  <a:pos x="connsiteX4409" y="connsiteY4409"/>
                </a:cxn>
                <a:cxn ang="0">
                  <a:pos x="connsiteX4410" y="connsiteY4410"/>
                </a:cxn>
                <a:cxn ang="0">
                  <a:pos x="connsiteX4411" y="connsiteY4411"/>
                </a:cxn>
                <a:cxn ang="0">
                  <a:pos x="connsiteX4412" y="connsiteY4412"/>
                </a:cxn>
                <a:cxn ang="0">
                  <a:pos x="connsiteX4413" y="connsiteY4413"/>
                </a:cxn>
                <a:cxn ang="0">
                  <a:pos x="connsiteX4414" y="connsiteY4414"/>
                </a:cxn>
                <a:cxn ang="0">
                  <a:pos x="connsiteX4415" y="connsiteY4415"/>
                </a:cxn>
                <a:cxn ang="0">
                  <a:pos x="connsiteX4416" y="connsiteY4416"/>
                </a:cxn>
                <a:cxn ang="0">
                  <a:pos x="connsiteX4417" y="connsiteY4417"/>
                </a:cxn>
                <a:cxn ang="0">
                  <a:pos x="connsiteX4418" y="connsiteY4418"/>
                </a:cxn>
                <a:cxn ang="0">
                  <a:pos x="connsiteX4419" y="connsiteY4419"/>
                </a:cxn>
                <a:cxn ang="0">
                  <a:pos x="connsiteX4420" y="connsiteY4420"/>
                </a:cxn>
                <a:cxn ang="0">
                  <a:pos x="connsiteX4421" y="connsiteY4421"/>
                </a:cxn>
                <a:cxn ang="0">
                  <a:pos x="connsiteX4422" y="connsiteY4422"/>
                </a:cxn>
                <a:cxn ang="0">
                  <a:pos x="connsiteX4423" y="connsiteY4423"/>
                </a:cxn>
                <a:cxn ang="0">
                  <a:pos x="connsiteX4424" y="connsiteY4424"/>
                </a:cxn>
                <a:cxn ang="0">
                  <a:pos x="connsiteX4425" y="connsiteY4425"/>
                </a:cxn>
                <a:cxn ang="0">
                  <a:pos x="connsiteX4426" y="connsiteY4426"/>
                </a:cxn>
                <a:cxn ang="0">
                  <a:pos x="connsiteX4427" y="connsiteY4427"/>
                </a:cxn>
                <a:cxn ang="0">
                  <a:pos x="connsiteX4428" y="connsiteY4428"/>
                </a:cxn>
                <a:cxn ang="0">
                  <a:pos x="connsiteX4429" y="connsiteY4429"/>
                </a:cxn>
                <a:cxn ang="0">
                  <a:pos x="connsiteX4430" y="connsiteY4430"/>
                </a:cxn>
                <a:cxn ang="0">
                  <a:pos x="connsiteX4431" y="connsiteY4431"/>
                </a:cxn>
                <a:cxn ang="0">
                  <a:pos x="connsiteX4432" y="connsiteY4432"/>
                </a:cxn>
                <a:cxn ang="0">
                  <a:pos x="connsiteX4433" y="connsiteY4433"/>
                </a:cxn>
                <a:cxn ang="0">
                  <a:pos x="connsiteX4434" y="connsiteY4434"/>
                </a:cxn>
                <a:cxn ang="0">
                  <a:pos x="connsiteX4435" y="connsiteY4435"/>
                </a:cxn>
                <a:cxn ang="0">
                  <a:pos x="connsiteX4436" y="connsiteY4436"/>
                </a:cxn>
                <a:cxn ang="0">
                  <a:pos x="connsiteX4437" y="connsiteY4437"/>
                </a:cxn>
                <a:cxn ang="0">
                  <a:pos x="connsiteX4438" y="connsiteY4438"/>
                </a:cxn>
                <a:cxn ang="0">
                  <a:pos x="connsiteX4439" y="connsiteY4439"/>
                </a:cxn>
                <a:cxn ang="0">
                  <a:pos x="connsiteX4440" y="connsiteY4440"/>
                </a:cxn>
                <a:cxn ang="0">
                  <a:pos x="connsiteX4441" y="connsiteY4441"/>
                </a:cxn>
                <a:cxn ang="0">
                  <a:pos x="connsiteX4442" y="connsiteY4442"/>
                </a:cxn>
                <a:cxn ang="0">
                  <a:pos x="connsiteX4443" y="connsiteY4443"/>
                </a:cxn>
                <a:cxn ang="0">
                  <a:pos x="connsiteX4444" y="connsiteY4444"/>
                </a:cxn>
                <a:cxn ang="0">
                  <a:pos x="connsiteX4445" y="connsiteY4445"/>
                </a:cxn>
                <a:cxn ang="0">
                  <a:pos x="connsiteX4446" y="connsiteY4446"/>
                </a:cxn>
                <a:cxn ang="0">
                  <a:pos x="connsiteX4447" y="connsiteY4447"/>
                </a:cxn>
                <a:cxn ang="0">
                  <a:pos x="connsiteX4448" y="connsiteY4448"/>
                </a:cxn>
                <a:cxn ang="0">
                  <a:pos x="connsiteX4449" y="connsiteY4449"/>
                </a:cxn>
                <a:cxn ang="0">
                  <a:pos x="connsiteX4450" y="connsiteY4450"/>
                </a:cxn>
                <a:cxn ang="0">
                  <a:pos x="connsiteX4451" y="connsiteY4451"/>
                </a:cxn>
                <a:cxn ang="0">
                  <a:pos x="connsiteX4452" y="connsiteY4452"/>
                </a:cxn>
                <a:cxn ang="0">
                  <a:pos x="connsiteX4453" y="connsiteY4453"/>
                </a:cxn>
                <a:cxn ang="0">
                  <a:pos x="connsiteX4454" y="connsiteY4454"/>
                </a:cxn>
                <a:cxn ang="0">
                  <a:pos x="connsiteX4455" y="connsiteY4455"/>
                </a:cxn>
                <a:cxn ang="0">
                  <a:pos x="connsiteX4456" y="connsiteY4456"/>
                </a:cxn>
                <a:cxn ang="0">
                  <a:pos x="connsiteX4457" y="connsiteY4457"/>
                </a:cxn>
                <a:cxn ang="0">
                  <a:pos x="connsiteX4458" y="connsiteY4458"/>
                </a:cxn>
                <a:cxn ang="0">
                  <a:pos x="connsiteX4459" y="connsiteY4459"/>
                </a:cxn>
                <a:cxn ang="0">
                  <a:pos x="connsiteX4460" y="connsiteY4460"/>
                </a:cxn>
                <a:cxn ang="0">
                  <a:pos x="connsiteX4461" y="connsiteY4461"/>
                </a:cxn>
                <a:cxn ang="0">
                  <a:pos x="connsiteX4462" y="connsiteY4462"/>
                </a:cxn>
                <a:cxn ang="0">
                  <a:pos x="connsiteX4463" y="connsiteY4463"/>
                </a:cxn>
                <a:cxn ang="0">
                  <a:pos x="connsiteX4464" y="connsiteY4464"/>
                </a:cxn>
                <a:cxn ang="0">
                  <a:pos x="connsiteX4465" y="connsiteY4465"/>
                </a:cxn>
                <a:cxn ang="0">
                  <a:pos x="connsiteX4466" y="connsiteY4466"/>
                </a:cxn>
                <a:cxn ang="0">
                  <a:pos x="connsiteX4467" y="connsiteY4467"/>
                </a:cxn>
                <a:cxn ang="0">
                  <a:pos x="connsiteX4468" y="connsiteY4468"/>
                </a:cxn>
                <a:cxn ang="0">
                  <a:pos x="connsiteX4469" y="connsiteY4469"/>
                </a:cxn>
                <a:cxn ang="0">
                  <a:pos x="connsiteX4470" y="connsiteY4470"/>
                </a:cxn>
                <a:cxn ang="0">
                  <a:pos x="connsiteX4471" y="connsiteY4471"/>
                </a:cxn>
                <a:cxn ang="0">
                  <a:pos x="connsiteX4472" y="connsiteY4472"/>
                </a:cxn>
                <a:cxn ang="0">
                  <a:pos x="connsiteX4473" y="connsiteY4473"/>
                </a:cxn>
                <a:cxn ang="0">
                  <a:pos x="connsiteX4474" y="connsiteY4474"/>
                </a:cxn>
                <a:cxn ang="0">
                  <a:pos x="connsiteX4475" y="connsiteY4475"/>
                </a:cxn>
                <a:cxn ang="0">
                  <a:pos x="connsiteX4476" y="connsiteY4476"/>
                </a:cxn>
                <a:cxn ang="0">
                  <a:pos x="connsiteX4477" y="connsiteY4477"/>
                </a:cxn>
                <a:cxn ang="0">
                  <a:pos x="connsiteX4478" y="connsiteY4478"/>
                </a:cxn>
                <a:cxn ang="0">
                  <a:pos x="connsiteX4479" y="connsiteY4479"/>
                </a:cxn>
                <a:cxn ang="0">
                  <a:pos x="connsiteX4480" y="connsiteY4480"/>
                </a:cxn>
                <a:cxn ang="0">
                  <a:pos x="connsiteX4481" y="connsiteY4481"/>
                </a:cxn>
                <a:cxn ang="0">
                  <a:pos x="connsiteX4482" y="connsiteY4482"/>
                </a:cxn>
                <a:cxn ang="0">
                  <a:pos x="connsiteX4483" y="connsiteY4483"/>
                </a:cxn>
                <a:cxn ang="0">
                  <a:pos x="connsiteX4484" y="connsiteY4484"/>
                </a:cxn>
                <a:cxn ang="0">
                  <a:pos x="connsiteX4485" y="connsiteY4485"/>
                </a:cxn>
                <a:cxn ang="0">
                  <a:pos x="connsiteX4486" y="connsiteY4486"/>
                </a:cxn>
                <a:cxn ang="0">
                  <a:pos x="connsiteX4487" y="connsiteY4487"/>
                </a:cxn>
                <a:cxn ang="0">
                  <a:pos x="connsiteX4488" y="connsiteY4488"/>
                </a:cxn>
                <a:cxn ang="0">
                  <a:pos x="connsiteX4489" y="connsiteY4489"/>
                </a:cxn>
                <a:cxn ang="0">
                  <a:pos x="connsiteX4490" y="connsiteY4490"/>
                </a:cxn>
                <a:cxn ang="0">
                  <a:pos x="connsiteX4491" y="connsiteY4491"/>
                </a:cxn>
                <a:cxn ang="0">
                  <a:pos x="connsiteX4492" y="connsiteY4492"/>
                </a:cxn>
                <a:cxn ang="0">
                  <a:pos x="connsiteX4493" y="connsiteY4493"/>
                </a:cxn>
                <a:cxn ang="0">
                  <a:pos x="connsiteX4494" y="connsiteY4494"/>
                </a:cxn>
                <a:cxn ang="0">
                  <a:pos x="connsiteX4495" y="connsiteY4495"/>
                </a:cxn>
                <a:cxn ang="0">
                  <a:pos x="connsiteX4496" y="connsiteY4496"/>
                </a:cxn>
                <a:cxn ang="0">
                  <a:pos x="connsiteX4497" y="connsiteY4497"/>
                </a:cxn>
                <a:cxn ang="0">
                  <a:pos x="connsiteX4498" y="connsiteY4498"/>
                </a:cxn>
                <a:cxn ang="0">
                  <a:pos x="connsiteX4499" y="connsiteY4499"/>
                </a:cxn>
                <a:cxn ang="0">
                  <a:pos x="connsiteX4500" y="connsiteY4500"/>
                </a:cxn>
                <a:cxn ang="0">
                  <a:pos x="connsiteX4501" y="connsiteY4501"/>
                </a:cxn>
                <a:cxn ang="0">
                  <a:pos x="connsiteX4502" y="connsiteY4502"/>
                </a:cxn>
                <a:cxn ang="0">
                  <a:pos x="connsiteX4503" y="connsiteY4503"/>
                </a:cxn>
                <a:cxn ang="0">
                  <a:pos x="connsiteX4504" y="connsiteY4504"/>
                </a:cxn>
                <a:cxn ang="0">
                  <a:pos x="connsiteX4505" y="connsiteY4505"/>
                </a:cxn>
                <a:cxn ang="0">
                  <a:pos x="connsiteX4506" y="connsiteY4506"/>
                </a:cxn>
                <a:cxn ang="0">
                  <a:pos x="connsiteX4507" y="connsiteY4507"/>
                </a:cxn>
                <a:cxn ang="0">
                  <a:pos x="connsiteX4508" y="connsiteY4508"/>
                </a:cxn>
                <a:cxn ang="0">
                  <a:pos x="connsiteX4509" y="connsiteY4509"/>
                </a:cxn>
                <a:cxn ang="0">
                  <a:pos x="connsiteX4510" y="connsiteY4510"/>
                </a:cxn>
                <a:cxn ang="0">
                  <a:pos x="connsiteX4511" y="connsiteY4511"/>
                </a:cxn>
                <a:cxn ang="0">
                  <a:pos x="connsiteX4512" y="connsiteY4512"/>
                </a:cxn>
                <a:cxn ang="0">
                  <a:pos x="connsiteX4513" y="connsiteY4513"/>
                </a:cxn>
                <a:cxn ang="0">
                  <a:pos x="connsiteX4514" y="connsiteY4514"/>
                </a:cxn>
                <a:cxn ang="0">
                  <a:pos x="connsiteX4515" y="connsiteY4515"/>
                </a:cxn>
                <a:cxn ang="0">
                  <a:pos x="connsiteX4516" y="connsiteY4516"/>
                </a:cxn>
                <a:cxn ang="0">
                  <a:pos x="connsiteX4517" y="connsiteY4517"/>
                </a:cxn>
                <a:cxn ang="0">
                  <a:pos x="connsiteX4518" y="connsiteY4518"/>
                </a:cxn>
                <a:cxn ang="0">
                  <a:pos x="connsiteX4519" y="connsiteY4519"/>
                </a:cxn>
                <a:cxn ang="0">
                  <a:pos x="connsiteX4520" y="connsiteY4520"/>
                </a:cxn>
                <a:cxn ang="0">
                  <a:pos x="connsiteX4521" y="connsiteY4521"/>
                </a:cxn>
                <a:cxn ang="0">
                  <a:pos x="connsiteX4522" y="connsiteY4522"/>
                </a:cxn>
                <a:cxn ang="0">
                  <a:pos x="connsiteX4523" y="connsiteY4523"/>
                </a:cxn>
                <a:cxn ang="0">
                  <a:pos x="connsiteX4524" y="connsiteY4524"/>
                </a:cxn>
                <a:cxn ang="0">
                  <a:pos x="connsiteX4525" y="connsiteY4525"/>
                </a:cxn>
                <a:cxn ang="0">
                  <a:pos x="connsiteX4526" y="connsiteY4526"/>
                </a:cxn>
                <a:cxn ang="0">
                  <a:pos x="connsiteX4527" y="connsiteY4527"/>
                </a:cxn>
                <a:cxn ang="0">
                  <a:pos x="connsiteX4528" y="connsiteY4528"/>
                </a:cxn>
                <a:cxn ang="0">
                  <a:pos x="connsiteX4529" y="connsiteY4529"/>
                </a:cxn>
                <a:cxn ang="0">
                  <a:pos x="connsiteX4530" y="connsiteY4530"/>
                </a:cxn>
                <a:cxn ang="0">
                  <a:pos x="connsiteX4531" y="connsiteY4531"/>
                </a:cxn>
                <a:cxn ang="0">
                  <a:pos x="connsiteX4532" y="connsiteY4532"/>
                </a:cxn>
                <a:cxn ang="0">
                  <a:pos x="connsiteX4533" y="connsiteY4533"/>
                </a:cxn>
                <a:cxn ang="0">
                  <a:pos x="connsiteX4534" y="connsiteY4534"/>
                </a:cxn>
                <a:cxn ang="0">
                  <a:pos x="connsiteX4535" y="connsiteY4535"/>
                </a:cxn>
                <a:cxn ang="0">
                  <a:pos x="connsiteX4536" y="connsiteY4536"/>
                </a:cxn>
                <a:cxn ang="0">
                  <a:pos x="connsiteX4537" y="connsiteY4537"/>
                </a:cxn>
                <a:cxn ang="0">
                  <a:pos x="connsiteX4538" y="connsiteY4538"/>
                </a:cxn>
                <a:cxn ang="0">
                  <a:pos x="connsiteX4539" y="connsiteY4539"/>
                </a:cxn>
                <a:cxn ang="0">
                  <a:pos x="connsiteX4540" y="connsiteY4540"/>
                </a:cxn>
                <a:cxn ang="0">
                  <a:pos x="connsiteX4541" y="connsiteY4541"/>
                </a:cxn>
                <a:cxn ang="0">
                  <a:pos x="connsiteX4542" y="connsiteY4542"/>
                </a:cxn>
                <a:cxn ang="0">
                  <a:pos x="connsiteX4543" y="connsiteY4543"/>
                </a:cxn>
                <a:cxn ang="0">
                  <a:pos x="connsiteX4544" y="connsiteY4544"/>
                </a:cxn>
                <a:cxn ang="0">
                  <a:pos x="connsiteX4545" y="connsiteY4545"/>
                </a:cxn>
                <a:cxn ang="0">
                  <a:pos x="connsiteX4546" y="connsiteY4546"/>
                </a:cxn>
                <a:cxn ang="0">
                  <a:pos x="connsiteX4547" y="connsiteY4547"/>
                </a:cxn>
                <a:cxn ang="0">
                  <a:pos x="connsiteX4548" y="connsiteY4548"/>
                </a:cxn>
                <a:cxn ang="0">
                  <a:pos x="connsiteX4549" y="connsiteY4549"/>
                </a:cxn>
                <a:cxn ang="0">
                  <a:pos x="connsiteX4550" y="connsiteY4550"/>
                </a:cxn>
                <a:cxn ang="0">
                  <a:pos x="connsiteX4551" y="connsiteY4551"/>
                </a:cxn>
                <a:cxn ang="0">
                  <a:pos x="connsiteX4552" y="connsiteY4552"/>
                </a:cxn>
                <a:cxn ang="0">
                  <a:pos x="connsiteX4553" y="connsiteY4553"/>
                </a:cxn>
                <a:cxn ang="0">
                  <a:pos x="connsiteX4554" y="connsiteY4554"/>
                </a:cxn>
                <a:cxn ang="0">
                  <a:pos x="connsiteX4555" y="connsiteY4555"/>
                </a:cxn>
                <a:cxn ang="0">
                  <a:pos x="connsiteX4556" y="connsiteY4556"/>
                </a:cxn>
                <a:cxn ang="0">
                  <a:pos x="connsiteX4557" y="connsiteY4557"/>
                </a:cxn>
                <a:cxn ang="0">
                  <a:pos x="connsiteX4558" y="connsiteY4558"/>
                </a:cxn>
                <a:cxn ang="0">
                  <a:pos x="connsiteX4559" y="connsiteY4559"/>
                </a:cxn>
                <a:cxn ang="0">
                  <a:pos x="connsiteX4560" y="connsiteY4560"/>
                </a:cxn>
                <a:cxn ang="0">
                  <a:pos x="connsiteX4561" y="connsiteY4561"/>
                </a:cxn>
                <a:cxn ang="0">
                  <a:pos x="connsiteX4562" y="connsiteY4562"/>
                </a:cxn>
                <a:cxn ang="0">
                  <a:pos x="connsiteX4563" y="connsiteY4563"/>
                </a:cxn>
                <a:cxn ang="0">
                  <a:pos x="connsiteX4564" y="connsiteY4564"/>
                </a:cxn>
                <a:cxn ang="0">
                  <a:pos x="connsiteX4565" y="connsiteY4565"/>
                </a:cxn>
                <a:cxn ang="0">
                  <a:pos x="connsiteX4566" y="connsiteY4566"/>
                </a:cxn>
                <a:cxn ang="0">
                  <a:pos x="connsiteX4567" y="connsiteY4567"/>
                </a:cxn>
                <a:cxn ang="0">
                  <a:pos x="connsiteX4568" y="connsiteY4568"/>
                </a:cxn>
                <a:cxn ang="0">
                  <a:pos x="connsiteX4569" y="connsiteY4569"/>
                </a:cxn>
                <a:cxn ang="0">
                  <a:pos x="connsiteX4570" y="connsiteY4570"/>
                </a:cxn>
                <a:cxn ang="0">
                  <a:pos x="connsiteX4571" y="connsiteY4571"/>
                </a:cxn>
                <a:cxn ang="0">
                  <a:pos x="connsiteX4572" y="connsiteY4572"/>
                </a:cxn>
                <a:cxn ang="0">
                  <a:pos x="connsiteX4573" y="connsiteY4573"/>
                </a:cxn>
                <a:cxn ang="0">
                  <a:pos x="connsiteX4574" y="connsiteY4574"/>
                </a:cxn>
                <a:cxn ang="0">
                  <a:pos x="connsiteX4575" y="connsiteY4575"/>
                </a:cxn>
                <a:cxn ang="0">
                  <a:pos x="connsiteX4576" y="connsiteY4576"/>
                </a:cxn>
                <a:cxn ang="0">
                  <a:pos x="connsiteX4577" y="connsiteY4577"/>
                </a:cxn>
                <a:cxn ang="0">
                  <a:pos x="connsiteX4578" y="connsiteY4578"/>
                </a:cxn>
                <a:cxn ang="0">
                  <a:pos x="connsiteX4579" y="connsiteY4579"/>
                </a:cxn>
                <a:cxn ang="0">
                  <a:pos x="connsiteX4580" y="connsiteY4580"/>
                </a:cxn>
                <a:cxn ang="0">
                  <a:pos x="connsiteX4581" y="connsiteY4581"/>
                </a:cxn>
                <a:cxn ang="0">
                  <a:pos x="connsiteX4582" y="connsiteY4582"/>
                </a:cxn>
                <a:cxn ang="0">
                  <a:pos x="connsiteX4583" y="connsiteY4583"/>
                </a:cxn>
                <a:cxn ang="0">
                  <a:pos x="connsiteX4584" y="connsiteY4584"/>
                </a:cxn>
                <a:cxn ang="0">
                  <a:pos x="connsiteX4585" y="connsiteY4585"/>
                </a:cxn>
                <a:cxn ang="0">
                  <a:pos x="connsiteX4586" y="connsiteY4586"/>
                </a:cxn>
                <a:cxn ang="0">
                  <a:pos x="connsiteX4587" y="connsiteY4587"/>
                </a:cxn>
                <a:cxn ang="0">
                  <a:pos x="connsiteX4588" y="connsiteY4588"/>
                </a:cxn>
                <a:cxn ang="0">
                  <a:pos x="connsiteX4589" y="connsiteY4589"/>
                </a:cxn>
                <a:cxn ang="0">
                  <a:pos x="connsiteX4590" y="connsiteY4590"/>
                </a:cxn>
                <a:cxn ang="0">
                  <a:pos x="connsiteX4591" y="connsiteY4591"/>
                </a:cxn>
                <a:cxn ang="0">
                  <a:pos x="connsiteX4592" y="connsiteY4592"/>
                </a:cxn>
                <a:cxn ang="0">
                  <a:pos x="connsiteX4593" y="connsiteY4593"/>
                </a:cxn>
                <a:cxn ang="0">
                  <a:pos x="connsiteX4594" y="connsiteY4594"/>
                </a:cxn>
                <a:cxn ang="0">
                  <a:pos x="connsiteX4595" y="connsiteY4595"/>
                </a:cxn>
                <a:cxn ang="0">
                  <a:pos x="connsiteX4596" y="connsiteY4596"/>
                </a:cxn>
                <a:cxn ang="0">
                  <a:pos x="connsiteX4597" y="connsiteY4597"/>
                </a:cxn>
                <a:cxn ang="0">
                  <a:pos x="connsiteX4598" y="connsiteY4598"/>
                </a:cxn>
                <a:cxn ang="0">
                  <a:pos x="connsiteX4599" y="connsiteY4599"/>
                </a:cxn>
                <a:cxn ang="0">
                  <a:pos x="connsiteX4600" y="connsiteY4600"/>
                </a:cxn>
                <a:cxn ang="0">
                  <a:pos x="connsiteX4601" y="connsiteY4601"/>
                </a:cxn>
                <a:cxn ang="0">
                  <a:pos x="connsiteX4602" y="connsiteY4602"/>
                </a:cxn>
                <a:cxn ang="0">
                  <a:pos x="connsiteX4603" y="connsiteY4603"/>
                </a:cxn>
                <a:cxn ang="0">
                  <a:pos x="connsiteX4604" y="connsiteY4604"/>
                </a:cxn>
                <a:cxn ang="0">
                  <a:pos x="connsiteX4605" y="connsiteY4605"/>
                </a:cxn>
                <a:cxn ang="0">
                  <a:pos x="connsiteX4606" y="connsiteY4606"/>
                </a:cxn>
                <a:cxn ang="0">
                  <a:pos x="connsiteX4607" y="connsiteY4607"/>
                </a:cxn>
                <a:cxn ang="0">
                  <a:pos x="connsiteX4608" y="connsiteY4608"/>
                </a:cxn>
                <a:cxn ang="0">
                  <a:pos x="connsiteX4609" y="connsiteY4609"/>
                </a:cxn>
                <a:cxn ang="0">
                  <a:pos x="connsiteX4610" y="connsiteY4610"/>
                </a:cxn>
                <a:cxn ang="0">
                  <a:pos x="connsiteX4611" y="connsiteY4611"/>
                </a:cxn>
                <a:cxn ang="0">
                  <a:pos x="connsiteX4612" y="connsiteY4612"/>
                </a:cxn>
                <a:cxn ang="0">
                  <a:pos x="connsiteX4613" y="connsiteY4613"/>
                </a:cxn>
                <a:cxn ang="0">
                  <a:pos x="connsiteX4614" y="connsiteY4614"/>
                </a:cxn>
                <a:cxn ang="0">
                  <a:pos x="connsiteX4615" y="connsiteY4615"/>
                </a:cxn>
                <a:cxn ang="0">
                  <a:pos x="connsiteX4616" y="connsiteY4616"/>
                </a:cxn>
                <a:cxn ang="0">
                  <a:pos x="connsiteX4617" y="connsiteY4617"/>
                </a:cxn>
                <a:cxn ang="0">
                  <a:pos x="connsiteX4618" y="connsiteY4618"/>
                </a:cxn>
                <a:cxn ang="0">
                  <a:pos x="connsiteX4619" y="connsiteY4619"/>
                </a:cxn>
                <a:cxn ang="0">
                  <a:pos x="connsiteX4620" y="connsiteY4620"/>
                </a:cxn>
                <a:cxn ang="0">
                  <a:pos x="connsiteX4621" y="connsiteY4621"/>
                </a:cxn>
                <a:cxn ang="0">
                  <a:pos x="connsiteX4622" y="connsiteY4622"/>
                </a:cxn>
                <a:cxn ang="0">
                  <a:pos x="connsiteX4623" y="connsiteY4623"/>
                </a:cxn>
                <a:cxn ang="0">
                  <a:pos x="connsiteX4624" y="connsiteY4624"/>
                </a:cxn>
                <a:cxn ang="0">
                  <a:pos x="connsiteX4625" y="connsiteY4625"/>
                </a:cxn>
                <a:cxn ang="0">
                  <a:pos x="connsiteX4626" y="connsiteY4626"/>
                </a:cxn>
                <a:cxn ang="0">
                  <a:pos x="connsiteX4627" y="connsiteY4627"/>
                </a:cxn>
                <a:cxn ang="0">
                  <a:pos x="connsiteX4628" y="connsiteY4628"/>
                </a:cxn>
                <a:cxn ang="0">
                  <a:pos x="connsiteX4629" y="connsiteY4629"/>
                </a:cxn>
                <a:cxn ang="0">
                  <a:pos x="connsiteX4630" y="connsiteY4630"/>
                </a:cxn>
                <a:cxn ang="0">
                  <a:pos x="connsiteX4631" y="connsiteY4631"/>
                </a:cxn>
                <a:cxn ang="0">
                  <a:pos x="connsiteX4632" y="connsiteY4632"/>
                </a:cxn>
                <a:cxn ang="0">
                  <a:pos x="connsiteX4633" y="connsiteY4633"/>
                </a:cxn>
                <a:cxn ang="0">
                  <a:pos x="connsiteX4634" y="connsiteY4634"/>
                </a:cxn>
                <a:cxn ang="0">
                  <a:pos x="connsiteX4635" y="connsiteY4635"/>
                </a:cxn>
                <a:cxn ang="0">
                  <a:pos x="connsiteX4636" y="connsiteY4636"/>
                </a:cxn>
                <a:cxn ang="0">
                  <a:pos x="connsiteX4637" y="connsiteY4637"/>
                </a:cxn>
                <a:cxn ang="0">
                  <a:pos x="connsiteX4638" y="connsiteY4638"/>
                </a:cxn>
                <a:cxn ang="0">
                  <a:pos x="connsiteX4639" y="connsiteY4639"/>
                </a:cxn>
                <a:cxn ang="0">
                  <a:pos x="connsiteX4640" y="connsiteY4640"/>
                </a:cxn>
                <a:cxn ang="0">
                  <a:pos x="connsiteX4641" y="connsiteY4641"/>
                </a:cxn>
                <a:cxn ang="0">
                  <a:pos x="connsiteX4642" y="connsiteY4642"/>
                </a:cxn>
                <a:cxn ang="0">
                  <a:pos x="connsiteX4643" y="connsiteY4643"/>
                </a:cxn>
                <a:cxn ang="0">
                  <a:pos x="connsiteX4644" y="connsiteY4644"/>
                </a:cxn>
                <a:cxn ang="0">
                  <a:pos x="connsiteX4645" y="connsiteY4645"/>
                </a:cxn>
                <a:cxn ang="0">
                  <a:pos x="connsiteX4646" y="connsiteY4646"/>
                </a:cxn>
                <a:cxn ang="0">
                  <a:pos x="connsiteX4647" y="connsiteY4647"/>
                </a:cxn>
                <a:cxn ang="0">
                  <a:pos x="connsiteX4648" y="connsiteY4648"/>
                </a:cxn>
                <a:cxn ang="0">
                  <a:pos x="connsiteX4649" y="connsiteY4649"/>
                </a:cxn>
                <a:cxn ang="0">
                  <a:pos x="connsiteX4650" y="connsiteY4650"/>
                </a:cxn>
                <a:cxn ang="0">
                  <a:pos x="connsiteX4651" y="connsiteY4651"/>
                </a:cxn>
                <a:cxn ang="0">
                  <a:pos x="connsiteX4652" y="connsiteY4652"/>
                </a:cxn>
                <a:cxn ang="0">
                  <a:pos x="connsiteX4653" y="connsiteY4653"/>
                </a:cxn>
                <a:cxn ang="0">
                  <a:pos x="connsiteX4654" y="connsiteY4654"/>
                </a:cxn>
                <a:cxn ang="0">
                  <a:pos x="connsiteX4655" y="connsiteY4655"/>
                </a:cxn>
                <a:cxn ang="0">
                  <a:pos x="connsiteX4656" y="connsiteY4656"/>
                </a:cxn>
                <a:cxn ang="0">
                  <a:pos x="connsiteX4657" y="connsiteY4657"/>
                </a:cxn>
                <a:cxn ang="0">
                  <a:pos x="connsiteX4658" y="connsiteY4658"/>
                </a:cxn>
                <a:cxn ang="0">
                  <a:pos x="connsiteX4659" y="connsiteY4659"/>
                </a:cxn>
                <a:cxn ang="0">
                  <a:pos x="connsiteX4660" y="connsiteY4660"/>
                </a:cxn>
                <a:cxn ang="0">
                  <a:pos x="connsiteX4661" y="connsiteY4661"/>
                </a:cxn>
                <a:cxn ang="0">
                  <a:pos x="connsiteX4662" y="connsiteY4662"/>
                </a:cxn>
                <a:cxn ang="0">
                  <a:pos x="connsiteX4663" y="connsiteY4663"/>
                </a:cxn>
                <a:cxn ang="0">
                  <a:pos x="connsiteX4664" y="connsiteY4664"/>
                </a:cxn>
                <a:cxn ang="0">
                  <a:pos x="connsiteX4665" y="connsiteY4665"/>
                </a:cxn>
                <a:cxn ang="0">
                  <a:pos x="connsiteX4666" y="connsiteY4666"/>
                </a:cxn>
                <a:cxn ang="0">
                  <a:pos x="connsiteX4667" y="connsiteY4667"/>
                </a:cxn>
                <a:cxn ang="0">
                  <a:pos x="connsiteX4668" y="connsiteY4668"/>
                </a:cxn>
                <a:cxn ang="0">
                  <a:pos x="connsiteX4669" y="connsiteY4669"/>
                </a:cxn>
                <a:cxn ang="0">
                  <a:pos x="connsiteX4670" y="connsiteY4670"/>
                </a:cxn>
                <a:cxn ang="0">
                  <a:pos x="connsiteX4671" y="connsiteY4671"/>
                </a:cxn>
                <a:cxn ang="0">
                  <a:pos x="connsiteX4672" y="connsiteY4672"/>
                </a:cxn>
                <a:cxn ang="0">
                  <a:pos x="connsiteX4673" y="connsiteY4673"/>
                </a:cxn>
                <a:cxn ang="0">
                  <a:pos x="connsiteX4674" y="connsiteY4674"/>
                </a:cxn>
                <a:cxn ang="0">
                  <a:pos x="connsiteX4675" y="connsiteY4675"/>
                </a:cxn>
                <a:cxn ang="0">
                  <a:pos x="connsiteX4676" y="connsiteY4676"/>
                </a:cxn>
                <a:cxn ang="0">
                  <a:pos x="connsiteX4677" y="connsiteY4677"/>
                </a:cxn>
                <a:cxn ang="0">
                  <a:pos x="connsiteX4678" y="connsiteY4678"/>
                </a:cxn>
                <a:cxn ang="0">
                  <a:pos x="connsiteX4679" y="connsiteY4679"/>
                </a:cxn>
                <a:cxn ang="0">
                  <a:pos x="connsiteX4680" y="connsiteY4680"/>
                </a:cxn>
                <a:cxn ang="0">
                  <a:pos x="connsiteX4681" y="connsiteY4681"/>
                </a:cxn>
                <a:cxn ang="0">
                  <a:pos x="connsiteX4682" y="connsiteY4682"/>
                </a:cxn>
                <a:cxn ang="0">
                  <a:pos x="connsiteX4683" y="connsiteY4683"/>
                </a:cxn>
                <a:cxn ang="0">
                  <a:pos x="connsiteX4684" y="connsiteY4684"/>
                </a:cxn>
                <a:cxn ang="0">
                  <a:pos x="connsiteX4685" y="connsiteY4685"/>
                </a:cxn>
                <a:cxn ang="0">
                  <a:pos x="connsiteX4686" y="connsiteY4686"/>
                </a:cxn>
                <a:cxn ang="0">
                  <a:pos x="connsiteX4687" y="connsiteY4687"/>
                </a:cxn>
                <a:cxn ang="0">
                  <a:pos x="connsiteX4688" y="connsiteY4688"/>
                </a:cxn>
                <a:cxn ang="0">
                  <a:pos x="connsiteX4689" y="connsiteY4689"/>
                </a:cxn>
                <a:cxn ang="0">
                  <a:pos x="connsiteX4690" y="connsiteY4690"/>
                </a:cxn>
                <a:cxn ang="0">
                  <a:pos x="connsiteX4691" y="connsiteY4691"/>
                </a:cxn>
                <a:cxn ang="0">
                  <a:pos x="connsiteX4692" y="connsiteY4692"/>
                </a:cxn>
                <a:cxn ang="0">
                  <a:pos x="connsiteX4693" y="connsiteY4693"/>
                </a:cxn>
                <a:cxn ang="0">
                  <a:pos x="connsiteX4694" y="connsiteY4694"/>
                </a:cxn>
                <a:cxn ang="0">
                  <a:pos x="connsiteX4695" y="connsiteY4695"/>
                </a:cxn>
                <a:cxn ang="0">
                  <a:pos x="connsiteX4696" y="connsiteY4696"/>
                </a:cxn>
                <a:cxn ang="0">
                  <a:pos x="connsiteX4697" y="connsiteY4697"/>
                </a:cxn>
                <a:cxn ang="0">
                  <a:pos x="connsiteX4698" y="connsiteY4698"/>
                </a:cxn>
                <a:cxn ang="0">
                  <a:pos x="connsiteX4699" y="connsiteY4699"/>
                </a:cxn>
                <a:cxn ang="0">
                  <a:pos x="connsiteX4700" y="connsiteY4700"/>
                </a:cxn>
                <a:cxn ang="0">
                  <a:pos x="connsiteX4701" y="connsiteY4701"/>
                </a:cxn>
                <a:cxn ang="0">
                  <a:pos x="connsiteX4702" y="connsiteY4702"/>
                </a:cxn>
                <a:cxn ang="0">
                  <a:pos x="connsiteX4703" y="connsiteY4703"/>
                </a:cxn>
                <a:cxn ang="0">
                  <a:pos x="connsiteX4704" y="connsiteY4704"/>
                </a:cxn>
                <a:cxn ang="0">
                  <a:pos x="connsiteX4705" y="connsiteY4705"/>
                </a:cxn>
                <a:cxn ang="0">
                  <a:pos x="connsiteX4706" y="connsiteY4706"/>
                </a:cxn>
                <a:cxn ang="0">
                  <a:pos x="connsiteX4707" y="connsiteY4707"/>
                </a:cxn>
                <a:cxn ang="0">
                  <a:pos x="connsiteX4708" y="connsiteY4708"/>
                </a:cxn>
                <a:cxn ang="0">
                  <a:pos x="connsiteX4709" y="connsiteY4709"/>
                </a:cxn>
                <a:cxn ang="0">
                  <a:pos x="connsiteX4710" y="connsiteY4710"/>
                </a:cxn>
                <a:cxn ang="0">
                  <a:pos x="connsiteX4711" y="connsiteY4711"/>
                </a:cxn>
                <a:cxn ang="0">
                  <a:pos x="connsiteX4712" y="connsiteY4712"/>
                </a:cxn>
                <a:cxn ang="0">
                  <a:pos x="connsiteX4713" y="connsiteY4713"/>
                </a:cxn>
                <a:cxn ang="0">
                  <a:pos x="connsiteX4714" y="connsiteY4714"/>
                </a:cxn>
                <a:cxn ang="0">
                  <a:pos x="connsiteX4715" y="connsiteY4715"/>
                </a:cxn>
                <a:cxn ang="0">
                  <a:pos x="connsiteX4716" y="connsiteY4716"/>
                </a:cxn>
                <a:cxn ang="0">
                  <a:pos x="connsiteX4717" y="connsiteY4717"/>
                </a:cxn>
                <a:cxn ang="0">
                  <a:pos x="connsiteX4718" y="connsiteY4718"/>
                </a:cxn>
                <a:cxn ang="0">
                  <a:pos x="connsiteX4719" y="connsiteY4719"/>
                </a:cxn>
                <a:cxn ang="0">
                  <a:pos x="connsiteX4720" y="connsiteY4720"/>
                </a:cxn>
                <a:cxn ang="0">
                  <a:pos x="connsiteX4721" y="connsiteY4721"/>
                </a:cxn>
                <a:cxn ang="0">
                  <a:pos x="connsiteX4722" y="connsiteY4722"/>
                </a:cxn>
                <a:cxn ang="0">
                  <a:pos x="connsiteX4723" y="connsiteY4723"/>
                </a:cxn>
                <a:cxn ang="0">
                  <a:pos x="connsiteX4724" y="connsiteY4724"/>
                </a:cxn>
                <a:cxn ang="0">
                  <a:pos x="connsiteX4725" y="connsiteY4725"/>
                </a:cxn>
                <a:cxn ang="0">
                  <a:pos x="connsiteX4726" y="connsiteY4726"/>
                </a:cxn>
                <a:cxn ang="0">
                  <a:pos x="connsiteX4727" y="connsiteY4727"/>
                </a:cxn>
                <a:cxn ang="0">
                  <a:pos x="connsiteX4728" y="connsiteY4728"/>
                </a:cxn>
                <a:cxn ang="0">
                  <a:pos x="connsiteX4729" y="connsiteY4729"/>
                </a:cxn>
                <a:cxn ang="0">
                  <a:pos x="connsiteX4730" y="connsiteY4730"/>
                </a:cxn>
                <a:cxn ang="0">
                  <a:pos x="connsiteX4731" y="connsiteY4731"/>
                </a:cxn>
                <a:cxn ang="0">
                  <a:pos x="connsiteX4732" y="connsiteY4732"/>
                </a:cxn>
                <a:cxn ang="0">
                  <a:pos x="connsiteX4733" y="connsiteY4733"/>
                </a:cxn>
                <a:cxn ang="0">
                  <a:pos x="connsiteX4734" y="connsiteY4734"/>
                </a:cxn>
                <a:cxn ang="0">
                  <a:pos x="connsiteX4735" y="connsiteY4735"/>
                </a:cxn>
                <a:cxn ang="0">
                  <a:pos x="connsiteX4736" y="connsiteY4736"/>
                </a:cxn>
                <a:cxn ang="0">
                  <a:pos x="connsiteX4737" y="connsiteY4737"/>
                </a:cxn>
                <a:cxn ang="0">
                  <a:pos x="connsiteX4738" y="connsiteY4738"/>
                </a:cxn>
                <a:cxn ang="0">
                  <a:pos x="connsiteX4739" y="connsiteY4739"/>
                </a:cxn>
                <a:cxn ang="0">
                  <a:pos x="connsiteX4740" y="connsiteY4740"/>
                </a:cxn>
                <a:cxn ang="0">
                  <a:pos x="connsiteX4741" y="connsiteY4741"/>
                </a:cxn>
                <a:cxn ang="0">
                  <a:pos x="connsiteX4742" y="connsiteY4742"/>
                </a:cxn>
                <a:cxn ang="0">
                  <a:pos x="connsiteX4743" y="connsiteY4743"/>
                </a:cxn>
                <a:cxn ang="0">
                  <a:pos x="connsiteX4744" y="connsiteY4744"/>
                </a:cxn>
                <a:cxn ang="0">
                  <a:pos x="connsiteX4745" y="connsiteY4745"/>
                </a:cxn>
                <a:cxn ang="0">
                  <a:pos x="connsiteX4746" y="connsiteY4746"/>
                </a:cxn>
                <a:cxn ang="0">
                  <a:pos x="connsiteX4747" y="connsiteY4747"/>
                </a:cxn>
                <a:cxn ang="0">
                  <a:pos x="connsiteX4748" y="connsiteY4748"/>
                </a:cxn>
                <a:cxn ang="0">
                  <a:pos x="connsiteX4749" y="connsiteY4749"/>
                </a:cxn>
                <a:cxn ang="0">
                  <a:pos x="connsiteX4750" y="connsiteY4750"/>
                </a:cxn>
                <a:cxn ang="0">
                  <a:pos x="connsiteX4751" y="connsiteY4751"/>
                </a:cxn>
                <a:cxn ang="0">
                  <a:pos x="connsiteX4752" y="connsiteY4752"/>
                </a:cxn>
                <a:cxn ang="0">
                  <a:pos x="connsiteX4753" y="connsiteY4753"/>
                </a:cxn>
                <a:cxn ang="0">
                  <a:pos x="connsiteX4754" y="connsiteY4754"/>
                </a:cxn>
                <a:cxn ang="0">
                  <a:pos x="connsiteX4755" y="connsiteY4755"/>
                </a:cxn>
                <a:cxn ang="0">
                  <a:pos x="connsiteX4756" y="connsiteY4756"/>
                </a:cxn>
                <a:cxn ang="0">
                  <a:pos x="connsiteX4757" y="connsiteY4757"/>
                </a:cxn>
                <a:cxn ang="0">
                  <a:pos x="connsiteX4758" y="connsiteY4758"/>
                </a:cxn>
                <a:cxn ang="0">
                  <a:pos x="connsiteX4759" y="connsiteY4759"/>
                </a:cxn>
                <a:cxn ang="0">
                  <a:pos x="connsiteX4760" y="connsiteY4760"/>
                </a:cxn>
                <a:cxn ang="0">
                  <a:pos x="connsiteX4761" y="connsiteY4761"/>
                </a:cxn>
                <a:cxn ang="0">
                  <a:pos x="connsiteX4762" y="connsiteY4762"/>
                </a:cxn>
                <a:cxn ang="0">
                  <a:pos x="connsiteX4763" y="connsiteY4763"/>
                </a:cxn>
                <a:cxn ang="0">
                  <a:pos x="connsiteX4764" y="connsiteY4764"/>
                </a:cxn>
                <a:cxn ang="0">
                  <a:pos x="connsiteX4765" y="connsiteY4765"/>
                </a:cxn>
                <a:cxn ang="0">
                  <a:pos x="connsiteX4766" y="connsiteY4766"/>
                </a:cxn>
                <a:cxn ang="0">
                  <a:pos x="connsiteX4767" y="connsiteY4767"/>
                </a:cxn>
                <a:cxn ang="0">
                  <a:pos x="connsiteX4768" y="connsiteY4768"/>
                </a:cxn>
                <a:cxn ang="0">
                  <a:pos x="connsiteX4769" y="connsiteY4769"/>
                </a:cxn>
                <a:cxn ang="0">
                  <a:pos x="connsiteX4770" y="connsiteY4770"/>
                </a:cxn>
                <a:cxn ang="0">
                  <a:pos x="connsiteX4771" y="connsiteY4771"/>
                </a:cxn>
                <a:cxn ang="0">
                  <a:pos x="connsiteX4772" y="connsiteY4772"/>
                </a:cxn>
                <a:cxn ang="0">
                  <a:pos x="connsiteX4773" y="connsiteY4773"/>
                </a:cxn>
                <a:cxn ang="0">
                  <a:pos x="connsiteX4774" y="connsiteY4774"/>
                </a:cxn>
                <a:cxn ang="0">
                  <a:pos x="connsiteX4775" y="connsiteY4775"/>
                </a:cxn>
                <a:cxn ang="0">
                  <a:pos x="connsiteX4776" y="connsiteY4776"/>
                </a:cxn>
                <a:cxn ang="0">
                  <a:pos x="connsiteX4777" y="connsiteY4777"/>
                </a:cxn>
                <a:cxn ang="0">
                  <a:pos x="connsiteX4778" y="connsiteY4778"/>
                </a:cxn>
                <a:cxn ang="0">
                  <a:pos x="connsiteX4779" y="connsiteY4779"/>
                </a:cxn>
                <a:cxn ang="0">
                  <a:pos x="connsiteX4780" y="connsiteY4780"/>
                </a:cxn>
                <a:cxn ang="0">
                  <a:pos x="connsiteX4781" y="connsiteY4781"/>
                </a:cxn>
                <a:cxn ang="0">
                  <a:pos x="connsiteX4782" y="connsiteY4782"/>
                </a:cxn>
                <a:cxn ang="0">
                  <a:pos x="connsiteX4783" y="connsiteY4783"/>
                </a:cxn>
                <a:cxn ang="0">
                  <a:pos x="connsiteX4784" y="connsiteY4784"/>
                </a:cxn>
                <a:cxn ang="0">
                  <a:pos x="connsiteX4785" y="connsiteY4785"/>
                </a:cxn>
                <a:cxn ang="0">
                  <a:pos x="connsiteX4786" y="connsiteY4786"/>
                </a:cxn>
                <a:cxn ang="0">
                  <a:pos x="connsiteX4787" y="connsiteY4787"/>
                </a:cxn>
                <a:cxn ang="0">
                  <a:pos x="connsiteX4788" y="connsiteY4788"/>
                </a:cxn>
                <a:cxn ang="0">
                  <a:pos x="connsiteX4789" y="connsiteY4789"/>
                </a:cxn>
                <a:cxn ang="0">
                  <a:pos x="connsiteX4790" y="connsiteY4790"/>
                </a:cxn>
                <a:cxn ang="0">
                  <a:pos x="connsiteX4791" y="connsiteY4791"/>
                </a:cxn>
                <a:cxn ang="0">
                  <a:pos x="connsiteX4792" y="connsiteY4792"/>
                </a:cxn>
                <a:cxn ang="0">
                  <a:pos x="connsiteX4793" y="connsiteY4793"/>
                </a:cxn>
                <a:cxn ang="0">
                  <a:pos x="connsiteX4794" y="connsiteY4794"/>
                </a:cxn>
                <a:cxn ang="0">
                  <a:pos x="connsiteX4795" y="connsiteY4795"/>
                </a:cxn>
                <a:cxn ang="0">
                  <a:pos x="connsiteX4796" y="connsiteY4796"/>
                </a:cxn>
                <a:cxn ang="0">
                  <a:pos x="connsiteX4797" y="connsiteY4797"/>
                </a:cxn>
                <a:cxn ang="0">
                  <a:pos x="connsiteX4798" y="connsiteY4798"/>
                </a:cxn>
                <a:cxn ang="0">
                  <a:pos x="connsiteX4799" y="connsiteY4799"/>
                </a:cxn>
                <a:cxn ang="0">
                  <a:pos x="connsiteX4800" y="connsiteY4800"/>
                </a:cxn>
                <a:cxn ang="0">
                  <a:pos x="connsiteX4801" y="connsiteY4801"/>
                </a:cxn>
                <a:cxn ang="0">
                  <a:pos x="connsiteX4802" y="connsiteY4802"/>
                </a:cxn>
                <a:cxn ang="0">
                  <a:pos x="connsiteX4803" y="connsiteY4803"/>
                </a:cxn>
                <a:cxn ang="0">
                  <a:pos x="connsiteX4804" y="connsiteY4804"/>
                </a:cxn>
                <a:cxn ang="0">
                  <a:pos x="connsiteX4805" y="connsiteY4805"/>
                </a:cxn>
                <a:cxn ang="0">
                  <a:pos x="connsiteX4806" y="connsiteY4806"/>
                </a:cxn>
                <a:cxn ang="0">
                  <a:pos x="connsiteX4807" y="connsiteY4807"/>
                </a:cxn>
                <a:cxn ang="0">
                  <a:pos x="connsiteX4808" y="connsiteY4808"/>
                </a:cxn>
                <a:cxn ang="0">
                  <a:pos x="connsiteX4809" y="connsiteY4809"/>
                </a:cxn>
                <a:cxn ang="0">
                  <a:pos x="connsiteX4810" y="connsiteY4810"/>
                </a:cxn>
                <a:cxn ang="0">
                  <a:pos x="connsiteX4811" y="connsiteY4811"/>
                </a:cxn>
                <a:cxn ang="0">
                  <a:pos x="connsiteX4812" y="connsiteY4812"/>
                </a:cxn>
                <a:cxn ang="0">
                  <a:pos x="connsiteX4813" y="connsiteY4813"/>
                </a:cxn>
                <a:cxn ang="0">
                  <a:pos x="connsiteX4814" y="connsiteY4814"/>
                </a:cxn>
                <a:cxn ang="0">
                  <a:pos x="connsiteX4815" y="connsiteY4815"/>
                </a:cxn>
                <a:cxn ang="0">
                  <a:pos x="connsiteX4816" y="connsiteY4816"/>
                </a:cxn>
                <a:cxn ang="0">
                  <a:pos x="connsiteX4817" y="connsiteY4817"/>
                </a:cxn>
                <a:cxn ang="0">
                  <a:pos x="connsiteX4818" y="connsiteY4818"/>
                </a:cxn>
                <a:cxn ang="0">
                  <a:pos x="connsiteX4819" y="connsiteY4819"/>
                </a:cxn>
                <a:cxn ang="0">
                  <a:pos x="connsiteX4820" y="connsiteY4820"/>
                </a:cxn>
                <a:cxn ang="0">
                  <a:pos x="connsiteX4821" y="connsiteY4821"/>
                </a:cxn>
                <a:cxn ang="0">
                  <a:pos x="connsiteX4822" y="connsiteY4822"/>
                </a:cxn>
                <a:cxn ang="0">
                  <a:pos x="connsiteX4823" y="connsiteY4823"/>
                </a:cxn>
                <a:cxn ang="0">
                  <a:pos x="connsiteX4824" y="connsiteY4824"/>
                </a:cxn>
                <a:cxn ang="0">
                  <a:pos x="connsiteX4825" y="connsiteY4825"/>
                </a:cxn>
                <a:cxn ang="0">
                  <a:pos x="connsiteX4826" y="connsiteY4826"/>
                </a:cxn>
                <a:cxn ang="0">
                  <a:pos x="connsiteX4827" y="connsiteY4827"/>
                </a:cxn>
                <a:cxn ang="0">
                  <a:pos x="connsiteX4828" y="connsiteY4828"/>
                </a:cxn>
                <a:cxn ang="0">
                  <a:pos x="connsiteX4829" y="connsiteY4829"/>
                </a:cxn>
                <a:cxn ang="0">
                  <a:pos x="connsiteX4830" y="connsiteY4830"/>
                </a:cxn>
                <a:cxn ang="0">
                  <a:pos x="connsiteX4831" y="connsiteY4831"/>
                </a:cxn>
                <a:cxn ang="0">
                  <a:pos x="connsiteX4832" y="connsiteY4832"/>
                </a:cxn>
                <a:cxn ang="0">
                  <a:pos x="connsiteX4833" y="connsiteY4833"/>
                </a:cxn>
                <a:cxn ang="0">
                  <a:pos x="connsiteX4834" y="connsiteY4834"/>
                </a:cxn>
                <a:cxn ang="0">
                  <a:pos x="connsiteX4835" y="connsiteY4835"/>
                </a:cxn>
                <a:cxn ang="0">
                  <a:pos x="connsiteX4836" y="connsiteY4836"/>
                </a:cxn>
                <a:cxn ang="0">
                  <a:pos x="connsiteX4837" y="connsiteY4837"/>
                </a:cxn>
                <a:cxn ang="0">
                  <a:pos x="connsiteX4838" y="connsiteY4838"/>
                </a:cxn>
                <a:cxn ang="0">
                  <a:pos x="connsiteX4839" y="connsiteY4839"/>
                </a:cxn>
                <a:cxn ang="0">
                  <a:pos x="connsiteX4840" y="connsiteY4840"/>
                </a:cxn>
                <a:cxn ang="0">
                  <a:pos x="connsiteX4841" y="connsiteY4841"/>
                </a:cxn>
                <a:cxn ang="0">
                  <a:pos x="connsiteX4842" y="connsiteY4842"/>
                </a:cxn>
                <a:cxn ang="0">
                  <a:pos x="connsiteX4843" y="connsiteY4843"/>
                </a:cxn>
                <a:cxn ang="0">
                  <a:pos x="connsiteX4844" y="connsiteY4844"/>
                </a:cxn>
                <a:cxn ang="0">
                  <a:pos x="connsiteX4845" y="connsiteY4845"/>
                </a:cxn>
                <a:cxn ang="0">
                  <a:pos x="connsiteX4846" y="connsiteY4846"/>
                </a:cxn>
                <a:cxn ang="0">
                  <a:pos x="connsiteX4847" y="connsiteY4847"/>
                </a:cxn>
                <a:cxn ang="0">
                  <a:pos x="connsiteX4848" y="connsiteY4848"/>
                </a:cxn>
                <a:cxn ang="0">
                  <a:pos x="connsiteX4849" y="connsiteY4849"/>
                </a:cxn>
                <a:cxn ang="0">
                  <a:pos x="connsiteX4850" y="connsiteY4850"/>
                </a:cxn>
                <a:cxn ang="0">
                  <a:pos x="connsiteX4851" y="connsiteY4851"/>
                </a:cxn>
                <a:cxn ang="0">
                  <a:pos x="connsiteX4852" y="connsiteY4852"/>
                </a:cxn>
                <a:cxn ang="0">
                  <a:pos x="connsiteX4853" y="connsiteY4853"/>
                </a:cxn>
                <a:cxn ang="0">
                  <a:pos x="connsiteX4854" y="connsiteY4854"/>
                </a:cxn>
                <a:cxn ang="0">
                  <a:pos x="connsiteX4855" y="connsiteY4855"/>
                </a:cxn>
                <a:cxn ang="0">
                  <a:pos x="connsiteX4856" y="connsiteY4856"/>
                </a:cxn>
                <a:cxn ang="0">
                  <a:pos x="connsiteX4857" y="connsiteY4857"/>
                </a:cxn>
                <a:cxn ang="0">
                  <a:pos x="connsiteX4858" y="connsiteY4858"/>
                </a:cxn>
                <a:cxn ang="0">
                  <a:pos x="connsiteX4859" y="connsiteY4859"/>
                </a:cxn>
                <a:cxn ang="0">
                  <a:pos x="connsiteX4860" y="connsiteY4860"/>
                </a:cxn>
                <a:cxn ang="0">
                  <a:pos x="connsiteX4861" y="connsiteY4861"/>
                </a:cxn>
                <a:cxn ang="0">
                  <a:pos x="connsiteX4862" y="connsiteY4862"/>
                </a:cxn>
                <a:cxn ang="0">
                  <a:pos x="connsiteX4863" y="connsiteY4863"/>
                </a:cxn>
                <a:cxn ang="0">
                  <a:pos x="connsiteX4864" y="connsiteY4864"/>
                </a:cxn>
                <a:cxn ang="0">
                  <a:pos x="connsiteX4865" y="connsiteY4865"/>
                </a:cxn>
                <a:cxn ang="0">
                  <a:pos x="connsiteX4866" y="connsiteY4866"/>
                </a:cxn>
                <a:cxn ang="0">
                  <a:pos x="connsiteX4867" y="connsiteY4867"/>
                </a:cxn>
                <a:cxn ang="0">
                  <a:pos x="connsiteX4868" y="connsiteY4868"/>
                </a:cxn>
                <a:cxn ang="0">
                  <a:pos x="connsiteX4869" y="connsiteY4869"/>
                </a:cxn>
                <a:cxn ang="0">
                  <a:pos x="connsiteX4870" y="connsiteY4870"/>
                </a:cxn>
                <a:cxn ang="0">
                  <a:pos x="connsiteX4871" y="connsiteY4871"/>
                </a:cxn>
                <a:cxn ang="0">
                  <a:pos x="connsiteX4872" y="connsiteY4872"/>
                </a:cxn>
                <a:cxn ang="0">
                  <a:pos x="connsiteX4873" y="connsiteY4873"/>
                </a:cxn>
                <a:cxn ang="0">
                  <a:pos x="connsiteX4874" y="connsiteY4874"/>
                </a:cxn>
                <a:cxn ang="0">
                  <a:pos x="connsiteX4875" y="connsiteY4875"/>
                </a:cxn>
                <a:cxn ang="0">
                  <a:pos x="connsiteX4876" y="connsiteY4876"/>
                </a:cxn>
                <a:cxn ang="0">
                  <a:pos x="connsiteX4877" y="connsiteY4877"/>
                </a:cxn>
                <a:cxn ang="0">
                  <a:pos x="connsiteX4878" y="connsiteY4878"/>
                </a:cxn>
                <a:cxn ang="0">
                  <a:pos x="connsiteX4879" y="connsiteY4879"/>
                </a:cxn>
                <a:cxn ang="0">
                  <a:pos x="connsiteX4880" y="connsiteY4880"/>
                </a:cxn>
                <a:cxn ang="0">
                  <a:pos x="connsiteX4881" y="connsiteY4881"/>
                </a:cxn>
                <a:cxn ang="0">
                  <a:pos x="connsiteX4882" y="connsiteY4882"/>
                </a:cxn>
                <a:cxn ang="0">
                  <a:pos x="connsiteX4883" y="connsiteY4883"/>
                </a:cxn>
                <a:cxn ang="0">
                  <a:pos x="connsiteX4884" y="connsiteY4884"/>
                </a:cxn>
                <a:cxn ang="0">
                  <a:pos x="connsiteX4885" y="connsiteY4885"/>
                </a:cxn>
                <a:cxn ang="0">
                  <a:pos x="connsiteX4886" y="connsiteY4886"/>
                </a:cxn>
                <a:cxn ang="0">
                  <a:pos x="connsiteX4887" y="connsiteY4887"/>
                </a:cxn>
                <a:cxn ang="0">
                  <a:pos x="connsiteX4888" y="connsiteY4888"/>
                </a:cxn>
                <a:cxn ang="0">
                  <a:pos x="connsiteX4889" y="connsiteY4889"/>
                </a:cxn>
                <a:cxn ang="0">
                  <a:pos x="connsiteX4890" y="connsiteY4890"/>
                </a:cxn>
                <a:cxn ang="0">
                  <a:pos x="connsiteX4891" y="connsiteY4891"/>
                </a:cxn>
                <a:cxn ang="0">
                  <a:pos x="connsiteX4892" y="connsiteY4892"/>
                </a:cxn>
                <a:cxn ang="0">
                  <a:pos x="connsiteX4893" y="connsiteY4893"/>
                </a:cxn>
                <a:cxn ang="0">
                  <a:pos x="connsiteX4894" y="connsiteY4894"/>
                </a:cxn>
                <a:cxn ang="0">
                  <a:pos x="connsiteX4895" y="connsiteY4895"/>
                </a:cxn>
                <a:cxn ang="0">
                  <a:pos x="connsiteX4896" y="connsiteY4896"/>
                </a:cxn>
                <a:cxn ang="0">
                  <a:pos x="connsiteX4897" y="connsiteY4897"/>
                </a:cxn>
                <a:cxn ang="0">
                  <a:pos x="connsiteX4898" y="connsiteY4898"/>
                </a:cxn>
                <a:cxn ang="0">
                  <a:pos x="connsiteX4899" y="connsiteY4899"/>
                </a:cxn>
                <a:cxn ang="0">
                  <a:pos x="connsiteX4900" y="connsiteY4900"/>
                </a:cxn>
                <a:cxn ang="0">
                  <a:pos x="connsiteX4901" y="connsiteY4901"/>
                </a:cxn>
                <a:cxn ang="0">
                  <a:pos x="connsiteX4902" y="connsiteY4902"/>
                </a:cxn>
                <a:cxn ang="0">
                  <a:pos x="connsiteX4903" y="connsiteY4903"/>
                </a:cxn>
                <a:cxn ang="0">
                  <a:pos x="connsiteX4904" y="connsiteY4904"/>
                </a:cxn>
                <a:cxn ang="0">
                  <a:pos x="connsiteX4905" y="connsiteY4905"/>
                </a:cxn>
                <a:cxn ang="0">
                  <a:pos x="connsiteX4906" y="connsiteY4906"/>
                </a:cxn>
                <a:cxn ang="0">
                  <a:pos x="connsiteX4907" y="connsiteY4907"/>
                </a:cxn>
                <a:cxn ang="0">
                  <a:pos x="connsiteX4908" y="connsiteY4908"/>
                </a:cxn>
                <a:cxn ang="0">
                  <a:pos x="connsiteX4909" y="connsiteY4909"/>
                </a:cxn>
                <a:cxn ang="0">
                  <a:pos x="connsiteX4910" y="connsiteY4910"/>
                </a:cxn>
                <a:cxn ang="0">
                  <a:pos x="connsiteX4911" y="connsiteY4911"/>
                </a:cxn>
                <a:cxn ang="0">
                  <a:pos x="connsiteX4912" y="connsiteY4912"/>
                </a:cxn>
                <a:cxn ang="0">
                  <a:pos x="connsiteX4913" y="connsiteY4913"/>
                </a:cxn>
                <a:cxn ang="0">
                  <a:pos x="connsiteX4914" y="connsiteY4914"/>
                </a:cxn>
                <a:cxn ang="0">
                  <a:pos x="connsiteX4915" y="connsiteY4915"/>
                </a:cxn>
                <a:cxn ang="0">
                  <a:pos x="connsiteX4916" y="connsiteY4916"/>
                </a:cxn>
                <a:cxn ang="0">
                  <a:pos x="connsiteX4917" y="connsiteY4917"/>
                </a:cxn>
                <a:cxn ang="0">
                  <a:pos x="connsiteX4918" y="connsiteY4918"/>
                </a:cxn>
                <a:cxn ang="0">
                  <a:pos x="connsiteX4919" y="connsiteY4919"/>
                </a:cxn>
                <a:cxn ang="0">
                  <a:pos x="connsiteX4920" y="connsiteY4920"/>
                </a:cxn>
                <a:cxn ang="0">
                  <a:pos x="connsiteX4921" y="connsiteY4921"/>
                </a:cxn>
                <a:cxn ang="0">
                  <a:pos x="connsiteX4922" y="connsiteY4922"/>
                </a:cxn>
                <a:cxn ang="0">
                  <a:pos x="connsiteX4923" y="connsiteY4923"/>
                </a:cxn>
                <a:cxn ang="0">
                  <a:pos x="connsiteX4924" y="connsiteY4924"/>
                </a:cxn>
                <a:cxn ang="0">
                  <a:pos x="connsiteX4925" y="connsiteY4925"/>
                </a:cxn>
                <a:cxn ang="0">
                  <a:pos x="connsiteX4926" y="connsiteY4926"/>
                </a:cxn>
                <a:cxn ang="0">
                  <a:pos x="connsiteX4927" y="connsiteY4927"/>
                </a:cxn>
                <a:cxn ang="0">
                  <a:pos x="connsiteX4928" y="connsiteY4928"/>
                </a:cxn>
                <a:cxn ang="0">
                  <a:pos x="connsiteX4929" y="connsiteY4929"/>
                </a:cxn>
                <a:cxn ang="0">
                  <a:pos x="connsiteX4930" y="connsiteY4930"/>
                </a:cxn>
                <a:cxn ang="0">
                  <a:pos x="connsiteX4931" y="connsiteY4931"/>
                </a:cxn>
                <a:cxn ang="0">
                  <a:pos x="connsiteX4932" y="connsiteY4932"/>
                </a:cxn>
                <a:cxn ang="0">
                  <a:pos x="connsiteX4933" y="connsiteY4933"/>
                </a:cxn>
                <a:cxn ang="0">
                  <a:pos x="connsiteX4934" y="connsiteY4934"/>
                </a:cxn>
                <a:cxn ang="0">
                  <a:pos x="connsiteX4935" y="connsiteY4935"/>
                </a:cxn>
                <a:cxn ang="0">
                  <a:pos x="connsiteX4936" y="connsiteY4936"/>
                </a:cxn>
                <a:cxn ang="0">
                  <a:pos x="connsiteX4937" y="connsiteY4937"/>
                </a:cxn>
                <a:cxn ang="0">
                  <a:pos x="connsiteX4938" y="connsiteY4938"/>
                </a:cxn>
                <a:cxn ang="0">
                  <a:pos x="connsiteX4939" y="connsiteY4939"/>
                </a:cxn>
                <a:cxn ang="0">
                  <a:pos x="connsiteX4940" y="connsiteY4940"/>
                </a:cxn>
                <a:cxn ang="0">
                  <a:pos x="connsiteX4941" y="connsiteY4941"/>
                </a:cxn>
                <a:cxn ang="0">
                  <a:pos x="connsiteX4942" y="connsiteY4942"/>
                </a:cxn>
                <a:cxn ang="0">
                  <a:pos x="connsiteX4943" y="connsiteY4943"/>
                </a:cxn>
                <a:cxn ang="0">
                  <a:pos x="connsiteX4944" y="connsiteY4944"/>
                </a:cxn>
                <a:cxn ang="0">
                  <a:pos x="connsiteX4945" y="connsiteY4945"/>
                </a:cxn>
                <a:cxn ang="0">
                  <a:pos x="connsiteX4946" y="connsiteY4946"/>
                </a:cxn>
                <a:cxn ang="0">
                  <a:pos x="connsiteX4947" y="connsiteY4947"/>
                </a:cxn>
                <a:cxn ang="0">
                  <a:pos x="connsiteX4948" y="connsiteY4948"/>
                </a:cxn>
                <a:cxn ang="0">
                  <a:pos x="connsiteX4949" y="connsiteY4949"/>
                </a:cxn>
                <a:cxn ang="0">
                  <a:pos x="connsiteX4950" y="connsiteY4950"/>
                </a:cxn>
                <a:cxn ang="0">
                  <a:pos x="connsiteX4951" y="connsiteY4951"/>
                </a:cxn>
                <a:cxn ang="0">
                  <a:pos x="connsiteX4952" y="connsiteY4952"/>
                </a:cxn>
                <a:cxn ang="0">
                  <a:pos x="connsiteX4953" y="connsiteY4953"/>
                </a:cxn>
                <a:cxn ang="0">
                  <a:pos x="connsiteX4954" y="connsiteY4954"/>
                </a:cxn>
                <a:cxn ang="0">
                  <a:pos x="connsiteX4955" y="connsiteY4955"/>
                </a:cxn>
                <a:cxn ang="0">
                  <a:pos x="connsiteX4956" y="connsiteY4956"/>
                </a:cxn>
                <a:cxn ang="0">
                  <a:pos x="connsiteX4957" y="connsiteY4957"/>
                </a:cxn>
                <a:cxn ang="0">
                  <a:pos x="connsiteX4958" y="connsiteY4958"/>
                </a:cxn>
                <a:cxn ang="0">
                  <a:pos x="connsiteX4959" y="connsiteY4959"/>
                </a:cxn>
                <a:cxn ang="0">
                  <a:pos x="connsiteX4960" y="connsiteY4960"/>
                </a:cxn>
                <a:cxn ang="0">
                  <a:pos x="connsiteX4961" y="connsiteY4961"/>
                </a:cxn>
                <a:cxn ang="0">
                  <a:pos x="connsiteX4962" y="connsiteY4962"/>
                </a:cxn>
                <a:cxn ang="0">
                  <a:pos x="connsiteX4963" y="connsiteY4963"/>
                </a:cxn>
                <a:cxn ang="0">
                  <a:pos x="connsiteX4964" y="connsiteY4964"/>
                </a:cxn>
                <a:cxn ang="0">
                  <a:pos x="connsiteX4965" y="connsiteY4965"/>
                </a:cxn>
                <a:cxn ang="0">
                  <a:pos x="connsiteX4966" y="connsiteY4966"/>
                </a:cxn>
                <a:cxn ang="0">
                  <a:pos x="connsiteX4967" y="connsiteY4967"/>
                </a:cxn>
                <a:cxn ang="0">
                  <a:pos x="connsiteX4968" y="connsiteY4968"/>
                </a:cxn>
                <a:cxn ang="0">
                  <a:pos x="connsiteX4969" y="connsiteY4969"/>
                </a:cxn>
                <a:cxn ang="0">
                  <a:pos x="connsiteX4970" y="connsiteY4970"/>
                </a:cxn>
                <a:cxn ang="0">
                  <a:pos x="connsiteX4971" y="connsiteY4971"/>
                </a:cxn>
                <a:cxn ang="0">
                  <a:pos x="connsiteX4972" y="connsiteY4972"/>
                </a:cxn>
                <a:cxn ang="0">
                  <a:pos x="connsiteX4973" y="connsiteY4973"/>
                </a:cxn>
                <a:cxn ang="0">
                  <a:pos x="connsiteX4974" y="connsiteY4974"/>
                </a:cxn>
                <a:cxn ang="0">
                  <a:pos x="connsiteX4975" y="connsiteY4975"/>
                </a:cxn>
                <a:cxn ang="0">
                  <a:pos x="connsiteX4976" y="connsiteY4976"/>
                </a:cxn>
                <a:cxn ang="0">
                  <a:pos x="connsiteX4977" y="connsiteY4977"/>
                </a:cxn>
                <a:cxn ang="0">
                  <a:pos x="connsiteX4978" y="connsiteY4978"/>
                </a:cxn>
                <a:cxn ang="0">
                  <a:pos x="connsiteX4979" y="connsiteY4979"/>
                </a:cxn>
                <a:cxn ang="0">
                  <a:pos x="connsiteX4980" y="connsiteY4980"/>
                </a:cxn>
                <a:cxn ang="0">
                  <a:pos x="connsiteX4981" y="connsiteY4981"/>
                </a:cxn>
                <a:cxn ang="0">
                  <a:pos x="connsiteX4982" y="connsiteY4982"/>
                </a:cxn>
                <a:cxn ang="0">
                  <a:pos x="connsiteX4983" y="connsiteY4983"/>
                </a:cxn>
                <a:cxn ang="0">
                  <a:pos x="connsiteX4984" y="connsiteY4984"/>
                </a:cxn>
                <a:cxn ang="0">
                  <a:pos x="connsiteX4985" y="connsiteY4985"/>
                </a:cxn>
                <a:cxn ang="0">
                  <a:pos x="connsiteX4986" y="connsiteY4986"/>
                </a:cxn>
                <a:cxn ang="0">
                  <a:pos x="connsiteX4987" y="connsiteY4987"/>
                </a:cxn>
                <a:cxn ang="0">
                  <a:pos x="connsiteX4988" y="connsiteY4988"/>
                </a:cxn>
                <a:cxn ang="0">
                  <a:pos x="connsiteX4989" y="connsiteY4989"/>
                </a:cxn>
                <a:cxn ang="0">
                  <a:pos x="connsiteX4990" y="connsiteY4990"/>
                </a:cxn>
                <a:cxn ang="0">
                  <a:pos x="connsiteX4991" y="connsiteY4991"/>
                </a:cxn>
                <a:cxn ang="0">
                  <a:pos x="connsiteX4992" y="connsiteY4992"/>
                </a:cxn>
                <a:cxn ang="0">
                  <a:pos x="connsiteX4993" y="connsiteY4993"/>
                </a:cxn>
                <a:cxn ang="0">
                  <a:pos x="connsiteX4994" y="connsiteY4994"/>
                </a:cxn>
                <a:cxn ang="0">
                  <a:pos x="connsiteX4995" y="connsiteY4995"/>
                </a:cxn>
                <a:cxn ang="0">
                  <a:pos x="connsiteX4996" y="connsiteY4996"/>
                </a:cxn>
                <a:cxn ang="0">
                  <a:pos x="connsiteX4997" y="connsiteY4997"/>
                </a:cxn>
                <a:cxn ang="0">
                  <a:pos x="connsiteX4998" y="connsiteY4998"/>
                </a:cxn>
                <a:cxn ang="0">
                  <a:pos x="connsiteX4999" y="connsiteY4999"/>
                </a:cxn>
                <a:cxn ang="0">
                  <a:pos x="connsiteX5000" y="connsiteY5000"/>
                </a:cxn>
                <a:cxn ang="0">
                  <a:pos x="connsiteX5001" y="connsiteY5001"/>
                </a:cxn>
                <a:cxn ang="0">
                  <a:pos x="connsiteX5002" y="connsiteY5002"/>
                </a:cxn>
                <a:cxn ang="0">
                  <a:pos x="connsiteX5003" y="connsiteY5003"/>
                </a:cxn>
                <a:cxn ang="0">
                  <a:pos x="connsiteX5004" y="connsiteY5004"/>
                </a:cxn>
                <a:cxn ang="0">
                  <a:pos x="connsiteX5005" y="connsiteY5005"/>
                </a:cxn>
                <a:cxn ang="0">
                  <a:pos x="connsiteX5006" y="connsiteY5006"/>
                </a:cxn>
                <a:cxn ang="0">
                  <a:pos x="connsiteX5007" y="connsiteY5007"/>
                </a:cxn>
                <a:cxn ang="0">
                  <a:pos x="connsiteX5008" y="connsiteY5008"/>
                </a:cxn>
                <a:cxn ang="0">
                  <a:pos x="connsiteX5009" y="connsiteY5009"/>
                </a:cxn>
                <a:cxn ang="0">
                  <a:pos x="connsiteX5010" y="connsiteY5010"/>
                </a:cxn>
                <a:cxn ang="0">
                  <a:pos x="connsiteX5011" y="connsiteY5011"/>
                </a:cxn>
                <a:cxn ang="0">
                  <a:pos x="connsiteX5012" y="connsiteY5012"/>
                </a:cxn>
                <a:cxn ang="0">
                  <a:pos x="connsiteX5013" y="connsiteY5013"/>
                </a:cxn>
                <a:cxn ang="0">
                  <a:pos x="connsiteX5014" y="connsiteY5014"/>
                </a:cxn>
                <a:cxn ang="0">
                  <a:pos x="connsiteX5015" y="connsiteY5015"/>
                </a:cxn>
                <a:cxn ang="0">
                  <a:pos x="connsiteX5016" y="connsiteY5016"/>
                </a:cxn>
                <a:cxn ang="0">
                  <a:pos x="connsiteX5017" y="connsiteY5017"/>
                </a:cxn>
                <a:cxn ang="0">
                  <a:pos x="connsiteX5018" y="connsiteY5018"/>
                </a:cxn>
                <a:cxn ang="0">
                  <a:pos x="connsiteX5019" y="connsiteY5019"/>
                </a:cxn>
                <a:cxn ang="0">
                  <a:pos x="connsiteX5020" y="connsiteY5020"/>
                </a:cxn>
                <a:cxn ang="0">
                  <a:pos x="connsiteX5021" y="connsiteY5021"/>
                </a:cxn>
                <a:cxn ang="0">
                  <a:pos x="connsiteX5022" y="connsiteY5022"/>
                </a:cxn>
                <a:cxn ang="0">
                  <a:pos x="connsiteX5023" y="connsiteY5023"/>
                </a:cxn>
                <a:cxn ang="0">
                  <a:pos x="connsiteX5024" y="connsiteY5024"/>
                </a:cxn>
                <a:cxn ang="0">
                  <a:pos x="connsiteX5025" y="connsiteY5025"/>
                </a:cxn>
                <a:cxn ang="0">
                  <a:pos x="connsiteX5026" y="connsiteY5026"/>
                </a:cxn>
                <a:cxn ang="0">
                  <a:pos x="connsiteX5027" y="connsiteY5027"/>
                </a:cxn>
                <a:cxn ang="0">
                  <a:pos x="connsiteX5028" y="connsiteY5028"/>
                </a:cxn>
                <a:cxn ang="0">
                  <a:pos x="connsiteX5029" y="connsiteY5029"/>
                </a:cxn>
                <a:cxn ang="0">
                  <a:pos x="connsiteX5030" y="connsiteY5030"/>
                </a:cxn>
                <a:cxn ang="0">
                  <a:pos x="connsiteX5031" y="connsiteY5031"/>
                </a:cxn>
                <a:cxn ang="0">
                  <a:pos x="connsiteX5032" y="connsiteY5032"/>
                </a:cxn>
                <a:cxn ang="0">
                  <a:pos x="connsiteX5033" y="connsiteY5033"/>
                </a:cxn>
                <a:cxn ang="0">
                  <a:pos x="connsiteX5034" y="connsiteY5034"/>
                </a:cxn>
                <a:cxn ang="0">
                  <a:pos x="connsiteX5035" y="connsiteY5035"/>
                </a:cxn>
                <a:cxn ang="0">
                  <a:pos x="connsiteX5036" y="connsiteY5036"/>
                </a:cxn>
                <a:cxn ang="0">
                  <a:pos x="connsiteX5037" y="connsiteY5037"/>
                </a:cxn>
                <a:cxn ang="0">
                  <a:pos x="connsiteX5038" y="connsiteY5038"/>
                </a:cxn>
                <a:cxn ang="0">
                  <a:pos x="connsiteX5039" y="connsiteY5039"/>
                </a:cxn>
                <a:cxn ang="0">
                  <a:pos x="connsiteX5040" y="connsiteY5040"/>
                </a:cxn>
                <a:cxn ang="0">
                  <a:pos x="connsiteX5041" y="connsiteY5041"/>
                </a:cxn>
                <a:cxn ang="0">
                  <a:pos x="connsiteX5042" y="connsiteY5042"/>
                </a:cxn>
                <a:cxn ang="0">
                  <a:pos x="connsiteX5043" y="connsiteY5043"/>
                </a:cxn>
                <a:cxn ang="0">
                  <a:pos x="connsiteX5044" y="connsiteY5044"/>
                </a:cxn>
                <a:cxn ang="0">
                  <a:pos x="connsiteX5045" y="connsiteY5045"/>
                </a:cxn>
                <a:cxn ang="0">
                  <a:pos x="connsiteX5046" y="connsiteY5046"/>
                </a:cxn>
                <a:cxn ang="0">
                  <a:pos x="connsiteX5047" y="connsiteY5047"/>
                </a:cxn>
                <a:cxn ang="0">
                  <a:pos x="connsiteX5048" y="connsiteY5048"/>
                </a:cxn>
                <a:cxn ang="0">
                  <a:pos x="connsiteX5049" y="connsiteY5049"/>
                </a:cxn>
                <a:cxn ang="0">
                  <a:pos x="connsiteX5050" y="connsiteY5050"/>
                </a:cxn>
                <a:cxn ang="0">
                  <a:pos x="connsiteX5051" y="connsiteY5051"/>
                </a:cxn>
                <a:cxn ang="0">
                  <a:pos x="connsiteX5052" y="connsiteY5052"/>
                </a:cxn>
                <a:cxn ang="0">
                  <a:pos x="connsiteX5053" y="connsiteY5053"/>
                </a:cxn>
                <a:cxn ang="0">
                  <a:pos x="connsiteX5054" y="connsiteY5054"/>
                </a:cxn>
                <a:cxn ang="0">
                  <a:pos x="connsiteX5055" y="connsiteY5055"/>
                </a:cxn>
                <a:cxn ang="0">
                  <a:pos x="connsiteX5056" y="connsiteY5056"/>
                </a:cxn>
                <a:cxn ang="0">
                  <a:pos x="connsiteX5057" y="connsiteY5057"/>
                </a:cxn>
                <a:cxn ang="0">
                  <a:pos x="connsiteX5058" y="connsiteY5058"/>
                </a:cxn>
                <a:cxn ang="0">
                  <a:pos x="connsiteX5059" y="connsiteY5059"/>
                </a:cxn>
                <a:cxn ang="0">
                  <a:pos x="connsiteX5060" y="connsiteY5060"/>
                </a:cxn>
                <a:cxn ang="0">
                  <a:pos x="connsiteX5061" y="connsiteY5061"/>
                </a:cxn>
                <a:cxn ang="0">
                  <a:pos x="connsiteX5062" y="connsiteY5062"/>
                </a:cxn>
                <a:cxn ang="0">
                  <a:pos x="connsiteX5063" y="connsiteY5063"/>
                </a:cxn>
                <a:cxn ang="0">
                  <a:pos x="connsiteX5064" y="connsiteY5064"/>
                </a:cxn>
                <a:cxn ang="0">
                  <a:pos x="connsiteX5065" y="connsiteY5065"/>
                </a:cxn>
                <a:cxn ang="0">
                  <a:pos x="connsiteX5066" y="connsiteY5066"/>
                </a:cxn>
                <a:cxn ang="0">
                  <a:pos x="connsiteX5067" y="connsiteY5067"/>
                </a:cxn>
                <a:cxn ang="0">
                  <a:pos x="connsiteX5068" y="connsiteY5068"/>
                </a:cxn>
                <a:cxn ang="0">
                  <a:pos x="connsiteX5069" y="connsiteY5069"/>
                </a:cxn>
                <a:cxn ang="0">
                  <a:pos x="connsiteX5070" y="connsiteY5070"/>
                </a:cxn>
                <a:cxn ang="0">
                  <a:pos x="connsiteX5071" y="connsiteY5071"/>
                </a:cxn>
                <a:cxn ang="0">
                  <a:pos x="connsiteX5072" y="connsiteY5072"/>
                </a:cxn>
                <a:cxn ang="0">
                  <a:pos x="connsiteX5073" y="connsiteY5073"/>
                </a:cxn>
                <a:cxn ang="0">
                  <a:pos x="connsiteX5074" y="connsiteY5074"/>
                </a:cxn>
                <a:cxn ang="0">
                  <a:pos x="connsiteX5075" y="connsiteY5075"/>
                </a:cxn>
                <a:cxn ang="0">
                  <a:pos x="connsiteX5076" y="connsiteY5076"/>
                </a:cxn>
                <a:cxn ang="0">
                  <a:pos x="connsiteX5077" y="connsiteY5077"/>
                </a:cxn>
                <a:cxn ang="0">
                  <a:pos x="connsiteX5078" y="connsiteY5078"/>
                </a:cxn>
                <a:cxn ang="0">
                  <a:pos x="connsiteX5079" y="connsiteY5079"/>
                </a:cxn>
                <a:cxn ang="0">
                  <a:pos x="connsiteX5080" y="connsiteY5080"/>
                </a:cxn>
                <a:cxn ang="0">
                  <a:pos x="connsiteX5081" y="connsiteY5081"/>
                </a:cxn>
                <a:cxn ang="0">
                  <a:pos x="connsiteX5082" y="connsiteY5082"/>
                </a:cxn>
                <a:cxn ang="0">
                  <a:pos x="connsiteX5083" y="connsiteY5083"/>
                </a:cxn>
                <a:cxn ang="0">
                  <a:pos x="connsiteX5084" y="connsiteY5084"/>
                </a:cxn>
                <a:cxn ang="0">
                  <a:pos x="connsiteX5085" y="connsiteY5085"/>
                </a:cxn>
                <a:cxn ang="0">
                  <a:pos x="connsiteX5086" y="connsiteY5086"/>
                </a:cxn>
                <a:cxn ang="0">
                  <a:pos x="connsiteX5087" y="connsiteY5087"/>
                </a:cxn>
                <a:cxn ang="0">
                  <a:pos x="connsiteX5088" y="connsiteY5088"/>
                </a:cxn>
                <a:cxn ang="0">
                  <a:pos x="connsiteX5089" y="connsiteY5089"/>
                </a:cxn>
                <a:cxn ang="0">
                  <a:pos x="connsiteX5090" y="connsiteY5090"/>
                </a:cxn>
                <a:cxn ang="0">
                  <a:pos x="connsiteX5091" y="connsiteY5091"/>
                </a:cxn>
                <a:cxn ang="0">
                  <a:pos x="connsiteX5092" y="connsiteY5092"/>
                </a:cxn>
                <a:cxn ang="0">
                  <a:pos x="connsiteX5093" y="connsiteY5093"/>
                </a:cxn>
                <a:cxn ang="0">
                  <a:pos x="connsiteX5094" y="connsiteY5094"/>
                </a:cxn>
                <a:cxn ang="0">
                  <a:pos x="connsiteX5095" y="connsiteY5095"/>
                </a:cxn>
                <a:cxn ang="0">
                  <a:pos x="connsiteX5096" y="connsiteY5096"/>
                </a:cxn>
                <a:cxn ang="0">
                  <a:pos x="connsiteX5097" y="connsiteY5097"/>
                </a:cxn>
                <a:cxn ang="0">
                  <a:pos x="connsiteX5098" y="connsiteY5098"/>
                </a:cxn>
                <a:cxn ang="0">
                  <a:pos x="connsiteX5099" y="connsiteY5099"/>
                </a:cxn>
                <a:cxn ang="0">
                  <a:pos x="connsiteX5100" y="connsiteY5100"/>
                </a:cxn>
                <a:cxn ang="0">
                  <a:pos x="connsiteX5101" y="connsiteY5101"/>
                </a:cxn>
                <a:cxn ang="0">
                  <a:pos x="connsiteX5102" y="connsiteY5102"/>
                </a:cxn>
                <a:cxn ang="0">
                  <a:pos x="connsiteX5103" y="connsiteY5103"/>
                </a:cxn>
                <a:cxn ang="0">
                  <a:pos x="connsiteX5104" y="connsiteY5104"/>
                </a:cxn>
                <a:cxn ang="0">
                  <a:pos x="connsiteX5105" y="connsiteY5105"/>
                </a:cxn>
                <a:cxn ang="0">
                  <a:pos x="connsiteX5106" y="connsiteY5106"/>
                </a:cxn>
                <a:cxn ang="0">
                  <a:pos x="connsiteX5107" y="connsiteY5107"/>
                </a:cxn>
                <a:cxn ang="0">
                  <a:pos x="connsiteX5108" y="connsiteY5108"/>
                </a:cxn>
                <a:cxn ang="0">
                  <a:pos x="connsiteX5109" y="connsiteY5109"/>
                </a:cxn>
                <a:cxn ang="0">
                  <a:pos x="connsiteX5110" y="connsiteY5110"/>
                </a:cxn>
                <a:cxn ang="0">
                  <a:pos x="connsiteX5111" y="connsiteY5111"/>
                </a:cxn>
                <a:cxn ang="0">
                  <a:pos x="connsiteX5112" y="connsiteY5112"/>
                </a:cxn>
                <a:cxn ang="0">
                  <a:pos x="connsiteX5113" y="connsiteY5113"/>
                </a:cxn>
                <a:cxn ang="0">
                  <a:pos x="connsiteX5114" y="connsiteY5114"/>
                </a:cxn>
                <a:cxn ang="0">
                  <a:pos x="connsiteX5115" y="connsiteY5115"/>
                </a:cxn>
                <a:cxn ang="0">
                  <a:pos x="connsiteX5116" y="connsiteY5116"/>
                </a:cxn>
                <a:cxn ang="0">
                  <a:pos x="connsiteX5117" y="connsiteY5117"/>
                </a:cxn>
                <a:cxn ang="0">
                  <a:pos x="connsiteX5118" y="connsiteY5118"/>
                </a:cxn>
                <a:cxn ang="0">
                  <a:pos x="connsiteX5119" y="connsiteY5119"/>
                </a:cxn>
                <a:cxn ang="0">
                  <a:pos x="connsiteX5120" y="connsiteY5120"/>
                </a:cxn>
                <a:cxn ang="0">
                  <a:pos x="connsiteX5121" y="connsiteY5121"/>
                </a:cxn>
                <a:cxn ang="0">
                  <a:pos x="connsiteX5122" y="connsiteY5122"/>
                </a:cxn>
                <a:cxn ang="0">
                  <a:pos x="connsiteX5123" y="connsiteY5123"/>
                </a:cxn>
                <a:cxn ang="0">
                  <a:pos x="connsiteX5124" y="connsiteY5124"/>
                </a:cxn>
                <a:cxn ang="0">
                  <a:pos x="connsiteX5125" y="connsiteY5125"/>
                </a:cxn>
                <a:cxn ang="0">
                  <a:pos x="connsiteX5126" y="connsiteY5126"/>
                </a:cxn>
                <a:cxn ang="0">
                  <a:pos x="connsiteX5127" y="connsiteY5127"/>
                </a:cxn>
                <a:cxn ang="0">
                  <a:pos x="connsiteX5128" y="connsiteY5128"/>
                </a:cxn>
                <a:cxn ang="0">
                  <a:pos x="connsiteX5129" y="connsiteY5129"/>
                </a:cxn>
                <a:cxn ang="0">
                  <a:pos x="connsiteX5130" y="connsiteY5130"/>
                </a:cxn>
                <a:cxn ang="0">
                  <a:pos x="connsiteX5131" y="connsiteY5131"/>
                </a:cxn>
                <a:cxn ang="0">
                  <a:pos x="connsiteX5132" y="connsiteY5132"/>
                </a:cxn>
                <a:cxn ang="0">
                  <a:pos x="connsiteX5133" y="connsiteY5133"/>
                </a:cxn>
                <a:cxn ang="0">
                  <a:pos x="connsiteX5134" y="connsiteY5134"/>
                </a:cxn>
                <a:cxn ang="0">
                  <a:pos x="connsiteX5135" y="connsiteY5135"/>
                </a:cxn>
                <a:cxn ang="0">
                  <a:pos x="connsiteX5136" y="connsiteY5136"/>
                </a:cxn>
                <a:cxn ang="0">
                  <a:pos x="connsiteX5137" y="connsiteY5137"/>
                </a:cxn>
                <a:cxn ang="0">
                  <a:pos x="connsiteX5138" y="connsiteY5138"/>
                </a:cxn>
                <a:cxn ang="0">
                  <a:pos x="connsiteX5139" y="connsiteY5139"/>
                </a:cxn>
                <a:cxn ang="0">
                  <a:pos x="connsiteX5140" y="connsiteY5140"/>
                </a:cxn>
                <a:cxn ang="0">
                  <a:pos x="connsiteX5141" y="connsiteY5141"/>
                </a:cxn>
                <a:cxn ang="0">
                  <a:pos x="connsiteX5142" y="connsiteY5142"/>
                </a:cxn>
                <a:cxn ang="0">
                  <a:pos x="connsiteX5143" y="connsiteY5143"/>
                </a:cxn>
                <a:cxn ang="0">
                  <a:pos x="connsiteX5144" y="connsiteY5144"/>
                </a:cxn>
                <a:cxn ang="0">
                  <a:pos x="connsiteX5145" y="connsiteY5145"/>
                </a:cxn>
                <a:cxn ang="0">
                  <a:pos x="connsiteX5146" y="connsiteY5146"/>
                </a:cxn>
                <a:cxn ang="0">
                  <a:pos x="connsiteX5147" y="connsiteY5147"/>
                </a:cxn>
                <a:cxn ang="0">
                  <a:pos x="connsiteX5148" y="connsiteY5148"/>
                </a:cxn>
                <a:cxn ang="0">
                  <a:pos x="connsiteX5149" y="connsiteY5149"/>
                </a:cxn>
                <a:cxn ang="0">
                  <a:pos x="connsiteX5150" y="connsiteY5150"/>
                </a:cxn>
                <a:cxn ang="0">
                  <a:pos x="connsiteX5151" y="connsiteY5151"/>
                </a:cxn>
                <a:cxn ang="0">
                  <a:pos x="connsiteX5152" y="connsiteY5152"/>
                </a:cxn>
                <a:cxn ang="0">
                  <a:pos x="connsiteX5153" y="connsiteY5153"/>
                </a:cxn>
                <a:cxn ang="0">
                  <a:pos x="connsiteX5154" y="connsiteY5154"/>
                </a:cxn>
                <a:cxn ang="0">
                  <a:pos x="connsiteX5155" y="connsiteY5155"/>
                </a:cxn>
                <a:cxn ang="0">
                  <a:pos x="connsiteX5156" y="connsiteY5156"/>
                </a:cxn>
                <a:cxn ang="0">
                  <a:pos x="connsiteX5157" y="connsiteY5157"/>
                </a:cxn>
                <a:cxn ang="0">
                  <a:pos x="connsiteX5158" y="connsiteY5158"/>
                </a:cxn>
                <a:cxn ang="0">
                  <a:pos x="connsiteX5159" y="connsiteY5159"/>
                </a:cxn>
                <a:cxn ang="0">
                  <a:pos x="connsiteX5160" y="connsiteY5160"/>
                </a:cxn>
                <a:cxn ang="0">
                  <a:pos x="connsiteX5161" y="connsiteY5161"/>
                </a:cxn>
                <a:cxn ang="0">
                  <a:pos x="connsiteX5162" y="connsiteY5162"/>
                </a:cxn>
                <a:cxn ang="0">
                  <a:pos x="connsiteX5163" y="connsiteY5163"/>
                </a:cxn>
                <a:cxn ang="0">
                  <a:pos x="connsiteX5164" y="connsiteY5164"/>
                </a:cxn>
                <a:cxn ang="0">
                  <a:pos x="connsiteX5165" y="connsiteY5165"/>
                </a:cxn>
                <a:cxn ang="0">
                  <a:pos x="connsiteX5166" y="connsiteY5166"/>
                </a:cxn>
                <a:cxn ang="0">
                  <a:pos x="connsiteX5167" y="connsiteY5167"/>
                </a:cxn>
                <a:cxn ang="0">
                  <a:pos x="connsiteX5168" y="connsiteY5168"/>
                </a:cxn>
                <a:cxn ang="0">
                  <a:pos x="connsiteX5169" y="connsiteY5169"/>
                </a:cxn>
                <a:cxn ang="0">
                  <a:pos x="connsiteX5170" y="connsiteY5170"/>
                </a:cxn>
                <a:cxn ang="0">
                  <a:pos x="connsiteX5171" y="connsiteY5171"/>
                </a:cxn>
                <a:cxn ang="0">
                  <a:pos x="connsiteX5172" y="connsiteY5172"/>
                </a:cxn>
                <a:cxn ang="0">
                  <a:pos x="connsiteX5173" y="connsiteY5173"/>
                </a:cxn>
                <a:cxn ang="0">
                  <a:pos x="connsiteX5174" y="connsiteY5174"/>
                </a:cxn>
                <a:cxn ang="0">
                  <a:pos x="connsiteX5175" y="connsiteY5175"/>
                </a:cxn>
                <a:cxn ang="0">
                  <a:pos x="connsiteX5176" y="connsiteY5176"/>
                </a:cxn>
                <a:cxn ang="0">
                  <a:pos x="connsiteX5177" y="connsiteY5177"/>
                </a:cxn>
                <a:cxn ang="0">
                  <a:pos x="connsiteX5178" y="connsiteY5178"/>
                </a:cxn>
                <a:cxn ang="0">
                  <a:pos x="connsiteX5179" y="connsiteY5179"/>
                </a:cxn>
                <a:cxn ang="0">
                  <a:pos x="connsiteX5180" y="connsiteY5180"/>
                </a:cxn>
                <a:cxn ang="0">
                  <a:pos x="connsiteX5181" y="connsiteY5181"/>
                </a:cxn>
                <a:cxn ang="0">
                  <a:pos x="connsiteX5182" y="connsiteY5182"/>
                </a:cxn>
                <a:cxn ang="0">
                  <a:pos x="connsiteX5183" y="connsiteY5183"/>
                </a:cxn>
                <a:cxn ang="0">
                  <a:pos x="connsiteX5184" y="connsiteY5184"/>
                </a:cxn>
                <a:cxn ang="0">
                  <a:pos x="connsiteX5185" y="connsiteY5185"/>
                </a:cxn>
                <a:cxn ang="0">
                  <a:pos x="connsiteX5186" y="connsiteY5186"/>
                </a:cxn>
                <a:cxn ang="0">
                  <a:pos x="connsiteX5187" y="connsiteY5187"/>
                </a:cxn>
                <a:cxn ang="0">
                  <a:pos x="connsiteX5188" y="connsiteY5188"/>
                </a:cxn>
                <a:cxn ang="0">
                  <a:pos x="connsiteX5189" y="connsiteY5189"/>
                </a:cxn>
                <a:cxn ang="0">
                  <a:pos x="connsiteX5190" y="connsiteY5190"/>
                </a:cxn>
                <a:cxn ang="0">
                  <a:pos x="connsiteX5191" y="connsiteY5191"/>
                </a:cxn>
                <a:cxn ang="0">
                  <a:pos x="connsiteX5192" y="connsiteY5192"/>
                </a:cxn>
                <a:cxn ang="0">
                  <a:pos x="connsiteX5193" y="connsiteY5193"/>
                </a:cxn>
                <a:cxn ang="0">
                  <a:pos x="connsiteX5194" y="connsiteY5194"/>
                </a:cxn>
                <a:cxn ang="0">
                  <a:pos x="connsiteX5195" y="connsiteY5195"/>
                </a:cxn>
                <a:cxn ang="0">
                  <a:pos x="connsiteX5196" y="connsiteY5196"/>
                </a:cxn>
                <a:cxn ang="0">
                  <a:pos x="connsiteX5197" y="connsiteY5197"/>
                </a:cxn>
                <a:cxn ang="0">
                  <a:pos x="connsiteX5198" y="connsiteY5198"/>
                </a:cxn>
                <a:cxn ang="0">
                  <a:pos x="connsiteX5199" y="connsiteY5199"/>
                </a:cxn>
                <a:cxn ang="0">
                  <a:pos x="connsiteX5200" y="connsiteY5200"/>
                </a:cxn>
                <a:cxn ang="0">
                  <a:pos x="connsiteX5201" y="connsiteY5201"/>
                </a:cxn>
                <a:cxn ang="0">
                  <a:pos x="connsiteX5202" y="connsiteY5202"/>
                </a:cxn>
                <a:cxn ang="0">
                  <a:pos x="connsiteX5203" y="connsiteY5203"/>
                </a:cxn>
                <a:cxn ang="0">
                  <a:pos x="connsiteX5204" y="connsiteY5204"/>
                </a:cxn>
                <a:cxn ang="0">
                  <a:pos x="connsiteX5205" y="connsiteY5205"/>
                </a:cxn>
                <a:cxn ang="0">
                  <a:pos x="connsiteX5206" y="connsiteY5206"/>
                </a:cxn>
                <a:cxn ang="0">
                  <a:pos x="connsiteX5207" y="connsiteY5207"/>
                </a:cxn>
                <a:cxn ang="0">
                  <a:pos x="connsiteX5208" y="connsiteY5208"/>
                </a:cxn>
                <a:cxn ang="0">
                  <a:pos x="connsiteX5209" y="connsiteY5209"/>
                </a:cxn>
                <a:cxn ang="0">
                  <a:pos x="connsiteX5210" y="connsiteY5210"/>
                </a:cxn>
                <a:cxn ang="0">
                  <a:pos x="connsiteX5211" y="connsiteY5211"/>
                </a:cxn>
                <a:cxn ang="0">
                  <a:pos x="connsiteX5212" y="connsiteY5212"/>
                </a:cxn>
                <a:cxn ang="0">
                  <a:pos x="connsiteX5213" y="connsiteY5213"/>
                </a:cxn>
                <a:cxn ang="0">
                  <a:pos x="connsiteX5214" y="connsiteY5214"/>
                </a:cxn>
                <a:cxn ang="0">
                  <a:pos x="connsiteX5215" y="connsiteY5215"/>
                </a:cxn>
                <a:cxn ang="0">
                  <a:pos x="connsiteX5216" y="connsiteY5216"/>
                </a:cxn>
                <a:cxn ang="0">
                  <a:pos x="connsiteX5217" y="connsiteY5217"/>
                </a:cxn>
                <a:cxn ang="0">
                  <a:pos x="connsiteX5218" y="connsiteY5218"/>
                </a:cxn>
                <a:cxn ang="0">
                  <a:pos x="connsiteX5219" y="connsiteY5219"/>
                </a:cxn>
                <a:cxn ang="0">
                  <a:pos x="connsiteX5220" y="connsiteY5220"/>
                </a:cxn>
                <a:cxn ang="0">
                  <a:pos x="connsiteX5221" y="connsiteY5221"/>
                </a:cxn>
                <a:cxn ang="0">
                  <a:pos x="connsiteX5222" y="connsiteY5222"/>
                </a:cxn>
                <a:cxn ang="0">
                  <a:pos x="connsiteX5223" y="connsiteY5223"/>
                </a:cxn>
                <a:cxn ang="0">
                  <a:pos x="connsiteX5224" y="connsiteY5224"/>
                </a:cxn>
                <a:cxn ang="0">
                  <a:pos x="connsiteX5225" y="connsiteY5225"/>
                </a:cxn>
                <a:cxn ang="0">
                  <a:pos x="connsiteX5226" y="connsiteY5226"/>
                </a:cxn>
                <a:cxn ang="0">
                  <a:pos x="connsiteX5227" y="connsiteY5227"/>
                </a:cxn>
                <a:cxn ang="0">
                  <a:pos x="connsiteX5228" y="connsiteY5228"/>
                </a:cxn>
                <a:cxn ang="0">
                  <a:pos x="connsiteX5229" y="connsiteY5229"/>
                </a:cxn>
                <a:cxn ang="0">
                  <a:pos x="connsiteX5230" y="connsiteY5230"/>
                </a:cxn>
                <a:cxn ang="0">
                  <a:pos x="connsiteX5231" y="connsiteY5231"/>
                </a:cxn>
                <a:cxn ang="0">
                  <a:pos x="connsiteX5232" y="connsiteY5232"/>
                </a:cxn>
                <a:cxn ang="0">
                  <a:pos x="connsiteX5233" y="connsiteY5233"/>
                </a:cxn>
                <a:cxn ang="0">
                  <a:pos x="connsiteX5234" y="connsiteY5234"/>
                </a:cxn>
                <a:cxn ang="0">
                  <a:pos x="connsiteX5235" y="connsiteY5235"/>
                </a:cxn>
                <a:cxn ang="0">
                  <a:pos x="connsiteX5236" y="connsiteY5236"/>
                </a:cxn>
                <a:cxn ang="0">
                  <a:pos x="connsiteX5237" y="connsiteY5237"/>
                </a:cxn>
                <a:cxn ang="0">
                  <a:pos x="connsiteX5238" y="connsiteY5238"/>
                </a:cxn>
                <a:cxn ang="0">
                  <a:pos x="connsiteX5239" y="connsiteY5239"/>
                </a:cxn>
                <a:cxn ang="0">
                  <a:pos x="connsiteX5240" y="connsiteY5240"/>
                </a:cxn>
                <a:cxn ang="0">
                  <a:pos x="connsiteX5241" y="connsiteY5241"/>
                </a:cxn>
                <a:cxn ang="0">
                  <a:pos x="connsiteX5242" y="connsiteY5242"/>
                </a:cxn>
                <a:cxn ang="0">
                  <a:pos x="connsiteX5243" y="connsiteY5243"/>
                </a:cxn>
                <a:cxn ang="0">
                  <a:pos x="connsiteX5244" y="connsiteY5244"/>
                </a:cxn>
                <a:cxn ang="0">
                  <a:pos x="connsiteX5245" y="connsiteY5245"/>
                </a:cxn>
                <a:cxn ang="0">
                  <a:pos x="connsiteX5246" y="connsiteY5246"/>
                </a:cxn>
                <a:cxn ang="0">
                  <a:pos x="connsiteX5247" y="connsiteY5247"/>
                </a:cxn>
                <a:cxn ang="0">
                  <a:pos x="connsiteX5248" y="connsiteY5248"/>
                </a:cxn>
                <a:cxn ang="0">
                  <a:pos x="connsiteX5249" y="connsiteY5249"/>
                </a:cxn>
                <a:cxn ang="0">
                  <a:pos x="connsiteX5250" y="connsiteY5250"/>
                </a:cxn>
                <a:cxn ang="0">
                  <a:pos x="connsiteX5251" y="connsiteY5251"/>
                </a:cxn>
                <a:cxn ang="0">
                  <a:pos x="connsiteX5252" y="connsiteY5252"/>
                </a:cxn>
                <a:cxn ang="0">
                  <a:pos x="connsiteX5253" y="connsiteY5253"/>
                </a:cxn>
                <a:cxn ang="0">
                  <a:pos x="connsiteX5254" y="connsiteY5254"/>
                </a:cxn>
                <a:cxn ang="0">
                  <a:pos x="connsiteX5255" y="connsiteY5255"/>
                </a:cxn>
                <a:cxn ang="0">
                  <a:pos x="connsiteX5256" y="connsiteY5256"/>
                </a:cxn>
                <a:cxn ang="0">
                  <a:pos x="connsiteX5257" y="connsiteY5257"/>
                </a:cxn>
                <a:cxn ang="0">
                  <a:pos x="connsiteX5258" y="connsiteY5258"/>
                </a:cxn>
                <a:cxn ang="0">
                  <a:pos x="connsiteX5259" y="connsiteY5259"/>
                </a:cxn>
                <a:cxn ang="0">
                  <a:pos x="connsiteX5260" y="connsiteY5260"/>
                </a:cxn>
                <a:cxn ang="0">
                  <a:pos x="connsiteX5261" y="connsiteY5261"/>
                </a:cxn>
                <a:cxn ang="0">
                  <a:pos x="connsiteX5262" y="connsiteY5262"/>
                </a:cxn>
                <a:cxn ang="0">
                  <a:pos x="connsiteX5263" y="connsiteY5263"/>
                </a:cxn>
                <a:cxn ang="0">
                  <a:pos x="connsiteX5264" y="connsiteY5264"/>
                </a:cxn>
                <a:cxn ang="0">
                  <a:pos x="connsiteX5265" y="connsiteY5265"/>
                </a:cxn>
                <a:cxn ang="0">
                  <a:pos x="connsiteX5266" y="connsiteY5266"/>
                </a:cxn>
                <a:cxn ang="0">
                  <a:pos x="connsiteX5267" y="connsiteY5267"/>
                </a:cxn>
                <a:cxn ang="0">
                  <a:pos x="connsiteX5268" y="connsiteY5268"/>
                </a:cxn>
                <a:cxn ang="0">
                  <a:pos x="connsiteX5269" y="connsiteY5269"/>
                </a:cxn>
                <a:cxn ang="0">
                  <a:pos x="connsiteX5270" y="connsiteY5270"/>
                </a:cxn>
                <a:cxn ang="0">
                  <a:pos x="connsiteX5271" y="connsiteY5271"/>
                </a:cxn>
                <a:cxn ang="0">
                  <a:pos x="connsiteX5272" y="connsiteY5272"/>
                </a:cxn>
                <a:cxn ang="0">
                  <a:pos x="connsiteX5273" y="connsiteY5273"/>
                </a:cxn>
                <a:cxn ang="0">
                  <a:pos x="connsiteX5274" y="connsiteY5274"/>
                </a:cxn>
                <a:cxn ang="0">
                  <a:pos x="connsiteX5275" y="connsiteY5275"/>
                </a:cxn>
                <a:cxn ang="0">
                  <a:pos x="connsiteX5276" y="connsiteY5276"/>
                </a:cxn>
                <a:cxn ang="0">
                  <a:pos x="connsiteX5277" y="connsiteY5277"/>
                </a:cxn>
                <a:cxn ang="0">
                  <a:pos x="connsiteX5278" y="connsiteY5278"/>
                </a:cxn>
                <a:cxn ang="0">
                  <a:pos x="connsiteX5279" y="connsiteY5279"/>
                </a:cxn>
                <a:cxn ang="0">
                  <a:pos x="connsiteX5280" y="connsiteY5280"/>
                </a:cxn>
                <a:cxn ang="0">
                  <a:pos x="connsiteX5281" y="connsiteY5281"/>
                </a:cxn>
                <a:cxn ang="0">
                  <a:pos x="connsiteX5282" y="connsiteY5282"/>
                </a:cxn>
                <a:cxn ang="0">
                  <a:pos x="connsiteX5283" y="connsiteY5283"/>
                </a:cxn>
                <a:cxn ang="0">
                  <a:pos x="connsiteX5284" y="connsiteY5284"/>
                </a:cxn>
                <a:cxn ang="0">
                  <a:pos x="connsiteX5285" y="connsiteY5285"/>
                </a:cxn>
                <a:cxn ang="0">
                  <a:pos x="connsiteX5286" y="connsiteY5286"/>
                </a:cxn>
                <a:cxn ang="0">
                  <a:pos x="connsiteX5287" y="connsiteY5287"/>
                </a:cxn>
                <a:cxn ang="0">
                  <a:pos x="connsiteX5288" y="connsiteY5288"/>
                </a:cxn>
                <a:cxn ang="0">
                  <a:pos x="connsiteX5289" y="connsiteY5289"/>
                </a:cxn>
                <a:cxn ang="0">
                  <a:pos x="connsiteX5290" y="connsiteY5290"/>
                </a:cxn>
                <a:cxn ang="0">
                  <a:pos x="connsiteX5291" y="connsiteY5291"/>
                </a:cxn>
                <a:cxn ang="0">
                  <a:pos x="connsiteX5292" y="connsiteY5292"/>
                </a:cxn>
                <a:cxn ang="0">
                  <a:pos x="connsiteX5293" y="connsiteY5293"/>
                </a:cxn>
                <a:cxn ang="0">
                  <a:pos x="connsiteX5294" y="connsiteY5294"/>
                </a:cxn>
                <a:cxn ang="0">
                  <a:pos x="connsiteX5295" y="connsiteY5295"/>
                </a:cxn>
                <a:cxn ang="0">
                  <a:pos x="connsiteX5296" y="connsiteY5296"/>
                </a:cxn>
                <a:cxn ang="0">
                  <a:pos x="connsiteX5297" y="connsiteY5297"/>
                </a:cxn>
                <a:cxn ang="0">
                  <a:pos x="connsiteX5298" y="connsiteY5298"/>
                </a:cxn>
                <a:cxn ang="0">
                  <a:pos x="connsiteX5299" y="connsiteY5299"/>
                </a:cxn>
                <a:cxn ang="0">
                  <a:pos x="connsiteX5300" y="connsiteY5300"/>
                </a:cxn>
                <a:cxn ang="0">
                  <a:pos x="connsiteX5301" y="connsiteY5301"/>
                </a:cxn>
                <a:cxn ang="0">
                  <a:pos x="connsiteX5302" y="connsiteY5302"/>
                </a:cxn>
                <a:cxn ang="0">
                  <a:pos x="connsiteX5303" y="connsiteY5303"/>
                </a:cxn>
                <a:cxn ang="0">
                  <a:pos x="connsiteX5304" y="connsiteY5304"/>
                </a:cxn>
                <a:cxn ang="0">
                  <a:pos x="connsiteX5305" y="connsiteY5305"/>
                </a:cxn>
                <a:cxn ang="0">
                  <a:pos x="connsiteX5306" y="connsiteY5306"/>
                </a:cxn>
                <a:cxn ang="0">
                  <a:pos x="connsiteX5307" y="connsiteY5307"/>
                </a:cxn>
                <a:cxn ang="0">
                  <a:pos x="connsiteX5308" y="connsiteY5308"/>
                </a:cxn>
                <a:cxn ang="0">
                  <a:pos x="connsiteX5309" y="connsiteY5309"/>
                </a:cxn>
                <a:cxn ang="0">
                  <a:pos x="connsiteX5310" y="connsiteY5310"/>
                </a:cxn>
                <a:cxn ang="0">
                  <a:pos x="connsiteX5311" y="connsiteY5311"/>
                </a:cxn>
                <a:cxn ang="0">
                  <a:pos x="connsiteX5312" y="connsiteY5312"/>
                </a:cxn>
                <a:cxn ang="0">
                  <a:pos x="connsiteX5313" y="connsiteY5313"/>
                </a:cxn>
                <a:cxn ang="0">
                  <a:pos x="connsiteX5314" y="connsiteY5314"/>
                </a:cxn>
                <a:cxn ang="0">
                  <a:pos x="connsiteX5315" y="connsiteY5315"/>
                </a:cxn>
                <a:cxn ang="0">
                  <a:pos x="connsiteX5316" y="connsiteY5316"/>
                </a:cxn>
                <a:cxn ang="0">
                  <a:pos x="connsiteX5317" y="connsiteY5317"/>
                </a:cxn>
                <a:cxn ang="0">
                  <a:pos x="connsiteX5318" y="connsiteY5318"/>
                </a:cxn>
                <a:cxn ang="0">
                  <a:pos x="connsiteX5319" y="connsiteY5319"/>
                </a:cxn>
                <a:cxn ang="0">
                  <a:pos x="connsiteX5320" y="connsiteY5320"/>
                </a:cxn>
                <a:cxn ang="0">
                  <a:pos x="connsiteX5321" y="connsiteY5321"/>
                </a:cxn>
                <a:cxn ang="0">
                  <a:pos x="connsiteX5322" y="connsiteY5322"/>
                </a:cxn>
                <a:cxn ang="0">
                  <a:pos x="connsiteX5323" y="connsiteY5323"/>
                </a:cxn>
                <a:cxn ang="0">
                  <a:pos x="connsiteX5324" y="connsiteY5324"/>
                </a:cxn>
                <a:cxn ang="0">
                  <a:pos x="connsiteX5325" y="connsiteY5325"/>
                </a:cxn>
                <a:cxn ang="0">
                  <a:pos x="connsiteX5326" y="connsiteY5326"/>
                </a:cxn>
                <a:cxn ang="0">
                  <a:pos x="connsiteX5327" y="connsiteY5327"/>
                </a:cxn>
                <a:cxn ang="0">
                  <a:pos x="connsiteX5328" y="connsiteY5328"/>
                </a:cxn>
                <a:cxn ang="0">
                  <a:pos x="connsiteX5329" y="connsiteY5329"/>
                </a:cxn>
                <a:cxn ang="0">
                  <a:pos x="connsiteX5330" y="connsiteY5330"/>
                </a:cxn>
                <a:cxn ang="0">
                  <a:pos x="connsiteX5331" y="connsiteY5331"/>
                </a:cxn>
                <a:cxn ang="0">
                  <a:pos x="connsiteX5332" y="connsiteY5332"/>
                </a:cxn>
                <a:cxn ang="0">
                  <a:pos x="connsiteX5333" y="connsiteY5333"/>
                </a:cxn>
                <a:cxn ang="0">
                  <a:pos x="connsiteX5334" y="connsiteY5334"/>
                </a:cxn>
                <a:cxn ang="0">
                  <a:pos x="connsiteX5335" y="connsiteY5335"/>
                </a:cxn>
                <a:cxn ang="0">
                  <a:pos x="connsiteX5336" y="connsiteY5336"/>
                </a:cxn>
                <a:cxn ang="0">
                  <a:pos x="connsiteX5337" y="connsiteY5337"/>
                </a:cxn>
                <a:cxn ang="0">
                  <a:pos x="connsiteX5338" y="connsiteY5338"/>
                </a:cxn>
                <a:cxn ang="0">
                  <a:pos x="connsiteX5339" y="connsiteY5339"/>
                </a:cxn>
                <a:cxn ang="0">
                  <a:pos x="connsiteX5340" y="connsiteY5340"/>
                </a:cxn>
                <a:cxn ang="0">
                  <a:pos x="connsiteX5341" y="connsiteY5341"/>
                </a:cxn>
                <a:cxn ang="0">
                  <a:pos x="connsiteX5342" y="connsiteY5342"/>
                </a:cxn>
                <a:cxn ang="0">
                  <a:pos x="connsiteX5343" y="connsiteY5343"/>
                </a:cxn>
                <a:cxn ang="0">
                  <a:pos x="connsiteX5344" y="connsiteY5344"/>
                </a:cxn>
                <a:cxn ang="0">
                  <a:pos x="connsiteX5345" y="connsiteY5345"/>
                </a:cxn>
                <a:cxn ang="0">
                  <a:pos x="connsiteX5346" y="connsiteY5346"/>
                </a:cxn>
                <a:cxn ang="0">
                  <a:pos x="connsiteX5347" y="connsiteY5347"/>
                </a:cxn>
                <a:cxn ang="0">
                  <a:pos x="connsiteX5348" y="connsiteY5348"/>
                </a:cxn>
                <a:cxn ang="0">
                  <a:pos x="connsiteX5349" y="connsiteY5349"/>
                </a:cxn>
                <a:cxn ang="0">
                  <a:pos x="connsiteX5350" y="connsiteY5350"/>
                </a:cxn>
                <a:cxn ang="0">
                  <a:pos x="connsiteX5351" y="connsiteY5351"/>
                </a:cxn>
                <a:cxn ang="0">
                  <a:pos x="connsiteX5352" y="connsiteY5352"/>
                </a:cxn>
                <a:cxn ang="0">
                  <a:pos x="connsiteX5353" y="connsiteY5353"/>
                </a:cxn>
                <a:cxn ang="0">
                  <a:pos x="connsiteX5354" y="connsiteY5354"/>
                </a:cxn>
                <a:cxn ang="0">
                  <a:pos x="connsiteX5355" y="connsiteY5355"/>
                </a:cxn>
                <a:cxn ang="0">
                  <a:pos x="connsiteX5356" y="connsiteY5356"/>
                </a:cxn>
                <a:cxn ang="0">
                  <a:pos x="connsiteX5357" y="connsiteY5357"/>
                </a:cxn>
                <a:cxn ang="0">
                  <a:pos x="connsiteX5358" y="connsiteY5358"/>
                </a:cxn>
                <a:cxn ang="0">
                  <a:pos x="connsiteX5359" y="connsiteY5359"/>
                </a:cxn>
                <a:cxn ang="0">
                  <a:pos x="connsiteX5360" y="connsiteY5360"/>
                </a:cxn>
                <a:cxn ang="0">
                  <a:pos x="connsiteX5361" y="connsiteY5361"/>
                </a:cxn>
                <a:cxn ang="0">
                  <a:pos x="connsiteX5362" y="connsiteY5362"/>
                </a:cxn>
                <a:cxn ang="0">
                  <a:pos x="connsiteX5363" y="connsiteY5363"/>
                </a:cxn>
                <a:cxn ang="0">
                  <a:pos x="connsiteX5364" y="connsiteY5364"/>
                </a:cxn>
                <a:cxn ang="0">
                  <a:pos x="connsiteX5365" y="connsiteY5365"/>
                </a:cxn>
                <a:cxn ang="0">
                  <a:pos x="connsiteX5366" y="connsiteY5366"/>
                </a:cxn>
                <a:cxn ang="0">
                  <a:pos x="connsiteX5367" y="connsiteY5367"/>
                </a:cxn>
                <a:cxn ang="0">
                  <a:pos x="connsiteX5368" y="connsiteY5368"/>
                </a:cxn>
                <a:cxn ang="0">
                  <a:pos x="connsiteX5369" y="connsiteY5369"/>
                </a:cxn>
                <a:cxn ang="0">
                  <a:pos x="connsiteX5370" y="connsiteY5370"/>
                </a:cxn>
                <a:cxn ang="0">
                  <a:pos x="connsiteX5371" y="connsiteY5371"/>
                </a:cxn>
                <a:cxn ang="0">
                  <a:pos x="connsiteX5372" y="connsiteY5372"/>
                </a:cxn>
                <a:cxn ang="0">
                  <a:pos x="connsiteX5373" y="connsiteY5373"/>
                </a:cxn>
                <a:cxn ang="0">
                  <a:pos x="connsiteX5374" y="connsiteY5374"/>
                </a:cxn>
                <a:cxn ang="0">
                  <a:pos x="connsiteX5375" y="connsiteY5375"/>
                </a:cxn>
                <a:cxn ang="0">
                  <a:pos x="connsiteX5376" y="connsiteY5376"/>
                </a:cxn>
                <a:cxn ang="0">
                  <a:pos x="connsiteX5377" y="connsiteY5377"/>
                </a:cxn>
                <a:cxn ang="0">
                  <a:pos x="connsiteX5378" y="connsiteY5378"/>
                </a:cxn>
                <a:cxn ang="0">
                  <a:pos x="connsiteX5379" y="connsiteY5379"/>
                </a:cxn>
                <a:cxn ang="0">
                  <a:pos x="connsiteX5380" y="connsiteY5380"/>
                </a:cxn>
                <a:cxn ang="0">
                  <a:pos x="connsiteX5381" y="connsiteY5381"/>
                </a:cxn>
                <a:cxn ang="0">
                  <a:pos x="connsiteX5382" y="connsiteY5382"/>
                </a:cxn>
                <a:cxn ang="0">
                  <a:pos x="connsiteX5383" y="connsiteY5383"/>
                </a:cxn>
                <a:cxn ang="0">
                  <a:pos x="connsiteX5384" y="connsiteY5384"/>
                </a:cxn>
                <a:cxn ang="0">
                  <a:pos x="connsiteX5385" y="connsiteY5385"/>
                </a:cxn>
                <a:cxn ang="0">
                  <a:pos x="connsiteX5386" y="connsiteY5386"/>
                </a:cxn>
                <a:cxn ang="0">
                  <a:pos x="connsiteX5387" y="connsiteY5387"/>
                </a:cxn>
                <a:cxn ang="0">
                  <a:pos x="connsiteX5388" y="connsiteY5388"/>
                </a:cxn>
                <a:cxn ang="0">
                  <a:pos x="connsiteX5389" y="connsiteY5389"/>
                </a:cxn>
                <a:cxn ang="0">
                  <a:pos x="connsiteX5390" y="connsiteY5390"/>
                </a:cxn>
                <a:cxn ang="0">
                  <a:pos x="connsiteX5391" y="connsiteY5391"/>
                </a:cxn>
                <a:cxn ang="0">
                  <a:pos x="connsiteX5392" y="connsiteY5392"/>
                </a:cxn>
                <a:cxn ang="0">
                  <a:pos x="connsiteX5393" y="connsiteY5393"/>
                </a:cxn>
                <a:cxn ang="0">
                  <a:pos x="connsiteX5394" y="connsiteY5394"/>
                </a:cxn>
                <a:cxn ang="0">
                  <a:pos x="connsiteX5395" y="connsiteY5395"/>
                </a:cxn>
                <a:cxn ang="0">
                  <a:pos x="connsiteX5396" y="connsiteY5396"/>
                </a:cxn>
                <a:cxn ang="0">
                  <a:pos x="connsiteX5397" y="connsiteY5397"/>
                </a:cxn>
                <a:cxn ang="0">
                  <a:pos x="connsiteX5398" y="connsiteY5398"/>
                </a:cxn>
                <a:cxn ang="0">
                  <a:pos x="connsiteX5399" y="connsiteY5399"/>
                </a:cxn>
                <a:cxn ang="0">
                  <a:pos x="connsiteX5400" y="connsiteY5400"/>
                </a:cxn>
                <a:cxn ang="0">
                  <a:pos x="connsiteX5401" y="connsiteY5401"/>
                </a:cxn>
                <a:cxn ang="0">
                  <a:pos x="connsiteX5402" y="connsiteY5402"/>
                </a:cxn>
                <a:cxn ang="0">
                  <a:pos x="connsiteX5403" y="connsiteY5403"/>
                </a:cxn>
                <a:cxn ang="0">
                  <a:pos x="connsiteX5404" y="connsiteY5404"/>
                </a:cxn>
                <a:cxn ang="0">
                  <a:pos x="connsiteX5405" y="connsiteY5405"/>
                </a:cxn>
                <a:cxn ang="0">
                  <a:pos x="connsiteX5406" y="connsiteY5406"/>
                </a:cxn>
                <a:cxn ang="0">
                  <a:pos x="connsiteX5407" y="connsiteY5407"/>
                </a:cxn>
                <a:cxn ang="0">
                  <a:pos x="connsiteX5408" y="connsiteY5408"/>
                </a:cxn>
                <a:cxn ang="0">
                  <a:pos x="connsiteX5409" y="connsiteY5409"/>
                </a:cxn>
                <a:cxn ang="0">
                  <a:pos x="connsiteX5410" y="connsiteY5410"/>
                </a:cxn>
                <a:cxn ang="0">
                  <a:pos x="connsiteX5411" y="connsiteY5411"/>
                </a:cxn>
                <a:cxn ang="0">
                  <a:pos x="connsiteX5412" y="connsiteY5412"/>
                </a:cxn>
                <a:cxn ang="0">
                  <a:pos x="connsiteX5413" y="connsiteY5413"/>
                </a:cxn>
                <a:cxn ang="0">
                  <a:pos x="connsiteX5414" y="connsiteY5414"/>
                </a:cxn>
                <a:cxn ang="0">
                  <a:pos x="connsiteX5415" y="connsiteY5415"/>
                </a:cxn>
                <a:cxn ang="0">
                  <a:pos x="connsiteX5416" y="connsiteY5416"/>
                </a:cxn>
                <a:cxn ang="0">
                  <a:pos x="connsiteX5417" y="connsiteY5417"/>
                </a:cxn>
                <a:cxn ang="0">
                  <a:pos x="connsiteX5418" y="connsiteY5418"/>
                </a:cxn>
                <a:cxn ang="0">
                  <a:pos x="connsiteX5419" y="connsiteY5419"/>
                </a:cxn>
                <a:cxn ang="0">
                  <a:pos x="connsiteX5420" y="connsiteY5420"/>
                </a:cxn>
                <a:cxn ang="0">
                  <a:pos x="connsiteX5421" y="connsiteY5421"/>
                </a:cxn>
                <a:cxn ang="0">
                  <a:pos x="connsiteX5422" y="connsiteY5422"/>
                </a:cxn>
                <a:cxn ang="0">
                  <a:pos x="connsiteX5423" y="connsiteY5423"/>
                </a:cxn>
                <a:cxn ang="0">
                  <a:pos x="connsiteX5424" y="connsiteY5424"/>
                </a:cxn>
                <a:cxn ang="0">
                  <a:pos x="connsiteX5425" y="connsiteY5425"/>
                </a:cxn>
                <a:cxn ang="0">
                  <a:pos x="connsiteX5426" y="connsiteY5426"/>
                </a:cxn>
                <a:cxn ang="0">
                  <a:pos x="connsiteX5427" y="connsiteY5427"/>
                </a:cxn>
                <a:cxn ang="0">
                  <a:pos x="connsiteX5428" y="connsiteY5428"/>
                </a:cxn>
                <a:cxn ang="0">
                  <a:pos x="connsiteX5429" y="connsiteY5429"/>
                </a:cxn>
                <a:cxn ang="0">
                  <a:pos x="connsiteX5430" y="connsiteY5430"/>
                </a:cxn>
                <a:cxn ang="0">
                  <a:pos x="connsiteX5431" y="connsiteY5431"/>
                </a:cxn>
                <a:cxn ang="0">
                  <a:pos x="connsiteX5432" y="connsiteY5432"/>
                </a:cxn>
                <a:cxn ang="0">
                  <a:pos x="connsiteX5433" y="connsiteY5433"/>
                </a:cxn>
                <a:cxn ang="0">
                  <a:pos x="connsiteX5434" y="connsiteY5434"/>
                </a:cxn>
                <a:cxn ang="0">
                  <a:pos x="connsiteX5435" y="connsiteY5435"/>
                </a:cxn>
                <a:cxn ang="0">
                  <a:pos x="connsiteX5436" y="connsiteY5436"/>
                </a:cxn>
                <a:cxn ang="0">
                  <a:pos x="connsiteX5437" y="connsiteY5437"/>
                </a:cxn>
                <a:cxn ang="0">
                  <a:pos x="connsiteX5438" y="connsiteY5438"/>
                </a:cxn>
                <a:cxn ang="0">
                  <a:pos x="connsiteX5439" y="connsiteY5439"/>
                </a:cxn>
                <a:cxn ang="0">
                  <a:pos x="connsiteX5440" y="connsiteY5440"/>
                </a:cxn>
                <a:cxn ang="0">
                  <a:pos x="connsiteX5441" y="connsiteY5441"/>
                </a:cxn>
                <a:cxn ang="0">
                  <a:pos x="connsiteX5442" y="connsiteY5442"/>
                </a:cxn>
                <a:cxn ang="0">
                  <a:pos x="connsiteX5443" y="connsiteY5443"/>
                </a:cxn>
                <a:cxn ang="0">
                  <a:pos x="connsiteX5444" y="connsiteY5444"/>
                </a:cxn>
                <a:cxn ang="0">
                  <a:pos x="connsiteX5445" y="connsiteY5445"/>
                </a:cxn>
                <a:cxn ang="0">
                  <a:pos x="connsiteX5446" y="connsiteY5446"/>
                </a:cxn>
                <a:cxn ang="0">
                  <a:pos x="connsiteX5447" y="connsiteY5447"/>
                </a:cxn>
                <a:cxn ang="0">
                  <a:pos x="connsiteX5448" y="connsiteY5448"/>
                </a:cxn>
                <a:cxn ang="0">
                  <a:pos x="connsiteX5449" y="connsiteY5449"/>
                </a:cxn>
                <a:cxn ang="0">
                  <a:pos x="connsiteX5450" y="connsiteY5450"/>
                </a:cxn>
                <a:cxn ang="0">
                  <a:pos x="connsiteX5451" y="connsiteY5451"/>
                </a:cxn>
                <a:cxn ang="0">
                  <a:pos x="connsiteX5452" y="connsiteY5452"/>
                </a:cxn>
                <a:cxn ang="0">
                  <a:pos x="connsiteX5453" y="connsiteY5453"/>
                </a:cxn>
                <a:cxn ang="0">
                  <a:pos x="connsiteX5454" y="connsiteY5454"/>
                </a:cxn>
                <a:cxn ang="0">
                  <a:pos x="connsiteX5455" y="connsiteY5455"/>
                </a:cxn>
                <a:cxn ang="0">
                  <a:pos x="connsiteX5456" y="connsiteY5456"/>
                </a:cxn>
                <a:cxn ang="0">
                  <a:pos x="connsiteX5457" y="connsiteY5457"/>
                </a:cxn>
                <a:cxn ang="0">
                  <a:pos x="connsiteX5458" y="connsiteY5458"/>
                </a:cxn>
                <a:cxn ang="0">
                  <a:pos x="connsiteX5459" y="connsiteY5459"/>
                </a:cxn>
                <a:cxn ang="0">
                  <a:pos x="connsiteX5460" y="connsiteY5460"/>
                </a:cxn>
                <a:cxn ang="0">
                  <a:pos x="connsiteX5461" y="connsiteY5461"/>
                </a:cxn>
                <a:cxn ang="0">
                  <a:pos x="connsiteX5462" y="connsiteY5462"/>
                </a:cxn>
                <a:cxn ang="0">
                  <a:pos x="connsiteX5463" y="connsiteY5463"/>
                </a:cxn>
                <a:cxn ang="0">
                  <a:pos x="connsiteX5464" y="connsiteY5464"/>
                </a:cxn>
                <a:cxn ang="0">
                  <a:pos x="connsiteX5465" y="connsiteY5465"/>
                </a:cxn>
                <a:cxn ang="0">
                  <a:pos x="connsiteX5466" y="connsiteY5466"/>
                </a:cxn>
                <a:cxn ang="0">
                  <a:pos x="connsiteX5467" y="connsiteY5467"/>
                </a:cxn>
                <a:cxn ang="0">
                  <a:pos x="connsiteX5468" y="connsiteY5468"/>
                </a:cxn>
                <a:cxn ang="0">
                  <a:pos x="connsiteX5469" y="connsiteY5469"/>
                </a:cxn>
                <a:cxn ang="0">
                  <a:pos x="connsiteX5470" y="connsiteY5470"/>
                </a:cxn>
                <a:cxn ang="0">
                  <a:pos x="connsiteX5471" y="connsiteY5471"/>
                </a:cxn>
                <a:cxn ang="0">
                  <a:pos x="connsiteX5472" y="connsiteY5472"/>
                </a:cxn>
                <a:cxn ang="0">
                  <a:pos x="connsiteX5473" y="connsiteY5473"/>
                </a:cxn>
                <a:cxn ang="0">
                  <a:pos x="connsiteX5474" y="connsiteY5474"/>
                </a:cxn>
                <a:cxn ang="0">
                  <a:pos x="connsiteX5475" y="connsiteY5475"/>
                </a:cxn>
                <a:cxn ang="0">
                  <a:pos x="connsiteX5476" y="connsiteY5476"/>
                </a:cxn>
                <a:cxn ang="0">
                  <a:pos x="connsiteX5477" y="connsiteY5477"/>
                </a:cxn>
                <a:cxn ang="0">
                  <a:pos x="connsiteX5478" y="connsiteY5478"/>
                </a:cxn>
                <a:cxn ang="0">
                  <a:pos x="connsiteX5479" y="connsiteY5479"/>
                </a:cxn>
                <a:cxn ang="0">
                  <a:pos x="connsiteX5480" y="connsiteY5480"/>
                </a:cxn>
                <a:cxn ang="0">
                  <a:pos x="connsiteX5481" y="connsiteY5481"/>
                </a:cxn>
                <a:cxn ang="0">
                  <a:pos x="connsiteX5482" y="connsiteY5482"/>
                </a:cxn>
                <a:cxn ang="0">
                  <a:pos x="connsiteX5483" y="connsiteY5483"/>
                </a:cxn>
                <a:cxn ang="0">
                  <a:pos x="connsiteX5484" y="connsiteY5484"/>
                </a:cxn>
                <a:cxn ang="0">
                  <a:pos x="connsiteX5485" y="connsiteY5485"/>
                </a:cxn>
                <a:cxn ang="0">
                  <a:pos x="connsiteX5486" y="connsiteY5486"/>
                </a:cxn>
                <a:cxn ang="0">
                  <a:pos x="connsiteX5487" y="connsiteY5487"/>
                </a:cxn>
                <a:cxn ang="0">
                  <a:pos x="connsiteX5488" y="connsiteY5488"/>
                </a:cxn>
                <a:cxn ang="0">
                  <a:pos x="connsiteX5489" y="connsiteY5489"/>
                </a:cxn>
                <a:cxn ang="0">
                  <a:pos x="connsiteX5490" y="connsiteY5490"/>
                </a:cxn>
                <a:cxn ang="0">
                  <a:pos x="connsiteX5491" y="connsiteY5491"/>
                </a:cxn>
                <a:cxn ang="0">
                  <a:pos x="connsiteX5492" y="connsiteY5492"/>
                </a:cxn>
                <a:cxn ang="0">
                  <a:pos x="connsiteX5493" y="connsiteY5493"/>
                </a:cxn>
                <a:cxn ang="0">
                  <a:pos x="connsiteX5494" y="connsiteY5494"/>
                </a:cxn>
                <a:cxn ang="0">
                  <a:pos x="connsiteX5495" y="connsiteY5495"/>
                </a:cxn>
                <a:cxn ang="0">
                  <a:pos x="connsiteX5496" y="connsiteY5496"/>
                </a:cxn>
                <a:cxn ang="0">
                  <a:pos x="connsiteX5497" y="connsiteY5497"/>
                </a:cxn>
                <a:cxn ang="0">
                  <a:pos x="connsiteX5498" y="connsiteY5498"/>
                </a:cxn>
                <a:cxn ang="0">
                  <a:pos x="connsiteX5499" y="connsiteY5499"/>
                </a:cxn>
                <a:cxn ang="0">
                  <a:pos x="connsiteX5500" y="connsiteY5500"/>
                </a:cxn>
                <a:cxn ang="0">
                  <a:pos x="connsiteX5501" y="connsiteY5501"/>
                </a:cxn>
                <a:cxn ang="0">
                  <a:pos x="connsiteX5502" y="connsiteY5502"/>
                </a:cxn>
                <a:cxn ang="0">
                  <a:pos x="connsiteX5503" y="connsiteY5503"/>
                </a:cxn>
                <a:cxn ang="0">
                  <a:pos x="connsiteX5504" y="connsiteY5504"/>
                </a:cxn>
                <a:cxn ang="0">
                  <a:pos x="connsiteX5505" y="connsiteY5505"/>
                </a:cxn>
                <a:cxn ang="0">
                  <a:pos x="connsiteX5506" y="connsiteY5506"/>
                </a:cxn>
                <a:cxn ang="0">
                  <a:pos x="connsiteX5507" y="connsiteY5507"/>
                </a:cxn>
                <a:cxn ang="0">
                  <a:pos x="connsiteX5508" y="connsiteY5508"/>
                </a:cxn>
                <a:cxn ang="0">
                  <a:pos x="connsiteX5509" y="connsiteY5509"/>
                </a:cxn>
                <a:cxn ang="0">
                  <a:pos x="connsiteX5510" y="connsiteY5510"/>
                </a:cxn>
                <a:cxn ang="0">
                  <a:pos x="connsiteX5511" y="connsiteY5511"/>
                </a:cxn>
                <a:cxn ang="0">
                  <a:pos x="connsiteX5512" y="connsiteY5512"/>
                </a:cxn>
                <a:cxn ang="0">
                  <a:pos x="connsiteX5513" y="connsiteY5513"/>
                </a:cxn>
                <a:cxn ang="0">
                  <a:pos x="connsiteX5514" y="connsiteY5514"/>
                </a:cxn>
                <a:cxn ang="0">
                  <a:pos x="connsiteX5515" y="connsiteY5515"/>
                </a:cxn>
                <a:cxn ang="0">
                  <a:pos x="connsiteX5516" y="connsiteY5516"/>
                </a:cxn>
                <a:cxn ang="0">
                  <a:pos x="connsiteX5517" y="connsiteY5517"/>
                </a:cxn>
                <a:cxn ang="0">
                  <a:pos x="connsiteX5518" y="connsiteY5518"/>
                </a:cxn>
                <a:cxn ang="0">
                  <a:pos x="connsiteX5519" y="connsiteY5519"/>
                </a:cxn>
                <a:cxn ang="0">
                  <a:pos x="connsiteX5520" y="connsiteY5520"/>
                </a:cxn>
                <a:cxn ang="0">
                  <a:pos x="connsiteX5521" y="connsiteY5521"/>
                </a:cxn>
                <a:cxn ang="0">
                  <a:pos x="connsiteX5522" y="connsiteY5522"/>
                </a:cxn>
                <a:cxn ang="0">
                  <a:pos x="connsiteX5523" y="connsiteY5523"/>
                </a:cxn>
                <a:cxn ang="0">
                  <a:pos x="connsiteX5524" y="connsiteY5524"/>
                </a:cxn>
                <a:cxn ang="0">
                  <a:pos x="connsiteX5525" y="connsiteY5525"/>
                </a:cxn>
                <a:cxn ang="0">
                  <a:pos x="connsiteX5526" y="connsiteY5526"/>
                </a:cxn>
                <a:cxn ang="0">
                  <a:pos x="connsiteX5527" y="connsiteY5527"/>
                </a:cxn>
                <a:cxn ang="0">
                  <a:pos x="connsiteX5528" y="connsiteY5528"/>
                </a:cxn>
                <a:cxn ang="0">
                  <a:pos x="connsiteX5529" y="connsiteY5529"/>
                </a:cxn>
                <a:cxn ang="0">
                  <a:pos x="connsiteX5530" y="connsiteY5530"/>
                </a:cxn>
                <a:cxn ang="0">
                  <a:pos x="connsiteX5531" y="connsiteY5531"/>
                </a:cxn>
                <a:cxn ang="0">
                  <a:pos x="connsiteX5532" y="connsiteY5532"/>
                </a:cxn>
                <a:cxn ang="0">
                  <a:pos x="connsiteX5533" y="connsiteY5533"/>
                </a:cxn>
                <a:cxn ang="0">
                  <a:pos x="connsiteX5534" y="connsiteY5534"/>
                </a:cxn>
                <a:cxn ang="0">
                  <a:pos x="connsiteX5535" y="connsiteY5535"/>
                </a:cxn>
                <a:cxn ang="0">
                  <a:pos x="connsiteX5536" y="connsiteY5536"/>
                </a:cxn>
                <a:cxn ang="0">
                  <a:pos x="connsiteX5537" y="connsiteY5537"/>
                </a:cxn>
                <a:cxn ang="0">
                  <a:pos x="connsiteX5538" y="connsiteY5538"/>
                </a:cxn>
                <a:cxn ang="0">
                  <a:pos x="connsiteX5539" y="connsiteY5539"/>
                </a:cxn>
                <a:cxn ang="0">
                  <a:pos x="connsiteX5540" y="connsiteY5540"/>
                </a:cxn>
                <a:cxn ang="0">
                  <a:pos x="connsiteX5541" y="connsiteY5541"/>
                </a:cxn>
                <a:cxn ang="0">
                  <a:pos x="connsiteX5542" y="connsiteY5542"/>
                </a:cxn>
                <a:cxn ang="0">
                  <a:pos x="connsiteX5543" y="connsiteY5543"/>
                </a:cxn>
                <a:cxn ang="0">
                  <a:pos x="connsiteX5544" y="connsiteY5544"/>
                </a:cxn>
                <a:cxn ang="0">
                  <a:pos x="connsiteX5545" y="connsiteY5545"/>
                </a:cxn>
                <a:cxn ang="0">
                  <a:pos x="connsiteX5546" y="connsiteY5546"/>
                </a:cxn>
                <a:cxn ang="0">
                  <a:pos x="connsiteX5547" y="connsiteY5547"/>
                </a:cxn>
                <a:cxn ang="0">
                  <a:pos x="connsiteX5548" y="connsiteY5548"/>
                </a:cxn>
                <a:cxn ang="0">
                  <a:pos x="connsiteX5549" y="connsiteY5549"/>
                </a:cxn>
                <a:cxn ang="0">
                  <a:pos x="connsiteX5550" y="connsiteY5550"/>
                </a:cxn>
                <a:cxn ang="0">
                  <a:pos x="connsiteX5551" y="connsiteY5551"/>
                </a:cxn>
                <a:cxn ang="0">
                  <a:pos x="connsiteX5552" y="connsiteY5552"/>
                </a:cxn>
                <a:cxn ang="0">
                  <a:pos x="connsiteX5553" y="connsiteY5553"/>
                </a:cxn>
                <a:cxn ang="0">
                  <a:pos x="connsiteX5554" y="connsiteY5554"/>
                </a:cxn>
                <a:cxn ang="0">
                  <a:pos x="connsiteX5555" y="connsiteY5555"/>
                </a:cxn>
                <a:cxn ang="0">
                  <a:pos x="connsiteX5556" y="connsiteY5556"/>
                </a:cxn>
                <a:cxn ang="0">
                  <a:pos x="connsiteX5557" y="connsiteY5557"/>
                </a:cxn>
                <a:cxn ang="0">
                  <a:pos x="connsiteX5558" y="connsiteY5558"/>
                </a:cxn>
                <a:cxn ang="0">
                  <a:pos x="connsiteX5559" y="connsiteY5559"/>
                </a:cxn>
                <a:cxn ang="0">
                  <a:pos x="connsiteX5560" y="connsiteY5560"/>
                </a:cxn>
                <a:cxn ang="0">
                  <a:pos x="connsiteX5561" y="connsiteY5561"/>
                </a:cxn>
                <a:cxn ang="0">
                  <a:pos x="connsiteX5562" y="connsiteY5562"/>
                </a:cxn>
                <a:cxn ang="0">
                  <a:pos x="connsiteX5563" y="connsiteY5563"/>
                </a:cxn>
                <a:cxn ang="0">
                  <a:pos x="connsiteX5564" y="connsiteY5564"/>
                </a:cxn>
                <a:cxn ang="0">
                  <a:pos x="connsiteX5565" y="connsiteY5565"/>
                </a:cxn>
                <a:cxn ang="0">
                  <a:pos x="connsiteX5566" y="connsiteY5566"/>
                </a:cxn>
                <a:cxn ang="0">
                  <a:pos x="connsiteX5567" y="connsiteY5567"/>
                </a:cxn>
                <a:cxn ang="0">
                  <a:pos x="connsiteX5568" y="connsiteY5568"/>
                </a:cxn>
                <a:cxn ang="0">
                  <a:pos x="connsiteX5569" y="connsiteY5569"/>
                </a:cxn>
                <a:cxn ang="0">
                  <a:pos x="connsiteX5570" y="connsiteY5570"/>
                </a:cxn>
                <a:cxn ang="0">
                  <a:pos x="connsiteX5571" y="connsiteY5571"/>
                </a:cxn>
                <a:cxn ang="0">
                  <a:pos x="connsiteX5572" y="connsiteY5572"/>
                </a:cxn>
                <a:cxn ang="0">
                  <a:pos x="connsiteX5573" y="connsiteY5573"/>
                </a:cxn>
                <a:cxn ang="0">
                  <a:pos x="connsiteX5574" y="connsiteY5574"/>
                </a:cxn>
                <a:cxn ang="0">
                  <a:pos x="connsiteX5575" y="connsiteY5575"/>
                </a:cxn>
                <a:cxn ang="0">
                  <a:pos x="connsiteX5576" y="connsiteY5576"/>
                </a:cxn>
                <a:cxn ang="0">
                  <a:pos x="connsiteX5577" y="connsiteY5577"/>
                </a:cxn>
                <a:cxn ang="0">
                  <a:pos x="connsiteX5578" y="connsiteY5578"/>
                </a:cxn>
                <a:cxn ang="0">
                  <a:pos x="connsiteX5579" y="connsiteY5579"/>
                </a:cxn>
                <a:cxn ang="0">
                  <a:pos x="connsiteX5580" y="connsiteY5580"/>
                </a:cxn>
                <a:cxn ang="0">
                  <a:pos x="connsiteX5581" y="connsiteY5581"/>
                </a:cxn>
                <a:cxn ang="0">
                  <a:pos x="connsiteX5582" y="connsiteY5582"/>
                </a:cxn>
                <a:cxn ang="0">
                  <a:pos x="connsiteX5583" y="connsiteY5583"/>
                </a:cxn>
                <a:cxn ang="0">
                  <a:pos x="connsiteX5584" y="connsiteY5584"/>
                </a:cxn>
                <a:cxn ang="0">
                  <a:pos x="connsiteX5585" y="connsiteY5585"/>
                </a:cxn>
                <a:cxn ang="0">
                  <a:pos x="connsiteX5586" y="connsiteY5586"/>
                </a:cxn>
                <a:cxn ang="0">
                  <a:pos x="connsiteX5587" y="connsiteY5587"/>
                </a:cxn>
                <a:cxn ang="0">
                  <a:pos x="connsiteX5588" y="connsiteY5588"/>
                </a:cxn>
                <a:cxn ang="0">
                  <a:pos x="connsiteX5589" y="connsiteY5589"/>
                </a:cxn>
                <a:cxn ang="0">
                  <a:pos x="connsiteX5590" y="connsiteY5590"/>
                </a:cxn>
                <a:cxn ang="0">
                  <a:pos x="connsiteX5591" y="connsiteY5591"/>
                </a:cxn>
                <a:cxn ang="0">
                  <a:pos x="connsiteX5592" y="connsiteY5592"/>
                </a:cxn>
                <a:cxn ang="0">
                  <a:pos x="connsiteX5593" y="connsiteY5593"/>
                </a:cxn>
                <a:cxn ang="0">
                  <a:pos x="connsiteX5594" y="connsiteY5594"/>
                </a:cxn>
                <a:cxn ang="0">
                  <a:pos x="connsiteX5595" y="connsiteY5595"/>
                </a:cxn>
                <a:cxn ang="0">
                  <a:pos x="connsiteX5596" y="connsiteY5596"/>
                </a:cxn>
                <a:cxn ang="0">
                  <a:pos x="connsiteX5597" y="connsiteY5597"/>
                </a:cxn>
                <a:cxn ang="0">
                  <a:pos x="connsiteX5598" y="connsiteY5598"/>
                </a:cxn>
                <a:cxn ang="0">
                  <a:pos x="connsiteX5599" y="connsiteY5599"/>
                </a:cxn>
                <a:cxn ang="0">
                  <a:pos x="connsiteX5600" y="connsiteY5600"/>
                </a:cxn>
                <a:cxn ang="0">
                  <a:pos x="connsiteX5601" y="connsiteY5601"/>
                </a:cxn>
                <a:cxn ang="0">
                  <a:pos x="connsiteX5602" y="connsiteY5602"/>
                </a:cxn>
                <a:cxn ang="0">
                  <a:pos x="connsiteX5603" y="connsiteY5603"/>
                </a:cxn>
                <a:cxn ang="0">
                  <a:pos x="connsiteX5604" y="connsiteY5604"/>
                </a:cxn>
                <a:cxn ang="0">
                  <a:pos x="connsiteX5605" y="connsiteY5605"/>
                </a:cxn>
                <a:cxn ang="0">
                  <a:pos x="connsiteX5606" y="connsiteY5606"/>
                </a:cxn>
                <a:cxn ang="0">
                  <a:pos x="connsiteX5607" y="connsiteY5607"/>
                </a:cxn>
                <a:cxn ang="0">
                  <a:pos x="connsiteX5608" y="connsiteY5608"/>
                </a:cxn>
                <a:cxn ang="0">
                  <a:pos x="connsiteX5609" y="connsiteY5609"/>
                </a:cxn>
                <a:cxn ang="0">
                  <a:pos x="connsiteX5610" y="connsiteY5610"/>
                </a:cxn>
                <a:cxn ang="0">
                  <a:pos x="connsiteX5611" y="connsiteY5611"/>
                </a:cxn>
                <a:cxn ang="0">
                  <a:pos x="connsiteX5612" y="connsiteY5612"/>
                </a:cxn>
                <a:cxn ang="0">
                  <a:pos x="connsiteX5613" y="connsiteY5613"/>
                </a:cxn>
                <a:cxn ang="0">
                  <a:pos x="connsiteX5614" y="connsiteY5614"/>
                </a:cxn>
                <a:cxn ang="0">
                  <a:pos x="connsiteX5615" y="connsiteY5615"/>
                </a:cxn>
                <a:cxn ang="0">
                  <a:pos x="connsiteX5616" y="connsiteY5616"/>
                </a:cxn>
                <a:cxn ang="0">
                  <a:pos x="connsiteX5617" y="connsiteY5617"/>
                </a:cxn>
                <a:cxn ang="0">
                  <a:pos x="connsiteX5618" y="connsiteY5618"/>
                </a:cxn>
                <a:cxn ang="0">
                  <a:pos x="connsiteX5619" y="connsiteY5619"/>
                </a:cxn>
                <a:cxn ang="0">
                  <a:pos x="connsiteX5620" y="connsiteY5620"/>
                </a:cxn>
                <a:cxn ang="0">
                  <a:pos x="connsiteX5621" y="connsiteY5621"/>
                </a:cxn>
                <a:cxn ang="0">
                  <a:pos x="connsiteX5622" y="connsiteY5622"/>
                </a:cxn>
                <a:cxn ang="0">
                  <a:pos x="connsiteX5623" y="connsiteY5623"/>
                </a:cxn>
                <a:cxn ang="0">
                  <a:pos x="connsiteX5624" y="connsiteY5624"/>
                </a:cxn>
                <a:cxn ang="0">
                  <a:pos x="connsiteX5625" y="connsiteY5625"/>
                </a:cxn>
                <a:cxn ang="0">
                  <a:pos x="connsiteX5626" y="connsiteY5626"/>
                </a:cxn>
                <a:cxn ang="0">
                  <a:pos x="connsiteX5627" y="connsiteY5627"/>
                </a:cxn>
                <a:cxn ang="0">
                  <a:pos x="connsiteX5628" y="connsiteY5628"/>
                </a:cxn>
                <a:cxn ang="0">
                  <a:pos x="connsiteX5629" y="connsiteY5629"/>
                </a:cxn>
                <a:cxn ang="0">
                  <a:pos x="connsiteX5630" y="connsiteY5630"/>
                </a:cxn>
                <a:cxn ang="0">
                  <a:pos x="connsiteX5631" y="connsiteY5631"/>
                </a:cxn>
                <a:cxn ang="0">
                  <a:pos x="connsiteX5632" y="connsiteY5632"/>
                </a:cxn>
                <a:cxn ang="0">
                  <a:pos x="connsiteX5633" y="connsiteY5633"/>
                </a:cxn>
                <a:cxn ang="0">
                  <a:pos x="connsiteX5634" y="connsiteY5634"/>
                </a:cxn>
                <a:cxn ang="0">
                  <a:pos x="connsiteX5635" y="connsiteY5635"/>
                </a:cxn>
                <a:cxn ang="0">
                  <a:pos x="connsiteX5636" y="connsiteY5636"/>
                </a:cxn>
                <a:cxn ang="0">
                  <a:pos x="connsiteX5637" y="connsiteY5637"/>
                </a:cxn>
                <a:cxn ang="0">
                  <a:pos x="connsiteX5638" y="connsiteY5638"/>
                </a:cxn>
                <a:cxn ang="0">
                  <a:pos x="connsiteX5639" y="connsiteY5639"/>
                </a:cxn>
                <a:cxn ang="0">
                  <a:pos x="connsiteX5640" y="connsiteY5640"/>
                </a:cxn>
                <a:cxn ang="0">
                  <a:pos x="connsiteX5641" y="connsiteY5641"/>
                </a:cxn>
                <a:cxn ang="0">
                  <a:pos x="connsiteX5642" y="connsiteY5642"/>
                </a:cxn>
                <a:cxn ang="0">
                  <a:pos x="connsiteX5643" y="connsiteY5643"/>
                </a:cxn>
                <a:cxn ang="0">
                  <a:pos x="connsiteX5644" y="connsiteY5644"/>
                </a:cxn>
                <a:cxn ang="0">
                  <a:pos x="connsiteX5645" y="connsiteY5645"/>
                </a:cxn>
                <a:cxn ang="0">
                  <a:pos x="connsiteX5646" y="connsiteY5646"/>
                </a:cxn>
                <a:cxn ang="0">
                  <a:pos x="connsiteX5647" y="connsiteY5647"/>
                </a:cxn>
                <a:cxn ang="0">
                  <a:pos x="connsiteX5648" y="connsiteY5648"/>
                </a:cxn>
                <a:cxn ang="0">
                  <a:pos x="connsiteX5649" y="connsiteY5649"/>
                </a:cxn>
                <a:cxn ang="0">
                  <a:pos x="connsiteX5650" y="connsiteY5650"/>
                </a:cxn>
                <a:cxn ang="0">
                  <a:pos x="connsiteX5651" y="connsiteY5651"/>
                </a:cxn>
                <a:cxn ang="0">
                  <a:pos x="connsiteX5652" y="connsiteY5652"/>
                </a:cxn>
                <a:cxn ang="0">
                  <a:pos x="connsiteX5653" y="connsiteY5653"/>
                </a:cxn>
                <a:cxn ang="0">
                  <a:pos x="connsiteX5654" y="connsiteY5654"/>
                </a:cxn>
                <a:cxn ang="0">
                  <a:pos x="connsiteX5655" y="connsiteY5655"/>
                </a:cxn>
                <a:cxn ang="0">
                  <a:pos x="connsiteX5656" y="connsiteY5656"/>
                </a:cxn>
                <a:cxn ang="0">
                  <a:pos x="connsiteX5657" y="connsiteY5657"/>
                </a:cxn>
                <a:cxn ang="0">
                  <a:pos x="connsiteX5658" y="connsiteY5658"/>
                </a:cxn>
                <a:cxn ang="0">
                  <a:pos x="connsiteX5659" y="connsiteY5659"/>
                </a:cxn>
                <a:cxn ang="0">
                  <a:pos x="connsiteX5660" y="connsiteY5660"/>
                </a:cxn>
                <a:cxn ang="0">
                  <a:pos x="connsiteX5661" y="connsiteY5661"/>
                </a:cxn>
                <a:cxn ang="0">
                  <a:pos x="connsiteX5662" y="connsiteY5662"/>
                </a:cxn>
                <a:cxn ang="0">
                  <a:pos x="connsiteX5663" y="connsiteY5663"/>
                </a:cxn>
                <a:cxn ang="0">
                  <a:pos x="connsiteX5664" y="connsiteY5664"/>
                </a:cxn>
                <a:cxn ang="0">
                  <a:pos x="connsiteX5665" y="connsiteY5665"/>
                </a:cxn>
                <a:cxn ang="0">
                  <a:pos x="connsiteX5666" y="connsiteY5666"/>
                </a:cxn>
                <a:cxn ang="0">
                  <a:pos x="connsiteX5667" y="connsiteY5667"/>
                </a:cxn>
                <a:cxn ang="0">
                  <a:pos x="connsiteX5668" y="connsiteY5668"/>
                </a:cxn>
                <a:cxn ang="0">
                  <a:pos x="connsiteX5669" y="connsiteY5669"/>
                </a:cxn>
                <a:cxn ang="0">
                  <a:pos x="connsiteX5670" y="connsiteY5670"/>
                </a:cxn>
                <a:cxn ang="0">
                  <a:pos x="connsiteX5671" y="connsiteY5671"/>
                </a:cxn>
                <a:cxn ang="0">
                  <a:pos x="connsiteX5672" y="connsiteY5672"/>
                </a:cxn>
                <a:cxn ang="0">
                  <a:pos x="connsiteX5673" y="connsiteY5673"/>
                </a:cxn>
                <a:cxn ang="0">
                  <a:pos x="connsiteX5674" y="connsiteY5674"/>
                </a:cxn>
                <a:cxn ang="0">
                  <a:pos x="connsiteX5675" y="connsiteY5675"/>
                </a:cxn>
                <a:cxn ang="0">
                  <a:pos x="connsiteX5676" y="connsiteY5676"/>
                </a:cxn>
                <a:cxn ang="0">
                  <a:pos x="connsiteX5677" y="connsiteY5677"/>
                </a:cxn>
                <a:cxn ang="0">
                  <a:pos x="connsiteX5678" y="connsiteY5678"/>
                </a:cxn>
                <a:cxn ang="0">
                  <a:pos x="connsiteX5679" y="connsiteY5679"/>
                </a:cxn>
                <a:cxn ang="0">
                  <a:pos x="connsiteX5680" y="connsiteY5680"/>
                </a:cxn>
                <a:cxn ang="0">
                  <a:pos x="connsiteX5681" y="connsiteY5681"/>
                </a:cxn>
                <a:cxn ang="0">
                  <a:pos x="connsiteX5682" y="connsiteY5682"/>
                </a:cxn>
                <a:cxn ang="0">
                  <a:pos x="connsiteX5683" y="connsiteY5683"/>
                </a:cxn>
                <a:cxn ang="0">
                  <a:pos x="connsiteX5684" y="connsiteY5684"/>
                </a:cxn>
                <a:cxn ang="0">
                  <a:pos x="connsiteX5685" y="connsiteY5685"/>
                </a:cxn>
                <a:cxn ang="0">
                  <a:pos x="connsiteX5686" y="connsiteY5686"/>
                </a:cxn>
                <a:cxn ang="0">
                  <a:pos x="connsiteX5687" y="connsiteY5687"/>
                </a:cxn>
                <a:cxn ang="0">
                  <a:pos x="connsiteX5688" y="connsiteY5688"/>
                </a:cxn>
                <a:cxn ang="0">
                  <a:pos x="connsiteX5689" y="connsiteY5689"/>
                </a:cxn>
                <a:cxn ang="0">
                  <a:pos x="connsiteX5690" y="connsiteY5690"/>
                </a:cxn>
                <a:cxn ang="0">
                  <a:pos x="connsiteX5691" y="connsiteY5691"/>
                </a:cxn>
                <a:cxn ang="0">
                  <a:pos x="connsiteX5692" y="connsiteY5692"/>
                </a:cxn>
                <a:cxn ang="0">
                  <a:pos x="connsiteX5693" y="connsiteY5693"/>
                </a:cxn>
                <a:cxn ang="0">
                  <a:pos x="connsiteX5694" y="connsiteY5694"/>
                </a:cxn>
                <a:cxn ang="0">
                  <a:pos x="connsiteX5695" y="connsiteY5695"/>
                </a:cxn>
                <a:cxn ang="0">
                  <a:pos x="connsiteX5696" y="connsiteY5696"/>
                </a:cxn>
                <a:cxn ang="0">
                  <a:pos x="connsiteX5697" y="connsiteY5697"/>
                </a:cxn>
                <a:cxn ang="0">
                  <a:pos x="connsiteX5698" y="connsiteY5698"/>
                </a:cxn>
                <a:cxn ang="0">
                  <a:pos x="connsiteX5699" y="connsiteY5699"/>
                </a:cxn>
                <a:cxn ang="0">
                  <a:pos x="connsiteX5700" y="connsiteY5700"/>
                </a:cxn>
                <a:cxn ang="0">
                  <a:pos x="connsiteX5701" y="connsiteY5701"/>
                </a:cxn>
                <a:cxn ang="0">
                  <a:pos x="connsiteX5702" y="connsiteY5702"/>
                </a:cxn>
                <a:cxn ang="0">
                  <a:pos x="connsiteX5703" y="connsiteY5703"/>
                </a:cxn>
                <a:cxn ang="0">
                  <a:pos x="connsiteX5704" y="connsiteY5704"/>
                </a:cxn>
                <a:cxn ang="0">
                  <a:pos x="connsiteX5705" y="connsiteY5705"/>
                </a:cxn>
                <a:cxn ang="0">
                  <a:pos x="connsiteX5706" y="connsiteY5706"/>
                </a:cxn>
                <a:cxn ang="0">
                  <a:pos x="connsiteX5707" y="connsiteY5707"/>
                </a:cxn>
                <a:cxn ang="0">
                  <a:pos x="connsiteX5708" y="connsiteY5708"/>
                </a:cxn>
                <a:cxn ang="0">
                  <a:pos x="connsiteX5709" y="connsiteY5709"/>
                </a:cxn>
                <a:cxn ang="0">
                  <a:pos x="connsiteX5710" y="connsiteY5710"/>
                </a:cxn>
                <a:cxn ang="0">
                  <a:pos x="connsiteX5711" y="connsiteY5711"/>
                </a:cxn>
                <a:cxn ang="0">
                  <a:pos x="connsiteX5712" y="connsiteY5712"/>
                </a:cxn>
                <a:cxn ang="0">
                  <a:pos x="connsiteX5713" y="connsiteY5713"/>
                </a:cxn>
                <a:cxn ang="0">
                  <a:pos x="connsiteX5714" y="connsiteY5714"/>
                </a:cxn>
                <a:cxn ang="0">
                  <a:pos x="connsiteX5715" y="connsiteY5715"/>
                </a:cxn>
                <a:cxn ang="0">
                  <a:pos x="connsiteX5716" y="connsiteY5716"/>
                </a:cxn>
                <a:cxn ang="0">
                  <a:pos x="connsiteX5717" y="connsiteY5717"/>
                </a:cxn>
                <a:cxn ang="0">
                  <a:pos x="connsiteX5718" y="connsiteY5718"/>
                </a:cxn>
                <a:cxn ang="0">
                  <a:pos x="connsiteX5719" y="connsiteY5719"/>
                </a:cxn>
                <a:cxn ang="0">
                  <a:pos x="connsiteX5720" y="connsiteY5720"/>
                </a:cxn>
                <a:cxn ang="0">
                  <a:pos x="connsiteX5721" y="connsiteY5721"/>
                </a:cxn>
                <a:cxn ang="0">
                  <a:pos x="connsiteX5722" y="connsiteY5722"/>
                </a:cxn>
                <a:cxn ang="0">
                  <a:pos x="connsiteX5723" y="connsiteY5723"/>
                </a:cxn>
                <a:cxn ang="0">
                  <a:pos x="connsiteX5724" y="connsiteY5724"/>
                </a:cxn>
                <a:cxn ang="0">
                  <a:pos x="connsiteX5725" y="connsiteY5725"/>
                </a:cxn>
                <a:cxn ang="0">
                  <a:pos x="connsiteX5726" y="connsiteY5726"/>
                </a:cxn>
                <a:cxn ang="0">
                  <a:pos x="connsiteX5727" y="connsiteY5727"/>
                </a:cxn>
                <a:cxn ang="0">
                  <a:pos x="connsiteX5728" y="connsiteY5728"/>
                </a:cxn>
                <a:cxn ang="0">
                  <a:pos x="connsiteX5729" y="connsiteY5729"/>
                </a:cxn>
                <a:cxn ang="0">
                  <a:pos x="connsiteX5730" y="connsiteY5730"/>
                </a:cxn>
                <a:cxn ang="0">
                  <a:pos x="connsiteX5731" y="connsiteY5731"/>
                </a:cxn>
                <a:cxn ang="0">
                  <a:pos x="connsiteX5732" y="connsiteY5732"/>
                </a:cxn>
                <a:cxn ang="0">
                  <a:pos x="connsiteX5733" y="connsiteY5733"/>
                </a:cxn>
                <a:cxn ang="0">
                  <a:pos x="connsiteX5734" y="connsiteY5734"/>
                </a:cxn>
                <a:cxn ang="0">
                  <a:pos x="connsiteX5735" y="connsiteY5735"/>
                </a:cxn>
                <a:cxn ang="0">
                  <a:pos x="connsiteX5736" y="connsiteY5736"/>
                </a:cxn>
                <a:cxn ang="0">
                  <a:pos x="connsiteX5737" y="connsiteY5737"/>
                </a:cxn>
                <a:cxn ang="0">
                  <a:pos x="connsiteX5738" y="connsiteY5738"/>
                </a:cxn>
                <a:cxn ang="0">
                  <a:pos x="connsiteX5739" y="connsiteY5739"/>
                </a:cxn>
                <a:cxn ang="0">
                  <a:pos x="connsiteX5740" y="connsiteY5740"/>
                </a:cxn>
                <a:cxn ang="0">
                  <a:pos x="connsiteX5741" y="connsiteY5741"/>
                </a:cxn>
                <a:cxn ang="0">
                  <a:pos x="connsiteX5742" y="connsiteY5742"/>
                </a:cxn>
                <a:cxn ang="0">
                  <a:pos x="connsiteX5743" y="connsiteY5743"/>
                </a:cxn>
                <a:cxn ang="0">
                  <a:pos x="connsiteX5744" y="connsiteY5744"/>
                </a:cxn>
                <a:cxn ang="0">
                  <a:pos x="connsiteX5745" y="connsiteY5745"/>
                </a:cxn>
                <a:cxn ang="0">
                  <a:pos x="connsiteX5746" y="connsiteY5746"/>
                </a:cxn>
                <a:cxn ang="0">
                  <a:pos x="connsiteX5747" y="connsiteY5747"/>
                </a:cxn>
                <a:cxn ang="0">
                  <a:pos x="connsiteX5748" y="connsiteY5748"/>
                </a:cxn>
                <a:cxn ang="0">
                  <a:pos x="connsiteX5749" y="connsiteY5749"/>
                </a:cxn>
                <a:cxn ang="0">
                  <a:pos x="connsiteX5750" y="connsiteY5750"/>
                </a:cxn>
                <a:cxn ang="0">
                  <a:pos x="connsiteX5751" y="connsiteY5751"/>
                </a:cxn>
                <a:cxn ang="0">
                  <a:pos x="connsiteX5752" y="connsiteY5752"/>
                </a:cxn>
                <a:cxn ang="0">
                  <a:pos x="connsiteX5753" y="connsiteY5753"/>
                </a:cxn>
                <a:cxn ang="0">
                  <a:pos x="connsiteX5754" y="connsiteY5754"/>
                </a:cxn>
                <a:cxn ang="0">
                  <a:pos x="connsiteX5755" y="connsiteY5755"/>
                </a:cxn>
                <a:cxn ang="0">
                  <a:pos x="connsiteX5756" y="connsiteY5756"/>
                </a:cxn>
                <a:cxn ang="0">
                  <a:pos x="connsiteX5757" y="connsiteY5757"/>
                </a:cxn>
                <a:cxn ang="0">
                  <a:pos x="connsiteX5758" y="connsiteY5758"/>
                </a:cxn>
                <a:cxn ang="0">
                  <a:pos x="connsiteX5759" y="connsiteY5759"/>
                </a:cxn>
                <a:cxn ang="0">
                  <a:pos x="connsiteX5760" y="connsiteY5760"/>
                </a:cxn>
                <a:cxn ang="0">
                  <a:pos x="connsiteX5761" y="connsiteY5761"/>
                </a:cxn>
                <a:cxn ang="0">
                  <a:pos x="connsiteX5762" y="connsiteY5762"/>
                </a:cxn>
                <a:cxn ang="0">
                  <a:pos x="connsiteX5763" y="connsiteY5763"/>
                </a:cxn>
                <a:cxn ang="0">
                  <a:pos x="connsiteX5764" y="connsiteY5764"/>
                </a:cxn>
                <a:cxn ang="0">
                  <a:pos x="connsiteX5765" y="connsiteY5765"/>
                </a:cxn>
                <a:cxn ang="0">
                  <a:pos x="connsiteX5766" y="connsiteY5766"/>
                </a:cxn>
                <a:cxn ang="0">
                  <a:pos x="connsiteX5767" y="connsiteY5767"/>
                </a:cxn>
                <a:cxn ang="0">
                  <a:pos x="connsiteX5768" y="connsiteY5768"/>
                </a:cxn>
                <a:cxn ang="0">
                  <a:pos x="connsiteX5769" y="connsiteY5769"/>
                </a:cxn>
                <a:cxn ang="0">
                  <a:pos x="connsiteX5770" y="connsiteY5770"/>
                </a:cxn>
                <a:cxn ang="0">
                  <a:pos x="connsiteX5771" y="connsiteY5771"/>
                </a:cxn>
                <a:cxn ang="0">
                  <a:pos x="connsiteX5772" y="connsiteY5772"/>
                </a:cxn>
                <a:cxn ang="0">
                  <a:pos x="connsiteX5773" y="connsiteY5773"/>
                </a:cxn>
                <a:cxn ang="0">
                  <a:pos x="connsiteX5774" y="connsiteY5774"/>
                </a:cxn>
                <a:cxn ang="0">
                  <a:pos x="connsiteX5775" y="connsiteY5775"/>
                </a:cxn>
                <a:cxn ang="0">
                  <a:pos x="connsiteX5776" y="connsiteY5776"/>
                </a:cxn>
                <a:cxn ang="0">
                  <a:pos x="connsiteX5777" y="connsiteY5777"/>
                </a:cxn>
                <a:cxn ang="0">
                  <a:pos x="connsiteX5778" y="connsiteY5778"/>
                </a:cxn>
                <a:cxn ang="0">
                  <a:pos x="connsiteX5779" y="connsiteY5779"/>
                </a:cxn>
                <a:cxn ang="0">
                  <a:pos x="connsiteX5780" y="connsiteY5780"/>
                </a:cxn>
                <a:cxn ang="0">
                  <a:pos x="connsiteX5781" y="connsiteY5781"/>
                </a:cxn>
                <a:cxn ang="0">
                  <a:pos x="connsiteX5782" y="connsiteY5782"/>
                </a:cxn>
                <a:cxn ang="0">
                  <a:pos x="connsiteX5783" y="connsiteY5783"/>
                </a:cxn>
                <a:cxn ang="0">
                  <a:pos x="connsiteX5784" y="connsiteY5784"/>
                </a:cxn>
                <a:cxn ang="0">
                  <a:pos x="connsiteX5785" y="connsiteY5785"/>
                </a:cxn>
                <a:cxn ang="0">
                  <a:pos x="connsiteX5786" y="connsiteY5786"/>
                </a:cxn>
                <a:cxn ang="0">
                  <a:pos x="connsiteX5787" y="connsiteY5787"/>
                </a:cxn>
                <a:cxn ang="0">
                  <a:pos x="connsiteX5788" y="connsiteY5788"/>
                </a:cxn>
                <a:cxn ang="0">
                  <a:pos x="connsiteX5789" y="connsiteY5789"/>
                </a:cxn>
                <a:cxn ang="0">
                  <a:pos x="connsiteX5790" y="connsiteY5790"/>
                </a:cxn>
                <a:cxn ang="0">
                  <a:pos x="connsiteX5791" y="connsiteY5791"/>
                </a:cxn>
                <a:cxn ang="0">
                  <a:pos x="connsiteX5792" y="connsiteY5792"/>
                </a:cxn>
                <a:cxn ang="0">
                  <a:pos x="connsiteX5793" y="connsiteY5793"/>
                </a:cxn>
                <a:cxn ang="0">
                  <a:pos x="connsiteX5794" y="connsiteY5794"/>
                </a:cxn>
                <a:cxn ang="0">
                  <a:pos x="connsiteX5795" y="connsiteY5795"/>
                </a:cxn>
                <a:cxn ang="0">
                  <a:pos x="connsiteX5796" y="connsiteY5796"/>
                </a:cxn>
                <a:cxn ang="0">
                  <a:pos x="connsiteX5797" y="connsiteY5797"/>
                </a:cxn>
                <a:cxn ang="0">
                  <a:pos x="connsiteX5798" y="connsiteY5798"/>
                </a:cxn>
                <a:cxn ang="0">
                  <a:pos x="connsiteX5799" y="connsiteY5799"/>
                </a:cxn>
                <a:cxn ang="0">
                  <a:pos x="connsiteX5800" y="connsiteY5800"/>
                </a:cxn>
                <a:cxn ang="0">
                  <a:pos x="connsiteX5801" y="connsiteY5801"/>
                </a:cxn>
                <a:cxn ang="0">
                  <a:pos x="connsiteX5802" y="connsiteY5802"/>
                </a:cxn>
                <a:cxn ang="0">
                  <a:pos x="connsiteX5803" y="connsiteY5803"/>
                </a:cxn>
                <a:cxn ang="0">
                  <a:pos x="connsiteX5804" y="connsiteY5804"/>
                </a:cxn>
                <a:cxn ang="0">
                  <a:pos x="connsiteX5805" y="connsiteY5805"/>
                </a:cxn>
                <a:cxn ang="0">
                  <a:pos x="connsiteX5806" y="connsiteY5806"/>
                </a:cxn>
                <a:cxn ang="0">
                  <a:pos x="connsiteX5807" y="connsiteY5807"/>
                </a:cxn>
                <a:cxn ang="0">
                  <a:pos x="connsiteX5808" y="connsiteY5808"/>
                </a:cxn>
                <a:cxn ang="0">
                  <a:pos x="connsiteX5809" y="connsiteY5809"/>
                </a:cxn>
                <a:cxn ang="0">
                  <a:pos x="connsiteX5810" y="connsiteY5810"/>
                </a:cxn>
                <a:cxn ang="0">
                  <a:pos x="connsiteX5811" y="connsiteY5811"/>
                </a:cxn>
                <a:cxn ang="0">
                  <a:pos x="connsiteX5812" y="connsiteY5812"/>
                </a:cxn>
                <a:cxn ang="0">
                  <a:pos x="connsiteX5813" y="connsiteY5813"/>
                </a:cxn>
                <a:cxn ang="0">
                  <a:pos x="connsiteX5814" y="connsiteY5814"/>
                </a:cxn>
                <a:cxn ang="0">
                  <a:pos x="connsiteX5815" y="connsiteY5815"/>
                </a:cxn>
                <a:cxn ang="0">
                  <a:pos x="connsiteX5816" y="connsiteY5816"/>
                </a:cxn>
                <a:cxn ang="0">
                  <a:pos x="connsiteX5817" y="connsiteY5817"/>
                </a:cxn>
                <a:cxn ang="0">
                  <a:pos x="connsiteX5818" y="connsiteY5818"/>
                </a:cxn>
                <a:cxn ang="0">
                  <a:pos x="connsiteX5819" y="connsiteY5819"/>
                </a:cxn>
                <a:cxn ang="0">
                  <a:pos x="connsiteX5820" y="connsiteY5820"/>
                </a:cxn>
                <a:cxn ang="0">
                  <a:pos x="connsiteX5821" y="connsiteY5821"/>
                </a:cxn>
                <a:cxn ang="0">
                  <a:pos x="connsiteX5822" y="connsiteY5822"/>
                </a:cxn>
                <a:cxn ang="0">
                  <a:pos x="connsiteX5823" y="connsiteY5823"/>
                </a:cxn>
                <a:cxn ang="0">
                  <a:pos x="connsiteX5824" y="connsiteY5824"/>
                </a:cxn>
                <a:cxn ang="0">
                  <a:pos x="connsiteX5825" y="connsiteY5825"/>
                </a:cxn>
                <a:cxn ang="0">
                  <a:pos x="connsiteX5826" y="connsiteY5826"/>
                </a:cxn>
                <a:cxn ang="0">
                  <a:pos x="connsiteX5827" y="connsiteY5827"/>
                </a:cxn>
                <a:cxn ang="0">
                  <a:pos x="connsiteX5828" y="connsiteY5828"/>
                </a:cxn>
                <a:cxn ang="0">
                  <a:pos x="connsiteX5829" y="connsiteY5829"/>
                </a:cxn>
                <a:cxn ang="0">
                  <a:pos x="connsiteX5830" y="connsiteY5830"/>
                </a:cxn>
                <a:cxn ang="0">
                  <a:pos x="connsiteX5831" y="connsiteY5831"/>
                </a:cxn>
                <a:cxn ang="0">
                  <a:pos x="connsiteX5832" y="connsiteY5832"/>
                </a:cxn>
                <a:cxn ang="0">
                  <a:pos x="connsiteX5833" y="connsiteY5833"/>
                </a:cxn>
                <a:cxn ang="0">
                  <a:pos x="connsiteX5834" y="connsiteY5834"/>
                </a:cxn>
                <a:cxn ang="0">
                  <a:pos x="connsiteX5835" y="connsiteY5835"/>
                </a:cxn>
                <a:cxn ang="0">
                  <a:pos x="connsiteX5836" y="connsiteY5836"/>
                </a:cxn>
                <a:cxn ang="0">
                  <a:pos x="connsiteX5837" y="connsiteY5837"/>
                </a:cxn>
                <a:cxn ang="0">
                  <a:pos x="connsiteX5838" y="connsiteY5838"/>
                </a:cxn>
                <a:cxn ang="0">
                  <a:pos x="connsiteX5839" y="connsiteY5839"/>
                </a:cxn>
                <a:cxn ang="0">
                  <a:pos x="connsiteX5840" y="connsiteY5840"/>
                </a:cxn>
                <a:cxn ang="0">
                  <a:pos x="connsiteX5841" y="connsiteY5841"/>
                </a:cxn>
                <a:cxn ang="0">
                  <a:pos x="connsiteX5842" y="connsiteY5842"/>
                </a:cxn>
                <a:cxn ang="0">
                  <a:pos x="connsiteX5843" y="connsiteY5843"/>
                </a:cxn>
                <a:cxn ang="0">
                  <a:pos x="connsiteX5844" y="connsiteY5844"/>
                </a:cxn>
                <a:cxn ang="0">
                  <a:pos x="connsiteX5845" y="connsiteY5845"/>
                </a:cxn>
                <a:cxn ang="0">
                  <a:pos x="connsiteX5846" y="connsiteY5846"/>
                </a:cxn>
                <a:cxn ang="0">
                  <a:pos x="connsiteX5847" y="connsiteY5847"/>
                </a:cxn>
                <a:cxn ang="0">
                  <a:pos x="connsiteX5848" y="connsiteY5848"/>
                </a:cxn>
                <a:cxn ang="0">
                  <a:pos x="connsiteX5849" y="connsiteY5849"/>
                </a:cxn>
                <a:cxn ang="0">
                  <a:pos x="connsiteX5850" y="connsiteY5850"/>
                </a:cxn>
                <a:cxn ang="0">
                  <a:pos x="connsiteX5851" y="connsiteY5851"/>
                </a:cxn>
                <a:cxn ang="0">
                  <a:pos x="connsiteX5852" y="connsiteY5852"/>
                </a:cxn>
                <a:cxn ang="0">
                  <a:pos x="connsiteX5853" y="connsiteY5853"/>
                </a:cxn>
                <a:cxn ang="0">
                  <a:pos x="connsiteX5854" y="connsiteY5854"/>
                </a:cxn>
                <a:cxn ang="0">
                  <a:pos x="connsiteX5855" y="connsiteY5855"/>
                </a:cxn>
                <a:cxn ang="0">
                  <a:pos x="connsiteX5856" y="connsiteY5856"/>
                </a:cxn>
                <a:cxn ang="0">
                  <a:pos x="connsiteX5857" y="connsiteY5857"/>
                </a:cxn>
                <a:cxn ang="0">
                  <a:pos x="connsiteX5858" y="connsiteY5858"/>
                </a:cxn>
                <a:cxn ang="0">
                  <a:pos x="connsiteX5859" y="connsiteY5859"/>
                </a:cxn>
                <a:cxn ang="0">
                  <a:pos x="connsiteX5860" y="connsiteY5860"/>
                </a:cxn>
                <a:cxn ang="0">
                  <a:pos x="connsiteX5861" y="connsiteY5861"/>
                </a:cxn>
                <a:cxn ang="0">
                  <a:pos x="connsiteX5862" y="connsiteY5862"/>
                </a:cxn>
                <a:cxn ang="0">
                  <a:pos x="connsiteX5863" y="connsiteY5863"/>
                </a:cxn>
                <a:cxn ang="0">
                  <a:pos x="connsiteX5864" y="connsiteY5864"/>
                </a:cxn>
                <a:cxn ang="0">
                  <a:pos x="connsiteX5865" y="connsiteY5865"/>
                </a:cxn>
                <a:cxn ang="0">
                  <a:pos x="connsiteX5866" y="connsiteY5866"/>
                </a:cxn>
                <a:cxn ang="0">
                  <a:pos x="connsiteX5867" y="connsiteY5867"/>
                </a:cxn>
                <a:cxn ang="0">
                  <a:pos x="connsiteX5868" y="connsiteY5868"/>
                </a:cxn>
                <a:cxn ang="0">
                  <a:pos x="connsiteX5869" y="connsiteY5869"/>
                </a:cxn>
                <a:cxn ang="0">
                  <a:pos x="connsiteX5870" y="connsiteY5870"/>
                </a:cxn>
                <a:cxn ang="0">
                  <a:pos x="connsiteX5871" y="connsiteY5871"/>
                </a:cxn>
                <a:cxn ang="0">
                  <a:pos x="connsiteX5872" y="connsiteY5872"/>
                </a:cxn>
                <a:cxn ang="0">
                  <a:pos x="connsiteX5873" y="connsiteY5873"/>
                </a:cxn>
                <a:cxn ang="0">
                  <a:pos x="connsiteX5874" y="connsiteY5874"/>
                </a:cxn>
                <a:cxn ang="0">
                  <a:pos x="connsiteX5875" y="connsiteY5875"/>
                </a:cxn>
                <a:cxn ang="0">
                  <a:pos x="connsiteX5876" y="connsiteY5876"/>
                </a:cxn>
                <a:cxn ang="0">
                  <a:pos x="connsiteX5877" y="connsiteY5877"/>
                </a:cxn>
                <a:cxn ang="0">
                  <a:pos x="connsiteX5878" y="connsiteY5878"/>
                </a:cxn>
                <a:cxn ang="0">
                  <a:pos x="connsiteX5879" y="connsiteY5879"/>
                </a:cxn>
                <a:cxn ang="0">
                  <a:pos x="connsiteX5880" y="connsiteY5880"/>
                </a:cxn>
                <a:cxn ang="0">
                  <a:pos x="connsiteX5881" y="connsiteY5881"/>
                </a:cxn>
                <a:cxn ang="0">
                  <a:pos x="connsiteX5882" y="connsiteY5882"/>
                </a:cxn>
                <a:cxn ang="0">
                  <a:pos x="connsiteX5883" y="connsiteY5883"/>
                </a:cxn>
                <a:cxn ang="0">
                  <a:pos x="connsiteX5884" y="connsiteY5884"/>
                </a:cxn>
                <a:cxn ang="0">
                  <a:pos x="connsiteX5885" y="connsiteY5885"/>
                </a:cxn>
                <a:cxn ang="0">
                  <a:pos x="connsiteX5886" y="connsiteY5886"/>
                </a:cxn>
                <a:cxn ang="0">
                  <a:pos x="connsiteX5887" y="connsiteY5887"/>
                </a:cxn>
                <a:cxn ang="0">
                  <a:pos x="connsiteX5888" y="connsiteY5888"/>
                </a:cxn>
                <a:cxn ang="0">
                  <a:pos x="connsiteX5889" y="connsiteY5889"/>
                </a:cxn>
                <a:cxn ang="0">
                  <a:pos x="connsiteX5890" y="connsiteY5890"/>
                </a:cxn>
                <a:cxn ang="0">
                  <a:pos x="connsiteX5891" y="connsiteY5891"/>
                </a:cxn>
                <a:cxn ang="0">
                  <a:pos x="connsiteX5892" y="connsiteY5892"/>
                </a:cxn>
                <a:cxn ang="0">
                  <a:pos x="connsiteX5893" y="connsiteY5893"/>
                </a:cxn>
                <a:cxn ang="0">
                  <a:pos x="connsiteX5894" y="connsiteY5894"/>
                </a:cxn>
                <a:cxn ang="0">
                  <a:pos x="connsiteX5895" y="connsiteY5895"/>
                </a:cxn>
                <a:cxn ang="0">
                  <a:pos x="connsiteX5896" y="connsiteY5896"/>
                </a:cxn>
                <a:cxn ang="0">
                  <a:pos x="connsiteX5897" y="connsiteY5897"/>
                </a:cxn>
                <a:cxn ang="0">
                  <a:pos x="connsiteX5898" y="connsiteY5898"/>
                </a:cxn>
                <a:cxn ang="0">
                  <a:pos x="connsiteX5899" y="connsiteY5899"/>
                </a:cxn>
                <a:cxn ang="0">
                  <a:pos x="connsiteX5900" y="connsiteY5900"/>
                </a:cxn>
                <a:cxn ang="0">
                  <a:pos x="connsiteX5901" y="connsiteY5901"/>
                </a:cxn>
                <a:cxn ang="0">
                  <a:pos x="connsiteX5902" y="connsiteY5902"/>
                </a:cxn>
                <a:cxn ang="0">
                  <a:pos x="connsiteX5903" y="connsiteY5903"/>
                </a:cxn>
                <a:cxn ang="0">
                  <a:pos x="connsiteX5904" y="connsiteY5904"/>
                </a:cxn>
                <a:cxn ang="0">
                  <a:pos x="connsiteX5905" y="connsiteY5905"/>
                </a:cxn>
                <a:cxn ang="0">
                  <a:pos x="connsiteX5906" y="connsiteY5906"/>
                </a:cxn>
                <a:cxn ang="0">
                  <a:pos x="connsiteX5907" y="connsiteY5907"/>
                </a:cxn>
                <a:cxn ang="0">
                  <a:pos x="connsiteX5908" y="connsiteY5908"/>
                </a:cxn>
                <a:cxn ang="0">
                  <a:pos x="connsiteX5909" y="connsiteY5909"/>
                </a:cxn>
                <a:cxn ang="0">
                  <a:pos x="connsiteX5910" y="connsiteY5910"/>
                </a:cxn>
                <a:cxn ang="0">
                  <a:pos x="connsiteX5911" y="connsiteY5911"/>
                </a:cxn>
                <a:cxn ang="0">
                  <a:pos x="connsiteX5912" y="connsiteY5912"/>
                </a:cxn>
                <a:cxn ang="0">
                  <a:pos x="connsiteX5913" y="connsiteY5913"/>
                </a:cxn>
                <a:cxn ang="0">
                  <a:pos x="connsiteX5914" y="connsiteY5914"/>
                </a:cxn>
                <a:cxn ang="0">
                  <a:pos x="connsiteX5915" y="connsiteY5915"/>
                </a:cxn>
                <a:cxn ang="0">
                  <a:pos x="connsiteX5916" y="connsiteY5916"/>
                </a:cxn>
                <a:cxn ang="0">
                  <a:pos x="connsiteX5917" y="connsiteY5917"/>
                </a:cxn>
                <a:cxn ang="0">
                  <a:pos x="connsiteX5918" y="connsiteY5918"/>
                </a:cxn>
                <a:cxn ang="0">
                  <a:pos x="connsiteX5919" y="connsiteY5919"/>
                </a:cxn>
                <a:cxn ang="0">
                  <a:pos x="connsiteX5920" y="connsiteY5920"/>
                </a:cxn>
                <a:cxn ang="0">
                  <a:pos x="connsiteX5921" y="connsiteY5921"/>
                </a:cxn>
                <a:cxn ang="0">
                  <a:pos x="connsiteX5922" y="connsiteY5922"/>
                </a:cxn>
                <a:cxn ang="0">
                  <a:pos x="connsiteX5923" y="connsiteY5923"/>
                </a:cxn>
                <a:cxn ang="0">
                  <a:pos x="connsiteX5924" y="connsiteY5924"/>
                </a:cxn>
                <a:cxn ang="0">
                  <a:pos x="connsiteX5925" y="connsiteY5925"/>
                </a:cxn>
                <a:cxn ang="0">
                  <a:pos x="connsiteX5926" y="connsiteY5926"/>
                </a:cxn>
                <a:cxn ang="0">
                  <a:pos x="connsiteX5927" y="connsiteY5927"/>
                </a:cxn>
                <a:cxn ang="0">
                  <a:pos x="connsiteX5928" y="connsiteY5928"/>
                </a:cxn>
                <a:cxn ang="0">
                  <a:pos x="connsiteX5929" y="connsiteY5929"/>
                </a:cxn>
                <a:cxn ang="0">
                  <a:pos x="connsiteX5930" y="connsiteY5930"/>
                </a:cxn>
                <a:cxn ang="0">
                  <a:pos x="connsiteX5931" y="connsiteY5931"/>
                </a:cxn>
                <a:cxn ang="0">
                  <a:pos x="connsiteX5932" y="connsiteY5932"/>
                </a:cxn>
                <a:cxn ang="0">
                  <a:pos x="connsiteX5933" y="connsiteY5933"/>
                </a:cxn>
                <a:cxn ang="0">
                  <a:pos x="connsiteX5934" y="connsiteY5934"/>
                </a:cxn>
                <a:cxn ang="0">
                  <a:pos x="connsiteX5935" y="connsiteY5935"/>
                </a:cxn>
                <a:cxn ang="0">
                  <a:pos x="connsiteX5936" y="connsiteY5936"/>
                </a:cxn>
                <a:cxn ang="0">
                  <a:pos x="connsiteX5937" y="connsiteY5937"/>
                </a:cxn>
                <a:cxn ang="0">
                  <a:pos x="connsiteX5938" y="connsiteY5938"/>
                </a:cxn>
                <a:cxn ang="0">
                  <a:pos x="connsiteX5939" y="connsiteY5939"/>
                </a:cxn>
                <a:cxn ang="0">
                  <a:pos x="connsiteX5940" y="connsiteY5940"/>
                </a:cxn>
                <a:cxn ang="0">
                  <a:pos x="connsiteX5941" y="connsiteY5941"/>
                </a:cxn>
                <a:cxn ang="0">
                  <a:pos x="connsiteX5942" y="connsiteY5942"/>
                </a:cxn>
                <a:cxn ang="0">
                  <a:pos x="connsiteX5943" y="connsiteY5943"/>
                </a:cxn>
                <a:cxn ang="0">
                  <a:pos x="connsiteX5944" y="connsiteY5944"/>
                </a:cxn>
                <a:cxn ang="0">
                  <a:pos x="connsiteX5945" y="connsiteY5945"/>
                </a:cxn>
                <a:cxn ang="0">
                  <a:pos x="connsiteX5946" y="connsiteY5946"/>
                </a:cxn>
                <a:cxn ang="0">
                  <a:pos x="connsiteX5947" y="connsiteY5947"/>
                </a:cxn>
                <a:cxn ang="0">
                  <a:pos x="connsiteX5948" y="connsiteY5948"/>
                </a:cxn>
                <a:cxn ang="0">
                  <a:pos x="connsiteX5949" y="connsiteY5949"/>
                </a:cxn>
                <a:cxn ang="0">
                  <a:pos x="connsiteX5950" y="connsiteY5950"/>
                </a:cxn>
                <a:cxn ang="0">
                  <a:pos x="connsiteX5951" y="connsiteY5951"/>
                </a:cxn>
                <a:cxn ang="0">
                  <a:pos x="connsiteX5952" y="connsiteY5952"/>
                </a:cxn>
                <a:cxn ang="0">
                  <a:pos x="connsiteX5953" y="connsiteY5953"/>
                </a:cxn>
                <a:cxn ang="0">
                  <a:pos x="connsiteX5954" y="connsiteY5954"/>
                </a:cxn>
                <a:cxn ang="0">
                  <a:pos x="connsiteX5955" y="connsiteY5955"/>
                </a:cxn>
                <a:cxn ang="0">
                  <a:pos x="connsiteX5956" y="connsiteY5956"/>
                </a:cxn>
                <a:cxn ang="0">
                  <a:pos x="connsiteX5957" y="connsiteY5957"/>
                </a:cxn>
                <a:cxn ang="0">
                  <a:pos x="connsiteX5958" y="connsiteY5958"/>
                </a:cxn>
                <a:cxn ang="0">
                  <a:pos x="connsiteX5959" y="connsiteY5959"/>
                </a:cxn>
                <a:cxn ang="0">
                  <a:pos x="connsiteX5960" y="connsiteY5960"/>
                </a:cxn>
                <a:cxn ang="0">
                  <a:pos x="connsiteX5961" y="connsiteY5961"/>
                </a:cxn>
                <a:cxn ang="0">
                  <a:pos x="connsiteX5962" y="connsiteY5962"/>
                </a:cxn>
                <a:cxn ang="0">
                  <a:pos x="connsiteX5963" y="connsiteY5963"/>
                </a:cxn>
                <a:cxn ang="0">
                  <a:pos x="connsiteX5964" y="connsiteY5964"/>
                </a:cxn>
                <a:cxn ang="0">
                  <a:pos x="connsiteX5965" y="connsiteY5965"/>
                </a:cxn>
                <a:cxn ang="0">
                  <a:pos x="connsiteX5966" y="connsiteY5966"/>
                </a:cxn>
                <a:cxn ang="0">
                  <a:pos x="connsiteX5967" y="connsiteY5967"/>
                </a:cxn>
                <a:cxn ang="0">
                  <a:pos x="connsiteX5968" y="connsiteY5968"/>
                </a:cxn>
                <a:cxn ang="0">
                  <a:pos x="connsiteX5969" y="connsiteY5969"/>
                </a:cxn>
                <a:cxn ang="0">
                  <a:pos x="connsiteX5970" y="connsiteY5970"/>
                </a:cxn>
                <a:cxn ang="0">
                  <a:pos x="connsiteX5971" y="connsiteY5971"/>
                </a:cxn>
                <a:cxn ang="0">
                  <a:pos x="connsiteX5972" y="connsiteY5972"/>
                </a:cxn>
                <a:cxn ang="0">
                  <a:pos x="connsiteX5973" y="connsiteY5973"/>
                </a:cxn>
                <a:cxn ang="0">
                  <a:pos x="connsiteX5974" y="connsiteY5974"/>
                </a:cxn>
                <a:cxn ang="0">
                  <a:pos x="connsiteX5975" y="connsiteY5975"/>
                </a:cxn>
                <a:cxn ang="0">
                  <a:pos x="connsiteX5976" y="connsiteY5976"/>
                </a:cxn>
                <a:cxn ang="0">
                  <a:pos x="connsiteX5977" y="connsiteY5977"/>
                </a:cxn>
                <a:cxn ang="0">
                  <a:pos x="connsiteX5978" y="connsiteY5978"/>
                </a:cxn>
                <a:cxn ang="0">
                  <a:pos x="connsiteX5979" y="connsiteY5979"/>
                </a:cxn>
                <a:cxn ang="0">
                  <a:pos x="connsiteX5980" y="connsiteY5980"/>
                </a:cxn>
                <a:cxn ang="0">
                  <a:pos x="connsiteX5981" y="connsiteY5981"/>
                </a:cxn>
                <a:cxn ang="0">
                  <a:pos x="connsiteX5982" y="connsiteY5982"/>
                </a:cxn>
                <a:cxn ang="0">
                  <a:pos x="connsiteX5983" y="connsiteY5983"/>
                </a:cxn>
                <a:cxn ang="0">
                  <a:pos x="connsiteX5984" y="connsiteY5984"/>
                </a:cxn>
                <a:cxn ang="0">
                  <a:pos x="connsiteX5985" y="connsiteY5985"/>
                </a:cxn>
                <a:cxn ang="0">
                  <a:pos x="connsiteX5986" y="connsiteY5986"/>
                </a:cxn>
                <a:cxn ang="0">
                  <a:pos x="connsiteX5987" y="connsiteY5987"/>
                </a:cxn>
                <a:cxn ang="0">
                  <a:pos x="connsiteX5988" y="connsiteY5988"/>
                </a:cxn>
                <a:cxn ang="0">
                  <a:pos x="connsiteX5989" y="connsiteY5989"/>
                </a:cxn>
                <a:cxn ang="0">
                  <a:pos x="connsiteX5990" y="connsiteY5990"/>
                </a:cxn>
                <a:cxn ang="0">
                  <a:pos x="connsiteX5991" y="connsiteY5991"/>
                </a:cxn>
                <a:cxn ang="0">
                  <a:pos x="connsiteX5992" y="connsiteY5992"/>
                </a:cxn>
                <a:cxn ang="0">
                  <a:pos x="connsiteX5993" y="connsiteY5993"/>
                </a:cxn>
                <a:cxn ang="0">
                  <a:pos x="connsiteX5994" y="connsiteY5994"/>
                </a:cxn>
                <a:cxn ang="0">
                  <a:pos x="connsiteX5995" y="connsiteY5995"/>
                </a:cxn>
                <a:cxn ang="0">
                  <a:pos x="connsiteX5996" y="connsiteY5996"/>
                </a:cxn>
                <a:cxn ang="0">
                  <a:pos x="connsiteX5997" y="connsiteY5997"/>
                </a:cxn>
                <a:cxn ang="0">
                  <a:pos x="connsiteX5998" y="connsiteY5998"/>
                </a:cxn>
                <a:cxn ang="0">
                  <a:pos x="connsiteX5999" y="connsiteY5999"/>
                </a:cxn>
                <a:cxn ang="0">
                  <a:pos x="connsiteX6000" y="connsiteY6000"/>
                </a:cxn>
                <a:cxn ang="0">
                  <a:pos x="connsiteX6001" y="connsiteY6001"/>
                </a:cxn>
                <a:cxn ang="0">
                  <a:pos x="connsiteX6002" y="connsiteY6002"/>
                </a:cxn>
                <a:cxn ang="0">
                  <a:pos x="connsiteX6003" y="connsiteY6003"/>
                </a:cxn>
                <a:cxn ang="0">
                  <a:pos x="connsiteX6004" y="connsiteY6004"/>
                </a:cxn>
                <a:cxn ang="0">
                  <a:pos x="connsiteX6005" y="connsiteY6005"/>
                </a:cxn>
                <a:cxn ang="0">
                  <a:pos x="connsiteX6006" y="connsiteY6006"/>
                </a:cxn>
                <a:cxn ang="0">
                  <a:pos x="connsiteX6007" y="connsiteY6007"/>
                </a:cxn>
                <a:cxn ang="0">
                  <a:pos x="connsiteX6008" y="connsiteY6008"/>
                </a:cxn>
                <a:cxn ang="0">
                  <a:pos x="connsiteX6009" y="connsiteY6009"/>
                </a:cxn>
                <a:cxn ang="0">
                  <a:pos x="connsiteX6010" y="connsiteY6010"/>
                </a:cxn>
                <a:cxn ang="0">
                  <a:pos x="connsiteX6011" y="connsiteY6011"/>
                </a:cxn>
                <a:cxn ang="0">
                  <a:pos x="connsiteX6012" y="connsiteY6012"/>
                </a:cxn>
                <a:cxn ang="0">
                  <a:pos x="connsiteX6013" y="connsiteY6013"/>
                </a:cxn>
                <a:cxn ang="0">
                  <a:pos x="connsiteX6014" y="connsiteY6014"/>
                </a:cxn>
                <a:cxn ang="0">
                  <a:pos x="connsiteX6015" y="connsiteY6015"/>
                </a:cxn>
                <a:cxn ang="0">
                  <a:pos x="connsiteX6016" y="connsiteY6016"/>
                </a:cxn>
                <a:cxn ang="0">
                  <a:pos x="connsiteX6017" y="connsiteY6017"/>
                </a:cxn>
                <a:cxn ang="0">
                  <a:pos x="connsiteX6018" y="connsiteY6018"/>
                </a:cxn>
                <a:cxn ang="0">
                  <a:pos x="connsiteX6019" y="connsiteY6019"/>
                </a:cxn>
                <a:cxn ang="0">
                  <a:pos x="connsiteX6020" y="connsiteY6020"/>
                </a:cxn>
                <a:cxn ang="0">
                  <a:pos x="connsiteX6021" y="connsiteY6021"/>
                </a:cxn>
                <a:cxn ang="0">
                  <a:pos x="connsiteX6022" y="connsiteY6022"/>
                </a:cxn>
                <a:cxn ang="0">
                  <a:pos x="connsiteX6023" y="connsiteY6023"/>
                </a:cxn>
                <a:cxn ang="0">
                  <a:pos x="connsiteX6024" y="connsiteY6024"/>
                </a:cxn>
                <a:cxn ang="0">
                  <a:pos x="connsiteX6025" y="connsiteY6025"/>
                </a:cxn>
                <a:cxn ang="0">
                  <a:pos x="connsiteX6026" y="connsiteY6026"/>
                </a:cxn>
                <a:cxn ang="0">
                  <a:pos x="connsiteX6027" y="connsiteY6027"/>
                </a:cxn>
                <a:cxn ang="0">
                  <a:pos x="connsiteX6028" y="connsiteY6028"/>
                </a:cxn>
                <a:cxn ang="0">
                  <a:pos x="connsiteX6029" y="connsiteY6029"/>
                </a:cxn>
                <a:cxn ang="0">
                  <a:pos x="connsiteX6030" y="connsiteY6030"/>
                </a:cxn>
                <a:cxn ang="0">
                  <a:pos x="connsiteX6031" y="connsiteY6031"/>
                </a:cxn>
                <a:cxn ang="0">
                  <a:pos x="connsiteX6032" y="connsiteY6032"/>
                </a:cxn>
                <a:cxn ang="0">
                  <a:pos x="connsiteX6033" y="connsiteY6033"/>
                </a:cxn>
                <a:cxn ang="0">
                  <a:pos x="connsiteX6034" y="connsiteY6034"/>
                </a:cxn>
                <a:cxn ang="0">
                  <a:pos x="connsiteX6035" y="connsiteY6035"/>
                </a:cxn>
                <a:cxn ang="0">
                  <a:pos x="connsiteX6036" y="connsiteY6036"/>
                </a:cxn>
                <a:cxn ang="0">
                  <a:pos x="connsiteX6037" y="connsiteY6037"/>
                </a:cxn>
                <a:cxn ang="0">
                  <a:pos x="connsiteX6038" y="connsiteY6038"/>
                </a:cxn>
                <a:cxn ang="0">
                  <a:pos x="connsiteX6039" y="connsiteY6039"/>
                </a:cxn>
                <a:cxn ang="0">
                  <a:pos x="connsiteX6040" y="connsiteY6040"/>
                </a:cxn>
                <a:cxn ang="0">
                  <a:pos x="connsiteX6041" y="connsiteY6041"/>
                </a:cxn>
                <a:cxn ang="0">
                  <a:pos x="connsiteX6042" y="connsiteY6042"/>
                </a:cxn>
                <a:cxn ang="0">
                  <a:pos x="connsiteX6043" y="connsiteY6043"/>
                </a:cxn>
                <a:cxn ang="0">
                  <a:pos x="connsiteX6044" y="connsiteY6044"/>
                </a:cxn>
                <a:cxn ang="0">
                  <a:pos x="connsiteX6045" y="connsiteY6045"/>
                </a:cxn>
                <a:cxn ang="0">
                  <a:pos x="connsiteX6046" y="connsiteY6046"/>
                </a:cxn>
                <a:cxn ang="0">
                  <a:pos x="connsiteX6047" y="connsiteY6047"/>
                </a:cxn>
                <a:cxn ang="0">
                  <a:pos x="connsiteX6048" y="connsiteY6048"/>
                </a:cxn>
                <a:cxn ang="0">
                  <a:pos x="connsiteX6049" y="connsiteY6049"/>
                </a:cxn>
                <a:cxn ang="0">
                  <a:pos x="connsiteX6050" y="connsiteY6050"/>
                </a:cxn>
                <a:cxn ang="0">
                  <a:pos x="connsiteX6051" y="connsiteY6051"/>
                </a:cxn>
                <a:cxn ang="0">
                  <a:pos x="connsiteX6052" y="connsiteY6052"/>
                </a:cxn>
                <a:cxn ang="0">
                  <a:pos x="connsiteX6053" y="connsiteY6053"/>
                </a:cxn>
                <a:cxn ang="0">
                  <a:pos x="connsiteX6054" y="connsiteY6054"/>
                </a:cxn>
                <a:cxn ang="0">
                  <a:pos x="connsiteX6055" y="connsiteY6055"/>
                </a:cxn>
                <a:cxn ang="0">
                  <a:pos x="connsiteX6056" y="connsiteY6056"/>
                </a:cxn>
                <a:cxn ang="0">
                  <a:pos x="connsiteX6057" y="connsiteY6057"/>
                </a:cxn>
                <a:cxn ang="0">
                  <a:pos x="connsiteX6058" y="connsiteY6058"/>
                </a:cxn>
                <a:cxn ang="0">
                  <a:pos x="connsiteX6059" y="connsiteY6059"/>
                </a:cxn>
                <a:cxn ang="0">
                  <a:pos x="connsiteX6060" y="connsiteY6060"/>
                </a:cxn>
                <a:cxn ang="0">
                  <a:pos x="connsiteX6061" y="connsiteY6061"/>
                </a:cxn>
                <a:cxn ang="0">
                  <a:pos x="connsiteX6062" y="connsiteY6062"/>
                </a:cxn>
                <a:cxn ang="0">
                  <a:pos x="connsiteX6063" y="connsiteY6063"/>
                </a:cxn>
                <a:cxn ang="0">
                  <a:pos x="connsiteX6064" y="connsiteY6064"/>
                </a:cxn>
                <a:cxn ang="0">
                  <a:pos x="connsiteX6065" y="connsiteY6065"/>
                </a:cxn>
                <a:cxn ang="0">
                  <a:pos x="connsiteX6066" y="connsiteY6066"/>
                </a:cxn>
                <a:cxn ang="0">
                  <a:pos x="connsiteX6067" y="connsiteY6067"/>
                </a:cxn>
                <a:cxn ang="0">
                  <a:pos x="connsiteX6068" y="connsiteY6068"/>
                </a:cxn>
                <a:cxn ang="0">
                  <a:pos x="connsiteX6069" y="connsiteY6069"/>
                </a:cxn>
                <a:cxn ang="0">
                  <a:pos x="connsiteX6070" y="connsiteY6070"/>
                </a:cxn>
                <a:cxn ang="0">
                  <a:pos x="connsiteX6071" y="connsiteY6071"/>
                </a:cxn>
                <a:cxn ang="0">
                  <a:pos x="connsiteX6072" y="connsiteY6072"/>
                </a:cxn>
                <a:cxn ang="0">
                  <a:pos x="connsiteX6073" y="connsiteY6073"/>
                </a:cxn>
                <a:cxn ang="0">
                  <a:pos x="connsiteX6074" y="connsiteY6074"/>
                </a:cxn>
                <a:cxn ang="0">
                  <a:pos x="connsiteX6075" y="connsiteY6075"/>
                </a:cxn>
                <a:cxn ang="0">
                  <a:pos x="connsiteX6076" y="connsiteY6076"/>
                </a:cxn>
                <a:cxn ang="0">
                  <a:pos x="connsiteX6077" y="connsiteY6077"/>
                </a:cxn>
                <a:cxn ang="0">
                  <a:pos x="connsiteX6078" y="connsiteY6078"/>
                </a:cxn>
                <a:cxn ang="0">
                  <a:pos x="connsiteX6079" y="connsiteY6079"/>
                </a:cxn>
                <a:cxn ang="0">
                  <a:pos x="connsiteX6080" y="connsiteY6080"/>
                </a:cxn>
                <a:cxn ang="0">
                  <a:pos x="connsiteX6081" y="connsiteY6081"/>
                </a:cxn>
                <a:cxn ang="0">
                  <a:pos x="connsiteX6082" y="connsiteY6082"/>
                </a:cxn>
                <a:cxn ang="0">
                  <a:pos x="connsiteX6083" y="connsiteY6083"/>
                </a:cxn>
                <a:cxn ang="0">
                  <a:pos x="connsiteX6084" y="connsiteY6084"/>
                </a:cxn>
                <a:cxn ang="0">
                  <a:pos x="connsiteX6085" y="connsiteY6085"/>
                </a:cxn>
                <a:cxn ang="0">
                  <a:pos x="connsiteX6086" y="connsiteY6086"/>
                </a:cxn>
                <a:cxn ang="0">
                  <a:pos x="connsiteX6087" y="connsiteY6087"/>
                </a:cxn>
                <a:cxn ang="0">
                  <a:pos x="connsiteX6088" y="connsiteY6088"/>
                </a:cxn>
                <a:cxn ang="0">
                  <a:pos x="connsiteX6089" y="connsiteY6089"/>
                </a:cxn>
                <a:cxn ang="0">
                  <a:pos x="connsiteX6090" y="connsiteY6090"/>
                </a:cxn>
                <a:cxn ang="0">
                  <a:pos x="connsiteX6091" y="connsiteY6091"/>
                </a:cxn>
                <a:cxn ang="0">
                  <a:pos x="connsiteX6092" y="connsiteY6092"/>
                </a:cxn>
                <a:cxn ang="0">
                  <a:pos x="connsiteX6093" y="connsiteY6093"/>
                </a:cxn>
                <a:cxn ang="0">
                  <a:pos x="connsiteX6094" y="connsiteY6094"/>
                </a:cxn>
                <a:cxn ang="0">
                  <a:pos x="connsiteX6095" y="connsiteY6095"/>
                </a:cxn>
                <a:cxn ang="0">
                  <a:pos x="connsiteX6096" y="connsiteY6096"/>
                </a:cxn>
                <a:cxn ang="0">
                  <a:pos x="connsiteX6097" y="connsiteY6097"/>
                </a:cxn>
                <a:cxn ang="0">
                  <a:pos x="connsiteX6098" y="connsiteY6098"/>
                </a:cxn>
                <a:cxn ang="0">
                  <a:pos x="connsiteX6099" y="connsiteY6099"/>
                </a:cxn>
                <a:cxn ang="0">
                  <a:pos x="connsiteX6100" y="connsiteY6100"/>
                </a:cxn>
                <a:cxn ang="0">
                  <a:pos x="connsiteX6101" y="connsiteY6101"/>
                </a:cxn>
                <a:cxn ang="0">
                  <a:pos x="connsiteX6102" y="connsiteY6102"/>
                </a:cxn>
                <a:cxn ang="0">
                  <a:pos x="connsiteX6103" y="connsiteY6103"/>
                </a:cxn>
                <a:cxn ang="0">
                  <a:pos x="connsiteX6104" y="connsiteY6104"/>
                </a:cxn>
                <a:cxn ang="0">
                  <a:pos x="connsiteX6105" y="connsiteY6105"/>
                </a:cxn>
                <a:cxn ang="0">
                  <a:pos x="connsiteX6106" y="connsiteY6106"/>
                </a:cxn>
                <a:cxn ang="0">
                  <a:pos x="connsiteX6107" y="connsiteY6107"/>
                </a:cxn>
                <a:cxn ang="0">
                  <a:pos x="connsiteX6108" y="connsiteY6108"/>
                </a:cxn>
                <a:cxn ang="0">
                  <a:pos x="connsiteX6109" y="connsiteY6109"/>
                </a:cxn>
                <a:cxn ang="0">
                  <a:pos x="connsiteX6110" y="connsiteY6110"/>
                </a:cxn>
                <a:cxn ang="0">
                  <a:pos x="connsiteX6111" y="connsiteY6111"/>
                </a:cxn>
                <a:cxn ang="0">
                  <a:pos x="connsiteX6112" y="connsiteY6112"/>
                </a:cxn>
                <a:cxn ang="0">
                  <a:pos x="connsiteX6113" y="connsiteY6113"/>
                </a:cxn>
                <a:cxn ang="0">
                  <a:pos x="connsiteX6114" y="connsiteY6114"/>
                </a:cxn>
                <a:cxn ang="0">
                  <a:pos x="connsiteX6115" y="connsiteY6115"/>
                </a:cxn>
                <a:cxn ang="0">
                  <a:pos x="connsiteX6116" y="connsiteY6116"/>
                </a:cxn>
                <a:cxn ang="0">
                  <a:pos x="connsiteX6117" y="connsiteY6117"/>
                </a:cxn>
                <a:cxn ang="0">
                  <a:pos x="connsiteX6118" y="connsiteY6118"/>
                </a:cxn>
                <a:cxn ang="0">
                  <a:pos x="connsiteX6119" y="connsiteY6119"/>
                </a:cxn>
                <a:cxn ang="0">
                  <a:pos x="connsiteX6120" y="connsiteY6120"/>
                </a:cxn>
                <a:cxn ang="0">
                  <a:pos x="connsiteX6121" y="connsiteY6121"/>
                </a:cxn>
                <a:cxn ang="0">
                  <a:pos x="connsiteX6122" y="connsiteY6122"/>
                </a:cxn>
                <a:cxn ang="0">
                  <a:pos x="connsiteX6123" y="connsiteY6123"/>
                </a:cxn>
                <a:cxn ang="0">
                  <a:pos x="connsiteX6124" y="connsiteY6124"/>
                </a:cxn>
                <a:cxn ang="0">
                  <a:pos x="connsiteX6125" y="connsiteY6125"/>
                </a:cxn>
                <a:cxn ang="0">
                  <a:pos x="connsiteX6126" y="connsiteY6126"/>
                </a:cxn>
                <a:cxn ang="0">
                  <a:pos x="connsiteX6127" y="connsiteY6127"/>
                </a:cxn>
                <a:cxn ang="0">
                  <a:pos x="connsiteX6128" y="connsiteY6128"/>
                </a:cxn>
                <a:cxn ang="0">
                  <a:pos x="connsiteX6129" y="connsiteY6129"/>
                </a:cxn>
                <a:cxn ang="0">
                  <a:pos x="connsiteX6130" y="connsiteY6130"/>
                </a:cxn>
                <a:cxn ang="0">
                  <a:pos x="connsiteX6131" y="connsiteY6131"/>
                </a:cxn>
                <a:cxn ang="0">
                  <a:pos x="connsiteX6132" y="connsiteY6132"/>
                </a:cxn>
                <a:cxn ang="0">
                  <a:pos x="connsiteX6133" y="connsiteY6133"/>
                </a:cxn>
                <a:cxn ang="0">
                  <a:pos x="connsiteX6134" y="connsiteY6134"/>
                </a:cxn>
                <a:cxn ang="0">
                  <a:pos x="connsiteX6135" y="connsiteY6135"/>
                </a:cxn>
                <a:cxn ang="0">
                  <a:pos x="connsiteX6136" y="connsiteY6136"/>
                </a:cxn>
                <a:cxn ang="0">
                  <a:pos x="connsiteX6137" y="connsiteY6137"/>
                </a:cxn>
                <a:cxn ang="0">
                  <a:pos x="connsiteX6138" y="connsiteY6138"/>
                </a:cxn>
                <a:cxn ang="0">
                  <a:pos x="connsiteX6139" y="connsiteY6139"/>
                </a:cxn>
                <a:cxn ang="0">
                  <a:pos x="connsiteX6140" y="connsiteY6140"/>
                </a:cxn>
                <a:cxn ang="0">
                  <a:pos x="connsiteX6141" y="connsiteY6141"/>
                </a:cxn>
                <a:cxn ang="0">
                  <a:pos x="connsiteX6142" y="connsiteY6142"/>
                </a:cxn>
                <a:cxn ang="0">
                  <a:pos x="connsiteX6143" y="connsiteY6143"/>
                </a:cxn>
                <a:cxn ang="0">
                  <a:pos x="connsiteX6144" y="connsiteY6144"/>
                </a:cxn>
                <a:cxn ang="0">
                  <a:pos x="connsiteX6145" y="connsiteY6145"/>
                </a:cxn>
                <a:cxn ang="0">
                  <a:pos x="connsiteX6146" y="connsiteY6146"/>
                </a:cxn>
                <a:cxn ang="0">
                  <a:pos x="connsiteX6147" y="connsiteY6147"/>
                </a:cxn>
                <a:cxn ang="0">
                  <a:pos x="connsiteX6148" y="connsiteY6148"/>
                </a:cxn>
                <a:cxn ang="0">
                  <a:pos x="connsiteX6149" y="connsiteY6149"/>
                </a:cxn>
                <a:cxn ang="0">
                  <a:pos x="connsiteX6150" y="connsiteY6150"/>
                </a:cxn>
                <a:cxn ang="0">
                  <a:pos x="connsiteX6151" y="connsiteY6151"/>
                </a:cxn>
                <a:cxn ang="0">
                  <a:pos x="connsiteX6152" y="connsiteY6152"/>
                </a:cxn>
                <a:cxn ang="0">
                  <a:pos x="connsiteX6153" y="connsiteY6153"/>
                </a:cxn>
                <a:cxn ang="0">
                  <a:pos x="connsiteX6154" y="connsiteY6154"/>
                </a:cxn>
                <a:cxn ang="0">
                  <a:pos x="connsiteX6155" y="connsiteY6155"/>
                </a:cxn>
                <a:cxn ang="0">
                  <a:pos x="connsiteX6156" y="connsiteY6156"/>
                </a:cxn>
                <a:cxn ang="0">
                  <a:pos x="connsiteX6157" y="connsiteY6157"/>
                </a:cxn>
                <a:cxn ang="0">
                  <a:pos x="connsiteX6158" y="connsiteY6158"/>
                </a:cxn>
                <a:cxn ang="0">
                  <a:pos x="connsiteX6159" y="connsiteY6159"/>
                </a:cxn>
                <a:cxn ang="0">
                  <a:pos x="connsiteX6160" y="connsiteY6160"/>
                </a:cxn>
                <a:cxn ang="0">
                  <a:pos x="connsiteX6161" y="connsiteY6161"/>
                </a:cxn>
                <a:cxn ang="0">
                  <a:pos x="connsiteX6162" y="connsiteY6162"/>
                </a:cxn>
                <a:cxn ang="0">
                  <a:pos x="connsiteX6163" y="connsiteY6163"/>
                </a:cxn>
                <a:cxn ang="0">
                  <a:pos x="connsiteX6164" y="connsiteY6164"/>
                </a:cxn>
                <a:cxn ang="0">
                  <a:pos x="connsiteX6165" y="connsiteY6165"/>
                </a:cxn>
                <a:cxn ang="0">
                  <a:pos x="connsiteX6166" y="connsiteY6166"/>
                </a:cxn>
                <a:cxn ang="0">
                  <a:pos x="connsiteX6167" y="connsiteY6167"/>
                </a:cxn>
                <a:cxn ang="0">
                  <a:pos x="connsiteX6168" y="connsiteY6168"/>
                </a:cxn>
                <a:cxn ang="0">
                  <a:pos x="connsiteX6169" y="connsiteY6169"/>
                </a:cxn>
                <a:cxn ang="0">
                  <a:pos x="connsiteX6170" y="connsiteY6170"/>
                </a:cxn>
                <a:cxn ang="0">
                  <a:pos x="connsiteX6171" y="connsiteY6171"/>
                </a:cxn>
                <a:cxn ang="0">
                  <a:pos x="connsiteX6172" y="connsiteY6172"/>
                </a:cxn>
                <a:cxn ang="0">
                  <a:pos x="connsiteX6173" y="connsiteY6173"/>
                </a:cxn>
                <a:cxn ang="0">
                  <a:pos x="connsiteX6174" y="connsiteY6174"/>
                </a:cxn>
                <a:cxn ang="0">
                  <a:pos x="connsiteX6175" y="connsiteY6175"/>
                </a:cxn>
                <a:cxn ang="0">
                  <a:pos x="connsiteX6176" y="connsiteY6176"/>
                </a:cxn>
                <a:cxn ang="0">
                  <a:pos x="connsiteX6177" y="connsiteY6177"/>
                </a:cxn>
                <a:cxn ang="0">
                  <a:pos x="connsiteX6178" y="connsiteY6178"/>
                </a:cxn>
                <a:cxn ang="0">
                  <a:pos x="connsiteX6179" y="connsiteY6179"/>
                </a:cxn>
                <a:cxn ang="0">
                  <a:pos x="connsiteX6180" y="connsiteY6180"/>
                </a:cxn>
                <a:cxn ang="0">
                  <a:pos x="connsiteX6181" y="connsiteY6181"/>
                </a:cxn>
                <a:cxn ang="0">
                  <a:pos x="connsiteX6182" y="connsiteY6182"/>
                </a:cxn>
                <a:cxn ang="0">
                  <a:pos x="connsiteX6183" y="connsiteY6183"/>
                </a:cxn>
                <a:cxn ang="0">
                  <a:pos x="connsiteX6184" y="connsiteY6184"/>
                </a:cxn>
                <a:cxn ang="0">
                  <a:pos x="connsiteX6185" y="connsiteY6185"/>
                </a:cxn>
                <a:cxn ang="0">
                  <a:pos x="connsiteX6186" y="connsiteY6186"/>
                </a:cxn>
                <a:cxn ang="0">
                  <a:pos x="connsiteX6187" y="connsiteY6187"/>
                </a:cxn>
                <a:cxn ang="0">
                  <a:pos x="connsiteX6188" y="connsiteY6188"/>
                </a:cxn>
                <a:cxn ang="0">
                  <a:pos x="connsiteX6189" y="connsiteY6189"/>
                </a:cxn>
                <a:cxn ang="0">
                  <a:pos x="connsiteX6190" y="connsiteY6190"/>
                </a:cxn>
                <a:cxn ang="0">
                  <a:pos x="connsiteX6191" y="connsiteY6191"/>
                </a:cxn>
                <a:cxn ang="0">
                  <a:pos x="connsiteX6192" y="connsiteY6192"/>
                </a:cxn>
                <a:cxn ang="0">
                  <a:pos x="connsiteX6193" y="connsiteY6193"/>
                </a:cxn>
                <a:cxn ang="0">
                  <a:pos x="connsiteX6194" y="connsiteY6194"/>
                </a:cxn>
                <a:cxn ang="0">
                  <a:pos x="connsiteX6195" y="connsiteY6195"/>
                </a:cxn>
                <a:cxn ang="0">
                  <a:pos x="connsiteX6196" y="connsiteY6196"/>
                </a:cxn>
                <a:cxn ang="0">
                  <a:pos x="connsiteX6197" y="connsiteY6197"/>
                </a:cxn>
                <a:cxn ang="0">
                  <a:pos x="connsiteX6198" y="connsiteY6198"/>
                </a:cxn>
                <a:cxn ang="0">
                  <a:pos x="connsiteX6199" y="connsiteY6199"/>
                </a:cxn>
                <a:cxn ang="0">
                  <a:pos x="connsiteX6200" y="connsiteY6200"/>
                </a:cxn>
                <a:cxn ang="0">
                  <a:pos x="connsiteX6201" y="connsiteY6201"/>
                </a:cxn>
                <a:cxn ang="0">
                  <a:pos x="connsiteX6202" y="connsiteY6202"/>
                </a:cxn>
                <a:cxn ang="0">
                  <a:pos x="connsiteX6203" y="connsiteY6203"/>
                </a:cxn>
                <a:cxn ang="0">
                  <a:pos x="connsiteX6204" y="connsiteY6204"/>
                </a:cxn>
                <a:cxn ang="0">
                  <a:pos x="connsiteX6205" y="connsiteY6205"/>
                </a:cxn>
                <a:cxn ang="0">
                  <a:pos x="connsiteX6206" y="connsiteY6206"/>
                </a:cxn>
                <a:cxn ang="0">
                  <a:pos x="connsiteX6207" y="connsiteY6207"/>
                </a:cxn>
                <a:cxn ang="0">
                  <a:pos x="connsiteX6208" y="connsiteY6208"/>
                </a:cxn>
                <a:cxn ang="0">
                  <a:pos x="connsiteX6209" y="connsiteY6209"/>
                </a:cxn>
                <a:cxn ang="0">
                  <a:pos x="connsiteX6210" y="connsiteY6210"/>
                </a:cxn>
                <a:cxn ang="0">
                  <a:pos x="connsiteX6211" y="connsiteY6211"/>
                </a:cxn>
                <a:cxn ang="0">
                  <a:pos x="connsiteX6212" y="connsiteY6212"/>
                </a:cxn>
                <a:cxn ang="0">
                  <a:pos x="connsiteX6213" y="connsiteY6213"/>
                </a:cxn>
                <a:cxn ang="0">
                  <a:pos x="connsiteX6214" y="connsiteY6214"/>
                </a:cxn>
                <a:cxn ang="0">
                  <a:pos x="connsiteX6215" y="connsiteY6215"/>
                </a:cxn>
                <a:cxn ang="0">
                  <a:pos x="connsiteX6216" y="connsiteY6216"/>
                </a:cxn>
                <a:cxn ang="0">
                  <a:pos x="connsiteX6217" y="connsiteY6217"/>
                </a:cxn>
                <a:cxn ang="0">
                  <a:pos x="connsiteX6218" y="connsiteY6218"/>
                </a:cxn>
                <a:cxn ang="0">
                  <a:pos x="connsiteX6219" y="connsiteY6219"/>
                </a:cxn>
                <a:cxn ang="0">
                  <a:pos x="connsiteX6220" y="connsiteY6220"/>
                </a:cxn>
                <a:cxn ang="0">
                  <a:pos x="connsiteX6221" y="connsiteY6221"/>
                </a:cxn>
                <a:cxn ang="0">
                  <a:pos x="connsiteX6222" y="connsiteY6222"/>
                </a:cxn>
                <a:cxn ang="0">
                  <a:pos x="connsiteX6223" y="connsiteY6223"/>
                </a:cxn>
                <a:cxn ang="0">
                  <a:pos x="connsiteX6224" y="connsiteY6224"/>
                </a:cxn>
                <a:cxn ang="0">
                  <a:pos x="connsiteX6225" y="connsiteY6225"/>
                </a:cxn>
                <a:cxn ang="0">
                  <a:pos x="connsiteX6226" y="connsiteY6226"/>
                </a:cxn>
                <a:cxn ang="0">
                  <a:pos x="connsiteX6227" y="connsiteY6227"/>
                </a:cxn>
                <a:cxn ang="0">
                  <a:pos x="connsiteX6228" y="connsiteY6228"/>
                </a:cxn>
                <a:cxn ang="0">
                  <a:pos x="connsiteX6229" y="connsiteY6229"/>
                </a:cxn>
                <a:cxn ang="0">
                  <a:pos x="connsiteX6230" y="connsiteY6230"/>
                </a:cxn>
                <a:cxn ang="0">
                  <a:pos x="connsiteX6231" y="connsiteY6231"/>
                </a:cxn>
                <a:cxn ang="0">
                  <a:pos x="connsiteX6232" y="connsiteY6232"/>
                </a:cxn>
                <a:cxn ang="0">
                  <a:pos x="connsiteX6233" y="connsiteY6233"/>
                </a:cxn>
                <a:cxn ang="0">
                  <a:pos x="connsiteX6234" y="connsiteY6234"/>
                </a:cxn>
                <a:cxn ang="0">
                  <a:pos x="connsiteX6235" y="connsiteY6235"/>
                </a:cxn>
                <a:cxn ang="0">
                  <a:pos x="connsiteX6236" y="connsiteY6236"/>
                </a:cxn>
                <a:cxn ang="0">
                  <a:pos x="connsiteX6237" y="connsiteY6237"/>
                </a:cxn>
                <a:cxn ang="0">
                  <a:pos x="connsiteX6238" y="connsiteY6238"/>
                </a:cxn>
                <a:cxn ang="0">
                  <a:pos x="connsiteX6239" y="connsiteY6239"/>
                </a:cxn>
                <a:cxn ang="0">
                  <a:pos x="connsiteX6240" y="connsiteY6240"/>
                </a:cxn>
                <a:cxn ang="0">
                  <a:pos x="connsiteX6241" y="connsiteY6241"/>
                </a:cxn>
                <a:cxn ang="0">
                  <a:pos x="connsiteX6242" y="connsiteY6242"/>
                </a:cxn>
                <a:cxn ang="0">
                  <a:pos x="connsiteX6243" y="connsiteY6243"/>
                </a:cxn>
                <a:cxn ang="0">
                  <a:pos x="connsiteX6244" y="connsiteY6244"/>
                </a:cxn>
                <a:cxn ang="0">
                  <a:pos x="connsiteX6245" y="connsiteY6245"/>
                </a:cxn>
                <a:cxn ang="0">
                  <a:pos x="connsiteX6246" y="connsiteY6246"/>
                </a:cxn>
                <a:cxn ang="0">
                  <a:pos x="connsiteX6247" y="connsiteY6247"/>
                </a:cxn>
                <a:cxn ang="0">
                  <a:pos x="connsiteX6248" y="connsiteY6248"/>
                </a:cxn>
                <a:cxn ang="0">
                  <a:pos x="connsiteX6249" y="connsiteY6249"/>
                </a:cxn>
                <a:cxn ang="0">
                  <a:pos x="connsiteX6250" y="connsiteY6250"/>
                </a:cxn>
                <a:cxn ang="0">
                  <a:pos x="connsiteX6251" y="connsiteY6251"/>
                </a:cxn>
                <a:cxn ang="0">
                  <a:pos x="connsiteX6252" y="connsiteY6252"/>
                </a:cxn>
                <a:cxn ang="0">
                  <a:pos x="connsiteX6253" y="connsiteY6253"/>
                </a:cxn>
                <a:cxn ang="0">
                  <a:pos x="connsiteX6254" y="connsiteY6254"/>
                </a:cxn>
                <a:cxn ang="0">
                  <a:pos x="connsiteX6255" y="connsiteY6255"/>
                </a:cxn>
                <a:cxn ang="0">
                  <a:pos x="connsiteX6256" y="connsiteY6256"/>
                </a:cxn>
                <a:cxn ang="0">
                  <a:pos x="connsiteX6257" y="connsiteY6257"/>
                </a:cxn>
                <a:cxn ang="0">
                  <a:pos x="connsiteX6258" y="connsiteY6258"/>
                </a:cxn>
                <a:cxn ang="0">
                  <a:pos x="connsiteX6259" y="connsiteY6259"/>
                </a:cxn>
                <a:cxn ang="0">
                  <a:pos x="connsiteX6260" y="connsiteY6260"/>
                </a:cxn>
                <a:cxn ang="0">
                  <a:pos x="connsiteX6261" y="connsiteY6261"/>
                </a:cxn>
                <a:cxn ang="0">
                  <a:pos x="connsiteX6262" y="connsiteY6262"/>
                </a:cxn>
                <a:cxn ang="0">
                  <a:pos x="connsiteX6263" y="connsiteY6263"/>
                </a:cxn>
                <a:cxn ang="0">
                  <a:pos x="connsiteX6264" y="connsiteY6264"/>
                </a:cxn>
                <a:cxn ang="0">
                  <a:pos x="connsiteX6265" y="connsiteY6265"/>
                </a:cxn>
                <a:cxn ang="0">
                  <a:pos x="connsiteX6266" y="connsiteY6266"/>
                </a:cxn>
                <a:cxn ang="0">
                  <a:pos x="connsiteX6267" y="connsiteY6267"/>
                </a:cxn>
                <a:cxn ang="0">
                  <a:pos x="connsiteX6268" y="connsiteY6268"/>
                </a:cxn>
                <a:cxn ang="0">
                  <a:pos x="connsiteX6269" y="connsiteY6269"/>
                </a:cxn>
                <a:cxn ang="0">
                  <a:pos x="connsiteX6270" y="connsiteY6270"/>
                </a:cxn>
                <a:cxn ang="0">
                  <a:pos x="connsiteX6271" y="connsiteY6271"/>
                </a:cxn>
                <a:cxn ang="0">
                  <a:pos x="connsiteX6272" y="connsiteY6272"/>
                </a:cxn>
                <a:cxn ang="0">
                  <a:pos x="connsiteX6273" y="connsiteY6273"/>
                </a:cxn>
                <a:cxn ang="0">
                  <a:pos x="connsiteX6274" y="connsiteY6274"/>
                </a:cxn>
                <a:cxn ang="0">
                  <a:pos x="connsiteX6275" y="connsiteY6275"/>
                </a:cxn>
                <a:cxn ang="0">
                  <a:pos x="connsiteX6276" y="connsiteY6276"/>
                </a:cxn>
                <a:cxn ang="0">
                  <a:pos x="connsiteX6277" y="connsiteY6277"/>
                </a:cxn>
                <a:cxn ang="0">
                  <a:pos x="connsiteX6278" y="connsiteY6278"/>
                </a:cxn>
                <a:cxn ang="0">
                  <a:pos x="connsiteX6279" y="connsiteY6279"/>
                </a:cxn>
                <a:cxn ang="0">
                  <a:pos x="connsiteX6280" y="connsiteY6280"/>
                </a:cxn>
                <a:cxn ang="0">
                  <a:pos x="connsiteX6281" y="connsiteY6281"/>
                </a:cxn>
                <a:cxn ang="0">
                  <a:pos x="connsiteX6282" y="connsiteY6282"/>
                </a:cxn>
                <a:cxn ang="0">
                  <a:pos x="connsiteX6283" y="connsiteY6283"/>
                </a:cxn>
                <a:cxn ang="0">
                  <a:pos x="connsiteX6284" y="connsiteY6284"/>
                </a:cxn>
                <a:cxn ang="0">
                  <a:pos x="connsiteX6285" y="connsiteY6285"/>
                </a:cxn>
                <a:cxn ang="0">
                  <a:pos x="connsiteX6286" y="connsiteY6286"/>
                </a:cxn>
                <a:cxn ang="0">
                  <a:pos x="connsiteX6287" y="connsiteY6287"/>
                </a:cxn>
                <a:cxn ang="0">
                  <a:pos x="connsiteX6288" y="connsiteY6288"/>
                </a:cxn>
                <a:cxn ang="0">
                  <a:pos x="connsiteX6289" y="connsiteY6289"/>
                </a:cxn>
                <a:cxn ang="0">
                  <a:pos x="connsiteX6290" y="connsiteY6290"/>
                </a:cxn>
                <a:cxn ang="0">
                  <a:pos x="connsiteX6291" y="connsiteY6291"/>
                </a:cxn>
                <a:cxn ang="0">
                  <a:pos x="connsiteX6292" y="connsiteY6292"/>
                </a:cxn>
                <a:cxn ang="0">
                  <a:pos x="connsiteX6293" y="connsiteY6293"/>
                </a:cxn>
                <a:cxn ang="0">
                  <a:pos x="connsiteX6294" y="connsiteY6294"/>
                </a:cxn>
                <a:cxn ang="0">
                  <a:pos x="connsiteX6295" y="connsiteY6295"/>
                </a:cxn>
                <a:cxn ang="0">
                  <a:pos x="connsiteX6296" y="connsiteY6296"/>
                </a:cxn>
                <a:cxn ang="0">
                  <a:pos x="connsiteX6297" y="connsiteY6297"/>
                </a:cxn>
                <a:cxn ang="0">
                  <a:pos x="connsiteX6298" y="connsiteY6298"/>
                </a:cxn>
                <a:cxn ang="0">
                  <a:pos x="connsiteX6299" y="connsiteY6299"/>
                </a:cxn>
                <a:cxn ang="0">
                  <a:pos x="connsiteX6300" y="connsiteY6300"/>
                </a:cxn>
                <a:cxn ang="0">
                  <a:pos x="connsiteX6301" y="connsiteY6301"/>
                </a:cxn>
                <a:cxn ang="0">
                  <a:pos x="connsiteX6302" y="connsiteY6302"/>
                </a:cxn>
                <a:cxn ang="0">
                  <a:pos x="connsiteX6303" y="connsiteY6303"/>
                </a:cxn>
                <a:cxn ang="0">
                  <a:pos x="connsiteX6304" y="connsiteY6304"/>
                </a:cxn>
                <a:cxn ang="0">
                  <a:pos x="connsiteX6305" y="connsiteY6305"/>
                </a:cxn>
                <a:cxn ang="0">
                  <a:pos x="connsiteX6306" y="connsiteY6306"/>
                </a:cxn>
                <a:cxn ang="0">
                  <a:pos x="connsiteX6307" y="connsiteY6307"/>
                </a:cxn>
                <a:cxn ang="0">
                  <a:pos x="connsiteX6308" y="connsiteY6308"/>
                </a:cxn>
                <a:cxn ang="0">
                  <a:pos x="connsiteX6309" y="connsiteY6309"/>
                </a:cxn>
                <a:cxn ang="0">
                  <a:pos x="connsiteX6310" y="connsiteY6310"/>
                </a:cxn>
                <a:cxn ang="0">
                  <a:pos x="connsiteX6311" y="connsiteY6311"/>
                </a:cxn>
                <a:cxn ang="0">
                  <a:pos x="connsiteX6312" y="connsiteY6312"/>
                </a:cxn>
                <a:cxn ang="0">
                  <a:pos x="connsiteX6313" y="connsiteY6313"/>
                </a:cxn>
                <a:cxn ang="0">
                  <a:pos x="connsiteX6314" y="connsiteY6314"/>
                </a:cxn>
                <a:cxn ang="0">
                  <a:pos x="connsiteX6315" y="connsiteY6315"/>
                </a:cxn>
                <a:cxn ang="0">
                  <a:pos x="connsiteX6316" y="connsiteY6316"/>
                </a:cxn>
                <a:cxn ang="0">
                  <a:pos x="connsiteX6317" y="connsiteY6317"/>
                </a:cxn>
                <a:cxn ang="0">
                  <a:pos x="connsiteX6318" y="connsiteY6318"/>
                </a:cxn>
                <a:cxn ang="0">
                  <a:pos x="connsiteX6319" y="connsiteY6319"/>
                </a:cxn>
                <a:cxn ang="0">
                  <a:pos x="connsiteX6320" y="connsiteY6320"/>
                </a:cxn>
                <a:cxn ang="0">
                  <a:pos x="connsiteX6321" y="connsiteY6321"/>
                </a:cxn>
                <a:cxn ang="0">
                  <a:pos x="connsiteX6322" y="connsiteY6322"/>
                </a:cxn>
                <a:cxn ang="0">
                  <a:pos x="connsiteX6323" y="connsiteY6323"/>
                </a:cxn>
                <a:cxn ang="0">
                  <a:pos x="connsiteX6324" y="connsiteY6324"/>
                </a:cxn>
                <a:cxn ang="0">
                  <a:pos x="connsiteX6325" y="connsiteY6325"/>
                </a:cxn>
                <a:cxn ang="0">
                  <a:pos x="connsiteX6326" y="connsiteY6326"/>
                </a:cxn>
                <a:cxn ang="0">
                  <a:pos x="connsiteX6327" y="connsiteY6327"/>
                </a:cxn>
                <a:cxn ang="0">
                  <a:pos x="connsiteX6328" y="connsiteY6328"/>
                </a:cxn>
                <a:cxn ang="0">
                  <a:pos x="connsiteX6329" y="connsiteY6329"/>
                </a:cxn>
                <a:cxn ang="0">
                  <a:pos x="connsiteX6330" y="connsiteY6330"/>
                </a:cxn>
                <a:cxn ang="0">
                  <a:pos x="connsiteX6331" y="connsiteY6331"/>
                </a:cxn>
                <a:cxn ang="0">
                  <a:pos x="connsiteX6332" y="connsiteY6332"/>
                </a:cxn>
                <a:cxn ang="0">
                  <a:pos x="connsiteX6333" y="connsiteY6333"/>
                </a:cxn>
                <a:cxn ang="0">
                  <a:pos x="connsiteX6334" y="connsiteY6334"/>
                </a:cxn>
                <a:cxn ang="0">
                  <a:pos x="connsiteX6335" y="connsiteY6335"/>
                </a:cxn>
                <a:cxn ang="0">
                  <a:pos x="connsiteX6336" y="connsiteY6336"/>
                </a:cxn>
                <a:cxn ang="0">
                  <a:pos x="connsiteX6337" y="connsiteY6337"/>
                </a:cxn>
                <a:cxn ang="0">
                  <a:pos x="connsiteX6338" y="connsiteY6338"/>
                </a:cxn>
                <a:cxn ang="0">
                  <a:pos x="connsiteX6339" y="connsiteY6339"/>
                </a:cxn>
                <a:cxn ang="0">
                  <a:pos x="connsiteX6340" y="connsiteY6340"/>
                </a:cxn>
                <a:cxn ang="0">
                  <a:pos x="connsiteX6341" y="connsiteY6341"/>
                </a:cxn>
                <a:cxn ang="0">
                  <a:pos x="connsiteX6342" y="connsiteY6342"/>
                </a:cxn>
                <a:cxn ang="0">
                  <a:pos x="connsiteX6343" y="connsiteY6343"/>
                </a:cxn>
                <a:cxn ang="0">
                  <a:pos x="connsiteX6344" y="connsiteY6344"/>
                </a:cxn>
                <a:cxn ang="0">
                  <a:pos x="connsiteX6345" y="connsiteY6345"/>
                </a:cxn>
                <a:cxn ang="0">
                  <a:pos x="connsiteX6346" y="connsiteY6346"/>
                </a:cxn>
                <a:cxn ang="0">
                  <a:pos x="connsiteX6347" y="connsiteY6347"/>
                </a:cxn>
                <a:cxn ang="0">
                  <a:pos x="connsiteX6348" y="connsiteY6348"/>
                </a:cxn>
                <a:cxn ang="0">
                  <a:pos x="connsiteX6349" y="connsiteY6349"/>
                </a:cxn>
                <a:cxn ang="0">
                  <a:pos x="connsiteX6350" y="connsiteY6350"/>
                </a:cxn>
                <a:cxn ang="0">
                  <a:pos x="connsiteX6351" y="connsiteY6351"/>
                </a:cxn>
                <a:cxn ang="0">
                  <a:pos x="connsiteX6352" y="connsiteY6352"/>
                </a:cxn>
                <a:cxn ang="0">
                  <a:pos x="connsiteX6353" y="connsiteY6353"/>
                </a:cxn>
                <a:cxn ang="0">
                  <a:pos x="connsiteX6354" y="connsiteY6354"/>
                </a:cxn>
                <a:cxn ang="0">
                  <a:pos x="connsiteX6355" y="connsiteY6355"/>
                </a:cxn>
                <a:cxn ang="0">
                  <a:pos x="connsiteX6356" y="connsiteY6356"/>
                </a:cxn>
                <a:cxn ang="0">
                  <a:pos x="connsiteX6357" y="connsiteY6357"/>
                </a:cxn>
                <a:cxn ang="0">
                  <a:pos x="connsiteX6358" y="connsiteY6358"/>
                </a:cxn>
                <a:cxn ang="0">
                  <a:pos x="connsiteX6359" y="connsiteY6359"/>
                </a:cxn>
                <a:cxn ang="0">
                  <a:pos x="connsiteX6360" y="connsiteY6360"/>
                </a:cxn>
                <a:cxn ang="0">
                  <a:pos x="connsiteX6361" y="connsiteY6361"/>
                </a:cxn>
                <a:cxn ang="0">
                  <a:pos x="connsiteX6362" y="connsiteY6362"/>
                </a:cxn>
                <a:cxn ang="0">
                  <a:pos x="connsiteX6363" y="connsiteY6363"/>
                </a:cxn>
                <a:cxn ang="0">
                  <a:pos x="connsiteX6364" y="connsiteY6364"/>
                </a:cxn>
                <a:cxn ang="0">
                  <a:pos x="connsiteX6365" y="connsiteY6365"/>
                </a:cxn>
                <a:cxn ang="0">
                  <a:pos x="connsiteX6366" y="connsiteY6366"/>
                </a:cxn>
                <a:cxn ang="0">
                  <a:pos x="connsiteX6367" y="connsiteY6367"/>
                </a:cxn>
                <a:cxn ang="0">
                  <a:pos x="connsiteX6368" y="connsiteY6368"/>
                </a:cxn>
                <a:cxn ang="0">
                  <a:pos x="connsiteX6369" y="connsiteY6369"/>
                </a:cxn>
                <a:cxn ang="0">
                  <a:pos x="connsiteX6370" y="connsiteY6370"/>
                </a:cxn>
                <a:cxn ang="0">
                  <a:pos x="connsiteX6371" y="connsiteY6371"/>
                </a:cxn>
                <a:cxn ang="0">
                  <a:pos x="connsiteX6372" y="connsiteY6372"/>
                </a:cxn>
                <a:cxn ang="0">
                  <a:pos x="connsiteX6373" y="connsiteY6373"/>
                </a:cxn>
                <a:cxn ang="0">
                  <a:pos x="connsiteX6374" y="connsiteY6374"/>
                </a:cxn>
                <a:cxn ang="0">
                  <a:pos x="connsiteX6375" y="connsiteY6375"/>
                </a:cxn>
                <a:cxn ang="0">
                  <a:pos x="connsiteX6376" y="connsiteY6376"/>
                </a:cxn>
                <a:cxn ang="0">
                  <a:pos x="connsiteX6377" y="connsiteY6377"/>
                </a:cxn>
                <a:cxn ang="0">
                  <a:pos x="connsiteX6378" y="connsiteY6378"/>
                </a:cxn>
                <a:cxn ang="0">
                  <a:pos x="connsiteX6379" y="connsiteY6379"/>
                </a:cxn>
                <a:cxn ang="0">
                  <a:pos x="connsiteX6380" y="connsiteY6380"/>
                </a:cxn>
                <a:cxn ang="0">
                  <a:pos x="connsiteX6381" y="connsiteY6381"/>
                </a:cxn>
                <a:cxn ang="0">
                  <a:pos x="connsiteX6382" y="connsiteY6382"/>
                </a:cxn>
                <a:cxn ang="0">
                  <a:pos x="connsiteX6383" y="connsiteY6383"/>
                </a:cxn>
                <a:cxn ang="0">
                  <a:pos x="connsiteX6384" y="connsiteY6384"/>
                </a:cxn>
                <a:cxn ang="0">
                  <a:pos x="connsiteX6385" y="connsiteY6385"/>
                </a:cxn>
                <a:cxn ang="0">
                  <a:pos x="connsiteX6386" y="connsiteY6386"/>
                </a:cxn>
                <a:cxn ang="0">
                  <a:pos x="connsiteX6387" y="connsiteY6387"/>
                </a:cxn>
                <a:cxn ang="0">
                  <a:pos x="connsiteX6388" y="connsiteY6388"/>
                </a:cxn>
                <a:cxn ang="0">
                  <a:pos x="connsiteX6389" y="connsiteY6389"/>
                </a:cxn>
                <a:cxn ang="0">
                  <a:pos x="connsiteX6390" y="connsiteY6390"/>
                </a:cxn>
                <a:cxn ang="0">
                  <a:pos x="connsiteX6391" y="connsiteY6391"/>
                </a:cxn>
                <a:cxn ang="0">
                  <a:pos x="connsiteX6392" y="connsiteY6392"/>
                </a:cxn>
                <a:cxn ang="0">
                  <a:pos x="connsiteX6393" y="connsiteY6393"/>
                </a:cxn>
                <a:cxn ang="0">
                  <a:pos x="connsiteX6394" y="connsiteY6394"/>
                </a:cxn>
                <a:cxn ang="0">
                  <a:pos x="connsiteX6395" y="connsiteY6395"/>
                </a:cxn>
                <a:cxn ang="0">
                  <a:pos x="connsiteX6396" y="connsiteY6396"/>
                </a:cxn>
                <a:cxn ang="0">
                  <a:pos x="connsiteX6397" y="connsiteY6397"/>
                </a:cxn>
                <a:cxn ang="0">
                  <a:pos x="connsiteX6398" y="connsiteY6398"/>
                </a:cxn>
                <a:cxn ang="0">
                  <a:pos x="connsiteX6399" y="connsiteY6399"/>
                </a:cxn>
                <a:cxn ang="0">
                  <a:pos x="connsiteX6400" y="connsiteY6400"/>
                </a:cxn>
                <a:cxn ang="0">
                  <a:pos x="connsiteX6401" y="connsiteY6401"/>
                </a:cxn>
                <a:cxn ang="0">
                  <a:pos x="connsiteX6402" y="connsiteY6402"/>
                </a:cxn>
                <a:cxn ang="0">
                  <a:pos x="connsiteX6403" y="connsiteY6403"/>
                </a:cxn>
                <a:cxn ang="0">
                  <a:pos x="connsiteX6404" y="connsiteY6404"/>
                </a:cxn>
                <a:cxn ang="0">
                  <a:pos x="connsiteX6405" y="connsiteY6405"/>
                </a:cxn>
                <a:cxn ang="0">
                  <a:pos x="connsiteX6406" y="connsiteY6406"/>
                </a:cxn>
                <a:cxn ang="0">
                  <a:pos x="connsiteX6407" y="connsiteY6407"/>
                </a:cxn>
                <a:cxn ang="0">
                  <a:pos x="connsiteX6408" y="connsiteY6408"/>
                </a:cxn>
                <a:cxn ang="0">
                  <a:pos x="connsiteX6409" y="connsiteY6409"/>
                </a:cxn>
                <a:cxn ang="0">
                  <a:pos x="connsiteX6410" y="connsiteY6410"/>
                </a:cxn>
                <a:cxn ang="0">
                  <a:pos x="connsiteX6411" y="connsiteY6411"/>
                </a:cxn>
                <a:cxn ang="0">
                  <a:pos x="connsiteX6412" y="connsiteY6412"/>
                </a:cxn>
                <a:cxn ang="0">
                  <a:pos x="connsiteX6413" y="connsiteY6413"/>
                </a:cxn>
                <a:cxn ang="0">
                  <a:pos x="connsiteX6414" y="connsiteY6414"/>
                </a:cxn>
                <a:cxn ang="0">
                  <a:pos x="connsiteX6415" y="connsiteY6415"/>
                </a:cxn>
                <a:cxn ang="0">
                  <a:pos x="connsiteX6416" y="connsiteY6416"/>
                </a:cxn>
                <a:cxn ang="0">
                  <a:pos x="connsiteX6417" y="connsiteY6417"/>
                </a:cxn>
                <a:cxn ang="0">
                  <a:pos x="connsiteX6418" y="connsiteY6418"/>
                </a:cxn>
                <a:cxn ang="0">
                  <a:pos x="connsiteX6419" y="connsiteY6419"/>
                </a:cxn>
                <a:cxn ang="0">
                  <a:pos x="connsiteX6420" y="connsiteY6420"/>
                </a:cxn>
                <a:cxn ang="0">
                  <a:pos x="connsiteX6421" y="connsiteY6421"/>
                </a:cxn>
                <a:cxn ang="0">
                  <a:pos x="connsiteX6422" y="connsiteY6422"/>
                </a:cxn>
                <a:cxn ang="0">
                  <a:pos x="connsiteX6423" y="connsiteY6423"/>
                </a:cxn>
                <a:cxn ang="0">
                  <a:pos x="connsiteX6424" y="connsiteY6424"/>
                </a:cxn>
                <a:cxn ang="0">
                  <a:pos x="connsiteX6425" y="connsiteY6425"/>
                </a:cxn>
                <a:cxn ang="0">
                  <a:pos x="connsiteX6426" y="connsiteY6426"/>
                </a:cxn>
                <a:cxn ang="0">
                  <a:pos x="connsiteX6427" y="connsiteY6427"/>
                </a:cxn>
                <a:cxn ang="0">
                  <a:pos x="connsiteX6428" y="connsiteY6428"/>
                </a:cxn>
                <a:cxn ang="0">
                  <a:pos x="connsiteX6429" y="connsiteY6429"/>
                </a:cxn>
                <a:cxn ang="0">
                  <a:pos x="connsiteX6430" y="connsiteY6430"/>
                </a:cxn>
                <a:cxn ang="0">
                  <a:pos x="connsiteX6431" y="connsiteY6431"/>
                </a:cxn>
                <a:cxn ang="0">
                  <a:pos x="connsiteX6432" y="connsiteY6432"/>
                </a:cxn>
                <a:cxn ang="0">
                  <a:pos x="connsiteX6433" y="connsiteY6433"/>
                </a:cxn>
                <a:cxn ang="0">
                  <a:pos x="connsiteX6434" y="connsiteY6434"/>
                </a:cxn>
                <a:cxn ang="0">
                  <a:pos x="connsiteX6435" y="connsiteY6435"/>
                </a:cxn>
                <a:cxn ang="0">
                  <a:pos x="connsiteX6436" y="connsiteY6436"/>
                </a:cxn>
                <a:cxn ang="0">
                  <a:pos x="connsiteX6437" y="connsiteY6437"/>
                </a:cxn>
                <a:cxn ang="0">
                  <a:pos x="connsiteX6438" y="connsiteY6438"/>
                </a:cxn>
                <a:cxn ang="0">
                  <a:pos x="connsiteX6439" y="connsiteY6439"/>
                </a:cxn>
                <a:cxn ang="0">
                  <a:pos x="connsiteX6440" y="connsiteY6440"/>
                </a:cxn>
                <a:cxn ang="0">
                  <a:pos x="connsiteX6441" y="connsiteY6441"/>
                </a:cxn>
                <a:cxn ang="0">
                  <a:pos x="connsiteX6442" y="connsiteY6442"/>
                </a:cxn>
                <a:cxn ang="0">
                  <a:pos x="connsiteX6443" y="connsiteY6443"/>
                </a:cxn>
                <a:cxn ang="0">
                  <a:pos x="connsiteX6444" y="connsiteY6444"/>
                </a:cxn>
                <a:cxn ang="0">
                  <a:pos x="connsiteX6445" y="connsiteY6445"/>
                </a:cxn>
                <a:cxn ang="0">
                  <a:pos x="connsiteX6446" y="connsiteY6446"/>
                </a:cxn>
                <a:cxn ang="0">
                  <a:pos x="connsiteX6447" y="connsiteY6447"/>
                </a:cxn>
                <a:cxn ang="0">
                  <a:pos x="connsiteX6448" y="connsiteY6448"/>
                </a:cxn>
                <a:cxn ang="0">
                  <a:pos x="connsiteX6449" y="connsiteY6449"/>
                </a:cxn>
                <a:cxn ang="0">
                  <a:pos x="connsiteX6450" y="connsiteY6450"/>
                </a:cxn>
                <a:cxn ang="0">
                  <a:pos x="connsiteX6451" y="connsiteY6451"/>
                </a:cxn>
                <a:cxn ang="0">
                  <a:pos x="connsiteX6452" y="connsiteY6452"/>
                </a:cxn>
                <a:cxn ang="0">
                  <a:pos x="connsiteX6453" y="connsiteY6453"/>
                </a:cxn>
                <a:cxn ang="0">
                  <a:pos x="connsiteX6454" y="connsiteY6454"/>
                </a:cxn>
                <a:cxn ang="0">
                  <a:pos x="connsiteX6455" y="connsiteY6455"/>
                </a:cxn>
                <a:cxn ang="0">
                  <a:pos x="connsiteX6456" y="connsiteY6456"/>
                </a:cxn>
                <a:cxn ang="0">
                  <a:pos x="connsiteX6457" y="connsiteY6457"/>
                </a:cxn>
                <a:cxn ang="0">
                  <a:pos x="connsiteX6458" y="connsiteY6458"/>
                </a:cxn>
                <a:cxn ang="0">
                  <a:pos x="connsiteX6459" y="connsiteY6459"/>
                </a:cxn>
                <a:cxn ang="0">
                  <a:pos x="connsiteX6460" y="connsiteY6460"/>
                </a:cxn>
                <a:cxn ang="0">
                  <a:pos x="connsiteX6461" y="connsiteY6461"/>
                </a:cxn>
                <a:cxn ang="0">
                  <a:pos x="connsiteX6462" y="connsiteY6462"/>
                </a:cxn>
                <a:cxn ang="0">
                  <a:pos x="connsiteX6463" y="connsiteY6463"/>
                </a:cxn>
                <a:cxn ang="0">
                  <a:pos x="connsiteX6464" y="connsiteY6464"/>
                </a:cxn>
                <a:cxn ang="0">
                  <a:pos x="connsiteX6465" y="connsiteY6465"/>
                </a:cxn>
                <a:cxn ang="0">
                  <a:pos x="connsiteX6466" y="connsiteY6466"/>
                </a:cxn>
                <a:cxn ang="0">
                  <a:pos x="connsiteX6467" y="connsiteY6467"/>
                </a:cxn>
                <a:cxn ang="0">
                  <a:pos x="connsiteX6468" y="connsiteY6468"/>
                </a:cxn>
                <a:cxn ang="0">
                  <a:pos x="connsiteX6469" y="connsiteY6469"/>
                </a:cxn>
                <a:cxn ang="0">
                  <a:pos x="connsiteX6470" y="connsiteY6470"/>
                </a:cxn>
                <a:cxn ang="0">
                  <a:pos x="connsiteX6471" y="connsiteY6471"/>
                </a:cxn>
                <a:cxn ang="0">
                  <a:pos x="connsiteX6472" y="connsiteY6472"/>
                </a:cxn>
                <a:cxn ang="0">
                  <a:pos x="connsiteX6473" y="connsiteY6473"/>
                </a:cxn>
                <a:cxn ang="0">
                  <a:pos x="connsiteX6474" y="connsiteY6474"/>
                </a:cxn>
                <a:cxn ang="0">
                  <a:pos x="connsiteX6475" y="connsiteY6475"/>
                </a:cxn>
                <a:cxn ang="0">
                  <a:pos x="connsiteX6476" y="connsiteY6476"/>
                </a:cxn>
                <a:cxn ang="0">
                  <a:pos x="connsiteX6477" y="connsiteY6477"/>
                </a:cxn>
                <a:cxn ang="0">
                  <a:pos x="connsiteX6478" y="connsiteY6478"/>
                </a:cxn>
                <a:cxn ang="0">
                  <a:pos x="connsiteX6479" y="connsiteY6479"/>
                </a:cxn>
                <a:cxn ang="0">
                  <a:pos x="connsiteX6480" y="connsiteY6480"/>
                </a:cxn>
                <a:cxn ang="0">
                  <a:pos x="connsiteX6481" y="connsiteY6481"/>
                </a:cxn>
                <a:cxn ang="0">
                  <a:pos x="connsiteX6482" y="connsiteY6482"/>
                </a:cxn>
                <a:cxn ang="0">
                  <a:pos x="connsiteX6483" y="connsiteY6483"/>
                </a:cxn>
                <a:cxn ang="0">
                  <a:pos x="connsiteX6484" y="connsiteY6484"/>
                </a:cxn>
                <a:cxn ang="0">
                  <a:pos x="connsiteX6485" y="connsiteY6485"/>
                </a:cxn>
                <a:cxn ang="0">
                  <a:pos x="connsiteX6486" y="connsiteY6486"/>
                </a:cxn>
                <a:cxn ang="0">
                  <a:pos x="connsiteX6487" y="connsiteY6487"/>
                </a:cxn>
                <a:cxn ang="0">
                  <a:pos x="connsiteX6488" y="connsiteY6488"/>
                </a:cxn>
                <a:cxn ang="0">
                  <a:pos x="connsiteX6489" y="connsiteY6489"/>
                </a:cxn>
                <a:cxn ang="0">
                  <a:pos x="connsiteX6490" y="connsiteY6490"/>
                </a:cxn>
                <a:cxn ang="0">
                  <a:pos x="connsiteX6491" y="connsiteY6491"/>
                </a:cxn>
                <a:cxn ang="0">
                  <a:pos x="connsiteX6492" y="connsiteY6492"/>
                </a:cxn>
                <a:cxn ang="0">
                  <a:pos x="connsiteX6493" y="connsiteY6493"/>
                </a:cxn>
                <a:cxn ang="0">
                  <a:pos x="connsiteX6494" y="connsiteY6494"/>
                </a:cxn>
                <a:cxn ang="0">
                  <a:pos x="connsiteX6495" y="connsiteY6495"/>
                </a:cxn>
                <a:cxn ang="0">
                  <a:pos x="connsiteX6496" y="connsiteY6496"/>
                </a:cxn>
                <a:cxn ang="0">
                  <a:pos x="connsiteX6497" y="connsiteY6497"/>
                </a:cxn>
                <a:cxn ang="0">
                  <a:pos x="connsiteX6498" y="connsiteY6498"/>
                </a:cxn>
                <a:cxn ang="0">
                  <a:pos x="connsiteX6499" y="connsiteY6499"/>
                </a:cxn>
                <a:cxn ang="0">
                  <a:pos x="connsiteX6500" y="connsiteY6500"/>
                </a:cxn>
                <a:cxn ang="0">
                  <a:pos x="connsiteX6501" y="connsiteY6501"/>
                </a:cxn>
                <a:cxn ang="0">
                  <a:pos x="connsiteX6502" y="connsiteY6502"/>
                </a:cxn>
                <a:cxn ang="0">
                  <a:pos x="connsiteX6503" y="connsiteY6503"/>
                </a:cxn>
                <a:cxn ang="0">
                  <a:pos x="connsiteX6504" y="connsiteY6504"/>
                </a:cxn>
                <a:cxn ang="0">
                  <a:pos x="connsiteX6505" y="connsiteY6505"/>
                </a:cxn>
                <a:cxn ang="0">
                  <a:pos x="connsiteX6506" y="connsiteY6506"/>
                </a:cxn>
                <a:cxn ang="0">
                  <a:pos x="connsiteX6507" y="connsiteY6507"/>
                </a:cxn>
                <a:cxn ang="0">
                  <a:pos x="connsiteX6508" y="connsiteY6508"/>
                </a:cxn>
                <a:cxn ang="0">
                  <a:pos x="connsiteX6509" y="connsiteY6509"/>
                </a:cxn>
                <a:cxn ang="0">
                  <a:pos x="connsiteX6510" y="connsiteY6510"/>
                </a:cxn>
                <a:cxn ang="0">
                  <a:pos x="connsiteX6511" y="connsiteY6511"/>
                </a:cxn>
                <a:cxn ang="0">
                  <a:pos x="connsiteX6512" y="connsiteY6512"/>
                </a:cxn>
                <a:cxn ang="0">
                  <a:pos x="connsiteX6513" y="connsiteY6513"/>
                </a:cxn>
                <a:cxn ang="0">
                  <a:pos x="connsiteX6514" y="connsiteY6514"/>
                </a:cxn>
                <a:cxn ang="0">
                  <a:pos x="connsiteX6515" y="connsiteY6515"/>
                </a:cxn>
                <a:cxn ang="0">
                  <a:pos x="connsiteX6516" y="connsiteY6516"/>
                </a:cxn>
                <a:cxn ang="0">
                  <a:pos x="connsiteX6517" y="connsiteY6517"/>
                </a:cxn>
                <a:cxn ang="0">
                  <a:pos x="connsiteX6518" y="connsiteY6518"/>
                </a:cxn>
                <a:cxn ang="0">
                  <a:pos x="connsiteX6519" y="connsiteY6519"/>
                </a:cxn>
                <a:cxn ang="0">
                  <a:pos x="connsiteX6520" y="connsiteY6520"/>
                </a:cxn>
                <a:cxn ang="0">
                  <a:pos x="connsiteX6521" y="connsiteY6521"/>
                </a:cxn>
                <a:cxn ang="0">
                  <a:pos x="connsiteX6522" y="connsiteY6522"/>
                </a:cxn>
                <a:cxn ang="0">
                  <a:pos x="connsiteX6523" y="connsiteY6523"/>
                </a:cxn>
                <a:cxn ang="0">
                  <a:pos x="connsiteX6524" y="connsiteY6524"/>
                </a:cxn>
                <a:cxn ang="0">
                  <a:pos x="connsiteX6525" y="connsiteY6525"/>
                </a:cxn>
                <a:cxn ang="0">
                  <a:pos x="connsiteX6526" y="connsiteY6526"/>
                </a:cxn>
                <a:cxn ang="0">
                  <a:pos x="connsiteX6527" y="connsiteY6527"/>
                </a:cxn>
                <a:cxn ang="0">
                  <a:pos x="connsiteX6528" y="connsiteY6528"/>
                </a:cxn>
                <a:cxn ang="0">
                  <a:pos x="connsiteX6529" y="connsiteY6529"/>
                </a:cxn>
                <a:cxn ang="0">
                  <a:pos x="connsiteX6530" y="connsiteY6530"/>
                </a:cxn>
                <a:cxn ang="0">
                  <a:pos x="connsiteX6531" y="connsiteY6531"/>
                </a:cxn>
                <a:cxn ang="0">
                  <a:pos x="connsiteX6532" y="connsiteY6532"/>
                </a:cxn>
                <a:cxn ang="0">
                  <a:pos x="connsiteX6533" y="connsiteY6533"/>
                </a:cxn>
                <a:cxn ang="0">
                  <a:pos x="connsiteX6534" y="connsiteY6534"/>
                </a:cxn>
                <a:cxn ang="0">
                  <a:pos x="connsiteX6535" y="connsiteY6535"/>
                </a:cxn>
                <a:cxn ang="0">
                  <a:pos x="connsiteX6536" y="connsiteY6536"/>
                </a:cxn>
                <a:cxn ang="0">
                  <a:pos x="connsiteX6537" y="connsiteY6537"/>
                </a:cxn>
                <a:cxn ang="0">
                  <a:pos x="connsiteX6538" y="connsiteY6538"/>
                </a:cxn>
                <a:cxn ang="0">
                  <a:pos x="connsiteX6539" y="connsiteY6539"/>
                </a:cxn>
                <a:cxn ang="0">
                  <a:pos x="connsiteX6540" y="connsiteY6540"/>
                </a:cxn>
                <a:cxn ang="0">
                  <a:pos x="connsiteX6541" y="connsiteY6541"/>
                </a:cxn>
                <a:cxn ang="0">
                  <a:pos x="connsiteX6542" y="connsiteY6542"/>
                </a:cxn>
                <a:cxn ang="0">
                  <a:pos x="connsiteX6543" y="connsiteY6543"/>
                </a:cxn>
                <a:cxn ang="0">
                  <a:pos x="connsiteX6544" y="connsiteY6544"/>
                </a:cxn>
                <a:cxn ang="0">
                  <a:pos x="connsiteX6545" y="connsiteY6545"/>
                </a:cxn>
                <a:cxn ang="0">
                  <a:pos x="connsiteX6546" y="connsiteY6546"/>
                </a:cxn>
                <a:cxn ang="0">
                  <a:pos x="connsiteX6547" y="connsiteY6547"/>
                </a:cxn>
                <a:cxn ang="0">
                  <a:pos x="connsiteX6548" y="connsiteY6548"/>
                </a:cxn>
                <a:cxn ang="0">
                  <a:pos x="connsiteX6549" y="connsiteY6549"/>
                </a:cxn>
                <a:cxn ang="0">
                  <a:pos x="connsiteX6550" y="connsiteY6550"/>
                </a:cxn>
                <a:cxn ang="0">
                  <a:pos x="connsiteX6551" y="connsiteY6551"/>
                </a:cxn>
                <a:cxn ang="0">
                  <a:pos x="connsiteX6552" y="connsiteY6552"/>
                </a:cxn>
                <a:cxn ang="0">
                  <a:pos x="connsiteX6553" y="connsiteY6553"/>
                </a:cxn>
                <a:cxn ang="0">
                  <a:pos x="connsiteX6554" y="connsiteY6554"/>
                </a:cxn>
                <a:cxn ang="0">
                  <a:pos x="connsiteX6555" y="connsiteY6555"/>
                </a:cxn>
                <a:cxn ang="0">
                  <a:pos x="connsiteX6556" y="connsiteY6556"/>
                </a:cxn>
                <a:cxn ang="0">
                  <a:pos x="connsiteX6557" y="connsiteY6557"/>
                </a:cxn>
                <a:cxn ang="0">
                  <a:pos x="connsiteX6558" y="connsiteY6558"/>
                </a:cxn>
                <a:cxn ang="0">
                  <a:pos x="connsiteX6559" y="connsiteY6559"/>
                </a:cxn>
                <a:cxn ang="0">
                  <a:pos x="connsiteX6560" y="connsiteY6560"/>
                </a:cxn>
                <a:cxn ang="0">
                  <a:pos x="connsiteX6561" y="connsiteY6561"/>
                </a:cxn>
                <a:cxn ang="0">
                  <a:pos x="connsiteX6562" y="connsiteY6562"/>
                </a:cxn>
                <a:cxn ang="0">
                  <a:pos x="connsiteX6563" y="connsiteY6563"/>
                </a:cxn>
                <a:cxn ang="0">
                  <a:pos x="connsiteX6564" y="connsiteY6564"/>
                </a:cxn>
                <a:cxn ang="0">
                  <a:pos x="connsiteX6565" y="connsiteY6565"/>
                </a:cxn>
                <a:cxn ang="0">
                  <a:pos x="connsiteX6566" y="connsiteY6566"/>
                </a:cxn>
                <a:cxn ang="0">
                  <a:pos x="connsiteX6567" y="connsiteY6567"/>
                </a:cxn>
                <a:cxn ang="0">
                  <a:pos x="connsiteX6568" y="connsiteY6568"/>
                </a:cxn>
                <a:cxn ang="0">
                  <a:pos x="connsiteX6569" y="connsiteY6569"/>
                </a:cxn>
                <a:cxn ang="0">
                  <a:pos x="connsiteX6570" y="connsiteY6570"/>
                </a:cxn>
                <a:cxn ang="0">
                  <a:pos x="connsiteX6571" y="connsiteY6571"/>
                </a:cxn>
                <a:cxn ang="0">
                  <a:pos x="connsiteX6572" y="connsiteY6572"/>
                </a:cxn>
                <a:cxn ang="0">
                  <a:pos x="connsiteX6573" y="connsiteY6573"/>
                </a:cxn>
                <a:cxn ang="0">
                  <a:pos x="connsiteX6574" y="connsiteY6574"/>
                </a:cxn>
                <a:cxn ang="0">
                  <a:pos x="connsiteX6575" y="connsiteY6575"/>
                </a:cxn>
                <a:cxn ang="0">
                  <a:pos x="connsiteX6576" y="connsiteY6576"/>
                </a:cxn>
                <a:cxn ang="0">
                  <a:pos x="connsiteX6577" y="connsiteY6577"/>
                </a:cxn>
                <a:cxn ang="0">
                  <a:pos x="connsiteX6578" y="connsiteY6578"/>
                </a:cxn>
                <a:cxn ang="0">
                  <a:pos x="connsiteX6579" y="connsiteY6579"/>
                </a:cxn>
                <a:cxn ang="0">
                  <a:pos x="connsiteX6580" y="connsiteY6580"/>
                </a:cxn>
                <a:cxn ang="0">
                  <a:pos x="connsiteX6581" y="connsiteY6581"/>
                </a:cxn>
                <a:cxn ang="0">
                  <a:pos x="connsiteX6582" y="connsiteY6582"/>
                </a:cxn>
                <a:cxn ang="0">
                  <a:pos x="connsiteX6583" y="connsiteY6583"/>
                </a:cxn>
                <a:cxn ang="0">
                  <a:pos x="connsiteX6584" y="connsiteY6584"/>
                </a:cxn>
                <a:cxn ang="0">
                  <a:pos x="connsiteX6585" y="connsiteY6585"/>
                </a:cxn>
                <a:cxn ang="0">
                  <a:pos x="connsiteX6586" y="connsiteY6586"/>
                </a:cxn>
                <a:cxn ang="0">
                  <a:pos x="connsiteX6587" y="connsiteY6587"/>
                </a:cxn>
                <a:cxn ang="0">
                  <a:pos x="connsiteX6588" y="connsiteY6588"/>
                </a:cxn>
                <a:cxn ang="0">
                  <a:pos x="connsiteX6589" y="connsiteY6589"/>
                </a:cxn>
                <a:cxn ang="0">
                  <a:pos x="connsiteX6590" y="connsiteY6590"/>
                </a:cxn>
                <a:cxn ang="0">
                  <a:pos x="connsiteX6591" y="connsiteY6591"/>
                </a:cxn>
                <a:cxn ang="0">
                  <a:pos x="connsiteX6592" y="connsiteY6592"/>
                </a:cxn>
                <a:cxn ang="0">
                  <a:pos x="connsiteX6593" y="connsiteY6593"/>
                </a:cxn>
                <a:cxn ang="0">
                  <a:pos x="connsiteX6594" y="connsiteY6594"/>
                </a:cxn>
                <a:cxn ang="0">
                  <a:pos x="connsiteX6595" y="connsiteY6595"/>
                </a:cxn>
                <a:cxn ang="0">
                  <a:pos x="connsiteX6596" y="connsiteY6596"/>
                </a:cxn>
                <a:cxn ang="0">
                  <a:pos x="connsiteX6597" y="connsiteY6597"/>
                </a:cxn>
                <a:cxn ang="0">
                  <a:pos x="connsiteX6598" y="connsiteY6598"/>
                </a:cxn>
                <a:cxn ang="0">
                  <a:pos x="connsiteX6599" y="connsiteY6599"/>
                </a:cxn>
                <a:cxn ang="0">
                  <a:pos x="connsiteX6600" y="connsiteY6600"/>
                </a:cxn>
                <a:cxn ang="0">
                  <a:pos x="connsiteX6601" y="connsiteY6601"/>
                </a:cxn>
                <a:cxn ang="0">
                  <a:pos x="connsiteX6602" y="connsiteY6602"/>
                </a:cxn>
                <a:cxn ang="0">
                  <a:pos x="connsiteX6603" y="connsiteY6603"/>
                </a:cxn>
                <a:cxn ang="0">
                  <a:pos x="connsiteX6604" y="connsiteY6604"/>
                </a:cxn>
                <a:cxn ang="0">
                  <a:pos x="connsiteX6605" y="connsiteY6605"/>
                </a:cxn>
                <a:cxn ang="0">
                  <a:pos x="connsiteX6606" y="connsiteY6606"/>
                </a:cxn>
                <a:cxn ang="0">
                  <a:pos x="connsiteX6607" y="connsiteY6607"/>
                </a:cxn>
                <a:cxn ang="0">
                  <a:pos x="connsiteX6608" y="connsiteY6608"/>
                </a:cxn>
                <a:cxn ang="0">
                  <a:pos x="connsiteX6609" y="connsiteY6609"/>
                </a:cxn>
                <a:cxn ang="0">
                  <a:pos x="connsiteX6610" y="connsiteY6610"/>
                </a:cxn>
                <a:cxn ang="0">
                  <a:pos x="connsiteX6611" y="connsiteY6611"/>
                </a:cxn>
                <a:cxn ang="0">
                  <a:pos x="connsiteX6612" y="connsiteY6612"/>
                </a:cxn>
                <a:cxn ang="0">
                  <a:pos x="connsiteX6613" y="connsiteY6613"/>
                </a:cxn>
                <a:cxn ang="0">
                  <a:pos x="connsiteX6614" y="connsiteY6614"/>
                </a:cxn>
                <a:cxn ang="0">
                  <a:pos x="connsiteX6615" y="connsiteY6615"/>
                </a:cxn>
                <a:cxn ang="0">
                  <a:pos x="connsiteX6616" y="connsiteY6616"/>
                </a:cxn>
                <a:cxn ang="0">
                  <a:pos x="connsiteX6617" y="connsiteY6617"/>
                </a:cxn>
                <a:cxn ang="0">
                  <a:pos x="connsiteX6618" y="connsiteY6618"/>
                </a:cxn>
                <a:cxn ang="0">
                  <a:pos x="connsiteX6619" y="connsiteY6619"/>
                </a:cxn>
                <a:cxn ang="0">
                  <a:pos x="connsiteX6620" y="connsiteY6620"/>
                </a:cxn>
                <a:cxn ang="0">
                  <a:pos x="connsiteX6621" y="connsiteY6621"/>
                </a:cxn>
                <a:cxn ang="0">
                  <a:pos x="connsiteX6622" y="connsiteY6622"/>
                </a:cxn>
                <a:cxn ang="0">
                  <a:pos x="connsiteX6623" y="connsiteY6623"/>
                </a:cxn>
                <a:cxn ang="0">
                  <a:pos x="connsiteX6624" y="connsiteY6624"/>
                </a:cxn>
                <a:cxn ang="0">
                  <a:pos x="connsiteX6625" y="connsiteY6625"/>
                </a:cxn>
                <a:cxn ang="0">
                  <a:pos x="connsiteX6626" y="connsiteY6626"/>
                </a:cxn>
                <a:cxn ang="0">
                  <a:pos x="connsiteX6627" y="connsiteY6627"/>
                </a:cxn>
                <a:cxn ang="0">
                  <a:pos x="connsiteX6628" y="connsiteY6628"/>
                </a:cxn>
                <a:cxn ang="0">
                  <a:pos x="connsiteX6629" y="connsiteY6629"/>
                </a:cxn>
                <a:cxn ang="0">
                  <a:pos x="connsiteX6630" y="connsiteY6630"/>
                </a:cxn>
                <a:cxn ang="0">
                  <a:pos x="connsiteX6631" y="connsiteY6631"/>
                </a:cxn>
                <a:cxn ang="0">
                  <a:pos x="connsiteX6632" y="connsiteY6632"/>
                </a:cxn>
                <a:cxn ang="0">
                  <a:pos x="connsiteX6633" y="connsiteY6633"/>
                </a:cxn>
                <a:cxn ang="0">
                  <a:pos x="connsiteX6634" y="connsiteY6634"/>
                </a:cxn>
                <a:cxn ang="0">
                  <a:pos x="connsiteX6635" y="connsiteY6635"/>
                </a:cxn>
                <a:cxn ang="0">
                  <a:pos x="connsiteX6636" y="connsiteY6636"/>
                </a:cxn>
                <a:cxn ang="0">
                  <a:pos x="connsiteX6637" y="connsiteY6637"/>
                </a:cxn>
                <a:cxn ang="0">
                  <a:pos x="connsiteX6638" y="connsiteY6638"/>
                </a:cxn>
                <a:cxn ang="0">
                  <a:pos x="connsiteX6639" y="connsiteY6639"/>
                </a:cxn>
                <a:cxn ang="0">
                  <a:pos x="connsiteX6640" y="connsiteY6640"/>
                </a:cxn>
                <a:cxn ang="0">
                  <a:pos x="connsiteX6641" y="connsiteY6641"/>
                </a:cxn>
                <a:cxn ang="0">
                  <a:pos x="connsiteX6642" y="connsiteY6642"/>
                </a:cxn>
                <a:cxn ang="0">
                  <a:pos x="connsiteX6643" y="connsiteY6643"/>
                </a:cxn>
                <a:cxn ang="0">
                  <a:pos x="connsiteX6644" y="connsiteY6644"/>
                </a:cxn>
                <a:cxn ang="0">
                  <a:pos x="connsiteX6645" y="connsiteY6645"/>
                </a:cxn>
                <a:cxn ang="0">
                  <a:pos x="connsiteX6646" y="connsiteY6646"/>
                </a:cxn>
                <a:cxn ang="0">
                  <a:pos x="connsiteX6647" y="connsiteY6647"/>
                </a:cxn>
                <a:cxn ang="0">
                  <a:pos x="connsiteX6648" y="connsiteY6648"/>
                </a:cxn>
                <a:cxn ang="0">
                  <a:pos x="connsiteX6649" y="connsiteY6649"/>
                </a:cxn>
                <a:cxn ang="0">
                  <a:pos x="connsiteX6650" y="connsiteY6650"/>
                </a:cxn>
                <a:cxn ang="0">
                  <a:pos x="connsiteX6651" y="connsiteY6651"/>
                </a:cxn>
                <a:cxn ang="0">
                  <a:pos x="connsiteX6652" y="connsiteY6652"/>
                </a:cxn>
                <a:cxn ang="0">
                  <a:pos x="connsiteX6653" y="connsiteY6653"/>
                </a:cxn>
                <a:cxn ang="0">
                  <a:pos x="connsiteX6654" y="connsiteY6654"/>
                </a:cxn>
                <a:cxn ang="0">
                  <a:pos x="connsiteX6655" y="connsiteY6655"/>
                </a:cxn>
                <a:cxn ang="0">
                  <a:pos x="connsiteX6656" y="connsiteY6656"/>
                </a:cxn>
                <a:cxn ang="0">
                  <a:pos x="connsiteX6657" y="connsiteY6657"/>
                </a:cxn>
                <a:cxn ang="0">
                  <a:pos x="connsiteX6658" y="connsiteY6658"/>
                </a:cxn>
                <a:cxn ang="0">
                  <a:pos x="connsiteX6659" y="connsiteY6659"/>
                </a:cxn>
                <a:cxn ang="0">
                  <a:pos x="connsiteX6660" y="connsiteY6660"/>
                </a:cxn>
                <a:cxn ang="0">
                  <a:pos x="connsiteX6661" y="connsiteY6661"/>
                </a:cxn>
                <a:cxn ang="0">
                  <a:pos x="connsiteX6662" y="connsiteY6662"/>
                </a:cxn>
                <a:cxn ang="0">
                  <a:pos x="connsiteX6663" y="connsiteY6663"/>
                </a:cxn>
                <a:cxn ang="0">
                  <a:pos x="connsiteX6664" y="connsiteY6664"/>
                </a:cxn>
                <a:cxn ang="0">
                  <a:pos x="connsiteX6665" y="connsiteY6665"/>
                </a:cxn>
                <a:cxn ang="0">
                  <a:pos x="connsiteX6666" y="connsiteY6666"/>
                </a:cxn>
                <a:cxn ang="0">
                  <a:pos x="connsiteX6667" y="connsiteY6667"/>
                </a:cxn>
                <a:cxn ang="0">
                  <a:pos x="connsiteX6668" y="connsiteY6668"/>
                </a:cxn>
                <a:cxn ang="0">
                  <a:pos x="connsiteX6669" y="connsiteY6669"/>
                </a:cxn>
                <a:cxn ang="0">
                  <a:pos x="connsiteX6670" y="connsiteY6670"/>
                </a:cxn>
                <a:cxn ang="0">
                  <a:pos x="connsiteX6671" y="connsiteY6671"/>
                </a:cxn>
                <a:cxn ang="0">
                  <a:pos x="connsiteX6672" y="connsiteY6672"/>
                </a:cxn>
                <a:cxn ang="0">
                  <a:pos x="connsiteX6673" y="connsiteY6673"/>
                </a:cxn>
                <a:cxn ang="0">
                  <a:pos x="connsiteX6674" y="connsiteY6674"/>
                </a:cxn>
                <a:cxn ang="0">
                  <a:pos x="connsiteX6675" y="connsiteY6675"/>
                </a:cxn>
                <a:cxn ang="0">
                  <a:pos x="connsiteX6676" y="connsiteY6676"/>
                </a:cxn>
                <a:cxn ang="0">
                  <a:pos x="connsiteX6677" y="connsiteY6677"/>
                </a:cxn>
                <a:cxn ang="0">
                  <a:pos x="connsiteX6678" y="connsiteY6678"/>
                </a:cxn>
                <a:cxn ang="0">
                  <a:pos x="connsiteX6679" y="connsiteY6679"/>
                </a:cxn>
                <a:cxn ang="0">
                  <a:pos x="connsiteX6680" y="connsiteY6680"/>
                </a:cxn>
                <a:cxn ang="0">
                  <a:pos x="connsiteX6681" y="connsiteY6681"/>
                </a:cxn>
                <a:cxn ang="0">
                  <a:pos x="connsiteX6682" y="connsiteY6682"/>
                </a:cxn>
                <a:cxn ang="0">
                  <a:pos x="connsiteX6683" y="connsiteY6683"/>
                </a:cxn>
                <a:cxn ang="0">
                  <a:pos x="connsiteX6684" y="connsiteY6684"/>
                </a:cxn>
                <a:cxn ang="0">
                  <a:pos x="connsiteX6685" y="connsiteY6685"/>
                </a:cxn>
                <a:cxn ang="0">
                  <a:pos x="connsiteX6686" y="connsiteY6686"/>
                </a:cxn>
                <a:cxn ang="0">
                  <a:pos x="connsiteX6687" y="connsiteY6687"/>
                </a:cxn>
                <a:cxn ang="0">
                  <a:pos x="connsiteX6688" y="connsiteY6688"/>
                </a:cxn>
                <a:cxn ang="0">
                  <a:pos x="connsiteX6689" y="connsiteY6689"/>
                </a:cxn>
                <a:cxn ang="0">
                  <a:pos x="connsiteX6690" y="connsiteY6690"/>
                </a:cxn>
                <a:cxn ang="0">
                  <a:pos x="connsiteX6691" y="connsiteY6691"/>
                </a:cxn>
                <a:cxn ang="0">
                  <a:pos x="connsiteX6692" y="connsiteY6692"/>
                </a:cxn>
                <a:cxn ang="0">
                  <a:pos x="connsiteX6693" y="connsiteY6693"/>
                </a:cxn>
                <a:cxn ang="0">
                  <a:pos x="connsiteX6694" y="connsiteY6694"/>
                </a:cxn>
                <a:cxn ang="0">
                  <a:pos x="connsiteX6695" y="connsiteY6695"/>
                </a:cxn>
                <a:cxn ang="0">
                  <a:pos x="connsiteX6696" y="connsiteY6696"/>
                </a:cxn>
                <a:cxn ang="0">
                  <a:pos x="connsiteX6697" y="connsiteY6697"/>
                </a:cxn>
                <a:cxn ang="0">
                  <a:pos x="connsiteX6698" y="connsiteY6698"/>
                </a:cxn>
                <a:cxn ang="0">
                  <a:pos x="connsiteX6699" y="connsiteY6699"/>
                </a:cxn>
                <a:cxn ang="0">
                  <a:pos x="connsiteX6700" y="connsiteY6700"/>
                </a:cxn>
                <a:cxn ang="0">
                  <a:pos x="connsiteX6701" y="connsiteY6701"/>
                </a:cxn>
                <a:cxn ang="0">
                  <a:pos x="connsiteX6702" y="connsiteY6702"/>
                </a:cxn>
                <a:cxn ang="0">
                  <a:pos x="connsiteX6703" y="connsiteY6703"/>
                </a:cxn>
                <a:cxn ang="0">
                  <a:pos x="connsiteX6704" y="connsiteY6704"/>
                </a:cxn>
                <a:cxn ang="0">
                  <a:pos x="connsiteX6705" y="connsiteY6705"/>
                </a:cxn>
                <a:cxn ang="0">
                  <a:pos x="connsiteX6706" y="connsiteY6706"/>
                </a:cxn>
                <a:cxn ang="0">
                  <a:pos x="connsiteX6707" y="connsiteY6707"/>
                </a:cxn>
                <a:cxn ang="0">
                  <a:pos x="connsiteX6708" y="connsiteY6708"/>
                </a:cxn>
                <a:cxn ang="0">
                  <a:pos x="connsiteX6709" y="connsiteY6709"/>
                </a:cxn>
                <a:cxn ang="0">
                  <a:pos x="connsiteX6710" y="connsiteY6710"/>
                </a:cxn>
                <a:cxn ang="0">
                  <a:pos x="connsiteX6711" y="connsiteY6711"/>
                </a:cxn>
                <a:cxn ang="0">
                  <a:pos x="connsiteX6712" y="connsiteY6712"/>
                </a:cxn>
                <a:cxn ang="0">
                  <a:pos x="connsiteX6713" y="connsiteY6713"/>
                </a:cxn>
                <a:cxn ang="0">
                  <a:pos x="connsiteX6714" y="connsiteY6714"/>
                </a:cxn>
                <a:cxn ang="0">
                  <a:pos x="connsiteX6715" y="connsiteY6715"/>
                </a:cxn>
                <a:cxn ang="0">
                  <a:pos x="connsiteX6716" y="connsiteY6716"/>
                </a:cxn>
                <a:cxn ang="0">
                  <a:pos x="connsiteX6717" y="connsiteY6717"/>
                </a:cxn>
                <a:cxn ang="0">
                  <a:pos x="connsiteX6718" y="connsiteY6718"/>
                </a:cxn>
                <a:cxn ang="0">
                  <a:pos x="connsiteX6719" y="connsiteY6719"/>
                </a:cxn>
                <a:cxn ang="0">
                  <a:pos x="connsiteX6720" y="connsiteY6720"/>
                </a:cxn>
                <a:cxn ang="0">
                  <a:pos x="connsiteX6721" y="connsiteY6721"/>
                </a:cxn>
                <a:cxn ang="0">
                  <a:pos x="connsiteX6722" y="connsiteY6722"/>
                </a:cxn>
                <a:cxn ang="0">
                  <a:pos x="connsiteX6723" y="connsiteY6723"/>
                </a:cxn>
                <a:cxn ang="0">
                  <a:pos x="connsiteX6724" y="connsiteY6724"/>
                </a:cxn>
                <a:cxn ang="0">
                  <a:pos x="connsiteX6725" y="connsiteY6725"/>
                </a:cxn>
                <a:cxn ang="0">
                  <a:pos x="connsiteX6726" y="connsiteY6726"/>
                </a:cxn>
                <a:cxn ang="0">
                  <a:pos x="connsiteX6727" y="connsiteY6727"/>
                </a:cxn>
                <a:cxn ang="0">
                  <a:pos x="connsiteX6728" y="connsiteY6728"/>
                </a:cxn>
                <a:cxn ang="0">
                  <a:pos x="connsiteX6729" y="connsiteY6729"/>
                </a:cxn>
                <a:cxn ang="0">
                  <a:pos x="connsiteX6730" y="connsiteY6730"/>
                </a:cxn>
                <a:cxn ang="0">
                  <a:pos x="connsiteX6731" y="connsiteY6731"/>
                </a:cxn>
                <a:cxn ang="0">
                  <a:pos x="connsiteX6732" y="connsiteY6732"/>
                </a:cxn>
                <a:cxn ang="0">
                  <a:pos x="connsiteX6733" y="connsiteY6733"/>
                </a:cxn>
                <a:cxn ang="0">
                  <a:pos x="connsiteX6734" y="connsiteY6734"/>
                </a:cxn>
                <a:cxn ang="0">
                  <a:pos x="connsiteX6735" y="connsiteY6735"/>
                </a:cxn>
                <a:cxn ang="0">
                  <a:pos x="connsiteX6736" y="connsiteY6736"/>
                </a:cxn>
                <a:cxn ang="0">
                  <a:pos x="connsiteX6737" y="connsiteY6737"/>
                </a:cxn>
                <a:cxn ang="0">
                  <a:pos x="connsiteX6738" y="connsiteY6738"/>
                </a:cxn>
                <a:cxn ang="0">
                  <a:pos x="connsiteX6739" y="connsiteY6739"/>
                </a:cxn>
                <a:cxn ang="0">
                  <a:pos x="connsiteX6740" y="connsiteY6740"/>
                </a:cxn>
                <a:cxn ang="0">
                  <a:pos x="connsiteX6741" y="connsiteY6741"/>
                </a:cxn>
                <a:cxn ang="0">
                  <a:pos x="connsiteX6742" y="connsiteY6742"/>
                </a:cxn>
                <a:cxn ang="0">
                  <a:pos x="connsiteX6743" y="connsiteY6743"/>
                </a:cxn>
                <a:cxn ang="0">
                  <a:pos x="connsiteX6744" y="connsiteY6744"/>
                </a:cxn>
                <a:cxn ang="0">
                  <a:pos x="connsiteX6745" y="connsiteY6745"/>
                </a:cxn>
                <a:cxn ang="0">
                  <a:pos x="connsiteX6746" y="connsiteY6746"/>
                </a:cxn>
                <a:cxn ang="0">
                  <a:pos x="connsiteX6747" y="connsiteY6747"/>
                </a:cxn>
                <a:cxn ang="0">
                  <a:pos x="connsiteX6748" y="connsiteY6748"/>
                </a:cxn>
                <a:cxn ang="0">
                  <a:pos x="connsiteX6749" y="connsiteY6749"/>
                </a:cxn>
                <a:cxn ang="0">
                  <a:pos x="connsiteX6750" y="connsiteY6750"/>
                </a:cxn>
                <a:cxn ang="0">
                  <a:pos x="connsiteX6751" y="connsiteY6751"/>
                </a:cxn>
                <a:cxn ang="0">
                  <a:pos x="connsiteX6752" y="connsiteY6752"/>
                </a:cxn>
                <a:cxn ang="0">
                  <a:pos x="connsiteX6753" y="connsiteY6753"/>
                </a:cxn>
                <a:cxn ang="0">
                  <a:pos x="connsiteX6754" y="connsiteY6754"/>
                </a:cxn>
                <a:cxn ang="0">
                  <a:pos x="connsiteX6755" y="connsiteY6755"/>
                </a:cxn>
                <a:cxn ang="0">
                  <a:pos x="connsiteX6756" y="connsiteY6756"/>
                </a:cxn>
                <a:cxn ang="0">
                  <a:pos x="connsiteX6757" y="connsiteY6757"/>
                </a:cxn>
                <a:cxn ang="0">
                  <a:pos x="connsiteX6758" y="connsiteY6758"/>
                </a:cxn>
                <a:cxn ang="0">
                  <a:pos x="connsiteX6759" y="connsiteY6759"/>
                </a:cxn>
                <a:cxn ang="0">
                  <a:pos x="connsiteX6760" y="connsiteY6760"/>
                </a:cxn>
                <a:cxn ang="0">
                  <a:pos x="connsiteX6761" y="connsiteY6761"/>
                </a:cxn>
                <a:cxn ang="0">
                  <a:pos x="connsiteX6762" y="connsiteY6762"/>
                </a:cxn>
                <a:cxn ang="0">
                  <a:pos x="connsiteX6763" y="connsiteY6763"/>
                </a:cxn>
                <a:cxn ang="0">
                  <a:pos x="connsiteX6764" y="connsiteY6764"/>
                </a:cxn>
                <a:cxn ang="0">
                  <a:pos x="connsiteX6765" y="connsiteY6765"/>
                </a:cxn>
                <a:cxn ang="0">
                  <a:pos x="connsiteX6766" y="connsiteY6766"/>
                </a:cxn>
                <a:cxn ang="0">
                  <a:pos x="connsiteX6767" y="connsiteY6767"/>
                </a:cxn>
                <a:cxn ang="0">
                  <a:pos x="connsiteX6768" y="connsiteY6768"/>
                </a:cxn>
                <a:cxn ang="0">
                  <a:pos x="connsiteX6769" y="connsiteY6769"/>
                </a:cxn>
                <a:cxn ang="0">
                  <a:pos x="connsiteX6770" y="connsiteY6770"/>
                </a:cxn>
                <a:cxn ang="0">
                  <a:pos x="connsiteX6771" y="connsiteY6771"/>
                </a:cxn>
                <a:cxn ang="0">
                  <a:pos x="connsiteX6772" y="connsiteY6772"/>
                </a:cxn>
                <a:cxn ang="0">
                  <a:pos x="connsiteX6773" y="connsiteY6773"/>
                </a:cxn>
                <a:cxn ang="0">
                  <a:pos x="connsiteX6774" y="connsiteY6774"/>
                </a:cxn>
                <a:cxn ang="0">
                  <a:pos x="connsiteX6775" y="connsiteY6775"/>
                </a:cxn>
                <a:cxn ang="0">
                  <a:pos x="connsiteX6776" y="connsiteY6776"/>
                </a:cxn>
                <a:cxn ang="0">
                  <a:pos x="connsiteX6777" y="connsiteY6777"/>
                </a:cxn>
                <a:cxn ang="0">
                  <a:pos x="connsiteX6778" y="connsiteY6778"/>
                </a:cxn>
                <a:cxn ang="0">
                  <a:pos x="connsiteX6779" y="connsiteY6779"/>
                </a:cxn>
                <a:cxn ang="0">
                  <a:pos x="connsiteX6780" y="connsiteY6780"/>
                </a:cxn>
                <a:cxn ang="0">
                  <a:pos x="connsiteX6781" y="connsiteY6781"/>
                </a:cxn>
                <a:cxn ang="0">
                  <a:pos x="connsiteX6782" y="connsiteY6782"/>
                </a:cxn>
                <a:cxn ang="0">
                  <a:pos x="connsiteX6783" y="connsiteY6783"/>
                </a:cxn>
                <a:cxn ang="0">
                  <a:pos x="connsiteX6784" y="connsiteY6784"/>
                </a:cxn>
                <a:cxn ang="0">
                  <a:pos x="connsiteX6785" y="connsiteY6785"/>
                </a:cxn>
                <a:cxn ang="0">
                  <a:pos x="connsiteX6786" y="connsiteY6786"/>
                </a:cxn>
                <a:cxn ang="0">
                  <a:pos x="connsiteX6787" y="connsiteY6787"/>
                </a:cxn>
                <a:cxn ang="0">
                  <a:pos x="connsiteX6788" y="connsiteY6788"/>
                </a:cxn>
                <a:cxn ang="0">
                  <a:pos x="connsiteX6789" y="connsiteY6789"/>
                </a:cxn>
                <a:cxn ang="0">
                  <a:pos x="connsiteX6790" y="connsiteY6790"/>
                </a:cxn>
                <a:cxn ang="0">
                  <a:pos x="connsiteX6791" y="connsiteY6791"/>
                </a:cxn>
                <a:cxn ang="0">
                  <a:pos x="connsiteX6792" y="connsiteY6792"/>
                </a:cxn>
                <a:cxn ang="0">
                  <a:pos x="connsiteX6793" y="connsiteY6793"/>
                </a:cxn>
                <a:cxn ang="0">
                  <a:pos x="connsiteX6794" y="connsiteY6794"/>
                </a:cxn>
                <a:cxn ang="0">
                  <a:pos x="connsiteX6795" y="connsiteY6795"/>
                </a:cxn>
                <a:cxn ang="0">
                  <a:pos x="connsiteX6796" y="connsiteY6796"/>
                </a:cxn>
                <a:cxn ang="0">
                  <a:pos x="connsiteX6797" y="connsiteY6797"/>
                </a:cxn>
                <a:cxn ang="0">
                  <a:pos x="connsiteX6798" y="connsiteY6798"/>
                </a:cxn>
                <a:cxn ang="0">
                  <a:pos x="connsiteX6799" y="connsiteY6799"/>
                </a:cxn>
                <a:cxn ang="0">
                  <a:pos x="connsiteX6800" y="connsiteY6800"/>
                </a:cxn>
                <a:cxn ang="0">
                  <a:pos x="connsiteX6801" y="connsiteY6801"/>
                </a:cxn>
                <a:cxn ang="0">
                  <a:pos x="connsiteX6802" y="connsiteY6802"/>
                </a:cxn>
                <a:cxn ang="0">
                  <a:pos x="connsiteX6803" y="connsiteY6803"/>
                </a:cxn>
                <a:cxn ang="0">
                  <a:pos x="connsiteX6804" y="connsiteY6804"/>
                </a:cxn>
                <a:cxn ang="0">
                  <a:pos x="connsiteX6805" y="connsiteY6805"/>
                </a:cxn>
                <a:cxn ang="0">
                  <a:pos x="connsiteX6806" y="connsiteY6806"/>
                </a:cxn>
                <a:cxn ang="0">
                  <a:pos x="connsiteX6807" y="connsiteY6807"/>
                </a:cxn>
                <a:cxn ang="0">
                  <a:pos x="connsiteX6808" y="connsiteY6808"/>
                </a:cxn>
                <a:cxn ang="0">
                  <a:pos x="connsiteX6809" y="connsiteY6809"/>
                </a:cxn>
                <a:cxn ang="0">
                  <a:pos x="connsiteX6810" y="connsiteY6810"/>
                </a:cxn>
                <a:cxn ang="0">
                  <a:pos x="connsiteX6811" y="connsiteY6811"/>
                </a:cxn>
                <a:cxn ang="0">
                  <a:pos x="connsiteX6812" y="connsiteY6812"/>
                </a:cxn>
                <a:cxn ang="0">
                  <a:pos x="connsiteX6813" y="connsiteY6813"/>
                </a:cxn>
                <a:cxn ang="0">
                  <a:pos x="connsiteX6814" y="connsiteY6814"/>
                </a:cxn>
                <a:cxn ang="0">
                  <a:pos x="connsiteX6815" y="connsiteY6815"/>
                </a:cxn>
                <a:cxn ang="0">
                  <a:pos x="connsiteX6816" y="connsiteY6816"/>
                </a:cxn>
                <a:cxn ang="0">
                  <a:pos x="connsiteX6817" y="connsiteY6817"/>
                </a:cxn>
                <a:cxn ang="0">
                  <a:pos x="connsiteX6818" y="connsiteY6818"/>
                </a:cxn>
                <a:cxn ang="0">
                  <a:pos x="connsiteX6819" y="connsiteY6819"/>
                </a:cxn>
                <a:cxn ang="0">
                  <a:pos x="connsiteX6820" y="connsiteY6820"/>
                </a:cxn>
                <a:cxn ang="0">
                  <a:pos x="connsiteX6821" y="connsiteY6821"/>
                </a:cxn>
                <a:cxn ang="0">
                  <a:pos x="connsiteX6822" y="connsiteY6822"/>
                </a:cxn>
                <a:cxn ang="0">
                  <a:pos x="connsiteX6823" y="connsiteY6823"/>
                </a:cxn>
                <a:cxn ang="0">
                  <a:pos x="connsiteX6824" y="connsiteY6824"/>
                </a:cxn>
                <a:cxn ang="0">
                  <a:pos x="connsiteX6825" y="connsiteY6825"/>
                </a:cxn>
                <a:cxn ang="0">
                  <a:pos x="connsiteX6826" y="connsiteY6826"/>
                </a:cxn>
                <a:cxn ang="0">
                  <a:pos x="connsiteX6827" y="connsiteY6827"/>
                </a:cxn>
                <a:cxn ang="0">
                  <a:pos x="connsiteX6828" y="connsiteY6828"/>
                </a:cxn>
                <a:cxn ang="0">
                  <a:pos x="connsiteX6829" y="connsiteY6829"/>
                </a:cxn>
                <a:cxn ang="0">
                  <a:pos x="connsiteX6830" y="connsiteY6830"/>
                </a:cxn>
                <a:cxn ang="0">
                  <a:pos x="connsiteX6831" y="connsiteY6831"/>
                </a:cxn>
                <a:cxn ang="0">
                  <a:pos x="connsiteX6832" y="connsiteY6832"/>
                </a:cxn>
                <a:cxn ang="0">
                  <a:pos x="connsiteX6833" y="connsiteY6833"/>
                </a:cxn>
                <a:cxn ang="0">
                  <a:pos x="connsiteX6834" y="connsiteY6834"/>
                </a:cxn>
                <a:cxn ang="0">
                  <a:pos x="connsiteX6835" y="connsiteY6835"/>
                </a:cxn>
                <a:cxn ang="0">
                  <a:pos x="connsiteX6836" y="connsiteY6836"/>
                </a:cxn>
                <a:cxn ang="0">
                  <a:pos x="connsiteX6837" y="connsiteY6837"/>
                </a:cxn>
                <a:cxn ang="0">
                  <a:pos x="connsiteX6838" y="connsiteY6838"/>
                </a:cxn>
                <a:cxn ang="0">
                  <a:pos x="connsiteX6839" y="connsiteY6839"/>
                </a:cxn>
                <a:cxn ang="0">
                  <a:pos x="connsiteX6840" y="connsiteY6840"/>
                </a:cxn>
                <a:cxn ang="0">
                  <a:pos x="connsiteX6841" y="connsiteY6841"/>
                </a:cxn>
                <a:cxn ang="0">
                  <a:pos x="connsiteX6842" y="connsiteY6842"/>
                </a:cxn>
                <a:cxn ang="0">
                  <a:pos x="connsiteX6843" y="connsiteY6843"/>
                </a:cxn>
                <a:cxn ang="0">
                  <a:pos x="connsiteX6844" y="connsiteY6844"/>
                </a:cxn>
                <a:cxn ang="0">
                  <a:pos x="connsiteX6845" y="connsiteY6845"/>
                </a:cxn>
                <a:cxn ang="0">
                  <a:pos x="connsiteX6846" y="connsiteY6846"/>
                </a:cxn>
                <a:cxn ang="0">
                  <a:pos x="connsiteX6847" y="connsiteY6847"/>
                </a:cxn>
                <a:cxn ang="0">
                  <a:pos x="connsiteX6848" y="connsiteY6848"/>
                </a:cxn>
                <a:cxn ang="0">
                  <a:pos x="connsiteX6849" y="connsiteY6849"/>
                </a:cxn>
                <a:cxn ang="0">
                  <a:pos x="connsiteX6850" y="connsiteY6850"/>
                </a:cxn>
                <a:cxn ang="0">
                  <a:pos x="connsiteX6851" y="connsiteY6851"/>
                </a:cxn>
                <a:cxn ang="0">
                  <a:pos x="connsiteX6852" y="connsiteY6852"/>
                </a:cxn>
                <a:cxn ang="0">
                  <a:pos x="connsiteX6853" y="connsiteY6853"/>
                </a:cxn>
                <a:cxn ang="0">
                  <a:pos x="connsiteX6854" y="connsiteY6854"/>
                </a:cxn>
                <a:cxn ang="0">
                  <a:pos x="connsiteX6855" y="connsiteY6855"/>
                </a:cxn>
                <a:cxn ang="0">
                  <a:pos x="connsiteX6856" y="connsiteY6856"/>
                </a:cxn>
                <a:cxn ang="0">
                  <a:pos x="connsiteX6857" y="connsiteY6857"/>
                </a:cxn>
                <a:cxn ang="0">
                  <a:pos x="connsiteX6858" y="connsiteY6858"/>
                </a:cxn>
                <a:cxn ang="0">
                  <a:pos x="connsiteX6859" y="connsiteY6859"/>
                </a:cxn>
                <a:cxn ang="0">
                  <a:pos x="connsiteX6860" y="connsiteY6860"/>
                </a:cxn>
                <a:cxn ang="0">
                  <a:pos x="connsiteX6861" y="connsiteY6861"/>
                </a:cxn>
                <a:cxn ang="0">
                  <a:pos x="connsiteX6862" y="connsiteY6862"/>
                </a:cxn>
                <a:cxn ang="0">
                  <a:pos x="connsiteX6863" y="connsiteY6863"/>
                </a:cxn>
                <a:cxn ang="0">
                  <a:pos x="connsiteX6864" y="connsiteY6864"/>
                </a:cxn>
                <a:cxn ang="0">
                  <a:pos x="connsiteX6865" y="connsiteY6865"/>
                </a:cxn>
                <a:cxn ang="0">
                  <a:pos x="connsiteX6866" y="connsiteY6866"/>
                </a:cxn>
                <a:cxn ang="0">
                  <a:pos x="connsiteX6867" y="connsiteY6867"/>
                </a:cxn>
                <a:cxn ang="0">
                  <a:pos x="connsiteX6868" y="connsiteY6868"/>
                </a:cxn>
                <a:cxn ang="0">
                  <a:pos x="connsiteX6869" y="connsiteY6869"/>
                </a:cxn>
                <a:cxn ang="0">
                  <a:pos x="connsiteX6870" y="connsiteY6870"/>
                </a:cxn>
                <a:cxn ang="0">
                  <a:pos x="connsiteX6871" y="connsiteY6871"/>
                </a:cxn>
                <a:cxn ang="0">
                  <a:pos x="connsiteX6872" y="connsiteY6872"/>
                </a:cxn>
                <a:cxn ang="0">
                  <a:pos x="connsiteX6873" y="connsiteY6873"/>
                </a:cxn>
                <a:cxn ang="0">
                  <a:pos x="connsiteX6874" y="connsiteY6874"/>
                </a:cxn>
                <a:cxn ang="0">
                  <a:pos x="connsiteX6875" y="connsiteY6875"/>
                </a:cxn>
                <a:cxn ang="0">
                  <a:pos x="connsiteX6876" y="connsiteY6876"/>
                </a:cxn>
                <a:cxn ang="0">
                  <a:pos x="connsiteX6877" y="connsiteY6877"/>
                </a:cxn>
                <a:cxn ang="0">
                  <a:pos x="connsiteX6878" y="connsiteY6878"/>
                </a:cxn>
                <a:cxn ang="0">
                  <a:pos x="connsiteX6879" y="connsiteY6879"/>
                </a:cxn>
                <a:cxn ang="0">
                  <a:pos x="connsiteX6880" y="connsiteY6880"/>
                </a:cxn>
                <a:cxn ang="0">
                  <a:pos x="connsiteX6881" y="connsiteY6881"/>
                </a:cxn>
                <a:cxn ang="0">
                  <a:pos x="connsiteX6882" y="connsiteY6882"/>
                </a:cxn>
                <a:cxn ang="0">
                  <a:pos x="connsiteX6883" y="connsiteY6883"/>
                </a:cxn>
                <a:cxn ang="0">
                  <a:pos x="connsiteX6884" y="connsiteY6884"/>
                </a:cxn>
                <a:cxn ang="0">
                  <a:pos x="connsiteX6885" y="connsiteY6885"/>
                </a:cxn>
                <a:cxn ang="0">
                  <a:pos x="connsiteX6886" y="connsiteY6886"/>
                </a:cxn>
                <a:cxn ang="0">
                  <a:pos x="connsiteX6887" y="connsiteY6887"/>
                </a:cxn>
                <a:cxn ang="0">
                  <a:pos x="connsiteX6888" y="connsiteY6888"/>
                </a:cxn>
                <a:cxn ang="0">
                  <a:pos x="connsiteX6889" y="connsiteY6889"/>
                </a:cxn>
                <a:cxn ang="0">
                  <a:pos x="connsiteX6890" y="connsiteY6890"/>
                </a:cxn>
                <a:cxn ang="0">
                  <a:pos x="connsiteX6891" y="connsiteY6891"/>
                </a:cxn>
                <a:cxn ang="0">
                  <a:pos x="connsiteX6892" y="connsiteY6892"/>
                </a:cxn>
                <a:cxn ang="0">
                  <a:pos x="connsiteX6893" y="connsiteY6893"/>
                </a:cxn>
                <a:cxn ang="0">
                  <a:pos x="connsiteX6894" y="connsiteY6894"/>
                </a:cxn>
                <a:cxn ang="0">
                  <a:pos x="connsiteX6895" y="connsiteY6895"/>
                </a:cxn>
                <a:cxn ang="0">
                  <a:pos x="connsiteX6896" y="connsiteY6896"/>
                </a:cxn>
                <a:cxn ang="0">
                  <a:pos x="connsiteX6897" y="connsiteY6897"/>
                </a:cxn>
                <a:cxn ang="0">
                  <a:pos x="connsiteX6898" y="connsiteY6898"/>
                </a:cxn>
                <a:cxn ang="0">
                  <a:pos x="connsiteX6899" y="connsiteY6899"/>
                </a:cxn>
                <a:cxn ang="0">
                  <a:pos x="connsiteX6900" y="connsiteY6900"/>
                </a:cxn>
                <a:cxn ang="0">
                  <a:pos x="connsiteX6901" y="connsiteY6901"/>
                </a:cxn>
                <a:cxn ang="0">
                  <a:pos x="connsiteX6902" y="connsiteY6902"/>
                </a:cxn>
                <a:cxn ang="0">
                  <a:pos x="connsiteX6903" y="connsiteY6903"/>
                </a:cxn>
                <a:cxn ang="0">
                  <a:pos x="connsiteX6904" y="connsiteY6904"/>
                </a:cxn>
                <a:cxn ang="0">
                  <a:pos x="connsiteX6905" y="connsiteY6905"/>
                </a:cxn>
                <a:cxn ang="0">
                  <a:pos x="connsiteX6906" y="connsiteY6906"/>
                </a:cxn>
                <a:cxn ang="0">
                  <a:pos x="connsiteX6907" y="connsiteY6907"/>
                </a:cxn>
                <a:cxn ang="0">
                  <a:pos x="connsiteX6908" y="connsiteY6908"/>
                </a:cxn>
                <a:cxn ang="0">
                  <a:pos x="connsiteX6909" y="connsiteY6909"/>
                </a:cxn>
                <a:cxn ang="0">
                  <a:pos x="connsiteX6910" y="connsiteY6910"/>
                </a:cxn>
                <a:cxn ang="0">
                  <a:pos x="connsiteX6911" y="connsiteY6911"/>
                </a:cxn>
                <a:cxn ang="0">
                  <a:pos x="connsiteX6912" y="connsiteY6912"/>
                </a:cxn>
                <a:cxn ang="0">
                  <a:pos x="connsiteX6913" y="connsiteY6913"/>
                </a:cxn>
                <a:cxn ang="0">
                  <a:pos x="connsiteX6914" y="connsiteY6914"/>
                </a:cxn>
                <a:cxn ang="0">
                  <a:pos x="connsiteX6915" y="connsiteY6915"/>
                </a:cxn>
                <a:cxn ang="0">
                  <a:pos x="connsiteX6916" y="connsiteY6916"/>
                </a:cxn>
                <a:cxn ang="0">
                  <a:pos x="connsiteX6917" y="connsiteY6917"/>
                </a:cxn>
                <a:cxn ang="0">
                  <a:pos x="connsiteX6918" y="connsiteY6918"/>
                </a:cxn>
                <a:cxn ang="0">
                  <a:pos x="connsiteX6919" y="connsiteY6919"/>
                </a:cxn>
                <a:cxn ang="0">
                  <a:pos x="connsiteX6920" y="connsiteY6920"/>
                </a:cxn>
                <a:cxn ang="0">
                  <a:pos x="connsiteX6921" y="connsiteY6921"/>
                </a:cxn>
                <a:cxn ang="0">
                  <a:pos x="connsiteX6922" y="connsiteY6922"/>
                </a:cxn>
                <a:cxn ang="0">
                  <a:pos x="connsiteX6923" y="connsiteY6923"/>
                </a:cxn>
                <a:cxn ang="0">
                  <a:pos x="connsiteX6924" y="connsiteY6924"/>
                </a:cxn>
                <a:cxn ang="0">
                  <a:pos x="connsiteX6925" y="connsiteY6925"/>
                </a:cxn>
                <a:cxn ang="0">
                  <a:pos x="connsiteX6926" y="connsiteY6926"/>
                </a:cxn>
                <a:cxn ang="0">
                  <a:pos x="connsiteX6927" y="connsiteY6927"/>
                </a:cxn>
                <a:cxn ang="0">
                  <a:pos x="connsiteX6928" y="connsiteY6928"/>
                </a:cxn>
                <a:cxn ang="0">
                  <a:pos x="connsiteX6929" y="connsiteY6929"/>
                </a:cxn>
                <a:cxn ang="0">
                  <a:pos x="connsiteX6930" y="connsiteY6930"/>
                </a:cxn>
                <a:cxn ang="0">
                  <a:pos x="connsiteX6931" y="connsiteY6931"/>
                </a:cxn>
                <a:cxn ang="0">
                  <a:pos x="connsiteX6932" y="connsiteY6932"/>
                </a:cxn>
                <a:cxn ang="0">
                  <a:pos x="connsiteX6933" y="connsiteY6933"/>
                </a:cxn>
                <a:cxn ang="0">
                  <a:pos x="connsiteX6934" y="connsiteY6934"/>
                </a:cxn>
                <a:cxn ang="0">
                  <a:pos x="connsiteX6935" y="connsiteY6935"/>
                </a:cxn>
                <a:cxn ang="0">
                  <a:pos x="connsiteX6936" y="connsiteY6936"/>
                </a:cxn>
                <a:cxn ang="0">
                  <a:pos x="connsiteX6937" y="connsiteY6937"/>
                </a:cxn>
                <a:cxn ang="0">
                  <a:pos x="connsiteX6938" y="connsiteY6938"/>
                </a:cxn>
                <a:cxn ang="0">
                  <a:pos x="connsiteX6939" y="connsiteY6939"/>
                </a:cxn>
                <a:cxn ang="0">
                  <a:pos x="connsiteX6940" y="connsiteY6940"/>
                </a:cxn>
                <a:cxn ang="0">
                  <a:pos x="connsiteX6941" y="connsiteY6941"/>
                </a:cxn>
                <a:cxn ang="0">
                  <a:pos x="connsiteX6942" y="connsiteY6942"/>
                </a:cxn>
                <a:cxn ang="0">
                  <a:pos x="connsiteX6943" y="connsiteY6943"/>
                </a:cxn>
                <a:cxn ang="0">
                  <a:pos x="connsiteX6944" y="connsiteY6944"/>
                </a:cxn>
                <a:cxn ang="0">
                  <a:pos x="connsiteX6945" y="connsiteY6945"/>
                </a:cxn>
                <a:cxn ang="0">
                  <a:pos x="connsiteX6946" y="connsiteY6946"/>
                </a:cxn>
                <a:cxn ang="0">
                  <a:pos x="connsiteX6947" y="connsiteY6947"/>
                </a:cxn>
                <a:cxn ang="0">
                  <a:pos x="connsiteX6948" y="connsiteY6948"/>
                </a:cxn>
                <a:cxn ang="0">
                  <a:pos x="connsiteX6949" y="connsiteY6949"/>
                </a:cxn>
                <a:cxn ang="0">
                  <a:pos x="connsiteX6950" y="connsiteY6950"/>
                </a:cxn>
                <a:cxn ang="0">
                  <a:pos x="connsiteX6951" y="connsiteY6951"/>
                </a:cxn>
                <a:cxn ang="0">
                  <a:pos x="connsiteX6952" y="connsiteY6952"/>
                </a:cxn>
                <a:cxn ang="0">
                  <a:pos x="connsiteX6953" y="connsiteY6953"/>
                </a:cxn>
                <a:cxn ang="0">
                  <a:pos x="connsiteX6954" y="connsiteY6954"/>
                </a:cxn>
                <a:cxn ang="0">
                  <a:pos x="connsiteX6955" y="connsiteY6955"/>
                </a:cxn>
                <a:cxn ang="0">
                  <a:pos x="connsiteX6956" y="connsiteY6956"/>
                </a:cxn>
                <a:cxn ang="0">
                  <a:pos x="connsiteX6957" y="connsiteY6957"/>
                </a:cxn>
                <a:cxn ang="0">
                  <a:pos x="connsiteX6958" y="connsiteY6958"/>
                </a:cxn>
                <a:cxn ang="0">
                  <a:pos x="connsiteX6959" y="connsiteY6959"/>
                </a:cxn>
                <a:cxn ang="0">
                  <a:pos x="connsiteX6960" y="connsiteY6960"/>
                </a:cxn>
                <a:cxn ang="0">
                  <a:pos x="connsiteX6961" y="connsiteY6961"/>
                </a:cxn>
                <a:cxn ang="0">
                  <a:pos x="connsiteX6962" y="connsiteY6962"/>
                </a:cxn>
                <a:cxn ang="0">
                  <a:pos x="connsiteX6963" y="connsiteY6963"/>
                </a:cxn>
                <a:cxn ang="0">
                  <a:pos x="connsiteX6964" y="connsiteY6964"/>
                </a:cxn>
                <a:cxn ang="0">
                  <a:pos x="connsiteX6965" y="connsiteY6965"/>
                </a:cxn>
                <a:cxn ang="0">
                  <a:pos x="connsiteX6966" y="connsiteY6966"/>
                </a:cxn>
                <a:cxn ang="0">
                  <a:pos x="connsiteX6967" y="connsiteY6967"/>
                </a:cxn>
                <a:cxn ang="0">
                  <a:pos x="connsiteX6968" y="connsiteY6968"/>
                </a:cxn>
                <a:cxn ang="0">
                  <a:pos x="connsiteX6969" y="connsiteY6969"/>
                </a:cxn>
                <a:cxn ang="0">
                  <a:pos x="connsiteX6970" y="connsiteY6970"/>
                </a:cxn>
                <a:cxn ang="0">
                  <a:pos x="connsiteX6971" y="connsiteY6971"/>
                </a:cxn>
                <a:cxn ang="0">
                  <a:pos x="connsiteX6972" y="connsiteY6972"/>
                </a:cxn>
                <a:cxn ang="0">
                  <a:pos x="connsiteX6973" y="connsiteY6973"/>
                </a:cxn>
                <a:cxn ang="0">
                  <a:pos x="connsiteX6974" y="connsiteY6974"/>
                </a:cxn>
                <a:cxn ang="0">
                  <a:pos x="connsiteX6975" y="connsiteY6975"/>
                </a:cxn>
                <a:cxn ang="0">
                  <a:pos x="connsiteX6976" y="connsiteY6976"/>
                </a:cxn>
                <a:cxn ang="0">
                  <a:pos x="connsiteX6977" y="connsiteY6977"/>
                </a:cxn>
                <a:cxn ang="0">
                  <a:pos x="connsiteX6978" y="connsiteY6978"/>
                </a:cxn>
                <a:cxn ang="0">
                  <a:pos x="connsiteX6979" y="connsiteY6979"/>
                </a:cxn>
                <a:cxn ang="0">
                  <a:pos x="connsiteX6980" y="connsiteY6980"/>
                </a:cxn>
                <a:cxn ang="0">
                  <a:pos x="connsiteX6981" y="connsiteY6981"/>
                </a:cxn>
                <a:cxn ang="0">
                  <a:pos x="connsiteX6982" y="connsiteY6982"/>
                </a:cxn>
                <a:cxn ang="0">
                  <a:pos x="connsiteX6983" y="connsiteY6983"/>
                </a:cxn>
                <a:cxn ang="0">
                  <a:pos x="connsiteX6984" y="connsiteY6984"/>
                </a:cxn>
                <a:cxn ang="0">
                  <a:pos x="connsiteX6985" y="connsiteY6985"/>
                </a:cxn>
                <a:cxn ang="0">
                  <a:pos x="connsiteX6986" y="connsiteY6986"/>
                </a:cxn>
                <a:cxn ang="0">
                  <a:pos x="connsiteX6987" y="connsiteY6987"/>
                </a:cxn>
                <a:cxn ang="0">
                  <a:pos x="connsiteX6988" y="connsiteY6988"/>
                </a:cxn>
                <a:cxn ang="0">
                  <a:pos x="connsiteX6989" y="connsiteY6989"/>
                </a:cxn>
                <a:cxn ang="0">
                  <a:pos x="connsiteX6990" y="connsiteY6990"/>
                </a:cxn>
                <a:cxn ang="0">
                  <a:pos x="connsiteX6991" y="connsiteY6991"/>
                </a:cxn>
                <a:cxn ang="0">
                  <a:pos x="connsiteX6992" y="connsiteY6992"/>
                </a:cxn>
                <a:cxn ang="0">
                  <a:pos x="connsiteX6993" y="connsiteY6993"/>
                </a:cxn>
                <a:cxn ang="0">
                  <a:pos x="connsiteX6994" y="connsiteY6994"/>
                </a:cxn>
                <a:cxn ang="0">
                  <a:pos x="connsiteX6995" y="connsiteY6995"/>
                </a:cxn>
                <a:cxn ang="0">
                  <a:pos x="connsiteX6996" y="connsiteY6996"/>
                </a:cxn>
                <a:cxn ang="0">
                  <a:pos x="connsiteX6997" y="connsiteY6997"/>
                </a:cxn>
                <a:cxn ang="0">
                  <a:pos x="connsiteX6998" y="connsiteY6998"/>
                </a:cxn>
                <a:cxn ang="0">
                  <a:pos x="connsiteX6999" y="connsiteY6999"/>
                </a:cxn>
                <a:cxn ang="0">
                  <a:pos x="connsiteX7000" y="connsiteY7000"/>
                </a:cxn>
                <a:cxn ang="0">
                  <a:pos x="connsiteX7001" y="connsiteY7001"/>
                </a:cxn>
                <a:cxn ang="0">
                  <a:pos x="connsiteX7002" y="connsiteY7002"/>
                </a:cxn>
                <a:cxn ang="0">
                  <a:pos x="connsiteX7003" y="connsiteY7003"/>
                </a:cxn>
                <a:cxn ang="0">
                  <a:pos x="connsiteX7004" y="connsiteY7004"/>
                </a:cxn>
                <a:cxn ang="0">
                  <a:pos x="connsiteX7005" y="connsiteY7005"/>
                </a:cxn>
                <a:cxn ang="0">
                  <a:pos x="connsiteX7006" y="connsiteY7006"/>
                </a:cxn>
                <a:cxn ang="0">
                  <a:pos x="connsiteX7007" y="connsiteY7007"/>
                </a:cxn>
                <a:cxn ang="0">
                  <a:pos x="connsiteX7008" y="connsiteY7008"/>
                </a:cxn>
                <a:cxn ang="0">
                  <a:pos x="connsiteX7009" y="connsiteY7009"/>
                </a:cxn>
                <a:cxn ang="0">
                  <a:pos x="connsiteX7010" y="connsiteY7010"/>
                </a:cxn>
                <a:cxn ang="0">
                  <a:pos x="connsiteX7011" y="connsiteY7011"/>
                </a:cxn>
                <a:cxn ang="0">
                  <a:pos x="connsiteX7012" y="connsiteY7012"/>
                </a:cxn>
                <a:cxn ang="0">
                  <a:pos x="connsiteX7013" y="connsiteY7013"/>
                </a:cxn>
                <a:cxn ang="0">
                  <a:pos x="connsiteX7014" y="connsiteY7014"/>
                </a:cxn>
                <a:cxn ang="0">
                  <a:pos x="connsiteX7015" y="connsiteY7015"/>
                </a:cxn>
                <a:cxn ang="0">
                  <a:pos x="connsiteX7016" y="connsiteY7016"/>
                </a:cxn>
                <a:cxn ang="0">
                  <a:pos x="connsiteX7017" y="connsiteY7017"/>
                </a:cxn>
                <a:cxn ang="0">
                  <a:pos x="connsiteX7018" y="connsiteY7018"/>
                </a:cxn>
                <a:cxn ang="0">
                  <a:pos x="connsiteX7019" y="connsiteY7019"/>
                </a:cxn>
                <a:cxn ang="0">
                  <a:pos x="connsiteX7020" y="connsiteY7020"/>
                </a:cxn>
                <a:cxn ang="0">
                  <a:pos x="connsiteX7021" y="connsiteY7021"/>
                </a:cxn>
                <a:cxn ang="0">
                  <a:pos x="connsiteX7022" y="connsiteY7022"/>
                </a:cxn>
                <a:cxn ang="0">
                  <a:pos x="connsiteX7023" y="connsiteY7023"/>
                </a:cxn>
                <a:cxn ang="0">
                  <a:pos x="connsiteX7024" y="connsiteY7024"/>
                </a:cxn>
                <a:cxn ang="0">
                  <a:pos x="connsiteX7025" y="connsiteY7025"/>
                </a:cxn>
                <a:cxn ang="0">
                  <a:pos x="connsiteX7026" y="connsiteY7026"/>
                </a:cxn>
                <a:cxn ang="0">
                  <a:pos x="connsiteX7027" y="connsiteY7027"/>
                </a:cxn>
                <a:cxn ang="0">
                  <a:pos x="connsiteX7028" y="connsiteY7028"/>
                </a:cxn>
                <a:cxn ang="0">
                  <a:pos x="connsiteX7029" y="connsiteY7029"/>
                </a:cxn>
                <a:cxn ang="0">
                  <a:pos x="connsiteX7030" y="connsiteY7030"/>
                </a:cxn>
                <a:cxn ang="0">
                  <a:pos x="connsiteX7031" y="connsiteY7031"/>
                </a:cxn>
                <a:cxn ang="0">
                  <a:pos x="connsiteX7032" y="connsiteY7032"/>
                </a:cxn>
                <a:cxn ang="0">
                  <a:pos x="connsiteX7033" y="connsiteY7033"/>
                </a:cxn>
                <a:cxn ang="0">
                  <a:pos x="connsiteX7034" y="connsiteY7034"/>
                </a:cxn>
                <a:cxn ang="0">
                  <a:pos x="connsiteX7035" y="connsiteY7035"/>
                </a:cxn>
                <a:cxn ang="0">
                  <a:pos x="connsiteX7036" y="connsiteY7036"/>
                </a:cxn>
                <a:cxn ang="0">
                  <a:pos x="connsiteX7037" y="connsiteY7037"/>
                </a:cxn>
                <a:cxn ang="0">
                  <a:pos x="connsiteX7038" y="connsiteY7038"/>
                </a:cxn>
                <a:cxn ang="0">
                  <a:pos x="connsiteX7039" y="connsiteY7039"/>
                </a:cxn>
                <a:cxn ang="0">
                  <a:pos x="connsiteX7040" y="connsiteY7040"/>
                </a:cxn>
                <a:cxn ang="0">
                  <a:pos x="connsiteX7041" y="connsiteY7041"/>
                </a:cxn>
                <a:cxn ang="0">
                  <a:pos x="connsiteX7042" y="connsiteY7042"/>
                </a:cxn>
                <a:cxn ang="0">
                  <a:pos x="connsiteX7043" y="connsiteY7043"/>
                </a:cxn>
                <a:cxn ang="0">
                  <a:pos x="connsiteX7044" y="connsiteY7044"/>
                </a:cxn>
                <a:cxn ang="0">
                  <a:pos x="connsiteX7045" y="connsiteY7045"/>
                </a:cxn>
                <a:cxn ang="0">
                  <a:pos x="connsiteX7046" y="connsiteY7046"/>
                </a:cxn>
                <a:cxn ang="0">
                  <a:pos x="connsiteX7047" y="connsiteY7047"/>
                </a:cxn>
                <a:cxn ang="0">
                  <a:pos x="connsiteX7048" y="connsiteY7048"/>
                </a:cxn>
                <a:cxn ang="0">
                  <a:pos x="connsiteX7049" y="connsiteY7049"/>
                </a:cxn>
                <a:cxn ang="0">
                  <a:pos x="connsiteX7050" y="connsiteY7050"/>
                </a:cxn>
                <a:cxn ang="0">
                  <a:pos x="connsiteX7051" y="connsiteY7051"/>
                </a:cxn>
                <a:cxn ang="0">
                  <a:pos x="connsiteX7052" y="connsiteY7052"/>
                </a:cxn>
                <a:cxn ang="0">
                  <a:pos x="connsiteX7053" y="connsiteY7053"/>
                </a:cxn>
                <a:cxn ang="0">
                  <a:pos x="connsiteX7054" y="connsiteY7054"/>
                </a:cxn>
                <a:cxn ang="0">
                  <a:pos x="connsiteX7055" y="connsiteY7055"/>
                </a:cxn>
                <a:cxn ang="0">
                  <a:pos x="connsiteX7056" y="connsiteY7056"/>
                </a:cxn>
                <a:cxn ang="0">
                  <a:pos x="connsiteX7057" y="connsiteY7057"/>
                </a:cxn>
                <a:cxn ang="0">
                  <a:pos x="connsiteX7058" y="connsiteY7058"/>
                </a:cxn>
                <a:cxn ang="0">
                  <a:pos x="connsiteX7059" y="connsiteY7059"/>
                </a:cxn>
                <a:cxn ang="0">
                  <a:pos x="connsiteX7060" y="connsiteY7060"/>
                </a:cxn>
                <a:cxn ang="0">
                  <a:pos x="connsiteX7061" y="connsiteY7061"/>
                </a:cxn>
                <a:cxn ang="0">
                  <a:pos x="connsiteX7062" y="connsiteY7062"/>
                </a:cxn>
                <a:cxn ang="0">
                  <a:pos x="connsiteX7063" y="connsiteY7063"/>
                </a:cxn>
                <a:cxn ang="0">
                  <a:pos x="connsiteX7064" y="connsiteY7064"/>
                </a:cxn>
                <a:cxn ang="0">
                  <a:pos x="connsiteX7065" y="connsiteY7065"/>
                </a:cxn>
                <a:cxn ang="0">
                  <a:pos x="connsiteX7066" y="connsiteY7066"/>
                </a:cxn>
                <a:cxn ang="0">
                  <a:pos x="connsiteX7067" y="connsiteY7067"/>
                </a:cxn>
                <a:cxn ang="0">
                  <a:pos x="connsiteX7068" y="connsiteY7068"/>
                </a:cxn>
                <a:cxn ang="0">
                  <a:pos x="connsiteX7069" y="connsiteY7069"/>
                </a:cxn>
                <a:cxn ang="0">
                  <a:pos x="connsiteX7070" y="connsiteY7070"/>
                </a:cxn>
                <a:cxn ang="0">
                  <a:pos x="connsiteX7071" y="connsiteY7071"/>
                </a:cxn>
                <a:cxn ang="0">
                  <a:pos x="connsiteX7072" y="connsiteY7072"/>
                </a:cxn>
                <a:cxn ang="0">
                  <a:pos x="connsiteX7073" y="connsiteY7073"/>
                </a:cxn>
                <a:cxn ang="0">
                  <a:pos x="connsiteX7074" y="connsiteY7074"/>
                </a:cxn>
                <a:cxn ang="0">
                  <a:pos x="connsiteX7075" y="connsiteY7075"/>
                </a:cxn>
                <a:cxn ang="0">
                  <a:pos x="connsiteX7076" y="connsiteY7076"/>
                </a:cxn>
                <a:cxn ang="0">
                  <a:pos x="connsiteX7077" y="connsiteY7077"/>
                </a:cxn>
                <a:cxn ang="0">
                  <a:pos x="connsiteX7078" y="connsiteY7078"/>
                </a:cxn>
                <a:cxn ang="0">
                  <a:pos x="connsiteX7079" y="connsiteY7079"/>
                </a:cxn>
                <a:cxn ang="0">
                  <a:pos x="connsiteX7080" y="connsiteY7080"/>
                </a:cxn>
                <a:cxn ang="0">
                  <a:pos x="connsiteX7081" y="connsiteY7081"/>
                </a:cxn>
                <a:cxn ang="0">
                  <a:pos x="connsiteX7082" y="connsiteY7082"/>
                </a:cxn>
                <a:cxn ang="0">
                  <a:pos x="connsiteX7083" y="connsiteY7083"/>
                </a:cxn>
                <a:cxn ang="0">
                  <a:pos x="connsiteX7084" y="connsiteY7084"/>
                </a:cxn>
                <a:cxn ang="0">
                  <a:pos x="connsiteX7085" y="connsiteY7085"/>
                </a:cxn>
                <a:cxn ang="0">
                  <a:pos x="connsiteX7086" y="connsiteY7086"/>
                </a:cxn>
                <a:cxn ang="0">
                  <a:pos x="connsiteX7087" y="connsiteY7087"/>
                </a:cxn>
                <a:cxn ang="0">
                  <a:pos x="connsiteX7088" y="connsiteY7088"/>
                </a:cxn>
                <a:cxn ang="0">
                  <a:pos x="connsiteX7089" y="connsiteY7089"/>
                </a:cxn>
                <a:cxn ang="0">
                  <a:pos x="connsiteX7090" y="connsiteY7090"/>
                </a:cxn>
                <a:cxn ang="0">
                  <a:pos x="connsiteX7091" y="connsiteY7091"/>
                </a:cxn>
                <a:cxn ang="0">
                  <a:pos x="connsiteX7092" y="connsiteY7092"/>
                </a:cxn>
                <a:cxn ang="0">
                  <a:pos x="connsiteX7093" y="connsiteY7093"/>
                </a:cxn>
                <a:cxn ang="0">
                  <a:pos x="connsiteX7094" y="connsiteY7094"/>
                </a:cxn>
                <a:cxn ang="0">
                  <a:pos x="connsiteX7095" y="connsiteY7095"/>
                </a:cxn>
                <a:cxn ang="0">
                  <a:pos x="connsiteX7096" y="connsiteY7096"/>
                </a:cxn>
                <a:cxn ang="0">
                  <a:pos x="connsiteX7097" y="connsiteY7097"/>
                </a:cxn>
                <a:cxn ang="0">
                  <a:pos x="connsiteX7098" y="connsiteY7098"/>
                </a:cxn>
                <a:cxn ang="0">
                  <a:pos x="connsiteX7099" y="connsiteY7099"/>
                </a:cxn>
                <a:cxn ang="0">
                  <a:pos x="connsiteX7100" y="connsiteY7100"/>
                </a:cxn>
                <a:cxn ang="0">
                  <a:pos x="connsiteX7101" y="connsiteY7101"/>
                </a:cxn>
                <a:cxn ang="0">
                  <a:pos x="connsiteX7102" y="connsiteY7102"/>
                </a:cxn>
                <a:cxn ang="0">
                  <a:pos x="connsiteX7103" y="connsiteY7103"/>
                </a:cxn>
                <a:cxn ang="0">
                  <a:pos x="connsiteX7104" y="connsiteY7104"/>
                </a:cxn>
                <a:cxn ang="0">
                  <a:pos x="connsiteX7105" y="connsiteY7105"/>
                </a:cxn>
                <a:cxn ang="0">
                  <a:pos x="connsiteX7106" y="connsiteY7106"/>
                </a:cxn>
                <a:cxn ang="0">
                  <a:pos x="connsiteX7107" y="connsiteY7107"/>
                </a:cxn>
                <a:cxn ang="0">
                  <a:pos x="connsiteX7108" y="connsiteY7108"/>
                </a:cxn>
                <a:cxn ang="0">
                  <a:pos x="connsiteX7109" y="connsiteY7109"/>
                </a:cxn>
                <a:cxn ang="0">
                  <a:pos x="connsiteX7110" y="connsiteY7110"/>
                </a:cxn>
                <a:cxn ang="0">
                  <a:pos x="connsiteX7111" y="connsiteY7111"/>
                </a:cxn>
                <a:cxn ang="0">
                  <a:pos x="connsiteX7112" y="connsiteY7112"/>
                </a:cxn>
                <a:cxn ang="0">
                  <a:pos x="connsiteX7113" y="connsiteY7113"/>
                </a:cxn>
                <a:cxn ang="0">
                  <a:pos x="connsiteX7114" y="connsiteY7114"/>
                </a:cxn>
                <a:cxn ang="0">
                  <a:pos x="connsiteX7115" y="connsiteY7115"/>
                </a:cxn>
                <a:cxn ang="0">
                  <a:pos x="connsiteX7116" y="connsiteY7116"/>
                </a:cxn>
                <a:cxn ang="0">
                  <a:pos x="connsiteX7117" y="connsiteY7117"/>
                </a:cxn>
                <a:cxn ang="0">
                  <a:pos x="connsiteX7118" y="connsiteY7118"/>
                </a:cxn>
                <a:cxn ang="0">
                  <a:pos x="connsiteX7119" y="connsiteY7119"/>
                </a:cxn>
                <a:cxn ang="0">
                  <a:pos x="connsiteX7120" y="connsiteY7120"/>
                </a:cxn>
                <a:cxn ang="0">
                  <a:pos x="connsiteX7121" y="connsiteY7121"/>
                </a:cxn>
                <a:cxn ang="0">
                  <a:pos x="connsiteX7122" y="connsiteY7122"/>
                </a:cxn>
                <a:cxn ang="0">
                  <a:pos x="connsiteX7123" y="connsiteY7123"/>
                </a:cxn>
                <a:cxn ang="0">
                  <a:pos x="connsiteX7124" y="connsiteY7124"/>
                </a:cxn>
                <a:cxn ang="0">
                  <a:pos x="connsiteX7125" y="connsiteY7125"/>
                </a:cxn>
                <a:cxn ang="0">
                  <a:pos x="connsiteX7126" y="connsiteY7126"/>
                </a:cxn>
                <a:cxn ang="0">
                  <a:pos x="connsiteX7127" y="connsiteY7127"/>
                </a:cxn>
                <a:cxn ang="0">
                  <a:pos x="connsiteX7128" y="connsiteY7128"/>
                </a:cxn>
                <a:cxn ang="0">
                  <a:pos x="connsiteX7129" y="connsiteY7129"/>
                </a:cxn>
                <a:cxn ang="0">
                  <a:pos x="connsiteX7130" y="connsiteY7130"/>
                </a:cxn>
                <a:cxn ang="0">
                  <a:pos x="connsiteX7131" y="connsiteY7131"/>
                </a:cxn>
                <a:cxn ang="0">
                  <a:pos x="connsiteX7132" y="connsiteY7132"/>
                </a:cxn>
                <a:cxn ang="0">
                  <a:pos x="connsiteX7133" y="connsiteY7133"/>
                </a:cxn>
                <a:cxn ang="0">
                  <a:pos x="connsiteX7134" y="connsiteY7134"/>
                </a:cxn>
                <a:cxn ang="0">
                  <a:pos x="connsiteX7135" y="connsiteY7135"/>
                </a:cxn>
                <a:cxn ang="0">
                  <a:pos x="connsiteX7136" y="connsiteY7136"/>
                </a:cxn>
                <a:cxn ang="0">
                  <a:pos x="connsiteX7137" y="connsiteY7137"/>
                </a:cxn>
                <a:cxn ang="0">
                  <a:pos x="connsiteX7138" y="connsiteY7138"/>
                </a:cxn>
                <a:cxn ang="0">
                  <a:pos x="connsiteX7139" y="connsiteY7139"/>
                </a:cxn>
                <a:cxn ang="0">
                  <a:pos x="connsiteX7140" y="connsiteY7140"/>
                </a:cxn>
                <a:cxn ang="0">
                  <a:pos x="connsiteX7141" y="connsiteY7141"/>
                </a:cxn>
                <a:cxn ang="0">
                  <a:pos x="connsiteX7142" y="connsiteY7142"/>
                </a:cxn>
                <a:cxn ang="0">
                  <a:pos x="connsiteX7143" y="connsiteY7143"/>
                </a:cxn>
                <a:cxn ang="0">
                  <a:pos x="connsiteX7144" y="connsiteY7144"/>
                </a:cxn>
                <a:cxn ang="0">
                  <a:pos x="connsiteX7145" y="connsiteY7145"/>
                </a:cxn>
                <a:cxn ang="0">
                  <a:pos x="connsiteX7146" y="connsiteY7146"/>
                </a:cxn>
                <a:cxn ang="0">
                  <a:pos x="connsiteX7147" y="connsiteY7147"/>
                </a:cxn>
                <a:cxn ang="0">
                  <a:pos x="connsiteX7148" y="connsiteY7148"/>
                </a:cxn>
                <a:cxn ang="0">
                  <a:pos x="connsiteX7149" y="connsiteY7149"/>
                </a:cxn>
                <a:cxn ang="0">
                  <a:pos x="connsiteX7150" y="connsiteY7150"/>
                </a:cxn>
                <a:cxn ang="0">
                  <a:pos x="connsiteX7151" y="connsiteY7151"/>
                </a:cxn>
                <a:cxn ang="0">
                  <a:pos x="connsiteX7152" y="connsiteY7152"/>
                </a:cxn>
                <a:cxn ang="0">
                  <a:pos x="connsiteX7153" y="connsiteY7153"/>
                </a:cxn>
                <a:cxn ang="0">
                  <a:pos x="connsiteX7154" y="connsiteY7154"/>
                </a:cxn>
                <a:cxn ang="0">
                  <a:pos x="connsiteX7155" y="connsiteY7155"/>
                </a:cxn>
                <a:cxn ang="0">
                  <a:pos x="connsiteX7156" y="connsiteY7156"/>
                </a:cxn>
                <a:cxn ang="0">
                  <a:pos x="connsiteX7157" y="connsiteY7157"/>
                </a:cxn>
                <a:cxn ang="0">
                  <a:pos x="connsiteX7158" y="connsiteY7158"/>
                </a:cxn>
                <a:cxn ang="0">
                  <a:pos x="connsiteX7159" y="connsiteY7159"/>
                </a:cxn>
                <a:cxn ang="0">
                  <a:pos x="connsiteX7160" y="connsiteY7160"/>
                </a:cxn>
                <a:cxn ang="0">
                  <a:pos x="connsiteX7161" y="connsiteY7161"/>
                </a:cxn>
                <a:cxn ang="0">
                  <a:pos x="connsiteX7162" y="connsiteY7162"/>
                </a:cxn>
                <a:cxn ang="0">
                  <a:pos x="connsiteX7163" y="connsiteY7163"/>
                </a:cxn>
                <a:cxn ang="0">
                  <a:pos x="connsiteX7164" y="connsiteY7164"/>
                </a:cxn>
                <a:cxn ang="0">
                  <a:pos x="connsiteX7165" y="connsiteY7165"/>
                </a:cxn>
                <a:cxn ang="0">
                  <a:pos x="connsiteX7166" y="connsiteY7166"/>
                </a:cxn>
                <a:cxn ang="0">
                  <a:pos x="connsiteX7167" y="connsiteY7167"/>
                </a:cxn>
                <a:cxn ang="0">
                  <a:pos x="connsiteX7168" y="connsiteY7168"/>
                </a:cxn>
                <a:cxn ang="0">
                  <a:pos x="connsiteX7169" y="connsiteY7169"/>
                </a:cxn>
                <a:cxn ang="0">
                  <a:pos x="connsiteX7170" y="connsiteY7170"/>
                </a:cxn>
                <a:cxn ang="0">
                  <a:pos x="connsiteX7171" y="connsiteY7171"/>
                </a:cxn>
              </a:cxnLst>
              <a:rect l="l" t="t" r="r" b="b"/>
              <a:pathLst>
                <a:path w="3368309" h="2031151">
                  <a:moveTo>
                    <a:pt x="2610945" y="1865798"/>
                  </a:moveTo>
                  <a:lnTo>
                    <a:pt x="2610456" y="1864984"/>
                  </a:lnTo>
                  <a:lnTo>
                    <a:pt x="2606058" y="1860911"/>
                  </a:lnTo>
                  <a:lnTo>
                    <a:pt x="2606058" y="1860911"/>
                  </a:lnTo>
                  <a:cubicBezTo>
                    <a:pt x="2606058" y="1860911"/>
                    <a:pt x="2607035" y="1858142"/>
                    <a:pt x="2607035" y="1858142"/>
                  </a:cubicBezTo>
                  <a:lnTo>
                    <a:pt x="2607035" y="1855209"/>
                  </a:lnTo>
                  <a:lnTo>
                    <a:pt x="2605080" y="1853906"/>
                  </a:lnTo>
                  <a:lnTo>
                    <a:pt x="2604266" y="1849508"/>
                  </a:lnTo>
                  <a:lnTo>
                    <a:pt x="2604592" y="1847553"/>
                  </a:lnTo>
                  <a:lnTo>
                    <a:pt x="2607524" y="1845761"/>
                  </a:lnTo>
                  <a:lnTo>
                    <a:pt x="2613552" y="1846412"/>
                  </a:lnTo>
                  <a:lnTo>
                    <a:pt x="2615344" y="1845924"/>
                  </a:lnTo>
                  <a:lnTo>
                    <a:pt x="2615344" y="1841525"/>
                  </a:lnTo>
                  <a:cubicBezTo>
                    <a:pt x="2615344" y="1841525"/>
                    <a:pt x="2614692" y="1838918"/>
                    <a:pt x="2614692" y="1838918"/>
                  </a:cubicBezTo>
                  <a:lnTo>
                    <a:pt x="2614692" y="1835497"/>
                  </a:lnTo>
                  <a:cubicBezTo>
                    <a:pt x="2614692" y="1835497"/>
                    <a:pt x="2616158" y="1833054"/>
                    <a:pt x="2616158" y="1833054"/>
                  </a:cubicBezTo>
                  <a:lnTo>
                    <a:pt x="2616158" y="1828492"/>
                  </a:lnTo>
                  <a:cubicBezTo>
                    <a:pt x="2616158" y="1828492"/>
                    <a:pt x="2615669" y="1823931"/>
                    <a:pt x="2615669" y="1823931"/>
                  </a:cubicBezTo>
                  <a:lnTo>
                    <a:pt x="2612737" y="1821650"/>
                  </a:lnTo>
                  <a:lnTo>
                    <a:pt x="2612737" y="1812853"/>
                  </a:lnTo>
                  <a:lnTo>
                    <a:pt x="2612248" y="1808617"/>
                  </a:lnTo>
                  <a:lnTo>
                    <a:pt x="2611760" y="1802427"/>
                  </a:lnTo>
                  <a:lnTo>
                    <a:pt x="2611760" y="1797865"/>
                  </a:lnTo>
                  <a:cubicBezTo>
                    <a:pt x="2611760" y="1797865"/>
                    <a:pt x="2608664" y="1793467"/>
                    <a:pt x="2608664" y="1793467"/>
                  </a:cubicBezTo>
                  <a:lnTo>
                    <a:pt x="2607035" y="1790372"/>
                  </a:lnTo>
                  <a:lnTo>
                    <a:pt x="2605895" y="1786625"/>
                  </a:lnTo>
                  <a:lnTo>
                    <a:pt x="2599867" y="1777339"/>
                  </a:lnTo>
                  <a:lnTo>
                    <a:pt x="2598075" y="1773103"/>
                  </a:lnTo>
                  <a:lnTo>
                    <a:pt x="2599215" y="1770823"/>
                  </a:lnTo>
                  <a:lnTo>
                    <a:pt x="2602311" y="1768868"/>
                  </a:lnTo>
                  <a:lnTo>
                    <a:pt x="2605243" y="1768542"/>
                  </a:lnTo>
                  <a:lnTo>
                    <a:pt x="2607687" y="1765284"/>
                  </a:lnTo>
                  <a:lnTo>
                    <a:pt x="2608664" y="1761862"/>
                  </a:lnTo>
                  <a:lnTo>
                    <a:pt x="2613388" y="1754532"/>
                  </a:lnTo>
                  <a:lnTo>
                    <a:pt x="2615344" y="1754043"/>
                  </a:lnTo>
                  <a:lnTo>
                    <a:pt x="2619417" y="1755183"/>
                  </a:lnTo>
                  <a:lnTo>
                    <a:pt x="2622674" y="1756486"/>
                  </a:lnTo>
                  <a:lnTo>
                    <a:pt x="2638965" y="1759419"/>
                  </a:lnTo>
                  <a:lnTo>
                    <a:pt x="2641409" y="1760233"/>
                  </a:lnTo>
                  <a:lnTo>
                    <a:pt x="2644342" y="1760233"/>
                  </a:lnTo>
                  <a:lnTo>
                    <a:pt x="2646296" y="1757790"/>
                  </a:lnTo>
                  <a:lnTo>
                    <a:pt x="2645645" y="1754043"/>
                  </a:lnTo>
                  <a:lnTo>
                    <a:pt x="2644015" y="1751110"/>
                  </a:lnTo>
                  <a:lnTo>
                    <a:pt x="2643690" y="1748504"/>
                  </a:lnTo>
                  <a:lnTo>
                    <a:pt x="2644667" y="1746549"/>
                  </a:lnTo>
                  <a:lnTo>
                    <a:pt x="2643690" y="1743942"/>
                  </a:lnTo>
                  <a:lnTo>
                    <a:pt x="2643038" y="1741010"/>
                  </a:lnTo>
                  <a:lnTo>
                    <a:pt x="2645319" y="1735960"/>
                  </a:lnTo>
                  <a:lnTo>
                    <a:pt x="2646948" y="1734168"/>
                  </a:lnTo>
                  <a:lnTo>
                    <a:pt x="2646133" y="1730258"/>
                  </a:lnTo>
                  <a:lnTo>
                    <a:pt x="2644667" y="1727652"/>
                  </a:lnTo>
                  <a:lnTo>
                    <a:pt x="2645482" y="1726185"/>
                  </a:lnTo>
                  <a:lnTo>
                    <a:pt x="2648903" y="1724393"/>
                  </a:lnTo>
                  <a:lnTo>
                    <a:pt x="2647599" y="1721950"/>
                  </a:lnTo>
                  <a:lnTo>
                    <a:pt x="2647599" y="1719017"/>
                  </a:lnTo>
                  <a:lnTo>
                    <a:pt x="2645970" y="1716411"/>
                  </a:lnTo>
                  <a:lnTo>
                    <a:pt x="2646948" y="1712990"/>
                  </a:lnTo>
                  <a:lnTo>
                    <a:pt x="2649392" y="1711198"/>
                  </a:lnTo>
                  <a:lnTo>
                    <a:pt x="2649392" y="1709243"/>
                  </a:lnTo>
                  <a:lnTo>
                    <a:pt x="2648088" y="1706636"/>
                  </a:lnTo>
                  <a:lnTo>
                    <a:pt x="2646133" y="1701423"/>
                  </a:lnTo>
                  <a:lnTo>
                    <a:pt x="2645808" y="1695395"/>
                  </a:lnTo>
                  <a:lnTo>
                    <a:pt x="2647436" y="1694744"/>
                  </a:lnTo>
                  <a:lnTo>
                    <a:pt x="2648577" y="1693603"/>
                  </a:lnTo>
                  <a:lnTo>
                    <a:pt x="2648577" y="1691649"/>
                  </a:lnTo>
                  <a:cubicBezTo>
                    <a:pt x="2648577" y="1691649"/>
                    <a:pt x="2647274" y="1689857"/>
                    <a:pt x="2647274" y="1689857"/>
                  </a:cubicBezTo>
                  <a:lnTo>
                    <a:pt x="2647599" y="1686924"/>
                  </a:lnTo>
                  <a:lnTo>
                    <a:pt x="2645319" y="1685295"/>
                  </a:lnTo>
                  <a:lnTo>
                    <a:pt x="2643690" y="1683014"/>
                  </a:lnTo>
                  <a:lnTo>
                    <a:pt x="2645156" y="1679268"/>
                  </a:lnTo>
                  <a:lnTo>
                    <a:pt x="2645482" y="1675032"/>
                  </a:lnTo>
                  <a:lnTo>
                    <a:pt x="2644342" y="1673729"/>
                  </a:lnTo>
                  <a:lnTo>
                    <a:pt x="2642061" y="1670633"/>
                  </a:lnTo>
                  <a:lnTo>
                    <a:pt x="2642061" y="1668353"/>
                  </a:lnTo>
                  <a:lnTo>
                    <a:pt x="2645482" y="1664117"/>
                  </a:lnTo>
                  <a:lnTo>
                    <a:pt x="2649392" y="1663302"/>
                  </a:lnTo>
                  <a:lnTo>
                    <a:pt x="2650369" y="1661348"/>
                  </a:lnTo>
                  <a:lnTo>
                    <a:pt x="2650369" y="1656949"/>
                  </a:lnTo>
                  <a:cubicBezTo>
                    <a:pt x="2650369" y="1656949"/>
                    <a:pt x="2651672" y="1651573"/>
                    <a:pt x="2651672" y="1651573"/>
                  </a:cubicBezTo>
                  <a:lnTo>
                    <a:pt x="2648577" y="1649781"/>
                  </a:lnTo>
                  <a:lnTo>
                    <a:pt x="2646133" y="1647174"/>
                  </a:lnTo>
                  <a:lnTo>
                    <a:pt x="2645645" y="1643427"/>
                  </a:lnTo>
                  <a:lnTo>
                    <a:pt x="2641409" y="1638866"/>
                  </a:lnTo>
                  <a:lnTo>
                    <a:pt x="2640431" y="1636260"/>
                  </a:lnTo>
                  <a:lnTo>
                    <a:pt x="2643038" y="1633816"/>
                  </a:lnTo>
                  <a:lnTo>
                    <a:pt x="2640431" y="1629254"/>
                  </a:lnTo>
                  <a:lnTo>
                    <a:pt x="2638965" y="1626485"/>
                  </a:lnTo>
                  <a:lnTo>
                    <a:pt x="2634730" y="1626485"/>
                  </a:lnTo>
                  <a:cubicBezTo>
                    <a:pt x="2634730" y="1626485"/>
                    <a:pt x="2631960" y="1624041"/>
                    <a:pt x="2631960" y="1624041"/>
                  </a:cubicBezTo>
                  <a:lnTo>
                    <a:pt x="2627073" y="1622249"/>
                  </a:lnTo>
                  <a:lnTo>
                    <a:pt x="2624467" y="1624856"/>
                  </a:lnTo>
                  <a:lnTo>
                    <a:pt x="2620394" y="1625345"/>
                  </a:lnTo>
                  <a:lnTo>
                    <a:pt x="2617461" y="1627788"/>
                  </a:lnTo>
                  <a:lnTo>
                    <a:pt x="2616810" y="1631698"/>
                  </a:lnTo>
                  <a:lnTo>
                    <a:pt x="2614203" y="1632513"/>
                  </a:lnTo>
                  <a:lnTo>
                    <a:pt x="2611597" y="1633001"/>
                  </a:lnTo>
                  <a:lnTo>
                    <a:pt x="2610293" y="1638214"/>
                  </a:lnTo>
                  <a:lnTo>
                    <a:pt x="2605080" y="1638214"/>
                  </a:lnTo>
                  <a:lnTo>
                    <a:pt x="2601822" y="1638703"/>
                  </a:lnTo>
                  <a:lnTo>
                    <a:pt x="2600193" y="1642450"/>
                  </a:lnTo>
                  <a:lnTo>
                    <a:pt x="2600193" y="1646523"/>
                  </a:lnTo>
                  <a:lnTo>
                    <a:pt x="2596935" y="1648315"/>
                  </a:lnTo>
                  <a:lnTo>
                    <a:pt x="2595794" y="1653039"/>
                  </a:lnTo>
                  <a:lnTo>
                    <a:pt x="2596120" y="1655809"/>
                  </a:lnTo>
                  <a:lnTo>
                    <a:pt x="2593514" y="1656949"/>
                  </a:lnTo>
                  <a:lnTo>
                    <a:pt x="2590256" y="1659881"/>
                  </a:lnTo>
                  <a:lnTo>
                    <a:pt x="2583088" y="1661185"/>
                  </a:lnTo>
                  <a:lnTo>
                    <a:pt x="2580644" y="1662162"/>
                  </a:lnTo>
                  <a:lnTo>
                    <a:pt x="2577060" y="1661185"/>
                  </a:lnTo>
                  <a:lnTo>
                    <a:pt x="2574942" y="1663302"/>
                  </a:lnTo>
                  <a:lnTo>
                    <a:pt x="2571847" y="1664443"/>
                  </a:lnTo>
                  <a:lnTo>
                    <a:pt x="2570544" y="1661022"/>
                  </a:lnTo>
                  <a:lnTo>
                    <a:pt x="2568263" y="1657764"/>
                  </a:lnTo>
                  <a:lnTo>
                    <a:pt x="2564679" y="1657764"/>
                  </a:lnTo>
                  <a:cubicBezTo>
                    <a:pt x="2564679" y="1657764"/>
                    <a:pt x="2561258" y="1660207"/>
                    <a:pt x="2561258" y="1660207"/>
                  </a:cubicBezTo>
                  <a:lnTo>
                    <a:pt x="2557348" y="1661348"/>
                  </a:lnTo>
                  <a:lnTo>
                    <a:pt x="2556045" y="1658741"/>
                  </a:lnTo>
                  <a:lnTo>
                    <a:pt x="2551972" y="1653528"/>
                  </a:lnTo>
                  <a:lnTo>
                    <a:pt x="2549691" y="1652062"/>
                  </a:lnTo>
                  <a:lnTo>
                    <a:pt x="2544804" y="1646034"/>
                  </a:lnTo>
                  <a:lnTo>
                    <a:pt x="2544804" y="1642287"/>
                  </a:lnTo>
                  <a:lnTo>
                    <a:pt x="2545944" y="1640821"/>
                  </a:lnTo>
                  <a:lnTo>
                    <a:pt x="2546759" y="1636097"/>
                  </a:lnTo>
                  <a:lnTo>
                    <a:pt x="2545129" y="1631861"/>
                  </a:lnTo>
                  <a:lnTo>
                    <a:pt x="2544152" y="1627299"/>
                  </a:lnTo>
                  <a:lnTo>
                    <a:pt x="2539917" y="1627625"/>
                  </a:lnTo>
                  <a:lnTo>
                    <a:pt x="2539428" y="1624693"/>
                  </a:lnTo>
                  <a:lnTo>
                    <a:pt x="2539428" y="1621109"/>
                  </a:lnTo>
                  <a:cubicBezTo>
                    <a:pt x="2539428" y="1621109"/>
                    <a:pt x="2541383" y="1618014"/>
                    <a:pt x="2541383" y="1618014"/>
                  </a:cubicBezTo>
                  <a:lnTo>
                    <a:pt x="2541872" y="1614756"/>
                  </a:lnTo>
                  <a:lnTo>
                    <a:pt x="2539917" y="1613778"/>
                  </a:lnTo>
                  <a:lnTo>
                    <a:pt x="2537962" y="1614267"/>
                  </a:lnTo>
                  <a:lnTo>
                    <a:pt x="2535355" y="1616222"/>
                  </a:lnTo>
                  <a:lnTo>
                    <a:pt x="2532260" y="1616548"/>
                  </a:lnTo>
                  <a:lnTo>
                    <a:pt x="2529653" y="1617362"/>
                  </a:lnTo>
                  <a:lnTo>
                    <a:pt x="2526232" y="1616710"/>
                  </a:lnTo>
                  <a:lnTo>
                    <a:pt x="2523626" y="1614756"/>
                  </a:lnTo>
                  <a:lnTo>
                    <a:pt x="2521182" y="1614430"/>
                  </a:lnTo>
                  <a:lnTo>
                    <a:pt x="2519879" y="1613289"/>
                  </a:lnTo>
                  <a:lnTo>
                    <a:pt x="2514340" y="1610846"/>
                  </a:lnTo>
                  <a:lnTo>
                    <a:pt x="2513688" y="1608402"/>
                  </a:lnTo>
                  <a:lnTo>
                    <a:pt x="2511408" y="1605958"/>
                  </a:lnTo>
                  <a:lnTo>
                    <a:pt x="2510104" y="1605958"/>
                  </a:lnTo>
                  <a:cubicBezTo>
                    <a:pt x="2510104" y="1605958"/>
                    <a:pt x="2507498" y="1603841"/>
                    <a:pt x="2507498" y="1603841"/>
                  </a:cubicBezTo>
                  <a:lnTo>
                    <a:pt x="2506683" y="1601397"/>
                  </a:lnTo>
                  <a:lnTo>
                    <a:pt x="2503913" y="1601071"/>
                  </a:lnTo>
                  <a:lnTo>
                    <a:pt x="2501307" y="1597976"/>
                  </a:lnTo>
                  <a:lnTo>
                    <a:pt x="2500329" y="1595044"/>
                  </a:lnTo>
                  <a:lnTo>
                    <a:pt x="2498375" y="1593252"/>
                  </a:lnTo>
                  <a:lnTo>
                    <a:pt x="2495768" y="1593577"/>
                  </a:lnTo>
                  <a:lnTo>
                    <a:pt x="2494791" y="1596673"/>
                  </a:lnTo>
                  <a:lnTo>
                    <a:pt x="2492021" y="1595858"/>
                  </a:lnTo>
                  <a:lnTo>
                    <a:pt x="2489415" y="1596836"/>
                  </a:lnTo>
                  <a:lnTo>
                    <a:pt x="2488763" y="1598790"/>
                  </a:lnTo>
                  <a:lnTo>
                    <a:pt x="2485668" y="1596836"/>
                  </a:lnTo>
                  <a:lnTo>
                    <a:pt x="2484039" y="1594881"/>
                  </a:lnTo>
                  <a:lnTo>
                    <a:pt x="2481432" y="1593577"/>
                  </a:lnTo>
                  <a:lnTo>
                    <a:pt x="2475731" y="1593089"/>
                  </a:lnTo>
                  <a:lnTo>
                    <a:pt x="2474101" y="1591622"/>
                  </a:lnTo>
                  <a:lnTo>
                    <a:pt x="2476056" y="1589342"/>
                  </a:lnTo>
                  <a:lnTo>
                    <a:pt x="2476056" y="1588038"/>
                  </a:lnTo>
                  <a:lnTo>
                    <a:pt x="2472635" y="1588038"/>
                  </a:lnTo>
                  <a:lnTo>
                    <a:pt x="2469866" y="1590319"/>
                  </a:lnTo>
                  <a:lnTo>
                    <a:pt x="2464490" y="1589505"/>
                  </a:lnTo>
                  <a:lnTo>
                    <a:pt x="2462535" y="1590645"/>
                  </a:lnTo>
                  <a:lnTo>
                    <a:pt x="2459928" y="1589179"/>
                  </a:lnTo>
                  <a:lnTo>
                    <a:pt x="2457322" y="1590156"/>
                  </a:lnTo>
                  <a:lnTo>
                    <a:pt x="2454063" y="1589667"/>
                  </a:lnTo>
                  <a:lnTo>
                    <a:pt x="2452272" y="1586409"/>
                  </a:lnTo>
                  <a:lnTo>
                    <a:pt x="2448036" y="1584943"/>
                  </a:lnTo>
                  <a:lnTo>
                    <a:pt x="2442334" y="1579078"/>
                  </a:lnTo>
                  <a:lnTo>
                    <a:pt x="2439565" y="1574028"/>
                  </a:lnTo>
                  <a:lnTo>
                    <a:pt x="2440053" y="1570607"/>
                  </a:lnTo>
                  <a:lnTo>
                    <a:pt x="2438913" y="1566209"/>
                  </a:lnTo>
                  <a:lnTo>
                    <a:pt x="2436144" y="1565720"/>
                  </a:lnTo>
                  <a:lnTo>
                    <a:pt x="2433211" y="1564091"/>
                  </a:lnTo>
                  <a:lnTo>
                    <a:pt x="2432885" y="1558878"/>
                  </a:lnTo>
                  <a:lnTo>
                    <a:pt x="2431093" y="1557249"/>
                  </a:lnTo>
                  <a:lnTo>
                    <a:pt x="2430116" y="1552036"/>
                  </a:lnTo>
                  <a:lnTo>
                    <a:pt x="2428487" y="1547311"/>
                  </a:lnTo>
                  <a:lnTo>
                    <a:pt x="2419201" y="1541446"/>
                  </a:lnTo>
                  <a:lnTo>
                    <a:pt x="2414313" y="1534930"/>
                  </a:lnTo>
                  <a:lnTo>
                    <a:pt x="2413662" y="1531835"/>
                  </a:lnTo>
                  <a:lnTo>
                    <a:pt x="2411218" y="1527925"/>
                  </a:lnTo>
                  <a:lnTo>
                    <a:pt x="2408775" y="1529065"/>
                  </a:lnTo>
                  <a:lnTo>
                    <a:pt x="2407308" y="1528251"/>
                  </a:lnTo>
                  <a:lnTo>
                    <a:pt x="2408123" y="1525318"/>
                  </a:lnTo>
                  <a:lnTo>
                    <a:pt x="2408123" y="1523038"/>
                  </a:lnTo>
                  <a:cubicBezTo>
                    <a:pt x="2408123" y="1523038"/>
                    <a:pt x="2405028" y="1520594"/>
                    <a:pt x="2405028" y="1520594"/>
                  </a:cubicBezTo>
                  <a:lnTo>
                    <a:pt x="2403399" y="1516358"/>
                  </a:lnTo>
                  <a:lnTo>
                    <a:pt x="2400792" y="1515055"/>
                  </a:lnTo>
                  <a:lnTo>
                    <a:pt x="2399815" y="1511308"/>
                  </a:lnTo>
                  <a:lnTo>
                    <a:pt x="2396719" y="1507398"/>
                  </a:lnTo>
                  <a:lnTo>
                    <a:pt x="2394602" y="1503163"/>
                  </a:lnTo>
                  <a:lnTo>
                    <a:pt x="2388737" y="1499579"/>
                  </a:lnTo>
                  <a:lnTo>
                    <a:pt x="2388248" y="1496809"/>
                  </a:lnTo>
                  <a:lnTo>
                    <a:pt x="2389715" y="1493388"/>
                  </a:lnTo>
                  <a:lnTo>
                    <a:pt x="2388900" y="1490456"/>
                  </a:lnTo>
                  <a:lnTo>
                    <a:pt x="2382383" y="1490130"/>
                  </a:lnTo>
                  <a:lnTo>
                    <a:pt x="2381406" y="1488501"/>
                  </a:lnTo>
                  <a:lnTo>
                    <a:pt x="2381406" y="1486057"/>
                  </a:lnTo>
                  <a:lnTo>
                    <a:pt x="2380103" y="1482962"/>
                  </a:lnTo>
                  <a:lnTo>
                    <a:pt x="2379777" y="1479378"/>
                  </a:lnTo>
                  <a:lnTo>
                    <a:pt x="2377985" y="1476446"/>
                  </a:lnTo>
                  <a:lnTo>
                    <a:pt x="2375541" y="1475142"/>
                  </a:lnTo>
                  <a:lnTo>
                    <a:pt x="2375541" y="1472699"/>
                  </a:lnTo>
                  <a:cubicBezTo>
                    <a:pt x="2375541" y="1472699"/>
                    <a:pt x="2373749" y="1471070"/>
                    <a:pt x="2373749" y="1471070"/>
                  </a:cubicBezTo>
                  <a:lnTo>
                    <a:pt x="2371306" y="1471395"/>
                  </a:lnTo>
                  <a:lnTo>
                    <a:pt x="2367070" y="1470255"/>
                  </a:lnTo>
                  <a:lnTo>
                    <a:pt x="2365929" y="1467974"/>
                  </a:lnTo>
                  <a:lnTo>
                    <a:pt x="2367233" y="1465531"/>
                  </a:lnTo>
                  <a:lnTo>
                    <a:pt x="2366418" y="1463087"/>
                  </a:lnTo>
                  <a:lnTo>
                    <a:pt x="2362835" y="1462435"/>
                  </a:lnTo>
                  <a:lnTo>
                    <a:pt x="2360228" y="1464390"/>
                  </a:lnTo>
                  <a:lnTo>
                    <a:pt x="2359088" y="1462435"/>
                  </a:lnTo>
                  <a:lnTo>
                    <a:pt x="2356318" y="1462435"/>
                  </a:lnTo>
                  <a:cubicBezTo>
                    <a:pt x="2356318" y="1462435"/>
                    <a:pt x="2355503" y="1459829"/>
                    <a:pt x="2355503" y="1459829"/>
                  </a:cubicBezTo>
                  <a:lnTo>
                    <a:pt x="2356155" y="1457222"/>
                  </a:lnTo>
                  <a:lnTo>
                    <a:pt x="2354526" y="1454942"/>
                  </a:lnTo>
                  <a:lnTo>
                    <a:pt x="2351268" y="1453638"/>
                  </a:lnTo>
                  <a:lnTo>
                    <a:pt x="2348661" y="1453964"/>
                  </a:lnTo>
                  <a:lnTo>
                    <a:pt x="2346054" y="1451032"/>
                  </a:lnTo>
                  <a:lnTo>
                    <a:pt x="2344263" y="1451846"/>
                  </a:lnTo>
                  <a:lnTo>
                    <a:pt x="2340516" y="1451846"/>
                  </a:lnTo>
                  <a:lnTo>
                    <a:pt x="2338235" y="1450869"/>
                  </a:lnTo>
                  <a:lnTo>
                    <a:pt x="2335792" y="1452335"/>
                  </a:lnTo>
                  <a:lnTo>
                    <a:pt x="2336117" y="1455430"/>
                  </a:lnTo>
                  <a:lnTo>
                    <a:pt x="2334162" y="1456408"/>
                  </a:lnTo>
                  <a:lnTo>
                    <a:pt x="2329601" y="1454127"/>
                  </a:lnTo>
                  <a:lnTo>
                    <a:pt x="2327972" y="1452498"/>
                  </a:lnTo>
                  <a:lnTo>
                    <a:pt x="2324713" y="1453638"/>
                  </a:lnTo>
                  <a:lnTo>
                    <a:pt x="2318849" y="1453638"/>
                  </a:lnTo>
                  <a:lnTo>
                    <a:pt x="2317872" y="1451358"/>
                  </a:lnTo>
                  <a:lnTo>
                    <a:pt x="2314613" y="1448588"/>
                  </a:lnTo>
                  <a:lnTo>
                    <a:pt x="2306468" y="1447774"/>
                  </a:lnTo>
                  <a:lnTo>
                    <a:pt x="2303047" y="1445167"/>
                  </a:lnTo>
                  <a:lnTo>
                    <a:pt x="2298974" y="1444841"/>
                  </a:lnTo>
                  <a:lnTo>
                    <a:pt x="2296042" y="1444190"/>
                  </a:lnTo>
                  <a:lnTo>
                    <a:pt x="2294738" y="1444841"/>
                  </a:lnTo>
                  <a:lnTo>
                    <a:pt x="2287408" y="1445819"/>
                  </a:lnTo>
                  <a:lnTo>
                    <a:pt x="2285941" y="1449728"/>
                  </a:lnTo>
                  <a:lnTo>
                    <a:pt x="2283986" y="1449728"/>
                  </a:lnTo>
                  <a:lnTo>
                    <a:pt x="2281706" y="1451683"/>
                  </a:lnTo>
                  <a:lnTo>
                    <a:pt x="2276329" y="1451683"/>
                  </a:lnTo>
                  <a:cubicBezTo>
                    <a:pt x="2276329" y="1451683"/>
                    <a:pt x="2273235" y="1452009"/>
                    <a:pt x="2273235" y="1452009"/>
                  </a:cubicBezTo>
                  <a:lnTo>
                    <a:pt x="2267695" y="1451032"/>
                  </a:lnTo>
                  <a:lnTo>
                    <a:pt x="2264763" y="1454290"/>
                  </a:lnTo>
                  <a:lnTo>
                    <a:pt x="2260365" y="1454290"/>
                  </a:lnTo>
                  <a:lnTo>
                    <a:pt x="2258410" y="1458200"/>
                  </a:lnTo>
                  <a:lnTo>
                    <a:pt x="2254500" y="1459829"/>
                  </a:lnTo>
                  <a:lnTo>
                    <a:pt x="2250753" y="1459503"/>
                  </a:lnTo>
                  <a:lnTo>
                    <a:pt x="2249776" y="1460481"/>
                  </a:lnTo>
                  <a:lnTo>
                    <a:pt x="2246517" y="1460481"/>
                  </a:lnTo>
                  <a:cubicBezTo>
                    <a:pt x="2246517" y="1460481"/>
                    <a:pt x="2243422" y="1461784"/>
                    <a:pt x="2243422" y="1461784"/>
                  </a:cubicBezTo>
                  <a:lnTo>
                    <a:pt x="2236743" y="1462598"/>
                  </a:lnTo>
                  <a:lnTo>
                    <a:pt x="2233973" y="1465042"/>
                  </a:lnTo>
                  <a:lnTo>
                    <a:pt x="2233973" y="1468137"/>
                  </a:lnTo>
                  <a:lnTo>
                    <a:pt x="2230226" y="1472536"/>
                  </a:lnTo>
                  <a:lnTo>
                    <a:pt x="2228760" y="1477260"/>
                  </a:lnTo>
                  <a:lnTo>
                    <a:pt x="2226805" y="1479867"/>
                  </a:lnTo>
                  <a:lnTo>
                    <a:pt x="2226805" y="1482473"/>
                  </a:lnTo>
                  <a:lnTo>
                    <a:pt x="2225176" y="1484754"/>
                  </a:lnTo>
                  <a:lnTo>
                    <a:pt x="2225176" y="1490945"/>
                  </a:lnTo>
                  <a:lnTo>
                    <a:pt x="2226805" y="1492899"/>
                  </a:lnTo>
                  <a:lnTo>
                    <a:pt x="2229412" y="1493225"/>
                  </a:lnTo>
                  <a:lnTo>
                    <a:pt x="2235113" y="1489804"/>
                  </a:lnTo>
                  <a:lnTo>
                    <a:pt x="2238535" y="1488338"/>
                  </a:lnTo>
                  <a:lnTo>
                    <a:pt x="2241630" y="1489153"/>
                  </a:lnTo>
                  <a:lnTo>
                    <a:pt x="2245377" y="1495180"/>
                  </a:lnTo>
                  <a:lnTo>
                    <a:pt x="2247332" y="1499905"/>
                  </a:lnTo>
                  <a:lnTo>
                    <a:pt x="2251079" y="1502674"/>
                  </a:lnTo>
                  <a:lnTo>
                    <a:pt x="2251079" y="1506584"/>
                  </a:lnTo>
                  <a:lnTo>
                    <a:pt x="2252219" y="1509679"/>
                  </a:lnTo>
                  <a:lnTo>
                    <a:pt x="2251893" y="1515707"/>
                  </a:lnTo>
                  <a:lnTo>
                    <a:pt x="2248798" y="1518150"/>
                  </a:lnTo>
                  <a:lnTo>
                    <a:pt x="2245540" y="1523201"/>
                  </a:lnTo>
                  <a:lnTo>
                    <a:pt x="2244399" y="1529065"/>
                  </a:lnTo>
                  <a:lnTo>
                    <a:pt x="2241304" y="1531672"/>
                  </a:lnTo>
                  <a:lnTo>
                    <a:pt x="2238372" y="1536885"/>
                  </a:lnTo>
                  <a:lnTo>
                    <a:pt x="2238046" y="1541121"/>
                  </a:lnTo>
                  <a:lnTo>
                    <a:pt x="2240653" y="1545356"/>
                  </a:lnTo>
                  <a:lnTo>
                    <a:pt x="2239675" y="1548126"/>
                  </a:lnTo>
                  <a:lnTo>
                    <a:pt x="2240490" y="1553665"/>
                  </a:lnTo>
                  <a:lnTo>
                    <a:pt x="2243585" y="1556760"/>
                  </a:lnTo>
                  <a:lnTo>
                    <a:pt x="2243096" y="1561647"/>
                  </a:lnTo>
                  <a:lnTo>
                    <a:pt x="2240001" y="1563276"/>
                  </a:lnTo>
                  <a:lnTo>
                    <a:pt x="2239024" y="1566209"/>
                  </a:lnTo>
                  <a:lnTo>
                    <a:pt x="2240815" y="1570770"/>
                  </a:lnTo>
                  <a:lnTo>
                    <a:pt x="2240815" y="1578101"/>
                  </a:lnTo>
                  <a:cubicBezTo>
                    <a:pt x="2240815" y="1578101"/>
                    <a:pt x="2239512" y="1580219"/>
                    <a:pt x="2239512" y="1580219"/>
                  </a:cubicBezTo>
                  <a:lnTo>
                    <a:pt x="2240001" y="1587387"/>
                  </a:lnTo>
                  <a:lnTo>
                    <a:pt x="2242608" y="1587875"/>
                  </a:lnTo>
                  <a:lnTo>
                    <a:pt x="2244399" y="1589342"/>
                  </a:lnTo>
                  <a:lnTo>
                    <a:pt x="2246354" y="1587875"/>
                  </a:lnTo>
                  <a:lnTo>
                    <a:pt x="2248309" y="1589016"/>
                  </a:lnTo>
                  <a:lnTo>
                    <a:pt x="2249287" y="1594229"/>
                  </a:lnTo>
                  <a:lnTo>
                    <a:pt x="2247820" y="1599116"/>
                  </a:lnTo>
                  <a:lnTo>
                    <a:pt x="2243911" y="1603026"/>
                  </a:lnTo>
                  <a:lnTo>
                    <a:pt x="2234788" y="1604655"/>
                  </a:lnTo>
                  <a:lnTo>
                    <a:pt x="2228923" y="1608728"/>
                  </a:lnTo>
                  <a:lnTo>
                    <a:pt x="2216705" y="1620294"/>
                  </a:lnTo>
                  <a:lnTo>
                    <a:pt x="2213772" y="1620783"/>
                  </a:lnTo>
                  <a:lnTo>
                    <a:pt x="2210026" y="1617688"/>
                  </a:lnTo>
                  <a:lnTo>
                    <a:pt x="2202532" y="1616710"/>
                  </a:lnTo>
                  <a:lnTo>
                    <a:pt x="2197970" y="1617525"/>
                  </a:lnTo>
                  <a:lnTo>
                    <a:pt x="2197156" y="1615733"/>
                  </a:lnTo>
                  <a:lnTo>
                    <a:pt x="2193572" y="1615244"/>
                  </a:lnTo>
                  <a:lnTo>
                    <a:pt x="2190640" y="1616222"/>
                  </a:lnTo>
                  <a:lnTo>
                    <a:pt x="2188196" y="1613615"/>
                  </a:lnTo>
                  <a:lnTo>
                    <a:pt x="2178584" y="1610683"/>
                  </a:lnTo>
                  <a:lnTo>
                    <a:pt x="2170113" y="1612149"/>
                  </a:lnTo>
                  <a:lnTo>
                    <a:pt x="2170113" y="1614756"/>
                  </a:lnTo>
                  <a:cubicBezTo>
                    <a:pt x="2170113" y="1614756"/>
                    <a:pt x="2164248" y="1618014"/>
                    <a:pt x="2164248" y="1618014"/>
                  </a:cubicBezTo>
                  <a:lnTo>
                    <a:pt x="2159687" y="1618014"/>
                  </a:lnTo>
                  <a:cubicBezTo>
                    <a:pt x="2159687" y="1618014"/>
                    <a:pt x="2157080" y="1616222"/>
                    <a:pt x="2157080" y="1616222"/>
                  </a:cubicBezTo>
                  <a:lnTo>
                    <a:pt x="2152356" y="1618828"/>
                  </a:lnTo>
                  <a:lnTo>
                    <a:pt x="2148446" y="1617362"/>
                  </a:lnTo>
                  <a:lnTo>
                    <a:pt x="2145513" y="1612964"/>
                  </a:lnTo>
                  <a:lnTo>
                    <a:pt x="2139486" y="1609054"/>
                  </a:lnTo>
                  <a:lnTo>
                    <a:pt x="2134762" y="1608565"/>
                  </a:lnTo>
                  <a:lnTo>
                    <a:pt x="2127268" y="1610520"/>
                  </a:lnTo>
                  <a:lnTo>
                    <a:pt x="2125638" y="1609054"/>
                  </a:lnTo>
                  <a:lnTo>
                    <a:pt x="2121240" y="1609054"/>
                  </a:lnTo>
                  <a:lnTo>
                    <a:pt x="2117330" y="1612801"/>
                  </a:lnTo>
                  <a:lnTo>
                    <a:pt x="2115376" y="1618177"/>
                  </a:lnTo>
                  <a:lnTo>
                    <a:pt x="2111628" y="1622086"/>
                  </a:lnTo>
                  <a:lnTo>
                    <a:pt x="2106253" y="1624530"/>
                  </a:lnTo>
                  <a:lnTo>
                    <a:pt x="2103157" y="1629743"/>
                  </a:lnTo>
                  <a:lnTo>
                    <a:pt x="2103157" y="1632024"/>
                  </a:lnTo>
                  <a:lnTo>
                    <a:pt x="2101528" y="1637074"/>
                  </a:lnTo>
                  <a:lnTo>
                    <a:pt x="2096478" y="1641636"/>
                  </a:lnTo>
                  <a:lnTo>
                    <a:pt x="2084748" y="1641636"/>
                  </a:lnTo>
                  <a:cubicBezTo>
                    <a:pt x="2084748" y="1641636"/>
                    <a:pt x="2080513" y="1641961"/>
                    <a:pt x="2080513" y="1641961"/>
                  </a:cubicBezTo>
                  <a:lnTo>
                    <a:pt x="2076440" y="1646686"/>
                  </a:lnTo>
                  <a:lnTo>
                    <a:pt x="2070575" y="1646686"/>
                  </a:lnTo>
                  <a:cubicBezTo>
                    <a:pt x="2070575" y="1646686"/>
                    <a:pt x="2060963" y="1652062"/>
                    <a:pt x="2060963" y="1652062"/>
                  </a:cubicBezTo>
                  <a:lnTo>
                    <a:pt x="2056891" y="1658252"/>
                  </a:lnTo>
                  <a:lnTo>
                    <a:pt x="2053958" y="1658578"/>
                  </a:lnTo>
                  <a:lnTo>
                    <a:pt x="2049234" y="1655972"/>
                  </a:lnTo>
                  <a:lnTo>
                    <a:pt x="2043532" y="1655972"/>
                  </a:lnTo>
                  <a:lnTo>
                    <a:pt x="2040926" y="1657926"/>
                  </a:lnTo>
                  <a:lnTo>
                    <a:pt x="2034410" y="1658904"/>
                  </a:lnTo>
                  <a:lnTo>
                    <a:pt x="2019096" y="1658904"/>
                  </a:lnTo>
                  <a:cubicBezTo>
                    <a:pt x="2019096" y="1658904"/>
                    <a:pt x="2008996" y="1656134"/>
                    <a:pt x="2008996" y="1656134"/>
                  </a:cubicBezTo>
                  <a:lnTo>
                    <a:pt x="1997429" y="1657275"/>
                  </a:lnTo>
                  <a:lnTo>
                    <a:pt x="1993519" y="1657275"/>
                  </a:lnTo>
                  <a:cubicBezTo>
                    <a:pt x="1993519" y="1657275"/>
                    <a:pt x="1989121" y="1652225"/>
                    <a:pt x="1989121" y="1652225"/>
                  </a:cubicBezTo>
                  <a:lnTo>
                    <a:pt x="1985863" y="1651410"/>
                  </a:lnTo>
                  <a:lnTo>
                    <a:pt x="1982767" y="1649618"/>
                  </a:lnTo>
                  <a:lnTo>
                    <a:pt x="1977554" y="1646197"/>
                  </a:lnTo>
                  <a:lnTo>
                    <a:pt x="1974785" y="1638052"/>
                  </a:lnTo>
                  <a:lnTo>
                    <a:pt x="1972178" y="1635608"/>
                  </a:lnTo>
                  <a:lnTo>
                    <a:pt x="1966802" y="1636911"/>
                  </a:lnTo>
                  <a:lnTo>
                    <a:pt x="1959471" y="1636911"/>
                  </a:lnTo>
                  <a:cubicBezTo>
                    <a:pt x="1959471" y="1636911"/>
                    <a:pt x="1950511" y="1633653"/>
                    <a:pt x="1950511" y="1633653"/>
                  </a:cubicBezTo>
                  <a:lnTo>
                    <a:pt x="1945298" y="1626322"/>
                  </a:lnTo>
                  <a:lnTo>
                    <a:pt x="1935361" y="1626322"/>
                  </a:lnTo>
                  <a:cubicBezTo>
                    <a:pt x="1935361" y="1626322"/>
                    <a:pt x="1927867" y="1625833"/>
                    <a:pt x="1927867" y="1625833"/>
                  </a:cubicBezTo>
                  <a:lnTo>
                    <a:pt x="1922165" y="1622575"/>
                  </a:lnTo>
                  <a:lnTo>
                    <a:pt x="1915812" y="1624367"/>
                  </a:lnTo>
                  <a:lnTo>
                    <a:pt x="1909132" y="1624693"/>
                  </a:lnTo>
                  <a:lnTo>
                    <a:pt x="1903919" y="1627788"/>
                  </a:lnTo>
                  <a:lnTo>
                    <a:pt x="1893819" y="1628603"/>
                  </a:lnTo>
                  <a:lnTo>
                    <a:pt x="1886488" y="1630883"/>
                  </a:lnTo>
                  <a:lnTo>
                    <a:pt x="1882089" y="1635608"/>
                  </a:lnTo>
                  <a:lnTo>
                    <a:pt x="1878831" y="1636585"/>
                  </a:lnTo>
                  <a:lnTo>
                    <a:pt x="1875736" y="1635445"/>
                  </a:lnTo>
                  <a:lnTo>
                    <a:pt x="1871989" y="1635445"/>
                  </a:lnTo>
                  <a:cubicBezTo>
                    <a:pt x="1871989" y="1635445"/>
                    <a:pt x="1868568" y="1637726"/>
                    <a:pt x="1868568" y="1637726"/>
                  </a:cubicBezTo>
                  <a:lnTo>
                    <a:pt x="1860748" y="1637400"/>
                  </a:lnTo>
                  <a:lnTo>
                    <a:pt x="1858956" y="1639192"/>
                  </a:lnTo>
                  <a:lnTo>
                    <a:pt x="1855372" y="1639192"/>
                  </a:lnTo>
                  <a:cubicBezTo>
                    <a:pt x="1855372" y="1639192"/>
                    <a:pt x="1847553" y="1634956"/>
                    <a:pt x="1847553" y="1634956"/>
                  </a:cubicBezTo>
                  <a:lnTo>
                    <a:pt x="1840059" y="1632838"/>
                  </a:lnTo>
                  <a:lnTo>
                    <a:pt x="1838593" y="1630069"/>
                  </a:lnTo>
                  <a:lnTo>
                    <a:pt x="1833380" y="1625507"/>
                  </a:lnTo>
                  <a:lnTo>
                    <a:pt x="1830284" y="1625507"/>
                  </a:lnTo>
                  <a:cubicBezTo>
                    <a:pt x="1830284" y="1625507"/>
                    <a:pt x="1827189" y="1622738"/>
                    <a:pt x="1827189" y="1622738"/>
                  </a:cubicBezTo>
                  <a:lnTo>
                    <a:pt x="1827189" y="1618177"/>
                  </a:lnTo>
                  <a:cubicBezTo>
                    <a:pt x="1827189" y="1618177"/>
                    <a:pt x="1824745" y="1612475"/>
                    <a:pt x="1824745" y="1612475"/>
                  </a:cubicBezTo>
                  <a:lnTo>
                    <a:pt x="1822302" y="1609705"/>
                  </a:lnTo>
                  <a:lnTo>
                    <a:pt x="1822302" y="1605958"/>
                  </a:lnTo>
                  <a:lnTo>
                    <a:pt x="1819695" y="1602374"/>
                  </a:lnTo>
                  <a:lnTo>
                    <a:pt x="1819695" y="1599116"/>
                  </a:lnTo>
                  <a:lnTo>
                    <a:pt x="1817903" y="1595044"/>
                  </a:lnTo>
                  <a:lnTo>
                    <a:pt x="1813830" y="1593414"/>
                  </a:lnTo>
                  <a:lnTo>
                    <a:pt x="1803078" y="1593740"/>
                  </a:lnTo>
                  <a:lnTo>
                    <a:pt x="1798680" y="1592926"/>
                  </a:lnTo>
                  <a:lnTo>
                    <a:pt x="1795096" y="1591134"/>
                  </a:lnTo>
                  <a:lnTo>
                    <a:pt x="1788580" y="1590482"/>
                  </a:lnTo>
                  <a:lnTo>
                    <a:pt x="1786136" y="1588201"/>
                  </a:lnTo>
                  <a:lnTo>
                    <a:pt x="1782552" y="1585921"/>
                  </a:lnTo>
                  <a:lnTo>
                    <a:pt x="1773266" y="1586246"/>
                  </a:lnTo>
                  <a:lnTo>
                    <a:pt x="1766913" y="1585758"/>
                  </a:lnTo>
                  <a:lnTo>
                    <a:pt x="1761048" y="1583803"/>
                  </a:lnTo>
                  <a:lnTo>
                    <a:pt x="1760071" y="1582011"/>
                  </a:lnTo>
                  <a:lnTo>
                    <a:pt x="1753228" y="1578753"/>
                  </a:lnTo>
                  <a:lnTo>
                    <a:pt x="1746549" y="1576961"/>
                  </a:lnTo>
                  <a:lnTo>
                    <a:pt x="1743128" y="1574680"/>
                  </a:lnTo>
                  <a:lnTo>
                    <a:pt x="1738078" y="1574354"/>
                  </a:lnTo>
                  <a:lnTo>
                    <a:pt x="1734819" y="1577286"/>
                  </a:lnTo>
                  <a:lnTo>
                    <a:pt x="1734168" y="1581196"/>
                  </a:lnTo>
                  <a:lnTo>
                    <a:pt x="1735634" y="1585432"/>
                  </a:lnTo>
                  <a:lnTo>
                    <a:pt x="1733842" y="1589667"/>
                  </a:lnTo>
                  <a:lnTo>
                    <a:pt x="1731235" y="1588690"/>
                  </a:lnTo>
                  <a:lnTo>
                    <a:pt x="1727000" y="1590156"/>
                  </a:lnTo>
                  <a:lnTo>
                    <a:pt x="1724394" y="1594392"/>
                  </a:lnTo>
                  <a:lnTo>
                    <a:pt x="1724394" y="1598302"/>
                  </a:lnTo>
                  <a:lnTo>
                    <a:pt x="1719180" y="1604166"/>
                  </a:lnTo>
                  <a:lnTo>
                    <a:pt x="1719180" y="1616710"/>
                  </a:lnTo>
                  <a:cubicBezTo>
                    <a:pt x="1719180" y="1616710"/>
                    <a:pt x="1720810" y="1622901"/>
                    <a:pt x="1720810" y="1622901"/>
                  </a:cubicBezTo>
                  <a:lnTo>
                    <a:pt x="1728303" y="1624856"/>
                  </a:lnTo>
                  <a:lnTo>
                    <a:pt x="1730910" y="1628114"/>
                  </a:lnTo>
                  <a:lnTo>
                    <a:pt x="1735634" y="1629743"/>
                  </a:lnTo>
                  <a:lnTo>
                    <a:pt x="1736612" y="1633001"/>
                  </a:lnTo>
                  <a:lnTo>
                    <a:pt x="1735145" y="1641310"/>
                  </a:lnTo>
                  <a:lnTo>
                    <a:pt x="1735145" y="1648966"/>
                  </a:lnTo>
                  <a:cubicBezTo>
                    <a:pt x="1735145" y="1648966"/>
                    <a:pt x="1740196" y="1652387"/>
                    <a:pt x="1740196" y="1652387"/>
                  </a:cubicBezTo>
                  <a:lnTo>
                    <a:pt x="1742965" y="1655483"/>
                  </a:lnTo>
                  <a:lnTo>
                    <a:pt x="1738240" y="1663302"/>
                  </a:lnTo>
                  <a:lnTo>
                    <a:pt x="1729606" y="1664443"/>
                  </a:lnTo>
                  <a:lnTo>
                    <a:pt x="1724882" y="1663465"/>
                  </a:lnTo>
                  <a:lnTo>
                    <a:pt x="1723742" y="1664769"/>
                  </a:lnTo>
                  <a:lnTo>
                    <a:pt x="1719017" y="1665257"/>
                  </a:lnTo>
                  <a:lnTo>
                    <a:pt x="1714781" y="1663302"/>
                  </a:lnTo>
                  <a:lnTo>
                    <a:pt x="1703704" y="1663302"/>
                  </a:lnTo>
                  <a:cubicBezTo>
                    <a:pt x="1703704" y="1663302"/>
                    <a:pt x="1699631" y="1664443"/>
                    <a:pt x="1699631" y="1664443"/>
                  </a:cubicBezTo>
                  <a:lnTo>
                    <a:pt x="1695721" y="1661673"/>
                  </a:lnTo>
                  <a:lnTo>
                    <a:pt x="1690997" y="1660370"/>
                  </a:lnTo>
                  <a:lnTo>
                    <a:pt x="1686598" y="1660859"/>
                  </a:lnTo>
                  <a:lnTo>
                    <a:pt x="1681060" y="1664932"/>
                  </a:lnTo>
                  <a:lnTo>
                    <a:pt x="1675846" y="1666723"/>
                  </a:lnTo>
                  <a:lnTo>
                    <a:pt x="1672588" y="1668515"/>
                  </a:lnTo>
                  <a:lnTo>
                    <a:pt x="1663303" y="1664280"/>
                  </a:lnTo>
                  <a:lnTo>
                    <a:pt x="1658578" y="1660370"/>
                  </a:lnTo>
                  <a:lnTo>
                    <a:pt x="1646034" y="1653202"/>
                  </a:lnTo>
                  <a:lnTo>
                    <a:pt x="1644568" y="1649944"/>
                  </a:lnTo>
                  <a:lnTo>
                    <a:pt x="1643590" y="1645708"/>
                  </a:lnTo>
                  <a:lnTo>
                    <a:pt x="1641962" y="1641636"/>
                  </a:lnTo>
                  <a:lnTo>
                    <a:pt x="1633816" y="1642124"/>
                  </a:lnTo>
                  <a:lnTo>
                    <a:pt x="1629906" y="1644731"/>
                  </a:lnTo>
                  <a:lnTo>
                    <a:pt x="1625344" y="1644405"/>
                  </a:lnTo>
                  <a:lnTo>
                    <a:pt x="1622575" y="1645382"/>
                  </a:lnTo>
                  <a:lnTo>
                    <a:pt x="1617199" y="1645708"/>
                  </a:lnTo>
                  <a:lnTo>
                    <a:pt x="1614267" y="1642613"/>
                  </a:lnTo>
                  <a:lnTo>
                    <a:pt x="1613778" y="1639681"/>
                  </a:lnTo>
                  <a:lnTo>
                    <a:pt x="1610683" y="1635445"/>
                  </a:lnTo>
                  <a:lnTo>
                    <a:pt x="1609380" y="1635445"/>
                  </a:lnTo>
                  <a:cubicBezTo>
                    <a:pt x="1609380" y="1635445"/>
                    <a:pt x="1605470" y="1637726"/>
                    <a:pt x="1605470" y="1637726"/>
                  </a:cubicBezTo>
                  <a:lnTo>
                    <a:pt x="1599605" y="1637400"/>
                  </a:lnTo>
                  <a:lnTo>
                    <a:pt x="1595369" y="1637400"/>
                  </a:lnTo>
                  <a:cubicBezTo>
                    <a:pt x="1595369" y="1637400"/>
                    <a:pt x="1590319" y="1638866"/>
                    <a:pt x="1590319" y="1638866"/>
                  </a:cubicBezTo>
                  <a:lnTo>
                    <a:pt x="1581359" y="1640006"/>
                  </a:lnTo>
                  <a:lnTo>
                    <a:pt x="1577287" y="1641636"/>
                  </a:lnTo>
                  <a:lnTo>
                    <a:pt x="1574680" y="1648315"/>
                  </a:lnTo>
                  <a:lnTo>
                    <a:pt x="1571259" y="1650107"/>
                  </a:lnTo>
                  <a:lnTo>
                    <a:pt x="1562787" y="1647663"/>
                  </a:lnTo>
                  <a:lnTo>
                    <a:pt x="1561158" y="1649944"/>
                  </a:lnTo>
                  <a:lnTo>
                    <a:pt x="1561158" y="1653691"/>
                  </a:lnTo>
                  <a:cubicBezTo>
                    <a:pt x="1561158" y="1653691"/>
                    <a:pt x="1564090" y="1655646"/>
                    <a:pt x="1564090" y="1655646"/>
                  </a:cubicBezTo>
                  <a:lnTo>
                    <a:pt x="1561810" y="1657601"/>
                  </a:lnTo>
                  <a:lnTo>
                    <a:pt x="1558389" y="1662651"/>
                  </a:lnTo>
                  <a:lnTo>
                    <a:pt x="1554153" y="1663791"/>
                  </a:lnTo>
                  <a:lnTo>
                    <a:pt x="1549917" y="1667864"/>
                  </a:lnTo>
                  <a:lnTo>
                    <a:pt x="1549917" y="1671285"/>
                  </a:lnTo>
                  <a:cubicBezTo>
                    <a:pt x="1549917" y="1671285"/>
                    <a:pt x="1543076" y="1674380"/>
                    <a:pt x="1543076" y="1674380"/>
                  </a:cubicBezTo>
                  <a:lnTo>
                    <a:pt x="1541283" y="1679593"/>
                  </a:lnTo>
                  <a:lnTo>
                    <a:pt x="1540958" y="1684806"/>
                  </a:lnTo>
                  <a:lnTo>
                    <a:pt x="1532812" y="1687739"/>
                  </a:lnTo>
                  <a:lnTo>
                    <a:pt x="1528414" y="1692463"/>
                  </a:lnTo>
                  <a:lnTo>
                    <a:pt x="1526785" y="1695070"/>
                  </a:lnTo>
                  <a:lnTo>
                    <a:pt x="1515055" y="1694581"/>
                  </a:lnTo>
                  <a:lnTo>
                    <a:pt x="1510494" y="1697025"/>
                  </a:lnTo>
                  <a:lnTo>
                    <a:pt x="1506421" y="1706473"/>
                  </a:lnTo>
                  <a:lnTo>
                    <a:pt x="1506421" y="1707125"/>
                  </a:lnTo>
                  <a:cubicBezTo>
                    <a:pt x="1506421" y="1707125"/>
                    <a:pt x="1504303" y="1707125"/>
                    <a:pt x="1504303" y="1707125"/>
                  </a:cubicBezTo>
                  <a:lnTo>
                    <a:pt x="1499090" y="1705333"/>
                  </a:lnTo>
                  <a:lnTo>
                    <a:pt x="1495995" y="1705333"/>
                  </a:lnTo>
                  <a:cubicBezTo>
                    <a:pt x="1495995" y="1705333"/>
                    <a:pt x="1494692" y="1703867"/>
                    <a:pt x="1494692" y="1703867"/>
                  </a:cubicBezTo>
                  <a:lnTo>
                    <a:pt x="1487198" y="1701260"/>
                  </a:lnTo>
                  <a:lnTo>
                    <a:pt x="1481496" y="1696210"/>
                  </a:lnTo>
                  <a:lnTo>
                    <a:pt x="1477749" y="1695233"/>
                  </a:lnTo>
                  <a:lnTo>
                    <a:pt x="1476283" y="1690997"/>
                  </a:lnTo>
                  <a:lnTo>
                    <a:pt x="1478563" y="1684806"/>
                  </a:lnTo>
                  <a:lnTo>
                    <a:pt x="1475794" y="1683503"/>
                  </a:lnTo>
                  <a:lnTo>
                    <a:pt x="1470907" y="1686273"/>
                  </a:lnTo>
                  <a:lnTo>
                    <a:pt x="1468300" y="1690671"/>
                  </a:lnTo>
                  <a:lnTo>
                    <a:pt x="1462761" y="1692300"/>
                  </a:lnTo>
                  <a:lnTo>
                    <a:pt x="1450706" y="1693115"/>
                  </a:lnTo>
                  <a:lnTo>
                    <a:pt x="1446633" y="1695395"/>
                  </a:lnTo>
                  <a:lnTo>
                    <a:pt x="1445330" y="1697676"/>
                  </a:lnTo>
                  <a:lnTo>
                    <a:pt x="1441420" y="1695884"/>
                  </a:lnTo>
                  <a:lnTo>
                    <a:pt x="1436370" y="1693766"/>
                  </a:lnTo>
                  <a:lnTo>
                    <a:pt x="1434089" y="1693766"/>
                  </a:lnTo>
                  <a:cubicBezTo>
                    <a:pt x="1434089" y="1693766"/>
                    <a:pt x="1432949" y="1692626"/>
                    <a:pt x="1432949" y="1692626"/>
                  </a:cubicBezTo>
                  <a:lnTo>
                    <a:pt x="1430505" y="1690182"/>
                  </a:lnTo>
                  <a:lnTo>
                    <a:pt x="1429202" y="1686761"/>
                  </a:lnTo>
                  <a:lnTo>
                    <a:pt x="1429202" y="1682689"/>
                  </a:lnTo>
                  <a:cubicBezTo>
                    <a:pt x="1429202" y="1682689"/>
                    <a:pt x="1430017" y="1680245"/>
                    <a:pt x="1430017" y="1680245"/>
                  </a:cubicBezTo>
                  <a:lnTo>
                    <a:pt x="1429690" y="1677313"/>
                  </a:lnTo>
                  <a:lnTo>
                    <a:pt x="1425944" y="1675521"/>
                  </a:lnTo>
                  <a:lnTo>
                    <a:pt x="1424152" y="1675521"/>
                  </a:lnTo>
                  <a:lnTo>
                    <a:pt x="1418124" y="1671774"/>
                  </a:lnTo>
                  <a:lnTo>
                    <a:pt x="1412748" y="1670307"/>
                  </a:lnTo>
                  <a:lnTo>
                    <a:pt x="1410305" y="1670307"/>
                  </a:lnTo>
                  <a:cubicBezTo>
                    <a:pt x="1410305" y="1670307"/>
                    <a:pt x="1407698" y="1664280"/>
                    <a:pt x="1407698" y="1664280"/>
                  </a:cubicBezTo>
                  <a:lnTo>
                    <a:pt x="1403625" y="1656949"/>
                  </a:lnTo>
                  <a:lnTo>
                    <a:pt x="1396131" y="1651410"/>
                  </a:lnTo>
                  <a:lnTo>
                    <a:pt x="1388312" y="1649455"/>
                  </a:lnTo>
                  <a:lnTo>
                    <a:pt x="1379189" y="1649455"/>
                  </a:lnTo>
                  <a:lnTo>
                    <a:pt x="1370717" y="1650595"/>
                  </a:lnTo>
                  <a:lnTo>
                    <a:pt x="1369740" y="1653202"/>
                  </a:lnTo>
                  <a:lnTo>
                    <a:pt x="1371369" y="1655809"/>
                  </a:lnTo>
                  <a:lnTo>
                    <a:pt x="1370066" y="1658089"/>
                  </a:lnTo>
                  <a:lnTo>
                    <a:pt x="1365016" y="1660044"/>
                  </a:lnTo>
                  <a:lnTo>
                    <a:pt x="1360780" y="1659067"/>
                  </a:lnTo>
                  <a:lnTo>
                    <a:pt x="1355241" y="1661510"/>
                  </a:lnTo>
                  <a:lnTo>
                    <a:pt x="1348725" y="1657926"/>
                  </a:lnTo>
                  <a:lnTo>
                    <a:pt x="1344489" y="1658741"/>
                  </a:lnTo>
                  <a:lnTo>
                    <a:pt x="1341068" y="1661022"/>
                  </a:lnTo>
                  <a:lnTo>
                    <a:pt x="1336507" y="1661022"/>
                  </a:lnTo>
                  <a:cubicBezTo>
                    <a:pt x="1336507" y="1661022"/>
                    <a:pt x="1332760" y="1657112"/>
                    <a:pt x="1332760" y="1657112"/>
                  </a:cubicBezTo>
                  <a:lnTo>
                    <a:pt x="1326895" y="1655483"/>
                  </a:lnTo>
                  <a:lnTo>
                    <a:pt x="1326406" y="1651899"/>
                  </a:lnTo>
                  <a:lnTo>
                    <a:pt x="1327058" y="1648315"/>
                  </a:lnTo>
                  <a:lnTo>
                    <a:pt x="1319727" y="1644731"/>
                  </a:lnTo>
                  <a:lnTo>
                    <a:pt x="1315817" y="1646686"/>
                  </a:lnTo>
                  <a:lnTo>
                    <a:pt x="1315817" y="1652387"/>
                  </a:lnTo>
                  <a:cubicBezTo>
                    <a:pt x="1315817" y="1652387"/>
                    <a:pt x="1317283" y="1653528"/>
                    <a:pt x="1317283" y="1653528"/>
                  </a:cubicBezTo>
                  <a:lnTo>
                    <a:pt x="1316143" y="1656623"/>
                  </a:lnTo>
                  <a:lnTo>
                    <a:pt x="1312071" y="1659230"/>
                  </a:lnTo>
                  <a:lnTo>
                    <a:pt x="1305880" y="1660370"/>
                  </a:lnTo>
                  <a:lnTo>
                    <a:pt x="1243160" y="1581685"/>
                  </a:lnTo>
                  <a:lnTo>
                    <a:pt x="1197219" y="1547148"/>
                  </a:lnTo>
                  <a:lnTo>
                    <a:pt x="1195264" y="1543401"/>
                  </a:lnTo>
                  <a:lnTo>
                    <a:pt x="1199337" y="1542424"/>
                  </a:lnTo>
                  <a:lnTo>
                    <a:pt x="1203573" y="1537699"/>
                  </a:lnTo>
                  <a:lnTo>
                    <a:pt x="1203573" y="1533138"/>
                  </a:lnTo>
                  <a:cubicBezTo>
                    <a:pt x="1203573" y="1533138"/>
                    <a:pt x="1200966" y="1531346"/>
                    <a:pt x="1200966" y="1531346"/>
                  </a:cubicBezTo>
                  <a:lnTo>
                    <a:pt x="1194450" y="1533301"/>
                  </a:lnTo>
                  <a:lnTo>
                    <a:pt x="1188911" y="1534767"/>
                  </a:lnTo>
                  <a:lnTo>
                    <a:pt x="1185001" y="1538840"/>
                  </a:lnTo>
                  <a:lnTo>
                    <a:pt x="1180928" y="1540306"/>
                  </a:lnTo>
                  <a:lnTo>
                    <a:pt x="1175226" y="1545845"/>
                  </a:lnTo>
                  <a:lnTo>
                    <a:pt x="1174738" y="1549592"/>
                  </a:lnTo>
                  <a:lnTo>
                    <a:pt x="1170828" y="1552687"/>
                  </a:lnTo>
                  <a:lnTo>
                    <a:pt x="1168710" y="1557086"/>
                  </a:lnTo>
                  <a:lnTo>
                    <a:pt x="1163986" y="1560344"/>
                  </a:lnTo>
                  <a:lnTo>
                    <a:pt x="1156492" y="1561321"/>
                  </a:lnTo>
                  <a:lnTo>
                    <a:pt x="1151767" y="1563113"/>
                  </a:lnTo>
                  <a:lnTo>
                    <a:pt x="1152745" y="1568978"/>
                  </a:lnTo>
                  <a:lnTo>
                    <a:pt x="1149650" y="1571259"/>
                  </a:lnTo>
                  <a:lnTo>
                    <a:pt x="1147206" y="1569630"/>
                  </a:lnTo>
                  <a:lnTo>
                    <a:pt x="1136943" y="1567186"/>
                  </a:lnTo>
                  <a:lnTo>
                    <a:pt x="1131078" y="1568815"/>
                  </a:lnTo>
                  <a:lnTo>
                    <a:pt x="1128146" y="1572399"/>
                  </a:lnTo>
                  <a:lnTo>
                    <a:pt x="1124725" y="1572725"/>
                  </a:lnTo>
                  <a:lnTo>
                    <a:pt x="1121304" y="1568163"/>
                  </a:lnTo>
                  <a:lnTo>
                    <a:pt x="1121304" y="1561484"/>
                  </a:lnTo>
                  <a:cubicBezTo>
                    <a:pt x="1121304" y="1561484"/>
                    <a:pt x="1124562" y="1558715"/>
                    <a:pt x="1124562" y="1558715"/>
                  </a:cubicBezTo>
                  <a:lnTo>
                    <a:pt x="1126680" y="1553665"/>
                  </a:lnTo>
                  <a:lnTo>
                    <a:pt x="1123747" y="1552036"/>
                  </a:lnTo>
                  <a:lnTo>
                    <a:pt x="1120000" y="1555131"/>
                  </a:lnTo>
                  <a:lnTo>
                    <a:pt x="1116742" y="1555131"/>
                  </a:lnTo>
                  <a:lnTo>
                    <a:pt x="1107131" y="1550569"/>
                  </a:lnTo>
                  <a:lnTo>
                    <a:pt x="1101429" y="1551710"/>
                  </a:lnTo>
                  <a:lnTo>
                    <a:pt x="1102732" y="1554642"/>
                  </a:lnTo>
                  <a:lnTo>
                    <a:pt x="1105664" y="1555945"/>
                  </a:lnTo>
                  <a:lnTo>
                    <a:pt x="1101917" y="1559855"/>
                  </a:lnTo>
                  <a:lnTo>
                    <a:pt x="1098822" y="1560181"/>
                  </a:lnTo>
                  <a:lnTo>
                    <a:pt x="1095564" y="1553827"/>
                  </a:lnTo>
                  <a:lnTo>
                    <a:pt x="1094587" y="1545682"/>
                  </a:lnTo>
                  <a:lnTo>
                    <a:pt x="1085789" y="1539329"/>
                  </a:lnTo>
                  <a:lnTo>
                    <a:pt x="1084160" y="1540469"/>
                  </a:lnTo>
                  <a:lnTo>
                    <a:pt x="1086115" y="1545682"/>
                  </a:lnTo>
                  <a:lnTo>
                    <a:pt x="1085464" y="1549592"/>
                  </a:lnTo>
                  <a:lnTo>
                    <a:pt x="1082369" y="1549592"/>
                  </a:lnTo>
                  <a:lnTo>
                    <a:pt x="1080739" y="1544379"/>
                  </a:lnTo>
                  <a:lnTo>
                    <a:pt x="1077481" y="1545845"/>
                  </a:lnTo>
                  <a:lnTo>
                    <a:pt x="1076504" y="1550732"/>
                  </a:lnTo>
                  <a:lnTo>
                    <a:pt x="1073571" y="1551710"/>
                  </a:lnTo>
                  <a:lnTo>
                    <a:pt x="1069662" y="1548451"/>
                  </a:lnTo>
                  <a:lnTo>
                    <a:pt x="1063960" y="1551873"/>
                  </a:lnTo>
                  <a:lnTo>
                    <a:pt x="1060864" y="1549592"/>
                  </a:lnTo>
                  <a:lnTo>
                    <a:pt x="1058583" y="1544705"/>
                  </a:lnTo>
                  <a:lnTo>
                    <a:pt x="1062494" y="1543564"/>
                  </a:lnTo>
                  <a:lnTo>
                    <a:pt x="1062819" y="1541609"/>
                  </a:lnTo>
                  <a:lnTo>
                    <a:pt x="1061842" y="1536722"/>
                  </a:lnTo>
                  <a:lnTo>
                    <a:pt x="1063145" y="1532323"/>
                  </a:lnTo>
                  <a:lnTo>
                    <a:pt x="1062656" y="1529391"/>
                  </a:lnTo>
                  <a:lnTo>
                    <a:pt x="1059235" y="1527599"/>
                  </a:lnTo>
                  <a:lnTo>
                    <a:pt x="1055814" y="1523201"/>
                  </a:lnTo>
                  <a:lnTo>
                    <a:pt x="1054022" y="1517987"/>
                  </a:lnTo>
                  <a:lnTo>
                    <a:pt x="1052067" y="1516358"/>
                  </a:lnTo>
                  <a:lnTo>
                    <a:pt x="1049949" y="1510005"/>
                  </a:lnTo>
                  <a:lnTo>
                    <a:pt x="1044736" y="1509516"/>
                  </a:lnTo>
                  <a:lnTo>
                    <a:pt x="1039035" y="1511960"/>
                  </a:lnTo>
                  <a:lnTo>
                    <a:pt x="1033007" y="1511960"/>
                  </a:lnTo>
                  <a:cubicBezTo>
                    <a:pt x="1033007" y="1511960"/>
                    <a:pt x="1026816" y="1507887"/>
                    <a:pt x="1026816" y="1507887"/>
                  </a:cubicBezTo>
                  <a:lnTo>
                    <a:pt x="1019811" y="1508702"/>
                  </a:lnTo>
                  <a:lnTo>
                    <a:pt x="1013621" y="1506095"/>
                  </a:lnTo>
                  <a:lnTo>
                    <a:pt x="1009711" y="1507398"/>
                  </a:lnTo>
                  <a:lnTo>
                    <a:pt x="1006616" y="1506910"/>
                  </a:lnTo>
                  <a:lnTo>
                    <a:pt x="1002054" y="1509516"/>
                  </a:lnTo>
                  <a:lnTo>
                    <a:pt x="1000588" y="1514566"/>
                  </a:lnTo>
                  <a:lnTo>
                    <a:pt x="993746" y="1514892"/>
                  </a:lnTo>
                  <a:lnTo>
                    <a:pt x="990976" y="1516358"/>
                  </a:lnTo>
                  <a:lnTo>
                    <a:pt x="993420" y="1520268"/>
                  </a:lnTo>
                  <a:lnTo>
                    <a:pt x="993420" y="1524015"/>
                  </a:lnTo>
                  <a:cubicBezTo>
                    <a:pt x="993420" y="1524015"/>
                    <a:pt x="986741" y="1525481"/>
                    <a:pt x="986741" y="1525481"/>
                  </a:cubicBezTo>
                  <a:lnTo>
                    <a:pt x="983482" y="1524504"/>
                  </a:lnTo>
                  <a:lnTo>
                    <a:pt x="980062" y="1529065"/>
                  </a:lnTo>
                  <a:lnTo>
                    <a:pt x="974034" y="1530206"/>
                  </a:lnTo>
                  <a:lnTo>
                    <a:pt x="971590" y="1531835"/>
                  </a:lnTo>
                  <a:lnTo>
                    <a:pt x="969146" y="1531835"/>
                  </a:lnTo>
                  <a:lnTo>
                    <a:pt x="958232" y="1539166"/>
                  </a:lnTo>
                  <a:lnTo>
                    <a:pt x="952530" y="1540958"/>
                  </a:lnTo>
                  <a:lnTo>
                    <a:pt x="947805" y="1543727"/>
                  </a:lnTo>
                  <a:lnTo>
                    <a:pt x="944058" y="1542913"/>
                  </a:lnTo>
                  <a:lnTo>
                    <a:pt x="941289" y="1540306"/>
                  </a:lnTo>
                  <a:lnTo>
                    <a:pt x="938031" y="1543075"/>
                  </a:lnTo>
                  <a:lnTo>
                    <a:pt x="937379" y="1546334"/>
                  </a:lnTo>
                  <a:lnTo>
                    <a:pt x="931840" y="1546334"/>
                  </a:lnTo>
                  <a:lnTo>
                    <a:pt x="928908" y="1548940"/>
                  </a:lnTo>
                  <a:lnTo>
                    <a:pt x="928908" y="1554316"/>
                  </a:lnTo>
                  <a:cubicBezTo>
                    <a:pt x="928908" y="1554316"/>
                    <a:pt x="927116" y="1556108"/>
                    <a:pt x="927116" y="1556108"/>
                  </a:cubicBezTo>
                  <a:lnTo>
                    <a:pt x="923695" y="1554642"/>
                  </a:lnTo>
                  <a:lnTo>
                    <a:pt x="919948" y="1554968"/>
                  </a:lnTo>
                  <a:lnTo>
                    <a:pt x="915875" y="1557737"/>
                  </a:lnTo>
                  <a:lnTo>
                    <a:pt x="909685" y="1557737"/>
                  </a:lnTo>
                  <a:cubicBezTo>
                    <a:pt x="909685" y="1557737"/>
                    <a:pt x="902842" y="1562136"/>
                    <a:pt x="902842" y="1562136"/>
                  </a:cubicBezTo>
                  <a:lnTo>
                    <a:pt x="901539" y="1564417"/>
                  </a:lnTo>
                  <a:lnTo>
                    <a:pt x="894697" y="1564905"/>
                  </a:lnTo>
                  <a:lnTo>
                    <a:pt x="888181" y="1568001"/>
                  </a:lnTo>
                  <a:lnTo>
                    <a:pt x="882316" y="1568489"/>
                  </a:lnTo>
                  <a:lnTo>
                    <a:pt x="873519" y="1571259"/>
                  </a:lnTo>
                  <a:lnTo>
                    <a:pt x="873030" y="1575006"/>
                  </a:lnTo>
                  <a:lnTo>
                    <a:pt x="870587" y="1578264"/>
                  </a:lnTo>
                  <a:lnTo>
                    <a:pt x="867654" y="1573702"/>
                  </a:lnTo>
                  <a:lnTo>
                    <a:pt x="863092" y="1573702"/>
                  </a:lnTo>
                  <a:cubicBezTo>
                    <a:pt x="863092" y="1573702"/>
                    <a:pt x="858694" y="1576309"/>
                    <a:pt x="858694" y="1576309"/>
                  </a:cubicBezTo>
                  <a:lnTo>
                    <a:pt x="858694" y="1579404"/>
                  </a:lnTo>
                  <a:lnTo>
                    <a:pt x="856739" y="1582011"/>
                  </a:lnTo>
                  <a:lnTo>
                    <a:pt x="852178" y="1578753"/>
                  </a:lnTo>
                  <a:lnTo>
                    <a:pt x="846313" y="1579567"/>
                  </a:lnTo>
                  <a:lnTo>
                    <a:pt x="844684" y="1576798"/>
                  </a:lnTo>
                  <a:lnTo>
                    <a:pt x="840937" y="1576798"/>
                  </a:lnTo>
                  <a:cubicBezTo>
                    <a:pt x="840937" y="1576798"/>
                    <a:pt x="838330" y="1579730"/>
                    <a:pt x="838330" y="1579730"/>
                  </a:cubicBezTo>
                  <a:lnTo>
                    <a:pt x="832792" y="1580056"/>
                  </a:lnTo>
                  <a:lnTo>
                    <a:pt x="830999" y="1581685"/>
                  </a:lnTo>
                  <a:lnTo>
                    <a:pt x="833769" y="1587713"/>
                  </a:lnTo>
                  <a:lnTo>
                    <a:pt x="831325" y="1590319"/>
                  </a:lnTo>
                  <a:lnTo>
                    <a:pt x="835887" y="1591622"/>
                  </a:lnTo>
                  <a:lnTo>
                    <a:pt x="842403" y="1590645"/>
                  </a:lnTo>
                  <a:lnTo>
                    <a:pt x="844358" y="1596184"/>
                  </a:lnTo>
                  <a:lnTo>
                    <a:pt x="837516" y="1596184"/>
                  </a:lnTo>
                  <a:cubicBezTo>
                    <a:pt x="837516" y="1596184"/>
                    <a:pt x="835235" y="1598465"/>
                    <a:pt x="835235" y="1598465"/>
                  </a:cubicBezTo>
                  <a:lnTo>
                    <a:pt x="835724" y="1601723"/>
                  </a:lnTo>
                  <a:lnTo>
                    <a:pt x="842240" y="1601723"/>
                  </a:lnTo>
                  <a:cubicBezTo>
                    <a:pt x="842240" y="1601723"/>
                    <a:pt x="847453" y="1604166"/>
                    <a:pt x="847453" y="1604166"/>
                  </a:cubicBezTo>
                  <a:lnTo>
                    <a:pt x="850549" y="1601723"/>
                  </a:lnTo>
                  <a:lnTo>
                    <a:pt x="854621" y="1601723"/>
                  </a:lnTo>
                  <a:cubicBezTo>
                    <a:pt x="854621" y="1601723"/>
                    <a:pt x="858694" y="1605633"/>
                    <a:pt x="858694" y="1605633"/>
                  </a:cubicBezTo>
                  <a:lnTo>
                    <a:pt x="863581" y="1607099"/>
                  </a:lnTo>
                  <a:lnTo>
                    <a:pt x="863581" y="1612312"/>
                  </a:lnTo>
                  <a:cubicBezTo>
                    <a:pt x="863581" y="1612312"/>
                    <a:pt x="860486" y="1614267"/>
                    <a:pt x="860486" y="1614267"/>
                  </a:cubicBezTo>
                  <a:lnTo>
                    <a:pt x="856250" y="1612801"/>
                  </a:lnTo>
                  <a:lnTo>
                    <a:pt x="845498" y="1613941"/>
                  </a:lnTo>
                  <a:lnTo>
                    <a:pt x="839634" y="1619317"/>
                  </a:lnTo>
                  <a:lnTo>
                    <a:pt x="833932" y="1627625"/>
                  </a:lnTo>
                  <a:lnTo>
                    <a:pt x="834258" y="1633164"/>
                  </a:lnTo>
                  <a:lnTo>
                    <a:pt x="838167" y="1633653"/>
                  </a:lnTo>
                  <a:lnTo>
                    <a:pt x="839471" y="1639518"/>
                  </a:lnTo>
                  <a:lnTo>
                    <a:pt x="835561" y="1644079"/>
                  </a:lnTo>
                  <a:lnTo>
                    <a:pt x="834583" y="1649455"/>
                  </a:lnTo>
                  <a:lnTo>
                    <a:pt x="830022" y="1649944"/>
                  </a:lnTo>
                  <a:lnTo>
                    <a:pt x="829208" y="1652550"/>
                  </a:lnTo>
                  <a:lnTo>
                    <a:pt x="830837" y="1655646"/>
                  </a:lnTo>
                  <a:lnTo>
                    <a:pt x="831162" y="1658904"/>
                  </a:lnTo>
                  <a:lnTo>
                    <a:pt x="837190" y="1658904"/>
                  </a:lnTo>
                  <a:lnTo>
                    <a:pt x="840611" y="1662162"/>
                  </a:lnTo>
                  <a:lnTo>
                    <a:pt x="846313" y="1663465"/>
                  </a:lnTo>
                  <a:lnTo>
                    <a:pt x="847290" y="1666235"/>
                  </a:lnTo>
                  <a:lnTo>
                    <a:pt x="852015" y="1670145"/>
                  </a:lnTo>
                  <a:lnTo>
                    <a:pt x="859508" y="1670145"/>
                  </a:lnTo>
                  <a:cubicBezTo>
                    <a:pt x="859508" y="1670145"/>
                    <a:pt x="861952" y="1672099"/>
                    <a:pt x="861952" y="1672099"/>
                  </a:cubicBezTo>
                  <a:lnTo>
                    <a:pt x="863255" y="1692137"/>
                  </a:lnTo>
                  <a:lnTo>
                    <a:pt x="860812" y="1696373"/>
                  </a:lnTo>
                  <a:lnTo>
                    <a:pt x="852178" y="1699305"/>
                  </a:lnTo>
                  <a:lnTo>
                    <a:pt x="845010" y="1698491"/>
                  </a:lnTo>
                  <a:lnTo>
                    <a:pt x="837027" y="1693766"/>
                  </a:lnTo>
                  <a:lnTo>
                    <a:pt x="834421" y="1696210"/>
                  </a:lnTo>
                  <a:lnTo>
                    <a:pt x="834095" y="1701260"/>
                  </a:lnTo>
                  <a:lnTo>
                    <a:pt x="831488" y="1706636"/>
                  </a:lnTo>
                  <a:lnTo>
                    <a:pt x="825787" y="1707777"/>
                  </a:lnTo>
                  <a:lnTo>
                    <a:pt x="816826" y="1702726"/>
                  </a:lnTo>
                  <a:lnTo>
                    <a:pt x="809170" y="1703052"/>
                  </a:lnTo>
                  <a:lnTo>
                    <a:pt x="805585" y="1701097"/>
                  </a:lnTo>
                  <a:lnTo>
                    <a:pt x="803305" y="1702564"/>
                  </a:lnTo>
                  <a:lnTo>
                    <a:pt x="798744" y="1701097"/>
                  </a:lnTo>
                  <a:lnTo>
                    <a:pt x="793693" y="1695233"/>
                  </a:lnTo>
                  <a:lnTo>
                    <a:pt x="797603" y="1693278"/>
                  </a:lnTo>
                  <a:lnTo>
                    <a:pt x="799232" y="1689857"/>
                  </a:lnTo>
                  <a:lnTo>
                    <a:pt x="795485" y="1688065"/>
                  </a:lnTo>
                  <a:lnTo>
                    <a:pt x="789458" y="1684806"/>
                  </a:lnTo>
                  <a:lnTo>
                    <a:pt x="786688" y="1688227"/>
                  </a:lnTo>
                  <a:lnTo>
                    <a:pt x="780987" y="1687739"/>
                  </a:lnTo>
                  <a:lnTo>
                    <a:pt x="776914" y="1689042"/>
                  </a:lnTo>
                  <a:lnTo>
                    <a:pt x="777891" y="1695233"/>
                  </a:lnTo>
                  <a:lnTo>
                    <a:pt x="770723" y="1696047"/>
                  </a:lnTo>
                  <a:lnTo>
                    <a:pt x="769257" y="1693278"/>
                  </a:lnTo>
                  <a:lnTo>
                    <a:pt x="761926" y="1686436"/>
                  </a:lnTo>
                  <a:lnTo>
                    <a:pt x="756061" y="1687413"/>
                  </a:lnTo>
                  <a:lnTo>
                    <a:pt x="753780" y="1691649"/>
                  </a:lnTo>
                  <a:lnTo>
                    <a:pt x="750848" y="1687739"/>
                  </a:lnTo>
                  <a:lnTo>
                    <a:pt x="746776" y="1689042"/>
                  </a:lnTo>
                  <a:lnTo>
                    <a:pt x="746450" y="1693766"/>
                  </a:lnTo>
                  <a:lnTo>
                    <a:pt x="741074" y="1694255"/>
                  </a:lnTo>
                  <a:lnTo>
                    <a:pt x="740585" y="1703867"/>
                  </a:lnTo>
                  <a:lnTo>
                    <a:pt x="734394" y="1708591"/>
                  </a:lnTo>
                  <a:lnTo>
                    <a:pt x="730322" y="1706962"/>
                  </a:lnTo>
                  <a:lnTo>
                    <a:pt x="727389" y="1702238"/>
                  </a:lnTo>
                  <a:lnTo>
                    <a:pt x="717615" y="1700772"/>
                  </a:lnTo>
                  <a:lnTo>
                    <a:pt x="714194" y="1695721"/>
                  </a:lnTo>
                  <a:lnTo>
                    <a:pt x="709144" y="1698654"/>
                  </a:lnTo>
                  <a:lnTo>
                    <a:pt x="709632" y="1705170"/>
                  </a:lnTo>
                  <a:lnTo>
                    <a:pt x="706374" y="1710220"/>
                  </a:lnTo>
                  <a:lnTo>
                    <a:pt x="703442" y="1709243"/>
                  </a:lnTo>
                  <a:lnTo>
                    <a:pt x="703116" y="1703378"/>
                  </a:lnTo>
                  <a:lnTo>
                    <a:pt x="701161" y="1699957"/>
                  </a:lnTo>
                  <a:lnTo>
                    <a:pt x="697088" y="1699631"/>
                  </a:lnTo>
                  <a:lnTo>
                    <a:pt x="689920" y="1694255"/>
                  </a:lnTo>
                  <a:lnTo>
                    <a:pt x="685848" y="1688879"/>
                  </a:lnTo>
                  <a:lnTo>
                    <a:pt x="680308" y="1688879"/>
                  </a:lnTo>
                  <a:lnTo>
                    <a:pt x="675096" y="1682200"/>
                  </a:lnTo>
                  <a:lnTo>
                    <a:pt x="672163" y="1682200"/>
                  </a:lnTo>
                  <a:cubicBezTo>
                    <a:pt x="672163" y="1682200"/>
                    <a:pt x="669557" y="1678127"/>
                    <a:pt x="669557" y="1678127"/>
                  </a:cubicBezTo>
                  <a:lnTo>
                    <a:pt x="665321" y="1678127"/>
                  </a:lnTo>
                  <a:cubicBezTo>
                    <a:pt x="665321" y="1678127"/>
                    <a:pt x="656035" y="1680897"/>
                    <a:pt x="656035" y="1680897"/>
                  </a:cubicBezTo>
                  <a:lnTo>
                    <a:pt x="650333" y="1676987"/>
                  </a:lnTo>
                  <a:lnTo>
                    <a:pt x="647564" y="1670145"/>
                  </a:lnTo>
                  <a:lnTo>
                    <a:pt x="643002" y="1670145"/>
                  </a:lnTo>
                  <a:cubicBezTo>
                    <a:pt x="643002" y="1670145"/>
                    <a:pt x="637626" y="1674054"/>
                    <a:pt x="637626" y="1674054"/>
                  </a:cubicBezTo>
                  <a:lnTo>
                    <a:pt x="632576" y="1674543"/>
                  </a:lnTo>
                  <a:lnTo>
                    <a:pt x="631925" y="1677638"/>
                  </a:lnTo>
                  <a:lnTo>
                    <a:pt x="628666" y="1681060"/>
                  </a:lnTo>
                  <a:lnTo>
                    <a:pt x="628666" y="1676661"/>
                  </a:lnTo>
                  <a:cubicBezTo>
                    <a:pt x="628666" y="1676661"/>
                    <a:pt x="624919" y="1678942"/>
                    <a:pt x="624919" y="1678942"/>
                  </a:cubicBezTo>
                  <a:lnTo>
                    <a:pt x="623616" y="1682852"/>
                  </a:lnTo>
                  <a:lnTo>
                    <a:pt x="618892" y="1685621"/>
                  </a:lnTo>
                  <a:lnTo>
                    <a:pt x="616285" y="1683014"/>
                  </a:lnTo>
                  <a:lnTo>
                    <a:pt x="619707" y="1678779"/>
                  </a:lnTo>
                  <a:lnTo>
                    <a:pt x="620521" y="1675521"/>
                  </a:lnTo>
                  <a:lnTo>
                    <a:pt x="614493" y="1672914"/>
                  </a:lnTo>
                  <a:lnTo>
                    <a:pt x="606999" y="1668515"/>
                  </a:lnTo>
                  <a:lnTo>
                    <a:pt x="605696" y="1671774"/>
                  </a:lnTo>
                  <a:lnTo>
                    <a:pt x="606999" y="1676335"/>
                  </a:lnTo>
                  <a:lnTo>
                    <a:pt x="606348" y="1680897"/>
                  </a:lnTo>
                  <a:lnTo>
                    <a:pt x="600972" y="1679430"/>
                  </a:lnTo>
                  <a:lnTo>
                    <a:pt x="597062" y="1682363"/>
                  </a:lnTo>
                  <a:lnTo>
                    <a:pt x="594618" y="1689205"/>
                  </a:lnTo>
                  <a:lnTo>
                    <a:pt x="591197" y="1689205"/>
                  </a:lnTo>
                  <a:cubicBezTo>
                    <a:pt x="591197" y="1689205"/>
                    <a:pt x="583703" y="1694255"/>
                    <a:pt x="583703" y="1694255"/>
                  </a:cubicBezTo>
                  <a:lnTo>
                    <a:pt x="582074" y="1700120"/>
                  </a:lnTo>
                  <a:lnTo>
                    <a:pt x="585821" y="1704681"/>
                  </a:lnTo>
                  <a:lnTo>
                    <a:pt x="585821" y="1710709"/>
                  </a:lnTo>
                  <a:lnTo>
                    <a:pt x="577513" y="1710709"/>
                  </a:lnTo>
                  <a:lnTo>
                    <a:pt x="569530" y="1711686"/>
                  </a:lnTo>
                  <a:lnTo>
                    <a:pt x="575395" y="1732213"/>
                  </a:lnTo>
                  <a:lnTo>
                    <a:pt x="572300" y="1734819"/>
                  </a:lnTo>
                  <a:lnTo>
                    <a:pt x="573277" y="1742639"/>
                  </a:lnTo>
                  <a:lnTo>
                    <a:pt x="565294" y="1743291"/>
                  </a:lnTo>
                  <a:lnTo>
                    <a:pt x="557638" y="1738566"/>
                  </a:lnTo>
                  <a:lnTo>
                    <a:pt x="556009" y="1734005"/>
                  </a:lnTo>
                  <a:lnTo>
                    <a:pt x="542325" y="1721624"/>
                  </a:lnTo>
                  <a:lnTo>
                    <a:pt x="538578" y="1726348"/>
                  </a:lnTo>
                  <a:lnTo>
                    <a:pt x="538578" y="1732865"/>
                  </a:lnTo>
                  <a:lnTo>
                    <a:pt x="531735" y="1741336"/>
                  </a:lnTo>
                  <a:lnTo>
                    <a:pt x="526685" y="1743780"/>
                  </a:lnTo>
                  <a:lnTo>
                    <a:pt x="527989" y="1756323"/>
                  </a:lnTo>
                  <a:lnTo>
                    <a:pt x="531898" y="1760233"/>
                  </a:lnTo>
                  <a:lnTo>
                    <a:pt x="529617" y="1776036"/>
                  </a:lnTo>
                  <a:lnTo>
                    <a:pt x="525708" y="1784833"/>
                  </a:lnTo>
                  <a:lnTo>
                    <a:pt x="536134" y="1788905"/>
                  </a:lnTo>
                  <a:lnTo>
                    <a:pt x="540532" y="1796073"/>
                  </a:lnTo>
                  <a:lnTo>
                    <a:pt x="538903" y="1799983"/>
                  </a:lnTo>
                  <a:lnTo>
                    <a:pt x="547212" y="1806988"/>
                  </a:lnTo>
                  <a:lnTo>
                    <a:pt x="549167" y="1803078"/>
                  </a:lnTo>
                  <a:lnTo>
                    <a:pt x="565783" y="1807640"/>
                  </a:lnTo>
                  <a:lnTo>
                    <a:pt x="577513" y="1818718"/>
                  </a:lnTo>
                  <a:lnTo>
                    <a:pt x="587776" y="1835986"/>
                  </a:lnTo>
                  <a:lnTo>
                    <a:pt x="578001" y="1835986"/>
                  </a:lnTo>
                  <a:lnTo>
                    <a:pt x="577513" y="1840222"/>
                  </a:lnTo>
                  <a:lnTo>
                    <a:pt x="586962" y="1846412"/>
                  </a:lnTo>
                  <a:lnTo>
                    <a:pt x="593641" y="1844132"/>
                  </a:lnTo>
                  <a:lnTo>
                    <a:pt x="599832" y="1848204"/>
                  </a:lnTo>
                  <a:lnTo>
                    <a:pt x="599832" y="1848204"/>
                  </a:lnTo>
                  <a:cubicBezTo>
                    <a:pt x="599832" y="1848204"/>
                    <a:pt x="599669" y="1848204"/>
                    <a:pt x="599669" y="1848204"/>
                  </a:cubicBezTo>
                  <a:lnTo>
                    <a:pt x="599343" y="1850159"/>
                  </a:lnTo>
                  <a:lnTo>
                    <a:pt x="599017" y="1852766"/>
                  </a:lnTo>
                  <a:lnTo>
                    <a:pt x="595107" y="1853580"/>
                  </a:lnTo>
                  <a:lnTo>
                    <a:pt x="597388" y="1855535"/>
                  </a:lnTo>
                  <a:lnTo>
                    <a:pt x="597388" y="1858468"/>
                  </a:lnTo>
                  <a:cubicBezTo>
                    <a:pt x="597388" y="1858468"/>
                    <a:pt x="594781" y="1858631"/>
                    <a:pt x="594781" y="1858631"/>
                  </a:cubicBezTo>
                  <a:lnTo>
                    <a:pt x="597225" y="1860260"/>
                  </a:lnTo>
                  <a:lnTo>
                    <a:pt x="597225" y="1863355"/>
                  </a:lnTo>
                  <a:lnTo>
                    <a:pt x="593152" y="1862377"/>
                  </a:lnTo>
                  <a:lnTo>
                    <a:pt x="591360" y="1863029"/>
                  </a:lnTo>
                  <a:lnTo>
                    <a:pt x="586636" y="1861726"/>
                  </a:lnTo>
                  <a:lnTo>
                    <a:pt x="583378" y="1862540"/>
                  </a:lnTo>
                  <a:lnTo>
                    <a:pt x="590708" y="1866776"/>
                  </a:lnTo>
                  <a:lnTo>
                    <a:pt x="591686" y="1869708"/>
                  </a:lnTo>
                  <a:lnTo>
                    <a:pt x="589894" y="1871337"/>
                  </a:lnTo>
                  <a:lnTo>
                    <a:pt x="587450" y="1868894"/>
                  </a:lnTo>
                  <a:cubicBezTo>
                    <a:pt x="587450" y="1868894"/>
                    <a:pt x="584192" y="1869871"/>
                    <a:pt x="583541" y="1869871"/>
                  </a:cubicBezTo>
                  <a:cubicBezTo>
                    <a:pt x="582889" y="1869871"/>
                    <a:pt x="581260" y="1868894"/>
                    <a:pt x="581260" y="1868894"/>
                  </a:cubicBezTo>
                  <a:lnTo>
                    <a:pt x="578816" y="1868894"/>
                  </a:lnTo>
                  <a:cubicBezTo>
                    <a:pt x="578816" y="1868894"/>
                    <a:pt x="582563" y="1870523"/>
                    <a:pt x="582563" y="1870523"/>
                  </a:cubicBezTo>
                  <a:lnTo>
                    <a:pt x="583378" y="1872641"/>
                  </a:lnTo>
                  <a:lnTo>
                    <a:pt x="579794" y="1875247"/>
                  </a:lnTo>
                  <a:lnTo>
                    <a:pt x="576373" y="1875247"/>
                  </a:lnTo>
                  <a:lnTo>
                    <a:pt x="573929" y="1877202"/>
                  </a:lnTo>
                  <a:lnTo>
                    <a:pt x="571811" y="1875084"/>
                  </a:lnTo>
                  <a:lnTo>
                    <a:pt x="570671" y="1878017"/>
                  </a:lnTo>
                  <a:lnTo>
                    <a:pt x="568716" y="1879157"/>
                  </a:lnTo>
                  <a:lnTo>
                    <a:pt x="566272" y="1877202"/>
                  </a:lnTo>
                  <a:lnTo>
                    <a:pt x="563666" y="1876225"/>
                  </a:lnTo>
                  <a:lnTo>
                    <a:pt x="563666" y="1879483"/>
                  </a:lnTo>
                  <a:cubicBezTo>
                    <a:pt x="563666" y="1879483"/>
                    <a:pt x="561222" y="1883556"/>
                    <a:pt x="561222" y="1883556"/>
                  </a:cubicBezTo>
                  <a:lnTo>
                    <a:pt x="560082" y="1889257"/>
                  </a:lnTo>
                  <a:lnTo>
                    <a:pt x="557312" y="1891049"/>
                  </a:lnTo>
                  <a:lnTo>
                    <a:pt x="555683" y="1896425"/>
                  </a:lnTo>
                  <a:lnTo>
                    <a:pt x="553728" y="1900498"/>
                  </a:lnTo>
                  <a:lnTo>
                    <a:pt x="553728" y="1909947"/>
                  </a:lnTo>
                  <a:lnTo>
                    <a:pt x="550959" y="1911902"/>
                  </a:lnTo>
                  <a:lnTo>
                    <a:pt x="549330" y="1916463"/>
                  </a:lnTo>
                  <a:lnTo>
                    <a:pt x="551773" y="1925260"/>
                  </a:lnTo>
                  <a:lnTo>
                    <a:pt x="556009" y="1925749"/>
                  </a:lnTo>
                  <a:lnTo>
                    <a:pt x="559104" y="1924772"/>
                  </a:lnTo>
                  <a:lnTo>
                    <a:pt x="562362" y="1928844"/>
                  </a:lnTo>
                  <a:lnTo>
                    <a:pt x="567087" y="1930310"/>
                  </a:lnTo>
                  <a:lnTo>
                    <a:pt x="567087" y="1938782"/>
                  </a:lnTo>
                  <a:lnTo>
                    <a:pt x="572951" y="1942529"/>
                  </a:lnTo>
                  <a:lnTo>
                    <a:pt x="575558" y="1940085"/>
                  </a:lnTo>
                  <a:lnTo>
                    <a:pt x="578490" y="1940085"/>
                  </a:lnTo>
                  <a:cubicBezTo>
                    <a:pt x="578490" y="1940085"/>
                    <a:pt x="576535" y="1944158"/>
                    <a:pt x="576535" y="1944158"/>
                  </a:cubicBezTo>
                  <a:lnTo>
                    <a:pt x="575232" y="1948882"/>
                  </a:lnTo>
                  <a:lnTo>
                    <a:pt x="572626" y="1947742"/>
                  </a:lnTo>
                  <a:lnTo>
                    <a:pt x="572137" y="1952140"/>
                  </a:lnTo>
                  <a:lnTo>
                    <a:pt x="575558" y="1952140"/>
                  </a:lnTo>
                  <a:lnTo>
                    <a:pt x="576373" y="1954910"/>
                  </a:lnTo>
                  <a:lnTo>
                    <a:pt x="577839" y="1958331"/>
                  </a:lnTo>
                  <a:lnTo>
                    <a:pt x="578328" y="1965662"/>
                  </a:lnTo>
                  <a:lnTo>
                    <a:pt x="582237" y="1970060"/>
                  </a:lnTo>
                  <a:lnTo>
                    <a:pt x="583866" y="1977391"/>
                  </a:lnTo>
                  <a:lnTo>
                    <a:pt x="593478" y="1989121"/>
                  </a:lnTo>
                  <a:lnTo>
                    <a:pt x="607162" y="2000199"/>
                  </a:lnTo>
                  <a:lnTo>
                    <a:pt x="609443" y="2001828"/>
                  </a:lnTo>
                  <a:lnTo>
                    <a:pt x="609443" y="2002316"/>
                  </a:lnTo>
                  <a:cubicBezTo>
                    <a:pt x="609443" y="2002316"/>
                    <a:pt x="600646" y="2012742"/>
                    <a:pt x="600646" y="2012742"/>
                  </a:cubicBezTo>
                  <a:lnTo>
                    <a:pt x="593315" y="2016815"/>
                  </a:lnTo>
                  <a:lnTo>
                    <a:pt x="591034" y="2021214"/>
                  </a:lnTo>
                  <a:lnTo>
                    <a:pt x="579305" y="2020074"/>
                  </a:lnTo>
                  <a:lnTo>
                    <a:pt x="576047" y="2013720"/>
                  </a:lnTo>
                  <a:lnTo>
                    <a:pt x="564155" y="2004108"/>
                  </a:lnTo>
                  <a:lnTo>
                    <a:pt x="556823" y="2003294"/>
                  </a:lnTo>
                  <a:lnTo>
                    <a:pt x="554217" y="2012580"/>
                  </a:lnTo>
                  <a:lnTo>
                    <a:pt x="560896" y="2016652"/>
                  </a:lnTo>
                  <a:lnTo>
                    <a:pt x="564643" y="2021866"/>
                  </a:lnTo>
                  <a:lnTo>
                    <a:pt x="563177" y="2031151"/>
                  </a:lnTo>
                  <a:lnTo>
                    <a:pt x="553891" y="2026427"/>
                  </a:lnTo>
                  <a:lnTo>
                    <a:pt x="544280" y="2026101"/>
                  </a:lnTo>
                  <a:lnTo>
                    <a:pt x="529943" y="2017956"/>
                  </a:lnTo>
                  <a:lnTo>
                    <a:pt x="520332" y="2021702"/>
                  </a:lnTo>
                  <a:lnTo>
                    <a:pt x="519843" y="2025938"/>
                  </a:lnTo>
                  <a:lnTo>
                    <a:pt x="524730" y="2030500"/>
                  </a:lnTo>
                  <a:lnTo>
                    <a:pt x="518540" y="2024635"/>
                  </a:lnTo>
                  <a:lnTo>
                    <a:pt x="504204" y="2024961"/>
                  </a:lnTo>
                  <a:lnTo>
                    <a:pt x="500946" y="2024146"/>
                  </a:lnTo>
                  <a:lnTo>
                    <a:pt x="489542" y="2026753"/>
                  </a:lnTo>
                  <a:lnTo>
                    <a:pt x="481559" y="2029522"/>
                  </a:lnTo>
                  <a:lnTo>
                    <a:pt x="481234" y="2029033"/>
                  </a:lnTo>
                  <a:lnTo>
                    <a:pt x="476672" y="2027893"/>
                  </a:lnTo>
                  <a:lnTo>
                    <a:pt x="465920" y="2018933"/>
                  </a:lnTo>
                  <a:lnTo>
                    <a:pt x="461684" y="2017793"/>
                  </a:lnTo>
                  <a:lnTo>
                    <a:pt x="457937" y="2020888"/>
                  </a:lnTo>
                  <a:lnTo>
                    <a:pt x="454842" y="2021377"/>
                  </a:lnTo>
                  <a:lnTo>
                    <a:pt x="448163" y="2018770"/>
                  </a:lnTo>
                  <a:lnTo>
                    <a:pt x="445719" y="2021866"/>
                  </a:lnTo>
                  <a:lnTo>
                    <a:pt x="442787" y="2020888"/>
                  </a:lnTo>
                  <a:lnTo>
                    <a:pt x="441646" y="2016326"/>
                  </a:lnTo>
                  <a:lnTo>
                    <a:pt x="438389" y="2016001"/>
                  </a:lnTo>
                  <a:lnTo>
                    <a:pt x="438389" y="2016001"/>
                  </a:lnTo>
                  <a:cubicBezTo>
                    <a:pt x="438389" y="2016001"/>
                    <a:pt x="439203" y="2014860"/>
                    <a:pt x="439203" y="2014860"/>
                  </a:cubicBezTo>
                  <a:lnTo>
                    <a:pt x="438062" y="2010462"/>
                  </a:lnTo>
                  <a:lnTo>
                    <a:pt x="439855" y="2007529"/>
                  </a:lnTo>
                  <a:lnTo>
                    <a:pt x="435456" y="1999384"/>
                  </a:lnTo>
                  <a:lnTo>
                    <a:pt x="434153" y="1988795"/>
                  </a:lnTo>
                  <a:lnTo>
                    <a:pt x="431057" y="1984885"/>
                  </a:lnTo>
                  <a:lnTo>
                    <a:pt x="425682" y="1976414"/>
                  </a:lnTo>
                  <a:lnTo>
                    <a:pt x="419491" y="1975599"/>
                  </a:lnTo>
                  <a:lnTo>
                    <a:pt x="419165" y="1972341"/>
                  </a:lnTo>
                  <a:lnTo>
                    <a:pt x="412649" y="1966802"/>
                  </a:lnTo>
                  <a:lnTo>
                    <a:pt x="409879" y="1968594"/>
                  </a:lnTo>
                  <a:lnTo>
                    <a:pt x="407435" y="1967291"/>
                  </a:lnTo>
                  <a:lnTo>
                    <a:pt x="402385" y="1966476"/>
                  </a:lnTo>
                  <a:lnTo>
                    <a:pt x="398313" y="1960449"/>
                  </a:lnTo>
                  <a:lnTo>
                    <a:pt x="395543" y="1960449"/>
                  </a:lnTo>
                  <a:lnTo>
                    <a:pt x="390656" y="1958494"/>
                  </a:lnTo>
                  <a:lnTo>
                    <a:pt x="389027" y="1955073"/>
                  </a:lnTo>
                  <a:lnTo>
                    <a:pt x="384954" y="1955073"/>
                  </a:lnTo>
                  <a:cubicBezTo>
                    <a:pt x="384954" y="1955073"/>
                    <a:pt x="380882" y="1951326"/>
                    <a:pt x="380882" y="1951326"/>
                  </a:cubicBezTo>
                  <a:lnTo>
                    <a:pt x="379416" y="1948231"/>
                  </a:lnTo>
                  <a:lnTo>
                    <a:pt x="374691" y="1946601"/>
                  </a:lnTo>
                  <a:lnTo>
                    <a:pt x="371433" y="1940411"/>
                  </a:lnTo>
                  <a:lnTo>
                    <a:pt x="354979" y="1928356"/>
                  </a:lnTo>
                  <a:lnTo>
                    <a:pt x="348137" y="1926564"/>
                  </a:lnTo>
                  <a:lnTo>
                    <a:pt x="338199" y="1920536"/>
                  </a:lnTo>
                  <a:lnTo>
                    <a:pt x="328751" y="1921351"/>
                  </a:lnTo>
                  <a:lnTo>
                    <a:pt x="323212" y="1915486"/>
                  </a:lnTo>
                  <a:lnTo>
                    <a:pt x="322886" y="1911576"/>
                  </a:lnTo>
                  <a:lnTo>
                    <a:pt x="315881" y="1905711"/>
                  </a:lnTo>
                  <a:lnTo>
                    <a:pt x="312948" y="1905711"/>
                  </a:lnTo>
                  <a:cubicBezTo>
                    <a:pt x="312948" y="1905711"/>
                    <a:pt x="306921" y="1905060"/>
                    <a:pt x="306921" y="1905060"/>
                  </a:cubicBezTo>
                  <a:lnTo>
                    <a:pt x="310342" y="1902127"/>
                  </a:lnTo>
                  <a:lnTo>
                    <a:pt x="314252" y="1900335"/>
                  </a:lnTo>
                  <a:lnTo>
                    <a:pt x="312297" y="1896588"/>
                  </a:lnTo>
                  <a:lnTo>
                    <a:pt x="312297" y="1894308"/>
                  </a:lnTo>
                  <a:cubicBezTo>
                    <a:pt x="312297" y="1894308"/>
                    <a:pt x="318162" y="1895611"/>
                    <a:pt x="318162" y="1895611"/>
                  </a:cubicBezTo>
                  <a:lnTo>
                    <a:pt x="322234" y="1898706"/>
                  </a:lnTo>
                  <a:lnTo>
                    <a:pt x="323375" y="1897892"/>
                  </a:lnTo>
                  <a:lnTo>
                    <a:pt x="328425" y="1898706"/>
                  </a:lnTo>
                  <a:lnTo>
                    <a:pt x="329565" y="1891375"/>
                  </a:lnTo>
                  <a:lnTo>
                    <a:pt x="327121" y="1889583"/>
                  </a:lnTo>
                  <a:lnTo>
                    <a:pt x="327121" y="1884370"/>
                  </a:lnTo>
                  <a:lnTo>
                    <a:pt x="332498" y="1878994"/>
                  </a:lnTo>
                  <a:lnTo>
                    <a:pt x="332498" y="1877039"/>
                  </a:lnTo>
                  <a:lnTo>
                    <a:pt x="334616" y="1875084"/>
                  </a:lnTo>
                  <a:lnTo>
                    <a:pt x="338037" y="1875736"/>
                  </a:lnTo>
                  <a:lnTo>
                    <a:pt x="340154" y="1872641"/>
                  </a:lnTo>
                  <a:lnTo>
                    <a:pt x="343412" y="1871826"/>
                  </a:lnTo>
                  <a:lnTo>
                    <a:pt x="343412" y="1869708"/>
                  </a:lnTo>
                  <a:lnTo>
                    <a:pt x="338199" y="1868079"/>
                  </a:lnTo>
                  <a:lnTo>
                    <a:pt x="336896" y="1865310"/>
                  </a:lnTo>
                  <a:lnTo>
                    <a:pt x="334126" y="1867590"/>
                  </a:lnTo>
                  <a:lnTo>
                    <a:pt x="330380" y="1863844"/>
                  </a:lnTo>
                  <a:lnTo>
                    <a:pt x="326959" y="1856350"/>
                  </a:lnTo>
                  <a:lnTo>
                    <a:pt x="335593" y="1855209"/>
                  </a:lnTo>
                  <a:lnTo>
                    <a:pt x="341783" y="1856350"/>
                  </a:lnTo>
                  <a:lnTo>
                    <a:pt x="345041" y="1852603"/>
                  </a:lnTo>
                  <a:lnTo>
                    <a:pt x="341783" y="1852603"/>
                  </a:lnTo>
                  <a:lnTo>
                    <a:pt x="339340" y="1850159"/>
                  </a:lnTo>
                  <a:lnTo>
                    <a:pt x="344878" y="1846249"/>
                  </a:lnTo>
                  <a:lnTo>
                    <a:pt x="358237" y="1839081"/>
                  </a:lnTo>
                  <a:lnTo>
                    <a:pt x="359541" y="1835172"/>
                  </a:lnTo>
                  <a:lnTo>
                    <a:pt x="357911" y="1832402"/>
                  </a:lnTo>
                  <a:lnTo>
                    <a:pt x="351232" y="1833380"/>
                  </a:lnTo>
                  <a:lnTo>
                    <a:pt x="345693" y="1837289"/>
                  </a:lnTo>
                  <a:lnTo>
                    <a:pt x="340480" y="1836312"/>
                  </a:lnTo>
                  <a:lnTo>
                    <a:pt x="339503" y="1836638"/>
                  </a:lnTo>
                  <a:lnTo>
                    <a:pt x="339503" y="1836312"/>
                  </a:lnTo>
                  <a:cubicBezTo>
                    <a:pt x="339503" y="1836312"/>
                    <a:pt x="340806" y="1824745"/>
                    <a:pt x="340806" y="1824745"/>
                  </a:cubicBezTo>
                  <a:lnTo>
                    <a:pt x="344064" y="1823279"/>
                  </a:lnTo>
                  <a:lnTo>
                    <a:pt x="349603" y="1814482"/>
                  </a:lnTo>
                  <a:lnTo>
                    <a:pt x="361984" y="1813668"/>
                  </a:lnTo>
                  <a:lnTo>
                    <a:pt x="366546" y="1810246"/>
                  </a:lnTo>
                  <a:lnTo>
                    <a:pt x="365568" y="1803730"/>
                  </a:lnTo>
                  <a:lnTo>
                    <a:pt x="368664" y="1794281"/>
                  </a:lnTo>
                  <a:lnTo>
                    <a:pt x="367523" y="1786950"/>
                  </a:lnTo>
                  <a:lnTo>
                    <a:pt x="360192" y="1781737"/>
                  </a:lnTo>
                  <a:lnTo>
                    <a:pt x="361821" y="1770660"/>
                  </a:lnTo>
                  <a:lnTo>
                    <a:pt x="367197" y="1769519"/>
                  </a:lnTo>
                  <a:lnTo>
                    <a:pt x="371433" y="1763817"/>
                  </a:lnTo>
                  <a:lnTo>
                    <a:pt x="371433" y="1756975"/>
                  </a:lnTo>
                  <a:cubicBezTo>
                    <a:pt x="371433" y="1756975"/>
                    <a:pt x="367686" y="1755020"/>
                    <a:pt x="367686" y="1755020"/>
                  </a:cubicBezTo>
                  <a:lnTo>
                    <a:pt x="365405" y="1749156"/>
                  </a:lnTo>
                  <a:lnTo>
                    <a:pt x="361495" y="1753065"/>
                  </a:lnTo>
                  <a:lnTo>
                    <a:pt x="353676" y="1751599"/>
                  </a:lnTo>
                  <a:lnTo>
                    <a:pt x="346996" y="1747526"/>
                  </a:lnTo>
                  <a:lnTo>
                    <a:pt x="341457" y="1748504"/>
                  </a:lnTo>
                  <a:lnTo>
                    <a:pt x="336733" y="1745572"/>
                  </a:lnTo>
                  <a:lnTo>
                    <a:pt x="329891" y="1745572"/>
                  </a:lnTo>
                  <a:cubicBezTo>
                    <a:pt x="329891" y="1745572"/>
                    <a:pt x="320605" y="1743291"/>
                    <a:pt x="320605" y="1743291"/>
                  </a:cubicBezTo>
                  <a:lnTo>
                    <a:pt x="317184" y="1746712"/>
                  </a:lnTo>
                  <a:lnTo>
                    <a:pt x="314741" y="1741662"/>
                  </a:lnTo>
                  <a:lnTo>
                    <a:pt x="306758" y="1736611"/>
                  </a:lnTo>
                  <a:lnTo>
                    <a:pt x="301056" y="1724068"/>
                  </a:lnTo>
                  <a:lnTo>
                    <a:pt x="296983" y="1724556"/>
                  </a:lnTo>
                  <a:lnTo>
                    <a:pt x="288349" y="1731236"/>
                  </a:lnTo>
                  <a:lnTo>
                    <a:pt x="282810" y="1730095"/>
                  </a:lnTo>
                  <a:lnTo>
                    <a:pt x="276946" y="1731724"/>
                  </a:lnTo>
                  <a:lnTo>
                    <a:pt x="269778" y="1727814"/>
                  </a:lnTo>
                  <a:lnTo>
                    <a:pt x="265216" y="1733027"/>
                  </a:lnTo>
                  <a:lnTo>
                    <a:pt x="253650" y="1721787"/>
                  </a:lnTo>
                  <a:lnTo>
                    <a:pt x="250880" y="1713478"/>
                  </a:lnTo>
                  <a:lnTo>
                    <a:pt x="250880" y="1706473"/>
                  </a:lnTo>
                  <a:lnTo>
                    <a:pt x="246155" y="1705659"/>
                  </a:lnTo>
                  <a:lnTo>
                    <a:pt x="245504" y="1700283"/>
                  </a:lnTo>
                  <a:lnTo>
                    <a:pt x="240291" y="1695884"/>
                  </a:lnTo>
                  <a:lnTo>
                    <a:pt x="226118" y="1697839"/>
                  </a:lnTo>
                  <a:lnTo>
                    <a:pt x="219113" y="1688553"/>
                  </a:lnTo>
                  <a:lnTo>
                    <a:pt x="222045" y="1682852"/>
                  </a:lnTo>
                  <a:lnTo>
                    <a:pt x="216669" y="1678453"/>
                  </a:lnTo>
                  <a:lnTo>
                    <a:pt x="212759" y="1666723"/>
                  </a:lnTo>
                  <a:lnTo>
                    <a:pt x="206894" y="1666398"/>
                  </a:lnTo>
                  <a:lnTo>
                    <a:pt x="200378" y="1669819"/>
                  </a:lnTo>
                  <a:lnTo>
                    <a:pt x="187346" y="1669819"/>
                  </a:lnTo>
                  <a:lnTo>
                    <a:pt x="174639" y="1665583"/>
                  </a:lnTo>
                  <a:lnTo>
                    <a:pt x="170728" y="1669004"/>
                  </a:lnTo>
                  <a:lnTo>
                    <a:pt x="171217" y="1674380"/>
                  </a:lnTo>
                  <a:lnTo>
                    <a:pt x="165353" y="1675684"/>
                  </a:lnTo>
                  <a:lnTo>
                    <a:pt x="161280" y="1674706"/>
                  </a:lnTo>
                  <a:lnTo>
                    <a:pt x="161280" y="1668190"/>
                  </a:lnTo>
                  <a:lnTo>
                    <a:pt x="155415" y="1661510"/>
                  </a:lnTo>
                  <a:lnTo>
                    <a:pt x="156067" y="1654505"/>
                  </a:lnTo>
                  <a:lnTo>
                    <a:pt x="150854" y="1646360"/>
                  </a:lnTo>
                  <a:lnTo>
                    <a:pt x="150528" y="1640169"/>
                  </a:lnTo>
                  <a:lnTo>
                    <a:pt x="152809" y="1636097"/>
                  </a:lnTo>
                  <a:lnTo>
                    <a:pt x="158348" y="1641310"/>
                  </a:lnTo>
                  <a:lnTo>
                    <a:pt x="171706" y="1639518"/>
                  </a:lnTo>
                  <a:lnTo>
                    <a:pt x="176919" y="1631046"/>
                  </a:lnTo>
                  <a:lnTo>
                    <a:pt x="179852" y="1628440"/>
                  </a:lnTo>
                  <a:lnTo>
                    <a:pt x="173173" y="1624041"/>
                  </a:lnTo>
                  <a:lnTo>
                    <a:pt x="172521" y="1619317"/>
                  </a:lnTo>
                  <a:lnTo>
                    <a:pt x="162909" y="1610846"/>
                  </a:lnTo>
                  <a:lnTo>
                    <a:pt x="154438" y="1608565"/>
                  </a:lnTo>
                  <a:lnTo>
                    <a:pt x="152157" y="1600094"/>
                  </a:lnTo>
                  <a:lnTo>
                    <a:pt x="146944" y="1596347"/>
                  </a:lnTo>
                  <a:lnTo>
                    <a:pt x="140265" y="1587061"/>
                  </a:lnTo>
                  <a:lnTo>
                    <a:pt x="137332" y="1580056"/>
                  </a:lnTo>
                  <a:lnTo>
                    <a:pt x="131468" y="1573702"/>
                  </a:lnTo>
                  <a:lnTo>
                    <a:pt x="131468" y="1565883"/>
                  </a:lnTo>
                  <a:lnTo>
                    <a:pt x="127069" y="1560670"/>
                  </a:lnTo>
                  <a:lnTo>
                    <a:pt x="128861" y="1553990"/>
                  </a:lnTo>
                  <a:lnTo>
                    <a:pt x="127395" y="1548126"/>
                  </a:lnTo>
                  <a:lnTo>
                    <a:pt x="116317" y="1544053"/>
                  </a:lnTo>
                  <a:lnTo>
                    <a:pt x="112570" y="1544053"/>
                  </a:lnTo>
                  <a:lnTo>
                    <a:pt x="109638" y="1540306"/>
                  </a:lnTo>
                  <a:lnTo>
                    <a:pt x="102307" y="1542587"/>
                  </a:lnTo>
                  <a:lnTo>
                    <a:pt x="95628" y="1547800"/>
                  </a:lnTo>
                  <a:lnTo>
                    <a:pt x="90903" y="1539329"/>
                  </a:lnTo>
                  <a:lnTo>
                    <a:pt x="85364" y="1538514"/>
                  </a:lnTo>
                  <a:lnTo>
                    <a:pt x="79174" y="1541446"/>
                  </a:lnTo>
                  <a:lnTo>
                    <a:pt x="73961" y="1533301"/>
                  </a:lnTo>
                  <a:lnTo>
                    <a:pt x="68422" y="1536559"/>
                  </a:lnTo>
                  <a:lnTo>
                    <a:pt x="64023" y="1533627"/>
                  </a:lnTo>
                  <a:lnTo>
                    <a:pt x="61905" y="1534115"/>
                  </a:lnTo>
                  <a:lnTo>
                    <a:pt x="61091" y="1526947"/>
                  </a:lnTo>
                  <a:lnTo>
                    <a:pt x="57670" y="1522223"/>
                  </a:lnTo>
                  <a:lnTo>
                    <a:pt x="54900" y="1514892"/>
                  </a:lnTo>
                  <a:lnTo>
                    <a:pt x="53271" y="1512449"/>
                  </a:lnTo>
                  <a:lnTo>
                    <a:pt x="50013" y="1506258"/>
                  </a:lnTo>
                  <a:lnTo>
                    <a:pt x="50665" y="1503000"/>
                  </a:lnTo>
                  <a:lnTo>
                    <a:pt x="49198" y="1498764"/>
                  </a:lnTo>
                  <a:lnTo>
                    <a:pt x="46918" y="1496809"/>
                  </a:lnTo>
                  <a:lnTo>
                    <a:pt x="48058" y="1494366"/>
                  </a:lnTo>
                  <a:lnTo>
                    <a:pt x="47407" y="1489967"/>
                  </a:lnTo>
                  <a:lnTo>
                    <a:pt x="42356" y="1489153"/>
                  </a:lnTo>
                  <a:lnTo>
                    <a:pt x="46103" y="1483451"/>
                  </a:lnTo>
                  <a:lnTo>
                    <a:pt x="45452" y="1478726"/>
                  </a:lnTo>
                  <a:lnTo>
                    <a:pt x="49525" y="1475305"/>
                  </a:lnTo>
                  <a:lnTo>
                    <a:pt x="49525" y="1470092"/>
                  </a:lnTo>
                  <a:lnTo>
                    <a:pt x="37795" y="1448751"/>
                  </a:lnTo>
                  <a:lnTo>
                    <a:pt x="39587" y="1429528"/>
                  </a:lnTo>
                  <a:lnTo>
                    <a:pt x="42519" y="1427410"/>
                  </a:lnTo>
                  <a:lnTo>
                    <a:pt x="44311" y="1420079"/>
                  </a:lnTo>
                  <a:lnTo>
                    <a:pt x="48384" y="1415029"/>
                  </a:lnTo>
                  <a:lnTo>
                    <a:pt x="49035" y="1413400"/>
                  </a:lnTo>
                  <a:lnTo>
                    <a:pt x="48710" y="1412585"/>
                  </a:lnTo>
                  <a:lnTo>
                    <a:pt x="46429" y="1408675"/>
                  </a:lnTo>
                  <a:lnTo>
                    <a:pt x="46429" y="1408187"/>
                  </a:lnTo>
                  <a:cubicBezTo>
                    <a:pt x="46429" y="1408187"/>
                    <a:pt x="47895" y="1402648"/>
                    <a:pt x="47895" y="1402648"/>
                  </a:cubicBezTo>
                  <a:lnTo>
                    <a:pt x="45614" y="1398738"/>
                  </a:lnTo>
                  <a:lnTo>
                    <a:pt x="45614" y="1395806"/>
                  </a:lnTo>
                  <a:lnTo>
                    <a:pt x="47895" y="1394991"/>
                  </a:lnTo>
                  <a:lnTo>
                    <a:pt x="50013" y="1399227"/>
                  </a:lnTo>
                  <a:lnTo>
                    <a:pt x="54737" y="1397761"/>
                  </a:lnTo>
                  <a:lnTo>
                    <a:pt x="54412" y="1392710"/>
                  </a:lnTo>
                  <a:lnTo>
                    <a:pt x="57344" y="1390430"/>
                  </a:lnTo>
                  <a:lnTo>
                    <a:pt x="62394" y="1393525"/>
                  </a:lnTo>
                  <a:lnTo>
                    <a:pt x="68585" y="1388800"/>
                  </a:lnTo>
                  <a:lnTo>
                    <a:pt x="69888" y="1384402"/>
                  </a:lnTo>
                  <a:lnTo>
                    <a:pt x="72983" y="1383262"/>
                  </a:lnTo>
                  <a:lnTo>
                    <a:pt x="80477" y="1385705"/>
                  </a:lnTo>
                  <a:lnTo>
                    <a:pt x="83572" y="1381795"/>
                  </a:lnTo>
                  <a:lnTo>
                    <a:pt x="79174" y="1375442"/>
                  </a:lnTo>
                  <a:lnTo>
                    <a:pt x="75101" y="1375442"/>
                  </a:lnTo>
                  <a:lnTo>
                    <a:pt x="72820" y="1376419"/>
                  </a:lnTo>
                  <a:lnTo>
                    <a:pt x="66955" y="1376419"/>
                  </a:lnTo>
                  <a:lnTo>
                    <a:pt x="63698" y="1371532"/>
                  </a:lnTo>
                  <a:lnTo>
                    <a:pt x="57670" y="1371206"/>
                  </a:lnTo>
                  <a:lnTo>
                    <a:pt x="51642" y="1364690"/>
                  </a:lnTo>
                  <a:lnTo>
                    <a:pt x="52619" y="1361432"/>
                  </a:lnTo>
                  <a:lnTo>
                    <a:pt x="58159" y="1366156"/>
                  </a:lnTo>
                  <a:lnTo>
                    <a:pt x="58159" y="1361758"/>
                  </a:lnTo>
                  <a:lnTo>
                    <a:pt x="56366" y="1358499"/>
                  </a:lnTo>
                  <a:lnTo>
                    <a:pt x="59950" y="1355404"/>
                  </a:lnTo>
                  <a:lnTo>
                    <a:pt x="54412" y="1356382"/>
                  </a:lnTo>
                  <a:cubicBezTo>
                    <a:pt x="54412" y="1356382"/>
                    <a:pt x="48384" y="1359803"/>
                    <a:pt x="47244" y="1360291"/>
                  </a:cubicBezTo>
                  <a:cubicBezTo>
                    <a:pt x="46918" y="1360291"/>
                    <a:pt x="46429" y="1360943"/>
                    <a:pt x="46103" y="1361595"/>
                  </a:cubicBezTo>
                  <a:lnTo>
                    <a:pt x="46103" y="1361595"/>
                  </a:lnTo>
                  <a:cubicBezTo>
                    <a:pt x="46103" y="1361595"/>
                    <a:pt x="45126" y="1354590"/>
                    <a:pt x="45126" y="1354590"/>
                  </a:cubicBezTo>
                  <a:lnTo>
                    <a:pt x="56855" y="1343349"/>
                  </a:lnTo>
                  <a:lnTo>
                    <a:pt x="62883" y="1340416"/>
                  </a:lnTo>
                  <a:lnTo>
                    <a:pt x="69725" y="1328198"/>
                  </a:lnTo>
                  <a:lnTo>
                    <a:pt x="76893" y="1317446"/>
                  </a:lnTo>
                  <a:lnTo>
                    <a:pt x="82269" y="1304739"/>
                  </a:lnTo>
                  <a:lnTo>
                    <a:pt x="92532" y="1287308"/>
                  </a:lnTo>
                  <a:lnTo>
                    <a:pt x="99863" y="1269062"/>
                  </a:lnTo>
                  <a:lnTo>
                    <a:pt x="98234" y="1261243"/>
                  </a:lnTo>
                  <a:lnTo>
                    <a:pt x="87156" y="1248536"/>
                  </a:lnTo>
                  <a:lnTo>
                    <a:pt x="80477" y="1246255"/>
                  </a:lnTo>
                  <a:lnTo>
                    <a:pt x="68748" y="1229638"/>
                  </a:lnTo>
                  <a:lnTo>
                    <a:pt x="70703" y="1222145"/>
                  </a:lnTo>
                  <a:lnTo>
                    <a:pt x="75427" y="1215465"/>
                  </a:lnTo>
                  <a:lnTo>
                    <a:pt x="74938" y="1207971"/>
                  </a:lnTo>
                  <a:lnTo>
                    <a:pt x="67282" y="1202595"/>
                  </a:lnTo>
                  <a:lnTo>
                    <a:pt x="64512" y="1196731"/>
                  </a:lnTo>
                  <a:lnTo>
                    <a:pt x="64186" y="1187282"/>
                  </a:lnTo>
                  <a:lnTo>
                    <a:pt x="66141" y="1184838"/>
                  </a:lnTo>
                  <a:lnTo>
                    <a:pt x="63860" y="1180114"/>
                  </a:lnTo>
                  <a:lnTo>
                    <a:pt x="57670" y="1178974"/>
                  </a:lnTo>
                  <a:lnTo>
                    <a:pt x="54412" y="1174738"/>
                  </a:lnTo>
                  <a:lnTo>
                    <a:pt x="54412" y="1166267"/>
                  </a:lnTo>
                  <a:lnTo>
                    <a:pt x="57833" y="1161705"/>
                  </a:lnTo>
                  <a:lnTo>
                    <a:pt x="52782" y="1160402"/>
                  </a:lnTo>
                  <a:lnTo>
                    <a:pt x="52782" y="1156003"/>
                  </a:lnTo>
                  <a:cubicBezTo>
                    <a:pt x="52782" y="1156003"/>
                    <a:pt x="53760" y="1139387"/>
                    <a:pt x="53760" y="1139387"/>
                  </a:cubicBezTo>
                  <a:lnTo>
                    <a:pt x="58321" y="1138246"/>
                  </a:lnTo>
                  <a:lnTo>
                    <a:pt x="46918" y="1111692"/>
                  </a:lnTo>
                  <a:lnTo>
                    <a:pt x="36328" y="1092306"/>
                  </a:lnTo>
                  <a:lnTo>
                    <a:pt x="34048" y="1085138"/>
                  </a:lnTo>
                  <a:lnTo>
                    <a:pt x="28020" y="1078459"/>
                  </a:lnTo>
                  <a:lnTo>
                    <a:pt x="32256" y="1066240"/>
                  </a:lnTo>
                  <a:lnTo>
                    <a:pt x="37469" y="1057932"/>
                  </a:lnTo>
                  <a:lnTo>
                    <a:pt x="39912" y="1050438"/>
                  </a:lnTo>
                  <a:lnTo>
                    <a:pt x="36817" y="1047506"/>
                  </a:lnTo>
                  <a:lnTo>
                    <a:pt x="25251" y="1040175"/>
                  </a:lnTo>
                  <a:lnTo>
                    <a:pt x="23296" y="1035450"/>
                  </a:lnTo>
                  <a:lnTo>
                    <a:pt x="19386" y="1029586"/>
                  </a:lnTo>
                  <a:lnTo>
                    <a:pt x="12381" y="1025676"/>
                  </a:lnTo>
                  <a:lnTo>
                    <a:pt x="8960" y="1025187"/>
                  </a:lnTo>
                  <a:lnTo>
                    <a:pt x="4561" y="1013621"/>
                  </a:lnTo>
                  <a:lnTo>
                    <a:pt x="1140" y="1009385"/>
                  </a:lnTo>
                  <a:lnTo>
                    <a:pt x="2932" y="1000751"/>
                  </a:lnTo>
                  <a:lnTo>
                    <a:pt x="4073" y="993909"/>
                  </a:lnTo>
                  <a:lnTo>
                    <a:pt x="0" y="992605"/>
                  </a:lnTo>
                  <a:lnTo>
                    <a:pt x="4073" y="989673"/>
                  </a:lnTo>
                  <a:lnTo>
                    <a:pt x="10752" y="987067"/>
                  </a:lnTo>
                  <a:lnTo>
                    <a:pt x="10752" y="987067"/>
                  </a:lnTo>
                  <a:cubicBezTo>
                    <a:pt x="10752" y="987067"/>
                    <a:pt x="13847" y="986252"/>
                    <a:pt x="13847" y="986252"/>
                  </a:cubicBezTo>
                  <a:lnTo>
                    <a:pt x="13847" y="977292"/>
                  </a:lnTo>
                  <a:cubicBezTo>
                    <a:pt x="13847" y="977292"/>
                    <a:pt x="20852" y="970776"/>
                    <a:pt x="20852" y="970776"/>
                  </a:cubicBezTo>
                  <a:lnTo>
                    <a:pt x="26880" y="969961"/>
                  </a:lnTo>
                  <a:lnTo>
                    <a:pt x="30790" y="964585"/>
                  </a:lnTo>
                  <a:lnTo>
                    <a:pt x="30301" y="957254"/>
                  </a:lnTo>
                  <a:lnTo>
                    <a:pt x="34537" y="956928"/>
                  </a:lnTo>
                  <a:lnTo>
                    <a:pt x="39750" y="959046"/>
                  </a:lnTo>
                  <a:lnTo>
                    <a:pt x="42845" y="955136"/>
                  </a:lnTo>
                  <a:lnTo>
                    <a:pt x="42845" y="949923"/>
                  </a:lnTo>
                  <a:cubicBezTo>
                    <a:pt x="42845" y="949923"/>
                    <a:pt x="42845" y="949923"/>
                    <a:pt x="42845" y="949923"/>
                  </a:cubicBezTo>
                  <a:lnTo>
                    <a:pt x="48384" y="950575"/>
                  </a:lnTo>
                  <a:lnTo>
                    <a:pt x="50502" y="952530"/>
                  </a:lnTo>
                  <a:lnTo>
                    <a:pt x="50502" y="957580"/>
                  </a:lnTo>
                  <a:cubicBezTo>
                    <a:pt x="50502" y="957580"/>
                    <a:pt x="52619" y="960838"/>
                    <a:pt x="52619" y="960838"/>
                  </a:cubicBezTo>
                  <a:lnTo>
                    <a:pt x="53271" y="954485"/>
                  </a:lnTo>
                  <a:lnTo>
                    <a:pt x="55226" y="951064"/>
                  </a:lnTo>
                  <a:lnTo>
                    <a:pt x="58647" y="951389"/>
                  </a:lnTo>
                  <a:lnTo>
                    <a:pt x="60928" y="950249"/>
                  </a:lnTo>
                  <a:lnTo>
                    <a:pt x="56529" y="947317"/>
                  </a:lnTo>
                  <a:lnTo>
                    <a:pt x="56529" y="945362"/>
                  </a:lnTo>
                  <a:cubicBezTo>
                    <a:pt x="56529" y="945362"/>
                    <a:pt x="59462" y="946013"/>
                    <a:pt x="59462" y="946013"/>
                  </a:cubicBezTo>
                  <a:lnTo>
                    <a:pt x="62557" y="945362"/>
                  </a:lnTo>
                  <a:lnTo>
                    <a:pt x="62557" y="943407"/>
                  </a:lnTo>
                  <a:lnTo>
                    <a:pt x="61091" y="942918"/>
                  </a:lnTo>
                  <a:lnTo>
                    <a:pt x="59299" y="939986"/>
                  </a:lnTo>
                  <a:lnTo>
                    <a:pt x="60439" y="938357"/>
                  </a:lnTo>
                  <a:lnTo>
                    <a:pt x="65326" y="938845"/>
                  </a:lnTo>
                  <a:lnTo>
                    <a:pt x="70377" y="941289"/>
                  </a:lnTo>
                  <a:lnTo>
                    <a:pt x="73146" y="945036"/>
                  </a:lnTo>
                  <a:lnTo>
                    <a:pt x="75916" y="947317"/>
                  </a:lnTo>
                  <a:lnTo>
                    <a:pt x="77871" y="945362"/>
                  </a:lnTo>
                  <a:lnTo>
                    <a:pt x="81780" y="946991"/>
                  </a:lnTo>
                  <a:lnTo>
                    <a:pt x="83084" y="948783"/>
                  </a:lnTo>
                  <a:lnTo>
                    <a:pt x="86179" y="950738"/>
                  </a:lnTo>
                  <a:lnTo>
                    <a:pt x="86505" y="953507"/>
                  </a:lnTo>
                  <a:lnTo>
                    <a:pt x="82106" y="956928"/>
                  </a:lnTo>
                  <a:lnTo>
                    <a:pt x="78196" y="955136"/>
                  </a:lnTo>
                  <a:lnTo>
                    <a:pt x="72169" y="955951"/>
                  </a:lnTo>
                  <a:lnTo>
                    <a:pt x="68259" y="952041"/>
                  </a:lnTo>
                  <a:lnTo>
                    <a:pt x="67933" y="948783"/>
                  </a:lnTo>
                  <a:lnTo>
                    <a:pt x="65164" y="952367"/>
                  </a:lnTo>
                  <a:lnTo>
                    <a:pt x="65164" y="957906"/>
                  </a:lnTo>
                  <a:cubicBezTo>
                    <a:pt x="65164" y="957906"/>
                    <a:pt x="66467" y="962467"/>
                    <a:pt x="66467" y="962467"/>
                  </a:cubicBezTo>
                  <a:lnTo>
                    <a:pt x="69888" y="959046"/>
                  </a:lnTo>
                  <a:lnTo>
                    <a:pt x="71843" y="960512"/>
                  </a:lnTo>
                  <a:lnTo>
                    <a:pt x="73146" y="965074"/>
                  </a:lnTo>
                  <a:lnTo>
                    <a:pt x="77219" y="961653"/>
                  </a:lnTo>
                  <a:lnTo>
                    <a:pt x="81455" y="963119"/>
                  </a:lnTo>
                  <a:lnTo>
                    <a:pt x="81943" y="966866"/>
                  </a:lnTo>
                  <a:lnTo>
                    <a:pt x="83246" y="966540"/>
                  </a:lnTo>
                  <a:lnTo>
                    <a:pt x="85527" y="963445"/>
                  </a:lnTo>
                  <a:lnTo>
                    <a:pt x="86830" y="965074"/>
                  </a:lnTo>
                  <a:lnTo>
                    <a:pt x="86179" y="967029"/>
                  </a:lnTo>
                  <a:lnTo>
                    <a:pt x="86179" y="970287"/>
                  </a:lnTo>
                  <a:lnTo>
                    <a:pt x="90414" y="964911"/>
                  </a:lnTo>
                  <a:lnTo>
                    <a:pt x="92695" y="962630"/>
                  </a:lnTo>
                  <a:lnTo>
                    <a:pt x="94813" y="963771"/>
                  </a:lnTo>
                  <a:lnTo>
                    <a:pt x="93510" y="965725"/>
                  </a:lnTo>
                  <a:lnTo>
                    <a:pt x="92532" y="968658"/>
                  </a:lnTo>
                  <a:lnTo>
                    <a:pt x="96442" y="968658"/>
                  </a:lnTo>
                  <a:lnTo>
                    <a:pt x="98234" y="970776"/>
                  </a:lnTo>
                  <a:lnTo>
                    <a:pt x="95139" y="972730"/>
                  </a:lnTo>
                  <a:lnTo>
                    <a:pt x="92044" y="977618"/>
                  </a:lnTo>
                  <a:lnTo>
                    <a:pt x="97419" y="976966"/>
                  </a:lnTo>
                  <a:lnTo>
                    <a:pt x="100678" y="970776"/>
                  </a:lnTo>
                  <a:lnTo>
                    <a:pt x="99700" y="967517"/>
                  </a:lnTo>
                  <a:lnTo>
                    <a:pt x="101655" y="965563"/>
                  </a:lnTo>
                  <a:lnTo>
                    <a:pt x="106868" y="964911"/>
                  </a:lnTo>
                  <a:lnTo>
                    <a:pt x="110289" y="967354"/>
                  </a:lnTo>
                  <a:lnTo>
                    <a:pt x="111104" y="965074"/>
                  </a:lnTo>
                  <a:lnTo>
                    <a:pt x="108334" y="961327"/>
                  </a:lnTo>
                  <a:lnTo>
                    <a:pt x="108334" y="960024"/>
                  </a:lnTo>
                  <a:cubicBezTo>
                    <a:pt x="108334" y="960024"/>
                    <a:pt x="113385" y="962141"/>
                    <a:pt x="113385" y="962141"/>
                  </a:cubicBezTo>
                  <a:lnTo>
                    <a:pt x="116643" y="966540"/>
                  </a:lnTo>
                  <a:lnTo>
                    <a:pt x="123974" y="966866"/>
                  </a:lnTo>
                  <a:lnTo>
                    <a:pt x="129024" y="968821"/>
                  </a:lnTo>
                  <a:lnTo>
                    <a:pt x="132934" y="966703"/>
                  </a:lnTo>
                  <a:lnTo>
                    <a:pt x="132282" y="964259"/>
                  </a:lnTo>
                  <a:lnTo>
                    <a:pt x="138473" y="965563"/>
                  </a:lnTo>
                  <a:lnTo>
                    <a:pt x="143849" y="968821"/>
                  </a:lnTo>
                  <a:lnTo>
                    <a:pt x="144663" y="966703"/>
                  </a:lnTo>
                  <a:lnTo>
                    <a:pt x="150691" y="969146"/>
                  </a:lnTo>
                  <a:lnTo>
                    <a:pt x="176757" y="983157"/>
                  </a:lnTo>
                  <a:lnTo>
                    <a:pt x="194351" y="994723"/>
                  </a:lnTo>
                  <a:lnTo>
                    <a:pt x="198098" y="998959"/>
                  </a:lnTo>
                  <a:lnTo>
                    <a:pt x="202985" y="1000588"/>
                  </a:lnTo>
                  <a:lnTo>
                    <a:pt x="209012" y="1009548"/>
                  </a:lnTo>
                  <a:lnTo>
                    <a:pt x="212922" y="1010525"/>
                  </a:lnTo>
                  <a:lnTo>
                    <a:pt x="211944" y="1007593"/>
                  </a:lnTo>
                  <a:lnTo>
                    <a:pt x="211944" y="1005475"/>
                  </a:lnTo>
                  <a:lnTo>
                    <a:pt x="214551" y="1005475"/>
                  </a:lnTo>
                  <a:lnTo>
                    <a:pt x="221882" y="1012317"/>
                  </a:lnTo>
                  <a:lnTo>
                    <a:pt x="225955" y="1012643"/>
                  </a:lnTo>
                  <a:lnTo>
                    <a:pt x="232308" y="1018508"/>
                  </a:lnTo>
                  <a:lnTo>
                    <a:pt x="236055" y="1016879"/>
                  </a:lnTo>
                  <a:lnTo>
                    <a:pt x="231982" y="1010851"/>
                  </a:lnTo>
                  <a:lnTo>
                    <a:pt x="230842" y="1008408"/>
                  </a:lnTo>
                  <a:lnTo>
                    <a:pt x="233612" y="1008408"/>
                  </a:lnTo>
                  <a:lnTo>
                    <a:pt x="238987" y="1013784"/>
                  </a:lnTo>
                  <a:lnTo>
                    <a:pt x="238662" y="1018671"/>
                  </a:lnTo>
                  <a:lnTo>
                    <a:pt x="248925" y="1025839"/>
                  </a:lnTo>
                  <a:lnTo>
                    <a:pt x="248273" y="1029097"/>
                  </a:lnTo>
                  <a:lnTo>
                    <a:pt x="254138" y="1031867"/>
                  </a:lnTo>
                  <a:lnTo>
                    <a:pt x="255278" y="1029586"/>
                  </a:lnTo>
                  <a:lnTo>
                    <a:pt x="259677" y="1030563"/>
                  </a:lnTo>
                  <a:lnTo>
                    <a:pt x="265053" y="1036102"/>
                  </a:lnTo>
                  <a:lnTo>
                    <a:pt x="266845" y="1042456"/>
                  </a:lnTo>
                  <a:lnTo>
                    <a:pt x="269941" y="1044411"/>
                  </a:lnTo>
                  <a:lnTo>
                    <a:pt x="274013" y="1050764"/>
                  </a:lnTo>
                  <a:lnTo>
                    <a:pt x="275968" y="1050112"/>
                  </a:lnTo>
                  <a:lnTo>
                    <a:pt x="277923" y="1052067"/>
                  </a:lnTo>
                  <a:lnTo>
                    <a:pt x="277923" y="1058421"/>
                  </a:lnTo>
                  <a:cubicBezTo>
                    <a:pt x="277923" y="1058421"/>
                    <a:pt x="278249" y="1064448"/>
                    <a:pt x="278249" y="1064448"/>
                  </a:cubicBezTo>
                  <a:lnTo>
                    <a:pt x="277108" y="1071942"/>
                  </a:lnTo>
                  <a:lnTo>
                    <a:pt x="275316" y="1075852"/>
                  </a:lnTo>
                  <a:lnTo>
                    <a:pt x="275316" y="1079273"/>
                  </a:lnTo>
                  <a:lnTo>
                    <a:pt x="269778" y="1086441"/>
                  </a:lnTo>
                  <a:lnTo>
                    <a:pt x="268800" y="1089862"/>
                  </a:lnTo>
                  <a:lnTo>
                    <a:pt x="259189" y="1103058"/>
                  </a:lnTo>
                  <a:lnTo>
                    <a:pt x="252183" y="1106805"/>
                  </a:lnTo>
                  <a:lnTo>
                    <a:pt x="243875" y="1108434"/>
                  </a:lnTo>
                  <a:lnTo>
                    <a:pt x="240128" y="1111366"/>
                  </a:lnTo>
                  <a:lnTo>
                    <a:pt x="232634" y="1111366"/>
                  </a:lnTo>
                  <a:lnTo>
                    <a:pt x="231168" y="1113484"/>
                  </a:lnTo>
                  <a:lnTo>
                    <a:pt x="219601" y="1114787"/>
                  </a:lnTo>
                  <a:lnTo>
                    <a:pt x="204777" y="1113973"/>
                  </a:lnTo>
                  <a:lnTo>
                    <a:pt x="196305" y="1111529"/>
                  </a:lnTo>
                  <a:lnTo>
                    <a:pt x="190278" y="1107131"/>
                  </a:lnTo>
                  <a:lnTo>
                    <a:pt x="186531" y="1109900"/>
                  </a:lnTo>
                  <a:lnTo>
                    <a:pt x="182295" y="1108597"/>
                  </a:lnTo>
                  <a:lnTo>
                    <a:pt x="175290" y="1108597"/>
                  </a:lnTo>
                  <a:cubicBezTo>
                    <a:pt x="175290" y="1108597"/>
                    <a:pt x="174313" y="1105990"/>
                    <a:pt x="174313" y="1105990"/>
                  </a:cubicBezTo>
                  <a:lnTo>
                    <a:pt x="170077" y="1104687"/>
                  </a:lnTo>
                  <a:lnTo>
                    <a:pt x="166167" y="1107456"/>
                  </a:lnTo>
                  <a:lnTo>
                    <a:pt x="159814" y="1101266"/>
                  </a:lnTo>
                  <a:lnTo>
                    <a:pt x="159814" y="1098171"/>
                  </a:lnTo>
                  <a:cubicBezTo>
                    <a:pt x="159814" y="1098171"/>
                    <a:pt x="154926" y="1098985"/>
                    <a:pt x="154926" y="1098985"/>
                  </a:cubicBezTo>
                  <a:lnTo>
                    <a:pt x="150528" y="1098333"/>
                  </a:lnTo>
                  <a:lnTo>
                    <a:pt x="152646" y="1097193"/>
                  </a:lnTo>
                  <a:lnTo>
                    <a:pt x="144500" y="1097193"/>
                  </a:lnTo>
                  <a:cubicBezTo>
                    <a:pt x="144500" y="1097193"/>
                    <a:pt x="142219" y="1099474"/>
                    <a:pt x="142219" y="1099474"/>
                  </a:cubicBezTo>
                  <a:lnTo>
                    <a:pt x="137169" y="1099474"/>
                  </a:lnTo>
                  <a:lnTo>
                    <a:pt x="137169" y="1096379"/>
                  </a:lnTo>
                  <a:lnTo>
                    <a:pt x="135214" y="1094912"/>
                  </a:lnTo>
                  <a:lnTo>
                    <a:pt x="138310" y="1092795"/>
                  </a:lnTo>
                  <a:lnTo>
                    <a:pt x="135052" y="1089048"/>
                  </a:lnTo>
                  <a:lnTo>
                    <a:pt x="134074" y="1091166"/>
                  </a:lnTo>
                  <a:lnTo>
                    <a:pt x="125766" y="1091166"/>
                  </a:lnTo>
                  <a:lnTo>
                    <a:pt x="120553" y="1087419"/>
                  </a:lnTo>
                  <a:lnTo>
                    <a:pt x="119575" y="1089211"/>
                  </a:lnTo>
                  <a:lnTo>
                    <a:pt x="116154" y="1088885"/>
                  </a:lnTo>
                  <a:lnTo>
                    <a:pt x="105076" y="1079762"/>
                  </a:lnTo>
                  <a:lnTo>
                    <a:pt x="104099" y="1074875"/>
                  </a:lnTo>
                  <a:lnTo>
                    <a:pt x="97582" y="1074223"/>
                  </a:lnTo>
                  <a:lnTo>
                    <a:pt x="96279" y="1072757"/>
                  </a:lnTo>
                  <a:lnTo>
                    <a:pt x="91555" y="1072757"/>
                  </a:lnTo>
                  <a:cubicBezTo>
                    <a:pt x="91555" y="1072757"/>
                    <a:pt x="90414" y="1074549"/>
                    <a:pt x="90414" y="1074549"/>
                  </a:cubicBezTo>
                  <a:lnTo>
                    <a:pt x="95791" y="1078296"/>
                  </a:lnTo>
                  <a:lnTo>
                    <a:pt x="96931" y="1085627"/>
                  </a:lnTo>
                  <a:lnTo>
                    <a:pt x="102959" y="1089536"/>
                  </a:lnTo>
                  <a:lnTo>
                    <a:pt x="104262" y="1093446"/>
                  </a:lnTo>
                  <a:lnTo>
                    <a:pt x="111755" y="1095238"/>
                  </a:lnTo>
                  <a:lnTo>
                    <a:pt x="113222" y="1097030"/>
                  </a:lnTo>
                  <a:lnTo>
                    <a:pt x="108171" y="1099474"/>
                  </a:lnTo>
                  <a:lnTo>
                    <a:pt x="105891" y="1102569"/>
                  </a:lnTo>
                  <a:lnTo>
                    <a:pt x="107031" y="1103872"/>
                  </a:lnTo>
                  <a:lnTo>
                    <a:pt x="115339" y="1101755"/>
                  </a:lnTo>
                  <a:lnTo>
                    <a:pt x="118761" y="1099474"/>
                  </a:lnTo>
                  <a:lnTo>
                    <a:pt x="122182" y="1101917"/>
                  </a:lnTo>
                  <a:lnTo>
                    <a:pt x="118435" y="1103547"/>
                  </a:lnTo>
                  <a:lnTo>
                    <a:pt x="118435" y="1105013"/>
                  </a:lnTo>
                  <a:lnTo>
                    <a:pt x="123974" y="1105664"/>
                  </a:lnTo>
                  <a:lnTo>
                    <a:pt x="122671" y="1109574"/>
                  </a:lnTo>
                  <a:lnTo>
                    <a:pt x="117620" y="1110389"/>
                  </a:lnTo>
                  <a:lnTo>
                    <a:pt x="115503" y="1113321"/>
                  </a:lnTo>
                  <a:lnTo>
                    <a:pt x="121530" y="1114299"/>
                  </a:lnTo>
                  <a:lnTo>
                    <a:pt x="123648" y="1112670"/>
                  </a:lnTo>
                  <a:lnTo>
                    <a:pt x="127721" y="1112670"/>
                  </a:lnTo>
                  <a:lnTo>
                    <a:pt x="130164" y="1115439"/>
                  </a:lnTo>
                  <a:lnTo>
                    <a:pt x="133260" y="1113158"/>
                  </a:lnTo>
                  <a:lnTo>
                    <a:pt x="144826" y="1118045"/>
                  </a:lnTo>
                  <a:lnTo>
                    <a:pt x="150365" y="1125865"/>
                  </a:lnTo>
                  <a:lnTo>
                    <a:pt x="153135" y="1126517"/>
                  </a:lnTo>
                  <a:lnTo>
                    <a:pt x="151343" y="1129612"/>
                  </a:lnTo>
                  <a:lnTo>
                    <a:pt x="151017" y="1133033"/>
                  </a:lnTo>
                  <a:lnTo>
                    <a:pt x="152809" y="1133685"/>
                  </a:lnTo>
                  <a:lnTo>
                    <a:pt x="153135" y="1138735"/>
                  </a:lnTo>
                  <a:lnTo>
                    <a:pt x="152320" y="1146880"/>
                  </a:lnTo>
                  <a:lnTo>
                    <a:pt x="148410" y="1148184"/>
                  </a:lnTo>
                  <a:lnTo>
                    <a:pt x="147433" y="1152582"/>
                  </a:lnTo>
                  <a:lnTo>
                    <a:pt x="151505" y="1153723"/>
                  </a:lnTo>
                  <a:lnTo>
                    <a:pt x="151831" y="1159587"/>
                  </a:lnTo>
                  <a:lnTo>
                    <a:pt x="158836" y="1166429"/>
                  </a:lnTo>
                  <a:lnTo>
                    <a:pt x="158836" y="1170665"/>
                  </a:lnTo>
                  <a:cubicBezTo>
                    <a:pt x="158836" y="1170665"/>
                    <a:pt x="163724" y="1174412"/>
                    <a:pt x="163724" y="1174412"/>
                  </a:cubicBezTo>
                  <a:lnTo>
                    <a:pt x="163724" y="1179299"/>
                  </a:lnTo>
                  <a:lnTo>
                    <a:pt x="164701" y="1185327"/>
                  </a:lnTo>
                  <a:lnTo>
                    <a:pt x="162583" y="1189400"/>
                  </a:lnTo>
                  <a:lnTo>
                    <a:pt x="165027" y="1191843"/>
                  </a:lnTo>
                  <a:lnTo>
                    <a:pt x="167308" y="1195916"/>
                  </a:lnTo>
                  <a:lnTo>
                    <a:pt x="177571" y="1199663"/>
                  </a:lnTo>
                  <a:lnTo>
                    <a:pt x="182295" y="1195753"/>
                  </a:lnTo>
                  <a:lnTo>
                    <a:pt x="184250" y="1196079"/>
                  </a:lnTo>
                  <a:lnTo>
                    <a:pt x="187671" y="1200803"/>
                  </a:lnTo>
                  <a:lnTo>
                    <a:pt x="192070" y="1203573"/>
                  </a:lnTo>
                  <a:lnTo>
                    <a:pt x="192721" y="1209763"/>
                  </a:lnTo>
                  <a:lnTo>
                    <a:pt x="195002" y="1211555"/>
                  </a:lnTo>
                  <a:lnTo>
                    <a:pt x="202985" y="1211555"/>
                  </a:lnTo>
                  <a:cubicBezTo>
                    <a:pt x="202985" y="1211555"/>
                    <a:pt x="206243" y="1214488"/>
                    <a:pt x="206243" y="1214488"/>
                  </a:cubicBezTo>
                  <a:lnTo>
                    <a:pt x="213574" y="1214488"/>
                  </a:lnTo>
                  <a:cubicBezTo>
                    <a:pt x="213574" y="1214488"/>
                    <a:pt x="218135" y="1218886"/>
                    <a:pt x="218135" y="1218886"/>
                  </a:cubicBezTo>
                  <a:lnTo>
                    <a:pt x="220905" y="1218886"/>
                  </a:lnTo>
                  <a:cubicBezTo>
                    <a:pt x="220905" y="1218886"/>
                    <a:pt x="226444" y="1213184"/>
                    <a:pt x="226444" y="1213184"/>
                  </a:cubicBezTo>
                  <a:lnTo>
                    <a:pt x="230679" y="1212859"/>
                  </a:lnTo>
                  <a:lnTo>
                    <a:pt x="233775" y="1211555"/>
                  </a:lnTo>
                  <a:lnTo>
                    <a:pt x="234100" y="1203573"/>
                  </a:lnTo>
                  <a:lnTo>
                    <a:pt x="230191" y="1200152"/>
                  </a:lnTo>
                  <a:lnTo>
                    <a:pt x="231982" y="1197708"/>
                  </a:lnTo>
                  <a:lnTo>
                    <a:pt x="231657" y="1195753"/>
                  </a:lnTo>
                  <a:lnTo>
                    <a:pt x="225955" y="1193635"/>
                  </a:lnTo>
                  <a:lnTo>
                    <a:pt x="225303" y="1189563"/>
                  </a:lnTo>
                  <a:lnTo>
                    <a:pt x="221230" y="1192495"/>
                  </a:lnTo>
                  <a:lnTo>
                    <a:pt x="218298" y="1192495"/>
                  </a:lnTo>
                  <a:cubicBezTo>
                    <a:pt x="218298" y="1192495"/>
                    <a:pt x="213411" y="1194450"/>
                    <a:pt x="213411" y="1194450"/>
                  </a:cubicBezTo>
                  <a:lnTo>
                    <a:pt x="207220" y="1191355"/>
                  </a:lnTo>
                  <a:lnTo>
                    <a:pt x="202822" y="1185327"/>
                  </a:lnTo>
                  <a:lnTo>
                    <a:pt x="195817" y="1182069"/>
                  </a:lnTo>
                  <a:lnTo>
                    <a:pt x="194514" y="1176530"/>
                  </a:lnTo>
                  <a:lnTo>
                    <a:pt x="190766" y="1169525"/>
                  </a:lnTo>
                  <a:lnTo>
                    <a:pt x="195817" y="1169851"/>
                  </a:lnTo>
                  <a:lnTo>
                    <a:pt x="199075" y="1166592"/>
                  </a:lnTo>
                  <a:lnTo>
                    <a:pt x="197283" y="1163823"/>
                  </a:lnTo>
                  <a:lnTo>
                    <a:pt x="198423" y="1160891"/>
                  </a:lnTo>
                  <a:lnTo>
                    <a:pt x="196957" y="1157632"/>
                  </a:lnTo>
                  <a:lnTo>
                    <a:pt x="198098" y="1154374"/>
                  </a:lnTo>
                  <a:lnTo>
                    <a:pt x="203962" y="1154374"/>
                  </a:lnTo>
                  <a:cubicBezTo>
                    <a:pt x="203962" y="1154374"/>
                    <a:pt x="209827" y="1158121"/>
                    <a:pt x="209827" y="1158121"/>
                  </a:cubicBezTo>
                  <a:lnTo>
                    <a:pt x="216995" y="1159424"/>
                  </a:lnTo>
                  <a:lnTo>
                    <a:pt x="220416" y="1164800"/>
                  </a:lnTo>
                  <a:lnTo>
                    <a:pt x="225141" y="1168710"/>
                  </a:lnTo>
                  <a:lnTo>
                    <a:pt x="234100" y="1169036"/>
                  </a:lnTo>
                  <a:lnTo>
                    <a:pt x="235892" y="1172294"/>
                  </a:lnTo>
                  <a:lnTo>
                    <a:pt x="241431" y="1172946"/>
                  </a:lnTo>
                  <a:lnTo>
                    <a:pt x="257722" y="1180603"/>
                  </a:lnTo>
                  <a:lnTo>
                    <a:pt x="264564" y="1187119"/>
                  </a:lnTo>
                  <a:lnTo>
                    <a:pt x="267334" y="1182883"/>
                  </a:lnTo>
                  <a:lnTo>
                    <a:pt x="271732" y="1179136"/>
                  </a:lnTo>
                  <a:lnTo>
                    <a:pt x="271732" y="1173760"/>
                  </a:lnTo>
                  <a:cubicBezTo>
                    <a:pt x="271732" y="1173760"/>
                    <a:pt x="275479" y="1173598"/>
                    <a:pt x="275479" y="1173598"/>
                  </a:cubicBezTo>
                  <a:lnTo>
                    <a:pt x="279389" y="1169199"/>
                  </a:lnTo>
                  <a:lnTo>
                    <a:pt x="272547" y="1159099"/>
                  </a:lnTo>
                  <a:lnTo>
                    <a:pt x="261306" y="1147532"/>
                  </a:lnTo>
                  <a:lnTo>
                    <a:pt x="258537" y="1140038"/>
                  </a:lnTo>
                  <a:lnTo>
                    <a:pt x="259189" y="1135640"/>
                  </a:lnTo>
                  <a:lnTo>
                    <a:pt x="266194" y="1130101"/>
                  </a:lnTo>
                  <a:lnTo>
                    <a:pt x="271732" y="1122607"/>
                  </a:lnTo>
                  <a:lnTo>
                    <a:pt x="273362" y="1116091"/>
                  </a:lnTo>
                  <a:lnTo>
                    <a:pt x="277597" y="1112018"/>
                  </a:lnTo>
                  <a:lnTo>
                    <a:pt x="283625" y="1110878"/>
                  </a:lnTo>
                  <a:lnTo>
                    <a:pt x="291933" y="1104035"/>
                  </a:lnTo>
                  <a:lnTo>
                    <a:pt x="297798" y="1091654"/>
                  </a:lnTo>
                  <a:lnTo>
                    <a:pt x="301219" y="1088885"/>
                  </a:lnTo>
                  <a:lnTo>
                    <a:pt x="307573" y="1089862"/>
                  </a:lnTo>
                  <a:lnTo>
                    <a:pt x="312623" y="1093935"/>
                  </a:lnTo>
                  <a:lnTo>
                    <a:pt x="319953" y="1092958"/>
                  </a:lnTo>
                  <a:lnTo>
                    <a:pt x="327936" y="1093935"/>
                  </a:lnTo>
                  <a:lnTo>
                    <a:pt x="330705" y="1097356"/>
                  </a:lnTo>
                  <a:lnTo>
                    <a:pt x="329891" y="1102732"/>
                  </a:lnTo>
                  <a:lnTo>
                    <a:pt x="336082" y="1096867"/>
                  </a:lnTo>
                  <a:lnTo>
                    <a:pt x="342435" y="1101755"/>
                  </a:lnTo>
                  <a:lnTo>
                    <a:pt x="344390" y="1108108"/>
                  </a:lnTo>
                  <a:lnTo>
                    <a:pt x="347648" y="1111040"/>
                  </a:lnTo>
                  <a:lnTo>
                    <a:pt x="346834" y="1101755"/>
                  </a:lnTo>
                  <a:lnTo>
                    <a:pt x="343412" y="1094912"/>
                  </a:lnTo>
                  <a:lnTo>
                    <a:pt x="345530" y="1091980"/>
                  </a:lnTo>
                  <a:lnTo>
                    <a:pt x="345530" y="1080251"/>
                  </a:lnTo>
                  <a:cubicBezTo>
                    <a:pt x="345530" y="1080251"/>
                    <a:pt x="346996" y="1076504"/>
                    <a:pt x="346996" y="1076504"/>
                  </a:cubicBezTo>
                  <a:lnTo>
                    <a:pt x="344716" y="1074712"/>
                  </a:lnTo>
                  <a:lnTo>
                    <a:pt x="344716" y="1071779"/>
                  </a:lnTo>
                  <a:cubicBezTo>
                    <a:pt x="344716" y="1071779"/>
                    <a:pt x="345530" y="1069336"/>
                    <a:pt x="345530" y="1069336"/>
                  </a:cubicBezTo>
                  <a:lnTo>
                    <a:pt x="344553" y="1065915"/>
                  </a:lnTo>
                  <a:lnTo>
                    <a:pt x="345530" y="1063471"/>
                  </a:lnTo>
                  <a:lnTo>
                    <a:pt x="341783" y="1059398"/>
                  </a:lnTo>
                  <a:lnTo>
                    <a:pt x="336244" y="1056140"/>
                  </a:lnTo>
                  <a:lnTo>
                    <a:pt x="328751" y="1056466"/>
                  </a:lnTo>
                  <a:lnTo>
                    <a:pt x="326633" y="1050112"/>
                  </a:lnTo>
                  <a:lnTo>
                    <a:pt x="328587" y="1043596"/>
                  </a:lnTo>
                  <a:lnTo>
                    <a:pt x="328587" y="1032029"/>
                  </a:lnTo>
                  <a:lnTo>
                    <a:pt x="330543" y="1030400"/>
                  </a:lnTo>
                  <a:lnTo>
                    <a:pt x="329402" y="1026654"/>
                  </a:lnTo>
                  <a:lnTo>
                    <a:pt x="329402" y="1021766"/>
                  </a:lnTo>
                  <a:cubicBezTo>
                    <a:pt x="329402" y="1021766"/>
                    <a:pt x="331683" y="1019974"/>
                    <a:pt x="331683" y="1019974"/>
                  </a:cubicBezTo>
                  <a:lnTo>
                    <a:pt x="328914" y="1016553"/>
                  </a:lnTo>
                  <a:lnTo>
                    <a:pt x="328914" y="1010688"/>
                  </a:lnTo>
                  <a:lnTo>
                    <a:pt x="325003" y="999936"/>
                  </a:lnTo>
                  <a:lnTo>
                    <a:pt x="317673" y="994723"/>
                  </a:lnTo>
                  <a:lnTo>
                    <a:pt x="305129" y="984460"/>
                  </a:lnTo>
                  <a:lnTo>
                    <a:pt x="305129" y="981691"/>
                  </a:lnTo>
                  <a:cubicBezTo>
                    <a:pt x="305129" y="981691"/>
                    <a:pt x="310668" y="981691"/>
                    <a:pt x="310668" y="981691"/>
                  </a:cubicBezTo>
                  <a:lnTo>
                    <a:pt x="321094" y="988696"/>
                  </a:lnTo>
                  <a:lnTo>
                    <a:pt x="327284" y="988696"/>
                  </a:lnTo>
                  <a:cubicBezTo>
                    <a:pt x="327284" y="988696"/>
                    <a:pt x="331357" y="986415"/>
                    <a:pt x="331357" y="986415"/>
                  </a:cubicBezTo>
                  <a:lnTo>
                    <a:pt x="340806" y="985600"/>
                  </a:lnTo>
                  <a:lnTo>
                    <a:pt x="354490" y="986904"/>
                  </a:lnTo>
                  <a:lnTo>
                    <a:pt x="360844" y="990976"/>
                  </a:lnTo>
                  <a:lnTo>
                    <a:pt x="360844" y="995701"/>
                  </a:lnTo>
                  <a:cubicBezTo>
                    <a:pt x="360844" y="995701"/>
                    <a:pt x="366057" y="1002054"/>
                    <a:pt x="366057" y="1002054"/>
                  </a:cubicBezTo>
                  <a:lnTo>
                    <a:pt x="371921" y="1002869"/>
                  </a:lnTo>
                  <a:lnTo>
                    <a:pt x="372899" y="1006941"/>
                  </a:lnTo>
                  <a:lnTo>
                    <a:pt x="380067" y="1016064"/>
                  </a:lnTo>
                  <a:lnTo>
                    <a:pt x="379089" y="1019974"/>
                  </a:lnTo>
                  <a:lnTo>
                    <a:pt x="369967" y="1019974"/>
                  </a:lnTo>
                  <a:cubicBezTo>
                    <a:pt x="369967" y="1019974"/>
                    <a:pt x="367686" y="1023232"/>
                    <a:pt x="367686" y="1023232"/>
                  </a:cubicBezTo>
                  <a:lnTo>
                    <a:pt x="359703" y="1023232"/>
                  </a:lnTo>
                  <a:cubicBezTo>
                    <a:pt x="359703" y="1023232"/>
                    <a:pt x="357260" y="1026165"/>
                    <a:pt x="357260" y="1026165"/>
                  </a:cubicBezTo>
                  <a:lnTo>
                    <a:pt x="358074" y="1029097"/>
                  </a:lnTo>
                  <a:lnTo>
                    <a:pt x="355957" y="1032844"/>
                  </a:lnTo>
                  <a:lnTo>
                    <a:pt x="353187" y="1031215"/>
                  </a:lnTo>
                  <a:lnTo>
                    <a:pt x="351884" y="1034147"/>
                  </a:lnTo>
                  <a:lnTo>
                    <a:pt x="351558" y="1041641"/>
                  </a:lnTo>
                  <a:lnTo>
                    <a:pt x="355305" y="1043596"/>
                  </a:lnTo>
                  <a:lnTo>
                    <a:pt x="365894" y="1052556"/>
                  </a:lnTo>
                  <a:lnTo>
                    <a:pt x="376157" y="1065915"/>
                  </a:lnTo>
                  <a:lnTo>
                    <a:pt x="380719" y="1065915"/>
                  </a:lnTo>
                  <a:lnTo>
                    <a:pt x="387561" y="1061027"/>
                  </a:lnTo>
                  <a:lnTo>
                    <a:pt x="390656" y="1066566"/>
                  </a:lnTo>
                  <a:lnTo>
                    <a:pt x="392937" y="1063471"/>
                  </a:lnTo>
                  <a:lnTo>
                    <a:pt x="398313" y="1063471"/>
                  </a:lnTo>
                  <a:lnTo>
                    <a:pt x="399616" y="1060701"/>
                  </a:lnTo>
                  <a:lnTo>
                    <a:pt x="408739" y="1056629"/>
                  </a:lnTo>
                  <a:lnTo>
                    <a:pt x="410531" y="1051253"/>
                  </a:lnTo>
                  <a:lnTo>
                    <a:pt x="408250" y="1043596"/>
                  </a:lnTo>
                  <a:lnTo>
                    <a:pt x="411508" y="1037731"/>
                  </a:lnTo>
                  <a:lnTo>
                    <a:pt x="411508" y="1033170"/>
                  </a:lnTo>
                  <a:cubicBezTo>
                    <a:pt x="411508" y="1033170"/>
                    <a:pt x="407435" y="1028283"/>
                    <a:pt x="407435" y="1028283"/>
                  </a:cubicBezTo>
                  <a:lnTo>
                    <a:pt x="410205" y="1026328"/>
                  </a:lnTo>
                  <a:lnTo>
                    <a:pt x="423889" y="1024536"/>
                  </a:lnTo>
                  <a:lnTo>
                    <a:pt x="426007" y="1021603"/>
                  </a:lnTo>
                  <a:lnTo>
                    <a:pt x="434316" y="1024699"/>
                  </a:lnTo>
                  <a:lnTo>
                    <a:pt x="433175" y="1020789"/>
                  </a:lnTo>
                  <a:lnTo>
                    <a:pt x="426496" y="1015738"/>
                  </a:lnTo>
                  <a:lnTo>
                    <a:pt x="424378" y="1010688"/>
                  </a:lnTo>
                  <a:lnTo>
                    <a:pt x="426822" y="1010688"/>
                  </a:lnTo>
                  <a:lnTo>
                    <a:pt x="430732" y="1014435"/>
                  </a:lnTo>
                  <a:lnTo>
                    <a:pt x="434967" y="1012154"/>
                  </a:lnTo>
                  <a:lnTo>
                    <a:pt x="444416" y="1000588"/>
                  </a:lnTo>
                  <a:lnTo>
                    <a:pt x="447348" y="999773"/>
                  </a:lnTo>
                  <a:lnTo>
                    <a:pt x="457775" y="987067"/>
                  </a:lnTo>
                  <a:lnTo>
                    <a:pt x="457775" y="984134"/>
                  </a:lnTo>
                  <a:lnTo>
                    <a:pt x="460870" y="982505"/>
                  </a:lnTo>
                  <a:lnTo>
                    <a:pt x="466409" y="983483"/>
                  </a:lnTo>
                  <a:lnTo>
                    <a:pt x="473414" y="980224"/>
                  </a:lnTo>
                  <a:lnTo>
                    <a:pt x="474717" y="976966"/>
                  </a:lnTo>
                  <a:lnTo>
                    <a:pt x="484655" y="973871"/>
                  </a:lnTo>
                  <a:lnTo>
                    <a:pt x="485307" y="977781"/>
                  </a:lnTo>
                  <a:lnTo>
                    <a:pt x="487098" y="977781"/>
                  </a:lnTo>
                  <a:cubicBezTo>
                    <a:pt x="487098" y="977781"/>
                    <a:pt x="488076" y="981853"/>
                    <a:pt x="488076" y="981853"/>
                  </a:cubicBezTo>
                  <a:lnTo>
                    <a:pt x="486284" y="984786"/>
                  </a:lnTo>
                  <a:lnTo>
                    <a:pt x="489053" y="986741"/>
                  </a:lnTo>
                  <a:lnTo>
                    <a:pt x="494918" y="981039"/>
                  </a:lnTo>
                  <a:lnTo>
                    <a:pt x="495569" y="977292"/>
                  </a:lnTo>
                  <a:lnTo>
                    <a:pt x="492637" y="975989"/>
                  </a:lnTo>
                  <a:lnTo>
                    <a:pt x="488890" y="972079"/>
                  </a:lnTo>
                  <a:lnTo>
                    <a:pt x="488564" y="969798"/>
                  </a:lnTo>
                  <a:lnTo>
                    <a:pt x="498013" y="960512"/>
                  </a:lnTo>
                  <a:lnTo>
                    <a:pt x="499642" y="960512"/>
                  </a:lnTo>
                  <a:cubicBezTo>
                    <a:pt x="499642" y="960512"/>
                    <a:pt x="500457" y="963608"/>
                    <a:pt x="500457" y="963608"/>
                  </a:cubicBezTo>
                  <a:lnTo>
                    <a:pt x="498665" y="964585"/>
                  </a:lnTo>
                  <a:lnTo>
                    <a:pt x="496873" y="967029"/>
                  </a:lnTo>
                  <a:lnTo>
                    <a:pt x="501597" y="972242"/>
                  </a:lnTo>
                  <a:lnTo>
                    <a:pt x="504692" y="971264"/>
                  </a:lnTo>
                  <a:lnTo>
                    <a:pt x="507462" y="967517"/>
                  </a:lnTo>
                  <a:lnTo>
                    <a:pt x="505507" y="964422"/>
                  </a:lnTo>
                  <a:lnTo>
                    <a:pt x="504041" y="959698"/>
                  </a:lnTo>
                  <a:lnTo>
                    <a:pt x="502249" y="957417"/>
                  </a:lnTo>
                  <a:lnTo>
                    <a:pt x="506321" y="954159"/>
                  </a:lnTo>
                  <a:lnTo>
                    <a:pt x="519843" y="948457"/>
                  </a:lnTo>
                  <a:lnTo>
                    <a:pt x="528966" y="947154"/>
                  </a:lnTo>
                  <a:lnTo>
                    <a:pt x="529943" y="949109"/>
                  </a:lnTo>
                  <a:lnTo>
                    <a:pt x="524893" y="951715"/>
                  </a:lnTo>
                  <a:lnTo>
                    <a:pt x="520983" y="952041"/>
                  </a:lnTo>
                  <a:lnTo>
                    <a:pt x="511535" y="956440"/>
                  </a:lnTo>
                  <a:lnTo>
                    <a:pt x="513326" y="958883"/>
                  </a:lnTo>
                  <a:lnTo>
                    <a:pt x="516748" y="959698"/>
                  </a:lnTo>
                  <a:lnTo>
                    <a:pt x="519680" y="958069"/>
                  </a:lnTo>
                  <a:lnTo>
                    <a:pt x="525545" y="963608"/>
                  </a:lnTo>
                  <a:lnTo>
                    <a:pt x="522287" y="965400"/>
                  </a:lnTo>
                  <a:lnTo>
                    <a:pt x="521146" y="967354"/>
                  </a:lnTo>
                  <a:lnTo>
                    <a:pt x="524567" y="972730"/>
                  </a:lnTo>
                  <a:lnTo>
                    <a:pt x="522450" y="976477"/>
                  </a:lnTo>
                  <a:lnTo>
                    <a:pt x="517399" y="976477"/>
                  </a:lnTo>
                  <a:cubicBezTo>
                    <a:pt x="517399" y="976477"/>
                    <a:pt x="512186" y="981691"/>
                    <a:pt x="512186" y="981691"/>
                  </a:cubicBezTo>
                  <a:lnTo>
                    <a:pt x="513326" y="985763"/>
                  </a:lnTo>
                  <a:lnTo>
                    <a:pt x="517562" y="986578"/>
                  </a:lnTo>
                  <a:lnTo>
                    <a:pt x="520983" y="985600"/>
                  </a:lnTo>
                  <a:lnTo>
                    <a:pt x="524405" y="985600"/>
                  </a:lnTo>
                  <a:cubicBezTo>
                    <a:pt x="524405" y="985600"/>
                    <a:pt x="527989" y="983320"/>
                    <a:pt x="527989" y="983320"/>
                  </a:cubicBezTo>
                  <a:lnTo>
                    <a:pt x="533364" y="985275"/>
                  </a:lnTo>
                  <a:lnTo>
                    <a:pt x="533364" y="991302"/>
                  </a:lnTo>
                  <a:lnTo>
                    <a:pt x="535808" y="985112"/>
                  </a:lnTo>
                  <a:lnTo>
                    <a:pt x="541184" y="978921"/>
                  </a:lnTo>
                  <a:lnTo>
                    <a:pt x="543628" y="978595"/>
                  </a:lnTo>
                  <a:lnTo>
                    <a:pt x="545908" y="982016"/>
                  </a:lnTo>
                  <a:lnTo>
                    <a:pt x="549981" y="985112"/>
                  </a:lnTo>
                  <a:lnTo>
                    <a:pt x="551610" y="982994"/>
                  </a:lnTo>
                  <a:lnTo>
                    <a:pt x="550470" y="980061"/>
                  </a:lnTo>
                  <a:lnTo>
                    <a:pt x="551773" y="976803"/>
                  </a:lnTo>
                  <a:lnTo>
                    <a:pt x="548026" y="974034"/>
                  </a:lnTo>
                  <a:lnTo>
                    <a:pt x="548026" y="971753"/>
                  </a:lnTo>
                  <a:cubicBezTo>
                    <a:pt x="548026" y="971753"/>
                    <a:pt x="552262" y="967029"/>
                    <a:pt x="552262" y="967029"/>
                  </a:cubicBezTo>
                  <a:lnTo>
                    <a:pt x="557475" y="966214"/>
                  </a:lnTo>
                  <a:lnTo>
                    <a:pt x="558941" y="963445"/>
                  </a:lnTo>
                  <a:lnTo>
                    <a:pt x="565621" y="959209"/>
                  </a:lnTo>
                  <a:lnTo>
                    <a:pt x="568553" y="961490"/>
                  </a:lnTo>
                  <a:lnTo>
                    <a:pt x="571974" y="961490"/>
                  </a:lnTo>
                  <a:cubicBezTo>
                    <a:pt x="571974" y="961490"/>
                    <a:pt x="574255" y="960512"/>
                    <a:pt x="574255" y="960512"/>
                  </a:cubicBezTo>
                  <a:lnTo>
                    <a:pt x="578001" y="961979"/>
                  </a:lnTo>
                  <a:lnTo>
                    <a:pt x="589080" y="961979"/>
                  </a:lnTo>
                  <a:lnTo>
                    <a:pt x="592989" y="959046"/>
                  </a:lnTo>
                  <a:lnTo>
                    <a:pt x="592989" y="955788"/>
                  </a:lnTo>
                  <a:lnTo>
                    <a:pt x="595759" y="952856"/>
                  </a:lnTo>
                  <a:lnTo>
                    <a:pt x="602112" y="952204"/>
                  </a:lnTo>
                  <a:lnTo>
                    <a:pt x="602601" y="949435"/>
                  </a:lnTo>
                  <a:lnTo>
                    <a:pt x="607325" y="945362"/>
                  </a:lnTo>
                  <a:lnTo>
                    <a:pt x="611235" y="944547"/>
                  </a:lnTo>
                  <a:lnTo>
                    <a:pt x="617914" y="937868"/>
                  </a:lnTo>
                  <a:lnTo>
                    <a:pt x="620684" y="937868"/>
                  </a:lnTo>
                  <a:cubicBezTo>
                    <a:pt x="620684" y="937868"/>
                    <a:pt x="624594" y="935587"/>
                    <a:pt x="624594" y="935587"/>
                  </a:cubicBezTo>
                  <a:lnTo>
                    <a:pt x="625571" y="937379"/>
                  </a:lnTo>
                  <a:lnTo>
                    <a:pt x="621661" y="941778"/>
                  </a:lnTo>
                  <a:lnTo>
                    <a:pt x="625571" y="943244"/>
                  </a:lnTo>
                  <a:lnTo>
                    <a:pt x="630621" y="948294"/>
                  </a:lnTo>
                  <a:lnTo>
                    <a:pt x="630621" y="951064"/>
                  </a:lnTo>
                  <a:cubicBezTo>
                    <a:pt x="630621" y="951064"/>
                    <a:pt x="626548" y="954973"/>
                    <a:pt x="626548" y="954973"/>
                  </a:cubicBezTo>
                  <a:lnTo>
                    <a:pt x="628992" y="960024"/>
                  </a:lnTo>
                  <a:lnTo>
                    <a:pt x="627852" y="963933"/>
                  </a:lnTo>
                  <a:lnTo>
                    <a:pt x="630784" y="967680"/>
                  </a:lnTo>
                  <a:lnTo>
                    <a:pt x="643654" y="968332"/>
                  </a:lnTo>
                  <a:lnTo>
                    <a:pt x="646423" y="965400"/>
                  </a:lnTo>
                  <a:lnTo>
                    <a:pt x="646423" y="962304"/>
                  </a:lnTo>
                  <a:cubicBezTo>
                    <a:pt x="646423" y="962304"/>
                    <a:pt x="644632" y="960512"/>
                    <a:pt x="644632" y="960512"/>
                  </a:cubicBezTo>
                  <a:lnTo>
                    <a:pt x="639255" y="953996"/>
                  </a:lnTo>
                  <a:lnTo>
                    <a:pt x="639581" y="951064"/>
                  </a:lnTo>
                  <a:lnTo>
                    <a:pt x="643165" y="948294"/>
                  </a:lnTo>
                  <a:lnTo>
                    <a:pt x="650171" y="951389"/>
                  </a:lnTo>
                  <a:lnTo>
                    <a:pt x="655058" y="948131"/>
                  </a:lnTo>
                  <a:lnTo>
                    <a:pt x="657175" y="939660"/>
                  </a:lnTo>
                  <a:lnTo>
                    <a:pt x="661085" y="939334"/>
                  </a:lnTo>
                  <a:lnTo>
                    <a:pt x="663366" y="941452"/>
                  </a:lnTo>
                  <a:lnTo>
                    <a:pt x="670208" y="942592"/>
                  </a:lnTo>
                  <a:lnTo>
                    <a:pt x="663203" y="935099"/>
                  </a:lnTo>
                  <a:lnTo>
                    <a:pt x="657339" y="933469"/>
                  </a:lnTo>
                  <a:lnTo>
                    <a:pt x="656687" y="928745"/>
                  </a:lnTo>
                  <a:lnTo>
                    <a:pt x="652451" y="920437"/>
                  </a:lnTo>
                  <a:lnTo>
                    <a:pt x="649356" y="920111"/>
                  </a:lnTo>
                  <a:lnTo>
                    <a:pt x="648378" y="924509"/>
                  </a:lnTo>
                  <a:lnTo>
                    <a:pt x="645935" y="920274"/>
                  </a:lnTo>
                  <a:lnTo>
                    <a:pt x="643165" y="910988"/>
                  </a:lnTo>
                  <a:lnTo>
                    <a:pt x="639744" y="909033"/>
                  </a:lnTo>
                  <a:lnTo>
                    <a:pt x="635997" y="903168"/>
                  </a:lnTo>
                  <a:lnTo>
                    <a:pt x="635997" y="901051"/>
                  </a:lnTo>
                  <a:lnTo>
                    <a:pt x="641373" y="899096"/>
                  </a:lnTo>
                  <a:lnTo>
                    <a:pt x="641373" y="894860"/>
                  </a:lnTo>
                  <a:lnTo>
                    <a:pt x="638930" y="889484"/>
                  </a:lnTo>
                  <a:lnTo>
                    <a:pt x="642025" y="886552"/>
                  </a:lnTo>
                  <a:lnTo>
                    <a:pt x="646260" y="887529"/>
                  </a:lnTo>
                  <a:lnTo>
                    <a:pt x="648378" y="886389"/>
                  </a:lnTo>
                  <a:lnTo>
                    <a:pt x="652614" y="889321"/>
                  </a:lnTo>
                  <a:lnTo>
                    <a:pt x="657664" y="888506"/>
                  </a:lnTo>
                  <a:lnTo>
                    <a:pt x="662551" y="890136"/>
                  </a:lnTo>
                  <a:lnTo>
                    <a:pt x="681937" y="887366"/>
                  </a:lnTo>
                  <a:lnTo>
                    <a:pt x="706537" y="888669"/>
                  </a:lnTo>
                  <a:lnTo>
                    <a:pt x="713868" y="893720"/>
                  </a:lnTo>
                  <a:lnTo>
                    <a:pt x="730159" y="899747"/>
                  </a:lnTo>
                  <a:lnTo>
                    <a:pt x="731462" y="903168"/>
                  </a:lnTo>
                  <a:lnTo>
                    <a:pt x="729670" y="905938"/>
                  </a:lnTo>
                  <a:lnTo>
                    <a:pt x="732114" y="911477"/>
                  </a:lnTo>
                  <a:lnTo>
                    <a:pt x="737001" y="907241"/>
                  </a:lnTo>
                  <a:lnTo>
                    <a:pt x="744332" y="904472"/>
                  </a:lnTo>
                  <a:lnTo>
                    <a:pt x="748567" y="908381"/>
                  </a:lnTo>
                  <a:lnTo>
                    <a:pt x="752477" y="908707"/>
                  </a:lnTo>
                  <a:lnTo>
                    <a:pt x="753455" y="913595"/>
                  </a:lnTo>
                  <a:lnTo>
                    <a:pt x="761926" y="914735"/>
                  </a:lnTo>
                  <a:lnTo>
                    <a:pt x="776099" y="922880"/>
                  </a:lnTo>
                  <a:lnTo>
                    <a:pt x="789621" y="924021"/>
                  </a:lnTo>
                  <a:lnTo>
                    <a:pt x="794996" y="928419"/>
                  </a:lnTo>
                  <a:lnTo>
                    <a:pt x="798255" y="935587"/>
                  </a:lnTo>
                  <a:lnTo>
                    <a:pt x="806237" y="937216"/>
                  </a:lnTo>
                  <a:lnTo>
                    <a:pt x="813242" y="942429"/>
                  </a:lnTo>
                  <a:lnTo>
                    <a:pt x="819270" y="953833"/>
                  </a:lnTo>
                  <a:lnTo>
                    <a:pt x="824646" y="954973"/>
                  </a:lnTo>
                  <a:lnTo>
                    <a:pt x="824972" y="951715"/>
                  </a:lnTo>
                  <a:lnTo>
                    <a:pt x="823669" y="944547"/>
                  </a:lnTo>
                  <a:lnTo>
                    <a:pt x="826764" y="944547"/>
                  </a:lnTo>
                  <a:cubicBezTo>
                    <a:pt x="826764" y="944547"/>
                    <a:pt x="827904" y="941615"/>
                    <a:pt x="827904" y="941615"/>
                  </a:cubicBezTo>
                  <a:lnTo>
                    <a:pt x="824483" y="936239"/>
                  </a:lnTo>
                  <a:lnTo>
                    <a:pt x="825949" y="932818"/>
                  </a:lnTo>
                  <a:lnTo>
                    <a:pt x="825949" y="919133"/>
                  </a:lnTo>
                  <a:cubicBezTo>
                    <a:pt x="825949" y="919133"/>
                    <a:pt x="830348" y="915387"/>
                    <a:pt x="830348" y="915387"/>
                  </a:cubicBezTo>
                  <a:lnTo>
                    <a:pt x="825623" y="915712"/>
                  </a:lnTo>
                  <a:lnTo>
                    <a:pt x="824809" y="913595"/>
                  </a:lnTo>
                  <a:lnTo>
                    <a:pt x="819922" y="913595"/>
                  </a:lnTo>
                  <a:lnTo>
                    <a:pt x="816012" y="916038"/>
                  </a:lnTo>
                  <a:lnTo>
                    <a:pt x="810799" y="914409"/>
                  </a:lnTo>
                  <a:lnTo>
                    <a:pt x="800373" y="902028"/>
                  </a:lnTo>
                  <a:lnTo>
                    <a:pt x="797440" y="901376"/>
                  </a:lnTo>
                  <a:lnTo>
                    <a:pt x="793530" y="896489"/>
                  </a:lnTo>
                  <a:lnTo>
                    <a:pt x="793530" y="887366"/>
                  </a:lnTo>
                  <a:lnTo>
                    <a:pt x="790761" y="884922"/>
                  </a:lnTo>
                  <a:lnTo>
                    <a:pt x="785874" y="891765"/>
                  </a:lnTo>
                  <a:lnTo>
                    <a:pt x="780498" y="888018"/>
                  </a:lnTo>
                  <a:lnTo>
                    <a:pt x="774470" y="888018"/>
                  </a:lnTo>
                  <a:cubicBezTo>
                    <a:pt x="774470" y="888018"/>
                    <a:pt x="769746" y="884760"/>
                    <a:pt x="769746" y="884760"/>
                  </a:cubicBezTo>
                  <a:lnTo>
                    <a:pt x="767302" y="888832"/>
                  </a:lnTo>
                  <a:lnTo>
                    <a:pt x="765510" y="880198"/>
                  </a:lnTo>
                  <a:lnTo>
                    <a:pt x="761600" y="876777"/>
                  </a:lnTo>
                  <a:lnTo>
                    <a:pt x="757365" y="865699"/>
                  </a:lnTo>
                  <a:lnTo>
                    <a:pt x="757365" y="861789"/>
                  </a:lnTo>
                  <a:lnTo>
                    <a:pt x="760785" y="864559"/>
                  </a:lnTo>
                  <a:lnTo>
                    <a:pt x="764858" y="860812"/>
                  </a:lnTo>
                  <a:lnTo>
                    <a:pt x="764858" y="854947"/>
                  </a:lnTo>
                  <a:lnTo>
                    <a:pt x="757039" y="849408"/>
                  </a:lnTo>
                  <a:lnTo>
                    <a:pt x="756387" y="843055"/>
                  </a:lnTo>
                  <a:lnTo>
                    <a:pt x="760134" y="838168"/>
                  </a:lnTo>
                  <a:lnTo>
                    <a:pt x="763881" y="839145"/>
                  </a:lnTo>
                  <a:lnTo>
                    <a:pt x="759157" y="834909"/>
                  </a:lnTo>
                  <a:lnTo>
                    <a:pt x="753292" y="834584"/>
                  </a:lnTo>
                  <a:lnTo>
                    <a:pt x="749545" y="825298"/>
                  </a:lnTo>
                  <a:lnTo>
                    <a:pt x="746124" y="822040"/>
                  </a:lnTo>
                  <a:lnTo>
                    <a:pt x="742866" y="824157"/>
                  </a:lnTo>
                  <a:lnTo>
                    <a:pt x="736675" y="818293"/>
                  </a:lnTo>
                  <a:lnTo>
                    <a:pt x="737490" y="809821"/>
                  </a:lnTo>
                  <a:lnTo>
                    <a:pt x="740422" y="805423"/>
                  </a:lnTo>
                  <a:lnTo>
                    <a:pt x="737164" y="800373"/>
                  </a:lnTo>
                  <a:lnTo>
                    <a:pt x="736187" y="796137"/>
                  </a:lnTo>
                  <a:lnTo>
                    <a:pt x="739607" y="793856"/>
                  </a:lnTo>
                  <a:lnTo>
                    <a:pt x="748567" y="779846"/>
                  </a:lnTo>
                  <a:lnTo>
                    <a:pt x="754107" y="775936"/>
                  </a:lnTo>
                  <a:lnTo>
                    <a:pt x="755573" y="772841"/>
                  </a:lnTo>
                  <a:lnTo>
                    <a:pt x="753292" y="766488"/>
                  </a:lnTo>
                  <a:lnTo>
                    <a:pt x="752640" y="761600"/>
                  </a:lnTo>
                  <a:lnTo>
                    <a:pt x="756061" y="755247"/>
                  </a:lnTo>
                  <a:lnTo>
                    <a:pt x="752151" y="749219"/>
                  </a:lnTo>
                  <a:lnTo>
                    <a:pt x="751500" y="741400"/>
                  </a:lnTo>
                  <a:lnTo>
                    <a:pt x="753455" y="737327"/>
                  </a:lnTo>
                  <a:lnTo>
                    <a:pt x="751663" y="733417"/>
                  </a:lnTo>
                  <a:lnTo>
                    <a:pt x="751663" y="727389"/>
                  </a:lnTo>
                  <a:cubicBezTo>
                    <a:pt x="751663" y="727389"/>
                    <a:pt x="748730" y="724294"/>
                    <a:pt x="748730" y="724294"/>
                  </a:cubicBezTo>
                  <a:lnTo>
                    <a:pt x="751174" y="714845"/>
                  </a:lnTo>
                  <a:lnTo>
                    <a:pt x="752966" y="712890"/>
                  </a:lnTo>
                  <a:lnTo>
                    <a:pt x="748567" y="707026"/>
                  </a:lnTo>
                  <a:lnTo>
                    <a:pt x="750034" y="698392"/>
                  </a:lnTo>
                  <a:lnTo>
                    <a:pt x="749219" y="687802"/>
                  </a:lnTo>
                  <a:lnTo>
                    <a:pt x="753292" y="686662"/>
                  </a:lnTo>
                  <a:lnTo>
                    <a:pt x="757528" y="688780"/>
                  </a:lnTo>
                  <a:lnTo>
                    <a:pt x="755735" y="691061"/>
                  </a:lnTo>
                  <a:lnTo>
                    <a:pt x="757528" y="693178"/>
                  </a:lnTo>
                  <a:lnTo>
                    <a:pt x="763392" y="690735"/>
                  </a:lnTo>
                  <a:lnTo>
                    <a:pt x="770560" y="690735"/>
                  </a:lnTo>
                  <a:cubicBezTo>
                    <a:pt x="770560" y="690735"/>
                    <a:pt x="776914" y="687314"/>
                    <a:pt x="776914" y="687314"/>
                  </a:cubicBezTo>
                  <a:lnTo>
                    <a:pt x="781312" y="687314"/>
                  </a:lnTo>
                  <a:cubicBezTo>
                    <a:pt x="781312" y="687314"/>
                    <a:pt x="785711" y="689594"/>
                    <a:pt x="785711" y="689594"/>
                  </a:cubicBezTo>
                  <a:lnTo>
                    <a:pt x="788643" y="687151"/>
                  </a:lnTo>
                  <a:lnTo>
                    <a:pt x="794671" y="687151"/>
                  </a:lnTo>
                  <a:cubicBezTo>
                    <a:pt x="794671" y="687151"/>
                    <a:pt x="809984" y="693504"/>
                    <a:pt x="809984" y="693504"/>
                  </a:cubicBezTo>
                  <a:lnTo>
                    <a:pt x="817152" y="693504"/>
                  </a:lnTo>
                  <a:cubicBezTo>
                    <a:pt x="817152" y="693504"/>
                    <a:pt x="822365" y="694808"/>
                    <a:pt x="822365" y="694808"/>
                  </a:cubicBezTo>
                  <a:lnTo>
                    <a:pt x="824320" y="699532"/>
                  </a:lnTo>
                  <a:lnTo>
                    <a:pt x="820248" y="701324"/>
                  </a:lnTo>
                  <a:lnTo>
                    <a:pt x="823506" y="707189"/>
                  </a:lnTo>
                  <a:lnTo>
                    <a:pt x="823506" y="713379"/>
                  </a:lnTo>
                  <a:lnTo>
                    <a:pt x="826275" y="716312"/>
                  </a:lnTo>
                  <a:lnTo>
                    <a:pt x="826275" y="725434"/>
                  </a:lnTo>
                  <a:cubicBezTo>
                    <a:pt x="826275" y="725434"/>
                    <a:pt x="829696" y="733417"/>
                    <a:pt x="829696" y="733417"/>
                  </a:cubicBezTo>
                  <a:lnTo>
                    <a:pt x="827416" y="747427"/>
                  </a:lnTo>
                  <a:lnTo>
                    <a:pt x="830185" y="751500"/>
                  </a:lnTo>
                  <a:lnTo>
                    <a:pt x="829044" y="754921"/>
                  </a:lnTo>
                  <a:lnTo>
                    <a:pt x="831325" y="759157"/>
                  </a:lnTo>
                  <a:lnTo>
                    <a:pt x="830022" y="764044"/>
                  </a:lnTo>
                  <a:lnTo>
                    <a:pt x="826927" y="765836"/>
                  </a:lnTo>
                  <a:lnTo>
                    <a:pt x="828882" y="771864"/>
                  </a:lnTo>
                  <a:lnTo>
                    <a:pt x="834258" y="776914"/>
                  </a:lnTo>
                  <a:lnTo>
                    <a:pt x="837679" y="783430"/>
                  </a:lnTo>
                  <a:lnTo>
                    <a:pt x="843707" y="785222"/>
                  </a:lnTo>
                  <a:lnTo>
                    <a:pt x="843707" y="786525"/>
                  </a:lnTo>
                  <a:lnTo>
                    <a:pt x="847616" y="784896"/>
                  </a:lnTo>
                  <a:lnTo>
                    <a:pt x="850386" y="787014"/>
                  </a:lnTo>
                  <a:lnTo>
                    <a:pt x="852503" y="796626"/>
                  </a:lnTo>
                  <a:lnTo>
                    <a:pt x="858694" y="800861"/>
                  </a:lnTo>
                  <a:lnTo>
                    <a:pt x="861952" y="806074"/>
                  </a:lnTo>
                  <a:lnTo>
                    <a:pt x="863907" y="821714"/>
                  </a:lnTo>
                  <a:lnTo>
                    <a:pt x="868143" y="826112"/>
                  </a:lnTo>
                  <a:lnTo>
                    <a:pt x="868143" y="829533"/>
                  </a:lnTo>
                  <a:cubicBezTo>
                    <a:pt x="868143" y="829533"/>
                    <a:pt x="866351" y="833280"/>
                    <a:pt x="866351" y="833280"/>
                  </a:cubicBezTo>
                  <a:lnTo>
                    <a:pt x="871727" y="839308"/>
                  </a:lnTo>
                  <a:lnTo>
                    <a:pt x="871727" y="846965"/>
                  </a:lnTo>
                  <a:lnTo>
                    <a:pt x="879709" y="858531"/>
                  </a:lnTo>
                  <a:lnTo>
                    <a:pt x="877755" y="865373"/>
                  </a:lnTo>
                  <a:lnTo>
                    <a:pt x="880850" y="870912"/>
                  </a:lnTo>
                  <a:lnTo>
                    <a:pt x="886226" y="874170"/>
                  </a:lnTo>
                  <a:lnTo>
                    <a:pt x="883456" y="878569"/>
                  </a:lnTo>
                  <a:lnTo>
                    <a:pt x="886389" y="881339"/>
                  </a:lnTo>
                  <a:lnTo>
                    <a:pt x="888507" y="892253"/>
                  </a:lnTo>
                  <a:lnTo>
                    <a:pt x="898770" y="905449"/>
                  </a:lnTo>
                  <a:lnTo>
                    <a:pt x="906915" y="908218"/>
                  </a:lnTo>
                  <a:lnTo>
                    <a:pt x="910336" y="912454"/>
                  </a:lnTo>
                  <a:lnTo>
                    <a:pt x="914083" y="913269"/>
                  </a:lnTo>
                  <a:lnTo>
                    <a:pt x="921740" y="920762"/>
                  </a:lnTo>
                  <a:lnTo>
                    <a:pt x="921740" y="924835"/>
                  </a:lnTo>
                  <a:lnTo>
                    <a:pt x="919296" y="923858"/>
                  </a:lnTo>
                  <a:lnTo>
                    <a:pt x="919296" y="929397"/>
                  </a:lnTo>
                  <a:cubicBezTo>
                    <a:pt x="919296" y="929397"/>
                    <a:pt x="917830" y="936402"/>
                    <a:pt x="917830" y="936402"/>
                  </a:cubicBezTo>
                  <a:lnTo>
                    <a:pt x="921089" y="946013"/>
                  </a:lnTo>
                  <a:lnTo>
                    <a:pt x="926953" y="951878"/>
                  </a:lnTo>
                  <a:lnTo>
                    <a:pt x="927767" y="959861"/>
                  </a:lnTo>
                  <a:lnTo>
                    <a:pt x="923043" y="963933"/>
                  </a:lnTo>
                  <a:lnTo>
                    <a:pt x="923369" y="966377"/>
                  </a:lnTo>
                  <a:lnTo>
                    <a:pt x="919948" y="970613"/>
                  </a:lnTo>
                  <a:lnTo>
                    <a:pt x="922066" y="973545"/>
                  </a:lnTo>
                  <a:lnTo>
                    <a:pt x="922066" y="984623"/>
                  </a:lnTo>
                  <a:cubicBezTo>
                    <a:pt x="922066" y="984623"/>
                    <a:pt x="916201" y="987555"/>
                    <a:pt x="916201" y="987555"/>
                  </a:cubicBezTo>
                  <a:lnTo>
                    <a:pt x="917341" y="989673"/>
                  </a:lnTo>
                  <a:lnTo>
                    <a:pt x="921251" y="988696"/>
                  </a:lnTo>
                  <a:lnTo>
                    <a:pt x="922066" y="991628"/>
                  </a:lnTo>
                  <a:lnTo>
                    <a:pt x="916038" y="995049"/>
                  </a:lnTo>
                  <a:lnTo>
                    <a:pt x="915712" y="1005638"/>
                  </a:lnTo>
                  <a:lnTo>
                    <a:pt x="913432" y="1008896"/>
                  </a:lnTo>
                  <a:lnTo>
                    <a:pt x="907078" y="1005801"/>
                  </a:lnTo>
                  <a:lnTo>
                    <a:pt x="907078" y="1009222"/>
                  </a:lnTo>
                  <a:lnTo>
                    <a:pt x="912291" y="1015087"/>
                  </a:lnTo>
                  <a:lnTo>
                    <a:pt x="912943" y="1018997"/>
                  </a:lnTo>
                  <a:lnTo>
                    <a:pt x="907567" y="1021440"/>
                  </a:lnTo>
                  <a:lnTo>
                    <a:pt x="903657" y="1026491"/>
                  </a:lnTo>
                  <a:lnTo>
                    <a:pt x="894208" y="1027142"/>
                  </a:lnTo>
                  <a:lnTo>
                    <a:pt x="889321" y="1023069"/>
                  </a:lnTo>
                  <a:lnTo>
                    <a:pt x="896978" y="1018834"/>
                  </a:lnTo>
                  <a:lnTo>
                    <a:pt x="896978" y="1014924"/>
                  </a:lnTo>
                  <a:cubicBezTo>
                    <a:pt x="896978" y="1014924"/>
                    <a:pt x="891765" y="1014924"/>
                    <a:pt x="891765" y="1014924"/>
                  </a:cubicBezTo>
                  <a:lnTo>
                    <a:pt x="890462" y="1018182"/>
                  </a:lnTo>
                  <a:lnTo>
                    <a:pt x="886714" y="1018508"/>
                  </a:lnTo>
                  <a:lnTo>
                    <a:pt x="875148" y="1011992"/>
                  </a:lnTo>
                  <a:lnTo>
                    <a:pt x="872704" y="1015250"/>
                  </a:lnTo>
                  <a:lnTo>
                    <a:pt x="858205" y="1017205"/>
                  </a:lnTo>
                  <a:lnTo>
                    <a:pt x="850712" y="1017856"/>
                  </a:lnTo>
                  <a:lnTo>
                    <a:pt x="846965" y="1024699"/>
                  </a:lnTo>
                  <a:lnTo>
                    <a:pt x="850386" y="1025350"/>
                  </a:lnTo>
                  <a:lnTo>
                    <a:pt x="852178" y="1027305"/>
                  </a:lnTo>
                  <a:lnTo>
                    <a:pt x="855110" y="1022418"/>
                  </a:lnTo>
                  <a:lnTo>
                    <a:pt x="863092" y="1020952"/>
                  </a:lnTo>
                  <a:lnTo>
                    <a:pt x="865373" y="1026002"/>
                  </a:lnTo>
                  <a:lnTo>
                    <a:pt x="872053" y="1032355"/>
                  </a:lnTo>
                  <a:lnTo>
                    <a:pt x="890950" y="1035450"/>
                  </a:lnTo>
                  <a:lnTo>
                    <a:pt x="899096" y="1037731"/>
                  </a:lnTo>
                  <a:lnTo>
                    <a:pt x="908544" y="1036265"/>
                  </a:lnTo>
                  <a:lnTo>
                    <a:pt x="917504" y="1036265"/>
                  </a:lnTo>
                  <a:cubicBezTo>
                    <a:pt x="917504" y="1036265"/>
                    <a:pt x="919296" y="1038709"/>
                    <a:pt x="919296" y="1038709"/>
                  </a:cubicBezTo>
                  <a:lnTo>
                    <a:pt x="929234" y="1040827"/>
                  </a:lnTo>
                  <a:lnTo>
                    <a:pt x="936890" y="1036428"/>
                  </a:lnTo>
                  <a:lnTo>
                    <a:pt x="936890" y="1031378"/>
                  </a:lnTo>
                  <a:cubicBezTo>
                    <a:pt x="936890" y="1031378"/>
                    <a:pt x="933632" y="1027631"/>
                    <a:pt x="933632" y="1027631"/>
                  </a:cubicBezTo>
                  <a:lnTo>
                    <a:pt x="933632" y="1021277"/>
                  </a:lnTo>
                  <a:lnTo>
                    <a:pt x="936890" y="1016879"/>
                  </a:lnTo>
                  <a:lnTo>
                    <a:pt x="941778" y="1014598"/>
                  </a:lnTo>
                  <a:lnTo>
                    <a:pt x="942103" y="1010851"/>
                  </a:lnTo>
                  <a:lnTo>
                    <a:pt x="949271" y="1003683"/>
                  </a:lnTo>
                  <a:lnTo>
                    <a:pt x="949923" y="998959"/>
                  </a:lnTo>
                  <a:lnTo>
                    <a:pt x="954322" y="986904"/>
                  </a:lnTo>
                  <a:lnTo>
                    <a:pt x="949923" y="979410"/>
                  </a:lnTo>
                  <a:lnTo>
                    <a:pt x="951226" y="970938"/>
                  </a:lnTo>
                  <a:lnTo>
                    <a:pt x="959209" y="956928"/>
                  </a:lnTo>
                  <a:lnTo>
                    <a:pt x="960024" y="952204"/>
                  </a:lnTo>
                  <a:lnTo>
                    <a:pt x="952367" y="933469"/>
                  </a:lnTo>
                  <a:lnTo>
                    <a:pt x="941778" y="927279"/>
                  </a:lnTo>
                  <a:lnTo>
                    <a:pt x="938682" y="922880"/>
                  </a:lnTo>
                  <a:lnTo>
                    <a:pt x="937868" y="908218"/>
                  </a:lnTo>
                  <a:lnTo>
                    <a:pt x="945851" y="902028"/>
                  </a:lnTo>
                  <a:lnTo>
                    <a:pt x="949923" y="896000"/>
                  </a:lnTo>
                  <a:lnTo>
                    <a:pt x="956603" y="895023"/>
                  </a:lnTo>
                  <a:lnTo>
                    <a:pt x="967029" y="884922"/>
                  </a:lnTo>
                  <a:lnTo>
                    <a:pt x="974034" y="884597"/>
                  </a:lnTo>
                  <a:lnTo>
                    <a:pt x="982179" y="892579"/>
                  </a:lnTo>
                  <a:lnTo>
                    <a:pt x="982179" y="899584"/>
                  </a:lnTo>
                  <a:lnTo>
                    <a:pt x="990487" y="903657"/>
                  </a:lnTo>
                  <a:lnTo>
                    <a:pt x="992605" y="907567"/>
                  </a:lnTo>
                  <a:lnTo>
                    <a:pt x="994886" y="907567"/>
                  </a:lnTo>
                  <a:lnTo>
                    <a:pt x="1001240" y="915549"/>
                  </a:lnTo>
                  <a:lnTo>
                    <a:pt x="1000262" y="921740"/>
                  </a:lnTo>
                  <a:lnTo>
                    <a:pt x="1004660" y="924672"/>
                  </a:lnTo>
                  <a:lnTo>
                    <a:pt x="1005964" y="930537"/>
                  </a:lnTo>
                  <a:lnTo>
                    <a:pt x="1010851" y="936565"/>
                  </a:lnTo>
                  <a:lnTo>
                    <a:pt x="1011829" y="942918"/>
                  </a:lnTo>
                  <a:lnTo>
                    <a:pt x="1009385" y="945199"/>
                  </a:lnTo>
                  <a:lnTo>
                    <a:pt x="1013295" y="951064"/>
                  </a:lnTo>
                  <a:lnTo>
                    <a:pt x="1019485" y="951389"/>
                  </a:lnTo>
                  <a:lnTo>
                    <a:pt x="1026328" y="956277"/>
                  </a:lnTo>
                  <a:lnTo>
                    <a:pt x="1033333" y="954648"/>
                  </a:lnTo>
                  <a:lnTo>
                    <a:pt x="1037568" y="953344"/>
                  </a:lnTo>
                  <a:lnTo>
                    <a:pt x="1045225" y="952530"/>
                  </a:lnTo>
                  <a:lnTo>
                    <a:pt x="1047017" y="949597"/>
                  </a:lnTo>
                  <a:lnTo>
                    <a:pt x="1049949" y="947805"/>
                  </a:lnTo>
                  <a:lnTo>
                    <a:pt x="1046528" y="946502"/>
                  </a:lnTo>
                  <a:lnTo>
                    <a:pt x="1041478" y="947805"/>
                  </a:lnTo>
                  <a:lnTo>
                    <a:pt x="1039686" y="943896"/>
                  </a:lnTo>
                  <a:lnTo>
                    <a:pt x="1035776" y="950412"/>
                  </a:lnTo>
                  <a:lnTo>
                    <a:pt x="1028446" y="950412"/>
                  </a:lnTo>
                  <a:lnTo>
                    <a:pt x="1025187" y="945851"/>
                  </a:lnTo>
                  <a:lnTo>
                    <a:pt x="1019323" y="945851"/>
                  </a:lnTo>
                  <a:cubicBezTo>
                    <a:pt x="1019323" y="945851"/>
                    <a:pt x="1016227" y="941452"/>
                    <a:pt x="1016227" y="941452"/>
                  </a:cubicBezTo>
                  <a:lnTo>
                    <a:pt x="1018019" y="937216"/>
                  </a:lnTo>
                  <a:lnTo>
                    <a:pt x="1014924" y="935261"/>
                  </a:lnTo>
                  <a:lnTo>
                    <a:pt x="1011177" y="927930"/>
                  </a:lnTo>
                  <a:lnTo>
                    <a:pt x="1011829" y="919459"/>
                  </a:lnTo>
                  <a:lnTo>
                    <a:pt x="1016879" y="918156"/>
                  </a:lnTo>
                  <a:lnTo>
                    <a:pt x="1020951" y="914735"/>
                  </a:lnTo>
                  <a:lnTo>
                    <a:pt x="1017205" y="911803"/>
                  </a:lnTo>
                  <a:lnTo>
                    <a:pt x="1016064" y="907730"/>
                  </a:lnTo>
                  <a:lnTo>
                    <a:pt x="1014435" y="906752"/>
                  </a:lnTo>
                  <a:lnTo>
                    <a:pt x="1012643" y="902680"/>
                  </a:lnTo>
                  <a:lnTo>
                    <a:pt x="1004987" y="898281"/>
                  </a:lnTo>
                  <a:lnTo>
                    <a:pt x="1004660" y="894208"/>
                  </a:lnTo>
                  <a:lnTo>
                    <a:pt x="998796" y="886552"/>
                  </a:lnTo>
                  <a:lnTo>
                    <a:pt x="990162" y="886552"/>
                  </a:lnTo>
                  <a:cubicBezTo>
                    <a:pt x="990162" y="886552"/>
                    <a:pt x="977944" y="881664"/>
                    <a:pt x="977944" y="881664"/>
                  </a:cubicBezTo>
                  <a:lnTo>
                    <a:pt x="974848" y="875800"/>
                  </a:lnTo>
                  <a:lnTo>
                    <a:pt x="969472" y="877754"/>
                  </a:lnTo>
                  <a:lnTo>
                    <a:pt x="960187" y="872378"/>
                  </a:lnTo>
                  <a:lnTo>
                    <a:pt x="955788" y="874008"/>
                  </a:lnTo>
                  <a:lnTo>
                    <a:pt x="949435" y="872053"/>
                  </a:lnTo>
                  <a:lnTo>
                    <a:pt x="943244" y="878406"/>
                  </a:lnTo>
                  <a:lnTo>
                    <a:pt x="941452" y="885411"/>
                  </a:lnTo>
                  <a:lnTo>
                    <a:pt x="938031" y="888344"/>
                  </a:lnTo>
                  <a:lnTo>
                    <a:pt x="928908" y="885411"/>
                  </a:lnTo>
                  <a:lnTo>
                    <a:pt x="921414" y="890136"/>
                  </a:lnTo>
                  <a:lnTo>
                    <a:pt x="914246" y="888018"/>
                  </a:lnTo>
                  <a:lnTo>
                    <a:pt x="911476" y="884597"/>
                  </a:lnTo>
                  <a:lnTo>
                    <a:pt x="912291" y="878080"/>
                  </a:lnTo>
                  <a:lnTo>
                    <a:pt x="911476" y="872704"/>
                  </a:lnTo>
                  <a:lnTo>
                    <a:pt x="901865" y="862604"/>
                  </a:lnTo>
                  <a:lnTo>
                    <a:pt x="898770" y="856576"/>
                  </a:lnTo>
                  <a:lnTo>
                    <a:pt x="899747" y="845173"/>
                  </a:lnTo>
                  <a:lnTo>
                    <a:pt x="893882" y="836050"/>
                  </a:lnTo>
                  <a:lnTo>
                    <a:pt x="895186" y="829696"/>
                  </a:lnTo>
                  <a:lnTo>
                    <a:pt x="896652" y="813080"/>
                  </a:lnTo>
                  <a:lnTo>
                    <a:pt x="891928" y="802653"/>
                  </a:lnTo>
                  <a:lnTo>
                    <a:pt x="886389" y="796626"/>
                  </a:lnTo>
                  <a:lnTo>
                    <a:pt x="879872" y="796626"/>
                  </a:lnTo>
                  <a:lnTo>
                    <a:pt x="877266" y="789458"/>
                  </a:lnTo>
                  <a:lnTo>
                    <a:pt x="865536" y="779357"/>
                  </a:lnTo>
                  <a:lnTo>
                    <a:pt x="855925" y="773981"/>
                  </a:lnTo>
                  <a:lnTo>
                    <a:pt x="855925" y="767628"/>
                  </a:lnTo>
                  <a:cubicBezTo>
                    <a:pt x="855925" y="767628"/>
                    <a:pt x="859183" y="757690"/>
                    <a:pt x="859183" y="757690"/>
                  </a:cubicBezTo>
                  <a:lnTo>
                    <a:pt x="857717" y="749708"/>
                  </a:lnTo>
                  <a:lnTo>
                    <a:pt x="853807" y="745961"/>
                  </a:lnTo>
                  <a:lnTo>
                    <a:pt x="853807" y="743029"/>
                  </a:lnTo>
                  <a:cubicBezTo>
                    <a:pt x="853807" y="743029"/>
                    <a:pt x="859020" y="737653"/>
                    <a:pt x="859020" y="737653"/>
                  </a:cubicBezTo>
                  <a:lnTo>
                    <a:pt x="867491" y="727715"/>
                  </a:lnTo>
                  <a:lnTo>
                    <a:pt x="870260" y="716474"/>
                  </a:lnTo>
                  <a:lnTo>
                    <a:pt x="867003" y="702790"/>
                  </a:lnTo>
                  <a:lnTo>
                    <a:pt x="856250" y="682101"/>
                  </a:lnTo>
                  <a:lnTo>
                    <a:pt x="859508" y="680146"/>
                  </a:lnTo>
                  <a:lnTo>
                    <a:pt x="866839" y="685359"/>
                  </a:lnTo>
                  <a:lnTo>
                    <a:pt x="867980" y="692201"/>
                  </a:lnTo>
                  <a:lnTo>
                    <a:pt x="871401" y="693178"/>
                  </a:lnTo>
                  <a:lnTo>
                    <a:pt x="873682" y="695948"/>
                  </a:lnTo>
                  <a:lnTo>
                    <a:pt x="874333" y="704093"/>
                  </a:lnTo>
                  <a:lnTo>
                    <a:pt x="879872" y="709469"/>
                  </a:lnTo>
                  <a:lnTo>
                    <a:pt x="879221" y="720710"/>
                  </a:lnTo>
                  <a:lnTo>
                    <a:pt x="883293" y="727715"/>
                  </a:lnTo>
                  <a:lnTo>
                    <a:pt x="881013" y="734069"/>
                  </a:lnTo>
                  <a:lnTo>
                    <a:pt x="884108" y="739608"/>
                  </a:lnTo>
                  <a:lnTo>
                    <a:pt x="891765" y="746450"/>
                  </a:lnTo>
                  <a:lnTo>
                    <a:pt x="891765" y="750685"/>
                  </a:lnTo>
                  <a:lnTo>
                    <a:pt x="896163" y="754432"/>
                  </a:lnTo>
                  <a:lnTo>
                    <a:pt x="896163" y="758179"/>
                  </a:lnTo>
                  <a:lnTo>
                    <a:pt x="891765" y="761274"/>
                  </a:lnTo>
                  <a:lnTo>
                    <a:pt x="894208" y="765347"/>
                  </a:lnTo>
                  <a:lnTo>
                    <a:pt x="900399" y="764207"/>
                  </a:lnTo>
                  <a:lnTo>
                    <a:pt x="907404" y="768605"/>
                  </a:lnTo>
                  <a:lnTo>
                    <a:pt x="916527" y="768605"/>
                  </a:lnTo>
                  <a:lnTo>
                    <a:pt x="921414" y="766488"/>
                  </a:lnTo>
                  <a:lnTo>
                    <a:pt x="925976" y="769746"/>
                  </a:lnTo>
                  <a:lnTo>
                    <a:pt x="927767" y="773818"/>
                  </a:lnTo>
                  <a:lnTo>
                    <a:pt x="932329" y="768280"/>
                  </a:lnTo>
                  <a:lnTo>
                    <a:pt x="938194" y="767628"/>
                  </a:lnTo>
                  <a:lnTo>
                    <a:pt x="943081" y="765184"/>
                  </a:lnTo>
                  <a:lnTo>
                    <a:pt x="947480" y="766325"/>
                  </a:lnTo>
                  <a:lnTo>
                    <a:pt x="954485" y="774144"/>
                  </a:lnTo>
                  <a:lnTo>
                    <a:pt x="959372" y="774796"/>
                  </a:lnTo>
                  <a:lnTo>
                    <a:pt x="966214" y="778706"/>
                  </a:lnTo>
                  <a:lnTo>
                    <a:pt x="976803" y="776914"/>
                  </a:lnTo>
                  <a:lnTo>
                    <a:pt x="980387" y="772026"/>
                  </a:lnTo>
                  <a:lnTo>
                    <a:pt x="975989" y="775122"/>
                  </a:lnTo>
                  <a:lnTo>
                    <a:pt x="965562" y="774144"/>
                  </a:lnTo>
                  <a:lnTo>
                    <a:pt x="964259" y="769094"/>
                  </a:lnTo>
                  <a:lnTo>
                    <a:pt x="961001" y="767954"/>
                  </a:lnTo>
                  <a:lnTo>
                    <a:pt x="958069" y="760460"/>
                  </a:lnTo>
                  <a:lnTo>
                    <a:pt x="949435" y="760460"/>
                  </a:lnTo>
                  <a:lnTo>
                    <a:pt x="948457" y="756387"/>
                  </a:lnTo>
                  <a:lnTo>
                    <a:pt x="946176" y="756061"/>
                  </a:lnTo>
                  <a:lnTo>
                    <a:pt x="943081" y="759482"/>
                  </a:lnTo>
                  <a:lnTo>
                    <a:pt x="930537" y="758505"/>
                  </a:lnTo>
                  <a:lnTo>
                    <a:pt x="925650" y="754595"/>
                  </a:lnTo>
                  <a:lnTo>
                    <a:pt x="917178" y="753944"/>
                  </a:lnTo>
                  <a:lnTo>
                    <a:pt x="908219" y="746287"/>
                  </a:lnTo>
                  <a:lnTo>
                    <a:pt x="906264" y="739933"/>
                  </a:lnTo>
                  <a:lnTo>
                    <a:pt x="903168" y="739608"/>
                  </a:lnTo>
                  <a:lnTo>
                    <a:pt x="895349" y="728041"/>
                  </a:lnTo>
                  <a:lnTo>
                    <a:pt x="899096" y="726738"/>
                  </a:lnTo>
                  <a:lnTo>
                    <a:pt x="901376" y="723805"/>
                  </a:lnTo>
                  <a:lnTo>
                    <a:pt x="908544" y="718592"/>
                  </a:lnTo>
                  <a:lnTo>
                    <a:pt x="912454" y="718592"/>
                  </a:lnTo>
                  <a:lnTo>
                    <a:pt x="919459" y="726738"/>
                  </a:lnTo>
                  <a:lnTo>
                    <a:pt x="931026" y="731625"/>
                  </a:lnTo>
                  <a:lnTo>
                    <a:pt x="938194" y="730159"/>
                  </a:lnTo>
                  <a:lnTo>
                    <a:pt x="943733" y="719896"/>
                  </a:lnTo>
                  <a:lnTo>
                    <a:pt x="939008" y="710610"/>
                  </a:lnTo>
                  <a:lnTo>
                    <a:pt x="929560" y="708329"/>
                  </a:lnTo>
                  <a:lnTo>
                    <a:pt x="921089" y="713705"/>
                  </a:lnTo>
                  <a:lnTo>
                    <a:pt x="917830" y="709958"/>
                  </a:lnTo>
                  <a:lnTo>
                    <a:pt x="919133" y="706863"/>
                  </a:lnTo>
                  <a:lnTo>
                    <a:pt x="921577" y="708655"/>
                  </a:lnTo>
                  <a:lnTo>
                    <a:pt x="924509" y="706700"/>
                  </a:lnTo>
                  <a:lnTo>
                    <a:pt x="925161" y="700835"/>
                  </a:lnTo>
                  <a:lnTo>
                    <a:pt x="931351" y="691224"/>
                  </a:lnTo>
                  <a:lnTo>
                    <a:pt x="937216" y="687802"/>
                  </a:lnTo>
                  <a:lnTo>
                    <a:pt x="942267" y="690083"/>
                  </a:lnTo>
                  <a:lnTo>
                    <a:pt x="960024" y="689757"/>
                  </a:lnTo>
                  <a:lnTo>
                    <a:pt x="966214" y="696274"/>
                  </a:lnTo>
                  <a:lnTo>
                    <a:pt x="972567" y="700509"/>
                  </a:lnTo>
                  <a:lnTo>
                    <a:pt x="987392" y="702301"/>
                  </a:lnTo>
                  <a:lnTo>
                    <a:pt x="988533" y="707352"/>
                  </a:lnTo>
                  <a:lnTo>
                    <a:pt x="994398" y="710447"/>
                  </a:lnTo>
                  <a:lnTo>
                    <a:pt x="1004987" y="721199"/>
                  </a:lnTo>
                  <a:lnTo>
                    <a:pt x="1012317" y="721525"/>
                  </a:lnTo>
                  <a:lnTo>
                    <a:pt x="1025839" y="719570"/>
                  </a:lnTo>
                  <a:lnTo>
                    <a:pt x="1036591" y="713053"/>
                  </a:lnTo>
                  <a:lnTo>
                    <a:pt x="1040501" y="716963"/>
                  </a:lnTo>
                  <a:lnTo>
                    <a:pt x="1042619" y="716312"/>
                  </a:lnTo>
                  <a:lnTo>
                    <a:pt x="1048646" y="716963"/>
                  </a:lnTo>
                  <a:lnTo>
                    <a:pt x="1047343" y="726086"/>
                  </a:lnTo>
                  <a:lnTo>
                    <a:pt x="1048321" y="731136"/>
                  </a:lnTo>
                  <a:lnTo>
                    <a:pt x="1048321" y="735046"/>
                  </a:lnTo>
                  <a:cubicBezTo>
                    <a:pt x="1048321" y="735046"/>
                    <a:pt x="1040501" y="739445"/>
                    <a:pt x="1040501" y="739445"/>
                  </a:cubicBezTo>
                  <a:lnTo>
                    <a:pt x="1040501" y="746287"/>
                  </a:lnTo>
                  <a:cubicBezTo>
                    <a:pt x="1040501" y="746287"/>
                    <a:pt x="1043596" y="752152"/>
                    <a:pt x="1043596" y="752152"/>
                  </a:cubicBezTo>
                  <a:lnTo>
                    <a:pt x="1043596" y="760623"/>
                  </a:lnTo>
                  <a:cubicBezTo>
                    <a:pt x="1043596" y="760623"/>
                    <a:pt x="1052067" y="767139"/>
                    <a:pt x="1052067" y="767139"/>
                  </a:cubicBezTo>
                  <a:lnTo>
                    <a:pt x="1052719" y="773004"/>
                  </a:lnTo>
                  <a:lnTo>
                    <a:pt x="1049298" y="777402"/>
                  </a:lnTo>
                  <a:lnTo>
                    <a:pt x="1051578" y="793530"/>
                  </a:lnTo>
                  <a:lnTo>
                    <a:pt x="1054837" y="793205"/>
                  </a:lnTo>
                  <a:lnTo>
                    <a:pt x="1056466" y="787992"/>
                  </a:lnTo>
                  <a:lnTo>
                    <a:pt x="1054837" y="784570"/>
                  </a:lnTo>
                  <a:lnTo>
                    <a:pt x="1057932" y="780661"/>
                  </a:lnTo>
                  <a:lnTo>
                    <a:pt x="1057117" y="774307"/>
                  </a:lnTo>
                  <a:lnTo>
                    <a:pt x="1061027" y="772678"/>
                  </a:lnTo>
                  <a:lnTo>
                    <a:pt x="1063960" y="764533"/>
                  </a:lnTo>
                  <a:lnTo>
                    <a:pt x="1068032" y="767465"/>
                  </a:lnTo>
                  <a:lnTo>
                    <a:pt x="1071128" y="776425"/>
                  </a:lnTo>
                  <a:lnTo>
                    <a:pt x="1071942" y="788480"/>
                  </a:lnTo>
                  <a:lnTo>
                    <a:pt x="1073246" y="792553"/>
                  </a:lnTo>
                  <a:lnTo>
                    <a:pt x="1069824" y="794834"/>
                  </a:lnTo>
                  <a:lnTo>
                    <a:pt x="1069824" y="800861"/>
                  </a:lnTo>
                  <a:lnTo>
                    <a:pt x="1067544" y="802816"/>
                  </a:lnTo>
                  <a:lnTo>
                    <a:pt x="1076830" y="809007"/>
                  </a:lnTo>
                  <a:lnTo>
                    <a:pt x="1084975" y="808518"/>
                  </a:lnTo>
                  <a:lnTo>
                    <a:pt x="1092957" y="810473"/>
                  </a:lnTo>
                  <a:lnTo>
                    <a:pt x="1097845" y="816989"/>
                  </a:lnTo>
                  <a:lnTo>
                    <a:pt x="1097519" y="822365"/>
                  </a:lnTo>
                  <a:lnTo>
                    <a:pt x="1103058" y="826601"/>
                  </a:lnTo>
                  <a:lnTo>
                    <a:pt x="1113484" y="826601"/>
                  </a:lnTo>
                  <a:cubicBezTo>
                    <a:pt x="1113484" y="826601"/>
                    <a:pt x="1123747" y="837516"/>
                    <a:pt x="1123747" y="837516"/>
                  </a:cubicBezTo>
                  <a:lnTo>
                    <a:pt x="1122770" y="833769"/>
                  </a:lnTo>
                  <a:lnTo>
                    <a:pt x="1122770" y="826601"/>
                  </a:lnTo>
                  <a:cubicBezTo>
                    <a:pt x="1122770" y="826601"/>
                    <a:pt x="1130753" y="818456"/>
                    <a:pt x="1130753" y="818456"/>
                  </a:cubicBezTo>
                  <a:lnTo>
                    <a:pt x="1136291" y="818456"/>
                  </a:lnTo>
                  <a:cubicBezTo>
                    <a:pt x="1136291" y="818456"/>
                    <a:pt x="1147369" y="826927"/>
                    <a:pt x="1147369" y="826927"/>
                  </a:cubicBezTo>
                  <a:lnTo>
                    <a:pt x="1155026" y="826927"/>
                  </a:lnTo>
                  <a:lnTo>
                    <a:pt x="1159099" y="831977"/>
                  </a:lnTo>
                  <a:lnTo>
                    <a:pt x="1161542" y="841426"/>
                  </a:lnTo>
                  <a:lnTo>
                    <a:pt x="1160402" y="831162"/>
                  </a:lnTo>
                  <a:lnTo>
                    <a:pt x="1157307" y="824646"/>
                  </a:lnTo>
                  <a:lnTo>
                    <a:pt x="1152582" y="824646"/>
                  </a:lnTo>
                  <a:cubicBezTo>
                    <a:pt x="1152582" y="824646"/>
                    <a:pt x="1145577" y="821877"/>
                    <a:pt x="1145577" y="821877"/>
                  </a:cubicBezTo>
                  <a:lnTo>
                    <a:pt x="1135965" y="815523"/>
                  </a:lnTo>
                  <a:lnTo>
                    <a:pt x="1127657" y="817152"/>
                  </a:lnTo>
                  <a:lnTo>
                    <a:pt x="1119349" y="823669"/>
                  </a:lnTo>
                  <a:lnTo>
                    <a:pt x="1115439" y="822365"/>
                  </a:lnTo>
                  <a:lnTo>
                    <a:pt x="1114462" y="823343"/>
                  </a:lnTo>
                  <a:lnTo>
                    <a:pt x="1105501" y="819596"/>
                  </a:lnTo>
                  <a:lnTo>
                    <a:pt x="1096053" y="809333"/>
                  </a:lnTo>
                  <a:lnTo>
                    <a:pt x="1091003" y="805586"/>
                  </a:lnTo>
                  <a:lnTo>
                    <a:pt x="1082205" y="804771"/>
                  </a:lnTo>
                  <a:lnTo>
                    <a:pt x="1077318" y="797277"/>
                  </a:lnTo>
                  <a:lnTo>
                    <a:pt x="1081391" y="798744"/>
                  </a:lnTo>
                  <a:lnTo>
                    <a:pt x="1084486" y="798092"/>
                  </a:lnTo>
                  <a:lnTo>
                    <a:pt x="1090351" y="786851"/>
                  </a:lnTo>
                  <a:lnTo>
                    <a:pt x="1088396" y="781638"/>
                  </a:lnTo>
                  <a:lnTo>
                    <a:pt x="1081391" y="775448"/>
                  </a:lnTo>
                  <a:lnTo>
                    <a:pt x="1078296" y="764044"/>
                  </a:lnTo>
                  <a:lnTo>
                    <a:pt x="1070150" y="752314"/>
                  </a:lnTo>
                  <a:lnTo>
                    <a:pt x="1065100" y="748893"/>
                  </a:lnTo>
                  <a:lnTo>
                    <a:pt x="1059561" y="741888"/>
                  </a:lnTo>
                  <a:lnTo>
                    <a:pt x="1060864" y="735861"/>
                  </a:lnTo>
                  <a:lnTo>
                    <a:pt x="1059072" y="730485"/>
                  </a:lnTo>
                  <a:lnTo>
                    <a:pt x="1057769" y="717289"/>
                  </a:lnTo>
                  <a:lnTo>
                    <a:pt x="1052556" y="711098"/>
                  </a:lnTo>
                  <a:lnTo>
                    <a:pt x="1049135" y="711098"/>
                  </a:lnTo>
                  <a:lnTo>
                    <a:pt x="1040175" y="705234"/>
                  </a:lnTo>
                  <a:lnTo>
                    <a:pt x="1026816" y="704908"/>
                  </a:lnTo>
                  <a:lnTo>
                    <a:pt x="1022744" y="697740"/>
                  </a:lnTo>
                  <a:lnTo>
                    <a:pt x="1015087" y="693667"/>
                  </a:lnTo>
                  <a:lnTo>
                    <a:pt x="1015087" y="687151"/>
                  </a:lnTo>
                  <a:cubicBezTo>
                    <a:pt x="1015087" y="687151"/>
                    <a:pt x="1012969" y="682915"/>
                    <a:pt x="1012969" y="682915"/>
                  </a:cubicBezTo>
                  <a:lnTo>
                    <a:pt x="1012969" y="679005"/>
                  </a:lnTo>
                  <a:lnTo>
                    <a:pt x="1006778" y="682915"/>
                  </a:lnTo>
                  <a:lnTo>
                    <a:pt x="989184" y="682101"/>
                  </a:lnTo>
                  <a:lnTo>
                    <a:pt x="983157" y="682752"/>
                  </a:lnTo>
                  <a:lnTo>
                    <a:pt x="975826" y="677865"/>
                  </a:lnTo>
                  <a:lnTo>
                    <a:pt x="974848" y="670860"/>
                  </a:lnTo>
                  <a:lnTo>
                    <a:pt x="972567" y="670860"/>
                  </a:lnTo>
                  <a:lnTo>
                    <a:pt x="970450" y="666624"/>
                  </a:lnTo>
                  <a:lnTo>
                    <a:pt x="971101" y="657501"/>
                  </a:lnTo>
                  <a:lnTo>
                    <a:pt x="964585" y="645935"/>
                  </a:lnTo>
                  <a:lnTo>
                    <a:pt x="955462" y="640559"/>
                  </a:lnTo>
                  <a:lnTo>
                    <a:pt x="957417" y="636649"/>
                  </a:lnTo>
                  <a:lnTo>
                    <a:pt x="956276" y="633554"/>
                  </a:lnTo>
                  <a:lnTo>
                    <a:pt x="952204" y="633554"/>
                  </a:lnTo>
                  <a:cubicBezTo>
                    <a:pt x="952204" y="633554"/>
                    <a:pt x="949108" y="630133"/>
                    <a:pt x="949108" y="630133"/>
                  </a:cubicBezTo>
                  <a:lnTo>
                    <a:pt x="950575" y="624919"/>
                  </a:lnTo>
                  <a:lnTo>
                    <a:pt x="950575" y="619381"/>
                  </a:lnTo>
                  <a:cubicBezTo>
                    <a:pt x="950575" y="619381"/>
                    <a:pt x="944710" y="614656"/>
                    <a:pt x="944710" y="614656"/>
                  </a:cubicBezTo>
                  <a:lnTo>
                    <a:pt x="948620" y="611561"/>
                  </a:lnTo>
                  <a:lnTo>
                    <a:pt x="955788" y="611561"/>
                  </a:lnTo>
                  <a:cubicBezTo>
                    <a:pt x="955788" y="611561"/>
                    <a:pt x="962141" y="605045"/>
                    <a:pt x="962141" y="605045"/>
                  </a:cubicBezTo>
                  <a:lnTo>
                    <a:pt x="968332" y="605045"/>
                  </a:lnTo>
                  <a:lnTo>
                    <a:pt x="982179" y="601949"/>
                  </a:lnTo>
                  <a:lnTo>
                    <a:pt x="1001728" y="594781"/>
                  </a:lnTo>
                  <a:lnTo>
                    <a:pt x="1009059" y="588428"/>
                  </a:lnTo>
                  <a:lnTo>
                    <a:pt x="1015250" y="587125"/>
                  </a:lnTo>
                  <a:lnTo>
                    <a:pt x="1020300" y="589079"/>
                  </a:lnTo>
                  <a:lnTo>
                    <a:pt x="1026490" y="586636"/>
                  </a:lnTo>
                  <a:lnTo>
                    <a:pt x="1029260" y="580445"/>
                  </a:lnTo>
                  <a:lnTo>
                    <a:pt x="1038546" y="577024"/>
                  </a:lnTo>
                  <a:lnTo>
                    <a:pt x="1056303" y="569530"/>
                  </a:lnTo>
                  <a:lnTo>
                    <a:pt x="1058095" y="571648"/>
                  </a:lnTo>
                  <a:lnTo>
                    <a:pt x="1055162" y="577024"/>
                  </a:lnTo>
                  <a:lnTo>
                    <a:pt x="1055814" y="580934"/>
                  </a:lnTo>
                  <a:lnTo>
                    <a:pt x="1051905" y="583704"/>
                  </a:lnTo>
                  <a:lnTo>
                    <a:pt x="1047017" y="594130"/>
                  </a:lnTo>
                  <a:lnTo>
                    <a:pt x="1047017" y="599669"/>
                  </a:lnTo>
                  <a:cubicBezTo>
                    <a:pt x="1047017" y="599669"/>
                    <a:pt x="1057932" y="608140"/>
                    <a:pt x="1057932" y="608140"/>
                  </a:cubicBezTo>
                  <a:lnTo>
                    <a:pt x="1067381" y="608140"/>
                  </a:lnTo>
                  <a:cubicBezTo>
                    <a:pt x="1067381" y="608140"/>
                    <a:pt x="1061842" y="605370"/>
                    <a:pt x="1061842" y="605370"/>
                  </a:cubicBezTo>
                  <a:lnTo>
                    <a:pt x="1052882" y="596410"/>
                  </a:lnTo>
                  <a:lnTo>
                    <a:pt x="1052882" y="592989"/>
                  </a:lnTo>
                  <a:cubicBezTo>
                    <a:pt x="1052882" y="592989"/>
                    <a:pt x="1056792" y="587450"/>
                    <a:pt x="1056792" y="587450"/>
                  </a:cubicBezTo>
                  <a:lnTo>
                    <a:pt x="1067055" y="581260"/>
                  </a:lnTo>
                  <a:lnTo>
                    <a:pt x="1070802" y="571974"/>
                  </a:lnTo>
                  <a:lnTo>
                    <a:pt x="1067055" y="564643"/>
                  </a:lnTo>
                  <a:lnTo>
                    <a:pt x="1060864" y="564643"/>
                  </a:lnTo>
                  <a:lnTo>
                    <a:pt x="1053533" y="559593"/>
                  </a:lnTo>
                  <a:lnTo>
                    <a:pt x="1055162" y="555194"/>
                  </a:lnTo>
                  <a:lnTo>
                    <a:pt x="1047180" y="554869"/>
                  </a:lnTo>
                  <a:lnTo>
                    <a:pt x="1044736" y="557964"/>
                  </a:lnTo>
                  <a:lnTo>
                    <a:pt x="1041641" y="555520"/>
                  </a:lnTo>
                  <a:lnTo>
                    <a:pt x="1039198" y="548515"/>
                  </a:lnTo>
                  <a:lnTo>
                    <a:pt x="1030726" y="548841"/>
                  </a:lnTo>
                  <a:lnTo>
                    <a:pt x="1026653" y="550633"/>
                  </a:lnTo>
                  <a:lnTo>
                    <a:pt x="1020626" y="543465"/>
                  </a:lnTo>
                  <a:lnTo>
                    <a:pt x="1023069" y="541673"/>
                  </a:lnTo>
                  <a:lnTo>
                    <a:pt x="1023884" y="537600"/>
                  </a:lnTo>
                  <a:lnTo>
                    <a:pt x="1026816" y="535971"/>
                  </a:lnTo>
                  <a:lnTo>
                    <a:pt x="1031703" y="540370"/>
                  </a:lnTo>
                  <a:lnTo>
                    <a:pt x="1037894" y="540370"/>
                  </a:lnTo>
                  <a:cubicBezTo>
                    <a:pt x="1037894" y="540370"/>
                    <a:pt x="1043107" y="537437"/>
                    <a:pt x="1043107" y="537437"/>
                  </a:cubicBezTo>
                  <a:lnTo>
                    <a:pt x="1041152" y="534342"/>
                  </a:lnTo>
                  <a:lnTo>
                    <a:pt x="1038383" y="535645"/>
                  </a:lnTo>
                  <a:lnTo>
                    <a:pt x="1033496" y="536949"/>
                  </a:lnTo>
                  <a:lnTo>
                    <a:pt x="1028446" y="533039"/>
                  </a:lnTo>
                  <a:lnTo>
                    <a:pt x="1027468" y="528151"/>
                  </a:lnTo>
                  <a:lnTo>
                    <a:pt x="1021603" y="527337"/>
                  </a:lnTo>
                  <a:lnTo>
                    <a:pt x="1013458" y="524893"/>
                  </a:lnTo>
                  <a:lnTo>
                    <a:pt x="1008408" y="527174"/>
                  </a:lnTo>
                  <a:lnTo>
                    <a:pt x="1005149" y="521961"/>
                  </a:lnTo>
                  <a:lnTo>
                    <a:pt x="1008082" y="518703"/>
                  </a:lnTo>
                  <a:lnTo>
                    <a:pt x="1007756" y="514141"/>
                  </a:lnTo>
                  <a:lnTo>
                    <a:pt x="1004498" y="511046"/>
                  </a:lnTo>
                  <a:lnTo>
                    <a:pt x="1005638" y="509091"/>
                  </a:lnTo>
                  <a:lnTo>
                    <a:pt x="1009385" y="509906"/>
                  </a:lnTo>
                  <a:lnTo>
                    <a:pt x="1014761" y="517399"/>
                  </a:lnTo>
                  <a:lnTo>
                    <a:pt x="1019485" y="516096"/>
                  </a:lnTo>
                  <a:lnTo>
                    <a:pt x="1025024" y="524079"/>
                  </a:lnTo>
                  <a:lnTo>
                    <a:pt x="1025839" y="519191"/>
                  </a:lnTo>
                  <a:lnTo>
                    <a:pt x="1024862" y="515445"/>
                  </a:lnTo>
                  <a:lnTo>
                    <a:pt x="1029423" y="512186"/>
                  </a:lnTo>
                  <a:lnTo>
                    <a:pt x="1030400" y="501923"/>
                  </a:lnTo>
                  <a:lnTo>
                    <a:pt x="1026490" y="498828"/>
                  </a:lnTo>
                  <a:lnTo>
                    <a:pt x="1027631" y="496873"/>
                  </a:lnTo>
                  <a:lnTo>
                    <a:pt x="1032844" y="497850"/>
                  </a:lnTo>
                  <a:lnTo>
                    <a:pt x="1035614" y="493941"/>
                  </a:lnTo>
                  <a:lnTo>
                    <a:pt x="1023558" y="491008"/>
                  </a:lnTo>
                  <a:lnTo>
                    <a:pt x="1021114" y="494429"/>
                  </a:lnTo>
                  <a:lnTo>
                    <a:pt x="1017205" y="494429"/>
                  </a:lnTo>
                  <a:cubicBezTo>
                    <a:pt x="1017205" y="494429"/>
                    <a:pt x="1017367" y="489216"/>
                    <a:pt x="1017367" y="489216"/>
                  </a:cubicBezTo>
                  <a:lnTo>
                    <a:pt x="1022255" y="485143"/>
                  </a:lnTo>
                  <a:lnTo>
                    <a:pt x="1030889" y="484818"/>
                  </a:lnTo>
                  <a:lnTo>
                    <a:pt x="1037242" y="482700"/>
                  </a:lnTo>
                  <a:lnTo>
                    <a:pt x="1036428" y="478138"/>
                  </a:lnTo>
                  <a:lnTo>
                    <a:pt x="1041478" y="472599"/>
                  </a:lnTo>
                  <a:lnTo>
                    <a:pt x="1041478" y="467712"/>
                  </a:lnTo>
                  <a:lnTo>
                    <a:pt x="1043270" y="465757"/>
                  </a:lnTo>
                  <a:lnTo>
                    <a:pt x="1042456" y="463314"/>
                  </a:lnTo>
                  <a:lnTo>
                    <a:pt x="1047343" y="456309"/>
                  </a:lnTo>
                  <a:lnTo>
                    <a:pt x="1049298" y="456309"/>
                  </a:lnTo>
                  <a:lnTo>
                    <a:pt x="1051578" y="459730"/>
                  </a:lnTo>
                  <a:lnTo>
                    <a:pt x="1054348" y="458426"/>
                  </a:lnTo>
                  <a:lnTo>
                    <a:pt x="1055814" y="453865"/>
                  </a:lnTo>
                  <a:lnTo>
                    <a:pt x="1057932" y="453865"/>
                  </a:lnTo>
                  <a:cubicBezTo>
                    <a:pt x="1057932" y="453865"/>
                    <a:pt x="1054837" y="449141"/>
                    <a:pt x="1054837" y="449141"/>
                  </a:cubicBezTo>
                  <a:lnTo>
                    <a:pt x="1056792" y="446208"/>
                  </a:lnTo>
                  <a:lnTo>
                    <a:pt x="1063308" y="444090"/>
                  </a:lnTo>
                  <a:lnTo>
                    <a:pt x="1066240" y="442787"/>
                  </a:lnTo>
                  <a:lnTo>
                    <a:pt x="1067544" y="438063"/>
                  </a:lnTo>
                  <a:lnTo>
                    <a:pt x="1070313" y="437411"/>
                  </a:lnTo>
                  <a:lnTo>
                    <a:pt x="1075037" y="439366"/>
                  </a:lnTo>
                  <a:lnTo>
                    <a:pt x="1083672" y="437411"/>
                  </a:lnTo>
                  <a:lnTo>
                    <a:pt x="1081717" y="434316"/>
                  </a:lnTo>
                  <a:lnTo>
                    <a:pt x="1082531" y="430243"/>
                  </a:lnTo>
                  <a:lnTo>
                    <a:pt x="1093772" y="428451"/>
                  </a:lnTo>
                  <a:lnTo>
                    <a:pt x="1099962" y="424704"/>
                  </a:lnTo>
                  <a:lnTo>
                    <a:pt x="1102406" y="419328"/>
                  </a:lnTo>
                  <a:lnTo>
                    <a:pt x="1116742" y="413301"/>
                  </a:lnTo>
                  <a:lnTo>
                    <a:pt x="1117883" y="408250"/>
                  </a:lnTo>
                  <a:lnTo>
                    <a:pt x="1114787" y="407436"/>
                  </a:lnTo>
                  <a:lnTo>
                    <a:pt x="1106153" y="412812"/>
                  </a:lnTo>
                  <a:lnTo>
                    <a:pt x="1103221" y="409879"/>
                  </a:lnTo>
                  <a:lnTo>
                    <a:pt x="1097356" y="415744"/>
                  </a:lnTo>
                  <a:lnTo>
                    <a:pt x="1094261" y="412649"/>
                  </a:lnTo>
                  <a:lnTo>
                    <a:pt x="1094261" y="401408"/>
                  </a:lnTo>
                  <a:cubicBezTo>
                    <a:pt x="1094261" y="401408"/>
                    <a:pt x="1097356" y="399453"/>
                    <a:pt x="1097356" y="399453"/>
                  </a:cubicBezTo>
                  <a:lnTo>
                    <a:pt x="1099474" y="394729"/>
                  </a:lnTo>
                  <a:lnTo>
                    <a:pt x="1101429" y="395543"/>
                  </a:lnTo>
                  <a:lnTo>
                    <a:pt x="1102243" y="397987"/>
                  </a:lnTo>
                  <a:lnTo>
                    <a:pt x="1104035" y="398965"/>
                  </a:lnTo>
                  <a:lnTo>
                    <a:pt x="1107945" y="395055"/>
                  </a:lnTo>
                  <a:lnTo>
                    <a:pt x="1102080" y="389679"/>
                  </a:lnTo>
                  <a:lnTo>
                    <a:pt x="1108597" y="388701"/>
                  </a:lnTo>
                  <a:lnTo>
                    <a:pt x="1112996" y="391634"/>
                  </a:lnTo>
                  <a:lnTo>
                    <a:pt x="1117394" y="392611"/>
                  </a:lnTo>
                  <a:lnTo>
                    <a:pt x="1124725" y="387235"/>
                  </a:lnTo>
                  <a:lnTo>
                    <a:pt x="1129775" y="389027"/>
                  </a:lnTo>
                  <a:lnTo>
                    <a:pt x="1143296" y="384140"/>
                  </a:lnTo>
                  <a:lnTo>
                    <a:pt x="1148835" y="385117"/>
                  </a:lnTo>
                  <a:lnTo>
                    <a:pt x="1150953" y="389190"/>
                  </a:lnTo>
                  <a:lnTo>
                    <a:pt x="1145740" y="401245"/>
                  </a:lnTo>
                  <a:lnTo>
                    <a:pt x="1145740" y="404341"/>
                  </a:lnTo>
                  <a:lnTo>
                    <a:pt x="1151116" y="408250"/>
                  </a:lnTo>
                  <a:lnTo>
                    <a:pt x="1153071" y="400919"/>
                  </a:lnTo>
                  <a:lnTo>
                    <a:pt x="1157796" y="393100"/>
                  </a:lnTo>
                  <a:lnTo>
                    <a:pt x="1156655" y="388213"/>
                  </a:lnTo>
                  <a:lnTo>
                    <a:pt x="1157796" y="386095"/>
                  </a:lnTo>
                  <a:lnTo>
                    <a:pt x="1161868" y="390982"/>
                  </a:lnTo>
                  <a:lnTo>
                    <a:pt x="1162846" y="398965"/>
                  </a:lnTo>
                  <a:lnTo>
                    <a:pt x="1167081" y="398965"/>
                  </a:lnTo>
                  <a:lnTo>
                    <a:pt x="1169036" y="393426"/>
                  </a:lnTo>
                  <a:lnTo>
                    <a:pt x="1167081" y="388050"/>
                  </a:lnTo>
                  <a:lnTo>
                    <a:pt x="1170828" y="385117"/>
                  </a:lnTo>
                  <a:lnTo>
                    <a:pt x="1172946" y="385769"/>
                  </a:lnTo>
                  <a:lnTo>
                    <a:pt x="1173923" y="391145"/>
                  </a:lnTo>
                  <a:lnTo>
                    <a:pt x="1181417" y="385606"/>
                  </a:lnTo>
                  <a:lnTo>
                    <a:pt x="1182394" y="382511"/>
                  </a:lnTo>
                  <a:lnTo>
                    <a:pt x="1178974" y="378275"/>
                  </a:lnTo>
                  <a:lnTo>
                    <a:pt x="1184512" y="378275"/>
                  </a:lnTo>
                  <a:cubicBezTo>
                    <a:pt x="1184512" y="378275"/>
                    <a:pt x="1187445" y="375343"/>
                    <a:pt x="1187445" y="375343"/>
                  </a:cubicBezTo>
                  <a:lnTo>
                    <a:pt x="1182069" y="373388"/>
                  </a:lnTo>
                  <a:lnTo>
                    <a:pt x="1187933" y="367849"/>
                  </a:lnTo>
                  <a:lnTo>
                    <a:pt x="1194450" y="367523"/>
                  </a:lnTo>
                  <a:lnTo>
                    <a:pt x="1199337" y="364591"/>
                  </a:lnTo>
                  <a:lnTo>
                    <a:pt x="1202269" y="365731"/>
                  </a:lnTo>
                  <a:lnTo>
                    <a:pt x="1202269" y="368989"/>
                  </a:lnTo>
                  <a:cubicBezTo>
                    <a:pt x="1202269" y="368989"/>
                    <a:pt x="1204387" y="370293"/>
                    <a:pt x="1204387" y="370293"/>
                  </a:cubicBezTo>
                  <a:lnTo>
                    <a:pt x="1212370" y="370944"/>
                  </a:lnTo>
                  <a:lnTo>
                    <a:pt x="1212370" y="378275"/>
                  </a:lnTo>
                  <a:lnTo>
                    <a:pt x="1215302" y="381370"/>
                  </a:lnTo>
                  <a:lnTo>
                    <a:pt x="1211067" y="393100"/>
                  </a:lnTo>
                  <a:lnTo>
                    <a:pt x="1218235" y="389679"/>
                  </a:lnTo>
                  <a:lnTo>
                    <a:pt x="1223285" y="379090"/>
                  </a:lnTo>
                  <a:lnTo>
                    <a:pt x="1217420" y="368663"/>
                  </a:lnTo>
                  <a:lnTo>
                    <a:pt x="1210904" y="364591"/>
                  </a:lnTo>
                  <a:lnTo>
                    <a:pt x="1206016" y="357748"/>
                  </a:lnTo>
                  <a:lnTo>
                    <a:pt x="1200640" y="361170"/>
                  </a:lnTo>
                  <a:lnTo>
                    <a:pt x="1197545" y="358889"/>
                  </a:lnTo>
                  <a:lnTo>
                    <a:pt x="1191517" y="360029"/>
                  </a:lnTo>
                  <a:lnTo>
                    <a:pt x="1190377" y="355794"/>
                  </a:lnTo>
                  <a:lnTo>
                    <a:pt x="1185164" y="354002"/>
                  </a:lnTo>
                  <a:lnTo>
                    <a:pt x="1184187" y="352047"/>
                  </a:lnTo>
                  <a:lnTo>
                    <a:pt x="1187771" y="347974"/>
                  </a:lnTo>
                  <a:lnTo>
                    <a:pt x="1198197" y="347974"/>
                  </a:lnTo>
                  <a:cubicBezTo>
                    <a:pt x="1198197" y="347974"/>
                    <a:pt x="1201618" y="344227"/>
                    <a:pt x="1201618" y="344227"/>
                  </a:cubicBezTo>
                  <a:lnTo>
                    <a:pt x="1206342" y="344227"/>
                  </a:lnTo>
                  <a:lnTo>
                    <a:pt x="1211392" y="345367"/>
                  </a:lnTo>
                  <a:lnTo>
                    <a:pt x="1216442" y="343250"/>
                  </a:lnTo>
                  <a:lnTo>
                    <a:pt x="1219864" y="345530"/>
                  </a:lnTo>
                  <a:lnTo>
                    <a:pt x="1231430" y="340643"/>
                  </a:lnTo>
                  <a:lnTo>
                    <a:pt x="1237621" y="343738"/>
                  </a:lnTo>
                  <a:lnTo>
                    <a:pt x="1241531" y="343087"/>
                  </a:lnTo>
                  <a:lnTo>
                    <a:pt x="1245929" y="344064"/>
                  </a:lnTo>
                  <a:lnTo>
                    <a:pt x="1250165" y="340969"/>
                  </a:lnTo>
                  <a:lnTo>
                    <a:pt x="1248210" y="337874"/>
                  </a:lnTo>
                  <a:lnTo>
                    <a:pt x="1240064" y="337222"/>
                  </a:lnTo>
                  <a:lnTo>
                    <a:pt x="1232082" y="333964"/>
                  </a:lnTo>
                  <a:lnTo>
                    <a:pt x="1225728" y="336407"/>
                  </a:lnTo>
                  <a:lnTo>
                    <a:pt x="1216442" y="335593"/>
                  </a:lnTo>
                  <a:lnTo>
                    <a:pt x="1216442" y="331683"/>
                  </a:lnTo>
                  <a:lnTo>
                    <a:pt x="1214162" y="325492"/>
                  </a:lnTo>
                  <a:lnTo>
                    <a:pt x="1221493" y="320605"/>
                  </a:lnTo>
                  <a:lnTo>
                    <a:pt x="1214488" y="318976"/>
                  </a:lnTo>
                  <a:lnTo>
                    <a:pt x="1208623" y="311482"/>
                  </a:lnTo>
                  <a:lnTo>
                    <a:pt x="1203573" y="311808"/>
                  </a:lnTo>
                  <a:lnTo>
                    <a:pt x="1198685" y="305618"/>
                  </a:lnTo>
                  <a:lnTo>
                    <a:pt x="1197871" y="299427"/>
                  </a:lnTo>
                  <a:lnTo>
                    <a:pt x="1202596" y="299427"/>
                  </a:lnTo>
                  <a:lnTo>
                    <a:pt x="1202596" y="293399"/>
                  </a:lnTo>
                  <a:lnTo>
                    <a:pt x="1196405" y="287860"/>
                  </a:lnTo>
                  <a:lnTo>
                    <a:pt x="1197219" y="264239"/>
                  </a:lnTo>
                  <a:lnTo>
                    <a:pt x="1202596" y="257885"/>
                  </a:lnTo>
                  <a:lnTo>
                    <a:pt x="1200640" y="251695"/>
                  </a:lnTo>
                  <a:lnTo>
                    <a:pt x="1201781" y="243223"/>
                  </a:lnTo>
                  <a:lnTo>
                    <a:pt x="1206668" y="238336"/>
                  </a:lnTo>
                  <a:lnTo>
                    <a:pt x="1203410" y="233123"/>
                  </a:lnTo>
                  <a:lnTo>
                    <a:pt x="1207971" y="231820"/>
                  </a:lnTo>
                  <a:lnTo>
                    <a:pt x="1209112" y="227584"/>
                  </a:lnTo>
                  <a:lnTo>
                    <a:pt x="1216280" y="221394"/>
                  </a:lnTo>
                  <a:lnTo>
                    <a:pt x="1219701" y="221394"/>
                  </a:lnTo>
                  <a:cubicBezTo>
                    <a:pt x="1219701" y="221394"/>
                    <a:pt x="1225891" y="228724"/>
                    <a:pt x="1225891" y="228724"/>
                  </a:cubicBezTo>
                  <a:lnTo>
                    <a:pt x="1230779" y="223837"/>
                  </a:lnTo>
                  <a:lnTo>
                    <a:pt x="1235177" y="223837"/>
                  </a:lnTo>
                  <a:cubicBezTo>
                    <a:pt x="1235177" y="223837"/>
                    <a:pt x="1237947" y="231005"/>
                    <a:pt x="1237947" y="231005"/>
                  </a:cubicBezTo>
                  <a:lnTo>
                    <a:pt x="1244952" y="232146"/>
                  </a:lnTo>
                  <a:lnTo>
                    <a:pt x="1251794" y="226281"/>
                  </a:lnTo>
                  <a:lnTo>
                    <a:pt x="1254074" y="227095"/>
                  </a:lnTo>
                  <a:lnTo>
                    <a:pt x="1254726" y="234426"/>
                  </a:lnTo>
                  <a:lnTo>
                    <a:pt x="1256681" y="236707"/>
                  </a:lnTo>
                  <a:lnTo>
                    <a:pt x="1264338" y="238662"/>
                  </a:lnTo>
                  <a:lnTo>
                    <a:pt x="1264990" y="240780"/>
                  </a:lnTo>
                  <a:lnTo>
                    <a:pt x="1259939" y="243875"/>
                  </a:lnTo>
                  <a:lnTo>
                    <a:pt x="1259939" y="246156"/>
                  </a:lnTo>
                  <a:cubicBezTo>
                    <a:pt x="1259939" y="246156"/>
                    <a:pt x="1257170" y="250554"/>
                    <a:pt x="1257170" y="250554"/>
                  </a:cubicBezTo>
                  <a:lnTo>
                    <a:pt x="1258799" y="255930"/>
                  </a:lnTo>
                  <a:lnTo>
                    <a:pt x="1253423" y="264239"/>
                  </a:lnTo>
                  <a:lnTo>
                    <a:pt x="1247884" y="265379"/>
                  </a:lnTo>
                  <a:lnTo>
                    <a:pt x="1243812" y="272221"/>
                  </a:lnTo>
                  <a:lnTo>
                    <a:pt x="1247884" y="273362"/>
                  </a:lnTo>
                  <a:lnTo>
                    <a:pt x="1259614" y="268637"/>
                  </a:lnTo>
                  <a:lnTo>
                    <a:pt x="1267922" y="256256"/>
                  </a:lnTo>
                  <a:lnTo>
                    <a:pt x="1271669" y="257071"/>
                  </a:lnTo>
                  <a:lnTo>
                    <a:pt x="1271669" y="260818"/>
                  </a:lnTo>
                  <a:cubicBezTo>
                    <a:pt x="1271669" y="260818"/>
                    <a:pt x="1268248" y="266031"/>
                    <a:pt x="1268248" y="266031"/>
                  </a:cubicBezTo>
                  <a:lnTo>
                    <a:pt x="1268574" y="269778"/>
                  </a:lnTo>
                  <a:lnTo>
                    <a:pt x="1273461" y="269778"/>
                  </a:lnTo>
                  <a:lnTo>
                    <a:pt x="1277859" y="262935"/>
                  </a:lnTo>
                  <a:lnTo>
                    <a:pt x="1282910" y="260166"/>
                  </a:lnTo>
                  <a:lnTo>
                    <a:pt x="1285353" y="262447"/>
                  </a:lnTo>
                  <a:lnTo>
                    <a:pt x="1291707" y="261795"/>
                  </a:lnTo>
                  <a:lnTo>
                    <a:pt x="1293010" y="255930"/>
                  </a:lnTo>
                  <a:lnTo>
                    <a:pt x="1295780" y="255604"/>
                  </a:lnTo>
                  <a:lnTo>
                    <a:pt x="1299201" y="257885"/>
                  </a:lnTo>
                  <a:lnTo>
                    <a:pt x="1303273" y="255604"/>
                  </a:lnTo>
                  <a:lnTo>
                    <a:pt x="1309953" y="262284"/>
                  </a:lnTo>
                  <a:lnTo>
                    <a:pt x="1309953" y="267334"/>
                  </a:lnTo>
                  <a:lnTo>
                    <a:pt x="1313048" y="274991"/>
                  </a:lnTo>
                  <a:lnTo>
                    <a:pt x="1311093" y="278086"/>
                  </a:lnTo>
                  <a:lnTo>
                    <a:pt x="1311093" y="282973"/>
                  </a:lnTo>
                  <a:cubicBezTo>
                    <a:pt x="1311093" y="282973"/>
                    <a:pt x="1307346" y="290304"/>
                    <a:pt x="1307346" y="290304"/>
                  </a:cubicBezTo>
                  <a:lnTo>
                    <a:pt x="1313537" y="300567"/>
                  </a:lnTo>
                  <a:lnTo>
                    <a:pt x="1312885" y="306432"/>
                  </a:lnTo>
                  <a:lnTo>
                    <a:pt x="1308812" y="308061"/>
                  </a:lnTo>
                  <a:lnTo>
                    <a:pt x="1304576" y="311482"/>
                  </a:lnTo>
                  <a:lnTo>
                    <a:pt x="1307998" y="312297"/>
                  </a:lnTo>
                  <a:lnTo>
                    <a:pt x="1317935" y="310016"/>
                  </a:lnTo>
                  <a:lnTo>
                    <a:pt x="1323963" y="303988"/>
                  </a:lnTo>
                  <a:lnTo>
                    <a:pt x="1331619" y="303663"/>
                  </a:lnTo>
                  <a:lnTo>
                    <a:pt x="1335040" y="296495"/>
                  </a:lnTo>
                  <a:lnTo>
                    <a:pt x="1334389" y="287372"/>
                  </a:lnTo>
                  <a:lnTo>
                    <a:pt x="1331782" y="280367"/>
                  </a:lnTo>
                  <a:lnTo>
                    <a:pt x="1329013" y="280855"/>
                  </a:lnTo>
                  <a:lnTo>
                    <a:pt x="1325103" y="279389"/>
                  </a:lnTo>
                  <a:lnTo>
                    <a:pt x="1324777" y="274176"/>
                  </a:lnTo>
                  <a:lnTo>
                    <a:pt x="1327058" y="272384"/>
                  </a:lnTo>
                  <a:lnTo>
                    <a:pt x="1330805" y="272384"/>
                  </a:lnTo>
                  <a:lnTo>
                    <a:pt x="1333248" y="274176"/>
                  </a:lnTo>
                  <a:lnTo>
                    <a:pt x="1336669" y="272873"/>
                  </a:lnTo>
                  <a:lnTo>
                    <a:pt x="1345304" y="270592"/>
                  </a:lnTo>
                  <a:lnTo>
                    <a:pt x="1351657" y="263913"/>
                  </a:lnTo>
                  <a:lnTo>
                    <a:pt x="1355241" y="264727"/>
                  </a:lnTo>
                  <a:lnTo>
                    <a:pt x="1362246" y="264727"/>
                  </a:lnTo>
                  <a:lnTo>
                    <a:pt x="1364038" y="259677"/>
                  </a:lnTo>
                  <a:lnTo>
                    <a:pt x="1368600" y="255442"/>
                  </a:lnTo>
                  <a:lnTo>
                    <a:pt x="1370392" y="256582"/>
                  </a:lnTo>
                  <a:lnTo>
                    <a:pt x="1374301" y="252672"/>
                  </a:lnTo>
                  <a:lnTo>
                    <a:pt x="1379515" y="251532"/>
                  </a:lnTo>
                  <a:lnTo>
                    <a:pt x="1381633" y="253487"/>
                  </a:lnTo>
                  <a:lnTo>
                    <a:pt x="1387008" y="252346"/>
                  </a:lnTo>
                  <a:lnTo>
                    <a:pt x="1387823" y="255604"/>
                  </a:lnTo>
                  <a:lnTo>
                    <a:pt x="1386031" y="258374"/>
                  </a:lnTo>
                  <a:lnTo>
                    <a:pt x="1387008" y="262447"/>
                  </a:lnTo>
                  <a:lnTo>
                    <a:pt x="1398249" y="261632"/>
                  </a:lnTo>
                  <a:lnTo>
                    <a:pt x="1399553" y="263098"/>
                  </a:lnTo>
                  <a:lnTo>
                    <a:pt x="1404603" y="264890"/>
                  </a:lnTo>
                  <a:lnTo>
                    <a:pt x="1423826" y="275968"/>
                  </a:lnTo>
                  <a:lnTo>
                    <a:pt x="1428224" y="276946"/>
                  </a:lnTo>
                  <a:lnTo>
                    <a:pt x="1430994" y="282322"/>
                  </a:lnTo>
                  <a:lnTo>
                    <a:pt x="1430668" y="286068"/>
                  </a:lnTo>
                  <a:lnTo>
                    <a:pt x="1439465" y="296332"/>
                  </a:lnTo>
                  <a:lnTo>
                    <a:pt x="1441746" y="295191"/>
                  </a:lnTo>
                  <a:lnTo>
                    <a:pt x="1441746" y="291444"/>
                  </a:lnTo>
                  <a:cubicBezTo>
                    <a:pt x="1441746" y="291444"/>
                    <a:pt x="1444841" y="289490"/>
                    <a:pt x="1444841" y="289490"/>
                  </a:cubicBezTo>
                  <a:lnTo>
                    <a:pt x="1445656" y="286720"/>
                  </a:lnTo>
                  <a:lnTo>
                    <a:pt x="1442398" y="284439"/>
                  </a:lnTo>
                  <a:lnTo>
                    <a:pt x="1437836" y="284114"/>
                  </a:lnTo>
                  <a:lnTo>
                    <a:pt x="1437836" y="279226"/>
                  </a:lnTo>
                  <a:cubicBezTo>
                    <a:pt x="1437836" y="279226"/>
                    <a:pt x="1441909" y="276294"/>
                    <a:pt x="1441909" y="276294"/>
                  </a:cubicBezTo>
                  <a:lnTo>
                    <a:pt x="1445330" y="276294"/>
                  </a:lnTo>
                  <a:cubicBezTo>
                    <a:pt x="1445330" y="276294"/>
                    <a:pt x="1448099" y="280367"/>
                    <a:pt x="1448099" y="280367"/>
                  </a:cubicBezTo>
                  <a:lnTo>
                    <a:pt x="1452009" y="283788"/>
                  </a:lnTo>
                  <a:lnTo>
                    <a:pt x="1452009" y="288186"/>
                  </a:lnTo>
                  <a:lnTo>
                    <a:pt x="1459340" y="294866"/>
                  </a:lnTo>
                  <a:lnTo>
                    <a:pt x="1460481" y="300404"/>
                  </a:lnTo>
                  <a:lnTo>
                    <a:pt x="1463901" y="301871"/>
                  </a:lnTo>
                  <a:lnTo>
                    <a:pt x="1466671" y="300079"/>
                  </a:lnTo>
                  <a:lnTo>
                    <a:pt x="1468626" y="299753"/>
                  </a:lnTo>
                  <a:lnTo>
                    <a:pt x="1471884" y="301871"/>
                  </a:lnTo>
                  <a:lnTo>
                    <a:pt x="1475305" y="306758"/>
                  </a:lnTo>
                  <a:lnTo>
                    <a:pt x="1475957" y="311645"/>
                  </a:lnTo>
                  <a:lnTo>
                    <a:pt x="1480030" y="317021"/>
                  </a:lnTo>
                  <a:lnTo>
                    <a:pt x="1479378" y="320931"/>
                  </a:lnTo>
                  <a:lnTo>
                    <a:pt x="1477423" y="320605"/>
                  </a:lnTo>
                  <a:lnTo>
                    <a:pt x="1476771" y="317836"/>
                  </a:lnTo>
                  <a:lnTo>
                    <a:pt x="1474654" y="314903"/>
                  </a:lnTo>
                  <a:lnTo>
                    <a:pt x="1472699" y="314903"/>
                  </a:lnTo>
                  <a:cubicBezTo>
                    <a:pt x="1472699" y="314903"/>
                    <a:pt x="1470418" y="317673"/>
                    <a:pt x="1470418" y="317673"/>
                  </a:cubicBezTo>
                  <a:lnTo>
                    <a:pt x="1466345" y="313926"/>
                  </a:lnTo>
                  <a:lnTo>
                    <a:pt x="1457548" y="310505"/>
                  </a:lnTo>
                  <a:lnTo>
                    <a:pt x="1450706" y="310831"/>
                  </a:lnTo>
                  <a:lnTo>
                    <a:pt x="1449565" y="312297"/>
                  </a:lnTo>
                  <a:lnTo>
                    <a:pt x="1452987" y="316858"/>
                  </a:lnTo>
                  <a:lnTo>
                    <a:pt x="1459666" y="317673"/>
                  </a:lnTo>
                  <a:lnTo>
                    <a:pt x="1462110" y="319465"/>
                  </a:lnTo>
                  <a:lnTo>
                    <a:pt x="1460969" y="320931"/>
                  </a:lnTo>
                  <a:lnTo>
                    <a:pt x="1464065" y="326959"/>
                  </a:lnTo>
                  <a:lnTo>
                    <a:pt x="1466834" y="328914"/>
                  </a:lnTo>
                  <a:lnTo>
                    <a:pt x="1468952" y="327122"/>
                  </a:lnTo>
                  <a:lnTo>
                    <a:pt x="1471721" y="321257"/>
                  </a:lnTo>
                  <a:lnTo>
                    <a:pt x="1473187" y="321257"/>
                  </a:lnTo>
                  <a:lnTo>
                    <a:pt x="1475631" y="325167"/>
                  </a:lnTo>
                  <a:lnTo>
                    <a:pt x="1479215" y="327284"/>
                  </a:lnTo>
                  <a:lnTo>
                    <a:pt x="1481822" y="325818"/>
                  </a:lnTo>
                  <a:lnTo>
                    <a:pt x="1484754" y="326633"/>
                  </a:lnTo>
                  <a:lnTo>
                    <a:pt x="1485894" y="330217"/>
                  </a:lnTo>
                  <a:lnTo>
                    <a:pt x="1484428" y="332986"/>
                  </a:lnTo>
                  <a:lnTo>
                    <a:pt x="1488990" y="340969"/>
                  </a:lnTo>
                  <a:lnTo>
                    <a:pt x="1490781" y="349766"/>
                  </a:lnTo>
                  <a:lnTo>
                    <a:pt x="1490781" y="359541"/>
                  </a:lnTo>
                  <a:cubicBezTo>
                    <a:pt x="1490781" y="359541"/>
                    <a:pt x="1487035" y="367686"/>
                    <a:pt x="1487035" y="367686"/>
                  </a:cubicBezTo>
                  <a:lnTo>
                    <a:pt x="1484917" y="368500"/>
                  </a:lnTo>
                  <a:lnTo>
                    <a:pt x="1482962" y="372573"/>
                  </a:lnTo>
                  <a:lnTo>
                    <a:pt x="1484265" y="377460"/>
                  </a:lnTo>
                  <a:lnTo>
                    <a:pt x="1480355" y="383814"/>
                  </a:lnTo>
                  <a:lnTo>
                    <a:pt x="1480681" y="386258"/>
                  </a:lnTo>
                  <a:lnTo>
                    <a:pt x="1483939" y="389679"/>
                  </a:lnTo>
                  <a:lnTo>
                    <a:pt x="1484265" y="393751"/>
                  </a:lnTo>
                  <a:lnTo>
                    <a:pt x="1477749" y="396847"/>
                  </a:lnTo>
                  <a:lnTo>
                    <a:pt x="1475794" y="401897"/>
                  </a:lnTo>
                  <a:lnTo>
                    <a:pt x="1477097" y="404503"/>
                  </a:lnTo>
                  <a:lnTo>
                    <a:pt x="1473187" y="412649"/>
                  </a:lnTo>
                  <a:lnTo>
                    <a:pt x="1470255" y="416070"/>
                  </a:lnTo>
                  <a:lnTo>
                    <a:pt x="1471069" y="418839"/>
                  </a:lnTo>
                  <a:lnTo>
                    <a:pt x="1468789" y="423890"/>
                  </a:lnTo>
                  <a:lnTo>
                    <a:pt x="1464228" y="426170"/>
                  </a:lnTo>
                  <a:lnTo>
                    <a:pt x="1458200" y="431221"/>
                  </a:lnTo>
                  <a:lnTo>
                    <a:pt x="1452824" y="431221"/>
                  </a:lnTo>
                  <a:cubicBezTo>
                    <a:pt x="1452824" y="431221"/>
                    <a:pt x="1458689" y="433175"/>
                    <a:pt x="1458689" y="433175"/>
                  </a:cubicBezTo>
                  <a:lnTo>
                    <a:pt x="1462761" y="433175"/>
                  </a:lnTo>
                  <a:cubicBezTo>
                    <a:pt x="1462761" y="433175"/>
                    <a:pt x="1465856" y="429591"/>
                    <a:pt x="1465856" y="429591"/>
                  </a:cubicBezTo>
                  <a:lnTo>
                    <a:pt x="1467485" y="429591"/>
                  </a:lnTo>
                  <a:lnTo>
                    <a:pt x="1470255" y="436922"/>
                  </a:lnTo>
                  <a:lnTo>
                    <a:pt x="1466182" y="445557"/>
                  </a:lnTo>
                  <a:lnTo>
                    <a:pt x="1462272" y="451095"/>
                  </a:lnTo>
                  <a:lnTo>
                    <a:pt x="1459340" y="463314"/>
                  </a:lnTo>
                  <a:lnTo>
                    <a:pt x="1462110" y="468853"/>
                  </a:lnTo>
                  <a:lnTo>
                    <a:pt x="1462924" y="473088"/>
                  </a:lnTo>
                  <a:lnTo>
                    <a:pt x="1458363" y="484329"/>
                  </a:lnTo>
                  <a:lnTo>
                    <a:pt x="1451521" y="486773"/>
                  </a:lnTo>
                  <a:lnTo>
                    <a:pt x="1449565" y="485958"/>
                  </a:lnTo>
                  <a:lnTo>
                    <a:pt x="1446144" y="486447"/>
                  </a:lnTo>
                  <a:lnTo>
                    <a:pt x="1444353" y="489705"/>
                  </a:lnTo>
                  <a:lnTo>
                    <a:pt x="1445819" y="492637"/>
                  </a:lnTo>
                  <a:lnTo>
                    <a:pt x="1448751" y="502738"/>
                  </a:lnTo>
                  <a:lnTo>
                    <a:pt x="1446796" y="507299"/>
                  </a:lnTo>
                  <a:lnTo>
                    <a:pt x="1441746" y="510394"/>
                  </a:lnTo>
                  <a:lnTo>
                    <a:pt x="1439303" y="517237"/>
                  </a:lnTo>
                  <a:lnTo>
                    <a:pt x="1441746" y="524405"/>
                  </a:lnTo>
                  <a:lnTo>
                    <a:pt x="1442235" y="530595"/>
                  </a:lnTo>
                  <a:lnTo>
                    <a:pt x="1439954" y="533365"/>
                  </a:lnTo>
                  <a:lnTo>
                    <a:pt x="1440606" y="537437"/>
                  </a:lnTo>
                  <a:lnTo>
                    <a:pt x="1444027" y="539881"/>
                  </a:lnTo>
                  <a:lnTo>
                    <a:pt x="1440606" y="553402"/>
                  </a:lnTo>
                  <a:lnTo>
                    <a:pt x="1436533" y="556661"/>
                  </a:lnTo>
                  <a:lnTo>
                    <a:pt x="1435392" y="561385"/>
                  </a:lnTo>
                  <a:lnTo>
                    <a:pt x="1437185" y="558127"/>
                  </a:lnTo>
                  <a:lnTo>
                    <a:pt x="1442072" y="557801"/>
                  </a:lnTo>
                  <a:lnTo>
                    <a:pt x="1446959" y="552914"/>
                  </a:lnTo>
                  <a:lnTo>
                    <a:pt x="1449240" y="548189"/>
                  </a:lnTo>
                  <a:lnTo>
                    <a:pt x="1448099" y="546071"/>
                  </a:lnTo>
                  <a:lnTo>
                    <a:pt x="1449892" y="542650"/>
                  </a:lnTo>
                  <a:lnTo>
                    <a:pt x="1456571" y="542325"/>
                  </a:lnTo>
                  <a:lnTo>
                    <a:pt x="1460317" y="541184"/>
                  </a:lnTo>
                  <a:lnTo>
                    <a:pt x="1456408" y="540207"/>
                  </a:lnTo>
                  <a:lnTo>
                    <a:pt x="1447774" y="531247"/>
                  </a:lnTo>
                  <a:lnTo>
                    <a:pt x="1445330" y="524405"/>
                  </a:lnTo>
                  <a:lnTo>
                    <a:pt x="1448262" y="518866"/>
                  </a:lnTo>
                  <a:lnTo>
                    <a:pt x="1456896" y="518051"/>
                  </a:lnTo>
                  <a:lnTo>
                    <a:pt x="1466019" y="516911"/>
                  </a:lnTo>
                  <a:lnTo>
                    <a:pt x="1473513" y="510394"/>
                  </a:lnTo>
                  <a:lnTo>
                    <a:pt x="1477423" y="510394"/>
                  </a:lnTo>
                  <a:cubicBezTo>
                    <a:pt x="1477423" y="510394"/>
                    <a:pt x="1480355" y="507625"/>
                    <a:pt x="1480355" y="507625"/>
                  </a:cubicBezTo>
                  <a:lnTo>
                    <a:pt x="1477423" y="503389"/>
                  </a:lnTo>
                  <a:lnTo>
                    <a:pt x="1484917" y="497362"/>
                  </a:lnTo>
                  <a:lnTo>
                    <a:pt x="1488664" y="491334"/>
                  </a:lnTo>
                  <a:lnTo>
                    <a:pt x="1485894" y="485958"/>
                  </a:lnTo>
                  <a:lnTo>
                    <a:pt x="1485894" y="484003"/>
                  </a:lnTo>
                  <a:cubicBezTo>
                    <a:pt x="1485894" y="484003"/>
                    <a:pt x="1491108" y="487098"/>
                    <a:pt x="1491108" y="487098"/>
                  </a:cubicBezTo>
                  <a:lnTo>
                    <a:pt x="1497298" y="485143"/>
                  </a:lnTo>
                  <a:lnTo>
                    <a:pt x="1501045" y="479605"/>
                  </a:lnTo>
                  <a:lnTo>
                    <a:pt x="1498112" y="475695"/>
                  </a:lnTo>
                  <a:lnTo>
                    <a:pt x="1507561" y="468527"/>
                  </a:lnTo>
                  <a:lnTo>
                    <a:pt x="1508213" y="462988"/>
                  </a:lnTo>
                  <a:lnTo>
                    <a:pt x="1506095" y="459078"/>
                  </a:lnTo>
                  <a:lnTo>
                    <a:pt x="1496646" y="464454"/>
                  </a:lnTo>
                  <a:lnTo>
                    <a:pt x="1495832" y="467875"/>
                  </a:lnTo>
                  <a:lnTo>
                    <a:pt x="1488338" y="473414"/>
                  </a:lnTo>
                  <a:lnTo>
                    <a:pt x="1482799" y="470645"/>
                  </a:lnTo>
                  <a:lnTo>
                    <a:pt x="1479052" y="464128"/>
                  </a:lnTo>
                  <a:lnTo>
                    <a:pt x="1483125" y="458263"/>
                  </a:lnTo>
                  <a:lnTo>
                    <a:pt x="1481985" y="449792"/>
                  </a:lnTo>
                  <a:lnTo>
                    <a:pt x="1487035" y="445557"/>
                  </a:lnTo>
                  <a:lnTo>
                    <a:pt x="1494365" y="445231"/>
                  </a:lnTo>
                  <a:lnTo>
                    <a:pt x="1503000" y="451095"/>
                  </a:lnTo>
                  <a:lnTo>
                    <a:pt x="1506421" y="447023"/>
                  </a:lnTo>
                  <a:lnTo>
                    <a:pt x="1506095" y="441158"/>
                  </a:lnTo>
                  <a:lnTo>
                    <a:pt x="1513100" y="438226"/>
                  </a:lnTo>
                  <a:lnTo>
                    <a:pt x="1513915" y="442298"/>
                  </a:lnTo>
                  <a:lnTo>
                    <a:pt x="1510982" y="445557"/>
                  </a:lnTo>
                  <a:lnTo>
                    <a:pt x="1511308" y="450607"/>
                  </a:lnTo>
                  <a:lnTo>
                    <a:pt x="1525155" y="461847"/>
                  </a:lnTo>
                  <a:lnTo>
                    <a:pt x="1531835" y="462499"/>
                  </a:lnTo>
                  <a:lnTo>
                    <a:pt x="1535256" y="460381"/>
                  </a:lnTo>
                  <a:lnTo>
                    <a:pt x="1544867" y="458589"/>
                  </a:lnTo>
                  <a:lnTo>
                    <a:pt x="1549103" y="453865"/>
                  </a:lnTo>
                  <a:lnTo>
                    <a:pt x="1548289" y="448489"/>
                  </a:lnTo>
                  <a:lnTo>
                    <a:pt x="1540306" y="439366"/>
                  </a:lnTo>
                  <a:lnTo>
                    <a:pt x="1540306" y="436271"/>
                  </a:lnTo>
                  <a:cubicBezTo>
                    <a:pt x="1540306" y="436271"/>
                    <a:pt x="1542912" y="436922"/>
                    <a:pt x="1542912" y="436922"/>
                  </a:cubicBezTo>
                  <a:lnTo>
                    <a:pt x="1552850" y="446534"/>
                  </a:lnTo>
                  <a:lnTo>
                    <a:pt x="1556271" y="447186"/>
                  </a:lnTo>
                  <a:lnTo>
                    <a:pt x="1561647" y="452073"/>
                  </a:lnTo>
                  <a:lnTo>
                    <a:pt x="1560507" y="455983"/>
                  </a:lnTo>
                  <a:lnTo>
                    <a:pt x="1561647" y="459730"/>
                  </a:lnTo>
                  <a:lnTo>
                    <a:pt x="1568489" y="465106"/>
                  </a:lnTo>
                  <a:lnTo>
                    <a:pt x="1569467" y="474717"/>
                  </a:lnTo>
                  <a:lnTo>
                    <a:pt x="1571422" y="476509"/>
                  </a:lnTo>
                  <a:lnTo>
                    <a:pt x="1571096" y="473740"/>
                  </a:lnTo>
                  <a:lnTo>
                    <a:pt x="1575820" y="468690"/>
                  </a:lnTo>
                  <a:lnTo>
                    <a:pt x="1578590" y="468038"/>
                  </a:lnTo>
                  <a:lnTo>
                    <a:pt x="1581033" y="464128"/>
                  </a:lnTo>
                  <a:lnTo>
                    <a:pt x="1578915" y="462499"/>
                  </a:lnTo>
                  <a:lnTo>
                    <a:pt x="1574843" y="464454"/>
                  </a:lnTo>
                  <a:lnTo>
                    <a:pt x="1571096" y="463314"/>
                  </a:lnTo>
                  <a:lnTo>
                    <a:pt x="1567838" y="456960"/>
                  </a:lnTo>
                  <a:lnTo>
                    <a:pt x="1574354" y="450770"/>
                  </a:lnTo>
                  <a:lnTo>
                    <a:pt x="1579730" y="447674"/>
                  </a:lnTo>
                  <a:lnTo>
                    <a:pt x="1582174" y="444253"/>
                  </a:lnTo>
                  <a:lnTo>
                    <a:pt x="1585432" y="444253"/>
                  </a:lnTo>
                  <a:lnTo>
                    <a:pt x="1587549" y="440506"/>
                  </a:lnTo>
                  <a:lnTo>
                    <a:pt x="1598139" y="438551"/>
                  </a:lnTo>
                  <a:lnTo>
                    <a:pt x="1614919" y="434153"/>
                  </a:lnTo>
                  <a:lnTo>
                    <a:pt x="1635282" y="433338"/>
                  </a:lnTo>
                  <a:lnTo>
                    <a:pt x="1650921" y="426333"/>
                  </a:lnTo>
                  <a:lnTo>
                    <a:pt x="1658578" y="426333"/>
                  </a:lnTo>
                  <a:cubicBezTo>
                    <a:pt x="1658578" y="426333"/>
                    <a:pt x="1665746" y="428777"/>
                    <a:pt x="1665746" y="428777"/>
                  </a:cubicBezTo>
                  <a:lnTo>
                    <a:pt x="1665420" y="432850"/>
                  </a:lnTo>
                  <a:lnTo>
                    <a:pt x="1663465" y="433827"/>
                  </a:lnTo>
                  <a:lnTo>
                    <a:pt x="1660207" y="439855"/>
                  </a:lnTo>
                  <a:lnTo>
                    <a:pt x="1663140" y="449466"/>
                  </a:lnTo>
                  <a:lnTo>
                    <a:pt x="1669981" y="454842"/>
                  </a:lnTo>
                  <a:lnTo>
                    <a:pt x="1692626" y="455820"/>
                  </a:lnTo>
                  <a:lnTo>
                    <a:pt x="1697024" y="457123"/>
                  </a:lnTo>
                  <a:lnTo>
                    <a:pt x="1698817" y="456146"/>
                  </a:lnTo>
                  <a:lnTo>
                    <a:pt x="1706962" y="456146"/>
                  </a:lnTo>
                  <a:cubicBezTo>
                    <a:pt x="1706962" y="456146"/>
                    <a:pt x="1713153" y="458263"/>
                    <a:pt x="1713153" y="458263"/>
                  </a:cubicBezTo>
                  <a:lnTo>
                    <a:pt x="1728955" y="455657"/>
                  </a:lnTo>
                  <a:lnTo>
                    <a:pt x="1740196" y="449629"/>
                  </a:lnTo>
                  <a:lnTo>
                    <a:pt x="1744105" y="450933"/>
                  </a:lnTo>
                  <a:lnTo>
                    <a:pt x="1749481" y="450607"/>
                  </a:lnTo>
                  <a:lnTo>
                    <a:pt x="1752414" y="445719"/>
                  </a:lnTo>
                  <a:lnTo>
                    <a:pt x="1750459" y="442135"/>
                  </a:lnTo>
                  <a:lnTo>
                    <a:pt x="1755346" y="440995"/>
                  </a:lnTo>
                  <a:lnTo>
                    <a:pt x="1759908" y="442298"/>
                  </a:lnTo>
                  <a:lnTo>
                    <a:pt x="1766913" y="440343"/>
                  </a:lnTo>
                  <a:lnTo>
                    <a:pt x="1768542" y="444253"/>
                  </a:lnTo>
                  <a:lnTo>
                    <a:pt x="1770985" y="445068"/>
                  </a:lnTo>
                  <a:lnTo>
                    <a:pt x="1774244" y="440018"/>
                  </a:lnTo>
                  <a:lnTo>
                    <a:pt x="1772614" y="436108"/>
                  </a:lnTo>
                  <a:lnTo>
                    <a:pt x="1768379" y="432035"/>
                  </a:lnTo>
                  <a:lnTo>
                    <a:pt x="1769030" y="426985"/>
                  </a:lnTo>
                  <a:lnTo>
                    <a:pt x="1766587" y="423075"/>
                  </a:lnTo>
                  <a:lnTo>
                    <a:pt x="1760885" y="421935"/>
                  </a:lnTo>
                  <a:lnTo>
                    <a:pt x="1760071" y="415255"/>
                  </a:lnTo>
                  <a:lnTo>
                    <a:pt x="1757301" y="414115"/>
                  </a:lnTo>
                  <a:lnTo>
                    <a:pt x="1755998" y="409065"/>
                  </a:lnTo>
                  <a:lnTo>
                    <a:pt x="1752576" y="405155"/>
                  </a:lnTo>
                  <a:lnTo>
                    <a:pt x="1751762" y="398639"/>
                  </a:lnTo>
                  <a:lnTo>
                    <a:pt x="1754369" y="393751"/>
                  </a:lnTo>
                  <a:lnTo>
                    <a:pt x="1755183" y="396684"/>
                  </a:lnTo>
                  <a:lnTo>
                    <a:pt x="1757627" y="398150"/>
                  </a:lnTo>
                  <a:lnTo>
                    <a:pt x="1763329" y="393589"/>
                  </a:lnTo>
                  <a:lnTo>
                    <a:pt x="1762188" y="391634"/>
                  </a:lnTo>
                  <a:lnTo>
                    <a:pt x="1761048" y="387235"/>
                  </a:lnTo>
                  <a:lnTo>
                    <a:pt x="1765121" y="386746"/>
                  </a:lnTo>
                  <a:lnTo>
                    <a:pt x="1771148" y="391471"/>
                  </a:lnTo>
                  <a:lnTo>
                    <a:pt x="1774244" y="389190"/>
                  </a:lnTo>
                  <a:lnTo>
                    <a:pt x="1775384" y="384954"/>
                  </a:lnTo>
                  <a:lnTo>
                    <a:pt x="1777339" y="387887"/>
                  </a:lnTo>
                  <a:lnTo>
                    <a:pt x="1784018" y="387561"/>
                  </a:lnTo>
                  <a:lnTo>
                    <a:pt x="1787928" y="386746"/>
                  </a:lnTo>
                  <a:lnTo>
                    <a:pt x="1789557" y="383651"/>
                  </a:lnTo>
                  <a:lnTo>
                    <a:pt x="1794119" y="388538"/>
                  </a:lnTo>
                  <a:lnTo>
                    <a:pt x="1798517" y="390004"/>
                  </a:lnTo>
                  <a:lnTo>
                    <a:pt x="1801775" y="394077"/>
                  </a:lnTo>
                  <a:lnTo>
                    <a:pt x="1804871" y="391634"/>
                  </a:lnTo>
                  <a:lnTo>
                    <a:pt x="1804871" y="386909"/>
                  </a:lnTo>
                  <a:cubicBezTo>
                    <a:pt x="1804871" y="386909"/>
                    <a:pt x="1809269" y="387887"/>
                    <a:pt x="1809269" y="387887"/>
                  </a:cubicBezTo>
                  <a:lnTo>
                    <a:pt x="1812201" y="392774"/>
                  </a:lnTo>
                  <a:lnTo>
                    <a:pt x="1808943" y="395543"/>
                  </a:lnTo>
                  <a:lnTo>
                    <a:pt x="1806662" y="399942"/>
                  </a:lnTo>
                  <a:lnTo>
                    <a:pt x="1808454" y="401408"/>
                  </a:lnTo>
                  <a:lnTo>
                    <a:pt x="1814156" y="400105"/>
                  </a:lnTo>
                  <a:lnTo>
                    <a:pt x="1815622" y="400919"/>
                  </a:lnTo>
                  <a:lnTo>
                    <a:pt x="1815622" y="397173"/>
                  </a:lnTo>
                  <a:lnTo>
                    <a:pt x="1817903" y="395869"/>
                  </a:lnTo>
                  <a:lnTo>
                    <a:pt x="1821324" y="396684"/>
                  </a:lnTo>
                  <a:lnTo>
                    <a:pt x="1819532" y="391308"/>
                  </a:lnTo>
                  <a:lnTo>
                    <a:pt x="1816763" y="389027"/>
                  </a:lnTo>
                  <a:lnTo>
                    <a:pt x="1817903" y="386746"/>
                  </a:lnTo>
                  <a:lnTo>
                    <a:pt x="1822465" y="386746"/>
                  </a:lnTo>
                  <a:cubicBezTo>
                    <a:pt x="1822465" y="386746"/>
                    <a:pt x="1829958" y="384791"/>
                    <a:pt x="1829958" y="384791"/>
                  </a:cubicBezTo>
                  <a:lnTo>
                    <a:pt x="1832402" y="387072"/>
                  </a:lnTo>
                  <a:lnTo>
                    <a:pt x="1835335" y="385443"/>
                  </a:lnTo>
                  <a:lnTo>
                    <a:pt x="1842340" y="385443"/>
                  </a:lnTo>
                  <a:lnTo>
                    <a:pt x="1842340" y="389027"/>
                  </a:lnTo>
                  <a:cubicBezTo>
                    <a:pt x="1842340" y="389027"/>
                    <a:pt x="1844131" y="395706"/>
                    <a:pt x="1844131" y="395706"/>
                  </a:cubicBezTo>
                  <a:lnTo>
                    <a:pt x="1845435" y="392448"/>
                  </a:lnTo>
                  <a:lnTo>
                    <a:pt x="1847878" y="392122"/>
                  </a:lnTo>
                  <a:lnTo>
                    <a:pt x="1852277" y="387887"/>
                  </a:lnTo>
                  <a:lnTo>
                    <a:pt x="1854232" y="395055"/>
                  </a:lnTo>
                  <a:lnTo>
                    <a:pt x="1857164" y="395055"/>
                  </a:lnTo>
                  <a:cubicBezTo>
                    <a:pt x="1857164" y="395055"/>
                    <a:pt x="1861889" y="391634"/>
                    <a:pt x="1861889" y="391634"/>
                  </a:cubicBezTo>
                  <a:lnTo>
                    <a:pt x="1866776" y="395706"/>
                  </a:lnTo>
                  <a:lnTo>
                    <a:pt x="1868405" y="405481"/>
                  </a:lnTo>
                  <a:lnTo>
                    <a:pt x="1871826" y="399290"/>
                  </a:lnTo>
                  <a:lnTo>
                    <a:pt x="1874921" y="396847"/>
                  </a:lnTo>
                  <a:lnTo>
                    <a:pt x="1877202" y="399127"/>
                  </a:lnTo>
                  <a:lnTo>
                    <a:pt x="1874433" y="405807"/>
                  </a:lnTo>
                  <a:lnTo>
                    <a:pt x="1878180" y="408902"/>
                  </a:lnTo>
                  <a:lnTo>
                    <a:pt x="1879972" y="411183"/>
                  </a:lnTo>
                  <a:lnTo>
                    <a:pt x="1884696" y="411183"/>
                  </a:lnTo>
                  <a:cubicBezTo>
                    <a:pt x="1884696" y="411183"/>
                    <a:pt x="1886162" y="416070"/>
                    <a:pt x="1886162" y="416070"/>
                  </a:cubicBezTo>
                  <a:lnTo>
                    <a:pt x="1888280" y="414115"/>
                  </a:lnTo>
                  <a:lnTo>
                    <a:pt x="1890235" y="413463"/>
                  </a:lnTo>
                  <a:lnTo>
                    <a:pt x="1892027" y="419002"/>
                  </a:lnTo>
                  <a:lnTo>
                    <a:pt x="1888117" y="423238"/>
                  </a:lnTo>
                  <a:lnTo>
                    <a:pt x="1888769" y="429266"/>
                  </a:lnTo>
                  <a:lnTo>
                    <a:pt x="1895774" y="422260"/>
                  </a:lnTo>
                  <a:lnTo>
                    <a:pt x="1900010" y="422586"/>
                  </a:lnTo>
                  <a:lnTo>
                    <a:pt x="1900824" y="426333"/>
                  </a:lnTo>
                  <a:lnTo>
                    <a:pt x="1891212" y="434967"/>
                  </a:lnTo>
                  <a:lnTo>
                    <a:pt x="1891864" y="441973"/>
                  </a:lnTo>
                  <a:lnTo>
                    <a:pt x="1900010" y="443113"/>
                  </a:lnTo>
                  <a:lnTo>
                    <a:pt x="1902290" y="440343"/>
                  </a:lnTo>
                  <a:lnTo>
                    <a:pt x="1905711" y="438063"/>
                  </a:lnTo>
                  <a:lnTo>
                    <a:pt x="1908644" y="439692"/>
                  </a:lnTo>
                  <a:lnTo>
                    <a:pt x="1909784" y="444090"/>
                  </a:lnTo>
                  <a:lnTo>
                    <a:pt x="1913368" y="441810"/>
                  </a:lnTo>
                  <a:lnTo>
                    <a:pt x="1919070" y="448000"/>
                  </a:lnTo>
                  <a:lnTo>
                    <a:pt x="1917278" y="455657"/>
                  </a:lnTo>
                  <a:lnTo>
                    <a:pt x="1922165" y="454842"/>
                  </a:lnTo>
                  <a:lnTo>
                    <a:pt x="1923305" y="458752"/>
                  </a:lnTo>
                  <a:lnTo>
                    <a:pt x="1927378" y="456960"/>
                  </a:lnTo>
                  <a:lnTo>
                    <a:pt x="1928030" y="460870"/>
                  </a:lnTo>
                  <a:lnTo>
                    <a:pt x="1923631" y="468853"/>
                  </a:lnTo>
                  <a:lnTo>
                    <a:pt x="1918092" y="471133"/>
                  </a:lnTo>
                  <a:lnTo>
                    <a:pt x="1913368" y="467712"/>
                  </a:lnTo>
                  <a:lnTo>
                    <a:pt x="1903431" y="465269"/>
                  </a:lnTo>
                  <a:lnTo>
                    <a:pt x="1892190" y="465269"/>
                  </a:lnTo>
                  <a:lnTo>
                    <a:pt x="1896588" y="468201"/>
                  </a:lnTo>
                  <a:lnTo>
                    <a:pt x="1898543" y="473577"/>
                  </a:lnTo>
                  <a:lnTo>
                    <a:pt x="1908481" y="474717"/>
                  </a:lnTo>
                  <a:lnTo>
                    <a:pt x="1910436" y="478627"/>
                  </a:lnTo>
                  <a:lnTo>
                    <a:pt x="1919885" y="485795"/>
                  </a:lnTo>
                  <a:lnTo>
                    <a:pt x="1929333" y="488239"/>
                  </a:lnTo>
                  <a:lnTo>
                    <a:pt x="1935361" y="484166"/>
                  </a:lnTo>
                  <a:lnTo>
                    <a:pt x="1935687" y="478953"/>
                  </a:lnTo>
                  <a:lnTo>
                    <a:pt x="1930799" y="474391"/>
                  </a:lnTo>
                  <a:lnTo>
                    <a:pt x="1929333" y="471133"/>
                  </a:lnTo>
                  <a:lnTo>
                    <a:pt x="1930799" y="471133"/>
                  </a:lnTo>
                  <a:lnTo>
                    <a:pt x="1936664" y="476998"/>
                  </a:lnTo>
                  <a:lnTo>
                    <a:pt x="1942692" y="479930"/>
                  </a:lnTo>
                  <a:lnTo>
                    <a:pt x="1946113" y="482211"/>
                  </a:lnTo>
                  <a:lnTo>
                    <a:pt x="1941714" y="481885"/>
                  </a:lnTo>
                  <a:lnTo>
                    <a:pt x="1931614" y="491334"/>
                  </a:lnTo>
                  <a:lnTo>
                    <a:pt x="1933894" y="494429"/>
                  </a:lnTo>
                  <a:lnTo>
                    <a:pt x="1938293" y="495081"/>
                  </a:lnTo>
                  <a:lnTo>
                    <a:pt x="1941551" y="492637"/>
                  </a:lnTo>
                  <a:lnTo>
                    <a:pt x="1944810" y="492637"/>
                  </a:lnTo>
                  <a:lnTo>
                    <a:pt x="1961426" y="507951"/>
                  </a:lnTo>
                  <a:lnTo>
                    <a:pt x="1965662" y="509743"/>
                  </a:lnTo>
                  <a:lnTo>
                    <a:pt x="1970875" y="516585"/>
                  </a:lnTo>
                  <a:lnTo>
                    <a:pt x="1983093" y="517725"/>
                  </a:lnTo>
                  <a:lnTo>
                    <a:pt x="1990424" y="526197"/>
                  </a:lnTo>
                  <a:lnTo>
                    <a:pt x="1997918" y="527989"/>
                  </a:lnTo>
                  <a:lnTo>
                    <a:pt x="1999710" y="524730"/>
                  </a:lnTo>
                  <a:lnTo>
                    <a:pt x="1997755" y="521309"/>
                  </a:lnTo>
                  <a:lnTo>
                    <a:pt x="2000524" y="519354"/>
                  </a:lnTo>
                  <a:lnTo>
                    <a:pt x="2004923" y="523916"/>
                  </a:lnTo>
                  <a:lnTo>
                    <a:pt x="2006063" y="527989"/>
                  </a:lnTo>
                  <a:lnTo>
                    <a:pt x="2009158" y="532713"/>
                  </a:lnTo>
                  <a:lnTo>
                    <a:pt x="2012254" y="532713"/>
                  </a:lnTo>
                  <a:cubicBezTo>
                    <a:pt x="2012254" y="532713"/>
                    <a:pt x="2013557" y="526685"/>
                    <a:pt x="2013557" y="526685"/>
                  </a:cubicBezTo>
                  <a:lnTo>
                    <a:pt x="2008344" y="499642"/>
                  </a:lnTo>
                  <a:lnTo>
                    <a:pt x="2002968" y="487424"/>
                  </a:lnTo>
                  <a:lnTo>
                    <a:pt x="1995800" y="472111"/>
                  </a:lnTo>
                  <a:lnTo>
                    <a:pt x="1994171" y="458589"/>
                  </a:lnTo>
                  <a:lnTo>
                    <a:pt x="1990261" y="450281"/>
                  </a:lnTo>
                  <a:lnTo>
                    <a:pt x="1989610" y="446371"/>
                  </a:lnTo>
                  <a:lnTo>
                    <a:pt x="1994171" y="448326"/>
                  </a:lnTo>
                  <a:lnTo>
                    <a:pt x="1997266" y="454842"/>
                  </a:lnTo>
                  <a:lnTo>
                    <a:pt x="2002805" y="460870"/>
                  </a:lnTo>
                  <a:lnTo>
                    <a:pt x="2008996" y="462336"/>
                  </a:lnTo>
                  <a:lnTo>
                    <a:pt x="2014372" y="468527"/>
                  </a:lnTo>
                  <a:lnTo>
                    <a:pt x="2023820" y="469504"/>
                  </a:lnTo>
                  <a:lnTo>
                    <a:pt x="2043858" y="467223"/>
                  </a:lnTo>
                  <a:lnTo>
                    <a:pt x="2048257" y="469015"/>
                  </a:lnTo>
                  <a:lnTo>
                    <a:pt x="2052167" y="467061"/>
                  </a:lnTo>
                  <a:lnTo>
                    <a:pt x="2057217" y="471296"/>
                  </a:lnTo>
                  <a:lnTo>
                    <a:pt x="2058194" y="469993"/>
                  </a:lnTo>
                  <a:lnTo>
                    <a:pt x="2054285" y="464128"/>
                  </a:lnTo>
                  <a:lnTo>
                    <a:pt x="2055425" y="460870"/>
                  </a:lnTo>
                  <a:lnTo>
                    <a:pt x="2051515" y="457123"/>
                  </a:lnTo>
                  <a:lnTo>
                    <a:pt x="2053633" y="454679"/>
                  </a:lnTo>
                  <a:lnTo>
                    <a:pt x="2054447" y="449792"/>
                  </a:lnTo>
                  <a:lnTo>
                    <a:pt x="2071715" y="442624"/>
                  </a:lnTo>
                  <a:lnTo>
                    <a:pt x="2074485" y="443927"/>
                  </a:lnTo>
                  <a:lnTo>
                    <a:pt x="2078721" y="443113"/>
                  </a:lnTo>
                  <a:lnTo>
                    <a:pt x="2084097" y="446208"/>
                  </a:lnTo>
                  <a:lnTo>
                    <a:pt x="2092079" y="446208"/>
                  </a:lnTo>
                  <a:lnTo>
                    <a:pt x="2098107" y="452236"/>
                  </a:lnTo>
                  <a:lnTo>
                    <a:pt x="2104135" y="454028"/>
                  </a:lnTo>
                  <a:lnTo>
                    <a:pt x="2107393" y="459404"/>
                  </a:lnTo>
                  <a:lnTo>
                    <a:pt x="2115864" y="459404"/>
                  </a:lnTo>
                  <a:cubicBezTo>
                    <a:pt x="2115864" y="459404"/>
                    <a:pt x="2118633" y="464617"/>
                    <a:pt x="2118633" y="464617"/>
                  </a:cubicBezTo>
                  <a:lnTo>
                    <a:pt x="2130037" y="464617"/>
                  </a:lnTo>
                  <a:lnTo>
                    <a:pt x="2122869" y="460544"/>
                  </a:lnTo>
                  <a:lnTo>
                    <a:pt x="2122544" y="458101"/>
                  </a:lnTo>
                  <a:lnTo>
                    <a:pt x="2129549" y="460055"/>
                  </a:lnTo>
                  <a:lnTo>
                    <a:pt x="2134110" y="456309"/>
                  </a:lnTo>
                  <a:lnTo>
                    <a:pt x="2128571" y="453376"/>
                  </a:lnTo>
                  <a:lnTo>
                    <a:pt x="2132644" y="449955"/>
                  </a:lnTo>
                  <a:lnTo>
                    <a:pt x="2128245" y="445231"/>
                  </a:lnTo>
                  <a:lnTo>
                    <a:pt x="2121729" y="448652"/>
                  </a:lnTo>
                  <a:lnTo>
                    <a:pt x="2115864" y="447023"/>
                  </a:lnTo>
                  <a:lnTo>
                    <a:pt x="2115049" y="438877"/>
                  </a:lnTo>
                  <a:lnTo>
                    <a:pt x="2112769" y="433013"/>
                  </a:lnTo>
                  <a:lnTo>
                    <a:pt x="2115864" y="430569"/>
                  </a:lnTo>
                  <a:lnTo>
                    <a:pt x="2118960" y="433338"/>
                  </a:lnTo>
                  <a:lnTo>
                    <a:pt x="2123358" y="430406"/>
                  </a:lnTo>
                  <a:lnTo>
                    <a:pt x="2120588" y="426333"/>
                  </a:lnTo>
                  <a:lnTo>
                    <a:pt x="2124498" y="425030"/>
                  </a:lnTo>
                  <a:lnTo>
                    <a:pt x="2132481" y="431058"/>
                  </a:lnTo>
                  <a:lnTo>
                    <a:pt x="2134599" y="436596"/>
                  </a:lnTo>
                  <a:lnTo>
                    <a:pt x="2137857" y="435456"/>
                  </a:lnTo>
                  <a:lnTo>
                    <a:pt x="2140789" y="437900"/>
                  </a:lnTo>
                  <a:lnTo>
                    <a:pt x="2143885" y="436108"/>
                  </a:lnTo>
                  <a:lnTo>
                    <a:pt x="2142092" y="430080"/>
                  </a:lnTo>
                  <a:lnTo>
                    <a:pt x="2147469" y="427962"/>
                  </a:lnTo>
                  <a:lnTo>
                    <a:pt x="2151378" y="430732"/>
                  </a:lnTo>
                  <a:lnTo>
                    <a:pt x="2152681" y="426170"/>
                  </a:lnTo>
                  <a:lnTo>
                    <a:pt x="2144699" y="416884"/>
                  </a:lnTo>
                  <a:lnTo>
                    <a:pt x="2138508" y="416233"/>
                  </a:lnTo>
                  <a:lnTo>
                    <a:pt x="2132318" y="409879"/>
                  </a:lnTo>
                  <a:lnTo>
                    <a:pt x="2133458" y="404015"/>
                  </a:lnTo>
                  <a:lnTo>
                    <a:pt x="2130689" y="399942"/>
                  </a:lnTo>
                  <a:lnTo>
                    <a:pt x="2125313" y="402223"/>
                  </a:lnTo>
                  <a:lnTo>
                    <a:pt x="2120100" y="400919"/>
                  </a:lnTo>
                  <a:lnTo>
                    <a:pt x="2126453" y="397173"/>
                  </a:lnTo>
                  <a:lnTo>
                    <a:pt x="2124172" y="392774"/>
                  </a:lnTo>
                  <a:lnTo>
                    <a:pt x="2125313" y="391471"/>
                  </a:lnTo>
                  <a:lnTo>
                    <a:pt x="2121240" y="385280"/>
                  </a:lnTo>
                  <a:lnTo>
                    <a:pt x="2129874" y="385280"/>
                  </a:lnTo>
                  <a:cubicBezTo>
                    <a:pt x="2129874" y="385280"/>
                    <a:pt x="2131666" y="375831"/>
                    <a:pt x="2131666" y="375831"/>
                  </a:cubicBezTo>
                  <a:lnTo>
                    <a:pt x="2122217" y="378764"/>
                  </a:lnTo>
                  <a:lnTo>
                    <a:pt x="2116842" y="384140"/>
                  </a:lnTo>
                  <a:lnTo>
                    <a:pt x="2115864" y="389679"/>
                  </a:lnTo>
                  <a:lnTo>
                    <a:pt x="2106741" y="387235"/>
                  </a:lnTo>
                  <a:lnTo>
                    <a:pt x="2101365" y="377298"/>
                  </a:lnTo>
                  <a:lnTo>
                    <a:pt x="2104297" y="372410"/>
                  </a:lnTo>
                  <a:lnTo>
                    <a:pt x="2105275" y="365242"/>
                  </a:lnTo>
                  <a:lnTo>
                    <a:pt x="2113909" y="361984"/>
                  </a:lnTo>
                  <a:lnTo>
                    <a:pt x="2119285" y="362799"/>
                  </a:lnTo>
                  <a:lnTo>
                    <a:pt x="2128245" y="354490"/>
                  </a:lnTo>
                  <a:lnTo>
                    <a:pt x="2128897" y="350743"/>
                  </a:lnTo>
                  <a:lnTo>
                    <a:pt x="2123684" y="344553"/>
                  </a:lnTo>
                  <a:lnTo>
                    <a:pt x="2118797" y="345367"/>
                  </a:lnTo>
                  <a:lnTo>
                    <a:pt x="2113909" y="343413"/>
                  </a:lnTo>
                  <a:lnTo>
                    <a:pt x="2105275" y="343413"/>
                  </a:lnTo>
                  <a:lnTo>
                    <a:pt x="2099736" y="336570"/>
                  </a:lnTo>
                  <a:lnTo>
                    <a:pt x="2107067" y="333638"/>
                  </a:lnTo>
                  <a:lnTo>
                    <a:pt x="2117167" y="332172"/>
                  </a:lnTo>
                  <a:lnTo>
                    <a:pt x="2128571" y="337222"/>
                  </a:lnTo>
                  <a:lnTo>
                    <a:pt x="2139160" y="335104"/>
                  </a:lnTo>
                  <a:lnTo>
                    <a:pt x="2156428" y="334778"/>
                  </a:lnTo>
                  <a:lnTo>
                    <a:pt x="2186078" y="332660"/>
                  </a:lnTo>
                  <a:lnTo>
                    <a:pt x="2190965" y="329728"/>
                  </a:lnTo>
                  <a:lnTo>
                    <a:pt x="2212795" y="329402"/>
                  </a:lnTo>
                  <a:lnTo>
                    <a:pt x="2222733" y="330543"/>
                  </a:lnTo>
                  <a:lnTo>
                    <a:pt x="2230063" y="329402"/>
                  </a:lnTo>
                  <a:lnTo>
                    <a:pt x="2242444" y="329402"/>
                  </a:lnTo>
                  <a:cubicBezTo>
                    <a:pt x="2242444" y="329402"/>
                    <a:pt x="2235928" y="331683"/>
                    <a:pt x="2235928" y="331683"/>
                  </a:cubicBezTo>
                  <a:lnTo>
                    <a:pt x="2218986" y="339177"/>
                  </a:lnTo>
                  <a:lnTo>
                    <a:pt x="2213447" y="336244"/>
                  </a:lnTo>
                  <a:lnTo>
                    <a:pt x="2210677" y="337222"/>
                  </a:lnTo>
                  <a:lnTo>
                    <a:pt x="2205301" y="335104"/>
                  </a:lnTo>
                  <a:lnTo>
                    <a:pt x="2202043" y="346019"/>
                  </a:lnTo>
                  <a:lnTo>
                    <a:pt x="2207256" y="351884"/>
                  </a:lnTo>
                  <a:lnTo>
                    <a:pt x="2203020" y="353676"/>
                  </a:lnTo>
                  <a:lnTo>
                    <a:pt x="2201880" y="357586"/>
                  </a:lnTo>
                  <a:lnTo>
                    <a:pt x="2206930" y="360681"/>
                  </a:lnTo>
                  <a:lnTo>
                    <a:pt x="2214424" y="355305"/>
                  </a:lnTo>
                  <a:lnTo>
                    <a:pt x="2214750" y="349929"/>
                  </a:lnTo>
                  <a:lnTo>
                    <a:pt x="2228108" y="340806"/>
                  </a:lnTo>
                  <a:lnTo>
                    <a:pt x="2245377" y="333964"/>
                  </a:lnTo>
                  <a:lnTo>
                    <a:pt x="2247820" y="343250"/>
                  </a:lnTo>
                  <a:lnTo>
                    <a:pt x="2248635" y="356445"/>
                  </a:lnTo>
                  <a:lnTo>
                    <a:pt x="2247006" y="359378"/>
                  </a:lnTo>
                  <a:lnTo>
                    <a:pt x="2243911" y="351069"/>
                  </a:lnTo>
                  <a:lnTo>
                    <a:pt x="2238860" y="346182"/>
                  </a:lnTo>
                  <a:lnTo>
                    <a:pt x="2238860" y="340806"/>
                  </a:lnTo>
                  <a:cubicBezTo>
                    <a:pt x="2238860" y="340806"/>
                    <a:pt x="2233485" y="345530"/>
                    <a:pt x="2233485" y="345530"/>
                  </a:cubicBezTo>
                  <a:lnTo>
                    <a:pt x="2230063" y="344227"/>
                  </a:lnTo>
                  <a:lnTo>
                    <a:pt x="2233322" y="353350"/>
                  </a:lnTo>
                  <a:lnTo>
                    <a:pt x="2238535" y="355468"/>
                  </a:lnTo>
                  <a:lnTo>
                    <a:pt x="2240490" y="365731"/>
                  </a:lnTo>
                  <a:lnTo>
                    <a:pt x="2236743" y="373876"/>
                  </a:lnTo>
                  <a:lnTo>
                    <a:pt x="2233322" y="372247"/>
                  </a:lnTo>
                  <a:lnTo>
                    <a:pt x="2229575" y="375343"/>
                  </a:lnTo>
                  <a:lnTo>
                    <a:pt x="2235602" y="379415"/>
                  </a:lnTo>
                  <a:lnTo>
                    <a:pt x="2235276" y="382836"/>
                  </a:lnTo>
                  <a:lnTo>
                    <a:pt x="2237557" y="385280"/>
                  </a:lnTo>
                  <a:lnTo>
                    <a:pt x="2241793" y="385280"/>
                  </a:lnTo>
                  <a:lnTo>
                    <a:pt x="2248309" y="380067"/>
                  </a:lnTo>
                  <a:lnTo>
                    <a:pt x="2248309" y="373225"/>
                  </a:lnTo>
                  <a:lnTo>
                    <a:pt x="2253360" y="365731"/>
                  </a:lnTo>
                  <a:lnTo>
                    <a:pt x="2251404" y="360844"/>
                  </a:lnTo>
                  <a:lnTo>
                    <a:pt x="2252056" y="353839"/>
                  </a:lnTo>
                  <a:lnTo>
                    <a:pt x="2250101" y="327773"/>
                  </a:lnTo>
                  <a:lnTo>
                    <a:pt x="2259061" y="320605"/>
                  </a:lnTo>
                  <a:lnTo>
                    <a:pt x="2272583" y="317673"/>
                  </a:lnTo>
                  <a:lnTo>
                    <a:pt x="2287408" y="313763"/>
                  </a:lnTo>
                  <a:lnTo>
                    <a:pt x="2301092" y="315555"/>
                  </a:lnTo>
                  <a:lnTo>
                    <a:pt x="2318035" y="321746"/>
                  </a:lnTo>
                  <a:lnTo>
                    <a:pt x="2326506" y="332986"/>
                  </a:lnTo>
                  <a:lnTo>
                    <a:pt x="2325691" y="338851"/>
                  </a:lnTo>
                  <a:lnTo>
                    <a:pt x="2321456" y="341946"/>
                  </a:lnTo>
                  <a:lnTo>
                    <a:pt x="2312170" y="334778"/>
                  </a:lnTo>
                  <a:lnTo>
                    <a:pt x="2311192" y="336407"/>
                  </a:lnTo>
                  <a:lnTo>
                    <a:pt x="2312984" y="341783"/>
                  </a:lnTo>
                  <a:lnTo>
                    <a:pt x="2312658" y="346834"/>
                  </a:lnTo>
                  <a:lnTo>
                    <a:pt x="2313799" y="351721"/>
                  </a:lnTo>
                  <a:lnTo>
                    <a:pt x="2309400" y="355468"/>
                  </a:lnTo>
                  <a:lnTo>
                    <a:pt x="2313147" y="356934"/>
                  </a:lnTo>
                  <a:lnTo>
                    <a:pt x="2318686" y="353513"/>
                  </a:lnTo>
                  <a:lnTo>
                    <a:pt x="2327320" y="352861"/>
                  </a:lnTo>
                  <a:lnTo>
                    <a:pt x="2332533" y="347648"/>
                  </a:lnTo>
                  <a:lnTo>
                    <a:pt x="2334814" y="355142"/>
                  </a:lnTo>
                  <a:lnTo>
                    <a:pt x="2337746" y="360518"/>
                  </a:lnTo>
                  <a:lnTo>
                    <a:pt x="2338561" y="366871"/>
                  </a:lnTo>
                  <a:lnTo>
                    <a:pt x="2341656" y="370130"/>
                  </a:lnTo>
                  <a:lnTo>
                    <a:pt x="2344914" y="364265"/>
                  </a:lnTo>
                  <a:lnTo>
                    <a:pt x="2343937" y="360844"/>
                  </a:lnTo>
                  <a:lnTo>
                    <a:pt x="2350127" y="355305"/>
                  </a:lnTo>
                  <a:lnTo>
                    <a:pt x="2356318" y="358400"/>
                  </a:lnTo>
                  <a:lnTo>
                    <a:pt x="2358599" y="364754"/>
                  </a:lnTo>
                  <a:lnTo>
                    <a:pt x="2356318" y="368175"/>
                  </a:lnTo>
                  <a:lnTo>
                    <a:pt x="2354363" y="375343"/>
                  </a:lnTo>
                  <a:lnTo>
                    <a:pt x="2355829" y="377786"/>
                  </a:lnTo>
                  <a:lnTo>
                    <a:pt x="2359576" y="375831"/>
                  </a:lnTo>
                  <a:lnTo>
                    <a:pt x="2362345" y="369478"/>
                  </a:lnTo>
                  <a:lnTo>
                    <a:pt x="2365115" y="368338"/>
                  </a:lnTo>
                  <a:lnTo>
                    <a:pt x="2367233" y="372247"/>
                  </a:lnTo>
                  <a:lnTo>
                    <a:pt x="2367233" y="366383"/>
                  </a:lnTo>
                  <a:cubicBezTo>
                    <a:pt x="2367233" y="366383"/>
                    <a:pt x="2372120" y="356119"/>
                    <a:pt x="2372120" y="356119"/>
                  </a:cubicBezTo>
                  <a:lnTo>
                    <a:pt x="2374238" y="354002"/>
                  </a:lnTo>
                  <a:lnTo>
                    <a:pt x="2378148" y="355956"/>
                  </a:lnTo>
                  <a:lnTo>
                    <a:pt x="2390203" y="364102"/>
                  </a:lnTo>
                  <a:lnTo>
                    <a:pt x="2403073" y="367197"/>
                  </a:lnTo>
                  <a:lnTo>
                    <a:pt x="2410241" y="375669"/>
                  </a:lnTo>
                  <a:lnTo>
                    <a:pt x="2409101" y="380067"/>
                  </a:lnTo>
                  <a:lnTo>
                    <a:pt x="2400792" y="385117"/>
                  </a:lnTo>
                  <a:lnTo>
                    <a:pt x="2395253" y="390982"/>
                  </a:lnTo>
                  <a:lnTo>
                    <a:pt x="2402584" y="387235"/>
                  </a:lnTo>
                  <a:lnTo>
                    <a:pt x="2413336" y="384954"/>
                  </a:lnTo>
                  <a:lnTo>
                    <a:pt x="2420504" y="387398"/>
                  </a:lnTo>
                  <a:lnTo>
                    <a:pt x="2428976" y="385280"/>
                  </a:lnTo>
                  <a:lnTo>
                    <a:pt x="2435166" y="379741"/>
                  </a:lnTo>
                  <a:lnTo>
                    <a:pt x="2441031" y="376972"/>
                  </a:lnTo>
                  <a:lnTo>
                    <a:pt x="2451294" y="368500"/>
                  </a:lnTo>
                  <a:lnTo>
                    <a:pt x="2456344" y="366546"/>
                  </a:lnTo>
                  <a:lnTo>
                    <a:pt x="2464653" y="358237"/>
                  </a:lnTo>
                  <a:lnTo>
                    <a:pt x="2471820" y="356445"/>
                  </a:lnTo>
                  <a:lnTo>
                    <a:pt x="2491044" y="346834"/>
                  </a:lnTo>
                  <a:lnTo>
                    <a:pt x="2500493" y="343575"/>
                  </a:lnTo>
                  <a:lnTo>
                    <a:pt x="2506031" y="344716"/>
                  </a:lnTo>
                  <a:lnTo>
                    <a:pt x="2506683" y="342598"/>
                  </a:lnTo>
                  <a:lnTo>
                    <a:pt x="2517435" y="335430"/>
                  </a:lnTo>
                  <a:lnTo>
                    <a:pt x="2523463" y="334290"/>
                  </a:lnTo>
                  <a:lnTo>
                    <a:pt x="2536658" y="334615"/>
                  </a:lnTo>
                  <a:lnTo>
                    <a:pt x="2561583" y="342924"/>
                  </a:lnTo>
                  <a:lnTo>
                    <a:pt x="2572172" y="354165"/>
                  </a:lnTo>
                  <a:lnTo>
                    <a:pt x="2582925" y="359703"/>
                  </a:lnTo>
                  <a:lnTo>
                    <a:pt x="2592047" y="370130"/>
                  </a:lnTo>
                  <a:lnTo>
                    <a:pt x="2596935" y="379252"/>
                  </a:lnTo>
                  <a:lnTo>
                    <a:pt x="2597586" y="384140"/>
                  </a:lnTo>
                  <a:lnTo>
                    <a:pt x="2599867" y="386909"/>
                  </a:lnTo>
                  <a:lnTo>
                    <a:pt x="2599542" y="394240"/>
                  </a:lnTo>
                  <a:lnTo>
                    <a:pt x="2604754" y="404341"/>
                  </a:lnTo>
                  <a:lnTo>
                    <a:pt x="2605406" y="409228"/>
                  </a:lnTo>
                  <a:lnTo>
                    <a:pt x="2601659" y="414604"/>
                  </a:lnTo>
                  <a:lnTo>
                    <a:pt x="2607524" y="413301"/>
                  </a:lnTo>
                  <a:lnTo>
                    <a:pt x="2613552" y="406132"/>
                  </a:lnTo>
                  <a:lnTo>
                    <a:pt x="2620556" y="406132"/>
                  </a:lnTo>
                  <a:lnTo>
                    <a:pt x="2623815" y="409391"/>
                  </a:lnTo>
                  <a:lnTo>
                    <a:pt x="2624141" y="405644"/>
                  </a:lnTo>
                  <a:lnTo>
                    <a:pt x="2631145" y="404666"/>
                  </a:lnTo>
                  <a:lnTo>
                    <a:pt x="2636685" y="407925"/>
                  </a:lnTo>
                  <a:lnTo>
                    <a:pt x="2638965" y="414115"/>
                  </a:lnTo>
                  <a:lnTo>
                    <a:pt x="2640106" y="409228"/>
                  </a:lnTo>
                  <a:lnTo>
                    <a:pt x="2637988" y="401245"/>
                  </a:lnTo>
                  <a:lnTo>
                    <a:pt x="2642386" y="400594"/>
                  </a:lnTo>
                  <a:lnTo>
                    <a:pt x="2646296" y="407436"/>
                  </a:lnTo>
                  <a:lnTo>
                    <a:pt x="2654768" y="415581"/>
                  </a:lnTo>
                  <a:lnTo>
                    <a:pt x="2656234" y="424867"/>
                  </a:lnTo>
                  <a:lnTo>
                    <a:pt x="2660958" y="424867"/>
                  </a:lnTo>
                  <a:lnTo>
                    <a:pt x="2668452" y="434316"/>
                  </a:lnTo>
                  <a:lnTo>
                    <a:pt x="2668452" y="431383"/>
                  </a:lnTo>
                  <a:cubicBezTo>
                    <a:pt x="2668452" y="431383"/>
                    <a:pt x="2665683" y="423238"/>
                    <a:pt x="2665683" y="423238"/>
                  </a:cubicBezTo>
                  <a:lnTo>
                    <a:pt x="2660633" y="420957"/>
                  </a:lnTo>
                  <a:lnTo>
                    <a:pt x="2659655" y="416233"/>
                  </a:lnTo>
                  <a:lnTo>
                    <a:pt x="2665031" y="419328"/>
                  </a:lnTo>
                  <a:lnTo>
                    <a:pt x="2669267" y="418677"/>
                  </a:lnTo>
                  <a:lnTo>
                    <a:pt x="2674479" y="423890"/>
                  </a:lnTo>
                  <a:lnTo>
                    <a:pt x="2681485" y="433501"/>
                  </a:lnTo>
                  <a:lnTo>
                    <a:pt x="2680181" y="425845"/>
                  </a:lnTo>
                  <a:lnTo>
                    <a:pt x="2670733" y="412486"/>
                  </a:lnTo>
                  <a:lnTo>
                    <a:pt x="2671058" y="400431"/>
                  </a:lnTo>
                  <a:lnTo>
                    <a:pt x="2671058" y="390656"/>
                  </a:lnTo>
                  <a:cubicBezTo>
                    <a:pt x="2671058" y="390656"/>
                    <a:pt x="2677086" y="383488"/>
                    <a:pt x="2677086" y="383488"/>
                  </a:cubicBezTo>
                  <a:lnTo>
                    <a:pt x="2687349" y="382348"/>
                  </a:lnTo>
                  <a:lnTo>
                    <a:pt x="2692074" y="378601"/>
                  </a:lnTo>
                  <a:lnTo>
                    <a:pt x="2700871" y="375017"/>
                  </a:lnTo>
                  <a:lnTo>
                    <a:pt x="2700219" y="371107"/>
                  </a:lnTo>
                  <a:lnTo>
                    <a:pt x="2702011" y="369152"/>
                  </a:lnTo>
                  <a:lnTo>
                    <a:pt x="2705433" y="369152"/>
                  </a:lnTo>
                  <a:cubicBezTo>
                    <a:pt x="2705433" y="369152"/>
                    <a:pt x="2710483" y="374202"/>
                    <a:pt x="2710483" y="374202"/>
                  </a:cubicBezTo>
                  <a:lnTo>
                    <a:pt x="2714881" y="375506"/>
                  </a:lnTo>
                  <a:lnTo>
                    <a:pt x="2722375" y="374039"/>
                  </a:lnTo>
                  <a:lnTo>
                    <a:pt x="2729217" y="368663"/>
                  </a:lnTo>
                  <a:lnTo>
                    <a:pt x="2732964" y="369967"/>
                  </a:lnTo>
                  <a:lnTo>
                    <a:pt x="2742087" y="366546"/>
                  </a:lnTo>
                  <a:lnTo>
                    <a:pt x="2752839" y="367360"/>
                  </a:lnTo>
                  <a:lnTo>
                    <a:pt x="2757563" y="364102"/>
                  </a:lnTo>
                  <a:lnTo>
                    <a:pt x="2760007" y="364102"/>
                  </a:lnTo>
                  <a:cubicBezTo>
                    <a:pt x="2760007" y="364102"/>
                    <a:pt x="2760658" y="367034"/>
                    <a:pt x="2760658" y="367034"/>
                  </a:cubicBezTo>
                  <a:lnTo>
                    <a:pt x="2763917" y="370455"/>
                  </a:lnTo>
                  <a:lnTo>
                    <a:pt x="2766197" y="365079"/>
                  </a:lnTo>
                  <a:lnTo>
                    <a:pt x="2772225" y="356771"/>
                  </a:lnTo>
                  <a:lnTo>
                    <a:pt x="2771247" y="353187"/>
                  </a:lnTo>
                  <a:lnTo>
                    <a:pt x="2771247" y="346345"/>
                  </a:lnTo>
                  <a:lnTo>
                    <a:pt x="2771899" y="340643"/>
                  </a:lnTo>
                  <a:lnTo>
                    <a:pt x="2774669" y="338199"/>
                  </a:lnTo>
                  <a:lnTo>
                    <a:pt x="2782814" y="340154"/>
                  </a:lnTo>
                  <a:lnTo>
                    <a:pt x="2785420" y="346019"/>
                  </a:lnTo>
                  <a:lnTo>
                    <a:pt x="2786561" y="349114"/>
                  </a:lnTo>
                  <a:lnTo>
                    <a:pt x="2793077" y="349929"/>
                  </a:lnTo>
                  <a:lnTo>
                    <a:pt x="2797802" y="353676"/>
                  </a:lnTo>
                  <a:lnTo>
                    <a:pt x="2797802" y="359866"/>
                  </a:lnTo>
                  <a:cubicBezTo>
                    <a:pt x="2797802" y="359866"/>
                    <a:pt x="2804970" y="368012"/>
                    <a:pt x="2804970" y="368012"/>
                  </a:cubicBezTo>
                  <a:lnTo>
                    <a:pt x="2808717" y="370455"/>
                  </a:lnTo>
                  <a:lnTo>
                    <a:pt x="2816374" y="369315"/>
                  </a:lnTo>
                  <a:lnTo>
                    <a:pt x="2828592" y="372084"/>
                  </a:lnTo>
                  <a:lnTo>
                    <a:pt x="2830384" y="370455"/>
                  </a:lnTo>
                  <a:lnTo>
                    <a:pt x="2834131" y="371107"/>
                  </a:lnTo>
                  <a:lnTo>
                    <a:pt x="2842602" y="382674"/>
                  </a:lnTo>
                  <a:lnTo>
                    <a:pt x="2842602" y="388213"/>
                  </a:lnTo>
                  <a:lnTo>
                    <a:pt x="2845860" y="391308"/>
                  </a:lnTo>
                  <a:lnTo>
                    <a:pt x="2854331" y="392448"/>
                  </a:lnTo>
                  <a:lnTo>
                    <a:pt x="2858404" y="389516"/>
                  </a:lnTo>
                  <a:lnTo>
                    <a:pt x="2864758" y="388701"/>
                  </a:lnTo>
                  <a:lnTo>
                    <a:pt x="2863943" y="384628"/>
                  </a:lnTo>
                  <a:lnTo>
                    <a:pt x="2869970" y="380719"/>
                  </a:lnTo>
                  <a:lnTo>
                    <a:pt x="2873392" y="381859"/>
                  </a:lnTo>
                  <a:lnTo>
                    <a:pt x="2875509" y="379741"/>
                  </a:lnTo>
                  <a:lnTo>
                    <a:pt x="2872088" y="374854"/>
                  </a:lnTo>
                  <a:lnTo>
                    <a:pt x="2874369" y="372736"/>
                  </a:lnTo>
                  <a:lnTo>
                    <a:pt x="2872903" y="369641"/>
                  </a:lnTo>
                  <a:lnTo>
                    <a:pt x="2873554" y="366220"/>
                  </a:lnTo>
                  <a:lnTo>
                    <a:pt x="2868504" y="359866"/>
                  </a:lnTo>
                  <a:lnTo>
                    <a:pt x="2861174" y="357423"/>
                  </a:lnTo>
                  <a:lnTo>
                    <a:pt x="2859381" y="349277"/>
                  </a:lnTo>
                  <a:lnTo>
                    <a:pt x="2850095" y="340154"/>
                  </a:lnTo>
                  <a:lnTo>
                    <a:pt x="2846349" y="339177"/>
                  </a:lnTo>
                  <a:lnTo>
                    <a:pt x="2844068" y="335267"/>
                  </a:lnTo>
                  <a:lnTo>
                    <a:pt x="2834945" y="331031"/>
                  </a:lnTo>
                  <a:lnTo>
                    <a:pt x="2830384" y="335104"/>
                  </a:lnTo>
                  <a:lnTo>
                    <a:pt x="2827451" y="335104"/>
                  </a:lnTo>
                  <a:cubicBezTo>
                    <a:pt x="2827451" y="335104"/>
                    <a:pt x="2827288" y="328262"/>
                    <a:pt x="2827288" y="328262"/>
                  </a:cubicBezTo>
                  <a:lnTo>
                    <a:pt x="2829406" y="325167"/>
                  </a:lnTo>
                  <a:lnTo>
                    <a:pt x="2825496" y="317347"/>
                  </a:lnTo>
                  <a:lnTo>
                    <a:pt x="2824030" y="312134"/>
                  </a:lnTo>
                  <a:lnTo>
                    <a:pt x="2820935" y="309853"/>
                  </a:lnTo>
                  <a:lnTo>
                    <a:pt x="2817677" y="301545"/>
                  </a:lnTo>
                  <a:lnTo>
                    <a:pt x="2810672" y="296332"/>
                  </a:lnTo>
                  <a:lnTo>
                    <a:pt x="2811812" y="294866"/>
                  </a:lnTo>
                  <a:lnTo>
                    <a:pt x="2823216" y="293074"/>
                  </a:lnTo>
                  <a:lnTo>
                    <a:pt x="2826636" y="295191"/>
                  </a:lnTo>
                  <a:lnTo>
                    <a:pt x="2840484" y="293888"/>
                  </a:lnTo>
                  <a:lnTo>
                    <a:pt x="2852051" y="293888"/>
                  </a:lnTo>
                  <a:cubicBezTo>
                    <a:pt x="2852051" y="293888"/>
                    <a:pt x="2852702" y="290467"/>
                    <a:pt x="2852702" y="290467"/>
                  </a:cubicBezTo>
                  <a:lnTo>
                    <a:pt x="2858730" y="288349"/>
                  </a:lnTo>
                  <a:lnTo>
                    <a:pt x="2865572" y="292748"/>
                  </a:lnTo>
                  <a:lnTo>
                    <a:pt x="2869808" y="290793"/>
                  </a:lnTo>
                  <a:lnTo>
                    <a:pt x="2873229" y="291119"/>
                  </a:lnTo>
                  <a:lnTo>
                    <a:pt x="2873229" y="286231"/>
                  </a:lnTo>
                  <a:cubicBezTo>
                    <a:pt x="2873229" y="286231"/>
                    <a:pt x="2880234" y="285417"/>
                    <a:pt x="2880234" y="285417"/>
                  </a:cubicBezTo>
                  <a:lnTo>
                    <a:pt x="2882189" y="288838"/>
                  </a:lnTo>
                  <a:lnTo>
                    <a:pt x="2884144" y="288838"/>
                  </a:lnTo>
                  <a:cubicBezTo>
                    <a:pt x="2884144" y="288838"/>
                    <a:pt x="2886913" y="282810"/>
                    <a:pt x="2886913" y="282810"/>
                  </a:cubicBezTo>
                  <a:lnTo>
                    <a:pt x="2891800" y="284602"/>
                  </a:lnTo>
                  <a:lnTo>
                    <a:pt x="2892126" y="279552"/>
                  </a:lnTo>
                  <a:lnTo>
                    <a:pt x="2912653" y="274176"/>
                  </a:lnTo>
                  <a:lnTo>
                    <a:pt x="2915097" y="279063"/>
                  </a:lnTo>
                  <a:lnTo>
                    <a:pt x="2916237" y="274991"/>
                  </a:lnTo>
                  <a:lnTo>
                    <a:pt x="2919495" y="270755"/>
                  </a:lnTo>
                  <a:lnTo>
                    <a:pt x="2921450" y="272058"/>
                  </a:lnTo>
                  <a:lnTo>
                    <a:pt x="2928618" y="271081"/>
                  </a:lnTo>
                  <a:lnTo>
                    <a:pt x="2932039" y="270429"/>
                  </a:lnTo>
                  <a:lnTo>
                    <a:pt x="2936438" y="274339"/>
                  </a:lnTo>
                  <a:lnTo>
                    <a:pt x="2945886" y="274339"/>
                  </a:lnTo>
                  <a:cubicBezTo>
                    <a:pt x="2945886" y="274339"/>
                    <a:pt x="2950774" y="272384"/>
                    <a:pt x="2950774" y="272384"/>
                  </a:cubicBezTo>
                  <a:lnTo>
                    <a:pt x="2953217" y="275642"/>
                  </a:lnTo>
                  <a:lnTo>
                    <a:pt x="2956964" y="276946"/>
                  </a:lnTo>
                  <a:lnTo>
                    <a:pt x="2959897" y="273524"/>
                  </a:lnTo>
                  <a:lnTo>
                    <a:pt x="2968205" y="272547"/>
                  </a:lnTo>
                  <a:lnTo>
                    <a:pt x="2984007" y="277597"/>
                  </a:lnTo>
                  <a:lnTo>
                    <a:pt x="2989872" y="280367"/>
                  </a:lnTo>
                  <a:lnTo>
                    <a:pt x="2993456" y="279226"/>
                  </a:lnTo>
                  <a:lnTo>
                    <a:pt x="2991664" y="277760"/>
                  </a:lnTo>
                  <a:lnTo>
                    <a:pt x="2997040" y="276457"/>
                  </a:lnTo>
                  <a:lnTo>
                    <a:pt x="3001113" y="279389"/>
                  </a:lnTo>
                  <a:lnTo>
                    <a:pt x="2998180" y="282159"/>
                  </a:lnTo>
                  <a:lnTo>
                    <a:pt x="3000786" y="283951"/>
                  </a:lnTo>
                  <a:lnTo>
                    <a:pt x="3008281" y="281996"/>
                  </a:lnTo>
                  <a:lnTo>
                    <a:pt x="3025875" y="283951"/>
                  </a:lnTo>
                  <a:lnTo>
                    <a:pt x="3040699" y="294051"/>
                  </a:lnTo>
                  <a:lnTo>
                    <a:pt x="3039885" y="296332"/>
                  </a:lnTo>
                  <a:lnTo>
                    <a:pt x="3035324" y="294051"/>
                  </a:lnTo>
                  <a:lnTo>
                    <a:pt x="3026363" y="290793"/>
                  </a:lnTo>
                  <a:lnTo>
                    <a:pt x="3025711" y="292748"/>
                  </a:lnTo>
                  <a:lnTo>
                    <a:pt x="3041025" y="298124"/>
                  </a:lnTo>
                  <a:lnTo>
                    <a:pt x="3048682" y="298450"/>
                  </a:lnTo>
                  <a:lnTo>
                    <a:pt x="3050474" y="294377"/>
                  </a:lnTo>
                  <a:lnTo>
                    <a:pt x="3056990" y="293725"/>
                  </a:lnTo>
                  <a:lnTo>
                    <a:pt x="3064321" y="294051"/>
                  </a:lnTo>
                  <a:lnTo>
                    <a:pt x="3063018" y="289815"/>
                  </a:lnTo>
                  <a:lnTo>
                    <a:pt x="3066113" y="288349"/>
                  </a:lnTo>
                  <a:lnTo>
                    <a:pt x="3070838" y="292096"/>
                  </a:lnTo>
                  <a:lnTo>
                    <a:pt x="3075725" y="293562"/>
                  </a:lnTo>
                  <a:lnTo>
                    <a:pt x="3078494" y="295354"/>
                  </a:lnTo>
                  <a:lnTo>
                    <a:pt x="3078494" y="292585"/>
                  </a:lnTo>
                  <a:cubicBezTo>
                    <a:pt x="3078494" y="292585"/>
                    <a:pt x="3079472" y="291282"/>
                    <a:pt x="3079472" y="291282"/>
                  </a:cubicBezTo>
                  <a:lnTo>
                    <a:pt x="3086965" y="293236"/>
                  </a:lnTo>
                  <a:lnTo>
                    <a:pt x="3086965" y="296495"/>
                  </a:lnTo>
                  <a:cubicBezTo>
                    <a:pt x="3086965" y="296495"/>
                    <a:pt x="3095437" y="299427"/>
                    <a:pt x="3095437" y="299427"/>
                  </a:cubicBezTo>
                  <a:lnTo>
                    <a:pt x="3101465" y="297146"/>
                  </a:lnTo>
                  <a:lnTo>
                    <a:pt x="3123294" y="301382"/>
                  </a:lnTo>
                  <a:lnTo>
                    <a:pt x="3121013" y="297309"/>
                  </a:lnTo>
                  <a:lnTo>
                    <a:pt x="3128345" y="297309"/>
                  </a:lnTo>
                  <a:cubicBezTo>
                    <a:pt x="3128345" y="297309"/>
                    <a:pt x="3130462" y="301545"/>
                    <a:pt x="3130462" y="301545"/>
                  </a:cubicBezTo>
                  <a:lnTo>
                    <a:pt x="3134698" y="302848"/>
                  </a:lnTo>
                  <a:lnTo>
                    <a:pt x="3133720" y="297961"/>
                  </a:lnTo>
                  <a:lnTo>
                    <a:pt x="3135675" y="297146"/>
                  </a:lnTo>
                  <a:lnTo>
                    <a:pt x="3143984" y="298775"/>
                  </a:lnTo>
                  <a:lnTo>
                    <a:pt x="3142518" y="301219"/>
                  </a:lnTo>
                  <a:lnTo>
                    <a:pt x="3146590" y="306269"/>
                  </a:lnTo>
                  <a:lnTo>
                    <a:pt x="3153758" y="304314"/>
                  </a:lnTo>
                  <a:lnTo>
                    <a:pt x="3153758" y="301545"/>
                  </a:lnTo>
                  <a:lnTo>
                    <a:pt x="3150989" y="299753"/>
                  </a:lnTo>
                  <a:lnTo>
                    <a:pt x="3159134" y="300079"/>
                  </a:lnTo>
                  <a:lnTo>
                    <a:pt x="3161578" y="301871"/>
                  </a:lnTo>
                  <a:lnTo>
                    <a:pt x="3160438" y="305618"/>
                  </a:lnTo>
                  <a:lnTo>
                    <a:pt x="3165162" y="310342"/>
                  </a:lnTo>
                  <a:lnTo>
                    <a:pt x="3174122" y="314089"/>
                  </a:lnTo>
                  <a:lnTo>
                    <a:pt x="3181127" y="311319"/>
                  </a:lnTo>
                  <a:lnTo>
                    <a:pt x="3171515" y="307898"/>
                  </a:lnTo>
                  <a:lnTo>
                    <a:pt x="3167117" y="305455"/>
                  </a:lnTo>
                  <a:lnTo>
                    <a:pt x="3166140" y="302034"/>
                  </a:lnTo>
                  <a:lnTo>
                    <a:pt x="3171352" y="300893"/>
                  </a:lnTo>
                  <a:lnTo>
                    <a:pt x="3177380" y="301545"/>
                  </a:lnTo>
                  <a:lnTo>
                    <a:pt x="3187481" y="307084"/>
                  </a:lnTo>
                  <a:lnTo>
                    <a:pt x="3189761" y="312623"/>
                  </a:lnTo>
                  <a:lnTo>
                    <a:pt x="3192042" y="314252"/>
                  </a:lnTo>
                  <a:lnTo>
                    <a:pt x="3193671" y="310016"/>
                  </a:lnTo>
                  <a:lnTo>
                    <a:pt x="3192205" y="308061"/>
                  </a:lnTo>
                  <a:lnTo>
                    <a:pt x="3196277" y="308876"/>
                  </a:lnTo>
                  <a:lnTo>
                    <a:pt x="3199536" y="311808"/>
                  </a:lnTo>
                  <a:lnTo>
                    <a:pt x="3198721" y="314089"/>
                  </a:lnTo>
                  <a:lnTo>
                    <a:pt x="3203934" y="319954"/>
                  </a:lnTo>
                  <a:lnTo>
                    <a:pt x="3212080" y="334615"/>
                  </a:lnTo>
                  <a:lnTo>
                    <a:pt x="3220877" y="337548"/>
                  </a:lnTo>
                  <a:lnTo>
                    <a:pt x="3222343" y="343087"/>
                  </a:lnTo>
                  <a:lnTo>
                    <a:pt x="3226904" y="347159"/>
                  </a:lnTo>
                  <a:lnTo>
                    <a:pt x="3230000" y="352535"/>
                  </a:lnTo>
                  <a:lnTo>
                    <a:pt x="3227719" y="355142"/>
                  </a:lnTo>
                  <a:lnTo>
                    <a:pt x="3229348" y="360681"/>
                  </a:lnTo>
                  <a:lnTo>
                    <a:pt x="3233258" y="362310"/>
                  </a:lnTo>
                  <a:lnTo>
                    <a:pt x="3238308" y="357748"/>
                  </a:lnTo>
                  <a:lnTo>
                    <a:pt x="3244988" y="358726"/>
                  </a:lnTo>
                  <a:lnTo>
                    <a:pt x="3249060" y="365894"/>
                  </a:lnTo>
                  <a:lnTo>
                    <a:pt x="3253459" y="367034"/>
                  </a:lnTo>
                  <a:lnTo>
                    <a:pt x="3254273" y="365405"/>
                  </a:lnTo>
                  <a:lnTo>
                    <a:pt x="3251993" y="363776"/>
                  </a:lnTo>
                  <a:lnTo>
                    <a:pt x="3250526" y="359052"/>
                  </a:lnTo>
                  <a:lnTo>
                    <a:pt x="3253459" y="354653"/>
                  </a:lnTo>
                  <a:lnTo>
                    <a:pt x="3256717" y="355956"/>
                  </a:lnTo>
                  <a:lnTo>
                    <a:pt x="3259649" y="362473"/>
                  </a:lnTo>
                  <a:lnTo>
                    <a:pt x="3264211" y="367360"/>
                  </a:lnTo>
                  <a:lnTo>
                    <a:pt x="3263885" y="365079"/>
                  </a:lnTo>
                  <a:lnTo>
                    <a:pt x="3260464" y="356934"/>
                  </a:lnTo>
                  <a:lnTo>
                    <a:pt x="3260138" y="352372"/>
                  </a:lnTo>
                  <a:lnTo>
                    <a:pt x="3256391" y="347974"/>
                  </a:lnTo>
                  <a:lnTo>
                    <a:pt x="3249875" y="351395"/>
                  </a:lnTo>
                  <a:lnTo>
                    <a:pt x="3243195" y="352698"/>
                  </a:lnTo>
                  <a:lnTo>
                    <a:pt x="3242055" y="348626"/>
                  </a:lnTo>
                  <a:lnTo>
                    <a:pt x="3245476" y="344716"/>
                  </a:lnTo>
                  <a:lnTo>
                    <a:pt x="3244010" y="338688"/>
                  </a:lnTo>
                  <a:lnTo>
                    <a:pt x="3234887" y="332172"/>
                  </a:lnTo>
                  <a:lnTo>
                    <a:pt x="3230000" y="327773"/>
                  </a:lnTo>
                  <a:lnTo>
                    <a:pt x="3227719" y="322560"/>
                  </a:lnTo>
                  <a:lnTo>
                    <a:pt x="3224461" y="322560"/>
                  </a:lnTo>
                  <a:lnTo>
                    <a:pt x="3217782" y="327936"/>
                  </a:lnTo>
                  <a:lnTo>
                    <a:pt x="3216967" y="325167"/>
                  </a:lnTo>
                  <a:lnTo>
                    <a:pt x="3222180" y="320768"/>
                  </a:lnTo>
                  <a:lnTo>
                    <a:pt x="3225927" y="313274"/>
                  </a:lnTo>
                  <a:lnTo>
                    <a:pt x="3232443" y="303988"/>
                  </a:lnTo>
                  <a:lnTo>
                    <a:pt x="3235865" y="303174"/>
                  </a:lnTo>
                  <a:lnTo>
                    <a:pt x="3235213" y="306106"/>
                  </a:lnTo>
                  <a:lnTo>
                    <a:pt x="3239123" y="315555"/>
                  </a:lnTo>
                  <a:lnTo>
                    <a:pt x="3244336" y="317021"/>
                  </a:lnTo>
                  <a:lnTo>
                    <a:pt x="3245639" y="315066"/>
                  </a:lnTo>
                  <a:lnTo>
                    <a:pt x="3241077" y="311156"/>
                  </a:lnTo>
                  <a:lnTo>
                    <a:pt x="3239286" y="306595"/>
                  </a:lnTo>
                  <a:lnTo>
                    <a:pt x="3241892" y="306269"/>
                  </a:lnTo>
                  <a:lnTo>
                    <a:pt x="3247757" y="302522"/>
                  </a:lnTo>
                  <a:lnTo>
                    <a:pt x="3249549" y="298775"/>
                  </a:lnTo>
                  <a:lnTo>
                    <a:pt x="3243195" y="298775"/>
                  </a:lnTo>
                  <a:lnTo>
                    <a:pt x="3245965" y="296495"/>
                  </a:lnTo>
                  <a:lnTo>
                    <a:pt x="3248409" y="295191"/>
                  </a:lnTo>
                  <a:lnTo>
                    <a:pt x="3253459" y="294051"/>
                  </a:lnTo>
                  <a:lnTo>
                    <a:pt x="3257857" y="286720"/>
                  </a:lnTo>
                  <a:lnTo>
                    <a:pt x="3262256" y="287372"/>
                  </a:lnTo>
                  <a:lnTo>
                    <a:pt x="3264211" y="290304"/>
                  </a:lnTo>
                  <a:lnTo>
                    <a:pt x="3266817" y="289490"/>
                  </a:lnTo>
                  <a:lnTo>
                    <a:pt x="3271379" y="290630"/>
                  </a:lnTo>
                  <a:lnTo>
                    <a:pt x="3272031" y="293074"/>
                  </a:lnTo>
                  <a:lnTo>
                    <a:pt x="3276429" y="297309"/>
                  </a:lnTo>
                  <a:lnTo>
                    <a:pt x="3283923" y="298775"/>
                  </a:lnTo>
                  <a:lnTo>
                    <a:pt x="3287344" y="296820"/>
                  </a:lnTo>
                  <a:lnTo>
                    <a:pt x="3302983" y="299590"/>
                  </a:lnTo>
                  <a:lnTo>
                    <a:pt x="3301843" y="304966"/>
                  </a:lnTo>
                  <a:lnTo>
                    <a:pt x="3303146" y="307410"/>
                  </a:lnTo>
                  <a:lnTo>
                    <a:pt x="3306241" y="306106"/>
                  </a:lnTo>
                  <a:lnTo>
                    <a:pt x="3306567" y="302359"/>
                  </a:lnTo>
                  <a:lnTo>
                    <a:pt x="3311129" y="302848"/>
                  </a:lnTo>
                  <a:lnTo>
                    <a:pt x="3311129" y="309364"/>
                  </a:lnTo>
                  <a:cubicBezTo>
                    <a:pt x="3311129" y="309364"/>
                    <a:pt x="3315527" y="306106"/>
                    <a:pt x="3315527" y="306106"/>
                  </a:cubicBezTo>
                  <a:lnTo>
                    <a:pt x="3320415" y="300567"/>
                  </a:lnTo>
                  <a:lnTo>
                    <a:pt x="3325302" y="302359"/>
                  </a:lnTo>
                  <a:lnTo>
                    <a:pt x="3324976" y="306106"/>
                  </a:lnTo>
                  <a:lnTo>
                    <a:pt x="3322206" y="310016"/>
                  </a:lnTo>
                  <a:lnTo>
                    <a:pt x="3321066" y="313111"/>
                  </a:lnTo>
                  <a:lnTo>
                    <a:pt x="3325465" y="326796"/>
                  </a:lnTo>
                  <a:lnTo>
                    <a:pt x="3323672" y="333475"/>
                  </a:lnTo>
                  <a:lnTo>
                    <a:pt x="3324324" y="336407"/>
                  </a:lnTo>
                  <a:lnTo>
                    <a:pt x="3329211" y="335267"/>
                  </a:lnTo>
                  <a:lnTo>
                    <a:pt x="3332470" y="340643"/>
                  </a:lnTo>
                  <a:lnTo>
                    <a:pt x="3338009" y="343087"/>
                  </a:lnTo>
                  <a:lnTo>
                    <a:pt x="3339963" y="348463"/>
                  </a:lnTo>
                  <a:lnTo>
                    <a:pt x="3337194" y="351721"/>
                  </a:lnTo>
                  <a:lnTo>
                    <a:pt x="3329049" y="351395"/>
                  </a:lnTo>
                  <a:lnTo>
                    <a:pt x="3320415" y="352861"/>
                  </a:lnTo>
                  <a:lnTo>
                    <a:pt x="3331818" y="355468"/>
                  </a:lnTo>
                  <a:lnTo>
                    <a:pt x="3334913" y="360029"/>
                  </a:lnTo>
                  <a:lnTo>
                    <a:pt x="3333610" y="364428"/>
                  </a:lnTo>
                  <a:lnTo>
                    <a:pt x="3327745" y="365731"/>
                  </a:lnTo>
                  <a:lnTo>
                    <a:pt x="3322858" y="374365"/>
                  </a:lnTo>
                  <a:lnTo>
                    <a:pt x="3321066" y="371596"/>
                  </a:lnTo>
                  <a:lnTo>
                    <a:pt x="3314875" y="376646"/>
                  </a:lnTo>
                  <a:lnTo>
                    <a:pt x="3308033" y="376646"/>
                  </a:lnTo>
                  <a:cubicBezTo>
                    <a:pt x="3308033" y="376646"/>
                    <a:pt x="3302657" y="381207"/>
                    <a:pt x="3302657" y="381207"/>
                  </a:cubicBezTo>
                  <a:lnTo>
                    <a:pt x="3309825" y="380067"/>
                  </a:lnTo>
                  <a:lnTo>
                    <a:pt x="3313735" y="381859"/>
                  </a:lnTo>
                  <a:lnTo>
                    <a:pt x="3316342" y="385769"/>
                  </a:lnTo>
                  <a:lnTo>
                    <a:pt x="3320251" y="381696"/>
                  </a:lnTo>
                  <a:lnTo>
                    <a:pt x="3322695" y="381696"/>
                  </a:lnTo>
                  <a:cubicBezTo>
                    <a:pt x="3322695" y="381696"/>
                    <a:pt x="3323184" y="386258"/>
                    <a:pt x="3323184" y="386258"/>
                  </a:cubicBezTo>
                  <a:lnTo>
                    <a:pt x="3328071" y="392774"/>
                  </a:lnTo>
                  <a:lnTo>
                    <a:pt x="3323836" y="395543"/>
                  </a:lnTo>
                  <a:lnTo>
                    <a:pt x="3322695" y="403526"/>
                  </a:lnTo>
                  <a:lnTo>
                    <a:pt x="3328723" y="397335"/>
                  </a:lnTo>
                  <a:lnTo>
                    <a:pt x="3335076" y="396684"/>
                  </a:lnTo>
                  <a:lnTo>
                    <a:pt x="3341918" y="402386"/>
                  </a:lnTo>
                  <a:lnTo>
                    <a:pt x="3341104" y="406132"/>
                  </a:lnTo>
                  <a:lnTo>
                    <a:pt x="3345014" y="412649"/>
                  </a:lnTo>
                  <a:lnTo>
                    <a:pt x="3338986" y="416884"/>
                  </a:lnTo>
                  <a:lnTo>
                    <a:pt x="3342081" y="418351"/>
                  </a:lnTo>
                  <a:lnTo>
                    <a:pt x="3343384" y="426170"/>
                  </a:lnTo>
                  <a:lnTo>
                    <a:pt x="3337845" y="428614"/>
                  </a:lnTo>
                  <a:lnTo>
                    <a:pt x="3337520" y="432361"/>
                  </a:lnTo>
                  <a:lnTo>
                    <a:pt x="3339638" y="435619"/>
                  </a:lnTo>
                  <a:lnTo>
                    <a:pt x="3339963" y="431546"/>
                  </a:lnTo>
                  <a:lnTo>
                    <a:pt x="3344362" y="430406"/>
                  </a:lnTo>
                  <a:lnTo>
                    <a:pt x="3347457" y="433827"/>
                  </a:lnTo>
                  <a:lnTo>
                    <a:pt x="3346480" y="440343"/>
                  </a:lnTo>
                  <a:lnTo>
                    <a:pt x="3352345" y="439040"/>
                  </a:lnTo>
                  <a:lnTo>
                    <a:pt x="3354299" y="442787"/>
                  </a:lnTo>
                  <a:lnTo>
                    <a:pt x="3354625" y="438551"/>
                  </a:lnTo>
                  <a:lnTo>
                    <a:pt x="3357720" y="435782"/>
                  </a:lnTo>
                  <a:lnTo>
                    <a:pt x="3361467" y="437737"/>
                  </a:lnTo>
                  <a:lnTo>
                    <a:pt x="3366681" y="438551"/>
                  </a:lnTo>
                  <a:lnTo>
                    <a:pt x="3366681" y="444905"/>
                  </a:lnTo>
                  <a:lnTo>
                    <a:pt x="3362771" y="446697"/>
                  </a:lnTo>
                  <a:lnTo>
                    <a:pt x="3358047" y="443765"/>
                  </a:lnTo>
                  <a:lnTo>
                    <a:pt x="3354788" y="448163"/>
                  </a:lnTo>
                  <a:lnTo>
                    <a:pt x="3360653" y="451584"/>
                  </a:lnTo>
                  <a:lnTo>
                    <a:pt x="3364888" y="450770"/>
                  </a:lnTo>
                  <a:lnTo>
                    <a:pt x="3368309" y="457775"/>
                  </a:lnTo>
                  <a:lnTo>
                    <a:pt x="3368309" y="461196"/>
                  </a:lnTo>
                  <a:cubicBezTo>
                    <a:pt x="3368309" y="461196"/>
                    <a:pt x="3360979" y="464454"/>
                    <a:pt x="3360979" y="464454"/>
                  </a:cubicBezTo>
                  <a:lnTo>
                    <a:pt x="3355440" y="456146"/>
                  </a:lnTo>
                  <a:lnTo>
                    <a:pt x="3353648" y="455005"/>
                  </a:lnTo>
                  <a:lnTo>
                    <a:pt x="3356417" y="464454"/>
                  </a:lnTo>
                  <a:lnTo>
                    <a:pt x="3352508" y="468201"/>
                  </a:lnTo>
                  <a:lnTo>
                    <a:pt x="3350064" y="467875"/>
                  </a:lnTo>
                  <a:lnTo>
                    <a:pt x="3348761" y="465757"/>
                  </a:lnTo>
                  <a:lnTo>
                    <a:pt x="3344688" y="466246"/>
                  </a:lnTo>
                  <a:lnTo>
                    <a:pt x="3341429" y="464128"/>
                  </a:lnTo>
                  <a:lnTo>
                    <a:pt x="3329537" y="463151"/>
                  </a:lnTo>
                  <a:lnTo>
                    <a:pt x="3325139" y="465594"/>
                  </a:lnTo>
                  <a:lnTo>
                    <a:pt x="3320088" y="465594"/>
                  </a:lnTo>
                  <a:lnTo>
                    <a:pt x="3321392" y="462010"/>
                  </a:lnTo>
                  <a:lnTo>
                    <a:pt x="3319437" y="458589"/>
                  </a:lnTo>
                  <a:lnTo>
                    <a:pt x="3315527" y="457938"/>
                  </a:lnTo>
                  <a:lnTo>
                    <a:pt x="3316667" y="464617"/>
                  </a:lnTo>
                  <a:lnTo>
                    <a:pt x="3313572" y="464617"/>
                  </a:lnTo>
                  <a:cubicBezTo>
                    <a:pt x="3313572" y="464617"/>
                    <a:pt x="3312595" y="466083"/>
                    <a:pt x="3312595" y="466083"/>
                  </a:cubicBezTo>
                  <a:lnTo>
                    <a:pt x="3315038" y="470156"/>
                  </a:lnTo>
                  <a:lnTo>
                    <a:pt x="3310966" y="475043"/>
                  </a:lnTo>
                  <a:lnTo>
                    <a:pt x="3309499" y="475043"/>
                  </a:lnTo>
                  <a:lnTo>
                    <a:pt x="3309499" y="472599"/>
                  </a:lnTo>
                  <a:lnTo>
                    <a:pt x="3307545" y="471296"/>
                  </a:lnTo>
                  <a:lnTo>
                    <a:pt x="3296793" y="473903"/>
                  </a:lnTo>
                  <a:lnTo>
                    <a:pt x="3294023" y="472437"/>
                  </a:lnTo>
                  <a:lnTo>
                    <a:pt x="3294349" y="469504"/>
                  </a:lnTo>
                  <a:lnTo>
                    <a:pt x="3292231" y="462988"/>
                  </a:lnTo>
                  <a:lnTo>
                    <a:pt x="3290439" y="461685"/>
                  </a:lnTo>
                  <a:lnTo>
                    <a:pt x="3278058" y="452562"/>
                  </a:lnTo>
                  <a:lnTo>
                    <a:pt x="3276429" y="450607"/>
                  </a:lnTo>
                  <a:lnTo>
                    <a:pt x="3277732" y="448815"/>
                  </a:lnTo>
                  <a:lnTo>
                    <a:pt x="3269098" y="445882"/>
                  </a:lnTo>
                  <a:lnTo>
                    <a:pt x="3267958" y="451258"/>
                  </a:lnTo>
                  <a:lnTo>
                    <a:pt x="3259324" y="453539"/>
                  </a:lnTo>
                  <a:lnTo>
                    <a:pt x="3254925" y="457938"/>
                  </a:lnTo>
                  <a:lnTo>
                    <a:pt x="3251993" y="458589"/>
                  </a:lnTo>
                  <a:lnTo>
                    <a:pt x="3251341" y="452073"/>
                  </a:lnTo>
                  <a:lnTo>
                    <a:pt x="3248572" y="447023"/>
                  </a:lnTo>
                  <a:lnTo>
                    <a:pt x="3250038" y="451910"/>
                  </a:lnTo>
                  <a:lnTo>
                    <a:pt x="3249060" y="462173"/>
                  </a:lnTo>
                  <a:lnTo>
                    <a:pt x="3251341" y="467875"/>
                  </a:lnTo>
                  <a:lnTo>
                    <a:pt x="3249549" y="473903"/>
                  </a:lnTo>
                  <a:lnTo>
                    <a:pt x="3240263" y="487098"/>
                  </a:lnTo>
                  <a:lnTo>
                    <a:pt x="3235539" y="487098"/>
                  </a:lnTo>
                  <a:cubicBezTo>
                    <a:pt x="3235539" y="487098"/>
                    <a:pt x="3235213" y="477813"/>
                    <a:pt x="3235213" y="477813"/>
                  </a:cubicBezTo>
                  <a:lnTo>
                    <a:pt x="3229674" y="475695"/>
                  </a:lnTo>
                  <a:lnTo>
                    <a:pt x="3225113" y="478464"/>
                  </a:lnTo>
                  <a:lnTo>
                    <a:pt x="3212568" y="468853"/>
                  </a:lnTo>
                  <a:lnTo>
                    <a:pt x="3213383" y="464780"/>
                  </a:lnTo>
                  <a:lnTo>
                    <a:pt x="3211591" y="452399"/>
                  </a:lnTo>
                  <a:lnTo>
                    <a:pt x="3206867" y="450607"/>
                  </a:lnTo>
                  <a:lnTo>
                    <a:pt x="3205075" y="447186"/>
                  </a:lnTo>
                  <a:lnTo>
                    <a:pt x="3202305" y="443927"/>
                  </a:lnTo>
                  <a:lnTo>
                    <a:pt x="3199699" y="446371"/>
                  </a:lnTo>
                  <a:lnTo>
                    <a:pt x="3201491" y="450281"/>
                  </a:lnTo>
                  <a:lnTo>
                    <a:pt x="3201002" y="454517"/>
                  </a:lnTo>
                  <a:lnTo>
                    <a:pt x="3204260" y="458101"/>
                  </a:lnTo>
                  <a:lnTo>
                    <a:pt x="3202957" y="461685"/>
                  </a:lnTo>
                  <a:lnTo>
                    <a:pt x="3194974" y="457123"/>
                  </a:lnTo>
                  <a:lnTo>
                    <a:pt x="3189272" y="450118"/>
                  </a:lnTo>
                  <a:lnTo>
                    <a:pt x="3188295" y="450770"/>
                  </a:lnTo>
                  <a:lnTo>
                    <a:pt x="3191227" y="457449"/>
                  </a:lnTo>
                  <a:lnTo>
                    <a:pt x="3187969" y="459893"/>
                  </a:lnTo>
                  <a:lnTo>
                    <a:pt x="3190250" y="461847"/>
                  </a:lnTo>
                  <a:lnTo>
                    <a:pt x="3196277" y="461847"/>
                  </a:lnTo>
                  <a:cubicBezTo>
                    <a:pt x="3196277" y="461847"/>
                    <a:pt x="3199699" y="465920"/>
                    <a:pt x="3199699" y="465920"/>
                  </a:cubicBezTo>
                  <a:lnTo>
                    <a:pt x="3197744" y="471459"/>
                  </a:lnTo>
                  <a:lnTo>
                    <a:pt x="3190250" y="471948"/>
                  </a:lnTo>
                  <a:lnTo>
                    <a:pt x="3189435" y="475206"/>
                  </a:lnTo>
                  <a:lnTo>
                    <a:pt x="3192856" y="476998"/>
                  </a:lnTo>
                  <a:lnTo>
                    <a:pt x="3207029" y="493941"/>
                  </a:lnTo>
                  <a:lnTo>
                    <a:pt x="3217293" y="496710"/>
                  </a:lnTo>
                  <a:lnTo>
                    <a:pt x="3223158" y="494266"/>
                  </a:lnTo>
                  <a:lnTo>
                    <a:pt x="3229674" y="497525"/>
                  </a:lnTo>
                  <a:lnTo>
                    <a:pt x="3231466" y="504693"/>
                  </a:lnTo>
                  <a:lnTo>
                    <a:pt x="3230488" y="504693"/>
                  </a:lnTo>
                  <a:cubicBezTo>
                    <a:pt x="3230488" y="504693"/>
                    <a:pt x="3225927" y="498665"/>
                    <a:pt x="3225927" y="498665"/>
                  </a:cubicBezTo>
                  <a:lnTo>
                    <a:pt x="3223483" y="498665"/>
                  </a:lnTo>
                  <a:cubicBezTo>
                    <a:pt x="3223483" y="498665"/>
                    <a:pt x="3226742" y="506159"/>
                    <a:pt x="3226742" y="506159"/>
                  </a:cubicBezTo>
                  <a:lnTo>
                    <a:pt x="3234072" y="511698"/>
                  </a:lnTo>
                  <a:lnTo>
                    <a:pt x="3236027" y="518051"/>
                  </a:lnTo>
                  <a:lnTo>
                    <a:pt x="3240915" y="523753"/>
                  </a:lnTo>
                  <a:lnTo>
                    <a:pt x="3240915" y="534668"/>
                  </a:lnTo>
                  <a:cubicBezTo>
                    <a:pt x="3240915" y="534668"/>
                    <a:pt x="3236679" y="551448"/>
                    <a:pt x="3236679" y="551448"/>
                  </a:cubicBezTo>
                  <a:lnTo>
                    <a:pt x="3239123" y="561385"/>
                  </a:lnTo>
                  <a:lnTo>
                    <a:pt x="3239123" y="568390"/>
                  </a:lnTo>
                  <a:cubicBezTo>
                    <a:pt x="3239123" y="568390"/>
                    <a:pt x="3240426" y="571811"/>
                    <a:pt x="3240426" y="571811"/>
                  </a:cubicBezTo>
                  <a:lnTo>
                    <a:pt x="3234235" y="581260"/>
                  </a:lnTo>
                  <a:lnTo>
                    <a:pt x="3234235" y="587450"/>
                  </a:lnTo>
                  <a:lnTo>
                    <a:pt x="3229837" y="590709"/>
                  </a:lnTo>
                  <a:lnTo>
                    <a:pt x="3231140" y="585821"/>
                  </a:lnTo>
                  <a:lnTo>
                    <a:pt x="3229837" y="583866"/>
                  </a:lnTo>
                  <a:lnTo>
                    <a:pt x="3218108" y="592826"/>
                  </a:lnTo>
                  <a:lnTo>
                    <a:pt x="3215175" y="589405"/>
                  </a:lnTo>
                  <a:lnTo>
                    <a:pt x="3209799" y="593315"/>
                  </a:lnTo>
                  <a:lnTo>
                    <a:pt x="3205889" y="592338"/>
                  </a:lnTo>
                  <a:lnTo>
                    <a:pt x="3203120" y="587450"/>
                  </a:lnTo>
                  <a:lnTo>
                    <a:pt x="3197744" y="586799"/>
                  </a:lnTo>
                  <a:lnTo>
                    <a:pt x="3190413" y="578979"/>
                  </a:lnTo>
                  <a:lnTo>
                    <a:pt x="3184385" y="574744"/>
                  </a:lnTo>
                  <a:lnTo>
                    <a:pt x="3177706" y="573929"/>
                  </a:lnTo>
                  <a:lnTo>
                    <a:pt x="3173470" y="571159"/>
                  </a:lnTo>
                  <a:lnTo>
                    <a:pt x="3169072" y="572300"/>
                  </a:lnTo>
                  <a:lnTo>
                    <a:pt x="3164510" y="578490"/>
                  </a:lnTo>
                  <a:lnTo>
                    <a:pt x="3158972" y="578490"/>
                  </a:lnTo>
                  <a:cubicBezTo>
                    <a:pt x="3158972" y="578490"/>
                    <a:pt x="3164673" y="580934"/>
                    <a:pt x="3164673" y="580934"/>
                  </a:cubicBezTo>
                  <a:lnTo>
                    <a:pt x="3171841" y="580934"/>
                  </a:lnTo>
                  <a:cubicBezTo>
                    <a:pt x="3171841" y="580934"/>
                    <a:pt x="3175099" y="575884"/>
                    <a:pt x="3175099" y="575884"/>
                  </a:cubicBezTo>
                  <a:lnTo>
                    <a:pt x="3188621" y="581586"/>
                  </a:lnTo>
                  <a:lnTo>
                    <a:pt x="3191065" y="586147"/>
                  </a:lnTo>
                  <a:lnTo>
                    <a:pt x="3184222" y="590871"/>
                  </a:lnTo>
                  <a:lnTo>
                    <a:pt x="3179824" y="587939"/>
                  </a:lnTo>
                  <a:lnTo>
                    <a:pt x="3173959" y="587939"/>
                  </a:lnTo>
                  <a:cubicBezTo>
                    <a:pt x="3173959" y="587939"/>
                    <a:pt x="3173796" y="593315"/>
                    <a:pt x="3173796" y="593315"/>
                  </a:cubicBezTo>
                  <a:lnTo>
                    <a:pt x="3168909" y="587776"/>
                  </a:lnTo>
                  <a:lnTo>
                    <a:pt x="3164184" y="588428"/>
                  </a:lnTo>
                  <a:lnTo>
                    <a:pt x="3166465" y="588754"/>
                  </a:lnTo>
                  <a:lnTo>
                    <a:pt x="3168909" y="595596"/>
                  </a:lnTo>
                  <a:lnTo>
                    <a:pt x="3176729" y="599669"/>
                  </a:lnTo>
                  <a:lnTo>
                    <a:pt x="3174774" y="607000"/>
                  </a:lnTo>
                  <a:lnTo>
                    <a:pt x="3177869" y="615960"/>
                  </a:lnTo>
                  <a:lnTo>
                    <a:pt x="3182756" y="618403"/>
                  </a:lnTo>
                  <a:lnTo>
                    <a:pt x="3179824" y="615471"/>
                  </a:lnTo>
                  <a:lnTo>
                    <a:pt x="3180475" y="604882"/>
                  </a:lnTo>
                  <a:lnTo>
                    <a:pt x="3183897" y="602764"/>
                  </a:lnTo>
                  <a:lnTo>
                    <a:pt x="3188295" y="603904"/>
                  </a:lnTo>
                  <a:lnTo>
                    <a:pt x="3188295" y="600972"/>
                  </a:lnTo>
                  <a:lnTo>
                    <a:pt x="3196277" y="593804"/>
                  </a:lnTo>
                  <a:lnTo>
                    <a:pt x="3200513" y="592663"/>
                  </a:lnTo>
                  <a:lnTo>
                    <a:pt x="3203772" y="595433"/>
                  </a:lnTo>
                  <a:lnTo>
                    <a:pt x="3203772" y="598691"/>
                  </a:lnTo>
                  <a:lnTo>
                    <a:pt x="3210125" y="608629"/>
                  </a:lnTo>
                  <a:lnTo>
                    <a:pt x="3216478" y="610421"/>
                  </a:lnTo>
                  <a:lnTo>
                    <a:pt x="3222669" y="616448"/>
                  </a:lnTo>
                  <a:lnTo>
                    <a:pt x="3229837" y="615471"/>
                  </a:lnTo>
                  <a:lnTo>
                    <a:pt x="3231955" y="611235"/>
                  </a:lnTo>
                  <a:lnTo>
                    <a:pt x="3230651" y="607488"/>
                  </a:lnTo>
                  <a:lnTo>
                    <a:pt x="3232932" y="608140"/>
                  </a:lnTo>
                  <a:lnTo>
                    <a:pt x="3246291" y="618892"/>
                  </a:lnTo>
                  <a:lnTo>
                    <a:pt x="3248572" y="623127"/>
                  </a:lnTo>
                  <a:lnTo>
                    <a:pt x="3243521" y="622313"/>
                  </a:lnTo>
                  <a:lnTo>
                    <a:pt x="3242870" y="627200"/>
                  </a:lnTo>
                  <a:lnTo>
                    <a:pt x="3252156" y="636323"/>
                  </a:lnTo>
                  <a:lnTo>
                    <a:pt x="3255577" y="635997"/>
                  </a:lnTo>
                  <a:lnTo>
                    <a:pt x="3255577" y="633879"/>
                  </a:lnTo>
                  <a:cubicBezTo>
                    <a:pt x="3255577" y="633879"/>
                    <a:pt x="3255740" y="626386"/>
                    <a:pt x="3255740" y="626386"/>
                  </a:cubicBezTo>
                  <a:lnTo>
                    <a:pt x="3263070" y="631925"/>
                  </a:lnTo>
                  <a:lnTo>
                    <a:pt x="3273334" y="648053"/>
                  </a:lnTo>
                  <a:lnTo>
                    <a:pt x="3269424" y="644631"/>
                  </a:lnTo>
                  <a:lnTo>
                    <a:pt x="3266166" y="644631"/>
                  </a:lnTo>
                  <a:lnTo>
                    <a:pt x="3265025" y="646423"/>
                  </a:lnTo>
                  <a:lnTo>
                    <a:pt x="3268935" y="651637"/>
                  </a:lnTo>
                  <a:lnTo>
                    <a:pt x="3263722" y="655383"/>
                  </a:lnTo>
                  <a:lnTo>
                    <a:pt x="3263070" y="660922"/>
                  </a:lnTo>
                  <a:lnTo>
                    <a:pt x="3265025" y="664181"/>
                  </a:lnTo>
                  <a:lnTo>
                    <a:pt x="3270238" y="662389"/>
                  </a:lnTo>
                  <a:lnTo>
                    <a:pt x="3271216" y="656524"/>
                  </a:lnTo>
                  <a:lnTo>
                    <a:pt x="3273171" y="654895"/>
                  </a:lnTo>
                  <a:lnTo>
                    <a:pt x="3276918" y="656524"/>
                  </a:lnTo>
                  <a:lnTo>
                    <a:pt x="3278221" y="651637"/>
                  </a:lnTo>
                  <a:lnTo>
                    <a:pt x="3282456" y="659130"/>
                  </a:lnTo>
                  <a:lnTo>
                    <a:pt x="3293860" y="666624"/>
                  </a:lnTo>
                  <a:lnTo>
                    <a:pt x="3305427" y="669394"/>
                  </a:lnTo>
                  <a:lnTo>
                    <a:pt x="3312106" y="675421"/>
                  </a:lnTo>
                  <a:lnTo>
                    <a:pt x="3308359" y="679331"/>
                  </a:lnTo>
                  <a:lnTo>
                    <a:pt x="3314875" y="688617"/>
                  </a:lnTo>
                  <a:lnTo>
                    <a:pt x="3320415" y="689920"/>
                  </a:lnTo>
                  <a:lnTo>
                    <a:pt x="3327256" y="700346"/>
                  </a:lnTo>
                  <a:lnTo>
                    <a:pt x="3327908" y="715660"/>
                  </a:lnTo>
                  <a:lnTo>
                    <a:pt x="3324487" y="716800"/>
                  </a:lnTo>
                  <a:lnTo>
                    <a:pt x="3324487" y="719244"/>
                  </a:lnTo>
                  <a:lnTo>
                    <a:pt x="3329537" y="722339"/>
                  </a:lnTo>
                  <a:lnTo>
                    <a:pt x="3332307" y="728856"/>
                  </a:lnTo>
                  <a:lnTo>
                    <a:pt x="3329863" y="729833"/>
                  </a:lnTo>
                  <a:lnTo>
                    <a:pt x="3326605" y="726901"/>
                  </a:lnTo>
                  <a:lnTo>
                    <a:pt x="3307870" y="726901"/>
                  </a:lnTo>
                  <a:lnTo>
                    <a:pt x="3302331" y="723480"/>
                  </a:lnTo>
                  <a:lnTo>
                    <a:pt x="3298584" y="725760"/>
                  </a:lnTo>
                  <a:lnTo>
                    <a:pt x="3293860" y="724294"/>
                  </a:lnTo>
                  <a:lnTo>
                    <a:pt x="3292883" y="719896"/>
                  </a:lnTo>
                  <a:lnTo>
                    <a:pt x="3289950" y="718104"/>
                  </a:lnTo>
                  <a:lnTo>
                    <a:pt x="3288647" y="720221"/>
                  </a:lnTo>
                  <a:lnTo>
                    <a:pt x="3290928" y="724131"/>
                  </a:lnTo>
                  <a:lnTo>
                    <a:pt x="3282782" y="729181"/>
                  </a:lnTo>
                  <a:lnTo>
                    <a:pt x="3276429" y="729181"/>
                  </a:lnTo>
                  <a:cubicBezTo>
                    <a:pt x="3276429" y="729181"/>
                    <a:pt x="3274474" y="731136"/>
                    <a:pt x="3274474" y="731136"/>
                  </a:cubicBezTo>
                  <a:lnTo>
                    <a:pt x="3278221" y="733417"/>
                  </a:lnTo>
                  <a:lnTo>
                    <a:pt x="3269424" y="741400"/>
                  </a:lnTo>
                  <a:lnTo>
                    <a:pt x="3264862" y="741400"/>
                  </a:lnTo>
                  <a:cubicBezTo>
                    <a:pt x="3264862" y="741400"/>
                    <a:pt x="3264699" y="746287"/>
                    <a:pt x="3264699" y="746287"/>
                  </a:cubicBezTo>
                  <a:lnTo>
                    <a:pt x="3267958" y="747427"/>
                  </a:lnTo>
                  <a:lnTo>
                    <a:pt x="3260301" y="757365"/>
                  </a:lnTo>
                  <a:lnTo>
                    <a:pt x="3257368" y="760297"/>
                  </a:lnTo>
                  <a:lnTo>
                    <a:pt x="3256554" y="758994"/>
                  </a:lnTo>
                  <a:lnTo>
                    <a:pt x="3252318" y="758994"/>
                  </a:lnTo>
                  <a:cubicBezTo>
                    <a:pt x="3252318" y="758994"/>
                    <a:pt x="3252318" y="766162"/>
                    <a:pt x="3252318" y="766162"/>
                  </a:cubicBezTo>
                  <a:lnTo>
                    <a:pt x="3255577" y="773493"/>
                  </a:lnTo>
                  <a:lnTo>
                    <a:pt x="3250363" y="778543"/>
                  </a:lnTo>
                  <a:lnTo>
                    <a:pt x="3247431" y="775448"/>
                  </a:lnTo>
                  <a:lnTo>
                    <a:pt x="3246454" y="780661"/>
                  </a:lnTo>
                  <a:lnTo>
                    <a:pt x="3248734" y="784408"/>
                  </a:lnTo>
                  <a:lnTo>
                    <a:pt x="3242870" y="790435"/>
                  </a:lnTo>
                  <a:lnTo>
                    <a:pt x="3238634" y="791576"/>
                  </a:lnTo>
                  <a:lnTo>
                    <a:pt x="3241404" y="794019"/>
                  </a:lnTo>
                  <a:lnTo>
                    <a:pt x="3240100" y="796789"/>
                  </a:lnTo>
                  <a:lnTo>
                    <a:pt x="3238145" y="801187"/>
                  </a:lnTo>
                  <a:lnTo>
                    <a:pt x="3235050" y="799558"/>
                  </a:lnTo>
                  <a:lnTo>
                    <a:pt x="3231140" y="801513"/>
                  </a:lnTo>
                  <a:lnTo>
                    <a:pt x="3234235" y="805260"/>
                  </a:lnTo>
                  <a:lnTo>
                    <a:pt x="3234561" y="809333"/>
                  </a:lnTo>
                  <a:lnTo>
                    <a:pt x="3229348" y="813405"/>
                  </a:lnTo>
                  <a:lnTo>
                    <a:pt x="3231792" y="817152"/>
                  </a:lnTo>
                  <a:lnTo>
                    <a:pt x="3230651" y="821225"/>
                  </a:lnTo>
                  <a:lnTo>
                    <a:pt x="3227231" y="822040"/>
                  </a:lnTo>
                  <a:lnTo>
                    <a:pt x="3224461" y="819270"/>
                  </a:lnTo>
                  <a:lnTo>
                    <a:pt x="3221202" y="820410"/>
                  </a:lnTo>
                  <a:lnTo>
                    <a:pt x="3223972" y="824483"/>
                  </a:lnTo>
                  <a:lnTo>
                    <a:pt x="3231466" y="827904"/>
                  </a:lnTo>
                  <a:lnTo>
                    <a:pt x="3229022" y="833443"/>
                  </a:lnTo>
                  <a:lnTo>
                    <a:pt x="3221854" y="834095"/>
                  </a:lnTo>
                  <a:lnTo>
                    <a:pt x="3221854" y="836864"/>
                  </a:lnTo>
                  <a:lnTo>
                    <a:pt x="3225275" y="838819"/>
                  </a:lnTo>
                  <a:lnTo>
                    <a:pt x="3229022" y="847128"/>
                  </a:lnTo>
                  <a:lnTo>
                    <a:pt x="3225927" y="849571"/>
                  </a:lnTo>
                  <a:lnTo>
                    <a:pt x="3227882" y="852992"/>
                  </a:lnTo>
                  <a:lnTo>
                    <a:pt x="3222506" y="860812"/>
                  </a:lnTo>
                  <a:lnTo>
                    <a:pt x="3223809" y="864885"/>
                  </a:lnTo>
                  <a:lnTo>
                    <a:pt x="3220388" y="873845"/>
                  </a:lnTo>
                  <a:lnTo>
                    <a:pt x="3218433" y="885900"/>
                  </a:lnTo>
                  <a:lnTo>
                    <a:pt x="3215501" y="890299"/>
                  </a:lnTo>
                  <a:lnTo>
                    <a:pt x="3214849" y="894860"/>
                  </a:lnTo>
                  <a:lnTo>
                    <a:pt x="3218108" y="896000"/>
                  </a:lnTo>
                  <a:lnTo>
                    <a:pt x="3219574" y="899096"/>
                  </a:lnTo>
                  <a:lnTo>
                    <a:pt x="3217618" y="902191"/>
                  </a:lnTo>
                  <a:lnTo>
                    <a:pt x="3225113" y="912128"/>
                  </a:lnTo>
                  <a:lnTo>
                    <a:pt x="3225113" y="916364"/>
                  </a:lnTo>
                  <a:cubicBezTo>
                    <a:pt x="3225113" y="916364"/>
                    <a:pt x="3221202" y="915061"/>
                    <a:pt x="3221202" y="915061"/>
                  </a:cubicBezTo>
                  <a:lnTo>
                    <a:pt x="3215175" y="916038"/>
                  </a:lnTo>
                  <a:lnTo>
                    <a:pt x="3210777" y="911640"/>
                  </a:lnTo>
                  <a:lnTo>
                    <a:pt x="3208007" y="914083"/>
                  </a:lnTo>
                  <a:lnTo>
                    <a:pt x="3200676" y="905775"/>
                  </a:lnTo>
                  <a:lnTo>
                    <a:pt x="3202957" y="903983"/>
                  </a:lnTo>
                  <a:lnTo>
                    <a:pt x="3200350" y="902680"/>
                  </a:lnTo>
                  <a:lnTo>
                    <a:pt x="3195952" y="903657"/>
                  </a:lnTo>
                  <a:lnTo>
                    <a:pt x="3192042" y="903005"/>
                  </a:lnTo>
                  <a:lnTo>
                    <a:pt x="3191065" y="898607"/>
                  </a:lnTo>
                  <a:lnTo>
                    <a:pt x="3177543" y="890624"/>
                  </a:lnTo>
                  <a:lnTo>
                    <a:pt x="3170375" y="889321"/>
                  </a:lnTo>
                  <a:lnTo>
                    <a:pt x="3161904" y="894697"/>
                  </a:lnTo>
                  <a:lnTo>
                    <a:pt x="3159134" y="892579"/>
                  </a:lnTo>
                  <a:lnTo>
                    <a:pt x="3153758" y="894045"/>
                  </a:lnTo>
                  <a:lnTo>
                    <a:pt x="3148382" y="901051"/>
                  </a:lnTo>
                  <a:lnTo>
                    <a:pt x="3143332" y="901051"/>
                  </a:lnTo>
                  <a:cubicBezTo>
                    <a:pt x="3143332" y="901051"/>
                    <a:pt x="3140888" y="910662"/>
                    <a:pt x="3140888" y="910662"/>
                  </a:cubicBezTo>
                  <a:lnTo>
                    <a:pt x="3137467" y="913920"/>
                  </a:lnTo>
                  <a:lnTo>
                    <a:pt x="3132417" y="911151"/>
                  </a:lnTo>
                  <a:lnTo>
                    <a:pt x="3136327" y="918156"/>
                  </a:lnTo>
                  <a:lnTo>
                    <a:pt x="3133395" y="922392"/>
                  </a:lnTo>
                  <a:lnTo>
                    <a:pt x="3134535" y="928256"/>
                  </a:lnTo>
                  <a:lnTo>
                    <a:pt x="3132743" y="932655"/>
                  </a:lnTo>
                  <a:lnTo>
                    <a:pt x="3130951" y="946176"/>
                  </a:lnTo>
                  <a:lnTo>
                    <a:pt x="3128508" y="948294"/>
                  </a:lnTo>
                  <a:lnTo>
                    <a:pt x="3125249" y="944221"/>
                  </a:lnTo>
                  <a:lnTo>
                    <a:pt x="3119059" y="927768"/>
                  </a:lnTo>
                  <a:lnTo>
                    <a:pt x="3118733" y="922229"/>
                  </a:lnTo>
                  <a:lnTo>
                    <a:pt x="3114008" y="919785"/>
                  </a:lnTo>
                  <a:lnTo>
                    <a:pt x="3110099" y="914735"/>
                  </a:lnTo>
                  <a:lnTo>
                    <a:pt x="3109447" y="920600"/>
                  </a:lnTo>
                  <a:lnTo>
                    <a:pt x="3103256" y="931352"/>
                  </a:lnTo>
                  <a:lnTo>
                    <a:pt x="3099184" y="933795"/>
                  </a:lnTo>
                  <a:lnTo>
                    <a:pt x="3098206" y="938845"/>
                  </a:lnTo>
                  <a:lnTo>
                    <a:pt x="3103745" y="940963"/>
                  </a:lnTo>
                  <a:lnTo>
                    <a:pt x="3098369" y="952367"/>
                  </a:lnTo>
                  <a:lnTo>
                    <a:pt x="3094459" y="946828"/>
                  </a:lnTo>
                  <a:lnTo>
                    <a:pt x="3091690" y="946828"/>
                  </a:lnTo>
                  <a:cubicBezTo>
                    <a:pt x="3091690" y="946828"/>
                    <a:pt x="3089246" y="942918"/>
                    <a:pt x="3089246" y="942918"/>
                  </a:cubicBezTo>
                  <a:lnTo>
                    <a:pt x="3085336" y="943570"/>
                  </a:lnTo>
                  <a:lnTo>
                    <a:pt x="3083218" y="950901"/>
                  </a:lnTo>
                  <a:lnTo>
                    <a:pt x="3080286" y="951878"/>
                  </a:lnTo>
                  <a:lnTo>
                    <a:pt x="3075073" y="948946"/>
                  </a:lnTo>
                  <a:lnTo>
                    <a:pt x="3071326" y="948946"/>
                  </a:lnTo>
                  <a:cubicBezTo>
                    <a:pt x="3071326" y="948946"/>
                    <a:pt x="3070675" y="952367"/>
                    <a:pt x="3070675" y="952367"/>
                  </a:cubicBezTo>
                  <a:lnTo>
                    <a:pt x="3074096" y="957254"/>
                  </a:lnTo>
                  <a:lnTo>
                    <a:pt x="3071489" y="959209"/>
                  </a:lnTo>
                  <a:lnTo>
                    <a:pt x="3069860" y="963608"/>
                  </a:lnTo>
                  <a:lnTo>
                    <a:pt x="3069208" y="968006"/>
                  </a:lnTo>
                  <a:lnTo>
                    <a:pt x="3073770" y="973219"/>
                  </a:lnTo>
                  <a:lnTo>
                    <a:pt x="3075073" y="979247"/>
                  </a:lnTo>
                  <a:lnTo>
                    <a:pt x="3072629" y="980224"/>
                  </a:lnTo>
                  <a:lnTo>
                    <a:pt x="3073933" y="983645"/>
                  </a:lnTo>
                  <a:lnTo>
                    <a:pt x="3079309" y="985275"/>
                  </a:lnTo>
                  <a:lnTo>
                    <a:pt x="3083218" y="989347"/>
                  </a:lnTo>
                  <a:lnTo>
                    <a:pt x="3084196" y="992605"/>
                  </a:lnTo>
                  <a:lnTo>
                    <a:pt x="3082241" y="992605"/>
                  </a:lnTo>
                  <a:lnTo>
                    <a:pt x="3080612" y="996027"/>
                  </a:lnTo>
                  <a:lnTo>
                    <a:pt x="3084685" y="999773"/>
                  </a:lnTo>
                  <a:lnTo>
                    <a:pt x="3088432" y="1003032"/>
                  </a:lnTo>
                  <a:lnTo>
                    <a:pt x="3088106" y="1005150"/>
                  </a:lnTo>
                  <a:lnTo>
                    <a:pt x="3083545" y="1002054"/>
                  </a:lnTo>
                  <a:lnTo>
                    <a:pt x="3079960" y="1003357"/>
                  </a:lnTo>
                  <a:lnTo>
                    <a:pt x="3079309" y="1005312"/>
                  </a:lnTo>
                  <a:lnTo>
                    <a:pt x="3084359" y="1010851"/>
                  </a:lnTo>
                  <a:lnTo>
                    <a:pt x="3087129" y="1009222"/>
                  </a:lnTo>
                  <a:lnTo>
                    <a:pt x="3087129" y="1014598"/>
                  </a:lnTo>
                  <a:lnTo>
                    <a:pt x="3085662" y="1020463"/>
                  </a:lnTo>
                  <a:lnTo>
                    <a:pt x="3086151" y="1025024"/>
                  </a:lnTo>
                  <a:lnTo>
                    <a:pt x="3083056" y="1029097"/>
                  </a:lnTo>
                  <a:lnTo>
                    <a:pt x="3085662" y="1036754"/>
                  </a:lnTo>
                  <a:lnTo>
                    <a:pt x="3083870" y="1040338"/>
                  </a:lnTo>
                  <a:lnTo>
                    <a:pt x="3086477" y="1045551"/>
                  </a:lnTo>
                  <a:lnTo>
                    <a:pt x="3086477" y="1048483"/>
                  </a:lnTo>
                  <a:cubicBezTo>
                    <a:pt x="3086477" y="1048483"/>
                    <a:pt x="3086477" y="1053859"/>
                    <a:pt x="3086477" y="1053859"/>
                  </a:cubicBezTo>
                  <a:lnTo>
                    <a:pt x="3090549" y="1062982"/>
                  </a:lnTo>
                  <a:lnTo>
                    <a:pt x="3088595" y="1065426"/>
                  </a:lnTo>
                  <a:lnTo>
                    <a:pt x="3092504" y="1068195"/>
                  </a:lnTo>
                  <a:lnTo>
                    <a:pt x="3097066" y="1072920"/>
                  </a:lnTo>
                  <a:lnTo>
                    <a:pt x="3103908" y="1082043"/>
                  </a:lnTo>
                  <a:lnTo>
                    <a:pt x="3110099" y="1084975"/>
                  </a:lnTo>
                  <a:lnTo>
                    <a:pt x="3112217" y="1083183"/>
                  </a:lnTo>
                  <a:lnTo>
                    <a:pt x="3113031" y="1078621"/>
                  </a:lnTo>
                  <a:lnTo>
                    <a:pt x="3106677" y="1071454"/>
                  </a:lnTo>
                  <a:lnTo>
                    <a:pt x="3106352" y="1067870"/>
                  </a:lnTo>
                  <a:lnTo>
                    <a:pt x="3110099" y="1064937"/>
                  </a:lnTo>
                  <a:lnTo>
                    <a:pt x="3115475" y="1065263"/>
                  </a:lnTo>
                  <a:lnTo>
                    <a:pt x="3124109" y="1071779"/>
                  </a:lnTo>
                  <a:lnTo>
                    <a:pt x="3128345" y="1070965"/>
                  </a:lnTo>
                  <a:lnTo>
                    <a:pt x="3131929" y="1072757"/>
                  </a:lnTo>
                  <a:lnTo>
                    <a:pt x="3132254" y="1077318"/>
                  </a:lnTo>
                  <a:lnTo>
                    <a:pt x="3130951" y="1080251"/>
                  </a:lnTo>
                  <a:lnTo>
                    <a:pt x="3134209" y="1084160"/>
                  </a:lnTo>
                  <a:lnTo>
                    <a:pt x="3131114" y="1088885"/>
                  </a:lnTo>
                  <a:lnTo>
                    <a:pt x="3132417" y="1093120"/>
                  </a:lnTo>
                  <a:lnTo>
                    <a:pt x="3130625" y="1094587"/>
                  </a:lnTo>
                  <a:lnTo>
                    <a:pt x="3126878" y="1098985"/>
                  </a:lnTo>
                  <a:lnTo>
                    <a:pt x="3131602" y="1108434"/>
                  </a:lnTo>
                  <a:lnTo>
                    <a:pt x="3135350" y="1113973"/>
                  </a:lnTo>
                  <a:lnTo>
                    <a:pt x="3135024" y="1123096"/>
                  </a:lnTo>
                  <a:lnTo>
                    <a:pt x="3140400" y="1127006"/>
                  </a:lnTo>
                  <a:lnTo>
                    <a:pt x="3143169" y="1125051"/>
                  </a:lnTo>
                  <a:lnTo>
                    <a:pt x="3143169" y="1122281"/>
                  </a:lnTo>
                  <a:cubicBezTo>
                    <a:pt x="3143169" y="1122281"/>
                    <a:pt x="3147079" y="1119186"/>
                    <a:pt x="3147079" y="1119186"/>
                  </a:cubicBezTo>
                  <a:lnTo>
                    <a:pt x="3148545" y="1117068"/>
                  </a:lnTo>
                  <a:lnTo>
                    <a:pt x="3149849" y="1118371"/>
                  </a:lnTo>
                  <a:lnTo>
                    <a:pt x="3155224" y="1121141"/>
                  </a:lnTo>
                  <a:lnTo>
                    <a:pt x="3155224" y="1132870"/>
                  </a:lnTo>
                  <a:cubicBezTo>
                    <a:pt x="3155224" y="1132870"/>
                    <a:pt x="3166465" y="1142971"/>
                    <a:pt x="3166465" y="1142971"/>
                  </a:cubicBezTo>
                  <a:lnTo>
                    <a:pt x="3170538" y="1151116"/>
                  </a:lnTo>
                  <a:lnTo>
                    <a:pt x="3168257" y="1154374"/>
                  </a:lnTo>
                  <a:lnTo>
                    <a:pt x="3167931" y="1161379"/>
                  </a:lnTo>
                  <a:lnTo>
                    <a:pt x="3164510" y="1162683"/>
                  </a:lnTo>
                  <a:lnTo>
                    <a:pt x="3157994" y="1157795"/>
                  </a:lnTo>
                  <a:lnTo>
                    <a:pt x="3150174" y="1154863"/>
                  </a:lnTo>
                  <a:lnTo>
                    <a:pt x="3149523" y="1147532"/>
                  </a:lnTo>
                  <a:lnTo>
                    <a:pt x="3151803" y="1142319"/>
                  </a:lnTo>
                  <a:lnTo>
                    <a:pt x="3152455" y="1135966"/>
                  </a:lnTo>
                  <a:lnTo>
                    <a:pt x="3151152" y="1131078"/>
                  </a:lnTo>
                  <a:lnTo>
                    <a:pt x="3147893" y="1134174"/>
                  </a:lnTo>
                  <a:lnTo>
                    <a:pt x="3149686" y="1136128"/>
                  </a:lnTo>
                  <a:lnTo>
                    <a:pt x="3149686" y="1140038"/>
                  </a:lnTo>
                  <a:lnTo>
                    <a:pt x="3144635" y="1141016"/>
                  </a:lnTo>
                  <a:lnTo>
                    <a:pt x="3139748" y="1148184"/>
                  </a:lnTo>
                  <a:lnTo>
                    <a:pt x="3141051" y="1151279"/>
                  </a:lnTo>
                  <a:lnTo>
                    <a:pt x="3147079" y="1149976"/>
                  </a:lnTo>
                  <a:lnTo>
                    <a:pt x="3147079" y="1155189"/>
                  </a:lnTo>
                  <a:lnTo>
                    <a:pt x="3143332" y="1161054"/>
                  </a:lnTo>
                  <a:lnTo>
                    <a:pt x="3145450" y="1169199"/>
                  </a:lnTo>
                  <a:lnTo>
                    <a:pt x="3144309" y="1171480"/>
                  </a:lnTo>
                  <a:lnTo>
                    <a:pt x="3144961" y="1189400"/>
                  </a:lnTo>
                  <a:lnTo>
                    <a:pt x="3148708" y="1193147"/>
                  </a:lnTo>
                  <a:lnTo>
                    <a:pt x="3148382" y="1197382"/>
                  </a:lnTo>
                  <a:lnTo>
                    <a:pt x="3161578" y="1216931"/>
                  </a:lnTo>
                  <a:lnTo>
                    <a:pt x="3165488" y="1216931"/>
                  </a:lnTo>
                  <a:lnTo>
                    <a:pt x="3174122" y="1229150"/>
                  </a:lnTo>
                  <a:lnTo>
                    <a:pt x="3179986" y="1232408"/>
                  </a:lnTo>
                  <a:lnTo>
                    <a:pt x="3176566" y="1236480"/>
                  </a:lnTo>
                  <a:lnTo>
                    <a:pt x="3177217" y="1242997"/>
                  </a:lnTo>
                  <a:lnTo>
                    <a:pt x="3162067" y="1248862"/>
                  </a:lnTo>
                  <a:lnTo>
                    <a:pt x="3160926" y="1246092"/>
                  </a:lnTo>
                  <a:lnTo>
                    <a:pt x="3152618" y="1251305"/>
                  </a:lnTo>
                  <a:lnTo>
                    <a:pt x="3148708" y="1250328"/>
                  </a:lnTo>
                  <a:lnTo>
                    <a:pt x="3150826" y="1252771"/>
                  </a:lnTo>
                  <a:lnTo>
                    <a:pt x="3146265" y="1262709"/>
                  </a:lnTo>
                  <a:lnTo>
                    <a:pt x="3145287" y="1269551"/>
                  </a:lnTo>
                  <a:lnTo>
                    <a:pt x="3142029" y="1272646"/>
                  </a:lnTo>
                  <a:lnTo>
                    <a:pt x="3146265" y="1277045"/>
                  </a:lnTo>
                  <a:lnTo>
                    <a:pt x="3143169" y="1290078"/>
                  </a:lnTo>
                  <a:lnTo>
                    <a:pt x="3148056" y="1304739"/>
                  </a:lnTo>
                  <a:lnTo>
                    <a:pt x="3155061" y="1308649"/>
                  </a:lnTo>
                  <a:lnTo>
                    <a:pt x="3154736" y="1315003"/>
                  </a:lnTo>
                  <a:lnTo>
                    <a:pt x="3162067" y="1318750"/>
                  </a:lnTo>
                  <a:lnTo>
                    <a:pt x="3165813" y="1323800"/>
                  </a:lnTo>
                  <a:lnTo>
                    <a:pt x="3159949" y="1323148"/>
                  </a:lnTo>
                  <a:lnTo>
                    <a:pt x="3158157" y="1321356"/>
                  </a:lnTo>
                  <a:lnTo>
                    <a:pt x="3153270" y="1324451"/>
                  </a:lnTo>
                  <a:lnTo>
                    <a:pt x="3149034" y="1328524"/>
                  </a:lnTo>
                  <a:lnTo>
                    <a:pt x="3145124" y="1327710"/>
                  </a:lnTo>
                  <a:lnTo>
                    <a:pt x="3137630" y="1334715"/>
                  </a:lnTo>
                  <a:lnTo>
                    <a:pt x="3132580" y="1330642"/>
                  </a:lnTo>
                  <a:lnTo>
                    <a:pt x="3129811" y="1335692"/>
                  </a:lnTo>
                  <a:lnTo>
                    <a:pt x="3132906" y="1338462"/>
                  </a:lnTo>
                  <a:lnTo>
                    <a:pt x="3138282" y="1338136"/>
                  </a:lnTo>
                  <a:lnTo>
                    <a:pt x="3136979" y="1343675"/>
                  </a:lnTo>
                  <a:lnTo>
                    <a:pt x="3135838" y="1346933"/>
                  </a:lnTo>
                  <a:lnTo>
                    <a:pt x="3140888" y="1351983"/>
                  </a:lnTo>
                  <a:lnTo>
                    <a:pt x="3138934" y="1354427"/>
                  </a:lnTo>
                  <a:lnTo>
                    <a:pt x="3136001" y="1353449"/>
                  </a:lnTo>
                  <a:lnTo>
                    <a:pt x="3139422" y="1360780"/>
                  </a:lnTo>
                  <a:lnTo>
                    <a:pt x="3137630" y="1364690"/>
                  </a:lnTo>
                  <a:lnTo>
                    <a:pt x="3140888" y="1365504"/>
                  </a:lnTo>
                  <a:lnTo>
                    <a:pt x="3143821" y="1364038"/>
                  </a:lnTo>
                  <a:lnTo>
                    <a:pt x="3148545" y="1368926"/>
                  </a:lnTo>
                  <a:lnTo>
                    <a:pt x="3144309" y="1372835"/>
                  </a:lnTo>
                  <a:lnTo>
                    <a:pt x="3143658" y="1380329"/>
                  </a:lnTo>
                  <a:lnTo>
                    <a:pt x="3146590" y="1384891"/>
                  </a:lnTo>
                  <a:lnTo>
                    <a:pt x="3144799" y="1395969"/>
                  </a:lnTo>
                  <a:lnTo>
                    <a:pt x="3142681" y="1400204"/>
                  </a:lnTo>
                  <a:lnTo>
                    <a:pt x="3143821" y="1402485"/>
                  </a:lnTo>
                  <a:lnTo>
                    <a:pt x="3142681" y="1407046"/>
                  </a:lnTo>
                  <a:lnTo>
                    <a:pt x="3136490" y="1412422"/>
                  </a:lnTo>
                  <a:lnTo>
                    <a:pt x="3135838" y="1417635"/>
                  </a:lnTo>
                  <a:lnTo>
                    <a:pt x="3134372" y="1418613"/>
                  </a:lnTo>
                  <a:lnTo>
                    <a:pt x="3131602" y="1429854"/>
                  </a:lnTo>
                  <a:lnTo>
                    <a:pt x="3126227" y="1441583"/>
                  </a:lnTo>
                  <a:lnTo>
                    <a:pt x="3127204" y="1436207"/>
                  </a:lnTo>
                  <a:lnTo>
                    <a:pt x="3125901" y="1432297"/>
                  </a:lnTo>
                  <a:lnTo>
                    <a:pt x="3125901" y="1427084"/>
                  </a:lnTo>
                  <a:cubicBezTo>
                    <a:pt x="3125901" y="1427084"/>
                    <a:pt x="3124597" y="1423663"/>
                    <a:pt x="3124597" y="1423663"/>
                  </a:cubicBezTo>
                  <a:lnTo>
                    <a:pt x="3114497" y="1422523"/>
                  </a:lnTo>
                  <a:lnTo>
                    <a:pt x="3109121" y="1414540"/>
                  </a:lnTo>
                  <a:lnTo>
                    <a:pt x="3107981" y="1405417"/>
                  </a:lnTo>
                  <a:lnTo>
                    <a:pt x="3098043" y="1383587"/>
                  </a:lnTo>
                  <a:lnTo>
                    <a:pt x="3091527" y="1373161"/>
                  </a:lnTo>
                  <a:lnTo>
                    <a:pt x="3095274" y="1373487"/>
                  </a:lnTo>
                  <a:lnTo>
                    <a:pt x="3099509" y="1371206"/>
                  </a:lnTo>
                  <a:lnTo>
                    <a:pt x="3101465" y="1366971"/>
                  </a:lnTo>
                  <a:lnTo>
                    <a:pt x="3097392" y="1368926"/>
                  </a:lnTo>
                  <a:lnTo>
                    <a:pt x="3090549" y="1368926"/>
                  </a:lnTo>
                  <a:cubicBezTo>
                    <a:pt x="3090549" y="1368926"/>
                    <a:pt x="3081427" y="1364038"/>
                    <a:pt x="3081427" y="1364038"/>
                  </a:cubicBezTo>
                  <a:lnTo>
                    <a:pt x="3061715" y="1328361"/>
                  </a:lnTo>
                  <a:lnTo>
                    <a:pt x="3043632" y="1307183"/>
                  </a:lnTo>
                  <a:lnTo>
                    <a:pt x="3043306" y="1299363"/>
                  </a:lnTo>
                  <a:lnTo>
                    <a:pt x="3036790" y="1292032"/>
                  </a:lnTo>
                  <a:lnTo>
                    <a:pt x="3022617" y="1269714"/>
                  </a:lnTo>
                  <a:lnTo>
                    <a:pt x="3009095" y="1242671"/>
                  </a:lnTo>
                  <a:lnTo>
                    <a:pt x="2997854" y="1217094"/>
                  </a:lnTo>
                  <a:lnTo>
                    <a:pt x="2997854" y="1208134"/>
                  </a:lnTo>
                  <a:lnTo>
                    <a:pt x="2990849" y="1196894"/>
                  </a:lnTo>
                  <a:lnTo>
                    <a:pt x="2988568" y="1179136"/>
                  </a:lnTo>
                  <a:lnTo>
                    <a:pt x="2984333" y="1170176"/>
                  </a:lnTo>
                  <a:lnTo>
                    <a:pt x="2985473" y="1159587"/>
                  </a:lnTo>
                  <a:lnTo>
                    <a:pt x="2991175" y="1152745"/>
                  </a:lnTo>
                  <a:lnTo>
                    <a:pt x="2992478" y="1143948"/>
                  </a:lnTo>
                  <a:lnTo>
                    <a:pt x="2996551" y="1142482"/>
                  </a:lnTo>
                  <a:lnTo>
                    <a:pt x="2993618" y="1139061"/>
                  </a:lnTo>
                  <a:lnTo>
                    <a:pt x="2995736" y="1135966"/>
                  </a:lnTo>
                  <a:lnTo>
                    <a:pt x="2996388" y="1123421"/>
                  </a:lnTo>
                  <a:lnTo>
                    <a:pt x="2986776" y="1110063"/>
                  </a:lnTo>
                  <a:lnTo>
                    <a:pt x="2980260" y="1110063"/>
                  </a:lnTo>
                  <a:lnTo>
                    <a:pt x="2979934" y="1106316"/>
                  </a:lnTo>
                  <a:lnTo>
                    <a:pt x="2984984" y="1101592"/>
                  </a:lnTo>
                  <a:lnTo>
                    <a:pt x="2995085" y="1106479"/>
                  </a:lnTo>
                  <a:lnTo>
                    <a:pt x="3000624" y="1100288"/>
                  </a:lnTo>
                  <a:lnTo>
                    <a:pt x="2999320" y="1096216"/>
                  </a:lnTo>
                  <a:lnTo>
                    <a:pt x="2999320" y="1086278"/>
                  </a:lnTo>
                  <a:lnTo>
                    <a:pt x="3007954" y="1085138"/>
                  </a:lnTo>
                  <a:lnTo>
                    <a:pt x="3012842" y="1086441"/>
                  </a:lnTo>
                  <a:lnTo>
                    <a:pt x="3008606" y="1080413"/>
                  </a:lnTo>
                  <a:lnTo>
                    <a:pt x="3016589" y="1065100"/>
                  </a:lnTo>
                  <a:lnTo>
                    <a:pt x="3013331" y="1055651"/>
                  </a:lnTo>
                  <a:lnTo>
                    <a:pt x="3013331" y="1045551"/>
                  </a:lnTo>
                  <a:cubicBezTo>
                    <a:pt x="3013331" y="1045551"/>
                    <a:pt x="3010398" y="1040175"/>
                    <a:pt x="3010398" y="1040175"/>
                  </a:cubicBezTo>
                  <a:lnTo>
                    <a:pt x="3014634" y="1035613"/>
                  </a:lnTo>
                  <a:lnTo>
                    <a:pt x="3014634" y="1029260"/>
                  </a:lnTo>
                  <a:lnTo>
                    <a:pt x="3012842" y="1026328"/>
                  </a:lnTo>
                  <a:lnTo>
                    <a:pt x="3014471" y="1017693"/>
                  </a:lnTo>
                  <a:lnTo>
                    <a:pt x="3018381" y="1017693"/>
                  </a:lnTo>
                  <a:cubicBezTo>
                    <a:pt x="3018381" y="1017693"/>
                    <a:pt x="3013656" y="1013132"/>
                    <a:pt x="3013656" y="1013132"/>
                  </a:cubicBezTo>
                  <a:lnTo>
                    <a:pt x="3012679" y="1009059"/>
                  </a:lnTo>
                  <a:lnTo>
                    <a:pt x="3014308" y="1006779"/>
                  </a:lnTo>
                  <a:lnTo>
                    <a:pt x="3015611" y="997004"/>
                  </a:lnTo>
                  <a:lnTo>
                    <a:pt x="3013331" y="995049"/>
                  </a:lnTo>
                  <a:lnTo>
                    <a:pt x="3014145" y="989999"/>
                  </a:lnTo>
                  <a:lnTo>
                    <a:pt x="3020010" y="987718"/>
                  </a:lnTo>
                  <a:lnTo>
                    <a:pt x="3022454" y="984134"/>
                  </a:lnTo>
                  <a:lnTo>
                    <a:pt x="3020824" y="975989"/>
                  </a:lnTo>
                  <a:lnTo>
                    <a:pt x="3022617" y="965074"/>
                  </a:lnTo>
                  <a:lnTo>
                    <a:pt x="3019847" y="963445"/>
                  </a:lnTo>
                  <a:lnTo>
                    <a:pt x="3018870" y="960187"/>
                  </a:lnTo>
                  <a:lnTo>
                    <a:pt x="3023268" y="952204"/>
                  </a:lnTo>
                  <a:lnTo>
                    <a:pt x="3023594" y="945199"/>
                  </a:lnTo>
                  <a:lnTo>
                    <a:pt x="3019847" y="946502"/>
                  </a:lnTo>
                  <a:lnTo>
                    <a:pt x="3017892" y="940149"/>
                  </a:lnTo>
                  <a:lnTo>
                    <a:pt x="3020661" y="936239"/>
                  </a:lnTo>
                  <a:lnTo>
                    <a:pt x="3021313" y="931352"/>
                  </a:lnTo>
                  <a:lnTo>
                    <a:pt x="3025223" y="929885"/>
                  </a:lnTo>
                  <a:lnTo>
                    <a:pt x="3026200" y="927442"/>
                  </a:lnTo>
                  <a:lnTo>
                    <a:pt x="3032065" y="923858"/>
                  </a:lnTo>
                  <a:lnTo>
                    <a:pt x="3032717" y="918970"/>
                  </a:lnTo>
                  <a:lnTo>
                    <a:pt x="3039070" y="912943"/>
                  </a:lnTo>
                  <a:lnTo>
                    <a:pt x="3040699" y="912943"/>
                  </a:lnTo>
                  <a:cubicBezTo>
                    <a:pt x="3040699" y="912943"/>
                    <a:pt x="3045586" y="909359"/>
                    <a:pt x="3045586" y="909359"/>
                  </a:cubicBezTo>
                  <a:lnTo>
                    <a:pt x="3048519" y="909359"/>
                  </a:lnTo>
                  <a:cubicBezTo>
                    <a:pt x="3048519" y="909359"/>
                    <a:pt x="3049497" y="906101"/>
                    <a:pt x="3049497" y="906101"/>
                  </a:cubicBezTo>
                  <a:lnTo>
                    <a:pt x="3048193" y="904146"/>
                  </a:lnTo>
                  <a:lnTo>
                    <a:pt x="3043306" y="903494"/>
                  </a:lnTo>
                  <a:lnTo>
                    <a:pt x="3040048" y="905612"/>
                  </a:lnTo>
                  <a:lnTo>
                    <a:pt x="3036138" y="902680"/>
                  </a:lnTo>
                  <a:lnTo>
                    <a:pt x="3036138" y="892905"/>
                  </a:lnTo>
                  <a:cubicBezTo>
                    <a:pt x="3036138" y="892905"/>
                    <a:pt x="3039396" y="885248"/>
                    <a:pt x="3039396" y="885248"/>
                  </a:cubicBezTo>
                  <a:lnTo>
                    <a:pt x="3037441" y="881990"/>
                  </a:lnTo>
                  <a:lnTo>
                    <a:pt x="3034509" y="876777"/>
                  </a:lnTo>
                  <a:lnTo>
                    <a:pt x="3032717" y="876451"/>
                  </a:lnTo>
                  <a:lnTo>
                    <a:pt x="3030925" y="879872"/>
                  </a:lnTo>
                  <a:lnTo>
                    <a:pt x="3029133" y="879221"/>
                  </a:lnTo>
                  <a:lnTo>
                    <a:pt x="3027992" y="867002"/>
                  </a:lnTo>
                  <a:lnTo>
                    <a:pt x="3030110" y="864396"/>
                  </a:lnTo>
                  <a:lnTo>
                    <a:pt x="3030110" y="861464"/>
                  </a:lnTo>
                  <a:cubicBezTo>
                    <a:pt x="3030110" y="861464"/>
                    <a:pt x="3028807" y="855436"/>
                    <a:pt x="3028807" y="855436"/>
                  </a:cubicBezTo>
                  <a:lnTo>
                    <a:pt x="3023431" y="853155"/>
                  </a:lnTo>
                  <a:lnTo>
                    <a:pt x="3024734" y="851037"/>
                  </a:lnTo>
                  <a:lnTo>
                    <a:pt x="3024083" y="850386"/>
                  </a:lnTo>
                  <a:lnTo>
                    <a:pt x="3023757" y="847616"/>
                  </a:lnTo>
                  <a:lnTo>
                    <a:pt x="3018055" y="841100"/>
                  </a:lnTo>
                  <a:lnTo>
                    <a:pt x="3017240" y="837190"/>
                  </a:lnTo>
                  <a:lnTo>
                    <a:pt x="3013982" y="834258"/>
                  </a:lnTo>
                  <a:lnTo>
                    <a:pt x="3013656" y="828882"/>
                  </a:lnTo>
                  <a:lnTo>
                    <a:pt x="3010887" y="822528"/>
                  </a:lnTo>
                  <a:lnTo>
                    <a:pt x="3011538" y="818618"/>
                  </a:lnTo>
                  <a:lnTo>
                    <a:pt x="3018381" y="811450"/>
                  </a:lnTo>
                  <a:lnTo>
                    <a:pt x="3024245" y="812754"/>
                  </a:lnTo>
                  <a:lnTo>
                    <a:pt x="3029459" y="810962"/>
                  </a:lnTo>
                  <a:lnTo>
                    <a:pt x="3026200" y="808518"/>
                  </a:lnTo>
                  <a:lnTo>
                    <a:pt x="3032717" y="804771"/>
                  </a:lnTo>
                  <a:lnTo>
                    <a:pt x="3029622" y="805586"/>
                  </a:lnTo>
                  <a:lnTo>
                    <a:pt x="3024408" y="804934"/>
                  </a:lnTo>
                  <a:lnTo>
                    <a:pt x="3021639" y="803631"/>
                  </a:lnTo>
                  <a:lnTo>
                    <a:pt x="3014634" y="803957"/>
                  </a:lnTo>
                  <a:lnTo>
                    <a:pt x="3007140" y="797929"/>
                  </a:lnTo>
                  <a:lnTo>
                    <a:pt x="3005185" y="799721"/>
                  </a:lnTo>
                  <a:lnTo>
                    <a:pt x="2998669" y="799395"/>
                  </a:lnTo>
                  <a:lnTo>
                    <a:pt x="2994108" y="804771"/>
                  </a:lnTo>
                  <a:lnTo>
                    <a:pt x="2988731" y="805097"/>
                  </a:lnTo>
                  <a:lnTo>
                    <a:pt x="2982052" y="811450"/>
                  </a:lnTo>
                  <a:lnTo>
                    <a:pt x="2984333" y="814057"/>
                  </a:lnTo>
                  <a:lnTo>
                    <a:pt x="2983681" y="818293"/>
                  </a:lnTo>
                  <a:lnTo>
                    <a:pt x="2989383" y="822854"/>
                  </a:lnTo>
                  <a:lnTo>
                    <a:pt x="2990524" y="828230"/>
                  </a:lnTo>
                  <a:lnTo>
                    <a:pt x="2988568" y="830348"/>
                  </a:lnTo>
                  <a:lnTo>
                    <a:pt x="2990197" y="837842"/>
                  </a:lnTo>
                  <a:lnTo>
                    <a:pt x="2995085" y="841589"/>
                  </a:lnTo>
                  <a:lnTo>
                    <a:pt x="2995411" y="844358"/>
                  </a:lnTo>
                  <a:lnTo>
                    <a:pt x="2998832" y="846313"/>
                  </a:lnTo>
                  <a:lnTo>
                    <a:pt x="3001438" y="856902"/>
                  </a:lnTo>
                  <a:lnTo>
                    <a:pt x="3008932" y="860486"/>
                  </a:lnTo>
                  <a:lnTo>
                    <a:pt x="3007954" y="865862"/>
                  </a:lnTo>
                  <a:lnTo>
                    <a:pt x="3011213" y="869446"/>
                  </a:lnTo>
                  <a:lnTo>
                    <a:pt x="3009258" y="872541"/>
                  </a:lnTo>
                  <a:lnTo>
                    <a:pt x="3005348" y="869283"/>
                  </a:lnTo>
                  <a:lnTo>
                    <a:pt x="3003556" y="865210"/>
                  </a:lnTo>
                  <a:lnTo>
                    <a:pt x="2996551" y="866840"/>
                  </a:lnTo>
                  <a:lnTo>
                    <a:pt x="2992641" y="869772"/>
                  </a:lnTo>
                  <a:lnTo>
                    <a:pt x="2989872" y="877429"/>
                  </a:lnTo>
                  <a:lnTo>
                    <a:pt x="2992967" y="880524"/>
                  </a:lnTo>
                  <a:lnTo>
                    <a:pt x="2991664" y="888181"/>
                  </a:lnTo>
                  <a:lnTo>
                    <a:pt x="2989872" y="889484"/>
                  </a:lnTo>
                  <a:lnTo>
                    <a:pt x="2989872" y="891276"/>
                  </a:lnTo>
                  <a:cubicBezTo>
                    <a:pt x="2989872" y="891276"/>
                    <a:pt x="2991501" y="892579"/>
                    <a:pt x="2991501" y="892579"/>
                  </a:cubicBezTo>
                  <a:lnTo>
                    <a:pt x="2991175" y="896652"/>
                  </a:lnTo>
                  <a:lnTo>
                    <a:pt x="2986940" y="900725"/>
                  </a:lnTo>
                  <a:lnTo>
                    <a:pt x="2990524" y="903983"/>
                  </a:lnTo>
                  <a:lnTo>
                    <a:pt x="2987102" y="907567"/>
                  </a:lnTo>
                  <a:lnTo>
                    <a:pt x="2986776" y="920437"/>
                  </a:lnTo>
                  <a:lnTo>
                    <a:pt x="2984822" y="923532"/>
                  </a:lnTo>
                  <a:lnTo>
                    <a:pt x="2984822" y="926627"/>
                  </a:lnTo>
                  <a:cubicBezTo>
                    <a:pt x="2984822" y="926627"/>
                    <a:pt x="2981075" y="928908"/>
                    <a:pt x="2981075" y="928908"/>
                  </a:cubicBezTo>
                  <a:lnTo>
                    <a:pt x="2977979" y="936565"/>
                  </a:lnTo>
                  <a:lnTo>
                    <a:pt x="2976350" y="930863"/>
                  </a:lnTo>
                  <a:lnTo>
                    <a:pt x="2971789" y="926790"/>
                  </a:lnTo>
                  <a:lnTo>
                    <a:pt x="2976024" y="919296"/>
                  </a:lnTo>
                  <a:lnTo>
                    <a:pt x="2973744" y="916527"/>
                  </a:lnTo>
                  <a:lnTo>
                    <a:pt x="2970322" y="916201"/>
                  </a:lnTo>
                  <a:lnTo>
                    <a:pt x="2965761" y="920274"/>
                  </a:lnTo>
                  <a:lnTo>
                    <a:pt x="2965761" y="924184"/>
                  </a:lnTo>
                  <a:cubicBezTo>
                    <a:pt x="2965761" y="924184"/>
                    <a:pt x="2962992" y="926139"/>
                    <a:pt x="2962992" y="926139"/>
                  </a:cubicBezTo>
                  <a:lnTo>
                    <a:pt x="2962177" y="917016"/>
                  </a:lnTo>
                  <a:lnTo>
                    <a:pt x="2957127" y="915712"/>
                  </a:lnTo>
                  <a:lnTo>
                    <a:pt x="2955335" y="912128"/>
                  </a:lnTo>
                  <a:lnTo>
                    <a:pt x="2950936" y="916201"/>
                  </a:lnTo>
                  <a:lnTo>
                    <a:pt x="2949308" y="913757"/>
                  </a:lnTo>
                  <a:lnTo>
                    <a:pt x="2950774" y="911803"/>
                  </a:lnTo>
                  <a:lnTo>
                    <a:pt x="2953054" y="908544"/>
                  </a:lnTo>
                  <a:lnTo>
                    <a:pt x="2951588" y="906426"/>
                  </a:lnTo>
                  <a:lnTo>
                    <a:pt x="2951588" y="902517"/>
                  </a:lnTo>
                  <a:lnTo>
                    <a:pt x="2953054" y="902191"/>
                  </a:lnTo>
                  <a:lnTo>
                    <a:pt x="2951588" y="896815"/>
                  </a:lnTo>
                  <a:lnTo>
                    <a:pt x="2949308" y="895349"/>
                  </a:lnTo>
                  <a:lnTo>
                    <a:pt x="2952728" y="891602"/>
                  </a:lnTo>
                  <a:lnTo>
                    <a:pt x="2951099" y="887040"/>
                  </a:lnTo>
                  <a:lnTo>
                    <a:pt x="2948818" y="884434"/>
                  </a:lnTo>
                  <a:lnTo>
                    <a:pt x="2950285" y="882153"/>
                  </a:lnTo>
                  <a:lnTo>
                    <a:pt x="2949959" y="875962"/>
                  </a:lnTo>
                  <a:lnTo>
                    <a:pt x="2944583" y="872216"/>
                  </a:lnTo>
                  <a:lnTo>
                    <a:pt x="2943117" y="867980"/>
                  </a:lnTo>
                  <a:lnTo>
                    <a:pt x="2940836" y="868306"/>
                  </a:lnTo>
                  <a:lnTo>
                    <a:pt x="2939859" y="874496"/>
                  </a:lnTo>
                  <a:lnTo>
                    <a:pt x="2936438" y="875474"/>
                  </a:lnTo>
                  <a:lnTo>
                    <a:pt x="2936926" y="881827"/>
                  </a:lnTo>
                  <a:lnTo>
                    <a:pt x="2932690" y="887203"/>
                  </a:lnTo>
                  <a:lnTo>
                    <a:pt x="2930736" y="887203"/>
                  </a:lnTo>
                  <a:lnTo>
                    <a:pt x="2927803" y="880850"/>
                  </a:lnTo>
                  <a:lnTo>
                    <a:pt x="2925849" y="880361"/>
                  </a:lnTo>
                  <a:lnTo>
                    <a:pt x="2923568" y="881990"/>
                  </a:lnTo>
                  <a:lnTo>
                    <a:pt x="2922590" y="877103"/>
                  </a:lnTo>
                  <a:lnTo>
                    <a:pt x="2916563" y="877103"/>
                  </a:lnTo>
                  <a:lnTo>
                    <a:pt x="2914770" y="878895"/>
                  </a:lnTo>
                  <a:lnTo>
                    <a:pt x="2912490" y="878895"/>
                  </a:lnTo>
                  <a:lnTo>
                    <a:pt x="2911512" y="883782"/>
                  </a:lnTo>
                  <a:lnTo>
                    <a:pt x="2907602" y="884760"/>
                  </a:lnTo>
                  <a:lnTo>
                    <a:pt x="2906951" y="887203"/>
                  </a:lnTo>
                  <a:lnTo>
                    <a:pt x="2897665" y="887692"/>
                  </a:lnTo>
                  <a:lnTo>
                    <a:pt x="2894895" y="891602"/>
                  </a:lnTo>
                  <a:lnTo>
                    <a:pt x="2891311" y="890299"/>
                  </a:lnTo>
                  <a:lnTo>
                    <a:pt x="2888379" y="892579"/>
                  </a:lnTo>
                  <a:lnTo>
                    <a:pt x="2882352" y="891765"/>
                  </a:lnTo>
                  <a:lnTo>
                    <a:pt x="2876813" y="900888"/>
                  </a:lnTo>
                  <a:lnTo>
                    <a:pt x="2873554" y="902680"/>
                  </a:lnTo>
                  <a:lnTo>
                    <a:pt x="2874206" y="909685"/>
                  </a:lnTo>
                  <a:lnTo>
                    <a:pt x="2869645" y="913106"/>
                  </a:lnTo>
                  <a:lnTo>
                    <a:pt x="2869319" y="915549"/>
                  </a:lnTo>
                  <a:lnTo>
                    <a:pt x="2872740" y="917993"/>
                  </a:lnTo>
                  <a:lnTo>
                    <a:pt x="2873717" y="924672"/>
                  </a:lnTo>
                  <a:lnTo>
                    <a:pt x="2878931" y="931840"/>
                  </a:lnTo>
                  <a:lnTo>
                    <a:pt x="2874858" y="935424"/>
                  </a:lnTo>
                  <a:lnTo>
                    <a:pt x="2872251" y="953344"/>
                  </a:lnTo>
                  <a:lnTo>
                    <a:pt x="2878605" y="960512"/>
                  </a:lnTo>
                  <a:lnTo>
                    <a:pt x="2873392" y="962467"/>
                  </a:lnTo>
                  <a:lnTo>
                    <a:pt x="2874858" y="963282"/>
                  </a:lnTo>
                  <a:lnTo>
                    <a:pt x="2874858" y="968984"/>
                  </a:lnTo>
                  <a:cubicBezTo>
                    <a:pt x="2874858" y="968984"/>
                    <a:pt x="2869970" y="974197"/>
                    <a:pt x="2869970" y="974197"/>
                  </a:cubicBezTo>
                  <a:lnTo>
                    <a:pt x="2869482" y="982016"/>
                  </a:lnTo>
                  <a:lnTo>
                    <a:pt x="2865735" y="986578"/>
                  </a:lnTo>
                  <a:lnTo>
                    <a:pt x="2865735" y="992280"/>
                  </a:lnTo>
                  <a:cubicBezTo>
                    <a:pt x="2865735" y="992280"/>
                    <a:pt x="2863128" y="1001077"/>
                    <a:pt x="2863128" y="1001077"/>
                  </a:cubicBezTo>
                  <a:lnTo>
                    <a:pt x="2867853" y="1007593"/>
                  </a:lnTo>
                  <a:lnTo>
                    <a:pt x="2863780" y="1010851"/>
                  </a:lnTo>
                  <a:lnTo>
                    <a:pt x="2870622" y="1020137"/>
                  </a:lnTo>
                  <a:lnTo>
                    <a:pt x="2868179" y="1021440"/>
                  </a:lnTo>
                  <a:lnTo>
                    <a:pt x="2866875" y="1025839"/>
                  </a:lnTo>
                  <a:lnTo>
                    <a:pt x="2870948" y="1028120"/>
                  </a:lnTo>
                  <a:lnTo>
                    <a:pt x="2872903" y="1026328"/>
                  </a:lnTo>
                  <a:lnTo>
                    <a:pt x="2877790" y="1026328"/>
                  </a:lnTo>
                  <a:cubicBezTo>
                    <a:pt x="2877790" y="1026328"/>
                    <a:pt x="2877301" y="1023884"/>
                    <a:pt x="2877301" y="1023884"/>
                  </a:cubicBezTo>
                  <a:lnTo>
                    <a:pt x="2878605" y="1023069"/>
                  </a:lnTo>
                  <a:lnTo>
                    <a:pt x="2883166" y="1025513"/>
                  </a:lnTo>
                  <a:lnTo>
                    <a:pt x="2886099" y="1025513"/>
                  </a:lnTo>
                  <a:lnTo>
                    <a:pt x="2885773" y="1023395"/>
                  </a:lnTo>
                  <a:lnTo>
                    <a:pt x="2886424" y="1022255"/>
                  </a:lnTo>
                  <a:lnTo>
                    <a:pt x="2889357" y="1024210"/>
                  </a:lnTo>
                  <a:lnTo>
                    <a:pt x="2894570" y="1026328"/>
                  </a:lnTo>
                  <a:lnTo>
                    <a:pt x="2894895" y="1029097"/>
                  </a:lnTo>
                  <a:lnTo>
                    <a:pt x="2893918" y="1030889"/>
                  </a:lnTo>
                  <a:lnTo>
                    <a:pt x="2898317" y="1035776"/>
                  </a:lnTo>
                  <a:lnTo>
                    <a:pt x="2897339" y="1038220"/>
                  </a:lnTo>
                  <a:lnTo>
                    <a:pt x="2893918" y="1037568"/>
                  </a:lnTo>
                  <a:lnTo>
                    <a:pt x="2890660" y="1039686"/>
                  </a:lnTo>
                  <a:lnTo>
                    <a:pt x="2887076" y="1038220"/>
                  </a:lnTo>
                  <a:lnTo>
                    <a:pt x="2883166" y="1040664"/>
                  </a:lnTo>
                  <a:lnTo>
                    <a:pt x="2882515" y="1042293"/>
                  </a:lnTo>
                  <a:lnTo>
                    <a:pt x="2885773" y="1045062"/>
                  </a:lnTo>
                  <a:lnTo>
                    <a:pt x="2879093" y="1051579"/>
                  </a:lnTo>
                  <a:lnTo>
                    <a:pt x="2875672" y="1049787"/>
                  </a:lnTo>
                  <a:lnTo>
                    <a:pt x="2875021" y="1045877"/>
                  </a:lnTo>
                  <a:lnTo>
                    <a:pt x="2872251" y="1043433"/>
                  </a:lnTo>
                  <a:lnTo>
                    <a:pt x="2868667" y="1045551"/>
                  </a:lnTo>
                  <a:lnTo>
                    <a:pt x="2865735" y="1043270"/>
                  </a:lnTo>
                  <a:lnTo>
                    <a:pt x="2862314" y="1044573"/>
                  </a:lnTo>
                  <a:lnTo>
                    <a:pt x="2863128" y="1047995"/>
                  </a:lnTo>
                  <a:lnTo>
                    <a:pt x="2862802" y="1052393"/>
                  </a:lnTo>
                  <a:lnTo>
                    <a:pt x="2861336" y="1052393"/>
                  </a:lnTo>
                  <a:lnTo>
                    <a:pt x="2858893" y="1055814"/>
                  </a:lnTo>
                  <a:lnTo>
                    <a:pt x="2855472" y="1058258"/>
                  </a:lnTo>
                  <a:lnTo>
                    <a:pt x="2857752" y="1060539"/>
                  </a:lnTo>
                  <a:lnTo>
                    <a:pt x="2855472" y="1063797"/>
                  </a:lnTo>
                  <a:lnTo>
                    <a:pt x="2851725" y="1063145"/>
                  </a:lnTo>
                  <a:lnTo>
                    <a:pt x="2845371" y="1056629"/>
                  </a:lnTo>
                  <a:lnTo>
                    <a:pt x="2842276" y="1056629"/>
                  </a:lnTo>
                  <a:lnTo>
                    <a:pt x="2846186" y="1062005"/>
                  </a:lnTo>
                  <a:lnTo>
                    <a:pt x="2840973" y="1064448"/>
                  </a:lnTo>
                  <a:lnTo>
                    <a:pt x="2842113" y="1066403"/>
                  </a:lnTo>
                  <a:lnTo>
                    <a:pt x="2838855" y="1070639"/>
                  </a:lnTo>
                  <a:lnTo>
                    <a:pt x="2831035" y="1072920"/>
                  </a:lnTo>
                  <a:lnTo>
                    <a:pt x="2828917" y="1075363"/>
                  </a:lnTo>
                  <a:lnTo>
                    <a:pt x="2822075" y="1066078"/>
                  </a:lnTo>
                  <a:lnTo>
                    <a:pt x="2818002" y="1066078"/>
                  </a:lnTo>
                  <a:lnTo>
                    <a:pt x="2815885" y="1064774"/>
                  </a:lnTo>
                  <a:lnTo>
                    <a:pt x="2817188" y="1062331"/>
                  </a:lnTo>
                  <a:lnTo>
                    <a:pt x="2821424" y="1062331"/>
                  </a:lnTo>
                  <a:lnTo>
                    <a:pt x="2820772" y="1057117"/>
                  </a:lnTo>
                  <a:lnTo>
                    <a:pt x="2822727" y="1054348"/>
                  </a:lnTo>
                  <a:lnTo>
                    <a:pt x="2830709" y="1054348"/>
                  </a:lnTo>
                  <a:lnTo>
                    <a:pt x="2839670" y="1047832"/>
                  </a:lnTo>
                  <a:lnTo>
                    <a:pt x="2838529" y="1044736"/>
                  </a:lnTo>
                  <a:lnTo>
                    <a:pt x="2834456" y="1043922"/>
                  </a:lnTo>
                  <a:lnTo>
                    <a:pt x="2830058" y="1048158"/>
                  </a:lnTo>
                  <a:lnTo>
                    <a:pt x="2823704" y="1047017"/>
                  </a:lnTo>
                  <a:lnTo>
                    <a:pt x="2823379" y="1044736"/>
                  </a:lnTo>
                  <a:lnTo>
                    <a:pt x="2818491" y="1040989"/>
                  </a:lnTo>
                  <a:lnTo>
                    <a:pt x="2813767" y="1040338"/>
                  </a:lnTo>
                  <a:lnTo>
                    <a:pt x="2806436" y="1039035"/>
                  </a:lnTo>
                  <a:lnTo>
                    <a:pt x="2798942" y="1039360"/>
                  </a:lnTo>
                  <a:lnTo>
                    <a:pt x="2801060" y="1043107"/>
                  </a:lnTo>
                  <a:lnTo>
                    <a:pt x="2797802" y="1044085"/>
                  </a:lnTo>
                  <a:lnTo>
                    <a:pt x="2794544" y="1041804"/>
                  </a:lnTo>
                  <a:lnTo>
                    <a:pt x="2795195" y="1039360"/>
                  </a:lnTo>
                  <a:lnTo>
                    <a:pt x="2788190" y="1040012"/>
                  </a:lnTo>
                  <a:lnTo>
                    <a:pt x="2779067" y="1037731"/>
                  </a:lnTo>
                  <a:lnTo>
                    <a:pt x="2774995" y="1039849"/>
                  </a:lnTo>
                  <a:lnTo>
                    <a:pt x="2771085" y="1036917"/>
                  </a:lnTo>
                  <a:lnTo>
                    <a:pt x="2763754" y="1036591"/>
                  </a:lnTo>
                  <a:lnTo>
                    <a:pt x="2756911" y="1044736"/>
                  </a:lnTo>
                  <a:lnTo>
                    <a:pt x="2753653" y="1044736"/>
                  </a:lnTo>
                  <a:cubicBezTo>
                    <a:pt x="2753653" y="1044736"/>
                    <a:pt x="2753490" y="1048158"/>
                    <a:pt x="2753490" y="1048158"/>
                  </a:cubicBezTo>
                  <a:lnTo>
                    <a:pt x="2760170" y="1052393"/>
                  </a:lnTo>
                  <a:lnTo>
                    <a:pt x="2752839" y="1055325"/>
                  </a:lnTo>
                  <a:lnTo>
                    <a:pt x="2751699" y="1051579"/>
                  </a:lnTo>
                  <a:lnTo>
                    <a:pt x="2747789" y="1057606"/>
                  </a:lnTo>
                  <a:lnTo>
                    <a:pt x="2753979" y="1060864"/>
                  </a:lnTo>
                  <a:lnTo>
                    <a:pt x="2756097" y="1059072"/>
                  </a:lnTo>
                  <a:lnTo>
                    <a:pt x="2759192" y="1060864"/>
                  </a:lnTo>
                  <a:lnTo>
                    <a:pt x="2759192" y="1064774"/>
                  </a:lnTo>
                  <a:lnTo>
                    <a:pt x="2749255" y="1068684"/>
                  </a:lnTo>
                  <a:lnTo>
                    <a:pt x="2745834" y="1064448"/>
                  </a:lnTo>
                  <a:lnTo>
                    <a:pt x="2737526" y="1064123"/>
                  </a:lnTo>
                  <a:lnTo>
                    <a:pt x="2734430" y="1066403"/>
                  </a:lnTo>
                  <a:lnTo>
                    <a:pt x="2735733" y="1070639"/>
                  </a:lnTo>
                  <a:lnTo>
                    <a:pt x="2731824" y="1069987"/>
                  </a:lnTo>
                  <a:lnTo>
                    <a:pt x="2728891" y="1073083"/>
                  </a:lnTo>
                  <a:lnTo>
                    <a:pt x="2726447" y="1073083"/>
                  </a:lnTo>
                  <a:lnTo>
                    <a:pt x="2724656" y="1069336"/>
                  </a:lnTo>
                  <a:lnTo>
                    <a:pt x="2714229" y="1068684"/>
                  </a:lnTo>
                  <a:lnTo>
                    <a:pt x="2709994" y="1071128"/>
                  </a:lnTo>
                  <a:lnTo>
                    <a:pt x="2700056" y="1069824"/>
                  </a:lnTo>
                  <a:lnTo>
                    <a:pt x="2694192" y="1072920"/>
                  </a:lnTo>
                  <a:lnTo>
                    <a:pt x="2694192" y="1075363"/>
                  </a:lnTo>
                  <a:lnTo>
                    <a:pt x="2701522" y="1080902"/>
                  </a:lnTo>
                  <a:lnTo>
                    <a:pt x="2697450" y="1084323"/>
                  </a:lnTo>
                  <a:lnTo>
                    <a:pt x="2695006" y="1089374"/>
                  </a:lnTo>
                  <a:lnTo>
                    <a:pt x="2690282" y="1084975"/>
                  </a:lnTo>
                  <a:lnTo>
                    <a:pt x="2686535" y="1083672"/>
                  </a:lnTo>
                  <a:lnTo>
                    <a:pt x="2688653" y="1078133"/>
                  </a:lnTo>
                  <a:lnTo>
                    <a:pt x="2684254" y="1075200"/>
                  </a:lnTo>
                  <a:lnTo>
                    <a:pt x="2681974" y="1079110"/>
                  </a:lnTo>
                  <a:lnTo>
                    <a:pt x="2677575" y="1079762"/>
                  </a:lnTo>
                  <a:lnTo>
                    <a:pt x="2673176" y="1079762"/>
                  </a:lnTo>
                  <a:cubicBezTo>
                    <a:pt x="2673176" y="1079762"/>
                    <a:pt x="2667963" y="1083183"/>
                    <a:pt x="2667963" y="1083183"/>
                  </a:cubicBezTo>
                  <a:lnTo>
                    <a:pt x="2662750" y="1082857"/>
                  </a:lnTo>
                  <a:lnTo>
                    <a:pt x="2655256" y="1087419"/>
                  </a:lnTo>
                  <a:lnTo>
                    <a:pt x="2647763" y="1087744"/>
                  </a:lnTo>
                  <a:lnTo>
                    <a:pt x="2638802" y="1094912"/>
                  </a:lnTo>
                  <a:lnTo>
                    <a:pt x="2633426" y="1095890"/>
                  </a:lnTo>
                  <a:lnTo>
                    <a:pt x="2630006" y="1092143"/>
                  </a:lnTo>
                  <a:lnTo>
                    <a:pt x="2626747" y="1092469"/>
                  </a:lnTo>
                  <a:lnTo>
                    <a:pt x="2625444" y="1097519"/>
                  </a:lnTo>
                  <a:lnTo>
                    <a:pt x="2616158" y="1104524"/>
                  </a:lnTo>
                  <a:lnTo>
                    <a:pt x="2614855" y="1109900"/>
                  </a:lnTo>
                  <a:lnTo>
                    <a:pt x="2609967" y="1114299"/>
                  </a:lnTo>
                  <a:lnTo>
                    <a:pt x="2608990" y="1120163"/>
                  </a:lnTo>
                  <a:lnTo>
                    <a:pt x="2615506" y="1130427"/>
                  </a:lnTo>
                  <a:lnTo>
                    <a:pt x="2613715" y="1140364"/>
                  </a:lnTo>
                  <a:lnTo>
                    <a:pt x="2606220" y="1148835"/>
                  </a:lnTo>
                  <a:lnTo>
                    <a:pt x="2602474" y="1156981"/>
                  </a:lnTo>
                  <a:lnTo>
                    <a:pt x="2603940" y="1163334"/>
                  </a:lnTo>
                  <a:lnTo>
                    <a:pt x="2603614" y="1173435"/>
                  </a:lnTo>
                  <a:lnTo>
                    <a:pt x="2605895" y="1177344"/>
                  </a:lnTo>
                  <a:lnTo>
                    <a:pt x="2605895" y="1182883"/>
                  </a:lnTo>
                  <a:cubicBezTo>
                    <a:pt x="2605895" y="1182883"/>
                    <a:pt x="2603777" y="1182720"/>
                    <a:pt x="2603777" y="1182720"/>
                  </a:cubicBezTo>
                  <a:lnTo>
                    <a:pt x="2600519" y="1184675"/>
                  </a:lnTo>
                  <a:lnTo>
                    <a:pt x="2600519" y="1190703"/>
                  </a:lnTo>
                  <a:cubicBezTo>
                    <a:pt x="2600519" y="1190703"/>
                    <a:pt x="2597749" y="1192658"/>
                    <a:pt x="2597749" y="1192658"/>
                  </a:cubicBezTo>
                  <a:lnTo>
                    <a:pt x="2600682" y="1201292"/>
                  </a:lnTo>
                  <a:lnTo>
                    <a:pt x="2595631" y="1205039"/>
                  </a:lnTo>
                  <a:lnTo>
                    <a:pt x="2594817" y="1211555"/>
                  </a:lnTo>
                  <a:lnTo>
                    <a:pt x="2587812" y="1220027"/>
                  </a:lnTo>
                  <a:lnTo>
                    <a:pt x="2588952" y="1225566"/>
                  </a:lnTo>
                  <a:lnTo>
                    <a:pt x="2584879" y="1227683"/>
                  </a:lnTo>
                  <a:lnTo>
                    <a:pt x="2583576" y="1237132"/>
                  </a:lnTo>
                  <a:lnTo>
                    <a:pt x="2581621" y="1237132"/>
                  </a:lnTo>
                  <a:lnTo>
                    <a:pt x="2578689" y="1249513"/>
                  </a:lnTo>
                  <a:lnTo>
                    <a:pt x="2579015" y="1258799"/>
                  </a:lnTo>
                  <a:lnTo>
                    <a:pt x="2577223" y="1261894"/>
                  </a:lnTo>
                  <a:lnTo>
                    <a:pt x="2579340" y="1267759"/>
                  </a:lnTo>
                  <a:lnTo>
                    <a:pt x="2575756" y="1273298"/>
                  </a:lnTo>
                  <a:lnTo>
                    <a:pt x="2574779" y="1279163"/>
                  </a:lnTo>
                  <a:lnTo>
                    <a:pt x="2569892" y="1286657"/>
                  </a:lnTo>
                  <a:lnTo>
                    <a:pt x="2570218" y="1289426"/>
                  </a:lnTo>
                  <a:lnTo>
                    <a:pt x="2567774" y="1290403"/>
                  </a:lnTo>
                  <a:lnTo>
                    <a:pt x="2567774" y="1296920"/>
                  </a:lnTo>
                  <a:cubicBezTo>
                    <a:pt x="2567774" y="1296920"/>
                    <a:pt x="2559792" y="1303273"/>
                    <a:pt x="2559792" y="1303273"/>
                  </a:cubicBezTo>
                  <a:lnTo>
                    <a:pt x="2559466" y="1311745"/>
                  </a:lnTo>
                  <a:lnTo>
                    <a:pt x="2552298" y="1318261"/>
                  </a:lnTo>
                  <a:lnTo>
                    <a:pt x="2552298" y="1322171"/>
                  </a:lnTo>
                  <a:lnTo>
                    <a:pt x="2547410" y="1329990"/>
                  </a:lnTo>
                  <a:lnTo>
                    <a:pt x="2545944" y="1335366"/>
                  </a:lnTo>
                  <a:lnTo>
                    <a:pt x="2543338" y="1339928"/>
                  </a:lnTo>
                  <a:lnTo>
                    <a:pt x="2546107" y="1344652"/>
                  </a:lnTo>
                  <a:lnTo>
                    <a:pt x="2550831" y="1347910"/>
                  </a:lnTo>
                  <a:lnTo>
                    <a:pt x="2555719" y="1346118"/>
                  </a:lnTo>
                  <a:lnTo>
                    <a:pt x="2559954" y="1350028"/>
                  </a:lnTo>
                  <a:lnTo>
                    <a:pt x="2565004" y="1350354"/>
                  </a:lnTo>
                  <a:lnTo>
                    <a:pt x="2571358" y="1345792"/>
                  </a:lnTo>
                  <a:lnTo>
                    <a:pt x="2575268" y="1344489"/>
                  </a:lnTo>
                  <a:lnTo>
                    <a:pt x="2579504" y="1341557"/>
                  </a:lnTo>
                  <a:lnTo>
                    <a:pt x="2581784" y="1342208"/>
                  </a:lnTo>
                  <a:lnTo>
                    <a:pt x="2587323" y="1340579"/>
                  </a:lnTo>
                  <a:lnTo>
                    <a:pt x="2587323" y="1353775"/>
                  </a:lnTo>
                  <a:lnTo>
                    <a:pt x="2593188" y="1361432"/>
                  </a:lnTo>
                  <a:lnTo>
                    <a:pt x="2595306" y="1369414"/>
                  </a:lnTo>
                  <a:lnTo>
                    <a:pt x="2594328" y="1375931"/>
                  </a:lnTo>
                  <a:lnTo>
                    <a:pt x="2600845" y="1381470"/>
                  </a:lnTo>
                  <a:lnTo>
                    <a:pt x="2604266" y="1377234"/>
                  </a:lnTo>
                  <a:lnTo>
                    <a:pt x="2605569" y="1377560"/>
                  </a:lnTo>
                  <a:lnTo>
                    <a:pt x="2608664" y="1375442"/>
                  </a:lnTo>
                  <a:lnTo>
                    <a:pt x="2610945" y="1370392"/>
                  </a:lnTo>
                  <a:lnTo>
                    <a:pt x="2614366" y="1369088"/>
                  </a:lnTo>
                  <a:lnTo>
                    <a:pt x="2616321" y="1372021"/>
                  </a:lnTo>
                  <a:lnTo>
                    <a:pt x="2619253" y="1369251"/>
                  </a:lnTo>
                  <a:lnTo>
                    <a:pt x="2624792" y="1369903"/>
                  </a:lnTo>
                  <a:lnTo>
                    <a:pt x="2622674" y="1372021"/>
                  </a:lnTo>
                  <a:lnTo>
                    <a:pt x="2620394" y="1375931"/>
                  </a:lnTo>
                  <a:lnTo>
                    <a:pt x="2621045" y="1383262"/>
                  </a:lnTo>
                  <a:lnTo>
                    <a:pt x="2618113" y="1383262"/>
                  </a:lnTo>
                  <a:lnTo>
                    <a:pt x="2614040" y="1387171"/>
                  </a:lnTo>
                  <a:lnTo>
                    <a:pt x="2615669" y="1389452"/>
                  </a:lnTo>
                  <a:lnTo>
                    <a:pt x="2627073" y="1387660"/>
                  </a:lnTo>
                  <a:lnTo>
                    <a:pt x="2633101" y="1383913"/>
                  </a:lnTo>
                  <a:lnTo>
                    <a:pt x="2635218" y="1376094"/>
                  </a:lnTo>
                  <a:lnTo>
                    <a:pt x="2634241" y="1371043"/>
                  </a:lnTo>
                  <a:lnTo>
                    <a:pt x="2636196" y="1367296"/>
                  </a:lnTo>
                  <a:lnTo>
                    <a:pt x="2639291" y="1374302"/>
                  </a:lnTo>
                  <a:lnTo>
                    <a:pt x="2638314" y="1380655"/>
                  </a:lnTo>
                  <a:lnTo>
                    <a:pt x="2638640" y="1387008"/>
                  </a:lnTo>
                  <a:lnTo>
                    <a:pt x="2641898" y="1384891"/>
                  </a:lnTo>
                  <a:lnTo>
                    <a:pt x="2643853" y="1377886"/>
                  </a:lnTo>
                  <a:lnTo>
                    <a:pt x="2641083" y="1369251"/>
                  </a:lnTo>
                  <a:lnTo>
                    <a:pt x="2643201" y="1364853"/>
                  </a:lnTo>
                  <a:lnTo>
                    <a:pt x="2638802" y="1360128"/>
                  </a:lnTo>
                  <a:lnTo>
                    <a:pt x="2636359" y="1351494"/>
                  </a:lnTo>
                  <a:lnTo>
                    <a:pt x="2641409" y="1351494"/>
                  </a:lnTo>
                  <a:cubicBezTo>
                    <a:pt x="2641409" y="1351494"/>
                    <a:pt x="2646296" y="1354101"/>
                    <a:pt x="2646296" y="1354101"/>
                  </a:cubicBezTo>
                  <a:lnTo>
                    <a:pt x="2645970" y="1356382"/>
                  </a:lnTo>
                  <a:lnTo>
                    <a:pt x="2647926" y="1358662"/>
                  </a:lnTo>
                  <a:lnTo>
                    <a:pt x="2650858" y="1358662"/>
                  </a:lnTo>
                  <a:lnTo>
                    <a:pt x="2652976" y="1355404"/>
                  </a:lnTo>
                  <a:lnTo>
                    <a:pt x="2657863" y="1354753"/>
                  </a:lnTo>
                  <a:lnTo>
                    <a:pt x="2663727" y="1350191"/>
                  </a:lnTo>
                  <a:lnTo>
                    <a:pt x="2669592" y="1354915"/>
                  </a:lnTo>
                  <a:lnTo>
                    <a:pt x="2675457" y="1355404"/>
                  </a:lnTo>
                  <a:lnTo>
                    <a:pt x="2679204" y="1358825"/>
                  </a:lnTo>
                  <a:lnTo>
                    <a:pt x="2682136" y="1365016"/>
                  </a:lnTo>
                  <a:lnTo>
                    <a:pt x="2685231" y="1367134"/>
                  </a:lnTo>
                  <a:lnTo>
                    <a:pt x="2692236" y="1368111"/>
                  </a:lnTo>
                  <a:lnTo>
                    <a:pt x="2694843" y="1371532"/>
                  </a:lnTo>
                  <a:lnTo>
                    <a:pt x="2705921" y="1375605"/>
                  </a:lnTo>
                  <a:lnTo>
                    <a:pt x="2707387" y="1379026"/>
                  </a:lnTo>
                  <a:lnTo>
                    <a:pt x="2711460" y="1379678"/>
                  </a:lnTo>
                  <a:lnTo>
                    <a:pt x="2714718" y="1383750"/>
                  </a:lnTo>
                  <a:lnTo>
                    <a:pt x="2717651" y="1383750"/>
                  </a:lnTo>
                  <a:cubicBezTo>
                    <a:pt x="2717651" y="1383750"/>
                    <a:pt x="2721886" y="1391733"/>
                    <a:pt x="2721886" y="1391733"/>
                  </a:cubicBezTo>
                  <a:lnTo>
                    <a:pt x="2719117" y="1395969"/>
                  </a:lnTo>
                  <a:lnTo>
                    <a:pt x="2718791" y="1400204"/>
                  </a:lnTo>
                  <a:lnTo>
                    <a:pt x="2715370" y="1402322"/>
                  </a:lnTo>
                  <a:lnTo>
                    <a:pt x="2720420" y="1407861"/>
                  </a:lnTo>
                  <a:lnTo>
                    <a:pt x="2724167" y="1407861"/>
                  </a:lnTo>
                  <a:cubicBezTo>
                    <a:pt x="2724167" y="1407861"/>
                    <a:pt x="2731009" y="1416332"/>
                    <a:pt x="2731009" y="1416332"/>
                  </a:cubicBezTo>
                  <a:lnTo>
                    <a:pt x="2731335" y="1420894"/>
                  </a:lnTo>
                  <a:lnTo>
                    <a:pt x="2728402" y="1424315"/>
                  </a:lnTo>
                  <a:lnTo>
                    <a:pt x="2728402" y="1429854"/>
                  </a:lnTo>
                  <a:cubicBezTo>
                    <a:pt x="2728402" y="1429854"/>
                    <a:pt x="2733453" y="1434252"/>
                    <a:pt x="2733453" y="1434252"/>
                  </a:cubicBezTo>
                  <a:lnTo>
                    <a:pt x="2737688" y="1435393"/>
                  </a:lnTo>
                  <a:lnTo>
                    <a:pt x="2740947" y="1432460"/>
                  </a:lnTo>
                  <a:lnTo>
                    <a:pt x="2741924" y="1436859"/>
                  </a:lnTo>
                  <a:lnTo>
                    <a:pt x="2739643" y="1439791"/>
                  </a:lnTo>
                  <a:lnTo>
                    <a:pt x="2740458" y="1445982"/>
                  </a:lnTo>
                  <a:lnTo>
                    <a:pt x="2744693" y="1449891"/>
                  </a:lnTo>
                  <a:lnTo>
                    <a:pt x="2741598" y="1452335"/>
                  </a:lnTo>
                  <a:lnTo>
                    <a:pt x="2740947" y="1456082"/>
                  </a:lnTo>
                  <a:lnTo>
                    <a:pt x="2743064" y="1460481"/>
                  </a:lnTo>
                  <a:lnTo>
                    <a:pt x="2740295" y="1465694"/>
                  </a:lnTo>
                  <a:lnTo>
                    <a:pt x="2742413" y="1467486"/>
                  </a:lnTo>
                  <a:lnTo>
                    <a:pt x="2742087" y="1470907"/>
                  </a:lnTo>
                  <a:lnTo>
                    <a:pt x="2740947" y="1473350"/>
                  </a:lnTo>
                  <a:lnTo>
                    <a:pt x="2743716" y="1475142"/>
                  </a:lnTo>
                  <a:lnTo>
                    <a:pt x="2740620" y="1478889"/>
                  </a:lnTo>
                  <a:lnTo>
                    <a:pt x="2744693" y="1491107"/>
                  </a:lnTo>
                  <a:lnTo>
                    <a:pt x="2742901" y="1494528"/>
                  </a:lnTo>
                  <a:lnTo>
                    <a:pt x="2743879" y="1503977"/>
                  </a:lnTo>
                  <a:lnTo>
                    <a:pt x="2744693" y="1507724"/>
                  </a:lnTo>
                  <a:lnTo>
                    <a:pt x="2744693" y="1511960"/>
                  </a:lnTo>
                  <a:cubicBezTo>
                    <a:pt x="2744693" y="1511960"/>
                    <a:pt x="2749744" y="1528740"/>
                    <a:pt x="2749744" y="1528740"/>
                  </a:cubicBezTo>
                  <a:lnTo>
                    <a:pt x="2753817" y="1529554"/>
                  </a:lnTo>
                  <a:lnTo>
                    <a:pt x="2758541" y="1526296"/>
                  </a:lnTo>
                  <a:lnTo>
                    <a:pt x="2759192" y="1528577"/>
                  </a:lnTo>
                  <a:lnTo>
                    <a:pt x="2755283" y="1535093"/>
                  </a:lnTo>
                  <a:lnTo>
                    <a:pt x="2753165" y="1537374"/>
                  </a:lnTo>
                  <a:lnTo>
                    <a:pt x="2755608" y="1541772"/>
                  </a:lnTo>
                  <a:lnTo>
                    <a:pt x="2757889" y="1541772"/>
                  </a:lnTo>
                  <a:lnTo>
                    <a:pt x="2765057" y="1549755"/>
                  </a:lnTo>
                  <a:lnTo>
                    <a:pt x="2764406" y="1559366"/>
                  </a:lnTo>
                  <a:lnTo>
                    <a:pt x="2766197" y="1562787"/>
                  </a:lnTo>
                  <a:lnTo>
                    <a:pt x="2765546" y="1566046"/>
                  </a:lnTo>
                  <a:lnTo>
                    <a:pt x="2767338" y="1578427"/>
                  </a:lnTo>
                  <a:lnTo>
                    <a:pt x="2771247" y="1578101"/>
                  </a:lnTo>
                  <a:lnTo>
                    <a:pt x="2771247" y="1584129"/>
                  </a:lnTo>
                  <a:cubicBezTo>
                    <a:pt x="2771247" y="1584129"/>
                    <a:pt x="2769293" y="1586083"/>
                    <a:pt x="2769293" y="1586083"/>
                  </a:cubicBezTo>
                  <a:lnTo>
                    <a:pt x="2769618" y="1593903"/>
                  </a:lnTo>
                  <a:lnTo>
                    <a:pt x="2772062" y="1598790"/>
                  </a:lnTo>
                  <a:lnTo>
                    <a:pt x="2772388" y="1605633"/>
                  </a:lnTo>
                  <a:lnTo>
                    <a:pt x="2765057" y="1613289"/>
                  </a:lnTo>
                  <a:lnTo>
                    <a:pt x="2764406" y="1620620"/>
                  </a:lnTo>
                  <a:lnTo>
                    <a:pt x="2761147" y="1628766"/>
                  </a:lnTo>
                  <a:lnTo>
                    <a:pt x="2762125" y="1637237"/>
                  </a:lnTo>
                  <a:lnTo>
                    <a:pt x="2763428" y="1638052"/>
                  </a:lnTo>
                  <a:lnTo>
                    <a:pt x="2762776" y="1645545"/>
                  </a:lnTo>
                  <a:lnTo>
                    <a:pt x="2757889" y="1650270"/>
                  </a:lnTo>
                  <a:lnTo>
                    <a:pt x="2757889" y="1656786"/>
                  </a:lnTo>
                  <a:cubicBezTo>
                    <a:pt x="2757889" y="1656786"/>
                    <a:pt x="2754468" y="1665094"/>
                    <a:pt x="2754468" y="1665094"/>
                  </a:cubicBezTo>
                  <a:lnTo>
                    <a:pt x="2756586" y="1665420"/>
                  </a:lnTo>
                  <a:lnTo>
                    <a:pt x="2756911" y="1669330"/>
                  </a:lnTo>
                  <a:lnTo>
                    <a:pt x="2752513" y="1674706"/>
                  </a:lnTo>
                  <a:lnTo>
                    <a:pt x="2755283" y="1686110"/>
                  </a:lnTo>
                  <a:lnTo>
                    <a:pt x="2749906" y="1691486"/>
                  </a:lnTo>
                  <a:lnTo>
                    <a:pt x="2751699" y="1698328"/>
                  </a:lnTo>
                  <a:lnTo>
                    <a:pt x="2754142" y="1699142"/>
                  </a:lnTo>
                  <a:lnTo>
                    <a:pt x="2753817" y="1704356"/>
                  </a:lnTo>
                  <a:lnTo>
                    <a:pt x="2747626" y="1711849"/>
                  </a:lnTo>
                  <a:lnTo>
                    <a:pt x="2746485" y="1717877"/>
                  </a:lnTo>
                  <a:lnTo>
                    <a:pt x="2741272" y="1722601"/>
                  </a:lnTo>
                  <a:lnTo>
                    <a:pt x="2740947" y="1727163"/>
                  </a:lnTo>
                  <a:lnTo>
                    <a:pt x="2735733" y="1734005"/>
                  </a:lnTo>
                  <a:lnTo>
                    <a:pt x="2730846" y="1755835"/>
                  </a:lnTo>
                  <a:lnTo>
                    <a:pt x="2727914" y="1757627"/>
                  </a:lnTo>
                  <a:lnTo>
                    <a:pt x="2726936" y="1763654"/>
                  </a:lnTo>
                  <a:lnTo>
                    <a:pt x="2729054" y="1765609"/>
                  </a:lnTo>
                  <a:lnTo>
                    <a:pt x="2728077" y="1768053"/>
                  </a:lnTo>
                  <a:lnTo>
                    <a:pt x="2721072" y="1772614"/>
                  </a:lnTo>
                  <a:lnTo>
                    <a:pt x="2721072" y="1777827"/>
                  </a:lnTo>
                  <a:cubicBezTo>
                    <a:pt x="2721072" y="1777827"/>
                    <a:pt x="2716184" y="1780271"/>
                    <a:pt x="2716184" y="1780271"/>
                  </a:cubicBezTo>
                  <a:lnTo>
                    <a:pt x="2716836" y="1788254"/>
                  </a:lnTo>
                  <a:lnTo>
                    <a:pt x="2714067" y="1789068"/>
                  </a:lnTo>
                  <a:lnTo>
                    <a:pt x="2716510" y="1793956"/>
                  </a:lnTo>
                  <a:lnTo>
                    <a:pt x="2710483" y="1802427"/>
                  </a:lnTo>
                  <a:lnTo>
                    <a:pt x="2710157" y="1801123"/>
                  </a:lnTo>
                  <a:lnTo>
                    <a:pt x="2706247" y="1799983"/>
                  </a:lnTo>
                  <a:lnTo>
                    <a:pt x="2708202" y="1805359"/>
                  </a:lnTo>
                  <a:lnTo>
                    <a:pt x="2708202" y="1811387"/>
                  </a:lnTo>
                  <a:lnTo>
                    <a:pt x="2702174" y="1814156"/>
                  </a:lnTo>
                  <a:lnTo>
                    <a:pt x="2703640" y="1816926"/>
                  </a:lnTo>
                  <a:lnTo>
                    <a:pt x="2695169" y="1827352"/>
                  </a:lnTo>
                  <a:lnTo>
                    <a:pt x="2691259" y="1833868"/>
                  </a:lnTo>
                  <a:lnTo>
                    <a:pt x="2687512" y="1833868"/>
                  </a:lnTo>
                  <a:cubicBezTo>
                    <a:pt x="2687512" y="1833868"/>
                    <a:pt x="2686535" y="1837615"/>
                    <a:pt x="2686535" y="1837615"/>
                  </a:cubicBezTo>
                  <a:lnTo>
                    <a:pt x="2679367" y="1838756"/>
                  </a:lnTo>
                  <a:lnTo>
                    <a:pt x="2673502" y="1844783"/>
                  </a:lnTo>
                  <a:lnTo>
                    <a:pt x="2670407" y="1841525"/>
                  </a:lnTo>
                  <a:lnTo>
                    <a:pt x="2667474" y="1844457"/>
                  </a:lnTo>
                  <a:lnTo>
                    <a:pt x="2659492" y="1839407"/>
                  </a:lnTo>
                  <a:lnTo>
                    <a:pt x="2651509" y="1837289"/>
                  </a:lnTo>
                  <a:lnTo>
                    <a:pt x="2650858" y="1828166"/>
                  </a:lnTo>
                  <a:lnTo>
                    <a:pt x="2647926" y="1825723"/>
                  </a:lnTo>
                  <a:lnTo>
                    <a:pt x="2641735" y="1828492"/>
                  </a:lnTo>
                  <a:lnTo>
                    <a:pt x="2636359" y="1825071"/>
                  </a:lnTo>
                  <a:lnTo>
                    <a:pt x="2634730" y="1827841"/>
                  </a:lnTo>
                  <a:lnTo>
                    <a:pt x="2634730" y="1832565"/>
                  </a:lnTo>
                  <a:cubicBezTo>
                    <a:pt x="2634730" y="1832565"/>
                    <a:pt x="2630331" y="1836312"/>
                    <a:pt x="2630331" y="1836312"/>
                  </a:cubicBezTo>
                  <a:lnTo>
                    <a:pt x="2629679" y="1845598"/>
                  </a:lnTo>
                  <a:lnTo>
                    <a:pt x="2626421" y="1847878"/>
                  </a:lnTo>
                  <a:lnTo>
                    <a:pt x="2624304" y="1856350"/>
                  </a:lnTo>
                  <a:lnTo>
                    <a:pt x="2622186" y="1854069"/>
                  </a:lnTo>
                  <a:lnTo>
                    <a:pt x="2615669" y="1855209"/>
                  </a:lnTo>
                  <a:lnTo>
                    <a:pt x="2613877" y="1862703"/>
                  </a:lnTo>
                  <a:lnTo>
                    <a:pt x="2612248" y="1862703"/>
                  </a:lnTo>
                  <a:close/>
                  <a:moveTo>
                    <a:pt x="845498" y="1883393"/>
                  </a:moveTo>
                  <a:lnTo>
                    <a:pt x="839145" y="1878994"/>
                  </a:lnTo>
                  <a:lnTo>
                    <a:pt x="809007" y="1884696"/>
                  </a:lnTo>
                  <a:lnTo>
                    <a:pt x="845498" y="1883393"/>
                  </a:lnTo>
                  <a:lnTo>
                    <a:pt x="845498" y="1883393"/>
                  </a:lnTo>
                  <a:close/>
                  <a:moveTo>
                    <a:pt x="2987917" y="1775221"/>
                  </a:moveTo>
                  <a:lnTo>
                    <a:pt x="2990197" y="1776036"/>
                  </a:lnTo>
                  <a:lnTo>
                    <a:pt x="2994759" y="1772940"/>
                  </a:lnTo>
                  <a:lnTo>
                    <a:pt x="2995574" y="1769193"/>
                  </a:lnTo>
                  <a:lnTo>
                    <a:pt x="2991827" y="1770823"/>
                  </a:lnTo>
                  <a:lnTo>
                    <a:pt x="2987917" y="1775221"/>
                  </a:lnTo>
                  <a:lnTo>
                    <a:pt x="2987917" y="1775221"/>
                  </a:lnTo>
                  <a:close/>
                  <a:moveTo>
                    <a:pt x="164864" y="260492"/>
                  </a:moveTo>
                  <a:lnTo>
                    <a:pt x="161606" y="254953"/>
                  </a:lnTo>
                  <a:lnTo>
                    <a:pt x="160791" y="247622"/>
                  </a:lnTo>
                  <a:lnTo>
                    <a:pt x="158022" y="244364"/>
                  </a:lnTo>
                  <a:lnTo>
                    <a:pt x="155089" y="243223"/>
                  </a:lnTo>
                  <a:lnTo>
                    <a:pt x="152809" y="238173"/>
                  </a:lnTo>
                  <a:lnTo>
                    <a:pt x="158185" y="233449"/>
                  </a:lnTo>
                  <a:lnTo>
                    <a:pt x="162257" y="228236"/>
                  </a:lnTo>
                  <a:lnTo>
                    <a:pt x="169588" y="227584"/>
                  </a:lnTo>
                  <a:lnTo>
                    <a:pt x="172521" y="224652"/>
                  </a:lnTo>
                  <a:lnTo>
                    <a:pt x="175779" y="226118"/>
                  </a:lnTo>
                  <a:lnTo>
                    <a:pt x="178548" y="231494"/>
                  </a:lnTo>
                  <a:lnTo>
                    <a:pt x="184250" y="234100"/>
                  </a:lnTo>
                  <a:lnTo>
                    <a:pt x="189952" y="233449"/>
                  </a:lnTo>
                  <a:lnTo>
                    <a:pt x="190930" y="231657"/>
                  </a:lnTo>
                  <a:lnTo>
                    <a:pt x="193699" y="230191"/>
                  </a:lnTo>
                  <a:lnTo>
                    <a:pt x="190603" y="226607"/>
                  </a:lnTo>
                  <a:lnTo>
                    <a:pt x="184739" y="225303"/>
                  </a:lnTo>
                  <a:lnTo>
                    <a:pt x="171706" y="217321"/>
                  </a:lnTo>
                  <a:lnTo>
                    <a:pt x="160466" y="215529"/>
                  </a:lnTo>
                  <a:lnTo>
                    <a:pt x="153298" y="216018"/>
                  </a:lnTo>
                  <a:lnTo>
                    <a:pt x="143686" y="224489"/>
                  </a:lnTo>
                  <a:lnTo>
                    <a:pt x="140265" y="231657"/>
                  </a:lnTo>
                  <a:lnTo>
                    <a:pt x="134563" y="233286"/>
                  </a:lnTo>
                  <a:lnTo>
                    <a:pt x="128372" y="238825"/>
                  </a:lnTo>
                  <a:lnTo>
                    <a:pt x="128698" y="252020"/>
                  </a:lnTo>
                  <a:lnTo>
                    <a:pt x="132608" y="254790"/>
                  </a:lnTo>
                  <a:lnTo>
                    <a:pt x="138798" y="251043"/>
                  </a:lnTo>
                  <a:lnTo>
                    <a:pt x="143360" y="254464"/>
                  </a:lnTo>
                  <a:lnTo>
                    <a:pt x="145803" y="257722"/>
                  </a:lnTo>
                  <a:lnTo>
                    <a:pt x="148736" y="259351"/>
                  </a:lnTo>
                  <a:lnTo>
                    <a:pt x="151017" y="255442"/>
                  </a:lnTo>
                  <a:lnTo>
                    <a:pt x="151017" y="252672"/>
                  </a:lnTo>
                  <a:lnTo>
                    <a:pt x="153949" y="249903"/>
                  </a:lnTo>
                  <a:lnTo>
                    <a:pt x="157207" y="253324"/>
                  </a:lnTo>
                  <a:lnTo>
                    <a:pt x="159814" y="260818"/>
                  </a:lnTo>
                  <a:lnTo>
                    <a:pt x="164050" y="263587"/>
                  </a:lnTo>
                  <a:lnTo>
                    <a:pt x="165027" y="260166"/>
                  </a:lnTo>
                  <a:lnTo>
                    <a:pt x="165027" y="260166"/>
                  </a:lnTo>
                  <a:close/>
                  <a:moveTo>
                    <a:pt x="205266" y="185554"/>
                  </a:moveTo>
                  <a:lnTo>
                    <a:pt x="206243" y="179852"/>
                  </a:lnTo>
                  <a:lnTo>
                    <a:pt x="209664" y="175616"/>
                  </a:lnTo>
                  <a:lnTo>
                    <a:pt x="211782" y="175616"/>
                  </a:lnTo>
                  <a:lnTo>
                    <a:pt x="212271" y="180340"/>
                  </a:lnTo>
                  <a:lnTo>
                    <a:pt x="214551" y="183273"/>
                  </a:lnTo>
                  <a:lnTo>
                    <a:pt x="213574" y="187020"/>
                  </a:lnTo>
                  <a:lnTo>
                    <a:pt x="207057" y="187020"/>
                  </a:lnTo>
                  <a:cubicBezTo>
                    <a:pt x="207057" y="187020"/>
                    <a:pt x="205266" y="185716"/>
                    <a:pt x="205266" y="185716"/>
                  </a:cubicBezTo>
                  <a:lnTo>
                    <a:pt x="205266" y="185716"/>
                  </a:lnTo>
                  <a:close/>
                  <a:moveTo>
                    <a:pt x="194351" y="287535"/>
                  </a:moveTo>
                  <a:lnTo>
                    <a:pt x="196631" y="287535"/>
                  </a:lnTo>
                  <a:cubicBezTo>
                    <a:pt x="196631" y="287535"/>
                    <a:pt x="199564" y="285743"/>
                    <a:pt x="199564" y="285743"/>
                  </a:cubicBezTo>
                  <a:lnTo>
                    <a:pt x="202007" y="281507"/>
                  </a:lnTo>
                  <a:lnTo>
                    <a:pt x="201682" y="277760"/>
                  </a:lnTo>
                  <a:lnTo>
                    <a:pt x="202659" y="275479"/>
                  </a:lnTo>
                  <a:lnTo>
                    <a:pt x="204940" y="277108"/>
                  </a:lnTo>
                  <a:lnTo>
                    <a:pt x="208524" y="275154"/>
                  </a:lnTo>
                  <a:lnTo>
                    <a:pt x="209664" y="268311"/>
                  </a:lnTo>
                  <a:lnTo>
                    <a:pt x="208687" y="261306"/>
                  </a:lnTo>
                  <a:lnTo>
                    <a:pt x="204614" y="257396"/>
                  </a:lnTo>
                  <a:lnTo>
                    <a:pt x="203962" y="255279"/>
                  </a:lnTo>
                  <a:lnTo>
                    <a:pt x="209175" y="252835"/>
                  </a:lnTo>
                  <a:lnTo>
                    <a:pt x="213411" y="253161"/>
                  </a:lnTo>
                  <a:lnTo>
                    <a:pt x="221068" y="251532"/>
                  </a:lnTo>
                  <a:lnTo>
                    <a:pt x="223023" y="250228"/>
                  </a:lnTo>
                  <a:lnTo>
                    <a:pt x="223023" y="248274"/>
                  </a:lnTo>
                  <a:lnTo>
                    <a:pt x="221393" y="246807"/>
                  </a:lnTo>
                  <a:lnTo>
                    <a:pt x="219764" y="243549"/>
                  </a:lnTo>
                  <a:lnTo>
                    <a:pt x="216669" y="243223"/>
                  </a:lnTo>
                  <a:lnTo>
                    <a:pt x="215692" y="241757"/>
                  </a:lnTo>
                  <a:lnTo>
                    <a:pt x="215692" y="236544"/>
                  </a:lnTo>
                  <a:cubicBezTo>
                    <a:pt x="215692" y="236544"/>
                    <a:pt x="217973" y="234589"/>
                    <a:pt x="217973" y="234589"/>
                  </a:cubicBezTo>
                  <a:lnTo>
                    <a:pt x="220579" y="235078"/>
                  </a:lnTo>
                  <a:lnTo>
                    <a:pt x="221393" y="236870"/>
                  </a:lnTo>
                  <a:lnTo>
                    <a:pt x="224326" y="237684"/>
                  </a:lnTo>
                  <a:lnTo>
                    <a:pt x="227421" y="236544"/>
                  </a:lnTo>
                  <a:lnTo>
                    <a:pt x="232146" y="231494"/>
                  </a:lnTo>
                  <a:lnTo>
                    <a:pt x="235567" y="229050"/>
                  </a:lnTo>
                  <a:lnTo>
                    <a:pt x="236055" y="227095"/>
                  </a:lnTo>
                  <a:lnTo>
                    <a:pt x="233286" y="222045"/>
                  </a:lnTo>
                  <a:lnTo>
                    <a:pt x="232960" y="219602"/>
                  </a:lnTo>
                  <a:lnTo>
                    <a:pt x="227910" y="216180"/>
                  </a:lnTo>
                  <a:lnTo>
                    <a:pt x="226769" y="211782"/>
                  </a:lnTo>
                  <a:lnTo>
                    <a:pt x="224489" y="211293"/>
                  </a:lnTo>
                  <a:lnTo>
                    <a:pt x="218950" y="214226"/>
                  </a:lnTo>
                  <a:lnTo>
                    <a:pt x="215528" y="219439"/>
                  </a:lnTo>
                  <a:lnTo>
                    <a:pt x="212922" y="221068"/>
                  </a:lnTo>
                  <a:lnTo>
                    <a:pt x="212596" y="218461"/>
                  </a:lnTo>
                  <a:lnTo>
                    <a:pt x="213737" y="213737"/>
                  </a:lnTo>
                  <a:lnTo>
                    <a:pt x="217321" y="210479"/>
                  </a:lnTo>
                  <a:lnTo>
                    <a:pt x="219601" y="204451"/>
                  </a:lnTo>
                  <a:lnTo>
                    <a:pt x="220253" y="198098"/>
                  </a:lnTo>
                  <a:lnTo>
                    <a:pt x="219601" y="196306"/>
                  </a:lnTo>
                  <a:lnTo>
                    <a:pt x="213900" y="202659"/>
                  </a:lnTo>
                  <a:lnTo>
                    <a:pt x="210804" y="209664"/>
                  </a:lnTo>
                  <a:lnTo>
                    <a:pt x="209175" y="210316"/>
                  </a:lnTo>
                  <a:lnTo>
                    <a:pt x="208687" y="207872"/>
                  </a:lnTo>
                  <a:lnTo>
                    <a:pt x="209664" y="202985"/>
                  </a:lnTo>
                  <a:lnTo>
                    <a:pt x="208361" y="200378"/>
                  </a:lnTo>
                  <a:lnTo>
                    <a:pt x="206569" y="202333"/>
                  </a:lnTo>
                  <a:lnTo>
                    <a:pt x="204125" y="208524"/>
                  </a:lnTo>
                  <a:lnTo>
                    <a:pt x="200052" y="210153"/>
                  </a:lnTo>
                  <a:lnTo>
                    <a:pt x="200052" y="214714"/>
                  </a:lnTo>
                  <a:lnTo>
                    <a:pt x="201844" y="216180"/>
                  </a:lnTo>
                  <a:lnTo>
                    <a:pt x="205754" y="215366"/>
                  </a:lnTo>
                  <a:lnTo>
                    <a:pt x="208198" y="216343"/>
                  </a:lnTo>
                  <a:lnTo>
                    <a:pt x="208198" y="219439"/>
                  </a:lnTo>
                  <a:cubicBezTo>
                    <a:pt x="208198" y="219439"/>
                    <a:pt x="204125" y="220905"/>
                    <a:pt x="204125" y="220905"/>
                  </a:cubicBezTo>
                  <a:lnTo>
                    <a:pt x="200378" y="224326"/>
                  </a:lnTo>
                  <a:lnTo>
                    <a:pt x="201030" y="229865"/>
                  </a:lnTo>
                  <a:lnTo>
                    <a:pt x="199238" y="233286"/>
                  </a:lnTo>
                  <a:lnTo>
                    <a:pt x="195491" y="234263"/>
                  </a:lnTo>
                  <a:lnTo>
                    <a:pt x="191744" y="239639"/>
                  </a:lnTo>
                  <a:lnTo>
                    <a:pt x="187508" y="242246"/>
                  </a:lnTo>
                  <a:lnTo>
                    <a:pt x="182784" y="239802"/>
                  </a:lnTo>
                  <a:lnTo>
                    <a:pt x="178711" y="240617"/>
                  </a:lnTo>
                  <a:lnTo>
                    <a:pt x="173335" y="238173"/>
                  </a:lnTo>
                  <a:lnTo>
                    <a:pt x="170728" y="235241"/>
                  </a:lnTo>
                  <a:lnTo>
                    <a:pt x="168122" y="237522"/>
                  </a:lnTo>
                  <a:lnTo>
                    <a:pt x="168122" y="240943"/>
                  </a:lnTo>
                  <a:cubicBezTo>
                    <a:pt x="168122" y="240943"/>
                    <a:pt x="166819" y="243549"/>
                    <a:pt x="166819" y="243549"/>
                  </a:cubicBezTo>
                  <a:lnTo>
                    <a:pt x="166819" y="247785"/>
                  </a:lnTo>
                  <a:cubicBezTo>
                    <a:pt x="166819" y="247785"/>
                    <a:pt x="170892" y="248762"/>
                    <a:pt x="170892" y="248762"/>
                  </a:cubicBezTo>
                  <a:lnTo>
                    <a:pt x="174313" y="245504"/>
                  </a:lnTo>
                  <a:lnTo>
                    <a:pt x="178385" y="248274"/>
                  </a:lnTo>
                  <a:lnTo>
                    <a:pt x="179526" y="254138"/>
                  </a:lnTo>
                  <a:lnTo>
                    <a:pt x="183762" y="254953"/>
                  </a:lnTo>
                  <a:lnTo>
                    <a:pt x="185716" y="256745"/>
                  </a:lnTo>
                  <a:lnTo>
                    <a:pt x="182458" y="258374"/>
                  </a:lnTo>
                  <a:lnTo>
                    <a:pt x="176593" y="258374"/>
                  </a:lnTo>
                  <a:lnTo>
                    <a:pt x="172195" y="262121"/>
                  </a:lnTo>
                  <a:lnTo>
                    <a:pt x="173987" y="274502"/>
                  </a:lnTo>
                  <a:lnTo>
                    <a:pt x="176430" y="278575"/>
                  </a:lnTo>
                  <a:lnTo>
                    <a:pt x="175290" y="281507"/>
                  </a:lnTo>
                  <a:lnTo>
                    <a:pt x="176593" y="284439"/>
                  </a:lnTo>
                  <a:lnTo>
                    <a:pt x="180014" y="282810"/>
                  </a:lnTo>
                  <a:lnTo>
                    <a:pt x="184250" y="282810"/>
                  </a:lnTo>
                  <a:cubicBezTo>
                    <a:pt x="184250" y="282810"/>
                    <a:pt x="186531" y="279389"/>
                    <a:pt x="186531" y="279389"/>
                  </a:cubicBezTo>
                  <a:lnTo>
                    <a:pt x="186857" y="274013"/>
                  </a:lnTo>
                  <a:lnTo>
                    <a:pt x="189626" y="274013"/>
                  </a:lnTo>
                  <a:lnTo>
                    <a:pt x="193536" y="278412"/>
                  </a:lnTo>
                  <a:lnTo>
                    <a:pt x="193862" y="288023"/>
                  </a:lnTo>
                  <a:lnTo>
                    <a:pt x="193862" y="288023"/>
                  </a:lnTo>
                  <a:close/>
                  <a:moveTo>
                    <a:pt x="227747" y="278086"/>
                  </a:moveTo>
                  <a:lnTo>
                    <a:pt x="228887" y="273687"/>
                  </a:lnTo>
                  <a:lnTo>
                    <a:pt x="231331" y="269452"/>
                  </a:lnTo>
                  <a:lnTo>
                    <a:pt x="231331" y="264727"/>
                  </a:lnTo>
                  <a:cubicBezTo>
                    <a:pt x="231331" y="264727"/>
                    <a:pt x="225466" y="262935"/>
                    <a:pt x="225466" y="262935"/>
                  </a:cubicBezTo>
                  <a:lnTo>
                    <a:pt x="221068" y="260329"/>
                  </a:lnTo>
                  <a:lnTo>
                    <a:pt x="219927" y="266845"/>
                  </a:lnTo>
                  <a:lnTo>
                    <a:pt x="218787" y="269778"/>
                  </a:lnTo>
                  <a:lnTo>
                    <a:pt x="220416" y="274176"/>
                  </a:lnTo>
                  <a:lnTo>
                    <a:pt x="227747" y="278249"/>
                  </a:lnTo>
                  <a:lnTo>
                    <a:pt x="227747" y="278249"/>
                  </a:lnTo>
                  <a:close/>
                  <a:moveTo>
                    <a:pt x="235241" y="291607"/>
                  </a:moveTo>
                  <a:cubicBezTo>
                    <a:pt x="235241" y="291607"/>
                    <a:pt x="239639" y="291119"/>
                    <a:pt x="239639" y="291119"/>
                  </a:cubicBezTo>
                  <a:lnTo>
                    <a:pt x="243549" y="288675"/>
                  </a:lnTo>
                  <a:lnTo>
                    <a:pt x="251043" y="288675"/>
                  </a:lnTo>
                  <a:cubicBezTo>
                    <a:pt x="251043" y="288675"/>
                    <a:pt x="252998" y="285906"/>
                    <a:pt x="252998" y="285906"/>
                  </a:cubicBezTo>
                  <a:lnTo>
                    <a:pt x="251694" y="282159"/>
                  </a:lnTo>
                  <a:lnTo>
                    <a:pt x="245993" y="281181"/>
                  </a:lnTo>
                  <a:lnTo>
                    <a:pt x="245504" y="275968"/>
                  </a:lnTo>
                  <a:lnTo>
                    <a:pt x="239965" y="267660"/>
                  </a:lnTo>
                  <a:lnTo>
                    <a:pt x="238662" y="270103"/>
                  </a:lnTo>
                  <a:lnTo>
                    <a:pt x="238662" y="278575"/>
                  </a:lnTo>
                  <a:cubicBezTo>
                    <a:pt x="238662" y="278575"/>
                    <a:pt x="236870" y="281670"/>
                    <a:pt x="236870" y="281670"/>
                  </a:cubicBezTo>
                  <a:lnTo>
                    <a:pt x="230842" y="281670"/>
                  </a:lnTo>
                  <a:lnTo>
                    <a:pt x="229050" y="283136"/>
                  </a:lnTo>
                  <a:lnTo>
                    <a:pt x="234263" y="287046"/>
                  </a:lnTo>
                  <a:lnTo>
                    <a:pt x="235403" y="291444"/>
                  </a:lnTo>
                  <a:lnTo>
                    <a:pt x="235403" y="291444"/>
                  </a:lnTo>
                  <a:close/>
                  <a:moveTo>
                    <a:pt x="301545" y="110452"/>
                  </a:moveTo>
                  <a:lnTo>
                    <a:pt x="306432" y="106543"/>
                  </a:lnTo>
                  <a:lnTo>
                    <a:pt x="310994" y="106543"/>
                  </a:lnTo>
                  <a:lnTo>
                    <a:pt x="312623" y="104425"/>
                  </a:lnTo>
                  <a:lnTo>
                    <a:pt x="314578" y="102959"/>
                  </a:lnTo>
                  <a:lnTo>
                    <a:pt x="312948" y="100352"/>
                  </a:lnTo>
                  <a:lnTo>
                    <a:pt x="311808" y="94650"/>
                  </a:lnTo>
                  <a:lnTo>
                    <a:pt x="308550" y="92695"/>
                  </a:lnTo>
                  <a:lnTo>
                    <a:pt x="305292" y="94976"/>
                  </a:lnTo>
                  <a:lnTo>
                    <a:pt x="298775" y="96605"/>
                  </a:lnTo>
                  <a:lnTo>
                    <a:pt x="294377" y="99049"/>
                  </a:lnTo>
                  <a:lnTo>
                    <a:pt x="294377" y="100841"/>
                  </a:lnTo>
                  <a:lnTo>
                    <a:pt x="296983" y="103121"/>
                  </a:lnTo>
                  <a:lnTo>
                    <a:pt x="298775" y="107357"/>
                  </a:lnTo>
                  <a:cubicBezTo>
                    <a:pt x="298775" y="107357"/>
                    <a:pt x="301382" y="110778"/>
                    <a:pt x="301708" y="110615"/>
                  </a:cubicBezTo>
                  <a:lnTo>
                    <a:pt x="301708" y="110615"/>
                  </a:lnTo>
                  <a:close/>
                  <a:moveTo>
                    <a:pt x="306595" y="119412"/>
                  </a:moveTo>
                  <a:lnTo>
                    <a:pt x="306106" y="115828"/>
                  </a:lnTo>
                  <a:lnTo>
                    <a:pt x="308224" y="113873"/>
                  </a:lnTo>
                  <a:lnTo>
                    <a:pt x="309364" y="116969"/>
                  </a:lnTo>
                  <a:lnTo>
                    <a:pt x="306758" y="119249"/>
                  </a:lnTo>
                  <a:lnTo>
                    <a:pt x="306758" y="119249"/>
                  </a:lnTo>
                  <a:close/>
                  <a:moveTo>
                    <a:pt x="307898" y="135703"/>
                  </a:moveTo>
                  <a:lnTo>
                    <a:pt x="310342" y="131631"/>
                  </a:lnTo>
                  <a:lnTo>
                    <a:pt x="312948" y="129839"/>
                  </a:lnTo>
                  <a:lnTo>
                    <a:pt x="314414" y="126906"/>
                  </a:lnTo>
                  <a:lnTo>
                    <a:pt x="312134" y="125114"/>
                  </a:lnTo>
                  <a:lnTo>
                    <a:pt x="309853" y="125766"/>
                  </a:lnTo>
                  <a:lnTo>
                    <a:pt x="304966" y="125766"/>
                  </a:lnTo>
                  <a:lnTo>
                    <a:pt x="301871" y="123322"/>
                  </a:lnTo>
                  <a:lnTo>
                    <a:pt x="298124" y="122833"/>
                  </a:lnTo>
                  <a:lnTo>
                    <a:pt x="293725" y="125440"/>
                  </a:lnTo>
                  <a:lnTo>
                    <a:pt x="289001" y="129676"/>
                  </a:lnTo>
                  <a:lnTo>
                    <a:pt x="288512" y="132608"/>
                  </a:lnTo>
                  <a:lnTo>
                    <a:pt x="290141" y="135540"/>
                  </a:lnTo>
                  <a:lnTo>
                    <a:pt x="294540" y="137495"/>
                  </a:lnTo>
                  <a:lnTo>
                    <a:pt x="299264" y="134889"/>
                  </a:lnTo>
                  <a:lnTo>
                    <a:pt x="301708" y="137821"/>
                  </a:lnTo>
                  <a:lnTo>
                    <a:pt x="304803" y="138147"/>
                  </a:lnTo>
                  <a:lnTo>
                    <a:pt x="307735" y="135540"/>
                  </a:lnTo>
                  <a:lnTo>
                    <a:pt x="307735" y="135540"/>
                  </a:lnTo>
                  <a:close/>
                  <a:moveTo>
                    <a:pt x="319791" y="136681"/>
                  </a:moveTo>
                  <a:lnTo>
                    <a:pt x="318813" y="130816"/>
                  </a:lnTo>
                  <a:lnTo>
                    <a:pt x="321094" y="127721"/>
                  </a:lnTo>
                  <a:lnTo>
                    <a:pt x="323863" y="127232"/>
                  </a:lnTo>
                  <a:lnTo>
                    <a:pt x="326959" y="129513"/>
                  </a:lnTo>
                  <a:lnTo>
                    <a:pt x="328262" y="132771"/>
                  </a:lnTo>
                  <a:lnTo>
                    <a:pt x="327284" y="136192"/>
                  </a:lnTo>
                  <a:lnTo>
                    <a:pt x="323700" y="137984"/>
                  </a:lnTo>
                  <a:lnTo>
                    <a:pt x="319953" y="136844"/>
                  </a:lnTo>
                  <a:lnTo>
                    <a:pt x="319953" y="136844"/>
                  </a:lnTo>
                  <a:close/>
                  <a:moveTo>
                    <a:pt x="299101" y="163398"/>
                  </a:moveTo>
                  <a:lnTo>
                    <a:pt x="304314" y="155578"/>
                  </a:lnTo>
                  <a:lnTo>
                    <a:pt x="307410" y="148899"/>
                  </a:lnTo>
                  <a:lnTo>
                    <a:pt x="311808" y="144989"/>
                  </a:lnTo>
                  <a:lnTo>
                    <a:pt x="311808" y="143034"/>
                  </a:lnTo>
                  <a:cubicBezTo>
                    <a:pt x="311808" y="143034"/>
                    <a:pt x="307735" y="141079"/>
                    <a:pt x="307735" y="141079"/>
                  </a:cubicBezTo>
                  <a:lnTo>
                    <a:pt x="301871" y="144826"/>
                  </a:lnTo>
                  <a:lnTo>
                    <a:pt x="296983" y="142383"/>
                  </a:lnTo>
                  <a:lnTo>
                    <a:pt x="290956" y="141894"/>
                  </a:lnTo>
                  <a:lnTo>
                    <a:pt x="289652" y="146130"/>
                  </a:lnTo>
                  <a:lnTo>
                    <a:pt x="287209" y="150039"/>
                  </a:lnTo>
                  <a:lnTo>
                    <a:pt x="288838" y="151180"/>
                  </a:lnTo>
                  <a:lnTo>
                    <a:pt x="292748" y="150691"/>
                  </a:lnTo>
                  <a:lnTo>
                    <a:pt x="294540" y="156882"/>
                  </a:lnTo>
                  <a:lnTo>
                    <a:pt x="295843" y="158674"/>
                  </a:lnTo>
                  <a:lnTo>
                    <a:pt x="289816" y="159651"/>
                  </a:lnTo>
                  <a:lnTo>
                    <a:pt x="281344" y="162909"/>
                  </a:lnTo>
                  <a:lnTo>
                    <a:pt x="279878" y="165679"/>
                  </a:lnTo>
                  <a:lnTo>
                    <a:pt x="281670" y="168611"/>
                  </a:lnTo>
                  <a:lnTo>
                    <a:pt x="287209" y="169588"/>
                  </a:lnTo>
                  <a:lnTo>
                    <a:pt x="292422" y="165190"/>
                  </a:lnTo>
                  <a:cubicBezTo>
                    <a:pt x="292422" y="165190"/>
                    <a:pt x="299101" y="163887"/>
                    <a:pt x="299264" y="163561"/>
                  </a:cubicBezTo>
                  <a:lnTo>
                    <a:pt x="299264" y="163561"/>
                  </a:lnTo>
                  <a:close/>
                  <a:moveTo>
                    <a:pt x="313600" y="163887"/>
                  </a:moveTo>
                  <a:lnTo>
                    <a:pt x="308550" y="163561"/>
                  </a:lnTo>
                  <a:lnTo>
                    <a:pt x="305943" y="165516"/>
                  </a:lnTo>
                  <a:lnTo>
                    <a:pt x="302522" y="163724"/>
                  </a:lnTo>
                  <a:lnTo>
                    <a:pt x="305292" y="159325"/>
                  </a:lnTo>
                  <a:lnTo>
                    <a:pt x="310016" y="156067"/>
                  </a:lnTo>
                  <a:lnTo>
                    <a:pt x="311319" y="152646"/>
                  </a:lnTo>
                  <a:lnTo>
                    <a:pt x="315555" y="157044"/>
                  </a:lnTo>
                  <a:lnTo>
                    <a:pt x="314252" y="159651"/>
                  </a:lnTo>
                  <a:lnTo>
                    <a:pt x="313600" y="164050"/>
                  </a:lnTo>
                  <a:lnTo>
                    <a:pt x="313600" y="164050"/>
                  </a:lnTo>
                  <a:close/>
                  <a:moveTo>
                    <a:pt x="328751" y="173661"/>
                  </a:moveTo>
                  <a:lnTo>
                    <a:pt x="321094" y="168937"/>
                  </a:lnTo>
                  <a:lnTo>
                    <a:pt x="319302" y="164212"/>
                  </a:lnTo>
                  <a:lnTo>
                    <a:pt x="321094" y="160954"/>
                  </a:lnTo>
                  <a:lnTo>
                    <a:pt x="323049" y="160954"/>
                  </a:lnTo>
                  <a:lnTo>
                    <a:pt x="324841" y="164701"/>
                  </a:lnTo>
                  <a:lnTo>
                    <a:pt x="330543" y="164701"/>
                  </a:lnTo>
                  <a:cubicBezTo>
                    <a:pt x="330543" y="164701"/>
                    <a:pt x="334289" y="167634"/>
                    <a:pt x="334289" y="167634"/>
                  </a:cubicBezTo>
                  <a:lnTo>
                    <a:pt x="333801" y="172358"/>
                  </a:lnTo>
                  <a:lnTo>
                    <a:pt x="328751" y="173824"/>
                  </a:lnTo>
                  <a:lnTo>
                    <a:pt x="328751" y="173824"/>
                  </a:lnTo>
                  <a:close/>
                  <a:moveTo>
                    <a:pt x="321583" y="188812"/>
                  </a:moveTo>
                  <a:lnTo>
                    <a:pt x="317673" y="183436"/>
                  </a:lnTo>
                  <a:lnTo>
                    <a:pt x="307735" y="176268"/>
                  </a:lnTo>
                  <a:lnTo>
                    <a:pt x="299427" y="173010"/>
                  </a:lnTo>
                  <a:lnTo>
                    <a:pt x="294377" y="173010"/>
                  </a:lnTo>
                  <a:lnTo>
                    <a:pt x="291444" y="171055"/>
                  </a:lnTo>
                  <a:lnTo>
                    <a:pt x="292748" y="169263"/>
                  </a:lnTo>
                  <a:lnTo>
                    <a:pt x="297798" y="167634"/>
                  </a:lnTo>
                  <a:lnTo>
                    <a:pt x="304640" y="167959"/>
                  </a:lnTo>
                  <a:lnTo>
                    <a:pt x="312948" y="171869"/>
                  </a:lnTo>
                  <a:lnTo>
                    <a:pt x="320442" y="178711"/>
                  </a:lnTo>
                  <a:lnTo>
                    <a:pt x="323375" y="178711"/>
                  </a:lnTo>
                  <a:lnTo>
                    <a:pt x="326470" y="175942"/>
                  </a:lnTo>
                  <a:lnTo>
                    <a:pt x="327773" y="177571"/>
                  </a:lnTo>
                  <a:lnTo>
                    <a:pt x="326633" y="181318"/>
                  </a:lnTo>
                  <a:lnTo>
                    <a:pt x="325167" y="187183"/>
                  </a:lnTo>
                  <a:lnTo>
                    <a:pt x="321419" y="188975"/>
                  </a:lnTo>
                  <a:lnTo>
                    <a:pt x="321419" y="188975"/>
                  </a:lnTo>
                  <a:close/>
                  <a:moveTo>
                    <a:pt x="325167" y="202170"/>
                  </a:moveTo>
                  <a:lnTo>
                    <a:pt x="326307" y="195002"/>
                  </a:lnTo>
                  <a:lnTo>
                    <a:pt x="322886" y="189952"/>
                  </a:lnTo>
                  <a:lnTo>
                    <a:pt x="318487" y="189952"/>
                  </a:lnTo>
                  <a:lnTo>
                    <a:pt x="310505" y="187346"/>
                  </a:lnTo>
                  <a:lnTo>
                    <a:pt x="302522" y="181481"/>
                  </a:lnTo>
                  <a:lnTo>
                    <a:pt x="299916" y="181481"/>
                  </a:lnTo>
                  <a:cubicBezTo>
                    <a:pt x="299916" y="181481"/>
                    <a:pt x="296821" y="178874"/>
                    <a:pt x="296821" y="178874"/>
                  </a:cubicBezTo>
                  <a:lnTo>
                    <a:pt x="290304" y="178874"/>
                  </a:lnTo>
                  <a:cubicBezTo>
                    <a:pt x="290304" y="178874"/>
                    <a:pt x="286068" y="176919"/>
                    <a:pt x="286068" y="176919"/>
                  </a:cubicBezTo>
                  <a:lnTo>
                    <a:pt x="274013" y="176919"/>
                  </a:lnTo>
                  <a:cubicBezTo>
                    <a:pt x="274013" y="176919"/>
                    <a:pt x="268474" y="178386"/>
                    <a:pt x="268474" y="178386"/>
                  </a:cubicBezTo>
                  <a:lnTo>
                    <a:pt x="269614" y="182784"/>
                  </a:lnTo>
                  <a:lnTo>
                    <a:pt x="269126" y="185065"/>
                  </a:lnTo>
                  <a:lnTo>
                    <a:pt x="272384" y="187020"/>
                  </a:lnTo>
                  <a:lnTo>
                    <a:pt x="279552" y="189626"/>
                  </a:lnTo>
                  <a:lnTo>
                    <a:pt x="282321" y="186205"/>
                  </a:lnTo>
                  <a:lnTo>
                    <a:pt x="284765" y="185879"/>
                  </a:lnTo>
                  <a:lnTo>
                    <a:pt x="288838" y="189626"/>
                  </a:lnTo>
                  <a:lnTo>
                    <a:pt x="290793" y="194025"/>
                  </a:lnTo>
                  <a:lnTo>
                    <a:pt x="293562" y="194025"/>
                  </a:lnTo>
                  <a:cubicBezTo>
                    <a:pt x="293562" y="194025"/>
                    <a:pt x="296332" y="193047"/>
                    <a:pt x="296332" y="193047"/>
                  </a:cubicBezTo>
                  <a:lnTo>
                    <a:pt x="299101" y="198586"/>
                  </a:lnTo>
                  <a:lnTo>
                    <a:pt x="305129" y="200052"/>
                  </a:lnTo>
                  <a:lnTo>
                    <a:pt x="310994" y="198912"/>
                  </a:lnTo>
                  <a:lnTo>
                    <a:pt x="317673" y="201844"/>
                  </a:lnTo>
                  <a:lnTo>
                    <a:pt x="322723" y="203474"/>
                  </a:lnTo>
                  <a:lnTo>
                    <a:pt x="325167" y="202170"/>
                  </a:lnTo>
                  <a:lnTo>
                    <a:pt x="325167" y="202170"/>
                  </a:lnTo>
                  <a:close/>
                  <a:moveTo>
                    <a:pt x="287698" y="210967"/>
                  </a:moveTo>
                  <a:cubicBezTo>
                    <a:pt x="287698" y="210967"/>
                    <a:pt x="284602" y="209338"/>
                    <a:pt x="284602" y="209338"/>
                  </a:cubicBezTo>
                  <a:lnTo>
                    <a:pt x="281507" y="207383"/>
                  </a:lnTo>
                  <a:lnTo>
                    <a:pt x="276131" y="207709"/>
                  </a:lnTo>
                  <a:lnTo>
                    <a:pt x="272873" y="203799"/>
                  </a:lnTo>
                  <a:lnTo>
                    <a:pt x="272384" y="201356"/>
                  </a:lnTo>
                  <a:lnTo>
                    <a:pt x="275316" y="199564"/>
                  </a:lnTo>
                  <a:lnTo>
                    <a:pt x="280692" y="197935"/>
                  </a:lnTo>
                  <a:lnTo>
                    <a:pt x="286557" y="198749"/>
                  </a:lnTo>
                  <a:lnTo>
                    <a:pt x="288675" y="197120"/>
                  </a:lnTo>
                  <a:lnTo>
                    <a:pt x="291119" y="202007"/>
                  </a:lnTo>
                  <a:lnTo>
                    <a:pt x="294214" y="202007"/>
                  </a:lnTo>
                  <a:cubicBezTo>
                    <a:pt x="294214" y="202007"/>
                    <a:pt x="295517" y="200704"/>
                    <a:pt x="295517" y="200704"/>
                  </a:cubicBezTo>
                  <a:lnTo>
                    <a:pt x="298287" y="201519"/>
                  </a:lnTo>
                  <a:lnTo>
                    <a:pt x="299427" y="204125"/>
                  </a:lnTo>
                  <a:lnTo>
                    <a:pt x="298287" y="206406"/>
                  </a:lnTo>
                  <a:lnTo>
                    <a:pt x="287698" y="210967"/>
                  </a:lnTo>
                  <a:lnTo>
                    <a:pt x="287698" y="210967"/>
                  </a:lnTo>
                  <a:close/>
                  <a:moveTo>
                    <a:pt x="276783" y="238336"/>
                  </a:moveTo>
                  <a:lnTo>
                    <a:pt x="273850" y="233938"/>
                  </a:lnTo>
                  <a:lnTo>
                    <a:pt x="273525" y="226770"/>
                  </a:lnTo>
                  <a:lnTo>
                    <a:pt x="270755" y="225629"/>
                  </a:lnTo>
                  <a:lnTo>
                    <a:pt x="269614" y="233123"/>
                  </a:lnTo>
                  <a:lnTo>
                    <a:pt x="267985" y="234752"/>
                  </a:lnTo>
                  <a:lnTo>
                    <a:pt x="269941" y="237847"/>
                  </a:lnTo>
                  <a:lnTo>
                    <a:pt x="274502" y="239802"/>
                  </a:lnTo>
                  <a:lnTo>
                    <a:pt x="276783" y="238173"/>
                  </a:lnTo>
                  <a:lnTo>
                    <a:pt x="276783" y="238173"/>
                  </a:lnTo>
                  <a:close/>
                  <a:moveTo>
                    <a:pt x="281670" y="236544"/>
                  </a:moveTo>
                  <a:lnTo>
                    <a:pt x="284114" y="236870"/>
                  </a:lnTo>
                  <a:lnTo>
                    <a:pt x="285417" y="233938"/>
                  </a:lnTo>
                  <a:lnTo>
                    <a:pt x="283625" y="229376"/>
                  </a:lnTo>
                  <a:lnTo>
                    <a:pt x="279878" y="224000"/>
                  </a:lnTo>
                  <a:lnTo>
                    <a:pt x="277108" y="224489"/>
                  </a:lnTo>
                  <a:lnTo>
                    <a:pt x="277108" y="229213"/>
                  </a:lnTo>
                  <a:lnTo>
                    <a:pt x="281670" y="236381"/>
                  </a:lnTo>
                  <a:lnTo>
                    <a:pt x="281670" y="236381"/>
                  </a:lnTo>
                  <a:close/>
                  <a:moveTo>
                    <a:pt x="292096" y="231331"/>
                  </a:moveTo>
                  <a:cubicBezTo>
                    <a:pt x="292096" y="231331"/>
                    <a:pt x="296821" y="232797"/>
                    <a:pt x="296821" y="232797"/>
                  </a:cubicBezTo>
                  <a:lnTo>
                    <a:pt x="297309" y="230354"/>
                  </a:lnTo>
                  <a:lnTo>
                    <a:pt x="294051" y="226118"/>
                  </a:lnTo>
                  <a:lnTo>
                    <a:pt x="289816" y="225140"/>
                  </a:lnTo>
                  <a:lnTo>
                    <a:pt x="288186" y="226770"/>
                  </a:lnTo>
                  <a:lnTo>
                    <a:pt x="292096" y="231168"/>
                  </a:lnTo>
                  <a:lnTo>
                    <a:pt x="292096" y="231168"/>
                  </a:lnTo>
                  <a:close/>
                  <a:moveTo>
                    <a:pt x="290467" y="244038"/>
                  </a:moveTo>
                  <a:lnTo>
                    <a:pt x="292422" y="242572"/>
                  </a:lnTo>
                  <a:lnTo>
                    <a:pt x="293888" y="237196"/>
                  </a:lnTo>
                  <a:lnTo>
                    <a:pt x="293562" y="234263"/>
                  </a:lnTo>
                  <a:lnTo>
                    <a:pt x="289489" y="232634"/>
                  </a:lnTo>
                  <a:lnTo>
                    <a:pt x="288349" y="234915"/>
                  </a:lnTo>
                  <a:lnTo>
                    <a:pt x="288675" y="237684"/>
                  </a:lnTo>
                  <a:lnTo>
                    <a:pt x="287209" y="241268"/>
                  </a:lnTo>
                  <a:lnTo>
                    <a:pt x="290304" y="244201"/>
                  </a:lnTo>
                  <a:lnTo>
                    <a:pt x="290304" y="244201"/>
                  </a:lnTo>
                  <a:close/>
                  <a:moveTo>
                    <a:pt x="283951" y="257071"/>
                  </a:moveTo>
                  <a:lnTo>
                    <a:pt x="282810" y="252672"/>
                  </a:lnTo>
                  <a:lnTo>
                    <a:pt x="279063" y="252672"/>
                  </a:lnTo>
                  <a:cubicBezTo>
                    <a:pt x="279063" y="252672"/>
                    <a:pt x="274991" y="248274"/>
                    <a:pt x="274991" y="248274"/>
                  </a:cubicBezTo>
                  <a:lnTo>
                    <a:pt x="272058" y="248274"/>
                  </a:lnTo>
                  <a:cubicBezTo>
                    <a:pt x="272058" y="248274"/>
                    <a:pt x="268311" y="250880"/>
                    <a:pt x="268311" y="250880"/>
                  </a:cubicBezTo>
                  <a:lnTo>
                    <a:pt x="270918" y="254953"/>
                  </a:lnTo>
                  <a:lnTo>
                    <a:pt x="270918" y="258700"/>
                  </a:lnTo>
                  <a:lnTo>
                    <a:pt x="266519" y="261958"/>
                  </a:lnTo>
                  <a:lnTo>
                    <a:pt x="268800" y="264890"/>
                  </a:lnTo>
                  <a:lnTo>
                    <a:pt x="276294" y="266682"/>
                  </a:lnTo>
                  <a:lnTo>
                    <a:pt x="281507" y="262935"/>
                  </a:lnTo>
                  <a:lnTo>
                    <a:pt x="283951" y="257071"/>
                  </a:lnTo>
                  <a:lnTo>
                    <a:pt x="283951" y="257071"/>
                  </a:lnTo>
                  <a:close/>
                  <a:moveTo>
                    <a:pt x="287860" y="248599"/>
                  </a:moveTo>
                  <a:lnTo>
                    <a:pt x="287860" y="252835"/>
                  </a:lnTo>
                  <a:cubicBezTo>
                    <a:pt x="287860" y="252835"/>
                    <a:pt x="289652" y="257234"/>
                    <a:pt x="289652" y="257234"/>
                  </a:cubicBezTo>
                  <a:lnTo>
                    <a:pt x="292748" y="258537"/>
                  </a:lnTo>
                  <a:lnTo>
                    <a:pt x="292748" y="253487"/>
                  </a:lnTo>
                  <a:cubicBezTo>
                    <a:pt x="292748" y="253487"/>
                    <a:pt x="290793" y="249577"/>
                    <a:pt x="290793" y="249577"/>
                  </a:cubicBezTo>
                  <a:lnTo>
                    <a:pt x="287860" y="248436"/>
                  </a:lnTo>
                  <a:lnTo>
                    <a:pt x="287860" y="248436"/>
                  </a:lnTo>
                  <a:close/>
                  <a:moveTo>
                    <a:pt x="328587" y="191581"/>
                  </a:moveTo>
                  <a:lnTo>
                    <a:pt x="328587" y="187997"/>
                  </a:lnTo>
                  <a:cubicBezTo>
                    <a:pt x="328587" y="187997"/>
                    <a:pt x="330543" y="186042"/>
                    <a:pt x="330543" y="186042"/>
                  </a:cubicBezTo>
                  <a:lnTo>
                    <a:pt x="332335" y="180340"/>
                  </a:lnTo>
                  <a:lnTo>
                    <a:pt x="334778" y="178223"/>
                  </a:lnTo>
                  <a:lnTo>
                    <a:pt x="337059" y="178548"/>
                  </a:lnTo>
                  <a:lnTo>
                    <a:pt x="339666" y="182947"/>
                  </a:lnTo>
                  <a:lnTo>
                    <a:pt x="340154" y="186531"/>
                  </a:lnTo>
                  <a:lnTo>
                    <a:pt x="338199" y="187834"/>
                  </a:lnTo>
                  <a:lnTo>
                    <a:pt x="337548" y="191255"/>
                  </a:lnTo>
                  <a:lnTo>
                    <a:pt x="334941" y="193210"/>
                  </a:lnTo>
                  <a:lnTo>
                    <a:pt x="330380" y="193210"/>
                  </a:lnTo>
                  <a:lnTo>
                    <a:pt x="328425" y="191581"/>
                  </a:lnTo>
                  <a:lnTo>
                    <a:pt x="328425" y="191581"/>
                  </a:lnTo>
                  <a:close/>
                  <a:moveTo>
                    <a:pt x="298124" y="247133"/>
                  </a:moveTo>
                  <a:lnTo>
                    <a:pt x="299427" y="250391"/>
                  </a:lnTo>
                  <a:lnTo>
                    <a:pt x="304803" y="251858"/>
                  </a:lnTo>
                  <a:lnTo>
                    <a:pt x="308550" y="251043"/>
                  </a:lnTo>
                  <a:lnTo>
                    <a:pt x="310179" y="248111"/>
                  </a:lnTo>
                  <a:lnTo>
                    <a:pt x="309364" y="244201"/>
                  </a:lnTo>
                  <a:lnTo>
                    <a:pt x="307084" y="241268"/>
                  </a:lnTo>
                  <a:lnTo>
                    <a:pt x="304640" y="242246"/>
                  </a:lnTo>
                  <a:lnTo>
                    <a:pt x="301708" y="245993"/>
                  </a:lnTo>
                  <a:lnTo>
                    <a:pt x="298124" y="247133"/>
                  </a:lnTo>
                  <a:lnTo>
                    <a:pt x="298124" y="247133"/>
                  </a:lnTo>
                  <a:close/>
                  <a:moveTo>
                    <a:pt x="300730" y="237847"/>
                  </a:moveTo>
                  <a:lnTo>
                    <a:pt x="302685" y="237196"/>
                  </a:lnTo>
                  <a:lnTo>
                    <a:pt x="304640" y="234263"/>
                  </a:lnTo>
                  <a:lnTo>
                    <a:pt x="304966" y="230842"/>
                  </a:lnTo>
                  <a:lnTo>
                    <a:pt x="301871" y="232471"/>
                  </a:lnTo>
                  <a:lnTo>
                    <a:pt x="300730" y="237684"/>
                  </a:lnTo>
                  <a:lnTo>
                    <a:pt x="300730" y="237684"/>
                  </a:lnTo>
                  <a:close/>
                  <a:moveTo>
                    <a:pt x="308061" y="233612"/>
                  </a:moveTo>
                  <a:lnTo>
                    <a:pt x="308550" y="235404"/>
                  </a:lnTo>
                  <a:lnTo>
                    <a:pt x="311808" y="236381"/>
                  </a:lnTo>
                  <a:lnTo>
                    <a:pt x="315555" y="235241"/>
                  </a:lnTo>
                  <a:lnTo>
                    <a:pt x="317184" y="232471"/>
                  </a:lnTo>
                  <a:lnTo>
                    <a:pt x="315555" y="230516"/>
                  </a:lnTo>
                  <a:lnTo>
                    <a:pt x="312134" y="230516"/>
                  </a:lnTo>
                  <a:cubicBezTo>
                    <a:pt x="312134" y="230516"/>
                    <a:pt x="311157" y="232471"/>
                    <a:pt x="311157" y="232471"/>
                  </a:cubicBezTo>
                  <a:lnTo>
                    <a:pt x="308224" y="233612"/>
                  </a:lnTo>
                  <a:lnTo>
                    <a:pt x="308224" y="233612"/>
                  </a:lnTo>
                  <a:close/>
                  <a:moveTo>
                    <a:pt x="309201" y="213085"/>
                  </a:moveTo>
                  <a:lnTo>
                    <a:pt x="306432" y="216669"/>
                  </a:lnTo>
                  <a:lnTo>
                    <a:pt x="302685" y="216995"/>
                  </a:lnTo>
                  <a:lnTo>
                    <a:pt x="299916" y="215040"/>
                  </a:lnTo>
                  <a:lnTo>
                    <a:pt x="299427" y="209501"/>
                  </a:lnTo>
                  <a:lnTo>
                    <a:pt x="303662" y="204288"/>
                  </a:lnTo>
                  <a:lnTo>
                    <a:pt x="309527" y="202659"/>
                  </a:lnTo>
                  <a:lnTo>
                    <a:pt x="313437" y="203799"/>
                  </a:lnTo>
                  <a:lnTo>
                    <a:pt x="315718" y="206569"/>
                  </a:lnTo>
                  <a:lnTo>
                    <a:pt x="320279" y="208361"/>
                  </a:lnTo>
                  <a:lnTo>
                    <a:pt x="320279" y="212271"/>
                  </a:lnTo>
                  <a:lnTo>
                    <a:pt x="317835" y="214551"/>
                  </a:lnTo>
                  <a:lnTo>
                    <a:pt x="312297" y="214551"/>
                  </a:lnTo>
                  <a:cubicBezTo>
                    <a:pt x="312297" y="214551"/>
                    <a:pt x="309039" y="213248"/>
                    <a:pt x="309039" y="213248"/>
                  </a:cubicBezTo>
                  <a:lnTo>
                    <a:pt x="309039" y="213248"/>
                  </a:lnTo>
                  <a:close/>
                  <a:moveTo>
                    <a:pt x="328587" y="210967"/>
                  </a:moveTo>
                  <a:lnTo>
                    <a:pt x="332335" y="214714"/>
                  </a:lnTo>
                  <a:lnTo>
                    <a:pt x="335919" y="215366"/>
                  </a:lnTo>
                  <a:lnTo>
                    <a:pt x="339828" y="212759"/>
                  </a:lnTo>
                  <a:lnTo>
                    <a:pt x="340480" y="209664"/>
                  </a:lnTo>
                  <a:lnTo>
                    <a:pt x="338037" y="206895"/>
                  </a:lnTo>
                  <a:lnTo>
                    <a:pt x="335104" y="207872"/>
                  </a:lnTo>
                  <a:lnTo>
                    <a:pt x="332660" y="210967"/>
                  </a:lnTo>
                  <a:lnTo>
                    <a:pt x="328587" y="210967"/>
                  </a:lnTo>
                  <a:close/>
                  <a:moveTo>
                    <a:pt x="339991" y="259351"/>
                  </a:moveTo>
                  <a:lnTo>
                    <a:pt x="340317" y="256093"/>
                  </a:lnTo>
                  <a:lnTo>
                    <a:pt x="337222" y="251695"/>
                  </a:lnTo>
                  <a:lnTo>
                    <a:pt x="336570" y="245830"/>
                  </a:lnTo>
                  <a:lnTo>
                    <a:pt x="337222" y="241594"/>
                  </a:lnTo>
                  <a:lnTo>
                    <a:pt x="333312" y="235078"/>
                  </a:lnTo>
                  <a:lnTo>
                    <a:pt x="329565" y="232146"/>
                  </a:lnTo>
                  <a:lnTo>
                    <a:pt x="327121" y="234589"/>
                  </a:lnTo>
                  <a:lnTo>
                    <a:pt x="320931" y="235404"/>
                  </a:lnTo>
                  <a:lnTo>
                    <a:pt x="315229" y="239151"/>
                  </a:lnTo>
                  <a:lnTo>
                    <a:pt x="313926" y="243223"/>
                  </a:lnTo>
                  <a:lnTo>
                    <a:pt x="318162" y="249251"/>
                  </a:lnTo>
                  <a:lnTo>
                    <a:pt x="319628" y="257722"/>
                  </a:lnTo>
                  <a:lnTo>
                    <a:pt x="322886" y="260818"/>
                  </a:lnTo>
                  <a:lnTo>
                    <a:pt x="326307" y="262121"/>
                  </a:lnTo>
                  <a:lnTo>
                    <a:pt x="333638" y="259188"/>
                  </a:lnTo>
                  <a:lnTo>
                    <a:pt x="339666" y="259514"/>
                  </a:lnTo>
                  <a:lnTo>
                    <a:pt x="339666" y="259514"/>
                  </a:lnTo>
                  <a:close/>
                  <a:moveTo>
                    <a:pt x="353024" y="255116"/>
                  </a:moveTo>
                  <a:lnTo>
                    <a:pt x="353024" y="252346"/>
                  </a:lnTo>
                  <a:cubicBezTo>
                    <a:pt x="353024" y="252346"/>
                    <a:pt x="349766" y="249251"/>
                    <a:pt x="349766" y="249251"/>
                  </a:cubicBezTo>
                  <a:lnTo>
                    <a:pt x="349766" y="246807"/>
                  </a:lnTo>
                  <a:lnTo>
                    <a:pt x="353513" y="244527"/>
                  </a:lnTo>
                  <a:lnTo>
                    <a:pt x="355468" y="239314"/>
                  </a:lnTo>
                  <a:lnTo>
                    <a:pt x="356445" y="236055"/>
                  </a:lnTo>
                  <a:lnTo>
                    <a:pt x="363125" y="232308"/>
                  </a:lnTo>
                  <a:lnTo>
                    <a:pt x="366219" y="231983"/>
                  </a:lnTo>
                  <a:lnTo>
                    <a:pt x="367360" y="230028"/>
                  </a:lnTo>
                  <a:lnTo>
                    <a:pt x="363450" y="228562"/>
                  </a:lnTo>
                  <a:lnTo>
                    <a:pt x="359378" y="229865"/>
                  </a:lnTo>
                  <a:lnTo>
                    <a:pt x="349766" y="224163"/>
                  </a:lnTo>
                  <a:lnTo>
                    <a:pt x="344064" y="219113"/>
                  </a:lnTo>
                  <a:lnTo>
                    <a:pt x="340969" y="220905"/>
                  </a:lnTo>
                  <a:lnTo>
                    <a:pt x="336407" y="222208"/>
                  </a:lnTo>
                  <a:lnTo>
                    <a:pt x="334941" y="221882"/>
                  </a:lnTo>
                  <a:lnTo>
                    <a:pt x="334616" y="226281"/>
                  </a:lnTo>
                  <a:lnTo>
                    <a:pt x="340154" y="236870"/>
                  </a:lnTo>
                  <a:lnTo>
                    <a:pt x="340154" y="244038"/>
                  </a:lnTo>
                  <a:cubicBezTo>
                    <a:pt x="340154" y="244038"/>
                    <a:pt x="343412" y="252346"/>
                    <a:pt x="343412" y="252346"/>
                  </a:cubicBezTo>
                  <a:lnTo>
                    <a:pt x="349114" y="255442"/>
                  </a:lnTo>
                  <a:lnTo>
                    <a:pt x="353187" y="255116"/>
                  </a:lnTo>
                  <a:lnTo>
                    <a:pt x="353187" y="255116"/>
                  </a:lnTo>
                  <a:close/>
                  <a:moveTo>
                    <a:pt x="369315" y="255279"/>
                  </a:moveTo>
                  <a:lnTo>
                    <a:pt x="368989" y="258374"/>
                  </a:lnTo>
                  <a:lnTo>
                    <a:pt x="374691" y="261469"/>
                  </a:lnTo>
                  <a:lnTo>
                    <a:pt x="378926" y="265868"/>
                  </a:lnTo>
                  <a:lnTo>
                    <a:pt x="385117" y="266356"/>
                  </a:lnTo>
                  <a:lnTo>
                    <a:pt x="389353" y="258863"/>
                  </a:lnTo>
                  <a:lnTo>
                    <a:pt x="387398" y="251369"/>
                  </a:lnTo>
                  <a:lnTo>
                    <a:pt x="382999" y="248925"/>
                  </a:lnTo>
                  <a:lnTo>
                    <a:pt x="376483" y="250554"/>
                  </a:lnTo>
                  <a:lnTo>
                    <a:pt x="369315" y="255116"/>
                  </a:lnTo>
                  <a:lnTo>
                    <a:pt x="369315" y="255116"/>
                  </a:lnTo>
                  <a:close/>
                  <a:moveTo>
                    <a:pt x="367686" y="266031"/>
                  </a:moveTo>
                  <a:lnTo>
                    <a:pt x="367197" y="269452"/>
                  </a:lnTo>
                  <a:lnTo>
                    <a:pt x="372410" y="271081"/>
                  </a:lnTo>
                  <a:lnTo>
                    <a:pt x="374854" y="272384"/>
                  </a:lnTo>
                  <a:lnTo>
                    <a:pt x="377135" y="270755"/>
                  </a:lnTo>
                  <a:lnTo>
                    <a:pt x="372573" y="266031"/>
                  </a:lnTo>
                  <a:lnTo>
                    <a:pt x="368012" y="266031"/>
                  </a:lnTo>
                  <a:close/>
                  <a:moveTo>
                    <a:pt x="368664" y="102144"/>
                  </a:moveTo>
                  <a:lnTo>
                    <a:pt x="371270" y="100515"/>
                  </a:lnTo>
                  <a:lnTo>
                    <a:pt x="374528" y="100515"/>
                  </a:lnTo>
                  <a:cubicBezTo>
                    <a:pt x="374528" y="100515"/>
                    <a:pt x="378601" y="96442"/>
                    <a:pt x="378601" y="96442"/>
                  </a:cubicBezTo>
                  <a:lnTo>
                    <a:pt x="382185" y="96442"/>
                  </a:lnTo>
                  <a:cubicBezTo>
                    <a:pt x="382185" y="96442"/>
                    <a:pt x="383977" y="98560"/>
                    <a:pt x="383977" y="98560"/>
                  </a:cubicBezTo>
                  <a:lnTo>
                    <a:pt x="388050" y="98886"/>
                  </a:lnTo>
                  <a:lnTo>
                    <a:pt x="388538" y="102144"/>
                  </a:lnTo>
                  <a:lnTo>
                    <a:pt x="384140" y="106380"/>
                  </a:lnTo>
                  <a:lnTo>
                    <a:pt x="380882" y="106705"/>
                  </a:lnTo>
                  <a:lnTo>
                    <a:pt x="377623" y="104751"/>
                  </a:lnTo>
                  <a:lnTo>
                    <a:pt x="370130" y="104262"/>
                  </a:lnTo>
                  <a:lnTo>
                    <a:pt x="368664" y="102307"/>
                  </a:lnTo>
                  <a:lnTo>
                    <a:pt x="368664" y="102307"/>
                  </a:lnTo>
                  <a:close/>
                  <a:moveTo>
                    <a:pt x="378438" y="173824"/>
                  </a:moveTo>
                  <a:lnTo>
                    <a:pt x="381044" y="167796"/>
                  </a:lnTo>
                  <a:lnTo>
                    <a:pt x="383651" y="165353"/>
                  </a:lnTo>
                  <a:lnTo>
                    <a:pt x="383651" y="162909"/>
                  </a:lnTo>
                  <a:cubicBezTo>
                    <a:pt x="383651" y="162909"/>
                    <a:pt x="379904" y="160140"/>
                    <a:pt x="379904" y="160140"/>
                  </a:cubicBezTo>
                  <a:lnTo>
                    <a:pt x="377623" y="156393"/>
                  </a:lnTo>
                  <a:lnTo>
                    <a:pt x="373062" y="155904"/>
                  </a:lnTo>
                  <a:lnTo>
                    <a:pt x="366219" y="158185"/>
                  </a:lnTo>
                  <a:lnTo>
                    <a:pt x="359541" y="162095"/>
                  </a:lnTo>
                  <a:lnTo>
                    <a:pt x="357748" y="165679"/>
                  </a:lnTo>
                  <a:lnTo>
                    <a:pt x="358563" y="168611"/>
                  </a:lnTo>
                  <a:lnTo>
                    <a:pt x="367197" y="174639"/>
                  </a:lnTo>
                  <a:lnTo>
                    <a:pt x="372410" y="175942"/>
                  </a:lnTo>
                  <a:lnTo>
                    <a:pt x="378112" y="173824"/>
                  </a:lnTo>
                  <a:lnTo>
                    <a:pt x="378112" y="173824"/>
                  </a:lnTo>
                  <a:close/>
                  <a:moveTo>
                    <a:pt x="390982" y="165190"/>
                  </a:moveTo>
                  <a:lnTo>
                    <a:pt x="389353" y="168448"/>
                  </a:lnTo>
                  <a:lnTo>
                    <a:pt x="389353" y="174150"/>
                  </a:lnTo>
                  <a:lnTo>
                    <a:pt x="384791" y="177897"/>
                  </a:lnTo>
                  <a:lnTo>
                    <a:pt x="383325" y="176431"/>
                  </a:lnTo>
                  <a:lnTo>
                    <a:pt x="379904" y="176756"/>
                  </a:lnTo>
                  <a:lnTo>
                    <a:pt x="372899" y="182621"/>
                  </a:lnTo>
                  <a:lnTo>
                    <a:pt x="368175" y="182621"/>
                  </a:lnTo>
                  <a:cubicBezTo>
                    <a:pt x="368175" y="182621"/>
                    <a:pt x="365079" y="180015"/>
                    <a:pt x="365079" y="180015"/>
                  </a:cubicBezTo>
                  <a:lnTo>
                    <a:pt x="361821" y="181644"/>
                  </a:lnTo>
                  <a:lnTo>
                    <a:pt x="361821" y="186042"/>
                  </a:lnTo>
                  <a:lnTo>
                    <a:pt x="363613" y="191581"/>
                  </a:lnTo>
                  <a:lnTo>
                    <a:pt x="363287" y="205754"/>
                  </a:lnTo>
                  <a:lnTo>
                    <a:pt x="366383" y="213574"/>
                  </a:lnTo>
                  <a:lnTo>
                    <a:pt x="372573" y="222208"/>
                  </a:lnTo>
                  <a:lnTo>
                    <a:pt x="377298" y="222208"/>
                  </a:lnTo>
                  <a:cubicBezTo>
                    <a:pt x="377298" y="222208"/>
                    <a:pt x="385443" y="218950"/>
                    <a:pt x="385443" y="218950"/>
                  </a:cubicBezTo>
                  <a:lnTo>
                    <a:pt x="391634" y="218461"/>
                  </a:lnTo>
                  <a:lnTo>
                    <a:pt x="396358" y="215203"/>
                  </a:lnTo>
                  <a:lnTo>
                    <a:pt x="403852" y="213737"/>
                  </a:lnTo>
                  <a:lnTo>
                    <a:pt x="403526" y="210316"/>
                  </a:lnTo>
                  <a:lnTo>
                    <a:pt x="399453" y="206406"/>
                  </a:lnTo>
                  <a:lnTo>
                    <a:pt x="396358" y="201356"/>
                  </a:lnTo>
                  <a:lnTo>
                    <a:pt x="390819" y="199075"/>
                  </a:lnTo>
                  <a:lnTo>
                    <a:pt x="387724" y="192884"/>
                  </a:lnTo>
                  <a:lnTo>
                    <a:pt x="388212" y="189300"/>
                  </a:lnTo>
                  <a:lnTo>
                    <a:pt x="392448" y="186368"/>
                  </a:lnTo>
                  <a:lnTo>
                    <a:pt x="398313" y="186368"/>
                  </a:lnTo>
                  <a:cubicBezTo>
                    <a:pt x="398313" y="186368"/>
                    <a:pt x="402874" y="183436"/>
                    <a:pt x="402874" y="183436"/>
                  </a:cubicBezTo>
                  <a:lnTo>
                    <a:pt x="402874" y="180178"/>
                  </a:lnTo>
                  <a:lnTo>
                    <a:pt x="398476" y="174639"/>
                  </a:lnTo>
                  <a:lnTo>
                    <a:pt x="393751" y="171706"/>
                  </a:lnTo>
                  <a:lnTo>
                    <a:pt x="390982" y="165190"/>
                  </a:lnTo>
                  <a:lnTo>
                    <a:pt x="390982" y="165190"/>
                  </a:lnTo>
                  <a:close/>
                  <a:moveTo>
                    <a:pt x="414930" y="175453"/>
                  </a:moveTo>
                  <a:lnTo>
                    <a:pt x="410694" y="172521"/>
                  </a:lnTo>
                  <a:lnTo>
                    <a:pt x="410205" y="168611"/>
                  </a:lnTo>
                  <a:lnTo>
                    <a:pt x="406947" y="165190"/>
                  </a:lnTo>
                  <a:lnTo>
                    <a:pt x="401734" y="165679"/>
                  </a:lnTo>
                  <a:lnTo>
                    <a:pt x="397498" y="161606"/>
                  </a:lnTo>
                  <a:lnTo>
                    <a:pt x="397498" y="157859"/>
                  </a:lnTo>
                  <a:cubicBezTo>
                    <a:pt x="397498" y="157859"/>
                    <a:pt x="399290" y="153949"/>
                    <a:pt x="399290" y="153949"/>
                  </a:cubicBezTo>
                  <a:lnTo>
                    <a:pt x="396521" y="147107"/>
                  </a:lnTo>
                  <a:lnTo>
                    <a:pt x="395217" y="141079"/>
                  </a:lnTo>
                  <a:lnTo>
                    <a:pt x="396846" y="134237"/>
                  </a:lnTo>
                  <a:lnTo>
                    <a:pt x="401245" y="131305"/>
                  </a:lnTo>
                  <a:lnTo>
                    <a:pt x="405807" y="125277"/>
                  </a:lnTo>
                  <a:lnTo>
                    <a:pt x="405807" y="122182"/>
                  </a:lnTo>
                  <a:lnTo>
                    <a:pt x="407273" y="118435"/>
                  </a:lnTo>
                  <a:lnTo>
                    <a:pt x="410694" y="117946"/>
                  </a:lnTo>
                  <a:lnTo>
                    <a:pt x="414115" y="119738"/>
                  </a:lnTo>
                  <a:lnTo>
                    <a:pt x="418676" y="121042"/>
                  </a:lnTo>
                  <a:lnTo>
                    <a:pt x="420468" y="126092"/>
                  </a:lnTo>
                  <a:lnTo>
                    <a:pt x="420143" y="134400"/>
                  </a:lnTo>
                  <a:lnTo>
                    <a:pt x="421609" y="137007"/>
                  </a:lnTo>
                  <a:lnTo>
                    <a:pt x="426007" y="138799"/>
                  </a:lnTo>
                  <a:lnTo>
                    <a:pt x="431872" y="144826"/>
                  </a:lnTo>
                  <a:lnTo>
                    <a:pt x="435130" y="144826"/>
                  </a:lnTo>
                  <a:lnTo>
                    <a:pt x="435130" y="147596"/>
                  </a:lnTo>
                  <a:lnTo>
                    <a:pt x="426985" y="152320"/>
                  </a:lnTo>
                  <a:lnTo>
                    <a:pt x="419002" y="155578"/>
                  </a:lnTo>
                  <a:lnTo>
                    <a:pt x="417373" y="158999"/>
                  </a:lnTo>
                  <a:lnTo>
                    <a:pt x="418839" y="163561"/>
                  </a:lnTo>
                  <a:lnTo>
                    <a:pt x="418188" y="169588"/>
                  </a:lnTo>
                  <a:lnTo>
                    <a:pt x="414441" y="175127"/>
                  </a:lnTo>
                  <a:lnTo>
                    <a:pt x="414441" y="175127"/>
                  </a:lnTo>
                  <a:close/>
                  <a:moveTo>
                    <a:pt x="2608990" y="319628"/>
                  </a:moveTo>
                  <a:lnTo>
                    <a:pt x="2610945" y="318976"/>
                  </a:lnTo>
                  <a:lnTo>
                    <a:pt x="2612085" y="315881"/>
                  </a:lnTo>
                  <a:lnTo>
                    <a:pt x="2609479" y="313600"/>
                  </a:lnTo>
                  <a:lnTo>
                    <a:pt x="2607687" y="315881"/>
                  </a:lnTo>
                  <a:lnTo>
                    <a:pt x="2609153" y="319628"/>
                  </a:lnTo>
                  <a:lnTo>
                    <a:pt x="2609153" y="319628"/>
                  </a:lnTo>
                  <a:close/>
                  <a:moveTo>
                    <a:pt x="2589604" y="315555"/>
                  </a:moveTo>
                  <a:lnTo>
                    <a:pt x="2592699" y="315066"/>
                  </a:lnTo>
                  <a:lnTo>
                    <a:pt x="2594491" y="312134"/>
                  </a:lnTo>
                  <a:lnTo>
                    <a:pt x="2588138" y="310505"/>
                  </a:lnTo>
                  <a:lnTo>
                    <a:pt x="2586997" y="312948"/>
                  </a:lnTo>
                  <a:lnTo>
                    <a:pt x="2589441" y="315555"/>
                  </a:lnTo>
                  <a:lnTo>
                    <a:pt x="2589441" y="315555"/>
                  </a:lnTo>
                  <a:close/>
                  <a:moveTo>
                    <a:pt x="2570381" y="322397"/>
                  </a:moveTo>
                  <a:lnTo>
                    <a:pt x="2572499" y="322397"/>
                  </a:lnTo>
                  <a:cubicBezTo>
                    <a:pt x="2572499" y="322397"/>
                    <a:pt x="2574290" y="320605"/>
                    <a:pt x="2574290" y="320605"/>
                  </a:cubicBezTo>
                  <a:lnTo>
                    <a:pt x="2573150" y="316207"/>
                  </a:lnTo>
                  <a:lnTo>
                    <a:pt x="2569403" y="315066"/>
                  </a:lnTo>
                  <a:lnTo>
                    <a:pt x="2567122" y="318487"/>
                  </a:lnTo>
                  <a:lnTo>
                    <a:pt x="2570218" y="322397"/>
                  </a:lnTo>
                  <a:lnTo>
                    <a:pt x="2570218" y="322397"/>
                  </a:lnTo>
                  <a:close/>
                  <a:moveTo>
                    <a:pt x="3014145" y="865373"/>
                  </a:moveTo>
                  <a:lnTo>
                    <a:pt x="3012516" y="866188"/>
                  </a:lnTo>
                  <a:lnTo>
                    <a:pt x="3014308" y="871401"/>
                  </a:lnTo>
                  <a:lnTo>
                    <a:pt x="3016589" y="868469"/>
                  </a:lnTo>
                  <a:lnTo>
                    <a:pt x="3016589" y="865373"/>
                  </a:lnTo>
                  <a:cubicBezTo>
                    <a:pt x="3016589" y="865373"/>
                    <a:pt x="3015286" y="863907"/>
                    <a:pt x="3015286" y="863907"/>
                  </a:cubicBezTo>
                  <a:lnTo>
                    <a:pt x="3014308" y="865373"/>
                  </a:lnTo>
                  <a:lnTo>
                    <a:pt x="3014308" y="865373"/>
                  </a:lnTo>
                  <a:close/>
                  <a:moveTo>
                    <a:pt x="3007303" y="855436"/>
                  </a:moveTo>
                  <a:lnTo>
                    <a:pt x="3012679" y="860486"/>
                  </a:lnTo>
                  <a:lnTo>
                    <a:pt x="3014960" y="859672"/>
                  </a:lnTo>
                  <a:lnTo>
                    <a:pt x="3015286" y="857391"/>
                  </a:lnTo>
                  <a:lnTo>
                    <a:pt x="3011702" y="852504"/>
                  </a:lnTo>
                  <a:lnTo>
                    <a:pt x="3008281" y="852829"/>
                  </a:lnTo>
                  <a:lnTo>
                    <a:pt x="3007303" y="855273"/>
                  </a:lnTo>
                  <a:lnTo>
                    <a:pt x="3007303" y="855273"/>
                  </a:lnTo>
                  <a:close/>
                  <a:moveTo>
                    <a:pt x="476346" y="544768"/>
                  </a:moveTo>
                  <a:lnTo>
                    <a:pt x="478301" y="544279"/>
                  </a:lnTo>
                  <a:lnTo>
                    <a:pt x="479605" y="541673"/>
                  </a:lnTo>
                  <a:lnTo>
                    <a:pt x="486447" y="536949"/>
                  </a:lnTo>
                  <a:lnTo>
                    <a:pt x="487424" y="533365"/>
                  </a:lnTo>
                  <a:lnTo>
                    <a:pt x="485795" y="533365"/>
                  </a:lnTo>
                  <a:cubicBezTo>
                    <a:pt x="485795" y="533365"/>
                    <a:pt x="480256" y="537111"/>
                    <a:pt x="480256" y="537111"/>
                  </a:cubicBezTo>
                  <a:lnTo>
                    <a:pt x="476998" y="538089"/>
                  </a:lnTo>
                  <a:lnTo>
                    <a:pt x="474228" y="541510"/>
                  </a:lnTo>
                  <a:lnTo>
                    <a:pt x="476183" y="544605"/>
                  </a:lnTo>
                  <a:lnTo>
                    <a:pt x="476183" y="544605"/>
                  </a:lnTo>
                  <a:close/>
                  <a:moveTo>
                    <a:pt x="445231" y="708981"/>
                  </a:moveTo>
                  <a:lnTo>
                    <a:pt x="452725" y="708981"/>
                  </a:lnTo>
                  <a:cubicBezTo>
                    <a:pt x="452725" y="708981"/>
                    <a:pt x="460055" y="705560"/>
                    <a:pt x="460055" y="705560"/>
                  </a:cubicBezTo>
                  <a:lnTo>
                    <a:pt x="466083" y="702790"/>
                  </a:lnTo>
                  <a:lnTo>
                    <a:pt x="470807" y="703930"/>
                  </a:lnTo>
                  <a:lnTo>
                    <a:pt x="473251" y="706863"/>
                  </a:lnTo>
                  <a:lnTo>
                    <a:pt x="478953" y="708166"/>
                  </a:lnTo>
                  <a:lnTo>
                    <a:pt x="482862" y="705885"/>
                  </a:lnTo>
                  <a:lnTo>
                    <a:pt x="480582" y="703116"/>
                  </a:lnTo>
                  <a:lnTo>
                    <a:pt x="480908" y="699369"/>
                  </a:lnTo>
                  <a:lnTo>
                    <a:pt x="483189" y="700184"/>
                  </a:lnTo>
                  <a:lnTo>
                    <a:pt x="485632" y="705234"/>
                  </a:lnTo>
                  <a:lnTo>
                    <a:pt x="489868" y="707514"/>
                  </a:lnTo>
                  <a:lnTo>
                    <a:pt x="497199" y="707514"/>
                  </a:lnTo>
                  <a:lnTo>
                    <a:pt x="498502" y="704745"/>
                  </a:lnTo>
                  <a:lnTo>
                    <a:pt x="502412" y="703768"/>
                  </a:lnTo>
                  <a:lnTo>
                    <a:pt x="505018" y="697577"/>
                  </a:lnTo>
                  <a:lnTo>
                    <a:pt x="504692" y="692038"/>
                  </a:lnTo>
                  <a:lnTo>
                    <a:pt x="507951" y="686499"/>
                  </a:lnTo>
                  <a:lnTo>
                    <a:pt x="508602" y="681938"/>
                  </a:lnTo>
                  <a:lnTo>
                    <a:pt x="505181" y="678842"/>
                  </a:lnTo>
                  <a:lnTo>
                    <a:pt x="502412" y="672652"/>
                  </a:lnTo>
                  <a:lnTo>
                    <a:pt x="497687" y="671512"/>
                  </a:lnTo>
                  <a:lnTo>
                    <a:pt x="494266" y="671512"/>
                  </a:lnTo>
                  <a:lnTo>
                    <a:pt x="492474" y="669068"/>
                  </a:lnTo>
                  <a:lnTo>
                    <a:pt x="495407" y="667602"/>
                  </a:lnTo>
                  <a:lnTo>
                    <a:pt x="499480" y="668742"/>
                  </a:lnTo>
                  <a:lnTo>
                    <a:pt x="502737" y="667602"/>
                  </a:lnTo>
                  <a:lnTo>
                    <a:pt x="505507" y="671674"/>
                  </a:lnTo>
                  <a:lnTo>
                    <a:pt x="505507" y="674770"/>
                  </a:lnTo>
                  <a:lnTo>
                    <a:pt x="508114" y="676236"/>
                  </a:lnTo>
                  <a:lnTo>
                    <a:pt x="510557" y="672978"/>
                  </a:lnTo>
                  <a:lnTo>
                    <a:pt x="508602" y="665484"/>
                  </a:lnTo>
                  <a:lnTo>
                    <a:pt x="503226" y="658316"/>
                  </a:lnTo>
                  <a:lnTo>
                    <a:pt x="498176" y="651311"/>
                  </a:lnTo>
                  <a:lnTo>
                    <a:pt x="499642" y="648541"/>
                  </a:lnTo>
                  <a:lnTo>
                    <a:pt x="503064" y="652614"/>
                  </a:lnTo>
                  <a:lnTo>
                    <a:pt x="503715" y="656361"/>
                  </a:lnTo>
                  <a:lnTo>
                    <a:pt x="508439" y="658642"/>
                  </a:lnTo>
                  <a:lnTo>
                    <a:pt x="512838" y="659945"/>
                  </a:lnTo>
                  <a:lnTo>
                    <a:pt x="514141" y="657013"/>
                  </a:lnTo>
                  <a:lnTo>
                    <a:pt x="513653" y="653754"/>
                  </a:lnTo>
                  <a:lnTo>
                    <a:pt x="511698" y="651800"/>
                  </a:lnTo>
                  <a:lnTo>
                    <a:pt x="512023" y="648704"/>
                  </a:lnTo>
                  <a:lnTo>
                    <a:pt x="514956" y="643491"/>
                  </a:lnTo>
                  <a:lnTo>
                    <a:pt x="514467" y="638767"/>
                  </a:lnTo>
                  <a:lnTo>
                    <a:pt x="510557" y="634042"/>
                  </a:lnTo>
                  <a:lnTo>
                    <a:pt x="505181" y="627363"/>
                  </a:lnTo>
                  <a:lnTo>
                    <a:pt x="508928" y="626874"/>
                  </a:lnTo>
                  <a:lnTo>
                    <a:pt x="513001" y="630621"/>
                  </a:lnTo>
                  <a:lnTo>
                    <a:pt x="516422" y="629644"/>
                  </a:lnTo>
                  <a:lnTo>
                    <a:pt x="518377" y="624105"/>
                  </a:lnTo>
                  <a:lnTo>
                    <a:pt x="517074" y="622639"/>
                  </a:lnTo>
                  <a:lnTo>
                    <a:pt x="513816" y="622639"/>
                  </a:lnTo>
                  <a:cubicBezTo>
                    <a:pt x="513816" y="622639"/>
                    <a:pt x="514141" y="615960"/>
                    <a:pt x="514141" y="615960"/>
                  </a:cubicBezTo>
                  <a:lnTo>
                    <a:pt x="517237" y="614982"/>
                  </a:lnTo>
                  <a:lnTo>
                    <a:pt x="521635" y="618077"/>
                  </a:lnTo>
                  <a:lnTo>
                    <a:pt x="528314" y="620684"/>
                  </a:lnTo>
                  <a:lnTo>
                    <a:pt x="530269" y="617752"/>
                  </a:lnTo>
                  <a:lnTo>
                    <a:pt x="526523" y="615308"/>
                  </a:lnTo>
                  <a:lnTo>
                    <a:pt x="526034" y="612538"/>
                  </a:lnTo>
                  <a:lnTo>
                    <a:pt x="530107" y="612538"/>
                  </a:lnTo>
                  <a:cubicBezTo>
                    <a:pt x="530107" y="612538"/>
                    <a:pt x="533039" y="614167"/>
                    <a:pt x="533039" y="614167"/>
                  </a:cubicBezTo>
                  <a:lnTo>
                    <a:pt x="536785" y="610909"/>
                  </a:lnTo>
                  <a:lnTo>
                    <a:pt x="537112" y="605696"/>
                  </a:lnTo>
                  <a:lnTo>
                    <a:pt x="535482" y="603904"/>
                  </a:lnTo>
                  <a:lnTo>
                    <a:pt x="536460" y="601949"/>
                  </a:lnTo>
                  <a:lnTo>
                    <a:pt x="543139" y="598854"/>
                  </a:lnTo>
                  <a:lnTo>
                    <a:pt x="544442" y="595107"/>
                  </a:lnTo>
                  <a:lnTo>
                    <a:pt x="540207" y="592338"/>
                  </a:lnTo>
                  <a:lnTo>
                    <a:pt x="538252" y="588591"/>
                  </a:lnTo>
                  <a:lnTo>
                    <a:pt x="540858" y="584192"/>
                  </a:lnTo>
                  <a:lnTo>
                    <a:pt x="543302" y="588591"/>
                  </a:lnTo>
                  <a:lnTo>
                    <a:pt x="546397" y="585984"/>
                  </a:lnTo>
                  <a:lnTo>
                    <a:pt x="553565" y="576698"/>
                  </a:lnTo>
                  <a:lnTo>
                    <a:pt x="555357" y="570997"/>
                  </a:lnTo>
                  <a:lnTo>
                    <a:pt x="558290" y="568227"/>
                  </a:lnTo>
                  <a:lnTo>
                    <a:pt x="558941" y="562037"/>
                  </a:lnTo>
                  <a:lnTo>
                    <a:pt x="566272" y="557475"/>
                  </a:lnTo>
                  <a:lnTo>
                    <a:pt x="570345" y="550307"/>
                  </a:lnTo>
                  <a:lnTo>
                    <a:pt x="573277" y="541021"/>
                  </a:lnTo>
                  <a:lnTo>
                    <a:pt x="577350" y="540696"/>
                  </a:lnTo>
                  <a:lnTo>
                    <a:pt x="586799" y="533690"/>
                  </a:lnTo>
                  <a:lnTo>
                    <a:pt x="597062" y="521961"/>
                  </a:lnTo>
                  <a:lnTo>
                    <a:pt x="605370" y="515282"/>
                  </a:lnTo>
                  <a:lnTo>
                    <a:pt x="608303" y="514793"/>
                  </a:lnTo>
                  <a:lnTo>
                    <a:pt x="615145" y="508928"/>
                  </a:lnTo>
                  <a:lnTo>
                    <a:pt x="623290" y="506485"/>
                  </a:lnTo>
                  <a:lnTo>
                    <a:pt x="628015" y="502575"/>
                  </a:lnTo>
                  <a:lnTo>
                    <a:pt x="635183" y="493778"/>
                  </a:lnTo>
                  <a:lnTo>
                    <a:pt x="639255" y="491171"/>
                  </a:lnTo>
                  <a:lnTo>
                    <a:pt x="642025" y="491660"/>
                  </a:lnTo>
                  <a:lnTo>
                    <a:pt x="645935" y="490031"/>
                  </a:lnTo>
                  <a:lnTo>
                    <a:pt x="646260" y="486773"/>
                  </a:lnTo>
                  <a:lnTo>
                    <a:pt x="644794" y="484329"/>
                  </a:lnTo>
                  <a:lnTo>
                    <a:pt x="647238" y="479605"/>
                  </a:lnTo>
                  <a:lnTo>
                    <a:pt x="646423" y="475369"/>
                  </a:lnTo>
                  <a:lnTo>
                    <a:pt x="646423" y="468364"/>
                  </a:lnTo>
                  <a:lnTo>
                    <a:pt x="644794" y="467061"/>
                  </a:lnTo>
                  <a:lnTo>
                    <a:pt x="641536" y="466572"/>
                  </a:lnTo>
                  <a:lnTo>
                    <a:pt x="641048" y="460055"/>
                  </a:lnTo>
                  <a:lnTo>
                    <a:pt x="643654" y="453865"/>
                  </a:lnTo>
                  <a:lnTo>
                    <a:pt x="642188" y="451584"/>
                  </a:lnTo>
                  <a:lnTo>
                    <a:pt x="636975" y="450770"/>
                  </a:lnTo>
                  <a:lnTo>
                    <a:pt x="634368" y="448000"/>
                  </a:lnTo>
                  <a:lnTo>
                    <a:pt x="629644" y="447186"/>
                  </a:lnTo>
                  <a:lnTo>
                    <a:pt x="626874" y="443439"/>
                  </a:lnTo>
                  <a:lnTo>
                    <a:pt x="626548" y="439366"/>
                  </a:lnTo>
                  <a:lnTo>
                    <a:pt x="624594" y="436759"/>
                  </a:lnTo>
                  <a:lnTo>
                    <a:pt x="618729" y="440506"/>
                  </a:lnTo>
                  <a:lnTo>
                    <a:pt x="617751" y="443113"/>
                  </a:lnTo>
                  <a:lnTo>
                    <a:pt x="614656" y="441973"/>
                  </a:lnTo>
                  <a:lnTo>
                    <a:pt x="610746" y="440181"/>
                  </a:lnTo>
                  <a:lnTo>
                    <a:pt x="606510" y="441321"/>
                  </a:lnTo>
                  <a:lnTo>
                    <a:pt x="600157" y="445394"/>
                  </a:lnTo>
                  <a:lnTo>
                    <a:pt x="598854" y="449792"/>
                  </a:lnTo>
                  <a:lnTo>
                    <a:pt x="595759" y="452236"/>
                  </a:lnTo>
                  <a:lnTo>
                    <a:pt x="592012" y="452887"/>
                  </a:lnTo>
                  <a:lnTo>
                    <a:pt x="589080" y="455983"/>
                  </a:lnTo>
                  <a:lnTo>
                    <a:pt x="588591" y="459567"/>
                  </a:lnTo>
                  <a:lnTo>
                    <a:pt x="584844" y="463802"/>
                  </a:lnTo>
                  <a:lnTo>
                    <a:pt x="584355" y="466409"/>
                  </a:lnTo>
                  <a:lnTo>
                    <a:pt x="587450" y="471459"/>
                  </a:lnTo>
                  <a:lnTo>
                    <a:pt x="587776" y="474880"/>
                  </a:lnTo>
                  <a:lnTo>
                    <a:pt x="583378" y="474880"/>
                  </a:lnTo>
                  <a:lnTo>
                    <a:pt x="581097" y="477487"/>
                  </a:lnTo>
                  <a:lnTo>
                    <a:pt x="581097" y="481234"/>
                  </a:lnTo>
                  <a:lnTo>
                    <a:pt x="578653" y="483026"/>
                  </a:lnTo>
                  <a:lnTo>
                    <a:pt x="575721" y="486773"/>
                  </a:lnTo>
                  <a:lnTo>
                    <a:pt x="566924" y="492637"/>
                  </a:lnTo>
                  <a:lnTo>
                    <a:pt x="563828" y="495244"/>
                  </a:lnTo>
                  <a:lnTo>
                    <a:pt x="561874" y="494266"/>
                  </a:lnTo>
                  <a:lnTo>
                    <a:pt x="557638" y="494266"/>
                  </a:lnTo>
                  <a:cubicBezTo>
                    <a:pt x="557638" y="494266"/>
                    <a:pt x="553728" y="497036"/>
                    <a:pt x="553728" y="497036"/>
                  </a:cubicBezTo>
                  <a:lnTo>
                    <a:pt x="549655" y="503389"/>
                  </a:lnTo>
                  <a:lnTo>
                    <a:pt x="545908" y="505833"/>
                  </a:lnTo>
                  <a:lnTo>
                    <a:pt x="543953" y="504367"/>
                  </a:lnTo>
                  <a:lnTo>
                    <a:pt x="542325" y="500620"/>
                  </a:lnTo>
                  <a:lnTo>
                    <a:pt x="540369" y="500620"/>
                  </a:lnTo>
                  <a:lnTo>
                    <a:pt x="539718" y="503878"/>
                  </a:lnTo>
                  <a:lnTo>
                    <a:pt x="540369" y="509580"/>
                  </a:lnTo>
                  <a:lnTo>
                    <a:pt x="538741" y="511372"/>
                  </a:lnTo>
                  <a:lnTo>
                    <a:pt x="537112" y="506973"/>
                  </a:lnTo>
                  <a:lnTo>
                    <a:pt x="534668" y="502738"/>
                  </a:lnTo>
                  <a:lnTo>
                    <a:pt x="526848" y="503552"/>
                  </a:lnTo>
                  <a:lnTo>
                    <a:pt x="517237" y="506159"/>
                  </a:lnTo>
                  <a:lnTo>
                    <a:pt x="515282" y="507951"/>
                  </a:lnTo>
                  <a:lnTo>
                    <a:pt x="511535" y="508602"/>
                  </a:lnTo>
                  <a:lnTo>
                    <a:pt x="510069" y="511209"/>
                  </a:lnTo>
                  <a:lnTo>
                    <a:pt x="513001" y="517725"/>
                  </a:lnTo>
                  <a:lnTo>
                    <a:pt x="515119" y="519843"/>
                  </a:lnTo>
                  <a:lnTo>
                    <a:pt x="514630" y="522124"/>
                  </a:lnTo>
                  <a:lnTo>
                    <a:pt x="512186" y="523101"/>
                  </a:lnTo>
                  <a:lnTo>
                    <a:pt x="509091" y="527500"/>
                  </a:lnTo>
                  <a:lnTo>
                    <a:pt x="507136" y="526685"/>
                  </a:lnTo>
                  <a:lnTo>
                    <a:pt x="507462" y="523753"/>
                  </a:lnTo>
                  <a:lnTo>
                    <a:pt x="509254" y="521798"/>
                  </a:lnTo>
                  <a:lnTo>
                    <a:pt x="509254" y="518214"/>
                  </a:lnTo>
                  <a:lnTo>
                    <a:pt x="505996" y="518214"/>
                  </a:lnTo>
                  <a:lnTo>
                    <a:pt x="501923" y="523916"/>
                  </a:lnTo>
                  <a:lnTo>
                    <a:pt x="498176" y="526522"/>
                  </a:lnTo>
                  <a:lnTo>
                    <a:pt x="498176" y="530106"/>
                  </a:lnTo>
                  <a:cubicBezTo>
                    <a:pt x="498176" y="530106"/>
                    <a:pt x="501597" y="531735"/>
                    <a:pt x="501597" y="531735"/>
                  </a:cubicBezTo>
                  <a:lnTo>
                    <a:pt x="498991" y="533690"/>
                  </a:lnTo>
                  <a:lnTo>
                    <a:pt x="497035" y="537763"/>
                  </a:lnTo>
                  <a:lnTo>
                    <a:pt x="491334" y="537763"/>
                  </a:lnTo>
                  <a:cubicBezTo>
                    <a:pt x="491334" y="537763"/>
                    <a:pt x="488239" y="540370"/>
                    <a:pt x="488239" y="540370"/>
                  </a:cubicBezTo>
                  <a:lnTo>
                    <a:pt x="487587" y="543465"/>
                  </a:lnTo>
                  <a:lnTo>
                    <a:pt x="483026" y="545094"/>
                  </a:lnTo>
                  <a:lnTo>
                    <a:pt x="480256" y="548026"/>
                  </a:lnTo>
                  <a:lnTo>
                    <a:pt x="479278" y="555194"/>
                  </a:lnTo>
                  <a:lnTo>
                    <a:pt x="480582" y="556823"/>
                  </a:lnTo>
                  <a:lnTo>
                    <a:pt x="483677" y="557312"/>
                  </a:lnTo>
                  <a:lnTo>
                    <a:pt x="479930" y="560896"/>
                  </a:lnTo>
                  <a:lnTo>
                    <a:pt x="472437" y="560896"/>
                  </a:lnTo>
                  <a:cubicBezTo>
                    <a:pt x="472437" y="560896"/>
                    <a:pt x="469667" y="563177"/>
                    <a:pt x="469667" y="563177"/>
                  </a:cubicBezTo>
                  <a:lnTo>
                    <a:pt x="468689" y="569856"/>
                  </a:lnTo>
                  <a:lnTo>
                    <a:pt x="469341" y="573766"/>
                  </a:lnTo>
                  <a:lnTo>
                    <a:pt x="471785" y="573766"/>
                  </a:lnTo>
                  <a:cubicBezTo>
                    <a:pt x="471785" y="573766"/>
                    <a:pt x="475532" y="573277"/>
                    <a:pt x="475532" y="573277"/>
                  </a:cubicBezTo>
                  <a:lnTo>
                    <a:pt x="477161" y="575395"/>
                  </a:lnTo>
                  <a:lnTo>
                    <a:pt x="476346" y="578002"/>
                  </a:lnTo>
                  <a:lnTo>
                    <a:pt x="476835" y="582237"/>
                  </a:lnTo>
                  <a:lnTo>
                    <a:pt x="473414" y="585007"/>
                  </a:lnTo>
                  <a:lnTo>
                    <a:pt x="470319" y="583866"/>
                  </a:lnTo>
                  <a:lnTo>
                    <a:pt x="464291" y="582400"/>
                  </a:lnTo>
                  <a:lnTo>
                    <a:pt x="458915" y="585333"/>
                  </a:lnTo>
                  <a:lnTo>
                    <a:pt x="457449" y="588917"/>
                  </a:lnTo>
                  <a:lnTo>
                    <a:pt x="457449" y="592501"/>
                  </a:lnTo>
                  <a:cubicBezTo>
                    <a:pt x="457449" y="592501"/>
                    <a:pt x="455331" y="596899"/>
                    <a:pt x="455331" y="596899"/>
                  </a:cubicBezTo>
                  <a:lnTo>
                    <a:pt x="450769" y="600809"/>
                  </a:lnTo>
                  <a:lnTo>
                    <a:pt x="447185" y="598854"/>
                  </a:lnTo>
                  <a:lnTo>
                    <a:pt x="444579" y="595433"/>
                  </a:lnTo>
                  <a:lnTo>
                    <a:pt x="443276" y="591849"/>
                  </a:lnTo>
                  <a:lnTo>
                    <a:pt x="441321" y="592826"/>
                  </a:lnTo>
                  <a:lnTo>
                    <a:pt x="439855" y="599343"/>
                  </a:lnTo>
                  <a:lnTo>
                    <a:pt x="440832" y="604882"/>
                  </a:lnTo>
                  <a:lnTo>
                    <a:pt x="445394" y="608629"/>
                  </a:lnTo>
                  <a:lnTo>
                    <a:pt x="448652" y="607651"/>
                  </a:lnTo>
                  <a:lnTo>
                    <a:pt x="450281" y="608303"/>
                  </a:lnTo>
                  <a:lnTo>
                    <a:pt x="450607" y="611561"/>
                  </a:lnTo>
                  <a:lnTo>
                    <a:pt x="448163" y="616937"/>
                  </a:lnTo>
                  <a:lnTo>
                    <a:pt x="448815" y="619381"/>
                  </a:lnTo>
                  <a:lnTo>
                    <a:pt x="451910" y="621010"/>
                  </a:lnTo>
                  <a:lnTo>
                    <a:pt x="454516" y="617914"/>
                  </a:lnTo>
                  <a:lnTo>
                    <a:pt x="456797" y="617914"/>
                  </a:lnTo>
                  <a:cubicBezTo>
                    <a:pt x="456797" y="617914"/>
                    <a:pt x="458752" y="619381"/>
                    <a:pt x="458752" y="619381"/>
                  </a:cubicBezTo>
                  <a:lnTo>
                    <a:pt x="463802" y="619381"/>
                  </a:lnTo>
                  <a:cubicBezTo>
                    <a:pt x="463802" y="619381"/>
                    <a:pt x="467060" y="617263"/>
                    <a:pt x="467060" y="617263"/>
                  </a:cubicBezTo>
                  <a:lnTo>
                    <a:pt x="468526" y="618566"/>
                  </a:lnTo>
                  <a:lnTo>
                    <a:pt x="466735" y="622150"/>
                  </a:lnTo>
                  <a:lnTo>
                    <a:pt x="462825" y="623127"/>
                  </a:lnTo>
                  <a:lnTo>
                    <a:pt x="456797" y="623127"/>
                  </a:lnTo>
                  <a:cubicBezTo>
                    <a:pt x="456797" y="623127"/>
                    <a:pt x="454516" y="626060"/>
                    <a:pt x="454516" y="626060"/>
                  </a:cubicBezTo>
                  <a:lnTo>
                    <a:pt x="451584" y="624919"/>
                  </a:lnTo>
                  <a:lnTo>
                    <a:pt x="449792" y="628178"/>
                  </a:lnTo>
                  <a:lnTo>
                    <a:pt x="451421" y="633554"/>
                  </a:lnTo>
                  <a:lnTo>
                    <a:pt x="455331" y="635834"/>
                  </a:lnTo>
                  <a:lnTo>
                    <a:pt x="458589" y="636649"/>
                  </a:lnTo>
                  <a:lnTo>
                    <a:pt x="462010" y="635183"/>
                  </a:lnTo>
                  <a:lnTo>
                    <a:pt x="463639" y="636812"/>
                  </a:lnTo>
                  <a:lnTo>
                    <a:pt x="462499" y="638767"/>
                  </a:lnTo>
                  <a:lnTo>
                    <a:pt x="456797" y="641210"/>
                  </a:lnTo>
                  <a:lnTo>
                    <a:pt x="450769" y="641210"/>
                  </a:lnTo>
                  <a:cubicBezTo>
                    <a:pt x="450769" y="641210"/>
                    <a:pt x="447837" y="643165"/>
                    <a:pt x="447837" y="643165"/>
                  </a:cubicBezTo>
                  <a:lnTo>
                    <a:pt x="447348" y="645935"/>
                  </a:lnTo>
                  <a:lnTo>
                    <a:pt x="449792" y="647727"/>
                  </a:lnTo>
                  <a:lnTo>
                    <a:pt x="454191" y="647075"/>
                  </a:lnTo>
                  <a:lnTo>
                    <a:pt x="459241" y="647564"/>
                  </a:lnTo>
                  <a:lnTo>
                    <a:pt x="459241" y="649356"/>
                  </a:lnTo>
                  <a:lnTo>
                    <a:pt x="456146" y="650496"/>
                  </a:lnTo>
                  <a:lnTo>
                    <a:pt x="451095" y="651311"/>
                  </a:lnTo>
                  <a:lnTo>
                    <a:pt x="451421" y="653917"/>
                  </a:lnTo>
                  <a:lnTo>
                    <a:pt x="453050" y="654895"/>
                  </a:lnTo>
                  <a:lnTo>
                    <a:pt x="459404" y="655709"/>
                  </a:lnTo>
                  <a:lnTo>
                    <a:pt x="466572" y="660271"/>
                  </a:lnTo>
                  <a:lnTo>
                    <a:pt x="470644" y="661900"/>
                  </a:lnTo>
                  <a:lnTo>
                    <a:pt x="470644" y="663366"/>
                  </a:lnTo>
                  <a:lnTo>
                    <a:pt x="471133" y="666624"/>
                  </a:lnTo>
                  <a:lnTo>
                    <a:pt x="467712" y="662714"/>
                  </a:lnTo>
                  <a:lnTo>
                    <a:pt x="462662" y="660434"/>
                  </a:lnTo>
                  <a:lnTo>
                    <a:pt x="458100" y="660108"/>
                  </a:lnTo>
                  <a:lnTo>
                    <a:pt x="454028" y="657501"/>
                  </a:lnTo>
                  <a:lnTo>
                    <a:pt x="449629" y="657501"/>
                  </a:lnTo>
                  <a:cubicBezTo>
                    <a:pt x="449629" y="657501"/>
                    <a:pt x="446697" y="660271"/>
                    <a:pt x="446697" y="660271"/>
                  </a:cubicBezTo>
                  <a:lnTo>
                    <a:pt x="445882" y="663529"/>
                  </a:lnTo>
                  <a:lnTo>
                    <a:pt x="443927" y="665321"/>
                  </a:lnTo>
                  <a:lnTo>
                    <a:pt x="443927" y="668090"/>
                  </a:lnTo>
                  <a:cubicBezTo>
                    <a:pt x="443927" y="668090"/>
                    <a:pt x="445882" y="670371"/>
                    <a:pt x="445882" y="670371"/>
                  </a:cubicBezTo>
                  <a:lnTo>
                    <a:pt x="445231" y="672652"/>
                  </a:lnTo>
                  <a:lnTo>
                    <a:pt x="442787" y="673629"/>
                  </a:lnTo>
                  <a:lnTo>
                    <a:pt x="440506" y="673141"/>
                  </a:lnTo>
                  <a:lnTo>
                    <a:pt x="437574" y="676887"/>
                  </a:lnTo>
                  <a:lnTo>
                    <a:pt x="435945" y="680960"/>
                  </a:lnTo>
                  <a:lnTo>
                    <a:pt x="436759" y="682752"/>
                  </a:lnTo>
                  <a:lnTo>
                    <a:pt x="435293" y="684707"/>
                  </a:lnTo>
                  <a:lnTo>
                    <a:pt x="431057" y="685848"/>
                  </a:lnTo>
                  <a:lnTo>
                    <a:pt x="431057" y="687477"/>
                  </a:lnTo>
                  <a:cubicBezTo>
                    <a:pt x="431057" y="687477"/>
                    <a:pt x="436434" y="693016"/>
                    <a:pt x="436434" y="693016"/>
                  </a:cubicBezTo>
                  <a:lnTo>
                    <a:pt x="440995" y="695459"/>
                  </a:lnTo>
                  <a:lnTo>
                    <a:pt x="443113" y="694156"/>
                  </a:lnTo>
                  <a:lnTo>
                    <a:pt x="444416" y="691224"/>
                  </a:lnTo>
                  <a:lnTo>
                    <a:pt x="448000" y="689269"/>
                  </a:lnTo>
                  <a:lnTo>
                    <a:pt x="454516" y="684056"/>
                  </a:lnTo>
                  <a:lnTo>
                    <a:pt x="459730" y="682264"/>
                  </a:lnTo>
                  <a:lnTo>
                    <a:pt x="464943" y="682752"/>
                  </a:lnTo>
                  <a:lnTo>
                    <a:pt x="467386" y="685033"/>
                  </a:lnTo>
                  <a:lnTo>
                    <a:pt x="467386" y="687477"/>
                  </a:lnTo>
                  <a:cubicBezTo>
                    <a:pt x="467386" y="687477"/>
                    <a:pt x="464943" y="687639"/>
                    <a:pt x="464943" y="687639"/>
                  </a:cubicBezTo>
                  <a:lnTo>
                    <a:pt x="461848" y="685033"/>
                  </a:lnTo>
                  <a:lnTo>
                    <a:pt x="458915" y="685033"/>
                  </a:lnTo>
                  <a:lnTo>
                    <a:pt x="457123" y="687965"/>
                  </a:lnTo>
                  <a:lnTo>
                    <a:pt x="450281" y="692038"/>
                  </a:lnTo>
                  <a:lnTo>
                    <a:pt x="447511" y="696274"/>
                  </a:lnTo>
                  <a:lnTo>
                    <a:pt x="446534" y="700672"/>
                  </a:lnTo>
                  <a:lnTo>
                    <a:pt x="447837" y="704908"/>
                  </a:lnTo>
                  <a:lnTo>
                    <a:pt x="446697" y="706863"/>
                  </a:lnTo>
                  <a:cubicBezTo>
                    <a:pt x="446697" y="706863"/>
                    <a:pt x="446371" y="709469"/>
                    <a:pt x="446371" y="709306"/>
                  </a:cubicBezTo>
                  <a:lnTo>
                    <a:pt x="446371" y="709306"/>
                  </a:lnTo>
                  <a:close/>
                  <a:moveTo>
                    <a:pt x="468201" y="847291"/>
                  </a:moveTo>
                  <a:lnTo>
                    <a:pt x="470156" y="848268"/>
                  </a:lnTo>
                  <a:lnTo>
                    <a:pt x="470482" y="845336"/>
                  </a:lnTo>
                  <a:lnTo>
                    <a:pt x="468038" y="842240"/>
                  </a:lnTo>
                  <a:lnTo>
                    <a:pt x="470482" y="838168"/>
                  </a:lnTo>
                  <a:lnTo>
                    <a:pt x="468853" y="834258"/>
                  </a:lnTo>
                  <a:lnTo>
                    <a:pt x="463151" y="832466"/>
                  </a:lnTo>
                  <a:lnTo>
                    <a:pt x="462010" y="829208"/>
                  </a:lnTo>
                  <a:lnTo>
                    <a:pt x="458752" y="827416"/>
                  </a:lnTo>
                  <a:lnTo>
                    <a:pt x="452887" y="827904"/>
                  </a:lnTo>
                  <a:lnTo>
                    <a:pt x="449466" y="831325"/>
                  </a:lnTo>
                  <a:lnTo>
                    <a:pt x="450118" y="834095"/>
                  </a:lnTo>
                  <a:lnTo>
                    <a:pt x="453539" y="835887"/>
                  </a:lnTo>
                  <a:lnTo>
                    <a:pt x="456146" y="834909"/>
                  </a:lnTo>
                  <a:lnTo>
                    <a:pt x="459892" y="836376"/>
                  </a:lnTo>
                  <a:lnTo>
                    <a:pt x="460218" y="840937"/>
                  </a:lnTo>
                  <a:lnTo>
                    <a:pt x="464454" y="841914"/>
                  </a:lnTo>
                  <a:lnTo>
                    <a:pt x="468201" y="847291"/>
                  </a:lnTo>
                  <a:lnTo>
                    <a:pt x="468201" y="847291"/>
                  </a:lnTo>
                  <a:close/>
                  <a:moveTo>
                    <a:pt x="559919" y="846802"/>
                  </a:moveTo>
                  <a:lnTo>
                    <a:pt x="554380" y="842729"/>
                  </a:lnTo>
                  <a:lnTo>
                    <a:pt x="551448" y="844195"/>
                  </a:lnTo>
                  <a:lnTo>
                    <a:pt x="547375" y="843055"/>
                  </a:lnTo>
                  <a:lnTo>
                    <a:pt x="543628" y="836376"/>
                  </a:lnTo>
                  <a:lnTo>
                    <a:pt x="538415" y="836376"/>
                  </a:lnTo>
                  <a:lnTo>
                    <a:pt x="529943" y="829696"/>
                  </a:lnTo>
                  <a:lnTo>
                    <a:pt x="527011" y="824483"/>
                  </a:lnTo>
                  <a:lnTo>
                    <a:pt x="521472" y="824483"/>
                  </a:lnTo>
                  <a:lnTo>
                    <a:pt x="515282" y="813405"/>
                  </a:lnTo>
                  <a:lnTo>
                    <a:pt x="506485" y="802653"/>
                  </a:lnTo>
                  <a:lnTo>
                    <a:pt x="503226" y="791576"/>
                  </a:lnTo>
                  <a:lnTo>
                    <a:pt x="498502" y="783430"/>
                  </a:lnTo>
                  <a:lnTo>
                    <a:pt x="498176" y="770886"/>
                  </a:lnTo>
                  <a:lnTo>
                    <a:pt x="494429" y="763555"/>
                  </a:lnTo>
                  <a:lnTo>
                    <a:pt x="492148" y="749545"/>
                  </a:lnTo>
                  <a:lnTo>
                    <a:pt x="491008" y="746287"/>
                  </a:lnTo>
                  <a:lnTo>
                    <a:pt x="493289" y="742051"/>
                  </a:lnTo>
                  <a:lnTo>
                    <a:pt x="492800" y="738956"/>
                  </a:lnTo>
                  <a:lnTo>
                    <a:pt x="488401" y="737816"/>
                  </a:lnTo>
                  <a:lnTo>
                    <a:pt x="484492" y="739608"/>
                  </a:lnTo>
                  <a:lnTo>
                    <a:pt x="481396" y="737164"/>
                  </a:lnTo>
                  <a:lnTo>
                    <a:pt x="482537" y="735535"/>
                  </a:lnTo>
                  <a:lnTo>
                    <a:pt x="489542" y="736024"/>
                  </a:lnTo>
                  <a:lnTo>
                    <a:pt x="495244" y="732602"/>
                  </a:lnTo>
                  <a:lnTo>
                    <a:pt x="496221" y="722828"/>
                  </a:lnTo>
                  <a:lnTo>
                    <a:pt x="495081" y="718429"/>
                  </a:lnTo>
                  <a:lnTo>
                    <a:pt x="490682" y="719407"/>
                  </a:lnTo>
                  <a:lnTo>
                    <a:pt x="486121" y="720710"/>
                  </a:lnTo>
                  <a:lnTo>
                    <a:pt x="487913" y="718429"/>
                  </a:lnTo>
                  <a:lnTo>
                    <a:pt x="494755" y="715823"/>
                  </a:lnTo>
                  <a:lnTo>
                    <a:pt x="496058" y="712890"/>
                  </a:lnTo>
                  <a:lnTo>
                    <a:pt x="494103" y="710610"/>
                  </a:lnTo>
                  <a:lnTo>
                    <a:pt x="484655" y="710610"/>
                  </a:lnTo>
                  <a:lnTo>
                    <a:pt x="472273" y="708818"/>
                  </a:lnTo>
                  <a:lnTo>
                    <a:pt x="467549" y="705722"/>
                  </a:lnTo>
                  <a:lnTo>
                    <a:pt x="463476" y="705722"/>
                  </a:lnTo>
                  <a:lnTo>
                    <a:pt x="454516" y="711587"/>
                  </a:lnTo>
                  <a:lnTo>
                    <a:pt x="445882" y="711587"/>
                  </a:lnTo>
                  <a:lnTo>
                    <a:pt x="442787" y="714194"/>
                  </a:lnTo>
                  <a:lnTo>
                    <a:pt x="436108" y="718918"/>
                  </a:lnTo>
                  <a:lnTo>
                    <a:pt x="435619" y="724620"/>
                  </a:lnTo>
                  <a:lnTo>
                    <a:pt x="433990" y="727878"/>
                  </a:lnTo>
                  <a:lnTo>
                    <a:pt x="435293" y="732928"/>
                  </a:lnTo>
                  <a:lnTo>
                    <a:pt x="439692" y="733417"/>
                  </a:lnTo>
                  <a:lnTo>
                    <a:pt x="441484" y="735209"/>
                  </a:lnTo>
                  <a:lnTo>
                    <a:pt x="440343" y="737978"/>
                  </a:lnTo>
                  <a:lnTo>
                    <a:pt x="435782" y="737978"/>
                  </a:lnTo>
                  <a:cubicBezTo>
                    <a:pt x="435782" y="737978"/>
                    <a:pt x="430406" y="739445"/>
                    <a:pt x="430406" y="739445"/>
                  </a:cubicBezTo>
                  <a:lnTo>
                    <a:pt x="426170" y="746776"/>
                  </a:lnTo>
                  <a:lnTo>
                    <a:pt x="425844" y="752477"/>
                  </a:lnTo>
                  <a:lnTo>
                    <a:pt x="428288" y="755247"/>
                  </a:lnTo>
                  <a:lnTo>
                    <a:pt x="432361" y="753944"/>
                  </a:lnTo>
                  <a:lnTo>
                    <a:pt x="438877" y="750522"/>
                  </a:lnTo>
                  <a:lnTo>
                    <a:pt x="440017" y="752803"/>
                  </a:lnTo>
                  <a:lnTo>
                    <a:pt x="435456" y="756876"/>
                  </a:lnTo>
                  <a:lnTo>
                    <a:pt x="434478" y="761112"/>
                  </a:lnTo>
                  <a:lnTo>
                    <a:pt x="437248" y="761112"/>
                  </a:lnTo>
                  <a:lnTo>
                    <a:pt x="440506" y="757039"/>
                  </a:lnTo>
                  <a:lnTo>
                    <a:pt x="443764" y="756061"/>
                  </a:lnTo>
                  <a:lnTo>
                    <a:pt x="444905" y="758342"/>
                  </a:lnTo>
                  <a:lnTo>
                    <a:pt x="440832" y="762089"/>
                  </a:lnTo>
                  <a:lnTo>
                    <a:pt x="439855" y="765836"/>
                  </a:lnTo>
                  <a:lnTo>
                    <a:pt x="443601" y="769909"/>
                  </a:lnTo>
                  <a:lnTo>
                    <a:pt x="448815" y="769909"/>
                  </a:lnTo>
                  <a:lnTo>
                    <a:pt x="445882" y="771538"/>
                  </a:lnTo>
                  <a:lnTo>
                    <a:pt x="442461" y="771538"/>
                  </a:lnTo>
                  <a:cubicBezTo>
                    <a:pt x="442461" y="771538"/>
                    <a:pt x="439203" y="774796"/>
                    <a:pt x="439203" y="774796"/>
                  </a:cubicBezTo>
                  <a:lnTo>
                    <a:pt x="439203" y="778217"/>
                  </a:lnTo>
                  <a:cubicBezTo>
                    <a:pt x="439203" y="778217"/>
                    <a:pt x="442135" y="783430"/>
                    <a:pt x="442135" y="783430"/>
                  </a:cubicBezTo>
                  <a:lnTo>
                    <a:pt x="439855" y="785222"/>
                  </a:lnTo>
                  <a:lnTo>
                    <a:pt x="437248" y="783919"/>
                  </a:lnTo>
                  <a:lnTo>
                    <a:pt x="432687" y="785222"/>
                  </a:lnTo>
                  <a:lnTo>
                    <a:pt x="428940" y="783267"/>
                  </a:lnTo>
                  <a:lnTo>
                    <a:pt x="425682" y="783593"/>
                  </a:lnTo>
                  <a:lnTo>
                    <a:pt x="421283" y="789132"/>
                  </a:lnTo>
                  <a:lnTo>
                    <a:pt x="421283" y="794345"/>
                  </a:lnTo>
                  <a:cubicBezTo>
                    <a:pt x="421283" y="794345"/>
                    <a:pt x="422912" y="800861"/>
                    <a:pt x="422912" y="800861"/>
                  </a:cubicBezTo>
                  <a:lnTo>
                    <a:pt x="421772" y="806563"/>
                  </a:lnTo>
                  <a:lnTo>
                    <a:pt x="423075" y="811125"/>
                  </a:lnTo>
                  <a:lnTo>
                    <a:pt x="429917" y="816826"/>
                  </a:lnTo>
                  <a:lnTo>
                    <a:pt x="429917" y="819922"/>
                  </a:lnTo>
                  <a:cubicBezTo>
                    <a:pt x="429917" y="819922"/>
                    <a:pt x="436922" y="825298"/>
                    <a:pt x="436922" y="825298"/>
                  </a:cubicBezTo>
                  <a:lnTo>
                    <a:pt x="441484" y="827090"/>
                  </a:lnTo>
                  <a:lnTo>
                    <a:pt x="444090" y="825624"/>
                  </a:lnTo>
                  <a:lnTo>
                    <a:pt x="448163" y="824483"/>
                  </a:lnTo>
                  <a:lnTo>
                    <a:pt x="452399" y="817967"/>
                  </a:lnTo>
                  <a:lnTo>
                    <a:pt x="450769" y="811125"/>
                  </a:lnTo>
                  <a:lnTo>
                    <a:pt x="451910" y="806074"/>
                  </a:lnTo>
                  <a:lnTo>
                    <a:pt x="455005" y="801513"/>
                  </a:lnTo>
                  <a:lnTo>
                    <a:pt x="452562" y="807378"/>
                  </a:lnTo>
                  <a:lnTo>
                    <a:pt x="452562" y="811125"/>
                  </a:lnTo>
                  <a:cubicBezTo>
                    <a:pt x="452562" y="811125"/>
                    <a:pt x="454516" y="814546"/>
                    <a:pt x="454516" y="814546"/>
                  </a:cubicBezTo>
                  <a:lnTo>
                    <a:pt x="456308" y="821225"/>
                  </a:lnTo>
                  <a:lnTo>
                    <a:pt x="459404" y="822202"/>
                  </a:lnTo>
                  <a:lnTo>
                    <a:pt x="462662" y="819759"/>
                  </a:lnTo>
                  <a:lnTo>
                    <a:pt x="462662" y="816338"/>
                  </a:lnTo>
                  <a:lnTo>
                    <a:pt x="465432" y="811125"/>
                  </a:lnTo>
                  <a:lnTo>
                    <a:pt x="466735" y="813731"/>
                  </a:lnTo>
                  <a:lnTo>
                    <a:pt x="466083" y="816012"/>
                  </a:lnTo>
                  <a:lnTo>
                    <a:pt x="466083" y="820573"/>
                  </a:lnTo>
                  <a:cubicBezTo>
                    <a:pt x="466083" y="820573"/>
                    <a:pt x="471296" y="828230"/>
                    <a:pt x="471296" y="828230"/>
                  </a:cubicBezTo>
                  <a:lnTo>
                    <a:pt x="477161" y="831814"/>
                  </a:lnTo>
                  <a:lnTo>
                    <a:pt x="481234" y="831814"/>
                  </a:lnTo>
                  <a:cubicBezTo>
                    <a:pt x="481234" y="831814"/>
                    <a:pt x="484655" y="829208"/>
                    <a:pt x="484655" y="829208"/>
                  </a:cubicBezTo>
                  <a:lnTo>
                    <a:pt x="487098" y="830511"/>
                  </a:lnTo>
                  <a:lnTo>
                    <a:pt x="485795" y="832466"/>
                  </a:lnTo>
                  <a:lnTo>
                    <a:pt x="483026" y="832466"/>
                  </a:lnTo>
                  <a:lnTo>
                    <a:pt x="481396" y="835561"/>
                  </a:lnTo>
                  <a:lnTo>
                    <a:pt x="477975" y="837842"/>
                  </a:lnTo>
                  <a:lnTo>
                    <a:pt x="476998" y="840774"/>
                  </a:lnTo>
                  <a:lnTo>
                    <a:pt x="481559" y="844847"/>
                  </a:lnTo>
                  <a:lnTo>
                    <a:pt x="481885" y="848594"/>
                  </a:lnTo>
                  <a:lnTo>
                    <a:pt x="478953" y="848594"/>
                  </a:lnTo>
                  <a:cubicBezTo>
                    <a:pt x="478953" y="848594"/>
                    <a:pt x="476021" y="847779"/>
                    <a:pt x="476021" y="847779"/>
                  </a:cubicBezTo>
                  <a:lnTo>
                    <a:pt x="476021" y="850874"/>
                  </a:lnTo>
                  <a:cubicBezTo>
                    <a:pt x="476021" y="850874"/>
                    <a:pt x="478953" y="853644"/>
                    <a:pt x="478953" y="853644"/>
                  </a:cubicBezTo>
                  <a:lnTo>
                    <a:pt x="486447" y="854458"/>
                  </a:lnTo>
                  <a:lnTo>
                    <a:pt x="491660" y="856902"/>
                  </a:lnTo>
                  <a:lnTo>
                    <a:pt x="496873" y="855599"/>
                  </a:lnTo>
                  <a:lnTo>
                    <a:pt x="503389" y="858205"/>
                  </a:lnTo>
                  <a:lnTo>
                    <a:pt x="503064" y="853644"/>
                  </a:lnTo>
                  <a:lnTo>
                    <a:pt x="505996" y="854621"/>
                  </a:lnTo>
                  <a:lnTo>
                    <a:pt x="507625" y="857717"/>
                  </a:lnTo>
                  <a:lnTo>
                    <a:pt x="509580" y="864722"/>
                  </a:lnTo>
                  <a:lnTo>
                    <a:pt x="513489" y="867980"/>
                  </a:lnTo>
                  <a:lnTo>
                    <a:pt x="516910" y="867654"/>
                  </a:lnTo>
                  <a:lnTo>
                    <a:pt x="520494" y="863418"/>
                  </a:lnTo>
                  <a:lnTo>
                    <a:pt x="519354" y="858205"/>
                  </a:lnTo>
                  <a:lnTo>
                    <a:pt x="512675" y="855273"/>
                  </a:lnTo>
                  <a:lnTo>
                    <a:pt x="510394" y="853807"/>
                  </a:lnTo>
                  <a:lnTo>
                    <a:pt x="512675" y="852504"/>
                  </a:lnTo>
                  <a:lnTo>
                    <a:pt x="516422" y="853318"/>
                  </a:lnTo>
                  <a:lnTo>
                    <a:pt x="521472" y="856413"/>
                  </a:lnTo>
                  <a:lnTo>
                    <a:pt x="523753" y="860160"/>
                  </a:lnTo>
                  <a:lnTo>
                    <a:pt x="526034" y="865210"/>
                  </a:lnTo>
                  <a:lnTo>
                    <a:pt x="527826" y="865210"/>
                  </a:lnTo>
                  <a:cubicBezTo>
                    <a:pt x="527826" y="865210"/>
                    <a:pt x="528966" y="860649"/>
                    <a:pt x="528966" y="860649"/>
                  </a:cubicBezTo>
                  <a:lnTo>
                    <a:pt x="530921" y="859835"/>
                  </a:lnTo>
                  <a:lnTo>
                    <a:pt x="533853" y="863907"/>
                  </a:lnTo>
                  <a:lnTo>
                    <a:pt x="539555" y="866677"/>
                  </a:lnTo>
                  <a:lnTo>
                    <a:pt x="543139" y="866351"/>
                  </a:lnTo>
                  <a:lnTo>
                    <a:pt x="543139" y="863256"/>
                  </a:lnTo>
                  <a:lnTo>
                    <a:pt x="538903" y="859672"/>
                  </a:lnTo>
                  <a:lnTo>
                    <a:pt x="538903" y="857554"/>
                  </a:lnTo>
                  <a:lnTo>
                    <a:pt x="541021" y="856576"/>
                  </a:lnTo>
                  <a:lnTo>
                    <a:pt x="546234" y="859346"/>
                  </a:lnTo>
                  <a:lnTo>
                    <a:pt x="548189" y="861789"/>
                  </a:lnTo>
                  <a:lnTo>
                    <a:pt x="549655" y="861789"/>
                  </a:lnTo>
                  <a:cubicBezTo>
                    <a:pt x="549655" y="861789"/>
                    <a:pt x="551285" y="866677"/>
                    <a:pt x="551285" y="866677"/>
                  </a:cubicBezTo>
                  <a:lnTo>
                    <a:pt x="554380" y="868795"/>
                  </a:lnTo>
                  <a:lnTo>
                    <a:pt x="556660" y="867491"/>
                  </a:lnTo>
                  <a:lnTo>
                    <a:pt x="557638" y="863418"/>
                  </a:lnTo>
                  <a:lnTo>
                    <a:pt x="555683" y="859509"/>
                  </a:lnTo>
                  <a:lnTo>
                    <a:pt x="552588" y="859509"/>
                  </a:lnTo>
                  <a:cubicBezTo>
                    <a:pt x="552588" y="859509"/>
                    <a:pt x="549981" y="857228"/>
                    <a:pt x="549981" y="857228"/>
                  </a:cubicBezTo>
                  <a:lnTo>
                    <a:pt x="550959" y="855436"/>
                  </a:lnTo>
                  <a:lnTo>
                    <a:pt x="553402" y="856576"/>
                  </a:lnTo>
                  <a:lnTo>
                    <a:pt x="556335" y="856576"/>
                  </a:lnTo>
                  <a:lnTo>
                    <a:pt x="559593" y="852341"/>
                  </a:lnTo>
                  <a:lnTo>
                    <a:pt x="560896" y="849245"/>
                  </a:lnTo>
                  <a:lnTo>
                    <a:pt x="560896" y="846476"/>
                  </a:lnTo>
                  <a:lnTo>
                    <a:pt x="560733" y="846476"/>
                  </a:lnTo>
                  <a:close/>
                  <a:moveTo>
                    <a:pt x="175453" y="1166592"/>
                  </a:moveTo>
                  <a:lnTo>
                    <a:pt x="173009" y="1162357"/>
                  </a:lnTo>
                  <a:lnTo>
                    <a:pt x="174801" y="1160239"/>
                  </a:lnTo>
                  <a:lnTo>
                    <a:pt x="174150" y="1157144"/>
                  </a:lnTo>
                  <a:lnTo>
                    <a:pt x="170892" y="1156329"/>
                  </a:lnTo>
                  <a:lnTo>
                    <a:pt x="167634" y="1159750"/>
                  </a:lnTo>
                  <a:lnTo>
                    <a:pt x="167634" y="1163334"/>
                  </a:lnTo>
                  <a:cubicBezTo>
                    <a:pt x="167634" y="1163334"/>
                    <a:pt x="171543" y="1166918"/>
                    <a:pt x="171543" y="1166918"/>
                  </a:cubicBezTo>
                  <a:lnTo>
                    <a:pt x="172684" y="1169199"/>
                  </a:lnTo>
                  <a:lnTo>
                    <a:pt x="174801" y="1169199"/>
                  </a:lnTo>
                  <a:cubicBezTo>
                    <a:pt x="174801" y="1169199"/>
                    <a:pt x="175453" y="1166755"/>
                    <a:pt x="175453" y="1166755"/>
                  </a:cubicBezTo>
                  <a:lnTo>
                    <a:pt x="175453" y="1166755"/>
                  </a:lnTo>
                  <a:close/>
                  <a:moveTo>
                    <a:pt x="308061" y="1082531"/>
                  </a:moveTo>
                  <a:lnTo>
                    <a:pt x="310505" y="1082205"/>
                  </a:lnTo>
                  <a:lnTo>
                    <a:pt x="310179" y="1079599"/>
                  </a:lnTo>
                  <a:lnTo>
                    <a:pt x="307410" y="1076341"/>
                  </a:lnTo>
                  <a:lnTo>
                    <a:pt x="304803" y="1076829"/>
                  </a:lnTo>
                  <a:lnTo>
                    <a:pt x="304803" y="1079436"/>
                  </a:lnTo>
                  <a:cubicBezTo>
                    <a:pt x="304803" y="1079436"/>
                    <a:pt x="308061" y="1082531"/>
                    <a:pt x="308061" y="1082531"/>
                  </a:cubicBezTo>
                  <a:lnTo>
                    <a:pt x="308061" y="1082531"/>
                  </a:lnTo>
                  <a:close/>
                  <a:moveTo>
                    <a:pt x="410857" y="971590"/>
                  </a:moveTo>
                  <a:lnTo>
                    <a:pt x="416233" y="971264"/>
                  </a:lnTo>
                  <a:lnTo>
                    <a:pt x="423075" y="965563"/>
                  </a:lnTo>
                  <a:lnTo>
                    <a:pt x="427637" y="959861"/>
                  </a:lnTo>
                  <a:lnTo>
                    <a:pt x="427637" y="951064"/>
                  </a:lnTo>
                  <a:lnTo>
                    <a:pt x="430732" y="947805"/>
                  </a:lnTo>
                  <a:lnTo>
                    <a:pt x="432524" y="952204"/>
                  </a:lnTo>
                  <a:lnTo>
                    <a:pt x="431057" y="959209"/>
                  </a:lnTo>
                  <a:lnTo>
                    <a:pt x="434805" y="952693"/>
                  </a:lnTo>
                  <a:lnTo>
                    <a:pt x="434805" y="946828"/>
                  </a:lnTo>
                  <a:lnTo>
                    <a:pt x="430080" y="941289"/>
                  </a:lnTo>
                  <a:lnTo>
                    <a:pt x="411671" y="933469"/>
                  </a:lnTo>
                  <a:lnTo>
                    <a:pt x="403200" y="932003"/>
                  </a:lnTo>
                  <a:lnTo>
                    <a:pt x="397824" y="935261"/>
                  </a:lnTo>
                  <a:lnTo>
                    <a:pt x="394729" y="945851"/>
                  </a:lnTo>
                  <a:lnTo>
                    <a:pt x="394729" y="958557"/>
                  </a:lnTo>
                  <a:cubicBezTo>
                    <a:pt x="394729" y="958557"/>
                    <a:pt x="397661" y="964259"/>
                    <a:pt x="397661" y="964259"/>
                  </a:cubicBezTo>
                  <a:lnTo>
                    <a:pt x="399127" y="970776"/>
                  </a:lnTo>
                  <a:lnTo>
                    <a:pt x="400757" y="969472"/>
                  </a:lnTo>
                  <a:lnTo>
                    <a:pt x="404666" y="971753"/>
                  </a:lnTo>
                  <a:lnTo>
                    <a:pt x="403200" y="975174"/>
                  </a:lnTo>
                  <a:lnTo>
                    <a:pt x="407110" y="975174"/>
                  </a:lnTo>
                  <a:lnTo>
                    <a:pt x="411019" y="971753"/>
                  </a:lnTo>
                  <a:lnTo>
                    <a:pt x="411019" y="971753"/>
                  </a:lnTo>
                  <a:close/>
                  <a:moveTo>
                    <a:pt x="456797" y="981039"/>
                  </a:moveTo>
                  <a:lnTo>
                    <a:pt x="458589" y="981039"/>
                  </a:lnTo>
                  <a:lnTo>
                    <a:pt x="459892" y="979410"/>
                  </a:lnTo>
                  <a:lnTo>
                    <a:pt x="465594" y="978269"/>
                  </a:lnTo>
                  <a:lnTo>
                    <a:pt x="468201" y="976477"/>
                  </a:lnTo>
                  <a:lnTo>
                    <a:pt x="461684" y="975826"/>
                  </a:lnTo>
                  <a:lnTo>
                    <a:pt x="456960" y="978269"/>
                  </a:lnTo>
                  <a:lnTo>
                    <a:pt x="456634" y="981039"/>
                  </a:lnTo>
                  <a:lnTo>
                    <a:pt x="456634" y="981039"/>
                  </a:lnTo>
                  <a:close/>
                  <a:moveTo>
                    <a:pt x="530595" y="979573"/>
                  </a:moveTo>
                  <a:lnTo>
                    <a:pt x="532224" y="981528"/>
                  </a:lnTo>
                  <a:lnTo>
                    <a:pt x="535808" y="976803"/>
                  </a:lnTo>
                  <a:lnTo>
                    <a:pt x="535808" y="973056"/>
                  </a:lnTo>
                  <a:cubicBezTo>
                    <a:pt x="535808" y="973056"/>
                    <a:pt x="532224" y="973708"/>
                    <a:pt x="532224" y="973708"/>
                  </a:cubicBezTo>
                  <a:lnTo>
                    <a:pt x="530269" y="976966"/>
                  </a:lnTo>
                  <a:lnTo>
                    <a:pt x="530595" y="979410"/>
                  </a:lnTo>
                  <a:lnTo>
                    <a:pt x="530595" y="979410"/>
                  </a:lnTo>
                  <a:close/>
                  <a:moveTo>
                    <a:pt x="520658" y="980550"/>
                  </a:moveTo>
                  <a:lnTo>
                    <a:pt x="524405" y="981039"/>
                  </a:lnTo>
                  <a:lnTo>
                    <a:pt x="526685" y="978107"/>
                  </a:lnTo>
                  <a:lnTo>
                    <a:pt x="524893" y="975500"/>
                  </a:lnTo>
                  <a:lnTo>
                    <a:pt x="522450" y="976477"/>
                  </a:lnTo>
                  <a:lnTo>
                    <a:pt x="520658" y="980550"/>
                  </a:lnTo>
                  <a:lnTo>
                    <a:pt x="520658" y="980550"/>
                  </a:lnTo>
                  <a:close/>
                  <a:moveTo>
                    <a:pt x="581585" y="954811"/>
                  </a:moveTo>
                  <a:lnTo>
                    <a:pt x="583703" y="955462"/>
                  </a:lnTo>
                  <a:lnTo>
                    <a:pt x="586473" y="953344"/>
                  </a:lnTo>
                  <a:lnTo>
                    <a:pt x="593641" y="951064"/>
                  </a:lnTo>
                  <a:lnTo>
                    <a:pt x="595433" y="948620"/>
                  </a:lnTo>
                  <a:lnTo>
                    <a:pt x="590871" y="947317"/>
                  </a:lnTo>
                  <a:lnTo>
                    <a:pt x="584192" y="950738"/>
                  </a:lnTo>
                  <a:lnTo>
                    <a:pt x="581585" y="954973"/>
                  </a:lnTo>
                  <a:lnTo>
                    <a:pt x="581585" y="954973"/>
                  </a:lnTo>
                  <a:close/>
                  <a:moveTo>
                    <a:pt x="557149" y="949597"/>
                  </a:moveTo>
                  <a:lnTo>
                    <a:pt x="559430" y="952367"/>
                  </a:lnTo>
                  <a:lnTo>
                    <a:pt x="562688" y="952367"/>
                  </a:lnTo>
                  <a:cubicBezTo>
                    <a:pt x="562688" y="952367"/>
                    <a:pt x="563340" y="949923"/>
                    <a:pt x="563340" y="949923"/>
                  </a:cubicBezTo>
                  <a:lnTo>
                    <a:pt x="559593" y="947968"/>
                  </a:lnTo>
                  <a:lnTo>
                    <a:pt x="557149" y="949597"/>
                  </a:lnTo>
                  <a:lnTo>
                    <a:pt x="557149" y="949597"/>
                  </a:lnTo>
                  <a:close/>
                  <a:moveTo>
                    <a:pt x="541510" y="948457"/>
                  </a:moveTo>
                  <a:lnTo>
                    <a:pt x="544931" y="949435"/>
                  </a:lnTo>
                  <a:lnTo>
                    <a:pt x="547212" y="951715"/>
                  </a:lnTo>
                  <a:lnTo>
                    <a:pt x="551936" y="952856"/>
                  </a:lnTo>
                  <a:lnTo>
                    <a:pt x="549981" y="947805"/>
                  </a:lnTo>
                  <a:lnTo>
                    <a:pt x="545420" y="945851"/>
                  </a:lnTo>
                  <a:lnTo>
                    <a:pt x="541673" y="948294"/>
                  </a:lnTo>
                  <a:lnTo>
                    <a:pt x="541673" y="948294"/>
                  </a:lnTo>
                  <a:close/>
                  <a:moveTo>
                    <a:pt x="533853" y="948783"/>
                  </a:moveTo>
                  <a:lnTo>
                    <a:pt x="534668" y="950249"/>
                  </a:lnTo>
                  <a:lnTo>
                    <a:pt x="537763" y="950249"/>
                  </a:lnTo>
                  <a:cubicBezTo>
                    <a:pt x="537763" y="950249"/>
                    <a:pt x="539881" y="947643"/>
                    <a:pt x="539881" y="947643"/>
                  </a:cubicBezTo>
                  <a:lnTo>
                    <a:pt x="537437" y="946665"/>
                  </a:lnTo>
                  <a:lnTo>
                    <a:pt x="533853" y="948620"/>
                  </a:lnTo>
                  <a:lnTo>
                    <a:pt x="533853" y="948620"/>
                  </a:lnTo>
                  <a:close/>
                  <a:moveTo>
                    <a:pt x="1080739" y="782453"/>
                  </a:moveTo>
                  <a:lnTo>
                    <a:pt x="1080739" y="788154"/>
                  </a:lnTo>
                  <a:cubicBezTo>
                    <a:pt x="1080739" y="788154"/>
                    <a:pt x="1083346" y="791250"/>
                    <a:pt x="1083346" y="791250"/>
                  </a:cubicBezTo>
                  <a:lnTo>
                    <a:pt x="1084486" y="786362"/>
                  </a:lnTo>
                  <a:lnTo>
                    <a:pt x="1082694" y="782778"/>
                  </a:lnTo>
                  <a:lnTo>
                    <a:pt x="1080739" y="782453"/>
                  </a:lnTo>
                  <a:lnTo>
                    <a:pt x="1080739" y="782453"/>
                  </a:lnTo>
                  <a:close/>
                  <a:moveTo>
                    <a:pt x="1070639" y="767139"/>
                  </a:moveTo>
                  <a:lnTo>
                    <a:pt x="1070639" y="776099"/>
                  </a:lnTo>
                  <a:cubicBezTo>
                    <a:pt x="1070639" y="776099"/>
                    <a:pt x="1073246" y="781638"/>
                    <a:pt x="1073246" y="781638"/>
                  </a:cubicBezTo>
                  <a:lnTo>
                    <a:pt x="1072594" y="789946"/>
                  </a:lnTo>
                  <a:lnTo>
                    <a:pt x="1074223" y="791738"/>
                  </a:lnTo>
                  <a:lnTo>
                    <a:pt x="1077155" y="787177"/>
                  </a:lnTo>
                  <a:lnTo>
                    <a:pt x="1075852" y="773330"/>
                  </a:lnTo>
                  <a:lnTo>
                    <a:pt x="1072594" y="766976"/>
                  </a:lnTo>
                  <a:lnTo>
                    <a:pt x="1070802" y="766976"/>
                  </a:lnTo>
                  <a:close/>
                  <a:moveTo>
                    <a:pt x="1063634" y="757365"/>
                  </a:moveTo>
                  <a:lnTo>
                    <a:pt x="1066078" y="762741"/>
                  </a:lnTo>
                  <a:lnTo>
                    <a:pt x="1068847" y="764044"/>
                  </a:lnTo>
                  <a:lnTo>
                    <a:pt x="1068847" y="759971"/>
                  </a:lnTo>
                  <a:cubicBezTo>
                    <a:pt x="1068847" y="759971"/>
                    <a:pt x="1065589" y="756550"/>
                    <a:pt x="1065589" y="756550"/>
                  </a:cubicBezTo>
                  <a:lnTo>
                    <a:pt x="1063634" y="757365"/>
                  </a:lnTo>
                  <a:lnTo>
                    <a:pt x="1063634" y="757365"/>
                  </a:lnTo>
                  <a:close/>
                  <a:moveTo>
                    <a:pt x="598039" y="911477"/>
                  </a:moveTo>
                  <a:lnTo>
                    <a:pt x="599994" y="910499"/>
                  </a:lnTo>
                  <a:lnTo>
                    <a:pt x="600646" y="906589"/>
                  </a:lnTo>
                  <a:lnTo>
                    <a:pt x="598039" y="905123"/>
                  </a:lnTo>
                  <a:lnTo>
                    <a:pt x="598039" y="911314"/>
                  </a:lnTo>
                  <a:lnTo>
                    <a:pt x="597876" y="911314"/>
                  </a:lnTo>
                  <a:close/>
                  <a:moveTo>
                    <a:pt x="622964" y="932166"/>
                  </a:moveTo>
                  <a:cubicBezTo>
                    <a:pt x="622964" y="932166"/>
                    <a:pt x="626060" y="928256"/>
                    <a:pt x="626060" y="928256"/>
                  </a:cubicBezTo>
                  <a:lnTo>
                    <a:pt x="621987" y="929071"/>
                  </a:lnTo>
                  <a:lnTo>
                    <a:pt x="622964" y="932166"/>
                  </a:lnTo>
                  <a:lnTo>
                    <a:pt x="622964" y="932166"/>
                  </a:lnTo>
                  <a:close/>
                  <a:moveTo>
                    <a:pt x="618566" y="924509"/>
                  </a:moveTo>
                  <a:lnTo>
                    <a:pt x="617589" y="918808"/>
                  </a:lnTo>
                  <a:lnTo>
                    <a:pt x="609443" y="914572"/>
                  </a:lnTo>
                  <a:lnTo>
                    <a:pt x="606185" y="911151"/>
                  </a:lnTo>
                  <a:lnTo>
                    <a:pt x="605044" y="913757"/>
                  </a:lnTo>
                  <a:lnTo>
                    <a:pt x="610258" y="918808"/>
                  </a:lnTo>
                  <a:lnTo>
                    <a:pt x="618566" y="924672"/>
                  </a:lnTo>
                  <a:lnTo>
                    <a:pt x="618566" y="924672"/>
                  </a:lnTo>
                  <a:close/>
                  <a:moveTo>
                    <a:pt x="631599" y="899910"/>
                  </a:moveTo>
                  <a:lnTo>
                    <a:pt x="634205" y="894860"/>
                  </a:lnTo>
                  <a:lnTo>
                    <a:pt x="632902" y="886714"/>
                  </a:lnTo>
                  <a:lnTo>
                    <a:pt x="623453" y="880850"/>
                  </a:lnTo>
                  <a:lnTo>
                    <a:pt x="617589" y="874170"/>
                  </a:lnTo>
                  <a:lnTo>
                    <a:pt x="612375" y="873682"/>
                  </a:lnTo>
                  <a:lnTo>
                    <a:pt x="606837" y="867980"/>
                  </a:lnTo>
                  <a:lnTo>
                    <a:pt x="601460" y="865048"/>
                  </a:lnTo>
                  <a:lnTo>
                    <a:pt x="599832" y="861626"/>
                  </a:lnTo>
                  <a:lnTo>
                    <a:pt x="593315" y="856902"/>
                  </a:lnTo>
                  <a:lnTo>
                    <a:pt x="589894" y="856902"/>
                  </a:lnTo>
                  <a:cubicBezTo>
                    <a:pt x="589894" y="856902"/>
                    <a:pt x="587125" y="858857"/>
                    <a:pt x="587125" y="858857"/>
                  </a:cubicBezTo>
                  <a:lnTo>
                    <a:pt x="587450" y="861626"/>
                  </a:lnTo>
                  <a:lnTo>
                    <a:pt x="584029" y="864559"/>
                  </a:lnTo>
                  <a:lnTo>
                    <a:pt x="586962" y="868795"/>
                  </a:lnTo>
                  <a:lnTo>
                    <a:pt x="591197" y="869609"/>
                  </a:lnTo>
                  <a:lnTo>
                    <a:pt x="590220" y="872053"/>
                  </a:lnTo>
                  <a:lnTo>
                    <a:pt x="587613" y="873030"/>
                  </a:lnTo>
                  <a:lnTo>
                    <a:pt x="583866" y="869935"/>
                  </a:lnTo>
                  <a:lnTo>
                    <a:pt x="581912" y="870261"/>
                  </a:lnTo>
                  <a:lnTo>
                    <a:pt x="583703" y="874496"/>
                  </a:lnTo>
                  <a:lnTo>
                    <a:pt x="592501" y="884434"/>
                  </a:lnTo>
                  <a:lnTo>
                    <a:pt x="597551" y="887203"/>
                  </a:lnTo>
                  <a:lnTo>
                    <a:pt x="600809" y="891765"/>
                  </a:lnTo>
                  <a:lnTo>
                    <a:pt x="603253" y="892091"/>
                  </a:lnTo>
                  <a:lnTo>
                    <a:pt x="603578" y="886389"/>
                  </a:lnTo>
                  <a:lnTo>
                    <a:pt x="607325" y="888018"/>
                  </a:lnTo>
                  <a:lnTo>
                    <a:pt x="611724" y="887529"/>
                  </a:lnTo>
                  <a:lnTo>
                    <a:pt x="613190" y="889484"/>
                  </a:lnTo>
                  <a:lnTo>
                    <a:pt x="614819" y="895674"/>
                  </a:lnTo>
                  <a:lnTo>
                    <a:pt x="613842" y="897955"/>
                  </a:lnTo>
                  <a:lnTo>
                    <a:pt x="616774" y="900888"/>
                  </a:lnTo>
                  <a:lnTo>
                    <a:pt x="623453" y="902028"/>
                  </a:lnTo>
                  <a:lnTo>
                    <a:pt x="626060" y="898607"/>
                  </a:lnTo>
                  <a:lnTo>
                    <a:pt x="631436" y="900073"/>
                  </a:lnTo>
                  <a:lnTo>
                    <a:pt x="631436" y="900073"/>
                  </a:lnTo>
                  <a:close/>
                  <a:moveTo>
                    <a:pt x="753292" y="682589"/>
                  </a:moveTo>
                  <a:lnTo>
                    <a:pt x="755247" y="682915"/>
                  </a:lnTo>
                  <a:lnTo>
                    <a:pt x="754107" y="679983"/>
                  </a:lnTo>
                  <a:lnTo>
                    <a:pt x="754432" y="677050"/>
                  </a:lnTo>
                  <a:lnTo>
                    <a:pt x="757365" y="676725"/>
                  </a:lnTo>
                  <a:lnTo>
                    <a:pt x="759482" y="681449"/>
                  </a:lnTo>
                  <a:lnTo>
                    <a:pt x="762252" y="680309"/>
                  </a:lnTo>
                  <a:lnTo>
                    <a:pt x="764207" y="681286"/>
                  </a:lnTo>
                  <a:lnTo>
                    <a:pt x="767954" y="680309"/>
                  </a:lnTo>
                  <a:lnTo>
                    <a:pt x="769746" y="676073"/>
                  </a:lnTo>
                  <a:lnTo>
                    <a:pt x="774470" y="671837"/>
                  </a:lnTo>
                  <a:lnTo>
                    <a:pt x="779520" y="670045"/>
                  </a:lnTo>
                  <a:lnTo>
                    <a:pt x="780172" y="667439"/>
                  </a:lnTo>
                  <a:lnTo>
                    <a:pt x="777565" y="662063"/>
                  </a:lnTo>
                  <a:lnTo>
                    <a:pt x="770723" y="658479"/>
                  </a:lnTo>
                  <a:lnTo>
                    <a:pt x="769746" y="654569"/>
                  </a:lnTo>
                  <a:lnTo>
                    <a:pt x="765347" y="649030"/>
                  </a:lnTo>
                  <a:lnTo>
                    <a:pt x="762415" y="647238"/>
                  </a:lnTo>
                  <a:lnTo>
                    <a:pt x="758668" y="648867"/>
                  </a:lnTo>
                  <a:lnTo>
                    <a:pt x="754107" y="653266"/>
                  </a:lnTo>
                  <a:lnTo>
                    <a:pt x="750034" y="653592"/>
                  </a:lnTo>
                  <a:lnTo>
                    <a:pt x="744983" y="657990"/>
                  </a:lnTo>
                  <a:lnTo>
                    <a:pt x="745309" y="661900"/>
                  </a:lnTo>
                  <a:lnTo>
                    <a:pt x="748567" y="666624"/>
                  </a:lnTo>
                  <a:lnTo>
                    <a:pt x="749219" y="671512"/>
                  </a:lnTo>
                  <a:lnTo>
                    <a:pt x="748567" y="678680"/>
                  </a:lnTo>
                  <a:lnTo>
                    <a:pt x="752966" y="682426"/>
                  </a:lnTo>
                  <a:lnTo>
                    <a:pt x="752966" y="682426"/>
                  </a:lnTo>
                  <a:close/>
                  <a:moveTo>
                    <a:pt x="768768" y="897792"/>
                  </a:moveTo>
                  <a:cubicBezTo>
                    <a:pt x="768768" y="897792"/>
                    <a:pt x="769908" y="900073"/>
                    <a:pt x="769908" y="900073"/>
                  </a:cubicBezTo>
                  <a:lnTo>
                    <a:pt x="773492" y="901213"/>
                  </a:lnTo>
                  <a:lnTo>
                    <a:pt x="776425" y="897629"/>
                  </a:lnTo>
                  <a:lnTo>
                    <a:pt x="775936" y="893720"/>
                  </a:lnTo>
                  <a:lnTo>
                    <a:pt x="773492" y="890950"/>
                  </a:lnTo>
                  <a:lnTo>
                    <a:pt x="770398" y="892905"/>
                  </a:lnTo>
                  <a:lnTo>
                    <a:pt x="770398" y="895349"/>
                  </a:lnTo>
                  <a:lnTo>
                    <a:pt x="769094" y="897629"/>
                  </a:lnTo>
                  <a:lnTo>
                    <a:pt x="769094" y="897629"/>
                  </a:lnTo>
                  <a:close/>
                  <a:moveTo>
                    <a:pt x="864559" y="1019323"/>
                  </a:moveTo>
                  <a:lnTo>
                    <a:pt x="864885" y="1021603"/>
                  </a:lnTo>
                  <a:lnTo>
                    <a:pt x="868306" y="1022581"/>
                  </a:lnTo>
                  <a:lnTo>
                    <a:pt x="868632" y="1025676"/>
                  </a:lnTo>
                  <a:lnTo>
                    <a:pt x="874333" y="1029260"/>
                  </a:lnTo>
                  <a:lnTo>
                    <a:pt x="879546" y="1027468"/>
                  </a:lnTo>
                  <a:lnTo>
                    <a:pt x="881501" y="1025187"/>
                  </a:lnTo>
                  <a:lnTo>
                    <a:pt x="879546" y="1020463"/>
                  </a:lnTo>
                  <a:lnTo>
                    <a:pt x="875474" y="1019323"/>
                  </a:lnTo>
                  <a:lnTo>
                    <a:pt x="871564" y="1020463"/>
                  </a:lnTo>
                  <a:lnTo>
                    <a:pt x="867980" y="1019160"/>
                  </a:lnTo>
                  <a:lnTo>
                    <a:pt x="864559" y="1019160"/>
                  </a:lnTo>
                  <a:close/>
                  <a:moveTo>
                    <a:pt x="847128" y="679657"/>
                  </a:moveTo>
                  <a:lnTo>
                    <a:pt x="846150" y="674607"/>
                  </a:lnTo>
                  <a:lnTo>
                    <a:pt x="843544" y="671837"/>
                  </a:lnTo>
                  <a:lnTo>
                    <a:pt x="843544" y="668253"/>
                  </a:lnTo>
                  <a:cubicBezTo>
                    <a:pt x="843544" y="668253"/>
                    <a:pt x="846150" y="665973"/>
                    <a:pt x="846150" y="665973"/>
                  </a:cubicBezTo>
                  <a:lnTo>
                    <a:pt x="844521" y="662552"/>
                  </a:lnTo>
                  <a:lnTo>
                    <a:pt x="839960" y="661248"/>
                  </a:lnTo>
                  <a:lnTo>
                    <a:pt x="836050" y="663203"/>
                  </a:lnTo>
                  <a:lnTo>
                    <a:pt x="834583" y="671837"/>
                  </a:lnTo>
                  <a:lnTo>
                    <a:pt x="836376" y="675421"/>
                  </a:lnTo>
                  <a:lnTo>
                    <a:pt x="840611" y="675910"/>
                  </a:lnTo>
                  <a:lnTo>
                    <a:pt x="843381" y="679168"/>
                  </a:lnTo>
                  <a:lnTo>
                    <a:pt x="847128" y="679168"/>
                  </a:lnTo>
                  <a:close/>
                  <a:moveTo>
                    <a:pt x="838493" y="642514"/>
                  </a:moveTo>
                  <a:lnTo>
                    <a:pt x="843055" y="637626"/>
                  </a:lnTo>
                  <a:lnTo>
                    <a:pt x="846150" y="639093"/>
                  </a:lnTo>
                  <a:lnTo>
                    <a:pt x="850712" y="635834"/>
                  </a:lnTo>
                  <a:lnTo>
                    <a:pt x="849734" y="633065"/>
                  </a:lnTo>
                  <a:lnTo>
                    <a:pt x="850549" y="630296"/>
                  </a:lnTo>
                  <a:lnTo>
                    <a:pt x="853318" y="628666"/>
                  </a:lnTo>
                  <a:lnTo>
                    <a:pt x="852015" y="627363"/>
                  </a:lnTo>
                  <a:lnTo>
                    <a:pt x="848268" y="627689"/>
                  </a:lnTo>
                  <a:lnTo>
                    <a:pt x="841263" y="632902"/>
                  </a:lnTo>
                  <a:lnTo>
                    <a:pt x="838493" y="638767"/>
                  </a:lnTo>
                  <a:lnTo>
                    <a:pt x="838493" y="642677"/>
                  </a:lnTo>
                  <a:lnTo>
                    <a:pt x="838656" y="642677"/>
                  </a:lnTo>
                  <a:close/>
                  <a:moveTo>
                    <a:pt x="860812" y="648378"/>
                  </a:moveTo>
                  <a:lnTo>
                    <a:pt x="866025" y="652940"/>
                  </a:lnTo>
                  <a:lnTo>
                    <a:pt x="872704" y="653917"/>
                  </a:lnTo>
                  <a:lnTo>
                    <a:pt x="876125" y="653103"/>
                  </a:lnTo>
                  <a:lnTo>
                    <a:pt x="876125" y="650170"/>
                  </a:lnTo>
                  <a:cubicBezTo>
                    <a:pt x="876125" y="650170"/>
                    <a:pt x="868632" y="649193"/>
                    <a:pt x="868632" y="649193"/>
                  </a:cubicBezTo>
                  <a:lnTo>
                    <a:pt x="863907" y="647238"/>
                  </a:lnTo>
                  <a:lnTo>
                    <a:pt x="860975" y="648541"/>
                  </a:lnTo>
                  <a:lnTo>
                    <a:pt x="860975" y="648541"/>
                  </a:lnTo>
                  <a:close/>
                  <a:moveTo>
                    <a:pt x="910010" y="685033"/>
                  </a:moveTo>
                  <a:lnTo>
                    <a:pt x="910499" y="689920"/>
                  </a:lnTo>
                  <a:lnTo>
                    <a:pt x="907241" y="694482"/>
                  </a:lnTo>
                  <a:lnTo>
                    <a:pt x="904308" y="696600"/>
                  </a:lnTo>
                  <a:lnTo>
                    <a:pt x="903494" y="701324"/>
                  </a:lnTo>
                  <a:lnTo>
                    <a:pt x="905938" y="704582"/>
                  </a:lnTo>
                  <a:lnTo>
                    <a:pt x="908707" y="704093"/>
                  </a:lnTo>
                  <a:lnTo>
                    <a:pt x="913757" y="699695"/>
                  </a:lnTo>
                  <a:lnTo>
                    <a:pt x="917016" y="698066"/>
                  </a:lnTo>
                  <a:lnTo>
                    <a:pt x="920599" y="692364"/>
                  </a:lnTo>
                  <a:lnTo>
                    <a:pt x="924672" y="690572"/>
                  </a:lnTo>
                  <a:lnTo>
                    <a:pt x="929071" y="684870"/>
                  </a:lnTo>
                  <a:lnTo>
                    <a:pt x="928582" y="680960"/>
                  </a:lnTo>
                  <a:lnTo>
                    <a:pt x="926139" y="679494"/>
                  </a:lnTo>
                  <a:lnTo>
                    <a:pt x="920925" y="678842"/>
                  </a:lnTo>
                  <a:lnTo>
                    <a:pt x="913432" y="680797"/>
                  </a:lnTo>
                  <a:lnTo>
                    <a:pt x="910010" y="685033"/>
                  </a:lnTo>
                  <a:lnTo>
                    <a:pt x="910010" y="685033"/>
                  </a:lnTo>
                  <a:close/>
                  <a:moveTo>
                    <a:pt x="928419" y="638441"/>
                  </a:moveTo>
                  <a:lnTo>
                    <a:pt x="924021" y="644306"/>
                  </a:lnTo>
                  <a:lnTo>
                    <a:pt x="922717" y="652451"/>
                  </a:lnTo>
                  <a:lnTo>
                    <a:pt x="919622" y="658642"/>
                  </a:lnTo>
                  <a:lnTo>
                    <a:pt x="920274" y="662389"/>
                  </a:lnTo>
                  <a:lnTo>
                    <a:pt x="926139" y="663366"/>
                  </a:lnTo>
                  <a:lnTo>
                    <a:pt x="928093" y="665973"/>
                  </a:lnTo>
                  <a:lnTo>
                    <a:pt x="933307" y="666461"/>
                  </a:lnTo>
                  <a:lnTo>
                    <a:pt x="937542" y="668253"/>
                  </a:lnTo>
                  <a:lnTo>
                    <a:pt x="941778" y="666787"/>
                  </a:lnTo>
                  <a:lnTo>
                    <a:pt x="941778" y="663529"/>
                  </a:lnTo>
                  <a:cubicBezTo>
                    <a:pt x="941778" y="663529"/>
                    <a:pt x="937868" y="656198"/>
                    <a:pt x="937868" y="656198"/>
                  </a:cubicBezTo>
                  <a:lnTo>
                    <a:pt x="936728" y="649193"/>
                  </a:lnTo>
                  <a:lnTo>
                    <a:pt x="930863" y="643980"/>
                  </a:lnTo>
                  <a:lnTo>
                    <a:pt x="928256" y="638441"/>
                  </a:lnTo>
                  <a:lnTo>
                    <a:pt x="928256" y="638441"/>
                  </a:lnTo>
                  <a:close/>
                  <a:moveTo>
                    <a:pt x="893394" y="552914"/>
                  </a:moveTo>
                  <a:lnTo>
                    <a:pt x="892090" y="548678"/>
                  </a:lnTo>
                  <a:lnTo>
                    <a:pt x="892416" y="545583"/>
                  </a:lnTo>
                  <a:lnTo>
                    <a:pt x="888832" y="544117"/>
                  </a:lnTo>
                  <a:lnTo>
                    <a:pt x="883456" y="545094"/>
                  </a:lnTo>
                  <a:lnTo>
                    <a:pt x="882316" y="547538"/>
                  </a:lnTo>
                  <a:lnTo>
                    <a:pt x="884923" y="549330"/>
                  </a:lnTo>
                  <a:lnTo>
                    <a:pt x="885900" y="553077"/>
                  </a:lnTo>
                  <a:lnTo>
                    <a:pt x="889973" y="555031"/>
                  </a:lnTo>
                  <a:lnTo>
                    <a:pt x="893394" y="552914"/>
                  </a:lnTo>
                  <a:lnTo>
                    <a:pt x="893394" y="552914"/>
                  </a:lnTo>
                  <a:close/>
                  <a:moveTo>
                    <a:pt x="908707" y="488890"/>
                  </a:moveTo>
                  <a:lnTo>
                    <a:pt x="906426" y="487913"/>
                  </a:lnTo>
                  <a:lnTo>
                    <a:pt x="904308" y="485469"/>
                  </a:lnTo>
                  <a:lnTo>
                    <a:pt x="904798" y="495081"/>
                  </a:lnTo>
                  <a:lnTo>
                    <a:pt x="908055" y="496221"/>
                  </a:lnTo>
                  <a:lnTo>
                    <a:pt x="910662" y="493941"/>
                  </a:lnTo>
                  <a:lnTo>
                    <a:pt x="912617" y="495407"/>
                  </a:lnTo>
                  <a:lnTo>
                    <a:pt x="913106" y="500783"/>
                  </a:lnTo>
                  <a:lnTo>
                    <a:pt x="915549" y="503715"/>
                  </a:lnTo>
                  <a:lnTo>
                    <a:pt x="916038" y="498665"/>
                  </a:lnTo>
                  <a:lnTo>
                    <a:pt x="914409" y="492963"/>
                  </a:lnTo>
                  <a:lnTo>
                    <a:pt x="917830" y="490682"/>
                  </a:lnTo>
                  <a:lnTo>
                    <a:pt x="917830" y="487750"/>
                  </a:lnTo>
                  <a:lnTo>
                    <a:pt x="914246" y="484329"/>
                  </a:lnTo>
                  <a:lnTo>
                    <a:pt x="914246" y="481071"/>
                  </a:lnTo>
                  <a:lnTo>
                    <a:pt x="912943" y="476835"/>
                  </a:lnTo>
                  <a:lnTo>
                    <a:pt x="909359" y="479116"/>
                  </a:lnTo>
                  <a:lnTo>
                    <a:pt x="907078" y="479116"/>
                  </a:lnTo>
                  <a:lnTo>
                    <a:pt x="905449" y="481234"/>
                  </a:lnTo>
                  <a:lnTo>
                    <a:pt x="909196" y="485143"/>
                  </a:lnTo>
                  <a:lnTo>
                    <a:pt x="908381" y="488890"/>
                  </a:lnTo>
                  <a:lnTo>
                    <a:pt x="908381" y="488890"/>
                  </a:lnTo>
                  <a:close/>
                  <a:moveTo>
                    <a:pt x="900725" y="458589"/>
                  </a:moveTo>
                  <a:lnTo>
                    <a:pt x="894208" y="456960"/>
                  </a:lnTo>
                  <a:lnTo>
                    <a:pt x="892416" y="453865"/>
                  </a:lnTo>
                  <a:lnTo>
                    <a:pt x="889321" y="452887"/>
                  </a:lnTo>
                  <a:lnTo>
                    <a:pt x="887040" y="455005"/>
                  </a:lnTo>
                  <a:lnTo>
                    <a:pt x="887692" y="458263"/>
                  </a:lnTo>
                  <a:lnTo>
                    <a:pt x="893557" y="460870"/>
                  </a:lnTo>
                  <a:lnTo>
                    <a:pt x="898607" y="461196"/>
                  </a:lnTo>
                  <a:lnTo>
                    <a:pt x="900562" y="458589"/>
                  </a:lnTo>
                  <a:lnTo>
                    <a:pt x="900562" y="458589"/>
                  </a:lnTo>
                  <a:close/>
                  <a:moveTo>
                    <a:pt x="901539" y="453376"/>
                  </a:moveTo>
                  <a:cubicBezTo>
                    <a:pt x="901539" y="453376"/>
                    <a:pt x="903820" y="454517"/>
                    <a:pt x="903820" y="454517"/>
                  </a:cubicBezTo>
                  <a:lnTo>
                    <a:pt x="909685" y="453539"/>
                  </a:lnTo>
                  <a:lnTo>
                    <a:pt x="913432" y="453865"/>
                  </a:lnTo>
                  <a:lnTo>
                    <a:pt x="917993" y="452073"/>
                  </a:lnTo>
                  <a:lnTo>
                    <a:pt x="918644" y="450118"/>
                  </a:lnTo>
                  <a:lnTo>
                    <a:pt x="910825" y="448978"/>
                  </a:lnTo>
                  <a:lnTo>
                    <a:pt x="907404" y="446860"/>
                  </a:lnTo>
                  <a:lnTo>
                    <a:pt x="904308" y="447837"/>
                  </a:lnTo>
                  <a:lnTo>
                    <a:pt x="901539" y="453539"/>
                  </a:lnTo>
                  <a:lnTo>
                    <a:pt x="901539" y="453539"/>
                  </a:lnTo>
                  <a:close/>
                  <a:moveTo>
                    <a:pt x="959535" y="576535"/>
                  </a:moveTo>
                  <a:lnTo>
                    <a:pt x="963444" y="570834"/>
                  </a:lnTo>
                  <a:lnTo>
                    <a:pt x="961490" y="568553"/>
                  </a:lnTo>
                  <a:lnTo>
                    <a:pt x="957091" y="568879"/>
                  </a:lnTo>
                  <a:lnTo>
                    <a:pt x="953833" y="571811"/>
                  </a:lnTo>
                  <a:lnTo>
                    <a:pt x="955625" y="576047"/>
                  </a:lnTo>
                  <a:lnTo>
                    <a:pt x="959372" y="576698"/>
                  </a:lnTo>
                  <a:lnTo>
                    <a:pt x="959372" y="576698"/>
                  </a:lnTo>
                  <a:close/>
                  <a:moveTo>
                    <a:pt x="974685" y="572463"/>
                  </a:moveTo>
                  <a:lnTo>
                    <a:pt x="978107" y="569367"/>
                  </a:lnTo>
                  <a:lnTo>
                    <a:pt x="979084" y="566109"/>
                  </a:lnTo>
                  <a:lnTo>
                    <a:pt x="973708" y="565132"/>
                  </a:lnTo>
                  <a:lnTo>
                    <a:pt x="971427" y="566924"/>
                  </a:lnTo>
                  <a:lnTo>
                    <a:pt x="967517" y="568553"/>
                  </a:lnTo>
                  <a:lnTo>
                    <a:pt x="969309" y="570834"/>
                  </a:lnTo>
                  <a:lnTo>
                    <a:pt x="974685" y="572626"/>
                  </a:lnTo>
                  <a:lnTo>
                    <a:pt x="974685" y="572626"/>
                  </a:lnTo>
                  <a:close/>
                  <a:moveTo>
                    <a:pt x="997330" y="575884"/>
                  </a:moveTo>
                  <a:lnTo>
                    <a:pt x="999610" y="574255"/>
                  </a:lnTo>
                  <a:lnTo>
                    <a:pt x="994560" y="571648"/>
                  </a:lnTo>
                  <a:lnTo>
                    <a:pt x="988207" y="574092"/>
                  </a:lnTo>
                  <a:lnTo>
                    <a:pt x="990162" y="575558"/>
                  </a:lnTo>
                  <a:lnTo>
                    <a:pt x="997330" y="575884"/>
                  </a:lnTo>
                  <a:lnTo>
                    <a:pt x="997330" y="575884"/>
                  </a:lnTo>
                  <a:close/>
                  <a:moveTo>
                    <a:pt x="1034147" y="564154"/>
                  </a:moveTo>
                  <a:lnTo>
                    <a:pt x="1036265" y="570508"/>
                  </a:lnTo>
                  <a:lnTo>
                    <a:pt x="1038872" y="571811"/>
                  </a:lnTo>
                  <a:lnTo>
                    <a:pt x="1041152" y="569042"/>
                  </a:lnTo>
                  <a:lnTo>
                    <a:pt x="1038057" y="565783"/>
                  </a:lnTo>
                  <a:lnTo>
                    <a:pt x="1034147" y="564154"/>
                  </a:lnTo>
                  <a:lnTo>
                    <a:pt x="1034147" y="564154"/>
                  </a:lnTo>
                  <a:close/>
                  <a:moveTo>
                    <a:pt x="1012806" y="560570"/>
                  </a:moveTo>
                  <a:lnTo>
                    <a:pt x="1018345" y="560245"/>
                  </a:lnTo>
                  <a:lnTo>
                    <a:pt x="1021278" y="556335"/>
                  </a:lnTo>
                  <a:lnTo>
                    <a:pt x="1016879" y="554706"/>
                  </a:lnTo>
                  <a:lnTo>
                    <a:pt x="1013783" y="555683"/>
                  </a:lnTo>
                  <a:lnTo>
                    <a:pt x="1014272" y="558127"/>
                  </a:lnTo>
                  <a:lnTo>
                    <a:pt x="1012806" y="560570"/>
                  </a:lnTo>
                  <a:lnTo>
                    <a:pt x="1012806" y="560570"/>
                  </a:lnTo>
                  <a:close/>
                  <a:moveTo>
                    <a:pt x="996189" y="538741"/>
                  </a:moveTo>
                  <a:lnTo>
                    <a:pt x="996189" y="536460"/>
                  </a:lnTo>
                  <a:cubicBezTo>
                    <a:pt x="996189" y="536460"/>
                    <a:pt x="993420" y="536134"/>
                    <a:pt x="993420" y="536134"/>
                  </a:cubicBezTo>
                  <a:lnTo>
                    <a:pt x="987392" y="540696"/>
                  </a:lnTo>
                  <a:lnTo>
                    <a:pt x="987392" y="543628"/>
                  </a:lnTo>
                  <a:cubicBezTo>
                    <a:pt x="987392" y="543628"/>
                    <a:pt x="992117" y="545746"/>
                    <a:pt x="992117" y="545746"/>
                  </a:cubicBezTo>
                  <a:lnTo>
                    <a:pt x="993257" y="543954"/>
                  </a:lnTo>
                  <a:lnTo>
                    <a:pt x="992280" y="542162"/>
                  </a:lnTo>
                  <a:lnTo>
                    <a:pt x="992931" y="540696"/>
                  </a:lnTo>
                  <a:lnTo>
                    <a:pt x="996189" y="538903"/>
                  </a:lnTo>
                  <a:lnTo>
                    <a:pt x="996189" y="538903"/>
                  </a:lnTo>
                  <a:close/>
                  <a:moveTo>
                    <a:pt x="1009548" y="535157"/>
                  </a:moveTo>
                  <a:lnTo>
                    <a:pt x="1008571" y="532061"/>
                  </a:lnTo>
                  <a:lnTo>
                    <a:pt x="1003194" y="531735"/>
                  </a:lnTo>
                  <a:lnTo>
                    <a:pt x="1001728" y="534016"/>
                  </a:lnTo>
                  <a:lnTo>
                    <a:pt x="1002706" y="538415"/>
                  </a:lnTo>
                  <a:lnTo>
                    <a:pt x="1006453" y="538415"/>
                  </a:lnTo>
                  <a:cubicBezTo>
                    <a:pt x="1006453" y="538415"/>
                    <a:pt x="1009222" y="536786"/>
                    <a:pt x="1009222" y="536786"/>
                  </a:cubicBezTo>
                  <a:lnTo>
                    <a:pt x="1009711" y="535157"/>
                  </a:lnTo>
                  <a:lnTo>
                    <a:pt x="1009711" y="535157"/>
                  </a:lnTo>
                  <a:close/>
                  <a:moveTo>
                    <a:pt x="1011666" y="537600"/>
                  </a:moveTo>
                  <a:lnTo>
                    <a:pt x="1012806" y="538741"/>
                  </a:lnTo>
                  <a:lnTo>
                    <a:pt x="1014761" y="537926"/>
                  </a:lnTo>
                  <a:lnTo>
                    <a:pt x="1019485" y="533853"/>
                  </a:lnTo>
                  <a:lnTo>
                    <a:pt x="1019811" y="530432"/>
                  </a:lnTo>
                  <a:lnTo>
                    <a:pt x="1017367" y="527500"/>
                  </a:lnTo>
                  <a:lnTo>
                    <a:pt x="1012806" y="527500"/>
                  </a:lnTo>
                  <a:cubicBezTo>
                    <a:pt x="1012806" y="527500"/>
                    <a:pt x="1012317" y="531410"/>
                    <a:pt x="1012317" y="531410"/>
                  </a:cubicBezTo>
                  <a:lnTo>
                    <a:pt x="1013132" y="534342"/>
                  </a:lnTo>
                  <a:lnTo>
                    <a:pt x="1011503" y="537437"/>
                  </a:lnTo>
                  <a:lnTo>
                    <a:pt x="1011503" y="537437"/>
                  </a:lnTo>
                  <a:close/>
                  <a:moveTo>
                    <a:pt x="996352" y="522287"/>
                  </a:moveTo>
                  <a:lnTo>
                    <a:pt x="1000099" y="517399"/>
                  </a:lnTo>
                  <a:lnTo>
                    <a:pt x="998959" y="515445"/>
                  </a:lnTo>
                  <a:lnTo>
                    <a:pt x="995701" y="514467"/>
                  </a:lnTo>
                  <a:lnTo>
                    <a:pt x="991954" y="516096"/>
                  </a:lnTo>
                  <a:lnTo>
                    <a:pt x="987718" y="517074"/>
                  </a:lnTo>
                  <a:lnTo>
                    <a:pt x="988044" y="518540"/>
                  </a:lnTo>
                  <a:lnTo>
                    <a:pt x="994398" y="520495"/>
                  </a:lnTo>
                  <a:lnTo>
                    <a:pt x="996678" y="522450"/>
                  </a:lnTo>
                  <a:lnTo>
                    <a:pt x="996678" y="522450"/>
                  </a:lnTo>
                  <a:close/>
                  <a:moveTo>
                    <a:pt x="1020463" y="510394"/>
                  </a:moveTo>
                  <a:lnTo>
                    <a:pt x="1022744" y="509417"/>
                  </a:lnTo>
                  <a:lnTo>
                    <a:pt x="1022418" y="507625"/>
                  </a:lnTo>
                  <a:lnTo>
                    <a:pt x="1020463" y="504693"/>
                  </a:lnTo>
                  <a:lnTo>
                    <a:pt x="1024373" y="503878"/>
                  </a:lnTo>
                  <a:lnTo>
                    <a:pt x="1024698" y="501760"/>
                  </a:lnTo>
                  <a:lnTo>
                    <a:pt x="1021440" y="498013"/>
                  </a:lnTo>
                  <a:lnTo>
                    <a:pt x="1015250" y="497199"/>
                  </a:lnTo>
                  <a:lnTo>
                    <a:pt x="1012643" y="498828"/>
                  </a:lnTo>
                  <a:lnTo>
                    <a:pt x="1013132" y="502086"/>
                  </a:lnTo>
                  <a:lnTo>
                    <a:pt x="1011829" y="502412"/>
                  </a:lnTo>
                  <a:lnTo>
                    <a:pt x="1008082" y="500131"/>
                  </a:lnTo>
                  <a:lnTo>
                    <a:pt x="1006616" y="501109"/>
                  </a:lnTo>
                  <a:lnTo>
                    <a:pt x="1009059" y="505507"/>
                  </a:lnTo>
                  <a:lnTo>
                    <a:pt x="1011992" y="507299"/>
                  </a:lnTo>
                  <a:lnTo>
                    <a:pt x="1017042" y="507299"/>
                  </a:lnTo>
                  <a:cubicBezTo>
                    <a:pt x="1017042" y="507299"/>
                    <a:pt x="1020789" y="510069"/>
                    <a:pt x="1020789" y="510069"/>
                  </a:cubicBezTo>
                  <a:lnTo>
                    <a:pt x="1020789" y="510069"/>
                  </a:lnTo>
                  <a:close/>
                  <a:moveTo>
                    <a:pt x="1002054" y="290304"/>
                  </a:moveTo>
                  <a:lnTo>
                    <a:pt x="1004498" y="289815"/>
                  </a:lnTo>
                  <a:lnTo>
                    <a:pt x="1004498" y="286394"/>
                  </a:lnTo>
                  <a:cubicBezTo>
                    <a:pt x="1004498" y="286394"/>
                    <a:pt x="1000751" y="284928"/>
                    <a:pt x="1000751" y="284928"/>
                  </a:cubicBezTo>
                  <a:lnTo>
                    <a:pt x="998633" y="286394"/>
                  </a:lnTo>
                  <a:lnTo>
                    <a:pt x="1002054" y="290467"/>
                  </a:lnTo>
                  <a:lnTo>
                    <a:pt x="1002054" y="290467"/>
                  </a:lnTo>
                  <a:close/>
                  <a:moveTo>
                    <a:pt x="973545" y="335104"/>
                  </a:moveTo>
                  <a:lnTo>
                    <a:pt x="974523" y="338199"/>
                  </a:lnTo>
                  <a:lnTo>
                    <a:pt x="977129" y="338525"/>
                  </a:lnTo>
                  <a:lnTo>
                    <a:pt x="981690" y="336570"/>
                  </a:lnTo>
                  <a:lnTo>
                    <a:pt x="983319" y="333312"/>
                  </a:lnTo>
                  <a:lnTo>
                    <a:pt x="982831" y="326633"/>
                  </a:lnTo>
                  <a:lnTo>
                    <a:pt x="979084" y="323538"/>
                  </a:lnTo>
                  <a:lnTo>
                    <a:pt x="975826" y="323212"/>
                  </a:lnTo>
                  <a:lnTo>
                    <a:pt x="973382" y="325818"/>
                  </a:lnTo>
                  <a:lnTo>
                    <a:pt x="973871" y="330217"/>
                  </a:lnTo>
                  <a:lnTo>
                    <a:pt x="973545" y="335267"/>
                  </a:lnTo>
                  <a:lnTo>
                    <a:pt x="973545" y="335267"/>
                  </a:lnTo>
                  <a:close/>
                  <a:moveTo>
                    <a:pt x="1086930" y="325818"/>
                  </a:moveTo>
                  <a:lnTo>
                    <a:pt x="1089373" y="325818"/>
                  </a:lnTo>
                  <a:cubicBezTo>
                    <a:pt x="1089373" y="325818"/>
                    <a:pt x="1093935" y="324189"/>
                    <a:pt x="1093935" y="324189"/>
                  </a:cubicBezTo>
                  <a:lnTo>
                    <a:pt x="1097356" y="320279"/>
                  </a:lnTo>
                  <a:lnTo>
                    <a:pt x="1099637" y="319954"/>
                  </a:lnTo>
                  <a:lnTo>
                    <a:pt x="1099962" y="322234"/>
                  </a:lnTo>
                  <a:lnTo>
                    <a:pt x="1098333" y="325004"/>
                  </a:lnTo>
                  <a:lnTo>
                    <a:pt x="1103546" y="321420"/>
                  </a:lnTo>
                  <a:lnTo>
                    <a:pt x="1107945" y="316370"/>
                  </a:lnTo>
                  <a:lnTo>
                    <a:pt x="1108271" y="311971"/>
                  </a:lnTo>
                  <a:lnTo>
                    <a:pt x="1111203" y="310016"/>
                  </a:lnTo>
                  <a:lnTo>
                    <a:pt x="1111203" y="304151"/>
                  </a:lnTo>
                  <a:cubicBezTo>
                    <a:pt x="1111203" y="304151"/>
                    <a:pt x="1109248" y="302522"/>
                    <a:pt x="1109248" y="302522"/>
                  </a:cubicBezTo>
                  <a:lnTo>
                    <a:pt x="1106642" y="303663"/>
                  </a:lnTo>
                  <a:lnTo>
                    <a:pt x="1104850" y="306106"/>
                  </a:lnTo>
                  <a:lnTo>
                    <a:pt x="1100126" y="310016"/>
                  </a:lnTo>
                  <a:lnTo>
                    <a:pt x="1093935" y="313111"/>
                  </a:lnTo>
                  <a:lnTo>
                    <a:pt x="1088885" y="320116"/>
                  </a:lnTo>
                  <a:lnTo>
                    <a:pt x="1086604" y="325818"/>
                  </a:lnTo>
                  <a:lnTo>
                    <a:pt x="1086604" y="325818"/>
                  </a:lnTo>
                  <a:close/>
                  <a:moveTo>
                    <a:pt x="1137106" y="329728"/>
                  </a:moveTo>
                  <a:lnTo>
                    <a:pt x="1142645" y="328588"/>
                  </a:lnTo>
                  <a:lnTo>
                    <a:pt x="1145251" y="324841"/>
                  </a:lnTo>
                  <a:lnTo>
                    <a:pt x="1141505" y="323863"/>
                  </a:lnTo>
                  <a:lnTo>
                    <a:pt x="1137432" y="325655"/>
                  </a:lnTo>
                  <a:lnTo>
                    <a:pt x="1136128" y="328262"/>
                  </a:lnTo>
                  <a:lnTo>
                    <a:pt x="1137269" y="329728"/>
                  </a:lnTo>
                  <a:lnTo>
                    <a:pt x="1137269" y="329728"/>
                  </a:lnTo>
                  <a:close/>
                  <a:moveTo>
                    <a:pt x="1145089" y="341132"/>
                  </a:moveTo>
                  <a:lnTo>
                    <a:pt x="1147369" y="341132"/>
                  </a:lnTo>
                  <a:cubicBezTo>
                    <a:pt x="1147369" y="341132"/>
                    <a:pt x="1149487" y="339828"/>
                    <a:pt x="1149487" y="339828"/>
                  </a:cubicBezTo>
                  <a:lnTo>
                    <a:pt x="1150464" y="336896"/>
                  </a:lnTo>
                  <a:lnTo>
                    <a:pt x="1146229" y="335267"/>
                  </a:lnTo>
                  <a:lnTo>
                    <a:pt x="1143948" y="331520"/>
                  </a:lnTo>
                  <a:lnTo>
                    <a:pt x="1141993" y="331520"/>
                  </a:lnTo>
                  <a:cubicBezTo>
                    <a:pt x="1141993" y="331520"/>
                    <a:pt x="1141667" y="333475"/>
                    <a:pt x="1141667" y="333475"/>
                  </a:cubicBezTo>
                  <a:lnTo>
                    <a:pt x="1144274" y="336407"/>
                  </a:lnTo>
                  <a:lnTo>
                    <a:pt x="1145251" y="340969"/>
                  </a:lnTo>
                  <a:lnTo>
                    <a:pt x="1145251" y="340969"/>
                  </a:lnTo>
                  <a:close/>
                  <a:moveTo>
                    <a:pt x="1100777" y="353187"/>
                  </a:moveTo>
                  <a:lnTo>
                    <a:pt x="1106153" y="351232"/>
                  </a:lnTo>
                  <a:lnTo>
                    <a:pt x="1105664" y="348626"/>
                  </a:lnTo>
                  <a:lnTo>
                    <a:pt x="1102406" y="346182"/>
                  </a:lnTo>
                  <a:lnTo>
                    <a:pt x="1100126" y="349440"/>
                  </a:lnTo>
                  <a:lnTo>
                    <a:pt x="1094587" y="351395"/>
                  </a:lnTo>
                  <a:lnTo>
                    <a:pt x="1096053" y="353513"/>
                  </a:lnTo>
                  <a:lnTo>
                    <a:pt x="1100777" y="353024"/>
                  </a:lnTo>
                  <a:lnTo>
                    <a:pt x="1100777" y="353024"/>
                  </a:lnTo>
                  <a:close/>
                  <a:moveTo>
                    <a:pt x="1126028" y="354002"/>
                  </a:moveTo>
                  <a:lnTo>
                    <a:pt x="1128309" y="351558"/>
                  </a:lnTo>
                  <a:lnTo>
                    <a:pt x="1128798" y="347648"/>
                  </a:lnTo>
                  <a:lnTo>
                    <a:pt x="1127005" y="346182"/>
                  </a:lnTo>
                  <a:lnTo>
                    <a:pt x="1127331" y="340480"/>
                  </a:lnTo>
                  <a:lnTo>
                    <a:pt x="1124236" y="340480"/>
                  </a:lnTo>
                  <a:lnTo>
                    <a:pt x="1121792" y="342761"/>
                  </a:lnTo>
                  <a:lnTo>
                    <a:pt x="1120489" y="346671"/>
                  </a:lnTo>
                  <a:lnTo>
                    <a:pt x="1116253" y="349929"/>
                  </a:lnTo>
                  <a:lnTo>
                    <a:pt x="1117231" y="351721"/>
                  </a:lnTo>
                  <a:lnTo>
                    <a:pt x="1120000" y="350743"/>
                  </a:lnTo>
                  <a:lnTo>
                    <a:pt x="1123096" y="347811"/>
                  </a:lnTo>
                  <a:lnTo>
                    <a:pt x="1124888" y="349277"/>
                  </a:lnTo>
                  <a:lnTo>
                    <a:pt x="1126191" y="354002"/>
                  </a:lnTo>
                  <a:lnTo>
                    <a:pt x="1126191" y="354002"/>
                  </a:lnTo>
                  <a:close/>
                  <a:moveTo>
                    <a:pt x="1128309" y="379415"/>
                  </a:moveTo>
                  <a:lnTo>
                    <a:pt x="1132056" y="378601"/>
                  </a:lnTo>
                  <a:lnTo>
                    <a:pt x="1134662" y="381045"/>
                  </a:lnTo>
                  <a:lnTo>
                    <a:pt x="1139387" y="381045"/>
                  </a:lnTo>
                  <a:cubicBezTo>
                    <a:pt x="1139387" y="381045"/>
                    <a:pt x="1142645" y="379741"/>
                    <a:pt x="1142645" y="379741"/>
                  </a:cubicBezTo>
                  <a:lnTo>
                    <a:pt x="1147858" y="380556"/>
                  </a:lnTo>
                  <a:lnTo>
                    <a:pt x="1151767" y="379578"/>
                  </a:lnTo>
                  <a:lnTo>
                    <a:pt x="1153560" y="376320"/>
                  </a:lnTo>
                  <a:lnTo>
                    <a:pt x="1153560" y="374365"/>
                  </a:lnTo>
                  <a:lnTo>
                    <a:pt x="1151931" y="373876"/>
                  </a:lnTo>
                  <a:lnTo>
                    <a:pt x="1152908" y="371433"/>
                  </a:lnTo>
                  <a:lnTo>
                    <a:pt x="1151442" y="367034"/>
                  </a:lnTo>
                  <a:lnTo>
                    <a:pt x="1147369" y="367034"/>
                  </a:lnTo>
                  <a:cubicBezTo>
                    <a:pt x="1147369" y="367034"/>
                    <a:pt x="1144762" y="369804"/>
                    <a:pt x="1144762" y="369804"/>
                  </a:cubicBezTo>
                  <a:lnTo>
                    <a:pt x="1145577" y="372410"/>
                  </a:lnTo>
                  <a:lnTo>
                    <a:pt x="1143785" y="373388"/>
                  </a:lnTo>
                  <a:lnTo>
                    <a:pt x="1141342" y="372573"/>
                  </a:lnTo>
                  <a:lnTo>
                    <a:pt x="1139549" y="370293"/>
                  </a:lnTo>
                  <a:lnTo>
                    <a:pt x="1137594" y="370293"/>
                  </a:lnTo>
                  <a:cubicBezTo>
                    <a:pt x="1137594" y="370293"/>
                    <a:pt x="1135314" y="373225"/>
                    <a:pt x="1135314" y="373225"/>
                  </a:cubicBezTo>
                  <a:lnTo>
                    <a:pt x="1132707" y="374528"/>
                  </a:lnTo>
                  <a:lnTo>
                    <a:pt x="1128960" y="374039"/>
                  </a:lnTo>
                  <a:lnTo>
                    <a:pt x="1126680" y="377623"/>
                  </a:lnTo>
                  <a:lnTo>
                    <a:pt x="1128309" y="379578"/>
                  </a:lnTo>
                  <a:lnTo>
                    <a:pt x="1128309" y="379578"/>
                  </a:lnTo>
                  <a:close/>
                  <a:moveTo>
                    <a:pt x="669068" y="228236"/>
                  </a:moveTo>
                  <a:lnTo>
                    <a:pt x="674281" y="229213"/>
                  </a:lnTo>
                  <a:lnTo>
                    <a:pt x="678028" y="232471"/>
                  </a:lnTo>
                  <a:lnTo>
                    <a:pt x="680634" y="232471"/>
                  </a:lnTo>
                  <a:cubicBezTo>
                    <a:pt x="680634" y="232471"/>
                    <a:pt x="687802" y="229050"/>
                    <a:pt x="687802" y="229050"/>
                  </a:cubicBezTo>
                  <a:lnTo>
                    <a:pt x="688454" y="226281"/>
                  </a:lnTo>
                  <a:lnTo>
                    <a:pt x="685685" y="225140"/>
                  </a:lnTo>
                  <a:lnTo>
                    <a:pt x="679005" y="226770"/>
                  </a:lnTo>
                  <a:lnTo>
                    <a:pt x="674933" y="225466"/>
                  </a:lnTo>
                  <a:lnTo>
                    <a:pt x="671837" y="223348"/>
                  </a:lnTo>
                  <a:lnTo>
                    <a:pt x="668742" y="224163"/>
                  </a:lnTo>
                  <a:lnTo>
                    <a:pt x="667764" y="226770"/>
                  </a:lnTo>
                  <a:lnTo>
                    <a:pt x="669068" y="228399"/>
                  </a:lnTo>
                  <a:lnTo>
                    <a:pt x="669068" y="228399"/>
                  </a:lnTo>
                  <a:close/>
                  <a:moveTo>
                    <a:pt x="657012" y="119412"/>
                  </a:moveTo>
                  <a:lnTo>
                    <a:pt x="655221" y="117132"/>
                  </a:lnTo>
                  <a:lnTo>
                    <a:pt x="655221" y="113385"/>
                  </a:lnTo>
                  <a:cubicBezTo>
                    <a:pt x="655221" y="113385"/>
                    <a:pt x="661900" y="108009"/>
                    <a:pt x="661900" y="108009"/>
                  </a:cubicBezTo>
                  <a:lnTo>
                    <a:pt x="670371" y="107520"/>
                  </a:lnTo>
                  <a:lnTo>
                    <a:pt x="677539" y="109312"/>
                  </a:lnTo>
                  <a:lnTo>
                    <a:pt x="679820" y="114362"/>
                  </a:lnTo>
                  <a:lnTo>
                    <a:pt x="676887" y="118272"/>
                  </a:lnTo>
                  <a:lnTo>
                    <a:pt x="670534" y="120227"/>
                  </a:lnTo>
                  <a:lnTo>
                    <a:pt x="661085" y="120227"/>
                  </a:lnTo>
                  <a:cubicBezTo>
                    <a:pt x="661085" y="120227"/>
                    <a:pt x="657175" y="119249"/>
                    <a:pt x="657339" y="119249"/>
                  </a:cubicBezTo>
                  <a:lnTo>
                    <a:pt x="657339" y="119249"/>
                  </a:lnTo>
                  <a:close/>
                  <a:moveTo>
                    <a:pt x="816012" y="37469"/>
                  </a:moveTo>
                  <a:lnTo>
                    <a:pt x="820736" y="32419"/>
                  </a:lnTo>
                  <a:lnTo>
                    <a:pt x="823669" y="28020"/>
                  </a:lnTo>
                  <a:lnTo>
                    <a:pt x="830999" y="27369"/>
                  </a:lnTo>
                  <a:lnTo>
                    <a:pt x="837190" y="28998"/>
                  </a:lnTo>
                  <a:lnTo>
                    <a:pt x="835072" y="32256"/>
                  </a:lnTo>
                  <a:lnTo>
                    <a:pt x="834421" y="35840"/>
                  </a:lnTo>
                  <a:lnTo>
                    <a:pt x="830022" y="40076"/>
                  </a:lnTo>
                  <a:lnTo>
                    <a:pt x="823832" y="41379"/>
                  </a:lnTo>
                  <a:lnTo>
                    <a:pt x="818619" y="40076"/>
                  </a:lnTo>
                  <a:lnTo>
                    <a:pt x="815849" y="37632"/>
                  </a:lnTo>
                  <a:lnTo>
                    <a:pt x="815849" y="37632"/>
                  </a:lnTo>
                  <a:close/>
                  <a:moveTo>
                    <a:pt x="930374" y="109638"/>
                  </a:moveTo>
                  <a:lnTo>
                    <a:pt x="939008" y="104588"/>
                  </a:lnTo>
                  <a:lnTo>
                    <a:pt x="942430" y="99375"/>
                  </a:lnTo>
                  <a:lnTo>
                    <a:pt x="942918" y="94324"/>
                  </a:lnTo>
                  <a:lnTo>
                    <a:pt x="949108" y="88297"/>
                  </a:lnTo>
                  <a:lnTo>
                    <a:pt x="959046" y="81129"/>
                  </a:lnTo>
                  <a:lnTo>
                    <a:pt x="965889" y="77219"/>
                  </a:lnTo>
                  <a:lnTo>
                    <a:pt x="968332" y="72820"/>
                  </a:lnTo>
                  <a:lnTo>
                    <a:pt x="967843" y="67444"/>
                  </a:lnTo>
                  <a:lnTo>
                    <a:pt x="959209" y="62720"/>
                  </a:lnTo>
                  <a:lnTo>
                    <a:pt x="951389" y="55389"/>
                  </a:lnTo>
                  <a:lnTo>
                    <a:pt x="946828" y="47081"/>
                  </a:lnTo>
                  <a:lnTo>
                    <a:pt x="947154" y="41542"/>
                  </a:lnTo>
                  <a:lnTo>
                    <a:pt x="949923" y="36166"/>
                  </a:lnTo>
                  <a:lnTo>
                    <a:pt x="949923" y="31930"/>
                  </a:lnTo>
                  <a:cubicBezTo>
                    <a:pt x="949923" y="31930"/>
                    <a:pt x="947642" y="30464"/>
                    <a:pt x="947642" y="30464"/>
                  </a:cubicBezTo>
                  <a:lnTo>
                    <a:pt x="934935" y="30464"/>
                  </a:lnTo>
                  <a:cubicBezTo>
                    <a:pt x="934935" y="30464"/>
                    <a:pt x="925324" y="27695"/>
                    <a:pt x="925324" y="27695"/>
                  </a:cubicBezTo>
                  <a:lnTo>
                    <a:pt x="918644" y="22970"/>
                  </a:lnTo>
                  <a:lnTo>
                    <a:pt x="908381" y="10426"/>
                  </a:lnTo>
                  <a:lnTo>
                    <a:pt x="900887" y="4561"/>
                  </a:lnTo>
                  <a:lnTo>
                    <a:pt x="892416" y="326"/>
                  </a:lnTo>
                  <a:lnTo>
                    <a:pt x="888669" y="0"/>
                  </a:lnTo>
                  <a:lnTo>
                    <a:pt x="887203" y="2281"/>
                  </a:lnTo>
                  <a:lnTo>
                    <a:pt x="886063" y="6516"/>
                  </a:lnTo>
                  <a:lnTo>
                    <a:pt x="887203" y="10426"/>
                  </a:lnTo>
                  <a:lnTo>
                    <a:pt x="887203" y="17431"/>
                  </a:lnTo>
                  <a:cubicBezTo>
                    <a:pt x="887203" y="17431"/>
                    <a:pt x="882642" y="23459"/>
                    <a:pt x="882642" y="23459"/>
                  </a:cubicBezTo>
                  <a:lnTo>
                    <a:pt x="878080" y="31116"/>
                  </a:lnTo>
                  <a:lnTo>
                    <a:pt x="872704" y="37795"/>
                  </a:lnTo>
                  <a:lnTo>
                    <a:pt x="871890" y="43008"/>
                  </a:lnTo>
                  <a:lnTo>
                    <a:pt x="872704" y="63372"/>
                  </a:lnTo>
                  <a:lnTo>
                    <a:pt x="876125" y="68585"/>
                  </a:lnTo>
                  <a:lnTo>
                    <a:pt x="880687" y="71354"/>
                  </a:lnTo>
                  <a:lnTo>
                    <a:pt x="881339" y="76404"/>
                  </a:lnTo>
                  <a:lnTo>
                    <a:pt x="879546" y="90415"/>
                  </a:lnTo>
                  <a:lnTo>
                    <a:pt x="876940" y="95791"/>
                  </a:lnTo>
                  <a:lnTo>
                    <a:pt x="875311" y="100189"/>
                  </a:lnTo>
                  <a:lnTo>
                    <a:pt x="876777" y="103773"/>
                  </a:lnTo>
                  <a:lnTo>
                    <a:pt x="879383" y="102959"/>
                  </a:lnTo>
                  <a:lnTo>
                    <a:pt x="882479" y="97745"/>
                  </a:lnTo>
                  <a:lnTo>
                    <a:pt x="889158" y="95302"/>
                  </a:lnTo>
                  <a:lnTo>
                    <a:pt x="891439" y="97094"/>
                  </a:lnTo>
                  <a:lnTo>
                    <a:pt x="892905" y="102144"/>
                  </a:lnTo>
                  <a:lnTo>
                    <a:pt x="900399" y="107520"/>
                  </a:lnTo>
                  <a:lnTo>
                    <a:pt x="904471" y="107520"/>
                  </a:lnTo>
                  <a:lnTo>
                    <a:pt x="906915" y="105076"/>
                  </a:lnTo>
                  <a:lnTo>
                    <a:pt x="911151" y="105891"/>
                  </a:lnTo>
                  <a:lnTo>
                    <a:pt x="917830" y="109801"/>
                  </a:lnTo>
                  <a:lnTo>
                    <a:pt x="924346" y="110778"/>
                  </a:lnTo>
                  <a:lnTo>
                    <a:pt x="930048" y="109964"/>
                  </a:lnTo>
                  <a:lnTo>
                    <a:pt x="930048" y="109964"/>
                  </a:lnTo>
                  <a:close/>
                  <a:moveTo>
                    <a:pt x="906589" y="145152"/>
                  </a:moveTo>
                  <a:lnTo>
                    <a:pt x="906915" y="147433"/>
                  </a:lnTo>
                  <a:lnTo>
                    <a:pt x="911640" y="150202"/>
                  </a:lnTo>
                  <a:lnTo>
                    <a:pt x="917016" y="150691"/>
                  </a:lnTo>
                  <a:lnTo>
                    <a:pt x="922066" y="146944"/>
                  </a:lnTo>
                  <a:lnTo>
                    <a:pt x="927930" y="141894"/>
                  </a:lnTo>
                  <a:lnTo>
                    <a:pt x="931514" y="139939"/>
                  </a:lnTo>
                  <a:lnTo>
                    <a:pt x="933795" y="132934"/>
                  </a:lnTo>
                  <a:lnTo>
                    <a:pt x="936728" y="125277"/>
                  </a:lnTo>
                  <a:lnTo>
                    <a:pt x="935587" y="121693"/>
                  </a:lnTo>
                  <a:lnTo>
                    <a:pt x="924835" y="115991"/>
                  </a:lnTo>
                  <a:lnTo>
                    <a:pt x="915875" y="114525"/>
                  </a:lnTo>
                  <a:lnTo>
                    <a:pt x="908055" y="116154"/>
                  </a:lnTo>
                  <a:lnTo>
                    <a:pt x="903494" y="118435"/>
                  </a:lnTo>
                  <a:lnTo>
                    <a:pt x="898770" y="116480"/>
                  </a:lnTo>
                  <a:lnTo>
                    <a:pt x="895674" y="116480"/>
                  </a:lnTo>
                  <a:cubicBezTo>
                    <a:pt x="895674" y="116480"/>
                    <a:pt x="891113" y="120227"/>
                    <a:pt x="891113" y="120227"/>
                  </a:cubicBezTo>
                  <a:lnTo>
                    <a:pt x="884923" y="120227"/>
                  </a:lnTo>
                  <a:cubicBezTo>
                    <a:pt x="884923" y="120227"/>
                    <a:pt x="883456" y="121693"/>
                    <a:pt x="883456" y="121693"/>
                  </a:cubicBezTo>
                  <a:lnTo>
                    <a:pt x="885411" y="125114"/>
                  </a:lnTo>
                  <a:lnTo>
                    <a:pt x="891765" y="126418"/>
                  </a:lnTo>
                  <a:lnTo>
                    <a:pt x="894371" y="130653"/>
                  </a:lnTo>
                  <a:lnTo>
                    <a:pt x="899747" y="133260"/>
                  </a:lnTo>
                  <a:lnTo>
                    <a:pt x="903005" y="138310"/>
                  </a:lnTo>
                  <a:lnTo>
                    <a:pt x="909522" y="140591"/>
                  </a:lnTo>
                  <a:lnTo>
                    <a:pt x="918971" y="140265"/>
                  </a:lnTo>
                  <a:lnTo>
                    <a:pt x="922392" y="141405"/>
                  </a:lnTo>
                  <a:lnTo>
                    <a:pt x="920274" y="143034"/>
                  </a:lnTo>
                  <a:lnTo>
                    <a:pt x="913106" y="144989"/>
                  </a:lnTo>
                  <a:lnTo>
                    <a:pt x="907078" y="144989"/>
                  </a:lnTo>
                  <a:close/>
                  <a:moveTo>
                    <a:pt x="1079925" y="160628"/>
                  </a:moveTo>
                  <a:lnTo>
                    <a:pt x="1079925" y="164701"/>
                  </a:lnTo>
                  <a:lnTo>
                    <a:pt x="1073897" y="172847"/>
                  </a:lnTo>
                  <a:lnTo>
                    <a:pt x="1066566" y="174802"/>
                  </a:lnTo>
                  <a:lnTo>
                    <a:pt x="1060539" y="180666"/>
                  </a:lnTo>
                  <a:lnTo>
                    <a:pt x="1055814" y="184413"/>
                  </a:lnTo>
                  <a:lnTo>
                    <a:pt x="1051253" y="184902"/>
                  </a:lnTo>
                  <a:lnTo>
                    <a:pt x="1046040" y="180666"/>
                  </a:lnTo>
                  <a:lnTo>
                    <a:pt x="1042944" y="177734"/>
                  </a:lnTo>
                  <a:lnTo>
                    <a:pt x="1038220" y="178223"/>
                  </a:lnTo>
                  <a:lnTo>
                    <a:pt x="1034147" y="176756"/>
                  </a:lnTo>
                  <a:lnTo>
                    <a:pt x="1028934" y="178223"/>
                  </a:lnTo>
                  <a:lnTo>
                    <a:pt x="1016553" y="177245"/>
                  </a:lnTo>
                  <a:lnTo>
                    <a:pt x="1010037" y="173498"/>
                  </a:lnTo>
                  <a:lnTo>
                    <a:pt x="1006941" y="171055"/>
                  </a:lnTo>
                  <a:lnTo>
                    <a:pt x="999936" y="173498"/>
                  </a:lnTo>
                  <a:lnTo>
                    <a:pt x="993908" y="176594"/>
                  </a:lnTo>
                  <a:lnTo>
                    <a:pt x="989347" y="175290"/>
                  </a:lnTo>
                  <a:lnTo>
                    <a:pt x="983808" y="171869"/>
                  </a:lnTo>
                  <a:lnTo>
                    <a:pt x="977618" y="171055"/>
                  </a:lnTo>
                  <a:lnTo>
                    <a:pt x="974197" y="167308"/>
                  </a:lnTo>
                  <a:lnTo>
                    <a:pt x="970939" y="157533"/>
                  </a:lnTo>
                  <a:lnTo>
                    <a:pt x="967192" y="152483"/>
                  </a:lnTo>
                  <a:lnTo>
                    <a:pt x="963933" y="151994"/>
                  </a:lnTo>
                  <a:lnTo>
                    <a:pt x="959535" y="154438"/>
                  </a:lnTo>
                  <a:lnTo>
                    <a:pt x="955136" y="151017"/>
                  </a:lnTo>
                  <a:lnTo>
                    <a:pt x="950901" y="149062"/>
                  </a:lnTo>
                  <a:lnTo>
                    <a:pt x="949598" y="151668"/>
                  </a:lnTo>
                  <a:lnTo>
                    <a:pt x="950901" y="155415"/>
                  </a:lnTo>
                  <a:lnTo>
                    <a:pt x="948131" y="156556"/>
                  </a:lnTo>
                  <a:lnTo>
                    <a:pt x="946339" y="154601"/>
                  </a:lnTo>
                  <a:lnTo>
                    <a:pt x="940963" y="151343"/>
                  </a:lnTo>
                  <a:lnTo>
                    <a:pt x="941941" y="148736"/>
                  </a:lnTo>
                  <a:lnTo>
                    <a:pt x="947642" y="144989"/>
                  </a:lnTo>
                  <a:lnTo>
                    <a:pt x="948620" y="141731"/>
                  </a:lnTo>
                  <a:lnTo>
                    <a:pt x="946665" y="133748"/>
                  </a:lnTo>
                  <a:lnTo>
                    <a:pt x="947968" y="129024"/>
                  </a:lnTo>
                  <a:lnTo>
                    <a:pt x="953996" y="123648"/>
                  </a:lnTo>
                  <a:lnTo>
                    <a:pt x="952041" y="120390"/>
                  </a:lnTo>
                  <a:lnTo>
                    <a:pt x="948783" y="120390"/>
                  </a:lnTo>
                  <a:lnTo>
                    <a:pt x="943896" y="117457"/>
                  </a:lnTo>
                  <a:lnTo>
                    <a:pt x="943407" y="113222"/>
                  </a:lnTo>
                  <a:lnTo>
                    <a:pt x="946014" y="105239"/>
                  </a:lnTo>
                  <a:lnTo>
                    <a:pt x="950412" y="101167"/>
                  </a:lnTo>
                  <a:lnTo>
                    <a:pt x="957254" y="99537"/>
                  </a:lnTo>
                  <a:lnTo>
                    <a:pt x="957743" y="95465"/>
                  </a:lnTo>
                  <a:lnTo>
                    <a:pt x="960024" y="91718"/>
                  </a:lnTo>
                  <a:lnTo>
                    <a:pt x="966540" y="89111"/>
                  </a:lnTo>
                  <a:lnTo>
                    <a:pt x="974848" y="83572"/>
                  </a:lnTo>
                  <a:lnTo>
                    <a:pt x="976803" y="77545"/>
                  </a:lnTo>
                  <a:lnTo>
                    <a:pt x="978758" y="76079"/>
                  </a:lnTo>
                  <a:lnTo>
                    <a:pt x="988533" y="77056"/>
                  </a:lnTo>
                  <a:lnTo>
                    <a:pt x="995375" y="82106"/>
                  </a:lnTo>
                  <a:lnTo>
                    <a:pt x="1004009" y="93673"/>
                  </a:lnTo>
                  <a:lnTo>
                    <a:pt x="1006290" y="98723"/>
                  </a:lnTo>
                  <a:lnTo>
                    <a:pt x="1003521" y="106868"/>
                  </a:lnTo>
                  <a:lnTo>
                    <a:pt x="1006127" y="109149"/>
                  </a:lnTo>
                  <a:lnTo>
                    <a:pt x="1004660" y="113711"/>
                  </a:lnTo>
                  <a:lnTo>
                    <a:pt x="1002054" y="117946"/>
                  </a:lnTo>
                  <a:lnTo>
                    <a:pt x="1002706" y="121856"/>
                  </a:lnTo>
                  <a:lnTo>
                    <a:pt x="1005312" y="119901"/>
                  </a:lnTo>
                  <a:lnTo>
                    <a:pt x="1008408" y="113059"/>
                  </a:lnTo>
                  <a:lnTo>
                    <a:pt x="1009548" y="106868"/>
                  </a:lnTo>
                  <a:lnTo>
                    <a:pt x="1009548" y="102470"/>
                  </a:lnTo>
                  <a:cubicBezTo>
                    <a:pt x="1009548" y="102470"/>
                    <a:pt x="1011829" y="98397"/>
                    <a:pt x="1011829" y="98397"/>
                  </a:cubicBezTo>
                  <a:lnTo>
                    <a:pt x="1011340" y="95139"/>
                  </a:lnTo>
                  <a:lnTo>
                    <a:pt x="1004660" y="87482"/>
                  </a:lnTo>
                  <a:lnTo>
                    <a:pt x="1003683" y="83898"/>
                  </a:lnTo>
                  <a:lnTo>
                    <a:pt x="1004660" y="80640"/>
                  </a:lnTo>
                  <a:lnTo>
                    <a:pt x="1013295" y="79337"/>
                  </a:lnTo>
                  <a:lnTo>
                    <a:pt x="1023069" y="80477"/>
                  </a:lnTo>
                  <a:lnTo>
                    <a:pt x="1038708" y="93673"/>
                  </a:lnTo>
                  <a:lnTo>
                    <a:pt x="1041315" y="94161"/>
                  </a:lnTo>
                  <a:lnTo>
                    <a:pt x="1044085" y="96116"/>
                  </a:lnTo>
                  <a:lnTo>
                    <a:pt x="1044410" y="101981"/>
                  </a:lnTo>
                  <a:lnTo>
                    <a:pt x="1048646" y="104751"/>
                  </a:lnTo>
                  <a:lnTo>
                    <a:pt x="1049949" y="111756"/>
                  </a:lnTo>
                  <a:lnTo>
                    <a:pt x="1049949" y="118598"/>
                  </a:lnTo>
                  <a:lnTo>
                    <a:pt x="1057443" y="126255"/>
                  </a:lnTo>
                  <a:lnTo>
                    <a:pt x="1062982" y="133748"/>
                  </a:lnTo>
                  <a:lnTo>
                    <a:pt x="1062656" y="136681"/>
                  </a:lnTo>
                  <a:lnTo>
                    <a:pt x="1057932" y="136681"/>
                  </a:lnTo>
                  <a:cubicBezTo>
                    <a:pt x="1057932" y="136681"/>
                    <a:pt x="1054674" y="134726"/>
                    <a:pt x="1054674" y="134726"/>
                  </a:cubicBezTo>
                  <a:lnTo>
                    <a:pt x="1051742" y="134726"/>
                  </a:lnTo>
                  <a:cubicBezTo>
                    <a:pt x="1051742" y="134726"/>
                    <a:pt x="1052393" y="140916"/>
                    <a:pt x="1052393" y="140916"/>
                  </a:cubicBezTo>
                  <a:lnTo>
                    <a:pt x="1058095" y="144826"/>
                  </a:lnTo>
                  <a:lnTo>
                    <a:pt x="1064937" y="145967"/>
                  </a:lnTo>
                  <a:lnTo>
                    <a:pt x="1070965" y="152646"/>
                  </a:lnTo>
                  <a:lnTo>
                    <a:pt x="1074712" y="153786"/>
                  </a:lnTo>
                  <a:lnTo>
                    <a:pt x="1080902" y="160791"/>
                  </a:lnTo>
                  <a:lnTo>
                    <a:pt x="1080902" y="160791"/>
                  </a:lnTo>
                  <a:close/>
                  <a:moveTo>
                    <a:pt x="2015186" y="17757"/>
                  </a:moveTo>
                  <a:lnTo>
                    <a:pt x="2017630" y="7983"/>
                  </a:lnTo>
                  <a:lnTo>
                    <a:pt x="2024635" y="977"/>
                  </a:lnTo>
                  <a:lnTo>
                    <a:pt x="2026264" y="2444"/>
                  </a:lnTo>
                  <a:lnTo>
                    <a:pt x="2026590" y="6842"/>
                  </a:lnTo>
                  <a:lnTo>
                    <a:pt x="2028219" y="8797"/>
                  </a:lnTo>
                  <a:lnTo>
                    <a:pt x="2024146" y="11567"/>
                  </a:lnTo>
                  <a:lnTo>
                    <a:pt x="2021051" y="15476"/>
                  </a:lnTo>
                  <a:lnTo>
                    <a:pt x="2015186" y="17757"/>
                  </a:lnTo>
                  <a:lnTo>
                    <a:pt x="2015186" y="17757"/>
                  </a:lnTo>
                  <a:close/>
                  <a:moveTo>
                    <a:pt x="2070412" y="105402"/>
                  </a:moveTo>
                  <a:lnTo>
                    <a:pt x="2072693" y="114851"/>
                  </a:lnTo>
                  <a:lnTo>
                    <a:pt x="2081490" y="126255"/>
                  </a:lnTo>
                  <a:lnTo>
                    <a:pt x="2084097" y="131305"/>
                  </a:lnTo>
                  <a:lnTo>
                    <a:pt x="2101528" y="137332"/>
                  </a:lnTo>
                  <a:lnTo>
                    <a:pt x="2114561" y="138636"/>
                  </a:lnTo>
                  <a:lnTo>
                    <a:pt x="2123521" y="142871"/>
                  </a:lnTo>
                  <a:lnTo>
                    <a:pt x="2132155" y="143197"/>
                  </a:lnTo>
                  <a:lnTo>
                    <a:pt x="2138835" y="140916"/>
                  </a:lnTo>
                  <a:lnTo>
                    <a:pt x="2146328" y="143360"/>
                  </a:lnTo>
                  <a:lnTo>
                    <a:pt x="2150890" y="141568"/>
                  </a:lnTo>
                  <a:lnTo>
                    <a:pt x="2160827" y="135378"/>
                  </a:lnTo>
                  <a:lnTo>
                    <a:pt x="2162782" y="128698"/>
                  </a:lnTo>
                  <a:lnTo>
                    <a:pt x="2166692" y="123159"/>
                  </a:lnTo>
                  <a:lnTo>
                    <a:pt x="2164737" y="115991"/>
                  </a:lnTo>
                  <a:lnTo>
                    <a:pt x="2160338" y="114199"/>
                  </a:lnTo>
                  <a:lnTo>
                    <a:pt x="2156917" y="114688"/>
                  </a:lnTo>
                  <a:lnTo>
                    <a:pt x="2155451" y="110778"/>
                  </a:lnTo>
                  <a:lnTo>
                    <a:pt x="2155777" y="107846"/>
                  </a:lnTo>
                  <a:lnTo>
                    <a:pt x="2153170" y="104913"/>
                  </a:lnTo>
                  <a:lnTo>
                    <a:pt x="2148935" y="107520"/>
                  </a:lnTo>
                  <a:lnTo>
                    <a:pt x="2141278" y="105565"/>
                  </a:lnTo>
                  <a:lnTo>
                    <a:pt x="2128897" y="108009"/>
                  </a:lnTo>
                  <a:lnTo>
                    <a:pt x="2121240" y="113548"/>
                  </a:lnTo>
                  <a:lnTo>
                    <a:pt x="2116027" y="114851"/>
                  </a:lnTo>
                  <a:lnTo>
                    <a:pt x="2114235" y="111919"/>
                  </a:lnTo>
                  <a:lnTo>
                    <a:pt x="2112932" y="107683"/>
                  </a:lnTo>
                  <a:lnTo>
                    <a:pt x="2109511" y="107683"/>
                  </a:lnTo>
                  <a:cubicBezTo>
                    <a:pt x="2109511" y="107683"/>
                    <a:pt x="2103809" y="109149"/>
                    <a:pt x="2103809" y="109149"/>
                  </a:cubicBezTo>
                  <a:lnTo>
                    <a:pt x="2095501" y="109149"/>
                  </a:lnTo>
                  <a:lnTo>
                    <a:pt x="2091590" y="107683"/>
                  </a:lnTo>
                  <a:lnTo>
                    <a:pt x="2091590" y="111919"/>
                  </a:lnTo>
                  <a:lnTo>
                    <a:pt x="2088169" y="115666"/>
                  </a:lnTo>
                  <a:lnTo>
                    <a:pt x="2078721" y="113385"/>
                  </a:lnTo>
                  <a:lnTo>
                    <a:pt x="2075299" y="109964"/>
                  </a:lnTo>
                  <a:lnTo>
                    <a:pt x="2074811" y="106543"/>
                  </a:lnTo>
                  <a:lnTo>
                    <a:pt x="2070575" y="105728"/>
                  </a:lnTo>
                  <a:lnTo>
                    <a:pt x="2070575" y="105728"/>
                  </a:lnTo>
                  <a:close/>
                  <a:moveTo>
                    <a:pt x="1872967" y="193210"/>
                  </a:moveTo>
                  <a:lnTo>
                    <a:pt x="1867590" y="180829"/>
                  </a:lnTo>
                  <a:lnTo>
                    <a:pt x="1866287" y="174639"/>
                  </a:lnTo>
                  <a:lnTo>
                    <a:pt x="1861889" y="171380"/>
                  </a:lnTo>
                  <a:lnTo>
                    <a:pt x="1852929" y="170566"/>
                  </a:lnTo>
                  <a:lnTo>
                    <a:pt x="1848693" y="163887"/>
                  </a:lnTo>
                  <a:lnTo>
                    <a:pt x="1844294" y="160466"/>
                  </a:lnTo>
                  <a:lnTo>
                    <a:pt x="1841362" y="159325"/>
                  </a:lnTo>
                  <a:lnTo>
                    <a:pt x="1842503" y="163398"/>
                  </a:lnTo>
                  <a:lnTo>
                    <a:pt x="1847227" y="170892"/>
                  </a:lnTo>
                  <a:lnTo>
                    <a:pt x="1854395" y="177734"/>
                  </a:lnTo>
                  <a:lnTo>
                    <a:pt x="1861563" y="188160"/>
                  </a:lnTo>
                  <a:lnTo>
                    <a:pt x="1865635" y="198586"/>
                  </a:lnTo>
                  <a:lnTo>
                    <a:pt x="1870360" y="201030"/>
                  </a:lnTo>
                  <a:lnTo>
                    <a:pt x="1873292" y="199075"/>
                  </a:lnTo>
                  <a:lnTo>
                    <a:pt x="1872967" y="193210"/>
                  </a:lnTo>
                  <a:lnTo>
                    <a:pt x="1872967" y="193210"/>
                  </a:lnTo>
                  <a:close/>
                  <a:moveTo>
                    <a:pt x="1972993" y="204451"/>
                  </a:moveTo>
                  <a:lnTo>
                    <a:pt x="1969572" y="204940"/>
                  </a:lnTo>
                  <a:lnTo>
                    <a:pt x="1966476" y="202496"/>
                  </a:lnTo>
                  <a:lnTo>
                    <a:pt x="1965988" y="198749"/>
                  </a:lnTo>
                  <a:lnTo>
                    <a:pt x="1967128" y="196143"/>
                  </a:lnTo>
                  <a:lnTo>
                    <a:pt x="1969897" y="197935"/>
                  </a:lnTo>
                  <a:lnTo>
                    <a:pt x="1972015" y="201030"/>
                  </a:lnTo>
                  <a:lnTo>
                    <a:pt x="1976903" y="202822"/>
                  </a:lnTo>
                  <a:lnTo>
                    <a:pt x="1978858" y="206406"/>
                  </a:lnTo>
                  <a:lnTo>
                    <a:pt x="1978531" y="208687"/>
                  </a:lnTo>
                  <a:lnTo>
                    <a:pt x="1982604" y="208198"/>
                  </a:lnTo>
                  <a:lnTo>
                    <a:pt x="1987003" y="201356"/>
                  </a:lnTo>
                  <a:lnTo>
                    <a:pt x="1991727" y="191744"/>
                  </a:lnTo>
                  <a:lnTo>
                    <a:pt x="2000199" y="183110"/>
                  </a:lnTo>
                  <a:lnTo>
                    <a:pt x="2006226" y="181970"/>
                  </a:lnTo>
                  <a:lnTo>
                    <a:pt x="2010788" y="178548"/>
                  </a:lnTo>
                  <a:lnTo>
                    <a:pt x="2013069" y="179852"/>
                  </a:lnTo>
                  <a:lnTo>
                    <a:pt x="2011113" y="183599"/>
                  </a:lnTo>
                  <a:lnTo>
                    <a:pt x="2016326" y="184250"/>
                  </a:lnTo>
                  <a:lnTo>
                    <a:pt x="2020236" y="186531"/>
                  </a:lnTo>
                  <a:lnTo>
                    <a:pt x="2024309" y="184250"/>
                  </a:lnTo>
                  <a:lnTo>
                    <a:pt x="2024309" y="179852"/>
                  </a:lnTo>
                  <a:cubicBezTo>
                    <a:pt x="2024309" y="179852"/>
                    <a:pt x="2032292" y="175779"/>
                    <a:pt x="2032292" y="175779"/>
                  </a:cubicBezTo>
                  <a:lnTo>
                    <a:pt x="2036364" y="171380"/>
                  </a:lnTo>
                  <a:lnTo>
                    <a:pt x="2033921" y="169426"/>
                  </a:lnTo>
                  <a:lnTo>
                    <a:pt x="2027242" y="169914"/>
                  </a:lnTo>
                  <a:lnTo>
                    <a:pt x="2019259" y="173335"/>
                  </a:lnTo>
                  <a:lnTo>
                    <a:pt x="2012417" y="168937"/>
                  </a:lnTo>
                  <a:lnTo>
                    <a:pt x="2003783" y="166656"/>
                  </a:lnTo>
                  <a:lnTo>
                    <a:pt x="2001013" y="163072"/>
                  </a:lnTo>
                  <a:lnTo>
                    <a:pt x="1994822" y="162583"/>
                  </a:lnTo>
                  <a:lnTo>
                    <a:pt x="1993845" y="159977"/>
                  </a:lnTo>
                  <a:lnTo>
                    <a:pt x="1985863" y="152320"/>
                  </a:lnTo>
                  <a:lnTo>
                    <a:pt x="1981790" y="149876"/>
                  </a:lnTo>
                  <a:lnTo>
                    <a:pt x="1979672" y="141405"/>
                  </a:lnTo>
                  <a:lnTo>
                    <a:pt x="1978694" y="137495"/>
                  </a:lnTo>
                  <a:lnTo>
                    <a:pt x="1974785" y="132934"/>
                  </a:lnTo>
                  <a:lnTo>
                    <a:pt x="1973644" y="127721"/>
                  </a:lnTo>
                  <a:lnTo>
                    <a:pt x="1968269" y="124951"/>
                  </a:lnTo>
                  <a:lnTo>
                    <a:pt x="1968269" y="122508"/>
                  </a:lnTo>
                  <a:lnTo>
                    <a:pt x="1971201" y="121204"/>
                  </a:lnTo>
                  <a:lnTo>
                    <a:pt x="1968594" y="117620"/>
                  </a:lnTo>
                  <a:lnTo>
                    <a:pt x="1971526" y="115503"/>
                  </a:lnTo>
                  <a:lnTo>
                    <a:pt x="1973156" y="114362"/>
                  </a:lnTo>
                  <a:lnTo>
                    <a:pt x="1972830" y="110615"/>
                  </a:lnTo>
                  <a:lnTo>
                    <a:pt x="1970386" y="108986"/>
                  </a:lnTo>
                  <a:lnTo>
                    <a:pt x="1966151" y="106054"/>
                  </a:lnTo>
                  <a:lnTo>
                    <a:pt x="1956702" y="106054"/>
                  </a:lnTo>
                  <a:cubicBezTo>
                    <a:pt x="1956702" y="106054"/>
                    <a:pt x="1950674" y="104751"/>
                    <a:pt x="1950674" y="104751"/>
                  </a:cubicBezTo>
                  <a:lnTo>
                    <a:pt x="1946113" y="100515"/>
                  </a:lnTo>
                  <a:lnTo>
                    <a:pt x="1940574" y="100515"/>
                  </a:lnTo>
                  <a:lnTo>
                    <a:pt x="1935198" y="98560"/>
                  </a:lnTo>
                  <a:lnTo>
                    <a:pt x="1933569" y="100026"/>
                  </a:lnTo>
                  <a:lnTo>
                    <a:pt x="1941388" y="106868"/>
                  </a:lnTo>
                  <a:lnTo>
                    <a:pt x="1945461" y="108009"/>
                  </a:lnTo>
                  <a:lnTo>
                    <a:pt x="1947742" y="110778"/>
                  </a:lnTo>
                  <a:lnTo>
                    <a:pt x="1941551" y="110778"/>
                  </a:lnTo>
                  <a:lnTo>
                    <a:pt x="1939922" y="109638"/>
                  </a:lnTo>
                  <a:lnTo>
                    <a:pt x="1935687" y="109638"/>
                  </a:lnTo>
                  <a:lnTo>
                    <a:pt x="1932917" y="113548"/>
                  </a:lnTo>
                  <a:lnTo>
                    <a:pt x="1934220" y="119249"/>
                  </a:lnTo>
                  <a:lnTo>
                    <a:pt x="1937153" y="124625"/>
                  </a:lnTo>
                  <a:lnTo>
                    <a:pt x="1938782" y="131794"/>
                  </a:lnTo>
                  <a:lnTo>
                    <a:pt x="1946927" y="139939"/>
                  </a:lnTo>
                  <a:lnTo>
                    <a:pt x="1948556" y="143197"/>
                  </a:lnTo>
                  <a:lnTo>
                    <a:pt x="1946113" y="144989"/>
                  </a:lnTo>
                  <a:lnTo>
                    <a:pt x="1940248" y="145967"/>
                  </a:lnTo>
                  <a:lnTo>
                    <a:pt x="1934546" y="139939"/>
                  </a:lnTo>
                  <a:lnTo>
                    <a:pt x="1931940" y="132608"/>
                  </a:lnTo>
                  <a:lnTo>
                    <a:pt x="1928030" y="130327"/>
                  </a:lnTo>
                  <a:lnTo>
                    <a:pt x="1922817" y="131631"/>
                  </a:lnTo>
                  <a:lnTo>
                    <a:pt x="1920210" y="133260"/>
                  </a:lnTo>
                  <a:lnTo>
                    <a:pt x="1918255" y="131631"/>
                  </a:lnTo>
                  <a:lnTo>
                    <a:pt x="1913531" y="130490"/>
                  </a:lnTo>
                  <a:lnTo>
                    <a:pt x="1913205" y="125114"/>
                  </a:lnTo>
                  <a:lnTo>
                    <a:pt x="1911576" y="121042"/>
                  </a:lnTo>
                  <a:lnTo>
                    <a:pt x="1906363" y="120390"/>
                  </a:lnTo>
                  <a:lnTo>
                    <a:pt x="1900987" y="115666"/>
                  </a:lnTo>
                  <a:lnTo>
                    <a:pt x="1893656" y="115014"/>
                  </a:lnTo>
                  <a:lnTo>
                    <a:pt x="1890724" y="113222"/>
                  </a:lnTo>
                  <a:lnTo>
                    <a:pt x="1888443" y="108660"/>
                  </a:lnTo>
                  <a:lnTo>
                    <a:pt x="1882741" y="110941"/>
                  </a:lnTo>
                  <a:lnTo>
                    <a:pt x="1878669" y="114199"/>
                  </a:lnTo>
                  <a:lnTo>
                    <a:pt x="1878994" y="121693"/>
                  </a:lnTo>
                  <a:lnTo>
                    <a:pt x="1877365" y="123159"/>
                  </a:lnTo>
                  <a:lnTo>
                    <a:pt x="1877854" y="130164"/>
                  </a:lnTo>
                  <a:lnTo>
                    <a:pt x="1876062" y="136192"/>
                  </a:lnTo>
                  <a:lnTo>
                    <a:pt x="1870360" y="140754"/>
                  </a:lnTo>
                  <a:lnTo>
                    <a:pt x="1869871" y="143849"/>
                  </a:lnTo>
                  <a:lnTo>
                    <a:pt x="1876062" y="152646"/>
                  </a:lnTo>
                  <a:lnTo>
                    <a:pt x="1879320" y="152972"/>
                  </a:lnTo>
                  <a:lnTo>
                    <a:pt x="1882741" y="155741"/>
                  </a:lnTo>
                  <a:lnTo>
                    <a:pt x="1880786" y="157533"/>
                  </a:lnTo>
                  <a:lnTo>
                    <a:pt x="1877528" y="158022"/>
                  </a:lnTo>
                  <a:lnTo>
                    <a:pt x="1878505" y="163235"/>
                  </a:lnTo>
                  <a:lnTo>
                    <a:pt x="1882415" y="164375"/>
                  </a:lnTo>
                  <a:lnTo>
                    <a:pt x="1884696" y="168937"/>
                  </a:lnTo>
                  <a:lnTo>
                    <a:pt x="1884696" y="172195"/>
                  </a:lnTo>
                  <a:cubicBezTo>
                    <a:pt x="1884696" y="172195"/>
                    <a:pt x="1887465" y="174964"/>
                    <a:pt x="1887465" y="174964"/>
                  </a:cubicBezTo>
                  <a:lnTo>
                    <a:pt x="1893330" y="176756"/>
                  </a:lnTo>
                  <a:lnTo>
                    <a:pt x="1895122" y="179689"/>
                  </a:lnTo>
                  <a:lnTo>
                    <a:pt x="1893982" y="181644"/>
                  </a:lnTo>
                  <a:lnTo>
                    <a:pt x="1896426" y="184087"/>
                  </a:lnTo>
                  <a:lnTo>
                    <a:pt x="1898869" y="182784"/>
                  </a:lnTo>
                  <a:lnTo>
                    <a:pt x="1902290" y="183273"/>
                  </a:lnTo>
                  <a:lnTo>
                    <a:pt x="1904245" y="186042"/>
                  </a:lnTo>
                  <a:lnTo>
                    <a:pt x="1900824" y="188649"/>
                  </a:lnTo>
                  <a:lnTo>
                    <a:pt x="1899195" y="187508"/>
                  </a:lnTo>
                  <a:lnTo>
                    <a:pt x="1895448" y="187508"/>
                  </a:lnTo>
                  <a:lnTo>
                    <a:pt x="1893982" y="190278"/>
                  </a:lnTo>
                  <a:lnTo>
                    <a:pt x="1895774" y="194839"/>
                  </a:lnTo>
                  <a:lnTo>
                    <a:pt x="1911087" y="205103"/>
                  </a:lnTo>
                  <a:lnTo>
                    <a:pt x="1919396" y="208361"/>
                  </a:lnTo>
                  <a:lnTo>
                    <a:pt x="1926726" y="207546"/>
                  </a:lnTo>
                  <a:lnTo>
                    <a:pt x="1931125" y="211130"/>
                  </a:lnTo>
                  <a:lnTo>
                    <a:pt x="1935687" y="214226"/>
                  </a:lnTo>
                  <a:lnTo>
                    <a:pt x="1937315" y="219276"/>
                  </a:lnTo>
                  <a:lnTo>
                    <a:pt x="1942040" y="223674"/>
                  </a:lnTo>
                  <a:lnTo>
                    <a:pt x="1949045" y="223674"/>
                  </a:lnTo>
                  <a:cubicBezTo>
                    <a:pt x="1949045" y="223674"/>
                    <a:pt x="1956865" y="220742"/>
                    <a:pt x="1956865" y="220742"/>
                  </a:cubicBezTo>
                  <a:lnTo>
                    <a:pt x="1963544" y="221231"/>
                  </a:lnTo>
                  <a:lnTo>
                    <a:pt x="1968431" y="224326"/>
                  </a:lnTo>
                  <a:lnTo>
                    <a:pt x="1972993" y="223348"/>
                  </a:lnTo>
                  <a:lnTo>
                    <a:pt x="1975274" y="218787"/>
                  </a:lnTo>
                  <a:lnTo>
                    <a:pt x="1975274" y="214226"/>
                  </a:lnTo>
                  <a:lnTo>
                    <a:pt x="1972341" y="208361"/>
                  </a:lnTo>
                  <a:lnTo>
                    <a:pt x="1972667" y="204125"/>
                  </a:lnTo>
                  <a:lnTo>
                    <a:pt x="1972667" y="204125"/>
                  </a:lnTo>
                  <a:close/>
                  <a:moveTo>
                    <a:pt x="1975599" y="105076"/>
                  </a:moveTo>
                  <a:lnTo>
                    <a:pt x="1983093" y="105076"/>
                  </a:lnTo>
                  <a:cubicBezTo>
                    <a:pt x="1983093" y="105076"/>
                    <a:pt x="1991238" y="104588"/>
                    <a:pt x="1991238" y="104588"/>
                  </a:cubicBezTo>
                  <a:lnTo>
                    <a:pt x="1996615" y="105402"/>
                  </a:lnTo>
                  <a:lnTo>
                    <a:pt x="2008996" y="111593"/>
                  </a:lnTo>
                  <a:lnTo>
                    <a:pt x="2014860" y="112081"/>
                  </a:lnTo>
                  <a:lnTo>
                    <a:pt x="2019259" y="110941"/>
                  </a:lnTo>
                  <a:lnTo>
                    <a:pt x="2031477" y="112407"/>
                  </a:lnTo>
                  <a:lnTo>
                    <a:pt x="2044347" y="116317"/>
                  </a:lnTo>
                  <a:lnTo>
                    <a:pt x="2044347" y="118924"/>
                  </a:lnTo>
                  <a:cubicBezTo>
                    <a:pt x="2044347" y="118924"/>
                    <a:pt x="2038808" y="120390"/>
                    <a:pt x="2038808" y="120390"/>
                  </a:cubicBezTo>
                  <a:lnTo>
                    <a:pt x="2035550" y="124137"/>
                  </a:lnTo>
                  <a:lnTo>
                    <a:pt x="2035550" y="129350"/>
                  </a:lnTo>
                  <a:lnTo>
                    <a:pt x="2040763" y="135215"/>
                  </a:lnTo>
                  <a:lnTo>
                    <a:pt x="2046790" y="136844"/>
                  </a:lnTo>
                  <a:lnTo>
                    <a:pt x="2046790" y="143197"/>
                  </a:lnTo>
                  <a:cubicBezTo>
                    <a:pt x="2046790" y="143197"/>
                    <a:pt x="2048094" y="147107"/>
                    <a:pt x="2048094" y="147107"/>
                  </a:cubicBezTo>
                  <a:lnTo>
                    <a:pt x="2045487" y="151506"/>
                  </a:lnTo>
                  <a:lnTo>
                    <a:pt x="2044347" y="158348"/>
                  </a:lnTo>
                  <a:lnTo>
                    <a:pt x="2039948" y="162583"/>
                  </a:lnTo>
                  <a:lnTo>
                    <a:pt x="2038156" y="166004"/>
                  </a:lnTo>
                  <a:lnTo>
                    <a:pt x="2033269" y="162258"/>
                  </a:lnTo>
                  <a:lnTo>
                    <a:pt x="2030499" y="162583"/>
                  </a:lnTo>
                  <a:lnTo>
                    <a:pt x="2024961" y="166493"/>
                  </a:lnTo>
                  <a:lnTo>
                    <a:pt x="2019585" y="166819"/>
                  </a:lnTo>
                  <a:lnTo>
                    <a:pt x="2008181" y="161280"/>
                  </a:lnTo>
                  <a:lnTo>
                    <a:pt x="2002153" y="155741"/>
                  </a:lnTo>
                  <a:lnTo>
                    <a:pt x="1990750" y="146292"/>
                  </a:lnTo>
                  <a:lnTo>
                    <a:pt x="1989121" y="139287"/>
                  </a:lnTo>
                  <a:lnTo>
                    <a:pt x="1990587" y="134726"/>
                  </a:lnTo>
                  <a:lnTo>
                    <a:pt x="1991076" y="130001"/>
                  </a:lnTo>
                  <a:lnTo>
                    <a:pt x="1992379" y="127395"/>
                  </a:lnTo>
                  <a:lnTo>
                    <a:pt x="1989772" y="122833"/>
                  </a:lnTo>
                  <a:lnTo>
                    <a:pt x="1986840" y="121042"/>
                  </a:lnTo>
                  <a:lnTo>
                    <a:pt x="1985863" y="115991"/>
                  </a:lnTo>
                  <a:lnTo>
                    <a:pt x="1982767" y="114362"/>
                  </a:lnTo>
                  <a:lnTo>
                    <a:pt x="1979346" y="110127"/>
                  </a:lnTo>
                  <a:lnTo>
                    <a:pt x="1975925" y="105076"/>
                  </a:lnTo>
                  <a:lnTo>
                    <a:pt x="1975925" y="105076"/>
                  </a:lnTo>
                  <a:close/>
                  <a:moveTo>
                    <a:pt x="1124888" y="237359"/>
                  </a:moveTo>
                  <a:cubicBezTo>
                    <a:pt x="1124888" y="237359"/>
                    <a:pt x="1131567" y="235078"/>
                    <a:pt x="1131567" y="235078"/>
                  </a:cubicBezTo>
                  <a:lnTo>
                    <a:pt x="1134825" y="228236"/>
                  </a:lnTo>
                  <a:lnTo>
                    <a:pt x="1140364" y="220579"/>
                  </a:lnTo>
                  <a:lnTo>
                    <a:pt x="1144274" y="218298"/>
                  </a:lnTo>
                  <a:lnTo>
                    <a:pt x="1143296" y="215203"/>
                  </a:lnTo>
                  <a:lnTo>
                    <a:pt x="1144111" y="210967"/>
                  </a:lnTo>
                  <a:lnTo>
                    <a:pt x="1155351" y="203474"/>
                  </a:lnTo>
                  <a:lnTo>
                    <a:pt x="1159587" y="202659"/>
                  </a:lnTo>
                  <a:lnTo>
                    <a:pt x="1162520" y="205266"/>
                  </a:lnTo>
                  <a:lnTo>
                    <a:pt x="1166267" y="204777"/>
                  </a:lnTo>
                  <a:lnTo>
                    <a:pt x="1168710" y="200052"/>
                  </a:lnTo>
                  <a:lnTo>
                    <a:pt x="1170991" y="196143"/>
                  </a:lnTo>
                  <a:lnTo>
                    <a:pt x="1176693" y="194188"/>
                  </a:lnTo>
                  <a:lnTo>
                    <a:pt x="1185001" y="187508"/>
                  </a:lnTo>
                  <a:lnTo>
                    <a:pt x="1186305" y="183273"/>
                  </a:lnTo>
                  <a:lnTo>
                    <a:pt x="1189726" y="180829"/>
                  </a:lnTo>
                  <a:lnTo>
                    <a:pt x="1194124" y="170892"/>
                  </a:lnTo>
                  <a:lnTo>
                    <a:pt x="1192658" y="165353"/>
                  </a:lnTo>
                  <a:lnTo>
                    <a:pt x="1185978" y="157370"/>
                  </a:lnTo>
                  <a:lnTo>
                    <a:pt x="1183046" y="151343"/>
                  </a:lnTo>
                  <a:lnTo>
                    <a:pt x="1182721" y="146781"/>
                  </a:lnTo>
                  <a:lnTo>
                    <a:pt x="1174575" y="141405"/>
                  </a:lnTo>
                  <a:lnTo>
                    <a:pt x="1169525" y="140916"/>
                  </a:lnTo>
                  <a:lnTo>
                    <a:pt x="1167244" y="142383"/>
                  </a:lnTo>
                  <a:lnTo>
                    <a:pt x="1163334" y="139939"/>
                  </a:lnTo>
                  <a:lnTo>
                    <a:pt x="1157307" y="137495"/>
                  </a:lnTo>
                  <a:lnTo>
                    <a:pt x="1151116" y="131468"/>
                  </a:lnTo>
                  <a:lnTo>
                    <a:pt x="1148347" y="130816"/>
                  </a:lnTo>
                  <a:lnTo>
                    <a:pt x="1147043" y="133097"/>
                  </a:lnTo>
                  <a:lnTo>
                    <a:pt x="1143296" y="131794"/>
                  </a:lnTo>
                  <a:lnTo>
                    <a:pt x="1141993" y="128047"/>
                  </a:lnTo>
                  <a:lnTo>
                    <a:pt x="1138083" y="123648"/>
                  </a:lnTo>
                  <a:lnTo>
                    <a:pt x="1134825" y="123648"/>
                  </a:lnTo>
                  <a:cubicBezTo>
                    <a:pt x="1134825" y="123648"/>
                    <a:pt x="1133848" y="128372"/>
                    <a:pt x="1133848" y="128372"/>
                  </a:cubicBezTo>
                  <a:lnTo>
                    <a:pt x="1131404" y="128047"/>
                  </a:lnTo>
                  <a:lnTo>
                    <a:pt x="1126191" y="121530"/>
                  </a:lnTo>
                  <a:lnTo>
                    <a:pt x="1123258" y="119575"/>
                  </a:lnTo>
                  <a:lnTo>
                    <a:pt x="1123258" y="122182"/>
                  </a:lnTo>
                  <a:cubicBezTo>
                    <a:pt x="1123258" y="122182"/>
                    <a:pt x="1126680" y="126580"/>
                    <a:pt x="1126680" y="126580"/>
                  </a:cubicBezTo>
                  <a:lnTo>
                    <a:pt x="1127169" y="129839"/>
                  </a:lnTo>
                  <a:lnTo>
                    <a:pt x="1123747" y="132608"/>
                  </a:lnTo>
                  <a:lnTo>
                    <a:pt x="1124073" y="137332"/>
                  </a:lnTo>
                  <a:lnTo>
                    <a:pt x="1121304" y="137007"/>
                  </a:lnTo>
                  <a:lnTo>
                    <a:pt x="1119349" y="133423"/>
                  </a:lnTo>
                  <a:lnTo>
                    <a:pt x="1118371" y="116643"/>
                  </a:lnTo>
                  <a:lnTo>
                    <a:pt x="1113158" y="114362"/>
                  </a:lnTo>
                  <a:lnTo>
                    <a:pt x="1108108" y="113222"/>
                  </a:lnTo>
                  <a:lnTo>
                    <a:pt x="1101429" y="110127"/>
                  </a:lnTo>
                  <a:lnTo>
                    <a:pt x="1098008" y="110127"/>
                  </a:lnTo>
                  <a:lnTo>
                    <a:pt x="1095075" y="114199"/>
                  </a:lnTo>
                  <a:lnTo>
                    <a:pt x="1096216" y="118924"/>
                  </a:lnTo>
                  <a:lnTo>
                    <a:pt x="1101429" y="122182"/>
                  </a:lnTo>
                  <a:lnTo>
                    <a:pt x="1105176" y="126743"/>
                  </a:lnTo>
                  <a:lnTo>
                    <a:pt x="1102895" y="129024"/>
                  </a:lnTo>
                  <a:lnTo>
                    <a:pt x="1098822" y="128698"/>
                  </a:lnTo>
                  <a:lnTo>
                    <a:pt x="1097030" y="125603"/>
                  </a:lnTo>
                  <a:lnTo>
                    <a:pt x="1093609" y="122833"/>
                  </a:lnTo>
                  <a:lnTo>
                    <a:pt x="1091654" y="122833"/>
                  </a:lnTo>
                  <a:cubicBezTo>
                    <a:pt x="1091654" y="122833"/>
                    <a:pt x="1092632" y="126580"/>
                    <a:pt x="1092632" y="126580"/>
                  </a:cubicBezTo>
                  <a:lnTo>
                    <a:pt x="1094261" y="130816"/>
                  </a:lnTo>
                  <a:lnTo>
                    <a:pt x="1092794" y="132282"/>
                  </a:lnTo>
                  <a:lnTo>
                    <a:pt x="1092794" y="137984"/>
                  </a:lnTo>
                  <a:lnTo>
                    <a:pt x="1095401" y="140754"/>
                  </a:lnTo>
                  <a:lnTo>
                    <a:pt x="1099311" y="141731"/>
                  </a:lnTo>
                  <a:lnTo>
                    <a:pt x="1101266" y="144663"/>
                  </a:lnTo>
                  <a:lnTo>
                    <a:pt x="1100289" y="148899"/>
                  </a:lnTo>
                  <a:lnTo>
                    <a:pt x="1105827" y="161769"/>
                  </a:lnTo>
                  <a:lnTo>
                    <a:pt x="1109737" y="165679"/>
                  </a:lnTo>
                  <a:lnTo>
                    <a:pt x="1114299" y="165679"/>
                  </a:lnTo>
                  <a:lnTo>
                    <a:pt x="1111203" y="168611"/>
                  </a:lnTo>
                  <a:lnTo>
                    <a:pt x="1106479" y="169588"/>
                  </a:lnTo>
                  <a:lnTo>
                    <a:pt x="1103872" y="178223"/>
                  </a:lnTo>
                  <a:lnTo>
                    <a:pt x="1108271" y="187183"/>
                  </a:lnTo>
                  <a:lnTo>
                    <a:pt x="1110063" y="193862"/>
                  </a:lnTo>
                  <a:lnTo>
                    <a:pt x="1109737" y="200052"/>
                  </a:lnTo>
                  <a:lnTo>
                    <a:pt x="1112507" y="202333"/>
                  </a:lnTo>
                  <a:lnTo>
                    <a:pt x="1113158" y="207058"/>
                  </a:lnTo>
                  <a:lnTo>
                    <a:pt x="1111366" y="209827"/>
                  </a:lnTo>
                  <a:lnTo>
                    <a:pt x="1114624" y="217321"/>
                  </a:lnTo>
                  <a:lnTo>
                    <a:pt x="1117394" y="225303"/>
                  </a:lnTo>
                  <a:lnTo>
                    <a:pt x="1121792" y="229376"/>
                  </a:lnTo>
                  <a:lnTo>
                    <a:pt x="1121792" y="234426"/>
                  </a:lnTo>
                  <a:cubicBezTo>
                    <a:pt x="1121792" y="234426"/>
                    <a:pt x="1124725" y="237359"/>
                    <a:pt x="1124725" y="237359"/>
                  </a:cubicBezTo>
                  <a:lnTo>
                    <a:pt x="1124725" y="237359"/>
                  </a:lnTo>
                  <a:close/>
                  <a:moveTo>
                    <a:pt x="1223610" y="180829"/>
                  </a:moveTo>
                  <a:lnTo>
                    <a:pt x="1227846" y="176919"/>
                  </a:lnTo>
                  <a:lnTo>
                    <a:pt x="1227846" y="174476"/>
                  </a:lnTo>
                  <a:cubicBezTo>
                    <a:pt x="1227846" y="174476"/>
                    <a:pt x="1226054" y="173010"/>
                    <a:pt x="1226054" y="173010"/>
                  </a:cubicBezTo>
                  <a:lnTo>
                    <a:pt x="1227846" y="170403"/>
                  </a:lnTo>
                  <a:lnTo>
                    <a:pt x="1230453" y="169426"/>
                  </a:lnTo>
                  <a:lnTo>
                    <a:pt x="1229149" y="166493"/>
                  </a:lnTo>
                  <a:lnTo>
                    <a:pt x="1225240" y="166982"/>
                  </a:lnTo>
                  <a:lnTo>
                    <a:pt x="1221493" y="171706"/>
                  </a:lnTo>
                  <a:lnTo>
                    <a:pt x="1221981" y="174476"/>
                  </a:lnTo>
                  <a:lnTo>
                    <a:pt x="1219049" y="175453"/>
                  </a:lnTo>
                  <a:lnTo>
                    <a:pt x="1218072" y="179526"/>
                  </a:lnTo>
                  <a:lnTo>
                    <a:pt x="1220678" y="181481"/>
                  </a:lnTo>
                  <a:lnTo>
                    <a:pt x="1223448" y="180503"/>
                  </a:lnTo>
                  <a:lnTo>
                    <a:pt x="1223448" y="180503"/>
                  </a:lnTo>
                  <a:close/>
                  <a:moveTo>
                    <a:pt x="1230127" y="181318"/>
                  </a:moveTo>
                  <a:lnTo>
                    <a:pt x="1232571" y="177571"/>
                  </a:lnTo>
                  <a:lnTo>
                    <a:pt x="1239250" y="178386"/>
                  </a:lnTo>
                  <a:lnTo>
                    <a:pt x="1242182" y="173335"/>
                  </a:lnTo>
                  <a:lnTo>
                    <a:pt x="1246581" y="173335"/>
                  </a:lnTo>
                  <a:cubicBezTo>
                    <a:pt x="1246581" y="173335"/>
                    <a:pt x="1248210" y="172032"/>
                    <a:pt x="1248210" y="172032"/>
                  </a:cubicBezTo>
                  <a:lnTo>
                    <a:pt x="1251631" y="173010"/>
                  </a:lnTo>
                  <a:lnTo>
                    <a:pt x="1253586" y="178874"/>
                  </a:lnTo>
                  <a:lnTo>
                    <a:pt x="1250817" y="183924"/>
                  </a:lnTo>
                  <a:lnTo>
                    <a:pt x="1247396" y="180829"/>
                  </a:lnTo>
                  <a:lnTo>
                    <a:pt x="1244626" y="183924"/>
                  </a:lnTo>
                  <a:lnTo>
                    <a:pt x="1237783" y="184902"/>
                  </a:lnTo>
                  <a:lnTo>
                    <a:pt x="1230290" y="184413"/>
                  </a:lnTo>
                  <a:lnTo>
                    <a:pt x="1230290" y="181481"/>
                  </a:lnTo>
                  <a:lnTo>
                    <a:pt x="1230127" y="181481"/>
                  </a:lnTo>
                  <a:close/>
                  <a:moveTo>
                    <a:pt x="1281932" y="229702"/>
                  </a:moveTo>
                  <a:lnTo>
                    <a:pt x="1281932" y="233775"/>
                  </a:lnTo>
                  <a:lnTo>
                    <a:pt x="1286656" y="239802"/>
                  </a:lnTo>
                  <a:lnTo>
                    <a:pt x="1285516" y="241757"/>
                  </a:lnTo>
                  <a:lnTo>
                    <a:pt x="1286005" y="244038"/>
                  </a:lnTo>
                  <a:lnTo>
                    <a:pt x="1290729" y="242083"/>
                  </a:lnTo>
                  <a:lnTo>
                    <a:pt x="1292358" y="236707"/>
                  </a:lnTo>
                  <a:lnTo>
                    <a:pt x="1289100" y="229376"/>
                  </a:lnTo>
                  <a:lnTo>
                    <a:pt x="1283887" y="228724"/>
                  </a:lnTo>
                  <a:lnTo>
                    <a:pt x="1281606" y="229865"/>
                  </a:lnTo>
                  <a:lnTo>
                    <a:pt x="1281606" y="229865"/>
                  </a:lnTo>
                  <a:close/>
                  <a:moveTo>
                    <a:pt x="1758441" y="384303"/>
                  </a:moveTo>
                  <a:lnTo>
                    <a:pt x="1760885" y="382836"/>
                  </a:lnTo>
                  <a:lnTo>
                    <a:pt x="1761862" y="377135"/>
                  </a:lnTo>
                  <a:lnTo>
                    <a:pt x="1761374" y="372899"/>
                  </a:lnTo>
                  <a:lnTo>
                    <a:pt x="1754531" y="375994"/>
                  </a:lnTo>
                  <a:lnTo>
                    <a:pt x="1752903" y="377623"/>
                  </a:lnTo>
                  <a:lnTo>
                    <a:pt x="1754043" y="382022"/>
                  </a:lnTo>
                  <a:lnTo>
                    <a:pt x="1756487" y="382022"/>
                  </a:lnTo>
                  <a:cubicBezTo>
                    <a:pt x="1756487" y="382022"/>
                    <a:pt x="1758441" y="384303"/>
                    <a:pt x="1758441" y="384303"/>
                  </a:cubicBezTo>
                  <a:lnTo>
                    <a:pt x="1758441" y="384303"/>
                  </a:lnTo>
                  <a:close/>
                  <a:moveTo>
                    <a:pt x="1694581" y="455331"/>
                  </a:moveTo>
                  <a:lnTo>
                    <a:pt x="1701260" y="455331"/>
                  </a:lnTo>
                  <a:lnTo>
                    <a:pt x="1703215" y="453702"/>
                  </a:lnTo>
                  <a:lnTo>
                    <a:pt x="1705333" y="454028"/>
                  </a:lnTo>
                  <a:lnTo>
                    <a:pt x="1705659" y="451910"/>
                  </a:lnTo>
                  <a:lnTo>
                    <a:pt x="1702401" y="448652"/>
                  </a:lnTo>
                  <a:lnTo>
                    <a:pt x="1697187" y="444905"/>
                  </a:lnTo>
                  <a:lnTo>
                    <a:pt x="1693278" y="444579"/>
                  </a:lnTo>
                  <a:lnTo>
                    <a:pt x="1690997" y="446697"/>
                  </a:lnTo>
                  <a:lnTo>
                    <a:pt x="1691323" y="448978"/>
                  </a:lnTo>
                  <a:lnTo>
                    <a:pt x="1694907" y="451258"/>
                  </a:lnTo>
                  <a:lnTo>
                    <a:pt x="1694907" y="455168"/>
                  </a:lnTo>
                  <a:lnTo>
                    <a:pt x="1694907" y="455168"/>
                  </a:lnTo>
                  <a:close/>
                  <a:moveTo>
                    <a:pt x="1516847" y="423727"/>
                  </a:moveTo>
                  <a:lnTo>
                    <a:pt x="1522549" y="425030"/>
                  </a:lnTo>
                  <a:lnTo>
                    <a:pt x="1525481" y="426659"/>
                  </a:lnTo>
                  <a:lnTo>
                    <a:pt x="1529228" y="424704"/>
                  </a:lnTo>
                  <a:lnTo>
                    <a:pt x="1530206" y="420631"/>
                  </a:lnTo>
                  <a:lnTo>
                    <a:pt x="1532812" y="418351"/>
                  </a:lnTo>
                  <a:lnTo>
                    <a:pt x="1532812" y="415255"/>
                  </a:lnTo>
                  <a:lnTo>
                    <a:pt x="1530043" y="412323"/>
                  </a:lnTo>
                  <a:lnTo>
                    <a:pt x="1530043" y="403689"/>
                  </a:lnTo>
                  <a:cubicBezTo>
                    <a:pt x="1530043" y="403689"/>
                    <a:pt x="1526785" y="400431"/>
                    <a:pt x="1526785" y="400431"/>
                  </a:cubicBezTo>
                  <a:lnTo>
                    <a:pt x="1524341" y="395055"/>
                  </a:lnTo>
                  <a:lnTo>
                    <a:pt x="1524341" y="391797"/>
                  </a:lnTo>
                  <a:cubicBezTo>
                    <a:pt x="1524341" y="391797"/>
                    <a:pt x="1520268" y="390819"/>
                    <a:pt x="1520268" y="390819"/>
                  </a:cubicBezTo>
                  <a:lnTo>
                    <a:pt x="1510819" y="393589"/>
                  </a:lnTo>
                  <a:lnTo>
                    <a:pt x="1501860" y="399127"/>
                  </a:lnTo>
                  <a:lnTo>
                    <a:pt x="1497135" y="399127"/>
                  </a:lnTo>
                  <a:cubicBezTo>
                    <a:pt x="1497135" y="399127"/>
                    <a:pt x="1495832" y="401734"/>
                    <a:pt x="1495832" y="401734"/>
                  </a:cubicBezTo>
                  <a:lnTo>
                    <a:pt x="1497298" y="407110"/>
                  </a:lnTo>
                  <a:lnTo>
                    <a:pt x="1501533" y="409717"/>
                  </a:lnTo>
                  <a:lnTo>
                    <a:pt x="1502674" y="413952"/>
                  </a:lnTo>
                  <a:lnTo>
                    <a:pt x="1500393" y="416559"/>
                  </a:lnTo>
                  <a:lnTo>
                    <a:pt x="1495669" y="416233"/>
                  </a:lnTo>
                  <a:lnTo>
                    <a:pt x="1494692" y="417699"/>
                  </a:lnTo>
                  <a:lnTo>
                    <a:pt x="1497135" y="420631"/>
                  </a:lnTo>
                  <a:lnTo>
                    <a:pt x="1504303" y="420957"/>
                  </a:lnTo>
                  <a:lnTo>
                    <a:pt x="1517010" y="423890"/>
                  </a:lnTo>
                  <a:lnTo>
                    <a:pt x="1517010" y="423890"/>
                  </a:lnTo>
                  <a:close/>
                  <a:moveTo>
                    <a:pt x="2037668" y="268637"/>
                  </a:moveTo>
                  <a:lnTo>
                    <a:pt x="2040111" y="266682"/>
                  </a:lnTo>
                  <a:lnTo>
                    <a:pt x="2038971" y="264890"/>
                  </a:lnTo>
                  <a:lnTo>
                    <a:pt x="2040763" y="259840"/>
                  </a:lnTo>
                  <a:lnTo>
                    <a:pt x="2043532" y="255604"/>
                  </a:lnTo>
                  <a:lnTo>
                    <a:pt x="2042392" y="250554"/>
                  </a:lnTo>
                  <a:lnTo>
                    <a:pt x="2035550" y="243549"/>
                  </a:lnTo>
                  <a:lnTo>
                    <a:pt x="2033106" y="237522"/>
                  </a:lnTo>
                  <a:lnTo>
                    <a:pt x="2029359" y="236707"/>
                  </a:lnTo>
                  <a:lnTo>
                    <a:pt x="2023494" y="238173"/>
                  </a:lnTo>
                  <a:lnTo>
                    <a:pt x="2018770" y="242898"/>
                  </a:lnTo>
                  <a:lnTo>
                    <a:pt x="2019259" y="247296"/>
                  </a:lnTo>
                  <a:lnTo>
                    <a:pt x="2022680" y="252835"/>
                  </a:lnTo>
                  <a:lnTo>
                    <a:pt x="2022028" y="255604"/>
                  </a:lnTo>
                  <a:lnTo>
                    <a:pt x="2023820" y="258700"/>
                  </a:lnTo>
                  <a:lnTo>
                    <a:pt x="2028056" y="260003"/>
                  </a:lnTo>
                  <a:lnTo>
                    <a:pt x="2032617" y="266194"/>
                  </a:lnTo>
                  <a:lnTo>
                    <a:pt x="2037342" y="268474"/>
                  </a:lnTo>
                  <a:lnTo>
                    <a:pt x="2037342" y="268474"/>
                  </a:lnTo>
                  <a:close/>
                  <a:moveTo>
                    <a:pt x="2052655" y="306758"/>
                  </a:moveTo>
                  <a:lnTo>
                    <a:pt x="2055913" y="304966"/>
                  </a:lnTo>
                  <a:lnTo>
                    <a:pt x="2059823" y="299101"/>
                  </a:lnTo>
                  <a:lnTo>
                    <a:pt x="2067480" y="294540"/>
                  </a:lnTo>
                  <a:lnTo>
                    <a:pt x="2075299" y="296169"/>
                  </a:lnTo>
                  <a:lnTo>
                    <a:pt x="2085563" y="296169"/>
                  </a:lnTo>
                  <a:cubicBezTo>
                    <a:pt x="2085563" y="296169"/>
                    <a:pt x="2092568" y="294866"/>
                    <a:pt x="2092568" y="294866"/>
                  </a:cubicBezTo>
                  <a:lnTo>
                    <a:pt x="2104297" y="294866"/>
                  </a:lnTo>
                  <a:cubicBezTo>
                    <a:pt x="2104297" y="294866"/>
                    <a:pt x="2109022" y="291933"/>
                    <a:pt x="2109022" y="291933"/>
                  </a:cubicBezTo>
                  <a:lnTo>
                    <a:pt x="2117167" y="291119"/>
                  </a:lnTo>
                  <a:lnTo>
                    <a:pt x="2122381" y="292422"/>
                  </a:lnTo>
                  <a:lnTo>
                    <a:pt x="2126942" y="288349"/>
                  </a:lnTo>
                  <a:lnTo>
                    <a:pt x="2122381" y="284439"/>
                  </a:lnTo>
                  <a:lnTo>
                    <a:pt x="2120100" y="279715"/>
                  </a:lnTo>
                  <a:lnTo>
                    <a:pt x="2114072" y="271732"/>
                  </a:lnTo>
                  <a:lnTo>
                    <a:pt x="2103809" y="263424"/>
                  </a:lnTo>
                  <a:lnTo>
                    <a:pt x="2096967" y="262935"/>
                  </a:lnTo>
                  <a:lnTo>
                    <a:pt x="2089962" y="261143"/>
                  </a:lnTo>
                  <a:lnTo>
                    <a:pt x="2085074" y="256093"/>
                  </a:lnTo>
                  <a:lnTo>
                    <a:pt x="2080513" y="256093"/>
                  </a:lnTo>
                  <a:lnTo>
                    <a:pt x="2077254" y="258374"/>
                  </a:lnTo>
                  <a:lnTo>
                    <a:pt x="2070087" y="255442"/>
                  </a:lnTo>
                  <a:lnTo>
                    <a:pt x="2066177" y="255442"/>
                  </a:lnTo>
                  <a:lnTo>
                    <a:pt x="2062104" y="260980"/>
                  </a:lnTo>
                  <a:lnTo>
                    <a:pt x="2056402" y="269126"/>
                  </a:lnTo>
                  <a:lnTo>
                    <a:pt x="2058031" y="274665"/>
                  </a:lnTo>
                  <a:lnTo>
                    <a:pt x="2058031" y="285417"/>
                  </a:lnTo>
                  <a:cubicBezTo>
                    <a:pt x="2058031" y="285417"/>
                    <a:pt x="2054610" y="297635"/>
                    <a:pt x="2054610" y="297635"/>
                  </a:cubicBezTo>
                  <a:lnTo>
                    <a:pt x="2049397" y="302034"/>
                  </a:lnTo>
                  <a:lnTo>
                    <a:pt x="2049071" y="306432"/>
                  </a:lnTo>
                  <a:lnTo>
                    <a:pt x="2052818" y="306921"/>
                  </a:lnTo>
                  <a:lnTo>
                    <a:pt x="2052818" y="306921"/>
                  </a:lnTo>
                  <a:close/>
                  <a:moveTo>
                    <a:pt x="1930636" y="281507"/>
                  </a:moveTo>
                  <a:lnTo>
                    <a:pt x="1932428" y="286068"/>
                  </a:lnTo>
                  <a:lnTo>
                    <a:pt x="1935361" y="289978"/>
                  </a:lnTo>
                  <a:lnTo>
                    <a:pt x="1940737" y="289978"/>
                  </a:lnTo>
                  <a:cubicBezTo>
                    <a:pt x="1940737" y="289978"/>
                    <a:pt x="1945461" y="293399"/>
                    <a:pt x="1945461" y="293399"/>
                  </a:cubicBezTo>
                  <a:lnTo>
                    <a:pt x="1951326" y="293888"/>
                  </a:lnTo>
                  <a:lnTo>
                    <a:pt x="1956539" y="298612"/>
                  </a:lnTo>
                  <a:lnTo>
                    <a:pt x="1959634" y="298612"/>
                  </a:lnTo>
                  <a:cubicBezTo>
                    <a:pt x="1959634" y="298612"/>
                    <a:pt x="1959960" y="295354"/>
                    <a:pt x="1959960" y="295354"/>
                  </a:cubicBezTo>
                  <a:lnTo>
                    <a:pt x="1952792" y="288349"/>
                  </a:lnTo>
                  <a:lnTo>
                    <a:pt x="1947416" y="286557"/>
                  </a:lnTo>
                  <a:lnTo>
                    <a:pt x="1941551" y="286557"/>
                  </a:lnTo>
                  <a:cubicBezTo>
                    <a:pt x="1941551" y="286557"/>
                    <a:pt x="1935361" y="280855"/>
                    <a:pt x="1935361" y="280855"/>
                  </a:cubicBezTo>
                  <a:lnTo>
                    <a:pt x="1931614" y="279878"/>
                  </a:lnTo>
                  <a:lnTo>
                    <a:pt x="1930474" y="281344"/>
                  </a:lnTo>
                  <a:lnTo>
                    <a:pt x="1930474" y="281344"/>
                  </a:lnTo>
                  <a:close/>
                  <a:moveTo>
                    <a:pt x="2093383" y="443276"/>
                  </a:moveTo>
                  <a:lnTo>
                    <a:pt x="2097944" y="449303"/>
                  </a:lnTo>
                  <a:lnTo>
                    <a:pt x="2102017" y="450770"/>
                  </a:lnTo>
                  <a:lnTo>
                    <a:pt x="2102506" y="448000"/>
                  </a:lnTo>
                  <a:lnTo>
                    <a:pt x="2109347" y="446045"/>
                  </a:lnTo>
                  <a:lnTo>
                    <a:pt x="2110814" y="443602"/>
                  </a:lnTo>
                  <a:lnTo>
                    <a:pt x="2109022" y="440343"/>
                  </a:lnTo>
                  <a:lnTo>
                    <a:pt x="2107067" y="434642"/>
                  </a:lnTo>
                  <a:lnTo>
                    <a:pt x="2105112" y="435619"/>
                  </a:lnTo>
                  <a:lnTo>
                    <a:pt x="2104135" y="439855"/>
                  </a:lnTo>
                  <a:lnTo>
                    <a:pt x="2099410" y="443113"/>
                  </a:lnTo>
                  <a:cubicBezTo>
                    <a:pt x="2099410" y="443113"/>
                    <a:pt x="2093871" y="443602"/>
                    <a:pt x="2093545" y="443276"/>
                  </a:cubicBezTo>
                  <a:lnTo>
                    <a:pt x="2093545" y="443276"/>
                  </a:lnTo>
                  <a:close/>
                  <a:moveTo>
                    <a:pt x="2664705" y="398965"/>
                  </a:moveTo>
                  <a:lnTo>
                    <a:pt x="2666497" y="398965"/>
                  </a:lnTo>
                  <a:cubicBezTo>
                    <a:pt x="2666497" y="398965"/>
                    <a:pt x="2667474" y="394729"/>
                    <a:pt x="2667474" y="394729"/>
                  </a:cubicBezTo>
                  <a:lnTo>
                    <a:pt x="2665845" y="390493"/>
                  </a:lnTo>
                  <a:lnTo>
                    <a:pt x="2663239" y="390167"/>
                  </a:lnTo>
                  <a:lnTo>
                    <a:pt x="2662424" y="392122"/>
                  </a:lnTo>
                  <a:lnTo>
                    <a:pt x="2664705" y="398802"/>
                  </a:lnTo>
                  <a:lnTo>
                    <a:pt x="2664705" y="398802"/>
                  </a:lnTo>
                  <a:close/>
                  <a:moveTo>
                    <a:pt x="2660795" y="403037"/>
                  </a:moveTo>
                  <a:lnTo>
                    <a:pt x="2663239" y="404178"/>
                  </a:lnTo>
                  <a:lnTo>
                    <a:pt x="2662913" y="400268"/>
                  </a:lnTo>
                  <a:lnTo>
                    <a:pt x="2660633" y="396195"/>
                  </a:lnTo>
                  <a:lnTo>
                    <a:pt x="2657374" y="396195"/>
                  </a:lnTo>
                  <a:cubicBezTo>
                    <a:pt x="2657374" y="396195"/>
                    <a:pt x="2657048" y="398476"/>
                    <a:pt x="2657048" y="398476"/>
                  </a:cubicBezTo>
                  <a:lnTo>
                    <a:pt x="2660795" y="402874"/>
                  </a:lnTo>
                  <a:lnTo>
                    <a:pt x="2660795" y="402874"/>
                  </a:lnTo>
                  <a:close/>
                  <a:moveTo>
                    <a:pt x="2656560" y="405644"/>
                  </a:moveTo>
                  <a:lnTo>
                    <a:pt x="2660633" y="411183"/>
                  </a:lnTo>
                  <a:lnTo>
                    <a:pt x="2663076" y="416070"/>
                  </a:lnTo>
                  <a:lnTo>
                    <a:pt x="2664542" y="413789"/>
                  </a:lnTo>
                  <a:lnTo>
                    <a:pt x="2662750" y="407110"/>
                  </a:lnTo>
                  <a:lnTo>
                    <a:pt x="2658188" y="403363"/>
                  </a:lnTo>
                  <a:lnTo>
                    <a:pt x="2656234" y="403363"/>
                  </a:lnTo>
                  <a:cubicBezTo>
                    <a:pt x="2656234" y="403363"/>
                    <a:pt x="2656560" y="405481"/>
                    <a:pt x="2656560" y="405481"/>
                  </a:cubicBezTo>
                  <a:lnTo>
                    <a:pt x="2656560" y="405481"/>
                  </a:lnTo>
                  <a:close/>
                  <a:moveTo>
                    <a:pt x="2643527" y="402549"/>
                  </a:moveTo>
                  <a:lnTo>
                    <a:pt x="2646296" y="407925"/>
                  </a:lnTo>
                  <a:lnTo>
                    <a:pt x="2649554" y="410205"/>
                  </a:lnTo>
                  <a:lnTo>
                    <a:pt x="2651020" y="407436"/>
                  </a:lnTo>
                  <a:lnTo>
                    <a:pt x="2652487" y="406784"/>
                  </a:lnTo>
                  <a:lnTo>
                    <a:pt x="2651020" y="401408"/>
                  </a:lnTo>
                  <a:lnTo>
                    <a:pt x="2647926" y="399779"/>
                  </a:lnTo>
                  <a:lnTo>
                    <a:pt x="2647274" y="401245"/>
                  </a:lnTo>
                  <a:lnTo>
                    <a:pt x="2643527" y="402711"/>
                  </a:lnTo>
                  <a:lnTo>
                    <a:pt x="2643527" y="402711"/>
                  </a:lnTo>
                  <a:close/>
                  <a:moveTo>
                    <a:pt x="2786072" y="343901"/>
                  </a:moveTo>
                  <a:lnTo>
                    <a:pt x="2791449" y="346671"/>
                  </a:lnTo>
                  <a:lnTo>
                    <a:pt x="2797313" y="345204"/>
                  </a:lnTo>
                  <a:lnTo>
                    <a:pt x="2800245" y="340154"/>
                  </a:lnTo>
                  <a:lnTo>
                    <a:pt x="2799268" y="334615"/>
                  </a:lnTo>
                  <a:lnTo>
                    <a:pt x="2795195" y="329891"/>
                  </a:lnTo>
                  <a:lnTo>
                    <a:pt x="2796824" y="328262"/>
                  </a:lnTo>
                  <a:lnTo>
                    <a:pt x="2794869" y="323538"/>
                  </a:lnTo>
                  <a:lnTo>
                    <a:pt x="2789493" y="319791"/>
                  </a:lnTo>
                  <a:lnTo>
                    <a:pt x="2788353" y="322071"/>
                  </a:lnTo>
                  <a:lnTo>
                    <a:pt x="2784117" y="321746"/>
                  </a:lnTo>
                  <a:lnTo>
                    <a:pt x="2779556" y="319302"/>
                  </a:lnTo>
                  <a:lnTo>
                    <a:pt x="2774343" y="319302"/>
                  </a:lnTo>
                  <a:cubicBezTo>
                    <a:pt x="2774343" y="319302"/>
                    <a:pt x="2773528" y="321257"/>
                    <a:pt x="2773528" y="321257"/>
                  </a:cubicBezTo>
                  <a:lnTo>
                    <a:pt x="2770433" y="321746"/>
                  </a:lnTo>
                  <a:lnTo>
                    <a:pt x="2771247" y="323538"/>
                  </a:lnTo>
                  <a:lnTo>
                    <a:pt x="2767338" y="323863"/>
                  </a:lnTo>
                  <a:lnTo>
                    <a:pt x="2765709" y="328262"/>
                  </a:lnTo>
                  <a:lnTo>
                    <a:pt x="2766035" y="336896"/>
                  </a:lnTo>
                  <a:lnTo>
                    <a:pt x="2768478" y="338362"/>
                  </a:lnTo>
                  <a:lnTo>
                    <a:pt x="2773202" y="337711"/>
                  </a:lnTo>
                  <a:lnTo>
                    <a:pt x="2779393" y="339014"/>
                  </a:lnTo>
                  <a:lnTo>
                    <a:pt x="2785909" y="343738"/>
                  </a:lnTo>
                  <a:lnTo>
                    <a:pt x="2785909" y="343738"/>
                  </a:lnTo>
                  <a:close/>
                  <a:moveTo>
                    <a:pt x="2817514" y="332172"/>
                  </a:moveTo>
                  <a:lnTo>
                    <a:pt x="2820609" y="329239"/>
                  </a:lnTo>
                  <a:lnTo>
                    <a:pt x="2821424" y="325492"/>
                  </a:lnTo>
                  <a:lnTo>
                    <a:pt x="2817025" y="326796"/>
                  </a:lnTo>
                  <a:lnTo>
                    <a:pt x="2815396" y="329239"/>
                  </a:lnTo>
                  <a:lnTo>
                    <a:pt x="2817514" y="332172"/>
                  </a:lnTo>
                  <a:lnTo>
                    <a:pt x="2817514" y="332172"/>
                  </a:lnTo>
                  <a:close/>
                  <a:moveTo>
                    <a:pt x="2852702" y="1703704"/>
                  </a:moveTo>
                  <a:lnTo>
                    <a:pt x="2851888" y="1698002"/>
                  </a:lnTo>
                  <a:lnTo>
                    <a:pt x="2852865" y="1692463"/>
                  </a:lnTo>
                  <a:lnTo>
                    <a:pt x="2850584" y="1687739"/>
                  </a:lnTo>
                  <a:lnTo>
                    <a:pt x="2848955" y="1681874"/>
                  </a:lnTo>
                  <a:lnTo>
                    <a:pt x="2850095" y="1673566"/>
                  </a:lnTo>
                  <a:lnTo>
                    <a:pt x="2854657" y="1669493"/>
                  </a:lnTo>
                  <a:lnTo>
                    <a:pt x="2857101" y="1670633"/>
                  </a:lnTo>
                  <a:lnTo>
                    <a:pt x="2857101" y="1674380"/>
                  </a:lnTo>
                  <a:lnTo>
                    <a:pt x="2860033" y="1676335"/>
                  </a:lnTo>
                  <a:lnTo>
                    <a:pt x="2869970" y="1675358"/>
                  </a:lnTo>
                  <a:lnTo>
                    <a:pt x="2871111" y="1672914"/>
                  </a:lnTo>
                  <a:lnTo>
                    <a:pt x="2873554" y="1672425"/>
                  </a:lnTo>
                  <a:lnTo>
                    <a:pt x="2875184" y="1675032"/>
                  </a:lnTo>
                  <a:lnTo>
                    <a:pt x="2873881" y="1676824"/>
                  </a:lnTo>
                  <a:lnTo>
                    <a:pt x="2874206" y="1680734"/>
                  </a:lnTo>
                  <a:lnTo>
                    <a:pt x="2879582" y="1686436"/>
                  </a:lnTo>
                  <a:lnTo>
                    <a:pt x="2880234" y="1690997"/>
                  </a:lnTo>
                  <a:lnTo>
                    <a:pt x="2883166" y="1694092"/>
                  </a:lnTo>
                  <a:lnTo>
                    <a:pt x="2883166" y="1690671"/>
                  </a:lnTo>
                  <a:cubicBezTo>
                    <a:pt x="2883166" y="1690671"/>
                    <a:pt x="2882189" y="1687902"/>
                    <a:pt x="2882189" y="1687902"/>
                  </a:cubicBezTo>
                  <a:lnTo>
                    <a:pt x="2882515" y="1682526"/>
                  </a:lnTo>
                  <a:lnTo>
                    <a:pt x="2882515" y="1676661"/>
                  </a:lnTo>
                  <a:lnTo>
                    <a:pt x="2877790" y="1672588"/>
                  </a:lnTo>
                  <a:lnTo>
                    <a:pt x="2876487" y="1665746"/>
                  </a:lnTo>
                  <a:lnTo>
                    <a:pt x="2874695" y="1661510"/>
                  </a:lnTo>
                  <a:lnTo>
                    <a:pt x="2870948" y="1663302"/>
                  </a:lnTo>
                  <a:lnTo>
                    <a:pt x="2867690" y="1663302"/>
                  </a:lnTo>
                  <a:lnTo>
                    <a:pt x="2860685" y="1658904"/>
                  </a:lnTo>
                  <a:lnTo>
                    <a:pt x="2859544" y="1651410"/>
                  </a:lnTo>
                  <a:lnTo>
                    <a:pt x="2856286" y="1645545"/>
                  </a:lnTo>
                  <a:lnTo>
                    <a:pt x="2850095" y="1640006"/>
                  </a:lnTo>
                  <a:lnTo>
                    <a:pt x="2846186" y="1639029"/>
                  </a:lnTo>
                  <a:lnTo>
                    <a:pt x="2842113" y="1633979"/>
                  </a:lnTo>
                  <a:lnTo>
                    <a:pt x="2839833" y="1625182"/>
                  </a:lnTo>
                  <a:lnTo>
                    <a:pt x="2835922" y="1618502"/>
                  </a:lnTo>
                  <a:lnTo>
                    <a:pt x="2834131" y="1612312"/>
                  </a:lnTo>
                  <a:lnTo>
                    <a:pt x="2834131" y="1604003"/>
                  </a:lnTo>
                  <a:cubicBezTo>
                    <a:pt x="2834131" y="1604003"/>
                    <a:pt x="2833316" y="1594066"/>
                    <a:pt x="2833316" y="1594066"/>
                  </a:cubicBezTo>
                  <a:lnTo>
                    <a:pt x="2830220" y="1588853"/>
                  </a:lnTo>
                  <a:lnTo>
                    <a:pt x="2831361" y="1580219"/>
                  </a:lnTo>
                  <a:lnTo>
                    <a:pt x="2830872" y="1575169"/>
                  </a:lnTo>
                  <a:lnTo>
                    <a:pt x="2827288" y="1568652"/>
                  </a:lnTo>
                  <a:lnTo>
                    <a:pt x="2829732" y="1565394"/>
                  </a:lnTo>
                  <a:lnTo>
                    <a:pt x="2830709" y="1561647"/>
                  </a:lnTo>
                  <a:lnTo>
                    <a:pt x="2830709" y="1558715"/>
                  </a:lnTo>
                  <a:cubicBezTo>
                    <a:pt x="2830709" y="1558715"/>
                    <a:pt x="2832990" y="1558389"/>
                    <a:pt x="2832990" y="1558389"/>
                  </a:cubicBezTo>
                  <a:lnTo>
                    <a:pt x="2835922" y="1559041"/>
                  </a:lnTo>
                  <a:lnTo>
                    <a:pt x="2841950" y="1557574"/>
                  </a:lnTo>
                  <a:lnTo>
                    <a:pt x="2847978" y="1558389"/>
                  </a:lnTo>
                  <a:lnTo>
                    <a:pt x="2853354" y="1561973"/>
                  </a:lnTo>
                  <a:lnTo>
                    <a:pt x="2856938" y="1569304"/>
                  </a:lnTo>
                  <a:lnTo>
                    <a:pt x="2862314" y="1571259"/>
                  </a:lnTo>
                  <a:lnTo>
                    <a:pt x="2867038" y="1574354"/>
                  </a:lnTo>
                  <a:lnTo>
                    <a:pt x="2871600" y="1581522"/>
                  </a:lnTo>
                  <a:lnTo>
                    <a:pt x="2874532" y="1582825"/>
                  </a:lnTo>
                  <a:lnTo>
                    <a:pt x="2872088" y="1576309"/>
                  </a:lnTo>
                  <a:lnTo>
                    <a:pt x="2866875" y="1569793"/>
                  </a:lnTo>
                  <a:lnTo>
                    <a:pt x="2859544" y="1564417"/>
                  </a:lnTo>
                  <a:lnTo>
                    <a:pt x="2855472" y="1557411"/>
                  </a:lnTo>
                  <a:lnTo>
                    <a:pt x="2851073" y="1551221"/>
                  </a:lnTo>
                  <a:lnTo>
                    <a:pt x="2851073" y="1547963"/>
                  </a:lnTo>
                  <a:lnTo>
                    <a:pt x="2848141" y="1545356"/>
                  </a:lnTo>
                  <a:lnTo>
                    <a:pt x="2843417" y="1536396"/>
                  </a:lnTo>
                  <a:lnTo>
                    <a:pt x="2841136" y="1530532"/>
                  </a:lnTo>
                  <a:lnTo>
                    <a:pt x="2837715" y="1528740"/>
                  </a:lnTo>
                  <a:lnTo>
                    <a:pt x="2837063" y="1523689"/>
                  </a:lnTo>
                  <a:lnTo>
                    <a:pt x="2829569" y="1514729"/>
                  </a:lnTo>
                  <a:lnTo>
                    <a:pt x="2822564" y="1502185"/>
                  </a:lnTo>
                  <a:lnTo>
                    <a:pt x="2820935" y="1495995"/>
                  </a:lnTo>
                  <a:lnTo>
                    <a:pt x="2811975" y="1483939"/>
                  </a:lnTo>
                  <a:lnTo>
                    <a:pt x="2807413" y="1475142"/>
                  </a:lnTo>
                  <a:lnTo>
                    <a:pt x="2803667" y="1472536"/>
                  </a:lnTo>
                  <a:lnTo>
                    <a:pt x="2803667" y="1467160"/>
                  </a:lnTo>
                  <a:lnTo>
                    <a:pt x="2800734" y="1462435"/>
                  </a:lnTo>
                  <a:lnTo>
                    <a:pt x="2797476" y="1461132"/>
                  </a:lnTo>
                  <a:lnTo>
                    <a:pt x="2797476" y="1463413"/>
                  </a:lnTo>
                  <a:cubicBezTo>
                    <a:pt x="2797476" y="1463413"/>
                    <a:pt x="2794218" y="1463087"/>
                    <a:pt x="2794218" y="1463087"/>
                  </a:cubicBezTo>
                  <a:lnTo>
                    <a:pt x="2793077" y="1461132"/>
                  </a:lnTo>
                  <a:lnTo>
                    <a:pt x="2794218" y="1456897"/>
                  </a:lnTo>
                  <a:lnTo>
                    <a:pt x="2792752" y="1453150"/>
                  </a:lnTo>
                  <a:lnTo>
                    <a:pt x="2788027" y="1450217"/>
                  </a:lnTo>
                  <a:lnTo>
                    <a:pt x="2783466" y="1444678"/>
                  </a:lnTo>
                  <a:lnTo>
                    <a:pt x="2780859" y="1437673"/>
                  </a:lnTo>
                  <a:lnTo>
                    <a:pt x="2778253" y="1433763"/>
                  </a:lnTo>
                  <a:lnTo>
                    <a:pt x="2777601" y="1428224"/>
                  </a:lnTo>
                  <a:lnTo>
                    <a:pt x="2778904" y="1424152"/>
                  </a:lnTo>
                  <a:lnTo>
                    <a:pt x="2780045" y="1425129"/>
                  </a:lnTo>
                  <a:lnTo>
                    <a:pt x="2778742" y="1417798"/>
                  </a:lnTo>
                  <a:lnTo>
                    <a:pt x="2777601" y="1409490"/>
                  </a:lnTo>
                  <a:lnTo>
                    <a:pt x="2776298" y="1403788"/>
                  </a:lnTo>
                  <a:lnTo>
                    <a:pt x="2771085" y="1401507"/>
                  </a:lnTo>
                  <a:lnTo>
                    <a:pt x="2765709" y="1395643"/>
                  </a:lnTo>
                  <a:lnTo>
                    <a:pt x="2765220" y="1392385"/>
                  </a:lnTo>
                  <a:lnTo>
                    <a:pt x="2762451" y="1389615"/>
                  </a:lnTo>
                  <a:lnTo>
                    <a:pt x="2762451" y="1387008"/>
                  </a:lnTo>
                  <a:lnTo>
                    <a:pt x="2764731" y="1386520"/>
                  </a:lnTo>
                  <a:lnTo>
                    <a:pt x="2769456" y="1391244"/>
                  </a:lnTo>
                  <a:lnTo>
                    <a:pt x="2774180" y="1398249"/>
                  </a:lnTo>
                  <a:lnTo>
                    <a:pt x="2771899" y="1391733"/>
                  </a:lnTo>
                  <a:lnTo>
                    <a:pt x="2766035" y="1382936"/>
                  </a:lnTo>
                  <a:lnTo>
                    <a:pt x="2760170" y="1376745"/>
                  </a:lnTo>
                  <a:lnTo>
                    <a:pt x="2757889" y="1376745"/>
                  </a:lnTo>
                  <a:lnTo>
                    <a:pt x="2756423" y="1372347"/>
                  </a:lnTo>
                  <a:lnTo>
                    <a:pt x="2746160" y="1364038"/>
                  </a:lnTo>
                  <a:lnTo>
                    <a:pt x="2742738" y="1358336"/>
                  </a:lnTo>
                  <a:lnTo>
                    <a:pt x="2743064" y="1349865"/>
                  </a:lnTo>
                  <a:lnTo>
                    <a:pt x="2740132" y="1346607"/>
                  </a:lnTo>
                  <a:lnTo>
                    <a:pt x="2732312" y="1343675"/>
                  </a:lnTo>
                  <a:lnTo>
                    <a:pt x="2728891" y="1336507"/>
                  </a:lnTo>
                  <a:lnTo>
                    <a:pt x="2727099" y="1334226"/>
                  </a:lnTo>
                  <a:lnTo>
                    <a:pt x="2725307" y="1336832"/>
                  </a:lnTo>
                  <a:lnTo>
                    <a:pt x="2727099" y="1339113"/>
                  </a:lnTo>
                  <a:lnTo>
                    <a:pt x="2727099" y="1342860"/>
                  </a:lnTo>
                  <a:cubicBezTo>
                    <a:pt x="2727099" y="1342860"/>
                    <a:pt x="2724330" y="1344000"/>
                    <a:pt x="2724330" y="1344000"/>
                  </a:cubicBezTo>
                  <a:lnTo>
                    <a:pt x="2720583" y="1341394"/>
                  </a:lnTo>
                  <a:lnTo>
                    <a:pt x="2716347" y="1341720"/>
                  </a:lnTo>
                  <a:lnTo>
                    <a:pt x="2723026" y="1348725"/>
                  </a:lnTo>
                  <a:lnTo>
                    <a:pt x="2731824" y="1353938"/>
                  </a:lnTo>
                  <a:lnTo>
                    <a:pt x="2734430" y="1358011"/>
                  </a:lnTo>
                  <a:lnTo>
                    <a:pt x="2733615" y="1363712"/>
                  </a:lnTo>
                  <a:lnTo>
                    <a:pt x="2736059" y="1361432"/>
                  </a:lnTo>
                  <a:lnTo>
                    <a:pt x="2738992" y="1361106"/>
                  </a:lnTo>
                  <a:lnTo>
                    <a:pt x="2740295" y="1364527"/>
                  </a:lnTo>
                  <a:lnTo>
                    <a:pt x="2738340" y="1366971"/>
                  </a:lnTo>
                  <a:lnTo>
                    <a:pt x="2734919" y="1368437"/>
                  </a:lnTo>
                  <a:lnTo>
                    <a:pt x="2735896" y="1371695"/>
                  </a:lnTo>
                  <a:lnTo>
                    <a:pt x="2739806" y="1371695"/>
                  </a:lnTo>
                  <a:cubicBezTo>
                    <a:pt x="2739806" y="1371695"/>
                    <a:pt x="2741109" y="1377071"/>
                    <a:pt x="2741109" y="1377071"/>
                  </a:cubicBezTo>
                  <a:lnTo>
                    <a:pt x="2737036" y="1379515"/>
                  </a:lnTo>
                  <a:lnTo>
                    <a:pt x="2733127" y="1378700"/>
                  </a:lnTo>
                  <a:lnTo>
                    <a:pt x="2730031" y="1374465"/>
                  </a:lnTo>
                  <a:lnTo>
                    <a:pt x="2726774" y="1377560"/>
                  </a:lnTo>
                  <a:lnTo>
                    <a:pt x="2724004" y="1384402"/>
                  </a:lnTo>
                  <a:lnTo>
                    <a:pt x="2728565" y="1389615"/>
                  </a:lnTo>
                  <a:lnTo>
                    <a:pt x="2730031" y="1395643"/>
                  </a:lnTo>
                  <a:lnTo>
                    <a:pt x="2735245" y="1401833"/>
                  </a:lnTo>
                  <a:lnTo>
                    <a:pt x="2739643" y="1409979"/>
                  </a:lnTo>
                  <a:lnTo>
                    <a:pt x="2740132" y="1420894"/>
                  </a:lnTo>
                  <a:lnTo>
                    <a:pt x="2741924" y="1423337"/>
                  </a:lnTo>
                  <a:lnTo>
                    <a:pt x="2743064" y="1431483"/>
                  </a:lnTo>
                  <a:lnTo>
                    <a:pt x="2746322" y="1443701"/>
                  </a:lnTo>
                  <a:lnTo>
                    <a:pt x="2750395" y="1451846"/>
                  </a:lnTo>
                  <a:lnTo>
                    <a:pt x="2755934" y="1454779"/>
                  </a:lnTo>
                  <a:lnTo>
                    <a:pt x="2756423" y="1457222"/>
                  </a:lnTo>
                  <a:lnTo>
                    <a:pt x="2753979" y="1458851"/>
                  </a:lnTo>
                  <a:lnTo>
                    <a:pt x="2766523" y="1471232"/>
                  </a:lnTo>
                  <a:lnTo>
                    <a:pt x="2770759" y="1472699"/>
                  </a:lnTo>
                  <a:lnTo>
                    <a:pt x="2776624" y="1481333"/>
                  </a:lnTo>
                  <a:lnTo>
                    <a:pt x="2778253" y="1489804"/>
                  </a:lnTo>
                  <a:lnTo>
                    <a:pt x="2777764" y="1496483"/>
                  </a:lnTo>
                  <a:lnTo>
                    <a:pt x="2781836" y="1503326"/>
                  </a:lnTo>
                  <a:lnTo>
                    <a:pt x="2781836" y="1508539"/>
                  </a:lnTo>
                  <a:lnTo>
                    <a:pt x="2786072" y="1511471"/>
                  </a:lnTo>
                  <a:lnTo>
                    <a:pt x="2790797" y="1516847"/>
                  </a:lnTo>
                  <a:lnTo>
                    <a:pt x="2789331" y="1518313"/>
                  </a:lnTo>
                  <a:lnTo>
                    <a:pt x="2789819" y="1522223"/>
                  </a:lnTo>
                  <a:lnTo>
                    <a:pt x="2795521" y="1531183"/>
                  </a:lnTo>
                  <a:lnTo>
                    <a:pt x="2796824" y="1536885"/>
                  </a:lnTo>
                  <a:lnTo>
                    <a:pt x="2799431" y="1543890"/>
                  </a:lnTo>
                  <a:lnTo>
                    <a:pt x="2800245" y="1553339"/>
                  </a:lnTo>
                  <a:lnTo>
                    <a:pt x="2802038" y="1556597"/>
                  </a:lnTo>
                  <a:lnTo>
                    <a:pt x="2801386" y="1561647"/>
                  </a:lnTo>
                  <a:lnTo>
                    <a:pt x="2802526" y="1570118"/>
                  </a:lnTo>
                  <a:lnTo>
                    <a:pt x="2806599" y="1580056"/>
                  </a:lnTo>
                  <a:lnTo>
                    <a:pt x="2805458" y="1583803"/>
                  </a:lnTo>
                  <a:lnTo>
                    <a:pt x="2806110" y="1590645"/>
                  </a:lnTo>
                  <a:lnTo>
                    <a:pt x="2811160" y="1595044"/>
                  </a:lnTo>
                  <a:lnTo>
                    <a:pt x="2820609" y="1606773"/>
                  </a:lnTo>
                  <a:lnTo>
                    <a:pt x="2820609" y="1611823"/>
                  </a:lnTo>
                  <a:lnTo>
                    <a:pt x="2824519" y="1618828"/>
                  </a:lnTo>
                  <a:lnTo>
                    <a:pt x="2823542" y="1629580"/>
                  </a:lnTo>
                  <a:lnTo>
                    <a:pt x="2824845" y="1638052"/>
                  </a:lnTo>
                  <a:lnTo>
                    <a:pt x="2829081" y="1646034"/>
                  </a:lnTo>
                  <a:lnTo>
                    <a:pt x="2830384" y="1651410"/>
                  </a:lnTo>
                  <a:lnTo>
                    <a:pt x="2837226" y="1660207"/>
                  </a:lnTo>
                  <a:lnTo>
                    <a:pt x="2837877" y="1664117"/>
                  </a:lnTo>
                  <a:lnTo>
                    <a:pt x="2836411" y="1672262"/>
                  </a:lnTo>
                  <a:lnTo>
                    <a:pt x="2835760" y="1683014"/>
                  </a:lnTo>
                  <a:lnTo>
                    <a:pt x="2838040" y="1689531"/>
                  </a:lnTo>
                  <a:lnTo>
                    <a:pt x="2843417" y="1693441"/>
                  </a:lnTo>
                  <a:lnTo>
                    <a:pt x="2847163" y="1701260"/>
                  </a:lnTo>
                  <a:lnTo>
                    <a:pt x="2853679" y="1705170"/>
                  </a:lnTo>
                  <a:lnTo>
                    <a:pt x="2853679" y="1705170"/>
                  </a:lnTo>
                  <a:close/>
                  <a:moveTo>
                    <a:pt x="2591722" y="1341720"/>
                  </a:moveTo>
                  <a:lnTo>
                    <a:pt x="2593351" y="1341068"/>
                  </a:lnTo>
                  <a:lnTo>
                    <a:pt x="2594002" y="1338624"/>
                  </a:lnTo>
                  <a:lnTo>
                    <a:pt x="2595631" y="1336995"/>
                  </a:lnTo>
                  <a:lnTo>
                    <a:pt x="2597912" y="1337647"/>
                  </a:lnTo>
                  <a:lnTo>
                    <a:pt x="2601170" y="1341231"/>
                  </a:lnTo>
                  <a:lnTo>
                    <a:pt x="2605406" y="1342371"/>
                  </a:lnTo>
                  <a:lnTo>
                    <a:pt x="2608176" y="1339439"/>
                  </a:lnTo>
                  <a:lnTo>
                    <a:pt x="2609642" y="1336507"/>
                  </a:lnTo>
                  <a:lnTo>
                    <a:pt x="2607850" y="1333737"/>
                  </a:lnTo>
                  <a:lnTo>
                    <a:pt x="2607850" y="1330642"/>
                  </a:lnTo>
                  <a:cubicBezTo>
                    <a:pt x="2607850" y="1330642"/>
                    <a:pt x="2610945" y="1327873"/>
                    <a:pt x="2610945" y="1327873"/>
                  </a:cubicBezTo>
                  <a:lnTo>
                    <a:pt x="2611760" y="1325429"/>
                  </a:lnTo>
                  <a:lnTo>
                    <a:pt x="2607687" y="1325429"/>
                  </a:lnTo>
                  <a:cubicBezTo>
                    <a:pt x="2607687" y="1325429"/>
                    <a:pt x="2606872" y="1327710"/>
                    <a:pt x="2606872" y="1327710"/>
                  </a:cubicBezTo>
                  <a:lnTo>
                    <a:pt x="2604103" y="1329502"/>
                  </a:lnTo>
                  <a:lnTo>
                    <a:pt x="2603126" y="1328035"/>
                  </a:lnTo>
                  <a:lnTo>
                    <a:pt x="2605243" y="1324777"/>
                  </a:lnTo>
                  <a:lnTo>
                    <a:pt x="2605569" y="1322822"/>
                  </a:lnTo>
                  <a:lnTo>
                    <a:pt x="2604266" y="1321682"/>
                  </a:lnTo>
                  <a:lnTo>
                    <a:pt x="2598890" y="1322822"/>
                  </a:lnTo>
                  <a:lnTo>
                    <a:pt x="2595469" y="1321030"/>
                  </a:lnTo>
                  <a:lnTo>
                    <a:pt x="2592699" y="1323474"/>
                  </a:lnTo>
                  <a:lnTo>
                    <a:pt x="2591396" y="1328035"/>
                  </a:lnTo>
                  <a:lnTo>
                    <a:pt x="2588138" y="1330968"/>
                  </a:lnTo>
                  <a:lnTo>
                    <a:pt x="2588138" y="1334715"/>
                  </a:lnTo>
                  <a:lnTo>
                    <a:pt x="2592210" y="1341557"/>
                  </a:lnTo>
                  <a:lnTo>
                    <a:pt x="2592210" y="1341557"/>
                  </a:lnTo>
                  <a:close/>
                  <a:moveTo>
                    <a:pt x="2574942" y="1337810"/>
                  </a:moveTo>
                  <a:lnTo>
                    <a:pt x="2576734" y="1336995"/>
                  </a:lnTo>
                  <a:lnTo>
                    <a:pt x="2576734" y="1335692"/>
                  </a:lnTo>
                  <a:lnTo>
                    <a:pt x="2578363" y="1333900"/>
                  </a:lnTo>
                  <a:lnTo>
                    <a:pt x="2581295" y="1335692"/>
                  </a:lnTo>
                  <a:lnTo>
                    <a:pt x="2583088" y="1334389"/>
                  </a:lnTo>
                  <a:lnTo>
                    <a:pt x="2581458" y="1330805"/>
                  </a:lnTo>
                  <a:lnTo>
                    <a:pt x="2583413" y="1327873"/>
                  </a:lnTo>
                  <a:lnTo>
                    <a:pt x="2582273" y="1324777"/>
                  </a:lnTo>
                  <a:lnTo>
                    <a:pt x="2580644" y="1324777"/>
                  </a:lnTo>
                  <a:cubicBezTo>
                    <a:pt x="2580644" y="1324777"/>
                    <a:pt x="2577711" y="1328198"/>
                    <a:pt x="2577711" y="1328198"/>
                  </a:cubicBezTo>
                  <a:lnTo>
                    <a:pt x="2572661" y="1330153"/>
                  </a:lnTo>
                  <a:lnTo>
                    <a:pt x="2572661" y="1334389"/>
                  </a:lnTo>
                  <a:cubicBezTo>
                    <a:pt x="2572661" y="1334389"/>
                    <a:pt x="2574616" y="1337973"/>
                    <a:pt x="2574616" y="1337973"/>
                  </a:cubicBezTo>
                  <a:lnTo>
                    <a:pt x="2574616" y="1337973"/>
                  </a:lnTo>
                  <a:close/>
                  <a:moveTo>
                    <a:pt x="2609804" y="1354753"/>
                  </a:moveTo>
                  <a:lnTo>
                    <a:pt x="2610782" y="1356056"/>
                  </a:lnTo>
                  <a:lnTo>
                    <a:pt x="2613715" y="1353775"/>
                  </a:lnTo>
                  <a:lnTo>
                    <a:pt x="2614855" y="1350680"/>
                  </a:lnTo>
                  <a:lnTo>
                    <a:pt x="2612085" y="1348399"/>
                  </a:lnTo>
                  <a:lnTo>
                    <a:pt x="2611434" y="1349539"/>
                  </a:lnTo>
                  <a:lnTo>
                    <a:pt x="2611922" y="1351331"/>
                  </a:lnTo>
                  <a:lnTo>
                    <a:pt x="2609967" y="1354590"/>
                  </a:lnTo>
                  <a:lnTo>
                    <a:pt x="2609967" y="1354590"/>
                  </a:lnTo>
                  <a:close/>
                  <a:moveTo>
                    <a:pt x="2604592" y="1348725"/>
                  </a:moveTo>
                  <a:lnTo>
                    <a:pt x="2604592" y="1351657"/>
                  </a:lnTo>
                  <a:cubicBezTo>
                    <a:pt x="2604592" y="1351657"/>
                    <a:pt x="2606547" y="1354915"/>
                    <a:pt x="2606547" y="1354915"/>
                  </a:cubicBezTo>
                  <a:lnTo>
                    <a:pt x="2607687" y="1352472"/>
                  </a:lnTo>
                  <a:lnTo>
                    <a:pt x="2607361" y="1348725"/>
                  </a:lnTo>
                  <a:lnTo>
                    <a:pt x="2606058" y="1347584"/>
                  </a:lnTo>
                  <a:lnTo>
                    <a:pt x="2604592" y="1348725"/>
                  </a:lnTo>
                  <a:lnTo>
                    <a:pt x="2604592" y="1348725"/>
                  </a:lnTo>
                  <a:close/>
                  <a:moveTo>
                    <a:pt x="2605732" y="1372347"/>
                  </a:moveTo>
                  <a:lnTo>
                    <a:pt x="2608664" y="1367622"/>
                  </a:lnTo>
                  <a:lnTo>
                    <a:pt x="2611434" y="1366808"/>
                  </a:lnTo>
                  <a:lnTo>
                    <a:pt x="2613063" y="1362735"/>
                  </a:lnTo>
                  <a:lnTo>
                    <a:pt x="2611922" y="1361269"/>
                  </a:lnTo>
                  <a:lnTo>
                    <a:pt x="2613226" y="1358174"/>
                  </a:lnTo>
                  <a:lnTo>
                    <a:pt x="2605732" y="1359966"/>
                  </a:lnTo>
                  <a:lnTo>
                    <a:pt x="2601496" y="1365830"/>
                  </a:lnTo>
                  <a:lnTo>
                    <a:pt x="2601985" y="1369577"/>
                  </a:lnTo>
                  <a:lnTo>
                    <a:pt x="2605732" y="1372347"/>
                  </a:lnTo>
                  <a:lnTo>
                    <a:pt x="2605732" y="1372347"/>
                  </a:lnTo>
                  <a:close/>
                  <a:moveTo>
                    <a:pt x="2801711" y="1073245"/>
                  </a:moveTo>
                  <a:lnTo>
                    <a:pt x="2803992" y="1073571"/>
                  </a:lnTo>
                  <a:lnTo>
                    <a:pt x="2807576" y="1068358"/>
                  </a:lnTo>
                  <a:lnTo>
                    <a:pt x="2807902" y="1064774"/>
                  </a:lnTo>
                  <a:lnTo>
                    <a:pt x="2804807" y="1065426"/>
                  </a:lnTo>
                  <a:lnTo>
                    <a:pt x="2802200" y="1069336"/>
                  </a:lnTo>
                  <a:lnTo>
                    <a:pt x="2801874" y="1073245"/>
                  </a:lnTo>
                  <a:lnTo>
                    <a:pt x="2801874" y="1073245"/>
                  </a:lnTo>
                  <a:close/>
                  <a:moveTo>
                    <a:pt x="3114497" y="1040664"/>
                  </a:moveTo>
                  <a:lnTo>
                    <a:pt x="3116126" y="1041315"/>
                  </a:lnTo>
                  <a:lnTo>
                    <a:pt x="3115475" y="1035613"/>
                  </a:lnTo>
                  <a:lnTo>
                    <a:pt x="3113031" y="1030889"/>
                  </a:lnTo>
                  <a:lnTo>
                    <a:pt x="3114660" y="1028445"/>
                  </a:lnTo>
                  <a:lnTo>
                    <a:pt x="3114660" y="1024861"/>
                  </a:lnTo>
                  <a:lnTo>
                    <a:pt x="3117267" y="1018834"/>
                  </a:lnTo>
                  <a:lnTo>
                    <a:pt x="3121176" y="1014272"/>
                  </a:lnTo>
                  <a:lnTo>
                    <a:pt x="3127530" y="1009711"/>
                  </a:lnTo>
                  <a:lnTo>
                    <a:pt x="3129974" y="1008408"/>
                  </a:lnTo>
                  <a:lnTo>
                    <a:pt x="3128670" y="1002869"/>
                  </a:lnTo>
                  <a:lnTo>
                    <a:pt x="3126064" y="996515"/>
                  </a:lnTo>
                  <a:lnTo>
                    <a:pt x="3120199" y="989836"/>
                  </a:lnTo>
                  <a:lnTo>
                    <a:pt x="3117267" y="988859"/>
                  </a:lnTo>
                  <a:lnTo>
                    <a:pt x="3114660" y="991628"/>
                  </a:lnTo>
                  <a:lnTo>
                    <a:pt x="3113845" y="994234"/>
                  </a:lnTo>
                  <a:lnTo>
                    <a:pt x="3111727" y="995701"/>
                  </a:lnTo>
                  <a:lnTo>
                    <a:pt x="3105374" y="1003032"/>
                  </a:lnTo>
                  <a:lnTo>
                    <a:pt x="3102931" y="1004172"/>
                  </a:lnTo>
                  <a:lnTo>
                    <a:pt x="3099835" y="1009059"/>
                  </a:lnTo>
                  <a:lnTo>
                    <a:pt x="3102768" y="1008733"/>
                  </a:lnTo>
                  <a:lnTo>
                    <a:pt x="3107492" y="1006941"/>
                  </a:lnTo>
                  <a:lnTo>
                    <a:pt x="3108144" y="1007756"/>
                  </a:lnTo>
                  <a:lnTo>
                    <a:pt x="3106677" y="1012317"/>
                  </a:lnTo>
                  <a:lnTo>
                    <a:pt x="3108470" y="1020463"/>
                  </a:lnTo>
                  <a:lnTo>
                    <a:pt x="3111076" y="1024210"/>
                  </a:lnTo>
                  <a:lnTo>
                    <a:pt x="3111402" y="1029912"/>
                  </a:lnTo>
                  <a:lnTo>
                    <a:pt x="3109121" y="1033170"/>
                  </a:lnTo>
                  <a:lnTo>
                    <a:pt x="3110099" y="1036102"/>
                  </a:lnTo>
                  <a:lnTo>
                    <a:pt x="3114660" y="1040827"/>
                  </a:lnTo>
                  <a:lnTo>
                    <a:pt x="3114660" y="1040827"/>
                  </a:lnTo>
                  <a:close/>
                  <a:moveTo>
                    <a:pt x="3298584" y="1202270"/>
                  </a:moveTo>
                  <a:lnTo>
                    <a:pt x="3301191" y="1206342"/>
                  </a:lnTo>
                  <a:lnTo>
                    <a:pt x="3305915" y="1206342"/>
                  </a:lnTo>
                  <a:cubicBezTo>
                    <a:pt x="3305915" y="1206342"/>
                    <a:pt x="3311454" y="1211555"/>
                    <a:pt x="3311454" y="1211555"/>
                  </a:cubicBezTo>
                  <a:lnTo>
                    <a:pt x="3319111" y="1213999"/>
                  </a:lnTo>
                  <a:lnTo>
                    <a:pt x="3321881" y="1216443"/>
                  </a:lnTo>
                  <a:lnTo>
                    <a:pt x="3328723" y="1214976"/>
                  </a:lnTo>
                  <a:lnTo>
                    <a:pt x="3326768" y="1213184"/>
                  </a:lnTo>
                  <a:lnTo>
                    <a:pt x="3319111" y="1210089"/>
                  </a:lnTo>
                  <a:lnTo>
                    <a:pt x="3315853" y="1207320"/>
                  </a:lnTo>
                  <a:lnTo>
                    <a:pt x="3310640" y="1206831"/>
                  </a:lnTo>
                  <a:lnTo>
                    <a:pt x="3307218" y="1202595"/>
                  </a:lnTo>
                  <a:lnTo>
                    <a:pt x="3301028" y="1200966"/>
                  </a:lnTo>
                  <a:lnTo>
                    <a:pt x="3298747" y="1202595"/>
                  </a:lnTo>
                  <a:lnTo>
                    <a:pt x="3298747" y="1202595"/>
                  </a:lnTo>
                  <a:close/>
                  <a:moveTo>
                    <a:pt x="3245476" y="1189725"/>
                  </a:moveTo>
                  <a:lnTo>
                    <a:pt x="3249549" y="1191518"/>
                  </a:lnTo>
                  <a:lnTo>
                    <a:pt x="3253784" y="1191518"/>
                  </a:lnTo>
                  <a:cubicBezTo>
                    <a:pt x="3253784" y="1191518"/>
                    <a:pt x="3256554" y="1194287"/>
                    <a:pt x="3256554" y="1194287"/>
                  </a:cubicBezTo>
                  <a:lnTo>
                    <a:pt x="3256228" y="1196079"/>
                  </a:lnTo>
                  <a:lnTo>
                    <a:pt x="3261115" y="1202270"/>
                  </a:lnTo>
                  <a:lnTo>
                    <a:pt x="3264862" y="1203084"/>
                  </a:lnTo>
                  <a:lnTo>
                    <a:pt x="3269098" y="1207808"/>
                  </a:lnTo>
                  <a:lnTo>
                    <a:pt x="3271542" y="1208134"/>
                  </a:lnTo>
                  <a:lnTo>
                    <a:pt x="3273822" y="1206994"/>
                  </a:lnTo>
                  <a:lnTo>
                    <a:pt x="3278547" y="1211718"/>
                  </a:lnTo>
                  <a:lnTo>
                    <a:pt x="3284086" y="1212370"/>
                  </a:lnTo>
                  <a:lnTo>
                    <a:pt x="3285226" y="1210415"/>
                  </a:lnTo>
                  <a:lnTo>
                    <a:pt x="3282293" y="1204713"/>
                  </a:lnTo>
                  <a:lnTo>
                    <a:pt x="3276918" y="1202921"/>
                  </a:lnTo>
                  <a:lnTo>
                    <a:pt x="3269913" y="1197708"/>
                  </a:lnTo>
                  <a:lnTo>
                    <a:pt x="3268120" y="1192984"/>
                  </a:lnTo>
                  <a:lnTo>
                    <a:pt x="3263396" y="1192658"/>
                  </a:lnTo>
                  <a:lnTo>
                    <a:pt x="3258835" y="1185653"/>
                  </a:lnTo>
                  <a:lnTo>
                    <a:pt x="3258835" y="1183861"/>
                  </a:lnTo>
                  <a:lnTo>
                    <a:pt x="3261278" y="1181580"/>
                  </a:lnTo>
                  <a:lnTo>
                    <a:pt x="3255902" y="1181091"/>
                  </a:lnTo>
                  <a:lnTo>
                    <a:pt x="3252807" y="1182232"/>
                  </a:lnTo>
                  <a:lnTo>
                    <a:pt x="3249386" y="1182232"/>
                  </a:lnTo>
                  <a:lnTo>
                    <a:pt x="3245639" y="1186630"/>
                  </a:lnTo>
                  <a:lnTo>
                    <a:pt x="3245639" y="1189563"/>
                  </a:lnTo>
                  <a:lnTo>
                    <a:pt x="3245802" y="1189563"/>
                  </a:lnTo>
                  <a:close/>
                  <a:moveTo>
                    <a:pt x="3119547" y="1453801"/>
                  </a:moveTo>
                  <a:lnTo>
                    <a:pt x="3121665" y="1453801"/>
                  </a:lnTo>
                  <a:lnTo>
                    <a:pt x="3123620" y="1451358"/>
                  </a:lnTo>
                  <a:lnTo>
                    <a:pt x="3122643" y="1446959"/>
                  </a:lnTo>
                  <a:lnTo>
                    <a:pt x="3119873" y="1443864"/>
                  </a:lnTo>
                  <a:lnTo>
                    <a:pt x="3116289" y="1446796"/>
                  </a:lnTo>
                  <a:lnTo>
                    <a:pt x="3116289" y="1450054"/>
                  </a:lnTo>
                  <a:lnTo>
                    <a:pt x="3119547" y="1453964"/>
                  </a:lnTo>
                  <a:lnTo>
                    <a:pt x="3119547" y="1453964"/>
                  </a:lnTo>
                  <a:close/>
                  <a:moveTo>
                    <a:pt x="3092830" y="1447122"/>
                  </a:moveTo>
                  <a:lnTo>
                    <a:pt x="3092504" y="1451195"/>
                  </a:lnTo>
                  <a:lnTo>
                    <a:pt x="3094785" y="1453150"/>
                  </a:lnTo>
                  <a:lnTo>
                    <a:pt x="3099999" y="1452824"/>
                  </a:lnTo>
                  <a:lnTo>
                    <a:pt x="3100976" y="1449403"/>
                  </a:lnTo>
                  <a:lnTo>
                    <a:pt x="3095926" y="1445330"/>
                  </a:lnTo>
                  <a:lnTo>
                    <a:pt x="3092993" y="1447122"/>
                  </a:lnTo>
                  <a:lnTo>
                    <a:pt x="3092993" y="1447122"/>
                  </a:lnTo>
                  <a:close/>
                  <a:moveTo>
                    <a:pt x="3107003" y="1489804"/>
                  </a:moveTo>
                  <a:lnTo>
                    <a:pt x="3108795" y="1490130"/>
                  </a:lnTo>
                  <a:lnTo>
                    <a:pt x="3108795" y="1484265"/>
                  </a:lnTo>
                  <a:cubicBezTo>
                    <a:pt x="3108795" y="1484265"/>
                    <a:pt x="3109610" y="1480355"/>
                    <a:pt x="3109610" y="1480355"/>
                  </a:cubicBezTo>
                  <a:lnTo>
                    <a:pt x="3113683" y="1478238"/>
                  </a:lnTo>
                  <a:lnTo>
                    <a:pt x="3116615" y="1473676"/>
                  </a:lnTo>
                  <a:lnTo>
                    <a:pt x="3116289" y="1468300"/>
                  </a:lnTo>
                  <a:lnTo>
                    <a:pt x="3117104" y="1464227"/>
                  </a:lnTo>
                  <a:lnTo>
                    <a:pt x="3120036" y="1461784"/>
                  </a:lnTo>
                  <a:lnTo>
                    <a:pt x="3118407" y="1456734"/>
                  </a:lnTo>
                  <a:lnTo>
                    <a:pt x="3110261" y="1449566"/>
                  </a:lnTo>
                  <a:lnTo>
                    <a:pt x="3109121" y="1453638"/>
                  </a:lnTo>
                  <a:lnTo>
                    <a:pt x="3109773" y="1462598"/>
                  </a:lnTo>
                  <a:lnTo>
                    <a:pt x="3109121" y="1467649"/>
                  </a:lnTo>
                  <a:lnTo>
                    <a:pt x="3104723" y="1469278"/>
                  </a:lnTo>
                  <a:lnTo>
                    <a:pt x="3101790" y="1474165"/>
                  </a:lnTo>
                  <a:lnTo>
                    <a:pt x="3098695" y="1474491"/>
                  </a:lnTo>
                  <a:lnTo>
                    <a:pt x="3098206" y="1475957"/>
                  </a:lnTo>
                  <a:lnTo>
                    <a:pt x="3102116" y="1480518"/>
                  </a:lnTo>
                  <a:lnTo>
                    <a:pt x="3102116" y="1484428"/>
                  </a:lnTo>
                  <a:lnTo>
                    <a:pt x="3099184" y="1486057"/>
                  </a:lnTo>
                  <a:lnTo>
                    <a:pt x="3100324" y="1487686"/>
                  </a:lnTo>
                  <a:lnTo>
                    <a:pt x="3104886" y="1487361"/>
                  </a:lnTo>
                  <a:lnTo>
                    <a:pt x="3106515" y="1489967"/>
                  </a:lnTo>
                  <a:lnTo>
                    <a:pt x="3106515" y="1489967"/>
                  </a:lnTo>
                  <a:close/>
                  <a:moveTo>
                    <a:pt x="3102116" y="1521083"/>
                  </a:moveTo>
                  <a:cubicBezTo>
                    <a:pt x="3102116" y="1521083"/>
                    <a:pt x="3104560" y="1517987"/>
                    <a:pt x="3104560" y="1517987"/>
                  </a:cubicBezTo>
                  <a:lnTo>
                    <a:pt x="3102116" y="1512937"/>
                  </a:lnTo>
                  <a:lnTo>
                    <a:pt x="3102116" y="1508539"/>
                  </a:lnTo>
                  <a:cubicBezTo>
                    <a:pt x="3102116" y="1508539"/>
                    <a:pt x="3100487" y="1507887"/>
                    <a:pt x="3100487" y="1507887"/>
                  </a:cubicBezTo>
                  <a:lnTo>
                    <a:pt x="3100487" y="1512449"/>
                  </a:lnTo>
                  <a:lnTo>
                    <a:pt x="3098858" y="1517499"/>
                  </a:lnTo>
                  <a:lnTo>
                    <a:pt x="3102116" y="1521246"/>
                  </a:lnTo>
                  <a:lnTo>
                    <a:pt x="3102116" y="1521246"/>
                  </a:lnTo>
                  <a:close/>
                  <a:moveTo>
                    <a:pt x="3103419" y="1531183"/>
                  </a:moveTo>
                  <a:lnTo>
                    <a:pt x="3105863" y="1530043"/>
                  </a:lnTo>
                  <a:lnTo>
                    <a:pt x="3105049" y="1526947"/>
                  </a:lnTo>
                  <a:lnTo>
                    <a:pt x="3101302" y="1525481"/>
                  </a:lnTo>
                  <a:lnTo>
                    <a:pt x="3099835" y="1526459"/>
                  </a:lnTo>
                  <a:lnTo>
                    <a:pt x="3100813" y="1528740"/>
                  </a:lnTo>
                  <a:lnTo>
                    <a:pt x="3103419" y="1531183"/>
                  </a:lnTo>
                  <a:lnTo>
                    <a:pt x="3103419" y="1531183"/>
                  </a:lnTo>
                  <a:close/>
                  <a:moveTo>
                    <a:pt x="3094297" y="1538351"/>
                  </a:moveTo>
                  <a:lnTo>
                    <a:pt x="3095600" y="1537699"/>
                  </a:lnTo>
                  <a:lnTo>
                    <a:pt x="3094622" y="1536070"/>
                  </a:lnTo>
                  <a:lnTo>
                    <a:pt x="3092667" y="1535419"/>
                  </a:lnTo>
                  <a:lnTo>
                    <a:pt x="3091690" y="1537699"/>
                  </a:lnTo>
                  <a:lnTo>
                    <a:pt x="3094134" y="1538514"/>
                  </a:lnTo>
                  <a:lnTo>
                    <a:pt x="3094134" y="1538514"/>
                  </a:lnTo>
                  <a:close/>
                  <a:moveTo>
                    <a:pt x="3097718" y="1550406"/>
                  </a:moveTo>
                  <a:lnTo>
                    <a:pt x="3099509" y="1549266"/>
                  </a:lnTo>
                  <a:lnTo>
                    <a:pt x="3101465" y="1546822"/>
                  </a:lnTo>
                  <a:lnTo>
                    <a:pt x="3101790" y="1542261"/>
                  </a:lnTo>
                  <a:lnTo>
                    <a:pt x="3100161" y="1540306"/>
                  </a:lnTo>
                  <a:lnTo>
                    <a:pt x="3098695" y="1544053"/>
                  </a:lnTo>
                  <a:lnTo>
                    <a:pt x="3097718" y="1550406"/>
                  </a:lnTo>
                  <a:lnTo>
                    <a:pt x="3097718" y="1550406"/>
                  </a:lnTo>
                  <a:close/>
                  <a:moveTo>
                    <a:pt x="3090875" y="1581522"/>
                  </a:moveTo>
                  <a:lnTo>
                    <a:pt x="3092830" y="1580056"/>
                  </a:lnTo>
                  <a:lnTo>
                    <a:pt x="3090386" y="1578427"/>
                  </a:lnTo>
                  <a:lnTo>
                    <a:pt x="3088758" y="1579404"/>
                  </a:lnTo>
                  <a:lnTo>
                    <a:pt x="3090713" y="1581685"/>
                  </a:lnTo>
                  <a:lnTo>
                    <a:pt x="3090713" y="1581685"/>
                  </a:lnTo>
                  <a:close/>
                  <a:moveTo>
                    <a:pt x="3089409" y="1599605"/>
                  </a:moveTo>
                  <a:lnTo>
                    <a:pt x="3090875" y="1595695"/>
                  </a:lnTo>
                  <a:lnTo>
                    <a:pt x="3089735" y="1592926"/>
                  </a:lnTo>
                  <a:lnTo>
                    <a:pt x="3088106" y="1595369"/>
                  </a:lnTo>
                  <a:lnTo>
                    <a:pt x="3089409" y="1599605"/>
                  </a:lnTo>
                  <a:lnTo>
                    <a:pt x="3089409" y="1599605"/>
                  </a:lnTo>
                  <a:close/>
                  <a:moveTo>
                    <a:pt x="3088269" y="1603515"/>
                  </a:moveTo>
                  <a:lnTo>
                    <a:pt x="3089246" y="1606610"/>
                  </a:lnTo>
                  <a:lnTo>
                    <a:pt x="3090875" y="1603678"/>
                  </a:lnTo>
                  <a:lnTo>
                    <a:pt x="3088269" y="1603678"/>
                  </a:lnTo>
                  <a:close/>
                  <a:moveTo>
                    <a:pt x="3083545" y="1612312"/>
                  </a:moveTo>
                  <a:lnTo>
                    <a:pt x="3084033" y="1614104"/>
                  </a:lnTo>
                  <a:lnTo>
                    <a:pt x="3086314" y="1614918"/>
                  </a:lnTo>
                  <a:lnTo>
                    <a:pt x="3086965" y="1612312"/>
                  </a:lnTo>
                  <a:lnTo>
                    <a:pt x="3084522" y="1611171"/>
                  </a:lnTo>
                  <a:lnTo>
                    <a:pt x="3083545" y="1612312"/>
                  </a:lnTo>
                  <a:lnTo>
                    <a:pt x="3083545" y="1612312"/>
                  </a:lnTo>
                  <a:close/>
                  <a:moveTo>
                    <a:pt x="3079309" y="1633979"/>
                  </a:moveTo>
                  <a:lnTo>
                    <a:pt x="3081264" y="1631209"/>
                  </a:lnTo>
                  <a:lnTo>
                    <a:pt x="3082078" y="1622738"/>
                  </a:lnTo>
                  <a:lnTo>
                    <a:pt x="3080286" y="1622412"/>
                  </a:lnTo>
                  <a:lnTo>
                    <a:pt x="3079797" y="1626811"/>
                  </a:lnTo>
                  <a:lnTo>
                    <a:pt x="3077680" y="1633327"/>
                  </a:lnTo>
                  <a:lnTo>
                    <a:pt x="3079472" y="1633979"/>
                  </a:lnTo>
                  <a:lnTo>
                    <a:pt x="3079472" y="1633979"/>
                  </a:lnTo>
                  <a:close/>
                  <a:moveTo>
                    <a:pt x="3035160" y="1692137"/>
                  </a:moveTo>
                  <a:lnTo>
                    <a:pt x="3037767" y="1693115"/>
                  </a:lnTo>
                  <a:lnTo>
                    <a:pt x="3043143" y="1687739"/>
                  </a:lnTo>
                  <a:lnTo>
                    <a:pt x="3046890" y="1681548"/>
                  </a:lnTo>
                  <a:lnTo>
                    <a:pt x="3050148" y="1679105"/>
                  </a:lnTo>
                  <a:lnTo>
                    <a:pt x="3050148" y="1674054"/>
                  </a:lnTo>
                  <a:cubicBezTo>
                    <a:pt x="3050148" y="1674054"/>
                    <a:pt x="3051940" y="1668515"/>
                    <a:pt x="3051940" y="1668515"/>
                  </a:cubicBezTo>
                  <a:lnTo>
                    <a:pt x="3057153" y="1661348"/>
                  </a:lnTo>
                  <a:lnTo>
                    <a:pt x="3054709" y="1662651"/>
                  </a:lnTo>
                  <a:lnTo>
                    <a:pt x="3049497" y="1663628"/>
                  </a:lnTo>
                  <a:lnTo>
                    <a:pt x="3047053" y="1668841"/>
                  </a:lnTo>
                  <a:lnTo>
                    <a:pt x="3045098" y="1670633"/>
                  </a:lnTo>
                  <a:lnTo>
                    <a:pt x="3043632" y="1675195"/>
                  </a:lnTo>
                  <a:lnTo>
                    <a:pt x="3041677" y="1677313"/>
                  </a:lnTo>
                  <a:lnTo>
                    <a:pt x="3040699" y="1680408"/>
                  </a:lnTo>
                  <a:lnTo>
                    <a:pt x="3036952" y="1684481"/>
                  </a:lnTo>
                  <a:lnTo>
                    <a:pt x="3035324" y="1691974"/>
                  </a:lnTo>
                  <a:lnTo>
                    <a:pt x="3035324" y="1691974"/>
                  </a:lnTo>
                  <a:close/>
                  <a:moveTo>
                    <a:pt x="2987265" y="1748341"/>
                  </a:moveTo>
                  <a:lnTo>
                    <a:pt x="2989709" y="1747364"/>
                  </a:lnTo>
                  <a:lnTo>
                    <a:pt x="2991175" y="1741825"/>
                  </a:lnTo>
                  <a:lnTo>
                    <a:pt x="2994759" y="1738729"/>
                  </a:lnTo>
                  <a:lnTo>
                    <a:pt x="2993944" y="1732213"/>
                  </a:lnTo>
                  <a:lnTo>
                    <a:pt x="2996388" y="1729932"/>
                  </a:lnTo>
                  <a:lnTo>
                    <a:pt x="2996714" y="1727326"/>
                  </a:lnTo>
                  <a:lnTo>
                    <a:pt x="2999158" y="1725371"/>
                  </a:lnTo>
                  <a:lnTo>
                    <a:pt x="3001764" y="1726511"/>
                  </a:lnTo>
                  <a:lnTo>
                    <a:pt x="3005185" y="1723253"/>
                  </a:lnTo>
                  <a:lnTo>
                    <a:pt x="3008932" y="1715596"/>
                  </a:lnTo>
                  <a:lnTo>
                    <a:pt x="3013982" y="1709569"/>
                  </a:lnTo>
                  <a:lnTo>
                    <a:pt x="3019684" y="1709080"/>
                  </a:lnTo>
                  <a:lnTo>
                    <a:pt x="3023594" y="1706636"/>
                  </a:lnTo>
                  <a:lnTo>
                    <a:pt x="3023268" y="1701423"/>
                  </a:lnTo>
                  <a:lnTo>
                    <a:pt x="3021639" y="1696373"/>
                  </a:lnTo>
                  <a:lnTo>
                    <a:pt x="3018381" y="1697350"/>
                  </a:lnTo>
                  <a:lnTo>
                    <a:pt x="3013005" y="1703541"/>
                  </a:lnTo>
                  <a:lnTo>
                    <a:pt x="3011865" y="1707451"/>
                  </a:lnTo>
                  <a:lnTo>
                    <a:pt x="3008769" y="1707777"/>
                  </a:lnTo>
                  <a:lnTo>
                    <a:pt x="3005185" y="1710220"/>
                  </a:lnTo>
                  <a:lnTo>
                    <a:pt x="3002579" y="1709243"/>
                  </a:lnTo>
                  <a:lnTo>
                    <a:pt x="3000786" y="1705333"/>
                  </a:lnTo>
                  <a:lnTo>
                    <a:pt x="2999646" y="1705822"/>
                  </a:lnTo>
                  <a:lnTo>
                    <a:pt x="2997854" y="1710220"/>
                  </a:lnTo>
                  <a:lnTo>
                    <a:pt x="2999483" y="1712990"/>
                  </a:lnTo>
                  <a:lnTo>
                    <a:pt x="2997529" y="1716411"/>
                  </a:lnTo>
                  <a:lnTo>
                    <a:pt x="2994433" y="1721624"/>
                  </a:lnTo>
                  <a:lnTo>
                    <a:pt x="2992152" y="1721624"/>
                  </a:lnTo>
                  <a:cubicBezTo>
                    <a:pt x="2992152" y="1721624"/>
                    <a:pt x="2992478" y="1724393"/>
                    <a:pt x="2992478" y="1724393"/>
                  </a:cubicBezTo>
                  <a:lnTo>
                    <a:pt x="2991175" y="1729444"/>
                  </a:lnTo>
                  <a:lnTo>
                    <a:pt x="2987102" y="1731724"/>
                  </a:lnTo>
                  <a:lnTo>
                    <a:pt x="2986613" y="1734657"/>
                  </a:lnTo>
                  <a:lnTo>
                    <a:pt x="2989057" y="1737263"/>
                  </a:lnTo>
                  <a:lnTo>
                    <a:pt x="2987102" y="1739055"/>
                  </a:lnTo>
                  <a:lnTo>
                    <a:pt x="2986125" y="1742965"/>
                  </a:lnTo>
                  <a:lnTo>
                    <a:pt x="2987428" y="1748667"/>
                  </a:lnTo>
                  <a:lnTo>
                    <a:pt x="2987428" y="1748667"/>
                  </a:lnTo>
                  <a:close/>
                  <a:moveTo>
                    <a:pt x="2966250" y="1782226"/>
                  </a:moveTo>
                  <a:cubicBezTo>
                    <a:pt x="2966250" y="1782226"/>
                    <a:pt x="2966413" y="1775058"/>
                    <a:pt x="2966413" y="1775058"/>
                  </a:cubicBezTo>
                  <a:lnTo>
                    <a:pt x="2968693" y="1762840"/>
                  </a:lnTo>
                  <a:lnTo>
                    <a:pt x="2970974" y="1761700"/>
                  </a:lnTo>
                  <a:lnTo>
                    <a:pt x="2977165" y="1755835"/>
                  </a:lnTo>
                  <a:lnTo>
                    <a:pt x="2978305" y="1750296"/>
                  </a:lnTo>
                  <a:lnTo>
                    <a:pt x="2976839" y="1750296"/>
                  </a:lnTo>
                  <a:lnTo>
                    <a:pt x="2973092" y="1751273"/>
                  </a:lnTo>
                  <a:lnTo>
                    <a:pt x="2970322" y="1750296"/>
                  </a:lnTo>
                  <a:lnTo>
                    <a:pt x="2967716" y="1747852"/>
                  </a:lnTo>
                  <a:lnTo>
                    <a:pt x="2966250" y="1749644"/>
                  </a:lnTo>
                  <a:lnTo>
                    <a:pt x="2965272" y="1755672"/>
                  </a:lnTo>
                  <a:lnTo>
                    <a:pt x="2963969" y="1761048"/>
                  </a:lnTo>
                  <a:lnTo>
                    <a:pt x="2962992" y="1768542"/>
                  </a:lnTo>
                  <a:lnTo>
                    <a:pt x="2960385" y="1773592"/>
                  </a:lnTo>
                  <a:lnTo>
                    <a:pt x="2961526" y="1776687"/>
                  </a:lnTo>
                  <a:lnTo>
                    <a:pt x="2966087" y="1782063"/>
                  </a:lnTo>
                  <a:lnTo>
                    <a:pt x="2966087" y="1782063"/>
                  </a:lnTo>
                  <a:close/>
                  <a:moveTo>
                    <a:pt x="49198" y="1372021"/>
                  </a:moveTo>
                  <a:cubicBezTo>
                    <a:pt x="49198" y="1372021"/>
                    <a:pt x="47407" y="1376582"/>
                    <a:pt x="47407" y="1376582"/>
                  </a:cubicBezTo>
                  <a:lnTo>
                    <a:pt x="52457" y="1379189"/>
                  </a:lnTo>
                  <a:lnTo>
                    <a:pt x="54086" y="1376582"/>
                  </a:lnTo>
                  <a:lnTo>
                    <a:pt x="49198" y="1372021"/>
                  </a:lnTo>
                  <a:close/>
                </a:path>
              </a:pathLst>
            </a:custGeom>
            <a:solidFill>
              <a:schemeClr val="bg2"/>
            </a:solidFill>
            <a:ln w="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1" name="Forma livre: Forma 190">
              <a:extLst>
                <a:ext uri="{FF2B5EF4-FFF2-40B4-BE49-F238E27FC236}">
                  <a16:creationId xmlns:a16="http://schemas.microsoft.com/office/drawing/2014/main" id="{08B94891-D670-648B-508D-1C1545A07ED0}"/>
                </a:ext>
              </a:extLst>
            </p:cNvPr>
            <p:cNvSpPr/>
            <p:nvPr/>
          </p:nvSpPr>
          <p:spPr>
            <a:xfrm>
              <a:off x="8425434" y="4589696"/>
              <a:ext cx="56734" cy="191414"/>
            </a:xfrm>
            <a:custGeom>
              <a:avLst/>
              <a:gdLst>
                <a:gd name="connsiteX0" fmla="*/ 16617 w 54900"/>
                <a:gd name="connsiteY0" fmla="*/ 33885 h 185227"/>
                <a:gd name="connsiteX1" fmla="*/ 22318 w 54900"/>
                <a:gd name="connsiteY1" fmla="*/ 29487 h 185227"/>
                <a:gd name="connsiteX2" fmla="*/ 22318 w 54900"/>
                <a:gd name="connsiteY2" fmla="*/ 22319 h 185227"/>
                <a:gd name="connsiteX3" fmla="*/ 18898 w 54900"/>
                <a:gd name="connsiteY3" fmla="*/ 20038 h 185227"/>
                <a:gd name="connsiteX4" fmla="*/ 22807 w 54900"/>
                <a:gd name="connsiteY4" fmla="*/ 14336 h 185227"/>
                <a:gd name="connsiteX5" fmla="*/ 22807 w 54900"/>
                <a:gd name="connsiteY5" fmla="*/ 8960 h 185227"/>
                <a:gd name="connsiteX6" fmla="*/ 21341 w 54900"/>
                <a:gd name="connsiteY6" fmla="*/ 7168 h 185227"/>
                <a:gd name="connsiteX7" fmla="*/ 22970 w 54900"/>
                <a:gd name="connsiteY7" fmla="*/ 2932 h 185227"/>
                <a:gd name="connsiteX8" fmla="*/ 21830 w 54900"/>
                <a:gd name="connsiteY8" fmla="*/ 0 h 185227"/>
                <a:gd name="connsiteX9" fmla="*/ 16943 w 54900"/>
                <a:gd name="connsiteY9" fmla="*/ 5702 h 185227"/>
                <a:gd name="connsiteX10" fmla="*/ 17920 w 54900"/>
                <a:gd name="connsiteY10" fmla="*/ 14173 h 185227"/>
                <a:gd name="connsiteX11" fmla="*/ 16454 w 54900"/>
                <a:gd name="connsiteY11" fmla="*/ 17106 h 185227"/>
                <a:gd name="connsiteX12" fmla="*/ 17431 w 54900"/>
                <a:gd name="connsiteY12" fmla="*/ 20527 h 185227"/>
                <a:gd name="connsiteX13" fmla="*/ 14499 w 54900"/>
                <a:gd name="connsiteY13" fmla="*/ 31604 h 185227"/>
                <a:gd name="connsiteX14" fmla="*/ 16943 w 54900"/>
                <a:gd name="connsiteY14" fmla="*/ 33885 h 185227"/>
                <a:gd name="connsiteX15" fmla="*/ 16943 w 54900"/>
                <a:gd name="connsiteY15" fmla="*/ 33885 h 185227"/>
                <a:gd name="connsiteX16" fmla="*/ 13847 w 54900"/>
                <a:gd name="connsiteY16" fmla="*/ 63698 h 185227"/>
                <a:gd name="connsiteX17" fmla="*/ 17594 w 54900"/>
                <a:gd name="connsiteY17" fmla="*/ 55552 h 185227"/>
                <a:gd name="connsiteX18" fmla="*/ 17105 w 54900"/>
                <a:gd name="connsiteY18" fmla="*/ 50828 h 185227"/>
                <a:gd name="connsiteX19" fmla="*/ 15314 w 54900"/>
                <a:gd name="connsiteY19" fmla="*/ 47570 h 185227"/>
                <a:gd name="connsiteX20" fmla="*/ 16943 w 54900"/>
                <a:gd name="connsiteY20" fmla="*/ 42031 h 185227"/>
                <a:gd name="connsiteX21" fmla="*/ 19875 w 54900"/>
                <a:gd name="connsiteY21" fmla="*/ 39424 h 185227"/>
                <a:gd name="connsiteX22" fmla="*/ 19875 w 54900"/>
                <a:gd name="connsiteY22" fmla="*/ 36980 h 185227"/>
                <a:gd name="connsiteX23" fmla="*/ 12870 w 54900"/>
                <a:gd name="connsiteY23" fmla="*/ 39424 h 185227"/>
                <a:gd name="connsiteX24" fmla="*/ 12870 w 54900"/>
                <a:gd name="connsiteY24" fmla="*/ 46755 h 185227"/>
                <a:gd name="connsiteX25" fmla="*/ 11241 w 54900"/>
                <a:gd name="connsiteY25" fmla="*/ 50013 h 185227"/>
                <a:gd name="connsiteX26" fmla="*/ 14010 w 54900"/>
                <a:gd name="connsiteY26" fmla="*/ 55878 h 185227"/>
                <a:gd name="connsiteX27" fmla="*/ 12544 w 54900"/>
                <a:gd name="connsiteY27" fmla="*/ 60114 h 185227"/>
                <a:gd name="connsiteX28" fmla="*/ 14010 w 54900"/>
                <a:gd name="connsiteY28" fmla="*/ 63535 h 185227"/>
                <a:gd name="connsiteX29" fmla="*/ 14010 w 54900"/>
                <a:gd name="connsiteY29" fmla="*/ 63535 h 185227"/>
                <a:gd name="connsiteX30" fmla="*/ 0 w 54900"/>
                <a:gd name="connsiteY30" fmla="*/ 58322 h 185227"/>
                <a:gd name="connsiteX31" fmla="*/ 5702 w 54900"/>
                <a:gd name="connsiteY31" fmla="*/ 59788 h 185227"/>
                <a:gd name="connsiteX32" fmla="*/ 3747 w 54900"/>
                <a:gd name="connsiteY32" fmla="*/ 56204 h 185227"/>
                <a:gd name="connsiteX33" fmla="*/ 0 w 54900"/>
                <a:gd name="connsiteY33" fmla="*/ 58159 h 185227"/>
                <a:gd name="connsiteX34" fmla="*/ 0 w 54900"/>
                <a:gd name="connsiteY34" fmla="*/ 58159 h 185227"/>
                <a:gd name="connsiteX35" fmla="*/ 9286 w 54900"/>
                <a:gd name="connsiteY35" fmla="*/ 87319 h 185227"/>
                <a:gd name="connsiteX36" fmla="*/ 14173 w 54900"/>
                <a:gd name="connsiteY36" fmla="*/ 87319 h 185227"/>
                <a:gd name="connsiteX37" fmla="*/ 16780 w 54900"/>
                <a:gd name="connsiteY37" fmla="*/ 80477 h 185227"/>
                <a:gd name="connsiteX38" fmla="*/ 15150 w 54900"/>
                <a:gd name="connsiteY38" fmla="*/ 74612 h 185227"/>
                <a:gd name="connsiteX39" fmla="*/ 9775 w 54900"/>
                <a:gd name="connsiteY39" fmla="*/ 77382 h 185227"/>
                <a:gd name="connsiteX40" fmla="*/ 9286 w 54900"/>
                <a:gd name="connsiteY40" fmla="*/ 82921 h 185227"/>
                <a:gd name="connsiteX41" fmla="*/ 9286 w 54900"/>
                <a:gd name="connsiteY41" fmla="*/ 87319 h 185227"/>
                <a:gd name="connsiteX42" fmla="*/ 9286 w 54900"/>
                <a:gd name="connsiteY42" fmla="*/ 87319 h 185227"/>
                <a:gd name="connsiteX43" fmla="*/ 24111 w 54900"/>
                <a:gd name="connsiteY43" fmla="*/ 118435 h 185227"/>
                <a:gd name="connsiteX44" fmla="*/ 19386 w 54900"/>
                <a:gd name="connsiteY44" fmla="*/ 119901 h 185227"/>
                <a:gd name="connsiteX45" fmla="*/ 22482 w 54900"/>
                <a:gd name="connsiteY45" fmla="*/ 121530 h 185227"/>
                <a:gd name="connsiteX46" fmla="*/ 24111 w 54900"/>
                <a:gd name="connsiteY46" fmla="*/ 118435 h 185227"/>
                <a:gd name="connsiteX47" fmla="*/ 24111 w 54900"/>
                <a:gd name="connsiteY47" fmla="*/ 118435 h 185227"/>
                <a:gd name="connsiteX48" fmla="*/ 30301 w 54900"/>
                <a:gd name="connsiteY48" fmla="*/ 138799 h 185227"/>
                <a:gd name="connsiteX49" fmla="*/ 33885 w 54900"/>
                <a:gd name="connsiteY49" fmla="*/ 139776 h 185227"/>
                <a:gd name="connsiteX50" fmla="*/ 35840 w 54900"/>
                <a:gd name="connsiteY50" fmla="*/ 146618 h 185227"/>
                <a:gd name="connsiteX51" fmla="*/ 31767 w 54900"/>
                <a:gd name="connsiteY51" fmla="*/ 142709 h 185227"/>
                <a:gd name="connsiteX52" fmla="*/ 30464 w 54900"/>
                <a:gd name="connsiteY52" fmla="*/ 138799 h 185227"/>
                <a:gd name="connsiteX53" fmla="*/ 30464 w 54900"/>
                <a:gd name="connsiteY53" fmla="*/ 138799 h 185227"/>
                <a:gd name="connsiteX54" fmla="*/ 43823 w 54900"/>
                <a:gd name="connsiteY54" fmla="*/ 142057 h 185227"/>
                <a:gd name="connsiteX55" fmla="*/ 41705 w 54900"/>
                <a:gd name="connsiteY55" fmla="*/ 146455 h 185227"/>
                <a:gd name="connsiteX56" fmla="*/ 43986 w 54900"/>
                <a:gd name="connsiteY56" fmla="*/ 150202 h 185227"/>
                <a:gd name="connsiteX57" fmla="*/ 45941 w 54900"/>
                <a:gd name="connsiteY57" fmla="*/ 147922 h 185227"/>
                <a:gd name="connsiteX58" fmla="*/ 45941 w 54900"/>
                <a:gd name="connsiteY58" fmla="*/ 144012 h 185227"/>
                <a:gd name="connsiteX59" fmla="*/ 43986 w 54900"/>
                <a:gd name="connsiteY59" fmla="*/ 142220 h 185227"/>
                <a:gd name="connsiteX60" fmla="*/ 43986 w 54900"/>
                <a:gd name="connsiteY60" fmla="*/ 142220 h 185227"/>
                <a:gd name="connsiteX61" fmla="*/ 37632 w 54900"/>
                <a:gd name="connsiteY61" fmla="*/ 155415 h 185227"/>
                <a:gd name="connsiteX62" fmla="*/ 41053 w 54900"/>
                <a:gd name="connsiteY62" fmla="*/ 157696 h 185227"/>
                <a:gd name="connsiteX63" fmla="*/ 43497 w 54900"/>
                <a:gd name="connsiteY63" fmla="*/ 156067 h 185227"/>
                <a:gd name="connsiteX64" fmla="*/ 40890 w 54900"/>
                <a:gd name="connsiteY64" fmla="*/ 151017 h 185227"/>
                <a:gd name="connsiteX65" fmla="*/ 36329 w 54900"/>
                <a:gd name="connsiteY65" fmla="*/ 151994 h 185227"/>
                <a:gd name="connsiteX66" fmla="*/ 37632 w 54900"/>
                <a:gd name="connsiteY66" fmla="*/ 155578 h 185227"/>
                <a:gd name="connsiteX67" fmla="*/ 37632 w 54900"/>
                <a:gd name="connsiteY67" fmla="*/ 155578 h 185227"/>
                <a:gd name="connsiteX68" fmla="*/ 46429 w 54900"/>
                <a:gd name="connsiteY68" fmla="*/ 168774 h 185227"/>
                <a:gd name="connsiteX69" fmla="*/ 50339 w 54900"/>
                <a:gd name="connsiteY69" fmla="*/ 164050 h 185227"/>
                <a:gd name="connsiteX70" fmla="*/ 47407 w 54900"/>
                <a:gd name="connsiteY70" fmla="*/ 164050 h 185227"/>
                <a:gd name="connsiteX71" fmla="*/ 44637 w 54900"/>
                <a:gd name="connsiteY71" fmla="*/ 167308 h 185227"/>
                <a:gd name="connsiteX72" fmla="*/ 46266 w 54900"/>
                <a:gd name="connsiteY72" fmla="*/ 168937 h 185227"/>
                <a:gd name="connsiteX73" fmla="*/ 46266 w 54900"/>
                <a:gd name="connsiteY73" fmla="*/ 168937 h 185227"/>
                <a:gd name="connsiteX74" fmla="*/ 50665 w 54900"/>
                <a:gd name="connsiteY74" fmla="*/ 169914 h 185227"/>
                <a:gd name="connsiteX75" fmla="*/ 47081 w 54900"/>
                <a:gd name="connsiteY75" fmla="*/ 173498 h 185227"/>
                <a:gd name="connsiteX76" fmla="*/ 47081 w 54900"/>
                <a:gd name="connsiteY76" fmla="*/ 178549 h 185227"/>
                <a:gd name="connsiteX77" fmla="*/ 50013 w 54900"/>
                <a:gd name="connsiteY77" fmla="*/ 180015 h 185227"/>
                <a:gd name="connsiteX78" fmla="*/ 51968 w 54900"/>
                <a:gd name="connsiteY78" fmla="*/ 185228 h 185227"/>
                <a:gd name="connsiteX79" fmla="*/ 54900 w 54900"/>
                <a:gd name="connsiteY79" fmla="*/ 181644 h 185227"/>
                <a:gd name="connsiteX80" fmla="*/ 53434 w 54900"/>
                <a:gd name="connsiteY80" fmla="*/ 177408 h 185227"/>
                <a:gd name="connsiteX81" fmla="*/ 53434 w 54900"/>
                <a:gd name="connsiteY81" fmla="*/ 172684 h 185227"/>
                <a:gd name="connsiteX82" fmla="*/ 50665 w 54900"/>
                <a:gd name="connsiteY82" fmla="*/ 170077 h 1852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</a:cxnLst>
              <a:rect l="l" t="t" r="r" b="b"/>
              <a:pathLst>
                <a:path w="54900" h="185227">
                  <a:moveTo>
                    <a:pt x="16617" y="33885"/>
                  </a:moveTo>
                  <a:lnTo>
                    <a:pt x="22318" y="29487"/>
                  </a:lnTo>
                  <a:lnTo>
                    <a:pt x="22318" y="22319"/>
                  </a:lnTo>
                  <a:lnTo>
                    <a:pt x="18898" y="20038"/>
                  </a:lnTo>
                  <a:lnTo>
                    <a:pt x="22807" y="14336"/>
                  </a:lnTo>
                  <a:lnTo>
                    <a:pt x="22807" y="8960"/>
                  </a:lnTo>
                  <a:cubicBezTo>
                    <a:pt x="22807" y="8960"/>
                    <a:pt x="21341" y="7168"/>
                    <a:pt x="21341" y="7168"/>
                  </a:cubicBezTo>
                  <a:lnTo>
                    <a:pt x="22970" y="2932"/>
                  </a:lnTo>
                  <a:lnTo>
                    <a:pt x="21830" y="0"/>
                  </a:lnTo>
                  <a:lnTo>
                    <a:pt x="16943" y="5702"/>
                  </a:lnTo>
                  <a:lnTo>
                    <a:pt x="17920" y="14173"/>
                  </a:lnTo>
                  <a:lnTo>
                    <a:pt x="16454" y="17106"/>
                  </a:lnTo>
                  <a:lnTo>
                    <a:pt x="17431" y="20527"/>
                  </a:lnTo>
                  <a:lnTo>
                    <a:pt x="14499" y="31604"/>
                  </a:lnTo>
                  <a:lnTo>
                    <a:pt x="16943" y="33885"/>
                  </a:lnTo>
                  <a:lnTo>
                    <a:pt x="16943" y="33885"/>
                  </a:lnTo>
                  <a:close/>
                  <a:moveTo>
                    <a:pt x="13847" y="63698"/>
                  </a:moveTo>
                  <a:lnTo>
                    <a:pt x="17594" y="55552"/>
                  </a:lnTo>
                  <a:lnTo>
                    <a:pt x="17105" y="50828"/>
                  </a:lnTo>
                  <a:lnTo>
                    <a:pt x="15314" y="47570"/>
                  </a:lnTo>
                  <a:lnTo>
                    <a:pt x="16943" y="42031"/>
                  </a:lnTo>
                  <a:lnTo>
                    <a:pt x="19875" y="39424"/>
                  </a:lnTo>
                  <a:lnTo>
                    <a:pt x="19875" y="36980"/>
                  </a:lnTo>
                  <a:lnTo>
                    <a:pt x="12870" y="39424"/>
                  </a:lnTo>
                  <a:lnTo>
                    <a:pt x="12870" y="46755"/>
                  </a:lnTo>
                  <a:lnTo>
                    <a:pt x="11241" y="50013"/>
                  </a:lnTo>
                  <a:lnTo>
                    <a:pt x="14010" y="55878"/>
                  </a:lnTo>
                  <a:lnTo>
                    <a:pt x="12544" y="60114"/>
                  </a:lnTo>
                  <a:lnTo>
                    <a:pt x="14010" y="63535"/>
                  </a:lnTo>
                  <a:lnTo>
                    <a:pt x="14010" y="63535"/>
                  </a:lnTo>
                  <a:close/>
                  <a:moveTo>
                    <a:pt x="0" y="58322"/>
                  </a:moveTo>
                  <a:lnTo>
                    <a:pt x="5702" y="59788"/>
                  </a:lnTo>
                  <a:lnTo>
                    <a:pt x="3747" y="56204"/>
                  </a:lnTo>
                  <a:lnTo>
                    <a:pt x="0" y="58159"/>
                  </a:lnTo>
                  <a:lnTo>
                    <a:pt x="0" y="58159"/>
                  </a:lnTo>
                  <a:close/>
                  <a:moveTo>
                    <a:pt x="9286" y="87319"/>
                  </a:moveTo>
                  <a:lnTo>
                    <a:pt x="14173" y="87319"/>
                  </a:lnTo>
                  <a:cubicBezTo>
                    <a:pt x="14173" y="87319"/>
                    <a:pt x="16780" y="80477"/>
                    <a:pt x="16780" y="80477"/>
                  </a:cubicBezTo>
                  <a:lnTo>
                    <a:pt x="15150" y="74612"/>
                  </a:lnTo>
                  <a:lnTo>
                    <a:pt x="9775" y="77382"/>
                  </a:lnTo>
                  <a:lnTo>
                    <a:pt x="9286" y="82921"/>
                  </a:lnTo>
                  <a:lnTo>
                    <a:pt x="9286" y="87319"/>
                  </a:lnTo>
                  <a:lnTo>
                    <a:pt x="9286" y="87319"/>
                  </a:lnTo>
                  <a:close/>
                  <a:moveTo>
                    <a:pt x="24111" y="118435"/>
                  </a:moveTo>
                  <a:lnTo>
                    <a:pt x="19386" y="119901"/>
                  </a:lnTo>
                  <a:lnTo>
                    <a:pt x="22482" y="121530"/>
                  </a:lnTo>
                  <a:lnTo>
                    <a:pt x="24111" y="118435"/>
                  </a:lnTo>
                  <a:lnTo>
                    <a:pt x="24111" y="118435"/>
                  </a:lnTo>
                  <a:close/>
                  <a:moveTo>
                    <a:pt x="30301" y="138799"/>
                  </a:moveTo>
                  <a:lnTo>
                    <a:pt x="33885" y="139776"/>
                  </a:lnTo>
                  <a:lnTo>
                    <a:pt x="35840" y="146618"/>
                  </a:lnTo>
                  <a:lnTo>
                    <a:pt x="31767" y="142709"/>
                  </a:lnTo>
                  <a:cubicBezTo>
                    <a:pt x="31767" y="142709"/>
                    <a:pt x="30301" y="138961"/>
                    <a:pt x="30464" y="138799"/>
                  </a:cubicBezTo>
                  <a:lnTo>
                    <a:pt x="30464" y="138799"/>
                  </a:lnTo>
                  <a:close/>
                  <a:moveTo>
                    <a:pt x="43823" y="142057"/>
                  </a:moveTo>
                  <a:lnTo>
                    <a:pt x="41705" y="146455"/>
                  </a:lnTo>
                  <a:lnTo>
                    <a:pt x="43986" y="150202"/>
                  </a:lnTo>
                  <a:lnTo>
                    <a:pt x="45941" y="147922"/>
                  </a:lnTo>
                  <a:lnTo>
                    <a:pt x="45941" y="144012"/>
                  </a:lnTo>
                  <a:cubicBezTo>
                    <a:pt x="45941" y="144012"/>
                    <a:pt x="43986" y="142220"/>
                    <a:pt x="43986" y="142220"/>
                  </a:cubicBezTo>
                  <a:lnTo>
                    <a:pt x="43986" y="142220"/>
                  </a:lnTo>
                  <a:close/>
                  <a:moveTo>
                    <a:pt x="37632" y="155415"/>
                  </a:moveTo>
                  <a:lnTo>
                    <a:pt x="41053" y="157696"/>
                  </a:lnTo>
                  <a:lnTo>
                    <a:pt x="43497" y="156067"/>
                  </a:lnTo>
                  <a:lnTo>
                    <a:pt x="40890" y="151017"/>
                  </a:lnTo>
                  <a:lnTo>
                    <a:pt x="36329" y="151994"/>
                  </a:lnTo>
                  <a:lnTo>
                    <a:pt x="37632" y="155578"/>
                  </a:lnTo>
                  <a:lnTo>
                    <a:pt x="37632" y="155578"/>
                  </a:lnTo>
                  <a:close/>
                  <a:moveTo>
                    <a:pt x="46429" y="168774"/>
                  </a:moveTo>
                  <a:lnTo>
                    <a:pt x="50339" y="164050"/>
                  </a:lnTo>
                  <a:lnTo>
                    <a:pt x="47407" y="164050"/>
                  </a:lnTo>
                  <a:cubicBezTo>
                    <a:pt x="47407" y="164050"/>
                    <a:pt x="44637" y="167308"/>
                    <a:pt x="44637" y="167308"/>
                  </a:cubicBezTo>
                  <a:lnTo>
                    <a:pt x="46266" y="168937"/>
                  </a:lnTo>
                  <a:lnTo>
                    <a:pt x="46266" y="168937"/>
                  </a:lnTo>
                  <a:close/>
                  <a:moveTo>
                    <a:pt x="50665" y="169914"/>
                  </a:moveTo>
                  <a:lnTo>
                    <a:pt x="47081" y="173498"/>
                  </a:lnTo>
                  <a:lnTo>
                    <a:pt x="47081" y="178549"/>
                  </a:lnTo>
                  <a:cubicBezTo>
                    <a:pt x="47081" y="178549"/>
                    <a:pt x="49687" y="179526"/>
                    <a:pt x="50013" y="180015"/>
                  </a:cubicBezTo>
                  <a:cubicBezTo>
                    <a:pt x="50339" y="180503"/>
                    <a:pt x="51968" y="185228"/>
                    <a:pt x="51968" y="185228"/>
                  </a:cubicBezTo>
                  <a:lnTo>
                    <a:pt x="54900" y="181644"/>
                  </a:lnTo>
                  <a:lnTo>
                    <a:pt x="53434" y="177408"/>
                  </a:lnTo>
                  <a:lnTo>
                    <a:pt x="53434" y="172684"/>
                  </a:lnTo>
                  <a:cubicBezTo>
                    <a:pt x="53434" y="172684"/>
                    <a:pt x="50665" y="170077"/>
                    <a:pt x="50665" y="170077"/>
                  </a:cubicBezTo>
                  <a:close/>
                </a:path>
              </a:pathLst>
            </a:custGeom>
            <a:solidFill>
              <a:schemeClr val="bg2"/>
            </a:solidFill>
            <a:ln w="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2" name="Forma livre: Forma 191">
              <a:extLst>
                <a:ext uri="{FF2B5EF4-FFF2-40B4-BE49-F238E27FC236}">
                  <a16:creationId xmlns:a16="http://schemas.microsoft.com/office/drawing/2014/main" id="{DB91978D-1CA4-FD70-9C05-B515CF6FD604}"/>
                </a:ext>
              </a:extLst>
            </p:cNvPr>
            <p:cNvSpPr/>
            <p:nvPr/>
          </p:nvSpPr>
          <p:spPr>
            <a:xfrm>
              <a:off x="9811127" y="4532625"/>
              <a:ext cx="31649" cy="63130"/>
            </a:xfrm>
            <a:custGeom>
              <a:avLst/>
              <a:gdLst>
                <a:gd name="connsiteX0" fmla="*/ 28998 w 30626"/>
                <a:gd name="connsiteY0" fmla="*/ 0 h 61090"/>
                <a:gd name="connsiteX1" fmla="*/ 24273 w 30626"/>
                <a:gd name="connsiteY1" fmla="*/ 3910 h 61090"/>
                <a:gd name="connsiteX2" fmla="*/ 28183 w 30626"/>
                <a:gd name="connsiteY2" fmla="*/ 11404 h 61090"/>
                <a:gd name="connsiteX3" fmla="*/ 28183 w 30626"/>
                <a:gd name="connsiteY3" fmla="*/ 6028 h 61090"/>
                <a:gd name="connsiteX4" fmla="*/ 30627 w 30626"/>
                <a:gd name="connsiteY4" fmla="*/ 2769 h 61090"/>
                <a:gd name="connsiteX5" fmla="*/ 29161 w 30626"/>
                <a:gd name="connsiteY5" fmla="*/ 0 h 61090"/>
                <a:gd name="connsiteX6" fmla="*/ 29161 w 30626"/>
                <a:gd name="connsiteY6" fmla="*/ 0 h 61090"/>
                <a:gd name="connsiteX7" fmla="*/ 14825 w 30626"/>
                <a:gd name="connsiteY7" fmla="*/ 36003 h 61090"/>
                <a:gd name="connsiteX8" fmla="*/ 19386 w 30626"/>
                <a:gd name="connsiteY8" fmla="*/ 33234 h 61090"/>
                <a:gd name="connsiteX9" fmla="*/ 21015 w 30626"/>
                <a:gd name="connsiteY9" fmla="*/ 36329 h 61090"/>
                <a:gd name="connsiteX10" fmla="*/ 18083 w 30626"/>
                <a:gd name="connsiteY10" fmla="*/ 36655 h 61090"/>
                <a:gd name="connsiteX11" fmla="*/ 14825 w 30626"/>
                <a:gd name="connsiteY11" fmla="*/ 36003 h 61090"/>
                <a:gd name="connsiteX12" fmla="*/ 14825 w 30626"/>
                <a:gd name="connsiteY12" fmla="*/ 36003 h 61090"/>
                <a:gd name="connsiteX13" fmla="*/ 815 w 30626"/>
                <a:gd name="connsiteY13" fmla="*/ 56041 h 61090"/>
                <a:gd name="connsiteX14" fmla="*/ 3258 w 30626"/>
                <a:gd name="connsiteY14" fmla="*/ 51805 h 61090"/>
                <a:gd name="connsiteX15" fmla="*/ 8309 w 30626"/>
                <a:gd name="connsiteY15" fmla="*/ 50502 h 61090"/>
                <a:gd name="connsiteX16" fmla="*/ 10100 w 30626"/>
                <a:gd name="connsiteY16" fmla="*/ 51805 h 61090"/>
                <a:gd name="connsiteX17" fmla="*/ 5702 w 30626"/>
                <a:gd name="connsiteY17" fmla="*/ 59951 h 61090"/>
                <a:gd name="connsiteX18" fmla="*/ 1955 w 30626"/>
                <a:gd name="connsiteY18" fmla="*/ 61091 h 61090"/>
                <a:gd name="connsiteX19" fmla="*/ 0 w 30626"/>
                <a:gd name="connsiteY19" fmla="*/ 59299 h 61090"/>
                <a:gd name="connsiteX20" fmla="*/ 977 w 30626"/>
                <a:gd name="connsiteY20" fmla="*/ 56204 h 610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30626" h="61090">
                  <a:moveTo>
                    <a:pt x="28998" y="0"/>
                  </a:moveTo>
                  <a:lnTo>
                    <a:pt x="24273" y="3910"/>
                  </a:lnTo>
                  <a:lnTo>
                    <a:pt x="28183" y="11404"/>
                  </a:lnTo>
                  <a:lnTo>
                    <a:pt x="28183" y="6028"/>
                  </a:lnTo>
                  <a:cubicBezTo>
                    <a:pt x="28183" y="6028"/>
                    <a:pt x="30627" y="2769"/>
                    <a:pt x="30627" y="2769"/>
                  </a:cubicBezTo>
                  <a:lnTo>
                    <a:pt x="29161" y="0"/>
                  </a:lnTo>
                  <a:lnTo>
                    <a:pt x="29161" y="0"/>
                  </a:lnTo>
                  <a:close/>
                  <a:moveTo>
                    <a:pt x="14825" y="36003"/>
                  </a:moveTo>
                  <a:lnTo>
                    <a:pt x="19386" y="33234"/>
                  </a:lnTo>
                  <a:lnTo>
                    <a:pt x="21015" y="36329"/>
                  </a:lnTo>
                  <a:lnTo>
                    <a:pt x="18083" y="36655"/>
                  </a:lnTo>
                  <a:lnTo>
                    <a:pt x="14825" y="36003"/>
                  </a:lnTo>
                  <a:lnTo>
                    <a:pt x="14825" y="36003"/>
                  </a:lnTo>
                  <a:close/>
                  <a:moveTo>
                    <a:pt x="815" y="56041"/>
                  </a:moveTo>
                  <a:lnTo>
                    <a:pt x="3258" y="51805"/>
                  </a:lnTo>
                  <a:lnTo>
                    <a:pt x="8309" y="50502"/>
                  </a:lnTo>
                  <a:lnTo>
                    <a:pt x="10100" y="51805"/>
                  </a:lnTo>
                  <a:lnTo>
                    <a:pt x="5702" y="59951"/>
                  </a:lnTo>
                  <a:lnTo>
                    <a:pt x="1955" y="61091"/>
                  </a:lnTo>
                  <a:lnTo>
                    <a:pt x="0" y="59299"/>
                  </a:lnTo>
                  <a:lnTo>
                    <a:pt x="977" y="56204"/>
                  </a:lnTo>
                  <a:close/>
                </a:path>
              </a:pathLst>
            </a:custGeom>
            <a:solidFill>
              <a:schemeClr val="bg2"/>
            </a:solidFill>
            <a:ln w="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3" name="Forma livre: Forma 192">
              <a:extLst>
                <a:ext uri="{FF2B5EF4-FFF2-40B4-BE49-F238E27FC236}">
                  <a16:creationId xmlns:a16="http://schemas.microsoft.com/office/drawing/2014/main" id="{A4D3A033-7F85-49DA-9167-D5688E06D656}"/>
                </a:ext>
              </a:extLst>
            </p:cNvPr>
            <p:cNvSpPr/>
            <p:nvPr/>
          </p:nvSpPr>
          <p:spPr>
            <a:xfrm>
              <a:off x="9229645" y="3469155"/>
              <a:ext cx="417172" cy="803031"/>
            </a:xfrm>
            <a:custGeom>
              <a:avLst/>
              <a:gdLst>
                <a:gd name="connsiteX0" fmla="*/ 161280 w 403688"/>
                <a:gd name="connsiteY0" fmla="*/ 373062 h 777076"/>
                <a:gd name="connsiteX1" fmla="*/ 163561 w 403688"/>
                <a:gd name="connsiteY1" fmla="*/ 375506 h 777076"/>
                <a:gd name="connsiteX2" fmla="*/ 161769 w 403688"/>
                <a:gd name="connsiteY2" fmla="*/ 376483 h 777076"/>
                <a:gd name="connsiteX3" fmla="*/ 160466 w 403688"/>
                <a:gd name="connsiteY3" fmla="*/ 375832 h 777076"/>
                <a:gd name="connsiteX4" fmla="*/ 161280 w 403688"/>
                <a:gd name="connsiteY4" fmla="*/ 373062 h 777076"/>
                <a:gd name="connsiteX5" fmla="*/ 161280 w 403688"/>
                <a:gd name="connsiteY5" fmla="*/ 373062 h 777076"/>
                <a:gd name="connsiteX6" fmla="*/ 165679 w 403688"/>
                <a:gd name="connsiteY6" fmla="*/ 373225 h 777076"/>
                <a:gd name="connsiteX7" fmla="*/ 164050 w 403688"/>
                <a:gd name="connsiteY7" fmla="*/ 371270 h 777076"/>
                <a:gd name="connsiteX8" fmla="*/ 166004 w 403688"/>
                <a:gd name="connsiteY8" fmla="*/ 367849 h 777076"/>
                <a:gd name="connsiteX9" fmla="*/ 169100 w 403688"/>
                <a:gd name="connsiteY9" fmla="*/ 367523 h 777076"/>
                <a:gd name="connsiteX10" fmla="*/ 169915 w 403688"/>
                <a:gd name="connsiteY10" fmla="*/ 371433 h 777076"/>
                <a:gd name="connsiteX11" fmla="*/ 167959 w 403688"/>
                <a:gd name="connsiteY11" fmla="*/ 373388 h 777076"/>
                <a:gd name="connsiteX12" fmla="*/ 165679 w 403688"/>
                <a:gd name="connsiteY12" fmla="*/ 373388 h 777076"/>
                <a:gd name="connsiteX13" fmla="*/ 5213 w 403688"/>
                <a:gd name="connsiteY13" fmla="*/ 775448 h 777076"/>
                <a:gd name="connsiteX14" fmla="*/ 3910 w 403688"/>
                <a:gd name="connsiteY14" fmla="*/ 772352 h 777076"/>
                <a:gd name="connsiteX15" fmla="*/ 977 w 403688"/>
                <a:gd name="connsiteY15" fmla="*/ 772352 h 777076"/>
                <a:gd name="connsiteX16" fmla="*/ 0 w 403688"/>
                <a:gd name="connsiteY16" fmla="*/ 777077 h 777076"/>
                <a:gd name="connsiteX17" fmla="*/ 3421 w 403688"/>
                <a:gd name="connsiteY17" fmla="*/ 777077 h 777076"/>
                <a:gd name="connsiteX18" fmla="*/ 5213 w 403688"/>
                <a:gd name="connsiteY18" fmla="*/ 775448 h 777076"/>
                <a:gd name="connsiteX19" fmla="*/ 5213 w 403688"/>
                <a:gd name="connsiteY19" fmla="*/ 775448 h 777076"/>
                <a:gd name="connsiteX20" fmla="*/ 8634 w 403688"/>
                <a:gd name="connsiteY20" fmla="*/ 771049 h 777076"/>
                <a:gd name="connsiteX21" fmla="*/ 11404 w 403688"/>
                <a:gd name="connsiteY21" fmla="*/ 768117 h 777076"/>
                <a:gd name="connsiteX22" fmla="*/ 13847 w 403688"/>
                <a:gd name="connsiteY22" fmla="*/ 770234 h 777076"/>
                <a:gd name="connsiteX23" fmla="*/ 12544 w 403688"/>
                <a:gd name="connsiteY23" fmla="*/ 774959 h 777076"/>
                <a:gd name="connsiteX24" fmla="*/ 9938 w 403688"/>
                <a:gd name="connsiteY24" fmla="*/ 774144 h 777076"/>
                <a:gd name="connsiteX25" fmla="*/ 8797 w 403688"/>
                <a:gd name="connsiteY25" fmla="*/ 770886 h 777076"/>
                <a:gd name="connsiteX26" fmla="*/ 8797 w 403688"/>
                <a:gd name="connsiteY26" fmla="*/ 770886 h 777076"/>
                <a:gd name="connsiteX27" fmla="*/ 32582 w 403688"/>
                <a:gd name="connsiteY27" fmla="*/ 753618 h 777076"/>
                <a:gd name="connsiteX28" fmla="*/ 32093 w 403688"/>
                <a:gd name="connsiteY28" fmla="*/ 758994 h 777076"/>
                <a:gd name="connsiteX29" fmla="*/ 34048 w 403688"/>
                <a:gd name="connsiteY29" fmla="*/ 760786 h 777076"/>
                <a:gd name="connsiteX30" fmla="*/ 37469 w 403688"/>
                <a:gd name="connsiteY30" fmla="*/ 761112 h 777076"/>
                <a:gd name="connsiteX31" fmla="*/ 38447 w 403688"/>
                <a:gd name="connsiteY31" fmla="*/ 756387 h 777076"/>
                <a:gd name="connsiteX32" fmla="*/ 32582 w 403688"/>
                <a:gd name="connsiteY32" fmla="*/ 753618 h 777076"/>
                <a:gd name="connsiteX33" fmla="*/ 32582 w 403688"/>
                <a:gd name="connsiteY33" fmla="*/ 753618 h 777076"/>
                <a:gd name="connsiteX34" fmla="*/ 88134 w 403688"/>
                <a:gd name="connsiteY34" fmla="*/ 708655 h 777076"/>
                <a:gd name="connsiteX35" fmla="*/ 86179 w 403688"/>
                <a:gd name="connsiteY35" fmla="*/ 701813 h 777076"/>
                <a:gd name="connsiteX36" fmla="*/ 90904 w 403688"/>
                <a:gd name="connsiteY36" fmla="*/ 698555 h 777076"/>
                <a:gd name="connsiteX37" fmla="*/ 91555 w 403688"/>
                <a:gd name="connsiteY37" fmla="*/ 696111 h 777076"/>
                <a:gd name="connsiteX38" fmla="*/ 90415 w 403688"/>
                <a:gd name="connsiteY38" fmla="*/ 694319 h 777076"/>
                <a:gd name="connsiteX39" fmla="*/ 94813 w 403688"/>
                <a:gd name="connsiteY39" fmla="*/ 691712 h 777076"/>
                <a:gd name="connsiteX40" fmla="*/ 97420 w 403688"/>
                <a:gd name="connsiteY40" fmla="*/ 686499 h 777076"/>
                <a:gd name="connsiteX41" fmla="*/ 99701 w 403688"/>
                <a:gd name="connsiteY41" fmla="*/ 691712 h 777076"/>
                <a:gd name="connsiteX42" fmla="*/ 97257 w 403688"/>
                <a:gd name="connsiteY42" fmla="*/ 694808 h 777076"/>
                <a:gd name="connsiteX43" fmla="*/ 97257 w 403688"/>
                <a:gd name="connsiteY43" fmla="*/ 699206 h 777076"/>
                <a:gd name="connsiteX44" fmla="*/ 90741 w 403688"/>
                <a:gd name="connsiteY44" fmla="*/ 703116 h 777076"/>
                <a:gd name="connsiteX45" fmla="*/ 90741 w 403688"/>
                <a:gd name="connsiteY45" fmla="*/ 707677 h 777076"/>
                <a:gd name="connsiteX46" fmla="*/ 87971 w 403688"/>
                <a:gd name="connsiteY46" fmla="*/ 708655 h 777076"/>
                <a:gd name="connsiteX47" fmla="*/ 87971 w 403688"/>
                <a:gd name="connsiteY47" fmla="*/ 708655 h 777076"/>
                <a:gd name="connsiteX48" fmla="*/ 111430 w 403688"/>
                <a:gd name="connsiteY48" fmla="*/ 657013 h 777076"/>
                <a:gd name="connsiteX49" fmla="*/ 114688 w 403688"/>
                <a:gd name="connsiteY49" fmla="*/ 659619 h 777076"/>
                <a:gd name="connsiteX50" fmla="*/ 115503 w 403688"/>
                <a:gd name="connsiteY50" fmla="*/ 663855 h 777076"/>
                <a:gd name="connsiteX51" fmla="*/ 114036 w 403688"/>
                <a:gd name="connsiteY51" fmla="*/ 664995 h 777076"/>
                <a:gd name="connsiteX52" fmla="*/ 110290 w 403688"/>
                <a:gd name="connsiteY52" fmla="*/ 661900 h 777076"/>
                <a:gd name="connsiteX53" fmla="*/ 109964 w 403688"/>
                <a:gd name="connsiteY53" fmla="*/ 658805 h 777076"/>
                <a:gd name="connsiteX54" fmla="*/ 111267 w 403688"/>
                <a:gd name="connsiteY54" fmla="*/ 657013 h 777076"/>
                <a:gd name="connsiteX55" fmla="*/ 111267 w 403688"/>
                <a:gd name="connsiteY55" fmla="*/ 657013 h 777076"/>
                <a:gd name="connsiteX56" fmla="*/ 122019 w 403688"/>
                <a:gd name="connsiteY56" fmla="*/ 647564 h 777076"/>
                <a:gd name="connsiteX57" fmla="*/ 119901 w 403688"/>
                <a:gd name="connsiteY57" fmla="*/ 645935 h 777076"/>
                <a:gd name="connsiteX58" fmla="*/ 115829 w 403688"/>
                <a:gd name="connsiteY58" fmla="*/ 645935 h 777076"/>
                <a:gd name="connsiteX59" fmla="*/ 114525 w 403688"/>
                <a:gd name="connsiteY59" fmla="*/ 644632 h 777076"/>
                <a:gd name="connsiteX60" fmla="*/ 116317 w 403688"/>
                <a:gd name="connsiteY60" fmla="*/ 641048 h 777076"/>
                <a:gd name="connsiteX61" fmla="*/ 120716 w 403688"/>
                <a:gd name="connsiteY61" fmla="*/ 639093 h 777076"/>
                <a:gd name="connsiteX62" fmla="*/ 122182 w 403688"/>
                <a:gd name="connsiteY62" fmla="*/ 638767 h 777076"/>
                <a:gd name="connsiteX63" fmla="*/ 122997 w 403688"/>
                <a:gd name="connsiteY63" fmla="*/ 637138 h 777076"/>
                <a:gd name="connsiteX64" fmla="*/ 125929 w 403688"/>
                <a:gd name="connsiteY64" fmla="*/ 637138 h 777076"/>
                <a:gd name="connsiteX65" fmla="*/ 127558 w 403688"/>
                <a:gd name="connsiteY65" fmla="*/ 635997 h 777076"/>
                <a:gd name="connsiteX66" fmla="*/ 131305 w 403688"/>
                <a:gd name="connsiteY66" fmla="*/ 635020 h 777076"/>
                <a:gd name="connsiteX67" fmla="*/ 128372 w 403688"/>
                <a:gd name="connsiteY67" fmla="*/ 640070 h 777076"/>
                <a:gd name="connsiteX68" fmla="*/ 123811 w 403688"/>
                <a:gd name="connsiteY68" fmla="*/ 643166 h 777076"/>
                <a:gd name="connsiteX69" fmla="*/ 123485 w 403688"/>
                <a:gd name="connsiteY69" fmla="*/ 646261 h 777076"/>
                <a:gd name="connsiteX70" fmla="*/ 122345 w 403688"/>
                <a:gd name="connsiteY70" fmla="*/ 647727 h 777076"/>
                <a:gd name="connsiteX71" fmla="*/ 122345 w 403688"/>
                <a:gd name="connsiteY71" fmla="*/ 647727 h 777076"/>
                <a:gd name="connsiteX72" fmla="*/ 254465 w 403688"/>
                <a:gd name="connsiteY72" fmla="*/ 139287 h 777076"/>
                <a:gd name="connsiteX73" fmla="*/ 252347 w 403688"/>
                <a:gd name="connsiteY73" fmla="*/ 136844 h 777076"/>
                <a:gd name="connsiteX74" fmla="*/ 251858 w 403688"/>
                <a:gd name="connsiteY74" fmla="*/ 132934 h 777076"/>
                <a:gd name="connsiteX75" fmla="*/ 255931 w 403688"/>
                <a:gd name="connsiteY75" fmla="*/ 129187 h 777076"/>
                <a:gd name="connsiteX76" fmla="*/ 258700 w 403688"/>
                <a:gd name="connsiteY76" fmla="*/ 128210 h 777076"/>
                <a:gd name="connsiteX77" fmla="*/ 257722 w 403688"/>
                <a:gd name="connsiteY77" fmla="*/ 132771 h 777076"/>
                <a:gd name="connsiteX78" fmla="*/ 257722 w 403688"/>
                <a:gd name="connsiteY78" fmla="*/ 137007 h 777076"/>
                <a:gd name="connsiteX79" fmla="*/ 254627 w 403688"/>
                <a:gd name="connsiteY79" fmla="*/ 139124 h 777076"/>
                <a:gd name="connsiteX80" fmla="*/ 254627 w 403688"/>
                <a:gd name="connsiteY80" fmla="*/ 139124 h 777076"/>
                <a:gd name="connsiteX81" fmla="*/ 285417 w 403688"/>
                <a:gd name="connsiteY81" fmla="*/ 164538 h 777076"/>
                <a:gd name="connsiteX82" fmla="*/ 281181 w 403688"/>
                <a:gd name="connsiteY82" fmla="*/ 161932 h 777076"/>
                <a:gd name="connsiteX83" fmla="*/ 279227 w 403688"/>
                <a:gd name="connsiteY83" fmla="*/ 157696 h 777076"/>
                <a:gd name="connsiteX84" fmla="*/ 280856 w 403688"/>
                <a:gd name="connsiteY84" fmla="*/ 156556 h 777076"/>
                <a:gd name="connsiteX85" fmla="*/ 279227 w 403688"/>
                <a:gd name="connsiteY85" fmla="*/ 147433 h 777076"/>
                <a:gd name="connsiteX86" fmla="*/ 276131 w 403688"/>
                <a:gd name="connsiteY86" fmla="*/ 138636 h 777076"/>
                <a:gd name="connsiteX87" fmla="*/ 272222 w 403688"/>
                <a:gd name="connsiteY87" fmla="*/ 135052 h 777076"/>
                <a:gd name="connsiteX88" fmla="*/ 267823 w 403688"/>
                <a:gd name="connsiteY88" fmla="*/ 132119 h 777076"/>
                <a:gd name="connsiteX89" fmla="*/ 264727 w 403688"/>
                <a:gd name="connsiteY89" fmla="*/ 132119 h 777076"/>
                <a:gd name="connsiteX90" fmla="*/ 264076 w 403688"/>
                <a:gd name="connsiteY90" fmla="*/ 128535 h 777076"/>
                <a:gd name="connsiteX91" fmla="*/ 264565 w 403688"/>
                <a:gd name="connsiteY91" fmla="*/ 121530 h 777076"/>
                <a:gd name="connsiteX92" fmla="*/ 263261 w 403688"/>
                <a:gd name="connsiteY92" fmla="*/ 116480 h 777076"/>
                <a:gd name="connsiteX93" fmla="*/ 265054 w 403688"/>
                <a:gd name="connsiteY93" fmla="*/ 112245 h 777076"/>
                <a:gd name="connsiteX94" fmla="*/ 267986 w 403688"/>
                <a:gd name="connsiteY94" fmla="*/ 110615 h 777076"/>
                <a:gd name="connsiteX95" fmla="*/ 268800 w 403688"/>
                <a:gd name="connsiteY95" fmla="*/ 108335 h 777076"/>
                <a:gd name="connsiteX96" fmla="*/ 272222 w 403688"/>
                <a:gd name="connsiteY96" fmla="*/ 107683 h 777076"/>
                <a:gd name="connsiteX97" fmla="*/ 274502 w 403688"/>
                <a:gd name="connsiteY97" fmla="*/ 102633 h 777076"/>
                <a:gd name="connsiteX98" fmla="*/ 276294 w 403688"/>
                <a:gd name="connsiteY98" fmla="*/ 100189 h 777076"/>
                <a:gd name="connsiteX99" fmla="*/ 275806 w 403688"/>
                <a:gd name="connsiteY99" fmla="*/ 97908 h 777076"/>
                <a:gd name="connsiteX100" fmla="*/ 270592 w 403688"/>
                <a:gd name="connsiteY100" fmla="*/ 93999 h 777076"/>
                <a:gd name="connsiteX101" fmla="*/ 268638 w 403688"/>
                <a:gd name="connsiteY101" fmla="*/ 93673 h 777076"/>
                <a:gd name="connsiteX102" fmla="*/ 267171 w 403688"/>
                <a:gd name="connsiteY102" fmla="*/ 91881 h 777076"/>
                <a:gd name="connsiteX103" fmla="*/ 268963 w 403688"/>
                <a:gd name="connsiteY103" fmla="*/ 87971 h 777076"/>
                <a:gd name="connsiteX104" fmla="*/ 272710 w 403688"/>
                <a:gd name="connsiteY104" fmla="*/ 87156 h 777076"/>
                <a:gd name="connsiteX105" fmla="*/ 280693 w 403688"/>
                <a:gd name="connsiteY105" fmla="*/ 91555 h 777076"/>
                <a:gd name="connsiteX106" fmla="*/ 289327 w 403688"/>
                <a:gd name="connsiteY106" fmla="*/ 93021 h 777076"/>
                <a:gd name="connsiteX107" fmla="*/ 292259 w 403688"/>
                <a:gd name="connsiteY107" fmla="*/ 90741 h 777076"/>
                <a:gd name="connsiteX108" fmla="*/ 292585 w 403688"/>
                <a:gd name="connsiteY108" fmla="*/ 86994 h 777076"/>
                <a:gd name="connsiteX109" fmla="*/ 294214 w 403688"/>
                <a:gd name="connsiteY109" fmla="*/ 85364 h 777076"/>
                <a:gd name="connsiteX110" fmla="*/ 292585 w 403688"/>
                <a:gd name="connsiteY110" fmla="*/ 81618 h 777076"/>
                <a:gd name="connsiteX111" fmla="*/ 290304 w 403688"/>
                <a:gd name="connsiteY111" fmla="*/ 80314 h 777076"/>
                <a:gd name="connsiteX112" fmla="*/ 289327 w 403688"/>
                <a:gd name="connsiteY112" fmla="*/ 77871 h 777076"/>
                <a:gd name="connsiteX113" fmla="*/ 286395 w 403688"/>
                <a:gd name="connsiteY113" fmla="*/ 73309 h 777076"/>
                <a:gd name="connsiteX114" fmla="*/ 284928 w 403688"/>
                <a:gd name="connsiteY114" fmla="*/ 68585 h 777076"/>
                <a:gd name="connsiteX115" fmla="*/ 288838 w 403688"/>
                <a:gd name="connsiteY115" fmla="*/ 64186 h 777076"/>
                <a:gd name="connsiteX116" fmla="*/ 290956 w 403688"/>
                <a:gd name="connsiteY116" fmla="*/ 63860 h 777076"/>
                <a:gd name="connsiteX117" fmla="*/ 291445 w 403688"/>
                <a:gd name="connsiteY117" fmla="*/ 61743 h 777076"/>
                <a:gd name="connsiteX118" fmla="*/ 289490 w 403688"/>
                <a:gd name="connsiteY118" fmla="*/ 56692 h 777076"/>
                <a:gd name="connsiteX119" fmla="*/ 286883 w 403688"/>
                <a:gd name="connsiteY119" fmla="*/ 48873 h 777076"/>
                <a:gd name="connsiteX120" fmla="*/ 287861 w 403688"/>
                <a:gd name="connsiteY120" fmla="*/ 45452 h 777076"/>
                <a:gd name="connsiteX121" fmla="*/ 287372 w 403688"/>
                <a:gd name="connsiteY121" fmla="*/ 35840 h 777076"/>
                <a:gd name="connsiteX122" fmla="*/ 285417 w 403688"/>
                <a:gd name="connsiteY122" fmla="*/ 29975 h 777076"/>
                <a:gd name="connsiteX123" fmla="*/ 276620 w 403688"/>
                <a:gd name="connsiteY123" fmla="*/ 16291 h 777076"/>
                <a:gd name="connsiteX124" fmla="*/ 275154 w 403688"/>
                <a:gd name="connsiteY124" fmla="*/ 10263 h 777076"/>
                <a:gd name="connsiteX125" fmla="*/ 272873 w 403688"/>
                <a:gd name="connsiteY125" fmla="*/ 7005 h 777076"/>
                <a:gd name="connsiteX126" fmla="*/ 274176 w 403688"/>
                <a:gd name="connsiteY126" fmla="*/ 5376 h 777076"/>
                <a:gd name="connsiteX127" fmla="*/ 276620 w 403688"/>
                <a:gd name="connsiteY127" fmla="*/ 5376 h 777076"/>
                <a:gd name="connsiteX128" fmla="*/ 279227 w 403688"/>
                <a:gd name="connsiteY128" fmla="*/ 2281 h 777076"/>
                <a:gd name="connsiteX129" fmla="*/ 278738 w 403688"/>
                <a:gd name="connsiteY129" fmla="*/ 0 h 777076"/>
                <a:gd name="connsiteX130" fmla="*/ 284440 w 403688"/>
                <a:gd name="connsiteY130" fmla="*/ 0 h 777076"/>
                <a:gd name="connsiteX131" fmla="*/ 286232 w 403688"/>
                <a:gd name="connsiteY131" fmla="*/ 3910 h 777076"/>
                <a:gd name="connsiteX132" fmla="*/ 294540 w 403688"/>
                <a:gd name="connsiteY132" fmla="*/ 10752 h 777076"/>
                <a:gd name="connsiteX133" fmla="*/ 301545 w 403688"/>
                <a:gd name="connsiteY133" fmla="*/ 12218 h 777076"/>
                <a:gd name="connsiteX134" fmla="*/ 304966 w 403688"/>
                <a:gd name="connsiteY134" fmla="*/ 19060 h 777076"/>
                <a:gd name="connsiteX135" fmla="*/ 316533 w 403688"/>
                <a:gd name="connsiteY135" fmla="*/ 30464 h 777076"/>
                <a:gd name="connsiteX136" fmla="*/ 323049 w 403688"/>
                <a:gd name="connsiteY136" fmla="*/ 35025 h 777076"/>
                <a:gd name="connsiteX137" fmla="*/ 325004 w 403688"/>
                <a:gd name="connsiteY137" fmla="*/ 38772 h 777076"/>
                <a:gd name="connsiteX138" fmla="*/ 329891 w 403688"/>
                <a:gd name="connsiteY138" fmla="*/ 39913 h 777076"/>
                <a:gd name="connsiteX139" fmla="*/ 334290 w 403688"/>
                <a:gd name="connsiteY139" fmla="*/ 44637 h 777076"/>
                <a:gd name="connsiteX140" fmla="*/ 341784 w 403688"/>
                <a:gd name="connsiteY140" fmla="*/ 48384 h 777076"/>
                <a:gd name="connsiteX141" fmla="*/ 347974 w 403688"/>
                <a:gd name="connsiteY141" fmla="*/ 49199 h 777076"/>
                <a:gd name="connsiteX142" fmla="*/ 353024 w 403688"/>
                <a:gd name="connsiteY142" fmla="*/ 53923 h 777076"/>
                <a:gd name="connsiteX143" fmla="*/ 356934 w 403688"/>
                <a:gd name="connsiteY143" fmla="*/ 53108 h 777076"/>
                <a:gd name="connsiteX144" fmla="*/ 358726 w 403688"/>
                <a:gd name="connsiteY144" fmla="*/ 54412 h 777076"/>
                <a:gd name="connsiteX145" fmla="*/ 365243 w 403688"/>
                <a:gd name="connsiteY145" fmla="*/ 53434 h 777076"/>
                <a:gd name="connsiteX146" fmla="*/ 373551 w 403688"/>
                <a:gd name="connsiteY146" fmla="*/ 47895 h 777076"/>
                <a:gd name="connsiteX147" fmla="*/ 377786 w 403688"/>
                <a:gd name="connsiteY147" fmla="*/ 42519 h 777076"/>
                <a:gd name="connsiteX148" fmla="*/ 378764 w 403688"/>
                <a:gd name="connsiteY148" fmla="*/ 37958 h 777076"/>
                <a:gd name="connsiteX149" fmla="*/ 379904 w 403688"/>
                <a:gd name="connsiteY149" fmla="*/ 36492 h 777076"/>
                <a:gd name="connsiteX150" fmla="*/ 381208 w 403688"/>
                <a:gd name="connsiteY150" fmla="*/ 38610 h 777076"/>
                <a:gd name="connsiteX151" fmla="*/ 381208 w 403688"/>
                <a:gd name="connsiteY151" fmla="*/ 43008 h 777076"/>
                <a:gd name="connsiteX152" fmla="*/ 378601 w 403688"/>
                <a:gd name="connsiteY152" fmla="*/ 50665 h 777076"/>
                <a:gd name="connsiteX153" fmla="*/ 378601 w 403688"/>
                <a:gd name="connsiteY153" fmla="*/ 57670 h 777076"/>
                <a:gd name="connsiteX154" fmla="*/ 380230 w 403688"/>
                <a:gd name="connsiteY154" fmla="*/ 60114 h 777076"/>
                <a:gd name="connsiteX155" fmla="*/ 386421 w 403688"/>
                <a:gd name="connsiteY155" fmla="*/ 64023 h 777076"/>
                <a:gd name="connsiteX156" fmla="*/ 390656 w 403688"/>
                <a:gd name="connsiteY156" fmla="*/ 69236 h 777076"/>
                <a:gd name="connsiteX157" fmla="*/ 390982 w 403688"/>
                <a:gd name="connsiteY157" fmla="*/ 73146 h 777076"/>
                <a:gd name="connsiteX158" fmla="*/ 390493 w 403688"/>
                <a:gd name="connsiteY158" fmla="*/ 75753 h 777076"/>
                <a:gd name="connsiteX159" fmla="*/ 394403 w 403688"/>
                <a:gd name="connsiteY159" fmla="*/ 75753 h 777076"/>
                <a:gd name="connsiteX160" fmla="*/ 396847 w 403688"/>
                <a:gd name="connsiteY160" fmla="*/ 71843 h 777076"/>
                <a:gd name="connsiteX161" fmla="*/ 400594 w 403688"/>
                <a:gd name="connsiteY161" fmla="*/ 68422 h 777076"/>
                <a:gd name="connsiteX162" fmla="*/ 403689 w 403688"/>
                <a:gd name="connsiteY162" fmla="*/ 68096 h 777076"/>
                <a:gd name="connsiteX163" fmla="*/ 402060 w 403688"/>
                <a:gd name="connsiteY163" fmla="*/ 71843 h 777076"/>
                <a:gd name="connsiteX164" fmla="*/ 399616 w 403688"/>
                <a:gd name="connsiteY164" fmla="*/ 73309 h 777076"/>
                <a:gd name="connsiteX165" fmla="*/ 399291 w 403688"/>
                <a:gd name="connsiteY165" fmla="*/ 78359 h 777076"/>
                <a:gd name="connsiteX166" fmla="*/ 396195 w 403688"/>
                <a:gd name="connsiteY166" fmla="*/ 80803 h 777076"/>
                <a:gd name="connsiteX167" fmla="*/ 391797 w 403688"/>
                <a:gd name="connsiteY167" fmla="*/ 82595 h 777076"/>
                <a:gd name="connsiteX168" fmla="*/ 390819 w 403688"/>
                <a:gd name="connsiteY168" fmla="*/ 86505 h 777076"/>
                <a:gd name="connsiteX169" fmla="*/ 389027 w 403688"/>
                <a:gd name="connsiteY169" fmla="*/ 89274 h 777076"/>
                <a:gd name="connsiteX170" fmla="*/ 385606 w 403688"/>
                <a:gd name="connsiteY170" fmla="*/ 89274 h 777076"/>
                <a:gd name="connsiteX171" fmla="*/ 383814 w 403688"/>
                <a:gd name="connsiteY171" fmla="*/ 87971 h 777076"/>
                <a:gd name="connsiteX172" fmla="*/ 380393 w 403688"/>
                <a:gd name="connsiteY172" fmla="*/ 90741 h 777076"/>
                <a:gd name="connsiteX173" fmla="*/ 380719 w 403688"/>
                <a:gd name="connsiteY173" fmla="*/ 93347 h 777076"/>
                <a:gd name="connsiteX174" fmla="*/ 374202 w 403688"/>
                <a:gd name="connsiteY174" fmla="*/ 93347 h 777076"/>
                <a:gd name="connsiteX175" fmla="*/ 369315 w 403688"/>
                <a:gd name="connsiteY175" fmla="*/ 92044 h 777076"/>
                <a:gd name="connsiteX176" fmla="*/ 365079 w 403688"/>
                <a:gd name="connsiteY176" fmla="*/ 93347 h 777076"/>
                <a:gd name="connsiteX177" fmla="*/ 358238 w 403688"/>
                <a:gd name="connsiteY177" fmla="*/ 102959 h 777076"/>
                <a:gd name="connsiteX178" fmla="*/ 355631 w 403688"/>
                <a:gd name="connsiteY178" fmla="*/ 113222 h 777076"/>
                <a:gd name="connsiteX179" fmla="*/ 354490 w 403688"/>
                <a:gd name="connsiteY179" fmla="*/ 121693 h 777076"/>
                <a:gd name="connsiteX180" fmla="*/ 355957 w 403688"/>
                <a:gd name="connsiteY180" fmla="*/ 127395 h 777076"/>
                <a:gd name="connsiteX181" fmla="*/ 354979 w 403688"/>
                <a:gd name="connsiteY181" fmla="*/ 131631 h 777076"/>
                <a:gd name="connsiteX182" fmla="*/ 355305 w 403688"/>
                <a:gd name="connsiteY182" fmla="*/ 135541 h 777076"/>
                <a:gd name="connsiteX183" fmla="*/ 350906 w 403688"/>
                <a:gd name="connsiteY183" fmla="*/ 133749 h 777076"/>
                <a:gd name="connsiteX184" fmla="*/ 348300 w 403688"/>
                <a:gd name="connsiteY184" fmla="*/ 130327 h 777076"/>
                <a:gd name="connsiteX185" fmla="*/ 340317 w 403688"/>
                <a:gd name="connsiteY185" fmla="*/ 128372 h 777076"/>
                <a:gd name="connsiteX186" fmla="*/ 332661 w 403688"/>
                <a:gd name="connsiteY186" fmla="*/ 124300 h 777076"/>
                <a:gd name="connsiteX187" fmla="*/ 325818 w 403688"/>
                <a:gd name="connsiteY187" fmla="*/ 118272 h 777076"/>
                <a:gd name="connsiteX188" fmla="*/ 321420 w 403688"/>
                <a:gd name="connsiteY188" fmla="*/ 113222 h 777076"/>
                <a:gd name="connsiteX189" fmla="*/ 316859 w 403688"/>
                <a:gd name="connsiteY189" fmla="*/ 113874 h 777076"/>
                <a:gd name="connsiteX190" fmla="*/ 312786 w 403688"/>
                <a:gd name="connsiteY190" fmla="*/ 112896 h 777076"/>
                <a:gd name="connsiteX191" fmla="*/ 310831 w 403688"/>
                <a:gd name="connsiteY191" fmla="*/ 110941 h 777076"/>
                <a:gd name="connsiteX192" fmla="*/ 306106 w 403688"/>
                <a:gd name="connsiteY192" fmla="*/ 110941 h 777076"/>
                <a:gd name="connsiteX193" fmla="*/ 300405 w 403688"/>
                <a:gd name="connsiteY193" fmla="*/ 115014 h 777076"/>
                <a:gd name="connsiteX194" fmla="*/ 294377 w 403688"/>
                <a:gd name="connsiteY194" fmla="*/ 123322 h 777076"/>
                <a:gd name="connsiteX195" fmla="*/ 291770 w 403688"/>
                <a:gd name="connsiteY195" fmla="*/ 121693 h 777076"/>
                <a:gd name="connsiteX196" fmla="*/ 285254 w 403688"/>
                <a:gd name="connsiteY196" fmla="*/ 117620 h 777076"/>
                <a:gd name="connsiteX197" fmla="*/ 281833 w 403688"/>
                <a:gd name="connsiteY197" fmla="*/ 117946 h 777076"/>
                <a:gd name="connsiteX198" fmla="*/ 278575 w 403688"/>
                <a:gd name="connsiteY198" fmla="*/ 120879 h 777076"/>
                <a:gd name="connsiteX199" fmla="*/ 278575 w 403688"/>
                <a:gd name="connsiteY199" fmla="*/ 125929 h 777076"/>
                <a:gd name="connsiteX200" fmla="*/ 280204 w 403688"/>
                <a:gd name="connsiteY200" fmla="*/ 130002 h 777076"/>
                <a:gd name="connsiteX201" fmla="*/ 285580 w 403688"/>
                <a:gd name="connsiteY201" fmla="*/ 132934 h 777076"/>
                <a:gd name="connsiteX202" fmla="*/ 291119 w 403688"/>
                <a:gd name="connsiteY202" fmla="*/ 131468 h 777076"/>
                <a:gd name="connsiteX203" fmla="*/ 297635 w 403688"/>
                <a:gd name="connsiteY203" fmla="*/ 138636 h 777076"/>
                <a:gd name="connsiteX204" fmla="*/ 303174 w 403688"/>
                <a:gd name="connsiteY204" fmla="*/ 140102 h 777076"/>
                <a:gd name="connsiteX205" fmla="*/ 309039 w 403688"/>
                <a:gd name="connsiteY205" fmla="*/ 140102 h 777076"/>
                <a:gd name="connsiteX206" fmla="*/ 310994 w 403688"/>
                <a:gd name="connsiteY206" fmla="*/ 143034 h 777076"/>
                <a:gd name="connsiteX207" fmla="*/ 307084 w 403688"/>
                <a:gd name="connsiteY207" fmla="*/ 148247 h 777076"/>
                <a:gd name="connsiteX208" fmla="*/ 305781 w 403688"/>
                <a:gd name="connsiteY208" fmla="*/ 151994 h 777076"/>
                <a:gd name="connsiteX209" fmla="*/ 302359 w 403688"/>
                <a:gd name="connsiteY209" fmla="*/ 149225 h 777076"/>
                <a:gd name="connsiteX210" fmla="*/ 295517 w 403688"/>
                <a:gd name="connsiteY210" fmla="*/ 148899 h 777076"/>
                <a:gd name="connsiteX211" fmla="*/ 292911 w 403688"/>
                <a:gd name="connsiteY211" fmla="*/ 150691 h 777076"/>
                <a:gd name="connsiteX212" fmla="*/ 293400 w 403688"/>
                <a:gd name="connsiteY212" fmla="*/ 154438 h 777076"/>
                <a:gd name="connsiteX213" fmla="*/ 291608 w 403688"/>
                <a:gd name="connsiteY213" fmla="*/ 158674 h 777076"/>
                <a:gd name="connsiteX214" fmla="*/ 285580 w 403688"/>
                <a:gd name="connsiteY214" fmla="*/ 165516 h 777076"/>
                <a:gd name="connsiteX215" fmla="*/ 285580 w 403688"/>
                <a:gd name="connsiteY215" fmla="*/ 165516 h 777076"/>
                <a:gd name="connsiteX216" fmla="*/ 277109 w 403688"/>
                <a:gd name="connsiteY216" fmla="*/ 306106 h 777076"/>
                <a:gd name="connsiteX217" fmla="*/ 277434 w 403688"/>
                <a:gd name="connsiteY217" fmla="*/ 301219 h 777076"/>
                <a:gd name="connsiteX218" fmla="*/ 279063 w 403688"/>
                <a:gd name="connsiteY218" fmla="*/ 298287 h 777076"/>
                <a:gd name="connsiteX219" fmla="*/ 277923 w 403688"/>
                <a:gd name="connsiteY219" fmla="*/ 297635 h 777076"/>
                <a:gd name="connsiteX220" fmla="*/ 274828 w 403688"/>
                <a:gd name="connsiteY220" fmla="*/ 299427 h 777076"/>
                <a:gd name="connsiteX221" fmla="*/ 274339 w 403688"/>
                <a:gd name="connsiteY221" fmla="*/ 296169 h 777076"/>
                <a:gd name="connsiteX222" fmla="*/ 276620 w 403688"/>
                <a:gd name="connsiteY222" fmla="*/ 287698 h 777076"/>
                <a:gd name="connsiteX223" fmla="*/ 278412 w 403688"/>
                <a:gd name="connsiteY223" fmla="*/ 285906 h 777076"/>
                <a:gd name="connsiteX224" fmla="*/ 279227 w 403688"/>
                <a:gd name="connsiteY224" fmla="*/ 289490 h 777076"/>
                <a:gd name="connsiteX225" fmla="*/ 278901 w 403688"/>
                <a:gd name="connsiteY225" fmla="*/ 293236 h 777076"/>
                <a:gd name="connsiteX226" fmla="*/ 282322 w 403688"/>
                <a:gd name="connsiteY226" fmla="*/ 294377 h 777076"/>
                <a:gd name="connsiteX227" fmla="*/ 283136 w 403688"/>
                <a:gd name="connsiteY227" fmla="*/ 297146 h 777076"/>
                <a:gd name="connsiteX228" fmla="*/ 281833 w 403688"/>
                <a:gd name="connsiteY228" fmla="*/ 302848 h 777076"/>
                <a:gd name="connsiteX229" fmla="*/ 279063 w 403688"/>
                <a:gd name="connsiteY229" fmla="*/ 305618 h 777076"/>
                <a:gd name="connsiteX230" fmla="*/ 277272 w 403688"/>
                <a:gd name="connsiteY230" fmla="*/ 306269 h 777076"/>
                <a:gd name="connsiteX231" fmla="*/ 277272 w 403688"/>
                <a:gd name="connsiteY231" fmla="*/ 306269 h 777076"/>
                <a:gd name="connsiteX232" fmla="*/ 88623 w 403688"/>
                <a:gd name="connsiteY232" fmla="*/ 479279 h 777076"/>
                <a:gd name="connsiteX233" fmla="*/ 91392 w 403688"/>
                <a:gd name="connsiteY233" fmla="*/ 481397 h 777076"/>
                <a:gd name="connsiteX234" fmla="*/ 93021 w 403688"/>
                <a:gd name="connsiteY234" fmla="*/ 480419 h 777076"/>
                <a:gd name="connsiteX235" fmla="*/ 89926 w 403688"/>
                <a:gd name="connsiteY235" fmla="*/ 478301 h 777076"/>
                <a:gd name="connsiteX236" fmla="*/ 88460 w 403688"/>
                <a:gd name="connsiteY236" fmla="*/ 478301 h 777076"/>
                <a:gd name="connsiteX237" fmla="*/ 88623 w 403688"/>
                <a:gd name="connsiteY237" fmla="*/ 479279 h 777076"/>
                <a:gd name="connsiteX238" fmla="*/ 88623 w 403688"/>
                <a:gd name="connsiteY238" fmla="*/ 479279 h 777076"/>
                <a:gd name="connsiteX239" fmla="*/ 87320 w 403688"/>
                <a:gd name="connsiteY239" fmla="*/ 482700 h 777076"/>
                <a:gd name="connsiteX240" fmla="*/ 88134 w 403688"/>
                <a:gd name="connsiteY240" fmla="*/ 484003 h 777076"/>
                <a:gd name="connsiteX241" fmla="*/ 88949 w 403688"/>
                <a:gd name="connsiteY241" fmla="*/ 482863 h 777076"/>
                <a:gd name="connsiteX242" fmla="*/ 87320 w 403688"/>
                <a:gd name="connsiteY242" fmla="*/ 482863 h 777076"/>
                <a:gd name="connsiteX243" fmla="*/ 84224 w 403688"/>
                <a:gd name="connsiteY243" fmla="*/ 485795 h 777076"/>
                <a:gd name="connsiteX244" fmla="*/ 86179 w 403688"/>
                <a:gd name="connsiteY244" fmla="*/ 486773 h 777076"/>
                <a:gd name="connsiteX245" fmla="*/ 87156 w 403688"/>
                <a:gd name="connsiteY245" fmla="*/ 485306 h 777076"/>
                <a:gd name="connsiteX246" fmla="*/ 84061 w 403688"/>
                <a:gd name="connsiteY246" fmla="*/ 485795 h 777076"/>
                <a:gd name="connsiteX247" fmla="*/ 84061 w 403688"/>
                <a:gd name="connsiteY247" fmla="*/ 485795 h 777076"/>
                <a:gd name="connsiteX248" fmla="*/ 81129 w 403688"/>
                <a:gd name="connsiteY248" fmla="*/ 488402 h 777076"/>
                <a:gd name="connsiteX249" fmla="*/ 81618 w 403688"/>
                <a:gd name="connsiteY249" fmla="*/ 490683 h 777076"/>
                <a:gd name="connsiteX250" fmla="*/ 84550 w 403688"/>
                <a:gd name="connsiteY250" fmla="*/ 489053 h 777076"/>
                <a:gd name="connsiteX251" fmla="*/ 80966 w 403688"/>
                <a:gd name="connsiteY251" fmla="*/ 488402 h 777076"/>
                <a:gd name="connsiteX252" fmla="*/ 80966 w 403688"/>
                <a:gd name="connsiteY252" fmla="*/ 488402 h 777076"/>
                <a:gd name="connsiteX253" fmla="*/ 77382 w 403688"/>
                <a:gd name="connsiteY253" fmla="*/ 500946 h 777076"/>
                <a:gd name="connsiteX254" fmla="*/ 75590 w 403688"/>
                <a:gd name="connsiteY254" fmla="*/ 495407 h 777076"/>
                <a:gd name="connsiteX255" fmla="*/ 75590 w 403688"/>
                <a:gd name="connsiteY255" fmla="*/ 492149 h 777076"/>
                <a:gd name="connsiteX256" fmla="*/ 78359 w 403688"/>
                <a:gd name="connsiteY256" fmla="*/ 490845 h 777076"/>
                <a:gd name="connsiteX257" fmla="*/ 78685 w 403688"/>
                <a:gd name="connsiteY257" fmla="*/ 493941 h 777076"/>
                <a:gd name="connsiteX258" fmla="*/ 81618 w 403688"/>
                <a:gd name="connsiteY258" fmla="*/ 495570 h 777076"/>
                <a:gd name="connsiteX259" fmla="*/ 83410 w 403688"/>
                <a:gd name="connsiteY259" fmla="*/ 499154 h 777076"/>
                <a:gd name="connsiteX260" fmla="*/ 80477 w 403688"/>
                <a:gd name="connsiteY260" fmla="*/ 501597 h 777076"/>
                <a:gd name="connsiteX261" fmla="*/ 77219 w 403688"/>
                <a:gd name="connsiteY261" fmla="*/ 501109 h 777076"/>
                <a:gd name="connsiteX262" fmla="*/ 77219 w 403688"/>
                <a:gd name="connsiteY262" fmla="*/ 501109 h 777076"/>
                <a:gd name="connsiteX263" fmla="*/ 116317 w 403688"/>
                <a:gd name="connsiteY263" fmla="*/ 504204 h 777076"/>
                <a:gd name="connsiteX264" fmla="*/ 115992 w 403688"/>
                <a:gd name="connsiteY264" fmla="*/ 501434 h 777076"/>
                <a:gd name="connsiteX265" fmla="*/ 117620 w 403688"/>
                <a:gd name="connsiteY265" fmla="*/ 499805 h 777076"/>
                <a:gd name="connsiteX266" fmla="*/ 119413 w 403688"/>
                <a:gd name="connsiteY266" fmla="*/ 500783 h 777076"/>
                <a:gd name="connsiteX267" fmla="*/ 118924 w 403688"/>
                <a:gd name="connsiteY267" fmla="*/ 503878 h 777076"/>
                <a:gd name="connsiteX268" fmla="*/ 116317 w 403688"/>
                <a:gd name="connsiteY268" fmla="*/ 504204 h 777076"/>
                <a:gd name="connsiteX269" fmla="*/ 116317 w 403688"/>
                <a:gd name="connsiteY269" fmla="*/ 504204 h 777076"/>
                <a:gd name="connsiteX270" fmla="*/ 111919 w 403688"/>
                <a:gd name="connsiteY270" fmla="*/ 512186 h 777076"/>
                <a:gd name="connsiteX271" fmla="*/ 113874 w 403688"/>
                <a:gd name="connsiteY271" fmla="*/ 509906 h 777076"/>
                <a:gd name="connsiteX272" fmla="*/ 115340 w 403688"/>
                <a:gd name="connsiteY272" fmla="*/ 510557 h 777076"/>
                <a:gd name="connsiteX273" fmla="*/ 113548 w 403688"/>
                <a:gd name="connsiteY273" fmla="*/ 513653 h 777076"/>
                <a:gd name="connsiteX274" fmla="*/ 111919 w 403688"/>
                <a:gd name="connsiteY274" fmla="*/ 512024 h 777076"/>
                <a:gd name="connsiteX275" fmla="*/ 111919 w 403688"/>
                <a:gd name="connsiteY275" fmla="*/ 512024 h 777076"/>
                <a:gd name="connsiteX276" fmla="*/ 109964 w 403688"/>
                <a:gd name="connsiteY276" fmla="*/ 498991 h 777076"/>
                <a:gd name="connsiteX277" fmla="*/ 108009 w 403688"/>
                <a:gd name="connsiteY277" fmla="*/ 501434 h 777076"/>
                <a:gd name="connsiteX278" fmla="*/ 108824 w 403688"/>
                <a:gd name="connsiteY278" fmla="*/ 506322 h 777076"/>
                <a:gd name="connsiteX279" fmla="*/ 110615 w 403688"/>
                <a:gd name="connsiteY279" fmla="*/ 509906 h 777076"/>
                <a:gd name="connsiteX280" fmla="*/ 113059 w 403688"/>
                <a:gd name="connsiteY280" fmla="*/ 509906 h 777076"/>
                <a:gd name="connsiteX281" fmla="*/ 114036 w 403688"/>
                <a:gd name="connsiteY281" fmla="*/ 505670 h 777076"/>
                <a:gd name="connsiteX282" fmla="*/ 111267 w 403688"/>
                <a:gd name="connsiteY282" fmla="*/ 500783 h 777076"/>
                <a:gd name="connsiteX283" fmla="*/ 111267 w 403688"/>
                <a:gd name="connsiteY283" fmla="*/ 499154 h 777076"/>
                <a:gd name="connsiteX284" fmla="*/ 110127 w 403688"/>
                <a:gd name="connsiteY284" fmla="*/ 498991 h 777076"/>
                <a:gd name="connsiteX285" fmla="*/ 110127 w 403688"/>
                <a:gd name="connsiteY285" fmla="*/ 498991 h 777076"/>
                <a:gd name="connsiteX286" fmla="*/ 220090 w 403688"/>
                <a:gd name="connsiteY286" fmla="*/ 437085 h 777076"/>
                <a:gd name="connsiteX287" fmla="*/ 217810 w 403688"/>
                <a:gd name="connsiteY287" fmla="*/ 432035 h 777076"/>
                <a:gd name="connsiteX288" fmla="*/ 217810 w 403688"/>
                <a:gd name="connsiteY288" fmla="*/ 427962 h 777076"/>
                <a:gd name="connsiteX289" fmla="*/ 219602 w 403688"/>
                <a:gd name="connsiteY289" fmla="*/ 425193 h 777076"/>
                <a:gd name="connsiteX290" fmla="*/ 222208 w 403688"/>
                <a:gd name="connsiteY290" fmla="*/ 424704 h 777076"/>
                <a:gd name="connsiteX291" fmla="*/ 223186 w 403688"/>
                <a:gd name="connsiteY291" fmla="*/ 427962 h 777076"/>
                <a:gd name="connsiteX292" fmla="*/ 222534 w 403688"/>
                <a:gd name="connsiteY292" fmla="*/ 431709 h 777076"/>
                <a:gd name="connsiteX293" fmla="*/ 223349 w 403688"/>
                <a:gd name="connsiteY293" fmla="*/ 433827 h 777076"/>
                <a:gd name="connsiteX294" fmla="*/ 222534 w 403688"/>
                <a:gd name="connsiteY294" fmla="*/ 437085 h 777076"/>
                <a:gd name="connsiteX295" fmla="*/ 219927 w 403688"/>
                <a:gd name="connsiteY295" fmla="*/ 437085 h 777076"/>
                <a:gd name="connsiteX296" fmla="*/ 201845 w 403688"/>
                <a:gd name="connsiteY296" fmla="*/ 432687 h 777076"/>
                <a:gd name="connsiteX297" fmla="*/ 205917 w 403688"/>
                <a:gd name="connsiteY297" fmla="*/ 428777 h 777076"/>
                <a:gd name="connsiteX298" fmla="*/ 209176 w 403688"/>
                <a:gd name="connsiteY298" fmla="*/ 429429 h 777076"/>
                <a:gd name="connsiteX299" fmla="*/ 209176 w 403688"/>
                <a:gd name="connsiteY299" fmla="*/ 431872 h 777076"/>
                <a:gd name="connsiteX300" fmla="*/ 205754 w 403688"/>
                <a:gd name="connsiteY300" fmla="*/ 433501 h 777076"/>
                <a:gd name="connsiteX301" fmla="*/ 201845 w 403688"/>
                <a:gd name="connsiteY301" fmla="*/ 432524 h 777076"/>
                <a:gd name="connsiteX302" fmla="*/ 201845 w 403688"/>
                <a:gd name="connsiteY302" fmla="*/ 432524 h 777076"/>
                <a:gd name="connsiteX303" fmla="*/ 178711 w 403688"/>
                <a:gd name="connsiteY303" fmla="*/ 486447 h 777076"/>
                <a:gd name="connsiteX304" fmla="*/ 180667 w 403688"/>
                <a:gd name="connsiteY304" fmla="*/ 487424 h 777076"/>
                <a:gd name="connsiteX305" fmla="*/ 182295 w 403688"/>
                <a:gd name="connsiteY305" fmla="*/ 485632 h 777076"/>
                <a:gd name="connsiteX306" fmla="*/ 185391 w 403688"/>
                <a:gd name="connsiteY306" fmla="*/ 486773 h 777076"/>
                <a:gd name="connsiteX307" fmla="*/ 187834 w 403688"/>
                <a:gd name="connsiteY307" fmla="*/ 485958 h 777076"/>
                <a:gd name="connsiteX308" fmla="*/ 187509 w 403688"/>
                <a:gd name="connsiteY308" fmla="*/ 482863 h 777076"/>
                <a:gd name="connsiteX309" fmla="*/ 182947 w 403688"/>
                <a:gd name="connsiteY309" fmla="*/ 477813 h 777076"/>
                <a:gd name="connsiteX310" fmla="*/ 185228 w 403688"/>
                <a:gd name="connsiteY310" fmla="*/ 473414 h 777076"/>
                <a:gd name="connsiteX311" fmla="*/ 187509 w 403688"/>
                <a:gd name="connsiteY311" fmla="*/ 466083 h 777076"/>
                <a:gd name="connsiteX312" fmla="*/ 193536 w 403688"/>
                <a:gd name="connsiteY312" fmla="*/ 462336 h 777076"/>
                <a:gd name="connsiteX313" fmla="*/ 195165 w 403688"/>
                <a:gd name="connsiteY313" fmla="*/ 459567 h 777076"/>
                <a:gd name="connsiteX314" fmla="*/ 200867 w 403688"/>
                <a:gd name="connsiteY314" fmla="*/ 460381 h 777076"/>
                <a:gd name="connsiteX315" fmla="*/ 208035 w 403688"/>
                <a:gd name="connsiteY315" fmla="*/ 464943 h 777076"/>
                <a:gd name="connsiteX316" fmla="*/ 209990 w 403688"/>
                <a:gd name="connsiteY316" fmla="*/ 468364 h 777076"/>
                <a:gd name="connsiteX317" fmla="*/ 213085 w 403688"/>
                <a:gd name="connsiteY317" fmla="*/ 466898 h 777076"/>
                <a:gd name="connsiteX318" fmla="*/ 215529 w 403688"/>
                <a:gd name="connsiteY318" fmla="*/ 457938 h 777076"/>
                <a:gd name="connsiteX319" fmla="*/ 221231 w 403688"/>
                <a:gd name="connsiteY319" fmla="*/ 452562 h 777076"/>
                <a:gd name="connsiteX320" fmla="*/ 221720 w 403688"/>
                <a:gd name="connsiteY320" fmla="*/ 449303 h 777076"/>
                <a:gd name="connsiteX321" fmla="*/ 219927 w 403688"/>
                <a:gd name="connsiteY321" fmla="*/ 447511 h 777076"/>
                <a:gd name="connsiteX322" fmla="*/ 218787 w 403688"/>
                <a:gd name="connsiteY322" fmla="*/ 444090 h 777076"/>
                <a:gd name="connsiteX323" fmla="*/ 213249 w 403688"/>
                <a:gd name="connsiteY323" fmla="*/ 439692 h 777076"/>
                <a:gd name="connsiteX324" fmla="*/ 209338 w 403688"/>
                <a:gd name="connsiteY324" fmla="*/ 439692 h 777076"/>
                <a:gd name="connsiteX325" fmla="*/ 205592 w 403688"/>
                <a:gd name="connsiteY325" fmla="*/ 436759 h 777076"/>
                <a:gd name="connsiteX326" fmla="*/ 198912 w 403688"/>
                <a:gd name="connsiteY326" fmla="*/ 436434 h 777076"/>
                <a:gd name="connsiteX327" fmla="*/ 192722 w 403688"/>
                <a:gd name="connsiteY327" fmla="*/ 441647 h 777076"/>
                <a:gd name="connsiteX328" fmla="*/ 192722 w 403688"/>
                <a:gd name="connsiteY328" fmla="*/ 444742 h 777076"/>
                <a:gd name="connsiteX329" fmla="*/ 190278 w 403688"/>
                <a:gd name="connsiteY329" fmla="*/ 448489 h 777076"/>
                <a:gd name="connsiteX330" fmla="*/ 185717 w 403688"/>
                <a:gd name="connsiteY330" fmla="*/ 449955 h 777076"/>
                <a:gd name="connsiteX331" fmla="*/ 181807 w 403688"/>
                <a:gd name="connsiteY331" fmla="*/ 452725 h 777076"/>
                <a:gd name="connsiteX332" fmla="*/ 179363 w 403688"/>
                <a:gd name="connsiteY332" fmla="*/ 452073 h 777076"/>
                <a:gd name="connsiteX333" fmla="*/ 176431 w 403688"/>
                <a:gd name="connsiteY333" fmla="*/ 445231 h 777076"/>
                <a:gd name="connsiteX334" fmla="*/ 173987 w 403688"/>
                <a:gd name="connsiteY334" fmla="*/ 445231 h 777076"/>
                <a:gd name="connsiteX335" fmla="*/ 167145 w 403688"/>
                <a:gd name="connsiteY335" fmla="*/ 453213 h 777076"/>
                <a:gd name="connsiteX336" fmla="*/ 167145 w 403688"/>
                <a:gd name="connsiteY336" fmla="*/ 457775 h 777076"/>
                <a:gd name="connsiteX337" fmla="*/ 162584 w 403688"/>
                <a:gd name="connsiteY337" fmla="*/ 460870 h 777076"/>
                <a:gd name="connsiteX338" fmla="*/ 161443 w 403688"/>
                <a:gd name="connsiteY338" fmla="*/ 466083 h 777076"/>
                <a:gd name="connsiteX339" fmla="*/ 168611 w 403688"/>
                <a:gd name="connsiteY339" fmla="*/ 467875 h 777076"/>
                <a:gd name="connsiteX340" fmla="*/ 169915 w 403688"/>
                <a:gd name="connsiteY340" fmla="*/ 472925 h 777076"/>
                <a:gd name="connsiteX341" fmla="*/ 168449 w 403688"/>
                <a:gd name="connsiteY341" fmla="*/ 474392 h 777076"/>
                <a:gd name="connsiteX342" fmla="*/ 168449 w 403688"/>
                <a:gd name="connsiteY342" fmla="*/ 476998 h 777076"/>
                <a:gd name="connsiteX343" fmla="*/ 172521 w 403688"/>
                <a:gd name="connsiteY343" fmla="*/ 483026 h 777076"/>
                <a:gd name="connsiteX344" fmla="*/ 178711 w 403688"/>
                <a:gd name="connsiteY344" fmla="*/ 483840 h 777076"/>
                <a:gd name="connsiteX345" fmla="*/ 178386 w 403688"/>
                <a:gd name="connsiteY345" fmla="*/ 486935 h 777076"/>
                <a:gd name="connsiteX346" fmla="*/ 178386 w 403688"/>
                <a:gd name="connsiteY346" fmla="*/ 486935 h 777076"/>
                <a:gd name="connsiteX347" fmla="*/ 145315 w 403688"/>
                <a:gd name="connsiteY347" fmla="*/ 573115 h 777076"/>
                <a:gd name="connsiteX348" fmla="*/ 142220 w 403688"/>
                <a:gd name="connsiteY348" fmla="*/ 569205 h 777076"/>
                <a:gd name="connsiteX349" fmla="*/ 138961 w 403688"/>
                <a:gd name="connsiteY349" fmla="*/ 569856 h 777076"/>
                <a:gd name="connsiteX350" fmla="*/ 137822 w 403688"/>
                <a:gd name="connsiteY350" fmla="*/ 572951 h 777076"/>
                <a:gd name="connsiteX351" fmla="*/ 140754 w 403688"/>
                <a:gd name="connsiteY351" fmla="*/ 578002 h 777076"/>
                <a:gd name="connsiteX352" fmla="*/ 145152 w 403688"/>
                <a:gd name="connsiteY352" fmla="*/ 578816 h 777076"/>
                <a:gd name="connsiteX353" fmla="*/ 146456 w 403688"/>
                <a:gd name="connsiteY353" fmla="*/ 576535 h 777076"/>
                <a:gd name="connsiteX354" fmla="*/ 145478 w 403688"/>
                <a:gd name="connsiteY354" fmla="*/ 573115 h 777076"/>
                <a:gd name="connsiteX355" fmla="*/ 145478 w 403688"/>
                <a:gd name="connsiteY355" fmla="*/ 573115 h 777076"/>
                <a:gd name="connsiteX356" fmla="*/ 149551 w 403688"/>
                <a:gd name="connsiteY356" fmla="*/ 567413 h 777076"/>
                <a:gd name="connsiteX357" fmla="*/ 148411 w 403688"/>
                <a:gd name="connsiteY357" fmla="*/ 559267 h 777076"/>
                <a:gd name="connsiteX358" fmla="*/ 148411 w 403688"/>
                <a:gd name="connsiteY358" fmla="*/ 555846 h 777076"/>
                <a:gd name="connsiteX359" fmla="*/ 151506 w 403688"/>
                <a:gd name="connsiteY359" fmla="*/ 558290 h 777076"/>
                <a:gd name="connsiteX360" fmla="*/ 151995 w 403688"/>
                <a:gd name="connsiteY360" fmla="*/ 562688 h 777076"/>
                <a:gd name="connsiteX361" fmla="*/ 150854 w 403688"/>
                <a:gd name="connsiteY361" fmla="*/ 566109 h 777076"/>
                <a:gd name="connsiteX362" fmla="*/ 149714 w 403688"/>
                <a:gd name="connsiteY362" fmla="*/ 567575 h 777076"/>
                <a:gd name="connsiteX363" fmla="*/ 149714 w 403688"/>
                <a:gd name="connsiteY363" fmla="*/ 567575 h 777076"/>
                <a:gd name="connsiteX364" fmla="*/ 140591 w 403688"/>
                <a:gd name="connsiteY364" fmla="*/ 553077 h 777076"/>
                <a:gd name="connsiteX365" fmla="*/ 145315 w 403688"/>
                <a:gd name="connsiteY365" fmla="*/ 550144 h 777076"/>
                <a:gd name="connsiteX366" fmla="*/ 150202 w 403688"/>
                <a:gd name="connsiteY366" fmla="*/ 543139 h 777076"/>
                <a:gd name="connsiteX367" fmla="*/ 145641 w 403688"/>
                <a:gd name="connsiteY367" fmla="*/ 538578 h 777076"/>
                <a:gd name="connsiteX368" fmla="*/ 145641 w 403688"/>
                <a:gd name="connsiteY368" fmla="*/ 535808 h 777076"/>
                <a:gd name="connsiteX369" fmla="*/ 147922 w 403688"/>
                <a:gd name="connsiteY369" fmla="*/ 534668 h 777076"/>
                <a:gd name="connsiteX370" fmla="*/ 151668 w 403688"/>
                <a:gd name="connsiteY370" fmla="*/ 535808 h 777076"/>
                <a:gd name="connsiteX371" fmla="*/ 153949 w 403688"/>
                <a:gd name="connsiteY371" fmla="*/ 537437 h 777076"/>
                <a:gd name="connsiteX372" fmla="*/ 155252 w 403688"/>
                <a:gd name="connsiteY372" fmla="*/ 532224 h 777076"/>
                <a:gd name="connsiteX373" fmla="*/ 155252 w 403688"/>
                <a:gd name="connsiteY373" fmla="*/ 524079 h 777076"/>
                <a:gd name="connsiteX374" fmla="*/ 153624 w 403688"/>
                <a:gd name="connsiteY374" fmla="*/ 520006 h 777076"/>
                <a:gd name="connsiteX375" fmla="*/ 153949 w 403688"/>
                <a:gd name="connsiteY375" fmla="*/ 505507 h 777076"/>
                <a:gd name="connsiteX376" fmla="*/ 153461 w 403688"/>
                <a:gd name="connsiteY376" fmla="*/ 497687 h 777076"/>
                <a:gd name="connsiteX377" fmla="*/ 156230 w 403688"/>
                <a:gd name="connsiteY377" fmla="*/ 493126 h 777076"/>
                <a:gd name="connsiteX378" fmla="*/ 160954 w 403688"/>
                <a:gd name="connsiteY378" fmla="*/ 488402 h 777076"/>
                <a:gd name="connsiteX379" fmla="*/ 159814 w 403688"/>
                <a:gd name="connsiteY379" fmla="*/ 484492 h 777076"/>
                <a:gd name="connsiteX380" fmla="*/ 157208 w 403688"/>
                <a:gd name="connsiteY380" fmla="*/ 483677 h 777076"/>
                <a:gd name="connsiteX381" fmla="*/ 157208 w 403688"/>
                <a:gd name="connsiteY381" fmla="*/ 478953 h 777076"/>
                <a:gd name="connsiteX382" fmla="*/ 154275 w 403688"/>
                <a:gd name="connsiteY382" fmla="*/ 478464 h 777076"/>
                <a:gd name="connsiteX383" fmla="*/ 155252 w 403688"/>
                <a:gd name="connsiteY383" fmla="*/ 475206 h 777076"/>
                <a:gd name="connsiteX384" fmla="*/ 146781 w 403688"/>
                <a:gd name="connsiteY384" fmla="*/ 475206 h 777076"/>
                <a:gd name="connsiteX385" fmla="*/ 145641 w 403688"/>
                <a:gd name="connsiteY385" fmla="*/ 473414 h 777076"/>
                <a:gd name="connsiteX386" fmla="*/ 149714 w 403688"/>
                <a:gd name="connsiteY386" fmla="*/ 470970 h 777076"/>
                <a:gd name="connsiteX387" fmla="*/ 151017 w 403688"/>
                <a:gd name="connsiteY387" fmla="*/ 467712 h 777076"/>
                <a:gd name="connsiteX388" fmla="*/ 149714 w 403688"/>
                <a:gd name="connsiteY388" fmla="*/ 461033 h 777076"/>
                <a:gd name="connsiteX389" fmla="*/ 146456 w 403688"/>
                <a:gd name="connsiteY389" fmla="*/ 459078 h 777076"/>
                <a:gd name="connsiteX390" fmla="*/ 142383 w 403688"/>
                <a:gd name="connsiteY390" fmla="*/ 459893 h 777076"/>
                <a:gd name="connsiteX391" fmla="*/ 142383 w 403688"/>
                <a:gd name="connsiteY391" fmla="*/ 461522 h 777076"/>
                <a:gd name="connsiteX392" fmla="*/ 138961 w 403688"/>
                <a:gd name="connsiteY392" fmla="*/ 463965 h 777076"/>
                <a:gd name="connsiteX393" fmla="*/ 135377 w 403688"/>
                <a:gd name="connsiteY393" fmla="*/ 463476 h 777076"/>
                <a:gd name="connsiteX394" fmla="*/ 129676 w 403688"/>
                <a:gd name="connsiteY394" fmla="*/ 457449 h 777076"/>
                <a:gd name="connsiteX395" fmla="*/ 130490 w 403688"/>
                <a:gd name="connsiteY395" fmla="*/ 453865 h 777076"/>
                <a:gd name="connsiteX396" fmla="*/ 138310 w 403688"/>
                <a:gd name="connsiteY396" fmla="*/ 449955 h 777076"/>
                <a:gd name="connsiteX397" fmla="*/ 145315 w 403688"/>
                <a:gd name="connsiteY397" fmla="*/ 448652 h 777076"/>
                <a:gd name="connsiteX398" fmla="*/ 152809 w 403688"/>
                <a:gd name="connsiteY398" fmla="*/ 451258 h 777076"/>
                <a:gd name="connsiteX399" fmla="*/ 156719 w 403688"/>
                <a:gd name="connsiteY399" fmla="*/ 453050 h 777076"/>
                <a:gd name="connsiteX400" fmla="*/ 157370 w 403688"/>
                <a:gd name="connsiteY400" fmla="*/ 450933 h 777076"/>
                <a:gd name="connsiteX401" fmla="*/ 157370 w 403688"/>
                <a:gd name="connsiteY401" fmla="*/ 447349 h 777076"/>
                <a:gd name="connsiteX402" fmla="*/ 157533 w 403688"/>
                <a:gd name="connsiteY402" fmla="*/ 442135 h 777076"/>
                <a:gd name="connsiteX403" fmla="*/ 156882 w 403688"/>
                <a:gd name="connsiteY403" fmla="*/ 438551 h 777076"/>
                <a:gd name="connsiteX404" fmla="*/ 158348 w 403688"/>
                <a:gd name="connsiteY404" fmla="*/ 435782 h 777076"/>
                <a:gd name="connsiteX405" fmla="*/ 161932 w 403688"/>
                <a:gd name="connsiteY405" fmla="*/ 435456 h 777076"/>
                <a:gd name="connsiteX406" fmla="*/ 163887 w 403688"/>
                <a:gd name="connsiteY406" fmla="*/ 438551 h 777076"/>
                <a:gd name="connsiteX407" fmla="*/ 167145 w 403688"/>
                <a:gd name="connsiteY407" fmla="*/ 438551 h 777076"/>
                <a:gd name="connsiteX408" fmla="*/ 171381 w 403688"/>
                <a:gd name="connsiteY408" fmla="*/ 436434 h 777076"/>
                <a:gd name="connsiteX409" fmla="*/ 179852 w 403688"/>
                <a:gd name="connsiteY409" fmla="*/ 434805 h 777076"/>
                <a:gd name="connsiteX410" fmla="*/ 187834 w 403688"/>
                <a:gd name="connsiteY410" fmla="*/ 432198 h 777076"/>
                <a:gd name="connsiteX411" fmla="*/ 193047 w 403688"/>
                <a:gd name="connsiteY411" fmla="*/ 432198 h 777076"/>
                <a:gd name="connsiteX412" fmla="*/ 195002 w 403688"/>
                <a:gd name="connsiteY412" fmla="*/ 432850 h 777076"/>
                <a:gd name="connsiteX413" fmla="*/ 197772 w 403688"/>
                <a:gd name="connsiteY413" fmla="*/ 431546 h 777076"/>
                <a:gd name="connsiteX414" fmla="*/ 197772 w 403688"/>
                <a:gd name="connsiteY414" fmla="*/ 429917 h 777076"/>
                <a:gd name="connsiteX415" fmla="*/ 203148 w 403688"/>
                <a:gd name="connsiteY415" fmla="*/ 426985 h 777076"/>
                <a:gd name="connsiteX416" fmla="*/ 204451 w 403688"/>
                <a:gd name="connsiteY416" fmla="*/ 424216 h 777076"/>
                <a:gd name="connsiteX417" fmla="*/ 210316 w 403688"/>
                <a:gd name="connsiteY417" fmla="*/ 419328 h 777076"/>
                <a:gd name="connsiteX418" fmla="*/ 216343 w 403688"/>
                <a:gd name="connsiteY418" fmla="*/ 417373 h 777076"/>
                <a:gd name="connsiteX419" fmla="*/ 224000 w 403688"/>
                <a:gd name="connsiteY419" fmla="*/ 418676 h 777076"/>
                <a:gd name="connsiteX420" fmla="*/ 228399 w 403688"/>
                <a:gd name="connsiteY420" fmla="*/ 417536 h 777076"/>
                <a:gd name="connsiteX421" fmla="*/ 230354 w 403688"/>
                <a:gd name="connsiteY421" fmla="*/ 419328 h 777076"/>
                <a:gd name="connsiteX422" fmla="*/ 230354 w 403688"/>
                <a:gd name="connsiteY422" fmla="*/ 423564 h 777076"/>
                <a:gd name="connsiteX423" fmla="*/ 226607 w 403688"/>
                <a:gd name="connsiteY423" fmla="*/ 428940 h 777076"/>
                <a:gd name="connsiteX424" fmla="*/ 225467 w 403688"/>
                <a:gd name="connsiteY424" fmla="*/ 433338 h 777076"/>
                <a:gd name="connsiteX425" fmla="*/ 227747 w 403688"/>
                <a:gd name="connsiteY425" fmla="*/ 434967 h 777076"/>
                <a:gd name="connsiteX426" fmla="*/ 228236 w 403688"/>
                <a:gd name="connsiteY426" fmla="*/ 439529 h 777076"/>
                <a:gd name="connsiteX427" fmla="*/ 228562 w 403688"/>
                <a:gd name="connsiteY427" fmla="*/ 444416 h 777076"/>
                <a:gd name="connsiteX428" fmla="*/ 227747 w 403688"/>
                <a:gd name="connsiteY428" fmla="*/ 446371 h 777076"/>
                <a:gd name="connsiteX429" fmla="*/ 229050 w 403688"/>
                <a:gd name="connsiteY429" fmla="*/ 451258 h 777076"/>
                <a:gd name="connsiteX430" fmla="*/ 234263 w 403688"/>
                <a:gd name="connsiteY430" fmla="*/ 453539 h 777076"/>
                <a:gd name="connsiteX431" fmla="*/ 241431 w 403688"/>
                <a:gd name="connsiteY431" fmla="*/ 460218 h 777076"/>
                <a:gd name="connsiteX432" fmla="*/ 246156 w 403688"/>
                <a:gd name="connsiteY432" fmla="*/ 461684 h 777076"/>
                <a:gd name="connsiteX433" fmla="*/ 249251 w 403688"/>
                <a:gd name="connsiteY433" fmla="*/ 460056 h 777076"/>
                <a:gd name="connsiteX434" fmla="*/ 254301 w 403688"/>
                <a:gd name="connsiteY434" fmla="*/ 452562 h 777076"/>
                <a:gd name="connsiteX435" fmla="*/ 254790 w 403688"/>
                <a:gd name="connsiteY435" fmla="*/ 447675 h 777076"/>
                <a:gd name="connsiteX436" fmla="*/ 257559 w 403688"/>
                <a:gd name="connsiteY436" fmla="*/ 445883 h 777076"/>
                <a:gd name="connsiteX437" fmla="*/ 258374 w 403688"/>
                <a:gd name="connsiteY437" fmla="*/ 443439 h 777076"/>
                <a:gd name="connsiteX438" fmla="*/ 257397 w 403688"/>
                <a:gd name="connsiteY438" fmla="*/ 440018 h 777076"/>
                <a:gd name="connsiteX439" fmla="*/ 260655 w 403688"/>
                <a:gd name="connsiteY439" fmla="*/ 433827 h 777076"/>
                <a:gd name="connsiteX440" fmla="*/ 265054 w 403688"/>
                <a:gd name="connsiteY440" fmla="*/ 433175 h 777076"/>
                <a:gd name="connsiteX441" fmla="*/ 268963 w 403688"/>
                <a:gd name="connsiteY441" fmla="*/ 433175 h 777076"/>
                <a:gd name="connsiteX442" fmla="*/ 270267 w 403688"/>
                <a:gd name="connsiteY442" fmla="*/ 430569 h 777076"/>
                <a:gd name="connsiteX443" fmla="*/ 269126 w 403688"/>
                <a:gd name="connsiteY443" fmla="*/ 428777 h 777076"/>
                <a:gd name="connsiteX444" fmla="*/ 267986 w 403688"/>
                <a:gd name="connsiteY444" fmla="*/ 423564 h 777076"/>
                <a:gd name="connsiteX445" fmla="*/ 258863 w 403688"/>
                <a:gd name="connsiteY445" fmla="*/ 419654 h 777076"/>
                <a:gd name="connsiteX446" fmla="*/ 257722 w 403688"/>
                <a:gd name="connsiteY446" fmla="*/ 417048 h 777076"/>
                <a:gd name="connsiteX447" fmla="*/ 259677 w 403688"/>
                <a:gd name="connsiteY447" fmla="*/ 410205 h 777076"/>
                <a:gd name="connsiteX448" fmla="*/ 262610 w 403688"/>
                <a:gd name="connsiteY448" fmla="*/ 407599 h 777076"/>
                <a:gd name="connsiteX449" fmla="*/ 264565 w 403688"/>
                <a:gd name="connsiteY449" fmla="*/ 406947 h 777076"/>
                <a:gd name="connsiteX450" fmla="*/ 263587 w 403688"/>
                <a:gd name="connsiteY450" fmla="*/ 409065 h 777076"/>
                <a:gd name="connsiteX451" fmla="*/ 264076 w 403688"/>
                <a:gd name="connsiteY451" fmla="*/ 414604 h 777076"/>
                <a:gd name="connsiteX452" fmla="*/ 265868 w 403688"/>
                <a:gd name="connsiteY452" fmla="*/ 416070 h 777076"/>
                <a:gd name="connsiteX453" fmla="*/ 268149 w 403688"/>
                <a:gd name="connsiteY453" fmla="*/ 414441 h 777076"/>
                <a:gd name="connsiteX454" fmla="*/ 269289 w 403688"/>
                <a:gd name="connsiteY454" fmla="*/ 412975 h 777076"/>
                <a:gd name="connsiteX455" fmla="*/ 272873 w 403688"/>
                <a:gd name="connsiteY455" fmla="*/ 413789 h 777076"/>
                <a:gd name="connsiteX456" fmla="*/ 275479 w 403688"/>
                <a:gd name="connsiteY456" fmla="*/ 415581 h 777076"/>
                <a:gd name="connsiteX457" fmla="*/ 278086 w 403688"/>
                <a:gd name="connsiteY457" fmla="*/ 414767 h 777076"/>
                <a:gd name="connsiteX458" fmla="*/ 279878 w 403688"/>
                <a:gd name="connsiteY458" fmla="*/ 415256 h 777076"/>
                <a:gd name="connsiteX459" fmla="*/ 278901 w 403688"/>
                <a:gd name="connsiteY459" fmla="*/ 417373 h 777076"/>
                <a:gd name="connsiteX460" fmla="*/ 274339 w 403688"/>
                <a:gd name="connsiteY460" fmla="*/ 418514 h 777076"/>
                <a:gd name="connsiteX461" fmla="*/ 273850 w 403688"/>
                <a:gd name="connsiteY461" fmla="*/ 419817 h 777076"/>
                <a:gd name="connsiteX462" fmla="*/ 275479 w 403688"/>
                <a:gd name="connsiteY462" fmla="*/ 420632 h 777076"/>
                <a:gd name="connsiteX463" fmla="*/ 279390 w 403688"/>
                <a:gd name="connsiteY463" fmla="*/ 419491 h 777076"/>
                <a:gd name="connsiteX464" fmla="*/ 285743 w 403688"/>
                <a:gd name="connsiteY464" fmla="*/ 416070 h 777076"/>
                <a:gd name="connsiteX465" fmla="*/ 298613 w 403688"/>
                <a:gd name="connsiteY465" fmla="*/ 417210 h 777076"/>
                <a:gd name="connsiteX466" fmla="*/ 305292 w 403688"/>
                <a:gd name="connsiteY466" fmla="*/ 416396 h 777076"/>
                <a:gd name="connsiteX467" fmla="*/ 303500 w 403688"/>
                <a:gd name="connsiteY467" fmla="*/ 414767 h 777076"/>
                <a:gd name="connsiteX468" fmla="*/ 302197 w 403688"/>
                <a:gd name="connsiteY468" fmla="*/ 409554 h 777076"/>
                <a:gd name="connsiteX469" fmla="*/ 303500 w 403688"/>
                <a:gd name="connsiteY469" fmla="*/ 403689 h 777076"/>
                <a:gd name="connsiteX470" fmla="*/ 309039 w 403688"/>
                <a:gd name="connsiteY470" fmla="*/ 400919 h 777076"/>
                <a:gd name="connsiteX471" fmla="*/ 313274 w 403688"/>
                <a:gd name="connsiteY471" fmla="*/ 401734 h 777076"/>
                <a:gd name="connsiteX472" fmla="*/ 314252 w 403688"/>
                <a:gd name="connsiteY472" fmla="*/ 406947 h 777076"/>
                <a:gd name="connsiteX473" fmla="*/ 312786 w 403688"/>
                <a:gd name="connsiteY473" fmla="*/ 411671 h 777076"/>
                <a:gd name="connsiteX474" fmla="*/ 314741 w 403688"/>
                <a:gd name="connsiteY474" fmla="*/ 415418 h 777076"/>
                <a:gd name="connsiteX475" fmla="*/ 318650 w 403688"/>
                <a:gd name="connsiteY475" fmla="*/ 415093 h 777076"/>
                <a:gd name="connsiteX476" fmla="*/ 322560 w 403688"/>
                <a:gd name="connsiteY476" fmla="*/ 409717 h 777076"/>
                <a:gd name="connsiteX477" fmla="*/ 319628 w 403688"/>
                <a:gd name="connsiteY477" fmla="*/ 400919 h 777076"/>
                <a:gd name="connsiteX478" fmla="*/ 321094 w 403688"/>
                <a:gd name="connsiteY478" fmla="*/ 395381 h 777076"/>
                <a:gd name="connsiteX479" fmla="*/ 327285 w 403688"/>
                <a:gd name="connsiteY479" fmla="*/ 390656 h 777076"/>
                <a:gd name="connsiteX480" fmla="*/ 330706 w 403688"/>
                <a:gd name="connsiteY480" fmla="*/ 390656 h 777076"/>
                <a:gd name="connsiteX481" fmla="*/ 331846 w 403688"/>
                <a:gd name="connsiteY481" fmla="*/ 388050 h 777076"/>
                <a:gd name="connsiteX482" fmla="*/ 329402 w 403688"/>
                <a:gd name="connsiteY482" fmla="*/ 385117 h 777076"/>
                <a:gd name="connsiteX483" fmla="*/ 330706 w 403688"/>
                <a:gd name="connsiteY483" fmla="*/ 379090 h 777076"/>
                <a:gd name="connsiteX484" fmla="*/ 333801 w 403688"/>
                <a:gd name="connsiteY484" fmla="*/ 377135 h 777076"/>
                <a:gd name="connsiteX485" fmla="*/ 338525 w 403688"/>
                <a:gd name="connsiteY485" fmla="*/ 378112 h 777076"/>
                <a:gd name="connsiteX486" fmla="*/ 339666 w 403688"/>
                <a:gd name="connsiteY486" fmla="*/ 380882 h 777076"/>
                <a:gd name="connsiteX487" fmla="*/ 337222 w 403688"/>
                <a:gd name="connsiteY487" fmla="*/ 384303 h 777076"/>
                <a:gd name="connsiteX488" fmla="*/ 335919 w 403688"/>
                <a:gd name="connsiteY488" fmla="*/ 391308 h 777076"/>
                <a:gd name="connsiteX489" fmla="*/ 337385 w 403688"/>
                <a:gd name="connsiteY489" fmla="*/ 405807 h 777076"/>
                <a:gd name="connsiteX490" fmla="*/ 339829 w 403688"/>
                <a:gd name="connsiteY490" fmla="*/ 406947 h 777076"/>
                <a:gd name="connsiteX491" fmla="*/ 343087 w 403688"/>
                <a:gd name="connsiteY491" fmla="*/ 404666 h 777076"/>
                <a:gd name="connsiteX492" fmla="*/ 345368 w 403688"/>
                <a:gd name="connsiteY492" fmla="*/ 399942 h 777076"/>
                <a:gd name="connsiteX493" fmla="*/ 349603 w 403688"/>
                <a:gd name="connsiteY493" fmla="*/ 399616 h 777076"/>
                <a:gd name="connsiteX494" fmla="*/ 354327 w 403688"/>
                <a:gd name="connsiteY494" fmla="*/ 394403 h 777076"/>
                <a:gd name="connsiteX495" fmla="*/ 356120 w 403688"/>
                <a:gd name="connsiteY495" fmla="*/ 387724 h 777076"/>
                <a:gd name="connsiteX496" fmla="*/ 354979 w 403688"/>
                <a:gd name="connsiteY496" fmla="*/ 383488 h 777076"/>
                <a:gd name="connsiteX497" fmla="*/ 360518 w 403688"/>
                <a:gd name="connsiteY497" fmla="*/ 378275 h 777076"/>
                <a:gd name="connsiteX498" fmla="*/ 359867 w 403688"/>
                <a:gd name="connsiteY498" fmla="*/ 375017 h 777076"/>
                <a:gd name="connsiteX499" fmla="*/ 357097 w 403688"/>
                <a:gd name="connsiteY499" fmla="*/ 372410 h 777076"/>
                <a:gd name="connsiteX500" fmla="*/ 351232 w 403688"/>
                <a:gd name="connsiteY500" fmla="*/ 364265 h 777076"/>
                <a:gd name="connsiteX501" fmla="*/ 349277 w 403688"/>
                <a:gd name="connsiteY501" fmla="*/ 358237 h 777076"/>
                <a:gd name="connsiteX502" fmla="*/ 347649 w 403688"/>
                <a:gd name="connsiteY502" fmla="*/ 345856 h 777076"/>
                <a:gd name="connsiteX503" fmla="*/ 349440 w 403688"/>
                <a:gd name="connsiteY503" fmla="*/ 331520 h 777076"/>
                <a:gd name="connsiteX504" fmla="*/ 349766 w 403688"/>
                <a:gd name="connsiteY504" fmla="*/ 321746 h 777076"/>
                <a:gd name="connsiteX505" fmla="*/ 345368 w 403688"/>
                <a:gd name="connsiteY505" fmla="*/ 303826 h 777076"/>
                <a:gd name="connsiteX506" fmla="*/ 339177 w 403688"/>
                <a:gd name="connsiteY506" fmla="*/ 295354 h 777076"/>
                <a:gd name="connsiteX507" fmla="*/ 338688 w 403688"/>
                <a:gd name="connsiteY507" fmla="*/ 288675 h 777076"/>
                <a:gd name="connsiteX508" fmla="*/ 340154 w 403688"/>
                <a:gd name="connsiteY508" fmla="*/ 280367 h 777076"/>
                <a:gd name="connsiteX509" fmla="*/ 348137 w 403688"/>
                <a:gd name="connsiteY509" fmla="*/ 276620 h 777076"/>
                <a:gd name="connsiteX510" fmla="*/ 352047 w 403688"/>
                <a:gd name="connsiteY510" fmla="*/ 276620 h 777076"/>
                <a:gd name="connsiteX511" fmla="*/ 354002 w 403688"/>
                <a:gd name="connsiteY511" fmla="*/ 280041 h 777076"/>
                <a:gd name="connsiteX512" fmla="*/ 355468 w 403688"/>
                <a:gd name="connsiteY512" fmla="*/ 278249 h 777076"/>
                <a:gd name="connsiteX513" fmla="*/ 354165 w 403688"/>
                <a:gd name="connsiteY513" fmla="*/ 272384 h 777076"/>
                <a:gd name="connsiteX514" fmla="*/ 353187 w 403688"/>
                <a:gd name="connsiteY514" fmla="*/ 268474 h 777076"/>
                <a:gd name="connsiteX515" fmla="*/ 351558 w 403688"/>
                <a:gd name="connsiteY515" fmla="*/ 266519 h 777076"/>
                <a:gd name="connsiteX516" fmla="*/ 350255 w 403688"/>
                <a:gd name="connsiteY516" fmla="*/ 261469 h 777076"/>
                <a:gd name="connsiteX517" fmla="*/ 350581 w 403688"/>
                <a:gd name="connsiteY517" fmla="*/ 258863 h 777076"/>
                <a:gd name="connsiteX518" fmla="*/ 350581 w 403688"/>
                <a:gd name="connsiteY518" fmla="*/ 254953 h 777076"/>
                <a:gd name="connsiteX519" fmla="*/ 352373 w 403688"/>
                <a:gd name="connsiteY519" fmla="*/ 251858 h 777076"/>
                <a:gd name="connsiteX520" fmla="*/ 352373 w 403688"/>
                <a:gd name="connsiteY520" fmla="*/ 250228 h 777076"/>
                <a:gd name="connsiteX521" fmla="*/ 352861 w 403688"/>
                <a:gd name="connsiteY521" fmla="*/ 246319 h 777076"/>
                <a:gd name="connsiteX522" fmla="*/ 351395 w 403688"/>
                <a:gd name="connsiteY522" fmla="*/ 244038 h 777076"/>
                <a:gd name="connsiteX523" fmla="*/ 351070 w 403688"/>
                <a:gd name="connsiteY523" fmla="*/ 237685 h 777076"/>
                <a:gd name="connsiteX524" fmla="*/ 352210 w 403688"/>
                <a:gd name="connsiteY524" fmla="*/ 234589 h 777076"/>
                <a:gd name="connsiteX525" fmla="*/ 350255 w 403688"/>
                <a:gd name="connsiteY525" fmla="*/ 230842 h 777076"/>
                <a:gd name="connsiteX526" fmla="*/ 348789 w 403688"/>
                <a:gd name="connsiteY526" fmla="*/ 220905 h 777076"/>
                <a:gd name="connsiteX527" fmla="*/ 344227 w 403688"/>
                <a:gd name="connsiteY527" fmla="*/ 212759 h 777076"/>
                <a:gd name="connsiteX528" fmla="*/ 341621 w 403688"/>
                <a:gd name="connsiteY528" fmla="*/ 212759 h 777076"/>
                <a:gd name="connsiteX529" fmla="*/ 338851 w 403688"/>
                <a:gd name="connsiteY529" fmla="*/ 211293 h 777076"/>
                <a:gd name="connsiteX530" fmla="*/ 338200 w 403688"/>
                <a:gd name="connsiteY530" fmla="*/ 200378 h 777076"/>
                <a:gd name="connsiteX531" fmla="*/ 333475 w 403688"/>
                <a:gd name="connsiteY531" fmla="*/ 195980 h 777076"/>
                <a:gd name="connsiteX532" fmla="*/ 323049 w 403688"/>
                <a:gd name="connsiteY532" fmla="*/ 184250 h 777076"/>
                <a:gd name="connsiteX533" fmla="*/ 320279 w 403688"/>
                <a:gd name="connsiteY533" fmla="*/ 179037 h 777076"/>
                <a:gd name="connsiteX534" fmla="*/ 318325 w 403688"/>
                <a:gd name="connsiteY534" fmla="*/ 171055 h 777076"/>
                <a:gd name="connsiteX535" fmla="*/ 317836 w 403688"/>
                <a:gd name="connsiteY535" fmla="*/ 163235 h 777076"/>
                <a:gd name="connsiteX536" fmla="*/ 318162 w 403688"/>
                <a:gd name="connsiteY536" fmla="*/ 160628 h 777076"/>
                <a:gd name="connsiteX537" fmla="*/ 315229 w 403688"/>
                <a:gd name="connsiteY537" fmla="*/ 162420 h 777076"/>
                <a:gd name="connsiteX538" fmla="*/ 312949 w 403688"/>
                <a:gd name="connsiteY538" fmla="*/ 162746 h 777076"/>
                <a:gd name="connsiteX539" fmla="*/ 311808 w 403688"/>
                <a:gd name="connsiteY539" fmla="*/ 161280 h 777076"/>
                <a:gd name="connsiteX540" fmla="*/ 307247 w 403688"/>
                <a:gd name="connsiteY540" fmla="*/ 159325 h 777076"/>
                <a:gd name="connsiteX541" fmla="*/ 304803 w 403688"/>
                <a:gd name="connsiteY541" fmla="*/ 158999 h 777076"/>
                <a:gd name="connsiteX542" fmla="*/ 305129 w 403688"/>
                <a:gd name="connsiteY542" fmla="*/ 160628 h 777076"/>
                <a:gd name="connsiteX543" fmla="*/ 302685 w 403688"/>
                <a:gd name="connsiteY543" fmla="*/ 166982 h 777076"/>
                <a:gd name="connsiteX544" fmla="*/ 302685 w 403688"/>
                <a:gd name="connsiteY544" fmla="*/ 171380 h 777076"/>
                <a:gd name="connsiteX545" fmla="*/ 304966 w 403688"/>
                <a:gd name="connsiteY545" fmla="*/ 173498 h 777076"/>
                <a:gd name="connsiteX546" fmla="*/ 307410 w 403688"/>
                <a:gd name="connsiteY546" fmla="*/ 172358 h 777076"/>
                <a:gd name="connsiteX547" fmla="*/ 313111 w 403688"/>
                <a:gd name="connsiteY547" fmla="*/ 167308 h 777076"/>
                <a:gd name="connsiteX548" fmla="*/ 315718 w 403688"/>
                <a:gd name="connsiteY548" fmla="*/ 173661 h 777076"/>
                <a:gd name="connsiteX549" fmla="*/ 313763 w 403688"/>
                <a:gd name="connsiteY549" fmla="*/ 178223 h 777076"/>
                <a:gd name="connsiteX550" fmla="*/ 310668 w 403688"/>
                <a:gd name="connsiteY550" fmla="*/ 180178 h 777076"/>
                <a:gd name="connsiteX551" fmla="*/ 307410 w 403688"/>
                <a:gd name="connsiteY551" fmla="*/ 177734 h 777076"/>
                <a:gd name="connsiteX552" fmla="*/ 306270 w 403688"/>
                <a:gd name="connsiteY552" fmla="*/ 177734 h 777076"/>
                <a:gd name="connsiteX553" fmla="*/ 307899 w 403688"/>
                <a:gd name="connsiteY553" fmla="*/ 183762 h 777076"/>
                <a:gd name="connsiteX554" fmla="*/ 305618 w 403688"/>
                <a:gd name="connsiteY554" fmla="*/ 186205 h 777076"/>
                <a:gd name="connsiteX555" fmla="*/ 302034 w 403688"/>
                <a:gd name="connsiteY555" fmla="*/ 184902 h 777076"/>
                <a:gd name="connsiteX556" fmla="*/ 301219 w 403688"/>
                <a:gd name="connsiteY556" fmla="*/ 180503 h 777076"/>
                <a:gd name="connsiteX557" fmla="*/ 300405 w 403688"/>
                <a:gd name="connsiteY557" fmla="*/ 175290 h 777076"/>
                <a:gd name="connsiteX558" fmla="*/ 298776 w 403688"/>
                <a:gd name="connsiteY558" fmla="*/ 172684 h 777076"/>
                <a:gd name="connsiteX559" fmla="*/ 295681 w 403688"/>
                <a:gd name="connsiteY559" fmla="*/ 173661 h 777076"/>
                <a:gd name="connsiteX560" fmla="*/ 292911 w 403688"/>
                <a:gd name="connsiteY560" fmla="*/ 172032 h 777076"/>
                <a:gd name="connsiteX561" fmla="*/ 291933 w 403688"/>
                <a:gd name="connsiteY561" fmla="*/ 176105 h 777076"/>
                <a:gd name="connsiteX562" fmla="*/ 293725 w 403688"/>
                <a:gd name="connsiteY562" fmla="*/ 183599 h 777076"/>
                <a:gd name="connsiteX563" fmla="*/ 293725 w 403688"/>
                <a:gd name="connsiteY563" fmla="*/ 188812 h 777076"/>
                <a:gd name="connsiteX564" fmla="*/ 290793 w 403688"/>
                <a:gd name="connsiteY564" fmla="*/ 189952 h 777076"/>
                <a:gd name="connsiteX565" fmla="*/ 287698 w 403688"/>
                <a:gd name="connsiteY565" fmla="*/ 194514 h 777076"/>
                <a:gd name="connsiteX566" fmla="*/ 287698 w 403688"/>
                <a:gd name="connsiteY566" fmla="*/ 197446 h 777076"/>
                <a:gd name="connsiteX567" fmla="*/ 294214 w 403688"/>
                <a:gd name="connsiteY567" fmla="*/ 203962 h 777076"/>
                <a:gd name="connsiteX568" fmla="*/ 296332 w 403688"/>
                <a:gd name="connsiteY568" fmla="*/ 207872 h 777076"/>
                <a:gd name="connsiteX569" fmla="*/ 294051 w 403688"/>
                <a:gd name="connsiteY569" fmla="*/ 214877 h 777076"/>
                <a:gd name="connsiteX570" fmla="*/ 290630 w 403688"/>
                <a:gd name="connsiteY570" fmla="*/ 217158 h 777076"/>
                <a:gd name="connsiteX571" fmla="*/ 286720 w 403688"/>
                <a:gd name="connsiteY571" fmla="*/ 216343 h 777076"/>
                <a:gd name="connsiteX572" fmla="*/ 285906 w 403688"/>
                <a:gd name="connsiteY572" fmla="*/ 219113 h 777076"/>
                <a:gd name="connsiteX573" fmla="*/ 289652 w 403688"/>
                <a:gd name="connsiteY573" fmla="*/ 223837 h 777076"/>
                <a:gd name="connsiteX574" fmla="*/ 293563 w 403688"/>
                <a:gd name="connsiteY574" fmla="*/ 222860 h 777076"/>
                <a:gd name="connsiteX575" fmla="*/ 296984 w 403688"/>
                <a:gd name="connsiteY575" fmla="*/ 219113 h 777076"/>
                <a:gd name="connsiteX576" fmla="*/ 301871 w 403688"/>
                <a:gd name="connsiteY576" fmla="*/ 230354 h 777076"/>
                <a:gd name="connsiteX577" fmla="*/ 303663 w 403688"/>
                <a:gd name="connsiteY577" fmla="*/ 242735 h 777076"/>
                <a:gd name="connsiteX578" fmla="*/ 302522 w 403688"/>
                <a:gd name="connsiteY578" fmla="*/ 249577 h 777076"/>
                <a:gd name="connsiteX579" fmla="*/ 303011 w 403688"/>
                <a:gd name="connsiteY579" fmla="*/ 261795 h 777076"/>
                <a:gd name="connsiteX580" fmla="*/ 298613 w 403688"/>
                <a:gd name="connsiteY580" fmla="*/ 279715 h 777076"/>
                <a:gd name="connsiteX581" fmla="*/ 299916 w 403688"/>
                <a:gd name="connsiteY581" fmla="*/ 286557 h 777076"/>
                <a:gd name="connsiteX582" fmla="*/ 297961 w 403688"/>
                <a:gd name="connsiteY582" fmla="*/ 294377 h 777076"/>
                <a:gd name="connsiteX583" fmla="*/ 291770 w 403688"/>
                <a:gd name="connsiteY583" fmla="*/ 297635 h 777076"/>
                <a:gd name="connsiteX584" fmla="*/ 289001 w 403688"/>
                <a:gd name="connsiteY584" fmla="*/ 305129 h 777076"/>
                <a:gd name="connsiteX585" fmla="*/ 289327 w 403688"/>
                <a:gd name="connsiteY585" fmla="*/ 313600 h 777076"/>
                <a:gd name="connsiteX586" fmla="*/ 286232 w 403688"/>
                <a:gd name="connsiteY586" fmla="*/ 318650 h 777076"/>
                <a:gd name="connsiteX587" fmla="*/ 285254 w 403688"/>
                <a:gd name="connsiteY587" fmla="*/ 323863 h 777076"/>
                <a:gd name="connsiteX588" fmla="*/ 279063 w 403688"/>
                <a:gd name="connsiteY588" fmla="*/ 329565 h 777076"/>
                <a:gd name="connsiteX589" fmla="*/ 266845 w 403688"/>
                <a:gd name="connsiteY589" fmla="*/ 336896 h 777076"/>
                <a:gd name="connsiteX590" fmla="*/ 262121 w 403688"/>
                <a:gd name="connsiteY590" fmla="*/ 338362 h 777076"/>
                <a:gd name="connsiteX591" fmla="*/ 259677 w 403688"/>
                <a:gd name="connsiteY591" fmla="*/ 343250 h 777076"/>
                <a:gd name="connsiteX592" fmla="*/ 253487 w 403688"/>
                <a:gd name="connsiteY592" fmla="*/ 339666 h 777076"/>
                <a:gd name="connsiteX593" fmla="*/ 247459 w 403688"/>
                <a:gd name="connsiteY593" fmla="*/ 332335 h 777076"/>
                <a:gd name="connsiteX594" fmla="*/ 247459 w 403688"/>
                <a:gd name="connsiteY594" fmla="*/ 329240 h 777076"/>
                <a:gd name="connsiteX595" fmla="*/ 250392 w 403688"/>
                <a:gd name="connsiteY595" fmla="*/ 327936 h 777076"/>
                <a:gd name="connsiteX596" fmla="*/ 252998 w 403688"/>
                <a:gd name="connsiteY596" fmla="*/ 323212 h 777076"/>
                <a:gd name="connsiteX597" fmla="*/ 252509 w 403688"/>
                <a:gd name="connsiteY597" fmla="*/ 320605 h 777076"/>
                <a:gd name="connsiteX598" fmla="*/ 255605 w 403688"/>
                <a:gd name="connsiteY598" fmla="*/ 317347 h 777076"/>
                <a:gd name="connsiteX599" fmla="*/ 255279 w 403688"/>
                <a:gd name="connsiteY599" fmla="*/ 316044 h 777076"/>
                <a:gd name="connsiteX600" fmla="*/ 249414 w 403688"/>
                <a:gd name="connsiteY600" fmla="*/ 317510 h 777076"/>
                <a:gd name="connsiteX601" fmla="*/ 245179 w 403688"/>
                <a:gd name="connsiteY601" fmla="*/ 321909 h 777076"/>
                <a:gd name="connsiteX602" fmla="*/ 239802 w 403688"/>
                <a:gd name="connsiteY602" fmla="*/ 324026 h 777076"/>
                <a:gd name="connsiteX603" fmla="*/ 238825 w 403688"/>
                <a:gd name="connsiteY603" fmla="*/ 328914 h 777076"/>
                <a:gd name="connsiteX604" fmla="*/ 242409 w 403688"/>
                <a:gd name="connsiteY604" fmla="*/ 334941 h 777076"/>
                <a:gd name="connsiteX605" fmla="*/ 243061 w 403688"/>
                <a:gd name="connsiteY605" fmla="*/ 346997 h 777076"/>
                <a:gd name="connsiteX606" fmla="*/ 242409 w 403688"/>
                <a:gd name="connsiteY606" fmla="*/ 352861 h 777076"/>
                <a:gd name="connsiteX607" fmla="*/ 236544 w 403688"/>
                <a:gd name="connsiteY607" fmla="*/ 358889 h 777076"/>
                <a:gd name="connsiteX608" fmla="*/ 236544 w 403688"/>
                <a:gd name="connsiteY608" fmla="*/ 362147 h 777076"/>
                <a:gd name="connsiteX609" fmla="*/ 234263 w 403688"/>
                <a:gd name="connsiteY609" fmla="*/ 364591 h 777076"/>
                <a:gd name="connsiteX610" fmla="*/ 233449 w 403688"/>
                <a:gd name="connsiteY610" fmla="*/ 373551 h 777076"/>
                <a:gd name="connsiteX611" fmla="*/ 235730 w 403688"/>
                <a:gd name="connsiteY611" fmla="*/ 375994 h 777076"/>
                <a:gd name="connsiteX612" fmla="*/ 236056 w 403688"/>
                <a:gd name="connsiteY612" fmla="*/ 379741 h 777076"/>
                <a:gd name="connsiteX613" fmla="*/ 234427 w 403688"/>
                <a:gd name="connsiteY613" fmla="*/ 381044 h 777076"/>
                <a:gd name="connsiteX614" fmla="*/ 235567 w 403688"/>
                <a:gd name="connsiteY614" fmla="*/ 382511 h 777076"/>
                <a:gd name="connsiteX615" fmla="*/ 234263 w 403688"/>
                <a:gd name="connsiteY615" fmla="*/ 385606 h 777076"/>
                <a:gd name="connsiteX616" fmla="*/ 231820 w 403688"/>
                <a:gd name="connsiteY616" fmla="*/ 385932 h 777076"/>
                <a:gd name="connsiteX617" fmla="*/ 233449 w 403688"/>
                <a:gd name="connsiteY617" fmla="*/ 388213 h 777076"/>
                <a:gd name="connsiteX618" fmla="*/ 229539 w 403688"/>
                <a:gd name="connsiteY618" fmla="*/ 389842 h 777076"/>
                <a:gd name="connsiteX619" fmla="*/ 226933 w 403688"/>
                <a:gd name="connsiteY619" fmla="*/ 387887 h 777076"/>
                <a:gd name="connsiteX620" fmla="*/ 223186 w 403688"/>
                <a:gd name="connsiteY620" fmla="*/ 390656 h 777076"/>
                <a:gd name="connsiteX621" fmla="*/ 220905 w 403688"/>
                <a:gd name="connsiteY621" fmla="*/ 389842 h 777076"/>
                <a:gd name="connsiteX622" fmla="*/ 219927 w 403688"/>
                <a:gd name="connsiteY622" fmla="*/ 384466 h 777076"/>
                <a:gd name="connsiteX623" fmla="*/ 218461 w 403688"/>
                <a:gd name="connsiteY623" fmla="*/ 383814 h 777076"/>
                <a:gd name="connsiteX624" fmla="*/ 215203 w 403688"/>
                <a:gd name="connsiteY624" fmla="*/ 386258 h 777076"/>
                <a:gd name="connsiteX625" fmla="*/ 212108 w 403688"/>
                <a:gd name="connsiteY625" fmla="*/ 386258 h 777076"/>
                <a:gd name="connsiteX626" fmla="*/ 210479 w 403688"/>
                <a:gd name="connsiteY626" fmla="*/ 385280 h 777076"/>
                <a:gd name="connsiteX627" fmla="*/ 199401 w 403688"/>
                <a:gd name="connsiteY627" fmla="*/ 389190 h 777076"/>
                <a:gd name="connsiteX628" fmla="*/ 193536 w 403688"/>
                <a:gd name="connsiteY628" fmla="*/ 391471 h 777076"/>
                <a:gd name="connsiteX629" fmla="*/ 187672 w 403688"/>
                <a:gd name="connsiteY629" fmla="*/ 393426 h 777076"/>
                <a:gd name="connsiteX630" fmla="*/ 181155 w 403688"/>
                <a:gd name="connsiteY630" fmla="*/ 393914 h 777076"/>
                <a:gd name="connsiteX631" fmla="*/ 174802 w 403688"/>
                <a:gd name="connsiteY631" fmla="*/ 395869 h 777076"/>
                <a:gd name="connsiteX632" fmla="*/ 172521 w 403688"/>
                <a:gd name="connsiteY632" fmla="*/ 394403 h 777076"/>
                <a:gd name="connsiteX633" fmla="*/ 167145 w 403688"/>
                <a:gd name="connsiteY633" fmla="*/ 395055 h 777076"/>
                <a:gd name="connsiteX634" fmla="*/ 157533 w 403688"/>
                <a:gd name="connsiteY634" fmla="*/ 401734 h 777076"/>
                <a:gd name="connsiteX635" fmla="*/ 155741 w 403688"/>
                <a:gd name="connsiteY635" fmla="*/ 407762 h 777076"/>
                <a:gd name="connsiteX636" fmla="*/ 152158 w 403688"/>
                <a:gd name="connsiteY636" fmla="*/ 410205 h 777076"/>
                <a:gd name="connsiteX637" fmla="*/ 151343 w 403688"/>
                <a:gd name="connsiteY637" fmla="*/ 413952 h 777076"/>
                <a:gd name="connsiteX638" fmla="*/ 144338 w 403688"/>
                <a:gd name="connsiteY638" fmla="*/ 421935 h 777076"/>
                <a:gd name="connsiteX639" fmla="*/ 139939 w 403688"/>
                <a:gd name="connsiteY639" fmla="*/ 423564 h 777076"/>
                <a:gd name="connsiteX640" fmla="*/ 136192 w 403688"/>
                <a:gd name="connsiteY640" fmla="*/ 428614 h 777076"/>
                <a:gd name="connsiteX641" fmla="*/ 135052 w 403688"/>
                <a:gd name="connsiteY641" fmla="*/ 431872 h 777076"/>
                <a:gd name="connsiteX642" fmla="*/ 131305 w 403688"/>
                <a:gd name="connsiteY642" fmla="*/ 435782 h 777076"/>
                <a:gd name="connsiteX643" fmla="*/ 124463 w 403688"/>
                <a:gd name="connsiteY643" fmla="*/ 437248 h 777076"/>
                <a:gd name="connsiteX644" fmla="*/ 122019 w 403688"/>
                <a:gd name="connsiteY644" fmla="*/ 440832 h 777076"/>
                <a:gd name="connsiteX645" fmla="*/ 123648 w 403688"/>
                <a:gd name="connsiteY645" fmla="*/ 448815 h 777076"/>
                <a:gd name="connsiteX646" fmla="*/ 126255 w 403688"/>
                <a:gd name="connsiteY646" fmla="*/ 450281 h 777076"/>
                <a:gd name="connsiteX647" fmla="*/ 127069 w 403688"/>
                <a:gd name="connsiteY647" fmla="*/ 453213 h 777076"/>
                <a:gd name="connsiteX648" fmla="*/ 125440 w 403688"/>
                <a:gd name="connsiteY648" fmla="*/ 455983 h 777076"/>
                <a:gd name="connsiteX649" fmla="*/ 121204 w 403688"/>
                <a:gd name="connsiteY649" fmla="*/ 456309 h 777076"/>
                <a:gd name="connsiteX650" fmla="*/ 115829 w 403688"/>
                <a:gd name="connsiteY650" fmla="*/ 460544 h 777076"/>
                <a:gd name="connsiteX651" fmla="*/ 114525 w 403688"/>
                <a:gd name="connsiteY651" fmla="*/ 463476 h 777076"/>
                <a:gd name="connsiteX652" fmla="*/ 111267 w 403688"/>
                <a:gd name="connsiteY652" fmla="*/ 466083 h 777076"/>
                <a:gd name="connsiteX653" fmla="*/ 106543 w 403688"/>
                <a:gd name="connsiteY653" fmla="*/ 471296 h 777076"/>
                <a:gd name="connsiteX654" fmla="*/ 104751 w 403688"/>
                <a:gd name="connsiteY654" fmla="*/ 475206 h 777076"/>
                <a:gd name="connsiteX655" fmla="*/ 100678 w 403688"/>
                <a:gd name="connsiteY655" fmla="*/ 475206 h 777076"/>
                <a:gd name="connsiteX656" fmla="*/ 96117 w 403688"/>
                <a:gd name="connsiteY656" fmla="*/ 477813 h 777076"/>
                <a:gd name="connsiteX657" fmla="*/ 98397 w 403688"/>
                <a:gd name="connsiteY657" fmla="*/ 477813 h 777076"/>
                <a:gd name="connsiteX658" fmla="*/ 100841 w 403688"/>
                <a:gd name="connsiteY658" fmla="*/ 478138 h 777076"/>
                <a:gd name="connsiteX659" fmla="*/ 102633 w 403688"/>
                <a:gd name="connsiteY659" fmla="*/ 482700 h 777076"/>
                <a:gd name="connsiteX660" fmla="*/ 104914 w 403688"/>
                <a:gd name="connsiteY660" fmla="*/ 488727 h 777076"/>
                <a:gd name="connsiteX661" fmla="*/ 103122 w 403688"/>
                <a:gd name="connsiteY661" fmla="*/ 490357 h 777076"/>
                <a:gd name="connsiteX662" fmla="*/ 102307 w 403688"/>
                <a:gd name="connsiteY662" fmla="*/ 486447 h 777076"/>
                <a:gd name="connsiteX663" fmla="*/ 100190 w 403688"/>
                <a:gd name="connsiteY663" fmla="*/ 483351 h 777076"/>
                <a:gd name="connsiteX664" fmla="*/ 99049 w 403688"/>
                <a:gd name="connsiteY664" fmla="*/ 487424 h 777076"/>
                <a:gd name="connsiteX665" fmla="*/ 100352 w 403688"/>
                <a:gd name="connsiteY665" fmla="*/ 491986 h 777076"/>
                <a:gd name="connsiteX666" fmla="*/ 103610 w 403688"/>
                <a:gd name="connsiteY666" fmla="*/ 493452 h 777076"/>
                <a:gd name="connsiteX667" fmla="*/ 104099 w 403688"/>
                <a:gd name="connsiteY667" fmla="*/ 496384 h 777076"/>
                <a:gd name="connsiteX668" fmla="*/ 102470 w 403688"/>
                <a:gd name="connsiteY668" fmla="*/ 499642 h 777076"/>
                <a:gd name="connsiteX669" fmla="*/ 104914 w 403688"/>
                <a:gd name="connsiteY669" fmla="*/ 498176 h 777076"/>
                <a:gd name="connsiteX670" fmla="*/ 106706 w 403688"/>
                <a:gd name="connsiteY670" fmla="*/ 494755 h 777076"/>
                <a:gd name="connsiteX671" fmla="*/ 110615 w 403688"/>
                <a:gd name="connsiteY671" fmla="*/ 493452 h 777076"/>
                <a:gd name="connsiteX672" fmla="*/ 113059 w 403688"/>
                <a:gd name="connsiteY672" fmla="*/ 494429 h 777076"/>
                <a:gd name="connsiteX673" fmla="*/ 111104 w 403688"/>
                <a:gd name="connsiteY673" fmla="*/ 496221 h 777076"/>
                <a:gd name="connsiteX674" fmla="*/ 112896 w 403688"/>
                <a:gd name="connsiteY674" fmla="*/ 497687 h 777076"/>
                <a:gd name="connsiteX675" fmla="*/ 116806 w 403688"/>
                <a:gd name="connsiteY675" fmla="*/ 496547 h 777076"/>
                <a:gd name="connsiteX676" fmla="*/ 116317 w 403688"/>
                <a:gd name="connsiteY676" fmla="*/ 491823 h 777076"/>
                <a:gd name="connsiteX677" fmla="*/ 113548 w 403688"/>
                <a:gd name="connsiteY677" fmla="*/ 489379 h 777076"/>
                <a:gd name="connsiteX678" fmla="*/ 108986 w 403688"/>
                <a:gd name="connsiteY678" fmla="*/ 490519 h 777076"/>
                <a:gd name="connsiteX679" fmla="*/ 109312 w 403688"/>
                <a:gd name="connsiteY679" fmla="*/ 488565 h 777076"/>
                <a:gd name="connsiteX680" fmla="*/ 110615 w 403688"/>
                <a:gd name="connsiteY680" fmla="*/ 486284 h 777076"/>
                <a:gd name="connsiteX681" fmla="*/ 109475 w 403688"/>
                <a:gd name="connsiteY681" fmla="*/ 482374 h 777076"/>
                <a:gd name="connsiteX682" fmla="*/ 111593 w 403688"/>
                <a:gd name="connsiteY682" fmla="*/ 479605 h 777076"/>
                <a:gd name="connsiteX683" fmla="*/ 115829 w 403688"/>
                <a:gd name="connsiteY683" fmla="*/ 481234 h 777076"/>
                <a:gd name="connsiteX684" fmla="*/ 120227 w 403688"/>
                <a:gd name="connsiteY684" fmla="*/ 488891 h 777076"/>
                <a:gd name="connsiteX685" fmla="*/ 120879 w 403688"/>
                <a:gd name="connsiteY685" fmla="*/ 494592 h 777076"/>
                <a:gd name="connsiteX686" fmla="*/ 122997 w 403688"/>
                <a:gd name="connsiteY686" fmla="*/ 497199 h 777076"/>
                <a:gd name="connsiteX687" fmla="*/ 123322 w 403688"/>
                <a:gd name="connsiteY687" fmla="*/ 505833 h 777076"/>
                <a:gd name="connsiteX688" fmla="*/ 119576 w 403688"/>
                <a:gd name="connsiteY688" fmla="*/ 513978 h 777076"/>
                <a:gd name="connsiteX689" fmla="*/ 115177 w 403688"/>
                <a:gd name="connsiteY689" fmla="*/ 514467 h 777076"/>
                <a:gd name="connsiteX690" fmla="*/ 116317 w 403688"/>
                <a:gd name="connsiteY690" fmla="*/ 517400 h 777076"/>
                <a:gd name="connsiteX691" fmla="*/ 120227 w 403688"/>
                <a:gd name="connsiteY691" fmla="*/ 524079 h 777076"/>
                <a:gd name="connsiteX692" fmla="*/ 121856 w 403688"/>
                <a:gd name="connsiteY692" fmla="*/ 532876 h 777076"/>
                <a:gd name="connsiteX693" fmla="*/ 126092 w 403688"/>
                <a:gd name="connsiteY693" fmla="*/ 537926 h 777076"/>
                <a:gd name="connsiteX694" fmla="*/ 126092 w 403688"/>
                <a:gd name="connsiteY694" fmla="*/ 542325 h 777076"/>
                <a:gd name="connsiteX695" fmla="*/ 123811 w 403688"/>
                <a:gd name="connsiteY695" fmla="*/ 544931 h 777076"/>
                <a:gd name="connsiteX696" fmla="*/ 127069 w 403688"/>
                <a:gd name="connsiteY696" fmla="*/ 548841 h 777076"/>
                <a:gd name="connsiteX697" fmla="*/ 131142 w 403688"/>
                <a:gd name="connsiteY697" fmla="*/ 548352 h 777076"/>
                <a:gd name="connsiteX698" fmla="*/ 134563 w 403688"/>
                <a:gd name="connsiteY698" fmla="*/ 550307 h 777076"/>
                <a:gd name="connsiteX699" fmla="*/ 136192 w 403688"/>
                <a:gd name="connsiteY699" fmla="*/ 548352 h 777076"/>
                <a:gd name="connsiteX700" fmla="*/ 136192 w 403688"/>
                <a:gd name="connsiteY700" fmla="*/ 545746 h 777076"/>
                <a:gd name="connsiteX701" fmla="*/ 132445 w 403688"/>
                <a:gd name="connsiteY701" fmla="*/ 539881 h 777076"/>
                <a:gd name="connsiteX702" fmla="*/ 132445 w 403688"/>
                <a:gd name="connsiteY702" fmla="*/ 531735 h 777076"/>
                <a:gd name="connsiteX703" fmla="*/ 134726 w 403688"/>
                <a:gd name="connsiteY703" fmla="*/ 529129 h 777076"/>
                <a:gd name="connsiteX704" fmla="*/ 137333 w 403688"/>
                <a:gd name="connsiteY704" fmla="*/ 531247 h 777076"/>
                <a:gd name="connsiteX705" fmla="*/ 135867 w 403688"/>
                <a:gd name="connsiteY705" fmla="*/ 533527 h 777076"/>
                <a:gd name="connsiteX706" fmla="*/ 135867 w 403688"/>
                <a:gd name="connsiteY706" fmla="*/ 535971 h 777076"/>
                <a:gd name="connsiteX707" fmla="*/ 139613 w 403688"/>
                <a:gd name="connsiteY707" fmla="*/ 540044 h 777076"/>
                <a:gd name="connsiteX708" fmla="*/ 141242 w 403688"/>
                <a:gd name="connsiteY708" fmla="*/ 546886 h 777076"/>
                <a:gd name="connsiteX709" fmla="*/ 139939 w 403688"/>
                <a:gd name="connsiteY709" fmla="*/ 550959 h 777076"/>
                <a:gd name="connsiteX710" fmla="*/ 140591 w 403688"/>
                <a:gd name="connsiteY710" fmla="*/ 554543 h 7770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</a:cxnLst>
              <a:rect l="l" t="t" r="r" b="b"/>
              <a:pathLst>
                <a:path w="403688" h="777076">
                  <a:moveTo>
                    <a:pt x="161280" y="373062"/>
                  </a:moveTo>
                  <a:lnTo>
                    <a:pt x="163561" y="375506"/>
                  </a:lnTo>
                  <a:lnTo>
                    <a:pt x="161769" y="376483"/>
                  </a:lnTo>
                  <a:lnTo>
                    <a:pt x="160466" y="375832"/>
                  </a:lnTo>
                  <a:lnTo>
                    <a:pt x="161280" y="373062"/>
                  </a:lnTo>
                  <a:lnTo>
                    <a:pt x="161280" y="373062"/>
                  </a:lnTo>
                  <a:close/>
                  <a:moveTo>
                    <a:pt x="165679" y="373225"/>
                  </a:moveTo>
                  <a:lnTo>
                    <a:pt x="164050" y="371270"/>
                  </a:lnTo>
                  <a:lnTo>
                    <a:pt x="166004" y="367849"/>
                  </a:lnTo>
                  <a:lnTo>
                    <a:pt x="169100" y="367523"/>
                  </a:lnTo>
                  <a:lnTo>
                    <a:pt x="169915" y="371433"/>
                  </a:lnTo>
                  <a:lnTo>
                    <a:pt x="167959" y="373388"/>
                  </a:lnTo>
                  <a:lnTo>
                    <a:pt x="165679" y="373388"/>
                  </a:lnTo>
                  <a:close/>
                  <a:moveTo>
                    <a:pt x="5213" y="775448"/>
                  </a:moveTo>
                  <a:lnTo>
                    <a:pt x="3910" y="772352"/>
                  </a:lnTo>
                  <a:lnTo>
                    <a:pt x="977" y="772352"/>
                  </a:lnTo>
                  <a:cubicBezTo>
                    <a:pt x="977" y="772352"/>
                    <a:pt x="0" y="777077"/>
                    <a:pt x="0" y="777077"/>
                  </a:cubicBezTo>
                  <a:lnTo>
                    <a:pt x="3421" y="777077"/>
                  </a:lnTo>
                  <a:lnTo>
                    <a:pt x="5213" y="775448"/>
                  </a:lnTo>
                  <a:lnTo>
                    <a:pt x="5213" y="775448"/>
                  </a:lnTo>
                  <a:close/>
                  <a:moveTo>
                    <a:pt x="8634" y="771049"/>
                  </a:moveTo>
                  <a:lnTo>
                    <a:pt x="11404" y="768117"/>
                  </a:lnTo>
                  <a:lnTo>
                    <a:pt x="13847" y="770234"/>
                  </a:lnTo>
                  <a:lnTo>
                    <a:pt x="12544" y="774959"/>
                  </a:lnTo>
                  <a:lnTo>
                    <a:pt x="9938" y="774144"/>
                  </a:lnTo>
                  <a:lnTo>
                    <a:pt x="8797" y="770886"/>
                  </a:lnTo>
                  <a:lnTo>
                    <a:pt x="8797" y="770886"/>
                  </a:lnTo>
                  <a:close/>
                  <a:moveTo>
                    <a:pt x="32582" y="753618"/>
                  </a:moveTo>
                  <a:lnTo>
                    <a:pt x="32093" y="758994"/>
                  </a:lnTo>
                  <a:lnTo>
                    <a:pt x="34048" y="760786"/>
                  </a:lnTo>
                  <a:lnTo>
                    <a:pt x="37469" y="761112"/>
                  </a:lnTo>
                  <a:lnTo>
                    <a:pt x="38447" y="756387"/>
                  </a:lnTo>
                  <a:lnTo>
                    <a:pt x="32582" y="753618"/>
                  </a:lnTo>
                  <a:lnTo>
                    <a:pt x="32582" y="753618"/>
                  </a:lnTo>
                  <a:close/>
                  <a:moveTo>
                    <a:pt x="88134" y="708655"/>
                  </a:moveTo>
                  <a:lnTo>
                    <a:pt x="86179" y="701813"/>
                  </a:lnTo>
                  <a:lnTo>
                    <a:pt x="90904" y="698555"/>
                  </a:lnTo>
                  <a:lnTo>
                    <a:pt x="91555" y="696111"/>
                  </a:lnTo>
                  <a:lnTo>
                    <a:pt x="90415" y="694319"/>
                  </a:lnTo>
                  <a:lnTo>
                    <a:pt x="94813" y="691712"/>
                  </a:lnTo>
                  <a:lnTo>
                    <a:pt x="97420" y="686499"/>
                  </a:lnTo>
                  <a:lnTo>
                    <a:pt x="99701" y="691712"/>
                  </a:lnTo>
                  <a:lnTo>
                    <a:pt x="97257" y="694808"/>
                  </a:lnTo>
                  <a:lnTo>
                    <a:pt x="97257" y="699206"/>
                  </a:lnTo>
                  <a:cubicBezTo>
                    <a:pt x="97257" y="699206"/>
                    <a:pt x="90741" y="703116"/>
                    <a:pt x="90741" y="703116"/>
                  </a:cubicBezTo>
                  <a:lnTo>
                    <a:pt x="90741" y="707677"/>
                  </a:lnTo>
                  <a:cubicBezTo>
                    <a:pt x="90741" y="707677"/>
                    <a:pt x="87971" y="708655"/>
                    <a:pt x="87971" y="708655"/>
                  </a:cubicBezTo>
                  <a:lnTo>
                    <a:pt x="87971" y="708655"/>
                  </a:lnTo>
                  <a:close/>
                  <a:moveTo>
                    <a:pt x="111430" y="657013"/>
                  </a:moveTo>
                  <a:lnTo>
                    <a:pt x="114688" y="659619"/>
                  </a:lnTo>
                  <a:lnTo>
                    <a:pt x="115503" y="663855"/>
                  </a:lnTo>
                  <a:lnTo>
                    <a:pt x="114036" y="664995"/>
                  </a:lnTo>
                  <a:lnTo>
                    <a:pt x="110290" y="661900"/>
                  </a:lnTo>
                  <a:lnTo>
                    <a:pt x="109964" y="658805"/>
                  </a:lnTo>
                  <a:lnTo>
                    <a:pt x="111267" y="657013"/>
                  </a:lnTo>
                  <a:lnTo>
                    <a:pt x="111267" y="657013"/>
                  </a:lnTo>
                  <a:close/>
                  <a:moveTo>
                    <a:pt x="122019" y="647564"/>
                  </a:moveTo>
                  <a:lnTo>
                    <a:pt x="119901" y="645935"/>
                  </a:lnTo>
                  <a:lnTo>
                    <a:pt x="115829" y="645935"/>
                  </a:lnTo>
                  <a:cubicBezTo>
                    <a:pt x="115829" y="645935"/>
                    <a:pt x="114525" y="644632"/>
                    <a:pt x="114525" y="644632"/>
                  </a:cubicBezTo>
                  <a:lnTo>
                    <a:pt x="116317" y="641048"/>
                  </a:lnTo>
                  <a:lnTo>
                    <a:pt x="120716" y="639093"/>
                  </a:lnTo>
                  <a:lnTo>
                    <a:pt x="122182" y="638767"/>
                  </a:lnTo>
                  <a:lnTo>
                    <a:pt x="122997" y="637138"/>
                  </a:lnTo>
                  <a:lnTo>
                    <a:pt x="125929" y="637138"/>
                  </a:lnTo>
                  <a:cubicBezTo>
                    <a:pt x="125929" y="637138"/>
                    <a:pt x="127558" y="635997"/>
                    <a:pt x="127558" y="635997"/>
                  </a:cubicBezTo>
                  <a:lnTo>
                    <a:pt x="131305" y="635020"/>
                  </a:lnTo>
                  <a:lnTo>
                    <a:pt x="128372" y="640070"/>
                  </a:lnTo>
                  <a:lnTo>
                    <a:pt x="123811" y="643166"/>
                  </a:lnTo>
                  <a:lnTo>
                    <a:pt x="123485" y="646261"/>
                  </a:lnTo>
                  <a:lnTo>
                    <a:pt x="122345" y="647727"/>
                  </a:lnTo>
                  <a:lnTo>
                    <a:pt x="122345" y="647727"/>
                  </a:lnTo>
                  <a:close/>
                  <a:moveTo>
                    <a:pt x="254465" y="139287"/>
                  </a:moveTo>
                  <a:lnTo>
                    <a:pt x="252347" y="136844"/>
                  </a:lnTo>
                  <a:lnTo>
                    <a:pt x="251858" y="132934"/>
                  </a:lnTo>
                  <a:lnTo>
                    <a:pt x="255931" y="129187"/>
                  </a:lnTo>
                  <a:lnTo>
                    <a:pt x="258700" y="128210"/>
                  </a:lnTo>
                  <a:lnTo>
                    <a:pt x="257722" y="132771"/>
                  </a:lnTo>
                  <a:lnTo>
                    <a:pt x="257722" y="137007"/>
                  </a:lnTo>
                  <a:cubicBezTo>
                    <a:pt x="257722" y="137007"/>
                    <a:pt x="254627" y="139124"/>
                    <a:pt x="254627" y="139124"/>
                  </a:cubicBezTo>
                  <a:lnTo>
                    <a:pt x="254627" y="139124"/>
                  </a:lnTo>
                  <a:close/>
                  <a:moveTo>
                    <a:pt x="285417" y="164538"/>
                  </a:moveTo>
                  <a:lnTo>
                    <a:pt x="281181" y="161932"/>
                  </a:lnTo>
                  <a:lnTo>
                    <a:pt x="279227" y="157696"/>
                  </a:lnTo>
                  <a:lnTo>
                    <a:pt x="280856" y="156556"/>
                  </a:lnTo>
                  <a:lnTo>
                    <a:pt x="279227" y="147433"/>
                  </a:lnTo>
                  <a:lnTo>
                    <a:pt x="276131" y="138636"/>
                  </a:lnTo>
                  <a:lnTo>
                    <a:pt x="272222" y="135052"/>
                  </a:lnTo>
                  <a:lnTo>
                    <a:pt x="267823" y="132119"/>
                  </a:lnTo>
                  <a:lnTo>
                    <a:pt x="264727" y="132119"/>
                  </a:lnTo>
                  <a:cubicBezTo>
                    <a:pt x="264727" y="132119"/>
                    <a:pt x="264076" y="128535"/>
                    <a:pt x="264076" y="128535"/>
                  </a:cubicBezTo>
                  <a:lnTo>
                    <a:pt x="264565" y="121530"/>
                  </a:lnTo>
                  <a:lnTo>
                    <a:pt x="263261" y="116480"/>
                  </a:lnTo>
                  <a:lnTo>
                    <a:pt x="265054" y="112245"/>
                  </a:lnTo>
                  <a:lnTo>
                    <a:pt x="267986" y="110615"/>
                  </a:lnTo>
                  <a:lnTo>
                    <a:pt x="268800" y="108335"/>
                  </a:lnTo>
                  <a:lnTo>
                    <a:pt x="272222" y="107683"/>
                  </a:lnTo>
                  <a:lnTo>
                    <a:pt x="274502" y="102633"/>
                  </a:lnTo>
                  <a:lnTo>
                    <a:pt x="276294" y="100189"/>
                  </a:lnTo>
                  <a:lnTo>
                    <a:pt x="275806" y="97908"/>
                  </a:lnTo>
                  <a:lnTo>
                    <a:pt x="270592" y="93999"/>
                  </a:lnTo>
                  <a:lnTo>
                    <a:pt x="268638" y="93673"/>
                  </a:lnTo>
                  <a:lnTo>
                    <a:pt x="267171" y="91881"/>
                  </a:lnTo>
                  <a:lnTo>
                    <a:pt x="268963" y="87971"/>
                  </a:lnTo>
                  <a:lnTo>
                    <a:pt x="272710" y="87156"/>
                  </a:lnTo>
                  <a:lnTo>
                    <a:pt x="280693" y="91555"/>
                  </a:lnTo>
                  <a:lnTo>
                    <a:pt x="289327" y="93021"/>
                  </a:lnTo>
                  <a:lnTo>
                    <a:pt x="292259" y="90741"/>
                  </a:lnTo>
                  <a:lnTo>
                    <a:pt x="292585" y="86994"/>
                  </a:lnTo>
                  <a:lnTo>
                    <a:pt x="294214" y="85364"/>
                  </a:lnTo>
                  <a:lnTo>
                    <a:pt x="292585" y="81618"/>
                  </a:lnTo>
                  <a:lnTo>
                    <a:pt x="290304" y="80314"/>
                  </a:lnTo>
                  <a:lnTo>
                    <a:pt x="289327" y="77871"/>
                  </a:lnTo>
                  <a:lnTo>
                    <a:pt x="286395" y="73309"/>
                  </a:lnTo>
                  <a:lnTo>
                    <a:pt x="284928" y="68585"/>
                  </a:lnTo>
                  <a:lnTo>
                    <a:pt x="288838" y="64186"/>
                  </a:lnTo>
                  <a:lnTo>
                    <a:pt x="290956" y="63860"/>
                  </a:lnTo>
                  <a:lnTo>
                    <a:pt x="291445" y="61743"/>
                  </a:lnTo>
                  <a:lnTo>
                    <a:pt x="289490" y="56692"/>
                  </a:lnTo>
                  <a:lnTo>
                    <a:pt x="286883" y="48873"/>
                  </a:lnTo>
                  <a:lnTo>
                    <a:pt x="287861" y="45452"/>
                  </a:lnTo>
                  <a:lnTo>
                    <a:pt x="287372" y="35840"/>
                  </a:lnTo>
                  <a:lnTo>
                    <a:pt x="285417" y="29975"/>
                  </a:lnTo>
                  <a:lnTo>
                    <a:pt x="276620" y="16291"/>
                  </a:lnTo>
                  <a:lnTo>
                    <a:pt x="275154" y="10263"/>
                  </a:lnTo>
                  <a:lnTo>
                    <a:pt x="272873" y="7005"/>
                  </a:lnTo>
                  <a:lnTo>
                    <a:pt x="274176" y="5376"/>
                  </a:lnTo>
                  <a:lnTo>
                    <a:pt x="276620" y="5376"/>
                  </a:lnTo>
                  <a:lnTo>
                    <a:pt x="279227" y="2281"/>
                  </a:lnTo>
                  <a:lnTo>
                    <a:pt x="278738" y="0"/>
                  </a:lnTo>
                  <a:lnTo>
                    <a:pt x="284440" y="0"/>
                  </a:lnTo>
                  <a:lnTo>
                    <a:pt x="286232" y="3910"/>
                  </a:lnTo>
                  <a:lnTo>
                    <a:pt x="294540" y="10752"/>
                  </a:lnTo>
                  <a:lnTo>
                    <a:pt x="301545" y="12218"/>
                  </a:lnTo>
                  <a:lnTo>
                    <a:pt x="304966" y="19060"/>
                  </a:lnTo>
                  <a:lnTo>
                    <a:pt x="316533" y="30464"/>
                  </a:lnTo>
                  <a:lnTo>
                    <a:pt x="323049" y="35025"/>
                  </a:lnTo>
                  <a:lnTo>
                    <a:pt x="325004" y="38772"/>
                  </a:lnTo>
                  <a:lnTo>
                    <a:pt x="329891" y="39913"/>
                  </a:lnTo>
                  <a:lnTo>
                    <a:pt x="334290" y="44637"/>
                  </a:lnTo>
                  <a:lnTo>
                    <a:pt x="341784" y="48384"/>
                  </a:lnTo>
                  <a:lnTo>
                    <a:pt x="347974" y="49199"/>
                  </a:lnTo>
                  <a:lnTo>
                    <a:pt x="353024" y="53923"/>
                  </a:lnTo>
                  <a:lnTo>
                    <a:pt x="356934" y="53108"/>
                  </a:lnTo>
                  <a:lnTo>
                    <a:pt x="358726" y="54412"/>
                  </a:lnTo>
                  <a:lnTo>
                    <a:pt x="365243" y="53434"/>
                  </a:lnTo>
                  <a:lnTo>
                    <a:pt x="373551" y="47895"/>
                  </a:lnTo>
                  <a:lnTo>
                    <a:pt x="377786" y="42519"/>
                  </a:lnTo>
                  <a:lnTo>
                    <a:pt x="378764" y="37958"/>
                  </a:lnTo>
                  <a:lnTo>
                    <a:pt x="379904" y="36492"/>
                  </a:lnTo>
                  <a:lnTo>
                    <a:pt x="381208" y="38610"/>
                  </a:lnTo>
                  <a:lnTo>
                    <a:pt x="381208" y="43008"/>
                  </a:lnTo>
                  <a:lnTo>
                    <a:pt x="378601" y="50665"/>
                  </a:lnTo>
                  <a:lnTo>
                    <a:pt x="378601" y="57670"/>
                  </a:lnTo>
                  <a:cubicBezTo>
                    <a:pt x="378601" y="57670"/>
                    <a:pt x="380230" y="60114"/>
                    <a:pt x="380230" y="60114"/>
                  </a:cubicBezTo>
                  <a:lnTo>
                    <a:pt x="386421" y="64023"/>
                  </a:lnTo>
                  <a:lnTo>
                    <a:pt x="390656" y="69236"/>
                  </a:lnTo>
                  <a:lnTo>
                    <a:pt x="390982" y="73146"/>
                  </a:lnTo>
                  <a:lnTo>
                    <a:pt x="390493" y="75753"/>
                  </a:lnTo>
                  <a:lnTo>
                    <a:pt x="394403" y="75753"/>
                  </a:lnTo>
                  <a:lnTo>
                    <a:pt x="396847" y="71843"/>
                  </a:lnTo>
                  <a:lnTo>
                    <a:pt x="400594" y="68422"/>
                  </a:lnTo>
                  <a:lnTo>
                    <a:pt x="403689" y="68096"/>
                  </a:lnTo>
                  <a:lnTo>
                    <a:pt x="402060" y="71843"/>
                  </a:lnTo>
                  <a:lnTo>
                    <a:pt x="399616" y="73309"/>
                  </a:lnTo>
                  <a:lnTo>
                    <a:pt x="399291" y="78359"/>
                  </a:lnTo>
                  <a:lnTo>
                    <a:pt x="396195" y="80803"/>
                  </a:lnTo>
                  <a:lnTo>
                    <a:pt x="391797" y="82595"/>
                  </a:lnTo>
                  <a:lnTo>
                    <a:pt x="390819" y="86505"/>
                  </a:lnTo>
                  <a:lnTo>
                    <a:pt x="389027" y="89274"/>
                  </a:lnTo>
                  <a:lnTo>
                    <a:pt x="385606" y="89274"/>
                  </a:lnTo>
                  <a:cubicBezTo>
                    <a:pt x="385606" y="89274"/>
                    <a:pt x="383814" y="87971"/>
                    <a:pt x="383814" y="87971"/>
                  </a:cubicBezTo>
                  <a:lnTo>
                    <a:pt x="380393" y="90741"/>
                  </a:lnTo>
                  <a:lnTo>
                    <a:pt x="380719" y="93347"/>
                  </a:lnTo>
                  <a:lnTo>
                    <a:pt x="374202" y="93347"/>
                  </a:lnTo>
                  <a:lnTo>
                    <a:pt x="369315" y="92044"/>
                  </a:lnTo>
                  <a:lnTo>
                    <a:pt x="365079" y="93347"/>
                  </a:lnTo>
                  <a:lnTo>
                    <a:pt x="358238" y="102959"/>
                  </a:lnTo>
                  <a:lnTo>
                    <a:pt x="355631" y="113222"/>
                  </a:lnTo>
                  <a:lnTo>
                    <a:pt x="354490" y="121693"/>
                  </a:lnTo>
                  <a:lnTo>
                    <a:pt x="355957" y="127395"/>
                  </a:lnTo>
                  <a:lnTo>
                    <a:pt x="354979" y="131631"/>
                  </a:lnTo>
                  <a:lnTo>
                    <a:pt x="355305" y="135541"/>
                  </a:lnTo>
                  <a:lnTo>
                    <a:pt x="350906" y="133749"/>
                  </a:lnTo>
                  <a:lnTo>
                    <a:pt x="348300" y="130327"/>
                  </a:lnTo>
                  <a:lnTo>
                    <a:pt x="340317" y="128372"/>
                  </a:lnTo>
                  <a:lnTo>
                    <a:pt x="332661" y="124300"/>
                  </a:lnTo>
                  <a:lnTo>
                    <a:pt x="325818" y="118272"/>
                  </a:lnTo>
                  <a:lnTo>
                    <a:pt x="321420" y="113222"/>
                  </a:lnTo>
                  <a:lnTo>
                    <a:pt x="316859" y="113874"/>
                  </a:lnTo>
                  <a:lnTo>
                    <a:pt x="312786" y="112896"/>
                  </a:lnTo>
                  <a:lnTo>
                    <a:pt x="310831" y="110941"/>
                  </a:lnTo>
                  <a:lnTo>
                    <a:pt x="306106" y="110941"/>
                  </a:lnTo>
                  <a:cubicBezTo>
                    <a:pt x="306106" y="110941"/>
                    <a:pt x="300405" y="115014"/>
                    <a:pt x="300405" y="115014"/>
                  </a:cubicBezTo>
                  <a:lnTo>
                    <a:pt x="294377" y="123322"/>
                  </a:lnTo>
                  <a:lnTo>
                    <a:pt x="291770" y="121693"/>
                  </a:lnTo>
                  <a:lnTo>
                    <a:pt x="285254" y="117620"/>
                  </a:lnTo>
                  <a:lnTo>
                    <a:pt x="281833" y="117946"/>
                  </a:lnTo>
                  <a:lnTo>
                    <a:pt x="278575" y="120879"/>
                  </a:lnTo>
                  <a:lnTo>
                    <a:pt x="278575" y="125929"/>
                  </a:lnTo>
                  <a:lnTo>
                    <a:pt x="280204" y="130002"/>
                  </a:lnTo>
                  <a:lnTo>
                    <a:pt x="285580" y="132934"/>
                  </a:lnTo>
                  <a:lnTo>
                    <a:pt x="291119" y="131468"/>
                  </a:lnTo>
                  <a:lnTo>
                    <a:pt x="297635" y="138636"/>
                  </a:lnTo>
                  <a:lnTo>
                    <a:pt x="303174" y="140102"/>
                  </a:lnTo>
                  <a:lnTo>
                    <a:pt x="309039" y="140102"/>
                  </a:lnTo>
                  <a:lnTo>
                    <a:pt x="310994" y="143034"/>
                  </a:lnTo>
                  <a:lnTo>
                    <a:pt x="307084" y="148247"/>
                  </a:lnTo>
                  <a:lnTo>
                    <a:pt x="305781" y="151994"/>
                  </a:lnTo>
                  <a:lnTo>
                    <a:pt x="302359" y="149225"/>
                  </a:lnTo>
                  <a:lnTo>
                    <a:pt x="295517" y="148899"/>
                  </a:lnTo>
                  <a:lnTo>
                    <a:pt x="292911" y="150691"/>
                  </a:lnTo>
                  <a:lnTo>
                    <a:pt x="293400" y="154438"/>
                  </a:lnTo>
                  <a:lnTo>
                    <a:pt x="291608" y="158674"/>
                  </a:lnTo>
                  <a:lnTo>
                    <a:pt x="285580" y="165516"/>
                  </a:lnTo>
                  <a:lnTo>
                    <a:pt x="285580" y="165516"/>
                  </a:lnTo>
                  <a:close/>
                  <a:moveTo>
                    <a:pt x="277109" y="306106"/>
                  </a:moveTo>
                  <a:lnTo>
                    <a:pt x="277434" y="301219"/>
                  </a:lnTo>
                  <a:lnTo>
                    <a:pt x="279063" y="298287"/>
                  </a:lnTo>
                  <a:lnTo>
                    <a:pt x="277923" y="297635"/>
                  </a:lnTo>
                  <a:lnTo>
                    <a:pt x="274828" y="299427"/>
                  </a:lnTo>
                  <a:lnTo>
                    <a:pt x="274339" y="296169"/>
                  </a:lnTo>
                  <a:lnTo>
                    <a:pt x="276620" y="287698"/>
                  </a:lnTo>
                  <a:lnTo>
                    <a:pt x="278412" y="285906"/>
                  </a:lnTo>
                  <a:lnTo>
                    <a:pt x="279227" y="289490"/>
                  </a:lnTo>
                  <a:lnTo>
                    <a:pt x="278901" y="293236"/>
                  </a:lnTo>
                  <a:lnTo>
                    <a:pt x="282322" y="294377"/>
                  </a:lnTo>
                  <a:lnTo>
                    <a:pt x="283136" y="297146"/>
                  </a:lnTo>
                  <a:lnTo>
                    <a:pt x="281833" y="302848"/>
                  </a:lnTo>
                  <a:lnTo>
                    <a:pt x="279063" y="305618"/>
                  </a:lnTo>
                  <a:lnTo>
                    <a:pt x="277272" y="306269"/>
                  </a:lnTo>
                  <a:lnTo>
                    <a:pt x="277272" y="306269"/>
                  </a:lnTo>
                  <a:close/>
                  <a:moveTo>
                    <a:pt x="88623" y="479279"/>
                  </a:moveTo>
                  <a:lnTo>
                    <a:pt x="91392" y="481397"/>
                  </a:lnTo>
                  <a:lnTo>
                    <a:pt x="93021" y="480419"/>
                  </a:lnTo>
                  <a:lnTo>
                    <a:pt x="89926" y="478301"/>
                  </a:lnTo>
                  <a:lnTo>
                    <a:pt x="88460" y="478301"/>
                  </a:lnTo>
                  <a:cubicBezTo>
                    <a:pt x="88460" y="478301"/>
                    <a:pt x="88623" y="479279"/>
                    <a:pt x="88623" y="479279"/>
                  </a:cubicBezTo>
                  <a:lnTo>
                    <a:pt x="88623" y="479279"/>
                  </a:lnTo>
                  <a:close/>
                  <a:moveTo>
                    <a:pt x="87320" y="482700"/>
                  </a:moveTo>
                  <a:lnTo>
                    <a:pt x="88134" y="484003"/>
                  </a:lnTo>
                  <a:lnTo>
                    <a:pt x="88949" y="482863"/>
                  </a:lnTo>
                  <a:lnTo>
                    <a:pt x="87320" y="482863"/>
                  </a:lnTo>
                  <a:close/>
                  <a:moveTo>
                    <a:pt x="84224" y="485795"/>
                  </a:moveTo>
                  <a:lnTo>
                    <a:pt x="86179" y="486773"/>
                  </a:lnTo>
                  <a:lnTo>
                    <a:pt x="87156" y="485306"/>
                  </a:lnTo>
                  <a:lnTo>
                    <a:pt x="84061" y="485795"/>
                  </a:lnTo>
                  <a:lnTo>
                    <a:pt x="84061" y="485795"/>
                  </a:lnTo>
                  <a:close/>
                  <a:moveTo>
                    <a:pt x="81129" y="488402"/>
                  </a:moveTo>
                  <a:lnTo>
                    <a:pt x="81618" y="490683"/>
                  </a:lnTo>
                  <a:lnTo>
                    <a:pt x="84550" y="489053"/>
                  </a:lnTo>
                  <a:lnTo>
                    <a:pt x="80966" y="488402"/>
                  </a:lnTo>
                  <a:lnTo>
                    <a:pt x="80966" y="488402"/>
                  </a:lnTo>
                  <a:close/>
                  <a:moveTo>
                    <a:pt x="77382" y="500946"/>
                  </a:moveTo>
                  <a:lnTo>
                    <a:pt x="75590" y="495407"/>
                  </a:lnTo>
                  <a:lnTo>
                    <a:pt x="75590" y="492149"/>
                  </a:lnTo>
                  <a:cubicBezTo>
                    <a:pt x="75590" y="492149"/>
                    <a:pt x="78359" y="490845"/>
                    <a:pt x="78359" y="490845"/>
                  </a:cubicBezTo>
                  <a:lnTo>
                    <a:pt x="78685" y="493941"/>
                  </a:lnTo>
                  <a:lnTo>
                    <a:pt x="81618" y="495570"/>
                  </a:lnTo>
                  <a:lnTo>
                    <a:pt x="83410" y="499154"/>
                  </a:lnTo>
                  <a:lnTo>
                    <a:pt x="80477" y="501597"/>
                  </a:lnTo>
                  <a:lnTo>
                    <a:pt x="77219" y="501109"/>
                  </a:lnTo>
                  <a:lnTo>
                    <a:pt x="77219" y="501109"/>
                  </a:lnTo>
                  <a:close/>
                  <a:moveTo>
                    <a:pt x="116317" y="504204"/>
                  </a:moveTo>
                  <a:lnTo>
                    <a:pt x="115992" y="501434"/>
                  </a:lnTo>
                  <a:lnTo>
                    <a:pt x="117620" y="499805"/>
                  </a:lnTo>
                  <a:lnTo>
                    <a:pt x="119413" y="500783"/>
                  </a:lnTo>
                  <a:lnTo>
                    <a:pt x="118924" y="503878"/>
                  </a:lnTo>
                  <a:lnTo>
                    <a:pt x="116317" y="504204"/>
                  </a:lnTo>
                  <a:lnTo>
                    <a:pt x="116317" y="504204"/>
                  </a:lnTo>
                  <a:close/>
                  <a:moveTo>
                    <a:pt x="111919" y="512186"/>
                  </a:moveTo>
                  <a:lnTo>
                    <a:pt x="113874" y="509906"/>
                  </a:lnTo>
                  <a:lnTo>
                    <a:pt x="115340" y="510557"/>
                  </a:lnTo>
                  <a:lnTo>
                    <a:pt x="113548" y="513653"/>
                  </a:lnTo>
                  <a:lnTo>
                    <a:pt x="111919" y="512024"/>
                  </a:lnTo>
                  <a:lnTo>
                    <a:pt x="111919" y="512024"/>
                  </a:lnTo>
                  <a:close/>
                  <a:moveTo>
                    <a:pt x="109964" y="498991"/>
                  </a:moveTo>
                  <a:lnTo>
                    <a:pt x="108009" y="501434"/>
                  </a:lnTo>
                  <a:lnTo>
                    <a:pt x="108824" y="506322"/>
                  </a:lnTo>
                  <a:lnTo>
                    <a:pt x="110615" y="509906"/>
                  </a:lnTo>
                  <a:lnTo>
                    <a:pt x="113059" y="509906"/>
                  </a:lnTo>
                  <a:cubicBezTo>
                    <a:pt x="113059" y="509906"/>
                    <a:pt x="114036" y="505670"/>
                    <a:pt x="114036" y="505670"/>
                  </a:cubicBezTo>
                  <a:lnTo>
                    <a:pt x="111267" y="500783"/>
                  </a:lnTo>
                  <a:lnTo>
                    <a:pt x="111267" y="499154"/>
                  </a:lnTo>
                  <a:cubicBezTo>
                    <a:pt x="111267" y="499154"/>
                    <a:pt x="110127" y="498991"/>
                    <a:pt x="110127" y="498991"/>
                  </a:cubicBezTo>
                  <a:lnTo>
                    <a:pt x="110127" y="498991"/>
                  </a:lnTo>
                  <a:close/>
                  <a:moveTo>
                    <a:pt x="220090" y="437085"/>
                  </a:moveTo>
                  <a:lnTo>
                    <a:pt x="217810" y="432035"/>
                  </a:lnTo>
                  <a:lnTo>
                    <a:pt x="217810" y="427962"/>
                  </a:lnTo>
                  <a:cubicBezTo>
                    <a:pt x="217810" y="427962"/>
                    <a:pt x="219602" y="425193"/>
                    <a:pt x="219602" y="425193"/>
                  </a:cubicBezTo>
                  <a:lnTo>
                    <a:pt x="222208" y="424704"/>
                  </a:lnTo>
                  <a:lnTo>
                    <a:pt x="223186" y="427962"/>
                  </a:lnTo>
                  <a:lnTo>
                    <a:pt x="222534" y="431709"/>
                  </a:lnTo>
                  <a:lnTo>
                    <a:pt x="223349" y="433827"/>
                  </a:lnTo>
                  <a:lnTo>
                    <a:pt x="222534" y="437085"/>
                  </a:lnTo>
                  <a:lnTo>
                    <a:pt x="219927" y="437085"/>
                  </a:lnTo>
                  <a:close/>
                  <a:moveTo>
                    <a:pt x="201845" y="432687"/>
                  </a:moveTo>
                  <a:lnTo>
                    <a:pt x="205917" y="428777"/>
                  </a:lnTo>
                  <a:lnTo>
                    <a:pt x="209176" y="429429"/>
                  </a:lnTo>
                  <a:lnTo>
                    <a:pt x="209176" y="431872"/>
                  </a:lnTo>
                  <a:cubicBezTo>
                    <a:pt x="209176" y="431872"/>
                    <a:pt x="205754" y="433501"/>
                    <a:pt x="205754" y="433501"/>
                  </a:cubicBezTo>
                  <a:lnTo>
                    <a:pt x="201845" y="432524"/>
                  </a:lnTo>
                  <a:lnTo>
                    <a:pt x="201845" y="432524"/>
                  </a:lnTo>
                  <a:close/>
                  <a:moveTo>
                    <a:pt x="178711" y="486447"/>
                  </a:moveTo>
                  <a:lnTo>
                    <a:pt x="180667" y="487424"/>
                  </a:lnTo>
                  <a:lnTo>
                    <a:pt x="182295" y="485632"/>
                  </a:lnTo>
                  <a:lnTo>
                    <a:pt x="185391" y="486773"/>
                  </a:lnTo>
                  <a:lnTo>
                    <a:pt x="187834" y="485958"/>
                  </a:lnTo>
                  <a:lnTo>
                    <a:pt x="187509" y="482863"/>
                  </a:lnTo>
                  <a:lnTo>
                    <a:pt x="182947" y="477813"/>
                  </a:lnTo>
                  <a:lnTo>
                    <a:pt x="185228" y="473414"/>
                  </a:lnTo>
                  <a:lnTo>
                    <a:pt x="187509" y="466083"/>
                  </a:lnTo>
                  <a:lnTo>
                    <a:pt x="193536" y="462336"/>
                  </a:lnTo>
                  <a:lnTo>
                    <a:pt x="195165" y="459567"/>
                  </a:lnTo>
                  <a:lnTo>
                    <a:pt x="200867" y="460381"/>
                  </a:lnTo>
                  <a:lnTo>
                    <a:pt x="208035" y="464943"/>
                  </a:lnTo>
                  <a:lnTo>
                    <a:pt x="209990" y="468364"/>
                  </a:lnTo>
                  <a:lnTo>
                    <a:pt x="213085" y="466898"/>
                  </a:lnTo>
                  <a:lnTo>
                    <a:pt x="215529" y="457938"/>
                  </a:lnTo>
                  <a:lnTo>
                    <a:pt x="221231" y="452562"/>
                  </a:lnTo>
                  <a:lnTo>
                    <a:pt x="221720" y="449303"/>
                  </a:lnTo>
                  <a:lnTo>
                    <a:pt x="219927" y="447511"/>
                  </a:lnTo>
                  <a:lnTo>
                    <a:pt x="218787" y="444090"/>
                  </a:lnTo>
                  <a:lnTo>
                    <a:pt x="213249" y="439692"/>
                  </a:lnTo>
                  <a:lnTo>
                    <a:pt x="209338" y="439692"/>
                  </a:lnTo>
                  <a:cubicBezTo>
                    <a:pt x="209338" y="439692"/>
                    <a:pt x="205592" y="436759"/>
                    <a:pt x="205592" y="436759"/>
                  </a:cubicBezTo>
                  <a:lnTo>
                    <a:pt x="198912" y="436434"/>
                  </a:lnTo>
                  <a:lnTo>
                    <a:pt x="192722" y="441647"/>
                  </a:lnTo>
                  <a:lnTo>
                    <a:pt x="192722" y="444742"/>
                  </a:lnTo>
                  <a:lnTo>
                    <a:pt x="190278" y="448489"/>
                  </a:lnTo>
                  <a:lnTo>
                    <a:pt x="185717" y="449955"/>
                  </a:lnTo>
                  <a:lnTo>
                    <a:pt x="181807" y="452725"/>
                  </a:lnTo>
                  <a:lnTo>
                    <a:pt x="179363" y="452073"/>
                  </a:lnTo>
                  <a:lnTo>
                    <a:pt x="176431" y="445231"/>
                  </a:lnTo>
                  <a:lnTo>
                    <a:pt x="173987" y="445231"/>
                  </a:lnTo>
                  <a:cubicBezTo>
                    <a:pt x="173987" y="445231"/>
                    <a:pt x="167145" y="453213"/>
                    <a:pt x="167145" y="453213"/>
                  </a:cubicBezTo>
                  <a:lnTo>
                    <a:pt x="167145" y="457775"/>
                  </a:lnTo>
                  <a:cubicBezTo>
                    <a:pt x="167145" y="457775"/>
                    <a:pt x="162584" y="460870"/>
                    <a:pt x="162584" y="460870"/>
                  </a:cubicBezTo>
                  <a:lnTo>
                    <a:pt x="161443" y="466083"/>
                  </a:lnTo>
                  <a:lnTo>
                    <a:pt x="168611" y="467875"/>
                  </a:lnTo>
                  <a:lnTo>
                    <a:pt x="169915" y="472925"/>
                  </a:lnTo>
                  <a:lnTo>
                    <a:pt x="168449" y="474392"/>
                  </a:lnTo>
                  <a:lnTo>
                    <a:pt x="168449" y="476998"/>
                  </a:lnTo>
                  <a:lnTo>
                    <a:pt x="172521" y="483026"/>
                  </a:lnTo>
                  <a:lnTo>
                    <a:pt x="178711" y="483840"/>
                  </a:lnTo>
                  <a:lnTo>
                    <a:pt x="178386" y="486935"/>
                  </a:lnTo>
                  <a:lnTo>
                    <a:pt x="178386" y="486935"/>
                  </a:lnTo>
                  <a:close/>
                  <a:moveTo>
                    <a:pt x="145315" y="573115"/>
                  </a:moveTo>
                  <a:lnTo>
                    <a:pt x="142220" y="569205"/>
                  </a:lnTo>
                  <a:lnTo>
                    <a:pt x="138961" y="569856"/>
                  </a:lnTo>
                  <a:lnTo>
                    <a:pt x="137822" y="572951"/>
                  </a:lnTo>
                  <a:lnTo>
                    <a:pt x="140754" y="578002"/>
                  </a:lnTo>
                  <a:lnTo>
                    <a:pt x="145152" y="578816"/>
                  </a:lnTo>
                  <a:lnTo>
                    <a:pt x="146456" y="576535"/>
                  </a:lnTo>
                  <a:lnTo>
                    <a:pt x="145478" y="573115"/>
                  </a:lnTo>
                  <a:lnTo>
                    <a:pt x="145478" y="573115"/>
                  </a:lnTo>
                  <a:close/>
                  <a:moveTo>
                    <a:pt x="149551" y="567413"/>
                  </a:moveTo>
                  <a:lnTo>
                    <a:pt x="148411" y="559267"/>
                  </a:lnTo>
                  <a:lnTo>
                    <a:pt x="148411" y="555846"/>
                  </a:lnTo>
                  <a:cubicBezTo>
                    <a:pt x="148411" y="555846"/>
                    <a:pt x="151506" y="558290"/>
                    <a:pt x="151506" y="558290"/>
                  </a:cubicBezTo>
                  <a:lnTo>
                    <a:pt x="151995" y="562688"/>
                  </a:lnTo>
                  <a:lnTo>
                    <a:pt x="150854" y="566109"/>
                  </a:lnTo>
                  <a:lnTo>
                    <a:pt x="149714" y="567575"/>
                  </a:lnTo>
                  <a:lnTo>
                    <a:pt x="149714" y="567575"/>
                  </a:lnTo>
                  <a:close/>
                  <a:moveTo>
                    <a:pt x="140591" y="553077"/>
                  </a:moveTo>
                  <a:lnTo>
                    <a:pt x="145315" y="550144"/>
                  </a:lnTo>
                  <a:lnTo>
                    <a:pt x="150202" y="543139"/>
                  </a:lnTo>
                  <a:lnTo>
                    <a:pt x="145641" y="538578"/>
                  </a:lnTo>
                  <a:lnTo>
                    <a:pt x="145641" y="535808"/>
                  </a:lnTo>
                  <a:cubicBezTo>
                    <a:pt x="145641" y="535808"/>
                    <a:pt x="147922" y="534668"/>
                    <a:pt x="147922" y="534668"/>
                  </a:cubicBezTo>
                  <a:lnTo>
                    <a:pt x="151668" y="535808"/>
                  </a:lnTo>
                  <a:lnTo>
                    <a:pt x="153949" y="537437"/>
                  </a:lnTo>
                  <a:lnTo>
                    <a:pt x="155252" y="532224"/>
                  </a:lnTo>
                  <a:lnTo>
                    <a:pt x="155252" y="524079"/>
                  </a:lnTo>
                  <a:cubicBezTo>
                    <a:pt x="155252" y="524079"/>
                    <a:pt x="153624" y="520006"/>
                    <a:pt x="153624" y="520006"/>
                  </a:cubicBezTo>
                  <a:lnTo>
                    <a:pt x="153949" y="505507"/>
                  </a:lnTo>
                  <a:lnTo>
                    <a:pt x="153461" y="497687"/>
                  </a:lnTo>
                  <a:lnTo>
                    <a:pt x="156230" y="493126"/>
                  </a:lnTo>
                  <a:lnTo>
                    <a:pt x="160954" y="488402"/>
                  </a:lnTo>
                  <a:lnTo>
                    <a:pt x="159814" y="484492"/>
                  </a:lnTo>
                  <a:lnTo>
                    <a:pt x="157208" y="483677"/>
                  </a:lnTo>
                  <a:lnTo>
                    <a:pt x="157208" y="478953"/>
                  </a:lnTo>
                  <a:cubicBezTo>
                    <a:pt x="157208" y="478953"/>
                    <a:pt x="154275" y="478464"/>
                    <a:pt x="154275" y="478464"/>
                  </a:cubicBezTo>
                  <a:lnTo>
                    <a:pt x="155252" y="475206"/>
                  </a:lnTo>
                  <a:lnTo>
                    <a:pt x="146781" y="475206"/>
                  </a:lnTo>
                  <a:cubicBezTo>
                    <a:pt x="146781" y="475206"/>
                    <a:pt x="145641" y="473414"/>
                    <a:pt x="145641" y="473414"/>
                  </a:cubicBezTo>
                  <a:lnTo>
                    <a:pt x="149714" y="470970"/>
                  </a:lnTo>
                  <a:lnTo>
                    <a:pt x="151017" y="467712"/>
                  </a:lnTo>
                  <a:lnTo>
                    <a:pt x="149714" y="461033"/>
                  </a:lnTo>
                  <a:lnTo>
                    <a:pt x="146456" y="459078"/>
                  </a:lnTo>
                  <a:lnTo>
                    <a:pt x="142383" y="459893"/>
                  </a:lnTo>
                  <a:lnTo>
                    <a:pt x="142383" y="461522"/>
                  </a:lnTo>
                  <a:lnTo>
                    <a:pt x="138961" y="463965"/>
                  </a:lnTo>
                  <a:lnTo>
                    <a:pt x="135377" y="463476"/>
                  </a:lnTo>
                  <a:lnTo>
                    <a:pt x="129676" y="457449"/>
                  </a:lnTo>
                  <a:lnTo>
                    <a:pt x="130490" y="453865"/>
                  </a:lnTo>
                  <a:lnTo>
                    <a:pt x="138310" y="449955"/>
                  </a:lnTo>
                  <a:lnTo>
                    <a:pt x="145315" y="448652"/>
                  </a:lnTo>
                  <a:lnTo>
                    <a:pt x="152809" y="451258"/>
                  </a:lnTo>
                  <a:lnTo>
                    <a:pt x="156719" y="453050"/>
                  </a:lnTo>
                  <a:lnTo>
                    <a:pt x="157370" y="450933"/>
                  </a:lnTo>
                  <a:lnTo>
                    <a:pt x="157370" y="447349"/>
                  </a:lnTo>
                  <a:cubicBezTo>
                    <a:pt x="157370" y="447349"/>
                    <a:pt x="157533" y="442135"/>
                    <a:pt x="157533" y="442135"/>
                  </a:cubicBezTo>
                  <a:lnTo>
                    <a:pt x="156882" y="438551"/>
                  </a:lnTo>
                  <a:lnTo>
                    <a:pt x="158348" y="435782"/>
                  </a:lnTo>
                  <a:lnTo>
                    <a:pt x="161932" y="435456"/>
                  </a:lnTo>
                  <a:lnTo>
                    <a:pt x="163887" y="438551"/>
                  </a:lnTo>
                  <a:lnTo>
                    <a:pt x="167145" y="438551"/>
                  </a:lnTo>
                  <a:cubicBezTo>
                    <a:pt x="167145" y="438551"/>
                    <a:pt x="171381" y="436434"/>
                    <a:pt x="171381" y="436434"/>
                  </a:cubicBezTo>
                  <a:lnTo>
                    <a:pt x="179852" y="434805"/>
                  </a:lnTo>
                  <a:lnTo>
                    <a:pt x="187834" y="432198"/>
                  </a:lnTo>
                  <a:lnTo>
                    <a:pt x="193047" y="432198"/>
                  </a:lnTo>
                  <a:cubicBezTo>
                    <a:pt x="193047" y="432198"/>
                    <a:pt x="195002" y="432850"/>
                    <a:pt x="195002" y="432850"/>
                  </a:cubicBezTo>
                  <a:lnTo>
                    <a:pt x="197772" y="431546"/>
                  </a:lnTo>
                  <a:lnTo>
                    <a:pt x="197772" y="429917"/>
                  </a:lnTo>
                  <a:cubicBezTo>
                    <a:pt x="197772" y="429917"/>
                    <a:pt x="203148" y="426985"/>
                    <a:pt x="203148" y="426985"/>
                  </a:cubicBezTo>
                  <a:lnTo>
                    <a:pt x="204451" y="424216"/>
                  </a:lnTo>
                  <a:lnTo>
                    <a:pt x="210316" y="419328"/>
                  </a:lnTo>
                  <a:lnTo>
                    <a:pt x="216343" y="417373"/>
                  </a:lnTo>
                  <a:lnTo>
                    <a:pt x="224000" y="418676"/>
                  </a:lnTo>
                  <a:lnTo>
                    <a:pt x="228399" y="417536"/>
                  </a:lnTo>
                  <a:lnTo>
                    <a:pt x="230354" y="419328"/>
                  </a:lnTo>
                  <a:lnTo>
                    <a:pt x="230354" y="423564"/>
                  </a:lnTo>
                  <a:lnTo>
                    <a:pt x="226607" y="428940"/>
                  </a:lnTo>
                  <a:lnTo>
                    <a:pt x="225467" y="433338"/>
                  </a:lnTo>
                  <a:lnTo>
                    <a:pt x="227747" y="434967"/>
                  </a:lnTo>
                  <a:lnTo>
                    <a:pt x="228236" y="439529"/>
                  </a:lnTo>
                  <a:lnTo>
                    <a:pt x="228562" y="444416"/>
                  </a:lnTo>
                  <a:lnTo>
                    <a:pt x="227747" y="446371"/>
                  </a:lnTo>
                  <a:lnTo>
                    <a:pt x="229050" y="451258"/>
                  </a:lnTo>
                  <a:lnTo>
                    <a:pt x="234263" y="453539"/>
                  </a:lnTo>
                  <a:lnTo>
                    <a:pt x="241431" y="460218"/>
                  </a:lnTo>
                  <a:lnTo>
                    <a:pt x="246156" y="461684"/>
                  </a:lnTo>
                  <a:lnTo>
                    <a:pt x="249251" y="460056"/>
                  </a:lnTo>
                  <a:lnTo>
                    <a:pt x="254301" y="452562"/>
                  </a:lnTo>
                  <a:lnTo>
                    <a:pt x="254790" y="447675"/>
                  </a:lnTo>
                  <a:lnTo>
                    <a:pt x="257559" y="445883"/>
                  </a:lnTo>
                  <a:lnTo>
                    <a:pt x="258374" y="443439"/>
                  </a:lnTo>
                  <a:lnTo>
                    <a:pt x="257397" y="440018"/>
                  </a:lnTo>
                  <a:lnTo>
                    <a:pt x="260655" y="433827"/>
                  </a:lnTo>
                  <a:lnTo>
                    <a:pt x="265054" y="433175"/>
                  </a:lnTo>
                  <a:lnTo>
                    <a:pt x="268963" y="433175"/>
                  </a:lnTo>
                  <a:lnTo>
                    <a:pt x="270267" y="430569"/>
                  </a:lnTo>
                  <a:lnTo>
                    <a:pt x="269126" y="428777"/>
                  </a:lnTo>
                  <a:lnTo>
                    <a:pt x="267986" y="423564"/>
                  </a:lnTo>
                  <a:lnTo>
                    <a:pt x="258863" y="419654"/>
                  </a:lnTo>
                  <a:lnTo>
                    <a:pt x="257722" y="417048"/>
                  </a:lnTo>
                  <a:lnTo>
                    <a:pt x="259677" y="410205"/>
                  </a:lnTo>
                  <a:lnTo>
                    <a:pt x="262610" y="407599"/>
                  </a:lnTo>
                  <a:lnTo>
                    <a:pt x="264565" y="406947"/>
                  </a:lnTo>
                  <a:lnTo>
                    <a:pt x="263587" y="409065"/>
                  </a:lnTo>
                  <a:lnTo>
                    <a:pt x="264076" y="414604"/>
                  </a:lnTo>
                  <a:lnTo>
                    <a:pt x="265868" y="416070"/>
                  </a:lnTo>
                  <a:lnTo>
                    <a:pt x="268149" y="414441"/>
                  </a:lnTo>
                  <a:lnTo>
                    <a:pt x="269289" y="412975"/>
                  </a:lnTo>
                  <a:lnTo>
                    <a:pt x="272873" y="413789"/>
                  </a:lnTo>
                  <a:lnTo>
                    <a:pt x="275479" y="415581"/>
                  </a:lnTo>
                  <a:lnTo>
                    <a:pt x="278086" y="414767"/>
                  </a:lnTo>
                  <a:lnTo>
                    <a:pt x="279878" y="415256"/>
                  </a:lnTo>
                  <a:lnTo>
                    <a:pt x="278901" y="417373"/>
                  </a:lnTo>
                  <a:lnTo>
                    <a:pt x="274339" y="418514"/>
                  </a:lnTo>
                  <a:lnTo>
                    <a:pt x="273850" y="419817"/>
                  </a:lnTo>
                  <a:lnTo>
                    <a:pt x="275479" y="420632"/>
                  </a:lnTo>
                  <a:lnTo>
                    <a:pt x="279390" y="419491"/>
                  </a:lnTo>
                  <a:lnTo>
                    <a:pt x="285743" y="416070"/>
                  </a:lnTo>
                  <a:lnTo>
                    <a:pt x="298613" y="417210"/>
                  </a:lnTo>
                  <a:lnTo>
                    <a:pt x="305292" y="416396"/>
                  </a:lnTo>
                  <a:lnTo>
                    <a:pt x="303500" y="414767"/>
                  </a:lnTo>
                  <a:lnTo>
                    <a:pt x="302197" y="409554"/>
                  </a:lnTo>
                  <a:lnTo>
                    <a:pt x="303500" y="403689"/>
                  </a:lnTo>
                  <a:lnTo>
                    <a:pt x="309039" y="400919"/>
                  </a:lnTo>
                  <a:lnTo>
                    <a:pt x="313274" y="401734"/>
                  </a:lnTo>
                  <a:lnTo>
                    <a:pt x="314252" y="406947"/>
                  </a:lnTo>
                  <a:lnTo>
                    <a:pt x="312786" y="411671"/>
                  </a:lnTo>
                  <a:lnTo>
                    <a:pt x="314741" y="415418"/>
                  </a:lnTo>
                  <a:lnTo>
                    <a:pt x="318650" y="415093"/>
                  </a:lnTo>
                  <a:lnTo>
                    <a:pt x="322560" y="409717"/>
                  </a:lnTo>
                  <a:lnTo>
                    <a:pt x="319628" y="400919"/>
                  </a:lnTo>
                  <a:lnTo>
                    <a:pt x="321094" y="395381"/>
                  </a:lnTo>
                  <a:lnTo>
                    <a:pt x="327285" y="390656"/>
                  </a:lnTo>
                  <a:lnTo>
                    <a:pt x="330706" y="390656"/>
                  </a:lnTo>
                  <a:cubicBezTo>
                    <a:pt x="330706" y="390656"/>
                    <a:pt x="331846" y="388050"/>
                    <a:pt x="331846" y="388050"/>
                  </a:cubicBezTo>
                  <a:lnTo>
                    <a:pt x="329402" y="385117"/>
                  </a:lnTo>
                  <a:lnTo>
                    <a:pt x="330706" y="379090"/>
                  </a:lnTo>
                  <a:lnTo>
                    <a:pt x="333801" y="377135"/>
                  </a:lnTo>
                  <a:lnTo>
                    <a:pt x="338525" y="378112"/>
                  </a:lnTo>
                  <a:lnTo>
                    <a:pt x="339666" y="380882"/>
                  </a:lnTo>
                  <a:lnTo>
                    <a:pt x="337222" y="384303"/>
                  </a:lnTo>
                  <a:lnTo>
                    <a:pt x="335919" y="391308"/>
                  </a:lnTo>
                  <a:lnTo>
                    <a:pt x="337385" y="405807"/>
                  </a:lnTo>
                  <a:lnTo>
                    <a:pt x="339829" y="406947"/>
                  </a:lnTo>
                  <a:lnTo>
                    <a:pt x="343087" y="404666"/>
                  </a:lnTo>
                  <a:lnTo>
                    <a:pt x="345368" y="399942"/>
                  </a:lnTo>
                  <a:lnTo>
                    <a:pt x="349603" y="399616"/>
                  </a:lnTo>
                  <a:lnTo>
                    <a:pt x="354327" y="394403"/>
                  </a:lnTo>
                  <a:lnTo>
                    <a:pt x="356120" y="387724"/>
                  </a:lnTo>
                  <a:lnTo>
                    <a:pt x="354979" y="383488"/>
                  </a:lnTo>
                  <a:lnTo>
                    <a:pt x="360518" y="378275"/>
                  </a:lnTo>
                  <a:lnTo>
                    <a:pt x="359867" y="375017"/>
                  </a:lnTo>
                  <a:lnTo>
                    <a:pt x="357097" y="372410"/>
                  </a:lnTo>
                  <a:lnTo>
                    <a:pt x="351232" y="364265"/>
                  </a:lnTo>
                  <a:lnTo>
                    <a:pt x="349277" y="358237"/>
                  </a:lnTo>
                  <a:lnTo>
                    <a:pt x="347649" y="345856"/>
                  </a:lnTo>
                  <a:lnTo>
                    <a:pt x="349440" y="331520"/>
                  </a:lnTo>
                  <a:lnTo>
                    <a:pt x="349766" y="321746"/>
                  </a:lnTo>
                  <a:lnTo>
                    <a:pt x="345368" y="303826"/>
                  </a:lnTo>
                  <a:lnTo>
                    <a:pt x="339177" y="295354"/>
                  </a:lnTo>
                  <a:lnTo>
                    <a:pt x="338688" y="288675"/>
                  </a:lnTo>
                  <a:lnTo>
                    <a:pt x="340154" y="280367"/>
                  </a:lnTo>
                  <a:lnTo>
                    <a:pt x="348137" y="276620"/>
                  </a:lnTo>
                  <a:lnTo>
                    <a:pt x="352047" y="276620"/>
                  </a:lnTo>
                  <a:lnTo>
                    <a:pt x="354002" y="280041"/>
                  </a:lnTo>
                  <a:lnTo>
                    <a:pt x="355468" y="278249"/>
                  </a:lnTo>
                  <a:lnTo>
                    <a:pt x="354165" y="272384"/>
                  </a:lnTo>
                  <a:lnTo>
                    <a:pt x="353187" y="268474"/>
                  </a:lnTo>
                  <a:lnTo>
                    <a:pt x="351558" y="266519"/>
                  </a:lnTo>
                  <a:lnTo>
                    <a:pt x="350255" y="261469"/>
                  </a:lnTo>
                  <a:lnTo>
                    <a:pt x="350581" y="258863"/>
                  </a:lnTo>
                  <a:lnTo>
                    <a:pt x="350581" y="254953"/>
                  </a:lnTo>
                  <a:cubicBezTo>
                    <a:pt x="350581" y="254953"/>
                    <a:pt x="352373" y="251858"/>
                    <a:pt x="352373" y="251858"/>
                  </a:cubicBezTo>
                  <a:lnTo>
                    <a:pt x="352373" y="250228"/>
                  </a:lnTo>
                  <a:cubicBezTo>
                    <a:pt x="352373" y="250228"/>
                    <a:pt x="352861" y="246319"/>
                    <a:pt x="352861" y="246319"/>
                  </a:cubicBezTo>
                  <a:lnTo>
                    <a:pt x="351395" y="244038"/>
                  </a:lnTo>
                  <a:lnTo>
                    <a:pt x="351070" y="237685"/>
                  </a:lnTo>
                  <a:lnTo>
                    <a:pt x="352210" y="234589"/>
                  </a:lnTo>
                  <a:lnTo>
                    <a:pt x="350255" y="230842"/>
                  </a:lnTo>
                  <a:lnTo>
                    <a:pt x="348789" y="220905"/>
                  </a:lnTo>
                  <a:lnTo>
                    <a:pt x="344227" y="212759"/>
                  </a:lnTo>
                  <a:lnTo>
                    <a:pt x="341621" y="212759"/>
                  </a:lnTo>
                  <a:lnTo>
                    <a:pt x="338851" y="211293"/>
                  </a:lnTo>
                  <a:lnTo>
                    <a:pt x="338200" y="200378"/>
                  </a:lnTo>
                  <a:lnTo>
                    <a:pt x="333475" y="195980"/>
                  </a:lnTo>
                  <a:lnTo>
                    <a:pt x="323049" y="184250"/>
                  </a:lnTo>
                  <a:lnTo>
                    <a:pt x="320279" y="179037"/>
                  </a:lnTo>
                  <a:lnTo>
                    <a:pt x="318325" y="171055"/>
                  </a:lnTo>
                  <a:lnTo>
                    <a:pt x="317836" y="163235"/>
                  </a:lnTo>
                  <a:lnTo>
                    <a:pt x="318162" y="160628"/>
                  </a:lnTo>
                  <a:lnTo>
                    <a:pt x="315229" y="162420"/>
                  </a:lnTo>
                  <a:lnTo>
                    <a:pt x="312949" y="162746"/>
                  </a:lnTo>
                  <a:lnTo>
                    <a:pt x="311808" y="161280"/>
                  </a:lnTo>
                  <a:lnTo>
                    <a:pt x="307247" y="159325"/>
                  </a:lnTo>
                  <a:lnTo>
                    <a:pt x="304803" y="158999"/>
                  </a:lnTo>
                  <a:lnTo>
                    <a:pt x="305129" y="160628"/>
                  </a:lnTo>
                  <a:lnTo>
                    <a:pt x="302685" y="166982"/>
                  </a:lnTo>
                  <a:lnTo>
                    <a:pt x="302685" y="171380"/>
                  </a:lnTo>
                  <a:cubicBezTo>
                    <a:pt x="302685" y="171380"/>
                    <a:pt x="304966" y="173498"/>
                    <a:pt x="304966" y="173498"/>
                  </a:cubicBezTo>
                  <a:lnTo>
                    <a:pt x="307410" y="172358"/>
                  </a:lnTo>
                  <a:lnTo>
                    <a:pt x="313111" y="167308"/>
                  </a:lnTo>
                  <a:lnTo>
                    <a:pt x="315718" y="173661"/>
                  </a:lnTo>
                  <a:lnTo>
                    <a:pt x="313763" y="178223"/>
                  </a:lnTo>
                  <a:lnTo>
                    <a:pt x="310668" y="180178"/>
                  </a:lnTo>
                  <a:lnTo>
                    <a:pt x="307410" y="177734"/>
                  </a:lnTo>
                  <a:lnTo>
                    <a:pt x="306270" y="177734"/>
                  </a:lnTo>
                  <a:lnTo>
                    <a:pt x="307899" y="183762"/>
                  </a:lnTo>
                  <a:lnTo>
                    <a:pt x="305618" y="186205"/>
                  </a:lnTo>
                  <a:lnTo>
                    <a:pt x="302034" y="184902"/>
                  </a:lnTo>
                  <a:lnTo>
                    <a:pt x="301219" y="180503"/>
                  </a:lnTo>
                  <a:lnTo>
                    <a:pt x="300405" y="175290"/>
                  </a:lnTo>
                  <a:lnTo>
                    <a:pt x="298776" y="172684"/>
                  </a:lnTo>
                  <a:lnTo>
                    <a:pt x="295681" y="173661"/>
                  </a:lnTo>
                  <a:lnTo>
                    <a:pt x="292911" y="172032"/>
                  </a:lnTo>
                  <a:lnTo>
                    <a:pt x="291933" y="176105"/>
                  </a:lnTo>
                  <a:lnTo>
                    <a:pt x="293725" y="183599"/>
                  </a:lnTo>
                  <a:lnTo>
                    <a:pt x="293725" y="188812"/>
                  </a:lnTo>
                  <a:cubicBezTo>
                    <a:pt x="293725" y="188812"/>
                    <a:pt x="290793" y="189952"/>
                    <a:pt x="290793" y="189952"/>
                  </a:cubicBezTo>
                  <a:lnTo>
                    <a:pt x="287698" y="194514"/>
                  </a:lnTo>
                  <a:lnTo>
                    <a:pt x="287698" y="197446"/>
                  </a:lnTo>
                  <a:cubicBezTo>
                    <a:pt x="287698" y="197446"/>
                    <a:pt x="294214" y="203962"/>
                    <a:pt x="294214" y="203962"/>
                  </a:cubicBezTo>
                  <a:lnTo>
                    <a:pt x="296332" y="207872"/>
                  </a:lnTo>
                  <a:lnTo>
                    <a:pt x="294051" y="214877"/>
                  </a:lnTo>
                  <a:lnTo>
                    <a:pt x="290630" y="217158"/>
                  </a:lnTo>
                  <a:lnTo>
                    <a:pt x="286720" y="216343"/>
                  </a:lnTo>
                  <a:lnTo>
                    <a:pt x="285906" y="219113"/>
                  </a:lnTo>
                  <a:lnTo>
                    <a:pt x="289652" y="223837"/>
                  </a:lnTo>
                  <a:lnTo>
                    <a:pt x="293563" y="222860"/>
                  </a:lnTo>
                  <a:lnTo>
                    <a:pt x="296984" y="219113"/>
                  </a:lnTo>
                  <a:lnTo>
                    <a:pt x="301871" y="230354"/>
                  </a:lnTo>
                  <a:lnTo>
                    <a:pt x="303663" y="242735"/>
                  </a:lnTo>
                  <a:lnTo>
                    <a:pt x="302522" y="249577"/>
                  </a:lnTo>
                  <a:lnTo>
                    <a:pt x="303011" y="261795"/>
                  </a:lnTo>
                  <a:lnTo>
                    <a:pt x="298613" y="279715"/>
                  </a:lnTo>
                  <a:lnTo>
                    <a:pt x="299916" y="286557"/>
                  </a:lnTo>
                  <a:lnTo>
                    <a:pt x="297961" y="294377"/>
                  </a:lnTo>
                  <a:lnTo>
                    <a:pt x="291770" y="297635"/>
                  </a:lnTo>
                  <a:lnTo>
                    <a:pt x="289001" y="305129"/>
                  </a:lnTo>
                  <a:lnTo>
                    <a:pt x="289327" y="313600"/>
                  </a:lnTo>
                  <a:lnTo>
                    <a:pt x="286232" y="318650"/>
                  </a:lnTo>
                  <a:lnTo>
                    <a:pt x="285254" y="323863"/>
                  </a:lnTo>
                  <a:lnTo>
                    <a:pt x="279063" y="329565"/>
                  </a:lnTo>
                  <a:lnTo>
                    <a:pt x="266845" y="336896"/>
                  </a:lnTo>
                  <a:lnTo>
                    <a:pt x="262121" y="338362"/>
                  </a:lnTo>
                  <a:lnTo>
                    <a:pt x="259677" y="343250"/>
                  </a:lnTo>
                  <a:lnTo>
                    <a:pt x="253487" y="339666"/>
                  </a:lnTo>
                  <a:lnTo>
                    <a:pt x="247459" y="332335"/>
                  </a:lnTo>
                  <a:lnTo>
                    <a:pt x="247459" y="329240"/>
                  </a:lnTo>
                  <a:cubicBezTo>
                    <a:pt x="247459" y="329240"/>
                    <a:pt x="250392" y="327936"/>
                    <a:pt x="250392" y="327936"/>
                  </a:cubicBezTo>
                  <a:lnTo>
                    <a:pt x="252998" y="323212"/>
                  </a:lnTo>
                  <a:lnTo>
                    <a:pt x="252509" y="320605"/>
                  </a:lnTo>
                  <a:lnTo>
                    <a:pt x="255605" y="317347"/>
                  </a:lnTo>
                  <a:lnTo>
                    <a:pt x="255279" y="316044"/>
                  </a:lnTo>
                  <a:lnTo>
                    <a:pt x="249414" y="317510"/>
                  </a:lnTo>
                  <a:lnTo>
                    <a:pt x="245179" y="321909"/>
                  </a:lnTo>
                  <a:lnTo>
                    <a:pt x="239802" y="324026"/>
                  </a:lnTo>
                  <a:lnTo>
                    <a:pt x="238825" y="328914"/>
                  </a:lnTo>
                  <a:lnTo>
                    <a:pt x="242409" y="334941"/>
                  </a:lnTo>
                  <a:lnTo>
                    <a:pt x="243061" y="346997"/>
                  </a:lnTo>
                  <a:lnTo>
                    <a:pt x="242409" y="352861"/>
                  </a:lnTo>
                  <a:lnTo>
                    <a:pt x="236544" y="358889"/>
                  </a:lnTo>
                  <a:lnTo>
                    <a:pt x="236544" y="362147"/>
                  </a:lnTo>
                  <a:cubicBezTo>
                    <a:pt x="236544" y="362147"/>
                    <a:pt x="234263" y="364591"/>
                    <a:pt x="234263" y="364591"/>
                  </a:cubicBezTo>
                  <a:lnTo>
                    <a:pt x="233449" y="373551"/>
                  </a:lnTo>
                  <a:lnTo>
                    <a:pt x="235730" y="375994"/>
                  </a:lnTo>
                  <a:lnTo>
                    <a:pt x="236056" y="379741"/>
                  </a:lnTo>
                  <a:lnTo>
                    <a:pt x="234427" y="381044"/>
                  </a:lnTo>
                  <a:lnTo>
                    <a:pt x="235567" y="382511"/>
                  </a:lnTo>
                  <a:lnTo>
                    <a:pt x="234263" y="385606"/>
                  </a:lnTo>
                  <a:lnTo>
                    <a:pt x="231820" y="385932"/>
                  </a:lnTo>
                  <a:lnTo>
                    <a:pt x="233449" y="388213"/>
                  </a:lnTo>
                  <a:lnTo>
                    <a:pt x="229539" y="389842"/>
                  </a:lnTo>
                  <a:lnTo>
                    <a:pt x="226933" y="387887"/>
                  </a:lnTo>
                  <a:lnTo>
                    <a:pt x="223186" y="390656"/>
                  </a:lnTo>
                  <a:lnTo>
                    <a:pt x="220905" y="389842"/>
                  </a:lnTo>
                  <a:lnTo>
                    <a:pt x="219927" y="384466"/>
                  </a:lnTo>
                  <a:lnTo>
                    <a:pt x="218461" y="383814"/>
                  </a:lnTo>
                  <a:lnTo>
                    <a:pt x="215203" y="386258"/>
                  </a:lnTo>
                  <a:lnTo>
                    <a:pt x="212108" y="386258"/>
                  </a:lnTo>
                  <a:cubicBezTo>
                    <a:pt x="212108" y="386258"/>
                    <a:pt x="210479" y="385280"/>
                    <a:pt x="210479" y="385280"/>
                  </a:cubicBezTo>
                  <a:lnTo>
                    <a:pt x="199401" y="389190"/>
                  </a:lnTo>
                  <a:lnTo>
                    <a:pt x="193536" y="391471"/>
                  </a:lnTo>
                  <a:lnTo>
                    <a:pt x="187672" y="393426"/>
                  </a:lnTo>
                  <a:lnTo>
                    <a:pt x="181155" y="393914"/>
                  </a:lnTo>
                  <a:lnTo>
                    <a:pt x="174802" y="395869"/>
                  </a:lnTo>
                  <a:lnTo>
                    <a:pt x="172521" y="394403"/>
                  </a:lnTo>
                  <a:lnTo>
                    <a:pt x="167145" y="395055"/>
                  </a:lnTo>
                  <a:lnTo>
                    <a:pt x="157533" y="401734"/>
                  </a:lnTo>
                  <a:lnTo>
                    <a:pt x="155741" y="407762"/>
                  </a:lnTo>
                  <a:lnTo>
                    <a:pt x="152158" y="410205"/>
                  </a:lnTo>
                  <a:lnTo>
                    <a:pt x="151343" y="413952"/>
                  </a:lnTo>
                  <a:lnTo>
                    <a:pt x="144338" y="421935"/>
                  </a:lnTo>
                  <a:lnTo>
                    <a:pt x="139939" y="423564"/>
                  </a:lnTo>
                  <a:lnTo>
                    <a:pt x="136192" y="428614"/>
                  </a:lnTo>
                  <a:lnTo>
                    <a:pt x="135052" y="431872"/>
                  </a:lnTo>
                  <a:lnTo>
                    <a:pt x="131305" y="435782"/>
                  </a:lnTo>
                  <a:lnTo>
                    <a:pt x="124463" y="437248"/>
                  </a:lnTo>
                  <a:lnTo>
                    <a:pt x="122019" y="440832"/>
                  </a:lnTo>
                  <a:lnTo>
                    <a:pt x="123648" y="448815"/>
                  </a:lnTo>
                  <a:lnTo>
                    <a:pt x="126255" y="450281"/>
                  </a:lnTo>
                  <a:lnTo>
                    <a:pt x="127069" y="453213"/>
                  </a:lnTo>
                  <a:lnTo>
                    <a:pt x="125440" y="455983"/>
                  </a:lnTo>
                  <a:lnTo>
                    <a:pt x="121204" y="456309"/>
                  </a:lnTo>
                  <a:lnTo>
                    <a:pt x="115829" y="460544"/>
                  </a:lnTo>
                  <a:lnTo>
                    <a:pt x="114525" y="463476"/>
                  </a:lnTo>
                  <a:lnTo>
                    <a:pt x="111267" y="466083"/>
                  </a:lnTo>
                  <a:lnTo>
                    <a:pt x="106543" y="471296"/>
                  </a:lnTo>
                  <a:lnTo>
                    <a:pt x="104751" y="475206"/>
                  </a:lnTo>
                  <a:lnTo>
                    <a:pt x="100678" y="475206"/>
                  </a:lnTo>
                  <a:cubicBezTo>
                    <a:pt x="100678" y="475206"/>
                    <a:pt x="96117" y="477813"/>
                    <a:pt x="96117" y="477813"/>
                  </a:cubicBezTo>
                  <a:lnTo>
                    <a:pt x="98397" y="477813"/>
                  </a:lnTo>
                  <a:lnTo>
                    <a:pt x="100841" y="478138"/>
                  </a:lnTo>
                  <a:lnTo>
                    <a:pt x="102633" y="482700"/>
                  </a:lnTo>
                  <a:lnTo>
                    <a:pt x="104914" y="488727"/>
                  </a:lnTo>
                  <a:lnTo>
                    <a:pt x="103122" y="490357"/>
                  </a:lnTo>
                  <a:lnTo>
                    <a:pt x="102307" y="486447"/>
                  </a:lnTo>
                  <a:lnTo>
                    <a:pt x="100190" y="483351"/>
                  </a:lnTo>
                  <a:lnTo>
                    <a:pt x="99049" y="487424"/>
                  </a:lnTo>
                  <a:lnTo>
                    <a:pt x="100352" y="491986"/>
                  </a:lnTo>
                  <a:lnTo>
                    <a:pt x="103610" y="493452"/>
                  </a:lnTo>
                  <a:lnTo>
                    <a:pt x="104099" y="496384"/>
                  </a:lnTo>
                  <a:lnTo>
                    <a:pt x="102470" y="499642"/>
                  </a:lnTo>
                  <a:lnTo>
                    <a:pt x="104914" y="498176"/>
                  </a:lnTo>
                  <a:lnTo>
                    <a:pt x="106706" y="494755"/>
                  </a:lnTo>
                  <a:lnTo>
                    <a:pt x="110615" y="493452"/>
                  </a:lnTo>
                  <a:lnTo>
                    <a:pt x="113059" y="494429"/>
                  </a:lnTo>
                  <a:lnTo>
                    <a:pt x="111104" y="496221"/>
                  </a:lnTo>
                  <a:lnTo>
                    <a:pt x="112896" y="497687"/>
                  </a:lnTo>
                  <a:lnTo>
                    <a:pt x="116806" y="496547"/>
                  </a:lnTo>
                  <a:lnTo>
                    <a:pt x="116317" y="491823"/>
                  </a:lnTo>
                  <a:lnTo>
                    <a:pt x="113548" y="489379"/>
                  </a:lnTo>
                  <a:lnTo>
                    <a:pt x="108986" y="490519"/>
                  </a:lnTo>
                  <a:lnTo>
                    <a:pt x="109312" y="488565"/>
                  </a:lnTo>
                  <a:lnTo>
                    <a:pt x="110615" y="486284"/>
                  </a:lnTo>
                  <a:lnTo>
                    <a:pt x="109475" y="482374"/>
                  </a:lnTo>
                  <a:lnTo>
                    <a:pt x="111593" y="479605"/>
                  </a:lnTo>
                  <a:lnTo>
                    <a:pt x="115829" y="481234"/>
                  </a:lnTo>
                  <a:lnTo>
                    <a:pt x="120227" y="488891"/>
                  </a:lnTo>
                  <a:lnTo>
                    <a:pt x="120879" y="494592"/>
                  </a:lnTo>
                  <a:lnTo>
                    <a:pt x="122997" y="497199"/>
                  </a:lnTo>
                  <a:lnTo>
                    <a:pt x="123322" y="505833"/>
                  </a:lnTo>
                  <a:lnTo>
                    <a:pt x="119576" y="513978"/>
                  </a:lnTo>
                  <a:lnTo>
                    <a:pt x="115177" y="514467"/>
                  </a:lnTo>
                  <a:lnTo>
                    <a:pt x="116317" y="517400"/>
                  </a:lnTo>
                  <a:lnTo>
                    <a:pt x="120227" y="524079"/>
                  </a:lnTo>
                  <a:lnTo>
                    <a:pt x="121856" y="532876"/>
                  </a:lnTo>
                  <a:lnTo>
                    <a:pt x="126092" y="537926"/>
                  </a:lnTo>
                  <a:lnTo>
                    <a:pt x="126092" y="542325"/>
                  </a:lnTo>
                  <a:cubicBezTo>
                    <a:pt x="126092" y="542325"/>
                    <a:pt x="123811" y="544931"/>
                    <a:pt x="123811" y="544931"/>
                  </a:cubicBezTo>
                  <a:lnTo>
                    <a:pt x="127069" y="548841"/>
                  </a:lnTo>
                  <a:lnTo>
                    <a:pt x="131142" y="548352"/>
                  </a:lnTo>
                  <a:lnTo>
                    <a:pt x="134563" y="550307"/>
                  </a:lnTo>
                  <a:lnTo>
                    <a:pt x="136192" y="548352"/>
                  </a:lnTo>
                  <a:lnTo>
                    <a:pt x="136192" y="545746"/>
                  </a:lnTo>
                  <a:lnTo>
                    <a:pt x="132445" y="539881"/>
                  </a:lnTo>
                  <a:lnTo>
                    <a:pt x="132445" y="531735"/>
                  </a:lnTo>
                  <a:lnTo>
                    <a:pt x="134726" y="529129"/>
                  </a:lnTo>
                  <a:lnTo>
                    <a:pt x="137333" y="531247"/>
                  </a:lnTo>
                  <a:lnTo>
                    <a:pt x="135867" y="533527"/>
                  </a:lnTo>
                  <a:lnTo>
                    <a:pt x="135867" y="535971"/>
                  </a:lnTo>
                  <a:cubicBezTo>
                    <a:pt x="135867" y="535971"/>
                    <a:pt x="139613" y="540044"/>
                    <a:pt x="139613" y="540044"/>
                  </a:cubicBezTo>
                  <a:lnTo>
                    <a:pt x="141242" y="546886"/>
                  </a:lnTo>
                  <a:lnTo>
                    <a:pt x="139939" y="550959"/>
                  </a:lnTo>
                  <a:lnTo>
                    <a:pt x="140591" y="554543"/>
                  </a:lnTo>
                  <a:close/>
                </a:path>
              </a:pathLst>
            </a:custGeom>
            <a:solidFill>
              <a:schemeClr val="bg2"/>
            </a:solidFill>
            <a:ln w="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4" name="Forma livre: Forma 193">
              <a:extLst>
                <a:ext uri="{FF2B5EF4-FFF2-40B4-BE49-F238E27FC236}">
                  <a16:creationId xmlns:a16="http://schemas.microsoft.com/office/drawing/2014/main" id="{EA70D4A2-8FD8-1335-41B7-2F56DEC694E8}"/>
                </a:ext>
              </a:extLst>
            </p:cNvPr>
            <p:cNvSpPr/>
            <p:nvPr/>
          </p:nvSpPr>
          <p:spPr>
            <a:xfrm>
              <a:off x="9196817" y="3772859"/>
              <a:ext cx="120706" cy="192424"/>
            </a:xfrm>
            <a:custGeom>
              <a:avLst/>
              <a:gdLst>
                <a:gd name="connsiteX0" fmla="*/ 71028 w 116805"/>
                <a:gd name="connsiteY0" fmla="*/ 133097 h 186205"/>
                <a:gd name="connsiteX1" fmla="*/ 73472 w 116805"/>
                <a:gd name="connsiteY1" fmla="*/ 131468 h 186205"/>
                <a:gd name="connsiteX2" fmla="*/ 76078 w 116805"/>
                <a:gd name="connsiteY2" fmla="*/ 133911 h 186205"/>
                <a:gd name="connsiteX3" fmla="*/ 72332 w 116805"/>
                <a:gd name="connsiteY3" fmla="*/ 135540 h 186205"/>
                <a:gd name="connsiteX4" fmla="*/ 71191 w 116805"/>
                <a:gd name="connsiteY4" fmla="*/ 133097 h 186205"/>
                <a:gd name="connsiteX5" fmla="*/ 71191 w 116805"/>
                <a:gd name="connsiteY5" fmla="*/ 133097 h 186205"/>
                <a:gd name="connsiteX6" fmla="*/ 34862 w 116805"/>
                <a:gd name="connsiteY6" fmla="*/ 151668 h 186205"/>
                <a:gd name="connsiteX7" fmla="*/ 32582 w 116805"/>
                <a:gd name="connsiteY7" fmla="*/ 148084 h 186205"/>
                <a:gd name="connsiteX8" fmla="*/ 33559 w 116805"/>
                <a:gd name="connsiteY8" fmla="*/ 146292 h 186205"/>
                <a:gd name="connsiteX9" fmla="*/ 35188 w 116805"/>
                <a:gd name="connsiteY9" fmla="*/ 146292 h 186205"/>
                <a:gd name="connsiteX10" fmla="*/ 36817 w 116805"/>
                <a:gd name="connsiteY10" fmla="*/ 143360 h 186205"/>
                <a:gd name="connsiteX11" fmla="*/ 38121 w 116805"/>
                <a:gd name="connsiteY11" fmla="*/ 146130 h 186205"/>
                <a:gd name="connsiteX12" fmla="*/ 38446 w 116805"/>
                <a:gd name="connsiteY12" fmla="*/ 150528 h 186205"/>
                <a:gd name="connsiteX13" fmla="*/ 36491 w 116805"/>
                <a:gd name="connsiteY13" fmla="*/ 150528 h 186205"/>
                <a:gd name="connsiteX14" fmla="*/ 34537 w 116805"/>
                <a:gd name="connsiteY14" fmla="*/ 151831 h 186205"/>
                <a:gd name="connsiteX15" fmla="*/ 34537 w 116805"/>
                <a:gd name="connsiteY15" fmla="*/ 151831 h 186205"/>
                <a:gd name="connsiteX16" fmla="*/ 92858 w 116805"/>
                <a:gd name="connsiteY16" fmla="*/ 124788 h 186205"/>
                <a:gd name="connsiteX17" fmla="*/ 89274 w 116805"/>
                <a:gd name="connsiteY17" fmla="*/ 127721 h 186205"/>
                <a:gd name="connsiteX18" fmla="*/ 89600 w 116805"/>
                <a:gd name="connsiteY18" fmla="*/ 130653 h 186205"/>
                <a:gd name="connsiteX19" fmla="*/ 91066 w 116805"/>
                <a:gd name="connsiteY19" fmla="*/ 134074 h 186205"/>
                <a:gd name="connsiteX20" fmla="*/ 93510 w 116805"/>
                <a:gd name="connsiteY20" fmla="*/ 133260 h 186205"/>
                <a:gd name="connsiteX21" fmla="*/ 95139 w 116805"/>
                <a:gd name="connsiteY21" fmla="*/ 130490 h 186205"/>
                <a:gd name="connsiteX22" fmla="*/ 94813 w 116805"/>
                <a:gd name="connsiteY22" fmla="*/ 126092 h 186205"/>
                <a:gd name="connsiteX23" fmla="*/ 92858 w 116805"/>
                <a:gd name="connsiteY23" fmla="*/ 124788 h 186205"/>
                <a:gd name="connsiteX24" fmla="*/ 92858 w 116805"/>
                <a:gd name="connsiteY24" fmla="*/ 124788 h 186205"/>
                <a:gd name="connsiteX25" fmla="*/ 109964 w 116805"/>
                <a:gd name="connsiteY25" fmla="*/ 157859 h 186205"/>
                <a:gd name="connsiteX26" fmla="*/ 109312 w 116805"/>
                <a:gd name="connsiteY26" fmla="*/ 154927 h 186205"/>
                <a:gd name="connsiteX27" fmla="*/ 111430 w 116805"/>
                <a:gd name="connsiteY27" fmla="*/ 151668 h 186205"/>
                <a:gd name="connsiteX28" fmla="*/ 115503 w 116805"/>
                <a:gd name="connsiteY28" fmla="*/ 151994 h 186205"/>
                <a:gd name="connsiteX29" fmla="*/ 114199 w 116805"/>
                <a:gd name="connsiteY29" fmla="*/ 155415 h 186205"/>
                <a:gd name="connsiteX30" fmla="*/ 112082 w 116805"/>
                <a:gd name="connsiteY30" fmla="*/ 157533 h 186205"/>
                <a:gd name="connsiteX31" fmla="*/ 110126 w 116805"/>
                <a:gd name="connsiteY31" fmla="*/ 157859 h 186205"/>
                <a:gd name="connsiteX32" fmla="*/ 110126 w 116805"/>
                <a:gd name="connsiteY32" fmla="*/ 157859 h 186205"/>
                <a:gd name="connsiteX33" fmla="*/ 114199 w 116805"/>
                <a:gd name="connsiteY33" fmla="*/ 147433 h 186205"/>
                <a:gd name="connsiteX34" fmla="*/ 112244 w 116805"/>
                <a:gd name="connsiteY34" fmla="*/ 149225 h 186205"/>
                <a:gd name="connsiteX35" fmla="*/ 110941 w 116805"/>
                <a:gd name="connsiteY35" fmla="*/ 145641 h 186205"/>
                <a:gd name="connsiteX36" fmla="*/ 110941 w 116805"/>
                <a:gd name="connsiteY36" fmla="*/ 141242 h 186205"/>
                <a:gd name="connsiteX37" fmla="*/ 112407 w 116805"/>
                <a:gd name="connsiteY37" fmla="*/ 138147 h 186205"/>
                <a:gd name="connsiteX38" fmla="*/ 114851 w 116805"/>
                <a:gd name="connsiteY38" fmla="*/ 136681 h 186205"/>
                <a:gd name="connsiteX39" fmla="*/ 115828 w 116805"/>
                <a:gd name="connsiteY39" fmla="*/ 138636 h 186205"/>
                <a:gd name="connsiteX40" fmla="*/ 116806 w 116805"/>
                <a:gd name="connsiteY40" fmla="*/ 142220 h 186205"/>
                <a:gd name="connsiteX41" fmla="*/ 114199 w 116805"/>
                <a:gd name="connsiteY41" fmla="*/ 147433 h 186205"/>
                <a:gd name="connsiteX42" fmla="*/ 114199 w 116805"/>
                <a:gd name="connsiteY42" fmla="*/ 147433 h 186205"/>
                <a:gd name="connsiteX43" fmla="*/ 41379 w 116805"/>
                <a:gd name="connsiteY43" fmla="*/ 185390 h 186205"/>
                <a:gd name="connsiteX44" fmla="*/ 39587 w 116805"/>
                <a:gd name="connsiteY44" fmla="*/ 181481 h 186205"/>
                <a:gd name="connsiteX45" fmla="*/ 42519 w 116805"/>
                <a:gd name="connsiteY45" fmla="*/ 177734 h 186205"/>
                <a:gd name="connsiteX46" fmla="*/ 53434 w 116805"/>
                <a:gd name="connsiteY46" fmla="*/ 174476 h 186205"/>
                <a:gd name="connsiteX47" fmla="*/ 58484 w 116805"/>
                <a:gd name="connsiteY47" fmla="*/ 175453 h 186205"/>
                <a:gd name="connsiteX48" fmla="*/ 58810 w 116805"/>
                <a:gd name="connsiteY48" fmla="*/ 178711 h 186205"/>
                <a:gd name="connsiteX49" fmla="*/ 55552 w 116805"/>
                <a:gd name="connsiteY49" fmla="*/ 184576 h 186205"/>
                <a:gd name="connsiteX50" fmla="*/ 46592 w 116805"/>
                <a:gd name="connsiteY50" fmla="*/ 186205 h 186205"/>
                <a:gd name="connsiteX51" fmla="*/ 41705 w 116805"/>
                <a:gd name="connsiteY51" fmla="*/ 185228 h 186205"/>
                <a:gd name="connsiteX52" fmla="*/ 41705 w 116805"/>
                <a:gd name="connsiteY52" fmla="*/ 185228 h 186205"/>
                <a:gd name="connsiteX53" fmla="*/ 326 w 116805"/>
                <a:gd name="connsiteY53" fmla="*/ 32256 h 186205"/>
                <a:gd name="connsiteX54" fmla="*/ 977 w 116805"/>
                <a:gd name="connsiteY54" fmla="*/ 33071 h 186205"/>
                <a:gd name="connsiteX55" fmla="*/ 5213 w 116805"/>
                <a:gd name="connsiteY55" fmla="*/ 29975 h 186205"/>
                <a:gd name="connsiteX56" fmla="*/ 13033 w 116805"/>
                <a:gd name="connsiteY56" fmla="*/ 29975 h 186205"/>
                <a:gd name="connsiteX57" fmla="*/ 9286 w 116805"/>
                <a:gd name="connsiteY57" fmla="*/ 32093 h 186205"/>
                <a:gd name="connsiteX58" fmla="*/ 19386 w 116805"/>
                <a:gd name="connsiteY58" fmla="*/ 40564 h 186205"/>
                <a:gd name="connsiteX59" fmla="*/ 25902 w 116805"/>
                <a:gd name="connsiteY59" fmla="*/ 50013 h 186205"/>
                <a:gd name="connsiteX60" fmla="*/ 29323 w 116805"/>
                <a:gd name="connsiteY60" fmla="*/ 50828 h 186205"/>
                <a:gd name="connsiteX61" fmla="*/ 27532 w 116805"/>
                <a:gd name="connsiteY61" fmla="*/ 53597 h 186205"/>
                <a:gd name="connsiteX62" fmla="*/ 31278 w 116805"/>
                <a:gd name="connsiteY62" fmla="*/ 58810 h 186205"/>
                <a:gd name="connsiteX63" fmla="*/ 33396 w 116805"/>
                <a:gd name="connsiteY63" fmla="*/ 63209 h 186205"/>
                <a:gd name="connsiteX64" fmla="*/ 24925 w 116805"/>
                <a:gd name="connsiteY64" fmla="*/ 60276 h 186205"/>
                <a:gd name="connsiteX65" fmla="*/ 23133 w 116805"/>
                <a:gd name="connsiteY65" fmla="*/ 57833 h 186205"/>
                <a:gd name="connsiteX66" fmla="*/ 21341 w 116805"/>
                <a:gd name="connsiteY66" fmla="*/ 62231 h 186205"/>
                <a:gd name="connsiteX67" fmla="*/ 17594 w 116805"/>
                <a:gd name="connsiteY67" fmla="*/ 61254 h 186205"/>
                <a:gd name="connsiteX68" fmla="*/ 12381 w 116805"/>
                <a:gd name="connsiteY68" fmla="*/ 68585 h 186205"/>
                <a:gd name="connsiteX69" fmla="*/ 23622 w 116805"/>
                <a:gd name="connsiteY69" fmla="*/ 73798 h 186205"/>
                <a:gd name="connsiteX70" fmla="*/ 26554 w 116805"/>
                <a:gd name="connsiteY70" fmla="*/ 72820 h 186205"/>
                <a:gd name="connsiteX71" fmla="*/ 28998 w 116805"/>
                <a:gd name="connsiteY71" fmla="*/ 78359 h 186205"/>
                <a:gd name="connsiteX72" fmla="*/ 28998 w 116805"/>
                <a:gd name="connsiteY72" fmla="*/ 88948 h 186205"/>
                <a:gd name="connsiteX73" fmla="*/ 32093 w 116805"/>
                <a:gd name="connsiteY73" fmla="*/ 90903 h 186205"/>
                <a:gd name="connsiteX74" fmla="*/ 34048 w 116805"/>
                <a:gd name="connsiteY74" fmla="*/ 89111 h 186205"/>
                <a:gd name="connsiteX75" fmla="*/ 38446 w 116805"/>
                <a:gd name="connsiteY75" fmla="*/ 97745 h 186205"/>
                <a:gd name="connsiteX76" fmla="*/ 30138 w 116805"/>
                <a:gd name="connsiteY76" fmla="*/ 103284 h 186205"/>
                <a:gd name="connsiteX77" fmla="*/ 30138 w 116805"/>
                <a:gd name="connsiteY77" fmla="*/ 106217 h 186205"/>
                <a:gd name="connsiteX78" fmla="*/ 33396 w 116805"/>
                <a:gd name="connsiteY78" fmla="*/ 108986 h 186205"/>
                <a:gd name="connsiteX79" fmla="*/ 33396 w 116805"/>
                <a:gd name="connsiteY79" fmla="*/ 113385 h 186205"/>
                <a:gd name="connsiteX80" fmla="*/ 30464 w 116805"/>
                <a:gd name="connsiteY80" fmla="*/ 115177 h 186205"/>
                <a:gd name="connsiteX81" fmla="*/ 30464 w 116805"/>
                <a:gd name="connsiteY81" fmla="*/ 120064 h 186205"/>
                <a:gd name="connsiteX82" fmla="*/ 33234 w 116805"/>
                <a:gd name="connsiteY82" fmla="*/ 124951 h 186205"/>
                <a:gd name="connsiteX83" fmla="*/ 29975 w 116805"/>
                <a:gd name="connsiteY83" fmla="*/ 124951 h 186205"/>
                <a:gd name="connsiteX84" fmla="*/ 36166 w 116805"/>
                <a:gd name="connsiteY84" fmla="*/ 137169 h 186205"/>
                <a:gd name="connsiteX85" fmla="*/ 39912 w 116805"/>
                <a:gd name="connsiteY85" fmla="*/ 137495 h 186205"/>
                <a:gd name="connsiteX86" fmla="*/ 41053 w 116805"/>
                <a:gd name="connsiteY86" fmla="*/ 143360 h 186205"/>
                <a:gd name="connsiteX87" fmla="*/ 43008 w 116805"/>
                <a:gd name="connsiteY87" fmla="*/ 144989 h 186205"/>
                <a:gd name="connsiteX88" fmla="*/ 43008 w 116805"/>
                <a:gd name="connsiteY88" fmla="*/ 149388 h 186205"/>
                <a:gd name="connsiteX89" fmla="*/ 46429 w 116805"/>
                <a:gd name="connsiteY89" fmla="*/ 146618 h 186205"/>
                <a:gd name="connsiteX90" fmla="*/ 46755 w 116805"/>
                <a:gd name="connsiteY90" fmla="*/ 140102 h 186205"/>
                <a:gd name="connsiteX91" fmla="*/ 49035 w 116805"/>
                <a:gd name="connsiteY91" fmla="*/ 143197 h 186205"/>
                <a:gd name="connsiteX92" fmla="*/ 52782 w 116805"/>
                <a:gd name="connsiteY92" fmla="*/ 137984 h 186205"/>
                <a:gd name="connsiteX93" fmla="*/ 64186 w 116805"/>
                <a:gd name="connsiteY93" fmla="*/ 128209 h 186205"/>
                <a:gd name="connsiteX94" fmla="*/ 68748 w 116805"/>
                <a:gd name="connsiteY94" fmla="*/ 127232 h 186205"/>
                <a:gd name="connsiteX95" fmla="*/ 69562 w 116805"/>
                <a:gd name="connsiteY95" fmla="*/ 130001 h 186205"/>
                <a:gd name="connsiteX96" fmla="*/ 72983 w 116805"/>
                <a:gd name="connsiteY96" fmla="*/ 125766 h 186205"/>
                <a:gd name="connsiteX97" fmla="*/ 75753 w 116805"/>
                <a:gd name="connsiteY97" fmla="*/ 126092 h 186205"/>
                <a:gd name="connsiteX98" fmla="*/ 78196 w 116805"/>
                <a:gd name="connsiteY98" fmla="*/ 131142 h 186205"/>
                <a:gd name="connsiteX99" fmla="*/ 83084 w 116805"/>
                <a:gd name="connsiteY99" fmla="*/ 129187 h 186205"/>
                <a:gd name="connsiteX100" fmla="*/ 85039 w 116805"/>
                <a:gd name="connsiteY100" fmla="*/ 131468 h 186205"/>
                <a:gd name="connsiteX101" fmla="*/ 87482 w 116805"/>
                <a:gd name="connsiteY101" fmla="*/ 129676 h 186205"/>
                <a:gd name="connsiteX102" fmla="*/ 85527 w 116805"/>
                <a:gd name="connsiteY102" fmla="*/ 125929 h 186205"/>
                <a:gd name="connsiteX103" fmla="*/ 91718 w 116805"/>
                <a:gd name="connsiteY103" fmla="*/ 122019 h 186205"/>
                <a:gd name="connsiteX104" fmla="*/ 97582 w 116805"/>
                <a:gd name="connsiteY104" fmla="*/ 122019 h 186205"/>
                <a:gd name="connsiteX105" fmla="*/ 104587 w 116805"/>
                <a:gd name="connsiteY105" fmla="*/ 113059 h 186205"/>
                <a:gd name="connsiteX106" fmla="*/ 103121 w 116805"/>
                <a:gd name="connsiteY106" fmla="*/ 110289 h 186205"/>
                <a:gd name="connsiteX107" fmla="*/ 106543 w 116805"/>
                <a:gd name="connsiteY107" fmla="*/ 107520 h 186205"/>
                <a:gd name="connsiteX108" fmla="*/ 105239 w 116805"/>
                <a:gd name="connsiteY108" fmla="*/ 87971 h 186205"/>
                <a:gd name="connsiteX109" fmla="*/ 103447 w 116805"/>
                <a:gd name="connsiteY109" fmla="*/ 87971 h 186205"/>
                <a:gd name="connsiteX110" fmla="*/ 101655 w 116805"/>
                <a:gd name="connsiteY110" fmla="*/ 89926 h 186205"/>
                <a:gd name="connsiteX111" fmla="*/ 101655 w 116805"/>
                <a:gd name="connsiteY111" fmla="*/ 83898 h 186205"/>
                <a:gd name="connsiteX112" fmla="*/ 97908 w 116805"/>
                <a:gd name="connsiteY112" fmla="*/ 65978 h 186205"/>
                <a:gd name="connsiteX113" fmla="*/ 93998 w 116805"/>
                <a:gd name="connsiteY113" fmla="*/ 61905 h 186205"/>
                <a:gd name="connsiteX114" fmla="*/ 93673 w 116805"/>
                <a:gd name="connsiteY114" fmla="*/ 50502 h 186205"/>
                <a:gd name="connsiteX115" fmla="*/ 78522 w 116805"/>
                <a:gd name="connsiteY115" fmla="*/ 31604 h 186205"/>
                <a:gd name="connsiteX116" fmla="*/ 64838 w 116805"/>
                <a:gd name="connsiteY116" fmla="*/ 17268 h 186205"/>
                <a:gd name="connsiteX117" fmla="*/ 55552 w 116805"/>
                <a:gd name="connsiteY117" fmla="*/ 0 h 186205"/>
                <a:gd name="connsiteX118" fmla="*/ 45452 w 116805"/>
                <a:gd name="connsiteY118" fmla="*/ 6516 h 186205"/>
                <a:gd name="connsiteX119" fmla="*/ 27694 w 116805"/>
                <a:gd name="connsiteY119" fmla="*/ 7982 h 186205"/>
                <a:gd name="connsiteX120" fmla="*/ 18409 w 116805"/>
                <a:gd name="connsiteY120" fmla="*/ 16128 h 186205"/>
                <a:gd name="connsiteX121" fmla="*/ 9612 w 116805"/>
                <a:gd name="connsiteY121" fmla="*/ 18409 h 186205"/>
                <a:gd name="connsiteX122" fmla="*/ 1792 w 116805"/>
                <a:gd name="connsiteY122" fmla="*/ 26228 h 186205"/>
                <a:gd name="connsiteX123" fmla="*/ 0 w 116805"/>
                <a:gd name="connsiteY123" fmla="*/ 32093 h 1862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</a:cxnLst>
              <a:rect l="l" t="t" r="r" b="b"/>
              <a:pathLst>
                <a:path w="116805" h="186205">
                  <a:moveTo>
                    <a:pt x="71028" y="133097"/>
                  </a:moveTo>
                  <a:lnTo>
                    <a:pt x="73472" y="131468"/>
                  </a:lnTo>
                  <a:lnTo>
                    <a:pt x="76078" y="133911"/>
                  </a:lnTo>
                  <a:lnTo>
                    <a:pt x="72332" y="135540"/>
                  </a:lnTo>
                  <a:lnTo>
                    <a:pt x="71191" y="133097"/>
                  </a:lnTo>
                  <a:lnTo>
                    <a:pt x="71191" y="133097"/>
                  </a:lnTo>
                  <a:close/>
                  <a:moveTo>
                    <a:pt x="34862" y="151668"/>
                  </a:moveTo>
                  <a:lnTo>
                    <a:pt x="32582" y="148084"/>
                  </a:lnTo>
                  <a:lnTo>
                    <a:pt x="33559" y="146292"/>
                  </a:lnTo>
                  <a:lnTo>
                    <a:pt x="35188" y="146292"/>
                  </a:lnTo>
                  <a:lnTo>
                    <a:pt x="36817" y="143360"/>
                  </a:lnTo>
                  <a:lnTo>
                    <a:pt x="38121" y="146130"/>
                  </a:lnTo>
                  <a:lnTo>
                    <a:pt x="38446" y="150528"/>
                  </a:lnTo>
                  <a:lnTo>
                    <a:pt x="36491" y="150528"/>
                  </a:lnTo>
                  <a:lnTo>
                    <a:pt x="34537" y="151831"/>
                  </a:lnTo>
                  <a:lnTo>
                    <a:pt x="34537" y="151831"/>
                  </a:lnTo>
                  <a:close/>
                  <a:moveTo>
                    <a:pt x="92858" y="124788"/>
                  </a:moveTo>
                  <a:lnTo>
                    <a:pt x="89274" y="127721"/>
                  </a:lnTo>
                  <a:lnTo>
                    <a:pt x="89600" y="130653"/>
                  </a:lnTo>
                  <a:lnTo>
                    <a:pt x="91066" y="134074"/>
                  </a:lnTo>
                  <a:lnTo>
                    <a:pt x="93510" y="133260"/>
                  </a:lnTo>
                  <a:lnTo>
                    <a:pt x="95139" y="130490"/>
                  </a:lnTo>
                  <a:lnTo>
                    <a:pt x="94813" y="126092"/>
                  </a:lnTo>
                  <a:lnTo>
                    <a:pt x="92858" y="124788"/>
                  </a:lnTo>
                  <a:lnTo>
                    <a:pt x="92858" y="124788"/>
                  </a:lnTo>
                  <a:close/>
                  <a:moveTo>
                    <a:pt x="109964" y="157859"/>
                  </a:moveTo>
                  <a:lnTo>
                    <a:pt x="109312" y="154927"/>
                  </a:lnTo>
                  <a:lnTo>
                    <a:pt x="111430" y="151668"/>
                  </a:lnTo>
                  <a:lnTo>
                    <a:pt x="115503" y="151994"/>
                  </a:lnTo>
                  <a:lnTo>
                    <a:pt x="114199" y="155415"/>
                  </a:lnTo>
                  <a:lnTo>
                    <a:pt x="112082" y="157533"/>
                  </a:lnTo>
                  <a:lnTo>
                    <a:pt x="110126" y="157859"/>
                  </a:lnTo>
                  <a:lnTo>
                    <a:pt x="110126" y="157859"/>
                  </a:lnTo>
                  <a:close/>
                  <a:moveTo>
                    <a:pt x="114199" y="147433"/>
                  </a:moveTo>
                  <a:lnTo>
                    <a:pt x="112244" y="149225"/>
                  </a:lnTo>
                  <a:lnTo>
                    <a:pt x="110941" y="145641"/>
                  </a:lnTo>
                  <a:lnTo>
                    <a:pt x="110941" y="141242"/>
                  </a:lnTo>
                  <a:cubicBezTo>
                    <a:pt x="110941" y="141242"/>
                    <a:pt x="112407" y="138147"/>
                    <a:pt x="112407" y="138147"/>
                  </a:cubicBezTo>
                  <a:lnTo>
                    <a:pt x="114851" y="136681"/>
                  </a:lnTo>
                  <a:lnTo>
                    <a:pt x="115828" y="138636"/>
                  </a:lnTo>
                  <a:lnTo>
                    <a:pt x="116806" y="142220"/>
                  </a:lnTo>
                  <a:lnTo>
                    <a:pt x="114199" y="147433"/>
                  </a:lnTo>
                  <a:lnTo>
                    <a:pt x="114199" y="147433"/>
                  </a:lnTo>
                  <a:close/>
                  <a:moveTo>
                    <a:pt x="41379" y="185390"/>
                  </a:moveTo>
                  <a:lnTo>
                    <a:pt x="39587" y="181481"/>
                  </a:lnTo>
                  <a:lnTo>
                    <a:pt x="42519" y="177734"/>
                  </a:lnTo>
                  <a:lnTo>
                    <a:pt x="53434" y="174476"/>
                  </a:lnTo>
                  <a:lnTo>
                    <a:pt x="58484" y="175453"/>
                  </a:lnTo>
                  <a:lnTo>
                    <a:pt x="58810" y="178711"/>
                  </a:lnTo>
                  <a:lnTo>
                    <a:pt x="55552" y="184576"/>
                  </a:lnTo>
                  <a:lnTo>
                    <a:pt x="46592" y="186205"/>
                  </a:lnTo>
                  <a:lnTo>
                    <a:pt x="41705" y="185228"/>
                  </a:lnTo>
                  <a:lnTo>
                    <a:pt x="41705" y="185228"/>
                  </a:lnTo>
                  <a:close/>
                  <a:moveTo>
                    <a:pt x="326" y="32256"/>
                  </a:moveTo>
                  <a:lnTo>
                    <a:pt x="977" y="33071"/>
                  </a:lnTo>
                  <a:lnTo>
                    <a:pt x="5213" y="29975"/>
                  </a:lnTo>
                  <a:lnTo>
                    <a:pt x="13033" y="29975"/>
                  </a:lnTo>
                  <a:cubicBezTo>
                    <a:pt x="13033" y="29975"/>
                    <a:pt x="9286" y="32093"/>
                    <a:pt x="9286" y="32093"/>
                  </a:cubicBezTo>
                  <a:lnTo>
                    <a:pt x="19386" y="40564"/>
                  </a:lnTo>
                  <a:lnTo>
                    <a:pt x="25902" y="50013"/>
                  </a:lnTo>
                  <a:lnTo>
                    <a:pt x="29323" y="50828"/>
                  </a:lnTo>
                  <a:lnTo>
                    <a:pt x="27532" y="53597"/>
                  </a:lnTo>
                  <a:lnTo>
                    <a:pt x="31278" y="58810"/>
                  </a:lnTo>
                  <a:lnTo>
                    <a:pt x="33396" y="63209"/>
                  </a:lnTo>
                  <a:lnTo>
                    <a:pt x="24925" y="60276"/>
                  </a:lnTo>
                  <a:lnTo>
                    <a:pt x="23133" y="57833"/>
                  </a:lnTo>
                  <a:lnTo>
                    <a:pt x="21341" y="62231"/>
                  </a:lnTo>
                  <a:lnTo>
                    <a:pt x="17594" y="61254"/>
                  </a:lnTo>
                  <a:lnTo>
                    <a:pt x="12381" y="68585"/>
                  </a:lnTo>
                  <a:lnTo>
                    <a:pt x="23622" y="73798"/>
                  </a:lnTo>
                  <a:lnTo>
                    <a:pt x="26554" y="72820"/>
                  </a:lnTo>
                  <a:lnTo>
                    <a:pt x="28998" y="78359"/>
                  </a:lnTo>
                  <a:lnTo>
                    <a:pt x="28998" y="88948"/>
                  </a:lnTo>
                  <a:cubicBezTo>
                    <a:pt x="28998" y="88948"/>
                    <a:pt x="32093" y="90903"/>
                    <a:pt x="32093" y="90903"/>
                  </a:cubicBezTo>
                  <a:lnTo>
                    <a:pt x="34048" y="89111"/>
                  </a:lnTo>
                  <a:lnTo>
                    <a:pt x="38446" y="97745"/>
                  </a:lnTo>
                  <a:lnTo>
                    <a:pt x="30138" y="103284"/>
                  </a:lnTo>
                  <a:lnTo>
                    <a:pt x="30138" y="106217"/>
                  </a:lnTo>
                  <a:cubicBezTo>
                    <a:pt x="30138" y="106217"/>
                    <a:pt x="33396" y="108986"/>
                    <a:pt x="33396" y="108986"/>
                  </a:cubicBezTo>
                  <a:lnTo>
                    <a:pt x="33396" y="113385"/>
                  </a:lnTo>
                  <a:cubicBezTo>
                    <a:pt x="33396" y="113385"/>
                    <a:pt x="30464" y="115177"/>
                    <a:pt x="30464" y="115177"/>
                  </a:cubicBezTo>
                  <a:lnTo>
                    <a:pt x="30464" y="120064"/>
                  </a:lnTo>
                  <a:lnTo>
                    <a:pt x="33234" y="124951"/>
                  </a:lnTo>
                  <a:lnTo>
                    <a:pt x="29975" y="124951"/>
                  </a:lnTo>
                  <a:cubicBezTo>
                    <a:pt x="29975" y="124951"/>
                    <a:pt x="36166" y="137169"/>
                    <a:pt x="36166" y="137169"/>
                  </a:cubicBezTo>
                  <a:lnTo>
                    <a:pt x="39912" y="137495"/>
                  </a:lnTo>
                  <a:lnTo>
                    <a:pt x="41053" y="143360"/>
                  </a:lnTo>
                  <a:lnTo>
                    <a:pt x="43008" y="144989"/>
                  </a:lnTo>
                  <a:lnTo>
                    <a:pt x="43008" y="149388"/>
                  </a:lnTo>
                  <a:cubicBezTo>
                    <a:pt x="43008" y="149388"/>
                    <a:pt x="46429" y="146618"/>
                    <a:pt x="46429" y="146618"/>
                  </a:cubicBezTo>
                  <a:lnTo>
                    <a:pt x="46755" y="140102"/>
                  </a:lnTo>
                  <a:lnTo>
                    <a:pt x="49035" y="143197"/>
                  </a:lnTo>
                  <a:lnTo>
                    <a:pt x="52782" y="137984"/>
                  </a:lnTo>
                  <a:lnTo>
                    <a:pt x="64186" y="128209"/>
                  </a:lnTo>
                  <a:lnTo>
                    <a:pt x="68748" y="127232"/>
                  </a:lnTo>
                  <a:lnTo>
                    <a:pt x="69562" y="130001"/>
                  </a:lnTo>
                  <a:lnTo>
                    <a:pt x="72983" y="125766"/>
                  </a:lnTo>
                  <a:lnTo>
                    <a:pt x="75753" y="126092"/>
                  </a:lnTo>
                  <a:lnTo>
                    <a:pt x="78196" y="131142"/>
                  </a:lnTo>
                  <a:lnTo>
                    <a:pt x="83084" y="129187"/>
                  </a:lnTo>
                  <a:lnTo>
                    <a:pt x="85039" y="131468"/>
                  </a:lnTo>
                  <a:lnTo>
                    <a:pt x="87482" y="129676"/>
                  </a:lnTo>
                  <a:lnTo>
                    <a:pt x="85527" y="125929"/>
                  </a:lnTo>
                  <a:lnTo>
                    <a:pt x="91718" y="122019"/>
                  </a:lnTo>
                  <a:lnTo>
                    <a:pt x="97582" y="122019"/>
                  </a:lnTo>
                  <a:lnTo>
                    <a:pt x="104587" y="113059"/>
                  </a:lnTo>
                  <a:lnTo>
                    <a:pt x="103121" y="110289"/>
                  </a:lnTo>
                  <a:lnTo>
                    <a:pt x="106543" y="107520"/>
                  </a:lnTo>
                  <a:lnTo>
                    <a:pt x="105239" y="87971"/>
                  </a:lnTo>
                  <a:lnTo>
                    <a:pt x="103447" y="87971"/>
                  </a:lnTo>
                  <a:lnTo>
                    <a:pt x="101655" y="89926"/>
                  </a:lnTo>
                  <a:lnTo>
                    <a:pt x="101655" y="83898"/>
                  </a:lnTo>
                  <a:cubicBezTo>
                    <a:pt x="101655" y="83898"/>
                    <a:pt x="97908" y="65978"/>
                    <a:pt x="97908" y="65978"/>
                  </a:cubicBezTo>
                  <a:lnTo>
                    <a:pt x="93998" y="61905"/>
                  </a:lnTo>
                  <a:lnTo>
                    <a:pt x="93673" y="50502"/>
                  </a:lnTo>
                  <a:lnTo>
                    <a:pt x="78522" y="31604"/>
                  </a:lnTo>
                  <a:lnTo>
                    <a:pt x="64838" y="17268"/>
                  </a:lnTo>
                  <a:lnTo>
                    <a:pt x="55552" y="0"/>
                  </a:lnTo>
                  <a:lnTo>
                    <a:pt x="45452" y="6516"/>
                  </a:lnTo>
                  <a:lnTo>
                    <a:pt x="27694" y="7982"/>
                  </a:lnTo>
                  <a:lnTo>
                    <a:pt x="18409" y="16128"/>
                  </a:lnTo>
                  <a:lnTo>
                    <a:pt x="9612" y="18409"/>
                  </a:lnTo>
                  <a:lnTo>
                    <a:pt x="1792" y="26228"/>
                  </a:lnTo>
                  <a:lnTo>
                    <a:pt x="0" y="32093"/>
                  </a:lnTo>
                  <a:close/>
                </a:path>
              </a:pathLst>
            </a:custGeom>
            <a:solidFill>
              <a:schemeClr val="bg2"/>
            </a:solidFill>
            <a:ln w="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5" name="Forma livre: Forma 194">
              <a:extLst>
                <a:ext uri="{FF2B5EF4-FFF2-40B4-BE49-F238E27FC236}">
                  <a16:creationId xmlns:a16="http://schemas.microsoft.com/office/drawing/2014/main" id="{222392DD-1AA9-2340-E414-1542DC50EEBF}"/>
                </a:ext>
              </a:extLst>
            </p:cNvPr>
            <p:cNvSpPr/>
            <p:nvPr/>
          </p:nvSpPr>
          <p:spPr>
            <a:xfrm>
              <a:off x="9143281" y="3596933"/>
              <a:ext cx="125758" cy="216162"/>
            </a:xfrm>
            <a:custGeom>
              <a:avLst/>
              <a:gdLst>
                <a:gd name="connsiteX0" fmla="*/ 0 w 121693"/>
                <a:gd name="connsiteY0" fmla="*/ 131305 h 209175"/>
                <a:gd name="connsiteX1" fmla="*/ 0 w 121693"/>
                <a:gd name="connsiteY1" fmla="*/ 116643 h 209175"/>
                <a:gd name="connsiteX2" fmla="*/ 6679 w 121693"/>
                <a:gd name="connsiteY2" fmla="*/ 111104 h 209175"/>
                <a:gd name="connsiteX3" fmla="*/ 9612 w 121693"/>
                <a:gd name="connsiteY3" fmla="*/ 104425 h 209175"/>
                <a:gd name="connsiteX4" fmla="*/ 9612 w 121693"/>
                <a:gd name="connsiteY4" fmla="*/ 100026 h 209175"/>
                <a:gd name="connsiteX5" fmla="*/ 16291 w 121693"/>
                <a:gd name="connsiteY5" fmla="*/ 95628 h 209175"/>
                <a:gd name="connsiteX6" fmla="*/ 20689 w 121693"/>
                <a:gd name="connsiteY6" fmla="*/ 87156 h 209175"/>
                <a:gd name="connsiteX7" fmla="*/ 25576 w 121693"/>
                <a:gd name="connsiteY7" fmla="*/ 84876 h 209175"/>
                <a:gd name="connsiteX8" fmla="*/ 29487 w 121693"/>
                <a:gd name="connsiteY8" fmla="*/ 72332 h 209175"/>
                <a:gd name="connsiteX9" fmla="*/ 31767 w 121693"/>
                <a:gd name="connsiteY9" fmla="*/ 67933 h 209175"/>
                <a:gd name="connsiteX10" fmla="*/ 31441 w 121693"/>
                <a:gd name="connsiteY10" fmla="*/ 65327 h 209175"/>
                <a:gd name="connsiteX11" fmla="*/ 31767 w 121693"/>
                <a:gd name="connsiteY11" fmla="*/ 56855 h 209175"/>
                <a:gd name="connsiteX12" fmla="*/ 36655 w 121693"/>
                <a:gd name="connsiteY12" fmla="*/ 50991 h 209175"/>
                <a:gd name="connsiteX13" fmla="*/ 41379 w 121693"/>
                <a:gd name="connsiteY13" fmla="*/ 58322 h 209175"/>
                <a:gd name="connsiteX14" fmla="*/ 45451 w 121693"/>
                <a:gd name="connsiteY14" fmla="*/ 60602 h 209175"/>
                <a:gd name="connsiteX15" fmla="*/ 49035 w 121693"/>
                <a:gd name="connsiteY15" fmla="*/ 63860 h 209175"/>
                <a:gd name="connsiteX16" fmla="*/ 53597 w 121693"/>
                <a:gd name="connsiteY16" fmla="*/ 62068 h 209175"/>
                <a:gd name="connsiteX17" fmla="*/ 59136 w 121693"/>
                <a:gd name="connsiteY17" fmla="*/ 64186 h 209175"/>
                <a:gd name="connsiteX18" fmla="*/ 69399 w 121693"/>
                <a:gd name="connsiteY18" fmla="*/ 63209 h 209175"/>
                <a:gd name="connsiteX19" fmla="*/ 76078 w 121693"/>
                <a:gd name="connsiteY19" fmla="*/ 64186 h 209175"/>
                <a:gd name="connsiteX20" fmla="*/ 79337 w 121693"/>
                <a:gd name="connsiteY20" fmla="*/ 57181 h 209175"/>
                <a:gd name="connsiteX21" fmla="*/ 79011 w 121693"/>
                <a:gd name="connsiteY21" fmla="*/ 53597 h 209175"/>
                <a:gd name="connsiteX22" fmla="*/ 73472 w 121693"/>
                <a:gd name="connsiteY22" fmla="*/ 48058 h 209175"/>
                <a:gd name="connsiteX23" fmla="*/ 67933 w 121693"/>
                <a:gd name="connsiteY23" fmla="*/ 43985 h 209175"/>
                <a:gd name="connsiteX24" fmla="*/ 72331 w 121693"/>
                <a:gd name="connsiteY24" fmla="*/ 41379 h 209175"/>
                <a:gd name="connsiteX25" fmla="*/ 78196 w 121693"/>
                <a:gd name="connsiteY25" fmla="*/ 40564 h 209175"/>
                <a:gd name="connsiteX26" fmla="*/ 88296 w 121693"/>
                <a:gd name="connsiteY26" fmla="*/ 32582 h 209175"/>
                <a:gd name="connsiteX27" fmla="*/ 88296 w 121693"/>
                <a:gd name="connsiteY27" fmla="*/ 27043 h 209175"/>
                <a:gd name="connsiteX28" fmla="*/ 92369 w 121693"/>
                <a:gd name="connsiteY28" fmla="*/ 21504 h 209175"/>
                <a:gd name="connsiteX29" fmla="*/ 97419 w 121693"/>
                <a:gd name="connsiteY29" fmla="*/ 20689 h 209175"/>
                <a:gd name="connsiteX30" fmla="*/ 99374 w 121693"/>
                <a:gd name="connsiteY30" fmla="*/ 15965 h 209175"/>
                <a:gd name="connsiteX31" fmla="*/ 97419 w 121693"/>
                <a:gd name="connsiteY31" fmla="*/ 12218 h 209175"/>
                <a:gd name="connsiteX32" fmla="*/ 97745 w 121693"/>
                <a:gd name="connsiteY32" fmla="*/ 7005 h 209175"/>
                <a:gd name="connsiteX33" fmla="*/ 97745 w 121693"/>
                <a:gd name="connsiteY33" fmla="*/ 1466 h 209175"/>
                <a:gd name="connsiteX34" fmla="*/ 101166 w 121693"/>
                <a:gd name="connsiteY34" fmla="*/ 0 h 209175"/>
                <a:gd name="connsiteX35" fmla="*/ 105565 w 121693"/>
                <a:gd name="connsiteY35" fmla="*/ 3747 h 209175"/>
                <a:gd name="connsiteX36" fmla="*/ 105565 w 121693"/>
                <a:gd name="connsiteY36" fmla="*/ 8960 h 209175"/>
                <a:gd name="connsiteX37" fmla="*/ 107846 w 121693"/>
                <a:gd name="connsiteY37" fmla="*/ 11404 h 209175"/>
                <a:gd name="connsiteX38" fmla="*/ 115991 w 121693"/>
                <a:gd name="connsiteY38" fmla="*/ 13359 h 209175"/>
                <a:gd name="connsiteX39" fmla="*/ 121693 w 121693"/>
                <a:gd name="connsiteY39" fmla="*/ 21341 h 209175"/>
                <a:gd name="connsiteX40" fmla="*/ 120715 w 121693"/>
                <a:gd name="connsiteY40" fmla="*/ 21341 h 209175"/>
                <a:gd name="connsiteX41" fmla="*/ 112244 w 121693"/>
                <a:gd name="connsiteY41" fmla="*/ 30627 h 209175"/>
                <a:gd name="connsiteX42" fmla="*/ 109312 w 121693"/>
                <a:gd name="connsiteY42" fmla="*/ 29975 h 209175"/>
                <a:gd name="connsiteX43" fmla="*/ 108986 w 121693"/>
                <a:gd name="connsiteY43" fmla="*/ 36166 h 209175"/>
                <a:gd name="connsiteX44" fmla="*/ 105565 w 121693"/>
                <a:gd name="connsiteY44" fmla="*/ 49036 h 209175"/>
                <a:gd name="connsiteX45" fmla="*/ 105891 w 121693"/>
                <a:gd name="connsiteY45" fmla="*/ 56367 h 209175"/>
                <a:gd name="connsiteX46" fmla="*/ 111104 w 121693"/>
                <a:gd name="connsiteY46" fmla="*/ 60439 h 209175"/>
                <a:gd name="connsiteX47" fmla="*/ 111430 w 121693"/>
                <a:gd name="connsiteY47" fmla="*/ 73798 h 209175"/>
                <a:gd name="connsiteX48" fmla="*/ 115339 w 121693"/>
                <a:gd name="connsiteY48" fmla="*/ 76893 h 209175"/>
                <a:gd name="connsiteX49" fmla="*/ 113222 w 121693"/>
                <a:gd name="connsiteY49" fmla="*/ 82758 h 209175"/>
                <a:gd name="connsiteX50" fmla="*/ 106705 w 121693"/>
                <a:gd name="connsiteY50" fmla="*/ 88460 h 209175"/>
                <a:gd name="connsiteX51" fmla="*/ 108008 w 121693"/>
                <a:gd name="connsiteY51" fmla="*/ 90415 h 209175"/>
                <a:gd name="connsiteX52" fmla="*/ 95301 w 121693"/>
                <a:gd name="connsiteY52" fmla="*/ 103773 h 209175"/>
                <a:gd name="connsiteX53" fmla="*/ 96931 w 121693"/>
                <a:gd name="connsiteY53" fmla="*/ 107520 h 209175"/>
                <a:gd name="connsiteX54" fmla="*/ 93184 w 121693"/>
                <a:gd name="connsiteY54" fmla="*/ 110941 h 209175"/>
                <a:gd name="connsiteX55" fmla="*/ 92044 w 121693"/>
                <a:gd name="connsiteY55" fmla="*/ 113548 h 209175"/>
                <a:gd name="connsiteX56" fmla="*/ 86830 w 121693"/>
                <a:gd name="connsiteY56" fmla="*/ 113385 h 209175"/>
                <a:gd name="connsiteX57" fmla="*/ 81780 w 121693"/>
                <a:gd name="connsiteY57" fmla="*/ 116643 h 209175"/>
                <a:gd name="connsiteX58" fmla="*/ 79662 w 121693"/>
                <a:gd name="connsiteY58" fmla="*/ 122345 h 209175"/>
                <a:gd name="connsiteX59" fmla="*/ 72820 w 121693"/>
                <a:gd name="connsiteY59" fmla="*/ 126580 h 209175"/>
                <a:gd name="connsiteX60" fmla="*/ 72820 w 121693"/>
                <a:gd name="connsiteY60" fmla="*/ 132934 h 209175"/>
                <a:gd name="connsiteX61" fmla="*/ 74775 w 121693"/>
                <a:gd name="connsiteY61" fmla="*/ 138799 h 209175"/>
                <a:gd name="connsiteX62" fmla="*/ 72331 w 121693"/>
                <a:gd name="connsiteY62" fmla="*/ 141405 h 209175"/>
                <a:gd name="connsiteX63" fmla="*/ 73798 w 121693"/>
                <a:gd name="connsiteY63" fmla="*/ 148247 h 209175"/>
                <a:gd name="connsiteX64" fmla="*/ 83083 w 121693"/>
                <a:gd name="connsiteY64" fmla="*/ 149876 h 209175"/>
                <a:gd name="connsiteX65" fmla="*/ 85853 w 121693"/>
                <a:gd name="connsiteY65" fmla="*/ 154275 h 209175"/>
                <a:gd name="connsiteX66" fmla="*/ 104587 w 121693"/>
                <a:gd name="connsiteY66" fmla="*/ 165027 h 209175"/>
                <a:gd name="connsiteX67" fmla="*/ 107683 w 121693"/>
                <a:gd name="connsiteY67" fmla="*/ 170566 h 209175"/>
                <a:gd name="connsiteX68" fmla="*/ 97419 w 121693"/>
                <a:gd name="connsiteY68" fmla="*/ 177245 h 209175"/>
                <a:gd name="connsiteX69" fmla="*/ 79825 w 121693"/>
                <a:gd name="connsiteY69" fmla="*/ 178711 h 209175"/>
                <a:gd name="connsiteX70" fmla="*/ 70539 w 121693"/>
                <a:gd name="connsiteY70" fmla="*/ 186857 h 209175"/>
                <a:gd name="connsiteX71" fmla="*/ 61742 w 121693"/>
                <a:gd name="connsiteY71" fmla="*/ 188975 h 209175"/>
                <a:gd name="connsiteX72" fmla="*/ 53923 w 121693"/>
                <a:gd name="connsiteY72" fmla="*/ 196794 h 209175"/>
                <a:gd name="connsiteX73" fmla="*/ 52131 w 121693"/>
                <a:gd name="connsiteY73" fmla="*/ 202496 h 209175"/>
                <a:gd name="connsiteX74" fmla="*/ 46429 w 121693"/>
                <a:gd name="connsiteY74" fmla="*/ 196305 h 209175"/>
                <a:gd name="connsiteX75" fmla="*/ 43496 w 121693"/>
                <a:gd name="connsiteY75" fmla="*/ 198261 h 209175"/>
                <a:gd name="connsiteX76" fmla="*/ 44800 w 121693"/>
                <a:gd name="connsiteY76" fmla="*/ 201030 h 209175"/>
                <a:gd name="connsiteX77" fmla="*/ 40239 w 121693"/>
                <a:gd name="connsiteY77" fmla="*/ 207058 h 209175"/>
                <a:gd name="connsiteX78" fmla="*/ 37143 w 121693"/>
                <a:gd name="connsiteY78" fmla="*/ 204940 h 209175"/>
                <a:gd name="connsiteX79" fmla="*/ 31930 w 121693"/>
                <a:gd name="connsiteY79" fmla="*/ 209175 h 209175"/>
                <a:gd name="connsiteX80" fmla="*/ 29812 w 121693"/>
                <a:gd name="connsiteY80" fmla="*/ 205591 h 209175"/>
                <a:gd name="connsiteX81" fmla="*/ 34374 w 121693"/>
                <a:gd name="connsiteY81" fmla="*/ 198261 h 209175"/>
                <a:gd name="connsiteX82" fmla="*/ 28998 w 121693"/>
                <a:gd name="connsiteY82" fmla="*/ 196305 h 209175"/>
                <a:gd name="connsiteX83" fmla="*/ 24436 w 121693"/>
                <a:gd name="connsiteY83" fmla="*/ 198912 h 209175"/>
                <a:gd name="connsiteX84" fmla="*/ 22155 w 121693"/>
                <a:gd name="connsiteY84" fmla="*/ 198261 h 209175"/>
                <a:gd name="connsiteX85" fmla="*/ 23622 w 121693"/>
                <a:gd name="connsiteY85" fmla="*/ 193699 h 209175"/>
                <a:gd name="connsiteX86" fmla="*/ 23948 w 121693"/>
                <a:gd name="connsiteY86" fmla="*/ 182947 h 209175"/>
                <a:gd name="connsiteX87" fmla="*/ 27369 w 121693"/>
                <a:gd name="connsiteY87" fmla="*/ 175942 h 209175"/>
                <a:gd name="connsiteX88" fmla="*/ 34048 w 121693"/>
                <a:gd name="connsiteY88" fmla="*/ 175290 h 209175"/>
                <a:gd name="connsiteX89" fmla="*/ 39424 w 121693"/>
                <a:gd name="connsiteY89" fmla="*/ 170240 h 209175"/>
                <a:gd name="connsiteX90" fmla="*/ 34374 w 121693"/>
                <a:gd name="connsiteY90" fmla="*/ 172846 h 209175"/>
                <a:gd name="connsiteX91" fmla="*/ 24925 w 121693"/>
                <a:gd name="connsiteY91" fmla="*/ 172521 h 209175"/>
                <a:gd name="connsiteX92" fmla="*/ 23133 w 121693"/>
                <a:gd name="connsiteY92" fmla="*/ 170403 h 209175"/>
                <a:gd name="connsiteX93" fmla="*/ 22807 w 121693"/>
                <a:gd name="connsiteY93" fmla="*/ 158348 h 209175"/>
                <a:gd name="connsiteX94" fmla="*/ 28998 w 121693"/>
                <a:gd name="connsiteY94" fmla="*/ 148247 h 209175"/>
                <a:gd name="connsiteX95" fmla="*/ 25739 w 121693"/>
                <a:gd name="connsiteY95" fmla="*/ 143360 h 209175"/>
                <a:gd name="connsiteX96" fmla="*/ 29160 w 121693"/>
                <a:gd name="connsiteY96" fmla="*/ 141079 h 209175"/>
                <a:gd name="connsiteX97" fmla="*/ 30464 w 121693"/>
                <a:gd name="connsiteY97" fmla="*/ 136681 h 209175"/>
                <a:gd name="connsiteX98" fmla="*/ 27206 w 121693"/>
                <a:gd name="connsiteY98" fmla="*/ 137007 h 209175"/>
                <a:gd name="connsiteX99" fmla="*/ 24436 w 121693"/>
                <a:gd name="connsiteY99" fmla="*/ 140428 h 209175"/>
                <a:gd name="connsiteX100" fmla="*/ 16128 w 121693"/>
                <a:gd name="connsiteY100" fmla="*/ 141568 h 209175"/>
                <a:gd name="connsiteX101" fmla="*/ 13847 w 121693"/>
                <a:gd name="connsiteY101" fmla="*/ 138310 h 209175"/>
                <a:gd name="connsiteX102" fmla="*/ 8308 w 121693"/>
                <a:gd name="connsiteY102" fmla="*/ 135215 h 209175"/>
                <a:gd name="connsiteX103" fmla="*/ 7819 w 121693"/>
                <a:gd name="connsiteY103" fmla="*/ 139124 h 209175"/>
                <a:gd name="connsiteX104" fmla="*/ 4235 w 121693"/>
                <a:gd name="connsiteY104" fmla="*/ 141568 h 209175"/>
                <a:gd name="connsiteX105" fmla="*/ 1955 w 121693"/>
                <a:gd name="connsiteY105" fmla="*/ 132608 h 209175"/>
                <a:gd name="connsiteX106" fmla="*/ 651 w 121693"/>
                <a:gd name="connsiteY106" fmla="*/ 133097 h 209175"/>
                <a:gd name="connsiteX107" fmla="*/ 0 w 121693"/>
                <a:gd name="connsiteY107" fmla="*/ 131305 h 209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</a:cxnLst>
              <a:rect l="l" t="t" r="r" b="b"/>
              <a:pathLst>
                <a:path w="121693" h="209175">
                  <a:moveTo>
                    <a:pt x="0" y="131305"/>
                  </a:moveTo>
                  <a:lnTo>
                    <a:pt x="0" y="116643"/>
                  </a:lnTo>
                  <a:lnTo>
                    <a:pt x="6679" y="111104"/>
                  </a:lnTo>
                  <a:lnTo>
                    <a:pt x="9612" y="104425"/>
                  </a:lnTo>
                  <a:lnTo>
                    <a:pt x="9612" y="100026"/>
                  </a:lnTo>
                  <a:lnTo>
                    <a:pt x="16291" y="95628"/>
                  </a:lnTo>
                  <a:lnTo>
                    <a:pt x="20689" y="87156"/>
                  </a:lnTo>
                  <a:lnTo>
                    <a:pt x="25576" y="84876"/>
                  </a:lnTo>
                  <a:lnTo>
                    <a:pt x="29487" y="72332"/>
                  </a:lnTo>
                  <a:lnTo>
                    <a:pt x="31767" y="67933"/>
                  </a:lnTo>
                  <a:lnTo>
                    <a:pt x="31441" y="65327"/>
                  </a:lnTo>
                  <a:lnTo>
                    <a:pt x="31767" y="56855"/>
                  </a:lnTo>
                  <a:lnTo>
                    <a:pt x="36655" y="50991"/>
                  </a:lnTo>
                  <a:lnTo>
                    <a:pt x="41379" y="58322"/>
                  </a:lnTo>
                  <a:lnTo>
                    <a:pt x="45451" y="60602"/>
                  </a:lnTo>
                  <a:lnTo>
                    <a:pt x="49035" y="63860"/>
                  </a:lnTo>
                  <a:lnTo>
                    <a:pt x="53597" y="62068"/>
                  </a:lnTo>
                  <a:lnTo>
                    <a:pt x="59136" y="64186"/>
                  </a:lnTo>
                  <a:lnTo>
                    <a:pt x="69399" y="63209"/>
                  </a:lnTo>
                  <a:lnTo>
                    <a:pt x="76078" y="64186"/>
                  </a:lnTo>
                  <a:lnTo>
                    <a:pt x="79337" y="57181"/>
                  </a:lnTo>
                  <a:lnTo>
                    <a:pt x="79011" y="53597"/>
                  </a:lnTo>
                  <a:lnTo>
                    <a:pt x="73472" y="48058"/>
                  </a:lnTo>
                  <a:lnTo>
                    <a:pt x="67933" y="43985"/>
                  </a:lnTo>
                  <a:lnTo>
                    <a:pt x="72331" y="41379"/>
                  </a:lnTo>
                  <a:lnTo>
                    <a:pt x="78196" y="40564"/>
                  </a:lnTo>
                  <a:lnTo>
                    <a:pt x="88296" y="32582"/>
                  </a:lnTo>
                  <a:lnTo>
                    <a:pt x="88296" y="27043"/>
                  </a:lnTo>
                  <a:lnTo>
                    <a:pt x="92369" y="21504"/>
                  </a:lnTo>
                  <a:lnTo>
                    <a:pt x="97419" y="20689"/>
                  </a:lnTo>
                  <a:lnTo>
                    <a:pt x="99374" y="15965"/>
                  </a:lnTo>
                  <a:lnTo>
                    <a:pt x="97419" y="12218"/>
                  </a:lnTo>
                  <a:lnTo>
                    <a:pt x="97745" y="7005"/>
                  </a:lnTo>
                  <a:lnTo>
                    <a:pt x="97745" y="1466"/>
                  </a:lnTo>
                  <a:lnTo>
                    <a:pt x="101166" y="0"/>
                  </a:lnTo>
                  <a:lnTo>
                    <a:pt x="105565" y="3747"/>
                  </a:lnTo>
                  <a:lnTo>
                    <a:pt x="105565" y="8960"/>
                  </a:lnTo>
                  <a:lnTo>
                    <a:pt x="107846" y="11404"/>
                  </a:lnTo>
                  <a:lnTo>
                    <a:pt x="115991" y="13359"/>
                  </a:lnTo>
                  <a:lnTo>
                    <a:pt x="121693" y="21341"/>
                  </a:lnTo>
                  <a:lnTo>
                    <a:pt x="120715" y="21341"/>
                  </a:lnTo>
                  <a:lnTo>
                    <a:pt x="112244" y="30627"/>
                  </a:lnTo>
                  <a:lnTo>
                    <a:pt x="109312" y="29975"/>
                  </a:lnTo>
                  <a:lnTo>
                    <a:pt x="108986" y="36166"/>
                  </a:lnTo>
                  <a:lnTo>
                    <a:pt x="105565" y="49036"/>
                  </a:lnTo>
                  <a:lnTo>
                    <a:pt x="105891" y="56367"/>
                  </a:lnTo>
                  <a:lnTo>
                    <a:pt x="111104" y="60439"/>
                  </a:lnTo>
                  <a:lnTo>
                    <a:pt x="111430" y="73798"/>
                  </a:lnTo>
                  <a:lnTo>
                    <a:pt x="115339" y="76893"/>
                  </a:lnTo>
                  <a:lnTo>
                    <a:pt x="113222" y="82758"/>
                  </a:lnTo>
                  <a:lnTo>
                    <a:pt x="106705" y="88460"/>
                  </a:lnTo>
                  <a:lnTo>
                    <a:pt x="108008" y="90415"/>
                  </a:lnTo>
                  <a:lnTo>
                    <a:pt x="95301" y="103773"/>
                  </a:lnTo>
                  <a:lnTo>
                    <a:pt x="96931" y="107520"/>
                  </a:lnTo>
                  <a:lnTo>
                    <a:pt x="93184" y="110941"/>
                  </a:lnTo>
                  <a:lnTo>
                    <a:pt x="92044" y="113548"/>
                  </a:lnTo>
                  <a:lnTo>
                    <a:pt x="86830" y="113385"/>
                  </a:lnTo>
                  <a:lnTo>
                    <a:pt x="81780" y="116643"/>
                  </a:lnTo>
                  <a:lnTo>
                    <a:pt x="79662" y="122345"/>
                  </a:lnTo>
                  <a:lnTo>
                    <a:pt x="72820" y="126580"/>
                  </a:lnTo>
                  <a:lnTo>
                    <a:pt x="72820" y="132934"/>
                  </a:lnTo>
                  <a:lnTo>
                    <a:pt x="74775" y="138799"/>
                  </a:lnTo>
                  <a:lnTo>
                    <a:pt x="72331" y="141405"/>
                  </a:lnTo>
                  <a:lnTo>
                    <a:pt x="73798" y="148247"/>
                  </a:lnTo>
                  <a:lnTo>
                    <a:pt x="83083" y="149876"/>
                  </a:lnTo>
                  <a:lnTo>
                    <a:pt x="85853" y="154275"/>
                  </a:lnTo>
                  <a:lnTo>
                    <a:pt x="104587" y="165027"/>
                  </a:lnTo>
                  <a:lnTo>
                    <a:pt x="107683" y="170566"/>
                  </a:lnTo>
                  <a:lnTo>
                    <a:pt x="97419" y="177245"/>
                  </a:lnTo>
                  <a:lnTo>
                    <a:pt x="79825" y="178711"/>
                  </a:lnTo>
                  <a:lnTo>
                    <a:pt x="70539" y="186857"/>
                  </a:lnTo>
                  <a:lnTo>
                    <a:pt x="61742" y="188975"/>
                  </a:lnTo>
                  <a:lnTo>
                    <a:pt x="53923" y="196794"/>
                  </a:lnTo>
                  <a:lnTo>
                    <a:pt x="52131" y="202496"/>
                  </a:lnTo>
                  <a:lnTo>
                    <a:pt x="46429" y="196305"/>
                  </a:lnTo>
                  <a:lnTo>
                    <a:pt x="43496" y="198261"/>
                  </a:lnTo>
                  <a:lnTo>
                    <a:pt x="44800" y="201030"/>
                  </a:lnTo>
                  <a:lnTo>
                    <a:pt x="40239" y="207058"/>
                  </a:lnTo>
                  <a:lnTo>
                    <a:pt x="37143" y="204940"/>
                  </a:lnTo>
                  <a:lnTo>
                    <a:pt x="31930" y="209175"/>
                  </a:lnTo>
                  <a:lnTo>
                    <a:pt x="29812" y="205591"/>
                  </a:lnTo>
                  <a:lnTo>
                    <a:pt x="34374" y="198261"/>
                  </a:lnTo>
                  <a:lnTo>
                    <a:pt x="28998" y="196305"/>
                  </a:lnTo>
                  <a:lnTo>
                    <a:pt x="24436" y="198912"/>
                  </a:lnTo>
                  <a:lnTo>
                    <a:pt x="22155" y="198261"/>
                  </a:lnTo>
                  <a:lnTo>
                    <a:pt x="23622" y="193699"/>
                  </a:lnTo>
                  <a:lnTo>
                    <a:pt x="23948" y="182947"/>
                  </a:lnTo>
                  <a:lnTo>
                    <a:pt x="27369" y="175942"/>
                  </a:lnTo>
                  <a:lnTo>
                    <a:pt x="34048" y="175290"/>
                  </a:lnTo>
                  <a:lnTo>
                    <a:pt x="39424" y="170240"/>
                  </a:lnTo>
                  <a:lnTo>
                    <a:pt x="34374" y="172846"/>
                  </a:lnTo>
                  <a:lnTo>
                    <a:pt x="24925" y="172521"/>
                  </a:lnTo>
                  <a:lnTo>
                    <a:pt x="23133" y="170403"/>
                  </a:lnTo>
                  <a:lnTo>
                    <a:pt x="22807" y="158348"/>
                  </a:lnTo>
                  <a:lnTo>
                    <a:pt x="28998" y="148247"/>
                  </a:lnTo>
                  <a:lnTo>
                    <a:pt x="25739" y="143360"/>
                  </a:lnTo>
                  <a:lnTo>
                    <a:pt x="29160" y="141079"/>
                  </a:lnTo>
                  <a:lnTo>
                    <a:pt x="30464" y="136681"/>
                  </a:lnTo>
                  <a:lnTo>
                    <a:pt x="27206" y="137007"/>
                  </a:lnTo>
                  <a:lnTo>
                    <a:pt x="24436" y="140428"/>
                  </a:lnTo>
                  <a:lnTo>
                    <a:pt x="16128" y="141568"/>
                  </a:lnTo>
                  <a:lnTo>
                    <a:pt x="13847" y="138310"/>
                  </a:lnTo>
                  <a:lnTo>
                    <a:pt x="8308" y="135215"/>
                  </a:lnTo>
                  <a:lnTo>
                    <a:pt x="7819" y="139124"/>
                  </a:lnTo>
                  <a:lnTo>
                    <a:pt x="4235" y="141568"/>
                  </a:lnTo>
                  <a:lnTo>
                    <a:pt x="1955" y="132608"/>
                  </a:lnTo>
                  <a:lnTo>
                    <a:pt x="651" y="133097"/>
                  </a:lnTo>
                  <a:lnTo>
                    <a:pt x="0" y="131305"/>
                  </a:lnTo>
                  <a:close/>
                </a:path>
              </a:pathLst>
            </a:custGeom>
            <a:solidFill>
              <a:schemeClr val="bg2"/>
            </a:solidFill>
            <a:ln w="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6" name="Forma livre: Forma 195">
              <a:extLst>
                <a:ext uri="{FF2B5EF4-FFF2-40B4-BE49-F238E27FC236}">
                  <a16:creationId xmlns:a16="http://schemas.microsoft.com/office/drawing/2014/main" id="{02B7E974-42A4-F4F9-B0C5-CE2620A73D7E}"/>
                </a:ext>
              </a:extLst>
            </p:cNvPr>
            <p:cNvSpPr/>
            <p:nvPr/>
          </p:nvSpPr>
          <p:spPr>
            <a:xfrm>
              <a:off x="8125602" y="3316798"/>
              <a:ext cx="815320" cy="384512"/>
            </a:xfrm>
            <a:custGeom>
              <a:avLst/>
              <a:gdLst>
                <a:gd name="connsiteX0" fmla="*/ 0 w 788968"/>
                <a:gd name="connsiteY0" fmla="*/ 132445 h 372084"/>
                <a:gd name="connsiteX1" fmla="*/ 3910 w 788968"/>
                <a:gd name="connsiteY1" fmla="*/ 122996 h 372084"/>
                <a:gd name="connsiteX2" fmla="*/ 8634 w 788968"/>
                <a:gd name="connsiteY2" fmla="*/ 120553 h 372084"/>
                <a:gd name="connsiteX3" fmla="*/ 20364 w 788968"/>
                <a:gd name="connsiteY3" fmla="*/ 121204 h 372084"/>
                <a:gd name="connsiteX4" fmla="*/ 21993 w 788968"/>
                <a:gd name="connsiteY4" fmla="*/ 118598 h 372084"/>
                <a:gd name="connsiteX5" fmla="*/ 26391 w 788968"/>
                <a:gd name="connsiteY5" fmla="*/ 113711 h 372084"/>
                <a:gd name="connsiteX6" fmla="*/ 34537 w 788968"/>
                <a:gd name="connsiteY6" fmla="*/ 110778 h 372084"/>
                <a:gd name="connsiteX7" fmla="*/ 35025 w 788968"/>
                <a:gd name="connsiteY7" fmla="*/ 105728 h 372084"/>
                <a:gd name="connsiteX8" fmla="*/ 36818 w 788968"/>
                <a:gd name="connsiteY8" fmla="*/ 100515 h 372084"/>
                <a:gd name="connsiteX9" fmla="*/ 43334 w 788968"/>
                <a:gd name="connsiteY9" fmla="*/ 97420 h 372084"/>
                <a:gd name="connsiteX10" fmla="*/ 43660 w 788968"/>
                <a:gd name="connsiteY10" fmla="*/ 93836 h 372084"/>
                <a:gd name="connsiteX11" fmla="*/ 47895 w 788968"/>
                <a:gd name="connsiteY11" fmla="*/ 89763 h 372084"/>
                <a:gd name="connsiteX12" fmla="*/ 52131 w 788968"/>
                <a:gd name="connsiteY12" fmla="*/ 88623 h 372084"/>
                <a:gd name="connsiteX13" fmla="*/ 55552 w 788968"/>
                <a:gd name="connsiteY13" fmla="*/ 83735 h 372084"/>
                <a:gd name="connsiteX14" fmla="*/ 57833 w 788968"/>
                <a:gd name="connsiteY14" fmla="*/ 81618 h 372084"/>
                <a:gd name="connsiteX15" fmla="*/ 55063 w 788968"/>
                <a:gd name="connsiteY15" fmla="*/ 79663 h 372084"/>
                <a:gd name="connsiteX16" fmla="*/ 54900 w 788968"/>
                <a:gd name="connsiteY16" fmla="*/ 75916 h 372084"/>
                <a:gd name="connsiteX17" fmla="*/ 56529 w 788968"/>
                <a:gd name="connsiteY17" fmla="*/ 73798 h 372084"/>
                <a:gd name="connsiteX18" fmla="*/ 65001 w 788968"/>
                <a:gd name="connsiteY18" fmla="*/ 76241 h 372084"/>
                <a:gd name="connsiteX19" fmla="*/ 68422 w 788968"/>
                <a:gd name="connsiteY19" fmla="*/ 74287 h 372084"/>
                <a:gd name="connsiteX20" fmla="*/ 71028 w 788968"/>
                <a:gd name="connsiteY20" fmla="*/ 67770 h 372084"/>
                <a:gd name="connsiteX21" fmla="*/ 75101 w 788968"/>
                <a:gd name="connsiteY21" fmla="*/ 65978 h 372084"/>
                <a:gd name="connsiteX22" fmla="*/ 84061 w 788968"/>
                <a:gd name="connsiteY22" fmla="*/ 65001 h 372084"/>
                <a:gd name="connsiteX23" fmla="*/ 89111 w 788968"/>
                <a:gd name="connsiteY23" fmla="*/ 63697 h 372084"/>
                <a:gd name="connsiteX24" fmla="*/ 93347 w 788968"/>
                <a:gd name="connsiteY24" fmla="*/ 63535 h 372084"/>
                <a:gd name="connsiteX25" fmla="*/ 99212 w 788968"/>
                <a:gd name="connsiteY25" fmla="*/ 63860 h 372084"/>
                <a:gd name="connsiteX26" fmla="*/ 103121 w 788968"/>
                <a:gd name="connsiteY26" fmla="*/ 61417 h 372084"/>
                <a:gd name="connsiteX27" fmla="*/ 104425 w 788968"/>
                <a:gd name="connsiteY27" fmla="*/ 61580 h 372084"/>
                <a:gd name="connsiteX28" fmla="*/ 107520 w 788968"/>
                <a:gd name="connsiteY28" fmla="*/ 65815 h 372084"/>
                <a:gd name="connsiteX29" fmla="*/ 108171 w 788968"/>
                <a:gd name="connsiteY29" fmla="*/ 68748 h 372084"/>
                <a:gd name="connsiteX30" fmla="*/ 111104 w 788968"/>
                <a:gd name="connsiteY30" fmla="*/ 72006 h 372084"/>
                <a:gd name="connsiteX31" fmla="*/ 116317 w 788968"/>
                <a:gd name="connsiteY31" fmla="*/ 71517 h 372084"/>
                <a:gd name="connsiteX32" fmla="*/ 119087 w 788968"/>
                <a:gd name="connsiteY32" fmla="*/ 70703 h 372084"/>
                <a:gd name="connsiteX33" fmla="*/ 123811 w 788968"/>
                <a:gd name="connsiteY33" fmla="*/ 71028 h 372084"/>
                <a:gd name="connsiteX34" fmla="*/ 127558 w 788968"/>
                <a:gd name="connsiteY34" fmla="*/ 68422 h 372084"/>
                <a:gd name="connsiteX35" fmla="*/ 135703 w 788968"/>
                <a:gd name="connsiteY35" fmla="*/ 67933 h 372084"/>
                <a:gd name="connsiteX36" fmla="*/ 137332 w 788968"/>
                <a:gd name="connsiteY36" fmla="*/ 72006 h 372084"/>
                <a:gd name="connsiteX37" fmla="*/ 138310 w 788968"/>
                <a:gd name="connsiteY37" fmla="*/ 76241 h 372084"/>
                <a:gd name="connsiteX38" fmla="*/ 139776 w 788968"/>
                <a:gd name="connsiteY38" fmla="*/ 79500 h 372084"/>
                <a:gd name="connsiteX39" fmla="*/ 152320 w 788968"/>
                <a:gd name="connsiteY39" fmla="*/ 86668 h 372084"/>
                <a:gd name="connsiteX40" fmla="*/ 157044 w 788968"/>
                <a:gd name="connsiteY40" fmla="*/ 90577 h 372084"/>
                <a:gd name="connsiteX41" fmla="*/ 166330 w 788968"/>
                <a:gd name="connsiteY41" fmla="*/ 94813 h 372084"/>
                <a:gd name="connsiteX42" fmla="*/ 169588 w 788968"/>
                <a:gd name="connsiteY42" fmla="*/ 92858 h 372084"/>
                <a:gd name="connsiteX43" fmla="*/ 174802 w 788968"/>
                <a:gd name="connsiteY43" fmla="*/ 91066 h 372084"/>
                <a:gd name="connsiteX44" fmla="*/ 180341 w 788968"/>
                <a:gd name="connsiteY44" fmla="*/ 86993 h 372084"/>
                <a:gd name="connsiteX45" fmla="*/ 184739 w 788968"/>
                <a:gd name="connsiteY45" fmla="*/ 86505 h 372084"/>
                <a:gd name="connsiteX46" fmla="*/ 189463 w 788968"/>
                <a:gd name="connsiteY46" fmla="*/ 87808 h 372084"/>
                <a:gd name="connsiteX47" fmla="*/ 193373 w 788968"/>
                <a:gd name="connsiteY47" fmla="*/ 90577 h 372084"/>
                <a:gd name="connsiteX48" fmla="*/ 197446 w 788968"/>
                <a:gd name="connsiteY48" fmla="*/ 89274 h 372084"/>
                <a:gd name="connsiteX49" fmla="*/ 208524 w 788968"/>
                <a:gd name="connsiteY49" fmla="*/ 89437 h 372084"/>
                <a:gd name="connsiteX50" fmla="*/ 212759 w 788968"/>
                <a:gd name="connsiteY50" fmla="*/ 91392 h 372084"/>
                <a:gd name="connsiteX51" fmla="*/ 217484 w 788968"/>
                <a:gd name="connsiteY51" fmla="*/ 90903 h 372084"/>
                <a:gd name="connsiteX52" fmla="*/ 218624 w 788968"/>
                <a:gd name="connsiteY52" fmla="*/ 89600 h 372084"/>
                <a:gd name="connsiteX53" fmla="*/ 223511 w 788968"/>
                <a:gd name="connsiteY53" fmla="*/ 90577 h 372084"/>
                <a:gd name="connsiteX54" fmla="*/ 232146 w 788968"/>
                <a:gd name="connsiteY54" fmla="*/ 89437 h 372084"/>
                <a:gd name="connsiteX55" fmla="*/ 236870 w 788968"/>
                <a:gd name="connsiteY55" fmla="*/ 81618 h 372084"/>
                <a:gd name="connsiteX56" fmla="*/ 234100 w 788968"/>
                <a:gd name="connsiteY56" fmla="*/ 78522 h 372084"/>
                <a:gd name="connsiteX57" fmla="*/ 228887 w 788968"/>
                <a:gd name="connsiteY57" fmla="*/ 75101 h 372084"/>
                <a:gd name="connsiteX58" fmla="*/ 229213 w 788968"/>
                <a:gd name="connsiteY58" fmla="*/ 67281 h 372084"/>
                <a:gd name="connsiteX59" fmla="*/ 230679 w 788968"/>
                <a:gd name="connsiteY59" fmla="*/ 58973 h 372084"/>
                <a:gd name="connsiteX60" fmla="*/ 229702 w 788968"/>
                <a:gd name="connsiteY60" fmla="*/ 55715 h 372084"/>
                <a:gd name="connsiteX61" fmla="*/ 224978 w 788968"/>
                <a:gd name="connsiteY61" fmla="*/ 54086 h 372084"/>
                <a:gd name="connsiteX62" fmla="*/ 222371 w 788968"/>
                <a:gd name="connsiteY62" fmla="*/ 50665 h 372084"/>
                <a:gd name="connsiteX63" fmla="*/ 214714 w 788968"/>
                <a:gd name="connsiteY63" fmla="*/ 48710 h 372084"/>
                <a:gd name="connsiteX64" fmla="*/ 212922 w 788968"/>
                <a:gd name="connsiteY64" fmla="*/ 42519 h 372084"/>
                <a:gd name="connsiteX65" fmla="*/ 213085 w 788968"/>
                <a:gd name="connsiteY65" fmla="*/ 29975 h 372084"/>
                <a:gd name="connsiteX66" fmla="*/ 218298 w 788968"/>
                <a:gd name="connsiteY66" fmla="*/ 23948 h 372084"/>
                <a:gd name="connsiteX67" fmla="*/ 218298 w 788968"/>
                <a:gd name="connsiteY67" fmla="*/ 20201 h 372084"/>
                <a:gd name="connsiteX68" fmla="*/ 220905 w 788968"/>
                <a:gd name="connsiteY68" fmla="*/ 15965 h 372084"/>
                <a:gd name="connsiteX69" fmla="*/ 225141 w 788968"/>
                <a:gd name="connsiteY69" fmla="*/ 14499 h 372084"/>
                <a:gd name="connsiteX70" fmla="*/ 227747 w 788968"/>
                <a:gd name="connsiteY70" fmla="*/ 15313 h 372084"/>
                <a:gd name="connsiteX71" fmla="*/ 229539 w 788968"/>
                <a:gd name="connsiteY71" fmla="*/ 11078 h 372084"/>
                <a:gd name="connsiteX72" fmla="*/ 228073 w 788968"/>
                <a:gd name="connsiteY72" fmla="*/ 6842 h 372084"/>
                <a:gd name="connsiteX73" fmla="*/ 228725 w 788968"/>
                <a:gd name="connsiteY73" fmla="*/ 2932 h 372084"/>
                <a:gd name="connsiteX74" fmla="*/ 231982 w 788968"/>
                <a:gd name="connsiteY74" fmla="*/ 0 h 372084"/>
                <a:gd name="connsiteX75" fmla="*/ 237033 w 788968"/>
                <a:gd name="connsiteY75" fmla="*/ 326 h 372084"/>
                <a:gd name="connsiteX76" fmla="*/ 240291 w 788968"/>
                <a:gd name="connsiteY76" fmla="*/ 2606 h 372084"/>
                <a:gd name="connsiteX77" fmla="*/ 247133 w 788968"/>
                <a:gd name="connsiteY77" fmla="*/ 4398 h 372084"/>
                <a:gd name="connsiteX78" fmla="*/ 253975 w 788968"/>
                <a:gd name="connsiteY78" fmla="*/ 7657 h 372084"/>
                <a:gd name="connsiteX79" fmla="*/ 254790 w 788968"/>
                <a:gd name="connsiteY79" fmla="*/ 9286 h 372084"/>
                <a:gd name="connsiteX80" fmla="*/ 260818 w 788968"/>
                <a:gd name="connsiteY80" fmla="*/ 11404 h 372084"/>
                <a:gd name="connsiteX81" fmla="*/ 267171 w 788968"/>
                <a:gd name="connsiteY81" fmla="*/ 11892 h 372084"/>
                <a:gd name="connsiteX82" fmla="*/ 276294 w 788968"/>
                <a:gd name="connsiteY82" fmla="*/ 11729 h 372084"/>
                <a:gd name="connsiteX83" fmla="*/ 279878 w 788968"/>
                <a:gd name="connsiteY83" fmla="*/ 14010 h 372084"/>
                <a:gd name="connsiteX84" fmla="*/ 282321 w 788968"/>
                <a:gd name="connsiteY84" fmla="*/ 16291 h 372084"/>
                <a:gd name="connsiteX85" fmla="*/ 288838 w 788968"/>
                <a:gd name="connsiteY85" fmla="*/ 16943 h 372084"/>
                <a:gd name="connsiteX86" fmla="*/ 292422 w 788968"/>
                <a:gd name="connsiteY86" fmla="*/ 18735 h 372084"/>
                <a:gd name="connsiteX87" fmla="*/ 296821 w 788968"/>
                <a:gd name="connsiteY87" fmla="*/ 19386 h 372084"/>
                <a:gd name="connsiteX88" fmla="*/ 307573 w 788968"/>
                <a:gd name="connsiteY88" fmla="*/ 19060 h 372084"/>
                <a:gd name="connsiteX89" fmla="*/ 311645 w 788968"/>
                <a:gd name="connsiteY89" fmla="*/ 20689 h 372084"/>
                <a:gd name="connsiteX90" fmla="*/ 313600 w 788968"/>
                <a:gd name="connsiteY90" fmla="*/ 24762 h 372084"/>
                <a:gd name="connsiteX91" fmla="*/ 313600 w 788968"/>
                <a:gd name="connsiteY91" fmla="*/ 28020 h 372084"/>
                <a:gd name="connsiteX92" fmla="*/ 316207 w 788968"/>
                <a:gd name="connsiteY92" fmla="*/ 31604 h 372084"/>
                <a:gd name="connsiteX93" fmla="*/ 316207 w 788968"/>
                <a:gd name="connsiteY93" fmla="*/ 35188 h 372084"/>
                <a:gd name="connsiteX94" fmla="*/ 318487 w 788968"/>
                <a:gd name="connsiteY94" fmla="*/ 37958 h 372084"/>
                <a:gd name="connsiteX95" fmla="*/ 321094 w 788968"/>
                <a:gd name="connsiteY95" fmla="*/ 43660 h 372084"/>
                <a:gd name="connsiteX96" fmla="*/ 320931 w 788968"/>
                <a:gd name="connsiteY96" fmla="*/ 48384 h 372084"/>
                <a:gd name="connsiteX97" fmla="*/ 324026 w 788968"/>
                <a:gd name="connsiteY97" fmla="*/ 50991 h 372084"/>
                <a:gd name="connsiteX98" fmla="*/ 327121 w 788968"/>
                <a:gd name="connsiteY98" fmla="*/ 51153 h 372084"/>
                <a:gd name="connsiteX99" fmla="*/ 332335 w 788968"/>
                <a:gd name="connsiteY99" fmla="*/ 55715 h 372084"/>
                <a:gd name="connsiteX100" fmla="*/ 333801 w 788968"/>
                <a:gd name="connsiteY100" fmla="*/ 58484 h 372084"/>
                <a:gd name="connsiteX101" fmla="*/ 341295 w 788968"/>
                <a:gd name="connsiteY101" fmla="*/ 60602 h 372084"/>
                <a:gd name="connsiteX102" fmla="*/ 349277 w 788968"/>
                <a:gd name="connsiteY102" fmla="*/ 64675 h 372084"/>
                <a:gd name="connsiteX103" fmla="*/ 352861 w 788968"/>
                <a:gd name="connsiteY103" fmla="*/ 64838 h 372084"/>
                <a:gd name="connsiteX104" fmla="*/ 354653 w 788968"/>
                <a:gd name="connsiteY104" fmla="*/ 63209 h 372084"/>
                <a:gd name="connsiteX105" fmla="*/ 362473 w 788968"/>
                <a:gd name="connsiteY105" fmla="*/ 63535 h 372084"/>
                <a:gd name="connsiteX106" fmla="*/ 365894 w 788968"/>
                <a:gd name="connsiteY106" fmla="*/ 61091 h 372084"/>
                <a:gd name="connsiteX107" fmla="*/ 369641 w 788968"/>
                <a:gd name="connsiteY107" fmla="*/ 61254 h 372084"/>
                <a:gd name="connsiteX108" fmla="*/ 372899 w 788968"/>
                <a:gd name="connsiteY108" fmla="*/ 62394 h 372084"/>
                <a:gd name="connsiteX109" fmla="*/ 376157 w 788968"/>
                <a:gd name="connsiteY109" fmla="*/ 61417 h 372084"/>
                <a:gd name="connsiteX110" fmla="*/ 380556 w 788968"/>
                <a:gd name="connsiteY110" fmla="*/ 56529 h 372084"/>
                <a:gd name="connsiteX111" fmla="*/ 387887 w 788968"/>
                <a:gd name="connsiteY111" fmla="*/ 54249 h 372084"/>
                <a:gd name="connsiteX112" fmla="*/ 397987 w 788968"/>
                <a:gd name="connsiteY112" fmla="*/ 53597 h 372084"/>
                <a:gd name="connsiteX113" fmla="*/ 403363 w 788968"/>
                <a:gd name="connsiteY113" fmla="*/ 50339 h 372084"/>
                <a:gd name="connsiteX114" fmla="*/ 409879 w 788968"/>
                <a:gd name="connsiteY114" fmla="*/ 50176 h 372084"/>
                <a:gd name="connsiteX115" fmla="*/ 416233 w 788968"/>
                <a:gd name="connsiteY115" fmla="*/ 48221 h 372084"/>
                <a:gd name="connsiteX116" fmla="*/ 422098 w 788968"/>
                <a:gd name="connsiteY116" fmla="*/ 51479 h 372084"/>
                <a:gd name="connsiteX117" fmla="*/ 429591 w 788968"/>
                <a:gd name="connsiteY117" fmla="*/ 52294 h 372084"/>
                <a:gd name="connsiteX118" fmla="*/ 439529 w 788968"/>
                <a:gd name="connsiteY118" fmla="*/ 51968 h 372084"/>
                <a:gd name="connsiteX119" fmla="*/ 444742 w 788968"/>
                <a:gd name="connsiteY119" fmla="*/ 59462 h 372084"/>
                <a:gd name="connsiteX120" fmla="*/ 453702 w 788968"/>
                <a:gd name="connsiteY120" fmla="*/ 62883 h 372084"/>
                <a:gd name="connsiteX121" fmla="*/ 461196 w 788968"/>
                <a:gd name="connsiteY121" fmla="*/ 62720 h 372084"/>
                <a:gd name="connsiteX122" fmla="*/ 466409 w 788968"/>
                <a:gd name="connsiteY122" fmla="*/ 61417 h 372084"/>
                <a:gd name="connsiteX123" fmla="*/ 469016 w 788968"/>
                <a:gd name="connsiteY123" fmla="*/ 63860 h 372084"/>
                <a:gd name="connsiteX124" fmla="*/ 471785 w 788968"/>
                <a:gd name="connsiteY124" fmla="*/ 72006 h 372084"/>
                <a:gd name="connsiteX125" fmla="*/ 476998 w 788968"/>
                <a:gd name="connsiteY125" fmla="*/ 75427 h 372084"/>
                <a:gd name="connsiteX126" fmla="*/ 480093 w 788968"/>
                <a:gd name="connsiteY126" fmla="*/ 77219 h 372084"/>
                <a:gd name="connsiteX127" fmla="*/ 483352 w 788968"/>
                <a:gd name="connsiteY127" fmla="*/ 78033 h 372084"/>
                <a:gd name="connsiteX128" fmla="*/ 487913 w 788968"/>
                <a:gd name="connsiteY128" fmla="*/ 82758 h 372084"/>
                <a:gd name="connsiteX129" fmla="*/ 491660 w 788968"/>
                <a:gd name="connsiteY129" fmla="*/ 82921 h 372084"/>
                <a:gd name="connsiteX130" fmla="*/ 503389 w 788968"/>
                <a:gd name="connsiteY130" fmla="*/ 81943 h 372084"/>
                <a:gd name="connsiteX131" fmla="*/ 513489 w 788968"/>
                <a:gd name="connsiteY131" fmla="*/ 84876 h 372084"/>
                <a:gd name="connsiteX132" fmla="*/ 528803 w 788968"/>
                <a:gd name="connsiteY132" fmla="*/ 84713 h 372084"/>
                <a:gd name="connsiteX133" fmla="*/ 535157 w 788968"/>
                <a:gd name="connsiteY133" fmla="*/ 83735 h 372084"/>
                <a:gd name="connsiteX134" fmla="*/ 537763 w 788968"/>
                <a:gd name="connsiteY134" fmla="*/ 81618 h 372084"/>
                <a:gd name="connsiteX135" fmla="*/ 543465 w 788968"/>
                <a:gd name="connsiteY135" fmla="*/ 81618 h 372084"/>
                <a:gd name="connsiteX136" fmla="*/ 548352 w 788968"/>
                <a:gd name="connsiteY136" fmla="*/ 84224 h 372084"/>
                <a:gd name="connsiteX137" fmla="*/ 551285 w 788968"/>
                <a:gd name="connsiteY137" fmla="*/ 83898 h 372084"/>
                <a:gd name="connsiteX138" fmla="*/ 555357 w 788968"/>
                <a:gd name="connsiteY138" fmla="*/ 77708 h 372084"/>
                <a:gd name="connsiteX139" fmla="*/ 564806 w 788968"/>
                <a:gd name="connsiteY139" fmla="*/ 72169 h 372084"/>
                <a:gd name="connsiteX140" fmla="*/ 570834 w 788968"/>
                <a:gd name="connsiteY140" fmla="*/ 72332 h 372084"/>
                <a:gd name="connsiteX141" fmla="*/ 574743 w 788968"/>
                <a:gd name="connsiteY141" fmla="*/ 67444 h 372084"/>
                <a:gd name="connsiteX142" fmla="*/ 578979 w 788968"/>
                <a:gd name="connsiteY142" fmla="*/ 66956 h 372084"/>
                <a:gd name="connsiteX143" fmla="*/ 590871 w 788968"/>
                <a:gd name="connsiteY143" fmla="*/ 67119 h 372084"/>
                <a:gd name="connsiteX144" fmla="*/ 595759 w 788968"/>
                <a:gd name="connsiteY144" fmla="*/ 62557 h 372084"/>
                <a:gd name="connsiteX145" fmla="*/ 597551 w 788968"/>
                <a:gd name="connsiteY145" fmla="*/ 57507 h 372084"/>
                <a:gd name="connsiteX146" fmla="*/ 597551 w 788968"/>
                <a:gd name="connsiteY146" fmla="*/ 55389 h 372084"/>
                <a:gd name="connsiteX147" fmla="*/ 600646 w 788968"/>
                <a:gd name="connsiteY147" fmla="*/ 50176 h 372084"/>
                <a:gd name="connsiteX148" fmla="*/ 606022 w 788968"/>
                <a:gd name="connsiteY148" fmla="*/ 47732 h 372084"/>
                <a:gd name="connsiteX149" fmla="*/ 609606 w 788968"/>
                <a:gd name="connsiteY149" fmla="*/ 43985 h 372084"/>
                <a:gd name="connsiteX150" fmla="*/ 611724 w 788968"/>
                <a:gd name="connsiteY150" fmla="*/ 38610 h 372084"/>
                <a:gd name="connsiteX151" fmla="*/ 615471 w 788968"/>
                <a:gd name="connsiteY151" fmla="*/ 34863 h 372084"/>
                <a:gd name="connsiteX152" fmla="*/ 620032 w 788968"/>
                <a:gd name="connsiteY152" fmla="*/ 34863 h 372084"/>
                <a:gd name="connsiteX153" fmla="*/ 621661 w 788968"/>
                <a:gd name="connsiteY153" fmla="*/ 36329 h 372084"/>
                <a:gd name="connsiteX154" fmla="*/ 629155 w 788968"/>
                <a:gd name="connsiteY154" fmla="*/ 34374 h 372084"/>
                <a:gd name="connsiteX155" fmla="*/ 633880 w 788968"/>
                <a:gd name="connsiteY155" fmla="*/ 34863 h 372084"/>
                <a:gd name="connsiteX156" fmla="*/ 640070 w 788968"/>
                <a:gd name="connsiteY156" fmla="*/ 38772 h 372084"/>
                <a:gd name="connsiteX157" fmla="*/ 643002 w 788968"/>
                <a:gd name="connsiteY157" fmla="*/ 43171 h 372084"/>
                <a:gd name="connsiteX158" fmla="*/ 646912 w 788968"/>
                <a:gd name="connsiteY158" fmla="*/ 44637 h 372084"/>
                <a:gd name="connsiteX159" fmla="*/ 651637 w 788968"/>
                <a:gd name="connsiteY159" fmla="*/ 42031 h 372084"/>
                <a:gd name="connsiteX160" fmla="*/ 654243 w 788968"/>
                <a:gd name="connsiteY160" fmla="*/ 44148 h 372084"/>
                <a:gd name="connsiteX161" fmla="*/ 658805 w 788968"/>
                <a:gd name="connsiteY161" fmla="*/ 43985 h 372084"/>
                <a:gd name="connsiteX162" fmla="*/ 664507 w 788968"/>
                <a:gd name="connsiteY162" fmla="*/ 40564 h 372084"/>
                <a:gd name="connsiteX163" fmla="*/ 664669 w 788968"/>
                <a:gd name="connsiteY163" fmla="*/ 37958 h 372084"/>
                <a:gd name="connsiteX164" fmla="*/ 673141 w 788968"/>
                <a:gd name="connsiteY164" fmla="*/ 36492 h 372084"/>
                <a:gd name="connsiteX165" fmla="*/ 682752 w 788968"/>
                <a:gd name="connsiteY165" fmla="*/ 39424 h 372084"/>
                <a:gd name="connsiteX166" fmla="*/ 685522 w 788968"/>
                <a:gd name="connsiteY166" fmla="*/ 42519 h 372084"/>
                <a:gd name="connsiteX167" fmla="*/ 679983 w 788968"/>
                <a:gd name="connsiteY167" fmla="*/ 82106 h 372084"/>
                <a:gd name="connsiteX168" fmla="*/ 681123 w 788968"/>
                <a:gd name="connsiteY168" fmla="*/ 90740 h 372084"/>
                <a:gd name="connsiteX169" fmla="*/ 678843 w 788968"/>
                <a:gd name="connsiteY169" fmla="*/ 98071 h 372084"/>
                <a:gd name="connsiteX170" fmla="*/ 679657 w 788968"/>
                <a:gd name="connsiteY170" fmla="*/ 103284 h 372084"/>
                <a:gd name="connsiteX171" fmla="*/ 676236 w 788968"/>
                <a:gd name="connsiteY171" fmla="*/ 114199 h 372084"/>
                <a:gd name="connsiteX172" fmla="*/ 680309 w 788968"/>
                <a:gd name="connsiteY172" fmla="*/ 122345 h 372084"/>
                <a:gd name="connsiteX173" fmla="*/ 692527 w 788968"/>
                <a:gd name="connsiteY173" fmla="*/ 128372 h 372084"/>
                <a:gd name="connsiteX174" fmla="*/ 700672 w 788968"/>
                <a:gd name="connsiteY174" fmla="*/ 122019 h 372084"/>
                <a:gd name="connsiteX175" fmla="*/ 710935 w 788968"/>
                <a:gd name="connsiteY175" fmla="*/ 122019 h 372084"/>
                <a:gd name="connsiteX176" fmla="*/ 722014 w 788968"/>
                <a:gd name="connsiteY176" fmla="*/ 123811 h 372084"/>
                <a:gd name="connsiteX177" fmla="*/ 727226 w 788968"/>
                <a:gd name="connsiteY177" fmla="*/ 129024 h 372084"/>
                <a:gd name="connsiteX178" fmla="*/ 733417 w 788968"/>
                <a:gd name="connsiteY178" fmla="*/ 119412 h 372084"/>
                <a:gd name="connsiteX179" fmla="*/ 732766 w 788968"/>
                <a:gd name="connsiteY179" fmla="*/ 113873 h 372084"/>
                <a:gd name="connsiteX180" fmla="*/ 733091 w 788968"/>
                <a:gd name="connsiteY180" fmla="*/ 109149 h 372084"/>
                <a:gd name="connsiteX181" fmla="*/ 740096 w 788968"/>
                <a:gd name="connsiteY181" fmla="*/ 106868 h 372084"/>
                <a:gd name="connsiteX182" fmla="*/ 742703 w 788968"/>
                <a:gd name="connsiteY182" fmla="*/ 104751 h 372084"/>
                <a:gd name="connsiteX183" fmla="*/ 754107 w 788968"/>
                <a:gd name="connsiteY183" fmla="*/ 107683 h 372084"/>
                <a:gd name="connsiteX184" fmla="*/ 760786 w 788968"/>
                <a:gd name="connsiteY184" fmla="*/ 115828 h 372084"/>
                <a:gd name="connsiteX185" fmla="*/ 770071 w 788968"/>
                <a:gd name="connsiteY185" fmla="*/ 124300 h 372084"/>
                <a:gd name="connsiteX186" fmla="*/ 777403 w 788968"/>
                <a:gd name="connsiteY186" fmla="*/ 133423 h 372084"/>
                <a:gd name="connsiteX187" fmla="*/ 786851 w 788968"/>
                <a:gd name="connsiteY187" fmla="*/ 140265 h 372084"/>
                <a:gd name="connsiteX188" fmla="*/ 787014 w 788968"/>
                <a:gd name="connsiteY188" fmla="*/ 144663 h 372084"/>
                <a:gd name="connsiteX189" fmla="*/ 788969 w 788968"/>
                <a:gd name="connsiteY189" fmla="*/ 148247 h 372084"/>
                <a:gd name="connsiteX190" fmla="*/ 788806 w 788968"/>
                <a:gd name="connsiteY190" fmla="*/ 152646 h 372084"/>
                <a:gd name="connsiteX191" fmla="*/ 786851 w 788968"/>
                <a:gd name="connsiteY191" fmla="*/ 155578 h 372084"/>
                <a:gd name="connsiteX192" fmla="*/ 786688 w 788968"/>
                <a:gd name="connsiteY192" fmla="*/ 159162 h 372084"/>
                <a:gd name="connsiteX193" fmla="*/ 784734 w 788968"/>
                <a:gd name="connsiteY193" fmla="*/ 162257 h 372084"/>
                <a:gd name="connsiteX194" fmla="*/ 780823 w 788968"/>
                <a:gd name="connsiteY194" fmla="*/ 161280 h 372084"/>
                <a:gd name="connsiteX195" fmla="*/ 778380 w 788968"/>
                <a:gd name="connsiteY195" fmla="*/ 158836 h 372084"/>
                <a:gd name="connsiteX196" fmla="*/ 773004 w 788968"/>
                <a:gd name="connsiteY196" fmla="*/ 159651 h 372084"/>
                <a:gd name="connsiteX197" fmla="*/ 770071 w 788968"/>
                <a:gd name="connsiteY197" fmla="*/ 161606 h 372084"/>
                <a:gd name="connsiteX198" fmla="*/ 762903 w 788968"/>
                <a:gd name="connsiteY198" fmla="*/ 158511 h 372084"/>
                <a:gd name="connsiteX199" fmla="*/ 758505 w 788968"/>
                <a:gd name="connsiteY199" fmla="*/ 159488 h 372084"/>
                <a:gd name="connsiteX200" fmla="*/ 753944 w 788968"/>
                <a:gd name="connsiteY200" fmla="*/ 165842 h 372084"/>
                <a:gd name="connsiteX201" fmla="*/ 746939 w 788968"/>
                <a:gd name="connsiteY201" fmla="*/ 171380 h 372084"/>
                <a:gd name="connsiteX202" fmla="*/ 742866 w 788968"/>
                <a:gd name="connsiteY202" fmla="*/ 173987 h 372084"/>
                <a:gd name="connsiteX203" fmla="*/ 738304 w 788968"/>
                <a:gd name="connsiteY203" fmla="*/ 170729 h 372084"/>
                <a:gd name="connsiteX204" fmla="*/ 736187 w 788968"/>
                <a:gd name="connsiteY204" fmla="*/ 171218 h 372084"/>
                <a:gd name="connsiteX205" fmla="*/ 736023 w 788968"/>
                <a:gd name="connsiteY205" fmla="*/ 176105 h 372084"/>
                <a:gd name="connsiteX206" fmla="*/ 734232 w 788968"/>
                <a:gd name="connsiteY206" fmla="*/ 178874 h 372084"/>
                <a:gd name="connsiteX207" fmla="*/ 730648 w 788968"/>
                <a:gd name="connsiteY207" fmla="*/ 179363 h 372084"/>
                <a:gd name="connsiteX208" fmla="*/ 727878 w 788968"/>
                <a:gd name="connsiteY208" fmla="*/ 178874 h 372084"/>
                <a:gd name="connsiteX209" fmla="*/ 725923 w 788968"/>
                <a:gd name="connsiteY209" fmla="*/ 181969 h 372084"/>
                <a:gd name="connsiteX210" fmla="*/ 721525 w 788968"/>
                <a:gd name="connsiteY210" fmla="*/ 188812 h 372084"/>
                <a:gd name="connsiteX211" fmla="*/ 720384 w 788968"/>
                <a:gd name="connsiteY211" fmla="*/ 196468 h 372084"/>
                <a:gd name="connsiteX212" fmla="*/ 720710 w 788968"/>
                <a:gd name="connsiteY212" fmla="*/ 201844 h 372084"/>
                <a:gd name="connsiteX213" fmla="*/ 717941 w 788968"/>
                <a:gd name="connsiteY213" fmla="*/ 205103 h 372084"/>
                <a:gd name="connsiteX214" fmla="*/ 712564 w 788968"/>
                <a:gd name="connsiteY214" fmla="*/ 206406 h 372084"/>
                <a:gd name="connsiteX215" fmla="*/ 701161 w 788968"/>
                <a:gd name="connsiteY215" fmla="*/ 214226 h 372084"/>
                <a:gd name="connsiteX216" fmla="*/ 695134 w 788968"/>
                <a:gd name="connsiteY216" fmla="*/ 214226 h 372084"/>
                <a:gd name="connsiteX217" fmla="*/ 688943 w 788968"/>
                <a:gd name="connsiteY217" fmla="*/ 212922 h 372084"/>
                <a:gd name="connsiteX218" fmla="*/ 686010 w 788968"/>
                <a:gd name="connsiteY218" fmla="*/ 215040 h 372084"/>
                <a:gd name="connsiteX219" fmla="*/ 681123 w 788968"/>
                <a:gd name="connsiteY219" fmla="*/ 225303 h 372084"/>
                <a:gd name="connsiteX220" fmla="*/ 676399 w 788968"/>
                <a:gd name="connsiteY220" fmla="*/ 228724 h 372084"/>
                <a:gd name="connsiteX221" fmla="*/ 670697 w 788968"/>
                <a:gd name="connsiteY221" fmla="*/ 232960 h 372084"/>
                <a:gd name="connsiteX222" fmla="*/ 667113 w 788968"/>
                <a:gd name="connsiteY222" fmla="*/ 236707 h 372084"/>
                <a:gd name="connsiteX223" fmla="*/ 665647 w 788968"/>
                <a:gd name="connsiteY223" fmla="*/ 240780 h 372084"/>
                <a:gd name="connsiteX224" fmla="*/ 663040 w 788968"/>
                <a:gd name="connsiteY224" fmla="*/ 241268 h 372084"/>
                <a:gd name="connsiteX225" fmla="*/ 657664 w 788968"/>
                <a:gd name="connsiteY225" fmla="*/ 238662 h 372084"/>
                <a:gd name="connsiteX226" fmla="*/ 651474 w 788968"/>
                <a:gd name="connsiteY226" fmla="*/ 237359 h 372084"/>
                <a:gd name="connsiteX227" fmla="*/ 643654 w 788968"/>
                <a:gd name="connsiteY227" fmla="*/ 234589 h 372084"/>
                <a:gd name="connsiteX228" fmla="*/ 637464 w 788968"/>
                <a:gd name="connsiteY228" fmla="*/ 230191 h 372084"/>
                <a:gd name="connsiteX229" fmla="*/ 631273 w 788968"/>
                <a:gd name="connsiteY229" fmla="*/ 230028 h 372084"/>
                <a:gd name="connsiteX230" fmla="*/ 621173 w 788968"/>
                <a:gd name="connsiteY230" fmla="*/ 231983 h 372084"/>
                <a:gd name="connsiteX231" fmla="*/ 615308 w 788968"/>
                <a:gd name="connsiteY231" fmla="*/ 236544 h 372084"/>
                <a:gd name="connsiteX232" fmla="*/ 611724 w 788968"/>
                <a:gd name="connsiteY232" fmla="*/ 241757 h 372084"/>
                <a:gd name="connsiteX233" fmla="*/ 611235 w 788968"/>
                <a:gd name="connsiteY233" fmla="*/ 252998 h 372084"/>
                <a:gd name="connsiteX234" fmla="*/ 611887 w 788968"/>
                <a:gd name="connsiteY234" fmla="*/ 258537 h 372084"/>
                <a:gd name="connsiteX235" fmla="*/ 611398 w 788968"/>
                <a:gd name="connsiteY235" fmla="*/ 262121 h 372084"/>
                <a:gd name="connsiteX236" fmla="*/ 622964 w 788968"/>
                <a:gd name="connsiteY236" fmla="*/ 269615 h 372084"/>
                <a:gd name="connsiteX237" fmla="*/ 633391 w 788968"/>
                <a:gd name="connsiteY237" fmla="*/ 276131 h 372084"/>
                <a:gd name="connsiteX238" fmla="*/ 633391 w 788968"/>
                <a:gd name="connsiteY238" fmla="*/ 279226 h 372084"/>
                <a:gd name="connsiteX239" fmla="*/ 630784 w 788968"/>
                <a:gd name="connsiteY239" fmla="*/ 283951 h 372084"/>
                <a:gd name="connsiteX240" fmla="*/ 627526 w 788968"/>
                <a:gd name="connsiteY240" fmla="*/ 289001 h 372084"/>
                <a:gd name="connsiteX241" fmla="*/ 616285 w 788968"/>
                <a:gd name="connsiteY241" fmla="*/ 301545 h 372084"/>
                <a:gd name="connsiteX242" fmla="*/ 609606 w 788968"/>
                <a:gd name="connsiteY242" fmla="*/ 312460 h 372084"/>
                <a:gd name="connsiteX243" fmla="*/ 606022 w 788968"/>
                <a:gd name="connsiteY243" fmla="*/ 320931 h 372084"/>
                <a:gd name="connsiteX244" fmla="*/ 601786 w 788968"/>
                <a:gd name="connsiteY244" fmla="*/ 320931 h 372084"/>
                <a:gd name="connsiteX245" fmla="*/ 593641 w 788968"/>
                <a:gd name="connsiteY245" fmla="*/ 323375 h 372084"/>
                <a:gd name="connsiteX246" fmla="*/ 587613 w 788968"/>
                <a:gd name="connsiteY246" fmla="*/ 323863 h 372084"/>
                <a:gd name="connsiteX247" fmla="*/ 580771 w 788968"/>
                <a:gd name="connsiteY247" fmla="*/ 328425 h 372084"/>
                <a:gd name="connsiteX248" fmla="*/ 573766 w 788968"/>
                <a:gd name="connsiteY248" fmla="*/ 333638 h 372084"/>
                <a:gd name="connsiteX249" fmla="*/ 566598 w 788968"/>
                <a:gd name="connsiteY249" fmla="*/ 333964 h 372084"/>
                <a:gd name="connsiteX250" fmla="*/ 556009 w 788968"/>
                <a:gd name="connsiteY250" fmla="*/ 335104 h 372084"/>
                <a:gd name="connsiteX251" fmla="*/ 548841 w 788968"/>
                <a:gd name="connsiteY251" fmla="*/ 337385 h 372084"/>
                <a:gd name="connsiteX252" fmla="*/ 540532 w 788968"/>
                <a:gd name="connsiteY252" fmla="*/ 339828 h 372084"/>
                <a:gd name="connsiteX253" fmla="*/ 522287 w 788968"/>
                <a:gd name="connsiteY253" fmla="*/ 346345 h 372084"/>
                <a:gd name="connsiteX254" fmla="*/ 507951 w 788968"/>
                <a:gd name="connsiteY254" fmla="*/ 351069 h 372084"/>
                <a:gd name="connsiteX255" fmla="*/ 500783 w 788968"/>
                <a:gd name="connsiteY255" fmla="*/ 359215 h 372084"/>
                <a:gd name="connsiteX256" fmla="*/ 489705 w 788968"/>
                <a:gd name="connsiteY256" fmla="*/ 368012 h 372084"/>
                <a:gd name="connsiteX257" fmla="*/ 485143 w 788968"/>
                <a:gd name="connsiteY257" fmla="*/ 371922 h 372084"/>
                <a:gd name="connsiteX258" fmla="*/ 478953 w 788968"/>
                <a:gd name="connsiteY258" fmla="*/ 372084 h 372084"/>
                <a:gd name="connsiteX259" fmla="*/ 471459 w 788968"/>
                <a:gd name="connsiteY259" fmla="*/ 369804 h 372084"/>
                <a:gd name="connsiteX260" fmla="*/ 471459 w 788968"/>
                <a:gd name="connsiteY260" fmla="*/ 367034 h 372084"/>
                <a:gd name="connsiteX261" fmla="*/ 470482 w 788968"/>
                <a:gd name="connsiteY261" fmla="*/ 363287 h 372084"/>
                <a:gd name="connsiteX262" fmla="*/ 459730 w 788968"/>
                <a:gd name="connsiteY262" fmla="*/ 366383 h 372084"/>
                <a:gd name="connsiteX263" fmla="*/ 450770 w 788968"/>
                <a:gd name="connsiteY263" fmla="*/ 367686 h 372084"/>
                <a:gd name="connsiteX264" fmla="*/ 441646 w 788968"/>
                <a:gd name="connsiteY264" fmla="*/ 362799 h 372084"/>
                <a:gd name="connsiteX265" fmla="*/ 434316 w 788968"/>
                <a:gd name="connsiteY265" fmla="*/ 362147 h 372084"/>
                <a:gd name="connsiteX266" fmla="*/ 418025 w 788968"/>
                <a:gd name="connsiteY266" fmla="*/ 356119 h 372084"/>
                <a:gd name="connsiteX267" fmla="*/ 402060 w 788968"/>
                <a:gd name="connsiteY267" fmla="*/ 348626 h 372084"/>
                <a:gd name="connsiteX268" fmla="*/ 393589 w 788968"/>
                <a:gd name="connsiteY268" fmla="*/ 340317 h 372084"/>
                <a:gd name="connsiteX269" fmla="*/ 386746 w 788968"/>
                <a:gd name="connsiteY269" fmla="*/ 340154 h 372084"/>
                <a:gd name="connsiteX270" fmla="*/ 368337 w 788968"/>
                <a:gd name="connsiteY270" fmla="*/ 338199 h 372084"/>
                <a:gd name="connsiteX271" fmla="*/ 352861 w 788968"/>
                <a:gd name="connsiteY271" fmla="*/ 338525 h 372084"/>
                <a:gd name="connsiteX272" fmla="*/ 348789 w 788968"/>
                <a:gd name="connsiteY272" fmla="*/ 337711 h 372084"/>
                <a:gd name="connsiteX273" fmla="*/ 346019 w 788968"/>
                <a:gd name="connsiteY273" fmla="*/ 339340 h 372084"/>
                <a:gd name="connsiteX274" fmla="*/ 344553 w 788968"/>
                <a:gd name="connsiteY274" fmla="*/ 342272 h 372084"/>
                <a:gd name="connsiteX275" fmla="*/ 335919 w 788968"/>
                <a:gd name="connsiteY275" fmla="*/ 345367 h 372084"/>
                <a:gd name="connsiteX276" fmla="*/ 323863 w 788968"/>
                <a:gd name="connsiteY276" fmla="*/ 346671 h 372084"/>
                <a:gd name="connsiteX277" fmla="*/ 302685 w 788968"/>
                <a:gd name="connsiteY277" fmla="*/ 344879 h 372084"/>
                <a:gd name="connsiteX278" fmla="*/ 287209 w 788968"/>
                <a:gd name="connsiteY278" fmla="*/ 345693 h 372084"/>
                <a:gd name="connsiteX279" fmla="*/ 275479 w 788968"/>
                <a:gd name="connsiteY279" fmla="*/ 345042 h 372084"/>
                <a:gd name="connsiteX280" fmla="*/ 265216 w 788968"/>
                <a:gd name="connsiteY280" fmla="*/ 346182 h 372084"/>
                <a:gd name="connsiteX281" fmla="*/ 260166 w 788968"/>
                <a:gd name="connsiteY281" fmla="*/ 346671 h 372084"/>
                <a:gd name="connsiteX282" fmla="*/ 255768 w 788968"/>
                <a:gd name="connsiteY282" fmla="*/ 345205 h 372084"/>
                <a:gd name="connsiteX283" fmla="*/ 249903 w 788968"/>
                <a:gd name="connsiteY283" fmla="*/ 334127 h 372084"/>
                <a:gd name="connsiteX284" fmla="*/ 247785 w 788968"/>
                <a:gd name="connsiteY284" fmla="*/ 328588 h 372084"/>
                <a:gd name="connsiteX285" fmla="*/ 242409 w 788968"/>
                <a:gd name="connsiteY285" fmla="*/ 320605 h 372084"/>
                <a:gd name="connsiteX286" fmla="*/ 238010 w 788968"/>
                <a:gd name="connsiteY286" fmla="*/ 315392 h 372084"/>
                <a:gd name="connsiteX287" fmla="*/ 235078 w 788968"/>
                <a:gd name="connsiteY287" fmla="*/ 307898 h 372084"/>
                <a:gd name="connsiteX288" fmla="*/ 234589 w 788968"/>
                <a:gd name="connsiteY288" fmla="*/ 304803 h 372084"/>
                <a:gd name="connsiteX289" fmla="*/ 231005 w 788968"/>
                <a:gd name="connsiteY289" fmla="*/ 300730 h 372084"/>
                <a:gd name="connsiteX290" fmla="*/ 227095 w 788968"/>
                <a:gd name="connsiteY290" fmla="*/ 299427 h 372084"/>
                <a:gd name="connsiteX291" fmla="*/ 224652 w 788968"/>
                <a:gd name="connsiteY291" fmla="*/ 298938 h 372084"/>
                <a:gd name="connsiteX292" fmla="*/ 223511 w 788968"/>
                <a:gd name="connsiteY292" fmla="*/ 296169 h 372084"/>
                <a:gd name="connsiteX293" fmla="*/ 222860 w 788968"/>
                <a:gd name="connsiteY293" fmla="*/ 291607 h 372084"/>
                <a:gd name="connsiteX294" fmla="*/ 221068 w 788968"/>
                <a:gd name="connsiteY294" fmla="*/ 290793 h 372084"/>
                <a:gd name="connsiteX295" fmla="*/ 218787 w 788968"/>
                <a:gd name="connsiteY295" fmla="*/ 291444 h 372084"/>
                <a:gd name="connsiteX296" fmla="*/ 211619 w 788968"/>
                <a:gd name="connsiteY296" fmla="*/ 291444 h 372084"/>
                <a:gd name="connsiteX297" fmla="*/ 205428 w 788968"/>
                <a:gd name="connsiteY297" fmla="*/ 287860 h 372084"/>
                <a:gd name="connsiteX298" fmla="*/ 195980 w 788968"/>
                <a:gd name="connsiteY298" fmla="*/ 281181 h 372084"/>
                <a:gd name="connsiteX299" fmla="*/ 192884 w 788968"/>
                <a:gd name="connsiteY299" fmla="*/ 280367 h 372084"/>
                <a:gd name="connsiteX300" fmla="*/ 190604 w 788968"/>
                <a:gd name="connsiteY300" fmla="*/ 280530 h 372084"/>
                <a:gd name="connsiteX301" fmla="*/ 186042 w 788968"/>
                <a:gd name="connsiteY301" fmla="*/ 279715 h 372084"/>
                <a:gd name="connsiteX302" fmla="*/ 183925 w 788968"/>
                <a:gd name="connsiteY302" fmla="*/ 276783 h 372084"/>
                <a:gd name="connsiteX303" fmla="*/ 175942 w 788968"/>
                <a:gd name="connsiteY303" fmla="*/ 271570 h 372084"/>
                <a:gd name="connsiteX304" fmla="*/ 158511 w 788968"/>
                <a:gd name="connsiteY304" fmla="*/ 267660 h 372084"/>
                <a:gd name="connsiteX305" fmla="*/ 156882 w 788968"/>
                <a:gd name="connsiteY305" fmla="*/ 268148 h 372084"/>
                <a:gd name="connsiteX306" fmla="*/ 154601 w 788968"/>
                <a:gd name="connsiteY306" fmla="*/ 269940 h 372084"/>
                <a:gd name="connsiteX307" fmla="*/ 147759 w 788968"/>
                <a:gd name="connsiteY307" fmla="*/ 270755 h 372084"/>
                <a:gd name="connsiteX308" fmla="*/ 136681 w 788968"/>
                <a:gd name="connsiteY308" fmla="*/ 270918 h 372084"/>
                <a:gd name="connsiteX309" fmla="*/ 111430 w 788968"/>
                <a:gd name="connsiteY309" fmla="*/ 265542 h 372084"/>
                <a:gd name="connsiteX310" fmla="*/ 105891 w 788968"/>
                <a:gd name="connsiteY310" fmla="*/ 262284 h 372084"/>
                <a:gd name="connsiteX311" fmla="*/ 100189 w 788968"/>
                <a:gd name="connsiteY311" fmla="*/ 253650 h 372084"/>
                <a:gd name="connsiteX312" fmla="*/ 99375 w 788968"/>
                <a:gd name="connsiteY312" fmla="*/ 249577 h 372084"/>
                <a:gd name="connsiteX313" fmla="*/ 99375 w 788968"/>
                <a:gd name="connsiteY313" fmla="*/ 245830 h 372084"/>
                <a:gd name="connsiteX314" fmla="*/ 101004 w 788968"/>
                <a:gd name="connsiteY314" fmla="*/ 243060 h 372084"/>
                <a:gd name="connsiteX315" fmla="*/ 104588 w 788968"/>
                <a:gd name="connsiteY315" fmla="*/ 240128 h 372084"/>
                <a:gd name="connsiteX316" fmla="*/ 106217 w 788968"/>
                <a:gd name="connsiteY316" fmla="*/ 235567 h 372084"/>
                <a:gd name="connsiteX317" fmla="*/ 103284 w 788968"/>
                <a:gd name="connsiteY317" fmla="*/ 232146 h 372084"/>
                <a:gd name="connsiteX318" fmla="*/ 101981 w 788968"/>
                <a:gd name="connsiteY318" fmla="*/ 226118 h 372084"/>
                <a:gd name="connsiteX319" fmla="*/ 103121 w 788968"/>
                <a:gd name="connsiteY319" fmla="*/ 222860 h 372084"/>
                <a:gd name="connsiteX320" fmla="*/ 102796 w 788968"/>
                <a:gd name="connsiteY320" fmla="*/ 217158 h 372084"/>
                <a:gd name="connsiteX321" fmla="*/ 100678 w 788968"/>
                <a:gd name="connsiteY321" fmla="*/ 214063 h 372084"/>
                <a:gd name="connsiteX322" fmla="*/ 97582 w 788968"/>
                <a:gd name="connsiteY322" fmla="*/ 208850 h 372084"/>
                <a:gd name="connsiteX323" fmla="*/ 93836 w 788968"/>
                <a:gd name="connsiteY323" fmla="*/ 206895 h 372084"/>
                <a:gd name="connsiteX324" fmla="*/ 89763 w 788968"/>
                <a:gd name="connsiteY324" fmla="*/ 203636 h 372084"/>
                <a:gd name="connsiteX325" fmla="*/ 88134 w 788968"/>
                <a:gd name="connsiteY325" fmla="*/ 199075 h 372084"/>
                <a:gd name="connsiteX326" fmla="*/ 85364 w 788968"/>
                <a:gd name="connsiteY326" fmla="*/ 195328 h 372084"/>
                <a:gd name="connsiteX327" fmla="*/ 83898 w 788968"/>
                <a:gd name="connsiteY327" fmla="*/ 190767 h 372084"/>
                <a:gd name="connsiteX328" fmla="*/ 83246 w 788968"/>
                <a:gd name="connsiteY328" fmla="*/ 186694 h 372084"/>
                <a:gd name="connsiteX329" fmla="*/ 80477 w 788968"/>
                <a:gd name="connsiteY329" fmla="*/ 182621 h 372084"/>
                <a:gd name="connsiteX330" fmla="*/ 76404 w 788968"/>
                <a:gd name="connsiteY330" fmla="*/ 179363 h 372084"/>
                <a:gd name="connsiteX331" fmla="*/ 72495 w 788968"/>
                <a:gd name="connsiteY331" fmla="*/ 178223 h 372084"/>
                <a:gd name="connsiteX332" fmla="*/ 70539 w 788968"/>
                <a:gd name="connsiteY332" fmla="*/ 175127 h 372084"/>
                <a:gd name="connsiteX333" fmla="*/ 66304 w 788968"/>
                <a:gd name="connsiteY333" fmla="*/ 173498 h 372084"/>
                <a:gd name="connsiteX334" fmla="*/ 62557 w 788968"/>
                <a:gd name="connsiteY334" fmla="*/ 173824 h 372084"/>
                <a:gd name="connsiteX335" fmla="*/ 59950 w 788968"/>
                <a:gd name="connsiteY335" fmla="*/ 176268 h 372084"/>
                <a:gd name="connsiteX336" fmla="*/ 57181 w 788968"/>
                <a:gd name="connsiteY336" fmla="*/ 177408 h 372084"/>
                <a:gd name="connsiteX337" fmla="*/ 54575 w 788968"/>
                <a:gd name="connsiteY337" fmla="*/ 176431 h 372084"/>
                <a:gd name="connsiteX338" fmla="*/ 50502 w 788968"/>
                <a:gd name="connsiteY338" fmla="*/ 171869 h 372084"/>
                <a:gd name="connsiteX339" fmla="*/ 49198 w 788968"/>
                <a:gd name="connsiteY339" fmla="*/ 169588 h 372084"/>
                <a:gd name="connsiteX340" fmla="*/ 44474 w 788968"/>
                <a:gd name="connsiteY340" fmla="*/ 169588 h 372084"/>
                <a:gd name="connsiteX341" fmla="*/ 39261 w 788968"/>
                <a:gd name="connsiteY341" fmla="*/ 172032 h 372084"/>
                <a:gd name="connsiteX342" fmla="*/ 37306 w 788968"/>
                <a:gd name="connsiteY342" fmla="*/ 174313 h 372084"/>
                <a:gd name="connsiteX343" fmla="*/ 36491 w 788968"/>
                <a:gd name="connsiteY343" fmla="*/ 177245 h 372084"/>
                <a:gd name="connsiteX344" fmla="*/ 34048 w 788968"/>
                <a:gd name="connsiteY344" fmla="*/ 177408 h 372084"/>
                <a:gd name="connsiteX345" fmla="*/ 28998 w 788968"/>
                <a:gd name="connsiteY345" fmla="*/ 174150 h 372084"/>
                <a:gd name="connsiteX346" fmla="*/ 27695 w 788968"/>
                <a:gd name="connsiteY346" fmla="*/ 170240 h 372084"/>
                <a:gd name="connsiteX347" fmla="*/ 27532 w 788968"/>
                <a:gd name="connsiteY347" fmla="*/ 168611 h 372084"/>
                <a:gd name="connsiteX348" fmla="*/ 23948 w 788968"/>
                <a:gd name="connsiteY348" fmla="*/ 164050 h 372084"/>
                <a:gd name="connsiteX349" fmla="*/ 18898 w 788968"/>
                <a:gd name="connsiteY349" fmla="*/ 160954 h 372084"/>
                <a:gd name="connsiteX350" fmla="*/ 14988 w 788968"/>
                <a:gd name="connsiteY350" fmla="*/ 156556 h 372084"/>
                <a:gd name="connsiteX351" fmla="*/ 12055 w 788968"/>
                <a:gd name="connsiteY351" fmla="*/ 155252 h 372084"/>
                <a:gd name="connsiteX352" fmla="*/ 9449 w 788968"/>
                <a:gd name="connsiteY352" fmla="*/ 152809 h 372084"/>
                <a:gd name="connsiteX353" fmla="*/ 8145 w 788968"/>
                <a:gd name="connsiteY353" fmla="*/ 149551 h 372084"/>
                <a:gd name="connsiteX354" fmla="*/ 7982 w 788968"/>
                <a:gd name="connsiteY354" fmla="*/ 146292 h 372084"/>
                <a:gd name="connsiteX355" fmla="*/ 6516 w 788968"/>
                <a:gd name="connsiteY355" fmla="*/ 143523 h 372084"/>
                <a:gd name="connsiteX356" fmla="*/ 5702 w 788968"/>
                <a:gd name="connsiteY356" fmla="*/ 144012 h 372084"/>
                <a:gd name="connsiteX357" fmla="*/ 5376 w 788968"/>
                <a:gd name="connsiteY357" fmla="*/ 145478 h 372084"/>
                <a:gd name="connsiteX358" fmla="*/ 3747 w 788968"/>
                <a:gd name="connsiteY358" fmla="*/ 145967 h 372084"/>
                <a:gd name="connsiteX359" fmla="*/ 1792 w 788968"/>
                <a:gd name="connsiteY359" fmla="*/ 142546 h 372084"/>
                <a:gd name="connsiteX360" fmla="*/ 326 w 788968"/>
                <a:gd name="connsiteY360" fmla="*/ 141079 h 372084"/>
                <a:gd name="connsiteX361" fmla="*/ 489 w 788968"/>
                <a:gd name="connsiteY361" fmla="*/ 135377 h 372084"/>
                <a:gd name="connsiteX362" fmla="*/ 0 w 788968"/>
                <a:gd name="connsiteY362" fmla="*/ 132445 h 3720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</a:cxnLst>
              <a:rect l="l" t="t" r="r" b="b"/>
              <a:pathLst>
                <a:path w="788968" h="372084">
                  <a:moveTo>
                    <a:pt x="0" y="132445"/>
                  </a:moveTo>
                  <a:lnTo>
                    <a:pt x="3910" y="122996"/>
                  </a:lnTo>
                  <a:lnTo>
                    <a:pt x="8634" y="120553"/>
                  </a:lnTo>
                  <a:lnTo>
                    <a:pt x="20364" y="121204"/>
                  </a:lnTo>
                  <a:lnTo>
                    <a:pt x="21993" y="118598"/>
                  </a:lnTo>
                  <a:lnTo>
                    <a:pt x="26391" y="113711"/>
                  </a:lnTo>
                  <a:lnTo>
                    <a:pt x="34537" y="110778"/>
                  </a:lnTo>
                  <a:lnTo>
                    <a:pt x="35025" y="105728"/>
                  </a:lnTo>
                  <a:lnTo>
                    <a:pt x="36818" y="100515"/>
                  </a:lnTo>
                  <a:lnTo>
                    <a:pt x="43334" y="97420"/>
                  </a:lnTo>
                  <a:lnTo>
                    <a:pt x="43660" y="93836"/>
                  </a:lnTo>
                  <a:lnTo>
                    <a:pt x="47895" y="89763"/>
                  </a:lnTo>
                  <a:lnTo>
                    <a:pt x="52131" y="88623"/>
                  </a:lnTo>
                  <a:lnTo>
                    <a:pt x="55552" y="83735"/>
                  </a:lnTo>
                  <a:lnTo>
                    <a:pt x="57833" y="81618"/>
                  </a:lnTo>
                  <a:lnTo>
                    <a:pt x="55063" y="79663"/>
                  </a:lnTo>
                  <a:lnTo>
                    <a:pt x="54900" y="75916"/>
                  </a:lnTo>
                  <a:lnTo>
                    <a:pt x="56529" y="73798"/>
                  </a:lnTo>
                  <a:lnTo>
                    <a:pt x="65001" y="76241"/>
                  </a:lnTo>
                  <a:lnTo>
                    <a:pt x="68422" y="74287"/>
                  </a:lnTo>
                  <a:lnTo>
                    <a:pt x="71028" y="67770"/>
                  </a:lnTo>
                  <a:lnTo>
                    <a:pt x="75101" y="65978"/>
                  </a:lnTo>
                  <a:lnTo>
                    <a:pt x="84061" y="65001"/>
                  </a:lnTo>
                  <a:lnTo>
                    <a:pt x="89111" y="63697"/>
                  </a:lnTo>
                  <a:lnTo>
                    <a:pt x="93347" y="63535"/>
                  </a:lnTo>
                  <a:lnTo>
                    <a:pt x="99212" y="63860"/>
                  </a:lnTo>
                  <a:lnTo>
                    <a:pt x="103121" y="61417"/>
                  </a:lnTo>
                  <a:lnTo>
                    <a:pt x="104425" y="61580"/>
                  </a:lnTo>
                  <a:lnTo>
                    <a:pt x="107520" y="65815"/>
                  </a:lnTo>
                  <a:lnTo>
                    <a:pt x="108171" y="68748"/>
                  </a:lnTo>
                  <a:lnTo>
                    <a:pt x="111104" y="72006"/>
                  </a:lnTo>
                  <a:lnTo>
                    <a:pt x="116317" y="71517"/>
                  </a:lnTo>
                  <a:lnTo>
                    <a:pt x="119087" y="70703"/>
                  </a:lnTo>
                  <a:lnTo>
                    <a:pt x="123811" y="71028"/>
                  </a:lnTo>
                  <a:lnTo>
                    <a:pt x="127558" y="68422"/>
                  </a:lnTo>
                  <a:lnTo>
                    <a:pt x="135703" y="67933"/>
                  </a:lnTo>
                  <a:lnTo>
                    <a:pt x="137332" y="72006"/>
                  </a:lnTo>
                  <a:lnTo>
                    <a:pt x="138310" y="76241"/>
                  </a:lnTo>
                  <a:lnTo>
                    <a:pt x="139776" y="79500"/>
                  </a:lnTo>
                  <a:lnTo>
                    <a:pt x="152320" y="86668"/>
                  </a:lnTo>
                  <a:lnTo>
                    <a:pt x="157044" y="90577"/>
                  </a:lnTo>
                  <a:lnTo>
                    <a:pt x="166330" y="94813"/>
                  </a:lnTo>
                  <a:lnTo>
                    <a:pt x="169588" y="92858"/>
                  </a:lnTo>
                  <a:lnTo>
                    <a:pt x="174802" y="91066"/>
                  </a:lnTo>
                  <a:lnTo>
                    <a:pt x="180341" y="86993"/>
                  </a:lnTo>
                  <a:lnTo>
                    <a:pt x="184739" y="86505"/>
                  </a:lnTo>
                  <a:lnTo>
                    <a:pt x="189463" y="87808"/>
                  </a:lnTo>
                  <a:lnTo>
                    <a:pt x="193373" y="90577"/>
                  </a:lnTo>
                  <a:lnTo>
                    <a:pt x="197446" y="89274"/>
                  </a:lnTo>
                  <a:lnTo>
                    <a:pt x="208524" y="89437"/>
                  </a:lnTo>
                  <a:lnTo>
                    <a:pt x="212759" y="91392"/>
                  </a:lnTo>
                  <a:lnTo>
                    <a:pt x="217484" y="90903"/>
                  </a:lnTo>
                  <a:lnTo>
                    <a:pt x="218624" y="89600"/>
                  </a:lnTo>
                  <a:lnTo>
                    <a:pt x="223511" y="90577"/>
                  </a:lnTo>
                  <a:lnTo>
                    <a:pt x="232146" y="89437"/>
                  </a:lnTo>
                  <a:lnTo>
                    <a:pt x="236870" y="81618"/>
                  </a:lnTo>
                  <a:lnTo>
                    <a:pt x="234100" y="78522"/>
                  </a:lnTo>
                  <a:lnTo>
                    <a:pt x="228887" y="75101"/>
                  </a:lnTo>
                  <a:lnTo>
                    <a:pt x="229213" y="67281"/>
                  </a:lnTo>
                  <a:lnTo>
                    <a:pt x="230679" y="58973"/>
                  </a:lnTo>
                  <a:lnTo>
                    <a:pt x="229702" y="55715"/>
                  </a:lnTo>
                  <a:lnTo>
                    <a:pt x="224978" y="54086"/>
                  </a:lnTo>
                  <a:lnTo>
                    <a:pt x="222371" y="50665"/>
                  </a:lnTo>
                  <a:lnTo>
                    <a:pt x="214714" y="48710"/>
                  </a:lnTo>
                  <a:lnTo>
                    <a:pt x="212922" y="42519"/>
                  </a:lnTo>
                  <a:lnTo>
                    <a:pt x="213085" y="29975"/>
                  </a:lnTo>
                  <a:lnTo>
                    <a:pt x="218298" y="23948"/>
                  </a:lnTo>
                  <a:lnTo>
                    <a:pt x="218298" y="20201"/>
                  </a:lnTo>
                  <a:lnTo>
                    <a:pt x="220905" y="15965"/>
                  </a:lnTo>
                  <a:lnTo>
                    <a:pt x="225141" y="14499"/>
                  </a:lnTo>
                  <a:lnTo>
                    <a:pt x="227747" y="15313"/>
                  </a:lnTo>
                  <a:lnTo>
                    <a:pt x="229539" y="11078"/>
                  </a:lnTo>
                  <a:lnTo>
                    <a:pt x="228073" y="6842"/>
                  </a:lnTo>
                  <a:lnTo>
                    <a:pt x="228725" y="2932"/>
                  </a:lnTo>
                  <a:lnTo>
                    <a:pt x="231982" y="0"/>
                  </a:lnTo>
                  <a:lnTo>
                    <a:pt x="237033" y="326"/>
                  </a:lnTo>
                  <a:lnTo>
                    <a:pt x="240291" y="2606"/>
                  </a:lnTo>
                  <a:lnTo>
                    <a:pt x="247133" y="4398"/>
                  </a:lnTo>
                  <a:lnTo>
                    <a:pt x="253975" y="7657"/>
                  </a:lnTo>
                  <a:lnTo>
                    <a:pt x="254790" y="9286"/>
                  </a:lnTo>
                  <a:lnTo>
                    <a:pt x="260818" y="11404"/>
                  </a:lnTo>
                  <a:lnTo>
                    <a:pt x="267171" y="11892"/>
                  </a:lnTo>
                  <a:lnTo>
                    <a:pt x="276294" y="11729"/>
                  </a:lnTo>
                  <a:lnTo>
                    <a:pt x="279878" y="14010"/>
                  </a:lnTo>
                  <a:lnTo>
                    <a:pt x="282321" y="16291"/>
                  </a:lnTo>
                  <a:lnTo>
                    <a:pt x="288838" y="16943"/>
                  </a:lnTo>
                  <a:lnTo>
                    <a:pt x="292422" y="18735"/>
                  </a:lnTo>
                  <a:lnTo>
                    <a:pt x="296821" y="19386"/>
                  </a:lnTo>
                  <a:lnTo>
                    <a:pt x="307573" y="19060"/>
                  </a:lnTo>
                  <a:lnTo>
                    <a:pt x="311645" y="20689"/>
                  </a:lnTo>
                  <a:lnTo>
                    <a:pt x="313600" y="24762"/>
                  </a:lnTo>
                  <a:lnTo>
                    <a:pt x="313600" y="28020"/>
                  </a:lnTo>
                  <a:lnTo>
                    <a:pt x="316207" y="31604"/>
                  </a:lnTo>
                  <a:lnTo>
                    <a:pt x="316207" y="35188"/>
                  </a:lnTo>
                  <a:lnTo>
                    <a:pt x="318487" y="37958"/>
                  </a:lnTo>
                  <a:lnTo>
                    <a:pt x="321094" y="43660"/>
                  </a:lnTo>
                  <a:lnTo>
                    <a:pt x="320931" y="48384"/>
                  </a:lnTo>
                  <a:lnTo>
                    <a:pt x="324026" y="50991"/>
                  </a:lnTo>
                  <a:lnTo>
                    <a:pt x="327121" y="51153"/>
                  </a:lnTo>
                  <a:lnTo>
                    <a:pt x="332335" y="55715"/>
                  </a:lnTo>
                  <a:lnTo>
                    <a:pt x="333801" y="58484"/>
                  </a:lnTo>
                  <a:lnTo>
                    <a:pt x="341295" y="60602"/>
                  </a:lnTo>
                  <a:lnTo>
                    <a:pt x="349277" y="64675"/>
                  </a:lnTo>
                  <a:lnTo>
                    <a:pt x="352861" y="64838"/>
                  </a:lnTo>
                  <a:lnTo>
                    <a:pt x="354653" y="63209"/>
                  </a:lnTo>
                  <a:lnTo>
                    <a:pt x="362473" y="63535"/>
                  </a:lnTo>
                  <a:lnTo>
                    <a:pt x="365894" y="61091"/>
                  </a:lnTo>
                  <a:lnTo>
                    <a:pt x="369641" y="61254"/>
                  </a:lnTo>
                  <a:lnTo>
                    <a:pt x="372899" y="62394"/>
                  </a:lnTo>
                  <a:lnTo>
                    <a:pt x="376157" y="61417"/>
                  </a:lnTo>
                  <a:lnTo>
                    <a:pt x="380556" y="56529"/>
                  </a:lnTo>
                  <a:lnTo>
                    <a:pt x="387887" y="54249"/>
                  </a:lnTo>
                  <a:lnTo>
                    <a:pt x="397987" y="53597"/>
                  </a:lnTo>
                  <a:lnTo>
                    <a:pt x="403363" y="50339"/>
                  </a:lnTo>
                  <a:lnTo>
                    <a:pt x="409879" y="50176"/>
                  </a:lnTo>
                  <a:lnTo>
                    <a:pt x="416233" y="48221"/>
                  </a:lnTo>
                  <a:lnTo>
                    <a:pt x="422098" y="51479"/>
                  </a:lnTo>
                  <a:lnTo>
                    <a:pt x="429591" y="52294"/>
                  </a:lnTo>
                  <a:lnTo>
                    <a:pt x="439529" y="51968"/>
                  </a:lnTo>
                  <a:lnTo>
                    <a:pt x="444742" y="59462"/>
                  </a:lnTo>
                  <a:lnTo>
                    <a:pt x="453702" y="62883"/>
                  </a:lnTo>
                  <a:lnTo>
                    <a:pt x="461196" y="62720"/>
                  </a:lnTo>
                  <a:lnTo>
                    <a:pt x="466409" y="61417"/>
                  </a:lnTo>
                  <a:lnTo>
                    <a:pt x="469016" y="63860"/>
                  </a:lnTo>
                  <a:lnTo>
                    <a:pt x="471785" y="72006"/>
                  </a:lnTo>
                  <a:lnTo>
                    <a:pt x="476998" y="75427"/>
                  </a:lnTo>
                  <a:lnTo>
                    <a:pt x="480093" y="77219"/>
                  </a:lnTo>
                  <a:lnTo>
                    <a:pt x="483352" y="78033"/>
                  </a:lnTo>
                  <a:lnTo>
                    <a:pt x="487913" y="82758"/>
                  </a:lnTo>
                  <a:lnTo>
                    <a:pt x="491660" y="82921"/>
                  </a:lnTo>
                  <a:lnTo>
                    <a:pt x="503389" y="81943"/>
                  </a:lnTo>
                  <a:lnTo>
                    <a:pt x="513489" y="84876"/>
                  </a:lnTo>
                  <a:lnTo>
                    <a:pt x="528803" y="84713"/>
                  </a:lnTo>
                  <a:lnTo>
                    <a:pt x="535157" y="83735"/>
                  </a:lnTo>
                  <a:lnTo>
                    <a:pt x="537763" y="81618"/>
                  </a:lnTo>
                  <a:lnTo>
                    <a:pt x="543465" y="81618"/>
                  </a:lnTo>
                  <a:lnTo>
                    <a:pt x="548352" y="84224"/>
                  </a:lnTo>
                  <a:lnTo>
                    <a:pt x="551285" y="83898"/>
                  </a:lnTo>
                  <a:lnTo>
                    <a:pt x="555357" y="77708"/>
                  </a:lnTo>
                  <a:lnTo>
                    <a:pt x="564806" y="72169"/>
                  </a:lnTo>
                  <a:lnTo>
                    <a:pt x="570834" y="72332"/>
                  </a:lnTo>
                  <a:lnTo>
                    <a:pt x="574743" y="67444"/>
                  </a:lnTo>
                  <a:lnTo>
                    <a:pt x="578979" y="66956"/>
                  </a:lnTo>
                  <a:lnTo>
                    <a:pt x="590871" y="67119"/>
                  </a:lnTo>
                  <a:lnTo>
                    <a:pt x="595759" y="62557"/>
                  </a:lnTo>
                  <a:lnTo>
                    <a:pt x="597551" y="57507"/>
                  </a:lnTo>
                  <a:lnTo>
                    <a:pt x="597551" y="55389"/>
                  </a:lnTo>
                  <a:lnTo>
                    <a:pt x="600646" y="50176"/>
                  </a:lnTo>
                  <a:lnTo>
                    <a:pt x="606022" y="47732"/>
                  </a:lnTo>
                  <a:lnTo>
                    <a:pt x="609606" y="43985"/>
                  </a:lnTo>
                  <a:lnTo>
                    <a:pt x="611724" y="38610"/>
                  </a:lnTo>
                  <a:lnTo>
                    <a:pt x="615471" y="34863"/>
                  </a:lnTo>
                  <a:lnTo>
                    <a:pt x="620032" y="34863"/>
                  </a:lnTo>
                  <a:lnTo>
                    <a:pt x="621661" y="36329"/>
                  </a:lnTo>
                  <a:lnTo>
                    <a:pt x="629155" y="34374"/>
                  </a:lnTo>
                  <a:lnTo>
                    <a:pt x="633880" y="34863"/>
                  </a:lnTo>
                  <a:lnTo>
                    <a:pt x="640070" y="38772"/>
                  </a:lnTo>
                  <a:lnTo>
                    <a:pt x="643002" y="43171"/>
                  </a:lnTo>
                  <a:lnTo>
                    <a:pt x="646912" y="44637"/>
                  </a:lnTo>
                  <a:lnTo>
                    <a:pt x="651637" y="42031"/>
                  </a:lnTo>
                  <a:lnTo>
                    <a:pt x="654243" y="44148"/>
                  </a:lnTo>
                  <a:lnTo>
                    <a:pt x="658805" y="43985"/>
                  </a:lnTo>
                  <a:lnTo>
                    <a:pt x="664507" y="40564"/>
                  </a:lnTo>
                  <a:lnTo>
                    <a:pt x="664669" y="37958"/>
                  </a:lnTo>
                  <a:lnTo>
                    <a:pt x="673141" y="36492"/>
                  </a:lnTo>
                  <a:lnTo>
                    <a:pt x="682752" y="39424"/>
                  </a:lnTo>
                  <a:lnTo>
                    <a:pt x="685522" y="42519"/>
                  </a:lnTo>
                  <a:lnTo>
                    <a:pt x="679983" y="82106"/>
                  </a:lnTo>
                  <a:lnTo>
                    <a:pt x="681123" y="90740"/>
                  </a:lnTo>
                  <a:lnTo>
                    <a:pt x="678843" y="98071"/>
                  </a:lnTo>
                  <a:lnTo>
                    <a:pt x="679657" y="103284"/>
                  </a:lnTo>
                  <a:lnTo>
                    <a:pt x="676236" y="114199"/>
                  </a:lnTo>
                  <a:lnTo>
                    <a:pt x="680309" y="122345"/>
                  </a:lnTo>
                  <a:lnTo>
                    <a:pt x="692527" y="128372"/>
                  </a:lnTo>
                  <a:lnTo>
                    <a:pt x="700672" y="122019"/>
                  </a:lnTo>
                  <a:lnTo>
                    <a:pt x="710935" y="122019"/>
                  </a:lnTo>
                  <a:lnTo>
                    <a:pt x="722014" y="123811"/>
                  </a:lnTo>
                  <a:lnTo>
                    <a:pt x="727226" y="129024"/>
                  </a:lnTo>
                  <a:lnTo>
                    <a:pt x="733417" y="119412"/>
                  </a:lnTo>
                  <a:lnTo>
                    <a:pt x="732766" y="113873"/>
                  </a:lnTo>
                  <a:lnTo>
                    <a:pt x="733091" y="109149"/>
                  </a:lnTo>
                  <a:lnTo>
                    <a:pt x="740096" y="106868"/>
                  </a:lnTo>
                  <a:lnTo>
                    <a:pt x="742703" y="104751"/>
                  </a:lnTo>
                  <a:lnTo>
                    <a:pt x="754107" y="107683"/>
                  </a:lnTo>
                  <a:lnTo>
                    <a:pt x="760786" y="115828"/>
                  </a:lnTo>
                  <a:lnTo>
                    <a:pt x="770071" y="124300"/>
                  </a:lnTo>
                  <a:lnTo>
                    <a:pt x="777403" y="133423"/>
                  </a:lnTo>
                  <a:lnTo>
                    <a:pt x="786851" y="140265"/>
                  </a:lnTo>
                  <a:lnTo>
                    <a:pt x="787014" y="144663"/>
                  </a:lnTo>
                  <a:lnTo>
                    <a:pt x="788969" y="148247"/>
                  </a:lnTo>
                  <a:lnTo>
                    <a:pt x="788806" y="152646"/>
                  </a:lnTo>
                  <a:lnTo>
                    <a:pt x="786851" y="155578"/>
                  </a:lnTo>
                  <a:lnTo>
                    <a:pt x="786688" y="159162"/>
                  </a:lnTo>
                  <a:lnTo>
                    <a:pt x="784734" y="162257"/>
                  </a:lnTo>
                  <a:lnTo>
                    <a:pt x="780823" y="161280"/>
                  </a:lnTo>
                  <a:lnTo>
                    <a:pt x="778380" y="158836"/>
                  </a:lnTo>
                  <a:lnTo>
                    <a:pt x="773004" y="159651"/>
                  </a:lnTo>
                  <a:lnTo>
                    <a:pt x="770071" y="161606"/>
                  </a:lnTo>
                  <a:lnTo>
                    <a:pt x="762903" y="158511"/>
                  </a:lnTo>
                  <a:lnTo>
                    <a:pt x="758505" y="159488"/>
                  </a:lnTo>
                  <a:lnTo>
                    <a:pt x="753944" y="165842"/>
                  </a:lnTo>
                  <a:lnTo>
                    <a:pt x="746939" y="171380"/>
                  </a:lnTo>
                  <a:lnTo>
                    <a:pt x="742866" y="173987"/>
                  </a:lnTo>
                  <a:lnTo>
                    <a:pt x="738304" y="170729"/>
                  </a:lnTo>
                  <a:lnTo>
                    <a:pt x="736187" y="171218"/>
                  </a:lnTo>
                  <a:lnTo>
                    <a:pt x="736023" y="176105"/>
                  </a:lnTo>
                  <a:lnTo>
                    <a:pt x="734232" y="178874"/>
                  </a:lnTo>
                  <a:lnTo>
                    <a:pt x="730648" y="179363"/>
                  </a:lnTo>
                  <a:lnTo>
                    <a:pt x="727878" y="178874"/>
                  </a:lnTo>
                  <a:lnTo>
                    <a:pt x="725923" y="181969"/>
                  </a:lnTo>
                  <a:lnTo>
                    <a:pt x="721525" y="188812"/>
                  </a:lnTo>
                  <a:lnTo>
                    <a:pt x="720384" y="196468"/>
                  </a:lnTo>
                  <a:lnTo>
                    <a:pt x="720710" y="201844"/>
                  </a:lnTo>
                  <a:lnTo>
                    <a:pt x="717941" y="205103"/>
                  </a:lnTo>
                  <a:lnTo>
                    <a:pt x="712564" y="206406"/>
                  </a:lnTo>
                  <a:lnTo>
                    <a:pt x="701161" y="214226"/>
                  </a:lnTo>
                  <a:lnTo>
                    <a:pt x="695134" y="214226"/>
                  </a:lnTo>
                  <a:lnTo>
                    <a:pt x="688943" y="212922"/>
                  </a:lnTo>
                  <a:lnTo>
                    <a:pt x="686010" y="215040"/>
                  </a:lnTo>
                  <a:lnTo>
                    <a:pt x="681123" y="225303"/>
                  </a:lnTo>
                  <a:lnTo>
                    <a:pt x="676399" y="228724"/>
                  </a:lnTo>
                  <a:lnTo>
                    <a:pt x="670697" y="232960"/>
                  </a:lnTo>
                  <a:lnTo>
                    <a:pt x="667113" y="236707"/>
                  </a:lnTo>
                  <a:lnTo>
                    <a:pt x="665647" y="240780"/>
                  </a:lnTo>
                  <a:lnTo>
                    <a:pt x="663040" y="241268"/>
                  </a:lnTo>
                  <a:lnTo>
                    <a:pt x="657664" y="238662"/>
                  </a:lnTo>
                  <a:lnTo>
                    <a:pt x="651474" y="237359"/>
                  </a:lnTo>
                  <a:lnTo>
                    <a:pt x="643654" y="234589"/>
                  </a:lnTo>
                  <a:lnTo>
                    <a:pt x="637464" y="230191"/>
                  </a:lnTo>
                  <a:lnTo>
                    <a:pt x="631273" y="230028"/>
                  </a:lnTo>
                  <a:lnTo>
                    <a:pt x="621173" y="231983"/>
                  </a:lnTo>
                  <a:lnTo>
                    <a:pt x="615308" y="236544"/>
                  </a:lnTo>
                  <a:lnTo>
                    <a:pt x="611724" y="241757"/>
                  </a:lnTo>
                  <a:lnTo>
                    <a:pt x="611235" y="252998"/>
                  </a:lnTo>
                  <a:lnTo>
                    <a:pt x="611887" y="258537"/>
                  </a:lnTo>
                  <a:lnTo>
                    <a:pt x="611398" y="262121"/>
                  </a:lnTo>
                  <a:lnTo>
                    <a:pt x="622964" y="269615"/>
                  </a:lnTo>
                  <a:lnTo>
                    <a:pt x="633391" y="276131"/>
                  </a:lnTo>
                  <a:lnTo>
                    <a:pt x="633391" y="279226"/>
                  </a:lnTo>
                  <a:lnTo>
                    <a:pt x="630784" y="283951"/>
                  </a:lnTo>
                  <a:lnTo>
                    <a:pt x="627526" y="289001"/>
                  </a:lnTo>
                  <a:lnTo>
                    <a:pt x="616285" y="301545"/>
                  </a:lnTo>
                  <a:lnTo>
                    <a:pt x="609606" y="312460"/>
                  </a:lnTo>
                  <a:lnTo>
                    <a:pt x="606022" y="320931"/>
                  </a:lnTo>
                  <a:lnTo>
                    <a:pt x="601786" y="320931"/>
                  </a:lnTo>
                  <a:lnTo>
                    <a:pt x="593641" y="323375"/>
                  </a:lnTo>
                  <a:lnTo>
                    <a:pt x="587613" y="323863"/>
                  </a:lnTo>
                  <a:lnTo>
                    <a:pt x="580771" y="328425"/>
                  </a:lnTo>
                  <a:lnTo>
                    <a:pt x="573766" y="333638"/>
                  </a:lnTo>
                  <a:lnTo>
                    <a:pt x="566598" y="333964"/>
                  </a:lnTo>
                  <a:lnTo>
                    <a:pt x="556009" y="335104"/>
                  </a:lnTo>
                  <a:lnTo>
                    <a:pt x="548841" y="337385"/>
                  </a:lnTo>
                  <a:lnTo>
                    <a:pt x="540532" y="339828"/>
                  </a:lnTo>
                  <a:lnTo>
                    <a:pt x="522287" y="346345"/>
                  </a:lnTo>
                  <a:lnTo>
                    <a:pt x="507951" y="351069"/>
                  </a:lnTo>
                  <a:lnTo>
                    <a:pt x="500783" y="359215"/>
                  </a:lnTo>
                  <a:lnTo>
                    <a:pt x="489705" y="368012"/>
                  </a:lnTo>
                  <a:lnTo>
                    <a:pt x="485143" y="371922"/>
                  </a:lnTo>
                  <a:lnTo>
                    <a:pt x="478953" y="372084"/>
                  </a:lnTo>
                  <a:lnTo>
                    <a:pt x="471459" y="369804"/>
                  </a:lnTo>
                  <a:lnTo>
                    <a:pt x="471459" y="367034"/>
                  </a:lnTo>
                  <a:lnTo>
                    <a:pt x="470482" y="363287"/>
                  </a:lnTo>
                  <a:lnTo>
                    <a:pt x="459730" y="366383"/>
                  </a:lnTo>
                  <a:lnTo>
                    <a:pt x="450770" y="367686"/>
                  </a:lnTo>
                  <a:lnTo>
                    <a:pt x="441646" y="362799"/>
                  </a:lnTo>
                  <a:lnTo>
                    <a:pt x="434316" y="362147"/>
                  </a:lnTo>
                  <a:lnTo>
                    <a:pt x="418025" y="356119"/>
                  </a:lnTo>
                  <a:lnTo>
                    <a:pt x="402060" y="348626"/>
                  </a:lnTo>
                  <a:lnTo>
                    <a:pt x="393589" y="340317"/>
                  </a:lnTo>
                  <a:lnTo>
                    <a:pt x="386746" y="340154"/>
                  </a:lnTo>
                  <a:lnTo>
                    <a:pt x="368337" y="338199"/>
                  </a:lnTo>
                  <a:lnTo>
                    <a:pt x="352861" y="338525"/>
                  </a:lnTo>
                  <a:lnTo>
                    <a:pt x="348789" y="337711"/>
                  </a:lnTo>
                  <a:lnTo>
                    <a:pt x="346019" y="339340"/>
                  </a:lnTo>
                  <a:lnTo>
                    <a:pt x="344553" y="342272"/>
                  </a:lnTo>
                  <a:lnTo>
                    <a:pt x="335919" y="345367"/>
                  </a:lnTo>
                  <a:lnTo>
                    <a:pt x="323863" y="346671"/>
                  </a:lnTo>
                  <a:lnTo>
                    <a:pt x="302685" y="344879"/>
                  </a:lnTo>
                  <a:lnTo>
                    <a:pt x="287209" y="345693"/>
                  </a:lnTo>
                  <a:lnTo>
                    <a:pt x="275479" y="345042"/>
                  </a:lnTo>
                  <a:lnTo>
                    <a:pt x="265216" y="346182"/>
                  </a:lnTo>
                  <a:lnTo>
                    <a:pt x="260166" y="346671"/>
                  </a:lnTo>
                  <a:lnTo>
                    <a:pt x="255768" y="345205"/>
                  </a:lnTo>
                  <a:lnTo>
                    <a:pt x="249903" y="334127"/>
                  </a:lnTo>
                  <a:lnTo>
                    <a:pt x="247785" y="328588"/>
                  </a:lnTo>
                  <a:lnTo>
                    <a:pt x="242409" y="320605"/>
                  </a:lnTo>
                  <a:lnTo>
                    <a:pt x="238010" y="315392"/>
                  </a:lnTo>
                  <a:lnTo>
                    <a:pt x="235078" y="307898"/>
                  </a:lnTo>
                  <a:lnTo>
                    <a:pt x="234589" y="304803"/>
                  </a:lnTo>
                  <a:lnTo>
                    <a:pt x="231005" y="300730"/>
                  </a:lnTo>
                  <a:lnTo>
                    <a:pt x="227095" y="299427"/>
                  </a:lnTo>
                  <a:lnTo>
                    <a:pt x="224652" y="298938"/>
                  </a:lnTo>
                  <a:lnTo>
                    <a:pt x="223511" y="296169"/>
                  </a:lnTo>
                  <a:lnTo>
                    <a:pt x="222860" y="291607"/>
                  </a:lnTo>
                  <a:lnTo>
                    <a:pt x="221068" y="290793"/>
                  </a:lnTo>
                  <a:lnTo>
                    <a:pt x="218787" y="291444"/>
                  </a:lnTo>
                  <a:lnTo>
                    <a:pt x="211619" y="291444"/>
                  </a:lnTo>
                  <a:lnTo>
                    <a:pt x="205428" y="287860"/>
                  </a:lnTo>
                  <a:lnTo>
                    <a:pt x="195980" y="281181"/>
                  </a:lnTo>
                  <a:lnTo>
                    <a:pt x="192884" y="280367"/>
                  </a:lnTo>
                  <a:lnTo>
                    <a:pt x="190604" y="280530"/>
                  </a:lnTo>
                  <a:lnTo>
                    <a:pt x="186042" y="279715"/>
                  </a:lnTo>
                  <a:lnTo>
                    <a:pt x="183925" y="276783"/>
                  </a:lnTo>
                  <a:lnTo>
                    <a:pt x="175942" y="271570"/>
                  </a:lnTo>
                  <a:lnTo>
                    <a:pt x="158511" y="267660"/>
                  </a:lnTo>
                  <a:lnTo>
                    <a:pt x="156882" y="268148"/>
                  </a:lnTo>
                  <a:lnTo>
                    <a:pt x="154601" y="269940"/>
                  </a:lnTo>
                  <a:lnTo>
                    <a:pt x="147759" y="270755"/>
                  </a:lnTo>
                  <a:lnTo>
                    <a:pt x="136681" y="270918"/>
                  </a:lnTo>
                  <a:lnTo>
                    <a:pt x="111430" y="265542"/>
                  </a:lnTo>
                  <a:lnTo>
                    <a:pt x="105891" y="262284"/>
                  </a:lnTo>
                  <a:lnTo>
                    <a:pt x="100189" y="253650"/>
                  </a:lnTo>
                  <a:lnTo>
                    <a:pt x="99375" y="249577"/>
                  </a:lnTo>
                  <a:lnTo>
                    <a:pt x="99375" y="245830"/>
                  </a:lnTo>
                  <a:lnTo>
                    <a:pt x="101004" y="243060"/>
                  </a:lnTo>
                  <a:lnTo>
                    <a:pt x="104588" y="240128"/>
                  </a:lnTo>
                  <a:lnTo>
                    <a:pt x="106217" y="235567"/>
                  </a:lnTo>
                  <a:lnTo>
                    <a:pt x="103284" y="232146"/>
                  </a:lnTo>
                  <a:lnTo>
                    <a:pt x="101981" y="226118"/>
                  </a:lnTo>
                  <a:lnTo>
                    <a:pt x="103121" y="222860"/>
                  </a:lnTo>
                  <a:lnTo>
                    <a:pt x="102796" y="217158"/>
                  </a:lnTo>
                  <a:lnTo>
                    <a:pt x="100678" y="214063"/>
                  </a:lnTo>
                  <a:lnTo>
                    <a:pt x="97582" y="208850"/>
                  </a:lnTo>
                  <a:lnTo>
                    <a:pt x="93836" y="206895"/>
                  </a:lnTo>
                  <a:lnTo>
                    <a:pt x="89763" y="203636"/>
                  </a:lnTo>
                  <a:lnTo>
                    <a:pt x="88134" y="199075"/>
                  </a:lnTo>
                  <a:lnTo>
                    <a:pt x="85364" y="195328"/>
                  </a:lnTo>
                  <a:lnTo>
                    <a:pt x="83898" y="190767"/>
                  </a:lnTo>
                  <a:lnTo>
                    <a:pt x="83246" y="186694"/>
                  </a:lnTo>
                  <a:lnTo>
                    <a:pt x="80477" y="182621"/>
                  </a:lnTo>
                  <a:lnTo>
                    <a:pt x="76404" y="179363"/>
                  </a:lnTo>
                  <a:lnTo>
                    <a:pt x="72495" y="178223"/>
                  </a:lnTo>
                  <a:lnTo>
                    <a:pt x="70539" y="175127"/>
                  </a:lnTo>
                  <a:lnTo>
                    <a:pt x="66304" y="173498"/>
                  </a:lnTo>
                  <a:lnTo>
                    <a:pt x="62557" y="173824"/>
                  </a:lnTo>
                  <a:lnTo>
                    <a:pt x="59950" y="176268"/>
                  </a:lnTo>
                  <a:lnTo>
                    <a:pt x="57181" y="177408"/>
                  </a:lnTo>
                  <a:lnTo>
                    <a:pt x="54575" y="176431"/>
                  </a:lnTo>
                  <a:lnTo>
                    <a:pt x="50502" y="171869"/>
                  </a:lnTo>
                  <a:lnTo>
                    <a:pt x="49198" y="169588"/>
                  </a:lnTo>
                  <a:lnTo>
                    <a:pt x="44474" y="169588"/>
                  </a:lnTo>
                  <a:lnTo>
                    <a:pt x="39261" y="172032"/>
                  </a:lnTo>
                  <a:lnTo>
                    <a:pt x="37306" y="174313"/>
                  </a:lnTo>
                  <a:lnTo>
                    <a:pt x="36491" y="177245"/>
                  </a:lnTo>
                  <a:lnTo>
                    <a:pt x="34048" y="177408"/>
                  </a:lnTo>
                  <a:lnTo>
                    <a:pt x="28998" y="174150"/>
                  </a:lnTo>
                  <a:lnTo>
                    <a:pt x="27695" y="170240"/>
                  </a:lnTo>
                  <a:lnTo>
                    <a:pt x="27532" y="168611"/>
                  </a:lnTo>
                  <a:lnTo>
                    <a:pt x="23948" y="164050"/>
                  </a:lnTo>
                  <a:lnTo>
                    <a:pt x="18898" y="160954"/>
                  </a:lnTo>
                  <a:lnTo>
                    <a:pt x="14988" y="156556"/>
                  </a:lnTo>
                  <a:lnTo>
                    <a:pt x="12055" y="155252"/>
                  </a:lnTo>
                  <a:lnTo>
                    <a:pt x="9449" y="152809"/>
                  </a:lnTo>
                  <a:lnTo>
                    <a:pt x="8145" y="149551"/>
                  </a:lnTo>
                  <a:lnTo>
                    <a:pt x="7982" y="146292"/>
                  </a:lnTo>
                  <a:lnTo>
                    <a:pt x="6516" y="143523"/>
                  </a:lnTo>
                  <a:lnTo>
                    <a:pt x="5702" y="144012"/>
                  </a:lnTo>
                  <a:lnTo>
                    <a:pt x="5376" y="145478"/>
                  </a:lnTo>
                  <a:lnTo>
                    <a:pt x="3747" y="145967"/>
                  </a:lnTo>
                  <a:lnTo>
                    <a:pt x="1792" y="142546"/>
                  </a:lnTo>
                  <a:lnTo>
                    <a:pt x="326" y="141079"/>
                  </a:lnTo>
                  <a:lnTo>
                    <a:pt x="489" y="135377"/>
                  </a:lnTo>
                  <a:lnTo>
                    <a:pt x="0" y="132445"/>
                  </a:lnTo>
                  <a:close/>
                </a:path>
              </a:pathLst>
            </a:custGeom>
            <a:solidFill>
              <a:schemeClr val="bg2"/>
            </a:solidFill>
            <a:ln w="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7" name="Forma livre: Forma 196">
              <a:extLst>
                <a:ext uri="{FF2B5EF4-FFF2-40B4-BE49-F238E27FC236}">
                  <a16:creationId xmlns:a16="http://schemas.microsoft.com/office/drawing/2014/main" id="{9BFCBCA0-893C-FCBE-7641-2AA581303E5F}"/>
                </a:ext>
              </a:extLst>
            </p:cNvPr>
            <p:cNvSpPr/>
            <p:nvPr/>
          </p:nvSpPr>
          <p:spPr>
            <a:xfrm>
              <a:off x="7110786" y="3246764"/>
              <a:ext cx="1004715" cy="527610"/>
            </a:xfrm>
            <a:custGeom>
              <a:avLst/>
              <a:gdLst>
                <a:gd name="connsiteX0" fmla="*/ 74612 w 972241"/>
                <a:gd name="connsiteY0" fmla="*/ 342435 h 510557"/>
                <a:gd name="connsiteX1" fmla="*/ 68096 w 972241"/>
                <a:gd name="connsiteY1" fmla="*/ 338362 h 510557"/>
                <a:gd name="connsiteX2" fmla="*/ 61417 w 972241"/>
                <a:gd name="connsiteY2" fmla="*/ 340480 h 510557"/>
                <a:gd name="connsiteX3" fmla="*/ 51968 w 972241"/>
                <a:gd name="connsiteY3" fmla="*/ 334290 h 510557"/>
                <a:gd name="connsiteX4" fmla="*/ 52620 w 972241"/>
                <a:gd name="connsiteY4" fmla="*/ 330054 h 510557"/>
                <a:gd name="connsiteX5" fmla="*/ 62394 w 972241"/>
                <a:gd name="connsiteY5" fmla="*/ 330054 h 510557"/>
                <a:gd name="connsiteX6" fmla="*/ 51968 w 972241"/>
                <a:gd name="connsiteY6" fmla="*/ 312786 h 510557"/>
                <a:gd name="connsiteX7" fmla="*/ 40239 w 972241"/>
                <a:gd name="connsiteY7" fmla="*/ 301708 h 510557"/>
                <a:gd name="connsiteX8" fmla="*/ 23622 w 972241"/>
                <a:gd name="connsiteY8" fmla="*/ 296983 h 510557"/>
                <a:gd name="connsiteX9" fmla="*/ 21667 w 972241"/>
                <a:gd name="connsiteY9" fmla="*/ 300893 h 510557"/>
                <a:gd name="connsiteX10" fmla="*/ 13359 w 972241"/>
                <a:gd name="connsiteY10" fmla="*/ 293888 h 510557"/>
                <a:gd name="connsiteX11" fmla="*/ 14987 w 972241"/>
                <a:gd name="connsiteY11" fmla="*/ 289978 h 510557"/>
                <a:gd name="connsiteX12" fmla="*/ 10589 w 972241"/>
                <a:gd name="connsiteY12" fmla="*/ 282810 h 510557"/>
                <a:gd name="connsiteX13" fmla="*/ 0 w 972241"/>
                <a:gd name="connsiteY13" fmla="*/ 278738 h 510557"/>
                <a:gd name="connsiteX14" fmla="*/ 3910 w 972241"/>
                <a:gd name="connsiteY14" fmla="*/ 269940 h 510557"/>
                <a:gd name="connsiteX15" fmla="*/ 6191 w 972241"/>
                <a:gd name="connsiteY15" fmla="*/ 254138 h 510557"/>
                <a:gd name="connsiteX16" fmla="*/ 2280 w 972241"/>
                <a:gd name="connsiteY16" fmla="*/ 250228 h 510557"/>
                <a:gd name="connsiteX17" fmla="*/ 977 w 972241"/>
                <a:gd name="connsiteY17" fmla="*/ 237685 h 510557"/>
                <a:gd name="connsiteX18" fmla="*/ 5864 w 972241"/>
                <a:gd name="connsiteY18" fmla="*/ 235404 h 510557"/>
                <a:gd name="connsiteX19" fmla="*/ 12707 w 972241"/>
                <a:gd name="connsiteY19" fmla="*/ 226932 h 510557"/>
                <a:gd name="connsiteX20" fmla="*/ 12707 w 972241"/>
                <a:gd name="connsiteY20" fmla="*/ 220416 h 510557"/>
                <a:gd name="connsiteX21" fmla="*/ 16454 w 972241"/>
                <a:gd name="connsiteY21" fmla="*/ 215692 h 510557"/>
                <a:gd name="connsiteX22" fmla="*/ 30138 w 972241"/>
                <a:gd name="connsiteY22" fmla="*/ 227910 h 510557"/>
                <a:gd name="connsiteX23" fmla="*/ 31767 w 972241"/>
                <a:gd name="connsiteY23" fmla="*/ 232634 h 510557"/>
                <a:gd name="connsiteX24" fmla="*/ 39424 w 972241"/>
                <a:gd name="connsiteY24" fmla="*/ 237359 h 510557"/>
                <a:gd name="connsiteX25" fmla="*/ 47407 w 972241"/>
                <a:gd name="connsiteY25" fmla="*/ 236707 h 510557"/>
                <a:gd name="connsiteX26" fmla="*/ 46429 w 972241"/>
                <a:gd name="connsiteY26" fmla="*/ 228887 h 510557"/>
                <a:gd name="connsiteX27" fmla="*/ 49525 w 972241"/>
                <a:gd name="connsiteY27" fmla="*/ 226281 h 510557"/>
                <a:gd name="connsiteX28" fmla="*/ 43660 w 972241"/>
                <a:gd name="connsiteY28" fmla="*/ 205917 h 510557"/>
                <a:gd name="connsiteX29" fmla="*/ 51642 w 972241"/>
                <a:gd name="connsiteY29" fmla="*/ 204940 h 510557"/>
                <a:gd name="connsiteX30" fmla="*/ 59950 w 972241"/>
                <a:gd name="connsiteY30" fmla="*/ 204940 h 510557"/>
                <a:gd name="connsiteX31" fmla="*/ 59950 w 972241"/>
                <a:gd name="connsiteY31" fmla="*/ 198912 h 510557"/>
                <a:gd name="connsiteX32" fmla="*/ 56204 w 972241"/>
                <a:gd name="connsiteY32" fmla="*/ 194188 h 510557"/>
                <a:gd name="connsiteX33" fmla="*/ 57833 w 972241"/>
                <a:gd name="connsiteY33" fmla="*/ 188323 h 510557"/>
                <a:gd name="connsiteX34" fmla="*/ 65489 w 972241"/>
                <a:gd name="connsiteY34" fmla="*/ 183599 h 510557"/>
                <a:gd name="connsiteX35" fmla="*/ 68911 w 972241"/>
                <a:gd name="connsiteY35" fmla="*/ 183436 h 510557"/>
                <a:gd name="connsiteX36" fmla="*/ 71354 w 972241"/>
                <a:gd name="connsiteY36" fmla="*/ 176594 h 510557"/>
                <a:gd name="connsiteX37" fmla="*/ 75264 w 972241"/>
                <a:gd name="connsiteY37" fmla="*/ 173661 h 510557"/>
                <a:gd name="connsiteX38" fmla="*/ 80477 w 972241"/>
                <a:gd name="connsiteY38" fmla="*/ 175127 h 510557"/>
                <a:gd name="connsiteX39" fmla="*/ 81292 w 972241"/>
                <a:gd name="connsiteY39" fmla="*/ 170403 h 510557"/>
                <a:gd name="connsiteX40" fmla="*/ 79988 w 972241"/>
                <a:gd name="connsiteY40" fmla="*/ 165842 h 510557"/>
                <a:gd name="connsiteX41" fmla="*/ 81292 w 972241"/>
                <a:gd name="connsiteY41" fmla="*/ 162583 h 510557"/>
                <a:gd name="connsiteX42" fmla="*/ 88786 w 972241"/>
                <a:gd name="connsiteY42" fmla="*/ 166982 h 510557"/>
                <a:gd name="connsiteX43" fmla="*/ 94976 w 972241"/>
                <a:gd name="connsiteY43" fmla="*/ 169588 h 510557"/>
                <a:gd name="connsiteX44" fmla="*/ 94161 w 972241"/>
                <a:gd name="connsiteY44" fmla="*/ 172847 h 510557"/>
                <a:gd name="connsiteX45" fmla="*/ 90741 w 972241"/>
                <a:gd name="connsiteY45" fmla="*/ 177082 h 510557"/>
                <a:gd name="connsiteX46" fmla="*/ 93347 w 972241"/>
                <a:gd name="connsiteY46" fmla="*/ 179689 h 510557"/>
                <a:gd name="connsiteX47" fmla="*/ 98071 w 972241"/>
                <a:gd name="connsiteY47" fmla="*/ 176919 h 510557"/>
                <a:gd name="connsiteX48" fmla="*/ 99375 w 972241"/>
                <a:gd name="connsiteY48" fmla="*/ 173010 h 510557"/>
                <a:gd name="connsiteX49" fmla="*/ 102796 w 972241"/>
                <a:gd name="connsiteY49" fmla="*/ 170892 h 510557"/>
                <a:gd name="connsiteX50" fmla="*/ 102959 w 972241"/>
                <a:gd name="connsiteY50" fmla="*/ 175290 h 510557"/>
                <a:gd name="connsiteX51" fmla="*/ 106380 w 972241"/>
                <a:gd name="connsiteY51" fmla="*/ 171706 h 510557"/>
                <a:gd name="connsiteX52" fmla="*/ 107031 w 972241"/>
                <a:gd name="connsiteY52" fmla="*/ 168611 h 510557"/>
                <a:gd name="connsiteX53" fmla="*/ 112082 w 972241"/>
                <a:gd name="connsiteY53" fmla="*/ 168122 h 510557"/>
                <a:gd name="connsiteX54" fmla="*/ 117457 w 972241"/>
                <a:gd name="connsiteY54" fmla="*/ 164375 h 510557"/>
                <a:gd name="connsiteX55" fmla="*/ 122019 w 972241"/>
                <a:gd name="connsiteY55" fmla="*/ 164212 h 510557"/>
                <a:gd name="connsiteX56" fmla="*/ 124788 w 972241"/>
                <a:gd name="connsiteY56" fmla="*/ 171055 h 510557"/>
                <a:gd name="connsiteX57" fmla="*/ 130490 w 972241"/>
                <a:gd name="connsiteY57" fmla="*/ 174965 h 510557"/>
                <a:gd name="connsiteX58" fmla="*/ 139776 w 972241"/>
                <a:gd name="connsiteY58" fmla="*/ 171869 h 510557"/>
                <a:gd name="connsiteX59" fmla="*/ 144012 w 972241"/>
                <a:gd name="connsiteY59" fmla="*/ 172195 h 510557"/>
                <a:gd name="connsiteX60" fmla="*/ 146455 w 972241"/>
                <a:gd name="connsiteY60" fmla="*/ 175942 h 510557"/>
                <a:gd name="connsiteX61" fmla="*/ 149550 w 972241"/>
                <a:gd name="connsiteY61" fmla="*/ 176268 h 510557"/>
                <a:gd name="connsiteX62" fmla="*/ 154601 w 972241"/>
                <a:gd name="connsiteY62" fmla="*/ 182784 h 510557"/>
                <a:gd name="connsiteX63" fmla="*/ 160139 w 972241"/>
                <a:gd name="connsiteY63" fmla="*/ 182784 h 510557"/>
                <a:gd name="connsiteX64" fmla="*/ 164212 w 972241"/>
                <a:gd name="connsiteY64" fmla="*/ 188160 h 510557"/>
                <a:gd name="connsiteX65" fmla="*/ 171380 w 972241"/>
                <a:gd name="connsiteY65" fmla="*/ 193536 h 510557"/>
                <a:gd name="connsiteX66" fmla="*/ 175453 w 972241"/>
                <a:gd name="connsiteY66" fmla="*/ 193862 h 510557"/>
                <a:gd name="connsiteX67" fmla="*/ 177408 w 972241"/>
                <a:gd name="connsiteY67" fmla="*/ 197446 h 510557"/>
                <a:gd name="connsiteX68" fmla="*/ 177897 w 972241"/>
                <a:gd name="connsiteY68" fmla="*/ 203311 h 510557"/>
                <a:gd name="connsiteX69" fmla="*/ 180829 w 972241"/>
                <a:gd name="connsiteY69" fmla="*/ 204125 h 510557"/>
                <a:gd name="connsiteX70" fmla="*/ 184087 w 972241"/>
                <a:gd name="connsiteY70" fmla="*/ 199238 h 510557"/>
                <a:gd name="connsiteX71" fmla="*/ 183598 w 972241"/>
                <a:gd name="connsiteY71" fmla="*/ 192722 h 510557"/>
                <a:gd name="connsiteX72" fmla="*/ 188486 w 972241"/>
                <a:gd name="connsiteY72" fmla="*/ 189789 h 510557"/>
                <a:gd name="connsiteX73" fmla="*/ 192070 w 972241"/>
                <a:gd name="connsiteY73" fmla="*/ 194839 h 510557"/>
                <a:gd name="connsiteX74" fmla="*/ 201844 w 972241"/>
                <a:gd name="connsiteY74" fmla="*/ 196306 h 510557"/>
                <a:gd name="connsiteX75" fmla="*/ 204777 w 972241"/>
                <a:gd name="connsiteY75" fmla="*/ 201030 h 510557"/>
                <a:gd name="connsiteX76" fmla="*/ 208850 w 972241"/>
                <a:gd name="connsiteY76" fmla="*/ 202659 h 510557"/>
                <a:gd name="connsiteX77" fmla="*/ 215040 w 972241"/>
                <a:gd name="connsiteY77" fmla="*/ 197935 h 510557"/>
                <a:gd name="connsiteX78" fmla="*/ 215692 w 972241"/>
                <a:gd name="connsiteY78" fmla="*/ 188323 h 510557"/>
                <a:gd name="connsiteX79" fmla="*/ 220905 w 972241"/>
                <a:gd name="connsiteY79" fmla="*/ 187834 h 510557"/>
                <a:gd name="connsiteX80" fmla="*/ 221393 w 972241"/>
                <a:gd name="connsiteY80" fmla="*/ 182947 h 510557"/>
                <a:gd name="connsiteX81" fmla="*/ 225466 w 972241"/>
                <a:gd name="connsiteY81" fmla="*/ 181644 h 510557"/>
                <a:gd name="connsiteX82" fmla="*/ 228398 w 972241"/>
                <a:gd name="connsiteY82" fmla="*/ 185554 h 510557"/>
                <a:gd name="connsiteX83" fmla="*/ 230516 w 972241"/>
                <a:gd name="connsiteY83" fmla="*/ 181318 h 510557"/>
                <a:gd name="connsiteX84" fmla="*/ 236381 w 972241"/>
                <a:gd name="connsiteY84" fmla="*/ 180340 h 510557"/>
                <a:gd name="connsiteX85" fmla="*/ 243875 w 972241"/>
                <a:gd name="connsiteY85" fmla="*/ 187183 h 510557"/>
                <a:gd name="connsiteX86" fmla="*/ 245341 w 972241"/>
                <a:gd name="connsiteY86" fmla="*/ 189952 h 510557"/>
                <a:gd name="connsiteX87" fmla="*/ 252509 w 972241"/>
                <a:gd name="connsiteY87" fmla="*/ 189300 h 510557"/>
                <a:gd name="connsiteX88" fmla="*/ 251532 w 972241"/>
                <a:gd name="connsiteY88" fmla="*/ 182947 h 510557"/>
                <a:gd name="connsiteX89" fmla="*/ 255605 w 972241"/>
                <a:gd name="connsiteY89" fmla="*/ 181644 h 510557"/>
                <a:gd name="connsiteX90" fmla="*/ 261306 w 972241"/>
                <a:gd name="connsiteY90" fmla="*/ 182295 h 510557"/>
                <a:gd name="connsiteX91" fmla="*/ 264076 w 972241"/>
                <a:gd name="connsiteY91" fmla="*/ 178711 h 510557"/>
                <a:gd name="connsiteX92" fmla="*/ 270103 w 972241"/>
                <a:gd name="connsiteY92" fmla="*/ 182132 h 510557"/>
                <a:gd name="connsiteX93" fmla="*/ 273850 w 972241"/>
                <a:gd name="connsiteY93" fmla="*/ 183924 h 510557"/>
                <a:gd name="connsiteX94" fmla="*/ 272221 w 972241"/>
                <a:gd name="connsiteY94" fmla="*/ 187346 h 510557"/>
                <a:gd name="connsiteX95" fmla="*/ 268311 w 972241"/>
                <a:gd name="connsiteY95" fmla="*/ 189463 h 510557"/>
                <a:gd name="connsiteX96" fmla="*/ 273362 w 972241"/>
                <a:gd name="connsiteY96" fmla="*/ 195328 h 510557"/>
                <a:gd name="connsiteX97" fmla="*/ 277923 w 972241"/>
                <a:gd name="connsiteY97" fmla="*/ 196794 h 510557"/>
                <a:gd name="connsiteX98" fmla="*/ 280041 w 972241"/>
                <a:gd name="connsiteY98" fmla="*/ 195328 h 510557"/>
                <a:gd name="connsiteX99" fmla="*/ 283625 w 972241"/>
                <a:gd name="connsiteY99" fmla="*/ 197446 h 510557"/>
                <a:gd name="connsiteX100" fmla="*/ 291282 w 972241"/>
                <a:gd name="connsiteY100" fmla="*/ 196957 h 510557"/>
                <a:gd name="connsiteX101" fmla="*/ 300405 w 972241"/>
                <a:gd name="connsiteY101" fmla="*/ 202007 h 510557"/>
                <a:gd name="connsiteX102" fmla="*/ 306106 w 972241"/>
                <a:gd name="connsiteY102" fmla="*/ 200867 h 510557"/>
                <a:gd name="connsiteX103" fmla="*/ 308713 w 972241"/>
                <a:gd name="connsiteY103" fmla="*/ 195491 h 510557"/>
                <a:gd name="connsiteX104" fmla="*/ 309039 w 972241"/>
                <a:gd name="connsiteY104" fmla="*/ 190604 h 510557"/>
                <a:gd name="connsiteX105" fmla="*/ 311645 w 972241"/>
                <a:gd name="connsiteY105" fmla="*/ 188160 h 510557"/>
                <a:gd name="connsiteX106" fmla="*/ 319465 w 972241"/>
                <a:gd name="connsiteY106" fmla="*/ 192884 h 510557"/>
                <a:gd name="connsiteX107" fmla="*/ 326796 w 972241"/>
                <a:gd name="connsiteY107" fmla="*/ 193699 h 510557"/>
                <a:gd name="connsiteX108" fmla="*/ 335430 w 972241"/>
                <a:gd name="connsiteY108" fmla="*/ 190767 h 510557"/>
                <a:gd name="connsiteX109" fmla="*/ 337711 w 972241"/>
                <a:gd name="connsiteY109" fmla="*/ 186531 h 510557"/>
                <a:gd name="connsiteX110" fmla="*/ 336407 w 972241"/>
                <a:gd name="connsiteY110" fmla="*/ 166493 h 510557"/>
                <a:gd name="connsiteX111" fmla="*/ 334127 w 972241"/>
                <a:gd name="connsiteY111" fmla="*/ 164538 h 510557"/>
                <a:gd name="connsiteX112" fmla="*/ 326470 w 972241"/>
                <a:gd name="connsiteY112" fmla="*/ 164375 h 510557"/>
                <a:gd name="connsiteX113" fmla="*/ 321746 w 972241"/>
                <a:gd name="connsiteY113" fmla="*/ 160466 h 510557"/>
                <a:gd name="connsiteX114" fmla="*/ 320768 w 972241"/>
                <a:gd name="connsiteY114" fmla="*/ 157696 h 510557"/>
                <a:gd name="connsiteX115" fmla="*/ 315066 w 972241"/>
                <a:gd name="connsiteY115" fmla="*/ 156393 h 510557"/>
                <a:gd name="connsiteX116" fmla="*/ 311645 w 972241"/>
                <a:gd name="connsiteY116" fmla="*/ 153135 h 510557"/>
                <a:gd name="connsiteX117" fmla="*/ 305618 w 972241"/>
                <a:gd name="connsiteY117" fmla="*/ 153135 h 510557"/>
                <a:gd name="connsiteX118" fmla="*/ 305129 w 972241"/>
                <a:gd name="connsiteY118" fmla="*/ 149876 h 510557"/>
                <a:gd name="connsiteX119" fmla="*/ 303500 w 972241"/>
                <a:gd name="connsiteY119" fmla="*/ 146618 h 510557"/>
                <a:gd name="connsiteX120" fmla="*/ 304314 w 972241"/>
                <a:gd name="connsiteY120" fmla="*/ 144175 h 510557"/>
                <a:gd name="connsiteX121" fmla="*/ 308876 w 972241"/>
                <a:gd name="connsiteY121" fmla="*/ 143523 h 510557"/>
                <a:gd name="connsiteX122" fmla="*/ 309853 w 972241"/>
                <a:gd name="connsiteY122" fmla="*/ 138147 h 510557"/>
                <a:gd name="connsiteX123" fmla="*/ 313600 w 972241"/>
                <a:gd name="connsiteY123" fmla="*/ 133586 h 510557"/>
                <a:gd name="connsiteX124" fmla="*/ 312297 w 972241"/>
                <a:gd name="connsiteY124" fmla="*/ 127721 h 510557"/>
                <a:gd name="connsiteX125" fmla="*/ 308550 w 972241"/>
                <a:gd name="connsiteY125" fmla="*/ 127232 h 510557"/>
                <a:gd name="connsiteX126" fmla="*/ 308061 w 972241"/>
                <a:gd name="connsiteY126" fmla="*/ 121693 h 510557"/>
                <a:gd name="connsiteX127" fmla="*/ 313763 w 972241"/>
                <a:gd name="connsiteY127" fmla="*/ 113385 h 510557"/>
                <a:gd name="connsiteX128" fmla="*/ 319791 w 972241"/>
                <a:gd name="connsiteY128" fmla="*/ 108009 h 510557"/>
                <a:gd name="connsiteX129" fmla="*/ 330380 w 972241"/>
                <a:gd name="connsiteY129" fmla="*/ 106868 h 510557"/>
                <a:gd name="connsiteX130" fmla="*/ 334616 w 972241"/>
                <a:gd name="connsiteY130" fmla="*/ 108335 h 510557"/>
                <a:gd name="connsiteX131" fmla="*/ 337548 w 972241"/>
                <a:gd name="connsiteY131" fmla="*/ 106380 h 510557"/>
                <a:gd name="connsiteX132" fmla="*/ 337711 w 972241"/>
                <a:gd name="connsiteY132" fmla="*/ 101167 h 510557"/>
                <a:gd name="connsiteX133" fmla="*/ 332823 w 972241"/>
                <a:gd name="connsiteY133" fmla="*/ 99700 h 510557"/>
                <a:gd name="connsiteX134" fmla="*/ 328751 w 972241"/>
                <a:gd name="connsiteY134" fmla="*/ 95628 h 510557"/>
                <a:gd name="connsiteX135" fmla="*/ 324678 w 972241"/>
                <a:gd name="connsiteY135" fmla="*/ 95791 h 510557"/>
                <a:gd name="connsiteX136" fmla="*/ 321583 w 972241"/>
                <a:gd name="connsiteY136" fmla="*/ 98234 h 510557"/>
                <a:gd name="connsiteX137" fmla="*/ 316369 w 972241"/>
                <a:gd name="connsiteY137" fmla="*/ 96116 h 510557"/>
                <a:gd name="connsiteX138" fmla="*/ 310016 w 972241"/>
                <a:gd name="connsiteY138" fmla="*/ 95791 h 510557"/>
                <a:gd name="connsiteX139" fmla="*/ 309364 w 972241"/>
                <a:gd name="connsiteY139" fmla="*/ 92532 h 510557"/>
                <a:gd name="connsiteX140" fmla="*/ 311645 w 972241"/>
                <a:gd name="connsiteY140" fmla="*/ 90578 h 510557"/>
                <a:gd name="connsiteX141" fmla="*/ 318487 w 972241"/>
                <a:gd name="connsiteY141" fmla="*/ 90252 h 510557"/>
                <a:gd name="connsiteX142" fmla="*/ 316369 w 972241"/>
                <a:gd name="connsiteY142" fmla="*/ 84876 h 510557"/>
                <a:gd name="connsiteX143" fmla="*/ 310016 w 972241"/>
                <a:gd name="connsiteY143" fmla="*/ 85690 h 510557"/>
                <a:gd name="connsiteX144" fmla="*/ 305292 w 972241"/>
                <a:gd name="connsiteY144" fmla="*/ 84387 h 510557"/>
                <a:gd name="connsiteX145" fmla="*/ 307735 w 972241"/>
                <a:gd name="connsiteY145" fmla="*/ 81780 h 510557"/>
                <a:gd name="connsiteX146" fmla="*/ 304966 w 972241"/>
                <a:gd name="connsiteY146" fmla="*/ 75753 h 510557"/>
                <a:gd name="connsiteX147" fmla="*/ 306758 w 972241"/>
                <a:gd name="connsiteY147" fmla="*/ 74124 h 510557"/>
                <a:gd name="connsiteX148" fmla="*/ 312297 w 972241"/>
                <a:gd name="connsiteY148" fmla="*/ 73798 h 510557"/>
                <a:gd name="connsiteX149" fmla="*/ 314903 w 972241"/>
                <a:gd name="connsiteY149" fmla="*/ 70540 h 510557"/>
                <a:gd name="connsiteX150" fmla="*/ 318650 w 972241"/>
                <a:gd name="connsiteY150" fmla="*/ 70866 h 510557"/>
                <a:gd name="connsiteX151" fmla="*/ 320279 w 972241"/>
                <a:gd name="connsiteY151" fmla="*/ 73635 h 510557"/>
                <a:gd name="connsiteX152" fmla="*/ 326144 w 972241"/>
                <a:gd name="connsiteY152" fmla="*/ 72820 h 510557"/>
                <a:gd name="connsiteX153" fmla="*/ 330705 w 972241"/>
                <a:gd name="connsiteY153" fmla="*/ 76079 h 510557"/>
                <a:gd name="connsiteX154" fmla="*/ 332823 w 972241"/>
                <a:gd name="connsiteY154" fmla="*/ 73635 h 510557"/>
                <a:gd name="connsiteX155" fmla="*/ 332823 w 972241"/>
                <a:gd name="connsiteY155" fmla="*/ 70377 h 510557"/>
                <a:gd name="connsiteX156" fmla="*/ 337222 w 972241"/>
                <a:gd name="connsiteY156" fmla="*/ 67607 h 510557"/>
                <a:gd name="connsiteX157" fmla="*/ 341784 w 972241"/>
                <a:gd name="connsiteY157" fmla="*/ 67770 h 510557"/>
                <a:gd name="connsiteX158" fmla="*/ 344716 w 972241"/>
                <a:gd name="connsiteY158" fmla="*/ 72495 h 510557"/>
                <a:gd name="connsiteX159" fmla="*/ 347159 w 972241"/>
                <a:gd name="connsiteY159" fmla="*/ 69074 h 510557"/>
                <a:gd name="connsiteX160" fmla="*/ 347811 w 972241"/>
                <a:gd name="connsiteY160" fmla="*/ 65490 h 510557"/>
                <a:gd name="connsiteX161" fmla="*/ 356608 w 972241"/>
                <a:gd name="connsiteY161" fmla="*/ 62720 h 510557"/>
                <a:gd name="connsiteX162" fmla="*/ 362473 w 972241"/>
                <a:gd name="connsiteY162" fmla="*/ 62068 h 510557"/>
                <a:gd name="connsiteX163" fmla="*/ 368989 w 972241"/>
                <a:gd name="connsiteY163" fmla="*/ 58973 h 510557"/>
                <a:gd name="connsiteX164" fmla="*/ 375668 w 972241"/>
                <a:gd name="connsiteY164" fmla="*/ 58484 h 510557"/>
                <a:gd name="connsiteX165" fmla="*/ 376972 w 972241"/>
                <a:gd name="connsiteY165" fmla="*/ 56204 h 510557"/>
                <a:gd name="connsiteX166" fmla="*/ 383814 w 972241"/>
                <a:gd name="connsiteY166" fmla="*/ 51968 h 510557"/>
                <a:gd name="connsiteX167" fmla="*/ 390168 w 972241"/>
                <a:gd name="connsiteY167" fmla="*/ 51805 h 510557"/>
                <a:gd name="connsiteX168" fmla="*/ 394240 w 972241"/>
                <a:gd name="connsiteY168" fmla="*/ 49036 h 510557"/>
                <a:gd name="connsiteX169" fmla="*/ 397824 w 972241"/>
                <a:gd name="connsiteY169" fmla="*/ 48710 h 510557"/>
                <a:gd name="connsiteX170" fmla="*/ 401408 w 972241"/>
                <a:gd name="connsiteY170" fmla="*/ 50176 h 510557"/>
                <a:gd name="connsiteX171" fmla="*/ 403363 w 972241"/>
                <a:gd name="connsiteY171" fmla="*/ 48384 h 510557"/>
                <a:gd name="connsiteX172" fmla="*/ 403200 w 972241"/>
                <a:gd name="connsiteY172" fmla="*/ 43008 h 510557"/>
                <a:gd name="connsiteX173" fmla="*/ 406132 w 972241"/>
                <a:gd name="connsiteY173" fmla="*/ 40402 h 510557"/>
                <a:gd name="connsiteX174" fmla="*/ 411671 w 972241"/>
                <a:gd name="connsiteY174" fmla="*/ 40402 h 510557"/>
                <a:gd name="connsiteX175" fmla="*/ 412323 w 972241"/>
                <a:gd name="connsiteY175" fmla="*/ 37143 h 510557"/>
                <a:gd name="connsiteX176" fmla="*/ 415744 w 972241"/>
                <a:gd name="connsiteY176" fmla="*/ 34374 h 510557"/>
                <a:gd name="connsiteX177" fmla="*/ 418514 w 972241"/>
                <a:gd name="connsiteY177" fmla="*/ 36818 h 510557"/>
                <a:gd name="connsiteX178" fmla="*/ 422098 w 972241"/>
                <a:gd name="connsiteY178" fmla="*/ 37632 h 510557"/>
                <a:gd name="connsiteX179" fmla="*/ 426985 w 972241"/>
                <a:gd name="connsiteY179" fmla="*/ 34863 h 510557"/>
                <a:gd name="connsiteX180" fmla="*/ 432687 w 972241"/>
                <a:gd name="connsiteY180" fmla="*/ 33071 h 510557"/>
                <a:gd name="connsiteX181" fmla="*/ 443602 w 972241"/>
                <a:gd name="connsiteY181" fmla="*/ 25577 h 510557"/>
                <a:gd name="connsiteX182" fmla="*/ 445882 w 972241"/>
                <a:gd name="connsiteY182" fmla="*/ 25577 h 510557"/>
                <a:gd name="connsiteX183" fmla="*/ 448326 w 972241"/>
                <a:gd name="connsiteY183" fmla="*/ 23948 h 510557"/>
                <a:gd name="connsiteX184" fmla="*/ 454353 w 972241"/>
                <a:gd name="connsiteY184" fmla="*/ 22807 h 510557"/>
                <a:gd name="connsiteX185" fmla="*/ 457937 w 972241"/>
                <a:gd name="connsiteY185" fmla="*/ 18246 h 510557"/>
                <a:gd name="connsiteX186" fmla="*/ 461196 w 972241"/>
                <a:gd name="connsiteY186" fmla="*/ 19223 h 510557"/>
                <a:gd name="connsiteX187" fmla="*/ 468038 w 972241"/>
                <a:gd name="connsiteY187" fmla="*/ 17757 h 510557"/>
                <a:gd name="connsiteX188" fmla="*/ 467875 w 972241"/>
                <a:gd name="connsiteY188" fmla="*/ 14010 h 510557"/>
                <a:gd name="connsiteX189" fmla="*/ 465432 w 972241"/>
                <a:gd name="connsiteY189" fmla="*/ 10100 h 510557"/>
                <a:gd name="connsiteX190" fmla="*/ 468201 w 972241"/>
                <a:gd name="connsiteY190" fmla="*/ 8634 h 510557"/>
                <a:gd name="connsiteX191" fmla="*/ 475043 w 972241"/>
                <a:gd name="connsiteY191" fmla="*/ 8308 h 510557"/>
                <a:gd name="connsiteX192" fmla="*/ 476509 w 972241"/>
                <a:gd name="connsiteY192" fmla="*/ 3421 h 510557"/>
                <a:gd name="connsiteX193" fmla="*/ 481071 w 972241"/>
                <a:gd name="connsiteY193" fmla="*/ 815 h 510557"/>
                <a:gd name="connsiteX194" fmla="*/ 484329 w 972241"/>
                <a:gd name="connsiteY194" fmla="*/ 1303 h 510557"/>
                <a:gd name="connsiteX195" fmla="*/ 488076 w 972241"/>
                <a:gd name="connsiteY195" fmla="*/ 0 h 510557"/>
                <a:gd name="connsiteX196" fmla="*/ 494429 w 972241"/>
                <a:gd name="connsiteY196" fmla="*/ 2607 h 510557"/>
                <a:gd name="connsiteX197" fmla="*/ 501434 w 972241"/>
                <a:gd name="connsiteY197" fmla="*/ 1955 h 510557"/>
                <a:gd name="connsiteX198" fmla="*/ 507462 w 972241"/>
                <a:gd name="connsiteY198" fmla="*/ 6028 h 510557"/>
                <a:gd name="connsiteX199" fmla="*/ 513653 w 972241"/>
                <a:gd name="connsiteY199" fmla="*/ 5865 h 510557"/>
                <a:gd name="connsiteX200" fmla="*/ 519191 w 972241"/>
                <a:gd name="connsiteY200" fmla="*/ 3584 h 510557"/>
                <a:gd name="connsiteX201" fmla="*/ 524568 w 972241"/>
                <a:gd name="connsiteY201" fmla="*/ 3910 h 510557"/>
                <a:gd name="connsiteX202" fmla="*/ 526685 w 972241"/>
                <a:gd name="connsiteY202" fmla="*/ 10263 h 510557"/>
                <a:gd name="connsiteX203" fmla="*/ 528640 w 972241"/>
                <a:gd name="connsiteY203" fmla="*/ 11892 h 510557"/>
                <a:gd name="connsiteX204" fmla="*/ 530595 w 972241"/>
                <a:gd name="connsiteY204" fmla="*/ 17106 h 510557"/>
                <a:gd name="connsiteX205" fmla="*/ 534016 w 972241"/>
                <a:gd name="connsiteY205" fmla="*/ 21504 h 510557"/>
                <a:gd name="connsiteX206" fmla="*/ 537437 w 972241"/>
                <a:gd name="connsiteY206" fmla="*/ 23459 h 510557"/>
                <a:gd name="connsiteX207" fmla="*/ 537926 w 972241"/>
                <a:gd name="connsiteY207" fmla="*/ 26228 h 510557"/>
                <a:gd name="connsiteX208" fmla="*/ 536623 w 972241"/>
                <a:gd name="connsiteY208" fmla="*/ 30627 h 510557"/>
                <a:gd name="connsiteX209" fmla="*/ 537763 w 972241"/>
                <a:gd name="connsiteY209" fmla="*/ 35514 h 510557"/>
                <a:gd name="connsiteX210" fmla="*/ 537437 w 972241"/>
                <a:gd name="connsiteY210" fmla="*/ 37469 h 510557"/>
                <a:gd name="connsiteX211" fmla="*/ 533528 w 972241"/>
                <a:gd name="connsiteY211" fmla="*/ 38610 h 510557"/>
                <a:gd name="connsiteX212" fmla="*/ 535808 w 972241"/>
                <a:gd name="connsiteY212" fmla="*/ 43334 h 510557"/>
                <a:gd name="connsiteX213" fmla="*/ 538903 w 972241"/>
                <a:gd name="connsiteY213" fmla="*/ 45615 h 510557"/>
                <a:gd name="connsiteX214" fmla="*/ 544442 w 972241"/>
                <a:gd name="connsiteY214" fmla="*/ 42194 h 510557"/>
                <a:gd name="connsiteX215" fmla="*/ 548352 w 972241"/>
                <a:gd name="connsiteY215" fmla="*/ 45452 h 510557"/>
                <a:gd name="connsiteX216" fmla="*/ 551285 w 972241"/>
                <a:gd name="connsiteY216" fmla="*/ 44311 h 510557"/>
                <a:gd name="connsiteX217" fmla="*/ 552262 w 972241"/>
                <a:gd name="connsiteY217" fmla="*/ 39424 h 510557"/>
                <a:gd name="connsiteX218" fmla="*/ 555520 w 972241"/>
                <a:gd name="connsiteY218" fmla="*/ 38121 h 510557"/>
                <a:gd name="connsiteX219" fmla="*/ 557150 w 972241"/>
                <a:gd name="connsiteY219" fmla="*/ 43334 h 510557"/>
                <a:gd name="connsiteX220" fmla="*/ 560244 w 972241"/>
                <a:gd name="connsiteY220" fmla="*/ 43334 h 510557"/>
                <a:gd name="connsiteX221" fmla="*/ 560896 w 972241"/>
                <a:gd name="connsiteY221" fmla="*/ 39261 h 510557"/>
                <a:gd name="connsiteX222" fmla="*/ 558941 w 972241"/>
                <a:gd name="connsiteY222" fmla="*/ 34048 h 510557"/>
                <a:gd name="connsiteX223" fmla="*/ 560570 w 972241"/>
                <a:gd name="connsiteY223" fmla="*/ 33071 h 510557"/>
                <a:gd name="connsiteX224" fmla="*/ 569368 w 972241"/>
                <a:gd name="connsiteY224" fmla="*/ 39424 h 510557"/>
                <a:gd name="connsiteX225" fmla="*/ 570345 w 972241"/>
                <a:gd name="connsiteY225" fmla="*/ 47570 h 510557"/>
                <a:gd name="connsiteX226" fmla="*/ 573766 w 972241"/>
                <a:gd name="connsiteY226" fmla="*/ 53923 h 510557"/>
                <a:gd name="connsiteX227" fmla="*/ 576698 w 972241"/>
                <a:gd name="connsiteY227" fmla="*/ 53760 h 510557"/>
                <a:gd name="connsiteX228" fmla="*/ 580445 w 972241"/>
                <a:gd name="connsiteY228" fmla="*/ 49687 h 510557"/>
                <a:gd name="connsiteX229" fmla="*/ 577676 w 972241"/>
                <a:gd name="connsiteY229" fmla="*/ 48384 h 510557"/>
                <a:gd name="connsiteX230" fmla="*/ 576210 w 972241"/>
                <a:gd name="connsiteY230" fmla="*/ 45615 h 510557"/>
                <a:gd name="connsiteX231" fmla="*/ 581912 w 972241"/>
                <a:gd name="connsiteY231" fmla="*/ 44311 h 510557"/>
                <a:gd name="connsiteX232" fmla="*/ 591523 w 972241"/>
                <a:gd name="connsiteY232" fmla="*/ 49036 h 510557"/>
                <a:gd name="connsiteX233" fmla="*/ 594782 w 972241"/>
                <a:gd name="connsiteY233" fmla="*/ 49036 h 510557"/>
                <a:gd name="connsiteX234" fmla="*/ 598528 w 972241"/>
                <a:gd name="connsiteY234" fmla="*/ 45940 h 510557"/>
                <a:gd name="connsiteX235" fmla="*/ 601460 w 972241"/>
                <a:gd name="connsiteY235" fmla="*/ 47407 h 510557"/>
                <a:gd name="connsiteX236" fmla="*/ 599343 w 972241"/>
                <a:gd name="connsiteY236" fmla="*/ 52457 h 510557"/>
                <a:gd name="connsiteX237" fmla="*/ 596085 w 972241"/>
                <a:gd name="connsiteY237" fmla="*/ 55226 h 510557"/>
                <a:gd name="connsiteX238" fmla="*/ 596085 w 972241"/>
                <a:gd name="connsiteY238" fmla="*/ 61906 h 510557"/>
                <a:gd name="connsiteX239" fmla="*/ 599506 w 972241"/>
                <a:gd name="connsiteY239" fmla="*/ 66467 h 510557"/>
                <a:gd name="connsiteX240" fmla="*/ 602927 w 972241"/>
                <a:gd name="connsiteY240" fmla="*/ 66141 h 510557"/>
                <a:gd name="connsiteX241" fmla="*/ 605859 w 972241"/>
                <a:gd name="connsiteY241" fmla="*/ 62557 h 510557"/>
                <a:gd name="connsiteX242" fmla="*/ 611724 w 972241"/>
                <a:gd name="connsiteY242" fmla="*/ 60928 h 510557"/>
                <a:gd name="connsiteX243" fmla="*/ 621987 w 972241"/>
                <a:gd name="connsiteY243" fmla="*/ 63372 h 510557"/>
                <a:gd name="connsiteX244" fmla="*/ 624431 w 972241"/>
                <a:gd name="connsiteY244" fmla="*/ 65164 h 510557"/>
                <a:gd name="connsiteX245" fmla="*/ 627689 w 972241"/>
                <a:gd name="connsiteY245" fmla="*/ 62883 h 510557"/>
                <a:gd name="connsiteX246" fmla="*/ 626548 w 972241"/>
                <a:gd name="connsiteY246" fmla="*/ 57018 h 510557"/>
                <a:gd name="connsiteX247" fmla="*/ 631436 w 972241"/>
                <a:gd name="connsiteY247" fmla="*/ 55226 h 510557"/>
                <a:gd name="connsiteX248" fmla="*/ 638930 w 972241"/>
                <a:gd name="connsiteY248" fmla="*/ 54249 h 510557"/>
                <a:gd name="connsiteX249" fmla="*/ 643654 w 972241"/>
                <a:gd name="connsiteY249" fmla="*/ 50991 h 510557"/>
                <a:gd name="connsiteX250" fmla="*/ 645772 w 972241"/>
                <a:gd name="connsiteY250" fmla="*/ 46592 h 510557"/>
                <a:gd name="connsiteX251" fmla="*/ 649682 w 972241"/>
                <a:gd name="connsiteY251" fmla="*/ 43497 h 510557"/>
                <a:gd name="connsiteX252" fmla="*/ 650171 w 972241"/>
                <a:gd name="connsiteY252" fmla="*/ 39750 h 510557"/>
                <a:gd name="connsiteX253" fmla="*/ 655872 w 972241"/>
                <a:gd name="connsiteY253" fmla="*/ 34048 h 510557"/>
                <a:gd name="connsiteX254" fmla="*/ 659945 w 972241"/>
                <a:gd name="connsiteY254" fmla="*/ 32582 h 510557"/>
                <a:gd name="connsiteX255" fmla="*/ 663855 w 972241"/>
                <a:gd name="connsiteY255" fmla="*/ 28509 h 510557"/>
                <a:gd name="connsiteX256" fmla="*/ 669394 w 972241"/>
                <a:gd name="connsiteY256" fmla="*/ 27043 h 510557"/>
                <a:gd name="connsiteX257" fmla="*/ 675910 w 972241"/>
                <a:gd name="connsiteY257" fmla="*/ 25088 h 510557"/>
                <a:gd name="connsiteX258" fmla="*/ 678842 w 972241"/>
                <a:gd name="connsiteY258" fmla="*/ 26880 h 510557"/>
                <a:gd name="connsiteX259" fmla="*/ 678517 w 972241"/>
                <a:gd name="connsiteY259" fmla="*/ 31279 h 510557"/>
                <a:gd name="connsiteX260" fmla="*/ 674281 w 972241"/>
                <a:gd name="connsiteY260" fmla="*/ 36003 h 510557"/>
                <a:gd name="connsiteX261" fmla="*/ 670208 w 972241"/>
                <a:gd name="connsiteY261" fmla="*/ 37143 h 510557"/>
                <a:gd name="connsiteX262" fmla="*/ 672326 w 972241"/>
                <a:gd name="connsiteY262" fmla="*/ 40890 h 510557"/>
                <a:gd name="connsiteX263" fmla="*/ 718266 w 972241"/>
                <a:gd name="connsiteY263" fmla="*/ 75427 h 510557"/>
                <a:gd name="connsiteX264" fmla="*/ 780987 w 972241"/>
                <a:gd name="connsiteY264" fmla="*/ 153949 h 510557"/>
                <a:gd name="connsiteX265" fmla="*/ 787340 w 972241"/>
                <a:gd name="connsiteY265" fmla="*/ 152972 h 510557"/>
                <a:gd name="connsiteX266" fmla="*/ 791412 w 972241"/>
                <a:gd name="connsiteY266" fmla="*/ 150202 h 510557"/>
                <a:gd name="connsiteX267" fmla="*/ 792553 w 972241"/>
                <a:gd name="connsiteY267" fmla="*/ 147270 h 510557"/>
                <a:gd name="connsiteX268" fmla="*/ 791250 w 972241"/>
                <a:gd name="connsiteY268" fmla="*/ 146130 h 510557"/>
                <a:gd name="connsiteX269" fmla="*/ 791087 w 972241"/>
                <a:gd name="connsiteY269" fmla="*/ 140428 h 510557"/>
                <a:gd name="connsiteX270" fmla="*/ 795160 w 972241"/>
                <a:gd name="connsiteY270" fmla="*/ 138473 h 510557"/>
                <a:gd name="connsiteX271" fmla="*/ 802491 w 972241"/>
                <a:gd name="connsiteY271" fmla="*/ 142057 h 510557"/>
                <a:gd name="connsiteX272" fmla="*/ 801676 w 972241"/>
                <a:gd name="connsiteY272" fmla="*/ 145478 h 510557"/>
                <a:gd name="connsiteX273" fmla="*/ 802165 w 972241"/>
                <a:gd name="connsiteY273" fmla="*/ 149062 h 510557"/>
                <a:gd name="connsiteX274" fmla="*/ 808030 w 972241"/>
                <a:gd name="connsiteY274" fmla="*/ 150691 h 510557"/>
                <a:gd name="connsiteX275" fmla="*/ 811614 w 972241"/>
                <a:gd name="connsiteY275" fmla="*/ 154438 h 510557"/>
                <a:gd name="connsiteX276" fmla="*/ 816175 w 972241"/>
                <a:gd name="connsiteY276" fmla="*/ 154438 h 510557"/>
                <a:gd name="connsiteX277" fmla="*/ 819759 w 972241"/>
                <a:gd name="connsiteY277" fmla="*/ 152157 h 510557"/>
                <a:gd name="connsiteX278" fmla="*/ 823994 w 972241"/>
                <a:gd name="connsiteY278" fmla="*/ 151506 h 510557"/>
                <a:gd name="connsiteX279" fmla="*/ 830511 w 972241"/>
                <a:gd name="connsiteY279" fmla="*/ 155090 h 510557"/>
                <a:gd name="connsiteX280" fmla="*/ 836050 w 972241"/>
                <a:gd name="connsiteY280" fmla="*/ 152483 h 510557"/>
                <a:gd name="connsiteX281" fmla="*/ 840285 w 972241"/>
                <a:gd name="connsiteY281" fmla="*/ 153461 h 510557"/>
                <a:gd name="connsiteX282" fmla="*/ 845335 w 972241"/>
                <a:gd name="connsiteY282" fmla="*/ 151506 h 510557"/>
                <a:gd name="connsiteX283" fmla="*/ 846639 w 972241"/>
                <a:gd name="connsiteY283" fmla="*/ 149225 h 510557"/>
                <a:gd name="connsiteX284" fmla="*/ 844847 w 972241"/>
                <a:gd name="connsiteY284" fmla="*/ 146618 h 510557"/>
                <a:gd name="connsiteX285" fmla="*/ 845824 w 972241"/>
                <a:gd name="connsiteY285" fmla="*/ 143849 h 510557"/>
                <a:gd name="connsiteX286" fmla="*/ 854296 w 972241"/>
                <a:gd name="connsiteY286" fmla="*/ 142708 h 510557"/>
                <a:gd name="connsiteX287" fmla="*/ 863419 w 972241"/>
                <a:gd name="connsiteY287" fmla="*/ 142708 h 510557"/>
                <a:gd name="connsiteX288" fmla="*/ 871075 w 972241"/>
                <a:gd name="connsiteY288" fmla="*/ 144663 h 510557"/>
                <a:gd name="connsiteX289" fmla="*/ 878732 w 972241"/>
                <a:gd name="connsiteY289" fmla="*/ 150202 h 510557"/>
                <a:gd name="connsiteX290" fmla="*/ 882805 w 972241"/>
                <a:gd name="connsiteY290" fmla="*/ 157696 h 510557"/>
                <a:gd name="connsiteX291" fmla="*/ 885574 w 972241"/>
                <a:gd name="connsiteY291" fmla="*/ 163561 h 510557"/>
                <a:gd name="connsiteX292" fmla="*/ 888018 w 972241"/>
                <a:gd name="connsiteY292" fmla="*/ 163724 h 510557"/>
                <a:gd name="connsiteX293" fmla="*/ 893394 w 972241"/>
                <a:gd name="connsiteY293" fmla="*/ 165190 h 510557"/>
                <a:gd name="connsiteX294" fmla="*/ 899421 w 972241"/>
                <a:gd name="connsiteY294" fmla="*/ 168937 h 510557"/>
                <a:gd name="connsiteX295" fmla="*/ 901214 w 972241"/>
                <a:gd name="connsiteY295" fmla="*/ 168937 h 510557"/>
                <a:gd name="connsiteX296" fmla="*/ 904960 w 972241"/>
                <a:gd name="connsiteY296" fmla="*/ 170729 h 510557"/>
                <a:gd name="connsiteX297" fmla="*/ 905286 w 972241"/>
                <a:gd name="connsiteY297" fmla="*/ 173661 h 510557"/>
                <a:gd name="connsiteX298" fmla="*/ 904309 w 972241"/>
                <a:gd name="connsiteY298" fmla="*/ 176268 h 510557"/>
                <a:gd name="connsiteX299" fmla="*/ 904471 w 972241"/>
                <a:gd name="connsiteY299" fmla="*/ 180340 h 510557"/>
                <a:gd name="connsiteX300" fmla="*/ 905775 w 972241"/>
                <a:gd name="connsiteY300" fmla="*/ 183762 h 510557"/>
                <a:gd name="connsiteX301" fmla="*/ 908382 w 972241"/>
                <a:gd name="connsiteY301" fmla="*/ 186042 h 510557"/>
                <a:gd name="connsiteX302" fmla="*/ 909522 w 972241"/>
                <a:gd name="connsiteY302" fmla="*/ 187346 h 510557"/>
                <a:gd name="connsiteX303" fmla="*/ 911803 w 972241"/>
                <a:gd name="connsiteY303" fmla="*/ 187346 h 510557"/>
                <a:gd name="connsiteX304" fmla="*/ 916853 w 972241"/>
                <a:gd name="connsiteY304" fmla="*/ 189463 h 510557"/>
                <a:gd name="connsiteX305" fmla="*/ 920762 w 972241"/>
                <a:gd name="connsiteY305" fmla="*/ 191255 h 510557"/>
                <a:gd name="connsiteX306" fmla="*/ 922066 w 972241"/>
                <a:gd name="connsiteY306" fmla="*/ 188975 h 510557"/>
                <a:gd name="connsiteX307" fmla="*/ 926139 w 972241"/>
                <a:gd name="connsiteY307" fmla="*/ 186694 h 510557"/>
                <a:gd name="connsiteX308" fmla="*/ 938357 w 972241"/>
                <a:gd name="connsiteY308" fmla="*/ 185879 h 510557"/>
                <a:gd name="connsiteX309" fmla="*/ 943896 w 972241"/>
                <a:gd name="connsiteY309" fmla="*/ 184250 h 510557"/>
                <a:gd name="connsiteX310" fmla="*/ 946339 w 972241"/>
                <a:gd name="connsiteY310" fmla="*/ 179852 h 510557"/>
                <a:gd name="connsiteX311" fmla="*/ 951389 w 972241"/>
                <a:gd name="connsiteY311" fmla="*/ 177082 h 510557"/>
                <a:gd name="connsiteX312" fmla="*/ 954159 w 972241"/>
                <a:gd name="connsiteY312" fmla="*/ 178386 h 510557"/>
                <a:gd name="connsiteX313" fmla="*/ 951878 w 972241"/>
                <a:gd name="connsiteY313" fmla="*/ 184739 h 510557"/>
                <a:gd name="connsiteX314" fmla="*/ 953344 w 972241"/>
                <a:gd name="connsiteY314" fmla="*/ 188975 h 510557"/>
                <a:gd name="connsiteX315" fmla="*/ 957091 w 972241"/>
                <a:gd name="connsiteY315" fmla="*/ 189789 h 510557"/>
                <a:gd name="connsiteX316" fmla="*/ 962793 w 972241"/>
                <a:gd name="connsiteY316" fmla="*/ 194839 h 510557"/>
                <a:gd name="connsiteX317" fmla="*/ 970287 w 972241"/>
                <a:gd name="connsiteY317" fmla="*/ 197446 h 510557"/>
                <a:gd name="connsiteX318" fmla="*/ 972242 w 972241"/>
                <a:gd name="connsiteY318" fmla="*/ 199564 h 510557"/>
                <a:gd name="connsiteX319" fmla="*/ 967517 w 972241"/>
                <a:gd name="connsiteY319" fmla="*/ 204614 h 510557"/>
                <a:gd name="connsiteX320" fmla="*/ 963608 w 972241"/>
                <a:gd name="connsiteY320" fmla="*/ 206732 h 510557"/>
                <a:gd name="connsiteX321" fmla="*/ 956766 w 972241"/>
                <a:gd name="connsiteY321" fmla="*/ 213900 h 510557"/>
                <a:gd name="connsiteX322" fmla="*/ 956603 w 972241"/>
                <a:gd name="connsiteY322" fmla="*/ 217973 h 510557"/>
                <a:gd name="connsiteX323" fmla="*/ 958069 w 972241"/>
                <a:gd name="connsiteY323" fmla="*/ 220742 h 510557"/>
                <a:gd name="connsiteX324" fmla="*/ 954810 w 972241"/>
                <a:gd name="connsiteY324" fmla="*/ 226281 h 510557"/>
                <a:gd name="connsiteX325" fmla="*/ 947317 w 972241"/>
                <a:gd name="connsiteY325" fmla="*/ 229050 h 510557"/>
                <a:gd name="connsiteX326" fmla="*/ 942755 w 972241"/>
                <a:gd name="connsiteY326" fmla="*/ 232308 h 510557"/>
                <a:gd name="connsiteX327" fmla="*/ 941778 w 972241"/>
                <a:gd name="connsiteY327" fmla="*/ 238336 h 510557"/>
                <a:gd name="connsiteX328" fmla="*/ 942103 w 972241"/>
                <a:gd name="connsiteY328" fmla="*/ 249088 h 510557"/>
                <a:gd name="connsiteX329" fmla="*/ 947154 w 972241"/>
                <a:gd name="connsiteY329" fmla="*/ 259351 h 510557"/>
                <a:gd name="connsiteX330" fmla="*/ 951878 w 972241"/>
                <a:gd name="connsiteY330" fmla="*/ 265705 h 510557"/>
                <a:gd name="connsiteX331" fmla="*/ 951226 w 972241"/>
                <a:gd name="connsiteY331" fmla="*/ 269289 h 510557"/>
                <a:gd name="connsiteX332" fmla="*/ 944710 w 972241"/>
                <a:gd name="connsiteY332" fmla="*/ 276457 h 510557"/>
                <a:gd name="connsiteX333" fmla="*/ 939171 w 972241"/>
                <a:gd name="connsiteY333" fmla="*/ 278412 h 510557"/>
                <a:gd name="connsiteX334" fmla="*/ 934773 w 972241"/>
                <a:gd name="connsiteY334" fmla="*/ 283625 h 510557"/>
                <a:gd name="connsiteX335" fmla="*/ 931026 w 972241"/>
                <a:gd name="connsiteY335" fmla="*/ 284928 h 510557"/>
                <a:gd name="connsiteX336" fmla="*/ 928745 w 972241"/>
                <a:gd name="connsiteY336" fmla="*/ 283951 h 510557"/>
                <a:gd name="connsiteX337" fmla="*/ 927442 w 972241"/>
                <a:gd name="connsiteY337" fmla="*/ 281018 h 510557"/>
                <a:gd name="connsiteX338" fmla="*/ 923043 w 972241"/>
                <a:gd name="connsiteY338" fmla="*/ 281018 h 510557"/>
                <a:gd name="connsiteX339" fmla="*/ 913106 w 972241"/>
                <a:gd name="connsiteY339" fmla="*/ 283299 h 510557"/>
                <a:gd name="connsiteX340" fmla="*/ 906264 w 972241"/>
                <a:gd name="connsiteY340" fmla="*/ 282647 h 510557"/>
                <a:gd name="connsiteX341" fmla="*/ 896326 w 972241"/>
                <a:gd name="connsiteY341" fmla="*/ 279226 h 510557"/>
                <a:gd name="connsiteX342" fmla="*/ 890298 w 972241"/>
                <a:gd name="connsiteY342" fmla="*/ 278412 h 510557"/>
                <a:gd name="connsiteX343" fmla="*/ 887366 w 972241"/>
                <a:gd name="connsiteY343" fmla="*/ 278738 h 510557"/>
                <a:gd name="connsiteX344" fmla="*/ 885248 w 972241"/>
                <a:gd name="connsiteY344" fmla="*/ 290467 h 510557"/>
                <a:gd name="connsiteX345" fmla="*/ 882968 w 972241"/>
                <a:gd name="connsiteY345" fmla="*/ 297798 h 510557"/>
                <a:gd name="connsiteX346" fmla="*/ 882642 w 972241"/>
                <a:gd name="connsiteY346" fmla="*/ 303500 h 510557"/>
                <a:gd name="connsiteX347" fmla="*/ 880198 w 972241"/>
                <a:gd name="connsiteY347" fmla="*/ 318324 h 510557"/>
                <a:gd name="connsiteX348" fmla="*/ 880198 w 972241"/>
                <a:gd name="connsiteY348" fmla="*/ 329728 h 510557"/>
                <a:gd name="connsiteX349" fmla="*/ 878895 w 972241"/>
                <a:gd name="connsiteY349" fmla="*/ 333475 h 510557"/>
                <a:gd name="connsiteX350" fmla="*/ 881827 w 972241"/>
                <a:gd name="connsiteY350" fmla="*/ 335756 h 510557"/>
                <a:gd name="connsiteX351" fmla="*/ 887855 w 972241"/>
                <a:gd name="connsiteY351" fmla="*/ 338362 h 510557"/>
                <a:gd name="connsiteX352" fmla="*/ 885411 w 972241"/>
                <a:gd name="connsiteY352" fmla="*/ 343413 h 510557"/>
                <a:gd name="connsiteX353" fmla="*/ 884760 w 972241"/>
                <a:gd name="connsiteY353" fmla="*/ 347485 h 510557"/>
                <a:gd name="connsiteX354" fmla="*/ 881501 w 972241"/>
                <a:gd name="connsiteY354" fmla="*/ 347485 h 510557"/>
                <a:gd name="connsiteX355" fmla="*/ 878569 w 972241"/>
                <a:gd name="connsiteY355" fmla="*/ 349440 h 510557"/>
                <a:gd name="connsiteX356" fmla="*/ 874496 w 972241"/>
                <a:gd name="connsiteY356" fmla="*/ 349440 h 510557"/>
                <a:gd name="connsiteX357" fmla="*/ 871564 w 972241"/>
                <a:gd name="connsiteY357" fmla="*/ 346834 h 510557"/>
                <a:gd name="connsiteX358" fmla="*/ 868306 w 972241"/>
                <a:gd name="connsiteY358" fmla="*/ 348300 h 510557"/>
                <a:gd name="connsiteX359" fmla="*/ 862115 w 972241"/>
                <a:gd name="connsiteY359" fmla="*/ 349766 h 510557"/>
                <a:gd name="connsiteX360" fmla="*/ 850875 w 972241"/>
                <a:gd name="connsiteY360" fmla="*/ 352047 h 510557"/>
                <a:gd name="connsiteX361" fmla="*/ 843055 w 972241"/>
                <a:gd name="connsiteY361" fmla="*/ 355142 h 510557"/>
                <a:gd name="connsiteX362" fmla="*/ 839308 w 972241"/>
                <a:gd name="connsiteY362" fmla="*/ 354979 h 510557"/>
                <a:gd name="connsiteX363" fmla="*/ 836212 w 972241"/>
                <a:gd name="connsiteY363" fmla="*/ 353513 h 510557"/>
                <a:gd name="connsiteX364" fmla="*/ 831977 w 972241"/>
                <a:gd name="connsiteY364" fmla="*/ 355305 h 510557"/>
                <a:gd name="connsiteX365" fmla="*/ 827416 w 972241"/>
                <a:gd name="connsiteY365" fmla="*/ 359540 h 510557"/>
                <a:gd name="connsiteX366" fmla="*/ 827253 w 972241"/>
                <a:gd name="connsiteY366" fmla="*/ 363125 h 510557"/>
                <a:gd name="connsiteX367" fmla="*/ 831651 w 972241"/>
                <a:gd name="connsiteY367" fmla="*/ 366546 h 510557"/>
                <a:gd name="connsiteX368" fmla="*/ 838819 w 972241"/>
                <a:gd name="connsiteY368" fmla="*/ 366057 h 510557"/>
                <a:gd name="connsiteX369" fmla="*/ 844684 w 972241"/>
                <a:gd name="connsiteY369" fmla="*/ 366709 h 510557"/>
                <a:gd name="connsiteX370" fmla="*/ 844684 w 972241"/>
                <a:gd name="connsiteY370" fmla="*/ 369152 h 510557"/>
                <a:gd name="connsiteX371" fmla="*/ 841100 w 972241"/>
                <a:gd name="connsiteY371" fmla="*/ 372736 h 510557"/>
                <a:gd name="connsiteX372" fmla="*/ 843544 w 972241"/>
                <a:gd name="connsiteY372" fmla="*/ 380393 h 510557"/>
                <a:gd name="connsiteX373" fmla="*/ 843869 w 972241"/>
                <a:gd name="connsiteY373" fmla="*/ 384140 h 510557"/>
                <a:gd name="connsiteX374" fmla="*/ 846150 w 972241"/>
                <a:gd name="connsiteY374" fmla="*/ 387561 h 510557"/>
                <a:gd name="connsiteX375" fmla="*/ 847128 w 972241"/>
                <a:gd name="connsiteY375" fmla="*/ 392937 h 510557"/>
                <a:gd name="connsiteX376" fmla="*/ 851852 w 972241"/>
                <a:gd name="connsiteY376" fmla="*/ 400594 h 510557"/>
                <a:gd name="connsiteX377" fmla="*/ 852830 w 972241"/>
                <a:gd name="connsiteY377" fmla="*/ 404829 h 510557"/>
                <a:gd name="connsiteX378" fmla="*/ 858368 w 972241"/>
                <a:gd name="connsiteY378" fmla="*/ 408902 h 510557"/>
                <a:gd name="connsiteX379" fmla="*/ 860323 w 972241"/>
                <a:gd name="connsiteY379" fmla="*/ 419328 h 510557"/>
                <a:gd name="connsiteX380" fmla="*/ 857228 w 972241"/>
                <a:gd name="connsiteY380" fmla="*/ 422098 h 510557"/>
                <a:gd name="connsiteX381" fmla="*/ 855599 w 972241"/>
                <a:gd name="connsiteY381" fmla="*/ 426822 h 510557"/>
                <a:gd name="connsiteX382" fmla="*/ 859835 w 972241"/>
                <a:gd name="connsiteY382" fmla="*/ 431709 h 510557"/>
                <a:gd name="connsiteX383" fmla="*/ 857554 w 972241"/>
                <a:gd name="connsiteY383" fmla="*/ 433013 h 510557"/>
                <a:gd name="connsiteX384" fmla="*/ 856902 w 972241"/>
                <a:gd name="connsiteY384" fmla="*/ 435945 h 510557"/>
                <a:gd name="connsiteX385" fmla="*/ 852015 w 972241"/>
                <a:gd name="connsiteY385" fmla="*/ 439203 h 510557"/>
                <a:gd name="connsiteX386" fmla="*/ 852178 w 972241"/>
                <a:gd name="connsiteY386" fmla="*/ 445882 h 510557"/>
                <a:gd name="connsiteX387" fmla="*/ 847453 w 972241"/>
                <a:gd name="connsiteY387" fmla="*/ 448652 h 510557"/>
                <a:gd name="connsiteX388" fmla="*/ 836050 w 972241"/>
                <a:gd name="connsiteY388" fmla="*/ 445719 h 510557"/>
                <a:gd name="connsiteX389" fmla="*/ 825135 w 972241"/>
                <a:gd name="connsiteY389" fmla="*/ 433175 h 510557"/>
                <a:gd name="connsiteX390" fmla="*/ 820573 w 972241"/>
                <a:gd name="connsiteY390" fmla="*/ 434316 h 510557"/>
                <a:gd name="connsiteX391" fmla="*/ 809821 w 972241"/>
                <a:gd name="connsiteY391" fmla="*/ 430080 h 510557"/>
                <a:gd name="connsiteX392" fmla="*/ 794182 w 972241"/>
                <a:gd name="connsiteY392" fmla="*/ 429103 h 510557"/>
                <a:gd name="connsiteX393" fmla="*/ 786525 w 972241"/>
                <a:gd name="connsiteY393" fmla="*/ 431872 h 510557"/>
                <a:gd name="connsiteX394" fmla="*/ 773330 w 972241"/>
                <a:gd name="connsiteY394" fmla="*/ 428451 h 510557"/>
                <a:gd name="connsiteX395" fmla="*/ 761275 w 972241"/>
                <a:gd name="connsiteY395" fmla="*/ 431383 h 510557"/>
                <a:gd name="connsiteX396" fmla="*/ 754921 w 972241"/>
                <a:gd name="connsiteY396" fmla="*/ 432361 h 510557"/>
                <a:gd name="connsiteX397" fmla="*/ 749056 w 972241"/>
                <a:gd name="connsiteY397" fmla="*/ 430406 h 510557"/>
                <a:gd name="connsiteX398" fmla="*/ 744495 w 972241"/>
                <a:gd name="connsiteY398" fmla="*/ 434479 h 510557"/>
                <a:gd name="connsiteX399" fmla="*/ 739607 w 972241"/>
                <a:gd name="connsiteY399" fmla="*/ 436597 h 510557"/>
                <a:gd name="connsiteX400" fmla="*/ 725598 w 972241"/>
                <a:gd name="connsiteY400" fmla="*/ 434642 h 510557"/>
                <a:gd name="connsiteX401" fmla="*/ 715334 w 972241"/>
                <a:gd name="connsiteY401" fmla="*/ 431872 h 510557"/>
                <a:gd name="connsiteX402" fmla="*/ 709958 w 972241"/>
                <a:gd name="connsiteY402" fmla="*/ 428777 h 510557"/>
                <a:gd name="connsiteX403" fmla="*/ 701812 w 972241"/>
                <a:gd name="connsiteY403" fmla="*/ 428940 h 510557"/>
                <a:gd name="connsiteX404" fmla="*/ 699043 w 972241"/>
                <a:gd name="connsiteY404" fmla="*/ 430243 h 510557"/>
                <a:gd name="connsiteX405" fmla="*/ 693016 w 972241"/>
                <a:gd name="connsiteY405" fmla="*/ 429917 h 510557"/>
                <a:gd name="connsiteX406" fmla="*/ 688291 w 972241"/>
                <a:gd name="connsiteY406" fmla="*/ 428940 h 510557"/>
                <a:gd name="connsiteX407" fmla="*/ 685359 w 972241"/>
                <a:gd name="connsiteY407" fmla="*/ 430569 h 510557"/>
                <a:gd name="connsiteX408" fmla="*/ 685848 w 972241"/>
                <a:gd name="connsiteY408" fmla="*/ 436108 h 510557"/>
                <a:gd name="connsiteX409" fmla="*/ 687314 w 972241"/>
                <a:gd name="connsiteY409" fmla="*/ 441810 h 510557"/>
                <a:gd name="connsiteX410" fmla="*/ 687477 w 972241"/>
                <a:gd name="connsiteY410" fmla="*/ 448652 h 510557"/>
                <a:gd name="connsiteX411" fmla="*/ 679494 w 972241"/>
                <a:gd name="connsiteY411" fmla="*/ 449955 h 510557"/>
                <a:gd name="connsiteX412" fmla="*/ 663692 w 972241"/>
                <a:gd name="connsiteY412" fmla="*/ 450281 h 510557"/>
                <a:gd name="connsiteX413" fmla="*/ 644957 w 972241"/>
                <a:gd name="connsiteY413" fmla="*/ 448489 h 510557"/>
                <a:gd name="connsiteX414" fmla="*/ 640396 w 972241"/>
                <a:gd name="connsiteY414" fmla="*/ 445882 h 510557"/>
                <a:gd name="connsiteX415" fmla="*/ 631925 w 972241"/>
                <a:gd name="connsiteY415" fmla="*/ 444742 h 510557"/>
                <a:gd name="connsiteX416" fmla="*/ 627200 w 972241"/>
                <a:gd name="connsiteY416" fmla="*/ 449955 h 510557"/>
                <a:gd name="connsiteX417" fmla="*/ 628992 w 972241"/>
                <a:gd name="connsiteY417" fmla="*/ 452887 h 510557"/>
                <a:gd name="connsiteX418" fmla="*/ 623453 w 972241"/>
                <a:gd name="connsiteY418" fmla="*/ 456634 h 510557"/>
                <a:gd name="connsiteX419" fmla="*/ 622639 w 972241"/>
                <a:gd name="connsiteY419" fmla="*/ 458915 h 510557"/>
                <a:gd name="connsiteX420" fmla="*/ 621010 w 972241"/>
                <a:gd name="connsiteY420" fmla="*/ 458589 h 510557"/>
                <a:gd name="connsiteX421" fmla="*/ 615796 w 972241"/>
                <a:gd name="connsiteY421" fmla="*/ 465269 h 510557"/>
                <a:gd name="connsiteX422" fmla="*/ 611398 w 972241"/>
                <a:gd name="connsiteY422" fmla="*/ 467061 h 510557"/>
                <a:gd name="connsiteX423" fmla="*/ 601460 w 972241"/>
                <a:gd name="connsiteY423" fmla="*/ 479116 h 510557"/>
                <a:gd name="connsiteX424" fmla="*/ 597877 w 972241"/>
                <a:gd name="connsiteY424" fmla="*/ 486121 h 510557"/>
                <a:gd name="connsiteX425" fmla="*/ 594944 w 972241"/>
                <a:gd name="connsiteY425" fmla="*/ 489542 h 510557"/>
                <a:gd name="connsiteX426" fmla="*/ 589894 w 972241"/>
                <a:gd name="connsiteY426" fmla="*/ 499154 h 510557"/>
                <a:gd name="connsiteX427" fmla="*/ 579468 w 972241"/>
                <a:gd name="connsiteY427" fmla="*/ 508765 h 510557"/>
                <a:gd name="connsiteX428" fmla="*/ 576861 w 972241"/>
                <a:gd name="connsiteY428" fmla="*/ 506810 h 510557"/>
                <a:gd name="connsiteX429" fmla="*/ 565295 w 972241"/>
                <a:gd name="connsiteY429" fmla="*/ 501109 h 510557"/>
                <a:gd name="connsiteX430" fmla="*/ 556660 w 972241"/>
                <a:gd name="connsiteY430" fmla="*/ 499968 h 510557"/>
                <a:gd name="connsiteX431" fmla="*/ 549167 w 972241"/>
                <a:gd name="connsiteY431" fmla="*/ 501434 h 510557"/>
                <a:gd name="connsiteX432" fmla="*/ 537600 w 972241"/>
                <a:gd name="connsiteY432" fmla="*/ 507625 h 510557"/>
                <a:gd name="connsiteX433" fmla="*/ 532387 w 972241"/>
                <a:gd name="connsiteY433" fmla="*/ 507136 h 510557"/>
                <a:gd name="connsiteX434" fmla="*/ 521635 w 972241"/>
                <a:gd name="connsiteY434" fmla="*/ 477650 h 510557"/>
                <a:gd name="connsiteX435" fmla="*/ 503552 w 972241"/>
                <a:gd name="connsiteY435" fmla="*/ 475206 h 510557"/>
                <a:gd name="connsiteX436" fmla="*/ 502737 w 972241"/>
                <a:gd name="connsiteY436" fmla="*/ 439203 h 510557"/>
                <a:gd name="connsiteX437" fmla="*/ 493778 w 972241"/>
                <a:gd name="connsiteY437" fmla="*/ 441810 h 510557"/>
                <a:gd name="connsiteX438" fmla="*/ 487424 w 972241"/>
                <a:gd name="connsiteY438" fmla="*/ 426333 h 510557"/>
                <a:gd name="connsiteX439" fmla="*/ 474391 w 972241"/>
                <a:gd name="connsiteY439" fmla="*/ 416722 h 510557"/>
                <a:gd name="connsiteX440" fmla="*/ 432361 w 972241"/>
                <a:gd name="connsiteY440" fmla="*/ 416722 h 510557"/>
                <a:gd name="connsiteX441" fmla="*/ 394240 w 972241"/>
                <a:gd name="connsiteY441" fmla="*/ 420794 h 510557"/>
                <a:gd name="connsiteX442" fmla="*/ 372899 w 972241"/>
                <a:gd name="connsiteY442" fmla="*/ 407925 h 510557"/>
                <a:gd name="connsiteX443" fmla="*/ 356934 w 972241"/>
                <a:gd name="connsiteY443" fmla="*/ 402060 h 510557"/>
                <a:gd name="connsiteX444" fmla="*/ 316369 w 972241"/>
                <a:gd name="connsiteY444" fmla="*/ 373388 h 510557"/>
                <a:gd name="connsiteX445" fmla="*/ 248925 w 972241"/>
                <a:gd name="connsiteY445" fmla="*/ 386095 h 510557"/>
                <a:gd name="connsiteX446" fmla="*/ 269614 w 972241"/>
                <a:gd name="connsiteY446" fmla="*/ 507951 h 510557"/>
                <a:gd name="connsiteX447" fmla="*/ 265868 w 972241"/>
                <a:gd name="connsiteY447" fmla="*/ 508277 h 510557"/>
                <a:gd name="connsiteX448" fmla="*/ 255605 w 972241"/>
                <a:gd name="connsiteY448" fmla="*/ 510557 h 510557"/>
                <a:gd name="connsiteX449" fmla="*/ 238987 w 972241"/>
                <a:gd name="connsiteY449" fmla="*/ 491334 h 510557"/>
                <a:gd name="connsiteX450" fmla="*/ 220905 w 972241"/>
                <a:gd name="connsiteY450" fmla="*/ 480908 h 510557"/>
                <a:gd name="connsiteX451" fmla="*/ 204288 w 972241"/>
                <a:gd name="connsiteY451" fmla="*/ 478464 h 510557"/>
                <a:gd name="connsiteX452" fmla="*/ 191744 w 972241"/>
                <a:gd name="connsiteY452" fmla="*/ 482863 h 510557"/>
                <a:gd name="connsiteX453" fmla="*/ 175942 w 972241"/>
                <a:gd name="connsiteY453" fmla="*/ 497036 h 510557"/>
                <a:gd name="connsiteX454" fmla="*/ 175453 w 972241"/>
                <a:gd name="connsiteY454" fmla="*/ 490357 h 510557"/>
                <a:gd name="connsiteX455" fmla="*/ 173987 w 972241"/>
                <a:gd name="connsiteY455" fmla="*/ 484329 h 510557"/>
                <a:gd name="connsiteX456" fmla="*/ 176919 w 972241"/>
                <a:gd name="connsiteY456" fmla="*/ 477324 h 510557"/>
                <a:gd name="connsiteX457" fmla="*/ 177897 w 972241"/>
                <a:gd name="connsiteY457" fmla="*/ 470156 h 510557"/>
                <a:gd name="connsiteX458" fmla="*/ 177571 w 972241"/>
                <a:gd name="connsiteY458" fmla="*/ 467549 h 510557"/>
                <a:gd name="connsiteX459" fmla="*/ 178386 w 972241"/>
                <a:gd name="connsiteY459" fmla="*/ 465757 h 510557"/>
                <a:gd name="connsiteX460" fmla="*/ 176593 w 972241"/>
                <a:gd name="connsiteY460" fmla="*/ 464617 h 510557"/>
                <a:gd name="connsiteX461" fmla="*/ 171055 w 972241"/>
                <a:gd name="connsiteY461" fmla="*/ 464780 h 510557"/>
                <a:gd name="connsiteX462" fmla="*/ 166982 w 972241"/>
                <a:gd name="connsiteY462" fmla="*/ 463151 h 510557"/>
                <a:gd name="connsiteX463" fmla="*/ 162420 w 972241"/>
                <a:gd name="connsiteY463" fmla="*/ 462010 h 510557"/>
                <a:gd name="connsiteX464" fmla="*/ 158511 w 972241"/>
                <a:gd name="connsiteY464" fmla="*/ 463639 h 510557"/>
                <a:gd name="connsiteX465" fmla="*/ 156393 w 972241"/>
                <a:gd name="connsiteY465" fmla="*/ 462825 h 510557"/>
                <a:gd name="connsiteX466" fmla="*/ 154275 w 972241"/>
                <a:gd name="connsiteY466" fmla="*/ 458426 h 510557"/>
                <a:gd name="connsiteX467" fmla="*/ 152157 w 972241"/>
                <a:gd name="connsiteY467" fmla="*/ 456472 h 510557"/>
                <a:gd name="connsiteX468" fmla="*/ 150039 w 972241"/>
                <a:gd name="connsiteY468" fmla="*/ 452399 h 510557"/>
                <a:gd name="connsiteX469" fmla="*/ 147596 w 972241"/>
                <a:gd name="connsiteY469" fmla="*/ 451095 h 510557"/>
                <a:gd name="connsiteX470" fmla="*/ 145966 w 972241"/>
                <a:gd name="connsiteY470" fmla="*/ 452073 h 510557"/>
                <a:gd name="connsiteX471" fmla="*/ 141242 w 972241"/>
                <a:gd name="connsiteY471" fmla="*/ 453050 h 510557"/>
                <a:gd name="connsiteX472" fmla="*/ 138961 w 972241"/>
                <a:gd name="connsiteY472" fmla="*/ 453050 h 510557"/>
                <a:gd name="connsiteX473" fmla="*/ 139450 w 972241"/>
                <a:gd name="connsiteY473" fmla="*/ 446697 h 510557"/>
                <a:gd name="connsiteX474" fmla="*/ 138961 w 972241"/>
                <a:gd name="connsiteY474" fmla="*/ 441810 h 510557"/>
                <a:gd name="connsiteX475" fmla="*/ 131957 w 972241"/>
                <a:gd name="connsiteY475" fmla="*/ 433501 h 510557"/>
                <a:gd name="connsiteX476" fmla="*/ 130490 w 972241"/>
                <a:gd name="connsiteY476" fmla="*/ 430243 h 510557"/>
                <a:gd name="connsiteX477" fmla="*/ 128535 w 972241"/>
                <a:gd name="connsiteY477" fmla="*/ 429591 h 510557"/>
                <a:gd name="connsiteX478" fmla="*/ 126580 w 972241"/>
                <a:gd name="connsiteY478" fmla="*/ 424053 h 510557"/>
                <a:gd name="connsiteX479" fmla="*/ 123811 w 972241"/>
                <a:gd name="connsiteY479" fmla="*/ 422261 h 510557"/>
                <a:gd name="connsiteX480" fmla="*/ 121856 w 972241"/>
                <a:gd name="connsiteY480" fmla="*/ 418351 h 510557"/>
                <a:gd name="connsiteX481" fmla="*/ 117457 w 972241"/>
                <a:gd name="connsiteY481" fmla="*/ 416722 h 510557"/>
                <a:gd name="connsiteX482" fmla="*/ 113385 w 972241"/>
                <a:gd name="connsiteY482" fmla="*/ 416559 h 510557"/>
                <a:gd name="connsiteX483" fmla="*/ 110289 w 972241"/>
                <a:gd name="connsiteY483" fmla="*/ 412649 h 510557"/>
                <a:gd name="connsiteX484" fmla="*/ 110615 w 972241"/>
                <a:gd name="connsiteY484" fmla="*/ 410368 h 510557"/>
                <a:gd name="connsiteX485" fmla="*/ 112733 w 972241"/>
                <a:gd name="connsiteY485" fmla="*/ 407599 h 510557"/>
                <a:gd name="connsiteX486" fmla="*/ 115503 w 972241"/>
                <a:gd name="connsiteY486" fmla="*/ 408576 h 510557"/>
                <a:gd name="connsiteX487" fmla="*/ 122834 w 972241"/>
                <a:gd name="connsiteY487" fmla="*/ 407925 h 510557"/>
                <a:gd name="connsiteX488" fmla="*/ 124951 w 972241"/>
                <a:gd name="connsiteY488" fmla="*/ 409065 h 510557"/>
                <a:gd name="connsiteX489" fmla="*/ 128046 w 972241"/>
                <a:gd name="connsiteY489" fmla="*/ 408902 h 510557"/>
                <a:gd name="connsiteX490" fmla="*/ 130002 w 972241"/>
                <a:gd name="connsiteY490" fmla="*/ 410042 h 510557"/>
                <a:gd name="connsiteX491" fmla="*/ 132934 w 972241"/>
                <a:gd name="connsiteY491" fmla="*/ 407925 h 510557"/>
                <a:gd name="connsiteX492" fmla="*/ 135214 w 972241"/>
                <a:gd name="connsiteY492" fmla="*/ 406784 h 510557"/>
                <a:gd name="connsiteX493" fmla="*/ 139450 w 972241"/>
                <a:gd name="connsiteY493" fmla="*/ 408413 h 510557"/>
                <a:gd name="connsiteX494" fmla="*/ 140753 w 972241"/>
                <a:gd name="connsiteY494" fmla="*/ 407110 h 510557"/>
                <a:gd name="connsiteX495" fmla="*/ 139613 w 972241"/>
                <a:gd name="connsiteY495" fmla="*/ 404666 h 510557"/>
                <a:gd name="connsiteX496" fmla="*/ 134563 w 972241"/>
                <a:gd name="connsiteY496" fmla="*/ 404992 h 510557"/>
                <a:gd name="connsiteX497" fmla="*/ 133097 w 972241"/>
                <a:gd name="connsiteY497" fmla="*/ 403852 h 510557"/>
                <a:gd name="connsiteX498" fmla="*/ 132934 w 972241"/>
                <a:gd name="connsiteY498" fmla="*/ 400268 h 510557"/>
                <a:gd name="connsiteX499" fmla="*/ 128046 w 972241"/>
                <a:gd name="connsiteY499" fmla="*/ 394403 h 510557"/>
                <a:gd name="connsiteX500" fmla="*/ 127558 w 972241"/>
                <a:gd name="connsiteY500" fmla="*/ 391797 h 510557"/>
                <a:gd name="connsiteX501" fmla="*/ 130002 w 972241"/>
                <a:gd name="connsiteY501" fmla="*/ 390330 h 510557"/>
                <a:gd name="connsiteX502" fmla="*/ 130002 w 972241"/>
                <a:gd name="connsiteY502" fmla="*/ 386258 h 510557"/>
                <a:gd name="connsiteX503" fmla="*/ 129350 w 972241"/>
                <a:gd name="connsiteY503" fmla="*/ 383814 h 510557"/>
                <a:gd name="connsiteX504" fmla="*/ 132282 w 972241"/>
                <a:gd name="connsiteY504" fmla="*/ 380556 h 510557"/>
                <a:gd name="connsiteX505" fmla="*/ 137821 w 972241"/>
                <a:gd name="connsiteY505" fmla="*/ 378927 h 510557"/>
                <a:gd name="connsiteX506" fmla="*/ 142382 w 972241"/>
                <a:gd name="connsiteY506" fmla="*/ 377461 h 510557"/>
                <a:gd name="connsiteX507" fmla="*/ 146293 w 972241"/>
                <a:gd name="connsiteY507" fmla="*/ 379415 h 510557"/>
                <a:gd name="connsiteX508" fmla="*/ 151343 w 972241"/>
                <a:gd name="connsiteY508" fmla="*/ 377949 h 510557"/>
                <a:gd name="connsiteX509" fmla="*/ 155578 w 972241"/>
                <a:gd name="connsiteY509" fmla="*/ 377298 h 510557"/>
                <a:gd name="connsiteX510" fmla="*/ 157696 w 972241"/>
                <a:gd name="connsiteY510" fmla="*/ 379415 h 510557"/>
                <a:gd name="connsiteX511" fmla="*/ 159977 w 972241"/>
                <a:gd name="connsiteY511" fmla="*/ 377949 h 510557"/>
                <a:gd name="connsiteX512" fmla="*/ 163398 w 972241"/>
                <a:gd name="connsiteY512" fmla="*/ 377949 h 510557"/>
                <a:gd name="connsiteX513" fmla="*/ 167634 w 972241"/>
                <a:gd name="connsiteY513" fmla="*/ 382511 h 510557"/>
                <a:gd name="connsiteX514" fmla="*/ 171706 w 972241"/>
                <a:gd name="connsiteY514" fmla="*/ 382511 h 510557"/>
                <a:gd name="connsiteX515" fmla="*/ 177082 w 972241"/>
                <a:gd name="connsiteY515" fmla="*/ 379741 h 510557"/>
                <a:gd name="connsiteX516" fmla="*/ 177897 w 972241"/>
                <a:gd name="connsiteY516" fmla="*/ 377461 h 510557"/>
                <a:gd name="connsiteX517" fmla="*/ 174150 w 972241"/>
                <a:gd name="connsiteY517" fmla="*/ 376157 h 510557"/>
                <a:gd name="connsiteX518" fmla="*/ 169262 w 972241"/>
                <a:gd name="connsiteY518" fmla="*/ 375017 h 510557"/>
                <a:gd name="connsiteX519" fmla="*/ 166004 w 972241"/>
                <a:gd name="connsiteY519" fmla="*/ 368338 h 510557"/>
                <a:gd name="connsiteX520" fmla="*/ 166819 w 972241"/>
                <a:gd name="connsiteY520" fmla="*/ 362636 h 510557"/>
                <a:gd name="connsiteX521" fmla="*/ 170077 w 972241"/>
                <a:gd name="connsiteY521" fmla="*/ 361170 h 510557"/>
                <a:gd name="connsiteX522" fmla="*/ 172032 w 972241"/>
                <a:gd name="connsiteY522" fmla="*/ 358726 h 510557"/>
                <a:gd name="connsiteX523" fmla="*/ 170403 w 972241"/>
                <a:gd name="connsiteY523" fmla="*/ 357097 h 510557"/>
                <a:gd name="connsiteX524" fmla="*/ 168774 w 972241"/>
                <a:gd name="connsiteY524" fmla="*/ 354979 h 510557"/>
                <a:gd name="connsiteX525" fmla="*/ 167959 w 972241"/>
                <a:gd name="connsiteY525" fmla="*/ 352535 h 510557"/>
                <a:gd name="connsiteX526" fmla="*/ 170892 w 972241"/>
                <a:gd name="connsiteY526" fmla="*/ 347322 h 510557"/>
                <a:gd name="connsiteX527" fmla="*/ 171380 w 972241"/>
                <a:gd name="connsiteY527" fmla="*/ 343413 h 510557"/>
                <a:gd name="connsiteX528" fmla="*/ 167308 w 972241"/>
                <a:gd name="connsiteY528" fmla="*/ 339503 h 510557"/>
                <a:gd name="connsiteX529" fmla="*/ 166168 w 972241"/>
                <a:gd name="connsiteY529" fmla="*/ 336570 h 510557"/>
                <a:gd name="connsiteX530" fmla="*/ 168285 w 972241"/>
                <a:gd name="connsiteY530" fmla="*/ 333312 h 510557"/>
                <a:gd name="connsiteX531" fmla="*/ 168122 w 972241"/>
                <a:gd name="connsiteY531" fmla="*/ 331846 h 510557"/>
                <a:gd name="connsiteX532" fmla="*/ 164701 w 972241"/>
                <a:gd name="connsiteY532" fmla="*/ 331194 h 510557"/>
                <a:gd name="connsiteX533" fmla="*/ 162746 w 972241"/>
                <a:gd name="connsiteY533" fmla="*/ 327773 h 510557"/>
                <a:gd name="connsiteX534" fmla="*/ 161932 w 972241"/>
                <a:gd name="connsiteY534" fmla="*/ 325493 h 510557"/>
                <a:gd name="connsiteX535" fmla="*/ 153135 w 972241"/>
                <a:gd name="connsiteY535" fmla="*/ 325004 h 510557"/>
                <a:gd name="connsiteX536" fmla="*/ 150039 w 972241"/>
                <a:gd name="connsiteY536" fmla="*/ 324352 h 510557"/>
                <a:gd name="connsiteX537" fmla="*/ 146618 w 972241"/>
                <a:gd name="connsiteY537" fmla="*/ 325330 h 510557"/>
                <a:gd name="connsiteX538" fmla="*/ 145966 w 972241"/>
                <a:gd name="connsiteY538" fmla="*/ 327122 h 510557"/>
                <a:gd name="connsiteX539" fmla="*/ 143197 w 972241"/>
                <a:gd name="connsiteY539" fmla="*/ 328588 h 510557"/>
                <a:gd name="connsiteX540" fmla="*/ 143034 w 972241"/>
                <a:gd name="connsiteY540" fmla="*/ 331031 h 510557"/>
                <a:gd name="connsiteX541" fmla="*/ 140591 w 972241"/>
                <a:gd name="connsiteY541" fmla="*/ 332498 h 510557"/>
                <a:gd name="connsiteX542" fmla="*/ 137007 w 972241"/>
                <a:gd name="connsiteY542" fmla="*/ 331031 h 510557"/>
                <a:gd name="connsiteX543" fmla="*/ 136681 w 972241"/>
                <a:gd name="connsiteY543" fmla="*/ 328914 h 510557"/>
                <a:gd name="connsiteX544" fmla="*/ 133586 w 972241"/>
                <a:gd name="connsiteY544" fmla="*/ 329077 h 510557"/>
                <a:gd name="connsiteX545" fmla="*/ 131957 w 972241"/>
                <a:gd name="connsiteY545" fmla="*/ 330869 h 510557"/>
                <a:gd name="connsiteX546" fmla="*/ 129513 w 972241"/>
                <a:gd name="connsiteY546" fmla="*/ 327773 h 510557"/>
                <a:gd name="connsiteX547" fmla="*/ 129839 w 972241"/>
                <a:gd name="connsiteY547" fmla="*/ 324026 h 510557"/>
                <a:gd name="connsiteX548" fmla="*/ 128535 w 972241"/>
                <a:gd name="connsiteY548" fmla="*/ 322723 h 510557"/>
                <a:gd name="connsiteX549" fmla="*/ 126580 w 972241"/>
                <a:gd name="connsiteY549" fmla="*/ 324352 h 510557"/>
                <a:gd name="connsiteX550" fmla="*/ 123322 w 972241"/>
                <a:gd name="connsiteY550" fmla="*/ 324352 h 510557"/>
                <a:gd name="connsiteX551" fmla="*/ 121041 w 972241"/>
                <a:gd name="connsiteY551" fmla="*/ 322723 h 510557"/>
                <a:gd name="connsiteX552" fmla="*/ 114362 w 972241"/>
                <a:gd name="connsiteY552" fmla="*/ 322723 h 510557"/>
                <a:gd name="connsiteX553" fmla="*/ 110778 w 972241"/>
                <a:gd name="connsiteY553" fmla="*/ 326307 h 510557"/>
                <a:gd name="connsiteX554" fmla="*/ 109638 w 972241"/>
                <a:gd name="connsiteY554" fmla="*/ 330054 h 510557"/>
                <a:gd name="connsiteX555" fmla="*/ 108171 w 972241"/>
                <a:gd name="connsiteY555" fmla="*/ 330869 h 510557"/>
                <a:gd name="connsiteX556" fmla="*/ 106380 w 972241"/>
                <a:gd name="connsiteY556" fmla="*/ 329239 h 510557"/>
                <a:gd name="connsiteX557" fmla="*/ 104099 w 972241"/>
                <a:gd name="connsiteY557" fmla="*/ 329239 h 510557"/>
                <a:gd name="connsiteX558" fmla="*/ 101004 w 972241"/>
                <a:gd name="connsiteY558" fmla="*/ 333312 h 510557"/>
                <a:gd name="connsiteX559" fmla="*/ 98234 w 972241"/>
                <a:gd name="connsiteY559" fmla="*/ 333149 h 510557"/>
                <a:gd name="connsiteX560" fmla="*/ 96116 w 972241"/>
                <a:gd name="connsiteY560" fmla="*/ 336407 h 510557"/>
                <a:gd name="connsiteX561" fmla="*/ 91881 w 972241"/>
                <a:gd name="connsiteY561" fmla="*/ 339991 h 510557"/>
                <a:gd name="connsiteX562" fmla="*/ 89437 w 972241"/>
                <a:gd name="connsiteY562" fmla="*/ 339666 h 510557"/>
                <a:gd name="connsiteX563" fmla="*/ 88623 w 972241"/>
                <a:gd name="connsiteY563" fmla="*/ 342598 h 510557"/>
                <a:gd name="connsiteX564" fmla="*/ 86668 w 972241"/>
                <a:gd name="connsiteY564" fmla="*/ 344553 h 510557"/>
                <a:gd name="connsiteX565" fmla="*/ 84876 w 972241"/>
                <a:gd name="connsiteY565" fmla="*/ 342598 h 510557"/>
                <a:gd name="connsiteX566" fmla="*/ 82758 w 972241"/>
                <a:gd name="connsiteY566" fmla="*/ 342435 h 510557"/>
                <a:gd name="connsiteX567" fmla="*/ 80966 w 972241"/>
                <a:gd name="connsiteY567" fmla="*/ 345042 h 510557"/>
                <a:gd name="connsiteX568" fmla="*/ 77545 w 972241"/>
                <a:gd name="connsiteY568" fmla="*/ 344879 h 510557"/>
                <a:gd name="connsiteX569" fmla="*/ 76241 w 972241"/>
                <a:gd name="connsiteY569" fmla="*/ 342435 h 510557"/>
                <a:gd name="connsiteX570" fmla="*/ 74612 w 972241"/>
                <a:gd name="connsiteY570" fmla="*/ 342435 h 5105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</a:cxnLst>
              <a:rect l="l" t="t" r="r" b="b"/>
              <a:pathLst>
                <a:path w="972241" h="510557">
                  <a:moveTo>
                    <a:pt x="74612" y="342435"/>
                  </a:moveTo>
                  <a:lnTo>
                    <a:pt x="68096" y="338362"/>
                  </a:lnTo>
                  <a:lnTo>
                    <a:pt x="61417" y="340480"/>
                  </a:lnTo>
                  <a:lnTo>
                    <a:pt x="51968" y="334290"/>
                  </a:lnTo>
                  <a:lnTo>
                    <a:pt x="52620" y="330054"/>
                  </a:lnTo>
                  <a:lnTo>
                    <a:pt x="62394" y="330054"/>
                  </a:lnTo>
                  <a:lnTo>
                    <a:pt x="51968" y="312786"/>
                  </a:lnTo>
                  <a:lnTo>
                    <a:pt x="40239" y="301708"/>
                  </a:lnTo>
                  <a:lnTo>
                    <a:pt x="23622" y="296983"/>
                  </a:lnTo>
                  <a:lnTo>
                    <a:pt x="21667" y="300893"/>
                  </a:lnTo>
                  <a:lnTo>
                    <a:pt x="13359" y="293888"/>
                  </a:lnTo>
                  <a:lnTo>
                    <a:pt x="14987" y="289978"/>
                  </a:lnTo>
                  <a:lnTo>
                    <a:pt x="10589" y="282810"/>
                  </a:lnTo>
                  <a:lnTo>
                    <a:pt x="0" y="278738"/>
                  </a:lnTo>
                  <a:lnTo>
                    <a:pt x="3910" y="269940"/>
                  </a:lnTo>
                  <a:lnTo>
                    <a:pt x="6191" y="254138"/>
                  </a:lnTo>
                  <a:lnTo>
                    <a:pt x="2280" y="250228"/>
                  </a:lnTo>
                  <a:lnTo>
                    <a:pt x="977" y="237685"/>
                  </a:lnTo>
                  <a:lnTo>
                    <a:pt x="5864" y="235404"/>
                  </a:lnTo>
                  <a:lnTo>
                    <a:pt x="12707" y="226932"/>
                  </a:lnTo>
                  <a:lnTo>
                    <a:pt x="12707" y="220416"/>
                  </a:lnTo>
                  <a:lnTo>
                    <a:pt x="16454" y="215692"/>
                  </a:lnTo>
                  <a:lnTo>
                    <a:pt x="30138" y="227910"/>
                  </a:lnTo>
                  <a:lnTo>
                    <a:pt x="31767" y="232634"/>
                  </a:lnTo>
                  <a:lnTo>
                    <a:pt x="39424" y="237359"/>
                  </a:lnTo>
                  <a:lnTo>
                    <a:pt x="47407" y="236707"/>
                  </a:lnTo>
                  <a:lnTo>
                    <a:pt x="46429" y="228887"/>
                  </a:lnTo>
                  <a:lnTo>
                    <a:pt x="49525" y="226281"/>
                  </a:lnTo>
                  <a:lnTo>
                    <a:pt x="43660" y="205917"/>
                  </a:lnTo>
                  <a:lnTo>
                    <a:pt x="51642" y="204940"/>
                  </a:lnTo>
                  <a:lnTo>
                    <a:pt x="59950" y="204940"/>
                  </a:lnTo>
                  <a:lnTo>
                    <a:pt x="59950" y="198912"/>
                  </a:lnTo>
                  <a:lnTo>
                    <a:pt x="56204" y="194188"/>
                  </a:lnTo>
                  <a:lnTo>
                    <a:pt x="57833" y="188323"/>
                  </a:lnTo>
                  <a:lnTo>
                    <a:pt x="65489" y="183599"/>
                  </a:lnTo>
                  <a:lnTo>
                    <a:pt x="68911" y="183436"/>
                  </a:lnTo>
                  <a:lnTo>
                    <a:pt x="71354" y="176594"/>
                  </a:lnTo>
                  <a:lnTo>
                    <a:pt x="75264" y="173661"/>
                  </a:lnTo>
                  <a:lnTo>
                    <a:pt x="80477" y="175127"/>
                  </a:lnTo>
                  <a:lnTo>
                    <a:pt x="81292" y="170403"/>
                  </a:lnTo>
                  <a:lnTo>
                    <a:pt x="79988" y="165842"/>
                  </a:lnTo>
                  <a:lnTo>
                    <a:pt x="81292" y="162583"/>
                  </a:lnTo>
                  <a:lnTo>
                    <a:pt x="88786" y="166982"/>
                  </a:lnTo>
                  <a:lnTo>
                    <a:pt x="94976" y="169588"/>
                  </a:lnTo>
                  <a:lnTo>
                    <a:pt x="94161" y="172847"/>
                  </a:lnTo>
                  <a:lnTo>
                    <a:pt x="90741" y="177082"/>
                  </a:lnTo>
                  <a:lnTo>
                    <a:pt x="93347" y="179689"/>
                  </a:lnTo>
                  <a:lnTo>
                    <a:pt x="98071" y="176919"/>
                  </a:lnTo>
                  <a:lnTo>
                    <a:pt x="99375" y="173010"/>
                  </a:lnTo>
                  <a:lnTo>
                    <a:pt x="102796" y="170892"/>
                  </a:lnTo>
                  <a:lnTo>
                    <a:pt x="102959" y="175290"/>
                  </a:lnTo>
                  <a:lnTo>
                    <a:pt x="106380" y="171706"/>
                  </a:lnTo>
                  <a:lnTo>
                    <a:pt x="107031" y="168611"/>
                  </a:lnTo>
                  <a:lnTo>
                    <a:pt x="112082" y="168122"/>
                  </a:lnTo>
                  <a:lnTo>
                    <a:pt x="117457" y="164375"/>
                  </a:lnTo>
                  <a:lnTo>
                    <a:pt x="122019" y="164212"/>
                  </a:lnTo>
                  <a:lnTo>
                    <a:pt x="124788" y="171055"/>
                  </a:lnTo>
                  <a:lnTo>
                    <a:pt x="130490" y="174965"/>
                  </a:lnTo>
                  <a:lnTo>
                    <a:pt x="139776" y="171869"/>
                  </a:lnTo>
                  <a:lnTo>
                    <a:pt x="144012" y="172195"/>
                  </a:lnTo>
                  <a:lnTo>
                    <a:pt x="146455" y="175942"/>
                  </a:lnTo>
                  <a:lnTo>
                    <a:pt x="149550" y="176268"/>
                  </a:lnTo>
                  <a:lnTo>
                    <a:pt x="154601" y="182784"/>
                  </a:lnTo>
                  <a:lnTo>
                    <a:pt x="160139" y="182784"/>
                  </a:lnTo>
                  <a:lnTo>
                    <a:pt x="164212" y="188160"/>
                  </a:lnTo>
                  <a:lnTo>
                    <a:pt x="171380" y="193536"/>
                  </a:lnTo>
                  <a:lnTo>
                    <a:pt x="175453" y="193862"/>
                  </a:lnTo>
                  <a:lnTo>
                    <a:pt x="177408" y="197446"/>
                  </a:lnTo>
                  <a:lnTo>
                    <a:pt x="177897" y="203311"/>
                  </a:lnTo>
                  <a:lnTo>
                    <a:pt x="180829" y="204125"/>
                  </a:lnTo>
                  <a:lnTo>
                    <a:pt x="184087" y="199238"/>
                  </a:lnTo>
                  <a:lnTo>
                    <a:pt x="183598" y="192722"/>
                  </a:lnTo>
                  <a:lnTo>
                    <a:pt x="188486" y="189789"/>
                  </a:lnTo>
                  <a:lnTo>
                    <a:pt x="192070" y="194839"/>
                  </a:lnTo>
                  <a:lnTo>
                    <a:pt x="201844" y="196306"/>
                  </a:lnTo>
                  <a:lnTo>
                    <a:pt x="204777" y="201030"/>
                  </a:lnTo>
                  <a:lnTo>
                    <a:pt x="208850" y="202659"/>
                  </a:lnTo>
                  <a:lnTo>
                    <a:pt x="215040" y="197935"/>
                  </a:lnTo>
                  <a:lnTo>
                    <a:pt x="215692" y="188323"/>
                  </a:lnTo>
                  <a:lnTo>
                    <a:pt x="220905" y="187834"/>
                  </a:lnTo>
                  <a:lnTo>
                    <a:pt x="221393" y="182947"/>
                  </a:lnTo>
                  <a:lnTo>
                    <a:pt x="225466" y="181644"/>
                  </a:lnTo>
                  <a:lnTo>
                    <a:pt x="228398" y="185554"/>
                  </a:lnTo>
                  <a:lnTo>
                    <a:pt x="230516" y="181318"/>
                  </a:lnTo>
                  <a:lnTo>
                    <a:pt x="236381" y="180340"/>
                  </a:lnTo>
                  <a:lnTo>
                    <a:pt x="243875" y="187183"/>
                  </a:lnTo>
                  <a:lnTo>
                    <a:pt x="245341" y="189952"/>
                  </a:lnTo>
                  <a:lnTo>
                    <a:pt x="252509" y="189300"/>
                  </a:lnTo>
                  <a:lnTo>
                    <a:pt x="251532" y="182947"/>
                  </a:lnTo>
                  <a:lnTo>
                    <a:pt x="255605" y="181644"/>
                  </a:lnTo>
                  <a:lnTo>
                    <a:pt x="261306" y="182295"/>
                  </a:lnTo>
                  <a:lnTo>
                    <a:pt x="264076" y="178711"/>
                  </a:lnTo>
                  <a:lnTo>
                    <a:pt x="270103" y="182132"/>
                  </a:lnTo>
                  <a:lnTo>
                    <a:pt x="273850" y="183924"/>
                  </a:lnTo>
                  <a:lnTo>
                    <a:pt x="272221" y="187346"/>
                  </a:lnTo>
                  <a:lnTo>
                    <a:pt x="268311" y="189463"/>
                  </a:lnTo>
                  <a:lnTo>
                    <a:pt x="273362" y="195328"/>
                  </a:lnTo>
                  <a:lnTo>
                    <a:pt x="277923" y="196794"/>
                  </a:lnTo>
                  <a:lnTo>
                    <a:pt x="280041" y="195328"/>
                  </a:lnTo>
                  <a:lnTo>
                    <a:pt x="283625" y="197446"/>
                  </a:lnTo>
                  <a:lnTo>
                    <a:pt x="291282" y="196957"/>
                  </a:lnTo>
                  <a:lnTo>
                    <a:pt x="300405" y="202007"/>
                  </a:lnTo>
                  <a:lnTo>
                    <a:pt x="306106" y="200867"/>
                  </a:lnTo>
                  <a:lnTo>
                    <a:pt x="308713" y="195491"/>
                  </a:lnTo>
                  <a:lnTo>
                    <a:pt x="309039" y="190604"/>
                  </a:lnTo>
                  <a:lnTo>
                    <a:pt x="311645" y="188160"/>
                  </a:lnTo>
                  <a:lnTo>
                    <a:pt x="319465" y="192884"/>
                  </a:lnTo>
                  <a:lnTo>
                    <a:pt x="326796" y="193699"/>
                  </a:lnTo>
                  <a:lnTo>
                    <a:pt x="335430" y="190767"/>
                  </a:lnTo>
                  <a:lnTo>
                    <a:pt x="337711" y="186531"/>
                  </a:lnTo>
                  <a:lnTo>
                    <a:pt x="336407" y="166493"/>
                  </a:lnTo>
                  <a:lnTo>
                    <a:pt x="334127" y="164538"/>
                  </a:lnTo>
                  <a:lnTo>
                    <a:pt x="326470" y="164375"/>
                  </a:lnTo>
                  <a:lnTo>
                    <a:pt x="321746" y="160466"/>
                  </a:lnTo>
                  <a:lnTo>
                    <a:pt x="320768" y="157696"/>
                  </a:lnTo>
                  <a:lnTo>
                    <a:pt x="315066" y="156393"/>
                  </a:lnTo>
                  <a:lnTo>
                    <a:pt x="311645" y="153135"/>
                  </a:lnTo>
                  <a:lnTo>
                    <a:pt x="305618" y="153135"/>
                  </a:lnTo>
                  <a:lnTo>
                    <a:pt x="305129" y="149876"/>
                  </a:lnTo>
                  <a:lnTo>
                    <a:pt x="303500" y="146618"/>
                  </a:lnTo>
                  <a:lnTo>
                    <a:pt x="304314" y="144175"/>
                  </a:lnTo>
                  <a:lnTo>
                    <a:pt x="308876" y="143523"/>
                  </a:lnTo>
                  <a:lnTo>
                    <a:pt x="309853" y="138147"/>
                  </a:lnTo>
                  <a:lnTo>
                    <a:pt x="313600" y="133586"/>
                  </a:lnTo>
                  <a:lnTo>
                    <a:pt x="312297" y="127721"/>
                  </a:lnTo>
                  <a:lnTo>
                    <a:pt x="308550" y="127232"/>
                  </a:lnTo>
                  <a:lnTo>
                    <a:pt x="308061" y="121693"/>
                  </a:lnTo>
                  <a:lnTo>
                    <a:pt x="313763" y="113385"/>
                  </a:lnTo>
                  <a:lnTo>
                    <a:pt x="319791" y="108009"/>
                  </a:lnTo>
                  <a:lnTo>
                    <a:pt x="330380" y="106868"/>
                  </a:lnTo>
                  <a:lnTo>
                    <a:pt x="334616" y="108335"/>
                  </a:lnTo>
                  <a:lnTo>
                    <a:pt x="337548" y="106380"/>
                  </a:lnTo>
                  <a:lnTo>
                    <a:pt x="337711" y="101167"/>
                  </a:lnTo>
                  <a:lnTo>
                    <a:pt x="332823" y="99700"/>
                  </a:lnTo>
                  <a:lnTo>
                    <a:pt x="328751" y="95628"/>
                  </a:lnTo>
                  <a:lnTo>
                    <a:pt x="324678" y="95791"/>
                  </a:lnTo>
                  <a:lnTo>
                    <a:pt x="321583" y="98234"/>
                  </a:lnTo>
                  <a:lnTo>
                    <a:pt x="316369" y="96116"/>
                  </a:lnTo>
                  <a:lnTo>
                    <a:pt x="310016" y="95791"/>
                  </a:lnTo>
                  <a:lnTo>
                    <a:pt x="309364" y="92532"/>
                  </a:lnTo>
                  <a:lnTo>
                    <a:pt x="311645" y="90578"/>
                  </a:lnTo>
                  <a:lnTo>
                    <a:pt x="318487" y="90252"/>
                  </a:lnTo>
                  <a:lnTo>
                    <a:pt x="316369" y="84876"/>
                  </a:lnTo>
                  <a:lnTo>
                    <a:pt x="310016" y="85690"/>
                  </a:lnTo>
                  <a:lnTo>
                    <a:pt x="305292" y="84387"/>
                  </a:lnTo>
                  <a:lnTo>
                    <a:pt x="307735" y="81780"/>
                  </a:lnTo>
                  <a:lnTo>
                    <a:pt x="304966" y="75753"/>
                  </a:lnTo>
                  <a:lnTo>
                    <a:pt x="306758" y="74124"/>
                  </a:lnTo>
                  <a:lnTo>
                    <a:pt x="312297" y="73798"/>
                  </a:lnTo>
                  <a:lnTo>
                    <a:pt x="314903" y="70540"/>
                  </a:lnTo>
                  <a:lnTo>
                    <a:pt x="318650" y="70866"/>
                  </a:lnTo>
                  <a:lnTo>
                    <a:pt x="320279" y="73635"/>
                  </a:lnTo>
                  <a:lnTo>
                    <a:pt x="326144" y="72820"/>
                  </a:lnTo>
                  <a:lnTo>
                    <a:pt x="330705" y="76079"/>
                  </a:lnTo>
                  <a:lnTo>
                    <a:pt x="332823" y="73635"/>
                  </a:lnTo>
                  <a:lnTo>
                    <a:pt x="332823" y="70377"/>
                  </a:lnTo>
                  <a:lnTo>
                    <a:pt x="337222" y="67607"/>
                  </a:lnTo>
                  <a:lnTo>
                    <a:pt x="341784" y="67770"/>
                  </a:lnTo>
                  <a:lnTo>
                    <a:pt x="344716" y="72495"/>
                  </a:lnTo>
                  <a:lnTo>
                    <a:pt x="347159" y="69074"/>
                  </a:lnTo>
                  <a:lnTo>
                    <a:pt x="347811" y="65490"/>
                  </a:lnTo>
                  <a:lnTo>
                    <a:pt x="356608" y="62720"/>
                  </a:lnTo>
                  <a:lnTo>
                    <a:pt x="362473" y="62068"/>
                  </a:lnTo>
                  <a:lnTo>
                    <a:pt x="368989" y="58973"/>
                  </a:lnTo>
                  <a:lnTo>
                    <a:pt x="375668" y="58484"/>
                  </a:lnTo>
                  <a:lnTo>
                    <a:pt x="376972" y="56204"/>
                  </a:lnTo>
                  <a:lnTo>
                    <a:pt x="383814" y="51968"/>
                  </a:lnTo>
                  <a:lnTo>
                    <a:pt x="390168" y="51805"/>
                  </a:lnTo>
                  <a:lnTo>
                    <a:pt x="394240" y="49036"/>
                  </a:lnTo>
                  <a:lnTo>
                    <a:pt x="397824" y="48710"/>
                  </a:lnTo>
                  <a:lnTo>
                    <a:pt x="401408" y="50176"/>
                  </a:lnTo>
                  <a:lnTo>
                    <a:pt x="403363" y="48384"/>
                  </a:lnTo>
                  <a:lnTo>
                    <a:pt x="403200" y="43008"/>
                  </a:lnTo>
                  <a:lnTo>
                    <a:pt x="406132" y="40402"/>
                  </a:lnTo>
                  <a:lnTo>
                    <a:pt x="411671" y="40402"/>
                  </a:lnTo>
                  <a:lnTo>
                    <a:pt x="412323" y="37143"/>
                  </a:lnTo>
                  <a:lnTo>
                    <a:pt x="415744" y="34374"/>
                  </a:lnTo>
                  <a:lnTo>
                    <a:pt x="418514" y="36818"/>
                  </a:lnTo>
                  <a:lnTo>
                    <a:pt x="422098" y="37632"/>
                  </a:lnTo>
                  <a:lnTo>
                    <a:pt x="426985" y="34863"/>
                  </a:lnTo>
                  <a:lnTo>
                    <a:pt x="432687" y="33071"/>
                  </a:lnTo>
                  <a:lnTo>
                    <a:pt x="443602" y="25577"/>
                  </a:lnTo>
                  <a:lnTo>
                    <a:pt x="445882" y="25577"/>
                  </a:lnTo>
                  <a:lnTo>
                    <a:pt x="448326" y="23948"/>
                  </a:lnTo>
                  <a:lnTo>
                    <a:pt x="454353" y="22807"/>
                  </a:lnTo>
                  <a:lnTo>
                    <a:pt x="457937" y="18246"/>
                  </a:lnTo>
                  <a:lnTo>
                    <a:pt x="461196" y="19223"/>
                  </a:lnTo>
                  <a:lnTo>
                    <a:pt x="468038" y="17757"/>
                  </a:lnTo>
                  <a:lnTo>
                    <a:pt x="467875" y="14010"/>
                  </a:lnTo>
                  <a:lnTo>
                    <a:pt x="465432" y="10100"/>
                  </a:lnTo>
                  <a:lnTo>
                    <a:pt x="468201" y="8634"/>
                  </a:lnTo>
                  <a:lnTo>
                    <a:pt x="475043" y="8308"/>
                  </a:lnTo>
                  <a:lnTo>
                    <a:pt x="476509" y="3421"/>
                  </a:lnTo>
                  <a:lnTo>
                    <a:pt x="481071" y="815"/>
                  </a:lnTo>
                  <a:lnTo>
                    <a:pt x="484329" y="1303"/>
                  </a:lnTo>
                  <a:lnTo>
                    <a:pt x="488076" y="0"/>
                  </a:lnTo>
                  <a:lnTo>
                    <a:pt x="494429" y="2607"/>
                  </a:lnTo>
                  <a:lnTo>
                    <a:pt x="501434" y="1955"/>
                  </a:lnTo>
                  <a:lnTo>
                    <a:pt x="507462" y="6028"/>
                  </a:lnTo>
                  <a:lnTo>
                    <a:pt x="513653" y="5865"/>
                  </a:lnTo>
                  <a:lnTo>
                    <a:pt x="519191" y="3584"/>
                  </a:lnTo>
                  <a:lnTo>
                    <a:pt x="524568" y="3910"/>
                  </a:lnTo>
                  <a:lnTo>
                    <a:pt x="526685" y="10263"/>
                  </a:lnTo>
                  <a:lnTo>
                    <a:pt x="528640" y="11892"/>
                  </a:lnTo>
                  <a:lnTo>
                    <a:pt x="530595" y="17106"/>
                  </a:lnTo>
                  <a:lnTo>
                    <a:pt x="534016" y="21504"/>
                  </a:lnTo>
                  <a:lnTo>
                    <a:pt x="537437" y="23459"/>
                  </a:lnTo>
                  <a:lnTo>
                    <a:pt x="537926" y="26228"/>
                  </a:lnTo>
                  <a:lnTo>
                    <a:pt x="536623" y="30627"/>
                  </a:lnTo>
                  <a:lnTo>
                    <a:pt x="537763" y="35514"/>
                  </a:lnTo>
                  <a:lnTo>
                    <a:pt x="537437" y="37469"/>
                  </a:lnTo>
                  <a:lnTo>
                    <a:pt x="533528" y="38610"/>
                  </a:lnTo>
                  <a:lnTo>
                    <a:pt x="535808" y="43334"/>
                  </a:lnTo>
                  <a:lnTo>
                    <a:pt x="538903" y="45615"/>
                  </a:lnTo>
                  <a:lnTo>
                    <a:pt x="544442" y="42194"/>
                  </a:lnTo>
                  <a:lnTo>
                    <a:pt x="548352" y="45452"/>
                  </a:lnTo>
                  <a:lnTo>
                    <a:pt x="551285" y="44311"/>
                  </a:lnTo>
                  <a:lnTo>
                    <a:pt x="552262" y="39424"/>
                  </a:lnTo>
                  <a:lnTo>
                    <a:pt x="555520" y="38121"/>
                  </a:lnTo>
                  <a:lnTo>
                    <a:pt x="557150" y="43334"/>
                  </a:lnTo>
                  <a:lnTo>
                    <a:pt x="560244" y="43334"/>
                  </a:lnTo>
                  <a:lnTo>
                    <a:pt x="560896" y="39261"/>
                  </a:lnTo>
                  <a:lnTo>
                    <a:pt x="558941" y="34048"/>
                  </a:lnTo>
                  <a:lnTo>
                    <a:pt x="560570" y="33071"/>
                  </a:lnTo>
                  <a:lnTo>
                    <a:pt x="569368" y="39424"/>
                  </a:lnTo>
                  <a:lnTo>
                    <a:pt x="570345" y="47570"/>
                  </a:lnTo>
                  <a:lnTo>
                    <a:pt x="573766" y="53923"/>
                  </a:lnTo>
                  <a:lnTo>
                    <a:pt x="576698" y="53760"/>
                  </a:lnTo>
                  <a:lnTo>
                    <a:pt x="580445" y="49687"/>
                  </a:lnTo>
                  <a:lnTo>
                    <a:pt x="577676" y="48384"/>
                  </a:lnTo>
                  <a:lnTo>
                    <a:pt x="576210" y="45615"/>
                  </a:lnTo>
                  <a:lnTo>
                    <a:pt x="581912" y="44311"/>
                  </a:lnTo>
                  <a:lnTo>
                    <a:pt x="591523" y="49036"/>
                  </a:lnTo>
                  <a:lnTo>
                    <a:pt x="594782" y="49036"/>
                  </a:lnTo>
                  <a:lnTo>
                    <a:pt x="598528" y="45940"/>
                  </a:lnTo>
                  <a:lnTo>
                    <a:pt x="601460" y="47407"/>
                  </a:lnTo>
                  <a:lnTo>
                    <a:pt x="599343" y="52457"/>
                  </a:lnTo>
                  <a:lnTo>
                    <a:pt x="596085" y="55226"/>
                  </a:lnTo>
                  <a:lnTo>
                    <a:pt x="596085" y="61906"/>
                  </a:lnTo>
                  <a:lnTo>
                    <a:pt x="599506" y="66467"/>
                  </a:lnTo>
                  <a:lnTo>
                    <a:pt x="602927" y="66141"/>
                  </a:lnTo>
                  <a:lnTo>
                    <a:pt x="605859" y="62557"/>
                  </a:lnTo>
                  <a:lnTo>
                    <a:pt x="611724" y="60928"/>
                  </a:lnTo>
                  <a:lnTo>
                    <a:pt x="621987" y="63372"/>
                  </a:lnTo>
                  <a:lnTo>
                    <a:pt x="624431" y="65164"/>
                  </a:lnTo>
                  <a:lnTo>
                    <a:pt x="627689" y="62883"/>
                  </a:lnTo>
                  <a:lnTo>
                    <a:pt x="626548" y="57018"/>
                  </a:lnTo>
                  <a:lnTo>
                    <a:pt x="631436" y="55226"/>
                  </a:lnTo>
                  <a:lnTo>
                    <a:pt x="638930" y="54249"/>
                  </a:lnTo>
                  <a:lnTo>
                    <a:pt x="643654" y="50991"/>
                  </a:lnTo>
                  <a:lnTo>
                    <a:pt x="645772" y="46592"/>
                  </a:lnTo>
                  <a:lnTo>
                    <a:pt x="649682" y="43497"/>
                  </a:lnTo>
                  <a:lnTo>
                    <a:pt x="650171" y="39750"/>
                  </a:lnTo>
                  <a:lnTo>
                    <a:pt x="655872" y="34048"/>
                  </a:lnTo>
                  <a:lnTo>
                    <a:pt x="659945" y="32582"/>
                  </a:lnTo>
                  <a:lnTo>
                    <a:pt x="663855" y="28509"/>
                  </a:lnTo>
                  <a:lnTo>
                    <a:pt x="669394" y="27043"/>
                  </a:lnTo>
                  <a:lnTo>
                    <a:pt x="675910" y="25088"/>
                  </a:lnTo>
                  <a:lnTo>
                    <a:pt x="678842" y="26880"/>
                  </a:lnTo>
                  <a:lnTo>
                    <a:pt x="678517" y="31279"/>
                  </a:lnTo>
                  <a:lnTo>
                    <a:pt x="674281" y="36003"/>
                  </a:lnTo>
                  <a:lnTo>
                    <a:pt x="670208" y="37143"/>
                  </a:lnTo>
                  <a:lnTo>
                    <a:pt x="672326" y="40890"/>
                  </a:lnTo>
                  <a:lnTo>
                    <a:pt x="718266" y="75427"/>
                  </a:lnTo>
                  <a:lnTo>
                    <a:pt x="780987" y="153949"/>
                  </a:lnTo>
                  <a:lnTo>
                    <a:pt x="787340" y="152972"/>
                  </a:lnTo>
                  <a:lnTo>
                    <a:pt x="791412" y="150202"/>
                  </a:lnTo>
                  <a:lnTo>
                    <a:pt x="792553" y="147270"/>
                  </a:lnTo>
                  <a:lnTo>
                    <a:pt x="791250" y="146130"/>
                  </a:lnTo>
                  <a:lnTo>
                    <a:pt x="791087" y="140428"/>
                  </a:lnTo>
                  <a:lnTo>
                    <a:pt x="795160" y="138473"/>
                  </a:lnTo>
                  <a:lnTo>
                    <a:pt x="802491" y="142057"/>
                  </a:lnTo>
                  <a:lnTo>
                    <a:pt x="801676" y="145478"/>
                  </a:lnTo>
                  <a:lnTo>
                    <a:pt x="802165" y="149062"/>
                  </a:lnTo>
                  <a:lnTo>
                    <a:pt x="808030" y="150691"/>
                  </a:lnTo>
                  <a:lnTo>
                    <a:pt x="811614" y="154438"/>
                  </a:lnTo>
                  <a:lnTo>
                    <a:pt x="816175" y="154438"/>
                  </a:lnTo>
                  <a:lnTo>
                    <a:pt x="819759" y="152157"/>
                  </a:lnTo>
                  <a:lnTo>
                    <a:pt x="823994" y="151506"/>
                  </a:lnTo>
                  <a:lnTo>
                    <a:pt x="830511" y="155090"/>
                  </a:lnTo>
                  <a:lnTo>
                    <a:pt x="836050" y="152483"/>
                  </a:lnTo>
                  <a:lnTo>
                    <a:pt x="840285" y="153461"/>
                  </a:lnTo>
                  <a:lnTo>
                    <a:pt x="845335" y="151506"/>
                  </a:lnTo>
                  <a:lnTo>
                    <a:pt x="846639" y="149225"/>
                  </a:lnTo>
                  <a:lnTo>
                    <a:pt x="844847" y="146618"/>
                  </a:lnTo>
                  <a:lnTo>
                    <a:pt x="845824" y="143849"/>
                  </a:lnTo>
                  <a:lnTo>
                    <a:pt x="854296" y="142708"/>
                  </a:lnTo>
                  <a:lnTo>
                    <a:pt x="863419" y="142708"/>
                  </a:lnTo>
                  <a:lnTo>
                    <a:pt x="871075" y="144663"/>
                  </a:lnTo>
                  <a:lnTo>
                    <a:pt x="878732" y="150202"/>
                  </a:lnTo>
                  <a:lnTo>
                    <a:pt x="882805" y="157696"/>
                  </a:lnTo>
                  <a:lnTo>
                    <a:pt x="885574" y="163561"/>
                  </a:lnTo>
                  <a:lnTo>
                    <a:pt x="888018" y="163724"/>
                  </a:lnTo>
                  <a:lnTo>
                    <a:pt x="893394" y="165190"/>
                  </a:lnTo>
                  <a:lnTo>
                    <a:pt x="899421" y="168937"/>
                  </a:lnTo>
                  <a:lnTo>
                    <a:pt x="901214" y="168937"/>
                  </a:lnTo>
                  <a:lnTo>
                    <a:pt x="904960" y="170729"/>
                  </a:lnTo>
                  <a:lnTo>
                    <a:pt x="905286" y="173661"/>
                  </a:lnTo>
                  <a:lnTo>
                    <a:pt x="904309" y="176268"/>
                  </a:lnTo>
                  <a:lnTo>
                    <a:pt x="904471" y="180340"/>
                  </a:lnTo>
                  <a:lnTo>
                    <a:pt x="905775" y="183762"/>
                  </a:lnTo>
                  <a:lnTo>
                    <a:pt x="908382" y="186042"/>
                  </a:lnTo>
                  <a:lnTo>
                    <a:pt x="909522" y="187346"/>
                  </a:lnTo>
                  <a:lnTo>
                    <a:pt x="911803" y="187346"/>
                  </a:lnTo>
                  <a:lnTo>
                    <a:pt x="916853" y="189463"/>
                  </a:lnTo>
                  <a:lnTo>
                    <a:pt x="920762" y="191255"/>
                  </a:lnTo>
                  <a:lnTo>
                    <a:pt x="922066" y="188975"/>
                  </a:lnTo>
                  <a:lnTo>
                    <a:pt x="926139" y="186694"/>
                  </a:lnTo>
                  <a:lnTo>
                    <a:pt x="938357" y="185879"/>
                  </a:lnTo>
                  <a:lnTo>
                    <a:pt x="943896" y="184250"/>
                  </a:lnTo>
                  <a:lnTo>
                    <a:pt x="946339" y="179852"/>
                  </a:lnTo>
                  <a:lnTo>
                    <a:pt x="951389" y="177082"/>
                  </a:lnTo>
                  <a:lnTo>
                    <a:pt x="954159" y="178386"/>
                  </a:lnTo>
                  <a:lnTo>
                    <a:pt x="951878" y="184739"/>
                  </a:lnTo>
                  <a:lnTo>
                    <a:pt x="953344" y="188975"/>
                  </a:lnTo>
                  <a:lnTo>
                    <a:pt x="957091" y="189789"/>
                  </a:lnTo>
                  <a:lnTo>
                    <a:pt x="962793" y="194839"/>
                  </a:lnTo>
                  <a:lnTo>
                    <a:pt x="970287" y="197446"/>
                  </a:lnTo>
                  <a:lnTo>
                    <a:pt x="972242" y="199564"/>
                  </a:lnTo>
                  <a:lnTo>
                    <a:pt x="967517" y="204614"/>
                  </a:lnTo>
                  <a:lnTo>
                    <a:pt x="963608" y="206732"/>
                  </a:lnTo>
                  <a:lnTo>
                    <a:pt x="956766" y="213900"/>
                  </a:lnTo>
                  <a:lnTo>
                    <a:pt x="956603" y="217973"/>
                  </a:lnTo>
                  <a:lnTo>
                    <a:pt x="958069" y="220742"/>
                  </a:lnTo>
                  <a:lnTo>
                    <a:pt x="954810" y="226281"/>
                  </a:lnTo>
                  <a:lnTo>
                    <a:pt x="947317" y="229050"/>
                  </a:lnTo>
                  <a:lnTo>
                    <a:pt x="942755" y="232308"/>
                  </a:lnTo>
                  <a:lnTo>
                    <a:pt x="941778" y="238336"/>
                  </a:lnTo>
                  <a:lnTo>
                    <a:pt x="942103" y="249088"/>
                  </a:lnTo>
                  <a:lnTo>
                    <a:pt x="947154" y="259351"/>
                  </a:lnTo>
                  <a:lnTo>
                    <a:pt x="951878" y="265705"/>
                  </a:lnTo>
                  <a:lnTo>
                    <a:pt x="951226" y="269289"/>
                  </a:lnTo>
                  <a:lnTo>
                    <a:pt x="944710" y="276457"/>
                  </a:lnTo>
                  <a:lnTo>
                    <a:pt x="939171" y="278412"/>
                  </a:lnTo>
                  <a:lnTo>
                    <a:pt x="934773" y="283625"/>
                  </a:lnTo>
                  <a:lnTo>
                    <a:pt x="931026" y="284928"/>
                  </a:lnTo>
                  <a:lnTo>
                    <a:pt x="928745" y="283951"/>
                  </a:lnTo>
                  <a:lnTo>
                    <a:pt x="927442" y="281018"/>
                  </a:lnTo>
                  <a:lnTo>
                    <a:pt x="923043" y="281018"/>
                  </a:lnTo>
                  <a:lnTo>
                    <a:pt x="913106" y="283299"/>
                  </a:lnTo>
                  <a:lnTo>
                    <a:pt x="906264" y="282647"/>
                  </a:lnTo>
                  <a:lnTo>
                    <a:pt x="896326" y="279226"/>
                  </a:lnTo>
                  <a:lnTo>
                    <a:pt x="890298" y="278412"/>
                  </a:lnTo>
                  <a:lnTo>
                    <a:pt x="887366" y="278738"/>
                  </a:lnTo>
                  <a:lnTo>
                    <a:pt x="885248" y="290467"/>
                  </a:lnTo>
                  <a:lnTo>
                    <a:pt x="882968" y="297798"/>
                  </a:lnTo>
                  <a:lnTo>
                    <a:pt x="882642" y="303500"/>
                  </a:lnTo>
                  <a:lnTo>
                    <a:pt x="880198" y="318324"/>
                  </a:lnTo>
                  <a:lnTo>
                    <a:pt x="880198" y="329728"/>
                  </a:lnTo>
                  <a:lnTo>
                    <a:pt x="878895" y="333475"/>
                  </a:lnTo>
                  <a:lnTo>
                    <a:pt x="881827" y="335756"/>
                  </a:lnTo>
                  <a:lnTo>
                    <a:pt x="887855" y="338362"/>
                  </a:lnTo>
                  <a:lnTo>
                    <a:pt x="885411" y="343413"/>
                  </a:lnTo>
                  <a:lnTo>
                    <a:pt x="884760" y="347485"/>
                  </a:lnTo>
                  <a:lnTo>
                    <a:pt x="881501" y="347485"/>
                  </a:lnTo>
                  <a:lnTo>
                    <a:pt x="878569" y="349440"/>
                  </a:lnTo>
                  <a:lnTo>
                    <a:pt x="874496" y="349440"/>
                  </a:lnTo>
                  <a:lnTo>
                    <a:pt x="871564" y="346834"/>
                  </a:lnTo>
                  <a:lnTo>
                    <a:pt x="868306" y="348300"/>
                  </a:lnTo>
                  <a:lnTo>
                    <a:pt x="862115" y="349766"/>
                  </a:lnTo>
                  <a:lnTo>
                    <a:pt x="850875" y="352047"/>
                  </a:lnTo>
                  <a:lnTo>
                    <a:pt x="843055" y="355142"/>
                  </a:lnTo>
                  <a:lnTo>
                    <a:pt x="839308" y="354979"/>
                  </a:lnTo>
                  <a:lnTo>
                    <a:pt x="836212" y="353513"/>
                  </a:lnTo>
                  <a:lnTo>
                    <a:pt x="831977" y="355305"/>
                  </a:lnTo>
                  <a:lnTo>
                    <a:pt x="827416" y="359540"/>
                  </a:lnTo>
                  <a:lnTo>
                    <a:pt x="827253" y="363125"/>
                  </a:lnTo>
                  <a:lnTo>
                    <a:pt x="831651" y="366546"/>
                  </a:lnTo>
                  <a:lnTo>
                    <a:pt x="838819" y="366057"/>
                  </a:lnTo>
                  <a:lnTo>
                    <a:pt x="844684" y="366709"/>
                  </a:lnTo>
                  <a:lnTo>
                    <a:pt x="844684" y="369152"/>
                  </a:lnTo>
                  <a:lnTo>
                    <a:pt x="841100" y="372736"/>
                  </a:lnTo>
                  <a:lnTo>
                    <a:pt x="843544" y="380393"/>
                  </a:lnTo>
                  <a:lnTo>
                    <a:pt x="843869" y="384140"/>
                  </a:lnTo>
                  <a:lnTo>
                    <a:pt x="846150" y="387561"/>
                  </a:lnTo>
                  <a:lnTo>
                    <a:pt x="847128" y="392937"/>
                  </a:lnTo>
                  <a:lnTo>
                    <a:pt x="851852" y="400594"/>
                  </a:lnTo>
                  <a:lnTo>
                    <a:pt x="852830" y="404829"/>
                  </a:lnTo>
                  <a:lnTo>
                    <a:pt x="858368" y="408902"/>
                  </a:lnTo>
                  <a:lnTo>
                    <a:pt x="860323" y="419328"/>
                  </a:lnTo>
                  <a:lnTo>
                    <a:pt x="857228" y="422098"/>
                  </a:lnTo>
                  <a:lnTo>
                    <a:pt x="855599" y="426822"/>
                  </a:lnTo>
                  <a:lnTo>
                    <a:pt x="859835" y="431709"/>
                  </a:lnTo>
                  <a:lnTo>
                    <a:pt x="857554" y="433013"/>
                  </a:lnTo>
                  <a:lnTo>
                    <a:pt x="856902" y="435945"/>
                  </a:lnTo>
                  <a:lnTo>
                    <a:pt x="852015" y="439203"/>
                  </a:lnTo>
                  <a:lnTo>
                    <a:pt x="852178" y="445882"/>
                  </a:lnTo>
                  <a:lnTo>
                    <a:pt x="847453" y="448652"/>
                  </a:lnTo>
                  <a:lnTo>
                    <a:pt x="836050" y="445719"/>
                  </a:lnTo>
                  <a:lnTo>
                    <a:pt x="825135" y="433175"/>
                  </a:lnTo>
                  <a:lnTo>
                    <a:pt x="820573" y="434316"/>
                  </a:lnTo>
                  <a:lnTo>
                    <a:pt x="809821" y="430080"/>
                  </a:lnTo>
                  <a:lnTo>
                    <a:pt x="794182" y="429103"/>
                  </a:lnTo>
                  <a:lnTo>
                    <a:pt x="786525" y="431872"/>
                  </a:lnTo>
                  <a:lnTo>
                    <a:pt x="773330" y="428451"/>
                  </a:lnTo>
                  <a:lnTo>
                    <a:pt x="761275" y="431383"/>
                  </a:lnTo>
                  <a:lnTo>
                    <a:pt x="754921" y="432361"/>
                  </a:lnTo>
                  <a:lnTo>
                    <a:pt x="749056" y="430406"/>
                  </a:lnTo>
                  <a:lnTo>
                    <a:pt x="744495" y="434479"/>
                  </a:lnTo>
                  <a:lnTo>
                    <a:pt x="739607" y="436597"/>
                  </a:lnTo>
                  <a:lnTo>
                    <a:pt x="725598" y="434642"/>
                  </a:lnTo>
                  <a:lnTo>
                    <a:pt x="715334" y="431872"/>
                  </a:lnTo>
                  <a:lnTo>
                    <a:pt x="709958" y="428777"/>
                  </a:lnTo>
                  <a:lnTo>
                    <a:pt x="701812" y="428940"/>
                  </a:lnTo>
                  <a:lnTo>
                    <a:pt x="699043" y="430243"/>
                  </a:lnTo>
                  <a:lnTo>
                    <a:pt x="693016" y="429917"/>
                  </a:lnTo>
                  <a:lnTo>
                    <a:pt x="688291" y="428940"/>
                  </a:lnTo>
                  <a:lnTo>
                    <a:pt x="685359" y="430569"/>
                  </a:lnTo>
                  <a:lnTo>
                    <a:pt x="685848" y="436108"/>
                  </a:lnTo>
                  <a:lnTo>
                    <a:pt x="687314" y="441810"/>
                  </a:lnTo>
                  <a:lnTo>
                    <a:pt x="687477" y="448652"/>
                  </a:lnTo>
                  <a:lnTo>
                    <a:pt x="679494" y="449955"/>
                  </a:lnTo>
                  <a:lnTo>
                    <a:pt x="663692" y="450281"/>
                  </a:lnTo>
                  <a:lnTo>
                    <a:pt x="644957" y="448489"/>
                  </a:lnTo>
                  <a:lnTo>
                    <a:pt x="640396" y="445882"/>
                  </a:lnTo>
                  <a:lnTo>
                    <a:pt x="631925" y="444742"/>
                  </a:lnTo>
                  <a:lnTo>
                    <a:pt x="627200" y="449955"/>
                  </a:lnTo>
                  <a:lnTo>
                    <a:pt x="628992" y="452887"/>
                  </a:lnTo>
                  <a:lnTo>
                    <a:pt x="623453" y="456634"/>
                  </a:lnTo>
                  <a:lnTo>
                    <a:pt x="622639" y="458915"/>
                  </a:lnTo>
                  <a:lnTo>
                    <a:pt x="621010" y="458589"/>
                  </a:lnTo>
                  <a:lnTo>
                    <a:pt x="615796" y="465269"/>
                  </a:lnTo>
                  <a:lnTo>
                    <a:pt x="611398" y="467061"/>
                  </a:lnTo>
                  <a:lnTo>
                    <a:pt x="601460" y="479116"/>
                  </a:lnTo>
                  <a:lnTo>
                    <a:pt x="597877" y="486121"/>
                  </a:lnTo>
                  <a:lnTo>
                    <a:pt x="594944" y="489542"/>
                  </a:lnTo>
                  <a:lnTo>
                    <a:pt x="589894" y="499154"/>
                  </a:lnTo>
                  <a:lnTo>
                    <a:pt x="579468" y="508765"/>
                  </a:lnTo>
                  <a:lnTo>
                    <a:pt x="576861" y="506810"/>
                  </a:lnTo>
                  <a:lnTo>
                    <a:pt x="565295" y="501109"/>
                  </a:lnTo>
                  <a:lnTo>
                    <a:pt x="556660" y="499968"/>
                  </a:lnTo>
                  <a:lnTo>
                    <a:pt x="549167" y="501434"/>
                  </a:lnTo>
                  <a:lnTo>
                    <a:pt x="537600" y="507625"/>
                  </a:lnTo>
                  <a:lnTo>
                    <a:pt x="532387" y="507136"/>
                  </a:lnTo>
                  <a:lnTo>
                    <a:pt x="521635" y="477650"/>
                  </a:lnTo>
                  <a:lnTo>
                    <a:pt x="503552" y="475206"/>
                  </a:lnTo>
                  <a:lnTo>
                    <a:pt x="502737" y="439203"/>
                  </a:lnTo>
                  <a:lnTo>
                    <a:pt x="493778" y="441810"/>
                  </a:lnTo>
                  <a:lnTo>
                    <a:pt x="487424" y="426333"/>
                  </a:lnTo>
                  <a:lnTo>
                    <a:pt x="474391" y="416722"/>
                  </a:lnTo>
                  <a:lnTo>
                    <a:pt x="432361" y="416722"/>
                  </a:lnTo>
                  <a:lnTo>
                    <a:pt x="394240" y="420794"/>
                  </a:lnTo>
                  <a:lnTo>
                    <a:pt x="372899" y="407925"/>
                  </a:lnTo>
                  <a:lnTo>
                    <a:pt x="356934" y="402060"/>
                  </a:lnTo>
                  <a:lnTo>
                    <a:pt x="316369" y="373388"/>
                  </a:lnTo>
                  <a:lnTo>
                    <a:pt x="248925" y="386095"/>
                  </a:lnTo>
                  <a:lnTo>
                    <a:pt x="269614" y="507951"/>
                  </a:lnTo>
                  <a:lnTo>
                    <a:pt x="265868" y="508277"/>
                  </a:lnTo>
                  <a:lnTo>
                    <a:pt x="255605" y="510557"/>
                  </a:lnTo>
                  <a:lnTo>
                    <a:pt x="238987" y="491334"/>
                  </a:lnTo>
                  <a:lnTo>
                    <a:pt x="220905" y="480908"/>
                  </a:lnTo>
                  <a:lnTo>
                    <a:pt x="204288" y="478464"/>
                  </a:lnTo>
                  <a:lnTo>
                    <a:pt x="191744" y="482863"/>
                  </a:lnTo>
                  <a:lnTo>
                    <a:pt x="175942" y="497036"/>
                  </a:lnTo>
                  <a:lnTo>
                    <a:pt x="175453" y="490357"/>
                  </a:lnTo>
                  <a:lnTo>
                    <a:pt x="173987" y="484329"/>
                  </a:lnTo>
                  <a:lnTo>
                    <a:pt x="176919" y="477324"/>
                  </a:lnTo>
                  <a:lnTo>
                    <a:pt x="177897" y="470156"/>
                  </a:lnTo>
                  <a:lnTo>
                    <a:pt x="177571" y="467549"/>
                  </a:lnTo>
                  <a:lnTo>
                    <a:pt x="178386" y="465757"/>
                  </a:lnTo>
                  <a:lnTo>
                    <a:pt x="176593" y="464617"/>
                  </a:lnTo>
                  <a:lnTo>
                    <a:pt x="171055" y="464780"/>
                  </a:lnTo>
                  <a:lnTo>
                    <a:pt x="166982" y="463151"/>
                  </a:lnTo>
                  <a:lnTo>
                    <a:pt x="162420" y="462010"/>
                  </a:lnTo>
                  <a:lnTo>
                    <a:pt x="158511" y="463639"/>
                  </a:lnTo>
                  <a:lnTo>
                    <a:pt x="156393" y="462825"/>
                  </a:lnTo>
                  <a:lnTo>
                    <a:pt x="154275" y="458426"/>
                  </a:lnTo>
                  <a:lnTo>
                    <a:pt x="152157" y="456472"/>
                  </a:lnTo>
                  <a:lnTo>
                    <a:pt x="150039" y="452399"/>
                  </a:lnTo>
                  <a:lnTo>
                    <a:pt x="147596" y="451095"/>
                  </a:lnTo>
                  <a:lnTo>
                    <a:pt x="145966" y="452073"/>
                  </a:lnTo>
                  <a:lnTo>
                    <a:pt x="141242" y="453050"/>
                  </a:lnTo>
                  <a:lnTo>
                    <a:pt x="138961" y="453050"/>
                  </a:lnTo>
                  <a:lnTo>
                    <a:pt x="139450" y="446697"/>
                  </a:lnTo>
                  <a:lnTo>
                    <a:pt x="138961" y="441810"/>
                  </a:lnTo>
                  <a:lnTo>
                    <a:pt x="131957" y="433501"/>
                  </a:lnTo>
                  <a:lnTo>
                    <a:pt x="130490" y="430243"/>
                  </a:lnTo>
                  <a:lnTo>
                    <a:pt x="128535" y="429591"/>
                  </a:lnTo>
                  <a:lnTo>
                    <a:pt x="126580" y="424053"/>
                  </a:lnTo>
                  <a:lnTo>
                    <a:pt x="123811" y="422261"/>
                  </a:lnTo>
                  <a:lnTo>
                    <a:pt x="121856" y="418351"/>
                  </a:lnTo>
                  <a:lnTo>
                    <a:pt x="117457" y="416722"/>
                  </a:lnTo>
                  <a:lnTo>
                    <a:pt x="113385" y="416559"/>
                  </a:lnTo>
                  <a:lnTo>
                    <a:pt x="110289" y="412649"/>
                  </a:lnTo>
                  <a:lnTo>
                    <a:pt x="110615" y="410368"/>
                  </a:lnTo>
                  <a:lnTo>
                    <a:pt x="112733" y="407599"/>
                  </a:lnTo>
                  <a:lnTo>
                    <a:pt x="115503" y="408576"/>
                  </a:lnTo>
                  <a:lnTo>
                    <a:pt x="122834" y="407925"/>
                  </a:lnTo>
                  <a:lnTo>
                    <a:pt x="124951" y="409065"/>
                  </a:lnTo>
                  <a:lnTo>
                    <a:pt x="128046" y="408902"/>
                  </a:lnTo>
                  <a:lnTo>
                    <a:pt x="130002" y="410042"/>
                  </a:lnTo>
                  <a:lnTo>
                    <a:pt x="132934" y="407925"/>
                  </a:lnTo>
                  <a:lnTo>
                    <a:pt x="135214" y="406784"/>
                  </a:lnTo>
                  <a:lnTo>
                    <a:pt x="139450" y="408413"/>
                  </a:lnTo>
                  <a:lnTo>
                    <a:pt x="140753" y="407110"/>
                  </a:lnTo>
                  <a:lnTo>
                    <a:pt x="139613" y="404666"/>
                  </a:lnTo>
                  <a:lnTo>
                    <a:pt x="134563" y="404992"/>
                  </a:lnTo>
                  <a:lnTo>
                    <a:pt x="133097" y="403852"/>
                  </a:lnTo>
                  <a:lnTo>
                    <a:pt x="132934" y="400268"/>
                  </a:lnTo>
                  <a:lnTo>
                    <a:pt x="128046" y="394403"/>
                  </a:lnTo>
                  <a:lnTo>
                    <a:pt x="127558" y="391797"/>
                  </a:lnTo>
                  <a:lnTo>
                    <a:pt x="130002" y="390330"/>
                  </a:lnTo>
                  <a:lnTo>
                    <a:pt x="130002" y="386258"/>
                  </a:lnTo>
                  <a:lnTo>
                    <a:pt x="129350" y="383814"/>
                  </a:lnTo>
                  <a:lnTo>
                    <a:pt x="132282" y="380556"/>
                  </a:lnTo>
                  <a:lnTo>
                    <a:pt x="137821" y="378927"/>
                  </a:lnTo>
                  <a:lnTo>
                    <a:pt x="142382" y="377461"/>
                  </a:lnTo>
                  <a:lnTo>
                    <a:pt x="146293" y="379415"/>
                  </a:lnTo>
                  <a:lnTo>
                    <a:pt x="151343" y="377949"/>
                  </a:lnTo>
                  <a:lnTo>
                    <a:pt x="155578" y="377298"/>
                  </a:lnTo>
                  <a:lnTo>
                    <a:pt x="157696" y="379415"/>
                  </a:lnTo>
                  <a:lnTo>
                    <a:pt x="159977" y="377949"/>
                  </a:lnTo>
                  <a:lnTo>
                    <a:pt x="163398" y="377949"/>
                  </a:lnTo>
                  <a:lnTo>
                    <a:pt x="167634" y="382511"/>
                  </a:lnTo>
                  <a:lnTo>
                    <a:pt x="171706" y="382511"/>
                  </a:lnTo>
                  <a:lnTo>
                    <a:pt x="177082" y="379741"/>
                  </a:lnTo>
                  <a:lnTo>
                    <a:pt x="177897" y="377461"/>
                  </a:lnTo>
                  <a:lnTo>
                    <a:pt x="174150" y="376157"/>
                  </a:lnTo>
                  <a:lnTo>
                    <a:pt x="169262" y="375017"/>
                  </a:lnTo>
                  <a:lnTo>
                    <a:pt x="166004" y="368338"/>
                  </a:lnTo>
                  <a:lnTo>
                    <a:pt x="166819" y="362636"/>
                  </a:lnTo>
                  <a:lnTo>
                    <a:pt x="170077" y="361170"/>
                  </a:lnTo>
                  <a:lnTo>
                    <a:pt x="172032" y="358726"/>
                  </a:lnTo>
                  <a:lnTo>
                    <a:pt x="170403" y="357097"/>
                  </a:lnTo>
                  <a:lnTo>
                    <a:pt x="168774" y="354979"/>
                  </a:lnTo>
                  <a:lnTo>
                    <a:pt x="167959" y="352535"/>
                  </a:lnTo>
                  <a:lnTo>
                    <a:pt x="170892" y="347322"/>
                  </a:lnTo>
                  <a:lnTo>
                    <a:pt x="171380" y="343413"/>
                  </a:lnTo>
                  <a:lnTo>
                    <a:pt x="167308" y="339503"/>
                  </a:lnTo>
                  <a:lnTo>
                    <a:pt x="166168" y="336570"/>
                  </a:lnTo>
                  <a:lnTo>
                    <a:pt x="168285" y="333312"/>
                  </a:lnTo>
                  <a:lnTo>
                    <a:pt x="168122" y="331846"/>
                  </a:lnTo>
                  <a:lnTo>
                    <a:pt x="164701" y="331194"/>
                  </a:lnTo>
                  <a:lnTo>
                    <a:pt x="162746" y="327773"/>
                  </a:lnTo>
                  <a:lnTo>
                    <a:pt x="161932" y="325493"/>
                  </a:lnTo>
                  <a:lnTo>
                    <a:pt x="153135" y="325004"/>
                  </a:lnTo>
                  <a:lnTo>
                    <a:pt x="150039" y="324352"/>
                  </a:lnTo>
                  <a:lnTo>
                    <a:pt x="146618" y="325330"/>
                  </a:lnTo>
                  <a:lnTo>
                    <a:pt x="145966" y="327122"/>
                  </a:lnTo>
                  <a:lnTo>
                    <a:pt x="143197" y="328588"/>
                  </a:lnTo>
                  <a:lnTo>
                    <a:pt x="143034" y="331031"/>
                  </a:lnTo>
                  <a:lnTo>
                    <a:pt x="140591" y="332498"/>
                  </a:lnTo>
                  <a:lnTo>
                    <a:pt x="137007" y="331031"/>
                  </a:lnTo>
                  <a:lnTo>
                    <a:pt x="136681" y="328914"/>
                  </a:lnTo>
                  <a:lnTo>
                    <a:pt x="133586" y="329077"/>
                  </a:lnTo>
                  <a:lnTo>
                    <a:pt x="131957" y="330869"/>
                  </a:lnTo>
                  <a:lnTo>
                    <a:pt x="129513" y="327773"/>
                  </a:lnTo>
                  <a:lnTo>
                    <a:pt x="129839" y="324026"/>
                  </a:lnTo>
                  <a:lnTo>
                    <a:pt x="128535" y="322723"/>
                  </a:lnTo>
                  <a:lnTo>
                    <a:pt x="126580" y="324352"/>
                  </a:lnTo>
                  <a:lnTo>
                    <a:pt x="123322" y="324352"/>
                  </a:lnTo>
                  <a:lnTo>
                    <a:pt x="121041" y="322723"/>
                  </a:lnTo>
                  <a:lnTo>
                    <a:pt x="114362" y="322723"/>
                  </a:lnTo>
                  <a:lnTo>
                    <a:pt x="110778" y="326307"/>
                  </a:lnTo>
                  <a:lnTo>
                    <a:pt x="109638" y="330054"/>
                  </a:lnTo>
                  <a:lnTo>
                    <a:pt x="108171" y="330869"/>
                  </a:lnTo>
                  <a:lnTo>
                    <a:pt x="106380" y="329239"/>
                  </a:lnTo>
                  <a:lnTo>
                    <a:pt x="104099" y="329239"/>
                  </a:lnTo>
                  <a:lnTo>
                    <a:pt x="101004" y="333312"/>
                  </a:lnTo>
                  <a:lnTo>
                    <a:pt x="98234" y="333149"/>
                  </a:lnTo>
                  <a:lnTo>
                    <a:pt x="96116" y="336407"/>
                  </a:lnTo>
                  <a:lnTo>
                    <a:pt x="91881" y="339991"/>
                  </a:lnTo>
                  <a:lnTo>
                    <a:pt x="89437" y="339666"/>
                  </a:lnTo>
                  <a:lnTo>
                    <a:pt x="88623" y="342598"/>
                  </a:lnTo>
                  <a:lnTo>
                    <a:pt x="86668" y="344553"/>
                  </a:lnTo>
                  <a:lnTo>
                    <a:pt x="84876" y="342598"/>
                  </a:lnTo>
                  <a:lnTo>
                    <a:pt x="82758" y="342435"/>
                  </a:lnTo>
                  <a:lnTo>
                    <a:pt x="80966" y="345042"/>
                  </a:lnTo>
                  <a:lnTo>
                    <a:pt x="77545" y="344879"/>
                  </a:lnTo>
                  <a:lnTo>
                    <a:pt x="76241" y="342435"/>
                  </a:lnTo>
                  <a:lnTo>
                    <a:pt x="74612" y="342435"/>
                  </a:lnTo>
                  <a:close/>
                </a:path>
              </a:pathLst>
            </a:custGeom>
            <a:solidFill>
              <a:schemeClr val="bg2"/>
            </a:solidFill>
            <a:ln w="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8" name="Forma livre: Forma 197">
              <a:extLst>
                <a:ext uri="{FF2B5EF4-FFF2-40B4-BE49-F238E27FC236}">
                  <a16:creationId xmlns:a16="http://schemas.microsoft.com/office/drawing/2014/main" id="{6CBFA3C4-FDC1-6E65-FDBF-58D6DA35CF1A}"/>
                </a:ext>
              </a:extLst>
            </p:cNvPr>
            <p:cNvSpPr/>
            <p:nvPr/>
          </p:nvSpPr>
          <p:spPr>
            <a:xfrm>
              <a:off x="9109948" y="4227406"/>
              <a:ext cx="4040" cy="6902"/>
            </a:xfrm>
            <a:custGeom>
              <a:avLst/>
              <a:gdLst>
                <a:gd name="connsiteX0" fmla="*/ 0 w 3909"/>
                <a:gd name="connsiteY0" fmla="*/ 977 h 6679"/>
                <a:gd name="connsiteX1" fmla="*/ 1140 w 3909"/>
                <a:gd name="connsiteY1" fmla="*/ 6679 h 6679"/>
                <a:gd name="connsiteX2" fmla="*/ 3584 w 3909"/>
                <a:gd name="connsiteY2" fmla="*/ 5702 h 6679"/>
                <a:gd name="connsiteX3" fmla="*/ 3910 w 3909"/>
                <a:gd name="connsiteY3" fmla="*/ 2118 h 6679"/>
                <a:gd name="connsiteX4" fmla="*/ 1955 w 3909"/>
                <a:gd name="connsiteY4" fmla="*/ 0 h 6679"/>
                <a:gd name="connsiteX5" fmla="*/ 0 w 3909"/>
                <a:gd name="connsiteY5" fmla="*/ 977 h 66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909" h="6679">
                  <a:moveTo>
                    <a:pt x="0" y="977"/>
                  </a:moveTo>
                  <a:lnTo>
                    <a:pt x="1140" y="6679"/>
                  </a:lnTo>
                  <a:lnTo>
                    <a:pt x="3584" y="5702"/>
                  </a:lnTo>
                  <a:lnTo>
                    <a:pt x="3910" y="2118"/>
                  </a:lnTo>
                  <a:lnTo>
                    <a:pt x="1955" y="0"/>
                  </a:lnTo>
                  <a:lnTo>
                    <a:pt x="0" y="977"/>
                  </a:lnTo>
                  <a:close/>
                </a:path>
              </a:pathLst>
            </a:custGeom>
            <a:solidFill>
              <a:schemeClr val="bg2"/>
            </a:solidFill>
            <a:ln w="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9" name="Forma livre: Forma 198">
              <a:extLst>
                <a:ext uri="{FF2B5EF4-FFF2-40B4-BE49-F238E27FC236}">
                  <a16:creationId xmlns:a16="http://schemas.microsoft.com/office/drawing/2014/main" id="{DAEC3A5D-8E7D-B85A-A613-D208503C779C}"/>
                </a:ext>
              </a:extLst>
            </p:cNvPr>
            <p:cNvSpPr/>
            <p:nvPr/>
          </p:nvSpPr>
          <p:spPr>
            <a:xfrm>
              <a:off x="7368025" y="3632624"/>
              <a:ext cx="426264" cy="265151"/>
            </a:xfrm>
            <a:custGeom>
              <a:avLst/>
              <a:gdLst>
                <a:gd name="connsiteX0" fmla="*/ 325818 w 412486"/>
                <a:gd name="connsiteY0" fmla="*/ 255930 h 256581"/>
                <a:gd name="connsiteX1" fmla="*/ 327610 w 412486"/>
                <a:gd name="connsiteY1" fmla="*/ 239802 h 256581"/>
                <a:gd name="connsiteX2" fmla="*/ 332986 w 412486"/>
                <a:gd name="connsiteY2" fmla="*/ 227258 h 256581"/>
                <a:gd name="connsiteX3" fmla="*/ 335430 w 412486"/>
                <a:gd name="connsiteY3" fmla="*/ 224326 h 256581"/>
                <a:gd name="connsiteX4" fmla="*/ 334616 w 412486"/>
                <a:gd name="connsiteY4" fmla="*/ 217321 h 256581"/>
                <a:gd name="connsiteX5" fmla="*/ 329565 w 412486"/>
                <a:gd name="connsiteY5" fmla="*/ 215203 h 256581"/>
                <a:gd name="connsiteX6" fmla="*/ 326796 w 412486"/>
                <a:gd name="connsiteY6" fmla="*/ 208035 h 256581"/>
                <a:gd name="connsiteX7" fmla="*/ 329077 w 412486"/>
                <a:gd name="connsiteY7" fmla="*/ 202822 h 256581"/>
                <a:gd name="connsiteX8" fmla="*/ 327773 w 412486"/>
                <a:gd name="connsiteY8" fmla="*/ 197120 h 256581"/>
                <a:gd name="connsiteX9" fmla="*/ 320605 w 412486"/>
                <a:gd name="connsiteY9" fmla="*/ 197283 h 256581"/>
                <a:gd name="connsiteX10" fmla="*/ 316207 w 412486"/>
                <a:gd name="connsiteY10" fmla="*/ 199727 h 256581"/>
                <a:gd name="connsiteX11" fmla="*/ 309527 w 412486"/>
                <a:gd name="connsiteY11" fmla="*/ 190115 h 256581"/>
                <a:gd name="connsiteX12" fmla="*/ 309364 w 412486"/>
                <a:gd name="connsiteY12" fmla="*/ 182132 h 256581"/>
                <a:gd name="connsiteX13" fmla="*/ 314578 w 412486"/>
                <a:gd name="connsiteY13" fmla="*/ 178060 h 256581"/>
                <a:gd name="connsiteX14" fmla="*/ 325981 w 412486"/>
                <a:gd name="connsiteY14" fmla="*/ 179852 h 256581"/>
                <a:gd name="connsiteX15" fmla="*/ 330543 w 412486"/>
                <a:gd name="connsiteY15" fmla="*/ 178548 h 256581"/>
                <a:gd name="connsiteX16" fmla="*/ 331357 w 412486"/>
                <a:gd name="connsiteY16" fmla="*/ 172684 h 256581"/>
                <a:gd name="connsiteX17" fmla="*/ 341295 w 412486"/>
                <a:gd name="connsiteY17" fmla="*/ 169100 h 256581"/>
                <a:gd name="connsiteX18" fmla="*/ 339666 w 412486"/>
                <a:gd name="connsiteY18" fmla="*/ 165027 h 256581"/>
                <a:gd name="connsiteX19" fmla="*/ 337385 w 412486"/>
                <a:gd name="connsiteY19" fmla="*/ 163072 h 256581"/>
                <a:gd name="connsiteX20" fmla="*/ 348462 w 412486"/>
                <a:gd name="connsiteY20" fmla="*/ 160465 h 256581"/>
                <a:gd name="connsiteX21" fmla="*/ 357097 w 412486"/>
                <a:gd name="connsiteY21" fmla="*/ 156719 h 256581"/>
                <a:gd name="connsiteX22" fmla="*/ 357260 w 412486"/>
                <a:gd name="connsiteY22" fmla="*/ 151668 h 256581"/>
                <a:gd name="connsiteX23" fmla="*/ 349440 w 412486"/>
                <a:gd name="connsiteY23" fmla="*/ 147758 h 256581"/>
                <a:gd name="connsiteX24" fmla="*/ 349766 w 412486"/>
                <a:gd name="connsiteY24" fmla="*/ 141568 h 256581"/>
                <a:gd name="connsiteX25" fmla="*/ 356282 w 412486"/>
                <a:gd name="connsiteY25" fmla="*/ 139287 h 256581"/>
                <a:gd name="connsiteX26" fmla="*/ 362962 w 412486"/>
                <a:gd name="connsiteY26" fmla="*/ 134237 h 256581"/>
                <a:gd name="connsiteX27" fmla="*/ 368175 w 412486"/>
                <a:gd name="connsiteY27" fmla="*/ 134726 h 256581"/>
                <a:gd name="connsiteX28" fmla="*/ 376320 w 412486"/>
                <a:gd name="connsiteY28" fmla="*/ 126417 h 256581"/>
                <a:gd name="connsiteX29" fmla="*/ 381859 w 412486"/>
                <a:gd name="connsiteY29" fmla="*/ 132119 h 256581"/>
                <a:gd name="connsiteX30" fmla="*/ 383814 w 412486"/>
                <a:gd name="connsiteY30" fmla="*/ 135703 h 256581"/>
                <a:gd name="connsiteX31" fmla="*/ 396358 w 412486"/>
                <a:gd name="connsiteY31" fmla="*/ 133748 h 256581"/>
                <a:gd name="connsiteX32" fmla="*/ 405155 w 412486"/>
                <a:gd name="connsiteY32" fmla="*/ 134237 h 256581"/>
                <a:gd name="connsiteX33" fmla="*/ 412486 w 412486"/>
                <a:gd name="connsiteY33" fmla="*/ 126255 h 256581"/>
                <a:gd name="connsiteX34" fmla="*/ 411183 w 412486"/>
                <a:gd name="connsiteY34" fmla="*/ 121041 h 256581"/>
                <a:gd name="connsiteX35" fmla="*/ 398639 w 412486"/>
                <a:gd name="connsiteY35" fmla="*/ 111267 h 256581"/>
                <a:gd name="connsiteX36" fmla="*/ 395218 w 412486"/>
                <a:gd name="connsiteY36" fmla="*/ 110452 h 256581"/>
                <a:gd name="connsiteX37" fmla="*/ 394566 w 412486"/>
                <a:gd name="connsiteY37" fmla="*/ 117620 h 256581"/>
                <a:gd name="connsiteX38" fmla="*/ 390168 w 412486"/>
                <a:gd name="connsiteY38" fmla="*/ 122508 h 256581"/>
                <a:gd name="connsiteX39" fmla="*/ 385443 w 412486"/>
                <a:gd name="connsiteY39" fmla="*/ 120879 h 256581"/>
                <a:gd name="connsiteX40" fmla="*/ 380882 w 412486"/>
                <a:gd name="connsiteY40" fmla="*/ 116480 h 256581"/>
                <a:gd name="connsiteX41" fmla="*/ 369478 w 412486"/>
                <a:gd name="connsiteY41" fmla="*/ 113059 h 256581"/>
                <a:gd name="connsiteX42" fmla="*/ 364753 w 412486"/>
                <a:gd name="connsiteY42" fmla="*/ 110126 h 256581"/>
                <a:gd name="connsiteX43" fmla="*/ 368500 w 412486"/>
                <a:gd name="connsiteY43" fmla="*/ 103773 h 256581"/>
                <a:gd name="connsiteX44" fmla="*/ 376646 w 412486"/>
                <a:gd name="connsiteY44" fmla="*/ 91229 h 256581"/>
                <a:gd name="connsiteX45" fmla="*/ 376320 w 412486"/>
                <a:gd name="connsiteY45" fmla="*/ 85853 h 256581"/>
                <a:gd name="connsiteX46" fmla="*/ 372084 w 412486"/>
                <a:gd name="connsiteY46" fmla="*/ 85201 h 256581"/>
                <a:gd name="connsiteX47" fmla="*/ 366871 w 412486"/>
                <a:gd name="connsiteY47" fmla="*/ 91881 h 256581"/>
                <a:gd name="connsiteX48" fmla="*/ 362473 w 412486"/>
                <a:gd name="connsiteY48" fmla="*/ 93673 h 256581"/>
                <a:gd name="connsiteX49" fmla="*/ 352535 w 412486"/>
                <a:gd name="connsiteY49" fmla="*/ 105728 h 256581"/>
                <a:gd name="connsiteX50" fmla="*/ 348952 w 412486"/>
                <a:gd name="connsiteY50" fmla="*/ 112733 h 256581"/>
                <a:gd name="connsiteX51" fmla="*/ 346019 w 412486"/>
                <a:gd name="connsiteY51" fmla="*/ 116154 h 256581"/>
                <a:gd name="connsiteX52" fmla="*/ 340969 w 412486"/>
                <a:gd name="connsiteY52" fmla="*/ 125766 h 256581"/>
                <a:gd name="connsiteX53" fmla="*/ 330543 w 412486"/>
                <a:gd name="connsiteY53" fmla="*/ 135377 h 256581"/>
                <a:gd name="connsiteX54" fmla="*/ 327936 w 412486"/>
                <a:gd name="connsiteY54" fmla="*/ 133423 h 256581"/>
                <a:gd name="connsiteX55" fmla="*/ 316370 w 412486"/>
                <a:gd name="connsiteY55" fmla="*/ 127721 h 256581"/>
                <a:gd name="connsiteX56" fmla="*/ 307735 w 412486"/>
                <a:gd name="connsiteY56" fmla="*/ 126580 h 256581"/>
                <a:gd name="connsiteX57" fmla="*/ 300241 w 412486"/>
                <a:gd name="connsiteY57" fmla="*/ 128047 h 256581"/>
                <a:gd name="connsiteX58" fmla="*/ 288675 w 412486"/>
                <a:gd name="connsiteY58" fmla="*/ 134237 h 256581"/>
                <a:gd name="connsiteX59" fmla="*/ 283462 w 412486"/>
                <a:gd name="connsiteY59" fmla="*/ 133748 h 256581"/>
                <a:gd name="connsiteX60" fmla="*/ 272710 w 412486"/>
                <a:gd name="connsiteY60" fmla="*/ 104262 h 256581"/>
                <a:gd name="connsiteX61" fmla="*/ 254627 w 412486"/>
                <a:gd name="connsiteY61" fmla="*/ 101818 h 256581"/>
                <a:gd name="connsiteX62" fmla="*/ 253812 w 412486"/>
                <a:gd name="connsiteY62" fmla="*/ 65815 h 256581"/>
                <a:gd name="connsiteX63" fmla="*/ 244852 w 412486"/>
                <a:gd name="connsiteY63" fmla="*/ 68422 h 256581"/>
                <a:gd name="connsiteX64" fmla="*/ 238499 w 412486"/>
                <a:gd name="connsiteY64" fmla="*/ 52945 h 256581"/>
                <a:gd name="connsiteX65" fmla="*/ 225466 w 412486"/>
                <a:gd name="connsiteY65" fmla="*/ 43334 h 256581"/>
                <a:gd name="connsiteX66" fmla="*/ 183436 w 412486"/>
                <a:gd name="connsiteY66" fmla="*/ 43334 h 256581"/>
                <a:gd name="connsiteX67" fmla="*/ 145315 w 412486"/>
                <a:gd name="connsiteY67" fmla="*/ 47406 h 256581"/>
                <a:gd name="connsiteX68" fmla="*/ 123974 w 412486"/>
                <a:gd name="connsiteY68" fmla="*/ 34537 h 256581"/>
                <a:gd name="connsiteX69" fmla="*/ 108009 w 412486"/>
                <a:gd name="connsiteY69" fmla="*/ 28672 h 256581"/>
                <a:gd name="connsiteX70" fmla="*/ 67444 w 412486"/>
                <a:gd name="connsiteY70" fmla="*/ 0 h 256581"/>
                <a:gd name="connsiteX71" fmla="*/ 0 w 412486"/>
                <a:gd name="connsiteY71" fmla="*/ 12707 h 256581"/>
                <a:gd name="connsiteX72" fmla="*/ 20689 w 412486"/>
                <a:gd name="connsiteY72" fmla="*/ 134563 h 256581"/>
                <a:gd name="connsiteX73" fmla="*/ 32419 w 412486"/>
                <a:gd name="connsiteY73" fmla="*/ 133423 h 256581"/>
                <a:gd name="connsiteX74" fmla="*/ 43171 w 412486"/>
                <a:gd name="connsiteY74" fmla="*/ 135215 h 256581"/>
                <a:gd name="connsiteX75" fmla="*/ 45777 w 412486"/>
                <a:gd name="connsiteY75" fmla="*/ 129350 h 256581"/>
                <a:gd name="connsiteX76" fmla="*/ 41216 w 412486"/>
                <a:gd name="connsiteY76" fmla="*/ 124951 h 256581"/>
                <a:gd name="connsiteX77" fmla="*/ 39424 w 412486"/>
                <a:gd name="connsiteY77" fmla="*/ 115665 h 256581"/>
                <a:gd name="connsiteX78" fmla="*/ 44963 w 412486"/>
                <a:gd name="connsiteY78" fmla="*/ 104588 h 256581"/>
                <a:gd name="connsiteX79" fmla="*/ 52782 w 412486"/>
                <a:gd name="connsiteY79" fmla="*/ 103936 h 256581"/>
                <a:gd name="connsiteX80" fmla="*/ 56855 w 412486"/>
                <a:gd name="connsiteY80" fmla="*/ 97583 h 256581"/>
                <a:gd name="connsiteX81" fmla="*/ 62720 w 412486"/>
                <a:gd name="connsiteY81" fmla="*/ 94324 h 256581"/>
                <a:gd name="connsiteX82" fmla="*/ 68911 w 412486"/>
                <a:gd name="connsiteY82" fmla="*/ 97583 h 256581"/>
                <a:gd name="connsiteX83" fmla="*/ 71843 w 412486"/>
                <a:gd name="connsiteY83" fmla="*/ 95791 h 256581"/>
                <a:gd name="connsiteX84" fmla="*/ 67444 w 412486"/>
                <a:gd name="connsiteY84" fmla="*/ 89437 h 256581"/>
                <a:gd name="connsiteX85" fmla="*/ 79337 w 412486"/>
                <a:gd name="connsiteY85" fmla="*/ 90577 h 256581"/>
                <a:gd name="connsiteX86" fmla="*/ 96605 w 412486"/>
                <a:gd name="connsiteY86" fmla="*/ 99049 h 256581"/>
                <a:gd name="connsiteX87" fmla="*/ 111430 w 412486"/>
                <a:gd name="connsiteY87" fmla="*/ 108009 h 256581"/>
                <a:gd name="connsiteX88" fmla="*/ 113222 w 412486"/>
                <a:gd name="connsiteY88" fmla="*/ 113873 h 256581"/>
                <a:gd name="connsiteX89" fmla="*/ 132445 w 412486"/>
                <a:gd name="connsiteY89" fmla="*/ 124137 h 256581"/>
                <a:gd name="connsiteX90" fmla="*/ 147596 w 412486"/>
                <a:gd name="connsiteY90" fmla="*/ 131956 h 256581"/>
                <a:gd name="connsiteX91" fmla="*/ 151668 w 412486"/>
                <a:gd name="connsiteY91" fmla="*/ 129350 h 256581"/>
                <a:gd name="connsiteX92" fmla="*/ 156719 w 412486"/>
                <a:gd name="connsiteY92" fmla="*/ 130164 h 256581"/>
                <a:gd name="connsiteX93" fmla="*/ 167471 w 412486"/>
                <a:gd name="connsiteY93" fmla="*/ 137821 h 256581"/>
                <a:gd name="connsiteX94" fmla="*/ 171869 w 412486"/>
                <a:gd name="connsiteY94" fmla="*/ 152972 h 256581"/>
                <a:gd name="connsiteX95" fmla="*/ 177082 w 412486"/>
                <a:gd name="connsiteY95" fmla="*/ 156719 h 256581"/>
                <a:gd name="connsiteX96" fmla="*/ 178874 w 412486"/>
                <a:gd name="connsiteY96" fmla="*/ 163235 h 256581"/>
                <a:gd name="connsiteX97" fmla="*/ 184902 w 412486"/>
                <a:gd name="connsiteY97" fmla="*/ 173987 h 256581"/>
                <a:gd name="connsiteX98" fmla="*/ 193699 w 412486"/>
                <a:gd name="connsiteY98" fmla="*/ 178060 h 256581"/>
                <a:gd name="connsiteX99" fmla="*/ 210641 w 412486"/>
                <a:gd name="connsiteY99" fmla="*/ 188812 h 256581"/>
                <a:gd name="connsiteX100" fmla="*/ 227747 w 412486"/>
                <a:gd name="connsiteY100" fmla="*/ 201356 h 256581"/>
                <a:gd name="connsiteX101" fmla="*/ 246807 w 412486"/>
                <a:gd name="connsiteY101" fmla="*/ 209827 h 256581"/>
                <a:gd name="connsiteX102" fmla="*/ 264239 w 412486"/>
                <a:gd name="connsiteY102" fmla="*/ 221556 h 256581"/>
                <a:gd name="connsiteX103" fmla="*/ 277923 w 412486"/>
                <a:gd name="connsiteY103" fmla="*/ 223837 h 256581"/>
                <a:gd name="connsiteX104" fmla="*/ 280855 w 412486"/>
                <a:gd name="connsiteY104" fmla="*/ 227095 h 256581"/>
                <a:gd name="connsiteX105" fmla="*/ 284928 w 412486"/>
                <a:gd name="connsiteY105" fmla="*/ 226444 h 256581"/>
                <a:gd name="connsiteX106" fmla="*/ 294377 w 412486"/>
                <a:gd name="connsiteY106" fmla="*/ 233123 h 256581"/>
                <a:gd name="connsiteX107" fmla="*/ 294051 w 412486"/>
                <a:gd name="connsiteY107" fmla="*/ 239639 h 256581"/>
                <a:gd name="connsiteX108" fmla="*/ 295517 w 412486"/>
                <a:gd name="connsiteY108" fmla="*/ 251206 h 256581"/>
                <a:gd name="connsiteX109" fmla="*/ 302848 w 412486"/>
                <a:gd name="connsiteY109" fmla="*/ 249251 h 256581"/>
                <a:gd name="connsiteX110" fmla="*/ 308387 w 412486"/>
                <a:gd name="connsiteY110" fmla="*/ 251857 h 256581"/>
                <a:gd name="connsiteX111" fmla="*/ 311482 w 412486"/>
                <a:gd name="connsiteY111" fmla="*/ 256419 h 256581"/>
                <a:gd name="connsiteX112" fmla="*/ 314903 w 412486"/>
                <a:gd name="connsiteY112" fmla="*/ 256582 h 256581"/>
                <a:gd name="connsiteX113" fmla="*/ 319139 w 412486"/>
                <a:gd name="connsiteY113" fmla="*/ 252835 h 256581"/>
                <a:gd name="connsiteX114" fmla="*/ 323537 w 412486"/>
                <a:gd name="connsiteY114" fmla="*/ 253161 h 256581"/>
                <a:gd name="connsiteX115" fmla="*/ 325818 w 412486"/>
                <a:gd name="connsiteY115" fmla="*/ 255930 h 2565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</a:cxnLst>
              <a:rect l="l" t="t" r="r" b="b"/>
              <a:pathLst>
                <a:path w="412486" h="256581">
                  <a:moveTo>
                    <a:pt x="325818" y="255930"/>
                  </a:moveTo>
                  <a:lnTo>
                    <a:pt x="327610" y="239802"/>
                  </a:lnTo>
                  <a:lnTo>
                    <a:pt x="332986" y="227258"/>
                  </a:lnTo>
                  <a:lnTo>
                    <a:pt x="335430" y="224326"/>
                  </a:lnTo>
                  <a:lnTo>
                    <a:pt x="334616" y="217321"/>
                  </a:lnTo>
                  <a:lnTo>
                    <a:pt x="329565" y="215203"/>
                  </a:lnTo>
                  <a:lnTo>
                    <a:pt x="326796" y="208035"/>
                  </a:lnTo>
                  <a:lnTo>
                    <a:pt x="329077" y="202822"/>
                  </a:lnTo>
                  <a:lnTo>
                    <a:pt x="327773" y="197120"/>
                  </a:lnTo>
                  <a:lnTo>
                    <a:pt x="320605" y="197283"/>
                  </a:lnTo>
                  <a:lnTo>
                    <a:pt x="316207" y="199727"/>
                  </a:lnTo>
                  <a:lnTo>
                    <a:pt x="309527" y="190115"/>
                  </a:lnTo>
                  <a:lnTo>
                    <a:pt x="309364" y="182132"/>
                  </a:lnTo>
                  <a:lnTo>
                    <a:pt x="314578" y="178060"/>
                  </a:lnTo>
                  <a:lnTo>
                    <a:pt x="325981" y="179852"/>
                  </a:lnTo>
                  <a:lnTo>
                    <a:pt x="330543" y="178548"/>
                  </a:lnTo>
                  <a:lnTo>
                    <a:pt x="331357" y="172684"/>
                  </a:lnTo>
                  <a:lnTo>
                    <a:pt x="341295" y="169100"/>
                  </a:lnTo>
                  <a:lnTo>
                    <a:pt x="339666" y="165027"/>
                  </a:lnTo>
                  <a:lnTo>
                    <a:pt x="337385" y="163072"/>
                  </a:lnTo>
                  <a:lnTo>
                    <a:pt x="348462" y="160465"/>
                  </a:lnTo>
                  <a:lnTo>
                    <a:pt x="357097" y="156719"/>
                  </a:lnTo>
                  <a:lnTo>
                    <a:pt x="357260" y="151668"/>
                  </a:lnTo>
                  <a:lnTo>
                    <a:pt x="349440" y="147758"/>
                  </a:lnTo>
                  <a:lnTo>
                    <a:pt x="349766" y="141568"/>
                  </a:lnTo>
                  <a:lnTo>
                    <a:pt x="356282" y="139287"/>
                  </a:lnTo>
                  <a:lnTo>
                    <a:pt x="362962" y="134237"/>
                  </a:lnTo>
                  <a:lnTo>
                    <a:pt x="368175" y="134726"/>
                  </a:lnTo>
                  <a:lnTo>
                    <a:pt x="376320" y="126417"/>
                  </a:lnTo>
                  <a:lnTo>
                    <a:pt x="381859" y="132119"/>
                  </a:lnTo>
                  <a:lnTo>
                    <a:pt x="383814" y="135703"/>
                  </a:lnTo>
                  <a:lnTo>
                    <a:pt x="396358" y="133748"/>
                  </a:lnTo>
                  <a:lnTo>
                    <a:pt x="405155" y="134237"/>
                  </a:lnTo>
                  <a:lnTo>
                    <a:pt x="412486" y="126255"/>
                  </a:lnTo>
                  <a:lnTo>
                    <a:pt x="411183" y="121041"/>
                  </a:lnTo>
                  <a:lnTo>
                    <a:pt x="398639" y="111267"/>
                  </a:lnTo>
                  <a:lnTo>
                    <a:pt x="395218" y="110452"/>
                  </a:lnTo>
                  <a:lnTo>
                    <a:pt x="394566" y="117620"/>
                  </a:lnTo>
                  <a:lnTo>
                    <a:pt x="390168" y="122508"/>
                  </a:lnTo>
                  <a:lnTo>
                    <a:pt x="385443" y="120879"/>
                  </a:lnTo>
                  <a:lnTo>
                    <a:pt x="380882" y="116480"/>
                  </a:lnTo>
                  <a:lnTo>
                    <a:pt x="369478" y="113059"/>
                  </a:lnTo>
                  <a:lnTo>
                    <a:pt x="364753" y="110126"/>
                  </a:lnTo>
                  <a:lnTo>
                    <a:pt x="368500" y="103773"/>
                  </a:lnTo>
                  <a:lnTo>
                    <a:pt x="376646" y="91229"/>
                  </a:lnTo>
                  <a:lnTo>
                    <a:pt x="376320" y="85853"/>
                  </a:lnTo>
                  <a:lnTo>
                    <a:pt x="372084" y="85201"/>
                  </a:lnTo>
                  <a:lnTo>
                    <a:pt x="366871" y="91881"/>
                  </a:lnTo>
                  <a:lnTo>
                    <a:pt x="362473" y="93673"/>
                  </a:lnTo>
                  <a:lnTo>
                    <a:pt x="352535" y="105728"/>
                  </a:lnTo>
                  <a:lnTo>
                    <a:pt x="348952" y="112733"/>
                  </a:lnTo>
                  <a:lnTo>
                    <a:pt x="346019" y="116154"/>
                  </a:lnTo>
                  <a:lnTo>
                    <a:pt x="340969" y="125766"/>
                  </a:lnTo>
                  <a:lnTo>
                    <a:pt x="330543" y="135377"/>
                  </a:lnTo>
                  <a:lnTo>
                    <a:pt x="327936" y="133423"/>
                  </a:lnTo>
                  <a:lnTo>
                    <a:pt x="316370" y="127721"/>
                  </a:lnTo>
                  <a:lnTo>
                    <a:pt x="307735" y="126580"/>
                  </a:lnTo>
                  <a:lnTo>
                    <a:pt x="300241" y="128047"/>
                  </a:lnTo>
                  <a:lnTo>
                    <a:pt x="288675" y="134237"/>
                  </a:lnTo>
                  <a:lnTo>
                    <a:pt x="283462" y="133748"/>
                  </a:lnTo>
                  <a:lnTo>
                    <a:pt x="272710" y="104262"/>
                  </a:lnTo>
                  <a:lnTo>
                    <a:pt x="254627" y="101818"/>
                  </a:lnTo>
                  <a:lnTo>
                    <a:pt x="253812" y="65815"/>
                  </a:lnTo>
                  <a:lnTo>
                    <a:pt x="244852" y="68422"/>
                  </a:lnTo>
                  <a:lnTo>
                    <a:pt x="238499" y="52945"/>
                  </a:lnTo>
                  <a:lnTo>
                    <a:pt x="225466" y="43334"/>
                  </a:lnTo>
                  <a:lnTo>
                    <a:pt x="183436" y="43334"/>
                  </a:lnTo>
                  <a:lnTo>
                    <a:pt x="145315" y="47406"/>
                  </a:lnTo>
                  <a:lnTo>
                    <a:pt x="123974" y="34537"/>
                  </a:lnTo>
                  <a:lnTo>
                    <a:pt x="108009" y="28672"/>
                  </a:lnTo>
                  <a:lnTo>
                    <a:pt x="67444" y="0"/>
                  </a:lnTo>
                  <a:lnTo>
                    <a:pt x="0" y="12707"/>
                  </a:lnTo>
                  <a:lnTo>
                    <a:pt x="20689" y="134563"/>
                  </a:lnTo>
                  <a:lnTo>
                    <a:pt x="32419" y="133423"/>
                  </a:lnTo>
                  <a:lnTo>
                    <a:pt x="43171" y="135215"/>
                  </a:lnTo>
                  <a:lnTo>
                    <a:pt x="45777" y="129350"/>
                  </a:lnTo>
                  <a:lnTo>
                    <a:pt x="41216" y="124951"/>
                  </a:lnTo>
                  <a:lnTo>
                    <a:pt x="39424" y="115665"/>
                  </a:lnTo>
                  <a:lnTo>
                    <a:pt x="44963" y="104588"/>
                  </a:lnTo>
                  <a:lnTo>
                    <a:pt x="52782" y="103936"/>
                  </a:lnTo>
                  <a:lnTo>
                    <a:pt x="56855" y="97583"/>
                  </a:lnTo>
                  <a:lnTo>
                    <a:pt x="62720" y="94324"/>
                  </a:lnTo>
                  <a:lnTo>
                    <a:pt x="68911" y="97583"/>
                  </a:lnTo>
                  <a:lnTo>
                    <a:pt x="71843" y="95791"/>
                  </a:lnTo>
                  <a:lnTo>
                    <a:pt x="67444" y="89437"/>
                  </a:lnTo>
                  <a:lnTo>
                    <a:pt x="79337" y="90577"/>
                  </a:lnTo>
                  <a:lnTo>
                    <a:pt x="96605" y="99049"/>
                  </a:lnTo>
                  <a:lnTo>
                    <a:pt x="111430" y="108009"/>
                  </a:lnTo>
                  <a:lnTo>
                    <a:pt x="113222" y="113873"/>
                  </a:lnTo>
                  <a:lnTo>
                    <a:pt x="132445" y="124137"/>
                  </a:lnTo>
                  <a:lnTo>
                    <a:pt x="147596" y="131956"/>
                  </a:lnTo>
                  <a:lnTo>
                    <a:pt x="151668" y="129350"/>
                  </a:lnTo>
                  <a:lnTo>
                    <a:pt x="156719" y="130164"/>
                  </a:lnTo>
                  <a:lnTo>
                    <a:pt x="167471" y="137821"/>
                  </a:lnTo>
                  <a:lnTo>
                    <a:pt x="171869" y="152972"/>
                  </a:lnTo>
                  <a:lnTo>
                    <a:pt x="177082" y="156719"/>
                  </a:lnTo>
                  <a:lnTo>
                    <a:pt x="178874" y="163235"/>
                  </a:lnTo>
                  <a:lnTo>
                    <a:pt x="184902" y="173987"/>
                  </a:lnTo>
                  <a:lnTo>
                    <a:pt x="193699" y="178060"/>
                  </a:lnTo>
                  <a:lnTo>
                    <a:pt x="210641" y="188812"/>
                  </a:lnTo>
                  <a:lnTo>
                    <a:pt x="227747" y="201356"/>
                  </a:lnTo>
                  <a:lnTo>
                    <a:pt x="246807" y="209827"/>
                  </a:lnTo>
                  <a:lnTo>
                    <a:pt x="264239" y="221556"/>
                  </a:lnTo>
                  <a:lnTo>
                    <a:pt x="277923" y="223837"/>
                  </a:lnTo>
                  <a:lnTo>
                    <a:pt x="280855" y="227095"/>
                  </a:lnTo>
                  <a:lnTo>
                    <a:pt x="284928" y="226444"/>
                  </a:lnTo>
                  <a:lnTo>
                    <a:pt x="294377" y="233123"/>
                  </a:lnTo>
                  <a:lnTo>
                    <a:pt x="294051" y="239639"/>
                  </a:lnTo>
                  <a:lnTo>
                    <a:pt x="295517" y="251206"/>
                  </a:lnTo>
                  <a:lnTo>
                    <a:pt x="302848" y="249251"/>
                  </a:lnTo>
                  <a:lnTo>
                    <a:pt x="308387" y="251857"/>
                  </a:lnTo>
                  <a:lnTo>
                    <a:pt x="311482" y="256419"/>
                  </a:lnTo>
                  <a:lnTo>
                    <a:pt x="314903" y="256582"/>
                  </a:lnTo>
                  <a:lnTo>
                    <a:pt x="319139" y="252835"/>
                  </a:lnTo>
                  <a:lnTo>
                    <a:pt x="323537" y="253161"/>
                  </a:lnTo>
                  <a:lnTo>
                    <a:pt x="325818" y="255930"/>
                  </a:lnTo>
                  <a:close/>
                </a:path>
              </a:pathLst>
            </a:custGeom>
            <a:solidFill>
              <a:schemeClr val="bg2"/>
            </a:solidFill>
            <a:ln w="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0" name="Forma livre: Forma 199">
              <a:extLst>
                <a:ext uri="{FF2B5EF4-FFF2-40B4-BE49-F238E27FC236}">
                  <a16:creationId xmlns:a16="http://schemas.microsoft.com/office/drawing/2014/main" id="{427F8A41-4A2A-9A50-CF26-E4338BCD9EF6}"/>
                </a:ext>
              </a:extLst>
            </p:cNvPr>
            <p:cNvSpPr/>
            <p:nvPr/>
          </p:nvSpPr>
          <p:spPr>
            <a:xfrm>
              <a:off x="7292603" y="3725048"/>
              <a:ext cx="380808" cy="239058"/>
            </a:xfrm>
            <a:custGeom>
              <a:avLst/>
              <a:gdLst>
                <a:gd name="connsiteX0" fmla="*/ 368500 w 368500"/>
                <a:gd name="connsiteY0" fmla="*/ 161769 h 231331"/>
                <a:gd name="connsiteX1" fmla="*/ 367034 w 368500"/>
                <a:gd name="connsiteY1" fmla="*/ 150202 h 231331"/>
                <a:gd name="connsiteX2" fmla="*/ 367360 w 368500"/>
                <a:gd name="connsiteY2" fmla="*/ 143686 h 231331"/>
                <a:gd name="connsiteX3" fmla="*/ 357911 w 368500"/>
                <a:gd name="connsiteY3" fmla="*/ 137007 h 231331"/>
                <a:gd name="connsiteX4" fmla="*/ 353839 w 368500"/>
                <a:gd name="connsiteY4" fmla="*/ 137658 h 231331"/>
                <a:gd name="connsiteX5" fmla="*/ 350906 w 368500"/>
                <a:gd name="connsiteY5" fmla="*/ 134400 h 231331"/>
                <a:gd name="connsiteX6" fmla="*/ 337222 w 368500"/>
                <a:gd name="connsiteY6" fmla="*/ 132119 h 231331"/>
                <a:gd name="connsiteX7" fmla="*/ 319791 w 368500"/>
                <a:gd name="connsiteY7" fmla="*/ 120390 h 231331"/>
                <a:gd name="connsiteX8" fmla="*/ 300731 w 368500"/>
                <a:gd name="connsiteY8" fmla="*/ 111919 h 231331"/>
                <a:gd name="connsiteX9" fmla="*/ 283625 w 368500"/>
                <a:gd name="connsiteY9" fmla="*/ 99375 h 231331"/>
                <a:gd name="connsiteX10" fmla="*/ 266682 w 368500"/>
                <a:gd name="connsiteY10" fmla="*/ 88622 h 231331"/>
                <a:gd name="connsiteX11" fmla="*/ 257885 w 368500"/>
                <a:gd name="connsiteY11" fmla="*/ 84550 h 231331"/>
                <a:gd name="connsiteX12" fmla="*/ 251858 w 368500"/>
                <a:gd name="connsiteY12" fmla="*/ 73798 h 231331"/>
                <a:gd name="connsiteX13" fmla="*/ 250066 w 368500"/>
                <a:gd name="connsiteY13" fmla="*/ 67281 h 231331"/>
                <a:gd name="connsiteX14" fmla="*/ 244852 w 368500"/>
                <a:gd name="connsiteY14" fmla="*/ 63535 h 231331"/>
                <a:gd name="connsiteX15" fmla="*/ 240454 w 368500"/>
                <a:gd name="connsiteY15" fmla="*/ 48384 h 231331"/>
                <a:gd name="connsiteX16" fmla="*/ 229702 w 368500"/>
                <a:gd name="connsiteY16" fmla="*/ 40727 h 231331"/>
                <a:gd name="connsiteX17" fmla="*/ 224652 w 368500"/>
                <a:gd name="connsiteY17" fmla="*/ 39913 h 231331"/>
                <a:gd name="connsiteX18" fmla="*/ 220579 w 368500"/>
                <a:gd name="connsiteY18" fmla="*/ 42519 h 231331"/>
                <a:gd name="connsiteX19" fmla="*/ 205429 w 368500"/>
                <a:gd name="connsiteY19" fmla="*/ 34700 h 231331"/>
                <a:gd name="connsiteX20" fmla="*/ 186206 w 368500"/>
                <a:gd name="connsiteY20" fmla="*/ 24436 h 231331"/>
                <a:gd name="connsiteX21" fmla="*/ 184413 w 368500"/>
                <a:gd name="connsiteY21" fmla="*/ 18572 h 231331"/>
                <a:gd name="connsiteX22" fmla="*/ 169588 w 368500"/>
                <a:gd name="connsiteY22" fmla="*/ 9612 h 231331"/>
                <a:gd name="connsiteX23" fmla="*/ 152320 w 368500"/>
                <a:gd name="connsiteY23" fmla="*/ 1140 h 231331"/>
                <a:gd name="connsiteX24" fmla="*/ 140428 w 368500"/>
                <a:gd name="connsiteY24" fmla="*/ 0 h 231331"/>
                <a:gd name="connsiteX25" fmla="*/ 144826 w 368500"/>
                <a:gd name="connsiteY25" fmla="*/ 6353 h 231331"/>
                <a:gd name="connsiteX26" fmla="*/ 141894 w 368500"/>
                <a:gd name="connsiteY26" fmla="*/ 8145 h 231331"/>
                <a:gd name="connsiteX27" fmla="*/ 135704 w 368500"/>
                <a:gd name="connsiteY27" fmla="*/ 4887 h 231331"/>
                <a:gd name="connsiteX28" fmla="*/ 129839 w 368500"/>
                <a:gd name="connsiteY28" fmla="*/ 8145 h 231331"/>
                <a:gd name="connsiteX29" fmla="*/ 125766 w 368500"/>
                <a:gd name="connsiteY29" fmla="*/ 14499 h 231331"/>
                <a:gd name="connsiteX30" fmla="*/ 117947 w 368500"/>
                <a:gd name="connsiteY30" fmla="*/ 15151 h 231331"/>
                <a:gd name="connsiteX31" fmla="*/ 112408 w 368500"/>
                <a:gd name="connsiteY31" fmla="*/ 26228 h 231331"/>
                <a:gd name="connsiteX32" fmla="*/ 114199 w 368500"/>
                <a:gd name="connsiteY32" fmla="*/ 35514 h 231331"/>
                <a:gd name="connsiteX33" fmla="*/ 118761 w 368500"/>
                <a:gd name="connsiteY33" fmla="*/ 39913 h 231331"/>
                <a:gd name="connsiteX34" fmla="*/ 116154 w 368500"/>
                <a:gd name="connsiteY34" fmla="*/ 45778 h 231331"/>
                <a:gd name="connsiteX35" fmla="*/ 105402 w 368500"/>
                <a:gd name="connsiteY35" fmla="*/ 43986 h 231331"/>
                <a:gd name="connsiteX36" fmla="*/ 89926 w 368500"/>
                <a:gd name="connsiteY36" fmla="*/ 45452 h 231331"/>
                <a:gd name="connsiteX37" fmla="*/ 79663 w 368500"/>
                <a:gd name="connsiteY37" fmla="*/ 47732 h 231331"/>
                <a:gd name="connsiteX38" fmla="*/ 63046 w 368500"/>
                <a:gd name="connsiteY38" fmla="*/ 28509 h 231331"/>
                <a:gd name="connsiteX39" fmla="*/ 44963 w 368500"/>
                <a:gd name="connsiteY39" fmla="*/ 18083 h 231331"/>
                <a:gd name="connsiteX40" fmla="*/ 28347 w 368500"/>
                <a:gd name="connsiteY40" fmla="*/ 15639 h 231331"/>
                <a:gd name="connsiteX41" fmla="*/ 15802 w 368500"/>
                <a:gd name="connsiteY41" fmla="*/ 20038 h 231331"/>
                <a:gd name="connsiteX42" fmla="*/ 0 w 368500"/>
                <a:gd name="connsiteY42" fmla="*/ 34211 h 231331"/>
                <a:gd name="connsiteX43" fmla="*/ 163 w 368500"/>
                <a:gd name="connsiteY43" fmla="*/ 36166 h 231331"/>
                <a:gd name="connsiteX44" fmla="*/ 4073 w 368500"/>
                <a:gd name="connsiteY44" fmla="*/ 40238 h 231331"/>
                <a:gd name="connsiteX45" fmla="*/ 5865 w 368500"/>
                <a:gd name="connsiteY45" fmla="*/ 43986 h 231331"/>
                <a:gd name="connsiteX46" fmla="*/ 9938 w 368500"/>
                <a:gd name="connsiteY46" fmla="*/ 47081 h 231331"/>
                <a:gd name="connsiteX47" fmla="*/ 11404 w 368500"/>
                <a:gd name="connsiteY47" fmla="*/ 51642 h 231331"/>
                <a:gd name="connsiteX48" fmla="*/ 16943 w 368500"/>
                <a:gd name="connsiteY48" fmla="*/ 60276 h 231331"/>
                <a:gd name="connsiteX49" fmla="*/ 15802 w 368500"/>
                <a:gd name="connsiteY49" fmla="*/ 67770 h 231331"/>
                <a:gd name="connsiteX50" fmla="*/ 12707 w 368500"/>
                <a:gd name="connsiteY50" fmla="*/ 73146 h 231331"/>
                <a:gd name="connsiteX51" fmla="*/ 13847 w 368500"/>
                <a:gd name="connsiteY51" fmla="*/ 86016 h 231331"/>
                <a:gd name="connsiteX52" fmla="*/ 16780 w 368500"/>
                <a:gd name="connsiteY52" fmla="*/ 89926 h 231331"/>
                <a:gd name="connsiteX53" fmla="*/ 18083 w 368500"/>
                <a:gd name="connsiteY53" fmla="*/ 93836 h 231331"/>
                <a:gd name="connsiteX54" fmla="*/ 26880 w 368500"/>
                <a:gd name="connsiteY54" fmla="*/ 102144 h 231331"/>
                <a:gd name="connsiteX55" fmla="*/ 26391 w 368500"/>
                <a:gd name="connsiteY55" fmla="*/ 98723 h 231331"/>
                <a:gd name="connsiteX56" fmla="*/ 23622 w 368500"/>
                <a:gd name="connsiteY56" fmla="*/ 95628 h 231331"/>
                <a:gd name="connsiteX57" fmla="*/ 25088 w 368500"/>
                <a:gd name="connsiteY57" fmla="*/ 93999 h 231331"/>
                <a:gd name="connsiteX58" fmla="*/ 32582 w 368500"/>
                <a:gd name="connsiteY58" fmla="*/ 95302 h 231331"/>
                <a:gd name="connsiteX59" fmla="*/ 36166 w 368500"/>
                <a:gd name="connsiteY59" fmla="*/ 92858 h 231331"/>
                <a:gd name="connsiteX60" fmla="*/ 38121 w 368500"/>
                <a:gd name="connsiteY60" fmla="*/ 94813 h 231331"/>
                <a:gd name="connsiteX61" fmla="*/ 36818 w 368500"/>
                <a:gd name="connsiteY61" fmla="*/ 99863 h 231331"/>
                <a:gd name="connsiteX62" fmla="*/ 38284 w 368500"/>
                <a:gd name="connsiteY62" fmla="*/ 105239 h 231331"/>
                <a:gd name="connsiteX63" fmla="*/ 41542 w 368500"/>
                <a:gd name="connsiteY63" fmla="*/ 103936 h 231331"/>
                <a:gd name="connsiteX64" fmla="*/ 44800 w 368500"/>
                <a:gd name="connsiteY64" fmla="*/ 108335 h 231331"/>
                <a:gd name="connsiteX65" fmla="*/ 43334 w 368500"/>
                <a:gd name="connsiteY65" fmla="*/ 110453 h 231331"/>
                <a:gd name="connsiteX66" fmla="*/ 39099 w 368500"/>
                <a:gd name="connsiteY66" fmla="*/ 109149 h 231331"/>
                <a:gd name="connsiteX67" fmla="*/ 36166 w 368500"/>
                <a:gd name="connsiteY67" fmla="*/ 109801 h 231331"/>
                <a:gd name="connsiteX68" fmla="*/ 33885 w 368500"/>
                <a:gd name="connsiteY68" fmla="*/ 107846 h 231331"/>
                <a:gd name="connsiteX69" fmla="*/ 29161 w 368500"/>
                <a:gd name="connsiteY69" fmla="*/ 111756 h 231331"/>
                <a:gd name="connsiteX70" fmla="*/ 29487 w 368500"/>
                <a:gd name="connsiteY70" fmla="*/ 116317 h 231331"/>
                <a:gd name="connsiteX71" fmla="*/ 32256 w 368500"/>
                <a:gd name="connsiteY71" fmla="*/ 120553 h 231331"/>
                <a:gd name="connsiteX72" fmla="*/ 31767 w 368500"/>
                <a:gd name="connsiteY72" fmla="*/ 114688 h 231331"/>
                <a:gd name="connsiteX73" fmla="*/ 34700 w 368500"/>
                <a:gd name="connsiteY73" fmla="*/ 113873 h 231331"/>
                <a:gd name="connsiteX74" fmla="*/ 36818 w 368500"/>
                <a:gd name="connsiteY74" fmla="*/ 115503 h 231331"/>
                <a:gd name="connsiteX75" fmla="*/ 40727 w 368500"/>
                <a:gd name="connsiteY75" fmla="*/ 116154 h 231331"/>
                <a:gd name="connsiteX76" fmla="*/ 43497 w 368500"/>
                <a:gd name="connsiteY76" fmla="*/ 120879 h 231331"/>
                <a:gd name="connsiteX77" fmla="*/ 50339 w 368500"/>
                <a:gd name="connsiteY77" fmla="*/ 124462 h 231331"/>
                <a:gd name="connsiteX78" fmla="*/ 51968 w 368500"/>
                <a:gd name="connsiteY78" fmla="*/ 129513 h 231331"/>
                <a:gd name="connsiteX79" fmla="*/ 51805 w 368500"/>
                <a:gd name="connsiteY79" fmla="*/ 137007 h 231331"/>
                <a:gd name="connsiteX80" fmla="*/ 52457 w 368500"/>
                <a:gd name="connsiteY80" fmla="*/ 140916 h 231331"/>
                <a:gd name="connsiteX81" fmla="*/ 52131 w 368500"/>
                <a:gd name="connsiteY81" fmla="*/ 154112 h 231331"/>
                <a:gd name="connsiteX82" fmla="*/ 54575 w 368500"/>
                <a:gd name="connsiteY82" fmla="*/ 163072 h 231331"/>
                <a:gd name="connsiteX83" fmla="*/ 59299 w 368500"/>
                <a:gd name="connsiteY83" fmla="*/ 175779 h 231331"/>
                <a:gd name="connsiteX84" fmla="*/ 64512 w 368500"/>
                <a:gd name="connsiteY84" fmla="*/ 172684 h 231331"/>
                <a:gd name="connsiteX85" fmla="*/ 77056 w 368500"/>
                <a:gd name="connsiteY85" fmla="*/ 172032 h 231331"/>
                <a:gd name="connsiteX86" fmla="*/ 79337 w 368500"/>
                <a:gd name="connsiteY86" fmla="*/ 165190 h 231331"/>
                <a:gd name="connsiteX87" fmla="*/ 82595 w 368500"/>
                <a:gd name="connsiteY87" fmla="*/ 160954 h 231331"/>
                <a:gd name="connsiteX88" fmla="*/ 86831 w 368500"/>
                <a:gd name="connsiteY88" fmla="*/ 160628 h 231331"/>
                <a:gd name="connsiteX89" fmla="*/ 97583 w 368500"/>
                <a:gd name="connsiteY89" fmla="*/ 151505 h 231331"/>
                <a:gd name="connsiteX90" fmla="*/ 108335 w 368500"/>
                <a:gd name="connsiteY90" fmla="*/ 149551 h 231331"/>
                <a:gd name="connsiteX91" fmla="*/ 117947 w 368500"/>
                <a:gd name="connsiteY91" fmla="*/ 151505 h 231331"/>
                <a:gd name="connsiteX92" fmla="*/ 119901 w 368500"/>
                <a:gd name="connsiteY92" fmla="*/ 145478 h 231331"/>
                <a:gd name="connsiteX93" fmla="*/ 124952 w 368500"/>
                <a:gd name="connsiteY93" fmla="*/ 144175 h 231331"/>
                <a:gd name="connsiteX94" fmla="*/ 130002 w 368500"/>
                <a:gd name="connsiteY94" fmla="*/ 146129 h 231331"/>
                <a:gd name="connsiteX95" fmla="*/ 135704 w 368500"/>
                <a:gd name="connsiteY95" fmla="*/ 145967 h 231331"/>
                <a:gd name="connsiteX96" fmla="*/ 144826 w 368500"/>
                <a:gd name="connsiteY96" fmla="*/ 153297 h 231331"/>
                <a:gd name="connsiteX97" fmla="*/ 152809 w 368500"/>
                <a:gd name="connsiteY97" fmla="*/ 155578 h 231331"/>
                <a:gd name="connsiteX98" fmla="*/ 167797 w 368500"/>
                <a:gd name="connsiteY98" fmla="*/ 165027 h 231331"/>
                <a:gd name="connsiteX99" fmla="*/ 171869 w 368500"/>
                <a:gd name="connsiteY99" fmla="*/ 164864 h 231331"/>
                <a:gd name="connsiteX100" fmla="*/ 175779 w 368500"/>
                <a:gd name="connsiteY100" fmla="*/ 162095 h 231331"/>
                <a:gd name="connsiteX101" fmla="*/ 186206 w 368500"/>
                <a:gd name="connsiteY101" fmla="*/ 166330 h 231331"/>
                <a:gd name="connsiteX102" fmla="*/ 191581 w 368500"/>
                <a:gd name="connsiteY102" fmla="*/ 167145 h 231331"/>
                <a:gd name="connsiteX103" fmla="*/ 193047 w 368500"/>
                <a:gd name="connsiteY103" fmla="*/ 174802 h 231331"/>
                <a:gd name="connsiteX104" fmla="*/ 195328 w 368500"/>
                <a:gd name="connsiteY104" fmla="*/ 176594 h 231331"/>
                <a:gd name="connsiteX105" fmla="*/ 200704 w 368500"/>
                <a:gd name="connsiteY105" fmla="*/ 175290 h 231331"/>
                <a:gd name="connsiteX106" fmla="*/ 210316 w 368500"/>
                <a:gd name="connsiteY106" fmla="*/ 177571 h 231331"/>
                <a:gd name="connsiteX107" fmla="*/ 220579 w 368500"/>
                <a:gd name="connsiteY107" fmla="*/ 191907 h 231331"/>
                <a:gd name="connsiteX108" fmla="*/ 231820 w 368500"/>
                <a:gd name="connsiteY108" fmla="*/ 192721 h 231331"/>
                <a:gd name="connsiteX109" fmla="*/ 238336 w 368500"/>
                <a:gd name="connsiteY109" fmla="*/ 195491 h 231331"/>
                <a:gd name="connsiteX110" fmla="*/ 242409 w 368500"/>
                <a:gd name="connsiteY110" fmla="*/ 202822 h 231331"/>
                <a:gd name="connsiteX111" fmla="*/ 240454 w 368500"/>
                <a:gd name="connsiteY111" fmla="*/ 206569 h 231331"/>
                <a:gd name="connsiteX112" fmla="*/ 242735 w 368500"/>
                <a:gd name="connsiteY112" fmla="*/ 212922 h 231331"/>
                <a:gd name="connsiteX113" fmla="*/ 242572 w 368500"/>
                <a:gd name="connsiteY113" fmla="*/ 216832 h 231331"/>
                <a:gd name="connsiteX114" fmla="*/ 244690 w 368500"/>
                <a:gd name="connsiteY114" fmla="*/ 220742 h 231331"/>
                <a:gd name="connsiteX115" fmla="*/ 247133 w 368500"/>
                <a:gd name="connsiteY115" fmla="*/ 219927 h 231331"/>
                <a:gd name="connsiteX116" fmla="*/ 252835 w 368500"/>
                <a:gd name="connsiteY116" fmla="*/ 221394 h 231331"/>
                <a:gd name="connsiteX117" fmla="*/ 256908 w 368500"/>
                <a:gd name="connsiteY117" fmla="*/ 224489 h 231331"/>
                <a:gd name="connsiteX118" fmla="*/ 261143 w 368500"/>
                <a:gd name="connsiteY118" fmla="*/ 224489 h 231331"/>
                <a:gd name="connsiteX119" fmla="*/ 264402 w 368500"/>
                <a:gd name="connsiteY119" fmla="*/ 221394 h 231331"/>
                <a:gd name="connsiteX120" fmla="*/ 268963 w 368500"/>
                <a:gd name="connsiteY120" fmla="*/ 221394 h 231331"/>
                <a:gd name="connsiteX121" fmla="*/ 274665 w 368500"/>
                <a:gd name="connsiteY121" fmla="*/ 225629 h 231331"/>
                <a:gd name="connsiteX122" fmla="*/ 276131 w 368500"/>
                <a:gd name="connsiteY122" fmla="*/ 229213 h 231331"/>
                <a:gd name="connsiteX123" fmla="*/ 278249 w 368500"/>
                <a:gd name="connsiteY123" fmla="*/ 231331 h 231331"/>
                <a:gd name="connsiteX124" fmla="*/ 280856 w 368500"/>
                <a:gd name="connsiteY124" fmla="*/ 228562 h 231331"/>
                <a:gd name="connsiteX125" fmla="*/ 288186 w 368500"/>
                <a:gd name="connsiteY125" fmla="*/ 227421 h 231331"/>
                <a:gd name="connsiteX126" fmla="*/ 291933 w 368500"/>
                <a:gd name="connsiteY126" fmla="*/ 223186 h 231331"/>
                <a:gd name="connsiteX127" fmla="*/ 292748 w 368500"/>
                <a:gd name="connsiteY127" fmla="*/ 219927 h 231331"/>
                <a:gd name="connsiteX128" fmla="*/ 296006 w 368500"/>
                <a:gd name="connsiteY128" fmla="*/ 216995 h 231331"/>
                <a:gd name="connsiteX129" fmla="*/ 294703 w 368500"/>
                <a:gd name="connsiteY129" fmla="*/ 213411 h 231331"/>
                <a:gd name="connsiteX130" fmla="*/ 302685 w 368500"/>
                <a:gd name="connsiteY130" fmla="*/ 209175 h 231331"/>
                <a:gd name="connsiteX131" fmla="*/ 312623 w 368500"/>
                <a:gd name="connsiteY131" fmla="*/ 207220 h 231331"/>
                <a:gd name="connsiteX132" fmla="*/ 313438 w 368500"/>
                <a:gd name="connsiteY132" fmla="*/ 204614 h 231331"/>
                <a:gd name="connsiteX133" fmla="*/ 317347 w 368500"/>
                <a:gd name="connsiteY133" fmla="*/ 201519 h 231331"/>
                <a:gd name="connsiteX134" fmla="*/ 321420 w 368500"/>
                <a:gd name="connsiteY134" fmla="*/ 200541 h 231331"/>
                <a:gd name="connsiteX135" fmla="*/ 323049 w 368500"/>
                <a:gd name="connsiteY135" fmla="*/ 193699 h 231331"/>
                <a:gd name="connsiteX136" fmla="*/ 323212 w 368500"/>
                <a:gd name="connsiteY136" fmla="*/ 187345 h 231331"/>
                <a:gd name="connsiteX137" fmla="*/ 329077 w 368500"/>
                <a:gd name="connsiteY137" fmla="*/ 180992 h 231331"/>
                <a:gd name="connsiteX138" fmla="*/ 329077 w 368500"/>
                <a:gd name="connsiteY138" fmla="*/ 175616 h 231331"/>
                <a:gd name="connsiteX139" fmla="*/ 326796 w 368500"/>
                <a:gd name="connsiteY139" fmla="*/ 173824 h 231331"/>
                <a:gd name="connsiteX140" fmla="*/ 327122 w 368500"/>
                <a:gd name="connsiteY140" fmla="*/ 170566 h 231331"/>
                <a:gd name="connsiteX141" fmla="*/ 329728 w 368500"/>
                <a:gd name="connsiteY141" fmla="*/ 169426 h 231331"/>
                <a:gd name="connsiteX142" fmla="*/ 332498 w 368500"/>
                <a:gd name="connsiteY142" fmla="*/ 167471 h 231331"/>
                <a:gd name="connsiteX143" fmla="*/ 339177 w 368500"/>
                <a:gd name="connsiteY143" fmla="*/ 165679 h 231331"/>
                <a:gd name="connsiteX144" fmla="*/ 341295 w 368500"/>
                <a:gd name="connsiteY144" fmla="*/ 165842 h 231331"/>
                <a:gd name="connsiteX145" fmla="*/ 348952 w 368500"/>
                <a:gd name="connsiteY145" fmla="*/ 160140 h 231331"/>
                <a:gd name="connsiteX146" fmla="*/ 354979 w 368500"/>
                <a:gd name="connsiteY146" fmla="*/ 158348 h 231331"/>
                <a:gd name="connsiteX147" fmla="*/ 360029 w 368500"/>
                <a:gd name="connsiteY147" fmla="*/ 161443 h 231331"/>
                <a:gd name="connsiteX148" fmla="*/ 365568 w 368500"/>
                <a:gd name="connsiteY148" fmla="*/ 160140 h 231331"/>
                <a:gd name="connsiteX149" fmla="*/ 367523 w 368500"/>
                <a:gd name="connsiteY149" fmla="*/ 162095 h 231331"/>
                <a:gd name="connsiteX150" fmla="*/ 368500 w 368500"/>
                <a:gd name="connsiteY150" fmla="*/ 161769 h 2313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</a:cxnLst>
              <a:rect l="l" t="t" r="r" b="b"/>
              <a:pathLst>
                <a:path w="368500" h="231331">
                  <a:moveTo>
                    <a:pt x="368500" y="161769"/>
                  </a:moveTo>
                  <a:lnTo>
                    <a:pt x="367034" y="150202"/>
                  </a:lnTo>
                  <a:lnTo>
                    <a:pt x="367360" y="143686"/>
                  </a:lnTo>
                  <a:lnTo>
                    <a:pt x="357911" y="137007"/>
                  </a:lnTo>
                  <a:lnTo>
                    <a:pt x="353839" y="137658"/>
                  </a:lnTo>
                  <a:lnTo>
                    <a:pt x="350906" y="134400"/>
                  </a:lnTo>
                  <a:lnTo>
                    <a:pt x="337222" y="132119"/>
                  </a:lnTo>
                  <a:lnTo>
                    <a:pt x="319791" y="120390"/>
                  </a:lnTo>
                  <a:lnTo>
                    <a:pt x="300731" y="111919"/>
                  </a:lnTo>
                  <a:lnTo>
                    <a:pt x="283625" y="99375"/>
                  </a:lnTo>
                  <a:lnTo>
                    <a:pt x="266682" y="88622"/>
                  </a:lnTo>
                  <a:lnTo>
                    <a:pt x="257885" y="84550"/>
                  </a:lnTo>
                  <a:lnTo>
                    <a:pt x="251858" y="73798"/>
                  </a:lnTo>
                  <a:lnTo>
                    <a:pt x="250066" y="67281"/>
                  </a:lnTo>
                  <a:lnTo>
                    <a:pt x="244852" y="63535"/>
                  </a:lnTo>
                  <a:lnTo>
                    <a:pt x="240454" y="48384"/>
                  </a:lnTo>
                  <a:lnTo>
                    <a:pt x="229702" y="40727"/>
                  </a:lnTo>
                  <a:lnTo>
                    <a:pt x="224652" y="39913"/>
                  </a:lnTo>
                  <a:lnTo>
                    <a:pt x="220579" y="42519"/>
                  </a:lnTo>
                  <a:lnTo>
                    <a:pt x="205429" y="34700"/>
                  </a:lnTo>
                  <a:lnTo>
                    <a:pt x="186206" y="24436"/>
                  </a:lnTo>
                  <a:lnTo>
                    <a:pt x="184413" y="18572"/>
                  </a:lnTo>
                  <a:lnTo>
                    <a:pt x="169588" y="9612"/>
                  </a:lnTo>
                  <a:lnTo>
                    <a:pt x="152320" y="1140"/>
                  </a:lnTo>
                  <a:lnTo>
                    <a:pt x="140428" y="0"/>
                  </a:lnTo>
                  <a:lnTo>
                    <a:pt x="144826" y="6353"/>
                  </a:lnTo>
                  <a:lnTo>
                    <a:pt x="141894" y="8145"/>
                  </a:lnTo>
                  <a:lnTo>
                    <a:pt x="135704" y="4887"/>
                  </a:lnTo>
                  <a:lnTo>
                    <a:pt x="129839" y="8145"/>
                  </a:lnTo>
                  <a:lnTo>
                    <a:pt x="125766" y="14499"/>
                  </a:lnTo>
                  <a:lnTo>
                    <a:pt x="117947" y="15151"/>
                  </a:lnTo>
                  <a:lnTo>
                    <a:pt x="112408" y="26228"/>
                  </a:lnTo>
                  <a:lnTo>
                    <a:pt x="114199" y="35514"/>
                  </a:lnTo>
                  <a:lnTo>
                    <a:pt x="118761" y="39913"/>
                  </a:lnTo>
                  <a:lnTo>
                    <a:pt x="116154" y="45778"/>
                  </a:lnTo>
                  <a:lnTo>
                    <a:pt x="105402" y="43986"/>
                  </a:lnTo>
                  <a:lnTo>
                    <a:pt x="89926" y="45452"/>
                  </a:lnTo>
                  <a:lnTo>
                    <a:pt x="79663" y="47732"/>
                  </a:lnTo>
                  <a:lnTo>
                    <a:pt x="63046" y="28509"/>
                  </a:lnTo>
                  <a:lnTo>
                    <a:pt x="44963" y="18083"/>
                  </a:lnTo>
                  <a:lnTo>
                    <a:pt x="28347" y="15639"/>
                  </a:lnTo>
                  <a:lnTo>
                    <a:pt x="15802" y="20038"/>
                  </a:lnTo>
                  <a:lnTo>
                    <a:pt x="0" y="34211"/>
                  </a:lnTo>
                  <a:lnTo>
                    <a:pt x="163" y="36166"/>
                  </a:lnTo>
                  <a:lnTo>
                    <a:pt x="4073" y="40238"/>
                  </a:lnTo>
                  <a:lnTo>
                    <a:pt x="5865" y="43986"/>
                  </a:lnTo>
                  <a:lnTo>
                    <a:pt x="9938" y="47081"/>
                  </a:lnTo>
                  <a:lnTo>
                    <a:pt x="11404" y="51642"/>
                  </a:lnTo>
                  <a:lnTo>
                    <a:pt x="16943" y="60276"/>
                  </a:lnTo>
                  <a:lnTo>
                    <a:pt x="15802" y="67770"/>
                  </a:lnTo>
                  <a:lnTo>
                    <a:pt x="12707" y="73146"/>
                  </a:lnTo>
                  <a:lnTo>
                    <a:pt x="13847" y="86016"/>
                  </a:lnTo>
                  <a:lnTo>
                    <a:pt x="16780" y="89926"/>
                  </a:lnTo>
                  <a:lnTo>
                    <a:pt x="18083" y="93836"/>
                  </a:lnTo>
                  <a:lnTo>
                    <a:pt x="26880" y="102144"/>
                  </a:lnTo>
                  <a:lnTo>
                    <a:pt x="26391" y="98723"/>
                  </a:lnTo>
                  <a:lnTo>
                    <a:pt x="23622" y="95628"/>
                  </a:lnTo>
                  <a:lnTo>
                    <a:pt x="25088" y="93999"/>
                  </a:lnTo>
                  <a:lnTo>
                    <a:pt x="32582" y="95302"/>
                  </a:lnTo>
                  <a:lnTo>
                    <a:pt x="36166" y="92858"/>
                  </a:lnTo>
                  <a:lnTo>
                    <a:pt x="38121" y="94813"/>
                  </a:lnTo>
                  <a:lnTo>
                    <a:pt x="36818" y="99863"/>
                  </a:lnTo>
                  <a:lnTo>
                    <a:pt x="38284" y="105239"/>
                  </a:lnTo>
                  <a:lnTo>
                    <a:pt x="41542" y="103936"/>
                  </a:lnTo>
                  <a:lnTo>
                    <a:pt x="44800" y="108335"/>
                  </a:lnTo>
                  <a:lnTo>
                    <a:pt x="43334" y="110453"/>
                  </a:lnTo>
                  <a:lnTo>
                    <a:pt x="39099" y="109149"/>
                  </a:lnTo>
                  <a:lnTo>
                    <a:pt x="36166" y="109801"/>
                  </a:lnTo>
                  <a:lnTo>
                    <a:pt x="33885" y="107846"/>
                  </a:lnTo>
                  <a:lnTo>
                    <a:pt x="29161" y="111756"/>
                  </a:lnTo>
                  <a:lnTo>
                    <a:pt x="29487" y="116317"/>
                  </a:lnTo>
                  <a:lnTo>
                    <a:pt x="32256" y="120553"/>
                  </a:lnTo>
                  <a:lnTo>
                    <a:pt x="31767" y="114688"/>
                  </a:lnTo>
                  <a:lnTo>
                    <a:pt x="34700" y="113873"/>
                  </a:lnTo>
                  <a:lnTo>
                    <a:pt x="36818" y="115503"/>
                  </a:lnTo>
                  <a:lnTo>
                    <a:pt x="40727" y="116154"/>
                  </a:lnTo>
                  <a:lnTo>
                    <a:pt x="43497" y="120879"/>
                  </a:lnTo>
                  <a:lnTo>
                    <a:pt x="50339" y="124462"/>
                  </a:lnTo>
                  <a:lnTo>
                    <a:pt x="51968" y="129513"/>
                  </a:lnTo>
                  <a:lnTo>
                    <a:pt x="51805" y="137007"/>
                  </a:lnTo>
                  <a:lnTo>
                    <a:pt x="52457" y="140916"/>
                  </a:lnTo>
                  <a:lnTo>
                    <a:pt x="52131" y="154112"/>
                  </a:lnTo>
                  <a:lnTo>
                    <a:pt x="54575" y="163072"/>
                  </a:lnTo>
                  <a:lnTo>
                    <a:pt x="59299" y="175779"/>
                  </a:lnTo>
                  <a:lnTo>
                    <a:pt x="64512" y="172684"/>
                  </a:lnTo>
                  <a:lnTo>
                    <a:pt x="77056" y="172032"/>
                  </a:lnTo>
                  <a:lnTo>
                    <a:pt x="79337" y="165190"/>
                  </a:lnTo>
                  <a:lnTo>
                    <a:pt x="82595" y="160954"/>
                  </a:lnTo>
                  <a:lnTo>
                    <a:pt x="86831" y="160628"/>
                  </a:lnTo>
                  <a:lnTo>
                    <a:pt x="97583" y="151505"/>
                  </a:lnTo>
                  <a:lnTo>
                    <a:pt x="108335" y="149551"/>
                  </a:lnTo>
                  <a:lnTo>
                    <a:pt x="117947" y="151505"/>
                  </a:lnTo>
                  <a:lnTo>
                    <a:pt x="119901" y="145478"/>
                  </a:lnTo>
                  <a:lnTo>
                    <a:pt x="124952" y="144175"/>
                  </a:lnTo>
                  <a:lnTo>
                    <a:pt x="130002" y="146129"/>
                  </a:lnTo>
                  <a:lnTo>
                    <a:pt x="135704" y="145967"/>
                  </a:lnTo>
                  <a:lnTo>
                    <a:pt x="144826" y="153297"/>
                  </a:lnTo>
                  <a:lnTo>
                    <a:pt x="152809" y="155578"/>
                  </a:lnTo>
                  <a:lnTo>
                    <a:pt x="167797" y="165027"/>
                  </a:lnTo>
                  <a:lnTo>
                    <a:pt x="171869" y="164864"/>
                  </a:lnTo>
                  <a:lnTo>
                    <a:pt x="175779" y="162095"/>
                  </a:lnTo>
                  <a:lnTo>
                    <a:pt x="186206" y="166330"/>
                  </a:lnTo>
                  <a:lnTo>
                    <a:pt x="191581" y="167145"/>
                  </a:lnTo>
                  <a:lnTo>
                    <a:pt x="193047" y="174802"/>
                  </a:lnTo>
                  <a:lnTo>
                    <a:pt x="195328" y="176594"/>
                  </a:lnTo>
                  <a:lnTo>
                    <a:pt x="200704" y="175290"/>
                  </a:lnTo>
                  <a:lnTo>
                    <a:pt x="210316" y="177571"/>
                  </a:lnTo>
                  <a:lnTo>
                    <a:pt x="220579" y="191907"/>
                  </a:lnTo>
                  <a:lnTo>
                    <a:pt x="231820" y="192721"/>
                  </a:lnTo>
                  <a:lnTo>
                    <a:pt x="238336" y="195491"/>
                  </a:lnTo>
                  <a:lnTo>
                    <a:pt x="242409" y="202822"/>
                  </a:lnTo>
                  <a:lnTo>
                    <a:pt x="240454" y="206569"/>
                  </a:lnTo>
                  <a:lnTo>
                    <a:pt x="242735" y="212922"/>
                  </a:lnTo>
                  <a:lnTo>
                    <a:pt x="242572" y="216832"/>
                  </a:lnTo>
                  <a:lnTo>
                    <a:pt x="244690" y="220742"/>
                  </a:lnTo>
                  <a:lnTo>
                    <a:pt x="247133" y="219927"/>
                  </a:lnTo>
                  <a:lnTo>
                    <a:pt x="252835" y="221394"/>
                  </a:lnTo>
                  <a:lnTo>
                    <a:pt x="256908" y="224489"/>
                  </a:lnTo>
                  <a:lnTo>
                    <a:pt x="261143" y="224489"/>
                  </a:lnTo>
                  <a:lnTo>
                    <a:pt x="264402" y="221394"/>
                  </a:lnTo>
                  <a:lnTo>
                    <a:pt x="268963" y="221394"/>
                  </a:lnTo>
                  <a:lnTo>
                    <a:pt x="274665" y="225629"/>
                  </a:lnTo>
                  <a:lnTo>
                    <a:pt x="276131" y="229213"/>
                  </a:lnTo>
                  <a:lnTo>
                    <a:pt x="278249" y="231331"/>
                  </a:lnTo>
                  <a:lnTo>
                    <a:pt x="280856" y="228562"/>
                  </a:lnTo>
                  <a:lnTo>
                    <a:pt x="288186" y="227421"/>
                  </a:lnTo>
                  <a:lnTo>
                    <a:pt x="291933" y="223186"/>
                  </a:lnTo>
                  <a:lnTo>
                    <a:pt x="292748" y="219927"/>
                  </a:lnTo>
                  <a:lnTo>
                    <a:pt x="296006" y="216995"/>
                  </a:lnTo>
                  <a:lnTo>
                    <a:pt x="294703" y="213411"/>
                  </a:lnTo>
                  <a:lnTo>
                    <a:pt x="302685" y="209175"/>
                  </a:lnTo>
                  <a:lnTo>
                    <a:pt x="312623" y="207220"/>
                  </a:lnTo>
                  <a:lnTo>
                    <a:pt x="313438" y="204614"/>
                  </a:lnTo>
                  <a:lnTo>
                    <a:pt x="317347" y="201519"/>
                  </a:lnTo>
                  <a:lnTo>
                    <a:pt x="321420" y="200541"/>
                  </a:lnTo>
                  <a:lnTo>
                    <a:pt x="323049" y="193699"/>
                  </a:lnTo>
                  <a:lnTo>
                    <a:pt x="323212" y="187345"/>
                  </a:lnTo>
                  <a:lnTo>
                    <a:pt x="329077" y="180992"/>
                  </a:lnTo>
                  <a:lnTo>
                    <a:pt x="329077" y="175616"/>
                  </a:lnTo>
                  <a:lnTo>
                    <a:pt x="326796" y="173824"/>
                  </a:lnTo>
                  <a:lnTo>
                    <a:pt x="327122" y="170566"/>
                  </a:lnTo>
                  <a:lnTo>
                    <a:pt x="329728" y="169426"/>
                  </a:lnTo>
                  <a:lnTo>
                    <a:pt x="332498" y="167471"/>
                  </a:lnTo>
                  <a:lnTo>
                    <a:pt x="339177" y="165679"/>
                  </a:lnTo>
                  <a:lnTo>
                    <a:pt x="341295" y="165842"/>
                  </a:lnTo>
                  <a:lnTo>
                    <a:pt x="348952" y="160140"/>
                  </a:lnTo>
                  <a:lnTo>
                    <a:pt x="354979" y="158348"/>
                  </a:lnTo>
                  <a:lnTo>
                    <a:pt x="360029" y="161443"/>
                  </a:lnTo>
                  <a:lnTo>
                    <a:pt x="365568" y="160140"/>
                  </a:lnTo>
                  <a:lnTo>
                    <a:pt x="367523" y="162095"/>
                  </a:lnTo>
                  <a:lnTo>
                    <a:pt x="368500" y="161769"/>
                  </a:lnTo>
                  <a:close/>
                </a:path>
              </a:pathLst>
            </a:custGeom>
            <a:solidFill>
              <a:schemeClr val="bg2"/>
            </a:solidFill>
            <a:ln w="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1" name="Forma livre: Forma 200">
              <a:extLst>
                <a:ext uri="{FF2B5EF4-FFF2-40B4-BE49-F238E27FC236}">
                  <a16:creationId xmlns:a16="http://schemas.microsoft.com/office/drawing/2014/main" id="{30BDEB9B-D2C8-E846-75E4-1E781B794556}"/>
                </a:ext>
              </a:extLst>
            </p:cNvPr>
            <p:cNvSpPr/>
            <p:nvPr/>
          </p:nvSpPr>
          <p:spPr>
            <a:xfrm>
              <a:off x="9053550" y="4294914"/>
              <a:ext cx="7238" cy="4545"/>
            </a:xfrm>
            <a:custGeom>
              <a:avLst/>
              <a:gdLst>
                <a:gd name="connsiteX0" fmla="*/ 0 w 7004"/>
                <a:gd name="connsiteY0" fmla="*/ 1955 h 4398"/>
                <a:gd name="connsiteX1" fmla="*/ 652 w 7004"/>
                <a:gd name="connsiteY1" fmla="*/ 4236 h 4398"/>
                <a:gd name="connsiteX2" fmla="*/ 5213 w 7004"/>
                <a:gd name="connsiteY2" fmla="*/ 4399 h 4398"/>
                <a:gd name="connsiteX3" fmla="*/ 7005 w 7004"/>
                <a:gd name="connsiteY3" fmla="*/ 2932 h 4398"/>
                <a:gd name="connsiteX4" fmla="*/ 3910 w 7004"/>
                <a:gd name="connsiteY4" fmla="*/ 0 h 4398"/>
                <a:gd name="connsiteX5" fmla="*/ 0 w 7004"/>
                <a:gd name="connsiteY5" fmla="*/ 1955 h 43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004" h="4398">
                  <a:moveTo>
                    <a:pt x="0" y="1955"/>
                  </a:moveTo>
                  <a:lnTo>
                    <a:pt x="652" y="4236"/>
                  </a:lnTo>
                  <a:lnTo>
                    <a:pt x="5213" y="4399"/>
                  </a:lnTo>
                  <a:lnTo>
                    <a:pt x="7005" y="2932"/>
                  </a:lnTo>
                  <a:lnTo>
                    <a:pt x="3910" y="0"/>
                  </a:lnTo>
                  <a:lnTo>
                    <a:pt x="0" y="1955"/>
                  </a:lnTo>
                  <a:close/>
                </a:path>
              </a:pathLst>
            </a:custGeom>
            <a:solidFill>
              <a:schemeClr val="bg2"/>
            </a:solidFill>
            <a:ln w="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2" name="Forma livre: Forma 201">
              <a:extLst>
                <a:ext uri="{FF2B5EF4-FFF2-40B4-BE49-F238E27FC236}">
                  <a16:creationId xmlns:a16="http://schemas.microsoft.com/office/drawing/2014/main" id="{8DAB2622-691E-E007-567C-9473409486B5}"/>
                </a:ext>
              </a:extLst>
            </p:cNvPr>
            <p:cNvSpPr/>
            <p:nvPr/>
          </p:nvSpPr>
          <p:spPr>
            <a:xfrm>
              <a:off x="9041850" y="4416968"/>
              <a:ext cx="262795" cy="397307"/>
            </a:xfrm>
            <a:custGeom>
              <a:avLst/>
              <a:gdLst>
                <a:gd name="connsiteX0" fmla="*/ 90741 w 254301"/>
                <a:gd name="connsiteY0" fmla="*/ 18083 h 384465"/>
                <a:gd name="connsiteX1" fmla="*/ 97257 w 254301"/>
                <a:gd name="connsiteY1" fmla="*/ 18083 h 384465"/>
                <a:gd name="connsiteX2" fmla="*/ 93184 w 254301"/>
                <a:gd name="connsiteY2" fmla="*/ 20364 h 384465"/>
                <a:gd name="connsiteX3" fmla="*/ 90741 w 254301"/>
                <a:gd name="connsiteY3" fmla="*/ 18083 h 384465"/>
                <a:gd name="connsiteX4" fmla="*/ 90741 w 254301"/>
                <a:gd name="connsiteY4" fmla="*/ 18083 h 384465"/>
                <a:gd name="connsiteX5" fmla="*/ 87483 w 254301"/>
                <a:gd name="connsiteY5" fmla="*/ 7005 h 384465"/>
                <a:gd name="connsiteX6" fmla="*/ 90904 w 254301"/>
                <a:gd name="connsiteY6" fmla="*/ 10263 h 384465"/>
                <a:gd name="connsiteX7" fmla="*/ 86179 w 254301"/>
                <a:gd name="connsiteY7" fmla="*/ 11241 h 384465"/>
                <a:gd name="connsiteX8" fmla="*/ 87483 w 254301"/>
                <a:gd name="connsiteY8" fmla="*/ 7005 h 384465"/>
                <a:gd name="connsiteX9" fmla="*/ 87483 w 254301"/>
                <a:gd name="connsiteY9" fmla="*/ 7005 h 384465"/>
                <a:gd name="connsiteX10" fmla="*/ 98397 w 254301"/>
                <a:gd name="connsiteY10" fmla="*/ 0 h 384465"/>
                <a:gd name="connsiteX11" fmla="*/ 94488 w 254301"/>
                <a:gd name="connsiteY11" fmla="*/ 2769 h 384465"/>
                <a:gd name="connsiteX12" fmla="*/ 97583 w 254301"/>
                <a:gd name="connsiteY12" fmla="*/ 5539 h 384465"/>
                <a:gd name="connsiteX13" fmla="*/ 98397 w 254301"/>
                <a:gd name="connsiteY13" fmla="*/ 0 h 384465"/>
                <a:gd name="connsiteX14" fmla="*/ 98397 w 254301"/>
                <a:gd name="connsiteY14" fmla="*/ 0 h 384465"/>
                <a:gd name="connsiteX15" fmla="*/ 109475 w 254301"/>
                <a:gd name="connsiteY15" fmla="*/ 12707 h 384465"/>
                <a:gd name="connsiteX16" fmla="*/ 106380 w 254301"/>
                <a:gd name="connsiteY16" fmla="*/ 16617 h 384465"/>
                <a:gd name="connsiteX17" fmla="*/ 109312 w 254301"/>
                <a:gd name="connsiteY17" fmla="*/ 19060 h 384465"/>
                <a:gd name="connsiteX18" fmla="*/ 111267 w 254301"/>
                <a:gd name="connsiteY18" fmla="*/ 15313 h 384465"/>
                <a:gd name="connsiteX19" fmla="*/ 109475 w 254301"/>
                <a:gd name="connsiteY19" fmla="*/ 12707 h 384465"/>
                <a:gd name="connsiteX20" fmla="*/ 109475 w 254301"/>
                <a:gd name="connsiteY20" fmla="*/ 12707 h 384465"/>
                <a:gd name="connsiteX21" fmla="*/ 111593 w 254301"/>
                <a:gd name="connsiteY21" fmla="*/ 142708 h 384465"/>
                <a:gd name="connsiteX22" fmla="*/ 115503 w 254301"/>
                <a:gd name="connsiteY22" fmla="*/ 145804 h 384465"/>
                <a:gd name="connsiteX23" fmla="*/ 117947 w 254301"/>
                <a:gd name="connsiteY23" fmla="*/ 150854 h 384465"/>
                <a:gd name="connsiteX24" fmla="*/ 123811 w 254301"/>
                <a:gd name="connsiteY24" fmla="*/ 152809 h 384465"/>
                <a:gd name="connsiteX25" fmla="*/ 127884 w 254301"/>
                <a:gd name="connsiteY25" fmla="*/ 151506 h 384465"/>
                <a:gd name="connsiteX26" fmla="*/ 129024 w 254301"/>
                <a:gd name="connsiteY26" fmla="*/ 147433 h 384465"/>
                <a:gd name="connsiteX27" fmla="*/ 135867 w 254301"/>
                <a:gd name="connsiteY27" fmla="*/ 142057 h 384465"/>
                <a:gd name="connsiteX28" fmla="*/ 140917 w 254301"/>
                <a:gd name="connsiteY28" fmla="*/ 142057 h 384465"/>
                <a:gd name="connsiteX29" fmla="*/ 148574 w 254301"/>
                <a:gd name="connsiteY29" fmla="*/ 146781 h 384465"/>
                <a:gd name="connsiteX30" fmla="*/ 151669 w 254301"/>
                <a:gd name="connsiteY30" fmla="*/ 152809 h 384465"/>
                <a:gd name="connsiteX31" fmla="*/ 151017 w 254301"/>
                <a:gd name="connsiteY31" fmla="*/ 158185 h 384465"/>
                <a:gd name="connsiteX32" fmla="*/ 153461 w 254301"/>
                <a:gd name="connsiteY32" fmla="*/ 160791 h 384465"/>
                <a:gd name="connsiteX33" fmla="*/ 156882 w 254301"/>
                <a:gd name="connsiteY33" fmla="*/ 158511 h 384465"/>
                <a:gd name="connsiteX34" fmla="*/ 156556 w 254301"/>
                <a:gd name="connsiteY34" fmla="*/ 153460 h 384465"/>
                <a:gd name="connsiteX35" fmla="*/ 158836 w 254301"/>
                <a:gd name="connsiteY35" fmla="*/ 151668 h 384465"/>
                <a:gd name="connsiteX36" fmla="*/ 161769 w 254301"/>
                <a:gd name="connsiteY36" fmla="*/ 156556 h 384465"/>
                <a:gd name="connsiteX37" fmla="*/ 167797 w 254301"/>
                <a:gd name="connsiteY37" fmla="*/ 156882 h 384465"/>
                <a:gd name="connsiteX38" fmla="*/ 172847 w 254301"/>
                <a:gd name="connsiteY38" fmla="*/ 160140 h 384465"/>
                <a:gd name="connsiteX39" fmla="*/ 173987 w 254301"/>
                <a:gd name="connsiteY39" fmla="*/ 161932 h 384465"/>
                <a:gd name="connsiteX40" fmla="*/ 170240 w 254301"/>
                <a:gd name="connsiteY40" fmla="*/ 162420 h 384465"/>
                <a:gd name="connsiteX41" fmla="*/ 167634 w 254301"/>
                <a:gd name="connsiteY41" fmla="*/ 160954 h 384465"/>
                <a:gd name="connsiteX42" fmla="*/ 165190 w 254301"/>
                <a:gd name="connsiteY42" fmla="*/ 162583 h 384465"/>
                <a:gd name="connsiteX43" fmla="*/ 166168 w 254301"/>
                <a:gd name="connsiteY43" fmla="*/ 166982 h 384465"/>
                <a:gd name="connsiteX44" fmla="*/ 169588 w 254301"/>
                <a:gd name="connsiteY44" fmla="*/ 175942 h 384465"/>
                <a:gd name="connsiteX45" fmla="*/ 169588 w 254301"/>
                <a:gd name="connsiteY45" fmla="*/ 179363 h 384465"/>
                <a:gd name="connsiteX46" fmla="*/ 174639 w 254301"/>
                <a:gd name="connsiteY46" fmla="*/ 179363 h 384465"/>
                <a:gd name="connsiteX47" fmla="*/ 178386 w 254301"/>
                <a:gd name="connsiteY47" fmla="*/ 181155 h 384465"/>
                <a:gd name="connsiteX48" fmla="*/ 182622 w 254301"/>
                <a:gd name="connsiteY48" fmla="*/ 181155 h 384465"/>
                <a:gd name="connsiteX49" fmla="*/ 184576 w 254301"/>
                <a:gd name="connsiteY49" fmla="*/ 183762 h 384465"/>
                <a:gd name="connsiteX50" fmla="*/ 182295 w 254301"/>
                <a:gd name="connsiteY50" fmla="*/ 186042 h 384465"/>
                <a:gd name="connsiteX51" fmla="*/ 182784 w 254301"/>
                <a:gd name="connsiteY51" fmla="*/ 189138 h 384465"/>
                <a:gd name="connsiteX52" fmla="*/ 180992 w 254301"/>
                <a:gd name="connsiteY52" fmla="*/ 196468 h 384465"/>
                <a:gd name="connsiteX53" fmla="*/ 176594 w 254301"/>
                <a:gd name="connsiteY53" fmla="*/ 195002 h 384465"/>
                <a:gd name="connsiteX54" fmla="*/ 172358 w 254301"/>
                <a:gd name="connsiteY54" fmla="*/ 189789 h 384465"/>
                <a:gd name="connsiteX55" fmla="*/ 176431 w 254301"/>
                <a:gd name="connsiteY55" fmla="*/ 187346 h 384465"/>
                <a:gd name="connsiteX56" fmla="*/ 176757 w 254301"/>
                <a:gd name="connsiteY56" fmla="*/ 184739 h 384465"/>
                <a:gd name="connsiteX57" fmla="*/ 172521 w 254301"/>
                <a:gd name="connsiteY57" fmla="*/ 183762 h 384465"/>
                <a:gd name="connsiteX58" fmla="*/ 172521 w 254301"/>
                <a:gd name="connsiteY58" fmla="*/ 185554 h 384465"/>
                <a:gd name="connsiteX59" fmla="*/ 168285 w 254301"/>
                <a:gd name="connsiteY59" fmla="*/ 186857 h 384465"/>
                <a:gd name="connsiteX60" fmla="*/ 162584 w 254301"/>
                <a:gd name="connsiteY60" fmla="*/ 180177 h 384465"/>
                <a:gd name="connsiteX61" fmla="*/ 158674 w 254301"/>
                <a:gd name="connsiteY61" fmla="*/ 178874 h 384465"/>
                <a:gd name="connsiteX62" fmla="*/ 158674 w 254301"/>
                <a:gd name="connsiteY62" fmla="*/ 173335 h 384465"/>
                <a:gd name="connsiteX63" fmla="*/ 156719 w 254301"/>
                <a:gd name="connsiteY63" fmla="*/ 168448 h 384465"/>
                <a:gd name="connsiteX64" fmla="*/ 149388 w 254301"/>
                <a:gd name="connsiteY64" fmla="*/ 165679 h 384465"/>
                <a:gd name="connsiteX65" fmla="*/ 146130 w 254301"/>
                <a:gd name="connsiteY65" fmla="*/ 159814 h 384465"/>
                <a:gd name="connsiteX66" fmla="*/ 142872 w 254301"/>
                <a:gd name="connsiteY66" fmla="*/ 158185 h 384465"/>
                <a:gd name="connsiteX67" fmla="*/ 139939 w 254301"/>
                <a:gd name="connsiteY67" fmla="*/ 155252 h 384465"/>
                <a:gd name="connsiteX68" fmla="*/ 137170 w 254301"/>
                <a:gd name="connsiteY68" fmla="*/ 154764 h 384465"/>
                <a:gd name="connsiteX69" fmla="*/ 136355 w 254301"/>
                <a:gd name="connsiteY69" fmla="*/ 157370 h 384465"/>
                <a:gd name="connsiteX70" fmla="*/ 141731 w 254301"/>
                <a:gd name="connsiteY70" fmla="*/ 166819 h 384465"/>
                <a:gd name="connsiteX71" fmla="*/ 143360 w 254301"/>
                <a:gd name="connsiteY71" fmla="*/ 175290 h 384465"/>
                <a:gd name="connsiteX72" fmla="*/ 141406 w 254301"/>
                <a:gd name="connsiteY72" fmla="*/ 175616 h 384465"/>
                <a:gd name="connsiteX73" fmla="*/ 136355 w 254301"/>
                <a:gd name="connsiteY73" fmla="*/ 167145 h 384465"/>
                <a:gd name="connsiteX74" fmla="*/ 130653 w 254301"/>
                <a:gd name="connsiteY74" fmla="*/ 163072 h 384465"/>
                <a:gd name="connsiteX75" fmla="*/ 128699 w 254301"/>
                <a:gd name="connsiteY75" fmla="*/ 159162 h 384465"/>
                <a:gd name="connsiteX76" fmla="*/ 118272 w 254301"/>
                <a:gd name="connsiteY76" fmla="*/ 154927 h 384465"/>
                <a:gd name="connsiteX77" fmla="*/ 112408 w 254301"/>
                <a:gd name="connsiteY77" fmla="*/ 155415 h 384465"/>
                <a:gd name="connsiteX78" fmla="*/ 110127 w 254301"/>
                <a:gd name="connsiteY78" fmla="*/ 158674 h 384465"/>
                <a:gd name="connsiteX79" fmla="*/ 111267 w 254301"/>
                <a:gd name="connsiteY79" fmla="*/ 162095 h 384465"/>
                <a:gd name="connsiteX80" fmla="*/ 106543 w 254301"/>
                <a:gd name="connsiteY80" fmla="*/ 165027 h 384465"/>
                <a:gd name="connsiteX81" fmla="*/ 100678 w 254301"/>
                <a:gd name="connsiteY81" fmla="*/ 159162 h 384465"/>
                <a:gd name="connsiteX82" fmla="*/ 97257 w 254301"/>
                <a:gd name="connsiteY82" fmla="*/ 162258 h 384465"/>
                <a:gd name="connsiteX83" fmla="*/ 93184 w 254301"/>
                <a:gd name="connsiteY83" fmla="*/ 163235 h 384465"/>
                <a:gd name="connsiteX84" fmla="*/ 95628 w 254301"/>
                <a:gd name="connsiteY84" fmla="*/ 158999 h 384465"/>
                <a:gd name="connsiteX85" fmla="*/ 93673 w 254301"/>
                <a:gd name="connsiteY85" fmla="*/ 154601 h 384465"/>
                <a:gd name="connsiteX86" fmla="*/ 90741 w 254301"/>
                <a:gd name="connsiteY86" fmla="*/ 155741 h 384465"/>
                <a:gd name="connsiteX87" fmla="*/ 89274 w 254301"/>
                <a:gd name="connsiteY87" fmla="*/ 160954 h 384465"/>
                <a:gd name="connsiteX88" fmla="*/ 86016 w 254301"/>
                <a:gd name="connsiteY88" fmla="*/ 155252 h 384465"/>
                <a:gd name="connsiteX89" fmla="*/ 86505 w 254301"/>
                <a:gd name="connsiteY89" fmla="*/ 149225 h 384465"/>
                <a:gd name="connsiteX90" fmla="*/ 86016 w 254301"/>
                <a:gd name="connsiteY90" fmla="*/ 146292 h 384465"/>
                <a:gd name="connsiteX91" fmla="*/ 88786 w 254301"/>
                <a:gd name="connsiteY91" fmla="*/ 143034 h 384465"/>
                <a:gd name="connsiteX92" fmla="*/ 94325 w 254301"/>
                <a:gd name="connsiteY92" fmla="*/ 135866 h 384465"/>
                <a:gd name="connsiteX93" fmla="*/ 89926 w 254301"/>
                <a:gd name="connsiteY93" fmla="*/ 132608 h 384465"/>
                <a:gd name="connsiteX94" fmla="*/ 84387 w 254301"/>
                <a:gd name="connsiteY94" fmla="*/ 132119 h 384465"/>
                <a:gd name="connsiteX95" fmla="*/ 84387 w 254301"/>
                <a:gd name="connsiteY95" fmla="*/ 135215 h 384465"/>
                <a:gd name="connsiteX96" fmla="*/ 86994 w 254301"/>
                <a:gd name="connsiteY96" fmla="*/ 138147 h 384465"/>
                <a:gd name="connsiteX97" fmla="*/ 84061 w 254301"/>
                <a:gd name="connsiteY97" fmla="*/ 142057 h 384465"/>
                <a:gd name="connsiteX98" fmla="*/ 80803 w 254301"/>
                <a:gd name="connsiteY98" fmla="*/ 142057 h 384465"/>
                <a:gd name="connsiteX99" fmla="*/ 75753 w 254301"/>
                <a:gd name="connsiteY99" fmla="*/ 135377 h 384465"/>
                <a:gd name="connsiteX100" fmla="*/ 75753 w 254301"/>
                <a:gd name="connsiteY100" fmla="*/ 130164 h 384465"/>
                <a:gd name="connsiteX101" fmla="*/ 73472 w 254301"/>
                <a:gd name="connsiteY101" fmla="*/ 129350 h 384465"/>
                <a:gd name="connsiteX102" fmla="*/ 71680 w 254301"/>
                <a:gd name="connsiteY102" fmla="*/ 130816 h 384465"/>
                <a:gd name="connsiteX103" fmla="*/ 69563 w 254301"/>
                <a:gd name="connsiteY103" fmla="*/ 129187 h 384465"/>
                <a:gd name="connsiteX104" fmla="*/ 69563 w 254301"/>
                <a:gd name="connsiteY104" fmla="*/ 119901 h 384465"/>
                <a:gd name="connsiteX105" fmla="*/ 65490 w 254301"/>
                <a:gd name="connsiteY105" fmla="*/ 112896 h 384465"/>
                <a:gd name="connsiteX106" fmla="*/ 63698 w 254301"/>
                <a:gd name="connsiteY106" fmla="*/ 105565 h 384465"/>
                <a:gd name="connsiteX107" fmla="*/ 65490 w 254301"/>
                <a:gd name="connsiteY107" fmla="*/ 102144 h 384465"/>
                <a:gd name="connsiteX108" fmla="*/ 64512 w 254301"/>
                <a:gd name="connsiteY108" fmla="*/ 100352 h 384465"/>
                <a:gd name="connsiteX109" fmla="*/ 61580 w 254301"/>
                <a:gd name="connsiteY109" fmla="*/ 100352 h 384465"/>
                <a:gd name="connsiteX110" fmla="*/ 60277 w 254301"/>
                <a:gd name="connsiteY110" fmla="*/ 94650 h 384465"/>
                <a:gd name="connsiteX111" fmla="*/ 61091 w 254301"/>
                <a:gd name="connsiteY111" fmla="*/ 88460 h 384465"/>
                <a:gd name="connsiteX112" fmla="*/ 64512 w 254301"/>
                <a:gd name="connsiteY112" fmla="*/ 92695 h 384465"/>
                <a:gd name="connsiteX113" fmla="*/ 68911 w 254301"/>
                <a:gd name="connsiteY113" fmla="*/ 93510 h 384465"/>
                <a:gd name="connsiteX114" fmla="*/ 72658 w 254301"/>
                <a:gd name="connsiteY114" fmla="*/ 91555 h 384465"/>
                <a:gd name="connsiteX115" fmla="*/ 72658 w 254301"/>
                <a:gd name="connsiteY115" fmla="*/ 88297 h 384465"/>
                <a:gd name="connsiteX116" fmla="*/ 68585 w 254301"/>
                <a:gd name="connsiteY116" fmla="*/ 79825 h 384465"/>
                <a:gd name="connsiteX117" fmla="*/ 71029 w 254301"/>
                <a:gd name="connsiteY117" fmla="*/ 73798 h 384465"/>
                <a:gd name="connsiteX118" fmla="*/ 73961 w 254301"/>
                <a:gd name="connsiteY118" fmla="*/ 61091 h 384465"/>
                <a:gd name="connsiteX119" fmla="*/ 73961 w 254301"/>
                <a:gd name="connsiteY119" fmla="*/ 50665 h 384465"/>
                <a:gd name="connsiteX120" fmla="*/ 72332 w 254301"/>
                <a:gd name="connsiteY120" fmla="*/ 44474 h 384465"/>
                <a:gd name="connsiteX121" fmla="*/ 77545 w 254301"/>
                <a:gd name="connsiteY121" fmla="*/ 34211 h 384465"/>
                <a:gd name="connsiteX122" fmla="*/ 78522 w 254301"/>
                <a:gd name="connsiteY122" fmla="*/ 28509 h 384465"/>
                <a:gd name="connsiteX123" fmla="*/ 85853 w 254301"/>
                <a:gd name="connsiteY123" fmla="*/ 25902 h 384465"/>
                <a:gd name="connsiteX124" fmla="*/ 95628 w 254301"/>
                <a:gd name="connsiteY124" fmla="*/ 27695 h 384465"/>
                <a:gd name="connsiteX125" fmla="*/ 99863 w 254301"/>
                <a:gd name="connsiteY125" fmla="*/ 32419 h 384465"/>
                <a:gd name="connsiteX126" fmla="*/ 103610 w 254301"/>
                <a:gd name="connsiteY126" fmla="*/ 34863 h 384465"/>
                <a:gd name="connsiteX127" fmla="*/ 104914 w 254301"/>
                <a:gd name="connsiteY127" fmla="*/ 32256 h 384465"/>
                <a:gd name="connsiteX128" fmla="*/ 112082 w 254301"/>
                <a:gd name="connsiteY128" fmla="*/ 32256 h 384465"/>
                <a:gd name="connsiteX129" fmla="*/ 115503 w 254301"/>
                <a:gd name="connsiteY129" fmla="*/ 29324 h 384465"/>
                <a:gd name="connsiteX130" fmla="*/ 115829 w 254301"/>
                <a:gd name="connsiteY130" fmla="*/ 26880 h 384465"/>
                <a:gd name="connsiteX131" fmla="*/ 118272 w 254301"/>
                <a:gd name="connsiteY131" fmla="*/ 25902 h 384465"/>
                <a:gd name="connsiteX132" fmla="*/ 121531 w 254301"/>
                <a:gd name="connsiteY132" fmla="*/ 30301 h 384465"/>
                <a:gd name="connsiteX133" fmla="*/ 121204 w 254301"/>
                <a:gd name="connsiteY133" fmla="*/ 34048 h 384465"/>
                <a:gd name="connsiteX134" fmla="*/ 118272 w 254301"/>
                <a:gd name="connsiteY134" fmla="*/ 37469 h 384465"/>
                <a:gd name="connsiteX135" fmla="*/ 117132 w 254301"/>
                <a:gd name="connsiteY135" fmla="*/ 47407 h 384465"/>
                <a:gd name="connsiteX136" fmla="*/ 121693 w 254301"/>
                <a:gd name="connsiteY136" fmla="*/ 55389 h 384465"/>
                <a:gd name="connsiteX137" fmla="*/ 124626 w 254301"/>
                <a:gd name="connsiteY137" fmla="*/ 56529 h 384465"/>
                <a:gd name="connsiteX138" fmla="*/ 126255 w 254301"/>
                <a:gd name="connsiteY138" fmla="*/ 63046 h 384465"/>
                <a:gd name="connsiteX139" fmla="*/ 128861 w 254301"/>
                <a:gd name="connsiteY139" fmla="*/ 66141 h 384465"/>
                <a:gd name="connsiteX140" fmla="*/ 126418 w 254301"/>
                <a:gd name="connsiteY140" fmla="*/ 78196 h 384465"/>
                <a:gd name="connsiteX141" fmla="*/ 123322 w 254301"/>
                <a:gd name="connsiteY141" fmla="*/ 85527 h 384465"/>
                <a:gd name="connsiteX142" fmla="*/ 124788 w 254301"/>
                <a:gd name="connsiteY142" fmla="*/ 91555 h 384465"/>
                <a:gd name="connsiteX143" fmla="*/ 120553 w 254301"/>
                <a:gd name="connsiteY143" fmla="*/ 98397 h 384465"/>
                <a:gd name="connsiteX144" fmla="*/ 120227 w 254301"/>
                <a:gd name="connsiteY144" fmla="*/ 95791 h 384465"/>
                <a:gd name="connsiteX145" fmla="*/ 121856 w 254301"/>
                <a:gd name="connsiteY145" fmla="*/ 92044 h 384465"/>
                <a:gd name="connsiteX146" fmla="*/ 118761 w 254301"/>
                <a:gd name="connsiteY146" fmla="*/ 93836 h 384465"/>
                <a:gd name="connsiteX147" fmla="*/ 110779 w 254301"/>
                <a:gd name="connsiteY147" fmla="*/ 101330 h 384465"/>
                <a:gd name="connsiteX148" fmla="*/ 108986 w 254301"/>
                <a:gd name="connsiteY148" fmla="*/ 105891 h 384465"/>
                <a:gd name="connsiteX149" fmla="*/ 109475 w 254301"/>
                <a:gd name="connsiteY149" fmla="*/ 111593 h 384465"/>
                <a:gd name="connsiteX150" fmla="*/ 106869 w 254301"/>
                <a:gd name="connsiteY150" fmla="*/ 115503 h 384465"/>
                <a:gd name="connsiteX151" fmla="*/ 105891 w 254301"/>
                <a:gd name="connsiteY151" fmla="*/ 121693 h 384465"/>
                <a:gd name="connsiteX152" fmla="*/ 108661 w 254301"/>
                <a:gd name="connsiteY152" fmla="*/ 123811 h 384465"/>
                <a:gd name="connsiteX153" fmla="*/ 111267 w 254301"/>
                <a:gd name="connsiteY153" fmla="*/ 130490 h 384465"/>
                <a:gd name="connsiteX154" fmla="*/ 114525 w 254301"/>
                <a:gd name="connsiteY154" fmla="*/ 134237 h 384465"/>
                <a:gd name="connsiteX155" fmla="*/ 112570 w 254301"/>
                <a:gd name="connsiteY155" fmla="*/ 137169 h 384465"/>
                <a:gd name="connsiteX156" fmla="*/ 112570 w 254301"/>
                <a:gd name="connsiteY156" fmla="*/ 142708 h 384465"/>
                <a:gd name="connsiteX157" fmla="*/ 112570 w 254301"/>
                <a:gd name="connsiteY157" fmla="*/ 142708 h 384465"/>
                <a:gd name="connsiteX158" fmla="*/ 121042 w 254301"/>
                <a:gd name="connsiteY158" fmla="*/ 144663 h 384465"/>
                <a:gd name="connsiteX159" fmla="*/ 121856 w 254301"/>
                <a:gd name="connsiteY159" fmla="*/ 148899 h 384465"/>
                <a:gd name="connsiteX160" fmla="*/ 125603 w 254301"/>
                <a:gd name="connsiteY160" fmla="*/ 151017 h 384465"/>
                <a:gd name="connsiteX161" fmla="*/ 124626 w 254301"/>
                <a:gd name="connsiteY161" fmla="*/ 147107 h 384465"/>
                <a:gd name="connsiteX162" fmla="*/ 121042 w 254301"/>
                <a:gd name="connsiteY162" fmla="*/ 144663 h 384465"/>
                <a:gd name="connsiteX163" fmla="*/ 121042 w 254301"/>
                <a:gd name="connsiteY163" fmla="*/ 144663 h 384465"/>
                <a:gd name="connsiteX164" fmla="*/ 116643 w 254301"/>
                <a:gd name="connsiteY164" fmla="*/ 125277 h 384465"/>
                <a:gd name="connsiteX165" fmla="*/ 119250 w 254301"/>
                <a:gd name="connsiteY165" fmla="*/ 132119 h 384465"/>
                <a:gd name="connsiteX166" fmla="*/ 118598 w 254301"/>
                <a:gd name="connsiteY166" fmla="*/ 134400 h 384465"/>
                <a:gd name="connsiteX167" fmla="*/ 119576 w 254301"/>
                <a:gd name="connsiteY167" fmla="*/ 137821 h 384465"/>
                <a:gd name="connsiteX168" fmla="*/ 122997 w 254301"/>
                <a:gd name="connsiteY168" fmla="*/ 134563 h 384465"/>
                <a:gd name="connsiteX169" fmla="*/ 123485 w 254301"/>
                <a:gd name="connsiteY169" fmla="*/ 126743 h 384465"/>
                <a:gd name="connsiteX170" fmla="*/ 126092 w 254301"/>
                <a:gd name="connsiteY170" fmla="*/ 124137 h 384465"/>
                <a:gd name="connsiteX171" fmla="*/ 122834 w 254301"/>
                <a:gd name="connsiteY171" fmla="*/ 121693 h 384465"/>
                <a:gd name="connsiteX172" fmla="*/ 116806 w 254301"/>
                <a:gd name="connsiteY172" fmla="*/ 125114 h 384465"/>
                <a:gd name="connsiteX173" fmla="*/ 116806 w 254301"/>
                <a:gd name="connsiteY173" fmla="*/ 125114 h 384465"/>
                <a:gd name="connsiteX174" fmla="*/ 71354 w 254301"/>
                <a:gd name="connsiteY174" fmla="*/ 157696 h 384465"/>
                <a:gd name="connsiteX175" fmla="*/ 71843 w 254301"/>
                <a:gd name="connsiteY175" fmla="*/ 161280 h 384465"/>
                <a:gd name="connsiteX176" fmla="*/ 78197 w 254301"/>
                <a:gd name="connsiteY176" fmla="*/ 164050 h 384465"/>
                <a:gd name="connsiteX177" fmla="*/ 79500 w 254301"/>
                <a:gd name="connsiteY177" fmla="*/ 162746 h 384465"/>
                <a:gd name="connsiteX178" fmla="*/ 74776 w 254301"/>
                <a:gd name="connsiteY178" fmla="*/ 157696 h 384465"/>
                <a:gd name="connsiteX179" fmla="*/ 71354 w 254301"/>
                <a:gd name="connsiteY179" fmla="*/ 157696 h 384465"/>
                <a:gd name="connsiteX180" fmla="*/ 80152 w 254301"/>
                <a:gd name="connsiteY180" fmla="*/ 168774 h 384465"/>
                <a:gd name="connsiteX181" fmla="*/ 81292 w 254301"/>
                <a:gd name="connsiteY181" fmla="*/ 171217 h 384465"/>
                <a:gd name="connsiteX182" fmla="*/ 84713 w 254301"/>
                <a:gd name="connsiteY182" fmla="*/ 171217 h 384465"/>
                <a:gd name="connsiteX183" fmla="*/ 86016 w 254301"/>
                <a:gd name="connsiteY183" fmla="*/ 177082 h 384465"/>
                <a:gd name="connsiteX184" fmla="*/ 89437 w 254301"/>
                <a:gd name="connsiteY184" fmla="*/ 178385 h 384465"/>
                <a:gd name="connsiteX185" fmla="*/ 92695 w 254301"/>
                <a:gd name="connsiteY185" fmla="*/ 182784 h 384465"/>
                <a:gd name="connsiteX186" fmla="*/ 92695 w 254301"/>
                <a:gd name="connsiteY186" fmla="*/ 190767 h 384465"/>
                <a:gd name="connsiteX187" fmla="*/ 96768 w 254301"/>
                <a:gd name="connsiteY187" fmla="*/ 193210 h 384465"/>
                <a:gd name="connsiteX188" fmla="*/ 96768 w 254301"/>
                <a:gd name="connsiteY188" fmla="*/ 197772 h 384465"/>
                <a:gd name="connsiteX189" fmla="*/ 101981 w 254301"/>
                <a:gd name="connsiteY189" fmla="*/ 203799 h 384465"/>
                <a:gd name="connsiteX190" fmla="*/ 106217 w 254301"/>
                <a:gd name="connsiteY190" fmla="*/ 204614 h 384465"/>
                <a:gd name="connsiteX191" fmla="*/ 110779 w 254301"/>
                <a:gd name="connsiteY191" fmla="*/ 200704 h 384465"/>
                <a:gd name="connsiteX192" fmla="*/ 110779 w 254301"/>
                <a:gd name="connsiteY192" fmla="*/ 196631 h 384465"/>
                <a:gd name="connsiteX193" fmla="*/ 113222 w 254301"/>
                <a:gd name="connsiteY193" fmla="*/ 195002 h 384465"/>
                <a:gd name="connsiteX194" fmla="*/ 113222 w 254301"/>
                <a:gd name="connsiteY194" fmla="*/ 190604 h 384465"/>
                <a:gd name="connsiteX195" fmla="*/ 110615 w 254301"/>
                <a:gd name="connsiteY195" fmla="*/ 186694 h 384465"/>
                <a:gd name="connsiteX196" fmla="*/ 112408 w 254301"/>
                <a:gd name="connsiteY196" fmla="*/ 183273 h 384465"/>
                <a:gd name="connsiteX197" fmla="*/ 112408 w 254301"/>
                <a:gd name="connsiteY197" fmla="*/ 178711 h 384465"/>
                <a:gd name="connsiteX198" fmla="*/ 107195 w 254301"/>
                <a:gd name="connsiteY198" fmla="*/ 176757 h 384465"/>
                <a:gd name="connsiteX199" fmla="*/ 96442 w 254301"/>
                <a:gd name="connsiteY199" fmla="*/ 167308 h 384465"/>
                <a:gd name="connsiteX200" fmla="*/ 90415 w 254301"/>
                <a:gd name="connsiteY200" fmla="*/ 168774 h 384465"/>
                <a:gd name="connsiteX201" fmla="*/ 84550 w 254301"/>
                <a:gd name="connsiteY201" fmla="*/ 166493 h 384465"/>
                <a:gd name="connsiteX202" fmla="*/ 79988 w 254301"/>
                <a:gd name="connsiteY202" fmla="*/ 168937 h 384465"/>
                <a:gd name="connsiteX203" fmla="*/ 79988 w 254301"/>
                <a:gd name="connsiteY203" fmla="*/ 168937 h 384465"/>
                <a:gd name="connsiteX204" fmla="*/ 181644 w 254301"/>
                <a:gd name="connsiteY204" fmla="*/ 150854 h 384465"/>
                <a:gd name="connsiteX205" fmla="*/ 179200 w 254301"/>
                <a:gd name="connsiteY205" fmla="*/ 152809 h 384465"/>
                <a:gd name="connsiteX206" fmla="*/ 180178 w 254301"/>
                <a:gd name="connsiteY206" fmla="*/ 158511 h 384465"/>
                <a:gd name="connsiteX207" fmla="*/ 178711 w 254301"/>
                <a:gd name="connsiteY207" fmla="*/ 162420 h 384465"/>
                <a:gd name="connsiteX208" fmla="*/ 176920 w 254301"/>
                <a:gd name="connsiteY208" fmla="*/ 163887 h 384465"/>
                <a:gd name="connsiteX209" fmla="*/ 179200 w 254301"/>
                <a:gd name="connsiteY209" fmla="*/ 166656 h 384465"/>
                <a:gd name="connsiteX210" fmla="*/ 186042 w 254301"/>
                <a:gd name="connsiteY210" fmla="*/ 165353 h 384465"/>
                <a:gd name="connsiteX211" fmla="*/ 187834 w 254301"/>
                <a:gd name="connsiteY211" fmla="*/ 159977 h 384465"/>
                <a:gd name="connsiteX212" fmla="*/ 185391 w 254301"/>
                <a:gd name="connsiteY212" fmla="*/ 154764 h 384465"/>
                <a:gd name="connsiteX213" fmla="*/ 181644 w 254301"/>
                <a:gd name="connsiteY213" fmla="*/ 150854 h 384465"/>
                <a:gd name="connsiteX214" fmla="*/ 181644 w 254301"/>
                <a:gd name="connsiteY214" fmla="*/ 150854 h 384465"/>
                <a:gd name="connsiteX215" fmla="*/ 119576 w 254301"/>
                <a:gd name="connsiteY215" fmla="*/ 171869 h 384465"/>
                <a:gd name="connsiteX216" fmla="*/ 125603 w 254301"/>
                <a:gd name="connsiteY216" fmla="*/ 175942 h 384465"/>
                <a:gd name="connsiteX217" fmla="*/ 126743 w 254301"/>
                <a:gd name="connsiteY217" fmla="*/ 173009 h 384465"/>
                <a:gd name="connsiteX218" fmla="*/ 128861 w 254301"/>
                <a:gd name="connsiteY218" fmla="*/ 170403 h 384465"/>
                <a:gd name="connsiteX219" fmla="*/ 126255 w 254301"/>
                <a:gd name="connsiteY219" fmla="*/ 166004 h 384465"/>
                <a:gd name="connsiteX220" fmla="*/ 121531 w 254301"/>
                <a:gd name="connsiteY220" fmla="*/ 164212 h 384465"/>
                <a:gd name="connsiteX221" fmla="*/ 118924 w 254301"/>
                <a:gd name="connsiteY221" fmla="*/ 167959 h 384465"/>
                <a:gd name="connsiteX222" fmla="*/ 119576 w 254301"/>
                <a:gd name="connsiteY222" fmla="*/ 171706 h 384465"/>
                <a:gd name="connsiteX223" fmla="*/ 119576 w 254301"/>
                <a:gd name="connsiteY223" fmla="*/ 171706 h 384465"/>
                <a:gd name="connsiteX224" fmla="*/ 129676 w 254301"/>
                <a:gd name="connsiteY224" fmla="*/ 191092 h 384465"/>
                <a:gd name="connsiteX225" fmla="*/ 127558 w 254301"/>
                <a:gd name="connsiteY225" fmla="*/ 196143 h 384465"/>
                <a:gd name="connsiteX226" fmla="*/ 124463 w 254301"/>
                <a:gd name="connsiteY226" fmla="*/ 200541 h 384465"/>
                <a:gd name="connsiteX227" fmla="*/ 127069 w 254301"/>
                <a:gd name="connsiteY227" fmla="*/ 207220 h 384465"/>
                <a:gd name="connsiteX228" fmla="*/ 130165 w 254301"/>
                <a:gd name="connsiteY228" fmla="*/ 206243 h 384465"/>
                <a:gd name="connsiteX229" fmla="*/ 132120 w 254301"/>
                <a:gd name="connsiteY229" fmla="*/ 199890 h 384465"/>
                <a:gd name="connsiteX230" fmla="*/ 130327 w 254301"/>
                <a:gd name="connsiteY230" fmla="*/ 195328 h 384465"/>
                <a:gd name="connsiteX231" fmla="*/ 131468 w 254301"/>
                <a:gd name="connsiteY231" fmla="*/ 189463 h 384465"/>
                <a:gd name="connsiteX232" fmla="*/ 129513 w 254301"/>
                <a:gd name="connsiteY232" fmla="*/ 191255 h 384465"/>
                <a:gd name="connsiteX233" fmla="*/ 129513 w 254301"/>
                <a:gd name="connsiteY233" fmla="*/ 191255 h 384465"/>
                <a:gd name="connsiteX234" fmla="*/ 141568 w 254301"/>
                <a:gd name="connsiteY234" fmla="*/ 195328 h 384465"/>
                <a:gd name="connsiteX235" fmla="*/ 139288 w 254301"/>
                <a:gd name="connsiteY235" fmla="*/ 196957 h 384465"/>
                <a:gd name="connsiteX236" fmla="*/ 139939 w 254301"/>
                <a:gd name="connsiteY236" fmla="*/ 199890 h 384465"/>
                <a:gd name="connsiteX237" fmla="*/ 144826 w 254301"/>
                <a:gd name="connsiteY237" fmla="*/ 199564 h 384465"/>
                <a:gd name="connsiteX238" fmla="*/ 145152 w 254301"/>
                <a:gd name="connsiteY238" fmla="*/ 197120 h 384465"/>
                <a:gd name="connsiteX239" fmla="*/ 141568 w 254301"/>
                <a:gd name="connsiteY239" fmla="*/ 195328 h 384465"/>
                <a:gd name="connsiteX240" fmla="*/ 141568 w 254301"/>
                <a:gd name="connsiteY240" fmla="*/ 195328 h 384465"/>
                <a:gd name="connsiteX241" fmla="*/ 157533 w 254301"/>
                <a:gd name="connsiteY241" fmla="*/ 182621 h 384465"/>
                <a:gd name="connsiteX242" fmla="*/ 152320 w 254301"/>
                <a:gd name="connsiteY242" fmla="*/ 177408 h 384465"/>
                <a:gd name="connsiteX243" fmla="*/ 150365 w 254301"/>
                <a:gd name="connsiteY243" fmla="*/ 177897 h 384465"/>
                <a:gd name="connsiteX244" fmla="*/ 150365 w 254301"/>
                <a:gd name="connsiteY244" fmla="*/ 180829 h 384465"/>
                <a:gd name="connsiteX245" fmla="*/ 156882 w 254301"/>
                <a:gd name="connsiteY245" fmla="*/ 187997 h 384465"/>
                <a:gd name="connsiteX246" fmla="*/ 158022 w 254301"/>
                <a:gd name="connsiteY246" fmla="*/ 185554 h 384465"/>
                <a:gd name="connsiteX247" fmla="*/ 157370 w 254301"/>
                <a:gd name="connsiteY247" fmla="*/ 182621 h 384465"/>
                <a:gd name="connsiteX248" fmla="*/ 157370 w 254301"/>
                <a:gd name="connsiteY248" fmla="*/ 182621 h 384465"/>
                <a:gd name="connsiteX249" fmla="*/ 167145 w 254301"/>
                <a:gd name="connsiteY249" fmla="*/ 192396 h 384465"/>
                <a:gd name="connsiteX250" fmla="*/ 168611 w 254301"/>
                <a:gd name="connsiteY250" fmla="*/ 195002 h 384465"/>
                <a:gd name="connsiteX251" fmla="*/ 172684 w 254301"/>
                <a:gd name="connsiteY251" fmla="*/ 198912 h 384465"/>
                <a:gd name="connsiteX252" fmla="*/ 174965 w 254301"/>
                <a:gd name="connsiteY252" fmla="*/ 198912 h 384465"/>
                <a:gd name="connsiteX253" fmla="*/ 170729 w 254301"/>
                <a:gd name="connsiteY253" fmla="*/ 193536 h 384465"/>
                <a:gd name="connsiteX254" fmla="*/ 167145 w 254301"/>
                <a:gd name="connsiteY254" fmla="*/ 192396 h 384465"/>
                <a:gd name="connsiteX255" fmla="*/ 167145 w 254301"/>
                <a:gd name="connsiteY255" fmla="*/ 192396 h 384465"/>
                <a:gd name="connsiteX256" fmla="*/ 158674 w 254301"/>
                <a:gd name="connsiteY256" fmla="*/ 210804 h 384465"/>
                <a:gd name="connsiteX257" fmla="*/ 162909 w 254301"/>
                <a:gd name="connsiteY257" fmla="*/ 204125 h 384465"/>
                <a:gd name="connsiteX258" fmla="*/ 166656 w 254301"/>
                <a:gd name="connsiteY258" fmla="*/ 203799 h 384465"/>
                <a:gd name="connsiteX259" fmla="*/ 172033 w 254301"/>
                <a:gd name="connsiteY259" fmla="*/ 210804 h 384465"/>
                <a:gd name="connsiteX260" fmla="*/ 178386 w 254301"/>
                <a:gd name="connsiteY260" fmla="*/ 213411 h 384465"/>
                <a:gd name="connsiteX261" fmla="*/ 182458 w 254301"/>
                <a:gd name="connsiteY261" fmla="*/ 212922 h 384465"/>
                <a:gd name="connsiteX262" fmla="*/ 182458 w 254301"/>
                <a:gd name="connsiteY262" fmla="*/ 209827 h 384465"/>
                <a:gd name="connsiteX263" fmla="*/ 179363 w 254301"/>
                <a:gd name="connsiteY263" fmla="*/ 205917 h 384465"/>
                <a:gd name="connsiteX264" fmla="*/ 171543 w 254301"/>
                <a:gd name="connsiteY264" fmla="*/ 200867 h 384465"/>
                <a:gd name="connsiteX265" fmla="*/ 168122 w 254301"/>
                <a:gd name="connsiteY265" fmla="*/ 200215 h 384465"/>
                <a:gd name="connsiteX266" fmla="*/ 163724 w 254301"/>
                <a:gd name="connsiteY266" fmla="*/ 196143 h 384465"/>
                <a:gd name="connsiteX267" fmla="*/ 161932 w 254301"/>
                <a:gd name="connsiteY267" fmla="*/ 196143 h 384465"/>
                <a:gd name="connsiteX268" fmla="*/ 162420 w 254301"/>
                <a:gd name="connsiteY268" fmla="*/ 194676 h 384465"/>
                <a:gd name="connsiteX269" fmla="*/ 158836 w 254301"/>
                <a:gd name="connsiteY269" fmla="*/ 193536 h 384465"/>
                <a:gd name="connsiteX270" fmla="*/ 158836 w 254301"/>
                <a:gd name="connsiteY270" fmla="*/ 199075 h 384465"/>
                <a:gd name="connsiteX271" fmla="*/ 159977 w 254301"/>
                <a:gd name="connsiteY271" fmla="*/ 203148 h 384465"/>
                <a:gd name="connsiteX272" fmla="*/ 157696 w 254301"/>
                <a:gd name="connsiteY272" fmla="*/ 205103 h 384465"/>
                <a:gd name="connsiteX273" fmla="*/ 157696 w 254301"/>
                <a:gd name="connsiteY273" fmla="*/ 208035 h 384465"/>
                <a:gd name="connsiteX274" fmla="*/ 158674 w 254301"/>
                <a:gd name="connsiteY274" fmla="*/ 210967 h 384465"/>
                <a:gd name="connsiteX275" fmla="*/ 158674 w 254301"/>
                <a:gd name="connsiteY275" fmla="*/ 210967 h 384465"/>
                <a:gd name="connsiteX276" fmla="*/ 133749 w 254301"/>
                <a:gd name="connsiteY276" fmla="*/ 247948 h 384465"/>
                <a:gd name="connsiteX277" fmla="*/ 132120 w 254301"/>
                <a:gd name="connsiteY277" fmla="*/ 250066 h 384465"/>
                <a:gd name="connsiteX278" fmla="*/ 129839 w 254301"/>
                <a:gd name="connsiteY278" fmla="*/ 251043 h 384465"/>
                <a:gd name="connsiteX279" fmla="*/ 127884 w 254301"/>
                <a:gd name="connsiteY279" fmla="*/ 242409 h 384465"/>
                <a:gd name="connsiteX280" fmla="*/ 129676 w 254301"/>
                <a:gd name="connsiteY280" fmla="*/ 236381 h 384465"/>
                <a:gd name="connsiteX281" fmla="*/ 129676 w 254301"/>
                <a:gd name="connsiteY281" fmla="*/ 227584 h 384465"/>
                <a:gd name="connsiteX282" fmla="*/ 130653 w 254301"/>
                <a:gd name="connsiteY282" fmla="*/ 222860 h 384465"/>
                <a:gd name="connsiteX283" fmla="*/ 130653 w 254301"/>
                <a:gd name="connsiteY283" fmla="*/ 217973 h 384465"/>
                <a:gd name="connsiteX284" fmla="*/ 128210 w 254301"/>
                <a:gd name="connsiteY284" fmla="*/ 217321 h 384465"/>
                <a:gd name="connsiteX285" fmla="*/ 122997 w 254301"/>
                <a:gd name="connsiteY285" fmla="*/ 215366 h 384465"/>
                <a:gd name="connsiteX286" fmla="*/ 123974 w 254301"/>
                <a:gd name="connsiteY286" fmla="*/ 212271 h 384465"/>
                <a:gd name="connsiteX287" fmla="*/ 129187 w 254301"/>
                <a:gd name="connsiteY287" fmla="*/ 210967 h 384465"/>
                <a:gd name="connsiteX288" fmla="*/ 134074 w 254301"/>
                <a:gd name="connsiteY288" fmla="*/ 215855 h 384465"/>
                <a:gd name="connsiteX289" fmla="*/ 137822 w 254301"/>
                <a:gd name="connsiteY289" fmla="*/ 217484 h 384465"/>
                <a:gd name="connsiteX290" fmla="*/ 136844 w 254301"/>
                <a:gd name="connsiteY290" fmla="*/ 219439 h 384465"/>
                <a:gd name="connsiteX291" fmla="*/ 139613 w 254301"/>
                <a:gd name="connsiteY291" fmla="*/ 219765 h 384465"/>
                <a:gd name="connsiteX292" fmla="*/ 144990 w 254301"/>
                <a:gd name="connsiteY292" fmla="*/ 219439 h 384465"/>
                <a:gd name="connsiteX293" fmla="*/ 148574 w 254301"/>
                <a:gd name="connsiteY293" fmla="*/ 220416 h 384465"/>
                <a:gd name="connsiteX294" fmla="*/ 151669 w 254301"/>
                <a:gd name="connsiteY294" fmla="*/ 225141 h 384465"/>
                <a:gd name="connsiteX295" fmla="*/ 154927 w 254301"/>
                <a:gd name="connsiteY295" fmla="*/ 221068 h 384465"/>
                <a:gd name="connsiteX296" fmla="*/ 158022 w 254301"/>
                <a:gd name="connsiteY296" fmla="*/ 219113 h 384465"/>
                <a:gd name="connsiteX297" fmla="*/ 160303 w 254301"/>
                <a:gd name="connsiteY297" fmla="*/ 222860 h 384465"/>
                <a:gd name="connsiteX298" fmla="*/ 159488 w 254301"/>
                <a:gd name="connsiteY298" fmla="*/ 227258 h 384465"/>
                <a:gd name="connsiteX299" fmla="*/ 156719 w 254301"/>
                <a:gd name="connsiteY299" fmla="*/ 229376 h 384465"/>
                <a:gd name="connsiteX300" fmla="*/ 154275 w 254301"/>
                <a:gd name="connsiteY300" fmla="*/ 234752 h 384465"/>
                <a:gd name="connsiteX301" fmla="*/ 148247 w 254301"/>
                <a:gd name="connsiteY301" fmla="*/ 239802 h 384465"/>
                <a:gd name="connsiteX302" fmla="*/ 146293 w 254301"/>
                <a:gd name="connsiteY302" fmla="*/ 243223 h 384465"/>
                <a:gd name="connsiteX303" fmla="*/ 143523 w 254301"/>
                <a:gd name="connsiteY303" fmla="*/ 243223 h 384465"/>
                <a:gd name="connsiteX304" fmla="*/ 142872 w 254301"/>
                <a:gd name="connsiteY304" fmla="*/ 244852 h 384465"/>
                <a:gd name="connsiteX305" fmla="*/ 139613 w 254301"/>
                <a:gd name="connsiteY305" fmla="*/ 244852 h 384465"/>
                <a:gd name="connsiteX306" fmla="*/ 133911 w 254301"/>
                <a:gd name="connsiteY306" fmla="*/ 248274 h 384465"/>
                <a:gd name="connsiteX307" fmla="*/ 133911 w 254301"/>
                <a:gd name="connsiteY307" fmla="*/ 248274 h 384465"/>
                <a:gd name="connsiteX308" fmla="*/ 146456 w 254301"/>
                <a:gd name="connsiteY308" fmla="*/ 244527 h 384465"/>
                <a:gd name="connsiteX309" fmla="*/ 142220 w 254301"/>
                <a:gd name="connsiteY309" fmla="*/ 245830 h 384465"/>
                <a:gd name="connsiteX310" fmla="*/ 140591 w 254301"/>
                <a:gd name="connsiteY310" fmla="*/ 250880 h 384465"/>
                <a:gd name="connsiteX311" fmla="*/ 143523 w 254301"/>
                <a:gd name="connsiteY311" fmla="*/ 253487 h 384465"/>
                <a:gd name="connsiteX312" fmla="*/ 147922 w 254301"/>
                <a:gd name="connsiteY312" fmla="*/ 248925 h 384465"/>
                <a:gd name="connsiteX313" fmla="*/ 148247 w 254301"/>
                <a:gd name="connsiteY313" fmla="*/ 245667 h 384465"/>
                <a:gd name="connsiteX314" fmla="*/ 146456 w 254301"/>
                <a:gd name="connsiteY314" fmla="*/ 244527 h 384465"/>
                <a:gd name="connsiteX315" fmla="*/ 146456 w 254301"/>
                <a:gd name="connsiteY315" fmla="*/ 244527 h 384465"/>
                <a:gd name="connsiteX316" fmla="*/ 189790 w 254301"/>
                <a:gd name="connsiteY316" fmla="*/ 243386 h 384465"/>
                <a:gd name="connsiteX317" fmla="*/ 189790 w 254301"/>
                <a:gd name="connsiteY317" fmla="*/ 248436 h 384465"/>
                <a:gd name="connsiteX318" fmla="*/ 187834 w 254301"/>
                <a:gd name="connsiteY318" fmla="*/ 245830 h 384465"/>
                <a:gd name="connsiteX319" fmla="*/ 189790 w 254301"/>
                <a:gd name="connsiteY319" fmla="*/ 243386 h 384465"/>
                <a:gd name="connsiteX320" fmla="*/ 189790 w 254301"/>
                <a:gd name="connsiteY320" fmla="*/ 243386 h 384465"/>
                <a:gd name="connsiteX321" fmla="*/ 167308 w 254301"/>
                <a:gd name="connsiteY321" fmla="*/ 277434 h 384465"/>
                <a:gd name="connsiteX322" fmla="*/ 171218 w 254301"/>
                <a:gd name="connsiteY322" fmla="*/ 273036 h 384465"/>
                <a:gd name="connsiteX323" fmla="*/ 173010 w 254301"/>
                <a:gd name="connsiteY323" fmla="*/ 262121 h 384465"/>
                <a:gd name="connsiteX324" fmla="*/ 180015 w 254301"/>
                <a:gd name="connsiteY324" fmla="*/ 254138 h 384465"/>
                <a:gd name="connsiteX325" fmla="*/ 181318 w 254301"/>
                <a:gd name="connsiteY325" fmla="*/ 249088 h 384465"/>
                <a:gd name="connsiteX326" fmla="*/ 180667 w 254301"/>
                <a:gd name="connsiteY326" fmla="*/ 244527 h 384465"/>
                <a:gd name="connsiteX327" fmla="*/ 182458 w 254301"/>
                <a:gd name="connsiteY327" fmla="*/ 241431 h 384465"/>
                <a:gd name="connsiteX328" fmla="*/ 182458 w 254301"/>
                <a:gd name="connsiteY328" fmla="*/ 231657 h 384465"/>
                <a:gd name="connsiteX329" fmla="*/ 179526 w 254301"/>
                <a:gd name="connsiteY329" fmla="*/ 232797 h 384465"/>
                <a:gd name="connsiteX330" fmla="*/ 177897 w 254301"/>
                <a:gd name="connsiteY330" fmla="*/ 242083 h 384465"/>
                <a:gd name="connsiteX331" fmla="*/ 173173 w 254301"/>
                <a:gd name="connsiteY331" fmla="*/ 249740 h 384465"/>
                <a:gd name="connsiteX332" fmla="*/ 172684 w 254301"/>
                <a:gd name="connsiteY332" fmla="*/ 255604 h 384465"/>
                <a:gd name="connsiteX333" fmla="*/ 170403 w 254301"/>
                <a:gd name="connsiteY333" fmla="*/ 262935 h 384465"/>
                <a:gd name="connsiteX334" fmla="*/ 166493 w 254301"/>
                <a:gd name="connsiteY334" fmla="*/ 267660 h 384465"/>
                <a:gd name="connsiteX335" fmla="*/ 166493 w 254301"/>
                <a:gd name="connsiteY335" fmla="*/ 273036 h 384465"/>
                <a:gd name="connsiteX336" fmla="*/ 167471 w 254301"/>
                <a:gd name="connsiteY336" fmla="*/ 277271 h 384465"/>
                <a:gd name="connsiteX337" fmla="*/ 167471 w 254301"/>
                <a:gd name="connsiteY337" fmla="*/ 277271 h 384465"/>
                <a:gd name="connsiteX338" fmla="*/ 161932 w 254301"/>
                <a:gd name="connsiteY338" fmla="*/ 275154 h 384465"/>
                <a:gd name="connsiteX339" fmla="*/ 161280 w 254301"/>
                <a:gd name="connsiteY339" fmla="*/ 265216 h 384465"/>
                <a:gd name="connsiteX340" fmla="*/ 164376 w 254301"/>
                <a:gd name="connsiteY340" fmla="*/ 250717 h 384465"/>
                <a:gd name="connsiteX341" fmla="*/ 168937 w 254301"/>
                <a:gd name="connsiteY341" fmla="*/ 245993 h 384465"/>
                <a:gd name="connsiteX342" fmla="*/ 168937 w 254301"/>
                <a:gd name="connsiteY342" fmla="*/ 241757 h 384465"/>
                <a:gd name="connsiteX343" fmla="*/ 165190 w 254301"/>
                <a:gd name="connsiteY343" fmla="*/ 238825 h 384465"/>
                <a:gd name="connsiteX344" fmla="*/ 162747 w 254301"/>
                <a:gd name="connsiteY344" fmla="*/ 240291 h 384465"/>
                <a:gd name="connsiteX345" fmla="*/ 159488 w 254301"/>
                <a:gd name="connsiteY345" fmla="*/ 238662 h 384465"/>
                <a:gd name="connsiteX346" fmla="*/ 155415 w 254301"/>
                <a:gd name="connsiteY346" fmla="*/ 241431 h 384465"/>
                <a:gd name="connsiteX347" fmla="*/ 155415 w 254301"/>
                <a:gd name="connsiteY347" fmla="*/ 246156 h 384465"/>
                <a:gd name="connsiteX348" fmla="*/ 152483 w 254301"/>
                <a:gd name="connsiteY348" fmla="*/ 250717 h 384465"/>
                <a:gd name="connsiteX349" fmla="*/ 153461 w 254301"/>
                <a:gd name="connsiteY349" fmla="*/ 257559 h 384465"/>
                <a:gd name="connsiteX350" fmla="*/ 150691 w 254301"/>
                <a:gd name="connsiteY350" fmla="*/ 263424 h 384465"/>
                <a:gd name="connsiteX351" fmla="*/ 142546 w 254301"/>
                <a:gd name="connsiteY351" fmla="*/ 265379 h 384465"/>
                <a:gd name="connsiteX352" fmla="*/ 140265 w 254301"/>
                <a:gd name="connsiteY352" fmla="*/ 268474 h 384465"/>
                <a:gd name="connsiteX353" fmla="*/ 141731 w 254301"/>
                <a:gd name="connsiteY353" fmla="*/ 276457 h 384465"/>
                <a:gd name="connsiteX354" fmla="*/ 145152 w 254301"/>
                <a:gd name="connsiteY354" fmla="*/ 276946 h 384465"/>
                <a:gd name="connsiteX355" fmla="*/ 151017 w 254301"/>
                <a:gd name="connsiteY355" fmla="*/ 280692 h 384465"/>
                <a:gd name="connsiteX356" fmla="*/ 156230 w 254301"/>
                <a:gd name="connsiteY356" fmla="*/ 281018 h 384465"/>
                <a:gd name="connsiteX357" fmla="*/ 156230 w 254301"/>
                <a:gd name="connsiteY357" fmla="*/ 286883 h 384465"/>
                <a:gd name="connsiteX358" fmla="*/ 160303 w 254301"/>
                <a:gd name="connsiteY358" fmla="*/ 288838 h 384465"/>
                <a:gd name="connsiteX359" fmla="*/ 164864 w 254301"/>
                <a:gd name="connsiteY359" fmla="*/ 286068 h 384465"/>
                <a:gd name="connsiteX360" fmla="*/ 164864 w 254301"/>
                <a:gd name="connsiteY360" fmla="*/ 281507 h 384465"/>
                <a:gd name="connsiteX361" fmla="*/ 161769 w 254301"/>
                <a:gd name="connsiteY361" fmla="*/ 274991 h 384465"/>
                <a:gd name="connsiteX362" fmla="*/ 161769 w 254301"/>
                <a:gd name="connsiteY362" fmla="*/ 274991 h 384465"/>
                <a:gd name="connsiteX363" fmla="*/ 174802 w 254301"/>
                <a:gd name="connsiteY363" fmla="*/ 283299 h 384465"/>
                <a:gd name="connsiteX364" fmla="*/ 176431 w 254301"/>
                <a:gd name="connsiteY364" fmla="*/ 284602 h 384465"/>
                <a:gd name="connsiteX365" fmla="*/ 175942 w 254301"/>
                <a:gd name="connsiteY365" fmla="*/ 287535 h 384465"/>
                <a:gd name="connsiteX366" fmla="*/ 171869 w 254301"/>
                <a:gd name="connsiteY366" fmla="*/ 289164 h 384465"/>
                <a:gd name="connsiteX367" fmla="*/ 168611 w 254301"/>
                <a:gd name="connsiteY367" fmla="*/ 286720 h 384465"/>
                <a:gd name="connsiteX368" fmla="*/ 170077 w 254301"/>
                <a:gd name="connsiteY368" fmla="*/ 283788 h 384465"/>
                <a:gd name="connsiteX369" fmla="*/ 174802 w 254301"/>
                <a:gd name="connsiteY369" fmla="*/ 283299 h 384465"/>
                <a:gd name="connsiteX370" fmla="*/ 174802 w 254301"/>
                <a:gd name="connsiteY370" fmla="*/ 283299 h 384465"/>
                <a:gd name="connsiteX371" fmla="*/ 190441 w 254301"/>
                <a:gd name="connsiteY371" fmla="*/ 259677 h 384465"/>
                <a:gd name="connsiteX372" fmla="*/ 193374 w 254301"/>
                <a:gd name="connsiteY372" fmla="*/ 259677 h 384465"/>
                <a:gd name="connsiteX373" fmla="*/ 196143 w 254301"/>
                <a:gd name="connsiteY373" fmla="*/ 262121 h 384465"/>
                <a:gd name="connsiteX374" fmla="*/ 196631 w 254301"/>
                <a:gd name="connsiteY374" fmla="*/ 267497 h 384465"/>
                <a:gd name="connsiteX375" fmla="*/ 194677 w 254301"/>
                <a:gd name="connsiteY375" fmla="*/ 270918 h 384465"/>
                <a:gd name="connsiteX376" fmla="*/ 187020 w 254301"/>
                <a:gd name="connsiteY376" fmla="*/ 274339 h 384465"/>
                <a:gd name="connsiteX377" fmla="*/ 180667 w 254301"/>
                <a:gd name="connsiteY377" fmla="*/ 274665 h 384465"/>
                <a:gd name="connsiteX378" fmla="*/ 181155 w 254301"/>
                <a:gd name="connsiteY378" fmla="*/ 272221 h 384465"/>
                <a:gd name="connsiteX379" fmla="*/ 178711 w 254301"/>
                <a:gd name="connsiteY379" fmla="*/ 268800 h 384465"/>
                <a:gd name="connsiteX380" fmla="*/ 181807 w 254301"/>
                <a:gd name="connsiteY380" fmla="*/ 264727 h 384465"/>
                <a:gd name="connsiteX381" fmla="*/ 190604 w 254301"/>
                <a:gd name="connsiteY381" fmla="*/ 259514 h 384465"/>
                <a:gd name="connsiteX382" fmla="*/ 190604 w 254301"/>
                <a:gd name="connsiteY382" fmla="*/ 259514 h 384465"/>
                <a:gd name="connsiteX383" fmla="*/ 213900 w 254301"/>
                <a:gd name="connsiteY383" fmla="*/ 260492 h 384465"/>
                <a:gd name="connsiteX384" fmla="*/ 216343 w 254301"/>
                <a:gd name="connsiteY384" fmla="*/ 265053 h 384465"/>
                <a:gd name="connsiteX385" fmla="*/ 216343 w 254301"/>
                <a:gd name="connsiteY385" fmla="*/ 268963 h 384465"/>
                <a:gd name="connsiteX386" fmla="*/ 212922 w 254301"/>
                <a:gd name="connsiteY386" fmla="*/ 264890 h 384465"/>
                <a:gd name="connsiteX387" fmla="*/ 213900 w 254301"/>
                <a:gd name="connsiteY387" fmla="*/ 260492 h 384465"/>
                <a:gd name="connsiteX388" fmla="*/ 213900 w 254301"/>
                <a:gd name="connsiteY388" fmla="*/ 260492 h 384465"/>
                <a:gd name="connsiteX389" fmla="*/ 199401 w 254301"/>
                <a:gd name="connsiteY389" fmla="*/ 280855 h 384465"/>
                <a:gd name="connsiteX390" fmla="*/ 203963 w 254301"/>
                <a:gd name="connsiteY390" fmla="*/ 284602 h 384465"/>
                <a:gd name="connsiteX391" fmla="*/ 203148 w 254301"/>
                <a:gd name="connsiteY391" fmla="*/ 289001 h 384465"/>
                <a:gd name="connsiteX392" fmla="*/ 199401 w 254301"/>
                <a:gd name="connsiteY392" fmla="*/ 286557 h 384465"/>
                <a:gd name="connsiteX393" fmla="*/ 198424 w 254301"/>
                <a:gd name="connsiteY393" fmla="*/ 283462 h 384465"/>
                <a:gd name="connsiteX394" fmla="*/ 199401 w 254301"/>
                <a:gd name="connsiteY394" fmla="*/ 280855 h 384465"/>
                <a:gd name="connsiteX395" fmla="*/ 199401 w 254301"/>
                <a:gd name="connsiteY395" fmla="*/ 280855 h 384465"/>
                <a:gd name="connsiteX396" fmla="*/ 195980 w 254301"/>
                <a:gd name="connsiteY396" fmla="*/ 219601 h 384465"/>
                <a:gd name="connsiteX397" fmla="*/ 195002 w 254301"/>
                <a:gd name="connsiteY397" fmla="*/ 224489 h 384465"/>
                <a:gd name="connsiteX398" fmla="*/ 191093 w 254301"/>
                <a:gd name="connsiteY398" fmla="*/ 224977 h 384465"/>
                <a:gd name="connsiteX399" fmla="*/ 187346 w 254301"/>
                <a:gd name="connsiteY399" fmla="*/ 222534 h 384465"/>
                <a:gd name="connsiteX400" fmla="*/ 189952 w 254301"/>
                <a:gd name="connsiteY400" fmla="*/ 220579 h 384465"/>
                <a:gd name="connsiteX401" fmla="*/ 195980 w 254301"/>
                <a:gd name="connsiteY401" fmla="*/ 219765 h 384465"/>
                <a:gd name="connsiteX402" fmla="*/ 195980 w 254301"/>
                <a:gd name="connsiteY402" fmla="*/ 219765 h 384465"/>
                <a:gd name="connsiteX403" fmla="*/ 206732 w 254301"/>
                <a:gd name="connsiteY403" fmla="*/ 226933 h 384465"/>
                <a:gd name="connsiteX404" fmla="*/ 210968 w 254301"/>
                <a:gd name="connsiteY404" fmla="*/ 229539 h 384465"/>
                <a:gd name="connsiteX405" fmla="*/ 212434 w 254301"/>
                <a:gd name="connsiteY405" fmla="*/ 233123 h 384465"/>
                <a:gd name="connsiteX406" fmla="*/ 219927 w 254301"/>
                <a:gd name="connsiteY406" fmla="*/ 233612 h 384465"/>
                <a:gd name="connsiteX407" fmla="*/ 221394 w 254301"/>
                <a:gd name="connsiteY407" fmla="*/ 234263 h 384465"/>
                <a:gd name="connsiteX408" fmla="*/ 222534 w 254301"/>
                <a:gd name="connsiteY408" fmla="*/ 232960 h 384465"/>
                <a:gd name="connsiteX409" fmla="*/ 225141 w 254301"/>
                <a:gd name="connsiteY409" fmla="*/ 234100 h 384465"/>
                <a:gd name="connsiteX410" fmla="*/ 222697 w 254301"/>
                <a:gd name="connsiteY410" fmla="*/ 231005 h 384465"/>
                <a:gd name="connsiteX411" fmla="*/ 221068 w 254301"/>
                <a:gd name="connsiteY411" fmla="*/ 226444 h 384465"/>
                <a:gd name="connsiteX412" fmla="*/ 218299 w 254301"/>
                <a:gd name="connsiteY412" fmla="*/ 224000 h 384465"/>
                <a:gd name="connsiteX413" fmla="*/ 218624 w 254301"/>
                <a:gd name="connsiteY413" fmla="*/ 216669 h 384465"/>
                <a:gd name="connsiteX414" fmla="*/ 217647 w 254301"/>
                <a:gd name="connsiteY414" fmla="*/ 207546 h 384465"/>
                <a:gd name="connsiteX415" fmla="*/ 218136 w 254301"/>
                <a:gd name="connsiteY415" fmla="*/ 204777 h 384465"/>
                <a:gd name="connsiteX416" fmla="*/ 216018 w 254301"/>
                <a:gd name="connsiteY416" fmla="*/ 203148 h 384465"/>
                <a:gd name="connsiteX417" fmla="*/ 211782 w 254301"/>
                <a:gd name="connsiteY417" fmla="*/ 197283 h 384465"/>
                <a:gd name="connsiteX418" fmla="*/ 209176 w 254301"/>
                <a:gd name="connsiteY418" fmla="*/ 192559 h 384465"/>
                <a:gd name="connsiteX419" fmla="*/ 206080 w 254301"/>
                <a:gd name="connsiteY419" fmla="*/ 192233 h 384465"/>
                <a:gd name="connsiteX420" fmla="*/ 204451 w 254301"/>
                <a:gd name="connsiteY420" fmla="*/ 193047 h 384465"/>
                <a:gd name="connsiteX421" fmla="*/ 202008 w 254301"/>
                <a:gd name="connsiteY421" fmla="*/ 191907 h 384465"/>
                <a:gd name="connsiteX422" fmla="*/ 199401 w 254301"/>
                <a:gd name="connsiteY422" fmla="*/ 192396 h 384465"/>
                <a:gd name="connsiteX423" fmla="*/ 197609 w 254301"/>
                <a:gd name="connsiteY423" fmla="*/ 194188 h 384465"/>
                <a:gd name="connsiteX424" fmla="*/ 192559 w 254301"/>
                <a:gd name="connsiteY424" fmla="*/ 194188 h 384465"/>
                <a:gd name="connsiteX425" fmla="*/ 188486 w 254301"/>
                <a:gd name="connsiteY425" fmla="*/ 194188 h 384465"/>
                <a:gd name="connsiteX426" fmla="*/ 186368 w 254301"/>
                <a:gd name="connsiteY426" fmla="*/ 193210 h 384465"/>
                <a:gd name="connsiteX427" fmla="*/ 186368 w 254301"/>
                <a:gd name="connsiteY427" fmla="*/ 196631 h 384465"/>
                <a:gd name="connsiteX428" fmla="*/ 190278 w 254301"/>
                <a:gd name="connsiteY428" fmla="*/ 204777 h 384465"/>
                <a:gd name="connsiteX429" fmla="*/ 196795 w 254301"/>
                <a:gd name="connsiteY429" fmla="*/ 209990 h 384465"/>
                <a:gd name="connsiteX430" fmla="*/ 202659 w 254301"/>
                <a:gd name="connsiteY430" fmla="*/ 216832 h 384465"/>
                <a:gd name="connsiteX431" fmla="*/ 205266 w 254301"/>
                <a:gd name="connsiteY431" fmla="*/ 218461 h 384465"/>
                <a:gd name="connsiteX432" fmla="*/ 204451 w 254301"/>
                <a:gd name="connsiteY432" fmla="*/ 220742 h 384465"/>
                <a:gd name="connsiteX433" fmla="*/ 202008 w 254301"/>
                <a:gd name="connsiteY433" fmla="*/ 223837 h 384465"/>
                <a:gd name="connsiteX434" fmla="*/ 201356 w 254301"/>
                <a:gd name="connsiteY434" fmla="*/ 224977 h 384465"/>
                <a:gd name="connsiteX435" fmla="*/ 203800 w 254301"/>
                <a:gd name="connsiteY435" fmla="*/ 224000 h 384465"/>
                <a:gd name="connsiteX436" fmla="*/ 204777 w 254301"/>
                <a:gd name="connsiteY436" fmla="*/ 225466 h 384465"/>
                <a:gd name="connsiteX437" fmla="*/ 206569 w 254301"/>
                <a:gd name="connsiteY437" fmla="*/ 226770 h 384465"/>
                <a:gd name="connsiteX438" fmla="*/ 206569 w 254301"/>
                <a:gd name="connsiteY438" fmla="*/ 226770 h 384465"/>
                <a:gd name="connsiteX439" fmla="*/ 202333 w 254301"/>
                <a:gd name="connsiteY439" fmla="*/ 227584 h 384465"/>
                <a:gd name="connsiteX440" fmla="*/ 197120 w 254301"/>
                <a:gd name="connsiteY440" fmla="*/ 229376 h 384465"/>
                <a:gd name="connsiteX441" fmla="*/ 192559 w 254301"/>
                <a:gd name="connsiteY441" fmla="*/ 227421 h 384465"/>
                <a:gd name="connsiteX442" fmla="*/ 189138 w 254301"/>
                <a:gd name="connsiteY442" fmla="*/ 227421 h 384465"/>
                <a:gd name="connsiteX443" fmla="*/ 191093 w 254301"/>
                <a:gd name="connsiteY443" fmla="*/ 232471 h 384465"/>
                <a:gd name="connsiteX444" fmla="*/ 191093 w 254301"/>
                <a:gd name="connsiteY444" fmla="*/ 237684 h 384465"/>
                <a:gd name="connsiteX445" fmla="*/ 194351 w 254301"/>
                <a:gd name="connsiteY445" fmla="*/ 240780 h 384465"/>
                <a:gd name="connsiteX446" fmla="*/ 196795 w 254301"/>
                <a:gd name="connsiteY446" fmla="*/ 238173 h 384465"/>
                <a:gd name="connsiteX447" fmla="*/ 199727 w 254301"/>
                <a:gd name="connsiteY447" fmla="*/ 240943 h 384465"/>
                <a:gd name="connsiteX448" fmla="*/ 199401 w 254301"/>
                <a:gd name="connsiteY448" fmla="*/ 247622 h 384465"/>
                <a:gd name="connsiteX449" fmla="*/ 201845 w 254301"/>
                <a:gd name="connsiteY449" fmla="*/ 252183 h 384465"/>
                <a:gd name="connsiteX450" fmla="*/ 202659 w 254301"/>
                <a:gd name="connsiteY450" fmla="*/ 259677 h 384465"/>
                <a:gd name="connsiteX451" fmla="*/ 206895 w 254301"/>
                <a:gd name="connsiteY451" fmla="*/ 262609 h 384465"/>
                <a:gd name="connsiteX452" fmla="*/ 207384 w 254301"/>
                <a:gd name="connsiteY452" fmla="*/ 255442 h 384465"/>
                <a:gd name="connsiteX453" fmla="*/ 210153 w 254301"/>
                <a:gd name="connsiteY453" fmla="*/ 259189 h 384465"/>
                <a:gd name="connsiteX454" fmla="*/ 214552 w 254301"/>
                <a:gd name="connsiteY454" fmla="*/ 258048 h 384465"/>
                <a:gd name="connsiteX455" fmla="*/ 215040 w 254301"/>
                <a:gd name="connsiteY455" fmla="*/ 254138 h 384465"/>
                <a:gd name="connsiteX456" fmla="*/ 210479 w 254301"/>
                <a:gd name="connsiteY456" fmla="*/ 246482 h 384465"/>
                <a:gd name="connsiteX457" fmla="*/ 207058 w 254301"/>
                <a:gd name="connsiteY457" fmla="*/ 244038 h 384465"/>
                <a:gd name="connsiteX458" fmla="*/ 206243 w 254301"/>
                <a:gd name="connsiteY458" fmla="*/ 236218 h 384465"/>
                <a:gd name="connsiteX459" fmla="*/ 203311 w 254301"/>
                <a:gd name="connsiteY459" fmla="*/ 229865 h 384465"/>
                <a:gd name="connsiteX460" fmla="*/ 202333 w 254301"/>
                <a:gd name="connsiteY460" fmla="*/ 227747 h 384465"/>
                <a:gd name="connsiteX461" fmla="*/ 202333 w 254301"/>
                <a:gd name="connsiteY461" fmla="*/ 227747 h 384465"/>
                <a:gd name="connsiteX462" fmla="*/ 227422 w 254301"/>
                <a:gd name="connsiteY462" fmla="*/ 240291 h 384465"/>
                <a:gd name="connsiteX463" fmla="*/ 229702 w 254301"/>
                <a:gd name="connsiteY463" fmla="*/ 239639 h 384465"/>
                <a:gd name="connsiteX464" fmla="*/ 228236 w 254301"/>
                <a:gd name="connsiteY464" fmla="*/ 238010 h 384465"/>
                <a:gd name="connsiteX465" fmla="*/ 226281 w 254301"/>
                <a:gd name="connsiteY465" fmla="*/ 238336 h 384465"/>
                <a:gd name="connsiteX466" fmla="*/ 227422 w 254301"/>
                <a:gd name="connsiteY466" fmla="*/ 240291 h 384465"/>
                <a:gd name="connsiteX467" fmla="*/ 227422 w 254301"/>
                <a:gd name="connsiteY467" fmla="*/ 240291 h 384465"/>
                <a:gd name="connsiteX468" fmla="*/ 228236 w 254301"/>
                <a:gd name="connsiteY468" fmla="*/ 245015 h 384465"/>
                <a:gd name="connsiteX469" fmla="*/ 225141 w 254301"/>
                <a:gd name="connsiteY469" fmla="*/ 243060 h 384465"/>
                <a:gd name="connsiteX470" fmla="*/ 225141 w 254301"/>
                <a:gd name="connsiteY470" fmla="*/ 245993 h 384465"/>
                <a:gd name="connsiteX471" fmla="*/ 227095 w 254301"/>
                <a:gd name="connsiteY471" fmla="*/ 247133 h 384465"/>
                <a:gd name="connsiteX472" fmla="*/ 228236 w 254301"/>
                <a:gd name="connsiteY472" fmla="*/ 245015 h 384465"/>
                <a:gd name="connsiteX473" fmla="*/ 228236 w 254301"/>
                <a:gd name="connsiteY473" fmla="*/ 245015 h 384465"/>
                <a:gd name="connsiteX474" fmla="*/ 227258 w 254301"/>
                <a:gd name="connsiteY474" fmla="*/ 269941 h 384465"/>
                <a:gd name="connsiteX475" fmla="*/ 228399 w 254301"/>
                <a:gd name="connsiteY475" fmla="*/ 264076 h 384465"/>
                <a:gd name="connsiteX476" fmla="*/ 224978 w 254301"/>
                <a:gd name="connsiteY476" fmla="*/ 259840 h 384465"/>
                <a:gd name="connsiteX477" fmla="*/ 224978 w 254301"/>
                <a:gd name="connsiteY477" fmla="*/ 255116 h 384465"/>
                <a:gd name="connsiteX478" fmla="*/ 226770 w 254301"/>
                <a:gd name="connsiteY478" fmla="*/ 253975 h 384465"/>
                <a:gd name="connsiteX479" fmla="*/ 225467 w 254301"/>
                <a:gd name="connsiteY479" fmla="*/ 251043 h 384465"/>
                <a:gd name="connsiteX480" fmla="*/ 223023 w 254301"/>
                <a:gd name="connsiteY480" fmla="*/ 252183 h 384465"/>
                <a:gd name="connsiteX481" fmla="*/ 222045 w 254301"/>
                <a:gd name="connsiteY481" fmla="*/ 257722 h 384465"/>
                <a:gd name="connsiteX482" fmla="*/ 224978 w 254301"/>
                <a:gd name="connsiteY482" fmla="*/ 264076 h 384465"/>
                <a:gd name="connsiteX483" fmla="*/ 224163 w 254301"/>
                <a:gd name="connsiteY483" fmla="*/ 267171 h 384465"/>
                <a:gd name="connsiteX484" fmla="*/ 225304 w 254301"/>
                <a:gd name="connsiteY484" fmla="*/ 269615 h 384465"/>
                <a:gd name="connsiteX485" fmla="*/ 227258 w 254301"/>
                <a:gd name="connsiteY485" fmla="*/ 269941 h 384465"/>
                <a:gd name="connsiteX486" fmla="*/ 227258 w 254301"/>
                <a:gd name="connsiteY486" fmla="*/ 269941 h 384465"/>
                <a:gd name="connsiteX487" fmla="*/ 232960 w 254301"/>
                <a:gd name="connsiteY487" fmla="*/ 271570 h 384465"/>
                <a:gd name="connsiteX488" fmla="*/ 232309 w 254301"/>
                <a:gd name="connsiteY488" fmla="*/ 274339 h 384465"/>
                <a:gd name="connsiteX489" fmla="*/ 234590 w 254301"/>
                <a:gd name="connsiteY489" fmla="*/ 276783 h 384465"/>
                <a:gd name="connsiteX490" fmla="*/ 235567 w 254301"/>
                <a:gd name="connsiteY490" fmla="*/ 273687 h 384465"/>
                <a:gd name="connsiteX491" fmla="*/ 233123 w 254301"/>
                <a:gd name="connsiteY491" fmla="*/ 271570 h 384465"/>
                <a:gd name="connsiteX492" fmla="*/ 233123 w 254301"/>
                <a:gd name="connsiteY492" fmla="*/ 271570 h 384465"/>
                <a:gd name="connsiteX493" fmla="*/ 236544 w 254301"/>
                <a:gd name="connsiteY493" fmla="*/ 260166 h 384465"/>
                <a:gd name="connsiteX494" fmla="*/ 235567 w 254301"/>
                <a:gd name="connsiteY494" fmla="*/ 265705 h 384465"/>
                <a:gd name="connsiteX495" fmla="*/ 234752 w 254301"/>
                <a:gd name="connsiteY495" fmla="*/ 267660 h 384465"/>
                <a:gd name="connsiteX496" fmla="*/ 237196 w 254301"/>
                <a:gd name="connsiteY496" fmla="*/ 270918 h 384465"/>
                <a:gd name="connsiteX497" fmla="*/ 240780 w 254301"/>
                <a:gd name="connsiteY497" fmla="*/ 269615 h 384465"/>
                <a:gd name="connsiteX498" fmla="*/ 238988 w 254301"/>
                <a:gd name="connsiteY498" fmla="*/ 264727 h 384465"/>
                <a:gd name="connsiteX499" fmla="*/ 236544 w 254301"/>
                <a:gd name="connsiteY499" fmla="*/ 260003 h 384465"/>
                <a:gd name="connsiteX500" fmla="*/ 236544 w 254301"/>
                <a:gd name="connsiteY500" fmla="*/ 260003 h 384465"/>
                <a:gd name="connsiteX501" fmla="*/ 136844 w 254301"/>
                <a:gd name="connsiteY501" fmla="*/ 349766 h 384465"/>
                <a:gd name="connsiteX502" fmla="*/ 131468 w 254301"/>
                <a:gd name="connsiteY502" fmla="*/ 344064 h 384465"/>
                <a:gd name="connsiteX503" fmla="*/ 134889 w 254301"/>
                <a:gd name="connsiteY503" fmla="*/ 336896 h 384465"/>
                <a:gd name="connsiteX504" fmla="*/ 136355 w 254301"/>
                <a:gd name="connsiteY504" fmla="*/ 329565 h 384465"/>
                <a:gd name="connsiteX505" fmla="*/ 134726 w 254301"/>
                <a:gd name="connsiteY505" fmla="*/ 325818 h 384465"/>
                <a:gd name="connsiteX506" fmla="*/ 139288 w 254301"/>
                <a:gd name="connsiteY506" fmla="*/ 320279 h 384465"/>
                <a:gd name="connsiteX507" fmla="*/ 144338 w 254301"/>
                <a:gd name="connsiteY507" fmla="*/ 318976 h 384465"/>
                <a:gd name="connsiteX508" fmla="*/ 148085 w 254301"/>
                <a:gd name="connsiteY508" fmla="*/ 315229 h 384465"/>
                <a:gd name="connsiteX509" fmla="*/ 152809 w 254301"/>
                <a:gd name="connsiteY509" fmla="*/ 316695 h 384465"/>
                <a:gd name="connsiteX510" fmla="*/ 159977 w 254301"/>
                <a:gd name="connsiteY510" fmla="*/ 315229 h 384465"/>
                <a:gd name="connsiteX511" fmla="*/ 157859 w 254301"/>
                <a:gd name="connsiteY511" fmla="*/ 310994 h 384465"/>
                <a:gd name="connsiteX512" fmla="*/ 160303 w 254301"/>
                <a:gd name="connsiteY512" fmla="*/ 306432 h 384465"/>
                <a:gd name="connsiteX513" fmla="*/ 166168 w 254301"/>
                <a:gd name="connsiteY513" fmla="*/ 303825 h 384465"/>
                <a:gd name="connsiteX514" fmla="*/ 169100 w 254301"/>
                <a:gd name="connsiteY514" fmla="*/ 299427 h 384465"/>
                <a:gd name="connsiteX515" fmla="*/ 173173 w 254301"/>
                <a:gd name="connsiteY515" fmla="*/ 299101 h 384465"/>
                <a:gd name="connsiteX516" fmla="*/ 180015 w 254301"/>
                <a:gd name="connsiteY516" fmla="*/ 304803 h 384465"/>
                <a:gd name="connsiteX517" fmla="*/ 180341 w 254301"/>
                <a:gd name="connsiteY517" fmla="*/ 313274 h 384465"/>
                <a:gd name="connsiteX518" fmla="*/ 174965 w 254301"/>
                <a:gd name="connsiteY518" fmla="*/ 321420 h 384465"/>
                <a:gd name="connsiteX519" fmla="*/ 179526 w 254301"/>
                <a:gd name="connsiteY519" fmla="*/ 316858 h 384465"/>
                <a:gd name="connsiteX520" fmla="*/ 184413 w 254301"/>
                <a:gd name="connsiteY520" fmla="*/ 315718 h 384465"/>
                <a:gd name="connsiteX521" fmla="*/ 190278 w 254301"/>
                <a:gd name="connsiteY521" fmla="*/ 312623 h 384465"/>
                <a:gd name="connsiteX522" fmla="*/ 193047 w 254301"/>
                <a:gd name="connsiteY522" fmla="*/ 303989 h 384465"/>
                <a:gd name="connsiteX523" fmla="*/ 198424 w 254301"/>
                <a:gd name="connsiteY523" fmla="*/ 301708 h 384465"/>
                <a:gd name="connsiteX524" fmla="*/ 201030 w 254301"/>
                <a:gd name="connsiteY524" fmla="*/ 307409 h 384465"/>
                <a:gd name="connsiteX525" fmla="*/ 204125 w 254301"/>
                <a:gd name="connsiteY525" fmla="*/ 305943 h 384465"/>
                <a:gd name="connsiteX526" fmla="*/ 204614 w 254301"/>
                <a:gd name="connsiteY526" fmla="*/ 301871 h 384465"/>
                <a:gd name="connsiteX527" fmla="*/ 202659 w 254301"/>
                <a:gd name="connsiteY527" fmla="*/ 300405 h 384465"/>
                <a:gd name="connsiteX528" fmla="*/ 205266 w 254301"/>
                <a:gd name="connsiteY528" fmla="*/ 290467 h 384465"/>
                <a:gd name="connsiteX529" fmla="*/ 210804 w 254301"/>
                <a:gd name="connsiteY529" fmla="*/ 292748 h 384465"/>
                <a:gd name="connsiteX530" fmla="*/ 213900 w 254301"/>
                <a:gd name="connsiteY530" fmla="*/ 295191 h 384465"/>
                <a:gd name="connsiteX531" fmla="*/ 215203 w 254301"/>
                <a:gd name="connsiteY531" fmla="*/ 292748 h 384465"/>
                <a:gd name="connsiteX532" fmla="*/ 215203 w 254301"/>
                <a:gd name="connsiteY532" fmla="*/ 286068 h 384465"/>
                <a:gd name="connsiteX533" fmla="*/ 216995 w 254301"/>
                <a:gd name="connsiteY533" fmla="*/ 285743 h 384465"/>
                <a:gd name="connsiteX534" fmla="*/ 220905 w 254301"/>
                <a:gd name="connsiteY534" fmla="*/ 289978 h 384465"/>
                <a:gd name="connsiteX535" fmla="*/ 220905 w 254301"/>
                <a:gd name="connsiteY535" fmla="*/ 286068 h 384465"/>
                <a:gd name="connsiteX536" fmla="*/ 218950 w 254301"/>
                <a:gd name="connsiteY536" fmla="*/ 276131 h 384465"/>
                <a:gd name="connsiteX537" fmla="*/ 218950 w 254301"/>
                <a:gd name="connsiteY537" fmla="*/ 270429 h 384465"/>
                <a:gd name="connsiteX538" fmla="*/ 223186 w 254301"/>
                <a:gd name="connsiteY538" fmla="*/ 271407 h 384465"/>
                <a:gd name="connsiteX539" fmla="*/ 224815 w 254301"/>
                <a:gd name="connsiteY539" fmla="*/ 271081 h 384465"/>
                <a:gd name="connsiteX540" fmla="*/ 225955 w 254301"/>
                <a:gd name="connsiteY540" fmla="*/ 275316 h 384465"/>
                <a:gd name="connsiteX541" fmla="*/ 232960 w 254301"/>
                <a:gd name="connsiteY541" fmla="*/ 281018 h 384465"/>
                <a:gd name="connsiteX542" fmla="*/ 237847 w 254301"/>
                <a:gd name="connsiteY542" fmla="*/ 286068 h 384465"/>
                <a:gd name="connsiteX543" fmla="*/ 241106 w 254301"/>
                <a:gd name="connsiteY543" fmla="*/ 283136 h 384465"/>
                <a:gd name="connsiteX544" fmla="*/ 241106 w 254301"/>
                <a:gd name="connsiteY544" fmla="*/ 287046 h 384465"/>
                <a:gd name="connsiteX545" fmla="*/ 244527 w 254301"/>
                <a:gd name="connsiteY545" fmla="*/ 292585 h 384465"/>
                <a:gd name="connsiteX546" fmla="*/ 244527 w 254301"/>
                <a:gd name="connsiteY546" fmla="*/ 299101 h 384465"/>
                <a:gd name="connsiteX547" fmla="*/ 241106 w 254301"/>
                <a:gd name="connsiteY547" fmla="*/ 298613 h 384465"/>
                <a:gd name="connsiteX548" fmla="*/ 240454 w 254301"/>
                <a:gd name="connsiteY548" fmla="*/ 301382 h 384465"/>
                <a:gd name="connsiteX549" fmla="*/ 243386 w 254301"/>
                <a:gd name="connsiteY549" fmla="*/ 305129 h 384465"/>
                <a:gd name="connsiteX550" fmla="*/ 245342 w 254301"/>
                <a:gd name="connsiteY550" fmla="*/ 305129 h 384465"/>
                <a:gd name="connsiteX551" fmla="*/ 245016 w 254301"/>
                <a:gd name="connsiteY551" fmla="*/ 308387 h 384465"/>
                <a:gd name="connsiteX552" fmla="*/ 245016 w 254301"/>
                <a:gd name="connsiteY552" fmla="*/ 314415 h 384465"/>
                <a:gd name="connsiteX553" fmla="*/ 246970 w 254301"/>
                <a:gd name="connsiteY553" fmla="*/ 311482 h 384465"/>
                <a:gd name="connsiteX554" fmla="*/ 247622 w 254301"/>
                <a:gd name="connsiteY554" fmla="*/ 317347 h 384465"/>
                <a:gd name="connsiteX555" fmla="*/ 247622 w 254301"/>
                <a:gd name="connsiteY555" fmla="*/ 323049 h 384465"/>
                <a:gd name="connsiteX556" fmla="*/ 250392 w 254301"/>
                <a:gd name="connsiteY556" fmla="*/ 327284 h 384465"/>
                <a:gd name="connsiteX557" fmla="*/ 253324 w 254301"/>
                <a:gd name="connsiteY557" fmla="*/ 332172 h 384465"/>
                <a:gd name="connsiteX558" fmla="*/ 254301 w 254301"/>
                <a:gd name="connsiteY558" fmla="*/ 340480 h 384465"/>
                <a:gd name="connsiteX559" fmla="*/ 251695 w 254301"/>
                <a:gd name="connsiteY559" fmla="*/ 347322 h 384465"/>
                <a:gd name="connsiteX560" fmla="*/ 249577 w 254301"/>
                <a:gd name="connsiteY560" fmla="*/ 347322 h 384465"/>
                <a:gd name="connsiteX561" fmla="*/ 249577 w 254301"/>
                <a:gd name="connsiteY561" fmla="*/ 350255 h 384465"/>
                <a:gd name="connsiteX562" fmla="*/ 247785 w 254301"/>
                <a:gd name="connsiteY562" fmla="*/ 346997 h 384465"/>
                <a:gd name="connsiteX563" fmla="*/ 244852 w 254301"/>
                <a:gd name="connsiteY563" fmla="*/ 347485 h 384465"/>
                <a:gd name="connsiteX564" fmla="*/ 243875 w 254301"/>
                <a:gd name="connsiteY564" fmla="*/ 350581 h 384465"/>
                <a:gd name="connsiteX565" fmla="*/ 245667 w 254301"/>
                <a:gd name="connsiteY565" fmla="*/ 358074 h 384465"/>
                <a:gd name="connsiteX566" fmla="*/ 245179 w 254301"/>
                <a:gd name="connsiteY566" fmla="*/ 363776 h 384465"/>
                <a:gd name="connsiteX567" fmla="*/ 245179 w 254301"/>
                <a:gd name="connsiteY567" fmla="*/ 367360 h 384465"/>
                <a:gd name="connsiteX568" fmla="*/ 243224 w 254301"/>
                <a:gd name="connsiteY568" fmla="*/ 363776 h 384465"/>
                <a:gd name="connsiteX569" fmla="*/ 240943 w 254301"/>
                <a:gd name="connsiteY569" fmla="*/ 355957 h 384465"/>
                <a:gd name="connsiteX570" fmla="*/ 240943 w 254301"/>
                <a:gd name="connsiteY570" fmla="*/ 351395 h 384465"/>
                <a:gd name="connsiteX571" fmla="*/ 238662 w 254301"/>
                <a:gd name="connsiteY571" fmla="*/ 347485 h 384465"/>
                <a:gd name="connsiteX572" fmla="*/ 237522 w 254301"/>
                <a:gd name="connsiteY572" fmla="*/ 342435 h 384465"/>
                <a:gd name="connsiteX573" fmla="*/ 233938 w 254301"/>
                <a:gd name="connsiteY573" fmla="*/ 337385 h 384465"/>
                <a:gd name="connsiteX574" fmla="*/ 230517 w 254301"/>
                <a:gd name="connsiteY574" fmla="*/ 339340 h 384465"/>
                <a:gd name="connsiteX575" fmla="*/ 224163 w 254301"/>
                <a:gd name="connsiteY575" fmla="*/ 350255 h 384465"/>
                <a:gd name="connsiteX576" fmla="*/ 223186 w 254301"/>
                <a:gd name="connsiteY576" fmla="*/ 354327 h 384465"/>
                <a:gd name="connsiteX577" fmla="*/ 227584 w 254301"/>
                <a:gd name="connsiteY577" fmla="*/ 357586 h 384465"/>
                <a:gd name="connsiteX578" fmla="*/ 230354 w 254301"/>
                <a:gd name="connsiteY578" fmla="*/ 364265 h 384465"/>
                <a:gd name="connsiteX579" fmla="*/ 232634 w 254301"/>
                <a:gd name="connsiteY579" fmla="*/ 367523 h 384465"/>
                <a:gd name="connsiteX580" fmla="*/ 232309 w 254301"/>
                <a:gd name="connsiteY580" fmla="*/ 372736 h 384465"/>
                <a:gd name="connsiteX581" fmla="*/ 225304 w 254301"/>
                <a:gd name="connsiteY581" fmla="*/ 381859 h 384465"/>
                <a:gd name="connsiteX582" fmla="*/ 221720 w 254301"/>
                <a:gd name="connsiteY582" fmla="*/ 384466 h 384465"/>
                <a:gd name="connsiteX583" fmla="*/ 220090 w 254301"/>
                <a:gd name="connsiteY583" fmla="*/ 382511 h 384465"/>
                <a:gd name="connsiteX584" fmla="*/ 218461 w 254301"/>
                <a:gd name="connsiteY584" fmla="*/ 377786 h 384465"/>
                <a:gd name="connsiteX585" fmla="*/ 220253 w 254301"/>
                <a:gd name="connsiteY585" fmla="*/ 374854 h 384465"/>
                <a:gd name="connsiteX586" fmla="*/ 218624 w 254301"/>
                <a:gd name="connsiteY586" fmla="*/ 372736 h 384465"/>
                <a:gd name="connsiteX587" fmla="*/ 216018 w 254301"/>
                <a:gd name="connsiteY587" fmla="*/ 374691 h 384465"/>
                <a:gd name="connsiteX588" fmla="*/ 215366 w 254301"/>
                <a:gd name="connsiteY588" fmla="*/ 377460 h 384465"/>
                <a:gd name="connsiteX589" fmla="*/ 211293 w 254301"/>
                <a:gd name="connsiteY589" fmla="*/ 379904 h 384465"/>
                <a:gd name="connsiteX590" fmla="*/ 206080 w 254301"/>
                <a:gd name="connsiteY590" fmla="*/ 377624 h 384465"/>
                <a:gd name="connsiteX591" fmla="*/ 201682 w 254301"/>
                <a:gd name="connsiteY591" fmla="*/ 373551 h 384465"/>
                <a:gd name="connsiteX592" fmla="*/ 195980 w 254301"/>
                <a:gd name="connsiteY592" fmla="*/ 373551 h 384465"/>
                <a:gd name="connsiteX593" fmla="*/ 191256 w 254301"/>
                <a:gd name="connsiteY593" fmla="*/ 368012 h 384465"/>
                <a:gd name="connsiteX594" fmla="*/ 190441 w 254301"/>
                <a:gd name="connsiteY594" fmla="*/ 363776 h 384465"/>
                <a:gd name="connsiteX595" fmla="*/ 186857 w 254301"/>
                <a:gd name="connsiteY595" fmla="*/ 359052 h 384465"/>
                <a:gd name="connsiteX596" fmla="*/ 187997 w 254301"/>
                <a:gd name="connsiteY596" fmla="*/ 355794 h 384465"/>
                <a:gd name="connsiteX597" fmla="*/ 187509 w 254301"/>
                <a:gd name="connsiteY597" fmla="*/ 351884 h 384465"/>
                <a:gd name="connsiteX598" fmla="*/ 185065 w 254301"/>
                <a:gd name="connsiteY598" fmla="*/ 348951 h 384465"/>
                <a:gd name="connsiteX599" fmla="*/ 187346 w 254301"/>
                <a:gd name="connsiteY599" fmla="*/ 346019 h 384465"/>
                <a:gd name="connsiteX600" fmla="*/ 187020 w 254301"/>
                <a:gd name="connsiteY600" fmla="*/ 343413 h 384465"/>
                <a:gd name="connsiteX601" fmla="*/ 188975 w 254301"/>
                <a:gd name="connsiteY601" fmla="*/ 342435 h 384465"/>
                <a:gd name="connsiteX602" fmla="*/ 193374 w 254301"/>
                <a:gd name="connsiteY602" fmla="*/ 344064 h 384465"/>
                <a:gd name="connsiteX603" fmla="*/ 189301 w 254301"/>
                <a:gd name="connsiteY603" fmla="*/ 340154 h 384465"/>
                <a:gd name="connsiteX604" fmla="*/ 188323 w 254301"/>
                <a:gd name="connsiteY604" fmla="*/ 335756 h 384465"/>
                <a:gd name="connsiteX605" fmla="*/ 183599 w 254301"/>
                <a:gd name="connsiteY605" fmla="*/ 331846 h 384465"/>
                <a:gd name="connsiteX606" fmla="*/ 179200 w 254301"/>
                <a:gd name="connsiteY606" fmla="*/ 330868 h 384465"/>
                <a:gd name="connsiteX607" fmla="*/ 174476 w 254301"/>
                <a:gd name="connsiteY607" fmla="*/ 326633 h 384465"/>
                <a:gd name="connsiteX608" fmla="*/ 172033 w 254301"/>
                <a:gd name="connsiteY608" fmla="*/ 326633 h 384465"/>
                <a:gd name="connsiteX609" fmla="*/ 170077 w 254301"/>
                <a:gd name="connsiteY609" fmla="*/ 328751 h 384465"/>
                <a:gd name="connsiteX610" fmla="*/ 171218 w 254301"/>
                <a:gd name="connsiteY610" fmla="*/ 331032 h 384465"/>
                <a:gd name="connsiteX611" fmla="*/ 169588 w 254301"/>
                <a:gd name="connsiteY611" fmla="*/ 333312 h 384465"/>
                <a:gd name="connsiteX612" fmla="*/ 172195 w 254301"/>
                <a:gd name="connsiteY612" fmla="*/ 337222 h 384465"/>
                <a:gd name="connsiteX613" fmla="*/ 170240 w 254301"/>
                <a:gd name="connsiteY613" fmla="*/ 336896 h 384465"/>
                <a:gd name="connsiteX614" fmla="*/ 166168 w 254301"/>
                <a:gd name="connsiteY614" fmla="*/ 333801 h 384465"/>
                <a:gd name="connsiteX615" fmla="*/ 163398 w 254301"/>
                <a:gd name="connsiteY615" fmla="*/ 334127 h 384465"/>
                <a:gd name="connsiteX616" fmla="*/ 164701 w 254301"/>
                <a:gd name="connsiteY616" fmla="*/ 331032 h 384465"/>
                <a:gd name="connsiteX617" fmla="*/ 162095 w 254301"/>
                <a:gd name="connsiteY617" fmla="*/ 330054 h 384465"/>
                <a:gd name="connsiteX618" fmla="*/ 160140 w 254301"/>
                <a:gd name="connsiteY618" fmla="*/ 331683 h 384465"/>
                <a:gd name="connsiteX619" fmla="*/ 159814 w 254301"/>
                <a:gd name="connsiteY619" fmla="*/ 336244 h 384465"/>
                <a:gd name="connsiteX620" fmla="*/ 157370 w 254301"/>
                <a:gd name="connsiteY620" fmla="*/ 334616 h 384465"/>
                <a:gd name="connsiteX621" fmla="*/ 155090 w 254301"/>
                <a:gd name="connsiteY621" fmla="*/ 335919 h 384465"/>
                <a:gd name="connsiteX622" fmla="*/ 153461 w 254301"/>
                <a:gd name="connsiteY622" fmla="*/ 334452 h 384465"/>
                <a:gd name="connsiteX623" fmla="*/ 154601 w 254301"/>
                <a:gd name="connsiteY623" fmla="*/ 329240 h 384465"/>
                <a:gd name="connsiteX624" fmla="*/ 151180 w 254301"/>
                <a:gd name="connsiteY624" fmla="*/ 325981 h 384465"/>
                <a:gd name="connsiteX625" fmla="*/ 148411 w 254301"/>
                <a:gd name="connsiteY625" fmla="*/ 327284 h 384465"/>
                <a:gd name="connsiteX626" fmla="*/ 145641 w 254301"/>
                <a:gd name="connsiteY626" fmla="*/ 333638 h 384465"/>
                <a:gd name="connsiteX627" fmla="*/ 142709 w 254301"/>
                <a:gd name="connsiteY627" fmla="*/ 336244 h 384465"/>
                <a:gd name="connsiteX628" fmla="*/ 138961 w 254301"/>
                <a:gd name="connsiteY628" fmla="*/ 346997 h 384465"/>
                <a:gd name="connsiteX629" fmla="*/ 136844 w 254301"/>
                <a:gd name="connsiteY629" fmla="*/ 350417 h 384465"/>
                <a:gd name="connsiteX630" fmla="*/ 136844 w 254301"/>
                <a:gd name="connsiteY630" fmla="*/ 350417 h 384465"/>
                <a:gd name="connsiteX631" fmla="*/ 128861 w 254301"/>
                <a:gd name="connsiteY631" fmla="*/ 356119 h 384465"/>
                <a:gd name="connsiteX632" fmla="*/ 128861 w 254301"/>
                <a:gd name="connsiteY632" fmla="*/ 358563 h 384465"/>
                <a:gd name="connsiteX633" fmla="*/ 132120 w 254301"/>
                <a:gd name="connsiteY633" fmla="*/ 363125 h 384465"/>
                <a:gd name="connsiteX634" fmla="*/ 135052 w 254301"/>
                <a:gd name="connsiteY634" fmla="*/ 364102 h 384465"/>
                <a:gd name="connsiteX635" fmla="*/ 141568 w 254301"/>
                <a:gd name="connsiteY635" fmla="*/ 358237 h 384465"/>
                <a:gd name="connsiteX636" fmla="*/ 142057 w 254301"/>
                <a:gd name="connsiteY636" fmla="*/ 356445 h 384465"/>
                <a:gd name="connsiteX637" fmla="*/ 139125 w 254301"/>
                <a:gd name="connsiteY637" fmla="*/ 355468 h 384465"/>
                <a:gd name="connsiteX638" fmla="*/ 136029 w 254301"/>
                <a:gd name="connsiteY638" fmla="*/ 353513 h 384465"/>
                <a:gd name="connsiteX639" fmla="*/ 133423 w 254301"/>
                <a:gd name="connsiteY639" fmla="*/ 355794 h 384465"/>
                <a:gd name="connsiteX640" fmla="*/ 128861 w 254301"/>
                <a:gd name="connsiteY640" fmla="*/ 356119 h 384465"/>
                <a:gd name="connsiteX641" fmla="*/ 128861 w 254301"/>
                <a:gd name="connsiteY641" fmla="*/ 356119 h 384465"/>
                <a:gd name="connsiteX642" fmla="*/ 70540 w 254301"/>
                <a:gd name="connsiteY642" fmla="*/ 208687 h 384465"/>
                <a:gd name="connsiteX643" fmla="*/ 68259 w 254301"/>
                <a:gd name="connsiteY643" fmla="*/ 206080 h 384465"/>
                <a:gd name="connsiteX644" fmla="*/ 66467 w 254301"/>
                <a:gd name="connsiteY644" fmla="*/ 202333 h 384465"/>
                <a:gd name="connsiteX645" fmla="*/ 68096 w 254301"/>
                <a:gd name="connsiteY645" fmla="*/ 200215 h 384465"/>
                <a:gd name="connsiteX646" fmla="*/ 72169 w 254301"/>
                <a:gd name="connsiteY646" fmla="*/ 200867 h 384465"/>
                <a:gd name="connsiteX647" fmla="*/ 75264 w 254301"/>
                <a:gd name="connsiteY647" fmla="*/ 204288 h 384465"/>
                <a:gd name="connsiteX648" fmla="*/ 80477 w 254301"/>
                <a:gd name="connsiteY648" fmla="*/ 205428 h 384465"/>
                <a:gd name="connsiteX649" fmla="*/ 81618 w 254301"/>
                <a:gd name="connsiteY649" fmla="*/ 208035 h 384465"/>
                <a:gd name="connsiteX650" fmla="*/ 79337 w 254301"/>
                <a:gd name="connsiteY650" fmla="*/ 210642 h 384465"/>
                <a:gd name="connsiteX651" fmla="*/ 76079 w 254301"/>
                <a:gd name="connsiteY651" fmla="*/ 209175 h 384465"/>
                <a:gd name="connsiteX652" fmla="*/ 70540 w 254301"/>
                <a:gd name="connsiteY652" fmla="*/ 208850 h 384465"/>
                <a:gd name="connsiteX653" fmla="*/ 70540 w 254301"/>
                <a:gd name="connsiteY653" fmla="*/ 208850 h 384465"/>
                <a:gd name="connsiteX654" fmla="*/ 67445 w 254301"/>
                <a:gd name="connsiteY654" fmla="*/ 210967 h 384465"/>
                <a:gd name="connsiteX655" fmla="*/ 72658 w 254301"/>
                <a:gd name="connsiteY655" fmla="*/ 212434 h 384465"/>
                <a:gd name="connsiteX656" fmla="*/ 74287 w 254301"/>
                <a:gd name="connsiteY656" fmla="*/ 216181 h 384465"/>
                <a:gd name="connsiteX657" fmla="*/ 72332 w 254301"/>
                <a:gd name="connsiteY657" fmla="*/ 217484 h 384465"/>
                <a:gd name="connsiteX658" fmla="*/ 70703 w 254301"/>
                <a:gd name="connsiteY658" fmla="*/ 219765 h 384465"/>
                <a:gd name="connsiteX659" fmla="*/ 68422 w 254301"/>
                <a:gd name="connsiteY659" fmla="*/ 219765 h 384465"/>
                <a:gd name="connsiteX660" fmla="*/ 66956 w 254301"/>
                <a:gd name="connsiteY660" fmla="*/ 213900 h 384465"/>
                <a:gd name="connsiteX661" fmla="*/ 67445 w 254301"/>
                <a:gd name="connsiteY661" fmla="*/ 210804 h 384465"/>
                <a:gd name="connsiteX662" fmla="*/ 67445 w 254301"/>
                <a:gd name="connsiteY662" fmla="*/ 210804 h 384465"/>
                <a:gd name="connsiteX663" fmla="*/ 70703 w 254301"/>
                <a:gd name="connsiteY663" fmla="*/ 249577 h 384465"/>
                <a:gd name="connsiteX664" fmla="*/ 72658 w 254301"/>
                <a:gd name="connsiteY664" fmla="*/ 248111 h 384465"/>
                <a:gd name="connsiteX665" fmla="*/ 73472 w 254301"/>
                <a:gd name="connsiteY665" fmla="*/ 245993 h 384465"/>
                <a:gd name="connsiteX666" fmla="*/ 74938 w 254301"/>
                <a:gd name="connsiteY666" fmla="*/ 248274 h 384465"/>
                <a:gd name="connsiteX667" fmla="*/ 76893 w 254301"/>
                <a:gd name="connsiteY667" fmla="*/ 249903 h 384465"/>
                <a:gd name="connsiteX668" fmla="*/ 76893 w 254301"/>
                <a:gd name="connsiteY668" fmla="*/ 252835 h 384465"/>
                <a:gd name="connsiteX669" fmla="*/ 72983 w 254301"/>
                <a:gd name="connsiteY669" fmla="*/ 252998 h 384465"/>
                <a:gd name="connsiteX670" fmla="*/ 69399 w 254301"/>
                <a:gd name="connsiteY670" fmla="*/ 252672 h 384465"/>
                <a:gd name="connsiteX671" fmla="*/ 70703 w 254301"/>
                <a:gd name="connsiteY671" fmla="*/ 249414 h 384465"/>
                <a:gd name="connsiteX672" fmla="*/ 70703 w 254301"/>
                <a:gd name="connsiteY672" fmla="*/ 249414 h 384465"/>
                <a:gd name="connsiteX673" fmla="*/ 8309 w 254301"/>
                <a:gd name="connsiteY673" fmla="*/ 306595 h 384465"/>
                <a:gd name="connsiteX674" fmla="*/ 13196 w 254301"/>
                <a:gd name="connsiteY674" fmla="*/ 302685 h 384465"/>
                <a:gd name="connsiteX675" fmla="*/ 16617 w 254301"/>
                <a:gd name="connsiteY675" fmla="*/ 302197 h 384465"/>
                <a:gd name="connsiteX676" fmla="*/ 19875 w 254301"/>
                <a:gd name="connsiteY676" fmla="*/ 298775 h 384465"/>
                <a:gd name="connsiteX677" fmla="*/ 25414 w 254301"/>
                <a:gd name="connsiteY677" fmla="*/ 296658 h 384465"/>
                <a:gd name="connsiteX678" fmla="*/ 31116 w 254301"/>
                <a:gd name="connsiteY678" fmla="*/ 288024 h 384465"/>
                <a:gd name="connsiteX679" fmla="*/ 36981 w 254301"/>
                <a:gd name="connsiteY679" fmla="*/ 286068 h 384465"/>
                <a:gd name="connsiteX680" fmla="*/ 41053 w 254301"/>
                <a:gd name="connsiteY680" fmla="*/ 282647 h 384465"/>
                <a:gd name="connsiteX681" fmla="*/ 41379 w 254301"/>
                <a:gd name="connsiteY681" fmla="*/ 280041 h 384465"/>
                <a:gd name="connsiteX682" fmla="*/ 44800 w 254301"/>
                <a:gd name="connsiteY682" fmla="*/ 275805 h 384465"/>
                <a:gd name="connsiteX683" fmla="*/ 44800 w 254301"/>
                <a:gd name="connsiteY683" fmla="*/ 268149 h 384465"/>
                <a:gd name="connsiteX684" fmla="*/ 47733 w 254301"/>
                <a:gd name="connsiteY684" fmla="*/ 264727 h 384465"/>
                <a:gd name="connsiteX685" fmla="*/ 55552 w 254301"/>
                <a:gd name="connsiteY685" fmla="*/ 264239 h 384465"/>
                <a:gd name="connsiteX686" fmla="*/ 57344 w 254301"/>
                <a:gd name="connsiteY686" fmla="*/ 259025 h 384465"/>
                <a:gd name="connsiteX687" fmla="*/ 61091 w 254301"/>
                <a:gd name="connsiteY687" fmla="*/ 255279 h 384465"/>
                <a:gd name="connsiteX688" fmla="*/ 65164 w 254301"/>
                <a:gd name="connsiteY688" fmla="*/ 254464 h 384465"/>
                <a:gd name="connsiteX689" fmla="*/ 67445 w 254301"/>
                <a:gd name="connsiteY689" fmla="*/ 250228 h 384465"/>
                <a:gd name="connsiteX690" fmla="*/ 64675 w 254301"/>
                <a:gd name="connsiteY690" fmla="*/ 244038 h 384465"/>
                <a:gd name="connsiteX691" fmla="*/ 60928 w 254301"/>
                <a:gd name="connsiteY691" fmla="*/ 239476 h 384465"/>
                <a:gd name="connsiteX692" fmla="*/ 61254 w 254301"/>
                <a:gd name="connsiteY692" fmla="*/ 234752 h 384465"/>
                <a:gd name="connsiteX693" fmla="*/ 60765 w 254301"/>
                <a:gd name="connsiteY693" fmla="*/ 227421 h 384465"/>
                <a:gd name="connsiteX694" fmla="*/ 58485 w 254301"/>
                <a:gd name="connsiteY694" fmla="*/ 228399 h 384465"/>
                <a:gd name="connsiteX695" fmla="*/ 57344 w 254301"/>
                <a:gd name="connsiteY695" fmla="*/ 236381 h 384465"/>
                <a:gd name="connsiteX696" fmla="*/ 57996 w 254301"/>
                <a:gd name="connsiteY696" fmla="*/ 243712 h 384465"/>
                <a:gd name="connsiteX697" fmla="*/ 54086 w 254301"/>
                <a:gd name="connsiteY697" fmla="*/ 241268 h 384465"/>
                <a:gd name="connsiteX698" fmla="*/ 57181 w 254301"/>
                <a:gd name="connsiteY698" fmla="*/ 246319 h 384465"/>
                <a:gd name="connsiteX699" fmla="*/ 57181 w 254301"/>
                <a:gd name="connsiteY699" fmla="*/ 250066 h 384465"/>
                <a:gd name="connsiteX700" fmla="*/ 52783 w 254301"/>
                <a:gd name="connsiteY700" fmla="*/ 255116 h 384465"/>
                <a:gd name="connsiteX701" fmla="*/ 49525 w 254301"/>
                <a:gd name="connsiteY701" fmla="*/ 254790 h 384465"/>
                <a:gd name="connsiteX702" fmla="*/ 44963 w 254301"/>
                <a:gd name="connsiteY702" fmla="*/ 260166 h 384465"/>
                <a:gd name="connsiteX703" fmla="*/ 44637 w 254301"/>
                <a:gd name="connsiteY703" fmla="*/ 264076 h 384465"/>
                <a:gd name="connsiteX704" fmla="*/ 39424 w 254301"/>
                <a:gd name="connsiteY704" fmla="*/ 267008 h 384465"/>
                <a:gd name="connsiteX705" fmla="*/ 34211 w 254301"/>
                <a:gd name="connsiteY705" fmla="*/ 277923 h 384465"/>
                <a:gd name="connsiteX706" fmla="*/ 26880 w 254301"/>
                <a:gd name="connsiteY706" fmla="*/ 285091 h 384465"/>
                <a:gd name="connsiteX707" fmla="*/ 22808 w 254301"/>
                <a:gd name="connsiteY707" fmla="*/ 285580 h 384465"/>
                <a:gd name="connsiteX708" fmla="*/ 19061 w 254301"/>
                <a:gd name="connsiteY708" fmla="*/ 292585 h 384465"/>
                <a:gd name="connsiteX709" fmla="*/ 16128 w 254301"/>
                <a:gd name="connsiteY709" fmla="*/ 293562 h 384465"/>
                <a:gd name="connsiteX710" fmla="*/ 8797 w 254301"/>
                <a:gd name="connsiteY710" fmla="*/ 303174 h 384465"/>
                <a:gd name="connsiteX711" fmla="*/ 7494 w 254301"/>
                <a:gd name="connsiteY711" fmla="*/ 305781 h 384465"/>
                <a:gd name="connsiteX712" fmla="*/ 7983 w 254301"/>
                <a:gd name="connsiteY712" fmla="*/ 307573 h 384465"/>
                <a:gd name="connsiteX713" fmla="*/ 7983 w 254301"/>
                <a:gd name="connsiteY713" fmla="*/ 307573 h 384465"/>
                <a:gd name="connsiteX714" fmla="*/ 9123 w 254301"/>
                <a:gd name="connsiteY714" fmla="*/ 309365 h 384465"/>
                <a:gd name="connsiteX715" fmla="*/ 6517 w 254301"/>
                <a:gd name="connsiteY715" fmla="*/ 311808 h 384465"/>
                <a:gd name="connsiteX716" fmla="*/ 8797 w 254301"/>
                <a:gd name="connsiteY716" fmla="*/ 311319 h 384465"/>
                <a:gd name="connsiteX717" fmla="*/ 9123 w 254301"/>
                <a:gd name="connsiteY717" fmla="*/ 309201 h 384465"/>
                <a:gd name="connsiteX718" fmla="*/ 9123 w 254301"/>
                <a:gd name="connsiteY718" fmla="*/ 309201 h 384465"/>
                <a:gd name="connsiteX719" fmla="*/ 11567 w 254301"/>
                <a:gd name="connsiteY719" fmla="*/ 310016 h 384465"/>
                <a:gd name="connsiteX720" fmla="*/ 9938 w 254301"/>
                <a:gd name="connsiteY720" fmla="*/ 311808 h 384465"/>
                <a:gd name="connsiteX721" fmla="*/ 12707 w 254301"/>
                <a:gd name="connsiteY721" fmla="*/ 313274 h 384465"/>
                <a:gd name="connsiteX722" fmla="*/ 11567 w 254301"/>
                <a:gd name="connsiteY722" fmla="*/ 310016 h 384465"/>
                <a:gd name="connsiteX723" fmla="*/ 11567 w 254301"/>
                <a:gd name="connsiteY723" fmla="*/ 310016 h 384465"/>
                <a:gd name="connsiteX724" fmla="*/ 4399 w 254301"/>
                <a:gd name="connsiteY724" fmla="*/ 316044 h 384465"/>
                <a:gd name="connsiteX725" fmla="*/ 0 w 254301"/>
                <a:gd name="connsiteY725" fmla="*/ 317836 h 384465"/>
                <a:gd name="connsiteX726" fmla="*/ 0 w 254301"/>
                <a:gd name="connsiteY726" fmla="*/ 321257 h 384465"/>
                <a:gd name="connsiteX727" fmla="*/ 2770 w 254301"/>
                <a:gd name="connsiteY727" fmla="*/ 325981 h 384465"/>
                <a:gd name="connsiteX728" fmla="*/ 5213 w 254301"/>
                <a:gd name="connsiteY728" fmla="*/ 325981 h 384465"/>
                <a:gd name="connsiteX729" fmla="*/ 5213 w 254301"/>
                <a:gd name="connsiteY729" fmla="*/ 319465 h 384465"/>
                <a:gd name="connsiteX730" fmla="*/ 6191 w 254301"/>
                <a:gd name="connsiteY730" fmla="*/ 317347 h 384465"/>
                <a:gd name="connsiteX731" fmla="*/ 4399 w 254301"/>
                <a:gd name="connsiteY731" fmla="*/ 316044 h 3844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</a:cxnLst>
              <a:rect l="l" t="t" r="r" b="b"/>
              <a:pathLst>
                <a:path w="254301" h="384465">
                  <a:moveTo>
                    <a:pt x="90741" y="18083"/>
                  </a:moveTo>
                  <a:lnTo>
                    <a:pt x="97257" y="18083"/>
                  </a:lnTo>
                  <a:lnTo>
                    <a:pt x="93184" y="20364"/>
                  </a:lnTo>
                  <a:lnTo>
                    <a:pt x="90741" y="18083"/>
                  </a:lnTo>
                  <a:lnTo>
                    <a:pt x="90741" y="18083"/>
                  </a:lnTo>
                  <a:close/>
                  <a:moveTo>
                    <a:pt x="87483" y="7005"/>
                  </a:moveTo>
                  <a:lnTo>
                    <a:pt x="90904" y="10263"/>
                  </a:lnTo>
                  <a:lnTo>
                    <a:pt x="86179" y="11241"/>
                  </a:lnTo>
                  <a:lnTo>
                    <a:pt x="87483" y="7005"/>
                  </a:lnTo>
                  <a:lnTo>
                    <a:pt x="87483" y="7005"/>
                  </a:lnTo>
                  <a:close/>
                  <a:moveTo>
                    <a:pt x="98397" y="0"/>
                  </a:moveTo>
                  <a:lnTo>
                    <a:pt x="94488" y="2769"/>
                  </a:lnTo>
                  <a:lnTo>
                    <a:pt x="97583" y="5539"/>
                  </a:lnTo>
                  <a:lnTo>
                    <a:pt x="98397" y="0"/>
                  </a:lnTo>
                  <a:lnTo>
                    <a:pt x="98397" y="0"/>
                  </a:lnTo>
                  <a:close/>
                  <a:moveTo>
                    <a:pt x="109475" y="12707"/>
                  </a:moveTo>
                  <a:lnTo>
                    <a:pt x="106380" y="16617"/>
                  </a:lnTo>
                  <a:lnTo>
                    <a:pt x="109312" y="19060"/>
                  </a:lnTo>
                  <a:lnTo>
                    <a:pt x="111267" y="15313"/>
                  </a:lnTo>
                  <a:cubicBezTo>
                    <a:pt x="111267" y="15313"/>
                    <a:pt x="109312" y="12707"/>
                    <a:pt x="109475" y="12707"/>
                  </a:cubicBezTo>
                  <a:lnTo>
                    <a:pt x="109475" y="12707"/>
                  </a:lnTo>
                  <a:close/>
                  <a:moveTo>
                    <a:pt x="111593" y="142708"/>
                  </a:moveTo>
                  <a:lnTo>
                    <a:pt x="115503" y="145804"/>
                  </a:lnTo>
                  <a:lnTo>
                    <a:pt x="117947" y="150854"/>
                  </a:lnTo>
                  <a:lnTo>
                    <a:pt x="123811" y="152809"/>
                  </a:lnTo>
                  <a:lnTo>
                    <a:pt x="127884" y="151506"/>
                  </a:lnTo>
                  <a:lnTo>
                    <a:pt x="129024" y="147433"/>
                  </a:lnTo>
                  <a:lnTo>
                    <a:pt x="135867" y="142057"/>
                  </a:lnTo>
                  <a:lnTo>
                    <a:pt x="140917" y="142057"/>
                  </a:lnTo>
                  <a:cubicBezTo>
                    <a:pt x="140917" y="142057"/>
                    <a:pt x="148574" y="146781"/>
                    <a:pt x="148574" y="146781"/>
                  </a:cubicBezTo>
                  <a:lnTo>
                    <a:pt x="151669" y="152809"/>
                  </a:lnTo>
                  <a:lnTo>
                    <a:pt x="151017" y="158185"/>
                  </a:lnTo>
                  <a:lnTo>
                    <a:pt x="153461" y="160791"/>
                  </a:lnTo>
                  <a:lnTo>
                    <a:pt x="156882" y="158511"/>
                  </a:lnTo>
                  <a:lnTo>
                    <a:pt x="156556" y="153460"/>
                  </a:lnTo>
                  <a:lnTo>
                    <a:pt x="158836" y="151668"/>
                  </a:lnTo>
                  <a:lnTo>
                    <a:pt x="161769" y="156556"/>
                  </a:lnTo>
                  <a:lnTo>
                    <a:pt x="167797" y="156882"/>
                  </a:lnTo>
                  <a:lnTo>
                    <a:pt x="172847" y="160140"/>
                  </a:lnTo>
                  <a:lnTo>
                    <a:pt x="173987" y="161932"/>
                  </a:lnTo>
                  <a:lnTo>
                    <a:pt x="170240" y="162420"/>
                  </a:lnTo>
                  <a:lnTo>
                    <a:pt x="167634" y="160954"/>
                  </a:lnTo>
                  <a:lnTo>
                    <a:pt x="165190" y="162583"/>
                  </a:lnTo>
                  <a:lnTo>
                    <a:pt x="166168" y="166982"/>
                  </a:lnTo>
                  <a:lnTo>
                    <a:pt x="169588" y="175942"/>
                  </a:lnTo>
                  <a:lnTo>
                    <a:pt x="169588" y="179363"/>
                  </a:lnTo>
                  <a:cubicBezTo>
                    <a:pt x="169588" y="179363"/>
                    <a:pt x="174639" y="179363"/>
                    <a:pt x="174639" y="179363"/>
                  </a:cubicBezTo>
                  <a:lnTo>
                    <a:pt x="178386" y="181155"/>
                  </a:lnTo>
                  <a:lnTo>
                    <a:pt x="182622" y="181155"/>
                  </a:lnTo>
                  <a:cubicBezTo>
                    <a:pt x="182622" y="181155"/>
                    <a:pt x="184576" y="183762"/>
                    <a:pt x="184576" y="183762"/>
                  </a:cubicBezTo>
                  <a:lnTo>
                    <a:pt x="182295" y="186042"/>
                  </a:lnTo>
                  <a:lnTo>
                    <a:pt x="182784" y="189138"/>
                  </a:lnTo>
                  <a:lnTo>
                    <a:pt x="180992" y="196468"/>
                  </a:lnTo>
                  <a:lnTo>
                    <a:pt x="176594" y="195002"/>
                  </a:lnTo>
                  <a:lnTo>
                    <a:pt x="172358" y="189789"/>
                  </a:lnTo>
                  <a:lnTo>
                    <a:pt x="176431" y="187346"/>
                  </a:lnTo>
                  <a:lnTo>
                    <a:pt x="176757" y="184739"/>
                  </a:lnTo>
                  <a:lnTo>
                    <a:pt x="172521" y="183762"/>
                  </a:lnTo>
                  <a:lnTo>
                    <a:pt x="172521" y="185554"/>
                  </a:lnTo>
                  <a:cubicBezTo>
                    <a:pt x="172521" y="185554"/>
                    <a:pt x="168285" y="186857"/>
                    <a:pt x="168285" y="186857"/>
                  </a:cubicBezTo>
                  <a:lnTo>
                    <a:pt x="162584" y="180177"/>
                  </a:lnTo>
                  <a:lnTo>
                    <a:pt x="158674" y="178874"/>
                  </a:lnTo>
                  <a:lnTo>
                    <a:pt x="158674" y="173335"/>
                  </a:lnTo>
                  <a:lnTo>
                    <a:pt x="156719" y="168448"/>
                  </a:lnTo>
                  <a:lnTo>
                    <a:pt x="149388" y="165679"/>
                  </a:lnTo>
                  <a:lnTo>
                    <a:pt x="146130" y="159814"/>
                  </a:lnTo>
                  <a:lnTo>
                    <a:pt x="142872" y="158185"/>
                  </a:lnTo>
                  <a:lnTo>
                    <a:pt x="139939" y="155252"/>
                  </a:lnTo>
                  <a:lnTo>
                    <a:pt x="137170" y="154764"/>
                  </a:lnTo>
                  <a:lnTo>
                    <a:pt x="136355" y="157370"/>
                  </a:lnTo>
                  <a:lnTo>
                    <a:pt x="141731" y="166819"/>
                  </a:lnTo>
                  <a:lnTo>
                    <a:pt x="143360" y="175290"/>
                  </a:lnTo>
                  <a:lnTo>
                    <a:pt x="141406" y="175616"/>
                  </a:lnTo>
                  <a:lnTo>
                    <a:pt x="136355" y="167145"/>
                  </a:lnTo>
                  <a:lnTo>
                    <a:pt x="130653" y="163072"/>
                  </a:lnTo>
                  <a:lnTo>
                    <a:pt x="128699" y="159162"/>
                  </a:lnTo>
                  <a:lnTo>
                    <a:pt x="118272" y="154927"/>
                  </a:lnTo>
                  <a:lnTo>
                    <a:pt x="112408" y="155415"/>
                  </a:lnTo>
                  <a:lnTo>
                    <a:pt x="110127" y="158674"/>
                  </a:lnTo>
                  <a:lnTo>
                    <a:pt x="111267" y="162095"/>
                  </a:lnTo>
                  <a:lnTo>
                    <a:pt x="106543" y="165027"/>
                  </a:lnTo>
                  <a:lnTo>
                    <a:pt x="100678" y="159162"/>
                  </a:lnTo>
                  <a:lnTo>
                    <a:pt x="97257" y="162258"/>
                  </a:lnTo>
                  <a:lnTo>
                    <a:pt x="93184" y="163235"/>
                  </a:lnTo>
                  <a:lnTo>
                    <a:pt x="95628" y="158999"/>
                  </a:lnTo>
                  <a:lnTo>
                    <a:pt x="93673" y="154601"/>
                  </a:lnTo>
                  <a:lnTo>
                    <a:pt x="90741" y="155741"/>
                  </a:lnTo>
                  <a:lnTo>
                    <a:pt x="89274" y="160954"/>
                  </a:lnTo>
                  <a:lnTo>
                    <a:pt x="86016" y="155252"/>
                  </a:lnTo>
                  <a:lnTo>
                    <a:pt x="86505" y="149225"/>
                  </a:lnTo>
                  <a:lnTo>
                    <a:pt x="86016" y="146292"/>
                  </a:lnTo>
                  <a:lnTo>
                    <a:pt x="88786" y="143034"/>
                  </a:lnTo>
                  <a:lnTo>
                    <a:pt x="94325" y="135866"/>
                  </a:lnTo>
                  <a:lnTo>
                    <a:pt x="89926" y="132608"/>
                  </a:lnTo>
                  <a:lnTo>
                    <a:pt x="84387" y="132119"/>
                  </a:lnTo>
                  <a:lnTo>
                    <a:pt x="84387" y="135215"/>
                  </a:lnTo>
                  <a:cubicBezTo>
                    <a:pt x="84387" y="135215"/>
                    <a:pt x="86994" y="138147"/>
                    <a:pt x="86994" y="138147"/>
                  </a:cubicBezTo>
                  <a:lnTo>
                    <a:pt x="84061" y="142057"/>
                  </a:lnTo>
                  <a:lnTo>
                    <a:pt x="80803" y="142057"/>
                  </a:lnTo>
                  <a:cubicBezTo>
                    <a:pt x="80803" y="142057"/>
                    <a:pt x="75753" y="135377"/>
                    <a:pt x="75753" y="135377"/>
                  </a:cubicBezTo>
                  <a:lnTo>
                    <a:pt x="75753" y="130164"/>
                  </a:lnTo>
                  <a:cubicBezTo>
                    <a:pt x="75753" y="130164"/>
                    <a:pt x="73472" y="129350"/>
                    <a:pt x="73472" y="129350"/>
                  </a:cubicBezTo>
                  <a:lnTo>
                    <a:pt x="71680" y="130816"/>
                  </a:lnTo>
                  <a:lnTo>
                    <a:pt x="69563" y="129187"/>
                  </a:lnTo>
                  <a:lnTo>
                    <a:pt x="69563" y="119901"/>
                  </a:lnTo>
                  <a:cubicBezTo>
                    <a:pt x="69563" y="119901"/>
                    <a:pt x="65490" y="112896"/>
                    <a:pt x="65490" y="112896"/>
                  </a:cubicBezTo>
                  <a:lnTo>
                    <a:pt x="63698" y="105565"/>
                  </a:lnTo>
                  <a:lnTo>
                    <a:pt x="65490" y="102144"/>
                  </a:lnTo>
                  <a:lnTo>
                    <a:pt x="64512" y="100352"/>
                  </a:lnTo>
                  <a:lnTo>
                    <a:pt x="61580" y="100352"/>
                  </a:lnTo>
                  <a:cubicBezTo>
                    <a:pt x="61580" y="100352"/>
                    <a:pt x="60277" y="94650"/>
                    <a:pt x="60277" y="94650"/>
                  </a:cubicBezTo>
                  <a:lnTo>
                    <a:pt x="61091" y="88460"/>
                  </a:lnTo>
                  <a:lnTo>
                    <a:pt x="64512" y="92695"/>
                  </a:lnTo>
                  <a:lnTo>
                    <a:pt x="68911" y="93510"/>
                  </a:lnTo>
                  <a:lnTo>
                    <a:pt x="72658" y="91555"/>
                  </a:lnTo>
                  <a:lnTo>
                    <a:pt x="72658" y="88297"/>
                  </a:lnTo>
                  <a:lnTo>
                    <a:pt x="68585" y="79825"/>
                  </a:lnTo>
                  <a:lnTo>
                    <a:pt x="71029" y="73798"/>
                  </a:lnTo>
                  <a:lnTo>
                    <a:pt x="73961" y="61091"/>
                  </a:lnTo>
                  <a:lnTo>
                    <a:pt x="73961" y="50665"/>
                  </a:lnTo>
                  <a:cubicBezTo>
                    <a:pt x="73961" y="50665"/>
                    <a:pt x="72332" y="44474"/>
                    <a:pt x="72332" y="44474"/>
                  </a:cubicBezTo>
                  <a:lnTo>
                    <a:pt x="77545" y="34211"/>
                  </a:lnTo>
                  <a:lnTo>
                    <a:pt x="78522" y="28509"/>
                  </a:lnTo>
                  <a:lnTo>
                    <a:pt x="85853" y="25902"/>
                  </a:lnTo>
                  <a:lnTo>
                    <a:pt x="95628" y="27695"/>
                  </a:lnTo>
                  <a:lnTo>
                    <a:pt x="99863" y="32419"/>
                  </a:lnTo>
                  <a:lnTo>
                    <a:pt x="103610" y="34863"/>
                  </a:lnTo>
                  <a:lnTo>
                    <a:pt x="104914" y="32256"/>
                  </a:lnTo>
                  <a:lnTo>
                    <a:pt x="112082" y="32256"/>
                  </a:lnTo>
                  <a:lnTo>
                    <a:pt x="115503" y="29324"/>
                  </a:lnTo>
                  <a:lnTo>
                    <a:pt x="115829" y="26880"/>
                  </a:lnTo>
                  <a:lnTo>
                    <a:pt x="118272" y="25902"/>
                  </a:lnTo>
                  <a:lnTo>
                    <a:pt x="121531" y="30301"/>
                  </a:lnTo>
                  <a:lnTo>
                    <a:pt x="121204" y="34048"/>
                  </a:lnTo>
                  <a:lnTo>
                    <a:pt x="118272" y="37469"/>
                  </a:lnTo>
                  <a:lnTo>
                    <a:pt x="117132" y="47407"/>
                  </a:lnTo>
                  <a:lnTo>
                    <a:pt x="121693" y="55389"/>
                  </a:lnTo>
                  <a:lnTo>
                    <a:pt x="124626" y="56529"/>
                  </a:lnTo>
                  <a:lnTo>
                    <a:pt x="126255" y="63046"/>
                  </a:lnTo>
                  <a:lnTo>
                    <a:pt x="128861" y="66141"/>
                  </a:lnTo>
                  <a:lnTo>
                    <a:pt x="126418" y="78196"/>
                  </a:lnTo>
                  <a:lnTo>
                    <a:pt x="123322" y="85527"/>
                  </a:lnTo>
                  <a:lnTo>
                    <a:pt x="124788" y="91555"/>
                  </a:lnTo>
                  <a:lnTo>
                    <a:pt x="120553" y="98397"/>
                  </a:lnTo>
                  <a:lnTo>
                    <a:pt x="120227" y="95791"/>
                  </a:lnTo>
                  <a:lnTo>
                    <a:pt x="121856" y="92044"/>
                  </a:lnTo>
                  <a:lnTo>
                    <a:pt x="118761" y="93836"/>
                  </a:lnTo>
                  <a:lnTo>
                    <a:pt x="110779" y="101330"/>
                  </a:lnTo>
                  <a:lnTo>
                    <a:pt x="108986" y="105891"/>
                  </a:lnTo>
                  <a:lnTo>
                    <a:pt x="109475" y="111593"/>
                  </a:lnTo>
                  <a:lnTo>
                    <a:pt x="106869" y="115503"/>
                  </a:lnTo>
                  <a:lnTo>
                    <a:pt x="105891" y="121693"/>
                  </a:lnTo>
                  <a:lnTo>
                    <a:pt x="108661" y="123811"/>
                  </a:lnTo>
                  <a:lnTo>
                    <a:pt x="111267" y="130490"/>
                  </a:lnTo>
                  <a:lnTo>
                    <a:pt x="114525" y="134237"/>
                  </a:lnTo>
                  <a:lnTo>
                    <a:pt x="112570" y="137169"/>
                  </a:lnTo>
                  <a:lnTo>
                    <a:pt x="112570" y="142708"/>
                  </a:lnTo>
                  <a:lnTo>
                    <a:pt x="112570" y="142708"/>
                  </a:lnTo>
                  <a:close/>
                  <a:moveTo>
                    <a:pt x="121042" y="144663"/>
                  </a:moveTo>
                  <a:lnTo>
                    <a:pt x="121856" y="148899"/>
                  </a:lnTo>
                  <a:lnTo>
                    <a:pt x="125603" y="151017"/>
                  </a:lnTo>
                  <a:lnTo>
                    <a:pt x="124626" y="147107"/>
                  </a:lnTo>
                  <a:lnTo>
                    <a:pt x="121042" y="144663"/>
                  </a:lnTo>
                  <a:lnTo>
                    <a:pt x="121042" y="144663"/>
                  </a:lnTo>
                  <a:close/>
                  <a:moveTo>
                    <a:pt x="116643" y="125277"/>
                  </a:moveTo>
                  <a:lnTo>
                    <a:pt x="119250" y="132119"/>
                  </a:lnTo>
                  <a:lnTo>
                    <a:pt x="118598" y="134400"/>
                  </a:lnTo>
                  <a:lnTo>
                    <a:pt x="119576" y="137821"/>
                  </a:lnTo>
                  <a:lnTo>
                    <a:pt x="122997" y="134563"/>
                  </a:lnTo>
                  <a:lnTo>
                    <a:pt x="123485" y="126743"/>
                  </a:lnTo>
                  <a:lnTo>
                    <a:pt x="126092" y="124137"/>
                  </a:lnTo>
                  <a:lnTo>
                    <a:pt x="122834" y="121693"/>
                  </a:lnTo>
                  <a:lnTo>
                    <a:pt x="116806" y="125114"/>
                  </a:lnTo>
                  <a:lnTo>
                    <a:pt x="116806" y="125114"/>
                  </a:lnTo>
                  <a:close/>
                  <a:moveTo>
                    <a:pt x="71354" y="157696"/>
                  </a:moveTo>
                  <a:lnTo>
                    <a:pt x="71843" y="161280"/>
                  </a:lnTo>
                  <a:lnTo>
                    <a:pt x="78197" y="164050"/>
                  </a:lnTo>
                  <a:lnTo>
                    <a:pt x="79500" y="162746"/>
                  </a:lnTo>
                  <a:lnTo>
                    <a:pt x="74776" y="157696"/>
                  </a:lnTo>
                  <a:lnTo>
                    <a:pt x="71354" y="157696"/>
                  </a:lnTo>
                  <a:close/>
                  <a:moveTo>
                    <a:pt x="80152" y="168774"/>
                  </a:moveTo>
                  <a:lnTo>
                    <a:pt x="81292" y="171217"/>
                  </a:lnTo>
                  <a:lnTo>
                    <a:pt x="84713" y="171217"/>
                  </a:lnTo>
                  <a:cubicBezTo>
                    <a:pt x="84713" y="171217"/>
                    <a:pt x="86016" y="177082"/>
                    <a:pt x="86016" y="177082"/>
                  </a:cubicBezTo>
                  <a:lnTo>
                    <a:pt x="89437" y="178385"/>
                  </a:lnTo>
                  <a:lnTo>
                    <a:pt x="92695" y="182784"/>
                  </a:lnTo>
                  <a:lnTo>
                    <a:pt x="92695" y="190767"/>
                  </a:lnTo>
                  <a:lnTo>
                    <a:pt x="96768" y="193210"/>
                  </a:lnTo>
                  <a:lnTo>
                    <a:pt x="96768" y="197772"/>
                  </a:lnTo>
                  <a:cubicBezTo>
                    <a:pt x="96768" y="197772"/>
                    <a:pt x="101981" y="203799"/>
                    <a:pt x="101981" y="203799"/>
                  </a:cubicBezTo>
                  <a:lnTo>
                    <a:pt x="106217" y="204614"/>
                  </a:lnTo>
                  <a:lnTo>
                    <a:pt x="110779" y="200704"/>
                  </a:lnTo>
                  <a:lnTo>
                    <a:pt x="110779" y="196631"/>
                  </a:lnTo>
                  <a:lnTo>
                    <a:pt x="113222" y="195002"/>
                  </a:lnTo>
                  <a:lnTo>
                    <a:pt x="113222" y="190604"/>
                  </a:lnTo>
                  <a:lnTo>
                    <a:pt x="110615" y="186694"/>
                  </a:lnTo>
                  <a:lnTo>
                    <a:pt x="112408" y="183273"/>
                  </a:lnTo>
                  <a:lnTo>
                    <a:pt x="112408" y="178711"/>
                  </a:lnTo>
                  <a:lnTo>
                    <a:pt x="107195" y="176757"/>
                  </a:lnTo>
                  <a:lnTo>
                    <a:pt x="96442" y="167308"/>
                  </a:lnTo>
                  <a:lnTo>
                    <a:pt x="90415" y="168774"/>
                  </a:lnTo>
                  <a:lnTo>
                    <a:pt x="84550" y="166493"/>
                  </a:lnTo>
                  <a:lnTo>
                    <a:pt x="79988" y="168937"/>
                  </a:lnTo>
                  <a:lnTo>
                    <a:pt x="79988" y="168937"/>
                  </a:lnTo>
                  <a:close/>
                  <a:moveTo>
                    <a:pt x="181644" y="150854"/>
                  </a:moveTo>
                  <a:lnTo>
                    <a:pt x="179200" y="152809"/>
                  </a:lnTo>
                  <a:lnTo>
                    <a:pt x="180178" y="158511"/>
                  </a:lnTo>
                  <a:lnTo>
                    <a:pt x="178711" y="162420"/>
                  </a:lnTo>
                  <a:lnTo>
                    <a:pt x="176920" y="163887"/>
                  </a:lnTo>
                  <a:lnTo>
                    <a:pt x="179200" y="166656"/>
                  </a:lnTo>
                  <a:lnTo>
                    <a:pt x="186042" y="165353"/>
                  </a:lnTo>
                  <a:lnTo>
                    <a:pt x="187834" y="159977"/>
                  </a:lnTo>
                  <a:lnTo>
                    <a:pt x="185391" y="154764"/>
                  </a:lnTo>
                  <a:lnTo>
                    <a:pt x="181644" y="150854"/>
                  </a:lnTo>
                  <a:lnTo>
                    <a:pt x="181644" y="150854"/>
                  </a:lnTo>
                  <a:close/>
                  <a:moveTo>
                    <a:pt x="119576" y="171869"/>
                  </a:moveTo>
                  <a:lnTo>
                    <a:pt x="125603" y="175942"/>
                  </a:lnTo>
                  <a:lnTo>
                    <a:pt x="126743" y="173009"/>
                  </a:lnTo>
                  <a:lnTo>
                    <a:pt x="128861" y="170403"/>
                  </a:lnTo>
                  <a:lnTo>
                    <a:pt x="126255" y="166004"/>
                  </a:lnTo>
                  <a:lnTo>
                    <a:pt x="121531" y="164212"/>
                  </a:lnTo>
                  <a:lnTo>
                    <a:pt x="118924" y="167959"/>
                  </a:lnTo>
                  <a:lnTo>
                    <a:pt x="119576" y="171706"/>
                  </a:lnTo>
                  <a:lnTo>
                    <a:pt x="119576" y="171706"/>
                  </a:lnTo>
                  <a:close/>
                  <a:moveTo>
                    <a:pt x="129676" y="191092"/>
                  </a:moveTo>
                  <a:lnTo>
                    <a:pt x="127558" y="196143"/>
                  </a:lnTo>
                  <a:lnTo>
                    <a:pt x="124463" y="200541"/>
                  </a:lnTo>
                  <a:lnTo>
                    <a:pt x="127069" y="207220"/>
                  </a:lnTo>
                  <a:lnTo>
                    <a:pt x="130165" y="206243"/>
                  </a:lnTo>
                  <a:lnTo>
                    <a:pt x="132120" y="199890"/>
                  </a:lnTo>
                  <a:lnTo>
                    <a:pt x="130327" y="195328"/>
                  </a:lnTo>
                  <a:lnTo>
                    <a:pt x="131468" y="189463"/>
                  </a:lnTo>
                  <a:lnTo>
                    <a:pt x="129513" y="191255"/>
                  </a:lnTo>
                  <a:lnTo>
                    <a:pt x="129513" y="191255"/>
                  </a:lnTo>
                  <a:close/>
                  <a:moveTo>
                    <a:pt x="141568" y="195328"/>
                  </a:moveTo>
                  <a:lnTo>
                    <a:pt x="139288" y="196957"/>
                  </a:lnTo>
                  <a:lnTo>
                    <a:pt x="139939" y="199890"/>
                  </a:lnTo>
                  <a:lnTo>
                    <a:pt x="144826" y="199564"/>
                  </a:lnTo>
                  <a:lnTo>
                    <a:pt x="145152" y="197120"/>
                  </a:lnTo>
                  <a:lnTo>
                    <a:pt x="141568" y="195328"/>
                  </a:lnTo>
                  <a:lnTo>
                    <a:pt x="141568" y="195328"/>
                  </a:lnTo>
                  <a:close/>
                  <a:moveTo>
                    <a:pt x="157533" y="182621"/>
                  </a:moveTo>
                  <a:lnTo>
                    <a:pt x="152320" y="177408"/>
                  </a:lnTo>
                  <a:lnTo>
                    <a:pt x="150365" y="177897"/>
                  </a:lnTo>
                  <a:lnTo>
                    <a:pt x="150365" y="180829"/>
                  </a:lnTo>
                  <a:cubicBezTo>
                    <a:pt x="150365" y="180829"/>
                    <a:pt x="156882" y="187997"/>
                    <a:pt x="156882" y="187997"/>
                  </a:cubicBezTo>
                  <a:lnTo>
                    <a:pt x="158022" y="185554"/>
                  </a:lnTo>
                  <a:lnTo>
                    <a:pt x="157370" y="182621"/>
                  </a:lnTo>
                  <a:lnTo>
                    <a:pt x="157370" y="182621"/>
                  </a:lnTo>
                  <a:close/>
                  <a:moveTo>
                    <a:pt x="167145" y="192396"/>
                  </a:moveTo>
                  <a:lnTo>
                    <a:pt x="168611" y="195002"/>
                  </a:lnTo>
                  <a:lnTo>
                    <a:pt x="172684" y="198912"/>
                  </a:lnTo>
                  <a:lnTo>
                    <a:pt x="174965" y="198912"/>
                  </a:lnTo>
                  <a:lnTo>
                    <a:pt x="170729" y="193536"/>
                  </a:lnTo>
                  <a:lnTo>
                    <a:pt x="167145" y="192396"/>
                  </a:lnTo>
                  <a:lnTo>
                    <a:pt x="167145" y="192396"/>
                  </a:lnTo>
                  <a:close/>
                  <a:moveTo>
                    <a:pt x="158674" y="210804"/>
                  </a:moveTo>
                  <a:lnTo>
                    <a:pt x="162909" y="204125"/>
                  </a:lnTo>
                  <a:lnTo>
                    <a:pt x="166656" y="203799"/>
                  </a:lnTo>
                  <a:lnTo>
                    <a:pt x="172033" y="210804"/>
                  </a:lnTo>
                  <a:lnTo>
                    <a:pt x="178386" y="213411"/>
                  </a:lnTo>
                  <a:lnTo>
                    <a:pt x="182458" y="212922"/>
                  </a:lnTo>
                  <a:lnTo>
                    <a:pt x="182458" y="209827"/>
                  </a:lnTo>
                  <a:lnTo>
                    <a:pt x="179363" y="205917"/>
                  </a:lnTo>
                  <a:lnTo>
                    <a:pt x="171543" y="200867"/>
                  </a:lnTo>
                  <a:lnTo>
                    <a:pt x="168122" y="200215"/>
                  </a:lnTo>
                  <a:lnTo>
                    <a:pt x="163724" y="196143"/>
                  </a:lnTo>
                  <a:lnTo>
                    <a:pt x="161932" y="196143"/>
                  </a:lnTo>
                  <a:cubicBezTo>
                    <a:pt x="161932" y="196143"/>
                    <a:pt x="162420" y="194676"/>
                    <a:pt x="162420" y="194676"/>
                  </a:cubicBezTo>
                  <a:lnTo>
                    <a:pt x="158836" y="193536"/>
                  </a:lnTo>
                  <a:lnTo>
                    <a:pt x="158836" y="199075"/>
                  </a:lnTo>
                  <a:cubicBezTo>
                    <a:pt x="158836" y="199075"/>
                    <a:pt x="159977" y="203148"/>
                    <a:pt x="159977" y="203148"/>
                  </a:cubicBezTo>
                  <a:lnTo>
                    <a:pt x="157696" y="205103"/>
                  </a:lnTo>
                  <a:lnTo>
                    <a:pt x="157696" y="208035"/>
                  </a:lnTo>
                  <a:cubicBezTo>
                    <a:pt x="157696" y="208035"/>
                    <a:pt x="158674" y="210967"/>
                    <a:pt x="158674" y="210967"/>
                  </a:cubicBezTo>
                  <a:lnTo>
                    <a:pt x="158674" y="210967"/>
                  </a:lnTo>
                  <a:close/>
                  <a:moveTo>
                    <a:pt x="133749" y="247948"/>
                  </a:moveTo>
                  <a:lnTo>
                    <a:pt x="132120" y="250066"/>
                  </a:lnTo>
                  <a:lnTo>
                    <a:pt x="129839" y="251043"/>
                  </a:lnTo>
                  <a:lnTo>
                    <a:pt x="127884" y="242409"/>
                  </a:lnTo>
                  <a:lnTo>
                    <a:pt x="129676" y="236381"/>
                  </a:lnTo>
                  <a:lnTo>
                    <a:pt x="129676" y="227584"/>
                  </a:lnTo>
                  <a:cubicBezTo>
                    <a:pt x="129676" y="227584"/>
                    <a:pt x="130653" y="222860"/>
                    <a:pt x="130653" y="222860"/>
                  </a:cubicBezTo>
                  <a:lnTo>
                    <a:pt x="130653" y="217973"/>
                  </a:lnTo>
                  <a:cubicBezTo>
                    <a:pt x="130653" y="217973"/>
                    <a:pt x="128210" y="217321"/>
                    <a:pt x="128210" y="217321"/>
                  </a:cubicBezTo>
                  <a:lnTo>
                    <a:pt x="122997" y="215366"/>
                  </a:lnTo>
                  <a:lnTo>
                    <a:pt x="123974" y="212271"/>
                  </a:lnTo>
                  <a:lnTo>
                    <a:pt x="129187" y="210967"/>
                  </a:lnTo>
                  <a:lnTo>
                    <a:pt x="134074" y="215855"/>
                  </a:lnTo>
                  <a:lnTo>
                    <a:pt x="137822" y="217484"/>
                  </a:lnTo>
                  <a:lnTo>
                    <a:pt x="136844" y="219439"/>
                  </a:lnTo>
                  <a:lnTo>
                    <a:pt x="139613" y="219765"/>
                  </a:lnTo>
                  <a:lnTo>
                    <a:pt x="144990" y="219439"/>
                  </a:lnTo>
                  <a:lnTo>
                    <a:pt x="148574" y="220416"/>
                  </a:lnTo>
                  <a:lnTo>
                    <a:pt x="151669" y="225141"/>
                  </a:lnTo>
                  <a:lnTo>
                    <a:pt x="154927" y="221068"/>
                  </a:lnTo>
                  <a:lnTo>
                    <a:pt x="158022" y="219113"/>
                  </a:lnTo>
                  <a:lnTo>
                    <a:pt x="160303" y="222860"/>
                  </a:lnTo>
                  <a:lnTo>
                    <a:pt x="159488" y="227258"/>
                  </a:lnTo>
                  <a:lnTo>
                    <a:pt x="156719" y="229376"/>
                  </a:lnTo>
                  <a:lnTo>
                    <a:pt x="154275" y="234752"/>
                  </a:lnTo>
                  <a:lnTo>
                    <a:pt x="148247" y="239802"/>
                  </a:lnTo>
                  <a:lnTo>
                    <a:pt x="146293" y="243223"/>
                  </a:lnTo>
                  <a:lnTo>
                    <a:pt x="143523" y="243223"/>
                  </a:lnTo>
                  <a:lnTo>
                    <a:pt x="142872" y="244852"/>
                  </a:lnTo>
                  <a:lnTo>
                    <a:pt x="139613" y="244852"/>
                  </a:lnTo>
                  <a:cubicBezTo>
                    <a:pt x="139613" y="244852"/>
                    <a:pt x="133911" y="248274"/>
                    <a:pt x="133911" y="248274"/>
                  </a:cubicBezTo>
                  <a:lnTo>
                    <a:pt x="133911" y="248274"/>
                  </a:lnTo>
                  <a:close/>
                  <a:moveTo>
                    <a:pt x="146456" y="244527"/>
                  </a:moveTo>
                  <a:lnTo>
                    <a:pt x="142220" y="245830"/>
                  </a:lnTo>
                  <a:lnTo>
                    <a:pt x="140591" y="250880"/>
                  </a:lnTo>
                  <a:lnTo>
                    <a:pt x="143523" y="253487"/>
                  </a:lnTo>
                  <a:lnTo>
                    <a:pt x="147922" y="248925"/>
                  </a:lnTo>
                  <a:lnTo>
                    <a:pt x="148247" y="245667"/>
                  </a:lnTo>
                  <a:lnTo>
                    <a:pt x="146456" y="244527"/>
                  </a:lnTo>
                  <a:lnTo>
                    <a:pt x="146456" y="244527"/>
                  </a:lnTo>
                  <a:close/>
                  <a:moveTo>
                    <a:pt x="189790" y="243386"/>
                  </a:moveTo>
                  <a:lnTo>
                    <a:pt x="189790" y="248436"/>
                  </a:lnTo>
                  <a:cubicBezTo>
                    <a:pt x="189790" y="248436"/>
                    <a:pt x="187834" y="245830"/>
                    <a:pt x="187834" y="245830"/>
                  </a:cubicBezTo>
                  <a:lnTo>
                    <a:pt x="189790" y="243386"/>
                  </a:lnTo>
                  <a:lnTo>
                    <a:pt x="189790" y="243386"/>
                  </a:lnTo>
                  <a:close/>
                  <a:moveTo>
                    <a:pt x="167308" y="277434"/>
                  </a:moveTo>
                  <a:lnTo>
                    <a:pt x="171218" y="273036"/>
                  </a:lnTo>
                  <a:lnTo>
                    <a:pt x="173010" y="262121"/>
                  </a:lnTo>
                  <a:lnTo>
                    <a:pt x="180015" y="254138"/>
                  </a:lnTo>
                  <a:lnTo>
                    <a:pt x="181318" y="249088"/>
                  </a:lnTo>
                  <a:lnTo>
                    <a:pt x="180667" y="244527"/>
                  </a:lnTo>
                  <a:lnTo>
                    <a:pt x="182458" y="241431"/>
                  </a:lnTo>
                  <a:lnTo>
                    <a:pt x="182458" y="231657"/>
                  </a:lnTo>
                  <a:cubicBezTo>
                    <a:pt x="182458" y="231657"/>
                    <a:pt x="179526" y="232797"/>
                    <a:pt x="179526" y="232797"/>
                  </a:cubicBezTo>
                  <a:lnTo>
                    <a:pt x="177897" y="242083"/>
                  </a:lnTo>
                  <a:lnTo>
                    <a:pt x="173173" y="249740"/>
                  </a:lnTo>
                  <a:lnTo>
                    <a:pt x="172684" y="255604"/>
                  </a:lnTo>
                  <a:lnTo>
                    <a:pt x="170403" y="262935"/>
                  </a:lnTo>
                  <a:lnTo>
                    <a:pt x="166493" y="267660"/>
                  </a:lnTo>
                  <a:lnTo>
                    <a:pt x="166493" y="273036"/>
                  </a:lnTo>
                  <a:cubicBezTo>
                    <a:pt x="166493" y="273036"/>
                    <a:pt x="167471" y="277271"/>
                    <a:pt x="167471" y="277271"/>
                  </a:cubicBezTo>
                  <a:lnTo>
                    <a:pt x="167471" y="277271"/>
                  </a:lnTo>
                  <a:close/>
                  <a:moveTo>
                    <a:pt x="161932" y="275154"/>
                  </a:moveTo>
                  <a:lnTo>
                    <a:pt x="161280" y="265216"/>
                  </a:lnTo>
                  <a:lnTo>
                    <a:pt x="164376" y="250717"/>
                  </a:lnTo>
                  <a:lnTo>
                    <a:pt x="168937" y="245993"/>
                  </a:lnTo>
                  <a:lnTo>
                    <a:pt x="168937" y="241757"/>
                  </a:lnTo>
                  <a:cubicBezTo>
                    <a:pt x="168937" y="241757"/>
                    <a:pt x="165190" y="238825"/>
                    <a:pt x="165190" y="238825"/>
                  </a:cubicBezTo>
                  <a:lnTo>
                    <a:pt x="162747" y="240291"/>
                  </a:lnTo>
                  <a:lnTo>
                    <a:pt x="159488" y="238662"/>
                  </a:lnTo>
                  <a:lnTo>
                    <a:pt x="155415" y="241431"/>
                  </a:lnTo>
                  <a:lnTo>
                    <a:pt x="155415" y="246156"/>
                  </a:lnTo>
                  <a:lnTo>
                    <a:pt x="152483" y="250717"/>
                  </a:lnTo>
                  <a:lnTo>
                    <a:pt x="153461" y="257559"/>
                  </a:lnTo>
                  <a:lnTo>
                    <a:pt x="150691" y="263424"/>
                  </a:lnTo>
                  <a:lnTo>
                    <a:pt x="142546" y="265379"/>
                  </a:lnTo>
                  <a:lnTo>
                    <a:pt x="140265" y="268474"/>
                  </a:lnTo>
                  <a:lnTo>
                    <a:pt x="141731" y="276457"/>
                  </a:lnTo>
                  <a:lnTo>
                    <a:pt x="145152" y="276946"/>
                  </a:lnTo>
                  <a:lnTo>
                    <a:pt x="151017" y="280692"/>
                  </a:lnTo>
                  <a:lnTo>
                    <a:pt x="156230" y="281018"/>
                  </a:lnTo>
                  <a:lnTo>
                    <a:pt x="156230" y="286883"/>
                  </a:lnTo>
                  <a:cubicBezTo>
                    <a:pt x="156230" y="286883"/>
                    <a:pt x="160303" y="288838"/>
                    <a:pt x="160303" y="288838"/>
                  </a:cubicBezTo>
                  <a:lnTo>
                    <a:pt x="164864" y="286068"/>
                  </a:lnTo>
                  <a:lnTo>
                    <a:pt x="164864" y="281507"/>
                  </a:lnTo>
                  <a:cubicBezTo>
                    <a:pt x="164864" y="281507"/>
                    <a:pt x="161769" y="274991"/>
                    <a:pt x="161769" y="274991"/>
                  </a:cubicBezTo>
                  <a:lnTo>
                    <a:pt x="161769" y="274991"/>
                  </a:lnTo>
                  <a:close/>
                  <a:moveTo>
                    <a:pt x="174802" y="283299"/>
                  </a:moveTo>
                  <a:lnTo>
                    <a:pt x="176431" y="284602"/>
                  </a:lnTo>
                  <a:lnTo>
                    <a:pt x="175942" y="287535"/>
                  </a:lnTo>
                  <a:lnTo>
                    <a:pt x="171869" y="289164"/>
                  </a:lnTo>
                  <a:lnTo>
                    <a:pt x="168611" y="286720"/>
                  </a:lnTo>
                  <a:lnTo>
                    <a:pt x="170077" y="283788"/>
                  </a:lnTo>
                  <a:lnTo>
                    <a:pt x="174802" y="283299"/>
                  </a:lnTo>
                  <a:lnTo>
                    <a:pt x="174802" y="283299"/>
                  </a:lnTo>
                  <a:close/>
                  <a:moveTo>
                    <a:pt x="190441" y="259677"/>
                  </a:moveTo>
                  <a:lnTo>
                    <a:pt x="193374" y="259677"/>
                  </a:lnTo>
                  <a:cubicBezTo>
                    <a:pt x="193374" y="259677"/>
                    <a:pt x="196143" y="262121"/>
                    <a:pt x="196143" y="262121"/>
                  </a:cubicBezTo>
                  <a:lnTo>
                    <a:pt x="196631" y="267497"/>
                  </a:lnTo>
                  <a:lnTo>
                    <a:pt x="194677" y="270918"/>
                  </a:lnTo>
                  <a:lnTo>
                    <a:pt x="187020" y="274339"/>
                  </a:lnTo>
                  <a:lnTo>
                    <a:pt x="180667" y="274665"/>
                  </a:lnTo>
                  <a:lnTo>
                    <a:pt x="181155" y="272221"/>
                  </a:lnTo>
                  <a:lnTo>
                    <a:pt x="178711" y="268800"/>
                  </a:lnTo>
                  <a:lnTo>
                    <a:pt x="181807" y="264727"/>
                  </a:lnTo>
                  <a:lnTo>
                    <a:pt x="190604" y="259514"/>
                  </a:lnTo>
                  <a:lnTo>
                    <a:pt x="190604" y="259514"/>
                  </a:lnTo>
                  <a:close/>
                  <a:moveTo>
                    <a:pt x="213900" y="260492"/>
                  </a:moveTo>
                  <a:lnTo>
                    <a:pt x="216343" y="265053"/>
                  </a:lnTo>
                  <a:lnTo>
                    <a:pt x="216343" y="268963"/>
                  </a:lnTo>
                  <a:cubicBezTo>
                    <a:pt x="216343" y="268963"/>
                    <a:pt x="212922" y="264890"/>
                    <a:pt x="212922" y="264890"/>
                  </a:cubicBezTo>
                  <a:lnTo>
                    <a:pt x="213900" y="260492"/>
                  </a:lnTo>
                  <a:lnTo>
                    <a:pt x="213900" y="260492"/>
                  </a:lnTo>
                  <a:close/>
                  <a:moveTo>
                    <a:pt x="199401" y="280855"/>
                  </a:moveTo>
                  <a:lnTo>
                    <a:pt x="203963" y="284602"/>
                  </a:lnTo>
                  <a:lnTo>
                    <a:pt x="203148" y="289001"/>
                  </a:lnTo>
                  <a:lnTo>
                    <a:pt x="199401" y="286557"/>
                  </a:lnTo>
                  <a:lnTo>
                    <a:pt x="198424" y="283462"/>
                  </a:lnTo>
                  <a:lnTo>
                    <a:pt x="199401" y="280855"/>
                  </a:lnTo>
                  <a:lnTo>
                    <a:pt x="199401" y="280855"/>
                  </a:lnTo>
                  <a:close/>
                  <a:moveTo>
                    <a:pt x="195980" y="219601"/>
                  </a:moveTo>
                  <a:lnTo>
                    <a:pt x="195002" y="224489"/>
                  </a:lnTo>
                  <a:lnTo>
                    <a:pt x="191093" y="224977"/>
                  </a:lnTo>
                  <a:lnTo>
                    <a:pt x="187346" y="222534"/>
                  </a:lnTo>
                  <a:lnTo>
                    <a:pt x="189952" y="220579"/>
                  </a:lnTo>
                  <a:lnTo>
                    <a:pt x="195980" y="219765"/>
                  </a:lnTo>
                  <a:lnTo>
                    <a:pt x="195980" y="219765"/>
                  </a:lnTo>
                  <a:close/>
                  <a:moveTo>
                    <a:pt x="206732" y="226933"/>
                  </a:moveTo>
                  <a:lnTo>
                    <a:pt x="210968" y="229539"/>
                  </a:lnTo>
                  <a:lnTo>
                    <a:pt x="212434" y="233123"/>
                  </a:lnTo>
                  <a:lnTo>
                    <a:pt x="219927" y="233612"/>
                  </a:lnTo>
                  <a:lnTo>
                    <a:pt x="221394" y="234263"/>
                  </a:lnTo>
                  <a:lnTo>
                    <a:pt x="222534" y="232960"/>
                  </a:lnTo>
                  <a:lnTo>
                    <a:pt x="225141" y="234100"/>
                  </a:lnTo>
                  <a:lnTo>
                    <a:pt x="222697" y="231005"/>
                  </a:lnTo>
                  <a:lnTo>
                    <a:pt x="221068" y="226444"/>
                  </a:lnTo>
                  <a:lnTo>
                    <a:pt x="218299" y="224000"/>
                  </a:lnTo>
                  <a:lnTo>
                    <a:pt x="218624" y="216669"/>
                  </a:lnTo>
                  <a:lnTo>
                    <a:pt x="217647" y="207546"/>
                  </a:lnTo>
                  <a:lnTo>
                    <a:pt x="218136" y="204777"/>
                  </a:lnTo>
                  <a:lnTo>
                    <a:pt x="216018" y="203148"/>
                  </a:lnTo>
                  <a:lnTo>
                    <a:pt x="211782" y="197283"/>
                  </a:lnTo>
                  <a:lnTo>
                    <a:pt x="209176" y="192559"/>
                  </a:lnTo>
                  <a:lnTo>
                    <a:pt x="206080" y="192233"/>
                  </a:lnTo>
                  <a:lnTo>
                    <a:pt x="204451" y="193047"/>
                  </a:lnTo>
                  <a:lnTo>
                    <a:pt x="202008" y="191907"/>
                  </a:lnTo>
                  <a:lnTo>
                    <a:pt x="199401" y="192396"/>
                  </a:lnTo>
                  <a:lnTo>
                    <a:pt x="197609" y="194188"/>
                  </a:lnTo>
                  <a:lnTo>
                    <a:pt x="192559" y="194188"/>
                  </a:lnTo>
                  <a:cubicBezTo>
                    <a:pt x="192559" y="194188"/>
                    <a:pt x="188486" y="194188"/>
                    <a:pt x="188486" y="194188"/>
                  </a:cubicBezTo>
                  <a:lnTo>
                    <a:pt x="186368" y="193210"/>
                  </a:lnTo>
                  <a:lnTo>
                    <a:pt x="186368" y="196631"/>
                  </a:lnTo>
                  <a:cubicBezTo>
                    <a:pt x="186368" y="196631"/>
                    <a:pt x="190278" y="204777"/>
                    <a:pt x="190278" y="204777"/>
                  </a:cubicBezTo>
                  <a:lnTo>
                    <a:pt x="196795" y="209990"/>
                  </a:lnTo>
                  <a:lnTo>
                    <a:pt x="202659" y="216832"/>
                  </a:lnTo>
                  <a:lnTo>
                    <a:pt x="205266" y="218461"/>
                  </a:lnTo>
                  <a:lnTo>
                    <a:pt x="204451" y="220742"/>
                  </a:lnTo>
                  <a:lnTo>
                    <a:pt x="202008" y="223837"/>
                  </a:lnTo>
                  <a:lnTo>
                    <a:pt x="201356" y="224977"/>
                  </a:lnTo>
                  <a:lnTo>
                    <a:pt x="203800" y="224000"/>
                  </a:lnTo>
                  <a:lnTo>
                    <a:pt x="204777" y="225466"/>
                  </a:lnTo>
                  <a:lnTo>
                    <a:pt x="206569" y="226770"/>
                  </a:lnTo>
                  <a:lnTo>
                    <a:pt x="206569" y="226770"/>
                  </a:lnTo>
                  <a:close/>
                  <a:moveTo>
                    <a:pt x="202333" y="227584"/>
                  </a:moveTo>
                  <a:lnTo>
                    <a:pt x="197120" y="229376"/>
                  </a:lnTo>
                  <a:lnTo>
                    <a:pt x="192559" y="227421"/>
                  </a:lnTo>
                  <a:lnTo>
                    <a:pt x="189138" y="227421"/>
                  </a:lnTo>
                  <a:cubicBezTo>
                    <a:pt x="189138" y="227421"/>
                    <a:pt x="191093" y="232471"/>
                    <a:pt x="191093" y="232471"/>
                  </a:cubicBezTo>
                  <a:lnTo>
                    <a:pt x="191093" y="237684"/>
                  </a:lnTo>
                  <a:cubicBezTo>
                    <a:pt x="191093" y="237684"/>
                    <a:pt x="194351" y="240780"/>
                    <a:pt x="194351" y="240780"/>
                  </a:cubicBezTo>
                  <a:lnTo>
                    <a:pt x="196795" y="238173"/>
                  </a:lnTo>
                  <a:lnTo>
                    <a:pt x="199727" y="240943"/>
                  </a:lnTo>
                  <a:lnTo>
                    <a:pt x="199401" y="247622"/>
                  </a:lnTo>
                  <a:lnTo>
                    <a:pt x="201845" y="252183"/>
                  </a:lnTo>
                  <a:lnTo>
                    <a:pt x="202659" y="259677"/>
                  </a:lnTo>
                  <a:lnTo>
                    <a:pt x="206895" y="262609"/>
                  </a:lnTo>
                  <a:lnTo>
                    <a:pt x="207384" y="255442"/>
                  </a:lnTo>
                  <a:lnTo>
                    <a:pt x="210153" y="259189"/>
                  </a:lnTo>
                  <a:lnTo>
                    <a:pt x="214552" y="258048"/>
                  </a:lnTo>
                  <a:lnTo>
                    <a:pt x="215040" y="254138"/>
                  </a:lnTo>
                  <a:lnTo>
                    <a:pt x="210479" y="246482"/>
                  </a:lnTo>
                  <a:lnTo>
                    <a:pt x="207058" y="244038"/>
                  </a:lnTo>
                  <a:lnTo>
                    <a:pt x="206243" y="236218"/>
                  </a:lnTo>
                  <a:lnTo>
                    <a:pt x="203311" y="229865"/>
                  </a:lnTo>
                  <a:lnTo>
                    <a:pt x="202333" y="227747"/>
                  </a:lnTo>
                  <a:lnTo>
                    <a:pt x="202333" y="227747"/>
                  </a:lnTo>
                  <a:close/>
                  <a:moveTo>
                    <a:pt x="227422" y="240291"/>
                  </a:moveTo>
                  <a:lnTo>
                    <a:pt x="229702" y="239639"/>
                  </a:lnTo>
                  <a:lnTo>
                    <a:pt x="228236" y="238010"/>
                  </a:lnTo>
                  <a:lnTo>
                    <a:pt x="226281" y="238336"/>
                  </a:lnTo>
                  <a:lnTo>
                    <a:pt x="227422" y="240291"/>
                  </a:lnTo>
                  <a:lnTo>
                    <a:pt x="227422" y="240291"/>
                  </a:lnTo>
                  <a:close/>
                  <a:moveTo>
                    <a:pt x="228236" y="245015"/>
                  </a:moveTo>
                  <a:lnTo>
                    <a:pt x="225141" y="243060"/>
                  </a:lnTo>
                  <a:lnTo>
                    <a:pt x="225141" y="245993"/>
                  </a:lnTo>
                  <a:cubicBezTo>
                    <a:pt x="225141" y="245993"/>
                    <a:pt x="227095" y="247133"/>
                    <a:pt x="227095" y="247133"/>
                  </a:cubicBezTo>
                  <a:lnTo>
                    <a:pt x="228236" y="245015"/>
                  </a:lnTo>
                  <a:lnTo>
                    <a:pt x="228236" y="245015"/>
                  </a:lnTo>
                  <a:close/>
                  <a:moveTo>
                    <a:pt x="227258" y="269941"/>
                  </a:moveTo>
                  <a:lnTo>
                    <a:pt x="228399" y="264076"/>
                  </a:lnTo>
                  <a:lnTo>
                    <a:pt x="224978" y="259840"/>
                  </a:lnTo>
                  <a:lnTo>
                    <a:pt x="224978" y="255116"/>
                  </a:lnTo>
                  <a:cubicBezTo>
                    <a:pt x="224978" y="255116"/>
                    <a:pt x="226770" y="253975"/>
                    <a:pt x="226770" y="253975"/>
                  </a:cubicBezTo>
                  <a:lnTo>
                    <a:pt x="225467" y="251043"/>
                  </a:lnTo>
                  <a:lnTo>
                    <a:pt x="223023" y="252183"/>
                  </a:lnTo>
                  <a:lnTo>
                    <a:pt x="222045" y="257722"/>
                  </a:lnTo>
                  <a:lnTo>
                    <a:pt x="224978" y="264076"/>
                  </a:lnTo>
                  <a:lnTo>
                    <a:pt x="224163" y="267171"/>
                  </a:lnTo>
                  <a:lnTo>
                    <a:pt x="225304" y="269615"/>
                  </a:lnTo>
                  <a:lnTo>
                    <a:pt x="227258" y="269941"/>
                  </a:lnTo>
                  <a:lnTo>
                    <a:pt x="227258" y="269941"/>
                  </a:lnTo>
                  <a:close/>
                  <a:moveTo>
                    <a:pt x="232960" y="271570"/>
                  </a:moveTo>
                  <a:lnTo>
                    <a:pt x="232309" y="274339"/>
                  </a:lnTo>
                  <a:lnTo>
                    <a:pt x="234590" y="276783"/>
                  </a:lnTo>
                  <a:lnTo>
                    <a:pt x="235567" y="273687"/>
                  </a:lnTo>
                  <a:lnTo>
                    <a:pt x="233123" y="271570"/>
                  </a:lnTo>
                  <a:lnTo>
                    <a:pt x="233123" y="271570"/>
                  </a:lnTo>
                  <a:close/>
                  <a:moveTo>
                    <a:pt x="236544" y="260166"/>
                  </a:moveTo>
                  <a:lnTo>
                    <a:pt x="235567" y="265705"/>
                  </a:lnTo>
                  <a:lnTo>
                    <a:pt x="234752" y="267660"/>
                  </a:lnTo>
                  <a:lnTo>
                    <a:pt x="237196" y="270918"/>
                  </a:lnTo>
                  <a:lnTo>
                    <a:pt x="240780" y="269615"/>
                  </a:lnTo>
                  <a:lnTo>
                    <a:pt x="238988" y="264727"/>
                  </a:lnTo>
                  <a:lnTo>
                    <a:pt x="236544" y="260003"/>
                  </a:lnTo>
                  <a:lnTo>
                    <a:pt x="236544" y="260003"/>
                  </a:lnTo>
                  <a:close/>
                  <a:moveTo>
                    <a:pt x="136844" y="349766"/>
                  </a:moveTo>
                  <a:lnTo>
                    <a:pt x="131468" y="344064"/>
                  </a:lnTo>
                  <a:lnTo>
                    <a:pt x="134889" y="336896"/>
                  </a:lnTo>
                  <a:lnTo>
                    <a:pt x="136355" y="329565"/>
                  </a:lnTo>
                  <a:lnTo>
                    <a:pt x="134726" y="325818"/>
                  </a:lnTo>
                  <a:lnTo>
                    <a:pt x="139288" y="320279"/>
                  </a:lnTo>
                  <a:lnTo>
                    <a:pt x="144338" y="318976"/>
                  </a:lnTo>
                  <a:lnTo>
                    <a:pt x="148085" y="315229"/>
                  </a:lnTo>
                  <a:lnTo>
                    <a:pt x="152809" y="316695"/>
                  </a:lnTo>
                  <a:lnTo>
                    <a:pt x="159977" y="315229"/>
                  </a:lnTo>
                  <a:lnTo>
                    <a:pt x="157859" y="310994"/>
                  </a:lnTo>
                  <a:lnTo>
                    <a:pt x="160303" y="306432"/>
                  </a:lnTo>
                  <a:lnTo>
                    <a:pt x="166168" y="303825"/>
                  </a:lnTo>
                  <a:lnTo>
                    <a:pt x="169100" y="299427"/>
                  </a:lnTo>
                  <a:lnTo>
                    <a:pt x="173173" y="299101"/>
                  </a:lnTo>
                  <a:lnTo>
                    <a:pt x="180015" y="304803"/>
                  </a:lnTo>
                  <a:lnTo>
                    <a:pt x="180341" y="313274"/>
                  </a:lnTo>
                  <a:lnTo>
                    <a:pt x="174965" y="321420"/>
                  </a:lnTo>
                  <a:lnTo>
                    <a:pt x="179526" y="316858"/>
                  </a:lnTo>
                  <a:lnTo>
                    <a:pt x="184413" y="315718"/>
                  </a:lnTo>
                  <a:lnTo>
                    <a:pt x="190278" y="312623"/>
                  </a:lnTo>
                  <a:lnTo>
                    <a:pt x="193047" y="303989"/>
                  </a:lnTo>
                  <a:lnTo>
                    <a:pt x="198424" y="301708"/>
                  </a:lnTo>
                  <a:lnTo>
                    <a:pt x="201030" y="307409"/>
                  </a:lnTo>
                  <a:lnTo>
                    <a:pt x="204125" y="305943"/>
                  </a:lnTo>
                  <a:lnTo>
                    <a:pt x="204614" y="301871"/>
                  </a:lnTo>
                  <a:lnTo>
                    <a:pt x="202659" y="300405"/>
                  </a:lnTo>
                  <a:lnTo>
                    <a:pt x="205266" y="290467"/>
                  </a:lnTo>
                  <a:lnTo>
                    <a:pt x="210804" y="292748"/>
                  </a:lnTo>
                  <a:lnTo>
                    <a:pt x="213900" y="295191"/>
                  </a:lnTo>
                  <a:lnTo>
                    <a:pt x="215203" y="292748"/>
                  </a:lnTo>
                  <a:lnTo>
                    <a:pt x="215203" y="286068"/>
                  </a:lnTo>
                  <a:lnTo>
                    <a:pt x="216995" y="285743"/>
                  </a:lnTo>
                  <a:lnTo>
                    <a:pt x="220905" y="289978"/>
                  </a:lnTo>
                  <a:lnTo>
                    <a:pt x="220905" y="286068"/>
                  </a:lnTo>
                  <a:cubicBezTo>
                    <a:pt x="220905" y="286068"/>
                    <a:pt x="218950" y="276131"/>
                    <a:pt x="218950" y="276131"/>
                  </a:cubicBezTo>
                  <a:lnTo>
                    <a:pt x="218950" y="270429"/>
                  </a:lnTo>
                  <a:cubicBezTo>
                    <a:pt x="218950" y="270429"/>
                    <a:pt x="223186" y="271407"/>
                    <a:pt x="223186" y="271407"/>
                  </a:cubicBezTo>
                  <a:lnTo>
                    <a:pt x="224815" y="271081"/>
                  </a:lnTo>
                  <a:lnTo>
                    <a:pt x="225955" y="275316"/>
                  </a:lnTo>
                  <a:lnTo>
                    <a:pt x="232960" y="281018"/>
                  </a:lnTo>
                  <a:lnTo>
                    <a:pt x="237847" y="286068"/>
                  </a:lnTo>
                  <a:lnTo>
                    <a:pt x="241106" y="283136"/>
                  </a:lnTo>
                  <a:lnTo>
                    <a:pt x="241106" y="287046"/>
                  </a:lnTo>
                  <a:cubicBezTo>
                    <a:pt x="241106" y="287046"/>
                    <a:pt x="244527" y="292585"/>
                    <a:pt x="244527" y="292585"/>
                  </a:cubicBezTo>
                  <a:lnTo>
                    <a:pt x="244527" y="299101"/>
                  </a:lnTo>
                  <a:lnTo>
                    <a:pt x="241106" y="298613"/>
                  </a:lnTo>
                  <a:lnTo>
                    <a:pt x="240454" y="301382"/>
                  </a:lnTo>
                  <a:lnTo>
                    <a:pt x="243386" y="305129"/>
                  </a:lnTo>
                  <a:lnTo>
                    <a:pt x="245342" y="305129"/>
                  </a:lnTo>
                  <a:cubicBezTo>
                    <a:pt x="245342" y="305129"/>
                    <a:pt x="245016" y="308387"/>
                    <a:pt x="245016" y="308387"/>
                  </a:cubicBezTo>
                  <a:lnTo>
                    <a:pt x="245016" y="314415"/>
                  </a:lnTo>
                  <a:cubicBezTo>
                    <a:pt x="245016" y="314415"/>
                    <a:pt x="246970" y="311482"/>
                    <a:pt x="246970" y="311482"/>
                  </a:cubicBezTo>
                  <a:lnTo>
                    <a:pt x="247622" y="317347"/>
                  </a:lnTo>
                  <a:lnTo>
                    <a:pt x="247622" y="323049"/>
                  </a:lnTo>
                  <a:lnTo>
                    <a:pt x="250392" y="327284"/>
                  </a:lnTo>
                  <a:lnTo>
                    <a:pt x="253324" y="332172"/>
                  </a:lnTo>
                  <a:lnTo>
                    <a:pt x="254301" y="340480"/>
                  </a:lnTo>
                  <a:lnTo>
                    <a:pt x="251695" y="347322"/>
                  </a:lnTo>
                  <a:lnTo>
                    <a:pt x="249577" y="347322"/>
                  </a:lnTo>
                  <a:cubicBezTo>
                    <a:pt x="249577" y="347322"/>
                    <a:pt x="249577" y="350255"/>
                    <a:pt x="249577" y="350255"/>
                  </a:cubicBezTo>
                  <a:lnTo>
                    <a:pt x="247785" y="346997"/>
                  </a:lnTo>
                  <a:lnTo>
                    <a:pt x="244852" y="347485"/>
                  </a:lnTo>
                  <a:lnTo>
                    <a:pt x="243875" y="350581"/>
                  </a:lnTo>
                  <a:lnTo>
                    <a:pt x="245667" y="358074"/>
                  </a:lnTo>
                  <a:lnTo>
                    <a:pt x="245179" y="363776"/>
                  </a:lnTo>
                  <a:lnTo>
                    <a:pt x="245179" y="367360"/>
                  </a:lnTo>
                  <a:cubicBezTo>
                    <a:pt x="245179" y="367360"/>
                    <a:pt x="243224" y="363776"/>
                    <a:pt x="243224" y="363776"/>
                  </a:cubicBezTo>
                  <a:lnTo>
                    <a:pt x="240943" y="355957"/>
                  </a:lnTo>
                  <a:lnTo>
                    <a:pt x="240943" y="351395"/>
                  </a:lnTo>
                  <a:cubicBezTo>
                    <a:pt x="240943" y="351395"/>
                    <a:pt x="238662" y="347485"/>
                    <a:pt x="238662" y="347485"/>
                  </a:cubicBezTo>
                  <a:lnTo>
                    <a:pt x="237522" y="342435"/>
                  </a:lnTo>
                  <a:lnTo>
                    <a:pt x="233938" y="337385"/>
                  </a:lnTo>
                  <a:lnTo>
                    <a:pt x="230517" y="339340"/>
                  </a:lnTo>
                  <a:lnTo>
                    <a:pt x="224163" y="350255"/>
                  </a:lnTo>
                  <a:lnTo>
                    <a:pt x="223186" y="354327"/>
                  </a:lnTo>
                  <a:lnTo>
                    <a:pt x="227584" y="357586"/>
                  </a:lnTo>
                  <a:lnTo>
                    <a:pt x="230354" y="364265"/>
                  </a:lnTo>
                  <a:lnTo>
                    <a:pt x="232634" y="367523"/>
                  </a:lnTo>
                  <a:lnTo>
                    <a:pt x="232309" y="372736"/>
                  </a:lnTo>
                  <a:lnTo>
                    <a:pt x="225304" y="381859"/>
                  </a:lnTo>
                  <a:lnTo>
                    <a:pt x="221720" y="384466"/>
                  </a:lnTo>
                  <a:lnTo>
                    <a:pt x="220090" y="382511"/>
                  </a:lnTo>
                  <a:lnTo>
                    <a:pt x="218461" y="377786"/>
                  </a:lnTo>
                  <a:lnTo>
                    <a:pt x="220253" y="374854"/>
                  </a:lnTo>
                  <a:lnTo>
                    <a:pt x="218624" y="372736"/>
                  </a:lnTo>
                  <a:lnTo>
                    <a:pt x="216018" y="374691"/>
                  </a:lnTo>
                  <a:lnTo>
                    <a:pt x="215366" y="377460"/>
                  </a:lnTo>
                  <a:lnTo>
                    <a:pt x="211293" y="379904"/>
                  </a:lnTo>
                  <a:lnTo>
                    <a:pt x="206080" y="377624"/>
                  </a:lnTo>
                  <a:lnTo>
                    <a:pt x="201682" y="373551"/>
                  </a:lnTo>
                  <a:lnTo>
                    <a:pt x="195980" y="373551"/>
                  </a:lnTo>
                  <a:lnTo>
                    <a:pt x="191256" y="368012"/>
                  </a:lnTo>
                  <a:lnTo>
                    <a:pt x="190441" y="363776"/>
                  </a:lnTo>
                  <a:lnTo>
                    <a:pt x="186857" y="359052"/>
                  </a:lnTo>
                  <a:lnTo>
                    <a:pt x="187997" y="355794"/>
                  </a:lnTo>
                  <a:lnTo>
                    <a:pt x="187509" y="351884"/>
                  </a:lnTo>
                  <a:lnTo>
                    <a:pt x="185065" y="348951"/>
                  </a:lnTo>
                  <a:lnTo>
                    <a:pt x="187346" y="346019"/>
                  </a:lnTo>
                  <a:lnTo>
                    <a:pt x="187020" y="343413"/>
                  </a:lnTo>
                  <a:lnTo>
                    <a:pt x="188975" y="342435"/>
                  </a:lnTo>
                  <a:lnTo>
                    <a:pt x="193374" y="344064"/>
                  </a:lnTo>
                  <a:lnTo>
                    <a:pt x="189301" y="340154"/>
                  </a:lnTo>
                  <a:lnTo>
                    <a:pt x="188323" y="335756"/>
                  </a:lnTo>
                  <a:lnTo>
                    <a:pt x="183599" y="331846"/>
                  </a:lnTo>
                  <a:lnTo>
                    <a:pt x="179200" y="330868"/>
                  </a:lnTo>
                  <a:lnTo>
                    <a:pt x="174476" y="326633"/>
                  </a:lnTo>
                  <a:lnTo>
                    <a:pt x="172033" y="326633"/>
                  </a:lnTo>
                  <a:cubicBezTo>
                    <a:pt x="172033" y="326633"/>
                    <a:pt x="170077" y="328751"/>
                    <a:pt x="170077" y="328751"/>
                  </a:cubicBezTo>
                  <a:lnTo>
                    <a:pt x="171218" y="331032"/>
                  </a:lnTo>
                  <a:lnTo>
                    <a:pt x="169588" y="333312"/>
                  </a:lnTo>
                  <a:lnTo>
                    <a:pt x="172195" y="337222"/>
                  </a:lnTo>
                  <a:lnTo>
                    <a:pt x="170240" y="336896"/>
                  </a:lnTo>
                  <a:lnTo>
                    <a:pt x="166168" y="333801"/>
                  </a:lnTo>
                  <a:lnTo>
                    <a:pt x="163398" y="334127"/>
                  </a:lnTo>
                  <a:lnTo>
                    <a:pt x="164701" y="331032"/>
                  </a:lnTo>
                  <a:lnTo>
                    <a:pt x="162095" y="330054"/>
                  </a:lnTo>
                  <a:lnTo>
                    <a:pt x="160140" y="331683"/>
                  </a:lnTo>
                  <a:lnTo>
                    <a:pt x="159814" y="336244"/>
                  </a:lnTo>
                  <a:lnTo>
                    <a:pt x="157370" y="334616"/>
                  </a:lnTo>
                  <a:lnTo>
                    <a:pt x="155090" y="335919"/>
                  </a:lnTo>
                  <a:lnTo>
                    <a:pt x="153461" y="334452"/>
                  </a:lnTo>
                  <a:lnTo>
                    <a:pt x="154601" y="329240"/>
                  </a:lnTo>
                  <a:lnTo>
                    <a:pt x="151180" y="325981"/>
                  </a:lnTo>
                  <a:lnTo>
                    <a:pt x="148411" y="327284"/>
                  </a:lnTo>
                  <a:lnTo>
                    <a:pt x="145641" y="333638"/>
                  </a:lnTo>
                  <a:lnTo>
                    <a:pt x="142709" y="336244"/>
                  </a:lnTo>
                  <a:lnTo>
                    <a:pt x="138961" y="346997"/>
                  </a:lnTo>
                  <a:lnTo>
                    <a:pt x="136844" y="350417"/>
                  </a:lnTo>
                  <a:lnTo>
                    <a:pt x="136844" y="350417"/>
                  </a:lnTo>
                  <a:close/>
                  <a:moveTo>
                    <a:pt x="128861" y="356119"/>
                  </a:moveTo>
                  <a:lnTo>
                    <a:pt x="128861" y="358563"/>
                  </a:lnTo>
                  <a:cubicBezTo>
                    <a:pt x="128861" y="358563"/>
                    <a:pt x="132120" y="363125"/>
                    <a:pt x="132120" y="363125"/>
                  </a:cubicBezTo>
                  <a:lnTo>
                    <a:pt x="135052" y="364102"/>
                  </a:lnTo>
                  <a:lnTo>
                    <a:pt x="141568" y="358237"/>
                  </a:lnTo>
                  <a:lnTo>
                    <a:pt x="142057" y="356445"/>
                  </a:lnTo>
                  <a:lnTo>
                    <a:pt x="139125" y="355468"/>
                  </a:lnTo>
                  <a:lnTo>
                    <a:pt x="136029" y="353513"/>
                  </a:lnTo>
                  <a:lnTo>
                    <a:pt x="133423" y="355794"/>
                  </a:lnTo>
                  <a:lnTo>
                    <a:pt x="128861" y="356119"/>
                  </a:lnTo>
                  <a:lnTo>
                    <a:pt x="128861" y="356119"/>
                  </a:lnTo>
                  <a:close/>
                  <a:moveTo>
                    <a:pt x="70540" y="208687"/>
                  </a:moveTo>
                  <a:lnTo>
                    <a:pt x="68259" y="206080"/>
                  </a:lnTo>
                  <a:lnTo>
                    <a:pt x="66467" y="202333"/>
                  </a:lnTo>
                  <a:lnTo>
                    <a:pt x="68096" y="200215"/>
                  </a:lnTo>
                  <a:lnTo>
                    <a:pt x="72169" y="200867"/>
                  </a:lnTo>
                  <a:lnTo>
                    <a:pt x="75264" y="204288"/>
                  </a:lnTo>
                  <a:lnTo>
                    <a:pt x="80477" y="205428"/>
                  </a:lnTo>
                  <a:lnTo>
                    <a:pt x="81618" y="208035"/>
                  </a:lnTo>
                  <a:lnTo>
                    <a:pt x="79337" y="210642"/>
                  </a:lnTo>
                  <a:lnTo>
                    <a:pt x="76079" y="209175"/>
                  </a:lnTo>
                  <a:lnTo>
                    <a:pt x="70540" y="208850"/>
                  </a:lnTo>
                  <a:lnTo>
                    <a:pt x="70540" y="208850"/>
                  </a:lnTo>
                  <a:close/>
                  <a:moveTo>
                    <a:pt x="67445" y="210967"/>
                  </a:moveTo>
                  <a:lnTo>
                    <a:pt x="72658" y="212434"/>
                  </a:lnTo>
                  <a:lnTo>
                    <a:pt x="74287" y="216181"/>
                  </a:lnTo>
                  <a:lnTo>
                    <a:pt x="72332" y="217484"/>
                  </a:lnTo>
                  <a:lnTo>
                    <a:pt x="70703" y="219765"/>
                  </a:lnTo>
                  <a:lnTo>
                    <a:pt x="68422" y="219765"/>
                  </a:lnTo>
                  <a:lnTo>
                    <a:pt x="66956" y="213900"/>
                  </a:lnTo>
                  <a:lnTo>
                    <a:pt x="67445" y="210804"/>
                  </a:lnTo>
                  <a:lnTo>
                    <a:pt x="67445" y="210804"/>
                  </a:lnTo>
                  <a:close/>
                  <a:moveTo>
                    <a:pt x="70703" y="249577"/>
                  </a:moveTo>
                  <a:lnTo>
                    <a:pt x="72658" y="248111"/>
                  </a:lnTo>
                  <a:lnTo>
                    <a:pt x="73472" y="245993"/>
                  </a:lnTo>
                  <a:lnTo>
                    <a:pt x="74938" y="248274"/>
                  </a:lnTo>
                  <a:lnTo>
                    <a:pt x="76893" y="249903"/>
                  </a:lnTo>
                  <a:lnTo>
                    <a:pt x="76893" y="252835"/>
                  </a:lnTo>
                  <a:cubicBezTo>
                    <a:pt x="76893" y="252835"/>
                    <a:pt x="72983" y="252998"/>
                    <a:pt x="72983" y="252998"/>
                  </a:cubicBezTo>
                  <a:lnTo>
                    <a:pt x="69399" y="252672"/>
                  </a:lnTo>
                  <a:lnTo>
                    <a:pt x="70703" y="249414"/>
                  </a:lnTo>
                  <a:lnTo>
                    <a:pt x="70703" y="249414"/>
                  </a:lnTo>
                  <a:close/>
                  <a:moveTo>
                    <a:pt x="8309" y="306595"/>
                  </a:moveTo>
                  <a:lnTo>
                    <a:pt x="13196" y="302685"/>
                  </a:lnTo>
                  <a:lnTo>
                    <a:pt x="16617" y="302197"/>
                  </a:lnTo>
                  <a:lnTo>
                    <a:pt x="19875" y="298775"/>
                  </a:lnTo>
                  <a:lnTo>
                    <a:pt x="25414" y="296658"/>
                  </a:lnTo>
                  <a:lnTo>
                    <a:pt x="31116" y="288024"/>
                  </a:lnTo>
                  <a:lnTo>
                    <a:pt x="36981" y="286068"/>
                  </a:lnTo>
                  <a:lnTo>
                    <a:pt x="41053" y="282647"/>
                  </a:lnTo>
                  <a:lnTo>
                    <a:pt x="41379" y="280041"/>
                  </a:lnTo>
                  <a:lnTo>
                    <a:pt x="44800" y="275805"/>
                  </a:lnTo>
                  <a:lnTo>
                    <a:pt x="44800" y="268149"/>
                  </a:lnTo>
                  <a:lnTo>
                    <a:pt x="47733" y="264727"/>
                  </a:lnTo>
                  <a:lnTo>
                    <a:pt x="55552" y="264239"/>
                  </a:lnTo>
                  <a:lnTo>
                    <a:pt x="57344" y="259025"/>
                  </a:lnTo>
                  <a:lnTo>
                    <a:pt x="61091" y="255279"/>
                  </a:lnTo>
                  <a:lnTo>
                    <a:pt x="65164" y="254464"/>
                  </a:lnTo>
                  <a:lnTo>
                    <a:pt x="67445" y="250228"/>
                  </a:lnTo>
                  <a:lnTo>
                    <a:pt x="64675" y="244038"/>
                  </a:lnTo>
                  <a:lnTo>
                    <a:pt x="60928" y="239476"/>
                  </a:lnTo>
                  <a:lnTo>
                    <a:pt x="61254" y="234752"/>
                  </a:lnTo>
                  <a:lnTo>
                    <a:pt x="60765" y="227421"/>
                  </a:lnTo>
                  <a:lnTo>
                    <a:pt x="58485" y="228399"/>
                  </a:lnTo>
                  <a:lnTo>
                    <a:pt x="57344" y="236381"/>
                  </a:lnTo>
                  <a:lnTo>
                    <a:pt x="57996" y="243712"/>
                  </a:lnTo>
                  <a:lnTo>
                    <a:pt x="54086" y="241268"/>
                  </a:lnTo>
                  <a:lnTo>
                    <a:pt x="57181" y="246319"/>
                  </a:lnTo>
                  <a:lnTo>
                    <a:pt x="57181" y="250066"/>
                  </a:lnTo>
                  <a:cubicBezTo>
                    <a:pt x="57181" y="250066"/>
                    <a:pt x="52783" y="255116"/>
                    <a:pt x="52783" y="255116"/>
                  </a:cubicBezTo>
                  <a:lnTo>
                    <a:pt x="49525" y="254790"/>
                  </a:lnTo>
                  <a:lnTo>
                    <a:pt x="44963" y="260166"/>
                  </a:lnTo>
                  <a:lnTo>
                    <a:pt x="44637" y="264076"/>
                  </a:lnTo>
                  <a:lnTo>
                    <a:pt x="39424" y="267008"/>
                  </a:lnTo>
                  <a:lnTo>
                    <a:pt x="34211" y="277923"/>
                  </a:lnTo>
                  <a:lnTo>
                    <a:pt x="26880" y="285091"/>
                  </a:lnTo>
                  <a:lnTo>
                    <a:pt x="22808" y="285580"/>
                  </a:lnTo>
                  <a:lnTo>
                    <a:pt x="19061" y="292585"/>
                  </a:lnTo>
                  <a:lnTo>
                    <a:pt x="16128" y="293562"/>
                  </a:lnTo>
                  <a:lnTo>
                    <a:pt x="8797" y="303174"/>
                  </a:lnTo>
                  <a:lnTo>
                    <a:pt x="7494" y="305781"/>
                  </a:lnTo>
                  <a:lnTo>
                    <a:pt x="7983" y="307573"/>
                  </a:lnTo>
                  <a:lnTo>
                    <a:pt x="7983" y="307573"/>
                  </a:lnTo>
                  <a:close/>
                  <a:moveTo>
                    <a:pt x="9123" y="309365"/>
                  </a:moveTo>
                  <a:lnTo>
                    <a:pt x="6517" y="311808"/>
                  </a:lnTo>
                  <a:lnTo>
                    <a:pt x="8797" y="311319"/>
                  </a:lnTo>
                  <a:lnTo>
                    <a:pt x="9123" y="309201"/>
                  </a:lnTo>
                  <a:lnTo>
                    <a:pt x="9123" y="309201"/>
                  </a:lnTo>
                  <a:close/>
                  <a:moveTo>
                    <a:pt x="11567" y="310016"/>
                  </a:moveTo>
                  <a:lnTo>
                    <a:pt x="9938" y="311808"/>
                  </a:lnTo>
                  <a:lnTo>
                    <a:pt x="12707" y="313274"/>
                  </a:lnTo>
                  <a:lnTo>
                    <a:pt x="11567" y="310016"/>
                  </a:lnTo>
                  <a:lnTo>
                    <a:pt x="11567" y="310016"/>
                  </a:lnTo>
                  <a:close/>
                  <a:moveTo>
                    <a:pt x="4399" y="316044"/>
                  </a:moveTo>
                  <a:lnTo>
                    <a:pt x="0" y="317836"/>
                  </a:lnTo>
                  <a:lnTo>
                    <a:pt x="0" y="321257"/>
                  </a:lnTo>
                  <a:cubicBezTo>
                    <a:pt x="0" y="321257"/>
                    <a:pt x="2770" y="325981"/>
                    <a:pt x="2770" y="325981"/>
                  </a:cubicBezTo>
                  <a:lnTo>
                    <a:pt x="5213" y="325981"/>
                  </a:lnTo>
                  <a:lnTo>
                    <a:pt x="5213" y="319465"/>
                  </a:lnTo>
                  <a:cubicBezTo>
                    <a:pt x="5213" y="319465"/>
                    <a:pt x="6191" y="317347"/>
                    <a:pt x="6191" y="317347"/>
                  </a:cubicBezTo>
                  <a:lnTo>
                    <a:pt x="4399" y="316044"/>
                  </a:lnTo>
                  <a:close/>
                </a:path>
              </a:pathLst>
            </a:custGeom>
            <a:solidFill>
              <a:schemeClr val="bg2"/>
            </a:solidFill>
            <a:ln w="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3" name="Forma livre: Forma 202">
              <a:extLst>
                <a:ext uri="{FF2B5EF4-FFF2-40B4-BE49-F238E27FC236}">
                  <a16:creationId xmlns:a16="http://schemas.microsoft.com/office/drawing/2014/main" id="{24D2FCFF-8454-B6D5-6646-A7735B2014B6}"/>
                </a:ext>
              </a:extLst>
            </p:cNvPr>
            <p:cNvSpPr/>
            <p:nvPr/>
          </p:nvSpPr>
          <p:spPr>
            <a:xfrm>
              <a:off x="8516512" y="4786498"/>
              <a:ext cx="1217511" cy="482155"/>
            </a:xfrm>
            <a:custGeom>
              <a:avLst/>
              <a:gdLst>
                <a:gd name="connsiteX0" fmla="*/ 1178159 w 1178159"/>
                <a:gd name="connsiteY0" fmla="*/ 244690 h 466571"/>
                <a:gd name="connsiteX1" fmla="*/ 1174901 w 1178159"/>
                <a:gd name="connsiteY1" fmla="*/ 340643 h 466571"/>
                <a:gd name="connsiteX2" fmla="*/ 1173435 w 1178159"/>
                <a:gd name="connsiteY2" fmla="*/ 347974 h 466571"/>
                <a:gd name="connsiteX3" fmla="*/ 1173435 w 1178159"/>
                <a:gd name="connsiteY3" fmla="*/ 352047 h 466571"/>
                <a:gd name="connsiteX4" fmla="*/ 1174412 w 1178159"/>
                <a:gd name="connsiteY4" fmla="*/ 354165 h 466571"/>
                <a:gd name="connsiteX5" fmla="*/ 1172294 w 1178159"/>
                <a:gd name="connsiteY5" fmla="*/ 416396 h 466571"/>
                <a:gd name="connsiteX6" fmla="*/ 1170828 w 1178159"/>
                <a:gd name="connsiteY6" fmla="*/ 416396 h 466571"/>
                <a:gd name="connsiteX7" fmla="*/ 1164637 w 1178159"/>
                <a:gd name="connsiteY7" fmla="*/ 414115 h 466571"/>
                <a:gd name="connsiteX8" fmla="*/ 1157469 w 1178159"/>
                <a:gd name="connsiteY8" fmla="*/ 406458 h 466571"/>
                <a:gd name="connsiteX9" fmla="*/ 1155841 w 1178159"/>
                <a:gd name="connsiteY9" fmla="*/ 402711 h 466571"/>
                <a:gd name="connsiteX10" fmla="*/ 1155841 w 1178159"/>
                <a:gd name="connsiteY10" fmla="*/ 401082 h 466571"/>
                <a:gd name="connsiteX11" fmla="*/ 1150790 w 1178159"/>
                <a:gd name="connsiteY11" fmla="*/ 396521 h 466571"/>
                <a:gd name="connsiteX12" fmla="*/ 1148347 w 1178159"/>
                <a:gd name="connsiteY12" fmla="*/ 395055 h 466571"/>
                <a:gd name="connsiteX13" fmla="*/ 1147369 w 1178159"/>
                <a:gd name="connsiteY13" fmla="*/ 391145 h 466571"/>
                <a:gd name="connsiteX14" fmla="*/ 1149650 w 1178159"/>
                <a:gd name="connsiteY14" fmla="*/ 387398 h 466571"/>
                <a:gd name="connsiteX15" fmla="*/ 1149650 w 1178159"/>
                <a:gd name="connsiteY15" fmla="*/ 381696 h 466571"/>
                <a:gd name="connsiteX16" fmla="*/ 1148347 w 1178159"/>
                <a:gd name="connsiteY16" fmla="*/ 387398 h 466571"/>
                <a:gd name="connsiteX17" fmla="*/ 1145089 w 1178159"/>
                <a:gd name="connsiteY17" fmla="*/ 389516 h 466571"/>
                <a:gd name="connsiteX18" fmla="*/ 1137432 w 1178159"/>
                <a:gd name="connsiteY18" fmla="*/ 389027 h 466571"/>
                <a:gd name="connsiteX19" fmla="*/ 1133033 w 1178159"/>
                <a:gd name="connsiteY19" fmla="*/ 391308 h 466571"/>
                <a:gd name="connsiteX20" fmla="*/ 1129449 w 1178159"/>
                <a:gd name="connsiteY20" fmla="*/ 391308 h 466571"/>
                <a:gd name="connsiteX21" fmla="*/ 1127169 w 1178159"/>
                <a:gd name="connsiteY21" fmla="*/ 389027 h 466571"/>
                <a:gd name="connsiteX22" fmla="*/ 1121141 w 1178159"/>
                <a:gd name="connsiteY22" fmla="*/ 392285 h 466571"/>
                <a:gd name="connsiteX23" fmla="*/ 1118046 w 1178159"/>
                <a:gd name="connsiteY23" fmla="*/ 388701 h 466571"/>
                <a:gd name="connsiteX24" fmla="*/ 1120326 w 1178159"/>
                <a:gd name="connsiteY24" fmla="*/ 387235 h 466571"/>
                <a:gd name="connsiteX25" fmla="*/ 1121955 w 1178159"/>
                <a:gd name="connsiteY25" fmla="*/ 383325 h 466571"/>
                <a:gd name="connsiteX26" fmla="*/ 1121955 w 1178159"/>
                <a:gd name="connsiteY26" fmla="*/ 380393 h 466571"/>
                <a:gd name="connsiteX27" fmla="*/ 1123096 w 1178159"/>
                <a:gd name="connsiteY27" fmla="*/ 378764 h 466571"/>
                <a:gd name="connsiteX28" fmla="*/ 1124073 w 1178159"/>
                <a:gd name="connsiteY28" fmla="*/ 372248 h 466571"/>
                <a:gd name="connsiteX29" fmla="*/ 1120815 w 1178159"/>
                <a:gd name="connsiteY29" fmla="*/ 370944 h 466571"/>
                <a:gd name="connsiteX30" fmla="*/ 1117883 w 1178159"/>
                <a:gd name="connsiteY30" fmla="*/ 367197 h 466571"/>
                <a:gd name="connsiteX31" fmla="*/ 1120652 w 1178159"/>
                <a:gd name="connsiteY31" fmla="*/ 366546 h 466571"/>
                <a:gd name="connsiteX32" fmla="*/ 1122933 w 1178159"/>
                <a:gd name="connsiteY32" fmla="*/ 367197 h 466571"/>
                <a:gd name="connsiteX33" fmla="*/ 1127983 w 1178159"/>
                <a:gd name="connsiteY33" fmla="*/ 365242 h 466571"/>
                <a:gd name="connsiteX34" fmla="*/ 1131241 w 1178159"/>
                <a:gd name="connsiteY34" fmla="*/ 364917 h 466571"/>
                <a:gd name="connsiteX35" fmla="*/ 1127494 w 1178159"/>
                <a:gd name="connsiteY35" fmla="*/ 363939 h 466571"/>
                <a:gd name="connsiteX36" fmla="*/ 1121792 w 1178159"/>
                <a:gd name="connsiteY36" fmla="*/ 364754 h 466571"/>
                <a:gd name="connsiteX37" fmla="*/ 1117231 w 1178159"/>
                <a:gd name="connsiteY37" fmla="*/ 362636 h 466571"/>
                <a:gd name="connsiteX38" fmla="*/ 1112996 w 1178159"/>
                <a:gd name="connsiteY38" fmla="*/ 359378 h 466571"/>
                <a:gd name="connsiteX39" fmla="*/ 1114299 w 1178159"/>
                <a:gd name="connsiteY39" fmla="*/ 355957 h 466571"/>
                <a:gd name="connsiteX40" fmla="*/ 1116742 w 1178159"/>
                <a:gd name="connsiteY40" fmla="*/ 355631 h 466571"/>
                <a:gd name="connsiteX41" fmla="*/ 1120652 w 1178159"/>
                <a:gd name="connsiteY41" fmla="*/ 356119 h 466571"/>
                <a:gd name="connsiteX42" fmla="*/ 1118534 w 1178159"/>
                <a:gd name="connsiteY42" fmla="*/ 353513 h 466571"/>
                <a:gd name="connsiteX43" fmla="*/ 1111855 w 1178159"/>
                <a:gd name="connsiteY43" fmla="*/ 348789 h 466571"/>
                <a:gd name="connsiteX44" fmla="*/ 1107457 w 1178159"/>
                <a:gd name="connsiteY44" fmla="*/ 345693 h 466571"/>
                <a:gd name="connsiteX45" fmla="*/ 1105990 w 1178159"/>
                <a:gd name="connsiteY45" fmla="*/ 342435 h 466571"/>
                <a:gd name="connsiteX46" fmla="*/ 1107294 w 1178159"/>
                <a:gd name="connsiteY46" fmla="*/ 337059 h 466571"/>
                <a:gd name="connsiteX47" fmla="*/ 1101592 w 1178159"/>
                <a:gd name="connsiteY47" fmla="*/ 331194 h 466571"/>
                <a:gd name="connsiteX48" fmla="*/ 1101592 w 1178159"/>
                <a:gd name="connsiteY48" fmla="*/ 328914 h 466571"/>
                <a:gd name="connsiteX49" fmla="*/ 1106805 w 1178159"/>
                <a:gd name="connsiteY49" fmla="*/ 324678 h 466571"/>
                <a:gd name="connsiteX50" fmla="*/ 1102080 w 1178159"/>
                <a:gd name="connsiteY50" fmla="*/ 325004 h 466571"/>
                <a:gd name="connsiteX51" fmla="*/ 1099148 w 1178159"/>
                <a:gd name="connsiteY51" fmla="*/ 323049 h 466571"/>
                <a:gd name="connsiteX52" fmla="*/ 1100289 w 1178159"/>
                <a:gd name="connsiteY52" fmla="*/ 321257 h 466571"/>
                <a:gd name="connsiteX53" fmla="*/ 1098333 w 1178159"/>
                <a:gd name="connsiteY53" fmla="*/ 318813 h 466571"/>
                <a:gd name="connsiteX54" fmla="*/ 1102080 w 1178159"/>
                <a:gd name="connsiteY54" fmla="*/ 315881 h 466571"/>
                <a:gd name="connsiteX55" fmla="*/ 1096216 w 1178159"/>
                <a:gd name="connsiteY55" fmla="*/ 317021 h 466571"/>
                <a:gd name="connsiteX56" fmla="*/ 1094587 w 1178159"/>
                <a:gd name="connsiteY56" fmla="*/ 315066 h 466571"/>
                <a:gd name="connsiteX57" fmla="*/ 1091817 w 1178159"/>
                <a:gd name="connsiteY57" fmla="*/ 316207 h 466571"/>
                <a:gd name="connsiteX58" fmla="*/ 1089862 w 1178159"/>
                <a:gd name="connsiteY58" fmla="*/ 314741 h 466571"/>
                <a:gd name="connsiteX59" fmla="*/ 1094098 w 1178159"/>
                <a:gd name="connsiteY59" fmla="*/ 309853 h 466571"/>
                <a:gd name="connsiteX60" fmla="*/ 1090351 w 1178159"/>
                <a:gd name="connsiteY60" fmla="*/ 311971 h 466571"/>
                <a:gd name="connsiteX61" fmla="*/ 1085789 w 1178159"/>
                <a:gd name="connsiteY61" fmla="*/ 311971 h 466571"/>
                <a:gd name="connsiteX62" fmla="*/ 1078948 w 1178159"/>
                <a:gd name="connsiteY62" fmla="*/ 309365 h 466571"/>
                <a:gd name="connsiteX63" fmla="*/ 1077155 w 1178159"/>
                <a:gd name="connsiteY63" fmla="*/ 304640 h 466571"/>
                <a:gd name="connsiteX64" fmla="*/ 1070150 w 1178159"/>
                <a:gd name="connsiteY64" fmla="*/ 302197 h 466571"/>
                <a:gd name="connsiteX65" fmla="*/ 1065751 w 1178159"/>
                <a:gd name="connsiteY65" fmla="*/ 303011 h 466571"/>
                <a:gd name="connsiteX66" fmla="*/ 1050601 w 1178159"/>
                <a:gd name="connsiteY66" fmla="*/ 298287 h 466571"/>
                <a:gd name="connsiteX67" fmla="*/ 1034962 w 1178159"/>
                <a:gd name="connsiteY67" fmla="*/ 293562 h 466571"/>
                <a:gd name="connsiteX68" fmla="*/ 1027305 w 1178159"/>
                <a:gd name="connsiteY68" fmla="*/ 293074 h 466571"/>
                <a:gd name="connsiteX69" fmla="*/ 1021278 w 1178159"/>
                <a:gd name="connsiteY69" fmla="*/ 290141 h 466571"/>
                <a:gd name="connsiteX70" fmla="*/ 1020137 w 1178159"/>
                <a:gd name="connsiteY70" fmla="*/ 287860 h 466571"/>
                <a:gd name="connsiteX71" fmla="*/ 1019485 w 1178159"/>
                <a:gd name="connsiteY71" fmla="*/ 285906 h 466571"/>
                <a:gd name="connsiteX72" fmla="*/ 1014109 w 1178159"/>
                <a:gd name="connsiteY72" fmla="*/ 284765 h 466571"/>
                <a:gd name="connsiteX73" fmla="*/ 1014435 w 1178159"/>
                <a:gd name="connsiteY73" fmla="*/ 281018 h 466571"/>
                <a:gd name="connsiteX74" fmla="*/ 1018182 w 1178159"/>
                <a:gd name="connsiteY74" fmla="*/ 280530 h 466571"/>
                <a:gd name="connsiteX75" fmla="*/ 1020137 w 1178159"/>
                <a:gd name="connsiteY75" fmla="*/ 281018 h 466571"/>
                <a:gd name="connsiteX76" fmla="*/ 1019811 w 1178159"/>
                <a:gd name="connsiteY76" fmla="*/ 279878 h 466571"/>
                <a:gd name="connsiteX77" fmla="*/ 1016064 w 1178159"/>
                <a:gd name="connsiteY77" fmla="*/ 279226 h 466571"/>
                <a:gd name="connsiteX78" fmla="*/ 1011666 w 1178159"/>
                <a:gd name="connsiteY78" fmla="*/ 281018 h 466571"/>
                <a:gd name="connsiteX79" fmla="*/ 1008245 w 1178159"/>
                <a:gd name="connsiteY79" fmla="*/ 279715 h 466571"/>
                <a:gd name="connsiteX80" fmla="*/ 1006616 w 1178159"/>
                <a:gd name="connsiteY80" fmla="*/ 277597 h 466571"/>
                <a:gd name="connsiteX81" fmla="*/ 1005150 w 1178159"/>
                <a:gd name="connsiteY81" fmla="*/ 277109 h 466571"/>
                <a:gd name="connsiteX82" fmla="*/ 1002869 w 1178159"/>
                <a:gd name="connsiteY82" fmla="*/ 279715 h 466571"/>
                <a:gd name="connsiteX83" fmla="*/ 1001891 w 1178159"/>
                <a:gd name="connsiteY83" fmla="*/ 274665 h 466571"/>
                <a:gd name="connsiteX84" fmla="*/ 999936 w 1178159"/>
                <a:gd name="connsiteY84" fmla="*/ 273199 h 466571"/>
                <a:gd name="connsiteX85" fmla="*/ 997982 w 1178159"/>
                <a:gd name="connsiteY85" fmla="*/ 274176 h 466571"/>
                <a:gd name="connsiteX86" fmla="*/ 996678 w 1178159"/>
                <a:gd name="connsiteY86" fmla="*/ 276294 h 466571"/>
                <a:gd name="connsiteX87" fmla="*/ 993746 w 1178159"/>
                <a:gd name="connsiteY87" fmla="*/ 273199 h 466571"/>
                <a:gd name="connsiteX88" fmla="*/ 992117 w 1178159"/>
                <a:gd name="connsiteY88" fmla="*/ 266845 h 466571"/>
                <a:gd name="connsiteX89" fmla="*/ 989836 w 1178159"/>
                <a:gd name="connsiteY89" fmla="*/ 261469 h 466571"/>
                <a:gd name="connsiteX90" fmla="*/ 992932 w 1178159"/>
                <a:gd name="connsiteY90" fmla="*/ 257397 h 466571"/>
                <a:gd name="connsiteX91" fmla="*/ 992932 w 1178159"/>
                <a:gd name="connsiteY91" fmla="*/ 251369 h 466571"/>
                <a:gd name="connsiteX92" fmla="*/ 990325 w 1178159"/>
                <a:gd name="connsiteY92" fmla="*/ 256419 h 466571"/>
                <a:gd name="connsiteX93" fmla="*/ 988370 w 1178159"/>
                <a:gd name="connsiteY93" fmla="*/ 261958 h 466571"/>
                <a:gd name="connsiteX94" fmla="*/ 987555 w 1178159"/>
                <a:gd name="connsiteY94" fmla="*/ 265868 h 466571"/>
                <a:gd name="connsiteX95" fmla="*/ 985275 w 1178159"/>
                <a:gd name="connsiteY95" fmla="*/ 267008 h 466571"/>
                <a:gd name="connsiteX96" fmla="*/ 981365 w 1178159"/>
                <a:gd name="connsiteY96" fmla="*/ 274013 h 466571"/>
                <a:gd name="connsiteX97" fmla="*/ 981853 w 1178159"/>
                <a:gd name="connsiteY97" fmla="*/ 278249 h 466571"/>
                <a:gd name="connsiteX98" fmla="*/ 976641 w 1178159"/>
                <a:gd name="connsiteY98" fmla="*/ 284765 h 466571"/>
                <a:gd name="connsiteX99" fmla="*/ 971427 w 1178159"/>
                <a:gd name="connsiteY99" fmla="*/ 285906 h 466571"/>
                <a:gd name="connsiteX100" fmla="*/ 966866 w 1178159"/>
                <a:gd name="connsiteY100" fmla="*/ 284439 h 466571"/>
                <a:gd name="connsiteX101" fmla="*/ 962956 w 1178159"/>
                <a:gd name="connsiteY101" fmla="*/ 275805 h 466571"/>
                <a:gd name="connsiteX102" fmla="*/ 962956 w 1178159"/>
                <a:gd name="connsiteY102" fmla="*/ 272710 h 466571"/>
                <a:gd name="connsiteX103" fmla="*/ 965400 w 1178159"/>
                <a:gd name="connsiteY103" fmla="*/ 271733 h 466571"/>
                <a:gd name="connsiteX104" fmla="*/ 965889 w 1178159"/>
                <a:gd name="connsiteY104" fmla="*/ 268311 h 466571"/>
                <a:gd name="connsiteX105" fmla="*/ 965237 w 1178159"/>
                <a:gd name="connsiteY105" fmla="*/ 264890 h 466571"/>
                <a:gd name="connsiteX106" fmla="*/ 962141 w 1178159"/>
                <a:gd name="connsiteY106" fmla="*/ 266031 h 466571"/>
                <a:gd name="connsiteX107" fmla="*/ 960350 w 1178159"/>
                <a:gd name="connsiteY107" fmla="*/ 264239 h 466571"/>
                <a:gd name="connsiteX108" fmla="*/ 957743 w 1178159"/>
                <a:gd name="connsiteY108" fmla="*/ 258048 h 466571"/>
                <a:gd name="connsiteX109" fmla="*/ 953182 w 1178159"/>
                <a:gd name="connsiteY109" fmla="*/ 255604 h 466571"/>
                <a:gd name="connsiteX110" fmla="*/ 947317 w 1178159"/>
                <a:gd name="connsiteY110" fmla="*/ 254627 h 466571"/>
                <a:gd name="connsiteX111" fmla="*/ 945525 w 1178159"/>
                <a:gd name="connsiteY111" fmla="*/ 252020 h 466571"/>
                <a:gd name="connsiteX112" fmla="*/ 948620 w 1178159"/>
                <a:gd name="connsiteY112" fmla="*/ 248111 h 466571"/>
                <a:gd name="connsiteX113" fmla="*/ 954648 w 1178159"/>
                <a:gd name="connsiteY113" fmla="*/ 247622 h 466571"/>
                <a:gd name="connsiteX114" fmla="*/ 956603 w 1178159"/>
                <a:gd name="connsiteY114" fmla="*/ 249577 h 466571"/>
                <a:gd name="connsiteX115" fmla="*/ 961978 w 1178159"/>
                <a:gd name="connsiteY115" fmla="*/ 250066 h 466571"/>
                <a:gd name="connsiteX116" fmla="*/ 965889 w 1178159"/>
                <a:gd name="connsiteY116" fmla="*/ 252020 h 466571"/>
                <a:gd name="connsiteX117" fmla="*/ 970939 w 1178159"/>
                <a:gd name="connsiteY117" fmla="*/ 249088 h 466571"/>
                <a:gd name="connsiteX118" fmla="*/ 972568 w 1178159"/>
                <a:gd name="connsiteY118" fmla="*/ 243060 h 466571"/>
                <a:gd name="connsiteX119" fmla="*/ 976478 w 1178159"/>
                <a:gd name="connsiteY119" fmla="*/ 241757 h 466571"/>
                <a:gd name="connsiteX120" fmla="*/ 984460 w 1178159"/>
                <a:gd name="connsiteY120" fmla="*/ 245504 h 466571"/>
                <a:gd name="connsiteX121" fmla="*/ 987555 w 1178159"/>
                <a:gd name="connsiteY121" fmla="*/ 250066 h 466571"/>
                <a:gd name="connsiteX122" fmla="*/ 989836 w 1178159"/>
                <a:gd name="connsiteY122" fmla="*/ 245178 h 466571"/>
                <a:gd name="connsiteX123" fmla="*/ 992605 w 1178159"/>
                <a:gd name="connsiteY123" fmla="*/ 241431 h 466571"/>
                <a:gd name="connsiteX124" fmla="*/ 995212 w 1178159"/>
                <a:gd name="connsiteY124" fmla="*/ 242409 h 466571"/>
                <a:gd name="connsiteX125" fmla="*/ 996026 w 1178159"/>
                <a:gd name="connsiteY125" fmla="*/ 236870 h 466571"/>
                <a:gd name="connsiteX126" fmla="*/ 994560 w 1178159"/>
                <a:gd name="connsiteY126" fmla="*/ 233612 h 466571"/>
                <a:gd name="connsiteX127" fmla="*/ 981691 w 1178159"/>
                <a:gd name="connsiteY127" fmla="*/ 232146 h 466571"/>
                <a:gd name="connsiteX128" fmla="*/ 983482 w 1178159"/>
                <a:gd name="connsiteY128" fmla="*/ 234752 h 466571"/>
                <a:gd name="connsiteX129" fmla="*/ 980387 w 1178159"/>
                <a:gd name="connsiteY129" fmla="*/ 235404 h 466571"/>
                <a:gd name="connsiteX130" fmla="*/ 977781 w 1178159"/>
                <a:gd name="connsiteY130" fmla="*/ 234752 h 466571"/>
                <a:gd name="connsiteX131" fmla="*/ 969798 w 1178159"/>
                <a:gd name="connsiteY131" fmla="*/ 236381 h 466571"/>
                <a:gd name="connsiteX132" fmla="*/ 966703 w 1178159"/>
                <a:gd name="connsiteY132" fmla="*/ 235241 h 466571"/>
                <a:gd name="connsiteX133" fmla="*/ 963771 w 1178159"/>
                <a:gd name="connsiteY133" fmla="*/ 236707 h 466571"/>
                <a:gd name="connsiteX134" fmla="*/ 960675 w 1178159"/>
                <a:gd name="connsiteY134" fmla="*/ 234915 h 466571"/>
                <a:gd name="connsiteX135" fmla="*/ 956114 w 1178159"/>
                <a:gd name="connsiteY135" fmla="*/ 236055 h 466571"/>
                <a:gd name="connsiteX136" fmla="*/ 951389 w 1178159"/>
                <a:gd name="connsiteY136" fmla="*/ 235241 h 466571"/>
                <a:gd name="connsiteX137" fmla="*/ 946014 w 1178159"/>
                <a:gd name="connsiteY137" fmla="*/ 230842 h 466571"/>
                <a:gd name="connsiteX138" fmla="*/ 944547 w 1178159"/>
                <a:gd name="connsiteY138" fmla="*/ 224977 h 466571"/>
                <a:gd name="connsiteX139" fmla="*/ 945687 w 1178159"/>
                <a:gd name="connsiteY139" fmla="*/ 223511 h 466571"/>
                <a:gd name="connsiteX140" fmla="*/ 942918 w 1178159"/>
                <a:gd name="connsiteY140" fmla="*/ 218787 h 466571"/>
                <a:gd name="connsiteX141" fmla="*/ 935750 w 1178159"/>
                <a:gd name="connsiteY141" fmla="*/ 214714 h 466571"/>
                <a:gd name="connsiteX142" fmla="*/ 932981 w 1178159"/>
                <a:gd name="connsiteY142" fmla="*/ 211782 h 466571"/>
                <a:gd name="connsiteX143" fmla="*/ 931514 w 1178159"/>
                <a:gd name="connsiteY143" fmla="*/ 213737 h 466571"/>
                <a:gd name="connsiteX144" fmla="*/ 927442 w 1178159"/>
                <a:gd name="connsiteY144" fmla="*/ 216018 h 466571"/>
                <a:gd name="connsiteX145" fmla="*/ 921577 w 1178159"/>
                <a:gd name="connsiteY145" fmla="*/ 215040 h 466571"/>
                <a:gd name="connsiteX146" fmla="*/ 922555 w 1178159"/>
                <a:gd name="connsiteY146" fmla="*/ 211945 h 466571"/>
                <a:gd name="connsiteX147" fmla="*/ 928582 w 1178159"/>
                <a:gd name="connsiteY147" fmla="*/ 208035 h 466571"/>
                <a:gd name="connsiteX148" fmla="*/ 929071 w 1178159"/>
                <a:gd name="connsiteY148" fmla="*/ 204288 h 466571"/>
                <a:gd name="connsiteX149" fmla="*/ 927279 w 1178159"/>
                <a:gd name="connsiteY149" fmla="*/ 201030 h 466571"/>
                <a:gd name="connsiteX150" fmla="*/ 931189 w 1178159"/>
                <a:gd name="connsiteY150" fmla="*/ 197772 h 466571"/>
                <a:gd name="connsiteX151" fmla="*/ 938194 w 1178159"/>
                <a:gd name="connsiteY151" fmla="*/ 197772 h 466571"/>
                <a:gd name="connsiteX152" fmla="*/ 941615 w 1178159"/>
                <a:gd name="connsiteY152" fmla="*/ 194351 h 466571"/>
                <a:gd name="connsiteX153" fmla="*/ 945687 w 1178159"/>
                <a:gd name="connsiteY153" fmla="*/ 193210 h 466571"/>
                <a:gd name="connsiteX154" fmla="*/ 952367 w 1178159"/>
                <a:gd name="connsiteY154" fmla="*/ 187997 h 466571"/>
                <a:gd name="connsiteX155" fmla="*/ 954322 w 1178159"/>
                <a:gd name="connsiteY155" fmla="*/ 186205 h 466571"/>
                <a:gd name="connsiteX156" fmla="*/ 962467 w 1178159"/>
                <a:gd name="connsiteY156" fmla="*/ 184576 h 466571"/>
                <a:gd name="connsiteX157" fmla="*/ 975500 w 1178159"/>
                <a:gd name="connsiteY157" fmla="*/ 189626 h 466571"/>
                <a:gd name="connsiteX158" fmla="*/ 983646 w 1178159"/>
                <a:gd name="connsiteY158" fmla="*/ 195165 h 466571"/>
                <a:gd name="connsiteX159" fmla="*/ 991954 w 1178159"/>
                <a:gd name="connsiteY159" fmla="*/ 194839 h 466571"/>
                <a:gd name="connsiteX160" fmla="*/ 1000425 w 1178159"/>
                <a:gd name="connsiteY160" fmla="*/ 195654 h 466571"/>
                <a:gd name="connsiteX161" fmla="*/ 1002380 w 1178159"/>
                <a:gd name="connsiteY161" fmla="*/ 197935 h 466571"/>
                <a:gd name="connsiteX162" fmla="*/ 1000751 w 1178159"/>
                <a:gd name="connsiteY162" fmla="*/ 200704 h 466571"/>
                <a:gd name="connsiteX163" fmla="*/ 1000751 w 1178159"/>
                <a:gd name="connsiteY163" fmla="*/ 206895 h 466571"/>
                <a:gd name="connsiteX164" fmla="*/ 1005150 w 1178159"/>
                <a:gd name="connsiteY164" fmla="*/ 210642 h 466571"/>
                <a:gd name="connsiteX165" fmla="*/ 1006778 w 1178159"/>
                <a:gd name="connsiteY165" fmla="*/ 215203 h 466571"/>
                <a:gd name="connsiteX166" fmla="*/ 1003683 w 1178159"/>
                <a:gd name="connsiteY166" fmla="*/ 219765 h 466571"/>
                <a:gd name="connsiteX167" fmla="*/ 1000914 w 1178159"/>
                <a:gd name="connsiteY167" fmla="*/ 224489 h 466571"/>
                <a:gd name="connsiteX168" fmla="*/ 1002706 w 1178159"/>
                <a:gd name="connsiteY168" fmla="*/ 231331 h 466571"/>
                <a:gd name="connsiteX169" fmla="*/ 1003032 w 1178159"/>
                <a:gd name="connsiteY169" fmla="*/ 243060 h 466571"/>
                <a:gd name="connsiteX170" fmla="*/ 1006290 w 1178159"/>
                <a:gd name="connsiteY170" fmla="*/ 248762 h 466571"/>
                <a:gd name="connsiteX171" fmla="*/ 1009222 w 1178159"/>
                <a:gd name="connsiteY171" fmla="*/ 252509 h 466571"/>
                <a:gd name="connsiteX172" fmla="*/ 1011177 w 1178159"/>
                <a:gd name="connsiteY172" fmla="*/ 252509 h 466571"/>
                <a:gd name="connsiteX173" fmla="*/ 1010689 w 1178159"/>
                <a:gd name="connsiteY173" fmla="*/ 246319 h 466571"/>
                <a:gd name="connsiteX174" fmla="*/ 1013132 w 1178159"/>
                <a:gd name="connsiteY174" fmla="*/ 243712 h 466571"/>
                <a:gd name="connsiteX175" fmla="*/ 1016064 w 1178159"/>
                <a:gd name="connsiteY175" fmla="*/ 245504 h 466571"/>
                <a:gd name="connsiteX176" fmla="*/ 1016064 w 1178159"/>
                <a:gd name="connsiteY176" fmla="*/ 250717 h 466571"/>
                <a:gd name="connsiteX177" fmla="*/ 1017530 w 1178159"/>
                <a:gd name="connsiteY177" fmla="*/ 255767 h 466571"/>
                <a:gd name="connsiteX178" fmla="*/ 1019160 w 1178159"/>
                <a:gd name="connsiteY178" fmla="*/ 254627 h 466571"/>
                <a:gd name="connsiteX179" fmla="*/ 1020789 w 1178159"/>
                <a:gd name="connsiteY179" fmla="*/ 259189 h 466571"/>
                <a:gd name="connsiteX180" fmla="*/ 1026491 w 1178159"/>
                <a:gd name="connsiteY180" fmla="*/ 263750 h 466571"/>
                <a:gd name="connsiteX181" fmla="*/ 1029423 w 1178159"/>
                <a:gd name="connsiteY181" fmla="*/ 266845 h 466571"/>
                <a:gd name="connsiteX182" fmla="*/ 1033659 w 1178159"/>
                <a:gd name="connsiteY182" fmla="*/ 266845 h 466571"/>
                <a:gd name="connsiteX183" fmla="*/ 1038546 w 1178159"/>
                <a:gd name="connsiteY183" fmla="*/ 264565 h 466571"/>
                <a:gd name="connsiteX184" fmla="*/ 1039849 w 1178159"/>
                <a:gd name="connsiteY184" fmla="*/ 260003 h 466571"/>
                <a:gd name="connsiteX185" fmla="*/ 1042619 w 1178159"/>
                <a:gd name="connsiteY185" fmla="*/ 257885 h 466571"/>
                <a:gd name="connsiteX186" fmla="*/ 1045551 w 1178159"/>
                <a:gd name="connsiteY186" fmla="*/ 256908 h 466571"/>
                <a:gd name="connsiteX187" fmla="*/ 1045551 w 1178159"/>
                <a:gd name="connsiteY187" fmla="*/ 250554 h 466571"/>
                <a:gd name="connsiteX188" fmla="*/ 1048809 w 1178159"/>
                <a:gd name="connsiteY188" fmla="*/ 245341 h 466571"/>
                <a:gd name="connsiteX189" fmla="*/ 1053859 w 1178159"/>
                <a:gd name="connsiteY189" fmla="*/ 244852 h 466571"/>
                <a:gd name="connsiteX190" fmla="*/ 1058746 w 1178159"/>
                <a:gd name="connsiteY190" fmla="*/ 241920 h 466571"/>
                <a:gd name="connsiteX191" fmla="*/ 1059235 w 1178159"/>
                <a:gd name="connsiteY191" fmla="*/ 237196 h 466571"/>
                <a:gd name="connsiteX192" fmla="*/ 1061027 w 1178159"/>
                <a:gd name="connsiteY192" fmla="*/ 234426 h 466571"/>
                <a:gd name="connsiteX193" fmla="*/ 1063308 w 1178159"/>
                <a:gd name="connsiteY193" fmla="*/ 235567 h 466571"/>
                <a:gd name="connsiteX194" fmla="*/ 1066403 w 1178159"/>
                <a:gd name="connsiteY194" fmla="*/ 235241 h 466571"/>
                <a:gd name="connsiteX195" fmla="*/ 1071128 w 1178159"/>
                <a:gd name="connsiteY195" fmla="*/ 233449 h 466571"/>
                <a:gd name="connsiteX196" fmla="*/ 1078459 w 1178159"/>
                <a:gd name="connsiteY196" fmla="*/ 232471 h 466571"/>
                <a:gd name="connsiteX197" fmla="*/ 1079436 w 1178159"/>
                <a:gd name="connsiteY197" fmla="*/ 228725 h 466571"/>
                <a:gd name="connsiteX198" fmla="*/ 1076992 w 1178159"/>
                <a:gd name="connsiteY198" fmla="*/ 224163 h 466571"/>
                <a:gd name="connsiteX199" fmla="*/ 1077970 w 1178159"/>
                <a:gd name="connsiteY199" fmla="*/ 221719 h 466571"/>
                <a:gd name="connsiteX200" fmla="*/ 1090677 w 1178159"/>
                <a:gd name="connsiteY200" fmla="*/ 214226 h 466571"/>
                <a:gd name="connsiteX201" fmla="*/ 1096705 w 1178159"/>
                <a:gd name="connsiteY201" fmla="*/ 214714 h 466571"/>
                <a:gd name="connsiteX202" fmla="*/ 1100777 w 1178159"/>
                <a:gd name="connsiteY202" fmla="*/ 218624 h 466571"/>
                <a:gd name="connsiteX203" fmla="*/ 1108597 w 1178159"/>
                <a:gd name="connsiteY203" fmla="*/ 222045 h 466571"/>
                <a:gd name="connsiteX204" fmla="*/ 1117720 w 1178159"/>
                <a:gd name="connsiteY204" fmla="*/ 224000 h 466571"/>
                <a:gd name="connsiteX205" fmla="*/ 1122444 w 1178159"/>
                <a:gd name="connsiteY205" fmla="*/ 228073 h 466571"/>
                <a:gd name="connsiteX206" fmla="*/ 1127657 w 1178159"/>
                <a:gd name="connsiteY206" fmla="*/ 228562 h 466571"/>
                <a:gd name="connsiteX207" fmla="*/ 1134173 w 1178159"/>
                <a:gd name="connsiteY207" fmla="*/ 230354 h 466571"/>
                <a:gd name="connsiteX208" fmla="*/ 1148998 w 1178159"/>
                <a:gd name="connsiteY208" fmla="*/ 237196 h 466571"/>
                <a:gd name="connsiteX209" fmla="*/ 1152745 w 1178159"/>
                <a:gd name="connsiteY209" fmla="*/ 236381 h 466571"/>
                <a:gd name="connsiteX210" fmla="*/ 1156166 w 1178159"/>
                <a:gd name="connsiteY210" fmla="*/ 236870 h 466571"/>
                <a:gd name="connsiteX211" fmla="*/ 1162520 w 1178159"/>
                <a:gd name="connsiteY211" fmla="*/ 238499 h 466571"/>
                <a:gd name="connsiteX212" fmla="*/ 1167081 w 1178159"/>
                <a:gd name="connsiteY212" fmla="*/ 238499 h 466571"/>
                <a:gd name="connsiteX213" fmla="*/ 1170828 w 1178159"/>
                <a:gd name="connsiteY213" fmla="*/ 240943 h 466571"/>
                <a:gd name="connsiteX214" fmla="*/ 1170014 w 1178159"/>
                <a:gd name="connsiteY214" fmla="*/ 243223 h 466571"/>
                <a:gd name="connsiteX215" fmla="*/ 1170014 w 1178159"/>
                <a:gd name="connsiteY215" fmla="*/ 245993 h 466571"/>
                <a:gd name="connsiteX216" fmla="*/ 1173435 w 1178159"/>
                <a:gd name="connsiteY216" fmla="*/ 247133 h 466571"/>
                <a:gd name="connsiteX217" fmla="*/ 1177670 w 1178159"/>
                <a:gd name="connsiteY217" fmla="*/ 245993 h 466571"/>
                <a:gd name="connsiteX218" fmla="*/ 1177670 w 1178159"/>
                <a:gd name="connsiteY218" fmla="*/ 245993 h 466571"/>
                <a:gd name="connsiteX219" fmla="*/ 873844 w 1178159"/>
                <a:gd name="connsiteY219" fmla="*/ 173661 h 466571"/>
                <a:gd name="connsiteX220" fmla="*/ 883619 w 1178159"/>
                <a:gd name="connsiteY220" fmla="*/ 178549 h 466571"/>
                <a:gd name="connsiteX221" fmla="*/ 884271 w 1178159"/>
                <a:gd name="connsiteY221" fmla="*/ 181155 h 466571"/>
                <a:gd name="connsiteX222" fmla="*/ 877266 w 1178159"/>
                <a:gd name="connsiteY222" fmla="*/ 177408 h 466571"/>
                <a:gd name="connsiteX223" fmla="*/ 873682 w 1178159"/>
                <a:gd name="connsiteY223" fmla="*/ 173661 h 466571"/>
                <a:gd name="connsiteX224" fmla="*/ 873682 w 1178159"/>
                <a:gd name="connsiteY224" fmla="*/ 173661 h 466571"/>
                <a:gd name="connsiteX225" fmla="*/ 924835 w 1178159"/>
                <a:gd name="connsiteY225" fmla="*/ 183925 h 466571"/>
                <a:gd name="connsiteX226" fmla="*/ 928093 w 1178159"/>
                <a:gd name="connsiteY226" fmla="*/ 185065 h 466571"/>
                <a:gd name="connsiteX227" fmla="*/ 932329 w 1178159"/>
                <a:gd name="connsiteY227" fmla="*/ 183599 h 466571"/>
                <a:gd name="connsiteX228" fmla="*/ 931351 w 1178159"/>
                <a:gd name="connsiteY228" fmla="*/ 180177 h 466571"/>
                <a:gd name="connsiteX229" fmla="*/ 925161 w 1178159"/>
                <a:gd name="connsiteY229" fmla="*/ 176431 h 466571"/>
                <a:gd name="connsiteX230" fmla="*/ 916527 w 1178159"/>
                <a:gd name="connsiteY230" fmla="*/ 176431 h 466571"/>
                <a:gd name="connsiteX231" fmla="*/ 912617 w 1178159"/>
                <a:gd name="connsiteY231" fmla="*/ 179363 h 466571"/>
                <a:gd name="connsiteX232" fmla="*/ 907567 w 1178159"/>
                <a:gd name="connsiteY232" fmla="*/ 179363 h 466571"/>
                <a:gd name="connsiteX233" fmla="*/ 905938 w 1178159"/>
                <a:gd name="connsiteY233" fmla="*/ 180341 h 466571"/>
                <a:gd name="connsiteX234" fmla="*/ 907567 w 1178159"/>
                <a:gd name="connsiteY234" fmla="*/ 182133 h 466571"/>
                <a:gd name="connsiteX235" fmla="*/ 903983 w 1178159"/>
                <a:gd name="connsiteY235" fmla="*/ 183110 h 466571"/>
                <a:gd name="connsiteX236" fmla="*/ 911314 w 1178159"/>
                <a:gd name="connsiteY236" fmla="*/ 184250 h 466571"/>
                <a:gd name="connsiteX237" fmla="*/ 916038 w 1178159"/>
                <a:gd name="connsiteY237" fmla="*/ 186368 h 466571"/>
                <a:gd name="connsiteX238" fmla="*/ 920274 w 1178159"/>
                <a:gd name="connsiteY238" fmla="*/ 185717 h 466571"/>
                <a:gd name="connsiteX239" fmla="*/ 920274 w 1178159"/>
                <a:gd name="connsiteY239" fmla="*/ 183599 h 466571"/>
                <a:gd name="connsiteX240" fmla="*/ 916038 w 1178159"/>
                <a:gd name="connsiteY240" fmla="*/ 181969 h 466571"/>
                <a:gd name="connsiteX241" fmla="*/ 915387 w 1178159"/>
                <a:gd name="connsiteY241" fmla="*/ 180829 h 466571"/>
                <a:gd name="connsiteX242" fmla="*/ 917178 w 1178159"/>
                <a:gd name="connsiteY242" fmla="*/ 179852 h 466571"/>
                <a:gd name="connsiteX243" fmla="*/ 924509 w 1178159"/>
                <a:gd name="connsiteY243" fmla="*/ 183925 h 466571"/>
                <a:gd name="connsiteX244" fmla="*/ 924509 w 1178159"/>
                <a:gd name="connsiteY244" fmla="*/ 183925 h 466571"/>
                <a:gd name="connsiteX245" fmla="*/ 916527 w 1178159"/>
                <a:gd name="connsiteY245" fmla="*/ 199238 h 466571"/>
                <a:gd name="connsiteX246" fmla="*/ 911314 w 1178159"/>
                <a:gd name="connsiteY246" fmla="*/ 197283 h 466571"/>
                <a:gd name="connsiteX247" fmla="*/ 906426 w 1178159"/>
                <a:gd name="connsiteY247" fmla="*/ 198260 h 466571"/>
                <a:gd name="connsiteX248" fmla="*/ 910336 w 1178159"/>
                <a:gd name="connsiteY248" fmla="*/ 200378 h 466571"/>
                <a:gd name="connsiteX249" fmla="*/ 916364 w 1178159"/>
                <a:gd name="connsiteY249" fmla="*/ 199238 h 466571"/>
                <a:gd name="connsiteX250" fmla="*/ 916364 w 1178159"/>
                <a:gd name="connsiteY250" fmla="*/ 199238 h 466571"/>
                <a:gd name="connsiteX251" fmla="*/ 920111 w 1178159"/>
                <a:gd name="connsiteY251" fmla="*/ 195491 h 466571"/>
                <a:gd name="connsiteX252" fmla="*/ 918156 w 1178159"/>
                <a:gd name="connsiteY252" fmla="*/ 198586 h 466571"/>
                <a:gd name="connsiteX253" fmla="*/ 915875 w 1178159"/>
                <a:gd name="connsiteY253" fmla="*/ 196143 h 466571"/>
                <a:gd name="connsiteX254" fmla="*/ 920111 w 1178159"/>
                <a:gd name="connsiteY254" fmla="*/ 195491 h 466571"/>
                <a:gd name="connsiteX255" fmla="*/ 920111 w 1178159"/>
                <a:gd name="connsiteY255" fmla="*/ 195491 h 466571"/>
                <a:gd name="connsiteX256" fmla="*/ 919296 w 1178159"/>
                <a:gd name="connsiteY256" fmla="*/ 199401 h 466571"/>
                <a:gd name="connsiteX257" fmla="*/ 914083 w 1178159"/>
                <a:gd name="connsiteY257" fmla="*/ 203148 h 466571"/>
                <a:gd name="connsiteX258" fmla="*/ 914083 w 1178159"/>
                <a:gd name="connsiteY258" fmla="*/ 209990 h 466571"/>
                <a:gd name="connsiteX259" fmla="*/ 919622 w 1178159"/>
                <a:gd name="connsiteY259" fmla="*/ 211130 h 466571"/>
                <a:gd name="connsiteX260" fmla="*/ 922066 w 1178159"/>
                <a:gd name="connsiteY260" fmla="*/ 209338 h 466571"/>
                <a:gd name="connsiteX261" fmla="*/ 923369 w 1178159"/>
                <a:gd name="connsiteY261" fmla="*/ 200704 h 466571"/>
                <a:gd name="connsiteX262" fmla="*/ 919459 w 1178159"/>
                <a:gd name="connsiteY262" fmla="*/ 199238 h 466571"/>
                <a:gd name="connsiteX263" fmla="*/ 919459 w 1178159"/>
                <a:gd name="connsiteY263" fmla="*/ 199238 h 466571"/>
                <a:gd name="connsiteX264" fmla="*/ 776751 w 1178159"/>
                <a:gd name="connsiteY264" fmla="*/ 74450 h 466571"/>
                <a:gd name="connsiteX265" fmla="*/ 781964 w 1178159"/>
                <a:gd name="connsiteY265" fmla="*/ 80314 h 466571"/>
                <a:gd name="connsiteX266" fmla="*/ 783593 w 1178159"/>
                <a:gd name="connsiteY266" fmla="*/ 85690 h 466571"/>
                <a:gd name="connsiteX267" fmla="*/ 781312 w 1178159"/>
                <a:gd name="connsiteY267" fmla="*/ 88297 h 466571"/>
                <a:gd name="connsiteX268" fmla="*/ 776751 w 1178159"/>
                <a:gd name="connsiteY268" fmla="*/ 84224 h 466571"/>
                <a:gd name="connsiteX269" fmla="*/ 775773 w 1178159"/>
                <a:gd name="connsiteY269" fmla="*/ 77708 h 466571"/>
                <a:gd name="connsiteX270" fmla="*/ 776751 w 1178159"/>
                <a:gd name="connsiteY270" fmla="*/ 74450 h 466571"/>
                <a:gd name="connsiteX271" fmla="*/ 776751 w 1178159"/>
                <a:gd name="connsiteY271" fmla="*/ 74450 h 466571"/>
                <a:gd name="connsiteX272" fmla="*/ 807866 w 1178159"/>
                <a:gd name="connsiteY272" fmla="*/ 56041 h 466571"/>
                <a:gd name="connsiteX273" fmla="*/ 809659 w 1178159"/>
                <a:gd name="connsiteY273" fmla="*/ 62231 h 466571"/>
                <a:gd name="connsiteX274" fmla="*/ 810147 w 1178159"/>
                <a:gd name="connsiteY274" fmla="*/ 66956 h 466571"/>
                <a:gd name="connsiteX275" fmla="*/ 812754 w 1178159"/>
                <a:gd name="connsiteY275" fmla="*/ 65815 h 466571"/>
                <a:gd name="connsiteX276" fmla="*/ 814709 w 1178159"/>
                <a:gd name="connsiteY276" fmla="*/ 61254 h 466571"/>
                <a:gd name="connsiteX277" fmla="*/ 813568 w 1178159"/>
                <a:gd name="connsiteY277" fmla="*/ 56529 h 466571"/>
                <a:gd name="connsiteX278" fmla="*/ 810147 w 1178159"/>
                <a:gd name="connsiteY278" fmla="*/ 54249 h 466571"/>
                <a:gd name="connsiteX279" fmla="*/ 807703 w 1178159"/>
                <a:gd name="connsiteY279" fmla="*/ 55878 h 466571"/>
                <a:gd name="connsiteX280" fmla="*/ 807703 w 1178159"/>
                <a:gd name="connsiteY280" fmla="*/ 55878 h 466571"/>
                <a:gd name="connsiteX281" fmla="*/ 807866 w 1178159"/>
                <a:gd name="connsiteY281" fmla="*/ 68585 h 466571"/>
                <a:gd name="connsiteX282" fmla="*/ 810636 w 1178159"/>
                <a:gd name="connsiteY282" fmla="*/ 69399 h 466571"/>
                <a:gd name="connsiteX283" fmla="*/ 812265 w 1178159"/>
                <a:gd name="connsiteY283" fmla="*/ 74124 h 466571"/>
                <a:gd name="connsiteX284" fmla="*/ 810310 w 1178159"/>
                <a:gd name="connsiteY284" fmla="*/ 74124 h 466571"/>
                <a:gd name="connsiteX285" fmla="*/ 807866 w 1178159"/>
                <a:gd name="connsiteY285" fmla="*/ 68585 h 466571"/>
                <a:gd name="connsiteX286" fmla="*/ 807866 w 1178159"/>
                <a:gd name="connsiteY286" fmla="*/ 68585 h 466571"/>
                <a:gd name="connsiteX287" fmla="*/ 848919 w 1178159"/>
                <a:gd name="connsiteY287" fmla="*/ 115828 h 466571"/>
                <a:gd name="connsiteX288" fmla="*/ 850549 w 1178159"/>
                <a:gd name="connsiteY288" fmla="*/ 123974 h 466571"/>
                <a:gd name="connsiteX289" fmla="*/ 853481 w 1178159"/>
                <a:gd name="connsiteY289" fmla="*/ 121530 h 466571"/>
                <a:gd name="connsiteX290" fmla="*/ 857228 w 1178159"/>
                <a:gd name="connsiteY290" fmla="*/ 121856 h 466571"/>
                <a:gd name="connsiteX291" fmla="*/ 860975 w 1178159"/>
                <a:gd name="connsiteY291" fmla="*/ 118272 h 466571"/>
                <a:gd name="connsiteX292" fmla="*/ 859509 w 1178159"/>
                <a:gd name="connsiteY292" fmla="*/ 114362 h 466571"/>
                <a:gd name="connsiteX293" fmla="*/ 856250 w 1178159"/>
                <a:gd name="connsiteY293" fmla="*/ 112244 h 466571"/>
                <a:gd name="connsiteX294" fmla="*/ 852992 w 1178159"/>
                <a:gd name="connsiteY294" fmla="*/ 114688 h 466571"/>
                <a:gd name="connsiteX295" fmla="*/ 849082 w 1178159"/>
                <a:gd name="connsiteY295" fmla="*/ 116154 h 466571"/>
                <a:gd name="connsiteX296" fmla="*/ 849082 w 1178159"/>
                <a:gd name="connsiteY296" fmla="*/ 116154 h 466571"/>
                <a:gd name="connsiteX297" fmla="*/ 844032 w 1178159"/>
                <a:gd name="connsiteY297" fmla="*/ 184413 h 466571"/>
                <a:gd name="connsiteX298" fmla="*/ 845987 w 1178159"/>
                <a:gd name="connsiteY298" fmla="*/ 191581 h 466571"/>
                <a:gd name="connsiteX299" fmla="*/ 852666 w 1178159"/>
                <a:gd name="connsiteY299" fmla="*/ 197446 h 466571"/>
                <a:gd name="connsiteX300" fmla="*/ 854133 w 1178159"/>
                <a:gd name="connsiteY300" fmla="*/ 199890 h 466571"/>
                <a:gd name="connsiteX301" fmla="*/ 852178 w 1178159"/>
                <a:gd name="connsiteY301" fmla="*/ 200541 h 466571"/>
                <a:gd name="connsiteX302" fmla="*/ 851852 w 1178159"/>
                <a:gd name="connsiteY302" fmla="*/ 203636 h 466571"/>
                <a:gd name="connsiteX303" fmla="*/ 850712 w 1178159"/>
                <a:gd name="connsiteY303" fmla="*/ 199564 h 466571"/>
                <a:gd name="connsiteX304" fmla="*/ 846313 w 1178159"/>
                <a:gd name="connsiteY304" fmla="*/ 197772 h 466571"/>
                <a:gd name="connsiteX305" fmla="*/ 842241 w 1178159"/>
                <a:gd name="connsiteY305" fmla="*/ 189463 h 466571"/>
                <a:gd name="connsiteX306" fmla="*/ 836864 w 1178159"/>
                <a:gd name="connsiteY306" fmla="*/ 186205 h 466571"/>
                <a:gd name="connsiteX307" fmla="*/ 833606 w 1178159"/>
                <a:gd name="connsiteY307" fmla="*/ 180503 h 466571"/>
                <a:gd name="connsiteX308" fmla="*/ 835561 w 1178159"/>
                <a:gd name="connsiteY308" fmla="*/ 175127 h 466571"/>
                <a:gd name="connsiteX309" fmla="*/ 834584 w 1178159"/>
                <a:gd name="connsiteY309" fmla="*/ 172195 h 466571"/>
                <a:gd name="connsiteX310" fmla="*/ 835235 w 1178159"/>
                <a:gd name="connsiteY310" fmla="*/ 169100 h 466571"/>
                <a:gd name="connsiteX311" fmla="*/ 830348 w 1178159"/>
                <a:gd name="connsiteY311" fmla="*/ 165027 h 466571"/>
                <a:gd name="connsiteX312" fmla="*/ 831325 w 1178159"/>
                <a:gd name="connsiteY312" fmla="*/ 159814 h 466571"/>
                <a:gd name="connsiteX313" fmla="*/ 833280 w 1178159"/>
                <a:gd name="connsiteY313" fmla="*/ 156556 h 466571"/>
                <a:gd name="connsiteX314" fmla="*/ 830348 w 1178159"/>
                <a:gd name="connsiteY314" fmla="*/ 151180 h 466571"/>
                <a:gd name="connsiteX315" fmla="*/ 827741 w 1178159"/>
                <a:gd name="connsiteY315" fmla="*/ 147922 h 466571"/>
                <a:gd name="connsiteX316" fmla="*/ 829371 w 1178159"/>
                <a:gd name="connsiteY316" fmla="*/ 141405 h 466571"/>
                <a:gd name="connsiteX317" fmla="*/ 832466 w 1178159"/>
                <a:gd name="connsiteY317" fmla="*/ 138961 h 466571"/>
                <a:gd name="connsiteX318" fmla="*/ 831977 w 1178159"/>
                <a:gd name="connsiteY318" fmla="*/ 132445 h 466571"/>
                <a:gd name="connsiteX319" fmla="*/ 833606 w 1178159"/>
                <a:gd name="connsiteY319" fmla="*/ 125114 h 466571"/>
                <a:gd name="connsiteX320" fmla="*/ 841263 w 1178159"/>
                <a:gd name="connsiteY320" fmla="*/ 117620 h 466571"/>
                <a:gd name="connsiteX321" fmla="*/ 843869 w 1178159"/>
                <a:gd name="connsiteY321" fmla="*/ 116969 h 466571"/>
                <a:gd name="connsiteX322" fmla="*/ 843381 w 1178159"/>
                <a:gd name="connsiteY322" fmla="*/ 121042 h 466571"/>
                <a:gd name="connsiteX323" fmla="*/ 839471 w 1178159"/>
                <a:gd name="connsiteY323" fmla="*/ 125440 h 466571"/>
                <a:gd name="connsiteX324" fmla="*/ 840448 w 1178159"/>
                <a:gd name="connsiteY324" fmla="*/ 128210 h 466571"/>
                <a:gd name="connsiteX325" fmla="*/ 844847 w 1178159"/>
                <a:gd name="connsiteY325" fmla="*/ 130002 h 466571"/>
                <a:gd name="connsiteX326" fmla="*/ 844847 w 1178159"/>
                <a:gd name="connsiteY326" fmla="*/ 137821 h 466571"/>
                <a:gd name="connsiteX327" fmla="*/ 842892 w 1178159"/>
                <a:gd name="connsiteY327" fmla="*/ 144338 h 466571"/>
                <a:gd name="connsiteX328" fmla="*/ 838819 w 1178159"/>
                <a:gd name="connsiteY328" fmla="*/ 144338 h 466571"/>
                <a:gd name="connsiteX329" fmla="*/ 835072 w 1178159"/>
                <a:gd name="connsiteY329" fmla="*/ 148247 h 466571"/>
                <a:gd name="connsiteX330" fmla="*/ 837353 w 1178159"/>
                <a:gd name="connsiteY330" fmla="*/ 152483 h 466571"/>
                <a:gd name="connsiteX331" fmla="*/ 840285 w 1178159"/>
                <a:gd name="connsiteY331" fmla="*/ 151994 h 466571"/>
                <a:gd name="connsiteX332" fmla="*/ 841914 w 1178159"/>
                <a:gd name="connsiteY332" fmla="*/ 147922 h 466571"/>
                <a:gd name="connsiteX333" fmla="*/ 846313 w 1178159"/>
                <a:gd name="connsiteY333" fmla="*/ 145967 h 466571"/>
                <a:gd name="connsiteX334" fmla="*/ 848594 w 1178159"/>
                <a:gd name="connsiteY334" fmla="*/ 143360 h 466571"/>
                <a:gd name="connsiteX335" fmla="*/ 845987 w 1178159"/>
                <a:gd name="connsiteY335" fmla="*/ 143360 h 466571"/>
                <a:gd name="connsiteX336" fmla="*/ 846476 w 1178159"/>
                <a:gd name="connsiteY336" fmla="*/ 139613 h 466571"/>
                <a:gd name="connsiteX337" fmla="*/ 854133 w 1178159"/>
                <a:gd name="connsiteY337" fmla="*/ 135703 h 466571"/>
                <a:gd name="connsiteX338" fmla="*/ 862278 w 1178159"/>
                <a:gd name="connsiteY338" fmla="*/ 132771 h 466571"/>
                <a:gd name="connsiteX339" fmla="*/ 865210 w 1178159"/>
                <a:gd name="connsiteY339" fmla="*/ 135866 h 466571"/>
                <a:gd name="connsiteX340" fmla="*/ 865536 w 1178159"/>
                <a:gd name="connsiteY340" fmla="*/ 139613 h 466571"/>
                <a:gd name="connsiteX341" fmla="*/ 861626 w 1178159"/>
                <a:gd name="connsiteY341" fmla="*/ 148573 h 466571"/>
                <a:gd name="connsiteX342" fmla="*/ 852341 w 1178159"/>
                <a:gd name="connsiteY342" fmla="*/ 151668 h 466571"/>
                <a:gd name="connsiteX343" fmla="*/ 849082 w 1178159"/>
                <a:gd name="connsiteY343" fmla="*/ 155578 h 466571"/>
                <a:gd name="connsiteX344" fmla="*/ 851037 w 1178159"/>
                <a:gd name="connsiteY344" fmla="*/ 158999 h 466571"/>
                <a:gd name="connsiteX345" fmla="*/ 854296 w 1178159"/>
                <a:gd name="connsiteY345" fmla="*/ 159325 h 466571"/>
                <a:gd name="connsiteX346" fmla="*/ 860812 w 1178159"/>
                <a:gd name="connsiteY346" fmla="*/ 163887 h 466571"/>
                <a:gd name="connsiteX347" fmla="*/ 861789 w 1178159"/>
                <a:gd name="connsiteY347" fmla="*/ 167634 h 466571"/>
                <a:gd name="connsiteX348" fmla="*/ 864233 w 1178159"/>
                <a:gd name="connsiteY348" fmla="*/ 169588 h 466571"/>
                <a:gd name="connsiteX349" fmla="*/ 859183 w 1178159"/>
                <a:gd name="connsiteY349" fmla="*/ 169914 h 466571"/>
                <a:gd name="connsiteX350" fmla="*/ 855762 w 1178159"/>
                <a:gd name="connsiteY350" fmla="*/ 167145 h 466571"/>
                <a:gd name="connsiteX351" fmla="*/ 849082 w 1178159"/>
                <a:gd name="connsiteY351" fmla="*/ 167145 h 466571"/>
                <a:gd name="connsiteX352" fmla="*/ 843218 w 1178159"/>
                <a:gd name="connsiteY352" fmla="*/ 165190 h 466571"/>
                <a:gd name="connsiteX353" fmla="*/ 839471 w 1178159"/>
                <a:gd name="connsiteY353" fmla="*/ 166493 h 466571"/>
                <a:gd name="connsiteX354" fmla="*/ 839471 w 1178159"/>
                <a:gd name="connsiteY354" fmla="*/ 176105 h 466571"/>
                <a:gd name="connsiteX355" fmla="*/ 843707 w 1178159"/>
                <a:gd name="connsiteY355" fmla="*/ 184413 h 466571"/>
                <a:gd name="connsiteX356" fmla="*/ 843707 w 1178159"/>
                <a:gd name="connsiteY356" fmla="*/ 184413 h 466571"/>
                <a:gd name="connsiteX357" fmla="*/ 823506 w 1178159"/>
                <a:gd name="connsiteY357" fmla="*/ 195817 h 466571"/>
                <a:gd name="connsiteX358" fmla="*/ 825298 w 1178159"/>
                <a:gd name="connsiteY358" fmla="*/ 199564 h 466571"/>
                <a:gd name="connsiteX359" fmla="*/ 820085 w 1178159"/>
                <a:gd name="connsiteY359" fmla="*/ 197935 h 466571"/>
                <a:gd name="connsiteX360" fmla="*/ 821877 w 1178159"/>
                <a:gd name="connsiteY360" fmla="*/ 194514 h 466571"/>
                <a:gd name="connsiteX361" fmla="*/ 823506 w 1178159"/>
                <a:gd name="connsiteY361" fmla="*/ 195654 h 466571"/>
                <a:gd name="connsiteX362" fmla="*/ 823506 w 1178159"/>
                <a:gd name="connsiteY362" fmla="*/ 195654 h 466571"/>
                <a:gd name="connsiteX363" fmla="*/ 823343 w 1178159"/>
                <a:gd name="connsiteY363" fmla="*/ 185554 h 466571"/>
                <a:gd name="connsiteX364" fmla="*/ 820410 w 1178159"/>
                <a:gd name="connsiteY364" fmla="*/ 185554 h 466571"/>
                <a:gd name="connsiteX365" fmla="*/ 818782 w 1178159"/>
                <a:gd name="connsiteY365" fmla="*/ 190441 h 466571"/>
                <a:gd name="connsiteX366" fmla="*/ 821877 w 1178159"/>
                <a:gd name="connsiteY366" fmla="*/ 191581 h 466571"/>
                <a:gd name="connsiteX367" fmla="*/ 823180 w 1178159"/>
                <a:gd name="connsiteY367" fmla="*/ 188160 h 466571"/>
                <a:gd name="connsiteX368" fmla="*/ 823180 w 1178159"/>
                <a:gd name="connsiteY368" fmla="*/ 185554 h 466571"/>
                <a:gd name="connsiteX369" fmla="*/ 823180 w 1178159"/>
                <a:gd name="connsiteY369" fmla="*/ 185554 h 466571"/>
                <a:gd name="connsiteX370" fmla="*/ 827578 w 1178159"/>
                <a:gd name="connsiteY370" fmla="*/ 188486 h 466571"/>
                <a:gd name="connsiteX371" fmla="*/ 825950 w 1178159"/>
                <a:gd name="connsiteY371" fmla="*/ 189952 h 466571"/>
                <a:gd name="connsiteX372" fmla="*/ 826275 w 1178159"/>
                <a:gd name="connsiteY372" fmla="*/ 193047 h 466571"/>
                <a:gd name="connsiteX373" fmla="*/ 829044 w 1178159"/>
                <a:gd name="connsiteY373" fmla="*/ 197283 h 466571"/>
                <a:gd name="connsiteX374" fmla="*/ 833443 w 1178159"/>
                <a:gd name="connsiteY374" fmla="*/ 197283 h 466571"/>
                <a:gd name="connsiteX375" fmla="*/ 836212 w 1178159"/>
                <a:gd name="connsiteY375" fmla="*/ 199727 h 466571"/>
                <a:gd name="connsiteX376" fmla="*/ 838493 w 1178159"/>
                <a:gd name="connsiteY376" fmla="*/ 197283 h 466571"/>
                <a:gd name="connsiteX377" fmla="*/ 837190 w 1178159"/>
                <a:gd name="connsiteY377" fmla="*/ 195165 h 466571"/>
                <a:gd name="connsiteX378" fmla="*/ 833606 w 1178159"/>
                <a:gd name="connsiteY378" fmla="*/ 193536 h 466571"/>
                <a:gd name="connsiteX379" fmla="*/ 833932 w 1178159"/>
                <a:gd name="connsiteY379" fmla="*/ 189789 h 466571"/>
                <a:gd name="connsiteX380" fmla="*/ 831000 w 1178159"/>
                <a:gd name="connsiteY380" fmla="*/ 187834 h 466571"/>
                <a:gd name="connsiteX381" fmla="*/ 827578 w 1178159"/>
                <a:gd name="connsiteY381" fmla="*/ 188486 h 466571"/>
                <a:gd name="connsiteX382" fmla="*/ 827578 w 1178159"/>
                <a:gd name="connsiteY382" fmla="*/ 188486 h 466571"/>
                <a:gd name="connsiteX383" fmla="*/ 826764 w 1178159"/>
                <a:gd name="connsiteY383" fmla="*/ 218135 h 466571"/>
                <a:gd name="connsiteX384" fmla="*/ 833932 w 1178159"/>
                <a:gd name="connsiteY384" fmla="*/ 212759 h 466571"/>
                <a:gd name="connsiteX385" fmla="*/ 840123 w 1178159"/>
                <a:gd name="connsiteY385" fmla="*/ 213085 h 466571"/>
                <a:gd name="connsiteX386" fmla="*/ 846476 w 1178159"/>
                <a:gd name="connsiteY386" fmla="*/ 219439 h 466571"/>
                <a:gd name="connsiteX387" fmla="*/ 845010 w 1178159"/>
                <a:gd name="connsiteY387" fmla="*/ 222371 h 466571"/>
                <a:gd name="connsiteX388" fmla="*/ 837679 w 1178159"/>
                <a:gd name="connsiteY388" fmla="*/ 222371 h 466571"/>
                <a:gd name="connsiteX389" fmla="*/ 834258 w 1178159"/>
                <a:gd name="connsiteY389" fmla="*/ 223023 h 466571"/>
                <a:gd name="connsiteX390" fmla="*/ 829859 w 1178159"/>
                <a:gd name="connsiteY390" fmla="*/ 221231 h 466571"/>
                <a:gd name="connsiteX391" fmla="*/ 826927 w 1178159"/>
                <a:gd name="connsiteY391" fmla="*/ 218135 h 466571"/>
                <a:gd name="connsiteX392" fmla="*/ 826927 w 1178159"/>
                <a:gd name="connsiteY392" fmla="*/ 218135 h 466571"/>
                <a:gd name="connsiteX393" fmla="*/ 900562 w 1178159"/>
                <a:gd name="connsiteY393" fmla="*/ 220416 h 466571"/>
                <a:gd name="connsiteX394" fmla="*/ 891113 w 1178159"/>
                <a:gd name="connsiteY394" fmla="*/ 222697 h 466571"/>
                <a:gd name="connsiteX395" fmla="*/ 887692 w 1178159"/>
                <a:gd name="connsiteY395" fmla="*/ 224977 h 466571"/>
                <a:gd name="connsiteX396" fmla="*/ 889973 w 1178159"/>
                <a:gd name="connsiteY396" fmla="*/ 227095 h 466571"/>
                <a:gd name="connsiteX397" fmla="*/ 898118 w 1178159"/>
                <a:gd name="connsiteY397" fmla="*/ 229702 h 466571"/>
                <a:gd name="connsiteX398" fmla="*/ 905123 w 1178159"/>
                <a:gd name="connsiteY398" fmla="*/ 227584 h 466571"/>
                <a:gd name="connsiteX399" fmla="*/ 903168 w 1178159"/>
                <a:gd name="connsiteY399" fmla="*/ 226444 h 466571"/>
                <a:gd name="connsiteX400" fmla="*/ 902842 w 1178159"/>
                <a:gd name="connsiteY400" fmla="*/ 222534 h 466571"/>
                <a:gd name="connsiteX401" fmla="*/ 900562 w 1178159"/>
                <a:gd name="connsiteY401" fmla="*/ 220253 h 466571"/>
                <a:gd name="connsiteX402" fmla="*/ 900562 w 1178159"/>
                <a:gd name="connsiteY402" fmla="*/ 220253 h 466571"/>
                <a:gd name="connsiteX403" fmla="*/ 856576 w 1178159"/>
                <a:gd name="connsiteY403" fmla="*/ 270429 h 466571"/>
                <a:gd name="connsiteX404" fmla="*/ 859509 w 1178159"/>
                <a:gd name="connsiteY404" fmla="*/ 269941 h 466571"/>
                <a:gd name="connsiteX405" fmla="*/ 859509 w 1178159"/>
                <a:gd name="connsiteY405" fmla="*/ 271895 h 466571"/>
                <a:gd name="connsiteX406" fmla="*/ 857717 w 1178159"/>
                <a:gd name="connsiteY406" fmla="*/ 272384 h 466571"/>
                <a:gd name="connsiteX407" fmla="*/ 856576 w 1178159"/>
                <a:gd name="connsiteY407" fmla="*/ 270429 h 466571"/>
                <a:gd name="connsiteX408" fmla="*/ 856576 w 1178159"/>
                <a:gd name="connsiteY408" fmla="*/ 270429 h 466571"/>
                <a:gd name="connsiteX409" fmla="*/ 851689 w 1178159"/>
                <a:gd name="connsiteY409" fmla="*/ 270755 h 466571"/>
                <a:gd name="connsiteX410" fmla="*/ 854296 w 1178159"/>
                <a:gd name="connsiteY410" fmla="*/ 270755 h 466571"/>
                <a:gd name="connsiteX411" fmla="*/ 854784 w 1178159"/>
                <a:gd name="connsiteY411" fmla="*/ 273036 h 466571"/>
                <a:gd name="connsiteX412" fmla="*/ 852341 w 1178159"/>
                <a:gd name="connsiteY412" fmla="*/ 273036 h 466571"/>
                <a:gd name="connsiteX413" fmla="*/ 851852 w 1178159"/>
                <a:gd name="connsiteY413" fmla="*/ 270755 h 466571"/>
                <a:gd name="connsiteX414" fmla="*/ 851852 w 1178159"/>
                <a:gd name="connsiteY414" fmla="*/ 270755 h 466571"/>
                <a:gd name="connsiteX415" fmla="*/ 838657 w 1178159"/>
                <a:gd name="connsiteY415" fmla="*/ 273362 h 466571"/>
                <a:gd name="connsiteX416" fmla="*/ 844684 w 1178159"/>
                <a:gd name="connsiteY416" fmla="*/ 271570 h 466571"/>
                <a:gd name="connsiteX417" fmla="*/ 847128 w 1178159"/>
                <a:gd name="connsiteY417" fmla="*/ 269778 h 466571"/>
                <a:gd name="connsiteX418" fmla="*/ 849734 w 1178159"/>
                <a:gd name="connsiteY418" fmla="*/ 271081 h 466571"/>
                <a:gd name="connsiteX419" fmla="*/ 846639 w 1178159"/>
                <a:gd name="connsiteY419" fmla="*/ 276457 h 466571"/>
                <a:gd name="connsiteX420" fmla="*/ 845661 w 1178159"/>
                <a:gd name="connsiteY420" fmla="*/ 274013 h 466571"/>
                <a:gd name="connsiteX421" fmla="*/ 841914 w 1178159"/>
                <a:gd name="connsiteY421" fmla="*/ 276294 h 466571"/>
                <a:gd name="connsiteX422" fmla="*/ 838493 w 1178159"/>
                <a:gd name="connsiteY422" fmla="*/ 273362 h 466571"/>
                <a:gd name="connsiteX423" fmla="*/ 838493 w 1178159"/>
                <a:gd name="connsiteY423" fmla="*/ 273362 h 466571"/>
                <a:gd name="connsiteX424" fmla="*/ 836864 w 1178159"/>
                <a:gd name="connsiteY424" fmla="*/ 257722 h 466571"/>
                <a:gd name="connsiteX425" fmla="*/ 833932 w 1178159"/>
                <a:gd name="connsiteY425" fmla="*/ 260329 h 466571"/>
                <a:gd name="connsiteX426" fmla="*/ 836864 w 1178159"/>
                <a:gd name="connsiteY426" fmla="*/ 260818 h 466571"/>
                <a:gd name="connsiteX427" fmla="*/ 836864 w 1178159"/>
                <a:gd name="connsiteY427" fmla="*/ 257722 h 466571"/>
                <a:gd name="connsiteX428" fmla="*/ 836864 w 1178159"/>
                <a:gd name="connsiteY428" fmla="*/ 257722 h 466571"/>
                <a:gd name="connsiteX429" fmla="*/ 842241 w 1178159"/>
                <a:gd name="connsiteY429" fmla="*/ 252509 h 466571"/>
                <a:gd name="connsiteX430" fmla="*/ 837842 w 1178159"/>
                <a:gd name="connsiteY430" fmla="*/ 252835 h 466571"/>
                <a:gd name="connsiteX431" fmla="*/ 838819 w 1178159"/>
                <a:gd name="connsiteY431" fmla="*/ 255116 h 466571"/>
                <a:gd name="connsiteX432" fmla="*/ 841426 w 1178159"/>
                <a:gd name="connsiteY432" fmla="*/ 255116 h 466571"/>
                <a:gd name="connsiteX433" fmla="*/ 842241 w 1178159"/>
                <a:gd name="connsiteY433" fmla="*/ 252672 h 466571"/>
                <a:gd name="connsiteX434" fmla="*/ 842241 w 1178159"/>
                <a:gd name="connsiteY434" fmla="*/ 252672 h 466571"/>
                <a:gd name="connsiteX435" fmla="*/ 843544 w 1178159"/>
                <a:gd name="connsiteY435" fmla="*/ 266845 h 466571"/>
                <a:gd name="connsiteX436" fmla="*/ 848105 w 1178159"/>
                <a:gd name="connsiteY436" fmla="*/ 259514 h 466571"/>
                <a:gd name="connsiteX437" fmla="*/ 852015 w 1178159"/>
                <a:gd name="connsiteY437" fmla="*/ 263750 h 466571"/>
                <a:gd name="connsiteX438" fmla="*/ 854296 w 1178159"/>
                <a:gd name="connsiteY438" fmla="*/ 267008 h 466571"/>
                <a:gd name="connsiteX439" fmla="*/ 858857 w 1178159"/>
                <a:gd name="connsiteY439" fmla="*/ 266682 h 466571"/>
                <a:gd name="connsiteX440" fmla="*/ 863582 w 1178159"/>
                <a:gd name="connsiteY440" fmla="*/ 261958 h 466571"/>
                <a:gd name="connsiteX441" fmla="*/ 866677 w 1178159"/>
                <a:gd name="connsiteY441" fmla="*/ 261958 h 466571"/>
                <a:gd name="connsiteX442" fmla="*/ 869446 w 1178159"/>
                <a:gd name="connsiteY442" fmla="*/ 266682 h 466571"/>
                <a:gd name="connsiteX443" fmla="*/ 880524 w 1178159"/>
                <a:gd name="connsiteY443" fmla="*/ 267986 h 466571"/>
                <a:gd name="connsiteX444" fmla="*/ 882968 w 1178159"/>
                <a:gd name="connsiteY444" fmla="*/ 264727 h 466571"/>
                <a:gd name="connsiteX445" fmla="*/ 888181 w 1178159"/>
                <a:gd name="connsiteY445" fmla="*/ 264727 h 466571"/>
                <a:gd name="connsiteX446" fmla="*/ 898281 w 1178159"/>
                <a:gd name="connsiteY446" fmla="*/ 270755 h 466571"/>
                <a:gd name="connsiteX447" fmla="*/ 902842 w 1178159"/>
                <a:gd name="connsiteY447" fmla="*/ 271733 h 466571"/>
                <a:gd name="connsiteX448" fmla="*/ 908382 w 1178159"/>
                <a:gd name="connsiteY448" fmla="*/ 277597 h 466571"/>
                <a:gd name="connsiteX449" fmla="*/ 913757 w 1178159"/>
                <a:gd name="connsiteY449" fmla="*/ 277597 h 466571"/>
                <a:gd name="connsiteX450" fmla="*/ 915712 w 1178159"/>
                <a:gd name="connsiteY450" fmla="*/ 273036 h 466571"/>
                <a:gd name="connsiteX451" fmla="*/ 913269 w 1178159"/>
                <a:gd name="connsiteY451" fmla="*/ 263424 h 466571"/>
                <a:gd name="connsiteX452" fmla="*/ 900562 w 1178159"/>
                <a:gd name="connsiteY452" fmla="*/ 256256 h 466571"/>
                <a:gd name="connsiteX453" fmla="*/ 890135 w 1178159"/>
                <a:gd name="connsiteY453" fmla="*/ 254301 h 466571"/>
                <a:gd name="connsiteX454" fmla="*/ 884923 w 1178159"/>
                <a:gd name="connsiteY454" fmla="*/ 250066 h 466571"/>
                <a:gd name="connsiteX455" fmla="*/ 879384 w 1178159"/>
                <a:gd name="connsiteY455" fmla="*/ 249577 h 466571"/>
                <a:gd name="connsiteX456" fmla="*/ 874822 w 1178159"/>
                <a:gd name="connsiteY456" fmla="*/ 253650 h 466571"/>
                <a:gd name="connsiteX457" fmla="*/ 869446 w 1178159"/>
                <a:gd name="connsiteY457" fmla="*/ 253161 h 466571"/>
                <a:gd name="connsiteX458" fmla="*/ 865699 w 1178159"/>
                <a:gd name="connsiteY458" fmla="*/ 251695 h 466571"/>
                <a:gd name="connsiteX459" fmla="*/ 858205 w 1178159"/>
                <a:gd name="connsiteY459" fmla="*/ 252184 h 466571"/>
                <a:gd name="connsiteX460" fmla="*/ 847779 w 1178159"/>
                <a:gd name="connsiteY460" fmla="*/ 252184 h 466571"/>
                <a:gd name="connsiteX461" fmla="*/ 845498 w 1178159"/>
                <a:gd name="connsiteY461" fmla="*/ 254953 h 466571"/>
                <a:gd name="connsiteX462" fmla="*/ 845173 w 1178159"/>
                <a:gd name="connsiteY462" fmla="*/ 257885 h 466571"/>
                <a:gd name="connsiteX463" fmla="*/ 840937 w 1178159"/>
                <a:gd name="connsiteY463" fmla="*/ 259351 h 466571"/>
                <a:gd name="connsiteX464" fmla="*/ 839308 w 1178159"/>
                <a:gd name="connsiteY464" fmla="*/ 263750 h 466571"/>
                <a:gd name="connsiteX465" fmla="*/ 840611 w 1178159"/>
                <a:gd name="connsiteY465" fmla="*/ 267008 h 466571"/>
                <a:gd name="connsiteX466" fmla="*/ 843544 w 1178159"/>
                <a:gd name="connsiteY466" fmla="*/ 267008 h 466571"/>
                <a:gd name="connsiteX467" fmla="*/ 793042 w 1178159"/>
                <a:gd name="connsiteY467" fmla="*/ 258700 h 466571"/>
                <a:gd name="connsiteX468" fmla="*/ 797766 w 1178159"/>
                <a:gd name="connsiteY468" fmla="*/ 260655 h 466571"/>
                <a:gd name="connsiteX469" fmla="*/ 801839 w 1178159"/>
                <a:gd name="connsiteY469" fmla="*/ 257234 h 466571"/>
                <a:gd name="connsiteX470" fmla="*/ 811614 w 1178159"/>
                <a:gd name="connsiteY470" fmla="*/ 257722 h 466571"/>
                <a:gd name="connsiteX471" fmla="*/ 818782 w 1178159"/>
                <a:gd name="connsiteY471" fmla="*/ 260655 h 466571"/>
                <a:gd name="connsiteX472" fmla="*/ 819107 w 1178159"/>
                <a:gd name="connsiteY472" fmla="*/ 263587 h 466571"/>
                <a:gd name="connsiteX473" fmla="*/ 823506 w 1178159"/>
                <a:gd name="connsiteY473" fmla="*/ 268800 h 466571"/>
                <a:gd name="connsiteX474" fmla="*/ 823180 w 1178159"/>
                <a:gd name="connsiteY474" fmla="*/ 272710 h 466571"/>
                <a:gd name="connsiteX475" fmla="*/ 818944 w 1178159"/>
                <a:gd name="connsiteY475" fmla="*/ 272710 h 466571"/>
                <a:gd name="connsiteX476" fmla="*/ 813731 w 1178159"/>
                <a:gd name="connsiteY476" fmla="*/ 277109 h 466571"/>
                <a:gd name="connsiteX477" fmla="*/ 807866 w 1178159"/>
                <a:gd name="connsiteY477" fmla="*/ 276620 h 466571"/>
                <a:gd name="connsiteX478" fmla="*/ 801839 w 1178159"/>
                <a:gd name="connsiteY478" fmla="*/ 277109 h 466571"/>
                <a:gd name="connsiteX479" fmla="*/ 799558 w 1178159"/>
                <a:gd name="connsiteY479" fmla="*/ 275154 h 466571"/>
                <a:gd name="connsiteX480" fmla="*/ 792064 w 1178159"/>
                <a:gd name="connsiteY480" fmla="*/ 273687 h 466571"/>
                <a:gd name="connsiteX481" fmla="*/ 787992 w 1178159"/>
                <a:gd name="connsiteY481" fmla="*/ 268149 h 466571"/>
                <a:gd name="connsiteX482" fmla="*/ 788643 w 1178159"/>
                <a:gd name="connsiteY482" fmla="*/ 261632 h 466571"/>
                <a:gd name="connsiteX483" fmla="*/ 792879 w 1178159"/>
                <a:gd name="connsiteY483" fmla="*/ 258700 h 466571"/>
                <a:gd name="connsiteX484" fmla="*/ 792879 w 1178159"/>
                <a:gd name="connsiteY484" fmla="*/ 258700 h 466571"/>
                <a:gd name="connsiteX485" fmla="*/ 651800 w 1178159"/>
                <a:gd name="connsiteY485" fmla="*/ 364102 h 466571"/>
                <a:gd name="connsiteX486" fmla="*/ 648216 w 1178159"/>
                <a:gd name="connsiteY486" fmla="*/ 362310 h 466571"/>
                <a:gd name="connsiteX487" fmla="*/ 646260 w 1178159"/>
                <a:gd name="connsiteY487" fmla="*/ 364102 h 466571"/>
                <a:gd name="connsiteX488" fmla="*/ 649030 w 1178159"/>
                <a:gd name="connsiteY488" fmla="*/ 366383 h 466571"/>
                <a:gd name="connsiteX489" fmla="*/ 651800 w 1178159"/>
                <a:gd name="connsiteY489" fmla="*/ 364102 h 466571"/>
                <a:gd name="connsiteX490" fmla="*/ 651800 w 1178159"/>
                <a:gd name="connsiteY490" fmla="*/ 364102 h 466571"/>
                <a:gd name="connsiteX491" fmla="*/ 646423 w 1178159"/>
                <a:gd name="connsiteY491" fmla="*/ 328588 h 466571"/>
                <a:gd name="connsiteX492" fmla="*/ 650496 w 1178159"/>
                <a:gd name="connsiteY492" fmla="*/ 336733 h 466571"/>
                <a:gd name="connsiteX493" fmla="*/ 648541 w 1178159"/>
                <a:gd name="connsiteY493" fmla="*/ 340480 h 466571"/>
                <a:gd name="connsiteX494" fmla="*/ 646586 w 1178159"/>
                <a:gd name="connsiteY494" fmla="*/ 345856 h 466571"/>
                <a:gd name="connsiteX495" fmla="*/ 645446 w 1178159"/>
                <a:gd name="connsiteY495" fmla="*/ 342109 h 466571"/>
                <a:gd name="connsiteX496" fmla="*/ 643166 w 1178159"/>
                <a:gd name="connsiteY496" fmla="*/ 338525 h 466571"/>
                <a:gd name="connsiteX497" fmla="*/ 644957 w 1178159"/>
                <a:gd name="connsiteY497" fmla="*/ 335267 h 466571"/>
                <a:gd name="connsiteX498" fmla="*/ 645283 w 1178159"/>
                <a:gd name="connsiteY498" fmla="*/ 331194 h 466571"/>
                <a:gd name="connsiteX499" fmla="*/ 646423 w 1178159"/>
                <a:gd name="connsiteY499" fmla="*/ 328588 h 466571"/>
                <a:gd name="connsiteX500" fmla="*/ 646423 w 1178159"/>
                <a:gd name="connsiteY500" fmla="*/ 328588 h 466571"/>
                <a:gd name="connsiteX501" fmla="*/ 788317 w 1178159"/>
                <a:gd name="connsiteY501" fmla="*/ 230028 h 466571"/>
                <a:gd name="connsiteX502" fmla="*/ 788317 w 1178159"/>
                <a:gd name="connsiteY502" fmla="*/ 234101 h 466571"/>
                <a:gd name="connsiteX503" fmla="*/ 791901 w 1178159"/>
                <a:gd name="connsiteY503" fmla="*/ 239802 h 466571"/>
                <a:gd name="connsiteX504" fmla="*/ 791901 w 1178159"/>
                <a:gd name="connsiteY504" fmla="*/ 242246 h 466571"/>
                <a:gd name="connsiteX505" fmla="*/ 789621 w 1178159"/>
                <a:gd name="connsiteY505" fmla="*/ 241268 h 466571"/>
                <a:gd name="connsiteX506" fmla="*/ 787340 w 1178159"/>
                <a:gd name="connsiteY506" fmla="*/ 235241 h 466571"/>
                <a:gd name="connsiteX507" fmla="*/ 786362 w 1178159"/>
                <a:gd name="connsiteY507" fmla="*/ 231005 h 466571"/>
                <a:gd name="connsiteX508" fmla="*/ 788155 w 1178159"/>
                <a:gd name="connsiteY508" fmla="*/ 230028 h 466571"/>
                <a:gd name="connsiteX509" fmla="*/ 788155 w 1178159"/>
                <a:gd name="connsiteY509" fmla="*/ 230028 h 466571"/>
                <a:gd name="connsiteX510" fmla="*/ 774144 w 1178159"/>
                <a:gd name="connsiteY510" fmla="*/ 223837 h 466571"/>
                <a:gd name="connsiteX511" fmla="*/ 776914 w 1178159"/>
                <a:gd name="connsiteY511" fmla="*/ 222534 h 466571"/>
                <a:gd name="connsiteX512" fmla="*/ 780823 w 1178159"/>
                <a:gd name="connsiteY512" fmla="*/ 224000 h 466571"/>
                <a:gd name="connsiteX513" fmla="*/ 784407 w 1178159"/>
                <a:gd name="connsiteY513" fmla="*/ 222371 h 466571"/>
                <a:gd name="connsiteX514" fmla="*/ 793857 w 1178159"/>
                <a:gd name="connsiteY514" fmla="*/ 223674 h 466571"/>
                <a:gd name="connsiteX515" fmla="*/ 799069 w 1178159"/>
                <a:gd name="connsiteY515" fmla="*/ 224652 h 466571"/>
                <a:gd name="connsiteX516" fmla="*/ 793042 w 1178159"/>
                <a:gd name="connsiteY516" fmla="*/ 226118 h 466571"/>
                <a:gd name="connsiteX517" fmla="*/ 781801 w 1178159"/>
                <a:gd name="connsiteY517" fmla="*/ 228725 h 466571"/>
                <a:gd name="connsiteX518" fmla="*/ 776262 w 1178159"/>
                <a:gd name="connsiteY518" fmla="*/ 227095 h 466571"/>
                <a:gd name="connsiteX519" fmla="*/ 776262 w 1178159"/>
                <a:gd name="connsiteY519" fmla="*/ 225141 h 466571"/>
                <a:gd name="connsiteX520" fmla="*/ 773982 w 1178159"/>
                <a:gd name="connsiteY520" fmla="*/ 223837 h 466571"/>
                <a:gd name="connsiteX521" fmla="*/ 773982 w 1178159"/>
                <a:gd name="connsiteY521" fmla="*/ 223837 h 466571"/>
                <a:gd name="connsiteX522" fmla="*/ 748893 w 1178159"/>
                <a:gd name="connsiteY522" fmla="*/ 224326 h 466571"/>
                <a:gd name="connsiteX523" fmla="*/ 752314 w 1178159"/>
                <a:gd name="connsiteY523" fmla="*/ 221068 h 466571"/>
                <a:gd name="connsiteX524" fmla="*/ 754758 w 1178159"/>
                <a:gd name="connsiteY524" fmla="*/ 221719 h 466571"/>
                <a:gd name="connsiteX525" fmla="*/ 757853 w 1178159"/>
                <a:gd name="connsiteY525" fmla="*/ 220416 h 466571"/>
                <a:gd name="connsiteX526" fmla="*/ 762903 w 1178159"/>
                <a:gd name="connsiteY526" fmla="*/ 221719 h 466571"/>
                <a:gd name="connsiteX527" fmla="*/ 766162 w 1178159"/>
                <a:gd name="connsiteY527" fmla="*/ 223511 h 466571"/>
                <a:gd name="connsiteX528" fmla="*/ 769420 w 1178159"/>
                <a:gd name="connsiteY528" fmla="*/ 221068 h 466571"/>
                <a:gd name="connsiteX529" fmla="*/ 772678 w 1178159"/>
                <a:gd name="connsiteY529" fmla="*/ 222208 h 466571"/>
                <a:gd name="connsiteX530" fmla="*/ 772678 w 1178159"/>
                <a:gd name="connsiteY530" fmla="*/ 226607 h 466571"/>
                <a:gd name="connsiteX531" fmla="*/ 768768 w 1178159"/>
                <a:gd name="connsiteY531" fmla="*/ 226118 h 466571"/>
                <a:gd name="connsiteX532" fmla="*/ 764207 w 1178159"/>
                <a:gd name="connsiteY532" fmla="*/ 228236 h 466571"/>
                <a:gd name="connsiteX533" fmla="*/ 760623 w 1178159"/>
                <a:gd name="connsiteY533" fmla="*/ 227258 h 466571"/>
                <a:gd name="connsiteX534" fmla="*/ 755084 w 1178159"/>
                <a:gd name="connsiteY534" fmla="*/ 230517 h 466571"/>
                <a:gd name="connsiteX535" fmla="*/ 750196 w 1178159"/>
                <a:gd name="connsiteY535" fmla="*/ 229539 h 466571"/>
                <a:gd name="connsiteX536" fmla="*/ 748405 w 1178159"/>
                <a:gd name="connsiteY536" fmla="*/ 226770 h 466571"/>
                <a:gd name="connsiteX537" fmla="*/ 748730 w 1178159"/>
                <a:gd name="connsiteY537" fmla="*/ 224326 h 466571"/>
                <a:gd name="connsiteX538" fmla="*/ 748730 w 1178159"/>
                <a:gd name="connsiteY538" fmla="*/ 224326 h 466571"/>
                <a:gd name="connsiteX539" fmla="*/ 703768 w 1178159"/>
                <a:gd name="connsiteY539" fmla="*/ 318650 h 466571"/>
                <a:gd name="connsiteX540" fmla="*/ 708166 w 1178159"/>
                <a:gd name="connsiteY540" fmla="*/ 311157 h 466571"/>
                <a:gd name="connsiteX541" fmla="*/ 710447 w 1178159"/>
                <a:gd name="connsiteY541" fmla="*/ 303174 h 466571"/>
                <a:gd name="connsiteX542" fmla="*/ 710935 w 1178159"/>
                <a:gd name="connsiteY542" fmla="*/ 295192 h 466571"/>
                <a:gd name="connsiteX543" fmla="*/ 713053 w 1178159"/>
                <a:gd name="connsiteY543" fmla="*/ 293236 h 466571"/>
                <a:gd name="connsiteX544" fmla="*/ 716637 w 1178159"/>
                <a:gd name="connsiteY544" fmla="*/ 293725 h 466571"/>
                <a:gd name="connsiteX545" fmla="*/ 716637 w 1178159"/>
                <a:gd name="connsiteY545" fmla="*/ 296984 h 466571"/>
                <a:gd name="connsiteX546" fmla="*/ 718266 w 1178159"/>
                <a:gd name="connsiteY546" fmla="*/ 300405 h 466571"/>
                <a:gd name="connsiteX547" fmla="*/ 718266 w 1178159"/>
                <a:gd name="connsiteY547" fmla="*/ 302848 h 466571"/>
                <a:gd name="connsiteX548" fmla="*/ 716800 w 1178159"/>
                <a:gd name="connsiteY548" fmla="*/ 300893 h 466571"/>
                <a:gd name="connsiteX549" fmla="*/ 715986 w 1178159"/>
                <a:gd name="connsiteY549" fmla="*/ 303174 h 466571"/>
                <a:gd name="connsiteX550" fmla="*/ 712891 w 1178159"/>
                <a:gd name="connsiteY550" fmla="*/ 305618 h 466571"/>
                <a:gd name="connsiteX551" fmla="*/ 711424 w 1178159"/>
                <a:gd name="connsiteY551" fmla="*/ 307573 h 466571"/>
                <a:gd name="connsiteX552" fmla="*/ 712564 w 1178159"/>
                <a:gd name="connsiteY552" fmla="*/ 311482 h 466571"/>
                <a:gd name="connsiteX553" fmla="*/ 716637 w 1178159"/>
                <a:gd name="connsiteY553" fmla="*/ 312460 h 466571"/>
                <a:gd name="connsiteX554" fmla="*/ 717452 w 1178159"/>
                <a:gd name="connsiteY554" fmla="*/ 314741 h 466571"/>
                <a:gd name="connsiteX555" fmla="*/ 715660 w 1178159"/>
                <a:gd name="connsiteY555" fmla="*/ 316858 h 466571"/>
                <a:gd name="connsiteX556" fmla="*/ 712564 w 1178159"/>
                <a:gd name="connsiteY556" fmla="*/ 317836 h 466571"/>
                <a:gd name="connsiteX557" fmla="*/ 709632 w 1178159"/>
                <a:gd name="connsiteY557" fmla="*/ 322723 h 466571"/>
                <a:gd name="connsiteX558" fmla="*/ 706374 w 1178159"/>
                <a:gd name="connsiteY558" fmla="*/ 324352 h 466571"/>
                <a:gd name="connsiteX559" fmla="*/ 702953 w 1178159"/>
                <a:gd name="connsiteY559" fmla="*/ 322560 h 466571"/>
                <a:gd name="connsiteX560" fmla="*/ 703605 w 1178159"/>
                <a:gd name="connsiteY560" fmla="*/ 318813 h 466571"/>
                <a:gd name="connsiteX561" fmla="*/ 703605 w 1178159"/>
                <a:gd name="connsiteY561" fmla="*/ 318813 h 466571"/>
                <a:gd name="connsiteX562" fmla="*/ 692038 w 1178159"/>
                <a:gd name="connsiteY562" fmla="*/ 313437 h 466571"/>
                <a:gd name="connsiteX563" fmla="*/ 692201 w 1178159"/>
                <a:gd name="connsiteY563" fmla="*/ 315555 h 466571"/>
                <a:gd name="connsiteX564" fmla="*/ 694156 w 1178159"/>
                <a:gd name="connsiteY564" fmla="*/ 317184 h 466571"/>
                <a:gd name="connsiteX565" fmla="*/ 698555 w 1178159"/>
                <a:gd name="connsiteY565" fmla="*/ 316695 h 466571"/>
                <a:gd name="connsiteX566" fmla="*/ 699206 w 1178159"/>
                <a:gd name="connsiteY566" fmla="*/ 314741 h 466571"/>
                <a:gd name="connsiteX567" fmla="*/ 701161 w 1178159"/>
                <a:gd name="connsiteY567" fmla="*/ 314252 h 466571"/>
                <a:gd name="connsiteX568" fmla="*/ 701650 w 1178159"/>
                <a:gd name="connsiteY568" fmla="*/ 310016 h 466571"/>
                <a:gd name="connsiteX569" fmla="*/ 704908 w 1178159"/>
                <a:gd name="connsiteY569" fmla="*/ 306758 h 466571"/>
                <a:gd name="connsiteX570" fmla="*/ 704908 w 1178159"/>
                <a:gd name="connsiteY570" fmla="*/ 303989 h 466571"/>
                <a:gd name="connsiteX571" fmla="*/ 702627 w 1178159"/>
                <a:gd name="connsiteY571" fmla="*/ 299590 h 466571"/>
                <a:gd name="connsiteX572" fmla="*/ 698228 w 1178159"/>
                <a:gd name="connsiteY572" fmla="*/ 301871 h 466571"/>
                <a:gd name="connsiteX573" fmla="*/ 694807 w 1178159"/>
                <a:gd name="connsiteY573" fmla="*/ 305455 h 466571"/>
                <a:gd name="connsiteX574" fmla="*/ 696274 w 1178159"/>
                <a:gd name="connsiteY574" fmla="*/ 308550 h 466571"/>
                <a:gd name="connsiteX575" fmla="*/ 691712 w 1178159"/>
                <a:gd name="connsiteY575" fmla="*/ 313763 h 466571"/>
                <a:gd name="connsiteX576" fmla="*/ 691712 w 1178159"/>
                <a:gd name="connsiteY576" fmla="*/ 313763 h 466571"/>
                <a:gd name="connsiteX577" fmla="*/ 680960 w 1178159"/>
                <a:gd name="connsiteY577" fmla="*/ 309853 h 466571"/>
                <a:gd name="connsiteX578" fmla="*/ 680634 w 1178159"/>
                <a:gd name="connsiteY578" fmla="*/ 313111 h 466571"/>
                <a:gd name="connsiteX579" fmla="*/ 679168 w 1178159"/>
                <a:gd name="connsiteY579" fmla="*/ 314741 h 466571"/>
                <a:gd name="connsiteX580" fmla="*/ 680960 w 1178159"/>
                <a:gd name="connsiteY580" fmla="*/ 320279 h 466571"/>
                <a:gd name="connsiteX581" fmla="*/ 683241 w 1178159"/>
                <a:gd name="connsiteY581" fmla="*/ 321257 h 466571"/>
                <a:gd name="connsiteX582" fmla="*/ 686988 w 1178159"/>
                <a:gd name="connsiteY582" fmla="*/ 318650 h 466571"/>
                <a:gd name="connsiteX583" fmla="*/ 685848 w 1178159"/>
                <a:gd name="connsiteY583" fmla="*/ 313437 h 466571"/>
                <a:gd name="connsiteX584" fmla="*/ 682752 w 1178159"/>
                <a:gd name="connsiteY584" fmla="*/ 309039 h 466571"/>
                <a:gd name="connsiteX585" fmla="*/ 680960 w 1178159"/>
                <a:gd name="connsiteY585" fmla="*/ 310016 h 466571"/>
                <a:gd name="connsiteX586" fmla="*/ 680960 w 1178159"/>
                <a:gd name="connsiteY586" fmla="*/ 310016 h 466571"/>
                <a:gd name="connsiteX587" fmla="*/ 718266 w 1178159"/>
                <a:gd name="connsiteY587" fmla="*/ 225955 h 466571"/>
                <a:gd name="connsiteX588" fmla="*/ 714357 w 1178159"/>
                <a:gd name="connsiteY588" fmla="*/ 227584 h 466571"/>
                <a:gd name="connsiteX589" fmla="*/ 717126 w 1178159"/>
                <a:gd name="connsiteY589" fmla="*/ 228887 h 466571"/>
                <a:gd name="connsiteX590" fmla="*/ 718266 w 1178159"/>
                <a:gd name="connsiteY590" fmla="*/ 225955 h 466571"/>
                <a:gd name="connsiteX591" fmla="*/ 718266 w 1178159"/>
                <a:gd name="connsiteY591" fmla="*/ 225955 h 466571"/>
                <a:gd name="connsiteX592" fmla="*/ 723642 w 1178159"/>
                <a:gd name="connsiteY592" fmla="*/ 222860 h 466571"/>
                <a:gd name="connsiteX593" fmla="*/ 721362 w 1178159"/>
                <a:gd name="connsiteY593" fmla="*/ 224815 h 466571"/>
                <a:gd name="connsiteX594" fmla="*/ 725109 w 1178159"/>
                <a:gd name="connsiteY594" fmla="*/ 225303 h 466571"/>
                <a:gd name="connsiteX595" fmla="*/ 723642 w 1178159"/>
                <a:gd name="connsiteY595" fmla="*/ 222697 h 466571"/>
                <a:gd name="connsiteX596" fmla="*/ 723642 w 1178159"/>
                <a:gd name="connsiteY596" fmla="*/ 222697 h 466571"/>
                <a:gd name="connsiteX597" fmla="*/ 730159 w 1178159"/>
                <a:gd name="connsiteY597" fmla="*/ 217647 h 466571"/>
                <a:gd name="connsiteX598" fmla="*/ 727226 w 1178159"/>
                <a:gd name="connsiteY598" fmla="*/ 219927 h 466571"/>
                <a:gd name="connsiteX599" fmla="*/ 731136 w 1178159"/>
                <a:gd name="connsiteY599" fmla="*/ 221231 h 466571"/>
                <a:gd name="connsiteX600" fmla="*/ 730159 w 1178159"/>
                <a:gd name="connsiteY600" fmla="*/ 217810 h 466571"/>
                <a:gd name="connsiteX601" fmla="*/ 730159 w 1178159"/>
                <a:gd name="connsiteY601" fmla="*/ 217810 h 466571"/>
                <a:gd name="connsiteX602" fmla="*/ 708818 w 1178159"/>
                <a:gd name="connsiteY602" fmla="*/ 211619 h 466571"/>
                <a:gd name="connsiteX603" fmla="*/ 714519 w 1178159"/>
                <a:gd name="connsiteY603" fmla="*/ 208198 h 466571"/>
                <a:gd name="connsiteX604" fmla="*/ 721525 w 1178159"/>
                <a:gd name="connsiteY604" fmla="*/ 208850 h 466571"/>
                <a:gd name="connsiteX605" fmla="*/ 722014 w 1178159"/>
                <a:gd name="connsiteY605" fmla="*/ 211130 h 466571"/>
                <a:gd name="connsiteX606" fmla="*/ 720384 w 1178159"/>
                <a:gd name="connsiteY606" fmla="*/ 214063 h 466571"/>
                <a:gd name="connsiteX607" fmla="*/ 724294 w 1178159"/>
                <a:gd name="connsiteY607" fmla="*/ 213085 h 466571"/>
                <a:gd name="connsiteX608" fmla="*/ 726086 w 1178159"/>
                <a:gd name="connsiteY608" fmla="*/ 209990 h 466571"/>
                <a:gd name="connsiteX609" fmla="*/ 729833 w 1178159"/>
                <a:gd name="connsiteY609" fmla="*/ 212759 h 466571"/>
                <a:gd name="connsiteX610" fmla="*/ 728855 w 1178159"/>
                <a:gd name="connsiteY610" fmla="*/ 216669 h 466571"/>
                <a:gd name="connsiteX611" fmla="*/ 724294 w 1178159"/>
                <a:gd name="connsiteY611" fmla="*/ 217810 h 466571"/>
                <a:gd name="connsiteX612" fmla="*/ 722828 w 1178159"/>
                <a:gd name="connsiteY612" fmla="*/ 216018 h 466571"/>
                <a:gd name="connsiteX613" fmla="*/ 720384 w 1178159"/>
                <a:gd name="connsiteY613" fmla="*/ 219439 h 466571"/>
                <a:gd name="connsiteX614" fmla="*/ 716149 w 1178159"/>
                <a:gd name="connsiteY614" fmla="*/ 216343 h 466571"/>
                <a:gd name="connsiteX615" fmla="*/ 712891 w 1178159"/>
                <a:gd name="connsiteY615" fmla="*/ 219276 h 466571"/>
                <a:gd name="connsiteX616" fmla="*/ 708980 w 1178159"/>
                <a:gd name="connsiteY616" fmla="*/ 216506 h 466571"/>
                <a:gd name="connsiteX617" fmla="*/ 708980 w 1178159"/>
                <a:gd name="connsiteY617" fmla="*/ 211782 h 466571"/>
                <a:gd name="connsiteX618" fmla="*/ 708818 w 1178159"/>
                <a:gd name="connsiteY618" fmla="*/ 211782 h 466571"/>
                <a:gd name="connsiteX619" fmla="*/ 681937 w 1178159"/>
                <a:gd name="connsiteY619" fmla="*/ 186531 h 466571"/>
                <a:gd name="connsiteX620" fmla="*/ 686010 w 1178159"/>
                <a:gd name="connsiteY620" fmla="*/ 188160 h 466571"/>
                <a:gd name="connsiteX621" fmla="*/ 686010 w 1178159"/>
                <a:gd name="connsiteY621" fmla="*/ 185391 h 466571"/>
                <a:gd name="connsiteX622" fmla="*/ 681937 w 1178159"/>
                <a:gd name="connsiteY622" fmla="*/ 186531 h 466571"/>
                <a:gd name="connsiteX623" fmla="*/ 681937 w 1178159"/>
                <a:gd name="connsiteY623" fmla="*/ 186531 h 466571"/>
                <a:gd name="connsiteX624" fmla="*/ 678353 w 1178159"/>
                <a:gd name="connsiteY624" fmla="*/ 187834 h 466571"/>
                <a:gd name="connsiteX625" fmla="*/ 680634 w 1178159"/>
                <a:gd name="connsiteY625" fmla="*/ 187834 h 466571"/>
                <a:gd name="connsiteX626" fmla="*/ 684055 w 1178159"/>
                <a:gd name="connsiteY626" fmla="*/ 189789 h 466571"/>
                <a:gd name="connsiteX627" fmla="*/ 680471 w 1178159"/>
                <a:gd name="connsiteY627" fmla="*/ 190604 h 466571"/>
                <a:gd name="connsiteX628" fmla="*/ 678191 w 1178159"/>
                <a:gd name="connsiteY628" fmla="*/ 187834 h 466571"/>
                <a:gd name="connsiteX629" fmla="*/ 678191 w 1178159"/>
                <a:gd name="connsiteY629" fmla="*/ 187834 h 466571"/>
                <a:gd name="connsiteX630" fmla="*/ 646260 w 1178159"/>
                <a:gd name="connsiteY630" fmla="*/ 165353 h 466571"/>
                <a:gd name="connsiteX631" fmla="*/ 652125 w 1178159"/>
                <a:gd name="connsiteY631" fmla="*/ 163398 h 466571"/>
                <a:gd name="connsiteX632" fmla="*/ 659130 w 1178159"/>
                <a:gd name="connsiteY632" fmla="*/ 166656 h 466571"/>
                <a:gd name="connsiteX633" fmla="*/ 667439 w 1178159"/>
                <a:gd name="connsiteY633" fmla="*/ 166656 h 466571"/>
                <a:gd name="connsiteX634" fmla="*/ 676725 w 1178159"/>
                <a:gd name="connsiteY634" fmla="*/ 162258 h 466571"/>
                <a:gd name="connsiteX635" fmla="*/ 682752 w 1178159"/>
                <a:gd name="connsiteY635" fmla="*/ 162909 h 466571"/>
                <a:gd name="connsiteX636" fmla="*/ 685033 w 1178159"/>
                <a:gd name="connsiteY636" fmla="*/ 165842 h 466571"/>
                <a:gd name="connsiteX637" fmla="*/ 690409 w 1178159"/>
                <a:gd name="connsiteY637" fmla="*/ 165842 h 466571"/>
                <a:gd name="connsiteX638" fmla="*/ 693504 w 1178159"/>
                <a:gd name="connsiteY638" fmla="*/ 164375 h 466571"/>
                <a:gd name="connsiteX639" fmla="*/ 704419 w 1178159"/>
                <a:gd name="connsiteY639" fmla="*/ 165516 h 466571"/>
                <a:gd name="connsiteX640" fmla="*/ 710121 w 1178159"/>
                <a:gd name="connsiteY640" fmla="*/ 165190 h 466571"/>
                <a:gd name="connsiteX641" fmla="*/ 711261 w 1178159"/>
                <a:gd name="connsiteY641" fmla="*/ 163724 h 466571"/>
                <a:gd name="connsiteX642" fmla="*/ 717289 w 1178159"/>
                <a:gd name="connsiteY642" fmla="*/ 163724 h 466571"/>
                <a:gd name="connsiteX643" fmla="*/ 721362 w 1178159"/>
                <a:gd name="connsiteY643" fmla="*/ 166167 h 466571"/>
                <a:gd name="connsiteX644" fmla="*/ 722665 w 1178159"/>
                <a:gd name="connsiteY644" fmla="*/ 168774 h 466571"/>
                <a:gd name="connsiteX645" fmla="*/ 727878 w 1178159"/>
                <a:gd name="connsiteY645" fmla="*/ 170403 h 466571"/>
                <a:gd name="connsiteX646" fmla="*/ 747264 w 1178159"/>
                <a:gd name="connsiteY646" fmla="*/ 166004 h 466571"/>
                <a:gd name="connsiteX647" fmla="*/ 755410 w 1178159"/>
                <a:gd name="connsiteY647" fmla="*/ 160466 h 466571"/>
                <a:gd name="connsiteX648" fmla="*/ 757691 w 1178159"/>
                <a:gd name="connsiteY648" fmla="*/ 156230 h 466571"/>
                <a:gd name="connsiteX649" fmla="*/ 760949 w 1178159"/>
                <a:gd name="connsiteY649" fmla="*/ 155904 h 466571"/>
                <a:gd name="connsiteX650" fmla="*/ 763718 w 1178159"/>
                <a:gd name="connsiteY650" fmla="*/ 152646 h 466571"/>
                <a:gd name="connsiteX651" fmla="*/ 767139 w 1178159"/>
                <a:gd name="connsiteY651" fmla="*/ 150202 h 466571"/>
                <a:gd name="connsiteX652" fmla="*/ 768768 w 1178159"/>
                <a:gd name="connsiteY652" fmla="*/ 145804 h 466571"/>
                <a:gd name="connsiteX653" fmla="*/ 771049 w 1178159"/>
                <a:gd name="connsiteY653" fmla="*/ 142057 h 466571"/>
                <a:gd name="connsiteX654" fmla="*/ 773493 w 1178159"/>
                <a:gd name="connsiteY654" fmla="*/ 140265 h 466571"/>
                <a:gd name="connsiteX655" fmla="*/ 771049 w 1178159"/>
                <a:gd name="connsiteY655" fmla="*/ 137658 h 466571"/>
                <a:gd name="connsiteX656" fmla="*/ 770560 w 1178159"/>
                <a:gd name="connsiteY656" fmla="*/ 134726 h 466571"/>
                <a:gd name="connsiteX657" fmla="*/ 763392 w 1178159"/>
                <a:gd name="connsiteY657" fmla="*/ 133097 h 466571"/>
                <a:gd name="connsiteX658" fmla="*/ 758342 w 1178159"/>
                <a:gd name="connsiteY658" fmla="*/ 134726 h 466571"/>
                <a:gd name="connsiteX659" fmla="*/ 757365 w 1178159"/>
                <a:gd name="connsiteY659" fmla="*/ 139776 h 466571"/>
                <a:gd name="connsiteX660" fmla="*/ 753455 w 1178159"/>
                <a:gd name="connsiteY660" fmla="*/ 142709 h 466571"/>
                <a:gd name="connsiteX661" fmla="*/ 753129 w 1178159"/>
                <a:gd name="connsiteY661" fmla="*/ 145315 h 466571"/>
                <a:gd name="connsiteX662" fmla="*/ 747753 w 1178159"/>
                <a:gd name="connsiteY662" fmla="*/ 149225 h 466571"/>
                <a:gd name="connsiteX663" fmla="*/ 743680 w 1178159"/>
                <a:gd name="connsiteY663" fmla="*/ 149714 h 466571"/>
                <a:gd name="connsiteX664" fmla="*/ 741074 w 1178159"/>
                <a:gd name="connsiteY664" fmla="*/ 153623 h 466571"/>
                <a:gd name="connsiteX665" fmla="*/ 735046 w 1178159"/>
                <a:gd name="connsiteY665" fmla="*/ 155090 h 466571"/>
                <a:gd name="connsiteX666" fmla="*/ 722828 w 1178159"/>
                <a:gd name="connsiteY666" fmla="*/ 152646 h 466571"/>
                <a:gd name="connsiteX667" fmla="*/ 712564 w 1178159"/>
                <a:gd name="connsiteY667" fmla="*/ 151668 h 466571"/>
                <a:gd name="connsiteX668" fmla="*/ 710773 w 1178159"/>
                <a:gd name="connsiteY668" fmla="*/ 154438 h 466571"/>
                <a:gd name="connsiteX669" fmla="*/ 708329 w 1178159"/>
                <a:gd name="connsiteY669" fmla="*/ 154764 h 466571"/>
                <a:gd name="connsiteX670" fmla="*/ 703279 w 1178159"/>
                <a:gd name="connsiteY670" fmla="*/ 150365 h 466571"/>
                <a:gd name="connsiteX671" fmla="*/ 699369 w 1178159"/>
                <a:gd name="connsiteY671" fmla="*/ 150039 h 466571"/>
                <a:gd name="connsiteX672" fmla="*/ 694971 w 1178159"/>
                <a:gd name="connsiteY672" fmla="*/ 150039 h 466571"/>
                <a:gd name="connsiteX673" fmla="*/ 690246 w 1178159"/>
                <a:gd name="connsiteY673" fmla="*/ 149062 h 466571"/>
                <a:gd name="connsiteX674" fmla="*/ 683567 w 1178159"/>
                <a:gd name="connsiteY674" fmla="*/ 147922 h 466571"/>
                <a:gd name="connsiteX675" fmla="*/ 680146 w 1178159"/>
                <a:gd name="connsiteY675" fmla="*/ 150202 h 466571"/>
                <a:gd name="connsiteX676" fmla="*/ 676236 w 1178159"/>
                <a:gd name="connsiteY676" fmla="*/ 147922 h 466571"/>
                <a:gd name="connsiteX677" fmla="*/ 671349 w 1178159"/>
                <a:gd name="connsiteY677" fmla="*/ 143197 h 466571"/>
                <a:gd name="connsiteX678" fmla="*/ 663855 w 1178159"/>
                <a:gd name="connsiteY678" fmla="*/ 141731 h 466571"/>
                <a:gd name="connsiteX679" fmla="*/ 659293 w 1178159"/>
                <a:gd name="connsiteY679" fmla="*/ 141731 h 466571"/>
                <a:gd name="connsiteX680" fmla="*/ 659293 w 1178159"/>
                <a:gd name="connsiteY680" fmla="*/ 147433 h 466571"/>
                <a:gd name="connsiteX681" fmla="*/ 655384 w 1178159"/>
                <a:gd name="connsiteY681" fmla="*/ 150039 h 466571"/>
                <a:gd name="connsiteX682" fmla="*/ 653103 w 1178159"/>
                <a:gd name="connsiteY682" fmla="*/ 154764 h 466571"/>
                <a:gd name="connsiteX683" fmla="*/ 649844 w 1178159"/>
                <a:gd name="connsiteY683" fmla="*/ 157696 h 466571"/>
                <a:gd name="connsiteX684" fmla="*/ 643166 w 1178159"/>
                <a:gd name="connsiteY684" fmla="*/ 155415 h 466571"/>
                <a:gd name="connsiteX685" fmla="*/ 637137 w 1178159"/>
                <a:gd name="connsiteY685" fmla="*/ 156882 h 466571"/>
                <a:gd name="connsiteX686" fmla="*/ 634694 w 1178159"/>
                <a:gd name="connsiteY686" fmla="*/ 159651 h 466571"/>
                <a:gd name="connsiteX687" fmla="*/ 635183 w 1178159"/>
                <a:gd name="connsiteY687" fmla="*/ 161443 h 466571"/>
                <a:gd name="connsiteX688" fmla="*/ 628666 w 1178159"/>
                <a:gd name="connsiteY688" fmla="*/ 167471 h 466571"/>
                <a:gd name="connsiteX689" fmla="*/ 628666 w 1178159"/>
                <a:gd name="connsiteY689" fmla="*/ 174802 h 466571"/>
                <a:gd name="connsiteX690" fmla="*/ 629969 w 1178159"/>
                <a:gd name="connsiteY690" fmla="*/ 179037 h 466571"/>
                <a:gd name="connsiteX691" fmla="*/ 629644 w 1178159"/>
                <a:gd name="connsiteY691" fmla="*/ 187509 h 466571"/>
                <a:gd name="connsiteX692" fmla="*/ 628341 w 1178159"/>
                <a:gd name="connsiteY692" fmla="*/ 190441 h 466571"/>
                <a:gd name="connsiteX693" fmla="*/ 630947 w 1178159"/>
                <a:gd name="connsiteY693" fmla="*/ 196468 h 466571"/>
                <a:gd name="connsiteX694" fmla="*/ 631762 w 1178159"/>
                <a:gd name="connsiteY694" fmla="*/ 201193 h 466571"/>
                <a:gd name="connsiteX695" fmla="*/ 629807 w 1178159"/>
                <a:gd name="connsiteY695" fmla="*/ 198586 h 466571"/>
                <a:gd name="connsiteX696" fmla="*/ 628341 w 1178159"/>
                <a:gd name="connsiteY696" fmla="*/ 194676 h 466571"/>
                <a:gd name="connsiteX697" fmla="*/ 625082 w 1178159"/>
                <a:gd name="connsiteY697" fmla="*/ 195654 h 466571"/>
                <a:gd name="connsiteX698" fmla="*/ 621824 w 1178159"/>
                <a:gd name="connsiteY698" fmla="*/ 199727 h 466571"/>
                <a:gd name="connsiteX699" fmla="*/ 617751 w 1178159"/>
                <a:gd name="connsiteY699" fmla="*/ 202007 h 466571"/>
                <a:gd name="connsiteX700" fmla="*/ 616774 w 1178159"/>
                <a:gd name="connsiteY700" fmla="*/ 207058 h 466571"/>
                <a:gd name="connsiteX701" fmla="*/ 617589 w 1178159"/>
                <a:gd name="connsiteY701" fmla="*/ 212922 h 466571"/>
                <a:gd name="connsiteX702" fmla="*/ 615796 w 1178159"/>
                <a:gd name="connsiteY702" fmla="*/ 216832 h 466571"/>
                <a:gd name="connsiteX703" fmla="*/ 617100 w 1178159"/>
                <a:gd name="connsiteY703" fmla="*/ 227584 h 466571"/>
                <a:gd name="connsiteX704" fmla="*/ 615796 w 1178159"/>
                <a:gd name="connsiteY704" fmla="*/ 230028 h 466571"/>
                <a:gd name="connsiteX705" fmla="*/ 615145 w 1178159"/>
                <a:gd name="connsiteY705" fmla="*/ 234263 h 466571"/>
                <a:gd name="connsiteX706" fmla="*/ 611887 w 1178159"/>
                <a:gd name="connsiteY706" fmla="*/ 235730 h 466571"/>
                <a:gd name="connsiteX707" fmla="*/ 611887 w 1178159"/>
                <a:gd name="connsiteY707" fmla="*/ 242246 h 466571"/>
                <a:gd name="connsiteX708" fmla="*/ 606185 w 1178159"/>
                <a:gd name="connsiteY708" fmla="*/ 246808 h 466571"/>
                <a:gd name="connsiteX709" fmla="*/ 604393 w 1178159"/>
                <a:gd name="connsiteY709" fmla="*/ 253487 h 466571"/>
                <a:gd name="connsiteX710" fmla="*/ 605370 w 1178159"/>
                <a:gd name="connsiteY710" fmla="*/ 255442 h 466571"/>
                <a:gd name="connsiteX711" fmla="*/ 603090 w 1178159"/>
                <a:gd name="connsiteY711" fmla="*/ 258374 h 466571"/>
                <a:gd name="connsiteX712" fmla="*/ 606022 w 1178159"/>
                <a:gd name="connsiteY712" fmla="*/ 267171 h 466571"/>
                <a:gd name="connsiteX713" fmla="*/ 608791 w 1178159"/>
                <a:gd name="connsiteY713" fmla="*/ 271244 h 466571"/>
                <a:gd name="connsiteX714" fmla="*/ 610584 w 1178159"/>
                <a:gd name="connsiteY714" fmla="*/ 270103 h 466571"/>
                <a:gd name="connsiteX715" fmla="*/ 614493 w 1178159"/>
                <a:gd name="connsiteY715" fmla="*/ 270103 h 466571"/>
                <a:gd name="connsiteX716" fmla="*/ 617263 w 1178159"/>
                <a:gd name="connsiteY716" fmla="*/ 268149 h 466571"/>
                <a:gd name="connsiteX717" fmla="*/ 619869 w 1178159"/>
                <a:gd name="connsiteY717" fmla="*/ 269452 h 466571"/>
                <a:gd name="connsiteX718" fmla="*/ 621498 w 1178159"/>
                <a:gd name="connsiteY718" fmla="*/ 275968 h 466571"/>
                <a:gd name="connsiteX719" fmla="*/ 625897 w 1178159"/>
                <a:gd name="connsiteY719" fmla="*/ 287698 h 466571"/>
                <a:gd name="connsiteX720" fmla="*/ 624105 w 1178159"/>
                <a:gd name="connsiteY720" fmla="*/ 290630 h 466571"/>
                <a:gd name="connsiteX721" fmla="*/ 622639 w 1178159"/>
                <a:gd name="connsiteY721" fmla="*/ 297309 h 466571"/>
                <a:gd name="connsiteX722" fmla="*/ 618892 w 1178159"/>
                <a:gd name="connsiteY722" fmla="*/ 302685 h 466571"/>
                <a:gd name="connsiteX723" fmla="*/ 618403 w 1178159"/>
                <a:gd name="connsiteY723" fmla="*/ 313763 h 466571"/>
                <a:gd name="connsiteX724" fmla="*/ 619218 w 1178159"/>
                <a:gd name="connsiteY724" fmla="*/ 322397 h 466571"/>
                <a:gd name="connsiteX725" fmla="*/ 621987 w 1178159"/>
                <a:gd name="connsiteY725" fmla="*/ 322397 h 466571"/>
                <a:gd name="connsiteX726" fmla="*/ 625408 w 1178159"/>
                <a:gd name="connsiteY726" fmla="*/ 324678 h 466571"/>
                <a:gd name="connsiteX727" fmla="*/ 630784 w 1178159"/>
                <a:gd name="connsiteY727" fmla="*/ 324678 h 466571"/>
                <a:gd name="connsiteX728" fmla="*/ 633228 w 1178159"/>
                <a:gd name="connsiteY728" fmla="*/ 321746 h 466571"/>
                <a:gd name="connsiteX729" fmla="*/ 637952 w 1178159"/>
                <a:gd name="connsiteY729" fmla="*/ 322886 h 466571"/>
                <a:gd name="connsiteX730" fmla="*/ 642188 w 1178159"/>
                <a:gd name="connsiteY730" fmla="*/ 322071 h 466571"/>
                <a:gd name="connsiteX731" fmla="*/ 645283 w 1178159"/>
                <a:gd name="connsiteY731" fmla="*/ 324515 h 466571"/>
                <a:gd name="connsiteX732" fmla="*/ 646260 w 1178159"/>
                <a:gd name="connsiteY732" fmla="*/ 320442 h 466571"/>
                <a:gd name="connsiteX733" fmla="*/ 645772 w 1178159"/>
                <a:gd name="connsiteY733" fmla="*/ 315229 h 466571"/>
                <a:gd name="connsiteX734" fmla="*/ 642351 w 1178159"/>
                <a:gd name="connsiteY734" fmla="*/ 312786 h 466571"/>
                <a:gd name="connsiteX735" fmla="*/ 641699 w 1178159"/>
                <a:gd name="connsiteY735" fmla="*/ 306106 h 466571"/>
                <a:gd name="connsiteX736" fmla="*/ 644469 w 1178159"/>
                <a:gd name="connsiteY736" fmla="*/ 301545 h 466571"/>
                <a:gd name="connsiteX737" fmla="*/ 645609 w 1178159"/>
                <a:gd name="connsiteY737" fmla="*/ 293074 h 466571"/>
                <a:gd name="connsiteX738" fmla="*/ 644632 w 1178159"/>
                <a:gd name="connsiteY738" fmla="*/ 285091 h 466571"/>
                <a:gd name="connsiteX739" fmla="*/ 642677 w 1178159"/>
                <a:gd name="connsiteY739" fmla="*/ 282810 h 466571"/>
                <a:gd name="connsiteX740" fmla="*/ 647727 w 1178159"/>
                <a:gd name="connsiteY740" fmla="*/ 275479 h 466571"/>
                <a:gd name="connsiteX741" fmla="*/ 649356 w 1178159"/>
                <a:gd name="connsiteY741" fmla="*/ 268800 h 466571"/>
                <a:gd name="connsiteX742" fmla="*/ 647890 w 1178159"/>
                <a:gd name="connsiteY742" fmla="*/ 260818 h 466571"/>
                <a:gd name="connsiteX743" fmla="*/ 644632 w 1178159"/>
                <a:gd name="connsiteY743" fmla="*/ 257885 h 466571"/>
                <a:gd name="connsiteX744" fmla="*/ 644632 w 1178159"/>
                <a:gd name="connsiteY744" fmla="*/ 255442 h 466571"/>
                <a:gd name="connsiteX745" fmla="*/ 650171 w 1178159"/>
                <a:gd name="connsiteY745" fmla="*/ 252020 h 466571"/>
                <a:gd name="connsiteX746" fmla="*/ 652451 w 1178159"/>
                <a:gd name="connsiteY746" fmla="*/ 248436 h 466571"/>
                <a:gd name="connsiteX747" fmla="*/ 657664 w 1178159"/>
                <a:gd name="connsiteY747" fmla="*/ 247296 h 466571"/>
                <a:gd name="connsiteX748" fmla="*/ 662877 w 1178159"/>
                <a:gd name="connsiteY748" fmla="*/ 249088 h 466571"/>
                <a:gd name="connsiteX749" fmla="*/ 662389 w 1178159"/>
                <a:gd name="connsiteY749" fmla="*/ 251695 h 466571"/>
                <a:gd name="connsiteX750" fmla="*/ 664832 w 1178159"/>
                <a:gd name="connsiteY750" fmla="*/ 255930 h 466571"/>
                <a:gd name="connsiteX751" fmla="*/ 664832 w 1178159"/>
                <a:gd name="connsiteY751" fmla="*/ 261143 h 466571"/>
                <a:gd name="connsiteX752" fmla="*/ 660760 w 1178159"/>
                <a:gd name="connsiteY752" fmla="*/ 265705 h 466571"/>
                <a:gd name="connsiteX753" fmla="*/ 659619 w 1178159"/>
                <a:gd name="connsiteY753" fmla="*/ 270266 h 466571"/>
                <a:gd name="connsiteX754" fmla="*/ 662389 w 1178159"/>
                <a:gd name="connsiteY754" fmla="*/ 275479 h 466571"/>
                <a:gd name="connsiteX755" fmla="*/ 665810 w 1178159"/>
                <a:gd name="connsiteY755" fmla="*/ 275968 h 466571"/>
                <a:gd name="connsiteX756" fmla="*/ 668905 w 1178159"/>
                <a:gd name="connsiteY756" fmla="*/ 279878 h 466571"/>
                <a:gd name="connsiteX757" fmla="*/ 674769 w 1178159"/>
                <a:gd name="connsiteY757" fmla="*/ 283299 h 466571"/>
                <a:gd name="connsiteX758" fmla="*/ 675747 w 1178159"/>
                <a:gd name="connsiteY758" fmla="*/ 288024 h 466571"/>
                <a:gd name="connsiteX759" fmla="*/ 673792 w 1178159"/>
                <a:gd name="connsiteY759" fmla="*/ 287698 h 466571"/>
                <a:gd name="connsiteX760" fmla="*/ 672489 w 1178159"/>
                <a:gd name="connsiteY760" fmla="*/ 297146 h 466571"/>
                <a:gd name="connsiteX761" fmla="*/ 674281 w 1178159"/>
                <a:gd name="connsiteY761" fmla="*/ 302359 h 466571"/>
                <a:gd name="connsiteX762" fmla="*/ 678028 w 1178159"/>
                <a:gd name="connsiteY762" fmla="*/ 303663 h 466571"/>
                <a:gd name="connsiteX763" fmla="*/ 680798 w 1178159"/>
                <a:gd name="connsiteY763" fmla="*/ 302685 h 466571"/>
                <a:gd name="connsiteX764" fmla="*/ 686499 w 1178159"/>
                <a:gd name="connsiteY764" fmla="*/ 305129 h 466571"/>
                <a:gd name="connsiteX765" fmla="*/ 690735 w 1178159"/>
                <a:gd name="connsiteY765" fmla="*/ 304477 h 466571"/>
                <a:gd name="connsiteX766" fmla="*/ 690409 w 1178159"/>
                <a:gd name="connsiteY766" fmla="*/ 302685 h 466571"/>
                <a:gd name="connsiteX767" fmla="*/ 688943 w 1178159"/>
                <a:gd name="connsiteY767" fmla="*/ 298938 h 466571"/>
                <a:gd name="connsiteX768" fmla="*/ 693341 w 1178159"/>
                <a:gd name="connsiteY768" fmla="*/ 294866 h 466571"/>
                <a:gd name="connsiteX769" fmla="*/ 697740 w 1178159"/>
                <a:gd name="connsiteY769" fmla="*/ 293725 h 466571"/>
                <a:gd name="connsiteX770" fmla="*/ 703768 w 1178159"/>
                <a:gd name="connsiteY770" fmla="*/ 290304 h 466571"/>
                <a:gd name="connsiteX771" fmla="*/ 711261 w 1178159"/>
                <a:gd name="connsiteY771" fmla="*/ 290793 h 466571"/>
                <a:gd name="connsiteX772" fmla="*/ 714031 w 1178159"/>
                <a:gd name="connsiteY772" fmla="*/ 287860 h 466571"/>
                <a:gd name="connsiteX773" fmla="*/ 715986 w 1178159"/>
                <a:gd name="connsiteY773" fmla="*/ 289001 h 466571"/>
                <a:gd name="connsiteX774" fmla="*/ 719733 w 1178159"/>
                <a:gd name="connsiteY774" fmla="*/ 289001 h 466571"/>
                <a:gd name="connsiteX775" fmla="*/ 722014 w 1178159"/>
                <a:gd name="connsiteY775" fmla="*/ 285254 h 466571"/>
                <a:gd name="connsiteX776" fmla="*/ 721362 w 1178159"/>
                <a:gd name="connsiteY776" fmla="*/ 282973 h 466571"/>
                <a:gd name="connsiteX777" fmla="*/ 714682 w 1178159"/>
                <a:gd name="connsiteY777" fmla="*/ 282484 h 466571"/>
                <a:gd name="connsiteX778" fmla="*/ 712728 w 1178159"/>
                <a:gd name="connsiteY778" fmla="*/ 283462 h 466571"/>
                <a:gd name="connsiteX779" fmla="*/ 710610 w 1178159"/>
                <a:gd name="connsiteY779" fmla="*/ 282647 h 466571"/>
                <a:gd name="connsiteX780" fmla="*/ 705885 w 1178159"/>
                <a:gd name="connsiteY780" fmla="*/ 283136 h 466571"/>
                <a:gd name="connsiteX781" fmla="*/ 705560 w 1178159"/>
                <a:gd name="connsiteY781" fmla="*/ 279389 h 466571"/>
                <a:gd name="connsiteX782" fmla="*/ 703116 w 1178159"/>
                <a:gd name="connsiteY782" fmla="*/ 279063 h 466571"/>
                <a:gd name="connsiteX783" fmla="*/ 703116 w 1178159"/>
                <a:gd name="connsiteY783" fmla="*/ 276620 h 466571"/>
                <a:gd name="connsiteX784" fmla="*/ 701161 w 1178159"/>
                <a:gd name="connsiteY784" fmla="*/ 276131 h 466571"/>
                <a:gd name="connsiteX785" fmla="*/ 698880 w 1178159"/>
                <a:gd name="connsiteY785" fmla="*/ 277434 h 466571"/>
                <a:gd name="connsiteX786" fmla="*/ 698880 w 1178159"/>
                <a:gd name="connsiteY786" fmla="*/ 274665 h 466571"/>
                <a:gd name="connsiteX787" fmla="*/ 694319 w 1178159"/>
                <a:gd name="connsiteY787" fmla="*/ 273362 h 466571"/>
                <a:gd name="connsiteX788" fmla="*/ 692853 w 1178159"/>
                <a:gd name="connsiteY788" fmla="*/ 270266 h 466571"/>
                <a:gd name="connsiteX789" fmla="*/ 695785 w 1178159"/>
                <a:gd name="connsiteY789" fmla="*/ 267334 h 466571"/>
                <a:gd name="connsiteX790" fmla="*/ 696925 w 1178159"/>
                <a:gd name="connsiteY790" fmla="*/ 264890 h 466571"/>
                <a:gd name="connsiteX791" fmla="*/ 698717 w 1178159"/>
                <a:gd name="connsiteY791" fmla="*/ 265542 h 466571"/>
                <a:gd name="connsiteX792" fmla="*/ 697251 w 1178159"/>
                <a:gd name="connsiteY792" fmla="*/ 262447 h 466571"/>
                <a:gd name="connsiteX793" fmla="*/ 699532 w 1178159"/>
                <a:gd name="connsiteY793" fmla="*/ 262121 h 466571"/>
                <a:gd name="connsiteX794" fmla="*/ 700672 w 1178159"/>
                <a:gd name="connsiteY794" fmla="*/ 259514 h 466571"/>
                <a:gd name="connsiteX795" fmla="*/ 698228 w 1178159"/>
                <a:gd name="connsiteY795" fmla="*/ 257071 h 466571"/>
                <a:gd name="connsiteX796" fmla="*/ 694807 w 1178159"/>
                <a:gd name="connsiteY796" fmla="*/ 255930 h 466571"/>
                <a:gd name="connsiteX797" fmla="*/ 696274 w 1178159"/>
                <a:gd name="connsiteY797" fmla="*/ 253487 h 466571"/>
                <a:gd name="connsiteX798" fmla="*/ 695785 w 1178159"/>
                <a:gd name="connsiteY798" fmla="*/ 250717 h 466571"/>
                <a:gd name="connsiteX799" fmla="*/ 691387 w 1178159"/>
                <a:gd name="connsiteY799" fmla="*/ 247785 h 466571"/>
                <a:gd name="connsiteX800" fmla="*/ 688454 w 1178159"/>
                <a:gd name="connsiteY800" fmla="*/ 247785 h 466571"/>
                <a:gd name="connsiteX801" fmla="*/ 687151 w 1178159"/>
                <a:gd name="connsiteY801" fmla="*/ 242735 h 466571"/>
                <a:gd name="connsiteX802" fmla="*/ 680146 w 1178159"/>
                <a:gd name="connsiteY802" fmla="*/ 234752 h 466571"/>
                <a:gd name="connsiteX803" fmla="*/ 675910 w 1178159"/>
                <a:gd name="connsiteY803" fmla="*/ 231820 h 466571"/>
                <a:gd name="connsiteX804" fmla="*/ 673303 w 1178159"/>
                <a:gd name="connsiteY804" fmla="*/ 227258 h 466571"/>
                <a:gd name="connsiteX805" fmla="*/ 673792 w 1178159"/>
                <a:gd name="connsiteY805" fmla="*/ 225303 h 466571"/>
                <a:gd name="connsiteX806" fmla="*/ 675747 w 1178159"/>
                <a:gd name="connsiteY806" fmla="*/ 225303 h 466571"/>
                <a:gd name="connsiteX807" fmla="*/ 676887 w 1178159"/>
                <a:gd name="connsiteY807" fmla="*/ 228073 h 466571"/>
                <a:gd name="connsiteX808" fmla="*/ 681449 w 1178159"/>
                <a:gd name="connsiteY808" fmla="*/ 228073 h 466571"/>
                <a:gd name="connsiteX809" fmla="*/ 685522 w 1178159"/>
                <a:gd name="connsiteY809" fmla="*/ 225141 h 466571"/>
                <a:gd name="connsiteX810" fmla="*/ 686662 w 1178159"/>
                <a:gd name="connsiteY810" fmla="*/ 222045 h 466571"/>
                <a:gd name="connsiteX811" fmla="*/ 696925 w 1178159"/>
                <a:gd name="connsiteY811" fmla="*/ 218298 h 466571"/>
                <a:gd name="connsiteX812" fmla="*/ 704256 w 1178159"/>
                <a:gd name="connsiteY812" fmla="*/ 212596 h 466571"/>
                <a:gd name="connsiteX813" fmla="*/ 707677 w 1178159"/>
                <a:gd name="connsiteY813" fmla="*/ 206732 h 466571"/>
                <a:gd name="connsiteX814" fmla="*/ 712239 w 1178159"/>
                <a:gd name="connsiteY814" fmla="*/ 204288 h 466571"/>
                <a:gd name="connsiteX815" fmla="*/ 712239 w 1178159"/>
                <a:gd name="connsiteY815" fmla="*/ 200867 h 466571"/>
                <a:gd name="connsiteX816" fmla="*/ 717941 w 1178159"/>
                <a:gd name="connsiteY816" fmla="*/ 199564 h 466571"/>
                <a:gd name="connsiteX817" fmla="*/ 722828 w 1178159"/>
                <a:gd name="connsiteY817" fmla="*/ 202170 h 466571"/>
                <a:gd name="connsiteX818" fmla="*/ 725923 w 1178159"/>
                <a:gd name="connsiteY818" fmla="*/ 202496 h 466571"/>
                <a:gd name="connsiteX819" fmla="*/ 730322 w 1178159"/>
                <a:gd name="connsiteY819" fmla="*/ 196306 h 466571"/>
                <a:gd name="connsiteX820" fmla="*/ 730322 w 1178159"/>
                <a:gd name="connsiteY820" fmla="*/ 192233 h 466571"/>
                <a:gd name="connsiteX821" fmla="*/ 724946 w 1178159"/>
                <a:gd name="connsiteY821" fmla="*/ 190278 h 466571"/>
                <a:gd name="connsiteX822" fmla="*/ 713542 w 1178159"/>
                <a:gd name="connsiteY822" fmla="*/ 191418 h 466571"/>
                <a:gd name="connsiteX823" fmla="*/ 708655 w 1178159"/>
                <a:gd name="connsiteY823" fmla="*/ 194839 h 466571"/>
                <a:gd name="connsiteX824" fmla="*/ 701161 w 1178159"/>
                <a:gd name="connsiteY824" fmla="*/ 194839 h 466571"/>
                <a:gd name="connsiteX825" fmla="*/ 697414 w 1178159"/>
                <a:gd name="connsiteY825" fmla="*/ 195980 h 466571"/>
                <a:gd name="connsiteX826" fmla="*/ 693016 w 1178159"/>
                <a:gd name="connsiteY826" fmla="*/ 200541 h 466571"/>
                <a:gd name="connsiteX827" fmla="*/ 688291 w 1178159"/>
                <a:gd name="connsiteY827" fmla="*/ 200215 h 466571"/>
                <a:gd name="connsiteX828" fmla="*/ 684544 w 1178159"/>
                <a:gd name="connsiteY828" fmla="*/ 201193 h 466571"/>
                <a:gd name="connsiteX829" fmla="*/ 679820 w 1178159"/>
                <a:gd name="connsiteY829" fmla="*/ 198260 h 466571"/>
                <a:gd name="connsiteX830" fmla="*/ 675259 w 1178159"/>
                <a:gd name="connsiteY830" fmla="*/ 196957 h 466571"/>
                <a:gd name="connsiteX831" fmla="*/ 670208 w 1178159"/>
                <a:gd name="connsiteY831" fmla="*/ 203474 h 466571"/>
                <a:gd name="connsiteX832" fmla="*/ 666787 w 1178159"/>
                <a:gd name="connsiteY832" fmla="*/ 211945 h 466571"/>
                <a:gd name="connsiteX833" fmla="*/ 661737 w 1178159"/>
                <a:gd name="connsiteY833" fmla="*/ 214551 h 466571"/>
                <a:gd name="connsiteX834" fmla="*/ 656361 w 1178159"/>
                <a:gd name="connsiteY834" fmla="*/ 213737 h 466571"/>
                <a:gd name="connsiteX835" fmla="*/ 655058 w 1178159"/>
                <a:gd name="connsiteY835" fmla="*/ 211293 h 466571"/>
                <a:gd name="connsiteX836" fmla="*/ 648378 w 1178159"/>
                <a:gd name="connsiteY836" fmla="*/ 203962 h 466571"/>
                <a:gd name="connsiteX837" fmla="*/ 641699 w 1178159"/>
                <a:gd name="connsiteY837" fmla="*/ 198260 h 466571"/>
                <a:gd name="connsiteX838" fmla="*/ 638278 w 1178159"/>
                <a:gd name="connsiteY838" fmla="*/ 189301 h 466571"/>
                <a:gd name="connsiteX839" fmla="*/ 638930 w 1178159"/>
                <a:gd name="connsiteY839" fmla="*/ 179363 h 466571"/>
                <a:gd name="connsiteX840" fmla="*/ 643002 w 1178159"/>
                <a:gd name="connsiteY840" fmla="*/ 169751 h 466571"/>
                <a:gd name="connsiteX841" fmla="*/ 647564 w 1178159"/>
                <a:gd name="connsiteY841" fmla="*/ 165190 h 466571"/>
                <a:gd name="connsiteX842" fmla="*/ 647564 w 1178159"/>
                <a:gd name="connsiteY842" fmla="*/ 165190 h 466571"/>
                <a:gd name="connsiteX843" fmla="*/ 651148 w 1178159"/>
                <a:gd name="connsiteY843" fmla="*/ 0 h 466571"/>
                <a:gd name="connsiteX844" fmla="*/ 647890 w 1178159"/>
                <a:gd name="connsiteY844" fmla="*/ 3910 h 466571"/>
                <a:gd name="connsiteX845" fmla="*/ 650985 w 1178159"/>
                <a:gd name="connsiteY845" fmla="*/ 4887 h 466571"/>
                <a:gd name="connsiteX846" fmla="*/ 652288 w 1178159"/>
                <a:gd name="connsiteY846" fmla="*/ 2444 h 466571"/>
                <a:gd name="connsiteX847" fmla="*/ 651148 w 1178159"/>
                <a:gd name="connsiteY847" fmla="*/ 0 h 466571"/>
                <a:gd name="connsiteX848" fmla="*/ 651148 w 1178159"/>
                <a:gd name="connsiteY848" fmla="*/ 0 h 466571"/>
                <a:gd name="connsiteX849" fmla="*/ 657501 w 1178159"/>
                <a:gd name="connsiteY849" fmla="*/ 17106 h 466571"/>
                <a:gd name="connsiteX850" fmla="*/ 661900 w 1178159"/>
                <a:gd name="connsiteY850" fmla="*/ 17106 h 466571"/>
                <a:gd name="connsiteX851" fmla="*/ 664018 w 1178159"/>
                <a:gd name="connsiteY851" fmla="*/ 15802 h 466571"/>
                <a:gd name="connsiteX852" fmla="*/ 666298 w 1178159"/>
                <a:gd name="connsiteY852" fmla="*/ 17106 h 466571"/>
                <a:gd name="connsiteX853" fmla="*/ 669882 w 1178159"/>
                <a:gd name="connsiteY853" fmla="*/ 15313 h 466571"/>
                <a:gd name="connsiteX854" fmla="*/ 669882 w 1178159"/>
                <a:gd name="connsiteY854" fmla="*/ 13033 h 466571"/>
                <a:gd name="connsiteX855" fmla="*/ 664018 w 1178159"/>
                <a:gd name="connsiteY855" fmla="*/ 11893 h 466571"/>
                <a:gd name="connsiteX856" fmla="*/ 657827 w 1178159"/>
                <a:gd name="connsiteY856" fmla="*/ 13033 h 466571"/>
                <a:gd name="connsiteX857" fmla="*/ 655872 w 1178159"/>
                <a:gd name="connsiteY857" fmla="*/ 15313 h 466571"/>
                <a:gd name="connsiteX858" fmla="*/ 657339 w 1178159"/>
                <a:gd name="connsiteY858" fmla="*/ 17106 h 466571"/>
                <a:gd name="connsiteX859" fmla="*/ 657339 w 1178159"/>
                <a:gd name="connsiteY859" fmla="*/ 17106 h 466571"/>
                <a:gd name="connsiteX860" fmla="*/ 618892 w 1178159"/>
                <a:gd name="connsiteY860" fmla="*/ 43334 h 466571"/>
                <a:gd name="connsiteX861" fmla="*/ 617914 w 1178159"/>
                <a:gd name="connsiteY861" fmla="*/ 46429 h 466571"/>
                <a:gd name="connsiteX862" fmla="*/ 620195 w 1178159"/>
                <a:gd name="connsiteY862" fmla="*/ 50991 h 466571"/>
                <a:gd name="connsiteX863" fmla="*/ 620195 w 1178159"/>
                <a:gd name="connsiteY863" fmla="*/ 46918 h 466571"/>
                <a:gd name="connsiteX864" fmla="*/ 619055 w 1178159"/>
                <a:gd name="connsiteY864" fmla="*/ 43171 h 466571"/>
                <a:gd name="connsiteX865" fmla="*/ 619055 w 1178159"/>
                <a:gd name="connsiteY865" fmla="*/ 43171 h 466571"/>
                <a:gd name="connsiteX866" fmla="*/ 627689 w 1178159"/>
                <a:gd name="connsiteY866" fmla="*/ 37958 h 466571"/>
                <a:gd name="connsiteX867" fmla="*/ 636160 w 1178159"/>
                <a:gd name="connsiteY867" fmla="*/ 30953 h 466571"/>
                <a:gd name="connsiteX868" fmla="*/ 640070 w 1178159"/>
                <a:gd name="connsiteY868" fmla="*/ 30138 h 466571"/>
                <a:gd name="connsiteX869" fmla="*/ 640559 w 1178159"/>
                <a:gd name="connsiteY869" fmla="*/ 34048 h 466571"/>
                <a:gd name="connsiteX870" fmla="*/ 634531 w 1178159"/>
                <a:gd name="connsiteY870" fmla="*/ 38284 h 466571"/>
                <a:gd name="connsiteX871" fmla="*/ 628992 w 1178159"/>
                <a:gd name="connsiteY871" fmla="*/ 39424 h 466571"/>
                <a:gd name="connsiteX872" fmla="*/ 627689 w 1178159"/>
                <a:gd name="connsiteY872" fmla="*/ 37795 h 466571"/>
                <a:gd name="connsiteX873" fmla="*/ 627689 w 1178159"/>
                <a:gd name="connsiteY873" fmla="*/ 37795 h 466571"/>
                <a:gd name="connsiteX874" fmla="*/ 575069 w 1178159"/>
                <a:gd name="connsiteY874" fmla="*/ 65978 h 466571"/>
                <a:gd name="connsiteX875" fmla="*/ 576535 w 1178159"/>
                <a:gd name="connsiteY875" fmla="*/ 68585 h 466571"/>
                <a:gd name="connsiteX876" fmla="*/ 573929 w 1178159"/>
                <a:gd name="connsiteY876" fmla="*/ 67444 h 466571"/>
                <a:gd name="connsiteX877" fmla="*/ 575069 w 1178159"/>
                <a:gd name="connsiteY877" fmla="*/ 65978 h 466571"/>
                <a:gd name="connsiteX878" fmla="*/ 575069 w 1178159"/>
                <a:gd name="connsiteY878" fmla="*/ 65978 h 466571"/>
                <a:gd name="connsiteX879" fmla="*/ 575232 w 1178159"/>
                <a:gd name="connsiteY879" fmla="*/ 63046 h 466571"/>
                <a:gd name="connsiteX880" fmla="*/ 575232 w 1178159"/>
                <a:gd name="connsiteY880" fmla="*/ 64186 h 466571"/>
                <a:gd name="connsiteX881" fmla="*/ 576535 w 1178159"/>
                <a:gd name="connsiteY881" fmla="*/ 66630 h 466571"/>
                <a:gd name="connsiteX882" fmla="*/ 580771 w 1178159"/>
                <a:gd name="connsiteY882" fmla="*/ 66630 h 466571"/>
                <a:gd name="connsiteX883" fmla="*/ 580771 w 1178159"/>
                <a:gd name="connsiteY883" fmla="*/ 65164 h 466571"/>
                <a:gd name="connsiteX884" fmla="*/ 575395 w 1178159"/>
                <a:gd name="connsiteY884" fmla="*/ 63209 h 466571"/>
                <a:gd name="connsiteX885" fmla="*/ 575395 w 1178159"/>
                <a:gd name="connsiteY885" fmla="*/ 63209 h 466571"/>
                <a:gd name="connsiteX886" fmla="*/ 578164 w 1178159"/>
                <a:gd name="connsiteY886" fmla="*/ 77382 h 466571"/>
                <a:gd name="connsiteX887" fmla="*/ 572951 w 1178159"/>
                <a:gd name="connsiteY887" fmla="*/ 78685 h 466571"/>
                <a:gd name="connsiteX888" fmla="*/ 576861 w 1178159"/>
                <a:gd name="connsiteY888" fmla="*/ 79663 h 466571"/>
                <a:gd name="connsiteX889" fmla="*/ 578164 w 1178159"/>
                <a:gd name="connsiteY889" fmla="*/ 77382 h 466571"/>
                <a:gd name="connsiteX890" fmla="*/ 578164 w 1178159"/>
                <a:gd name="connsiteY890" fmla="*/ 77382 h 466571"/>
                <a:gd name="connsiteX891" fmla="*/ 572789 w 1178159"/>
                <a:gd name="connsiteY891" fmla="*/ 82595 h 466571"/>
                <a:gd name="connsiteX892" fmla="*/ 575232 w 1178159"/>
                <a:gd name="connsiteY892" fmla="*/ 84061 h 466571"/>
                <a:gd name="connsiteX893" fmla="*/ 575232 w 1178159"/>
                <a:gd name="connsiteY893" fmla="*/ 88623 h 466571"/>
                <a:gd name="connsiteX894" fmla="*/ 573603 w 1178159"/>
                <a:gd name="connsiteY894" fmla="*/ 88134 h 466571"/>
                <a:gd name="connsiteX895" fmla="*/ 572951 w 1178159"/>
                <a:gd name="connsiteY895" fmla="*/ 82595 h 466571"/>
                <a:gd name="connsiteX896" fmla="*/ 572951 w 1178159"/>
                <a:gd name="connsiteY896" fmla="*/ 82595 h 466571"/>
                <a:gd name="connsiteX897" fmla="*/ 540696 w 1178159"/>
                <a:gd name="connsiteY897" fmla="*/ 267008 h 466571"/>
                <a:gd name="connsiteX898" fmla="*/ 541999 w 1178159"/>
                <a:gd name="connsiteY898" fmla="*/ 268311 h 466571"/>
                <a:gd name="connsiteX899" fmla="*/ 541347 w 1178159"/>
                <a:gd name="connsiteY899" fmla="*/ 275154 h 466571"/>
                <a:gd name="connsiteX900" fmla="*/ 540044 w 1178159"/>
                <a:gd name="connsiteY900" fmla="*/ 275642 h 466571"/>
                <a:gd name="connsiteX901" fmla="*/ 539718 w 1178159"/>
                <a:gd name="connsiteY901" fmla="*/ 269289 h 466571"/>
                <a:gd name="connsiteX902" fmla="*/ 540696 w 1178159"/>
                <a:gd name="connsiteY902" fmla="*/ 267334 h 466571"/>
                <a:gd name="connsiteX903" fmla="*/ 540696 w 1178159"/>
                <a:gd name="connsiteY903" fmla="*/ 267334 h 466571"/>
                <a:gd name="connsiteX904" fmla="*/ 538578 w 1178159"/>
                <a:gd name="connsiteY904" fmla="*/ 267334 h 466571"/>
                <a:gd name="connsiteX905" fmla="*/ 538903 w 1178159"/>
                <a:gd name="connsiteY905" fmla="*/ 276294 h 466571"/>
                <a:gd name="connsiteX906" fmla="*/ 537600 w 1178159"/>
                <a:gd name="connsiteY906" fmla="*/ 281344 h 466571"/>
                <a:gd name="connsiteX907" fmla="*/ 533691 w 1178159"/>
                <a:gd name="connsiteY907" fmla="*/ 284114 h 466571"/>
                <a:gd name="connsiteX908" fmla="*/ 531735 w 1178159"/>
                <a:gd name="connsiteY908" fmla="*/ 281670 h 466571"/>
                <a:gd name="connsiteX909" fmla="*/ 532550 w 1178159"/>
                <a:gd name="connsiteY909" fmla="*/ 274339 h 466571"/>
                <a:gd name="connsiteX910" fmla="*/ 535157 w 1178159"/>
                <a:gd name="connsiteY910" fmla="*/ 267008 h 466571"/>
                <a:gd name="connsiteX911" fmla="*/ 537437 w 1178159"/>
                <a:gd name="connsiteY911" fmla="*/ 265542 h 466571"/>
                <a:gd name="connsiteX912" fmla="*/ 538741 w 1178159"/>
                <a:gd name="connsiteY912" fmla="*/ 267497 h 466571"/>
                <a:gd name="connsiteX913" fmla="*/ 538741 w 1178159"/>
                <a:gd name="connsiteY913" fmla="*/ 267497 h 466571"/>
                <a:gd name="connsiteX914" fmla="*/ 361495 w 1178159"/>
                <a:gd name="connsiteY914" fmla="*/ 186531 h 466571"/>
                <a:gd name="connsiteX915" fmla="*/ 367686 w 1178159"/>
                <a:gd name="connsiteY915" fmla="*/ 188323 h 466571"/>
                <a:gd name="connsiteX916" fmla="*/ 368664 w 1178159"/>
                <a:gd name="connsiteY916" fmla="*/ 189789 h 466571"/>
                <a:gd name="connsiteX917" fmla="*/ 366057 w 1178159"/>
                <a:gd name="connsiteY917" fmla="*/ 191255 h 466571"/>
                <a:gd name="connsiteX918" fmla="*/ 361495 w 1178159"/>
                <a:gd name="connsiteY918" fmla="*/ 189626 h 466571"/>
                <a:gd name="connsiteX919" fmla="*/ 360518 w 1178159"/>
                <a:gd name="connsiteY919" fmla="*/ 187183 h 466571"/>
                <a:gd name="connsiteX920" fmla="*/ 361495 w 1178159"/>
                <a:gd name="connsiteY920" fmla="*/ 186531 h 466571"/>
                <a:gd name="connsiteX921" fmla="*/ 361495 w 1178159"/>
                <a:gd name="connsiteY921" fmla="*/ 186531 h 466571"/>
                <a:gd name="connsiteX922" fmla="*/ 363939 w 1178159"/>
                <a:gd name="connsiteY922" fmla="*/ 197609 h 466571"/>
                <a:gd name="connsiteX923" fmla="*/ 370455 w 1178159"/>
                <a:gd name="connsiteY923" fmla="*/ 198749 h 466571"/>
                <a:gd name="connsiteX924" fmla="*/ 373225 w 1178159"/>
                <a:gd name="connsiteY924" fmla="*/ 201519 h 466571"/>
                <a:gd name="connsiteX925" fmla="*/ 375180 w 1178159"/>
                <a:gd name="connsiteY925" fmla="*/ 202170 h 466571"/>
                <a:gd name="connsiteX926" fmla="*/ 375180 w 1178159"/>
                <a:gd name="connsiteY926" fmla="*/ 203962 h 466571"/>
                <a:gd name="connsiteX927" fmla="*/ 369315 w 1178159"/>
                <a:gd name="connsiteY927" fmla="*/ 203636 h 466571"/>
                <a:gd name="connsiteX928" fmla="*/ 366871 w 1178159"/>
                <a:gd name="connsiteY928" fmla="*/ 203636 h 466571"/>
                <a:gd name="connsiteX929" fmla="*/ 363287 w 1178159"/>
                <a:gd name="connsiteY929" fmla="*/ 199564 h 466571"/>
                <a:gd name="connsiteX930" fmla="*/ 363776 w 1178159"/>
                <a:gd name="connsiteY930" fmla="*/ 197609 h 466571"/>
                <a:gd name="connsiteX931" fmla="*/ 363776 w 1178159"/>
                <a:gd name="connsiteY931" fmla="*/ 197609 h 466571"/>
                <a:gd name="connsiteX932" fmla="*/ 369152 w 1178159"/>
                <a:gd name="connsiteY932" fmla="*/ 205754 h 466571"/>
                <a:gd name="connsiteX933" fmla="*/ 375505 w 1178159"/>
                <a:gd name="connsiteY933" fmla="*/ 206080 h 466571"/>
                <a:gd name="connsiteX934" fmla="*/ 379252 w 1178159"/>
                <a:gd name="connsiteY934" fmla="*/ 208687 h 466571"/>
                <a:gd name="connsiteX935" fmla="*/ 374365 w 1178159"/>
                <a:gd name="connsiteY935" fmla="*/ 213900 h 466571"/>
                <a:gd name="connsiteX936" fmla="*/ 371107 w 1178159"/>
                <a:gd name="connsiteY936" fmla="*/ 214877 h 466571"/>
                <a:gd name="connsiteX937" fmla="*/ 368989 w 1178159"/>
                <a:gd name="connsiteY937" fmla="*/ 212108 h 466571"/>
                <a:gd name="connsiteX938" fmla="*/ 369804 w 1178159"/>
                <a:gd name="connsiteY938" fmla="*/ 208850 h 466571"/>
                <a:gd name="connsiteX939" fmla="*/ 369315 w 1178159"/>
                <a:gd name="connsiteY939" fmla="*/ 205917 h 466571"/>
                <a:gd name="connsiteX940" fmla="*/ 369315 w 1178159"/>
                <a:gd name="connsiteY940" fmla="*/ 205917 h 466571"/>
                <a:gd name="connsiteX941" fmla="*/ 356934 w 1178159"/>
                <a:gd name="connsiteY941" fmla="*/ 144501 h 466571"/>
                <a:gd name="connsiteX942" fmla="*/ 361007 w 1178159"/>
                <a:gd name="connsiteY942" fmla="*/ 137495 h 466571"/>
                <a:gd name="connsiteX943" fmla="*/ 367034 w 1178159"/>
                <a:gd name="connsiteY943" fmla="*/ 129350 h 466571"/>
                <a:gd name="connsiteX944" fmla="*/ 369641 w 1178159"/>
                <a:gd name="connsiteY944" fmla="*/ 125440 h 466571"/>
                <a:gd name="connsiteX945" fmla="*/ 373551 w 1178159"/>
                <a:gd name="connsiteY945" fmla="*/ 124137 h 466571"/>
                <a:gd name="connsiteX946" fmla="*/ 378764 w 1178159"/>
                <a:gd name="connsiteY946" fmla="*/ 133423 h 466571"/>
                <a:gd name="connsiteX947" fmla="*/ 386909 w 1178159"/>
                <a:gd name="connsiteY947" fmla="*/ 139287 h 466571"/>
                <a:gd name="connsiteX948" fmla="*/ 387724 w 1178159"/>
                <a:gd name="connsiteY948" fmla="*/ 141405 h 466571"/>
                <a:gd name="connsiteX949" fmla="*/ 393589 w 1178159"/>
                <a:gd name="connsiteY949" fmla="*/ 146781 h 466571"/>
                <a:gd name="connsiteX950" fmla="*/ 395706 w 1178159"/>
                <a:gd name="connsiteY950" fmla="*/ 151017 h 466571"/>
                <a:gd name="connsiteX951" fmla="*/ 399453 w 1178159"/>
                <a:gd name="connsiteY951" fmla="*/ 151506 h 466571"/>
                <a:gd name="connsiteX952" fmla="*/ 406784 w 1178159"/>
                <a:gd name="connsiteY952" fmla="*/ 149551 h 466571"/>
                <a:gd name="connsiteX953" fmla="*/ 407599 w 1178159"/>
                <a:gd name="connsiteY953" fmla="*/ 146618 h 466571"/>
                <a:gd name="connsiteX954" fmla="*/ 413952 w 1178159"/>
                <a:gd name="connsiteY954" fmla="*/ 147107 h 466571"/>
                <a:gd name="connsiteX955" fmla="*/ 417536 w 1178159"/>
                <a:gd name="connsiteY955" fmla="*/ 145315 h 466571"/>
                <a:gd name="connsiteX956" fmla="*/ 431546 w 1178159"/>
                <a:gd name="connsiteY956" fmla="*/ 146130 h 466571"/>
                <a:gd name="connsiteX957" fmla="*/ 445719 w 1178159"/>
                <a:gd name="connsiteY957" fmla="*/ 140428 h 466571"/>
                <a:gd name="connsiteX958" fmla="*/ 449466 w 1178159"/>
                <a:gd name="connsiteY958" fmla="*/ 137169 h 466571"/>
                <a:gd name="connsiteX959" fmla="*/ 461848 w 1178159"/>
                <a:gd name="connsiteY959" fmla="*/ 136844 h 466571"/>
                <a:gd name="connsiteX960" fmla="*/ 468364 w 1178159"/>
                <a:gd name="connsiteY960" fmla="*/ 139939 h 466571"/>
                <a:gd name="connsiteX961" fmla="*/ 470319 w 1178159"/>
                <a:gd name="connsiteY961" fmla="*/ 143034 h 466571"/>
                <a:gd name="connsiteX962" fmla="*/ 476346 w 1178159"/>
                <a:gd name="connsiteY962" fmla="*/ 143034 h 466571"/>
                <a:gd name="connsiteX963" fmla="*/ 486773 w 1178159"/>
                <a:gd name="connsiteY963" fmla="*/ 137169 h 466571"/>
                <a:gd name="connsiteX964" fmla="*/ 498991 w 1178159"/>
                <a:gd name="connsiteY964" fmla="*/ 135377 h 466571"/>
                <a:gd name="connsiteX965" fmla="*/ 498339 w 1178159"/>
                <a:gd name="connsiteY965" fmla="*/ 131468 h 466571"/>
                <a:gd name="connsiteX966" fmla="*/ 508439 w 1178159"/>
                <a:gd name="connsiteY966" fmla="*/ 116154 h 466571"/>
                <a:gd name="connsiteX967" fmla="*/ 512512 w 1178159"/>
                <a:gd name="connsiteY967" fmla="*/ 105239 h 466571"/>
                <a:gd name="connsiteX968" fmla="*/ 520169 w 1178159"/>
                <a:gd name="connsiteY968" fmla="*/ 93673 h 466571"/>
                <a:gd name="connsiteX969" fmla="*/ 525708 w 1178159"/>
                <a:gd name="connsiteY969" fmla="*/ 73961 h 466571"/>
                <a:gd name="connsiteX970" fmla="*/ 525708 w 1178159"/>
                <a:gd name="connsiteY970" fmla="*/ 70051 h 466571"/>
                <a:gd name="connsiteX971" fmla="*/ 528314 w 1178159"/>
                <a:gd name="connsiteY971" fmla="*/ 65652 h 466571"/>
                <a:gd name="connsiteX972" fmla="*/ 527989 w 1178159"/>
                <a:gd name="connsiteY972" fmla="*/ 62394 h 466571"/>
                <a:gd name="connsiteX973" fmla="*/ 533364 w 1178159"/>
                <a:gd name="connsiteY973" fmla="*/ 55878 h 466571"/>
                <a:gd name="connsiteX974" fmla="*/ 537600 w 1178159"/>
                <a:gd name="connsiteY974" fmla="*/ 57670 h 466571"/>
                <a:gd name="connsiteX975" fmla="*/ 545746 w 1178159"/>
                <a:gd name="connsiteY975" fmla="*/ 57018 h 466571"/>
                <a:gd name="connsiteX976" fmla="*/ 556986 w 1178159"/>
                <a:gd name="connsiteY976" fmla="*/ 57018 h 466571"/>
                <a:gd name="connsiteX977" fmla="*/ 559756 w 1178159"/>
                <a:gd name="connsiteY977" fmla="*/ 59299 h 466571"/>
                <a:gd name="connsiteX978" fmla="*/ 566924 w 1178159"/>
                <a:gd name="connsiteY978" fmla="*/ 59299 h 466571"/>
                <a:gd name="connsiteX979" fmla="*/ 572463 w 1178159"/>
                <a:gd name="connsiteY979" fmla="*/ 60765 h 466571"/>
                <a:gd name="connsiteX980" fmla="*/ 572137 w 1178159"/>
                <a:gd name="connsiteY980" fmla="*/ 62231 h 466571"/>
                <a:gd name="connsiteX981" fmla="*/ 569530 w 1178159"/>
                <a:gd name="connsiteY981" fmla="*/ 62720 h 466571"/>
                <a:gd name="connsiteX982" fmla="*/ 569856 w 1178159"/>
                <a:gd name="connsiteY982" fmla="*/ 65164 h 466571"/>
                <a:gd name="connsiteX983" fmla="*/ 568227 w 1178159"/>
                <a:gd name="connsiteY983" fmla="*/ 67770 h 466571"/>
                <a:gd name="connsiteX984" fmla="*/ 573603 w 1178159"/>
                <a:gd name="connsiteY984" fmla="*/ 69725 h 466571"/>
                <a:gd name="connsiteX985" fmla="*/ 578491 w 1178159"/>
                <a:gd name="connsiteY985" fmla="*/ 75590 h 466571"/>
                <a:gd name="connsiteX986" fmla="*/ 572789 w 1178159"/>
                <a:gd name="connsiteY986" fmla="*/ 77056 h 466571"/>
                <a:gd name="connsiteX987" fmla="*/ 567087 w 1178159"/>
                <a:gd name="connsiteY987" fmla="*/ 76079 h 466571"/>
                <a:gd name="connsiteX988" fmla="*/ 564643 w 1178159"/>
                <a:gd name="connsiteY988" fmla="*/ 77545 h 466571"/>
                <a:gd name="connsiteX989" fmla="*/ 568716 w 1178159"/>
                <a:gd name="connsiteY989" fmla="*/ 82269 h 466571"/>
                <a:gd name="connsiteX990" fmla="*/ 570834 w 1178159"/>
                <a:gd name="connsiteY990" fmla="*/ 83410 h 466571"/>
                <a:gd name="connsiteX991" fmla="*/ 571485 w 1178159"/>
                <a:gd name="connsiteY991" fmla="*/ 86179 h 466571"/>
                <a:gd name="connsiteX992" fmla="*/ 569205 w 1178159"/>
                <a:gd name="connsiteY992" fmla="*/ 86831 h 466571"/>
                <a:gd name="connsiteX993" fmla="*/ 567412 w 1178159"/>
                <a:gd name="connsiteY993" fmla="*/ 90741 h 466571"/>
                <a:gd name="connsiteX994" fmla="*/ 571648 w 1178159"/>
                <a:gd name="connsiteY994" fmla="*/ 94487 h 466571"/>
                <a:gd name="connsiteX995" fmla="*/ 573277 w 1178159"/>
                <a:gd name="connsiteY995" fmla="*/ 99863 h 466571"/>
                <a:gd name="connsiteX996" fmla="*/ 581748 w 1178159"/>
                <a:gd name="connsiteY996" fmla="*/ 108660 h 466571"/>
                <a:gd name="connsiteX997" fmla="*/ 585659 w 1178159"/>
                <a:gd name="connsiteY997" fmla="*/ 112082 h 466571"/>
                <a:gd name="connsiteX998" fmla="*/ 583052 w 1178159"/>
                <a:gd name="connsiteY998" fmla="*/ 116806 h 466571"/>
                <a:gd name="connsiteX999" fmla="*/ 576373 w 1178159"/>
                <a:gd name="connsiteY999" fmla="*/ 118272 h 466571"/>
                <a:gd name="connsiteX1000" fmla="*/ 575395 w 1178159"/>
                <a:gd name="connsiteY1000" fmla="*/ 121367 h 466571"/>
                <a:gd name="connsiteX1001" fmla="*/ 577676 w 1178159"/>
                <a:gd name="connsiteY1001" fmla="*/ 123159 h 466571"/>
                <a:gd name="connsiteX1002" fmla="*/ 578816 w 1178159"/>
                <a:gd name="connsiteY1002" fmla="*/ 127558 h 466571"/>
                <a:gd name="connsiteX1003" fmla="*/ 582726 w 1178159"/>
                <a:gd name="connsiteY1003" fmla="*/ 129839 h 466571"/>
                <a:gd name="connsiteX1004" fmla="*/ 593641 w 1178159"/>
                <a:gd name="connsiteY1004" fmla="*/ 139939 h 466571"/>
                <a:gd name="connsiteX1005" fmla="*/ 597388 w 1178159"/>
                <a:gd name="connsiteY1005" fmla="*/ 139939 h 466571"/>
                <a:gd name="connsiteX1006" fmla="*/ 601623 w 1178159"/>
                <a:gd name="connsiteY1006" fmla="*/ 144663 h 466571"/>
                <a:gd name="connsiteX1007" fmla="*/ 603090 w 1178159"/>
                <a:gd name="connsiteY1007" fmla="*/ 147759 h 466571"/>
                <a:gd name="connsiteX1008" fmla="*/ 607162 w 1178159"/>
                <a:gd name="connsiteY1008" fmla="*/ 148736 h 466571"/>
                <a:gd name="connsiteX1009" fmla="*/ 605859 w 1178159"/>
                <a:gd name="connsiteY1009" fmla="*/ 153298 h 466571"/>
                <a:gd name="connsiteX1010" fmla="*/ 602764 w 1178159"/>
                <a:gd name="connsiteY1010" fmla="*/ 154601 h 466571"/>
                <a:gd name="connsiteX1011" fmla="*/ 599506 w 1178159"/>
                <a:gd name="connsiteY1011" fmla="*/ 153298 h 466571"/>
                <a:gd name="connsiteX1012" fmla="*/ 595596 w 1178159"/>
                <a:gd name="connsiteY1012" fmla="*/ 156067 h 466571"/>
                <a:gd name="connsiteX1013" fmla="*/ 589731 w 1178159"/>
                <a:gd name="connsiteY1013" fmla="*/ 155415 h 466571"/>
                <a:gd name="connsiteX1014" fmla="*/ 581423 w 1178159"/>
                <a:gd name="connsiteY1014" fmla="*/ 147270 h 466571"/>
                <a:gd name="connsiteX1015" fmla="*/ 583052 w 1178159"/>
                <a:gd name="connsiteY1015" fmla="*/ 154112 h 466571"/>
                <a:gd name="connsiteX1016" fmla="*/ 581586 w 1178159"/>
                <a:gd name="connsiteY1016" fmla="*/ 156719 h 466571"/>
                <a:gd name="connsiteX1017" fmla="*/ 579142 w 1178159"/>
                <a:gd name="connsiteY1017" fmla="*/ 153623 h 466571"/>
                <a:gd name="connsiteX1018" fmla="*/ 573766 w 1178159"/>
                <a:gd name="connsiteY1018" fmla="*/ 158999 h 466571"/>
                <a:gd name="connsiteX1019" fmla="*/ 573766 w 1178159"/>
                <a:gd name="connsiteY1019" fmla="*/ 162746 h 466571"/>
                <a:gd name="connsiteX1020" fmla="*/ 571323 w 1178159"/>
                <a:gd name="connsiteY1020" fmla="*/ 165516 h 466571"/>
                <a:gd name="connsiteX1021" fmla="*/ 570345 w 1178159"/>
                <a:gd name="connsiteY1021" fmla="*/ 175290 h 466571"/>
                <a:gd name="connsiteX1022" fmla="*/ 568064 w 1178159"/>
                <a:gd name="connsiteY1022" fmla="*/ 178711 h 466571"/>
                <a:gd name="connsiteX1023" fmla="*/ 566272 w 1178159"/>
                <a:gd name="connsiteY1023" fmla="*/ 187509 h 466571"/>
                <a:gd name="connsiteX1024" fmla="*/ 559430 w 1178159"/>
                <a:gd name="connsiteY1024" fmla="*/ 192884 h 466571"/>
                <a:gd name="connsiteX1025" fmla="*/ 562037 w 1178159"/>
                <a:gd name="connsiteY1025" fmla="*/ 199564 h 466571"/>
                <a:gd name="connsiteX1026" fmla="*/ 558941 w 1178159"/>
                <a:gd name="connsiteY1026" fmla="*/ 204125 h 466571"/>
                <a:gd name="connsiteX1027" fmla="*/ 554543 w 1178159"/>
                <a:gd name="connsiteY1027" fmla="*/ 208687 h 466571"/>
                <a:gd name="connsiteX1028" fmla="*/ 552425 w 1178159"/>
                <a:gd name="connsiteY1028" fmla="*/ 203962 h 466571"/>
                <a:gd name="connsiteX1029" fmla="*/ 549818 w 1178159"/>
                <a:gd name="connsiteY1029" fmla="*/ 202659 h 466571"/>
                <a:gd name="connsiteX1030" fmla="*/ 551121 w 1178159"/>
                <a:gd name="connsiteY1030" fmla="*/ 206080 h 466571"/>
                <a:gd name="connsiteX1031" fmla="*/ 550796 w 1178159"/>
                <a:gd name="connsiteY1031" fmla="*/ 211456 h 466571"/>
                <a:gd name="connsiteX1032" fmla="*/ 546397 w 1178159"/>
                <a:gd name="connsiteY1032" fmla="*/ 216506 h 466571"/>
                <a:gd name="connsiteX1033" fmla="*/ 545583 w 1178159"/>
                <a:gd name="connsiteY1033" fmla="*/ 221068 h 466571"/>
                <a:gd name="connsiteX1034" fmla="*/ 541347 w 1178159"/>
                <a:gd name="connsiteY1034" fmla="*/ 222860 h 466571"/>
                <a:gd name="connsiteX1035" fmla="*/ 537600 w 1178159"/>
                <a:gd name="connsiteY1035" fmla="*/ 222371 h 466571"/>
                <a:gd name="connsiteX1036" fmla="*/ 538578 w 1178159"/>
                <a:gd name="connsiteY1036" fmla="*/ 224652 h 466571"/>
                <a:gd name="connsiteX1037" fmla="*/ 536623 w 1178159"/>
                <a:gd name="connsiteY1037" fmla="*/ 227584 h 466571"/>
                <a:gd name="connsiteX1038" fmla="*/ 542813 w 1178159"/>
                <a:gd name="connsiteY1038" fmla="*/ 227258 h 466571"/>
                <a:gd name="connsiteX1039" fmla="*/ 543791 w 1178159"/>
                <a:gd name="connsiteY1039" fmla="*/ 228236 h 466571"/>
                <a:gd name="connsiteX1040" fmla="*/ 543139 w 1178159"/>
                <a:gd name="connsiteY1040" fmla="*/ 232797 h 466571"/>
                <a:gd name="connsiteX1041" fmla="*/ 540207 w 1178159"/>
                <a:gd name="connsiteY1041" fmla="*/ 234915 h 466571"/>
                <a:gd name="connsiteX1042" fmla="*/ 541836 w 1178159"/>
                <a:gd name="connsiteY1042" fmla="*/ 236055 h 466571"/>
                <a:gd name="connsiteX1043" fmla="*/ 544768 w 1178159"/>
                <a:gd name="connsiteY1043" fmla="*/ 235730 h 466571"/>
                <a:gd name="connsiteX1044" fmla="*/ 545420 w 1178159"/>
                <a:gd name="connsiteY1044" fmla="*/ 239151 h 466571"/>
                <a:gd name="connsiteX1045" fmla="*/ 543791 w 1178159"/>
                <a:gd name="connsiteY1045" fmla="*/ 243060 h 466571"/>
                <a:gd name="connsiteX1046" fmla="*/ 539718 w 1178159"/>
                <a:gd name="connsiteY1046" fmla="*/ 241920 h 466571"/>
                <a:gd name="connsiteX1047" fmla="*/ 538903 w 1178159"/>
                <a:gd name="connsiteY1047" fmla="*/ 240943 h 466571"/>
                <a:gd name="connsiteX1048" fmla="*/ 538578 w 1178159"/>
                <a:gd name="connsiteY1048" fmla="*/ 242898 h 466571"/>
                <a:gd name="connsiteX1049" fmla="*/ 540859 w 1178159"/>
                <a:gd name="connsiteY1049" fmla="*/ 245178 h 466571"/>
                <a:gd name="connsiteX1050" fmla="*/ 542487 w 1178159"/>
                <a:gd name="connsiteY1050" fmla="*/ 246644 h 466571"/>
                <a:gd name="connsiteX1051" fmla="*/ 538578 w 1178159"/>
                <a:gd name="connsiteY1051" fmla="*/ 254790 h 466571"/>
                <a:gd name="connsiteX1052" fmla="*/ 535971 w 1178159"/>
                <a:gd name="connsiteY1052" fmla="*/ 254790 h 466571"/>
                <a:gd name="connsiteX1053" fmla="*/ 534831 w 1178159"/>
                <a:gd name="connsiteY1053" fmla="*/ 252835 h 466571"/>
                <a:gd name="connsiteX1054" fmla="*/ 533364 w 1178159"/>
                <a:gd name="connsiteY1054" fmla="*/ 259351 h 466571"/>
                <a:gd name="connsiteX1055" fmla="*/ 533364 w 1178159"/>
                <a:gd name="connsiteY1055" fmla="*/ 262773 h 466571"/>
                <a:gd name="connsiteX1056" fmla="*/ 527989 w 1178159"/>
                <a:gd name="connsiteY1056" fmla="*/ 272547 h 466571"/>
                <a:gd name="connsiteX1057" fmla="*/ 519354 w 1178159"/>
                <a:gd name="connsiteY1057" fmla="*/ 278412 h 466571"/>
                <a:gd name="connsiteX1058" fmla="*/ 512023 w 1178159"/>
                <a:gd name="connsiteY1058" fmla="*/ 279715 h 466571"/>
                <a:gd name="connsiteX1059" fmla="*/ 501597 w 1178159"/>
                <a:gd name="connsiteY1059" fmla="*/ 284602 h 466571"/>
                <a:gd name="connsiteX1060" fmla="*/ 496710 w 1178159"/>
                <a:gd name="connsiteY1060" fmla="*/ 285417 h 466571"/>
                <a:gd name="connsiteX1061" fmla="*/ 495244 w 1178159"/>
                <a:gd name="connsiteY1061" fmla="*/ 278412 h 466571"/>
                <a:gd name="connsiteX1062" fmla="*/ 496221 w 1178159"/>
                <a:gd name="connsiteY1062" fmla="*/ 274502 h 466571"/>
                <a:gd name="connsiteX1063" fmla="*/ 493615 w 1178159"/>
                <a:gd name="connsiteY1063" fmla="*/ 270592 h 466571"/>
                <a:gd name="connsiteX1064" fmla="*/ 492637 w 1178159"/>
                <a:gd name="connsiteY1064" fmla="*/ 268800 h 466571"/>
                <a:gd name="connsiteX1065" fmla="*/ 490194 w 1178159"/>
                <a:gd name="connsiteY1065" fmla="*/ 269941 h 466571"/>
                <a:gd name="connsiteX1066" fmla="*/ 487424 w 1178159"/>
                <a:gd name="connsiteY1066" fmla="*/ 266193 h 466571"/>
                <a:gd name="connsiteX1067" fmla="*/ 484980 w 1178159"/>
                <a:gd name="connsiteY1067" fmla="*/ 267497 h 466571"/>
                <a:gd name="connsiteX1068" fmla="*/ 480908 w 1178159"/>
                <a:gd name="connsiteY1068" fmla="*/ 266357 h 466571"/>
                <a:gd name="connsiteX1069" fmla="*/ 478627 w 1178159"/>
                <a:gd name="connsiteY1069" fmla="*/ 262284 h 466571"/>
                <a:gd name="connsiteX1070" fmla="*/ 476835 w 1178159"/>
                <a:gd name="connsiteY1070" fmla="*/ 266357 h 466571"/>
                <a:gd name="connsiteX1071" fmla="*/ 478627 w 1178159"/>
                <a:gd name="connsiteY1071" fmla="*/ 269778 h 466571"/>
                <a:gd name="connsiteX1072" fmla="*/ 473903 w 1178159"/>
                <a:gd name="connsiteY1072" fmla="*/ 268474 h 466571"/>
                <a:gd name="connsiteX1073" fmla="*/ 471948 w 1178159"/>
                <a:gd name="connsiteY1073" fmla="*/ 265868 h 466571"/>
                <a:gd name="connsiteX1074" fmla="*/ 471948 w 1178159"/>
                <a:gd name="connsiteY1074" fmla="*/ 261795 h 466571"/>
                <a:gd name="connsiteX1075" fmla="*/ 469178 w 1178159"/>
                <a:gd name="connsiteY1075" fmla="*/ 259351 h 466571"/>
                <a:gd name="connsiteX1076" fmla="*/ 466246 w 1178159"/>
                <a:gd name="connsiteY1076" fmla="*/ 261143 h 466571"/>
                <a:gd name="connsiteX1077" fmla="*/ 461684 w 1178159"/>
                <a:gd name="connsiteY1077" fmla="*/ 258374 h 466571"/>
                <a:gd name="connsiteX1078" fmla="*/ 458915 w 1178159"/>
                <a:gd name="connsiteY1078" fmla="*/ 258700 h 466571"/>
                <a:gd name="connsiteX1079" fmla="*/ 455005 w 1178159"/>
                <a:gd name="connsiteY1079" fmla="*/ 262935 h 466571"/>
                <a:gd name="connsiteX1080" fmla="*/ 448815 w 1178159"/>
                <a:gd name="connsiteY1080" fmla="*/ 263913 h 466571"/>
                <a:gd name="connsiteX1081" fmla="*/ 447837 w 1178159"/>
                <a:gd name="connsiteY1081" fmla="*/ 266357 h 466571"/>
                <a:gd name="connsiteX1082" fmla="*/ 444091 w 1178159"/>
                <a:gd name="connsiteY1082" fmla="*/ 266845 h 466571"/>
                <a:gd name="connsiteX1083" fmla="*/ 441321 w 1178159"/>
                <a:gd name="connsiteY1083" fmla="*/ 264402 h 466571"/>
                <a:gd name="connsiteX1084" fmla="*/ 438389 w 1178159"/>
                <a:gd name="connsiteY1084" fmla="*/ 265216 h 466571"/>
                <a:gd name="connsiteX1085" fmla="*/ 432524 w 1178159"/>
                <a:gd name="connsiteY1085" fmla="*/ 272547 h 466571"/>
                <a:gd name="connsiteX1086" fmla="*/ 428777 w 1178159"/>
                <a:gd name="connsiteY1086" fmla="*/ 272547 h 466571"/>
                <a:gd name="connsiteX1087" fmla="*/ 429266 w 1178159"/>
                <a:gd name="connsiteY1087" fmla="*/ 268474 h 466571"/>
                <a:gd name="connsiteX1088" fmla="*/ 428451 w 1178159"/>
                <a:gd name="connsiteY1088" fmla="*/ 259840 h 466571"/>
                <a:gd name="connsiteX1089" fmla="*/ 426333 w 1178159"/>
                <a:gd name="connsiteY1089" fmla="*/ 253650 h 466571"/>
                <a:gd name="connsiteX1090" fmla="*/ 427311 w 1178159"/>
                <a:gd name="connsiteY1090" fmla="*/ 249251 h 466571"/>
                <a:gd name="connsiteX1091" fmla="*/ 425682 w 1178159"/>
                <a:gd name="connsiteY1091" fmla="*/ 245830 h 466571"/>
                <a:gd name="connsiteX1092" fmla="*/ 426170 w 1178159"/>
                <a:gd name="connsiteY1092" fmla="*/ 248600 h 466571"/>
                <a:gd name="connsiteX1093" fmla="*/ 423889 w 1178159"/>
                <a:gd name="connsiteY1093" fmla="*/ 253487 h 466571"/>
                <a:gd name="connsiteX1094" fmla="*/ 420632 w 1178159"/>
                <a:gd name="connsiteY1094" fmla="*/ 255604 h 466571"/>
                <a:gd name="connsiteX1095" fmla="*/ 417536 w 1178159"/>
                <a:gd name="connsiteY1095" fmla="*/ 253324 h 466571"/>
                <a:gd name="connsiteX1096" fmla="*/ 413137 w 1178159"/>
                <a:gd name="connsiteY1096" fmla="*/ 256419 h 466571"/>
                <a:gd name="connsiteX1097" fmla="*/ 406621 w 1178159"/>
                <a:gd name="connsiteY1097" fmla="*/ 256908 h 466571"/>
                <a:gd name="connsiteX1098" fmla="*/ 402711 w 1178159"/>
                <a:gd name="connsiteY1098" fmla="*/ 255442 h 466571"/>
                <a:gd name="connsiteX1099" fmla="*/ 397335 w 1178159"/>
                <a:gd name="connsiteY1099" fmla="*/ 255116 h 466571"/>
                <a:gd name="connsiteX1100" fmla="*/ 395706 w 1178159"/>
                <a:gd name="connsiteY1100" fmla="*/ 251858 h 466571"/>
                <a:gd name="connsiteX1101" fmla="*/ 391796 w 1178159"/>
                <a:gd name="connsiteY1101" fmla="*/ 255279 h 466571"/>
                <a:gd name="connsiteX1102" fmla="*/ 388864 w 1178159"/>
                <a:gd name="connsiteY1102" fmla="*/ 255279 h 466571"/>
                <a:gd name="connsiteX1103" fmla="*/ 385932 w 1178159"/>
                <a:gd name="connsiteY1103" fmla="*/ 248111 h 466571"/>
                <a:gd name="connsiteX1104" fmla="*/ 385932 w 1178159"/>
                <a:gd name="connsiteY1104" fmla="*/ 242083 h 466571"/>
                <a:gd name="connsiteX1105" fmla="*/ 384466 w 1178159"/>
                <a:gd name="connsiteY1105" fmla="*/ 230679 h 466571"/>
                <a:gd name="connsiteX1106" fmla="*/ 380067 w 1178159"/>
                <a:gd name="connsiteY1106" fmla="*/ 227747 h 466571"/>
                <a:gd name="connsiteX1107" fmla="*/ 378927 w 1178159"/>
                <a:gd name="connsiteY1107" fmla="*/ 224652 h 466571"/>
                <a:gd name="connsiteX1108" fmla="*/ 381696 w 1178159"/>
                <a:gd name="connsiteY1108" fmla="*/ 221231 h 466571"/>
                <a:gd name="connsiteX1109" fmla="*/ 385280 w 1178159"/>
                <a:gd name="connsiteY1109" fmla="*/ 216181 h 466571"/>
                <a:gd name="connsiteX1110" fmla="*/ 384628 w 1178159"/>
                <a:gd name="connsiteY1110" fmla="*/ 211619 h 466571"/>
                <a:gd name="connsiteX1111" fmla="*/ 382185 w 1178159"/>
                <a:gd name="connsiteY1111" fmla="*/ 207058 h 466571"/>
                <a:gd name="connsiteX1112" fmla="*/ 374854 w 1178159"/>
                <a:gd name="connsiteY1112" fmla="*/ 199727 h 466571"/>
                <a:gd name="connsiteX1113" fmla="*/ 368664 w 1178159"/>
                <a:gd name="connsiteY1113" fmla="*/ 195980 h 466571"/>
                <a:gd name="connsiteX1114" fmla="*/ 362636 w 1178159"/>
                <a:gd name="connsiteY1114" fmla="*/ 194514 h 466571"/>
                <a:gd name="connsiteX1115" fmla="*/ 362636 w 1178159"/>
                <a:gd name="connsiteY1115" fmla="*/ 192559 h 466571"/>
                <a:gd name="connsiteX1116" fmla="*/ 367034 w 1178159"/>
                <a:gd name="connsiteY1116" fmla="*/ 192070 h 466571"/>
                <a:gd name="connsiteX1117" fmla="*/ 370944 w 1178159"/>
                <a:gd name="connsiteY1117" fmla="*/ 188649 h 466571"/>
                <a:gd name="connsiteX1118" fmla="*/ 379904 w 1178159"/>
                <a:gd name="connsiteY1118" fmla="*/ 186531 h 466571"/>
                <a:gd name="connsiteX1119" fmla="*/ 385932 w 1178159"/>
                <a:gd name="connsiteY1119" fmla="*/ 181807 h 466571"/>
                <a:gd name="connsiteX1120" fmla="*/ 390819 w 1178159"/>
                <a:gd name="connsiteY1120" fmla="*/ 182133 h 466571"/>
                <a:gd name="connsiteX1121" fmla="*/ 386257 w 1178159"/>
                <a:gd name="connsiteY1121" fmla="*/ 180666 h 466571"/>
                <a:gd name="connsiteX1122" fmla="*/ 379416 w 1178159"/>
                <a:gd name="connsiteY1122" fmla="*/ 184902 h 466571"/>
                <a:gd name="connsiteX1123" fmla="*/ 371433 w 1178159"/>
                <a:gd name="connsiteY1123" fmla="*/ 186042 h 466571"/>
                <a:gd name="connsiteX1124" fmla="*/ 368175 w 1178159"/>
                <a:gd name="connsiteY1124" fmla="*/ 186857 h 466571"/>
                <a:gd name="connsiteX1125" fmla="*/ 362962 w 1178159"/>
                <a:gd name="connsiteY1125" fmla="*/ 185228 h 466571"/>
                <a:gd name="connsiteX1126" fmla="*/ 359703 w 1178159"/>
                <a:gd name="connsiteY1126" fmla="*/ 179363 h 466571"/>
                <a:gd name="connsiteX1127" fmla="*/ 361332 w 1178159"/>
                <a:gd name="connsiteY1127" fmla="*/ 177734 h 466571"/>
                <a:gd name="connsiteX1128" fmla="*/ 364265 w 1178159"/>
                <a:gd name="connsiteY1128" fmla="*/ 179200 h 466571"/>
                <a:gd name="connsiteX1129" fmla="*/ 361984 w 1178159"/>
                <a:gd name="connsiteY1129" fmla="*/ 175290 h 466571"/>
                <a:gd name="connsiteX1130" fmla="*/ 354327 w 1178159"/>
                <a:gd name="connsiteY1130" fmla="*/ 165842 h 466571"/>
                <a:gd name="connsiteX1131" fmla="*/ 353676 w 1178159"/>
                <a:gd name="connsiteY1131" fmla="*/ 156230 h 466571"/>
                <a:gd name="connsiteX1132" fmla="*/ 357260 w 1178159"/>
                <a:gd name="connsiteY1132" fmla="*/ 154112 h 466571"/>
                <a:gd name="connsiteX1133" fmla="*/ 357748 w 1178159"/>
                <a:gd name="connsiteY1133" fmla="*/ 151017 h 466571"/>
                <a:gd name="connsiteX1134" fmla="*/ 356445 w 1178159"/>
                <a:gd name="connsiteY1134" fmla="*/ 147596 h 466571"/>
                <a:gd name="connsiteX1135" fmla="*/ 356771 w 1178159"/>
                <a:gd name="connsiteY1135" fmla="*/ 144012 h 466571"/>
                <a:gd name="connsiteX1136" fmla="*/ 356771 w 1178159"/>
                <a:gd name="connsiteY1136" fmla="*/ 144012 h 466571"/>
                <a:gd name="connsiteX1137" fmla="*/ 1019323 w 1178159"/>
                <a:gd name="connsiteY1137" fmla="*/ 199564 h 466571"/>
                <a:gd name="connsiteX1138" fmla="*/ 1016227 w 1178159"/>
                <a:gd name="connsiteY1138" fmla="*/ 200541 h 466571"/>
                <a:gd name="connsiteX1139" fmla="*/ 1019160 w 1178159"/>
                <a:gd name="connsiteY1139" fmla="*/ 203636 h 466571"/>
                <a:gd name="connsiteX1140" fmla="*/ 1022418 w 1178159"/>
                <a:gd name="connsiteY1140" fmla="*/ 202822 h 466571"/>
                <a:gd name="connsiteX1141" fmla="*/ 1019323 w 1178159"/>
                <a:gd name="connsiteY1141" fmla="*/ 199564 h 466571"/>
                <a:gd name="connsiteX1142" fmla="*/ 1019323 w 1178159"/>
                <a:gd name="connsiteY1142" fmla="*/ 199564 h 466571"/>
                <a:gd name="connsiteX1143" fmla="*/ 1030563 w 1178159"/>
                <a:gd name="connsiteY1143" fmla="*/ 215855 h 466571"/>
                <a:gd name="connsiteX1144" fmla="*/ 1023884 w 1178159"/>
                <a:gd name="connsiteY1144" fmla="*/ 215855 h 466571"/>
                <a:gd name="connsiteX1145" fmla="*/ 1027631 w 1178159"/>
                <a:gd name="connsiteY1145" fmla="*/ 217158 h 466571"/>
                <a:gd name="connsiteX1146" fmla="*/ 1030563 w 1178159"/>
                <a:gd name="connsiteY1146" fmla="*/ 215855 h 466571"/>
                <a:gd name="connsiteX1147" fmla="*/ 1030563 w 1178159"/>
                <a:gd name="connsiteY1147" fmla="*/ 215855 h 466571"/>
                <a:gd name="connsiteX1148" fmla="*/ 1034473 w 1178159"/>
                <a:gd name="connsiteY1148" fmla="*/ 217484 h 466571"/>
                <a:gd name="connsiteX1149" fmla="*/ 1036102 w 1178159"/>
                <a:gd name="connsiteY1149" fmla="*/ 219439 h 466571"/>
                <a:gd name="connsiteX1150" fmla="*/ 1044248 w 1178159"/>
                <a:gd name="connsiteY1150" fmla="*/ 222697 h 466571"/>
                <a:gd name="connsiteX1151" fmla="*/ 1055977 w 1178159"/>
                <a:gd name="connsiteY1151" fmla="*/ 224326 h 466571"/>
                <a:gd name="connsiteX1152" fmla="*/ 1066729 w 1178159"/>
                <a:gd name="connsiteY1152" fmla="*/ 222697 h 466571"/>
                <a:gd name="connsiteX1153" fmla="*/ 1069662 w 1178159"/>
                <a:gd name="connsiteY1153" fmla="*/ 221068 h 466571"/>
                <a:gd name="connsiteX1154" fmla="*/ 1061027 w 1178159"/>
                <a:gd name="connsiteY1154" fmla="*/ 219276 h 466571"/>
                <a:gd name="connsiteX1155" fmla="*/ 1056792 w 1178159"/>
                <a:gd name="connsiteY1155" fmla="*/ 220416 h 466571"/>
                <a:gd name="connsiteX1156" fmla="*/ 1049135 w 1178159"/>
                <a:gd name="connsiteY1156" fmla="*/ 218135 h 466571"/>
                <a:gd name="connsiteX1157" fmla="*/ 1043922 w 1178159"/>
                <a:gd name="connsiteY1157" fmla="*/ 220742 h 466571"/>
                <a:gd name="connsiteX1158" fmla="*/ 1034473 w 1178159"/>
                <a:gd name="connsiteY1158" fmla="*/ 217484 h 466571"/>
                <a:gd name="connsiteX1159" fmla="*/ 1034473 w 1178159"/>
                <a:gd name="connsiteY1159" fmla="*/ 217484 h 466571"/>
                <a:gd name="connsiteX1160" fmla="*/ 1034473 w 1178159"/>
                <a:gd name="connsiteY1160" fmla="*/ 193047 h 466571"/>
                <a:gd name="connsiteX1161" fmla="*/ 1038709 w 1178159"/>
                <a:gd name="connsiteY1161" fmla="*/ 197283 h 466571"/>
                <a:gd name="connsiteX1162" fmla="*/ 1038709 w 1178159"/>
                <a:gd name="connsiteY1162" fmla="*/ 194351 h 466571"/>
                <a:gd name="connsiteX1163" fmla="*/ 1041152 w 1178159"/>
                <a:gd name="connsiteY1163" fmla="*/ 194514 h 466571"/>
                <a:gd name="connsiteX1164" fmla="*/ 1045551 w 1178159"/>
                <a:gd name="connsiteY1164" fmla="*/ 200378 h 466571"/>
                <a:gd name="connsiteX1165" fmla="*/ 1044736 w 1178159"/>
                <a:gd name="connsiteY1165" fmla="*/ 203636 h 466571"/>
                <a:gd name="connsiteX1166" fmla="*/ 1048646 w 1178159"/>
                <a:gd name="connsiteY1166" fmla="*/ 204451 h 466571"/>
                <a:gd name="connsiteX1167" fmla="*/ 1050112 w 1178159"/>
                <a:gd name="connsiteY1167" fmla="*/ 204451 h 466571"/>
                <a:gd name="connsiteX1168" fmla="*/ 1052393 w 1178159"/>
                <a:gd name="connsiteY1168" fmla="*/ 205592 h 466571"/>
                <a:gd name="connsiteX1169" fmla="*/ 1058258 w 1178159"/>
                <a:gd name="connsiteY1169" fmla="*/ 204451 h 466571"/>
                <a:gd name="connsiteX1170" fmla="*/ 1055977 w 1178159"/>
                <a:gd name="connsiteY1170" fmla="*/ 202170 h 466571"/>
                <a:gd name="connsiteX1171" fmla="*/ 1052230 w 1178159"/>
                <a:gd name="connsiteY1171" fmla="*/ 200378 h 466571"/>
                <a:gd name="connsiteX1172" fmla="*/ 1048972 w 1178159"/>
                <a:gd name="connsiteY1172" fmla="*/ 195002 h 466571"/>
                <a:gd name="connsiteX1173" fmla="*/ 1044736 w 1178159"/>
                <a:gd name="connsiteY1173" fmla="*/ 192233 h 466571"/>
                <a:gd name="connsiteX1174" fmla="*/ 1040664 w 1178159"/>
                <a:gd name="connsiteY1174" fmla="*/ 192233 h 466571"/>
                <a:gd name="connsiteX1175" fmla="*/ 1033496 w 1178159"/>
                <a:gd name="connsiteY1175" fmla="*/ 190930 h 466571"/>
                <a:gd name="connsiteX1176" fmla="*/ 1034473 w 1178159"/>
                <a:gd name="connsiteY1176" fmla="*/ 192884 h 466571"/>
                <a:gd name="connsiteX1177" fmla="*/ 1034473 w 1178159"/>
                <a:gd name="connsiteY1177" fmla="*/ 192884 h 466571"/>
                <a:gd name="connsiteX1178" fmla="*/ 960187 w 1178159"/>
                <a:gd name="connsiteY1178" fmla="*/ 320931 h 466571"/>
                <a:gd name="connsiteX1179" fmla="*/ 961490 w 1178159"/>
                <a:gd name="connsiteY1179" fmla="*/ 325818 h 466571"/>
                <a:gd name="connsiteX1180" fmla="*/ 961490 w 1178159"/>
                <a:gd name="connsiteY1180" fmla="*/ 329891 h 466571"/>
                <a:gd name="connsiteX1181" fmla="*/ 963444 w 1178159"/>
                <a:gd name="connsiteY1181" fmla="*/ 331846 h 466571"/>
                <a:gd name="connsiteX1182" fmla="*/ 963444 w 1178159"/>
                <a:gd name="connsiteY1182" fmla="*/ 325981 h 466571"/>
                <a:gd name="connsiteX1183" fmla="*/ 960024 w 1178159"/>
                <a:gd name="connsiteY1183" fmla="*/ 320931 h 466571"/>
                <a:gd name="connsiteX1184" fmla="*/ 960024 w 1178159"/>
                <a:gd name="connsiteY1184" fmla="*/ 320931 h 466571"/>
                <a:gd name="connsiteX1185" fmla="*/ 974034 w 1178159"/>
                <a:gd name="connsiteY1185" fmla="*/ 315881 h 466571"/>
                <a:gd name="connsiteX1186" fmla="*/ 968984 w 1178159"/>
                <a:gd name="connsiteY1186" fmla="*/ 318487 h 466571"/>
                <a:gd name="connsiteX1187" fmla="*/ 966703 w 1178159"/>
                <a:gd name="connsiteY1187" fmla="*/ 329240 h 466571"/>
                <a:gd name="connsiteX1188" fmla="*/ 964911 w 1178159"/>
                <a:gd name="connsiteY1188" fmla="*/ 332335 h 466571"/>
                <a:gd name="connsiteX1189" fmla="*/ 968332 w 1178159"/>
                <a:gd name="connsiteY1189" fmla="*/ 331032 h 466571"/>
                <a:gd name="connsiteX1190" fmla="*/ 971753 w 1178159"/>
                <a:gd name="connsiteY1190" fmla="*/ 320442 h 466571"/>
                <a:gd name="connsiteX1191" fmla="*/ 974034 w 1178159"/>
                <a:gd name="connsiteY1191" fmla="*/ 315881 h 466571"/>
                <a:gd name="connsiteX1192" fmla="*/ 974034 w 1178159"/>
                <a:gd name="connsiteY1192" fmla="*/ 315881 h 466571"/>
                <a:gd name="connsiteX1193" fmla="*/ 1014109 w 1178159"/>
                <a:gd name="connsiteY1193" fmla="*/ 350255 h 466571"/>
                <a:gd name="connsiteX1194" fmla="*/ 1012155 w 1178159"/>
                <a:gd name="connsiteY1194" fmla="*/ 352535 h 466571"/>
                <a:gd name="connsiteX1195" fmla="*/ 1013458 w 1178159"/>
                <a:gd name="connsiteY1195" fmla="*/ 353676 h 466571"/>
                <a:gd name="connsiteX1196" fmla="*/ 1014598 w 1178159"/>
                <a:gd name="connsiteY1196" fmla="*/ 352373 h 466571"/>
                <a:gd name="connsiteX1197" fmla="*/ 1014109 w 1178159"/>
                <a:gd name="connsiteY1197" fmla="*/ 350418 h 466571"/>
                <a:gd name="connsiteX1198" fmla="*/ 1014109 w 1178159"/>
                <a:gd name="connsiteY1198" fmla="*/ 350418 h 466571"/>
                <a:gd name="connsiteX1199" fmla="*/ 999122 w 1178159"/>
                <a:gd name="connsiteY1199" fmla="*/ 341132 h 466571"/>
                <a:gd name="connsiteX1200" fmla="*/ 997167 w 1178159"/>
                <a:gd name="connsiteY1200" fmla="*/ 339503 h 466571"/>
                <a:gd name="connsiteX1201" fmla="*/ 997656 w 1178159"/>
                <a:gd name="connsiteY1201" fmla="*/ 341621 h 466571"/>
                <a:gd name="connsiteX1202" fmla="*/ 997656 w 1178159"/>
                <a:gd name="connsiteY1202" fmla="*/ 346834 h 466571"/>
                <a:gd name="connsiteX1203" fmla="*/ 999773 w 1178159"/>
                <a:gd name="connsiteY1203" fmla="*/ 348789 h 466571"/>
                <a:gd name="connsiteX1204" fmla="*/ 1000914 w 1178159"/>
                <a:gd name="connsiteY1204" fmla="*/ 351721 h 466571"/>
                <a:gd name="connsiteX1205" fmla="*/ 999122 w 1178159"/>
                <a:gd name="connsiteY1205" fmla="*/ 349929 h 466571"/>
                <a:gd name="connsiteX1206" fmla="*/ 997330 w 1178159"/>
                <a:gd name="connsiteY1206" fmla="*/ 349929 h 466571"/>
                <a:gd name="connsiteX1207" fmla="*/ 996841 w 1178159"/>
                <a:gd name="connsiteY1207" fmla="*/ 354490 h 466571"/>
                <a:gd name="connsiteX1208" fmla="*/ 999285 w 1178159"/>
                <a:gd name="connsiteY1208" fmla="*/ 356771 h 466571"/>
                <a:gd name="connsiteX1209" fmla="*/ 1001891 w 1178159"/>
                <a:gd name="connsiteY1209" fmla="*/ 356445 h 466571"/>
                <a:gd name="connsiteX1210" fmla="*/ 1006616 w 1178159"/>
                <a:gd name="connsiteY1210" fmla="*/ 352210 h 466571"/>
                <a:gd name="connsiteX1211" fmla="*/ 1007593 w 1178159"/>
                <a:gd name="connsiteY1211" fmla="*/ 349929 h 466571"/>
                <a:gd name="connsiteX1212" fmla="*/ 1005312 w 1178159"/>
                <a:gd name="connsiteY1212" fmla="*/ 348463 h 466571"/>
                <a:gd name="connsiteX1213" fmla="*/ 1003683 w 1178159"/>
                <a:gd name="connsiteY1213" fmla="*/ 345042 h 466571"/>
                <a:gd name="connsiteX1214" fmla="*/ 999122 w 1178159"/>
                <a:gd name="connsiteY1214" fmla="*/ 341132 h 466571"/>
                <a:gd name="connsiteX1215" fmla="*/ 999122 w 1178159"/>
                <a:gd name="connsiteY1215" fmla="*/ 341132 h 466571"/>
                <a:gd name="connsiteX1216" fmla="*/ 1008408 w 1178159"/>
                <a:gd name="connsiteY1216" fmla="*/ 342924 h 466571"/>
                <a:gd name="connsiteX1217" fmla="*/ 1006941 w 1178159"/>
                <a:gd name="connsiteY1217" fmla="*/ 344064 h 466571"/>
                <a:gd name="connsiteX1218" fmla="*/ 1006941 w 1178159"/>
                <a:gd name="connsiteY1218" fmla="*/ 346508 h 466571"/>
                <a:gd name="connsiteX1219" fmla="*/ 1009222 w 1178159"/>
                <a:gd name="connsiteY1219" fmla="*/ 348137 h 466571"/>
                <a:gd name="connsiteX1220" fmla="*/ 1011829 w 1178159"/>
                <a:gd name="connsiteY1220" fmla="*/ 347648 h 466571"/>
                <a:gd name="connsiteX1221" fmla="*/ 1011014 w 1178159"/>
                <a:gd name="connsiteY1221" fmla="*/ 345042 h 466571"/>
                <a:gd name="connsiteX1222" fmla="*/ 1008408 w 1178159"/>
                <a:gd name="connsiteY1222" fmla="*/ 342924 h 466571"/>
                <a:gd name="connsiteX1223" fmla="*/ 1008408 w 1178159"/>
                <a:gd name="connsiteY1223" fmla="*/ 342924 h 466571"/>
                <a:gd name="connsiteX1224" fmla="*/ 1001240 w 1178159"/>
                <a:gd name="connsiteY1224" fmla="*/ 335267 h 466571"/>
                <a:gd name="connsiteX1225" fmla="*/ 998307 w 1178159"/>
                <a:gd name="connsiteY1225" fmla="*/ 334616 h 466571"/>
                <a:gd name="connsiteX1226" fmla="*/ 997819 w 1178159"/>
                <a:gd name="connsiteY1226" fmla="*/ 337222 h 466571"/>
                <a:gd name="connsiteX1227" fmla="*/ 1001728 w 1178159"/>
                <a:gd name="connsiteY1227" fmla="*/ 341621 h 466571"/>
                <a:gd name="connsiteX1228" fmla="*/ 1004824 w 1178159"/>
                <a:gd name="connsiteY1228" fmla="*/ 343250 h 466571"/>
                <a:gd name="connsiteX1229" fmla="*/ 1006290 w 1178159"/>
                <a:gd name="connsiteY1229" fmla="*/ 342272 h 466571"/>
                <a:gd name="connsiteX1230" fmla="*/ 1002054 w 1178159"/>
                <a:gd name="connsiteY1230" fmla="*/ 338200 h 466571"/>
                <a:gd name="connsiteX1231" fmla="*/ 1001240 w 1178159"/>
                <a:gd name="connsiteY1231" fmla="*/ 335430 h 466571"/>
                <a:gd name="connsiteX1232" fmla="*/ 1001240 w 1178159"/>
                <a:gd name="connsiteY1232" fmla="*/ 335430 h 466571"/>
                <a:gd name="connsiteX1233" fmla="*/ 1010851 w 1178159"/>
                <a:gd name="connsiteY1233" fmla="*/ 331520 h 466571"/>
                <a:gd name="connsiteX1234" fmla="*/ 1006453 w 1178159"/>
                <a:gd name="connsiteY1234" fmla="*/ 333149 h 466571"/>
                <a:gd name="connsiteX1235" fmla="*/ 1002869 w 1178159"/>
                <a:gd name="connsiteY1235" fmla="*/ 336408 h 466571"/>
                <a:gd name="connsiteX1236" fmla="*/ 1003683 w 1178159"/>
                <a:gd name="connsiteY1236" fmla="*/ 337711 h 466571"/>
                <a:gd name="connsiteX1237" fmla="*/ 1009059 w 1178159"/>
                <a:gd name="connsiteY1237" fmla="*/ 340643 h 466571"/>
                <a:gd name="connsiteX1238" fmla="*/ 1011177 w 1178159"/>
                <a:gd name="connsiteY1238" fmla="*/ 342109 h 466571"/>
                <a:gd name="connsiteX1239" fmla="*/ 1013784 w 1178159"/>
                <a:gd name="connsiteY1239" fmla="*/ 338851 h 466571"/>
                <a:gd name="connsiteX1240" fmla="*/ 1014273 w 1178159"/>
                <a:gd name="connsiteY1240" fmla="*/ 336082 h 466571"/>
                <a:gd name="connsiteX1241" fmla="*/ 1013132 w 1178159"/>
                <a:gd name="connsiteY1241" fmla="*/ 335430 h 466571"/>
                <a:gd name="connsiteX1242" fmla="*/ 1013621 w 1178159"/>
                <a:gd name="connsiteY1242" fmla="*/ 333964 h 466571"/>
                <a:gd name="connsiteX1243" fmla="*/ 1011992 w 1178159"/>
                <a:gd name="connsiteY1243" fmla="*/ 331683 h 466571"/>
                <a:gd name="connsiteX1244" fmla="*/ 1010689 w 1178159"/>
                <a:gd name="connsiteY1244" fmla="*/ 331357 h 466571"/>
                <a:gd name="connsiteX1245" fmla="*/ 1010689 w 1178159"/>
                <a:gd name="connsiteY1245" fmla="*/ 331357 h 466571"/>
                <a:gd name="connsiteX1246" fmla="*/ 1000914 w 1178159"/>
                <a:gd name="connsiteY1246" fmla="*/ 325818 h 466571"/>
                <a:gd name="connsiteX1247" fmla="*/ 999610 w 1178159"/>
                <a:gd name="connsiteY1247" fmla="*/ 325818 h 466571"/>
                <a:gd name="connsiteX1248" fmla="*/ 998959 w 1178159"/>
                <a:gd name="connsiteY1248" fmla="*/ 327610 h 466571"/>
                <a:gd name="connsiteX1249" fmla="*/ 1000914 w 1178159"/>
                <a:gd name="connsiteY1249" fmla="*/ 327610 h 466571"/>
                <a:gd name="connsiteX1250" fmla="*/ 1000914 w 1178159"/>
                <a:gd name="connsiteY1250" fmla="*/ 325818 h 466571"/>
                <a:gd name="connsiteX1251" fmla="*/ 1000914 w 1178159"/>
                <a:gd name="connsiteY1251" fmla="*/ 325818 h 466571"/>
                <a:gd name="connsiteX1252" fmla="*/ 1008896 w 1178159"/>
                <a:gd name="connsiteY1252" fmla="*/ 318487 h 466571"/>
                <a:gd name="connsiteX1253" fmla="*/ 1011340 w 1178159"/>
                <a:gd name="connsiteY1253" fmla="*/ 321257 h 466571"/>
                <a:gd name="connsiteX1254" fmla="*/ 1013295 w 1178159"/>
                <a:gd name="connsiteY1254" fmla="*/ 321257 h 466571"/>
                <a:gd name="connsiteX1255" fmla="*/ 1011177 w 1178159"/>
                <a:gd name="connsiteY1255" fmla="*/ 318325 h 466571"/>
                <a:gd name="connsiteX1256" fmla="*/ 1008896 w 1178159"/>
                <a:gd name="connsiteY1256" fmla="*/ 318325 h 466571"/>
                <a:gd name="connsiteX1257" fmla="*/ 1008082 w 1178159"/>
                <a:gd name="connsiteY1257" fmla="*/ 320117 h 466571"/>
                <a:gd name="connsiteX1258" fmla="*/ 1005638 w 1178159"/>
                <a:gd name="connsiteY1258" fmla="*/ 319791 h 466571"/>
                <a:gd name="connsiteX1259" fmla="*/ 1003357 w 1178159"/>
                <a:gd name="connsiteY1259" fmla="*/ 323701 h 466571"/>
                <a:gd name="connsiteX1260" fmla="*/ 1001077 w 1178159"/>
                <a:gd name="connsiteY1260" fmla="*/ 324352 h 466571"/>
                <a:gd name="connsiteX1261" fmla="*/ 1003683 w 1178159"/>
                <a:gd name="connsiteY1261" fmla="*/ 325167 h 466571"/>
                <a:gd name="connsiteX1262" fmla="*/ 1004009 w 1178159"/>
                <a:gd name="connsiteY1262" fmla="*/ 327122 h 466571"/>
                <a:gd name="connsiteX1263" fmla="*/ 1006453 w 1178159"/>
                <a:gd name="connsiteY1263" fmla="*/ 326633 h 466571"/>
                <a:gd name="connsiteX1264" fmla="*/ 1002869 w 1178159"/>
                <a:gd name="connsiteY1264" fmla="*/ 329076 h 466571"/>
                <a:gd name="connsiteX1265" fmla="*/ 1003683 w 1178159"/>
                <a:gd name="connsiteY1265" fmla="*/ 332172 h 466571"/>
                <a:gd name="connsiteX1266" fmla="*/ 1005475 w 1178159"/>
                <a:gd name="connsiteY1266" fmla="*/ 332172 h 466571"/>
                <a:gd name="connsiteX1267" fmla="*/ 1009059 w 1178159"/>
                <a:gd name="connsiteY1267" fmla="*/ 329402 h 466571"/>
                <a:gd name="connsiteX1268" fmla="*/ 1011992 w 1178159"/>
                <a:gd name="connsiteY1268" fmla="*/ 329402 h 466571"/>
                <a:gd name="connsiteX1269" fmla="*/ 1013132 w 1178159"/>
                <a:gd name="connsiteY1269" fmla="*/ 327122 h 466571"/>
                <a:gd name="connsiteX1270" fmla="*/ 1013132 w 1178159"/>
                <a:gd name="connsiteY1270" fmla="*/ 322723 h 466571"/>
                <a:gd name="connsiteX1271" fmla="*/ 1010851 w 1178159"/>
                <a:gd name="connsiteY1271" fmla="*/ 322397 h 466571"/>
                <a:gd name="connsiteX1272" fmla="*/ 1007756 w 1178159"/>
                <a:gd name="connsiteY1272" fmla="*/ 320117 h 466571"/>
                <a:gd name="connsiteX1273" fmla="*/ 1007756 w 1178159"/>
                <a:gd name="connsiteY1273" fmla="*/ 320117 h 466571"/>
                <a:gd name="connsiteX1274" fmla="*/ 940963 w 1178159"/>
                <a:gd name="connsiteY1274" fmla="*/ 360355 h 466571"/>
                <a:gd name="connsiteX1275" fmla="*/ 945199 w 1178159"/>
                <a:gd name="connsiteY1275" fmla="*/ 358237 h 466571"/>
                <a:gd name="connsiteX1276" fmla="*/ 943733 w 1178159"/>
                <a:gd name="connsiteY1276" fmla="*/ 357423 h 466571"/>
                <a:gd name="connsiteX1277" fmla="*/ 940963 w 1178159"/>
                <a:gd name="connsiteY1277" fmla="*/ 360355 h 466571"/>
                <a:gd name="connsiteX1278" fmla="*/ 940963 w 1178159"/>
                <a:gd name="connsiteY1278" fmla="*/ 360355 h 466571"/>
                <a:gd name="connsiteX1279" fmla="*/ 936565 w 1178159"/>
                <a:gd name="connsiteY1279" fmla="*/ 362473 h 466571"/>
                <a:gd name="connsiteX1280" fmla="*/ 942918 w 1178159"/>
                <a:gd name="connsiteY1280" fmla="*/ 365731 h 466571"/>
                <a:gd name="connsiteX1281" fmla="*/ 941126 w 1178159"/>
                <a:gd name="connsiteY1281" fmla="*/ 363125 h 466571"/>
                <a:gd name="connsiteX1282" fmla="*/ 936565 w 1178159"/>
                <a:gd name="connsiteY1282" fmla="*/ 362310 h 466571"/>
                <a:gd name="connsiteX1283" fmla="*/ 936565 w 1178159"/>
                <a:gd name="connsiteY1283" fmla="*/ 362310 h 466571"/>
                <a:gd name="connsiteX1284" fmla="*/ 914572 w 1178159"/>
                <a:gd name="connsiteY1284" fmla="*/ 373388 h 466571"/>
                <a:gd name="connsiteX1285" fmla="*/ 911640 w 1178159"/>
                <a:gd name="connsiteY1285" fmla="*/ 374528 h 466571"/>
                <a:gd name="connsiteX1286" fmla="*/ 913757 w 1178159"/>
                <a:gd name="connsiteY1286" fmla="*/ 375017 h 466571"/>
                <a:gd name="connsiteX1287" fmla="*/ 914572 w 1178159"/>
                <a:gd name="connsiteY1287" fmla="*/ 373388 h 466571"/>
                <a:gd name="connsiteX1288" fmla="*/ 914572 w 1178159"/>
                <a:gd name="connsiteY1288" fmla="*/ 373388 h 466571"/>
                <a:gd name="connsiteX1289" fmla="*/ 921089 w 1178159"/>
                <a:gd name="connsiteY1289" fmla="*/ 370455 h 466571"/>
                <a:gd name="connsiteX1290" fmla="*/ 914409 w 1178159"/>
                <a:gd name="connsiteY1290" fmla="*/ 370944 h 466571"/>
                <a:gd name="connsiteX1291" fmla="*/ 917667 w 1178159"/>
                <a:gd name="connsiteY1291" fmla="*/ 372248 h 466571"/>
                <a:gd name="connsiteX1292" fmla="*/ 920274 w 1178159"/>
                <a:gd name="connsiteY1292" fmla="*/ 371596 h 466571"/>
                <a:gd name="connsiteX1293" fmla="*/ 921089 w 1178159"/>
                <a:gd name="connsiteY1293" fmla="*/ 370455 h 466571"/>
                <a:gd name="connsiteX1294" fmla="*/ 921089 w 1178159"/>
                <a:gd name="connsiteY1294" fmla="*/ 370455 h 466571"/>
                <a:gd name="connsiteX1295" fmla="*/ 921414 w 1178159"/>
                <a:gd name="connsiteY1295" fmla="*/ 389027 h 466571"/>
                <a:gd name="connsiteX1296" fmla="*/ 918482 w 1178159"/>
                <a:gd name="connsiteY1296" fmla="*/ 388701 h 466571"/>
                <a:gd name="connsiteX1297" fmla="*/ 913920 w 1178159"/>
                <a:gd name="connsiteY1297" fmla="*/ 391797 h 466571"/>
                <a:gd name="connsiteX1298" fmla="*/ 913269 w 1178159"/>
                <a:gd name="connsiteY1298" fmla="*/ 393751 h 466571"/>
                <a:gd name="connsiteX1299" fmla="*/ 917016 w 1178159"/>
                <a:gd name="connsiteY1299" fmla="*/ 393100 h 466571"/>
                <a:gd name="connsiteX1300" fmla="*/ 920274 w 1178159"/>
                <a:gd name="connsiteY1300" fmla="*/ 390493 h 466571"/>
                <a:gd name="connsiteX1301" fmla="*/ 921414 w 1178159"/>
                <a:gd name="connsiteY1301" fmla="*/ 388864 h 466571"/>
                <a:gd name="connsiteX1302" fmla="*/ 921414 w 1178159"/>
                <a:gd name="connsiteY1302" fmla="*/ 388864 h 466571"/>
                <a:gd name="connsiteX1303" fmla="*/ 929560 w 1178159"/>
                <a:gd name="connsiteY1303" fmla="*/ 368012 h 466571"/>
                <a:gd name="connsiteX1304" fmla="*/ 922555 w 1178159"/>
                <a:gd name="connsiteY1304" fmla="*/ 374202 h 466571"/>
                <a:gd name="connsiteX1305" fmla="*/ 922228 w 1178159"/>
                <a:gd name="connsiteY1305" fmla="*/ 376646 h 466571"/>
                <a:gd name="connsiteX1306" fmla="*/ 923206 w 1178159"/>
                <a:gd name="connsiteY1306" fmla="*/ 378438 h 466571"/>
                <a:gd name="connsiteX1307" fmla="*/ 920437 w 1178159"/>
                <a:gd name="connsiteY1307" fmla="*/ 380719 h 466571"/>
                <a:gd name="connsiteX1308" fmla="*/ 920437 w 1178159"/>
                <a:gd name="connsiteY1308" fmla="*/ 384466 h 466571"/>
                <a:gd name="connsiteX1309" fmla="*/ 924021 w 1178159"/>
                <a:gd name="connsiteY1309" fmla="*/ 387561 h 466571"/>
                <a:gd name="connsiteX1310" fmla="*/ 927279 w 1178159"/>
                <a:gd name="connsiteY1310" fmla="*/ 386584 h 466571"/>
                <a:gd name="connsiteX1311" fmla="*/ 933144 w 1178159"/>
                <a:gd name="connsiteY1311" fmla="*/ 379252 h 466571"/>
                <a:gd name="connsiteX1312" fmla="*/ 935098 w 1178159"/>
                <a:gd name="connsiteY1312" fmla="*/ 373062 h 466571"/>
                <a:gd name="connsiteX1313" fmla="*/ 934121 w 1178159"/>
                <a:gd name="connsiteY1313" fmla="*/ 369478 h 466571"/>
                <a:gd name="connsiteX1314" fmla="*/ 935424 w 1178159"/>
                <a:gd name="connsiteY1314" fmla="*/ 366871 h 466571"/>
                <a:gd name="connsiteX1315" fmla="*/ 934935 w 1178159"/>
                <a:gd name="connsiteY1315" fmla="*/ 365079 h 466571"/>
                <a:gd name="connsiteX1316" fmla="*/ 932003 w 1178159"/>
                <a:gd name="connsiteY1316" fmla="*/ 364265 h 466571"/>
                <a:gd name="connsiteX1317" fmla="*/ 929560 w 1178159"/>
                <a:gd name="connsiteY1317" fmla="*/ 366057 h 466571"/>
                <a:gd name="connsiteX1318" fmla="*/ 929560 w 1178159"/>
                <a:gd name="connsiteY1318" fmla="*/ 368012 h 466571"/>
                <a:gd name="connsiteX1319" fmla="*/ 929560 w 1178159"/>
                <a:gd name="connsiteY1319" fmla="*/ 368012 h 466571"/>
                <a:gd name="connsiteX1320" fmla="*/ 890950 w 1178159"/>
                <a:gd name="connsiteY1320" fmla="*/ 342924 h 466571"/>
                <a:gd name="connsiteX1321" fmla="*/ 894534 w 1178159"/>
                <a:gd name="connsiteY1321" fmla="*/ 340806 h 466571"/>
                <a:gd name="connsiteX1322" fmla="*/ 891928 w 1178159"/>
                <a:gd name="connsiteY1322" fmla="*/ 339503 h 466571"/>
                <a:gd name="connsiteX1323" fmla="*/ 890950 w 1178159"/>
                <a:gd name="connsiteY1323" fmla="*/ 342924 h 466571"/>
                <a:gd name="connsiteX1324" fmla="*/ 890950 w 1178159"/>
                <a:gd name="connsiteY1324" fmla="*/ 342924 h 466571"/>
                <a:gd name="connsiteX1325" fmla="*/ 879221 w 1178159"/>
                <a:gd name="connsiteY1325" fmla="*/ 350743 h 466571"/>
                <a:gd name="connsiteX1326" fmla="*/ 876614 w 1178159"/>
                <a:gd name="connsiteY1326" fmla="*/ 352698 h 466571"/>
                <a:gd name="connsiteX1327" fmla="*/ 880198 w 1178159"/>
                <a:gd name="connsiteY1327" fmla="*/ 352698 h 466571"/>
                <a:gd name="connsiteX1328" fmla="*/ 879221 w 1178159"/>
                <a:gd name="connsiteY1328" fmla="*/ 350743 h 466571"/>
                <a:gd name="connsiteX1329" fmla="*/ 879221 w 1178159"/>
                <a:gd name="connsiteY1329" fmla="*/ 350743 h 466571"/>
                <a:gd name="connsiteX1330" fmla="*/ 888507 w 1178159"/>
                <a:gd name="connsiteY1330" fmla="*/ 389190 h 466571"/>
                <a:gd name="connsiteX1331" fmla="*/ 883293 w 1178159"/>
                <a:gd name="connsiteY1331" fmla="*/ 391959 h 466571"/>
                <a:gd name="connsiteX1332" fmla="*/ 886389 w 1178159"/>
                <a:gd name="connsiteY1332" fmla="*/ 391959 h 466571"/>
                <a:gd name="connsiteX1333" fmla="*/ 888669 w 1178159"/>
                <a:gd name="connsiteY1333" fmla="*/ 389190 h 466571"/>
                <a:gd name="connsiteX1334" fmla="*/ 888669 w 1178159"/>
                <a:gd name="connsiteY1334" fmla="*/ 389190 h 466571"/>
                <a:gd name="connsiteX1335" fmla="*/ 880035 w 1178159"/>
                <a:gd name="connsiteY1335" fmla="*/ 381696 h 466571"/>
                <a:gd name="connsiteX1336" fmla="*/ 882968 w 1178159"/>
                <a:gd name="connsiteY1336" fmla="*/ 380230 h 466571"/>
                <a:gd name="connsiteX1337" fmla="*/ 886389 w 1178159"/>
                <a:gd name="connsiteY1337" fmla="*/ 382185 h 466571"/>
                <a:gd name="connsiteX1338" fmla="*/ 887366 w 1178159"/>
                <a:gd name="connsiteY1338" fmla="*/ 386258 h 466571"/>
                <a:gd name="connsiteX1339" fmla="*/ 883457 w 1178159"/>
                <a:gd name="connsiteY1339" fmla="*/ 387072 h 466571"/>
                <a:gd name="connsiteX1340" fmla="*/ 880198 w 1178159"/>
                <a:gd name="connsiteY1340" fmla="*/ 384466 h 466571"/>
                <a:gd name="connsiteX1341" fmla="*/ 880198 w 1178159"/>
                <a:gd name="connsiteY1341" fmla="*/ 381859 h 466571"/>
                <a:gd name="connsiteX1342" fmla="*/ 880035 w 1178159"/>
                <a:gd name="connsiteY1342" fmla="*/ 381859 h 466571"/>
                <a:gd name="connsiteX1343" fmla="*/ 852341 w 1178159"/>
                <a:gd name="connsiteY1343" fmla="*/ 364265 h 466571"/>
                <a:gd name="connsiteX1344" fmla="*/ 854621 w 1178159"/>
                <a:gd name="connsiteY1344" fmla="*/ 362473 h 466571"/>
                <a:gd name="connsiteX1345" fmla="*/ 857228 w 1178159"/>
                <a:gd name="connsiteY1345" fmla="*/ 364265 h 466571"/>
                <a:gd name="connsiteX1346" fmla="*/ 855925 w 1178159"/>
                <a:gd name="connsiteY1346" fmla="*/ 366220 h 466571"/>
                <a:gd name="connsiteX1347" fmla="*/ 853155 w 1178159"/>
                <a:gd name="connsiteY1347" fmla="*/ 366220 h 466571"/>
                <a:gd name="connsiteX1348" fmla="*/ 852341 w 1178159"/>
                <a:gd name="connsiteY1348" fmla="*/ 364265 h 466571"/>
                <a:gd name="connsiteX1349" fmla="*/ 852341 w 1178159"/>
                <a:gd name="connsiteY1349" fmla="*/ 364265 h 466571"/>
                <a:gd name="connsiteX1350" fmla="*/ 858205 w 1178159"/>
                <a:gd name="connsiteY1350" fmla="*/ 394240 h 466571"/>
                <a:gd name="connsiteX1351" fmla="*/ 862930 w 1178159"/>
                <a:gd name="connsiteY1351" fmla="*/ 393914 h 466571"/>
                <a:gd name="connsiteX1352" fmla="*/ 865048 w 1178159"/>
                <a:gd name="connsiteY1352" fmla="*/ 395218 h 466571"/>
                <a:gd name="connsiteX1353" fmla="*/ 860812 w 1178159"/>
                <a:gd name="connsiteY1353" fmla="*/ 395543 h 466571"/>
                <a:gd name="connsiteX1354" fmla="*/ 858205 w 1178159"/>
                <a:gd name="connsiteY1354" fmla="*/ 394240 h 466571"/>
                <a:gd name="connsiteX1355" fmla="*/ 858205 w 1178159"/>
                <a:gd name="connsiteY1355" fmla="*/ 394240 h 466571"/>
                <a:gd name="connsiteX1356" fmla="*/ 818944 w 1178159"/>
                <a:gd name="connsiteY1356" fmla="*/ 376483 h 466571"/>
                <a:gd name="connsiteX1357" fmla="*/ 823669 w 1178159"/>
                <a:gd name="connsiteY1357" fmla="*/ 373062 h 466571"/>
                <a:gd name="connsiteX1358" fmla="*/ 820573 w 1178159"/>
                <a:gd name="connsiteY1358" fmla="*/ 371596 h 466571"/>
                <a:gd name="connsiteX1359" fmla="*/ 818619 w 1178159"/>
                <a:gd name="connsiteY1359" fmla="*/ 373388 h 466571"/>
                <a:gd name="connsiteX1360" fmla="*/ 818944 w 1178159"/>
                <a:gd name="connsiteY1360" fmla="*/ 376483 h 466571"/>
                <a:gd name="connsiteX1361" fmla="*/ 818944 w 1178159"/>
                <a:gd name="connsiteY1361" fmla="*/ 376483 h 466571"/>
                <a:gd name="connsiteX1362" fmla="*/ 832466 w 1178159"/>
                <a:gd name="connsiteY1362" fmla="*/ 390982 h 466571"/>
                <a:gd name="connsiteX1363" fmla="*/ 839960 w 1178159"/>
                <a:gd name="connsiteY1363" fmla="*/ 391471 h 466571"/>
                <a:gd name="connsiteX1364" fmla="*/ 844195 w 1178159"/>
                <a:gd name="connsiteY1364" fmla="*/ 390656 h 466571"/>
                <a:gd name="connsiteX1365" fmla="*/ 844195 w 1178159"/>
                <a:gd name="connsiteY1365" fmla="*/ 393263 h 466571"/>
                <a:gd name="connsiteX1366" fmla="*/ 838168 w 1178159"/>
                <a:gd name="connsiteY1366" fmla="*/ 395381 h 466571"/>
                <a:gd name="connsiteX1367" fmla="*/ 833117 w 1178159"/>
                <a:gd name="connsiteY1367" fmla="*/ 392937 h 466571"/>
                <a:gd name="connsiteX1368" fmla="*/ 832466 w 1178159"/>
                <a:gd name="connsiteY1368" fmla="*/ 390819 h 466571"/>
                <a:gd name="connsiteX1369" fmla="*/ 832466 w 1178159"/>
                <a:gd name="connsiteY1369" fmla="*/ 390819 h 466571"/>
                <a:gd name="connsiteX1370" fmla="*/ 825298 w 1178159"/>
                <a:gd name="connsiteY1370" fmla="*/ 393100 h 466571"/>
                <a:gd name="connsiteX1371" fmla="*/ 828882 w 1178159"/>
                <a:gd name="connsiteY1371" fmla="*/ 392122 h 466571"/>
                <a:gd name="connsiteX1372" fmla="*/ 828882 w 1178159"/>
                <a:gd name="connsiteY1372" fmla="*/ 394892 h 466571"/>
                <a:gd name="connsiteX1373" fmla="*/ 825298 w 1178159"/>
                <a:gd name="connsiteY1373" fmla="*/ 393100 h 466571"/>
                <a:gd name="connsiteX1374" fmla="*/ 825298 w 1178159"/>
                <a:gd name="connsiteY1374" fmla="*/ 393100 h 466571"/>
                <a:gd name="connsiteX1375" fmla="*/ 813731 w 1178159"/>
                <a:gd name="connsiteY1375" fmla="*/ 391471 h 466571"/>
                <a:gd name="connsiteX1376" fmla="*/ 816989 w 1178159"/>
                <a:gd name="connsiteY1376" fmla="*/ 389842 h 466571"/>
                <a:gd name="connsiteX1377" fmla="*/ 819596 w 1178159"/>
                <a:gd name="connsiteY1377" fmla="*/ 391959 h 466571"/>
                <a:gd name="connsiteX1378" fmla="*/ 816501 w 1178159"/>
                <a:gd name="connsiteY1378" fmla="*/ 393589 h 466571"/>
                <a:gd name="connsiteX1379" fmla="*/ 813894 w 1178159"/>
                <a:gd name="connsiteY1379" fmla="*/ 391471 h 466571"/>
                <a:gd name="connsiteX1380" fmla="*/ 813894 w 1178159"/>
                <a:gd name="connsiteY1380" fmla="*/ 391471 h 466571"/>
                <a:gd name="connsiteX1381" fmla="*/ 718103 w 1178159"/>
                <a:gd name="connsiteY1381" fmla="*/ 445394 h 466571"/>
                <a:gd name="connsiteX1382" fmla="*/ 716475 w 1178159"/>
                <a:gd name="connsiteY1382" fmla="*/ 450607 h 466571"/>
                <a:gd name="connsiteX1383" fmla="*/ 719081 w 1178159"/>
                <a:gd name="connsiteY1383" fmla="*/ 452562 h 466571"/>
                <a:gd name="connsiteX1384" fmla="*/ 727389 w 1178159"/>
                <a:gd name="connsiteY1384" fmla="*/ 452073 h 466571"/>
                <a:gd name="connsiteX1385" fmla="*/ 734720 w 1178159"/>
                <a:gd name="connsiteY1385" fmla="*/ 447349 h 466571"/>
                <a:gd name="connsiteX1386" fmla="*/ 739282 w 1178159"/>
                <a:gd name="connsiteY1386" fmla="*/ 446045 h 466571"/>
                <a:gd name="connsiteX1387" fmla="*/ 743517 w 1178159"/>
                <a:gd name="connsiteY1387" fmla="*/ 446371 h 466571"/>
                <a:gd name="connsiteX1388" fmla="*/ 748242 w 1178159"/>
                <a:gd name="connsiteY1388" fmla="*/ 442787 h 466571"/>
                <a:gd name="connsiteX1389" fmla="*/ 751337 w 1178159"/>
                <a:gd name="connsiteY1389" fmla="*/ 438063 h 466571"/>
                <a:gd name="connsiteX1390" fmla="*/ 760949 w 1178159"/>
                <a:gd name="connsiteY1390" fmla="*/ 430895 h 466571"/>
                <a:gd name="connsiteX1391" fmla="*/ 763230 w 1178159"/>
                <a:gd name="connsiteY1391" fmla="*/ 427800 h 466571"/>
                <a:gd name="connsiteX1392" fmla="*/ 765836 w 1178159"/>
                <a:gd name="connsiteY1392" fmla="*/ 426659 h 466571"/>
                <a:gd name="connsiteX1393" fmla="*/ 759645 w 1178159"/>
                <a:gd name="connsiteY1393" fmla="*/ 420957 h 466571"/>
                <a:gd name="connsiteX1394" fmla="*/ 754432 w 1178159"/>
                <a:gd name="connsiteY1394" fmla="*/ 414930 h 466571"/>
                <a:gd name="connsiteX1395" fmla="*/ 752151 w 1178159"/>
                <a:gd name="connsiteY1395" fmla="*/ 416070 h 466571"/>
                <a:gd name="connsiteX1396" fmla="*/ 747753 w 1178159"/>
                <a:gd name="connsiteY1396" fmla="*/ 417373 h 466571"/>
                <a:gd name="connsiteX1397" fmla="*/ 747427 w 1178159"/>
                <a:gd name="connsiteY1397" fmla="*/ 423890 h 466571"/>
                <a:gd name="connsiteX1398" fmla="*/ 742866 w 1178159"/>
                <a:gd name="connsiteY1398" fmla="*/ 424704 h 466571"/>
                <a:gd name="connsiteX1399" fmla="*/ 737490 w 1178159"/>
                <a:gd name="connsiteY1399" fmla="*/ 427474 h 466571"/>
                <a:gd name="connsiteX1400" fmla="*/ 733743 w 1178159"/>
                <a:gd name="connsiteY1400" fmla="*/ 423075 h 466571"/>
                <a:gd name="connsiteX1401" fmla="*/ 732277 w 1178159"/>
                <a:gd name="connsiteY1401" fmla="*/ 424541 h 466571"/>
                <a:gd name="connsiteX1402" fmla="*/ 727389 w 1178159"/>
                <a:gd name="connsiteY1402" fmla="*/ 427474 h 466571"/>
                <a:gd name="connsiteX1403" fmla="*/ 725598 w 1178159"/>
                <a:gd name="connsiteY1403" fmla="*/ 432850 h 466571"/>
                <a:gd name="connsiteX1404" fmla="*/ 720873 w 1178159"/>
                <a:gd name="connsiteY1404" fmla="*/ 440832 h 466571"/>
                <a:gd name="connsiteX1405" fmla="*/ 720059 w 1178159"/>
                <a:gd name="connsiteY1405" fmla="*/ 442950 h 466571"/>
                <a:gd name="connsiteX1406" fmla="*/ 722176 w 1178159"/>
                <a:gd name="connsiteY1406" fmla="*/ 444905 h 466571"/>
                <a:gd name="connsiteX1407" fmla="*/ 722991 w 1178159"/>
                <a:gd name="connsiteY1407" fmla="*/ 447023 h 466571"/>
                <a:gd name="connsiteX1408" fmla="*/ 720221 w 1178159"/>
                <a:gd name="connsiteY1408" fmla="*/ 447023 h 466571"/>
                <a:gd name="connsiteX1409" fmla="*/ 718103 w 1178159"/>
                <a:gd name="connsiteY1409" fmla="*/ 445557 h 466571"/>
                <a:gd name="connsiteX1410" fmla="*/ 718103 w 1178159"/>
                <a:gd name="connsiteY1410" fmla="*/ 445557 h 466571"/>
                <a:gd name="connsiteX1411" fmla="*/ 713053 w 1178159"/>
                <a:gd name="connsiteY1411" fmla="*/ 451095 h 466571"/>
                <a:gd name="connsiteX1412" fmla="*/ 715008 w 1178159"/>
                <a:gd name="connsiteY1412" fmla="*/ 445883 h 466571"/>
                <a:gd name="connsiteX1413" fmla="*/ 713053 w 1178159"/>
                <a:gd name="connsiteY1413" fmla="*/ 445883 h 466571"/>
                <a:gd name="connsiteX1414" fmla="*/ 710447 w 1178159"/>
                <a:gd name="connsiteY1414" fmla="*/ 449955 h 466571"/>
                <a:gd name="connsiteX1415" fmla="*/ 713053 w 1178159"/>
                <a:gd name="connsiteY1415" fmla="*/ 450933 h 466571"/>
                <a:gd name="connsiteX1416" fmla="*/ 713053 w 1178159"/>
                <a:gd name="connsiteY1416" fmla="*/ 450933 h 466571"/>
                <a:gd name="connsiteX1417" fmla="*/ 713705 w 1178159"/>
                <a:gd name="connsiteY1417" fmla="*/ 454679 h 466571"/>
                <a:gd name="connsiteX1418" fmla="*/ 708980 w 1178159"/>
                <a:gd name="connsiteY1418" fmla="*/ 456960 h 466571"/>
                <a:gd name="connsiteX1419" fmla="*/ 709958 w 1178159"/>
                <a:gd name="connsiteY1419" fmla="*/ 457938 h 466571"/>
                <a:gd name="connsiteX1420" fmla="*/ 701976 w 1178159"/>
                <a:gd name="connsiteY1420" fmla="*/ 461848 h 466571"/>
                <a:gd name="connsiteX1421" fmla="*/ 698066 w 1178159"/>
                <a:gd name="connsiteY1421" fmla="*/ 465268 h 466571"/>
                <a:gd name="connsiteX1422" fmla="*/ 701812 w 1178159"/>
                <a:gd name="connsiteY1422" fmla="*/ 466572 h 466571"/>
                <a:gd name="connsiteX1423" fmla="*/ 713379 w 1178159"/>
                <a:gd name="connsiteY1423" fmla="*/ 461848 h 466571"/>
                <a:gd name="connsiteX1424" fmla="*/ 715008 w 1178159"/>
                <a:gd name="connsiteY1424" fmla="*/ 457775 h 466571"/>
                <a:gd name="connsiteX1425" fmla="*/ 713705 w 1178159"/>
                <a:gd name="connsiteY1425" fmla="*/ 454842 h 466571"/>
                <a:gd name="connsiteX1426" fmla="*/ 713705 w 1178159"/>
                <a:gd name="connsiteY1426" fmla="*/ 454842 h 466571"/>
                <a:gd name="connsiteX1427" fmla="*/ 675584 w 1178159"/>
                <a:gd name="connsiteY1427" fmla="*/ 453539 h 466571"/>
                <a:gd name="connsiteX1428" fmla="*/ 678353 w 1178159"/>
                <a:gd name="connsiteY1428" fmla="*/ 455331 h 466571"/>
                <a:gd name="connsiteX1429" fmla="*/ 679005 w 1178159"/>
                <a:gd name="connsiteY1429" fmla="*/ 457775 h 466571"/>
                <a:gd name="connsiteX1430" fmla="*/ 675747 w 1178159"/>
                <a:gd name="connsiteY1430" fmla="*/ 459404 h 466571"/>
                <a:gd name="connsiteX1431" fmla="*/ 671186 w 1178159"/>
                <a:gd name="connsiteY1431" fmla="*/ 459078 h 466571"/>
                <a:gd name="connsiteX1432" fmla="*/ 673629 w 1178159"/>
                <a:gd name="connsiteY1432" fmla="*/ 455005 h 466571"/>
                <a:gd name="connsiteX1433" fmla="*/ 675584 w 1178159"/>
                <a:gd name="connsiteY1433" fmla="*/ 453376 h 466571"/>
                <a:gd name="connsiteX1434" fmla="*/ 675584 w 1178159"/>
                <a:gd name="connsiteY1434" fmla="*/ 453376 h 466571"/>
                <a:gd name="connsiteX1435" fmla="*/ 601623 w 1178159"/>
                <a:gd name="connsiteY1435" fmla="*/ 426333 h 466571"/>
                <a:gd name="connsiteX1436" fmla="*/ 612701 w 1178159"/>
                <a:gd name="connsiteY1436" fmla="*/ 420632 h 466571"/>
                <a:gd name="connsiteX1437" fmla="*/ 619544 w 1178159"/>
                <a:gd name="connsiteY1437" fmla="*/ 426008 h 466571"/>
                <a:gd name="connsiteX1438" fmla="*/ 624105 w 1178159"/>
                <a:gd name="connsiteY1438" fmla="*/ 426008 h 466571"/>
                <a:gd name="connsiteX1439" fmla="*/ 628666 w 1178159"/>
                <a:gd name="connsiteY1439" fmla="*/ 423401 h 466571"/>
                <a:gd name="connsiteX1440" fmla="*/ 634694 w 1178159"/>
                <a:gd name="connsiteY1440" fmla="*/ 426333 h 466571"/>
                <a:gd name="connsiteX1441" fmla="*/ 636323 w 1178159"/>
                <a:gd name="connsiteY1441" fmla="*/ 430895 h 466571"/>
                <a:gd name="connsiteX1442" fmla="*/ 641373 w 1178159"/>
                <a:gd name="connsiteY1442" fmla="*/ 430895 h 466571"/>
                <a:gd name="connsiteX1443" fmla="*/ 645609 w 1178159"/>
                <a:gd name="connsiteY1443" fmla="*/ 437411 h 466571"/>
                <a:gd name="connsiteX1444" fmla="*/ 649844 w 1178159"/>
                <a:gd name="connsiteY1444" fmla="*/ 441484 h 466571"/>
                <a:gd name="connsiteX1445" fmla="*/ 649844 w 1178159"/>
                <a:gd name="connsiteY1445" fmla="*/ 444742 h 466571"/>
                <a:gd name="connsiteX1446" fmla="*/ 643654 w 1178159"/>
                <a:gd name="connsiteY1446" fmla="*/ 448000 h 466571"/>
                <a:gd name="connsiteX1447" fmla="*/ 636486 w 1178159"/>
                <a:gd name="connsiteY1447" fmla="*/ 448652 h 466571"/>
                <a:gd name="connsiteX1448" fmla="*/ 630621 w 1178159"/>
                <a:gd name="connsiteY1448" fmla="*/ 446045 h 466571"/>
                <a:gd name="connsiteX1449" fmla="*/ 626386 w 1178159"/>
                <a:gd name="connsiteY1449" fmla="*/ 440018 h 466571"/>
                <a:gd name="connsiteX1450" fmla="*/ 622150 w 1178159"/>
                <a:gd name="connsiteY1450" fmla="*/ 439040 h 466571"/>
                <a:gd name="connsiteX1451" fmla="*/ 618077 w 1178159"/>
                <a:gd name="connsiteY1451" fmla="*/ 434153 h 466571"/>
                <a:gd name="connsiteX1452" fmla="*/ 612375 w 1178159"/>
                <a:gd name="connsiteY1452" fmla="*/ 435130 h 466571"/>
                <a:gd name="connsiteX1453" fmla="*/ 605370 w 1178159"/>
                <a:gd name="connsiteY1453" fmla="*/ 433664 h 466571"/>
                <a:gd name="connsiteX1454" fmla="*/ 601298 w 1178159"/>
                <a:gd name="connsiteY1454" fmla="*/ 429917 h 466571"/>
                <a:gd name="connsiteX1455" fmla="*/ 601623 w 1178159"/>
                <a:gd name="connsiteY1455" fmla="*/ 426170 h 466571"/>
                <a:gd name="connsiteX1456" fmla="*/ 601623 w 1178159"/>
                <a:gd name="connsiteY1456" fmla="*/ 426170 h 466571"/>
                <a:gd name="connsiteX1457" fmla="*/ 522450 w 1178159"/>
                <a:gd name="connsiteY1457" fmla="*/ 367523 h 466571"/>
                <a:gd name="connsiteX1458" fmla="*/ 526196 w 1178159"/>
                <a:gd name="connsiteY1458" fmla="*/ 367523 h 466571"/>
                <a:gd name="connsiteX1459" fmla="*/ 527337 w 1178159"/>
                <a:gd name="connsiteY1459" fmla="*/ 367523 h 466571"/>
                <a:gd name="connsiteX1460" fmla="*/ 527011 w 1178159"/>
                <a:gd name="connsiteY1460" fmla="*/ 368989 h 466571"/>
                <a:gd name="connsiteX1461" fmla="*/ 523427 w 1178159"/>
                <a:gd name="connsiteY1461" fmla="*/ 368989 h 466571"/>
                <a:gd name="connsiteX1462" fmla="*/ 522450 w 1178159"/>
                <a:gd name="connsiteY1462" fmla="*/ 367686 h 466571"/>
                <a:gd name="connsiteX1463" fmla="*/ 522450 w 1178159"/>
                <a:gd name="connsiteY1463" fmla="*/ 367686 h 466571"/>
                <a:gd name="connsiteX1464" fmla="*/ 507788 w 1178159"/>
                <a:gd name="connsiteY1464" fmla="*/ 359866 h 466571"/>
                <a:gd name="connsiteX1465" fmla="*/ 511209 w 1178159"/>
                <a:gd name="connsiteY1465" fmla="*/ 363125 h 466571"/>
                <a:gd name="connsiteX1466" fmla="*/ 514467 w 1178159"/>
                <a:gd name="connsiteY1466" fmla="*/ 359541 h 466571"/>
                <a:gd name="connsiteX1467" fmla="*/ 516911 w 1178159"/>
                <a:gd name="connsiteY1467" fmla="*/ 360029 h 466571"/>
                <a:gd name="connsiteX1468" fmla="*/ 518540 w 1178159"/>
                <a:gd name="connsiteY1468" fmla="*/ 360029 h 466571"/>
                <a:gd name="connsiteX1469" fmla="*/ 517562 w 1178159"/>
                <a:gd name="connsiteY1469" fmla="*/ 358563 h 466571"/>
                <a:gd name="connsiteX1470" fmla="*/ 514304 w 1178159"/>
                <a:gd name="connsiteY1470" fmla="*/ 357260 h 466571"/>
                <a:gd name="connsiteX1471" fmla="*/ 509580 w 1178159"/>
                <a:gd name="connsiteY1471" fmla="*/ 356608 h 466571"/>
                <a:gd name="connsiteX1472" fmla="*/ 507625 w 1178159"/>
                <a:gd name="connsiteY1472" fmla="*/ 358400 h 466571"/>
                <a:gd name="connsiteX1473" fmla="*/ 507625 w 1178159"/>
                <a:gd name="connsiteY1473" fmla="*/ 359866 h 466571"/>
                <a:gd name="connsiteX1474" fmla="*/ 507625 w 1178159"/>
                <a:gd name="connsiteY1474" fmla="*/ 359866 h 466571"/>
                <a:gd name="connsiteX1475" fmla="*/ 782778 w 1178159"/>
                <a:gd name="connsiteY1475" fmla="*/ 385769 h 466571"/>
                <a:gd name="connsiteX1476" fmla="*/ 788317 w 1178159"/>
                <a:gd name="connsiteY1476" fmla="*/ 382511 h 466571"/>
                <a:gd name="connsiteX1477" fmla="*/ 796300 w 1178159"/>
                <a:gd name="connsiteY1477" fmla="*/ 384303 h 466571"/>
                <a:gd name="connsiteX1478" fmla="*/ 799069 w 1178159"/>
                <a:gd name="connsiteY1478" fmla="*/ 386584 h 466571"/>
                <a:gd name="connsiteX1479" fmla="*/ 800210 w 1178159"/>
                <a:gd name="connsiteY1479" fmla="*/ 384303 h 466571"/>
                <a:gd name="connsiteX1480" fmla="*/ 803957 w 1178159"/>
                <a:gd name="connsiteY1480" fmla="*/ 381370 h 466571"/>
                <a:gd name="connsiteX1481" fmla="*/ 807866 w 1178159"/>
                <a:gd name="connsiteY1481" fmla="*/ 379416 h 466571"/>
                <a:gd name="connsiteX1482" fmla="*/ 806889 w 1178159"/>
                <a:gd name="connsiteY1482" fmla="*/ 376646 h 466571"/>
                <a:gd name="connsiteX1483" fmla="*/ 802653 w 1178159"/>
                <a:gd name="connsiteY1483" fmla="*/ 374854 h 466571"/>
                <a:gd name="connsiteX1484" fmla="*/ 798744 w 1178159"/>
                <a:gd name="connsiteY1484" fmla="*/ 377786 h 466571"/>
                <a:gd name="connsiteX1485" fmla="*/ 790109 w 1178159"/>
                <a:gd name="connsiteY1485" fmla="*/ 378601 h 466571"/>
                <a:gd name="connsiteX1486" fmla="*/ 787503 w 1178159"/>
                <a:gd name="connsiteY1486" fmla="*/ 376320 h 466571"/>
                <a:gd name="connsiteX1487" fmla="*/ 783593 w 1178159"/>
                <a:gd name="connsiteY1487" fmla="*/ 378275 h 466571"/>
                <a:gd name="connsiteX1488" fmla="*/ 781801 w 1178159"/>
                <a:gd name="connsiteY1488" fmla="*/ 383651 h 466571"/>
                <a:gd name="connsiteX1489" fmla="*/ 782941 w 1178159"/>
                <a:gd name="connsiteY1489" fmla="*/ 385932 h 466571"/>
                <a:gd name="connsiteX1490" fmla="*/ 782941 w 1178159"/>
                <a:gd name="connsiteY1490" fmla="*/ 385932 h 466571"/>
                <a:gd name="connsiteX1491" fmla="*/ 774144 w 1178159"/>
                <a:gd name="connsiteY1491" fmla="*/ 392774 h 466571"/>
                <a:gd name="connsiteX1492" fmla="*/ 772678 w 1178159"/>
                <a:gd name="connsiteY1492" fmla="*/ 394892 h 466571"/>
                <a:gd name="connsiteX1493" fmla="*/ 773655 w 1178159"/>
                <a:gd name="connsiteY1493" fmla="*/ 396032 h 466571"/>
                <a:gd name="connsiteX1494" fmla="*/ 775610 w 1178159"/>
                <a:gd name="connsiteY1494" fmla="*/ 394566 h 466571"/>
                <a:gd name="connsiteX1495" fmla="*/ 774307 w 1178159"/>
                <a:gd name="connsiteY1495" fmla="*/ 392774 h 466571"/>
                <a:gd name="connsiteX1496" fmla="*/ 774307 w 1178159"/>
                <a:gd name="connsiteY1496" fmla="*/ 392774 h 466571"/>
                <a:gd name="connsiteX1497" fmla="*/ 751011 w 1178159"/>
                <a:gd name="connsiteY1497" fmla="*/ 392122 h 466571"/>
                <a:gd name="connsiteX1498" fmla="*/ 745961 w 1178159"/>
                <a:gd name="connsiteY1498" fmla="*/ 394403 h 466571"/>
                <a:gd name="connsiteX1499" fmla="*/ 747916 w 1178159"/>
                <a:gd name="connsiteY1499" fmla="*/ 395869 h 466571"/>
                <a:gd name="connsiteX1500" fmla="*/ 746287 w 1178159"/>
                <a:gd name="connsiteY1500" fmla="*/ 397661 h 466571"/>
                <a:gd name="connsiteX1501" fmla="*/ 746776 w 1178159"/>
                <a:gd name="connsiteY1501" fmla="*/ 399616 h 466571"/>
                <a:gd name="connsiteX1502" fmla="*/ 751337 w 1178159"/>
                <a:gd name="connsiteY1502" fmla="*/ 400757 h 466571"/>
                <a:gd name="connsiteX1503" fmla="*/ 759971 w 1178159"/>
                <a:gd name="connsiteY1503" fmla="*/ 397661 h 466571"/>
                <a:gd name="connsiteX1504" fmla="*/ 762903 w 1178159"/>
                <a:gd name="connsiteY1504" fmla="*/ 394403 h 466571"/>
                <a:gd name="connsiteX1505" fmla="*/ 760297 w 1178159"/>
                <a:gd name="connsiteY1505" fmla="*/ 392611 h 466571"/>
                <a:gd name="connsiteX1506" fmla="*/ 753292 w 1178159"/>
                <a:gd name="connsiteY1506" fmla="*/ 393263 h 466571"/>
                <a:gd name="connsiteX1507" fmla="*/ 751011 w 1178159"/>
                <a:gd name="connsiteY1507" fmla="*/ 392122 h 466571"/>
                <a:gd name="connsiteX1508" fmla="*/ 751011 w 1178159"/>
                <a:gd name="connsiteY1508" fmla="*/ 392122 h 466571"/>
                <a:gd name="connsiteX1509" fmla="*/ 732439 w 1178159"/>
                <a:gd name="connsiteY1509" fmla="*/ 402060 h 466571"/>
                <a:gd name="connsiteX1510" fmla="*/ 736023 w 1178159"/>
                <a:gd name="connsiteY1510" fmla="*/ 402060 h 466571"/>
                <a:gd name="connsiteX1511" fmla="*/ 738467 w 1178159"/>
                <a:gd name="connsiteY1511" fmla="*/ 404341 h 466571"/>
                <a:gd name="connsiteX1512" fmla="*/ 742377 w 1178159"/>
                <a:gd name="connsiteY1512" fmla="*/ 398965 h 466571"/>
                <a:gd name="connsiteX1513" fmla="*/ 741888 w 1178159"/>
                <a:gd name="connsiteY1513" fmla="*/ 396684 h 466571"/>
                <a:gd name="connsiteX1514" fmla="*/ 739444 w 1178159"/>
                <a:gd name="connsiteY1514" fmla="*/ 398965 h 466571"/>
                <a:gd name="connsiteX1515" fmla="*/ 734720 w 1178159"/>
                <a:gd name="connsiteY1515" fmla="*/ 399453 h 466571"/>
                <a:gd name="connsiteX1516" fmla="*/ 732439 w 1178159"/>
                <a:gd name="connsiteY1516" fmla="*/ 401897 h 466571"/>
                <a:gd name="connsiteX1517" fmla="*/ 732439 w 1178159"/>
                <a:gd name="connsiteY1517" fmla="*/ 401897 h 466571"/>
                <a:gd name="connsiteX1518" fmla="*/ 716637 w 1178159"/>
                <a:gd name="connsiteY1518" fmla="*/ 402875 h 466571"/>
                <a:gd name="connsiteX1519" fmla="*/ 721687 w 1178159"/>
                <a:gd name="connsiteY1519" fmla="*/ 399290 h 466571"/>
                <a:gd name="connsiteX1520" fmla="*/ 720547 w 1178159"/>
                <a:gd name="connsiteY1520" fmla="*/ 397010 h 466571"/>
                <a:gd name="connsiteX1521" fmla="*/ 722828 w 1178159"/>
                <a:gd name="connsiteY1521" fmla="*/ 396195 h 466571"/>
                <a:gd name="connsiteX1522" fmla="*/ 726412 w 1178159"/>
                <a:gd name="connsiteY1522" fmla="*/ 396684 h 466571"/>
                <a:gd name="connsiteX1523" fmla="*/ 729996 w 1178159"/>
                <a:gd name="connsiteY1523" fmla="*/ 394729 h 466571"/>
                <a:gd name="connsiteX1524" fmla="*/ 731951 w 1178159"/>
                <a:gd name="connsiteY1524" fmla="*/ 396032 h 466571"/>
                <a:gd name="connsiteX1525" fmla="*/ 726738 w 1178159"/>
                <a:gd name="connsiteY1525" fmla="*/ 400919 h 466571"/>
                <a:gd name="connsiteX1526" fmla="*/ 724294 w 1178159"/>
                <a:gd name="connsiteY1526" fmla="*/ 403852 h 466571"/>
                <a:gd name="connsiteX1527" fmla="*/ 719081 w 1178159"/>
                <a:gd name="connsiteY1527" fmla="*/ 404992 h 466571"/>
                <a:gd name="connsiteX1528" fmla="*/ 716800 w 1178159"/>
                <a:gd name="connsiteY1528" fmla="*/ 403037 h 466571"/>
                <a:gd name="connsiteX1529" fmla="*/ 716800 w 1178159"/>
                <a:gd name="connsiteY1529" fmla="*/ 403037 h 466571"/>
                <a:gd name="connsiteX1530" fmla="*/ 712402 w 1178159"/>
                <a:gd name="connsiteY1530" fmla="*/ 401571 h 466571"/>
                <a:gd name="connsiteX1531" fmla="*/ 707189 w 1178159"/>
                <a:gd name="connsiteY1531" fmla="*/ 402549 h 466571"/>
                <a:gd name="connsiteX1532" fmla="*/ 705396 w 1178159"/>
                <a:gd name="connsiteY1532" fmla="*/ 406621 h 466571"/>
                <a:gd name="connsiteX1533" fmla="*/ 708329 w 1178159"/>
                <a:gd name="connsiteY1533" fmla="*/ 403526 h 466571"/>
                <a:gd name="connsiteX1534" fmla="*/ 712564 w 1178159"/>
                <a:gd name="connsiteY1534" fmla="*/ 401571 h 466571"/>
                <a:gd name="connsiteX1535" fmla="*/ 712564 w 1178159"/>
                <a:gd name="connsiteY1535" fmla="*/ 401571 h 466571"/>
                <a:gd name="connsiteX1536" fmla="*/ 715171 w 1178159"/>
                <a:gd name="connsiteY1536" fmla="*/ 394077 h 466571"/>
                <a:gd name="connsiteX1537" fmla="*/ 711913 w 1178159"/>
                <a:gd name="connsiteY1537" fmla="*/ 397010 h 466571"/>
                <a:gd name="connsiteX1538" fmla="*/ 714519 w 1178159"/>
                <a:gd name="connsiteY1538" fmla="*/ 398476 h 466571"/>
                <a:gd name="connsiteX1539" fmla="*/ 716149 w 1178159"/>
                <a:gd name="connsiteY1539" fmla="*/ 396195 h 466571"/>
                <a:gd name="connsiteX1540" fmla="*/ 715334 w 1178159"/>
                <a:gd name="connsiteY1540" fmla="*/ 394077 h 466571"/>
                <a:gd name="connsiteX1541" fmla="*/ 715334 w 1178159"/>
                <a:gd name="connsiteY1541" fmla="*/ 394077 h 466571"/>
                <a:gd name="connsiteX1542" fmla="*/ 624268 w 1178159"/>
                <a:gd name="connsiteY1542" fmla="*/ 404666 h 466571"/>
                <a:gd name="connsiteX1543" fmla="*/ 625571 w 1178159"/>
                <a:gd name="connsiteY1543" fmla="*/ 400105 h 466571"/>
                <a:gd name="connsiteX1544" fmla="*/ 633391 w 1178159"/>
                <a:gd name="connsiteY1544" fmla="*/ 395869 h 466571"/>
                <a:gd name="connsiteX1545" fmla="*/ 645935 w 1178159"/>
                <a:gd name="connsiteY1545" fmla="*/ 393100 h 466571"/>
                <a:gd name="connsiteX1546" fmla="*/ 652125 w 1178159"/>
                <a:gd name="connsiteY1546" fmla="*/ 396195 h 466571"/>
                <a:gd name="connsiteX1547" fmla="*/ 655546 w 1178159"/>
                <a:gd name="connsiteY1547" fmla="*/ 395218 h 466571"/>
                <a:gd name="connsiteX1548" fmla="*/ 662226 w 1178159"/>
                <a:gd name="connsiteY1548" fmla="*/ 396847 h 466571"/>
                <a:gd name="connsiteX1549" fmla="*/ 669231 w 1178159"/>
                <a:gd name="connsiteY1549" fmla="*/ 401245 h 466571"/>
                <a:gd name="connsiteX1550" fmla="*/ 674607 w 1178159"/>
                <a:gd name="connsiteY1550" fmla="*/ 398965 h 466571"/>
                <a:gd name="connsiteX1551" fmla="*/ 681937 w 1178159"/>
                <a:gd name="connsiteY1551" fmla="*/ 399290 h 466571"/>
                <a:gd name="connsiteX1552" fmla="*/ 685196 w 1178159"/>
                <a:gd name="connsiteY1552" fmla="*/ 401897 h 466571"/>
                <a:gd name="connsiteX1553" fmla="*/ 690898 w 1178159"/>
                <a:gd name="connsiteY1553" fmla="*/ 401408 h 466571"/>
                <a:gd name="connsiteX1554" fmla="*/ 693830 w 1178159"/>
                <a:gd name="connsiteY1554" fmla="*/ 397987 h 466571"/>
                <a:gd name="connsiteX1555" fmla="*/ 698391 w 1178159"/>
                <a:gd name="connsiteY1555" fmla="*/ 396521 h 466571"/>
                <a:gd name="connsiteX1556" fmla="*/ 701324 w 1178159"/>
                <a:gd name="connsiteY1556" fmla="*/ 392122 h 466571"/>
                <a:gd name="connsiteX1557" fmla="*/ 699369 w 1178159"/>
                <a:gd name="connsiteY1557" fmla="*/ 390982 h 466571"/>
                <a:gd name="connsiteX1558" fmla="*/ 703768 w 1178159"/>
                <a:gd name="connsiteY1558" fmla="*/ 388050 h 466571"/>
                <a:gd name="connsiteX1559" fmla="*/ 709144 w 1178159"/>
                <a:gd name="connsiteY1559" fmla="*/ 390330 h 466571"/>
                <a:gd name="connsiteX1560" fmla="*/ 709632 w 1178159"/>
                <a:gd name="connsiteY1560" fmla="*/ 394892 h 466571"/>
                <a:gd name="connsiteX1561" fmla="*/ 707189 w 1178159"/>
                <a:gd name="connsiteY1561" fmla="*/ 399127 h 466571"/>
                <a:gd name="connsiteX1562" fmla="*/ 703930 w 1178159"/>
                <a:gd name="connsiteY1562" fmla="*/ 400594 h 466571"/>
                <a:gd name="connsiteX1563" fmla="*/ 700184 w 1178159"/>
                <a:gd name="connsiteY1563" fmla="*/ 405644 h 466571"/>
                <a:gd name="connsiteX1564" fmla="*/ 694644 w 1178159"/>
                <a:gd name="connsiteY1564" fmla="*/ 406458 h 466571"/>
                <a:gd name="connsiteX1565" fmla="*/ 692364 w 1178159"/>
                <a:gd name="connsiteY1565" fmla="*/ 408902 h 466571"/>
                <a:gd name="connsiteX1566" fmla="*/ 688617 w 1178159"/>
                <a:gd name="connsiteY1566" fmla="*/ 407599 h 466571"/>
                <a:gd name="connsiteX1567" fmla="*/ 680960 w 1178159"/>
                <a:gd name="connsiteY1567" fmla="*/ 407599 h 466571"/>
                <a:gd name="connsiteX1568" fmla="*/ 673792 w 1178159"/>
                <a:gd name="connsiteY1568" fmla="*/ 410694 h 466571"/>
                <a:gd name="connsiteX1569" fmla="*/ 665647 w 1178159"/>
                <a:gd name="connsiteY1569" fmla="*/ 409228 h 466571"/>
                <a:gd name="connsiteX1570" fmla="*/ 659945 w 1178159"/>
                <a:gd name="connsiteY1570" fmla="*/ 411671 h 466571"/>
                <a:gd name="connsiteX1571" fmla="*/ 658805 w 1178159"/>
                <a:gd name="connsiteY1571" fmla="*/ 412975 h 466571"/>
                <a:gd name="connsiteX1572" fmla="*/ 655058 w 1178159"/>
                <a:gd name="connsiteY1572" fmla="*/ 412975 h 466571"/>
                <a:gd name="connsiteX1573" fmla="*/ 652125 w 1178159"/>
                <a:gd name="connsiteY1573" fmla="*/ 411346 h 466571"/>
                <a:gd name="connsiteX1574" fmla="*/ 647564 w 1178159"/>
                <a:gd name="connsiteY1574" fmla="*/ 413301 h 466571"/>
                <a:gd name="connsiteX1575" fmla="*/ 644632 w 1178159"/>
                <a:gd name="connsiteY1575" fmla="*/ 410857 h 466571"/>
                <a:gd name="connsiteX1576" fmla="*/ 640722 w 1178159"/>
                <a:gd name="connsiteY1576" fmla="*/ 410368 h 466571"/>
                <a:gd name="connsiteX1577" fmla="*/ 637137 w 1178159"/>
                <a:gd name="connsiteY1577" fmla="*/ 411020 h 466571"/>
                <a:gd name="connsiteX1578" fmla="*/ 633228 w 1178159"/>
                <a:gd name="connsiteY1578" fmla="*/ 410042 h 466571"/>
                <a:gd name="connsiteX1579" fmla="*/ 629807 w 1178159"/>
                <a:gd name="connsiteY1579" fmla="*/ 410368 h 466571"/>
                <a:gd name="connsiteX1580" fmla="*/ 625571 w 1178159"/>
                <a:gd name="connsiteY1580" fmla="*/ 409391 h 466571"/>
                <a:gd name="connsiteX1581" fmla="*/ 624105 w 1178159"/>
                <a:gd name="connsiteY1581" fmla="*/ 404992 h 466571"/>
                <a:gd name="connsiteX1582" fmla="*/ 624105 w 1178159"/>
                <a:gd name="connsiteY1582" fmla="*/ 404992 h 466571"/>
                <a:gd name="connsiteX1583" fmla="*/ 620847 w 1178159"/>
                <a:gd name="connsiteY1583" fmla="*/ 404341 h 466571"/>
                <a:gd name="connsiteX1584" fmla="*/ 619055 w 1178159"/>
                <a:gd name="connsiteY1584" fmla="*/ 409391 h 466571"/>
                <a:gd name="connsiteX1585" fmla="*/ 622476 w 1178159"/>
                <a:gd name="connsiteY1585" fmla="*/ 408739 h 466571"/>
                <a:gd name="connsiteX1586" fmla="*/ 622964 w 1178159"/>
                <a:gd name="connsiteY1586" fmla="*/ 405644 h 466571"/>
                <a:gd name="connsiteX1587" fmla="*/ 620684 w 1178159"/>
                <a:gd name="connsiteY1587" fmla="*/ 404341 h 466571"/>
                <a:gd name="connsiteX1588" fmla="*/ 620684 w 1178159"/>
                <a:gd name="connsiteY1588" fmla="*/ 404341 h 466571"/>
                <a:gd name="connsiteX1589" fmla="*/ 618566 w 1178159"/>
                <a:gd name="connsiteY1589" fmla="*/ 401571 h 466571"/>
                <a:gd name="connsiteX1590" fmla="*/ 614168 w 1178159"/>
                <a:gd name="connsiteY1590" fmla="*/ 400268 h 466571"/>
                <a:gd name="connsiteX1591" fmla="*/ 612375 w 1178159"/>
                <a:gd name="connsiteY1591" fmla="*/ 406133 h 466571"/>
                <a:gd name="connsiteX1592" fmla="*/ 614982 w 1178159"/>
                <a:gd name="connsiteY1592" fmla="*/ 409879 h 466571"/>
                <a:gd name="connsiteX1593" fmla="*/ 616611 w 1178159"/>
                <a:gd name="connsiteY1593" fmla="*/ 403852 h 466571"/>
                <a:gd name="connsiteX1594" fmla="*/ 618566 w 1178159"/>
                <a:gd name="connsiteY1594" fmla="*/ 401897 h 466571"/>
                <a:gd name="connsiteX1595" fmla="*/ 618566 w 1178159"/>
                <a:gd name="connsiteY1595" fmla="*/ 401897 h 466571"/>
                <a:gd name="connsiteX1596" fmla="*/ 545420 w 1178159"/>
                <a:gd name="connsiteY1596" fmla="*/ 404992 h 466571"/>
                <a:gd name="connsiteX1597" fmla="*/ 544768 w 1178159"/>
                <a:gd name="connsiteY1597" fmla="*/ 408087 h 466571"/>
                <a:gd name="connsiteX1598" fmla="*/ 546560 w 1178159"/>
                <a:gd name="connsiteY1598" fmla="*/ 409879 h 466571"/>
                <a:gd name="connsiteX1599" fmla="*/ 545094 w 1178159"/>
                <a:gd name="connsiteY1599" fmla="*/ 412160 h 466571"/>
                <a:gd name="connsiteX1600" fmla="*/ 547375 w 1178159"/>
                <a:gd name="connsiteY1600" fmla="*/ 414930 h 466571"/>
                <a:gd name="connsiteX1601" fmla="*/ 551936 w 1178159"/>
                <a:gd name="connsiteY1601" fmla="*/ 416884 h 466571"/>
                <a:gd name="connsiteX1602" fmla="*/ 558616 w 1178159"/>
                <a:gd name="connsiteY1602" fmla="*/ 415418 h 466571"/>
                <a:gd name="connsiteX1603" fmla="*/ 562362 w 1178159"/>
                <a:gd name="connsiteY1603" fmla="*/ 416884 h 466571"/>
                <a:gd name="connsiteX1604" fmla="*/ 567901 w 1178159"/>
                <a:gd name="connsiteY1604" fmla="*/ 415093 h 466571"/>
                <a:gd name="connsiteX1605" fmla="*/ 570182 w 1178159"/>
                <a:gd name="connsiteY1605" fmla="*/ 412160 h 466571"/>
                <a:gd name="connsiteX1606" fmla="*/ 574743 w 1178159"/>
                <a:gd name="connsiteY1606" fmla="*/ 413789 h 466571"/>
                <a:gd name="connsiteX1607" fmla="*/ 580282 w 1178159"/>
                <a:gd name="connsiteY1607" fmla="*/ 411346 h 466571"/>
                <a:gd name="connsiteX1608" fmla="*/ 585496 w 1178159"/>
                <a:gd name="connsiteY1608" fmla="*/ 412323 h 466571"/>
                <a:gd name="connsiteX1609" fmla="*/ 591034 w 1178159"/>
                <a:gd name="connsiteY1609" fmla="*/ 407599 h 466571"/>
                <a:gd name="connsiteX1610" fmla="*/ 592664 w 1178159"/>
                <a:gd name="connsiteY1610" fmla="*/ 411020 h 466571"/>
                <a:gd name="connsiteX1611" fmla="*/ 597388 w 1178159"/>
                <a:gd name="connsiteY1611" fmla="*/ 410368 h 466571"/>
                <a:gd name="connsiteX1612" fmla="*/ 604556 w 1178159"/>
                <a:gd name="connsiteY1612" fmla="*/ 411346 h 466571"/>
                <a:gd name="connsiteX1613" fmla="*/ 601298 w 1178159"/>
                <a:gd name="connsiteY1613" fmla="*/ 408576 h 466571"/>
                <a:gd name="connsiteX1614" fmla="*/ 607977 w 1178159"/>
                <a:gd name="connsiteY1614" fmla="*/ 408576 h 466571"/>
                <a:gd name="connsiteX1615" fmla="*/ 608466 w 1178159"/>
                <a:gd name="connsiteY1615" fmla="*/ 403037 h 466571"/>
                <a:gd name="connsiteX1616" fmla="*/ 606674 w 1178159"/>
                <a:gd name="connsiteY1616" fmla="*/ 405318 h 466571"/>
                <a:gd name="connsiteX1617" fmla="*/ 605207 w 1178159"/>
                <a:gd name="connsiteY1617" fmla="*/ 400757 h 466571"/>
                <a:gd name="connsiteX1618" fmla="*/ 605696 w 1178159"/>
                <a:gd name="connsiteY1618" fmla="*/ 396847 h 466571"/>
                <a:gd name="connsiteX1619" fmla="*/ 600320 w 1178159"/>
                <a:gd name="connsiteY1619" fmla="*/ 395381 h 466571"/>
                <a:gd name="connsiteX1620" fmla="*/ 600972 w 1178159"/>
                <a:gd name="connsiteY1620" fmla="*/ 399453 h 466571"/>
                <a:gd name="connsiteX1621" fmla="*/ 598366 w 1178159"/>
                <a:gd name="connsiteY1621" fmla="*/ 400594 h 466571"/>
                <a:gd name="connsiteX1622" fmla="*/ 597877 w 1178159"/>
                <a:gd name="connsiteY1622" fmla="*/ 396195 h 466571"/>
                <a:gd name="connsiteX1623" fmla="*/ 592664 w 1178159"/>
                <a:gd name="connsiteY1623" fmla="*/ 393100 h 466571"/>
                <a:gd name="connsiteX1624" fmla="*/ 587450 w 1178159"/>
                <a:gd name="connsiteY1624" fmla="*/ 394892 h 466571"/>
                <a:gd name="connsiteX1625" fmla="*/ 582726 w 1178159"/>
                <a:gd name="connsiteY1625" fmla="*/ 391959 h 466571"/>
                <a:gd name="connsiteX1626" fmla="*/ 578491 w 1178159"/>
                <a:gd name="connsiteY1626" fmla="*/ 390167 h 466571"/>
                <a:gd name="connsiteX1627" fmla="*/ 572300 w 1178159"/>
                <a:gd name="connsiteY1627" fmla="*/ 394077 h 466571"/>
                <a:gd name="connsiteX1628" fmla="*/ 572300 w 1178159"/>
                <a:gd name="connsiteY1628" fmla="*/ 396847 h 466571"/>
                <a:gd name="connsiteX1629" fmla="*/ 582726 w 1178159"/>
                <a:gd name="connsiteY1629" fmla="*/ 400757 h 466571"/>
                <a:gd name="connsiteX1630" fmla="*/ 586799 w 1178159"/>
                <a:gd name="connsiteY1630" fmla="*/ 404829 h 466571"/>
                <a:gd name="connsiteX1631" fmla="*/ 579957 w 1178159"/>
                <a:gd name="connsiteY1631" fmla="*/ 405807 h 466571"/>
                <a:gd name="connsiteX1632" fmla="*/ 575884 w 1178159"/>
                <a:gd name="connsiteY1632" fmla="*/ 407599 h 466571"/>
                <a:gd name="connsiteX1633" fmla="*/ 569856 w 1178159"/>
                <a:gd name="connsiteY1633" fmla="*/ 403689 h 466571"/>
                <a:gd name="connsiteX1634" fmla="*/ 568553 w 1178159"/>
                <a:gd name="connsiteY1634" fmla="*/ 399290 h 466571"/>
                <a:gd name="connsiteX1635" fmla="*/ 565132 w 1178159"/>
                <a:gd name="connsiteY1635" fmla="*/ 398639 h 466571"/>
                <a:gd name="connsiteX1636" fmla="*/ 560896 w 1178159"/>
                <a:gd name="connsiteY1636" fmla="*/ 399779 h 466571"/>
                <a:gd name="connsiteX1637" fmla="*/ 556335 w 1178159"/>
                <a:gd name="connsiteY1637" fmla="*/ 398639 h 466571"/>
                <a:gd name="connsiteX1638" fmla="*/ 549004 w 1178159"/>
                <a:gd name="connsiteY1638" fmla="*/ 401408 h 466571"/>
                <a:gd name="connsiteX1639" fmla="*/ 545746 w 1178159"/>
                <a:gd name="connsiteY1639" fmla="*/ 405481 h 466571"/>
                <a:gd name="connsiteX1640" fmla="*/ 545746 w 1178159"/>
                <a:gd name="connsiteY1640" fmla="*/ 405481 h 466571"/>
                <a:gd name="connsiteX1641" fmla="*/ 530432 w 1178159"/>
                <a:gd name="connsiteY1641" fmla="*/ 398802 h 466571"/>
                <a:gd name="connsiteX1642" fmla="*/ 535808 w 1178159"/>
                <a:gd name="connsiteY1642" fmla="*/ 394892 h 466571"/>
                <a:gd name="connsiteX1643" fmla="*/ 543791 w 1178159"/>
                <a:gd name="connsiteY1643" fmla="*/ 397498 h 466571"/>
                <a:gd name="connsiteX1644" fmla="*/ 542650 w 1178159"/>
                <a:gd name="connsiteY1644" fmla="*/ 403526 h 466571"/>
                <a:gd name="connsiteX1645" fmla="*/ 540369 w 1178159"/>
                <a:gd name="connsiteY1645" fmla="*/ 406784 h 466571"/>
                <a:gd name="connsiteX1646" fmla="*/ 540859 w 1178159"/>
                <a:gd name="connsiteY1646" fmla="*/ 411020 h 466571"/>
                <a:gd name="connsiteX1647" fmla="*/ 537275 w 1178159"/>
                <a:gd name="connsiteY1647" fmla="*/ 409717 h 466571"/>
                <a:gd name="connsiteX1648" fmla="*/ 532387 w 1178159"/>
                <a:gd name="connsiteY1648" fmla="*/ 411671 h 466571"/>
                <a:gd name="connsiteX1649" fmla="*/ 524242 w 1178159"/>
                <a:gd name="connsiteY1649" fmla="*/ 409228 h 466571"/>
                <a:gd name="connsiteX1650" fmla="*/ 522612 w 1178159"/>
                <a:gd name="connsiteY1650" fmla="*/ 406947 h 466571"/>
                <a:gd name="connsiteX1651" fmla="*/ 524893 w 1178159"/>
                <a:gd name="connsiteY1651" fmla="*/ 405481 h 466571"/>
                <a:gd name="connsiteX1652" fmla="*/ 529292 w 1178159"/>
                <a:gd name="connsiteY1652" fmla="*/ 405481 h 466571"/>
                <a:gd name="connsiteX1653" fmla="*/ 530432 w 1178159"/>
                <a:gd name="connsiteY1653" fmla="*/ 398802 h 466571"/>
                <a:gd name="connsiteX1654" fmla="*/ 530432 w 1178159"/>
                <a:gd name="connsiteY1654" fmla="*/ 398802 h 466571"/>
                <a:gd name="connsiteX1655" fmla="*/ 513978 w 1178159"/>
                <a:gd name="connsiteY1655" fmla="*/ 406784 h 466571"/>
                <a:gd name="connsiteX1656" fmla="*/ 516422 w 1178159"/>
                <a:gd name="connsiteY1656" fmla="*/ 404341 h 466571"/>
                <a:gd name="connsiteX1657" fmla="*/ 518051 w 1178159"/>
                <a:gd name="connsiteY1657" fmla="*/ 407110 h 466571"/>
                <a:gd name="connsiteX1658" fmla="*/ 515444 w 1178159"/>
                <a:gd name="connsiteY1658" fmla="*/ 408413 h 466571"/>
                <a:gd name="connsiteX1659" fmla="*/ 513978 w 1178159"/>
                <a:gd name="connsiteY1659" fmla="*/ 406784 h 466571"/>
                <a:gd name="connsiteX1660" fmla="*/ 513978 w 1178159"/>
                <a:gd name="connsiteY1660" fmla="*/ 406784 h 466571"/>
                <a:gd name="connsiteX1661" fmla="*/ 489705 w 1178159"/>
                <a:gd name="connsiteY1661" fmla="*/ 391145 h 466571"/>
                <a:gd name="connsiteX1662" fmla="*/ 489705 w 1178159"/>
                <a:gd name="connsiteY1662" fmla="*/ 395055 h 466571"/>
                <a:gd name="connsiteX1663" fmla="*/ 492148 w 1178159"/>
                <a:gd name="connsiteY1663" fmla="*/ 398313 h 466571"/>
                <a:gd name="connsiteX1664" fmla="*/ 499153 w 1178159"/>
                <a:gd name="connsiteY1664" fmla="*/ 399779 h 466571"/>
                <a:gd name="connsiteX1665" fmla="*/ 505344 w 1178159"/>
                <a:gd name="connsiteY1665" fmla="*/ 404503 h 466571"/>
                <a:gd name="connsiteX1666" fmla="*/ 506648 w 1178159"/>
                <a:gd name="connsiteY1666" fmla="*/ 407436 h 466571"/>
                <a:gd name="connsiteX1667" fmla="*/ 508928 w 1178159"/>
                <a:gd name="connsiteY1667" fmla="*/ 404341 h 466571"/>
                <a:gd name="connsiteX1668" fmla="*/ 513001 w 1178159"/>
                <a:gd name="connsiteY1668" fmla="*/ 402386 h 466571"/>
                <a:gd name="connsiteX1669" fmla="*/ 514630 w 1178159"/>
                <a:gd name="connsiteY1669" fmla="*/ 400594 h 466571"/>
                <a:gd name="connsiteX1670" fmla="*/ 519191 w 1178159"/>
                <a:gd name="connsiteY1670" fmla="*/ 399616 h 466571"/>
                <a:gd name="connsiteX1671" fmla="*/ 520495 w 1178159"/>
                <a:gd name="connsiteY1671" fmla="*/ 396684 h 466571"/>
                <a:gd name="connsiteX1672" fmla="*/ 514956 w 1178159"/>
                <a:gd name="connsiteY1672" fmla="*/ 390005 h 466571"/>
                <a:gd name="connsiteX1673" fmla="*/ 508114 w 1178159"/>
                <a:gd name="connsiteY1673" fmla="*/ 388538 h 466571"/>
                <a:gd name="connsiteX1674" fmla="*/ 501109 w 1178159"/>
                <a:gd name="connsiteY1674" fmla="*/ 390982 h 466571"/>
                <a:gd name="connsiteX1675" fmla="*/ 495407 w 1178159"/>
                <a:gd name="connsiteY1675" fmla="*/ 389516 h 466571"/>
                <a:gd name="connsiteX1676" fmla="*/ 489705 w 1178159"/>
                <a:gd name="connsiteY1676" fmla="*/ 391145 h 466571"/>
                <a:gd name="connsiteX1677" fmla="*/ 489705 w 1178159"/>
                <a:gd name="connsiteY1677" fmla="*/ 391145 h 466571"/>
                <a:gd name="connsiteX1678" fmla="*/ 1110715 w 1178159"/>
                <a:gd name="connsiteY1678" fmla="*/ 394729 h 466571"/>
                <a:gd name="connsiteX1679" fmla="*/ 1112832 w 1178159"/>
                <a:gd name="connsiteY1679" fmla="*/ 395218 h 466571"/>
                <a:gd name="connsiteX1680" fmla="*/ 1117557 w 1178159"/>
                <a:gd name="connsiteY1680" fmla="*/ 396847 h 466571"/>
                <a:gd name="connsiteX1681" fmla="*/ 1119023 w 1178159"/>
                <a:gd name="connsiteY1681" fmla="*/ 395381 h 466571"/>
                <a:gd name="connsiteX1682" fmla="*/ 1117231 w 1178159"/>
                <a:gd name="connsiteY1682" fmla="*/ 389516 h 466571"/>
                <a:gd name="connsiteX1683" fmla="*/ 1115439 w 1178159"/>
                <a:gd name="connsiteY1683" fmla="*/ 389027 h 466571"/>
                <a:gd name="connsiteX1684" fmla="*/ 1112832 w 1178159"/>
                <a:gd name="connsiteY1684" fmla="*/ 390656 h 466571"/>
                <a:gd name="connsiteX1685" fmla="*/ 1110715 w 1178159"/>
                <a:gd name="connsiteY1685" fmla="*/ 394566 h 466571"/>
                <a:gd name="connsiteX1686" fmla="*/ 1110715 w 1178159"/>
                <a:gd name="connsiteY1686" fmla="*/ 394566 h 466571"/>
                <a:gd name="connsiteX1687" fmla="*/ 1085464 w 1178159"/>
                <a:gd name="connsiteY1687" fmla="*/ 395706 h 466571"/>
                <a:gd name="connsiteX1688" fmla="*/ 1094261 w 1178159"/>
                <a:gd name="connsiteY1688" fmla="*/ 395218 h 466571"/>
                <a:gd name="connsiteX1689" fmla="*/ 1097682 w 1178159"/>
                <a:gd name="connsiteY1689" fmla="*/ 394566 h 466571"/>
                <a:gd name="connsiteX1690" fmla="*/ 1104198 w 1178159"/>
                <a:gd name="connsiteY1690" fmla="*/ 395543 h 466571"/>
                <a:gd name="connsiteX1691" fmla="*/ 1108271 w 1178159"/>
                <a:gd name="connsiteY1691" fmla="*/ 393589 h 466571"/>
                <a:gd name="connsiteX1692" fmla="*/ 1112181 w 1178159"/>
                <a:gd name="connsiteY1692" fmla="*/ 389027 h 466571"/>
                <a:gd name="connsiteX1693" fmla="*/ 1116091 w 1178159"/>
                <a:gd name="connsiteY1693" fmla="*/ 388050 h 466571"/>
                <a:gd name="connsiteX1694" fmla="*/ 1118046 w 1178159"/>
                <a:gd name="connsiteY1694" fmla="*/ 385443 h 466571"/>
                <a:gd name="connsiteX1695" fmla="*/ 1118046 w 1178159"/>
                <a:gd name="connsiteY1695" fmla="*/ 382674 h 466571"/>
                <a:gd name="connsiteX1696" fmla="*/ 1119186 w 1178159"/>
                <a:gd name="connsiteY1696" fmla="*/ 381370 h 466571"/>
                <a:gd name="connsiteX1697" fmla="*/ 1120164 w 1178159"/>
                <a:gd name="connsiteY1697" fmla="*/ 377135 h 466571"/>
                <a:gd name="connsiteX1698" fmla="*/ 1121141 w 1178159"/>
                <a:gd name="connsiteY1698" fmla="*/ 375343 h 466571"/>
                <a:gd name="connsiteX1699" fmla="*/ 1117394 w 1178159"/>
                <a:gd name="connsiteY1699" fmla="*/ 372410 h 466571"/>
                <a:gd name="connsiteX1700" fmla="*/ 1115765 w 1178159"/>
                <a:gd name="connsiteY1700" fmla="*/ 370781 h 466571"/>
                <a:gd name="connsiteX1701" fmla="*/ 1106642 w 1178159"/>
                <a:gd name="connsiteY1701" fmla="*/ 370455 h 466571"/>
                <a:gd name="connsiteX1702" fmla="*/ 1100940 w 1178159"/>
                <a:gd name="connsiteY1702" fmla="*/ 373225 h 466571"/>
                <a:gd name="connsiteX1703" fmla="*/ 1098333 w 1178159"/>
                <a:gd name="connsiteY1703" fmla="*/ 380556 h 466571"/>
                <a:gd name="connsiteX1704" fmla="*/ 1095727 w 1178159"/>
                <a:gd name="connsiteY1704" fmla="*/ 385769 h 466571"/>
                <a:gd name="connsiteX1705" fmla="*/ 1085301 w 1178159"/>
                <a:gd name="connsiteY1705" fmla="*/ 396195 h 466571"/>
                <a:gd name="connsiteX1706" fmla="*/ 1085301 w 1178159"/>
                <a:gd name="connsiteY1706" fmla="*/ 396195 h 466571"/>
                <a:gd name="connsiteX1707" fmla="*/ 450607 w 1178159"/>
                <a:gd name="connsiteY1707" fmla="*/ 356934 h 466571"/>
                <a:gd name="connsiteX1708" fmla="*/ 446860 w 1178159"/>
                <a:gd name="connsiteY1708" fmla="*/ 362147 h 466571"/>
                <a:gd name="connsiteX1709" fmla="*/ 452073 w 1178159"/>
                <a:gd name="connsiteY1709" fmla="*/ 367360 h 466571"/>
                <a:gd name="connsiteX1710" fmla="*/ 455820 w 1178159"/>
                <a:gd name="connsiteY1710" fmla="*/ 367849 h 466571"/>
                <a:gd name="connsiteX1711" fmla="*/ 459078 w 1178159"/>
                <a:gd name="connsiteY1711" fmla="*/ 365894 h 466571"/>
                <a:gd name="connsiteX1712" fmla="*/ 467875 w 1178159"/>
                <a:gd name="connsiteY1712" fmla="*/ 366383 h 466571"/>
                <a:gd name="connsiteX1713" fmla="*/ 472437 w 1178159"/>
                <a:gd name="connsiteY1713" fmla="*/ 364428 h 466571"/>
                <a:gd name="connsiteX1714" fmla="*/ 478138 w 1178159"/>
                <a:gd name="connsiteY1714" fmla="*/ 363776 h 466571"/>
                <a:gd name="connsiteX1715" fmla="*/ 480419 w 1178159"/>
                <a:gd name="connsiteY1715" fmla="*/ 360681 h 466571"/>
                <a:gd name="connsiteX1716" fmla="*/ 477812 w 1178159"/>
                <a:gd name="connsiteY1716" fmla="*/ 359541 h 466571"/>
                <a:gd name="connsiteX1717" fmla="*/ 470970 w 1178159"/>
                <a:gd name="connsiteY1717" fmla="*/ 360518 h 466571"/>
                <a:gd name="connsiteX1718" fmla="*/ 467060 w 1178159"/>
                <a:gd name="connsiteY1718" fmla="*/ 359215 h 466571"/>
                <a:gd name="connsiteX1719" fmla="*/ 453376 w 1178159"/>
                <a:gd name="connsiteY1719" fmla="*/ 358726 h 466571"/>
                <a:gd name="connsiteX1720" fmla="*/ 450607 w 1178159"/>
                <a:gd name="connsiteY1720" fmla="*/ 356934 h 466571"/>
                <a:gd name="connsiteX1721" fmla="*/ 450607 w 1178159"/>
                <a:gd name="connsiteY1721" fmla="*/ 356934 h 466571"/>
                <a:gd name="connsiteX1722" fmla="*/ 258048 w 1178159"/>
                <a:gd name="connsiteY1722" fmla="*/ 348463 h 466571"/>
                <a:gd name="connsiteX1723" fmla="*/ 258537 w 1178159"/>
                <a:gd name="connsiteY1723" fmla="*/ 351069 h 466571"/>
                <a:gd name="connsiteX1724" fmla="*/ 260329 w 1178159"/>
                <a:gd name="connsiteY1724" fmla="*/ 351069 h 466571"/>
                <a:gd name="connsiteX1725" fmla="*/ 260492 w 1178159"/>
                <a:gd name="connsiteY1725" fmla="*/ 348463 h 466571"/>
                <a:gd name="connsiteX1726" fmla="*/ 257885 w 1178159"/>
                <a:gd name="connsiteY1726" fmla="*/ 348463 h 466571"/>
                <a:gd name="connsiteX1727" fmla="*/ 261795 w 1178159"/>
                <a:gd name="connsiteY1727" fmla="*/ 352047 h 466571"/>
                <a:gd name="connsiteX1728" fmla="*/ 263750 w 1178159"/>
                <a:gd name="connsiteY1728" fmla="*/ 354165 h 466571"/>
                <a:gd name="connsiteX1729" fmla="*/ 267660 w 1178159"/>
                <a:gd name="connsiteY1729" fmla="*/ 352698 h 466571"/>
                <a:gd name="connsiteX1730" fmla="*/ 268148 w 1178159"/>
                <a:gd name="connsiteY1730" fmla="*/ 347485 h 466571"/>
                <a:gd name="connsiteX1731" fmla="*/ 273525 w 1178159"/>
                <a:gd name="connsiteY1731" fmla="*/ 346671 h 466571"/>
                <a:gd name="connsiteX1732" fmla="*/ 275968 w 1178159"/>
                <a:gd name="connsiteY1732" fmla="*/ 341458 h 466571"/>
                <a:gd name="connsiteX1733" fmla="*/ 275642 w 1178159"/>
                <a:gd name="connsiteY1733" fmla="*/ 336082 h 466571"/>
                <a:gd name="connsiteX1734" fmla="*/ 280855 w 1178159"/>
                <a:gd name="connsiteY1734" fmla="*/ 330054 h 466571"/>
                <a:gd name="connsiteX1735" fmla="*/ 283136 w 1178159"/>
                <a:gd name="connsiteY1735" fmla="*/ 332335 h 466571"/>
                <a:gd name="connsiteX1736" fmla="*/ 289164 w 1178159"/>
                <a:gd name="connsiteY1736" fmla="*/ 332335 h 466571"/>
                <a:gd name="connsiteX1737" fmla="*/ 297309 w 1178159"/>
                <a:gd name="connsiteY1737" fmla="*/ 333475 h 466571"/>
                <a:gd name="connsiteX1738" fmla="*/ 301219 w 1178159"/>
                <a:gd name="connsiteY1738" fmla="*/ 336570 h 466571"/>
                <a:gd name="connsiteX1739" fmla="*/ 303337 w 1178159"/>
                <a:gd name="connsiteY1739" fmla="*/ 334778 h 466571"/>
                <a:gd name="connsiteX1740" fmla="*/ 305618 w 1178159"/>
                <a:gd name="connsiteY1740" fmla="*/ 332172 h 466571"/>
                <a:gd name="connsiteX1741" fmla="*/ 313437 w 1178159"/>
                <a:gd name="connsiteY1741" fmla="*/ 332660 h 466571"/>
                <a:gd name="connsiteX1742" fmla="*/ 318487 w 1178159"/>
                <a:gd name="connsiteY1742" fmla="*/ 336570 h 466571"/>
                <a:gd name="connsiteX1743" fmla="*/ 327610 w 1178159"/>
                <a:gd name="connsiteY1743" fmla="*/ 338851 h 466571"/>
                <a:gd name="connsiteX1744" fmla="*/ 338851 w 1178159"/>
                <a:gd name="connsiteY1744" fmla="*/ 339992 h 466571"/>
                <a:gd name="connsiteX1745" fmla="*/ 341784 w 1178159"/>
                <a:gd name="connsiteY1745" fmla="*/ 345367 h 466571"/>
                <a:gd name="connsiteX1746" fmla="*/ 340806 w 1178159"/>
                <a:gd name="connsiteY1746" fmla="*/ 350418 h 466571"/>
                <a:gd name="connsiteX1747" fmla="*/ 342761 w 1178159"/>
                <a:gd name="connsiteY1747" fmla="*/ 352535 h 466571"/>
                <a:gd name="connsiteX1748" fmla="*/ 351558 w 1178159"/>
                <a:gd name="connsiteY1748" fmla="*/ 356445 h 466571"/>
                <a:gd name="connsiteX1749" fmla="*/ 367034 w 1178159"/>
                <a:gd name="connsiteY1749" fmla="*/ 356119 h 466571"/>
                <a:gd name="connsiteX1750" fmla="*/ 380719 w 1178159"/>
                <a:gd name="connsiteY1750" fmla="*/ 358400 h 466571"/>
                <a:gd name="connsiteX1751" fmla="*/ 392285 w 1178159"/>
                <a:gd name="connsiteY1751" fmla="*/ 356445 h 466571"/>
                <a:gd name="connsiteX1752" fmla="*/ 395380 w 1178159"/>
                <a:gd name="connsiteY1752" fmla="*/ 352373 h 466571"/>
                <a:gd name="connsiteX1753" fmla="*/ 396846 w 1178159"/>
                <a:gd name="connsiteY1753" fmla="*/ 342272 h 466571"/>
                <a:gd name="connsiteX1754" fmla="*/ 401571 w 1178159"/>
                <a:gd name="connsiteY1754" fmla="*/ 341946 h 466571"/>
                <a:gd name="connsiteX1755" fmla="*/ 407925 w 1178159"/>
                <a:gd name="connsiteY1755" fmla="*/ 348626 h 466571"/>
                <a:gd name="connsiteX1756" fmla="*/ 411997 w 1178159"/>
                <a:gd name="connsiteY1756" fmla="*/ 348626 h 466571"/>
                <a:gd name="connsiteX1757" fmla="*/ 416559 w 1178159"/>
                <a:gd name="connsiteY1757" fmla="*/ 347648 h 466571"/>
                <a:gd name="connsiteX1758" fmla="*/ 420143 w 1178159"/>
                <a:gd name="connsiteY1758" fmla="*/ 349766 h 466571"/>
                <a:gd name="connsiteX1759" fmla="*/ 425519 w 1178159"/>
                <a:gd name="connsiteY1759" fmla="*/ 354490 h 466571"/>
                <a:gd name="connsiteX1760" fmla="*/ 429917 w 1178159"/>
                <a:gd name="connsiteY1760" fmla="*/ 354165 h 466571"/>
                <a:gd name="connsiteX1761" fmla="*/ 433501 w 1178159"/>
                <a:gd name="connsiteY1761" fmla="*/ 358074 h 466571"/>
                <a:gd name="connsiteX1762" fmla="*/ 436759 w 1178159"/>
                <a:gd name="connsiteY1762" fmla="*/ 356445 h 466571"/>
                <a:gd name="connsiteX1763" fmla="*/ 443602 w 1178159"/>
                <a:gd name="connsiteY1763" fmla="*/ 356445 h 466571"/>
                <a:gd name="connsiteX1764" fmla="*/ 443927 w 1178159"/>
                <a:gd name="connsiteY1764" fmla="*/ 363450 h 466571"/>
                <a:gd name="connsiteX1765" fmla="*/ 448815 w 1178159"/>
                <a:gd name="connsiteY1765" fmla="*/ 369967 h 466571"/>
                <a:gd name="connsiteX1766" fmla="*/ 449141 w 1178159"/>
                <a:gd name="connsiteY1766" fmla="*/ 373714 h 466571"/>
                <a:gd name="connsiteX1767" fmla="*/ 452562 w 1178159"/>
                <a:gd name="connsiteY1767" fmla="*/ 377624 h 466571"/>
                <a:gd name="connsiteX1768" fmla="*/ 458264 w 1178159"/>
                <a:gd name="connsiteY1768" fmla="*/ 380393 h 466571"/>
                <a:gd name="connsiteX1769" fmla="*/ 463802 w 1178159"/>
                <a:gd name="connsiteY1769" fmla="*/ 378438 h 466571"/>
                <a:gd name="connsiteX1770" fmla="*/ 467712 w 1178159"/>
                <a:gd name="connsiteY1770" fmla="*/ 380882 h 466571"/>
                <a:gd name="connsiteX1771" fmla="*/ 471948 w 1178159"/>
                <a:gd name="connsiteY1771" fmla="*/ 380882 h 466571"/>
                <a:gd name="connsiteX1772" fmla="*/ 475206 w 1178159"/>
                <a:gd name="connsiteY1772" fmla="*/ 378601 h 466571"/>
                <a:gd name="connsiteX1773" fmla="*/ 479442 w 1178159"/>
                <a:gd name="connsiteY1773" fmla="*/ 378601 h 466571"/>
                <a:gd name="connsiteX1774" fmla="*/ 480582 w 1178159"/>
                <a:gd name="connsiteY1774" fmla="*/ 380230 h 466571"/>
                <a:gd name="connsiteX1775" fmla="*/ 484980 w 1178159"/>
                <a:gd name="connsiteY1775" fmla="*/ 380882 h 466571"/>
                <a:gd name="connsiteX1776" fmla="*/ 487913 w 1178159"/>
                <a:gd name="connsiteY1776" fmla="*/ 383977 h 466571"/>
                <a:gd name="connsiteX1777" fmla="*/ 486284 w 1178159"/>
                <a:gd name="connsiteY1777" fmla="*/ 395218 h 466571"/>
                <a:gd name="connsiteX1778" fmla="*/ 483677 w 1178159"/>
                <a:gd name="connsiteY1778" fmla="*/ 398476 h 466571"/>
                <a:gd name="connsiteX1779" fmla="*/ 486610 w 1178159"/>
                <a:gd name="connsiteY1779" fmla="*/ 400431 h 466571"/>
                <a:gd name="connsiteX1780" fmla="*/ 488076 w 1178159"/>
                <a:gd name="connsiteY1780" fmla="*/ 408087 h 466571"/>
                <a:gd name="connsiteX1781" fmla="*/ 484980 w 1178159"/>
                <a:gd name="connsiteY1781" fmla="*/ 409065 h 466571"/>
                <a:gd name="connsiteX1782" fmla="*/ 481234 w 1178159"/>
                <a:gd name="connsiteY1782" fmla="*/ 405155 h 466571"/>
                <a:gd name="connsiteX1783" fmla="*/ 475532 w 1178159"/>
                <a:gd name="connsiteY1783" fmla="*/ 405807 h 466571"/>
                <a:gd name="connsiteX1784" fmla="*/ 469016 w 1178159"/>
                <a:gd name="connsiteY1784" fmla="*/ 400431 h 466571"/>
                <a:gd name="connsiteX1785" fmla="*/ 463802 w 1178159"/>
                <a:gd name="connsiteY1785" fmla="*/ 399127 h 466571"/>
                <a:gd name="connsiteX1786" fmla="*/ 458915 w 1178159"/>
                <a:gd name="connsiteY1786" fmla="*/ 393914 h 466571"/>
                <a:gd name="connsiteX1787" fmla="*/ 455005 w 1178159"/>
                <a:gd name="connsiteY1787" fmla="*/ 393914 h 466571"/>
                <a:gd name="connsiteX1788" fmla="*/ 447675 w 1178159"/>
                <a:gd name="connsiteY1788" fmla="*/ 397661 h 466571"/>
                <a:gd name="connsiteX1789" fmla="*/ 440018 w 1178159"/>
                <a:gd name="connsiteY1789" fmla="*/ 397987 h 466571"/>
                <a:gd name="connsiteX1790" fmla="*/ 433501 w 1178159"/>
                <a:gd name="connsiteY1790" fmla="*/ 394240 h 466571"/>
                <a:gd name="connsiteX1791" fmla="*/ 426333 w 1178159"/>
                <a:gd name="connsiteY1791" fmla="*/ 392774 h 466571"/>
                <a:gd name="connsiteX1792" fmla="*/ 420468 w 1178159"/>
                <a:gd name="connsiteY1792" fmla="*/ 397824 h 466571"/>
                <a:gd name="connsiteX1793" fmla="*/ 413952 w 1178159"/>
                <a:gd name="connsiteY1793" fmla="*/ 393263 h 466571"/>
                <a:gd name="connsiteX1794" fmla="*/ 405155 w 1178159"/>
                <a:gd name="connsiteY1794" fmla="*/ 392774 h 466571"/>
                <a:gd name="connsiteX1795" fmla="*/ 399779 w 1178159"/>
                <a:gd name="connsiteY1795" fmla="*/ 395706 h 466571"/>
                <a:gd name="connsiteX1796" fmla="*/ 386257 w 1178159"/>
                <a:gd name="connsiteY1796" fmla="*/ 390493 h 466571"/>
                <a:gd name="connsiteX1797" fmla="*/ 373877 w 1178159"/>
                <a:gd name="connsiteY1797" fmla="*/ 382837 h 466571"/>
                <a:gd name="connsiteX1798" fmla="*/ 365731 w 1178159"/>
                <a:gd name="connsiteY1798" fmla="*/ 382837 h 466571"/>
                <a:gd name="connsiteX1799" fmla="*/ 359703 w 1178159"/>
                <a:gd name="connsiteY1799" fmla="*/ 378764 h 466571"/>
                <a:gd name="connsiteX1800" fmla="*/ 355957 w 1178159"/>
                <a:gd name="connsiteY1800" fmla="*/ 378764 h 466571"/>
                <a:gd name="connsiteX1801" fmla="*/ 352861 w 1178159"/>
                <a:gd name="connsiteY1801" fmla="*/ 382674 h 466571"/>
                <a:gd name="connsiteX1802" fmla="*/ 348137 w 1178159"/>
                <a:gd name="connsiteY1802" fmla="*/ 381696 h 466571"/>
                <a:gd name="connsiteX1803" fmla="*/ 344227 w 1178159"/>
                <a:gd name="connsiteY1803" fmla="*/ 377624 h 466571"/>
                <a:gd name="connsiteX1804" fmla="*/ 340643 w 1178159"/>
                <a:gd name="connsiteY1804" fmla="*/ 377949 h 466571"/>
                <a:gd name="connsiteX1805" fmla="*/ 336082 w 1178159"/>
                <a:gd name="connsiteY1805" fmla="*/ 383325 h 466571"/>
                <a:gd name="connsiteX1806" fmla="*/ 324678 w 1178159"/>
                <a:gd name="connsiteY1806" fmla="*/ 380067 h 466571"/>
                <a:gd name="connsiteX1807" fmla="*/ 316695 w 1178159"/>
                <a:gd name="connsiteY1807" fmla="*/ 374040 h 466571"/>
                <a:gd name="connsiteX1808" fmla="*/ 308876 w 1178159"/>
                <a:gd name="connsiteY1808" fmla="*/ 373551 h 466571"/>
                <a:gd name="connsiteX1809" fmla="*/ 305292 w 1178159"/>
                <a:gd name="connsiteY1809" fmla="*/ 371759 h 466571"/>
                <a:gd name="connsiteX1810" fmla="*/ 300568 w 1178159"/>
                <a:gd name="connsiteY1810" fmla="*/ 374528 h 466571"/>
                <a:gd name="connsiteX1811" fmla="*/ 294540 w 1178159"/>
                <a:gd name="connsiteY1811" fmla="*/ 372410 h 466571"/>
                <a:gd name="connsiteX1812" fmla="*/ 287860 w 1178159"/>
                <a:gd name="connsiteY1812" fmla="*/ 371270 h 466571"/>
                <a:gd name="connsiteX1813" fmla="*/ 285580 w 1178159"/>
                <a:gd name="connsiteY1813" fmla="*/ 368989 h 466571"/>
                <a:gd name="connsiteX1814" fmla="*/ 289001 w 1178159"/>
                <a:gd name="connsiteY1814" fmla="*/ 362636 h 466571"/>
                <a:gd name="connsiteX1815" fmla="*/ 291282 w 1178159"/>
                <a:gd name="connsiteY1815" fmla="*/ 360518 h 466571"/>
                <a:gd name="connsiteX1816" fmla="*/ 287698 w 1178159"/>
                <a:gd name="connsiteY1816" fmla="*/ 360518 h 466571"/>
                <a:gd name="connsiteX1817" fmla="*/ 284602 w 1178159"/>
                <a:gd name="connsiteY1817" fmla="*/ 361984 h 466571"/>
                <a:gd name="connsiteX1818" fmla="*/ 281181 w 1178159"/>
                <a:gd name="connsiteY1818" fmla="*/ 359866 h 466571"/>
                <a:gd name="connsiteX1819" fmla="*/ 278900 w 1178159"/>
                <a:gd name="connsiteY1819" fmla="*/ 355468 h 466571"/>
                <a:gd name="connsiteX1820" fmla="*/ 273362 w 1178159"/>
                <a:gd name="connsiteY1820" fmla="*/ 357749 h 466571"/>
                <a:gd name="connsiteX1821" fmla="*/ 263098 w 1178159"/>
                <a:gd name="connsiteY1821" fmla="*/ 357749 h 466571"/>
                <a:gd name="connsiteX1822" fmla="*/ 259840 w 1178159"/>
                <a:gd name="connsiteY1822" fmla="*/ 355631 h 466571"/>
                <a:gd name="connsiteX1823" fmla="*/ 259840 w 1178159"/>
                <a:gd name="connsiteY1823" fmla="*/ 352698 h 466571"/>
                <a:gd name="connsiteX1824" fmla="*/ 261469 w 1178159"/>
                <a:gd name="connsiteY1824" fmla="*/ 352373 h 466571"/>
                <a:gd name="connsiteX1825" fmla="*/ 261469 w 1178159"/>
                <a:gd name="connsiteY1825" fmla="*/ 352373 h 466571"/>
                <a:gd name="connsiteX1826" fmla="*/ 328099 w 1178159"/>
                <a:gd name="connsiteY1826" fmla="*/ 64512 h 466571"/>
                <a:gd name="connsiteX1827" fmla="*/ 333149 w 1178159"/>
                <a:gd name="connsiteY1827" fmla="*/ 69399 h 466571"/>
                <a:gd name="connsiteX1828" fmla="*/ 336082 w 1178159"/>
                <a:gd name="connsiteY1828" fmla="*/ 69399 h 466571"/>
                <a:gd name="connsiteX1829" fmla="*/ 334941 w 1178159"/>
                <a:gd name="connsiteY1829" fmla="*/ 73309 h 466571"/>
                <a:gd name="connsiteX1830" fmla="*/ 338688 w 1178159"/>
                <a:gd name="connsiteY1830" fmla="*/ 73309 h 466571"/>
                <a:gd name="connsiteX1831" fmla="*/ 340806 w 1178159"/>
                <a:gd name="connsiteY1831" fmla="*/ 66141 h 466571"/>
                <a:gd name="connsiteX1832" fmla="*/ 334941 w 1178159"/>
                <a:gd name="connsiteY1832" fmla="*/ 58322 h 466571"/>
                <a:gd name="connsiteX1833" fmla="*/ 330543 w 1178159"/>
                <a:gd name="connsiteY1833" fmla="*/ 60928 h 466571"/>
                <a:gd name="connsiteX1834" fmla="*/ 327936 w 1178159"/>
                <a:gd name="connsiteY1834" fmla="*/ 64512 h 466571"/>
                <a:gd name="connsiteX1835" fmla="*/ 327936 w 1178159"/>
                <a:gd name="connsiteY1835" fmla="*/ 64512 h 466571"/>
                <a:gd name="connsiteX1836" fmla="*/ 285580 w 1178159"/>
                <a:gd name="connsiteY1836" fmla="*/ 95791 h 466571"/>
                <a:gd name="connsiteX1837" fmla="*/ 285580 w 1178159"/>
                <a:gd name="connsiteY1837" fmla="*/ 99863 h 466571"/>
                <a:gd name="connsiteX1838" fmla="*/ 288186 w 1178159"/>
                <a:gd name="connsiteY1838" fmla="*/ 98397 h 466571"/>
                <a:gd name="connsiteX1839" fmla="*/ 285580 w 1178159"/>
                <a:gd name="connsiteY1839" fmla="*/ 95628 h 466571"/>
                <a:gd name="connsiteX1840" fmla="*/ 285580 w 1178159"/>
                <a:gd name="connsiteY1840" fmla="*/ 95628 h 466571"/>
                <a:gd name="connsiteX1841" fmla="*/ 285417 w 1178159"/>
                <a:gd name="connsiteY1841" fmla="*/ 85039 h 466571"/>
                <a:gd name="connsiteX1842" fmla="*/ 288186 w 1178159"/>
                <a:gd name="connsiteY1842" fmla="*/ 82106 h 466571"/>
                <a:gd name="connsiteX1843" fmla="*/ 285091 w 1178159"/>
                <a:gd name="connsiteY1843" fmla="*/ 80640 h 466571"/>
                <a:gd name="connsiteX1844" fmla="*/ 285417 w 1178159"/>
                <a:gd name="connsiteY1844" fmla="*/ 85039 h 466571"/>
                <a:gd name="connsiteX1845" fmla="*/ 285417 w 1178159"/>
                <a:gd name="connsiteY1845" fmla="*/ 85039 h 466571"/>
                <a:gd name="connsiteX1846" fmla="*/ 286068 w 1178159"/>
                <a:gd name="connsiteY1846" fmla="*/ 87482 h 466571"/>
                <a:gd name="connsiteX1847" fmla="*/ 284439 w 1178159"/>
                <a:gd name="connsiteY1847" fmla="*/ 90577 h 466571"/>
                <a:gd name="connsiteX1848" fmla="*/ 287860 w 1178159"/>
                <a:gd name="connsiteY1848" fmla="*/ 91066 h 466571"/>
                <a:gd name="connsiteX1849" fmla="*/ 286068 w 1178159"/>
                <a:gd name="connsiteY1849" fmla="*/ 87482 h 466571"/>
                <a:gd name="connsiteX1850" fmla="*/ 286068 w 1178159"/>
                <a:gd name="connsiteY1850" fmla="*/ 87482 h 466571"/>
                <a:gd name="connsiteX1851" fmla="*/ 270103 w 1178159"/>
                <a:gd name="connsiteY1851" fmla="*/ 92207 h 466571"/>
                <a:gd name="connsiteX1852" fmla="*/ 269614 w 1178159"/>
                <a:gd name="connsiteY1852" fmla="*/ 96605 h 466571"/>
                <a:gd name="connsiteX1853" fmla="*/ 272384 w 1178159"/>
                <a:gd name="connsiteY1853" fmla="*/ 98397 h 466571"/>
                <a:gd name="connsiteX1854" fmla="*/ 277434 w 1178159"/>
                <a:gd name="connsiteY1854" fmla="*/ 93021 h 466571"/>
                <a:gd name="connsiteX1855" fmla="*/ 273362 w 1178159"/>
                <a:gd name="connsiteY1855" fmla="*/ 91392 h 466571"/>
                <a:gd name="connsiteX1856" fmla="*/ 270266 w 1178159"/>
                <a:gd name="connsiteY1856" fmla="*/ 92207 h 466571"/>
                <a:gd name="connsiteX1857" fmla="*/ 270266 w 1178159"/>
                <a:gd name="connsiteY1857" fmla="*/ 92207 h 466571"/>
                <a:gd name="connsiteX1858" fmla="*/ 226281 w 1178159"/>
                <a:gd name="connsiteY1858" fmla="*/ 148573 h 466571"/>
                <a:gd name="connsiteX1859" fmla="*/ 231657 w 1178159"/>
                <a:gd name="connsiteY1859" fmla="*/ 150365 h 466571"/>
                <a:gd name="connsiteX1860" fmla="*/ 234100 w 1178159"/>
                <a:gd name="connsiteY1860" fmla="*/ 145315 h 466571"/>
                <a:gd name="connsiteX1861" fmla="*/ 233123 w 1178159"/>
                <a:gd name="connsiteY1861" fmla="*/ 141731 h 466571"/>
                <a:gd name="connsiteX1862" fmla="*/ 226281 w 1178159"/>
                <a:gd name="connsiteY1862" fmla="*/ 148573 h 466571"/>
                <a:gd name="connsiteX1863" fmla="*/ 226281 w 1178159"/>
                <a:gd name="connsiteY1863" fmla="*/ 148573 h 466571"/>
                <a:gd name="connsiteX1864" fmla="*/ 238825 w 1178159"/>
                <a:gd name="connsiteY1864" fmla="*/ 143686 h 466571"/>
                <a:gd name="connsiteX1865" fmla="*/ 236544 w 1178159"/>
                <a:gd name="connsiteY1865" fmla="*/ 148899 h 466571"/>
                <a:gd name="connsiteX1866" fmla="*/ 241920 w 1178159"/>
                <a:gd name="connsiteY1866" fmla="*/ 150365 h 466571"/>
                <a:gd name="connsiteX1867" fmla="*/ 243549 w 1178159"/>
                <a:gd name="connsiteY1867" fmla="*/ 156719 h 466571"/>
                <a:gd name="connsiteX1868" fmla="*/ 246807 w 1178159"/>
                <a:gd name="connsiteY1868" fmla="*/ 155578 h 466571"/>
                <a:gd name="connsiteX1869" fmla="*/ 248436 w 1178159"/>
                <a:gd name="connsiteY1869" fmla="*/ 147759 h 466571"/>
                <a:gd name="connsiteX1870" fmla="*/ 245993 w 1178159"/>
                <a:gd name="connsiteY1870" fmla="*/ 145152 h 466571"/>
                <a:gd name="connsiteX1871" fmla="*/ 247948 w 1178159"/>
                <a:gd name="connsiteY1871" fmla="*/ 141242 h 466571"/>
                <a:gd name="connsiteX1872" fmla="*/ 245178 w 1178159"/>
                <a:gd name="connsiteY1872" fmla="*/ 141894 h 466571"/>
                <a:gd name="connsiteX1873" fmla="*/ 242735 w 1178159"/>
                <a:gd name="connsiteY1873" fmla="*/ 144175 h 466571"/>
                <a:gd name="connsiteX1874" fmla="*/ 238825 w 1178159"/>
                <a:gd name="connsiteY1874" fmla="*/ 143849 h 466571"/>
                <a:gd name="connsiteX1875" fmla="*/ 238825 w 1178159"/>
                <a:gd name="connsiteY1875" fmla="*/ 143849 h 466571"/>
                <a:gd name="connsiteX1876" fmla="*/ 352046 w 1178159"/>
                <a:gd name="connsiteY1876" fmla="*/ 220253 h 466571"/>
                <a:gd name="connsiteX1877" fmla="*/ 352373 w 1178159"/>
                <a:gd name="connsiteY1877" fmla="*/ 222860 h 466571"/>
                <a:gd name="connsiteX1878" fmla="*/ 356282 w 1178159"/>
                <a:gd name="connsiteY1878" fmla="*/ 224652 h 466571"/>
                <a:gd name="connsiteX1879" fmla="*/ 357911 w 1178159"/>
                <a:gd name="connsiteY1879" fmla="*/ 222534 h 466571"/>
                <a:gd name="connsiteX1880" fmla="*/ 355794 w 1178159"/>
                <a:gd name="connsiteY1880" fmla="*/ 220253 h 466571"/>
                <a:gd name="connsiteX1881" fmla="*/ 352046 w 1178159"/>
                <a:gd name="connsiteY1881" fmla="*/ 220253 h 466571"/>
                <a:gd name="connsiteX1882" fmla="*/ 318650 w 1178159"/>
                <a:gd name="connsiteY1882" fmla="*/ 244038 h 466571"/>
                <a:gd name="connsiteX1883" fmla="*/ 320442 w 1178159"/>
                <a:gd name="connsiteY1883" fmla="*/ 248436 h 466571"/>
                <a:gd name="connsiteX1884" fmla="*/ 320116 w 1178159"/>
                <a:gd name="connsiteY1884" fmla="*/ 250880 h 466571"/>
                <a:gd name="connsiteX1885" fmla="*/ 314903 w 1178159"/>
                <a:gd name="connsiteY1885" fmla="*/ 252184 h 466571"/>
                <a:gd name="connsiteX1886" fmla="*/ 313111 w 1178159"/>
                <a:gd name="connsiteY1886" fmla="*/ 254790 h 466571"/>
                <a:gd name="connsiteX1887" fmla="*/ 317184 w 1178159"/>
                <a:gd name="connsiteY1887" fmla="*/ 254790 h 466571"/>
                <a:gd name="connsiteX1888" fmla="*/ 317184 w 1178159"/>
                <a:gd name="connsiteY1888" fmla="*/ 253324 h 466571"/>
                <a:gd name="connsiteX1889" fmla="*/ 320605 w 1178159"/>
                <a:gd name="connsiteY1889" fmla="*/ 251532 h 466571"/>
                <a:gd name="connsiteX1890" fmla="*/ 320605 w 1178159"/>
                <a:gd name="connsiteY1890" fmla="*/ 258863 h 466571"/>
                <a:gd name="connsiteX1891" fmla="*/ 324352 w 1178159"/>
                <a:gd name="connsiteY1891" fmla="*/ 262773 h 466571"/>
                <a:gd name="connsiteX1892" fmla="*/ 328751 w 1178159"/>
                <a:gd name="connsiteY1892" fmla="*/ 256093 h 466571"/>
                <a:gd name="connsiteX1893" fmla="*/ 331357 w 1178159"/>
                <a:gd name="connsiteY1893" fmla="*/ 260166 h 466571"/>
                <a:gd name="connsiteX1894" fmla="*/ 335267 w 1178159"/>
                <a:gd name="connsiteY1894" fmla="*/ 260981 h 466571"/>
                <a:gd name="connsiteX1895" fmla="*/ 336733 w 1178159"/>
                <a:gd name="connsiteY1895" fmla="*/ 257397 h 466571"/>
                <a:gd name="connsiteX1896" fmla="*/ 340643 w 1178159"/>
                <a:gd name="connsiteY1896" fmla="*/ 255604 h 466571"/>
                <a:gd name="connsiteX1897" fmla="*/ 338362 w 1178159"/>
                <a:gd name="connsiteY1897" fmla="*/ 250554 h 466571"/>
                <a:gd name="connsiteX1898" fmla="*/ 329891 w 1178159"/>
                <a:gd name="connsiteY1898" fmla="*/ 245015 h 466571"/>
                <a:gd name="connsiteX1899" fmla="*/ 321257 w 1178159"/>
                <a:gd name="connsiteY1899" fmla="*/ 243386 h 466571"/>
                <a:gd name="connsiteX1900" fmla="*/ 318650 w 1178159"/>
                <a:gd name="connsiteY1900" fmla="*/ 244201 h 466571"/>
                <a:gd name="connsiteX1901" fmla="*/ 318650 w 1178159"/>
                <a:gd name="connsiteY1901" fmla="*/ 244201 h 466571"/>
                <a:gd name="connsiteX1902" fmla="*/ 302034 w 1178159"/>
                <a:gd name="connsiteY1902" fmla="*/ 253812 h 466571"/>
                <a:gd name="connsiteX1903" fmla="*/ 301382 w 1178159"/>
                <a:gd name="connsiteY1903" fmla="*/ 258211 h 466571"/>
                <a:gd name="connsiteX1904" fmla="*/ 304477 w 1178159"/>
                <a:gd name="connsiteY1904" fmla="*/ 255442 h 466571"/>
                <a:gd name="connsiteX1905" fmla="*/ 302196 w 1178159"/>
                <a:gd name="connsiteY1905" fmla="*/ 253812 h 466571"/>
                <a:gd name="connsiteX1906" fmla="*/ 302196 w 1178159"/>
                <a:gd name="connsiteY1906" fmla="*/ 253812 h 466571"/>
                <a:gd name="connsiteX1907" fmla="*/ 265379 w 1178159"/>
                <a:gd name="connsiteY1907" fmla="*/ 221068 h 466571"/>
                <a:gd name="connsiteX1908" fmla="*/ 265379 w 1178159"/>
                <a:gd name="connsiteY1908" fmla="*/ 225141 h 466571"/>
                <a:gd name="connsiteX1909" fmla="*/ 260492 w 1178159"/>
                <a:gd name="connsiteY1909" fmla="*/ 228887 h 466571"/>
                <a:gd name="connsiteX1910" fmla="*/ 263587 w 1178159"/>
                <a:gd name="connsiteY1910" fmla="*/ 233123 h 466571"/>
                <a:gd name="connsiteX1911" fmla="*/ 272873 w 1178159"/>
                <a:gd name="connsiteY1911" fmla="*/ 233775 h 466571"/>
                <a:gd name="connsiteX1912" fmla="*/ 275316 w 1178159"/>
                <a:gd name="connsiteY1912" fmla="*/ 236218 h 466571"/>
                <a:gd name="connsiteX1913" fmla="*/ 275316 w 1178159"/>
                <a:gd name="connsiteY1913" fmla="*/ 241268 h 466571"/>
                <a:gd name="connsiteX1914" fmla="*/ 278412 w 1178159"/>
                <a:gd name="connsiteY1914" fmla="*/ 243060 h 466571"/>
                <a:gd name="connsiteX1915" fmla="*/ 280041 w 1178159"/>
                <a:gd name="connsiteY1915" fmla="*/ 249903 h 466571"/>
                <a:gd name="connsiteX1916" fmla="*/ 285743 w 1178159"/>
                <a:gd name="connsiteY1916" fmla="*/ 253650 h 466571"/>
                <a:gd name="connsiteX1917" fmla="*/ 290793 w 1178159"/>
                <a:gd name="connsiteY1917" fmla="*/ 252998 h 466571"/>
                <a:gd name="connsiteX1918" fmla="*/ 292422 w 1178159"/>
                <a:gd name="connsiteY1918" fmla="*/ 258048 h 466571"/>
                <a:gd name="connsiteX1919" fmla="*/ 294866 w 1178159"/>
                <a:gd name="connsiteY1919" fmla="*/ 260003 h 466571"/>
                <a:gd name="connsiteX1920" fmla="*/ 297472 w 1178159"/>
                <a:gd name="connsiteY1920" fmla="*/ 256256 h 466571"/>
                <a:gd name="connsiteX1921" fmla="*/ 295680 w 1178159"/>
                <a:gd name="connsiteY1921" fmla="*/ 251043 h 466571"/>
                <a:gd name="connsiteX1922" fmla="*/ 298287 w 1178159"/>
                <a:gd name="connsiteY1922" fmla="*/ 244690 h 466571"/>
                <a:gd name="connsiteX1923" fmla="*/ 289816 w 1178159"/>
                <a:gd name="connsiteY1923" fmla="*/ 242735 h 466571"/>
                <a:gd name="connsiteX1924" fmla="*/ 284439 w 1178159"/>
                <a:gd name="connsiteY1924" fmla="*/ 236707 h 466571"/>
                <a:gd name="connsiteX1925" fmla="*/ 282484 w 1178159"/>
                <a:gd name="connsiteY1925" fmla="*/ 225141 h 466571"/>
                <a:gd name="connsiteX1926" fmla="*/ 280530 w 1178159"/>
                <a:gd name="connsiteY1926" fmla="*/ 223349 h 466571"/>
                <a:gd name="connsiteX1927" fmla="*/ 279878 w 1178159"/>
                <a:gd name="connsiteY1927" fmla="*/ 218950 h 466571"/>
                <a:gd name="connsiteX1928" fmla="*/ 276131 w 1178159"/>
                <a:gd name="connsiteY1928" fmla="*/ 217158 h 466571"/>
                <a:gd name="connsiteX1929" fmla="*/ 272873 w 1178159"/>
                <a:gd name="connsiteY1929" fmla="*/ 217158 h 466571"/>
                <a:gd name="connsiteX1930" fmla="*/ 273362 w 1178159"/>
                <a:gd name="connsiteY1930" fmla="*/ 221719 h 466571"/>
                <a:gd name="connsiteX1931" fmla="*/ 275153 w 1178159"/>
                <a:gd name="connsiteY1931" fmla="*/ 224977 h 466571"/>
                <a:gd name="connsiteX1932" fmla="*/ 270266 w 1178159"/>
                <a:gd name="connsiteY1932" fmla="*/ 223349 h 466571"/>
                <a:gd name="connsiteX1933" fmla="*/ 267008 w 1178159"/>
                <a:gd name="connsiteY1933" fmla="*/ 219765 h 466571"/>
                <a:gd name="connsiteX1934" fmla="*/ 265379 w 1178159"/>
                <a:gd name="connsiteY1934" fmla="*/ 220742 h 466571"/>
                <a:gd name="connsiteX1935" fmla="*/ 265379 w 1178159"/>
                <a:gd name="connsiteY1935" fmla="*/ 220742 h 466571"/>
                <a:gd name="connsiteX1936" fmla="*/ 240780 w 1178159"/>
                <a:gd name="connsiteY1936" fmla="*/ 189626 h 466571"/>
                <a:gd name="connsiteX1937" fmla="*/ 238173 w 1178159"/>
                <a:gd name="connsiteY1937" fmla="*/ 193047 h 466571"/>
                <a:gd name="connsiteX1938" fmla="*/ 242246 w 1178159"/>
                <a:gd name="connsiteY1938" fmla="*/ 196957 h 466571"/>
                <a:gd name="connsiteX1939" fmla="*/ 246644 w 1178159"/>
                <a:gd name="connsiteY1939" fmla="*/ 194351 h 466571"/>
                <a:gd name="connsiteX1940" fmla="*/ 245016 w 1178159"/>
                <a:gd name="connsiteY1940" fmla="*/ 189626 h 466571"/>
                <a:gd name="connsiteX1941" fmla="*/ 240617 w 1178159"/>
                <a:gd name="connsiteY1941" fmla="*/ 189626 h 466571"/>
                <a:gd name="connsiteX1942" fmla="*/ 244689 w 1178159"/>
                <a:gd name="connsiteY1942" fmla="*/ 178549 h 466571"/>
                <a:gd name="connsiteX1943" fmla="*/ 241920 w 1178159"/>
                <a:gd name="connsiteY1943" fmla="*/ 183599 h 466571"/>
                <a:gd name="connsiteX1944" fmla="*/ 244527 w 1178159"/>
                <a:gd name="connsiteY1944" fmla="*/ 186694 h 466571"/>
                <a:gd name="connsiteX1945" fmla="*/ 248600 w 1178159"/>
                <a:gd name="connsiteY1945" fmla="*/ 185228 h 466571"/>
                <a:gd name="connsiteX1946" fmla="*/ 254464 w 1178159"/>
                <a:gd name="connsiteY1946" fmla="*/ 188323 h 466571"/>
                <a:gd name="connsiteX1947" fmla="*/ 256419 w 1178159"/>
                <a:gd name="connsiteY1947" fmla="*/ 186694 h 466571"/>
                <a:gd name="connsiteX1948" fmla="*/ 248600 w 1178159"/>
                <a:gd name="connsiteY1948" fmla="*/ 179526 h 466571"/>
                <a:gd name="connsiteX1949" fmla="*/ 244527 w 1178159"/>
                <a:gd name="connsiteY1949" fmla="*/ 178549 h 466571"/>
                <a:gd name="connsiteX1950" fmla="*/ 244527 w 1178159"/>
                <a:gd name="connsiteY1950" fmla="*/ 178549 h 466571"/>
                <a:gd name="connsiteX1951" fmla="*/ 193699 w 1178159"/>
                <a:gd name="connsiteY1951" fmla="*/ 144338 h 466571"/>
                <a:gd name="connsiteX1952" fmla="*/ 189952 w 1178159"/>
                <a:gd name="connsiteY1952" fmla="*/ 150691 h 466571"/>
                <a:gd name="connsiteX1953" fmla="*/ 190930 w 1178159"/>
                <a:gd name="connsiteY1953" fmla="*/ 155415 h 466571"/>
                <a:gd name="connsiteX1954" fmla="*/ 199727 w 1178159"/>
                <a:gd name="connsiteY1954" fmla="*/ 156393 h 466571"/>
                <a:gd name="connsiteX1955" fmla="*/ 205754 w 1178159"/>
                <a:gd name="connsiteY1955" fmla="*/ 159325 h 466571"/>
                <a:gd name="connsiteX1956" fmla="*/ 207709 w 1178159"/>
                <a:gd name="connsiteY1956" fmla="*/ 157696 h 466571"/>
                <a:gd name="connsiteX1957" fmla="*/ 206080 w 1178159"/>
                <a:gd name="connsiteY1957" fmla="*/ 150365 h 466571"/>
                <a:gd name="connsiteX1958" fmla="*/ 200541 w 1178159"/>
                <a:gd name="connsiteY1958" fmla="*/ 145478 h 466571"/>
                <a:gd name="connsiteX1959" fmla="*/ 194025 w 1178159"/>
                <a:gd name="connsiteY1959" fmla="*/ 144175 h 466571"/>
                <a:gd name="connsiteX1960" fmla="*/ 194025 w 1178159"/>
                <a:gd name="connsiteY1960" fmla="*/ 144175 h 466571"/>
                <a:gd name="connsiteX1961" fmla="*/ 179200 w 1178159"/>
                <a:gd name="connsiteY1961" fmla="*/ 136355 h 466571"/>
                <a:gd name="connsiteX1962" fmla="*/ 181969 w 1178159"/>
                <a:gd name="connsiteY1962" fmla="*/ 136355 h 466571"/>
                <a:gd name="connsiteX1963" fmla="*/ 188649 w 1178159"/>
                <a:gd name="connsiteY1963" fmla="*/ 138636 h 466571"/>
                <a:gd name="connsiteX1964" fmla="*/ 191418 w 1178159"/>
                <a:gd name="connsiteY1964" fmla="*/ 142546 h 466571"/>
                <a:gd name="connsiteX1965" fmla="*/ 188160 w 1178159"/>
                <a:gd name="connsiteY1965" fmla="*/ 148084 h 466571"/>
                <a:gd name="connsiteX1966" fmla="*/ 185716 w 1178159"/>
                <a:gd name="connsiteY1966" fmla="*/ 145804 h 466571"/>
                <a:gd name="connsiteX1967" fmla="*/ 179363 w 1178159"/>
                <a:gd name="connsiteY1967" fmla="*/ 136355 h 466571"/>
                <a:gd name="connsiteX1968" fmla="*/ 179363 w 1178159"/>
                <a:gd name="connsiteY1968" fmla="*/ 136355 h 466571"/>
                <a:gd name="connsiteX1969" fmla="*/ 161606 w 1178159"/>
                <a:gd name="connsiteY1969" fmla="*/ 123974 h 466571"/>
                <a:gd name="connsiteX1970" fmla="*/ 164375 w 1178159"/>
                <a:gd name="connsiteY1970" fmla="*/ 131631 h 466571"/>
                <a:gd name="connsiteX1971" fmla="*/ 168937 w 1178159"/>
                <a:gd name="connsiteY1971" fmla="*/ 130979 h 466571"/>
                <a:gd name="connsiteX1972" fmla="*/ 173498 w 1178159"/>
                <a:gd name="connsiteY1972" fmla="*/ 125766 h 466571"/>
                <a:gd name="connsiteX1973" fmla="*/ 168937 w 1178159"/>
                <a:gd name="connsiteY1973" fmla="*/ 120553 h 466571"/>
                <a:gd name="connsiteX1974" fmla="*/ 165841 w 1178159"/>
                <a:gd name="connsiteY1974" fmla="*/ 123159 h 466571"/>
                <a:gd name="connsiteX1975" fmla="*/ 161443 w 1178159"/>
                <a:gd name="connsiteY1975" fmla="*/ 123974 h 466571"/>
                <a:gd name="connsiteX1976" fmla="*/ 161443 w 1178159"/>
                <a:gd name="connsiteY1976" fmla="*/ 123974 h 466571"/>
                <a:gd name="connsiteX1977" fmla="*/ 179363 w 1178159"/>
                <a:gd name="connsiteY1977" fmla="*/ 315555 h 466571"/>
                <a:gd name="connsiteX1978" fmla="*/ 185879 w 1178159"/>
                <a:gd name="connsiteY1978" fmla="*/ 320279 h 466571"/>
                <a:gd name="connsiteX1979" fmla="*/ 185879 w 1178159"/>
                <a:gd name="connsiteY1979" fmla="*/ 316695 h 466571"/>
                <a:gd name="connsiteX1980" fmla="*/ 182621 w 1178159"/>
                <a:gd name="connsiteY1980" fmla="*/ 314252 h 466571"/>
                <a:gd name="connsiteX1981" fmla="*/ 179526 w 1178159"/>
                <a:gd name="connsiteY1981" fmla="*/ 315555 h 466571"/>
                <a:gd name="connsiteX1982" fmla="*/ 179526 w 1178159"/>
                <a:gd name="connsiteY1982" fmla="*/ 315555 h 466571"/>
                <a:gd name="connsiteX1983" fmla="*/ 131957 w 1178159"/>
                <a:gd name="connsiteY1983" fmla="*/ 251206 h 466571"/>
                <a:gd name="connsiteX1984" fmla="*/ 128698 w 1178159"/>
                <a:gd name="connsiteY1984" fmla="*/ 255767 h 466571"/>
                <a:gd name="connsiteX1985" fmla="*/ 138147 w 1178159"/>
                <a:gd name="connsiteY1985" fmla="*/ 264402 h 466571"/>
                <a:gd name="connsiteX1986" fmla="*/ 137007 w 1178159"/>
                <a:gd name="connsiteY1986" fmla="*/ 259514 h 466571"/>
                <a:gd name="connsiteX1987" fmla="*/ 137332 w 1178159"/>
                <a:gd name="connsiteY1987" fmla="*/ 255279 h 466571"/>
                <a:gd name="connsiteX1988" fmla="*/ 131957 w 1178159"/>
                <a:gd name="connsiteY1988" fmla="*/ 251206 h 466571"/>
                <a:gd name="connsiteX1989" fmla="*/ 131957 w 1178159"/>
                <a:gd name="connsiteY1989" fmla="*/ 251206 h 466571"/>
                <a:gd name="connsiteX1990" fmla="*/ 124462 w 1178159"/>
                <a:gd name="connsiteY1990" fmla="*/ 246156 h 466571"/>
                <a:gd name="connsiteX1991" fmla="*/ 129024 w 1178159"/>
                <a:gd name="connsiteY1991" fmla="*/ 248111 h 466571"/>
                <a:gd name="connsiteX1992" fmla="*/ 125114 w 1178159"/>
                <a:gd name="connsiteY1992" fmla="*/ 251532 h 466571"/>
                <a:gd name="connsiteX1993" fmla="*/ 124462 w 1178159"/>
                <a:gd name="connsiteY1993" fmla="*/ 245993 h 466571"/>
                <a:gd name="connsiteX1994" fmla="*/ 124462 w 1178159"/>
                <a:gd name="connsiteY1994" fmla="*/ 245993 h 466571"/>
                <a:gd name="connsiteX1995" fmla="*/ 115014 w 1178159"/>
                <a:gd name="connsiteY1995" fmla="*/ 229865 h 466571"/>
                <a:gd name="connsiteX1996" fmla="*/ 112407 w 1178159"/>
                <a:gd name="connsiteY1996" fmla="*/ 232797 h 466571"/>
                <a:gd name="connsiteX1997" fmla="*/ 115339 w 1178159"/>
                <a:gd name="connsiteY1997" fmla="*/ 236707 h 466571"/>
                <a:gd name="connsiteX1998" fmla="*/ 121041 w 1178159"/>
                <a:gd name="connsiteY1998" fmla="*/ 238499 h 466571"/>
                <a:gd name="connsiteX1999" fmla="*/ 115014 w 1178159"/>
                <a:gd name="connsiteY1999" fmla="*/ 229865 h 466571"/>
                <a:gd name="connsiteX2000" fmla="*/ 115014 w 1178159"/>
                <a:gd name="connsiteY2000" fmla="*/ 229865 h 466571"/>
                <a:gd name="connsiteX2001" fmla="*/ 87319 w 1178159"/>
                <a:gd name="connsiteY2001" fmla="*/ 206732 h 466571"/>
                <a:gd name="connsiteX2002" fmla="*/ 87319 w 1178159"/>
                <a:gd name="connsiteY2002" fmla="*/ 210804 h 466571"/>
                <a:gd name="connsiteX2003" fmla="*/ 92858 w 1178159"/>
                <a:gd name="connsiteY2003" fmla="*/ 212759 h 466571"/>
                <a:gd name="connsiteX2004" fmla="*/ 99537 w 1178159"/>
                <a:gd name="connsiteY2004" fmla="*/ 222697 h 466571"/>
                <a:gd name="connsiteX2005" fmla="*/ 106054 w 1178159"/>
                <a:gd name="connsiteY2005" fmla="*/ 224652 h 466571"/>
                <a:gd name="connsiteX2006" fmla="*/ 106054 w 1178159"/>
                <a:gd name="connsiteY2006" fmla="*/ 215040 h 466571"/>
                <a:gd name="connsiteX2007" fmla="*/ 98560 w 1178159"/>
                <a:gd name="connsiteY2007" fmla="*/ 204125 h 466571"/>
                <a:gd name="connsiteX2008" fmla="*/ 92858 w 1178159"/>
                <a:gd name="connsiteY2008" fmla="*/ 202333 h 466571"/>
                <a:gd name="connsiteX2009" fmla="*/ 87482 w 1178159"/>
                <a:gd name="connsiteY2009" fmla="*/ 206569 h 466571"/>
                <a:gd name="connsiteX2010" fmla="*/ 87482 w 1178159"/>
                <a:gd name="connsiteY2010" fmla="*/ 206569 h 466571"/>
                <a:gd name="connsiteX2011" fmla="*/ 83898 w 1178159"/>
                <a:gd name="connsiteY2011" fmla="*/ 187671 h 466571"/>
                <a:gd name="connsiteX2012" fmla="*/ 81292 w 1178159"/>
                <a:gd name="connsiteY2012" fmla="*/ 193210 h 466571"/>
                <a:gd name="connsiteX2013" fmla="*/ 84387 w 1178159"/>
                <a:gd name="connsiteY2013" fmla="*/ 196794 h 466571"/>
                <a:gd name="connsiteX2014" fmla="*/ 87971 w 1178159"/>
                <a:gd name="connsiteY2014" fmla="*/ 193210 h 466571"/>
                <a:gd name="connsiteX2015" fmla="*/ 87971 w 1178159"/>
                <a:gd name="connsiteY2015" fmla="*/ 189463 h 466571"/>
                <a:gd name="connsiteX2016" fmla="*/ 83898 w 1178159"/>
                <a:gd name="connsiteY2016" fmla="*/ 187671 h 466571"/>
                <a:gd name="connsiteX2017" fmla="*/ 83898 w 1178159"/>
                <a:gd name="connsiteY2017" fmla="*/ 187671 h 466571"/>
                <a:gd name="connsiteX2018" fmla="*/ 87319 w 1178159"/>
                <a:gd name="connsiteY2018" fmla="*/ 173824 h 466571"/>
                <a:gd name="connsiteX2019" fmla="*/ 93347 w 1178159"/>
                <a:gd name="connsiteY2019" fmla="*/ 173824 h 466571"/>
                <a:gd name="connsiteX2020" fmla="*/ 95628 w 1178159"/>
                <a:gd name="connsiteY2020" fmla="*/ 175453 h 466571"/>
                <a:gd name="connsiteX2021" fmla="*/ 96116 w 1178159"/>
                <a:gd name="connsiteY2021" fmla="*/ 172195 h 466571"/>
                <a:gd name="connsiteX2022" fmla="*/ 90089 w 1178159"/>
                <a:gd name="connsiteY2022" fmla="*/ 170077 h 466571"/>
                <a:gd name="connsiteX2023" fmla="*/ 87319 w 1178159"/>
                <a:gd name="connsiteY2023" fmla="*/ 173824 h 466571"/>
                <a:gd name="connsiteX2024" fmla="*/ 87319 w 1178159"/>
                <a:gd name="connsiteY2024" fmla="*/ 173824 h 466571"/>
                <a:gd name="connsiteX2025" fmla="*/ 50665 w 1178159"/>
                <a:gd name="connsiteY2025" fmla="*/ 139450 h 466571"/>
                <a:gd name="connsiteX2026" fmla="*/ 55715 w 1178159"/>
                <a:gd name="connsiteY2026" fmla="*/ 139450 h 466571"/>
                <a:gd name="connsiteX2027" fmla="*/ 58159 w 1178159"/>
                <a:gd name="connsiteY2027" fmla="*/ 136518 h 466571"/>
                <a:gd name="connsiteX2028" fmla="*/ 61417 w 1178159"/>
                <a:gd name="connsiteY2028" fmla="*/ 137658 h 466571"/>
                <a:gd name="connsiteX2029" fmla="*/ 65164 w 1178159"/>
                <a:gd name="connsiteY2029" fmla="*/ 144826 h 466571"/>
                <a:gd name="connsiteX2030" fmla="*/ 71028 w 1178159"/>
                <a:gd name="connsiteY2030" fmla="*/ 149388 h 466571"/>
                <a:gd name="connsiteX2031" fmla="*/ 69399 w 1178159"/>
                <a:gd name="connsiteY2031" fmla="*/ 152972 h 466571"/>
                <a:gd name="connsiteX2032" fmla="*/ 68259 w 1178159"/>
                <a:gd name="connsiteY2032" fmla="*/ 159651 h 466571"/>
                <a:gd name="connsiteX2033" fmla="*/ 65978 w 1178159"/>
                <a:gd name="connsiteY2033" fmla="*/ 160628 h 466571"/>
                <a:gd name="connsiteX2034" fmla="*/ 61091 w 1178159"/>
                <a:gd name="connsiteY2034" fmla="*/ 151668 h 466571"/>
                <a:gd name="connsiteX2035" fmla="*/ 57507 w 1178159"/>
                <a:gd name="connsiteY2035" fmla="*/ 150691 h 466571"/>
                <a:gd name="connsiteX2036" fmla="*/ 56204 w 1178159"/>
                <a:gd name="connsiteY2036" fmla="*/ 144989 h 466571"/>
                <a:gd name="connsiteX2037" fmla="*/ 50339 w 1178159"/>
                <a:gd name="connsiteY2037" fmla="*/ 139125 h 466571"/>
                <a:gd name="connsiteX2038" fmla="*/ 50339 w 1178159"/>
                <a:gd name="connsiteY2038" fmla="*/ 139125 h 466571"/>
                <a:gd name="connsiteX2039" fmla="*/ 50502 w 1178159"/>
                <a:gd name="connsiteY2039" fmla="*/ 119901 h 466571"/>
                <a:gd name="connsiteX2040" fmla="*/ 56529 w 1178159"/>
                <a:gd name="connsiteY2040" fmla="*/ 121856 h 466571"/>
                <a:gd name="connsiteX2041" fmla="*/ 54249 w 1178159"/>
                <a:gd name="connsiteY2041" fmla="*/ 118598 h 466571"/>
                <a:gd name="connsiteX2042" fmla="*/ 50502 w 1178159"/>
                <a:gd name="connsiteY2042" fmla="*/ 119901 h 466571"/>
                <a:gd name="connsiteX2043" fmla="*/ 50502 w 1178159"/>
                <a:gd name="connsiteY2043" fmla="*/ 119901 h 466571"/>
                <a:gd name="connsiteX2044" fmla="*/ 15639 w 1178159"/>
                <a:gd name="connsiteY2044" fmla="*/ 97420 h 466571"/>
                <a:gd name="connsiteX2045" fmla="*/ 13684 w 1178159"/>
                <a:gd name="connsiteY2045" fmla="*/ 99538 h 466571"/>
                <a:gd name="connsiteX2046" fmla="*/ 12218 w 1178159"/>
                <a:gd name="connsiteY2046" fmla="*/ 102633 h 466571"/>
                <a:gd name="connsiteX2047" fmla="*/ 17105 w 1178159"/>
                <a:gd name="connsiteY2047" fmla="*/ 105728 h 466571"/>
                <a:gd name="connsiteX2048" fmla="*/ 23133 w 1178159"/>
                <a:gd name="connsiteY2048" fmla="*/ 104914 h 466571"/>
                <a:gd name="connsiteX2049" fmla="*/ 19549 w 1178159"/>
                <a:gd name="connsiteY2049" fmla="*/ 100189 h 466571"/>
                <a:gd name="connsiteX2050" fmla="*/ 15639 w 1178159"/>
                <a:gd name="connsiteY2050" fmla="*/ 97420 h 466571"/>
                <a:gd name="connsiteX2051" fmla="*/ 15639 w 1178159"/>
                <a:gd name="connsiteY2051" fmla="*/ 97420 h 466571"/>
                <a:gd name="connsiteX2052" fmla="*/ 977 w 1178159"/>
                <a:gd name="connsiteY2052" fmla="*/ 25577 h 466571"/>
                <a:gd name="connsiteX2053" fmla="*/ 0 w 1178159"/>
                <a:gd name="connsiteY2053" fmla="*/ 28346 h 466571"/>
                <a:gd name="connsiteX2054" fmla="*/ 1303 w 1178159"/>
                <a:gd name="connsiteY2054" fmla="*/ 35840 h 466571"/>
                <a:gd name="connsiteX2055" fmla="*/ 7657 w 1178159"/>
                <a:gd name="connsiteY2055" fmla="*/ 49687 h 466571"/>
                <a:gd name="connsiteX2056" fmla="*/ 11729 w 1178159"/>
                <a:gd name="connsiteY2056" fmla="*/ 51479 h 466571"/>
                <a:gd name="connsiteX2057" fmla="*/ 22807 w 1178159"/>
                <a:gd name="connsiteY2057" fmla="*/ 63698 h 466571"/>
                <a:gd name="connsiteX2058" fmla="*/ 26066 w 1178159"/>
                <a:gd name="connsiteY2058" fmla="*/ 63698 h 466571"/>
                <a:gd name="connsiteX2059" fmla="*/ 32907 w 1178159"/>
                <a:gd name="connsiteY2059" fmla="*/ 72169 h 466571"/>
                <a:gd name="connsiteX2060" fmla="*/ 36818 w 1178159"/>
                <a:gd name="connsiteY2060" fmla="*/ 73635 h 466571"/>
                <a:gd name="connsiteX2061" fmla="*/ 40076 w 1178159"/>
                <a:gd name="connsiteY2061" fmla="*/ 72332 h 466571"/>
                <a:gd name="connsiteX2062" fmla="*/ 48384 w 1178159"/>
                <a:gd name="connsiteY2062" fmla="*/ 79337 h 466571"/>
                <a:gd name="connsiteX2063" fmla="*/ 57344 w 1178159"/>
                <a:gd name="connsiteY2063" fmla="*/ 93673 h 466571"/>
                <a:gd name="connsiteX2064" fmla="*/ 66304 w 1178159"/>
                <a:gd name="connsiteY2064" fmla="*/ 102307 h 466571"/>
                <a:gd name="connsiteX2065" fmla="*/ 68911 w 1178159"/>
                <a:gd name="connsiteY2065" fmla="*/ 102307 h 466571"/>
                <a:gd name="connsiteX2066" fmla="*/ 68911 w 1178159"/>
                <a:gd name="connsiteY2066" fmla="*/ 108986 h 466571"/>
                <a:gd name="connsiteX2067" fmla="*/ 71354 w 1178159"/>
                <a:gd name="connsiteY2067" fmla="*/ 110941 h 466571"/>
                <a:gd name="connsiteX2068" fmla="*/ 72332 w 1178159"/>
                <a:gd name="connsiteY2068" fmla="*/ 117458 h 466571"/>
                <a:gd name="connsiteX2069" fmla="*/ 75590 w 1178159"/>
                <a:gd name="connsiteY2069" fmla="*/ 120390 h 466571"/>
                <a:gd name="connsiteX2070" fmla="*/ 80966 w 1178159"/>
                <a:gd name="connsiteY2070" fmla="*/ 120390 h 466571"/>
                <a:gd name="connsiteX2071" fmla="*/ 87808 w 1178159"/>
                <a:gd name="connsiteY2071" fmla="*/ 128861 h 466571"/>
                <a:gd name="connsiteX2072" fmla="*/ 91229 w 1178159"/>
                <a:gd name="connsiteY2072" fmla="*/ 130816 h 466571"/>
                <a:gd name="connsiteX2073" fmla="*/ 94325 w 1178159"/>
                <a:gd name="connsiteY2073" fmla="*/ 130327 h 466571"/>
                <a:gd name="connsiteX2074" fmla="*/ 95302 w 1178159"/>
                <a:gd name="connsiteY2074" fmla="*/ 132934 h 466571"/>
                <a:gd name="connsiteX2075" fmla="*/ 93347 w 1178159"/>
                <a:gd name="connsiteY2075" fmla="*/ 136518 h 466571"/>
                <a:gd name="connsiteX2076" fmla="*/ 96605 w 1178159"/>
                <a:gd name="connsiteY2076" fmla="*/ 140102 h 466571"/>
                <a:gd name="connsiteX2077" fmla="*/ 99049 w 1178159"/>
                <a:gd name="connsiteY2077" fmla="*/ 146618 h 466571"/>
                <a:gd name="connsiteX2078" fmla="*/ 99049 w 1178159"/>
                <a:gd name="connsiteY2078" fmla="*/ 148247 h 466571"/>
                <a:gd name="connsiteX2079" fmla="*/ 103936 w 1178159"/>
                <a:gd name="connsiteY2079" fmla="*/ 161932 h 466571"/>
                <a:gd name="connsiteX2080" fmla="*/ 106380 w 1178159"/>
                <a:gd name="connsiteY2080" fmla="*/ 169263 h 466571"/>
                <a:gd name="connsiteX2081" fmla="*/ 113059 w 1178159"/>
                <a:gd name="connsiteY2081" fmla="*/ 171218 h 466571"/>
                <a:gd name="connsiteX2082" fmla="*/ 120553 w 1178159"/>
                <a:gd name="connsiteY2082" fmla="*/ 176431 h 466571"/>
                <a:gd name="connsiteX2083" fmla="*/ 120553 w 1178159"/>
                <a:gd name="connsiteY2083" fmla="*/ 180829 h 466571"/>
                <a:gd name="connsiteX2084" fmla="*/ 126743 w 1178159"/>
                <a:gd name="connsiteY2084" fmla="*/ 191907 h 466571"/>
                <a:gd name="connsiteX2085" fmla="*/ 132608 w 1178159"/>
                <a:gd name="connsiteY2085" fmla="*/ 196306 h 466571"/>
                <a:gd name="connsiteX2086" fmla="*/ 133748 w 1178159"/>
                <a:gd name="connsiteY2086" fmla="*/ 208850 h 466571"/>
                <a:gd name="connsiteX2087" fmla="*/ 143360 w 1178159"/>
                <a:gd name="connsiteY2087" fmla="*/ 226607 h 466571"/>
                <a:gd name="connsiteX2088" fmla="*/ 142871 w 1178159"/>
                <a:gd name="connsiteY2088" fmla="*/ 233775 h 466571"/>
                <a:gd name="connsiteX2089" fmla="*/ 145315 w 1178159"/>
                <a:gd name="connsiteY2089" fmla="*/ 240291 h 466571"/>
                <a:gd name="connsiteX2090" fmla="*/ 154601 w 1178159"/>
                <a:gd name="connsiteY2090" fmla="*/ 247296 h 466571"/>
                <a:gd name="connsiteX2091" fmla="*/ 164050 w 1178159"/>
                <a:gd name="connsiteY2091" fmla="*/ 258863 h 466571"/>
                <a:gd name="connsiteX2092" fmla="*/ 166656 w 1178159"/>
                <a:gd name="connsiteY2092" fmla="*/ 265053 h 466571"/>
                <a:gd name="connsiteX2093" fmla="*/ 173824 w 1178159"/>
                <a:gd name="connsiteY2093" fmla="*/ 266519 h 466571"/>
                <a:gd name="connsiteX2094" fmla="*/ 176430 w 1178159"/>
                <a:gd name="connsiteY2094" fmla="*/ 269452 h 466571"/>
                <a:gd name="connsiteX2095" fmla="*/ 182621 w 1178159"/>
                <a:gd name="connsiteY2095" fmla="*/ 273525 h 466571"/>
                <a:gd name="connsiteX2096" fmla="*/ 183598 w 1178159"/>
                <a:gd name="connsiteY2096" fmla="*/ 280855 h 466571"/>
                <a:gd name="connsiteX2097" fmla="*/ 189137 w 1178159"/>
                <a:gd name="connsiteY2097" fmla="*/ 284276 h 466571"/>
                <a:gd name="connsiteX2098" fmla="*/ 195817 w 1178159"/>
                <a:gd name="connsiteY2098" fmla="*/ 291608 h 466571"/>
                <a:gd name="connsiteX2099" fmla="*/ 207220 w 1178159"/>
                <a:gd name="connsiteY2099" fmla="*/ 298775 h 466571"/>
                <a:gd name="connsiteX2100" fmla="*/ 209827 w 1178159"/>
                <a:gd name="connsiteY2100" fmla="*/ 304314 h 466571"/>
                <a:gd name="connsiteX2101" fmla="*/ 217158 w 1178159"/>
                <a:gd name="connsiteY2101" fmla="*/ 306269 h 466571"/>
                <a:gd name="connsiteX2102" fmla="*/ 232309 w 1178159"/>
                <a:gd name="connsiteY2102" fmla="*/ 319465 h 466571"/>
                <a:gd name="connsiteX2103" fmla="*/ 233612 w 1178159"/>
                <a:gd name="connsiteY2103" fmla="*/ 324841 h 466571"/>
                <a:gd name="connsiteX2104" fmla="*/ 236870 w 1178159"/>
                <a:gd name="connsiteY2104" fmla="*/ 326307 h 466571"/>
                <a:gd name="connsiteX2105" fmla="*/ 240291 w 1178159"/>
                <a:gd name="connsiteY2105" fmla="*/ 332172 h 466571"/>
                <a:gd name="connsiteX2106" fmla="*/ 242083 w 1178159"/>
                <a:gd name="connsiteY2106" fmla="*/ 330054 h 466571"/>
                <a:gd name="connsiteX2107" fmla="*/ 242083 w 1178159"/>
                <a:gd name="connsiteY2107" fmla="*/ 325004 h 466571"/>
                <a:gd name="connsiteX2108" fmla="*/ 240617 w 1178159"/>
                <a:gd name="connsiteY2108" fmla="*/ 322397 h 466571"/>
                <a:gd name="connsiteX2109" fmla="*/ 240617 w 1178159"/>
                <a:gd name="connsiteY2109" fmla="*/ 319628 h 466571"/>
                <a:gd name="connsiteX2110" fmla="*/ 245178 w 1178159"/>
                <a:gd name="connsiteY2110" fmla="*/ 320605 h 466571"/>
                <a:gd name="connsiteX2111" fmla="*/ 255116 w 1178159"/>
                <a:gd name="connsiteY2111" fmla="*/ 329891 h 466571"/>
                <a:gd name="connsiteX2112" fmla="*/ 257071 w 1178159"/>
                <a:gd name="connsiteY2112" fmla="*/ 328262 h 466571"/>
                <a:gd name="connsiteX2113" fmla="*/ 257071 w 1178159"/>
                <a:gd name="connsiteY2113" fmla="*/ 321583 h 466571"/>
                <a:gd name="connsiteX2114" fmla="*/ 259351 w 1178159"/>
                <a:gd name="connsiteY2114" fmla="*/ 318162 h 466571"/>
                <a:gd name="connsiteX2115" fmla="*/ 263587 w 1178159"/>
                <a:gd name="connsiteY2115" fmla="*/ 319139 h 466571"/>
                <a:gd name="connsiteX2116" fmla="*/ 268148 w 1178159"/>
                <a:gd name="connsiteY2116" fmla="*/ 326307 h 466571"/>
                <a:gd name="connsiteX2117" fmla="*/ 271081 w 1178159"/>
                <a:gd name="connsiteY2117" fmla="*/ 327610 h 466571"/>
                <a:gd name="connsiteX2118" fmla="*/ 274502 w 1178159"/>
                <a:gd name="connsiteY2118" fmla="*/ 324026 h 466571"/>
                <a:gd name="connsiteX2119" fmla="*/ 274013 w 1178159"/>
                <a:gd name="connsiteY2119" fmla="*/ 312623 h 466571"/>
                <a:gd name="connsiteX2120" fmla="*/ 276620 w 1178159"/>
                <a:gd name="connsiteY2120" fmla="*/ 298613 h 466571"/>
                <a:gd name="connsiteX2121" fmla="*/ 273850 w 1178159"/>
                <a:gd name="connsiteY2121" fmla="*/ 289164 h 466571"/>
                <a:gd name="connsiteX2122" fmla="*/ 278086 w 1178159"/>
                <a:gd name="connsiteY2122" fmla="*/ 279063 h 466571"/>
                <a:gd name="connsiteX2123" fmla="*/ 275805 w 1178159"/>
                <a:gd name="connsiteY2123" fmla="*/ 275154 h 466571"/>
                <a:gd name="connsiteX2124" fmla="*/ 276131 w 1178159"/>
                <a:gd name="connsiteY2124" fmla="*/ 267008 h 466571"/>
                <a:gd name="connsiteX2125" fmla="*/ 280693 w 1178159"/>
                <a:gd name="connsiteY2125" fmla="*/ 265053 h 466571"/>
                <a:gd name="connsiteX2126" fmla="*/ 282647 w 1178159"/>
                <a:gd name="connsiteY2126" fmla="*/ 261306 h 466571"/>
                <a:gd name="connsiteX2127" fmla="*/ 281996 w 1178159"/>
                <a:gd name="connsiteY2127" fmla="*/ 256582 h 466571"/>
                <a:gd name="connsiteX2128" fmla="*/ 278086 w 1178159"/>
                <a:gd name="connsiteY2128" fmla="*/ 254790 h 466571"/>
                <a:gd name="connsiteX2129" fmla="*/ 273525 w 1178159"/>
                <a:gd name="connsiteY2129" fmla="*/ 251043 h 466571"/>
                <a:gd name="connsiteX2130" fmla="*/ 271569 w 1178159"/>
                <a:gd name="connsiteY2130" fmla="*/ 245178 h 466571"/>
                <a:gd name="connsiteX2131" fmla="*/ 268474 w 1178159"/>
                <a:gd name="connsiteY2131" fmla="*/ 243549 h 466571"/>
                <a:gd name="connsiteX2132" fmla="*/ 267008 w 1178159"/>
                <a:gd name="connsiteY2132" fmla="*/ 239476 h 466571"/>
                <a:gd name="connsiteX2133" fmla="*/ 262284 w 1178159"/>
                <a:gd name="connsiteY2133" fmla="*/ 237522 h 466571"/>
                <a:gd name="connsiteX2134" fmla="*/ 254627 w 1178159"/>
                <a:gd name="connsiteY2134" fmla="*/ 238499 h 466571"/>
                <a:gd name="connsiteX2135" fmla="*/ 249577 w 1178159"/>
                <a:gd name="connsiteY2135" fmla="*/ 237684 h 466571"/>
                <a:gd name="connsiteX2136" fmla="*/ 248925 w 1178159"/>
                <a:gd name="connsiteY2136" fmla="*/ 230191 h 466571"/>
                <a:gd name="connsiteX2137" fmla="*/ 245178 w 1178159"/>
                <a:gd name="connsiteY2137" fmla="*/ 225141 h 466571"/>
                <a:gd name="connsiteX2138" fmla="*/ 241920 w 1178159"/>
                <a:gd name="connsiteY2138" fmla="*/ 227095 h 466571"/>
                <a:gd name="connsiteX2139" fmla="*/ 244364 w 1178159"/>
                <a:gd name="connsiteY2139" fmla="*/ 222045 h 466571"/>
                <a:gd name="connsiteX2140" fmla="*/ 242409 w 1178159"/>
                <a:gd name="connsiteY2140" fmla="*/ 216506 h 466571"/>
                <a:gd name="connsiteX2141" fmla="*/ 241594 w 1178159"/>
                <a:gd name="connsiteY2141" fmla="*/ 203962 h 466571"/>
                <a:gd name="connsiteX2142" fmla="*/ 235567 w 1178159"/>
                <a:gd name="connsiteY2142" fmla="*/ 206406 h 466571"/>
                <a:gd name="connsiteX2143" fmla="*/ 232960 w 1178159"/>
                <a:gd name="connsiteY2143" fmla="*/ 203962 h 466571"/>
                <a:gd name="connsiteX2144" fmla="*/ 223023 w 1178159"/>
                <a:gd name="connsiteY2144" fmla="*/ 203962 h 466571"/>
                <a:gd name="connsiteX2145" fmla="*/ 214389 w 1178159"/>
                <a:gd name="connsiteY2145" fmla="*/ 197935 h 466571"/>
                <a:gd name="connsiteX2146" fmla="*/ 214389 w 1178159"/>
                <a:gd name="connsiteY2146" fmla="*/ 193699 h 466571"/>
                <a:gd name="connsiteX2147" fmla="*/ 219764 w 1178159"/>
                <a:gd name="connsiteY2147" fmla="*/ 191255 h 466571"/>
                <a:gd name="connsiteX2148" fmla="*/ 225629 w 1178159"/>
                <a:gd name="connsiteY2148" fmla="*/ 187997 h 466571"/>
                <a:gd name="connsiteX2149" fmla="*/ 221719 w 1178159"/>
                <a:gd name="connsiteY2149" fmla="*/ 186042 h 466571"/>
                <a:gd name="connsiteX2150" fmla="*/ 216180 w 1178159"/>
                <a:gd name="connsiteY2150" fmla="*/ 186857 h 466571"/>
                <a:gd name="connsiteX2151" fmla="*/ 213085 w 1178159"/>
                <a:gd name="connsiteY2151" fmla="*/ 185717 h 466571"/>
                <a:gd name="connsiteX2152" fmla="*/ 207546 w 1178159"/>
                <a:gd name="connsiteY2152" fmla="*/ 187671 h 466571"/>
                <a:gd name="connsiteX2153" fmla="*/ 211456 w 1178159"/>
                <a:gd name="connsiteY2153" fmla="*/ 184087 h 466571"/>
                <a:gd name="connsiteX2154" fmla="*/ 217484 w 1178159"/>
                <a:gd name="connsiteY2154" fmla="*/ 179526 h 466571"/>
                <a:gd name="connsiteX2155" fmla="*/ 224978 w 1178159"/>
                <a:gd name="connsiteY2155" fmla="*/ 178385 h 466571"/>
                <a:gd name="connsiteX2156" fmla="*/ 223511 w 1178159"/>
                <a:gd name="connsiteY2156" fmla="*/ 173173 h 466571"/>
                <a:gd name="connsiteX2157" fmla="*/ 215692 w 1178159"/>
                <a:gd name="connsiteY2157" fmla="*/ 164538 h 466571"/>
                <a:gd name="connsiteX2158" fmla="*/ 211130 w 1178159"/>
                <a:gd name="connsiteY2158" fmla="*/ 164050 h 466571"/>
                <a:gd name="connsiteX2159" fmla="*/ 205266 w 1178159"/>
                <a:gd name="connsiteY2159" fmla="*/ 167959 h 466571"/>
                <a:gd name="connsiteX2160" fmla="*/ 200052 w 1178159"/>
                <a:gd name="connsiteY2160" fmla="*/ 171218 h 466571"/>
                <a:gd name="connsiteX2161" fmla="*/ 193536 w 1178159"/>
                <a:gd name="connsiteY2161" fmla="*/ 171543 h 466571"/>
                <a:gd name="connsiteX2162" fmla="*/ 197283 w 1178159"/>
                <a:gd name="connsiteY2162" fmla="*/ 170729 h 466571"/>
                <a:gd name="connsiteX2163" fmla="*/ 199727 w 1178159"/>
                <a:gd name="connsiteY2163" fmla="*/ 168448 h 466571"/>
                <a:gd name="connsiteX2164" fmla="*/ 202170 w 1178159"/>
                <a:gd name="connsiteY2164" fmla="*/ 167796 h 466571"/>
                <a:gd name="connsiteX2165" fmla="*/ 204614 w 1178159"/>
                <a:gd name="connsiteY2165" fmla="*/ 164212 h 466571"/>
                <a:gd name="connsiteX2166" fmla="*/ 203473 w 1178159"/>
                <a:gd name="connsiteY2166" fmla="*/ 160954 h 466571"/>
                <a:gd name="connsiteX2167" fmla="*/ 197609 w 1178159"/>
                <a:gd name="connsiteY2167" fmla="*/ 158185 h 466571"/>
                <a:gd name="connsiteX2168" fmla="*/ 188649 w 1178159"/>
                <a:gd name="connsiteY2168" fmla="*/ 158511 h 466571"/>
                <a:gd name="connsiteX2169" fmla="*/ 182295 w 1178159"/>
                <a:gd name="connsiteY2169" fmla="*/ 153298 h 466571"/>
                <a:gd name="connsiteX2170" fmla="*/ 182295 w 1178159"/>
                <a:gd name="connsiteY2170" fmla="*/ 149876 h 466571"/>
                <a:gd name="connsiteX2171" fmla="*/ 181481 w 1178159"/>
                <a:gd name="connsiteY2171" fmla="*/ 143197 h 466571"/>
                <a:gd name="connsiteX2172" fmla="*/ 170729 w 1178159"/>
                <a:gd name="connsiteY2172" fmla="*/ 132608 h 466571"/>
                <a:gd name="connsiteX2173" fmla="*/ 167308 w 1178159"/>
                <a:gd name="connsiteY2173" fmla="*/ 131793 h 466571"/>
                <a:gd name="connsiteX2174" fmla="*/ 164050 w 1178159"/>
                <a:gd name="connsiteY2174" fmla="*/ 132771 h 466571"/>
                <a:gd name="connsiteX2175" fmla="*/ 159977 w 1178159"/>
                <a:gd name="connsiteY2175" fmla="*/ 129513 h 466571"/>
                <a:gd name="connsiteX2176" fmla="*/ 158836 w 1178159"/>
                <a:gd name="connsiteY2176" fmla="*/ 120064 h 466571"/>
                <a:gd name="connsiteX2177" fmla="*/ 151505 w 1178159"/>
                <a:gd name="connsiteY2177" fmla="*/ 112733 h 466571"/>
                <a:gd name="connsiteX2178" fmla="*/ 141894 w 1178159"/>
                <a:gd name="connsiteY2178" fmla="*/ 107357 h 466571"/>
                <a:gd name="connsiteX2179" fmla="*/ 135866 w 1178159"/>
                <a:gd name="connsiteY2179" fmla="*/ 107031 h 466571"/>
                <a:gd name="connsiteX2180" fmla="*/ 134563 w 1178159"/>
                <a:gd name="connsiteY2180" fmla="*/ 109475 h 466571"/>
                <a:gd name="connsiteX2181" fmla="*/ 131630 w 1178159"/>
                <a:gd name="connsiteY2181" fmla="*/ 107520 h 466571"/>
                <a:gd name="connsiteX2182" fmla="*/ 130164 w 1178159"/>
                <a:gd name="connsiteY2182" fmla="*/ 100678 h 466571"/>
                <a:gd name="connsiteX2183" fmla="*/ 126743 w 1178159"/>
                <a:gd name="connsiteY2183" fmla="*/ 104099 h 466571"/>
                <a:gd name="connsiteX2184" fmla="*/ 124137 w 1178159"/>
                <a:gd name="connsiteY2184" fmla="*/ 100352 h 466571"/>
                <a:gd name="connsiteX2185" fmla="*/ 123811 w 1178159"/>
                <a:gd name="connsiteY2185" fmla="*/ 92858 h 466571"/>
                <a:gd name="connsiteX2186" fmla="*/ 119250 w 1178159"/>
                <a:gd name="connsiteY2186" fmla="*/ 86993 h 466571"/>
                <a:gd name="connsiteX2187" fmla="*/ 113711 w 1178159"/>
                <a:gd name="connsiteY2187" fmla="*/ 85853 h 466571"/>
                <a:gd name="connsiteX2188" fmla="*/ 111755 w 1178159"/>
                <a:gd name="connsiteY2188" fmla="*/ 82432 h 466571"/>
                <a:gd name="connsiteX2189" fmla="*/ 96931 w 1178159"/>
                <a:gd name="connsiteY2189" fmla="*/ 72658 h 466571"/>
                <a:gd name="connsiteX2190" fmla="*/ 91881 w 1178159"/>
                <a:gd name="connsiteY2190" fmla="*/ 72169 h 466571"/>
                <a:gd name="connsiteX2191" fmla="*/ 85853 w 1178159"/>
                <a:gd name="connsiteY2191" fmla="*/ 65327 h 466571"/>
                <a:gd name="connsiteX2192" fmla="*/ 79825 w 1178159"/>
                <a:gd name="connsiteY2192" fmla="*/ 64349 h 466571"/>
                <a:gd name="connsiteX2193" fmla="*/ 78196 w 1178159"/>
                <a:gd name="connsiteY2193" fmla="*/ 60439 h 466571"/>
                <a:gd name="connsiteX2194" fmla="*/ 76893 w 1178159"/>
                <a:gd name="connsiteY2194" fmla="*/ 52294 h 466571"/>
                <a:gd name="connsiteX2195" fmla="*/ 71680 w 1178159"/>
                <a:gd name="connsiteY2195" fmla="*/ 49525 h 466571"/>
                <a:gd name="connsiteX2196" fmla="*/ 68748 w 1178159"/>
                <a:gd name="connsiteY2196" fmla="*/ 43334 h 466571"/>
                <a:gd name="connsiteX2197" fmla="*/ 66467 w 1178159"/>
                <a:gd name="connsiteY2197" fmla="*/ 42519 h 466571"/>
                <a:gd name="connsiteX2198" fmla="*/ 62720 w 1178159"/>
                <a:gd name="connsiteY2198" fmla="*/ 35840 h 466571"/>
                <a:gd name="connsiteX2199" fmla="*/ 56855 w 1178159"/>
                <a:gd name="connsiteY2199" fmla="*/ 33559 h 466571"/>
                <a:gd name="connsiteX2200" fmla="*/ 51479 w 1178159"/>
                <a:gd name="connsiteY2200" fmla="*/ 33559 h 466571"/>
                <a:gd name="connsiteX2201" fmla="*/ 48058 w 1178159"/>
                <a:gd name="connsiteY2201" fmla="*/ 34863 h 466571"/>
                <a:gd name="connsiteX2202" fmla="*/ 45289 w 1178159"/>
                <a:gd name="connsiteY2202" fmla="*/ 33071 h 466571"/>
                <a:gd name="connsiteX2203" fmla="*/ 38772 w 1178159"/>
                <a:gd name="connsiteY2203" fmla="*/ 33071 h 466571"/>
                <a:gd name="connsiteX2204" fmla="*/ 31278 w 1178159"/>
                <a:gd name="connsiteY2204" fmla="*/ 34863 h 466571"/>
                <a:gd name="connsiteX2205" fmla="*/ 27532 w 1178159"/>
                <a:gd name="connsiteY2205" fmla="*/ 32419 h 466571"/>
                <a:gd name="connsiteX2206" fmla="*/ 15802 w 1178159"/>
                <a:gd name="connsiteY2206" fmla="*/ 24274 h 466571"/>
                <a:gd name="connsiteX2207" fmla="*/ 5376 w 1178159"/>
                <a:gd name="connsiteY2207" fmla="*/ 22807 h 466571"/>
                <a:gd name="connsiteX2208" fmla="*/ 1629 w 1178159"/>
                <a:gd name="connsiteY2208" fmla="*/ 24599 h 4665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  <a:cxn ang="0">
                  <a:pos x="connsiteX1317" y="connsiteY1317"/>
                </a:cxn>
                <a:cxn ang="0">
                  <a:pos x="connsiteX1318" y="connsiteY1318"/>
                </a:cxn>
                <a:cxn ang="0">
                  <a:pos x="connsiteX1319" y="connsiteY1319"/>
                </a:cxn>
                <a:cxn ang="0">
                  <a:pos x="connsiteX1320" y="connsiteY1320"/>
                </a:cxn>
                <a:cxn ang="0">
                  <a:pos x="connsiteX1321" y="connsiteY1321"/>
                </a:cxn>
                <a:cxn ang="0">
                  <a:pos x="connsiteX1322" y="connsiteY1322"/>
                </a:cxn>
                <a:cxn ang="0">
                  <a:pos x="connsiteX1323" y="connsiteY1323"/>
                </a:cxn>
                <a:cxn ang="0">
                  <a:pos x="connsiteX1324" y="connsiteY1324"/>
                </a:cxn>
                <a:cxn ang="0">
                  <a:pos x="connsiteX1325" y="connsiteY1325"/>
                </a:cxn>
                <a:cxn ang="0">
                  <a:pos x="connsiteX1326" y="connsiteY1326"/>
                </a:cxn>
                <a:cxn ang="0">
                  <a:pos x="connsiteX1327" y="connsiteY1327"/>
                </a:cxn>
                <a:cxn ang="0">
                  <a:pos x="connsiteX1328" y="connsiteY1328"/>
                </a:cxn>
                <a:cxn ang="0">
                  <a:pos x="connsiteX1329" y="connsiteY1329"/>
                </a:cxn>
                <a:cxn ang="0">
                  <a:pos x="connsiteX1330" y="connsiteY1330"/>
                </a:cxn>
                <a:cxn ang="0">
                  <a:pos x="connsiteX1331" y="connsiteY1331"/>
                </a:cxn>
                <a:cxn ang="0">
                  <a:pos x="connsiteX1332" y="connsiteY1332"/>
                </a:cxn>
                <a:cxn ang="0">
                  <a:pos x="connsiteX1333" y="connsiteY1333"/>
                </a:cxn>
                <a:cxn ang="0">
                  <a:pos x="connsiteX1334" y="connsiteY1334"/>
                </a:cxn>
                <a:cxn ang="0">
                  <a:pos x="connsiteX1335" y="connsiteY1335"/>
                </a:cxn>
                <a:cxn ang="0">
                  <a:pos x="connsiteX1336" y="connsiteY1336"/>
                </a:cxn>
                <a:cxn ang="0">
                  <a:pos x="connsiteX1337" y="connsiteY1337"/>
                </a:cxn>
                <a:cxn ang="0">
                  <a:pos x="connsiteX1338" y="connsiteY1338"/>
                </a:cxn>
                <a:cxn ang="0">
                  <a:pos x="connsiteX1339" y="connsiteY1339"/>
                </a:cxn>
                <a:cxn ang="0">
                  <a:pos x="connsiteX1340" y="connsiteY1340"/>
                </a:cxn>
                <a:cxn ang="0">
                  <a:pos x="connsiteX1341" y="connsiteY1341"/>
                </a:cxn>
                <a:cxn ang="0">
                  <a:pos x="connsiteX1342" y="connsiteY1342"/>
                </a:cxn>
                <a:cxn ang="0">
                  <a:pos x="connsiteX1343" y="connsiteY1343"/>
                </a:cxn>
                <a:cxn ang="0">
                  <a:pos x="connsiteX1344" y="connsiteY1344"/>
                </a:cxn>
                <a:cxn ang="0">
                  <a:pos x="connsiteX1345" y="connsiteY1345"/>
                </a:cxn>
                <a:cxn ang="0">
                  <a:pos x="connsiteX1346" y="connsiteY1346"/>
                </a:cxn>
                <a:cxn ang="0">
                  <a:pos x="connsiteX1347" y="connsiteY1347"/>
                </a:cxn>
                <a:cxn ang="0">
                  <a:pos x="connsiteX1348" y="connsiteY1348"/>
                </a:cxn>
                <a:cxn ang="0">
                  <a:pos x="connsiteX1349" y="connsiteY1349"/>
                </a:cxn>
                <a:cxn ang="0">
                  <a:pos x="connsiteX1350" y="connsiteY1350"/>
                </a:cxn>
                <a:cxn ang="0">
                  <a:pos x="connsiteX1351" y="connsiteY1351"/>
                </a:cxn>
                <a:cxn ang="0">
                  <a:pos x="connsiteX1352" y="connsiteY1352"/>
                </a:cxn>
                <a:cxn ang="0">
                  <a:pos x="connsiteX1353" y="connsiteY1353"/>
                </a:cxn>
                <a:cxn ang="0">
                  <a:pos x="connsiteX1354" y="connsiteY1354"/>
                </a:cxn>
                <a:cxn ang="0">
                  <a:pos x="connsiteX1355" y="connsiteY1355"/>
                </a:cxn>
                <a:cxn ang="0">
                  <a:pos x="connsiteX1356" y="connsiteY1356"/>
                </a:cxn>
                <a:cxn ang="0">
                  <a:pos x="connsiteX1357" y="connsiteY1357"/>
                </a:cxn>
                <a:cxn ang="0">
                  <a:pos x="connsiteX1358" y="connsiteY1358"/>
                </a:cxn>
                <a:cxn ang="0">
                  <a:pos x="connsiteX1359" y="connsiteY1359"/>
                </a:cxn>
                <a:cxn ang="0">
                  <a:pos x="connsiteX1360" y="connsiteY1360"/>
                </a:cxn>
                <a:cxn ang="0">
                  <a:pos x="connsiteX1361" y="connsiteY1361"/>
                </a:cxn>
                <a:cxn ang="0">
                  <a:pos x="connsiteX1362" y="connsiteY1362"/>
                </a:cxn>
                <a:cxn ang="0">
                  <a:pos x="connsiteX1363" y="connsiteY1363"/>
                </a:cxn>
                <a:cxn ang="0">
                  <a:pos x="connsiteX1364" y="connsiteY1364"/>
                </a:cxn>
                <a:cxn ang="0">
                  <a:pos x="connsiteX1365" y="connsiteY1365"/>
                </a:cxn>
                <a:cxn ang="0">
                  <a:pos x="connsiteX1366" y="connsiteY1366"/>
                </a:cxn>
                <a:cxn ang="0">
                  <a:pos x="connsiteX1367" y="connsiteY1367"/>
                </a:cxn>
                <a:cxn ang="0">
                  <a:pos x="connsiteX1368" y="connsiteY1368"/>
                </a:cxn>
                <a:cxn ang="0">
                  <a:pos x="connsiteX1369" y="connsiteY1369"/>
                </a:cxn>
                <a:cxn ang="0">
                  <a:pos x="connsiteX1370" y="connsiteY1370"/>
                </a:cxn>
                <a:cxn ang="0">
                  <a:pos x="connsiteX1371" y="connsiteY1371"/>
                </a:cxn>
                <a:cxn ang="0">
                  <a:pos x="connsiteX1372" y="connsiteY1372"/>
                </a:cxn>
                <a:cxn ang="0">
                  <a:pos x="connsiteX1373" y="connsiteY1373"/>
                </a:cxn>
                <a:cxn ang="0">
                  <a:pos x="connsiteX1374" y="connsiteY1374"/>
                </a:cxn>
                <a:cxn ang="0">
                  <a:pos x="connsiteX1375" y="connsiteY1375"/>
                </a:cxn>
                <a:cxn ang="0">
                  <a:pos x="connsiteX1376" y="connsiteY1376"/>
                </a:cxn>
                <a:cxn ang="0">
                  <a:pos x="connsiteX1377" y="connsiteY1377"/>
                </a:cxn>
                <a:cxn ang="0">
                  <a:pos x="connsiteX1378" y="connsiteY1378"/>
                </a:cxn>
                <a:cxn ang="0">
                  <a:pos x="connsiteX1379" y="connsiteY1379"/>
                </a:cxn>
                <a:cxn ang="0">
                  <a:pos x="connsiteX1380" y="connsiteY1380"/>
                </a:cxn>
                <a:cxn ang="0">
                  <a:pos x="connsiteX1381" y="connsiteY1381"/>
                </a:cxn>
                <a:cxn ang="0">
                  <a:pos x="connsiteX1382" y="connsiteY1382"/>
                </a:cxn>
                <a:cxn ang="0">
                  <a:pos x="connsiteX1383" y="connsiteY1383"/>
                </a:cxn>
                <a:cxn ang="0">
                  <a:pos x="connsiteX1384" y="connsiteY1384"/>
                </a:cxn>
                <a:cxn ang="0">
                  <a:pos x="connsiteX1385" y="connsiteY1385"/>
                </a:cxn>
                <a:cxn ang="0">
                  <a:pos x="connsiteX1386" y="connsiteY1386"/>
                </a:cxn>
                <a:cxn ang="0">
                  <a:pos x="connsiteX1387" y="connsiteY1387"/>
                </a:cxn>
                <a:cxn ang="0">
                  <a:pos x="connsiteX1388" y="connsiteY1388"/>
                </a:cxn>
                <a:cxn ang="0">
                  <a:pos x="connsiteX1389" y="connsiteY1389"/>
                </a:cxn>
                <a:cxn ang="0">
                  <a:pos x="connsiteX1390" y="connsiteY1390"/>
                </a:cxn>
                <a:cxn ang="0">
                  <a:pos x="connsiteX1391" y="connsiteY1391"/>
                </a:cxn>
                <a:cxn ang="0">
                  <a:pos x="connsiteX1392" y="connsiteY1392"/>
                </a:cxn>
                <a:cxn ang="0">
                  <a:pos x="connsiteX1393" y="connsiteY1393"/>
                </a:cxn>
                <a:cxn ang="0">
                  <a:pos x="connsiteX1394" y="connsiteY1394"/>
                </a:cxn>
                <a:cxn ang="0">
                  <a:pos x="connsiteX1395" y="connsiteY1395"/>
                </a:cxn>
                <a:cxn ang="0">
                  <a:pos x="connsiteX1396" y="connsiteY1396"/>
                </a:cxn>
                <a:cxn ang="0">
                  <a:pos x="connsiteX1397" y="connsiteY1397"/>
                </a:cxn>
                <a:cxn ang="0">
                  <a:pos x="connsiteX1398" y="connsiteY1398"/>
                </a:cxn>
                <a:cxn ang="0">
                  <a:pos x="connsiteX1399" y="connsiteY1399"/>
                </a:cxn>
                <a:cxn ang="0">
                  <a:pos x="connsiteX1400" y="connsiteY1400"/>
                </a:cxn>
                <a:cxn ang="0">
                  <a:pos x="connsiteX1401" y="connsiteY1401"/>
                </a:cxn>
                <a:cxn ang="0">
                  <a:pos x="connsiteX1402" y="connsiteY1402"/>
                </a:cxn>
                <a:cxn ang="0">
                  <a:pos x="connsiteX1403" y="connsiteY1403"/>
                </a:cxn>
                <a:cxn ang="0">
                  <a:pos x="connsiteX1404" y="connsiteY1404"/>
                </a:cxn>
                <a:cxn ang="0">
                  <a:pos x="connsiteX1405" y="connsiteY1405"/>
                </a:cxn>
                <a:cxn ang="0">
                  <a:pos x="connsiteX1406" y="connsiteY1406"/>
                </a:cxn>
                <a:cxn ang="0">
                  <a:pos x="connsiteX1407" y="connsiteY1407"/>
                </a:cxn>
                <a:cxn ang="0">
                  <a:pos x="connsiteX1408" y="connsiteY1408"/>
                </a:cxn>
                <a:cxn ang="0">
                  <a:pos x="connsiteX1409" y="connsiteY1409"/>
                </a:cxn>
                <a:cxn ang="0">
                  <a:pos x="connsiteX1410" y="connsiteY1410"/>
                </a:cxn>
                <a:cxn ang="0">
                  <a:pos x="connsiteX1411" y="connsiteY1411"/>
                </a:cxn>
                <a:cxn ang="0">
                  <a:pos x="connsiteX1412" y="connsiteY1412"/>
                </a:cxn>
                <a:cxn ang="0">
                  <a:pos x="connsiteX1413" y="connsiteY1413"/>
                </a:cxn>
                <a:cxn ang="0">
                  <a:pos x="connsiteX1414" y="connsiteY1414"/>
                </a:cxn>
                <a:cxn ang="0">
                  <a:pos x="connsiteX1415" y="connsiteY1415"/>
                </a:cxn>
                <a:cxn ang="0">
                  <a:pos x="connsiteX1416" y="connsiteY1416"/>
                </a:cxn>
                <a:cxn ang="0">
                  <a:pos x="connsiteX1417" y="connsiteY1417"/>
                </a:cxn>
                <a:cxn ang="0">
                  <a:pos x="connsiteX1418" y="connsiteY1418"/>
                </a:cxn>
                <a:cxn ang="0">
                  <a:pos x="connsiteX1419" y="connsiteY1419"/>
                </a:cxn>
                <a:cxn ang="0">
                  <a:pos x="connsiteX1420" y="connsiteY1420"/>
                </a:cxn>
                <a:cxn ang="0">
                  <a:pos x="connsiteX1421" y="connsiteY1421"/>
                </a:cxn>
                <a:cxn ang="0">
                  <a:pos x="connsiteX1422" y="connsiteY1422"/>
                </a:cxn>
                <a:cxn ang="0">
                  <a:pos x="connsiteX1423" y="connsiteY1423"/>
                </a:cxn>
                <a:cxn ang="0">
                  <a:pos x="connsiteX1424" y="connsiteY1424"/>
                </a:cxn>
                <a:cxn ang="0">
                  <a:pos x="connsiteX1425" y="connsiteY1425"/>
                </a:cxn>
                <a:cxn ang="0">
                  <a:pos x="connsiteX1426" y="connsiteY1426"/>
                </a:cxn>
                <a:cxn ang="0">
                  <a:pos x="connsiteX1427" y="connsiteY1427"/>
                </a:cxn>
                <a:cxn ang="0">
                  <a:pos x="connsiteX1428" y="connsiteY1428"/>
                </a:cxn>
                <a:cxn ang="0">
                  <a:pos x="connsiteX1429" y="connsiteY1429"/>
                </a:cxn>
                <a:cxn ang="0">
                  <a:pos x="connsiteX1430" y="connsiteY1430"/>
                </a:cxn>
                <a:cxn ang="0">
                  <a:pos x="connsiteX1431" y="connsiteY1431"/>
                </a:cxn>
                <a:cxn ang="0">
                  <a:pos x="connsiteX1432" y="connsiteY1432"/>
                </a:cxn>
                <a:cxn ang="0">
                  <a:pos x="connsiteX1433" y="connsiteY1433"/>
                </a:cxn>
                <a:cxn ang="0">
                  <a:pos x="connsiteX1434" y="connsiteY1434"/>
                </a:cxn>
                <a:cxn ang="0">
                  <a:pos x="connsiteX1435" y="connsiteY1435"/>
                </a:cxn>
                <a:cxn ang="0">
                  <a:pos x="connsiteX1436" y="connsiteY1436"/>
                </a:cxn>
                <a:cxn ang="0">
                  <a:pos x="connsiteX1437" y="connsiteY1437"/>
                </a:cxn>
                <a:cxn ang="0">
                  <a:pos x="connsiteX1438" y="connsiteY1438"/>
                </a:cxn>
                <a:cxn ang="0">
                  <a:pos x="connsiteX1439" y="connsiteY1439"/>
                </a:cxn>
                <a:cxn ang="0">
                  <a:pos x="connsiteX1440" y="connsiteY1440"/>
                </a:cxn>
                <a:cxn ang="0">
                  <a:pos x="connsiteX1441" y="connsiteY1441"/>
                </a:cxn>
                <a:cxn ang="0">
                  <a:pos x="connsiteX1442" y="connsiteY1442"/>
                </a:cxn>
                <a:cxn ang="0">
                  <a:pos x="connsiteX1443" y="connsiteY1443"/>
                </a:cxn>
                <a:cxn ang="0">
                  <a:pos x="connsiteX1444" y="connsiteY1444"/>
                </a:cxn>
                <a:cxn ang="0">
                  <a:pos x="connsiteX1445" y="connsiteY1445"/>
                </a:cxn>
                <a:cxn ang="0">
                  <a:pos x="connsiteX1446" y="connsiteY1446"/>
                </a:cxn>
                <a:cxn ang="0">
                  <a:pos x="connsiteX1447" y="connsiteY1447"/>
                </a:cxn>
                <a:cxn ang="0">
                  <a:pos x="connsiteX1448" y="connsiteY1448"/>
                </a:cxn>
                <a:cxn ang="0">
                  <a:pos x="connsiteX1449" y="connsiteY1449"/>
                </a:cxn>
                <a:cxn ang="0">
                  <a:pos x="connsiteX1450" y="connsiteY1450"/>
                </a:cxn>
                <a:cxn ang="0">
                  <a:pos x="connsiteX1451" y="connsiteY1451"/>
                </a:cxn>
                <a:cxn ang="0">
                  <a:pos x="connsiteX1452" y="connsiteY1452"/>
                </a:cxn>
                <a:cxn ang="0">
                  <a:pos x="connsiteX1453" y="connsiteY1453"/>
                </a:cxn>
                <a:cxn ang="0">
                  <a:pos x="connsiteX1454" y="connsiteY1454"/>
                </a:cxn>
                <a:cxn ang="0">
                  <a:pos x="connsiteX1455" y="connsiteY1455"/>
                </a:cxn>
                <a:cxn ang="0">
                  <a:pos x="connsiteX1456" y="connsiteY1456"/>
                </a:cxn>
                <a:cxn ang="0">
                  <a:pos x="connsiteX1457" y="connsiteY1457"/>
                </a:cxn>
                <a:cxn ang="0">
                  <a:pos x="connsiteX1458" y="connsiteY1458"/>
                </a:cxn>
                <a:cxn ang="0">
                  <a:pos x="connsiteX1459" y="connsiteY1459"/>
                </a:cxn>
                <a:cxn ang="0">
                  <a:pos x="connsiteX1460" y="connsiteY1460"/>
                </a:cxn>
                <a:cxn ang="0">
                  <a:pos x="connsiteX1461" y="connsiteY1461"/>
                </a:cxn>
                <a:cxn ang="0">
                  <a:pos x="connsiteX1462" y="connsiteY1462"/>
                </a:cxn>
                <a:cxn ang="0">
                  <a:pos x="connsiteX1463" y="connsiteY1463"/>
                </a:cxn>
                <a:cxn ang="0">
                  <a:pos x="connsiteX1464" y="connsiteY1464"/>
                </a:cxn>
                <a:cxn ang="0">
                  <a:pos x="connsiteX1465" y="connsiteY1465"/>
                </a:cxn>
                <a:cxn ang="0">
                  <a:pos x="connsiteX1466" y="connsiteY1466"/>
                </a:cxn>
                <a:cxn ang="0">
                  <a:pos x="connsiteX1467" y="connsiteY1467"/>
                </a:cxn>
                <a:cxn ang="0">
                  <a:pos x="connsiteX1468" y="connsiteY1468"/>
                </a:cxn>
                <a:cxn ang="0">
                  <a:pos x="connsiteX1469" y="connsiteY1469"/>
                </a:cxn>
                <a:cxn ang="0">
                  <a:pos x="connsiteX1470" y="connsiteY1470"/>
                </a:cxn>
                <a:cxn ang="0">
                  <a:pos x="connsiteX1471" y="connsiteY1471"/>
                </a:cxn>
                <a:cxn ang="0">
                  <a:pos x="connsiteX1472" y="connsiteY1472"/>
                </a:cxn>
                <a:cxn ang="0">
                  <a:pos x="connsiteX1473" y="connsiteY1473"/>
                </a:cxn>
                <a:cxn ang="0">
                  <a:pos x="connsiteX1474" y="connsiteY1474"/>
                </a:cxn>
                <a:cxn ang="0">
                  <a:pos x="connsiteX1475" y="connsiteY1475"/>
                </a:cxn>
                <a:cxn ang="0">
                  <a:pos x="connsiteX1476" y="connsiteY1476"/>
                </a:cxn>
                <a:cxn ang="0">
                  <a:pos x="connsiteX1477" y="connsiteY1477"/>
                </a:cxn>
                <a:cxn ang="0">
                  <a:pos x="connsiteX1478" y="connsiteY1478"/>
                </a:cxn>
                <a:cxn ang="0">
                  <a:pos x="connsiteX1479" y="connsiteY1479"/>
                </a:cxn>
                <a:cxn ang="0">
                  <a:pos x="connsiteX1480" y="connsiteY1480"/>
                </a:cxn>
                <a:cxn ang="0">
                  <a:pos x="connsiteX1481" y="connsiteY1481"/>
                </a:cxn>
                <a:cxn ang="0">
                  <a:pos x="connsiteX1482" y="connsiteY1482"/>
                </a:cxn>
                <a:cxn ang="0">
                  <a:pos x="connsiteX1483" y="connsiteY1483"/>
                </a:cxn>
                <a:cxn ang="0">
                  <a:pos x="connsiteX1484" y="connsiteY1484"/>
                </a:cxn>
                <a:cxn ang="0">
                  <a:pos x="connsiteX1485" y="connsiteY1485"/>
                </a:cxn>
                <a:cxn ang="0">
                  <a:pos x="connsiteX1486" y="connsiteY1486"/>
                </a:cxn>
                <a:cxn ang="0">
                  <a:pos x="connsiteX1487" y="connsiteY1487"/>
                </a:cxn>
                <a:cxn ang="0">
                  <a:pos x="connsiteX1488" y="connsiteY1488"/>
                </a:cxn>
                <a:cxn ang="0">
                  <a:pos x="connsiteX1489" y="connsiteY1489"/>
                </a:cxn>
                <a:cxn ang="0">
                  <a:pos x="connsiteX1490" y="connsiteY1490"/>
                </a:cxn>
                <a:cxn ang="0">
                  <a:pos x="connsiteX1491" y="connsiteY1491"/>
                </a:cxn>
                <a:cxn ang="0">
                  <a:pos x="connsiteX1492" y="connsiteY1492"/>
                </a:cxn>
                <a:cxn ang="0">
                  <a:pos x="connsiteX1493" y="connsiteY1493"/>
                </a:cxn>
                <a:cxn ang="0">
                  <a:pos x="connsiteX1494" y="connsiteY1494"/>
                </a:cxn>
                <a:cxn ang="0">
                  <a:pos x="connsiteX1495" y="connsiteY1495"/>
                </a:cxn>
                <a:cxn ang="0">
                  <a:pos x="connsiteX1496" y="connsiteY1496"/>
                </a:cxn>
                <a:cxn ang="0">
                  <a:pos x="connsiteX1497" y="connsiteY1497"/>
                </a:cxn>
                <a:cxn ang="0">
                  <a:pos x="connsiteX1498" y="connsiteY1498"/>
                </a:cxn>
                <a:cxn ang="0">
                  <a:pos x="connsiteX1499" y="connsiteY1499"/>
                </a:cxn>
                <a:cxn ang="0">
                  <a:pos x="connsiteX1500" y="connsiteY1500"/>
                </a:cxn>
                <a:cxn ang="0">
                  <a:pos x="connsiteX1501" y="connsiteY1501"/>
                </a:cxn>
                <a:cxn ang="0">
                  <a:pos x="connsiteX1502" y="connsiteY1502"/>
                </a:cxn>
                <a:cxn ang="0">
                  <a:pos x="connsiteX1503" y="connsiteY1503"/>
                </a:cxn>
                <a:cxn ang="0">
                  <a:pos x="connsiteX1504" y="connsiteY1504"/>
                </a:cxn>
                <a:cxn ang="0">
                  <a:pos x="connsiteX1505" y="connsiteY1505"/>
                </a:cxn>
                <a:cxn ang="0">
                  <a:pos x="connsiteX1506" y="connsiteY1506"/>
                </a:cxn>
                <a:cxn ang="0">
                  <a:pos x="connsiteX1507" y="connsiteY1507"/>
                </a:cxn>
                <a:cxn ang="0">
                  <a:pos x="connsiteX1508" y="connsiteY1508"/>
                </a:cxn>
                <a:cxn ang="0">
                  <a:pos x="connsiteX1509" y="connsiteY1509"/>
                </a:cxn>
                <a:cxn ang="0">
                  <a:pos x="connsiteX1510" y="connsiteY1510"/>
                </a:cxn>
                <a:cxn ang="0">
                  <a:pos x="connsiteX1511" y="connsiteY1511"/>
                </a:cxn>
                <a:cxn ang="0">
                  <a:pos x="connsiteX1512" y="connsiteY1512"/>
                </a:cxn>
                <a:cxn ang="0">
                  <a:pos x="connsiteX1513" y="connsiteY1513"/>
                </a:cxn>
                <a:cxn ang="0">
                  <a:pos x="connsiteX1514" y="connsiteY1514"/>
                </a:cxn>
                <a:cxn ang="0">
                  <a:pos x="connsiteX1515" y="connsiteY1515"/>
                </a:cxn>
                <a:cxn ang="0">
                  <a:pos x="connsiteX1516" y="connsiteY1516"/>
                </a:cxn>
                <a:cxn ang="0">
                  <a:pos x="connsiteX1517" y="connsiteY1517"/>
                </a:cxn>
                <a:cxn ang="0">
                  <a:pos x="connsiteX1518" y="connsiteY1518"/>
                </a:cxn>
                <a:cxn ang="0">
                  <a:pos x="connsiteX1519" y="connsiteY1519"/>
                </a:cxn>
                <a:cxn ang="0">
                  <a:pos x="connsiteX1520" y="connsiteY1520"/>
                </a:cxn>
                <a:cxn ang="0">
                  <a:pos x="connsiteX1521" y="connsiteY1521"/>
                </a:cxn>
                <a:cxn ang="0">
                  <a:pos x="connsiteX1522" y="connsiteY1522"/>
                </a:cxn>
                <a:cxn ang="0">
                  <a:pos x="connsiteX1523" y="connsiteY1523"/>
                </a:cxn>
                <a:cxn ang="0">
                  <a:pos x="connsiteX1524" y="connsiteY1524"/>
                </a:cxn>
                <a:cxn ang="0">
                  <a:pos x="connsiteX1525" y="connsiteY1525"/>
                </a:cxn>
                <a:cxn ang="0">
                  <a:pos x="connsiteX1526" y="connsiteY1526"/>
                </a:cxn>
                <a:cxn ang="0">
                  <a:pos x="connsiteX1527" y="connsiteY1527"/>
                </a:cxn>
                <a:cxn ang="0">
                  <a:pos x="connsiteX1528" y="connsiteY1528"/>
                </a:cxn>
                <a:cxn ang="0">
                  <a:pos x="connsiteX1529" y="connsiteY1529"/>
                </a:cxn>
                <a:cxn ang="0">
                  <a:pos x="connsiteX1530" y="connsiteY1530"/>
                </a:cxn>
                <a:cxn ang="0">
                  <a:pos x="connsiteX1531" y="connsiteY1531"/>
                </a:cxn>
                <a:cxn ang="0">
                  <a:pos x="connsiteX1532" y="connsiteY1532"/>
                </a:cxn>
                <a:cxn ang="0">
                  <a:pos x="connsiteX1533" y="connsiteY1533"/>
                </a:cxn>
                <a:cxn ang="0">
                  <a:pos x="connsiteX1534" y="connsiteY1534"/>
                </a:cxn>
                <a:cxn ang="0">
                  <a:pos x="connsiteX1535" y="connsiteY1535"/>
                </a:cxn>
                <a:cxn ang="0">
                  <a:pos x="connsiteX1536" y="connsiteY1536"/>
                </a:cxn>
                <a:cxn ang="0">
                  <a:pos x="connsiteX1537" y="connsiteY1537"/>
                </a:cxn>
                <a:cxn ang="0">
                  <a:pos x="connsiteX1538" y="connsiteY1538"/>
                </a:cxn>
                <a:cxn ang="0">
                  <a:pos x="connsiteX1539" y="connsiteY1539"/>
                </a:cxn>
                <a:cxn ang="0">
                  <a:pos x="connsiteX1540" y="connsiteY1540"/>
                </a:cxn>
                <a:cxn ang="0">
                  <a:pos x="connsiteX1541" y="connsiteY1541"/>
                </a:cxn>
                <a:cxn ang="0">
                  <a:pos x="connsiteX1542" y="connsiteY1542"/>
                </a:cxn>
                <a:cxn ang="0">
                  <a:pos x="connsiteX1543" y="connsiteY1543"/>
                </a:cxn>
                <a:cxn ang="0">
                  <a:pos x="connsiteX1544" y="connsiteY1544"/>
                </a:cxn>
                <a:cxn ang="0">
                  <a:pos x="connsiteX1545" y="connsiteY1545"/>
                </a:cxn>
                <a:cxn ang="0">
                  <a:pos x="connsiteX1546" y="connsiteY1546"/>
                </a:cxn>
                <a:cxn ang="0">
                  <a:pos x="connsiteX1547" y="connsiteY1547"/>
                </a:cxn>
                <a:cxn ang="0">
                  <a:pos x="connsiteX1548" y="connsiteY1548"/>
                </a:cxn>
                <a:cxn ang="0">
                  <a:pos x="connsiteX1549" y="connsiteY1549"/>
                </a:cxn>
                <a:cxn ang="0">
                  <a:pos x="connsiteX1550" y="connsiteY1550"/>
                </a:cxn>
                <a:cxn ang="0">
                  <a:pos x="connsiteX1551" y="connsiteY1551"/>
                </a:cxn>
                <a:cxn ang="0">
                  <a:pos x="connsiteX1552" y="connsiteY1552"/>
                </a:cxn>
                <a:cxn ang="0">
                  <a:pos x="connsiteX1553" y="connsiteY1553"/>
                </a:cxn>
                <a:cxn ang="0">
                  <a:pos x="connsiteX1554" y="connsiteY1554"/>
                </a:cxn>
                <a:cxn ang="0">
                  <a:pos x="connsiteX1555" y="connsiteY1555"/>
                </a:cxn>
                <a:cxn ang="0">
                  <a:pos x="connsiteX1556" y="connsiteY1556"/>
                </a:cxn>
                <a:cxn ang="0">
                  <a:pos x="connsiteX1557" y="connsiteY1557"/>
                </a:cxn>
                <a:cxn ang="0">
                  <a:pos x="connsiteX1558" y="connsiteY1558"/>
                </a:cxn>
                <a:cxn ang="0">
                  <a:pos x="connsiteX1559" y="connsiteY1559"/>
                </a:cxn>
                <a:cxn ang="0">
                  <a:pos x="connsiteX1560" y="connsiteY1560"/>
                </a:cxn>
                <a:cxn ang="0">
                  <a:pos x="connsiteX1561" y="connsiteY1561"/>
                </a:cxn>
                <a:cxn ang="0">
                  <a:pos x="connsiteX1562" y="connsiteY1562"/>
                </a:cxn>
                <a:cxn ang="0">
                  <a:pos x="connsiteX1563" y="connsiteY1563"/>
                </a:cxn>
                <a:cxn ang="0">
                  <a:pos x="connsiteX1564" y="connsiteY1564"/>
                </a:cxn>
                <a:cxn ang="0">
                  <a:pos x="connsiteX1565" y="connsiteY1565"/>
                </a:cxn>
                <a:cxn ang="0">
                  <a:pos x="connsiteX1566" y="connsiteY1566"/>
                </a:cxn>
                <a:cxn ang="0">
                  <a:pos x="connsiteX1567" y="connsiteY1567"/>
                </a:cxn>
                <a:cxn ang="0">
                  <a:pos x="connsiteX1568" y="connsiteY1568"/>
                </a:cxn>
                <a:cxn ang="0">
                  <a:pos x="connsiteX1569" y="connsiteY1569"/>
                </a:cxn>
                <a:cxn ang="0">
                  <a:pos x="connsiteX1570" y="connsiteY1570"/>
                </a:cxn>
                <a:cxn ang="0">
                  <a:pos x="connsiteX1571" y="connsiteY1571"/>
                </a:cxn>
                <a:cxn ang="0">
                  <a:pos x="connsiteX1572" y="connsiteY1572"/>
                </a:cxn>
                <a:cxn ang="0">
                  <a:pos x="connsiteX1573" y="connsiteY1573"/>
                </a:cxn>
                <a:cxn ang="0">
                  <a:pos x="connsiteX1574" y="connsiteY1574"/>
                </a:cxn>
                <a:cxn ang="0">
                  <a:pos x="connsiteX1575" y="connsiteY1575"/>
                </a:cxn>
                <a:cxn ang="0">
                  <a:pos x="connsiteX1576" y="connsiteY1576"/>
                </a:cxn>
                <a:cxn ang="0">
                  <a:pos x="connsiteX1577" y="connsiteY1577"/>
                </a:cxn>
                <a:cxn ang="0">
                  <a:pos x="connsiteX1578" y="connsiteY1578"/>
                </a:cxn>
                <a:cxn ang="0">
                  <a:pos x="connsiteX1579" y="connsiteY1579"/>
                </a:cxn>
                <a:cxn ang="0">
                  <a:pos x="connsiteX1580" y="connsiteY1580"/>
                </a:cxn>
                <a:cxn ang="0">
                  <a:pos x="connsiteX1581" y="connsiteY1581"/>
                </a:cxn>
                <a:cxn ang="0">
                  <a:pos x="connsiteX1582" y="connsiteY1582"/>
                </a:cxn>
                <a:cxn ang="0">
                  <a:pos x="connsiteX1583" y="connsiteY1583"/>
                </a:cxn>
                <a:cxn ang="0">
                  <a:pos x="connsiteX1584" y="connsiteY1584"/>
                </a:cxn>
                <a:cxn ang="0">
                  <a:pos x="connsiteX1585" y="connsiteY1585"/>
                </a:cxn>
                <a:cxn ang="0">
                  <a:pos x="connsiteX1586" y="connsiteY1586"/>
                </a:cxn>
                <a:cxn ang="0">
                  <a:pos x="connsiteX1587" y="connsiteY1587"/>
                </a:cxn>
                <a:cxn ang="0">
                  <a:pos x="connsiteX1588" y="connsiteY1588"/>
                </a:cxn>
                <a:cxn ang="0">
                  <a:pos x="connsiteX1589" y="connsiteY1589"/>
                </a:cxn>
                <a:cxn ang="0">
                  <a:pos x="connsiteX1590" y="connsiteY1590"/>
                </a:cxn>
                <a:cxn ang="0">
                  <a:pos x="connsiteX1591" y="connsiteY1591"/>
                </a:cxn>
                <a:cxn ang="0">
                  <a:pos x="connsiteX1592" y="connsiteY1592"/>
                </a:cxn>
                <a:cxn ang="0">
                  <a:pos x="connsiteX1593" y="connsiteY1593"/>
                </a:cxn>
                <a:cxn ang="0">
                  <a:pos x="connsiteX1594" y="connsiteY1594"/>
                </a:cxn>
                <a:cxn ang="0">
                  <a:pos x="connsiteX1595" y="connsiteY1595"/>
                </a:cxn>
                <a:cxn ang="0">
                  <a:pos x="connsiteX1596" y="connsiteY1596"/>
                </a:cxn>
                <a:cxn ang="0">
                  <a:pos x="connsiteX1597" y="connsiteY1597"/>
                </a:cxn>
                <a:cxn ang="0">
                  <a:pos x="connsiteX1598" y="connsiteY1598"/>
                </a:cxn>
                <a:cxn ang="0">
                  <a:pos x="connsiteX1599" y="connsiteY1599"/>
                </a:cxn>
                <a:cxn ang="0">
                  <a:pos x="connsiteX1600" y="connsiteY1600"/>
                </a:cxn>
                <a:cxn ang="0">
                  <a:pos x="connsiteX1601" y="connsiteY1601"/>
                </a:cxn>
                <a:cxn ang="0">
                  <a:pos x="connsiteX1602" y="connsiteY1602"/>
                </a:cxn>
                <a:cxn ang="0">
                  <a:pos x="connsiteX1603" y="connsiteY1603"/>
                </a:cxn>
                <a:cxn ang="0">
                  <a:pos x="connsiteX1604" y="connsiteY1604"/>
                </a:cxn>
                <a:cxn ang="0">
                  <a:pos x="connsiteX1605" y="connsiteY1605"/>
                </a:cxn>
                <a:cxn ang="0">
                  <a:pos x="connsiteX1606" y="connsiteY1606"/>
                </a:cxn>
                <a:cxn ang="0">
                  <a:pos x="connsiteX1607" y="connsiteY1607"/>
                </a:cxn>
                <a:cxn ang="0">
                  <a:pos x="connsiteX1608" y="connsiteY1608"/>
                </a:cxn>
                <a:cxn ang="0">
                  <a:pos x="connsiteX1609" y="connsiteY1609"/>
                </a:cxn>
                <a:cxn ang="0">
                  <a:pos x="connsiteX1610" y="connsiteY1610"/>
                </a:cxn>
                <a:cxn ang="0">
                  <a:pos x="connsiteX1611" y="connsiteY1611"/>
                </a:cxn>
                <a:cxn ang="0">
                  <a:pos x="connsiteX1612" y="connsiteY1612"/>
                </a:cxn>
                <a:cxn ang="0">
                  <a:pos x="connsiteX1613" y="connsiteY1613"/>
                </a:cxn>
                <a:cxn ang="0">
                  <a:pos x="connsiteX1614" y="connsiteY1614"/>
                </a:cxn>
                <a:cxn ang="0">
                  <a:pos x="connsiteX1615" y="connsiteY1615"/>
                </a:cxn>
                <a:cxn ang="0">
                  <a:pos x="connsiteX1616" y="connsiteY1616"/>
                </a:cxn>
                <a:cxn ang="0">
                  <a:pos x="connsiteX1617" y="connsiteY1617"/>
                </a:cxn>
                <a:cxn ang="0">
                  <a:pos x="connsiteX1618" y="connsiteY1618"/>
                </a:cxn>
                <a:cxn ang="0">
                  <a:pos x="connsiteX1619" y="connsiteY1619"/>
                </a:cxn>
                <a:cxn ang="0">
                  <a:pos x="connsiteX1620" y="connsiteY1620"/>
                </a:cxn>
                <a:cxn ang="0">
                  <a:pos x="connsiteX1621" y="connsiteY1621"/>
                </a:cxn>
                <a:cxn ang="0">
                  <a:pos x="connsiteX1622" y="connsiteY1622"/>
                </a:cxn>
                <a:cxn ang="0">
                  <a:pos x="connsiteX1623" y="connsiteY1623"/>
                </a:cxn>
                <a:cxn ang="0">
                  <a:pos x="connsiteX1624" y="connsiteY1624"/>
                </a:cxn>
                <a:cxn ang="0">
                  <a:pos x="connsiteX1625" y="connsiteY1625"/>
                </a:cxn>
                <a:cxn ang="0">
                  <a:pos x="connsiteX1626" y="connsiteY1626"/>
                </a:cxn>
                <a:cxn ang="0">
                  <a:pos x="connsiteX1627" y="connsiteY1627"/>
                </a:cxn>
                <a:cxn ang="0">
                  <a:pos x="connsiteX1628" y="connsiteY1628"/>
                </a:cxn>
                <a:cxn ang="0">
                  <a:pos x="connsiteX1629" y="connsiteY1629"/>
                </a:cxn>
                <a:cxn ang="0">
                  <a:pos x="connsiteX1630" y="connsiteY1630"/>
                </a:cxn>
                <a:cxn ang="0">
                  <a:pos x="connsiteX1631" y="connsiteY1631"/>
                </a:cxn>
                <a:cxn ang="0">
                  <a:pos x="connsiteX1632" y="connsiteY1632"/>
                </a:cxn>
                <a:cxn ang="0">
                  <a:pos x="connsiteX1633" y="connsiteY1633"/>
                </a:cxn>
                <a:cxn ang="0">
                  <a:pos x="connsiteX1634" y="connsiteY1634"/>
                </a:cxn>
                <a:cxn ang="0">
                  <a:pos x="connsiteX1635" y="connsiteY1635"/>
                </a:cxn>
                <a:cxn ang="0">
                  <a:pos x="connsiteX1636" y="connsiteY1636"/>
                </a:cxn>
                <a:cxn ang="0">
                  <a:pos x="connsiteX1637" y="connsiteY1637"/>
                </a:cxn>
                <a:cxn ang="0">
                  <a:pos x="connsiteX1638" y="connsiteY1638"/>
                </a:cxn>
                <a:cxn ang="0">
                  <a:pos x="connsiteX1639" y="connsiteY1639"/>
                </a:cxn>
                <a:cxn ang="0">
                  <a:pos x="connsiteX1640" y="connsiteY1640"/>
                </a:cxn>
                <a:cxn ang="0">
                  <a:pos x="connsiteX1641" y="connsiteY1641"/>
                </a:cxn>
                <a:cxn ang="0">
                  <a:pos x="connsiteX1642" y="connsiteY1642"/>
                </a:cxn>
                <a:cxn ang="0">
                  <a:pos x="connsiteX1643" y="connsiteY1643"/>
                </a:cxn>
                <a:cxn ang="0">
                  <a:pos x="connsiteX1644" y="connsiteY1644"/>
                </a:cxn>
                <a:cxn ang="0">
                  <a:pos x="connsiteX1645" y="connsiteY1645"/>
                </a:cxn>
                <a:cxn ang="0">
                  <a:pos x="connsiteX1646" y="connsiteY1646"/>
                </a:cxn>
                <a:cxn ang="0">
                  <a:pos x="connsiteX1647" y="connsiteY1647"/>
                </a:cxn>
                <a:cxn ang="0">
                  <a:pos x="connsiteX1648" y="connsiteY1648"/>
                </a:cxn>
                <a:cxn ang="0">
                  <a:pos x="connsiteX1649" y="connsiteY1649"/>
                </a:cxn>
                <a:cxn ang="0">
                  <a:pos x="connsiteX1650" y="connsiteY1650"/>
                </a:cxn>
                <a:cxn ang="0">
                  <a:pos x="connsiteX1651" y="connsiteY1651"/>
                </a:cxn>
                <a:cxn ang="0">
                  <a:pos x="connsiteX1652" y="connsiteY1652"/>
                </a:cxn>
                <a:cxn ang="0">
                  <a:pos x="connsiteX1653" y="connsiteY1653"/>
                </a:cxn>
                <a:cxn ang="0">
                  <a:pos x="connsiteX1654" y="connsiteY1654"/>
                </a:cxn>
                <a:cxn ang="0">
                  <a:pos x="connsiteX1655" y="connsiteY1655"/>
                </a:cxn>
                <a:cxn ang="0">
                  <a:pos x="connsiteX1656" y="connsiteY1656"/>
                </a:cxn>
                <a:cxn ang="0">
                  <a:pos x="connsiteX1657" y="connsiteY1657"/>
                </a:cxn>
                <a:cxn ang="0">
                  <a:pos x="connsiteX1658" y="connsiteY1658"/>
                </a:cxn>
                <a:cxn ang="0">
                  <a:pos x="connsiteX1659" y="connsiteY1659"/>
                </a:cxn>
                <a:cxn ang="0">
                  <a:pos x="connsiteX1660" y="connsiteY1660"/>
                </a:cxn>
                <a:cxn ang="0">
                  <a:pos x="connsiteX1661" y="connsiteY1661"/>
                </a:cxn>
                <a:cxn ang="0">
                  <a:pos x="connsiteX1662" y="connsiteY1662"/>
                </a:cxn>
                <a:cxn ang="0">
                  <a:pos x="connsiteX1663" y="connsiteY1663"/>
                </a:cxn>
                <a:cxn ang="0">
                  <a:pos x="connsiteX1664" y="connsiteY1664"/>
                </a:cxn>
                <a:cxn ang="0">
                  <a:pos x="connsiteX1665" y="connsiteY1665"/>
                </a:cxn>
                <a:cxn ang="0">
                  <a:pos x="connsiteX1666" y="connsiteY1666"/>
                </a:cxn>
                <a:cxn ang="0">
                  <a:pos x="connsiteX1667" y="connsiteY1667"/>
                </a:cxn>
                <a:cxn ang="0">
                  <a:pos x="connsiteX1668" y="connsiteY1668"/>
                </a:cxn>
                <a:cxn ang="0">
                  <a:pos x="connsiteX1669" y="connsiteY1669"/>
                </a:cxn>
                <a:cxn ang="0">
                  <a:pos x="connsiteX1670" y="connsiteY1670"/>
                </a:cxn>
                <a:cxn ang="0">
                  <a:pos x="connsiteX1671" y="connsiteY1671"/>
                </a:cxn>
                <a:cxn ang="0">
                  <a:pos x="connsiteX1672" y="connsiteY1672"/>
                </a:cxn>
                <a:cxn ang="0">
                  <a:pos x="connsiteX1673" y="connsiteY1673"/>
                </a:cxn>
                <a:cxn ang="0">
                  <a:pos x="connsiteX1674" y="connsiteY1674"/>
                </a:cxn>
                <a:cxn ang="0">
                  <a:pos x="connsiteX1675" y="connsiteY1675"/>
                </a:cxn>
                <a:cxn ang="0">
                  <a:pos x="connsiteX1676" y="connsiteY1676"/>
                </a:cxn>
                <a:cxn ang="0">
                  <a:pos x="connsiteX1677" y="connsiteY1677"/>
                </a:cxn>
                <a:cxn ang="0">
                  <a:pos x="connsiteX1678" y="connsiteY1678"/>
                </a:cxn>
                <a:cxn ang="0">
                  <a:pos x="connsiteX1679" y="connsiteY1679"/>
                </a:cxn>
                <a:cxn ang="0">
                  <a:pos x="connsiteX1680" y="connsiteY1680"/>
                </a:cxn>
                <a:cxn ang="0">
                  <a:pos x="connsiteX1681" y="connsiteY1681"/>
                </a:cxn>
                <a:cxn ang="0">
                  <a:pos x="connsiteX1682" y="connsiteY1682"/>
                </a:cxn>
                <a:cxn ang="0">
                  <a:pos x="connsiteX1683" y="connsiteY1683"/>
                </a:cxn>
                <a:cxn ang="0">
                  <a:pos x="connsiteX1684" y="connsiteY1684"/>
                </a:cxn>
                <a:cxn ang="0">
                  <a:pos x="connsiteX1685" y="connsiteY1685"/>
                </a:cxn>
                <a:cxn ang="0">
                  <a:pos x="connsiteX1686" y="connsiteY1686"/>
                </a:cxn>
                <a:cxn ang="0">
                  <a:pos x="connsiteX1687" y="connsiteY1687"/>
                </a:cxn>
                <a:cxn ang="0">
                  <a:pos x="connsiteX1688" y="connsiteY1688"/>
                </a:cxn>
                <a:cxn ang="0">
                  <a:pos x="connsiteX1689" y="connsiteY1689"/>
                </a:cxn>
                <a:cxn ang="0">
                  <a:pos x="connsiteX1690" y="connsiteY1690"/>
                </a:cxn>
                <a:cxn ang="0">
                  <a:pos x="connsiteX1691" y="connsiteY1691"/>
                </a:cxn>
                <a:cxn ang="0">
                  <a:pos x="connsiteX1692" y="connsiteY1692"/>
                </a:cxn>
                <a:cxn ang="0">
                  <a:pos x="connsiteX1693" y="connsiteY1693"/>
                </a:cxn>
                <a:cxn ang="0">
                  <a:pos x="connsiteX1694" y="connsiteY1694"/>
                </a:cxn>
                <a:cxn ang="0">
                  <a:pos x="connsiteX1695" y="connsiteY1695"/>
                </a:cxn>
                <a:cxn ang="0">
                  <a:pos x="connsiteX1696" y="connsiteY1696"/>
                </a:cxn>
                <a:cxn ang="0">
                  <a:pos x="connsiteX1697" y="connsiteY1697"/>
                </a:cxn>
                <a:cxn ang="0">
                  <a:pos x="connsiteX1698" y="connsiteY1698"/>
                </a:cxn>
                <a:cxn ang="0">
                  <a:pos x="connsiteX1699" y="connsiteY1699"/>
                </a:cxn>
                <a:cxn ang="0">
                  <a:pos x="connsiteX1700" y="connsiteY1700"/>
                </a:cxn>
                <a:cxn ang="0">
                  <a:pos x="connsiteX1701" y="connsiteY1701"/>
                </a:cxn>
                <a:cxn ang="0">
                  <a:pos x="connsiteX1702" y="connsiteY1702"/>
                </a:cxn>
                <a:cxn ang="0">
                  <a:pos x="connsiteX1703" y="connsiteY1703"/>
                </a:cxn>
                <a:cxn ang="0">
                  <a:pos x="connsiteX1704" y="connsiteY1704"/>
                </a:cxn>
                <a:cxn ang="0">
                  <a:pos x="connsiteX1705" y="connsiteY1705"/>
                </a:cxn>
                <a:cxn ang="0">
                  <a:pos x="connsiteX1706" y="connsiteY1706"/>
                </a:cxn>
                <a:cxn ang="0">
                  <a:pos x="connsiteX1707" y="connsiteY1707"/>
                </a:cxn>
                <a:cxn ang="0">
                  <a:pos x="connsiteX1708" y="connsiteY1708"/>
                </a:cxn>
                <a:cxn ang="0">
                  <a:pos x="connsiteX1709" y="connsiteY1709"/>
                </a:cxn>
                <a:cxn ang="0">
                  <a:pos x="connsiteX1710" y="connsiteY1710"/>
                </a:cxn>
                <a:cxn ang="0">
                  <a:pos x="connsiteX1711" y="connsiteY1711"/>
                </a:cxn>
                <a:cxn ang="0">
                  <a:pos x="connsiteX1712" y="connsiteY1712"/>
                </a:cxn>
                <a:cxn ang="0">
                  <a:pos x="connsiteX1713" y="connsiteY1713"/>
                </a:cxn>
                <a:cxn ang="0">
                  <a:pos x="connsiteX1714" y="connsiteY1714"/>
                </a:cxn>
                <a:cxn ang="0">
                  <a:pos x="connsiteX1715" y="connsiteY1715"/>
                </a:cxn>
                <a:cxn ang="0">
                  <a:pos x="connsiteX1716" y="connsiteY1716"/>
                </a:cxn>
                <a:cxn ang="0">
                  <a:pos x="connsiteX1717" y="connsiteY1717"/>
                </a:cxn>
                <a:cxn ang="0">
                  <a:pos x="connsiteX1718" y="connsiteY1718"/>
                </a:cxn>
                <a:cxn ang="0">
                  <a:pos x="connsiteX1719" y="connsiteY1719"/>
                </a:cxn>
                <a:cxn ang="0">
                  <a:pos x="connsiteX1720" y="connsiteY1720"/>
                </a:cxn>
                <a:cxn ang="0">
                  <a:pos x="connsiteX1721" y="connsiteY1721"/>
                </a:cxn>
                <a:cxn ang="0">
                  <a:pos x="connsiteX1722" y="connsiteY1722"/>
                </a:cxn>
                <a:cxn ang="0">
                  <a:pos x="connsiteX1723" y="connsiteY1723"/>
                </a:cxn>
                <a:cxn ang="0">
                  <a:pos x="connsiteX1724" y="connsiteY1724"/>
                </a:cxn>
                <a:cxn ang="0">
                  <a:pos x="connsiteX1725" y="connsiteY1725"/>
                </a:cxn>
                <a:cxn ang="0">
                  <a:pos x="connsiteX1726" y="connsiteY1726"/>
                </a:cxn>
                <a:cxn ang="0">
                  <a:pos x="connsiteX1727" y="connsiteY1727"/>
                </a:cxn>
                <a:cxn ang="0">
                  <a:pos x="connsiteX1728" y="connsiteY1728"/>
                </a:cxn>
                <a:cxn ang="0">
                  <a:pos x="connsiteX1729" y="connsiteY1729"/>
                </a:cxn>
                <a:cxn ang="0">
                  <a:pos x="connsiteX1730" y="connsiteY1730"/>
                </a:cxn>
                <a:cxn ang="0">
                  <a:pos x="connsiteX1731" y="connsiteY1731"/>
                </a:cxn>
                <a:cxn ang="0">
                  <a:pos x="connsiteX1732" y="connsiteY1732"/>
                </a:cxn>
                <a:cxn ang="0">
                  <a:pos x="connsiteX1733" y="connsiteY1733"/>
                </a:cxn>
                <a:cxn ang="0">
                  <a:pos x="connsiteX1734" y="connsiteY1734"/>
                </a:cxn>
                <a:cxn ang="0">
                  <a:pos x="connsiteX1735" y="connsiteY1735"/>
                </a:cxn>
                <a:cxn ang="0">
                  <a:pos x="connsiteX1736" y="connsiteY1736"/>
                </a:cxn>
                <a:cxn ang="0">
                  <a:pos x="connsiteX1737" y="connsiteY1737"/>
                </a:cxn>
                <a:cxn ang="0">
                  <a:pos x="connsiteX1738" y="connsiteY1738"/>
                </a:cxn>
                <a:cxn ang="0">
                  <a:pos x="connsiteX1739" y="connsiteY1739"/>
                </a:cxn>
                <a:cxn ang="0">
                  <a:pos x="connsiteX1740" y="connsiteY1740"/>
                </a:cxn>
                <a:cxn ang="0">
                  <a:pos x="connsiteX1741" y="connsiteY1741"/>
                </a:cxn>
                <a:cxn ang="0">
                  <a:pos x="connsiteX1742" y="connsiteY1742"/>
                </a:cxn>
                <a:cxn ang="0">
                  <a:pos x="connsiteX1743" y="connsiteY1743"/>
                </a:cxn>
                <a:cxn ang="0">
                  <a:pos x="connsiteX1744" y="connsiteY1744"/>
                </a:cxn>
                <a:cxn ang="0">
                  <a:pos x="connsiteX1745" y="connsiteY1745"/>
                </a:cxn>
                <a:cxn ang="0">
                  <a:pos x="connsiteX1746" y="connsiteY1746"/>
                </a:cxn>
                <a:cxn ang="0">
                  <a:pos x="connsiteX1747" y="connsiteY1747"/>
                </a:cxn>
                <a:cxn ang="0">
                  <a:pos x="connsiteX1748" y="connsiteY1748"/>
                </a:cxn>
                <a:cxn ang="0">
                  <a:pos x="connsiteX1749" y="connsiteY1749"/>
                </a:cxn>
                <a:cxn ang="0">
                  <a:pos x="connsiteX1750" y="connsiteY1750"/>
                </a:cxn>
                <a:cxn ang="0">
                  <a:pos x="connsiteX1751" y="connsiteY1751"/>
                </a:cxn>
                <a:cxn ang="0">
                  <a:pos x="connsiteX1752" y="connsiteY1752"/>
                </a:cxn>
                <a:cxn ang="0">
                  <a:pos x="connsiteX1753" y="connsiteY1753"/>
                </a:cxn>
                <a:cxn ang="0">
                  <a:pos x="connsiteX1754" y="connsiteY1754"/>
                </a:cxn>
                <a:cxn ang="0">
                  <a:pos x="connsiteX1755" y="connsiteY1755"/>
                </a:cxn>
                <a:cxn ang="0">
                  <a:pos x="connsiteX1756" y="connsiteY1756"/>
                </a:cxn>
                <a:cxn ang="0">
                  <a:pos x="connsiteX1757" y="connsiteY1757"/>
                </a:cxn>
                <a:cxn ang="0">
                  <a:pos x="connsiteX1758" y="connsiteY1758"/>
                </a:cxn>
                <a:cxn ang="0">
                  <a:pos x="connsiteX1759" y="connsiteY1759"/>
                </a:cxn>
                <a:cxn ang="0">
                  <a:pos x="connsiteX1760" y="connsiteY1760"/>
                </a:cxn>
                <a:cxn ang="0">
                  <a:pos x="connsiteX1761" y="connsiteY1761"/>
                </a:cxn>
                <a:cxn ang="0">
                  <a:pos x="connsiteX1762" y="connsiteY1762"/>
                </a:cxn>
                <a:cxn ang="0">
                  <a:pos x="connsiteX1763" y="connsiteY1763"/>
                </a:cxn>
                <a:cxn ang="0">
                  <a:pos x="connsiteX1764" y="connsiteY1764"/>
                </a:cxn>
                <a:cxn ang="0">
                  <a:pos x="connsiteX1765" y="connsiteY1765"/>
                </a:cxn>
                <a:cxn ang="0">
                  <a:pos x="connsiteX1766" y="connsiteY1766"/>
                </a:cxn>
                <a:cxn ang="0">
                  <a:pos x="connsiteX1767" y="connsiteY1767"/>
                </a:cxn>
                <a:cxn ang="0">
                  <a:pos x="connsiteX1768" y="connsiteY1768"/>
                </a:cxn>
                <a:cxn ang="0">
                  <a:pos x="connsiteX1769" y="connsiteY1769"/>
                </a:cxn>
                <a:cxn ang="0">
                  <a:pos x="connsiteX1770" y="connsiteY1770"/>
                </a:cxn>
                <a:cxn ang="0">
                  <a:pos x="connsiteX1771" y="connsiteY1771"/>
                </a:cxn>
                <a:cxn ang="0">
                  <a:pos x="connsiteX1772" y="connsiteY1772"/>
                </a:cxn>
                <a:cxn ang="0">
                  <a:pos x="connsiteX1773" y="connsiteY1773"/>
                </a:cxn>
                <a:cxn ang="0">
                  <a:pos x="connsiteX1774" y="connsiteY1774"/>
                </a:cxn>
                <a:cxn ang="0">
                  <a:pos x="connsiteX1775" y="connsiteY1775"/>
                </a:cxn>
                <a:cxn ang="0">
                  <a:pos x="connsiteX1776" y="connsiteY1776"/>
                </a:cxn>
                <a:cxn ang="0">
                  <a:pos x="connsiteX1777" y="connsiteY1777"/>
                </a:cxn>
                <a:cxn ang="0">
                  <a:pos x="connsiteX1778" y="connsiteY1778"/>
                </a:cxn>
                <a:cxn ang="0">
                  <a:pos x="connsiteX1779" y="connsiteY1779"/>
                </a:cxn>
                <a:cxn ang="0">
                  <a:pos x="connsiteX1780" y="connsiteY1780"/>
                </a:cxn>
                <a:cxn ang="0">
                  <a:pos x="connsiteX1781" y="connsiteY1781"/>
                </a:cxn>
                <a:cxn ang="0">
                  <a:pos x="connsiteX1782" y="connsiteY1782"/>
                </a:cxn>
                <a:cxn ang="0">
                  <a:pos x="connsiteX1783" y="connsiteY1783"/>
                </a:cxn>
                <a:cxn ang="0">
                  <a:pos x="connsiteX1784" y="connsiteY1784"/>
                </a:cxn>
                <a:cxn ang="0">
                  <a:pos x="connsiteX1785" y="connsiteY1785"/>
                </a:cxn>
                <a:cxn ang="0">
                  <a:pos x="connsiteX1786" y="connsiteY1786"/>
                </a:cxn>
                <a:cxn ang="0">
                  <a:pos x="connsiteX1787" y="connsiteY1787"/>
                </a:cxn>
                <a:cxn ang="0">
                  <a:pos x="connsiteX1788" y="connsiteY1788"/>
                </a:cxn>
                <a:cxn ang="0">
                  <a:pos x="connsiteX1789" y="connsiteY1789"/>
                </a:cxn>
                <a:cxn ang="0">
                  <a:pos x="connsiteX1790" y="connsiteY1790"/>
                </a:cxn>
                <a:cxn ang="0">
                  <a:pos x="connsiteX1791" y="connsiteY1791"/>
                </a:cxn>
                <a:cxn ang="0">
                  <a:pos x="connsiteX1792" y="connsiteY1792"/>
                </a:cxn>
                <a:cxn ang="0">
                  <a:pos x="connsiteX1793" y="connsiteY1793"/>
                </a:cxn>
                <a:cxn ang="0">
                  <a:pos x="connsiteX1794" y="connsiteY1794"/>
                </a:cxn>
                <a:cxn ang="0">
                  <a:pos x="connsiteX1795" y="connsiteY1795"/>
                </a:cxn>
                <a:cxn ang="0">
                  <a:pos x="connsiteX1796" y="connsiteY1796"/>
                </a:cxn>
                <a:cxn ang="0">
                  <a:pos x="connsiteX1797" y="connsiteY1797"/>
                </a:cxn>
                <a:cxn ang="0">
                  <a:pos x="connsiteX1798" y="connsiteY1798"/>
                </a:cxn>
                <a:cxn ang="0">
                  <a:pos x="connsiteX1799" y="connsiteY1799"/>
                </a:cxn>
                <a:cxn ang="0">
                  <a:pos x="connsiteX1800" y="connsiteY1800"/>
                </a:cxn>
                <a:cxn ang="0">
                  <a:pos x="connsiteX1801" y="connsiteY1801"/>
                </a:cxn>
                <a:cxn ang="0">
                  <a:pos x="connsiteX1802" y="connsiteY1802"/>
                </a:cxn>
                <a:cxn ang="0">
                  <a:pos x="connsiteX1803" y="connsiteY1803"/>
                </a:cxn>
                <a:cxn ang="0">
                  <a:pos x="connsiteX1804" y="connsiteY1804"/>
                </a:cxn>
                <a:cxn ang="0">
                  <a:pos x="connsiteX1805" y="connsiteY1805"/>
                </a:cxn>
                <a:cxn ang="0">
                  <a:pos x="connsiteX1806" y="connsiteY1806"/>
                </a:cxn>
                <a:cxn ang="0">
                  <a:pos x="connsiteX1807" y="connsiteY1807"/>
                </a:cxn>
                <a:cxn ang="0">
                  <a:pos x="connsiteX1808" y="connsiteY1808"/>
                </a:cxn>
                <a:cxn ang="0">
                  <a:pos x="connsiteX1809" y="connsiteY1809"/>
                </a:cxn>
                <a:cxn ang="0">
                  <a:pos x="connsiteX1810" y="connsiteY1810"/>
                </a:cxn>
                <a:cxn ang="0">
                  <a:pos x="connsiteX1811" y="connsiteY1811"/>
                </a:cxn>
                <a:cxn ang="0">
                  <a:pos x="connsiteX1812" y="connsiteY1812"/>
                </a:cxn>
                <a:cxn ang="0">
                  <a:pos x="connsiteX1813" y="connsiteY1813"/>
                </a:cxn>
                <a:cxn ang="0">
                  <a:pos x="connsiteX1814" y="connsiteY1814"/>
                </a:cxn>
                <a:cxn ang="0">
                  <a:pos x="connsiteX1815" y="connsiteY1815"/>
                </a:cxn>
                <a:cxn ang="0">
                  <a:pos x="connsiteX1816" y="connsiteY1816"/>
                </a:cxn>
                <a:cxn ang="0">
                  <a:pos x="connsiteX1817" y="connsiteY1817"/>
                </a:cxn>
                <a:cxn ang="0">
                  <a:pos x="connsiteX1818" y="connsiteY1818"/>
                </a:cxn>
                <a:cxn ang="0">
                  <a:pos x="connsiteX1819" y="connsiteY1819"/>
                </a:cxn>
                <a:cxn ang="0">
                  <a:pos x="connsiteX1820" y="connsiteY1820"/>
                </a:cxn>
                <a:cxn ang="0">
                  <a:pos x="connsiteX1821" y="connsiteY1821"/>
                </a:cxn>
                <a:cxn ang="0">
                  <a:pos x="connsiteX1822" y="connsiteY1822"/>
                </a:cxn>
                <a:cxn ang="0">
                  <a:pos x="connsiteX1823" y="connsiteY1823"/>
                </a:cxn>
                <a:cxn ang="0">
                  <a:pos x="connsiteX1824" y="connsiteY1824"/>
                </a:cxn>
                <a:cxn ang="0">
                  <a:pos x="connsiteX1825" y="connsiteY1825"/>
                </a:cxn>
                <a:cxn ang="0">
                  <a:pos x="connsiteX1826" y="connsiteY1826"/>
                </a:cxn>
                <a:cxn ang="0">
                  <a:pos x="connsiteX1827" y="connsiteY1827"/>
                </a:cxn>
                <a:cxn ang="0">
                  <a:pos x="connsiteX1828" y="connsiteY1828"/>
                </a:cxn>
                <a:cxn ang="0">
                  <a:pos x="connsiteX1829" y="connsiteY1829"/>
                </a:cxn>
                <a:cxn ang="0">
                  <a:pos x="connsiteX1830" y="connsiteY1830"/>
                </a:cxn>
                <a:cxn ang="0">
                  <a:pos x="connsiteX1831" y="connsiteY1831"/>
                </a:cxn>
                <a:cxn ang="0">
                  <a:pos x="connsiteX1832" y="connsiteY1832"/>
                </a:cxn>
                <a:cxn ang="0">
                  <a:pos x="connsiteX1833" y="connsiteY1833"/>
                </a:cxn>
                <a:cxn ang="0">
                  <a:pos x="connsiteX1834" y="connsiteY1834"/>
                </a:cxn>
                <a:cxn ang="0">
                  <a:pos x="connsiteX1835" y="connsiteY1835"/>
                </a:cxn>
                <a:cxn ang="0">
                  <a:pos x="connsiteX1836" y="connsiteY1836"/>
                </a:cxn>
                <a:cxn ang="0">
                  <a:pos x="connsiteX1837" y="connsiteY1837"/>
                </a:cxn>
                <a:cxn ang="0">
                  <a:pos x="connsiteX1838" y="connsiteY1838"/>
                </a:cxn>
                <a:cxn ang="0">
                  <a:pos x="connsiteX1839" y="connsiteY1839"/>
                </a:cxn>
                <a:cxn ang="0">
                  <a:pos x="connsiteX1840" y="connsiteY1840"/>
                </a:cxn>
                <a:cxn ang="0">
                  <a:pos x="connsiteX1841" y="connsiteY1841"/>
                </a:cxn>
                <a:cxn ang="0">
                  <a:pos x="connsiteX1842" y="connsiteY1842"/>
                </a:cxn>
                <a:cxn ang="0">
                  <a:pos x="connsiteX1843" y="connsiteY1843"/>
                </a:cxn>
                <a:cxn ang="0">
                  <a:pos x="connsiteX1844" y="connsiteY1844"/>
                </a:cxn>
                <a:cxn ang="0">
                  <a:pos x="connsiteX1845" y="connsiteY1845"/>
                </a:cxn>
                <a:cxn ang="0">
                  <a:pos x="connsiteX1846" y="connsiteY1846"/>
                </a:cxn>
                <a:cxn ang="0">
                  <a:pos x="connsiteX1847" y="connsiteY1847"/>
                </a:cxn>
                <a:cxn ang="0">
                  <a:pos x="connsiteX1848" y="connsiteY1848"/>
                </a:cxn>
                <a:cxn ang="0">
                  <a:pos x="connsiteX1849" y="connsiteY1849"/>
                </a:cxn>
                <a:cxn ang="0">
                  <a:pos x="connsiteX1850" y="connsiteY1850"/>
                </a:cxn>
                <a:cxn ang="0">
                  <a:pos x="connsiteX1851" y="connsiteY1851"/>
                </a:cxn>
                <a:cxn ang="0">
                  <a:pos x="connsiteX1852" y="connsiteY1852"/>
                </a:cxn>
                <a:cxn ang="0">
                  <a:pos x="connsiteX1853" y="connsiteY1853"/>
                </a:cxn>
                <a:cxn ang="0">
                  <a:pos x="connsiteX1854" y="connsiteY1854"/>
                </a:cxn>
                <a:cxn ang="0">
                  <a:pos x="connsiteX1855" y="connsiteY1855"/>
                </a:cxn>
                <a:cxn ang="0">
                  <a:pos x="connsiteX1856" y="connsiteY1856"/>
                </a:cxn>
                <a:cxn ang="0">
                  <a:pos x="connsiteX1857" y="connsiteY1857"/>
                </a:cxn>
                <a:cxn ang="0">
                  <a:pos x="connsiteX1858" y="connsiteY1858"/>
                </a:cxn>
                <a:cxn ang="0">
                  <a:pos x="connsiteX1859" y="connsiteY1859"/>
                </a:cxn>
                <a:cxn ang="0">
                  <a:pos x="connsiteX1860" y="connsiteY1860"/>
                </a:cxn>
                <a:cxn ang="0">
                  <a:pos x="connsiteX1861" y="connsiteY1861"/>
                </a:cxn>
                <a:cxn ang="0">
                  <a:pos x="connsiteX1862" y="connsiteY1862"/>
                </a:cxn>
                <a:cxn ang="0">
                  <a:pos x="connsiteX1863" y="connsiteY1863"/>
                </a:cxn>
                <a:cxn ang="0">
                  <a:pos x="connsiteX1864" y="connsiteY1864"/>
                </a:cxn>
                <a:cxn ang="0">
                  <a:pos x="connsiteX1865" y="connsiteY1865"/>
                </a:cxn>
                <a:cxn ang="0">
                  <a:pos x="connsiteX1866" y="connsiteY1866"/>
                </a:cxn>
                <a:cxn ang="0">
                  <a:pos x="connsiteX1867" y="connsiteY1867"/>
                </a:cxn>
                <a:cxn ang="0">
                  <a:pos x="connsiteX1868" y="connsiteY1868"/>
                </a:cxn>
                <a:cxn ang="0">
                  <a:pos x="connsiteX1869" y="connsiteY1869"/>
                </a:cxn>
                <a:cxn ang="0">
                  <a:pos x="connsiteX1870" y="connsiteY1870"/>
                </a:cxn>
                <a:cxn ang="0">
                  <a:pos x="connsiteX1871" y="connsiteY1871"/>
                </a:cxn>
                <a:cxn ang="0">
                  <a:pos x="connsiteX1872" y="connsiteY1872"/>
                </a:cxn>
                <a:cxn ang="0">
                  <a:pos x="connsiteX1873" y="connsiteY1873"/>
                </a:cxn>
                <a:cxn ang="0">
                  <a:pos x="connsiteX1874" y="connsiteY1874"/>
                </a:cxn>
                <a:cxn ang="0">
                  <a:pos x="connsiteX1875" y="connsiteY1875"/>
                </a:cxn>
                <a:cxn ang="0">
                  <a:pos x="connsiteX1876" y="connsiteY1876"/>
                </a:cxn>
                <a:cxn ang="0">
                  <a:pos x="connsiteX1877" y="connsiteY1877"/>
                </a:cxn>
                <a:cxn ang="0">
                  <a:pos x="connsiteX1878" y="connsiteY1878"/>
                </a:cxn>
                <a:cxn ang="0">
                  <a:pos x="connsiteX1879" y="connsiteY1879"/>
                </a:cxn>
                <a:cxn ang="0">
                  <a:pos x="connsiteX1880" y="connsiteY1880"/>
                </a:cxn>
                <a:cxn ang="0">
                  <a:pos x="connsiteX1881" y="connsiteY1881"/>
                </a:cxn>
                <a:cxn ang="0">
                  <a:pos x="connsiteX1882" y="connsiteY1882"/>
                </a:cxn>
                <a:cxn ang="0">
                  <a:pos x="connsiteX1883" y="connsiteY1883"/>
                </a:cxn>
                <a:cxn ang="0">
                  <a:pos x="connsiteX1884" y="connsiteY1884"/>
                </a:cxn>
                <a:cxn ang="0">
                  <a:pos x="connsiteX1885" y="connsiteY1885"/>
                </a:cxn>
                <a:cxn ang="0">
                  <a:pos x="connsiteX1886" y="connsiteY1886"/>
                </a:cxn>
                <a:cxn ang="0">
                  <a:pos x="connsiteX1887" y="connsiteY1887"/>
                </a:cxn>
                <a:cxn ang="0">
                  <a:pos x="connsiteX1888" y="connsiteY1888"/>
                </a:cxn>
                <a:cxn ang="0">
                  <a:pos x="connsiteX1889" y="connsiteY1889"/>
                </a:cxn>
                <a:cxn ang="0">
                  <a:pos x="connsiteX1890" y="connsiteY1890"/>
                </a:cxn>
                <a:cxn ang="0">
                  <a:pos x="connsiteX1891" y="connsiteY1891"/>
                </a:cxn>
                <a:cxn ang="0">
                  <a:pos x="connsiteX1892" y="connsiteY1892"/>
                </a:cxn>
                <a:cxn ang="0">
                  <a:pos x="connsiteX1893" y="connsiteY1893"/>
                </a:cxn>
                <a:cxn ang="0">
                  <a:pos x="connsiteX1894" y="connsiteY1894"/>
                </a:cxn>
                <a:cxn ang="0">
                  <a:pos x="connsiteX1895" y="connsiteY1895"/>
                </a:cxn>
                <a:cxn ang="0">
                  <a:pos x="connsiteX1896" y="connsiteY1896"/>
                </a:cxn>
                <a:cxn ang="0">
                  <a:pos x="connsiteX1897" y="connsiteY1897"/>
                </a:cxn>
                <a:cxn ang="0">
                  <a:pos x="connsiteX1898" y="connsiteY1898"/>
                </a:cxn>
                <a:cxn ang="0">
                  <a:pos x="connsiteX1899" y="connsiteY1899"/>
                </a:cxn>
                <a:cxn ang="0">
                  <a:pos x="connsiteX1900" y="connsiteY1900"/>
                </a:cxn>
                <a:cxn ang="0">
                  <a:pos x="connsiteX1901" y="connsiteY1901"/>
                </a:cxn>
                <a:cxn ang="0">
                  <a:pos x="connsiteX1902" y="connsiteY1902"/>
                </a:cxn>
                <a:cxn ang="0">
                  <a:pos x="connsiteX1903" y="connsiteY1903"/>
                </a:cxn>
                <a:cxn ang="0">
                  <a:pos x="connsiteX1904" y="connsiteY1904"/>
                </a:cxn>
                <a:cxn ang="0">
                  <a:pos x="connsiteX1905" y="connsiteY1905"/>
                </a:cxn>
                <a:cxn ang="0">
                  <a:pos x="connsiteX1906" y="connsiteY1906"/>
                </a:cxn>
                <a:cxn ang="0">
                  <a:pos x="connsiteX1907" y="connsiteY1907"/>
                </a:cxn>
                <a:cxn ang="0">
                  <a:pos x="connsiteX1908" y="connsiteY1908"/>
                </a:cxn>
                <a:cxn ang="0">
                  <a:pos x="connsiteX1909" y="connsiteY1909"/>
                </a:cxn>
                <a:cxn ang="0">
                  <a:pos x="connsiteX1910" y="connsiteY1910"/>
                </a:cxn>
                <a:cxn ang="0">
                  <a:pos x="connsiteX1911" y="connsiteY1911"/>
                </a:cxn>
                <a:cxn ang="0">
                  <a:pos x="connsiteX1912" y="connsiteY1912"/>
                </a:cxn>
                <a:cxn ang="0">
                  <a:pos x="connsiteX1913" y="connsiteY1913"/>
                </a:cxn>
                <a:cxn ang="0">
                  <a:pos x="connsiteX1914" y="connsiteY1914"/>
                </a:cxn>
                <a:cxn ang="0">
                  <a:pos x="connsiteX1915" y="connsiteY1915"/>
                </a:cxn>
                <a:cxn ang="0">
                  <a:pos x="connsiteX1916" y="connsiteY1916"/>
                </a:cxn>
                <a:cxn ang="0">
                  <a:pos x="connsiteX1917" y="connsiteY1917"/>
                </a:cxn>
                <a:cxn ang="0">
                  <a:pos x="connsiteX1918" y="connsiteY1918"/>
                </a:cxn>
                <a:cxn ang="0">
                  <a:pos x="connsiteX1919" y="connsiteY1919"/>
                </a:cxn>
                <a:cxn ang="0">
                  <a:pos x="connsiteX1920" y="connsiteY1920"/>
                </a:cxn>
                <a:cxn ang="0">
                  <a:pos x="connsiteX1921" y="connsiteY1921"/>
                </a:cxn>
                <a:cxn ang="0">
                  <a:pos x="connsiteX1922" y="connsiteY1922"/>
                </a:cxn>
                <a:cxn ang="0">
                  <a:pos x="connsiteX1923" y="connsiteY1923"/>
                </a:cxn>
                <a:cxn ang="0">
                  <a:pos x="connsiteX1924" y="connsiteY1924"/>
                </a:cxn>
                <a:cxn ang="0">
                  <a:pos x="connsiteX1925" y="connsiteY1925"/>
                </a:cxn>
                <a:cxn ang="0">
                  <a:pos x="connsiteX1926" y="connsiteY1926"/>
                </a:cxn>
                <a:cxn ang="0">
                  <a:pos x="connsiteX1927" y="connsiteY1927"/>
                </a:cxn>
                <a:cxn ang="0">
                  <a:pos x="connsiteX1928" y="connsiteY1928"/>
                </a:cxn>
                <a:cxn ang="0">
                  <a:pos x="connsiteX1929" y="connsiteY1929"/>
                </a:cxn>
                <a:cxn ang="0">
                  <a:pos x="connsiteX1930" y="connsiteY1930"/>
                </a:cxn>
                <a:cxn ang="0">
                  <a:pos x="connsiteX1931" y="connsiteY1931"/>
                </a:cxn>
                <a:cxn ang="0">
                  <a:pos x="connsiteX1932" y="connsiteY1932"/>
                </a:cxn>
                <a:cxn ang="0">
                  <a:pos x="connsiteX1933" y="connsiteY1933"/>
                </a:cxn>
                <a:cxn ang="0">
                  <a:pos x="connsiteX1934" y="connsiteY1934"/>
                </a:cxn>
                <a:cxn ang="0">
                  <a:pos x="connsiteX1935" y="connsiteY1935"/>
                </a:cxn>
                <a:cxn ang="0">
                  <a:pos x="connsiteX1936" y="connsiteY1936"/>
                </a:cxn>
                <a:cxn ang="0">
                  <a:pos x="connsiteX1937" y="connsiteY1937"/>
                </a:cxn>
                <a:cxn ang="0">
                  <a:pos x="connsiteX1938" y="connsiteY1938"/>
                </a:cxn>
                <a:cxn ang="0">
                  <a:pos x="connsiteX1939" y="connsiteY1939"/>
                </a:cxn>
                <a:cxn ang="0">
                  <a:pos x="connsiteX1940" y="connsiteY1940"/>
                </a:cxn>
                <a:cxn ang="0">
                  <a:pos x="connsiteX1941" y="connsiteY1941"/>
                </a:cxn>
                <a:cxn ang="0">
                  <a:pos x="connsiteX1942" y="connsiteY1942"/>
                </a:cxn>
                <a:cxn ang="0">
                  <a:pos x="connsiteX1943" y="connsiteY1943"/>
                </a:cxn>
                <a:cxn ang="0">
                  <a:pos x="connsiteX1944" y="connsiteY1944"/>
                </a:cxn>
                <a:cxn ang="0">
                  <a:pos x="connsiteX1945" y="connsiteY1945"/>
                </a:cxn>
                <a:cxn ang="0">
                  <a:pos x="connsiteX1946" y="connsiteY1946"/>
                </a:cxn>
                <a:cxn ang="0">
                  <a:pos x="connsiteX1947" y="connsiteY1947"/>
                </a:cxn>
                <a:cxn ang="0">
                  <a:pos x="connsiteX1948" y="connsiteY1948"/>
                </a:cxn>
                <a:cxn ang="0">
                  <a:pos x="connsiteX1949" y="connsiteY1949"/>
                </a:cxn>
                <a:cxn ang="0">
                  <a:pos x="connsiteX1950" y="connsiteY1950"/>
                </a:cxn>
                <a:cxn ang="0">
                  <a:pos x="connsiteX1951" y="connsiteY1951"/>
                </a:cxn>
                <a:cxn ang="0">
                  <a:pos x="connsiteX1952" y="connsiteY1952"/>
                </a:cxn>
                <a:cxn ang="0">
                  <a:pos x="connsiteX1953" y="connsiteY1953"/>
                </a:cxn>
                <a:cxn ang="0">
                  <a:pos x="connsiteX1954" y="connsiteY1954"/>
                </a:cxn>
                <a:cxn ang="0">
                  <a:pos x="connsiteX1955" y="connsiteY1955"/>
                </a:cxn>
                <a:cxn ang="0">
                  <a:pos x="connsiteX1956" y="connsiteY1956"/>
                </a:cxn>
                <a:cxn ang="0">
                  <a:pos x="connsiteX1957" y="connsiteY1957"/>
                </a:cxn>
                <a:cxn ang="0">
                  <a:pos x="connsiteX1958" y="connsiteY1958"/>
                </a:cxn>
                <a:cxn ang="0">
                  <a:pos x="connsiteX1959" y="connsiteY1959"/>
                </a:cxn>
                <a:cxn ang="0">
                  <a:pos x="connsiteX1960" y="connsiteY1960"/>
                </a:cxn>
                <a:cxn ang="0">
                  <a:pos x="connsiteX1961" y="connsiteY1961"/>
                </a:cxn>
                <a:cxn ang="0">
                  <a:pos x="connsiteX1962" y="connsiteY1962"/>
                </a:cxn>
                <a:cxn ang="0">
                  <a:pos x="connsiteX1963" y="connsiteY1963"/>
                </a:cxn>
                <a:cxn ang="0">
                  <a:pos x="connsiteX1964" y="connsiteY1964"/>
                </a:cxn>
                <a:cxn ang="0">
                  <a:pos x="connsiteX1965" y="connsiteY1965"/>
                </a:cxn>
                <a:cxn ang="0">
                  <a:pos x="connsiteX1966" y="connsiteY1966"/>
                </a:cxn>
                <a:cxn ang="0">
                  <a:pos x="connsiteX1967" y="connsiteY1967"/>
                </a:cxn>
                <a:cxn ang="0">
                  <a:pos x="connsiteX1968" y="connsiteY1968"/>
                </a:cxn>
                <a:cxn ang="0">
                  <a:pos x="connsiteX1969" y="connsiteY1969"/>
                </a:cxn>
                <a:cxn ang="0">
                  <a:pos x="connsiteX1970" y="connsiteY1970"/>
                </a:cxn>
                <a:cxn ang="0">
                  <a:pos x="connsiteX1971" y="connsiteY1971"/>
                </a:cxn>
                <a:cxn ang="0">
                  <a:pos x="connsiteX1972" y="connsiteY1972"/>
                </a:cxn>
                <a:cxn ang="0">
                  <a:pos x="connsiteX1973" y="connsiteY1973"/>
                </a:cxn>
                <a:cxn ang="0">
                  <a:pos x="connsiteX1974" y="connsiteY1974"/>
                </a:cxn>
                <a:cxn ang="0">
                  <a:pos x="connsiteX1975" y="connsiteY1975"/>
                </a:cxn>
                <a:cxn ang="0">
                  <a:pos x="connsiteX1976" y="connsiteY1976"/>
                </a:cxn>
                <a:cxn ang="0">
                  <a:pos x="connsiteX1977" y="connsiteY1977"/>
                </a:cxn>
                <a:cxn ang="0">
                  <a:pos x="connsiteX1978" y="connsiteY1978"/>
                </a:cxn>
                <a:cxn ang="0">
                  <a:pos x="connsiteX1979" y="connsiteY1979"/>
                </a:cxn>
                <a:cxn ang="0">
                  <a:pos x="connsiteX1980" y="connsiteY1980"/>
                </a:cxn>
                <a:cxn ang="0">
                  <a:pos x="connsiteX1981" y="connsiteY1981"/>
                </a:cxn>
                <a:cxn ang="0">
                  <a:pos x="connsiteX1982" y="connsiteY1982"/>
                </a:cxn>
                <a:cxn ang="0">
                  <a:pos x="connsiteX1983" y="connsiteY1983"/>
                </a:cxn>
                <a:cxn ang="0">
                  <a:pos x="connsiteX1984" y="connsiteY1984"/>
                </a:cxn>
                <a:cxn ang="0">
                  <a:pos x="connsiteX1985" y="connsiteY1985"/>
                </a:cxn>
                <a:cxn ang="0">
                  <a:pos x="connsiteX1986" y="connsiteY1986"/>
                </a:cxn>
                <a:cxn ang="0">
                  <a:pos x="connsiteX1987" y="connsiteY1987"/>
                </a:cxn>
                <a:cxn ang="0">
                  <a:pos x="connsiteX1988" y="connsiteY1988"/>
                </a:cxn>
                <a:cxn ang="0">
                  <a:pos x="connsiteX1989" y="connsiteY1989"/>
                </a:cxn>
                <a:cxn ang="0">
                  <a:pos x="connsiteX1990" y="connsiteY1990"/>
                </a:cxn>
                <a:cxn ang="0">
                  <a:pos x="connsiteX1991" y="connsiteY1991"/>
                </a:cxn>
                <a:cxn ang="0">
                  <a:pos x="connsiteX1992" y="connsiteY1992"/>
                </a:cxn>
                <a:cxn ang="0">
                  <a:pos x="connsiteX1993" y="connsiteY1993"/>
                </a:cxn>
                <a:cxn ang="0">
                  <a:pos x="connsiteX1994" y="connsiteY1994"/>
                </a:cxn>
                <a:cxn ang="0">
                  <a:pos x="connsiteX1995" y="connsiteY1995"/>
                </a:cxn>
                <a:cxn ang="0">
                  <a:pos x="connsiteX1996" y="connsiteY1996"/>
                </a:cxn>
                <a:cxn ang="0">
                  <a:pos x="connsiteX1997" y="connsiteY1997"/>
                </a:cxn>
                <a:cxn ang="0">
                  <a:pos x="connsiteX1998" y="connsiteY1998"/>
                </a:cxn>
                <a:cxn ang="0">
                  <a:pos x="connsiteX1999" y="connsiteY1999"/>
                </a:cxn>
                <a:cxn ang="0">
                  <a:pos x="connsiteX2000" y="connsiteY2000"/>
                </a:cxn>
                <a:cxn ang="0">
                  <a:pos x="connsiteX2001" y="connsiteY2001"/>
                </a:cxn>
                <a:cxn ang="0">
                  <a:pos x="connsiteX2002" y="connsiteY2002"/>
                </a:cxn>
                <a:cxn ang="0">
                  <a:pos x="connsiteX2003" y="connsiteY2003"/>
                </a:cxn>
                <a:cxn ang="0">
                  <a:pos x="connsiteX2004" y="connsiteY2004"/>
                </a:cxn>
                <a:cxn ang="0">
                  <a:pos x="connsiteX2005" y="connsiteY2005"/>
                </a:cxn>
                <a:cxn ang="0">
                  <a:pos x="connsiteX2006" y="connsiteY2006"/>
                </a:cxn>
                <a:cxn ang="0">
                  <a:pos x="connsiteX2007" y="connsiteY2007"/>
                </a:cxn>
                <a:cxn ang="0">
                  <a:pos x="connsiteX2008" y="connsiteY2008"/>
                </a:cxn>
                <a:cxn ang="0">
                  <a:pos x="connsiteX2009" y="connsiteY2009"/>
                </a:cxn>
                <a:cxn ang="0">
                  <a:pos x="connsiteX2010" y="connsiteY2010"/>
                </a:cxn>
                <a:cxn ang="0">
                  <a:pos x="connsiteX2011" y="connsiteY2011"/>
                </a:cxn>
                <a:cxn ang="0">
                  <a:pos x="connsiteX2012" y="connsiteY2012"/>
                </a:cxn>
                <a:cxn ang="0">
                  <a:pos x="connsiteX2013" y="connsiteY2013"/>
                </a:cxn>
                <a:cxn ang="0">
                  <a:pos x="connsiteX2014" y="connsiteY2014"/>
                </a:cxn>
                <a:cxn ang="0">
                  <a:pos x="connsiteX2015" y="connsiteY2015"/>
                </a:cxn>
                <a:cxn ang="0">
                  <a:pos x="connsiteX2016" y="connsiteY2016"/>
                </a:cxn>
                <a:cxn ang="0">
                  <a:pos x="connsiteX2017" y="connsiteY2017"/>
                </a:cxn>
                <a:cxn ang="0">
                  <a:pos x="connsiteX2018" y="connsiteY2018"/>
                </a:cxn>
                <a:cxn ang="0">
                  <a:pos x="connsiteX2019" y="connsiteY2019"/>
                </a:cxn>
                <a:cxn ang="0">
                  <a:pos x="connsiteX2020" y="connsiteY2020"/>
                </a:cxn>
                <a:cxn ang="0">
                  <a:pos x="connsiteX2021" y="connsiteY2021"/>
                </a:cxn>
                <a:cxn ang="0">
                  <a:pos x="connsiteX2022" y="connsiteY2022"/>
                </a:cxn>
                <a:cxn ang="0">
                  <a:pos x="connsiteX2023" y="connsiteY2023"/>
                </a:cxn>
                <a:cxn ang="0">
                  <a:pos x="connsiteX2024" y="connsiteY2024"/>
                </a:cxn>
                <a:cxn ang="0">
                  <a:pos x="connsiteX2025" y="connsiteY2025"/>
                </a:cxn>
                <a:cxn ang="0">
                  <a:pos x="connsiteX2026" y="connsiteY2026"/>
                </a:cxn>
                <a:cxn ang="0">
                  <a:pos x="connsiteX2027" y="connsiteY2027"/>
                </a:cxn>
                <a:cxn ang="0">
                  <a:pos x="connsiteX2028" y="connsiteY2028"/>
                </a:cxn>
                <a:cxn ang="0">
                  <a:pos x="connsiteX2029" y="connsiteY2029"/>
                </a:cxn>
                <a:cxn ang="0">
                  <a:pos x="connsiteX2030" y="connsiteY2030"/>
                </a:cxn>
                <a:cxn ang="0">
                  <a:pos x="connsiteX2031" y="connsiteY2031"/>
                </a:cxn>
                <a:cxn ang="0">
                  <a:pos x="connsiteX2032" y="connsiteY2032"/>
                </a:cxn>
                <a:cxn ang="0">
                  <a:pos x="connsiteX2033" y="connsiteY2033"/>
                </a:cxn>
                <a:cxn ang="0">
                  <a:pos x="connsiteX2034" y="connsiteY2034"/>
                </a:cxn>
                <a:cxn ang="0">
                  <a:pos x="connsiteX2035" y="connsiteY2035"/>
                </a:cxn>
                <a:cxn ang="0">
                  <a:pos x="connsiteX2036" y="connsiteY2036"/>
                </a:cxn>
                <a:cxn ang="0">
                  <a:pos x="connsiteX2037" y="connsiteY2037"/>
                </a:cxn>
                <a:cxn ang="0">
                  <a:pos x="connsiteX2038" y="connsiteY2038"/>
                </a:cxn>
                <a:cxn ang="0">
                  <a:pos x="connsiteX2039" y="connsiteY2039"/>
                </a:cxn>
                <a:cxn ang="0">
                  <a:pos x="connsiteX2040" y="connsiteY2040"/>
                </a:cxn>
                <a:cxn ang="0">
                  <a:pos x="connsiteX2041" y="connsiteY2041"/>
                </a:cxn>
                <a:cxn ang="0">
                  <a:pos x="connsiteX2042" y="connsiteY2042"/>
                </a:cxn>
                <a:cxn ang="0">
                  <a:pos x="connsiteX2043" y="connsiteY2043"/>
                </a:cxn>
                <a:cxn ang="0">
                  <a:pos x="connsiteX2044" y="connsiteY2044"/>
                </a:cxn>
                <a:cxn ang="0">
                  <a:pos x="connsiteX2045" y="connsiteY2045"/>
                </a:cxn>
                <a:cxn ang="0">
                  <a:pos x="connsiteX2046" y="connsiteY2046"/>
                </a:cxn>
                <a:cxn ang="0">
                  <a:pos x="connsiteX2047" y="connsiteY2047"/>
                </a:cxn>
                <a:cxn ang="0">
                  <a:pos x="connsiteX2048" y="connsiteY2048"/>
                </a:cxn>
                <a:cxn ang="0">
                  <a:pos x="connsiteX2049" y="connsiteY2049"/>
                </a:cxn>
                <a:cxn ang="0">
                  <a:pos x="connsiteX2050" y="connsiteY2050"/>
                </a:cxn>
                <a:cxn ang="0">
                  <a:pos x="connsiteX2051" y="connsiteY2051"/>
                </a:cxn>
                <a:cxn ang="0">
                  <a:pos x="connsiteX2052" y="connsiteY2052"/>
                </a:cxn>
                <a:cxn ang="0">
                  <a:pos x="connsiteX2053" y="connsiteY2053"/>
                </a:cxn>
                <a:cxn ang="0">
                  <a:pos x="connsiteX2054" y="connsiteY2054"/>
                </a:cxn>
                <a:cxn ang="0">
                  <a:pos x="connsiteX2055" y="connsiteY2055"/>
                </a:cxn>
                <a:cxn ang="0">
                  <a:pos x="connsiteX2056" y="connsiteY2056"/>
                </a:cxn>
                <a:cxn ang="0">
                  <a:pos x="connsiteX2057" y="connsiteY2057"/>
                </a:cxn>
                <a:cxn ang="0">
                  <a:pos x="connsiteX2058" y="connsiteY2058"/>
                </a:cxn>
                <a:cxn ang="0">
                  <a:pos x="connsiteX2059" y="connsiteY2059"/>
                </a:cxn>
                <a:cxn ang="0">
                  <a:pos x="connsiteX2060" y="connsiteY2060"/>
                </a:cxn>
                <a:cxn ang="0">
                  <a:pos x="connsiteX2061" y="connsiteY2061"/>
                </a:cxn>
                <a:cxn ang="0">
                  <a:pos x="connsiteX2062" y="connsiteY2062"/>
                </a:cxn>
                <a:cxn ang="0">
                  <a:pos x="connsiteX2063" y="connsiteY2063"/>
                </a:cxn>
                <a:cxn ang="0">
                  <a:pos x="connsiteX2064" y="connsiteY2064"/>
                </a:cxn>
                <a:cxn ang="0">
                  <a:pos x="connsiteX2065" y="connsiteY2065"/>
                </a:cxn>
                <a:cxn ang="0">
                  <a:pos x="connsiteX2066" y="connsiteY2066"/>
                </a:cxn>
                <a:cxn ang="0">
                  <a:pos x="connsiteX2067" y="connsiteY2067"/>
                </a:cxn>
                <a:cxn ang="0">
                  <a:pos x="connsiteX2068" y="connsiteY2068"/>
                </a:cxn>
                <a:cxn ang="0">
                  <a:pos x="connsiteX2069" y="connsiteY2069"/>
                </a:cxn>
                <a:cxn ang="0">
                  <a:pos x="connsiteX2070" y="connsiteY2070"/>
                </a:cxn>
                <a:cxn ang="0">
                  <a:pos x="connsiteX2071" y="connsiteY2071"/>
                </a:cxn>
                <a:cxn ang="0">
                  <a:pos x="connsiteX2072" y="connsiteY2072"/>
                </a:cxn>
                <a:cxn ang="0">
                  <a:pos x="connsiteX2073" y="connsiteY2073"/>
                </a:cxn>
                <a:cxn ang="0">
                  <a:pos x="connsiteX2074" y="connsiteY2074"/>
                </a:cxn>
                <a:cxn ang="0">
                  <a:pos x="connsiteX2075" y="connsiteY2075"/>
                </a:cxn>
                <a:cxn ang="0">
                  <a:pos x="connsiteX2076" y="connsiteY2076"/>
                </a:cxn>
                <a:cxn ang="0">
                  <a:pos x="connsiteX2077" y="connsiteY2077"/>
                </a:cxn>
                <a:cxn ang="0">
                  <a:pos x="connsiteX2078" y="connsiteY2078"/>
                </a:cxn>
                <a:cxn ang="0">
                  <a:pos x="connsiteX2079" y="connsiteY2079"/>
                </a:cxn>
                <a:cxn ang="0">
                  <a:pos x="connsiteX2080" y="connsiteY2080"/>
                </a:cxn>
                <a:cxn ang="0">
                  <a:pos x="connsiteX2081" y="connsiteY2081"/>
                </a:cxn>
                <a:cxn ang="0">
                  <a:pos x="connsiteX2082" y="connsiteY2082"/>
                </a:cxn>
                <a:cxn ang="0">
                  <a:pos x="connsiteX2083" y="connsiteY2083"/>
                </a:cxn>
                <a:cxn ang="0">
                  <a:pos x="connsiteX2084" y="connsiteY2084"/>
                </a:cxn>
                <a:cxn ang="0">
                  <a:pos x="connsiteX2085" y="connsiteY2085"/>
                </a:cxn>
                <a:cxn ang="0">
                  <a:pos x="connsiteX2086" y="connsiteY2086"/>
                </a:cxn>
                <a:cxn ang="0">
                  <a:pos x="connsiteX2087" y="connsiteY2087"/>
                </a:cxn>
                <a:cxn ang="0">
                  <a:pos x="connsiteX2088" y="connsiteY2088"/>
                </a:cxn>
                <a:cxn ang="0">
                  <a:pos x="connsiteX2089" y="connsiteY2089"/>
                </a:cxn>
                <a:cxn ang="0">
                  <a:pos x="connsiteX2090" y="connsiteY2090"/>
                </a:cxn>
                <a:cxn ang="0">
                  <a:pos x="connsiteX2091" y="connsiteY2091"/>
                </a:cxn>
                <a:cxn ang="0">
                  <a:pos x="connsiteX2092" y="connsiteY2092"/>
                </a:cxn>
                <a:cxn ang="0">
                  <a:pos x="connsiteX2093" y="connsiteY2093"/>
                </a:cxn>
                <a:cxn ang="0">
                  <a:pos x="connsiteX2094" y="connsiteY2094"/>
                </a:cxn>
                <a:cxn ang="0">
                  <a:pos x="connsiteX2095" y="connsiteY2095"/>
                </a:cxn>
                <a:cxn ang="0">
                  <a:pos x="connsiteX2096" y="connsiteY2096"/>
                </a:cxn>
                <a:cxn ang="0">
                  <a:pos x="connsiteX2097" y="connsiteY2097"/>
                </a:cxn>
                <a:cxn ang="0">
                  <a:pos x="connsiteX2098" y="connsiteY2098"/>
                </a:cxn>
                <a:cxn ang="0">
                  <a:pos x="connsiteX2099" y="connsiteY2099"/>
                </a:cxn>
                <a:cxn ang="0">
                  <a:pos x="connsiteX2100" y="connsiteY2100"/>
                </a:cxn>
                <a:cxn ang="0">
                  <a:pos x="connsiteX2101" y="connsiteY2101"/>
                </a:cxn>
                <a:cxn ang="0">
                  <a:pos x="connsiteX2102" y="connsiteY2102"/>
                </a:cxn>
                <a:cxn ang="0">
                  <a:pos x="connsiteX2103" y="connsiteY2103"/>
                </a:cxn>
                <a:cxn ang="0">
                  <a:pos x="connsiteX2104" y="connsiteY2104"/>
                </a:cxn>
                <a:cxn ang="0">
                  <a:pos x="connsiteX2105" y="connsiteY2105"/>
                </a:cxn>
                <a:cxn ang="0">
                  <a:pos x="connsiteX2106" y="connsiteY2106"/>
                </a:cxn>
                <a:cxn ang="0">
                  <a:pos x="connsiteX2107" y="connsiteY2107"/>
                </a:cxn>
                <a:cxn ang="0">
                  <a:pos x="connsiteX2108" y="connsiteY2108"/>
                </a:cxn>
                <a:cxn ang="0">
                  <a:pos x="connsiteX2109" y="connsiteY2109"/>
                </a:cxn>
                <a:cxn ang="0">
                  <a:pos x="connsiteX2110" y="connsiteY2110"/>
                </a:cxn>
                <a:cxn ang="0">
                  <a:pos x="connsiteX2111" y="connsiteY2111"/>
                </a:cxn>
                <a:cxn ang="0">
                  <a:pos x="connsiteX2112" y="connsiteY2112"/>
                </a:cxn>
                <a:cxn ang="0">
                  <a:pos x="connsiteX2113" y="connsiteY2113"/>
                </a:cxn>
                <a:cxn ang="0">
                  <a:pos x="connsiteX2114" y="connsiteY2114"/>
                </a:cxn>
                <a:cxn ang="0">
                  <a:pos x="connsiteX2115" y="connsiteY2115"/>
                </a:cxn>
                <a:cxn ang="0">
                  <a:pos x="connsiteX2116" y="connsiteY2116"/>
                </a:cxn>
                <a:cxn ang="0">
                  <a:pos x="connsiteX2117" y="connsiteY2117"/>
                </a:cxn>
                <a:cxn ang="0">
                  <a:pos x="connsiteX2118" y="connsiteY2118"/>
                </a:cxn>
                <a:cxn ang="0">
                  <a:pos x="connsiteX2119" y="connsiteY2119"/>
                </a:cxn>
                <a:cxn ang="0">
                  <a:pos x="connsiteX2120" y="connsiteY2120"/>
                </a:cxn>
                <a:cxn ang="0">
                  <a:pos x="connsiteX2121" y="connsiteY2121"/>
                </a:cxn>
                <a:cxn ang="0">
                  <a:pos x="connsiteX2122" y="connsiteY2122"/>
                </a:cxn>
                <a:cxn ang="0">
                  <a:pos x="connsiteX2123" y="connsiteY2123"/>
                </a:cxn>
                <a:cxn ang="0">
                  <a:pos x="connsiteX2124" y="connsiteY2124"/>
                </a:cxn>
                <a:cxn ang="0">
                  <a:pos x="connsiteX2125" y="connsiteY2125"/>
                </a:cxn>
                <a:cxn ang="0">
                  <a:pos x="connsiteX2126" y="connsiteY2126"/>
                </a:cxn>
                <a:cxn ang="0">
                  <a:pos x="connsiteX2127" y="connsiteY2127"/>
                </a:cxn>
                <a:cxn ang="0">
                  <a:pos x="connsiteX2128" y="connsiteY2128"/>
                </a:cxn>
                <a:cxn ang="0">
                  <a:pos x="connsiteX2129" y="connsiteY2129"/>
                </a:cxn>
                <a:cxn ang="0">
                  <a:pos x="connsiteX2130" y="connsiteY2130"/>
                </a:cxn>
                <a:cxn ang="0">
                  <a:pos x="connsiteX2131" y="connsiteY2131"/>
                </a:cxn>
                <a:cxn ang="0">
                  <a:pos x="connsiteX2132" y="connsiteY2132"/>
                </a:cxn>
                <a:cxn ang="0">
                  <a:pos x="connsiteX2133" y="connsiteY2133"/>
                </a:cxn>
                <a:cxn ang="0">
                  <a:pos x="connsiteX2134" y="connsiteY2134"/>
                </a:cxn>
                <a:cxn ang="0">
                  <a:pos x="connsiteX2135" y="connsiteY2135"/>
                </a:cxn>
                <a:cxn ang="0">
                  <a:pos x="connsiteX2136" y="connsiteY2136"/>
                </a:cxn>
                <a:cxn ang="0">
                  <a:pos x="connsiteX2137" y="connsiteY2137"/>
                </a:cxn>
                <a:cxn ang="0">
                  <a:pos x="connsiteX2138" y="connsiteY2138"/>
                </a:cxn>
                <a:cxn ang="0">
                  <a:pos x="connsiteX2139" y="connsiteY2139"/>
                </a:cxn>
                <a:cxn ang="0">
                  <a:pos x="connsiteX2140" y="connsiteY2140"/>
                </a:cxn>
                <a:cxn ang="0">
                  <a:pos x="connsiteX2141" y="connsiteY2141"/>
                </a:cxn>
                <a:cxn ang="0">
                  <a:pos x="connsiteX2142" y="connsiteY2142"/>
                </a:cxn>
                <a:cxn ang="0">
                  <a:pos x="connsiteX2143" y="connsiteY2143"/>
                </a:cxn>
                <a:cxn ang="0">
                  <a:pos x="connsiteX2144" y="connsiteY2144"/>
                </a:cxn>
                <a:cxn ang="0">
                  <a:pos x="connsiteX2145" y="connsiteY2145"/>
                </a:cxn>
                <a:cxn ang="0">
                  <a:pos x="connsiteX2146" y="connsiteY2146"/>
                </a:cxn>
                <a:cxn ang="0">
                  <a:pos x="connsiteX2147" y="connsiteY2147"/>
                </a:cxn>
                <a:cxn ang="0">
                  <a:pos x="connsiteX2148" y="connsiteY2148"/>
                </a:cxn>
                <a:cxn ang="0">
                  <a:pos x="connsiteX2149" y="connsiteY2149"/>
                </a:cxn>
                <a:cxn ang="0">
                  <a:pos x="connsiteX2150" y="connsiteY2150"/>
                </a:cxn>
                <a:cxn ang="0">
                  <a:pos x="connsiteX2151" y="connsiteY2151"/>
                </a:cxn>
                <a:cxn ang="0">
                  <a:pos x="connsiteX2152" y="connsiteY2152"/>
                </a:cxn>
                <a:cxn ang="0">
                  <a:pos x="connsiteX2153" y="connsiteY2153"/>
                </a:cxn>
                <a:cxn ang="0">
                  <a:pos x="connsiteX2154" y="connsiteY2154"/>
                </a:cxn>
                <a:cxn ang="0">
                  <a:pos x="connsiteX2155" y="connsiteY2155"/>
                </a:cxn>
                <a:cxn ang="0">
                  <a:pos x="connsiteX2156" y="connsiteY2156"/>
                </a:cxn>
                <a:cxn ang="0">
                  <a:pos x="connsiteX2157" y="connsiteY2157"/>
                </a:cxn>
                <a:cxn ang="0">
                  <a:pos x="connsiteX2158" y="connsiteY2158"/>
                </a:cxn>
                <a:cxn ang="0">
                  <a:pos x="connsiteX2159" y="connsiteY2159"/>
                </a:cxn>
                <a:cxn ang="0">
                  <a:pos x="connsiteX2160" y="connsiteY2160"/>
                </a:cxn>
                <a:cxn ang="0">
                  <a:pos x="connsiteX2161" y="connsiteY2161"/>
                </a:cxn>
                <a:cxn ang="0">
                  <a:pos x="connsiteX2162" y="connsiteY2162"/>
                </a:cxn>
                <a:cxn ang="0">
                  <a:pos x="connsiteX2163" y="connsiteY2163"/>
                </a:cxn>
                <a:cxn ang="0">
                  <a:pos x="connsiteX2164" y="connsiteY2164"/>
                </a:cxn>
                <a:cxn ang="0">
                  <a:pos x="connsiteX2165" y="connsiteY2165"/>
                </a:cxn>
                <a:cxn ang="0">
                  <a:pos x="connsiteX2166" y="connsiteY2166"/>
                </a:cxn>
                <a:cxn ang="0">
                  <a:pos x="connsiteX2167" y="connsiteY2167"/>
                </a:cxn>
                <a:cxn ang="0">
                  <a:pos x="connsiteX2168" y="connsiteY2168"/>
                </a:cxn>
                <a:cxn ang="0">
                  <a:pos x="connsiteX2169" y="connsiteY2169"/>
                </a:cxn>
                <a:cxn ang="0">
                  <a:pos x="connsiteX2170" y="connsiteY2170"/>
                </a:cxn>
                <a:cxn ang="0">
                  <a:pos x="connsiteX2171" y="connsiteY2171"/>
                </a:cxn>
                <a:cxn ang="0">
                  <a:pos x="connsiteX2172" y="connsiteY2172"/>
                </a:cxn>
                <a:cxn ang="0">
                  <a:pos x="connsiteX2173" y="connsiteY2173"/>
                </a:cxn>
                <a:cxn ang="0">
                  <a:pos x="connsiteX2174" y="connsiteY2174"/>
                </a:cxn>
                <a:cxn ang="0">
                  <a:pos x="connsiteX2175" y="connsiteY2175"/>
                </a:cxn>
                <a:cxn ang="0">
                  <a:pos x="connsiteX2176" y="connsiteY2176"/>
                </a:cxn>
                <a:cxn ang="0">
                  <a:pos x="connsiteX2177" y="connsiteY2177"/>
                </a:cxn>
                <a:cxn ang="0">
                  <a:pos x="connsiteX2178" y="connsiteY2178"/>
                </a:cxn>
                <a:cxn ang="0">
                  <a:pos x="connsiteX2179" y="connsiteY2179"/>
                </a:cxn>
                <a:cxn ang="0">
                  <a:pos x="connsiteX2180" y="connsiteY2180"/>
                </a:cxn>
                <a:cxn ang="0">
                  <a:pos x="connsiteX2181" y="connsiteY2181"/>
                </a:cxn>
                <a:cxn ang="0">
                  <a:pos x="connsiteX2182" y="connsiteY2182"/>
                </a:cxn>
                <a:cxn ang="0">
                  <a:pos x="connsiteX2183" y="connsiteY2183"/>
                </a:cxn>
                <a:cxn ang="0">
                  <a:pos x="connsiteX2184" y="connsiteY2184"/>
                </a:cxn>
                <a:cxn ang="0">
                  <a:pos x="connsiteX2185" y="connsiteY2185"/>
                </a:cxn>
                <a:cxn ang="0">
                  <a:pos x="connsiteX2186" y="connsiteY2186"/>
                </a:cxn>
                <a:cxn ang="0">
                  <a:pos x="connsiteX2187" y="connsiteY2187"/>
                </a:cxn>
                <a:cxn ang="0">
                  <a:pos x="connsiteX2188" y="connsiteY2188"/>
                </a:cxn>
                <a:cxn ang="0">
                  <a:pos x="connsiteX2189" y="connsiteY2189"/>
                </a:cxn>
                <a:cxn ang="0">
                  <a:pos x="connsiteX2190" y="connsiteY2190"/>
                </a:cxn>
                <a:cxn ang="0">
                  <a:pos x="connsiteX2191" y="connsiteY2191"/>
                </a:cxn>
                <a:cxn ang="0">
                  <a:pos x="connsiteX2192" y="connsiteY2192"/>
                </a:cxn>
                <a:cxn ang="0">
                  <a:pos x="connsiteX2193" y="connsiteY2193"/>
                </a:cxn>
                <a:cxn ang="0">
                  <a:pos x="connsiteX2194" y="connsiteY2194"/>
                </a:cxn>
                <a:cxn ang="0">
                  <a:pos x="connsiteX2195" y="connsiteY2195"/>
                </a:cxn>
                <a:cxn ang="0">
                  <a:pos x="connsiteX2196" y="connsiteY2196"/>
                </a:cxn>
                <a:cxn ang="0">
                  <a:pos x="connsiteX2197" y="connsiteY2197"/>
                </a:cxn>
                <a:cxn ang="0">
                  <a:pos x="connsiteX2198" y="connsiteY2198"/>
                </a:cxn>
                <a:cxn ang="0">
                  <a:pos x="connsiteX2199" y="connsiteY2199"/>
                </a:cxn>
                <a:cxn ang="0">
                  <a:pos x="connsiteX2200" y="connsiteY2200"/>
                </a:cxn>
                <a:cxn ang="0">
                  <a:pos x="connsiteX2201" y="connsiteY2201"/>
                </a:cxn>
                <a:cxn ang="0">
                  <a:pos x="connsiteX2202" y="connsiteY2202"/>
                </a:cxn>
                <a:cxn ang="0">
                  <a:pos x="connsiteX2203" y="connsiteY2203"/>
                </a:cxn>
                <a:cxn ang="0">
                  <a:pos x="connsiteX2204" y="connsiteY2204"/>
                </a:cxn>
                <a:cxn ang="0">
                  <a:pos x="connsiteX2205" y="connsiteY2205"/>
                </a:cxn>
                <a:cxn ang="0">
                  <a:pos x="connsiteX2206" y="connsiteY2206"/>
                </a:cxn>
                <a:cxn ang="0">
                  <a:pos x="connsiteX2207" y="connsiteY2207"/>
                </a:cxn>
                <a:cxn ang="0">
                  <a:pos x="connsiteX2208" y="connsiteY2208"/>
                </a:cxn>
              </a:cxnLst>
              <a:rect l="l" t="t" r="r" b="b"/>
              <a:pathLst>
                <a:path w="1178159" h="466571">
                  <a:moveTo>
                    <a:pt x="1178159" y="244690"/>
                  </a:moveTo>
                  <a:lnTo>
                    <a:pt x="1174901" y="340643"/>
                  </a:lnTo>
                  <a:lnTo>
                    <a:pt x="1173435" y="347974"/>
                  </a:lnTo>
                  <a:lnTo>
                    <a:pt x="1173435" y="352047"/>
                  </a:lnTo>
                  <a:cubicBezTo>
                    <a:pt x="1173435" y="352047"/>
                    <a:pt x="1174412" y="354165"/>
                    <a:pt x="1174412" y="354165"/>
                  </a:cubicBezTo>
                  <a:lnTo>
                    <a:pt x="1172294" y="416396"/>
                  </a:lnTo>
                  <a:lnTo>
                    <a:pt x="1170828" y="416396"/>
                  </a:lnTo>
                  <a:cubicBezTo>
                    <a:pt x="1170828" y="416396"/>
                    <a:pt x="1164637" y="414115"/>
                    <a:pt x="1164637" y="414115"/>
                  </a:cubicBezTo>
                  <a:lnTo>
                    <a:pt x="1157469" y="406458"/>
                  </a:lnTo>
                  <a:lnTo>
                    <a:pt x="1155841" y="402711"/>
                  </a:lnTo>
                  <a:lnTo>
                    <a:pt x="1155841" y="401082"/>
                  </a:lnTo>
                  <a:cubicBezTo>
                    <a:pt x="1155841" y="401082"/>
                    <a:pt x="1150790" y="396521"/>
                    <a:pt x="1150790" y="396521"/>
                  </a:cubicBezTo>
                  <a:lnTo>
                    <a:pt x="1148347" y="395055"/>
                  </a:lnTo>
                  <a:lnTo>
                    <a:pt x="1147369" y="391145"/>
                  </a:lnTo>
                  <a:lnTo>
                    <a:pt x="1149650" y="387398"/>
                  </a:lnTo>
                  <a:lnTo>
                    <a:pt x="1149650" y="381696"/>
                  </a:lnTo>
                  <a:cubicBezTo>
                    <a:pt x="1149650" y="381696"/>
                    <a:pt x="1148347" y="387398"/>
                    <a:pt x="1148347" y="387398"/>
                  </a:cubicBezTo>
                  <a:lnTo>
                    <a:pt x="1145089" y="389516"/>
                  </a:lnTo>
                  <a:lnTo>
                    <a:pt x="1137432" y="389027"/>
                  </a:lnTo>
                  <a:lnTo>
                    <a:pt x="1133033" y="391308"/>
                  </a:lnTo>
                  <a:lnTo>
                    <a:pt x="1129449" y="391308"/>
                  </a:lnTo>
                  <a:cubicBezTo>
                    <a:pt x="1129449" y="391308"/>
                    <a:pt x="1127169" y="389027"/>
                    <a:pt x="1127169" y="389027"/>
                  </a:cubicBezTo>
                  <a:lnTo>
                    <a:pt x="1121141" y="392285"/>
                  </a:lnTo>
                  <a:lnTo>
                    <a:pt x="1118046" y="388701"/>
                  </a:lnTo>
                  <a:lnTo>
                    <a:pt x="1120326" y="387235"/>
                  </a:lnTo>
                  <a:lnTo>
                    <a:pt x="1121955" y="383325"/>
                  </a:lnTo>
                  <a:lnTo>
                    <a:pt x="1121955" y="380393"/>
                  </a:lnTo>
                  <a:lnTo>
                    <a:pt x="1123096" y="378764"/>
                  </a:lnTo>
                  <a:lnTo>
                    <a:pt x="1124073" y="372248"/>
                  </a:lnTo>
                  <a:lnTo>
                    <a:pt x="1120815" y="370944"/>
                  </a:lnTo>
                  <a:lnTo>
                    <a:pt x="1117883" y="367197"/>
                  </a:lnTo>
                  <a:lnTo>
                    <a:pt x="1120652" y="366546"/>
                  </a:lnTo>
                  <a:lnTo>
                    <a:pt x="1122933" y="367197"/>
                  </a:lnTo>
                  <a:lnTo>
                    <a:pt x="1127983" y="365242"/>
                  </a:lnTo>
                  <a:lnTo>
                    <a:pt x="1131241" y="364917"/>
                  </a:lnTo>
                  <a:lnTo>
                    <a:pt x="1127494" y="363939"/>
                  </a:lnTo>
                  <a:lnTo>
                    <a:pt x="1121792" y="364754"/>
                  </a:lnTo>
                  <a:lnTo>
                    <a:pt x="1117231" y="362636"/>
                  </a:lnTo>
                  <a:lnTo>
                    <a:pt x="1112996" y="359378"/>
                  </a:lnTo>
                  <a:lnTo>
                    <a:pt x="1114299" y="355957"/>
                  </a:lnTo>
                  <a:lnTo>
                    <a:pt x="1116742" y="355631"/>
                  </a:lnTo>
                  <a:lnTo>
                    <a:pt x="1120652" y="356119"/>
                  </a:lnTo>
                  <a:lnTo>
                    <a:pt x="1118534" y="353513"/>
                  </a:lnTo>
                  <a:lnTo>
                    <a:pt x="1111855" y="348789"/>
                  </a:lnTo>
                  <a:lnTo>
                    <a:pt x="1107457" y="345693"/>
                  </a:lnTo>
                  <a:lnTo>
                    <a:pt x="1105990" y="342435"/>
                  </a:lnTo>
                  <a:lnTo>
                    <a:pt x="1107294" y="337059"/>
                  </a:lnTo>
                  <a:lnTo>
                    <a:pt x="1101592" y="331194"/>
                  </a:lnTo>
                  <a:lnTo>
                    <a:pt x="1101592" y="328914"/>
                  </a:lnTo>
                  <a:lnTo>
                    <a:pt x="1106805" y="324678"/>
                  </a:lnTo>
                  <a:lnTo>
                    <a:pt x="1102080" y="325004"/>
                  </a:lnTo>
                  <a:lnTo>
                    <a:pt x="1099148" y="323049"/>
                  </a:lnTo>
                  <a:lnTo>
                    <a:pt x="1100289" y="321257"/>
                  </a:lnTo>
                  <a:lnTo>
                    <a:pt x="1098333" y="318813"/>
                  </a:lnTo>
                  <a:lnTo>
                    <a:pt x="1102080" y="315881"/>
                  </a:lnTo>
                  <a:lnTo>
                    <a:pt x="1096216" y="317021"/>
                  </a:lnTo>
                  <a:lnTo>
                    <a:pt x="1094587" y="315066"/>
                  </a:lnTo>
                  <a:lnTo>
                    <a:pt x="1091817" y="316207"/>
                  </a:lnTo>
                  <a:lnTo>
                    <a:pt x="1089862" y="314741"/>
                  </a:lnTo>
                  <a:lnTo>
                    <a:pt x="1094098" y="309853"/>
                  </a:lnTo>
                  <a:lnTo>
                    <a:pt x="1090351" y="311971"/>
                  </a:lnTo>
                  <a:lnTo>
                    <a:pt x="1085789" y="311971"/>
                  </a:lnTo>
                  <a:cubicBezTo>
                    <a:pt x="1085789" y="311971"/>
                    <a:pt x="1078948" y="309365"/>
                    <a:pt x="1078948" y="309365"/>
                  </a:cubicBezTo>
                  <a:lnTo>
                    <a:pt x="1077155" y="304640"/>
                  </a:lnTo>
                  <a:lnTo>
                    <a:pt x="1070150" y="302197"/>
                  </a:lnTo>
                  <a:lnTo>
                    <a:pt x="1065751" y="303011"/>
                  </a:lnTo>
                  <a:lnTo>
                    <a:pt x="1050601" y="298287"/>
                  </a:lnTo>
                  <a:lnTo>
                    <a:pt x="1034962" y="293562"/>
                  </a:lnTo>
                  <a:lnTo>
                    <a:pt x="1027305" y="293074"/>
                  </a:lnTo>
                  <a:lnTo>
                    <a:pt x="1021278" y="290141"/>
                  </a:lnTo>
                  <a:lnTo>
                    <a:pt x="1020137" y="287860"/>
                  </a:lnTo>
                  <a:lnTo>
                    <a:pt x="1019485" y="285906"/>
                  </a:lnTo>
                  <a:lnTo>
                    <a:pt x="1014109" y="284765"/>
                  </a:lnTo>
                  <a:lnTo>
                    <a:pt x="1014435" y="281018"/>
                  </a:lnTo>
                  <a:lnTo>
                    <a:pt x="1018182" y="280530"/>
                  </a:lnTo>
                  <a:lnTo>
                    <a:pt x="1020137" y="281018"/>
                  </a:lnTo>
                  <a:lnTo>
                    <a:pt x="1019811" y="279878"/>
                  </a:lnTo>
                  <a:lnTo>
                    <a:pt x="1016064" y="279226"/>
                  </a:lnTo>
                  <a:lnTo>
                    <a:pt x="1011666" y="281018"/>
                  </a:lnTo>
                  <a:lnTo>
                    <a:pt x="1008245" y="279715"/>
                  </a:lnTo>
                  <a:lnTo>
                    <a:pt x="1006616" y="277597"/>
                  </a:lnTo>
                  <a:lnTo>
                    <a:pt x="1005150" y="277109"/>
                  </a:lnTo>
                  <a:lnTo>
                    <a:pt x="1002869" y="279715"/>
                  </a:lnTo>
                  <a:lnTo>
                    <a:pt x="1001891" y="274665"/>
                  </a:lnTo>
                  <a:lnTo>
                    <a:pt x="999936" y="273199"/>
                  </a:lnTo>
                  <a:lnTo>
                    <a:pt x="997982" y="274176"/>
                  </a:lnTo>
                  <a:lnTo>
                    <a:pt x="996678" y="276294"/>
                  </a:lnTo>
                  <a:lnTo>
                    <a:pt x="993746" y="273199"/>
                  </a:lnTo>
                  <a:lnTo>
                    <a:pt x="992117" y="266845"/>
                  </a:lnTo>
                  <a:lnTo>
                    <a:pt x="989836" y="261469"/>
                  </a:lnTo>
                  <a:lnTo>
                    <a:pt x="992932" y="257397"/>
                  </a:lnTo>
                  <a:lnTo>
                    <a:pt x="992932" y="251369"/>
                  </a:lnTo>
                  <a:lnTo>
                    <a:pt x="990325" y="256419"/>
                  </a:lnTo>
                  <a:lnTo>
                    <a:pt x="988370" y="261958"/>
                  </a:lnTo>
                  <a:lnTo>
                    <a:pt x="987555" y="265868"/>
                  </a:lnTo>
                  <a:lnTo>
                    <a:pt x="985275" y="267008"/>
                  </a:lnTo>
                  <a:lnTo>
                    <a:pt x="981365" y="274013"/>
                  </a:lnTo>
                  <a:lnTo>
                    <a:pt x="981853" y="278249"/>
                  </a:lnTo>
                  <a:lnTo>
                    <a:pt x="976641" y="284765"/>
                  </a:lnTo>
                  <a:lnTo>
                    <a:pt x="971427" y="285906"/>
                  </a:lnTo>
                  <a:lnTo>
                    <a:pt x="966866" y="284439"/>
                  </a:lnTo>
                  <a:lnTo>
                    <a:pt x="962956" y="275805"/>
                  </a:lnTo>
                  <a:lnTo>
                    <a:pt x="962956" y="272710"/>
                  </a:lnTo>
                  <a:cubicBezTo>
                    <a:pt x="962956" y="272710"/>
                    <a:pt x="965400" y="271733"/>
                    <a:pt x="965400" y="271733"/>
                  </a:cubicBezTo>
                  <a:lnTo>
                    <a:pt x="965889" y="268311"/>
                  </a:lnTo>
                  <a:lnTo>
                    <a:pt x="965237" y="264890"/>
                  </a:lnTo>
                  <a:lnTo>
                    <a:pt x="962141" y="266031"/>
                  </a:lnTo>
                  <a:lnTo>
                    <a:pt x="960350" y="264239"/>
                  </a:lnTo>
                  <a:lnTo>
                    <a:pt x="957743" y="258048"/>
                  </a:lnTo>
                  <a:lnTo>
                    <a:pt x="953182" y="255604"/>
                  </a:lnTo>
                  <a:lnTo>
                    <a:pt x="947317" y="254627"/>
                  </a:lnTo>
                  <a:lnTo>
                    <a:pt x="945525" y="252020"/>
                  </a:lnTo>
                  <a:lnTo>
                    <a:pt x="948620" y="248111"/>
                  </a:lnTo>
                  <a:lnTo>
                    <a:pt x="954648" y="247622"/>
                  </a:lnTo>
                  <a:lnTo>
                    <a:pt x="956603" y="249577"/>
                  </a:lnTo>
                  <a:lnTo>
                    <a:pt x="961978" y="250066"/>
                  </a:lnTo>
                  <a:lnTo>
                    <a:pt x="965889" y="252020"/>
                  </a:lnTo>
                  <a:lnTo>
                    <a:pt x="970939" y="249088"/>
                  </a:lnTo>
                  <a:lnTo>
                    <a:pt x="972568" y="243060"/>
                  </a:lnTo>
                  <a:lnTo>
                    <a:pt x="976478" y="241757"/>
                  </a:lnTo>
                  <a:lnTo>
                    <a:pt x="984460" y="245504"/>
                  </a:lnTo>
                  <a:lnTo>
                    <a:pt x="987555" y="250066"/>
                  </a:lnTo>
                  <a:lnTo>
                    <a:pt x="989836" y="245178"/>
                  </a:lnTo>
                  <a:lnTo>
                    <a:pt x="992605" y="241431"/>
                  </a:lnTo>
                  <a:lnTo>
                    <a:pt x="995212" y="242409"/>
                  </a:lnTo>
                  <a:lnTo>
                    <a:pt x="996026" y="236870"/>
                  </a:lnTo>
                  <a:lnTo>
                    <a:pt x="994560" y="233612"/>
                  </a:lnTo>
                  <a:lnTo>
                    <a:pt x="981691" y="232146"/>
                  </a:lnTo>
                  <a:lnTo>
                    <a:pt x="983482" y="234752"/>
                  </a:lnTo>
                  <a:lnTo>
                    <a:pt x="980387" y="235404"/>
                  </a:lnTo>
                  <a:lnTo>
                    <a:pt x="977781" y="234752"/>
                  </a:lnTo>
                  <a:lnTo>
                    <a:pt x="969798" y="236381"/>
                  </a:lnTo>
                  <a:lnTo>
                    <a:pt x="966703" y="235241"/>
                  </a:lnTo>
                  <a:lnTo>
                    <a:pt x="963771" y="236707"/>
                  </a:lnTo>
                  <a:lnTo>
                    <a:pt x="960675" y="234915"/>
                  </a:lnTo>
                  <a:lnTo>
                    <a:pt x="956114" y="236055"/>
                  </a:lnTo>
                  <a:lnTo>
                    <a:pt x="951389" y="235241"/>
                  </a:lnTo>
                  <a:lnTo>
                    <a:pt x="946014" y="230842"/>
                  </a:lnTo>
                  <a:lnTo>
                    <a:pt x="944547" y="224977"/>
                  </a:lnTo>
                  <a:lnTo>
                    <a:pt x="945687" y="223511"/>
                  </a:lnTo>
                  <a:lnTo>
                    <a:pt x="942918" y="218787"/>
                  </a:lnTo>
                  <a:lnTo>
                    <a:pt x="935750" y="214714"/>
                  </a:lnTo>
                  <a:lnTo>
                    <a:pt x="932981" y="211782"/>
                  </a:lnTo>
                  <a:lnTo>
                    <a:pt x="931514" y="213737"/>
                  </a:lnTo>
                  <a:lnTo>
                    <a:pt x="927442" y="216018"/>
                  </a:lnTo>
                  <a:lnTo>
                    <a:pt x="921577" y="215040"/>
                  </a:lnTo>
                  <a:lnTo>
                    <a:pt x="922555" y="211945"/>
                  </a:lnTo>
                  <a:lnTo>
                    <a:pt x="928582" y="208035"/>
                  </a:lnTo>
                  <a:lnTo>
                    <a:pt x="929071" y="204288"/>
                  </a:lnTo>
                  <a:lnTo>
                    <a:pt x="927279" y="201030"/>
                  </a:lnTo>
                  <a:lnTo>
                    <a:pt x="931189" y="197772"/>
                  </a:lnTo>
                  <a:lnTo>
                    <a:pt x="938194" y="197772"/>
                  </a:lnTo>
                  <a:cubicBezTo>
                    <a:pt x="938194" y="197772"/>
                    <a:pt x="941615" y="194351"/>
                    <a:pt x="941615" y="194351"/>
                  </a:cubicBezTo>
                  <a:lnTo>
                    <a:pt x="945687" y="193210"/>
                  </a:lnTo>
                  <a:lnTo>
                    <a:pt x="952367" y="187997"/>
                  </a:lnTo>
                  <a:lnTo>
                    <a:pt x="954322" y="186205"/>
                  </a:lnTo>
                  <a:lnTo>
                    <a:pt x="962467" y="184576"/>
                  </a:lnTo>
                  <a:lnTo>
                    <a:pt x="975500" y="189626"/>
                  </a:lnTo>
                  <a:lnTo>
                    <a:pt x="983646" y="195165"/>
                  </a:lnTo>
                  <a:lnTo>
                    <a:pt x="991954" y="194839"/>
                  </a:lnTo>
                  <a:lnTo>
                    <a:pt x="1000425" y="195654"/>
                  </a:lnTo>
                  <a:lnTo>
                    <a:pt x="1002380" y="197935"/>
                  </a:lnTo>
                  <a:lnTo>
                    <a:pt x="1000751" y="200704"/>
                  </a:lnTo>
                  <a:lnTo>
                    <a:pt x="1000751" y="206895"/>
                  </a:lnTo>
                  <a:lnTo>
                    <a:pt x="1005150" y="210642"/>
                  </a:lnTo>
                  <a:lnTo>
                    <a:pt x="1006778" y="215203"/>
                  </a:lnTo>
                  <a:lnTo>
                    <a:pt x="1003683" y="219765"/>
                  </a:lnTo>
                  <a:lnTo>
                    <a:pt x="1000914" y="224489"/>
                  </a:lnTo>
                  <a:lnTo>
                    <a:pt x="1002706" y="231331"/>
                  </a:lnTo>
                  <a:lnTo>
                    <a:pt x="1003032" y="243060"/>
                  </a:lnTo>
                  <a:lnTo>
                    <a:pt x="1006290" y="248762"/>
                  </a:lnTo>
                  <a:lnTo>
                    <a:pt x="1009222" y="252509"/>
                  </a:lnTo>
                  <a:lnTo>
                    <a:pt x="1011177" y="252509"/>
                  </a:lnTo>
                  <a:cubicBezTo>
                    <a:pt x="1011177" y="252509"/>
                    <a:pt x="1010689" y="246319"/>
                    <a:pt x="1010689" y="246319"/>
                  </a:cubicBezTo>
                  <a:lnTo>
                    <a:pt x="1013132" y="243712"/>
                  </a:lnTo>
                  <a:lnTo>
                    <a:pt x="1016064" y="245504"/>
                  </a:lnTo>
                  <a:lnTo>
                    <a:pt x="1016064" y="250717"/>
                  </a:lnTo>
                  <a:cubicBezTo>
                    <a:pt x="1016064" y="250717"/>
                    <a:pt x="1017530" y="255767"/>
                    <a:pt x="1017530" y="255767"/>
                  </a:cubicBezTo>
                  <a:lnTo>
                    <a:pt x="1019160" y="254627"/>
                  </a:lnTo>
                  <a:lnTo>
                    <a:pt x="1020789" y="259189"/>
                  </a:lnTo>
                  <a:lnTo>
                    <a:pt x="1026491" y="263750"/>
                  </a:lnTo>
                  <a:lnTo>
                    <a:pt x="1029423" y="266845"/>
                  </a:lnTo>
                  <a:lnTo>
                    <a:pt x="1033659" y="266845"/>
                  </a:lnTo>
                  <a:lnTo>
                    <a:pt x="1038546" y="264565"/>
                  </a:lnTo>
                  <a:lnTo>
                    <a:pt x="1039849" y="260003"/>
                  </a:lnTo>
                  <a:lnTo>
                    <a:pt x="1042619" y="257885"/>
                  </a:lnTo>
                  <a:lnTo>
                    <a:pt x="1045551" y="256908"/>
                  </a:lnTo>
                  <a:lnTo>
                    <a:pt x="1045551" y="250554"/>
                  </a:lnTo>
                  <a:lnTo>
                    <a:pt x="1048809" y="245341"/>
                  </a:lnTo>
                  <a:lnTo>
                    <a:pt x="1053859" y="244852"/>
                  </a:lnTo>
                  <a:lnTo>
                    <a:pt x="1058746" y="241920"/>
                  </a:lnTo>
                  <a:lnTo>
                    <a:pt x="1059235" y="237196"/>
                  </a:lnTo>
                  <a:lnTo>
                    <a:pt x="1061027" y="234426"/>
                  </a:lnTo>
                  <a:lnTo>
                    <a:pt x="1063308" y="235567"/>
                  </a:lnTo>
                  <a:lnTo>
                    <a:pt x="1066403" y="235241"/>
                  </a:lnTo>
                  <a:lnTo>
                    <a:pt x="1071128" y="233449"/>
                  </a:lnTo>
                  <a:lnTo>
                    <a:pt x="1078459" y="232471"/>
                  </a:lnTo>
                  <a:lnTo>
                    <a:pt x="1079436" y="228725"/>
                  </a:lnTo>
                  <a:lnTo>
                    <a:pt x="1076992" y="224163"/>
                  </a:lnTo>
                  <a:lnTo>
                    <a:pt x="1077970" y="221719"/>
                  </a:lnTo>
                  <a:lnTo>
                    <a:pt x="1090677" y="214226"/>
                  </a:lnTo>
                  <a:lnTo>
                    <a:pt x="1096705" y="214714"/>
                  </a:lnTo>
                  <a:lnTo>
                    <a:pt x="1100777" y="218624"/>
                  </a:lnTo>
                  <a:lnTo>
                    <a:pt x="1108597" y="222045"/>
                  </a:lnTo>
                  <a:lnTo>
                    <a:pt x="1117720" y="224000"/>
                  </a:lnTo>
                  <a:lnTo>
                    <a:pt x="1122444" y="228073"/>
                  </a:lnTo>
                  <a:lnTo>
                    <a:pt x="1127657" y="228562"/>
                  </a:lnTo>
                  <a:lnTo>
                    <a:pt x="1134173" y="230354"/>
                  </a:lnTo>
                  <a:lnTo>
                    <a:pt x="1148998" y="237196"/>
                  </a:lnTo>
                  <a:lnTo>
                    <a:pt x="1152745" y="236381"/>
                  </a:lnTo>
                  <a:lnTo>
                    <a:pt x="1156166" y="236870"/>
                  </a:lnTo>
                  <a:lnTo>
                    <a:pt x="1162520" y="238499"/>
                  </a:lnTo>
                  <a:lnTo>
                    <a:pt x="1167081" y="238499"/>
                  </a:lnTo>
                  <a:cubicBezTo>
                    <a:pt x="1167081" y="238499"/>
                    <a:pt x="1170828" y="240943"/>
                    <a:pt x="1170828" y="240943"/>
                  </a:cubicBezTo>
                  <a:lnTo>
                    <a:pt x="1170014" y="243223"/>
                  </a:lnTo>
                  <a:lnTo>
                    <a:pt x="1170014" y="245993"/>
                  </a:lnTo>
                  <a:cubicBezTo>
                    <a:pt x="1170014" y="245993"/>
                    <a:pt x="1173435" y="247133"/>
                    <a:pt x="1173435" y="247133"/>
                  </a:cubicBezTo>
                  <a:lnTo>
                    <a:pt x="1177670" y="245993"/>
                  </a:lnTo>
                  <a:lnTo>
                    <a:pt x="1177670" y="245993"/>
                  </a:lnTo>
                  <a:close/>
                  <a:moveTo>
                    <a:pt x="873844" y="173661"/>
                  </a:moveTo>
                  <a:lnTo>
                    <a:pt x="883619" y="178549"/>
                  </a:lnTo>
                  <a:lnTo>
                    <a:pt x="884271" y="181155"/>
                  </a:lnTo>
                  <a:lnTo>
                    <a:pt x="877266" y="177408"/>
                  </a:lnTo>
                  <a:lnTo>
                    <a:pt x="873682" y="173661"/>
                  </a:lnTo>
                  <a:lnTo>
                    <a:pt x="873682" y="173661"/>
                  </a:lnTo>
                  <a:close/>
                  <a:moveTo>
                    <a:pt x="924835" y="183925"/>
                  </a:moveTo>
                  <a:lnTo>
                    <a:pt x="928093" y="185065"/>
                  </a:lnTo>
                  <a:lnTo>
                    <a:pt x="932329" y="183599"/>
                  </a:lnTo>
                  <a:lnTo>
                    <a:pt x="931351" y="180177"/>
                  </a:lnTo>
                  <a:lnTo>
                    <a:pt x="925161" y="176431"/>
                  </a:lnTo>
                  <a:lnTo>
                    <a:pt x="916527" y="176431"/>
                  </a:lnTo>
                  <a:lnTo>
                    <a:pt x="912617" y="179363"/>
                  </a:lnTo>
                  <a:lnTo>
                    <a:pt x="907567" y="179363"/>
                  </a:lnTo>
                  <a:cubicBezTo>
                    <a:pt x="907567" y="179363"/>
                    <a:pt x="905938" y="180341"/>
                    <a:pt x="905938" y="180341"/>
                  </a:cubicBezTo>
                  <a:lnTo>
                    <a:pt x="907567" y="182133"/>
                  </a:lnTo>
                  <a:lnTo>
                    <a:pt x="903983" y="183110"/>
                  </a:lnTo>
                  <a:lnTo>
                    <a:pt x="911314" y="184250"/>
                  </a:lnTo>
                  <a:lnTo>
                    <a:pt x="916038" y="186368"/>
                  </a:lnTo>
                  <a:lnTo>
                    <a:pt x="920274" y="185717"/>
                  </a:lnTo>
                  <a:lnTo>
                    <a:pt x="920274" y="183599"/>
                  </a:lnTo>
                  <a:cubicBezTo>
                    <a:pt x="920274" y="183599"/>
                    <a:pt x="916038" y="181969"/>
                    <a:pt x="916038" y="181969"/>
                  </a:cubicBezTo>
                  <a:lnTo>
                    <a:pt x="915387" y="180829"/>
                  </a:lnTo>
                  <a:lnTo>
                    <a:pt x="917178" y="179852"/>
                  </a:lnTo>
                  <a:lnTo>
                    <a:pt x="924509" y="183925"/>
                  </a:lnTo>
                  <a:lnTo>
                    <a:pt x="924509" y="183925"/>
                  </a:lnTo>
                  <a:close/>
                  <a:moveTo>
                    <a:pt x="916527" y="199238"/>
                  </a:moveTo>
                  <a:lnTo>
                    <a:pt x="911314" y="197283"/>
                  </a:lnTo>
                  <a:lnTo>
                    <a:pt x="906426" y="198260"/>
                  </a:lnTo>
                  <a:lnTo>
                    <a:pt x="910336" y="200378"/>
                  </a:lnTo>
                  <a:lnTo>
                    <a:pt x="916364" y="199238"/>
                  </a:lnTo>
                  <a:lnTo>
                    <a:pt x="916364" y="199238"/>
                  </a:lnTo>
                  <a:close/>
                  <a:moveTo>
                    <a:pt x="920111" y="195491"/>
                  </a:moveTo>
                  <a:lnTo>
                    <a:pt x="918156" y="198586"/>
                  </a:lnTo>
                  <a:lnTo>
                    <a:pt x="915875" y="196143"/>
                  </a:lnTo>
                  <a:lnTo>
                    <a:pt x="920111" y="195491"/>
                  </a:lnTo>
                  <a:lnTo>
                    <a:pt x="920111" y="195491"/>
                  </a:lnTo>
                  <a:close/>
                  <a:moveTo>
                    <a:pt x="919296" y="199401"/>
                  </a:moveTo>
                  <a:lnTo>
                    <a:pt x="914083" y="203148"/>
                  </a:lnTo>
                  <a:lnTo>
                    <a:pt x="914083" y="209990"/>
                  </a:lnTo>
                  <a:cubicBezTo>
                    <a:pt x="914083" y="209990"/>
                    <a:pt x="919622" y="211130"/>
                    <a:pt x="919622" y="211130"/>
                  </a:cubicBezTo>
                  <a:lnTo>
                    <a:pt x="922066" y="209338"/>
                  </a:lnTo>
                  <a:lnTo>
                    <a:pt x="923369" y="200704"/>
                  </a:lnTo>
                  <a:lnTo>
                    <a:pt x="919459" y="199238"/>
                  </a:lnTo>
                  <a:lnTo>
                    <a:pt x="919459" y="199238"/>
                  </a:lnTo>
                  <a:close/>
                  <a:moveTo>
                    <a:pt x="776751" y="74450"/>
                  </a:moveTo>
                  <a:lnTo>
                    <a:pt x="781964" y="80314"/>
                  </a:lnTo>
                  <a:lnTo>
                    <a:pt x="783593" y="85690"/>
                  </a:lnTo>
                  <a:lnTo>
                    <a:pt x="781312" y="88297"/>
                  </a:lnTo>
                  <a:lnTo>
                    <a:pt x="776751" y="84224"/>
                  </a:lnTo>
                  <a:lnTo>
                    <a:pt x="775773" y="77708"/>
                  </a:lnTo>
                  <a:lnTo>
                    <a:pt x="776751" y="74450"/>
                  </a:lnTo>
                  <a:lnTo>
                    <a:pt x="776751" y="74450"/>
                  </a:lnTo>
                  <a:close/>
                  <a:moveTo>
                    <a:pt x="807866" y="56041"/>
                  </a:moveTo>
                  <a:lnTo>
                    <a:pt x="809659" y="62231"/>
                  </a:lnTo>
                  <a:lnTo>
                    <a:pt x="810147" y="66956"/>
                  </a:lnTo>
                  <a:lnTo>
                    <a:pt x="812754" y="65815"/>
                  </a:lnTo>
                  <a:lnTo>
                    <a:pt x="814709" y="61254"/>
                  </a:lnTo>
                  <a:lnTo>
                    <a:pt x="813568" y="56529"/>
                  </a:lnTo>
                  <a:lnTo>
                    <a:pt x="810147" y="54249"/>
                  </a:lnTo>
                  <a:lnTo>
                    <a:pt x="807703" y="55878"/>
                  </a:lnTo>
                  <a:lnTo>
                    <a:pt x="807703" y="55878"/>
                  </a:lnTo>
                  <a:close/>
                  <a:moveTo>
                    <a:pt x="807866" y="68585"/>
                  </a:moveTo>
                  <a:lnTo>
                    <a:pt x="810636" y="69399"/>
                  </a:lnTo>
                  <a:lnTo>
                    <a:pt x="812265" y="74124"/>
                  </a:lnTo>
                  <a:lnTo>
                    <a:pt x="810310" y="74124"/>
                  </a:lnTo>
                  <a:cubicBezTo>
                    <a:pt x="810310" y="74124"/>
                    <a:pt x="807866" y="68748"/>
                    <a:pt x="807866" y="68585"/>
                  </a:cubicBezTo>
                  <a:lnTo>
                    <a:pt x="807866" y="68585"/>
                  </a:lnTo>
                  <a:close/>
                  <a:moveTo>
                    <a:pt x="848919" y="115828"/>
                  </a:moveTo>
                  <a:lnTo>
                    <a:pt x="850549" y="123974"/>
                  </a:lnTo>
                  <a:lnTo>
                    <a:pt x="853481" y="121530"/>
                  </a:lnTo>
                  <a:lnTo>
                    <a:pt x="857228" y="121856"/>
                  </a:lnTo>
                  <a:lnTo>
                    <a:pt x="860975" y="118272"/>
                  </a:lnTo>
                  <a:lnTo>
                    <a:pt x="859509" y="114362"/>
                  </a:lnTo>
                  <a:lnTo>
                    <a:pt x="856250" y="112244"/>
                  </a:lnTo>
                  <a:lnTo>
                    <a:pt x="852992" y="114688"/>
                  </a:lnTo>
                  <a:lnTo>
                    <a:pt x="849082" y="116154"/>
                  </a:lnTo>
                  <a:lnTo>
                    <a:pt x="849082" y="116154"/>
                  </a:lnTo>
                  <a:close/>
                  <a:moveTo>
                    <a:pt x="844032" y="184413"/>
                  </a:moveTo>
                  <a:lnTo>
                    <a:pt x="845987" y="191581"/>
                  </a:lnTo>
                  <a:lnTo>
                    <a:pt x="852666" y="197446"/>
                  </a:lnTo>
                  <a:lnTo>
                    <a:pt x="854133" y="199890"/>
                  </a:lnTo>
                  <a:lnTo>
                    <a:pt x="852178" y="200541"/>
                  </a:lnTo>
                  <a:lnTo>
                    <a:pt x="851852" y="203636"/>
                  </a:lnTo>
                  <a:lnTo>
                    <a:pt x="850712" y="199564"/>
                  </a:lnTo>
                  <a:lnTo>
                    <a:pt x="846313" y="197772"/>
                  </a:lnTo>
                  <a:lnTo>
                    <a:pt x="842241" y="189463"/>
                  </a:lnTo>
                  <a:lnTo>
                    <a:pt x="836864" y="186205"/>
                  </a:lnTo>
                  <a:lnTo>
                    <a:pt x="833606" y="180503"/>
                  </a:lnTo>
                  <a:lnTo>
                    <a:pt x="835561" y="175127"/>
                  </a:lnTo>
                  <a:lnTo>
                    <a:pt x="834584" y="172195"/>
                  </a:lnTo>
                  <a:lnTo>
                    <a:pt x="835235" y="169100"/>
                  </a:lnTo>
                  <a:lnTo>
                    <a:pt x="830348" y="165027"/>
                  </a:lnTo>
                  <a:lnTo>
                    <a:pt x="831325" y="159814"/>
                  </a:lnTo>
                  <a:lnTo>
                    <a:pt x="833280" y="156556"/>
                  </a:lnTo>
                  <a:lnTo>
                    <a:pt x="830348" y="151180"/>
                  </a:lnTo>
                  <a:lnTo>
                    <a:pt x="827741" y="147922"/>
                  </a:lnTo>
                  <a:lnTo>
                    <a:pt x="829371" y="141405"/>
                  </a:lnTo>
                  <a:lnTo>
                    <a:pt x="832466" y="138961"/>
                  </a:lnTo>
                  <a:lnTo>
                    <a:pt x="831977" y="132445"/>
                  </a:lnTo>
                  <a:lnTo>
                    <a:pt x="833606" y="125114"/>
                  </a:lnTo>
                  <a:lnTo>
                    <a:pt x="841263" y="117620"/>
                  </a:lnTo>
                  <a:lnTo>
                    <a:pt x="843869" y="116969"/>
                  </a:lnTo>
                  <a:lnTo>
                    <a:pt x="843381" y="121042"/>
                  </a:lnTo>
                  <a:lnTo>
                    <a:pt x="839471" y="125440"/>
                  </a:lnTo>
                  <a:lnTo>
                    <a:pt x="840448" y="128210"/>
                  </a:lnTo>
                  <a:lnTo>
                    <a:pt x="844847" y="130002"/>
                  </a:lnTo>
                  <a:lnTo>
                    <a:pt x="844847" y="137821"/>
                  </a:lnTo>
                  <a:lnTo>
                    <a:pt x="842892" y="144338"/>
                  </a:lnTo>
                  <a:lnTo>
                    <a:pt x="838819" y="144338"/>
                  </a:lnTo>
                  <a:cubicBezTo>
                    <a:pt x="838819" y="144338"/>
                    <a:pt x="835072" y="148247"/>
                    <a:pt x="835072" y="148247"/>
                  </a:cubicBezTo>
                  <a:lnTo>
                    <a:pt x="837353" y="152483"/>
                  </a:lnTo>
                  <a:lnTo>
                    <a:pt x="840285" y="151994"/>
                  </a:lnTo>
                  <a:lnTo>
                    <a:pt x="841914" y="147922"/>
                  </a:lnTo>
                  <a:lnTo>
                    <a:pt x="846313" y="145967"/>
                  </a:lnTo>
                  <a:lnTo>
                    <a:pt x="848594" y="143360"/>
                  </a:lnTo>
                  <a:lnTo>
                    <a:pt x="845987" y="143360"/>
                  </a:lnTo>
                  <a:cubicBezTo>
                    <a:pt x="845987" y="143360"/>
                    <a:pt x="846476" y="139613"/>
                    <a:pt x="846476" y="139613"/>
                  </a:cubicBezTo>
                  <a:lnTo>
                    <a:pt x="854133" y="135703"/>
                  </a:lnTo>
                  <a:lnTo>
                    <a:pt x="862278" y="132771"/>
                  </a:lnTo>
                  <a:lnTo>
                    <a:pt x="865210" y="135866"/>
                  </a:lnTo>
                  <a:lnTo>
                    <a:pt x="865536" y="139613"/>
                  </a:lnTo>
                  <a:lnTo>
                    <a:pt x="861626" y="148573"/>
                  </a:lnTo>
                  <a:lnTo>
                    <a:pt x="852341" y="151668"/>
                  </a:lnTo>
                  <a:lnTo>
                    <a:pt x="849082" y="155578"/>
                  </a:lnTo>
                  <a:lnTo>
                    <a:pt x="851037" y="158999"/>
                  </a:lnTo>
                  <a:lnTo>
                    <a:pt x="854296" y="159325"/>
                  </a:lnTo>
                  <a:lnTo>
                    <a:pt x="860812" y="163887"/>
                  </a:lnTo>
                  <a:lnTo>
                    <a:pt x="861789" y="167634"/>
                  </a:lnTo>
                  <a:lnTo>
                    <a:pt x="864233" y="169588"/>
                  </a:lnTo>
                  <a:lnTo>
                    <a:pt x="859183" y="169914"/>
                  </a:lnTo>
                  <a:lnTo>
                    <a:pt x="855762" y="167145"/>
                  </a:lnTo>
                  <a:lnTo>
                    <a:pt x="849082" y="167145"/>
                  </a:lnTo>
                  <a:cubicBezTo>
                    <a:pt x="849082" y="167145"/>
                    <a:pt x="843218" y="165190"/>
                    <a:pt x="843218" y="165190"/>
                  </a:cubicBezTo>
                  <a:lnTo>
                    <a:pt x="839471" y="166493"/>
                  </a:lnTo>
                  <a:lnTo>
                    <a:pt x="839471" y="176105"/>
                  </a:lnTo>
                  <a:lnTo>
                    <a:pt x="843707" y="184413"/>
                  </a:lnTo>
                  <a:lnTo>
                    <a:pt x="843707" y="184413"/>
                  </a:lnTo>
                  <a:close/>
                  <a:moveTo>
                    <a:pt x="823506" y="195817"/>
                  </a:moveTo>
                  <a:lnTo>
                    <a:pt x="825298" y="199564"/>
                  </a:lnTo>
                  <a:lnTo>
                    <a:pt x="820085" y="197935"/>
                  </a:lnTo>
                  <a:lnTo>
                    <a:pt x="821877" y="194514"/>
                  </a:lnTo>
                  <a:lnTo>
                    <a:pt x="823506" y="195654"/>
                  </a:lnTo>
                  <a:lnTo>
                    <a:pt x="823506" y="195654"/>
                  </a:lnTo>
                  <a:close/>
                  <a:moveTo>
                    <a:pt x="823343" y="185554"/>
                  </a:moveTo>
                  <a:lnTo>
                    <a:pt x="820410" y="185554"/>
                  </a:lnTo>
                  <a:cubicBezTo>
                    <a:pt x="820410" y="185554"/>
                    <a:pt x="818782" y="190441"/>
                    <a:pt x="818782" y="190441"/>
                  </a:cubicBezTo>
                  <a:lnTo>
                    <a:pt x="821877" y="191581"/>
                  </a:lnTo>
                  <a:lnTo>
                    <a:pt x="823180" y="188160"/>
                  </a:lnTo>
                  <a:lnTo>
                    <a:pt x="823180" y="185554"/>
                  </a:lnTo>
                  <a:lnTo>
                    <a:pt x="823180" y="185554"/>
                  </a:lnTo>
                  <a:close/>
                  <a:moveTo>
                    <a:pt x="827578" y="188486"/>
                  </a:moveTo>
                  <a:lnTo>
                    <a:pt x="825950" y="189952"/>
                  </a:lnTo>
                  <a:lnTo>
                    <a:pt x="826275" y="193047"/>
                  </a:lnTo>
                  <a:lnTo>
                    <a:pt x="829044" y="197283"/>
                  </a:lnTo>
                  <a:lnTo>
                    <a:pt x="833443" y="197283"/>
                  </a:lnTo>
                  <a:cubicBezTo>
                    <a:pt x="833443" y="197283"/>
                    <a:pt x="836212" y="199727"/>
                    <a:pt x="836212" y="199727"/>
                  </a:cubicBezTo>
                  <a:lnTo>
                    <a:pt x="838493" y="197283"/>
                  </a:lnTo>
                  <a:lnTo>
                    <a:pt x="837190" y="195165"/>
                  </a:lnTo>
                  <a:lnTo>
                    <a:pt x="833606" y="193536"/>
                  </a:lnTo>
                  <a:lnTo>
                    <a:pt x="833932" y="189789"/>
                  </a:lnTo>
                  <a:lnTo>
                    <a:pt x="831000" y="187834"/>
                  </a:lnTo>
                  <a:lnTo>
                    <a:pt x="827578" y="188486"/>
                  </a:lnTo>
                  <a:lnTo>
                    <a:pt x="827578" y="188486"/>
                  </a:lnTo>
                  <a:close/>
                  <a:moveTo>
                    <a:pt x="826764" y="218135"/>
                  </a:moveTo>
                  <a:lnTo>
                    <a:pt x="833932" y="212759"/>
                  </a:lnTo>
                  <a:lnTo>
                    <a:pt x="840123" y="213085"/>
                  </a:lnTo>
                  <a:lnTo>
                    <a:pt x="846476" y="219439"/>
                  </a:lnTo>
                  <a:lnTo>
                    <a:pt x="845010" y="222371"/>
                  </a:lnTo>
                  <a:lnTo>
                    <a:pt x="837679" y="222371"/>
                  </a:lnTo>
                  <a:lnTo>
                    <a:pt x="834258" y="223023"/>
                  </a:lnTo>
                  <a:lnTo>
                    <a:pt x="829859" y="221231"/>
                  </a:lnTo>
                  <a:lnTo>
                    <a:pt x="826927" y="218135"/>
                  </a:lnTo>
                  <a:lnTo>
                    <a:pt x="826927" y="218135"/>
                  </a:lnTo>
                  <a:close/>
                  <a:moveTo>
                    <a:pt x="900562" y="220416"/>
                  </a:moveTo>
                  <a:lnTo>
                    <a:pt x="891113" y="222697"/>
                  </a:lnTo>
                  <a:lnTo>
                    <a:pt x="887692" y="224977"/>
                  </a:lnTo>
                  <a:lnTo>
                    <a:pt x="889973" y="227095"/>
                  </a:lnTo>
                  <a:lnTo>
                    <a:pt x="898118" y="229702"/>
                  </a:lnTo>
                  <a:lnTo>
                    <a:pt x="905123" y="227584"/>
                  </a:lnTo>
                  <a:lnTo>
                    <a:pt x="903168" y="226444"/>
                  </a:lnTo>
                  <a:lnTo>
                    <a:pt x="902842" y="222534"/>
                  </a:lnTo>
                  <a:lnTo>
                    <a:pt x="900562" y="220253"/>
                  </a:lnTo>
                  <a:lnTo>
                    <a:pt x="900562" y="220253"/>
                  </a:lnTo>
                  <a:close/>
                  <a:moveTo>
                    <a:pt x="856576" y="270429"/>
                  </a:moveTo>
                  <a:lnTo>
                    <a:pt x="859509" y="269941"/>
                  </a:lnTo>
                  <a:lnTo>
                    <a:pt x="859509" y="271895"/>
                  </a:lnTo>
                  <a:cubicBezTo>
                    <a:pt x="859509" y="271895"/>
                    <a:pt x="857717" y="272384"/>
                    <a:pt x="857717" y="272384"/>
                  </a:cubicBezTo>
                  <a:lnTo>
                    <a:pt x="856576" y="270429"/>
                  </a:lnTo>
                  <a:lnTo>
                    <a:pt x="856576" y="270429"/>
                  </a:lnTo>
                  <a:close/>
                  <a:moveTo>
                    <a:pt x="851689" y="270755"/>
                  </a:moveTo>
                  <a:lnTo>
                    <a:pt x="854296" y="270755"/>
                  </a:lnTo>
                  <a:lnTo>
                    <a:pt x="854784" y="273036"/>
                  </a:lnTo>
                  <a:lnTo>
                    <a:pt x="852341" y="273036"/>
                  </a:lnTo>
                  <a:lnTo>
                    <a:pt x="851852" y="270755"/>
                  </a:lnTo>
                  <a:lnTo>
                    <a:pt x="851852" y="270755"/>
                  </a:lnTo>
                  <a:close/>
                  <a:moveTo>
                    <a:pt x="838657" y="273362"/>
                  </a:moveTo>
                  <a:lnTo>
                    <a:pt x="844684" y="271570"/>
                  </a:lnTo>
                  <a:lnTo>
                    <a:pt x="847128" y="269778"/>
                  </a:lnTo>
                  <a:lnTo>
                    <a:pt x="849734" y="271081"/>
                  </a:lnTo>
                  <a:lnTo>
                    <a:pt x="846639" y="276457"/>
                  </a:lnTo>
                  <a:lnTo>
                    <a:pt x="845661" y="274013"/>
                  </a:lnTo>
                  <a:lnTo>
                    <a:pt x="841914" y="276294"/>
                  </a:lnTo>
                  <a:lnTo>
                    <a:pt x="838493" y="273362"/>
                  </a:lnTo>
                  <a:lnTo>
                    <a:pt x="838493" y="273362"/>
                  </a:lnTo>
                  <a:close/>
                  <a:moveTo>
                    <a:pt x="836864" y="257722"/>
                  </a:moveTo>
                  <a:lnTo>
                    <a:pt x="833932" y="260329"/>
                  </a:lnTo>
                  <a:lnTo>
                    <a:pt x="836864" y="260818"/>
                  </a:lnTo>
                  <a:lnTo>
                    <a:pt x="836864" y="257722"/>
                  </a:lnTo>
                  <a:lnTo>
                    <a:pt x="836864" y="257722"/>
                  </a:lnTo>
                  <a:close/>
                  <a:moveTo>
                    <a:pt x="842241" y="252509"/>
                  </a:moveTo>
                  <a:lnTo>
                    <a:pt x="837842" y="252835"/>
                  </a:lnTo>
                  <a:lnTo>
                    <a:pt x="838819" y="255116"/>
                  </a:lnTo>
                  <a:lnTo>
                    <a:pt x="841426" y="255116"/>
                  </a:lnTo>
                  <a:cubicBezTo>
                    <a:pt x="841426" y="255116"/>
                    <a:pt x="842241" y="252672"/>
                    <a:pt x="842241" y="252672"/>
                  </a:cubicBezTo>
                  <a:lnTo>
                    <a:pt x="842241" y="252672"/>
                  </a:lnTo>
                  <a:close/>
                  <a:moveTo>
                    <a:pt x="843544" y="266845"/>
                  </a:moveTo>
                  <a:lnTo>
                    <a:pt x="848105" y="259514"/>
                  </a:lnTo>
                  <a:lnTo>
                    <a:pt x="852015" y="263750"/>
                  </a:lnTo>
                  <a:lnTo>
                    <a:pt x="854296" y="267008"/>
                  </a:lnTo>
                  <a:lnTo>
                    <a:pt x="858857" y="266682"/>
                  </a:lnTo>
                  <a:lnTo>
                    <a:pt x="863582" y="261958"/>
                  </a:lnTo>
                  <a:lnTo>
                    <a:pt x="866677" y="261958"/>
                  </a:lnTo>
                  <a:lnTo>
                    <a:pt x="869446" y="266682"/>
                  </a:lnTo>
                  <a:lnTo>
                    <a:pt x="880524" y="267986"/>
                  </a:lnTo>
                  <a:lnTo>
                    <a:pt x="882968" y="264727"/>
                  </a:lnTo>
                  <a:lnTo>
                    <a:pt x="888181" y="264727"/>
                  </a:lnTo>
                  <a:lnTo>
                    <a:pt x="898281" y="270755"/>
                  </a:lnTo>
                  <a:lnTo>
                    <a:pt x="902842" y="271733"/>
                  </a:lnTo>
                  <a:lnTo>
                    <a:pt x="908382" y="277597"/>
                  </a:lnTo>
                  <a:lnTo>
                    <a:pt x="913757" y="277597"/>
                  </a:lnTo>
                  <a:lnTo>
                    <a:pt x="915712" y="273036"/>
                  </a:lnTo>
                  <a:lnTo>
                    <a:pt x="913269" y="263424"/>
                  </a:lnTo>
                  <a:lnTo>
                    <a:pt x="900562" y="256256"/>
                  </a:lnTo>
                  <a:lnTo>
                    <a:pt x="890135" y="254301"/>
                  </a:lnTo>
                  <a:lnTo>
                    <a:pt x="884923" y="250066"/>
                  </a:lnTo>
                  <a:lnTo>
                    <a:pt x="879384" y="249577"/>
                  </a:lnTo>
                  <a:lnTo>
                    <a:pt x="874822" y="253650"/>
                  </a:lnTo>
                  <a:lnTo>
                    <a:pt x="869446" y="253161"/>
                  </a:lnTo>
                  <a:lnTo>
                    <a:pt x="865699" y="251695"/>
                  </a:lnTo>
                  <a:lnTo>
                    <a:pt x="858205" y="252184"/>
                  </a:lnTo>
                  <a:lnTo>
                    <a:pt x="847779" y="252184"/>
                  </a:lnTo>
                  <a:cubicBezTo>
                    <a:pt x="847779" y="252184"/>
                    <a:pt x="845498" y="254953"/>
                    <a:pt x="845498" y="254953"/>
                  </a:cubicBezTo>
                  <a:lnTo>
                    <a:pt x="845173" y="257885"/>
                  </a:lnTo>
                  <a:lnTo>
                    <a:pt x="840937" y="259351"/>
                  </a:lnTo>
                  <a:lnTo>
                    <a:pt x="839308" y="263750"/>
                  </a:lnTo>
                  <a:lnTo>
                    <a:pt x="840611" y="267008"/>
                  </a:lnTo>
                  <a:lnTo>
                    <a:pt x="843544" y="267008"/>
                  </a:lnTo>
                  <a:close/>
                  <a:moveTo>
                    <a:pt x="793042" y="258700"/>
                  </a:moveTo>
                  <a:lnTo>
                    <a:pt x="797766" y="260655"/>
                  </a:lnTo>
                  <a:lnTo>
                    <a:pt x="801839" y="257234"/>
                  </a:lnTo>
                  <a:lnTo>
                    <a:pt x="811614" y="257722"/>
                  </a:lnTo>
                  <a:lnTo>
                    <a:pt x="818782" y="260655"/>
                  </a:lnTo>
                  <a:lnTo>
                    <a:pt x="819107" y="263587"/>
                  </a:lnTo>
                  <a:lnTo>
                    <a:pt x="823506" y="268800"/>
                  </a:lnTo>
                  <a:lnTo>
                    <a:pt x="823180" y="272710"/>
                  </a:lnTo>
                  <a:lnTo>
                    <a:pt x="818944" y="272710"/>
                  </a:lnTo>
                  <a:cubicBezTo>
                    <a:pt x="818944" y="272710"/>
                    <a:pt x="813731" y="277109"/>
                    <a:pt x="813731" y="277109"/>
                  </a:cubicBezTo>
                  <a:lnTo>
                    <a:pt x="807866" y="276620"/>
                  </a:lnTo>
                  <a:lnTo>
                    <a:pt x="801839" y="277109"/>
                  </a:lnTo>
                  <a:lnTo>
                    <a:pt x="799558" y="275154"/>
                  </a:lnTo>
                  <a:lnTo>
                    <a:pt x="792064" y="273687"/>
                  </a:lnTo>
                  <a:lnTo>
                    <a:pt x="787992" y="268149"/>
                  </a:lnTo>
                  <a:lnTo>
                    <a:pt x="788643" y="261632"/>
                  </a:lnTo>
                  <a:lnTo>
                    <a:pt x="792879" y="258700"/>
                  </a:lnTo>
                  <a:lnTo>
                    <a:pt x="792879" y="258700"/>
                  </a:lnTo>
                  <a:close/>
                  <a:moveTo>
                    <a:pt x="651800" y="364102"/>
                  </a:moveTo>
                  <a:lnTo>
                    <a:pt x="648216" y="362310"/>
                  </a:lnTo>
                  <a:lnTo>
                    <a:pt x="646260" y="364102"/>
                  </a:lnTo>
                  <a:lnTo>
                    <a:pt x="649030" y="366383"/>
                  </a:lnTo>
                  <a:lnTo>
                    <a:pt x="651800" y="364102"/>
                  </a:lnTo>
                  <a:lnTo>
                    <a:pt x="651800" y="364102"/>
                  </a:lnTo>
                  <a:close/>
                  <a:moveTo>
                    <a:pt x="646423" y="328588"/>
                  </a:moveTo>
                  <a:lnTo>
                    <a:pt x="650496" y="336733"/>
                  </a:lnTo>
                  <a:lnTo>
                    <a:pt x="648541" y="340480"/>
                  </a:lnTo>
                  <a:lnTo>
                    <a:pt x="646586" y="345856"/>
                  </a:lnTo>
                  <a:lnTo>
                    <a:pt x="645446" y="342109"/>
                  </a:lnTo>
                  <a:lnTo>
                    <a:pt x="643166" y="338525"/>
                  </a:lnTo>
                  <a:lnTo>
                    <a:pt x="644957" y="335267"/>
                  </a:lnTo>
                  <a:lnTo>
                    <a:pt x="645283" y="331194"/>
                  </a:lnTo>
                  <a:lnTo>
                    <a:pt x="646423" y="328588"/>
                  </a:lnTo>
                  <a:lnTo>
                    <a:pt x="646423" y="328588"/>
                  </a:lnTo>
                  <a:close/>
                  <a:moveTo>
                    <a:pt x="788317" y="230028"/>
                  </a:moveTo>
                  <a:lnTo>
                    <a:pt x="788317" y="234101"/>
                  </a:lnTo>
                  <a:lnTo>
                    <a:pt x="791901" y="239802"/>
                  </a:lnTo>
                  <a:lnTo>
                    <a:pt x="791901" y="242246"/>
                  </a:lnTo>
                  <a:cubicBezTo>
                    <a:pt x="791901" y="242246"/>
                    <a:pt x="789621" y="241268"/>
                    <a:pt x="789621" y="241268"/>
                  </a:cubicBezTo>
                  <a:lnTo>
                    <a:pt x="787340" y="235241"/>
                  </a:lnTo>
                  <a:lnTo>
                    <a:pt x="786362" y="231005"/>
                  </a:lnTo>
                  <a:lnTo>
                    <a:pt x="788155" y="230028"/>
                  </a:lnTo>
                  <a:lnTo>
                    <a:pt x="788155" y="230028"/>
                  </a:lnTo>
                  <a:close/>
                  <a:moveTo>
                    <a:pt x="774144" y="223837"/>
                  </a:moveTo>
                  <a:lnTo>
                    <a:pt x="776914" y="222534"/>
                  </a:lnTo>
                  <a:lnTo>
                    <a:pt x="780823" y="224000"/>
                  </a:lnTo>
                  <a:lnTo>
                    <a:pt x="784407" y="222371"/>
                  </a:lnTo>
                  <a:lnTo>
                    <a:pt x="793857" y="223674"/>
                  </a:lnTo>
                  <a:lnTo>
                    <a:pt x="799069" y="224652"/>
                  </a:lnTo>
                  <a:lnTo>
                    <a:pt x="793042" y="226118"/>
                  </a:lnTo>
                  <a:lnTo>
                    <a:pt x="781801" y="228725"/>
                  </a:lnTo>
                  <a:lnTo>
                    <a:pt x="776262" y="227095"/>
                  </a:lnTo>
                  <a:lnTo>
                    <a:pt x="776262" y="225141"/>
                  </a:lnTo>
                  <a:cubicBezTo>
                    <a:pt x="776262" y="225141"/>
                    <a:pt x="773982" y="223837"/>
                    <a:pt x="773982" y="223837"/>
                  </a:cubicBezTo>
                  <a:lnTo>
                    <a:pt x="773982" y="223837"/>
                  </a:lnTo>
                  <a:close/>
                  <a:moveTo>
                    <a:pt x="748893" y="224326"/>
                  </a:moveTo>
                  <a:lnTo>
                    <a:pt x="752314" y="221068"/>
                  </a:lnTo>
                  <a:lnTo>
                    <a:pt x="754758" y="221719"/>
                  </a:lnTo>
                  <a:lnTo>
                    <a:pt x="757853" y="220416"/>
                  </a:lnTo>
                  <a:lnTo>
                    <a:pt x="762903" y="221719"/>
                  </a:lnTo>
                  <a:lnTo>
                    <a:pt x="766162" y="223511"/>
                  </a:lnTo>
                  <a:lnTo>
                    <a:pt x="769420" y="221068"/>
                  </a:lnTo>
                  <a:lnTo>
                    <a:pt x="772678" y="222208"/>
                  </a:lnTo>
                  <a:lnTo>
                    <a:pt x="772678" y="226607"/>
                  </a:lnTo>
                  <a:cubicBezTo>
                    <a:pt x="772678" y="226607"/>
                    <a:pt x="768768" y="226118"/>
                    <a:pt x="768768" y="226118"/>
                  </a:cubicBezTo>
                  <a:lnTo>
                    <a:pt x="764207" y="228236"/>
                  </a:lnTo>
                  <a:lnTo>
                    <a:pt x="760623" y="227258"/>
                  </a:lnTo>
                  <a:lnTo>
                    <a:pt x="755084" y="230517"/>
                  </a:lnTo>
                  <a:lnTo>
                    <a:pt x="750196" y="229539"/>
                  </a:lnTo>
                  <a:lnTo>
                    <a:pt x="748405" y="226770"/>
                  </a:lnTo>
                  <a:lnTo>
                    <a:pt x="748730" y="224326"/>
                  </a:lnTo>
                  <a:lnTo>
                    <a:pt x="748730" y="224326"/>
                  </a:lnTo>
                  <a:close/>
                  <a:moveTo>
                    <a:pt x="703768" y="318650"/>
                  </a:moveTo>
                  <a:lnTo>
                    <a:pt x="708166" y="311157"/>
                  </a:lnTo>
                  <a:lnTo>
                    <a:pt x="710447" y="303174"/>
                  </a:lnTo>
                  <a:lnTo>
                    <a:pt x="710935" y="295192"/>
                  </a:lnTo>
                  <a:lnTo>
                    <a:pt x="713053" y="293236"/>
                  </a:lnTo>
                  <a:lnTo>
                    <a:pt x="716637" y="293725"/>
                  </a:lnTo>
                  <a:lnTo>
                    <a:pt x="716637" y="296984"/>
                  </a:lnTo>
                  <a:cubicBezTo>
                    <a:pt x="716637" y="296984"/>
                    <a:pt x="718266" y="300405"/>
                    <a:pt x="718266" y="300405"/>
                  </a:cubicBezTo>
                  <a:lnTo>
                    <a:pt x="718266" y="302848"/>
                  </a:lnTo>
                  <a:cubicBezTo>
                    <a:pt x="718266" y="302848"/>
                    <a:pt x="716800" y="300893"/>
                    <a:pt x="716800" y="300893"/>
                  </a:cubicBezTo>
                  <a:lnTo>
                    <a:pt x="715986" y="303174"/>
                  </a:lnTo>
                  <a:lnTo>
                    <a:pt x="712891" y="305618"/>
                  </a:lnTo>
                  <a:lnTo>
                    <a:pt x="711424" y="307573"/>
                  </a:lnTo>
                  <a:lnTo>
                    <a:pt x="712564" y="311482"/>
                  </a:lnTo>
                  <a:lnTo>
                    <a:pt x="716637" y="312460"/>
                  </a:lnTo>
                  <a:lnTo>
                    <a:pt x="717452" y="314741"/>
                  </a:lnTo>
                  <a:lnTo>
                    <a:pt x="715660" y="316858"/>
                  </a:lnTo>
                  <a:lnTo>
                    <a:pt x="712564" y="317836"/>
                  </a:lnTo>
                  <a:lnTo>
                    <a:pt x="709632" y="322723"/>
                  </a:lnTo>
                  <a:lnTo>
                    <a:pt x="706374" y="324352"/>
                  </a:lnTo>
                  <a:lnTo>
                    <a:pt x="702953" y="322560"/>
                  </a:lnTo>
                  <a:lnTo>
                    <a:pt x="703605" y="318813"/>
                  </a:lnTo>
                  <a:lnTo>
                    <a:pt x="703605" y="318813"/>
                  </a:lnTo>
                  <a:close/>
                  <a:moveTo>
                    <a:pt x="692038" y="313437"/>
                  </a:moveTo>
                  <a:cubicBezTo>
                    <a:pt x="692038" y="313437"/>
                    <a:pt x="692201" y="315555"/>
                    <a:pt x="692201" y="315555"/>
                  </a:cubicBezTo>
                  <a:lnTo>
                    <a:pt x="694156" y="317184"/>
                  </a:lnTo>
                  <a:lnTo>
                    <a:pt x="698555" y="316695"/>
                  </a:lnTo>
                  <a:lnTo>
                    <a:pt x="699206" y="314741"/>
                  </a:lnTo>
                  <a:lnTo>
                    <a:pt x="701161" y="314252"/>
                  </a:lnTo>
                  <a:lnTo>
                    <a:pt x="701650" y="310016"/>
                  </a:lnTo>
                  <a:lnTo>
                    <a:pt x="704908" y="306758"/>
                  </a:lnTo>
                  <a:lnTo>
                    <a:pt x="704908" y="303989"/>
                  </a:lnTo>
                  <a:cubicBezTo>
                    <a:pt x="704908" y="303989"/>
                    <a:pt x="702627" y="299590"/>
                    <a:pt x="702627" y="299590"/>
                  </a:cubicBezTo>
                  <a:lnTo>
                    <a:pt x="698228" y="301871"/>
                  </a:lnTo>
                  <a:lnTo>
                    <a:pt x="694807" y="305455"/>
                  </a:lnTo>
                  <a:lnTo>
                    <a:pt x="696274" y="308550"/>
                  </a:lnTo>
                  <a:lnTo>
                    <a:pt x="691712" y="313763"/>
                  </a:lnTo>
                  <a:lnTo>
                    <a:pt x="691712" y="313763"/>
                  </a:lnTo>
                  <a:close/>
                  <a:moveTo>
                    <a:pt x="680960" y="309853"/>
                  </a:moveTo>
                  <a:lnTo>
                    <a:pt x="680634" y="313111"/>
                  </a:lnTo>
                  <a:lnTo>
                    <a:pt x="679168" y="314741"/>
                  </a:lnTo>
                  <a:lnTo>
                    <a:pt x="680960" y="320279"/>
                  </a:lnTo>
                  <a:lnTo>
                    <a:pt x="683241" y="321257"/>
                  </a:lnTo>
                  <a:lnTo>
                    <a:pt x="686988" y="318650"/>
                  </a:lnTo>
                  <a:lnTo>
                    <a:pt x="685848" y="313437"/>
                  </a:lnTo>
                  <a:lnTo>
                    <a:pt x="682752" y="309039"/>
                  </a:lnTo>
                  <a:cubicBezTo>
                    <a:pt x="682752" y="309039"/>
                    <a:pt x="680960" y="310016"/>
                    <a:pt x="680960" y="310016"/>
                  </a:cubicBezTo>
                  <a:lnTo>
                    <a:pt x="680960" y="310016"/>
                  </a:lnTo>
                  <a:close/>
                  <a:moveTo>
                    <a:pt x="718266" y="225955"/>
                  </a:moveTo>
                  <a:lnTo>
                    <a:pt x="714357" y="227584"/>
                  </a:lnTo>
                  <a:lnTo>
                    <a:pt x="717126" y="228887"/>
                  </a:lnTo>
                  <a:cubicBezTo>
                    <a:pt x="717126" y="228887"/>
                    <a:pt x="718266" y="226118"/>
                    <a:pt x="718266" y="225955"/>
                  </a:cubicBezTo>
                  <a:lnTo>
                    <a:pt x="718266" y="225955"/>
                  </a:lnTo>
                  <a:close/>
                  <a:moveTo>
                    <a:pt x="723642" y="222860"/>
                  </a:moveTo>
                  <a:lnTo>
                    <a:pt x="721362" y="224815"/>
                  </a:lnTo>
                  <a:lnTo>
                    <a:pt x="725109" y="225303"/>
                  </a:lnTo>
                  <a:lnTo>
                    <a:pt x="723642" y="222697"/>
                  </a:lnTo>
                  <a:lnTo>
                    <a:pt x="723642" y="222697"/>
                  </a:lnTo>
                  <a:close/>
                  <a:moveTo>
                    <a:pt x="730159" y="217647"/>
                  </a:moveTo>
                  <a:lnTo>
                    <a:pt x="727226" y="219927"/>
                  </a:lnTo>
                  <a:lnTo>
                    <a:pt x="731136" y="221231"/>
                  </a:lnTo>
                  <a:lnTo>
                    <a:pt x="730159" y="217810"/>
                  </a:lnTo>
                  <a:lnTo>
                    <a:pt x="730159" y="217810"/>
                  </a:lnTo>
                  <a:close/>
                  <a:moveTo>
                    <a:pt x="708818" y="211619"/>
                  </a:moveTo>
                  <a:lnTo>
                    <a:pt x="714519" y="208198"/>
                  </a:lnTo>
                  <a:lnTo>
                    <a:pt x="721525" y="208850"/>
                  </a:lnTo>
                  <a:lnTo>
                    <a:pt x="722014" y="211130"/>
                  </a:lnTo>
                  <a:lnTo>
                    <a:pt x="720384" y="214063"/>
                  </a:lnTo>
                  <a:lnTo>
                    <a:pt x="724294" y="213085"/>
                  </a:lnTo>
                  <a:lnTo>
                    <a:pt x="726086" y="209990"/>
                  </a:lnTo>
                  <a:lnTo>
                    <a:pt x="729833" y="212759"/>
                  </a:lnTo>
                  <a:lnTo>
                    <a:pt x="728855" y="216669"/>
                  </a:lnTo>
                  <a:lnTo>
                    <a:pt x="724294" y="217810"/>
                  </a:lnTo>
                  <a:lnTo>
                    <a:pt x="722828" y="216018"/>
                  </a:lnTo>
                  <a:lnTo>
                    <a:pt x="720384" y="219439"/>
                  </a:lnTo>
                  <a:lnTo>
                    <a:pt x="716149" y="216343"/>
                  </a:lnTo>
                  <a:lnTo>
                    <a:pt x="712891" y="219276"/>
                  </a:lnTo>
                  <a:lnTo>
                    <a:pt x="708980" y="216506"/>
                  </a:lnTo>
                  <a:lnTo>
                    <a:pt x="708980" y="211782"/>
                  </a:lnTo>
                  <a:lnTo>
                    <a:pt x="708818" y="211782"/>
                  </a:lnTo>
                  <a:close/>
                  <a:moveTo>
                    <a:pt x="681937" y="186531"/>
                  </a:moveTo>
                  <a:lnTo>
                    <a:pt x="686010" y="188160"/>
                  </a:lnTo>
                  <a:lnTo>
                    <a:pt x="686010" y="185391"/>
                  </a:lnTo>
                  <a:cubicBezTo>
                    <a:pt x="686010" y="185391"/>
                    <a:pt x="682101" y="186368"/>
                    <a:pt x="681937" y="186531"/>
                  </a:cubicBezTo>
                  <a:lnTo>
                    <a:pt x="681937" y="186531"/>
                  </a:lnTo>
                  <a:close/>
                  <a:moveTo>
                    <a:pt x="678353" y="187834"/>
                  </a:moveTo>
                  <a:lnTo>
                    <a:pt x="680634" y="187834"/>
                  </a:lnTo>
                  <a:cubicBezTo>
                    <a:pt x="680634" y="187834"/>
                    <a:pt x="684055" y="189789"/>
                    <a:pt x="684055" y="189789"/>
                  </a:cubicBezTo>
                  <a:lnTo>
                    <a:pt x="680471" y="190604"/>
                  </a:lnTo>
                  <a:lnTo>
                    <a:pt x="678191" y="187834"/>
                  </a:lnTo>
                  <a:lnTo>
                    <a:pt x="678191" y="187834"/>
                  </a:lnTo>
                  <a:close/>
                  <a:moveTo>
                    <a:pt x="646260" y="165353"/>
                  </a:moveTo>
                  <a:lnTo>
                    <a:pt x="652125" y="163398"/>
                  </a:lnTo>
                  <a:lnTo>
                    <a:pt x="659130" y="166656"/>
                  </a:lnTo>
                  <a:lnTo>
                    <a:pt x="667439" y="166656"/>
                  </a:lnTo>
                  <a:cubicBezTo>
                    <a:pt x="667439" y="166656"/>
                    <a:pt x="676725" y="162258"/>
                    <a:pt x="676725" y="162258"/>
                  </a:cubicBezTo>
                  <a:lnTo>
                    <a:pt x="682752" y="162909"/>
                  </a:lnTo>
                  <a:lnTo>
                    <a:pt x="685033" y="165842"/>
                  </a:lnTo>
                  <a:lnTo>
                    <a:pt x="690409" y="165842"/>
                  </a:lnTo>
                  <a:lnTo>
                    <a:pt x="693504" y="164375"/>
                  </a:lnTo>
                  <a:lnTo>
                    <a:pt x="704419" y="165516"/>
                  </a:lnTo>
                  <a:lnTo>
                    <a:pt x="710121" y="165190"/>
                  </a:lnTo>
                  <a:lnTo>
                    <a:pt x="711261" y="163724"/>
                  </a:lnTo>
                  <a:lnTo>
                    <a:pt x="717289" y="163724"/>
                  </a:lnTo>
                  <a:cubicBezTo>
                    <a:pt x="717289" y="163724"/>
                    <a:pt x="721362" y="166167"/>
                    <a:pt x="721362" y="166167"/>
                  </a:cubicBezTo>
                  <a:lnTo>
                    <a:pt x="722665" y="168774"/>
                  </a:lnTo>
                  <a:lnTo>
                    <a:pt x="727878" y="170403"/>
                  </a:lnTo>
                  <a:lnTo>
                    <a:pt x="747264" y="166004"/>
                  </a:lnTo>
                  <a:lnTo>
                    <a:pt x="755410" y="160466"/>
                  </a:lnTo>
                  <a:lnTo>
                    <a:pt x="757691" y="156230"/>
                  </a:lnTo>
                  <a:lnTo>
                    <a:pt x="760949" y="155904"/>
                  </a:lnTo>
                  <a:lnTo>
                    <a:pt x="763718" y="152646"/>
                  </a:lnTo>
                  <a:lnTo>
                    <a:pt x="767139" y="150202"/>
                  </a:lnTo>
                  <a:lnTo>
                    <a:pt x="768768" y="145804"/>
                  </a:lnTo>
                  <a:lnTo>
                    <a:pt x="771049" y="142057"/>
                  </a:lnTo>
                  <a:lnTo>
                    <a:pt x="773493" y="140265"/>
                  </a:lnTo>
                  <a:lnTo>
                    <a:pt x="771049" y="137658"/>
                  </a:lnTo>
                  <a:lnTo>
                    <a:pt x="770560" y="134726"/>
                  </a:lnTo>
                  <a:lnTo>
                    <a:pt x="763392" y="133097"/>
                  </a:lnTo>
                  <a:lnTo>
                    <a:pt x="758342" y="134726"/>
                  </a:lnTo>
                  <a:lnTo>
                    <a:pt x="757365" y="139776"/>
                  </a:lnTo>
                  <a:lnTo>
                    <a:pt x="753455" y="142709"/>
                  </a:lnTo>
                  <a:lnTo>
                    <a:pt x="753129" y="145315"/>
                  </a:lnTo>
                  <a:lnTo>
                    <a:pt x="747753" y="149225"/>
                  </a:lnTo>
                  <a:lnTo>
                    <a:pt x="743680" y="149714"/>
                  </a:lnTo>
                  <a:lnTo>
                    <a:pt x="741074" y="153623"/>
                  </a:lnTo>
                  <a:lnTo>
                    <a:pt x="735046" y="155090"/>
                  </a:lnTo>
                  <a:lnTo>
                    <a:pt x="722828" y="152646"/>
                  </a:lnTo>
                  <a:lnTo>
                    <a:pt x="712564" y="151668"/>
                  </a:lnTo>
                  <a:lnTo>
                    <a:pt x="710773" y="154438"/>
                  </a:lnTo>
                  <a:lnTo>
                    <a:pt x="708329" y="154764"/>
                  </a:lnTo>
                  <a:lnTo>
                    <a:pt x="703279" y="150365"/>
                  </a:lnTo>
                  <a:lnTo>
                    <a:pt x="699369" y="150039"/>
                  </a:lnTo>
                  <a:lnTo>
                    <a:pt x="694971" y="150039"/>
                  </a:lnTo>
                  <a:cubicBezTo>
                    <a:pt x="694971" y="150039"/>
                    <a:pt x="690246" y="149062"/>
                    <a:pt x="690246" y="149062"/>
                  </a:cubicBezTo>
                  <a:lnTo>
                    <a:pt x="683567" y="147922"/>
                  </a:lnTo>
                  <a:lnTo>
                    <a:pt x="680146" y="150202"/>
                  </a:lnTo>
                  <a:lnTo>
                    <a:pt x="676236" y="147922"/>
                  </a:lnTo>
                  <a:lnTo>
                    <a:pt x="671349" y="143197"/>
                  </a:lnTo>
                  <a:lnTo>
                    <a:pt x="663855" y="141731"/>
                  </a:lnTo>
                  <a:lnTo>
                    <a:pt x="659293" y="141731"/>
                  </a:lnTo>
                  <a:lnTo>
                    <a:pt x="659293" y="147433"/>
                  </a:lnTo>
                  <a:lnTo>
                    <a:pt x="655384" y="150039"/>
                  </a:lnTo>
                  <a:lnTo>
                    <a:pt x="653103" y="154764"/>
                  </a:lnTo>
                  <a:lnTo>
                    <a:pt x="649844" y="157696"/>
                  </a:lnTo>
                  <a:lnTo>
                    <a:pt x="643166" y="155415"/>
                  </a:lnTo>
                  <a:lnTo>
                    <a:pt x="637137" y="156882"/>
                  </a:lnTo>
                  <a:lnTo>
                    <a:pt x="634694" y="159651"/>
                  </a:lnTo>
                  <a:lnTo>
                    <a:pt x="635183" y="161443"/>
                  </a:lnTo>
                  <a:lnTo>
                    <a:pt x="628666" y="167471"/>
                  </a:lnTo>
                  <a:lnTo>
                    <a:pt x="628666" y="174802"/>
                  </a:lnTo>
                  <a:lnTo>
                    <a:pt x="629969" y="179037"/>
                  </a:lnTo>
                  <a:lnTo>
                    <a:pt x="629644" y="187509"/>
                  </a:lnTo>
                  <a:lnTo>
                    <a:pt x="628341" y="190441"/>
                  </a:lnTo>
                  <a:lnTo>
                    <a:pt x="630947" y="196468"/>
                  </a:lnTo>
                  <a:lnTo>
                    <a:pt x="631762" y="201193"/>
                  </a:lnTo>
                  <a:lnTo>
                    <a:pt x="629807" y="198586"/>
                  </a:lnTo>
                  <a:lnTo>
                    <a:pt x="628341" y="194676"/>
                  </a:lnTo>
                  <a:lnTo>
                    <a:pt x="625082" y="195654"/>
                  </a:lnTo>
                  <a:lnTo>
                    <a:pt x="621824" y="199727"/>
                  </a:lnTo>
                  <a:lnTo>
                    <a:pt x="617751" y="202007"/>
                  </a:lnTo>
                  <a:lnTo>
                    <a:pt x="616774" y="207058"/>
                  </a:lnTo>
                  <a:lnTo>
                    <a:pt x="617589" y="212922"/>
                  </a:lnTo>
                  <a:lnTo>
                    <a:pt x="615796" y="216832"/>
                  </a:lnTo>
                  <a:lnTo>
                    <a:pt x="617100" y="227584"/>
                  </a:lnTo>
                  <a:lnTo>
                    <a:pt x="615796" y="230028"/>
                  </a:lnTo>
                  <a:lnTo>
                    <a:pt x="615145" y="234263"/>
                  </a:lnTo>
                  <a:lnTo>
                    <a:pt x="611887" y="235730"/>
                  </a:lnTo>
                  <a:lnTo>
                    <a:pt x="611887" y="242246"/>
                  </a:lnTo>
                  <a:cubicBezTo>
                    <a:pt x="611887" y="242246"/>
                    <a:pt x="606185" y="246808"/>
                    <a:pt x="606185" y="246808"/>
                  </a:cubicBezTo>
                  <a:lnTo>
                    <a:pt x="604393" y="253487"/>
                  </a:lnTo>
                  <a:lnTo>
                    <a:pt x="605370" y="255442"/>
                  </a:lnTo>
                  <a:lnTo>
                    <a:pt x="603090" y="258374"/>
                  </a:lnTo>
                  <a:lnTo>
                    <a:pt x="606022" y="267171"/>
                  </a:lnTo>
                  <a:lnTo>
                    <a:pt x="608791" y="271244"/>
                  </a:lnTo>
                  <a:lnTo>
                    <a:pt x="610584" y="270103"/>
                  </a:lnTo>
                  <a:lnTo>
                    <a:pt x="614493" y="270103"/>
                  </a:lnTo>
                  <a:lnTo>
                    <a:pt x="617263" y="268149"/>
                  </a:lnTo>
                  <a:lnTo>
                    <a:pt x="619869" y="269452"/>
                  </a:lnTo>
                  <a:lnTo>
                    <a:pt x="621498" y="275968"/>
                  </a:lnTo>
                  <a:lnTo>
                    <a:pt x="625897" y="287698"/>
                  </a:lnTo>
                  <a:lnTo>
                    <a:pt x="624105" y="290630"/>
                  </a:lnTo>
                  <a:lnTo>
                    <a:pt x="622639" y="297309"/>
                  </a:lnTo>
                  <a:lnTo>
                    <a:pt x="618892" y="302685"/>
                  </a:lnTo>
                  <a:lnTo>
                    <a:pt x="618403" y="313763"/>
                  </a:lnTo>
                  <a:lnTo>
                    <a:pt x="619218" y="322397"/>
                  </a:lnTo>
                  <a:lnTo>
                    <a:pt x="621987" y="322397"/>
                  </a:lnTo>
                  <a:lnTo>
                    <a:pt x="625408" y="324678"/>
                  </a:lnTo>
                  <a:lnTo>
                    <a:pt x="630784" y="324678"/>
                  </a:lnTo>
                  <a:cubicBezTo>
                    <a:pt x="630784" y="324678"/>
                    <a:pt x="633228" y="321746"/>
                    <a:pt x="633228" y="321746"/>
                  </a:cubicBezTo>
                  <a:lnTo>
                    <a:pt x="637952" y="322886"/>
                  </a:lnTo>
                  <a:lnTo>
                    <a:pt x="642188" y="322071"/>
                  </a:lnTo>
                  <a:lnTo>
                    <a:pt x="645283" y="324515"/>
                  </a:lnTo>
                  <a:lnTo>
                    <a:pt x="646260" y="320442"/>
                  </a:lnTo>
                  <a:lnTo>
                    <a:pt x="645772" y="315229"/>
                  </a:lnTo>
                  <a:lnTo>
                    <a:pt x="642351" y="312786"/>
                  </a:lnTo>
                  <a:lnTo>
                    <a:pt x="641699" y="306106"/>
                  </a:lnTo>
                  <a:lnTo>
                    <a:pt x="644469" y="301545"/>
                  </a:lnTo>
                  <a:lnTo>
                    <a:pt x="645609" y="293074"/>
                  </a:lnTo>
                  <a:lnTo>
                    <a:pt x="644632" y="285091"/>
                  </a:lnTo>
                  <a:lnTo>
                    <a:pt x="642677" y="282810"/>
                  </a:lnTo>
                  <a:lnTo>
                    <a:pt x="647727" y="275479"/>
                  </a:lnTo>
                  <a:lnTo>
                    <a:pt x="649356" y="268800"/>
                  </a:lnTo>
                  <a:lnTo>
                    <a:pt x="647890" y="260818"/>
                  </a:lnTo>
                  <a:lnTo>
                    <a:pt x="644632" y="257885"/>
                  </a:lnTo>
                  <a:lnTo>
                    <a:pt x="644632" y="255442"/>
                  </a:lnTo>
                  <a:lnTo>
                    <a:pt x="650171" y="252020"/>
                  </a:lnTo>
                  <a:lnTo>
                    <a:pt x="652451" y="248436"/>
                  </a:lnTo>
                  <a:lnTo>
                    <a:pt x="657664" y="247296"/>
                  </a:lnTo>
                  <a:lnTo>
                    <a:pt x="662877" y="249088"/>
                  </a:lnTo>
                  <a:lnTo>
                    <a:pt x="662389" y="251695"/>
                  </a:lnTo>
                  <a:lnTo>
                    <a:pt x="664832" y="255930"/>
                  </a:lnTo>
                  <a:lnTo>
                    <a:pt x="664832" y="261143"/>
                  </a:lnTo>
                  <a:lnTo>
                    <a:pt x="660760" y="265705"/>
                  </a:lnTo>
                  <a:lnTo>
                    <a:pt x="659619" y="270266"/>
                  </a:lnTo>
                  <a:lnTo>
                    <a:pt x="662389" y="275479"/>
                  </a:lnTo>
                  <a:lnTo>
                    <a:pt x="665810" y="275968"/>
                  </a:lnTo>
                  <a:lnTo>
                    <a:pt x="668905" y="279878"/>
                  </a:lnTo>
                  <a:lnTo>
                    <a:pt x="674769" y="283299"/>
                  </a:lnTo>
                  <a:lnTo>
                    <a:pt x="675747" y="288024"/>
                  </a:lnTo>
                  <a:lnTo>
                    <a:pt x="673792" y="287698"/>
                  </a:lnTo>
                  <a:lnTo>
                    <a:pt x="672489" y="297146"/>
                  </a:lnTo>
                  <a:lnTo>
                    <a:pt x="674281" y="302359"/>
                  </a:lnTo>
                  <a:lnTo>
                    <a:pt x="678028" y="303663"/>
                  </a:lnTo>
                  <a:lnTo>
                    <a:pt x="680798" y="302685"/>
                  </a:lnTo>
                  <a:lnTo>
                    <a:pt x="686499" y="305129"/>
                  </a:lnTo>
                  <a:lnTo>
                    <a:pt x="690735" y="304477"/>
                  </a:lnTo>
                  <a:lnTo>
                    <a:pt x="690409" y="302685"/>
                  </a:lnTo>
                  <a:lnTo>
                    <a:pt x="688943" y="298938"/>
                  </a:lnTo>
                  <a:lnTo>
                    <a:pt x="693341" y="294866"/>
                  </a:lnTo>
                  <a:lnTo>
                    <a:pt x="697740" y="293725"/>
                  </a:lnTo>
                  <a:lnTo>
                    <a:pt x="703768" y="290304"/>
                  </a:lnTo>
                  <a:lnTo>
                    <a:pt x="711261" y="290793"/>
                  </a:lnTo>
                  <a:lnTo>
                    <a:pt x="714031" y="287860"/>
                  </a:lnTo>
                  <a:lnTo>
                    <a:pt x="715986" y="289001"/>
                  </a:lnTo>
                  <a:lnTo>
                    <a:pt x="719733" y="289001"/>
                  </a:lnTo>
                  <a:lnTo>
                    <a:pt x="722014" y="285254"/>
                  </a:lnTo>
                  <a:lnTo>
                    <a:pt x="721362" y="282973"/>
                  </a:lnTo>
                  <a:lnTo>
                    <a:pt x="714682" y="282484"/>
                  </a:lnTo>
                  <a:lnTo>
                    <a:pt x="712728" y="283462"/>
                  </a:lnTo>
                  <a:lnTo>
                    <a:pt x="710610" y="282647"/>
                  </a:lnTo>
                  <a:lnTo>
                    <a:pt x="705885" y="283136"/>
                  </a:lnTo>
                  <a:lnTo>
                    <a:pt x="705560" y="279389"/>
                  </a:lnTo>
                  <a:lnTo>
                    <a:pt x="703116" y="279063"/>
                  </a:lnTo>
                  <a:lnTo>
                    <a:pt x="703116" y="276620"/>
                  </a:lnTo>
                  <a:cubicBezTo>
                    <a:pt x="703116" y="276620"/>
                    <a:pt x="701161" y="276131"/>
                    <a:pt x="701161" y="276131"/>
                  </a:cubicBezTo>
                  <a:lnTo>
                    <a:pt x="698880" y="277434"/>
                  </a:lnTo>
                  <a:lnTo>
                    <a:pt x="698880" y="274665"/>
                  </a:lnTo>
                  <a:cubicBezTo>
                    <a:pt x="698880" y="274665"/>
                    <a:pt x="694319" y="273362"/>
                    <a:pt x="694319" y="273362"/>
                  </a:cubicBezTo>
                  <a:lnTo>
                    <a:pt x="692853" y="270266"/>
                  </a:lnTo>
                  <a:lnTo>
                    <a:pt x="695785" y="267334"/>
                  </a:lnTo>
                  <a:lnTo>
                    <a:pt x="696925" y="264890"/>
                  </a:lnTo>
                  <a:lnTo>
                    <a:pt x="698717" y="265542"/>
                  </a:lnTo>
                  <a:lnTo>
                    <a:pt x="697251" y="262447"/>
                  </a:lnTo>
                  <a:lnTo>
                    <a:pt x="699532" y="262121"/>
                  </a:lnTo>
                  <a:lnTo>
                    <a:pt x="700672" y="259514"/>
                  </a:lnTo>
                  <a:lnTo>
                    <a:pt x="698228" y="257071"/>
                  </a:lnTo>
                  <a:lnTo>
                    <a:pt x="694807" y="255930"/>
                  </a:lnTo>
                  <a:lnTo>
                    <a:pt x="696274" y="253487"/>
                  </a:lnTo>
                  <a:lnTo>
                    <a:pt x="695785" y="250717"/>
                  </a:lnTo>
                  <a:lnTo>
                    <a:pt x="691387" y="247785"/>
                  </a:lnTo>
                  <a:lnTo>
                    <a:pt x="688454" y="247785"/>
                  </a:lnTo>
                  <a:cubicBezTo>
                    <a:pt x="688454" y="247785"/>
                    <a:pt x="687151" y="242735"/>
                    <a:pt x="687151" y="242735"/>
                  </a:cubicBezTo>
                  <a:lnTo>
                    <a:pt x="680146" y="234752"/>
                  </a:lnTo>
                  <a:lnTo>
                    <a:pt x="675910" y="231820"/>
                  </a:lnTo>
                  <a:lnTo>
                    <a:pt x="673303" y="227258"/>
                  </a:lnTo>
                  <a:lnTo>
                    <a:pt x="673792" y="225303"/>
                  </a:lnTo>
                  <a:lnTo>
                    <a:pt x="675747" y="225303"/>
                  </a:lnTo>
                  <a:cubicBezTo>
                    <a:pt x="675747" y="225303"/>
                    <a:pt x="676887" y="228073"/>
                    <a:pt x="676887" y="228073"/>
                  </a:cubicBezTo>
                  <a:lnTo>
                    <a:pt x="681449" y="228073"/>
                  </a:lnTo>
                  <a:cubicBezTo>
                    <a:pt x="681449" y="228073"/>
                    <a:pt x="685522" y="225141"/>
                    <a:pt x="685522" y="225141"/>
                  </a:cubicBezTo>
                  <a:lnTo>
                    <a:pt x="686662" y="222045"/>
                  </a:lnTo>
                  <a:lnTo>
                    <a:pt x="696925" y="218298"/>
                  </a:lnTo>
                  <a:lnTo>
                    <a:pt x="704256" y="212596"/>
                  </a:lnTo>
                  <a:lnTo>
                    <a:pt x="707677" y="206732"/>
                  </a:lnTo>
                  <a:lnTo>
                    <a:pt x="712239" y="204288"/>
                  </a:lnTo>
                  <a:lnTo>
                    <a:pt x="712239" y="200867"/>
                  </a:lnTo>
                  <a:cubicBezTo>
                    <a:pt x="712239" y="200867"/>
                    <a:pt x="717941" y="199564"/>
                    <a:pt x="717941" y="199564"/>
                  </a:cubicBezTo>
                  <a:lnTo>
                    <a:pt x="722828" y="202170"/>
                  </a:lnTo>
                  <a:lnTo>
                    <a:pt x="725923" y="202496"/>
                  </a:lnTo>
                  <a:lnTo>
                    <a:pt x="730322" y="196306"/>
                  </a:lnTo>
                  <a:lnTo>
                    <a:pt x="730322" y="192233"/>
                  </a:lnTo>
                  <a:lnTo>
                    <a:pt x="724946" y="190278"/>
                  </a:lnTo>
                  <a:lnTo>
                    <a:pt x="713542" y="191418"/>
                  </a:lnTo>
                  <a:lnTo>
                    <a:pt x="708655" y="194839"/>
                  </a:lnTo>
                  <a:lnTo>
                    <a:pt x="701161" y="194839"/>
                  </a:lnTo>
                  <a:lnTo>
                    <a:pt x="697414" y="195980"/>
                  </a:lnTo>
                  <a:lnTo>
                    <a:pt x="693016" y="200541"/>
                  </a:lnTo>
                  <a:lnTo>
                    <a:pt x="688291" y="200215"/>
                  </a:lnTo>
                  <a:lnTo>
                    <a:pt x="684544" y="201193"/>
                  </a:lnTo>
                  <a:lnTo>
                    <a:pt x="679820" y="198260"/>
                  </a:lnTo>
                  <a:lnTo>
                    <a:pt x="675259" y="196957"/>
                  </a:lnTo>
                  <a:lnTo>
                    <a:pt x="670208" y="203474"/>
                  </a:lnTo>
                  <a:lnTo>
                    <a:pt x="666787" y="211945"/>
                  </a:lnTo>
                  <a:lnTo>
                    <a:pt x="661737" y="214551"/>
                  </a:lnTo>
                  <a:lnTo>
                    <a:pt x="656361" y="213737"/>
                  </a:lnTo>
                  <a:lnTo>
                    <a:pt x="655058" y="211293"/>
                  </a:lnTo>
                  <a:lnTo>
                    <a:pt x="648378" y="203962"/>
                  </a:lnTo>
                  <a:lnTo>
                    <a:pt x="641699" y="198260"/>
                  </a:lnTo>
                  <a:lnTo>
                    <a:pt x="638278" y="189301"/>
                  </a:lnTo>
                  <a:lnTo>
                    <a:pt x="638930" y="179363"/>
                  </a:lnTo>
                  <a:lnTo>
                    <a:pt x="643002" y="169751"/>
                  </a:lnTo>
                  <a:lnTo>
                    <a:pt x="647564" y="165190"/>
                  </a:lnTo>
                  <a:lnTo>
                    <a:pt x="647564" y="165190"/>
                  </a:lnTo>
                  <a:close/>
                  <a:moveTo>
                    <a:pt x="651148" y="0"/>
                  </a:moveTo>
                  <a:lnTo>
                    <a:pt x="647890" y="3910"/>
                  </a:lnTo>
                  <a:lnTo>
                    <a:pt x="650985" y="4887"/>
                  </a:lnTo>
                  <a:lnTo>
                    <a:pt x="652288" y="2444"/>
                  </a:lnTo>
                  <a:lnTo>
                    <a:pt x="651148" y="0"/>
                  </a:lnTo>
                  <a:lnTo>
                    <a:pt x="651148" y="0"/>
                  </a:lnTo>
                  <a:close/>
                  <a:moveTo>
                    <a:pt x="657501" y="17106"/>
                  </a:moveTo>
                  <a:lnTo>
                    <a:pt x="661900" y="17106"/>
                  </a:lnTo>
                  <a:cubicBezTo>
                    <a:pt x="661900" y="17106"/>
                    <a:pt x="664018" y="15802"/>
                    <a:pt x="664018" y="15802"/>
                  </a:cubicBezTo>
                  <a:lnTo>
                    <a:pt x="666298" y="17106"/>
                  </a:lnTo>
                  <a:lnTo>
                    <a:pt x="669882" y="15313"/>
                  </a:lnTo>
                  <a:lnTo>
                    <a:pt x="669882" y="13033"/>
                  </a:lnTo>
                  <a:cubicBezTo>
                    <a:pt x="669882" y="13033"/>
                    <a:pt x="664018" y="11893"/>
                    <a:pt x="664018" y="11893"/>
                  </a:cubicBezTo>
                  <a:lnTo>
                    <a:pt x="657827" y="13033"/>
                  </a:lnTo>
                  <a:lnTo>
                    <a:pt x="655872" y="15313"/>
                  </a:lnTo>
                  <a:lnTo>
                    <a:pt x="657339" y="17106"/>
                  </a:lnTo>
                  <a:lnTo>
                    <a:pt x="657339" y="17106"/>
                  </a:lnTo>
                  <a:close/>
                  <a:moveTo>
                    <a:pt x="618892" y="43334"/>
                  </a:moveTo>
                  <a:lnTo>
                    <a:pt x="617914" y="46429"/>
                  </a:lnTo>
                  <a:lnTo>
                    <a:pt x="620195" y="50991"/>
                  </a:lnTo>
                  <a:lnTo>
                    <a:pt x="620195" y="46918"/>
                  </a:lnTo>
                  <a:lnTo>
                    <a:pt x="619055" y="43171"/>
                  </a:lnTo>
                  <a:lnTo>
                    <a:pt x="619055" y="43171"/>
                  </a:lnTo>
                  <a:close/>
                  <a:moveTo>
                    <a:pt x="627689" y="37958"/>
                  </a:moveTo>
                  <a:lnTo>
                    <a:pt x="636160" y="30953"/>
                  </a:lnTo>
                  <a:lnTo>
                    <a:pt x="640070" y="30138"/>
                  </a:lnTo>
                  <a:lnTo>
                    <a:pt x="640559" y="34048"/>
                  </a:lnTo>
                  <a:lnTo>
                    <a:pt x="634531" y="38284"/>
                  </a:lnTo>
                  <a:lnTo>
                    <a:pt x="628992" y="39424"/>
                  </a:lnTo>
                  <a:lnTo>
                    <a:pt x="627689" y="37795"/>
                  </a:lnTo>
                  <a:lnTo>
                    <a:pt x="627689" y="37795"/>
                  </a:lnTo>
                  <a:close/>
                  <a:moveTo>
                    <a:pt x="575069" y="65978"/>
                  </a:moveTo>
                  <a:lnTo>
                    <a:pt x="576535" y="68585"/>
                  </a:lnTo>
                  <a:lnTo>
                    <a:pt x="573929" y="67444"/>
                  </a:lnTo>
                  <a:lnTo>
                    <a:pt x="575069" y="65978"/>
                  </a:lnTo>
                  <a:lnTo>
                    <a:pt x="575069" y="65978"/>
                  </a:lnTo>
                  <a:close/>
                  <a:moveTo>
                    <a:pt x="575232" y="63046"/>
                  </a:moveTo>
                  <a:lnTo>
                    <a:pt x="575232" y="64186"/>
                  </a:lnTo>
                  <a:cubicBezTo>
                    <a:pt x="575232" y="64186"/>
                    <a:pt x="576535" y="66630"/>
                    <a:pt x="576535" y="66630"/>
                  </a:cubicBezTo>
                  <a:lnTo>
                    <a:pt x="580771" y="66630"/>
                  </a:lnTo>
                  <a:cubicBezTo>
                    <a:pt x="580771" y="66630"/>
                    <a:pt x="580771" y="65164"/>
                    <a:pt x="580771" y="65164"/>
                  </a:cubicBezTo>
                  <a:lnTo>
                    <a:pt x="575395" y="63209"/>
                  </a:lnTo>
                  <a:lnTo>
                    <a:pt x="575395" y="63209"/>
                  </a:lnTo>
                  <a:close/>
                  <a:moveTo>
                    <a:pt x="578164" y="77382"/>
                  </a:moveTo>
                  <a:lnTo>
                    <a:pt x="572951" y="78685"/>
                  </a:lnTo>
                  <a:lnTo>
                    <a:pt x="576861" y="79663"/>
                  </a:lnTo>
                  <a:lnTo>
                    <a:pt x="578164" y="77382"/>
                  </a:lnTo>
                  <a:lnTo>
                    <a:pt x="578164" y="77382"/>
                  </a:lnTo>
                  <a:close/>
                  <a:moveTo>
                    <a:pt x="572789" y="82595"/>
                  </a:moveTo>
                  <a:lnTo>
                    <a:pt x="575232" y="84061"/>
                  </a:lnTo>
                  <a:lnTo>
                    <a:pt x="575232" y="88623"/>
                  </a:lnTo>
                  <a:cubicBezTo>
                    <a:pt x="575232" y="88623"/>
                    <a:pt x="573603" y="88134"/>
                    <a:pt x="573603" y="88134"/>
                  </a:cubicBezTo>
                  <a:lnTo>
                    <a:pt x="572951" y="82595"/>
                  </a:lnTo>
                  <a:lnTo>
                    <a:pt x="572951" y="82595"/>
                  </a:lnTo>
                  <a:close/>
                  <a:moveTo>
                    <a:pt x="540696" y="267008"/>
                  </a:moveTo>
                  <a:lnTo>
                    <a:pt x="541999" y="268311"/>
                  </a:lnTo>
                  <a:lnTo>
                    <a:pt x="541347" y="275154"/>
                  </a:lnTo>
                  <a:lnTo>
                    <a:pt x="540044" y="275642"/>
                  </a:lnTo>
                  <a:lnTo>
                    <a:pt x="539718" y="269289"/>
                  </a:lnTo>
                  <a:lnTo>
                    <a:pt x="540696" y="267334"/>
                  </a:lnTo>
                  <a:lnTo>
                    <a:pt x="540696" y="267334"/>
                  </a:lnTo>
                  <a:close/>
                  <a:moveTo>
                    <a:pt x="538578" y="267334"/>
                  </a:moveTo>
                  <a:lnTo>
                    <a:pt x="538903" y="276294"/>
                  </a:lnTo>
                  <a:lnTo>
                    <a:pt x="537600" y="281344"/>
                  </a:lnTo>
                  <a:lnTo>
                    <a:pt x="533691" y="284114"/>
                  </a:lnTo>
                  <a:lnTo>
                    <a:pt x="531735" y="281670"/>
                  </a:lnTo>
                  <a:lnTo>
                    <a:pt x="532550" y="274339"/>
                  </a:lnTo>
                  <a:lnTo>
                    <a:pt x="535157" y="267008"/>
                  </a:lnTo>
                  <a:lnTo>
                    <a:pt x="537437" y="265542"/>
                  </a:lnTo>
                  <a:lnTo>
                    <a:pt x="538741" y="267497"/>
                  </a:lnTo>
                  <a:lnTo>
                    <a:pt x="538741" y="267497"/>
                  </a:lnTo>
                  <a:close/>
                  <a:moveTo>
                    <a:pt x="361495" y="186531"/>
                  </a:moveTo>
                  <a:lnTo>
                    <a:pt x="367686" y="188323"/>
                  </a:lnTo>
                  <a:lnTo>
                    <a:pt x="368664" y="189789"/>
                  </a:lnTo>
                  <a:lnTo>
                    <a:pt x="366057" y="191255"/>
                  </a:lnTo>
                  <a:lnTo>
                    <a:pt x="361495" y="189626"/>
                  </a:lnTo>
                  <a:lnTo>
                    <a:pt x="360518" y="187183"/>
                  </a:lnTo>
                  <a:lnTo>
                    <a:pt x="361495" y="186531"/>
                  </a:lnTo>
                  <a:lnTo>
                    <a:pt x="361495" y="186531"/>
                  </a:lnTo>
                  <a:close/>
                  <a:moveTo>
                    <a:pt x="363939" y="197609"/>
                  </a:moveTo>
                  <a:lnTo>
                    <a:pt x="370455" y="198749"/>
                  </a:lnTo>
                  <a:lnTo>
                    <a:pt x="373225" y="201519"/>
                  </a:lnTo>
                  <a:lnTo>
                    <a:pt x="375180" y="202170"/>
                  </a:lnTo>
                  <a:lnTo>
                    <a:pt x="375180" y="203962"/>
                  </a:lnTo>
                  <a:cubicBezTo>
                    <a:pt x="375180" y="203962"/>
                    <a:pt x="369315" y="203636"/>
                    <a:pt x="369315" y="203636"/>
                  </a:cubicBezTo>
                  <a:lnTo>
                    <a:pt x="366871" y="203636"/>
                  </a:lnTo>
                  <a:cubicBezTo>
                    <a:pt x="366871" y="203636"/>
                    <a:pt x="363287" y="199564"/>
                    <a:pt x="363287" y="199564"/>
                  </a:cubicBezTo>
                  <a:lnTo>
                    <a:pt x="363776" y="197609"/>
                  </a:lnTo>
                  <a:lnTo>
                    <a:pt x="363776" y="197609"/>
                  </a:lnTo>
                  <a:close/>
                  <a:moveTo>
                    <a:pt x="369152" y="205754"/>
                  </a:moveTo>
                  <a:lnTo>
                    <a:pt x="375505" y="206080"/>
                  </a:lnTo>
                  <a:lnTo>
                    <a:pt x="379252" y="208687"/>
                  </a:lnTo>
                  <a:lnTo>
                    <a:pt x="374365" y="213900"/>
                  </a:lnTo>
                  <a:lnTo>
                    <a:pt x="371107" y="214877"/>
                  </a:lnTo>
                  <a:lnTo>
                    <a:pt x="368989" y="212108"/>
                  </a:lnTo>
                  <a:lnTo>
                    <a:pt x="369804" y="208850"/>
                  </a:lnTo>
                  <a:cubicBezTo>
                    <a:pt x="369804" y="208850"/>
                    <a:pt x="369315" y="205917"/>
                    <a:pt x="369315" y="205917"/>
                  </a:cubicBezTo>
                  <a:lnTo>
                    <a:pt x="369315" y="205917"/>
                  </a:lnTo>
                  <a:close/>
                  <a:moveTo>
                    <a:pt x="356934" y="144501"/>
                  </a:moveTo>
                  <a:lnTo>
                    <a:pt x="361007" y="137495"/>
                  </a:lnTo>
                  <a:lnTo>
                    <a:pt x="367034" y="129350"/>
                  </a:lnTo>
                  <a:lnTo>
                    <a:pt x="369641" y="125440"/>
                  </a:lnTo>
                  <a:lnTo>
                    <a:pt x="373551" y="124137"/>
                  </a:lnTo>
                  <a:lnTo>
                    <a:pt x="378764" y="133423"/>
                  </a:lnTo>
                  <a:lnTo>
                    <a:pt x="386909" y="139287"/>
                  </a:lnTo>
                  <a:lnTo>
                    <a:pt x="387724" y="141405"/>
                  </a:lnTo>
                  <a:lnTo>
                    <a:pt x="393589" y="146781"/>
                  </a:lnTo>
                  <a:lnTo>
                    <a:pt x="395706" y="151017"/>
                  </a:lnTo>
                  <a:lnTo>
                    <a:pt x="399453" y="151506"/>
                  </a:lnTo>
                  <a:lnTo>
                    <a:pt x="406784" y="149551"/>
                  </a:lnTo>
                  <a:lnTo>
                    <a:pt x="407599" y="146618"/>
                  </a:lnTo>
                  <a:lnTo>
                    <a:pt x="413952" y="147107"/>
                  </a:lnTo>
                  <a:lnTo>
                    <a:pt x="417536" y="145315"/>
                  </a:lnTo>
                  <a:lnTo>
                    <a:pt x="431546" y="146130"/>
                  </a:lnTo>
                  <a:lnTo>
                    <a:pt x="445719" y="140428"/>
                  </a:lnTo>
                  <a:lnTo>
                    <a:pt x="449466" y="137169"/>
                  </a:lnTo>
                  <a:lnTo>
                    <a:pt x="461848" y="136844"/>
                  </a:lnTo>
                  <a:lnTo>
                    <a:pt x="468364" y="139939"/>
                  </a:lnTo>
                  <a:lnTo>
                    <a:pt x="470319" y="143034"/>
                  </a:lnTo>
                  <a:lnTo>
                    <a:pt x="476346" y="143034"/>
                  </a:lnTo>
                  <a:cubicBezTo>
                    <a:pt x="476346" y="143034"/>
                    <a:pt x="486773" y="137169"/>
                    <a:pt x="486773" y="137169"/>
                  </a:cubicBezTo>
                  <a:lnTo>
                    <a:pt x="498991" y="135377"/>
                  </a:lnTo>
                  <a:lnTo>
                    <a:pt x="498339" y="131468"/>
                  </a:lnTo>
                  <a:lnTo>
                    <a:pt x="508439" y="116154"/>
                  </a:lnTo>
                  <a:lnTo>
                    <a:pt x="512512" y="105239"/>
                  </a:lnTo>
                  <a:lnTo>
                    <a:pt x="520169" y="93673"/>
                  </a:lnTo>
                  <a:lnTo>
                    <a:pt x="525708" y="73961"/>
                  </a:lnTo>
                  <a:lnTo>
                    <a:pt x="525708" y="70051"/>
                  </a:lnTo>
                  <a:lnTo>
                    <a:pt x="528314" y="65652"/>
                  </a:lnTo>
                  <a:lnTo>
                    <a:pt x="527989" y="62394"/>
                  </a:lnTo>
                  <a:lnTo>
                    <a:pt x="533364" y="55878"/>
                  </a:lnTo>
                  <a:lnTo>
                    <a:pt x="537600" y="57670"/>
                  </a:lnTo>
                  <a:lnTo>
                    <a:pt x="545746" y="57018"/>
                  </a:lnTo>
                  <a:lnTo>
                    <a:pt x="556986" y="57018"/>
                  </a:lnTo>
                  <a:cubicBezTo>
                    <a:pt x="556986" y="57018"/>
                    <a:pt x="559756" y="59299"/>
                    <a:pt x="559756" y="59299"/>
                  </a:cubicBezTo>
                  <a:lnTo>
                    <a:pt x="566924" y="59299"/>
                  </a:lnTo>
                  <a:cubicBezTo>
                    <a:pt x="566924" y="59299"/>
                    <a:pt x="572463" y="60765"/>
                    <a:pt x="572463" y="60765"/>
                  </a:cubicBezTo>
                  <a:lnTo>
                    <a:pt x="572137" y="62231"/>
                  </a:lnTo>
                  <a:lnTo>
                    <a:pt x="569530" y="62720"/>
                  </a:lnTo>
                  <a:lnTo>
                    <a:pt x="569856" y="65164"/>
                  </a:lnTo>
                  <a:lnTo>
                    <a:pt x="568227" y="67770"/>
                  </a:lnTo>
                  <a:lnTo>
                    <a:pt x="573603" y="69725"/>
                  </a:lnTo>
                  <a:lnTo>
                    <a:pt x="578491" y="75590"/>
                  </a:lnTo>
                  <a:lnTo>
                    <a:pt x="572789" y="77056"/>
                  </a:lnTo>
                  <a:lnTo>
                    <a:pt x="567087" y="76079"/>
                  </a:lnTo>
                  <a:lnTo>
                    <a:pt x="564643" y="77545"/>
                  </a:lnTo>
                  <a:lnTo>
                    <a:pt x="568716" y="82269"/>
                  </a:lnTo>
                  <a:lnTo>
                    <a:pt x="570834" y="83410"/>
                  </a:lnTo>
                  <a:lnTo>
                    <a:pt x="571485" y="86179"/>
                  </a:lnTo>
                  <a:lnTo>
                    <a:pt x="569205" y="86831"/>
                  </a:lnTo>
                  <a:lnTo>
                    <a:pt x="567412" y="90741"/>
                  </a:lnTo>
                  <a:lnTo>
                    <a:pt x="571648" y="94487"/>
                  </a:lnTo>
                  <a:lnTo>
                    <a:pt x="573277" y="99863"/>
                  </a:lnTo>
                  <a:lnTo>
                    <a:pt x="581748" y="108660"/>
                  </a:lnTo>
                  <a:lnTo>
                    <a:pt x="585659" y="112082"/>
                  </a:lnTo>
                  <a:lnTo>
                    <a:pt x="583052" y="116806"/>
                  </a:lnTo>
                  <a:lnTo>
                    <a:pt x="576373" y="118272"/>
                  </a:lnTo>
                  <a:lnTo>
                    <a:pt x="575395" y="121367"/>
                  </a:lnTo>
                  <a:lnTo>
                    <a:pt x="577676" y="123159"/>
                  </a:lnTo>
                  <a:lnTo>
                    <a:pt x="578816" y="127558"/>
                  </a:lnTo>
                  <a:lnTo>
                    <a:pt x="582726" y="129839"/>
                  </a:lnTo>
                  <a:lnTo>
                    <a:pt x="593641" y="139939"/>
                  </a:lnTo>
                  <a:lnTo>
                    <a:pt x="597388" y="139939"/>
                  </a:lnTo>
                  <a:lnTo>
                    <a:pt x="601623" y="144663"/>
                  </a:lnTo>
                  <a:lnTo>
                    <a:pt x="603090" y="147759"/>
                  </a:lnTo>
                  <a:lnTo>
                    <a:pt x="607162" y="148736"/>
                  </a:lnTo>
                  <a:lnTo>
                    <a:pt x="605859" y="153298"/>
                  </a:lnTo>
                  <a:lnTo>
                    <a:pt x="602764" y="154601"/>
                  </a:lnTo>
                  <a:lnTo>
                    <a:pt x="599506" y="153298"/>
                  </a:lnTo>
                  <a:lnTo>
                    <a:pt x="595596" y="156067"/>
                  </a:lnTo>
                  <a:lnTo>
                    <a:pt x="589731" y="155415"/>
                  </a:lnTo>
                  <a:lnTo>
                    <a:pt x="581423" y="147270"/>
                  </a:lnTo>
                  <a:lnTo>
                    <a:pt x="583052" y="154112"/>
                  </a:lnTo>
                  <a:lnTo>
                    <a:pt x="581586" y="156719"/>
                  </a:lnTo>
                  <a:lnTo>
                    <a:pt x="579142" y="153623"/>
                  </a:lnTo>
                  <a:lnTo>
                    <a:pt x="573766" y="158999"/>
                  </a:lnTo>
                  <a:lnTo>
                    <a:pt x="573766" y="162746"/>
                  </a:lnTo>
                  <a:lnTo>
                    <a:pt x="571323" y="165516"/>
                  </a:lnTo>
                  <a:lnTo>
                    <a:pt x="570345" y="175290"/>
                  </a:lnTo>
                  <a:lnTo>
                    <a:pt x="568064" y="178711"/>
                  </a:lnTo>
                  <a:lnTo>
                    <a:pt x="566272" y="187509"/>
                  </a:lnTo>
                  <a:lnTo>
                    <a:pt x="559430" y="192884"/>
                  </a:lnTo>
                  <a:lnTo>
                    <a:pt x="562037" y="199564"/>
                  </a:lnTo>
                  <a:lnTo>
                    <a:pt x="558941" y="204125"/>
                  </a:lnTo>
                  <a:lnTo>
                    <a:pt x="554543" y="208687"/>
                  </a:lnTo>
                  <a:lnTo>
                    <a:pt x="552425" y="203962"/>
                  </a:lnTo>
                  <a:lnTo>
                    <a:pt x="549818" y="202659"/>
                  </a:lnTo>
                  <a:lnTo>
                    <a:pt x="551121" y="206080"/>
                  </a:lnTo>
                  <a:lnTo>
                    <a:pt x="550796" y="211456"/>
                  </a:lnTo>
                  <a:lnTo>
                    <a:pt x="546397" y="216506"/>
                  </a:lnTo>
                  <a:lnTo>
                    <a:pt x="545583" y="221068"/>
                  </a:lnTo>
                  <a:lnTo>
                    <a:pt x="541347" y="222860"/>
                  </a:lnTo>
                  <a:lnTo>
                    <a:pt x="537600" y="222371"/>
                  </a:lnTo>
                  <a:lnTo>
                    <a:pt x="538578" y="224652"/>
                  </a:lnTo>
                  <a:lnTo>
                    <a:pt x="536623" y="227584"/>
                  </a:lnTo>
                  <a:lnTo>
                    <a:pt x="542813" y="227258"/>
                  </a:lnTo>
                  <a:lnTo>
                    <a:pt x="543791" y="228236"/>
                  </a:lnTo>
                  <a:lnTo>
                    <a:pt x="543139" y="232797"/>
                  </a:lnTo>
                  <a:lnTo>
                    <a:pt x="540207" y="234915"/>
                  </a:lnTo>
                  <a:lnTo>
                    <a:pt x="541836" y="236055"/>
                  </a:lnTo>
                  <a:lnTo>
                    <a:pt x="544768" y="235730"/>
                  </a:lnTo>
                  <a:lnTo>
                    <a:pt x="545420" y="239151"/>
                  </a:lnTo>
                  <a:lnTo>
                    <a:pt x="543791" y="243060"/>
                  </a:lnTo>
                  <a:lnTo>
                    <a:pt x="539718" y="241920"/>
                  </a:lnTo>
                  <a:lnTo>
                    <a:pt x="538903" y="240943"/>
                  </a:lnTo>
                  <a:lnTo>
                    <a:pt x="538578" y="242898"/>
                  </a:lnTo>
                  <a:lnTo>
                    <a:pt x="540859" y="245178"/>
                  </a:lnTo>
                  <a:lnTo>
                    <a:pt x="542487" y="246644"/>
                  </a:lnTo>
                  <a:lnTo>
                    <a:pt x="538578" y="254790"/>
                  </a:lnTo>
                  <a:lnTo>
                    <a:pt x="535971" y="254790"/>
                  </a:lnTo>
                  <a:lnTo>
                    <a:pt x="534831" y="252835"/>
                  </a:lnTo>
                  <a:lnTo>
                    <a:pt x="533364" y="259351"/>
                  </a:lnTo>
                  <a:lnTo>
                    <a:pt x="533364" y="262773"/>
                  </a:lnTo>
                  <a:lnTo>
                    <a:pt x="527989" y="272547"/>
                  </a:lnTo>
                  <a:lnTo>
                    <a:pt x="519354" y="278412"/>
                  </a:lnTo>
                  <a:lnTo>
                    <a:pt x="512023" y="279715"/>
                  </a:lnTo>
                  <a:lnTo>
                    <a:pt x="501597" y="284602"/>
                  </a:lnTo>
                  <a:lnTo>
                    <a:pt x="496710" y="285417"/>
                  </a:lnTo>
                  <a:lnTo>
                    <a:pt x="495244" y="278412"/>
                  </a:lnTo>
                  <a:lnTo>
                    <a:pt x="496221" y="274502"/>
                  </a:lnTo>
                  <a:lnTo>
                    <a:pt x="493615" y="270592"/>
                  </a:lnTo>
                  <a:lnTo>
                    <a:pt x="492637" y="268800"/>
                  </a:lnTo>
                  <a:lnTo>
                    <a:pt x="490194" y="269941"/>
                  </a:lnTo>
                  <a:lnTo>
                    <a:pt x="487424" y="266193"/>
                  </a:lnTo>
                  <a:lnTo>
                    <a:pt x="484980" y="267497"/>
                  </a:lnTo>
                  <a:lnTo>
                    <a:pt x="480908" y="266357"/>
                  </a:lnTo>
                  <a:lnTo>
                    <a:pt x="478627" y="262284"/>
                  </a:lnTo>
                  <a:lnTo>
                    <a:pt x="476835" y="266357"/>
                  </a:lnTo>
                  <a:lnTo>
                    <a:pt x="478627" y="269778"/>
                  </a:lnTo>
                  <a:lnTo>
                    <a:pt x="473903" y="268474"/>
                  </a:lnTo>
                  <a:lnTo>
                    <a:pt x="471948" y="265868"/>
                  </a:lnTo>
                  <a:lnTo>
                    <a:pt x="471948" y="261795"/>
                  </a:lnTo>
                  <a:lnTo>
                    <a:pt x="469178" y="259351"/>
                  </a:lnTo>
                  <a:lnTo>
                    <a:pt x="466246" y="261143"/>
                  </a:lnTo>
                  <a:lnTo>
                    <a:pt x="461684" y="258374"/>
                  </a:lnTo>
                  <a:lnTo>
                    <a:pt x="458915" y="258700"/>
                  </a:lnTo>
                  <a:lnTo>
                    <a:pt x="455005" y="262935"/>
                  </a:lnTo>
                  <a:lnTo>
                    <a:pt x="448815" y="263913"/>
                  </a:lnTo>
                  <a:lnTo>
                    <a:pt x="447837" y="266357"/>
                  </a:lnTo>
                  <a:lnTo>
                    <a:pt x="444091" y="266845"/>
                  </a:lnTo>
                  <a:lnTo>
                    <a:pt x="441321" y="264402"/>
                  </a:lnTo>
                  <a:lnTo>
                    <a:pt x="438389" y="265216"/>
                  </a:lnTo>
                  <a:lnTo>
                    <a:pt x="432524" y="272547"/>
                  </a:lnTo>
                  <a:lnTo>
                    <a:pt x="428777" y="272547"/>
                  </a:lnTo>
                  <a:lnTo>
                    <a:pt x="429266" y="268474"/>
                  </a:lnTo>
                  <a:lnTo>
                    <a:pt x="428451" y="259840"/>
                  </a:lnTo>
                  <a:lnTo>
                    <a:pt x="426333" y="253650"/>
                  </a:lnTo>
                  <a:lnTo>
                    <a:pt x="427311" y="249251"/>
                  </a:lnTo>
                  <a:lnTo>
                    <a:pt x="425682" y="245830"/>
                  </a:lnTo>
                  <a:lnTo>
                    <a:pt x="426170" y="248600"/>
                  </a:lnTo>
                  <a:lnTo>
                    <a:pt x="423889" y="253487"/>
                  </a:lnTo>
                  <a:lnTo>
                    <a:pt x="420632" y="255604"/>
                  </a:lnTo>
                  <a:lnTo>
                    <a:pt x="417536" y="253324"/>
                  </a:lnTo>
                  <a:lnTo>
                    <a:pt x="413137" y="256419"/>
                  </a:lnTo>
                  <a:lnTo>
                    <a:pt x="406621" y="256908"/>
                  </a:lnTo>
                  <a:lnTo>
                    <a:pt x="402711" y="255442"/>
                  </a:lnTo>
                  <a:lnTo>
                    <a:pt x="397335" y="255116"/>
                  </a:lnTo>
                  <a:lnTo>
                    <a:pt x="395706" y="251858"/>
                  </a:lnTo>
                  <a:lnTo>
                    <a:pt x="391796" y="255279"/>
                  </a:lnTo>
                  <a:lnTo>
                    <a:pt x="388864" y="255279"/>
                  </a:lnTo>
                  <a:lnTo>
                    <a:pt x="385932" y="248111"/>
                  </a:lnTo>
                  <a:lnTo>
                    <a:pt x="385932" y="242083"/>
                  </a:lnTo>
                  <a:cubicBezTo>
                    <a:pt x="385932" y="242083"/>
                    <a:pt x="384466" y="230679"/>
                    <a:pt x="384466" y="230679"/>
                  </a:cubicBezTo>
                  <a:lnTo>
                    <a:pt x="380067" y="227747"/>
                  </a:lnTo>
                  <a:lnTo>
                    <a:pt x="378927" y="224652"/>
                  </a:lnTo>
                  <a:lnTo>
                    <a:pt x="381696" y="221231"/>
                  </a:lnTo>
                  <a:lnTo>
                    <a:pt x="385280" y="216181"/>
                  </a:lnTo>
                  <a:lnTo>
                    <a:pt x="384628" y="211619"/>
                  </a:lnTo>
                  <a:lnTo>
                    <a:pt x="382185" y="207058"/>
                  </a:lnTo>
                  <a:lnTo>
                    <a:pt x="374854" y="199727"/>
                  </a:lnTo>
                  <a:lnTo>
                    <a:pt x="368664" y="195980"/>
                  </a:lnTo>
                  <a:lnTo>
                    <a:pt x="362636" y="194514"/>
                  </a:lnTo>
                  <a:lnTo>
                    <a:pt x="362636" y="192559"/>
                  </a:lnTo>
                  <a:cubicBezTo>
                    <a:pt x="362636" y="192559"/>
                    <a:pt x="367034" y="192070"/>
                    <a:pt x="367034" y="192070"/>
                  </a:cubicBezTo>
                  <a:lnTo>
                    <a:pt x="370944" y="188649"/>
                  </a:lnTo>
                  <a:lnTo>
                    <a:pt x="379904" y="186531"/>
                  </a:lnTo>
                  <a:lnTo>
                    <a:pt x="385932" y="181807"/>
                  </a:lnTo>
                  <a:lnTo>
                    <a:pt x="390819" y="182133"/>
                  </a:lnTo>
                  <a:lnTo>
                    <a:pt x="386257" y="180666"/>
                  </a:lnTo>
                  <a:lnTo>
                    <a:pt x="379416" y="184902"/>
                  </a:lnTo>
                  <a:lnTo>
                    <a:pt x="371433" y="186042"/>
                  </a:lnTo>
                  <a:lnTo>
                    <a:pt x="368175" y="186857"/>
                  </a:lnTo>
                  <a:lnTo>
                    <a:pt x="362962" y="185228"/>
                  </a:lnTo>
                  <a:lnTo>
                    <a:pt x="359703" y="179363"/>
                  </a:lnTo>
                  <a:lnTo>
                    <a:pt x="361332" y="177734"/>
                  </a:lnTo>
                  <a:lnTo>
                    <a:pt x="364265" y="179200"/>
                  </a:lnTo>
                  <a:lnTo>
                    <a:pt x="361984" y="175290"/>
                  </a:lnTo>
                  <a:lnTo>
                    <a:pt x="354327" y="165842"/>
                  </a:lnTo>
                  <a:lnTo>
                    <a:pt x="353676" y="156230"/>
                  </a:lnTo>
                  <a:lnTo>
                    <a:pt x="357260" y="154112"/>
                  </a:lnTo>
                  <a:lnTo>
                    <a:pt x="357748" y="151017"/>
                  </a:lnTo>
                  <a:lnTo>
                    <a:pt x="356445" y="147596"/>
                  </a:lnTo>
                  <a:lnTo>
                    <a:pt x="356771" y="144012"/>
                  </a:lnTo>
                  <a:lnTo>
                    <a:pt x="356771" y="144012"/>
                  </a:lnTo>
                  <a:close/>
                  <a:moveTo>
                    <a:pt x="1019323" y="199564"/>
                  </a:moveTo>
                  <a:lnTo>
                    <a:pt x="1016227" y="200541"/>
                  </a:lnTo>
                  <a:lnTo>
                    <a:pt x="1019160" y="203636"/>
                  </a:lnTo>
                  <a:lnTo>
                    <a:pt x="1022418" y="202822"/>
                  </a:lnTo>
                  <a:lnTo>
                    <a:pt x="1019323" y="199564"/>
                  </a:lnTo>
                  <a:lnTo>
                    <a:pt x="1019323" y="199564"/>
                  </a:lnTo>
                  <a:close/>
                  <a:moveTo>
                    <a:pt x="1030563" y="215855"/>
                  </a:moveTo>
                  <a:lnTo>
                    <a:pt x="1023884" y="215855"/>
                  </a:lnTo>
                  <a:lnTo>
                    <a:pt x="1027631" y="217158"/>
                  </a:lnTo>
                  <a:lnTo>
                    <a:pt x="1030563" y="215855"/>
                  </a:lnTo>
                  <a:lnTo>
                    <a:pt x="1030563" y="215855"/>
                  </a:lnTo>
                  <a:close/>
                  <a:moveTo>
                    <a:pt x="1034473" y="217484"/>
                  </a:moveTo>
                  <a:cubicBezTo>
                    <a:pt x="1034473" y="217484"/>
                    <a:pt x="1036102" y="219439"/>
                    <a:pt x="1036102" y="219439"/>
                  </a:cubicBezTo>
                  <a:lnTo>
                    <a:pt x="1044248" y="222697"/>
                  </a:lnTo>
                  <a:lnTo>
                    <a:pt x="1055977" y="224326"/>
                  </a:lnTo>
                  <a:lnTo>
                    <a:pt x="1066729" y="222697"/>
                  </a:lnTo>
                  <a:lnTo>
                    <a:pt x="1069662" y="221068"/>
                  </a:lnTo>
                  <a:lnTo>
                    <a:pt x="1061027" y="219276"/>
                  </a:lnTo>
                  <a:lnTo>
                    <a:pt x="1056792" y="220416"/>
                  </a:lnTo>
                  <a:lnTo>
                    <a:pt x="1049135" y="218135"/>
                  </a:lnTo>
                  <a:lnTo>
                    <a:pt x="1043922" y="220742"/>
                  </a:lnTo>
                  <a:lnTo>
                    <a:pt x="1034473" y="217484"/>
                  </a:lnTo>
                  <a:lnTo>
                    <a:pt x="1034473" y="217484"/>
                  </a:lnTo>
                  <a:close/>
                  <a:moveTo>
                    <a:pt x="1034473" y="193047"/>
                  </a:moveTo>
                  <a:lnTo>
                    <a:pt x="1038709" y="197283"/>
                  </a:lnTo>
                  <a:lnTo>
                    <a:pt x="1038709" y="194351"/>
                  </a:lnTo>
                  <a:cubicBezTo>
                    <a:pt x="1038709" y="194351"/>
                    <a:pt x="1041152" y="194514"/>
                    <a:pt x="1041152" y="194514"/>
                  </a:cubicBezTo>
                  <a:lnTo>
                    <a:pt x="1045551" y="200378"/>
                  </a:lnTo>
                  <a:lnTo>
                    <a:pt x="1044736" y="203636"/>
                  </a:lnTo>
                  <a:lnTo>
                    <a:pt x="1048646" y="204451"/>
                  </a:lnTo>
                  <a:lnTo>
                    <a:pt x="1050112" y="204451"/>
                  </a:lnTo>
                  <a:lnTo>
                    <a:pt x="1052393" y="205592"/>
                  </a:lnTo>
                  <a:lnTo>
                    <a:pt x="1058258" y="204451"/>
                  </a:lnTo>
                  <a:lnTo>
                    <a:pt x="1055977" y="202170"/>
                  </a:lnTo>
                  <a:lnTo>
                    <a:pt x="1052230" y="200378"/>
                  </a:lnTo>
                  <a:lnTo>
                    <a:pt x="1048972" y="195002"/>
                  </a:lnTo>
                  <a:lnTo>
                    <a:pt x="1044736" y="192233"/>
                  </a:lnTo>
                  <a:lnTo>
                    <a:pt x="1040664" y="192233"/>
                  </a:lnTo>
                  <a:lnTo>
                    <a:pt x="1033496" y="190930"/>
                  </a:lnTo>
                  <a:lnTo>
                    <a:pt x="1034473" y="192884"/>
                  </a:lnTo>
                  <a:lnTo>
                    <a:pt x="1034473" y="192884"/>
                  </a:lnTo>
                  <a:close/>
                  <a:moveTo>
                    <a:pt x="960187" y="320931"/>
                  </a:moveTo>
                  <a:lnTo>
                    <a:pt x="961490" y="325818"/>
                  </a:lnTo>
                  <a:lnTo>
                    <a:pt x="961490" y="329891"/>
                  </a:lnTo>
                  <a:cubicBezTo>
                    <a:pt x="961490" y="329891"/>
                    <a:pt x="963444" y="331846"/>
                    <a:pt x="963444" y="331846"/>
                  </a:cubicBezTo>
                  <a:lnTo>
                    <a:pt x="963444" y="325981"/>
                  </a:lnTo>
                  <a:cubicBezTo>
                    <a:pt x="963444" y="325981"/>
                    <a:pt x="960024" y="320931"/>
                    <a:pt x="960024" y="320931"/>
                  </a:cubicBezTo>
                  <a:lnTo>
                    <a:pt x="960024" y="320931"/>
                  </a:lnTo>
                  <a:close/>
                  <a:moveTo>
                    <a:pt x="974034" y="315881"/>
                  </a:moveTo>
                  <a:lnTo>
                    <a:pt x="968984" y="318487"/>
                  </a:lnTo>
                  <a:lnTo>
                    <a:pt x="966703" y="329240"/>
                  </a:lnTo>
                  <a:lnTo>
                    <a:pt x="964911" y="332335"/>
                  </a:lnTo>
                  <a:lnTo>
                    <a:pt x="968332" y="331032"/>
                  </a:lnTo>
                  <a:lnTo>
                    <a:pt x="971753" y="320442"/>
                  </a:lnTo>
                  <a:lnTo>
                    <a:pt x="974034" y="315881"/>
                  </a:lnTo>
                  <a:lnTo>
                    <a:pt x="974034" y="315881"/>
                  </a:lnTo>
                  <a:close/>
                  <a:moveTo>
                    <a:pt x="1014109" y="350255"/>
                  </a:moveTo>
                  <a:lnTo>
                    <a:pt x="1012155" y="352535"/>
                  </a:lnTo>
                  <a:lnTo>
                    <a:pt x="1013458" y="353676"/>
                  </a:lnTo>
                  <a:lnTo>
                    <a:pt x="1014598" y="352373"/>
                  </a:lnTo>
                  <a:lnTo>
                    <a:pt x="1014109" y="350418"/>
                  </a:lnTo>
                  <a:lnTo>
                    <a:pt x="1014109" y="350418"/>
                  </a:lnTo>
                  <a:close/>
                  <a:moveTo>
                    <a:pt x="999122" y="341132"/>
                  </a:moveTo>
                  <a:lnTo>
                    <a:pt x="997167" y="339503"/>
                  </a:lnTo>
                  <a:lnTo>
                    <a:pt x="997656" y="341621"/>
                  </a:lnTo>
                  <a:lnTo>
                    <a:pt x="997656" y="346834"/>
                  </a:lnTo>
                  <a:cubicBezTo>
                    <a:pt x="997656" y="346834"/>
                    <a:pt x="999773" y="348789"/>
                    <a:pt x="999773" y="348789"/>
                  </a:cubicBezTo>
                  <a:lnTo>
                    <a:pt x="1000914" y="351721"/>
                  </a:lnTo>
                  <a:lnTo>
                    <a:pt x="999122" y="349929"/>
                  </a:lnTo>
                  <a:lnTo>
                    <a:pt x="997330" y="349929"/>
                  </a:lnTo>
                  <a:cubicBezTo>
                    <a:pt x="997330" y="349929"/>
                    <a:pt x="996841" y="354490"/>
                    <a:pt x="996841" y="354490"/>
                  </a:cubicBezTo>
                  <a:lnTo>
                    <a:pt x="999285" y="356771"/>
                  </a:lnTo>
                  <a:lnTo>
                    <a:pt x="1001891" y="356445"/>
                  </a:lnTo>
                  <a:lnTo>
                    <a:pt x="1006616" y="352210"/>
                  </a:lnTo>
                  <a:lnTo>
                    <a:pt x="1007593" y="349929"/>
                  </a:lnTo>
                  <a:lnTo>
                    <a:pt x="1005312" y="348463"/>
                  </a:lnTo>
                  <a:lnTo>
                    <a:pt x="1003683" y="345042"/>
                  </a:lnTo>
                  <a:lnTo>
                    <a:pt x="999122" y="341132"/>
                  </a:lnTo>
                  <a:lnTo>
                    <a:pt x="999122" y="341132"/>
                  </a:lnTo>
                  <a:close/>
                  <a:moveTo>
                    <a:pt x="1008408" y="342924"/>
                  </a:moveTo>
                  <a:cubicBezTo>
                    <a:pt x="1008408" y="342924"/>
                    <a:pt x="1006941" y="344064"/>
                    <a:pt x="1006941" y="344064"/>
                  </a:cubicBezTo>
                  <a:lnTo>
                    <a:pt x="1006941" y="346508"/>
                  </a:lnTo>
                  <a:cubicBezTo>
                    <a:pt x="1006941" y="346508"/>
                    <a:pt x="1009222" y="348137"/>
                    <a:pt x="1009222" y="348137"/>
                  </a:cubicBezTo>
                  <a:lnTo>
                    <a:pt x="1011829" y="347648"/>
                  </a:lnTo>
                  <a:lnTo>
                    <a:pt x="1011014" y="345042"/>
                  </a:lnTo>
                  <a:lnTo>
                    <a:pt x="1008408" y="342924"/>
                  </a:lnTo>
                  <a:lnTo>
                    <a:pt x="1008408" y="342924"/>
                  </a:lnTo>
                  <a:close/>
                  <a:moveTo>
                    <a:pt x="1001240" y="335267"/>
                  </a:moveTo>
                  <a:lnTo>
                    <a:pt x="998307" y="334616"/>
                  </a:lnTo>
                  <a:lnTo>
                    <a:pt x="997819" y="337222"/>
                  </a:lnTo>
                  <a:lnTo>
                    <a:pt x="1001728" y="341621"/>
                  </a:lnTo>
                  <a:lnTo>
                    <a:pt x="1004824" y="343250"/>
                  </a:lnTo>
                  <a:lnTo>
                    <a:pt x="1006290" y="342272"/>
                  </a:lnTo>
                  <a:lnTo>
                    <a:pt x="1002054" y="338200"/>
                  </a:lnTo>
                  <a:lnTo>
                    <a:pt x="1001240" y="335430"/>
                  </a:lnTo>
                  <a:lnTo>
                    <a:pt x="1001240" y="335430"/>
                  </a:lnTo>
                  <a:close/>
                  <a:moveTo>
                    <a:pt x="1010851" y="331520"/>
                  </a:moveTo>
                  <a:lnTo>
                    <a:pt x="1006453" y="333149"/>
                  </a:lnTo>
                  <a:lnTo>
                    <a:pt x="1002869" y="336408"/>
                  </a:lnTo>
                  <a:lnTo>
                    <a:pt x="1003683" y="337711"/>
                  </a:lnTo>
                  <a:lnTo>
                    <a:pt x="1009059" y="340643"/>
                  </a:lnTo>
                  <a:lnTo>
                    <a:pt x="1011177" y="342109"/>
                  </a:lnTo>
                  <a:lnTo>
                    <a:pt x="1013784" y="338851"/>
                  </a:lnTo>
                  <a:lnTo>
                    <a:pt x="1014273" y="336082"/>
                  </a:lnTo>
                  <a:lnTo>
                    <a:pt x="1013132" y="335430"/>
                  </a:lnTo>
                  <a:lnTo>
                    <a:pt x="1013621" y="333964"/>
                  </a:lnTo>
                  <a:lnTo>
                    <a:pt x="1011992" y="331683"/>
                  </a:lnTo>
                  <a:lnTo>
                    <a:pt x="1010689" y="331357"/>
                  </a:lnTo>
                  <a:lnTo>
                    <a:pt x="1010689" y="331357"/>
                  </a:lnTo>
                  <a:close/>
                  <a:moveTo>
                    <a:pt x="1000914" y="325818"/>
                  </a:moveTo>
                  <a:lnTo>
                    <a:pt x="999610" y="325818"/>
                  </a:lnTo>
                  <a:cubicBezTo>
                    <a:pt x="999610" y="325818"/>
                    <a:pt x="998959" y="327610"/>
                    <a:pt x="998959" y="327610"/>
                  </a:cubicBezTo>
                  <a:lnTo>
                    <a:pt x="1000914" y="327610"/>
                  </a:lnTo>
                  <a:lnTo>
                    <a:pt x="1000914" y="325818"/>
                  </a:lnTo>
                  <a:lnTo>
                    <a:pt x="1000914" y="325818"/>
                  </a:lnTo>
                  <a:close/>
                  <a:moveTo>
                    <a:pt x="1008896" y="318487"/>
                  </a:moveTo>
                  <a:lnTo>
                    <a:pt x="1011340" y="321257"/>
                  </a:lnTo>
                  <a:lnTo>
                    <a:pt x="1013295" y="321257"/>
                  </a:lnTo>
                  <a:cubicBezTo>
                    <a:pt x="1013295" y="321257"/>
                    <a:pt x="1011177" y="318325"/>
                    <a:pt x="1011177" y="318325"/>
                  </a:cubicBezTo>
                  <a:lnTo>
                    <a:pt x="1008896" y="318325"/>
                  </a:lnTo>
                  <a:close/>
                  <a:moveTo>
                    <a:pt x="1008082" y="320117"/>
                  </a:moveTo>
                  <a:lnTo>
                    <a:pt x="1005638" y="319791"/>
                  </a:lnTo>
                  <a:lnTo>
                    <a:pt x="1003357" y="323701"/>
                  </a:lnTo>
                  <a:lnTo>
                    <a:pt x="1001077" y="324352"/>
                  </a:lnTo>
                  <a:lnTo>
                    <a:pt x="1003683" y="325167"/>
                  </a:lnTo>
                  <a:lnTo>
                    <a:pt x="1004009" y="327122"/>
                  </a:lnTo>
                  <a:lnTo>
                    <a:pt x="1006453" y="326633"/>
                  </a:lnTo>
                  <a:lnTo>
                    <a:pt x="1002869" y="329076"/>
                  </a:lnTo>
                  <a:lnTo>
                    <a:pt x="1003683" y="332172"/>
                  </a:lnTo>
                  <a:lnTo>
                    <a:pt x="1005475" y="332172"/>
                  </a:lnTo>
                  <a:cubicBezTo>
                    <a:pt x="1005475" y="332172"/>
                    <a:pt x="1009059" y="329402"/>
                    <a:pt x="1009059" y="329402"/>
                  </a:cubicBezTo>
                  <a:lnTo>
                    <a:pt x="1011992" y="329402"/>
                  </a:lnTo>
                  <a:cubicBezTo>
                    <a:pt x="1011992" y="329402"/>
                    <a:pt x="1013132" y="327122"/>
                    <a:pt x="1013132" y="327122"/>
                  </a:cubicBezTo>
                  <a:lnTo>
                    <a:pt x="1013132" y="322723"/>
                  </a:lnTo>
                  <a:cubicBezTo>
                    <a:pt x="1013132" y="322723"/>
                    <a:pt x="1010851" y="322397"/>
                    <a:pt x="1010851" y="322397"/>
                  </a:cubicBezTo>
                  <a:lnTo>
                    <a:pt x="1007756" y="320117"/>
                  </a:lnTo>
                  <a:lnTo>
                    <a:pt x="1007756" y="320117"/>
                  </a:lnTo>
                  <a:close/>
                  <a:moveTo>
                    <a:pt x="940963" y="360355"/>
                  </a:moveTo>
                  <a:lnTo>
                    <a:pt x="945199" y="358237"/>
                  </a:lnTo>
                  <a:lnTo>
                    <a:pt x="943733" y="357423"/>
                  </a:lnTo>
                  <a:lnTo>
                    <a:pt x="940963" y="360355"/>
                  </a:lnTo>
                  <a:lnTo>
                    <a:pt x="940963" y="360355"/>
                  </a:lnTo>
                  <a:close/>
                  <a:moveTo>
                    <a:pt x="936565" y="362473"/>
                  </a:moveTo>
                  <a:lnTo>
                    <a:pt x="942918" y="365731"/>
                  </a:lnTo>
                  <a:lnTo>
                    <a:pt x="941126" y="363125"/>
                  </a:lnTo>
                  <a:lnTo>
                    <a:pt x="936565" y="362310"/>
                  </a:lnTo>
                  <a:lnTo>
                    <a:pt x="936565" y="362310"/>
                  </a:lnTo>
                  <a:close/>
                  <a:moveTo>
                    <a:pt x="914572" y="373388"/>
                  </a:moveTo>
                  <a:lnTo>
                    <a:pt x="911640" y="374528"/>
                  </a:lnTo>
                  <a:lnTo>
                    <a:pt x="913757" y="375017"/>
                  </a:lnTo>
                  <a:cubicBezTo>
                    <a:pt x="913757" y="375017"/>
                    <a:pt x="914572" y="373225"/>
                    <a:pt x="914572" y="373388"/>
                  </a:cubicBezTo>
                  <a:lnTo>
                    <a:pt x="914572" y="373388"/>
                  </a:lnTo>
                  <a:close/>
                  <a:moveTo>
                    <a:pt x="921089" y="370455"/>
                  </a:moveTo>
                  <a:lnTo>
                    <a:pt x="914409" y="370944"/>
                  </a:lnTo>
                  <a:lnTo>
                    <a:pt x="917667" y="372248"/>
                  </a:lnTo>
                  <a:lnTo>
                    <a:pt x="920274" y="371596"/>
                  </a:lnTo>
                  <a:lnTo>
                    <a:pt x="921089" y="370455"/>
                  </a:lnTo>
                  <a:lnTo>
                    <a:pt x="921089" y="370455"/>
                  </a:lnTo>
                  <a:close/>
                  <a:moveTo>
                    <a:pt x="921414" y="389027"/>
                  </a:moveTo>
                  <a:lnTo>
                    <a:pt x="918482" y="388701"/>
                  </a:lnTo>
                  <a:lnTo>
                    <a:pt x="913920" y="391797"/>
                  </a:lnTo>
                  <a:lnTo>
                    <a:pt x="913269" y="393751"/>
                  </a:lnTo>
                  <a:lnTo>
                    <a:pt x="917016" y="393100"/>
                  </a:lnTo>
                  <a:lnTo>
                    <a:pt x="920274" y="390493"/>
                  </a:lnTo>
                  <a:lnTo>
                    <a:pt x="921414" y="388864"/>
                  </a:lnTo>
                  <a:lnTo>
                    <a:pt x="921414" y="388864"/>
                  </a:lnTo>
                  <a:close/>
                  <a:moveTo>
                    <a:pt x="929560" y="368012"/>
                  </a:moveTo>
                  <a:lnTo>
                    <a:pt x="922555" y="374202"/>
                  </a:lnTo>
                  <a:lnTo>
                    <a:pt x="922228" y="376646"/>
                  </a:lnTo>
                  <a:lnTo>
                    <a:pt x="923206" y="378438"/>
                  </a:lnTo>
                  <a:lnTo>
                    <a:pt x="920437" y="380719"/>
                  </a:lnTo>
                  <a:lnTo>
                    <a:pt x="920437" y="384466"/>
                  </a:lnTo>
                  <a:cubicBezTo>
                    <a:pt x="920437" y="384466"/>
                    <a:pt x="924021" y="387561"/>
                    <a:pt x="924021" y="387561"/>
                  </a:cubicBezTo>
                  <a:lnTo>
                    <a:pt x="927279" y="386584"/>
                  </a:lnTo>
                  <a:lnTo>
                    <a:pt x="933144" y="379252"/>
                  </a:lnTo>
                  <a:lnTo>
                    <a:pt x="935098" y="373062"/>
                  </a:lnTo>
                  <a:lnTo>
                    <a:pt x="934121" y="369478"/>
                  </a:lnTo>
                  <a:lnTo>
                    <a:pt x="935424" y="366871"/>
                  </a:lnTo>
                  <a:lnTo>
                    <a:pt x="934935" y="365079"/>
                  </a:lnTo>
                  <a:lnTo>
                    <a:pt x="932003" y="364265"/>
                  </a:lnTo>
                  <a:lnTo>
                    <a:pt x="929560" y="366057"/>
                  </a:lnTo>
                  <a:lnTo>
                    <a:pt x="929560" y="368012"/>
                  </a:lnTo>
                  <a:lnTo>
                    <a:pt x="929560" y="368012"/>
                  </a:lnTo>
                  <a:close/>
                  <a:moveTo>
                    <a:pt x="890950" y="342924"/>
                  </a:moveTo>
                  <a:lnTo>
                    <a:pt x="894534" y="340806"/>
                  </a:lnTo>
                  <a:lnTo>
                    <a:pt x="891928" y="339503"/>
                  </a:lnTo>
                  <a:lnTo>
                    <a:pt x="890950" y="342924"/>
                  </a:lnTo>
                  <a:lnTo>
                    <a:pt x="890950" y="342924"/>
                  </a:lnTo>
                  <a:close/>
                  <a:moveTo>
                    <a:pt x="879221" y="350743"/>
                  </a:moveTo>
                  <a:lnTo>
                    <a:pt x="876614" y="352698"/>
                  </a:lnTo>
                  <a:lnTo>
                    <a:pt x="880198" y="352698"/>
                  </a:lnTo>
                  <a:cubicBezTo>
                    <a:pt x="880198" y="352698"/>
                    <a:pt x="879221" y="350743"/>
                    <a:pt x="879221" y="350743"/>
                  </a:cubicBezTo>
                  <a:lnTo>
                    <a:pt x="879221" y="350743"/>
                  </a:lnTo>
                  <a:close/>
                  <a:moveTo>
                    <a:pt x="888507" y="389190"/>
                  </a:moveTo>
                  <a:lnTo>
                    <a:pt x="883293" y="391959"/>
                  </a:lnTo>
                  <a:lnTo>
                    <a:pt x="886389" y="391959"/>
                  </a:lnTo>
                  <a:lnTo>
                    <a:pt x="888669" y="389190"/>
                  </a:lnTo>
                  <a:lnTo>
                    <a:pt x="888669" y="389190"/>
                  </a:lnTo>
                  <a:close/>
                  <a:moveTo>
                    <a:pt x="880035" y="381696"/>
                  </a:moveTo>
                  <a:lnTo>
                    <a:pt x="882968" y="380230"/>
                  </a:lnTo>
                  <a:lnTo>
                    <a:pt x="886389" y="382185"/>
                  </a:lnTo>
                  <a:lnTo>
                    <a:pt x="887366" y="386258"/>
                  </a:lnTo>
                  <a:lnTo>
                    <a:pt x="883457" y="387072"/>
                  </a:lnTo>
                  <a:lnTo>
                    <a:pt x="880198" y="384466"/>
                  </a:lnTo>
                  <a:lnTo>
                    <a:pt x="880198" y="381859"/>
                  </a:lnTo>
                  <a:lnTo>
                    <a:pt x="880035" y="381859"/>
                  </a:lnTo>
                  <a:close/>
                  <a:moveTo>
                    <a:pt x="852341" y="364265"/>
                  </a:moveTo>
                  <a:lnTo>
                    <a:pt x="854621" y="362473"/>
                  </a:lnTo>
                  <a:lnTo>
                    <a:pt x="857228" y="364265"/>
                  </a:lnTo>
                  <a:lnTo>
                    <a:pt x="855925" y="366220"/>
                  </a:lnTo>
                  <a:lnTo>
                    <a:pt x="853155" y="366220"/>
                  </a:lnTo>
                  <a:cubicBezTo>
                    <a:pt x="853155" y="366220"/>
                    <a:pt x="852341" y="364265"/>
                    <a:pt x="852341" y="364265"/>
                  </a:cubicBezTo>
                  <a:lnTo>
                    <a:pt x="852341" y="364265"/>
                  </a:lnTo>
                  <a:close/>
                  <a:moveTo>
                    <a:pt x="858205" y="394240"/>
                  </a:moveTo>
                  <a:lnTo>
                    <a:pt x="862930" y="393914"/>
                  </a:lnTo>
                  <a:lnTo>
                    <a:pt x="865048" y="395218"/>
                  </a:lnTo>
                  <a:lnTo>
                    <a:pt x="860812" y="395543"/>
                  </a:lnTo>
                  <a:lnTo>
                    <a:pt x="858205" y="394240"/>
                  </a:lnTo>
                  <a:lnTo>
                    <a:pt x="858205" y="394240"/>
                  </a:lnTo>
                  <a:close/>
                  <a:moveTo>
                    <a:pt x="818944" y="376483"/>
                  </a:moveTo>
                  <a:lnTo>
                    <a:pt x="823669" y="373062"/>
                  </a:lnTo>
                  <a:lnTo>
                    <a:pt x="820573" y="371596"/>
                  </a:lnTo>
                  <a:lnTo>
                    <a:pt x="818619" y="373388"/>
                  </a:lnTo>
                  <a:lnTo>
                    <a:pt x="818944" y="376483"/>
                  </a:lnTo>
                  <a:lnTo>
                    <a:pt x="818944" y="376483"/>
                  </a:lnTo>
                  <a:close/>
                  <a:moveTo>
                    <a:pt x="832466" y="390982"/>
                  </a:moveTo>
                  <a:lnTo>
                    <a:pt x="839960" y="391471"/>
                  </a:lnTo>
                  <a:lnTo>
                    <a:pt x="844195" y="390656"/>
                  </a:lnTo>
                  <a:lnTo>
                    <a:pt x="844195" y="393263"/>
                  </a:lnTo>
                  <a:lnTo>
                    <a:pt x="838168" y="395381"/>
                  </a:lnTo>
                  <a:lnTo>
                    <a:pt x="833117" y="392937"/>
                  </a:lnTo>
                  <a:lnTo>
                    <a:pt x="832466" y="390819"/>
                  </a:lnTo>
                  <a:lnTo>
                    <a:pt x="832466" y="390819"/>
                  </a:lnTo>
                  <a:close/>
                  <a:moveTo>
                    <a:pt x="825298" y="393100"/>
                  </a:moveTo>
                  <a:lnTo>
                    <a:pt x="828882" y="392122"/>
                  </a:lnTo>
                  <a:lnTo>
                    <a:pt x="828882" y="394892"/>
                  </a:lnTo>
                  <a:cubicBezTo>
                    <a:pt x="828882" y="394892"/>
                    <a:pt x="825298" y="393100"/>
                    <a:pt x="825298" y="393100"/>
                  </a:cubicBezTo>
                  <a:lnTo>
                    <a:pt x="825298" y="393100"/>
                  </a:lnTo>
                  <a:close/>
                  <a:moveTo>
                    <a:pt x="813731" y="391471"/>
                  </a:moveTo>
                  <a:lnTo>
                    <a:pt x="816989" y="389842"/>
                  </a:lnTo>
                  <a:lnTo>
                    <a:pt x="819596" y="391959"/>
                  </a:lnTo>
                  <a:lnTo>
                    <a:pt x="816501" y="393589"/>
                  </a:lnTo>
                  <a:lnTo>
                    <a:pt x="813894" y="391471"/>
                  </a:lnTo>
                  <a:lnTo>
                    <a:pt x="813894" y="391471"/>
                  </a:lnTo>
                  <a:close/>
                  <a:moveTo>
                    <a:pt x="718103" y="445394"/>
                  </a:moveTo>
                  <a:lnTo>
                    <a:pt x="716475" y="450607"/>
                  </a:lnTo>
                  <a:lnTo>
                    <a:pt x="719081" y="452562"/>
                  </a:lnTo>
                  <a:lnTo>
                    <a:pt x="727389" y="452073"/>
                  </a:lnTo>
                  <a:lnTo>
                    <a:pt x="734720" y="447349"/>
                  </a:lnTo>
                  <a:lnTo>
                    <a:pt x="739282" y="446045"/>
                  </a:lnTo>
                  <a:lnTo>
                    <a:pt x="743517" y="446371"/>
                  </a:lnTo>
                  <a:lnTo>
                    <a:pt x="748242" y="442787"/>
                  </a:lnTo>
                  <a:lnTo>
                    <a:pt x="751337" y="438063"/>
                  </a:lnTo>
                  <a:lnTo>
                    <a:pt x="760949" y="430895"/>
                  </a:lnTo>
                  <a:lnTo>
                    <a:pt x="763230" y="427800"/>
                  </a:lnTo>
                  <a:lnTo>
                    <a:pt x="765836" y="426659"/>
                  </a:lnTo>
                  <a:lnTo>
                    <a:pt x="759645" y="420957"/>
                  </a:lnTo>
                  <a:lnTo>
                    <a:pt x="754432" y="414930"/>
                  </a:lnTo>
                  <a:lnTo>
                    <a:pt x="752151" y="416070"/>
                  </a:lnTo>
                  <a:lnTo>
                    <a:pt x="747753" y="417373"/>
                  </a:lnTo>
                  <a:lnTo>
                    <a:pt x="747427" y="423890"/>
                  </a:lnTo>
                  <a:lnTo>
                    <a:pt x="742866" y="424704"/>
                  </a:lnTo>
                  <a:lnTo>
                    <a:pt x="737490" y="427474"/>
                  </a:lnTo>
                  <a:lnTo>
                    <a:pt x="733743" y="423075"/>
                  </a:lnTo>
                  <a:lnTo>
                    <a:pt x="732277" y="424541"/>
                  </a:lnTo>
                  <a:lnTo>
                    <a:pt x="727389" y="427474"/>
                  </a:lnTo>
                  <a:lnTo>
                    <a:pt x="725598" y="432850"/>
                  </a:lnTo>
                  <a:lnTo>
                    <a:pt x="720873" y="440832"/>
                  </a:lnTo>
                  <a:lnTo>
                    <a:pt x="720059" y="442950"/>
                  </a:lnTo>
                  <a:lnTo>
                    <a:pt x="722176" y="444905"/>
                  </a:lnTo>
                  <a:lnTo>
                    <a:pt x="722991" y="447023"/>
                  </a:lnTo>
                  <a:lnTo>
                    <a:pt x="720221" y="447023"/>
                  </a:lnTo>
                  <a:lnTo>
                    <a:pt x="718103" y="445557"/>
                  </a:lnTo>
                  <a:lnTo>
                    <a:pt x="718103" y="445557"/>
                  </a:lnTo>
                  <a:close/>
                  <a:moveTo>
                    <a:pt x="713053" y="451095"/>
                  </a:moveTo>
                  <a:lnTo>
                    <a:pt x="715008" y="445883"/>
                  </a:lnTo>
                  <a:lnTo>
                    <a:pt x="713053" y="445883"/>
                  </a:lnTo>
                  <a:cubicBezTo>
                    <a:pt x="713053" y="445883"/>
                    <a:pt x="710447" y="449955"/>
                    <a:pt x="710447" y="449955"/>
                  </a:cubicBezTo>
                  <a:lnTo>
                    <a:pt x="713053" y="450933"/>
                  </a:lnTo>
                  <a:lnTo>
                    <a:pt x="713053" y="450933"/>
                  </a:lnTo>
                  <a:close/>
                  <a:moveTo>
                    <a:pt x="713705" y="454679"/>
                  </a:moveTo>
                  <a:lnTo>
                    <a:pt x="708980" y="456960"/>
                  </a:lnTo>
                  <a:lnTo>
                    <a:pt x="709958" y="457938"/>
                  </a:lnTo>
                  <a:lnTo>
                    <a:pt x="701976" y="461848"/>
                  </a:lnTo>
                  <a:lnTo>
                    <a:pt x="698066" y="465268"/>
                  </a:lnTo>
                  <a:lnTo>
                    <a:pt x="701812" y="466572"/>
                  </a:lnTo>
                  <a:lnTo>
                    <a:pt x="713379" y="461848"/>
                  </a:lnTo>
                  <a:lnTo>
                    <a:pt x="715008" y="457775"/>
                  </a:lnTo>
                  <a:lnTo>
                    <a:pt x="713705" y="454842"/>
                  </a:lnTo>
                  <a:lnTo>
                    <a:pt x="713705" y="454842"/>
                  </a:lnTo>
                  <a:close/>
                  <a:moveTo>
                    <a:pt x="675584" y="453539"/>
                  </a:moveTo>
                  <a:lnTo>
                    <a:pt x="678353" y="455331"/>
                  </a:lnTo>
                  <a:lnTo>
                    <a:pt x="679005" y="457775"/>
                  </a:lnTo>
                  <a:lnTo>
                    <a:pt x="675747" y="459404"/>
                  </a:lnTo>
                  <a:lnTo>
                    <a:pt x="671186" y="459078"/>
                  </a:lnTo>
                  <a:lnTo>
                    <a:pt x="673629" y="455005"/>
                  </a:lnTo>
                  <a:lnTo>
                    <a:pt x="675584" y="453376"/>
                  </a:lnTo>
                  <a:lnTo>
                    <a:pt x="675584" y="453376"/>
                  </a:lnTo>
                  <a:close/>
                  <a:moveTo>
                    <a:pt x="601623" y="426333"/>
                  </a:moveTo>
                  <a:lnTo>
                    <a:pt x="612701" y="420632"/>
                  </a:lnTo>
                  <a:lnTo>
                    <a:pt x="619544" y="426008"/>
                  </a:lnTo>
                  <a:lnTo>
                    <a:pt x="624105" y="426008"/>
                  </a:lnTo>
                  <a:lnTo>
                    <a:pt x="628666" y="423401"/>
                  </a:lnTo>
                  <a:lnTo>
                    <a:pt x="634694" y="426333"/>
                  </a:lnTo>
                  <a:lnTo>
                    <a:pt x="636323" y="430895"/>
                  </a:lnTo>
                  <a:lnTo>
                    <a:pt x="641373" y="430895"/>
                  </a:lnTo>
                  <a:lnTo>
                    <a:pt x="645609" y="437411"/>
                  </a:lnTo>
                  <a:lnTo>
                    <a:pt x="649844" y="441484"/>
                  </a:lnTo>
                  <a:lnTo>
                    <a:pt x="649844" y="444742"/>
                  </a:lnTo>
                  <a:cubicBezTo>
                    <a:pt x="649844" y="444742"/>
                    <a:pt x="643654" y="448000"/>
                    <a:pt x="643654" y="448000"/>
                  </a:cubicBezTo>
                  <a:lnTo>
                    <a:pt x="636486" y="448652"/>
                  </a:lnTo>
                  <a:lnTo>
                    <a:pt x="630621" y="446045"/>
                  </a:lnTo>
                  <a:lnTo>
                    <a:pt x="626386" y="440018"/>
                  </a:lnTo>
                  <a:lnTo>
                    <a:pt x="622150" y="439040"/>
                  </a:lnTo>
                  <a:lnTo>
                    <a:pt x="618077" y="434153"/>
                  </a:lnTo>
                  <a:lnTo>
                    <a:pt x="612375" y="435130"/>
                  </a:lnTo>
                  <a:lnTo>
                    <a:pt x="605370" y="433664"/>
                  </a:lnTo>
                  <a:lnTo>
                    <a:pt x="601298" y="429917"/>
                  </a:lnTo>
                  <a:lnTo>
                    <a:pt x="601623" y="426170"/>
                  </a:lnTo>
                  <a:lnTo>
                    <a:pt x="601623" y="426170"/>
                  </a:lnTo>
                  <a:close/>
                  <a:moveTo>
                    <a:pt x="522450" y="367523"/>
                  </a:moveTo>
                  <a:lnTo>
                    <a:pt x="526196" y="367523"/>
                  </a:lnTo>
                  <a:cubicBezTo>
                    <a:pt x="526196" y="367523"/>
                    <a:pt x="527337" y="367523"/>
                    <a:pt x="527337" y="367523"/>
                  </a:cubicBezTo>
                  <a:lnTo>
                    <a:pt x="527011" y="368989"/>
                  </a:lnTo>
                  <a:lnTo>
                    <a:pt x="523427" y="368989"/>
                  </a:lnTo>
                  <a:cubicBezTo>
                    <a:pt x="523427" y="368989"/>
                    <a:pt x="522450" y="367686"/>
                    <a:pt x="522450" y="367686"/>
                  </a:cubicBezTo>
                  <a:lnTo>
                    <a:pt x="522450" y="367686"/>
                  </a:lnTo>
                  <a:close/>
                  <a:moveTo>
                    <a:pt x="507788" y="359866"/>
                  </a:moveTo>
                  <a:lnTo>
                    <a:pt x="511209" y="363125"/>
                  </a:lnTo>
                  <a:lnTo>
                    <a:pt x="514467" y="359541"/>
                  </a:lnTo>
                  <a:lnTo>
                    <a:pt x="516911" y="360029"/>
                  </a:lnTo>
                  <a:lnTo>
                    <a:pt x="518540" y="360029"/>
                  </a:lnTo>
                  <a:lnTo>
                    <a:pt x="517562" y="358563"/>
                  </a:lnTo>
                  <a:lnTo>
                    <a:pt x="514304" y="357260"/>
                  </a:lnTo>
                  <a:lnTo>
                    <a:pt x="509580" y="356608"/>
                  </a:lnTo>
                  <a:lnTo>
                    <a:pt x="507625" y="358400"/>
                  </a:lnTo>
                  <a:lnTo>
                    <a:pt x="507625" y="359866"/>
                  </a:lnTo>
                  <a:lnTo>
                    <a:pt x="507625" y="359866"/>
                  </a:lnTo>
                  <a:close/>
                  <a:moveTo>
                    <a:pt x="782778" y="385769"/>
                  </a:moveTo>
                  <a:lnTo>
                    <a:pt x="788317" y="382511"/>
                  </a:lnTo>
                  <a:lnTo>
                    <a:pt x="796300" y="384303"/>
                  </a:lnTo>
                  <a:lnTo>
                    <a:pt x="799069" y="386584"/>
                  </a:lnTo>
                  <a:lnTo>
                    <a:pt x="800210" y="384303"/>
                  </a:lnTo>
                  <a:lnTo>
                    <a:pt x="803957" y="381370"/>
                  </a:lnTo>
                  <a:lnTo>
                    <a:pt x="807866" y="379416"/>
                  </a:lnTo>
                  <a:lnTo>
                    <a:pt x="806889" y="376646"/>
                  </a:lnTo>
                  <a:lnTo>
                    <a:pt x="802653" y="374854"/>
                  </a:lnTo>
                  <a:lnTo>
                    <a:pt x="798744" y="377786"/>
                  </a:lnTo>
                  <a:lnTo>
                    <a:pt x="790109" y="378601"/>
                  </a:lnTo>
                  <a:lnTo>
                    <a:pt x="787503" y="376320"/>
                  </a:lnTo>
                  <a:lnTo>
                    <a:pt x="783593" y="378275"/>
                  </a:lnTo>
                  <a:lnTo>
                    <a:pt x="781801" y="383651"/>
                  </a:lnTo>
                  <a:lnTo>
                    <a:pt x="782941" y="385932"/>
                  </a:lnTo>
                  <a:lnTo>
                    <a:pt x="782941" y="385932"/>
                  </a:lnTo>
                  <a:close/>
                  <a:moveTo>
                    <a:pt x="774144" y="392774"/>
                  </a:moveTo>
                  <a:lnTo>
                    <a:pt x="772678" y="394892"/>
                  </a:lnTo>
                  <a:lnTo>
                    <a:pt x="773655" y="396032"/>
                  </a:lnTo>
                  <a:lnTo>
                    <a:pt x="775610" y="394566"/>
                  </a:lnTo>
                  <a:lnTo>
                    <a:pt x="774307" y="392774"/>
                  </a:lnTo>
                  <a:lnTo>
                    <a:pt x="774307" y="392774"/>
                  </a:lnTo>
                  <a:close/>
                  <a:moveTo>
                    <a:pt x="751011" y="392122"/>
                  </a:moveTo>
                  <a:lnTo>
                    <a:pt x="745961" y="394403"/>
                  </a:lnTo>
                  <a:lnTo>
                    <a:pt x="747916" y="395869"/>
                  </a:lnTo>
                  <a:lnTo>
                    <a:pt x="746287" y="397661"/>
                  </a:lnTo>
                  <a:lnTo>
                    <a:pt x="746776" y="399616"/>
                  </a:lnTo>
                  <a:lnTo>
                    <a:pt x="751337" y="400757"/>
                  </a:lnTo>
                  <a:lnTo>
                    <a:pt x="759971" y="397661"/>
                  </a:lnTo>
                  <a:lnTo>
                    <a:pt x="762903" y="394403"/>
                  </a:lnTo>
                  <a:lnTo>
                    <a:pt x="760297" y="392611"/>
                  </a:lnTo>
                  <a:lnTo>
                    <a:pt x="753292" y="393263"/>
                  </a:lnTo>
                  <a:lnTo>
                    <a:pt x="751011" y="392122"/>
                  </a:lnTo>
                  <a:lnTo>
                    <a:pt x="751011" y="392122"/>
                  </a:lnTo>
                  <a:close/>
                  <a:moveTo>
                    <a:pt x="732439" y="402060"/>
                  </a:moveTo>
                  <a:lnTo>
                    <a:pt x="736023" y="402060"/>
                  </a:lnTo>
                  <a:cubicBezTo>
                    <a:pt x="736023" y="402060"/>
                    <a:pt x="738467" y="404341"/>
                    <a:pt x="738467" y="404341"/>
                  </a:cubicBezTo>
                  <a:lnTo>
                    <a:pt x="742377" y="398965"/>
                  </a:lnTo>
                  <a:lnTo>
                    <a:pt x="741888" y="396684"/>
                  </a:lnTo>
                  <a:lnTo>
                    <a:pt x="739444" y="398965"/>
                  </a:lnTo>
                  <a:lnTo>
                    <a:pt x="734720" y="399453"/>
                  </a:lnTo>
                  <a:lnTo>
                    <a:pt x="732439" y="401897"/>
                  </a:lnTo>
                  <a:lnTo>
                    <a:pt x="732439" y="401897"/>
                  </a:lnTo>
                  <a:close/>
                  <a:moveTo>
                    <a:pt x="716637" y="402875"/>
                  </a:moveTo>
                  <a:lnTo>
                    <a:pt x="721687" y="399290"/>
                  </a:lnTo>
                  <a:lnTo>
                    <a:pt x="720547" y="397010"/>
                  </a:lnTo>
                  <a:lnTo>
                    <a:pt x="722828" y="396195"/>
                  </a:lnTo>
                  <a:lnTo>
                    <a:pt x="726412" y="396684"/>
                  </a:lnTo>
                  <a:lnTo>
                    <a:pt x="729996" y="394729"/>
                  </a:lnTo>
                  <a:lnTo>
                    <a:pt x="731951" y="396032"/>
                  </a:lnTo>
                  <a:lnTo>
                    <a:pt x="726738" y="400919"/>
                  </a:lnTo>
                  <a:lnTo>
                    <a:pt x="724294" y="403852"/>
                  </a:lnTo>
                  <a:lnTo>
                    <a:pt x="719081" y="404992"/>
                  </a:lnTo>
                  <a:lnTo>
                    <a:pt x="716800" y="403037"/>
                  </a:lnTo>
                  <a:lnTo>
                    <a:pt x="716800" y="403037"/>
                  </a:lnTo>
                  <a:close/>
                  <a:moveTo>
                    <a:pt x="712402" y="401571"/>
                  </a:moveTo>
                  <a:lnTo>
                    <a:pt x="707189" y="402549"/>
                  </a:lnTo>
                  <a:lnTo>
                    <a:pt x="705396" y="406621"/>
                  </a:lnTo>
                  <a:lnTo>
                    <a:pt x="708329" y="403526"/>
                  </a:lnTo>
                  <a:lnTo>
                    <a:pt x="712564" y="401571"/>
                  </a:lnTo>
                  <a:lnTo>
                    <a:pt x="712564" y="401571"/>
                  </a:lnTo>
                  <a:close/>
                  <a:moveTo>
                    <a:pt x="715171" y="394077"/>
                  </a:moveTo>
                  <a:lnTo>
                    <a:pt x="711913" y="397010"/>
                  </a:lnTo>
                  <a:lnTo>
                    <a:pt x="714519" y="398476"/>
                  </a:lnTo>
                  <a:lnTo>
                    <a:pt x="716149" y="396195"/>
                  </a:lnTo>
                  <a:lnTo>
                    <a:pt x="715334" y="394077"/>
                  </a:lnTo>
                  <a:lnTo>
                    <a:pt x="715334" y="394077"/>
                  </a:lnTo>
                  <a:close/>
                  <a:moveTo>
                    <a:pt x="624268" y="404666"/>
                  </a:moveTo>
                  <a:cubicBezTo>
                    <a:pt x="624268" y="404666"/>
                    <a:pt x="625571" y="400105"/>
                    <a:pt x="625571" y="400105"/>
                  </a:cubicBezTo>
                  <a:lnTo>
                    <a:pt x="633391" y="395869"/>
                  </a:lnTo>
                  <a:lnTo>
                    <a:pt x="645935" y="393100"/>
                  </a:lnTo>
                  <a:lnTo>
                    <a:pt x="652125" y="396195"/>
                  </a:lnTo>
                  <a:lnTo>
                    <a:pt x="655546" y="395218"/>
                  </a:lnTo>
                  <a:lnTo>
                    <a:pt x="662226" y="396847"/>
                  </a:lnTo>
                  <a:lnTo>
                    <a:pt x="669231" y="401245"/>
                  </a:lnTo>
                  <a:lnTo>
                    <a:pt x="674607" y="398965"/>
                  </a:lnTo>
                  <a:lnTo>
                    <a:pt x="681937" y="399290"/>
                  </a:lnTo>
                  <a:lnTo>
                    <a:pt x="685196" y="401897"/>
                  </a:lnTo>
                  <a:lnTo>
                    <a:pt x="690898" y="401408"/>
                  </a:lnTo>
                  <a:lnTo>
                    <a:pt x="693830" y="397987"/>
                  </a:lnTo>
                  <a:lnTo>
                    <a:pt x="698391" y="396521"/>
                  </a:lnTo>
                  <a:lnTo>
                    <a:pt x="701324" y="392122"/>
                  </a:lnTo>
                  <a:lnTo>
                    <a:pt x="699369" y="390982"/>
                  </a:lnTo>
                  <a:lnTo>
                    <a:pt x="703768" y="388050"/>
                  </a:lnTo>
                  <a:lnTo>
                    <a:pt x="709144" y="390330"/>
                  </a:lnTo>
                  <a:lnTo>
                    <a:pt x="709632" y="394892"/>
                  </a:lnTo>
                  <a:lnTo>
                    <a:pt x="707189" y="399127"/>
                  </a:lnTo>
                  <a:lnTo>
                    <a:pt x="703930" y="400594"/>
                  </a:lnTo>
                  <a:lnTo>
                    <a:pt x="700184" y="405644"/>
                  </a:lnTo>
                  <a:lnTo>
                    <a:pt x="694644" y="406458"/>
                  </a:lnTo>
                  <a:lnTo>
                    <a:pt x="692364" y="408902"/>
                  </a:lnTo>
                  <a:lnTo>
                    <a:pt x="688617" y="407599"/>
                  </a:lnTo>
                  <a:lnTo>
                    <a:pt x="680960" y="407599"/>
                  </a:lnTo>
                  <a:cubicBezTo>
                    <a:pt x="680960" y="407599"/>
                    <a:pt x="673792" y="410694"/>
                    <a:pt x="673792" y="410694"/>
                  </a:cubicBezTo>
                  <a:lnTo>
                    <a:pt x="665647" y="409228"/>
                  </a:lnTo>
                  <a:lnTo>
                    <a:pt x="659945" y="411671"/>
                  </a:lnTo>
                  <a:lnTo>
                    <a:pt x="658805" y="412975"/>
                  </a:lnTo>
                  <a:lnTo>
                    <a:pt x="655058" y="412975"/>
                  </a:lnTo>
                  <a:cubicBezTo>
                    <a:pt x="655058" y="412975"/>
                    <a:pt x="652125" y="411346"/>
                    <a:pt x="652125" y="411346"/>
                  </a:cubicBezTo>
                  <a:lnTo>
                    <a:pt x="647564" y="413301"/>
                  </a:lnTo>
                  <a:lnTo>
                    <a:pt x="644632" y="410857"/>
                  </a:lnTo>
                  <a:lnTo>
                    <a:pt x="640722" y="410368"/>
                  </a:lnTo>
                  <a:lnTo>
                    <a:pt x="637137" y="411020"/>
                  </a:lnTo>
                  <a:lnTo>
                    <a:pt x="633228" y="410042"/>
                  </a:lnTo>
                  <a:lnTo>
                    <a:pt x="629807" y="410368"/>
                  </a:lnTo>
                  <a:lnTo>
                    <a:pt x="625571" y="409391"/>
                  </a:lnTo>
                  <a:lnTo>
                    <a:pt x="624105" y="404992"/>
                  </a:lnTo>
                  <a:lnTo>
                    <a:pt x="624105" y="404992"/>
                  </a:lnTo>
                  <a:close/>
                  <a:moveTo>
                    <a:pt x="620847" y="404341"/>
                  </a:moveTo>
                  <a:lnTo>
                    <a:pt x="619055" y="409391"/>
                  </a:lnTo>
                  <a:lnTo>
                    <a:pt x="622476" y="408739"/>
                  </a:lnTo>
                  <a:lnTo>
                    <a:pt x="622964" y="405644"/>
                  </a:lnTo>
                  <a:lnTo>
                    <a:pt x="620684" y="404341"/>
                  </a:lnTo>
                  <a:lnTo>
                    <a:pt x="620684" y="404341"/>
                  </a:lnTo>
                  <a:close/>
                  <a:moveTo>
                    <a:pt x="618566" y="401571"/>
                  </a:moveTo>
                  <a:lnTo>
                    <a:pt x="614168" y="400268"/>
                  </a:lnTo>
                  <a:lnTo>
                    <a:pt x="612375" y="406133"/>
                  </a:lnTo>
                  <a:lnTo>
                    <a:pt x="614982" y="409879"/>
                  </a:lnTo>
                  <a:lnTo>
                    <a:pt x="616611" y="403852"/>
                  </a:lnTo>
                  <a:lnTo>
                    <a:pt x="618566" y="401897"/>
                  </a:lnTo>
                  <a:lnTo>
                    <a:pt x="618566" y="401897"/>
                  </a:lnTo>
                  <a:close/>
                  <a:moveTo>
                    <a:pt x="545420" y="404992"/>
                  </a:moveTo>
                  <a:lnTo>
                    <a:pt x="544768" y="408087"/>
                  </a:lnTo>
                  <a:lnTo>
                    <a:pt x="546560" y="409879"/>
                  </a:lnTo>
                  <a:lnTo>
                    <a:pt x="545094" y="412160"/>
                  </a:lnTo>
                  <a:lnTo>
                    <a:pt x="547375" y="414930"/>
                  </a:lnTo>
                  <a:lnTo>
                    <a:pt x="551936" y="416884"/>
                  </a:lnTo>
                  <a:lnTo>
                    <a:pt x="558616" y="415418"/>
                  </a:lnTo>
                  <a:lnTo>
                    <a:pt x="562362" y="416884"/>
                  </a:lnTo>
                  <a:lnTo>
                    <a:pt x="567901" y="415093"/>
                  </a:lnTo>
                  <a:lnTo>
                    <a:pt x="570182" y="412160"/>
                  </a:lnTo>
                  <a:lnTo>
                    <a:pt x="574743" y="413789"/>
                  </a:lnTo>
                  <a:lnTo>
                    <a:pt x="580282" y="411346"/>
                  </a:lnTo>
                  <a:lnTo>
                    <a:pt x="585496" y="412323"/>
                  </a:lnTo>
                  <a:lnTo>
                    <a:pt x="591034" y="407599"/>
                  </a:lnTo>
                  <a:lnTo>
                    <a:pt x="592664" y="411020"/>
                  </a:lnTo>
                  <a:lnTo>
                    <a:pt x="597388" y="410368"/>
                  </a:lnTo>
                  <a:lnTo>
                    <a:pt x="604556" y="411346"/>
                  </a:lnTo>
                  <a:lnTo>
                    <a:pt x="601298" y="408576"/>
                  </a:lnTo>
                  <a:lnTo>
                    <a:pt x="607977" y="408576"/>
                  </a:lnTo>
                  <a:lnTo>
                    <a:pt x="608466" y="403037"/>
                  </a:lnTo>
                  <a:lnTo>
                    <a:pt x="606674" y="405318"/>
                  </a:lnTo>
                  <a:lnTo>
                    <a:pt x="605207" y="400757"/>
                  </a:lnTo>
                  <a:lnTo>
                    <a:pt x="605696" y="396847"/>
                  </a:lnTo>
                  <a:lnTo>
                    <a:pt x="600320" y="395381"/>
                  </a:lnTo>
                  <a:lnTo>
                    <a:pt x="600972" y="399453"/>
                  </a:lnTo>
                  <a:lnTo>
                    <a:pt x="598366" y="400594"/>
                  </a:lnTo>
                  <a:lnTo>
                    <a:pt x="597877" y="396195"/>
                  </a:lnTo>
                  <a:lnTo>
                    <a:pt x="592664" y="393100"/>
                  </a:lnTo>
                  <a:lnTo>
                    <a:pt x="587450" y="394892"/>
                  </a:lnTo>
                  <a:lnTo>
                    <a:pt x="582726" y="391959"/>
                  </a:lnTo>
                  <a:lnTo>
                    <a:pt x="578491" y="390167"/>
                  </a:lnTo>
                  <a:lnTo>
                    <a:pt x="572300" y="394077"/>
                  </a:lnTo>
                  <a:lnTo>
                    <a:pt x="572300" y="396847"/>
                  </a:lnTo>
                  <a:cubicBezTo>
                    <a:pt x="572300" y="396847"/>
                    <a:pt x="582726" y="400757"/>
                    <a:pt x="582726" y="400757"/>
                  </a:cubicBezTo>
                  <a:lnTo>
                    <a:pt x="586799" y="404829"/>
                  </a:lnTo>
                  <a:lnTo>
                    <a:pt x="579957" y="405807"/>
                  </a:lnTo>
                  <a:lnTo>
                    <a:pt x="575884" y="407599"/>
                  </a:lnTo>
                  <a:lnTo>
                    <a:pt x="569856" y="403689"/>
                  </a:lnTo>
                  <a:lnTo>
                    <a:pt x="568553" y="399290"/>
                  </a:lnTo>
                  <a:lnTo>
                    <a:pt x="565132" y="398639"/>
                  </a:lnTo>
                  <a:lnTo>
                    <a:pt x="560896" y="399779"/>
                  </a:lnTo>
                  <a:lnTo>
                    <a:pt x="556335" y="398639"/>
                  </a:lnTo>
                  <a:lnTo>
                    <a:pt x="549004" y="401408"/>
                  </a:lnTo>
                  <a:cubicBezTo>
                    <a:pt x="549004" y="401408"/>
                    <a:pt x="545257" y="405481"/>
                    <a:pt x="545746" y="405481"/>
                  </a:cubicBezTo>
                  <a:lnTo>
                    <a:pt x="545746" y="405481"/>
                  </a:lnTo>
                  <a:close/>
                  <a:moveTo>
                    <a:pt x="530432" y="398802"/>
                  </a:moveTo>
                  <a:lnTo>
                    <a:pt x="535808" y="394892"/>
                  </a:lnTo>
                  <a:lnTo>
                    <a:pt x="543791" y="397498"/>
                  </a:lnTo>
                  <a:lnTo>
                    <a:pt x="542650" y="403526"/>
                  </a:lnTo>
                  <a:lnTo>
                    <a:pt x="540369" y="406784"/>
                  </a:lnTo>
                  <a:lnTo>
                    <a:pt x="540859" y="411020"/>
                  </a:lnTo>
                  <a:lnTo>
                    <a:pt x="537275" y="409717"/>
                  </a:lnTo>
                  <a:lnTo>
                    <a:pt x="532387" y="411671"/>
                  </a:lnTo>
                  <a:lnTo>
                    <a:pt x="524242" y="409228"/>
                  </a:lnTo>
                  <a:lnTo>
                    <a:pt x="522612" y="406947"/>
                  </a:lnTo>
                  <a:lnTo>
                    <a:pt x="524893" y="405481"/>
                  </a:lnTo>
                  <a:lnTo>
                    <a:pt x="529292" y="405481"/>
                  </a:lnTo>
                  <a:cubicBezTo>
                    <a:pt x="529292" y="405481"/>
                    <a:pt x="530432" y="398802"/>
                    <a:pt x="530432" y="398802"/>
                  </a:cubicBezTo>
                  <a:lnTo>
                    <a:pt x="530432" y="398802"/>
                  </a:lnTo>
                  <a:close/>
                  <a:moveTo>
                    <a:pt x="513978" y="406784"/>
                  </a:moveTo>
                  <a:lnTo>
                    <a:pt x="516422" y="404341"/>
                  </a:lnTo>
                  <a:lnTo>
                    <a:pt x="518051" y="407110"/>
                  </a:lnTo>
                  <a:lnTo>
                    <a:pt x="515444" y="408413"/>
                  </a:lnTo>
                  <a:lnTo>
                    <a:pt x="513978" y="406784"/>
                  </a:lnTo>
                  <a:lnTo>
                    <a:pt x="513978" y="406784"/>
                  </a:lnTo>
                  <a:close/>
                  <a:moveTo>
                    <a:pt x="489705" y="391145"/>
                  </a:moveTo>
                  <a:lnTo>
                    <a:pt x="489705" y="395055"/>
                  </a:lnTo>
                  <a:lnTo>
                    <a:pt x="492148" y="398313"/>
                  </a:lnTo>
                  <a:lnTo>
                    <a:pt x="499153" y="399779"/>
                  </a:lnTo>
                  <a:lnTo>
                    <a:pt x="505344" y="404503"/>
                  </a:lnTo>
                  <a:lnTo>
                    <a:pt x="506648" y="407436"/>
                  </a:lnTo>
                  <a:lnTo>
                    <a:pt x="508928" y="404341"/>
                  </a:lnTo>
                  <a:lnTo>
                    <a:pt x="513001" y="402386"/>
                  </a:lnTo>
                  <a:lnTo>
                    <a:pt x="514630" y="400594"/>
                  </a:lnTo>
                  <a:lnTo>
                    <a:pt x="519191" y="399616"/>
                  </a:lnTo>
                  <a:lnTo>
                    <a:pt x="520495" y="396684"/>
                  </a:lnTo>
                  <a:lnTo>
                    <a:pt x="514956" y="390005"/>
                  </a:lnTo>
                  <a:lnTo>
                    <a:pt x="508114" y="388538"/>
                  </a:lnTo>
                  <a:lnTo>
                    <a:pt x="501109" y="390982"/>
                  </a:lnTo>
                  <a:lnTo>
                    <a:pt x="495407" y="389516"/>
                  </a:lnTo>
                  <a:lnTo>
                    <a:pt x="489705" y="391145"/>
                  </a:lnTo>
                  <a:lnTo>
                    <a:pt x="489705" y="391145"/>
                  </a:lnTo>
                  <a:close/>
                  <a:moveTo>
                    <a:pt x="1110715" y="394729"/>
                  </a:moveTo>
                  <a:lnTo>
                    <a:pt x="1112832" y="395218"/>
                  </a:lnTo>
                  <a:lnTo>
                    <a:pt x="1117557" y="396847"/>
                  </a:lnTo>
                  <a:lnTo>
                    <a:pt x="1119023" y="395381"/>
                  </a:lnTo>
                  <a:lnTo>
                    <a:pt x="1117231" y="389516"/>
                  </a:lnTo>
                  <a:lnTo>
                    <a:pt x="1115439" y="389027"/>
                  </a:lnTo>
                  <a:lnTo>
                    <a:pt x="1112832" y="390656"/>
                  </a:lnTo>
                  <a:lnTo>
                    <a:pt x="1110715" y="394566"/>
                  </a:lnTo>
                  <a:lnTo>
                    <a:pt x="1110715" y="394566"/>
                  </a:lnTo>
                  <a:close/>
                  <a:moveTo>
                    <a:pt x="1085464" y="395706"/>
                  </a:moveTo>
                  <a:cubicBezTo>
                    <a:pt x="1085464" y="395706"/>
                    <a:pt x="1094261" y="395218"/>
                    <a:pt x="1094261" y="395218"/>
                  </a:cubicBezTo>
                  <a:lnTo>
                    <a:pt x="1097682" y="394566"/>
                  </a:lnTo>
                  <a:lnTo>
                    <a:pt x="1104198" y="395543"/>
                  </a:lnTo>
                  <a:lnTo>
                    <a:pt x="1108271" y="393589"/>
                  </a:lnTo>
                  <a:lnTo>
                    <a:pt x="1112181" y="389027"/>
                  </a:lnTo>
                  <a:lnTo>
                    <a:pt x="1116091" y="388050"/>
                  </a:lnTo>
                  <a:lnTo>
                    <a:pt x="1118046" y="385443"/>
                  </a:lnTo>
                  <a:lnTo>
                    <a:pt x="1118046" y="382674"/>
                  </a:lnTo>
                  <a:lnTo>
                    <a:pt x="1119186" y="381370"/>
                  </a:lnTo>
                  <a:lnTo>
                    <a:pt x="1120164" y="377135"/>
                  </a:lnTo>
                  <a:lnTo>
                    <a:pt x="1121141" y="375343"/>
                  </a:lnTo>
                  <a:lnTo>
                    <a:pt x="1117394" y="372410"/>
                  </a:lnTo>
                  <a:lnTo>
                    <a:pt x="1115765" y="370781"/>
                  </a:lnTo>
                  <a:lnTo>
                    <a:pt x="1106642" y="370455"/>
                  </a:lnTo>
                  <a:lnTo>
                    <a:pt x="1100940" y="373225"/>
                  </a:lnTo>
                  <a:lnTo>
                    <a:pt x="1098333" y="380556"/>
                  </a:lnTo>
                  <a:lnTo>
                    <a:pt x="1095727" y="385769"/>
                  </a:lnTo>
                  <a:lnTo>
                    <a:pt x="1085301" y="396195"/>
                  </a:lnTo>
                  <a:lnTo>
                    <a:pt x="1085301" y="396195"/>
                  </a:lnTo>
                  <a:close/>
                  <a:moveTo>
                    <a:pt x="450607" y="356934"/>
                  </a:moveTo>
                  <a:lnTo>
                    <a:pt x="446860" y="362147"/>
                  </a:lnTo>
                  <a:lnTo>
                    <a:pt x="452073" y="367360"/>
                  </a:lnTo>
                  <a:lnTo>
                    <a:pt x="455820" y="367849"/>
                  </a:lnTo>
                  <a:lnTo>
                    <a:pt x="459078" y="365894"/>
                  </a:lnTo>
                  <a:lnTo>
                    <a:pt x="467875" y="366383"/>
                  </a:lnTo>
                  <a:lnTo>
                    <a:pt x="472437" y="364428"/>
                  </a:lnTo>
                  <a:lnTo>
                    <a:pt x="478138" y="363776"/>
                  </a:lnTo>
                  <a:lnTo>
                    <a:pt x="480419" y="360681"/>
                  </a:lnTo>
                  <a:lnTo>
                    <a:pt x="477812" y="359541"/>
                  </a:lnTo>
                  <a:lnTo>
                    <a:pt x="470970" y="360518"/>
                  </a:lnTo>
                  <a:lnTo>
                    <a:pt x="467060" y="359215"/>
                  </a:lnTo>
                  <a:lnTo>
                    <a:pt x="453376" y="358726"/>
                  </a:lnTo>
                  <a:lnTo>
                    <a:pt x="450607" y="356934"/>
                  </a:lnTo>
                  <a:lnTo>
                    <a:pt x="450607" y="356934"/>
                  </a:lnTo>
                  <a:close/>
                  <a:moveTo>
                    <a:pt x="258048" y="348463"/>
                  </a:moveTo>
                  <a:lnTo>
                    <a:pt x="258537" y="351069"/>
                  </a:lnTo>
                  <a:lnTo>
                    <a:pt x="260329" y="351069"/>
                  </a:lnTo>
                  <a:cubicBezTo>
                    <a:pt x="260329" y="351069"/>
                    <a:pt x="260492" y="348463"/>
                    <a:pt x="260492" y="348463"/>
                  </a:cubicBezTo>
                  <a:lnTo>
                    <a:pt x="257885" y="348463"/>
                  </a:lnTo>
                  <a:close/>
                  <a:moveTo>
                    <a:pt x="261795" y="352047"/>
                  </a:moveTo>
                  <a:lnTo>
                    <a:pt x="263750" y="354165"/>
                  </a:lnTo>
                  <a:lnTo>
                    <a:pt x="267660" y="352698"/>
                  </a:lnTo>
                  <a:lnTo>
                    <a:pt x="268148" y="347485"/>
                  </a:lnTo>
                  <a:lnTo>
                    <a:pt x="273525" y="346671"/>
                  </a:lnTo>
                  <a:lnTo>
                    <a:pt x="275968" y="341458"/>
                  </a:lnTo>
                  <a:lnTo>
                    <a:pt x="275642" y="336082"/>
                  </a:lnTo>
                  <a:lnTo>
                    <a:pt x="280855" y="330054"/>
                  </a:lnTo>
                  <a:lnTo>
                    <a:pt x="283136" y="332335"/>
                  </a:lnTo>
                  <a:lnTo>
                    <a:pt x="289164" y="332335"/>
                  </a:lnTo>
                  <a:cubicBezTo>
                    <a:pt x="289164" y="332335"/>
                    <a:pt x="297309" y="333475"/>
                    <a:pt x="297309" y="333475"/>
                  </a:cubicBezTo>
                  <a:lnTo>
                    <a:pt x="301219" y="336570"/>
                  </a:lnTo>
                  <a:lnTo>
                    <a:pt x="303337" y="334778"/>
                  </a:lnTo>
                  <a:lnTo>
                    <a:pt x="305618" y="332172"/>
                  </a:lnTo>
                  <a:lnTo>
                    <a:pt x="313437" y="332660"/>
                  </a:lnTo>
                  <a:lnTo>
                    <a:pt x="318487" y="336570"/>
                  </a:lnTo>
                  <a:lnTo>
                    <a:pt x="327610" y="338851"/>
                  </a:lnTo>
                  <a:lnTo>
                    <a:pt x="338851" y="339992"/>
                  </a:lnTo>
                  <a:lnTo>
                    <a:pt x="341784" y="345367"/>
                  </a:lnTo>
                  <a:lnTo>
                    <a:pt x="340806" y="350418"/>
                  </a:lnTo>
                  <a:lnTo>
                    <a:pt x="342761" y="352535"/>
                  </a:lnTo>
                  <a:lnTo>
                    <a:pt x="351558" y="356445"/>
                  </a:lnTo>
                  <a:lnTo>
                    <a:pt x="367034" y="356119"/>
                  </a:lnTo>
                  <a:lnTo>
                    <a:pt x="380719" y="358400"/>
                  </a:lnTo>
                  <a:lnTo>
                    <a:pt x="392285" y="356445"/>
                  </a:lnTo>
                  <a:lnTo>
                    <a:pt x="395380" y="352373"/>
                  </a:lnTo>
                  <a:lnTo>
                    <a:pt x="396846" y="342272"/>
                  </a:lnTo>
                  <a:lnTo>
                    <a:pt x="401571" y="341946"/>
                  </a:lnTo>
                  <a:lnTo>
                    <a:pt x="407925" y="348626"/>
                  </a:lnTo>
                  <a:lnTo>
                    <a:pt x="411997" y="348626"/>
                  </a:lnTo>
                  <a:cubicBezTo>
                    <a:pt x="411997" y="348626"/>
                    <a:pt x="416559" y="347648"/>
                    <a:pt x="416559" y="347648"/>
                  </a:cubicBezTo>
                  <a:lnTo>
                    <a:pt x="420143" y="349766"/>
                  </a:lnTo>
                  <a:lnTo>
                    <a:pt x="425519" y="354490"/>
                  </a:lnTo>
                  <a:lnTo>
                    <a:pt x="429917" y="354165"/>
                  </a:lnTo>
                  <a:lnTo>
                    <a:pt x="433501" y="358074"/>
                  </a:lnTo>
                  <a:lnTo>
                    <a:pt x="436759" y="356445"/>
                  </a:lnTo>
                  <a:lnTo>
                    <a:pt x="443602" y="356445"/>
                  </a:lnTo>
                  <a:cubicBezTo>
                    <a:pt x="443602" y="356445"/>
                    <a:pt x="443927" y="363450"/>
                    <a:pt x="443927" y="363450"/>
                  </a:cubicBezTo>
                  <a:lnTo>
                    <a:pt x="448815" y="369967"/>
                  </a:lnTo>
                  <a:lnTo>
                    <a:pt x="449141" y="373714"/>
                  </a:lnTo>
                  <a:lnTo>
                    <a:pt x="452562" y="377624"/>
                  </a:lnTo>
                  <a:lnTo>
                    <a:pt x="458264" y="380393"/>
                  </a:lnTo>
                  <a:lnTo>
                    <a:pt x="463802" y="378438"/>
                  </a:lnTo>
                  <a:lnTo>
                    <a:pt x="467712" y="380882"/>
                  </a:lnTo>
                  <a:lnTo>
                    <a:pt x="471948" y="380882"/>
                  </a:lnTo>
                  <a:cubicBezTo>
                    <a:pt x="471948" y="380882"/>
                    <a:pt x="475206" y="378601"/>
                    <a:pt x="475206" y="378601"/>
                  </a:cubicBezTo>
                  <a:lnTo>
                    <a:pt x="479442" y="378601"/>
                  </a:lnTo>
                  <a:cubicBezTo>
                    <a:pt x="479442" y="378601"/>
                    <a:pt x="480582" y="380230"/>
                    <a:pt x="480582" y="380230"/>
                  </a:cubicBezTo>
                  <a:lnTo>
                    <a:pt x="484980" y="380882"/>
                  </a:lnTo>
                  <a:lnTo>
                    <a:pt x="487913" y="383977"/>
                  </a:lnTo>
                  <a:lnTo>
                    <a:pt x="486284" y="395218"/>
                  </a:lnTo>
                  <a:lnTo>
                    <a:pt x="483677" y="398476"/>
                  </a:lnTo>
                  <a:lnTo>
                    <a:pt x="486610" y="400431"/>
                  </a:lnTo>
                  <a:lnTo>
                    <a:pt x="488076" y="408087"/>
                  </a:lnTo>
                  <a:lnTo>
                    <a:pt x="484980" y="409065"/>
                  </a:lnTo>
                  <a:lnTo>
                    <a:pt x="481234" y="405155"/>
                  </a:lnTo>
                  <a:lnTo>
                    <a:pt x="475532" y="405807"/>
                  </a:lnTo>
                  <a:lnTo>
                    <a:pt x="469016" y="400431"/>
                  </a:lnTo>
                  <a:lnTo>
                    <a:pt x="463802" y="399127"/>
                  </a:lnTo>
                  <a:lnTo>
                    <a:pt x="458915" y="393914"/>
                  </a:lnTo>
                  <a:lnTo>
                    <a:pt x="455005" y="393914"/>
                  </a:lnTo>
                  <a:cubicBezTo>
                    <a:pt x="455005" y="393914"/>
                    <a:pt x="447675" y="397661"/>
                    <a:pt x="447675" y="397661"/>
                  </a:cubicBezTo>
                  <a:lnTo>
                    <a:pt x="440018" y="397987"/>
                  </a:lnTo>
                  <a:lnTo>
                    <a:pt x="433501" y="394240"/>
                  </a:lnTo>
                  <a:lnTo>
                    <a:pt x="426333" y="392774"/>
                  </a:lnTo>
                  <a:lnTo>
                    <a:pt x="420468" y="397824"/>
                  </a:lnTo>
                  <a:lnTo>
                    <a:pt x="413952" y="393263"/>
                  </a:lnTo>
                  <a:lnTo>
                    <a:pt x="405155" y="392774"/>
                  </a:lnTo>
                  <a:lnTo>
                    <a:pt x="399779" y="395706"/>
                  </a:lnTo>
                  <a:lnTo>
                    <a:pt x="386257" y="390493"/>
                  </a:lnTo>
                  <a:lnTo>
                    <a:pt x="373877" y="382837"/>
                  </a:lnTo>
                  <a:lnTo>
                    <a:pt x="365731" y="382837"/>
                  </a:lnTo>
                  <a:cubicBezTo>
                    <a:pt x="365731" y="382837"/>
                    <a:pt x="359703" y="378764"/>
                    <a:pt x="359703" y="378764"/>
                  </a:cubicBezTo>
                  <a:lnTo>
                    <a:pt x="355957" y="378764"/>
                  </a:lnTo>
                  <a:cubicBezTo>
                    <a:pt x="355957" y="378764"/>
                    <a:pt x="352861" y="382674"/>
                    <a:pt x="352861" y="382674"/>
                  </a:cubicBezTo>
                  <a:lnTo>
                    <a:pt x="348137" y="381696"/>
                  </a:lnTo>
                  <a:lnTo>
                    <a:pt x="344227" y="377624"/>
                  </a:lnTo>
                  <a:lnTo>
                    <a:pt x="340643" y="377949"/>
                  </a:lnTo>
                  <a:lnTo>
                    <a:pt x="336082" y="383325"/>
                  </a:lnTo>
                  <a:lnTo>
                    <a:pt x="324678" y="380067"/>
                  </a:lnTo>
                  <a:lnTo>
                    <a:pt x="316695" y="374040"/>
                  </a:lnTo>
                  <a:lnTo>
                    <a:pt x="308876" y="373551"/>
                  </a:lnTo>
                  <a:lnTo>
                    <a:pt x="305292" y="371759"/>
                  </a:lnTo>
                  <a:lnTo>
                    <a:pt x="300568" y="374528"/>
                  </a:lnTo>
                  <a:lnTo>
                    <a:pt x="294540" y="372410"/>
                  </a:lnTo>
                  <a:lnTo>
                    <a:pt x="287860" y="371270"/>
                  </a:lnTo>
                  <a:lnTo>
                    <a:pt x="285580" y="368989"/>
                  </a:lnTo>
                  <a:lnTo>
                    <a:pt x="289001" y="362636"/>
                  </a:lnTo>
                  <a:lnTo>
                    <a:pt x="291282" y="360518"/>
                  </a:lnTo>
                  <a:lnTo>
                    <a:pt x="287698" y="360518"/>
                  </a:lnTo>
                  <a:cubicBezTo>
                    <a:pt x="287698" y="360518"/>
                    <a:pt x="284602" y="361984"/>
                    <a:pt x="284602" y="361984"/>
                  </a:cubicBezTo>
                  <a:lnTo>
                    <a:pt x="281181" y="359866"/>
                  </a:lnTo>
                  <a:lnTo>
                    <a:pt x="278900" y="355468"/>
                  </a:lnTo>
                  <a:lnTo>
                    <a:pt x="273362" y="357749"/>
                  </a:lnTo>
                  <a:lnTo>
                    <a:pt x="263098" y="357749"/>
                  </a:lnTo>
                  <a:cubicBezTo>
                    <a:pt x="263098" y="357749"/>
                    <a:pt x="259840" y="355631"/>
                    <a:pt x="259840" y="355631"/>
                  </a:cubicBezTo>
                  <a:lnTo>
                    <a:pt x="259840" y="352698"/>
                  </a:lnTo>
                  <a:cubicBezTo>
                    <a:pt x="259840" y="352698"/>
                    <a:pt x="261469" y="352373"/>
                    <a:pt x="261469" y="352373"/>
                  </a:cubicBezTo>
                  <a:lnTo>
                    <a:pt x="261469" y="352373"/>
                  </a:lnTo>
                  <a:close/>
                  <a:moveTo>
                    <a:pt x="328099" y="64512"/>
                  </a:moveTo>
                  <a:lnTo>
                    <a:pt x="333149" y="69399"/>
                  </a:lnTo>
                  <a:lnTo>
                    <a:pt x="336082" y="69399"/>
                  </a:lnTo>
                  <a:lnTo>
                    <a:pt x="334941" y="73309"/>
                  </a:lnTo>
                  <a:lnTo>
                    <a:pt x="338688" y="73309"/>
                  </a:lnTo>
                  <a:lnTo>
                    <a:pt x="340806" y="66141"/>
                  </a:lnTo>
                  <a:lnTo>
                    <a:pt x="334941" y="58322"/>
                  </a:lnTo>
                  <a:lnTo>
                    <a:pt x="330543" y="60928"/>
                  </a:lnTo>
                  <a:lnTo>
                    <a:pt x="327936" y="64512"/>
                  </a:lnTo>
                  <a:lnTo>
                    <a:pt x="327936" y="64512"/>
                  </a:lnTo>
                  <a:close/>
                  <a:moveTo>
                    <a:pt x="285580" y="95791"/>
                  </a:moveTo>
                  <a:lnTo>
                    <a:pt x="285580" y="99863"/>
                  </a:lnTo>
                  <a:cubicBezTo>
                    <a:pt x="285580" y="99863"/>
                    <a:pt x="288186" y="98397"/>
                    <a:pt x="288186" y="98397"/>
                  </a:cubicBezTo>
                  <a:lnTo>
                    <a:pt x="285580" y="95628"/>
                  </a:lnTo>
                  <a:lnTo>
                    <a:pt x="285580" y="95628"/>
                  </a:lnTo>
                  <a:close/>
                  <a:moveTo>
                    <a:pt x="285417" y="85039"/>
                  </a:moveTo>
                  <a:lnTo>
                    <a:pt x="288186" y="82106"/>
                  </a:lnTo>
                  <a:lnTo>
                    <a:pt x="285091" y="80640"/>
                  </a:lnTo>
                  <a:lnTo>
                    <a:pt x="285417" y="85039"/>
                  </a:lnTo>
                  <a:lnTo>
                    <a:pt x="285417" y="85039"/>
                  </a:lnTo>
                  <a:close/>
                  <a:moveTo>
                    <a:pt x="286068" y="87482"/>
                  </a:moveTo>
                  <a:lnTo>
                    <a:pt x="284439" y="90577"/>
                  </a:lnTo>
                  <a:lnTo>
                    <a:pt x="287860" y="91066"/>
                  </a:lnTo>
                  <a:lnTo>
                    <a:pt x="286068" y="87482"/>
                  </a:lnTo>
                  <a:lnTo>
                    <a:pt x="286068" y="87482"/>
                  </a:lnTo>
                  <a:close/>
                  <a:moveTo>
                    <a:pt x="270103" y="92207"/>
                  </a:moveTo>
                  <a:lnTo>
                    <a:pt x="269614" y="96605"/>
                  </a:lnTo>
                  <a:lnTo>
                    <a:pt x="272384" y="98397"/>
                  </a:lnTo>
                  <a:lnTo>
                    <a:pt x="277434" y="93021"/>
                  </a:lnTo>
                  <a:lnTo>
                    <a:pt x="273362" y="91392"/>
                  </a:lnTo>
                  <a:lnTo>
                    <a:pt x="270266" y="92207"/>
                  </a:lnTo>
                  <a:lnTo>
                    <a:pt x="270266" y="92207"/>
                  </a:lnTo>
                  <a:close/>
                  <a:moveTo>
                    <a:pt x="226281" y="148573"/>
                  </a:moveTo>
                  <a:lnTo>
                    <a:pt x="231657" y="150365"/>
                  </a:lnTo>
                  <a:lnTo>
                    <a:pt x="234100" y="145315"/>
                  </a:lnTo>
                  <a:lnTo>
                    <a:pt x="233123" y="141731"/>
                  </a:lnTo>
                  <a:lnTo>
                    <a:pt x="226281" y="148573"/>
                  </a:lnTo>
                  <a:lnTo>
                    <a:pt x="226281" y="148573"/>
                  </a:lnTo>
                  <a:close/>
                  <a:moveTo>
                    <a:pt x="238825" y="143686"/>
                  </a:moveTo>
                  <a:lnTo>
                    <a:pt x="236544" y="148899"/>
                  </a:lnTo>
                  <a:lnTo>
                    <a:pt x="241920" y="150365"/>
                  </a:lnTo>
                  <a:lnTo>
                    <a:pt x="243549" y="156719"/>
                  </a:lnTo>
                  <a:lnTo>
                    <a:pt x="246807" y="155578"/>
                  </a:lnTo>
                  <a:lnTo>
                    <a:pt x="248436" y="147759"/>
                  </a:lnTo>
                  <a:lnTo>
                    <a:pt x="245993" y="145152"/>
                  </a:lnTo>
                  <a:lnTo>
                    <a:pt x="247948" y="141242"/>
                  </a:lnTo>
                  <a:lnTo>
                    <a:pt x="245178" y="141894"/>
                  </a:lnTo>
                  <a:lnTo>
                    <a:pt x="242735" y="144175"/>
                  </a:lnTo>
                  <a:lnTo>
                    <a:pt x="238825" y="143849"/>
                  </a:lnTo>
                  <a:lnTo>
                    <a:pt x="238825" y="143849"/>
                  </a:lnTo>
                  <a:close/>
                  <a:moveTo>
                    <a:pt x="352046" y="220253"/>
                  </a:moveTo>
                  <a:lnTo>
                    <a:pt x="352373" y="222860"/>
                  </a:lnTo>
                  <a:lnTo>
                    <a:pt x="356282" y="224652"/>
                  </a:lnTo>
                  <a:lnTo>
                    <a:pt x="357911" y="222534"/>
                  </a:lnTo>
                  <a:lnTo>
                    <a:pt x="355794" y="220253"/>
                  </a:lnTo>
                  <a:lnTo>
                    <a:pt x="352046" y="220253"/>
                  </a:lnTo>
                  <a:close/>
                  <a:moveTo>
                    <a:pt x="318650" y="244038"/>
                  </a:moveTo>
                  <a:lnTo>
                    <a:pt x="320442" y="248436"/>
                  </a:lnTo>
                  <a:lnTo>
                    <a:pt x="320116" y="250880"/>
                  </a:lnTo>
                  <a:lnTo>
                    <a:pt x="314903" y="252184"/>
                  </a:lnTo>
                  <a:lnTo>
                    <a:pt x="313111" y="254790"/>
                  </a:lnTo>
                  <a:lnTo>
                    <a:pt x="317184" y="254790"/>
                  </a:lnTo>
                  <a:cubicBezTo>
                    <a:pt x="317184" y="254790"/>
                    <a:pt x="317184" y="253324"/>
                    <a:pt x="317184" y="253324"/>
                  </a:cubicBezTo>
                  <a:lnTo>
                    <a:pt x="320605" y="251532"/>
                  </a:lnTo>
                  <a:lnTo>
                    <a:pt x="320605" y="258863"/>
                  </a:lnTo>
                  <a:cubicBezTo>
                    <a:pt x="320605" y="258863"/>
                    <a:pt x="324352" y="262773"/>
                    <a:pt x="324352" y="262773"/>
                  </a:cubicBezTo>
                  <a:lnTo>
                    <a:pt x="328751" y="256093"/>
                  </a:lnTo>
                  <a:lnTo>
                    <a:pt x="331357" y="260166"/>
                  </a:lnTo>
                  <a:lnTo>
                    <a:pt x="335267" y="260981"/>
                  </a:lnTo>
                  <a:lnTo>
                    <a:pt x="336733" y="257397"/>
                  </a:lnTo>
                  <a:lnTo>
                    <a:pt x="340643" y="255604"/>
                  </a:lnTo>
                  <a:lnTo>
                    <a:pt x="338362" y="250554"/>
                  </a:lnTo>
                  <a:lnTo>
                    <a:pt x="329891" y="245015"/>
                  </a:lnTo>
                  <a:lnTo>
                    <a:pt x="321257" y="243386"/>
                  </a:lnTo>
                  <a:lnTo>
                    <a:pt x="318650" y="244201"/>
                  </a:lnTo>
                  <a:lnTo>
                    <a:pt x="318650" y="244201"/>
                  </a:lnTo>
                  <a:close/>
                  <a:moveTo>
                    <a:pt x="302034" y="253812"/>
                  </a:moveTo>
                  <a:lnTo>
                    <a:pt x="301382" y="258211"/>
                  </a:lnTo>
                  <a:lnTo>
                    <a:pt x="304477" y="255442"/>
                  </a:lnTo>
                  <a:lnTo>
                    <a:pt x="302196" y="253812"/>
                  </a:lnTo>
                  <a:lnTo>
                    <a:pt x="302196" y="253812"/>
                  </a:lnTo>
                  <a:close/>
                  <a:moveTo>
                    <a:pt x="265379" y="221068"/>
                  </a:moveTo>
                  <a:lnTo>
                    <a:pt x="265379" y="225141"/>
                  </a:lnTo>
                  <a:cubicBezTo>
                    <a:pt x="265379" y="225141"/>
                    <a:pt x="260492" y="228887"/>
                    <a:pt x="260492" y="228887"/>
                  </a:cubicBezTo>
                  <a:lnTo>
                    <a:pt x="263587" y="233123"/>
                  </a:lnTo>
                  <a:lnTo>
                    <a:pt x="272873" y="233775"/>
                  </a:lnTo>
                  <a:lnTo>
                    <a:pt x="275316" y="236218"/>
                  </a:lnTo>
                  <a:lnTo>
                    <a:pt x="275316" y="241268"/>
                  </a:lnTo>
                  <a:cubicBezTo>
                    <a:pt x="275316" y="241268"/>
                    <a:pt x="278412" y="243060"/>
                    <a:pt x="278412" y="243060"/>
                  </a:cubicBezTo>
                  <a:lnTo>
                    <a:pt x="280041" y="249903"/>
                  </a:lnTo>
                  <a:lnTo>
                    <a:pt x="285743" y="253650"/>
                  </a:lnTo>
                  <a:lnTo>
                    <a:pt x="290793" y="252998"/>
                  </a:lnTo>
                  <a:lnTo>
                    <a:pt x="292422" y="258048"/>
                  </a:lnTo>
                  <a:lnTo>
                    <a:pt x="294866" y="260003"/>
                  </a:lnTo>
                  <a:lnTo>
                    <a:pt x="297472" y="256256"/>
                  </a:lnTo>
                  <a:lnTo>
                    <a:pt x="295680" y="251043"/>
                  </a:lnTo>
                  <a:lnTo>
                    <a:pt x="298287" y="244690"/>
                  </a:lnTo>
                  <a:lnTo>
                    <a:pt x="289816" y="242735"/>
                  </a:lnTo>
                  <a:lnTo>
                    <a:pt x="284439" y="236707"/>
                  </a:lnTo>
                  <a:lnTo>
                    <a:pt x="282484" y="225141"/>
                  </a:lnTo>
                  <a:lnTo>
                    <a:pt x="280530" y="223349"/>
                  </a:lnTo>
                  <a:lnTo>
                    <a:pt x="279878" y="218950"/>
                  </a:lnTo>
                  <a:lnTo>
                    <a:pt x="276131" y="217158"/>
                  </a:lnTo>
                  <a:lnTo>
                    <a:pt x="272873" y="217158"/>
                  </a:lnTo>
                  <a:lnTo>
                    <a:pt x="273362" y="221719"/>
                  </a:lnTo>
                  <a:lnTo>
                    <a:pt x="275153" y="224977"/>
                  </a:lnTo>
                  <a:lnTo>
                    <a:pt x="270266" y="223349"/>
                  </a:lnTo>
                  <a:lnTo>
                    <a:pt x="267008" y="219765"/>
                  </a:lnTo>
                  <a:lnTo>
                    <a:pt x="265379" y="220742"/>
                  </a:lnTo>
                  <a:lnTo>
                    <a:pt x="265379" y="220742"/>
                  </a:lnTo>
                  <a:close/>
                  <a:moveTo>
                    <a:pt x="240780" y="189626"/>
                  </a:moveTo>
                  <a:lnTo>
                    <a:pt x="238173" y="193047"/>
                  </a:lnTo>
                  <a:lnTo>
                    <a:pt x="242246" y="196957"/>
                  </a:lnTo>
                  <a:lnTo>
                    <a:pt x="246644" y="194351"/>
                  </a:lnTo>
                  <a:lnTo>
                    <a:pt x="245016" y="189626"/>
                  </a:lnTo>
                  <a:lnTo>
                    <a:pt x="240617" y="189626"/>
                  </a:lnTo>
                  <a:close/>
                  <a:moveTo>
                    <a:pt x="244689" y="178549"/>
                  </a:moveTo>
                  <a:lnTo>
                    <a:pt x="241920" y="183599"/>
                  </a:lnTo>
                  <a:lnTo>
                    <a:pt x="244527" y="186694"/>
                  </a:lnTo>
                  <a:lnTo>
                    <a:pt x="248600" y="185228"/>
                  </a:lnTo>
                  <a:lnTo>
                    <a:pt x="254464" y="188323"/>
                  </a:lnTo>
                  <a:lnTo>
                    <a:pt x="256419" y="186694"/>
                  </a:lnTo>
                  <a:lnTo>
                    <a:pt x="248600" y="179526"/>
                  </a:lnTo>
                  <a:lnTo>
                    <a:pt x="244527" y="178549"/>
                  </a:lnTo>
                  <a:lnTo>
                    <a:pt x="244527" y="178549"/>
                  </a:lnTo>
                  <a:close/>
                  <a:moveTo>
                    <a:pt x="193699" y="144338"/>
                  </a:moveTo>
                  <a:lnTo>
                    <a:pt x="189952" y="150691"/>
                  </a:lnTo>
                  <a:lnTo>
                    <a:pt x="190930" y="155415"/>
                  </a:lnTo>
                  <a:lnTo>
                    <a:pt x="199727" y="156393"/>
                  </a:lnTo>
                  <a:lnTo>
                    <a:pt x="205754" y="159325"/>
                  </a:lnTo>
                  <a:lnTo>
                    <a:pt x="207709" y="157696"/>
                  </a:lnTo>
                  <a:lnTo>
                    <a:pt x="206080" y="150365"/>
                  </a:lnTo>
                  <a:lnTo>
                    <a:pt x="200541" y="145478"/>
                  </a:lnTo>
                  <a:lnTo>
                    <a:pt x="194025" y="144175"/>
                  </a:lnTo>
                  <a:lnTo>
                    <a:pt x="194025" y="144175"/>
                  </a:lnTo>
                  <a:close/>
                  <a:moveTo>
                    <a:pt x="179200" y="136355"/>
                  </a:moveTo>
                  <a:lnTo>
                    <a:pt x="181969" y="136355"/>
                  </a:lnTo>
                  <a:cubicBezTo>
                    <a:pt x="181969" y="136355"/>
                    <a:pt x="188649" y="138636"/>
                    <a:pt x="188649" y="138636"/>
                  </a:cubicBezTo>
                  <a:lnTo>
                    <a:pt x="191418" y="142546"/>
                  </a:lnTo>
                  <a:lnTo>
                    <a:pt x="188160" y="148084"/>
                  </a:lnTo>
                  <a:lnTo>
                    <a:pt x="185716" y="145804"/>
                  </a:lnTo>
                  <a:lnTo>
                    <a:pt x="179363" y="136355"/>
                  </a:lnTo>
                  <a:lnTo>
                    <a:pt x="179363" y="136355"/>
                  </a:lnTo>
                  <a:close/>
                  <a:moveTo>
                    <a:pt x="161606" y="123974"/>
                  </a:moveTo>
                  <a:lnTo>
                    <a:pt x="164375" y="131631"/>
                  </a:lnTo>
                  <a:lnTo>
                    <a:pt x="168937" y="130979"/>
                  </a:lnTo>
                  <a:lnTo>
                    <a:pt x="173498" y="125766"/>
                  </a:lnTo>
                  <a:lnTo>
                    <a:pt x="168937" y="120553"/>
                  </a:lnTo>
                  <a:lnTo>
                    <a:pt x="165841" y="123159"/>
                  </a:lnTo>
                  <a:lnTo>
                    <a:pt x="161443" y="123974"/>
                  </a:lnTo>
                  <a:lnTo>
                    <a:pt x="161443" y="123974"/>
                  </a:lnTo>
                  <a:close/>
                  <a:moveTo>
                    <a:pt x="179363" y="315555"/>
                  </a:moveTo>
                  <a:lnTo>
                    <a:pt x="185879" y="320279"/>
                  </a:lnTo>
                  <a:lnTo>
                    <a:pt x="185879" y="316695"/>
                  </a:lnTo>
                  <a:cubicBezTo>
                    <a:pt x="185879" y="316695"/>
                    <a:pt x="182621" y="314252"/>
                    <a:pt x="182621" y="314252"/>
                  </a:cubicBezTo>
                  <a:lnTo>
                    <a:pt x="179526" y="315555"/>
                  </a:lnTo>
                  <a:lnTo>
                    <a:pt x="179526" y="315555"/>
                  </a:lnTo>
                  <a:close/>
                  <a:moveTo>
                    <a:pt x="131957" y="251206"/>
                  </a:moveTo>
                  <a:lnTo>
                    <a:pt x="128698" y="255767"/>
                  </a:lnTo>
                  <a:lnTo>
                    <a:pt x="138147" y="264402"/>
                  </a:lnTo>
                  <a:lnTo>
                    <a:pt x="137007" y="259514"/>
                  </a:lnTo>
                  <a:lnTo>
                    <a:pt x="137332" y="255279"/>
                  </a:lnTo>
                  <a:lnTo>
                    <a:pt x="131957" y="251206"/>
                  </a:lnTo>
                  <a:lnTo>
                    <a:pt x="131957" y="251206"/>
                  </a:lnTo>
                  <a:close/>
                  <a:moveTo>
                    <a:pt x="124462" y="246156"/>
                  </a:moveTo>
                  <a:lnTo>
                    <a:pt x="129024" y="248111"/>
                  </a:lnTo>
                  <a:lnTo>
                    <a:pt x="125114" y="251532"/>
                  </a:lnTo>
                  <a:lnTo>
                    <a:pt x="124462" y="245993"/>
                  </a:lnTo>
                  <a:lnTo>
                    <a:pt x="124462" y="245993"/>
                  </a:lnTo>
                  <a:close/>
                  <a:moveTo>
                    <a:pt x="115014" y="229865"/>
                  </a:moveTo>
                  <a:lnTo>
                    <a:pt x="112407" y="232797"/>
                  </a:lnTo>
                  <a:lnTo>
                    <a:pt x="115339" y="236707"/>
                  </a:lnTo>
                  <a:lnTo>
                    <a:pt x="121041" y="238499"/>
                  </a:lnTo>
                  <a:lnTo>
                    <a:pt x="115014" y="229865"/>
                  </a:lnTo>
                  <a:lnTo>
                    <a:pt x="115014" y="229865"/>
                  </a:lnTo>
                  <a:close/>
                  <a:moveTo>
                    <a:pt x="87319" y="206732"/>
                  </a:moveTo>
                  <a:lnTo>
                    <a:pt x="87319" y="210804"/>
                  </a:lnTo>
                  <a:lnTo>
                    <a:pt x="92858" y="212759"/>
                  </a:lnTo>
                  <a:lnTo>
                    <a:pt x="99537" y="222697"/>
                  </a:lnTo>
                  <a:lnTo>
                    <a:pt x="106054" y="224652"/>
                  </a:lnTo>
                  <a:lnTo>
                    <a:pt x="106054" y="215040"/>
                  </a:lnTo>
                  <a:lnTo>
                    <a:pt x="98560" y="204125"/>
                  </a:lnTo>
                  <a:lnTo>
                    <a:pt x="92858" y="202333"/>
                  </a:lnTo>
                  <a:lnTo>
                    <a:pt x="87482" y="206569"/>
                  </a:lnTo>
                  <a:lnTo>
                    <a:pt x="87482" y="206569"/>
                  </a:lnTo>
                  <a:close/>
                  <a:moveTo>
                    <a:pt x="83898" y="187671"/>
                  </a:moveTo>
                  <a:lnTo>
                    <a:pt x="81292" y="193210"/>
                  </a:lnTo>
                  <a:lnTo>
                    <a:pt x="84387" y="196794"/>
                  </a:lnTo>
                  <a:lnTo>
                    <a:pt x="87971" y="193210"/>
                  </a:lnTo>
                  <a:lnTo>
                    <a:pt x="87971" y="189463"/>
                  </a:lnTo>
                  <a:cubicBezTo>
                    <a:pt x="87971" y="189463"/>
                    <a:pt x="83898" y="187671"/>
                    <a:pt x="83898" y="187671"/>
                  </a:cubicBezTo>
                  <a:lnTo>
                    <a:pt x="83898" y="187671"/>
                  </a:lnTo>
                  <a:close/>
                  <a:moveTo>
                    <a:pt x="87319" y="173824"/>
                  </a:moveTo>
                  <a:lnTo>
                    <a:pt x="93347" y="173824"/>
                  </a:lnTo>
                  <a:cubicBezTo>
                    <a:pt x="93347" y="173824"/>
                    <a:pt x="95628" y="175453"/>
                    <a:pt x="95628" y="175453"/>
                  </a:cubicBezTo>
                  <a:lnTo>
                    <a:pt x="96116" y="172195"/>
                  </a:lnTo>
                  <a:lnTo>
                    <a:pt x="90089" y="170077"/>
                  </a:lnTo>
                  <a:lnTo>
                    <a:pt x="87319" y="173824"/>
                  </a:lnTo>
                  <a:lnTo>
                    <a:pt x="87319" y="173824"/>
                  </a:lnTo>
                  <a:close/>
                  <a:moveTo>
                    <a:pt x="50665" y="139450"/>
                  </a:moveTo>
                  <a:lnTo>
                    <a:pt x="55715" y="139450"/>
                  </a:lnTo>
                  <a:cubicBezTo>
                    <a:pt x="55715" y="139450"/>
                    <a:pt x="58159" y="136518"/>
                    <a:pt x="58159" y="136518"/>
                  </a:cubicBezTo>
                  <a:lnTo>
                    <a:pt x="61417" y="137658"/>
                  </a:lnTo>
                  <a:lnTo>
                    <a:pt x="65164" y="144826"/>
                  </a:lnTo>
                  <a:lnTo>
                    <a:pt x="71028" y="149388"/>
                  </a:lnTo>
                  <a:lnTo>
                    <a:pt x="69399" y="152972"/>
                  </a:lnTo>
                  <a:lnTo>
                    <a:pt x="68259" y="159651"/>
                  </a:lnTo>
                  <a:lnTo>
                    <a:pt x="65978" y="160628"/>
                  </a:lnTo>
                  <a:lnTo>
                    <a:pt x="61091" y="151668"/>
                  </a:lnTo>
                  <a:lnTo>
                    <a:pt x="57507" y="150691"/>
                  </a:lnTo>
                  <a:lnTo>
                    <a:pt x="56204" y="144989"/>
                  </a:lnTo>
                  <a:lnTo>
                    <a:pt x="50339" y="139125"/>
                  </a:lnTo>
                  <a:lnTo>
                    <a:pt x="50339" y="139125"/>
                  </a:lnTo>
                  <a:close/>
                  <a:moveTo>
                    <a:pt x="50502" y="119901"/>
                  </a:moveTo>
                  <a:lnTo>
                    <a:pt x="56529" y="121856"/>
                  </a:lnTo>
                  <a:lnTo>
                    <a:pt x="54249" y="118598"/>
                  </a:lnTo>
                  <a:lnTo>
                    <a:pt x="50502" y="119901"/>
                  </a:lnTo>
                  <a:lnTo>
                    <a:pt x="50502" y="119901"/>
                  </a:lnTo>
                  <a:close/>
                  <a:moveTo>
                    <a:pt x="15639" y="97420"/>
                  </a:moveTo>
                  <a:lnTo>
                    <a:pt x="13684" y="99538"/>
                  </a:lnTo>
                  <a:lnTo>
                    <a:pt x="12218" y="102633"/>
                  </a:lnTo>
                  <a:lnTo>
                    <a:pt x="17105" y="105728"/>
                  </a:lnTo>
                  <a:lnTo>
                    <a:pt x="23133" y="104914"/>
                  </a:lnTo>
                  <a:lnTo>
                    <a:pt x="19549" y="100189"/>
                  </a:lnTo>
                  <a:lnTo>
                    <a:pt x="15639" y="97420"/>
                  </a:lnTo>
                  <a:lnTo>
                    <a:pt x="15639" y="97420"/>
                  </a:lnTo>
                  <a:close/>
                  <a:moveTo>
                    <a:pt x="977" y="25577"/>
                  </a:moveTo>
                  <a:lnTo>
                    <a:pt x="0" y="28346"/>
                  </a:lnTo>
                  <a:lnTo>
                    <a:pt x="1303" y="35840"/>
                  </a:lnTo>
                  <a:lnTo>
                    <a:pt x="7657" y="49687"/>
                  </a:lnTo>
                  <a:lnTo>
                    <a:pt x="11729" y="51479"/>
                  </a:lnTo>
                  <a:lnTo>
                    <a:pt x="22807" y="63698"/>
                  </a:lnTo>
                  <a:lnTo>
                    <a:pt x="26066" y="63698"/>
                  </a:lnTo>
                  <a:lnTo>
                    <a:pt x="32907" y="72169"/>
                  </a:lnTo>
                  <a:lnTo>
                    <a:pt x="36818" y="73635"/>
                  </a:lnTo>
                  <a:lnTo>
                    <a:pt x="40076" y="72332"/>
                  </a:lnTo>
                  <a:lnTo>
                    <a:pt x="48384" y="79337"/>
                  </a:lnTo>
                  <a:lnTo>
                    <a:pt x="57344" y="93673"/>
                  </a:lnTo>
                  <a:lnTo>
                    <a:pt x="66304" y="102307"/>
                  </a:lnTo>
                  <a:lnTo>
                    <a:pt x="68911" y="102307"/>
                  </a:lnTo>
                  <a:lnTo>
                    <a:pt x="68911" y="108986"/>
                  </a:lnTo>
                  <a:lnTo>
                    <a:pt x="71354" y="110941"/>
                  </a:lnTo>
                  <a:lnTo>
                    <a:pt x="72332" y="117458"/>
                  </a:lnTo>
                  <a:lnTo>
                    <a:pt x="75590" y="120390"/>
                  </a:lnTo>
                  <a:lnTo>
                    <a:pt x="80966" y="120390"/>
                  </a:lnTo>
                  <a:cubicBezTo>
                    <a:pt x="80966" y="120390"/>
                    <a:pt x="87808" y="128861"/>
                    <a:pt x="87808" y="128861"/>
                  </a:cubicBezTo>
                  <a:lnTo>
                    <a:pt x="91229" y="130816"/>
                  </a:lnTo>
                  <a:lnTo>
                    <a:pt x="94325" y="130327"/>
                  </a:lnTo>
                  <a:lnTo>
                    <a:pt x="95302" y="132934"/>
                  </a:lnTo>
                  <a:lnTo>
                    <a:pt x="93347" y="136518"/>
                  </a:lnTo>
                  <a:lnTo>
                    <a:pt x="96605" y="140102"/>
                  </a:lnTo>
                  <a:lnTo>
                    <a:pt x="99049" y="146618"/>
                  </a:lnTo>
                  <a:lnTo>
                    <a:pt x="99049" y="148247"/>
                  </a:lnTo>
                  <a:cubicBezTo>
                    <a:pt x="99049" y="148247"/>
                    <a:pt x="103936" y="161932"/>
                    <a:pt x="103936" y="161932"/>
                  </a:cubicBezTo>
                  <a:lnTo>
                    <a:pt x="106380" y="169263"/>
                  </a:lnTo>
                  <a:lnTo>
                    <a:pt x="113059" y="171218"/>
                  </a:lnTo>
                  <a:lnTo>
                    <a:pt x="120553" y="176431"/>
                  </a:lnTo>
                  <a:lnTo>
                    <a:pt x="120553" y="180829"/>
                  </a:lnTo>
                  <a:lnTo>
                    <a:pt x="126743" y="191907"/>
                  </a:lnTo>
                  <a:lnTo>
                    <a:pt x="132608" y="196306"/>
                  </a:lnTo>
                  <a:lnTo>
                    <a:pt x="133748" y="208850"/>
                  </a:lnTo>
                  <a:lnTo>
                    <a:pt x="143360" y="226607"/>
                  </a:lnTo>
                  <a:lnTo>
                    <a:pt x="142871" y="233775"/>
                  </a:lnTo>
                  <a:lnTo>
                    <a:pt x="145315" y="240291"/>
                  </a:lnTo>
                  <a:lnTo>
                    <a:pt x="154601" y="247296"/>
                  </a:lnTo>
                  <a:lnTo>
                    <a:pt x="164050" y="258863"/>
                  </a:lnTo>
                  <a:lnTo>
                    <a:pt x="166656" y="265053"/>
                  </a:lnTo>
                  <a:lnTo>
                    <a:pt x="173824" y="266519"/>
                  </a:lnTo>
                  <a:lnTo>
                    <a:pt x="176430" y="269452"/>
                  </a:lnTo>
                  <a:lnTo>
                    <a:pt x="182621" y="273525"/>
                  </a:lnTo>
                  <a:lnTo>
                    <a:pt x="183598" y="280855"/>
                  </a:lnTo>
                  <a:lnTo>
                    <a:pt x="189137" y="284276"/>
                  </a:lnTo>
                  <a:lnTo>
                    <a:pt x="195817" y="291608"/>
                  </a:lnTo>
                  <a:lnTo>
                    <a:pt x="207220" y="298775"/>
                  </a:lnTo>
                  <a:lnTo>
                    <a:pt x="209827" y="304314"/>
                  </a:lnTo>
                  <a:lnTo>
                    <a:pt x="217158" y="306269"/>
                  </a:lnTo>
                  <a:lnTo>
                    <a:pt x="232309" y="319465"/>
                  </a:lnTo>
                  <a:lnTo>
                    <a:pt x="233612" y="324841"/>
                  </a:lnTo>
                  <a:lnTo>
                    <a:pt x="236870" y="326307"/>
                  </a:lnTo>
                  <a:lnTo>
                    <a:pt x="240291" y="332172"/>
                  </a:lnTo>
                  <a:lnTo>
                    <a:pt x="242083" y="330054"/>
                  </a:lnTo>
                  <a:lnTo>
                    <a:pt x="242083" y="325004"/>
                  </a:lnTo>
                  <a:lnTo>
                    <a:pt x="240617" y="322397"/>
                  </a:lnTo>
                  <a:lnTo>
                    <a:pt x="240617" y="319628"/>
                  </a:lnTo>
                  <a:lnTo>
                    <a:pt x="245178" y="320605"/>
                  </a:lnTo>
                  <a:lnTo>
                    <a:pt x="255116" y="329891"/>
                  </a:lnTo>
                  <a:lnTo>
                    <a:pt x="257071" y="328262"/>
                  </a:lnTo>
                  <a:lnTo>
                    <a:pt x="257071" y="321583"/>
                  </a:lnTo>
                  <a:cubicBezTo>
                    <a:pt x="257071" y="321583"/>
                    <a:pt x="259351" y="318162"/>
                    <a:pt x="259351" y="318162"/>
                  </a:cubicBezTo>
                  <a:lnTo>
                    <a:pt x="263587" y="319139"/>
                  </a:lnTo>
                  <a:lnTo>
                    <a:pt x="268148" y="326307"/>
                  </a:lnTo>
                  <a:lnTo>
                    <a:pt x="271081" y="327610"/>
                  </a:lnTo>
                  <a:lnTo>
                    <a:pt x="274502" y="324026"/>
                  </a:lnTo>
                  <a:lnTo>
                    <a:pt x="274013" y="312623"/>
                  </a:lnTo>
                  <a:lnTo>
                    <a:pt x="276620" y="298613"/>
                  </a:lnTo>
                  <a:lnTo>
                    <a:pt x="273850" y="289164"/>
                  </a:lnTo>
                  <a:lnTo>
                    <a:pt x="278086" y="279063"/>
                  </a:lnTo>
                  <a:lnTo>
                    <a:pt x="275805" y="275154"/>
                  </a:lnTo>
                  <a:lnTo>
                    <a:pt x="276131" y="267008"/>
                  </a:lnTo>
                  <a:lnTo>
                    <a:pt x="280693" y="265053"/>
                  </a:lnTo>
                  <a:lnTo>
                    <a:pt x="282647" y="261306"/>
                  </a:lnTo>
                  <a:lnTo>
                    <a:pt x="281996" y="256582"/>
                  </a:lnTo>
                  <a:lnTo>
                    <a:pt x="278086" y="254790"/>
                  </a:lnTo>
                  <a:lnTo>
                    <a:pt x="273525" y="251043"/>
                  </a:lnTo>
                  <a:lnTo>
                    <a:pt x="271569" y="245178"/>
                  </a:lnTo>
                  <a:lnTo>
                    <a:pt x="268474" y="243549"/>
                  </a:lnTo>
                  <a:lnTo>
                    <a:pt x="267008" y="239476"/>
                  </a:lnTo>
                  <a:lnTo>
                    <a:pt x="262284" y="237522"/>
                  </a:lnTo>
                  <a:lnTo>
                    <a:pt x="254627" y="238499"/>
                  </a:lnTo>
                  <a:lnTo>
                    <a:pt x="249577" y="237684"/>
                  </a:lnTo>
                  <a:lnTo>
                    <a:pt x="248925" y="230191"/>
                  </a:lnTo>
                  <a:lnTo>
                    <a:pt x="245178" y="225141"/>
                  </a:lnTo>
                  <a:lnTo>
                    <a:pt x="241920" y="227095"/>
                  </a:lnTo>
                  <a:lnTo>
                    <a:pt x="244364" y="222045"/>
                  </a:lnTo>
                  <a:lnTo>
                    <a:pt x="242409" y="216506"/>
                  </a:lnTo>
                  <a:lnTo>
                    <a:pt x="241594" y="203962"/>
                  </a:lnTo>
                  <a:lnTo>
                    <a:pt x="235567" y="206406"/>
                  </a:lnTo>
                  <a:lnTo>
                    <a:pt x="232960" y="203962"/>
                  </a:lnTo>
                  <a:lnTo>
                    <a:pt x="223023" y="203962"/>
                  </a:lnTo>
                  <a:cubicBezTo>
                    <a:pt x="223023" y="203962"/>
                    <a:pt x="214389" y="197935"/>
                    <a:pt x="214389" y="197935"/>
                  </a:cubicBezTo>
                  <a:lnTo>
                    <a:pt x="214389" y="193699"/>
                  </a:lnTo>
                  <a:cubicBezTo>
                    <a:pt x="214389" y="193699"/>
                    <a:pt x="219764" y="191255"/>
                    <a:pt x="219764" y="191255"/>
                  </a:cubicBezTo>
                  <a:lnTo>
                    <a:pt x="225629" y="187997"/>
                  </a:lnTo>
                  <a:lnTo>
                    <a:pt x="221719" y="186042"/>
                  </a:lnTo>
                  <a:lnTo>
                    <a:pt x="216180" y="186857"/>
                  </a:lnTo>
                  <a:lnTo>
                    <a:pt x="213085" y="185717"/>
                  </a:lnTo>
                  <a:lnTo>
                    <a:pt x="207546" y="187671"/>
                  </a:lnTo>
                  <a:lnTo>
                    <a:pt x="211456" y="184087"/>
                  </a:lnTo>
                  <a:lnTo>
                    <a:pt x="217484" y="179526"/>
                  </a:lnTo>
                  <a:lnTo>
                    <a:pt x="224978" y="178385"/>
                  </a:lnTo>
                  <a:lnTo>
                    <a:pt x="223511" y="173173"/>
                  </a:lnTo>
                  <a:lnTo>
                    <a:pt x="215692" y="164538"/>
                  </a:lnTo>
                  <a:lnTo>
                    <a:pt x="211130" y="164050"/>
                  </a:lnTo>
                  <a:lnTo>
                    <a:pt x="205266" y="167959"/>
                  </a:lnTo>
                  <a:lnTo>
                    <a:pt x="200052" y="171218"/>
                  </a:lnTo>
                  <a:lnTo>
                    <a:pt x="193536" y="171543"/>
                  </a:lnTo>
                  <a:lnTo>
                    <a:pt x="197283" y="170729"/>
                  </a:lnTo>
                  <a:lnTo>
                    <a:pt x="199727" y="168448"/>
                  </a:lnTo>
                  <a:lnTo>
                    <a:pt x="202170" y="167796"/>
                  </a:lnTo>
                  <a:lnTo>
                    <a:pt x="204614" y="164212"/>
                  </a:lnTo>
                  <a:lnTo>
                    <a:pt x="203473" y="160954"/>
                  </a:lnTo>
                  <a:lnTo>
                    <a:pt x="197609" y="158185"/>
                  </a:lnTo>
                  <a:lnTo>
                    <a:pt x="188649" y="158511"/>
                  </a:lnTo>
                  <a:lnTo>
                    <a:pt x="182295" y="153298"/>
                  </a:lnTo>
                  <a:lnTo>
                    <a:pt x="182295" y="149876"/>
                  </a:lnTo>
                  <a:lnTo>
                    <a:pt x="181481" y="143197"/>
                  </a:lnTo>
                  <a:lnTo>
                    <a:pt x="170729" y="132608"/>
                  </a:lnTo>
                  <a:lnTo>
                    <a:pt x="167308" y="131793"/>
                  </a:lnTo>
                  <a:lnTo>
                    <a:pt x="164050" y="132771"/>
                  </a:lnTo>
                  <a:lnTo>
                    <a:pt x="159977" y="129513"/>
                  </a:lnTo>
                  <a:lnTo>
                    <a:pt x="158836" y="120064"/>
                  </a:lnTo>
                  <a:lnTo>
                    <a:pt x="151505" y="112733"/>
                  </a:lnTo>
                  <a:lnTo>
                    <a:pt x="141894" y="107357"/>
                  </a:lnTo>
                  <a:lnTo>
                    <a:pt x="135866" y="107031"/>
                  </a:lnTo>
                  <a:lnTo>
                    <a:pt x="134563" y="109475"/>
                  </a:lnTo>
                  <a:lnTo>
                    <a:pt x="131630" y="107520"/>
                  </a:lnTo>
                  <a:lnTo>
                    <a:pt x="130164" y="100678"/>
                  </a:lnTo>
                  <a:lnTo>
                    <a:pt x="126743" y="104099"/>
                  </a:lnTo>
                  <a:lnTo>
                    <a:pt x="124137" y="100352"/>
                  </a:lnTo>
                  <a:lnTo>
                    <a:pt x="123811" y="92858"/>
                  </a:lnTo>
                  <a:lnTo>
                    <a:pt x="119250" y="86993"/>
                  </a:lnTo>
                  <a:lnTo>
                    <a:pt x="113711" y="85853"/>
                  </a:lnTo>
                  <a:lnTo>
                    <a:pt x="111755" y="82432"/>
                  </a:lnTo>
                  <a:lnTo>
                    <a:pt x="96931" y="72658"/>
                  </a:lnTo>
                  <a:lnTo>
                    <a:pt x="91881" y="72169"/>
                  </a:lnTo>
                  <a:lnTo>
                    <a:pt x="85853" y="65327"/>
                  </a:lnTo>
                  <a:lnTo>
                    <a:pt x="79825" y="64349"/>
                  </a:lnTo>
                  <a:lnTo>
                    <a:pt x="78196" y="60439"/>
                  </a:lnTo>
                  <a:lnTo>
                    <a:pt x="76893" y="52294"/>
                  </a:lnTo>
                  <a:lnTo>
                    <a:pt x="71680" y="49525"/>
                  </a:lnTo>
                  <a:lnTo>
                    <a:pt x="68748" y="43334"/>
                  </a:lnTo>
                  <a:lnTo>
                    <a:pt x="66467" y="42519"/>
                  </a:lnTo>
                  <a:lnTo>
                    <a:pt x="62720" y="35840"/>
                  </a:lnTo>
                  <a:lnTo>
                    <a:pt x="56855" y="33559"/>
                  </a:lnTo>
                  <a:lnTo>
                    <a:pt x="51479" y="33559"/>
                  </a:lnTo>
                  <a:lnTo>
                    <a:pt x="48058" y="34863"/>
                  </a:lnTo>
                  <a:lnTo>
                    <a:pt x="45289" y="33071"/>
                  </a:lnTo>
                  <a:lnTo>
                    <a:pt x="38772" y="33071"/>
                  </a:lnTo>
                  <a:cubicBezTo>
                    <a:pt x="38772" y="33071"/>
                    <a:pt x="31278" y="34863"/>
                    <a:pt x="31278" y="34863"/>
                  </a:cubicBezTo>
                  <a:lnTo>
                    <a:pt x="27532" y="32419"/>
                  </a:lnTo>
                  <a:lnTo>
                    <a:pt x="15802" y="24274"/>
                  </a:lnTo>
                  <a:lnTo>
                    <a:pt x="5376" y="22807"/>
                  </a:lnTo>
                  <a:lnTo>
                    <a:pt x="1629" y="24599"/>
                  </a:lnTo>
                  <a:close/>
                </a:path>
              </a:pathLst>
            </a:custGeom>
            <a:solidFill>
              <a:schemeClr val="bg2"/>
            </a:solidFill>
            <a:ln w="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4" name="Forma livre: Forma 203">
              <a:extLst>
                <a:ext uri="{FF2B5EF4-FFF2-40B4-BE49-F238E27FC236}">
                  <a16:creationId xmlns:a16="http://schemas.microsoft.com/office/drawing/2014/main" id="{D4C5F293-005C-2897-D63E-3DC0CBA80A12}"/>
                </a:ext>
              </a:extLst>
            </p:cNvPr>
            <p:cNvSpPr/>
            <p:nvPr/>
          </p:nvSpPr>
          <p:spPr>
            <a:xfrm>
              <a:off x="9274763" y="5200977"/>
              <a:ext cx="84343" cy="27272"/>
            </a:xfrm>
            <a:custGeom>
              <a:avLst/>
              <a:gdLst>
                <a:gd name="connsiteX0" fmla="*/ 163 w 81617"/>
                <a:gd name="connsiteY0" fmla="*/ 21993 h 26391"/>
                <a:gd name="connsiteX1" fmla="*/ 3910 w 81617"/>
                <a:gd name="connsiteY1" fmla="*/ 26391 h 26391"/>
                <a:gd name="connsiteX2" fmla="*/ 9285 w 81617"/>
                <a:gd name="connsiteY2" fmla="*/ 23622 h 26391"/>
                <a:gd name="connsiteX3" fmla="*/ 13847 w 81617"/>
                <a:gd name="connsiteY3" fmla="*/ 22807 h 26391"/>
                <a:gd name="connsiteX4" fmla="*/ 14173 w 81617"/>
                <a:gd name="connsiteY4" fmla="*/ 16291 h 26391"/>
                <a:gd name="connsiteX5" fmla="*/ 10915 w 81617"/>
                <a:gd name="connsiteY5" fmla="*/ 17268 h 26391"/>
                <a:gd name="connsiteX6" fmla="*/ 4073 w 81617"/>
                <a:gd name="connsiteY6" fmla="*/ 18083 h 26391"/>
                <a:gd name="connsiteX7" fmla="*/ 0 w 81617"/>
                <a:gd name="connsiteY7" fmla="*/ 21993 h 26391"/>
                <a:gd name="connsiteX8" fmla="*/ 0 w 81617"/>
                <a:gd name="connsiteY8" fmla="*/ 21993 h 26391"/>
                <a:gd name="connsiteX9" fmla="*/ 20852 w 81617"/>
                <a:gd name="connsiteY9" fmla="*/ 14010 h 26391"/>
                <a:gd name="connsiteX10" fmla="*/ 26065 w 81617"/>
                <a:gd name="connsiteY10" fmla="*/ 20038 h 26391"/>
                <a:gd name="connsiteX11" fmla="*/ 32256 w 81617"/>
                <a:gd name="connsiteY11" fmla="*/ 25739 h 26391"/>
                <a:gd name="connsiteX12" fmla="*/ 33071 w 81617"/>
                <a:gd name="connsiteY12" fmla="*/ 25414 h 26391"/>
                <a:gd name="connsiteX13" fmla="*/ 37795 w 81617"/>
                <a:gd name="connsiteY13" fmla="*/ 20852 h 26391"/>
                <a:gd name="connsiteX14" fmla="*/ 41867 w 81617"/>
                <a:gd name="connsiteY14" fmla="*/ 19549 h 26391"/>
                <a:gd name="connsiteX15" fmla="*/ 46592 w 81617"/>
                <a:gd name="connsiteY15" fmla="*/ 19875 h 26391"/>
                <a:gd name="connsiteX16" fmla="*/ 57181 w 81617"/>
                <a:gd name="connsiteY16" fmla="*/ 17920 h 26391"/>
                <a:gd name="connsiteX17" fmla="*/ 64349 w 81617"/>
                <a:gd name="connsiteY17" fmla="*/ 13521 h 26391"/>
                <a:gd name="connsiteX18" fmla="*/ 71680 w 81617"/>
                <a:gd name="connsiteY18" fmla="*/ 11404 h 26391"/>
                <a:gd name="connsiteX19" fmla="*/ 73635 w 81617"/>
                <a:gd name="connsiteY19" fmla="*/ 8308 h 26391"/>
                <a:gd name="connsiteX20" fmla="*/ 76567 w 81617"/>
                <a:gd name="connsiteY20" fmla="*/ 7820 h 26391"/>
                <a:gd name="connsiteX21" fmla="*/ 81617 w 81617"/>
                <a:gd name="connsiteY21" fmla="*/ 4561 h 26391"/>
                <a:gd name="connsiteX22" fmla="*/ 81617 w 81617"/>
                <a:gd name="connsiteY22" fmla="*/ 2444 h 26391"/>
                <a:gd name="connsiteX23" fmla="*/ 79337 w 81617"/>
                <a:gd name="connsiteY23" fmla="*/ 0 h 26391"/>
                <a:gd name="connsiteX24" fmla="*/ 69562 w 81617"/>
                <a:gd name="connsiteY24" fmla="*/ 2444 h 26391"/>
                <a:gd name="connsiteX25" fmla="*/ 63534 w 81617"/>
                <a:gd name="connsiteY25" fmla="*/ 2118 h 26391"/>
                <a:gd name="connsiteX26" fmla="*/ 57833 w 81617"/>
                <a:gd name="connsiteY26" fmla="*/ 3421 h 26391"/>
                <a:gd name="connsiteX27" fmla="*/ 52619 w 81617"/>
                <a:gd name="connsiteY27" fmla="*/ 3421 h 26391"/>
                <a:gd name="connsiteX28" fmla="*/ 45614 w 81617"/>
                <a:gd name="connsiteY28" fmla="*/ 4561 h 26391"/>
                <a:gd name="connsiteX29" fmla="*/ 34862 w 81617"/>
                <a:gd name="connsiteY29" fmla="*/ 4073 h 26391"/>
                <a:gd name="connsiteX30" fmla="*/ 26717 w 81617"/>
                <a:gd name="connsiteY30" fmla="*/ 11241 h 26391"/>
                <a:gd name="connsiteX31" fmla="*/ 20689 w 81617"/>
                <a:gd name="connsiteY31" fmla="*/ 14173 h 26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81617" h="26391">
                  <a:moveTo>
                    <a:pt x="163" y="21993"/>
                  </a:moveTo>
                  <a:lnTo>
                    <a:pt x="3910" y="26391"/>
                  </a:lnTo>
                  <a:lnTo>
                    <a:pt x="9285" y="23622"/>
                  </a:lnTo>
                  <a:lnTo>
                    <a:pt x="13847" y="22807"/>
                  </a:lnTo>
                  <a:lnTo>
                    <a:pt x="14173" y="16291"/>
                  </a:lnTo>
                  <a:lnTo>
                    <a:pt x="10915" y="17268"/>
                  </a:lnTo>
                  <a:lnTo>
                    <a:pt x="4073" y="18083"/>
                  </a:lnTo>
                  <a:lnTo>
                    <a:pt x="0" y="21993"/>
                  </a:lnTo>
                  <a:lnTo>
                    <a:pt x="0" y="21993"/>
                  </a:lnTo>
                  <a:close/>
                  <a:moveTo>
                    <a:pt x="20852" y="14010"/>
                  </a:moveTo>
                  <a:lnTo>
                    <a:pt x="26065" y="20038"/>
                  </a:lnTo>
                  <a:lnTo>
                    <a:pt x="32256" y="25739"/>
                  </a:lnTo>
                  <a:lnTo>
                    <a:pt x="33071" y="25414"/>
                  </a:lnTo>
                  <a:lnTo>
                    <a:pt x="37795" y="20852"/>
                  </a:lnTo>
                  <a:lnTo>
                    <a:pt x="41867" y="19549"/>
                  </a:lnTo>
                  <a:lnTo>
                    <a:pt x="46592" y="19875"/>
                  </a:lnTo>
                  <a:lnTo>
                    <a:pt x="57181" y="17920"/>
                  </a:lnTo>
                  <a:lnTo>
                    <a:pt x="64349" y="13521"/>
                  </a:lnTo>
                  <a:lnTo>
                    <a:pt x="71680" y="11404"/>
                  </a:lnTo>
                  <a:lnTo>
                    <a:pt x="73635" y="8308"/>
                  </a:lnTo>
                  <a:lnTo>
                    <a:pt x="76567" y="7820"/>
                  </a:lnTo>
                  <a:lnTo>
                    <a:pt x="81617" y="4561"/>
                  </a:lnTo>
                  <a:lnTo>
                    <a:pt x="81617" y="2444"/>
                  </a:lnTo>
                  <a:cubicBezTo>
                    <a:pt x="81617" y="2444"/>
                    <a:pt x="79337" y="0"/>
                    <a:pt x="79337" y="0"/>
                  </a:cubicBezTo>
                  <a:lnTo>
                    <a:pt x="69562" y="2444"/>
                  </a:lnTo>
                  <a:lnTo>
                    <a:pt x="63534" y="2118"/>
                  </a:lnTo>
                  <a:lnTo>
                    <a:pt x="57833" y="3421"/>
                  </a:lnTo>
                  <a:lnTo>
                    <a:pt x="52619" y="3421"/>
                  </a:lnTo>
                  <a:lnTo>
                    <a:pt x="45614" y="4561"/>
                  </a:lnTo>
                  <a:lnTo>
                    <a:pt x="34862" y="4073"/>
                  </a:lnTo>
                  <a:lnTo>
                    <a:pt x="26717" y="11241"/>
                  </a:lnTo>
                  <a:lnTo>
                    <a:pt x="20689" y="14173"/>
                  </a:lnTo>
                  <a:close/>
                </a:path>
              </a:pathLst>
            </a:custGeom>
            <a:solidFill>
              <a:schemeClr val="bg2"/>
            </a:solidFill>
            <a:ln w="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5" name="Forma livre: Forma 204">
              <a:extLst>
                <a:ext uri="{FF2B5EF4-FFF2-40B4-BE49-F238E27FC236}">
                  <a16:creationId xmlns:a16="http://schemas.microsoft.com/office/drawing/2014/main" id="{3529708B-69A9-1804-6A8A-AE57D9E665BE}"/>
                </a:ext>
              </a:extLst>
            </p:cNvPr>
            <p:cNvSpPr/>
            <p:nvPr/>
          </p:nvSpPr>
          <p:spPr>
            <a:xfrm>
              <a:off x="8645131" y="4763770"/>
              <a:ext cx="507745" cy="179460"/>
            </a:xfrm>
            <a:custGeom>
              <a:avLst/>
              <a:gdLst>
                <a:gd name="connsiteX0" fmla="*/ 296658 w 491334"/>
                <a:gd name="connsiteY0" fmla="*/ 125929 h 173660"/>
                <a:gd name="connsiteX1" fmla="*/ 296658 w 491334"/>
                <a:gd name="connsiteY1" fmla="*/ 130001 h 173660"/>
                <a:gd name="connsiteX2" fmla="*/ 295517 w 491334"/>
                <a:gd name="connsiteY2" fmla="*/ 130490 h 173660"/>
                <a:gd name="connsiteX3" fmla="*/ 294866 w 491334"/>
                <a:gd name="connsiteY3" fmla="*/ 129024 h 173660"/>
                <a:gd name="connsiteX4" fmla="*/ 296658 w 491334"/>
                <a:gd name="connsiteY4" fmla="*/ 125766 h 173660"/>
                <a:gd name="connsiteX5" fmla="*/ 296658 w 491334"/>
                <a:gd name="connsiteY5" fmla="*/ 126092 h 173660"/>
                <a:gd name="connsiteX6" fmla="*/ 296658 w 491334"/>
                <a:gd name="connsiteY6" fmla="*/ 126092 h 173660"/>
                <a:gd name="connsiteX7" fmla="*/ 0 w 491334"/>
                <a:gd name="connsiteY7" fmla="*/ 46918 h 173660"/>
                <a:gd name="connsiteX8" fmla="*/ 978 w 491334"/>
                <a:gd name="connsiteY8" fmla="*/ 52131 h 173660"/>
                <a:gd name="connsiteX9" fmla="*/ 3747 w 491334"/>
                <a:gd name="connsiteY9" fmla="*/ 55878 h 173660"/>
                <a:gd name="connsiteX10" fmla="*/ 5702 w 491334"/>
                <a:gd name="connsiteY10" fmla="*/ 54412 h 173660"/>
                <a:gd name="connsiteX11" fmla="*/ 4725 w 491334"/>
                <a:gd name="connsiteY11" fmla="*/ 50990 h 173660"/>
                <a:gd name="connsiteX12" fmla="*/ 2118 w 491334"/>
                <a:gd name="connsiteY12" fmla="*/ 47406 h 173660"/>
                <a:gd name="connsiteX13" fmla="*/ 0 w 491334"/>
                <a:gd name="connsiteY13" fmla="*/ 46918 h 173660"/>
                <a:gd name="connsiteX14" fmla="*/ 0 w 491334"/>
                <a:gd name="connsiteY14" fmla="*/ 46918 h 173660"/>
                <a:gd name="connsiteX15" fmla="*/ 249251 w 491334"/>
                <a:gd name="connsiteY15" fmla="*/ 146292 h 173660"/>
                <a:gd name="connsiteX16" fmla="*/ 254465 w 491334"/>
                <a:gd name="connsiteY16" fmla="*/ 155578 h 173660"/>
                <a:gd name="connsiteX17" fmla="*/ 262610 w 491334"/>
                <a:gd name="connsiteY17" fmla="*/ 161443 h 173660"/>
                <a:gd name="connsiteX18" fmla="*/ 263424 w 491334"/>
                <a:gd name="connsiteY18" fmla="*/ 163561 h 173660"/>
                <a:gd name="connsiteX19" fmla="*/ 269289 w 491334"/>
                <a:gd name="connsiteY19" fmla="*/ 168937 h 173660"/>
                <a:gd name="connsiteX20" fmla="*/ 271407 w 491334"/>
                <a:gd name="connsiteY20" fmla="*/ 173172 h 173660"/>
                <a:gd name="connsiteX21" fmla="*/ 275154 w 491334"/>
                <a:gd name="connsiteY21" fmla="*/ 173661 h 173660"/>
                <a:gd name="connsiteX22" fmla="*/ 282485 w 491334"/>
                <a:gd name="connsiteY22" fmla="*/ 171706 h 173660"/>
                <a:gd name="connsiteX23" fmla="*/ 283299 w 491334"/>
                <a:gd name="connsiteY23" fmla="*/ 168774 h 173660"/>
                <a:gd name="connsiteX24" fmla="*/ 289652 w 491334"/>
                <a:gd name="connsiteY24" fmla="*/ 169263 h 173660"/>
                <a:gd name="connsiteX25" fmla="*/ 293236 w 491334"/>
                <a:gd name="connsiteY25" fmla="*/ 167471 h 173660"/>
                <a:gd name="connsiteX26" fmla="*/ 307247 w 491334"/>
                <a:gd name="connsiteY26" fmla="*/ 168285 h 173660"/>
                <a:gd name="connsiteX27" fmla="*/ 321420 w 491334"/>
                <a:gd name="connsiteY27" fmla="*/ 162583 h 173660"/>
                <a:gd name="connsiteX28" fmla="*/ 325167 w 491334"/>
                <a:gd name="connsiteY28" fmla="*/ 159325 h 173660"/>
                <a:gd name="connsiteX29" fmla="*/ 337548 w 491334"/>
                <a:gd name="connsiteY29" fmla="*/ 158999 h 173660"/>
                <a:gd name="connsiteX30" fmla="*/ 344065 w 491334"/>
                <a:gd name="connsiteY30" fmla="*/ 162095 h 173660"/>
                <a:gd name="connsiteX31" fmla="*/ 346019 w 491334"/>
                <a:gd name="connsiteY31" fmla="*/ 165190 h 173660"/>
                <a:gd name="connsiteX32" fmla="*/ 352047 w 491334"/>
                <a:gd name="connsiteY32" fmla="*/ 165190 h 173660"/>
                <a:gd name="connsiteX33" fmla="*/ 362473 w 491334"/>
                <a:gd name="connsiteY33" fmla="*/ 159325 h 173660"/>
                <a:gd name="connsiteX34" fmla="*/ 374691 w 491334"/>
                <a:gd name="connsiteY34" fmla="*/ 157533 h 173660"/>
                <a:gd name="connsiteX35" fmla="*/ 374040 w 491334"/>
                <a:gd name="connsiteY35" fmla="*/ 153623 h 173660"/>
                <a:gd name="connsiteX36" fmla="*/ 384140 w 491334"/>
                <a:gd name="connsiteY36" fmla="*/ 138310 h 173660"/>
                <a:gd name="connsiteX37" fmla="*/ 388213 w 491334"/>
                <a:gd name="connsiteY37" fmla="*/ 127395 h 173660"/>
                <a:gd name="connsiteX38" fmla="*/ 395870 w 491334"/>
                <a:gd name="connsiteY38" fmla="*/ 115828 h 173660"/>
                <a:gd name="connsiteX39" fmla="*/ 401408 w 491334"/>
                <a:gd name="connsiteY39" fmla="*/ 96116 h 173660"/>
                <a:gd name="connsiteX40" fmla="*/ 401408 w 491334"/>
                <a:gd name="connsiteY40" fmla="*/ 92206 h 173660"/>
                <a:gd name="connsiteX41" fmla="*/ 404015 w 491334"/>
                <a:gd name="connsiteY41" fmla="*/ 87808 h 173660"/>
                <a:gd name="connsiteX42" fmla="*/ 403689 w 491334"/>
                <a:gd name="connsiteY42" fmla="*/ 84550 h 173660"/>
                <a:gd name="connsiteX43" fmla="*/ 409065 w 491334"/>
                <a:gd name="connsiteY43" fmla="*/ 78033 h 173660"/>
                <a:gd name="connsiteX44" fmla="*/ 413301 w 491334"/>
                <a:gd name="connsiteY44" fmla="*/ 79825 h 173660"/>
                <a:gd name="connsiteX45" fmla="*/ 421446 w 491334"/>
                <a:gd name="connsiteY45" fmla="*/ 79174 h 173660"/>
                <a:gd name="connsiteX46" fmla="*/ 432687 w 491334"/>
                <a:gd name="connsiteY46" fmla="*/ 79174 h 173660"/>
                <a:gd name="connsiteX47" fmla="*/ 435456 w 491334"/>
                <a:gd name="connsiteY47" fmla="*/ 81455 h 173660"/>
                <a:gd name="connsiteX48" fmla="*/ 442624 w 491334"/>
                <a:gd name="connsiteY48" fmla="*/ 81455 h 173660"/>
                <a:gd name="connsiteX49" fmla="*/ 448163 w 491334"/>
                <a:gd name="connsiteY49" fmla="*/ 82921 h 173660"/>
                <a:gd name="connsiteX50" fmla="*/ 448652 w 491334"/>
                <a:gd name="connsiteY50" fmla="*/ 80640 h 173660"/>
                <a:gd name="connsiteX51" fmla="*/ 454680 w 491334"/>
                <a:gd name="connsiteY51" fmla="*/ 84713 h 173660"/>
                <a:gd name="connsiteX52" fmla="*/ 458915 w 491334"/>
                <a:gd name="connsiteY52" fmla="*/ 85853 h 173660"/>
                <a:gd name="connsiteX53" fmla="*/ 464291 w 491334"/>
                <a:gd name="connsiteY53" fmla="*/ 83084 h 173660"/>
                <a:gd name="connsiteX54" fmla="*/ 470970 w 491334"/>
                <a:gd name="connsiteY54" fmla="*/ 81780 h 173660"/>
                <a:gd name="connsiteX55" fmla="*/ 470970 w 491334"/>
                <a:gd name="connsiteY55" fmla="*/ 78848 h 173660"/>
                <a:gd name="connsiteX56" fmla="*/ 464129 w 491334"/>
                <a:gd name="connsiteY56" fmla="*/ 73146 h 173660"/>
                <a:gd name="connsiteX57" fmla="*/ 464129 w 491334"/>
                <a:gd name="connsiteY57" fmla="*/ 66467 h 173660"/>
                <a:gd name="connsiteX58" fmla="*/ 467224 w 491334"/>
                <a:gd name="connsiteY58" fmla="*/ 64186 h 173660"/>
                <a:gd name="connsiteX59" fmla="*/ 477487 w 491334"/>
                <a:gd name="connsiteY59" fmla="*/ 65164 h 173660"/>
                <a:gd name="connsiteX60" fmla="*/ 485958 w 491334"/>
                <a:gd name="connsiteY60" fmla="*/ 63209 h 173660"/>
                <a:gd name="connsiteX61" fmla="*/ 491334 w 491334"/>
                <a:gd name="connsiteY61" fmla="*/ 59136 h 173660"/>
                <a:gd name="connsiteX62" fmla="*/ 490194 w 491334"/>
                <a:gd name="connsiteY62" fmla="*/ 55063 h 173660"/>
                <a:gd name="connsiteX63" fmla="*/ 486121 w 491334"/>
                <a:gd name="connsiteY63" fmla="*/ 55063 h 173660"/>
                <a:gd name="connsiteX64" fmla="*/ 480256 w 491334"/>
                <a:gd name="connsiteY64" fmla="*/ 53923 h 173660"/>
                <a:gd name="connsiteX65" fmla="*/ 475858 w 491334"/>
                <a:gd name="connsiteY65" fmla="*/ 49850 h 173660"/>
                <a:gd name="connsiteX66" fmla="*/ 471459 w 491334"/>
                <a:gd name="connsiteY66" fmla="*/ 50176 h 173660"/>
                <a:gd name="connsiteX67" fmla="*/ 465269 w 491334"/>
                <a:gd name="connsiteY67" fmla="*/ 44148 h 173660"/>
                <a:gd name="connsiteX68" fmla="*/ 461848 w 491334"/>
                <a:gd name="connsiteY68" fmla="*/ 44148 h 173660"/>
                <a:gd name="connsiteX69" fmla="*/ 457775 w 491334"/>
                <a:gd name="connsiteY69" fmla="*/ 48058 h 173660"/>
                <a:gd name="connsiteX70" fmla="*/ 455331 w 491334"/>
                <a:gd name="connsiteY70" fmla="*/ 45777 h 173660"/>
                <a:gd name="connsiteX71" fmla="*/ 460870 w 491334"/>
                <a:gd name="connsiteY71" fmla="*/ 41053 h 173660"/>
                <a:gd name="connsiteX72" fmla="*/ 458101 w 491334"/>
                <a:gd name="connsiteY72" fmla="*/ 37795 h 173660"/>
                <a:gd name="connsiteX73" fmla="*/ 455820 w 491334"/>
                <a:gd name="connsiteY73" fmla="*/ 38447 h 173660"/>
                <a:gd name="connsiteX74" fmla="*/ 452399 w 491334"/>
                <a:gd name="connsiteY74" fmla="*/ 43171 h 173660"/>
                <a:gd name="connsiteX75" fmla="*/ 450118 w 491334"/>
                <a:gd name="connsiteY75" fmla="*/ 40401 h 173660"/>
                <a:gd name="connsiteX76" fmla="*/ 448163 w 491334"/>
                <a:gd name="connsiteY76" fmla="*/ 39424 h 173660"/>
                <a:gd name="connsiteX77" fmla="*/ 448163 w 491334"/>
                <a:gd name="connsiteY77" fmla="*/ 31930 h 173660"/>
                <a:gd name="connsiteX78" fmla="*/ 452725 w 491334"/>
                <a:gd name="connsiteY78" fmla="*/ 30301 h 173660"/>
                <a:gd name="connsiteX79" fmla="*/ 452725 w 491334"/>
                <a:gd name="connsiteY79" fmla="*/ 27043 h 173660"/>
                <a:gd name="connsiteX80" fmla="*/ 446534 w 491334"/>
                <a:gd name="connsiteY80" fmla="*/ 22970 h 173660"/>
                <a:gd name="connsiteX81" fmla="*/ 444254 w 491334"/>
                <a:gd name="connsiteY81" fmla="*/ 24436 h 173660"/>
                <a:gd name="connsiteX82" fmla="*/ 439529 w 491334"/>
                <a:gd name="connsiteY82" fmla="*/ 20038 h 173660"/>
                <a:gd name="connsiteX83" fmla="*/ 439529 w 491334"/>
                <a:gd name="connsiteY83" fmla="*/ 13033 h 173660"/>
                <a:gd name="connsiteX84" fmla="*/ 434153 w 491334"/>
                <a:gd name="connsiteY84" fmla="*/ 9774 h 173660"/>
                <a:gd name="connsiteX85" fmla="*/ 431709 w 491334"/>
                <a:gd name="connsiteY85" fmla="*/ 11241 h 173660"/>
                <a:gd name="connsiteX86" fmla="*/ 433176 w 491334"/>
                <a:gd name="connsiteY86" fmla="*/ 15802 h 173660"/>
                <a:gd name="connsiteX87" fmla="*/ 427637 w 491334"/>
                <a:gd name="connsiteY87" fmla="*/ 21178 h 173660"/>
                <a:gd name="connsiteX88" fmla="*/ 425356 w 491334"/>
                <a:gd name="connsiteY88" fmla="*/ 20852 h 173660"/>
                <a:gd name="connsiteX89" fmla="*/ 426985 w 491334"/>
                <a:gd name="connsiteY89" fmla="*/ 16291 h 173660"/>
                <a:gd name="connsiteX90" fmla="*/ 426008 w 491334"/>
                <a:gd name="connsiteY90" fmla="*/ 12055 h 173660"/>
                <a:gd name="connsiteX91" fmla="*/ 422749 w 491334"/>
                <a:gd name="connsiteY91" fmla="*/ 12055 h 173660"/>
                <a:gd name="connsiteX92" fmla="*/ 419329 w 491334"/>
                <a:gd name="connsiteY92" fmla="*/ 23296 h 173660"/>
                <a:gd name="connsiteX93" fmla="*/ 415581 w 491334"/>
                <a:gd name="connsiteY93" fmla="*/ 24273 h 173660"/>
                <a:gd name="connsiteX94" fmla="*/ 410206 w 491334"/>
                <a:gd name="connsiteY94" fmla="*/ 36655 h 173660"/>
                <a:gd name="connsiteX95" fmla="*/ 409228 w 491334"/>
                <a:gd name="connsiteY95" fmla="*/ 43334 h 173660"/>
                <a:gd name="connsiteX96" fmla="*/ 399942 w 491334"/>
                <a:gd name="connsiteY96" fmla="*/ 53108 h 173660"/>
                <a:gd name="connsiteX97" fmla="*/ 395543 w 491334"/>
                <a:gd name="connsiteY97" fmla="*/ 53108 h 173660"/>
                <a:gd name="connsiteX98" fmla="*/ 388213 w 491334"/>
                <a:gd name="connsiteY98" fmla="*/ 55878 h 173660"/>
                <a:gd name="connsiteX99" fmla="*/ 385606 w 491334"/>
                <a:gd name="connsiteY99" fmla="*/ 59136 h 173660"/>
                <a:gd name="connsiteX100" fmla="*/ 388376 w 491334"/>
                <a:gd name="connsiteY100" fmla="*/ 59136 h 173660"/>
                <a:gd name="connsiteX101" fmla="*/ 386584 w 491334"/>
                <a:gd name="connsiteY101" fmla="*/ 61742 h 173660"/>
                <a:gd name="connsiteX102" fmla="*/ 389027 w 491334"/>
                <a:gd name="connsiteY102" fmla="*/ 62720 h 173660"/>
                <a:gd name="connsiteX103" fmla="*/ 394892 w 491334"/>
                <a:gd name="connsiteY103" fmla="*/ 61091 h 173660"/>
                <a:gd name="connsiteX104" fmla="*/ 392449 w 491334"/>
                <a:gd name="connsiteY104" fmla="*/ 64838 h 173660"/>
                <a:gd name="connsiteX105" fmla="*/ 388376 w 491334"/>
                <a:gd name="connsiteY105" fmla="*/ 66793 h 173660"/>
                <a:gd name="connsiteX106" fmla="*/ 387724 w 491334"/>
                <a:gd name="connsiteY106" fmla="*/ 67770 h 173660"/>
                <a:gd name="connsiteX107" fmla="*/ 388213 w 491334"/>
                <a:gd name="connsiteY107" fmla="*/ 69725 h 173660"/>
                <a:gd name="connsiteX108" fmla="*/ 391308 w 491334"/>
                <a:gd name="connsiteY108" fmla="*/ 78522 h 173660"/>
                <a:gd name="connsiteX109" fmla="*/ 389027 w 491334"/>
                <a:gd name="connsiteY109" fmla="*/ 82921 h 173660"/>
                <a:gd name="connsiteX110" fmla="*/ 385606 w 491334"/>
                <a:gd name="connsiteY110" fmla="*/ 80966 h 173660"/>
                <a:gd name="connsiteX111" fmla="*/ 385117 w 491334"/>
                <a:gd name="connsiteY111" fmla="*/ 74612 h 173660"/>
                <a:gd name="connsiteX112" fmla="*/ 383977 w 491334"/>
                <a:gd name="connsiteY112" fmla="*/ 70051 h 173660"/>
                <a:gd name="connsiteX113" fmla="*/ 383000 w 491334"/>
                <a:gd name="connsiteY113" fmla="*/ 70051 h 173660"/>
                <a:gd name="connsiteX114" fmla="*/ 383000 w 491334"/>
                <a:gd name="connsiteY114" fmla="*/ 69236 h 173660"/>
                <a:gd name="connsiteX115" fmla="*/ 380719 w 491334"/>
                <a:gd name="connsiteY115" fmla="*/ 69562 h 173660"/>
                <a:gd name="connsiteX116" fmla="*/ 377949 w 491334"/>
                <a:gd name="connsiteY116" fmla="*/ 73635 h 173660"/>
                <a:gd name="connsiteX117" fmla="*/ 379742 w 491334"/>
                <a:gd name="connsiteY117" fmla="*/ 85039 h 173660"/>
                <a:gd name="connsiteX118" fmla="*/ 377135 w 491334"/>
                <a:gd name="connsiteY118" fmla="*/ 86342 h 173660"/>
                <a:gd name="connsiteX119" fmla="*/ 372085 w 491334"/>
                <a:gd name="connsiteY119" fmla="*/ 82432 h 173660"/>
                <a:gd name="connsiteX120" fmla="*/ 367686 w 491334"/>
                <a:gd name="connsiteY120" fmla="*/ 74938 h 173660"/>
                <a:gd name="connsiteX121" fmla="*/ 365079 w 491334"/>
                <a:gd name="connsiteY121" fmla="*/ 74612 h 173660"/>
                <a:gd name="connsiteX122" fmla="*/ 361170 w 491334"/>
                <a:gd name="connsiteY122" fmla="*/ 72820 h 173660"/>
                <a:gd name="connsiteX123" fmla="*/ 357749 w 491334"/>
                <a:gd name="connsiteY123" fmla="*/ 77219 h 173660"/>
                <a:gd name="connsiteX124" fmla="*/ 357749 w 491334"/>
                <a:gd name="connsiteY124" fmla="*/ 83247 h 173660"/>
                <a:gd name="connsiteX125" fmla="*/ 350906 w 491334"/>
                <a:gd name="connsiteY125" fmla="*/ 88948 h 173660"/>
                <a:gd name="connsiteX126" fmla="*/ 348463 w 491334"/>
                <a:gd name="connsiteY126" fmla="*/ 94161 h 173660"/>
                <a:gd name="connsiteX127" fmla="*/ 341295 w 491334"/>
                <a:gd name="connsiteY127" fmla="*/ 101004 h 173660"/>
                <a:gd name="connsiteX128" fmla="*/ 339666 w 491334"/>
                <a:gd name="connsiteY128" fmla="*/ 105565 h 173660"/>
                <a:gd name="connsiteX129" fmla="*/ 333475 w 491334"/>
                <a:gd name="connsiteY129" fmla="*/ 113222 h 173660"/>
                <a:gd name="connsiteX130" fmla="*/ 326633 w 491334"/>
                <a:gd name="connsiteY130" fmla="*/ 119087 h 173660"/>
                <a:gd name="connsiteX131" fmla="*/ 305781 w 491334"/>
                <a:gd name="connsiteY131" fmla="*/ 123974 h 173660"/>
                <a:gd name="connsiteX132" fmla="*/ 303500 w 491334"/>
                <a:gd name="connsiteY132" fmla="*/ 125114 h 173660"/>
                <a:gd name="connsiteX133" fmla="*/ 304966 w 491334"/>
                <a:gd name="connsiteY133" fmla="*/ 131793 h 173660"/>
                <a:gd name="connsiteX134" fmla="*/ 307410 w 491334"/>
                <a:gd name="connsiteY134" fmla="*/ 134563 h 173660"/>
                <a:gd name="connsiteX135" fmla="*/ 304152 w 491334"/>
                <a:gd name="connsiteY135" fmla="*/ 133422 h 173660"/>
                <a:gd name="connsiteX136" fmla="*/ 300568 w 491334"/>
                <a:gd name="connsiteY136" fmla="*/ 135377 h 173660"/>
                <a:gd name="connsiteX137" fmla="*/ 294540 w 491334"/>
                <a:gd name="connsiteY137" fmla="*/ 136029 h 173660"/>
                <a:gd name="connsiteX138" fmla="*/ 291770 w 491334"/>
                <a:gd name="connsiteY138" fmla="*/ 139450 h 173660"/>
                <a:gd name="connsiteX139" fmla="*/ 290142 w 491334"/>
                <a:gd name="connsiteY139" fmla="*/ 144826 h 173660"/>
                <a:gd name="connsiteX140" fmla="*/ 290142 w 491334"/>
                <a:gd name="connsiteY140" fmla="*/ 152157 h 173660"/>
                <a:gd name="connsiteX141" fmla="*/ 285580 w 491334"/>
                <a:gd name="connsiteY141" fmla="*/ 158185 h 173660"/>
                <a:gd name="connsiteX142" fmla="*/ 285580 w 491334"/>
                <a:gd name="connsiteY142" fmla="*/ 160140 h 173660"/>
                <a:gd name="connsiteX143" fmla="*/ 275643 w 491334"/>
                <a:gd name="connsiteY143" fmla="*/ 158836 h 173660"/>
                <a:gd name="connsiteX144" fmla="*/ 265054 w 491334"/>
                <a:gd name="connsiteY144" fmla="*/ 154927 h 173660"/>
                <a:gd name="connsiteX145" fmla="*/ 257722 w 491334"/>
                <a:gd name="connsiteY145" fmla="*/ 154927 h 173660"/>
                <a:gd name="connsiteX146" fmla="*/ 254953 w 491334"/>
                <a:gd name="connsiteY146" fmla="*/ 151017 h 173660"/>
                <a:gd name="connsiteX147" fmla="*/ 250554 w 491334"/>
                <a:gd name="connsiteY147" fmla="*/ 145966 h 173660"/>
                <a:gd name="connsiteX148" fmla="*/ 248600 w 491334"/>
                <a:gd name="connsiteY148" fmla="*/ 146618 h 173660"/>
                <a:gd name="connsiteX149" fmla="*/ 248600 w 491334"/>
                <a:gd name="connsiteY149" fmla="*/ 146618 h 173660"/>
                <a:gd name="connsiteX150" fmla="*/ 431384 w 491334"/>
                <a:gd name="connsiteY150" fmla="*/ 0 h 173660"/>
                <a:gd name="connsiteX151" fmla="*/ 424867 w 491334"/>
                <a:gd name="connsiteY151" fmla="*/ 3910 h 173660"/>
                <a:gd name="connsiteX152" fmla="*/ 428125 w 491334"/>
                <a:gd name="connsiteY152" fmla="*/ 3910 h 173660"/>
                <a:gd name="connsiteX153" fmla="*/ 431384 w 491334"/>
                <a:gd name="connsiteY153" fmla="*/ 1955 h 173660"/>
                <a:gd name="connsiteX154" fmla="*/ 431384 w 491334"/>
                <a:gd name="connsiteY154" fmla="*/ 163 h 173660"/>
                <a:gd name="connsiteX155" fmla="*/ 431384 w 491334"/>
                <a:gd name="connsiteY155" fmla="*/ 163 h 173660"/>
                <a:gd name="connsiteX156" fmla="*/ 437900 w 491334"/>
                <a:gd name="connsiteY156" fmla="*/ 163 h 173660"/>
                <a:gd name="connsiteX157" fmla="*/ 433338 w 491334"/>
                <a:gd name="connsiteY157" fmla="*/ 4561 h 173660"/>
                <a:gd name="connsiteX158" fmla="*/ 434479 w 491334"/>
                <a:gd name="connsiteY158" fmla="*/ 6190 h 173660"/>
                <a:gd name="connsiteX159" fmla="*/ 440018 w 491334"/>
                <a:gd name="connsiteY159" fmla="*/ 4561 h 173660"/>
                <a:gd name="connsiteX160" fmla="*/ 440018 w 491334"/>
                <a:gd name="connsiteY160" fmla="*/ 814 h 173660"/>
                <a:gd name="connsiteX161" fmla="*/ 437900 w 491334"/>
                <a:gd name="connsiteY161" fmla="*/ 163 h 173660"/>
                <a:gd name="connsiteX162" fmla="*/ 437900 w 491334"/>
                <a:gd name="connsiteY162" fmla="*/ 163 h 173660"/>
                <a:gd name="connsiteX163" fmla="*/ 296169 w 491334"/>
                <a:gd name="connsiteY163" fmla="*/ 134400 h 173660"/>
                <a:gd name="connsiteX164" fmla="*/ 291933 w 491334"/>
                <a:gd name="connsiteY164" fmla="*/ 136192 h 173660"/>
                <a:gd name="connsiteX165" fmla="*/ 294866 w 491334"/>
                <a:gd name="connsiteY165" fmla="*/ 131956 h 173660"/>
                <a:gd name="connsiteX166" fmla="*/ 296169 w 491334"/>
                <a:gd name="connsiteY166" fmla="*/ 134400 h 173660"/>
                <a:gd name="connsiteX167" fmla="*/ 296169 w 491334"/>
                <a:gd name="connsiteY167" fmla="*/ 134400 h 173660"/>
                <a:gd name="connsiteX168" fmla="*/ 300079 w 491334"/>
                <a:gd name="connsiteY168" fmla="*/ 133097 h 173660"/>
                <a:gd name="connsiteX169" fmla="*/ 297309 w 491334"/>
                <a:gd name="connsiteY169" fmla="*/ 134237 h 173660"/>
                <a:gd name="connsiteX170" fmla="*/ 296332 w 491334"/>
                <a:gd name="connsiteY170" fmla="*/ 131956 h 173660"/>
                <a:gd name="connsiteX171" fmla="*/ 297309 w 491334"/>
                <a:gd name="connsiteY171" fmla="*/ 130653 h 173660"/>
                <a:gd name="connsiteX172" fmla="*/ 300242 w 491334"/>
                <a:gd name="connsiteY172" fmla="*/ 132934 h 173660"/>
                <a:gd name="connsiteX173" fmla="*/ 300242 w 491334"/>
                <a:gd name="connsiteY173" fmla="*/ 132934 h 173660"/>
                <a:gd name="connsiteX174" fmla="*/ 302849 w 491334"/>
                <a:gd name="connsiteY174" fmla="*/ 124951 h 173660"/>
                <a:gd name="connsiteX175" fmla="*/ 304477 w 491334"/>
                <a:gd name="connsiteY175" fmla="*/ 130816 h 173660"/>
                <a:gd name="connsiteX176" fmla="*/ 301219 w 491334"/>
                <a:gd name="connsiteY176" fmla="*/ 132445 h 173660"/>
                <a:gd name="connsiteX177" fmla="*/ 297472 w 491334"/>
                <a:gd name="connsiteY177" fmla="*/ 128861 h 173660"/>
                <a:gd name="connsiteX178" fmla="*/ 297472 w 491334"/>
                <a:gd name="connsiteY178" fmla="*/ 126255 h 173660"/>
                <a:gd name="connsiteX179" fmla="*/ 298938 w 491334"/>
                <a:gd name="connsiteY179" fmla="*/ 125929 h 173660"/>
                <a:gd name="connsiteX180" fmla="*/ 299265 w 491334"/>
                <a:gd name="connsiteY180" fmla="*/ 125929 h 173660"/>
                <a:gd name="connsiteX181" fmla="*/ 302685 w 491334"/>
                <a:gd name="connsiteY181" fmla="*/ 124951 h 173660"/>
                <a:gd name="connsiteX182" fmla="*/ 302685 w 491334"/>
                <a:gd name="connsiteY182" fmla="*/ 124951 h 173660"/>
                <a:gd name="connsiteX183" fmla="*/ 978 w 491334"/>
                <a:gd name="connsiteY183" fmla="*/ 24925 h 173660"/>
                <a:gd name="connsiteX184" fmla="*/ 2607 w 491334"/>
                <a:gd name="connsiteY184" fmla="*/ 19060 h 173660"/>
                <a:gd name="connsiteX185" fmla="*/ 5865 w 491334"/>
                <a:gd name="connsiteY185" fmla="*/ 14825 h 173660"/>
                <a:gd name="connsiteX186" fmla="*/ 10589 w 491334"/>
                <a:gd name="connsiteY186" fmla="*/ 19060 h 173660"/>
                <a:gd name="connsiteX187" fmla="*/ 17594 w 491334"/>
                <a:gd name="connsiteY187" fmla="*/ 21015 h 173660"/>
                <a:gd name="connsiteX188" fmla="*/ 18898 w 491334"/>
                <a:gd name="connsiteY188" fmla="*/ 23948 h 173660"/>
                <a:gd name="connsiteX189" fmla="*/ 24274 w 491334"/>
                <a:gd name="connsiteY189" fmla="*/ 23948 h 173660"/>
                <a:gd name="connsiteX190" fmla="*/ 27532 w 491334"/>
                <a:gd name="connsiteY190" fmla="*/ 27206 h 173660"/>
                <a:gd name="connsiteX191" fmla="*/ 26880 w 491334"/>
                <a:gd name="connsiteY191" fmla="*/ 34537 h 173660"/>
                <a:gd name="connsiteX192" fmla="*/ 23948 w 491334"/>
                <a:gd name="connsiteY192" fmla="*/ 38284 h 173660"/>
                <a:gd name="connsiteX193" fmla="*/ 23948 w 491334"/>
                <a:gd name="connsiteY193" fmla="*/ 42031 h 173660"/>
                <a:gd name="connsiteX194" fmla="*/ 30627 w 491334"/>
                <a:gd name="connsiteY194" fmla="*/ 43660 h 173660"/>
                <a:gd name="connsiteX195" fmla="*/ 36329 w 491334"/>
                <a:gd name="connsiteY195" fmla="*/ 38609 h 173660"/>
                <a:gd name="connsiteX196" fmla="*/ 40890 w 491334"/>
                <a:gd name="connsiteY196" fmla="*/ 38121 h 173660"/>
                <a:gd name="connsiteX197" fmla="*/ 44311 w 491334"/>
                <a:gd name="connsiteY197" fmla="*/ 41053 h 173660"/>
                <a:gd name="connsiteX198" fmla="*/ 47895 w 491334"/>
                <a:gd name="connsiteY198" fmla="*/ 38447 h 173660"/>
                <a:gd name="connsiteX199" fmla="*/ 47895 w 491334"/>
                <a:gd name="connsiteY199" fmla="*/ 33885 h 173660"/>
                <a:gd name="connsiteX200" fmla="*/ 49036 w 491334"/>
                <a:gd name="connsiteY200" fmla="*/ 32582 h 173660"/>
                <a:gd name="connsiteX201" fmla="*/ 49036 w 491334"/>
                <a:gd name="connsiteY201" fmla="*/ 32582 h 173660"/>
                <a:gd name="connsiteX202" fmla="*/ 52783 w 491334"/>
                <a:gd name="connsiteY202" fmla="*/ 32582 h 173660"/>
                <a:gd name="connsiteX203" fmla="*/ 55063 w 491334"/>
                <a:gd name="connsiteY203" fmla="*/ 30138 h 173660"/>
                <a:gd name="connsiteX204" fmla="*/ 57181 w 491334"/>
                <a:gd name="connsiteY204" fmla="*/ 29487 h 173660"/>
                <a:gd name="connsiteX205" fmla="*/ 61091 w 491334"/>
                <a:gd name="connsiteY205" fmla="*/ 36491 h 173660"/>
                <a:gd name="connsiteX206" fmla="*/ 79663 w 491334"/>
                <a:gd name="connsiteY206" fmla="*/ 55389 h 173660"/>
                <a:gd name="connsiteX207" fmla="*/ 85202 w 491334"/>
                <a:gd name="connsiteY207" fmla="*/ 64349 h 173660"/>
                <a:gd name="connsiteX208" fmla="*/ 87645 w 491334"/>
                <a:gd name="connsiteY208" fmla="*/ 74775 h 173660"/>
                <a:gd name="connsiteX209" fmla="*/ 85527 w 491334"/>
                <a:gd name="connsiteY209" fmla="*/ 77545 h 173660"/>
                <a:gd name="connsiteX210" fmla="*/ 86179 w 491334"/>
                <a:gd name="connsiteY210" fmla="*/ 90089 h 173660"/>
                <a:gd name="connsiteX211" fmla="*/ 84876 w 491334"/>
                <a:gd name="connsiteY211" fmla="*/ 92369 h 173660"/>
                <a:gd name="connsiteX212" fmla="*/ 84876 w 491334"/>
                <a:gd name="connsiteY212" fmla="*/ 96768 h 173660"/>
                <a:gd name="connsiteX213" fmla="*/ 86831 w 491334"/>
                <a:gd name="connsiteY213" fmla="*/ 100189 h 173660"/>
                <a:gd name="connsiteX214" fmla="*/ 86831 w 491334"/>
                <a:gd name="connsiteY214" fmla="*/ 112896 h 173660"/>
                <a:gd name="connsiteX215" fmla="*/ 90089 w 491334"/>
                <a:gd name="connsiteY215" fmla="*/ 119575 h 173660"/>
                <a:gd name="connsiteX216" fmla="*/ 95954 w 491334"/>
                <a:gd name="connsiteY216" fmla="*/ 124951 h 173660"/>
                <a:gd name="connsiteX217" fmla="*/ 100026 w 491334"/>
                <a:gd name="connsiteY217" fmla="*/ 124951 h 173660"/>
                <a:gd name="connsiteX218" fmla="*/ 101167 w 491334"/>
                <a:gd name="connsiteY218" fmla="*/ 127232 h 173660"/>
                <a:gd name="connsiteX219" fmla="*/ 100515 w 491334"/>
                <a:gd name="connsiteY219" fmla="*/ 129187 h 173660"/>
                <a:gd name="connsiteX220" fmla="*/ 101493 w 491334"/>
                <a:gd name="connsiteY220" fmla="*/ 136844 h 173660"/>
                <a:gd name="connsiteX221" fmla="*/ 103285 w 491334"/>
                <a:gd name="connsiteY221" fmla="*/ 138310 h 173660"/>
                <a:gd name="connsiteX222" fmla="*/ 104425 w 491334"/>
                <a:gd name="connsiteY222" fmla="*/ 140265 h 173660"/>
                <a:gd name="connsiteX223" fmla="*/ 104425 w 491334"/>
                <a:gd name="connsiteY223" fmla="*/ 141731 h 173660"/>
                <a:gd name="connsiteX224" fmla="*/ 105891 w 491334"/>
                <a:gd name="connsiteY224" fmla="*/ 142546 h 173660"/>
                <a:gd name="connsiteX225" fmla="*/ 111267 w 491334"/>
                <a:gd name="connsiteY225" fmla="*/ 153135 h 173660"/>
                <a:gd name="connsiteX226" fmla="*/ 111267 w 491334"/>
                <a:gd name="connsiteY226" fmla="*/ 159488 h 173660"/>
                <a:gd name="connsiteX227" fmla="*/ 107520 w 491334"/>
                <a:gd name="connsiteY227" fmla="*/ 158836 h 173660"/>
                <a:gd name="connsiteX228" fmla="*/ 106543 w 491334"/>
                <a:gd name="connsiteY228" fmla="*/ 156881 h 173660"/>
                <a:gd name="connsiteX229" fmla="*/ 106543 w 491334"/>
                <a:gd name="connsiteY229" fmla="*/ 153949 h 173660"/>
                <a:gd name="connsiteX230" fmla="*/ 103936 w 491334"/>
                <a:gd name="connsiteY230" fmla="*/ 151994 h 173660"/>
                <a:gd name="connsiteX231" fmla="*/ 105402 w 491334"/>
                <a:gd name="connsiteY231" fmla="*/ 153949 h 173660"/>
                <a:gd name="connsiteX232" fmla="*/ 105077 w 491334"/>
                <a:gd name="connsiteY232" fmla="*/ 156719 h 173660"/>
                <a:gd name="connsiteX233" fmla="*/ 103447 w 491334"/>
                <a:gd name="connsiteY233" fmla="*/ 157370 h 173660"/>
                <a:gd name="connsiteX234" fmla="*/ 105891 w 491334"/>
                <a:gd name="connsiteY234" fmla="*/ 157696 h 173660"/>
                <a:gd name="connsiteX235" fmla="*/ 105891 w 491334"/>
                <a:gd name="connsiteY235" fmla="*/ 158836 h 173660"/>
                <a:gd name="connsiteX236" fmla="*/ 100841 w 491334"/>
                <a:gd name="connsiteY236" fmla="*/ 162095 h 173660"/>
                <a:gd name="connsiteX237" fmla="*/ 99049 w 491334"/>
                <a:gd name="connsiteY237" fmla="*/ 159325 h 173660"/>
                <a:gd name="connsiteX238" fmla="*/ 97420 w 491334"/>
                <a:gd name="connsiteY238" fmla="*/ 161117 h 173660"/>
                <a:gd name="connsiteX239" fmla="*/ 92370 w 491334"/>
                <a:gd name="connsiteY239" fmla="*/ 158673 h 173660"/>
                <a:gd name="connsiteX240" fmla="*/ 89111 w 491334"/>
                <a:gd name="connsiteY240" fmla="*/ 154764 h 173660"/>
                <a:gd name="connsiteX241" fmla="*/ 80803 w 491334"/>
                <a:gd name="connsiteY241" fmla="*/ 153135 h 173660"/>
                <a:gd name="connsiteX242" fmla="*/ 73147 w 491334"/>
                <a:gd name="connsiteY242" fmla="*/ 149062 h 173660"/>
                <a:gd name="connsiteX243" fmla="*/ 69236 w 491334"/>
                <a:gd name="connsiteY243" fmla="*/ 144826 h 173660"/>
                <a:gd name="connsiteX244" fmla="*/ 66467 w 491334"/>
                <a:gd name="connsiteY244" fmla="*/ 142546 h 173660"/>
                <a:gd name="connsiteX245" fmla="*/ 62883 w 491334"/>
                <a:gd name="connsiteY245" fmla="*/ 143360 h 173660"/>
                <a:gd name="connsiteX246" fmla="*/ 59299 w 491334"/>
                <a:gd name="connsiteY246" fmla="*/ 143360 h 173660"/>
                <a:gd name="connsiteX247" fmla="*/ 53109 w 491334"/>
                <a:gd name="connsiteY247" fmla="*/ 136681 h 173660"/>
                <a:gd name="connsiteX248" fmla="*/ 53597 w 491334"/>
                <a:gd name="connsiteY248" fmla="*/ 131956 h 173660"/>
                <a:gd name="connsiteX249" fmla="*/ 45778 w 491334"/>
                <a:gd name="connsiteY249" fmla="*/ 125766 h 173660"/>
                <a:gd name="connsiteX250" fmla="*/ 36655 w 491334"/>
                <a:gd name="connsiteY250" fmla="*/ 122182 h 173660"/>
                <a:gd name="connsiteX251" fmla="*/ 33397 w 491334"/>
                <a:gd name="connsiteY251" fmla="*/ 119249 h 173660"/>
                <a:gd name="connsiteX252" fmla="*/ 34048 w 491334"/>
                <a:gd name="connsiteY252" fmla="*/ 115828 h 173660"/>
                <a:gd name="connsiteX253" fmla="*/ 37958 w 491334"/>
                <a:gd name="connsiteY253" fmla="*/ 112081 h 173660"/>
                <a:gd name="connsiteX254" fmla="*/ 34863 w 491334"/>
                <a:gd name="connsiteY254" fmla="*/ 107357 h 173660"/>
                <a:gd name="connsiteX255" fmla="*/ 30301 w 491334"/>
                <a:gd name="connsiteY255" fmla="*/ 104588 h 173660"/>
                <a:gd name="connsiteX256" fmla="*/ 25903 w 491334"/>
                <a:gd name="connsiteY256" fmla="*/ 97582 h 173660"/>
                <a:gd name="connsiteX257" fmla="*/ 18898 w 491334"/>
                <a:gd name="connsiteY257" fmla="*/ 93510 h 173660"/>
                <a:gd name="connsiteX258" fmla="*/ 15802 w 491334"/>
                <a:gd name="connsiteY258" fmla="*/ 89111 h 173660"/>
                <a:gd name="connsiteX259" fmla="*/ 17106 w 491334"/>
                <a:gd name="connsiteY259" fmla="*/ 86831 h 173660"/>
                <a:gd name="connsiteX260" fmla="*/ 13196 w 491334"/>
                <a:gd name="connsiteY260" fmla="*/ 83084 h 173660"/>
                <a:gd name="connsiteX261" fmla="*/ 12544 w 491334"/>
                <a:gd name="connsiteY261" fmla="*/ 77545 h 173660"/>
                <a:gd name="connsiteX262" fmla="*/ 14174 w 491334"/>
                <a:gd name="connsiteY262" fmla="*/ 76241 h 173660"/>
                <a:gd name="connsiteX263" fmla="*/ 15151 w 491334"/>
                <a:gd name="connsiteY263" fmla="*/ 67933 h 173660"/>
                <a:gd name="connsiteX264" fmla="*/ 12056 w 491334"/>
                <a:gd name="connsiteY264" fmla="*/ 61580 h 173660"/>
                <a:gd name="connsiteX265" fmla="*/ 9123 w 491334"/>
                <a:gd name="connsiteY265" fmla="*/ 54574 h 173660"/>
                <a:gd name="connsiteX266" fmla="*/ 6354 w 491334"/>
                <a:gd name="connsiteY266" fmla="*/ 33559 h 173660"/>
                <a:gd name="connsiteX267" fmla="*/ 1140 w 491334"/>
                <a:gd name="connsiteY267" fmla="*/ 24925 h 1736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</a:cxnLst>
              <a:rect l="l" t="t" r="r" b="b"/>
              <a:pathLst>
                <a:path w="491334" h="173660">
                  <a:moveTo>
                    <a:pt x="296658" y="125929"/>
                  </a:moveTo>
                  <a:lnTo>
                    <a:pt x="296658" y="130001"/>
                  </a:lnTo>
                  <a:cubicBezTo>
                    <a:pt x="296658" y="130001"/>
                    <a:pt x="295517" y="130490"/>
                    <a:pt x="295517" y="130490"/>
                  </a:cubicBezTo>
                  <a:lnTo>
                    <a:pt x="294866" y="129024"/>
                  </a:lnTo>
                  <a:lnTo>
                    <a:pt x="296658" y="125766"/>
                  </a:lnTo>
                  <a:lnTo>
                    <a:pt x="296658" y="126092"/>
                  </a:lnTo>
                  <a:lnTo>
                    <a:pt x="296658" y="126092"/>
                  </a:lnTo>
                  <a:close/>
                  <a:moveTo>
                    <a:pt x="0" y="46918"/>
                  </a:moveTo>
                  <a:lnTo>
                    <a:pt x="978" y="52131"/>
                  </a:lnTo>
                  <a:lnTo>
                    <a:pt x="3747" y="55878"/>
                  </a:lnTo>
                  <a:lnTo>
                    <a:pt x="5702" y="54412"/>
                  </a:lnTo>
                  <a:lnTo>
                    <a:pt x="4725" y="50990"/>
                  </a:lnTo>
                  <a:lnTo>
                    <a:pt x="2118" y="47406"/>
                  </a:lnTo>
                  <a:lnTo>
                    <a:pt x="0" y="46918"/>
                  </a:lnTo>
                  <a:lnTo>
                    <a:pt x="0" y="46918"/>
                  </a:lnTo>
                  <a:close/>
                  <a:moveTo>
                    <a:pt x="249251" y="146292"/>
                  </a:moveTo>
                  <a:lnTo>
                    <a:pt x="254465" y="155578"/>
                  </a:lnTo>
                  <a:lnTo>
                    <a:pt x="262610" y="161443"/>
                  </a:lnTo>
                  <a:lnTo>
                    <a:pt x="263424" y="163561"/>
                  </a:lnTo>
                  <a:lnTo>
                    <a:pt x="269289" y="168937"/>
                  </a:lnTo>
                  <a:lnTo>
                    <a:pt x="271407" y="173172"/>
                  </a:lnTo>
                  <a:lnTo>
                    <a:pt x="275154" y="173661"/>
                  </a:lnTo>
                  <a:lnTo>
                    <a:pt x="282485" y="171706"/>
                  </a:lnTo>
                  <a:lnTo>
                    <a:pt x="283299" y="168774"/>
                  </a:lnTo>
                  <a:lnTo>
                    <a:pt x="289652" y="169263"/>
                  </a:lnTo>
                  <a:lnTo>
                    <a:pt x="293236" y="167471"/>
                  </a:lnTo>
                  <a:lnTo>
                    <a:pt x="307247" y="168285"/>
                  </a:lnTo>
                  <a:lnTo>
                    <a:pt x="321420" y="162583"/>
                  </a:lnTo>
                  <a:lnTo>
                    <a:pt x="325167" y="159325"/>
                  </a:lnTo>
                  <a:lnTo>
                    <a:pt x="337548" y="158999"/>
                  </a:lnTo>
                  <a:lnTo>
                    <a:pt x="344065" y="162095"/>
                  </a:lnTo>
                  <a:lnTo>
                    <a:pt x="346019" y="165190"/>
                  </a:lnTo>
                  <a:lnTo>
                    <a:pt x="352047" y="165190"/>
                  </a:lnTo>
                  <a:cubicBezTo>
                    <a:pt x="352047" y="165190"/>
                    <a:pt x="362473" y="159325"/>
                    <a:pt x="362473" y="159325"/>
                  </a:cubicBezTo>
                  <a:lnTo>
                    <a:pt x="374691" y="157533"/>
                  </a:lnTo>
                  <a:lnTo>
                    <a:pt x="374040" y="153623"/>
                  </a:lnTo>
                  <a:lnTo>
                    <a:pt x="384140" y="138310"/>
                  </a:lnTo>
                  <a:lnTo>
                    <a:pt x="388213" y="127395"/>
                  </a:lnTo>
                  <a:lnTo>
                    <a:pt x="395870" y="115828"/>
                  </a:lnTo>
                  <a:lnTo>
                    <a:pt x="401408" y="96116"/>
                  </a:lnTo>
                  <a:lnTo>
                    <a:pt x="401408" y="92206"/>
                  </a:lnTo>
                  <a:lnTo>
                    <a:pt x="404015" y="87808"/>
                  </a:lnTo>
                  <a:lnTo>
                    <a:pt x="403689" y="84550"/>
                  </a:lnTo>
                  <a:lnTo>
                    <a:pt x="409065" y="78033"/>
                  </a:lnTo>
                  <a:lnTo>
                    <a:pt x="413301" y="79825"/>
                  </a:lnTo>
                  <a:lnTo>
                    <a:pt x="421446" y="79174"/>
                  </a:lnTo>
                  <a:lnTo>
                    <a:pt x="432687" y="79174"/>
                  </a:lnTo>
                  <a:cubicBezTo>
                    <a:pt x="432687" y="79174"/>
                    <a:pt x="435456" y="81455"/>
                    <a:pt x="435456" y="81455"/>
                  </a:cubicBezTo>
                  <a:lnTo>
                    <a:pt x="442624" y="81455"/>
                  </a:lnTo>
                  <a:cubicBezTo>
                    <a:pt x="442624" y="81455"/>
                    <a:pt x="448163" y="82921"/>
                    <a:pt x="448163" y="82921"/>
                  </a:cubicBezTo>
                  <a:lnTo>
                    <a:pt x="448652" y="80640"/>
                  </a:lnTo>
                  <a:lnTo>
                    <a:pt x="454680" y="84713"/>
                  </a:lnTo>
                  <a:lnTo>
                    <a:pt x="458915" y="85853"/>
                  </a:lnTo>
                  <a:lnTo>
                    <a:pt x="464291" y="83084"/>
                  </a:lnTo>
                  <a:lnTo>
                    <a:pt x="470970" y="81780"/>
                  </a:lnTo>
                  <a:lnTo>
                    <a:pt x="470970" y="78848"/>
                  </a:lnTo>
                  <a:lnTo>
                    <a:pt x="464129" y="73146"/>
                  </a:lnTo>
                  <a:lnTo>
                    <a:pt x="464129" y="66467"/>
                  </a:lnTo>
                  <a:lnTo>
                    <a:pt x="467224" y="64186"/>
                  </a:lnTo>
                  <a:lnTo>
                    <a:pt x="477487" y="65164"/>
                  </a:lnTo>
                  <a:lnTo>
                    <a:pt x="485958" y="63209"/>
                  </a:lnTo>
                  <a:lnTo>
                    <a:pt x="491334" y="59136"/>
                  </a:lnTo>
                  <a:lnTo>
                    <a:pt x="490194" y="55063"/>
                  </a:lnTo>
                  <a:lnTo>
                    <a:pt x="486121" y="55063"/>
                  </a:lnTo>
                  <a:lnTo>
                    <a:pt x="480256" y="53923"/>
                  </a:lnTo>
                  <a:lnTo>
                    <a:pt x="475858" y="49850"/>
                  </a:lnTo>
                  <a:lnTo>
                    <a:pt x="471459" y="50176"/>
                  </a:lnTo>
                  <a:lnTo>
                    <a:pt x="465269" y="44148"/>
                  </a:lnTo>
                  <a:lnTo>
                    <a:pt x="461848" y="44148"/>
                  </a:lnTo>
                  <a:lnTo>
                    <a:pt x="457775" y="48058"/>
                  </a:lnTo>
                  <a:lnTo>
                    <a:pt x="455331" y="45777"/>
                  </a:lnTo>
                  <a:lnTo>
                    <a:pt x="460870" y="41053"/>
                  </a:lnTo>
                  <a:lnTo>
                    <a:pt x="458101" y="37795"/>
                  </a:lnTo>
                  <a:lnTo>
                    <a:pt x="455820" y="38447"/>
                  </a:lnTo>
                  <a:lnTo>
                    <a:pt x="452399" y="43171"/>
                  </a:lnTo>
                  <a:lnTo>
                    <a:pt x="450118" y="40401"/>
                  </a:lnTo>
                  <a:lnTo>
                    <a:pt x="448163" y="39424"/>
                  </a:lnTo>
                  <a:lnTo>
                    <a:pt x="448163" y="31930"/>
                  </a:lnTo>
                  <a:cubicBezTo>
                    <a:pt x="448163" y="31930"/>
                    <a:pt x="452725" y="30301"/>
                    <a:pt x="452725" y="30301"/>
                  </a:cubicBezTo>
                  <a:lnTo>
                    <a:pt x="452725" y="27043"/>
                  </a:lnTo>
                  <a:cubicBezTo>
                    <a:pt x="452725" y="27043"/>
                    <a:pt x="446534" y="22970"/>
                    <a:pt x="446534" y="22970"/>
                  </a:cubicBezTo>
                  <a:lnTo>
                    <a:pt x="444254" y="24436"/>
                  </a:lnTo>
                  <a:lnTo>
                    <a:pt x="439529" y="20038"/>
                  </a:lnTo>
                  <a:lnTo>
                    <a:pt x="439529" y="13033"/>
                  </a:lnTo>
                  <a:cubicBezTo>
                    <a:pt x="439529" y="13033"/>
                    <a:pt x="434153" y="9774"/>
                    <a:pt x="434153" y="9774"/>
                  </a:cubicBezTo>
                  <a:lnTo>
                    <a:pt x="431709" y="11241"/>
                  </a:lnTo>
                  <a:lnTo>
                    <a:pt x="433176" y="15802"/>
                  </a:lnTo>
                  <a:lnTo>
                    <a:pt x="427637" y="21178"/>
                  </a:lnTo>
                  <a:lnTo>
                    <a:pt x="425356" y="20852"/>
                  </a:lnTo>
                  <a:lnTo>
                    <a:pt x="426985" y="16291"/>
                  </a:lnTo>
                  <a:lnTo>
                    <a:pt x="426008" y="12055"/>
                  </a:lnTo>
                  <a:lnTo>
                    <a:pt x="422749" y="12055"/>
                  </a:lnTo>
                  <a:cubicBezTo>
                    <a:pt x="422749" y="12055"/>
                    <a:pt x="419329" y="23296"/>
                    <a:pt x="419329" y="23296"/>
                  </a:cubicBezTo>
                  <a:lnTo>
                    <a:pt x="415581" y="24273"/>
                  </a:lnTo>
                  <a:lnTo>
                    <a:pt x="410206" y="36655"/>
                  </a:lnTo>
                  <a:lnTo>
                    <a:pt x="409228" y="43334"/>
                  </a:lnTo>
                  <a:lnTo>
                    <a:pt x="399942" y="53108"/>
                  </a:lnTo>
                  <a:lnTo>
                    <a:pt x="395543" y="53108"/>
                  </a:lnTo>
                  <a:lnTo>
                    <a:pt x="388213" y="55878"/>
                  </a:lnTo>
                  <a:lnTo>
                    <a:pt x="385606" y="59136"/>
                  </a:lnTo>
                  <a:lnTo>
                    <a:pt x="388376" y="59136"/>
                  </a:lnTo>
                  <a:cubicBezTo>
                    <a:pt x="388376" y="59136"/>
                    <a:pt x="386584" y="61742"/>
                    <a:pt x="386584" y="61742"/>
                  </a:cubicBezTo>
                  <a:lnTo>
                    <a:pt x="389027" y="62720"/>
                  </a:lnTo>
                  <a:lnTo>
                    <a:pt x="394892" y="61091"/>
                  </a:lnTo>
                  <a:lnTo>
                    <a:pt x="392449" y="64838"/>
                  </a:lnTo>
                  <a:lnTo>
                    <a:pt x="388376" y="66793"/>
                  </a:lnTo>
                  <a:lnTo>
                    <a:pt x="387724" y="67770"/>
                  </a:lnTo>
                  <a:lnTo>
                    <a:pt x="388213" y="69725"/>
                  </a:lnTo>
                  <a:lnTo>
                    <a:pt x="391308" y="78522"/>
                  </a:lnTo>
                  <a:lnTo>
                    <a:pt x="389027" y="82921"/>
                  </a:lnTo>
                  <a:lnTo>
                    <a:pt x="385606" y="80966"/>
                  </a:lnTo>
                  <a:lnTo>
                    <a:pt x="385117" y="74612"/>
                  </a:lnTo>
                  <a:lnTo>
                    <a:pt x="383977" y="70051"/>
                  </a:lnTo>
                  <a:lnTo>
                    <a:pt x="383000" y="70051"/>
                  </a:lnTo>
                  <a:cubicBezTo>
                    <a:pt x="383000" y="70051"/>
                    <a:pt x="383000" y="69236"/>
                    <a:pt x="383000" y="69236"/>
                  </a:cubicBezTo>
                  <a:lnTo>
                    <a:pt x="380719" y="69562"/>
                  </a:lnTo>
                  <a:lnTo>
                    <a:pt x="377949" y="73635"/>
                  </a:lnTo>
                  <a:lnTo>
                    <a:pt x="379742" y="85039"/>
                  </a:lnTo>
                  <a:lnTo>
                    <a:pt x="377135" y="86342"/>
                  </a:lnTo>
                  <a:lnTo>
                    <a:pt x="372085" y="82432"/>
                  </a:lnTo>
                  <a:lnTo>
                    <a:pt x="367686" y="74938"/>
                  </a:lnTo>
                  <a:lnTo>
                    <a:pt x="365079" y="74612"/>
                  </a:lnTo>
                  <a:lnTo>
                    <a:pt x="361170" y="72820"/>
                  </a:lnTo>
                  <a:lnTo>
                    <a:pt x="357749" y="77219"/>
                  </a:lnTo>
                  <a:lnTo>
                    <a:pt x="357749" y="83247"/>
                  </a:lnTo>
                  <a:cubicBezTo>
                    <a:pt x="357749" y="83247"/>
                    <a:pt x="350906" y="88948"/>
                    <a:pt x="350906" y="88948"/>
                  </a:cubicBezTo>
                  <a:lnTo>
                    <a:pt x="348463" y="94161"/>
                  </a:lnTo>
                  <a:lnTo>
                    <a:pt x="341295" y="101004"/>
                  </a:lnTo>
                  <a:lnTo>
                    <a:pt x="339666" y="105565"/>
                  </a:lnTo>
                  <a:lnTo>
                    <a:pt x="333475" y="113222"/>
                  </a:lnTo>
                  <a:lnTo>
                    <a:pt x="326633" y="119087"/>
                  </a:lnTo>
                  <a:lnTo>
                    <a:pt x="305781" y="123974"/>
                  </a:lnTo>
                  <a:lnTo>
                    <a:pt x="303500" y="125114"/>
                  </a:lnTo>
                  <a:lnTo>
                    <a:pt x="304966" y="131793"/>
                  </a:lnTo>
                  <a:lnTo>
                    <a:pt x="307410" y="134563"/>
                  </a:lnTo>
                  <a:lnTo>
                    <a:pt x="304152" y="133422"/>
                  </a:lnTo>
                  <a:lnTo>
                    <a:pt x="300568" y="135377"/>
                  </a:lnTo>
                  <a:lnTo>
                    <a:pt x="294540" y="136029"/>
                  </a:lnTo>
                  <a:lnTo>
                    <a:pt x="291770" y="139450"/>
                  </a:lnTo>
                  <a:lnTo>
                    <a:pt x="290142" y="144826"/>
                  </a:lnTo>
                  <a:lnTo>
                    <a:pt x="290142" y="152157"/>
                  </a:lnTo>
                  <a:cubicBezTo>
                    <a:pt x="290142" y="152157"/>
                    <a:pt x="285580" y="158185"/>
                    <a:pt x="285580" y="158185"/>
                  </a:cubicBezTo>
                  <a:lnTo>
                    <a:pt x="285580" y="160140"/>
                  </a:lnTo>
                  <a:cubicBezTo>
                    <a:pt x="285580" y="160140"/>
                    <a:pt x="275643" y="158836"/>
                    <a:pt x="275643" y="158836"/>
                  </a:cubicBezTo>
                  <a:lnTo>
                    <a:pt x="265054" y="154927"/>
                  </a:lnTo>
                  <a:lnTo>
                    <a:pt x="257722" y="154927"/>
                  </a:lnTo>
                  <a:cubicBezTo>
                    <a:pt x="257722" y="154927"/>
                    <a:pt x="254953" y="151017"/>
                    <a:pt x="254953" y="151017"/>
                  </a:cubicBezTo>
                  <a:lnTo>
                    <a:pt x="250554" y="145966"/>
                  </a:lnTo>
                  <a:lnTo>
                    <a:pt x="248600" y="146618"/>
                  </a:lnTo>
                  <a:lnTo>
                    <a:pt x="248600" y="146618"/>
                  </a:lnTo>
                  <a:close/>
                  <a:moveTo>
                    <a:pt x="431384" y="0"/>
                  </a:moveTo>
                  <a:lnTo>
                    <a:pt x="424867" y="3910"/>
                  </a:lnTo>
                  <a:lnTo>
                    <a:pt x="428125" y="3910"/>
                  </a:lnTo>
                  <a:cubicBezTo>
                    <a:pt x="428125" y="3910"/>
                    <a:pt x="431384" y="1955"/>
                    <a:pt x="431384" y="1955"/>
                  </a:cubicBezTo>
                  <a:lnTo>
                    <a:pt x="431384" y="163"/>
                  </a:lnTo>
                  <a:lnTo>
                    <a:pt x="431384" y="163"/>
                  </a:lnTo>
                  <a:close/>
                  <a:moveTo>
                    <a:pt x="437900" y="163"/>
                  </a:moveTo>
                  <a:lnTo>
                    <a:pt x="433338" y="4561"/>
                  </a:lnTo>
                  <a:lnTo>
                    <a:pt x="434479" y="6190"/>
                  </a:lnTo>
                  <a:lnTo>
                    <a:pt x="440018" y="4561"/>
                  </a:lnTo>
                  <a:lnTo>
                    <a:pt x="440018" y="814"/>
                  </a:lnTo>
                  <a:cubicBezTo>
                    <a:pt x="440018" y="814"/>
                    <a:pt x="437900" y="163"/>
                    <a:pt x="437900" y="163"/>
                  </a:cubicBezTo>
                  <a:lnTo>
                    <a:pt x="437900" y="163"/>
                  </a:lnTo>
                  <a:close/>
                  <a:moveTo>
                    <a:pt x="296169" y="134400"/>
                  </a:moveTo>
                  <a:lnTo>
                    <a:pt x="291933" y="136192"/>
                  </a:lnTo>
                  <a:lnTo>
                    <a:pt x="294866" y="131956"/>
                  </a:lnTo>
                  <a:lnTo>
                    <a:pt x="296169" y="134400"/>
                  </a:lnTo>
                  <a:lnTo>
                    <a:pt x="296169" y="134400"/>
                  </a:lnTo>
                  <a:close/>
                  <a:moveTo>
                    <a:pt x="300079" y="133097"/>
                  </a:moveTo>
                  <a:lnTo>
                    <a:pt x="297309" y="134237"/>
                  </a:lnTo>
                  <a:lnTo>
                    <a:pt x="296332" y="131956"/>
                  </a:lnTo>
                  <a:lnTo>
                    <a:pt x="297309" y="130653"/>
                  </a:lnTo>
                  <a:lnTo>
                    <a:pt x="300242" y="132934"/>
                  </a:lnTo>
                  <a:lnTo>
                    <a:pt x="300242" y="132934"/>
                  </a:lnTo>
                  <a:close/>
                  <a:moveTo>
                    <a:pt x="302849" y="124951"/>
                  </a:moveTo>
                  <a:lnTo>
                    <a:pt x="304477" y="130816"/>
                  </a:lnTo>
                  <a:lnTo>
                    <a:pt x="301219" y="132445"/>
                  </a:lnTo>
                  <a:lnTo>
                    <a:pt x="297472" y="128861"/>
                  </a:lnTo>
                  <a:lnTo>
                    <a:pt x="297472" y="126255"/>
                  </a:lnTo>
                  <a:lnTo>
                    <a:pt x="298938" y="125929"/>
                  </a:lnTo>
                  <a:lnTo>
                    <a:pt x="299265" y="125929"/>
                  </a:lnTo>
                  <a:cubicBezTo>
                    <a:pt x="299265" y="125929"/>
                    <a:pt x="302685" y="124951"/>
                    <a:pt x="302685" y="124951"/>
                  </a:cubicBezTo>
                  <a:lnTo>
                    <a:pt x="302685" y="124951"/>
                  </a:lnTo>
                  <a:close/>
                  <a:moveTo>
                    <a:pt x="978" y="24925"/>
                  </a:moveTo>
                  <a:lnTo>
                    <a:pt x="2607" y="19060"/>
                  </a:lnTo>
                  <a:lnTo>
                    <a:pt x="5865" y="14825"/>
                  </a:lnTo>
                  <a:lnTo>
                    <a:pt x="10589" y="19060"/>
                  </a:lnTo>
                  <a:lnTo>
                    <a:pt x="17594" y="21015"/>
                  </a:lnTo>
                  <a:lnTo>
                    <a:pt x="18898" y="23948"/>
                  </a:lnTo>
                  <a:lnTo>
                    <a:pt x="24274" y="23948"/>
                  </a:lnTo>
                  <a:lnTo>
                    <a:pt x="27532" y="27206"/>
                  </a:lnTo>
                  <a:lnTo>
                    <a:pt x="26880" y="34537"/>
                  </a:lnTo>
                  <a:lnTo>
                    <a:pt x="23948" y="38284"/>
                  </a:lnTo>
                  <a:lnTo>
                    <a:pt x="23948" y="42031"/>
                  </a:lnTo>
                  <a:cubicBezTo>
                    <a:pt x="23948" y="42031"/>
                    <a:pt x="30627" y="43660"/>
                    <a:pt x="30627" y="43660"/>
                  </a:cubicBezTo>
                  <a:lnTo>
                    <a:pt x="36329" y="38609"/>
                  </a:lnTo>
                  <a:lnTo>
                    <a:pt x="40890" y="38121"/>
                  </a:lnTo>
                  <a:lnTo>
                    <a:pt x="44311" y="41053"/>
                  </a:lnTo>
                  <a:lnTo>
                    <a:pt x="47895" y="38447"/>
                  </a:lnTo>
                  <a:lnTo>
                    <a:pt x="47895" y="33885"/>
                  </a:lnTo>
                  <a:lnTo>
                    <a:pt x="49036" y="32582"/>
                  </a:lnTo>
                  <a:lnTo>
                    <a:pt x="49036" y="32582"/>
                  </a:lnTo>
                  <a:cubicBezTo>
                    <a:pt x="49036" y="32582"/>
                    <a:pt x="52783" y="32582"/>
                    <a:pt x="52783" y="32582"/>
                  </a:cubicBezTo>
                  <a:lnTo>
                    <a:pt x="55063" y="30138"/>
                  </a:lnTo>
                  <a:lnTo>
                    <a:pt x="57181" y="29487"/>
                  </a:lnTo>
                  <a:lnTo>
                    <a:pt x="61091" y="36491"/>
                  </a:lnTo>
                  <a:lnTo>
                    <a:pt x="79663" y="55389"/>
                  </a:lnTo>
                  <a:lnTo>
                    <a:pt x="85202" y="64349"/>
                  </a:lnTo>
                  <a:lnTo>
                    <a:pt x="87645" y="74775"/>
                  </a:lnTo>
                  <a:lnTo>
                    <a:pt x="85527" y="77545"/>
                  </a:lnTo>
                  <a:lnTo>
                    <a:pt x="86179" y="90089"/>
                  </a:lnTo>
                  <a:lnTo>
                    <a:pt x="84876" y="92369"/>
                  </a:lnTo>
                  <a:lnTo>
                    <a:pt x="84876" y="96768"/>
                  </a:lnTo>
                  <a:lnTo>
                    <a:pt x="86831" y="100189"/>
                  </a:lnTo>
                  <a:lnTo>
                    <a:pt x="86831" y="112896"/>
                  </a:lnTo>
                  <a:lnTo>
                    <a:pt x="90089" y="119575"/>
                  </a:lnTo>
                  <a:lnTo>
                    <a:pt x="95954" y="124951"/>
                  </a:lnTo>
                  <a:lnTo>
                    <a:pt x="100026" y="124951"/>
                  </a:lnTo>
                  <a:cubicBezTo>
                    <a:pt x="100026" y="124951"/>
                    <a:pt x="101167" y="127232"/>
                    <a:pt x="101167" y="127232"/>
                  </a:cubicBezTo>
                  <a:lnTo>
                    <a:pt x="100515" y="129187"/>
                  </a:lnTo>
                  <a:lnTo>
                    <a:pt x="101493" y="136844"/>
                  </a:lnTo>
                  <a:lnTo>
                    <a:pt x="103285" y="138310"/>
                  </a:lnTo>
                  <a:lnTo>
                    <a:pt x="104425" y="140265"/>
                  </a:lnTo>
                  <a:lnTo>
                    <a:pt x="104425" y="141731"/>
                  </a:lnTo>
                  <a:cubicBezTo>
                    <a:pt x="104425" y="141731"/>
                    <a:pt x="105891" y="142546"/>
                    <a:pt x="105891" y="142546"/>
                  </a:cubicBezTo>
                  <a:lnTo>
                    <a:pt x="111267" y="153135"/>
                  </a:lnTo>
                  <a:lnTo>
                    <a:pt x="111267" y="159488"/>
                  </a:lnTo>
                  <a:cubicBezTo>
                    <a:pt x="111267" y="159488"/>
                    <a:pt x="107520" y="158836"/>
                    <a:pt x="107520" y="158836"/>
                  </a:cubicBezTo>
                  <a:lnTo>
                    <a:pt x="106543" y="156881"/>
                  </a:lnTo>
                  <a:lnTo>
                    <a:pt x="106543" y="153949"/>
                  </a:lnTo>
                  <a:cubicBezTo>
                    <a:pt x="106543" y="153949"/>
                    <a:pt x="103936" y="151994"/>
                    <a:pt x="103936" y="151994"/>
                  </a:cubicBezTo>
                  <a:lnTo>
                    <a:pt x="105402" y="153949"/>
                  </a:lnTo>
                  <a:lnTo>
                    <a:pt x="105077" y="156719"/>
                  </a:lnTo>
                  <a:lnTo>
                    <a:pt x="103447" y="157370"/>
                  </a:lnTo>
                  <a:lnTo>
                    <a:pt x="105891" y="157696"/>
                  </a:lnTo>
                  <a:lnTo>
                    <a:pt x="105891" y="158836"/>
                  </a:lnTo>
                  <a:lnTo>
                    <a:pt x="100841" y="162095"/>
                  </a:lnTo>
                  <a:lnTo>
                    <a:pt x="99049" y="159325"/>
                  </a:lnTo>
                  <a:lnTo>
                    <a:pt x="97420" y="161117"/>
                  </a:lnTo>
                  <a:lnTo>
                    <a:pt x="92370" y="158673"/>
                  </a:lnTo>
                  <a:lnTo>
                    <a:pt x="89111" y="154764"/>
                  </a:lnTo>
                  <a:lnTo>
                    <a:pt x="80803" y="153135"/>
                  </a:lnTo>
                  <a:lnTo>
                    <a:pt x="73147" y="149062"/>
                  </a:lnTo>
                  <a:lnTo>
                    <a:pt x="69236" y="144826"/>
                  </a:lnTo>
                  <a:lnTo>
                    <a:pt x="66467" y="142546"/>
                  </a:lnTo>
                  <a:lnTo>
                    <a:pt x="62883" y="143360"/>
                  </a:lnTo>
                  <a:lnTo>
                    <a:pt x="59299" y="143360"/>
                  </a:lnTo>
                  <a:cubicBezTo>
                    <a:pt x="59299" y="143360"/>
                    <a:pt x="53109" y="136681"/>
                    <a:pt x="53109" y="136681"/>
                  </a:cubicBezTo>
                  <a:lnTo>
                    <a:pt x="53597" y="131956"/>
                  </a:lnTo>
                  <a:lnTo>
                    <a:pt x="45778" y="125766"/>
                  </a:lnTo>
                  <a:lnTo>
                    <a:pt x="36655" y="122182"/>
                  </a:lnTo>
                  <a:lnTo>
                    <a:pt x="33397" y="119249"/>
                  </a:lnTo>
                  <a:lnTo>
                    <a:pt x="34048" y="115828"/>
                  </a:lnTo>
                  <a:lnTo>
                    <a:pt x="37958" y="112081"/>
                  </a:lnTo>
                  <a:lnTo>
                    <a:pt x="34863" y="107357"/>
                  </a:lnTo>
                  <a:lnTo>
                    <a:pt x="30301" y="104588"/>
                  </a:lnTo>
                  <a:lnTo>
                    <a:pt x="25903" y="97582"/>
                  </a:lnTo>
                  <a:lnTo>
                    <a:pt x="18898" y="93510"/>
                  </a:lnTo>
                  <a:lnTo>
                    <a:pt x="15802" y="89111"/>
                  </a:lnTo>
                  <a:lnTo>
                    <a:pt x="17106" y="86831"/>
                  </a:lnTo>
                  <a:lnTo>
                    <a:pt x="13196" y="83084"/>
                  </a:lnTo>
                  <a:lnTo>
                    <a:pt x="12544" y="77545"/>
                  </a:lnTo>
                  <a:lnTo>
                    <a:pt x="14174" y="76241"/>
                  </a:lnTo>
                  <a:lnTo>
                    <a:pt x="15151" y="67933"/>
                  </a:lnTo>
                  <a:lnTo>
                    <a:pt x="12056" y="61580"/>
                  </a:lnTo>
                  <a:lnTo>
                    <a:pt x="9123" y="54574"/>
                  </a:lnTo>
                  <a:lnTo>
                    <a:pt x="6354" y="33559"/>
                  </a:lnTo>
                  <a:lnTo>
                    <a:pt x="1140" y="24925"/>
                  </a:lnTo>
                  <a:close/>
                </a:path>
              </a:pathLst>
            </a:custGeom>
            <a:solidFill>
              <a:schemeClr val="bg2"/>
            </a:solidFill>
            <a:ln w="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6" name="Forma livre: Forma 205">
              <a:extLst>
                <a:ext uri="{FF2B5EF4-FFF2-40B4-BE49-F238E27FC236}">
                  <a16:creationId xmlns:a16="http://schemas.microsoft.com/office/drawing/2014/main" id="{5886C43A-75C9-7776-0D91-2D5ABD827191}"/>
                </a:ext>
              </a:extLst>
            </p:cNvPr>
            <p:cNvSpPr/>
            <p:nvPr/>
          </p:nvSpPr>
          <p:spPr>
            <a:xfrm>
              <a:off x="9018870" y="4827407"/>
              <a:ext cx="31145" cy="25084"/>
            </a:xfrm>
            <a:custGeom>
              <a:avLst/>
              <a:gdLst>
                <a:gd name="connsiteX0" fmla="*/ 163 w 30138"/>
                <a:gd name="connsiteY0" fmla="*/ 10752 h 24273"/>
                <a:gd name="connsiteX1" fmla="*/ 4073 w 30138"/>
                <a:gd name="connsiteY1" fmla="*/ 12544 h 24273"/>
                <a:gd name="connsiteX2" fmla="*/ 6679 w 30138"/>
                <a:gd name="connsiteY2" fmla="*/ 12870 h 24273"/>
                <a:gd name="connsiteX3" fmla="*/ 11078 w 30138"/>
                <a:gd name="connsiteY3" fmla="*/ 20364 h 24273"/>
                <a:gd name="connsiteX4" fmla="*/ 16128 w 30138"/>
                <a:gd name="connsiteY4" fmla="*/ 24273 h 24273"/>
                <a:gd name="connsiteX5" fmla="*/ 18734 w 30138"/>
                <a:gd name="connsiteY5" fmla="*/ 22970 h 24273"/>
                <a:gd name="connsiteX6" fmla="*/ 16943 w 30138"/>
                <a:gd name="connsiteY6" fmla="*/ 11566 h 24273"/>
                <a:gd name="connsiteX7" fmla="*/ 19712 w 30138"/>
                <a:gd name="connsiteY7" fmla="*/ 7494 h 24273"/>
                <a:gd name="connsiteX8" fmla="*/ 21993 w 30138"/>
                <a:gd name="connsiteY8" fmla="*/ 7168 h 24273"/>
                <a:gd name="connsiteX9" fmla="*/ 21993 w 30138"/>
                <a:gd name="connsiteY9" fmla="*/ 5213 h 24273"/>
                <a:gd name="connsiteX10" fmla="*/ 21667 w 30138"/>
                <a:gd name="connsiteY10" fmla="*/ 0 h 24273"/>
                <a:gd name="connsiteX11" fmla="*/ 16617 w 30138"/>
                <a:gd name="connsiteY11" fmla="*/ 1792 h 24273"/>
                <a:gd name="connsiteX12" fmla="*/ 10589 w 30138"/>
                <a:gd name="connsiteY12" fmla="*/ 6353 h 24273"/>
                <a:gd name="connsiteX13" fmla="*/ 1140 w 30138"/>
                <a:gd name="connsiteY13" fmla="*/ 9123 h 24273"/>
                <a:gd name="connsiteX14" fmla="*/ 0 w 30138"/>
                <a:gd name="connsiteY14" fmla="*/ 10589 h 24273"/>
                <a:gd name="connsiteX15" fmla="*/ 0 w 30138"/>
                <a:gd name="connsiteY15" fmla="*/ 10589 h 24273"/>
                <a:gd name="connsiteX16" fmla="*/ 22807 w 30138"/>
                <a:gd name="connsiteY16" fmla="*/ 7820 h 24273"/>
                <a:gd name="connsiteX17" fmla="*/ 23948 w 30138"/>
                <a:gd name="connsiteY17" fmla="*/ 12381 h 24273"/>
                <a:gd name="connsiteX18" fmla="*/ 24436 w 30138"/>
                <a:gd name="connsiteY18" fmla="*/ 18734 h 24273"/>
                <a:gd name="connsiteX19" fmla="*/ 27857 w 30138"/>
                <a:gd name="connsiteY19" fmla="*/ 20689 h 24273"/>
                <a:gd name="connsiteX20" fmla="*/ 30138 w 30138"/>
                <a:gd name="connsiteY20" fmla="*/ 16291 h 24273"/>
                <a:gd name="connsiteX21" fmla="*/ 27043 w 30138"/>
                <a:gd name="connsiteY21" fmla="*/ 7494 h 24273"/>
                <a:gd name="connsiteX22" fmla="*/ 26554 w 30138"/>
                <a:gd name="connsiteY22" fmla="*/ 5539 h 24273"/>
                <a:gd name="connsiteX23" fmla="*/ 25251 w 30138"/>
                <a:gd name="connsiteY23" fmla="*/ 7331 h 24273"/>
                <a:gd name="connsiteX24" fmla="*/ 22970 w 30138"/>
                <a:gd name="connsiteY24" fmla="*/ 7820 h 242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30138" h="24273">
                  <a:moveTo>
                    <a:pt x="163" y="10752"/>
                  </a:moveTo>
                  <a:lnTo>
                    <a:pt x="4073" y="12544"/>
                  </a:lnTo>
                  <a:lnTo>
                    <a:pt x="6679" y="12870"/>
                  </a:lnTo>
                  <a:lnTo>
                    <a:pt x="11078" y="20364"/>
                  </a:lnTo>
                  <a:lnTo>
                    <a:pt x="16128" y="24273"/>
                  </a:lnTo>
                  <a:lnTo>
                    <a:pt x="18734" y="22970"/>
                  </a:lnTo>
                  <a:lnTo>
                    <a:pt x="16943" y="11566"/>
                  </a:lnTo>
                  <a:lnTo>
                    <a:pt x="19712" y="7494"/>
                  </a:lnTo>
                  <a:lnTo>
                    <a:pt x="21993" y="7168"/>
                  </a:lnTo>
                  <a:lnTo>
                    <a:pt x="21993" y="5213"/>
                  </a:lnTo>
                  <a:cubicBezTo>
                    <a:pt x="21993" y="5213"/>
                    <a:pt x="21667" y="0"/>
                    <a:pt x="21667" y="0"/>
                  </a:cubicBezTo>
                  <a:lnTo>
                    <a:pt x="16617" y="1792"/>
                  </a:lnTo>
                  <a:lnTo>
                    <a:pt x="10589" y="6353"/>
                  </a:lnTo>
                  <a:lnTo>
                    <a:pt x="1140" y="9123"/>
                  </a:lnTo>
                  <a:lnTo>
                    <a:pt x="0" y="10589"/>
                  </a:lnTo>
                  <a:lnTo>
                    <a:pt x="0" y="10589"/>
                  </a:lnTo>
                  <a:close/>
                  <a:moveTo>
                    <a:pt x="22807" y="7820"/>
                  </a:moveTo>
                  <a:lnTo>
                    <a:pt x="23948" y="12381"/>
                  </a:lnTo>
                  <a:lnTo>
                    <a:pt x="24436" y="18734"/>
                  </a:lnTo>
                  <a:lnTo>
                    <a:pt x="27857" y="20689"/>
                  </a:lnTo>
                  <a:lnTo>
                    <a:pt x="30138" y="16291"/>
                  </a:lnTo>
                  <a:lnTo>
                    <a:pt x="27043" y="7494"/>
                  </a:lnTo>
                  <a:lnTo>
                    <a:pt x="26554" y="5539"/>
                  </a:lnTo>
                  <a:lnTo>
                    <a:pt x="25251" y="7331"/>
                  </a:lnTo>
                  <a:lnTo>
                    <a:pt x="22970" y="7820"/>
                  </a:lnTo>
                  <a:close/>
                </a:path>
              </a:pathLst>
            </a:custGeom>
            <a:solidFill>
              <a:schemeClr val="bg2"/>
            </a:solidFill>
            <a:ln w="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7" name="Forma livre: Forma 206">
              <a:extLst>
                <a:ext uri="{FF2B5EF4-FFF2-40B4-BE49-F238E27FC236}">
                  <a16:creationId xmlns:a16="http://schemas.microsoft.com/office/drawing/2014/main" id="{9A982E87-7307-0881-806A-41998139EDA0}"/>
                </a:ext>
              </a:extLst>
            </p:cNvPr>
            <p:cNvSpPr/>
            <p:nvPr/>
          </p:nvSpPr>
          <p:spPr>
            <a:xfrm>
              <a:off x="8696142" y="4558046"/>
              <a:ext cx="139226" cy="119865"/>
            </a:xfrm>
            <a:custGeom>
              <a:avLst/>
              <a:gdLst>
                <a:gd name="connsiteX0" fmla="*/ 59136 w 134726"/>
                <a:gd name="connsiteY0" fmla="*/ 115991 h 115991"/>
                <a:gd name="connsiteX1" fmla="*/ 63861 w 134726"/>
                <a:gd name="connsiteY1" fmla="*/ 110126 h 115991"/>
                <a:gd name="connsiteX2" fmla="*/ 69399 w 134726"/>
                <a:gd name="connsiteY2" fmla="*/ 109149 h 115991"/>
                <a:gd name="connsiteX3" fmla="*/ 72332 w 134726"/>
                <a:gd name="connsiteY3" fmla="*/ 101818 h 115991"/>
                <a:gd name="connsiteX4" fmla="*/ 77382 w 134726"/>
                <a:gd name="connsiteY4" fmla="*/ 101655 h 115991"/>
                <a:gd name="connsiteX5" fmla="*/ 80152 w 134726"/>
                <a:gd name="connsiteY5" fmla="*/ 103447 h 115991"/>
                <a:gd name="connsiteX6" fmla="*/ 92207 w 134726"/>
                <a:gd name="connsiteY6" fmla="*/ 100515 h 115991"/>
                <a:gd name="connsiteX7" fmla="*/ 97094 w 134726"/>
                <a:gd name="connsiteY7" fmla="*/ 103447 h 115991"/>
                <a:gd name="connsiteX8" fmla="*/ 98397 w 134726"/>
                <a:gd name="connsiteY8" fmla="*/ 107031 h 115991"/>
                <a:gd name="connsiteX9" fmla="*/ 106543 w 134726"/>
                <a:gd name="connsiteY9" fmla="*/ 106380 h 115991"/>
                <a:gd name="connsiteX10" fmla="*/ 104099 w 134726"/>
                <a:gd name="connsiteY10" fmla="*/ 101166 h 115991"/>
                <a:gd name="connsiteX11" fmla="*/ 105077 w 134726"/>
                <a:gd name="connsiteY11" fmla="*/ 97582 h 115991"/>
                <a:gd name="connsiteX12" fmla="*/ 100515 w 134726"/>
                <a:gd name="connsiteY12" fmla="*/ 92858 h 115991"/>
                <a:gd name="connsiteX13" fmla="*/ 94813 w 134726"/>
                <a:gd name="connsiteY13" fmla="*/ 91066 h 115991"/>
                <a:gd name="connsiteX14" fmla="*/ 93673 w 134726"/>
                <a:gd name="connsiteY14" fmla="*/ 82106 h 115991"/>
                <a:gd name="connsiteX15" fmla="*/ 98886 w 134726"/>
                <a:gd name="connsiteY15" fmla="*/ 78359 h 115991"/>
                <a:gd name="connsiteX16" fmla="*/ 108172 w 134726"/>
                <a:gd name="connsiteY16" fmla="*/ 78848 h 115991"/>
                <a:gd name="connsiteX17" fmla="*/ 110779 w 134726"/>
                <a:gd name="connsiteY17" fmla="*/ 73798 h 115991"/>
                <a:gd name="connsiteX18" fmla="*/ 118109 w 134726"/>
                <a:gd name="connsiteY18" fmla="*/ 69073 h 115991"/>
                <a:gd name="connsiteX19" fmla="*/ 125115 w 134726"/>
                <a:gd name="connsiteY19" fmla="*/ 66956 h 115991"/>
                <a:gd name="connsiteX20" fmla="*/ 126255 w 134726"/>
                <a:gd name="connsiteY20" fmla="*/ 63697 h 115991"/>
                <a:gd name="connsiteX21" fmla="*/ 130327 w 134726"/>
                <a:gd name="connsiteY21" fmla="*/ 62068 h 115991"/>
                <a:gd name="connsiteX22" fmla="*/ 134074 w 134726"/>
                <a:gd name="connsiteY22" fmla="*/ 54412 h 115991"/>
                <a:gd name="connsiteX23" fmla="*/ 133097 w 134726"/>
                <a:gd name="connsiteY23" fmla="*/ 48547 h 115991"/>
                <a:gd name="connsiteX24" fmla="*/ 134726 w 134726"/>
                <a:gd name="connsiteY24" fmla="*/ 41705 h 115991"/>
                <a:gd name="connsiteX25" fmla="*/ 132934 w 134726"/>
                <a:gd name="connsiteY25" fmla="*/ 36817 h 115991"/>
                <a:gd name="connsiteX26" fmla="*/ 134074 w 134726"/>
                <a:gd name="connsiteY26" fmla="*/ 28835 h 115991"/>
                <a:gd name="connsiteX27" fmla="*/ 129513 w 134726"/>
                <a:gd name="connsiteY27" fmla="*/ 18572 h 115991"/>
                <a:gd name="connsiteX28" fmla="*/ 124952 w 134726"/>
                <a:gd name="connsiteY28" fmla="*/ 16128 h 115991"/>
                <a:gd name="connsiteX29" fmla="*/ 122019 w 134726"/>
                <a:gd name="connsiteY29" fmla="*/ 8308 h 115991"/>
                <a:gd name="connsiteX30" fmla="*/ 118109 w 134726"/>
                <a:gd name="connsiteY30" fmla="*/ 8471 h 115991"/>
                <a:gd name="connsiteX31" fmla="*/ 113059 w 134726"/>
                <a:gd name="connsiteY31" fmla="*/ 5050 h 115991"/>
                <a:gd name="connsiteX32" fmla="*/ 109312 w 134726"/>
                <a:gd name="connsiteY32" fmla="*/ 4073 h 115991"/>
                <a:gd name="connsiteX33" fmla="*/ 106869 w 134726"/>
                <a:gd name="connsiteY33" fmla="*/ 0 h 115991"/>
                <a:gd name="connsiteX34" fmla="*/ 98235 w 134726"/>
                <a:gd name="connsiteY34" fmla="*/ 1792 h 115991"/>
                <a:gd name="connsiteX35" fmla="*/ 93673 w 134726"/>
                <a:gd name="connsiteY35" fmla="*/ 6028 h 115991"/>
                <a:gd name="connsiteX36" fmla="*/ 99212 w 134726"/>
                <a:gd name="connsiteY36" fmla="*/ 11566 h 115991"/>
                <a:gd name="connsiteX37" fmla="*/ 98235 w 134726"/>
                <a:gd name="connsiteY37" fmla="*/ 16291 h 115991"/>
                <a:gd name="connsiteX38" fmla="*/ 99863 w 134726"/>
                <a:gd name="connsiteY38" fmla="*/ 21178 h 115991"/>
                <a:gd name="connsiteX39" fmla="*/ 99538 w 134726"/>
                <a:gd name="connsiteY39" fmla="*/ 24599 h 115991"/>
                <a:gd name="connsiteX40" fmla="*/ 91555 w 134726"/>
                <a:gd name="connsiteY40" fmla="*/ 21667 h 115991"/>
                <a:gd name="connsiteX41" fmla="*/ 86994 w 134726"/>
                <a:gd name="connsiteY41" fmla="*/ 14173 h 115991"/>
                <a:gd name="connsiteX42" fmla="*/ 79663 w 134726"/>
                <a:gd name="connsiteY42" fmla="*/ 14010 h 115991"/>
                <a:gd name="connsiteX43" fmla="*/ 77382 w 134726"/>
                <a:gd name="connsiteY43" fmla="*/ 10426 h 115991"/>
                <a:gd name="connsiteX44" fmla="*/ 71517 w 134726"/>
                <a:gd name="connsiteY44" fmla="*/ 6028 h 115991"/>
                <a:gd name="connsiteX45" fmla="*/ 68259 w 134726"/>
                <a:gd name="connsiteY45" fmla="*/ 7657 h 115991"/>
                <a:gd name="connsiteX46" fmla="*/ 63861 w 134726"/>
                <a:gd name="connsiteY46" fmla="*/ 4236 h 115991"/>
                <a:gd name="connsiteX47" fmla="*/ 56693 w 134726"/>
                <a:gd name="connsiteY47" fmla="*/ 5050 h 115991"/>
                <a:gd name="connsiteX48" fmla="*/ 51154 w 134726"/>
                <a:gd name="connsiteY48" fmla="*/ 3584 h 115991"/>
                <a:gd name="connsiteX49" fmla="*/ 45615 w 134726"/>
                <a:gd name="connsiteY49" fmla="*/ 3584 h 115991"/>
                <a:gd name="connsiteX50" fmla="*/ 38447 w 134726"/>
                <a:gd name="connsiteY50" fmla="*/ 6190 h 115991"/>
                <a:gd name="connsiteX51" fmla="*/ 36166 w 134726"/>
                <a:gd name="connsiteY51" fmla="*/ 4073 h 115991"/>
                <a:gd name="connsiteX52" fmla="*/ 28835 w 134726"/>
                <a:gd name="connsiteY52" fmla="*/ 3747 h 115991"/>
                <a:gd name="connsiteX53" fmla="*/ 16780 w 134726"/>
                <a:gd name="connsiteY53" fmla="*/ 7657 h 115991"/>
                <a:gd name="connsiteX54" fmla="*/ 11893 w 134726"/>
                <a:gd name="connsiteY54" fmla="*/ 7657 h 115991"/>
                <a:gd name="connsiteX55" fmla="*/ 6517 w 134726"/>
                <a:gd name="connsiteY55" fmla="*/ 15150 h 115991"/>
                <a:gd name="connsiteX56" fmla="*/ 4888 w 134726"/>
                <a:gd name="connsiteY56" fmla="*/ 22807 h 115991"/>
                <a:gd name="connsiteX57" fmla="*/ 652 w 134726"/>
                <a:gd name="connsiteY57" fmla="*/ 28509 h 115991"/>
                <a:gd name="connsiteX58" fmla="*/ 0 w 134726"/>
                <a:gd name="connsiteY58" fmla="*/ 38447 h 115991"/>
                <a:gd name="connsiteX59" fmla="*/ 2281 w 134726"/>
                <a:gd name="connsiteY59" fmla="*/ 48547 h 115991"/>
                <a:gd name="connsiteX60" fmla="*/ 6679 w 134726"/>
                <a:gd name="connsiteY60" fmla="*/ 50990 h 115991"/>
                <a:gd name="connsiteX61" fmla="*/ 9123 w 134726"/>
                <a:gd name="connsiteY61" fmla="*/ 55878 h 115991"/>
                <a:gd name="connsiteX62" fmla="*/ 8472 w 134726"/>
                <a:gd name="connsiteY62" fmla="*/ 65326 h 115991"/>
                <a:gd name="connsiteX63" fmla="*/ 7820 w 134726"/>
                <a:gd name="connsiteY63" fmla="*/ 69236 h 115991"/>
                <a:gd name="connsiteX64" fmla="*/ 7983 w 134726"/>
                <a:gd name="connsiteY64" fmla="*/ 69236 h 115991"/>
                <a:gd name="connsiteX65" fmla="*/ 11404 w 134726"/>
                <a:gd name="connsiteY65" fmla="*/ 73309 h 115991"/>
                <a:gd name="connsiteX66" fmla="*/ 11567 w 134726"/>
                <a:gd name="connsiteY66" fmla="*/ 78196 h 115991"/>
                <a:gd name="connsiteX67" fmla="*/ 14988 w 134726"/>
                <a:gd name="connsiteY67" fmla="*/ 81129 h 115991"/>
                <a:gd name="connsiteX68" fmla="*/ 15151 w 134726"/>
                <a:gd name="connsiteY68" fmla="*/ 86016 h 115991"/>
                <a:gd name="connsiteX69" fmla="*/ 18735 w 134726"/>
                <a:gd name="connsiteY69" fmla="*/ 91229 h 115991"/>
                <a:gd name="connsiteX70" fmla="*/ 20690 w 134726"/>
                <a:gd name="connsiteY70" fmla="*/ 90415 h 115991"/>
                <a:gd name="connsiteX71" fmla="*/ 22645 w 134726"/>
                <a:gd name="connsiteY71" fmla="*/ 94161 h 115991"/>
                <a:gd name="connsiteX72" fmla="*/ 22319 w 134726"/>
                <a:gd name="connsiteY72" fmla="*/ 98234 h 115991"/>
                <a:gd name="connsiteX73" fmla="*/ 23948 w 134726"/>
                <a:gd name="connsiteY73" fmla="*/ 101166 h 115991"/>
                <a:gd name="connsiteX74" fmla="*/ 24763 w 134726"/>
                <a:gd name="connsiteY74" fmla="*/ 104914 h 115991"/>
                <a:gd name="connsiteX75" fmla="*/ 28672 w 134726"/>
                <a:gd name="connsiteY75" fmla="*/ 105402 h 115991"/>
                <a:gd name="connsiteX76" fmla="*/ 31767 w 134726"/>
                <a:gd name="connsiteY76" fmla="*/ 104914 h 115991"/>
                <a:gd name="connsiteX77" fmla="*/ 31931 w 134726"/>
                <a:gd name="connsiteY77" fmla="*/ 100678 h 115991"/>
                <a:gd name="connsiteX78" fmla="*/ 35026 w 134726"/>
                <a:gd name="connsiteY78" fmla="*/ 97908 h 115991"/>
                <a:gd name="connsiteX79" fmla="*/ 37144 w 134726"/>
                <a:gd name="connsiteY79" fmla="*/ 96442 h 115991"/>
                <a:gd name="connsiteX80" fmla="*/ 37144 w 134726"/>
                <a:gd name="connsiteY80" fmla="*/ 99538 h 115991"/>
                <a:gd name="connsiteX81" fmla="*/ 38936 w 134726"/>
                <a:gd name="connsiteY81" fmla="*/ 103610 h 115991"/>
                <a:gd name="connsiteX82" fmla="*/ 38447 w 134726"/>
                <a:gd name="connsiteY82" fmla="*/ 106868 h 115991"/>
                <a:gd name="connsiteX83" fmla="*/ 35352 w 134726"/>
                <a:gd name="connsiteY83" fmla="*/ 110452 h 115991"/>
                <a:gd name="connsiteX84" fmla="*/ 36981 w 134726"/>
                <a:gd name="connsiteY84" fmla="*/ 112896 h 115991"/>
                <a:gd name="connsiteX85" fmla="*/ 37632 w 134726"/>
                <a:gd name="connsiteY85" fmla="*/ 114851 h 115991"/>
                <a:gd name="connsiteX86" fmla="*/ 40402 w 134726"/>
                <a:gd name="connsiteY86" fmla="*/ 115014 h 115991"/>
                <a:gd name="connsiteX87" fmla="*/ 44474 w 134726"/>
                <a:gd name="connsiteY87" fmla="*/ 111104 h 115991"/>
                <a:gd name="connsiteX88" fmla="*/ 44963 w 134726"/>
                <a:gd name="connsiteY88" fmla="*/ 109638 h 115991"/>
                <a:gd name="connsiteX89" fmla="*/ 47733 w 134726"/>
                <a:gd name="connsiteY89" fmla="*/ 111756 h 115991"/>
                <a:gd name="connsiteX90" fmla="*/ 52783 w 134726"/>
                <a:gd name="connsiteY90" fmla="*/ 113548 h 115991"/>
                <a:gd name="connsiteX91" fmla="*/ 54412 w 134726"/>
                <a:gd name="connsiteY91" fmla="*/ 112570 h 115991"/>
                <a:gd name="connsiteX92" fmla="*/ 59136 w 134726"/>
                <a:gd name="connsiteY92" fmla="*/ 115991 h 1159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</a:cxnLst>
              <a:rect l="l" t="t" r="r" b="b"/>
              <a:pathLst>
                <a:path w="134726" h="115991">
                  <a:moveTo>
                    <a:pt x="59136" y="115991"/>
                  </a:moveTo>
                  <a:lnTo>
                    <a:pt x="63861" y="110126"/>
                  </a:lnTo>
                  <a:lnTo>
                    <a:pt x="69399" y="109149"/>
                  </a:lnTo>
                  <a:lnTo>
                    <a:pt x="72332" y="101818"/>
                  </a:lnTo>
                  <a:lnTo>
                    <a:pt x="77382" y="101655"/>
                  </a:lnTo>
                  <a:lnTo>
                    <a:pt x="80152" y="103447"/>
                  </a:lnTo>
                  <a:lnTo>
                    <a:pt x="92207" y="100515"/>
                  </a:lnTo>
                  <a:lnTo>
                    <a:pt x="97094" y="103447"/>
                  </a:lnTo>
                  <a:lnTo>
                    <a:pt x="98397" y="107031"/>
                  </a:lnTo>
                  <a:lnTo>
                    <a:pt x="106543" y="106380"/>
                  </a:lnTo>
                  <a:lnTo>
                    <a:pt x="104099" y="101166"/>
                  </a:lnTo>
                  <a:lnTo>
                    <a:pt x="105077" y="97582"/>
                  </a:lnTo>
                  <a:lnTo>
                    <a:pt x="100515" y="92858"/>
                  </a:lnTo>
                  <a:lnTo>
                    <a:pt x="94813" y="91066"/>
                  </a:lnTo>
                  <a:lnTo>
                    <a:pt x="93673" y="82106"/>
                  </a:lnTo>
                  <a:lnTo>
                    <a:pt x="98886" y="78359"/>
                  </a:lnTo>
                  <a:lnTo>
                    <a:pt x="108172" y="78848"/>
                  </a:lnTo>
                  <a:lnTo>
                    <a:pt x="110779" y="73798"/>
                  </a:lnTo>
                  <a:lnTo>
                    <a:pt x="118109" y="69073"/>
                  </a:lnTo>
                  <a:lnTo>
                    <a:pt x="125115" y="66956"/>
                  </a:lnTo>
                  <a:lnTo>
                    <a:pt x="126255" y="63697"/>
                  </a:lnTo>
                  <a:lnTo>
                    <a:pt x="130327" y="62068"/>
                  </a:lnTo>
                  <a:lnTo>
                    <a:pt x="134074" y="54412"/>
                  </a:lnTo>
                  <a:lnTo>
                    <a:pt x="133097" y="48547"/>
                  </a:lnTo>
                  <a:lnTo>
                    <a:pt x="134726" y="41705"/>
                  </a:lnTo>
                  <a:lnTo>
                    <a:pt x="132934" y="36817"/>
                  </a:lnTo>
                  <a:lnTo>
                    <a:pt x="134074" y="28835"/>
                  </a:lnTo>
                  <a:lnTo>
                    <a:pt x="129513" y="18572"/>
                  </a:lnTo>
                  <a:lnTo>
                    <a:pt x="124952" y="16128"/>
                  </a:lnTo>
                  <a:lnTo>
                    <a:pt x="122019" y="8308"/>
                  </a:lnTo>
                  <a:lnTo>
                    <a:pt x="118109" y="8471"/>
                  </a:lnTo>
                  <a:lnTo>
                    <a:pt x="113059" y="5050"/>
                  </a:lnTo>
                  <a:lnTo>
                    <a:pt x="109312" y="4073"/>
                  </a:lnTo>
                  <a:lnTo>
                    <a:pt x="106869" y="0"/>
                  </a:lnTo>
                  <a:lnTo>
                    <a:pt x="98235" y="1792"/>
                  </a:lnTo>
                  <a:lnTo>
                    <a:pt x="93673" y="6028"/>
                  </a:lnTo>
                  <a:lnTo>
                    <a:pt x="99212" y="11566"/>
                  </a:lnTo>
                  <a:lnTo>
                    <a:pt x="98235" y="16291"/>
                  </a:lnTo>
                  <a:lnTo>
                    <a:pt x="99863" y="21178"/>
                  </a:lnTo>
                  <a:lnTo>
                    <a:pt x="99538" y="24599"/>
                  </a:lnTo>
                  <a:lnTo>
                    <a:pt x="91555" y="21667"/>
                  </a:lnTo>
                  <a:lnTo>
                    <a:pt x="86994" y="14173"/>
                  </a:lnTo>
                  <a:lnTo>
                    <a:pt x="79663" y="14010"/>
                  </a:lnTo>
                  <a:lnTo>
                    <a:pt x="77382" y="10426"/>
                  </a:lnTo>
                  <a:lnTo>
                    <a:pt x="71517" y="6028"/>
                  </a:lnTo>
                  <a:lnTo>
                    <a:pt x="68259" y="7657"/>
                  </a:lnTo>
                  <a:lnTo>
                    <a:pt x="63861" y="4236"/>
                  </a:lnTo>
                  <a:lnTo>
                    <a:pt x="56693" y="5050"/>
                  </a:lnTo>
                  <a:lnTo>
                    <a:pt x="51154" y="3584"/>
                  </a:lnTo>
                  <a:lnTo>
                    <a:pt x="45615" y="3584"/>
                  </a:lnTo>
                  <a:lnTo>
                    <a:pt x="38447" y="6190"/>
                  </a:lnTo>
                  <a:lnTo>
                    <a:pt x="36166" y="4073"/>
                  </a:lnTo>
                  <a:lnTo>
                    <a:pt x="28835" y="3747"/>
                  </a:lnTo>
                  <a:lnTo>
                    <a:pt x="16780" y="7657"/>
                  </a:lnTo>
                  <a:lnTo>
                    <a:pt x="11893" y="7657"/>
                  </a:lnTo>
                  <a:lnTo>
                    <a:pt x="6517" y="15150"/>
                  </a:lnTo>
                  <a:lnTo>
                    <a:pt x="4888" y="22807"/>
                  </a:lnTo>
                  <a:lnTo>
                    <a:pt x="652" y="28509"/>
                  </a:lnTo>
                  <a:lnTo>
                    <a:pt x="0" y="38447"/>
                  </a:lnTo>
                  <a:lnTo>
                    <a:pt x="2281" y="48547"/>
                  </a:lnTo>
                  <a:lnTo>
                    <a:pt x="6679" y="50990"/>
                  </a:lnTo>
                  <a:lnTo>
                    <a:pt x="9123" y="55878"/>
                  </a:lnTo>
                  <a:lnTo>
                    <a:pt x="8472" y="65326"/>
                  </a:lnTo>
                  <a:lnTo>
                    <a:pt x="7820" y="69236"/>
                  </a:lnTo>
                  <a:lnTo>
                    <a:pt x="7983" y="69236"/>
                  </a:lnTo>
                  <a:lnTo>
                    <a:pt x="11404" y="73309"/>
                  </a:lnTo>
                  <a:lnTo>
                    <a:pt x="11567" y="78196"/>
                  </a:lnTo>
                  <a:lnTo>
                    <a:pt x="14988" y="81129"/>
                  </a:lnTo>
                  <a:lnTo>
                    <a:pt x="15151" y="86016"/>
                  </a:lnTo>
                  <a:lnTo>
                    <a:pt x="18735" y="91229"/>
                  </a:lnTo>
                  <a:lnTo>
                    <a:pt x="20690" y="90415"/>
                  </a:lnTo>
                  <a:lnTo>
                    <a:pt x="22645" y="94161"/>
                  </a:lnTo>
                  <a:lnTo>
                    <a:pt x="22319" y="98234"/>
                  </a:lnTo>
                  <a:lnTo>
                    <a:pt x="23948" y="101166"/>
                  </a:lnTo>
                  <a:lnTo>
                    <a:pt x="24763" y="104914"/>
                  </a:lnTo>
                  <a:lnTo>
                    <a:pt x="28672" y="105402"/>
                  </a:lnTo>
                  <a:lnTo>
                    <a:pt x="31767" y="104914"/>
                  </a:lnTo>
                  <a:lnTo>
                    <a:pt x="31931" y="100678"/>
                  </a:lnTo>
                  <a:lnTo>
                    <a:pt x="35026" y="97908"/>
                  </a:lnTo>
                  <a:lnTo>
                    <a:pt x="37144" y="96442"/>
                  </a:lnTo>
                  <a:lnTo>
                    <a:pt x="37144" y="99538"/>
                  </a:lnTo>
                  <a:lnTo>
                    <a:pt x="38936" y="103610"/>
                  </a:lnTo>
                  <a:lnTo>
                    <a:pt x="38447" y="106868"/>
                  </a:lnTo>
                  <a:lnTo>
                    <a:pt x="35352" y="110452"/>
                  </a:lnTo>
                  <a:lnTo>
                    <a:pt x="36981" y="112896"/>
                  </a:lnTo>
                  <a:lnTo>
                    <a:pt x="37632" y="114851"/>
                  </a:lnTo>
                  <a:lnTo>
                    <a:pt x="40402" y="115014"/>
                  </a:lnTo>
                  <a:lnTo>
                    <a:pt x="44474" y="111104"/>
                  </a:lnTo>
                  <a:lnTo>
                    <a:pt x="44963" y="109638"/>
                  </a:lnTo>
                  <a:lnTo>
                    <a:pt x="47733" y="111756"/>
                  </a:lnTo>
                  <a:lnTo>
                    <a:pt x="52783" y="113548"/>
                  </a:lnTo>
                  <a:lnTo>
                    <a:pt x="54412" y="112570"/>
                  </a:lnTo>
                  <a:lnTo>
                    <a:pt x="59136" y="115991"/>
                  </a:lnTo>
                  <a:close/>
                </a:path>
              </a:pathLst>
            </a:custGeom>
            <a:solidFill>
              <a:schemeClr val="bg2"/>
            </a:solidFill>
            <a:ln w="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8" name="Forma livre: Forma 207">
              <a:extLst>
                <a:ext uri="{FF2B5EF4-FFF2-40B4-BE49-F238E27FC236}">
                  <a16:creationId xmlns:a16="http://schemas.microsoft.com/office/drawing/2014/main" id="{EFD3FCEB-804C-5CBE-75B5-1FDC95E2DD04}"/>
                </a:ext>
              </a:extLst>
            </p:cNvPr>
            <p:cNvSpPr/>
            <p:nvPr/>
          </p:nvSpPr>
          <p:spPr>
            <a:xfrm>
              <a:off x="8616175" y="4334308"/>
              <a:ext cx="215489" cy="249158"/>
            </a:xfrm>
            <a:custGeom>
              <a:avLst/>
              <a:gdLst>
                <a:gd name="connsiteX0" fmla="*/ 23948 w 208524"/>
                <a:gd name="connsiteY0" fmla="*/ 27206 h 241105"/>
                <a:gd name="connsiteX1" fmla="*/ 27206 w 208524"/>
                <a:gd name="connsiteY1" fmla="*/ 29650 h 241105"/>
                <a:gd name="connsiteX2" fmla="*/ 29324 w 208524"/>
                <a:gd name="connsiteY2" fmla="*/ 33885 h 241105"/>
                <a:gd name="connsiteX3" fmla="*/ 36003 w 208524"/>
                <a:gd name="connsiteY3" fmla="*/ 31767 h 241105"/>
                <a:gd name="connsiteX4" fmla="*/ 40402 w 208524"/>
                <a:gd name="connsiteY4" fmla="*/ 32908 h 241105"/>
                <a:gd name="connsiteX5" fmla="*/ 38936 w 208524"/>
                <a:gd name="connsiteY5" fmla="*/ 26554 h 241105"/>
                <a:gd name="connsiteX6" fmla="*/ 38610 w 208524"/>
                <a:gd name="connsiteY6" fmla="*/ 20364 h 241105"/>
                <a:gd name="connsiteX7" fmla="*/ 36655 w 208524"/>
                <a:gd name="connsiteY7" fmla="*/ 14988 h 241105"/>
                <a:gd name="connsiteX8" fmla="*/ 36329 w 208524"/>
                <a:gd name="connsiteY8" fmla="*/ 6353 h 241105"/>
                <a:gd name="connsiteX9" fmla="*/ 39913 w 208524"/>
                <a:gd name="connsiteY9" fmla="*/ 4073 h 241105"/>
                <a:gd name="connsiteX10" fmla="*/ 39913 w 208524"/>
                <a:gd name="connsiteY10" fmla="*/ 326 h 241105"/>
                <a:gd name="connsiteX11" fmla="*/ 49362 w 208524"/>
                <a:gd name="connsiteY11" fmla="*/ 0 h 241105"/>
                <a:gd name="connsiteX12" fmla="*/ 51317 w 208524"/>
                <a:gd name="connsiteY12" fmla="*/ 3584 h 241105"/>
                <a:gd name="connsiteX13" fmla="*/ 60114 w 208524"/>
                <a:gd name="connsiteY13" fmla="*/ 7331 h 241105"/>
                <a:gd name="connsiteX14" fmla="*/ 64349 w 208524"/>
                <a:gd name="connsiteY14" fmla="*/ 13685 h 241105"/>
                <a:gd name="connsiteX15" fmla="*/ 68911 w 208524"/>
                <a:gd name="connsiteY15" fmla="*/ 17594 h 241105"/>
                <a:gd name="connsiteX16" fmla="*/ 69888 w 208524"/>
                <a:gd name="connsiteY16" fmla="*/ 23133 h 241105"/>
                <a:gd name="connsiteX17" fmla="*/ 67933 w 208524"/>
                <a:gd name="connsiteY17" fmla="*/ 27369 h 241105"/>
                <a:gd name="connsiteX18" fmla="*/ 76731 w 208524"/>
                <a:gd name="connsiteY18" fmla="*/ 35677 h 241105"/>
                <a:gd name="connsiteX19" fmla="*/ 82106 w 208524"/>
                <a:gd name="connsiteY19" fmla="*/ 44311 h 241105"/>
                <a:gd name="connsiteX20" fmla="*/ 92695 w 208524"/>
                <a:gd name="connsiteY20" fmla="*/ 44474 h 241105"/>
                <a:gd name="connsiteX21" fmla="*/ 99049 w 208524"/>
                <a:gd name="connsiteY21" fmla="*/ 46429 h 241105"/>
                <a:gd name="connsiteX22" fmla="*/ 104751 w 208524"/>
                <a:gd name="connsiteY22" fmla="*/ 42845 h 241105"/>
                <a:gd name="connsiteX23" fmla="*/ 111919 w 208524"/>
                <a:gd name="connsiteY23" fmla="*/ 42845 h 241105"/>
                <a:gd name="connsiteX24" fmla="*/ 115666 w 208524"/>
                <a:gd name="connsiteY24" fmla="*/ 47407 h 241105"/>
                <a:gd name="connsiteX25" fmla="*/ 122182 w 208524"/>
                <a:gd name="connsiteY25" fmla="*/ 48710 h 241105"/>
                <a:gd name="connsiteX26" fmla="*/ 123160 w 208524"/>
                <a:gd name="connsiteY26" fmla="*/ 53923 h 241105"/>
                <a:gd name="connsiteX27" fmla="*/ 122997 w 208524"/>
                <a:gd name="connsiteY27" fmla="*/ 58485 h 241105"/>
                <a:gd name="connsiteX28" fmla="*/ 130327 w 208524"/>
                <a:gd name="connsiteY28" fmla="*/ 60276 h 241105"/>
                <a:gd name="connsiteX29" fmla="*/ 130327 w 208524"/>
                <a:gd name="connsiteY29" fmla="*/ 63698 h 241105"/>
                <a:gd name="connsiteX30" fmla="*/ 126581 w 208524"/>
                <a:gd name="connsiteY30" fmla="*/ 65001 h 241105"/>
                <a:gd name="connsiteX31" fmla="*/ 123648 w 208524"/>
                <a:gd name="connsiteY31" fmla="*/ 74938 h 241105"/>
                <a:gd name="connsiteX32" fmla="*/ 120879 w 208524"/>
                <a:gd name="connsiteY32" fmla="*/ 77871 h 241105"/>
                <a:gd name="connsiteX33" fmla="*/ 115992 w 208524"/>
                <a:gd name="connsiteY33" fmla="*/ 78685 h 241105"/>
                <a:gd name="connsiteX34" fmla="*/ 108661 w 208524"/>
                <a:gd name="connsiteY34" fmla="*/ 81129 h 241105"/>
                <a:gd name="connsiteX35" fmla="*/ 104751 w 208524"/>
                <a:gd name="connsiteY35" fmla="*/ 81455 h 241105"/>
                <a:gd name="connsiteX36" fmla="*/ 105402 w 208524"/>
                <a:gd name="connsiteY36" fmla="*/ 85690 h 241105"/>
                <a:gd name="connsiteX37" fmla="*/ 110779 w 208524"/>
                <a:gd name="connsiteY37" fmla="*/ 91718 h 241105"/>
                <a:gd name="connsiteX38" fmla="*/ 107031 w 208524"/>
                <a:gd name="connsiteY38" fmla="*/ 95791 h 241105"/>
                <a:gd name="connsiteX39" fmla="*/ 108172 w 208524"/>
                <a:gd name="connsiteY39" fmla="*/ 99049 h 241105"/>
                <a:gd name="connsiteX40" fmla="*/ 112245 w 208524"/>
                <a:gd name="connsiteY40" fmla="*/ 99049 h 241105"/>
                <a:gd name="connsiteX41" fmla="*/ 115992 w 208524"/>
                <a:gd name="connsiteY41" fmla="*/ 105728 h 241105"/>
                <a:gd name="connsiteX42" fmla="*/ 123811 w 208524"/>
                <a:gd name="connsiteY42" fmla="*/ 106217 h 241105"/>
                <a:gd name="connsiteX43" fmla="*/ 131468 w 208524"/>
                <a:gd name="connsiteY43" fmla="*/ 110290 h 241105"/>
                <a:gd name="connsiteX44" fmla="*/ 136518 w 208524"/>
                <a:gd name="connsiteY44" fmla="*/ 110778 h 241105"/>
                <a:gd name="connsiteX45" fmla="*/ 143035 w 208524"/>
                <a:gd name="connsiteY45" fmla="*/ 119738 h 241105"/>
                <a:gd name="connsiteX46" fmla="*/ 150365 w 208524"/>
                <a:gd name="connsiteY46" fmla="*/ 122996 h 241105"/>
                <a:gd name="connsiteX47" fmla="*/ 155579 w 208524"/>
                <a:gd name="connsiteY47" fmla="*/ 130327 h 241105"/>
                <a:gd name="connsiteX48" fmla="*/ 155253 w 208524"/>
                <a:gd name="connsiteY48" fmla="*/ 134237 h 241105"/>
                <a:gd name="connsiteX49" fmla="*/ 163072 w 208524"/>
                <a:gd name="connsiteY49" fmla="*/ 143034 h 241105"/>
                <a:gd name="connsiteX50" fmla="*/ 165353 w 208524"/>
                <a:gd name="connsiteY50" fmla="*/ 149225 h 241105"/>
                <a:gd name="connsiteX51" fmla="*/ 168611 w 208524"/>
                <a:gd name="connsiteY51" fmla="*/ 150854 h 241105"/>
                <a:gd name="connsiteX52" fmla="*/ 174965 w 208524"/>
                <a:gd name="connsiteY52" fmla="*/ 150854 h 241105"/>
                <a:gd name="connsiteX53" fmla="*/ 177734 w 208524"/>
                <a:gd name="connsiteY53" fmla="*/ 155415 h 241105"/>
                <a:gd name="connsiteX54" fmla="*/ 178386 w 208524"/>
                <a:gd name="connsiteY54" fmla="*/ 159814 h 241105"/>
                <a:gd name="connsiteX55" fmla="*/ 181644 w 208524"/>
                <a:gd name="connsiteY55" fmla="*/ 163398 h 241105"/>
                <a:gd name="connsiteX56" fmla="*/ 183925 w 208524"/>
                <a:gd name="connsiteY56" fmla="*/ 162584 h 241105"/>
                <a:gd name="connsiteX57" fmla="*/ 187835 w 208524"/>
                <a:gd name="connsiteY57" fmla="*/ 164376 h 241105"/>
                <a:gd name="connsiteX58" fmla="*/ 186857 w 208524"/>
                <a:gd name="connsiteY58" fmla="*/ 168611 h 241105"/>
                <a:gd name="connsiteX59" fmla="*/ 188975 w 208524"/>
                <a:gd name="connsiteY59" fmla="*/ 171055 h 241105"/>
                <a:gd name="connsiteX60" fmla="*/ 194677 w 208524"/>
                <a:gd name="connsiteY60" fmla="*/ 171543 h 241105"/>
                <a:gd name="connsiteX61" fmla="*/ 197772 w 208524"/>
                <a:gd name="connsiteY61" fmla="*/ 175779 h 241105"/>
                <a:gd name="connsiteX62" fmla="*/ 200379 w 208524"/>
                <a:gd name="connsiteY62" fmla="*/ 176431 h 241105"/>
                <a:gd name="connsiteX63" fmla="*/ 205266 w 208524"/>
                <a:gd name="connsiteY63" fmla="*/ 174476 h 241105"/>
                <a:gd name="connsiteX64" fmla="*/ 206895 w 208524"/>
                <a:gd name="connsiteY64" fmla="*/ 178385 h 241105"/>
                <a:gd name="connsiteX65" fmla="*/ 203311 w 208524"/>
                <a:gd name="connsiteY65" fmla="*/ 181969 h 241105"/>
                <a:gd name="connsiteX66" fmla="*/ 202496 w 208524"/>
                <a:gd name="connsiteY66" fmla="*/ 188812 h 241105"/>
                <a:gd name="connsiteX67" fmla="*/ 204614 w 208524"/>
                <a:gd name="connsiteY67" fmla="*/ 191744 h 241105"/>
                <a:gd name="connsiteX68" fmla="*/ 208524 w 208524"/>
                <a:gd name="connsiteY68" fmla="*/ 192233 h 241105"/>
                <a:gd name="connsiteX69" fmla="*/ 208524 w 208524"/>
                <a:gd name="connsiteY69" fmla="*/ 198423 h 241105"/>
                <a:gd name="connsiteX70" fmla="*/ 201193 w 208524"/>
                <a:gd name="connsiteY70" fmla="*/ 204125 h 241105"/>
                <a:gd name="connsiteX71" fmla="*/ 202333 w 208524"/>
                <a:gd name="connsiteY71" fmla="*/ 210804 h 241105"/>
                <a:gd name="connsiteX72" fmla="*/ 204126 w 208524"/>
                <a:gd name="connsiteY72" fmla="*/ 214226 h 241105"/>
                <a:gd name="connsiteX73" fmla="*/ 204940 w 208524"/>
                <a:gd name="connsiteY73" fmla="*/ 221719 h 241105"/>
                <a:gd name="connsiteX74" fmla="*/ 200215 w 208524"/>
                <a:gd name="connsiteY74" fmla="*/ 224815 h 241105"/>
                <a:gd name="connsiteX75" fmla="*/ 195491 w 208524"/>
                <a:gd name="connsiteY75" fmla="*/ 224977 h 241105"/>
                <a:gd name="connsiteX76" fmla="*/ 190441 w 208524"/>
                <a:gd name="connsiteY76" fmla="*/ 221557 h 241105"/>
                <a:gd name="connsiteX77" fmla="*/ 186694 w 208524"/>
                <a:gd name="connsiteY77" fmla="*/ 220579 h 241105"/>
                <a:gd name="connsiteX78" fmla="*/ 184251 w 208524"/>
                <a:gd name="connsiteY78" fmla="*/ 216506 h 241105"/>
                <a:gd name="connsiteX79" fmla="*/ 175617 w 208524"/>
                <a:gd name="connsiteY79" fmla="*/ 218298 h 241105"/>
                <a:gd name="connsiteX80" fmla="*/ 171055 w 208524"/>
                <a:gd name="connsiteY80" fmla="*/ 222534 h 241105"/>
                <a:gd name="connsiteX81" fmla="*/ 176594 w 208524"/>
                <a:gd name="connsiteY81" fmla="*/ 228073 h 241105"/>
                <a:gd name="connsiteX82" fmla="*/ 175617 w 208524"/>
                <a:gd name="connsiteY82" fmla="*/ 232797 h 241105"/>
                <a:gd name="connsiteX83" fmla="*/ 177245 w 208524"/>
                <a:gd name="connsiteY83" fmla="*/ 237685 h 241105"/>
                <a:gd name="connsiteX84" fmla="*/ 176920 w 208524"/>
                <a:gd name="connsiteY84" fmla="*/ 241106 h 241105"/>
                <a:gd name="connsiteX85" fmla="*/ 168937 w 208524"/>
                <a:gd name="connsiteY85" fmla="*/ 238173 h 241105"/>
                <a:gd name="connsiteX86" fmla="*/ 164376 w 208524"/>
                <a:gd name="connsiteY86" fmla="*/ 230679 h 241105"/>
                <a:gd name="connsiteX87" fmla="*/ 157045 w 208524"/>
                <a:gd name="connsiteY87" fmla="*/ 230517 h 241105"/>
                <a:gd name="connsiteX88" fmla="*/ 154764 w 208524"/>
                <a:gd name="connsiteY88" fmla="*/ 226933 h 241105"/>
                <a:gd name="connsiteX89" fmla="*/ 148899 w 208524"/>
                <a:gd name="connsiteY89" fmla="*/ 222534 h 241105"/>
                <a:gd name="connsiteX90" fmla="*/ 151669 w 208524"/>
                <a:gd name="connsiteY90" fmla="*/ 221231 h 241105"/>
                <a:gd name="connsiteX91" fmla="*/ 155090 w 208524"/>
                <a:gd name="connsiteY91" fmla="*/ 217484 h 241105"/>
                <a:gd name="connsiteX92" fmla="*/ 155415 w 208524"/>
                <a:gd name="connsiteY92" fmla="*/ 208361 h 241105"/>
                <a:gd name="connsiteX93" fmla="*/ 153461 w 208524"/>
                <a:gd name="connsiteY93" fmla="*/ 204288 h 241105"/>
                <a:gd name="connsiteX94" fmla="*/ 155415 w 208524"/>
                <a:gd name="connsiteY94" fmla="*/ 199564 h 241105"/>
                <a:gd name="connsiteX95" fmla="*/ 155090 w 208524"/>
                <a:gd name="connsiteY95" fmla="*/ 196143 h 241105"/>
                <a:gd name="connsiteX96" fmla="*/ 156719 w 208524"/>
                <a:gd name="connsiteY96" fmla="*/ 190441 h 241105"/>
                <a:gd name="connsiteX97" fmla="*/ 155579 w 208524"/>
                <a:gd name="connsiteY97" fmla="*/ 187020 h 241105"/>
                <a:gd name="connsiteX98" fmla="*/ 149062 w 208524"/>
                <a:gd name="connsiteY98" fmla="*/ 182784 h 241105"/>
                <a:gd name="connsiteX99" fmla="*/ 150854 w 208524"/>
                <a:gd name="connsiteY99" fmla="*/ 180015 h 241105"/>
                <a:gd name="connsiteX100" fmla="*/ 146293 w 208524"/>
                <a:gd name="connsiteY100" fmla="*/ 178060 h 241105"/>
                <a:gd name="connsiteX101" fmla="*/ 141568 w 208524"/>
                <a:gd name="connsiteY101" fmla="*/ 177734 h 241105"/>
                <a:gd name="connsiteX102" fmla="*/ 136192 w 208524"/>
                <a:gd name="connsiteY102" fmla="*/ 171869 h 241105"/>
                <a:gd name="connsiteX103" fmla="*/ 131631 w 208524"/>
                <a:gd name="connsiteY103" fmla="*/ 168611 h 241105"/>
                <a:gd name="connsiteX104" fmla="*/ 132934 w 208524"/>
                <a:gd name="connsiteY104" fmla="*/ 164701 h 241105"/>
                <a:gd name="connsiteX105" fmla="*/ 133260 w 208524"/>
                <a:gd name="connsiteY105" fmla="*/ 157533 h 241105"/>
                <a:gd name="connsiteX106" fmla="*/ 130490 w 208524"/>
                <a:gd name="connsiteY106" fmla="*/ 151343 h 241105"/>
                <a:gd name="connsiteX107" fmla="*/ 132283 w 208524"/>
                <a:gd name="connsiteY107" fmla="*/ 148247 h 241105"/>
                <a:gd name="connsiteX108" fmla="*/ 133260 w 208524"/>
                <a:gd name="connsiteY108" fmla="*/ 143849 h 241105"/>
                <a:gd name="connsiteX109" fmla="*/ 130653 w 208524"/>
                <a:gd name="connsiteY109" fmla="*/ 138310 h 241105"/>
                <a:gd name="connsiteX110" fmla="*/ 124463 w 208524"/>
                <a:gd name="connsiteY110" fmla="*/ 133749 h 241105"/>
                <a:gd name="connsiteX111" fmla="*/ 113385 w 208524"/>
                <a:gd name="connsiteY111" fmla="*/ 125766 h 241105"/>
                <a:gd name="connsiteX112" fmla="*/ 109638 w 208524"/>
                <a:gd name="connsiteY112" fmla="*/ 118272 h 241105"/>
                <a:gd name="connsiteX113" fmla="*/ 98235 w 208524"/>
                <a:gd name="connsiteY113" fmla="*/ 115340 h 241105"/>
                <a:gd name="connsiteX114" fmla="*/ 89763 w 208524"/>
                <a:gd name="connsiteY114" fmla="*/ 117295 h 241105"/>
                <a:gd name="connsiteX115" fmla="*/ 84224 w 208524"/>
                <a:gd name="connsiteY115" fmla="*/ 128698 h 241105"/>
                <a:gd name="connsiteX116" fmla="*/ 73472 w 208524"/>
                <a:gd name="connsiteY116" fmla="*/ 129839 h 241105"/>
                <a:gd name="connsiteX117" fmla="*/ 69074 w 208524"/>
                <a:gd name="connsiteY117" fmla="*/ 124300 h 241105"/>
                <a:gd name="connsiteX118" fmla="*/ 63861 w 208524"/>
                <a:gd name="connsiteY118" fmla="*/ 124626 h 241105"/>
                <a:gd name="connsiteX119" fmla="*/ 55390 w 208524"/>
                <a:gd name="connsiteY119" fmla="*/ 120227 h 241105"/>
                <a:gd name="connsiteX120" fmla="*/ 47244 w 208524"/>
                <a:gd name="connsiteY120" fmla="*/ 123811 h 241105"/>
                <a:gd name="connsiteX121" fmla="*/ 46592 w 208524"/>
                <a:gd name="connsiteY121" fmla="*/ 129024 h 241105"/>
                <a:gd name="connsiteX122" fmla="*/ 40239 w 208524"/>
                <a:gd name="connsiteY122" fmla="*/ 130490 h 241105"/>
                <a:gd name="connsiteX123" fmla="*/ 33234 w 208524"/>
                <a:gd name="connsiteY123" fmla="*/ 134237 h 241105"/>
                <a:gd name="connsiteX124" fmla="*/ 32908 w 208524"/>
                <a:gd name="connsiteY124" fmla="*/ 120879 h 241105"/>
                <a:gd name="connsiteX125" fmla="*/ 32908 w 208524"/>
                <a:gd name="connsiteY125" fmla="*/ 111919 h 241105"/>
                <a:gd name="connsiteX126" fmla="*/ 30627 w 208524"/>
                <a:gd name="connsiteY126" fmla="*/ 105728 h 241105"/>
                <a:gd name="connsiteX127" fmla="*/ 33560 w 208524"/>
                <a:gd name="connsiteY127" fmla="*/ 101818 h 241105"/>
                <a:gd name="connsiteX128" fmla="*/ 33722 w 208524"/>
                <a:gd name="connsiteY128" fmla="*/ 97745 h 241105"/>
                <a:gd name="connsiteX129" fmla="*/ 30790 w 208524"/>
                <a:gd name="connsiteY129" fmla="*/ 92858 h 241105"/>
                <a:gd name="connsiteX130" fmla="*/ 33722 w 208524"/>
                <a:gd name="connsiteY130" fmla="*/ 86994 h 241105"/>
                <a:gd name="connsiteX131" fmla="*/ 33560 w 208524"/>
                <a:gd name="connsiteY131" fmla="*/ 82432 h 241105"/>
                <a:gd name="connsiteX132" fmla="*/ 24111 w 208524"/>
                <a:gd name="connsiteY132" fmla="*/ 82269 h 241105"/>
                <a:gd name="connsiteX133" fmla="*/ 19712 w 208524"/>
                <a:gd name="connsiteY133" fmla="*/ 86016 h 241105"/>
                <a:gd name="connsiteX134" fmla="*/ 15640 w 208524"/>
                <a:gd name="connsiteY134" fmla="*/ 84550 h 241105"/>
                <a:gd name="connsiteX135" fmla="*/ 12056 w 208524"/>
                <a:gd name="connsiteY135" fmla="*/ 78034 h 241105"/>
                <a:gd name="connsiteX136" fmla="*/ 16128 w 208524"/>
                <a:gd name="connsiteY136" fmla="*/ 75101 h 241105"/>
                <a:gd name="connsiteX137" fmla="*/ 14825 w 208524"/>
                <a:gd name="connsiteY137" fmla="*/ 66304 h 241105"/>
                <a:gd name="connsiteX138" fmla="*/ 9775 w 208524"/>
                <a:gd name="connsiteY138" fmla="*/ 60439 h 241105"/>
                <a:gd name="connsiteX139" fmla="*/ 2933 w 208524"/>
                <a:gd name="connsiteY139" fmla="*/ 62068 h 241105"/>
                <a:gd name="connsiteX140" fmla="*/ 0 w 208524"/>
                <a:gd name="connsiteY140" fmla="*/ 56041 h 241105"/>
                <a:gd name="connsiteX141" fmla="*/ 2933 w 208524"/>
                <a:gd name="connsiteY141" fmla="*/ 49525 h 241105"/>
                <a:gd name="connsiteX142" fmla="*/ 5702 w 208524"/>
                <a:gd name="connsiteY142" fmla="*/ 49525 h 241105"/>
                <a:gd name="connsiteX143" fmla="*/ 10915 w 208524"/>
                <a:gd name="connsiteY143" fmla="*/ 45289 h 241105"/>
                <a:gd name="connsiteX144" fmla="*/ 8472 w 208524"/>
                <a:gd name="connsiteY144" fmla="*/ 42031 h 241105"/>
                <a:gd name="connsiteX145" fmla="*/ 11404 w 208524"/>
                <a:gd name="connsiteY145" fmla="*/ 37958 h 241105"/>
                <a:gd name="connsiteX146" fmla="*/ 11729 w 208524"/>
                <a:gd name="connsiteY146" fmla="*/ 33071 h 241105"/>
                <a:gd name="connsiteX147" fmla="*/ 18898 w 208524"/>
                <a:gd name="connsiteY147" fmla="*/ 31604 h 241105"/>
                <a:gd name="connsiteX148" fmla="*/ 23948 w 208524"/>
                <a:gd name="connsiteY148" fmla="*/ 27206 h 2411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</a:cxnLst>
              <a:rect l="l" t="t" r="r" b="b"/>
              <a:pathLst>
                <a:path w="208524" h="241105">
                  <a:moveTo>
                    <a:pt x="23948" y="27206"/>
                  </a:moveTo>
                  <a:lnTo>
                    <a:pt x="27206" y="29650"/>
                  </a:lnTo>
                  <a:lnTo>
                    <a:pt x="29324" y="33885"/>
                  </a:lnTo>
                  <a:lnTo>
                    <a:pt x="36003" y="31767"/>
                  </a:lnTo>
                  <a:lnTo>
                    <a:pt x="40402" y="32908"/>
                  </a:lnTo>
                  <a:lnTo>
                    <a:pt x="38936" y="26554"/>
                  </a:lnTo>
                  <a:lnTo>
                    <a:pt x="38610" y="20364"/>
                  </a:lnTo>
                  <a:lnTo>
                    <a:pt x="36655" y="14988"/>
                  </a:lnTo>
                  <a:lnTo>
                    <a:pt x="36329" y="6353"/>
                  </a:lnTo>
                  <a:lnTo>
                    <a:pt x="39913" y="4073"/>
                  </a:lnTo>
                  <a:lnTo>
                    <a:pt x="39913" y="326"/>
                  </a:lnTo>
                  <a:lnTo>
                    <a:pt x="49362" y="0"/>
                  </a:lnTo>
                  <a:lnTo>
                    <a:pt x="51317" y="3584"/>
                  </a:lnTo>
                  <a:lnTo>
                    <a:pt x="60114" y="7331"/>
                  </a:lnTo>
                  <a:lnTo>
                    <a:pt x="64349" y="13685"/>
                  </a:lnTo>
                  <a:lnTo>
                    <a:pt x="68911" y="17594"/>
                  </a:lnTo>
                  <a:lnTo>
                    <a:pt x="69888" y="23133"/>
                  </a:lnTo>
                  <a:lnTo>
                    <a:pt x="67933" y="27369"/>
                  </a:lnTo>
                  <a:lnTo>
                    <a:pt x="76731" y="35677"/>
                  </a:lnTo>
                  <a:lnTo>
                    <a:pt x="82106" y="44311"/>
                  </a:lnTo>
                  <a:lnTo>
                    <a:pt x="92695" y="44474"/>
                  </a:lnTo>
                  <a:lnTo>
                    <a:pt x="99049" y="46429"/>
                  </a:lnTo>
                  <a:lnTo>
                    <a:pt x="104751" y="42845"/>
                  </a:lnTo>
                  <a:lnTo>
                    <a:pt x="111919" y="42845"/>
                  </a:lnTo>
                  <a:lnTo>
                    <a:pt x="115666" y="47407"/>
                  </a:lnTo>
                  <a:lnTo>
                    <a:pt x="122182" y="48710"/>
                  </a:lnTo>
                  <a:lnTo>
                    <a:pt x="123160" y="53923"/>
                  </a:lnTo>
                  <a:lnTo>
                    <a:pt x="122997" y="58485"/>
                  </a:lnTo>
                  <a:lnTo>
                    <a:pt x="130327" y="60276"/>
                  </a:lnTo>
                  <a:lnTo>
                    <a:pt x="130327" y="63698"/>
                  </a:lnTo>
                  <a:lnTo>
                    <a:pt x="126581" y="65001"/>
                  </a:lnTo>
                  <a:lnTo>
                    <a:pt x="123648" y="74938"/>
                  </a:lnTo>
                  <a:lnTo>
                    <a:pt x="120879" y="77871"/>
                  </a:lnTo>
                  <a:lnTo>
                    <a:pt x="115992" y="78685"/>
                  </a:lnTo>
                  <a:lnTo>
                    <a:pt x="108661" y="81129"/>
                  </a:lnTo>
                  <a:lnTo>
                    <a:pt x="104751" y="81455"/>
                  </a:lnTo>
                  <a:lnTo>
                    <a:pt x="105402" y="85690"/>
                  </a:lnTo>
                  <a:lnTo>
                    <a:pt x="110779" y="91718"/>
                  </a:lnTo>
                  <a:lnTo>
                    <a:pt x="107031" y="95791"/>
                  </a:lnTo>
                  <a:lnTo>
                    <a:pt x="108172" y="99049"/>
                  </a:lnTo>
                  <a:lnTo>
                    <a:pt x="112245" y="99049"/>
                  </a:lnTo>
                  <a:lnTo>
                    <a:pt x="115992" y="105728"/>
                  </a:lnTo>
                  <a:lnTo>
                    <a:pt x="123811" y="106217"/>
                  </a:lnTo>
                  <a:lnTo>
                    <a:pt x="131468" y="110290"/>
                  </a:lnTo>
                  <a:lnTo>
                    <a:pt x="136518" y="110778"/>
                  </a:lnTo>
                  <a:lnTo>
                    <a:pt x="143035" y="119738"/>
                  </a:lnTo>
                  <a:lnTo>
                    <a:pt x="150365" y="122996"/>
                  </a:lnTo>
                  <a:lnTo>
                    <a:pt x="155579" y="130327"/>
                  </a:lnTo>
                  <a:lnTo>
                    <a:pt x="155253" y="134237"/>
                  </a:lnTo>
                  <a:lnTo>
                    <a:pt x="163072" y="143034"/>
                  </a:lnTo>
                  <a:lnTo>
                    <a:pt x="165353" y="149225"/>
                  </a:lnTo>
                  <a:lnTo>
                    <a:pt x="168611" y="150854"/>
                  </a:lnTo>
                  <a:lnTo>
                    <a:pt x="174965" y="150854"/>
                  </a:lnTo>
                  <a:lnTo>
                    <a:pt x="177734" y="155415"/>
                  </a:lnTo>
                  <a:lnTo>
                    <a:pt x="178386" y="159814"/>
                  </a:lnTo>
                  <a:lnTo>
                    <a:pt x="181644" y="163398"/>
                  </a:lnTo>
                  <a:lnTo>
                    <a:pt x="183925" y="162584"/>
                  </a:lnTo>
                  <a:lnTo>
                    <a:pt x="187835" y="164376"/>
                  </a:lnTo>
                  <a:lnTo>
                    <a:pt x="186857" y="168611"/>
                  </a:lnTo>
                  <a:lnTo>
                    <a:pt x="188975" y="171055"/>
                  </a:lnTo>
                  <a:lnTo>
                    <a:pt x="194677" y="171543"/>
                  </a:lnTo>
                  <a:lnTo>
                    <a:pt x="197772" y="175779"/>
                  </a:lnTo>
                  <a:lnTo>
                    <a:pt x="200379" y="176431"/>
                  </a:lnTo>
                  <a:lnTo>
                    <a:pt x="205266" y="174476"/>
                  </a:lnTo>
                  <a:lnTo>
                    <a:pt x="206895" y="178385"/>
                  </a:lnTo>
                  <a:lnTo>
                    <a:pt x="203311" y="181969"/>
                  </a:lnTo>
                  <a:lnTo>
                    <a:pt x="202496" y="188812"/>
                  </a:lnTo>
                  <a:lnTo>
                    <a:pt x="204614" y="191744"/>
                  </a:lnTo>
                  <a:lnTo>
                    <a:pt x="208524" y="192233"/>
                  </a:lnTo>
                  <a:lnTo>
                    <a:pt x="208524" y="198423"/>
                  </a:lnTo>
                  <a:lnTo>
                    <a:pt x="201193" y="204125"/>
                  </a:lnTo>
                  <a:lnTo>
                    <a:pt x="202333" y="210804"/>
                  </a:lnTo>
                  <a:lnTo>
                    <a:pt x="204126" y="214226"/>
                  </a:lnTo>
                  <a:lnTo>
                    <a:pt x="204940" y="221719"/>
                  </a:lnTo>
                  <a:lnTo>
                    <a:pt x="200215" y="224815"/>
                  </a:lnTo>
                  <a:lnTo>
                    <a:pt x="195491" y="224977"/>
                  </a:lnTo>
                  <a:lnTo>
                    <a:pt x="190441" y="221557"/>
                  </a:lnTo>
                  <a:lnTo>
                    <a:pt x="186694" y="220579"/>
                  </a:lnTo>
                  <a:lnTo>
                    <a:pt x="184251" y="216506"/>
                  </a:lnTo>
                  <a:lnTo>
                    <a:pt x="175617" y="218298"/>
                  </a:lnTo>
                  <a:lnTo>
                    <a:pt x="171055" y="222534"/>
                  </a:lnTo>
                  <a:lnTo>
                    <a:pt x="176594" y="228073"/>
                  </a:lnTo>
                  <a:lnTo>
                    <a:pt x="175617" y="232797"/>
                  </a:lnTo>
                  <a:lnTo>
                    <a:pt x="177245" y="237685"/>
                  </a:lnTo>
                  <a:lnTo>
                    <a:pt x="176920" y="241106"/>
                  </a:lnTo>
                  <a:lnTo>
                    <a:pt x="168937" y="238173"/>
                  </a:lnTo>
                  <a:lnTo>
                    <a:pt x="164376" y="230679"/>
                  </a:lnTo>
                  <a:lnTo>
                    <a:pt x="157045" y="230517"/>
                  </a:lnTo>
                  <a:lnTo>
                    <a:pt x="154764" y="226933"/>
                  </a:lnTo>
                  <a:lnTo>
                    <a:pt x="148899" y="222534"/>
                  </a:lnTo>
                  <a:lnTo>
                    <a:pt x="151669" y="221231"/>
                  </a:lnTo>
                  <a:lnTo>
                    <a:pt x="155090" y="217484"/>
                  </a:lnTo>
                  <a:lnTo>
                    <a:pt x="155415" y="208361"/>
                  </a:lnTo>
                  <a:lnTo>
                    <a:pt x="153461" y="204288"/>
                  </a:lnTo>
                  <a:lnTo>
                    <a:pt x="155415" y="199564"/>
                  </a:lnTo>
                  <a:lnTo>
                    <a:pt x="155090" y="196143"/>
                  </a:lnTo>
                  <a:lnTo>
                    <a:pt x="156719" y="190441"/>
                  </a:lnTo>
                  <a:lnTo>
                    <a:pt x="155579" y="187020"/>
                  </a:lnTo>
                  <a:lnTo>
                    <a:pt x="149062" y="182784"/>
                  </a:lnTo>
                  <a:lnTo>
                    <a:pt x="150854" y="180015"/>
                  </a:lnTo>
                  <a:lnTo>
                    <a:pt x="146293" y="178060"/>
                  </a:lnTo>
                  <a:lnTo>
                    <a:pt x="141568" y="177734"/>
                  </a:lnTo>
                  <a:lnTo>
                    <a:pt x="136192" y="171869"/>
                  </a:lnTo>
                  <a:lnTo>
                    <a:pt x="131631" y="168611"/>
                  </a:lnTo>
                  <a:lnTo>
                    <a:pt x="132934" y="164701"/>
                  </a:lnTo>
                  <a:lnTo>
                    <a:pt x="133260" y="157533"/>
                  </a:lnTo>
                  <a:lnTo>
                    <a:pt x="130490" y="151343"/>
                  </a:lnTo>
                  <a:lnTo>
                    <a:pt x="132283" y="148247"/>
                  </a:lnTo>
                  <a:lnTo>
                    <a:pt x="133260" y="143849"/>
                  </a:lnTo>
                  <a:lnTo>
                    <a:pt x="130653" y="138310"/>
                  </a:lnTo>
                  <a:lnTo>
                    <a:pt x="124463" y="133749"/>
                  </a:lnTo>
                  <a:lnTo>
                    <a:pt x="113385" y="125766"/>
                  </a:lnTo>
                  <a:lnTo>
                    <a:pt x="109638" y="118272"/>
                  </a:lnTo>
                  <a:lnTo>
                    <a:pt x="98235" y="115340"/>
                  </a:lnTo>
                  <a:lnTo>
                    <a:pt x="89763" y="117295"/>
                  </a:lnTo>
                  <a:lnTo>
                    <a:pt x="84224" y="128698"/>
                  </a:lnTo>
                  <a:lnTo>
                    <a:pt x="73472" y="129839"/>
                  </a:lnTo>
                  <a:lnTo>
                    <a:pt x="69074" y="124300"/>
                  </a:lnTo>
                  <a:lnTo>
                    <a:pt x="63861" y="124626"/>
                  </a:lnTo>
                  <a:lnTo>
                    <a:pt x="55390" y="120227"/>
                  </a:lnTo>
                  <a:lnTo>
                    <a:pt x="47244" y="123811"/>
                  </a:lnTo>
                  <a:lnTo>
                    <a:pt x="46592" y="129024"/>
                  </a:lnTo>
                  <a:lnTo>
                    <a:pt x="40239" y="130490"/>
                  </a:lnTo>
                  <a:lnTo>
                    <a:pt x="33234" y="134237"/>
                  </a:lnTo>
                  <a:lnTo>
                    <a:pt x="32908" y="120879"/>
                  </a:lnTo>
                  <a:lnTo>
                    <a:pt x="32908" y="111919"/>
                  </a:lnTo>
                  <a:lnTo>
                    <a:pt x="30627" y="105728"/>
                  </a:lnTo>
                  <a:lnTo>
                    <a:pt x="33560" y="101818"/>
                  </a:lnTo>
                  <a:lnTo>
                    <a:pt x="33722" y="97745"/>
                  </a:lnTo>
                  <a:lnTo>
                    <a:pt x="30790" y="92858"/>
                  </a:lnTo>
                  <a:lnTo>
                    <a:pt x="33722" y="86994"/>
                  </a:lnTo>
                  <a:lnTo>
                    <a:pt x="33560" y="82432"/>
                  </a:lnTo>
                  <a:lnTo>
                    <a:pt x="24111" y="82269"/>
                  </a:lnTo>
                  <a:lnTo>
                    <a:pt x="19712" y="86016"/>
                  </a:lnTo>
                  <a:lnTo>
                    <a:pt x="15640" y="84550"/>
                  </a:lnTo>
                  <a:lnTo>
                    <a:pt x="12056" y="78034"/>
                  </a:lnTo>
                  <a:lnTo>
                    <a:pt x="16128" y="75101"/>
                  </a:lnTo>
                  <a:lnTo>
                    <a:pt x="14825" y="66304"/>
                  </a:lnTo>
                  <a:lnTo>
                    <a:pt x="9775" y="60439"/>
                  </a:lnTo>
                  <a:lnTo>
                    <a:pt x="2933" y="62068"/>
                  </a:lnTo>
                  <a:lnTo>
                    <a:pt x="0" y="56041"/>
                  </a:lnTo>
                  <a:lnTo>
                    <a:pt x="2933" y="49525"/>
                  </a:lnTo>
                  <a:lnTo>
                    <a:pt x="5702" y="49525"/>
                  </a:lnTo>
                  <a:lnTo>
                    <a:pt x="10915" y="45289"/>
                  </a:lnTo>
                  <a:lnTo>
                    <a:pt x="8472" y="42031"/>
                  </a:lnTo>
                  <a:lnTo>
                    <a:pt x="11404" y="37958"/>
                  </a:lnTo>
                  <a:lnTo>
                    <a:pt x="11729" y="33071"/>
                  </a:lnTo>
                  <a:lnTo>
                    <a:pt x="18898" y="31604"/>
                  </a:lnTo>
                  <a:lnTo>
                    <a:pt x="23948" y="27206"/>
                  </a:lnTo>
                  <a:close/>
                </a:path>
              </a:pathLst>
            </a:custGeom>
            <a:solidFill>
              <a:schemeClr val="bg2"/>
            </a:solidFill>
            <a:ln w="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9" name="Forma livre: Forma 208">
              <a:extLst>
                <a:ext uri="{FF2B5EF4-FFF2-40B4-BE49-F238E27FC236}">
                  <a16:creationId xmlns:a16="http://schemas.microsoft.com/office/drawing/2014/main" id="{5E951784-9E39-0329-4E1E-69F4CF0DF135}"/>
                </a:ext>
              </a:extLst>
            </p:cNvPr>
            <p:cNvSpPr/>
            <p:nvPr/>
          </p:nvSpPr>
          <p:spPr>
            <a:xfrm>
              <a:off x="8552371" y="4392221"/>
              <a:ext cx="225758" cy="415994"/>
            </a:xfrm>
            <a:custGeom>
              <a:avLst/>
              <a:gdLst>
                <a:gd name="connsiteX0" fmla="*/ 61742 w 218461"/>
                <a:gd name="connsiteY0" fmla="*/ 0 h 402548"/>
                <a:gd name="connsiteX1" fmla="*/ 64675 w 218461"/>
                <a:gd name="connsiteY1" fmla="*/ 6028 h 402548"/>
                <a:gd name="connsiteX2" fmla="*/ 71517 w 218461"/>
                <a:gd name="connsiteY2" fmla="*/ 4399 h 402548"/>
                <a:gd name="connsiteX3" fmla="*/ 76404 w 218461"/>
                <a:gd name="connsiteY3" fmla="*/ 10263 h 402548"/>
                <a:gd name="connsiteX4" fmla="*/ 77707 w 218461"/>
                <a:gd name="connsiteY4" fmla="*/ 19060 h 402548"/>
                <a:gd name="connsiteX5" fmla="*/ 73635 w 218461"/>
                <a:gd name="connsiteY5" fmla="*/ 21993 h 402548"/>
                <a:gd name="connsiteX6" fmla="*/ 77382 w 218461"/>
                <a:gd name="connsiteY6" fmla="*/ 28509 h 402548"/>
                <a:gd name="connsiteX7" fmla="*/ 81455 w 218461"/>
                <a:gd name="connsiteY7" fmla="*/ 29975 h 402548"/>
                <a:gd name="connsiteX8" fmla="*/ 85853 w 218461"/>
                <a:gd name="connsiteY8" fmla="*/ 26228 h 402548"/>
                <a:gd name="connsiteX9" fmla="*/ 95302 w 218461"/>
                <a:gd name="connsiteY9" fmla="*/ 26228 h 402548"/>
                <a:gd name="connsiteX10" fmla="*/ 95465 w 218461"/>
                <a:gd name="connsiteY10" fmla="*/ 30790 h 402548"/>
                <a:gd name="connsiteX11" fmla="*/ 92532 w 218461"/>
                <a:gd name="connsiteY11" fmla="*/ 36655 h 402548"/>
                <a:gd name="connsiteX12" fmla="*/ 95465 w 218461"/>
                <a:gd name="connsiteY12" fmla="*/ 41705 h 402548"/>
                <a:gd name="connsiteX13" fmla="*/ 95465 w 218461"/>
                <a:gd name="connsiteY13" fmla="*/ 45777 h 402548"/>
                <a:gd name="connsiteX14" fmla="*/ 92369 w 218461"/>
                <a:gd name="connsiteY14" fmla="*/ 49687 h 402548"/>
                <a:gd name="connsiteX15" fmla="*/ 94650 w 218461"/>
                <a:gd name="connsiteY15" fmla="*/ 55878 h 402548"/>
                <a:gd name="connsiteX16" fmla="*/ 94650 w 218461"/>
                <a:gd name="connsiteY16" fmla="*/ 64675 h 402548"/>
                <a:gd name="connsiteX17" fmla="*/ 95139 w 218461"/>
                <a:gd name="connsiteY17" fmla="*/ 78034 h 402548"/>
                <a:gd name="connsiteX18" fmla="*/ 102144 w 218461"/>
                <a:gd name="connsiteY18" fmla="*/ 74287 h 402548"/>
                <a:gd name="connsiteX19" fmla="*/ 108334 w 218461"/>
                <a:gd name="connsiteY19" fmla="*/ 72820 h 402548"/>
                <a:gd name="connsiteX20" fmla="*/ 108986 w 218461"/>
                <a:gd name="connsiteY20" fmla="*/ 67607 h 402548"/>
                <a:gd name="connsiteX21" fmla="*/ 117132 w 218461"/>
                <a:gd name="connsiteY21" fmla="*/ 63860 h 402548"/>
                <a:gd name="connsiteX22" fmla="*/ 125603 w 218461"/>
                <a:gd name="connsiteY22" fmla="*/ 68259 h 402548"/>
                <a:gd name="connsiteX23" fmla="*/ 130816 w 218461"/>
                <a:gd name="connsiteY23" fmla="*/ 67933 h 402548"/>
                <a:gd name="connsiteX24" fmla="*/ 135214 w 218461"/>
                <a:gd name="connsiteY24" fmla="*/ 73472 h 402548"/>
                <a:gd name="connsiteX25" fmla="*/ 145966 w 218461"/>
                <a:gd name="connsiteY25" fmla="*/ 72332 h 402548"/>
                <a:gd name="connsiteX26" fmla="*/ 151505 w 218461"/>
                <a:gd name="connsiteY26" fmla="*/ 60928 h 402548"/>
                <a:gd name="connsiteX27" fmla="*/ 159977 w 218461"/>
                <a:gd name="connsiteY27" fmla="*/ 59136 h 402548"/>
                <a:gd name="connsiteX28" fmla="*/ 171380 w 218461"/>
                <a:gd name="connsiteY28" fmla="*/ 62068 h 402548"/>
                <a:gd name="connsiteX29" fmla="*/ 175127 w 218461"/>
                <a:gd name="connsiteY29" fmla="*/ 69399 h 402548"/>
                <a:gd name="connsiteX30" fmla="*/ 186205 w 218461"/>
                <a:gd name="connsiteY30" fmla="*/ 77382 h 402548"/>
                <a:gd name="connsiteX31" fmla="*/ 192396 w 218461"/>
                <a:gd name="connsiteY31" fmla="*/ 81943 h 402548"/>
                <a:gd name="connsiteX32" fmla="*/ 195002 w 218461"/>
                <a:gd name="connsiteY32" fmla="*/ 87482 h 402548"/>
                <a:gd name="connsiteX33" fmla="*/ 194025 w 218461"/>
                <a:gd name="connsiteY33" fmla="*/ 91881 h 402548"/>
                <a:gd name="connsiteX34" fmla="*/ 192233 w 218461"/>
                <a:gd name="connsiteY34" fmla="*/ 94976 h 402548"/>
                <a:gd name="connsiteX35" fmla="*/ 195002 w 218461"/>
                <a:gd name="connsiteY35" fmla="*/ 101004 h 402548"/>
                <a:gd name="connsiteX36" fmla="*/ 194676 w 218461"/>
                <a:gd name="connsiteY36" fmla="*/ 108172 h 402548"/>
                <a:gd name="connsiteX37" fmla="*/ 193373 w 218461"/>
                <a:gd name="connsiteY37" fmla="*/ 112082 h 402548"/>
                <a:gd name="connsiteX38" fmla="*/ 197935 w 218461"/>
                <a:gd name="connsiteY38" fmla="*/ 115340 h 402548"/>
                <a:gd name="connsiteX39" fmla="*/ 203310 w 218461"/>
                <a:gd name="connsiteY39" fmla="*/ 121204 h 402548"/>
                <a:gd name="connsiteX40" fmla="*/ 208035 w 218461"/>
                <a:gd name="connsiteY40" fmla="*/ 121530 h 402548"/>
                <a:gd name="connsiteX41" fmla="*/ 212433 w 218461"/>
                <a:gd name="connsiteY41" fmla="*/ 123322 h 402548"/>
                <a:gd name="connsiteX42" fmla="*/ 210804 w 218461"/>
                <a:gd name="connsiteY42" fmla="*/ 126092 h 402548"/>
                <a:gd name="connsiteX43" fmla="*/ 217321 w 218461"/>
                <a:gd name="connsiteY43" fmla="*/ 130327 h 402548"/>
                <a:gd name="connsiteX44" fmla="*/ 218461 w 218461"/>
                <a:gd name="connsiteY44" fmla="*/ 133749 h 402548"/>
                <a:gd name="connsiteX45" fmla="*/ 216832 w 218461"/>
                <a:gd name="connsiteY45" fmla="*/ 139450 h 402548"/>
                <a:gd name="connsiteX46" fmla="*/ 217158 w 218461"/>
                <a:gd name="connsiteY46" fmla="*/ 142708 h 402548"/>
                <a:gd name="connsiteX47" fmla="*/ 215366 w 218461"/>
                <a:gd name="connsiteY47" fmla="*/ 147433 h 402548"/>
                <a:gd name="connsiteX48" fmla="*/ 217158 w 218461"/>
                <a:gd name="connsiteY48" fmla="*/ 151506 h 402548"/>
                <a:gd name="connsiteX49" fmla="*/ 216832 w 218461"/>
                <a:gd name="connsiteY49" fmla="*/ 160791 h 402548"/>
                <a:gd name="connsiteX50" fmla="*/ 213574 w 218461"/>
                <a:gd name="connsiteY50" fmla="*/ 164538 h 402548"/>
                <a:gd name="connsiteX51" fmla="*/ 207546 w 218461"/>
                <a:gd name="connsiteY51" fmla="*/ 167471 h 402548"/>
                <a:gd name="connsiteX52" fmla="*/ 203148 w 218461"/>
                <a:gd name="connsiteY52" fmla="*/ 164050 h 402548"/>
                <a:gd name="connsiteX53" fmla="*/ 195980 w 218461"/>
                <a:gd name="connsiteY53" fmla="*/ 165027 h 402548"/>
                <a:gd name="connsiteX54" fmla="*/ 190441 w 218461"/>
                <a:gd name="connsiteY54" fmla="*/ 163561 h 402548"/>
                <a:gd name="connsiteX55" fmla="*/ 184902 w 218461"/>
                <a:gd name="connsiteY55" fmla="*/ 163561 h 402548"/>
                <a:gd name="connsiteX56" fmla="*/ 177734 w 218461"/>
                <a:gd name="connsiteY56" fmla="*/ 166167 h 402548"/>
                <a:gd name="connsiteX57" fmla="*/ 175453 w 218461"/>
                <a:gd name="connsiteY57" fmla="*/ 163887 h 402548"/>
                <a:gd name="connsiteX58" fmla="*/ 168122 w 218461"/>
                <a:gd name="connsiteY58" fmla="*/ 163887 h 402548"/>
                <a:gd name="connsiteX59" fmla="*/ 156067 w 218461"/>
                <a:gd name="connsiteY59" fmla="*/ 167634 h 402548"/>
                <a:gd name="connsiteX60" fmla="*/ 151017 w 218461"/>
                <a:gd name="connsiteY60" fmla="*/ 167634 h 402548"/>
                <a:gd name="connsiteX61" fmla="*/ 145641 w 218461"/>
                <a:gd name="connsiteY61" fmla="*/ 175127 h 402548"/>
                <a:gd name="connsiteX62" fmla="*/ 144012 w 218461"/>
                <a:gd name="connsiteY62" fmla="*/ 182621 h 402548"/>
                <a:gd name="connsiteX63" fmla="*/ 139776 w 218461"/>
                <a:gd name="connsiteY63" fmla="*/ 188323 h 402548"/>
                <a:gd name="connsiteX64" fmla="*/ 139287 w 218461"/>
                <a:gd name="connsiteY64" fmla="*/ 198260 h 402548"/>
                <a:gd name="connsiteX65" fmla="*/ 141568 w 218461"/>
                <a:gd name="connsiteY65" fmla="*/ 208361 h 402548"/>
                <a:gd name="connsiteX66" fmla="*/ 145966 w 218461"/>
                <a:gd name="connsiteY66" fmla="*/ 210804 h 402548"/>
                <a:gd name="connsiteX67" fmla="*/ 148410 w 218461"/>
                <a:gd name="connsiteY67" fmla="*/ 215855 h 402548"/>
                <a:gd name="connsiteX68" fmla="*/ 147921 w 218461"/>
                <a:gd name="connsiteY68" fmla="*/ 225303 h 402548"/>
                <a:gd name="connsiteX69" fmla="*/ 147270 w 218461"/>
                <a:gd name="connsiteY69" fmla="*/ 229213 h 402548"/>
                <a:gd name="connsiteX70" fmla="*/ 144989 w 218461"/>
                <a:gd name="connsiteY70" fmla="*/ 228887 h 402548"/>
                <a:gd name="connsiteX71" fmla="*/ 144663 w 218461"/>
                <a:gd name="connsiteY71" fmla="*/ 232471 h 402548"/>
                <a:gd name="connsiteX72" fmla="*/ 143686 w 218461"/>
                <a:gd name="connsiteY72" fmla="*/ 232797 h 402548"/>
                <a:gd name="connsiteX73" fmla="*/ 142871 w 218461"/>
                <a:gd name="connsiteY73" fmla="*/ 231494 h 402548"/>
                <a:gd name="connsiteX74" fmla="*/ 137495 w 218461"/>
                <a:gd name="connsiteY74" fmla="*/ 227095 h 402548"/>
                <a:gd name="connsiteX75" fmla="*/ 135541 w 218461"/>
                <a:gd name="connsiteY75" fmla="*/ 227095 h 402548"/>
                <a:gd name="connsiteX76" fmla="*/ 135541 w 218461"/>
                <a:gd name="connsiteY76" fmla="*/ 224652 h 402548"/>
                <a:gd name="connsiteX77" fmla="*/ 132282 w 218461"/>
                <a:gd name="connsiteY77" fmla="*/ 223023 h 402548"/>
                <a:gd name="connsiteX78" fmla="*/ 125603 w 218461"/>
                <a:gd name="connsiteY78" fmla="*/ 216506 h 402548"/>
                <a:gd name="connsiteX79" fmla="*/ 121856 w 218461"/>
                <a:gd name="connsiteY79" fmla="*/ 215203 h 402548"/>
                <a:gd name="connsiteX80" fmla="*/ 118923 w 218461"/>
                <a:gd name="connsiteY80" fmla="*/ 217647 h 402548"/>
                <a:gd name="connsiteX81" fmla="*/ 119575 w 218461"/>
                <a:gd name="connsiteY81" fmla="*/ 218787 h 402548"/>
                <a:gd name="connsiteX82" fmla="*/ 119087 w 218461"/>
                <a:gd name="connsiteY82" fmla="*/ 219765 h 402548"/>
                <a:gd name="connsiteX83" fmla="*/ 116806 w 218461"/>
                <a:gd name="connsiteY83" fmla="*/ 218298 h 402548"/>
                <a:gd name="connsiteX84" fmla="*/ 111267 w 218461"/>
                <a:gd name="connsiteY84" fmla="*/ 216995 h 402548"/>
                <a:gd name="connsiteX85" fmla="*/ 106217 w 218461"/>
                <a:gd name="connsiteY85" fmla="*/ 218298 h 402548"/>
                <a:gd name="connsiteX86" fmla="*/ 102633 w 218461"/>
                <a:gd name="connsiteY86" fmla="*/ 216995 h 402548"/>
                <a:gd name="connsiteX87" fmla="*/ 98723 w 218461"/>
                <a:gd name="connsiteY87" fmla="*/ 217321 h 402548"/>
                <a:gd name="connsiteX88" fmla="*/ 100026 w 218461"/>
                <a:gd name="connsiteY88" fmla="*/ 213248 h 402548"/>
                <a:gd name="connsiteX89" fmla="*/ 101655 w 218461"/>
                <a:gd name="connsiteY89" fmla="*/ 211456 h 402548"/>
                <a:gd name="connsiteX90" fmla="*/ 99375 w 218461"/>
                <a:gd name="connsiteY90" fmla="*/ 207383 h 402548"/>
                <a:gd name="connsiteX91" fmla="*/ 99700 w 218461"/>
                <a:gd name="connsiteY91" fmla="*/ 200704 h 402548"/>
                <a:gd name="connsiteX92" fmla="*/ 101166 w 218461"/>
                <a:gd name="connsiteY92" fmla="*/ 199238 h 402548"/>
                <a:gd name="connsiteX93" fmla="*/ 99863 w 218461"/>
                <a:gd name="connsiteY93" fmla="*/ 195817 h 402548"/>
                <a:gd name="connsiteX94" fmla="*/ 95465 w 218461"/>
                <a:gd name="connsiteY94" fmla="*/ 195002 h 402548"/>
                <a:gd name="connsiteX95" fmla="*/ 94650 w 218461"/>
                <a:gd name="connsiteY95" fmla="*/ 194351 h 402548"/>
                <a:gd name="connsiteX96" fmla="*/ 93021 w 218461"/>
                <a:gd name="connsiteY96" fmla="*/ 194839 h 402548"/>
                <a:gd name="connsiteX97" fmla="*/ 91229 w 218461"/>
                <a:gd name="connsiteY97" fmla="*/ 193536 h 402548"/>
                <a:gd name="connsiteX98" fmla="*/ 87319 w 218461"/>
                <a:gd name="connsiteY98" fmla="*/ 195328 h 402548"/>
                <a:gd name="connsiteX99" fmla="*/ 84224 w 218461"/>
                <a:gd name="connsiteY99" fmla="*/ 195654 h 402548"/>
                <a:gd name="connsiteX100" fmla="*/ 82432 w 218461"/>
                <a:gd name="connsiteY100" fmla="*/ 194188 h 402548"/>
                <a:gd name="connsiteX101" fmla="*/ 80803 w 218461"/>
                <a:gd name="connsiteY101" fmla="*/ 196143 h 402548"/>
                <a:gd name="connsiteX102" fmla="*/ 77871 w 218461"/>
                <a:gd name="connsiteY102" fmla="*/ 196143 h 402548"/>
                <a:gd name="connsiteX103" fmla="*/ 76404 w 218461"/>
                <a:gd name="connsiteY103" fmla="*/ 195328 h 402548"/>
                <a:gd name="connsiteX104" fmla="*/ 76404 w 218461"/>
                <a:gd name="connsiteY104" fmla="*/ 196468 h 402548"/>
                <a:gd name="connsiteX105" fmla="*/ 75264 w 218461"/>
                <a:gd name="connsiteY105" fmla="*/ 199890 h 402548"/>
                <a:gd name="connsiteX106" fmla="*/ 79500 w 218461"/>
                <a:gd name="connsiteY106" fmla="*/ 202007 h 402548"/>
                <a:gd name="connsiteX107" fmla="*/ 80314 w 218461"/>
                <a:gd name="connsiteY107" fmla="*/ 206732 h 402548"/>
                <a:gd name="connsiteX108" fmla="*/ 77544 w 218461"/>
                <a:gd name="connsiteY108" fmla="*/ 211130 h 402548"/>
                <a:gd name="connsiteX109" fmla="*/ 77544 w 218461"/>
                <a:gd name="connsiteY109" fmla="*/ 216669 h 402548"/>
                <a:gd name="connsiteX110" fmla="*/ 76730 w 218461"/>
                <a:gd name="connsiteY110" fmla="*/ 219765 h 402548"/>
                <a:gd name="connsiteX111" fmla="*/ 78685 w 218461"/>
                <a:gd name="connsiteY111" fmla="*/ 221393 h 402548"/>
                <a:gd name="connsiteX112" fmla="*/ 77871 w 218461"/>
                <a:gd name="connsiteY112" fmla="*/ 228562 h 402548"/>
                <a:gd name="connsiteX113" fmla="*/ 74287 w 218461"/>
                <a:gd name="connsiteY113" fmla="*/ 233123 h 402548"/>
                <a:gd name="connsiteX114" fmla="*/ 73472 w 218461"/>
                <a:gd name="connsiteY114" fmla="*/ 238336 h 402548"/>
                <a:gd name="connsiteX115" fmla="*/ 69725 w 218461"/>
                <a:gd name="connsiteY115" fmla="*/ 243712 h 402548"/>
                <a:gd name="connsiteX116" fmla="*/ 68422 w 218461"/>
                <a:gd name="connsiteY116" fmla="*/ 263098 h 402548"/>
                <a:gd name="connsiteX117" fmla="*/ 62394 w 218461"/>
                <a:gd name="connsiteY117" fmla="*/ 270918 h 402548"/>
                <a:gd name="connsiteX118" fmla="*/ 62394 w 218461"/>
                <a:gd name="connsiteY118" fmla="*/ 276294 h 402548"/>
                <a:gd name="connsiteX119" fmla="*/ 59950 w 218461"/>
                <a:gd name="connsiteY119" fmla="*/ 281344 h 402548"/>
                <a:gd name="connsiteX120" fmla="*/ 62557 w 218461"/>
                <a:gd name="connsiteY120" fmla="*/ 281833 h 402548"/>
                <a:gd name="connsiteX121" fmla="*/ 63371 w 218461"/>
                <a:gd name="connsiteY121" fmla="*/ 283136 h 402548"/>
                <a:gd name="connsiteX122" fmla="*/ 60928 w 218461"/>
                <a:gd name="connsiteY122" fmla="*/ 286231 h 402548"/>
                <a:gd name="connsiteX123" fmla="*/ 61254 w 218461"/>
                <a:gd name="connsiteY123" fmla="*/ 288512 h 402548"/>
                <a:gd name="connsiteX124" fmla="*/ 62557 w 218461"/>
                <a:gd name="connsiteY124" fmla="*/ 293888 h 402548"/>
                <a:gd name="connsiteX125" fmla="*/ 62557 w 218461"/>
                <a:gd name="connsiteY125" fmla="*/ 297309 h 402548"/>
                <a:gd name="connsiteX126" fmla="*/ 67607 w 218461"/>
                <a:gd name="connsiteY126" fmla="*/ 304640 h 402548"/>
                <a:gd name="connsiteX127" fmla="*/ 65164 w 218461"/>
                <a:gd name="connsiteY127" fmla="*/ 309527 h 402548"/>
                <a:gd name="connsiteX128" fmla="*/ 66630 w 218461"/>
                <a:gd name="connsiteY128" fmla="*/ 311482 h 402548"/>
                <a:gd name="connsiteX129" fmla="*/ 69399 w 218461"/>
                <a:gd name="connsiteY129" fmla="*/ 310668 h 402548"/>
                <a:gd name="connsiteX130" fmla="*/ 70051 w 218461"/>
                <a:gd name="connsiteY130" fmla="*/ 308550 h 402548"/>
                <a:gd name="connsiteX131" fmla="*/ 72494 w 218461"/>
                <a:gd name="connsiteY131" fmla="*/ 305781 h 402548"/>
                <a:gd name="connsiteX132" fmla="*/ 73798 w 218461"/>
                <a:gd name="connsiteY132" fmla="*/ 306595 h 402548"/>
                <a:gd name="connsiteX133" fmla="*/ 77707 w 218461"/>
                <a:gd name="connsiteY133" fmla="*/ 307409 h 402548"/>
                <a:gd name="connsiteX134" fmla="*/ 79988 w 218461"/>
                <a:gd name="connsiteY134" fmla="*/ 309527 h 402548"/>
                <a:gd name="connsiteX135" fmla="*/ 80640 w 218461"/>
                <a:gd name="connsiteY135" fmla="*/ 314903 h 402548"/>
                <a:gd name="connsiteX136" fmla="*/ 82921 w 218461"/>
                <a:gd name="connsiteY136" fmla="*/ 317999 h 402548"/>
                <a:gd name="connsiteX137" fmla="*/ 82432 w 218461"/>
                <a:gd name="connsiteY137" fmla="*/ 323538 h 402548"/>
                <a:gd name="connsiteX138" fmla="*/ 85201 w 218461"/>
                <a:gd name="connsiteY138" fmla="*/ 324515 h 402548"/>
                <a:gd name="connsiteX139" fmla="*/ 87808 w 218461"/>
                <a:gd name="connsiteY139" fmla="*/ 330217 h 402548"/>
                <a:gd name="connsiteX140" fmla="*/ 90577 w 218461"/>
                <a:gd name="connsiteY140" fmla="*/ 330217 h 402548"/>
                <a:gd name="connsiteX141" fmla="*/ 90577 w 218461"/>
                <a:gd name="connsiteY141" fmla="*/ 327284 h 402548"/>
                <a:gd name="connsiteX142" fmla="*/ 90903 w 218461"/>
                <a:gd name="connsiteY142" fmla="*/ 325167 h 402548"/>
                <a:gd name="connsiteX143" fmla="*/ 92207 w 218461"/>
                <a:gd name="connsiteY143" fmla="*/ 329076 h 402548"/>
                <a:gd name="connsiteX144" fmla="*/ 95139 w 218461"/>
                <a:gd name="connsiteY144" fmla="*/ 333312 h 402548"/>
                <a:gd name="connsiteX145" fmla="*/ 95139 w 218461"/>
                <a:gd name="connsiteY145" fmla="*/ 337548 h 402548"/>
                <a:gd name="connsiteX146" fmla="*/ 97582 w 218461"/>
                <a:gd name="connsiteY146" fmla="*/ 338851 h 402548"/>
                <a:gd name="connsiteX147" fmla="*/ 99537 w 218461"/>
                <a:gd name="connsiteY147" fmla="*/ 349440 h 402548"/>
                <a:gd name="connsiteX148" fmla="*/ 98560 w 218461"/>
                <a:gd name="connsiteY148" fmla="*/ 350906 h 402548"/>
                <a:gd name="connsiteX149" fmla="*/ 97745 w 218461"/>
                <a:gd name="connsiteY149" fmla="*/ 352698 h 402548"/>
                <a:gd name="connsiteX150" fmla="*/ 96442 w 218461"/>
                <a:gd name="connsiteY150" fmla="*/ 350906 h 402548"/>
                <a:gd name="connsiteX151" fmla="*/ 92369 w 218461"/>
                <a:gd name="connsiteY151" fmla="*/ 353676 h 402548"/>
                <a:gd name="connsiteX152" fmla="*/ 91718 w 218461"/>
                <a:gd name="connsiteY152" fmla="*/ 357260 h 402548"/>
                <a:gd name="connsiteX153" fmla="*/ 99212 w 218461"/>
                <a:gd name="connsiteY153" fmla="*/ 360029 h 402548"/>
                <a:gd name="connsiteX154" fmla="*/ 100026 w 218461"/>
                <a:gd name="connsiteY154" fmla="*/ 356282 h 402548"/>
                <a:gd name="connsiteX155" fmla="*/ 101492 w 218461"/>
                <a:gd name="connsiteY155" fmla="*/ 357423 h 402548"/>
                <a:gd name="connsiteX156" fmla="*/ 101981 w 218461"/>
                <a:gd name="connsiteY156" fmla="*/ 361984 h 402548"/>
                <a:gd name="connsiteX157" fmla="*/ 105402 w 218461"/>
                <a:gd name="connsiteY157" fmla="*/ 364754 h 402548"/>
                <a:gd name="connsiteX158" fmla="*/ 112733 w 218461"/>
                <a:gd name="connsiteY158" fmla="*/ 371922 h 402548"/>
                <a:gd name="connsiteX159" fmla="*/ 115828 w 218461"/>
                <a:gd name="connsiteY159" fmla="*/ 374202 h 402548"/>
                <a:gd name="connsiteX160" fmla="*/ 117946 w 218461"/>
                <a:gd name="connsiteY160" fmla="*/ 372736 h 402548"/>
                <a:gd name="connsiteX161" fmla="*/ 123159 w 218461"/>
                <a:gd name="connsiteY161" fmla="*/ 373388 h 402548"/>
                <a:gd name="connsiteX162" fmla="*/ 127884 w 218461"/>
                <a:gd name="connsiteY162" fmla="*/ 375180 h 402548"/>
                <a:gd name="connsiteX163" fmla="*/ 131142 w 218461"/>
                <a:gd name="connsiteY163" fmla="*/ 382511 h 402548"/>
                <a:gd name="connsiteX164" fmla="*/ 133911 w 218461"/>
                <a:gd name="connsiteY164" fmla="*/ 386095 h 402548"/>
                <a:gd name="connsiteX165" fmla="*/ 138635 w 218461"/>
                <a:gd name="connsiteY165" fmla="*/ 389027 h 402548"/>
                <a:gd name="connsiteX166" fmla="*/ 139287 w 218461"/>
                <a:gd name="connsiteY166" fmla="*/ 391471 h 402548"/>
                <a:gd name="connsiteX167" fmla="*/ 138147 w 218461"/>
                <a:gd name="connsiteY167" fmla="*/ 392774 h 402548"/>
                <a:gd name="connsiteX168" fmla="*/ 138147 w 218461"/>
                <a:gd name="connsiteY168" fmla="*/ 397335 h 402548"/>
                <a:gd name="connsiteX169" fmla="*/ 134563 w 218461"/>
                <a:gd name="connsiteY169" fmla="*/ 399942 h 402548"/>
                <a:gd name="connsiteX170" fmla="*/ 131142 w 218461"/>
                <a:gd name="connsiteY170" fmla="*/ 397010 h 402548"/>
                <a:gd name="connsiteX171" fmla="*/ 126580 w 218461"/>
                <a:gd name="connsiteY171" fmla="*/ 397498 h 402548"/>
                <a:gd name="connsiteX172" fmla="*/ 120878 w 218461"/>
                <a:gd name="connsiteY172" fmla="*/ 402549 h 402548"/>
                <a:gd name="connsiteX173" fmla="*/ 114036 w 218461"/>
                <a:gd name="connsiteY173" fmla="*/ 400919 h 402548"/>
                <a:gd name="connsiteX174" fmla="*/ 114036 w 218461"/>
                <a:gd name="connsiteY174" fmla="*/ 397173 h 402548"/>
                <a:gd name="connsiteX175" fmla="*/ 117132 w 218461"/>
                <a:gd name="connsiteY175" fmla="*/ 393426 h 402548"/>
                <a:gd name="connsiteX176" fmla="*/ 117783 w 218461"/>
                <a:gd name="connsiteY176" fmla="*/ 386095 h 402548"/>
                <a:gd name="connsiteX177" fmla="*/ 114525 w 218461"/>
                <a:gd name="connsiteY177" fmla="*/ 382837 h 402548"/>
                <a:gd name="connsiteX178" fmla="*/ 109149 w 218461"/>
                <a:gd name="connsiteY178" fmla="*/ 382837 h 402548"/>
                <a:gd name="connsiteX179" fmla="*/ 107846 w 218461"/>
                <a:gd name="connsiteY179" fmla="*/ 379904 h 402548"/>
                <a:gd name="connsiteX180" fmla="*/ 100841 w 218461"/>
                <a:gd name="connsiteY180" fmla="*/ 377949 h 402548"/>
                <a:gd name="connsiteX181" fmla="*/ 96116 w 218461"/>
                <a:gd name="connsiteY181" fmla="*/ 373714 h 402548"/>
                <a:gd name="connsiteX182" fmla="*/ 92858 w 218461"/>
                <a:gd name="connsiteY182" fmla="*/ 377949 h 402548"/>
                <a:gd name="connsiteX183" fmla="*/ 91229 w 218461"/>
                <a:gd name="connsiteY183" fmla="*/ 383814 h 402548"/>
                <a:gd name="connsiteX184" fmla="*/ 89111 w 218461"/>
                <a:gd name="connsiteY184" fmla="*/ 380393 h 402548"/>
                <a:gd name="connsiteX185" fmla="*/ 78196 w 218461"/>
                <a:gd name="connsiteY185" fmla="*/ 372410 h 402548"/>
                <a:gd name="connsiteX186" fmla="*/ 77871 w 218461"/>
                <a:gd name="connsiteY186" fmla="*/ 370292 h 402548"/>
                <a:gd name="connsiteX187" fmla="*/ 79988 w 218461"/>
                <a:gd name="connsiteY187" fmla="*/ 367849 h 402548"/>
                <a:gd name="connsiteX188" fmla="*/ 79988 w 218461"/>
                <a:gd name="connsiteY188" fmla="*/ 365079 h 402548"/>
                <a:gd name="connsiteX189" fmla="*/ 77544 w 218461"/>
                <a:gd name="connsiteY189" fmla="*/ 364754 h 402548"/>
                <a:gd name="connsiteX190" fmla="*/ 75753 w 218461"/>
                <a:gd name="connsiteY190" fmla="*/ 360518 h 402548"/>
                <a:gd name="connsiteX191" fmla="*/ 70703 w 218461"/>
                <a:gd name="connsiteY191" fmla="*/ 359703 h 402548"/>
                <a:gd name="connsiteX192" fmla="*/ 70703 w 218461"/>
                <a:gd name="connsiteY192" fmla="*/ 356282 h 402548"/>
                <a:gd name="connsiteX193" fmla="*/ 64838 w 218461"/>
                <a:gd name="connsiteY193" fmla="*/ 348626 h 402548"/>
                <a:gd name="connsiteX194" fmla="*/ 61091 w 218461"/>
                <a:gd name="connsiteY194" fmla="*/ 348626 h 402548"/>
                <a:gd name="connsiteX195" fmla="*/ 58159 w 218461"/>
                <a:gd name="connsiteY195" fmla="*/ 339340 h 402548"/>
                <a:gd name="connsiteX196" fmla="*/ 53434 w 218461"/>
                <a:gd name="connsiteY196" fmla="*/ 338525 h 402548"/>
                <a:gd name="connsiteX197" fmla="*/ 53434 w 218461"/>
                <a:gd name="connsiteY197" fmla="*/ 334616 h 402548"/>
                <a:gd name="connsiteX198" fmla="*/ 50502 w 218461"/>
                <a:gd name="connsiteY198" fmla="*/ 332498 h 402548"/>
                <a:gd name="connsiteX199" fmla="*/ 50502 w 218461"/>
                <a:gd name="connsiteY199" fmla="*/ 330054 h 402548"/>
                <a:gd name="connsiteX200" fmla="*/ 45777 w 218461"/>
                <a:gd name="connsiteY200" fmla="*/ 332335 h 402548"/>
                <a:gd name="connsiteX201" fmla="*/ 45777 w 218461"/>
                <a:gd name="connsiteY201" fmla="*/ 337222 h 402548"/>
                <a:gd name="connsiteX202" fmla="*/ 42682 w 218461"/>
                <a:gd name="connsiteY202" fmla="*/ 336896 h 402548"/>
                <a:gd name="connsiteX203" fmla="*/ 40401 w 218461"/>
                <a:gd name="connsiteY203" fmla="*/ 333475 h 402548"/>
                <a:gd name="connsiteX204" fmla="*/ 39098 w 218461"/>
                <a:gd name="connsiteY204" fmla="*/ 324841 h 402548"/>
                <a:gd name="connsiteX205" fmla="*/ 40239 w 218461"/>
                <a:gd name="connsiteY205" fmla="*/ 322560 h 402548"/>
                <a:gd name="connsiteX206" fmla="*/ 39424 w 218461"/>
                <a:gd name="connsiteY206" fmla="*/ 315229 h 402548"/>
                <a:gd name="connsiteX207" fmla="*/ 42682 w 218461"/>
                <a:gd name="connsiteY207" fmla="*/ 313600 h 402548"/>
                <a:gd name="connsiteX208" fmla="*/ 42682 w 218461"/>
                <a:gd name="connsiteY208" fmla="*/ 303663 h 402548"/>
                <a:gd name="connsiteX209" fmla="*/ 45126 w 218461"/>
                <a:gd name="connsiteY209" fmla="*/ 304314 h 402548"/>
                <a:gd name="connsiteX210" fmla="*/ 47080 w 218461"/>
                <a:gd name="connsiteY210" fmla="*/ 300405 h 402548"/>
                <a:gd name="connsiteX211" fmla="*/ 44148 w 218461"/>
                <a:gd name="connsiteY211" fmla="*/ 299753 h 402548"/>
                <a:gd name="connsiteX212" fmla="*/ 47895 w 218461"/>
                <a:gd name="connsiteY212" fmla="*/ 294540 h 402548"/>
                <a:gd name="connsiteX213" fmla="*/ 46755 w 218461"/>
                <a:gd name="connsiteY213" fmla="*/ 292422 h 402548"/>
                <a:gd name="connsiteX214" fmla="*/ 50013 w 218461"/>
                <a:gd name="connsiteY214" fmla="*/ 287535 h 402548"/>
                <a:gd name="connsiteX215" fmla="*/ 47080 w 218461"/>
                <a:gd name="connsiteY215" fmla="*/ 287209 h 402548"/>
                <a:gd name="connsiteX216" fmla="*/ 48221 w 218461"/>
                <a:gd name="connsiteY216" fmla="*/ 278738 h 402548"/>
                <a:gd name="connsiteX217" fmla="*/ 49524 w 218461"/>
                <a:gd name="connsiteY217" fmla="*/ 274828 h 402548"/>
                <a:gd name="connsiteX218" fmla="*/ 51968 w 218461"/>
                <a:gd name="connsiteY218" fmla="*/ 270755 h 402548"/>
                <a:gd name="connsiteX219" fmla="*/ 52619 w 218461"/>
                <a:gd name="connsiteY219" fmla="*/ 264239 h 402548"/>
                <a:gd name="connsiteX220" fmla="*/ 58159 w 218461"/>
                <a:gd name="connsiteY220" fmla="*/ 260166 h 402548"/>
                <a:gd name="connsiteX221" fmla="*/ 64186 w 218461"/>
                <a:gd name="connsiteY221" fmla="*/ 243875 h 402548"/>
                <a:gd name="connsiteX222" fmla="*/ 67118 w 218461"/>
                <a:gd name="connsiteY222" fmla="*/ 242083 h 402548"/>
                <a:gd name="connsiteX223" fmla="*/ 67444 w 218461"/>
                <a:gd name="connsiteY223" fmla="*/ 233612 h 402548"/>
                <a:gd name="connsiteX224" fmla="*/ 64186 w 218461"/>
                <a:gd name="connsiteY224" fmla="*/ 227910 h 402548"/>
                <a:gd name="connsiteX225" fmla="*/ 64512 w 218461"/>
                <a:gd name="connsiteY225" fmla="*/ 220579 h 402548"/>
                <a:gd name="connsiteX226" fmla="*/ 62231 w 218461"/>
                <a:gd name="connsiteY226" fmla="*/ 216017 h 402548"/>
                <a:gd name="connsiteX227" fmla="*/ 61091 w 218461"/>
                <a:gd name="connsiteY227" fmla="*/ 208524 h 402548"/>
                <a:gd name="connsiteX228" fmla="*/ 58159 w 218461"/>
                <a:gd name="connsiteY228" fmla="*/ 205428 h 402548"/>
                <a:gd name="connsiteX229" fmla="*/ 58647 w 218461"/>
                <a:gd name="connsiteY229" fmla="*/ 199890 h 402548"/>
                <a:gd name="connsiteX230" fmla="*/ 57507 w 218461"/>
                <a:gd name="connsiteY230" fmla="*/ 194839 h 402548"/>
                <a:gd name="connsiteX231" fmla="*/ 59299 w 218461"/>
                <a:gd name="connsiteY231" fmla="*/ 190604 h 402548"/>
                <a:gd name="connsiteX232" fmla="*/ 56041 w 218461"/>
                <a:gd name="connsiteY232" fmla="*/ 179689 h 402548"/>
                <a:gd name="connsiteX233" fmla="*/ 49035 w 218461"/>
                <a:gd name="connsiteY233" fmla="*/ 172847 h 402548"/>
                <a:gd name="connsiteX234" fmla="*/ 41216 w 218461"/>
                <a:gd name="connsiteY234" fmla="*/ 166819 h 402548"/>
                <a:gd name="connsiteX235" fmla="*/ 34537 w 218461"/>
                <a:gd name="connsiteY235" fmla="*/ 158511 h 402548"/>
                <a:gd name="connsiteX236" fmla="*/ 34537 w 218461"/>
                <a:gd name="connsiteY236" fmla="*/ 153949 h 402548"/>
                <a:gd name="connsiteX237" fmla="*/ 30627 w 218461"/>
                <a:gd name="connsiteY237" fmla="*/ 145152 h 402548"/>
                <a:gd name="connsiteX238" fmla="*/ 36003 w 218461"/>
                <a:gd name="connsiteY238" fmla="*/ 142057 h 402548"/>
                <a:gd name="connsiteX239" fmla="*/ 36655 w 218461"/>
                <a:gd name="connsiteY239" fmla="*/ 138147 h 402548"/>
                <a:gd name="connsiteX240" fmla="*/ 33722 w 218461"/>
                <a:gd name="connsiteY240" fmla="*/ 125114 h 402548"/>
                <a:gd name="connsiteX241" fmla="*/ 35677 w 218461"/>
                <a:gd name="connsiteY241" fmla="*/ 121367 h 402548"/>
                <a:gd name="connsiteX242" fmla="*/ 40401 w 218461"/>
                <a:gd name="connsiteY242" fmla="*/ 118761 h 402548"/>
                <a:gd name="connsiteX243" fmla="*/ 39912 w 218461"/>
                <a:gd name="connsiteY243" fmla="*/ 113548 h 402548"/>
                <a:gd name="connsiteX244" fmla="*/ 34537 w 218461"/>
                <a:gd name="connsiteY244" fmla="*/ 110941 h 402548"/>
                <a:gd name="connsiteX245" fmla="*/ 33559 w 218461"/>
                <a:gd name="connsiteY245" fmla="*/ 105402 h 402548"/>
                <a:gd name="connsiteX246" fmla="*/ 30627 w 218461"/>
                <a:gd name="connsiteY246" fmla="*/ 98723 h 402548"/>
                <a:gd name="connsiteX247" fmla="*/ 26554 w 218461"/>
                <a:gd name="connsiteY247" fmla="*/ 97257 h 402548"/>
                <a:gd name="connsiteX248" fmla="*/ 20526 w 218461"/>
                <a:gd name="connsiteY248" fmla="*/ 84061 h 402548"/>
                <a:gd name="connsiteX249" fmla="*/ 13847 w 218461"/>
                <a:gd name="connsiteY249" fmla="*/ 79500 h 402548"/>
                <a:gd name="connsiteX250" fmla="*/ 12381 w 218461"/>
                <a:gd name="connsiteY250" fmla="*/ 75590 h 402548"/>
                <a:gd name="connsiteX251" fmla="*/ 8634 w 218461"/>
                <a:gd name="connsiteY251" fmla="*/ 72169 h 402548"/>
                <a:gd name="connsiteX252" fmla="*/ 4398 w 218461"/>
                <a:gd name="connsiteY252" fmla="*/ 64838 h 402548"/>
                <a:gd name="connsiteX253" fmla="*/ 489 w 218461"/>
                <a:gd name="connsiteY253" fmla="*/ 63698 h 402548"/>
                <a:gd name="connsiteX254" fmla="*/ 0 w 218461"/>
                <a:gd name="connsiteY254" fmla="*/ 59625 h 402548"/>
                <a:gd name="connsiteX255" fmla="*/ 6679 w 218461"/>
                <a:gd name="connsiteY255" fmla="*/ 56855 h 402548"/>
                <a:gd name="connsiteX256" fmla="*/ 11403 w 218461"/>
                <a:gd name="connsiteY256" fmla="*/ 53434 h 402548"/>
                <a:gd name="connsiteX257" fmla="*/ 9612 w 218461"/>
                <a:gd name="connsiteY257" fmla="*/ 49199 h 402548"/>
                <a:gd name="connsiteX258" fmla="*/ 9612 w 218461"/>
                <a:gd name="connsiteY258" fmla="*/ 41705 h 402548"/>
                <a:gd name="connsiteX259" fmla="*/ 13359 w 218461"/>
                <a:gd name="connsiteY259" fmla="*/ 38284 h 402548"/>
                <a:gd name="connsiteX260" fmla="*/ 12055 w 218461"/>
                <a:gd name="connsiteY260" fmla="*/ 29487 h 402548"/>
                <a:gd name="connsiteX261" fmla="*/ 16128 w 218461"/>
                <a:gd name="connsiteY261" fmla="*/ 23948 h 402548"/>
                <a:gd name="connsiteX262" fmla="*/ 25739 w 218461"/>
                <a:gd name="connsiteY262" fmla="*/ 27858 h 402548"/>
                <a:gd name="connsiteX263" fmla="*/ 31604 w 218461"/>
                <a:gd name="connsiteY263" fmla="*/ 23133 h 402548"/>
                <a:gd name="connsiteX264" fmla="*/ 37306 w 218461"/>
                <a:gd name="connsiteY264" fmla="*/ 23133 h 402548"/>
                <a:gd name="connsiteX265" fmla="*/ 38935 w 218461"/>
                <a:gd name="connsiteY265" fmla="*/ 20526 h 402548"/>
                <a:gd name="connsiteX266" fmla="*/ 38935 w 218461"/>
                <a:gd name="connsiteY266" fmla="*/ 14173 h 402548"/>
                <a:gd name="connsiteX267" fmla="*/ 42356 w 218461"/>
                <a:gd name="connsiteY267" fmla="*/ 11241 h 402548"/>
                <a:gd name="connsiteX268" fmla="*/ 48873 w 218461"/>
                <a:gd name="connsiteY268" fmla="*/ 12218 h 402548"/>
                <a:gd name="connsiteX269" fmla="*/ 50828 w 218461"/>
                <a:gd name="connsiteY269" fmla="*/ 9449 h 402548"/>
                <a:gd name="connsiteX270" fmla="*/ 48058 w 218461"/>
                <a:gd name="connsiteY270" fmla="*/ 5702 h 402548"/>
                <a:gd name="connsiteX271" fmla="*/ 48058 w 218461"/>
                <a:gd name="connsiteY271" fmla="*/ 2769 h 402548"/>
                <a:gd name="connsiteX272" fmla="*/ 53923 w 218461"/>
                <a:gd name="connsiteY272" fmla="*/ 815 h 402548"/>
                <a:gd name="connsiteX273" fmla="*/ 61417 w 218461"/>
                <a:gd name="connsiteY273" fmla="*/ 489 h 402548"/>
                <a:gd name="connsiteX274" fmla="*/ 61417 w 218461"/>
                <a:gd name="connsiteY274" fmla="*/ 0 h 402548"/>
                <a:gd name="connsiteX275" fmla="*/ 61580 w 218461"/>
                <a:gd name="connsiteY275" fmla="*/ 0 h 402548"/>
                <a:gd name="connsiteX276" fmla="*/ 75916 w 218461"/>
                <a:gd name="connsiteY276" fmla="*/ 377135 h 402548"/>
                <a:gd name="connsiteX277" fmla="*/ 77871 w 218461"/>
                <a:gd name="connsiteY277" fmla="*/ 381208 h 402548"/>
                <a:gd name="connsiteX278" fmla="*/ 79662 w 218461"/>
                <a:gd name="connsiteY278" fmla="*/ 380556 h 402548"/>
                <a:gd name="connsiteX279" fmla="*/ 79011 w 218461"/>
                <a:gd name="connsiteY279" fmla="*/ 377460 h 402548"/>
                <a:gd name="connsiteX280" fmla="*/ 77219 w 218461"/>
                <a:gd name="connsiteY280" fmla="*/ 376483 h 402548"/>
                <a:gd name="connsiteX281" fmla="*/ 76078 w 218461"/>
                <a:gd name="connsiteY281" fmla="*/ 377135 h 402548"/>
                <a:gd name="connsiteX282" fmla="*/ 76078 w 218461"/>
                <a:gd name="connsiteY282" fmla="*/ 377135 h 402548"/>
                <a:gd name="connsiteX283" fmla="*/ 59787 w 218461"/>
                <a:gd name="connsiteY283" fmla="*/ 352047 h 402548"/>
                <a:gd name="connsiteX284" fmla="*/ 60765 w 218461"/>
                <a:gd name="connsiteY284" fmla="*/ 357260 h 402548"/>
                <a:gd name="connsiteX285" fmla="*/ 61417 w 218461"/>
                <a:gd name="connsiteY285" fmla="*/ 354490 h 402548"/>
                <a:gd name="connsiteX286" fmla="*/ 61091 w 218461"/>
                <a:gd name="connsiteY286" fmla="*/ 352210 h 402548"/>
                <a:gd name="connsiteX287" fmla="*/ 59787 w 218461"/>
                <a:gd name="connsiteY287" fmla="*/ 351884 h 402548"/>
                <a:gd name="connsiteX288" fmla="*/ 59787 w 218461"/>
                <a:gd name="connsiteY288" fmla="*/ 351884 h 402548"/>
                <a:gd name="connsiteX289" fmla="*/ 41705 w 218461"/>
                <a:gd name="connsiteY289" fmla="*/ 339014 h 402548"/>
                <a:gd name="connsiteX290" fmla="*/ 40564 w 218461"/>
                <a:gd name="connsiteY290" fmla="*/ 342272 h 402548"/>
                <a:gd name="connsiteX291" fmla="*/ 41705 w 218461"/>
                <a:gd name="connsiteY291" fmla="*/ 344390 h 402548"/>
                <a:gd name="connsiteX292" fmla="*/ 41379 w 218461"/>
                <a:gd name="connsiteY292" fmla="*/ 349603 h 402548"/>
                <a:gd name="connsiteX293" fmla="*/ 44637 w 218461"/>
                <a:gd name="connsiteY293" fmla="*/ 345205 h 402548"/>
                <a:gd name="connsiteX294" fmla="*/ 44637 w 218461"/>
                <a:gd name="connsiteY294" fmla="*/ 339014 h 402548"/>
                <a:gd name="connsiteX295" fmla="*/ 41542 w 218461"/>
                <a:gd name="connsiteY295" fmla="*/ 338851 h 402548"/>
                <a:gd name="connsiteX296" fmla="*/ 41542 w 218461"/>
                <a:gd name="connsiteY296" fmla="*/ 338851 h 402548"/>
                <a:gd name="connsiteX297" fmla="*/ 134726 w 218461"/>
                <a:gd name="connsiteY297" fmla="*/ 229213 h 402548"/>
                <a:gd name="connsiteX298" fmla="*/ 135051 w 218461"/>
                <a:gd name="connsiteY298" fmla="*/ 233612 h 402548"/>
                <a:gd name="connsiteX299" fmla="*/ 138635 w 218461"/>
                <a:gd name="connsiteY299" fmla="*/ 236707 h 402548"/>
                <a:gd name="connsiteX300" fmla="*/ 141242 w 218461"/>
                <a:gd name="connsiteY300" fmla="*/ 236218 h 402548"/>
                <a:gd name="connsiteX301" fmla="*/ 134563 w 218461"/>
                <a:gd name="connsiteY301" fmla="*/ 229376 h 402548"/>
                <a:gd name="connsiteX302" fmla="*/ 134563 w 218461"/>
                <a:gd name="connsiteY302" fmla="*/ 229376 h 402548"/>
                <a:gd name="connsiteX303" fmla="*/ 84387 w 218461"/>
                <a:gd name="connsiteY303" fmla="*/ 292259 h 402548"/>
                <a:gd name="connsiteX304" fmla="*/ 79825 w 218461"/>
                <a:gd name="connsiteY304" fmla="*/ 294051 h 402548"/>
                <a:gd name="connsiteX305" fmla="*/ 83246 w 218461"/>
                <a:gd name="connsiteY305" fmla="*/ 295028 h 402548"/>
                <a:gd name="connsiteX306" fmla="*/ 84550 w 218461"/>
                <a:gd name="connsiteY306" fmla="*/ 292259 h 402548"/>
                <a:gd name="connsiteX307" fmla="*/ 84550 w 218461"/>
                <a:gd name="connsiteY307" fmla="*/ 292259 h 402548"/>
                <a:gd name="connsiteX308" fmla="*/ 85527 w 218461"/>
                <a:gd name="connsiteY308" fmla="*/ 297635 h 402548"/>
                <a:gd name="connsiteX309" fmla="*/ 81780 w 218461"/>
                <a:gd name="connsiteY309" fmla="*/ 300079 h 402548"/>
                <a:gd name="connsiteX310" fmla="*/ 82106 w 218461"/>
                <a:gd name="connsiteY310" fmla="*/ 303337 h 402548"/>
                <a:gd name="connsiteX311" fmla="*/ 85853 w 218461"/>
                <a:gd name="connsiteY311" fmla="*/ 306432 h 402548"/>
                <a:gd name="connsiteX312" fmla="*/ 86993 w 218461"/>
                <a:gd name="connsiteY312" fmla="*/ 301219 h 402548"/>
                <a:gd name="connsiteX313" fmla="*/ 85527 w 218461"/>
                <a:gd name="connsiteY313" fmla="*/ 297472 h 4025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</a:cxnLst>
              <a:rect l="l" t="t" r="r" b="b"/>
              <a:pathLst>
                <a:path w="218461" h="402548">
                  <a:moveTo>
                    <a:pt x="61742" y="0"/>
                  </a:moveTo>
                  <a:lnTo>
                    <a:pt x="64675" y="6028"/>
                  </a:lnTo>
                  <a:lnTo>
                    <a:pt x="71517" y="4399"/>
                  </a:lnTo>
                  <a:lnTo>
                    <a:pt x="76404" y="10263"/>
                  </a:lnTo>
                  <a:lnTo>
                    <a:pt x="77707" y="19060"/>
                  </a:lnTo>
                  <a:lnTo>
                    <a:pt x="73635" y="21993"/>
                  </a:lnTo>
                  <a:lnTo>
                    <a:pt x="77382" y="28509"/>
                  </a:lnTo>
                  <a:lnTo>
                    <a:pt x="81455" y="29975"/>
                  </a:lnTo>
                  <a:lnTo>
                    <a:pt x="85853" y="26228"/>
                  </a:lnTo>
                  <a:lnTo>
                    <a:pt x="95302" y="26228"/>
                  </a:lnTo>
                  <a:cubicBezTo>
                    <a:pt x="95302" y="26228"/>
                    <a:pt x="95465" y="30790"/>
                    <a:pt x="95465" y="30790"/>
                  </a:cubicBezTo>
                  <a:lnTo>
                    <a:pt x="92532" y="36655"/>
                  </a:lnTo>
                  <a:lnTo>
                    <a:pt x="95465" y="41705"/>
                  </a:lnTo>
                  <a:lnTo>
                    <a:pt x="95465" y="45777"/>
                  </a:lnTo>
                  <a:cubicBezTo>
                    <a:pt x="95465" y="45777"/>
                    <a:pt x="92369" y="49687"/>
                    <a:pt x="92369" y="49687"/>
                  </a:cubicBezTo>
                  <a:lnTo>
                    <a:pt x="94650" y="55878"/>
                  </a:lnTo>
                  <a:lnTo>
                    <a:pt x="94650" y="64675"/>
                  </a:lnTo>
                  <a:lnTo>
                    <a:pt x="95139" y="78034"/>
                  </a:lnTo>
                  <a:lnTo>
                    <a:pt x="102144" y="74287"/>
                  </a:lnTo>
                  <a:lnTo>
                    <a:pt x="108334" y="72820"/>
                  </a:lnTo>
                  <a:lnTo>
                    <a:pt x="108986" y="67607"/>
                  </a:lnTo>
                  <a:lnTo>
                    <a:pt x="117132" y="63860"/>
                  </a:lnTo>
                  <a:lnTo>
                    <a:pt x="125603" y="68259"/>
                  </a:lnTo>
                  <a:lnTo>
                    <a:pt x="130816" y="67933"/>
                  </a:lnTo>
                  <a:lnTo>
                    <a:pt x="135214" y="73472"/>
                  </a:lnTo>
                  <a:lnTo>
                    <a:pt x="145966" y="72332"/>
                  </a:lnTo>
                  <a:lnTo>
                    <a:pt x="151505" y="60928"/>
                  </a:lnTo>
                  <a:lnTo>
                    <a:pt x="159977" y="59136"/>
                  </a:lnTo>
                  <a:lnTo>
                    <a:pt x="171380" y="62068"/>
                  </a:lnTo>
                  <a:lnTo>
                    <a:pt x="175127" y="69399"/>
                  </a:lnTo>
                  <a:lnTo>
                    <a:pt x="186205" y="77382"/>
                  </a:lnTo>
                  <a:lnTo>
                    <a:pt x="192396" y="81943"/>
                  </a:lnTo>
                  <a:lnTo>
                    <a:pt x="195002" y="87482"/>
                  </a:lnTo>
                  <a:lnTo>
                    <a:pt x="194025" y="91881"/>
                  </a:lnTo>
                  <a:lnTo>
                    <a:pt x="192233" y="94976"/>
                  </a:lnTo>
                  <a:lnTo>
                    <a:pt x="195002" y="101004"/>
                  </a:lnTo>
                  <a:lnTo>
                    <a:pt x="194676" y="108172"/>
                  </a:lnTo>
                  <a:lnTo>
                    <a:pt x="193373" y="112082"/>
                  </a:lnTo>
                  <a:lnTo>
                    <a:pt x="197935" y="115340"/>
                  </a:lnTo>
                  <a:lnTo>
                    <a:pt x="203310" y="121204"/>
                  </a:lnTo>
                  <a:lnTo>
                    <a:pt x="208035" y="121530"/>
                  </a:lnTo>
                  <a:lnTo>
                    <a:pt x="212433" y="123322"/>
                  </a:lnTo>
                  <a:lnTo>
                    <a:pt x="210804" y="126092"/>
                  </a:lnTo>
                  <a:lnTo>
                    <a:pt x="217321" y="130327"/>
                  </a:lnTo>
                  <a:lnTo>
                    <a:pt x="218461" y="133749"/>
                  </a:lnTo>
                  <a:lnTo>
                    <a:pt x="216832" y="139450"/>
                  </a:lnTo>
                  <a:lnTo>
                    <a:pt x="217158" y="142708"/>
                  </a:lnTo>
                  <a:lnTo>
                    <a:pt x="215366" y="147433"/>
                  </a:lnTo>
                  <a:lnTo>
                    <a:pt x="217158" y="151506"/>
                  </a:lnTo>
                  <a:lnTo>
                    <a:pt x="216832" y="160791"/>
                  </a:lnTo>
                  <a:lnTo>
                    <a:pt x="213574" y="164538"/>
                  </a:lnTo>
                  <a:lnTo>
                    <a:pt x="207546" y="167471"/>
                  </a:lnTo>
                  <a:lnTo>
                    <a:pt x="203148" y="164050"/>
                  </a:lnTo>
                  <a:lnTo>
                    <a:pt x="195980" y="165027"/>
                  </a:lnTo>
                  <a:lnTo>
                    <a:pt x="190441" y="163561"/>
                  </a:lnTo>
                  <a:lnTo>
                    <a:pt x="184902" y="163561"/>
                  </a:lnTo>
                  <a:lnTo>
                    <a:pt x="177734" y="166167"/>
                  </a:lnTo>
                  <a:lnTo>
                    <a:pt x="175453" y="163887"/>
                  </a:lnTo>
                  <a:lnTo>
                    <a:pt x="168122" y="163887"/>
                  </a:lnTo>
                  <a:cubicBezTo>
                    <a:pt x="168122" y="163887"/>
                    <a:pt x="156067" y="167634"/>
                    <a:pt x="156067" y="167634"/>
                  </a:cubicBezTo>
                  <a:lnTo>
                    <a:pt x="151017" y="167634"/>
                  </a:lnTo>
                  <a:lnTo>
                    <a:pt x="145641" y="175127"/>
                  </a:lnTo>
                  <a:lnTo>
                    <a:pt x="144012" y="182621"/>
                  </a:lnTo>
                  <a:lnTo>
                    <a:pt x="139776" y="188323"/>
                  </a:lnTo>
                  <a:lnTo>
                    <a:pt x="139287" y="198260"/>
                  </a:lnTo>
                  <a:lnTo>
                    <a:pt x="141568" y="208361"/>
                  </a:lnTo>
                  <a:lnTo>
                    <a:pt x="145966" y="210804"/>
                  </a:lnTo>
                  <a:lnTo>
                    <a:pt x="148410" y="215855"/>
                  </a:lnTo>
                  <a:lnTo>
                    <a:pt x="147921" y="225303"/>
                  </a:lnTo>
                  <a:lnTo>
                    <a:pt x="147270" y="229213"/>
                  </a:lnTo>
                  <a:lnTo>
                    <a:pt x="144989" y="228887"/>
                  </a:lnTo>
                  <a:lnTo>
                    <a:pt x="144663" y="232471"/>
                  </a:lnTo>
                  <a:lnTo>
                    <a:pt x="143686" y="232797"/>
                  </a:lnTo>
                  <a:lnTo>
                    <a:pt x="142871" y="231494"/>
                  </a:lnTo>
                  <a:lnTo>
                    <a:pt x="137495" y="227095"/>
                  </a:lnTo>
                  <a:lnTo>
                    <a:pt x="135541" y="227095"/>
                  </a:lnTo>
                  <a:cubicBezTo>
                    <a:pt x="135541" y="227095"/>
                    <a:pt x="135541" y="224652"/>
                    <a:pt x="135541" y="224652"/>
                  </a:cubicBezTo>
                  <a:lnTo>
                    <a:pt x="132282" y="223023"/>
                  </a:lnTo>
                  <a:lnTo>
                    <a:pt x="125603" y="216506"/>
                  </a:lnTo>
                  <a:lnTo>
                    <a:pt x="121856" y="215203"/>
                  </a:lnTo>
                  <a:lnTo>
                    <a:pt x="118923" y="217647"/>
                  </a:lnTo>
                  <a:lnTo>
                    <a:pt x="119575" y="218787"/>
                  </a:lnTo>
                  <a:lnTo>
                    <a:pt x="119087" y="219765"/>
                  </a:lnTo>
                  <a:lnTo>
                    <a:pt x="116806" y="218298"/>
                  </a:lnTo>
                  <a:lnTo>
                    <a:pt x="111267" y="216995"/>
                  </a:lnTo>
                  <a:lnTo>
                    <a:pt x="106217" y="218298"/>
                  </a:lnTo>
                  <a:lnTo>
                    <a:pt x="102633" y="216995"/>
                  </a:lnTo>
                  <a:lnTo>
                    <a:pt x="98723" y="217321"/>
                  </a:lnTo>
                  <a:lnTo>
                    <a:pt x="100026" y="213248"/>
                  </a:lnTo>
                  <a:lnTo>
                    <a:pt x="101655" y="211456"/>
                  </a:lnTo>
                  <a:lnTo>
                    <a:pt x="99375" y="207383"/>
                  </a:lnTo>
                  <a:lnTo>
                    <a:pt x="99700" y="200704"/>
                  </a:lnTo>
                  <a:lnTo>
                    <a:pt x="101166" y="199238"/>
                  </a:lnTo>
                  <a:lnTo>
                    <a:pt x="99863" y="195817"/>
                  </a:lnTo>
                  <a:lnTo>
                    <a:pt x="95465" y="195002"/>
                  </a:lnTo>
                  <a:lnTo>
                    <a:pt x="94650" y="194351"/>
                  </a:lnTo>
                  <a:lnTo>
                    <a:pt x="93021" y="194839"/>
                  </a:lnTo>
                  <a:lnTo>
                    <a:pt x="91229" y="193536"/>
                  </a:lnTo>
                  <a:lnTo>
                    <a:pt x="87319" y="195328"/>
                  </a:lnTo>
                  <a:lnTo>
                    <a:pt x="84224" y="195654"/>
                  </a:lnTo>
                  <a:lnTo>
                    <a:pt x="82432" y="194188"/>
                  </a:lnTo>
                  <a:lnTo>
                    <a:pt x="80803" y="196143"/>
                  </a:lnTo>
                  <a:lnTo>
                    <a:pt x="77871" y="196143"/>
                  </a:lnTo>
                  <a:cubicBezTo>
                    <a:pt x="77871" y="196143"/>
                    <a:pt x="76404" y="195328"/>
                    <a:pt x="76404" y="195328"/>
                  </a:cubicBezTo>
                  <a:lnTo>
                    <a:pt x="76404" y="196468"/>
                  </a:lnTo>
                  <a:lnTo>
                    <a:pt x="75264" y="199890"/>
                  </a:lnTo>
                  <a:lnTo>
                    <a:pt x="79500" y="202007"/>
                  </a:lnTo>
                  <a:lnTo>
                    <a:pt x="80314" y="206732"/>
                  </a:lnTo>
                  <a:lnTo>
                    <a:pt x="77544" y="211130"/>
                  </a:lnTo>
                  <a:lnTo>
                    <a:pt x="77544" y="216669"/>
                  </a:lnTo>
                  <a:cubicBezTo>
                    <a:pt x="77544" y="216669"/>
                    <a:pt x="76730" y="219765"/>
                    <a:pt x="76730" y="219765"/>
                  </a:cubicBezTo>
                  <a:lnTo>
                    <a:pt x="78685" y="221393"/>
                  </a:lnTo>
                  <a:lnTo>
                    <a:pt x="77871" y="228562"/>
                  </a:lnTo>
                  <a:lnTo>
                    <a:pt x="74287" y="233123"/>
                  </a:lnTo>
                  <a:lnTo>
                    <a:pt x="73472" y="238336"/>
                  </a:lnTo>
                  <a:lnTo>
                    <a:pt x="69725" y="243712"/>
                  </a:lnTo>
                  <a:lnTo>
                    <a:pt x="68422" y="263098"/>
                  </a:lnTo>
                  <a:lnTo>
                    <a:pt x="62394" y="270918"/>
                  </a:lnTo>
                  <a:lnTo>
                    <a:pt x="62394" y="276294"/>
                  </a:lnTo>
                  <a:lnTo>
                    <a:pt x="59950" y="281344"/>
                  </a:lnTo>
                  <a:lnTo>
                    <a:pt x="62557" y="281833"/>
                  </a:lnTo>
                  <a:lnTo>
                    <a:pt x="63371" y="283136"/>
                  </a:lnTo>
                  <a:lnTo>
                    <a:pt x="60928" y="286231"/>
                  </a:lnTo>
                  <a:lnTo>
                    <a:pt x="61254" y="288512"/>
                  </a:lnTo>
                  <a:lnTo>
                    <a:pt x="62557" y="293888"/>
                  </a:lnTo>
                  <a:lnTo>
                    <a:pt x="62557" y="297309"/>
                  </a:lnTo>
                  <a:lnTo>
                    <a:pt x="67607" y="304640"/>
                  </a:lnTo>
                  <a:lnTo>
                    <a:pt x="65164" y="309527"/>
                  </a:lnTo>
                  <a:lnTo>
                    <a:pt x="66630" y="311482"/>
                  </a:lnTo>
                  <a:lnTo>
                    <a:pt x="69399" y="310668"/>
                  </a:lnTo>
                  <a:lnTo>
                    <a:pt x="70051" y="308550"/>
                  </a:lnTo>
                  <a:lnTo>
                    <a:pt x="72494" y="305781"/>
                  </a:lnTo>
                  <a:lnTo>
                    <a:pt x="73798" y="306595"/>
                  </a:lnTo>
                  <a:lnTo>
                    <a:pt x="77707" y="307409"/>
                  </a:lnTo>
                  <a:lnTo>
                    <a:pt x="79988" y="309527"/>
                  </a:lnTo>
                  <a:lnTo>
                    <a:pt x="80640" y="314903"/>
                  </a:lnTo>
                  <a:lnTo>
                    <a:pt x="82921" y="317999"/>
                  </a:lnTo>
                  <a:lnTo>
                    <a:pt x="82432" y="323538"/>
                  </a:lnTo>
                  <a:lnTo>
                    <a:pt x="85201" y="324515"/>
                  </a:lnTo>
                  <a:lnTo>
                    <a:pt x="87808" y="330217"/>
                  </a:lnTo>
                  <a:lnTo>
                    <a:pt x="90577" y="330217"/>
                  </a:lnTo>
                  <a:cubicBezTo>
                    <a:pt x="90577" y="330217"/>
                    <a:pt x="90577" y="327284"/>
                    <a:pt x="90577" y="327284"/>
                  </a:cubicBezTo>
                  <a:lnTo>
                    <a:pt x="90903" y="325167"/>
                  </a:lnTo>
                  <a:lnTo>
                    <a:pt x="92207" y="329076"/>
                  </a:lnTo>
                  <a:lnTo>
                    <a:pt x="95139" y="333312"/>
                  </a:lnTo>
                  <a:lnTo>
                    <a:pt x="95139" y="337548"/>
                  </a:lnTo>
                  <a:cubicBezTo>
                    <a:pt x="95139" y="337548"/>
                    <a:pt x="97582" y="338851"/>
                    <a:pt x="97582" y="338851"/>
                  </a:cubicBezTo>
                  <a:lnTo>
                    <a:pt x="99537" y="349440"/>
                  </a:lnTo>
                  <a:lnTo>
                    <a:pt x="98560" y="350906"/>
                  </a:lnTo>
                  <a:lnTo>
                    <a:pt x="97745" y="352698"/>
                  </a:lnTo>
                  <a:lnTo>
                    <a:pt x="96442" y="350906"/>
                  </a:lnTo>
                  <a:lnTo>
                    <a:pt x="92369" y="353676"/>
                  </a:lnTo>
                  <a:lnTo>
                    <a:pt x="91718" y="357260"/>
                  </a:lnTo>
                  <a:lnTo>
                    <a:pt x="99212" y="360029"/>
                  </a:lnTo>
                  <a:lnTo>
                    <a:pt x="100026" y="356282"/>
                  </a:lnTo>
                  <a:lnTo>
                    <a:pt x="101492" y="357423"/>
                  </a:lnTo>
                  <a:lnTo>
                    <a:pt x="101981" y="361984"/>
                  </a:lnTo>
                  <a:lnTo>
                    <a:pt x="105402" y="364754"/>
                  </a:lnTo>
                  <a:lnTo>
                    <a:pt x="112733" y="371922"/>
                  </a:lnTo>
                  <a:lnTo>
                    <a:pt x="115828" y="374202"/>
                  </a:lnTo>
                  <a:lnTo>
                    <a:pt x="117946" y="372736"/>
                  </a:lnTo>
                  <a:lnTo>
                    <a:pt x="123159" y="373388"/>
                  </a:lnTo>
                  <a:lnTo>
                    <a:pt x="127884" y="375180"/>
                  </a:lnTo>
                  <a:lnTo>
                    <a:pt x="131142" y="382511"/>
                  </a:lnTo>
                  <a:lnTo>
                    <a:pt x="133911" y="386095"/>
                  </a:lnTo>
                  <a:lnTo>
                    <a:pt x="138635" y="389027"/>
                  </a:lnTo>
                  <a:lnTo>
                    <a:pt x="139287" y="391471"/>
                  </a:lnTo>
                  <a:lnTo>
                    <a:pt x="138147" y="392774"/>
                  </a:lnTo>
                  <a:lnTo>
                    <a:pt x="138147" y="397335"/>
                  </a:lnTo>
                  <a:lnTo>
                    <a:pt x="134563" y="399942"/>
                  </a:lnTo>
                  <a:lnTo>
                    <a:pt x="131142" y="397010"/>
                  </a:lnTo>
                  <a:lnTo>
                    <a:pt x="126580" y="397498"/>
                  </a:lnTo>
                  <a:lnTo>
                    <a:pt x="120878" y="402549"/>
                  </a:lnTo>
                  <a:lnTo>
                    <a:pt x="114036" y="400919"/>
                  </a:lnTo>
                  <a:lnTo>
                    <a:pt x="114036" y="397173"/>
                  </a:lnTo>
                  <a:cubicBezTo>
                    <a:pt x="114036" y="397173"/>
                    <a:pt x="117132" y="393426"/>
                    <a:pt x="117132" y="393426"/>
                  </a:cubicBezTo>
                  <a:lnTo>
                    <a:pt x="117783" y="386095"/>
                  </a:lnTo>
                  <a:lnTo>
                    <a:pt x="114525" y="382837"/>
                  </a:lnTo>
                  <a:lnTo>
                    <a:pt x="109149" y="382837"/>
                  </a:lnTo>
                  <a:lnTo>
                    <a:pt x="107846" y="379904"/>
                  </a:lnTo>
                  <a:lnTo>
                    <a:pt x="100841" y="377949"/>
                  </a:lnTo>
                  <a:lnTo>
                    <a:pt x="96116" y="373714"/>
                  </a:lnTo>
                  <a:lnTo>
                    <a:pt x="92858" y="377949"/>
                  </a:lnTo>
                  <a:lnTo>
                    <a:pt x="91229" y="383814"/>
                  </a:lnTo>
                  <a:lnTo>
                    <a:pt x="89111" y="380393"/>
                  </a:lnTo>
                  <a:lnTo>
                    <a:pt x="78196" y="372410"/>
                  </a:lnTo>
                  <a:lnTo>
                    <a:pt x="77871" y="370292"/>
                  </a:lnTo>
                  <a:lnTo>
                    <a:pt x="79988" y="367849"/>
                  </a:lnTo>
                  <a:lnTo>
                    <a:pt x="79988" y="365079"/>
                  </a:lnTo>
                  <a:cubicBezTo>
                    <a:pt x="79988" y="365079"/>
                    <a:pt x="77544" y="364754"/>
                    <a:pt x="77544" y="364754"/>
                  </a:cubicBezTo>
                  <a:lnTo>
                    <a:pt x="75753" y="360518"/>
                  </a:lnTo>
                  <a:lnTo>
                    <a:pt x="70703" y="359703"/>
                  </a:lnTo>
                  <a:lnTo>
                    <a:pt x="70703" y="356282"/>
                  </a:lnTo>
                  <a:lnTo>
                    <a:pt x="64838" y="348626"/>
                  </a:lnTo>
                  <a:lnTo>
                    <a:pt x="61091" y="348626"/>
                  </a:lnTo>
                  <a:lnTo>
                    <a:pt x="58159" y="339340"/>
                  </a:lnTo>
                  <a:lnTo>
                    <a:pt x="53434" y="338525"/>
                  </a:lnTo>
                  <a:lnTo>
                    <a:pt x="53434" y="334616"/>
                  </a:lnTo>
                  <a:lnTo>
                    <a:pt x="50502" y="332498"/>
                  </a:lnTo>
                  <a:lnTo>
                    <a:pt x="50502" y="330054"/>
                  </a:lnTo>
                  <a:cubicBezTo>
                    <a:pt x="50502" y="330054"/>
                    <a:pt x="45777" y="332335"/>
                    <a:pt x="45777" y="332335"/>
                  </a:cubicBezTo>
                  <a:lnTo>
                    <a:pt x="45777" y="337222"/>
                  </a:lnTo>
                  <a:cubicBezTo>
                    <a:pt x="45777" y="337222"/>
                    <a:pt x="42682" y="336896"/>
                    <a:pt x="42682" y="336896"/>
                  </a:cubicBezTo>
                  <a:lnTo>
                    <a:pt x="40401" y="333475"/>
                  </a:lnTo>
                  <a:lnTo>
                    <a:pt x="39098" y="324841"/>
                  </a:lnTo>
                  <a:lnTo>
                    <a:pt x="40239" y="322560"/>
                  </a:lnTo>
                  <a:lnTo>
                    <a:pt x="39424" y="315229"/>
                  </a:lnTo>
                  <a:lnTo>
                    <a:pt x="42682" y="313600"/>
                  </a:lnTo>
                  <a:lnTo>
                    <a:pt x="42682" y="303663"/>
                  </a:lnTo>
                  <a:cubicBezTo>
                    <a:pt x="42682" y="303663"/>
                    <a:pt x="45126" y="304314"/>
                    <a:pt x="45126" y="304314"/>
                  </a:cubicBezTo>
                  <a:lnTo>
                    <a:pt x="47080" y="300405"/>
                  </a:lnTo>
                  <a:lnTo>
                    <a:pt x="44148" y="299753"/>
                  </a:lnTo>
                  <a:lnTo>
                    <a:pt x="47895" y="294540"/>
                  </a:lnTo>
                  <a:lnTo>
                    <a:pt x="46755" y="292422"/>
                  </a:lnTo>
                  <a:lnTo>
                    <a:pt x="50013" y="287535"/>
                  </a:lnTo>
                  <a:lnTo>
                    <a:pt x="47080" y="287209"/>
                  </a:lnTo>
                  <a:lnTo>
                    <a:pt x="48221" y="278738"/>
                  </a:lnTo>
                  <a:lnTo>
                    <a:pt x="49524" y="274828"/>
                  </a:lnTo>
                  <a:lnTo>
                    <a:pt x="51968" y="270755"/>
                  </a:lnTo>
                  <a:lnTo>
                    <a:pt x="52619" y="264239"/>
                  </a:lnTo>
                  <a:lnTo>
                    <a:pt x="58159" y="260166"/>
                  </a:lnTo>
                  <a:lnTo>
                    <a:pt x="64186" y="243875"/>
                  </a:lnTo>
                  <a:lnTo>
                    <a:pt x="67118" y="242083"/>
                  </a:lnTo>
                  <a:lnTo>
                    <a:pt x="67444" y="233612"/>
                  </a:lnTo>
                  <a:lnTo>
                    <a:pt x="64186" y="227910"/>
                  </a:lnTo>
                  <a:lnTo>
                    <a:pt x="64512" y="220579"/>
                  </a:lnTo>
                  <a:lnTo>
                    <a:pt x="62231" y="216017"/>
                  </a:lnTo>
                  <a:lnTo>
                    <a:pt x="61091" y="208524"/>
                  </a:lnTo>
                  <a:lnTo>
                    <a:pt x="58159" y="205428"/>
                  </a:lnTo>
                  <a:lnTo>
                    <a:pt x="58647" y="199890"/>
                  </a:lnTo>
                  <a:lnTo>
                    <a:pt x="57507" y="194839"/>
                  </a:lnTo>
                  <a:lnTo>
                    <a:pt x="59299" y="190604"/>
                  </a:lnTo>
                  <a:lnTo>
                    <a:pt x="56041" y="179689"/>
                  </a:lnTo>
                  <a:lnTo>
                    <a:pt x="49035" y="172847"/>
                  </a:lnTo>
                  <a:lnTo>
                    <a:pt x="41216" y="166819"/>
                  </a:lnTo>
                  <a:lnTo>
                    <a:pt x="34537" y="158511"/>
                  </a:lnTo>
                  <a:lnTo>
                    <a:pt x="34537" y="153949"/>
                  </a:lnTo>
                  <a:cubicBezTo>
                    <a:pt x="34537" y="153949"/>
                    <a:pt x="30627" y="145152"/>
                    <a:pt x="30627" y="145152"/>
                  </a:cubicBezTo>
                  <a:lnTo>
                    <a:pt x="36003" y="142057"/>
                  </a:lnTo>
                  <a:lnTo>
                    <a:pt x="36655" y="138147"/>
                  </a:lnTo>
                  <a:lnTo>
                    <a:pt x="33722" y="125114"/>
                  </a:lnTo>
                  <a:lnTo>
                    <a:pt x="35677" y="121367"/>
                  </a:lnTo>
                  <a:lnTo>
                    <a:pt x="40401" y="118761"/>
                  </a:lnTo>
                  <a:lnTo>
                    <a:pt x="39912" y="113548"/>
                  </a:lnTo>
                  <a:lnTo>
                    <a:pt x="34537" y="110941"/>
                  </a:lnTo>
                  <a:lnTo>
                    <a:pt x="33559" y="105402"/>
                  </a:lnTo>
                  <a:lnTo>
                    <a:pt x="30627" y="98723"/>
                  </a:lnTo>
                  <a:lnTo>
                    <a:pt x="26554" y="97257"/>
                  </a:lnTo>
                  <a:lnTo>
                    <a:pt x="20526" y="84061"/>
                  </a:lnTo>
                  <a:lnTo>
                    <a:pt x="13847" y="79500"/>
                  </a:lnTo>
                  <a:lnTo>
                    <a:pt x="12381" y="75590"/>
                  </a:lnTo>
                  <a:lnTo>
                    <a:pt x="8634" y="72169"/>
                  </a:lnTo>
                  <a:lnTo>
                    <a:pt x="4398" y="64838"/>
                  </a:lnTo>
                  <a:lnTo>
                    <a:pt x="489" y="63698"/>
                  </a:lnTo>
                  <a:lnTo>
                    <a:pt x="0" y="59625"/>
                  </a:lnTo>
                  <a:lnTo>
                    <a:pt x="6679" y="56855"/>
                  </a:lnTo>
                  <a:lnTo>
                    <a:pt x="11403" y="53434"/>
                  </a:lnTo>
                  <a:lnTo>
                    <a:pt x="9612" y="49199"/>
                  </a:lnTo>
                  <a:lnTo>
                    <a:pt x="9612" y="41705"/>
                  </a:lnTo>
                  <a:lnTo>
                    <a:pt x="13359" y="38284"/>
                  </a:lnTo>
                  <a:lnTo>
                    <a:pt x="12055" y="29487"/>
                  </a:lnTo>
                  <a:lnTo>
                    <a:pt x="16128" y="23948"/>
                  </a:lnTo>
                  <a:lnTo>
                    <a:pt x="25739" y="27858"/>
                  </a:lnTo>
                  <a:lnTo>
                    <a:pt x="31604" y="23133"/>
                  </a:lnTo>
                  <a:lnTo>
                    <a:pt x="37306" y="23133"/>
                  </a:lnTo>
                  <a:cubicBezTo>
                    <a:pt x="37306" y="23133"/>
                    <a:pt x="38935" y="20526"/>
                    <a:pt x="38935" y="20526"/>
                  </a:cubicBezTo>
                  <a:lnTo>
                    <a:pt x="38935" y="14173"/>
                  </a:lnTo>
                  <a:cubicBezTo>
                    <a:pt x="38935" y="14173"/>
                    <a:pt x="42356" y="11241"/>
                    <a:pt x="42356" y="11241"/>
                  </a:cubicBezTo>
                  <a:lnTo>
                    <a:pt x="48873" y="12218"/>
                  </a:lnTo>
                  <a:lnTo>
                    <a:pt x="50828" y="9449"/>
                  </a:lnTo>
                  <a:lnTo>
                    <a:pt x="48058" y="5702"/>
                  </a:lnTo>
                  <a:lnTo>
                    <a:pt x="48058" y="2769"/>
                  </a:lnTo>
                  <a:cubicBezTo>
                    <a:pt x="48058" y="2769"/>
                    <a:pt x="53923" y="815"/>
                    <a:pt x="53923" y="815"/>
                  </a:cubicBezTo>
                  <a:lnTo>
                    <a:pt x="61417" y="489"/>
                  </a:lnTo>
                  <a:lnTo>
                    <a:pt x="61417" y="0"/>
                  </a:lnTo>
                  <a:lnTo>
                    <a:pt x="61580" y="0"/>
                  </a:lnTo>
                  <a:close/>
                  <a:moveTo>
                    <a:pt x="75916" y="377135"/>
                  </a:moveTo>
                  <a:lnTo>
                    <a:pt x="77871" y="381208"/>
                  </a:lnTo>
                  <a:lnTo>
                    <a:pt x="79662" y="380556"/>
                  </a:lnTo>
                  <a:lnTo>
                    <a:pt x="79011" y="377460"/>
                  </a:lnTo>
                  <a:lnTo>
                    <a:pt x="77219" y="376483"/>
                  </a:lnTo>
                  <a:lnTo>
                    <a:pt x="76078" y="377135"/>
                  </a:lnTo>
                  <a:lnTo>
                    <a:pt x="76078" y="377135"/>
                  </a:lnTo>
                  <a:close/>
                  <a:moveTo>
                    <a:pt x="59787" y="352047"/>
                  </a:moveTo>
                  <a:lnTo>
                    <a:pt x="60765" y="357260"/>
                  </a:lnTo>
                  <a:lnTo>
                    <a:pt x="61417" y="354490"/>
                  </a:lnTo>
                  <a:lnTo>
                    <a:pt x="61091" y="352210"/>
                  </a:lnTo>
                  <a:lnTo>
                    <a:pt x="59787" y="351884"/>
                  </a:lnTo>
                  <a:lnTo>
                    <a:pt x="59787" y="351884"/>
                  </a:lnTo>
                  <a:close/>
                  <a:moveTo>
                    <a:pt x="41705" y="339014"/>
                  </a:moveTo>
                  <a:lnTo>
                    <a:pt x="40564" y="342272"/>
                  </a:lnTo>
                  <a:lnTo>
                    <a:pt x="41705" y="344390"/>
                  </a:lnTo>
                  <a:lnTo>
                    <a:pt x="41379" y="349603"/>
                  </a:lnTo>
                  <a:lnTo>
                    <a:pt x="44637" y="345205"/>
                  </a:lnTo>
                  <a:lnTo>
                    <a:pt x="44637" y="339014"/>
                  </a:lnTo>
                  <a:cubicBezTo>
                    <a:pt x="44637" y="339014"/>
                    <a:pt x="42030" y="338688"/>
                    <a:pt x="41542" y="338851"/>
                  </a:cubicBezTo>
                  <a:lnTo>
                    <a:pt x="41542" y="338851"/>
                  </a:lnTo>
                  <a:close/>
                  <a:moveTo>
                    <a:pt x="134726" y="229213"/>
                  </a:moveTo>
                  <a:lnTo>
                    <a:pt x="135051" y="233612"/>
                  </a:lnTo>
                  <a:lnTo>
                    <a:pt x="138635" y="236707"/>
                  </a:lnTo>
                  <a:lnTo>
                    <a:pt x="141242" y="236218"/>
                  </a:lnTo>
                  <a:lnTo>
                    <a:pt x="134563" y="229376"/>
                  </a:lnTo>
                  <a:lnTo>
                    <a:pt x="134563" y="229376"/>
                  </a:lnTo>
                  <a:close/>
                  <a:moveTo>
                    <a:pt x="84387" y="292259"/>
                  </a:moveTo>
                  <a:lnTo>
                    <a:pt x="79825" y="294051"/>
                  </a:lnTo>
                  <a:lnTo>
                    <a:pt x="83246" y="295028"/>
                  </a:lnTo>
                  <a:lnTo>
                    <a:pt x="84550" y="292259"/>
                  </a:lnTo>
                  <a:lnTo>
                    <a:pt x="84550" y="292259"/>
                  </a:lnTo>
                  <a:close/>
                  <a:moveTo>
                    <a:pt x="85527" y="297635"/>
                  </a:moveTo>
                  <a:lnTo>
                    <a:pt x="81780" y="300079"/>
                  </a:lnTo>
                  <a:lnTo>
                    <a:pt x="82106" y="303337"/>
                  </a:lnTo>
                  <a:lnTo>
                    <a:pt x="85853" y="306432"/>
                  </a:lnTo>
                  <a:lnTo>
                    <a:pt x="86993" y="301219"/>
                  </a:lnTo>
                  <a:lnTo>
                    <a:pt x="85527" y="297472"/>
                  </a:lnTo>
                  <a:close/>
                </a:path>
              </a:pathLst>
            </a:custGeom>
            <a:solidFill>
              <a:schemeClr val="bg2"/>
            </a:solidFill>
            <a:ln w="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0" name="Forma livre: Forma 209">
              <a:extLst>
                <a:ext uri="{FF2B5EF4-FFF2-40B4-BE49-F238E27FC236}">
                  <a16:creationId xmlns:a16="http://schemas.microsoft.com/office/drawing/2014/main" id="{69ABA6C4-497B-C0A6-930C-4A432CAB47DD}"/>
                </a:ext>
              </a:extLst>
            </p:cNvPr>
            <p:cNvSpPr/>
            <p:nvPr/>
          </p:nvSpPr>
          <p:spPr>
            <a:xfrm>
              <a:off x="8409273" y="4164443"/>
              <a:ext cx="234680" cy="527947"/>
            </a:xfrm>
            <a:custGeom>
              <a:avLst/>
              <a:gdLst>
                <a:gd name="connsiteX0" fmla="*/ 101492 w 227095"/>
                <a:gd name="connsiteY0" fmla="*/ 2118 h 510883"/>
                <a:gd name="connsiteX1" fmla="*/ 105728 w 227095"/>
                <a:gd name="connsiteY1" fmla="*/ 0 h 510883"/>
                <a:gd name="connsiteX2" fmla="*/ 111593 w 227095"/>
                <a:gd name="connsiteY2" fmla="*/ 2607 h 510883"/>
                <a:gd name="connsiteX3" fmla="*/ 115503 w 227095"/>
                <a:gd name="connsiteY3" fmla="*/ 326 h 510883"/>
                <a:gd name="connsiteX4" fmla="*/ 121367 w 227095"/>
                <a:gd name="connsiteY4" fmla="*/ 326 h 510883"/>
                <a:gd name="connsiteX5" fmla="*/ 124625 w 227095"/>
                <a:gd name="connsiteY5" fmla="*/ 7331 h 510883"/>
                <a:gd name="connsiteX6" fmla="*/ 129676 w 227095"/>
                <a:gd name="connsiteY6" fmla="*/ 11078 h 510883"/>
                <a:gd name="connsiteX7" fmla="*/ 131142 w 227095"/>
                <a:gd name="connsiteY7" fmla="*/ 19060 h 510883"/>
                <a:gd name="connsiteX8" fmla="*/ 135541 w 227095"/>
                <a:gd name="connsiteY8" fmla="*/ 19060 h 510883"/>
                <a:gd name="connsiteX9" fmla="*/ 140102 w 227095"/>
                <a:gd name="connsiteY9" fmla="*/ 24110 h 510883"/>
                <a:gd name="connsiteX10" fmla="*/ 140102 w 227095"/>
                <a:gd name="connsiteY10" fmla="*/ 31930 h 510883"/>
                <a:gd name="connsiteX11" fmla="*/ 144337 w 227095"/>
                <a:gd name="connsiteY11" fmla="*/ 40564 h 510883"/>
                <a:gd name="connsiteX12" fmla="*/ 144826 w 227095"/>
                <a:gd name="connsiteY12" fmla="*/ 48384 h 510883"/>
                <a:gd name="connsiteX13" fmla="*/ 143360 w 227095"/>
                <a:gd name="connsiteY13" fmla="*/ 59299 h 510883"/>
                <a:gd name="connsiteX14" fmla="*/ 143360 w 227095"/>
                <a:gd name="connsiteY14" fmla="*/ 64512 h 510883"/>
                <a:gd name="connsiteX15" fmla="*/ 142219 w 227095"/>
                <a:gd name="connsiteY15" fmla="*/ 67607 h 510883"/>
                <a:gd name="connsiteX16" fmla="*/ 137495 w 227095"/>
                <a:gd name="connsiteY16" fmla="*/ 69888 h 510883"/>
                <a:gd name="connsiteX17" fmla="*/ 137007 w 227095"/>
                <a:gd name="connsiteY17" fmla="*/ 74612 h 510883"/>
                <a:gd name="connsiteX18" fmla="*/ 134563 w 227095"/>
                <a:gd name="connsiteY18" fmla="*/ 75264 h 510883"/>
                <a:gd name="connsiteX19" fmla="*/ 133260 w 227095"/>
                <a:gd name="connsiteY19" fmla="*/ 78848 h 510883"/>
                <a:gd name="connsiteX20" fmla="*/ 135541 w 227095"/>
                <a:gd name="connsiteY20" fmla="*/ 83898 h 510883"/>
                <a:gd name="connsiteX21" fmla="*/ 133585 w 227095"/>
                <a:gd name="connsiteY21" fmla="*/ 86831 h 510883"/>
                <a:gd name="connsiteX22" fmla="*/ 130327 w 227095"/>
                <a:gd name="connsiteY22" fmla="*/ 85527 h 510883"/>
                <a:gd name="connsiteX23" fmla="*/ 126743 w 227095"/>
                <a:gd name="connsiteY23" fmla="*/ 89274 h 510883"/>
                <a:gd name="connsiteX24" fmla="*/ 124788 w 227095"/>
                <a:gd name="connsiteY24" fmla="*/ 93673 h 510883"/>
                <a:gd name="connsiteX25" fmla="*/ 127069 w 227095"/>
                <a:gd name="connsiteY25" fmla="*/ 96931 h 510883"/>
                <a:gd name="connsiteX26" fmla="*/ 124625 w 227095"/>
                <a:gd name="connsiteY26" fmla="*/ 100841 h 510883"/>
                <a:gd name="connsiteX27" fmla="*/ 124625 w 227095"/>
                <a:gd name="connsiteY27" fmla="*/ 105076 h 510883"/>
                <a:gd name="connsiteX28" fmla="*/ 129024 w 227095"/>
                <a:gd name="connsiteY28" fmla="*/ 106868 h 510883"/>
                <a:gd name="connsiteX29" fmla="*/ 130816 w 227095"/>
                <a:gd name="connsiteY29" fmla="*/ 110126 h 510883"/>
                <a:gd name="connsiteX30" fmla="*/ 134400 w 227095"/>
                <a:gd name="connsiteY30" fmla="*/ 113385 h 510883"/>
                <a:gd name="connsiteX31" fmla="*/ 133748 w 227095"/>
                <a:gd name="connsiteY31" fmla="*/ 119412 h 510883"/>
                <a:gd name="connsiteX32" fmla="*/ 136192 w 227095"/>
                <a:gd name="connsiteY32" fmla="*/ 125277 h 510883"/>
                <a:gd name="connsiteX33" fmla="*/ 142219 w 227095"/>
                <a:gd name="connsiteY33" fmla="*/ 120879 h 510883"/>
                <a:gd name="connsiteX34" fmla="*/ 153786 w 227095"/>
                <a:gd name="connsiteY34" fmla="*/ 118435 h 510883"/>
                <a:gd name="connsiteX35" fmla="*/ 154926 w 227095"/>
                <a:gd name="connsiteY35" fmla="*/ 122508 h 510883"/>
                <a:gd name="connsiteX36" fmla="*/ 153298 w 227095"/>
                <a:gd name="connsiteY36" fmla="*/ 125603 h 510883"/>
                <a:gd name="connsiteX37" fmla="*/ 156393 w 227095"/>
                <a:gd name="connsiteY37" fmla="*/ 128209 h 510883"/>
                <a:gd name="connsiteX38" fmla="*/ 163072 w 227095"/>
                <a:gd name="connsiteY38" fmla="*/ 126580 h 510883"/>
                <a:gd name="connsiteX39" fmla="*/ 164375 w 227095"/>
                <a:gd name="connsiteY39" fmla="*/ 130979 h 510883"/>
                <a:gd name="connsiteX40" fmla="*/ 162746 w 227095"/>
                <a:gd name="connsiteY40" fmla="*/ 135377 h 510883"/>
                <a:gd name="connsiteX41" fmla="*/ 165678 w 227095"/>
                <a:gd name="connsiteY41" fmla="*/ 139450 h 510883"/>
                <a:gd name="connsiteX42" fmla="*/ 172358 w 227095"/>
                <a:gd name="connsiteY42" fmla="*/ 140916 h 510883"/>
                <a:gd name="connsiteX43" fmla="*/ 171055 w 227095"/>
                <a:gd name="connsiteY43" fmla="*/ 143360 h 510883"/>
                <a:gd name="connsiteX44" fmla="*/ 173009 w 227095"/>
                <a:gd name="connsiteY44" fmla="*/ 146618 h 510883"/>
                <a:gd name="connsiteX45" fmla="*/ 173987 w 227095"/>
                <a:gd name="connsiteY45" fmla="*/ 144663 h 510883"/>
                <a:gd name="connsiteX46" fmla="*/ 181155 w 227095"/>
                <a:gd name="connsiteY46" fmla="*/ 143686 h 510883"/>
                <a:gd name="connsiteX47" fmla="*/ 186368 w 227095"/>
                <a:gd name="connsiteY47" fmla="*/ 146944 h 510883"/>
                <a:gd name="connsiteX48" fmla="*/ 186368 w 227095"/>
                <a:gd name="connsiteY48" fmla="*/ 150854 h 510883"/>
                <a:gd name="connsiteX49" fmla="*/ 184087 w 227095"/>
                <a:gd name="connsiteY49" fmla="*/ 155252 h 510883"/>
                <a:gd name="connsiteX50" fmla="*/ 184087 w 227095"/>
                <a:gd name="connsiteY50" fmla="*/ 158999 h 510883"/>
                <a:gd name="connsiteX51" fmla="*/ 178385 w 227095"/>
                <a:gd name="connsiteY51" fmla="*/ 167308 h 510883"/>
                <a:gd name="connsiteX52" fmla="*/ 173661 w 227095"/>
                <a:gd name="connsiteY52" fmla="*/ 172032 h 510883"/>
                <a:gd name="connsiteX53" fmla="*/ 174639 w 227095"/>
                <a:gd name="connsiteY53" fmla="*/ 175453 h 510883"/>
                <a:gd name="connsiteX54" fmla="*/ 178548 w 227095"/>
                <a:gd name="connsiteY54" fmla="*/ 173661 h 510883"/>
                <a:gd name="connsiteX55" fmla="*/ 186694 w 227095"/>
                <a:gd name="connsiteY55" fmla="*/ 174639 h 510883"/>
                <a:gd name="connsiteX56" fmla="*/ 187997 w 227095"/>
                <a:gd name="connsiteY56" fmla="*/ 176105 h 510883"/>
                <a:gd name="connsiteX57" fmla="*/ 191907 w 227095"/>
                <a:gd name="connsiteY57" fmla="*/ 172521 h 510883"/>
                <a:gd name="connsiteX58" fmla="*/ 195328 w 227095"/>
                <a:gd name="connsiteY58" fmla="*/ 177082 h 510883"/>
                <a:gd name="connsiteX59" fmla="*/ 193862 w 227095"/>
                <a:gd name="connsiteY59" fmla="*/ 183924 h 510883"/>
                <a:gd name="connsiteX60" fmla="*/ 195491 w 227095"/>
                <a:gd name="connsiteY60" fmla="*/ 188649 h 510883"/>
                <a:gd name="connsiteX61" fmla="*/ 201355 w 227095"/>
                <a:gd name="connsiteY61" fmla="*/ 191581 h 510883"/>
                <a:gd name="connsiteX62" fmla="*/ 204777 w 227095"/>
                <a:gd name="connsiteY62" fmla="*/ 188323 h 510883"/>
                <a:gd name="connsiteX63" fmla="*/ 210478 w 227095"/>
                <a:gd name="connsiteY63" fmla="*/ 188323 h 510883"/>
                <a:gd name="connsiteX64" fmla="*/ 222045 w 227095"/>
                <a:gd name="connsiteY64" fmla="*/ 183273 h 510883"/>
                <a:gd name="connsiteX65" fmla="*/ 227095 w 227095"/>
                <a:gd name="connsiteY65" fmla="*/ 184902 h 510883"/>
                <a:gd name="connsiteX66" fmla="*/ 226607 w 227095"/>
                <a:gd name="connsiteY66" fmla="*/ 189789 h 510883"/>
                <a:gd name="connsiteX67" fmla="*/ 219439 w 227095"/>
                <a:gd name="connsiteY67" fmla="*/ 195980 h 510883"/>
                <a:gd name="connsiteX68" fmla="*/ 212271 w 227095"/>
                <a:gd name="connsiteY68" fmla="*/ 197446 h 510883"/>
                <a:gd name="connsiteX69" fmla="*/ 212271 w 227095"/>
                <a:gd name="connsiteY69" fmla="*/ 202170 h 510883"/>
                <a:gd name="connsiteX70" fmla="*/ 209175 w 227095"/>
                <a:gd name="connsiteY70" fmla="*/ 206243 h 510883"/>
                <a:gd name="connsiteX71" fmla="*/ 211619 w 227095"/>
                <a:gd name="connsiteY71" fmla="*/ 209501 h 510883"/>
                <a:gd name="connsiteX72" fmla="*/ 206406 w 227095"/>
                <a:gd name="connsiteY72" fmla="*/ 213737 h 510883"/>
                <a:gd name="connsiteX73" fmla="*/ 203636 w 227095"/>
                <a:gd name="connsiteY73" fmla="*/ 213737 h 510883"/>
                <a:gd name="connsiteX74" fmla="*/ 200541 w 227095"/>
                <a:gd name="connsiteY74" fmla="*/ 220742 h 510883"/>
                <a:gd name="connsiteX75" fmla="*/ 193047 w 227095"/>
                <a:gd name="connsiteY75" fmla="*/ 221068 h 510883"/>
                <a:gd name="connsiteX76" fmla="*/ 187346 w 227095"/>
                <a:gd name="connsiteY76" fmla="*/ 223023 h 510883"/>
                <a:gd name="connsiteX77" fmla="*/ 187346 w 227095"/>
                <a:gd name="connsiteY77" fmla="*/ 225955 h 510883"/>
                <a:gd name="connsiteX78" fmla="*/ 189952 w 227095"/>
                <a:gd name="connsiteY78" fmla="*/ 229702 h 510883"/>
                <a:gd name="connsiteX79" fmla="*/ 187997 w 227095"/>
                <a:gd name="connsiteY79" fmla="*/ 232471 h 510883"/>
                <a:gd name="connsiteX80" fmla="*/ 181481 w 227095"/>
                <a:gd name="connsiteY80" fmla="*/ 231494 h 510883"/>
                <a:gd name="connsiteX81" fmla="*/ 178223 w 227095"/>
                <a:gd name="connsiteY81" fmla="*/ 234426 h 510883"/>
                <a:gd name="connsiteX82" fmla="*/ 178223 w 227095"/>
                <a:gd name="connsiteY82" fmla="*/ 240780 h 510883"/>
                <a:gd name="connsiteX83" fmla="*/ 176430 w 227095"/>
                <a:gd name="connsiteY83" fmla="*/ 243386 h 510883"/>
                <a:gd name="connsiteX84" fmla="*/ 170728 w 227095"/>
                <a:gd name="connsiteY84" fmla="*/ 243386 h 510883"/>
                <a:gd name="connsiteX85" fmla="*/ 164864 w 227095"/>
                <a:gd name="connsiteY85" fmla="*/ 248111 h 510883"/>
                <a:gd name="connsiteX86" fmla="*/ 155252 w 227095"/>
                <a:gd name="connsiteY86" fmla="*/ 244201 h 510883"/>
                <a:gd name="connsiteX87" fmla="*/ 151180 w 227095"/>
                <a:gd name="connsiteY87" fmla="*/ 249740 h 510883"/>
                <a:gd name="connsiteX88" fmla="*/ 152483 w 227095"/>
                <a:gd name="connsiteY88" fmla="*/ 258537 h 510883"/>
                <a:gd name="connsiteX89" fmla="*/ 148736 w 227095"/>
                <a:gd name="connsiteY89" fmla="*/ 261958 h 510883"/>
                <a:gd name="connsiteX90" fmla="*/ 148736 w 227095"/>
                <a:gd name="connsiteY90" fmla="*/ 269452 h 510883"/>
                <a:gd name="connsiteX91" fmla="*/ 150528 w 227095"/>
                <a:gd name="connsiteY91" fmla="*/ 273687 h 510883"/>
                <a:gd name="connsiteX92" fmla="*/ 145803 w 227095"/>
                <a:gd name="connsiteY92" fmla="*/ 277108 h 510883"/>
                <a:gd name="connsiteX93" fmla="*/ 139124 w 227095"/>
                <a:gd name="connsiteY93" fmla="*/ 279878 h 510883"/>
                <a:gd name="connsiteX94" fmla="*/ 139613 w 227095"/>
                <a:gd name="connsiteY94" fmla="*/ 283951 h 510883"/>
                <a:gd name="connsiteX95" fmla="*/ 143523 w 227095"/>
                <a:gd name="connsiteY95" fmla="*/ 285091 h 510883"/>
                <a:gd name="connsiteX96" fmla="*/ 147759 w 227095"/>
                <a:gd name="connsiteY96" fmla="*/ 292422 h 510883"/>
                <a:gd name="connsiteX97" fmla="*/ 151505 w 227095"/>
                <a:gd name="connsiteY97" fmla="*/ 295843 h 510883"/>
                <a:gd name="connsiteX98" fmla="*/ 152971 w 227095"/>
                <a:gd name="connsiteY98" fmla="*/ 299753 h 510883"/>
                <a:gd name="connsiteX99" fmla="*/ 159651 w 227095"/>
                <a:gd name="connsiteY99" fmla="*/ 304314 h 510883"/>
                <a:gd name="connsiteX100" fmla="*/ 165678 w 227095"/>
                <a:gd name="connsiteY100" fmla="*/ 317510 h 510883"/>
                <a:gd name="connsiteX101" fmla="*/ 169751 w 227095"/>
                <a:gd name="connsiteY101" fmla="*/ 318976 h 510883"/>
                <a:gd name="connsiteX102" fmla="*/ 172684 w 227095"/>
                <a:gd name="connsiteY102" fmla="*/ 325655 h 510883"/>
                <a:gd name="connsiteX103" fmla="*/ 173661 w 227095"/>
                <a:gd name="connsiteY103" fmla="*/ 331194 h 510883"/>
                <a:gd name="connsiteX104" fmla="*/ 179037 w 227095"/>
                <a:gd name="connsiteY104" fmla="*/ 333801 h 510883"/>
                <a:gd name="connsiteX105" fmla="*/ 179526 w 227095"/>
                <a:gd name="connsiteY105" fmla="*/ 339014 h 510883"/>
                <a:gd name="connsiteX106" fmla="*/ 174801 w 227095"/>
                <a:gd name="connsiteY106" fmla="*/ 341621 h 510883"/>
                <a:gd name="connsiteX107" fmla="*/ 172846 w 227095"/>
                <a:gd name="connsiteY107" fmla="*/ 345367 h 510883"/>
                <a:gd name="connsiteX108" fmla="*/ 175779 w 227095"/>
                <a:gd name="connsiteY108" fmla="*/ 358400 h 510883"/>
                <a:gd name="connsiteX109" fmla="*/ 175127 w 227095"/>
                <a:gd name="connsiteY109" fmla="*/ 362310 h 510883"/>
                <a:gd name="connsiteX110" fmla="*/ 169751 w 227095"/>
                <a:gd name="connsiteY110" fmla="*/ 365405 h 510883"/>
                <a:gd name="connsiteX111" fmla="*/ 173498 w 227095"/>
                <a:gd name="connsiteY111" fmla="*/ 374202 h 510883"/>
                <a:gd name="connsiteX112" fmla="*/ 173498 w 227095"/>
                <a:gd name="connsiteY112" fmla="*/ 378764 h 510883"/>
                <a:gd name="connsiteX113" fmla="*/ 180341 w 227095"/>
                <a:gd name="connsiteY113" fmla="*/ 387072 h 510883"/>
                <a:gd name="connsiteX114" fmla="*/ 188160 w 227095"/>
                <a:gd name="connsiteY114" fmla="*/ 393100 h 510883"/>
                <a:gd name="connsiteX115" fmla="*/ 195165 w 227095"/>
                <a:gd name="connsiteY115" fmla="*/ 399942 h 510883"/>
                <a:gd name="connsiteX116" fmla="*/ 198423 w 227095"/>
                <a:gd name="connsiteY116" fmla="*/ 410857 h 510883"/>
                <a:gd name="connsiteX117" fmla="*/ 196631 w 227095"/>
                <a:gd name="connsiteY117" fmla="*/ 415092 h 510883"/>
                <a:gd name="connsiteX118" fmla="*/ 197771 w 227095"/>
                <a:gd name="connsiteY118" fmla="*/ 420143 h 510883"/>
                <a:gd name="connsiteX119" fmla="*/ 197283 w 227095"/>
                <a:gd name="connsiteY119" fmla="*/ 425682 h 510883"/>
                <a:gd name="connsiteX120" fmla="*/ 200215 w 227095"/>
                <a:gd name="connsiteY120" fmla="*/ 428777 h 510883"/>
                <a:gd name="connsiteX121" fmla="*/ 201355 w 227095"/>
                <a:gd name="connsiteY121" fmla="*/ 436271 h 510883"/>
                <a:gd name="connsiteX122" fmla="*/ 203636 w 227095"/>
                <a:gd name="connsiteY122" fmla="*/ 440832 h 510883"/>
                <a:gd name="connsiteX123" fmla="*/ 203310 w 227095"/>
                <a:gd name="connsiteY123" fmla="*/ 448163 h 510883"/>
                <a:gd name="connsiteX124" fmla="*/ 206569 w 227095"/>
                <a:gd name="connsiteY124" fmla="*/ 453865 h 510883"/>
                <a:gd name="connsiteX125" fmla="*/ 206243 w 227095"/>
                <a:gd name="connsiteY125" fmla="*/ 462336 h 510883"/>
                <a:gd name="connsiteX126" fmla="*/ 203310 w 227095"/>
                <a:gd name="connsiteY126" fmla="*/ 464128 h 510883"/>
                <a:gd name="connsiteX127" fmla="*/ 197283 w 227095"/>
                <a:gd name="connsiteY127" fmla="*/ 480419 h 510883"/>
                <a:gd name="connsiteX128" fmla="*/ 191744 w 227095"/>
                <a:gd name="connsiteY128" fmla="*/ 484492 h 510883"/>
                <a:gd name="connsiteX129" fmla="*/ 191092 w 227095"/>
                <a:gd name="connsiteY129" fmla="*/ 491008 h 510883"/>
                <a:gd name="connsiteX130" fmla="*/ 188649 w 227095"/>
                <a:gd name="connsiteY130" fmla="*/ 495081 h 510883"/>
                <a:gd name="connsiteX131" fmla="*/ 187346 w 227095"/>
                <a:gd name="connsiteY131" fmla="*/ 498991 h 510883"/>
                <a:gd name="connsiteX132" fmla="*/ 187346 w 227095"/>
                <a:gd name="connsiteY132" fmla="*/ 498176 h 510883"/>
                <a:gd name="connsiteX133" fmla="*/ 185065 w 227095"/>
                <a:gd name="connsiteY133" fmla="*/ 503389 h 510883"/>
                <a:gd name="connsiteX134" fmla="*/ 184413 w 227095"/>
                <a:gd name="connsiteY134" fmla="*/ 510883 h 510883"/>
                <a:gd name="connsiteX135" fmla="*/ 181969 w 227095"/>
                <a:gd name="connsiteY135" fmla="*/ 502900 h 510883"/>
                <a:gd name="connsiteX136" fmla="*/ 181969 w 227095"/>
                <a:gd name="connsiteY136" fmla="*/ 495570 h 510883"/>
                <a:gd name="connsiteX137" fmla="*/ 180014 w 227095"/>
                <a:gd name="connsiteY137" fmla="*/ 492474 h 510883"/>
                <a:gd name="connsiteX138" fmla="*/ 180014 w 227095"/>
                <a:gd name="connsiteY138" fmla="*/ 490031 h 510883"/>
                <a:gd name="connsiteX139" fmla="*/ 181807 w 227095"/>
                <a:gd name="connsiteY139" fmla="*/ 490845 h 510883"/>
                <a:gd name="connsiteX140" fmla="*/ 183762 w 227095"/>
                <a:gd name="connsiteY140" fmla="*/ 489216 h 510883"/>
                <a:gd name="connsiteX141" fmla="*/ 186857 w 227095"/>
                <a:gd name="connsiteY141" fmla="*/ 484166 h 510883"/>
                <a:gd name="connsiteX142" fmla="*/ 186857 w 227095"/>
                <a:gd name="connsiteY142" fmla="*/ 480093 h 510883"/>
                <a:gd name="connsiteX143" fmla="*/ 185391 w 227095"/>
                <a:gd name="connsiteY143" fmla="*/ 478627 h 510883"/>
                <a:gd name="connsiteX144" fmla="*/ 186205 w 227095"/>
                <a:gd name="connsiteY144" fmla="*/ 471948 h 510883"/>
                <a:gd name="connsiteX145" fmla="*/ 187834 w 227095"/>
                <a:gd name="connsiteY145" fmla="*/ 471133 h 510883"/>
                <a:gd name="connsiteX146" fmla="*/ 189137 w 227095"/>
                <a:gd name="connsiteY146" fmla="*/ 468038 h 510883"/>
                <a:gd name="connsiteX147" fmla="*/ 186857 w 227095"/>
                <a:gd name="connsiteY147" fmla="*/ 461033 h 510883"/>
                <a:gd name="connsiteX148" fmla="*/ 190278 w 227095"/>
                <a:gd name="connsiteY148" fmla="*/ 458264 h 510883"/>
                <a:gd name="connsiteX149" fmla="*/ 186531 w 227095"/>
                <a:gd name="connsiteY149" fmla="*/ 454191 h 510883"/>
                <a:gd name="connsiteX150" fmla="*/ 184087 w 227095"/>
                <a:gd name="connsiteY150" fmla="*/ 450444 h 510883"/>
                <a:gd name="connsiteX151" fmla="*/ 184087 w 227095"/>
                <a:gd name="connsiteY151" fmla="*/ 443927 h 510883"/>
                <a:gd name="connsiteX152" fmla="*/ 185553 w 227095"/>
                <a:gd name="connsiteY152" fmla="*/ 441321 h 510883"/>
                <a:gd name="connsiteX153" fmla="*/ 184087 w 227095"/>
                <a:gd name="connsiteY153" fmla="*/ 436759 h 510883"/>
                <a:gd name="connsiteX154" fmla="*/ 181481 w 227095"/>
                <a:gd name="connsiteY154" fmla="*/ 434805 h 510883"/>
                <a:gd name="connsiteX155" fmla="*/ 179689 w 227095"/>
                <a:gd name="connsiteY155" fmla="*/ 419165 h 510883"/>
                <a:gd name="connsiteX156" fmla="*/ 176268 w 227095"/>
                <a:gd name="connsiteY156" fmla="*/ 416070 h 510883"/>
                <a:gd name="connsiteX157" fmla="*/ 175127 w 227095"/>
                <a:gd name="connsiteY157" fmla="*/ 410694 h 510883"/>
                <a:gd name="connsiteX158" fmla="*/ 171380 w 227095"/>
                <a:gd name="connsiteY158" fmla="*/ 404503 h 510883"/>
                <a:gd name="connsiteX159" fmla="*/ 170403 w 227095"/>
                <a:gd name="connsiteY159" fmla="*/ 412649 h 510883"/>
                <a:gd name="connsiteX160" fmla="*/ 168774 w 227095"/>
                <a:gd name="connsiteY160" fmla="*/ 413789 h 510883"/>
                <a:gd name="connsiteX161" fmla="*/ 168774 w 227095"/>
                <a:gd name="connsiteY161" fmla="*/ 409391 h 510883"/>
                <a:gd name="connsiteX162" fmla="*/ 166656 w 227095"/>
                <a:gd name="connsiteY162" fmla="*/ 404829 h 510883"/>
                <a:gd name="connsiteX163" fmla="*/ 166982 w 227095"/>
                <a:gd name="connsiteY163" fmla="*/ 393589 h 510883"/>
                <a:gd name="connsiteX164" fmla="*/ 163235 w 227095"/>
                <a:gd name="connsiteY164" fmla="*/ 389190 h 510883"/>
                <a:gd name="connsiteX165" fmla="*/ 162909 w 227095"/>
                <a:gd name="connsiteY165" fmla="*/ 383977 h 510883"/>
                <a:gd name="connsiteX166" fmla="*/ 164864 w 227095"/>
                <a:gd name="connsiteY166" fmla="*/ 382022 h 510883"/>
                <a:gd name="connsiteX167" fmla="*/ 158510 w 227095"/>
                <a:gd name="connsiteY167" fmla="*/ 378275 h 510883"/>
                <a:gd name="connsiteX168" fmla="*/ 158510 w 227095"/>
                <a:gd name="connsiteY168" fmla="*/ 369315 h 510883"/>
                <a:gd name="connsiteX169" fmla="*/ 156555 w 227095"/>
                <a:gd name="connsiteY169" fmla="*/ 369152 h 510883"/>
                <a:gd name="connsiteX170" fmla="*/ 154438 w 227095"/>
                <a:gd name="connsiteY170" fmla="*/ 350255 h 510883"/>
                <a:gd name="connsiteX171" fmla="*/ 151342 w 227095"/>
                <a:gd name="connsiteY171" fmla="*/ 348137 h 510883"/>
                <a:gd name="connsiteX172" fmla="*/ 150365 w 227095"/>
                <a:gd name="connsiteY172" fmla="*/ 343250 h 510883"/>
                <a:gd name="connsiteX173" fmla="*/ 152320 w 227095"/>
                <a:gd name="connsiteY173" fmla="*/ 342435 h 510883"/>
                <a:gd name="connsiteX174" fmla="*/ 152320 w 227095"/>
                <a:gd name="connsiteY174" fmla="*/ 339340 h 510883"/>
                <a:gd name="connsiteX175" fmla="*/ 149225 w 227095"/>
                <a:gd name="connsiteY175" fmla="*/ 333312 h 510883"/>
                <a:gd name="connsiteX176" fmla="*/ 150528 w 227095"/>
                <a:gd name="connsiteY176" fmla="*/ 331032 h 510883"/>
                <a:gd name="connsiteX177" fmla="*/ 150528 w 227095"/>
                <a:gd name="connsiteY177" fmla="*/ 328099 h 510883"/>
                <a:gd name="connsiteX178" fmla="*/ 148899 w 227095"/>
                <a:gd name="connsiteY178" fmla="*/ 331194 h 510883"/>
                <a:gd name="connsiteX179" fmla="*/ 145478 w 227095"/>
                <a:gd name="connsiteY179" fmla="*/ 332498 h 510883"/>
                <a:gd name="connsiteX180" fmla="*/ 141079 w 227095"/>
                <a:gd name="connsiteY180" fmla="*/ 332498 h 510883"/>
                <a:gd name="connsiteX181" fmla="*/ 139776 w 227095"/>
                <a:gd name="connsiteY181" fmla="*/ 326307 h 510883"/>
                <a:gd name="connsiteX182" fmla="*/ 137658 w 227095"/>
                <a:gd name="connsiteY182" fmla="*/ 323538 h 510883"/>
                <a:gd name="connsiteX183" fmla="*/ 132608 w 227095"/>
                <a:gd name="connsiteY183" fmla="*/ 313600 h 510883"/>
                <a:gd name="connsiteX184" fmla="*/ 131630 w 227095"/>
                <a:gd name="connsiteY184" fmla="*/ 310831 h 510883"/>
                <a:gd name="connsiteX185" fmla="*/ 129187 w 227095"/>
                <a:gd name="connsiteY185" fmla="*/ 310831 h 510883"/>
                <a:gd name="connsiteX186" fmla="*/ 129187 w 227095"/>
                <a:gd name="connsiteY186" fmla="*/ 307735 h 510883"/>
                <a:gd name="connsiteX187" fmla="*/ 124462 w 227095"/>
                <a:gd name="connsiteY187" fmla="*/ 304966 h 510883"/>
                <a:gd name="connsiteX188" fmla="*/ 127395 w 227095"/>
                <a:gd name="connsiteY188" fmla="*/ 308224 h 510883"/>
                <a:gd name="connsiteX189" fmla="*/ 126417 w 227095"/>
                <a:gd name="connsiteY189" fmla="*/ 310016 h 510883"/>
                <a:gd name="connsiteX190" fmla="*/ 126092 w 227095"/>
                <a:gd name="connsiteY190" fmla="*/ 312949 h 510883"/>
                <a:gd name="connsiteX191" fmla="*/ 129024 w 227095"/>
                <a:gd name="connsiteY191" fmla="*/ 315066 h 510883"/>
                <a:gd name="connsiteX192" fmla="*/ 128372 w 227095"/>
                <a:gd name="connsiteY192" fmla="*/ 320279 h 510883"/>
                <a:gd name="connsiteX193" fmla="*/ 126092 w 227095"/>
                <a:gd name="connsiteY193" fmla="*/ 322723 h 510883"/>
                <a:gd name="connsiteX194" fmla="*/ 127069 w 227095"/>
                <a:gd name="connsiteY194" fmla="*/ 325818 h 510883"/>
                <a:gd name="connsiteX195" fmla="*/ 120553 w 227095"/>
                <a:gd name="connsiteY195" fmla="*/ 331194 h 510883"/>
                <a:gd name="connsiteX196" fmla="*/ 116317 w 227095"/>
                <a:gd name="connsiteY196" fmla="*/ 330380 h 510883"/>
                <a:gd name="connsiteX197" fmla="*/ 113385 w 227095"/>
                <a:gd name="connsiteY197" fmla="*/ 326633 h 510883"/>
                <a:gd name="connsiteX198" fmla="*/ 111593 w 227095"/>
                <a:gd name="connsiteY198" fmla="*/ 326633 h 510883"/>
                <a:gd name="connsiteX199" fmla="*/ 113548 w 227095"/>
                <a:gd name="connsiteY199" fmla="*/ 330706 h 510883"/>
                <a:gd name="connsiteX200" fmla="*/ 113222 w 227095"/>
                <a:gd name="connsiteY200" fmla="*/ 332498 h 510883"/>
                <a:gd name="connsiteX201" fmla="*/ 117294 w 227095"/>
                <a:gd name="connsiteY201" fmla="*/ 333638 h 510883"/>
                <a:gd name="connsiteX202" fmla="*/ 111755 w 227095"/>
                <a:gd name="connsiteY202" fmla="*/ 336896 h 510883"/>
                <a:gd name="connsiteX203" fmla="*/ 108009 w 227095"/>
                <a:gd name="connsiteY203" fmla="*/ 336896 h 510883"/>
                <a:gd name="connsiteX204" fmla="*/ 105565 w 227095"/>
                <a:gd name="connsiteY204" fmla="*/ 335104 h 510883"/>
                <a:gd name="connsiteX205" fmla="*/ 104262 w 227095"/>
                <a:gd name="connsiteY205" fmla="*/ 339503 h 510883"/>
                <a:gd name="connsiteX206" fmla="*/ 93998 w 227095"/>
                <a:gd name="connsiteY206" fmla="*/ 346508 h 510883"/>
                <a:gd name="connsiteX207" fmla="*/ 88948 w 227095"/>
                <a:gd name="connsiteY207" fmla="*/ 345856 h 510883"/>
                <a:gd name="connsiteX208" fmla="*/ 88134 w 227095"/>
                <a:gd name="connsiteY208" fmla="*/ 346997 h 510883"/>
                <a:gd name="connsiteX209" fmla="*/ 85364 w 227095"/>
                <a:gd name="connsiteY209" fmla="*/ 346997 h 510883"/>
                <a:gd name="connsiteX210" fmla="*/ 85364 w 227095"/>
                <a:gd name="connsiteY210" fmla="*/ 345693 h 510883"/>
                <a:gd name="connsiteX211" fmla="*/ 84550 w 227095"/>
                <a:gd name="connsiteY211" fmla="*/ 348137 h 510883"/>
                <a:gd name="connsiteX212" fmla="*/ 82106 w 227095"/>
                <a:gd name="connsiteY212" fmla="*/ 348789 h 510883"/>
                <a:gd name="connsiteX213" fmla="*/ 79174 w 227095"/>
                <a:gd name="connsiteY213" fmla="*/ 345042 h 510883"/>
                <a:gd name="connsiteX214" fmla="*/ 72169 w 227095"/>
                <a:gd name="connsiteY214" fmla="*/ 348789 h 510883"/>
                <a:gd name="connsiteX215" fmla="*/ 71354 w 227095"/>
                <a:gd name="connsiteY215" fmla="*/ 352210 h 510883"/>
                <a:gd name="connsiteX216" fmla="*/ 68422 w 227095"/>
                <a:gd name="connsiteY216" fmla="*/ 352210 h 510883"/>
                <a:gd name="connsiteX217" fmla="*/ 68422 w 227095"/>
                <a:gd name="connsiteY217" fmla="*/ 345367 h 510883"/>
                <a:gd name="connsiteX218" fmla="*/ 75264 w 227095"/>
                <a:gd name="connsiteY218" fmla="*/ 339014 h 510883"/>
                <a:gd name="connsiteX219" fmla="*/ 75590 w 227095"/>
                <a:gd name="connsiteY219" fmla="*/ 330706 h 510883"/>
                <a:gd name="connsiteX220" fmla="*/ 72494 w 227095"/>
                <a:gd name="connsiteY220" fmla="*/ 338199 h 510883"/>
                <a:gd name="connsiteX221" fmla="*/ 67118 w 227095"/>
                <a:gd name="connsiteY221" fmla="*/ 342924 h 510883"/>
                <a:gd name="connsiteX222" fmla="*/ 63209 w 227095"/>
                <a:gd name="connsiteY222" fmla="*/ 349114 h 510883"/>
                <a:gd name="connsiteX223" fmla="*/ 62557 w 227095"/>
                <a:gd name="connsiteY223" fmla="*/ 346833 h 510883"/>
                <a:gd name="connsiteX224" fmla="*/ 63371 w 227095"/>
                <a:gd name="connsiteY224" fmla="*/ 344879 h 510883"/>
                <a:gd name="connsiteX225" fmla="*/ 61742 w 227095"/>
                <a:gd name="connsiteY225" fmla="*/ 339503 h 510883"/>
                <a:gd name="connsiteX226" fmla="*/ 65978 w 227095"/>
                <a:gd name="connsiteY226" fmla="*/ 314089 h 510883"/>
                <a:gd name="connsiteX227" fmla="*/ 71843 w 227095"/>
                <a:gd name="connsiteY227" fmla="*/ 310342 h 510883"/>
                <a:gd name="connsiteX228" fmla="*/ 69562 w 227095"/>
                <a:gd name="connsiteY228" fmla="*/ 308061 h 510883"/>
                <a:gd name="connsiteX229" fmla="*/ 65001 w 227095"/>
                <a:gd name="connsiteY229" fmla="*/ 296820 h 510883"/>
                <a:gd name="connsiteX230" fmla="*/ 64349 w 227095"/>
                <a:gd name="connsiteY230" fmla="*/ 286720 h 510883"/>
                <a:gd name="connsiteX231" fmla="*/ 61742 w 227095"/>
                <a:gd name="connsiteY231" fmla="*/ 285580 h 510883"/>
                <a:gd name="connsiteX232" fmla="*/ 60276 w 227095"/>
                <a:gd name="connsiteY232" fmla="*/ 282810 h 510883"/>
                <a:gd name="connsiteX233" fmla="*/ 61742 w 227095"/>
                <a:gd name="connsiteY233" fmla="*/ 281833 h 510883"/>
                <a:gd name="connsiteX234" fmla="*/ 58159 w 227095"/>
                <a:gd name="connsiteY234" fmla="*/ 278900 h 510883"/>
                <a:gd name="connsiteX235" fmla="*/ 56203 w 227095"/>
                <a:gd name="connsiteY235" fmla="*/ 271570 h 510883"/>
                <a:gd name="connsiteX236" fmla="*/ 53271 w 227095"/>
                <a:gd name="connsiteY236" fmla="*/ 267660 h 510883"/>
                <a:gd name="connsiteX237" fmla="*/ 51316 w 227095"/>
                <a:gd name="connsiteY237" fmla="*/ 263587 h 510883"/>
                <a:gd name="connsiteX238" fmla="*/ 51316 w 227095"/>
                <a:gd name="connsiteY238" fmla="*/ 259189 h 510883"/>
                <a:gd name="connsiteX239" fmla="*/ 45126 w 227095"/>
                <a:gd name="connsiteY239" fmla="*/ 255279 h 510883"/>
                <a:gd name="connsiteX240" fmla="*/ 47244 w 227095"/>
                <a:gd name="connsiteY240" fmla="*/ 259514 h 510883"/>
                <a:gd name="connsiteX241" fmla="*/ 48384 w 227095"/>
                <a:gd name="connsiteY241" fmla="*/ 268474 h 510883"/>
                <a:gd name="connsiteX242" fmla="*/ 38935 w 227095"/>
                <a:gd name="connsiteY242" fmla="*/ 265705 h 510883"/>
                <a:gd name="connsiteX243" fmla="*/ 34537 w 227095"/>
                <a:gd name="connsiteY243" fmla="*/ 260329 h 510883"/>
                <a:gd name="connsiteX244" fmla="*/ 34211 w 227095"/>
                <a:gd name="connsiteY244" fmla="*/ 257397 h 510883"/>
                <a:gd name="connsiteX245" fmla="*/ 29323 w 227095"/>
                <a:gd name="connsiteY245" fmla="*/ 253161 h 510883"/>
                <a:gd name="connsiteX246" fmla="*/ 28672 w 227095"/>
                <a:gd name="connsiteY246" fmla="*/ 250391 h 510883"/>
                <a:gd name="connsiteX247" fmla="*/ 33396 w 227095"/>
                <a:gd name="connsiteY247" fmla="*/ 250717 h 510883"/>
                <a:gd name="connsiteX248" fmla="*/ 35188 w 227095"/>
                <a:gd name="connsiteY248" fmla="*/ 254627 h 510883"/>
                <a:gd name="connsiteX249" fmla="*/ 39098 w 227095"/>
                <a:gd name="connsiteY249" fmla="*/ 256582 h 510883"/>
                <a:gd name="connsiteX250" fmla="*/ 40564 w 227095"/>
                <a:gd name="connsiteY250" fmla="*/ 254790 h 510883"/>
                <a:gd name="connsiteX251" fmla="*/ 39098 w 227095"/>
                <a:gd name="connsiteY251" fmla="*/ 253975 h 510883"/>
                <a:gd name="connsiteX252" fmla="*/ 35351 w 227095"/>
                <a:gd name="connsiteY252" fmla="*/ 250554 h 510883"/>
                <a:gd name="connsiteX253" fmla="*/ 39261 w 227095"/>
                <a:gd name="connsiteY253" fmla="*/ 248274 h 510883"/>
                <a:gd name="connsiteX254" fmla="*/ 42193 w 227095"/>
                <a:gd name="connsiteY254" fmla="*/ 251206 h 510883"/>
                <a:gd name="connsiteX255" fmla="*/ 45289 w 227095"/>
                <a:gd name="connsiteY255" fmla="*/ 250066 h 510883"/>
                <a:gd name="connsiteX256" fmla="*/ 45289 w 227095"/>
                <a:gd name="connsiteY256" fmla="*/ 245830 h 510883"/>
                <a:gd name="connsiteX257" fmla="*/ 40076 w 227095"/>
                <a:gd name="connsiteY257" fmla="*/ 238499 h 510883"/>
                <a:gd name="connsiteX258" fmla="*/ 32093 w 227095"/>
                <a:gd name="connsiteY258" fmla="*/ 237033 h 510883"/>
                <a:gd name="connsiteX259" fmla="*/ 29975 w 227095"/>
                <a:gd name="connsiteY259" fmla="*/ 233775 h 510883"/>
                <a:gd name="connsiteX260" fmla="*/ 25577 w 227095"/>
                <a:gd name="connsiteY260" fmla="*/ 232960 h 510883"/>
                <a:gd name="connsiteX261" fmla="*/ 24436 w 227095"/>
                <a:gd name="connsiteY261" fmla="*/ 229702 h 510883"/>
                <a:gd name="connsiteX262" fmla="*/ 23785 w 227095"/>
                <a:gd name="connsiteY262" fmla="*/ 232960 h 510883"/>
                <a:gd name="connsiteX263" fmla="*/ 19060 w 227095"/>
                <a:gd name="connsiteY263" fmla="*/ 233612 h 510883"/>
                <a:gd name="connsiteX264" fmla="*/ 18734 w 227095"/>
                <a:gd name="connsiteY264" fmla="*/ 231494 h 510883"/>
                <a:gd name="connsiteX265" fmla="*/ 22644 w 227095"/>
                <a:gd name="connsiteY265" fmla="*/ 227095 h 510883"/>
                <a:gd name="connsiteX266" fmla="*/ 17757 w 227095"/>
                <a:gd name="connsiteY266" fmla="*/ 227421 h 510883"/>
                <a:gd name="connsiteX267" fmla="*/ 13684 w 227095"/>
                <a:gd name="connsiteY267" fmla="*/ 224163 h 510883"/>
                <a:gd name="connsiteX268" fmla="*/ 13684 w 227095"/>
                <a:gd name="connsiteY268" fmla="*/ 226444 h 510883"/>
                <a:gd name="connsiteX269" fmla="*/ 16128 w 227095"/>
                <a:gd name="connsiteY269" fmla="*/ 230842 h 510883"/>
                <a:gd name="connsiteX270" fmla="*/ 4724 w 227095"/>
                <a:gd name="connsiteY270" fmla="*/ 220742 h 510883"/>
                <a:gd name="connsiteX271" fmla="*/ 2769 w 227095"/>
                <a:gd name="connsiteY271" fmla="*/ 214063 h 510883"/>
                <a:gd name="connsiteX272" fmla="*/ 326 w 227095"/>
                <a:gd name="connsiteY272" fmla="*/ 208687 h 510883"/>
                <a:gd name="connsiteX273" fmla="*/ 326 w 227095"/>
                <a:gd name="connsiteY273" fmla="*/ 208687 h 510883"/>
                <a:gd name="connsiteX274" fmla="*/ 0 w 227095"/>
                <a:gd name="connsiteY274" fmla="*/ 207058 h 510883"/>
                <a:gd name="connsiteX275" fmla="*/ 814 w 227095"/>
                <a:gd name="connsiteY275" fmla="*/ 202170 h 510883"/>
                <a:gd name="connsiteX276" fmla="*/ 5702 w 227095"/>
                <a:gd name="connsiteY276" fmla="*/ 196143 h 510883"/>
                <a:gd name="connsiteX277" fmla="*/ 7657 w 227095"/>
                <a:gd name="connsiteY277" fmla="*/ 197446 h 510883"/>
                <a:gd name="connsiteX278" fmla="*/ 10426 w 227095"/>
                <a:gd name="connsiteY278" fmla="*/ 191255 h 510883"/>
                <a:gd name="connsiteX279" fmla="*/ 10426 w 227095"/>
                <a:gd name="connsiteY279" fmla="*/ 182458 h 510883"/>
                <a:gd name="connsiteX280" fmla="*/ 11566 w 227095"/>
                <a:gd name="connsiteY280" fmla="*/ 177734 h 510883"/>
                <a:gd name="connsiteX281" fmla="*/ 14010 w 227095"/>
                <a:gd name="connsiteY281" fmla="*/ 178874 h 510883"/>
                <a:gd name="connsiteX282" fmla="*/ 16780 w 227095"/>
                <a:gd name="connsiteY282" fmla="*/ 177408 h 510883"/>
                <a:gd name="connsiteX283" fmla="*/ 19712 w 227095"/>
                <a:gd name="connsiteY283" fmla="*/ 168937 h 510883"/>
                <a:gd name="connsiteX284" fmla="*/ 18409 w 227095"/>
                <a:gd name="connsiteY284" fmla="*/ 163724 h 510883"/>
                <a:gd name="connsiteX285" fmla="*/ 19386 w 227095"/>
                <a:gd name="connsiteY285" fmla="*/ 157533 h 510883"/>
                <a:gd name="connsiteX286" fmla="*/ 18409 w 227095"/>
                <a:gd name="connsiteY286" fmla="*/ 150691 h 510883"/>
                <a:gd name="connsiteX287" fmla="*/ 23785 w 227095"/>
                <a:gd name="connsiteY287" fmla="*/ 151506 h 510883"/>
                <a:gd name="connsiteX288" fmla="*/ 24273 w 227095"/>
                <a:gd name="connsiteY288" fmla="*/ 142220 h 510883"/>
                <a:gd name="connsiteX289" fmla="*/ 24273 w 227095"/>
                <a:gd name="connsiteY289" fmla="*/ 135541 h 510883"/>
                <a:gd name="connsiteX290" fmla="*/ 21341 w 227095"/>
                <a:gd name="connsiteY290" fmla="*/ 122996 h 510883"/>
                <a:gd name="connsiteX291" fmla="*/ 26717 w 227095"/>
                <a:gd name="connsiteY291" fmla="*/ 123322 h 510883"/>
                <a:gd name="connsiteX292" fmla="*/ 31116 w 227095"/>
                <a:gd name="connsiteY292" fmla="*/ 124788 h 510883"/>
                <a:gd name="connsiteX293" fmla="*/ 37958 w 227095"/>
                <a:gd name="connsiteY293" fmla="*/ 124788 h 510883"/>
                <a:gd name="connsiteX294" fmla="*/ 42030 w 227095"/>
                <a:gd name="connsiteY294" fmla="*/ 115014 h 510883"/>
                <a:gd name="connsiteX295" fmla="*/ 44474 w 227095"/>
                <a:gd name="connsiteY295" fmla="*/ 104099 h 510883"/>
                <a:gd name="connsiteX296" fmla="*/ 50013 w 227095"/>
                <a:gd name="connsiteY296" fmla="*/ 90577 h 510883"/>
                <a:gd name="connsiteX297" fmla="*/ 43985 w 227095"/>
                <a:gd name="connsiteY297" fmla="*/ 87645 h 510883"/>
                <a:gd name="connsiteX298" fmla="*/ 43660 w 227095"/>
                <a:gd name="connsiteY298" fmla="*/ 83735 h 510883"/>
                <a:gd name="connsiteX299" fmla="*/ 50828 w 227095"/>
                <a:gd name="connsiteY299" fmla="*/ 72169 h 510883"/>
                <a:gd name="connsiteX300" fmla="*/ 54249 w 227095"/>
                <a:gd name="connsiteY300" fmla="*/ 62068 h 510883"/>
                <a:gd name="connsiteX301" fmla="*/ 51642 w 227095"/>
                <a:gd name="connsiteY301" fmla="*/ 58810 h 510883"/>
                <a:gd name="connsiteX302" fmla="*/ 52945 w 227095"/>
                <a:gd name="connsiteY302" fmla="*/ 52783 h 510883"/>
                <a:gd name="connsiteX303" fmla="*/ 61417 w 227095"/>
                <a:gd name="connsiteY303" fmla="*/ 39587 h 510883"/>
                <a:gd name="connsiteX304" fmla="*/ 67118 w 227095"/>
                <a:gd name="connsiteY304" fmla="*/ 37632 h 510883"/>
                <a:gd name="connsiteX305" fmla="*/ 73146 w 227095"/>
                <a:gd name="connsiteY305" fmla="*/ 30138 h 510883"/>
                <a:gd name="connsiteX306" fmla="*/ 75753 w 227095"/>
                <a:gd name="connsiteY306" fmla="*/ 24110 h 510883"/>
                <a:gd name="connsiteX307" fmla="*/ 84061 w 227095"/>
                <a:gd name="connsiteY307" fmla="*/ 21504 h 510883"/>
                <a:gd name="connsiteX308" fmla="*/ 91229 w 227095"/>
                <a:gd name="connsiteY308" fmla="*/ 16291 h 510883"/>
                <a:gd name="connsiteX309" fmla="*/ 95465 w 227095"/>
                <a:gd name="connsiteY309" fmla="*/ 19712 h 510883"/>
                <a:gd name="connsiteX310" fmla="*/ 100352 w 227095"/>
                <a:gd name="connsiteY310" fmla="*/ 21993 h 510883"/>
                <a:gd name="connsiteX311" fmla="*/ 99049 w 227095"/>
                <a:gd name="connsiteY311" fmla="*/ 17757 h 510883"/>
                <a:gd name="connsiteX312" fmla="*/ 99049 w 227095"/>
                <a:gd name="connsiteY312" fmla="*/ 10915 h 510883"/>
                <a:gd name="connsiteX313" fmla="*/ 104099 w 227095"/>
                <a:gd name="connsiteY313" fmla="*/ 6353 h 510883"/>
                <a:gd name="connsiteX314" fmla="*/ 103610 w 227095"/>
                <a:gd name="connsiteY314" fmla="*/ 2444 h 510883"/>
                <a:gd name="connsiteX315" fmla="*/ 102470 w 227095"/>
                <a:gd name="connsiteY315" fmla="*/ 1303 h 510883"/>
                <a:gd name="connsiteX316" fmla="*/ 102470 w 227095"/>
                <a:gd name="connsiteY316" fmla="*/ 1303 h 510883"/>
                <a:gd name="connsiteX317" fmla="*/ 32419 w 227095"/>
                <a:gd name="connsiteY317" fmla="*/ 272058 h 510883"/>
                <a:gd name="connsiteX318" fmla="*/ 33885 w 227095"/>
                <a:gd name="connsiteY318" fmla="*/ 275805 h 510883"/>
                <a:gd name="connsiteX319" fmla="*/ 39098 w 227095"/>
                <a:gd name="connsiteY319" fmla="*/ 278738 h 510883"/>
                <a:gd name="connsiteX320" fmla="*/ 40401 w 227095"/>
                <a:gd name="connsiteY320" fmla="*/ 274339 h 510883"/>
                <a:gd name="connsiteX321" fmla="*/ 36328 w 227095"/>
                <a:gd name="connsiteY321" fmla="*/ 270266 h 510883"/>
                <a:gd name="connsiteX322" fmla="*/ 32419 w 227095"/>
                <a:gd name="connsiteY322" fmla="*/ 272058 h 5108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</a:cxnLst>
              <a:rect l="l" t="t" r="r" b="b"/>
              <a:pathLst>
                <a:path w="227095" h="510883">
                  <a:moveTo>
                    <a:pt x="101492" y="2118"/>
                  </a:moveTo>
                  <a:lnTo>
                    <a:pt x="105728" y="0"/>
                  </a:lnTo>
                  <a:lnTo>
                    <a:pt x="111593" y="2607"/>
                  </a:lnTo>
                  <a:lnTo>
                    <a:pt x="115503" y="326"/>
                  </a:lnTo>
                  <a:lnTo>
                    <a:pt x="121367" y="326"/>
                  </a:lnTo>
                  <a:cubicBezTo>
                    <a:pt x="121367" y="326"/>
                    <a:pt x="124625" y="7331"/>
                    <a:pt x="124625" y="7331"/>
                  </a:cubicBezTo>
                  <a:lnTo>
                    <a:pt x="129676" y="11078"/>
                  </a:lnTo>
                  <a:lnTo>
                    <a:pt x="131142" y="19060"/>
                  </a:lnTo>
                  <a:lnTo>
                    <a:pt x="135541" y="19060"/>
                  </a:lnTo>
                  <a:cubicBezTo>
                    <a:pt x="135541" y="19060"/>
                    <a:pt x="140102" y="24110"/>
                    <a:pt x="140102" y="24110"/>
                  </a:cubicBezTo>
                  <a:lnTo>
                    <a:pt x="140102" y="31930"/>
                  </a:lnTo>
                  <a:lnTo>
                    <a:pt x="144337" y="40564"/>
                  </a:lnTo>
                  <a:lnTo>
                    <a:pt x="144826" y="48384"/>
                  </a:lnTo>
                  <a:lnTo>
                    <a:pt x="143360" y="59299"/>
                  </a:lnTo>
                  <a:lnTo>
                    <a:pt x="143360" y="64512"/>
                  </a:lnTo>
                  <a:lnTo>
                    <a:pt x="142219" y="67607"/>
                  </a:lnTo>
                  <a:lnTo>
                    <a:pt x="137495" y="69888"/>
                  </a:lnTo>
                  <a:lnTo>
                    <a:pt x="137007" y="74612"/>
                  </a:lnTo>
                  <a:lnTo>
                    <a:pt x="134563" y="75264"/>
                  </a:lnTo>
                  <a:lnTo>
                    <a:pt x="133260" y="78848"/>
                  </a:lnTo>
                  <a:lnTo>
                    <a:pt x="135541" y="83898"/>
                  </a:lnTo>
                  <a:lnTo>
                    <a:pt x="133585" y="86831"/>
                  </a:lnTo>
                  <a:lnTo>
                    <a:pt x="130327" y="85527"/>
                  </a:lnTo>
                  <a:lnTo>
                    <a:pt x="126743" y="89274"/>
                  </a:lnTo>
                  <a:lnTo>
                    <a:pt x="124788" y="93673"/>
                  </a:lnTo>
                  <a:lnTo>
                    <a:pt x="127069" y="96931"/>
                  </a:lnTo>
                  <a:lnTo>
                    <a:pt x="124625" y="100841"/>
                  </a:lnTo>
                  <a:lnTo>
                    <a:pt x="124625" y="105076"/>
                  </a:lnTo>
                  <a:lnTo>
                    <a:pt x="129024" y="106868"/>
                  </a:lnTo>
                  <a:lnTo>
                    <a:pt x="130816" y="110126"/>
                  </a:lnTo>
                  <a:lnTo>
                    <a:pt x="134400" y="113385"/>
                  </a:lnTo>
                  <a:lnTo>
                    <a:pt x="133748" y="119412"/>
                  </a:lnTo>
                  <a:lnTo>
                    <a:pt x="136192" y="125277"/>
                  </a:lnTo>
                  <a:lnTo>
                    <a:pt x="142219" y="120879"/>
                  </a:lnTo>
                  <a:lnTo>
                    <a:pt x="153786" y="118435"/>
                  </a:lnTo>
                  <a:lnTo>
                    <a:pt x="154926" y="122508"/>
                  </a:lnTo>
                  <a:lnTo>
                    <a:pt x="153298" y="125603"/>
                  </a:lnTo>
                  <a:lnTo>
                    <a:pt x="156393" y="128209"/>
                  </a:lnTo>
                  <a:lnTo>
                    <a:pt x="163072" y="126580"/>
                  </a:lnTo>
                  <a:lnTo>
                    <a:pt x="164375" y="130979"/>
                  </a:lnTo>
                  <a:lnTo>
                    <a:pt x="162746" y="135377"/>
                  </a:lnTo>
                  <a:lnTo>
                    <a:pt x="165678" y="139450"/>
                  </a:lnTo>
                  <a:lnTo>
                    <a:pt x="172358" y="140916"/>
                  </a:lnTo>
                  <a:lnTo>
                    <a:pt x="171055" y="143360"/>
                  </a:lnTo>
                  <a:lnTo>
                    <a:pt x="173009" y="146618"/>
                  </a:lnTo>
                  <a:lnTo>
                    <a:pt x="173987" y="144663"/>
                  </a:lnTo>
                  <a:lnTo>
                    <a:pt x="181155" y="143686"/>
                  </a:lnTo>
                  <a:lnTo>
                    <a:pt x="186368" y="146944"/>
                  </a:lnTo>
                  <a:lnTo>
                    <a:pt x="186368" y="150854"/>
                  </a:lnTo>
                  <a:lnTo>
                    <a:pt x="184087" y="155252"/>
                  </a:lnTo>
                  <a:lnTo>
                    <a:pt x="184087" y="158999"/>
                  </a:lnTo>
                  <a:cubicBezTo>
                    <a:pt x="184087" y="158999"/>
                    <a:pt x="178385" y="167308"/>
                    <a:pt x="178385" y="167308"/>
                  </a:cubicBezTo>
                  <a:lnTo>
                    <a:pt x="173661" y="172032"/>
                  </a:lnTo>
                  <a:lnTo>
                    <a:pt x="174639" y="175453"/>
                  </a:lnTo>
                  <a:lnTo>
                    <a:pt x="178548" y="173661"/>
                  </a:lnTo>
                  <a:lnTo>
                    <a:pt x="186694" y="174639"/>
                  </a:lnTo>
                  <a:lnTo>
                    <a:pt x="187997" y="176105"/>
                  </a:lnTo>
                  <a:lnTo>
                    <a:pt x="191907" y="172521"/>
                  </a:lnTo>
                  <a:lnTo>
                    <a:pt x="195328" y="177082"/>
                  </a:lnTo>
                  <a:lnTo>
                    <a:pt x="193862" y="183924"/>
                  </a:lnTo>
                  <a:lnTo>
                    <a:pt x="195491" y="188649"/>
                  </a:lnTo>
                  <a:lnTo>
                    <a:pt x="201355" y="191581"/>
                  </a:lnTo>
                  <a:lnTo>
                    <a:pt x="204777" y="188323"/>
                  </a:lnTo>
                  <a:lnTo>
                    <a:pt x="210478" y="188323"/>
                  </a:lnTo>
                  <a:lnTo>
                    <a:pt x="222045" y="183273"/>
                  </a:lnTo>
                  <a:lnTo>
                    <a:pt x="227095" y="184902"/>
                  </a:lnTo>
                  <a:lnTo>
                    <a:pt x="226607" y="189789"/>
                  </a:lnTo>
                  <a:lnTo>
                    <a:pt x="219439" y="195980"/>
                  </a:lnTo>
                  <a:lnTo>
                    <a:pt x="212271" y="197446"/>
                  </a:lnTo>
                  <a:lnTo>
                    <a:pt x="212271" y="202170"/>
                  </a:lnTo>
                  <a:cubicBezTo>
                    <a:pt x="212271" y="202170"/>
                    <a:pt x="209175" y="206243"/>
                    <a:pt x="209175" y="206243"/>
                  </a:cubicBezTo>
                  <a:lnTo>
                    <a:pt x="211619" y="209501"/>
                  </a:lnTo>
                  <a:lnTo>
                    <a:pt x="206406" y="213737"/>
                  </a:lnTo>
                  <a:lnTo>
                    <a:pt x="203636" y="213737"/>
                  </a:lnTo>
                  <a:lnTo>
                    <a:pt x="200541" y="220742"/>
                  </a:lnTo>
                  <a:lnTo>
                    <a:pt x="193047" y="221068"/>
                  </a:lnTo>
                  <a:lnTo>
                    <a:pt x="187346" y="223023"/>
                  </a:lnTo>
                  <a:lnTo>
                    <a:pt x="187346" y="225955"/>
                  </a:lnTo>
                  <a:cubicBezTo>
                    <a:pt x="187346" y="225955"/>
                    <a:pt x="189952" y="229702"/>
                    <a:pt x="189952" y="229702"/>
                  </a:cubicBezTo>
                  <a:lnTo>
                    <a:pt x="187997" y="232471"/>
                  </a:lnTo>
                  <a:lnTo>
                    <a:pt x="181481" y="231494"/>
                  </a:lnTo>
                  <a:lnTo>
                    <a:pt x="178223" y="234426"/>
                  </a:lnTo>
                  <a:lnTo>
                    <a:pt x="178223" y="240780"/>
                  </a:lnTo>
                  <a:cubicBezTo>
                    <a:pt x="178223" y="240780"/>
                    <a:pt x="176430" y="243386"/>
                    <a:pt x="176430" y="243386"/>
                  </a:cubicBezTo>
                  <a:lnTo>
                    <a:pt x="170728" y="243386"/>
                  </a:lnTo>
                  <a:cubicBezTo>
                    <a:pt x="170728" y="243386"/>
                    <a:pt x="164864" y="248111"/>
                    <a:pt x="164864" y="248111"/>
                  </a:cubicBezTo>
                  <a:lnTo>
                    <a:pt x="155252" y="244201"/>
                  </a:lnTo>
                  <a:lnTo>
                    <a:pt x="151180" y="249740"/>
                  </a:lnTo>
                  <a:lnTo>
                    <a:pt x="152483" y="258537"/>
                  </a:lnTo>
                  <a:lnTo>
                    <a:pt x="148736" y="261958"/>
                  </a:lnTo>
                  <a:lnTo>
                    <a:pt x="148736" y="269452"/>
                  </a:lnTo>
                  <a:lnTo>
                    <a:pt x="150528" y="273687"/>
                  </a:lnTo>
                  <a:lnTo>
                    <a:pt x="145803" y="277108"/>
                  </a:lnTo>
                  <a:lnTo>
                    <a:pt x="139124" y="279878"/>
                  </a:lnTo>
                  <a:lnTo>
                    <a:pt x="139613" y="283951"/>
                  </a:lnTo>
                  <a:lnTo>
                    <a:pt x="143523" y="285091"/>
                  </a:lnTo>
                  <a:lnTo>
                    <a:pt x="147759" y="292422"/>
                  </a:lnTo>
                  <a:lnTo>
                    <a:pt x="151505" y="295843"/>
                  </a:lnTo>
                  <a:lnTo>
                    <a:pt x="152971" y="299753"/>
                  </a:lnTo>
                  <a:lnTo>
                    <a:pt x="159651" y="304314"/>
                  </a:lnTo>
                  <a:lnTo>
                    <a:pt x="165678" y="317510"/>
                  </a:lnTo>
                  <a:lnTo>
                    <a:pt x="169751" y="318976"/>
                  </a:lnTo>
                  <a:lnTo>
                    <a:pt x="172684" y="325655"/>
                  </a:lnTo>
                  <a:lnTo>
                    <a:pt x="173661" y="331194"/>
                  </a:lnTo>
                  <a:lnTo>
                    <a:pt x="179037" y="333801"/>
                  </a:lnTo>
                  <a:lnTo>
                    <a:pt x="179526" y="339014"/>
                  </a:lnTo>
                  <a:lnTo>
                    <a:pt x="174801" y="341621"/>
                  </a:lnTo>
                  <a:lnTo>
                    <a:pt x="172846" y="345367"/>
                  </a:lnTo>
                  <a:lnTo>
                    <a:pt x="175779" y="358400"/>
                  </a:lnTo>
                  <a:lnTo>
                    <a:pt x="175127" y="362310"/>
                  </a:lnTo>
                  <a:lnTo>
                    <a:pt x="169751" y="365405"/>
                  </a:lnTo>
                  <a:lnTo>
                    <a:pt x="173498" y="374202"/>
                  </a:lnTo>
                  <a:lnTo>
                    <a:pt x="173498" y="378764"/>
                  </a:lnTo>
                  <a:cubicBezTo>
                    <a:pt x="173498" y="378764"/>
                    <a:pt x="180341" y="387072"/>
                    <a:pt x="180341" y="387072"/>
                  </a:cubicBezTo>
                  <a:lnTo>
                    <a:pt x="188160" y="393100"/>
                  </a:lnTo>
                  <a:lnTo>
                    <a:pt x="195165" y="399942"/>
                  </a:lnTo>
                  <a:lnTo>
                    <a:pt x="198423" y="410857"/>
                  </a:lnTo>
                  <a:lnTo>
                    <a:pt x="196631" y="415092"/>
                  </a:lnTo>
                  <a:lnTo>
                    <a:pt x="197771" y="420143"/>
                  </a:lnTo>
                  <a:lnTo>
                    <a:pt x="197283" y="425682"/>
                  </a:lnTo>
                  <a:lnTo>
                    <a:pt x="200215" y="428777"/>
                  </a:lnTo>
                  <a:lnTo>
                    <a:pt x="201355" y="436271"/>
                  </a:lnTo>
                  <a:lnTo>
                    <a:pt x="203636" y="440832"/>
                  </a:lnTo>
                  <a:lnTo>
                    <a:pt x="203310" y="448163"/>
                  </a:lnTo>
                  <a:lnTo>
                    <a:pt x="206569" y="453865"/>
                  </a:lnTo>
                  <a:lnTo>
                    <a:pt x="206243" y="462336"/>
                  </a:lnTo>
                  <a:lnTo>
                    <a:pt x="203310" y="464128"/>
                  </a:lnTo>
                  <a:lnTo>
                    <a:pt x="197283" y="480419"/>
                  </a:lnTo>
                  <a:lnTo>
                    <a:pt x="191744" y="484492"/>
                  </a:lnTo>
                  <a:lnTo>
                    <a:pt x="191092" y="491008"/>
                  </a:lnTo>
                  <a:lnTo>
                    <a:pt x="188649" y="495081"/>
                  </a:lnTo>
                  <a:lnTo>
                    <a:pt x="187346" y="498991"/>
                  </a:lnTo>
                  <a:lnTo>
                    <a:pt x="187346" y="498176"/>
                  </a:lnTo>
                  <a:cubicBezTo>
                    <a:pt x="187346" y="498176"/>
                    <a:pt x="185065" y="503389"/>
                    <a:pt x="185065" y="503389"/>
                  </a:cubicBezTo>
                  <a:lnTo>
                    <a:pt x="184413" y="510883"/>
                  </a:lnTo>
                  <a:lnTo>
                    <a:pt x="181969" y="502900"/>
                  </a:lnTo>
                  <a:lnTo>
                    <a:pt x="181969" y="495570"/>
                  </a:lnTo>
                  <a:cubicBezTo>
                    <a:pt x="181969" y="495570"/>
                    <a:pt x="180014" y="492474"/>
                    <a:pt x="180014" y="492474"/>
                  </a:cubicBezTo>
                  <a:lnTo>
                    <a:pt x="180014" y="490031"/>
                  </a:lnTo>
                  <a:cubicBezTo>
                    <a:pt x="180014" y="490031"/>
                    <a:pt x="181807" y="490845"/>
                    <a:pt x="181807" y="490845"/>
                  </a:cubicBezTo>
                  <a:lnTo>
                    <a:pt x="183762" y="489216"/>
                  </a:lnTo>
                  <a:lnTo>
                    <a:pt x="186857" y="484166"/>
                  </a:lnTo>
                  <a:lnTo>
                    <a:pt x="186857" y="480093"/>
                  </a:lnTo>
                  <a:lnTo>
                    <a:pt x="185391" y="478627"/>
                  </a:lnTo>
                  <a:lnTo>
                    <a:pt x="186205" y="471948"/>
                  </a:lnTo>
                  <a:lnTo>
                    <a:pt x="187834" y="471133"/>
                  </a:lnTo>
                  <a:lnTo>
                    <a:pt x="189137" y="468038"/>
                  </a:lnTo>
                  <a:lnTo>
                    <a:pt x="186857" y="461033"/>
                  </a:lnTo>
                  <a:lnTo>
                    <a:pt x="190278" y="458264"/>
                  </a:lnTo>
                  <a:lnTo>
                    <a:pt x="186531" y="454191"/>
                  </a:lnTo>
                  <a:lnTo>
                    <a:pt x="184087" y="450444"/>
                  </a:lnTo>
                  <a:lnTo>
                    <a:pt x="184087" y="443927"/>
                  </a:lnTo>
                  <a:cubicBezTo>
                    <a:pt x="184087" y="443927"/>
                    <a:pt x="185553" y="441321"/>
                    <a:pt x="185553" y="441321"/>
                  </a:cubicBezTo>
                  <a:lnTo>
                    <a:pt x="184087" y="436759"/>
                  </a:lnTo>
                  <a:lnTo>
                    <a:pt x="181481" y="434805"/>
                  </a:lnTo>
                  <a:lnTo>
                    <a:pt x="179689" y="419165"/>
                  </a:lnTo>
                  <a:lnTo>
                    <a:pt x="176268" y="416070"/>
                  </a:lnTo>
                  <a:lnTo>
                    <a:pt x="175127" y="410694"/>
                  </a:lnTo>
                  <a:lnTo>
                    <a:pt x="171380" y="404503"/>
                  </a:lnTo>
                  <a:lnTo>
                    <a:pt x="170403" y="412649"/>
                  </a:lnTo>
                  <a:lnTo>
                    <a:pt x="168774" y="413789"/>
                  </a:lnTo>
                  <a:lnTo>
                    <a:pt x="168774" y="409391"/>
                  </a:lnTo>
                  <a:cubicBezTo>
                    <a:pt x="168774" y="409391"/>
                    <a:pt x="166656" y="404829"/>
                    <a:pt x="166656" y="404829"/>
                  </a:cubicBezTo>
                  <a:lnTo>
                    <a:pt x="166982" y="393589"/>
                  </a:lnTo>
                  <a:lnTo>
                    <a:pt x="163235" y="389190"/>
                  </a:lnTo>
                  <a:lnTo>
                    <a:pt x="162909" y="383977"/>
                  </a:lnTo>
                  <a:lnTo>
                    <a:pt x="164864" y="382022"/>
                  </a:lnTo>
                  <a:lnTo>
                    <a:pt x="158510" y="378275"/>
                  </a:lnTo>
                  <a:lnTo>
                    <a:pt x="158510" y="369315"/>
                  </a:lnTo>
                  <a:cubicBezTo>
                    <a:pt x="158510" y="369315"/>
                    <a:pt x="156555" y="369152"/>
                    <a:pt x="156555" y="369152"/>
                  </a:cubicBezTo>
                  <a:lnTo>
                    <a:pt x="154438" y="350255"/>
                  </a:lnTo>
                  <a:lnTo>
                    <a:pt x="151342" y="348137"/>
                  </a:lnTo>
                  <a:lnTo>
                    <a:pt x="150365" y="343250"/>
                  </a:lnTo>
                  <a:lnTo>
                    <a:pt x="152320" y="342435"/>
                  </a:lnTo>
                  <a:lnTo>
                    <a:pt x="152320" y="339340"/>
                  </a:lnTo>
                  <a:lnTo>
                    <a:pt x="149225" y="333312"/>
                  </a:lnTo>
                  <a:lnTo>
                    <a:pt x="150528" y="331032"/>
                  </a:lnTo>
                  <a:lnTo>
                    <a:pt x="150528" y="328099"/>
                  </a:lnTo>
                  <a:cubicBezTo>
                    <a:pt x="150528" y="328099"/>
                    <a:pt x="148899" y="331194"/>
                    <a:pt x="148899" y="331194"/>
                  </a:cubicBezTo>
                  <a:lnTo>
                    <a:pt x="145478" y="332498"/>
                  </a:lnTo>
                  <a:lnTo>
                    <a:pt x="141079" y="332498"/>
                  </a:lnTo>
                  <a:lnTo>
                    <a:pt x="139776" y="326307"/>
                  </a:lnTo>
                  <a:lnTo>
                    <a:pt x="137658" y="323538"/>
                  </a:lnTo>
                  <a:lnTo>
                    <a:pt x="132608" y="313600"/>
                  </a:lnTo>
                  <a:lnTo>
                    <a:pt x="131630" y="310831"/>
                  </a:lnTo>
                  <a:lnTo>
                    <a:pt x="129187" y="310831"/>
                  </a:lnTo>
                  <a:lnTo>
                    <a:pt x="129187" y="307735"/>
                  </a:lnTo>
                  <a:lnTo>
                    <a:pt x="124462" y="304966"/>
                  </a:lnTo>
                  <a:lnTo>
                    <a:pt x="127395" y="308224"/>
                  </a:lnTo>
                  <a:lnTo>
                    <a:pt x="126417" y="310016"/>
                  </a:lnTo>
                  <a:lnTo>
                    <a:pt x="126092" y="312949"/>
                  </a:lnTo>
                  <a:lnTo>
                    <a:pt x="129024" y="315066"/>
                  </a:lnTo>
                  <a:lnTo>
                    <a:pt x="128372" y="320279"/>
                  </a:lnTo>
                  <a:lnTo>
                    <a:pt x="126092" y="322723"/>
                  </a:lnTo>
                  <a:lnTo>
                    <a:pt x="127069" y="325818"/>
                  </a:lnTo>
                  <a:lnTo>
                    <a:pt x="120553" y="331194"/>
                  </a:lnTo>
                  <a:lnTo>
                    <a:pt x="116317" y="330380"/>
                  </a:lnTo>
                  <a:lnTo>
                    <a:pt x="113385" y="326633"/>
                  </a:lnTo>
                  <a:lnTo>
                    <a:pt x="111593" y="326633"/>
                  </a:lnTo>
                  <a:lnTo>
                    <a:pt x="113548" y="330706"/>
                  </a:lnTo>
                  <a:lnTo>
                    <a:pt x="113222" y="332498"/>
                  </a:lnTo>
                  <a:lnTo>
                    <a:pt x="117294" y="333638"/>
                  </a:lnTo>
                  <a:lnTo>
                    <a:pt x="111755" y="336896"/>
                  </a:lnTo>
                  <a:lnTo>
                    <a:pt x="108009" y="336896"/>
                  </a:lnTo>
                  <a:lnTo>
                    <a:pt x="105565" y="335104"/>
                  </a:lnTo>
                  <a:lnTo>
                    <a:pt x="104262" y="339503"/>
                  </a:lnTo>
                  <a:lnTo>
                    <a:pt x="93998" y="346508"/>
                  </a:lnTo>
                  <a:lnTo>
                    <a:pt x="88948" y="345856"/>
                  </a:lnTo>
                  <a:lnTo>
                    <a:pt x="88134" y="346997"/>
                  </a:lnTo>
                  <a:lnTo>
                    <a:pt x="85364" y="346997"/>
                  </a:lnTo>
                  <a:lnTo>
                    <a:pt x="85364" y="345693"/>
                  </a:lnTo>
                  <a:cubicBezTo>
                    <a:pt x="85364" y="345693"/>
                    <a:pt x="84550" y="348137"/>
                    <a:pt x="84550" y="348137"/>
                  </a:cubicBezTo>
                  <a:lnTo>
                    <a:pt x="82106" y="348789"/>
                  </a:lnTo>
                  <a:lnTo>
                    <a:pt x="79174" y="345042"/>
                  </a:lnTo>
                  <a:lnTo>
                    <a:pt x="72169" y="348789"/>
                  </a:lnTo>
                  <a:lnTo>
                    <a:pt x="71354" y="352210"/>
                  </a:lnTo>
                  <a:lnTo>
                    <a:pt x="68422" y="352210"/>
                  </a:lnTo>
                  <a:cubicBezTo>
                    <a:pt x="68422" y="352210"/>
                    <a:pt x="68422" y="345367"/>
                    <a:pt x="68422" y="345367"/>
                  </a:cubicBezTo>
                  <a:lnTo>
                    <a:pt x="75264" y="339014"/>
                  </a:lnTo>
                  <a:lnTo>
                    <a:pt x="75590" y="330706"/>
                  </a:lnTo>
                  <a:lnTo>
                    <a:pt x="72494" y="338199"/>
                  </a:lnTo>
                  <a:lnTo>
                    <a:pt x="67118" y="342924"/>
                  </a:lnTo>
                  <a:lnTo>
                    <a:pt x="63209" y="349114"/>
                  </a:lnTo>
                  <a:lnTo>
                    <a:pt x="62557" y="346833"/>
                  </a:lnTo>
                  <a:lnTo>
                    <a:pt x="63371" y="344879"/>
                  </a:lnTo>
                  <a:lnTo>
                    <a:pt x="61742" y="339503"/>
                  </a:lnTo>
                  <a:lnTo>
                    <a:pt x="65978" y="314089"/>
                  </a:lnTo>
                  <a:lnTo>
                    <a:pt x="71843" y="310342"/>
                  </a:lnTo>
                  <a:lnTo>
                    <a:pt x="69562" y="308061"/>
                  </a:lnTo>
                  <a:lnTo>
                    <a:pt x="65001" y="296820"/>
                  </a:lnTo>
                  <a:lnTo>
                    <a:pt x="64349" y="286720"/>
                  </a:lnTo>
                  <a:lnTo>
                    <a:pt x="61742" y="285580"/>
                  </a:lnTo>
                  <a:lnTo>
                    <a:pt x="60276" y="282810"/>
                  </a:lnTo>
                  <a:lnTo>
                    <a:pt x="61742" y="281833"/>
                  </a:lnTo>
                  <a:lnTo>
                    <a:pt x="58159" y="278900"/>
                  </a:lnTo>
                  <a:lnTo>
                    <a:pt x="56203" y="271570"/>
                  </a:lnTo>
                  <a:lnTo>
                    <a:pt x="53271" y="267660"/>
                  </a:lnTo>
                  <a:lnTo>
                    <a:pt x="51316" y="263587"/>
                  </a:lnTo>
                  <a:lnTo>
                    <a:pt x="51316" y="259189"/>
                  </a:lnTo>
                  <a:lnTo>
                    <a:pt x="45126" y="255279"/>
                  </a:lnTo>
                  <a:lnTo>
                    <a:pt x="47244" y="259514"/>
                  </a:lnTo>
                  <a:lnTo>
                    <a:pt x="48384" y="268474"/>
                  </a:lnTo>
                  <a:lnTo>
                    <a:pt x="38935" y="265705"/>
                  </a:lnTo>
                  <a:lnTo>
                    <a:pt x="34537" y="260329"/>
                  </a:lnTo>
                  <a:lnTo>
                    <a:pt x="34211" y="257397"/>
                  </a:lnTo>
                  <a:lnTo>
                    <a:pt x="29323" y="253161"/>
                  </a:lnTo>
                  <a:lnTo>
                    <a:pt x="28672" y="250391"/>
                  </a:lnTo>
                  <a:lnTo>
                    <a:pt x="33396" y="250717"/>
                  </a:lnTo>
                  <a:lnTo>
                    <a:pt x="35188" y="254627"/>
                  </a:lnTo>
                  <a:lnTo>
                    <a:pt x="39098" y="256582"/>
                  </a:lnTo>
                  <a:lnTo>
                    <a:pt x="40564" y="254790"/>
                  </a:lnTo>
                  <a:lnTo>
                    <a:pt x="39098" y="253975"/>
                  </a:lnTo>
                  <a:lnTo>
                    <a:pt x="35351" y="250554"/>
                  </a:lnTo>
                  <a:lnTo>
                    <a:pt x="39261" y="248274"/>
                  </a:lnTo>
                  <a:lnTo>
                    <a:pt x="42193" y="251206"/>
                  </a:lnTo>
                  <a:lnTo>
                    <a:pt x="45289" y="250066"/>
                  </a:lnTo>
                  <a:lnTo>
                    <a:pt x="45289" y="245830"/>
                  </a:lnTo>
                  <a:cubicBezTo>
                    <a:pt x="45289" y="245830"/>
                    <a:pt x="40076" y="238499"/>
                    <a:pt x="40076" y="238499"/>
                  </a:cubicBezTo>
                  <a:lnTo>
                    <a:pt x="32093" y="237033"/>
                  </a:lnTo>
                  <a:lnTo>
                    <a:pt x="29975" y="233775"/>
                  </a:lnTo>
                  <a:lnTo>
                    <a:pt x="25577" y="232960"/>
                  </a:lnTo>
                  <a:lnTo>
                    <a:pt x="24436" y="229702"/>
                  </a:lnTo>
                  <a:lnTo>
                    <a:pt x="23785" y="232960"/>
                  </a:lnTo>
                  <a:lnTo>
                    <a:pt x="19060" y="233612"/>
                  </a:lnTo>
                  <a:lnTo>
                    <a:pt x="18734" y="231494"/>
                  </a:lnTo>
                  <a:lnTo>
                    <a:pt x="22644" y="227095"/>
                  </a:lnTo>
                  <a:lnTo>
                    <a:pt x="17757" y="227421"/>
                  </a:lnTo>
                  <a:lnTo>
                    <a:pt x="13684" y="224163"/>
                  </a:lnTo>
                  <a:lnTo>
                    <a:pt x="13684" y="226444"/>
                  </a:lnTo>
                  <a:lnTo>
                    <a:pt x="16128" y="230842"/>
                  </a:lnTo>
                  <a:lnTo>
                    <a:pt x="4724" y="220742"/>
                  </a:lnTo>
                  <a:lnTo>
                    <a:pt x="2769" y="214063"/>
                  </a:lnTo>
                  <a:lnTo>
                    <a:pt x="326" y="208687"/>
                  </a:lnTo>
                  <a:lnTo>
                    <a:pt x="326" y="208687"/>
                  </a:lnTo>
                  <a:cubicBezTo>
                    <a:pt x="326" y="208687"/>
                    <a:pt x="0" y="207058"/>
                    <a:pt x="0" y="207058"/>
                  </a:cubicBezTo>
                  <a:lnTo>
                    <a:pt x="814" y="202170"/>
                  </a:lnTo>
                  <a:lnTo>
                    <a:pt x="5702" y="196143"/>
                  </a:lnTo>
                  <a:lnTo>
                    <a:pt x="7657" y="197446"/>
                  </a:lnTo>
                  <a:lnTo>
                    <a:pt x="10426" y="191255"/>
                  </a:lnTo>
                  <a:lnTo>
                    <a:pt x="10426" y="182458"/>
                  </a:lnTo>
                  <a:lnTo>
                    <a:pt x="11566" y="177734"/>
                  </a:lnTo>
                  <a:lnTo>
                    <a:pt x="14010" y="178874"/>
                  </a:lnTo>
                  <a:lnTo>
                    <a:pt x="16780" y="177408"/>
                  </a:lnTo>
                  <a:lnTo>
                    <a:pt x="19712" y="168937"/>
                  </a:lnTo>
                  <a:lnTo>
                    <a:pt x="18409" y="163724"/>
                  </a:lnTo>
                  <a:lnTo>
                    <a:pt x="19386" y="157533"/>
                  </a:lnTo>
                  <a:lnTo>
                    <a:pt x="18409" y="150691"/>
                  </a:lnTo>
                  <a:lnTo>
                    <a:pt x="23785" y="151506"/>
                  </a:lnTo>
                  <a:lnTo>
                    <a:pt x="24273" y="142220"/>
                  </a:lnTo>
                  <a:lnTo>
                    <a:pt x="24273" y="135541"/>
                  </a:lnTo>
                  <a:cubicBezTo>
                    <a:pt x="24273" y="135541"/>
                    <a:pt x="21341" y="122996"/>
                    <a:pt x="21341" y="122996"/>
                  </a:cubicBezTo>
                  <a:lnTo>
                    <a:pt x="26717" y="123322"/>
                  </a:lnTo>
                  <a:lnTo>
                    <a:pt x="31116" y="124788"/>
                  </a:lnTo>
                  <a:lnTo>
                    <a:pt x="37958" y="124788"/>
                  </a:lnTo>
                  <a:cubicBezTo>
                    <a:pt x="37958" y="124788"/>
                    <a:pt x="42030" y="115014"/>
                    <a:pt x="42030" y="115014"/>
                  </a:cubicBezTo>
                  <a:lnTo>
                    <a:pt x="44474" y="104099"/>
                  </a:lnTo>
                  <a:lnTo>
                    <a:pt x="50013" y="90577"/>
                  </a:lnTo>
                  <a:lnTo>
                    <a:pt x="43985" y="87645"/>
                  </a:lnTo>
                  <a:lnTo>
                    <a:pt x="43660" y="83735"/>
                  </a:lnTo>
                  <a:lnTo>
                    <a:pt x="50828" y="72169"/>
                  </a:lnTo>
                  <a:lnTo>
                    <a:pt x="54249" y="62068"/>
                  </a:lnTo>
                  <a:lnTo>
                    <a:pt x="51642" y="58810"/>
                  </a:lnTo>
                  <a:lnTo>
                    <a:pt x="52945" y="52783"/>
                  </a:lnTo>
                  <a:lnTo>
                    <a:pt x="61417" y="39587"/>
                  </a:lnTo>
                  <a:lnTo>
                    <a:pt x="67118" y="37632"/>
                  </a:lnTo>
                  <a:lnTo>
                    <a:pt x="73146" y="30138"/>
                  </a:lnTo>
                  <a:lnTo>
                    <a:pt x="75753" y="24110"/>
                  </a:lnTo>
                  <a:lnTo>
                    <a:pt x="84061" y="21504"/>
                  </a:lnTo>
                  <a:lnTo>
                    <a:pt x="91229" y="16291"/>
                  </a:lnTo>
                  <a:lnTo>
                    <a:pt x="95465" y="19712"/>
                  </a:lnTo>
                  <a:lnTo>
                    <a:pt x="100352" y="21993"/>
                  </a:lnTo>
                  <a:lnTo>
                    <a:pt x="99049" y="17757"/>
                  </a:lnTo>
                  <a:lnTo>
                    <a:pt x="99049" y="10915"/>
                  </a:lnTo>
                  <a:lnTo>
                    <a:pt x="104099" y="6353"/>
                  </a:lnTo>
                  <a:lnTo>
                    <a:pt x="103610" y="2444"/>
                  </a:lnTo>
                  <a:lnTo>
                    <a:pt x="102470" y="1303"/>
                  </a:lnTo>
                  <a:lnTo>
                    <a:pt x="102470" y="1303"/>
                  </a:lnTo>
                  <a:close/>
                  <a:moveTo>
                    <a:pt x="32419" y="272058"/>
                  </a:moveTo>
                  <a:lnTo>
                    <a:pt x="33885" y="275805"/>
                  </a:lnTo>
                  <a:lnTo>
                    <a:pt x="39098" y="278738"/>
                  </a:lnTo>
                  <a:lnTo>
                    <a:pt x="40401" y="274339"/>
                  </a:lnTo>
                  <a:lnTo>
                    <a:pt x="36328" y="270266"/>
                  </a:lnTo>
                  <a:lnTo>
                    <a:pt x="32419" y="272058"/>
                  </a:lnTo>
                  <a:close/>
                </a:path>
              </a:pathLst>
            </a:custGeom>
            <a:solidFill>
              <a:schemeClr val="bg2"/>
            </a:solidFill>
            <a:ln w="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1" name="Forma livre: Forma 210">
              <a:extLst>
                <a:ext uri="{FF2B5EF4-FFF2-40B4-BE49-F238E27FC236}">
                  <a16:creationId xmlns:a16="http://schemas.microsoft.com/office/drawing/2014/main" id="{76422F21-C797-967C-842D-CAF99E9D7E6C}"/>
                </a:ext>
              </a:extLst>
            </p:cNvPr>
            <p:cNvSpPr/>
            <p:nvPr/>
          </p:nvSpPr>
          <p:spPr>
            <a:xfrm>
              <a:off x="8100854" y="4696094"/>
              <a:ext cx="58754" cy="108923"/>
            </a:xfrm>
            <a:custGeom>
              <a:avLst/>
              <a:gdLst>
                <a:gd name="connsiteX0" fmla="*/ 163 w 56855"/>
                <a:gd name="connsiteY0" fmla="*/ 51316 h 105402"/>
                <a:gd name="connsiteX1" fmla="*/ 977 w 56855"/>
                <a:gd name="connsiteY1" fmla="*/ 45452 h 105402"/>
                <a:gd name="connsiteX2" fmla="*/ 652 w 56855"/>
                <a:gd name="connsiteY2" fmla="*/ 41053 h 105402"/>
                <a:gd name="connsiteX3" fmla="*/ 3584 w 56855"/>
                <a:gd name="connsiteY3" fmla="*/ 39750 h 105402"/>
                <a:gd name="connsiteX4" fmla="*/ 3258 w 56855"/>
                <a:gd name="connsiteY4" fmla="*/ 40890 h 105402"/>
                <a:gd name="connsiteX5" fmla="*/ 1792 w 56855"/>
                <a:gd name="connsiteY5" fmla="*/ 41542 h 105402"/>
                <a:gd name="connsiteX6" fmla="*/ 2770 w 56855"/>
                <a:gd name="connsiteY6" fmla="*/ 45452 h 105402"/>
                <a:gd name="connsiteX7" fmla="*/ 0 w 56855"/>
                <a:gd name="connsiteY7" fmla="*/ 51316 h 105402"/>
                <a:gd name="connsiteX8" fmla="*/ 0 w 56855"/>
                <a:gd name="connsiteY8" fmla="*/ 51316 h 105402"/>
                <a:gd name="connsiteX9" fmla="*/ 10100 w 56855"/>
                <a:gd name="connsiteY9" fmla="*/ 7983 h 105402"/>
                <a:gd name="connsiteX10" fmla="*/ 3421 w 56855"/>
                <a:gd name="connsiteY10" fmla="*/ 3747 h 105402"/>
                <a:gd name="connsiteX11" fmla="*/ 3421 w 56855"/>
                <a:gd name="connsiteY11" fmla="*/ 652 h 105402"/>
                <a:gd name="connsiteX12" fmla="*/ 11566 w 56855"/>
                <a:gd name="connsiteY12" fmla="*/ 0 h 105402"/>
                <a:gd name="connsiteX13" fmla="*/ 12870 w 56855"/>
                <a:gd name="connsiteY13" fmla="*/ 977 h 105402"/>
                <a:gd name="connsiteX14" fmla="*/ 10915 w 56855"/>
                <a:gd name="connsiteY14" fmla="*/ 5376 h 105402"/>
                <a:gd name="connsiteX15" fmla="*/ 9449 w 56855"/>
                <a:gd name="connsiteY15" fmla="*/ 5702 h 105402"/>
                <a:gd name="connsiteX16" fmla="*/ 9937 w 56855"/>
                <a:gd name="connsiteY16" fmla="*/ 7820 h 105402"/>
                <a:gd name="connsiteX17" fmla="*/ 9937 w 56855"/>
                <a:gd name="connsiteY17" fmla="*/ 7820 h 105402"/>
                <a:gd name="connsiteX18" fmla="*/ 15802 w 56855"/>
                <a:gd name="connsiteY18" fmla="*/ 2281 h 105402"/>
                <a:gd name="connsiteX19" fmla="*/ 19549 w 56855"/>
                <a:gd name="connsiteY19" fmla="*/ 3258 h 105402"/>
                <a:gd name="connsiteX20" fmla="*/ 20527 w 56855"/>
                <a:gd name="connsiteY20" fmla="*/ 7168 h 105402"/>
                <a:gd name="connsiteX21" fmla="*/ 26391 w 56855"/>
                <a:gd name="connsiteY21" fmla="*/ 10752 h 105402"/>
                <a:gd name="connsiteX22" fmla="*/ 27369 w 56855"/>
                <a:gd name="connsiteY22" fmla="*/ 13196 h 105402"/>
                <a:gd name="connsiteX23" fmla="*/ 24925 w 56855"/>
                <a:gd name="connsiteY23" fmla="*/ 11241 h 105402"/>
                <a:gd name="connsiteX24" fmla="*/ 20689 w 56855"/>
                <a:gd name="connsiteY24" fmla="*/ 11241 h 105402"/>
                <a:gd name="connsiteX25" fmla="*/ 18409 w 56855"/>
                <a:gd name="connsiteY25" fmla="*/ 9286 h 105402"/>
                <a:gd name="connsiteX26" fmla="*/ 13196 w 56855"/>
                <a:gd name="connsiteY26" fmla="*/ 7005 h 105402"/>
                <a:gd name="connsiteX27" fmla="*/ 13521 w 56855"/>
                <a:gd name="connsiteY27" fmla="*/ 5213 h 105402"/>
                <a:gd name="connsiteX28" fmla="*/ 16454 w 56855"/>
                <a:gd name="connsiteY28" fmla="*/ 4887 h 105402"/>
                <a:gd name="connsiteX29" fmla="*/ 14988 w 56855"/>
                <a:gd name="connsiteY29" fmla="*/ 3910 h 105402"/>
                <a:gd name="connsiteX30" fmla="*/ 15965 w 56855"/>
                <a:gd name="connsiteY30" fmla="*/ 2281 h 105402"/>
                <a:gd name="connsiteX31" fmla="*/ 15965 w 56855"/>
                <a:gd name="connsiteY31" fmla="*/ 2281 h 105402"/>
                <a:gd name="connsiteX32" fmla="*/ 11729 w 56855"/>
                <a:gd name="connsiteY32" fmla="*/ 9775 h 105402"/>
                <a:gd name="connsiteX33" fmla="*/ 11729 w 56855"/>
                <a:gd name="connsiteY33" fmla="*/ 11241 h 105402"/>
                <a:gd name="connsiteX34" fmla="*/ 12544 w 56855"/>
                <a:gd name="connsiteY34" fmla="*/ 12870 h 105402"/>
                <a:gd name="connsiteX35" fmla="*/ 11893 w 56855"/>
                <a:gd name="connsiteY35" fmla="*/ 13847 h 105402"/>
                <a:gd name="connsiteX36" fmla="*/ 10426 w 56855"/>
                <a:gd name="connsiteY36" fmla="*/ 14173 h 105402"/>
                <a:gd name="connsiteX37" fmla="*/ 11078 w 56855"/>
                <a:gd name="connsiteY37" fmla="*/ 15965 h 105402"/>
                <a:gd name="connsiteX38" fmla="*/ 10752 w 56855"/>
                <a:gd name="connsiteY38" fmla="*/ 19386 h 105402"/>
                <a:gd name="connsiteX39" fmla="*/ 8145 w 56855"/>
                <a:gd name="connsiteY39" fmla="*/ 23948 h 105402"/>
                <a:gd name="connsiteX40" fmla="*/ 6679 w 56855"/>
                <a:gd name="connsiteY40" fmla="*/ 23296 h 105402"/>
                <a:gd name="connsiteX41" fmla="*/ 3910 w 56855"/>
                <a:gd name="connsiteY41" fmla="*/ 20852 h 105402"/>
                <a:gd name="connsiteX42" fmla="*/ 652 w 56855"/>
                <a:gd name="connsiteY42" fmla="*/ 20526 h 105402"/>
                <a:gd name="connsiteX43" fmla="*/ 652 w 56855"/>
                <a:gd name="connsiteY43" fmla="*/ 21830 h 105402"/>
                <a:gd name="connsiteX44" fmla="*/ 3421 w 56855"/>
                <a:gd name="connsiteY44" fmla="*/ 23133 h 105402"/>
                <a:gd name="connsiteX45" fmla="*/ 4887 w 56855"/>
                <a:gd name="connsiteY45" fmla="*/ 25414 h 105402"/>
                <a:gd name="connsiteX46" fmla="*/ 3747 w 56855"/>
                <a:gd name="connsiteY46" fmla="*/ 26717 h 105402"/>
                <a:gd name="connsiteX47" fmla="*/ 5864 w 56855"/>
                <a:gd name="connsiteY47" fmla="*/ 31604 h 105402"/>
                <a:gd name="connsiteX48" fmla="*/ 5864 w 56855"/>
                <a:gd name="connsiteY48" fmla="*/ 38609 h 105402"/>
                <a:gd name="connsiteX49" fmla="*/ 4236 w 56855"/>
                <a:gd name="connsiteY49" fmla="*/ 41053 h 105402"/>
                <a:gd name="connsiteX50" fmla="*/ 2770 w 56855"/>
                <a:gd name="connsiteY50" fmla="*/ 52457 h 105402"/>
                <a:gd name="connsiteX51" fmla="*/ 3421 w 56855"/>
                <a:gd name="connsiteY51" fmla="*/ 55715 h 105402"/>
                <a:gd name="connsiteX52" fmla="*/ 2118 w 56855"/>
                <a:gd name="connsiteY52" fmla="*/ 57018 h 105402"/>
                <a:gd name="connsiteX53" fmla="*/ 4398 w 56855"/>
                <a:gd name="connsiteY53" fmla="*/ 66630 h 105402"/>
                <a:gd name="connsiteX54" fmla="*/ 3584 w 56855"/>
                <a:gd name="connsiteY54" fmla="*/ 70214 h 105402"/>
                <a:gd name="connsiteX55" fmla="*/ 7005 w 56855"/>
                <a:gd name="connsiteY55" fmla="*/ 82432 h 105402"/>
                <a:gd name="connsiteX56" fmla="*/ 11078 w 56855"/>
                <a:gd name="connsiteY56" fmla="*/ 96116 h 105402"/>
                <a:gd name="connsiteX57" fmla="*/ 14662 w 56855"/>
                <a:gd name="connsiteY57" fmla="*/ 102144 h 105402"/>
                <a:gd name="connsiteX58" fmla="*/ 20689 w 56855"/>
                <a:gd name="connsiteY58" fmla="*/ 105402 h 105402"/>
                <a:gd name="connsiteX59" fmla="*/ 25739 w 56855"/>
                <a:gd name="connsiteY59" fmla="*/ 104099 h 105402"/>
                <a:gd name="connsiteX60" fmla="*/ 34374 w 56855"/>
                <a:gd name="connsiteY60" fmla="*/ 103122 h 105402"/>
                <a:gd name="connsiteX61" fmla="*/ 42519 w 56855"/>
                <a:gd name="connsiteY61" fmla="*/ 100678 h 105402"/>
                <a:gd name="connsiteX62" fmla="*/ 50828 w 56855"/>
                <a:gd name="connsiteY62" fmla="*/ 92044 h 105402"/>
                <a:gd name="connsiteX63" fmla="*/ 54412 w 56855"/>
                <a:gd name="connsiteY63" fmla="*/ 84713 h 105402"/>
                <a:gd name="connsiteX64" fmla="*/ 56204 w 56855"/>
                <a:gd name="connsiteY64" fmla="*/ 80151 h 105402"/>
                <a:gd name="connsiteX65" fmla="*/ 55715 w 56855"/>
                <a:gd name="connsiteY65" fmla="*/ 75916 h 105402"/>
                <a:gd name="connsiteX66" fmla="*/ 56855 w 56855"/>
                <a:gd name="connsiteY66" fmla="*/ 74449 h 105402"/>
                <a:gd name="connsiteX67" fmla="*/ 56855 w 56855"/>
                <a:gd name="connsiteY67" fmla="*/ 67444 h 105402"/>
                <a:gd name="connsiteX68" fmla="*/ 54575 w 56855"/>
                <a:gd name="connsiteY68" fmla="*/ 64349 h 105402"/>
                <a:gd name="connsiteX69" fmla="*/ 55878 w 56855"/>
                <a:gd name="connsiteY69" fmla="*/ 60439 h 105402"/>
                <a:gd name="connsiteX70" fmla="*/ 51968 w 56855"/>
                <a:gd name="connsiteY70" fmla="*/ 57181 h 105402"/>
                <a:gd name="connsiteX71" fmla="*/ 47732 w 56855"/>
                <a:gd name="connsiteY71" fmla="*/ 45777 h 105402"/>
                <a:gd name="connsiteX72" fmla="*/ 44474 w 56855"/>
                <a:gd name="connsiteY72" fmla="*/ 37795 h 105402"/>
                <a:gd name="connsiteX73" fmla="*/ 40076 w 56855"/>
                <a:gd name="connsiteY73" fmla="*/ 38447 h 105402"/>
                <a:gd name="connsiteX74" fmla="*/ 40076 w 56855"/>
                <a:gd name="connsiteY74" fmla="*/ 37469 h 105402"/>
                <a:gd name="connsiteX75" fmla="*/ 36003 w 56855"/>
                <a:gd name="connsiteY75" fmla="*/ 37143 h 105402"/>
                <a:gd name="connsiteX76" fmla="*/ 41053 w 56855"/>
                <a:gd name="connsiteY76" fmla="*/ 34374 h 105402"/>
                <a:gd name="connsiteX77" fmla="*/ 40239 w 56855"/>
                <a:gd name="connsiteY77" fmla="*/ 32093 h 105402"/>
                <a:gd name="connsiteX78" fmla="*/ 38121 w 56855"/>
                <a:gd name="connsiteY78" fmla="*/ 31116 h 105402"/>
                <a:gd name="connsiteX79" fmla="*/ 34863 w 56855"/>
                <a:gd name="connsiteY79" fmla="*/ 25088 h 105402"/>
                <a:gd name="connsiteX80" fmla="*/ 32419 w 56855"/>
                <a:gd name="connsiteY80" fmla="*/ 25088 h 105402"/>
                <a:gd name="connsiteX81" fmla="*/ 30953 w 56855"/>
                <a:gd name="connsiteY81" fmla="*/ 20526 h 105402"/>
                <a:gd name="connsiteX82" fmla="*/ 29487 w 56855"/>
                <a:gd name="connsiteY82" fmla="*/ 18572 h 105402"/>
                <a:gd name="connsiteX83" fmla="*/ 29487 w 56855"/>
                <a:gd name="connsiteY83" fmla="*/ 15639 h 105402"/>
                <a:gd name="connsiteX84" fmla="*/ 22155 w 56855"/>
                <a:gd name="connsiteY84" fmla="*/ 12870 h 105402"/>
                <a:gd name="connsiteX85" fmla="*/ 20852 w 56855"/>
                <a:gd name="connsiteY85" fmla="*/ 14662 h 105402"/>
                <a:gd name="connsiteX86" fmla="*/ 17594 w 56855"/>
                <a:gd name="connsiteY86" fmla="*/ 13521 h 105402"/>
                <a:gd name="connsiteX87" fmla="*/ 17920 w 56855"/>
                <a:gd name="connsiteY87" fmla="*/ 11566 h 105402"/>
                <a:gd name="connsiteX88" fmla="*/ 12381 w 56855"/>
                <a:gd name="connsiteY88" fmla="*/ 9937 h 1054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</a:cxnLst>
              <a:rect l="l" t="t" r="r" b="b"/>
              <a:pathLst>
                <a:path w="56855" h="105402">
                  <a:moveTo>
                    <a:pt x="163" y="51316"/>
                  </a:moveTo>
                  <a:lnTo>
                    <a:pt x="977" y="45452"/>
                  </a:lnTo>
                  <a:lnTo>
                    <a:pt x="652" y="41053"/>
                  </a:lnTo>
                  <a:lnTo>
                    <a:pt x="3584" y="39750"/>
                  </a:lnTo>
                  <a:lnTo>
                    <a:pt x="3258" y="40890"/>
                  </a:lnTo>
                  <a:lnTo>
                    <a:pt x="1792" y="41542"/>
                  </a:lnTo>
                  <a:lnTo>
                    <a:pt x="2770" y="45452"/>
                  </a:lnTo>
                  <a:lnTo>
                    <a:pt x="0" y="51316"/>
                  </a:lnTo>
                  <a:lnTo>
                    <a:pt x="0" y="51316"/>
                  </a:lnTo>
                  <a:close/>
                  <a:moveTo>
                    <a:pt x="10100" y="7983"/>
                  </a:moveTo>
                  <a:lnTo>
                    <a:pt x="3421" y="3747"/>
                  </a:lnTo>
                  <a:lnTo>
                    <a:pt x="3421" y="652"/>
                  </a:lnTo>
                  <a:cubicBezTo>
                    <a:pt x="3421" y="652"/>
                    <a:pt x="11566" y="0"/>
                    <a:pt x="11566" y="0"/>
                  </a:cubicBezTo>
                  <a:lnTo>
                    <a:pt x="12870" y="977"/>
                  </a:lnTo>
                  <a:lnTo>
                    <a:pt x="10915" y="5376"/>
                  </a:lnTo>
                  <a:lnTo>
                    <a:pt x="9449" y="5702"/>
                  </a:lnTo>
                  <a:lnTo>
                    <a:pt x="9937" y="7820"/>
                  </a:lnTo>
                  <a:lnTo>
                    <a:pt x="9937" y="7820"/>
                  </a:lnTo>
                  <a:close/>
                  <a:moveTo>
                    <a:pt x="15802" y="2281"/>
                  </a:moveTo>
                  <a:lnTo>
                    <a:pt x="19549" y="3258"/>
                  </a:lnTo>
                  <a:lnTo>
                    <a:pt x="20527" y="7168"/>
                  </a:lnTo>
                  <a:lnTo>
                    <a:pt x="26391" y="10752"/>
                  </a:lnTo>
                  <a:lnTo>
                    <a:pt x="27369" y="13196"/>
                  </a:lnTo>
                  <a:lnTo>
                    <a:pt x="24925" y="11241"/>
                  </a:lnTo>
                  <a:lnTo>
                    <a:pt x="20689" y="11241"/>
                  </a:lnTo>
                  <a:cubicBezTo>
                    <a:pt x="20689" y="11241"/>
                    <a:pt x="18409" y="9286"/>
                    <a:pt x="18409" y="9286"/>
                  </a:cubicBezTo>
                  <a:lnTo>
                    <a:pt x="13196" y="7005"/>
                  </a:lnTo>
                  <a:lnTo>
                    <a:pt x="13521" y="5213"/>
                  </a:lnTo>
                  <a:lnTo>
                    <a:pt x="16454" y="4887"/>
                  </a:lnTo>
                  <a:lnTo>
                    <a:pt x="14988" y="3910"/>
                  </a:lnTo>
                  <a:lnTo>
                    <a:pt x="15965" y="2281"/>
                  </a:lnTo>
                  <a:lnTo>
                    <a:pt x="15965" y="2281"/>
                  </a:lnTo>
                  <a:close/>
                  <a:moveTo>
                    <a:pt x="11729" y="9775"/>
                  </a:moveTo>
                  <a:lnTo>
                    <a:pt x="11729" y="11241"/>
                  </a:lnTo>
                  <a:cubicBezTo>
                    <a:pt x="11729" y="11241"/>
                    <a:pt x="12544" y="12870"/>
                    <a:pt x="12544" y="12870"/>
                  </a:cubicBezTo>
                  <a:lnTo>
                    <a:pt x="11893" y="13847"/>
                  </a:lnTo>
                  <a:lnTo>
                    <a:pt x="10426" y="14173"/>
                  </a:lnTo>
                  <a:lnTo>
                    <a:pt x="11078" y="15965"/>
                  </a:lnTo>
                  <a:lnTo>
                    <a:pt x="10752" y="19386"/>
                  </a:lnTo>
                  <a:lnTo>
                    <a:pt x="8145" y="23948"/>
                  </a:lnTo>
                  <a:lnTo>
                    <a:pt x="6679" y="23296"/>
                  </a:lnTo>
                  <a:lnTo>
                    <a:pt x="3910" y="20852"/>
                  </a:lnTo>
                  <a:lnTo>
                    <a:pt x="652" y="20526"/>
                  </a:lnTo>
                  <a:lnTo>
                    <a:pt x="652" y="21830"/>
                  </a:lnTo>
                  <a:lnTo>
                    <a:pt x="3421" y="23133"/>
                  </a:lnTo>
                  <a:lnTo>
                    <a:pt x="4887" y="25414"/>
                  </a:lnTo>
                  <a:lnTo>
                    <a:pt x="3747" y="26717"/>
                  </a:lnTo>
                  <a:lnTo>
                    <a:pt x="5864" y="31604"/>
                  </a:lnTo>
                  <a:lnTo>
                    <a:pt x="5864" y="38609"/>
                  </a:lnTo>
                  <a:cubicBezTo>
                    <a:pt x="5864" y="38609"/>
                    <a:pt x="4236" y="41053"/>
                    <a:pt x="4236" y="41053"/>
                  </a:cubicBezTo>
                  <a:lnTo>
                    <a:pt x="2770" y="52457"/>
                  </a:lnTo>
                  <a:lnTo>
                    <a:pt x="3421" y="55715"/>
                  </a:lnTo>
                  <a:lnTo>
                    <a:pt x="2118" y="57018"/>
                  </a:lnTo>
                  <a:lnTo>
                    <a:pt x="4398" y="66630"/>
                  </a:lnTo>
                  <a:lnTo>
                    <a:pt x="3584" y="70214"/>
                  </a:lnTo>
                  <a:lnTo>
                    <a:pt x="7005" y="82432"/>
                  </a:lnTo>
                  <a:lnTo>
                    <a:pt x="11078" y="96116"/>
                  </a:lnTo>
                  <a:lnTo>
                    <a:pt x="14662" y="102144"/>
                  </a:lnTo>
                  <a:lnTo>
                    <a:pt x="20689" y="105402"/>
                  </a:lnTo>
                  <a:lnTo>
                    <a:pt x="25739" y="104099"/>
                  </a:lnTo>
                  <a:lnTo>
                    <a:pt x="34374" y="103122"/>
                  </a:lnTo>
                  <a:lnTo>
                    <a:pt x="42519" y="100678"/>
                  </a:lnTo>
                  <a:lnTo>
                    <a:pt x="50828" y="92044"/>
                  </a:lnTo>
                  <a:lnTo>
                    <a:pt x="54412" y="84713"/>
                  </a:lnTo>
                  <a:lnTo>
                    <a:pt x="56204" y="80151"/>
                  </a:lnTo>
                  <a:lnTo>
                    <a:pt x="55715" y="75916"/>
                  </a:lnTo>
                  <a:lnTo>
                    <a:pt x="56855" y="74449"/>
                  </a:lnTo>
                  <a:lnTo>
                    <a:pt x="56855" y="67444"/>
                  </a:lnTo>
                  <a:cubicBezTo>
                    <a:pt x="56855" y="67444"/>
                    <a:pt x="54575" y="64349"/>
                    <a:pt x="54575" y="64349"/>
                  </a:cubicBezTo>
                  <a:lnTo>
                    <a:pt x="55878" y="60439"/>
                  </a:lnTo>
                  <a:lnTo>
                    <a:pt x="51968" y="57181"/>
                  </a:lnTo>
                  <a:lnTo>
                    <a:pt x="47732" y="45777"/>
                  </a:lnTo>
                  <a:lnTo>
                    <a:pt x="44474" y="37795"/>
                  </a:lnTo>
                  <a:lnTo>
                    <a:pt x="40076" y="38447"/>
                  </a:lnTo>
                  <a:lnTo>
                    <a:pt x="40076" y="37469"/>
                  </a:lnTo>
                  <a:cubicBezTo>
                    <a:pt x="40076" y="37469"/>
                    <a:pt x="36003" y="37143"/>
                    <a:pt x="36003" y="37143"/>
                  </a:cubicBezTo>
                  <a:lnTo>
                    <a:pt x="41053" y="34374"/>
                  </a:lnTo>
                  <a:lnTo>
                    <a:pt x="40239" y="32093"/>
                  </a:lnTo>
                  <a:lnTo>
                    <a:pt x="38121" y="31116"/>
                  </a:lnTo>
                  <a:lnTo>
                    <a:pt x="34863" y="25088"/>
                  </a:lnTo>
                  <a:lnTo>
                    <a:pt x="32419" y="25088"/>
                  </a:lnTo>
                  <a:cubicBezTo>
                    <a:pt x="32419" y="25088"/>
                    <a:pt x="30953" y="20526"/>
                    <a:pt x="30953" y="20526"/>
                  </a:cubicBezTo>
                  <a:lnTo>
                    <a:pt x="29487" y="18572"/>
                  </a:lnTo>
                  <a:lnTo>
                    <a:pt x="29487" y="15639"/>
                  </a:lnTo>
                  <a:lnTo>
                    <a:pt x="22155" y="12870"/>
                  </a:lnTo>
                  <a:lnTo>
                    <a:pt x="20852" y="14662"/>
                  </a:lnTo>
                  <a:lnTo>
                    <a:pt x="17594" y="13521"/>
                  </a:lnTo>
                  <a:lnTo>
                    <a:pt x="17920" y="11566"/>
                  </a:lnTo>
                  <a:lnTo>
                    <a:pt x="12381" y="9937"/>
                  </a:lnTo>
                  <a:close/>
                </a:path>
              </a:pathLst>
            </a:custGeom>
            <a:solidFill>
              <a:schemeClr val="bg2"/>
            </a:solidFill>
            <a:ln w="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2" name="Forma livre: Forma 211">
              <a:extLst>
                <a:ext uri="{FF2B5EF4-FFF2-40B4-BE49-F238E27FC236}">
                  <a16:creationId xmlns:a16="http://schemas.microsoft.com/office/drawing/2014/main" id="{197CA80A-6B37-EDC3-5B25-25350DE861FD}"/>
                </a:ext>
              </a:extLst>
            </p:cNvPr>
            <p:cNvSpPr/>
            <p:nvPr/>
          </p:nvSpPr>
          <p:spPr>
            <a:xfrm>
              <a:off x="7772066" y="4019998"/>
              <a:ext cx="743435" cy="725085"/>
            </a:xfrm>
            <a:custGeom>
              <a:avLst/>
              <a:gdLst>
                <a:gd name="connsiteX0" fmla="*/ 231494 w 719406"/>
                <a:gd name="connsiteY0" fmla="*/ 20201 h 701649"/>
                <a:gd name="connsiteX1" fmla="*/ 233123 w 719406"/>
                <a:gd name="connsiteY1" fmla="*/ 23459 h 701649"/>
                <a:gd name="connsiteX2" fmla="*/ 233449 w 719406"/>
                <a:gd name="connsiteY2" fmla="*/ 27695 h 701649"/>
                <a:gd name="connsiteX3" fmla="*/ 240291 w 719406"/>
                <a:gd name="connsiteY3" fmla="*/ 31116 h 701649"/>
                <a:gd name="connsiteX4" fmla="*/ 239151 w 719406"/>
                <a:gd name="connsiteY4" fmla="*/ 41053 h 701649"/>
                <a:gd name="connsiteX5" fmla="*/ 241920 w 719406"/>
                <a:gd name="connsiteY5" fmla="*/ 45777 h 701649"/>
                <a:gd name="connsiteX6" fmla="*/ 240291 w 719406"/>
                <a:gd name="connsiteY6" fmla="*/ 48873 h 701649"/>
                <a:gd name="connsiteX7" fmla="*/ 243061 w 719406"/>
                <a:gd name="connsiteY7" fmla="*/ 50665 h 701649"/>
                <a:gd name="connsiteX8" fmla="*/ 246155 w 719406"/>
                <a:gd name="connsiteY8" fmla="*/ 55063 h 701649"/>
                <a:gd name="connsiteX9" fmla="*/ 246155 w 719406"/>
                <a:gd name="connsiteY9" fmla="*/ 58973 h 701649"/>
                <a:gd name="connsiteX10" fmla="*/ 248600 w 719406"/>
                <a:gd name="connsiteY10" fmla="*/ 59788 h 701649"/>
                <a:gd name="connsiteX11" fmla="*/ 250228 w 719406"/>
                <a:gd name="connsiteY11" fmla="*/ 65327 h 701649"/>
                <a:gd name="connsiteX12" fmla="*/ 255930 w 719406"/>
                <a:gd name="connsiteY12" fmla="*/ 68096 h 701649"/>
                <a:gd name="connsiteX13" fmla="*/ 258862 w 719406"/>
                <a:gd name="connsiteY13" fmla="*/ 63372 h 701649"/>
                <a:gd name="connsiteX14" fmla="*/ 264564 w 719406"/>
                <a:gd name="connsiteY14" fmla="*/ 63372 h 701649"/>
                <a:gd name="connsiteX15" fmla="*/ 267008 w 719406"/>
                <a:gd name="connsiteY15" fmla="*/ 66304 h 701649"/>
                <a:gd name="connsiteX16" fmla="*/ 272873 w 719406"/>
                <a:gd name="connsiteY16" fmla="*/ 67282 h 701649"/>
                <a:gd name="connsiteX17" fmla="*/ 277923 w 719406"/>
                <a:gd name="connsiteY17" fmla="*/ 72658 h 701649"/>
                <a:gd name="connsiteX18" fmla="*/ 281833 w 719406"/>
                <a:gd name="connsiteY18" fmla="*/ 73961 h 701649"/>
                <a:gd name="connsiteX19" fmla="*/ 284765 w 719406"/>
                <a:gd name="connsiteY19" fmla="*/ 79988 h 701649"/>
                <a:gd name="connsiteX20" fmla="*/ 289164 w 719406"/>
                <a:gd name="connsiteY20" fmla="*/ 80640 h 701649"/>
                <a:gd name="connsiteX21" fmla="*/ 290956 w 719406"/>
                <a:gd name="connsiteY21" fmla="*/ 84876 h 701649"/>
                <a:gd name="connsiteX22" fmla="*/ 291282 w 719406"/>
                <a:gd name="connsiteY22" fmla="*/ 84387 h 701649"/>
                <a:gd name="connsiteX23" fmla="*/ 291933 w 719406"/>
                <a:gd name="connsiteY23" fmla="*/ 93184 h 701649"/>
                <a:gd name="connsiteX24" fmla="*/ 287861 w 719406"/>
                <a:gd name="connsiteY24" fmla="*/ 106868 h 701649"/>
                <a:gd name="connsiteX25" fmla="*/ 287861 w 719406"/>
                <a:gd name="connsiteY25" fmla="*/ 115340 h 701649"/>
                <a:gd name="connsiteX26" fmla="*/ 281996 w 719406"/>
                <a:gd name="connsiteY26" fmla="*/ 124137 h 701649"/>
                <a:gd name="connsiteX27" fmla="*/ 283462 w 719406"/>
                <a:gd name="connsiteY27" fmla="*/ 130490 h 701649"/>
                <a:gd name="connsiteX28" fmla="*/ 289001 w 719406"/>
                <a:gd name="connsiteY28" fmla="*/ 130979 h 701649"/>
                <a:gd name="connsiteX29" fmla="*/ 293400 w 719406"/>
                <a:gd name="connsiteY29" fmla="*/ 134726 h 701649"/>
                <a:gd name="connsiteX30" fmla="*/ 297961 w 719406"/>
                <a:gd name="connsiteY30" fmla="*/ 134726 h 701649"/>
                <a:gd name="connsiteX31" fmla="*/ 302359 w 719406"/>
                <a:gd name="connsiteY31" fmla="*/ 137984 h 701649"/>
                <a:gd name="connsiteX32" fmla="*/ 311319 w 719406"/>
                <a:gd name="connsiteY32" fmla="*/ 140591 h 701649"/>
                <a:gd name="connsiteX33" fmla="*/ 323049 w 719406"/>
                <a:gd name="connsiteY33" fmla="*/ 148410 h 701649"/>
                <a:gd name="connsiteX34" fmla="*/ 330868 w 719406"/>
                <a:gd name="connsiteY34" fmla="*/ 158022 h 701649"/>
                <a:gd name="connsiteX35" fmla="*/ 340806 w 719406"/>
                <a:gd name="connsiteY35" fmla="*/ 160303 h 701649"/>
                <a:gd name="connsiteX36" fmla="*/ 345693 w 719406"/>
                <a:gd name="connsiteY36" fmla="*/ 163724 h 701649"/>
                <a:gd name="connsiteX37" fmla="*/ 352698 w 719406"/>
                <a:gd name="connsiteY37" fmla="*/ 163724 h 701649"/>
                <a:gd name="connsiteX38" fmla="*/ 361170 w 719406"/>
                <a:gd name="connsiteY38" fmla="*/ 169263 h 701649"/>
                <a:gd name="connsiteX39" fmla="*/ 374039 w 719406"/>
                <a:gd name="connsiteY39" fmla="*/ 168122 h 701649"/>
                <a:gd name="connsiteX40" fmla="*/ 378438 w 719406"/>
                <a:gd name="connsiteY40" fmla="*/ 172195 h 701649"/>
                <a:gd name="connsiteX41" fmla="*/ 391796 w 719406"/>
                <a:gd name="connsiteY41" fmla="*/ 168448 h 701649"/>
                <a:gd name="connsiteX42" fmla="*/ 404015 w 719406"/>
                <a:gd name="connsiteY42" fmla="*/ 171380 h 701649"/>
                <a:gd name="connsiteX43" fmla="*/ 405481 w 719406"/>
                <a:gd name="connsiteY43" fmla="*/ 178060 h 701649"/>
                <a:gd name="connsiteX44" fmla="*/ 412160 w 719406"/>
                <a:gd name="connsiteY44" fmla="*/ 183925 h 701649"/>
                <a:gd name="connsiteX45" fmla="*/ 425844 w 719406"/>
                <a:gd name="connsiteY45" fmla="*/ 187671 h 701649"/>
                <a:gd name="connsiteX46" fmla="*/ 430569 w 719406"/>
                <a:gd name="connsiteY46" fmla="*/ 185065 h 701649"/>
                <a:gd name="connsiteX47" fmla="*/ 439366 w 719406"/>
                <a:gd name="connsiteY47" fmla="*/ 184739 h 701649"/>
                <a:gd name="connsiteX48" fmla="*/ 461521 w 719406"/>
                <a:gd name="connsiteY48" fmla="*/ 192884 h 701649"/>
                <a:gd name="connsiteX49" fmla="*/ 467061 w 719406"/>
                <a:gd name="connsiteY49" fmla="*/ 189952 h 701649"/>
                <a:gd name="connsiteX50" fmla="*/ 476672 w 719406"/>
                <a:gd name="connsiteY50" fmla="*/ 195165 h 701649"/>
                <a:gd name="connsiteX51" fmla="*/ 492475 w 719406"/>
                <a:gd name="connsiteY51" fmla="*/ 191907 h 701649"/>
                <a:gd name="connsiteX52" fmla="*/ 494266 w 719406"/>
                <a:gd name="connsiteY52" fmla="*/ 180015 h 701649"/>
                <a:gd name="connsiteX53" fmla="*/ 489542 w 719406"/>
                <a:gd name="connsiteY53" fmla="*/ 170077 h 701649"/>
                <a:gd name="connsiteX54" fmla="*/ 491823 w 719406"/>
                <a:gd name="connsiteY54" fmla="*/ 157859 h 701649"/>
                <a:gd name="connsiteX55" fmla="*/ 490194 w 719406"/>
                <a:gd name="connsiteY55" fmla="*/ 152320 h 701649"/>
                <a:gd name="connsiteX56" fmla="*/ 490845 w 719406"/>
                <a:gd name="connsiteY56" fmla="*/ 152320 h 701649"/>
                <a:gd name="connsiteX57" fmla="*/ 495407 w 719406"/>
                <a:gd name="connsiteY57" fmla="*/ 148247 h 701649"/>
                <a:gd name="connsiteX58" fmla="*/ 501271 w 719406"/>
                <a:gd name="connsiteY58" fmla="*/ 147433 h 701649"/>
                <a:gd name="connsiteX59" fmla="*/ 504204 w 719406"/>
                <a:gd name="connsiteY59" fmla="*/ 152809 h 701649"/>
                <a:gd name="connsiteX60" fmla="*/ 504530 w 719406"/>
                <a:gd name="connsiteY60" fmla="*/ 159325 h 701649"/>
                <a:gd name="connsiteX61" fmla="*/ 509417 w 719406"/>
                <a:gd name="connsiteY61" fmla="*/ 163072 h 701649"/>
                <a:gd name="connsiteX62" fmla="*/ 509743 w 719406"/>
                <a:gd name="connsiteY62" fmla="*/ 163072 h 701649"/>
                <a:gd name="connsiteX63" fmla="*/ 509091 w 719406"/>
                <a:gd name="connsiteY63" fmla="*/ 168774 h 701649"/>
                <a:gd name="connsiteX64" fmla="*/ 507299 w 719406"/>
                <a:gd name="connsiteY64" fmla="*/ 173009 h 701649"/>
                <a:gd name="connsiteX65" fmla="*/ 512349 w 719406"/>
                <a:gd name="connsiteY65" fmla="*/ 180992 h 701649"/>
                <a:gd name="connsiteX66" fmla="*/ 520984 w 719406"/>
                <a:gd name="connsiteY66" fmla="*/ 182784 h 701649"/>
                <a:gd name="connsiteX67" fmla="*/ 524405 w 719406"/>
                <a:gd name="connsiteY67" fmla="*/ 180503 h 701649"/>
                <a:gd name="connsiteX68" fmla="*/ 536948 w 719406"/>
                <a:gd name="connsiteY68" fmla="*/ 187671 h 701649"/>
                <a:gd name="connsiteX69" fmla="*/ 543791 w 719406"/>
                <a:gd name="connsiteY69" fmla="*/ 187671 h 701649"/>
                <a:gd name="connsiteX70" fmla="*/ 549004 w 719406"/>
                <a:gd name="connsiteY70" fmla="*/ 181481 h 701649"/>
                <a:gd name="connsiteX71" fmla="*/ 554705 w 719406"/>
                <a:gd name="connsiteY71" fmla="*/ 180666 h 701649"/>
                <a:gd name="connsiteX72" fmla="*/ 560082 w 719406"/>
                <a:gd name="connsiteY72" fmla="*/ 183110 h 701649"/>
                <a:gd name="connsiteX73" fmla="*/ 569368 w 719406"/>
                <a:gd name="connsiteY73" fmla="*/ 180503 h 701649"/>
                <a:gd name="connsiteX74" fmla="*/ 576373 w 719406"/>
                <a:gd name="connsiteY74" fmla="*/ 180829 h 701649"/>
                <a:gd name="connsiteX75" fmla="*/ 586636 w 719406"/>
                <a:gd name="connsiteY75" fmla="*/ 177571 h 701649"/>
                <a:gd name="connsiteX76" fmla="*/ 586636 w 719406"/>
                <a:gd name="connsiteY76" fmla="*/ 173498 h 701649"/>
                <a:gd name="connsiteX77" fmla="*/ 586473 w 719406"/>
                <a:gd name="connsiteY77" fmla="*/ 166330 h 701649"/>
                <a:gd name="connsiteX78" fmla="*/ 578491 w 719406"/>
                <a:gd name="connsiteY78" fmla="*/ 162746 h 701649"/>
                <a:gd name="connsiteX79" fmla="*/ 577839 w 719406"/>
                <a:gd name="connsiteY79" fmla="*/ 157533 h 701649"/>
                <a:gd name="connsiteX80" fmla="*/ 579468 w 719406"/>
                <a:gd name="connsiteY80" fmla="*/ 151343 h 701649"/>
                <a:gd name="connsiteX81" fmla="*/ 582889 w 719406"/>
                <a:gd name="connsiteY81" fmla="*/ 151017 h 701649"/>
                <a:gd name="connsiteX82" fmla="*/ 592337 w 719406"/>
                <a:gd name="connsiteY82" fmla="*/ 148736 h 701649"/>
                <a:gd name="connsiteX83" fmla="*/ 596573 w 719406"/>
                <a:gd name="connsiteY83" fmla="*/ 148410 h 701649"/>
                <a:gd name="connsiteX84" fmla="*/ 599180 w 719406"/>
                <a:gd name="connsiteY84" fmla="*/ 142220 h 701649"/>
                <a:gd name="connsiteX85" fmla="*/ 602927 w 719406"/>
                <a:gd name="connsiteY85" fmla="*/ 139287 h 701649"/>
                <a:gd name="connsiteX86" fmla="*/ 606837 w 719406"/>
                <a:gd name="connsiteY86" fmla="*/ 140591 h 701649"/>
                <a:gd name="connsiteX87" fmla="*/ 606837 w 719406"/>
                <a:gd name="connsiteY87" fmla="*/ 137333 h 701649"/>
                <a:gd name="connsiteX88" fmla="*/ 612212 w 719406"/>
                <a:gd name="connsiteY88" fmla="*/ 135866 h 701649"/>
                <a:gd name="connsiteX89" fmla="*/ 614005 w 719406"/>
                <a:gd name="connsiteY89" fmla="*/ 130653 h 701649"/>
                <a:gd name="connsiteX90" fmla="*/ 618240 w 719406"/>
                <a:gd name="connsiteY90" fmla="*/ 125440 h 701649"/>
                <a:gd name="connsiteX91" fmla="*/ 623779 w 719406"/>
                <a:gd name="connsiteY91" fmla="*/ 124626 h 701649"/>
                <a:gd name="connsiteX92" fmla="*/ 633228 w 719406"/>
                <a:gd name="connsiteY92" fmla="*/ 122345 h 701649"/>
                <a:gd name="connsiteX93" fmla="*/ 638930 w 719406"/>
                <a:gd name="connsiteY93" fmla="*/ 115177 h 701649"/>
                <a:gd name="connsiteX94" fmla="*/ 638604 w 719406"/>
                <a:gd name="connsiteY94" fmla="*/ 109638 h 701649"/>
                <a:gd name="connsiteX95" fmla="*/ 642351 w 719406"/>
                <a:gd name="connsiteY95" fmla="*/ 108823 h 701649"/>
                <a:gd name="connsiteX96" fmla="*/ 648053 w 719406"/>
                <a:gd name="connsiteY96" fmla="*/ 104751 h 701649"/>
                <a:gd name="connsiteX97" fmla="*/ 652614 w 719406"/>
                <a:gd name="connsiteY97" fmla="*/ 111430 h 701649"/>
                <a:gd name="connsiteX98" fmla="*/ 659293 w 719406"/>
                <a:gd name="connsiteY98" fmla="*/ 109638 h 701649"/>
                <a:gd name="connsiteX99" fmla="*/ 669068 w 719406"/>
                <a:gd name="connsiteY99" fmla="*/ 112733 h 701649"/>
                <a:gd name="connsiteX100" fmla="*/ 671837 w 719406"/>
                <a:gd name="connsiteY100" fmla="*/ 110127 h 701649"/>
                <a:gd name="connsiteX101" fmla="*/ 671186 w 719406"/>
                <a:gd name="connsiteY101" fmla="*/ 105565 h 701649"/>
                <a:gd name="connsiteX102" fmla="*/ 682264 w 719406"/>
                <a:gd name="connsiteY102" fmla="*/ 99049 h 701649"/>
                <a:gd name="connsiteX103" fmla="*/ 686336 w 719406"/>
                <a:gd name="connsiteY103" fmla="*/ 100352 h 701649"/>
                <a:gd name="connsiteX104" fmla="*/ 689106 w 719406"/>
                <a:gd name="connsiteY104" fmla="*/ 104099 h 701649"/>
                <a:gd name="connsiteX105" fmla="*/ 692527 w 719406"/>
                <a:gd name="connsiteY105" fmla="*/ 103122 h 701649"/>
                <a:gd name="connsiteX106" fmla="*/ 693667 w 719406"/>
                <a:gd name="connsiteY106" fmla="*/ 105565 h 701649"/>
                <a:gd name="connsiteX107" fmla="*/ 689920 w 719406"/>
                <a:gd name="connsiteY107" fmla="*/ 112570 h 701649"/>
                <a:gd name="connsiteX108" fmla="*/ 691875 w 719406"/>
                <a:gd name="connsiteY108" fmla="*/ 116643 h 701649"/>
                <a:gd name="connsiteX109" fmla="*/ 694971 w 719406"/>
                <a:gd name="connsiteY109" fmla="*/ 115666 h 701649"/>
                <a:gd name="connsiteX110" fmla="*/ 698228 w 719406"/>
                <a:gd name="connsiteY110" fmla="*/ 114688 h 701649"/>
                <a:gd name="connsiteX111" fmla="*/ 699369 w 719406"/>
                <a:gd name="connsiteY111" fmla="*/ 118598 h 701649"/>
                <a:gd name="connsiteX112" fmla="*/ 703116 w 719406"/>
                <a:gd name="connsiteY112" fmla="*/ 123648 h 701649"/>
                <a:gd name="connsiteX113" fmla="*/ 703116 w 719406"/>
                <a:gd name="connsiteY113" fmla="*/ 127069 h 701649"/>
                <a:gd name="connsiteX114" fmla="*/ 699043 w 719406"/>
                <a:gd name="connsiteY114" fmla="*/ 131468 h 701649"/>
                <a:gd name="connsiteX115" fmla="*/ 700346 w 719406"/>
                <a:gd name="connsiteY115" fmla="*/ 135703 h 701649"/>
                <a:gd name="connsiteX116" fmla="*/ 705885 w 719406"/>
                <a:gd name="connsiteY116" fmla="*/ 136681 h 701649"/>
                <a:gd name="connsiteX117" fmla="*/ 708980 w 719406"/>
                <a:gd name="connsiteY117" fmla="*/ 135377 h 701649"/>
                <a:gd name="connsiteX118" fmla="*/ 713705 w 719406"/>
                <a:gd name="connsiteY118" fmla="*/ 137333 h 701649"/>
                <a:gd name="connsiteX119" fmla="*/ 718918 w 719406"/>
                <a:gd name="connsiteY119" fmla="*/ 142709 h 701649"/>
                <a:gd name="connsiteX120" fmla="*/ 719407 w 719406"/>
                <a:gd name="connsiteY120" fmla="*/ 146618 h 701649"/>
                <a:gd name="connsiteX121" fmla="*/ 714357 w 719406"/>
                <a:gd name="connsiteY121" fmla="*/ 151180 h 701649"/>
                <a:gd name="connsiteX122" fmla="*/ 714357 w 719406"/>
                <a:gd name="connsiteY122" fmla="*/ 158022 h 701649"/>
                <a:gd name="connsiteX123" fmla="*/ 715660 w 719406"/>
                <a:gd name="connsiteY123" fmla="*/ 162258 h 701649"/>
                <a:gd name="connsiteX124" fmla="*/ 710773 w 719406"/>
                <a:gd name="connsiteY124" fmla="*/ 159977 h 701649"/>
                <a:gd name="connsiteX125" fmla="*/ 706537 w 719406"/>
                <a:gd name="connsiteY125" fmla="*/ 156556 h 701649"/>
                <a:gd name="connsiteX126" fmla="*/ 699369 w 719406"/>
                <a:gd name="connsiteY126" fmla="*/ 161769 h 701649"/>
                <a:gd name="connsiteX127" fmla="*/ 691061 w 719406"/>
                <a:gd name="connsiteY127" fmla="*/ 164375 h 701649"/>
                <a:gd name="connsiteX128" fmla="*/ 688454 w 719406"/>
                <a:gd name="connsiteY128" fmla="*/ 170403 h 701649"/>
                <a:gd name="connsiteX129" fmla="*/ 682426 w 719406"/>
                <a:gd name="connsiteY129" fmla="*/ 177897 h 701649"/>
                <a:gd name="connsiteX130" fmla="*/ 676725 w 719406"/>
                <a:gd name="connsiteY130" fmla="*/ 179852 h 701649"/>
                <a:gd name="connsiteX131" fmla="*/ 668253 w 719406"/>
                <a:gd name="connsiteY131" fmla="*/ 193047 h 701649"/>
                <a:gd name="connsiteX132" fmla="*/ 666950 w 719406"/>
                <a:gd name="connsiteY132" fmla="*/ 199075 h 701649"/>
                <a:gd name="connsiteX133" fmla="*/ 669557 w 719406"/>
                <a:gd name="connsiteY133" fmla="*/ 202333 h 701649"/>
                <a:gd name="connsiteX134" fmla="*/ 666135 w 719406"/>
                <a:gd name="connsiteY134" fmla="*/ 212434 h 701649"/>
                <a:gd name="connsiteX135" fmla="*/ 658968 w 719406"/>
                <a:gd name="connsiteY135" fmla="*/ 224000 h 701649"/>
                <a:gd name="connsiteX136" fmla="*/ 659293 w 719406"/>
                <a:gd name="connsiteY136" fmla="*/ 227910 h 701649"/>
                <a:gd name="connsiteX137" fmla="*/ 665321 w 719406"/>
                <a:gd name="connsiteY137" fmla="*/ 230842 h 701649"/>
                <a:gd name="connsiteX138" fmla="*/ 659782 w 719406"/>
                <a:gd name="connsiteY138" fmla="*/ 244364 h 701649"/>
                <a:gd name="connsiteX139" fmla="*/ 657339 w 719406"/>
                <a:gd name="connsiteY139" fmla="*/ 255279 h 701649"/>
                <a:gd name="connsiteX140" fmla="*/ 653266 w 719406"/>
                <a:gd name="connsiteY140" fmla="*/ 264890 h 701649"/>
                <a:gd name="connsiteX141" fmla="*/ 646423 w 719406"/>
                <a:gd name="connsiteY141" fmla="*/ 264890 h 701649"/>
                <a:gd name="connsiteX142" fmla="*/ 642025 w 719406"/>
                <a:gd name="connsiteY142" fmla="*/ 263587 h 701649"/>
                <a:gd name="connsiteX143" fmla="*/ 636649 w 719406"/>
                <a:gd name="connsiteY143" fmla="*/ 263261 h 701649"/>
                <a:gd name="connsiteX144" fmla="*/ 639744 w 719406"/>
                <a:gd name="connsiteY144" fmla="*/ 275805 h 701649"/>
                <a:gd name="connsiteX145" fmla="*/ 639744 w 719406"/>
                <a:gd name="connsiteY145" fmla="*/ 282484 h 701649"/>
                <a:gd name="connsiteX146" fmla="*/ 638930 w 719406"/>
                <a:gd name="connsiteY146" fmla="*/ 291770 h 701649"/>
                <a:gd name="connsiteX147" fmla="*/ 633553 w 719406"/>
                <a:gd name="connsiteY147" fmla="*/ 290956 h 701649"/>
                <a:gd name="connsiteX148" fmla="*/ 634531 w 719406"/>
                <a:gd name="connsiteY148" fmla="*/ 297798 h 701649"/>
                <a:gd name="connsiteX149" fmla="*/ 633553 w 719406"/>
                <a:gd name="connsiteY149" fmla="*/ 303989 h 701649"/>
                <a:gd name="connsiteX150" fmla="*/ 634857 w 719406"/>
                <a:gd name="connsiteY150" fmla="*/ 309201 h 701649"/>
                <a:gd name="connsiteX151" fmla="*/ 631925 w 719406"/>
                <a:gd name="connsiteY151" fmla="*/ 317673 h 701649"/>
                <a:gd name="connsiteX152" fmla="*/ 629155 w 719406"/>
                <a:gd name="connsiteY152" fmla="*/ 319139 h 701649"/>
                <a:gd name="connsiteX153" fmla="*/ 626712 w 719406"/>
                <a:gd name="connsiteY153" fmla="*/ 317999 h 701649"/>
                <a:gd name="connsiteX154" fmla="*/ 625571 w 719406"/>
                <a:gd name="connsiteY154" fmla="*/ 322723 h 701649"/>
                <a:gd name="connsiteX155" fmla="*/ 625571 w 719406"/>
                <a:gd name="connsiteY155" fmla="*/ 325492 h 701649"/>
                <a:gd name="connsiteX156" fmla="*/ 624594 w 719406"/>
                <a:gd name="connsiteY156" fmla="*/ 324515 h 701649"/>
                <a:gd name="connsiteX157" fmla="*/ 623291 w 719406"/>
                <a:gd name="connsiteY157" fmla="*/ 322397 h 701649"/>
                <a:gd name="connsiteX158" fmla="*/ 623291 w 719406"/>
                <a:gd name="connsiteY158" fmla="*/ 319628 h 701649"/>
                <a:gd name="connsiteX159" fmla="*/ 621987 w 719406"/>
                <a:gd name="connsiteY159" fmla="*/ 317836 h 701649"/>
                <a:gd name="connsiteX160" fmla="*/ 620195 w 719406"/>
                <a:gd name="connsiteY160" fmla="*/ 313926 h 701649"/>
                <a:gd name="connsiteX161" fmla="*/ 618240 w 719406"/>
                <a:gd name="connsiteY161" fmla="*/ 307084 h 701649"/>
                <a:gd name="connsiteX162" fmla="*/ 616774 w 719406"/>
                <a:gd name="connsiteY162" fmla="*/ 296820 h 701649"/>
                <a:gd name="connsiteX163" fmla="*/ 614982 w 719406"/>
                <a:gd name="connsiteY163" fmla="*/ 292911 h 701649"/>
                <a:gd name="connsiteX164" fmla="*/ 614982 w 719406"/>
                <a:gd name="connsiteY164" fmla="*/ 287535 h 701649"/>
                <a:gd name="connsiteX165" fmla="*/ 613353 w 719406"/>
                <a:gd name="connsiteY165" fmla="*/ 280367 h 701649"/>
                <a:gd name="connsiteX166" fmla="*/ 611072 w 719406"/>
                <a:gd name="connsiteY166" fmla="*/ 276783 h 701649"/>
                <a:gd name="connsiteX167" fmla="*/ 609769 w 719406"/>
                <a:gd name="connsiteY167" fmla="*/ 274339 h 701649"/>
                <a:gd name="connsiteX168" fmla="*/ 605370 w 719406"/>
                <a:gd name="connsiteY168" fmla="*/ 274665 h 701649"/>
                <a:gd name="connsiteX169" fmla="*/ 602112 w 719406"/>
                <a:gd name="connsiteY169" fmla="*/ 272384 h 701649"/>
                <a:gd name="connsiteX170" fmla="*/ 599832 w 719406"/>
                <a:gd name="connsiteY170" fmla="*/ 274176 h 701649"/>
                <a:gd name="connsiteX171" fmla="*/ 601461 w 719406"/>
                <a:gd name="connsiteY171" fmla="*/ 276620 h 701649"/>
                <a:gd name="connsiteX172" fmla="*/ 599994 w 719406"/>
                <a:gd name="connsiteY172" fmla="*/ 278900 h 701649"/>
                <a:gd name="connsiteX173" fmla="*/ 599994 w 719406"/>
                <a:gd name="connsiteY173" fmla="*/ 281670 h 701649"/>
                <a:gd name="connsiteX174" fmla="*/ 597225 w 719406"/>
                <a:gd name="connsiteY174" fmla="*/ 285580 h 701649"/>
                <a:gd name="connsiteX175" fmla="*/ 598854 w 719406"/>
                <a:gd name="connsiteY175" fmla="*/ 286883 h 701649"/>
                <a:gd name="connsiteX176" fmla="*/ 598366 w 719406"/>
                <a:gd name="connsiteY176" fmla="*/ 290956 h 701649"/>
                <a:gd name="connsiteX177" fmla="*/ 595759 w 719406"/>
                <a:gd name="connsiteY177" fmla="*/ 290956 h 701649"/>
                <a:gd name="connsiteX178" fmla="*/ 591849 w 719406"/>
                <a:gd name="connsiteY178" fmla="*/ 285743 h 701649"/>
                <a:gd name="connsiteX179" fmla="*/ 587776 w 719406"/>
                <a:gd name="connsiteY179" fmla="*/ 281833 h 701649"/>
                <a:gd name="connsiteX180" fmla="*/ 586799 w 719406"/>
                <a:gd name="connsiteY180" fmla="*/ 279226 h 701649"/>
                <a:gd name="connsiteX181" fmla="*/ 584192 w 719406"/>
                <a:gd name="connsiteY181" fmla="*/ 276783 h 701649"/>
                <a:gd name="connsiteX182" fmla="*/ 581586 w 719406"/>
                <a:gd name="connsiteY182" fmla="*/ 269941 h 701649"/>
                <a:gd name="connsiteX183" fmla="*/ 581586 w 719406"/>
                <a:gd name="connsiteY183" fmla="*/ 266845 h 701649"/>
                <a:gd name="connsiteX184" fmla="*/ 583541 w 719406"/>
                <a:gd name="connsiteY184" fmla="*/ 265053 h 701649"/>
                <a:gd name="connsiteX185" fmla="*/ 584355 w 719406"/>
                <a:gd name="connsiteY185" fmla="*/ 261795 h 701649"/>
                <a:gd name="connsiteX186" fmla="*/ 589243 w 719406"/>
                <a:gd name="connsiteY186" fmla="*/ 258374 h 701649"/>
                <a:gd name="connsiteX187" fmla="*/ 591034 w 719406"/>
                <a:gd name="connsiteY187" fmla="*/ 260166 h 701649"/>
                <a:gd name="connsiteX188" fmla="*/ 593804 w 719406"/>
                <a:gd name="connsiteY188" fmla="*/ 260655 h 701649"/>
                <a:gd name="connsiteX189" fmla="*/ 595759 w 719406"/>
                <a:gd name="connsiteY189" fmla="*/ 258048 h 701649"/>
                <a:gd name="connsiteX190" fmla="*/ 595759 w 719406"/>
                <a:gd name="connsiteY190" fmla="*/ 254790 h 701649"/>
                <a:gd name="connsiteX191" fmla="*/ 598854 w 719406"/>
                <a:gd name="connsiteY191" fmla="*/ 253161 h 701649"/>
                <a:gd name="connsiteX192" fmla="*/ 602112 w 719406"/>
                <a:gd name="connsiteY192" fmla="*/ 244690 h 701649"/>
                <a:gd name="connsiteX193" fmla="*/ 603090 w 719406"/>
                <a:gd name="connsiteY193" fmla="*/ 238499 h 701649"/>
                <a:gd name="connsiteX194" fmla="*/ 605859 w 719406"/>
                <a:gd name="connsiteY194" fmla="*/ 233123 h 701649"/>
                <a:gd name="connsiteX195" fmla="*/ 603253 w 719406"/>
                <a:gd name="connsiteY195" fmla="*/ 231983 h 701649"/>
                <a:gd name="connsiteX196" fmla="*/ 598854 w 719406"/>
                <a:gd name="connsiteY196" fmla="*/ 227421 h 701649"/>
                <a:gd name="connsiteX197" fmla="*/ 595921 w 719406"/>
                <a:gd name="connsiteY197" fmla="*/ 228236 h 701649"/>
                <a:gd name="connsiteX198" fmla="*/ 594130 w 719406"/>
                <a:gd name="connsiteY198" fmla="*/ 226933 h 701649"/>
                <a:gd name="connsiteX199" fmla="*/ 589894 w 719406"/>
                <a:gd name="connsiteY199" fmla="*/ 227258 h 701649"/>
                <a:gd name="connsiteX200" fmla="*/ 581260 w 719406"/>
                <a:gd name="connsiteY200" fmla="*/ 227584 h 701649"/>
                <a:gd name="connsiteX201" fmla="*/ 573440 w 719406"/>
                <a:gd name="connsiteY201" fmla="*/ 226607 h 701649"/>
                <a:gd name="connsiteX202" fmla="*/ 563177 w 719406"/>
                <a:gd name="connsiteY202" fmla="*/ 227421 h 701649"/>
                <a:gd name="connsiteX203" fmla="*/ 556498 w 719406"/>
                <a:gd name="connsiteY203" fmla="*/ 227421 h 701649"/>
                <a:gd name="connsiteX204" fmla="*/ 551121 w 719406"/>
                <a:gd name="connsiteY204" fmla="*/ 224977 h 701649"/>
                <a:gd name="connsiteX205" fmla="*/ 546397 w 719406"/>
                <a:gd name="connsiteY205" fmla="*/ 225303 h 701649"/>
                <a:gd name="connsiteX206" fmla="*/ 541673 w 719406"/>
                <a:gd name="connsiteY206" fmla="*/ 223511 h 701649"/>
                <a:gd name="connsiteX207" fmla="*/ 541673 w 719406"/>
                <a:gd name="connsiteY207" fmla="*/ 219765 h 701649"/>
                <a:gd name="connsiteX208" fmla="*/ 539881 w 719406"/>
                <a:gd name="connsiteY208" fmla="*/ 214226 h 701649"/>
                <a:gd name="connsiteX209" fmla="*/ 539229 w 719406"/>
                <a:gd name="connsiteY209" fmla="*/ 211130 h 701649"/>
                <a:gd name="connsiteX210" fmla="*/ 538089 w 719406"/>
                <a:gd name="connsiteY210" fmla="*/ 205103 h 701649"/>
                <a:gd name="connsiteX211" fmla="*/ 534668 w 719406"/>
                <a:gd name="connsiteY211" fmla="*/ 198912 h 701649"/>
                <a:gd name="connsiteX212" fmla="*/ 532061 w 719406"/>
                <a:gd name="connsiteY212" fmla="*/ 199401 h 701649"/>
                <a:gd name="connsiteX213" fmla="*/ 531735 w 719406"/>
                <a:gd name="connsiteY213" fmla="*/ 201193 h 701649"/>
                <a:gd name="connsiteX214" fmla="*/ 526685 w 719406"/>
                <a:gd name="connsiteY214" fmla="*/ 199564 h 701649"/>
                <a:gd name="connsiteX215" fmla="*/ 524079 w 719406"/>
                <a:gd name="connsiteY215" fmla="*/ 196957 h 701649"/>
                <a:gd name="connsiteX216" fmla="*/ 520332 w 719406"/>
                <a:gd name="connsiteY216" fmla="*/ 193862 h 701649"/>
                <a:gd name="connsiteX217" fmla="*/ 518051 w 719406"/>
                <a:gd name="connsiteY217" fmla="*/ 193862 h 701649"/>
                <a:gd name="connsiteX218" fmla="*/ 516911 w 719406"/>
                <a:gd name="connsiteY218" fmla="*/ 196631 h 701649"/>
                <a:gd name="connsiteX219" fmla="*/ 520658 w 719406"/>
                <a:gd name="connsiteY219" fmla="*/ 198912 h 701649"/>
                <a:gd name="connsiteX220" fmla="*/ 518051 w 719406"/>
                <a:gd name="connsiteY220" fmla="*/ 200215 h 701649"/>
                <a:gd name="connsiteX221" fmla="*/ 512675 w 719406"/>
                <a:gd name="connsiteY221" fmla="*/ 199401 h 701649"/>
                <a:gd name="connsiteX222" fmla="*/ 508928 w 719406"/>
                <a:gd name="connsiteY222" fmla="*/ 194839 h 701649"/>
                <a:gd name="connsiteX223" fmla="*/ 508928 w 719406"/>
                <a:gd name="connsiteY223" fmla="*/ 192070 h 701649"/>
                <a:gd name="connsiteX224" fmla="*/ 505670 w 719406"/>
                <a:gd name="connsiteY224" fmla="*/ 187997 h 701649"/>
                <a:gd name="connsiteX225" fmla="*/ 503715 w 719406"/>
                <a:gd name="connsiteY225" fmla="*/ 185065 h 701649"/>
                <a:gd name="connsiteX226" fmla="*/ 502249 w 719406"/>
                <a:gd name="connsiteY226" fmla="*/ 188812 h 701649"/>
                <a:gd name="connsiteX227" fmla="*/ 499968 w 719406"/>
                <a:gd name="connsiteY227" fmla="*/ 188812 h 701649"/>
                <a:gd name="connsiteX228" fmla="*/ 500131 w 719406"/>
                <a:gd name="connsiteY228" fmla="*/ 192559 h 701649"/>
                <a:gd name="connsiteX229" fmla="*/ 502737 w 719406"/>
                <a:gd name="connsiteY229" fmla="*/ 194839 h 701649"/>
                <a:gd name="connsiteX230" fmla="*/ 500294 w 719406"/>
                <a:gd name="connsiteY230" fmla="*/ 201519 h 701649"/>
                <a:gd name="connsiteX231" fmla="*/ 495407 w 719406"/>
                <a:gd name="connsiteY231" fmla="*/ 207220 h 701649"/>
                <a:gd name="connsiteX232" fmla="*/ 494592 w 719406"/>
                <a:gd name="connsiteY232" fmla="*/ 213248 h 701649"/>
                <a:gd name="connsiteX233" fmla="*/ 506648 w 719406"/>
                <a:gd name="connsiteY233" fmla="*/ 217484 h 701649"/>
                <a:gd name="connsiteX234" fmla="*/ 511209 w 719406"/>
                <a:gd name="connsiteY234" fmla="*/ 215692 h 701649"/>
                <a:gd name="connsiteX235" fmla="*/ 517888 w 719406"/>
                <a:gd name="connsiteY235" fmla="*/ 216181 h 701649"/>
                <a:gd name="connsiteX236" fmla="*/ 516748 w 719406"/>
                <a:gd name="connsiteY236" fmla="*/ 219276 h 701649"/>
                <a:gd name="connsiteX237" fmla="*/ 518214 w 719406"/>
                <a:gd name="connsiteY237" fmla="*/ 225955 h 701649"/>
                <a:gd name="connsiteX238" fmla="*/ 514956 w 719406"/>
                <a:gd name="connsiteY238" fmla="*/ 228562 h 701649"/>
                <a:gd name="connsiteX239" fmla="*/ 511861 w 719406"/>
                <a:gd name="connsiteY239" fmla="*/ 227421 h 701649"/>
                <a:gd name="connsiteX240" fmla="*/ 508114 w 719406"/>
                <a:gd name="connsiteY240" fmla="*/ 229702 h 701649"/>
                <a:gd name="connsiteX241" fmla="*/ 505833 w 719406"/>
                <a:gd name="connsiteY241" fmla="*/ 236544 h 701649"/>
                <a:gd name="connsiteX242" fmla="*/ 501109 w 719406"/>
                <a:gd name="connsiteY242" fmla="*/ 237684 h 701649"/>
                <a:gd name="connsiteX243" fmla="*/ 501109 w 719406"/>
                <a:gd name="connsiteY243" fmla="*/ 247785 h 701649"/>
                <a:gd name="connsiteX244" fmla="*/ 506648 w 719406"/>
                <a:gd name="connsiteY244" fmla="*/ 254627 h 701649"/>
                <a:gd name="connsiteX245" fmla="*/ 513327 w 719406"/>
                <a:gd name="connsiteY245" fmla="*/ 257234 h 701649"/>
                <a:gd name="connsiteX246" fmla="*/ 519517 w 719406"/>
                <a:gd name="connsiteY246" fmla="*/ 265216 h 701649"/>
                <a:gd name="connsiteX247" fmla="*/ 519517 w 719406"/>
                <a:gd name="connsiteY247" fmla="*/ 273687 h 701649"/>
                <a:gd name="connsiteX248" fmla="*/ 521961 w 719406"/>
                <a:gd name="connsiteY248" fmla="*/ 280204 h 701649"/>
                <a:gd name="connsiteX249" fmla="*/ 520984 w 719406"/>
                <a:gd name="connsiteY249" fmla="*/ 284765 h 701649"/>
                <a:gd name="connsiteX250" fmla="*/ 522287 w 719406"/>
                <a:gd name="connsiteY250" fmla="*/ 292748 h 701649"/>
                <a:gd name="connsiteX251" fmla="*/ 529618 w 719406"/>
                <a:gd name="connsiteY251" fmla="*/ 303174 h 701649"/>
                <a:gd name="connsiteX252" fmla="*/ 529618 w 719406"/>
                <a:gd name="connsiteY252" fmla="*/ 310179 h 701649"/>
                <a:gd name="connsiteX253" fmla="*/ 531410 w 719406"/>
                <a:gd name="connsiteY253" fmla="*/ 314415 h 701649"/>
                <a:gd name="connsiteX254" fmla="*/ 532224 w 719406"/>
                <a:gd name="connsiteY254" fmla="*/ 322397 h 701649"/>
                <a:gd name="connsiteX255" fmla="*/ 531084 w 719406"/>
                <a:gd name="connsiteY255" fmla="*/ 322886 h 701649"/>
                <a:gd name="connsiteX256" fmla="*/ 534016 w 719406"/>
                <a:gd name="connsiteY256" fmla="*/ 328751 h 701649"/>
                <a:gd name="connsiteX257" fmla="*/ 531247 w 719406"/>
                <a:gd name="connsiteY257" fmla="*/ 333312 h 701649"/>
                <a:gd name="connsiteX258" fmla="*/ 527337 w 719406"/>
                <a:gd name="connsiteY258" fmla="*/ 329076 h 701649"/>
                <a:gd name="connsiteX259" fmla="*/ 527337 w 719406"/>
                <a:gd name="connsiteY259" fmla="*/ 331846 h 701649"/>
                <a:gd name="connsiteX260" fmla="*/ 524568 w 719406"/>
                <a:gd name="connsiteY260" fmla="*/ 330380 h 701649"/>
                <a:gd name="connsiteX261" fmla="*/ 522775 w 719406"/>
                <a:gd name="connsiteY261" fmla="*/ 324515 h 701649"/>
                <a:gd name="connsiteX262" fmla="*/ 521635 w 719406"/>
                <a:gd name="connsiteY262" fmla="*/ 321583 h 701649"/>
                <a:gd name="connsiteX263" fmla="*/ 520984 w 719406"/>
                <a:gd name="connsiteY263" fmla="*/ 323863 h 701649"/>
                <a:gd name="connsiteX264" fmla="*/ 520332 w 719406"/>
                <a:gd name="connsiteY264" fmla="*/ 326796 h 701649"/>
                <a:gd name="connsiteX265" fmla="*/ 519680 w 719406"/>
                <a:gd name="connsiteY265" fmla="*/ 325492 h 701649"/>
                <a:gd name="connsiteX266" fmla="*/ 518703 w 719406"/>
                <a:gd name="connsiteY266" fmla="*/ 327284 h 701649"/>
                <a:gd name="connsiteX267" fmla="*/ 514630 w 719406"/>
                <a:gd name="connsiteY267" fmla="*/ 327284 h 701649"/>
                <a:gd name="connsiteX268" fmla="*/ 514141 w 719406"/>
                <a:gd name="connsiteY268" fmla="*/ 328099 h 701649"/>
                <a:gd name="connsiteX269" fmla="*/ 509905 w 719406"/>
                <a:gd name="connsiteY269" fmla="*/ 326633 h 701649"/>
                <a:gd name="connsiteX270" fmla="*/ 508602 w 719406"/>
                <a:gd name="connsiteY270" fmla="*/ 320279 h 701649"/>
                <a:gd name="connsiteX271" fmla="*/ 509743 w 719406"/>
                <a:gd name="connsiteY271" fmla="*/ 316370 h 701649"/>
                <a:gd name="connsiteX272" fmla="*/ 505833 w 719406"/>
                <a:gd name="connsiteY272" fmla="*/ 312949 h 701649"/>
                <a:gd name="connsiteX273" fmla="*/ 501434 w 719406"/>
                <a:gd name="connsiteY273" fmla="*/ 312949 h 701649"/>
                <a:gd name="connsiteX274" fmla="*/ 501760 w 719406"/>
                <a:gd name="connsiteY274" fmla="*/ 314415 h 701649"/>
                <a:gd name="connsiteX275" fmla="*/ 504693 w 719406"/>
                <a:gd name="connsiteY275" fmla="*/ 315229 h 701649"/>
                <a:gd name="connsiteX276" fmla="*/ 506648 w 719406"/>
                <a:gd name="connsiteY276" fmla="*/ 317673 h 701649"/>
                <a:gd name="connsiteX277" fmla="*/ 505181 w 719406"/>
                <a:gd name="connsiteY277" fmla="*/ 319139 h 701649"/>
                <a:gd name="connsiteX278" fmla="*/ 503715 w 719406"/>
                <a:gd name="connsiteY278" fmla="*/ 322723 h 701649"/>
                <a:gd name="connsiteX279" fmla="*/ 503389 w 719406"/>
                <a:gd name="connsiteY279" fmla="*/ 326307 h 701649"/>
                <a:gd name="connsiteX280" fmla="*/ 499643 w 719406"/>
                <a:gd name="connsiteY280" fmla="*/ 330543 h 701649"/>
                <a:gd name="connsiteX281" fmla="*/ 483677 w 719406"/>
                <a:gd name="connsiteY281" fmla="*/ 336408 h 701649"/>
                <a:gd name="connsiteX282" fmla="*/ 480908 w 719406"/>
                <a:gd name="connsiteY282" fmla="*/ 338688 h 701649"/>
                <a:gd name="connsiteX283" fmla="*/ 479930 w 719406"/>
                <a:gd name="connsiteY283" fmla="*/ 342598 h 701649"/>
                <a:gd name="connsiteX284" fmla="*/ 477487 w 719406"/>
                <a:gd name="connsiteY284" fmla="*/ 347648 h 701649"/>
                <a:gd name="connsiteX285" fmla="*/ 478301 w 719406"/>
                <a:gd name="connsiteY285" fmla="*/ 350743 h 701649"/>
                <a:gd name="connsiteX286" fmla="*/ 481071 w 719406"/>
                <a:gd name="connsiteY286" fmla="*/ 356119 h 701649"/>
                <a:gd name="connsiteX287" fmla="*/ 480745 w 719406"/>
                <a:gd name="connsiteY287" fmla="*/ 357749 h 701649"/>
                <a:gd name="connsiteX288" fmla="*/ 482374 w 719406"/>
                <a:gd name="connsiteY288" fmla="*/ 358563 h 701649"/>
                <a:gd name="connsiteX289" fmla="*/ 476672 w 719406"/>
                <a:gd name="connsiteY289" fmla="*/ 363613 h 701649"/>
                <a:gd name="connsiteX290" fmla="*/ 475369 w 719406"/>
                <a:gd name="connsiteY290" fmla="*/ 368338 h 701649"/>
                <a:gd name="connsiteX291" fmla="*/ 472600 w 719406"/>
                <a:gd name="connsiteY291" fmla="*/ 368663 h 701649"/>
                <a:gd name="connsiteX292" fmla="*/ 473740 w 719406"/>
                <a:gd name="connsiteY292" fmla="*/ 371759 h 701649"/>
                <a:gd name="connsiteX293" fmla="*/ 464454 w 719406"/>
                <a:gd name="connsiteY293" fmla="*/ 378438 h 701649"/>
                <a:gd name="connsiteX294" fmla="*/ 463965 w 719406"/>
                <a:gd name="connsiteY294" fmla="*/ 381696 h 701649"/>
                <a:gd name="connsiteX295" fmla="*/ 450118 w 719406"/>
                <a:gd name="connsiteY295" fmla="*/ 388864 h 701649"/>
                <a:gd name="connsiteX296" fmla="*/ 448652 w 719406"/>
                <a:gd name="connsiteY296" fmla="*/ 386909 h 701649"/>
                <a:gd name="connsiteX297" fmla="*/ 448652 w 719406"/>
                <a:gd name="connsiteY297" fmla="*/ 384303 h 701649"/>
                <a:gd name="connsiteX298" fmla="*/ 447511 w 719406"/>
                <a:gd name="connsiteY298" fmla="*/ 383000 h 701649"/>
                <a:gd name="connsiteX299" fmla="*/ 445557 w 719406"/>
                <a:gd name="connsiteY299" fmla="*/ 383000 h 701649"/>
                <a:gd name="connsiteX300" fmla="*/ 441158 w 719406"/>
                <a:gd name="connsiteY300" fmla="*/ 386421 h 701649"/>
                <a:gd name="connsiteX301" fmla="*/ 438389 w 719406"/>
                <a:gd name="connsiteY301" fmla="*/ 386746 h 701649"/>
                <a:gd name="connsiteX302" fmla="*/ 437248 w 719406"/>
                <a:gd name="connsiteY302" fmla="*/ 393589 h 701649"/>
                <a:gd name="connsiteX303" fmla="*/ 441321 w 719406"/>
                <a:gd name="connsiteY303" fmla="*/ 391959 h 701649"/>
                <a:gd name="connsiteX304" fmla="*/ 442624 w 719406"/>
                <a:gd name="connsiteY304" fmla="*/ 390167 h 701649"/>
                <a:gd name="connsiteX305" fmla="*/ 444905 w 719406"/>
                <a:gd name="connsiteY305" fmla="*/ 391308 h 701649"/>
                <a:gd name="connsiteX306" fmla="*/ 427473 w 719406"/>
                <a:gd name="connsiteY306" fmla="*/ 406784 h 701649"/>
                <a:gd name="connsiteX307" fmla="*/ 423075 w 719406"/>
                <a:gd name="connsiteY307" fmla="*/ 419002 h 701649"/>
                <a:gd name="connsiteX308" fmla="*/ 400268 w 719406"/>
                <a:gd name="connsiteY308" fmla="*/ 437411 h 701649"/>
                <a:gd name="connsiteX309" fmla="*/ 396846 w 719406"/>
                <a:gd name="connsiteY309" fmla="*/ 443927 h 701649"/>
                <a:gd name="connsiteX310" fmla="*/ 391634 w 719406"/>
                <a:gd name="connsiteY310" fmla="*/ 449141 h 701649"/>
                <a:gd name="connsiteX311" fmla="*/ 382022 w 719406"/>
                <a:gd name="connsiteY311" fmla="*/ 452399 h 701649"/>
                <a:gd name="connsiteX312" fmla="*/ 374854 w 719406"/>
                <a:gd name="connsiteY312" fmla="*/ 458426 h 701649"/>
                <a:gd name="connsiteX313" fmla="*/ 374039 w 719406"/>
                <a:gd name="connsiteY313" fmla="*/ 463802 h 701649"/>
                <a:gd name="connsiteX314" fmla="*/ 375017 w 719406"/>
                <a:gd name="connsiteY314" fmla="*/ 469830 h 701649"/>
                <a:gd name="connsiteX315" fmla="*/ 370781 w 719406"/>
                <a:gd name="connsiteY315" fmla="*/ 476021 h 701649"/>
                <a:gd name="connsiteX316" fmla="*/ 364753 w 719406"/>
                <a:gd name="connsiteY316" fmla="*/ 479930 h 701649"/>
                <a:gd name="connsiteX317" fmla="*/ 353350 w 719406"/>
                <a:gd name="connsiteY317" fmla="*/ 478138 h 701649"/>
                <a:gd name="connsiteX318" fmla="*/ 348300 w 719406"/>
                <a:gd name="connsiteY318" fmla="*/ 482374 h 701649"/>
                <a:gd name="connsiteX319" fmla="*/ 348300 w 719406"/>
                <a:gd name="connsiteY319" fmla="*/ 487750 h 701649"/>
                <a:gd name="connsiteX320" fmla="*/ 341295 w 719406"/>
                <a:gd name="connsiteY320" fmla="*/ 496710 h 701649"/>
                <a:gd name="connsiteX321" fmla="*/ 337385 w 719406"/>
                <a:gd name="connsiteY321" fmla="*/ 496384 h 701649"/>
                <a:gd name="connsiteX322" fmla="*/ 334616 w 719406"/>
                <a:gd name="connsiteY322" fmla="*/ 492474 h 701649"/>
                <a:gd name="connsiteX323" fmla="*/ 332498 w 719406"/>
                <a:gd name="connsiteY323" fmla="*/ 492474 h 701649"/>
                <a:gd name="connsiteX324" fmla="*/ 324026 w 719406"/>
                <a:gd name="connsiteY324" fmla="*/ 500946 h 701649"/>
                <a:gd name="connsiteX325" fmla="*/ 321583 w 719406"/>
                <a:gd name="connsiteY325" fmla="*/ 505670 h 701649"/>
                <a:gd name="connsiteX326" fmla="*/ 321583 w 719406"/>
                <a:gd name="connsiteY326" fmla="*/ 514793 h 701649"/>
                <a:gd name="connsiteX327" fmla="*/ 325981 w 719406"/>
                <a:gd name="connsiteY327" fmla="*/ 527337 h 701649"/>
                <a:gd name="connsiteX328" fmla="*/ 321909 w 719406"/>
                <a:gd name="connsiteY328" fmla="*/ 532061 h 701649"/>
                <a:gd name="connsiteX329" fmla="*/ 322723 w 719406"/>
                <a:gd name="connsiteY329" fmla="*/ 539066 h 701649"/>
                <a:gd name="connsiteX330" fmla="*/ 322723 w 719406"/>
                <a:gd name="connsiteY330" fmla="*/ 558778 h 701649"/>
                <a:gd name="connsiteX331" fmla="*/ 329077 w 719406"/>
                <a:gd name="connsiteY331" fmla="*/ 560896 h 701649"/>
                <a:gd name="connsiteX332" fmla="*/ 330054 w 719406"/>
                <a:gd name="connsiteY332" fmla="*/ 573440 h 701649"/>
                <a:gd name="connsiteX333" fmla="*/ 324189 w 719406"/>
                <a:gd name="connsiteY333" fmla="*/ 590220 h 701649"/>
                <a:gd name="connsiteX334" fmla="*/ 317673 w 719406"/>
                <a:gd name="connsiteY334" fmla="*/ 601949 h 701649"/>
                <a:gd name="connsiteX335" fmla="*/ 317673 w 719406"/>
                <a:gd name="connsiteY335" fmla="*/ 611887 h 701649"/>
                <a:gd name="connsiteX336" fmla="*/ 320116 w 719406"/>
                <a:gd name="connsiteY336" fmla="*/ 615797 h 701649"/>
                <a:gd name="connsiteX337" fmla="*/ 322071 w 719406"/>
                <a:gd name="connsiteY337" fmla="*/ 637138 h 701649"/>
                <a:gd name="connsiteX338" fmla="*/ 322071 w 719406"/>
                <a:gd name="connsiteY338" fmla="*/ 643002 h 701649"/>
                <a:gd name="connsiteX339" fmla="*/ 317184 w 719406"/>
                <a:gd name="connsiteY339" fmla="*/ 644794 h 701649"/>
                <a:gd name="connsiteX340" fmla="*/ 314578 w 719406"/>
                <a:gd name="connsiteY340" fmla="*/ 643491 h 701649"/>
                <a:gd name="connsiteX341" fmla="*/ 307898 w 719406"/>
                <a:gd name="connsiteY341" fmla="*/ 644632 h 701649"/>
                <a:gd name="connsiteX342" fmla="*/ 304966 w 719406"/>
                <a:gd name="connsiteY342" fmla="*/ 649682 h 701649"/>
                <a:gd name="connsiteX343" fmla="*/ 306269 w 719406"/>
                <a:gd name="connsiteY343" fmla="*/ 651800 h 701649"/>
                <a:gd name="connsiteX344" fmla="*/ 299753 w 719406"/>
                <a:gd name="connsiteY344" fmla="*/ 660597 h 701649"/>
                <a:gd name="connsiteX345" fmla="*/ 297472 w 719406"/>
                <a:gd name="connsiteY345" fmla="*/ 663529 h 701649"/>
                <a:gd name="connsiteX346" fmla="*/ 298287 w 719406"/>
                <a:gd name="connsiteY346" fmla="*/ 666787 h 701649"/>
                <a:gd name="connsiteX347" fmla="*/ 306595 w 719406"/>
                <a:gd name="connsiteY347" fmla="*/ 671023 h 701649"/>
                <a:gd name="connsiteX348" fmla="*/ 307573 w 719406"/>
                <a:gd name="connsiteY348" fmla="*/ 672489 h 701649"/>
                <a:gd name="connsiteX349" fmla="*/ 307573 w 719406"/>
                <a:gd name="connsiteY349" fmla="*/ 674281 h 701649"/>
                <a:gd name="connsiteX350" fmla="*/ 306595 w 719406"/>
                <a:gd name="connsiteY350" fmla="*/ 672000 h 701649"/>
                <a:gd name="connsiteX351" fmla="*/ 302685 w 719406"/>
                <a:gd name="connsiteY351" fmla="*/ 670534 h 701649"/>
                <a:gd name="connsiteX352" fmla="*/ 291770 w 719406"/>
                <a:gd name="connsiteY352" fmla="*/ 674281 h 701649"/>
                <a:gd name="connsiteX353" fmla="*/ 289978 w 719406"/>
                <a:gd name="connsiteY353" fmla="*/ 674281 h 701649"/>
                <a:gd name="connsiteX354" fmla="*/ 281018 w 719406"/>
                <a:gd name="connsiteY354" fmla="*/ 678028 h 701649"/>
                <a:gd name="connsiteX355" fmla="*/ 278086 w 719406"/>
                <a:gd name="connsiteY355" fmla="*/ 682752 h 701649"/>
                <a:gd name="connsiteX356" fmla="*/ 277760 w 719406"/>
                <a:gd name="connsiteY356" fmla="*/ 685522 h 701649"/>
                <a:gd name="connsiteX357" fmla="*/ 276620 w 719406"/>
                <a:gd name="connsiteY357" fmla="*/ 686662 h 701649"/>
                <a:gd name="connsiteX358" fmla="*/ 277760 w 719406"/>
                <a:gd name="connsiteY358" fmla="*/ 688617 h 701649"/>
                <a:gd name="connsiteX359" fmla="*/ 275479 w 719406"/>
                <a:gd name="connsiteY359" fmla="*/ 695459 h 701649"/>
                <a:gd name="connsiteX360" fmla="*/ 265379 w 719406"/>
                <a:gd name="connsiteY360" fmla="*/ 701650 h 701649"/>
                <a:gd name="connsiteX361" fmla="*/ 257071 w 719406"/>
                <a:gd name="connsiteY361" fmla="*/ 700835 h 701649"/>
                <a:gd name="connsiteX362" fmla="*/ 249414 w 719406"/>
                <a:gd name="connsiteY362" fmla="*/ 695459 h 701649"/>
                <a:gd name="connsiteX363" fmla="*/ 241920 w 719406"/>
                <a:gd name="connsiteY363" fmla="*/ 686499 h 701649"/>
                <a:gd name="connsiteX364" fmla="*/ 232797 w 719406"/>
                <a:gd name="connsiteY364" fmla="*/ 667602 h 701649"/>
                <a:gd name="connsiteX365" fmla="*/ 232146 w 719406"/>
                <a:gd name="connsiteY365" fmla="*/ 657013 h 701649"/>
                <a:gd name="connsiteX366" fmla="*/ 229376 w 719406"/>
                <a:gd name="connsiteY366" fmla="*/ 647401 h 701649"/>
                <a:gd name="connsiteX367" fmla="*/ 223511 w 719406"/>
                <a:gd name="connsiteY367" fmla="*/ 636812 h 701649"/>
                <a:gd name="connsiteX368" fmla="*/ 223511 w 719406"/>
                <a:gd name="connsiteY368" fmla="*/ 631925 h 701649"/>
                <a:gd name="connsiteX369" fmla="*/ 221393 w 719406"/>
                <a:gd name="connsiteY369" fmla="*/ 631925 h 701649"/>
                <a:gd name="connsiteX370" fmla="*/ 218950 w 719406"/>
                <a:gd name="connsiteY370" fmla="*/ 624594 h 701649"/>
                <a:gd name="connsiteX371" fmla="*/ 216669 w 719406"/>
                <a:gd name="connsiteY371" fmla="*/ 615959 h 701649"/>
                <a:gd name="connsiteX372" fmla="*/ 209175 w 719406"/>
                <a:gd name="connsiteY372" fmla="*/ 607325 h 701649"/>
                <a:gd name="connsiteX373" fmla="*/ 204777 w 719406"/>
                <a:gd name="connsiteY373" fmla="*/ 600157 h 701649"/>
                <a:gd name="connsiteX374" fmla="*/ 202822 w 719406"/>
                <a:gd name="connsiteY374" fmla="*/ 600157 h 701649"/>
                <a:gd name="connsiteX375" fmla="*/ 195817 w 719406"/>
                <a:gd name="connsiteY375" fmla="*/ 592664 h 701649"/>
                <a:gd name="connsiteX376" fmla="*/ 192721 w 719406"/>
                <a:gd name="connsiteY376" fmla="*/ 586147 h 701649"/>
                <a:gd name="connsiteX377" fmla="*/ 190441 w 719406"/>
                <a:gd name="connsiteY377" fmla="*/ 584029 h 701649"/>
                <a:gd name="connsiteX378" fmla="*/ 189626 w 719406"/>
                <a:gd name="connsiteY378" fmla="*/ 573440 h 701649"/>
                <a:gd name="connsiteX379" fmla="*/ 186694 w 719406"/>
                <a:gd name="connsiteY379" fmla="*/ 569042 h 701649"/>
                <a:gd name="connsiteX380" fmla="*/ 182295 w 719406"/>
                <a:gd name="connsiteY380" fmla="*/ 557475 h 701649"/>
                <a:gd name="connsiteX381" fmla="*/ 180992 w 719406"/>
                <a:gd name="connsiteY381" fmla="*/ 549493 h 701649"/>
                <a:gd name="connsiteX382" fmla="*/ 178223 w 719406"/>
                <a:gd name="connsiteY382" fmla="*/ 543954 h 701649"/>
                <a:gd name="connsiteX383" fmla="*/ 175453 w 719406"/>
                <a:gd name="connsiteY383" fmla="*/ 539881 h 701649"/>
                <a:gd name="connsiteX384" fmla="*/ 174802 w 719406"/>
                <a:gd name="connsiteY384" fmla="*/ 530595 h 701649"/>
                <a:gd name="connsiteX385" fmla="*/ 173335 w 719406"/>
                <a:gd name="connsiteY385" fmla="*/ 530269 h 701649"/>
                <a:gd name="connsiteX386" fmla="*/ 166819 w 719406"/>
                <a:gd name="connsiteY386" fmla="*/ 522775 h 701649"/>
                <a:gd name="connsiteX387" fmla="*/ 166819 w 719406"/>
                <a:gd name="connsiteY387" fmla="*/ 519843 h 701649"/>
                <a:gd name="connsiteX388" fmla="*/ 165027 w 719406"/>
                <a:gd name="connsiteY388" fmla="*/ 519517 h 701649"/>
                <a:gd name="connsiteX389" fmla="*/ 158999 w 719406"/>
                <a:gd name="connsiteY389" fmla="*/ 508602 h 701649"/>
                <a:gd name="connsiteX390" fmla="*/ 158999 w 719406"/>
                <a:gd name="connsiteY390" fmla="*/ 505344 h 701649"/>
                <a:gd name="connsiteX391" fmla="*/ 155578 w 719406"/>
                <a:gd name="connsiteY391" fmla="*/ 503389 h 701649"/>
                <a:gd name="connsiteX392" fmla="*/ 153623 w 719406"/>
                <a:gd name="connsiteY392" fmla="*/ 495895 h 701649"/>
                <a:gd name="connsiteX393" fmla="*/ 149388 w 719406"/>
                <a:gd name="connsiteY393" fmla="*/ 493126 h 701649"/>
                <a:gd name="connsiteX394" fmla="*/ 145315 w 719406"/>
                <a:gd name="connsiteY394" fmla="*/ 482048 h 701649"/>
                <a:gd name="connsiteX395" fmla="*/ 145315 w 719406"/>
                <a:gd name="connsiteY395" fmla="*/ 467712 h 701649"/>
                <a:gd name="connsiteX396" fmla="*/ 134237 w 719406"/>
                <a:gd name="connsiteY396" fmla="*/ 446697 h 701649"/>
                <a:gd name="connsiteX397" fmla="*/ 134237 w 719406"/>
                <a:gd name="connsiteY397" fmla="*/ 439692 h 701649"/>
                <a:gd name="connsiteX398" fmla="*/ 129350 w 719406"/>
                <a:gd name="connsiteY398" fmla="*/ 432361 h 701649"/>
                <a:gd name="connsiteX399" fmla="*/ 134889 w 719406"/>
                <a:gd name="connsiteY399" fmla="*/ 432035 h 701649"/>
                <a:gd name="connsiteX400" fmla="*/ 127395 w 719406"/>
                <a:gd name="connsiteY400" fmla="*/ 422424 h 701649"/>
                <a:gd name="connsiteX401" fmla="*/ 127395 w 719406"/>
                <a:gd name="connsiteY401" fmla="*/ 417048 h 701649"/>
                <a:gd name="connsiteX402" fmla="*/ 131142 w 719406"/>
                <a:gd name="connsiteY402" fmla="*/ 416233 h 701649"/>
                <a:gd name="connsiteX403" fmla="*/ 128372 w 719406"/>
                <a:gd name="connsiteY403" fmla="*/ 412486 h 701649"/>
                <a:gd name="connsiteX404" fmla="*/ 128046 w 719406"/>
                <a:gd name="connsiteY404" fmla="*/ 407762 h 701649"/>
                <a:gd name="connsiteX405" fmla="*/ 120390 w 719406"/>
                <a:gd name="connsiteY405" fmla="*/ 393914 h 701649"/>
                <a:gd name="connsiteX406" fmla="*/ 119250 w 719406"/>
                <a:gd name="connsiteY406" fmla="*/ 385280 h 701649"/>
                <a:gd name="connsiteX407" fmla="*/ 123974 w 719406"/>
                <a:gd name="connsiteY407" fmla="*/ 383000 h 701649"/>
                <a:gd name="connsiteX408" fmla="*/ 119901 w 719406"/>
                <a:gd name="connsiteY408" fmla="*/ 380719 h 701649"/>
                <a:gd name="connsiteX409" fmla="*/ 119901 w 719406"/>
                <a:gd name="connsiteY409" fmla="*/ 376320 h 701649"/>
                <a:gd name="connsiteX410" fmla="*/ 122345 w 719406"/>
                <a:gd name="connsiteY410" fmla="*/ 370455 h 701649"/>
                <a:gd name="connsiteX411" fmla="*/ 121856 w 719406"/>
                <a:gd name="connsiteY411" fmla="*/ 363125 h 701649"/>
                <a:gd name="connsiteX412" fmla="*/ 119412 w 719406"/>
                <a:gd name="connsiteY412" fmla="*/ 355631 h 701649"/>
                <a:gd name="connsiteX413" fmla="*/ 116480 w 719406"/>
                <a:gd name="connsiteY413" fmla="*/ 353676 h 701649"/>
                <a:gd name="connsiteX414" fmla="*/ 114199 w 719406"/>
                <a:gd name="connsiteY414" fmla="*/ 341621 h 701649"/>
                <a:gd name="connsiteX415" fmla="*/ 119738 w 719406"/>
                <a:gd name="connsiteY415" fmla="*/ 338200 h 701649"/>
                <a:gd name="connsiteX416" fmla="*/ 121693 w 719406"/>
                <a:gd name="connsiteY416" fmla="*/ 335267 h 701649"/>
                <a:gd name="connsiteX417" fmla="*/ 125766 w 719406"/>
                <a:gd name="connsiteY417" fmla="*/ 335267 h 701649"/>
                <a:gd name="connsiteX418" fmla="*/ 121368 w 719406"/>
                <a:gd name="connsiteY418" fmla="*/ 334290 h 701649"/>
                <a:gd name="connsiteX419" fmla="*/ 115339 w 719406"/>
                <a:gd name="connsiteY419" fmla="*/ 335104 h 701649"/>
                <a:gd name="connsiteX420" fmla="*/ 112082 w 719406"/>
                <a:gd name="connsiteY420" fmla="*/ 335104 h 701649"/>
                <a:gd name="connsiteX421" fmla="*/ 112733 w 719406"/>
                <a:gd name="connsiteY421" fmla="*/ 330054 h 701649"/>
                <a:gd name="connsiteX422" fmla="*/ 110289 w 719406"/>
                <a:gd name="connsiteY422" fmla="*/ 325818 h 701649"/>
                <a:gd name="connsiteX423" fmla="*/ 111104 w 719406"/>
                <a:gd name="connsiteY423" fmla="*/ 320768 h 701649"/>
                <a:gd name="connsiteX424" fmla="*/ 112407 w 719406"/>
                <a:gd name="connsiteY424" fmla="*/ 319628 h 701649"/>
                <a:gd name="connsiteX425" fmla="*/ 115828 w 719406"/>
                <a:gd name="connsiteY425" fmla="*/ 320442 h 701649"/>
                <a:gd name="connsiteX426" fmla="*/ 120064 w 719406"/>
                <a:gd name="connsiteY426" fmla="*/ 316207 h 701649"/>
                <a:gd name="connsiteX427" fmla="*/ 122019 w 719406"/>
                <a:gd name="connsiteY427" fmla="*/ 312949 h 701649"/>
                <a:gd name="connsiteX428" fmla="*/ 117457 w 719406"/>
                <a:gd name="connsiteY428" fmla="*/ 315718 h 701649"/>
                <a:gd name="connsiteX429" fmla="*/ 114362 w 719406"/>
                <a:gd name="connsiteY429" fmla="*/ 314252 h 701649"/>
                <a:gd name="connsiteX430" fmla="*/ 108171 w 719406"/>
                <a:gd name="connsiteY430" fmla="*/ 315066 h 701649"/>
                <a:gd name="connsiteX431" fmla="*/ 106217 w 719406"/>
                <a:gd name="connsiteY431" fmla="*/ 310994 h 701649"/>
                <a:gd name="connsiteX432" fmla="*/ 105565 w 719406"/>
                <a:gd name="connsiteY432" fmla="*/ 314252 h 701649"/>
                <a:gd name="connsiteX433" fmla="*/ 105239 w 719406"/>
                <a:gd name="connsiteY433" fmla="*/ 319302 h 701649"/>
                <a:gd name="connsiteX434" fmla="*/ 101493 w 719406"/>
                <a:gd name="connsiteY434" fmla="*/ 329076 h 701649"/>
                <a:gd name="connsiteX435" fmla="*/ 105239 w 719406"/>
                <a:gd name="connsiteY435" fmla="*/ 333801 h 701649"/>
                <a:gd name="connsiteX436" fmla="*/ 104425 w 719406"/>
                <a:gd name="connsiteY436" fmla="*/ 342924 h 701649"/>
                <a:gd name="connsiteX437" fmla="*/ 100515 w 719406"/>
                <a:gd name="connsiteY437" fmla="*/ 346997 h 701649"/>
                <a:gd name="connsiteX438" fmla="*/ 100515 w 719406"/>
                <a:gd name="connsiteY438" fmla="*/ 349766 h 701649"/>
                <a:gd name="connsiteX439" fmla="*/ 91718 w 719406"/>
                <a:gd name="connsiteY439" fmla="*/ 354165 h 701649"/>
                <a:gd name="connsiteX440" fmla="*/ 78522 w 719406"/>
                <a:gd name="connsiteY440" fmla="*/ 362310 h 701649"/>
                <a:gd name="connsiteX441" fmla="*/ 72332 w 719406"/>
                <a:gd name="connsiteY441" fmla="*/ 364428 h 701649"/>
                <a:gd name="connsiteX442" fmla="*/ 63046 w 719406"/>
                <a:gd name="connsiteY442" fmla="*/ 362473 h 701649"/>
                <a:gd name="connsiteX443" fmla="*/ 43334 w 719406"/>
                <a:gd name="connsiteY443" fmla="*/ 346671 h 701649"/>
                <a:gd name="connsiteX444" fmla="*/ 35188 w 719406"/>
                <a:gd name="connsiteY444" fmla="*/ 336082 h 701649"/>
                <a:gd name="connsiteX445" fmla="*/ 35188 w 719406"/>
                <a:gd name="connsiteY445" fmla="*/ 334290 h 701649"/>
                <a:gd name="connsiteX446" fmla="*/ 32745 w 719406"/>
                <a:gd name="connsiteY446" fmla="*/ 334452 h 701649"/>
                <a:gd name="connsiteX447" fmla="*/ 29323 w 719406"/>
                <a:gd name="connsiteY447" fmla="*/ 332660 h 701649"/>
                <a:gd name="connsiteX448" fmla="*/ 18083 w 719406"/>
                <a:gd name="connsiteY448" fmla="*/ 321420 h 701649"/>
                <a:gd name="connsiteX449" fmla="*/ 17105 w 719406"/>
                <a:gd name="connsiteY449" fmla="*/ 317999 h 701649"/>
                <a:gd name="connsiteX450" fmla="*/ 18083 w 719406"/>
                <a:gd name="connsiteY450" fmla="*/ 315229 h 701649"/>
                <a:gd name="connsiteX451" fmla="*/ 21178 w 719406"/>
                <a:gd name="connsiteY451" fmla="*/ 314903 h 701649"/>
                <a:gd name="connsiteX452" fmla="*/ 22155 w 719406"/>
                <a:gd name="connsiteY452" fmla="*/ 316370 h 701649"/>
                <a:gd name="connsiteX453" fmla="*/ 25251 w 719406"/>
                <a:gd name="connsiteY453" fmla="*/ 315392 h 701649"/>
                <a:gd name="connsiteX454" fmla="*/ 25251 w 719406"/>
                <a:gd name="connsiteY454" fmla="*/ 321094 h 701649"/>
                <a:gd name="connsiteX455" fmla="*/ 29323 w 719406"/>
                <a:gd name="connsiteY455" fmla="*/ 321583 h 701649"/>
                <a:gd name="connsiteX456" fmla="*/ 32093 w 719406"/>
                <a:gd name="connsiteY456" fmla="*/ 319139 h 701649"/>
                <a:gd name="connsiteX457" fmla="*/ 33722 w 719406"/>
                <a:gd name="connsiteY457" fmla="*/ 319139 h 701649"/>
                <a:gd name="connsiteX458" fmla="*/ 36491 w 719406"/>
                <a:gd name="connsiteY458" fmla="*/ 320605 h 701649"/>
                <a:gd name="connsiteX459" fmla="*/ 37143 w 719406"/>
                <a:gd name="connsiteY459" fmla="*/ 318650 h 701649"/>
                <a:gd name="connsiteX460" fmla="*/ 47732 w 719406"/>
                <a:gd name="connsiteY460" fmla="*/ 310342 h 701649"/>
                <a:gd name="connsiteX461" fmla="*/ 50991 w 719406"/>
                <a:gd name="connsiteY461" fmla="*/ 310342 h 701649"/>
                <a:gd name="connsiteX462" fmla="*/ 55878 w 719406"/>
                <a:gd name="connsiteY462" fmla="*/ 302685 h 701649"/>
                <a:gd name="connsiteX463" fmla="*/ 57344 w 719406"/>
                <a:gd name="connsiteY463" fmla="*/ 303011 h 701649"/>
                <a:gd name="connsiteX464" fmla="*/ 59299 w 719406"/>
                <a:gd name="connsiteY464" fmla="*/ 298124 h 701649"/>
                <a:gd name="connsiteX465" fmla="*/ 54086 w 719406"/>
                <a:gd name="connsiteY465" fmla="*/ 297798 h 701649"/>
                <a:gd name="connsiteX466" fmla="*/ 52620 w 719406"/>
                <a:gd name="connsiteY466" fmla="*/ 296983 h 701649"/>
                <a:gd name="connsiteX467" fmla="*/ 53434 w 719406"/>
                <a:gd name="connsiteY467" fmla="*/ 298613 h 701649"/>
                <a:gd name="connsiteX468" fmla="*/ 52945 w 719406"/>
                <a:gd name="connsiteY468" fmla="*/ 300893 h 701649"/>
                <a:gd name="connsiteX469" fmla="*/ 42356 w 719406"/>
                <a:gd name="connsiteY469" fmla="*/ 305455 h 701649"/>
                <a:gd name="connsiteX470" fmla="*/ 36166 w 719406"/>
                <a:gd name="connsiteY470" fmla="*/ 305455 h 701649"/>
                <a:gd name="connsiteX471" fmla="*/ 31279 w 719406"/>
                <a:gd name="connsiteY471" fmla="*/ 307084 h 701649"/>
                <a:gd name="connsiteX472" fmla="*/ 14662 w 719406"/>
                <a:gd name="connsiteY472" fmla="*/ 301219 h 701649"/>
                <a:gd name="connsiteX473" fmla="*/ 6679 w 719406"/>
                <a:gd name="connsiteY473" fmla="*/ 292911 h 701649"/>
                <a:gd name="connsiteX474" fmla="*/ 3421 w 719406"/>
                <a:gd name="connsiteY474" fmla="*/ 291282 h 701649"/>
                <a:gd name="connsiteX475" fmla="*/ 3747 w 719406"/>
                <a:gd name="connsiteY475" fmla="*/ 286068 h 701649"/>
                <a:gd name="connsiteX476" fmla="*/ 8797 w 719406"/>
                <a:gd name="connsiteY476" fmla="*/ 279552 h 701649"/>
                <a:gd name="connsiteX477" fmla="*/ 14336 w 719406"/>
                <a:gd name="connsiteY477" fmla="*/ 276457 h 701649"/>
                <a:gd name="connsiteX478" fmla="*/ 7168 w 719406"/>
                <a:gd name="connsiteY478" fmla="*/ 277597 h 701649"/>
                <a:gd name="connsiteX479" fmla="*/ 0 w 719406"/>
                <a:gd name="connsiteY479" fmla="*/ 282159 h 701649"/>
                <a:gd name="connsiteX480" fmla="*/ 326 w 719406"/>
                <a:gd name="connsiteY480" fmla="*/ 275479 h 701649"/>
                <a:gd name="connsiteX481" fmla="*/ 5702 w 719406"/>
                <a:gd name="connsiteY481" fmla="*/ 272058 h 701649"/>
                <a:gd name="connsiteX482" fmla="*/ 9123 w 719406"/>
                <a:gd name="connsiteY482" fmla="*/ 271081 h 701649"/>
                <a:gd name="connsiteX483" fmla="*/ 11404 w 719406"/>
                <a:gd name="connsiteY483" fmla="*/ 264565 h 701649"/>
                <a:gd name="connsiteX484" fmla="*/ 15314 w 719406"/>
                <a:gd name="connsiteY484" fmla="*/ 265542 h 701649"/>
                <a:gd name="connsiteX485" fmla="*/ 19549 w 719406"/>
                <a:gd name="connsiteY485" fmla="*/ 263261 h 701649"/>
                <a:gd name="connsiteX486" fmla="*/ 36980 w 719406"/>
                <a:gd name="connsiteY486" fmla="*/ 264239 h 701649"/>
                <a:gd name="connsiteX487" fmla="*/ 47080 w 719406"/>
                <a:gd name="connsiteY487" fmla="*/ 260492 h 701649"/>
                <a:gd name="connsiteX488" fmla="*/ 49036 w 719406"/>
                <a:gd name="connsiteY488" fmla="*/ 258211 h 701649"/>
                <a:gd name="connsiteX489" fmla="*/ 54900 w 719406"/>
                <a:gd name="connsiteY489" fmla="*/ 256419 h 701649"/>
                <a:gd name="connsiteX490" fmla="*/ 52945 w 719406"/>
                <a:gd name="connsiteY490" fmla="*/ 260166 h 701649"/>
                <a:gd name="connsiteX491" fmla="*/ 55389 w 719406"/>
                <a:gd name="connsiteY491" fmla="*/ 263098 h 701649"/>
                <a:gd name="connsiteX492" fmla="*/ 61091 w 719406"/>
                <a:gd name="connsiteY492" fmla="*/ 259677 h 701649"/>
                <a:gd name="connsiteX493" fmla="*/ 65815 w 719406"/>
                <a:gd name="connsiteY493" fmla="*/ 258048 h 701649"/>
                <a:gd name="connsiteX494" fmla="*/ 63861 w 719406"/>
                <a:gd name="connsiteY494" fmla="*/ 255604 h 701649"/>
                <a:gd name="connsiteX495" fmla="*/ 64675 w 719406"/>
                <a:gd name="connsiteY495" fmla="*/ 251858 h 701649"/>
                <a:gd name="connsiteX496" fmla="*/ 58973 w 719406"/>
                <a:gd name="connsiteY496" fmla="*/ 235567 h 701649"/>
                <a:gd name="connsiteX497" fmla="*/ 53923 w 719406"/>
                <a:gd name="connsiteY497" fmla="*/ 228887 h 701649"/>
                <a:gd name="connsiteX498" fmla="*/ 55226 w 719406"/>
                <a:gd name="connsiteY498" fmla="*/ 225466 h 701649"/>
                <a:gd name="connsiteX499" fmla="*/ 51805 w 719406"/>
                <a:gd name="connsiteY499" fmla="*/ 222534 h 701649"/>
                <a:gd name="connsiteX500" fmla="*/ 46755 w 719406"/>
                <a:gd name="connsiteY500" fmla="*/ 222860 h 701649"/>
                <a:gd name="connsiteX501" fmla="*/ 38446 w 719406"/>
                <a:gd name="connsiteY501" fmla="*/ 217484 h 701649"/>
                <a:gd name="connsiteX502" fmla="*/ 37306 w 719406"/>
                <a:gd name="connsiteY502" fmla="*/ 208035 h 701649"/>
                <a:gd name="connsiteX503" fmla="*/ 37632 w 719406"/>
                <a:gd name="connsiteY503" fmla="*/ 201844 h 701649"/>
                <a:gd name="connsiteX504" fmla="*/ 33885 w 719406"/>
                <a:gd name="connsiteY504" fmla="*/ 193862 h 701649"/>
                <a:gd name="connsiteX505" fmla="*/ 29161 w 719406"/>
                <a:gd name="connsiteY505" fmla="*/ 193862 h 701649"/>
                <a:gd name="connsiteX506" fmla="*/ 26391 w 719406"/>
                <a:gd name="connsiteY506" fmla="*/ 195165 h 701649"/>
                <a:gd name="connsiteX507" fmla="*/ 20364 w 719406"/>
                <a:gd name="connsiteY507" fmla="*/ 193210 h 701649"/>
                <a:gd name="connsiteX508" fmla="*/ 16128 w 719406"/>
                <a:gd name="connsiteY508" fmla="*/ 193210 h 701649"/>
                <a:gd name="connsiteX509" fmla="*/ 16128 w 719406"/>
                <a:gd name="connsiteY509" fmla="*/ 187020 h 701649"/>
                <a:gd name="connsiteX510" fmla="*/ 20201 w 719406"/>
                <a:gd name="connsiteY510" fmla="*/ 176757 h 701649"/>
                <a:gd name="connsiteX511" fmla="*/ 24111 w 719406"/>
                <a:gd name="connsiteY511" fmla="*/ 175453 h 701649"/>
                <a:gd name="connsiteX512" fmla="*/ 30953 w 719406"/>
                <a:gd name="connsiteY512" fmla="*/ 165679 h 701649"/>
                <a:gd name="connsiteX513" fmla="*/ 32093 w 719406"/>
                <a:gd name="connsiteY513" fmla="*/ 161280 h 701649"/>
                <a:gd name="connsiteX514" fmla="*/ 36818 w 719406"/>
                <a:gd name="connsiteY514" fmla="*/ 158836 h 701649"/>
                <a:gd name="connsiteX515" fmla="*/ 40076 w 719406"/>
                <a:gd name="connsiteY515" fmla="*/ 156393 h 701649"/>
                <a:gd name="connsiteX516" fmla="*/ 45614 w 719406"/>
                <a:gd name="connsiteY516" fmla="*/ 158836 h 701649"/>
                <a:gd name="connsiteX517" fmla="*/ 46755 w 719406"/>
                <a:gd name="connsiteY517" fmla="*/ 163887 h 701649"/>
                <a:gd name="connsiteX518" fmla="*/ 50502 w 719406"/>
                <a:gd name="connsiteY518" fmla="*/ 164701 h 701649"/>
                <a:gd name="connsiteX519" fmla="*/ 60114 w 719406"/>
                <a:gd name="connsiteY519" fmla="*/ 159651 h 701649"/>
                <a:gd name="connsiteX520" fmla="*/ 73635 w 719406"/>
                <a:gd name="connsiteY520" fmla="*/ 158836 h 701649"/>
                <a:gd name="connsiteX521" fmla="*/ 81780 w 719406"/>
                <a:gd name="connsiteY521" fmla="*/ 149876 h 701649"/>
                <a:gd name="connsiteX522" fmla="*/ 86830 w 719406"/>
                <a:gd name="connsiteY522" fmla="*/ 134726 h 701649"/>
                <a:gd name="connsiteX523" fmla="*/ 98560 w 719406"/>
                <a:gd name="connsiteY523" fmla="*/ 126418 h 701649"/>
                <a:gd name="connsiteX524" fmla="*/ 101493 w 719406"/>
                <a:gd name="connsiteY524" fmla="*/ 120879 h 701649"/>
                <a:gd name="connsiteX525" fmla="*/ 102633 w 719406"/>
                <a:gd name="connsiteY525" fmla="*/ 112570 h 701649"/>
                <a:gd name="connsiteX526" fmla="*/ 108334 w 719406"/>
                <a:gd name="connsiteY526" fmla="*/ 104425 h 701649"/>
                <a:gd name="connsiteX527" fmla="*/ 116643 w 719406"/>
                <a:gd name="connsiteY527" fmla="*/ 100352 h 701649"/>
                <a:gd name="connsiteX528" fmla="*/ 119412 w 719406"/>
                <a:gd name="connsiteY528" fmla="*/ 94161 h 701649"/>
                <a:gd name="connsiteX529" fmla="*/ 119412 w 719406"/>
                <a:gd name="connsiteY529" fmla="*/ 89437 h 701649"/>
                <a:gd name="connsiteX530" fmla="*/ 115991 w 719406"/>
                <a:gd name="connsiteY530" fmla="*/ 86831 h 701649"/>
                <a:gd name="connsiteX531" fmla="*/ 123322 w 719406"/>
                <a:gd name="connsiteY531" fmla="*/ 78685 h 701649"/>
                <a:gd name="connsiteX532" fmla="*/ 127395 w 719406"/>
                <a:gd name="connsiteY532" fmla="*/ 75590 h 701649"/>
                <a:gd name="connsiteX533" fmla="*/ 128046 w 719406"/>
                <a:gd name="connsiteY533" fmla="*/ 69562 h 701649"/>
                <a:gd name="connsiteX534" fmla="*/ 129350 w 719406"/>
                <a:gd name="connsiteY534" fmla="*/ 56855 h 701649"/>
                <a:gd name="connsiteX535" fmla="*/ 126743 w 719406"/>
                <a:gd name="connsiteY535" fmla="*/ 47407 h 701649"/>
                <a:gd name="connsiteX536" fmla="*/ 125277 w 719406"/>
                <a:gd name="connsiteY536" fmla="*/ 45126 h 701649"/>
                <a:gd name="connsiteX537" fmla="*/ 133423 w 719406"/>
                <a:gd name="connsiteY537" fmla="*/ 37306 h 701649"/>
                <a:gd name="connsiteX538" fmla="*/ 138147 w 719406"/>
                <a:gd name="connsiteY538" fmla="*/ 35677 h 701649"/>
                <a:gd name="connsiteX539" fmla="*/ 142871 w 719406"/>
                <a:gd name="connsiteY539" fmla="*/ 32582 h 701649"/>
                <a:gd name="connsiteX540" fmla="*/ 145966 w 719406"/>
                <a:gd name="connsiteY540" fmla="*/ 33071 h 701649"/>
                <a:gd name="connsiteX541" fmla="*/ 152646 w 719406"/>
                <a:gd name="connsiteY541" fmla="*/ 25740 h 701649"/>
                <a:gd name="connsiteX542" fmla="*/ 160139 w 719406"/>
                <a:gd name="connsiteY542" fmla="*/ 13196 h 701649"/>
                <a:gd name="connsiteX543" fmla="*/ 167634 w 719406"/>
                <a:gd name="connsiteY543" fmla="*/ 6353 h 701649"/>
                <a:gd name="connsiteX544" fmla="*/ 174150 w 719406"/>
                <a:gd name="connsiteY544" fmla="*/ 6028 h 701649"/>
                <a:gd name="connsiteX545" fmla="*/ 177408 w 719406"/>
                <a:gd name="connsiteY545" fmla="*/ 0 h 701649"/>
                <a:gd name="connsiteX546" fmla="*/ 182784 w 719406"/>
                <a:gd name="connsiteY546" fmla="*/ 0 h 701649"/>
                <a:gd name="connsiteX547" fmla="*/ 196794 w 719406"/>
                <a:gd name="connsiteY547" fmla="*/ 9449 h 701649"/>
                <a:gd name="connsiteX548" fmla="*/ 204125 w 719406"/>
                <a:gd name="connsiteY548" fmla="*/ 5376 h 701649"/>
                <a:gd name="connsiteX549" fmla="*/ 211130 w 719406"/>
                <a:gd name="connsiteY549" fmla="*/ 8145 h 701649"/>
                <a:gd name="connsiteX550" fmla="*/ 213737 w 719406"/>
                <a:gd name="connsiteY550" fmla="*/ 15151 h 701649"/>
                <a:gd name="connsiteX551" fmla="*/ 220253 w 719406"/>
                <a:gd name="connsiteY551" fmla="*/ 14825 h 701649"/>
                <a:gd name="connsiteX552" fmla="*/ 230516 w 719406"/>
                <a:gd name="connsiteY552" fmla="*/ 21341 h 701649"/>
                <a:gd name="connsiteX553" fmla="*/ 230516 w 719406"/>
                <a:gd name="connsiteY553" fmla="*/ 21341 h 701649"/>
                <a:gd name="connsiteX554" fmla="*/ 521798 w 719406"/>
                <a:gd name="connsiteY554" fmla="*/ 331032 h 701649"/>
                <a:gd name="connsiteX555" fmla="*/ 521798 w 719406"/>
                <a:gd name="connsiteY555" fmla="*/ 335430 h 701649"/>
                <a:gd name="connsiteX556" fmla="*/ 523427 w 719406"/>
                <a:gd name="connsiteY556" fmla="*/ 333638 h 701649"/>
                <a:gd name="connsiteX557" fmla="*/ 521798 w 719406"/>
                <a:gd name="connsiteY557" fmla="*/ 331032 h 701649"/>
                <a:gd name="connsiteX558" fmla="*/ 521798 w 719406"/>
                <a:gd name="connsiteY558" fmla="*/ 331032 h 701649"/>
                <a:gd name="connsiteX559" fmla="*/ 519191 w 719406"/>
                <a:gd name="connsiteY559" fmla="*/ 329240 h 701649"/>
                <a:gd name="connsiteX560" fmla="*/ 516259 w 719406"/>
                <a:gd name="connsiteY560" fmla="*/ 330868 h 701649"/>
                <a:gd name="connsiteX561" fmla="*/ 517237 w 719406"/>
                <a:gd name="connsiteY561" fmla="*/ 333801 h 701649"/>
                <a:gd name="connsiteX562" fmla="*/ 519028 w 719406"/>
                <a:gd name="connsiteY562" fmla="*/ 335104 h 701649"/>
                <a:gd name="connsiteX563" fmla="*/ 519517 w 719406"/>
                <a:gd name="connsiteY563" fmla="*/ 332009 h 701649"/>
                <a:gd name="connsiteX564" fmla="*/ 519191 w 719406"/>
                <a:gd name="connsiteY564" fmla="*/ 329402 h 701649"/>
                <a:gd name="connsiteX565" fmla="*/ 519191 w 719406"/>
                <a:gd name="connsiteY565" fmla="*/ 329402 h 701649"/>
                <a:gd name="connsiteX566" fmla="*/ 512023 w 719406"/>
                <a:gd name="connsiteY566" fmla="*/ 330217 h 701649"/>
                <a:gd name="connsiteX567" fmla="*/ 512512 w 719406"/>
                <a:gd name="connsiteY567" fmla="*/ 335267 h 701649"/>
                <a:gd name="connsiteX568" fmla="*/ 515282 w 719406"/>
                <a:gd name="connsiteY568" fmla="*/ 337222 h 701649"/>
                <a:gd name="connsiteX569" fmla="*/ 514630 w 719406"/>
                <a:gd name="connsiteY569" fmla="*/ 332660 h 701649"/>
                <a:gd name="connsiteX570" fmla="*/ 512023 w 719406"/>
                <a:gd name="connsiteY570" fmla="*/ 330217 h 701649"/>
                <a:gd name="connsiteX571" fmla="*/ 512023 w 719406"/>
                <a:gd name="connsiteY571" fmla="*/ 330217 h 701649"/>
                <a:gd name="connsiteX572" fmla="*/ 504855 w 719406"/>
                <a:gd name="connsiteY572" fmla="*/ 331846 h 701649"/>
                <a:gd name="connsiteX573" fmla="*/ 504855 w 719406"/>
                <a:gd name="connsiteY573" fmla="*/ 334452 h 701649"/>
                <a:gd name="connsiteX574" fmla="*/ 506810 w 719406"/>
                <a:gd name="connsiteY574" fmla="*/ 333475 h 701649"/>
                <a:gd name="connsiteX575" fmla="*/ 509254 w 719406"/>
                <a:gd name="connsiteY575" fmla="*/ 327447 h 701649"/>
                <a:gd name="connsiteX576" fmla="*/ 507625 w 719406"/>
                <a:gd name="connsiteY576" fmla="*/ 324841 h 701649"/>
                <a:gd name="connsiteX577" fmla="*/ 504855 w 719406"/>
                <a:gd name="connsiteY577" fmla="*/ 331846 h 7016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</a:cxnLst>
              <a:rect l="l" t="t" r="r" b="b"/>
              <a:pathLst>
                <a:path w="719406" h="701649">
                  <a:moveTo>
                    <a:pt x="231494" y="20201"/>
                  </a:moveTo>
                  <a:lnTo>
                    <a:pt x="233123" y="23459"/>
                  </a:lnTo>
                  <a:lnTo>
                    <a:pt x="233449" y="27695"/>
                  </a:lnTo>
                  <a:lnTo>
                    <a:pt x="240291" y="31116"/>
                  </a:lnTo>
                  <a:lnTo>
                    <a:pt x="239151" y="41053"/>
                  </a:lnTo>
                  <a:lnTo>
                    <a:pt x="241920" y="45777"/>
                  </a:lnTo>
                  <a:lnTo>
                    <a:pt x="240291" y="48873"/>
                  </a:lnTo>
                  <a:lnTo>
                    <a:pt x="243061" y="50665"/>
                  </a:lnTo>
                  <a:lnTo>
                    <a:pt x="246155" y="55063"/>
                  </a:lnTo>
                  <a:lnTo>
                    <a:pt x="246155" y="58973"/>
                  </a:lnTo>
                  <a:lnTo>
                    <a:pt x="248600" y="59788"/>
                  </a:lnTo>
                  <a:lnTo>
                    <a:pt x="250228" y="65327"/>
                  </a:lnTo>
                  <a:lnTo>
                    <a:pt x="255930" y="68096"/>
                  </a:lnTo>
                  <a:lnTo>
                    <a:pt x="258862" y="63372"/>
                  </a:lnTo>
                  <a:lnTo>
                    <a:pt x="264564" y="63372"/>
                  </a:lnTo>
                  <a:cubicBezTo>
                    <a:pt x="264564" y="63372"/>
                    <a:pt x="267008" y="66304"/>
                    <a:pt x="267008" y="66304"/>
                  </a:cubicBezTo>
                  <a:lnTo>
                    <a:pt x="272873" y="67282"/>
                  </a:lnTo>
                  <a:lnTo>
                    <a:pt x="277923" y="72658"/>
                  </a:lnTo>
                  <a:lnTo>
                    <a:pt x="281833" y="73961"/>
                  </a:lnTo>
                  <a:lnTo>
                    <a:pt x="284765" y="79988"/>
                  </a:lnTo>
                  <a:lnTo>
                    <a:pt x="289164" y="80640"/>
                  </a:lnTo>
                  <a:lnTo>
                    <a:pt x="290956" y="84876"/>
                  </a:lnTo>
                  <a:lnTo>
                    <a:pt x="291282" y="84387"/>
                  </a:lnTo>
                  <a:lnTo>
                    <a:pt x="291933" y="93184"/>
                  </a:lnTo>
                  <a:lnTo>
                    <a:pt x="287861" y="106868"/>
                  </a:lnTo>
                  <a:lnTo>
                    <a:pt x="287861" y="115340"/>
                  </a:lnTo>
                  <a:lnTo>
                    <a:pt x="281996" y="124137"/>
                  </a:lnTo>
                  <a:lnTo>
                    <a:pt x="283462" y="130490"/>
                  </a:lnTo>
                  <a:lnTo>
                    <a:pt x="289001" y="130979"/>
                  </a:lnTo>
                  <a:lnTo>
                    <a:pt x="293400" y="134726"/>
                  </a:lnTo>
                  <a:lnTo>
                    <a:pt x="297961" y="134726"/>
                  </a:lnTo>
                  <a:cubicBezTo>
                    <a:pt x="297961" y="134726"/>
                    <a:pt x="302359" y="137984"/>
                    <a:pt x="302359" y="137984"/>
                  </a:cubicBezTo>
                  <a:lnTo>
                    <a:pt x="311319" y="140591"/>
                  </a:lnTo>
                  <a:lnTo>
                    <a:pt x="323049" y="148410"/>
                  </a:lnTo>
                  <a:lnTo>
                    <a:pt x="330868" y="158022"/>
                  </a:lnTo>
                  <a:lnTo>
                    <a:pt x="340806" y="160303"/>
                  </a:lnTo>
                  <a:lnTo>
                    <a:pt x="345693" y="163724"/>
                  </a:lnTo>
                  <a:lnTo>
                    <a:pt x="352698" y="163724"/>
                  </a:lnTo>
                  <a:lnTo>
                    <a:pt x="361170" y="169263"/>
                  </a:lnTo>
                  <a:lnTo>
                    <a:pt x="374039" y="168122"/>
                  </a:lnTo>
                  <a:lnTo>
                    <a:pt x="378438" y="172195"/>
                  </a:lnTo>
                  <a:lnTo>
                    <a:pt x="391796" y="168448"/>
                  </a:lnTo>
                  <a:lnTo>
                    <a:pt x="404015" y="171380"/>
                  </a:lnTo>
                  <a:lnTo>
                    <a:pt x="405481" y="178060"/>
                  </a:lnTo>
                  <a:lnTo>
                    <a:pt x="412160" y="183925"/>
                  </a:lnTo>
                  <a:lnTo>
                    <a:pt x="425844" y="187671"/>
                  </a:lnTo>
                  <a:lnTo>
                    <a:pt x="430569" y="185065"/>
                  </a:lnTo>
                  <a:lnTo>
                    <a:pt x="439366" y="184739"/>
                  </a:lnTo>
                  <a:lnTo>
                    <a:pt x="461521" y="192884"/>
                  </a:lnTo>
                  <a:lnTo>
                    <a:pt x="467061" y="189952"/>
                  </a:lnTo>
                  <a:lnTo>
                    <a:pt x="476672" y="195165"/>
                  </a:lnTo>
                  <a:lnTo>
                    <a:pt x="492475" y="191907"/>
                  </a:lnTo>
                  <a:lnTo>
                    <a:pt x="494266" y="180015"/>
                  </a:lnTo>
                  <a:lnTo>
                    <a:pt x="489542" y="170077"/>
                  </a:lnTo>
                  <a:lnTo>
                    <a:pt x="491823" y="157859"/>
                  </a:lnTo>
                  <a:lnTo>
                    <a:pt x="490194" y="152320"/>
                  </a:lnTo>
                  <a:lnTo>
                    <a:pt x="490845" y="152320"/>
                  </a:lnTo>
                  <a:cubicBezTo>
                    <a:pt x="490845" y="152320"/>
                    <a:pt x="495407" y="148247"/>
                    <a:pt x="495407" y="148247"/>
                  </a:cubicBezTo>
                  <a:lnTo>
                    <a:pt x="501271" y="147433"/>
                  </a:lnTo>
                  <a:lnTo>
                    <a:pt x="504204" y="152809"/>
                  </a:lnTo>
                  <a:lnTo>
                    <a:pt x="504530" y="159325"/>
                  </a:lnTo>
                  <a:lnTo>
                    <a:pt x="509417" y="163072"/>
                  </a:lnTo>
                  <a:lnTo>
                    <a:pt x="509743" y="163072"/>
                  </a:lnTo>
                  <a:cubicBezTo>
                    <a:pt x="509743" y="163072"/>
                    <a:pt x="509091" y="168774"/>
                    <a:pt x="509091" y="168774"/>
                  </a:cubicBezTo>
                  <a:lnTo>
                    <a:pt x="507299" y="173009"/>
                  </a:lnTo>
                  <a:lnTo>
                    <a:pt x="512349" y="180992"/>
                  </a:lnTo>
                  <a:lnTo>
                    <a:pt x="520984" y="182784"/>
                  </a:lnTo>
                  <a:lnTo>
                    <a:pt x="524405" y="180503"/>
                  </a:lnTo>
                  <a:lnTo>
                    <a:pt x="536948" y="187671"/>
                  </a:lnTo>
                  <a:lnTo>
                    <a:pt x="543791" y="187671"/>
                  </a:lnTo>
                  <a:lnTo>
                    <a:pt x="549004" y="181481"/>
                  </a:lnTo>
                  <a:lnTo>
                    <a:pt x="554705" y="180666"/>
                  </a:lnTo>
                  <a:lnTo>
                    <a:pt x="560082" y="183110"/>
                  </a:lnTo>
                  <a:lnTo>
                    <a:pt x="569368" y="180503"/>
                  </a:lnTo>
                  <a:lnTo>
                    <a:pt x="576373" y="180829"/>
                  </a:lnTo>
                  <a:lnTo>
                    <a:pt x="586636" y="177571"/>
                  </a:lnTo>
                  <a:lnTo>
                    <a:pt x="586636" y="173498"/>
                  </a:lnTo>
                  <a:cubicBezTo>
                    <a:pt x="586636" y="173498"/>
                    <a:pt x="586473" y="166330"/>
                    <a:pt x="586473" y="166330"/>
                  </a:cubicBezTo>
                  <a:lnTo>
                    <a:pt x="578491" y="162746"/>
                  </a:lnTo>
                  <a:lnTo>
                    <a:pt x="577839" y="157533"/>
                  </a:lnTo>
                  <a:lnTo>
                    <a:pt x="579468" y="151343"/>
                  </a:lnTo>
                  <a:lnTo>
                    <a:pt x="582889" y="151017"/>
                  </a:lnTo>
                  <a:lnTo>
                    <a:pt x="592337" y="148736"/>
                  </a:lnTo>
                  <a:lnTo>
                    <a:pt x="596573" y="148410"/>
                  </a:lnTo>
                  <a:lnTo>
                    <a:pt x="599180" y="142220"/>
                  </a:lnTo>
                  <a:lnTo>
                    <a:pt x="602927" y="139287"/>
                  </a:lnTo>
                  <a:lnTo>
                    <a:pt x="606837" y="140591"/>
                  </a:lnTo>
                  <a:lnTo>
                    <a:pt x="606837" y="137333"/>
                  </a:lnTo>
                  <a:cubicBezTo>
                    <a:pt x="606837" y="137333"/>
                    <a:pt x="612212" y="135866"/>
                    <a:pt x="612212" y="135866"/>
                  </a:cubicBezTo>
                  <a:lnTo>
                    <a:pt x="614005" y="130653"/>
                  </a:lnTo>
                  <a:lnTo>
                    <a:pt x="618240" y="125440"/>
                  </a:lnTo>
                  <a:lnTo>
                    <a:pt x="623779" y="124626"/>
                  </a:lnTo>
                  <a:lnTo>
                    <a:pt x="633228" y="122345"/>
                  </a:lnTo>
                  <a:lnTo>
                    <a:pt x="638930" y="115177"/>
                  </a:lnTo>
                  <a:lnTo>
                    <a:pt x="638604" y="109638"/>
                  </a:lnTo>
                  <a:lnTo>
                    <a:pt x="642351" y="108823"/>
                  </a:lnTo>
                  <a:lnTo>
                    <a:pt x="648053" y="104751"/>
                  </a:lnTo>
                  <a:lnTo>
                    <a:pt x="652614" y="111430"/>
                  </a:lnTo>
                  <a:lnTo>
                    <a:pt x="659293" y="109638"/>
                  </a:lnTo>
                  <a:lnTo>
                    <a:pt x="669068" y="112733"/>
                  </a:lnTo>
                  <a:lnTo>
                    <a:pt x="671837" y="110127"/>
                  </a:lnTo>
                  <a:lnTo>
                    <a:pt x="671186" y="105565"/>
                  </a:lnTo>
                  <a:lnTo>
                    <a:pt x="682264" y="99049"/>
                  </a:lnTo>
                  <a:lnTo>
                    <a:pt x="686336" y="100352"/>
                  </a:lnTo>
                  <a:lnTo>
                    <a:pt x="689106" y="104099"/>
                  </a:lnTo>
                  <a:lnTo>
                    <a:pt x="692527" y="103122"/>
                  </a:lnTo>
                  <a:lnTo>
                    <a:pt x="693667" y="105565"/>
                  </a:lnTo>
                  <a:lnTo>
                    <a:pt x="689920" y="112570"/>
                  </a:lnTo>
                  <a:lnTo>
                    <a:pt x="691875" y="116643"/>
                  </a:lnTo>
                  <a:lnTo>
                    <a:pt x="694971" y="115666"/>
                  </a:lnTo>
                  <a:lnTo>
                    <a:pt x="698228" y="114688"/>
                  </a:lnTo>
                  <a:lnTo>
                    <a:pt x="699369" y="118598"/>
                  </a:lnTo>
                  <a:lnTo>
                    <a:pt x="703116" y="123648"/>
                  </a:lnTo>
                  <a:lnTo>
                    <a:pt x="703116" y="127069"/>
                  </a:lnTo>
                  <a:lnTo>
                    <a:pt x="699043" y="131468"/>
                  </a:lnTo>
                  <a:lnTo>
                    <a:pt x="700346" y="135703"/>
                  </a:lnTo>
                  <a:lnTo>
                    <a:pt x="705885" y="136681"/>
                  </a:lnTo>
                  <a:lnTo>
                    <a:pt x="708980" y="135377"/>
                  </a:lnTo>
                  <a:lnTo>
                    <a:pt x="713705" y="137333"/>
                  </a:lnTo>
                  <a:lnTo>
                    <a:pt x="718918" y="142709"/>
                  </a:lnTo>
                  <a:lnTo>
                    <a:pt x="719407" y="146618"/>
                  </a:lnTo>
                  <a:lnTo>
                    <a:pt x="714357" y="151180"/>
                  </a:lnTo>
                  <a:lnTo>
                    <a:pt x="714357" y="158022"/>
                  </a:lnTo>
                  <a:lnTo>
                    <a:pt x="715660" y="162258"/>
                  </a:lnTo>
                  <a:lnTo>
                    <a:pt x="710773" y="159977"/>
                  </a:lnTo>
                  <a:lnTo>
                    <a:pt x="706537" y="156556"/>
                  </a:lnTo>
                  <a:lnTo>
                    <a:pt x="699369" y="161769"/>
                  </a:lnTo>
                  <a:lnTo>
                    <a:pt x="691061" y="164375"/>
                  </a:lnTo>
                  <a:lnTo>
                    <a:pt x="688454" y="170403"/>
                  </a:lnTo>
                  <a:lnTo>
                    <a:pt x="682426" y="177897"/>
                  </a:lnTo>
                  <a:lnTo>
                    <a:pt x="676725" y="179852"/>
                  </a:lnTo>
                  <a:lnTo>
                    <a:pt x="668253" y="193047"/>
                  </a:lnTo>
                  <a:lnTo>
                    <a:pt x="666950" y="199075"/>
                  </a:lnTo>
                  <a:lnTo>
                    <a:pt x="669557" y="202333"/>
                  </a:lnTo>
                  <a:lnTo>
                    <a:pt x="666135" y="212434"/>
                  </a:lnTo>
                  <a:lnTo>
                    <a:pt x="658968" y="224000"/>
                  </a:lnTo>
                  <a:lnTo>
                    <a:pt x="659293" y="227910"/>
                  </a:lnTo>
                  <a:lnTo>
                    <a:pt x="665321" y="230842"/>
                  </a:lnTo>
                  <a:lnTo>
                    <a:pt x="659782" y="244364"/>
                  </a:lnTo>
                  <a:lnTo>
                    <a:pt x="657339" y="255279"/>
                  </a:lnTo>
                  <a:lnTo>
                    <a:pt x="653266" y="264890"/>
                  </a:lnTo>
                  <a:lnTo>
                    <a:pt x="646423" y="264890"/>
                  </a:lnTo>
                  <a:cubicBezTo>
                    <a:pt x="646423" y="264890"/>
                    <a:pt x="642025" y="263587"/>
                    <a:pt x="642025" y="263587"/>
                  </a:cubicBezTo>
                  <a:lnTo>
                    <a:pt x="636649" y="263261"/>
                  </a:lnTo>
                  <a:lnTo>
                    <a:pt x="639744" y="275805"/>
                  </a:lnTo>
                  <a:lnTo>
                    <a:pt x="639744" y="282484"/>
                  </a:lnTo>
                  <a:cubicBezTo>
                    <a:pt x="639744" y="282484"/>
                    <a:pt x="638930" y="291770"/>
                    <a:pt x="638930" y="291770"/>
                  </a:cubicBezTo>
                  <a:lnTo>
                    <a:pt x="633553" y="290956"/>
                  </a:lnTo>
                  <a:lnTo>
                    <a:pt x="634531" y="297798"/>
                  </a:lnTo>
                  <a:lnTo>
                    <a:pt x="633553" y="303989"/>
                  </a:lnTo>
                  <a:lnTo>
                    <a:pt x="634857" y="309201"/>
                  </a:lnTo>
                  <a:lnTo>
                    <a:pt x="631925" y="317673"/>
                  </a:lnTo>
                  <a:lnTo>
                    <a:pt x="629155" y="319139"/>
                  </a:lnTo>
                  <a:lnTo>
                    <a:pt x="626712" y="317999"/>
                  </a:lnTo>
                  <a:lnTo>
                    <a:pt x="625571" y="322723"/>
                  </a:lnTo>
                  <a:lnTo>
                    <a:pt x="625571" y="325492"/>
                  </a:lnTo>
                  <a:lnTo>
                    <a:pt x="624594" y="324515"/>
                  </a:lnTo>
                  <a:lnTo>
                    <a:pt x="623291" y="322397"/>
                  </a:lnTo>
                  <a:lnTo>
                    <a:pt x="623291" y="319628"/>
                  </a:lnTo>
                  <a:cubicBezTo>
                    <a:pt x="623291" y="319628"/>
                    <a:pt x="621987" y="317836"/>
                    <a:pt x="621987" y="317836"/>
                  </a:cubicBezTo>
                  <a:lnTo>
                    <a:pt x="620195" y="313926"/>
                  </a:lnTo>
                  <a:lnTo>
                    <a:pt x="618240" y="307084"/>
                  </a:lnTo>
                  <a:lnTo>
                    <a:pt x="616774" y="296820"/>
                  </a:lnTo>
                  <a:lnTo>
                    <a:pt x="614982" y="292911"/>
                  </a:lnTo>
                  <a:lnTo>
                    <a:pt x="614982" y="287535"/>
                  </a:lnTo>
                  <a:lnTo>
                    <a:pt x="613353" y="280367"/>
                  </a:lnTo>
                  <a:lnTo>
                    <a:pt x="611072" y="276783"/>
                  </a:lnTo>
                  <a:lnTo>
                    <a:pt x="609769" y="274339"/>
                  </a:lnTo>
                  <a:lnTo>
                    <a:pt x="605370" y="274665"/>
                  </a:lnTo>
                  <a:lnTo>
                    <a:pt x="602112" y="272384"/>
                  </a:lnTo>
                  <a:lnTo>
                    <a:pt x="599832" y="274176"/>
                  </a:lnTo>
                  <a:lnTo>
                    <a:pt x="601461" y="276620"/>
                  </a:lnTo>
                  <a:lnTo>
                    <a:pt x="599994" y="278900"/>
                  </a:lnTo>
                  <a:lnTo>
                    <a:pt x="599994" y="281670"/>
                  </a:lnTo>
                  <a:cubicBezTo>
                    <a:pt x="599994" y="281670"/>
                    <a:pt x="597225" y="285580"/>
                    <a:pt x="597225" y="285580"/>
                  </a:cubicBezTo>
                  <a:lnTo>
                    <a:pt x="598854" y="286883"/>
                  </a:lnTo>
                  <a:lnTo>
                    <a:pt x="598366" y="290956"/>
                  </a:lnTo>
                  <a:lnTo>
                    <a:pt x="595759" y="290956"/>
                  </a:lnTo>
                  <a:cubicBezTo>
                    <a:pt x="595759" y="290956"/>
                    <a:pt x="591849" y="285743"/>
                    <a:pt x="591849" y="285743"/>
                  </a:cubicBezTo>
                  <a:lnTo>
                    <a:pt x="587776" y="281833"/>
                  </a:lnTo>
                  <a:lnTo>
                    <a:pt x="586799" y="279226"/>
                  </a:lnTo>
                  <a:lnTo>
                    <a:pt x="584192" y="276783"/>
                  </a:lnTo>
                  <a:lnTo>
                    <a:pt x="581586" y="269941"/>
                  </a:lnTo>
                  <a:lnTo>
                    <a:pt x="581586" y="266845"/>
                  </a:lnTo>
                  <a:lnTo>
                    <a:pt x="583541" y="265053"/>
                  </a:lnTo>
                  <a:lnTo>
                    <a:pt x="584355" y="261795"/>
                  </a:lnTo>
                  <a:lnTo>
                    <a:pt x="589243" y="258374"/>
                  </a:lnTo>
                  <a:lnTo>
                    <a:pt x="591034" y="260166"/>
                  </a:lnTo>
                  <a:lnTo>
                    <a:pt x="593804" y="260655"/>
                  </a:lnTo>
                  <a:lnTo>
                    <a:pt x="595759" y="258048"/>
                  </a:lnTo>
                  <a:lnTo>
                    <a:pt x="595759" y="254790"/>
                  </a:lnTo>
                  <a:lnTo>
                    <a:pt x="598854" y="253161"/>
                  </a:lnTo>
                  <a:lnTo>
                    <a:pt x="602112" y="244690"/>
                  </a:lnTo>
                  <a:lnTo>
                    <a:pt x="603090" y="238499"/>
                  </a:lnTo>
                  <a:lnTo>
                    <a:pt x="605859" y="233123"/>
                  </a:lnTo>
                  <a:lnTo>
                    <a:pt x="603253" y="231983"/>
                  </a:lnTo>
                  <a:lnTo>
                    <a:pt x="598854" y="227421"/>
                  </a:lnTo>
                  <a:lnTo>
                    <a:pt x="595921" y="228236"/>
                  </a:lnTo>
                  <a:lnTo>
                    <a:pt x="594130" y="226933"/>
                  </a:lnTo>
                  <a:lnTo>
                    <a:pt x="589894" y="227258"/>
                  </a:lnTo>
                  <a:lnTo>
                    <a:pt x="581260" y="227584"/>
                  </a:lnTo>
                  <a:lnTo>
                    <a:pt x="573440" y="226607"/>
                  </a:lnTo>
                  <a:lnTo>
                    <a:pt x="563177" y="227421"/>
                  </a:lnTo>
                  <a:lnTo>
                    <a:pt x="556498" y="227421"/>
                  </a:lnTo>
                  <a:lnTo>
                    <a:pt x="551121" y="224977"/>
                  </a:lnTo>
                  <a:lnTo>
                    <a:pt x="546397" y="225303"/>
                  </a:lnTo>
                  <a:lnTo>
                    <a:pt x="541673" y="223511"/>
                  </a:lnTo>
                  <a:lnTo>
                    <a:pt x="541673" y="219765"/>
                  </a:lnTo>
                  <a:cubicBezTo>
                    <a:pt x="541673" y="219765"/>
                    <a:pt x="539881" y="214226"/>
                    <a:pt x="539881" y="214226"/>
                  </a:cubicBezTo>
                  <a:lnTo>
                    <a:pt x="539229" y="211130"/>
                  </a:lnTo>
                  <a:lnTo>
                    <a:pt x="538089" y="205103"/>
                  </a:lnTo>
                  <a:lnTo>
                    <a:pt x="534668" y="198912"/>
                  </a:lnTo>
                  <a:lnTo>
                    <a:pt x="532061" y="199401"/>
                  </a:lnTo>
                  <a:lnTo>
                    <a:pt x="531735" y="201193"/>
                  </a:lnTo>
                  <a:lnTo>
                    <a:pt x="526685" y="199564"/>
                  </a:lnTo>
                  <a:lnTo>
                    <a:pt x="524079" y="196957"/>
                  </a:lnTo>
                  <a:lnTo>
                    <a:pt x="520332" y="193862"/>
                  </a:lnTo>
                  <a:lnTo>
                    <a:pt x="518051" y="193862"/>
                  </a:lnTo>
                  <a:cubicBezTo>
                    <a:pt x="518051" y="193862"/>
                    <a:pt x="516911" y="196631"/>
                    <a:pt x="516911" y="196631"/>
                  </a:cubicBezTo>
                  <a:lnTo>
                    <a:pt x="520658" y="198912"/>
                  </a:lnTo>
                  <a:lnTo>
                    <a:pt x="518051" y="200215"/>
                  </a:lnTo>
                  <a:lnTo>
                    <a:pt x="512675" y="199401"/>
                  </a:lnTo>
                  <a:lnTo>
                    <a:pt x="508928" y="194839"/>
                  </a:lnTo>
                  <a:lnTo>
                    <a:pt x="508928" y="192070"/>
                  </a:lnTo>
                  <a:cubicBezTo>
                    <a:pt x="508928" y="192070"/>
                    <a:pt x="505670" y="187997"/>
                    <a:pt x="505670" y="187997"/>
                  </a:cubicBezTo>
                  <a:lnTo>
                    <a:pt x="503715" y="185065"/>
                  </a:lnTo>
                  <a:lnTo>
                    <a:pt x="502249" y="188812"/>
                  </a:lnTo>
                  <a:lnTo>
                    <a:pt x="499968" y="188812"/>
                  </a:lnTo>
                  <a:cubicBezTo>
                    <a:pt x="499968" y="188812"/>
                    <a:pt x="500131" y="192559"/>
                    <a:pt x="500131" y="192559"/>
                  </a:cubicBezTo>
                  <a:lnTo>
                    <a:pt x="502737" y="194839"/>
                  </a:lnTo>
                  <a:lnTo>
                    <a:pt x="500294" y="201519"/>
                  </a:lnTo>
                  <a:lnTo>
                    <a:pt x="495407" y="207220"/>
                  </a:lnTo>
                  <a:lnTo>
                    <a:pt x="494592" y="213248"/>
                  </a:lnTo>
                  <a:lnTo>
                    <a:pt x="506648" y="217484"/>
                  </a:lnTo>
                  <a:lnTo>
                    <a:pt x="511209" y="215692"/>
                  </a:lnTo>
                  <a:lnTo>
                    <a:pt x="517888" y="216181"/>
                  </a:lnTo>
                  <a:lnTo>
                    <a:pt x="516748" y="219276"/>
                  </a:lnTo>
                  <a:lnTo>
                    <a:pt x="518214" y="225955"/>
                  </a:lnTo>
                  <a:lnTo>
                    <a:pt x="514956" y="228562"/>
                  </a:lnTo>
                  <a:lnTo>
                    <a:pt x="511861" y="227421"/>
                  </a:lnTo>
                  <a:lnTo>
                    <a:pt x="508114" y="229702"/>
                  </a:lnTo>
                  <a:lnTo>
                    <a:pt x="505833" y="236544"/>
                  </a:lnTo>
                  <a:lnTo>
                    <a:pt x="501109" y="237684"/>
                  </a:lnTo>
                  <a:lnTo>
                    <a:pt x="501109" y="247785"/>
                  </a:lnTo>
                  <a:cubicBezTo>
                    <a:pt x="501109" y="247785"/>
                    <a:pt x="506648" y="254627"/>
                    <a:pt x="506648" y="254627"/>
                  </a:cubicBezTo>
                  <a:lnTo>
                    <a:pt x="513327" y="257234"/>
                  </a:lnTo>
                  <a:lnTo>
                    <a:pt x="519517" y="265216"/>
                  </a:lnTo>
                  <a:lnTo>
                    <a:pt x="519517" y="273687"/>
                  </a:lnTo>
                  <a:lnTo>
                    <a:pt x="521961" y="280204"/>
                  </a:lnTo>
                  <a:lnTo>
                    <a:pt x="520984" y="284765"/>
                  </a:lnTo>
                  <a:lnTo>
                    <a:pt x="522287" y="292748"/>
                  </a:lnTo>
                  <a:lnTo>
                    <a:pt x="529618" y="303174"/>
                  </a:lnTo>
                  <a:lnTo>
                    <a:pt x="529618" y="310179"/>
                  </a:lnTo>
                  <a:cubicBezTo>
                    <a:pt x="529618" y="310179"/>
                    <a:pt x="531410" y="314415"/>
                    <a:pt x="531410" y="314415"/>
                  </a:cubicBezTo>
                  <a:lnTo>
                    <a:pt x="532224" y="322397"/>
                  </a:lnTo>
                  <a:lnTo>
                    <a:pt x="531084" y="322886"/>
                  </a:lnTo>
                  <a:lnTo>
                    <a:pt x="534016" y="328751"/>
                  </a:lnTo>
                  <a:lnTo>
                    <a:pt x="531247" y="333312"/>
                  </a:lnTo>
                  <a:lnTo>
                    <a:pt x="527337" y="329076"/>
                  </a:lnTo>
                  <a:lnTo>
                    <a:pt x="527337" y="331846"/>
                  </a:lnTo>
                  <a:lnTo>
                    <a:pt x="524568" y="330380"/>
                  </a:lnTo>
                  <a:lnTo>
                    <a:pt x="522775" y="324515"/>
                  </a:lnTo>
                  <a:lnTo>
                    <a:pt x="521635" y="321583"/>
                  </a:lnTo>
                  <a:lnTo>
                    <a:pt x="520984" y="323863"/>
                  </a:lnTo>
                  <a:lnTo>
                    <a:pt x="520332" y="326796"/>
                  </a:lnTo>
                  <a:lnTo>
                    <a:pt x="519680" y="325492"/>
                  </a:lnTo>
                  <a:lnTo>
                    <a:pt x="518703" y="327284"/>
                  </a:lnTo>
                  <a:lnTo>
                    <a:pt x="514630" y="327284"/>
                  </a:lnTo>
                  <a:cubicBezTo>
                    <a:pt x="514630" y="327284"/>
                    <a:pt x="514141" y="328099"/>
                    <a:pt x="514141" y="328099"/>
                  </a:cubicBezTo>
                  <a:lnTo>
                    <a:pt x="509905" y="326633"/>
                  </a:lnTo>
                  <a:lnTo>
                    <a:pt x="508602" y="320279"/>
                  </a:lnTo>
                  <a:lnTo>
                    <a:pt x="509743" y="316370"/>
                  </a:lnTo>
                  <a:lnTo>
                    <a:pt x="505833" y="312949"/>
                  </a:lnTo>
                  <a:lnTo>
                    <a:pt x="501434" y="312949"/>
                  </a:lnTo>
                  <a:lnTo>
                    <a:pt x="501760" y="314415"/>
                  </a:lnTo>
                  <a:lnTo>
                    <a:pt x="504693" y="315229"/>
                  </a:lnTo>
                  <a:lnTo>
                    <a:pt x="506648" y="317673"/>
                  </a:lnTo>
                  <a:lnTo>
                    <a:pt x="505181" y="319139"/>
                  </a:lnTo>
                  <a:lnTo>
                    <a:pt x="503715" y="322723"/>
                  </a:lnTo>
                  <a:lnTo>
                    <a:pt x="503389" y="326307"/>
                  </a:lnTo>
                  <a:lnTo>
                    <a:pt x="499643" y="330543"/>
                  </a:lnTo>
                  <a:lnTo>
                    <a:pt x="483677" y="336408"/>
                  </a:lnTo>
                  <a:lnTo>
                    <a:pt x="480908" y="338688"/>
                  </a:lnTo>
                  <a:lnTo>
                    <a:pt x="479930" y="342598"/>
                  </a:lnTo>
                  <a:lnTo>
                    <a:pt x="477487" y="347648"/>
                  </a:lnTo>
                  <a:lnTo>
                    <a:pt x="478301" y="350743"/>
                  </a:lnTo>
                  <a:lnTo>
                    <a:pt x="481071" y="356119"/>
                  </a:lnTo>
                  <a:lnTo>
                    <a:pt x="480745" y="357749"/>
                  </a:lnTo>
                  <a:lnTo>
                    <a:pt x="482374" y="358563"/>
                  </a:lnTo>
                  <a:lnTo>
                    <a:pt x="476672" y="363613"/>
                  </a:lnTo>
                  <a:lnTo>
                    <a:pt x="475369" y="368338"/>
                  </a:lnTo>
                  <a:lnTo>
                    <a:pt x="472600" y="368663"/>
                  </a:lnTo>
                  <a:lnTo>
                    <a:pt x="473740" y="371759"/>
                  </a:lnTo>
                  <a:lnTo>
                    <a:pt x="464454" y="378438"/>
                  </a:lnTo>
                  <a:lnTo>
                    <a:pt x="463965" y="381696"/>
                  </a:lnTo>
                  <a:lnTo>
                    <a:pt x="450118" y="388864"/>
                  </a:lnTo>
                  <a:lnTo>
                    <a:pt x="448652" y="386909"/>
                  </a:lnTo>
                  <a:lnTo>
                    <a:pt x="448652" y="384303"/>
                  </a:lnTo>
                  <a:cubicBezTo>
                    <a:pt x="448652" y="384303"/>
                    <a:pt x="447511" y="383000"/>
                    <a:pt x="447511" y="383000"/>
                  </a:cubicBezTo>
                  <a:lnTo>
                    <a:pt x="445557" y="383000"/>
                  </a:lnTo>
                  <a:lnTo>
                    <a:pt x="441158" y="386421"/>
                  </a:lnTo>
                  <a:lnTo>
                    <a:pt x="438389" y="386746"/>
                  </a:lnTo>
                  <a:lnTo>
                    <a:pt x="437248" y="393589"/>
                  </a:lnTo>
                  <a:lnTo>
                    <a:pt x="441321" y="391959"/>
                  </a:lnTo>
                  <a:lnTo>
                    <a:pt x="442624" y="390167"/>
                  </a:lnTo>
                  <a:lnTo>
                    <a:pt x="444905" y="391308"/>
                  </a:lnTo>
                  <a:lnTo>
                    <a:pt x="427473" y="406784"/>
                  </a:lnTo>
                  <a:lnTo>
                    <a:pt x="423075" y="419002"/>
                  </a:lnTo>
                  <a:lnTo>
                    <a:pt x="400268" y="437411"/>
                  </a:lnTo>
                  <a:lnTo>
                    <a:pt x="396846" y="443927"/>
                  </a:lnTo>
                  <a:lnTo>
                    <a:pt x="391634" y="449141"/>
                  </a:lnTo>
                  <a:lnTo>
                    <a:pt x="382022" y="452399"/>
                  </a:lnTo>
                  <a:lnTo>
                    <a:pt x="374854" y="458426"/>
                  </a:lnTo>
                  <a:lnTo>
                    <a:pt x="374039" y="463802"/>
                  </a:lnTo>
                  <a:lnTo>
                    <a:pt x="375017" y="469830"/>
                  </a:lnTo>
                  <a:lnTo>
                    <a:pt x="370781" y="476021"/>
                  </a:lnTo>
                  <a:lnTo>
                    <a:pt x="364753" y="479930"/>
                  </a:lnTo>
                  <a:lnTo>
                    <a:pt x="353350" y="478138"/>
                  </a:lnTo>
                  <a:lnTo>
                    <a:pt x="348300" y="482374"/>
                  </a:lnTo>
                  <a:lnTo>
                    <a:pt x="348300" y="487750"/>
                  </a:lnTo>
                  <a:lnTo>
                    <a:pt x="341295" y="496710"/>
                  </a:lnTo>
                  <a:lnTo>
                    <a:pt x="337385" y="496384"/>
                  </a:lnTo>
                  <a:lnTo>
                    <a:pt x="334616" y="492474"/>
                  </a:lnTo>
                  <a:lnTo>
                    <a:pt x="332498" y="492474"/>
                  </a:lnTo>
                  <a:lnTo>
                    <a:pt x="324026" y="500946"/>
                  </a:lnTo>
                  <a:lnTo>
                    <a:pt x="321583" y="505670"/>
                  </a:lnTo>
                  <a:lnTo>
                    <a:pt x="321583" y="514793"/>
                  </a:lnTo>
                  <a:cubicBezTo>
                    <a:pt x="321583" y="514793"/>
                    <a:pt x="325981" y="527337"/>
                    <a:pt x="325981" y="527337"/>
                  </a:cubicBezTo>
                  <a:lnTo>
                    <a:pt x="321909" y="532061"/>
                  </a:lnTo>
                  <a:lnTo>
                    <a:pt x="322723" y="539066"/>
                  </a:lnTo>
                  <a:lnTo>
                    <a:pt x="322723" y="558778"/>
                  </a:lnTo>
                  <a:lnTo>
                    <a:pt x="329077" y="560896"/>
                  </a:lnTo>
                  <a:lnTo>
                    <a:pt x="330054" y="573440"/>
                  </a:lnTo>
                  <a:lnTo>
                    <a:pt x="324189" y="590220"/>
                  </a:lnTo>
                  <a:lnTo>
                    <a:pt x="317673" y="601949"/>
                  </a:lnTo>
                  <a:lnTo>
                    <a:pt x="317673" y="611887"/>
                  </a:lnTo>
                  <a:lnTo>
                    <a:pt x="320116" y="615797"/>
                  </a:lnTo>
                  <a:lnTo>
                    <a:pt x="322071" y="637138"/>
                  </a:lnTo>
                  <a:lnTo>
                    <a:pt x="322071" y="643002"/>
                  </a:lnTo>
                  <a:lnTo>
                    <a:pt x="317184" y="644794"/>
                  </a:lnTo>
                  <a:lnTo>
                    <a:pt x="314578" y="643491"/>
                  </a:lnTo>
                  <a:lnTo>
                    <a:pt x="307898" y="644632"/>
                  </a:lnTo>
                  <a:lnTo>
                    <a:pt x="304966" y="649682"/>
                  </a:lnTo>
                  <a:lnTo>
                    <a:pt x="306269" y="651800"/>
                  </a:lnTo>
                  <a:lnTo>
                    <a:pt x="299753" y="660597"/>
                  </a:lnTo>
                  <a:lnTo>
                    <a:pt x="297472" y="663529"/>
                  </a:lnTo>
                  <a:lnTo>
                    <a:pt x="298287" y="666787"/>
                  </a:lnTo>
                  <a:lnTo>
                    <a:pt x="306595" y="671023"/>
                  </a:lnTo>
                  <a:lnTo>
                    <a:pt x="307573" y="672489"/>
                  </a:lnTo>
                  <a:lnTo>
                    <a:pt x="307573" y="674281"/>
                  </a:lnTo>
                  <a:cubicBezTo>
                    <a:pt x="307573" y="674281"/>
                    <a:pt x="306595" y="672000"/>
                    <a:pt x="306595" y="672000"/>
                  </a:cubicBezTo>
                  <a:lnTo>
                    <a:pt x="302685" y="670534"/>
                  </a:lnTo>
                  <a:lnTo>
                    <a:pt x="291770" y="674281"/>
                  </a:lnTo>
                  <a:lnTo>
                    <a:pt x="289978" y="674281"/>
                  </a:lnTo>
                  <a:cubicBezTo>
                    <a:pt x="289978" y="674281"/>
                    <a:pt x="281018" y="678028"/>
                    <a:pt x="281018" y="678028"/>
                  </a:cubicBezTo>
                  <a:lnTo>
                    <a:pt x="278086" y="682752"/>
                  </a:lnTo>
                  <a:lnTo>
                    <a:pt x="277760" y="685522"/>
                  </a:lnTo>
                  <a:lnTo>
                    <a:pt x="276620" y="686662"/>
                  </a:lnTo>
                  <a:lnTo>
                    <a:pt x="277760" y="688617"/>
                  </a:lnTo>
                  <a:lnTo>
                    <a:pt x="275479" y="695459"/>
                  </a:lnTo>
                  <a:lnTo>
                    <a:pt x="265379" y="701650"/>
                  </a:lnTo>
                  <a:lnTo>
                    <a:pt x="257071" y="700835"/>
                  </a:lnTo>
                  <a:lnTo>
                    <a:pt x="249414" y="695459"/>
                  </a:lnTo>
                  <a:lnTo>
                    <a:pt x="241920" y="686499"/>
                  </a:lnTo>
                  <a:lnTo>
                    <a:pt x="232797" y="667602"/>
                  </a:lnTo>
                  <a:lnTo>
                    <a:pt x="232146" y="657013"/>
                  </a:lnTo>
                  <a:lnTo>
                    <a:pt x="229376" y="647401"/>
                  </a:lnTo>
                  <a:lnTo>
                    <a:pt x="223511" y="636812"/>
                  </a:lnTo>
                  <a:lnTo>
                    <a:pt x="223511" y="631925"/>
                  </a:lnTo>
                  <a:lnTo>
                    <a:pt x="221393" y="631925"/>
                  </a:lnTo>
                  <a:cubicBezTo>
                    <a:pt x="221393" y="631925"/>
                    <a:pt x="218950" y="624594"/>
                    <a:pt x="218950" y="624594"/>
                  </a:cubicBezTo>
                  <a:lnTo>
                    <a:pt x="216669" y="615959"/>
                  </a:lnTo>
                  <a:lnTo>
                    <a:pt x="209175" y="607325"/>
                  </a:lnTo>
                  <a:lnTo>
                    <a:pt x="204777" y="600157"/>
                  </a:lnTo>
                  <a:lnTo>
                    <a:pt x="202822" y="600157"/>
                  </a:lnTo>
                  <a:cubicBezTo>
                    <a:pt x="202822" y="600157"/>
                    <a:pt x="195817" y="592664"/>
                    <a:pt x="195817" y="592664"/>
                  </a:cubicBezTo>
                  <a:lnTo>
                    <a:pt x="192721" y="586147"/>
                  </a:lnTo>
                  <a:lnTo>
                    <a:pt x="190441" y="584029"/>
                  </a:lnTo>
                  <a:lnTo>
                    <a:pt x="189626" y="573440"/>
                  </a:lnTo>
                  <a:lnTo>
                    <a:pt x="186694" y="569042"/>
                  </a:lnTo>
                  <a:lnTo>
                    <a:pt x="182295" y="557475"/>
                  </a:lnTo>
                  <a:lnTo>
                    <a:pt x="180992" y="549493"/>
                  </a:lnTo>
                  <a:lnTo>
                    <a:pt x="178223" y="543954"/>
                  </a:lnTo>
                  <a:lnTo>
                    <a:pt x="175453" y="539881"/>
                  </a:lnTo>
                  <a:lnTo>
                    <a:pt x="174802" y="530595"/>
                  </a:lnTo>
                  <a:lnTo>
                    <a:pt x="173335" y="530269"/>
                  </a:lnTo>
                  <a:lnTo>
                    <a:pt x="166819" y="522775"/>
                  </a:lnTo>
                  <a:lnTo>
                    <a:pt x="166819" y="519843"/>
                  </a:lnTo>
                  <a:lnTo>
                    <a:pt x="165027" y="519517"/>
                  </a:lnTo>
                  <a:lnTo>
                    <a:pt x="158999" y="508602"/>
                  </a:lnTo>
                  <a:lnTo>
                    <a:pt x="158999" y="505344"/>
                  </a:lnTo>
                  <a:cubicBezTo>
                    <a:pt x="158999" y="505344"/>
                    <a:pt x="155578" y="503389"/>
                    <a:pt x="155578" y="503389"/>
                  </a:cubicBezTo>
                  <a:lnTo>
                    <a:pt x="153623" y="495895"/>
                  </a:lnTo>
                  <a:lnTo>
                    <a:pt x="149388" y="493126"/>
                  </a:lnTo>
                  <a:lnTo>
                    <a:pt x="145315" y="482048"/>
                  </a:lnTo>
                  <a:lnTo>
                    <a:pt x="145315" y="467712"/>
                  </a:lnTo>
                  <a:cubicBezTo>
                    <a:pt x="145315" y="467712"/>
                    <a:pt x="134237" y="446697"/>
                    <a:pt x="134237" y="446697"/>
                  </a:cubicBezTo>
                  <a:lnTo>
                    <a:pt x="134237" y="439692"/>
                  </a:lnTo>
                  <a:lnTo>
                    <a:pt x="129350" y="432361"/>
                  </a:lnTo>
                  <a:lnTo>
                    <a:pt x="134889" y="432035"/>
                  </a:lnTo>
                  <a:lnTo>
                    <a:pt x="127395" y="422424"/>
                  </a:lnTo>
                  <a:lnTo>
                    <a:pt x="127395" y="417048"/>
                  </a:lnTo>
                  <a:cubicBezTo>
                    <a:pt x="127395" y="417048"/>
                    <a:pt x="131142" y="416233"/>
                    <a:pt x="131142" y="416233"/>
                  </a:cubicBezTo>
                  <a:lnTo>
                    <a:pt x="128372" y="412486"/>
                  </a:lnTo>
                  <a:lnTo>
                    <a:pt x="128046" y="407762"/>
                  </a:lnTo>
                  <a:lnTo>
                    <a:pt x="120390" y="393914"/>
                  </a:lnTo>
                  <a:lnTo>
                    <a:pt x="119250" y="385280"/>
                  </a:lnTo>
                  <a:lnTo>
                    <a:pt x="123974" y="383000"/>
                  </a:lnTo>
                  <a:lnTo>
                    <a:pt x="119901" y="380719"/>
                  </a:lnTo>
                  <a:lnTo>
                    <a:pt x="119901" y="376320"/>
                  </a:lnTo>
                  <a:cubicBezTo>
                    <a:pt x="119901" y="376320"/>
                    <a:pt x="122345" y="370455"/>
                    <a:pt x="122345" y="370455"/>
                  </a:cubicBezTo>
                  <a:lnTo>
                    <a:pt x="121856" y="363125"/>
                  </a:lnTo>
                  <a:lnTo>
                    <a:pt x="119412" y="355631"/>
                  </a:lnTo>
                  <a:lnTo>
                    <a:pt x="116480" y="353676"/>
                  </a:lnTo>
                  <a:lnTo>
                    <a:pt x="114199" y="341621"/>
                  </a:lnTo>
                  <a:lnTo>
                    <a:pt x="119738" y="338200"/>
                  </a:lnTo>
                  <a:lnTo>
                    <a:pt x="121693" y="335267"/>
                  </a:lnTo>
                  <a:lnTo>
                    <a:pt x="125766" y="335267"/>
                  </a:lnTo>
                  <a:lnTo>
                    <a:pt x="121368" y="334290"/>
                  </a:lnTo>
                  <a:lnTo>
                    <a:pt x="115339" y="335104"/>
                  </a:lnTo>
                  <a:lnTo>
                    <a:pt x="112082" y="335104"/>
                  </a:lnTo>
                  <a:cubicBezTo>
                    <a:pt x="112082" y="335104"/>
                    <a:pt x="112733" y="330054"/>
                    <a:pt x="112733" y="330054"/>
                  </a:cubicBezTo>
                  <a:lnTo>
                    <a:pt x="110289" y="325818"/>
                  </a:lnTo>
                  <a:lnTo>
                    <a:pt x="111104" y="320768"/>
                  </a:lnTo>
                  <a:lnTo>
                    <a:pt x="112407" y="319628"/>
                  </a:lnTo>
                  <a:lnTo>
                    <a:pt x="115828" y="320442"/>
                  </a:lnTo>
                  <a:lnTo>
                    <a:pt x="120064" y="316207"/>
                  </a:lnTo>
                  <a:lnTo>
                    <a:pt x="122019" y="312949"/>
                  </a:lnTo>
                  <a:lnTo>
                    <a:pt x="117457" y="315718"/>
                  </a:lnTo>
                  <a:lnTo>
                    <a:pt x="114362" y="314252"/>
                  </a:lnTo>
                  <a:lnTo>
                    <a:pt x="108171" y="315066"/>
                  </a:lnTo>
                  <a:lnTo>
                    <a:pt x="106217" y="310994"/>
                  </a:lnTo>
                  <a:lnTo>
                    <a:pt x="105565" y="314252"/>
                  </a:lnTo>
                  <a:lnTo>
                    <a:pt x="105239" y="319302"/>
                  </a:lnTo>
                  <a:lnTo>
                    <a:pt x="101493" y="329076"/>
                  </a:lnTo>
                  <a:lnTo>
                    <a:pt x="105239" y="333801"/>
                  </a:lnTo>
                  <a:lnTo>
                    <a:pt x="104425" y="342924"/>
                  </a:lnTo>
                  <a:lnTo>
                    <a:pt x="100515" y="346997"/>
                  </a:lnTo>
                  <a:lnTo>
                    <a:pt x="100515" y="349766"/>
                  </a:lnTo>
                  <a:cubicBezTo>
                    <a:pt x="100515" y="349766"/>
                    <a:pt x="91718" y="354165"/>
                    <a:pt x="91718" y="354165"/>
                  </a:cubicBezTo>
                  <a:lnTo>
                    <a:pt x="78522" y="362310"/>
                  </a:lnTo>
                  <a:lnTo>
                    <a:pt x="72332" y="364428"/>
                  </a:lnTo>
                  <a:lnTo>
                    <a:pt x="63046" y="362473"/>
                  </a:lnTo>
                  <a:lnTo>
                    <a:pt x="43334" y="346671"/>
                  </a:lnTo>
                  <a:lnTo>
                    <a:pt x="35188" y="336082"/>
                  </a:lnTo>
                  <a:lnTo>
                    <a:pt x="35188" y="334290"/>
                  </a:lnTo>
                  <a:cubicBezTo>
                    <a:pt x="35188" y="334290"/>
                    <a:pt x="32745" y="334452"/>
                    <a:pt x="32745" y="334452"/>
                  </a:cubicBezTo>
                  <a:lnTo>
                    <a:pt x="29323" y="332660"/>
                  </a:lnTo>
                  <a:lnTo>
                    <a:pt x="18083" y="321420"/>
                  </a:lnTo>
                  <a:lnTo>
                    <a:pt x="17105" y="317999"/>
                  </a:lnTo>
                  <a:lnTo>
                    <a:pt x="18083" y="315229"/>
                  </a:lnTo>
                  <a:lnTo>
                    <a:pt x="21178" y="314903"/>
                  </a:lnTo>
                  <a:lnTo>
                    <a:pt x="22155" y="316370"/>
                  </a:lnTo>
                  <a:lnTo>
                    <a:pt x="25251" y="315392"/>
                  </a:lnTo>
                  <a:lnTo>
                    <a:pt x="25251" y="321094"/>
                  </a:lnTo>
                  <a:cubicBezTo>
                    <a:pt x="25251" y="321094"/>
                    <a:pt x="29323" y="321583"/>
                    <a:pt x="29323" y="321583"/>
                  </a:cubicBezTo>
                  <a:lnTo>
                    <a:pt x="32093" y="319139"/>
                  </a:lnTo>
                  <a:lnTo>
                    <a:pt x="33722" y="319139"/>
                  </a:lnTo>
                  <a:cubicBezTo>
                    <a:pt x="33722" y="319139"/>
                    <a:pt x="36491" y="320605"/>
                    <a:pt x="36491" y="320605"/>
                  </a:cubicBezTo>
                  <a:lnTo>
                    <a:pt x="37143" y="318650"/>
                  </a:lnTo>
                  <a:lnTo>
                    <a:pt x="47732" y="310342"/>
                  </a:lnTo>
                  <a:lnTo>
                    <a:pt x="50991" y="310342"/>
                  </a:lnTo>
                  <a:cubicBezTo>
                    <a:pt x="50991" y="310342"/>
                    <a:pt x="55878" y="302685"/>
                    <a:pt x="55878" y="302685"/>
                  </a:cubicBezTo>
                  <a:lnTo>
                    <a:pt x="57344" y="303011"/>
                  </a:lnTo>
                  <a:lnTo>
                    <a:pt x="59299" y="298124"/>
                  </a:lnTo>
                  <a:lnTo>
                    <a:pt x="54086" y="297798"/>
                  </a:lnTo>
                  <a:lnTo>
                    <a:pt x="52620" y="296983"/>
                  </a:lnTo>
                  <a:lnTo>
                    <a:pt x="53434" y="298613"/>
                  </a:lnTo>
                  <a:lnTo>
                    <a:pt x="52945" y="300893"/>
                  </a:lnTo>
                  <a:lnTo>
                    <a:pt x="42356" y="305455"/>
                  </a:lnTo>
                  <a:lnTo>
                    <a:pt x="36166" y="305455"/>
                  </a:lnTo>
                  <a:lnTo>
                    <a:pt x="31279" y="307084"/>
                  </a:lnTo>
                  <a:lnTo>
                    <a:pt x="14662" y="301219"/>
                  </a:lnTo>
                  <a:lnTo>
                    <a:pt x="6679" y="292911"/>
                  </a:lnTo>
                  <a:lnTo>
                    <a:pt x="3421" y="291282"/>
                  </a:lnTo>
                  <a:lnTo>
                    <a:pt x="3747" y="286068"/>
                  </a:lnTo>
                  <a:lnTo>
                    <a:pt x="8797" y="279552"/>
                  </a:lnTo>
                  <a:lnTo>
                    <a:pt x="14336" y="276457"/>
                  </a:lnTo>
                  <a:lnTo>
                    <a:pt x="7168" y="277597"/>
                  </a:lnTo>
                  <a:lnTo>
                    <a:pt x="0" y="282159"/>
                  </a:lnTo>
                  <a:lnTo>
                    <a:pt x="326" y="275479"/>
                  </a:lnTo>
                  <a:lnTo>
                    <a:pt x="5702" y="272058"/>
                  </a:lnTo>
                  <a:lnTo>
                    <a:pt x="9123" y="271081"/>
                  </a:lnTo>
                  <a:lnTo>
                    <a:pt x="11404" y="264565"/>
                  </a:lnTo>
                  <a:lnTo>
                    <a:pt x="15314" y="265542"/>
                  </a:lnTo>
                  <a:lnTo>
                    <a:pt x="19549" y="263261"/>
                  </a:lnTo>
                  <a:lnTo>
                    <a:pt x="36980" y="264239"/>
                  </a:lnTo>
                  <a:lnTo>
                    <a:pt x="47080" y="260492"/>
                  </a:lnTo>
                  <a:lnTo>
                    <a:pt x="49036" y="258211"/>
                  </a:lnTo>
                  <a:lnTo>
                    <a:pt x="54900" y="256419"/>
                  </a:lnTo>
                  <a:lnTo>
                    <a:pt x="52945" y="260166"/>
                  </a:lnTo>
                  <a:lnTo>
                    <a:pt x="55389" y="263098"/>
                  </a:lnTo>
                  <a:lnTo>
                    <a:pt x="61091" y="259677"/>
                  </a:lnTo>
                  <a:lnTo>
                    <a:pt x="65815" y="258048"/>
                  </a:lnTo>
                  <a:lnTo>
                    <a:pt x="63861" y="255604"/>
                  </a:lnTo>
                  <a:lnTo>
                    <a:pt x="64675" y="251858"/>
                  </a:lnTo>
                  <a:lnTo>
                    <a:pt x="58973" y="235567"/>
                  </a:lnTo>
                  <a:lnTo>
                    <a:pt x="53923" y="228887"/>
                  </a:lnTo>
                  <a:lnTo>
                    <a:pt x="55226" y="225466"/>
                  </a:lnTo>
                  <a:lnTo>
                    <a:pt x="51805" y="222534"/>
                  </a:lnTo>
                  <a:lnTo>
                    <a:pt x="46755" y="222860"/>
                  </a:lnTo>
                  <a:lnTo>
                    <a:pt x="38446" y="217484"/>
                  </a:lnTo>
                  <a:lnTo>
                    <a:pt x="37306" y="208035"/>
                  </a:lnTo>
                  <a:lnTo>
                    <a:pt x="37632" y="201844"/>
                  </a:lnTo>
                  <a:lnTo>
                    <a:pt x="33885" y="193862"/>
                  </a:lnTo>
                  <a:lnTo>
                    <a:pt x="29161" y="193862"/>
                  </a:lnTo>
                  <a:cubicBezTo>
                    <a:pt x="29161" y="193862"/>
                    <a:pt x="26391" y="195165"/>
                    <a:pt x="26391" y="195165"/>
                  </a:cubicBezTo>
                  <a:lnTo>
                    <a:pt x="20364" y="193210"/>
                  </a:lnTo>
                  <a:lnTo>
                    <a:pt x="16128" y="193210"/>
                  </a:lnTo>
                  <a:cubicBezTo>
                    <a:pt x="16128" y="193210"/>
                    <a:pt x="16128" y="187020"/>
                    <a:pt x="16128" y="187020"/>
                  </a:cubicBezTo>
                  <a:lnTo>
                    <a:pt x="20201" y="176757"/>
                  </a:lnTo>
                  <a:lnTo>
                    <a:pt x="24111" y="175453"/>
                  </a:lnTo>
                  <a:lnTo>
                    <a:pt x="30953" y="165679"/>
                  </a:lnTo>
                  <a:lnTo>
                    <a:pt x="32093" y="161280"/>
                  </a:lnTo>
                  <a:lnTo>
                    <a:pt x="36818" y="158836"/>
                  </a:lnTo>
                  <a:lnTo>
                    <a:pt x="40076" y="156393"/>
                  </a:lnTo>
                  <a:lnTo>
                    <a:pt x="45614" y="158836"/>
                  </a:lnTo>
                  <a:lnTo>
                    <a:pt x="46755" y="163887"/>
                  </a:lnTo>
                  <a:lnTo>
                    <a:pt x="50502" y="164701"/>
                  </a:lnTo>
                  <a:lnTo>
                    <a:pt x="60114" y="159651"/>
                  </a:lnTo>
                  <a:lnTo>
                    <a:pt x="73635" y="158836"/>
                  </a:lnTo>
                  <a:lnTo>
                    <a:pt x="81780" y="149876"/>
                  </a:lnTo>
                  <a:lnTo>
                    <a:pt x="86830" y="134726"/>
                  </a:lnTo>
                  <a:lnTo>
                    <a:pt x="98560" y="126418"/>
                  </a:lnTo>
                  <a:lnTo>
                    <a:pt x="101493" y="120879"/>
                  </a:lnTo>
                  <a:lnTo>
                    <a:pt x="102633" y="112570"/>
                  </a:lnTo>
                  <a:lnTo>
                    <a:pt x="108334" y="104425"/>
                  </a:lnTo>
                  <a:lnTo>
                    <a:pt x="116643" y="100352"/>
                  </a:lnTo>
                  <a:lnTo>
                    <a:pt x="119412" y="94161"/>
                  </a:lnTo>
                  <a:lnTo>
                    <a:pt x="119412" y="89437"/>
                  </a:lnTo>
                  <a:cubicBezTo>
                    <a:pt x="119412" y="89437"/>
                    <a:pt x="115991" y="86831"/>
                    <a:pt x="115991" y="86831"/>
                  </a:cubicBezTo>
                  <a:lnTo>
                    <a:pt x="123322" y="78685"/>
                  </a:lnTo>
                  <a:lnTo>
                    <a:pt x="127395" y="75590"/>
                  </a:lnTo>
                  <a:lnTo>
                    <a:pt x="128046" y="69562"/>
                  </a:lnTo>
                  <a:lnTo>
                    <a:pt x="129350" y="56855"/>
                  </a:lnTo>
                  <a:lnTo>
                    <a:pt x="126743" y="47407"/>
                  </a:lnTo>
                  <a:lnTo>
                    <a:pt x="125277" y="45126"/>
                  </a:lnTo>
                  <a:lnTo>
                    <a:pt x="133423" y="37306"/>
                  </a:lnTo>
                  <a:lnTo>
                    <a:pt x="138147" y="35677"/>
                  </a:lnTo>
                  <a:lnTo>
                    <a:pt x="142871" y="32582"/>
                  </a:lnTo>
                  <a:lnTo>
                    <a:pt x="145966" y="33071"/>
                  </a:lnTo>
                  <a:lnTo>
                    <a:pt x="152646" y="25740"/>
                  </a:lnTo>
                  <a:lnTo>
                    <a:pt x="160139" y="13196"/>
                  </a:lnTo>
                  <a:lnTo>
                    <a:pt x="167634" y="6353"/>
                  </a:lnTo>
                  <a:lnTo>
                    <a:pt x="174150" y="6028"/>
                  </a:lnTo>
                  <a:lnTo>
                    <a:pt x="177408" y="0"/>
                  </a:lnTo>
                  <a:lnTo>
                    <a:pt x="182784" y="0"/>
                  </a:lnTo>
                  <a:lnTo>
                    <a:pt x="196794" y="9449"/>
                  </a:lnTo>
                  <a:lnTo>
                    <a:pt x="204125" y="5376"/>
                  </a:lnTo>
                  <a:lnTo>
                    <a:pt x="211130" y="8145"/>
                  </a:lnTo>
                  <a:lnTo>
                    <a:pt x="213737" y="15151"/>
                  </a:lnTo>
                  <a:lnTo>
                    <a:pt x="220253" y="14825"/>
                  </a:lnTo>
                  <a:lnTo>
                    <a:pt x="230516" y="21341"/>
                  </a:lnTo>
                  <a:lnTo>
                    <a:pt x="230516" y="21341"/>
                  </a:lnTo>
                  <a:close/>
                  <a:moveTo>
                    <a:pt x="521798" y="331032"/>
                  </a:moveTo>
                  <a:lnTo>
                    <a:pt x="521798" y="335430"/>
                  </a:lnTo>
                  <a:lnTo>
                    <a:pt x="523427" y="333638"/>
                  </a:lnTo>
                  <a:lnTo>
                    <a:pt x="521798" y="331032"/>
                  </a:lnTo>
                  <a:lnTo>
                    <a:pt x="521798" y="331032"/>
                  </a:lnTo>
                  <a:close/>
                  <a:moveTo>
                    <a:pt x="519191" y="329240"/>
                  </a:moveTo>
                  <a:lnTo>
                    <a:pt x="516259" y="330868"/>
                  </a:lnTo>
                  <a:lnTo>
                    <a:pt x="517237" y="333801"/>
                  </a:lnTo>
                  <a:lnTo>
                    <a:pt x="519028" y="335104"/>
                  </a:lnTo>
                  <a:lnTo>
                    <a:pt x="519517" y="332009"/>
                  </a:lnTo>
                  <a:lnTo>
                    <a:pt x="519191" y="329402"/>
                  </a:lnTo>
                  <a:lnTo>
                    <a:pt x="519191" y="329402"/>
                  </a:lnTo>
                  <a:close/>
                  <a:moveTo>
                    <a:pt x="512023" y="330217"/>
                  </a:moveTo>
                  <a:lnTo>
                    <a:pt x="512512" y="335267"/>
                  </a:lnTo>
                  <a:lnTo>
                    <a:pt x="515282" y="337222"/>
                  </a:lnTo>
                  <a:lnTo>
                    <a:pt x="514630" y="332660"/>
                  </a:lnTo>
                  <a:lnTo>
                    <a:pt x="512023" y="330217"/>
                  </a:lnTo>
                  <a:lnTo>
                    <a:pt x="512023" y="330217"/>
                  </a:lnTo>
                  <a:close/>
                  <a:moveTo>
                    <a:pt x="504855" y="331846"/>
                  </a:moveTo>
                  <a:lnTo>
                    <a:pt x="504855" y="334452"/>
                  </a:lnTo>
                  <a:cubicBezTo>
                    <a:pt x="504855" y="334452"/>
                    <a:pt x="506810" y="333475"/>
                    <a:pt x="506810" y="333475"/>
                  </a:cubicBezTo>
                  <a:lnTo>
                    <a:pt x="509254" y="327447"/>
                  </a:lnTo>
                  <a:lnTo>
                    <a:pt x="507625" y="324841"/>
                  </a:lnTo>
                  <a:lnTo>
                    <a:pt x="504855" y="331846"/>
                  </a:lnTo>
                  <a:close/>
                </a:path>
              </a:pathLst>
            </a:custGeom>
            <a:solidFill>
              <a:schemeClr val="bg2"/>
            </a:solidFill>
            <a:ln w="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3" name="Forma livre: Forma 212">
              <a:extLst>
                <a:ext uri="{FF2B5EF4-FFF2-40B4-BE49-F238E27FC236}">
                  <a16:creationId xmlns:a16="http://schemas.microsoft.com/office/drawing/2014/main" id="{9BC386C3-38DF-FC76-421F-C156CAF72121}"/>
                </a:ext>
              </a:extLst>
            </p:cNvPr>
            <p:cNvSpPr/>
            <p:nvPr/>
          </p:nvSpPr>
          <p:spPr>
            <a:xfrm>
              <a:off x="8296647" y="4165621"/>
              <a:ext cx="81986" cy="48484"/>
            </a:xfrm>
            <a:custGeom>
              <a:avLst/>
              <a:gdLst>
                <a:gd name="connsiteX0" fmla="*/ 2607 w 79336"/>
                <a:gd name="connsiteY0" fmla="*/ 21993 h 46917"/>
                <a:gd name="connsiteX1" fmla="*/ 7657 w 79336"/>
                <a:gd name="connsiteY1" fmla="*/ 19712 h 46917"/>
                <a:gd name="connsiteX2" fmla="*/ 13359 w 79336"/>
                <a:gd name="connsiteY2" fmla="*/ 8471 h 46917"/>
                <a:gd name="connsiteX3" fmla="*/ 25902 w 79336"/>
                <a:gd name="connsiteY3" fmla="*/ 977 h 46917"/>
                <a:gd name="connsiteX4" fmla="*/ 33885 w 79336"/>
                <a:gd name="connsiteY4" fmla="*/ 0 h 46917"/>
                <a:gd name="connsiteX5" fmla="*/ 36491 w 79336"/>
                <a:gd name="connsiteY5" fmla="*/ 4236 h 46917"/>
                <a:gd name="connsiteX6" fmla="*/ 48873 w 79336"/>
                <a:gd name="connsiteY6" fmla="*/ 5376 h 46917"/>
                <a:gd name="connsiteX7" fmla="*/ 53760 w 79336"/>
                <a:gd name="connsiteY7" fmla="*/ 7657 h 46917"/>
                <a:gd name="connsiteX8" fmla="*/ 60276 w 79336"/>
                <a:gd name="connsiteY8" fmla="*/ 5050 h 46917"/>
                <a:gd name="connsiteX9" fmla="*/ 66793 w 79336"/>
                <a:gd name="connsiteY9" fmla="*/ 5213 h 46917"/>
                <a:gd name="connsiteX10" fmla="*/ 71028 w 79336"/>
                <a:gd name="connsiteY10" fmla="*/ 10752 h 46917"/>
                <a:gd name="connsiteX11" fmla="*/ 72169 w 79336"/>
                <a:gd name="connsiteY11" fmla="*/ 10752 h 46917"/>
                <a:gd name="connsiteX12" fmla="*/ 70539 w 79336"/>
                <a:gd name="connsiteY12" fmla="*/ 16942 h 46917"/>
                <a:gd name="connsiteX13" fmla="*/ 71191 w 79336"/>
                <a:gd name="connsiteY13" fmla="*/ 21993 h 46917"/>
                <a:gd name="connsiteX14" fmla="*/ 79174 w 79336"/>
                <a:gd name="connsiteY14" fmla="*/ 25577 h 46917"/>
                <a:gd name="connsiteX15" fmla="*/ 79174 w 79336"/>
                <a:gd name="connsiteY15" fmla="*/ 32745 h 46917"/>
                <a:gd name="connsiteX16" fmla="*/ 79337 w 79336"/>
                <a:gd name="connsiteY16" fmla="*/ 36817 h 46917"/>
                <a:gd name="connsiteX17" fmla="*/ 68910 w 79336"/>
                <a:gd name="connsiteY17" fmla="*/ 40076 h 46917"/>
                <a:gd name="connsiteX18" fmla="*/ 61905 w 79336"/>
                <a:gd name="connsiteY18" fmla="*/ 39750 h 46917"/>
                <a:gd name="connsiteX19" fmla="*/ 52782 w 79336"/>
                <a:gd name="connsiteY19" fmla="*/ 42356 h 46917"/>
                <a:gd name="connsiteX20" fmla="*/ 47407 w 79336"/>
                <a:gd name="connsiteY20" fmla="*/ 39913 h 46917"/>
                <a:gd name="connsiteX21" fmla="*/ 41705 w 79336"/>
                <a:gd name="connsiteY21" fmla="*/ 40564 h 46917"/>
                <a:gd name="connsiteX22" fmla="*/ 36491 w 79336"/>
                <a:gd name="connsiteY22" fmla="*/ 46918 h 46917"/>
                <a:gd name="connsiteX23" fmla="*/ 29812 w 79336"/>
                <a:gd name="connsiteY23" fmla="*/ 46918 h 46917"/>
                <a:gd name="connsiteX24" fmla="*/ 17268 w 79336"/>
                <a:gd name="connsiteY24" fmla="*/ 39750 h 46917"/>
                <a:gd name="connsiteX25" fmla="*/ 13684 w 79336"/>
                <a:gd name="connsiteY25" fmla="*/ 41868 h 46917"/>
                <a:gd name="connsiteX26" fmla="*/ 5050 w 79336"/>
                <a:gd name="connsiteY26" fmla="*/ 40076 h 46917"/>
                <a:gd name="connsiteX27" fmla="*/ 0 w 79336"/>
                <a:gd name="connsiteY27" fmla="*/ 32093 h 46917"/>
                <a:gd name="connsiteX28" fmla="*/ 1955 w 79336"/>
                <a:gd name="connsiteY28" fmla="*/ 27857 h 46917"/>
                <a:gd name="connsiteX29" fmla="*/ 2607 w 79336"/>
                <a:gd name="connsiteY29" fmla="*/ 21993 h 469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79336" h="46917">
                  <a:moveTo>
                    <a:pt x="2607" y="21993"/>
                  </a:moveTo>
                  <a:lnTo>
                    <a:pt x="7657" y="19712"/>
                  </a:lnTo>
                  <a:lnTo>
                    <a:pt x="13359" y="8471"/>
                  </a:lnTo>
                  <a:lnTo>
                    <a:pt x="25902" y="977"/>
                  </a:lnTo>
                  <a:lnTo>
                    <a:pt x="33885" y="0"/>
                  </a:lnTo>
                  <a:lnTo>
                    <a:pt x="36491" y="4236"/>
                  </a:lnTo>
                  <a:lnTo>
                    <a:pt x="48873" y="5376"/>
                  </a:lnTo>
                  <a:lnTo>
                    <a:pt x="53760" y="7657"/>
                  </a:lnTo>
                  <a:lnTo>
                    <a:pt x="60276" y="5050"/>
                  </a:lnTo>
                  <a:lnTo>
                    <a:pt x="66793" y="5213"/>
                  </a:lnTo>
                  <a:lnTo>
                    <a:pt x="71028" y="10752"/>
                  </a:lnTo>
                  <a:lnTo>
                    <a:pt x="72169" y="10752"/>
                  </a:lnTo>
                  <a:lnTo>
                    <a:pt x="70539" y="16942"/>
                  </a:lnTo>
                  <a:lnTo>
                    <a:pt x="71191" y="21993"/>
                  </a:lnTo>
                  <a:lnTo>
                    <a:pt x="79174" y="25577"/>
                  </a:lnTo>
                  <a:lnTo>
                    <a:pt x="79174" y="32745"/>
                  </a:lnTo>
                  <a:lnTo>
                    <a:pt x="79337" y="36817"/>
                  </a:lnTo>
                  <a:lnTo>
                    <a:pt x="68910" y="40076"/>
                  </a:lnTo>
                  <a:lnTo>
                    <a:pt x="61905" y="39750"/>
                  </a:lnTo>
                  <a:lnTo>
                    <a:pt x="52782" y="42356"/>
                  </a:lnTo>
                  <a:lnTo>
                    <a:pt x="47407" y="39913"/>
                  </a:lnTo>
                  <a:lnTo>
                    <a:pt x="41705" y="40564"/>
                  </a:lnTo>
                  <a:lnTo>
                    <a:pt x="36491" y="46918"/>
                  </a:lnTo>
                  <a:lnTo>
                    <a:pt x="29812" y="46918"/>
                  </a:lnTo>
                  <a:lnTo>
                    <a:pt x="17268" y="39750"/>
                  </a:lnTo>
                  <a:lnTo>
                    <a:pt x="13684" y="41868"/>
                  </a:lnTo>
                  <a:lnTo>
                    <a:pt x="5050" y="40076"/>
                  </a:lnTo>
                  <a:lnTo>
                    <a:pt x="0" y="32093"/>
                  </a:lnTo>
                  <a:lnTo>
                    <a:pt x="1955" y="27857"/>
                  </a:lnTo>
                  <a:lnTo>
                    <a:pt x="2607" y="21993"/>
                  </a:lnTo>
                  <a:close/>
                </a:path>
              </a:pathLst>
            </a:custGeom>
            <a:solidFill>
              <a:schemeClr val="bg2"/>
            </a:solidFill>
            <a:ln w="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4" name="Forma livre: Forma 213">
              <a:extLst>
                <a:ext uri="{FF2B5EF4-FFF2-40B4-BE49-F238E27FC236}">
                  <a16:creationId xmlns:a16="http://schemas.microsoft.com/office/drawing/2014/main" id="{F0CEF219-CFDF-8BD2-8247-F2ED157C7638}"/>
                </a:ext>
              </a:extLst>
            </p:cNvPr>
            <p:cNvSpPr/>
            <p:nvPr/>
          </p:nvSpPr>
          <p:spPr>
            <a:xfrm>
              <a:off x="8063650" y="4105688"/>
              <a:ext cx="219697" cy="115993"/>
            </a:xfrm>
            <a:custGeom>
              <a:avLst/>
              <a:gdLst>
                <a:gd name="connsiteX0" fmla="*/ 9285 w 212596"/>
                <a:gd name="connsiteY0" fmla="*/ 1466 h 112244"/>
                <a:gd name="connsiteX1" fmla="*/ 10263 w 212596"/>
                <a:gd name="connsiteY1" fmla="*/ 0 h 112244"/>
                <a:gd name="connsiteX2" fmla="*/ 17920 w 212596"/>
                <a:gd name="connsiteY2" fmla="*/ 3910 h 112244"/>
                <a:gd name="connsiteX3" fmla="*/ 19712 w 212596"/>
                <a:gd name="connsiteY3" fmla="*/ 6679 h 112244"/>
                <a:gd name="connsiteX4" fmla="*/ 24925 w 212596"/>
                <a:gd name="connsiteY4" fmla="*/ 6517 h 112244"/>
                <a:gd name="connsiteX5" fmla="*/ 27694 w 212596"/>
                <a:gd name="connsiteY5" fmla="*/ 7820 h 112244"/>
                <a:gd name="connsiteX6" fmla="*/ 30790 w 212596"/>
                <a:gd name="connsiteY6" fmla="*/ 3258 h 112244"/>
                <a:gd name="connsiteX7" fmla="*/ 36980 w 212596"/>
                <a:gd name="connsiteY7" fmla="*/ 2607 h 112244"/>
                <a:gd name="connsiteX8" fmla="*/ 46429 w 212596"/>
                <a:gd name="connsiteY8" fmla="*/ 6191 h 112244"/>
                <a:gd name="connsiteX9" fmla="*/ 49035 w 212596"/>
                <a:gd name="connsiteY9" fmla="*/ 8797 h 112244"/>
                <a:gd name="connsiteX10" fmla="*/ 55063 w 212596"/>
                <a:gd name="connsiteY10" fmla="*/ 9123 h 112244"/>
                <a:gd name="connsiteX11" fmla="*/ 58973 w 212596"/>
                <a:gd name="connsiteY11" fmla="*/ 11893 h 112244"/>
                <a:gd name="connsiteX12" fmla="*/ 66467 w 212596"/>
                <a:gd name="connsiteY12" fmla="*/ 19712 h 112244"/>
                <a:gd name="connsiteX13" fmla="*/ 72494 w 212596"/>
                <a:gd name="connsiteY13" fmla="*/ 20038 h 112244"/>
                <a:gd name="connsiteX14" fmla="*/ 77871 w 212596"/>
                <a:gd name="connsiteY14" fmla="*/ 22807 h 112244"/>
                <a:gd name="connsiteX15" fmla="*/ 79988 w 212596"/>
                <a:gd name="connsiteY15" fmla="*/ 26066 h 112244"/>
                <a:gd name="connsiteX16" fmla="*/ 84550 w 212596"/>
                <a:gd name="connsiteY16" fmla="*/ 31442 h 112244"/>
                <a:gd name="connsiteX17" fmla="*/ 86830 w 212596"/>
                <a:gd name="connsiteY17" fmla="*/ 36980 h 112244"/>
                <a:gd name="connsiteX18" fmla="*/ 89437 w 212596"/>
                <a:gd name="connsiteY18" fmla="*/ 35840 h 112244"/>
                <a:gd name="connsiteX19" fmla="*/ 89926 w 212596"/>
                <a:gd name="connsiteY19" fmla="*/ 28183 h 112244"/>
                <a:gd name="connsiteX20" fmla="*/ 92858 w 212596"/>
                <a:gd name="connsiteY20" fmla="*/ 25414 h 112244"/>
                <a:gd name="connsiteX21" fmla="*/ 94650 w 212596"/>
                <a:gd name="connsiteY21" fmla="*/ 27695 h 112244"/>
                <a:gd name="connsiteX22" fmla="*/ 100026 w 212596"/>
                <a:gd name="connsiteY22" fmla="*/ 27695 h 112244"/>
                <a:gd name="connsiteX23" fmla="*/ 105402 w 212596"/>
                <a:gd name="connsiteY23" fmla="*/ 30953 h 112244"/>
                <a:gd name="connsiteX24" fmla="*/ 106054 w 212596"/>
                <a:gd name="connsiteY24" fmla="*/ 37958 h 112244"/>
                <a:gd name="connsiteX25" fmla="*/ 112407 w 212596"/>
                <a:gd name="connsiteY25" fmla="*/ 43497 h 112244"/>
                <a:gd name="connsiteX26" fmla="*/ 120553 w 212596"/>
                <a:gd name="connsiteY26" fmla="*/ 41379 h 112244"/>
                <a:gd name="connsiteX27" fmla="*/ 126906 w 212596"/>
                <a:gd name="connsiteY27" fmla="*/ 42194 h 112244"/>
                <a:gd name="connsiteX28" fmla="*/ 125440 w 212596"/>
                <a:gd name="connsiteY28" fmla="*/ 52783 h 112244"/>
                <a:gd name="connsiteX29" fmla="*/ 128372 w 212596"/>
                <a:gd name="connsiteY29" fmla="*/ 58647 h 112244"/>
                <a:gd name="connsiteX30" fmla="*/ 132608 w 212596"/>
                <a:gd name="connsiteY30" fmla="*/ 57670 h 112244"/>
                <a:gd name="connsiteX31" fmla="*/ 139939 w 212596"/>
                <a:gd name="connsiteY31" fmla="*/ 61254 h 112244"/>
                <a:gd name="connsiteX32" fmla="*/ 143034 w 212596"/>
                <a:gd name="connsiteY32" fmla="*/ 58485 h 112244"/>
                <a:gd name="connsiteX33" fmla="*/ 148573 w 212596"/>
                <a:gd name="connsiteY33" fmla="*/ 56855 h 112244"/>
                <a:gd name="connsiteX34" fmla="*/ 153135 w 212596"/>
                <a:gd name="connsiteY34" fmla="*/ 51642 h 112244"/>
                <a:gd name="connsiteX35" fmla="*/ 162746 w 212596"/>
                <a:gd name="connsiteY35" fmla="*/ 52783 h 112244"/>
                <a:gd name="connsiteX36" fmla="*/ 168937 w 212596"/>
                <a:gd name="connsiteY36" fmla="*/ 55878 h 112244"/>
                <a:gd name="connsiteX37" fmla="*/ 170403 w 212596"/>
                <a:gd name="connsiteY37" fmla="*/ 61906 h 112244"/>
                <a:gd name="connsiteX38" fmla="*/ 178060 w 212596"/>
                <a:gd name="connsiteY38" fmla="*/ 64838 h 112244"/>
                <a:gd name="connsiteX39" fmla="*/ 183110 w 212596"/>
                <a:gd name="connsiteY39" fmla="*/ 72006 h 112244"/>
                <a:gd name="connsiteX40" fmla="*/ 187508 w 212596"/>
                <a:gd name="connsiteY40" fmla="*/ 72983 h 112244"/>
                <a:gd name="connsiteX41" fmla="*/ 194025 w 212596"/>
                <a:gd name="connsiteY41" fmla="*/ 70214 h 112244"/>
                <a:gd name="connsiteX42" fmla="*/ 196631 w 212596"/>
                <a:gd name="connsiteY42" fmla="*/ 71354 h 112244"/>
                <a:gd name="connsiteX43" fmla="*/ 203636 w 212596"/>
                <a:gd name="connsiteY43" fmla="*/ 69236 h 112244"/>
                <a:gd name="connsiteX44" fmla="*/ 208360 w 212596"/>
                <a:gd name="connsiteY44" fmla="*/ 69562 h 112244"/>
                <a:gd name="connsiteX45" fmla="*/ 209990 w 212596"/>
                <a:gd name="connsiteY45" fmla="*/ 74938 h 112244"/>
                <a:gd name="connsiteX46" fmla="*/ 207709 w 212596"/>
                <a:gd name="connsiteY46" fmla="*/ 87156 h 112244"/>
                <a:gd name="connsiteX47" fmla="*/ 212596 w 212596"/>
                <a:gd name="connsiteY47" fmla="*/ 97094 h 112244"/>
                <a:gd name="connsiteX48" fmla="*/ 210641 w 212596"/>
                <a:gd name="connsiteY48" fmla="*/ 108986 h 112244"/>
                <a:gd name="connsiteX49" fmla="*/ 194839 w 212596"/>
                <a:gd name="connsiteY49" fmla="*/ 112244 h 112244"/>
                <a:gd name="connsiteX50" fmla="*/ 185228 w 212596"/>
                <a:gd name="connsiteY50" fmla="*/ 107031 h 112244"/>
                <a:gd name="connsiteX51" fmla="*/ 179689 w 212596"/>
                <a:gd name="connsiteY51" fmla="*/ 109964 h 112244"/>
                <a:gd name="connsiteX52" fmla="*/ 157533 w 212596"/>
                <a:gd name="connsiteY52" fmla="*/ 101981 h 112244"/>
                <a:gd name="connsiteX53" fmla="*/ 148736 w 212596"/>
                <a:gd name="connsiteY53" fmla="*/ 102307 h 112244"/>
                <a:gd name="connsiteX54" fmla="*/ 143849 w 212596"/>
                <a:gd name="connsiteY54" fmla="*/ 104914 h 112244"/>
                <a:gd name="connsiteX55" fmla="*/ 130327 w 212596"/>
                <a:gd name="connsiteY55" fmla="*/ 101167 h 112244"/>
                <a:gd name="connsiteX56" fmla="*/ 123648 w 212596"/>
                <a:gd name="connsiteY56" fmla="*/ 95302 h 112244"/>
                <a:gd name="connsiteX57" fmla="*/ 122182 w 212596"/>
                <a:gd name="connsiteY57" fmla="*/ 88623 h 112244"/>
                <a:gd name="connsiteX58" fmla="*/ 109964 w 212596"/>
                <a:gd name="connsiteY58" fmla="*/ 85690 h 112244"/>
                <a:gd name="connsiteX59" fmla="*/ 96605 w 212596"/>
                <a:gd name="connsiteY59" fmla="*/ 89437 h 112244"/>
                <a:gd name="connsiteX60" fmla="*/ 92207 w 212596"/>
                <a:gd name="connsiteY60" fmla="*/ 85364 h 112244"/>
                <a:gd name="connsiteX61" fmla="*/ 79337 w 212596"/>
                <a:gd name="connsiteY61" fmla="*/ 86342 h 112244"/>
                <a:gd name="connsiteX62" fmla="*/ 70866 w 212596"/>
                <a:gd name="connsiteY62" fmla="*/ 80803 h 112244"/>
                <a:gd name="connsiteX63" fmla="*/ 63860 w 212596"/>
                <a:gd name="connsiteY63" fmla="*/ 80803 h 112244"/>
                <a:gd name="connsiteX64" fmla="*/ 58973 w 212596"/>
                <a:gd name="connsiteY64" fmla="*/ 77382 h 112244"/>
                <a:gd name="connsiteX65" fmla="*/ 49035 w 212596"/>
                <a:gd name="connsiteY65" fmla="*/ 75264 h 112244"/>
                <a:gd name="connsiteX66" fmla="*/ 41216 w 212596"/>
                <a:gd name="connsiteY66" fmla="*/ 65652 h 112244"/>
                <a:gd name="connsiteX67" fmla="*/ 29487 w 212596"/>
                <a:gd name="connsiteY67" fmla="*/ 57996 h 112244"/>
                <a:gd name="connsiteX68" fmla="*/ 20364 w 212596"/>
                <a:gd name="connsiteY68" fmla="*/ 55389 h 112244"/>
                <a:gd name="connsiteX69" fmla="*/ 15965 w 212596"/>
                <a:gd name="connsiteY69" fmla="*/ 52131 h 112244"/>
                <a:gd name="connsiteX70" fmla="*/ 11403 w 212596"/>
                <a:gd name="connsiteY70" fmla="*/ 51968 h 112244"/>
                <a:gd name="connsiteX71" fmla="*/ 7005 w 212596"/>
                <a:gd name="connsiteY71" fmla="*/ 48384 h 112244"/>
                <a:gd name="connsiteX72" fmla="*/ 1466 w 212596"/>
                <a:gd name="connsiteY72" fmla="*/ 47733 h 112244"/>
                <a:gd name="connsiteX73" fmla="*/ 0 w 212596"/>
                <a:gd name="connsiteY73" fmla="*/ 41379 h 112244"/>
                <a:gd name="connsiteX74" fmla="*/ 5864 w 212596"/>
                <a:gd name="connsiteY74" fmla="*/ 32582 h 112244"/>
                <a:gd name="connsiteX75" fmla="*/ 5864 w 212596"/>
                <a:gd name="connsiteY75" fmla="*/ 24111 h 112244"/>
                <a:gd name="connsiteX76" fmla="*/ 9937 w 212596"/>
                <a:gd name="connsiteY76" fmla="*/ 10426 h 112244"/>
                <a:gd name="connsiteX77" fmla="*/ 9285 w 212596"/>
                <a:gd name="connsiteY77" fmla="*/ 1466 h 1122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</a:cxnLst>
              <a:rect l="l" t="t" r="r" b="b"/>
              <a:pathLst>
                <a:path w="212596" h="112244">
                  <a:moveTo>
                    <a:pt x="9285" y="1466"/>
                  </a:moveTo>
                  <a:lnTo>
                    <a:pt x="10263" y="0"/>
                  </a:lnTo>
                  <a:lnTo>
                    <a:pt x="17920" y="3910"/>
                  </a:lnTo>
                  <a:lnTo>
                    <a:pt x="19712" y="6679"/>
                  </a:lnTo>
                  <a:lnTo>
                    <a:pt x="24925" y="6517"/>
                  </a:lnTo>
                  <a:lnTo>
                    <a:pt x="27694" y="7820"/>
                  </a:lnTo>
                  <a:lnTo>
                    <a:pt x="30790" y="3258"/>
                  </a:lnTo>
                  <a:lnTo>
                    <a:pt x="36980" y="2607"/>
                  </a:lnTo>
                  <a:lnTo>
                    <a:pt x="46429" y="6191"/>
                  </a:lnTo>
                  <a:lnTo>
                    <a:pt x="49035" y="8797"/>
                  </a:lnTo>
                  <a:lnTo>
                    <a:pt x="55063" y="9123"/>
                  </a:lnTo>
                  <a:lnTo>
                    <a:pt x="58973" y="11893"/>
                  </a:lnTo>
                  <a:lnTo>
                    <a:pt x="66467" y="19712"/>
                  </a:lnTo>
                  <a:lnTo>
                    <a:pt x="72494" y="20038"/>
                  </a:lnTo>
                  <a:lnTo>
                    <a:pt x="77871" y="22807"/>
                  </a:lnTo>
                  <a:lnTo>
                    <a:pt x="79988" y="26066"/>
                  </a:lnTo>
                  <a:lnTo>
                    <a:pt x="84550" y="31442"/>
                  </a:lnTo>
                  <a:lnTo>
                    <a:pt x="86830" y="36980"/>
                  </a:lnTo>
                  <a:lnTo>
                    <a:pt x="89437" y="35840"/>
                  </a:lnTo>
                  <a:lnTo>
                    <a:pt x="89926" y="28183"/>
                  </a:lnTo>
                  <a:lnTo>
                    <a:pt x="92858" y="25414"/>
                  </a:lnTo>
                  <a:lnTo>
                    <a:pt x="94650" y="27695"/>
                  </a:lnTo>
                  <a:lnTo>
                    <a:pt x="100026" y="27695"/>
                  </a:lnTo>
                  <a:lnTo>
                    <a:pt x="105402" y="30953"/>
                  </a:lnTo>
                  <a:lnTo>
                    <a:pt x="106054" y="37958"/>
                  </a:lnTo>
                  <a:lnTo>
                    <a:pt x="112407" y="43497"/>
                  </a:lnTo>
                  <a:lnTo>
                    <a:pt x="120553" y="41379"/>
                  </a:lnTo>
                  <a:lnTo>
                    <a:pt x="126906" y="42194"/>
                  </a:lnTo>
                  <a:lnTo>
                    <a:pt x="125440" y="52783"/>
                  </a:lnTo>
                  <a:lnTo>
                    <a:pt x="128372" y="58647"/>
                  </a:lnTo>
                  <a:lnTo>
                    <a:pt x="132608" y="57670"/>
                  </a:lnTo>
                  <a:lnTo>
                    <a:pt x="139939" y="61254"/>
                  </a:lnTo>
                  <a:lnTo>
                    <a:pt x="143034" y="58485"/>
                  </a:lnTo>
                  <a:lnTo>
                    <a:pt x="148573" y="56855"/>
                  </a:lnTo>
                  <a:lnTo>
                    <a:pt x="153135" y="51642"/>
                  </a:lnTo>
                  <a:lnTo>
                    <a:pt x="162746" y="52783"/>
                  </a:lnTo>
                  <a:lnTo>
                    <a:pt x="168937" y="55878"/>
                  </a:lnTo>
                  <a:lnTo>
                    <a:pt x="170403" y="61906"/>
                  </a:lnTo>
                  <a:lnTo>
                    <a:pt x="178060" y="64838"/>
                  </a:lnTo>
                  <a:lnTo>
                    <a:pt x="183110" y="72006"/>
                  </a:lnTo>
                  <a:lnTo>
                    <a:pt x="187508" y="72983"/>
                  </a:lnTo>
                  <a:lnTo>
                    <a:pt x="194025" y="70214"/>
                  </a:lnTo>
                  <a:lnTo>
                    <a:pt x="196631" y="71354"/>
                  </a:lnTo>
                  <a:lnTo>
                    <a:pt x="203636" y="69236"/>
                  </a:lnTo>
                  <a:lnTo>
                    <a:pt x="208360" y="69562"/>
                  </a:lnTo>
                  <a:lnTo>
                    <a:pt x="209990" y="74938"/>
                  </a:lnTo>
                  <a:lnTo>
                    <a:pt x="207709" y="87156"/>
                  </a:lnTo>
                  <a:lnTo>
                    <a:pt x="212596" y="97094"/>
                  </a:lnTo>
                  <a:lnTo>
                    <a:pt x="210641" y="108986"/>
                  </a:lnTo>
                  <a:lnTo>
                    <a:pt x="194839" y="112244"/>
                  </a:lnTo>
                  <a:lnTo>
                    <a:pt x="185228" y="107031"/>
                  </a:lnTo>
                  <a:lnTo>
                    <a:pt x="179689" y="109964"/>
                  </a:lnTo>
                  <a:lnTo>
                    <a:pt x="157533" y="101981"/>
                  </a:lnTo>
                  <a:lnTo>
                    <a:pt x="148736" y="102307"/>
                  </a:lnTo>
                  <a:lnTo>
                    <a:pt x="143849" y="104914"/>
                  </a:lnTo>
                  <a:lnTo>
                    <a:pt x="130327" y="101167"/>
                  </a:lnTo>
                  <a:lnTo>
                    <a:pt x="123648" y="95302"/>
                  </a:lnTo>
                  <a:lnTo>
                    <a:pt x="122182" y="88623"/>
                  </a:lnTo>
                  <a:lnTo>
                    <a:pt x="109964" y="85690"/>
                  </a:lnTo>
                  <a:lnTo>
                    <a:pt x="96605" y="89437"/>
                  </a:lnTo>
                  <a:lnTo>
                    <a:pt x="92207" y="85364"/>
                  </a:lnTo>
                  <a:lnTo>
                    <a:pt x="79337" y="86342"/>
                  </a:lnTo>
                  <a:lnTo>
                    <a:pt x="70866" y="80803"/>
                  </a:lnTo>
                  <a:lnTo>
                    <a:pt x="63860" y="80803"/>
                  </a:lnTo>
                  <a:lnTo>
                    <a:pt x="58973" y="77382"/>
                  </a:lnTo>
                  <a:lnTo>
                    <a:pt x="49035" y="75264"/>
                  </a:lnTo>
                  <a:lnTo>
                    <a:pt x="41216" y="65652"/>
                  </a:lnTo>
                  <a:lnTo>
                    <a:pt x="29487" y="57996"/>
                  </a:lnTo>
                  <a:lnTo>
                    <a:pt x="20364" y="55389"/>
                  </a:lnTo>
                  <a:lnTo>
                    <a:pt x="15965" y="52131"/>
                  </a:lnTo>
                  <a:lnTo>
                    <a:pt x="11403" y="51968"/>
                  </a:lnTo>
                  <a:lnTo>
                    <a:pt x="7005" y="48384"/>
                  </a:lnTo>
                  <a:lnTo>
                    <a:pt x="1466" y="47733"/>
                  </a:lnTo>
                  <a:lnTo>
                    <a:pt x="0" y="41379"/>
                  </a:lnTo>
                  <a:lnTo>
                    <a:pt x="5864" y="32582"/>
                  </a:lnTo>
                  <a:lnTo>
                    <a:pt x="5864" y="24111"/>
                  </a:lnTo>
                  <a:lnTo>
                    <a:pt x="9937" y="10426"/>
                  </a:lnTo>
                  <a:lnTo>
                    <a:pt x="9285" y="1466"/>
                  </a:lnTo>
                  <a:close/>
                </a:path>
              </a:pathLst>
            </a:custGeom>
            <a:solidFill>
              <a:schemeClr val="bg2"/>
            </a:solidFill>
            <a:ln w="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5" name="Forma livre: Forma 214">
              <a:extLst>
                <a:ext uri="{FF2B5EF4-FFF2-40B4-BE49-F238E27FC236}">
                  <a16:creationId xmlns:a16="http://schemas.microsoft.com/office/drawing/2014/main" id="{92A0839C-C978-FA4C-6570-221AFC67B52E}"/>
                </a:ext>
              </a:extLst>
            </p:cNvPr>
            <p:cNvSpPr/>
            <p:nvPr/>
          </p:nvSpPr>
          <p:spPr>
            <a:xfrm>
              <a:off x="7560113" y="3908887"/>
              <a:ext cx="368856" cy="404377"/>
            </a:xfrm>
            <a:custGeom>
              <a:avLst/>
              <a:gdLst>
                <a:gd name="connsiteX0" fmla="*/ 206080 w 356934"/>
                <a:gd name="connsiteY0" fmla="*/ 388701 h 391307"/>
                <a:gd name="connsiteX1" fmla="*/ 206243 w 356934"/>
                <a:gd name="connsiteY1" fmla="*/ 382185 h 391307"/>
                <a:gd name="connsiteX2" fmla="*/ 211619 w 356934"/>
                <a:gd name="connsiteY2" fmla="*/ 378601 h 391307"/>
                <a:gd name="connsiteX3" fmla="*/ 215040 w 356934"/>
                <a:gd name="connsiteY3" fmla="*/ 377786 h 391307"/>
                <a:gd name="connsiteX4" fmla="*/ 217321 w 356934"/>
                <a:gd name="connsiteY4" fmla="*/ 371270 h 391307"/>
                <a:gd name="connsiteX5" fmla="*/ 221230 w 356934"/>
                <a:gd name="connsiteY5" fmla="*/ 372247 h 391307"/>
                <a:gd name="connsiteX6" fmla="*/ 225466 w 356934"/>
                <a:gd name="connsiteY6" fmla="*/ 369967 h 391307"/>
                <a:gd name="connsiteX7" fmla="*/ 242898 w 356934"/>
                <a:gd name="connsiteY7" fmla="*/ 370944 h 391307"/>
                <a:gd name="connsiteX8" fmla="*/ 252998 w 356934"/>
                <a:gd name="connsiteY8" fmla="*/ 367197 h 391307"/>
                <a:gd name="connsiteX9" fmla="*/ 255116 w 356934"/>
                <a:gd name="connsiteY9" fmla="*/ 364916 h 391307"/>
                <a:gd name="connsiteX10" fmla="*/ 260980 w 356934"/>
                <a:gd name="connsiteY10" fmla="*/ 363124 h 391307"/>
                <a:gd name="connsiteX11" fmla="*/ 259025 w 356934"/>
                <a:gd name="connsiteY11" fmla="*/ 366871 h 391307"/>
                <a:gd name="connsiteX12" fmla="*/ 261306 w 356934"/>
                <a:gd name="connsiteY12" fmla="*/ 369804 h 391307"/>
                <a:gd name="connsiteX13" fmla="*/ 267008 w 356934"/>
                <a:gd name="connsiteY13" fmla="*/ 366220 h 391307"/>
                <a:gd name="connsiteX14" fmla="*/ 271895 w 356934"/>
                <a:gd name="connsiteY14" fmla="*/ 364591 h 391307"/>
                <a:gd name="connsiteX15" fmla="*/ 269778 w 356934"/>
                <a:gd name="connsiteY15" fmla="*/ 362310 h 391307"/>
                <a:gd name="connsiteX16" fmla="*/ 270592 w 356934"/>
                <a:gd name="connsiteY16" fmla="*/ 358563 h 391307"/>
                <a:gd name="connsiteX17" fmla="*/ 264890 w 356934"/>
                <a:gd name="connsiteY17" fmla="*/ 342272 h 391307"/>
                <a:gd name="connsiteX18" fmla="*/ 259840 w 356934"/>
                <a:gd name="connsiteY18" fmla="*/ 335756 h 391307"/>
                <a:gd name="connsiteX19" fmla="*/ 261143 w 356934"/>
                <a:gd name="connsiteY19" fmla="*/ 332172 h 391307"/>
                <a:gd name="connsiteX20" fmla="*/ 257722 w 356934"/>
                <a:gd name="connsiteY20" fmla="*/ 329239 h 391307"/>
                <a:gd name="connsiteX21" fmla="*/ 252672 w 356934"/>
                <a:gd name="connsiteY21" fmla="*/ 329565 h 391307"/>
                <a:gd name="connsiteX22" fmla="*/ 244364 w 356934"/>
                <a:gd name="connsiteY22" fmla="*/ 324189 h 391307"/>
                <a:gd name="connsiteX23" fmla="*/ 243386 w 356934"/>
                <a:gd name="connsiteY23" fmla="*/ 314903 h 391307"/>
                <a:gd name="connsiteX24" fmla="*/ 243712 w 356934"/>
                <a:gd name="connsiteY24" fmla="*/ 308550 h 391307"/>
                <a:gd name="connsiteX25" fmla="*/ 239965 w 356934"/>
                <a:gd name="connsiteY25" fmla="*/ 300730 h 391307"/>
                <a:gd name="connsiteX26" fmla="*/ 235241 w 356934"/>
                <a:gd name="connsiteY26" fmla="*/ 300567 h 391307"/>
                <a:gd name="connsiteX27" fmla="*/ 232471 w 356934"/>
                <a:gd name="connsiteY27" fmla="*/ 302033 h 391307"/>
                <a:gd name="connsiteX28" fmla="*/ 226281 w 356934"/>
                <a:gd name="connsiteY28" fmla="*/ 299916 h 391307"/>
                <a:gd name="connsiteX29" fmla="*/ 222045 w 356934"/>
                <a:gd name="connsiteY29" fmla="*/ 300079 h 391307"/>
                <a:gd name="connsiteX30" fmla="*/ 222045 w 356934"/>
                <a:gd name="connsiteY30" fmla="*/ 293725 h 391307"/>
                <a:gd name="connsiteX31" fmla="*/ 226118 w 356934"/>
                <a:gd name="connsiteY31" fmla="*/ 283299 h 391307"/>
                <a:gd name="connsiteX32" fmla="*/ 230028 w 356934"/>
                <a:gd name="connsiteY32" fmla="*/ 282159 h 391307"/>
                <a:gd name="connsiteX33" fmla="*/ 236870 w 356934"/>
                <a:gd name="connsiteY33" fmla="*/ 272384 h 391307"/>
                <a:gd name="connsiteX34" fmla="*/ 238010 w 356934"/>
                <a:gd name="connsiteY34" fmla="*/ 267822 h 391307"/>
                <a:gd name="connsiteX35" fmla="*/ 242735 w 356934"/>
                <a:gd name="connsiteY35" fmla="*/ 265542 h 391307"/>
                <a:gd name="connsiteX36" fmla="*/ 245993 w 356934"/>
                <a:gd name="connsiteY36" fmla="*/ 263098 h 391307"/>
                <a:gd name="connsiteX37" fmla="*/ 251532 w 356934"/>
                <a:gd name="connsiteY37" fmla="*/ 265542 h 391307"/>
                <a:gd name="connsiteX38" fmla="*/ 252672 w 356934"/>
                <a:gd name="connsiteY38" fmla="*/ 270429 h 391307"/>
                <a:gd name="connsiteX39" fmla="*/ 256419 w 356934"/>
                <a:gd name="connsiteY39" fmla="*/ 271244 h 391307"/>
                <a:gd name="connsiteX40" fmla="*/ 266030 w 356934"/>
                <a:gd name="connsiteY40" fmla="*/ 266193 h 391307"/>
                <a:gd name="connsiteX41" fmla="*/ 279389 w 356934"/>
                <a:gd name="connsiteY41" fmla="*/ 265542 h 391307"/>
                <a:gd name="connsiteX42" fmla="*/ 287535 w 356934"/>
                <a:gd name="connsiteY42" fmla="*/ 256419 h 391307"/>
                <a:gd name="connsiteX43" fmla="*/ 292585 w 356934"/>
                <a:gd name="connsiteY43" fmla="*/ 241431 h 391307"/>
                <a:gd name="connsiteX44" fmla="*/ 304314 w 356934"/>
                <a:gd name="connsiteY44" fmla="*/ 233123 h 391307"/>
                <a:gd name="connsiteX45" fmla="*/ 307246 w 356934"/>
                <a:gd name="connsiteY45" fmla="*/ 227584 h 391307"/>
                <a:gd name="connsiteX46" fmla="*/ 308387 w 356934"/>
                <a:gd name="connsiteY46" fmla="*/ 219276 h 391307"/>
                <a:gd name="connsiteX47" fmla="*/ 314089 w 356934"/>
                <a:gd name="connsiteY47" fmla="*/ 211130 h 391307"/>
                <a:gd name="connsiteX48" fmla="*/ 322397 w 356934"/>
                <a:gd name="connsiteY48" fmla="*/ 207057 h 391307"/>
                <a:gd name="connsiteX49" fmla="*/ 325167 w 356934"/>
                <a:gd name="connsiteY49" fmla="*/ 200867 h 391307"/>
                <a:gd name="connsiteX50" fmla="*/ 325003 w 356934"/>
                <a:gd name="connsiteY50" fmla="*/ 195980 h 391307"/>
                <a:gd name="connsiteX51" fmla="*/ 321583 w 356934"/>
                <a:gd name="connsiteY51" fmla="*/ 193373 h 391307"/>
                <a:gd name="connsiteX52" fmla="*/ 328914 w 356934"/>
                <a:gd name="connsiteY52" fmla="*/ 185390 h 391307"/>
                <a:gd name="connsiteX53" fmla="*/ 332986 w 356934"/>
                <a:gd name="connsiteY53" fmla="*/ 182132 h 391307"/>
                <a:gd name="connsiteX54" fmla="*/ 333801 w 356934"/>
                <a:gd name="connsiteY54" fmla="*/ 176105 h 391307"/>
                <a:gd name="connsiteX55" fmla="*/ 335104 w 356934"/>
                <a:gd name="connsiteY55" fmla="*/ 163398 h 391307"/>
                <a:gd name="connsiteX56" fmla="*/ 332498 w 356934"/>
                <a:gd name="connsiteY56" fmla="*/ 153949 h 391307"/>
                <a:gd name="connsiteX57" fmla="*/ 331032 w 356934"/>
                <a:gd name="connsiteY57" fmla="*/ 151831 h 391307"/>
                <a:gd name="connsiteX58" fmla="*/ 339177 w 356934"/>
                <a:gd name="connsiteY58" fmla="*/ 144012 h 391307"/>
                <a:gd name="connsiteX59" fmla="*/ 343901 w 356934"/>
                <a:gd name="connsiteY59" fmla="*/ 142382 h 391307"/>
                <a:gd name="connsiteX60" fmla="*/ 348625 w 356934"/>
                <a:gd name="connsiteY60" fmla="*/ 139287 h 391307"/>
                <a:gd name="connsiteX61" fmla="*/ 351884 w 356934"/>
                <a:gd name="connsiteY61" fmla="*/ 139776 h 391307"/>
                <a:gd name="connsiteX62" fmla="*/ 356934 w 356934"/>
                <a:gd name="connsiteY62" fmla="*/ 134074 h 391307"/>
                <a:gd name="connsiteX63" fmla="*/ 356282 w 356934"/>
                <a:gd name="connsiteY63" fmla="*/ 128535 h 391307"/>
                <a:gd name="connsiteX64" fmla="*/ 349766 w 356934"/>
                <a:gd name="connsiteY64" fmla="*/ 127069 h 391307"/>
                <a:gd name="connsiteX65" fmla="*/ 343738 w 356934"/>
                <a:gd name="connsiteY65" fmla="*/ 129513 h 391307"/>
                <a:gd name="connsiteX66" fmla="*/ 335919 w 356934"/>
                <a:gd name="connsiteY66" fmla="*/ 127721 h 391307"/>
                <a:gd name="connsiteX67" fmla="*/ 332823 w 356934"/>
                <a:gd name="connsiteY67" fmla="*/ 121204 h 391307"/>
                <a:gd name="connsiteX68" fmla="*/ 323863 w 356934"/>
                <a:gd name="connsiteY68" fmla="*/ 117457 h 391307"/>
                <a:gd name="connsiteX69" fmla="*/ 314252 w 356934"/>
                <a:gd name="connsiteY69" fmla="*/ 115177 h 391307"/>
                <a:gd name="connsiteX70" fmla="*/ 304966 w 356934"/>
                <a:gd name="connsiteY70" fmla="*/ 106868 h 391307"/>
                <a:gd name="connsiteX71" fmla="*/ 303662 w 356934"/>
                <a:gd name="connsiteY71" fmla="*/ 99212 h 391307"/>
                <a:gd name="connsiteX72" fmla="*/ 299753 w 356934"/>
                <a:gd name="connsiteY72" fmla="*/ 81943 h 391307"/>
                <a:gd name="connsiteX73" fmla="*/ 295028 w 356934"/>
                <a:gd name="connsiteY73" fmla="*/ 74449 h 391307"/>
                <a:gd name="connsiteX74" fmla="*/ 294866 w 356934"/>
                <a:gd name="connsiteY74" fmla="*/ 66467 h 391307"/>
                <a:gd name="connsiteX75" fmla="*/ 299101 w 356934"/>
                <a:gd name="connsiteY75" fmla="*/ 64675 h 391307"/>
                <a:gd name="connsiteX76" fmla="*/ 299916 w 356934"/>
                <a:gd name="connsiteY76" fmla="*/ 59299 h 391307"/>
                <a:gd name="connsiteX77" fmla="*/ 307084 w 356934"/>
                <a:gd name="connsiteY77" fmla="*/ 54737 h 391307"/>
                <a:gd name="connsiteX78" fmla="*/ 306921 w 356934"/>
                <a:gd name="connsiteY78" fmla="*/ 48384 h 391307"/>
                <a:gd name="connsiteX79" fmla="*/ 299427 w 356934"/>
                <a:gd name="connsiteY79" fmla="*/ 46429 h 391307"/>
                <a:gd name="connsiteX80" fmla="*/ 297961 w 356934"/>
                <a:gd name="connsiteY80" fmla="*/ 41216 h 391307"/>
                <a:gd name="connsiteX81" fmla="*/ 291282 w 356934"/>
                <a:gd name="connsiteY81" fmla="*/ 37143 h 391307"/>
                <a:gd name="connsiteX82" fmla="*/ 284276 w 356934"/>
                <a:gd name="connsiteY82" fmla="*/ 31279 h 391307"/>
                <a:gd name="connsiteX83" fmla="*/ 279063 w 356934"/>
                <a:gd name="connsiteY83" fmla="*/ 24925 h 391307"/>
                <a:gd name="connsiteX84" fmla="*/ 273850 w 356934"/>
                <a:gd name="connsiteY84" fmla="*/ 26717 h 391307"/>
                <a:gd name="connsiteX85" fmla="*/ 270266 w 356934"/>
                <a:gd name="connsiteY85" fmla="*/ 28183 h 391307"/>
                <a:gd name="connsiteX86" fmla="*/ 266519 w 356934"/>
                <a:gd name="connsiteY86" fmla="*/ 24599 h 391307"/>
                <a:gd name="connsiteX87" fmla="*/ 265379 w 356934"/>
                <a:gd name="connsiteY87" fmla="*/ 14499 h 391307"/>
                <a:gd name="connsiteX88" fmla="*/ 277760 w 356934"/>
                <a:gd name="connsiteY88" fmla="*/ 6190 h 391307"/>
                <a:gd name="connsiteX89" fmla="*/ 276131 w 356934"/>
                <a:gd name="connsiteY89" fmla="*/ 1955 h 391307"/>
                <a:gd name="connsiteX90" fmla="*/ 268800 w 356934"/>
                <a:gd name="connsiteY90" fmla="*/ 3421 h 391307"/>
                <a:gd name="connsiteX91" fmla="*/ 262773 w 356934"/>
                <a:gd name="connsiteY91" fmla="*/ 0 h 391307"/>
                <a:gd name="connsiteX92" fmla="*/ 254301 w 356934"/>
                <a:gd name="connsiteY92" fmla="*/ 4561 h 391307"/>
                <a:gd name="connsiteX93" fmla="*/ 248110 w 356934"/>
                <a:gd name="connsiteY93" fmla="*/ 10100 h 391307"/>
                <a:gd name="connsiteX94" fmla="*/ 241105 w 356934"/>
                <a:gd name="connsiteY94" fmla="*/ 10100 h 391307"/>
                <a:gd name="connsiteX95" fmla="*/ 237033 w 356934"/>
                <a:gd name="connsiteY95" fmla="*/ 16291 h 391307"/>
                <a:gd name="connsiteX96" fmla="*/ 232146 w 356934"/>
                <a:gd name="connsiteY96" fmla="*/ 21178 h 391307"/>
                <a:gd name="connsiteX97" fmla="*/ 243223 w 356934"/>
                <a:gd name="connsiteY97" fmla="*/ 37306 h 391307"/>
                <a:gd name="connsiteX98" fmla="*/ 244038 w 356934"/>
                <a:gd name="connsiteY98" fmla="*/ 48384 h 391307"/>
                <a:gd name="connsiteX99" fmla="*/ 231819 w 356934"/>
                <a:gd name="connsiteY99" fmla="*/ 64349 h 391307"/>
                <a:gd name="connsiteX100" fmla="*/ 238173 w 356934"/>
                <a:gd name="connsiteY100" fmla="*/ 70214 h 391307"/>
                <a:gd name="connsiteX101" fmla="*/ 238173 w 356934"/>
                <a:gd name="connsiteY101" fmla="*/ 77219 h 391307"/>
                <a:gd name="connsiteX102" fmla="*/ 231494 w 356934"/>
                <a:gd name="connsiteY102" fmla="*/ 87156 h 391307"/>
                <a:gd name="connsiteX103" fmla="*/ 221882 w 356934"/>
                <a:gd name="connsiteY103" fmla="*/ 87156 h 391307"/>
                <a:gd name="connsiteX104" fmla="*/ 212596 w 356934"/>
                <a:gd name="connsiteY104" fmla="*/ 83409 h 391307"/>
                <a:gd name="connsiteX105" fmla="*/ 206406 w 356934"/>
                <a:gd name="connsiteY105" fmla="*/ 87482 h 391307"/>
                <a:gd name="connsiteX106" fmla="*/ 209175 w 356934"/>
                <a:gd name="connsiteY106" fmla="*/ 94161 h 391307"/>
                <a:gd name="connsiteX107" fmla="*/ 214551 w 356934"/>
                <a:gd name="connsiteY107" fmla="*/ 97094 h 391307"/>
                <a:gd name="connsiteX108" fmla="*/ 217646 w 356934"/>
                <a:gd name="connsiteY108" fmla="*/ 104099 h 391307"/>
                <a:gd name="connsiteX109" fmla="*/ 216506 w 356934"/>
                <a:gd name="connsiteY109" fmla="*/ 108497 h 391307"/>
                <a:gd name="connsiteX110" fmla="*/ 210478 w 356934"/>
                <a:gd name="connsiteY110" fmla="*/ 111756 h 391307"/>
                <a:gd name="connsiteX111" fmla="*/ 204777 w 356934"/>
                <a:gd name="connsiteY111" fmla="*/ 112407 h 391307"/>
                <a:gd name="connsiteX112" fmla="*/ 202822 w 356934"/>
                <a:gd name="connsiteY112" fmla="*/ 115991 h 391307"/>
                <a:gd name="connsiteX113" fmla="*/ 202007 w 356934"/>
                <a:gd name="connsiteY113" fmla="*/ 125114 h 391307"/>
                <a:gd name="connsiteX114" fmla="*/ 200215 w 356934"/>
                <a:gd name="connsiteY114" fmla="*/ 130979 h 391307"/>
                <a:gd name="connsiteX115" fmla="*/ 200052 w 356934"/>
                <a:gd name="connsiteY115" fmla="*/ 134563 h 391307"/>
                <a:gd name="connsiteX116" fmla="*/ 198098 w 356934"/>
                <a:gd name="connsiteY116" fmla="*/ 136681 h 391307"/>
                <a:gd name="connsiteX117" fmla="*/ 200052 w 356934"/>
                <a:gd name="connsiteY117" fmla="*/ 148084 h 391307"/>
                <a:gd name="connsiteX118" fmla="*/ 194514 w 356934"/>
                <a:gd name="connsiteY118" fmla="*/ 156230 h 391307"/>
                <a:gd name="connsiteX119" fmla="*/ 189626 w 356934"/>
                <a:gd name="connsiteY119" fmla="*/ 150039 h 391307"/>
                <a:gd name="connsiteX120" fmla="*/ 186694 w 356934"/>
                <a:gd name="connsiteY120" fmla="*/ 150039 h 391307"/>
                <a:gd name="connsiteX121" fmla="*/ 186368 w 356934"/>
                <a:gd name="connsiteY121" fmla="*/ 153460 h 391307"/>
                <a:gd name="connsiteX122" fmla="*/ 180177 w 356934"/>
                <a:gd name="connsiteY122" fmla="*/ 153135 h 391307"/>
                <a:gd name="connsiteX123" fmla="*/ 177082 w 356934"/>
                <a:gd name="connsiteY123" fmla="*/ 151017 h 391307"/>
                <a:gd name="connsiteX124" fmla="*/ 171055 w 356934"/>
                <a:gd name="connsiteY124" fmla="*/ 151668 h 391307"/>
                <a:gd name="connsiteX125" fmla="*/ 169425 w 356934"/>
                <a:gd name="connsiteY125" fmla="*/ 154927 h 391307"/>
                <a:gd name="connsiteX126" fmla="*/ 159814 w 356934"/>
                <a:gd name="connsiteY126" fmla="*/ 162257 h 391307"/>
                <a:gd name="connsiteX127" fmla="*/ 164050 w 356934"/>
                <a:gd name="connsiteY127" fmla="*/ 163561 h 391307"/>
                <a:gd name="connsiteX128" fmla="*/ 161117 w 356934"/>
                <a:gd name="connsiteY128" fmla="*/ 167308 h 391307"/>
                <a:gd name="connsiteX129" fmla="*/ 151668 w 356934"/>
                <a:gd name="connsiteY129" fmla="*/ 171543 h 391307"/>
                <a:gd name="connsiteX130" fmla="*/ 148736 w 356934"/>
                <a:gd name="connsiteY130" fmla="*/ 169425 h 391307"/>
                <a:gd name="connsiteX131" fmla="*/ 142546 w 356934"/>
                <a:gd name="connsiteY131" fmla="*/ 170729 h 391307"/>
                <a:gd name="connsiteX132" fmla="*/ 140591 w 356934"/>
                <a:gd name="connsiteY132" fmla="*/ 174638 h 391307"/>
                <a:gd name="connsiteX133" fmla="*/ 139613 w 356934"/>
                <a:gd name="connsiteY133" fmla="*/ 178711 h 391307"/>
                <a:gd name="connsiteX134" fmla="*/ 134726 w 356934"/>
                <a:gd name="connsiteY134" fmla="*/ 180340 h 391307"/>
                <a:gd name="connsiteX135" fmla="*/ 131468 w 356934"/>
                <a:gd name="connsiteY135" fmla="*/ 184576 h 391307"/>
                <a:gd name="connsiteX136" fmla="*/ 131793 w 356934"/>
                <a:gd name="connsiteY136" fmla="*/ 191581 h 391307"/>
                <a:gd name="connsiteX137" fmla="*/ 133748 w 356934"/>
                <a:gd name="connsiteY137" fmla="*/ 199889 h 391307"/>
                <a:gd name="connsiteX138" fmla="*/ 133260 w 356934"/>
                <a:gd name="connsiteY138" fmla="*/ 205265 h 391307"/>
                <a:gd name="connsiteX139" fmla="*/ 135377 w 356934"/>
                <a:gd name="connsiteY139" fmla="*/ 210153 h 391307"/>
                <a:gd name="connsiteX140" fmla="*/ 134237 w 356934"/>
                <a:gd name="connsiteY140" fmla="*/ 215040 h 391307"/>
                <a:gd name="connsiteX141" fmla="*/ 124137 w 356934"/>
                <a:gd name="connsiteY141" fmla="*/ 219276 h 391307"/>
                <a:gd name="connsiteX142" fmla="*/ 115177 w 356934"/>
                <a:gd name="connsiteY142" fmla="*/ 219113 h 391307"/>
                <a:gd name="connsiteX143" fmla="*/ 107194 w 356934"/>
                <a:gd name="connsiteY143" fmla="*/ 220090 h 391307"/>
                <a:gd name="connsiteX144" fmla="*/ 93510 w 356934"/>
                <a:gd name="connsiteY144" fmla="*/ 220905 h 391307"/>
                <a:gd name="connsiteX145" fmla="*/ 84550 w 356934"/>
                <a:gd name="connsiteY145" fmla="*/ 223348 h 391307"/>
                <a:gd name="connsiteX146" fmla="*/ 81292 w 356934"/>
                <a:gd name="connsiteY146" fmla="*/ 225955 h 391307"/>
                <a:gd name="connsiteX147" fmla="*/ 73309 w 356934"/>
                <a:gd name="connsiteY147" fmla="*/ 225466 h 391307"/>
                <a:gd name="connsiteX148" fmla="*/ 64675 w 356934"/>
                <a:gd name="connsiteY148" fmla="*/ 227747 h 391307"/>
                <a:gd name="connsiteX149" fmla="*/ 35188 w 356934"/>
                <a:gd name="connsiteY149" fmla="*/ 228562 h 391307"/>
                <a:gd name="connsiteX150" fmla="*/ 163 w 356934"/>
                <a:gd name="connsiteY150" fmla="*/ 218624 h 391307"/>
                <a:gd name="connsiteX151" fmla="*/ 0 w 356934"/>
                <a:gd name="connsiteY151" fmla="*/ 218624 h 391307"/>
                <a:gd name="connsiteX152" fmla="*/ 13359 w 356934"/>
                <a:gd name="connsiteY152" fmla="*/ 236381 h 391307"/>
                <a:gd name="connsiteX153" fmla="*/ 16291 w 356934"/>
                <a:gd name="connsiteY153" fmla="*/ 242246 h 391307"/>
                <a:gd name="connsiteX154" fmla="*/ 22970 w 356934"/>
                <a:gd name="connsiteY154" fmla="*/ 249251 h 391307"/>
                <a:gd name="connsiteX155" fmla="*/ 29323 w 356934"/>
                <a:gd name="connsiteY155" fmla="*/ 252835 h 391307"/>
                <a:gd name="connsiteX156" fmla="*/ 31604 w 356934"/>
                <a:gd name="connsiteY156" fmla="*/ 255279 h 391307"/>
                <a:gd name="connsiteX157" fmla="*/ 40076 w 356934"/>
                <a:gd name="connsiteY157" fmla="*/ 256093 h 391307"/>
                <a:gd name="connsiteX158" fmla="*/ 44800 w 356934"/>
                <a:gd name="connsiteY158" fmla="*/ 257885 h 391307"/>
                <a:gd name="connsiteX159" fmla="*/ 45614 w 356934"/>
                <a:gd name="connsiteY159" fmla="*/ 260655 h 391307"/>
                <a:gd name="connsiteX160" fmla="*/ 52619 w 356934"/>
                <a:gd name="connsiteY160" fmla="*/ 261469 h 391307"/>
                <a:gd name="connsiteX161" fmla="*/ 52782 w 356934"/>
                <a:gd name="connsiteY161" fmla="*/ 270103 h 391307"/>
                <a:gd name="connsiteX162" fmla="*/ 54575 w 356934"/>
                <a:gd name="connsiteY162" fmla="*/ 275968 h 391307"/>
                <a:gd name="connsiteX163" fmla="*/ 55063 w 356934"/>
                <a:gd name="connsiteY163" fmla="*/ 282973 h 391307"/>
                <a:gd name="connsiteX164" fmla="*/ 56366 w 356934"/>
                <a:gd name="connsiteY164" fmla="*/ 287535 h 391307"/>
                <a:gd name="connsiteX165" fmla="*/ 62557 w 356934"/>
                <a:gd name="connsiteY165" fmla="*/ 287209 h 391307"/>
                <a:gd name="connsiteX166" fmla="*/ 69236 w 356934"/>
                <a:gd name="connsiteY166" fmla="*/ 291607 h 391307"/>
                <a:gd name="connsiteX167" fmla="*/ 69888 w 356934"/>
                <a:gd name="connsiteY167" fmla="*/ 301545 h 391307"/>
                <a:gd name="connsiteX168" fmla="*/ 66304 w 356934"/>
                <a:gd name="connsiteY168" fmla="*/ 305129 h 391307"/>
                <a:gd name="connsiteX169" fmla="*/ 59625 w 356934"/>
                <a:gd name="connsiteY169" fmla="*/ 302522 h 391307"/>
                <a:gd name="connsiteX170" fmla="*/ 47244 w 356934"/>
                <a:gd name="connsiteY170" fmla="*/ 306269 h 391307"/>
                <a:gd name="connsiteX171" fmla="*/ 44637 w 356934"/>
                <a:gd name="connsiteY171" fmla="*/ 309038 h 391307"/>
                <a:gd name="connsiteX172" fmla="*/ 36980 w 356934"/>
                <a:gd name="connsiteY172" fmla="*/ 312134 h 391307"/>
                <a:gd name="connsiteX173" fmla="*/ 34374 w 356934"/>
                <a:gd name="connsiteY173" fmla="*/ 317021 h 391307"/>
                <a:gd name="connsiteX174" fmla="*/ 35677 w 356934"/>
                <a:gd name="connsiteY174" fmla="*/ 321583 h 391307"/>
                <a:gd name="connsiteX175" fmla="*/ 31767 w 356934"/>
                <a:gd name="connsiteY175" fmla="*/ 326796 h 391307"/>
                <a:gd name="connsiteX176" fmla="*/ 34211 w 356934"/>
                <a:gd name="connsiteY176" fmla="*/ 333149 h 391307"/>
                <a:gd name="connsiteX177" fmla="*/ 33071 w 356934"/>
                <a:gd name="connsiteY177" fmla="*/ 342109 h 391307"/>
                <a:gd name="connsiteX178" fmla="*/ 33234 w 356934"/>
                <a:gd name="connsiteY178" fmla="*/ 346345 h 391307"/>
                <a:gd name="connsiteX179" fmla="*/ 36166 w 356934"/>
                <a:gd name="connsiteY179" fmla="*/ 346345 h 391307"/>
                <a:gd name="connsiteX180" fmla="*/ 36003 w 356934"/>
                <a:gd name="connsiteY180" fmla="*/ 349929 h 391307"/>
                <a:gd name="connsiteX181" fmla="*/ 38284 w 356934"/>
                <a:gd name="connsiteY181" fmla="*/ 350906 h 391307"/>
                <a:gd name="connsiteX182" fmla="*/ 45614 w 356934"/>
                <a:gd name="connsiteY182" fmla="*/ 346508 h 391307"/>
                <a:gd name="connsiteX183" fmla="*/ 51479 w 356934"/>
                <a:gd name="connsiteY183" fmla="*/ 346019 h 391307"/>
                <a:gd name="connsiteX184" fmla="*/ 51805 w 356934"/>
                <a:gd name="connsiteY184" fmla="*/ 348463 h 391307"/>
                <a:gd name="connsiteX185" fmla="*/ 53923 w 356934"/>
                <a:gd name="connsiteY185" fmla="*/ 347648 h 391307"/>
                <a:gd name="connsiteX186" fmla="*/ 57670 w 356934"/>
                <a:gd name="connsiteY186" fmla="*/ 344553 h 391307"/>
                <a:gd name="connsiteX187" fmla="*/ 63209 w 356934"/>
                <a:gd name="connsiteY187" fmla="*/ 344879 h 391307"/>
                <a:gd name="connsiteX188" fmla="*/ 65815 w 356934"/>
                <a:gd name="connsiteY188" fmla="*/ 345693 h 391307"/>
                <a:gd name="connsiteX189" fmla="*/ 70051 w 356934"/>
                <a:gd name="connsiteY189" fmla="*/ 344553 h 391307"/>
                <a:gd name="connsiteX190" fmla="*/ 73146 w 356934"/>
                <a:gd name="connsiteY190" fmla="*/ 344879 h 391307"/>
                <a:gd name="connsiteX191" fmla="*/ 75916 w 356934"/>
                <a:gd name="connsiteY191" fmla="*/ 344879 h 391307"/>
                <a:gd name="connsiteX192" fmla="*/ 76567 w 356934"/>
                <a:gd name="connsiteY192" fmla="*/ 342272 h 391307"/>
                <a:gd name="connsiteX193" fmla="*/ 78685 w 356934"/>
                <a:gd name="connsiteY193" fmla="*/ 339503 h 391307"/>
                <a:gd name="connsiteX194" fmla="*/ 83735 w 356934"/>
                <a:gd name="connsiteY194" fmla="*/ 342761 h 391307"/>
                <a:gd name="connsiteX195" fmla="*/ 87156 w 356934"/>
                <a:gd name="connsiteY195" fmla="*/ 342761 h 391307"/>
                <a:gd name="connsiteX196" fmla="*/ 87808 w 356934"/>
                <a:gd name="connsiteY196" fmla="*/ 340643 h 391307"/>
                <a:gd name="connsiteX197" fmla="*/ 90577 w 356934"/>
                <a:gd name="connsiteY197" fmla="*/ 341295 h 391307"/>
                <a:gd name="connsiteX198" fmla="*/ 92044 w 356934"/>
                <a:gd name="connsiteY198" fmla="*/ 344227 h 391307"/>
                <a:gd name="connsiteX199" fmla="*/ 96116 w 356934"/>
                <a:gd name="connsiteY199" fmla="*/ 344227 h 391307"/>
                <a:gd name="connsiteX200" fmla="*/ 99537 w 356934"/>
                <a:gd name="connsiteY200" fmla="*/ 346671 h 391307"/>
                <a:gd name="connsiteX201" fmla="*/ 103610 w 356934"/>
                <a:gd name="connsiteY201" fmla="*/ 346671 h 391307"/>
                <a:gd name="connsiteX202" fmla="*/ 109475 w 356934"/>
                <a:gd name="connsiteY202" fmla="*/ 341132 h 391307"/>
                <a:gd name="connsiteX203" fmla="*/ 116154 w 356934"/>
                <a:gd name="connsiteY203" fmla="*/ 341132 h 391307"/>
                <a:gd name="connsiteX204" fmla="*/ 120227 w 356934"/>
                <a:gd name="connsiteY204" fmla="*/ 342272 h 391307"/>
                <a:gd name="connsiteX205" fmla="*/ 124137 w 356934"/>
                <a:gd name="connsiteY205" fmla="*/ 339665 h 391307"/>
                <a:gd name="connsiteX206" fmla="*/ 128209 w 356934"/>
                <a:gd name="connsiteY206" fmla="*/ 339665 h 391307"/>
                <a:gd name="connsiteX207" fmla="*/ 129024 w 356934"/>
                <a:gd name="connsiteY207" fmla="*/ 337711 h 391307"/>
                <a:gd name="connsiteX208" fmla="*/ 130979 w 356934"/>
                <a:gd name="connsiteY208" fmla="*/ 339340 h 391307"/>
                <a:gd name="connsiteX209" fmla="*/ 138310 w 356934"/>
                <a:gd name="connsiteY209" fmla="*/ 340317 h 391307"/>
                <a:gd name="connsiteX210" fmla="*/ 144500 w 356934"/>
                <a:gd name="connsiteY210" fmla="*/ 338036 h 391307"/>
                <a:gd name="connsiteX211" fmla="*/ 151994 w 356934"/>
                <a:gd name="connsiteY211" fmla="*/ 337711 h 391307"/>
                <a:gd name="connsiteX212" fmla="*/ 157370 w 356934"/>
                <a:gd name="connsiteY212" fmla="*/ 342109 h 391307"/>
                <a:gd name="connsiteX213" fmla="*/ 159651 w 356934"/>
                <a:gd name="connsiteY213" fmla="*/ 347648 h 391307"/>
                <a:gd name="connsiteX214" fmla="*/ 158836 w 356934"/>
                <a:gd name="connsiteY214" fmla="*/ 351884 h 391307"/>
                <a:gd name="connsiteX215" fmla="*/ 159651 w 356934"/>
                <a:gd name="connsiteY215" fmla="*/ 352861 h 391307"/>
                <a:gd name="connsiteX216" fmla="*/ 158348 w 356934"/>
                <a:gd name="connsiteY216" fmla="*/ 353350 h 391307"/>
                <a:gd name="connsiteX217" fmla="*/ 158348 w 356934"/>
                <a:gd name="connsiteY217" fmla="*/ 355142 h 391307"/>
                <a:gd name="connsiteX218" fmla="*/ 162583 w 356934"/>
                <a:gd name="connsiteY218" fmla="*/ 355305 h 391307"/>
                <a:gd name="connsiteX219" fmla="*/ 170240 w 356934"/>
                <a:gd name="connsiteY219" fmla="*/ 351884 h 391307"/>
                <a:gd name="connsiteX220" fmla="*/ 170077 w 356934"/>
                <a:gd name="connsiteY220" fmla="*/ 357097 h 391307"/>
                <a:gd name="connsiteX221" fmla="*/ 175779 w 356934"/>
                <a:gd name="connsiteY221" fmla="*/ 363613 h 391307"/>
                <a:gd name="connsiteX222" fmla="*/ 177082 w 356934"/>
                <a:gd name="connsiteY222" fmla="*/ 372573 h 391307"/>
                <a:gd name="connsiteX223" fmla="*/ 178060 w 356934"/>
                <a:gd name="connsiteY223" fmla="*/ 373551 h 391307"/>
                <a:gd name="connsiteX224" fmla="*/ 177897 w 356934"/>
                <a:gd name="connsiteY224" fmla="*/ 376972 h 391307"/>
                <a:gd name="connsiteX225" fmla="*/ 175942 w 356934"/>
                <a:gd name="connsiteY225" fmla="*/ 378438 h 391307"/>
                <a:gd name="connsiteX226" fmla="*/ 177571 w 356934"/>
                <a:gd name="connsiteY226" fmla="*/ 378927 h 391307"/>
                <a:gd name="connsiteX227" fmla="*/ 179689 w 356934"/>
                <a:gd name="connsiteY227" fmla="*/ 378927 h 391307"/>
                <a:gd name="connsiteX228" fmla="*/ 181481 w 356934"/>
                <a:gd name="connsiteY228" fmla="*/ 384465 h 391307"/>
                <a:gd name="connsiteX229" fmla="*/ 186042 w 356934"/>
                <a:gd name="connsiteY229" fmla="*/ 383977 h 391307"/>
                <a:gd name="connsiteX230" fmla="*/ 193373 w 356934"/>
                <a:gd name="connsiteY230" fmla="*/ 383814 h 391307"/>
                <a:gd name="connsiteX231" fmla="*/ 202496 w 356934"/>
                <a:gd name="connsiteY231" fmla="*/ 388212 h 391307"/>
                <a:gd name="connsiteX232" fmla="*/ 201844 w 356934"/>
                <a:gd name="connsiteY232" fmla="*/ 391308 h 391307"/>
                <a:gd name="connsiteX233" fmla="*/ 206080 w 356934"/>
                <a:gd name="connsiteY233" fmla="*/ 388701 h 3913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</a:cxnLst>
              <a:rect l="l" t="t" r="r" b="b"/>
              <a:pathLst>
                <a:path w="356934" h="391307">
                  <a:moveTo>
                    <a:pt x="206080" y="388701"/>
                  </a:moveTo>
                  <a:lnTo>
                    <a:pt x="206243" y="382185"/>
                  </a:lnTo>
                  <a:lnTo>
                    <a:pt x="211619" y="378601"/>
                  </a:lnTo>
                  <a:lnTo>
                    <a:pt x="215040" y="377786"/>
                  </a:lnTo>
                  <a:lnTo>
                    <a:pt x="217321" y="371270"/>
                  </a:lnTo>
                  <a:lnTo>
                    <a:pt x="221230" y="372247"/>
                  </a:lnTo>
                  <a:lnTo>
                    <a:pt x="225466" y="369967"/>
                  </a:lnTo>
                  <a:lnTo>
                    <a:pt x="242898" y="370944"/>
                  </a:lnTo>
                  <a:lnTo>
                    <a:pt x="252998" y="367197"/>
                  </a:lnTo>
                  <a:lnTo>
                    <a:pt x="255116" y="364916"/>
                  </a:lnTo>
                  <a:lnTo>
                    <a:pt x="260980" y="363124"/>
                  </a:lnTo>
                  <a:lnTo>
                    <a:pt x="259025" y="366871"/>
                  </a:lnTo>
                  <a:lnTo>
                    <a:pt x="261306" y="369804"/>
                  </a:lnTo>
                  <a:lnTo>
                    <a:pt x="267008" y="366220"/>
                  </a:lnTo>
                  <a:lnTo>
                    <a:pt x="271895" y="364591"/>
                  </a:lnTo>
                  <a:lnTo>
                    <a:pt x="269778" y="362310"/>
                  </a:lnTo>
                  <a:lnTo>
                    <a:pt x="270592" y="358563"/>
                  </a:lnTo>
                  <a:lnTo>
                    <a:pt x="264890" y="342272"/>
                  </a:lnTo>
                  <a:lnTo>
                    <a:pt x="259840" y="335756"/>
                  </a:lnTo>
                  <a:lnTo>
                    <a:pt x="261143" y="332172"/>
                  </a:lnTo>
                  <a:lnTo>
                    <a:pt x="257722" y="329239"/>
                  </a:lnTo>
                  <a:lnTo>
                    <a:pt x="252672" y="329565"/>
                  </a:lnTo>
                  <a:lnTo>
                    <a:pt x="244364" y="324189"/>
                  </a:lnTo>
                  <a:lnTo>
                    <a:pt x="243386" y="314903"/>
                  </a:lnTo>
                  <a:lnTo>
                    <a:pt x="243712" y="308550"/>
                  </a:lnTo>
                  <a:lnTo>
                    <a:pt x="239965" y="300730"/>
                  </a:lnTo>
                  <a:lnTo>
                    <a:pt x="235241" y="300567"/>
                  </a:lnTo>
                  <a:lnTo>
                    <a:pt x="232471" y="302033"/>
                  </a:lnTo>
                  <a:lnTo>
                    <a:pt x="226281" y="299916"/>
                  </a:lnTo>
                  <a:lnTo>
                    <a:pt x="222045" y="300079"/>
                  </a:lnTo>
                  <a:lnTo>
                    <a:pt x="222045" y="293725"/>
                  </a:lnTo>
                  <a:lnTo>
                    <a:pt x="226118" y="283299"/>
                  </a:lnTo>
                  <a:lnTo>
                    <a:pt x="230028" y="282159"/>
                  </a:lnTo>
                  <a:lnTo>
                    <a:pt x="236870" y="272384"/>
                  </a:lnTo>
                  <a:lnTo>
                    <a:pt x="238010" y="267822"/>
                  </a:lnTo>
                  <a:lnTo>
                    <a:pt x="242735" y="265542"/>
                  </a:lnTo>
                  <a:lnTo>
                    <a:pt x="245993" y="263098"/>
                  </a:lnTo>
                  <a:lnTo>
                    <a:pt x="251532" y="265542"/>
                  </a:lnTo>
                  <a:lnTo>
                    <a:pt x="252672" y="270429"/>
                  </a:lnTo>
                  <a:lnTo>
                    <a:pt x="256419" y="271244"/>
                  </a:lnTo>
                  <a:lnTo>
                    <a:pt x="266030" y="266193"/>
                  </a:lnTo>
                  <a:lnTo>
                    <a:pt x="279389" y="265542"/>
                  </a:lnTo>
                  <a:lnTo>
                    <a:pt x="287535" y="256419"/>
                  </a:lnTo>
                  <a:lnTo>
                    <a:pt x="292585" y="241431"/>
                  </a:lnTo>
                  <a:lnTo>
                    <a:pt x="304314" y="233123"/>
                  </a:lnTo>
                  <a:lnTo>
                    <a:pt x="307246" y="227584"/>
                  </a:lnTo>
                  <a:lnTo>
                    <a:pt x="308387" y="219276"/>
                  </a:lnTo>
                  <a:lnTo>
                    <a:pt x="314089" y="211130"/>
                  </a:lnTo>
                  <a:lnTo>
                    <a:pt x="322397" y="207057"/>
                  </a:lnTo>
                  <a:lnTo>
                    <a:pt x="325167" y="200867"/>
                  </a:lnTo>
                  <a:lnTo>
                    <a:pt x="325003" y="195980"/>
                  </a:lnTo>
                  <a:lnTo>
                    <a:pt x="321583" y="193373"/>
                  </a:lnTo>
                  <a:lnTo>
                    <a:pt x="328914" y="185390"/>
                  </a:lnTo>
                  <a:lnTo>
                    <a:pt x="332986" y="182132"/>
                  </a:lnTo>
                  <a:lnTo>
                    <a:pt x="333801" y="176105"/>
                  </a:lnTo>
                  <a:lnTo>
                    <a:pt x="335104" y="163398"/>
                  </a:lnTo>
                  <a:lnTo>
                    <a:pt x="332498" y="153949"/>
                  </a:lnTo>
                  <a:lnTo>
                    <a:pt x="331032" y="151831"/>
                  </a:lnTo>
                  <a:lnTo>
                    <a:pt x="339177" y="144012"/>
                  </a:lnTo>
                  <a:lnTo>
                    <a:pt x="343901" y="142382"/>
                  </a:lnTo>
                  <a:lnTo>
                    <a:pt x="348625" y="139287"/>
                  </a:lnTo>
                  <a:lnTo>
                    <a:pt x="351884" y="139776"/>
                  </a:lnTo>
                  <a:lnTo>
                    <a:pt x="356934" y="134074"/>
                  </a:lnTo>
                  <a:lnTo>
                    <a:pt x="356282" y="128535"/>
                  </a:lnTo>
                  <a:lnTo>
                    <a:pt x="349766" y="127069"/>
                  </a:lnTo>
                  <a:lnTo>
                    <a:pt x="343738" y="129513"/>
                  </a:lnTo>
                  <a:lnTo>
                    <a:pt x="335919" y="127721"/>
                  </a:lnTo>
                  <a:lnTo>
                    <a:pt x="332823" y="121204"/>
                  </a:lnTo>
                  <a:lnTo>
                    <a:pt x="323863" y="117457"/>
                  </a:lnTo>
                  <a:lnTo>
                    <a:pt x="314252" y="115177"/>
                  </a:lnTo>
                  <a:lnTo>
                    <a:pt x="304966" y="106868"/>
                  </a:lnTo>
                  <a:lnTo>
                    <a:pt x="303662" y="99212"/>
                  </a:lnTo>
                  <a:lnTo>
                    <a:pt x="299753" y="81943"/>
                  </a:lnTo>
                  <a:lnTo>
                    <a:pt x="295028" y="74449"/>
                  </a:lnTo>
                  <a:lnTo>
                    <a:pt x="294866" y="66467"/>
                  </a:lnTo>
                  <a:lnTo>
                    <a:pt x="299101" y="64675"/>
                  </a:lnTo>
                  <a:lnTo>
                    <a:pt x="299916" y="59299"/>
                  </a:lnTo>
                  <a:lnTo>
                    <a:pt x="307084" y="54737"/>
                  </a:lnTo>
                  <a:lnTo>
                    <a:pt x="306921" y="48384"/>
                  </a:lnTo>
                  <a:lnTo>
                    <a:pt x="299427" y="46429"/>
                  </a:lnTo>
                  <a:lnTo>
                    <a:pt x="297961" y="41216"/>
                  </a:lnTo>
                  <a:lnTo>
                    <a:pt x="291282" y="37143"/>
                  </a:lnTo>
                  <a:lnTo>
                    <a:pt x="284276" y="31279"/>
                  </a:lnTo>
                  <a:lnTo>
                    <a:pt x="279063" y="24925"/>
                  </a:lnTo>
                  <a:lnTo>
                    <a:pt x="273850" y="26717"/>
                  </a:lnTo>
                  <a:lnTo>
                    <a:pt x="270266" y="28183"/>
                  </a:lnTo>
                  <a:lnTo>
                    <a:pt x="266519" y="24599"/>
                  </a:lnTo>
                  <a:lnTo>
                    <a:pt x="265379" y="14499"/>
                  </a:lnTo>
                  <a:lnTo>
                    <a:pt x="277760" y="6190"/>
                  </a:lnTo>
                  <a:lnTo>
                    <a:pt x="276131" y="1955"/>
                  </a:lnTo>
                  <a:lnTo>
                    <a:pt x="268800" y="3421"/>
                  </a:lnTo>
                  <a:lnTo>
                    <a:pt x="262773" y="0"/>
                  </a:lnTo>
                  <a:lnTo>
                    <a:pt x="254301" y="4561"/>
                  </a:lnTo>
                  <a:lnTo>
                    <a:pt x="248110" y="10100"/>
                  </a:lnTo>
                  <a:lnTo>
                    <a:pt x="241105" y="10100"/>
                  </a:lnTo>
                  <a:lnTo>
                    <a:pt x="237033" y="16291"/>
                  </a:lnTo>
                  <a:lnTo>
                    <a:pt x="232146" y="21178"/>
                  </a:lnTo>
                  <a:lnTo>
                    <a:pt x="243223" y="37306"/>
                  </a:lnTo>
                  <a:lnTo>
                    <a:pt x="244038" y="48384"/>
                  </a:lnTo>
                  <a:lnTo>
                    <a:pt x="231819" y="64349"/>
                  </a:lnTo>
                  <a:lnTo>
                    <a:pt x="238173" y="70214"/>
                  </a:lnTo>
                  <a:lnTo>
                    <a:pt x="238173" y="77219"/>
                  </a:lnTo>
                  <a:lnTo>
                    <a:pt x="231494" y="87156"/>
                  </a:lnTo>
                  <a:lnTo>
                    <a:pt x="221882" y="87156"/>
                  </a:lnTo>
                  <a:lnTo>
                    <a:pt x="212596" y="83409"/>
                  </a:lnTo>
                  <a:lnTo>
                    <a:pt x="206406" y="87482"/>
                  </a:lnTo>
                  <a:lnTo>
                    <a:pt x="209175" y="94161"/>
                  </a:lnTo>
                  <a:lnTo>
                    <a:pt x="214551" y="97094"/>
                  </a:lnTo>
                  <a:lnTo>
                    <a:pt x="217646" y="104099"/>
                  </a:lnTo>
                  <a:lnTo>
                    <a:pt x="216506" y="108497"/>
                  </a:lnTo>
                  <a:lnTo>
                    <a:pt x="210478" y="111756"/>
                  </a:lnTo>
                  <a:lnTo>
                    <a:pt x="204777" y="112407"/>
                  </a:lnTo>
                  <a:lnTo>
                    <a:pt x="202822" y="115991"/>
                  </a:lnTo>
                  <a:lnTo>
                    <a:pt x="202007" y="125114"/>
                  </a:lnTo>
                  <a:lnTo>
                    <a:pt x="200215" y="130979"/>
                  </a:lnTo>
                  <a:lnTo>
                    <a:pt x="200052" y="134563"/>
                  </a:lnTo>
                  <a:lnTo>
                    <a:pt x="198098" y="136681"/>
                  </a:lnTo>
                  <a:lnTo>
                    <a:pt x="200052" y="148084"/>
                  </a:lnTo>
                  <a:lnTo>
                    <a:pt x="194514" y="156230"/>
                  </a:lnTo>
                  <a:lnTo>
                    <a:pt x="189626" y="150039"/>
                  </a:lnTo>
                  <a:lnTo>
                    <a:pt x="186694" y="150039"/>
                  </a:lnTo>
                  <a:lnTo>
                    <a:pt x="186368" y="153460"/>
                  </a:lnTo>
                  <a:lnTo>
                    <a:pt x="180177" y="153135"/>
                  </a:lnTo>
                  <a:lnTo>
                    <a:pt x="177082" y="151017"/>
                  </a:lnTo>
                  <a:lnTo>
                    <a:pt x="171055" y="151668"/>
                  </a:lnTo>
                  <a:lnTo>
                    <a:pt x="169425" y="154927"/>
                  </a:lnTo>
                  <a:lnTo>
                    <a:pt x="159814" y="162257"/>
                  </a:lnTo>
                  <a:lnTo>
                    <a:pt x="164050" y="163561"/>
                  </a:lnTo>
                  <a:lnTo>
                    <a:pt x="161117" y="167308"/>
                  </a:lnTo>
                  <a:lnTo>
                    <a:pt x="151668" y="171543"/>
                  </a:lnTo>
                  <a:lnTo>
                    <a:pt x="148736" y="169425"/>
                  </a:lnTo>
                  <a:lnTo>
                    <a:pt x="142546" y="170729"/>
                  </a:lnTo>
                  <a:lnTo>
                    <a:pt x="140591" y="174638"/>
                  </a:lnTo>
                  <a:lnTo>
                    <a:pt x="139613" y="178711"/>
                  </a:lnTo>
                  <a:lnTo>
                    <a:pt x="134726" y="180340"/>
                  </a:lnTo>
                  <a:lnTo>
                    <a:pt x="131468" y="184576"/>
                  </a:lnTo>
                  <a:lnTo>
                    <a:pt x="131793" y="191581"/>
                  </a:lnTo>
                  <a:lnTo>
                    <a:pt x="133748" y="199889"/>
                  </a:lnTo>
                  <a:lnTo>
                    <a:pt x="133260" y="205265"/>
                  </a:lnTo>
                  <a:lnTo>
                    <a:pt x="135377" y="210153"/>
                  </a:lnTo>
                  <a:lnTo>
                    <a:pt x="134237" y="215040"/>
                  </a:lnTo>
                  <a:lnTo>
                    <a:pt x="124137" y="219276"/>
                  </a:lnTo>
                  <a:lnTo>
                    <a:pt x="115177" y="219113"/>
                  </a:lnTo>
                  <a:lnTo>
                    <a:pt x="107194" y="220090"/>
                  </a:lnTo>
                  <a:lnTo>
                    <a:pt x="93510" y="220905"/>
                  </a:lnTo>
                  <a:lnTo>
                    <a:pt x="84550" y="223348"/>
                  </a:lnTo>
                  <a:lnTo>
                    <a:pt x="81292" y="225955"/>
                  </a:lnTo>
                  <a:lnTo>
                    <a:pt x="73309" y="225466"/>
                  </a:lnTo>
                  <a:lnTo>
                    <a:pt x="64675" y="227747"/>
                  </a:lnTo>
                  <a:lnTo>
                    <a:pt x="35188" y="228562"/>
                  </a:lnTo>
                  <a:lnTo>
                    <a:pt x="163" y="218624"/>
                  </a:lnTo>
                  <a:lnTo>
                    <a:pt x="0" y="218624"/>
                  </a:lnTo>
                  <a:lnTo>
                    <a:pt x="13359" y="236381"/>
                  </a:lnTo>
                  <a:lnTo>
                    <a:pt x="16291" y="242246"/>
                  </a:lnTo>
                  <a:lnTo>
                    <a:pt x="22970" y="249251"/>
                  </a:lnTo>
                  <a:lnTo>
                    <a:pt x="29323" y="252835"/>
                  </a:lnTo>
                  <a:lnTo>
                    <a:pt x="31604" y="255279"/>
                  </a:lnTo>
                  <a:lnTo>
                    <a:pt x="40076" y="256093"/>
                  </a:lnTo>
                  <a:lnTo>
                    <a:pt x="44800" y="257885"/>
                  </a:lnTo>
                  <a:lnTo>
                    <a:pt x="45614" y="260655"/>
                  </a:lnTo>
                  <a:lnTo>
                    <a:pt x="52619" y="261469"/>
                  </a:lnTo>
                  <a:lnTo>
                    <a:pt x="52782" y="270103"/>
                  </a:lnTo>
                  <a:lnTo>
                    <a:pt x="54575" y="275968"/>
                  </a:lnTo>
                  <a:lnTo>
                    <a:pt x="55063" y="282973"/>
                  </a:lnTo>
                  <a:lnTo>
                    <a:pt x="56366" y="287535"/>
                  </a:lnTo>
                  <a:lnTo>
                    <a:pt x="62557" y="287209"/>
                  </a:lnTo>
                  <a:lnTo>
                    <a:pt x="69236" y="291607"/>
                  </a:lnTo>
                  <a:lnTo>
                    <a:pt x="69888" y="301545"/>
                  </a:lnTo>
                  <a:lnTo>
                    <a:pt x="66304" y="305129"/>
                  </a:lnTo>
                  <a:lnTo>
                    <a:pt x="59625" y="302522"/>
                  </a:lnTo>
                  <a:lnTo>
                    <a:pt x="47244" y="306269"/>
                  </a:lnTo>
                  <a:lnTo>
                    <a:pt x="44637" y="309038"/>
                  </a:lnTo>
                  <a:lnTo>
                    <a:pt x="36980" y="312134"/>
                  </a:lnTo>
                  <a:lnTo>
                    <a:pt x="34374" y="317021"/>
                  </a:lnTo>
                  <a:lnTo>
                    <a:pt x="35677" y="321583"/>
                  </a:lnTo>
                  <a:lnTo>
                    <a:pt x="31767" y="326796"/>
                  </a:lnTo>
                  <a:lnTo>
                    <a:pt x="34211" y="333149"/>
                  </a:lnTo>
                  <a:lnTo>
                    <a:pt x="33071" y="342109"/>
                  </a:lnTo>
                  <a:lnTo>
                    <a:pt x="33234" y="346345"/>
                  </a:lnTo>
                  <a:lnTo>
                    <a:pt x="36166" y="346345"/>
                  </a:lnTo>
                  <a:lnTo>
                    <a:pt x="36003" y="349929"/>
                  </a:lnTo>
                  <a:lnTo>
                    <a:pt x="38284" y="350906"/>
                  </a:lnTo>
                  <a:lnTo>
                    <a:pt x="45614" y="346508"/>
                  </a:lnTo>
                  <a:lnTo>
                    <a:pt x="51479" y="346019"/>
                  </a:lnTo>
                  <a:lnTo>
                    <a:pt x="51805" y="348463"/>
                  </a:lnTo>
                  <a:lnTo>
                    <a:pt x="53923" y="347648"/>
                  </a:lnTo>
                  <a:lnTo>
                    <a:pt x="57670" y="344553"/>
                  </a:lnTo>
                  <a:lnTo>
                    <a:pt x="63209" y="344879"/>
                  </a:lnTo>
                  <a:lnTo>
                    <a:pt x="65815" y="345693"/>
                  </a:lnTo>
                  <a:lnTo>
                    <a:pt x="70051" y="344553"/>
                  </a:lnTo>
                  <a:lnTo>
                    <a:pt x="73146" y="344879"/>
                  </a:lnTo>
                  <a:lnTo>
                    <a:pt x="75916" y="344879"/>
                  </a:lnTo>
                  <a:lnTo>
                    <a:pt x="76567" y="342272"/>
                  </a:lnTo>
                  <a:lnTo>
                    <a:pt x="78685" y="339503"/>
                  </a:lnTo>
                  <a:lnTo>
                    <a:pt x="83735" y="342761"/>
                  </a:lnTo>
                  <a:lnTo>
                    <a:pt x="87156" y="342761"/>
                  </a:lnTo>
                  <a:lnTo>
                    <a:pt x="87808" y="340643"/>
                  </a:lnTo>
                  <a:lnTo>
                    <a:pt x="90577" y="341295"/>
                  </a:lnTo>
                  <a:lnTo>
                    <a:pt x="92044" y="344227"/>
                  </a:lnTo>
                  <a:lnTo>
                    <a:pt x="96116" y="344227"/>
                  </a:lnTo>
                  <a:lnTo>
                    <a:pt x="99537" y="346671"/>
                  </a:lnTo>
                  <a:lnTo>
                    <a:pt x="103610" y="346671"/>
                  </a:lnTo>
                  <a:lnTo>
                    <a:pt x="109475" y="341132"/>
                  </a:lnTo>
                  <a:lnTo>
                    <a:pt x="116154" y="341132"/>
                  </a:lnTo>
                  <a:lnTo>
                    <a:pt x="120227" y="342272"/>
                  </a:lnTo>
                  <a:lnTo>
                    <a:pt x="124137" y="339665"/>
                  </a:lnTo>
                  <a:lnTo>
                    <a:pt x="128209" y="339665"/>
                  </a:lnTo>
                  <a:lnTo>
                    <a:pt x="129024" y="337711"/>
                  </a:lnTo>
                  <a:lnTo>
                    <a:pt x="130979" y="339340"/>
                  </a:lnTo>
                  <a:lnTo>
                    <a:pt x="138310" y="340317"/>
                  </a:lnTo>
                  <a:lnTo>
                    <a:pt x="144500" y="338036"/>
                  </a:lnTo>
                  <a:lnTo>
                    <a:pt x="151994" y="337711"/>
                  </a:lnTo>
                  <a:lnTo>
                    <a:pt x="157370" y="342109"/>
                  </a:lnTo>
                  <a:lnTo>
                    <a:pt x="159651" y="347648"/>
                  </a:lnTo>
                  <a:lnTo>
                    <a:pt x="158836" y="351884"/>
                  </a:lnTo>
                  <a:lnTo>
                    <a:pt x="159651" y="352861"/>
                  </a:lnTo>
                  <a:lnTo>
                    <a:pt x="158348" y="353350"/>
                  </a:lnTo>
                  <a:lnTo>
                    <a:pt x="158348" y="355142"/>
                  </a:lnTo>
                  <a:lnTo>
                    <a:pt x="162583" y="355305"/>
                  </a:lnTo>
                  <a:lnTo>
                    <a:pt x="170240" y="351884"/>
                  </a:lnTo>
                  <a:lnTo>
                    <a:pt x="170077" y="357097"/>
                  </a:lnTo>
                  <a:lnTo>
                    <a:pt x="175779" y="363613"/>
                  </a:lnTo>
                  <a:lnTo>
                    <a:pt x="177082" y="372573"/>
                  </a:lnTo>
                  <a:lnTo>
                    <a:pt x="178060" y="373551"/>
                  </a:lnTo>
                  <a:lnTo>
                    <a:pt x="177897" y="376972"/>
                  </a:lnTo>
                  <a:lnTo>
                    <a:pt x="175942" y="378438"/>
                  </a:lnTo>
                  <a:lnTo>
                    <a:pt x="177571" y="378927"/>
                  </a:lnTo>
                  <a:lnTo>
                    <a:pt x="179689" y="378927"/>
                  </a:lnTo>
                  <a:lnTo>
                    <a:pt x="181481" y="384465"/>
                  </a:lnTo>
                  <a:lnTo>
                    <a:pt x="186042" y="383977"/>
                  </a:lnTo>
                  <a:lnTo>
                    <a:pt x="193373" y="383814"/>
                  </a:lnTo>
                  <a:lnTo>
                    <a:pt x="202496" y="388212"/>
                  </a:lnTo>
                  <a:lnTo>
                    <a:pt x="201844" y="391308"/>
                  </a:lnTo>
                  <a:lnTo>
                    <a:pt x="206080" y="388701"/>
                  </a:lnTo>
                  <a:close/>
                </a:path>
              </a:pathLst>
            </a:custGeom>
            <a:solidFill>
              <a:schemeClr val="bg2"/>
            </a:solidFill>
            <a:ln w="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6" name="Forma livre: Forma 215">
              <a:extLst>
                <a:ext uri="{FF2B5EF4-FFF2-40B4-BE49-F238E27FC236}">
                  <a16:creationId xmlns:a16="http://schemas.microsoft.com/office/drawing/2014/main" id="{4B3DC8A1-D942-BB1C-B690-36412C73672E}"/>
                </a:ext>
              </a:extLst>
            </p:cNvPr>
            <p:cNvSpPr/>
            <p:nvPr/>
          </p:nvSpPr>
          <p:spPr>
            <a:xfrm>
              <a:off x="7560113" y="3908887"/>
              <a:ext cx="368856" cy="404377"/>
            </a:xfrm>
            <a:custGeom>
              <a:avLst/>
              <a:gdLst>
                <a:gd name="connsiteX0" fmla="*/ 206080 w 356934"/>
                <a:gd name="connsiteY0" fmla="*/ 388701 h 391307"/>
                <a:gd name="connsiteX1" fmla="*/ 206243 w 356934"/>
                <a:gd name="connsiteY1" fmla="*/ 382185 h 391307"/>
                <a:gd name="connsiteX2" fmla="*/ 211619 w 356934"/>
                <a:gd name="connsiteY2" fmla="*/ 378601 h 391307"/>
                <a:gd name="connsiteX3" fmla="*/ 215040 w 356934"/>
                <a:gd name="connsiteY3" fmla="*/ 377786 h 391307"/>
                <a:gd name="connsiteX4" fmla="*/ 217321 w 356934"/>
                <a:gd name="connsiteY4" fmla="*/ 371270 h 391307"/>
                <a:gd name="connsiteX5" fmla="*/ 221230 w 356934"/>
                <a:gd name="connsiteY5" fmla="*/ 372247 h 391307"/>
                <a:gd name="connsiteX6" fmla="*/ 225466 w 356934"/>
                <a:gd name="connsiteY6" fmla="*/ 369967 h 391307"/>
                <a:gd name="connsiteX7" fmla="*/ 242898 w 356934"/>
                <a:gd name="connsiteY7" fmla="*/ 370944 h 391307"/>
                <a:gd name="connsiteX8" fmla="*/ 252998 w 356934"/>
                <a:gd name="connsiteY8" fmla="*/ 367197 h 391307"/>
                <a:gd name="connsiteX9" fmla="*/ 255116 w 356934"/>
                <a:gd name="connsiteY9" fmla="*/ 364916 h 391307"/>
                <a:gd name="connsiteX10" fmla="*/ 260980 w 356934"/>
                <a:gd name="connsiteY10" fmla="*/ 363124 h 391307"/>
                <a:gd name="connsiteX11" fmla="*/ 259025 w 356934"/>
                <a:gd name="connsiteY11" fmla="*/ 366871 h 391307"/>
                <a:gd name="connsiteX12" fmla="*/ 261306 w 356934"/>
                <a:gd name="connsiteY12" fmla="*/ 369804 h 391307"/>
                <a:gd name="connsiteX13" fmla="*/ 267008 w 356934"/>
                <a:gd name="connsiteY13" fmla="*/ 366220 h 391307"/>
                <a:gd name="connsiteX14" fmla="*/ 271895 w 356934"/>
                <a:gd name="connsiteY14" fmla="*/ 364591 h 391307"/>
                <a:gd name="connsiteX15" fmla="*/ 269778 w 356934"/>
                <a:gd name="connsiteY15" fmla="*/ 362310 h 391307"/>
                <a:gd name="connsiteX16" fmla="*/ 270592 w 356934"/>
                <a:gd name="connsiteY16" fmla="*/ 358563 h 391307"/>
                <a:gd name="connsiteX17" fmla="*/ 264890 w 356934"/>
                <a:gd name="connsiteY17" fmla="*/ 342272 h 391307"/>
                <a:gd name="connsiteX18" fmla="*/ 259840 w 356934"/>
                <a:gd name="connsiteY18" fmla="*/ 335756 h 391307"/>
                <a:gd name="connsiteX19" fmla="*/ 261143 w 356934"/>
                <a:gd name="connsiteY19" fmla="*/ 332172 h 391307"/>
                <a:gd name="connsiteX20" fmla="*/ 257722 w 356934"/>
                <a:gd name="connsiteY20" fmla="*/ 329239 h 391307"/>
                <a:gd name="connsiteX21" fmla="*/ 252672 w 356934"/>
                <a:gd name="connsiteY21" fmla="*/ 329565 h 391307"/>
                <a:gd name="connsiteX22" fmla="*/ 244364 w 356934"/>
                <a:gd name="connsiteY22" fmla="*/ 324189 h 391307"/>
                <a:gd name="connsiteX23" fmla="*/ 243386 w 356934"/>
                <a:gd name="connsiteY23" fmla="*/ 314903 h 391307"/>
                <a:gd name="connsiteX24" fmla="*/ 243712 w 356934"/>
                <a:gd name="connsiteY24" fmla="*/ 308550 h 391307"/>
                <a:gd name="connsiteX25" fmla="*/ 239965 w 356934"/>
                <a:gd name="connsiteY25" fmla="*/ 300730 h 391307"/>
                <a:gd name="connsiteX26" fmla="*/ 235241 w 356934"/>
                <a:gd name="connsiteY26" fmla="*/ 300567 h 391307"/>
                <a:gd name="connsiteX27" fmla="*/ 232471 w 356934"/>
                <a:gd name="connsiteY27" fmla="*/ 302033 h 391307"/>
                <a:gd name="connsiteX28" fmla="*/ 226281 w 356934"/>
                <a:gd name="connsiteY28" fmla="*/ 299916 h 391307"/>
                <a:gd name="connsiteX29" fmla="*/ 222045 w 356934"/>
                <a:gd name="connsiteY29" fmla="*/ 300079 h 391307"/>
                <a:gd name="connsiteX30" fmla="*/ 222045 w 356934"/>
                <a:gd name="connsiteY30" fmla="*/ 293725 h 391307"/>
                <a:gd name="connsiteX31" fmla="*/ 226118 w 356934"/>
                <a:gd name="connsiteY31" fmla="*/ 283299 h 391307"/>
                <a:gd name="connsiteX32" fmla="*/ 230028 w 356934"/>
                <a:gd name="connsiteY32" fmla="*/ 282159 h 391307"/>
                <a:gd name="connsiteX33" fmla="*/ 236870 w 356934"/>
                <a:gd name="connsiteY33" fmla="*/ 272384 h 391307"/>
                <a:gd name="connsiteX34" fmla="*/ 238010 w 356934"/>
                <a:gd name="connsiteY34" fmla="*/ 267822 h 391307"/>
                <a:gd name="connsiteX35" fmla="*/ 242735 w 356934"/>
                <a:gd name="connsiteY35" fmla="*/ 265542 h 391307"/>
                <a:gd name="connsiteX36" fmla="*/ 245993 w 356934"/>
                <a:gd name="connsiteY36" fmla="*/ 263098 h 391307"/>
                <a:gd name="connsiteX37" fmla="*/ 251532 w 356934"/>
                <a:gd name="connsiteY37" fmla="*/ 265542 h 391307"/>
                <a:gd name="connsiteX38" fmla="*/ 252672 w 356934"/>
                <a:gd name="connsiteY38" fmla="*/ 270429 h 391307"/>
                <a:gd name="connsiteX39" fmla="*/ 256419 w 356934"/>
                <a:gd name="connsiteY39" fmla="*/ 271244 h 391307"/>
                <a:gd name="connsiteX40" fmla="*/ 266030 w 356934"/>
                <a:gd name="connsiteY40" fmla="*/ 266193 h 391307"/>
                <a:gd name="connsiteX41" fmla="*/ 279389 w 356934"/>
                <a:gd name="connsiteY41" fmla="*/ 265542 h 391307"/>
                <a:gd name="connsiteX42" fmla="*/ 287535 w 356934"/>
                <a:gd name="connsiteY42" fmla="*/ 256419 h 391307"/>
                <a:gd name="connsiteX43" fmla="*/ 292585 w 356934"/>
                <a:gd name="connsiteY43" fmla="*/ 241431 h 391307"/>
                <a:gd name="connsiteX44" fmla="*/ 304314 w 356934"/>
                <a:gd name="connsiteY44" fmla="*/ 233123 h 391307"/>
                <a:gd name="connsiteX45" fmla="*/ 307246 w 356934"/>
                <a:gd name="connsiteY45" fmla="*/ 227584 h 391307"/>
                <a:gd name="connsiteX46" fmla="*/ 308387 w 356934"/>
                <a:gd name="connsiteY46" fmla="*/ 219276 h 391307"/>
                <a:gd name="connsiteX47" fmla="*/ 314089 w 356934"/>
                <a:gd name="connsiteY47" fmla="*/ 211130 h 391307"/>
                <a:gd name="connsiteX48" fmla="*/ 322397 w 356934"/>
                <a:gd name="connsiteY48" fmla="*/ 207057 h 391307"/>
                <a:gd name="connsiteX49" fmla="*/ 325167 w 356934"/>
                <a:gd name="connsiteY49" fmla="*/ 200867 h 391307"/>
                <a:gd name="connsiteX50" fmla="*/ 325003 w 356934"/>
                <a:gd name="connsiteY50" fmla="*/ 195980 h 391307"/>
                <a:gd name="connsiteX51" fmla="*/ 321583 w 356934"/>
                <a:gd name="connsiteY51" fmla="*/ 193373 h 391307"/>
                <a:gd name="connsiteX52" fmla="*/ 328914 w 356934"/>
                <a:gd name="connsiteY52" fmla="*/ 185390 h 391307"/>
                <a:gd name="connsiteX53" fmla="*/ 332986 w 356934"/>
                <a:gd name="connsiteY53" fmla="*/ 182132 h 391307"/>
                <a:gd name="connsiteX54" fmla="*/ 333801 w 356934"/>
                <a:gd name="connsiteY54" fmla="*/ 176105 h 391307"/>
                <a:gd name="connsiteX55" fmla="*/ 335104 w 356934"/>
                <a:gd name="connsiteY55" fmla="*/ 163398 h 391307"/>
                <a:gd name="connsiteX56" fmla="*/ 332498 w 356934"/>
                <a:gd name="connsiteY56" fmla="*/ 153949 h 391307"/>
                <a:gd name="connsiteX57" fmla="*/ 331032 w 356934"/>
                <a:gd name="connsiteY57" fmla="*/ 151831 h 391307"/>
                <a:gd name="connsiteX58" fmla="*/ 339177 w 356934"/>
                <a:gd name="connsiteY58" fmla="*/ 144012 h 391307"/>
                <a:gd name="connsiteX59" fmla="*/ 343901 w 356934"/>
                <a:gd name="connsiteY59" fmla="*/ 142382 h 391307"/>
                <a:gd name="connsiteX60" fmla="*/ 348625 w 356934"/>
                <a:gd name="connsiteY60" fmla="*/ 139287 h 391307"/>
                <a:gd name="connsiteX61" fmla="*/ 351884 w 356934"/>
                <a:gd name="connsiteY61" fmla="*/ 139776 h 391307"/>
                <a:gd name="connsiteX62" fmla="*/ 356934 w 356934"/>
                <a:gd name="connsiteY62" fmla="*/ 134074 h 391307"/>
                <a:gd name="connsiteX63" fmla="*/ 356282 w 356934"/>
                <a:gd name="connsiteY63" fmla="*/ 128535 h 391307"/>
                <a:gd name="connsiteX64" fmla="*/ 349766 w 356934"/>
                <a:gd name="connsiteY64" fmla="*/ 127069 h 391307"/>
                <a:gd name="connsiteX65" fmla="*/ 343738 w 356934"/>
                <a:gd name="connsiteY65" fmla="*/ 129513 h 391307"/>
                <a:gd name="connsiteX66" fmla="*/ 335919 w 356934"/>
                <a:gd name="connsiteY66" fmla="*/ 127721 h 391307"/>
                <a:gd name="connsiteX67" fmla="*/ 332823 w 356934"/>
                <a:gd name="connsiteY67" fmla="*/ 121204 h 391307"/>
                <a:gd name="connsiteX68" fmla="*/ 323863 w 356934"/>
                <a:gd name="connsiteY68" fmla="*/ 117457 h 391307"/>
                <a:gd name="connsiteX69" fmla="*/ 314252 w 356934"/>
                <a:gd name="connsiteY69" fmla="*/ 115177 h 391307"/>
                <a:gd name="connsiteX70" fmla="*/ 304966 w 356934"/>
                <a:gd name="connsiteY70" fmla="*/ 106868 h 391307"/>
                <a:gd name="connsiteX71" fmla="*/ 303662 w 356934"/>
                <a:gd name="connsiteY71" fmla="*/ 99212 h 391307"/>
                <a:gd name="connsiteX72" fmla="*/ 299753 w 356934"/>
                <a:gd name="connsiteY72" fmla="*/ 81943 h 391307"/>
                <a:gd name="connsiteX73" fmla="*/ 295028 w 356934"/>
                <a:gd name="connsiteY73" fmla="*/ 74449 h 391307"/>
                <a:gd name="connsiteX74" fmla="*/ 294866 w 356934"/>
                <a:gd name="connsiteY74" fmla="*/ 66467 h 391307"/>
                <a:gd name="connsiteX75" fmla="*/ 299101 w 356934"/>
                <a:gd name="connsiteY75" fmla="*/ 64675 h 391307"/>
                <a:gd name="connsiteX76" fmla="*/ 299916 w 356934"/>
                <a:gd name="connsiteY76" fmla="*/ 59299 h 391307"/>
                <a:gd name="connsiteX77" fmla="*/ 307084 w 356934"/>
                <a:gd name="connsiteY77" fmla="*/ 54737 h 391307"/>
                <a:gd name="connsiteX78" fmla="*/ 306921 w 356934"/>
                <a:gd name="connsiteY78" fmla="*/ 48384 h 391307"/>
                <a:gd name="connsiteX79" fmla="*/ 299427 w 356934"/>
                <a:gd name="connsiteY79" fmla="*/ 46429 h 391307"/>
                <a:gd name="connsiteX80" fmla="*/ 297961 w 356934"/>
                <a:gd name="connsiteY80" fmla="*/ 41216 h 391307"/>
                <a:gd name="connsiteX81" fmla="*/ 291282 w 356934"/>
                <a:gd name="connsiteY81" fmla="*/ 37143 h 391307"/>
                <a:gd name="connsiteX82" fmla="*/ 284276 w 356934"/>
                <a:gd name="connsiteY82" fmla="*/ 31279 h 391307"/>
                <a:gd name="connsiteX83" fmla="*/ 279063 w 356934"/>
                <a:gd name="connsiteY83" fmla="*/ 24925 h 391307"/>
                <a:gd name="connsiteX84" fmla="*/ 273850 w 356934"/>
                <a:gd name="connsiteY84" fmla="*/ 26717 h 391307"/>
                <a:gd name="connsiteX85" fmla="*/ 270266 w 356934"/>
                <a:gd name="connsiteY85" fmla="*/ 28183 h 391307"/>
                <a:gd name="connsiteX86" fmla="*/ 266519 w 356934"/>
                <a:gd name="connsiteY86" fmla="*/ 24599 h 391307"/>
                <a:gd name="connsiteX87" fmla="*/ 265379 w 356934"/>
                <a:gd name="connsiteY87" fmla="*/ 14499 h 391307"/>
                <a:gd name="connsiteX88" fmla="*/ 277760 w 356934"/>
                <a:gd name="connsiteY88" fmla="*/ 6190 h 391307"/>
                <a:gd name="connsiteX89" fmla="*/ 276131 w 356934"/>
                <a:gd name="connsiteY89" fmla="*/ 1955 h 391307"/>
                <a:gd name="connsiteX90" fmla="*/ 268800 w 356934"/>
                <a:gd name="connsiteY90" fmla="*/ 3421 h 391307"/>
                <a:gd name="connsiteX91" fmla="*/ 262773 w 356934"/>
                <a:gd name="connsiteY91" fmla="*/ 0 h 391307"/>
                <a:gd name="connsiteX92" fmla="*/ 254301 w 356934"/>
                <a:gd name="connsiteY92" fmla="*/ 4561 h 391307"/>
                <a:gd name="connsiteX93" fmla="*/ 248110 w 356934"/>
                <a:gd name="connsiteY93" fmla="*/ 10100 h 391307"/>
                <a:gd name="connsiteX94" fmla="*/ 241105 w 356934"/>
                <a:gd name="connsiteY94" fmla="*/ 10100 h 391307"/>
                <a:gd name="connsiteX95" fmla="*/ 237033 w 356934"/>
                <a:gd name="connsiteY95" fmla="*/ 16291 h 391307"/>
                <a:gd name="connsiteX96" fmla="*/ 232146 w 356934"/>
                <a:gd name="connsiteY96" fmla="*/ 21178 h 391307"/>
                <a:gd name="connsiteX97" fmla="*/ 243223 w 356934"/>
                <a:gd name="connsiteY97" fmla="*/ 37306 h 391307"/>
                <a:gd name="connsiteX98" fmla="*/ 244038 w 356934"/>
                <a:gd name="connsiteY98" fmla="*/ 48384 h 391307"/>
                <a:gd name="connsiteX99" fmla="*/ 231819 w 356934"/>
                <a:gd name="connsiteY99" fmla="*/ 64349 h 391307"/>
                <a:gd name="connsiteX100" fmla="*/ 238173 w 356934"/>
                <a:gd name="connsiteY100" fmla="*/ 70214 h 391307"/>
                <a:gd name="connsiteX101" fmla="*/ 238173 w 356934"/>
                <a:gd name="connsiteY101" fmla="*/ 77219 h 391307"/>
                <a:gd name="connsiteX102" fmla="*/ 231494 w 356934"/>
                <a:gd name="connsiteY102" fmla="*/ 87156 h 391307"/>
                <a:gd name="connsiteX103" fmla="*/ 221882 w 356934"/>
                <a:gd name="connsiteY103" fmla="*/ 87156 h 391307"/>
                <a:gd name="connsiteX104" fmla="*/ 212596 w 356934"/>
                <a:gd name="connsiteY104" fmla="*/ 83409 h 391307"/>
                <a:gd name="connsiteX105" fmla="*/ 206406 w 356934"/>
                <a:gd name="connsiteY105" fmla="*/ 87482 h 391307"/>
                <a:gd name="connsiteX106" fmla="*/ 209175 w 356934"/>
                <a:gd name="connsiteY106" fmla="*/ 94161 h 391307"/>
                <a:gd name="connsiteX107" fmla="*/ 214551 w 356934"/>
                <a:gd name="connsiteY107" fmla="*/ 97094 h 391307"/>
                <a:gd name="connsiteX108" fmla="*/ 217646 w 356934"/>
                <a:gd name="connsiteY108" fmla="*/ 104099 h 391307"/>
                <a:gd name="connsiteX109" fmla="*/ 216506 w 356934"/>
                <a:gd name="connsiteY109" fmla="*/ 108497 h 391307"/>
                <a:gd name="connsiteX110" fmla="*/ 210478 w 356934"/>
                <a:gd name="connsiteY110" fmla="*/ 111756 h 391307"/>
                <a:gd name="connsiteX111" fmla="*/ 204777 w 356934"/>
                <a:gd name="connsiteY111" fmla="*/ 112407 h 391307"/>
                <a:gd name="connsiteX112" fmla="*/ 202822 w 356934"/>
                <a:gd name="connsiteY112" fmla="*/ 115991 h 391307"/>
                <a:gd name="connsiteX113" fmla="*/ 202007 w 356934"/>
                <a:gd name="connsiteY113" fmla="*/ 125114 h 391307"/>
                <a:gd name="connsiteX114" fmla="*/ 200215 w 356934"/>
                <a:gd name="connsiteY114" fmla="*/ 130979 h 391307"/>
                <a:gd name="connsiteX115" fmla="*/ 200052 w 356934"/>
                <a:gd name="connsiteY115" fmla="*/ 134563 h 391307"/>
                <a:gd name="connsiteX116" fmla="*/ 198098 w 356934"/>
                <a:gd name="connsiteY116" fmla="*/ 136681 h 391307"/>
                <a:gd name="connsiteX117" fmla="*/ 200052 w 356934"/>
                <a:gd name="connsiteY117" fmla="*/ 148084 h 391307"/>
                <a:gd name="connsiteX118" fmla="*/ 194514 w 356934"/>
                <a:gd name="connsiteY118" fmla="*/ 156230 h 391307"/>
                <a:gd name="connsiteX119" fmla="*/ 189626 w 356934"/>
                <a:gd name="connsiteY119" fmla="*/ 150039 h 391307"/>
                <a:gd name="connsiteX120" fmla="*/ 186694 w 356934"/>
                <a:gd name="connsiteY120" fmla="*/ 150039 h 391307"/>
                <a:gd name="connsiteX121" fmla="*/ 186368 w 356934"/>
                <a:gd name="connsiteY121" fmla="*/ 153460 h 391307"/>
                <a:gd name="connsiteX122" fmla="*/ 180177 w 356934"/>
                <a:gd name="connsiteY122" fmla="*/ 153135 h 391307"/>
                <a:gd name="connsiteX123" fmla="*/ 177082 w 356934"/>
                <a:gd name="connsiteY123" fmla="*/ 151017 h 391307"/>
                <a:gd name="connsiteX124" fmla="*/ 171055 w 356934"/>
                <a:gd name="connsiteY124" fmla="*/ 151668 h 391307"/>
                <a:gd name="connsiteX125" fmla="*/ 169425 w 356934"/>
                <a:gd name="connsiteY125" fmla="*/ 154927 h 391307"/>
                <a:gd name="connsiteX126" fmla="*/ 159814 w 356934"/>
                <a:gd name="connsiteY126" fmla="*/ 162257 h 391307"/>
                <a:gd name="connsiteX127" fmla="*/ 164050 w 356934"/>
                <a:gd name="connsiteY127" fmla="*/ 163561 h 391307"/>
                <a:gd name="connsiteX128" fmla="*/ 161117 w 356934"/>
                <a:gd name="connsiteY128" fmla="*/ 167308 h 391307"/>
                <a:gd name="connsiteX129" fmla="*/ 151668 w 356934"/>
                <a:gd name="connsiteY129" fmla="*/ 171543 h 391307"/>
                <a:gd name="connsiteX130" fmla="*/ 148736 w 356934"/>
                <a:gd name="connsiteY130" fmla="*/ 169425 h 391307"/>
                <a:gd name="connsiteX131" fmla="*/ 142546 w 356934"/>
                <a:gd name="connsiteY131" fmla="*/ 170729 h 391307"/>
                <a:gd name="connsiteX132" fmla="*/ 140591 w 356934"/>
                <a:gd name="connsiteY132" fmla="*/ 174638 h 391307"/>
                <a:gd name="connsiteX133" fmla="*/ 139613 w 356934"/>
                <a:gd name="connsiteY133" fmla="*/ 178711 h 391307"/>
                <a:gd name="connsiteX134" fmla="*/ 134726 w 356934"/>
                <a:gd name="connsiteY134" fmla="*/ 180340 h 391307"/>
                <a:gd name="connsiteX135" fmla="*/ 131468 w 356934"/>
                <a:gd name="connsiteY135" fmla="*/ 184576 h 391307"/>
                <a:gd name="connsiteX136" fmla="*/ 131793 w 356934"/>
                <a:gd name="connsiteY136" fmla="*/ 191581 h 391307"/>
                <a:gd name="connsiteX137" fmla="*/ 133748 w 356934"/>
                <a:gd name="connsiteY137" fmla="*/ 199889 h 391307"/>
                <a:gd name="connsiteX138" fmla="*/ 133260 w 356934"/>
                <a:gd name="connsiteY138" fmla="*/ 205265 h 391307"/>
                <a:gd name="connsiteX139" fmla="*/ 135377 w 356934"/>
                <a:gd name="connsiteY139" fmla="*/ 210153 h 391307"/>
                <a:gd name="connsiteX140" fmla="*/ 134237 w 356934"/>
                <a:gd name="connsiteY140" fmla="*/ 215040 h 391307"/>
                <a:gd name="connsiteX141" fmla="*/ 124137 w 356934"/>
                <a:gd name="connsiteY141" fmla="*/ 219276 h 391307"/>
                <a:gd name="connsiteX142" fmla="*/ 115177 w 356934"/>
                <a:gd name="connsiteY142" fmla="*/ 219113 h 391307"/>
                <a:gd name="connsiteX143" fmla="*/ 107194 w 356934"/>
                <a:gd name="connsiteY143" fmla="*/ 220090 h 391307"/>
                <a:gd name="connsiteX144" fmla="*/ 93510 w 356934"/>
                <a:gd name="connsiteY144" fmla="*/ 220905 h 391307"/>
                <a:gd name="connsiteX145" fmla="*/ 84550 w 356934"/>
                <a:gd name="connsiteY145" fmla="*/ 223348 h 391307"/>
                <a:gd name="connsiteX146" fmla="*/ 81292 w 356934"/>
                <a:gd name="connsiteY146" fmla="*/ 225955 h 391307"/>
                <a:gd name="connsiteX147" fmla="*/ 73309 w 356934"/>
                <a:gd name="connsiteY147" fmla="*/ 225466 h 391307"/>
                <a:gd name="connsiteX148" fmla="*/ 64675 w 356934"/>
                <a:gd name="connsiteY148" fmla="*/ 227747 h 391307"/>
                <a:gd name="connsiteX149" fmla="*/ 35188 w 356934"/>
                <a:gd name="connsiteY149" fmla="*/ 228562 h 391307"/>
                <a:gd name="connsiteX150" fmla="*/ 163 w 356934"/>
                <a:gd name="connsiteY150" fmla="*/ 218624 h 391307"/>
                <a:gd name="connsiteX151" fmla="*/ 0 w 356934"/>
                <a:gd name="connsiteY151" fmla="*/ 218624 h 391307"/>
                <a:gd name="connsiteX152" fmla="*/ 13359 w 356934"/>
                <a:gd name="connsiteY152" fmla="*/ 236381 h 391307"/>
                <a:gd name="connsiteX153" fmla="*/ 16291 w 356934"/>
                <a:gd name="connsiteY153" fmla="*/ 242246 h 391307"/>
                <a:gd name="connsiteX154" fmla="*/ 22970 w 356934"/>
                <a:gd name="connsiteY154" fmla="*/ 249251 h 391307"/>
                <a:gd name="connsiteX155" fmla="*/ 29323 w 356934"/>
                <a:gd name="connsiteY155" fmla="*/ 252835 h 391307"/>
                <a:gd name="connsiteX156" fmla="*/ 31604 w 356934"/>
                <a:gd name="connsiteY156" fmla="*/ 255279 h 391307"/>
                <a:gd name="connsiteX157" fmla="*/ 40076 w 356934"/>
                <a:gd name="connsiteY157" fmla="*/ 256093 h 391307"/>
                <a:gd name="connsiteX158" fmla="*/ 44800 w 356934"/>
                <a:gd name="connsiteY158" fmla="*/ 257885 h 391307"/>
                <a:gd name="connsiteX159" fmla="*/ 45614 w 356934"/>
                <a:gd name="connsiteY159" fmla="*/ 260655 h 391307"/>
                <a:gd name="connsiteX160" fmla="*/ 52619 w 356934"/>
                <a:gd name="connsiteY160" fmla="*/ 261469 h 391307"/>
                <a:gd name="connsiteX161" fmla="*/ 52782 w 356934"/>
                <a:gd name="connsiteY161" fmla="*/ 270103 h 391307"/>
                <a:gd name="connsiteX162" fmla="*/ 54575 w 356934"/>
                <a:gd name="connsiteY162" fmla="*/ 275968 h 391307"/>
                <a:gd name="connsiteX163" fmla="*/ 55063 w 356934"/>
                <a:gd name="connsiteY163" fmla="*/ 282973 h 391307"/>
                <a:gd name="connsiteX164" fmla="*/ 56366 w 356934"/>
                <a:gd name="connsiteY164" fmla="*/ 287535 h 391307"/>
                <a:gd name="connsiteX165" fmla="*/ 62557 w 356934"/>
                <a:gd name="connsiteY165" fmla="*/ 287209 h 391307"/>
                <a:gd name="connsiteX166" fmla="*/ 69236 w 356934"/>
                <a:gd name="connsiteY166" fmla="*/ 291607 h 391307"/>
                <a:gd name="connsiteX167" fmla="*/ 69888 w 356934"/>
                <a:gd name="connsiteY167" fmla="*/ 301545 h 391307"/>
                <a:gd name="connsiteX168" fmla="*/ 66304 w 356934"/>
                <a:gd name="connsiteY168" fmla="*/ 305129 h 391307"/>
                <a:gd name="connsiteX169" fmla="*/ 59625 w 356934"/>
                <a:gd name="connsiteY169" fmla="*/ 302522 h 391307"/>
                <a:gd name="connsiteX170" fmla="*/ 47244 w 356934"/>
                <a:gd name="connsiteY170" fmla="*/ 306269 h 391307"/>
                <a:gd name="connsiteX171" fmla="*/ 44637 w 356934"/>
                <a:gd name="connsiteY171" fmla="*/ 309038 h 391307"/>
                <a:gd name="connsiteX172" fmla="*/ 36980 w 356934"/>
                <a:gd name="connsiteY172" fmla="*/ 312134 h 391307"/>
                <a:gd name="connsiteX173" fmla="*/ 34374 w 356934"/>
                <a:gd name="connsiteY173" fmla="*/ 317021 h 391307"/>
                <a:gd name="connsiteX174" fmla="*/ 35677 w 356934"/>
                <a:gd name="connsiteY174" fmla="*/ 321583 h 391307"/>
                <a:gd name="connsiteX175" fmla="*/ 31767 w 356934"/>
                <a:gd name="connsiteY175" fmla="*/ 326796 h 391307"/>
                <a:gd name="connsiteX176" fmla="*/ 34211 w 356934"/>
                <a:gd name="connsiteY176" fmla="*/ 333149 h 391307"/>
                <a:gd name="connsiteX177" fmla="*/ 33071 w 356934"/>
                <a:gd name="connsiteY177" fmla="*/ 342109 h 391307"/>
                <a:gd name="connsiteX178" fmla="*/ 33234 w 356934"/>
                <a:gd name="connsiteY178" fmla="*/ 346345 h 391307"/>
                <a:gd name="connsiteX179" fmla="*/ 36166 w 356934"/>
                <a:gd name="connsiteY179" fmla="*/ 346345 h 391307"/>
                <a:gd name="connsiteX180" fmla="*/ 36003 w 356934"/>
                <a:gd name="connsiteY180" fmla="*/ 349929 h 391307"/>
                <a:gd name="connsiteX181" fmla="*/ 38284 w 356934"/>
                <a:gd name="connsiteY181" fmla="*/ 350906 h 391307"/>
                <a:gd name="connsiteX182" fmla="*/ 45614 w 356934"/>
                <a:gd name="connsiteY182" fmla="*/ 346508 h 391307"/>
                <a:gd name="connsiteX183" fmla="*/ 51479 w 356934"/>
                <a:gd name="connsiteY183" fmla="*/ 346019 h 391307"/>
                <a:gd name="connsiteX184" fmla="*/ 51805 w 356934"/>
                <a:gd name="connsiteY184" fmla="*/ 348463 h 391307"/>
                <a:gd name="connsiteX185" fmla="*/ 53923 w 356934"/>
                <a:gd name="connsiteY185" fmla="*/ 347648 h 391307"/>
                <a:gd name="connsiteX186" fmla="*/ 57670 w 356934"/>
                <a:gd name="connsiteY186" fmla="*/ 344553 h 391307"/>
                <a:gd name="connsiteX187" fmla="*/ 63209 w 356934"/>
                <a:gd name="connsiteY187" fmla="*/ 344879 h 391307"/>
                <a:gd name="connsiteX188" fmla="*/ 65815 w 356934"/>
                <a:gd name="connsiteY188" fmla="*/ 345693 h 391307"/>
                <a:gd name="connsiteX189" fmla="*/ 70051 w 356934"/>
                <a:gd name="connsiteY189" fmla="*/ 344553 h 391307"/>
                <a:gd name="connsiteX190" fmla="*/ 73146 w 356934"/>
                <a:gd name="connsiteY190" fmla="*/ 344879 h 391307"/>
                <a:gd name="connsiteX191" fmla="*/ 75916 w 356934"/>
                <a:gd name="connsiteY191" fmla="*/ 344879 h 391307"/>
                <a:gd name="connsiteX192" fmla="*/ 76567 w 356934"/>
                <a:gd name="connsiteY192" fmla="*/ 342272 h 391307"/>
                <a:gd name="connsiteX193" fmla="*/ 78685 w 356934"/>
                <a:gd name="connsiteY193" fmla="*/ 339503 h 391307"/>
                <a:gd name="connsiteX194" fmla="*/ 83735 w 356934"/>
                <a:gd name="connsiteY194" fmla="*/ 342761 h 391307"/>
                <a:gd name="connsiteX195" fmla="*/ 87156 w 356934"/>
                <a:gd name="connsiteY195" fmla="*/ 342761 h 391307"/>
                <a:gd name="connsiteX196" fmla="*/ 87808 w 356934"/>
                <a:gd name="connsiteY196" fmla="*/ 340643 h 391307"/>
                <a:gd name="connsiteX197" fmla="*/ 90577 w 356934"/>
                <a:gd name="connsiteY197" fmla="*/ 341295 h 391307"/>
                <a:gd name="connsiteX198" fmla="*/ 92044 w 356934"/>
                <a:gd name="connsiteY198" fmla="*/ 344227 h 391307"/>
                <a:gd name="connsiteX199" fmla="*/ 96116 w 356934"/>
                <a:gd name="connsiteY199" fmla="*/ 344227 h 391307"/>
                <a:gd name="connsiteX200" fmla="*/ 99537 w 356934"/>
                <a:gd name="connsiteY200" fmla="*/ 346671 h 391307"/>
                <a:gd name="connsiteX201" fmla="*/ 103610 w 356934"/>
                <a:gd name="connsiteY201" fmla="*/ 346671 h 391307"/>
                <a:gd name="connsiteX202" fmla="*/ 109475 w 356934"/>
                <a:gd name="connsiteY202" fmla="*/ 341132 h 391307"/>
                <a:gd name="connsiteX203" fmla="*/ 116154 w 356934"/>
                <a:gd name="connsiteY203" fmla="*/ 341132 h 391307"/>
                <a:gd name="connsiteX204" fmla="*/ 120227 w 356934"/>
                <a:gd name="connsiteY204" fmla="*/ 342272 h 391307"/>
                <a:gd name="connsiteX205" fmla="*/ 124137 w 356934"/>
                <a:gd name="connsiteY205" fmla="*/ 339665 h 391307"/>
                <a:gd name="connsiteX206" fmla="*/ 128209 w 356934"/>
                <a:gd name="connsiteY206" fmla="*/ 339665 h 391307"/>
                <a:gd name="connsiteX207" fmla="*/ 129024 w 356934"/>
                <a:gd name="connsiteY207" fmla="*/ 337711 h 391307"/>
                <a:gd name="connsiteX208" fmla="*/ 130979 w 356934"/>
                <a:gd name="connsiteY208" fmla="*/ 339340 h 391307"/>
                <a:gd name="connsiteX209" fmla="*/ 138310 w 356934"/>
                <a:gd name="connsiteY209" fmla="*/ 340317 h 391307"/>
                <a:gd name="connsiteX210" fmla="*/ 144500 w 356934"/>
                <a:gd name="connsiteY210" fmla="*/ 338036 h 391307"/>
                <a:gd name="connsiteX211" fmla="*/ 151994 w 356934"/>
                <a:gd name="connsiteY211" fmla="*/ 337711 h 391307"/>
                <a:gd name="connsiteX212" fmla="*/ 157370 w 356934"/>
                <a:gd name="connsiteY212" fmla="*/ 342109 h 391307"/>
                <a:gd name="connsiteX213" fmla="*/ 159651 w 356934"/>
                <a:gd name="connsiteY213" fmla="*/ 347648 h 391307"/>
                <a:gd name="connsiteX214" fmla="*/ 158836 w 356934"/>
                <a:gd name="connsiteY214" fmla="*/ 351884 h 391307"/>
                <a:gd name="connsiteX215" fmla="*/ 159651 w 356934"/>
                <a:gd name="connsiteY215" fmla="*/ 352861 h 391307"/>
                <a:gd name="connsiteX216" fmla="*/ 158348 w 356934"/>
                <a:gd name="connsiteY216" fmla="*/ 353350 h 391307"/>
                <a:gd name="connsiteX217" fmla="*/ 158348 w 356934"/>
                <a:gd name="connsiteY217" fmla="*/ 355142 h 391307"/>
                <a:gd name="connsiteX218" fmla="*/ 162583 w 356934"/>
                <a:gd name="connsiteY218" fmla="*/ 355305 h 391307"/>
                <a:gd name="connsiteX219" fmla="*/ 170240 w 356934"/>
                <a:gd name="connsiteY219" fmla="*/ 351884 h 391307"/>
                <a:gd name="connsiteX220" fmla="*/ 170077 w 356934"/>
                <a:gd name="connsiteY220" fmla="*/ 357097 h 391307"/>
                <a:gd name="connsiteX221" fmla="*/ 175779 w 356934"/>
                <a:gd name="connsiteY221" fmla="*/ 363613 h 391307"/>
                <a:gd name="connsiteX222" fmla="*/ 177082 w 356934"/>
                <a:gd name="connsiteY222" fmla="*/ 372573 h 391307"/>
                <a:gd name="connsiteX223" fmla="*/ 178060 w 356934"/>
                <a:gd name="connsiteY223" fmla="*/ 373551 h 391307"/>
                <a:gd name="connsiteX224" fmla="*/ 177897 w 356934"/>
                <a:gd name="connsiteY224" fmla="*/ 376972 h 391307"/>
                <a:gd name="connsiteX225" fmla="*/ 175942 w 356934"/>
                <a:gd name="connsiteY225" fmla="*/ 378438 h 391307"/>
                <a:gd name="connsiteX226" fmla="*/ 177571 w 356934"/>
                <a:gd name="connsiteY226" fmla="*/ 378927 h 391307"/>
                <a:gd name="connsiteX227" fmla="*/ 179689 w 356934"/>
                <a:gd name="connsiteY227" fmla="*/ 378927 h 391307"/>
                <a:gd name="connsiteX228" fmla="*/ 181481 w 356934"/>
                <a:gd name="connsiteY228" fmla="*/ 384465 h 391307"/>
                <a:gd name="connsiteX229" fmla="*/ 186042 w 356934"/>
                <a:gd name="connsiteY229" fmla="*/ 383977 h 391307"/>
                <a:gd name="connsiteX230" fmla="*/ 193373 w 356934"/>
                <a:gd name="connsiteY230" fmla="*/ 383814 h 391307"/>
                <a:gd name="connsiteX231" fmla="*/ 202496 w 356934"/>
                <a:gd name="connsiteY231" fmla="*/ 388212 h 391307"/>
                <a:gd name="connsiteX232" fmla="*/ 201844 w 356934"/>
                <a:gd name="connsiteY232" fmla="*/ 391308 h 391307"/>
                <a:gd name="connsiteX233" fmla="*/ 206080 w 356934"/>
                <a:gd name="connsiteY233" fmla="*/ 388701 h 3913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</a:cxnLst>
              <a:rect l="l" t="t" r="r" b="b"/>
              <a:pathLst>
                <a:path w="356934" h="391307">
                  <a:moveTo>
                    <a:pt x="206080" y="388701"/>
                  </a:moveTo>
                  <a:lnTo>
                    <a:pt x="206243" y="382185"/>
                  </a:lnTo>
                  <a:lnTo>
                    <a:pt x="211619" y="378601"/>
                  </a:lnTo>
                  <a:lnTo>
                    <a:pt x="215040" y="377786"/>
                  </a:lnTo>
                  <a:lnTo>
                    <a:pt x="217321" y="371270"/>
                  </a:lnTo>
                  <a:lnTo>
                    <a:pt x="221230" y="372247"/>
                  </a:lnTo>
                  <a:lnTo>
                    <a:pt x="225466" y="369967"/>
                  </a:lnTo>
                  <a:lnTo>
                    <a:pt x="242898" y="370944"/>
                  </a:lnTo>
                  <a:lnTo>
                    <a:pt x="252998" y="367197"/>
                  </a:lnTo>
                  <a:lnTo>
                    <a:pt x="255116" y="364916"/>
                  </a:lnTo>
                  <a:lnTo>
                    <a:pt x="260980" y="363124"/>
                  </a:lnTo>
                  <a:lnTo>
                    <a:pt x="259025" y="366871"/>
                  </a:lnTo>
                  <a:lnTo>
                    <a:pt x="261306" y="369804"/>
                  </a:lnTo>
                  <a:lnTo>
                    <a:pt x="267008" y="366220"/>
                  </a:lnTo>
                  <a:lnTo>
                    <a:pt x="271895" y="364591"/>
                  </a:lnTo>
                  <a:lnTo>
                    <a:pt x="269778" y="362310"/>
                  </a:lnTo>
                  <a:lnTo>
                    <a:pt x="270592" y="358563"/>
                  </a:lnTo>
                  <a:lnTo>
                    <a:pt x="264890" y="342272"/>
                  </a:lnTo>
                  <a:lnTo>
                    <a:pt x="259840" y="335756"/>
                  </a:lnTo>
                  <a:lnTo>
                    <a:pt x="261143" y="332172"/>
                  </a:lnTo>
                  <a:lnTo>
                    <a:pt x="257722" y="329239"/>
                  </a:lnTo>
                  <a:lnTo>
                    <a:pt x="252672" y="329565"/>
                  </a:lnTo>
                  <a:lnTo>
                    <a:pt x="244364" y="324189"/>
                  </a:lnTo>
                  <a:lnTo>
                    <a:pt x="243386" y="314903"/>
                  </a:lnTo>
                  <a:lnTo>
                    <a:pt x="243712" y="308550"/>
                  </a:lnTo>
                  <a:lnTo>
                    <a:pt x="239965" y="300730"/>
                  </a:lnTo>
                  <a:lnTo>
                    <a:pt x="235241" y="300567"/>
                  </a:lnTo>
                  <a:lnTo>
                    <a:pt x="232471" y="302033"/>
                  </a:lnTo>
                  <a:lnTo>
                    <a:pt x="226281" y="299916"/>
                  </a:lnTo>
                  <a:lnTo>
                    <a:pt x="222045" y="300079"/>
                  </a:lnTo>
                  <a:lnTo>
                    <a:pt x="222045" y="293725"/>
                  </a:lnTo>
                  <a:lnTo>
                    <a:pt x="226118" y="283299"/>
                  </a:lnTo>
                  <a:lnTo>
                    <a:pt x="230028" y="282159"/>
                  </a:lnTo>
                  <a:lnTo>
                    <a:pt x="236870" y="272384"/>
                  </a:lnTo>
                  <a:lnTo>
                    <a:pt x="238010" y="267822"/>
                  </a:lnTo>
                  <a:lnTo>
                    <a:pt x="242735" y="265542"/>
                  </a:lnTo>
                  <a:lnTo>
                    <a:pt x="245993" y="263098"/>
                  </a:lnTo>
                  <a:lnTo>
                    <a:pt x="251532" y="265542"/>
                  </a:lnTo>
                  <a:lnTo>
                    <a:pt x="252672" y="270429"/>
                  </a:lnTo>
                  <a:lnTo>
                    <a:pt x="256419" y="271244"/>
                  </a:lnTo>
                  <a:lnTo>
                    <a:pt x="266030" y="266193"/>
                  </a:lnTo>
                  <a:lnTo>
                    <a:pt x="279389" y="265542"/>
                  </a:lnTo>
                  <a:lnTo>
                    <a:pt x="287535" y="256419"/>
                  </a:lnTo>
                  <a:lnTo>
                    <a:pt x="292585" y="241431"/>
                  </a:lnTo>
                  <a:lnTo>
                    <a:pt x="304314" y="233123"/>
                  </a:lnTo>
                  <a:lnTo>
                    <a:pt x="307246" y="227584"/>
                  </a:lnTo>
                  <a:lnTo>
                    <a:pt x="308387" y="219276"/>
                  </a:lnTo>
                  <a:lnTo>
                    <a:pt x="314089" y="211130"/>
                  </a:lnTo>
                  <a:lnTo>
                    <a:pt x="322397" y="207057"/>
                  </a:lnTo>
                  <a:lnTo>
                    <a:pt x="325167" y="200867"/>
                  </a:lnTo>
                  <a:lnTo>
                    <a:pt x="325003" y="195980"/>
                  </a:lnTo>
                  <a:lnTo>
                    <a:pt x="321583" y="193373"/>
                  </a:lnTo>
                  <a:lnTo>
                    <a:pt x="328914" y="185390"/>
                  </a:lnTo>
                  <a:lnTo>
                    <a:pt x="332986" y="182132"/>
                  </a:lnTo>
                  <a:lnTo>
                    <a:pt x="333801" y="176105"/>
                  </a:lnTo>
                  <a:lnTo>
                    <a:pt x="335104" y="163398"/>
                  </a:lnTo>
                  <a:lnTo>
                    <a:pt x="332498" y="153949"/>
                  </a:lnTo>
                  <a:lnTo>
                    <a:pt x="331032" y="151831"/>
                  </a:lnTo>
                  <a:lnTo>
                    <a:pt x="339177" y="144012"/>
                  </a:lnTo>
                  <a:lnTo>
                    <a:pt x="343901" y="142382"/>
                  </a:lnTo>
                  <a:lnTo>
                    <a:pt x="348625" y="139287"/>
                  </a:lnTo>
                  <a:lnTo>
                    <a:pt x="351884" y="139776"/>
                  </a:lnTo>
                  <a:lnTo>
                    <a:pt x="356934" y="134074"/>
                  </a:lnTo>
                  <a:lnTo>
                    <a:pt x="356282" y="128535"/>
                  </a:lnTo>
                  <a:lnTo>
                    <a:pt x="349766" y="127069"/>
                  </a:lnTo>
                  <a:lnTo>
                    <a:pt x="343738" y="129513"/>
                  </a:lnTo>
                  <a:lnTo>
                    <a:pt x="335919" y="127721"/>
                  </a:lnTo>
                  <a:lnTo>
                    <a:pt x="332823" y="121204"/>
                  </a:lnTo>
                  <a:lnTo>
                    <a:pt x="323863" y="117457"/>
                  </a:lnTo>
                  <a:lnTo>
                    <a:pt x="314252" y="115177"/>
                  </a:lnTo>
                  <a:lnTo>
                    <a:pt x="304966" y="106868"/>
                  </a:lnTo>
                  <a:lnTo>
                    <a:pt x="303662" y="99212"/>
                  </a:lnTo>
                  <a:lnTo>
                    <a:pt x="299753" y="81943"/>
                  </a:lnTo>
                  <a:lnTo>
                    <a:pt x="295028" y="74449"/>
                  </a:lnTo>
                  <a:lnTo>
                    <a:pt x="294866" y="66467"/>
                  </a:lnTo>
                  <a:lnTo>
                    <a:pt x="299101" y="64675"/>
                  </a:lnTo>
                  <a:lnTo>
                    <a:pt x="299916" y="59299"/>
                  </a:lnTo>
                  <a:lnTo>
                    <a:pt x="307084" y="54737"/>
                  </a:lnTo>
                  <a:lnTo>
                    <a:pt x="306921" y="48384"/>
                  </a:lnTo>
                  <a:lnTo>
                    <a:pt x="299427" y="46429"/>
                  </a:lnTo>
                  <a:lnTo>
                    <a:pt x="297961" y="41216"/>
                  </a:lnTo>
                  <a:lnTo>
                    <a:pt x="291282" y="37143"/>
                  </a:lnTo>
                  <a:lnTo>
                    <a:pt x="284276" y="31279"/>
                  </a:lnTo>
                  <a:lnTo>
                    <a:pt x="279063" y="24925"/>
                  </a:lnTo>
                  <a:lnTo>
                    <a:pt x="273850" y="26717"/>
                  </a:lnTo>
                  <a:lnTo>
                    <a:pt x="270266" y="28183"/>
                  </a:lnTo>
                  <a:lnTo>
                    <a:pt x="266519" y="24599"/>
                  </a:lnTo>
                  <a:lnTo>
                    <a:pt x="265379" y="14499"/>
                  </a:lnTo>
                  <a:lnTo>
                    <a:pt x="277760" y="6190"/>
                  </a:lnTo>
                  <a:lnTo>
                    <a:pt x="276131" y="1955"/>
                  </a:lnTo>
                  <a:lnTo>
                    <a:pt x="268800" y="3421"/>
                  </a:lnTo>
                  <a:lnTo>
                    <a:pt x="262773" y="0"/>
                  </a:lnTo>
                  <a:lnTo>
                    <a:pt x="254301" y="4561"/>
                  </a:lnTo>
                  <a:lnTo>
                    <a:pt x="248110" y="10100"/>
                  </a:lnTo>
                  <a:lnTo>
                    <a:pt x="241105" y="10100"/>
                  </a:lnTo>
                  <a:lnTo>
                    <a:pt x="237033" y="16291"/>
                  </a:lnTo>
                  <a:lnTo>
                    <a:pt x="232146" y="21178"/>
                  </a:lnTo>
                  <a:lnTo>
                    <a:pt x="243223" y="37306"/>
                  </a:lnTo>
                  <a:lnTo>
                    <a:pt x="244038" y="48384"/>
                  </a:lnTo>
                  <a:lnTo>
                    <a:pt x="231819" y="64349"/>
                  </a:lnTo>
                  <a:lnTo>
                    <a:pt x="238173" y="70214"/>
                  </a:lnTo>
                  <a:lnTo>
                    <a:pt x="238173" y="77219"/>
                  </a:lnTo>
                  <a:lnTo>
                    <a:pt x="231494" y="87156"/>
                  </a:lnTo>
                  <a:lnTo>
                    <a:pt x="221882" y="87156"/>
                  </a:lnTo>
                  <a:lnTo>
                    <a:pt x="212596" y="83409"/>
                  </a:lnTo>
                  <a:lnTo>
                    <a:pt x="206406" y="87482"/>
                  </a:lnTo>
                  <a:lnTo>
                    <a:pt x="209175" y="94161"/>
                  </a:lnTo>
                  <a:lnTo>
                    <a:pt x="214551" y="97094"/>
                  </a:lnTo>
                  <a:lnTo>
                    <a:pt x="217646" y="104099"/>
                  </a:lnTo>
                  <a:lnTo>
                    <a:pt x="216506" y="108497"/>
                  </a:lnTo>
                  <a:lnTo>
                    <a:pt x="210478" y="111756"/>
                  </a:lnTo>
                  <a:lnTo>
                    <a:pt x="204777" y="112407"/>
                  </a:lnTo>
                  <a:lnTo>
                    <a:pt x="202822" y="115991"/>
                  </a:lnTo>
                  <a:lnTo>
                    <a:pt x="202007" y="125114"/>
                  </a:lnTo>
                  <a:lnTo>
                    <a:pt x="200215" y="130979"/>
                  </a:lnTo>
                  <a:lnTo>
                    <a:pt x="200052" y="134563"/>
                  </a:lnTo>
                  <a:lnTo>
                    <a:pt x="198098" y="136681"/>
                  </a:lnTo>
                  <a:lnTo>
                    <a:pt x="200052" y="148084"/>
                  </a:lnTo>
                  <a:lnTo>
                    <a:pt x="194514" y="156230"/>
                  </a:lnTo>
                  <a:lnTo>
                    <a:pt x="189626" y="150039"/>
                  </a:lnTo>
                  <a:lnTo>
                    <a:pt x="186694" y="150039"/>
                  </a:lnTo>
                  <a:lnTo>
                    <a:pt x="186368" y="153460"/>
                  </a:lnTo>
                  <a:lnTo>
                    <a:pt x="180177" y="153135"/>
                  </a:lnTo>
                  <a:lnTo>
                    <a:pt x="177082" y="151017"/>
                  </a:lnTo>
                  <a:lnTo>
                    <a:pt x="171055" y="151668"/>
                  </a:lnTo>
                  <a:lnTo>
                    <a:pt x="169425" y="154927"/>
                  </a:lnTo>
                  <a:lnTo>
                    <a:pt x="159814" y="162257"/>
                  </a:lnTo>
                  <a:lnTo>
                    <a:pt x="164050" y="163561"/>
                  </a:lnTo>
                  <a:lnTo>
                    <a:pt x="161117" y="167308"/>
                  </a:lnTo>
                  <a:lnTo>
                    <a:pt x="151668" y="171543"/>
                  </a:lnTo>
                  <a:lnTo>
                    <a:pt x="148736" y="169425"/>
                  </a:lnTo>
                  <a:lnTo>
                    <a:pt x="142546" y="170729"/>
                  </a:lnTo>
                  <a:lnTo>
                    <a:pt x="140591" y="174638"/>
                  </a:lnTo>
                  <a:lnTo>
                    <a:pt x="139613" y="178711"/>
                  </a:lnTo>
                  <a:lnTo>
                    <a:pt x="134726" y="180340"/>
                  </a:lnTo>
                  <a:lnTo>
                    <a:pt x="131468" y="184576"/>
                  </a:lnTo>
                  <a:lnTo>
                    <a:pt x="131793" y="191581"/>
                  </a:lnTo>
                  <a:lnTo>
                    <a:pt x="133748" y="199889"/>
                  </a:lnTo>
                  <a:lnTo>
                    <a:pt x="133260" y="205265"/>
                  </a:lnTo>
                  <a:lnTo>
                    <a:pt x="135377" y="210153"/>
                  </a:lnTo>
                  <a:lnTo>
                    <a:pt x="134237" y="215040"/>
                  </a:lnTo>
                  <a:lnTo>
                    <a:pt x="124137" y="219276"/>
                  </a:lnTo>
                  <a:lnTo>
                    <a:pt x="115177" y="219113"/>
                  </a:lnTo>
                  <a:lnTo>
                    <a:pt x="107194" y="220090"/>
                  </a:lnTo>
                  <a:lnTo>
                    <a:pt x="93510" y="220905"/>
                  </a:lnTo>
                  <a:lnTo>
                    <a:pt x="84550" y="223348"/>
                  </a:lnTo>
                  <a:lnTo>
                    <a:pt x="81292" y="225955"/>
                  </a:lnTo>
                  <a:lnTo>
                    <a:pt x="73309" y="225466"/>
                  </a:lnTo>
                  <a:lnTo>
                    <a:pt x="64675" y="227747"/>
                  </a:lnTo>
                  <a:lnTo>
                    <a:pt x="35188" y="228562"/>
                  </a:lnTo>
                  <a:lnTo>
                    <a:pt x="163" y="218624"/>
                  </a:lnTo>
                  <a:lnTo>
                    <a:pt x="0" y="218624"/>
                  </a:lnTo>
                  <a:lnTo>
                    <a:pt x="13359" y="236381"/>
                  </a:lnTo>
                  <a:lnTo>
                    <a:pt x="16291" y="242246"/>
                  </a:lnTo>
                  <a:lnTo>
                    <a:pt x="22970" y="249251"/>
                  </a:lnTo>
                  <a:lnTo>
                    <a:pt x="29323" y="252835"/>
                  </a:lnTo>
                  <a:lnTo>
                    <a:pt x="31604" y="255279"/>
                  </a:lnTo>
                  <a:lnTo>
                    <a:pt x="40076" y="256093"/>
                  </a:lnTo>
                  <a:lnTo>
                    <a:pt x="44800" y="257885"/>
                  </a:lnTo>
                  <a:lnTo>
                    <a:pt x="45614" y="260655"/>
                  </a:lnTo>
                  <a:lnTo>
                    <a:pt x="52619" y="261469"/>
                  </a:lnTo>
                  <a:lnTo>
                    <a:pt x="52782" y="270103"/>
                  </a:lnTo>
                  <a:lnTo>
                    <a:pt x="54575" y="275968"/>
                  </a:lnTo>
                  <a:lnTo>
                    <a:pt x="55063" y="282973"/>
                  </a:lnTo>
                  <a:lnTo>
                    <a:pt x="56366" y="287535"/>
                  </a:lnTo>
                  <a:lnTo>
                    <a:pt x="62557" y="287209"/>
                  </a:lnTo>
                  <a:lnTo>
                    <a:pt x="69236" y="291607"/>
                  </a:lnTo>
                  <a:lnTo>
                    <a:pt x="69888" y="301545"/>
                  </a:lnTo>
                  <a:lnTo>
                    <a:pt x="66304" y="305129"/>
                  </a:lnTo>
                  <a:lnTo>
                    <a:pt x="59625" y="302522"/>
                  </a:lnTo>
                  <a:lnTo>
                    <a:pt x="47244" y="306269"/>
                  </a:lnTo>
                  <a:lnTo>
                    <a:pt x="44637" y="309038"/>
                  </a:lnTo>
                  <a:lnTo>
                    <a:pt x="36980" y="312134"/>
                  </a:lnTo>
                  <a:lnTo>
                    <a:pt x="34374" y="317021"/>
                  </a:lnTo>
                  <a:lnTo>
                    <a:pt x="35677" y="321583"/>
                  </a:lnTo>
                  <a:lnTo>
                    <a:pt x="31767" y="326796"/>
                  </a:lnTo>
                  <a:lnTo>
                    <a:pt x="34211" y="333149"/>
                  </a:lnTo>
                  <a:lnTo>
                    <a:pt x="33071" y="342109"/>
                  </a:lnTo>
                  <a:lnTo>
                    <a:pt x="33234" y="346345"/>
                  </a:lnTo>
                  <a:lnTo>
                    <a:pt x="36166" y="346345"/>
                  </a:lnTo>
                  <a:lnTo>
                    <a:pt x="36003" y="349929"/>
                  </a:lnTo>
                  <a:lnTo>
                    <a:pt x="38284" y="350906"/>
                  </a:lnTo>
                  <a:lnTo>
                    <a:pt x="45614" y="346508"/>
                  </a:lnTo>
                  <a:lnTo>
                    <a:pt x="51479" y="346019"/>
                  </a:lnTo>
                  <a:lnTo>
                    <a:pt x="51805" y="348463"/>
                  </a:lnTo>
                  <a:lnTo>
                    <a:pt x="53923" y="347648"/>
                  </a:lnTo>
                  <a:lnTo>
                    <a:pt x="57670" y="344553"/>
                  </a:lnTo>
                  <a:lnTo>
                    <a:pt x="63209" y="344879"/>
                  </a:lnTo>
                  <a:lnTo>
                    <a:pt x="65815" y="345693"/>
                  </a:lnTo>
                  <a:lnTo>
                    <a:pt x="70051" y="344553"/>
                  </a:lnTo>
                  <a:lnTo>
                    <a:pt x="73146" y="344879"/>
                  </a:lnTo>
                  <a:lnTo>
                    <a:pt x="75916" y="344879"/>
                  </a:lnTo>
                  <a:lnTo>
                    <a:pt x="76567" y="342272"/>
                  </a:lnTo>
                  <a:lnTo>
                    <a:pt x="78685" y="339503"/>
                  </a:lnTo>
                  <a:lnTo>
                    <a:pt x="83735" y="342761"/>
                  </a:lnTo>
                  <a:lnTo>
                    <a:pt x="87156" y="342761"/>
                  </a:lnTo>
                  <a:lnTo>
                    <a:pt x="87808" y="340643"/>
                  </a:lnTo>
                  <a:lnTo>
                    <a:pt x="90577" y="341295"/>
                  </a:lnTo>
                  <a:lnTo>
                    <a:pt x="92044" y="344227"/>
                  </a:lnTo>
                  <a:lnTo>
                    <a:pt x="96116" y="344227"/>
                  </a:lnTo>
                  <a:lnTo>
                    <a:pt x="99537" y="346671"/>
                  </a:lnTo>
                  <a:lnTo>
                    <a:pt x="103610" y="346671"/>
                  </a:lnTo>
                  <a:lnTo>
                    <a:pt x="109475" y="341132"/>
                  </a:lnTo>
                  <a:lnTo>
                    <a:pt x="116154" y="341132"/>
                  </a:lnTo>
                  <a:lnTo>
                    <a:pt x="120227" y="342272"/>
                  </a:lnTo>
                  <a:lnTo>
                    <a:pt x="124137" y="339665"/>
                  </a:lnTo>
                  <a:lnTo>
                    <a:pt x="128209" y="339665"/>
                  </a:lnTo>
                  <a:lnTo>
                    <a:pt x="129024" y="337711"/>
                  </a:lnTo>
                  <a:lnTo>
                    <a:pt x="130979" y="339340"/>
                  </a:lnTo>
                  <a:lnTo>
                    <a:pt x="138310" y="340317"/>
                  </a:lnTo>
                  <a:lnTo>
                    <a:pt x="144500" y="338036"/>
                  </a:lnTo>
                  <a:lnTo>
                    <a:pt x="151994" y="337711"/>
                  </a:lnTo>
                  <a:lnTo>
                    <a:pt x="157370" y="342109"/>
                  </a:lnTo>
                  <a:lnTo>
                    <a:pt x="159651" y="347648"/>
                  </a:lnTo>
                  <a:lnTo>
                    <a:pt x="158836" y="351884"/>
                  </a:lnTo>
                  <a:lnTo>
                    <a:pt x="159651" y="352861"/>
                  </a:lnTo>
                  <a:lnTo>
                    <a:pt x="158348" y="353350"/>
                  </a:lnTo>
                  <a:lnTo>
                    <a:pt x="158348" y="355142"/>
                  </a:lnTo>
                  <a:lnTo>
                    <a:pt x="162583" y="355305"/>
                  </a:lnTo>
                  <a:lnTo>
                    <a:pt x="170240" y="351884"/>
                  </a:lnTo>
                  <a:lnTo>
                    <a:pt x="170077" y="357097"/>
                  </a:lnTo>
                  <a:lnTo>
                    <a:pt x="175779" y="363613"/>
                  </a:lnTo>
                  <a:lnTo>
                    <a:pt x="177082" y="372573"/>
                  </a:lnTo>
                  <a:lnTo>
                    <a:pt x="178060" y="373551"/>
                  </a:lnTo>
                  <a:lnTo>
                    <a:pt x="177897" y="376972"/>
                  </a:lnTo>
                  <a:lnTo>
                    <a:pt x="175942" y="378438"/>
                  </a:lnTo>
                  <a:lnTo>
                    <a:pt x="177571" y="378927"/>
                  </a:lnTo>
                  <a:lnTo>
                    <a:pt x="179689" y="378927"/>
                  </a:lnTo>
                  <a:lnTo>
                    <a:pt x="181481" y="384465"/>
                  </a:lnTo>
                  <a:lnTo>
                    <a:pt x="186042" y="383977"/>
                  </a:lnTo>
                  <a:lnTo>
                    <a:pt x="193373" y="383814"/>
                  </a:lnTo>
                  <a:lnTo>
                    <a:pt x="202496" y="388212"/>
                  </a:lnTo>
                  <a:lnTo>
                    <a:pt x="201844" y="391308"/>
                  </a:lnTo>
                  <a:lnTo>
                    <a:pt x="206080" y="388701"/>
                  </a:lnTo>
                  <a:close/>
                </a:path>
              </a:pathLst>
            </a:custGeom>
            <a:solidFill>
              <a:schemeClr val="bg2"/>
            </a:solidFill>
            <a:ln w="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7" name="Forma livre: Forma 216">
              <a:extLst>
                <a:ext uri="{FF2B5EF4-FFF2-40B4-BE49-F238E27FC236}">
                  <a16:creationId xmlns:a16="http://schemas.microsoft.com/office/drawing/2014/main" id="{940E41B0-7589-3B00-DBD5-A638DC2BE40A}"/>
                </a:ext>
              </a:extLst>
            </p:cNvPr>
            <p:cNvSpPr/>
            <p:nvPr/>
          </p:nvSpPr>
          <p:spPr>
            <a:xfrm>
              <a:off x="7560113" y="3908887"/>
              <a:ext cx="368856" cy="404377"/>
            </a:xfrm>
            <a:custGeom>
              <a:avLst/>
              <a:gdLst>
                <a:gd name="connsiteX0" fmla="*/ 206080 w 356934"/>
                <a:gd name="connsiteY0" fmla="*/ 388701 h 391307"/>
                <a:gd name="connsiteX1" fmla="*/ 206243 w 356934"/>
                <a:gd name="connsiteY1" fmla="*/ 382185 h 391307"/>
                <a:gd name="connsiteX2" fmla="*/ 211619 w 356934"/>
                <a:gd name="connsiteY2" fmla="*/ 378601 h 391307"/>
                <a:gd name="connsiteX3" fmla="*/ 215040 w 356934"/>
                <a:gd name="connsiteY3" fmla="*/ 377786 h 391307"/>
                <a:gd name="connsiteX4" fmla="*/ 217321 w 356934"/>
                <a:gd name="connsiteY4" fmla="*/ 371270 h 391307"/>
                <a:gd name="connsiteX5" fmla="*/ 221230 w 356934"/>
                <a:gd name="connsiteY5" fmla="*/ 372247 h 391307"/>
                <a:gd name="connsiteX6" fmla="*/ 225466 w 356934"/>
                <a:gd name="connsiteY6" fmla="*/ 369967 h 391307"/>
                <a:gd name="connsiteX7" fmla="*/ 242898 w 356934"/>
                <a:gd name="connsiteY7" fmla="*/ 370944 h 391307"/>
                <a:gd name="connsiteX8" fmla="*/ 252998 w 356934"/>
                <a:gd name="connsiteY8" fmla="*/ 367197 h 391307"/>
                <a:gd name="connsiteX9" fmla="*/ 255116 w 356934"/>
                <a:gd name="connsiteY9" fmla="*/ 364916 h 391307"/>
                <a:gd name="connsiteX10" fmla="*/ 260980 w 356934"/>
                <a:gd name="connsiteY10" fmla="*/ 363124 h 391307"/>
                <a:gd name="connsiteX11" fmla="*/ 259025 w 356934"/>
                <a:gd name="connsiteY11" fmla="*/ 366871 h 391307"/>
                <a:gd name="connsiteX12" fmla="*/ 261306 w 356934"/>
                <a:gd name="connsiteY12" fmla="*/ 369804 h 391307"/>
                <a:gd name="connsiteX13" fmla="*/ 267008 w 356934"/>
                <a:gd name="connsiteY13" fmla="*/ 366220 h 391307"/>
                <a:gd name="connsiteX14" fmla="*/ 271895 w 356934"/>
                <a:gd name="connsiteY14" fmla="*/ 364591 h 391307"/>
                <a:gd name="connsiteX15" fmla="*/ 269778 w 356934"/>
                <a:gd name="connsiteY15" fmla="*/ 362310 h 391307"/>
                <a:gd name="connsiteX16" fmla="*/ 270592 w 356934"/>
                <a:gd name="connsiteY16" fmla="*/ 358563 h 391307"/>
                <a:gd name="connsiteX17" fmla="*/ 264890 w 356934"/>
                <a:gd name="connsiteY17" fmla="*/ 342272 h 391307"/>
                <a:gd name="connsiteX18" fmla="*/ 259840 w 356934"/>
                <a:gd name="connsiteY18" fmla="*/ 335756 h 391307"/>
                <a:gd name="connsiteX19" fmla="*/ 261143 w 356934"/>
                <a:gd name="connsiteY19" fmla="*/ 332172 h 391307"/>
                <a:gd name="connsiteX20" fmla="*/ 257722 w 356934"/>
                <a:gd name="connsiteY20" fmla="*/ 329239 h 391307"/>
                <a:gd name="connsiteX21" fmla="*/ 252672 w 356934"/>
                <a:gd name="connsiteY21" fmla="*/ 329565 h 391307"/>
                <a:gd name="connsiteX22" fmla="*/ 244364 w 356934"/>
                <a:gd name="connsiteY22" fmla="*/ 324189 h 391307"/>
                <a:gd name="connsiteX23" fmla="*/ 243386 w 356934"/>
                <a:gd name="connsiteY23" fmla="*/ 314903 h 391307"/>
                <a:gd name="connsiteX24" fmla="*/ 243712 w 356934"/>
                <a:gd name="connsiteY24" fmla="*/ 308550 h 391307"/>
                <a:gd name="connsiteX25" fmla="*/ 239965 w 356934"/>
                <a:gd name="connsiteY25" fmla="*/ 300730 h 391307"/>
                <a:gd name="connsiteX26" fmla="*/ 235241 w 356934"/>
                <a:gd name="connsiteY26" fmla="*/ 300567 h 391307"/>
                <a:gd name="connsiteX27" fmla="*/ 232471 w 356934"/>
                <a:gd name="connsiteY27" fmla="*/ 302033 h 391307"/>
                <a:gd name="connsiteX28" fmla="*/ 226281 w 356934"/>
                <a:gd name="connsiteY28" fmla="*/ 299916 h 391307"/>
                <a:gd name="connsiteX29" fmla="*/ 222045 w 356934"/>
                <a:gd name="connsiteY29" fmla="*/ 300079 h 391307"/>
                <a:gd name="connsiteX30" fmla="*/ 222045 w 356934"/>
                <a:gd name="connsiteY30" fmla="*/ 293725 h 391307"/>
                <a:gd name="connsiteX31" fmla="*/ 226118 w 356934"/>
                <a:gd name="connsiteY31" fmla="*/ 283299 h 391307"/>
                <a:gd name="connsiteX32" fmla="*/ 230028 w 356934"/>
                <a:gd name="connsiteY32" fmla="*/ 282159 h 391307"/>
                <a:gd name="connsiteX33" fmla="*/ 236870 w 356934"/>
                <a:gd name="connsiteY33" fmla="*/ 272384 h 391307"/>
                <a:gd name="connsiteX34" fmla="*/ 238010 w 356934"/>
                <a:gd name="connsiteY34" fmla="*/ 267822 h 391307"/>
                <a:gd name="connsiteX35" fmla="*/ 242735 w 356934"/>
                <a:gd name="connsiteY35" fmla="*/ 265542 h 391307"/>
                <a:gd name="connsiteX36" fmla="*/ 245993 w 356934"/>
                <a:gd name="connsiteY36" fmla="*/ 263098 h 391307"/>
                <a:gd name="connsiteX37" fmla="*/ 251532 w 356934"/>
                <a:gd name="connsiteY37" fmla="*/ 265542 h 391307"/>
                <a:gd name="connsiteX38" fmla="*/ 252672 w 356934"/>
                <a:gd name="connsiteY38" fmla="*/ 270429 h 391307"/>
                <a:gd name="connsiteX39" fmla="*/ 256419 w 356934"/>
                <a:gd name="connsiteY39" fmla="*/ 271244 h 391307"/>
                <a:gd name="connsiteX40" fmla="*/ 266030 w 356934"/>
                <a:gd name="connsiteY40" fmla="*/ 266193 h 391307"/>
                <a:gd name="connsiteX41" fmla="*/ 279389 w 356934"/>
                <a:gd name="connsiteY41" fmla="*/ 265542 h 391307"/>
                <a:gd name="connsiteX42" fmla="*/ 287535 w 356934"/>
                <a:gd name="connsiteY42" fmla="*/ 256419 h 391307"/>
                <a:gd name="connsiteX43" fmla="*/ 292585 w 356934"/>
                <a:gd name="connsiteY43" fmla="*/ 241431 h 391307"/>
                <a:gd name="connsiteX44" fmla="*/ 304314 w 356934"/>
                <a:gd name="connsiteY44" fmla="*/ 233123 h 391307"/>
                <a:gd name="connsiteX45" fmla="*/ 307246 w 356934"/>
                <a:gd name="connsiteY45" fmla="*/ 227584 h 391307"/>
                <a:gd name="connsiteX46" fmla="*/ 308387 w 356934"/>
                <a:gd name="connsiteY46" fmla="*/ 219276 h 391307"/>
                <a:gd name="connsiteX47" fmla="*/ 314089 w 356934"/>
                <a:gd name="connsiteY47" fmla="*/ 211130 h 391307"/>
                <a:gd name="connsiteX48" fmla="*/ 322397 w 356934"/>
                <a:gd name="connsiteY48" fmla="*/ 207057 h 391307"/>
                <a:gd name="connsiteX49" fmla="*/ 325167 w 356934"/>
                <a:gd name="connsiteY49" fmla="*/ 200867 h 391307"/>
                <a:gd name="connsiteX50" fmla="*/ 325003 w 356934"/>
                <a:gd name="connsiteY50" fmla="*/ 195980 h 391307"/>
                <a:gd name="connsiteX51" fmla="*/ 321583 w 356934"/>
                <a:gd name="connsiteY51" fmla="*/ 193373 h 391307"/>
                <a:gd name="connsiteX52" fmla="*/ 328914 w 356934"/>
                <a:gd name="connsiteY52" fmla="*/ 185390 h 391307"/>
                <a:gd name="connsiteX53" fmla="*/ 332986 w 356934"/>
                <a:gd name="connsiteY53" fmla="*/ 182132 h 391307"/>
                <a:gd name="connsiteX54" fmla="*/ 333801 w 356934"/>
                <a:gd name="connsiteY54" fmla="*/ 176105 h 391307"/>
                <a:gd name="connsiteX55" fmla="*/ 335104 w 356934"/>
                <a:gd name="connsiteY55" fmla="*/ 163398 h 391307"/>
                <a:gd name="connsiteX56" fmla="*/ 332498 w 356934"/>
                <a:gd name="connsiteY56" fmla="*/ 153949 h 391307"/>
                <a:gd name="connsiteX57" fmla="*/ 331032 w 356934"/>
                <a:gd name="connsiteY57" fmla="*/ 151831 h 391307"/>
                <a:gd name="connsiteX58" fmla="*/ 339177 w 356934"/>
                <a:gd name="connsiteY58" fmla="*/ 144012 h 391307"/>
                <a:gd name="connsiteX59" fmla="*/ 343901 w 356934"/>
                <a:gd name="connsiteY59" fmla="*/ 142382 h 391307"/>
                <a:gd name="connsiteX60" fmla="*/ 348625 w 356934"/>
                <a:gd name="connsiteY60" fmla="*/ 139287 h 391307"/>
                <a:gd name="connsiteX61" fmla="*/ 351884 w 356934"/>
                <a:gd name="connsiteY61" fmla="*/ 139776 h 391307"/>
                <a:gd name="connsiteX62" fmla="*/ 356934 w 356934"/>
                <a:gd name="connsiteY62" fmla="*/ 134074 h 391307"/>
                <a:gd name="connsiteX63" fmla="*/ 356282 w 356934"/>
                <a:gd name="connsiteY63" fmla="*/ 128535 h 391307"/>
                <a:gd name="connsiteX64" fmla="*/ 349766 w 356934"/>
                <a:gd name="connsiteY64" fmla="*/ 127069 h 391307"/>
                <a:gd name="connsiteX65" fmla="*/ 343738 w 356934"/>
                <a:gd name="connsiteY65" fmla="*/ 129513 h 391307"/>
                <a:gd name="connsiteX66" fmla="*/ 335919 w 356934"/>
                <a:gd name="connsiteY66" fmla="*/ 127721 h 391307"/>
                <a:gd name="connsiteX67" fmla="*/ 332823 w 356934"/>
                <a:gd name="connsiteY67" fmla="*/ 121204 h 391307"/>
                <a:gd name="connsiteX68" fmla="*/ 323863 w 356934"/>
                <a:gd name="connsiteY68" fmla="*/ 117457 h 391307"/>
                <a:gd name="connsiteX69" fmla="*/ 314252 w 356934"/>
                <a:gd name="connsiteY69" fmla="*/ 115177 h 391307"/>
                <a:gd name="connsiteX70" fmla="*/ 304966 w 356934"/>
                <a:gd name="connsiteY70" fmla="*/ 106868 h 391307"/>
                <a:gd name="connsiteX71" fmla="*/ 303662 w 356934"/>
                <a:gd name="connsiteY71" fmla="*/ 99212 h 391307"/>
                <a:gd name="connsiteX72" fmla="*/ 299753 w 356934"/>
                <a:gd name="connsiteY72" fmla="*/ 81943 h 391307"/>
                <a:gd name="connsiteX73" fmla="*/ 295028 w 356934"/>
                <a:gd name="connsiteY73" fmla="*/ 74449 h 391307"/>
                <a:gd name="connsiteX74" fmla="*/ 294866 w 356934"/>
                <a:gd name="connsiteY74" fmla="*/ 66467 h 391307"/>
                <a:gd name="connsiteX75" fmla="*/ 299101 w 356934"/>
                <a:gd name="connsiteY75" fmla="*/ 64675 h 391307"/>
                <a:gd name="connsiteX76" fmla="*/ 299916 w 356934"/>
                <a:gd name="connsiteY76" fmla="*/ 59299 h 391307"/>
                <a:gd name="connsiteX77" fmla="*/ 307084 w 356934"/>
                <a:gd name="connsiteY77" fmla="*/ 54737 h 391307"/>
                <a:gd name="connsiteX78" fmla="*/ 306921 w 356934"/>
                <a:gd name="connsiteY78" fmla="*/ 48384 h 391307"/>
                <a:gd name="connsiteX79" fmla="*/ 299427 w 356934"/>
                <a:gd name="connsiteY79" fmla="*/ 46429 h 391307"/>
                <a:gd name="connsiteX80" fmla="*/ 297961 w 356934"/>
                <a:gd name="connsiteY80" fmla="*/ 41216 h 391307"/>
                <a:gd name="connsiteX81" fmla="*/ 291282 w 356934"/>
                <a:gd name="connsiteY81" fmla="*/ 37143 h 391307"/>
                <a:gd name="connsiteX82" fmla="*/ 284276 w 356934"/>
                <a:gd name="connsiteY82" fmla="*/ 31279 h 391307"/>
                <a:gd name="connsiteX83" fmla="*/ 279063 w 356934"/>
                <a:gd name="connsiteY83" fmla="*/ 24925 h 391307"/>
                <a:gd name="connsiteX84" fmla="*/ 273850 w 356934"/>
                <a:gd name="connsiteY84" fmla="*/ 26717 h 391307"/>
                <a:gd name="connsiteX85" fmla="*/ 270266 w 356934"/>
                <a:gd name="connsiteY85" fmla="*/ 28183 h 391307"/>
                <a:gd name="connsiteX86" fmla="*/ 266519 w 356934"/>
                <a:gd name="connsiteY86" fmla="*/ 24599 h 391307"/>
                <a:gd name="connsiteX87" fmla="*/ 265379 w 356934"/>
                <a:gd name="connsiteY87" fmla="*/ 14499 h 391307"/>
                <a:gd name="connsiteX88" fmla="*/ 277760 w 356934"/>
                <a:gd name="connsiteY88" fmla="*/ 6190 h 391307"/>
                <a:gd name="connsiteX89" fmla="*/ 276131 w 356934"/>
                <a:gd name="connsiteY89" fmla="*/ 1955 h 391307"/>
                <a:gd name="connsiteX90" fmla="*/ 268800 w 356934"/>
                <a:gd name="connsiteY90" fmla="*/ 3421 h 391307"/>
                <a:gd name="connsiteX91" fmla="*/ 262773 w 356934"/>
                <a:gd name="connsiteY91" fmla="*/ 0 h 391307"/>
                <a:gd name="connsiteX92" fmla="*/ 254301 w 356934"/>
                <a:gd name="connsiteY92" fmla="*/ 4561 h 391307"/>
                <a:gd name="connsiteX93" fmla="*/ 248110 w 356934"/>
                <a:gd name="connsiteY93" fmla="*/ 10100 h 391307"/>
                <a:gd name="connsiteX94" fmla="*/ 241105 w 356934"/>
                <a:gd name="connsiteY94" fmla="*/ 10100 h 391307"/>
                <a:gd name="connsiteX95" fmla="*/ 237033 w 356934"/>
                <a:gd name="connsiteY95" fmla="*/ 16291 h 391307"/>
                <a:gd name="connsiteX96" fmla="*/ 232146 w 356934"/>
                <a:gd name="connsiteY96" fmla="*/ 21178 h 391307"/>
                <a:gd name="connsiteX97" fmla="*/ 243223 w 356934"/>
                <a:gd name="connsiteY97" fmla="*/ 37306 h 391307"/>
                <a:gd name="connsiteX98" fmla="*/ 244038 w 356934"/>
                <a:gd name="connsiteY98" fmla="*/ 48384 h 391307"/>
                <a:gd name="connsiteX99" fmla="*/ 231819 w 356934"/>
                <a:gd name="connsiteY99" fmla="*/ 64349 h 391307"/>
                <a:gd name="connsiteX100" fmla="*/ 238173 w 356934"/>
                <a:gd name="connsiteY100" fmla="*/ 70214 h 391307"/>
                <a:gd name="connsiteX101" fmla="*/ 238173 w 356934"/>
                <a:gd name="connsiteY101" fmla="*/ 77219 h 391307"/>
                <a:gd name="connsiteX102" fmla="*/ 231494 w 356934"/>
                <a:gd name="connsiteY102" fmla="*/ 87156 h 391307"/>
                <a:gd name="connsiteX103" fmla="*/ 221882 w 356934"/>
                <a:gd name="connsiteY103" fmla="*/ 87156 h 391307"/>
                <a:gd name="connsiteX104" fmla="*/ 212596 w 356934"/>
                <a:gd name="connsiteY104" fmla="*/ 83409 h 391307"/>
                <a:gd name="connsiteX105" fmla="*/ 206406 w 356934"/>
                <a:gd name="connsiteY105" fmla="*/ 87482 h 391307"/>
                <a:gd name="connsiteX106" fmla="*/ 209175 w 356934"/>
                <a:gd name="connsiteY106" fmla="*/ 94161 h 391307"/>
                <a:gd name="connsiteX107" fmla="*/ 214551 w 356934"/>
                <a:gd name="connsiteY107" fmla="*/ 97094 h 391307"/>
                <a:gd name="connsiteX108" fmla="*/ 217646 w 356934"/>
                <a:gd name="connsiteY108" fmla="*/ 104099 h 391307"/>
                <a:gd name="connsiteX109" fmla="*/ 216506 w 356934"/>
                <a:gd name="connsiteY109" fmla="*/ 108497 h 391307"/>
                <a:gd name="connsiteX110" fmla="*/ 210478 w 356934"/>
                <a:gd name="connsiteY110" fmla="*/ 111756 h 391307"/>
                <a:gd name="connsiteX111" fmla="*/ 204777 w 356934"/>
                <a:gd name="connsiteY111" fmla="*/ 112407 h 391307"/>
                <a:gd name="connsiteX112" fmla="*/ 202822 w 356934"/>
                <a:gd name="connsiteY112" fmla="*/ 115991 h 391307"/>
                <a:gd name="connsiteX113" fmla="*/ 202007 w 356934"/>
                <a:gd name="connsiteY113" fmla="*/ 125114 h 391307"/>
                <a:gd name="connsiteX114" fmla="*/ 200215 w 356934"/>
                <a:gd name="connsiteY114" fmla="*/ 130979 h 391307"/>
                <a:gd name="connsiteX115" fmla="*/ 200052 w 356934"/>
                <a:gd name="connsiteY115" fmla="*/ 134563 h 391307"/>
                <a:gd name="connsiteX116" fmla="*/ 198098 w 356934"/>
                <a:gd name="connsiteY116" fmla="*/ 136681 h 391307"/>
                <a:gd name="connsiteX117" fmla="*/ 200052 w 356934"/>
                <a:gd name="connsiteY117" fmla="*/ 148084 h 391307"/>
                <a:gd name="connsiteX118" fmla="*/ 194514 w 356934"/>
                <a:gd name="connsiteY118" fmla="*/ 156230 h 391307"/>
                <a:gd name="connsiteX119" fmla="*/ 189626 w 356934"/>
                <a:gd name="connsiteY119" fmla="*/ 150039 h 391307"/>
                <a:gd name="connsiteX120" fmla="*/ 186694 w 356934"/>
                <a:gd name="connsiteY120" fmla="*/ 150039 h 391307"/>
                <a:gd name="connsiteX121" fmla="*/ 186368 w 356934"/>
                <a:gd name="connsiteY121" fmla="*/ 153460 h 391307"/>
                <a:gd name="connsiteX122" fmla="*/ 180177 w 356934"/>
                <a:gd name="connsiteY122" fmla="*/ 153135 h 391307"/>
                <a:gd name="connsiteX123" fmla="*/ 177082 w 356934"/>
                <a:gd name="connsiteY123" fmla="*/ 151017 h 391307"/>
                <a:gd name="connsiteX124" fmla="*/ 171055 w 356934"/>
                <a:gd name="connsiteY124" fmla="*/ 151668 h 391307"/>
                <a:gd name="connsiteX125" fmla="*/ 169425 w 356934"/>
                <a:gd name="connsiteY125" fmla="*/ 154927 h 391307"/>
                <a:gd name="connsiteX126" fmla="*/ 159814 w 356934"/>
                <a:gd name="connsiteY126" fmla="*/ 162257 h 391307"/>
                <a:gd name="connsiteX127" fmla="*/ 164050 w 356934"/>
                <a:gd name="connsiteY127" fmla="*/ 163561 h 391307"/>
                <a:gd name="connsiteX128" fmla="*/ 161117 w 356934"/>
                <a:gd name="connsiteY128" fmla="*/ 167308 h 391307"/>
                <a:gd name="connsiteX129" fmla="*/ 151668 w 356934"/>
                <a:gd name="connsiteY129" fmla="*/ 171543 h 391307"/>
                <a:gd name="connsiteX130" fmla="*/ 148736 w 356934"/>
                <a:gd name="connsiteY130" fmla="*/ 169425 h 391307"/>
                <a:gd name="connsiteX131" fmla="*/ 142546 w 356934"/>
                <a:gd name="connsiteY131" fmla="*/ 170729 h 391307"/>
                <a:gd name="connsiteX132" fmla="*/ 140591 w 356934"/>
                <a:gd name="connsiteY132" fmla="*/ 174638 h 391307"/>
                <a:gd name="connsiteX133" fmla="*/ 139613 w 356934"/>
                <a:gd name="connsiteY133" fmla="*/ 178711 h 391307"/>
                <a:gd name="connsiteX134" fmla="*/ 134726 w 356934"/>
                <a:gd name="connsiteY134" fmla="*/ 180340 h 391307"/>
                <a:gd name="connsiteX135" fmla="*/ 131468 w 356934"/>
                <a:gd name="connsiteY135" fmla="*/ 184576 h 391307"/>
                <a:gd name="connsiteX136" fmla="*/ 131793 w 356934"/>
                <a:gd name="connsiteY136" fmla="*/ 191581 h 391307"/>
                <a:gd name="connsiteX137" fmla="*/ 133748 w 356934"/>
                <a:gd name="connsiteY137" fmla="*/ 199889 h 391307"/>
                <a:gd name="connsiteX138" fmla="*/ 133260 w 356934"/>
                <a:gd name="connsiteY138" fmla="*/ 205265 h 391307"/>
                <a:gd name="connsiteX139" fmla="*/ 135377 w 356934"/>
                <a:gd name="connsiteY139" fmla="*/ 210153 h 391307"/>
                <a:gd name="connsiteX140" fmla="*/ 134237 w 356934"/>
                <a:gd name="connsiteY140" fmla="*/ 215040 h 391307"/>
                <a:gd name="connsiteX141" fmla="*/ 124137 w 356934"/>
                <a:gd name="connsiteY141" fmla="*/ 219276 h 391307"/>
                <a:gd name="connsiteX142" fmla="*/ 115177 w 356934"/>
                <a:gd name="connsiteY142" fmla="*/ 219113 h 391307"/>
                <a:gd name="connsiteX143" fmla="*/ 107194 w 356934"/>
                <a:gd name="connsiteY143" fmla="*/ 220090 h 391307"/>
                <a:gd name="connsiteX144" fmla="*/ 93510 w 356934"/>
                <a:gd name="connsiteY144" fmla="*/ 220905 h 391307"/>
                <a:gd name="connsiteX145" fmla="*/ 84550 w 356934"/>
                <a:gd name="connsiteY145" fmla="*/ 223348 h 391307"/>
                <a:gd name="connsiteX146" fmla="*/ 81292 w 356934"/>
                <a:gd name="connsiteY146" fmla="*/ 225955 h 391307"/>
                <a:gd name="connsiteX147" fmla="*/ 73309 w 356934"/>
                <a:gd name="connsiteY147" fmla="*/ 225466 h 391307"/>
                <a:gd name="connsiteX148" fmla="*/ 64675 w 356934"/>
                <a:gd name="connsiteY148" fmla="*/ 227747 h 391307"/>
                <a:gd name="connsiteX149" fmla="*/ 35188 w 356934"/>
                <a:gd name="connsiteY149" fmla="*/ 228562 h 391307"/>
                <a:gd name="connsiteX150" fmla="*/ 163 w 356934"/>
                <a:gd name="connsiteY150" fmla="*/ 218624 h 391307"/>
                <a:gd name="connsiteX151" fmla="*/ 0 w 356934"/>
                <a:gd name="connsiteY151" fmla="*/ 218624 h 391307"/>
                <a:gd name="connsiteX152" fmla="*/ 13359 w 356934"/>
                <a:gd name="connsiteY152" fmla="*/ 236381 h 391307"/>
                <a:gd name="connsiteX153" fmla="*/ 16291 w 356934"/>
                <a:gd name="connsiteY153" fmla="*/ 242246 h 391307"/>
                <a:gd name="connsiteX154" fmla="*/ 22970 w 356934"/>
                <a:gd name="connsiteY154" fmla="*/ 249251 h 391307"/>
                <a:gd name="connsiteX155" fmla="*/ 29323 w 356934"/>
                <a:gd name="connsiteY155" fmla="*/ 252835 h 391307"/>
                <a:gd name="connsiteX156" fmla="*/ 31604 w 356934"/>
                <a:gd name="connsiteY156" fmla="*/ 255279 h 391307"/>
                <a:gd name="connsiteX157" fmla="*/ 40076 w 356934"/>
                <a:gd name="connsiteY157" fmla="*/ 256093 h 391307"/>
                <a:gd name="connsiteX158" fmla="*/ 44800 w 356934"/>
                <a:gd name="connsiteY158" fmla="*/ 257885 h 391307"/>
                <a:gd name="connsiteX159" fmla="*/ 45614 w 356934"/>
                <a:gd name="connsiteY159" fmla="*/ 260655 h 391307"/>
                <a:gd name="connsiteX160" fmla="*/ 52619 w 356934"/>
                <a:gd name="connsiteY160" fmla="*/ 261469 h 391307"/>
                <a:gd name="connsiteX161" fmla="*/ 52782 w 356934"/>
                <a:gd name="connsiteY161" fmla="*/ 270103 h 391307"/>
                <a:gd name="connsiteX162" fmla="*/ 54575 w 356934"/>
                <a:gd name="connsiteY162" fmla="*/ 275968 h 391307"/>
                <a:gd name="connsiteX163" fmla="*/ 55063 w 356934"/>
                <a:gd name="connsiteY163" fmla="*/ 282973 h 391307"/>
                <a:gd name="connsiteX164" fmla="*/ 56366 w 356934"/>
                <a:gd name="connsiteY164" fmla="*/ 287535 h 391307"/>
                <a:gd name="connsiteX165" fmla="*/ 62557 w 356934"/>
                <a:gd name="connsiteY165" fmla="*/ 287209 h 391307"/>
                <a:gd name="connsiteX166" fmla="*/ 69236 w 356934"/>
                <a:gd name="connsiteY166" fmla="*/ 291607 h 391307"/>
                <a:gd name="connsiteX167" fmla="*/ 69888 w 356934"/>
                <a:gd name="connsiteY167" fmla="*/ 301545 h 391307"/>
                <a:gd name="connsiteX168" fmla="*/ 66304 w 356934"/>
                <a:gd name="connsiteY168" fmla="*/ 305129 h 391307"/>
                <a:gd name="connsiteX169" fmla="*/ 59625 w 356934"/>
                <a:gd name="connsiteY169" fmla="*/ 302522 h 391307"/>
                <a:gd name="connsiteX170" fmla="*/ 47244 w 356934"/>
                <a:gd name="connsiteY170" fmla="*/ 306269 h 391307"/>
                <a:gd name="connsiteX171" fmla="*/ 44637 w 356934"/>
                <a:gd name="connsiteY171" fmla="*/ 309038 h 391307"/>
                <a:gd name="connsiteX172" fmla="*/ 36980 w 356934"/>
                <a:gd name="connsiteY172" fmla="*/ 312134 h 391307"/>
                <a:gd name="connsiteX173" fmla="*/ 34374 w 356934"/>
                <a:gd name="connsiteY173" fmla="*/ 317021 h 391307"/>
                <a:gd name="connsiteX174" fmla="*/ 35677 w 356934"/>
                <a:gd name="connsiteY174" fmla="*/ 321583 h 391307"/>
                <a:gd name="connsiteX175" fmla="*/ 31767 w 356934"/>
                <a:gd name="connsiteY175" fmla="*/ 326796 h 391307"/>
                <a:gd name="connsiteX176" fmla="*/ 34211 w 356934"/>
                <a:gd name="connsiteY176" fmla="*/ 333149 h 391307"/>
                <a:gd name="connsiteX177" fmla="*/ 33071 w 356934"/>
                <a:gd name="connsiteY177" fmla="*/ 342109 h 391307"/>
                <a:gd name="connsiteX178" fmla="*/ 33234 w 356934"/>
                <a:gd name="connsiteY178" fmla="*/ 346345 h 391307"/>
                <a:gd name="connsiteX179" fmla="*/ 36166 w 356934"/>
                <a:gd name="connsiteY179" fmla="*/ 346345 h 391307"/>
                <a:gd name="connsiteX180" fmla="*/ 36003 w 356934"/>
                <a:gd name="connsiteY180" fmla="*/ 349929 h 391307"/>
                <a:gd name="connsiteX181" fmla="*/ 38284 w 356934"/>
                <a:gd name="connsiteY181" fmla="*/ 350906 h 391307"/>
                <a:gd name="connsiteX182" fmla="*/ 45614 w 356934"/>
                <a:gd name="connsiteY182" fmla="*/ 346508 h 391307"/>
                <a:gd name="connsiteX183" fmla="*/ 51479 w 356934"/>
                <a:gd name="connsiteY183" fmla="*/ 346019 h 391307"/>
                <a:gd name="connsiteX184" fmla="*/ 51805 w 356934"/>
                <a:gd name="connsiteY184" fmla="*/ 348463 h 391307"/>
                <a:gd name="connsiteX185" fmla="*/ 53923 w 356934"/>
                <a:gd name="connsiteY185" fmla="*/ 347648 h 391307"/>
                <a:gd name="connsiteX186" fmla="*/ 57670 w 356934"/>
                <a:gd name="connsiteY186" fmla="*/ 344553 h 391307"/>
                <a:gd name="connsiteX187" fmla="*/ 63209 w 356934"/>
                <a:gd name="connsiteY187" fmla="*/ 344879 h 391307"/>
                <a:gd name="connsiteX188" fmla="*/ 65815 w 356934"/>
                <a:gd name="connsiteY188" fmla="*/ 345693 h 391307"/>
                <a:gd name="connsiteX189" fmla="*/ 70051 w 356934"/>
                <a:gd name="connsiteY189" fmla="*/ 344553 h 391307"/>
                <a:gd name="connsiteX190" fmla="*/ 73146 w 356934"/>
                <a:gd name="connsiteY190" fmla="*/ 344879 h 391307"/>
                <a:gd name="connsiteX191" fmla="*/ 75916 w 356934"/>
                <a:gd name="connsiteY191" fmla="*/ 344879 h 391307"/>
                <a:gd name="connsiteX192" fmla="*/ 76567 w 356934"/>
                <a:gd name="connsiteY192" fmla="*/ 342272 h 391307"/>
                <a:gd name="connsiteX193" fmla="*/ 78685 w 356934"/>
                <a:gd name="connsiteY193" fmla="*/ 339503 h 391307"/>
                <a:gd name="connsiteX194" fmla="*/ 83735 w 356934"/>
                <a:gd name="connsiteY194" fmla="*/ 342761 h 391307"/>
                <a:gd name="connsiteX195" fmla="*/ 87156 w 356934"/>
                <a:gd name="connsiteY195" fmla="*/ 342761 h 391307"/>
                <a:gd name="connsiteX196" fmla="*/ 87808 w 356934"/>
                <a:gd name="connsiteY196" fmla="*/ 340643 h 391307"/>
                <a:gd name="connsiteX197" fmla="*/ 90577 w 356934"/>
                <a:gd name="connsiteY197" fmla="*/ 341295 h 391307"/>
                <a:gd name="connsiteX198" fmla="*/ 92044 w 356934"/>
                <a:gd name="connsiteY198" fmla="*/ 344227 h 391307"/>
                <a:gd name="connsiteX199" fmla="*/ 96116 w 356934"/>
                <a:gd name="connsiteY199" fmla="*/ 344227 h 391307"/>
                <a:gd name="connsiteX200" fmla="*/ 99537 w 356934"/>
                <a:gd name="connsiteY200" fmla="*/ 346671 h 391307"/>
                <a:gd name="connsiteX201" fmla="*/ 103610 w 356934"/>
                <a:gd name="connsiteY201" fmla="*/ 346671 h 391307"/>
                <a:gd name="connsiteX202" fmla="*/ 109475 w 356934"/>
                <a:gd name="connsiteY202" fmla="*/ 341132 h 391307"/>
                <a:gd name="connsiteX203" fmla="*/ 116154 w 356934"/>
                <a:gd name="connsiteY203" fmla="*/ 341132 h 391307"/>
                <a:gd name="connsiteX204" fmla="*/ 120227 w 356934"/>
                <a:gd name="connsiteY204" fmla="*/ 342272 h 391307"/>
                <a:gd name="connsiteX205" fmla="*/ 124137 w 356934"/>
                <a:gd name="connsiteY205" fmla="*/ 339665 h 391307"/>
                <a:gd name="connsiteX206" fmla="*/ 128209 w 356934"/>
                <a:gd name="connsiteY206" fmla="*/ 339665 h 391307"/>
                <a:gd name="connsiteX207" fmla="*/ 129024 w 356934"/>
                <a:gd name="connsiteY207" fmla="*/ 337711 h 391307"/>
                <a:gd name="connsiteX208" fmla="*/ 130979 w 356934"/>
                <a:gd name="connsiteY208" fmla="*/ 339340 h 391307"/>
                <a:gd name="connsiteX209" fmla="*/ 138310 w 356934"/>
                <a:gd name="connsiteY209" fmla="*/ 340317 h 391307"/>
                <a:gd name="connsiteX210" fmla="*/ 144500 w 356934"/>
                <a:gd name="connsiteY210" fmla="*/ 338036 h 391307"/>
                <a:gd name="connsiteX211" fmla="*/ 151994 w 356934"/>
                <a:gd name="connsiteY211" fmla="*/ 337711 h 391307"/>
                <a:gd name="connsiteX212" fmla="*/ 157370 w 356934"/>
                <a:gd name="connsiteY212" fmla="*/ 342109 h 391307"/>
                <a:gd name="connsiteX213" fmla="*/ 159651 w 356934"/>
                <a:gd name="connsiteY213" fmla="*/ 347648 h 391307"/>
                <a:gd name="connsiteX214" fmla="*/ 158836 w 356934"/>
                <a:gd name="connsiteY214" fmla="*/ 351884 h 391307"/>
                <a:gd name="connsiteX215" fmla="*/ 159651 w 356934"/>
                <a:gd name="connsiteY215" fmla="*/ 352861 h 391307"/>
                <a:gd name="connsiteX216" fmla="*/ 158348 w 356934"/>
                <a:gd name="connsiteY216" fmla="*/ 353350 h 391307"/>
                <a:gd name="connsiteX217" fmla="*/ 158348 w 356934"/>
                <a:gd name="connsiteY217" fmla="*/ 355142 h 391307"/>
                <a:gd name="connsiteX218" fmla="*/ 162583 w 356934"/>
                <a:gd name="connsiteY218" fmla="*/ 355305 h 391307"/>
                <a:gd name="connsiteX219" fmla="*/ 170240 w 356934"/>
                <a:gd name="connsiteY219" fmla="*/ 351884 h 391307"/>
                <a:gd name="connsiteX220" fmla="*/ 170077 w 356934"/>
                <a:gd name="connsiteY220" fmla="*/ 357097 h 391307"/>
                <a:gd name="connsiteX221" fmla="*/ 175779 w 356934"/>
                <a:gd name="connsiteY221" fmla="*/ 363613 h 391307"/>
                <a:gd name="connsiteX222" fmla="*/ 177082 w 356934"/>
                <a:gd name="connsiteY222" fmla="*/ 372573 h 391307"/>
                <a:gd name="connsiteX223" fmla="*/ 178060 w 356934"/>
                <a:gd name="connsiteY223" fmla="*/ 373551 h 391307"/>
                <a:gd name="connsiteX224" fmla="*/ 177897 w 356934"/>
                <a:gd name="connsiteY224" fmla="*/ 376972 h 391307"/>
                <a:gd name="connsiteX225" fmla="*/ 175942 w 356934"/>
                <a:gd name="connsiteY225" fmla="*/ 378438 h 391307"/>
                <a:gd name="connsiteX226" fmla="*/ 177571 w 356934"/>
                <a:gd name="connsiteY226" fmla="*/ 378927 h 391307"/>
                <a:gd name="connsiteX227" fmla="*/ 179689 w 356934"/>
                <a:gd name="connsiteY227" fmla="*/ 378927 h 391307"/>
                <a:gd name="connsiteX228" fmla="*/ 181481 w 356934"/>
                <a:gd name="connsiteY228" fmla="*/ 384465 h 391307"/>
                <a:gd name="connsiteX229" fmla="*/ 186042 w 356934"/>
                <a:gd name="connsiteY229" fmla="*/ 383977 h 391307"/>
                <a:gd name="connsiteX230" fmla="*/ 193373 w 356934"/>
                <a:gd name="connsiteY230" fmla="*/ 383814 h 391307"/>
                <a:gd name="connsiteX231" fmla="*/ 202496 w 356934"/>
                <a:gd name="connsiteY231" fmla="*/ 388212 h 391307"/>
                <a:gd name="connsiteX232" fmla="*/ 201844 w 356934"/>
                <a:gd name="connsiteY232" fmla="*/ 391308 h 391307"/>
                <a:gd name="connsiteX233" fmla="*/ 206080 w 356934"/>
                <a:gd name="connsiteY233" fmla="*/ 388701 h 3913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</a:cxnLst>
              <a:rect l="l" t="t" r="r" b="b"/>
              <a:pathLst>
                <a:path w="356934" h="391307">
                  <a:moveTo>
                    <a:pt x="206080" y="388701"/>
                  </a:moveTo>
                  <a:lnTo>
                    <a:pt x="206243" y="382185"/>
                  </a:lnTo>
                  <a:lnTo>
                    <a:pt x="211619" y="378601"/>
                  </a:lnTo>
                  <a:lnTo>
                    <a:pt x="215040" y="377786"/>
                  </a:lnTo>
                  <a:lnTo>
                    <a:pt x="217321" y="371270"/>
                  </a:lnTo>
                  <a:lnTo>
                    <a:pt x="221230" y="372247"/>
                  </a:lnTo>
                  <a:lnTo>
                    <a:pt x="225466" y="369967"/>
                  </a:lnTo>
                  <a:lnTo>
                    <a:pt x="242898" y="370944"/>
                  </a:lnTo>
                  <a:lnTo>
                    <a:pt x="252998" y="367197"/>
                  </a:lnTo>
                  <a:lnTo>
                    <a:pt x="255116" y="364916"/>
                  </a:lnTo>
                  <a:lnTo>
                    <a:pt x="260980" y="363124"/>
                  </a:lnTo>
                  <a:lnTo>
                    <a:pt x="259025" y="366871"/>
                  </a:lnTo>
                  <a:lnTo>
                    <a:pt x="261306" y="369804"/>
                  </a:lnTo>
                  <a:lnTo>
                    <a:pt x="267008" y="366220"/>
                  </a:lnTo>
                  <a:lnTo>
                    <a:pt x="271895" y="364591"/>
                  </a:lnTo>
                  <a:lnTo>
                    <a:pt x="269778" y="362310"/>
                  </a:lnTo>
                  <a:lnTo>
                    <a:pt x="270592" y="358563"/>
                  </a:lnTo>
                  <a:lnTo>
                    <a:pt x="264890" y="342272"/>
                  </a:lnTo>
                  <a:lnTo>
                    <a:pt x="259840" y="335756"/>
                  </a:lnTo>
                  <a:lnTo>
                    <a:pt x="261143" y="332172"/>
                  </a:lnTo>
                  <a:lnTo>
                    <a:pt x="257722" y="329239"/>
                  </a:lnTo>
                  <a:lnTo>
                    <a:pt x="252672" y="329565"/>
                  </a:lnTo>
                  <a:lnTo>
                    <a:pt x="244364" y="324189"/>
                  </a:lnTo>
                  <a:lnTo>
                    <a:pt x="243386" y="314903"/>
                  </a:lnTo>
                  <a:lnTo>
                    <a:pt x="243712" y="308550"/>
                  </a:lnTo>
                  <a:lnTo>
                    <a:pt x="239965" y="300730"/>
                  </a:lnTo>
                  <a:lnTo>
                    <a:pt x="235241" y="300567"/>
                  </a:lnTo>
                  <a:lnTo>
                    <a:pt x="232471" y="302033"/>
                  </a:lnTo>
                  <a:lnTo>
                    <a:pt x="226281" y="299916"/>
                  </a:lnTo>
                  <a:lnTo>
                    <a:pt x="222045" y="300079"/>
                  </a:lnTo>
                  <a:lnTo>
                    <a:pt x="222045" y="293725"/>
                  </a:lnTo>
                  <a:lnTo>
                    <a:pt x="226118" y="283299"/>
                  </a:lnTo>
                  <a:lnTo>
                    <a:pt x="230028" y="282159"/>
                  </a:lnTo>
                  <a:lnTo>
                    <a:pt x="236870" y="272384"/>
                  </a:lnTo>
                  <a:lnTo>
                    <a:pt x="238010" y="267822"/>
                  </a:lnTo>
                  <a:lnTo>
                    <a:pt x="242735" y="265542"/>
                  </a:lnTo>
                  <a:lnTo>
                    <a:pt x="245993" y="263098"/>
                  </a:lnTo>
                  <a:lnTo>
                    <a:pt x="251532" y="265542"/>
                  </a:lnTo>
                  <a:lnTo>
                    <a:pt x="252672" y="270429"/>
                  </a:lnTo>
                  <a:lnTo>
                    <a:pt x="256419" y="271244"/>
                  </a:lnTo>
                  <a:lnTo>
                    <a:pt x="266030" y="266193"/>
                  </a:lnTo>
                  <a:lnTo>
                    <a:pt x="279389" y="265542"/>
                  </a:lnTo>
                  <a:lnTo>
                    <a:pt x="287535" y="256419"/>
                  </a:lnTo>
                  <a:lnTo>
                    <a:pt x="292585" y="241431"/>
                  </a:lnTo>
                  <a:lnTo>
                    <a:pt x="304314" y="233123"/>
                  </a:lnTo>
                  <a:lnTo>
                    <a:pt x="307246" y="227584"/>
                  </a:lnTo>
                  <a:lnTo>
                    <a:pt x="308387" y="219276"/>
                  </a:lnTo>
                  <a:lnTo>
                    <a:pt x="314089" y="211130"/>
                  </a:lnTo>
                  <a:lnTo>
                    <a:pt x="322397" y="207057"/>
                  </a:lnTo>
                  <a:lnTo>
                    <a:pt x="325167" y="200867"/>
                  </a:lnTo>
                  <a:lnTo>
                    <a:pt x="325003" y="195980"/>
                  </a:lnTo>
                  <a:lnTo>
                    <a:pt x="321583" y="193373"/>
                  </a:lnTo>
                  <a:lnTo>
                    <a:pt x="328914" y="185390"/>
                  </a:lnTo>
                  <a:lnTo>
                    <a:pt x="332986" y="182132"/>
                  </a:lnTo>
                  <a:lnTo>
                    <a:pt x="333801" y="176105"/>
                  </a:lnTo>
                  <a:lnTo>
                    <a:pt x="335104" y="163398"/>
                  </a:lnTo>
                  <a:lnTo>
                    <a:pt x="332498" y="153949"/>
                  </a:lnTo>
                  <a:lnTo>
                    <a:pt x="331032" y="151831"/>
                  </a:lnTo>
                  <a:lnTo>
                    <a:pt x="339177" y="144012"/>
                  </a:lnTo>
                  <a:lnTo>
                    <a:pt x="343901" y="142382"/>
                  </a:lnTo>
                  <a:lnTo>
                    <a:pt x="348625" y="139287"/>
                  </a:lnTo>
                  <a:lnTo>
                    <a:pt x="351884" y="139776"/>
                  </a:lnTo>
                  <a:lnTo>
                    <a:pt x="356934" y="134074"/>
                  </a:lnTo>
                  <a:lnTo>
                    <a:pt x="356282" y="128535"/>
                  </a:lnTo>
                  <a:lnTo>
                    <a:pt x="349766" y="127069"/>
                  </a:lnTo>
                  <a:lnTo>
                    <a:pt x="343738" y="129513"/>
                  </a:lnTo>
                  <a:lnTo>
                    <a:pt x="335919" y="127721"/>
                  </a:lnTo>
                  <a:lnTo>
                    <a:pt x="332823" y="121204"/>
                  </a:lnTo>
                  <a:lnTo>
                    <a:pt x="323863" y="117457"/>
                  </a:lnTo>
                  <a:lnTo>
                    <a:pt x="314252" y="115177"/>
                  </a:lnTo>
                  <a:lnTo>
                    <a:pt x="304966" y="106868"/>
                  </a:lnTo>
                  <a:lnTo>
                    <a:pt x="303662" y="99212"/>
                  </a:lnTo>
                  <a:lnTo>
                    <a:pt x="299753" y="81943"/>
                  </a:lnTo>
                  <a:lnTo>
                    <a:pt x="295028" y="74449"/>
                  </a:lnTo>
                  <a:lnTo>
                    <a:pt x="294866" y="66467"/>
                  </a:lnTo>
                  <a:lnTo>
                    <a:pt x="299101" y="64675"/>
                  </a:lnTo>
                  <a:lnTo>
                    <a:pt x="299916" y="59299"/>
                  </a:lnTo>
                  <a:lnTo>
                    <a:pt x="307084" y="54737"/>
                  </a:lnTo>
                  <a:lnTo>
                    <a:pt x="306921" y="48384"/>
                  </a:lnTo>
                  <a:lnTo>
                    <a:pt x="299427" y="46429"/>
                  </a:lnTo>
                  <a:lnTo>
                    <a:pt x="297961" y="41216"/>
                  </a:lnTo>
                  <a:lnTo>
                    <a:pt x="291282" y="37143"/>
                  </a:lnTo>
                  <a:lnTo>
                    <a:pt x="284276" y="31279"/>
                  </a:lnTo>
                  <a:lnTo>
                    <a:pt x="279063" y="24925"/>
                  </a:lnTo>
                  <a:lnTo>
                    <a:pt x="273850" y="26717"/>
                  </a:lnTo>
                  <a:lnTo>
                    <a:pt x="270266" y="28183"/>
                  </a:lnTo>
                  <a:lnTo>
                    <a:pt x="266519" y="24599"/>
                  </a:lnTo>
                  <a:lnTo>
                    <a:pt x="265379" y="14499"/>
                  </a:lnTo>
                  <a:lnTo>
                    <a:pt x="277760" y="6190"/>
                  </a:lnTo>
                  <a:lnTo>
                    <a:pt x="276131" y="1955"/>
                  </a:lnTo>
                  <a:lnTo>
                    <a:pt x="268800" y="3421"/>
                  </a:lnTo>
                  <a:lnTo>
                    <a:pt x="262773" y="0"/>
                  </a:lnTo>
                  <a:lnTo>
                    <a:pt x="254301" y="4561"/>
                  </a:lnTo>
                  <a:lnTo>
                    <a:pt x="248110" y="10100"/>
                  </a:lnTo>
                  <a:lnTo>
                    <a:pt x="241105" y="10100"/>
                  </a:lnTo>
                  <a:lnTo>
                    <a:pt x="237033" y="16291"/>
                  </a:lnTo>
                  <a:lnTo>
                    <a:pt x="232146" y="21178"/>
                  </a:lnTo>
                  <a:lnTo>
                    <a:pt x="243223" y="37306"/>
                  </a:lnTo>
                  <a:lnTo>
                    <a:pt x="244038" y="48384"/>
                  </a:lnTo>
                  <a:lnTo>
                    <a:pt x="231819" y="64349"/>
                  </a:lnTo>
                  <a:lnTo>
                    <a:pt x="238173" y="70214"/>
                  </a:lnTo>
                  <a:lnTo>
                    <a:pt x="238173" y="77219"/>
                  </a:lnTo>
                  <a:lnTo>
                    <a:pt x="231494" y="87156"/>
                  </a:lnTo>
                  <a:lnTo>
                    <a:pt x="221882" y="87156"/>
                  </a:lnTo>
                  <a:lnTo>
                    <a:pt x="212596" y="83409"/>
                  </a:lnTo>
                  <a:lnTo>
                    <a:pt x="206406" y="87482"/>
                  </a:lnTo>
                  <a:lnTo>
                    <a:pt x="209175" y="94161"/>
                  </a:lnTo>
                  <a:lnTo>
                    <a:pt x="214551" y="97094"/>
                  </a:lnTo>
                  <a:lnTo>
                    <a:pt x="217646" y="104099"/>
                  </a:lnTo>
                  <a:lnTo>
                    <a:pt x="216506" y="108497"/>
                  </a:lnTo>
                  <a:lnTo>
                    <a:pt x="210478" y="111756"/>
                  </a:lnTo>
                  <a:lnTo>
                    <a:pt x="204777" y="112407"/>
                  </a:lnTo>
                  <a:lnTo>
                    <a:pt x="202822" y="115991"/>
                  </a:lnTo>
                  <a:lnTo>
                    <a:pt x="202007" y="125114"/>
                  </a:lnTo>
                  <a:lnTo>
                    <a:pt x="200215" y="130979"/>
                  </a:lnTo>
                  <a:lnTo>
                    <a:pt x="200052" y="134563"/>
                  </a:lnTo>
                  <a:lnTo>
                    <a:pt x="198098" y="136681"/>
                  </a:lnTo>
                  <a:lnTo>
                    <a:pt x="200052" y="148084"/>
                  </a:lnTo>
                  <a:lnTo>
                    <a:pt x="194514" y="156230"/>
                  </a:lnTo>
                  <a:lnTo>
                    <a:pt x="189626" y="150039"/>
                  </a:lnTo>
                  <a:lnTo>
                    <a:pt x="186694" y="150039"/>
                  </a:lnTo>
                  <a:lnTo>
                    <a:pt x="186368" y="153460"/>
                  </a:lnTo>
                  <a:lnTo>
                    <a:pt x="180177" y="153135"/>
                  </a:lnTo>
                  <a:lnTo>
                    <a:pt x="177082" y="151017"/>
                  </a:lnTo>
                  <a:lnTo>
                    <a:pt x="171055" y="151668"/>
                  </a:lnTo>
                  <a:lnTo>
                    <a:pt x="169425" y="154927"/>
                  </a:lnTo>
                  <a:lnTo>
                    <a:pt x="159814" y="162257"/>
                  </a:lnTo>
                  <a:lnTo>
                    <a:pt x="164050" y="163561"/>
                  </a:lnTo>
                  <a:lnTo>
                    <a:pt x="161117" y="167308"/>
                  </a:lnTo>
                  <a:lnTo>
                    <a:pt x="151668" y="171543"/>
                  </a:lnTo>
                  <a:lnTo>
                    <a:pt x="148736" y="169425"/>
                  </a:lnTo>
                  <a:lnTo>
                    <a:pt x="142546" y="170729"/>
                  </a:lnTo>
                  <a:lnTo>
                    <a:pt x="140591" y="174638"/>
                  </a:lnTo>
                  <a:lnTo>
                    <a:pt x="139613" y="178711"/>
                  </a:lnTo>
                  <a:lnTo>
                    <a:pt x="134726" y="180340"/>
                  </a:lnTo>
                  <a:lnTo>
                    <a:pt x="131468" y="184576"/>
                  </a:lnTo>
                  <a:lnTo>
                    <a:pt x="131793" y="191581"/>
                  </a:lnTo>
                  <a:lnTo>
                    <a:pt x="133748" y="199889"/>
                  </a:lnTo>
                  <a:lnTo>
                    <a:pt x="133260" y="205265"/>
                  </a:lnTo>
                  <a:lnTo>
                    <a:pt x="135377" y="210153"/>
                  </a:lnTo>
                  <a:lnTo>
                    <a:pt x="134237" y="215040"/>
                  </a:lnTo>
                  <a:lnTo>
                    <a:pt x="124137" y="219276"/>
                  </a:lnTo>
                  <a:lnTo>
                    <a:pt x="115177" y="219113"/>
                  </a:lnTo>
                  <a:lnTo>
                    <a:pt x="107194" y="220090"/>
                  </a:lnTo>
                  <a:lnTo>
                    <a:pt x="93510" y="220905"/>
                  </a:lnTo>
                  <a:lnTo>
                    <a:pt x="84550" y="223348"/>
                  </a:lnTo>
                  <a:lnTo>
                    <a:pt x="81292" y="225955"/>
                  </a:lnTo>
                  <a:lnTo>
                    <a:pt x="73309" y="225466"/>
                  </a:lnTo>
                  <a:lnTo>
                    <a:pt x="64675" y="227747"/>
                  </a:lnTo>
                  <a:lnTo>
                    <a:pt x="35188" y="228562"/>
                  </a:lnTo>
                  <a:lnTo>
                    <a:pt x="163" y="218624"/>
                  </a:lnTo>
                  <a:lnTo>
                    <a:pt x="0" y="218624"/>
                  </a:lnTo>
                  <a:lnTo>
                    <a:pt x="13359" y="236381"/>
                  </a:lnTo>
                  <a:lnTo>
                    <a:pt x="16291" y="242246"/>
                  </a:lnTo>
                  <a:lnTo>
                    <a:pt x="22970" y="249251"/>
                  </a:lnTo>
                  <a:lnTo>
                    <a:pt x="29323" y="252835"/>
                  </a:lnTo>
                  <a:lnTo>
                    <a:pt x="31604" y="255279"/>
                  </a:lnTo>
                  <a:lnTo>
                    <a:pt x="40076" y="256093"/>
                  </a:lnTo>
                  <a:lnTo>
                    <a:pt x="44800" y="257885"/>
                  </a:lnTo>
                  <a:lnTo>
                    <a:pt x="45614" y="260655"/>
                  </a:lnTo>
                  <a:lnTo>
                    <a:pt x="52619" y="261469"/>
                  </a:lnTo>
                  <a:lnTo>
                    <a:pt x="52782" y="270103"/>
                  </a:lnTo>
                  <a:lnTo>
                    <a:pt x="54575" y="275968"/>
                  </a:lnTo>
                  <a:lnTo>
                    <a:pt x="55063" y="282973"/>
                  </a:lnTo>
                  <a:lnTo>
                    <a:pt x="56366" y="287535"/>
                  </a:lnTo>
                  <a:lnTo>
                    <a:pt x="62557" y="287209"/>
                  </a:lnTo>
                  <a:lnTo>
                    <a:pt x="69236" y="291607"/>
                  </a:lnTo>
                  <a:lnTo>
                    <a:pt x="69888" y="301545"/>
                  </a:lnTo>
                  <a:lnTo>
                    <a:pt x="66304" y="305129"/>
                  </a:lnTo>
                  <a:lnTo>
                    <a:pt x="59625" y="302522"/>
                  </a:lnTo>
                  <a:lnTo>
                    <a:pt x="47244" y="306269"/>
                  </a:lnTo>
                  <a:lnTo>
                    <a:pt x="44637" y="309038"/>
                  </a:lnTo>
                  <a:lnTo>
                    <a:pt x="36980" y="312134"/>
                  </a:lnTo>
                  <a:lnTo>
                    <a:pt x="34374" y="317021"/>
                  </a:lnTo>
                  <a:lnTo>
                    <a:pt x="35677" y="321583"/>
                  </a:lnTo>
                  <a:lnTo>
                    <a:pt x="31767" y="326796"/>
                  </a:lnTo>
                  <a:lnTo>
                    <a:pt x="34211" y="333149"/>
                  </a:lnTo>
                  <a:lnTo>
                    <a:pt x="33071" y="342109"/>
                  </a:lnTo>
                  <a:lnTo>
                    <a:pt x="33234" y="346345"/>
                  </a:lnTo>
                  <a:lnTo>
                    <a:pt x="36166" y="346345"/>
                  </a:lnTo>
                  <a:lnTo>
                    <a:pt x="36003" y="349929"/>
                  </a:lnTo>
                  <a:lnTo>
                    <a:pt x="38284" y="350906"/>
                  </a:lnTo>
                  <a:lnTo>
                    <a:pt x="45614" y="346508"/>
                  </a:lnTo>
                  <a:lnTo>
                    <a:pt x="51479" y="346019"/>
                  </a:lnTo>
                  <a:lnTo>
                    <a:pt x="51805" y="348463"/>
                  </a:lnTo>
                  <a:lnTo>
                    <a:pt x="53923" y="347648"/>
                  </a:lnTo>
                  <a:lnTo>
                    <a:pt x="57670" y="344553"/>
                  </a:lnTo>
                  <a:lnTo>
                    <a:pt x="63209" y="344879"/>
                  </a:lnTo>
                  <a:lnTo>
                    <a:pt x="65815" y="345693"/>
                  </a:lnTo>
                  <a:lnTo>
                    <a:pt x="70051" y="344553"/>
                  </a:lnTo>
                  <a:lnTo>
                    <a:pt x="73146" y="344879"/>
                  </a:lnTo>
                  <a:lnTo>
                    <a:pt x="75916" y="344879"/>
                  </a:lnTo>
                  <a:lnTo>
                    <a:pt x="76567" y="342272"/>
                  </a:lnTo>
                  <a:lnTo>
                    <a:pt x="78685" y="339503"/>
                  </a:lnTo>
                  <a:lnTo>
                    <a:pt x="83735" y="342761"/>
                  </a:lnTo>
                  <a:lnTo>
                    <a:pt x="87156" y="342761"/>
                  </a:lnTo>
                  <a:lnTo>
                    <a:pt x="87808" y="340643"/>
                  </a:lnTo>
                  <a:lnTo>
                    <a:pt x="90577" y="341295"/>
                  </a:lnTo>
                  <a:lnTo>
                    <a:pt x="92044" y="344227"/>
                  </a:lnTo>
                  <a:lnTo>
                    <a:pt x="96116" y="344227"/>
                  </a:lnTo>
                  <a:lnTo>
                    <a:pt x="99537" y="346671"/>
                  </a:lnTo>
                  <a:lnTo>
                    <a:pt x="103610" y="346671"/>
                  </a:lnTo>
                  <a:lnTo>
                    <a:pt x="109475" y="341132"/>
                  </a:lnTo>
                  <a:lnTo>
                    <a:pt x="116154" y="341132"/>
                  </a:lnTo>
                  <a:lnTo>
                    <a:pt x="120227" y="342272"/>
                  </a:lnTo>
                  <a:lnTo>
                    <a:pt x="124137" y="339665"/>
                  </a:lnTo>
                  <a:lnTo>
                    <a:pt x="128209" y="339665"/>
                  </a:lnTo>
                  <a:lnTo>
                    <a:pt x="129024" y="337711"/>
                  </a:lnTo>
                  <a:lnTo>
                    <a:pt x="130979" y="339340"/>
                  </a:lnTo>
                  <a:lnTo>
                    <a:pt x="138310" y="340317"/>
                  </a:lnTo>
                  <a:lnTo>
                    <a:pt x="144500" y="338036"/>
                  </a:lnTo>
                  <a:lnTo>
                    <a:pt x="151994" y="337711"/>
                  </a:lnTo>
                  <a:lnTo>
                    <a:pt x="157370" y="342109"/>
                  </a:lnTo>
                  <a:lnTo>
                    <a:pt x="159651" y="347648"/>
                  </a:lnTo>
                  <a:lnTo>
                    <a:pt x="158836" y="351884"/>
                  </a:lnTo>
                  <a:lnTo>
                    <a:pt x="159651" y="352861"/>
                  </a:lnTo>
                  <a:lnTo>
                    <a:pt x="158348" y="353350"/>
                  </a:lnTo>
                  <a:lnTo>
                    <a:pt x="158348" y="355142"/>
                  </a:lnTo>
                  <a:lnTo>
                    <a:pt x="162583" y="355305"/>
                  </a:lnTo>
                  <a:lnTo>
                    <a:pt x="170240" y="351884"/>
                  </a:lnTo>
                  <a:lnTo>
                    <a:pt x="170077" y="357097"/>
                  </a:lnTo>
                  <a:lnTo>
                    <a:pt x="175779" y="363613"/>
                  </a:lnTo>
                  <a:lnTo>
                    <a:pt x="177082" y="372573"/>
                  </a:lnTo>
                  <a:lnTo>
                    <a:pt x="178060" y="373551"/>
                  </a:lnTo>
                  <a:lnTo>
                    <a:pt x="177897" y="376972"/>
                  </a:lnTo>
                  <a:lnTo>
                    <a:pt x="175942" y="378438"/>
                  </a:lnTo>
                  <a:lnTo>
                    <a:pt x="177571" y="378927"/>
                  </a:lnTo>
                  <a:lnTo>
                    <a:pt x="179689" y="378927"/>
                  </a:lnTo>
                  <a:lnTo>
                    <a:pt x="181481" y="384465"/>
                  </a:lnTo>
                  <a:lnTo>
                    <a:pt x="186042" y="383977"/>
                  </a:lnTo>
                  <a:lnTo>
                    <a:pt x="193373" y="383814"/>
                  </a:lnTo>
                  <a:lnTo>
                    <a:pt x="202496" y="388212"/>
                  </a:lnTo>
                  <a:lnTo>
                    <a:pt x="201844" y="391308"/>
                  </a:lnTo>
                  <a:lnTo>
                    <a:pt x="206080" y="388701"/>
                  </a:lnTo>
                  <a:close/>
                </a:path>
              </a:pathLst>
            </a:custGeom>
            <a:solidFill>
              <a:schemeClr val="bg2"/>
            </a:solidFill>
            <a:ln w="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8" name="Forma livre: Forma 217">
              <a:extLst>
                <a:ext uri="{FF2B5EF4-FFF2-40B4-BE49-F238E27FC236}">
                  <a16:creationId xmlns:a16="http://schemas.microsoft.com/office/drawing/2014/main" id="{0514DCD0-B8C7-C06A-D310-0FE13892561D}"/>
                </a:ext>
              </a:extLst>
            </p:cNvPr>
            <p:cNvSpPr/>
            <p:nvPr/>
          </p:nvSpPr>
          <p:spPr>
            <a:xfrm>
              <a:off x="7834356" y="3888517"/>
              <a:ext cx="193266" cy="158923"/>
            </a:xfrm>
            <a:custGeom>
              <a:avLst/>
              <a:gdLst>
                <a:gd name="connsiteX0" fmla="*/ 91555 w 187019"/>
                <a:gd name="connsiteY0" fmla="*/ 153786 h 153786"/>
                <a:gd name="connsiteX1" fmla="*/ 93021 w 187019"/>
                <a:gd name="connsiteY1" fmla="*/ 152157 h 153786"/>
                <a:gd name="connsiteX2" fmla="*/ 100678 w 187019"/>
                <a:gd name="connsiteY2" fmla="*/ 139613 h 153786"/>
                <a:gd name="connsiteX3" fmla="*/ 108171 w 187019"/>
                <a:gd name="connsiteY3" fmla="*/ 132771 h 153786"/>
                <a:gd name="connsiteX4" fmla="*/ 114688 w 187019"/>
                <a:gd name="connsiteY4" fmla="*/ 132445 h 153786"/>
                <a:gd name="connsiteX5" fmla="*/ 117946 w 187019"/>
                <a:gd name="connsiteY5" fmla="*/ 126417 h 153786"/>
                <a:gd name="connsiteX6" fmla="*/ 123322 w 187019"/>
                <a:gd name="connsiteY6" fmla="*/ 126417 h 153786"/>
                <a:gd name="connsiteX7" fmla="*/ 137332 w 187019"/>
                <a:gd name="connsiteY7" fmla="*/ 135703 h 153786"/>
                <a:gd name="connsiteX8" fmla="*/ 144663 w 187019"/>
                <a:gd name="connsiteY8" fmla="*/ 131793 h 153786"/>
                <a:gd name="connsiteX9" fmla="*/ 151668 w 187019"/>
                <a:gd name="connsiteY9" fmla="*/ 134563 h 153786"/>
                <a:gd name="connsiteX10" fmla="*/ 154275 w 187019"/>
                <a:gd name="connsiteY10" fmla="*/ 141405 h 153786"/>
                <a:gd name="connsiteX11" fmla="*/ 160791 w 187019"/>
                <a:gd name="connsiteY11" fmla="*/ 141079 h 153786"/>
                <a:gd name="connsiteX12" fmla="*/ 171055 w 187019"/>
                <a:gd name="connsiteY12" fmla="*/ 147596 h 153786"/>
                <a:gd name="connsiteX13" fmla="*/ 178548 w 187019"/>
                <a:gd name="connsiteY13" fmla="*/ 139613 h 153786"/>
                <a:gd name="connsiteX14" fmla="*/ 182784 w 187019"/>
                <a:gd name="connsiteY14" fmla="*/ 141079 h 153786"/>
                <a:gd name="connsiteX15" fmla="*/ 183762 w 187019"/>
                <a:gd name="connsiteY15" fmla="*/ 144663 h 153786"/>
                <a:gd name="connsiteX16" fmla="*/ 187019 w 187019"/>
                <a:gd name="connsiteY16" fmla="*/ 139287 h 153786"/>
                <a:gd name="connsiteX17" fmla="*/ 185390 w 187019"/>
                <a:gd name="connsiteY17" fmla="*/ 130001 h 153786"/>
                <a:gd name="connsiteX18" fmla="*/ 182458 w 187019"/>
                <a:gd name="connsiteY18" fmla="*/ 118761 h 153786"/>
                <a:gd name="connsiteX19" fmla="*/ 175779 w 187019"/>
                <a:gd name="connsiteY19" fmla="*/ 117132 h 153786"/>
                <a:gd name="connsiteX20" fmla="*/ 170892 w 187019"/>
                <a:gd name="connsiteY20" fmla="*/ 105728 h 153786"/>
                <a:gd name="connsiteX21" fmla="*/ 171380 w 187019"/>
                <a:gd name="connsiteY21" fmla="*/ 93510 h 153786"/>
                <a:gd name="connsiteX22" fmla="*/ 167633 w 187019"/>
                <a:gd name="connsiteY22" fmla="*/ 87156 h 153786"/>
                <a:gd name="connsiteX23" fmla="*/ 158999 w 187019"/>
                <a:gd name="connsiteY23" fmla="*/ 82921 h 153786"/>
                <a:gd name="connsiteX24" fmla="*/ 152483 w 187019"/>
                <a:gd name="connsiteY24" fmla="*/ 75101 h 153786"/>
                <a:gd name="connsiteX25" fmla="*/ 147921 w 187019"/>
                <a:gd name="connsiteY25" fmla="*/ 62557 h 153786"/>
                <a:gd name="connsiteX26" fmla="*/ 139776 w 187019"/>
                <a:gd name="connsiteY26" fmla="*/ 58159 h 153786"/>
                <a:gd name="connsiteX27" fmla="*/ 129676 w 187019"/>
                <a:gd name="connsiteY27" fmla="*/ 54900 h 153786"/>
                <a:gd name="connsiteX28" fmla="*/ 128698 w 187019"/>
                <a:gd name="connsiteY28" fmla="*/ 49036 h 153786"/>
                <a:gd name="connsiteX29" fmla="*/ 123811 w 187019"/>
                <a:gd name="connsiteY29" fmla="*/ 47732 h 153786"/>
                <a:gd name="connsiteX30" fmla="*/ 113710 w 187019"/>
                <a:gd name="connsiteY30" fmla="*/ 47895 h 153786"/>
                <a:gd name="connsiteX31" fmla="*/ 103447 w 187019"/>
                <a:gd name="connsiteY31" fmla="*/ 46592 h 153786"/>
                <a:gd name="connsiteX32" fmla="*/ 100840 w 187019"/>
                <a:gd name="connsiteY32" fmla="*/ 43171 h 153786"/>
                <a:gd name="connsiteX33" fmla="*/ 96442 w 187019"/>
                <a:gd name="connsiteY33" fmla="*/ 39913 h 153786"/>
                <a:gd name="connsiteX34" fmla="*/ 96279 w 187019"/>
                <a:gd name="connsiteY34" fmla="*/ 33071 h 153786"/>
                <a:gd name="connsiteX35" fmla="*/ 89437 w 187019"/>
                <a:gd name="connsiteY35" fmla="*/ 28509 h 153786"/>
                <a:gd name="connsiteX36" fmla="*/ 77871 w 187019"/>
                <a:gd name="connsiteY36" fmla="*/ 11892 h 153786"/>
                <a:gd name="connsiteX37" fmla="*/ 75101 w 187019"/>
                <a:gd name="connsiteY37" fmla="*/ 3910 h 153786"/>
                <a:gd name="connsiteX38" fmla="*/ 71191 w 187019"/>
                <a:gd name="connsiteY38" fmla="*/ 163 h 153786"/>
                <a:gd name="connsiteX39" fmla="*/ 68096 w 187019"/>
                <a:gd name="connsiteY39" fmla="*/ 0 h 153786"/>
                <a:gd name="connsiteX40" fmla="*/ 65652 w 187019"/>
                <a:gd name="connsiteY40" fmla="*/ 2607 h 153786"/>
                <a:gd name="connsiteX41" fmla="*/ 62720 w 187019"/>
                <a:gd name="connsiteY41" fmla="*/ 4561 h 153786"/>
                <a:gd name="connsiteX42" fmla="*/ 58484 w 187019"/>
                <a:gd name="connsiteY42" fmla="*/ 4236 h 153786"/>
                <a:gd name="connsiteX43" fmla="*/ 55878 w 187019"/>
                <a:gd name="connsiteY43" fmla="*/ 6028 h 153786"/>
                <a:gd name="connsiteX44" fmla="*/ 50990 w 187019"/>
                <a:gd name="connsiteY44" fmla="*/ 1792 h 153786"/>
                <a:gd name="connsiteX45" fmla="*/ 47569 w 187019"/>
                <a:gd name="connsiteY45" fmla="*/ 2769 h 153786"/>
                <a:gd name="connsiteX46" fmla="*/ 45289 w 187019"/>
                <a:gd name="connsiteY46" fmla="*/ 4236 h 153786"/>
                <a:gd name="connsiteX47" fmla="*/ 45451 w 187019"/>
                <a:gd name="connsiteY47" fmla="*/ 4236 h 153786"/>
                <a:gd name="connsiteX48" fmla="*/ 40239 w 187019"/>
                <a:gd name="connsiteY48" fmla="*/ 13196 h 153786"/>
                <a:gd name="connsiteX49" fmla="*/ 28835 w 187019"/>
                <a:gd name="connsiteY49" fmla="*/ 17920 h 153786"/>
                <a:gd name="connsiteX50" fmla="*/ 10752 w 187019"/>
                <a:gd name="connsiteY50" fmla="*/ 21667 h 153786"/>
                <a:gd name="connsiteX51" fmla="*/ 12381 w 187019"/>
                <a:gd name="connsiteY51" fmla="*/ 25902 h 153786"/>
                <a:gd name="connsiteX52" fmla="*/ 0 w 187019"/>
                <a:gd name="connsiteY52" fmla="*/ 34211 h 153786"/>
                <a:gd name="connsiteX53" fmla="*/ 1140 w 187019"/>
                <a:gd name="connsiteY53" fmla="*/ 44311 h 153786"/>
                <a:gd name="connsiteX54" fmla="*/ 4887 w 187019"/>
                <a:gd name="connsiteY54" fmla="*/ 47895 h 153786"/>
                <a:gd name="connsiteX55" fmla="*/ 8471 w 187019"/>
                <a:gd name="connsiteY55" fmla="*/ 46429 h 153786"/>
                <a:gd name="connsiteX56" fmla="*/ 13684 w 187019"/>
                <a:gd name="connsiteY56" fmla="*/ 44637 h 153786"/>
                <a:gd name="connsiteX57" fmla="*/ 18897 w 187019"/>
                <a:gd name="connsiteY57" fmla="*/ 50991 h 153786"/>
                <a:gd name="connsiteX58" fmla="*/ 25902 w 187019"/>
                <a:gd name="connsiteY58" fmla="*/ 56855 h 153786"/>
                <a:gd name="connsiteX59" fmla="*/ 32582 w 187019"/>
                <a:gd name="connsiteY59" fmla="*/ 60928 h 153786"/>
                <a:gd name="connsiteX60" fmla="*/ 34048 w 187019"/>
                <a:gd name="connsiteY60" fmla="*/ 66141 h 153786"/>
                <a:gd name="connsiteX61" fmla="*/ 41542 w 187019"/>
                <a:gd name="connsiteY61" fmla="*/ 68096 h 153786"/>
                <a:gd name="connsiteX62" fmla="*/ 41705 w 187019"/>
                <a:gd name="connsiteY62" fmla="*/ 74450 h 153786"/>
                <a:gd name="connsiteX63" fmla="*/ 34537 w 187019"/>
                <a:gd name="connsiteY63" fmla="*/ 79011 h 153786"/>
                <a:gd name="connsiteX64" fmla="*/ 33722 w 187019"/>
                <a:gd name="connsiteY64" fmla="*/ 84387 h 153786"/>
                <a:gd name="connsiteX65" fmla="*/ 29487 w 187019"/>
                <a:gd name="connsiteY65" fmla="*/ 86179 h 153786"/>
                <a:gd name="connsiteX66" fmla="*/ 29649 w 187019"/>
                <a:gd name="connsiteY66" fmla="*/ 94161 h 153786"/>
                <a:gd name="connsiteX67" fmla="*/ 34374 w 187019"/>
                <a:gd name="connsiteY67" fmla="*/ 101655 h 153786"/>
                <a:gd name="connsiteX68" fmla="*/ 38283 w 187019"/>
                <a:gd name="connsiteY68" fmla="*/ 118924 h 153786"/>
                <a:gd name="connsiteX69" fmla="*/ 39587 w 187019"/>
                <a:gd name="connsiteY69" fmla="*/ 126580 h 153786"/>
                <a:gd name="connsiteX70" fmla="*/ 48873 w 187019"/>
                <a:gd name="connsiteY70" fmla="*/ 134889 h 153786"/>
                <a:gd name="connsiteX71" fmla="*/ 58484 w 187019"/>
                <a:gd name="connsiteY71" fmla="*/ 137169 h 153786"/>
                <a:gd name="connsiteX72" fmla="*/ 67444 w 187019"/>
                <a:gd name="connsiteY72" fmla="*/ 140916 h 153786"/>
                <a:gd name="connsiteX73" fmla="*/ 70539 w 187019"/>
                <a:gd name="connsiteY73" fmla="*/ 147433 h 153786"/>
                <a:gd name="connsiteX74" fmla="*/ 78359 w 187019"/>
                <a:gd name="connsiteY74" fmla="*/ 149225 h 153786"/>
                <a:gd name="connsiteX75" fmla="*/ 84387 w 187019"/>
                <a:gd name="connsiteY75" fmla="*/ 146781 h 153786"/>
                <a:gd name="connsiteX76" fmla="*/ 90903 w 187019"/>
                <a:gd name="connsiteY76" fmla="*/ 148247 h 153786"/>
                <a:gd name="connsiteX77" fmla="*/ 91555 w 187019"/>
                <a:gd name="connsiteY77" fmla="*/ 153786 h 1537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</a:cxnLst>
              <a:rect l="l" t="t" r="r" b="b"/>
              <a:pathLst>
                <a:path w="187019" h="153786">
                  <a:moveTo>
                    <a:pt x="91555" y="153786"/>
                  </a:moveTo>
                  <a:lnTo>
                    <a:pt x="93021" y="152157"/>
                  </a:lnTo>
                  <a:lnTo>
                    <a:pt x="100678" y="139613"/>
                  </a:lnTo>
                  <a:lnTo>
                    <a:pt x="108171" y="132771"/>
                  </a:lnTo>
                  <a:lnTo>
                    <a:pt x="114688" y="132445"/>
                  </a:lnTo>
                  <a:lnTo>
                    <a:pt x="117946" y="126417"/>
                  </a:lnTo>
                  <a:lnTo>
                    <a:pt x="123322" y="126417"/>
                  </a:lnTo>
                  <a:lnTo>
                    <a:pt x="137332" y="135703"/>
                  </a:lnTo>
                  <a:lnTo>
                    <a:pt x="144663" y="131793"/>
                  </a:lnTo>
                  <a:lnTo>
                    <a:pt x="151668" y="134563"/>
                  </a:lnTo>
                  <a:lnTo>
                    <a:pt x="154275" y="141405"/>
                  </a:lnTo>
                  <a:lnTo>
                    <a:pt x="160791" y="141079"/>
                  </a:lnTo>
                  <a:lnTo>
                    <a:pt x="171055" y="147596"/>
                  </a:lnTo>
                  <a:lnTo>
                    <a:pt x="178548" y="139613"/>
                  </a:lnTo>
                  <a:lnTo>
                    <a:pt x="182784" y="141079"/>
                  </a:lnTo>
                  <a:lnTo>
                    <a:pt x="183762" y="144663"/>
                  </a:lnTo>
                  <a:lnTo>
                    <a:pt x="187019" y="139287"/>
                  </a:lnTo>
                  <a:lnTo>
                    <a:pt x="185390" y="130001"/>
                  </a:lnTo>
                  <a:lnTo>
                    <a:pt x="182458" y="118761"/>
                  </a:lnTo>
                  <a:lnTo>
                    <a:pt x="175779" y="117132"/>
                  </a:lnTo>
                  <a:lnTo>
                    <a:pt x="170892" y="105728"/>
                  </a:lnTo>
                  <a:lnTo>
                    <a:pt x="171380" y="93510"/>
                  </a:lnTo>
                  <a:lnTo>
                    <a:pt x="167633" y="87156"/>
                  </a:lnTo>
                  <a:lnTo>
                    <a:pt x="158999" y="82921"/>
                  </a:lnTo>
                  <a:lnTo>
                    <a:pt x="152483" y="75101"/>
                  </a:lnTo>
                  <a:lnTo>
                    <a:pt x="147921" y="62557"/>
                  </a:lnTo>
                  <a:lnTo>
                    <a:pt x="139776" y="58159"/>
                  </a:lnTo>
                  <a:lnTo>
                    <a:pt x="129676" y="54900"/>
                  </a:lnTo>
                  <a:lnTo>
                    <a:pt x="128698" y="49036"/>
                  </a:lnTo>
                  <a:lnTo>
                    <a:pt x="123811" y="47732"/>
                  </a:lnTo>
                  <a:lnTo>
                    <a:pt x="113710" y="47895"/>
                  </a:lnTo>
                  <a:lnTo>
                    <a:pt x="103447" y="46592"/>
                  </a:lnTo>
                  <a:lnTo>
                    <a:pt x="100840" y="43171"/>
                  </a:lnTo>
                  <a:lnTo>
                    <a:pt x="96442" y="39913"/>
                  </a:lnTo>
                  <a:lnTo>
                    <a:pt x="96279" y="33071"/>
                  </a:lnTo>
                  <a:lnTo>
                    <a:pt x="89437" y="28509"/>
                  </a:lnTo>
                  <a:lnTo>
                    <a:pt x="77871" y="11892"/>
                  </a:lnTo>
                  <a:lnTo>
                    <a:pt x="75101" y="3910"/>
                  </a:lnTo>
                  <a:lnTo>
                    <a:pt x="71191" y="163"/>
                  </a:lnTo>
                  <a:lnTo>
                    <a:pt x="68096" y="0"/>
                  </a:lnTo>
                  <a:lnTo>
                    <a:pt x="65652" y="2607"/>
                  </a:lnTo>
                  <a:lnTo>
                    <a:pt x="62720" y="4561"/>
                  </a:lnTo>
                  <a:lnTo>
                    <a:pt x="58484" y="4236"/>
                  </a:lnTo>
                  <a:lnTo>
                    <a:pt x="55878" y="6028"/>
                  </a:lnTo>
                  <a:lnTo>
                    <a:pt x="50990" y="1792"/>
                  </a:lnTo>
                  <a:lnTo>
                    <a:pt x="47569" y="2769"/>
                  </a:lnTo>
                  <a:lnTo>
                    <a:pt x="45289" y="4236"/>
                  </a:lnTo>
                  <a:lnTo>
                    <a:pt x="45451" y="4236"/>
                  </a:lnTo>
                  <a:lnTo>
                    <a:pt x="40239" y="13196"/>
                  </a:lnTo>
                  <a:lnTo>
                    <a:pt x="28835" y="17920"/>
                  </a:lnTo>
                  <a:lnTo>
                    <a:pt x="10752" y="21667"/>
                  </a:lnTo>
                  <a:lnTo>
                    <a:pt x="12381" y="25902"/>
                  </a:lnTo>
                  <a:lnTo>
                    <a:pt x="0" y="34211"/>
                  </a:lnTo>
                  <a:lnTo>
                    <a:pt x="1140" y="44311"/>
                  </a:lnTo>
                  <a:lnTo>
                    <a:pt x="4887" y="47895"/>
                  </a:lnTo>
                  <a:lnTo>
                    <a:pt x="8471" y="46429"/>
                  </a:lnTo>
                  <a:lnTo>
                    <a:pt x="13684" y="44637"/>
                  </a:lnTo>
                  <a:lnTo>
                    <a:pt x="18897" y="50991"/>
                  </a:lnTo>
                  <a:lnTo>
                    <a:pt x="25902" y="56855"/>
                  </a:lnTo>
                  <a:lnTo>
                    <a:pt x="32582" y="60928"/>
                  </a:lnTo>
                  <a:lnTo>
                    <a:pt x="34048" y="66141"/>
                  </a:lnTo>
                  <a:lnTo>
                    <a:pt x="41542" y="68096"/>
                  </a:lnTo>
                  <a:lnTo>
                    <a:pt x="41705" y="74450"/>
                  </a:lnTo>
                  <a:lnTo>
                    <a:pt x="34537" y="79011"/>
                  </a:lnTo>
                  <a:lnTo>
                    <a:pt x="33722" y="84387"/>
                  </a:lnTo>
                  <a:lnTo>
                    <a:pt x="29487" y="86179"/>
                  </a:lnTo>
                  <a:lnTo>
                    <a:pt x="29649" y="94161"/>
                  </a:lnTo>
                  <a:lnTo>
                    <a:pt x="34374" y="101655"/>
                  </a:lnTo>
                  <a:lnTo>
                    <a:pt x="38283" y="118924"/>
                  </a:lnTo>
                  <a:lnTo>
                    <a:pt x="39587" y="126580"/>
                  </a:lnTo>
                  <a:lnTo>
                    <a:pt x="48873" y="134889"/>
                  </a:lnTo>
                  <a:lnTo>
                    <a:pt x="58484" y="137169"/>
                  </a:lnTo>
                  <a:lnTo>
                    <a:pt x="67444" y="140916"/>
                  </a:lnTo>
                  <a:lnTo>
                    <a:pt x="70539" y="147433"/>
                  </a:lnTo>
                  <a:lnTo>
                    <a:pt x="78359" y="149225"/>
                  </a:lnTo>
                  <a:lnTo>
                    <a:pt x="84387" y="146781"/>
                  </a:lnTo>
                  <a:lnTo>
                    <a:pt x="90903" y="148247"/>
                  </a:lnTo>
                  <a:lnTo>
                    <a:pt x="91555" y="153786"/>
                  </a:lnTo>
                  <a:close/>
                </a:path>
              </a:pathLst>
            </a:custGeom>
            <a:solidFill>
              <a:schemeClr val="bg2"/>
            </a:solidFill>
            <a:ln w="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9" name="Forma livre: Forma 218">
              <a:extLst>
                <a:ext uri="{FF2B5EF4-FFF2-40B4-BE49-F238E27FC236}">
                  <a16:creationId xmlns:a16="http://schemas.microsoft.com/office/drawing/2014/main" id="{608668B5-5595-5732-7A8A-720932CFC3A1}"/>
                </a:ext>
              </a:extLst>
            </p:cNvPr>
            <p:cNvSpPr/>
            <p:nvPr/>
          </p:nvSpPr>
          <p:spPr>
            <a:xfrm>
              <a:off x="7533850" y="3852826"/>
              <a:ext cx="351347" cy="292256"/>
            </a:xfrm>
            <a:custGeom>
              <a:avLst/>
              <a:gdLst>
                <a:gd name="connsiteX0" fmla="*/ 294703 w 339991"/>
                <a:gd name="connsiteY0" fmla="*/ 35677 h 282810"/>
                <a:gd name="connsiteX1" fmla="*/ 306269 w 339991"/>
                <a:gd name="connsiteY1" fmla="*/ 28183 h 282810"/>
                <a:gd name="connsiteX2" fmla="*/ 313600 w 339991"/>
                <a:gd name="connsiteY2" fmla="*/ 26554 h 282810"/>
                <a:gd name="connsiteX3" fmla="*/ 314903 w 339991"/>
                <a:gd name="connsiteY3" fmla="*/ 31930 h 282810"/>
                <a:gd name="connsiteX4" fmla="*/ 324515 w 339991"/>
                <a:gd name="connsiteY4" fmla="*/ 30790 h 282810"/>
                <a:gd name="connsiteX5" fmla="*/ 327936 w 339991"/>
                <a:gd name="connsiteY5" fmla="*/ 26717 h 282810"/>
                <a:gd name="connsiteX6" fmla="*/ 338688 w 339991"/>
                <a:gd name="connsiteY6" fmla="*/ 26717 h 282810"/>
                <a:gd name="connsiteX7" fmla="*/ 339991 w 339991"/>
                <a:gd name="connsiteY7" fmla="*/ 31115 h 282810"/>
                <a:gd name="connsiteX8" fmla="*/ 332172 w 339991"/>
                <a:gd name="connsiteY8" fmla="*/ 37632 h 282810"/>
                <a:gd name="connsiteX9" fmla="*/ 336244 w 339991"/>
                <a:gd name="connsiteY9" fmla="*/ 38772 h 282810"/>
                <a:gd name="connsiteX10" fmla="*/ 331032 w 339991"/>
                <a:gd name="connsiteY10" fmla="*/ 47732 h 282810"/>
                <a:gd name="connsiteX11" fmla="*/ 319628 w 339991"/>
                <a:gd name="connsiteY11" fmla="*/ 52457 h 282810"/>
                <a:gd name="connsiteX12" fmla="*/ 294214 w 339991"/>
                <a:gd name="connsiteY12" fmla="*/ 57670 h 282810"/>
                <a:gd name="connsiteX13" fmla="*/ 288186 w 339991"/>
                <a:gd name="connsiteY13" fmla="*/ 54249 h 282810"/>
                <a:gd name="connsiteX14" fmla="*/ 279715 w 339991"/>
                <a:gd name="connsiteY14" fmla="*/ 58810 h 282810"/>
                <a:gd name="connsiteX15" fmla="*/ 273524 w 339991"/>
                <a:gd name="connsiteY15" fmla="*/ 64349 h 282810"/>
                <a:gd name="connsiteX16" fmla="*/ 266519 w 339991"/>
                <a:gd name="connsiteY16" fmla="*/ 64349 h 282810"/>
                <a:gd name="connsiteX17" fmla="*/ 262446 w 339991"/>
                <a:gd name="connsiteY17" fmla="*/ 70540 h 282810"/>
                <a:gd name="connsiteX18" fmla="*/ 257559 w 339991"/>
                <a:gd name="connsiteY18" fmla="*/ 75427 h 282810"/>
                <a:gd name="connsiteX19" fmla="*/ 268637 w 339991"/>
                <a:gd name="connsiteY19" fmla="*/ 91555 h 282810"/>
                <a:gd name="connsiteX20" fmla="*/ 269451 w 339991"/>
                <a:gd name="connsiteY20" fmla="*/ 102633 h 282810"/>
                <a:gd name="connsiteX21" fmla="*/ 257233 w 339991"/>
                <a:gd name="connsiteY21" fmla="*/ 118598 h 282810"/>
                <a:gd name="connsiteX22" fmla="*/ 263587 w 339991"/>
                <a:gd name="connsiteY22" fmla="*/ 124463 h 282810"/>
                <a:gd name="connsiteX23" fmla="*/ 263587 w 339991"/>
                <a:gd name="connsiteY23" fmla="*/ 131468 h 282810"/>
                <a:gd name="connsiteX24" fmla="*/ 256908 w 339991"/>
                <a:gd name="connsiteY24" fmla="*/ 141405 h 282810"/>
                <a:gd name="connsiteX25" fmla="*/ 247296 w 339991"/>
                <a:gd name="connsiteY25" fmla="*/ 141405 h 282810"/>
                <a:gd name="connsiteX26" fmla="*/ 238010 w 339991"/>
                <a:gd name="connsiteY26" fmla="*/ 137658 h 282810"/>
                <a:gd name="connsiteX27" fmla="*/ 231819 w 339991"/>
                <a:gd name="connsiteY27" fmla="*/ 141731 h 282810"/>
                <a:gd name="connsiteX28" fmla="*/ 234589 w 339991"/>
                <a:gd name="connsiteY28" fmla="*/ 148410 h 282810"/>
                <a:gd name="connsiteX29" fmla="*/ 239965 w 339991"/>
                <a:gd name="connsiteY29" fmla="*/ 151342 h 282810"/>
                <a:gd name="connsiteX30" fmla="*/ 243060 w 339991"/>
                <a:gd name="connsiteY30" fmla="*/ 158348 h 282810"/>
                <a:gd name="connsiteX31" fmla="*/ 241920 w 339991"/>
                <a:gd name="connsiteY31" fmla="*/ 162746 h 282810"/>
                <a:gd name="connsiteX32" fmla="*/ 235892 w 339991"/>
                <a:gd name="connsiteY32" fmla="*/ 166004 h 282810"/>
                <a:gd name="connsiteX33" fmla="*/ 230191 w 339991"/>
                <a:gd name="connsiteY33" fmla="*/ 166656 h 282810"/>
                <a:gd name="connsiteX34" fmla="*/ 228235 w 339991"/>
                <a:gd name="connsiteY34" fmla="*/ 170240 h 282810"/>
                <a:gd name="connsiteX35" fmla="*/ 227421 w 339991"/>
                <a:gd name="connsiteY35" fmla="*/ 179363 h 282810"/>
                <a:gd name="connsiteX36" fmla="*/ 225629 w 339991"/>
                <a:gd name="connsiteY36" fmla="*/ 185228 h 282810"/>
                <a:gd name="connsiteX37" fmla="*/ 225466 w 339991"/>
                <a:gd name="connsiteY37" fmla="*/ 188812 h 282810"/>
                <a:gd name="connsiteX38" fmla="*/ 223511 w 339991"/>
                <a:gd name="connsiteY38" fmla="*/ 190930 h 282810"/>
                <a:gd name="connsiteX39" fmla="*/ 225466 w 339991"/>
                <a:gd name="connsiteY39" fmla="*/ 202333 h 282810"/>
                <a:gd name="connsiteX40" fmla="*/ 219927 w 339991"/>
                <a:gd name="connsiteY40" fmla="*/ 210479 h 282810"/>
                <a:gd name="connsiteX41" fmla="*/ 215040 w 339991"/>
                <a:gd name="connsiteY41" fmla="*/ 204288 h 282810"/>
                <a:gd name="connsiteX42" fmla="*/ 212108 w 339991"/>
                <a:gd name="connsiteY42" fmla="*/ 204288 h 282810"/>
                <a:gd name="connsiteX43" fmla="*/ 211782 w 339991"/>
                <a:gd name="connsiteY43" fmla="*/ 207709 h 282810"/>
                <a:gd name="connsiteX44" fmla="*/ 205591 w 339991"/>
                <a:gd name="connsiteY44" fmla="*/ 207383 h 282810"/>
                <a:gd name="connsiteX45" fmla="*/ 202496 w 339991"/>
                <a:gd name="connsiteY45" fmla="*/ 205265 h 282810"/>
                <a:gd name="connsiteX46" fmla="*/ 196468 w 339991"/>
                <a:gd name="connsiteY46" fmla="*/ 205917 h 282810"/>
                <a:gd name="connsiteX47" fmla="*/ 194839 w 339991"/>
                <a:gd name="connsiteY47" fmla="*/ 209175 h 282810"/>
                <a:gd name="connsiteX48" fmla="*/ 185228 w 339991"/>
                <a:gd name="connsiteY48" fmla="*/ 216506 h 282810"/>
                <a:gd name="connsiteX49" fmla="*/ 189463 w 339991"/>
                <a:gd name="connsiteY49" fmla="*/ 217809 h 282810"/>
                <a:gd name="connsiteX50" fmla="*/ 186531 w 339991"/>
                <a:gd name="connsiteY50" fmla="*/ 221556 h 282810"/>
                <a:gd name="connsiteX51" fmla="*/ 177082 w 339991"/>
                <a:gd name="connsiteY51" fmla="*/ 225792 h 282810"/>
                <a:gd name="connsiteX52" fmla="*/ 174150 w 339991"/>
                <a:gd name="connsiteY52" fmla="*/ 223674 h 282810"/>
                <a:gd name="connsiteX53" fmla="*/ 167959 w 339991"/>
                <a:gd name="connsiteY53" fmla="*/ 224977 h 282810"/>
                <a:gd name="connsiteX54" fmla="*/ 166004 w 339991"/>
                <a:gd name="connsiteY54" fmla="*/ 228887 h 282810"/>
                <a:gd name="connsiteX55" fmla="*/ 165027 w 339991"/>
                <a:gd name="connsiteY55" fmla="*/ 232960 h 282810"/>
                <a:gd name="connsiteX56" fmla="*/ 160139 w 339991"/>
                <a:gd name="connsiteY56" fmla="*/ 234589 h 282810"/>
                <a:gd name="connsiteX57" fmla="*/ 156882 w 339991"/>
                <a:gd name="connsiteY57" fmla="*/ 238825 h 282810"/>
                <a:gd name="connsiteX58" fmla="*/ 157207 w 339991"/>
                <a:gd name="connsiteY58" fmla="*/ 245830 h 282810"/>
                <a:gd name="connsiteX59" fmla="*/ 159162 w 339991"/>
                <a:gd name="connsiteY59" fmla="*/ 254138 h 282810"/>
                <a:gd name="connsiteX60" fmla="*/ 158673 w 339991"/>
                <a:gd name="connsiteY60" fmla="*/ 259514 h 282810"/>
                <a:gd name="connsiteX61" fmla="*/ 160791 w 339991"/>
                <a:gd name="connsiteY61" fmla="*/ 264401 h 282810"/>
                <a:gd name="connsiteX62" fmla="*/ 159651 w 339991"/>
                <a:gd name="connsiteY62" fmla="*/ 269289 h 282810"/>
                <a:gd name="connsiteX63" fmla="*/ 149550 w 339991"/>
                <a:gd name="connsiteY63" fmla="*/ 273524 h 282810"/>
                <a:gd name="connsiteX64" fmla="*/ 140591 w 339991"/>
                <a:gd name="connsiteY64" fmla="*/ 273362 h 282810"/>
                <a:gd name="connsiteX65" fmla="*/ 132608 w 339991"/>
                <a:gd name="connsiteY65" fmla="*/ 274339 h 282810"/>
                <a:gd name="connsiteX66" fmla="*/ 118923 w 339991"/>
                <a:gd name="connsiteY66" fmla="*/ 275154 h 282810"/>
                <a:gd name="connsiteX67" fmla="*/ 109964 w 339991"/>
                <a:gd name="connsiteY67" fmla="*/ 277597 h 282810"/>
                <a:gd name="connsiteX68" fmla="*/ 106705 w 339991"/>
                <a:gd name="connsiteY68" fmla="*/ 280204 h 282810"/>
                <a:gd name="connsiteX69" fmla="*/ 98723 w 339991"/>
                <a:gd name="connsiteY69" fmla="*/ 279715 h 282810"/>
                <a:gd name="connsiteX70" fmla="*/ 90089 w 339991"/>
                <a:gd name="connsiteY70" fmla="*/ 281996 h 282810"/>
                <a:gd name="connsiteX71" fmla="*/ 60602 w 339991"/>
                <a:gd name="connsiteY71" fmla="*/ 282810 h 282810"/>
                <a:gd name="connsiteX72" fmla="*/ 25577 w 339991"/>
                <a:gd name="connsiteY72" fmla="*/ 272873 h 282810"/>
                <a:gd name="connsiteX73" fmla="*/ 44637 w 339991"/>
                <a:gd name="connsiteY73" fmla="*/ 246807 h 282810"/>
                <a:gd name="connsiteX74" fmla="*/ 46755 w 339991"/>
                <a:gd name="connsiteY74" fmla="*/ 243712 h 282810"/>
                <a:gd name="connsiteX75" fmla="*/ 44148 w 339991"/>
                <a:gd name="connsiteY75" fmla="*/ 233449 h 282810"/>
                <a:gd name="connsiteX76" fmla="*/ 44637 w 339991"/>
                <a:gd name="connsiteY76" fmla="*/ 226444 h 282810"/>
                <a:gd name="connsiteX77" fmla="*/ 40564 w 339991"/>
                <a:gd name="connsiteY77" fmla="*/ 217647 h 282810"/>
                <a:gd name="connsiteX78" fmla="*/ 18246 w 339991"/>
                <a:gd name="connsiteY78" fmla="*/ 217321 h 282810"/>
                <a:gd name="connsiteX79" fmla="*/ 17594 w 339991"/>
                <a:gd name="connsiteY79" fmla="*/ 207872 h 282810"/>
                <a:gd name="connsiteX80" fmla="*/ 14987 w 339991"/>
                <a:gd name="connsiteY80" fmla="*/ 203311 h 282810"/>
                <a:gd name="connsiteX81" fmla="*/ 16780 w 339991"/>
                <a:gd name="connsiteY81" fmla="*/ 199727 h 282810"/>
                <a:gd name="connsiteX82" fmla="*/ 13196 w 339991"/>
                <a:gd name="connsiteY82" fmla="*/ 187834 h 282810"/>
                <a:gd name="connsiteX83" fmla="*/ 6353 w 339991"/>
                <a:gd name="connsiteY83" fmla="*/ 174476 h 282810"/>
                <a:gd name="connsiteX84" fmla="*/ 7657 w 339991"/>
                <a:gd name="connsiteY84" fmla="*/ 167959 h 282810"/>
                <a:gd name="connsiteX85" fmla="*/ 15476 w 339991"/>
                <a:gd name="connsiteY85" fmla="*/ 158185 h 282810"/>
                <a:gd name="connsiteX86" fmla="*/ 13359 w 339991"/>
                <a:gd name="connsiteY86" fmla="*/ 158185 h 282810"/>
                <a:gd name="connsiteX87" fmla="*/ 4724 w 339991"/>
                <a:gd name="connsiteY87" fmla="*/ 156067 h 282810"/>
                <a:gd name="connsiteX88" fmla="*/ 4724 w 339991"/>
                <a:gd name="connsiteY88" fmla="*/ 151180 h 282810"/>
                <a:gd name="connsiteX89" fmla="*/ 2932 w 339991"/>
                <a:gd name="connsiteY89" fmla="*/ 141894 h 282810"/>
                <a:gd name="connsiteX90" fmla="*/ 1792 w 339991"/>
                <a:gd name="connsiteY90" fmla="*/ 140753 h 282810"/>
                <a:gd name="connsiteX91" fmla="*/ 6516 w 339991"/>
                <a:gd name="connsiteY91" fmla="*/ 134074 h 282810"/>
                <a:gd name="connsiteX92" fmla="*/ 2280 w 339991"/>
                <a:gd name="connsiteY92" fmla="*/ 130653 h 282810"/>
                <a:gd name="connsiteX93" fmla="*/ 0 w 339991"/>
                <a:gd name="connsiteY93" fmla="*/ 127232 h 282810"/>
                <a:gd name="connsiteX94" fmla="*/ 5539 w 339991"/>
                <a:gd name="connsiteY94" fmla="*/ 125766 h 282810"/>
                <a:gd name="connsiteX95" fmla="*/ 12218 w 339991"/>
                <a:gd name="connsiteY95" fmla="*/ 121367 h 282810"/>
                <a:gd name="connsiteX96" fmla="*/ 11892 w 339991"/>
                <a:gd name="connsiteY96" fmla="*/ 117946 h 282810"/>
                <a:gd name="connsiteX97" fmla="*/ 13196 w 339991"/>
                <a:gd name="connsiteY97" fmla="*/ 116643 h 282810"/>
                <a:gd name="connsiteX98" fmla="*/ 9775 w 339991"/>
                <a:gd name="connsiteY98" fmla="*/ 112244 h 282810"/>
                <a:gd name="connsiteX99" fmla="*/ 11729 w 339991"/>
                <a:gd name="connsiteY99" fmla="*/ 108334 h 282810"/>
                <a:gd name="connsiteX100" fmla="*/ 11078 w 339991"/>
                <a:gd name="connsiteY100" fmla="*/ 104914 h 282810"/>
                <a:gd name="connsiteX101" fmla="*/ 11566 w 339991"/>
                <a:gd name="connsiteY101" fmla="*/ 97745 h 282810"/>
                <a:gd name="connsiteX102" fmla="*/ 11241 w 339991"/>
                <a:gd name="connsiteY102" fmla="*/ 97094 h 282810"/>
                <a:gd name="connsiteX103" fmla="*/ 13684 w 339991"/>
                <a:gd name="connsiteY103" fmla="*/ 96279 h 282810"/>
                <a:gd name="connsiteX104" fmla="*/ 19386 w 339991"/>
                <a:gd name="connsiteY104" fmla="*/ 97745 h 282810"/>
                <a:gd name="connsiteX105" fmla="*/ 23459 w 339991"/>
                <a:gd name="connsiteY105" fmla="*/ 100841 h 282810"/>
                <a:gd name="connsiteX106" fmla="*/ 27694 w 339991"/>
                <a:gd name="connsiteY106" fmla="*/ 100841 h 282810"/>
                <a:gd name="connsiteX107" fmla="*/ 30953 w 339991"/>
                <a:gd name="connsiteY107" fmla="*/ 97745 h 282810"/>
                <a:gd name="connsiteX108" fmla="*/ 35514 w 339991"/>
                <a:gd name="connsiteY108" fmla="*/ 97745 h 282810"/>
                <a:gd name="connsiteX109" fmla="*/ 41216 w 339991"/>
                <a:gd name="connsiteY109" fmla="*/ 101981 h 282810"/>
                <a:gd name="connsiteX110" fmla="*/ 42682 w 339991"/>
                <a:gd name="connsiteY110" fmla="*/ 105565 h 282810"/>
                <a:gd name="connsiteX111" fmla="*/ 44800 w 339991"/>
                <a:gd name="connsiteY111" fmla="*/ 107683 h 282810"/>
                <a:gd name="connsiteX112" fmla="*/ 47407 w 339991"/>
                <a:gd name="connsiteY112" fmla="*/ 104914 h 282810"/>
                <a:gd name="connsiteX113" fmla="*/ 54737 w 339991"/>
                <a:gd name="connsiteY113" fmla="*/ 103773 h 282810"/>
                <a:gd name="connsiteX114" fmla="*/ 58484 w 339991"/>
                <a:gd name="connsiteY114" fmla="*/ 99538 h 282810"/>
                <a:gd name="connsiteX115" fmla="*/ 59299 w 339991"/>
                <a:gd name="connsiteY115" fmla="*/ 96279 h 282810"/>
                <a:gd name="connsiteX116" fmla="*/ 62557 w 339991"/>
                <a:gd name="connsiteY116" fmla="*/ 93347 h 282810"/>
                <a:gd name="connsiteX117" fmla="*/ 61254 w 339991"/>
                <a:gd name="connsiteY117" fmla="*/ 89763 h 282810"/>
                <a:gd name="connsiteX118" fmla="*/ 69236 w 339991"/>
                <a:gd name="connsiteY118" fmla="*/ 85527 h 282810"/>
                <a:gd name="connsiteX119" fmla="*/ 79174 w 339991"/>
                <a:gd name="connsiteY119" fmla="*/ 83572 h 282810"/>
                <a:gd name="connsiteX120" fmla="*/ 79988 w 339991"/>
                <a:gd name="connsiteY120" fmla="*/ 80966 h 282810"/>
                <a:gd name="connsiteX121" fmla="*/ 83898 w 339991"/>
                <a:gd name="connsiteY121" fmla="*/ 77871 h 282810"/>
                <a:gd name="connsiteX122" fmla="*/ 87971 w 339991"/>
                <a:gd name="connsiteY122" fmla="*/ 76893 h 282810"/>
                <a:gd name="connsiteX123" fmla="*/ 89600 w 339991"/>
                <a:gd name="connsiteY123" fmla="*/ 70051 h 282810"/>
                <a:gd name="connsiteX124" fmla="*/ 89763 w 339991"/>
                <a:gd name="connsiteY124" fmla="*/ 63697 h 282810"/>
                <a:gd name="connsiteX125" fmla="*/ 95628 w 339991"/>
                <a:gd name="connsiteY125" fmla="*/ 57344 h 282810"/>
                <a:gd name="connsiteX126" fmla="*/ 95628 w 339991"/>
                <a:gd name="connsiteY126" fmla="*/ 51968 h 282810"/>
                <a:gd name="connsiteX127" fmla="*/ 93347 w 339991"/>
                <a:gd name="connsiteY127" fmla="*/ 50176 h 282810"/>
                <a:gd name="connsiteX128" fmla="*/ 93673 w 339991"/>
                <a:gd name="connsiteY128" fmla="*/ 46918 h 282810"/>
                <a:gd name="connsiteX129" fmla="*/ 96279 w 339991"/>
                <a:gd name="connsiteY129" fmla="*/ 45777 h 282810"/>
                <a:gd name="connsiteX130" fmla="*/ 99049 w 339991"/>
                <a:gd name="connsiteY130" fmla="*/ 43823 h 282810"/>
                <a:gd name="connsiteX131" fmla="*/ 105728 w 339991"/>
                <a:gd name="connsiteY131" fmla="*/ 42031 h 282810"/>
                <a:gd name="connsiteX132" fmla="*/ 107846 w 339991"/>
                <a:gd name="connsiteY132" fmla="*/ 42193 h 282810"/>
                <a:gd name="connsiteX133" fmla="*/ 115503 w 339991"/>
                <a:gd name="connsiteY133" fmla="*/ 36491 h 282810"/>
                <a:gd name="connsiteX134" fmla="*/ 121530 w 339991"/>
                <a:gd name="connsiteY134" fmla="*/ 34699 h 282810"/>
                <a:gd name="connsiteX135" fmla="*/ 126580 w 339991"/>
                <a:gd name="connsiteY135" fmla="*/ 37795 h 282810"/>
                <a:gd name="connsiteX136" fmla="*/ 132119 w 339991"/>
                <a:gd name="connsiteY136" fmla="*/ 36491 h 282810"/>
                <a:gd name="connsiteX137" fmla="*/ 134074 w 339991"/>
                <a:gd name="connsiteY137" fmla="*/ 38447 h 282810"/>
                <a:gd name="connsiteX138" fmla="*/ 142382 w 339991"/>
                <a:gd name="connsiteY138" fmla="*/ 36166 h 282810"/>
                <a:gd name="connsiteX139" fmla="*/ 147921 w 339991"/>
                <a:gd name="connsiteY139" fmla="*/ 38772 h 282810"/>
                <a:gd name="connsiteX140" fmla="*/ 151017 w 339991"/>
                <a:gd name="connsiteY140" fmla="*/ 43334 h 282810"/>
                <a:gd name="connsiteX141" fmla="*/ 154438 w 339991"/>
                <a:gd name="connsiteY141" fmla="*/ 43497 h 282810"/>
                <a:gd name="connsiteX142" fmla="*/ 158673 w 339991"/>
                <a:gd name="connsiteY142" fmla="*/ 39750 h 282810"/>
                <a:gd name="connsiteX143" fmla="*/ 163072 w 339991"/>
                <a:gd name="connsiteY143" fmla="*/ 40076 h 282810"/>
                <a:gd name="connsiteX144" fmla="*/ 168611 w 339991"/>
                <a:gd name="connsiteY144" fmla="*/ 47244 h 282810"/>
                <a:gd name="connsiteX145" fmla="*/ 172521 w 339991"/>
                <a:gd name="connsiteY145" fmla="*/ 48873 h 282810"/>
                <a:gd name="connsiteX146" fmla="*/ 180992 w 339991"/>
                <a:gd name="connsiteY146" fmla="*/ 47081 h 282810"/>
                <a:gd name="connsiteX147" fmla="*/ 186531 w 339991"/>
                <a:gd name="connsiteY147" fmla="*/ 43985 h 282810"/>
                <a:gd name="connsiteX148" fmla="*/ 189300 w 339991"/>
                <a:gd name="connsiteY148" fmla="*/ 39913 h 282810"/>
                <a:gd name="connsiteX149" fmla="*/ 192233 w 339991"/>
                <a:gd name="connsiteY149" fmla="*/ 39261 h 282810"/>
                <a:gd name="connsiteX150" fmla="*/ 195165 w 339991"/>
                <a:gd name="connsiteY150" fmla="*/ 36491 h 282810"/>
                <a:gd name="connsiteX151" fmla="*/ 197771 w 339991"/>
                <a:gd name="connsiteY151" fmla="*/ 38447 h 282810"/>
                <a:gd name="connsiteX152" fmla="*/ 200541 w 339991"/>
                <a:gd name="connsiteY152" fmla="*/ 42031 h 282810"/>
                <a:gd name="connsiteX153" fmla="*/ 209338 w 339991"/>
                <a:gd name="connsiteY153" fmla="*/ 42845 h 282810"/>
                <a:gd name="connsiteX154" fmla="*/ 209175 w 339991"/>
                <a:gd name="connsiteY154" fmla="*/ 38772 h 282810"/>
                <a:gd name="connsiteX155" fmla="*/ 206732 w 339991"/>
                <a:gd name="connsiteY155" fmla="*/ 36329 h 282810"/>
                <a:gd name="connsiteX156" fmla="*/ 207220 w 339991"/>
                <a:gd name="connsiteY156" fmla="*/ 32907 h 282810"/>
                <a:gd name="connsiteX157" fmla="*/ 212759 w 339991"/>
                <a:gd name="connsiteY157" fmla="*/ 31441 h 282810"/>
                <a:gd name="connsiteX158" fmla="*/ 214714 w 339991"/>
                <a:gd name="connsiteY158" fmla="*/ 28672 h 282810"/>
                <a:gd name="connsiteX159" fmla="*/ 217321 w 339991"/>
                <a:gd name="connsiteY159" fmla="*/ 28672 h 282810"/>
                <a:gd name="connsiteX160" fmla="*/ 217973 w 339991"/>
                <a:gd name="connsiteY160" fmla="*/ 31441 h 282810"/>
                <a:gd name="connsiteX161" fmla="*/ 223511 w 339991"/>
                <a:gd name="connsiteY161" fmla="*/ 30790 h 282810"/>
                <a:gd name="connsiteX162" fmla="*/ 227095 w 339991"/>
                <a:gd name="connsiteY162" fmla="*/ 25251 h 282810"/>
                <a:gd name="connsiteX163" fmla="*/ 225792 w 339991"/>
                <a:gd name="connsiteY163" fmla="*/ 18246 h 282810"/>
                <a:gd name="connsiteX164" fmla="*/ 228073 w 339991"/>
                <a:gd name="connsiteY164" fmla="*/ 14825 h 282810"/>
                <a:gd name="connsiteX165" fmla="*/ 231168 w 339991"/>
                <a:gd name="connsiteY165" fmla="*/ 12055 h 282810"/>
                <a:gd name="connsiteX166" fmla="*/ 231982 w 339991"/>
                <a:gd name="connsiteY166" fmla="*/ 4724 h 282810"/>
                <a:gd name="connsiteX167" fmla="*/ 234589 w 339991"/>
                <a:gd name="connsiteY167" fmla="*/ 0 h 282810"/>
                <a:gd name="connsiteX168" fmla="*/ 240780 w 339991"/>
                <a:gd name="connsiteY168" fmla="*/ 0 h 282810"/>
                <a:gd name="connsiteX169" fmla="*/ 245178 w 339991"/>
                <a:gd name="connsiteY169" fmla="*/ 3258 h 282810"/>
                <a:gd name="connsiteX170" fmla="*/ 249740 w 339991"/>
                <a:gd name="connsiteY170" fmla="*/ 5539 h 282810"/>
                <a:gd name="connsiteX171" fmla="*/ 249740 w 339991"/>
                <a:gd name="connsiteY171" fmla="*/ 9612 h 282810"/>
                <a:gd name="connsiteX172" fmla="*/ 248599 w 339991"/>
                <a:gd name="connsiteY172" fmla="*/ 15476 h 282810"/>
                <a:gd name="connsiteX173" fmla="*/ 250066 w 339991"/>
                <a:gd name="connsiteY173" fmla="*/ 20364 h 282810"/>
                <a:gd name="connsiteX174" fmla="*/ 254301 w 339991"/>
                <a:gd name="connsiteY174" fmla="*/ 20201 h 282810"/>
                <a:gd name="connsiteX175" fmla="*/ 256256 w 339991"/>
                <a:gd name="connsiteY175" fmla="*/ 24925 h 282810"/>
                <a:gd name="connsiteX176" fmla="*/ 255767 w 339991"/>
                <a:gd name="connsiteY176" fmla="*/ 31441 h 282810"/>
                <a:gd name="connsiteX177" fmla="*/ 256582 w 339991"/>
                <a:gd name="connsiteY177" fmla="*/ 36491 h 282810"/>
                <a:gd name="connsiteX178" fmla="*/ 256908 w 339991"/>
                <a:gd name="connsiteY178" fmla="*/ 46429 h 282810"/>
                <a:gd name="connsiteX179" fmla="*/ 260817 w 339991"/>
                <a:gd name="connsiteY179" fmla="*/ 51642 h 282810"/>
                <a:gd name="connsiteX180" fmla="*/ 260817 w 339991"/>
                <a:gd name="connsiteY180" fmla="*/ 55226 h 282810"/>
                <a:gd name="connsiteX181" fmla="*/ 265379 w 339991"/>
                <a:gd name="connsiteY181" fmla="*/ 57018 h 282810"/>
                <a:gd name="connsiteX182" fmla="*/ 271895 w 339991"/>
                <a:gd name="connsiteY182" fmla="*/ 57018 h 282810"/>
                <a:gd name="connsiteX183" fmla="*/ 276294 w 339991"/>
                <a:gd name="connsiteY183" fmla="*/ 53597 h 282810"/>
                <a:gd name="connsiteX184" fmla="*/ 277271 w 339991"/>
                <a:gd name="connsiteY184" fmla="*/ 51153 h 282810"/>
                <a:gd name="connsiteX185" fmla="*/ 286068 w 339991"/>
                <a:gd name="connsiteY185" fmla="*/ 47081 h 282810"/>
                <a:gd name="connsiteX186" fmla="*/ 290141 w 339991"/>
                <a:gd name="connsiteY186" fmla="*/ 43334 h 282810"/>
                <a:gd name="connsiteX187" fmla="*/ 291282 w 339991"/>
                <a:gd name="connsiteY187" fmla="*/ 38609 h 282810"/>
                <a:gd name="connsiteX188" fmla="*/ 294703 w 339991"/>
                <a:gd name="connsiteY188" fmla="*/ 35677 h 2828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</a:cxnLst>
              <a:rect l="l" t="t" r="r" b="b"/>
              <a:pathLst>
                <a:path w="339991" h="282810">
                  <a:moveTo>
                    <a:pt x="294703" y="35677"/>
                  </a:moveTo>
                  <a:lnTo>
                    <a:pt x="306269" y="28183"/>
                  </a:lnTo>
                  <a:lnTo>
                    <a:pt x="313600" y="26554"/>
                  </a:lnTo>
                  <a:lnTo>
                    <a:pt x="314903" y="31930"/>
                  </a:lnTo>
                  <a:lnTo>
                    <a:pt x="324515" y="30790"/>
                  </a:lnTo>
                  <a:lnTo>
                    <a:pt x="327936" y="26717"/>
                  </a:lnTo>
                  <a:lnTo>
                    <a:pt x="338688" y="26717"/>
                  </a:lnTo>
                  <a:lnTo>
                    <a:pt x="339991" y="31115"/>
                  </a:lnTo>
                  <a:lnTo>
                    <a:pt x="332172" y="37632"/>
                  </a:lnTo>
                  <a:lnTo>
                    <a:pt x="336244" y="38772"/>
                  </a:lnTo>
                  <a:lnTo>
                    <a:pt x="331032" y="47732"/>
                  </a:lnTo>
                  <a:lnTo>
                    <a:pt x="319628" y="52457"/>
                  </a:lnTo>
                  <a:lnTo>
                    <a:pt x="294214" y="57670"/>
                  </a:lnTo>
                  <a:lnTo>
                    <a:pt x="288186" y="54249"/>
                  </a:lnTo>
                  <a:lnTo>
                    <a:pt x="279715" y="58810"/>
                  </a:lnTo>
                  <a:lnTo>
                    <a:pt x="273524" y="64349"/>
                  </a:lnTo>
                  <a:lnTo>
                    <a:pt x="266519" y="64349"/>
                  </a:lnTo>
                  <a:lnTo>
                    <a:pt x="262446" y="70540"/>
                  </a:lnTo>
                  <a:lnTo>
                    <a:pt x="257559" y="75427"/>
                  </a:lnTo>
                  <a:lnTo>
                    <a:pt x="268637" y="91555"/>
                  </a:lnTo>
                  <a:lnTo>
                    <a:pt x="269451" y="102633"/>
                  </a:lnTo>
                  <a:lnTo>
                    <a:pt x="257233" y="118598"/>
                  </a:lnTo>
                  <a:lnTo>
                    <a:pt x="263587" y="124463"/>
                  </a:lnTo>
                  <a:lnTo>
                    <a:pt x="263587" y="131468"/>
                  </a:lnTo>
                  <a:lnTo>
                    <a:pt x="256908" y="141405"/>
                  </a:lnTo>
                  <a:lnTo>
                    <a:pt x="247296" y="141405"/>
                  </a:lnTo>
                  <a:lnTo>
                    <a:pt x="238010" y="137658"/>
                  </a:lnTo>
                  <a:lnTo>
                    <a:pt x="231819" y="141731"/>
                  </a:lnTo>
                  <a:lnTo>
                    <a:pt x="234589" y="148410"/>
                  </a:lnTo>
                  <a:lnTo>
                    <a:pt x="239965" y="151342"/>
                  </a:lnTo>
                  <a:lnTo>
                    <a:pt x="243060" y="158348"/>
                  </a:lnTo>
                  <a:lnTo>
                    <a:pt x="241920" y="162746"/>
                  </a:lnTo>
                  <a:lnTo>
                    <a:pt x="235892" y="166004"/>
                  </a:lnTo>
                  <a:lnTo>
                    <a:pt x="230191" y="166656"/>
                  </a:lnTo>
                  <a:lnTo>
                    <a:pt x="228235" y="170240"/>
                  </a:lnTo>
                  <a:lnTo>
                    <a:pt x="227421" y="179363"/>
                  </a:lnTo>
                  <a:lnTo>
                    <a:pt x="225629" y="185228"/>
                  </a:lnTo>
                  <a:lnTo>
                    <a:pt x="225466" y="188812"/>
                  </a:lnTo>
                  <a:lnTo>
                    <a:pt x="223511" y="190930"/>
                  </a:lnTo>
                  <a:lnTo>
                    <a:pt x="225466" y="202333"/>
                  </a:lnTo>
                  <a:lnTo>
                    <a:pt x="219927" y="210479"/>
                  </a:lnTo>
                  <a:lnTo>
                    <a:pt x="215040" y="204288"/>
                  </a:lnTo>
                  <a:lnTo>
                    <a:pt x="212108" y="204288"/>
                  </a:lnTo>
                  <a:lnTo>
                    <a:pt x="211782" y="207709"/>
                  </a:lnTo>
                  <a:lnTo>
                    <a:pt x="205591" y="207383"/>
                  </a:lnTo>
                  <a:lnTo>
                    <a:pt x="202496" y="205265"/>
                  </a:lnTo>
                  <a:lnTo>
                    <a:pt x="196468" y="205917"/>
                  </a:lnTo>
                  <a:lnTo>
                    <a:pt x="194839" y="209175"/>
                  </a:lnTo>
                  <a:lnTo>
                    <a:pt x="185228" y="216506"/>
                  </a:lnTo>
                  <a:lnTo>
                    <a:pt x="189463" y="217809"/>
                  </a:lnTo>
                  <a:lnTo>
                    <a:pt x="186531" y="221556"/>
                  </a:lnTo>
                  <a:lnTo>
                    <a:pt x="177082" y="225792"/>
                  </a:lnTo>
                  <a:lnTo>
                    <a:pt x="174150" y="223674"/>
                  </a:lnTo>
                  <a:lnTo>
                    <a:pt x="167959" y="224977"/>
                  </a:lnTo>
                  <a:lnTo>
                    <a:pt x="166004" y="228887"/>
                  </a:lnTo>
                  <a:lnTo>
                    <a:pt x="165027" y="232960"/>
                  </a:lnTo>
                  <a:lnTo>
                    <a:pt x="160139" y="234589"/>
                  </a:lnTo>
                  <a:lnTo>
                    <a:pt x="156882" y="238825"/>
                  </a:lnTo>
                  <a:lnTo>
                    <a:pt x="157207" y="245830"/>
                  </a:lnTo>
                  <a:lnTo>
                    <a:pt x="159162" y="254138"/>
                  </a:lnTo>
                  <a:lnTo>
                    <a:pt x="158673" y="259514"/>
                  </a:lnTo>
                  <a:lnTo>
                    <a:pt x="160791" y="264401"/>
                  </a:lnTo>
                  <a:lnTo>
                    <a:pt x="159651" y="269289"/>
                  </a:lnTo>
                  <a:lnTo>
                    <a:pt x="149550" y="273524"/>
                  </a:lnTo>
                  <a:lnTo>
                    <a:pt x="140591" y="273362"/>
                  </a:lnTo>
                  <a:lnTo>
                    <a:pt x="132608" y="274339"/>
                  </a:lnTo>
                  <a:lnTo>
                    <a:pt x="118923" y="275154"/>
                  </a:lnTo>
                  <a:lnTo>
                    <a:pt x="109964" y="277597"/>
                  </a:lnTo>
                  <a:lnTo>
                    <a:pt x="106705" y="280204"/>
                  </a:lnTo>
                  <a:lnTo>
                    <a:pt x="98723" y="279715"/>
                  </a:lnTo>
                  <a:lnTo>
                    <a:pt x="90089" y="281996"/>
                  </a:lnTo>
                  <a:lnTo>
                    <a:pt x="60602" y="282810"/>
                  </a:lnTo>
                  <a:lnTo>
                    <a:pt x="25577" y="272873"/>
                  </a:lnTo>
                  <a:lnTo>
                    <a:pt x="44637" y="246807"/>
                  </a:lnTo>
                  <a:lnTo>
                    <a:pt x="46755" y="243712"/>
                  </a:lnTo>
                  <a:lnTo>
                    <a:pt x="44148" y="233449"/>
                  </a:lnTo>
                  <a:lnTo>
                    <a:pt x="44637" y="226444"/>
                  </a:lnTo>
                  <a:lnTo>
                    <a:pt x="40564" y="217647"/>
                  </a:lnTo>
                  <a:lnTo>
                    <a:pt x="18246" y="217321"/>
                  </a:lnTo>
                  <a:lnTo>
                    <a:pt x="17594" y="207872"/>
                  </a:lnTo>
                  <a:lnTo>
                    <a:pt x="14987" y="203311"/>
                  </a:lnTo>
                  <a:lnTo>
                    <a:pt x="16780" y="199727"/>
                  </a:lnTo>
                  <a:lnTo>
                    <a:pt x="13196" y="187834"/>
                  </a:lnTo>
                  <a:lnTo>
                    <a:pt x="6353" y="174476"/>
                  </a:lnTo>
                  <a:lnTo>
                    <a:pt x="7657" y="167959"/>
                  </a:lnTo>
                  <a:lnTo>
                    <a:pt x="15476" y="158185"/>
                  </a:lnTo>
                  <a:lnTo>
                    <a:pt x="13359" y="158185"/>
                  </a:lnTo>
                  <a:lnTo>
                    <a:pt x="4724" y="156067"/>
                  </a:lnTo>
                  <a:lnTo>
                    <a:pt x="4724" y="151180"/>
                  </a:lnTo>
                  <a:lnTo>
                    <a:pt x="2932" y="141894"/>
                  </a:lnTo>
                  <a:lnTo>
                    <a:pt x="1792" y="140753"/>
                  </a:lnTo>
                  <a:lnTo>
                    <a:pt x="6516" y="134074"/>
                  </a:lnTo>
                  <a:lnTo>
                    <a:pt x="2280" y="130653"/>
                  </a:lnTo>
                  <a:lnTo>
                    <a:pt x="0" y="127232"/>
                  </a:lnTo>
                  <a:lnTo>
                    <a:pt x="5539" y="125766"/>
                  </a:lnTo>
                  <a:lnTo>
                    <a:pt x="12218" y="121367"/>
                  </a:lnTo>
                  <a:lnTo>
                    <a:pt x="11892" y="117946"/>
                  </a:lnTo>
                  <a:lnTo>
                    <a:pt x="13196" y="116643"/>
                  </a:lnTo>
                  <a:lnTo>
                    <a:pt x="9775" y="112244"/>
                  </a:lnTo>
                  <a:lnTo>
                    <a:pt x="11729" y="108334"/>
                  </a:lnTo>
                  <a:lnTo>
                    <a:pt x="11078" y="104914"/>
                  </a:lnTo>
                  <a:lnTo>
                    <a:pt x="11566" y="97745"/>
                  </a:lnTo>
                  <a:lnTo>
                    <a:pt x="11241" y="97094"/>
                  </a:lnTo>
                  <a:lnTo>
                    <a:pt x="13684" y="96279"/>
                  </a:lnTo>
                  <a:lnTo>
                    <a:pt x="19386" y="97745"/>
                  </a:lnTo>
                  <a:lnTo>
                    <a:pt x="23459" y="100841"/>
                  </a:lnTo>
                  <a:lnTo>
                    <a:pt x="27694" y="100841"/>
                  </a:lnTo>
                  <a:lnTo>
                    <a:pt x="30953" y="97745"/>
                  </a:lnTo>
                  <a:lnTo>
                    <a:pt x="35514" y="97745"/>
                  </a:lnTo>
                  <a:lnTo>
                    <a:pt x="41216" y="101981"/>
                  </a:lnTo>
                  <a:lnTo>
                    <a:pt x="42682" y="105565"/>
                  </a:lnTo>
                  <a:lnTo>
                    <a:pt x="44800" y="107683"/>
                  </a:lnTo>
                  <a:lnTo>
                    <a:pt x="47407" y="104914"/>
                  </a:lnTo>
                  <a:lnTo>
                    <a:pt x="54737" y="103773"/>
                  </a:lnTo>
                  <a:lnTo>
                    <a:pt x="58484" y="99538"/>
                  </a:lnTo>
                  <a:lnTo>
                    <a:pt x="59299" y="96279"/>
                  </a:lnTo>
                  <a:lnTo>
                    <a:pt x="62557" y="93347"/>
                  </a:lnTo>
                  <a:lnTo>
                    <a:pt x="61254" y="89763"/>
                  </a:lnTo>
                  <a:lnTo>
                    <a:pt x="69236" y="85527"/>
                  </a:lnTo>
                  <a:lnTo>
                    <a:pt x="79174" y="83572"/>
                  </a:lnTo>
                  <a:lnTo>
                    <a:pt x="79988" y="80966"/>
                  </a:lnTo>
                  <a:lnTo>
                    <a:pt x="83898" y="77871"/>
                  </a:lnTo>
                  <a:lnTo>
                    <a:pt x="87971" y="76893"/>
                  </a:lnTo>
                  <a:lnTo>
                    <a:pt x="89600" y="70051"/>
                  </a:lnTo>
                  <a:lnTo>
                    <a:pt x="89763" y="63697"/>
                  </a:lnTo>
                  <a:lnTo>
                    <a:pt x="95628" y="57344"/>
                  </a:lnTo>
                  <a:lnTo>
                    <a:pt x="95628" y="51968"/>
                  </a:lnTo>
                  <a:lnTo>
                    <a:pt x="93347" y="50176"/>
                  </a:lnTo>
                  <a:lnTo>
                    <a:pt x="93673" y="46918"/>
                  </a:lnTo>
                  <a:lnTo>
                    <a:pt x="96279" y="45777"/>
                  </a:lnTo>
                  <a:lnTo>
                    <a:pt x="99049" y="43823"/>
                  </a:lnTo>
                  <a:lnTo>
                    <a:pt x="105728" y="42031"/>
                  </a:lnTo>
                  <a:lnTo>
                    <a:pt x="107846" y="42193"/>
                  </a:lnTo>
                  <a:lnTo>
                    <a:pt x="115503" y="36491"/>
                  </a:lnTo>
                  <a:lnTo>
                    <a:pt x="121530" y="34699"/>
                  </a:lnTo>
                  <a:lnTo>
                    <a:pt x="126580" y="37795"/>
                  </a:lnTo>
                  <a:lnTo>
                    <a:pt x="132119" y="36491"/>
                  </a:lnTo>
                  <a:lnTo>
                    <a:pt x="134074" y="38447"/>
                  </a:lnTo>
                  <a:lnTo>
                    <a:pt x="142382" y="36166"/>
                  </a:lnTo>
                  <a:lnTo>
                    <a:pt x="147921" y="38772"/>
                  </a:lnTo>
                  <a:lnTo>
                    <a:pt x="151017" y="43334"/>
                  </a:lnTo>
                  <a:lnTo>
                    <a:pt x="154438" y="43497"/>
                  </a:lnTo>
                  <a:lnTo>
                    <a:pt x="158673" y="39750"/>
                  </a:lnTo>
                  <a:lnTo>
                    <a:pt x="163072" y="40076"/>
                  </a:lnTo>
                  <a:lnTo>
                    <a:pt x="168611" y="47244"/>
                  </a:lnTo>
                  <a:lnTo>
                    <a:pt x="172521" y="48873"/>
                  </a:lnTo>
                  <a:lnTo>
                    <a:pt x="180992" y="47081"/>
                  </a:lnTo>
                  <a:lnTo>
                    <a:pt x="186531" y="43985"/>
                  </a:lnTo>
                  <a:lnTo>
                    <a:pt x="189300" y="39913"/>
                  </a:lnTo>
                  <a:lnTo>
                    <a:pt x="192233" y="39261"/>
                  </a:lnTo>
                  <a:lnTo>
                    <a:pt x="195165" y="36491"/>
                  </a:lnTo>
                  <a:lnTo>
                    <a:pt x="197771" y="38447"/>
                  </a:lnTo>
                  <a:lnTo>
                    <a:pt x="200541" y="42031"/>
                  </a:lnTo>
                  <a:lnTo>
                    <a:pt x="209338" y="42845"/>
                  </a:lnTo>
                  <a:lnTo>
                    <a:pt x="209175" y="38772"/>
                  </a:lnTo>
                  <a:lnTo>
                    <a:pt x="206732" y="36329"/>
                  </a:lnTo>
                  <a:lnTo>
                    <a:pt x="207220" y="32907"/>
                  </a:lnTo>
                  <a:lnTo>
                    <a:pt x="212759" y="31441"/>
                  </a:lnTo>
                  <a:lnTo>
                    <a:pt x="214714" y="28672"/>
                  </a:lnTo>
                  <a:lnTo>
                    <a:pt x="217321" y="28672"/>
                  </a:lnTo>
                  <a:lnTo>
                    <a:pt x="217973" y="31441"/>
                  </a:lnTo>
                  <a:lnTo>
                    <a:pt x="223511" y="30790"/>
                  </a:lnTo>
                  <a:lnTo>
                    <a:pt x="227095" y="25251"/>
                  </a:lnTo>
                  <a:lnTo>
                    <a:pt x="225792" y="18246"/>
                  </a:lnTo>
                  <a:lnTo>
                    <a:pt x="228073" y="14825"/>
                  </a:lnTo>
                  <a:lnTo>
                    <a:pt x="231168" y="12055"/>
                  </a:lnTo>
                  <a:lnTo>
                    <a:pt x="231982" y="4724"/>
                  </a:lnTo>
                  <a:lnTo>
                    <a:pt x="234589" y="0"/>
                  </a:lnTo>
                  <a:lnTo>
                    <a:pt x="240780" y="0"/>
                  </a:lnTo>
                  <a:lnTo>
                    <a:pt x="245178" y="3258"/>
                  </a:lnTo>
                  <a:lnTo>
                    <a:pt x="249740" y="5539"/>
                  </a:lnTo>
                  <a:lnTo>
                    <a:pt x="249740" y="9612"/>
                  </a:lnTo>
                  <a:lnTo>
                    <a:pt x="248599" y="15476"/>
                  </a:lnTo>
                  <a:lnTo>
                    <a:pt x="250066" y="20364"/>
                  </a:lnTo>
                  <a:lnTo>
                    <a:pt x="254301" y="20201"/>
                  </a:lnTo>
                  <a:lnTo>
                    <a:pt x="256256" y="24925"/>
                  </a:lnTo>
                  <a:lnTo>
                    <a:pt x="255767" y="31441"/>
                  </a:lnTo>
                  <a:lnTo>
                    <a:pt x="256582" y="36491"/>
                  </a:lnTo>
                  <a:lnTo>
                    <a:pt x="256908" y="46429"/>
                  </a:lnTo>
                  <a:lnTo>
                    <a:pt x="260817" y="51642"/>
                  </a:lnTo>
                  <a:lnTo>
                    <a:pt x="260817" y="55226"/>
                  </a:lnTo>
                  <a:lnTo>
                    <a:pt x="265379" y="57018"/>
                  </a:lnTo>
                  <a:lnTo>
                    <a:pt x="271895" y="57018"/>
                  </a:lnTo>
                  <a:lnTo>
                    <a:pt x="276294" y="53597"/>
                  </a:lnTo>
                  <a:lnTo>
                    <a:pt x="277271" y="51153"/>
                  </a:lnTo>
                  <a:lnTo>
                    <a:pt x="286068" y="47081"/>
                  </a:lnTo>
                  <a:lnTo>
                    <a:pt x="290141" y="43334"/>
                  </a:lnTo>
                  <a:lnTo>
                    <a:pt x="291282" y="38609"/>
                  </a:lnTo>
                  <a:lnTo>
                    <a:pt x="294703" y="35677"/>
                  </a:lnTo>
                  <a:close/>
                </a:path>
              </a:pathLst>
            </a:custGeom>
            <a:solidFill>
              <a:schemeClr val="bg2"/>
            </a:solidFill>
            <a:ln w="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20" name="Forma livre: Forma 219">
              <a:extLst>
                <a:ext uri="{FF2B5EF4-FFF2-40B4-BE49-F238E27FC236}">
                  <a16:creationId xmlns:a16="http://schemas.microsoft.com/office/drawing/2014/main" id="{48FA28E3-317F-F87B-B7DA-68F382226345}"/>
                </a:ext>
              </a:extLst>
            </p:cNvPr>
            <p:cNvSpPr/>
            <p:nvPr/>
          </p:nvSpPr>
          <p:spPr>
            <a:xfrm>
              <a:off x="7533850" y="3852826"/>
              <a:ext cx="351347" cy="292256"/>
            </a:xfrm>
            <a:custGeom>
              <a:avLst/>
              <a:gdLst>
                <a:gd name="connsiteX0" fmla="*/ 294703 w 339991"/>
                <a:gd name="connsiteY0" fmla="*/ 35677 h 282810"/>
                <a:gd name="connsiteX1" fmla="*/ 306269 w 339991"/>
                <a:gd name="connsiteY1" fmla="*/ 28183 h 282810"/>
                <a:gd name="connsiteX2" fmla="*/ 313600 w 339991"/>
                <a:gd name="connsiteY2" fmla="*/ 26554 h 282810"/>
                <a:gd name="connsiteX3" fmla="*/ 314903 w 339991"/>
                <a:gd name="connsiteY3" fmla="*/ 31930 h 282810"/>
                <a:gd name="connsiteX4" fmla="*/ 324515 w 339991"/>
                <a:gd name="connsiteY4" fmla="*/ 30790 h 282810"/>
                <a:gd name="connsiteX5" fmla="*/ 327936 w 339991"/>
                <a:gd name="connsiteY5" fmla="*/ 26717 h 282810"/>
                <a:gd name="connsiteX6" fmla="*/ 338688 w 339991"/>
                <a:gd name="connsiteY6" fmla="*/ 26717 h 282810"/>
                <a:gd name="connsiteX7" fmla="*/ 339991 w 339991"/>
                <a:gd name="connsiteY7" fmla="*/ 31115 h 282810"/>
                <a:gd name="connsiteX8" fmla="*/ 332172 w 339991"/>
                <a:gd name="connsiteY8" fmla="*/ 37632 h 282810"/>
                <a:gd name="connsiteX9" fmla="*/ 336244 w 339991"/>
                <a:gd name="connsiteY9" fmla="*/ 38772 h 282810"/>
                <a:gd name="connsiteX10" fmla="*/ 331032 w 339991"/>
                <a:gd name="connsiteY10" fmla="*/ 47732 h 282810"/>
                <a:gd name="connsiteX11" fmla="*/ 319628 w 339991"/>
                <a:gd name="connsiteY11" fmla="*/ 52457 h 282810"/>
                <a:gd name="connsiteX12" fmla="*/ 294214 w 339991"/>
                <a:gd name="connsiteY12" fmla="*/ 57670 h 282810"/>
                <a:gd name="connsiteX13" fmla="*/ 288186 w 339991"/>
                <a:gd name="connsiteY13" fmla="*/ 54249 h 282810"/>
                <a:gd name="connsiteX14" fmla="*/ 279715 w 339991"/>
                <a:gd name="connsiteY14" fmla="*/ 58810 h 282810"/>
                <a:gd name="connsiteX15" fmla="*/ 273524 w 339991"/>
                <a:gd name="connsiteY15" fmla="*/ 64349 h 282810"/>
                <a:gd name="connsiteX16" fmla="*/ 266519 w 339991"/>
                <a:gd name="connsiteY16" fmla="*/ 64349 h 282810"/>
                <a:gd name="connsiteX17" fmla="*/ 262446 w 339991"/>
                <a:gd name="connsiteY17" fmla="*/ 70540 h 282810"/>
                <a:gd name="connsiteX18" fmla="*/ 257559 w 339991"/>
                <a:gd name="connsiteY18" fmla="*/ 75427 h 282810"/>
                <a:gd name="connsiteX19" fmla="*/ 268637 w 339991"/>
                <a:gd name="connsiteY19" fmla="*/ 91555 h 282810"/>
                <a:gd name="connsiteX20" fmla="*/ 269451 w 339991"/>
                <a:gd name="connsiteY20" fmla="*/ 102633 h 282810"/>
                <a:gd name="connsiteX21" fmla="*/ 257233 w 339991"/>
                <a:gd name="connsiteY21" fmla="*/ 118598 h 282810"/>
                <a:gd name="connsiteX22" fmla="*/ 263587 w 339991"/>
                <a:gd name="connsiteY22" fmla="*/ 124463 h 282810"/>
                <a:gd name="connsiteX23" fmla="*/ 263587 w 339991"/>
                <a:gd name="connsiteY23" fmla="*/ 131468 h 282810"/>
                <a:gd name="connsiteX24" fmla="*/ 256908 w 339991"/>
                <a:gd name="connsiteY24" fmla="*/ 141405 h 282810"/>
                <a:gd name="connsiteX25" fmla="*/ 247296 w 339991"/>
                <a:gd name="connsiteY25" fmla="*/ 141405 h 282810"/>
                <a:gd name="connsiteX26" fmla="*/ 238010 w 339991"/>
                <a:gd name="connsiteY26" fmla="*/ 137658 h 282810"/>
                <a:gd name="connsiteX27" fmla="*/ 231819 w 339991"/>
                <a:gd name="connsiteY27" fmla="*/ 141731 h 282810"/>
                <a:gd name="connsiteX28" fmla="*/ 234589 w 339991"/>
                <a:gd name="connsiteY28" fmla="*/ 148410 h 282810"/>
                <a:gd name="connsiteX29" fmla="*/ 239965 w 339991"/>
                <a:gd name="connsiteY29" fmla="*/ 151342 h 282810"/>
                <a:gd name="connsiteX30" fmla="*/ 243060 w 339991"/>
                <a:gd name="connsiteY30" fmla="*/ 158348 h 282810"/>
                <a:gd name="connsiteX31" fmla="*/ 241920 w 339991"/>
                <a:gd name="connsiteY31" fmla="*/ 162746 h 282810"/>
                <a:gd name="connsiteX32" fmla="*/ 235892 w 339991"/>
                <a:gd name="connsiteY32" fmla="*/ 166004 h 282810"/>
                <a:gd name="connsiteX33" fmla="*/ 230191 w 339991"/>
                <a:gd name="connsiteY33" fmla="*/ 166656 h 282810"/>
                <a:gd name="connsiteX34" fmla="*/ 228235 w 339991"/>
                <a:gd name="connsiteY34" fmla="*/ 170240 h 282810"/>
                <a:gd name="connsiteX35" fmla="*/ 227421 w 339991"/>
                <a:gd name="connsiteY35" fmla="*/ 179363 h 282810"/>
                <a:gd name="connsiteX36" fmla="*/ 225629 w 339991"/>
                <a:gd name="connsiteY36" fmla="*/ 185228 h 282810"/>
                <a:gd name="connsiteX37" fmla="*/ 225466 w 339991"/>
                <a:gd name="connsiteY37" fmla="*/ 188812 h 282810"/>
                <a:gd name="connsiteX38" fmla="*/ 223511 w 339991"/>
                <a:gd name="connsiteY38" fmla="*/ 190930 h 282810"/>
                <a:gd name="connsiteX39" fmla="*/ 225466 w 339991"/>
                <a:gd name="connsiteY39" fmla="*/ 202333 h 282810"/>
                <a:gd name="connsiteX40" fmla="*/ 219927 w 339991"/>
                <a:gd name="connsiteY40" fmla="*/ 210479 h 282810"/>
                <a:gd name="connsiteX41" fmla="*/ 215040 w 339991"/>
                <a:gd name="connsiteY41" fmla="*/ 204288 h 282810"/>
                <a:gd name="connsiteX42" fmla="*/ 212108 w 339991"/>
                <a:gd name="connsiteY42" fmla="*/ 204288 h 282810"/>
                <a:gd name="connsiteX43" fmla="*/ 211782 w 339991"/>
                <a:gd name="connsiteY43" fmla="*/ 207709 h 282810"/>
                <a:gd name="connsiteX44" fmla="*/ 205591 w 339991"/>
                <a:gd name="connsiteY44" fmla="*/ 207383 h 282810"/>
                <a:gd name="connsiteX45" fmla="*/ 202496 w 339991"/>
                <a:gd name="connsiteY45" fmla="*/ 205265 h 282810"/>
                <a:gd name="connsiteX46" fmla="*/ 196468 w 339991"/>
                <a:gd name="connsiteY46" fmla="*/ 205917 h 282810"/>
                <a:gd name="connsiteX47" fmla="*/ 194839 w 339991"/>
                <a:gd name="connsiteY47" fmla="*/ 209175 h 282810"/>
                <a:gd name="connsiteX48" fmla="*/ 185228 w 339991"/>
                <a:gd name="connsiteY48" fmla="*/ 216506 h 282810"/>
                <a:gd name="connsiteX49" fmla="*/ 189463 w 339991"/>
                <a:gd name="connsiteY49" fmla="*/ 217809 h 282810"/>
                <a:gd name="connsiteX50" fmla="*/ 186531 w 339991"/>
                <a:gd name="connsiteY50" fmla="*/ 221556 h 282810"/>
                <a:gd name="connsiteX51" fmla="*/ 177082 w 339991"/>
                <a:gd name="connsiteY51" fmla="*/ 225792 h 282810"/>
                <a:gd name="connsiteX52" fmla="*/ 174150 w 339991"/>
                <a:gd name="connsiteY52" fmla="*/ 223674 h 282810"/>
                <a:gd name="connsiteX53" fmla="*/ 167959 w 339991"/>
                <a:gd name="connsiteY53" fmla="*/ 224977 h 282810"/>
                <a:gd name="connsiteX54" fmla="*/ 166004 w 339991"/>
                <a:gd name="connsiteY54" fmla="*/ 228887 h 282810"/>
                <a:gd name="connsiteX55" fmla="*/ 165027 w 339991"/>
                <a:gd name="connsiteY55" fmla="*/ 232960 h 282810"/>
                <a:gd name="connsiteX56" fmla="*/ 160139 w 339991"/>
                <a:gd name="connsiteY56" fmla="*/ 234589 h 282810"/>
                <a:gd name="connsiteX57" fmla="*/ 156882 w 339991"/>
                <a:gd name="connsiteY57" fmla="*/ 238825 h 282810"/>
                <a:gd name="connsiteX58" fmla="*/ 157207 w 339991"/>
                <a:gd name="connsiteY58" fmla="*/ 245830 h 282810"/>
                <a:gd name="connsiteX59" fmla="*/ 159162 w 339991"/>
                <a:gd name="connsiteY59" fmla="*/ 254138 h 282810"/>
                <a:gd name="connsiteX60" fmla="*/ 158673 w 339991"/>
                <a:gd name="connsiteY60" fmla="*/ 259514 h 282810"/>
                <a:gd name="connsiteX61" fmla="*/ 160791 w 339991"/>
                <a:gd name="connsiteY61" fmla="*/ 264401 h 282810"/>
                <a:gd name="connsiteX62" fmla="*/ 159651 w 339991"/>
                <a:gd name="connsiteY62" fmla="*/ 269289 h 282810"/>
                <a:gd name="connsiteX63" fmla="*/ 149550 w 339991"/>
                <a:gd name="connsiteY63" fmla="*/ 273524 h 282810"/>
                <a:gd name="connsiteX64" fmla="*/ 140591 w 339991"/>
                <a:gd name="connsiteY64" fmla="*/ 273362 h 282810"/>
                <a:gd name="connsiteX65" fmla="*/ 132608 w 339991"/>
                <a:gd name="connsiteY65" fmla="*/ 274339 h 282810"/>
                <a:gd name="connsiteX66" fmla="*/ 118923 w 339991"/>
                <a:gd name="connsiteY66" fmla="*/ 275154 h 282810"/>
                <a:gd name="connsiteX67" fmla="*/ 109964 w 339991"/>
                <a:gd name="connsiteY67" fmla="*/ 277597 h 282810"/>
                <a:gd name="connsiteX68" fmla="*/ 106705 w 339991"/>
                <a:gd name="connsiteY68" fmla="*/ 280204 h 282810"/>
                <a:gd name="connsiteX69" fmla="*/ 98723 w 339991"/>
                <a:gd name="connsiteY69" fmla="*/ 279715 h 282810"/>
                <a:gd name="connsiteX70" fmla="*/ 90089 w 339991"/>
                <a:gd name="connsiteY70" fmla="*/ 281996 h 282810"/>
                <a:gd name="connsiteX71" fmla="*/ 60602 w 339991"/>
                <a:gd name="connsiteY71" fmla="*/ 282810 h 282810"/>
                <a:gd name="connsiteX72" fmla="*/ 25577 w 339991"/>
                <a:gd name="connsiteY72" fmla="*/ 272873 h 282810"/>
                <a:gd name="connsiteX73" fmla="*/ 44637 w 339991"/>
                <a:gd name="connsiteY73" fmla="*/ 246807 h 282810"/>
                <a:gd name="connsiteX74" fmla="*/ 46755 w 339991"/>
                <a:gd name="connsiteY74" fmla="*/ 243712 h 282810"/>
                <a:gd name="connsiteX75" fmla="*/ 44148 w 339991"/>
                <a:gd name="connsiteY75" fmla="*/ 233449 h 282810"/>
                <a:gd name="connsiteX76" fmla="*/ 44637 w 339991"/>
                <a:gd name="connsiteY76" fmla="*/ 226444 h 282810"/>
                <a:gd name="connsiteX77" fmla="*/ 40564 w 339991"/>
                <a:gd name="connsiteY77" fmla="*/ 217647 h 282810"/>
                <a:gd name="connsiteX78" fmla="*/ 18246 w 339991"/>
                <a:gd name="connsiteY78" fmla="*/ 217321 h 282810"/>
                <a:gd name="connsiteX79" fmla="*/ 17594 w 339991"/>
                <a:gd name="connsiteY79" fmla="*/ 207872 h 282810"/>
                <a:gd name="connsiteX80" fmla="*/ 14987 w 339991"/>
                <a:gd name="connsiteY80" fmla="*/ 203311 h 282810"/>
                <a:gd name="connsiteX81" fmla="*/ 16780 w 339991"/>
                <a:gd name="connsiteY81" fmla="*/ 199727 h 282810"/>
                <a:gd name="connsiteX82" fmla="*/ 13196 w 339991"/>
                <a:gd name="connsiteY82" fmla="*/ 187834 h 282810"/>
                <a:gd name="connsiteX83" fmla="*/ 6353 w 339991"/>
                <a:gd name="connsiteY83" fmla="*/ 174476 h 282810"/>
                <a:gd name="connsiteX84" fmla="*/ 7657 w 339991"/>
                <a:gd name="connsiteY84" fmla="*/ 167959 h 282810"/>
                <a:gd name="connsiteX85" fmla="*/ 15476 w 339991"/>
                <a:gd name="connsiteY85" fmla="*/ 158185 h 282810"/>
                <a:gd name="connsiteX86" fmla="*/ 13359 w 339991"/>
                <a:gd name="connsiteY86" fmla="*/ 158185 h 282810"/>
                <a:gd name="connsiteX87" fmla="*/ 4724 w 339991"/>
                <a:gd name="connsiteY87" fmla="*/ 156067 h 282810"/>
                <a:gd name="connsiteX88" fmla="*/ 4724 w 339991"/>
                <a:gd name="connsiteY88" fmla="*/ 151180 h 282810"/>
                <a:gd name="connsiteX89" fmla="*/ 2932 w 339991"/>
                <a:gd name="connsiteY89" fmla="*/ 141894 h 282810"/>
                <a:gd name="connsiteX90" fmla="*/ 1792 w 339991"/>
                <a:gd name="connsiteY90" fmla="*/ 140753 h 282810"/>
                <a:gd name="connsiteX91" fmla="*/ 6516 w 339991"/>
                <a:gd name="connsiteY91" fmla="*/ 134074 h 282810"/>
                <a:gd name="connsiteX92" fmla="*/ 2280 w 339991"/>
                <a:gd name="connsiteY92" fmla="*/ 130653 h 282810"/>
                <a:gd name="connsiteX93" fmla="*/ 0 w 339991"/>
                <a:gd name="connsiteY93" fmla="*/ 127232 h 282810"/>
                <a:gd name="connsiteX94" fmla="*/ 5539 w 339991"/>
                <a:gd name="connsiteY94" fmla="*/ 125766 h 282810"/>
                <a:gd name="connsiteX95" fmla="*/ 12218 w 339991"/>
                <a:gd name="connsiteY95" fmla="*/ 121367 h 282810"/>
                <a:gd name="connsiteX96" fmla="*/ 11892 w 339991"/>
                <a:gd name="connsiteY96" fmla="*/ 117946 h 282810"/>
                <a:gd name="connsiteX97" fmla="*/ 13196 w 339991"/>
                <a:gd name="connsiteY97" fmla="*/ 116643 h 282810"/>
                <a:gd name="connsiteX98" fmla="*/ 9775 w 339991"/>
                <a:gd name="connsiteY98" fmla="*/ 112244 h 282810"/>
                <a:gd name="connsiteX99" fmla="*/ 11729 w 339991"/>
                <a:gd name="connsiteY99" fmla="*/ 108334 h 282810"/>
                <a:gd name="connsiteX100" fmla="*/ 11078 w 339991"/>
                <a:gd name="connsiteY100" fmla="*/ 104914 h 282810"/>
                <a:gd name="connsiteX101" fmla="*/ 11566 w 339991"/>
                <a:gd name="connsiteY101" fmla="*/ 97745 h 282810"/>
                <a:gd name="connsiteX102" fmla="*/ 11241 w 339991"/>
                <a:gd name="connsiteY102" fmla="*/ 97094 h 282810"/>
                <a:gd name="connsiteX103" fmla="*/ 13684 w 339991"/>
                <a:gd name="connsiteY103" fmla="*/ 96279 h 282810"/>
                <a:gd name="connsiteX104" fmla="*/ 19386 w 339991"/>
                <a:gd name="connsiteY104" fmla="*/ 97745 h 282810"/>
                <a:gd name="connsiteX105" fmla="*/ 23459 w 339991"/>
                <a:gd name="connsiteY105" fmla="*/ 100841 h 282810"/>
                <a:gd name="connsiteX106" fmla="*/ 27694 w 339991"/>
                <a:gd name="connsiteY106" fmla="*/ 100841 h 282810"/>
                <a:gd name="connsiteX107" fmla="*/ 30953 w 339991"/>
                <a:gd name="connsiteY107" fmla="*/ 97745 h 282810"/>
                <a:gd name="connsiteX108" fmla="*/ 35514 w 339991"/>
                <a:gd name="connsiteY108" fmla="*/ 97745 h 282810"/>
                <a:gd name="connsiteX109" fmla="*/ 41216 w 339991"/>
                <a:gd name="connsiteY109" fmla="*/ 101981 h 282810"/>
                <a:gd name="connsiteX110" fmla="*/ 42682 w 339991"/>
                <a:gd name="connsiteY110" fmla="*/ 105565 h 282810"/>
                <a:gd name="connsiteX111" fmla="*/ 44800 w 339991"/>
                <a:gd name="connsiteY111" fmla="*/ 107683 h 282810"/>
                <a:gd name="connsiteX112" fmla="*/ 47407 w 339991"/>
                <a:gd name="connsiteY112" fmla="*/ 104914 h 282810"/>
                <a:gd name="connsiteX113" fmla="*/ 54737 w 339991"/>
                <a:gd name="connsiteY113" fmla="*/ 103773 h 282810"/>
                <a:gd name="connsiteX114" fmla="*/ 58484 w 339991"/>
                <a:gd name="connsiteY114" fmla="*/ 99538 h 282810"/>
                <a:gd name="connsiteX115" fmla="*/ 59299 w 339991"/>
                <a:gd name="connsiteY115" fmla="*/ 96279 h 282810"/>
                <a:gd name="connsiteX116" fmla="*/ 62557 w 339991"/>
                <a:gd name="connsiteY116" fmla="*/ 93347 h 282810"/>
                <a:gd name="connsiteX117" fmla="*/ 61254 w 339991"/>
                <a:gd name="connsiteY117" fmla="*/ 89763 h 282810"/>
                <a:gd name="connsiteX118" fmla="*/ 69236 w 339991"/>
                <a:gd name="connsiteY118" fmla="*/ 85527 h 282810"/>
                <a:gd name="connsiteX119" fmla="*/ 79174 w 339991"/>
                <a:gd name="connsiteY119" fmla="*/ 83572 h 282810"/>
                <a:gd name="connsiteX120" fmla="*/ 79988 w 339991"/>
                <a:gd name="connsiteY120" fmla="*/ 80966 h 282810"/>
                <a:gd name="connsiteX121" fmla="*/ 83898 w 339991"/>
                <a:gd name="connsiteY121" fmla="*/ 77871 h 282810"/>
                <a:gd name="connsiteX122" fmla="*/ 87971 w 339991"/>
                <a:gd name="connsiteY122" fmla="*/ 76893 h 282810"/>
                <a:gd name="connsiteX123" fmla="*/ 89600 w 339991"/>
                <a:gd name="connsiteY123" fmla="*/ 70051 h 282810"/>
                <a:gd name="connsiteX124" fmla="*/ 89763 w 339991"/>
                <a:gd name="connsiteY124" fmla="*/ 63697 h 282810"/>
                <a:gd name="connsiteX125" fmla="*/ 95628 w 339991"/>
                <a:gd name="connsiteY125" fmla="*/ 57344 h 282810"/>
                <a:gd name="connsiteX126" fmla="*/ 95628 w 339991"/>
                <a:gd name="connsiteY126" fmla="*/ 51968 h 282810"/>
                <a:gd name="connsiteX127" fmla="*/ 93347 w 339991"/>
                <a:gd name="connsiteY127" fmla="*/ 50176 h 282810"/>
                <a:gd name="connsiteX128" fmla="*/ 93673 w 339991"/>
                <a:gd name="connsiteY128" fmla="*/ 46918 h 282810"/>
                <a:gd name="connsiteX129" fmla="*/ 96279 w 339991"/>
                <a:gd name="connsiteY129" fmla="*/ 45777 h 282810"/>
                <a:gd name="connsiteX130" fmla="*/ 99049 w 339991"/>
                <a:gd name="connsiteY130" fmla="*/ 43823 h 282810"/>
                <a:gd name="connsiteX131" fmla="*/ 105728 w 339991"/>
                <a:gd name="connsiteY131" fmla="*/ 42031 h 282810"/>
                <a:gd name="connsiteX132" fmla="*/ 107846 w 339991"/>
                <a:gd name="connsiteY132" fmla="*/ 42193 h 282810"/>
                <a:gd name="connsiteX133" fmla="*/ 115503 w 339991"/>
                <a:gd name="connsiteY133" fmla="*/ 36491 h 282810"/>
                <a:gd name="connsiteX134" fmla="*/ 121530 w 339991"/>
                <a:gd name="connsiteY134" fmla="*/ 34699 h 282810"/>
                <a:gd name="connsiteX135" fmla="*/ 126580 w 339991"/>
                <a:gd name="connsiteY135" fmla="*/ 37795 h 282810"/>
                <a:gd name="connsiteX136" fmla="*/ 132119 w 339991"/>
                <a:gd name="connsiteY136" fmla="*/ 36491 h 282810"/>
                <a:gd name="connsiteX137" fmla="*/ 134074 w 339991"/>
                <a:gd name="connsiteY137" fmla="*/ 38447 h 282810"/>
                <a:gd name="connsiteX138" fmla="*/ 142382 w 339991"/>
                <a:gd name="connsiteY138" fmla="*/ 36166 h 282810"/>
                <a:gd name="connsiteX139" fmla="*/ 147921 w 339991"/>
                <a:gd name="connsiteY139" fmla="*/ 38772 h 282810"/>
                <a:gd name="connsiteX140" fmla="*/ 151017 w 339991"/>
                <a:gd name="connsiteY140" fmla="*/ 43334 h 282810"/>
                <a:gd name="connsiteX141" fmla="*/ 154438 w 339991"/>
                <a:gd name="connsiteY141" fmla="*/ 43497 h 282810"/>
                <a:gd name="connsiteX142" fmla="*/ 158673 w 339991"/>
                <a:gd name="connsiteY142" fmla="*/ 39750 h 282810"/>
                <a:gd name="connsiteX143" fmla="*/ 163072 w 339991"/>
                <a:gd name="connsiteY143" fmla="*/ 40076 h 282810"/>
                <a:gd name="connsiteX144" fmla="*/ 168611 w 339991"/>
                <a:gd name="connsiteY144" fmla="*/ 47244 h 282810"/>
                <a:gd name="connsiteX145" fmla="*/ 172521 w 339991"/>
                <a:gd name="connsiteY145" fmla="*/ 48873 h 282810"/>
                <a:gd name="connsiteX146" fmla="*/ 180992 w 339991"/>
                <a:gd name="connsiteY146" fmla="*/ 47081 h 282810"/>
                <a:gd name="connsiteX147" fmla="*/ 186531 w 339991"/>
                <a:gd name="connsiteY147" fmla="*/ 43985 h 282810"/>
                <a:gd name="connsiteX148" fmla="*/ 189300 w 339991"/>
                <a:gd name="connsiteY148" fmla="*/ 39913 h 282810"/>
                <a:gd name="connsiteX149" fmla="*/ 192233 w 339991"/>
                <a:gd name="connsiteY149" fmla="*/ 39261 h 282810"/>
                <a:gd name="connsiteX150" fmla="*/ 195165 w 339991"/>
                <a:gd name="connsiteY150" fmla="*/ 36491 h 282810"/>
                <a:gd name="connsiteX151" fmla="*/ 197771 w 339991"/>
                <a:gd name="connsiteY151" fmla="*/ 38447 h 282810"/>
                <a:gd name="connsiteX152" fmla="*/ 200541 w 339991"/>
                <a:gd name="connsiteY152" fmla="*/ 42031 h 282810"/>
                <a:gd name="connsiteX153" fmla="*/ 209338 w 339991"/>
                <a:gd name="connsiteY153" fmla="*/ 42845 h 282810"/>
                <a:gd name="connsiteX154" fmla="*/ 209175 w 339991"/>
                <a:gd name="connsiteY154" fmla="*/ 38772 h 282810"/>
                <a:gd name="connsiteX155" fmla="*/ 206732 w 339991"/>
                <a:gd name="connsiteY155" fmla="*/ 36329 h 282810"/>
                <a:gd name="connsiteX156" fmla="*/ 207220 w 339991"/>
                <a:gd name="connsiteY156" fmla="*/ 32907 h 282810"/>
                <a:gd name="connsiteX157" fmla="*/ 212759 w 339991"/>
                <a:gd name="connsiteY157" fmla="*/ 31441 h 282810"/>
                <a:gd name="connsiteX158" fmla="*/ 214714 w 339991"/>
                <a:gd name="connsiteY158" fmla="*/ 28672 h 282810"/>
                <a:gd name="connsiteX159" fmla="*/ 217321 w 339991"/>
                <a:gd name="connsiteY159" fmla="*/ 28672 h 282810"/>
                <a:gd name="connsiteX160" fmla="*/ 217973 w 339991"/>
                <a:gd name="connsiteY160" fmla="*/ 31441 h 282810"/>
                <a:gd name="connsiteX161" fmla="*/ 223511 w 339991"/>
                <a:gd name="connsiteY161" fmla="*/ 30790 h 282810"/>
                <a:gd name="connsiteX162" fmla="*/ 227095 w 339991"/>
                <a:gd name="connsiteY162" fmla="*/ 25251 h 282810"/>
                <a:gd name="connsiteX163" fmla="*/ 225792 w 339991"/>
                <a:gd name="connsiteY163" fmla="*/ 18246 h 282810"/>
                <a:gd name="connsiteX164" fmla="*/ 228073 w 339991"/>
                <a:gd name="connsiteY164" fmla="*/ 14825 h 282810"/>
                <a:gd name="connsiteX165" fmla="*/ 231168 w 339991"/>
                <a:gd name="connsiteY165" fmla="*/ 12055 h 282810"/>
                <a:gd name="connsiteX166" fmla="*/ 231982 w 339991"/>
                <a:gd name="connsiteY166" fmla="*/ 4724 h 282810"/>
                <a:gd name="connsiteX167" fmla="*/ 234589 w 339991"/>
                <a:gd name="connsiteY167" fmla="*/ 0 h 282810"/>
                <a:gd name="connsiteX168" fmla="*/ 240780 w 339991"/>
                <a:gd name="connsiteY168" fmla="*/ 0 h 282810"/>
                <a:gd name="connsiteX169" fmla="*/ 245178 w 339991"/>
                <a:gd name="connsiteY169" fmla="*/ 3258 h 282810"/>
                <a:gd name="connsiteX170" fmla="*/ 249740 w 339991"/>
                <a:gd name="connsiteY170" fmla="*/ 5539 h 282810"/>
                <a:gd name="connsiteX171" fmla="*/ 249740 w 339991"/>
                <a:gd name="connsiteY171" fmla="*/ 9612 h 282810"/>
                <a:gd name="connsiteX172" fmla="*/ 248599 w 339991"/>
                <a:gd name="connsiteY172" fmla="*/ 15476 h 282810"/>
                <a:gd name="connsiteX173" fmla="*/ 250066 w 339991"/>
                <a:gd name="connsiteY173" fmla="*/ 20364 h 282810"/>
                <a:gd name="connsiteX174" fmla="*/ 254301 w 339991"/>
                <a:gd name="connsiteY174" fmla="*/ 20201 h 282810"/>
                <a:gd name="connsiteX175" fmla="*/ 256256 w 339991"/>
                <a:gd name="connsiteY175" fmla="*/ 24925 h 282810"/>
                <a:gd name="connsiteX176" fmla="*/ 255767 w 339991"/>
                <a:gd name="connsiteY176" fmla="*/ 31441 h 282810"/>
                <a:gd name="connsiteX177" fmla="*/ 256582 w 339991"/>
                <a:gd name="connsiteY177" fmla="*/ 36491 h 282810"/>
                <a:gd name="connsiteX178" fmla="*/ 256908 w 339991"/>
                <a:gd name="connsiteY178" fmla="*/ 46429 h 282810"/>
                <a:gd name="connsiteX179" fmla="*/ 260817 w 339991"/>
                <a:gd name="connsiteY179" fmla="*/ 51642 h 282810"/>
                <a:gd name="connsiteX180" fmla="*/ 260817 w 339991"/>
                <a:gd name="connsiteY180" fmla="*/ 55226 h 282810"/>
                <a:gd name="connsiteX181" fmla="*/ 265379 w 339991"/>
                <a:gd name="connsiteY181" fmla="*/ 57018 h 282810"/>
                <a:gd name="connsiteX182" fmla="*/ 271895 w 339991"/>
                <a:gd name="connsiteY182" fmla="*/ 57018 h 282810"/>
                <a:gd name="connsiteX183" fmla="*/ 276294 w 339991"/>
                <a:gd name="connsiteY183" fmla="*/ 53597 h 282810"/>
                <a:gd name="connsiteX184" fmla="*/ 277271 w 339991"/>
                <a:gd name="connsiteY184" fmla="*/ 51153 h 282810"/>
                <a:gd name="connsiteX185" fmla="*/ 286068 w 339991"/>
                <a:gd name="connsiteY185" fmla="*/ 47081 h 282810"/>
                <a:gd name="connsiteX186" fmla="*/ 290141 w 339991"/>
                <a:gd name="connsiteY186" fmla="*/ 43334 h 282810"/>
                <a:gd name="connsiteX187" fmla="*/ 291282 w 339991"/>
                <a:gd name="connsiteY187" fmla="*/ 38609 h 282810"/>
                <a:gd name="connsiteX188" fmla="*/ 294703 w 339991"/>
                <a:gd name="connsiteY188" fmla="*/ 35677 h 2828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</a:cxnLst>
              <a:rect l="l" t="t" r="r" b="b"/>
              <a:pathLst>
                <a:path w="339991" h="282810">
                  <a:moveTo>
                    <a:pt x="294703" y="35677"/>
                  </a:moveTo>
                  <a:lnTo>
                    <a:pt x="306269" y="28183"/>
                  </a:lnTo>
                  <a:lnTo>
                    <a:pt x="313600" y="26554"/>
                  </a:lnTo>
                  <a:lnTo>
                    <a:pt x="314903" y="31930"/>
                  </a:lnTo>
                  <a:lnTo>
                    <a:pt x="324515" y="30790"/>
                  </a:lnTo>
                  <a:lnTo>
                    <a:pt x="327936" y="26717"/>
                  </a:lnTo>
                  <a:lnTo>
                    <a:pt x="338688" y="26717"/>
                  </a:lnTo>
                  <a:lnTo>
                    <a:pt x="339991" y="31115"/>
                  </a:lnTo>
                  <a:lnTo>
                    <a:pt x="332172" y="37632"/>
                  </a:lnTo>
                  <a:lnTo>
                    <a:pt x="336244" y="38772"/>
                  </a:lnTo>
                  <a:lnTo>
                    <a:pt x="331032" y="47732"/>
                  </a:lnTo>
                  <a:lnTo>
                    <a:pt x="319628" y="52457"/>
                  </a:lnTo>
                  <a:lnTo>
                    <a:pt x="294214" y="57670"/>
                  </a:lnTo>
                  <a:lnTo>
                    <a:pt x="288186" y="54249"/>
                  </a:lnTo>
                  <a:lnTo>
                    <a:pt x="279715" y="58810"/>
                  </a:lnTo>
                  <a:lnTo>
                    <a:pt x="273524" y="64349"/>
                  </a:lnTo>
                  <a:lnTo>
                    <a:pt x="266519" y="64349"/>
                  </a:lnTo>
                  <a:lnTo>
                    <a:pt x="262446" y="70540"/>
                  </a:lnTo>
                  <a:lnTo>
                    <a:pt x="257559" y="75427"/>
                  </a:lnTo>
                  <a:lnTo>
                    <a:pt x="268637" y="91555"/>
                  </a:lnTo>
                  <a:lnTo>
                    <a:pt x="269451" y="102633"/>
                  </a:lnTo>
                  <a:lnTo>
                    <a:pt x="257233" y="118598"/>
                  </a:lnTo>
                  <a:lnTo>
                    <a:pt x="263587" y="124463"/>
                  </a:lnTo>
                  <a:lnTo>
                    <a:pt x="263587" y="131468"/>
                  </a:lnTo>
                  <a:lnTo>
                    <a:pt x="256908" y="141405"/>
                  </a:lnTo>
                  <a:lnTo>
                    <a:pt x="247296" y="141405"/>
                  </a:lnTo>
                  <a:lnTo>
                    <a:pt x="238010" y="137658"/>
                  </a:lnTo>
                  <a:lnTo>
                    <a:pt x="231819" y="141731"/>
                  </a:lnTo>
                  <a:lnTo>
                    <a:pt x="234589" y="148410"/>
                  </a:lnTo>
                  <a:lnTo>
                    <a:pt x="239965" y="151342"/>
                  </a:lnTo>
                  <a:lnTo>
                    <a:pt x="243060" y="158348"/>
                  </a:lnTo>
                  <a:lnTo>
                    <a:pt x="241920" y="162746"/>
                  </a:lnTo>
                  <a:lnTo>
                    <a:pt x="235892" y="166004"/>
                  </a:lnTo>
                  <a:lnTo>
                    <a:pt x="230191" y="166656"/>
                  </a:lnTo>
                  <a:lnTo>
                    <a:pt x="228235" y="170240"/>
                  </a:lnTo>
                  <a:lnTo>
                    <a:pt x="227421" y="179363"/>
                  </a:lnTo>
                  <a:lnTo>
                    <a:pt x="225629" y="185228"/>
                  </a:lnTo>
                  <a:lnTo>
                    <a:pt x="225466" y="188812"/>
                  </a:lnTo>
                  <a:lnTo>
                    <a:pt x="223511" y="190930"/>
                  </a:lnTo>
                  <a:lnTo>
                    <a:pt x="225466" y="202333"/>
                  </a:lnTo>
                  <a:lnTo>
                    <a:pt x="219927" y="210479"/>
                  </a:lnTo>
                  <a:lnTo>
                    <a:pt x="215040" y="204288"/>
                  </a:lnTo>
                  <a:lnTo>
                    <a:pt x="212108" y="204288"/>
                  </a:lnTo>
                  <a:lnTo>
                    <a:pt x="211782" y="207709"/>
                  </a:lnTo>
                  <a:lnTo>
                    <a:pt x="205591" y="207383"/>
                  </a:lnTo>
                  <a:lnTo>
                    <a:pt x="202496" y="205265"/>
                  </a:lnTo>
                  <a:lnTo>
                    <a:pt x="196468" y="205917"/>
                  </a:lnTo>
                  <a:lnTo>
                    <a:pt x="194839" y="209175"/>
                  </a:lnTo>
                  <a:lnTo>
                    <a:pt x="185228" y="216506"/>
                  </a:lnTo>
                  <a:lnTo>
                    <a:pt x="189463" y="217809"/>
                  </a:lnTo>
                  <a:lnTo>
                    <a:pt x="186531" y="221556"/>
                  </a:lnTo>
                  <a:lnTo>
                    <a:pt x="177082" y="225792"/>
                  </a:lnTo>
                  <a:lnTo>
                    <a:pt x="174150" y="223674"/>
                  </a:lnTo>
                  <a:lnTo>
                    <a:pt x="167959" y="224977"/>
                  </a:lnTo>
                  <a:lnTo>
                    <a:pt x="166004" y="228887"/>
                  </a:lnTo>
                  <a:lnTo>
                    <a:pt x="165027" y="232960"/>
                  </a:lnTo>
                  <a:lnTo>
                    <a:pt x="160139" y="234589"/>
                  </a:lnTo>
                  <a:lnTo>
                    <a:pt x="156882" y="238825"/>
                  </a:lnTo>
                  <a:lnTo>
                    <a:pt x="157207" y="245830"/>
                  </a:lnTo>
                  <a:lnTo>
                    <a:pt x="159162" y="254138"/>
                  </a:lnTo>
                  <a:lnTo>
                    <a:pt x="158673" y="259514"/>
                  </a:lnTo>
                  <a:lnTo>
                    <a:pt x="160791" y="264401"/>
                  </a:lnTo>
                  <a:lnTo>
                    <a:pt x="159651" y="269289"/>
                  </a:lnTo>
                  <a:lnTo>
                    <a:pt x="149550" y="273524"/>
                  </a:lnTo>
                  <a:lnTo>
                    <a:pt x="140591" y="273362"/>
                  </a:lnTo>
                  <a:lnTo>
                    <a:pt x="132608" y="274339"/>
                  </a:lnTo>
                  <a:lnTo>
                    <a:pt x="118923" y="275154"/>
                  </a:lnTo>
                  <a:lnTo>
                    <a:pt x="109964" y="277597"/>
                  </a:lnTo>
                  <a:lnTo>
                    <a:pt x="106705" y="280204"/>
                  </a:lnTo>
                  <a:lnTo>
                    <a:pt x="98723" y="279715"/>
                  </a:lnTo>
                  <a:lnTo>
                    <a:pt x="90089" y="281996"/>
                  </a:lnTo>
                  <a:lnTo>
                    <a:pt x="60602" y="282810"/>
                  </a:lnTo>
                  <a:lnTo>
                    <a:pt x="25577" y="272873"/>
                  </a:lnTo>
                  <a:lnTo>
                    <a:pt x="44637" y="246807"/>
                  </a:lnTo>
                  <a:lnTo>
                    <a:pt x="46755" y="243712"/>
                  </a:lnTo>
                  <a:lnTo>
                    <a:pt x="44148" y="233449"/>
                  </a:lnTo>
                  <a:lnTo>
                    <a:pt x="44637" y="226444"/>
                  </a:lnTo>
                  <a:lnTo>
                    <a:pt x="40564" y="217647"/>
                  </a:lnTo>
                  <a:lnTo>
                    <a:pt x="18246" y="217321"/>
                  </a:lnTo>
                  <a:lnTo>
                    <a:pt x="17594" y="207872"/>
                  </a:lnTo>
                  <a:lnTo>
                    <a:pt x="14987" y="203311"/>
                  </a:lnTo>
                  <a:lnTo>
                    <a:pt x="16780" y="199727"/>
                  </a:lnTo>
                  <a:lnTo>
                    <a:pt x="13196" y="187834"/>
                  </a:lnTo>
                  <a:lnTo>
                    <a:pt x="6353" y="174476"/>
                  </a:lnTo>
                  <a:lnTo>
                    <a:pt x="7657" y="167959"/>
                  </a:lnTo>
                  <a:lnTo>
                    <a:pt x="15476" y="158185"/>
                  </a:lnTo>
                  <a:lnTo>
                    <a:pt x="13359" y="158185"/>
                  </a:lnTo>
                  <a:lnTo>
                    <a:pt x="4724" y="156067"/>
                  </a:lnTo>
                  <a:lnTo>
                    <a:pt x="4724" y="151180"/>
                  </a:lnTo>
                  <a:lnTo>
                    <a:pt x="2932" y="141894"/>
                  </a:lnTo>
                  <a:lnTo>
                    <a:pt x="1792" y="140753"/>
                  </a:lnTo>
                  <a:lnTo>
                    <a:pt x="6516" y="134074"/>
                  </a:lnTo>
                  <a:lnTo>
                    <a:pt x="2280" y="130653"/>
                  </a:lnTo>
                  <a:lnTo>
                    <a:pt x="0" y="127232"/>
                  </a:lnTo>
                  <a:lnTo>
                    <a:pt x="5539" y="125766"/>
                  </a:lnTo>
                  <a:lnTo>
                    <a:pt x="12218" y="121367"/>
                  </a:lnTo>
                  <a:lnTo>
                    <a:pt x="11892" y="117946"/>
                  </a:lnTo>
                  <a:lnTo>
                    <a:pt x="13196" y="116643"/>
                  </a:lnTo>
                  <a:lnTo>
                    <a:pt x="9775" y="112244"/>
                  </a:lnTo>
                  <a:lnTo>
                    <a:pt x="11729" y="108334"/>
                  </a:lnTo>
                  <a:lnTo>
                    <a:pt x="11078" y="104914"/>
                  </a:lnTo>
                  <a:lnTo>
                    <a:pt x="11566" y="97745"/>
                  </a:lnTo>
                  <a:lnTo>
                    <a:pt x="11241" y="97094"/>
                  </a:lnTo>
                  <a:lnTo>
                    <a:pt x="13684" y="96279"/>
                  </a:lnTo>
                  <a:lnTo>
                    <a:pt x="19386" y="97745"/>
                  </a:lnTo>
                  <a:lnTo>
                    <a:pt x="23459" y="100841"/>
                  </a:lnTo>
                  <a:lnTo>
                    <a:pt x="27694" y="100841"/>
                  </a:lnTo>
                  <a:lnTo>
                    <a:pt x="30953" y="97745"/>
                  </a:lnTo>
                  <a:lnTo>
                    <a:pt x="35514" y="97745"/>
                  </a:lnTo>
                  <a:lnTo>
                    <a:pt x="41216" y="101981"/>
                  </a:lnTo>
                  <a:lnTo>
                    <a:pt x="42682" y="105565"/>
                  </a:lnTo>
                  <a:lnTo>
                    <a:pt x="44800" y="107683"/>
                  </a:lnTo>
                  <a:lnTo>
                    <a:pt x="47407" y="104914"/>
                  </a:lnTo>
                  <a:lnTo>
                    <a:pt x="54737" y="103773"/>
                  </a:lnTo>
                  <a:lnTo>
                    <a:pt x="58484" y="99538"/>
                  </a:lnTo>
                  <a:lnTo>
                    <a:pt x="59299" y="96279"/>
                  </a:lnTo>
                  <a:lnTo>
                    <a:pt x="62557" y="93347"/>
                  </a:lnTo>
                  <a:lnTo>
                    <a:pt x="61254" y="89763"/>
                  </a:lnTo>
                  <a:lnTo>
                    <a:pt x="69236" y="85527"/>
                  </a:lnTo>
                  <a:lnTo>
                    <a:pt x="79174" y="83572"/>
                  </a:lnTo>
                  <a:lnTo>
                    <a:pt x="79988" y="80966"/>
                  </a:lnTo>
                  <a:lnTo>
                    <a:pt x="83898" y="77871"/>
                  </a:lnTo>
                  <a:lnTo>
                    <a:pt x="87971" y="76893"/>
                  </a:lnTo>
                  <a:lnTo>
                    <a:pt x="89600" y="70051"/>
                  </a:lnTo>
                  <a:lnTo>
                    <a:pt x="89763" y="63697"/>
                  </a:lnTo>
                  <a:lnTo>
                    <a:pt x="95628" y="57344"/>
                  </a:lnTo>
                  <a:lnTo>
                    <a:pt x="95628" y="51968"/>
                  </a:lnTo>
                  <a:lnTo>
                    <a:pt x="93347" y="50176"/>
                  </a:lnTo>
                  <a:lnTo>
                    <a:pt x="93673" y="46918"/>
                  </a:lnTo>
                  <a:lnTo>
                    <a:pt x="96279" y="45777"/>
                  </a:lnTo>
                  <a:lnTo>
                    <a:pt x="99049" y="43823"/>
                  </a:lnTo>
                  <a:lnTo>
                    <a:pt x="105728" y="42031"/>
                  </a:lnTo>
                  <a:lnTo>
                    <a:pt x="107846" y="42193"/>
                  </a:lnTo>
                  <a:lnTo>
                    <a:pt x="115503" y="36491"/>
                  </a:lnTo>
                  <a:lnTo>
                    <a:pt x="121530" y="34699"/>
                  </a:lnTo>
                  <a:lnTo>
                    <a:pt x="126580" y="37795"/>
                  </a:lnTo>
                  <a:lnTo>
                    <a:pt x="132119" y="36491"/>
                  </a:lnTo>
                  <a:lnTo>
                    <a:pt x="134074" y="38447"/>
                  </a:lnTo>
                  <a:lnTo>
                    <a:pt x="142382" y="36166"/>
                  </a:lnTo>
                  <a:lnTo>
                    <a:pt x="147921" y="38772"/>
                  </a:lnTo>
                  <a:lnTo>
                    <a:pt x="151017" y="43334"/>
                  </a:lnTo>
                  <a:lnTo>
                    <a:pt x="154438" y="43497"/>
                  </a:lnTo>
                  <a:lnTo>
                    <a:pt x="158673" y="39750"/>
                  </a:lnTo>
                  <a:lnTo>
                    <a:pt x="163072" y="40076"/>
                  </a:lnTo>
                  <a:lnTo>
                    <a:pt x="168611" y="47244"/>
                  </a:lnTo>
                  <a:lnTo>
                    <a:pt x="172521" y="48873"/>
                  </a:lnTo>
                  <a:lnTo>
                    <a:pt x="180992" y="47081"/>
                  </a:lnTo>
                  <a:lnTo>
                    <a:pt x="186531" y="43985"/>
                  </a:lnTo>
                  <a:lnTo>
                    <a:pt x="189300" y="39913"/>
                  </a:lnTo>
                  <a:lnTo>
                    <a:pt x="192233" y="39261"/>
                  </a:lnTo>
                  <a:lnTo>
                    <a:pt x="195165" y="36491"/>
                  </a:lnTo>
                  <a:lnTo>
                    <a:pt x="197771" y="38447"/>
                  </a:lnTo>
                  <a:lnTo>
                    <a:pt x="200541" y="42031"/>
                  </a:lnTo>
                  <a:lnTo>
                    <a:pt x="209338" y="42845"/>
                  </a:lnTo>
                  <a:lnTo>
                    <a:pt x="209175" y="38772"/>
                  </a:lnTo>
                  <a:lnTo>
                    <a:pt x="206732" y="36329"/>
                  </a:lnTo>
                  <a:lnTo>
                    <a:pt x="207220" y="32907"/>
                  </a:lnTo>
                  <a:lnTo>
                    <a:pt x="212759" y="31441"/>
                  </a:lnTo>
                  <a:lnTo>
                    <a:pt x="214714" y="28672"/>
                  </a:lnTo>
                  <a:lnTo>
                    <a:pt x="217321" y="28672"/>
                  </a:lnTo>
                  <a:lnTo>
                    <a:pt x="217973" y="31441"/>
                  </a:lnTo>
                  <a:lnTo>
                    <a:pt x="223511" y="30790"/>
                  </a:lnTo>
                  <a:lnTo>
                    <a:pt x="227095" y="25251"/>
                  </a:lnTo>
                  <a:lnTo>
                    <a:pt x="225792" y="18246"/>
                  </a:lnTo>
                  <a:lnTo>
                    <a:pt x="228073" y="14825"/>
                  </a:lnTo>
                  <a:lnTo>
                    <a:pt x="231168" y="12055"/>
                  </a:lnTo>
                  <a:lnTo>
                    <a:pt x="231982" y="4724"/>
                  </a:lnTo>
                  <a:lnTo>
                    <a:pt x="234589" y="0"/>
                  </a:lnTo>
                  <a:lnTo>
                    <a:pt x="240780" y="0"/>
                  </a:lnTo>
                  <a:lnTo>
                    <a:pt x="245178" y="3258"/>
                  </a:lnTo>
                  <a:lnTo>
                    <a:pt x="249740" y="5539"/>
                  </a:lnTo>
                  <a:lnTo>
                    <a:pt x="249740" y="9612"/>
                  </a:lnTo>
                  <a:lnTo>
                    <a:pt x="248599" y="15476"/>
                  </a:lnTo>
                  <a:lnTo>
                    <a:pt x="250066" y="20364"/>
                  </a:lnTo>
                  <a:lnTo>
                    <a:pt x="254301" y="20201"/>
                  </a:lnTo>
                  <a:lnTo>
                    <a:pt x="256256" y="24925"/>
                  </a:lnTo>
                  <a:lnTo>
                    <a:pt x="255767" y="31441"/>
                  </a:lnTo>
                  <a:lnTo>
                    <a:pt x="256582" y="36491"/>
                  </a:lnTo>
                  <a:lnTo>
                    <a:pt x="256908" y="46429"/>
                  </a:lnTo>
                  <a:lnTo>
                    <a:pt x="260817" y="51642"/>
                  </a:lnTo>
                  <a:lnTo>
                    <a:pt x="260817" y="55226"/>
                  </a:lnTo>
                  <a:lnTo>
                    <a:pt x="265379" y="57018"/>
                  </a:lnTo>
                  <a:lnTo>
                    <a:pt x="271895" y="57018"/>
                  </a:lnTo>
                  <a:lnTo>
                    <a:pt x="276294" y="53597"/>
                  </a:lnTo>
                  <a:lnTo>
                    <a:pt x="277271" y="51153"/>
                  </a:lnTo>
                  <a:lnTo>
                    <a:pt x="286068" y="47081"/>
                  </a:lnTo>
                  <a:lnTo>
                    <a:pt x="290141" y="43334"/>
                  </a:lnTo>
                  <a:lnTo>
                    <a:pt x="291282" y="38609"/>
                  </a:lnTo>
                  <a:lnTo>
                    <a:pt x="294703" y="35677"/>
                  </a:lnTo>
                  <a:close/>
                </a:path>
              </a:pathLst>
            </a:custGeom>
            <a:solidFill>
              <a:schemeClr val="bg2"/>
            </a:solidFill>
            <a:ln w="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21" name="Forma livre: Forma 220">
              <a:extLst>
                <a:ext uri="{FF2B5EF4-FFF2-40B4-BE49-F238E27FC236}">
                  <a16:creationId xmlns:a16="http://schemas.microsoft.com/office/drawing/2014/main" id="{BCC96166-A4BB-FDD9-C10B-BE9879F6774A}"/>
                </a:ext>
              </a:extLst>
            </p:cNvPr>
            <p:cNvSpPr/>
            <p:nvPr/>
          </p:nvSpPr>
          <p:spPr>
            <a:xfrm>
              <a:off x="7103041" y="3759728"/>
              <a:ext cx="145117" cy="119865"/>
            </a:xfrm>
            <a:custGeom>
              <a:avLst/>
              <a:gdLst>
                <a:gd name="connsiteX0" fmla="*/ 1303 w 140427"/>
                <a:gd name="connsiteY0" fmla="*/ 23948 h 115991"/>
                <a:gd name="connsiteX1" fmla="*/ 1792 w 140427"/>
                <a:gd name="connsiteY1" fmla="*/ 19712 h 115991"/>
                <a:gd name="connsiteX2" fmla="*/ 11403 w 140427"/>
                <a:gd name="connsiteY2" fmla="*/ 15965 h 115991"/>
                <a:gd name="connsiteX3" fmla="*/ 25739 w 140427"/>
                <a:gd name="connsiteY3" fmla="*/ 24110 h 115991"/>
                <a:gd name="connsiteX4" fmla="*/ 35351 w 140427"/>
                <a:gd name="connsiteY4" fmla="*/ 24436 h 115991"/>
                <a:gd name="connsiteX5" fmla="*/ 44637 w 140427"/>
                <a:gd name="connsiteY5" fmla="*/ 29161 h 115991"/>
                <a:gd name="connsiteX6" fmla="*/ 46103 w 140427"/>
                <a:gd name="connsiteY6" fmla="*/ 19875 h 115991"/>
                <a:gd name="connsiteX7" fmla="*/ 42356 w 140427"/>
                <a:gd name="connsiteY7" fmla="*/ 14662 h 115991"/>
                <a:gd name="connsiteX8" fmla="*/ 35677 w 140427"/>
                <a:gd name="connsiteY8" fmla="*/ 10589 h 115991"/>
                <a:gd name="connsiteX9" fmla="*/ 38283 w 140427"/>
                <a:gd name="connsiteY9" fmla="*/ 1303 h 115991"/>
                <a:gd name="connsiteX10" fmla="*/ 45614 w 140427"/>
                <a:gd name="connsiteY10" fmla="*/ 2118 h 115991"/>
                <a:gd name="connsiteX11" fmla="*/ 57507 w 140427"/>
                <a:gd name="connsiteY11" fmla="*/ 11729 h 115991"/>
                <a:gd name="connsiteX12" fmla="*/ 60765 w 140427"/>
                <a:gd name="connsiteY12" fmla="*/ 18083 h 115991"/>
                <a:gd name="connsiteX13" fmla="*/ 72494 w 140427"/>
                <a:gd name="connsiteY13" fmla="*/ 19223 h 115991"/>
                <a:gd name="connsiteX14" fmla="*/ 74775 w 140427"/>
                <a:gd name="connsiteY14" fmla="*/ 14825 h 115991"/>
                <a:gd name="connsiteX15" fmla="*/ 82106 w 140427"/>
                <a:gd name="connsiteY15" fmla="*/ 10752 h 115991"/>
                <a:gd name="connsiteX16" fmla="*/ 91066 w 140427"/>
                <a:gd name="connsiteY16" fmla="*/ 0 h 115991"/>
                <a:gd name="connsiteX17" fmla="*/ 96442 w 140427"/>
                <a:gd name="connsiteY17" fmla="*/ 3910 h 115991"/>
                <a:gd name="connsiteX18" fmla="*/ 104425 w 140427"/>
                <a:gd name="connsiteY18" fmla="*/ 14173 h 115991"/>
                <a:gd name="connsiteX19" fmla="*/ 104750 w 140427"/>
                <a:gd name="connsiteY19" fmla="*/ 19223 h 115991"/>
                <a:gd name="connsiteX20" fmla="*/ 108008 w 140427"/>
                <a:gd name="connsiteY20" fmla="*/ 26391 h 115991"/>
                <a:gd name="connsiteX21" fmla="*/ 116643 w 140427"/>
                <a:gd name="connsiteY21" fmla="*/ 32419 h 115991"/>
                <a:gd name="connsiteX22" fmla="*/ 117620 w 140427"/>
                <a:gd name="connsiteY22" fmla="*/ 36491 h 115991"/>
                <a:gd name="connsiteX23" fmla="*/ 123159 w 140427"/>
                <a:gd name="connsiteY23" fmla="*/ 40727 h 115991"/>
                <a:gd name="connsiteX24" fmla="*/ 130001 w 140427"/>
                <a:gd name="connsiteY24" fmla="*/ 40727 h 115991"/>
                <a:gd name="connsiteX25" fmla="*/ 136681 w 140427"/>
                <a:gd name="connsiteY25" fmla="*/ 43334 h 115991"/>
                <a:gd name="connsiteX26" fmla="*/ 140428 w 140427"/>
                <a:gd name="connsiteY26" fmla="*/ 48710 h 115991"/>
                <a:gd name="connsiteX27" fmla="*/ 136517 w 140427"/>
                <a:gd name="connsiteY27" fmla="*/ 48221 h 115991"/>
                <a:gd name="connsiteX28" fmla="*/ 133097 w 140427"/>
                <a:gd name="connsiteY28" fmla="*/ 50828 h 115991"/>
                <a:gd name="connsiteX29" fmla="*/ 126255 w 140427"/>
                <a:gd name="connsiteY29" fmla="*/ 51153 h 115991"/>
                <a:gd name="connsiteX30" fmla="*/ 118435 w 140427"/>
                <a:gd name="connsiteY30" fmla="*/ 57670 h 115991"/>
                <a:gd name="connsiteX31" fmla="*/ 118923 w 140427"/>
                <a:gd name="connsiteY31" fmla="*/ 64349 h 115991"/>
                <a:gd name="connsiteX32" fmla="*/ 119901 w 140427"/>
                <a:gd name="connsiteY32" fmla="*/ 69725 h 115991"/>
                <a:gd name="connsiteX33" fmla="*/ 117457 w 140427"/>
                <a:gd name="connsiteY33" fmla="*/ 72820 h 115991"/>
                <a:gd name="connsiteX34" fmla="*/ 116969 w 140427"/>
                <a:gd name="connsiteY34" fmla="*/ 77382 h 115991"/>
                <a:gd name="connsiteX35" fmla="*/ 118598 w 140427"/>
                <a:gd name="connsiteY35" fmla="*/ 80151 h 115991"/>
                <a:gd name="connsiteX36" fmla="*/ 118598 w 140427"/>
                <a:gd name="connsiteY36" fmla="*/ 83898 h 115991"/>
                <a:gd name="connsiteX37" fmla="*/ 116154 w 140427"/>
                <a:gd name="connsiteY37" fmla="*/ 86179 h 115991"/>
                <a:gd name="connsiteX38" fmla="*/ 116154 w 140427"/>
                <a:gd name="connsiteY38" fmla="*/ 94976 h 115991"/>
                <a:gd name="connsiteX39" fmla="*/ 114688 w 140427"/>
                <a:gd name="connsiteY39" fmla="*/ 98234 h 115991"/>
                <a:gd name="connsiteX40" fmla="*/ 113059 w 140427"/>
                <a:gd name="connsiteY40" fmla="*/ 95302 h 115991"/>
                <a:gd name="connsiteX41" fmla="*/ 114688 w 140427"/>
                <a:gd name="connsiteY41" fmla="*/ 89763 h 115991"/>
                <a:gd name="connsiteX42" fmla="*/ 111267 w 140427"/>
                <a:gd name="connsiteY42" fmla="*/ 86016 h 115991"/>
                <a:gd name="connsiteX43" fmla="*/ 109312 w 140427"/>
                <a:gd name="connsiteY43" fmla="*/ 87808 h 115991"/>
                <a:gd name="connsiteX44" fmla="*/ 107846 w 140427"/>
                <a:gd name="connsiteY44" fmla="*/ 91881 h 115991"/>
                <a:gd name="connsiteX45" fmla="*/ 109638 w 140427"/>
                <a:gd name="connsiteY45" fmla="*/ 98560 h 115991"/>
                <a:gd name="connsiteX46" fmla="*/ 109149 w 140427"/>
                <a:gd name="connsiteY46" fmla="*/ 102633 h 115991"/>
                <a:gd name="connsiteX47" fmla="*/ 110452 w 140427"/>
                <a:gd name="connsiteY47" fmla="*/ 104913 h 115991"/>
                <a:gd name="connsiteX48" fmla="*/ 110452 w 140427"/>
                <a:gd name="connsiteY48" fmla="*/ 114525 h 115991"/>
                <a:gd name="connsiteX49" fmla="*/ 108171 w 140427"/>
                <a:gd name="connsiteY49" fmla="*/ 115991 h 115991"/>
                <a:gd name="connsiteX50" fmla="*/ 103936 w 140427"/>
                <a:gd name="connsiteY50" fmla="*/ 115014 h 115991"/>
                <a:gd name="connsiteX51" fmla="*/ 102307 w 140427"/>
                <a:gd name="connsiteY51" fmla="*/ 112081 h 115991"/>
                <a:gd name="connsiteX52" fmla="*/ 98071 w 140427"/>
                <a:gd name="connsiteY52" fmla="*/ 110126 h 115991"/>
                <a:gd name="connsiteX53" fmla="*/ 89600 w 140427"/>
                <a:gd name="connsiteY53" fmla="*/ 100841 h 115991"/>
                <a:gd name="connsiteX54" fmla="*/ 97908 w 140427"/>
                <a:gd name="connsiteY54" fmla="*/ 95139 h 115991"/>
                <a:gd name="connsiteX55" fmla="*/ 92044 w 140427"/>
                <a:gd name="connsiteY55" fmla="*/ 91392 h 115991"/>
                <a:gd name="connsiteX56" fmla="*/ 90740 w 140427"/>
                <a:gd name="connsiteY56" fmla="*/ 88785 h 115991"/>
                <a:gd name="connsiteX57" fmla="*/ 93835 w 140427"/>
                <a:gd name="connsiteY57" fmla="*/ 86179 h 115991"/>
                <a:gd name="connsiteX58" fmla="*/ 90414 w 140427"/>
                <a:gd name="connsiteY58" fmla="*/ 82758 h 115991"/>
                <a:gd name="connsiteX59" fmla="*/ 88134 w 140427"/>
                <a:gd name="connsiteY59" fmla="*/ 79011 h 115991"/>
                <a:gd name="connsiteX60" fmla="*/ 85690 w 140427"/>
                <a:gd name="connsiteY60" fmla="*/ 78522 h 115991"/>
                <a:gd name="connsiteX61" fmla="*/ 85201 w 140427"/>
                <a:gd name="connsiteY61" fmla="*/ 77056 h 115991"/>
                <a:gd name="connsiteX62" fmla="*/ 82595 w 140427"/>
                <a:gd name="connsiteY62" fmla="*/ 77056 h 115991"/>
                <a:gd name="connsiteX63" fmla="*/ 77871 w 140427"/>
                <a:gd name="connsiteY63" fmla="*/ 80640 h 115991"/>
                <a:gd name="connsiteX64" fmla="*/ 74123 w 140427"/>
                <a:gd name="connsiteY64" fmla="*/ 81455 h 115991"/>
                <a:gd name="connsiteX65" fmla="*/ 70865 w 140427"/>
                <a:gd name="connsiteY65" fmla="*/ 85853 h 115991"/>
                <a:gd name="connsiteX66" fmla="*/ 67770 w 140427"/>
                <a:gd name="connsiteY66" fmla="*/ 87156 h 115991"/>
                <a:gd name="connsiteX67" fmla="*/ 63371 w 140427"/>
                <a:gd name="connsiteY67" fmla="*/ 93184 h 115991"/>
                <a:gd name="connsiteX68" fmla="*/ 60765 w 140427"/>
                <a:gd name="connsiteY68" fmla="*/ 93184 h 115991"/>
                <a:gd name="connsiteX69" fmla="*/ 58973 w 140427"/>
                <a:gd name="connsiteY69" fmla="*/ 95790 h 115991"/>
                <a:gd name="connsiteX70" fmla="*/ 58158 w 140427"/>
                <a:gd name="connsiteY70" fmla="*/ 98723 h 115991"/>
                <a:gd name="connsiteX71" fmla="*/ 53597 w 140427"/>
                <a:gd name="connsiteY71" fmla="*/ 100678 h 115991"/>
                <a:gd name="connsiteX72" fmla="*/ 50013 w 140427"/>
                <a:gd name="connsiteY72" fmla="*/ 99374 h 115991"/>
                <a:gd name="connsiteX73" fmla="*/ 50339 w 140427"/>
                <a:gd name="connsiteY73" fmla="*/ 99374 h 115991"/>
                <a:gd name="connsiteX74" fmla="*/ 50339 w 140427"/>
                <a:gd name="connsiteY74" fmla="*/ 93836 h 115991"/>
                <a:gd name="connsiteX75" fmla="*/ 52131 w 140427"/>
                <a:gd name="connsiteY75" fmla="*/ 91555 h 115991"/>
                <a:gd name="connsiteX76" fmla="*/ 48384 w 140427"/>
                <a:gd name="connsiteY76" fmla="*/ 84876 h 115991"/>
                <a:gd name="connsiteX77" fmla="*/ 54574 w 140427"/>
                <a:gd name="connsiteY77" fmla="*/ 83409 h 115991"/>
                <a:gd name="connsiteX78" fmla="*/ 48710 w 140427"/>
                <a:gd name="connsiteY78" fmla="*/ 77871 h 115991"/>
                <a:gd name="connsiteX79" fmla="*/ 41379 w 140427"/>
                <a:gd name="connsiteY79" fmla="*/ 77545 h 115991"/>
                <a:gd name="connsiteX80" fmla="*/ 29975 w 140427"/>
                <a:gd name="connsiteY80" fmla="*/ 71191 h 115991"/>
                <a:gd name="connsiteX81" fmla="*/ 26717 w 140427"/>
                <a:gd name="connsiteY81" fmla="*/ 63372 h 115991"/>
                <a:gd name="connsiteX82" fmla="*/ 29975 w 140427"/>
                <a:gd name="connsiteY82" fmla="*/ 59625 h 115991"/>
                <a:gd name="connsiteX83" fmla="*/ 29649 w 140427"/>
                <a:gd name="connsiteY83" fmla="*/ 54412 h 115991"/>
                <a:gd name="connsiteX84" fmla="*/ 19386 w 140427"/>
                <a:gd name="connsiteY84" fmla="*/ 45940 h 115991"/>
                <a:gd name="connsiteX85" fmla="*/ 19060 w 140427"/>
                <a:gd name="connsiteY85" fmla="*/ 40727 h 115991"/>
                <a:gd name="connsiteX86" fmla="*/ 20852 w 140427"/>
                <a:gd name="connsiteY86" fmla="*/ 34863 h 115991"/>
                <a:gd name="connsiteX87" fmla="*/ 15639 w 140427"/>
                <a:gd name="connsiteY87" fmla="*/ 29649 h 115991"/>
                <a:gd name="connsiteX88" fmla="*/ 6353 w 140427"/>
                <a:gd name="connsiteY88" fmla="*/ 28509 h 115991"/>
                <a:gd name="connsiteX89" fmla="*/ 1466 w 140427"/>
                <a:gd name="connsiteY89" fmla="*/ 23948 h 115991"/>
                <a:gd name="connsiteX90" fmla="*/ 1466 w 140427"/>
                <a:gd name="connsiteY90" fmla="*/ 23948 h 115991"/>
                <a:gd name="connsiteX91" fmla="*/ 44148 w 140427"/>
                <a:gd name="connsiteY91" fmla="*/ 100026 h 115991"/>
                <a:gd name="connsiteX92" fmla="*/ 32744 w 140427"/>
                <a:gd name="connsiteY92" fmla="*/ 82758 h 115991"/>
                <a:gd name="connsiteX93" fmla="*/ 26554 w 140427"/>
                <a:gd name="connsiteY93" fmla="*/ 80966 h 115991"/>
                <a:gd name="connsiteX94" fmla="*/ 22481 w 140427"/>
                <a:gd name="connsiteY94" fmla="*/ 72820 h 115991"/>
                <a:gd name="connsiteX95" fmla="*/ 18083 w 140427"/>
                <a:gd name="connsiteY95" fmla="*/ 72820 h 115991"/>
                <a:gd name="connsiteX96" fmla="*/ 15150 w 140427"/>
                <a:gd name="connsiteY96" fmla="*/ 75427 h 115991"/>
                <a:gd name="connsiteX97" fmla="*/ 8471 w 140427"/>
                <a:gd name="connsiteY97" fmla="*/ 69236 h 115991"/>
                <a:gd name="connsiteX98" fmla="*/ 4398 w 140427"/>
                <a:gd name="connsiteY98" fmla="*/ 71517 h 115991"/>
                <a:gd name="connsiteX99" fmla="*/ 0 w 140427"/>
                <a:gd name="connsiteY99" fmla="*/ 71517 h 115991"/>
                <a:gd name="connsiteX100" fmla="*/ 977 w 140427"/>
                <a:gd name="connsiteY100" fmla="*/ 73309 h 115991"/>
                <a:gd name="connsiteX101" fmla="*/ 1955 w 140427"/>
                <a:gd name="connsiteY101" fmla="*/ 73309 h 115991"/>
                <a:gd name="connsiteX102" fmla="*/ 5539 w 140427"/>
                <a:gd name="connsiteY102" fmla="*/ 77545 h 115991"/>
                <a:gd name="connsiteX103" fmla="*/ 8797 w 140427"/>
                <a:gd name="connsiteY103" fmla="*/ 77219 h 115991"/>
                <a:gd name="connsiteX104" fmla="*/ 10589 w 140427"/>
                <a:gd name="connsiteY104" fmla="*/ 81780 h 115991"/>
                <a:gd name="connsiteX105" fmla="*/ 10263 w 140427"/>
                <a:gd name="connsiteY105" fmla="*/ 85527 h 115991"/>
                <a:gd name="connsiteX106" fmla="*/ 21504 w 140427"/>
                <a:gd name="connsiteY106" fmla="*/ 91555 h 115991"/>
                <a:gd name="connsiteX107" fmla="*/ 22318 w 140427"/>
                <a:gd name="connsiteY107" fmla="*/ 96442 h 115991"/>
                <a:gd name="connsiteX108" fmla="*/ 28998 w 140427"/>
                <a:gd name="connsiteY108" fmla="*/ 99863 h 115991"/>
                <a:gd name="connsiteX109" fmla="*/ 35677 w 140427"/>
                <a:gd name="connsiteY109" fmla="*/ 99863 h 115991"/>
                <a:gd name="connsiteX110" fmla="*/ 42845 w 140427"/>
                <a:gd name="connsiteY110" fmla="*/ 104099 h 115991"/>
                <a:gd name="connsiteX111" fmla="*/ 44311 w 140427"/>
                <a:gd name="connsiteY111" fmla="*/ 100026 h 1159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</a:cxnLst>
              <a:rect l="l" t="t" r="r" b="b"/>
              <a:pathLst>
                <a:path w="140427" h="115991">
                  <a:moveTo>
                    <a:pt x="1303" y="23948"/>
                  </a:moveTo>
                  <a:lnTo>
                    <a:pt x="1792" y="19712"/>
                  </a:lnTo>
                  <a:lnTo>
                    <a:pt x="11403" y="15965"/>
                  </a:lnTo>
                  <a:lnTo>
                    <a:pt x="25739" y="24110"/>
                  </a:lnTo>
                  <a:lnTo>
                    <a:pt x="35351" y="24436"/>
                  </a:lnTo>
                  <a:lnTo>
                    <a:pt x="44637" y="29161"/>
                  </a:lnTo>
                  <a:lnTo>
                    <a:pt x="46103" y="19875"/>
                  </a:lnTo>
                  <a:lnTo>
                    <a:pt x="42356" y="14662"/>
                  </a:lnTo>
                  <a:lnTo>
                    <a:pt x="35677" y="10589"/>
                  </a:lnTo>
                  <a:lnTo>
                    <a:pt x="38283" y="1303"/>
                  </a:lnTo>
                  <a:lnTo>
                    <a:pt x="45614" y="2118"/>
                  </a:lnTo>
                  <a:lnTo>
                    <a:pt x="57507" y="11729"/>
                  </a:lnTo>
                  <a:lnTo>
                    <a:pt x="60765" y="18083"/>
                  </a:lnTo>
                  <a:lnTo>
                    <a:pt x="72494" y="19223"/>
                  </a:lnTo>
                  <a:lnTo>
                    <a:pt x="74775" y="14825"/>
                  </a:lnTo>
                  <a:lnTo>
                    <a:pt x="82106" y="10752"/>
                  </a:lnTo>
                  <a:lnTo>
                    <a:pt x="91066" y="0"/>
                  </a:lnTo>
                  <a:lnTo>
                    <a:pt x="96442" y="3910"/>
                  </a:lnTo>
                  <a:lnTo>
                    <a:pt x="104425" y="14173"/>
                  </a:lnTo>
                  <a:lnTo>
                    <a:pt x="104750" y="19223"/>
                  </a:lnTo>
                  <a:lnTo>
                    <a:pt x="108008" y="26391"/>
                  </a:lnTo>
                  <a:lnTo>
                    <a:pt x="116643" y="32419"/>
                  </a:lnTo>
                  <a:lnTo>
                    <a:pt x="117620" y="36491"/>
                  </a:lnTo>
                  <a:lnTo>
                    <a:pt x="123159" y="40727"/>
                  </a:lnTo>
                  <a:lnTo>
                    <a:pt x="130001" y="40727"/>
                  </a:lnTo>
                  <a:cubicBezTo>
                    <a:pt x="130001" y="40727"/>
                    <a:pt x="136681" y="43334"/>
                    <a:pt x="136681" y="43334"/>
                  </a:cubicBezTo>
                  <a:lnTo>
                    <a:pt x="140428" y="48710"/>
                  </a:lnTo>
                  <a:lnTo>
                    <a:pt x="136517" y="48221"/>
                  </a:lnTo>
                  <a:lnTo>
                    <a:pt x="133097" y="50828"/>
                  </a:lnTo>
                  <a:lnTo>
                    <a:pt x="126255" y="51153"/>
                  </a:lnTo>
                  <a:lnTo>
                    <a:pt x="118435" y="57670"/>
                  </a:lnTo>
                  <a:lnTo>
                    <a:pt x="118923" y="64349"/>
                  </a:lnTo>
                  <a:lnTo>
                    <a:pt x="119901" y="69725"/>
                  </a:lnTo>
                  <a:lnTo>
                    <a:pt x="117457" y="72820"/>
                  </a:lnTo>
                  <a:lnTo>
                    <a:pt x="116969" y="77382"/>
                  </a:lnTo>
                  <a:lnTo>
                    <a:pt x="118598" y="80151"/>
                  </a:lnTo>
                  <a:lnTo>
                    <a:pt x="118598" y="83898"/>
                  </a:lnTo>
                  <a:lnTo>
                    <a:pt x="116154" y="86179"/>
                  </a:lnTo>
                  <a:lnTo>
                    <a:pt x="116154" y="94976"/>
                  </a:lnTo>
                  <a:lnTo>
                    <a:pt x="114688" y="98234"/>
                  </a:lnTo>
                  <a:lnTo>
                    <a:pt x="113059" y="95302"/>
                  </a:lnTo>
                  <a:lnTo>
                    <a:pt x="114688" y="89763"/>
                  </a:lnTo>
                  <a:lnTo>
                    <a:pt x="111267" y="86016"/>
                  </a:lnTo>
                  <a:lnTo>
                    <a:pt x="109312" y="87808"/>
                  </a:lnTo>
                  <a:lnTo>
                    <a:pt x="107846" y="91881"/>
                  </a:lnTo>
                  <a:lnTo>
                    <a:pt x="109638" y="98560"/>
                  </a:lnTo>
                  <a:lnTo>
                    <a:pt x="109149" y="102633"/>
                  </a:lnTo>
                  <a:lnTo>
                    <a:pt x="110452" y="104913"/>
                  </a:lnTo>
                  <a:lnTo>
                    <a:pt x="110452" y="114525"/>
                  </a:lnTo>
                  <a:cubicBezTo>
                    <a:pt x="110452" y="114525"/>
                    <a:pt x="108171" y="115991"/>
                    <a:pt x="108171" y="115991"/>
                  </a:cubicBezTo>
                  <a:lnTo>
                    <a:pt x="103936" y="115014"/>
                  </a:lnTo>
                  <a:lnTo>
                    <a:pt x="102307" y="112081"/>
                  </a:lnTo>
                  <a:lnTo>
                    <a:pt x="98071" y="110126"/>
                  </a:lnTo>
                  <a:lnTo>
                    <a:pt x="89600" y="100841"/>
                  </a:lnTo>
                  <a:lnTo>
                    <a:pt x="97908" y="95139"/>
                  </a:lnTo>
                  <a:lnTo>
                    <a:pt x="92044" y="91392"/>
                  </a:lnTo>
                  <a:lnTo>
                    <a:pt x="90740" y="88785"/>
                  </a:lnTo>
                  <a:lnTo>
                    <a:pt x="93835" y="86179"/>
                  </a:lnTo>
                  <a:lnTo>
                    <a:pt x="90414" y="82758"/>
                  </a:lnTo>
                  <a:lnTo>
                    <a:pt x="88134" y="79011"/>
                  </a:lnTo>
                  <a:lnTo>
                    <a:pt x="85690" y="78522"/>
                  </a:lnTo>
                  <a:lnTo>
                    <a:pt x="85201" y="77056"/>
                  </a:lnTo>
                  <a:lnTo>
                    <a:pt x="82595" y="77056"/>
                  </a:lnTo>
                  <a:cubicBezTo>
                    <a:pt x="82595" y="77056"/>
                    <a:pt x="77871" y="80640"/>
                    <a:pt x="77871" y="80640"/>
                  </a:cubicBezTo>
                  <a:lnTo>
                    <a:pt x="74123" y="81455"/>
                  </a:lnTo>
                  <a:lnTo>
                    <a:pt x="70865" y="85853"/>
                  </a:lnTo>
                  <a:lnTo>
                    <a:pt x="67770" y="87156"/>
                  </a:lnTo>
                  <a:lnTo>
                    <a:pt x="63371" y="93184"/>
                  </a:lnTo>
                  <a:lnTo>
                    <a:pt x="60765" y="93184"/>
                  </a:lnTo>
                  <a:cubicBezTo>
                    <a:pt x="60765" y="93184"/>
                    <a:pt x="58973" y="95790"/>
                    <a:pt x="58973" y="95790"/>
                  </a:cubicBezTo>
                  <a:lnTo>
                    <a:pt x="58158" y="98723"/>
                  </a:lnTo>
                  <a:lnTo>
                    <a:pt x="53597" y="100678"/>
                  </a:lnTo>
                  <a:lnTo>
                    <a:pt x="50013" y="99374"/>
                  </a:lnTo>
                  <a:lnTo>
                    <a:pt x="50339" y="99374"/>
                  </a:lnTo>
                  <a:lnTo>
                    <a:pt x="50339" y="93836"/>
                  </a:lnTo>
                  <a:lnTo>
                    <a:pt x="52131" y="91555"/>
                  </a:lnTo>
                  <a:lnTo>
                    <a:pt x="48384" y="84876"/>
                  </a:lnTo>
                  <a:lnTo>
                    <a:pt x="54574" y="83409"/>
                  </a:lnTo>
                  <a:lnTo>
                    <a:pt x="48710" y="77871"/>
                  </a:lnTo>
                  <a:lnTo>
                    <a:pt x="41379" y="77545"/>
                  </a:lnTo>
                  <a:lnTo>
                    <a:pt x="29975" y="71191"/>
                  </a:lnTo>
                  <a:lnTo>
                    <a:pt x="26717" y="63372"/>
                  </a:lnTo>
                  <a:lnTo>
                    <a:pt x="29975" y="59625"/>
                  </a:lnTo>
                  <a:lnTo>
                    <a:pt x="29649" y="54412"/>
                  </a:lnTo>
                  <a:lnTo>
                    <a:pt x="19386" y="45940"/>
                  </a:lnTo>
                  <a:lnTo>
                    <a:pt x="19060" y="40727"/>
                  </a:lnTo>
                  <a:lnTo>
                    <a:pt x="20852" y="34863"/>
                  </a:lnTo>
                  <a:lnTo>
                    <a:pt x="15639" y="29649"/>
                  </a:lnTo>
                  <a:lnTo>
                    <a:pt x="6353" y="28509"/>
                  </a:lnTo>
                  <a:lnTo>
                    <a:pt x="1466" y="23948"/>
                  </a:lnTo>
                  <a:lnTo>
                    <a:pt x="1466" y="23948"/>
                  </a:lnTo>
                  <a:close/>
                  <a:moveTo>
                    <a:pt x="44148" y="100026"/>
                  </a:moveTo>
                  <a:lnTo>
                    <a:pt x="32744" y="82758"/>
                  </a:lnTo>
                  <a:lnTo>
                    <a:pt x="26554" y="80966"/>
                  </a:lnTo>
                  <a:lnTo>
                    <a:pt x="22481" y="72820"/>
                  </a:lnTo>
                  <a:lnTo>
                    <a:pt x="18083" y="72820"/>
                  </a:lnTo>
                  <a:lnTo>
                    <a:pt x="15150" y="75427"/>
                  </a:lnTo>
                  <a:lnTo>
                    <a:pt x="8471" y="69236"/>
                  </a:lnTo>
                  <a:lnTo>
                    <a:pt x="4398" y="71517"/>
                  </a:lnTo>
                  <a:lnTo>
                    <a:pt x="0" y="71517"/>
                  </a:lnTo>
                  <a:cubicBezTo>
                    <a:pt x="0" y="71517"/>
                    <a:pt x="977" y="73309"/>
                    <a:pt x="977" y="73309"/>
                  </a:cubicBezTo>
                  <a:lnTo>
                    <a:pt x="1955" y="73309"/>
                  </a:lnTo>
                  <a:cubicBezTo>
                    <a:pt x="1955" y="73309"/>
                    <a:pt x="5539" y="77545"/>
                    <a:pt x="5539" y="77545"/>
                  </a:cubicBezTo>
                  <a:lnTo>
                    <a:pt x="8797" y="77219"/>
                  </a:lnTo>
                  <a:lnTo>
                    <a:pt x="10589" y="81780"/>
                  </a:lnTo>
                  <a:lnTo>
                    <a:pt x="10263" y="85527"/>
                  </a:lnTo>
                  <a:lnTo>
                    <a:pt x="21504" y="91555"/>
                  </a:lnTo>
                  <a:lnTo>
                    <a:pt x="22318" y="96442"/>
                  </a:lnTo>
                  <a:lnTo>
                    <a:pt x="28998" y="99863"/>
                  </a:lnTo>
                  <a:lnTo>
                    <a:pt x="35677" y="99863"/>
                  </a:lnTo>
                  <a:cubicBezTo>
                    <a:pt x="35677" y="99863"/>
                    <a:pt x="42845" y="104099"/>
                    <a:pt x="42845" y="104099"/>
                  </a:cubicBezTo>
                  <a:lnTo>
                    <a:pt x="44311" y="100026"/>
                  </a:lnTo>
                  <a:close/>
                </a:path>
              </a:pathLst>
            </a:custGeom>
            <a:solidFill>
              <a:schemeClr val="bg2"/>
            </a:solidFill>
            <a:ln w="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22" name="Forma livre: Forma 221">
              <a:extLst>
                <a:ext uri="{FF2B5EF4-FFF2-40B4-BE49-F238E27FC236}">
                  <a16:creationId xmlns:a16="http://schemas.microsoft.com/office/drawing/2014/main" id="{470FF11C-9E22-ECED-D977-B83ED1F9FA09}"/>
                </a:ext>
              </a:extLst>
            </p:cNvPr>
            <p:cNvSpPr/>
            <p:nvPr/>
          </p:nvSpPr>
          <p:spPr>
            <a:xfrm>
              <a:off x="7091088" y="3835317"/>
              <a:ext cx="541247" cy="435859"/>
            </a:xfrm>
            <a:custGeom>
              <a:avLst/>
              <a:gdLst>
                <a:gd name="connsiteX0" fmla="*/ 12381 w 523753"/>
                <a:gd name="connsiteY0" fmla="*/ 0 h 421771"/>
                <a:gd name="connsiteX1" fmla="*/ 13522 w 523753"/>
                <a:gd name="connsiteY1" fmla="*/ 163 h 421771"/>
                <a:gd name="connsiteX2" fmla="*/ 17106 w 523753"/>
                <a:gd name="connsiteY2" fmla="*/ 4236 h 421771"/>
                <a:gd name="connsiteX3" fmla="*/ 20364 w 523753"/>
                <a:gd name="connsiteY3" fmla="*/ 4073 h 421771"/>
                <a:gd name="connsiteX4" fmla="*/ 22156 w 523753"/>
                <a:gd name="connsiteY4" fmla="*/ 8634 h 421771"/>
                <a:gd name="connsiteX5" fmla="*/ 21830 w 523753"/>
                <a:gd name="connsiteY5" fmla="*/ 12381 h 421771"/>
                <a:gd name="connsiteX6" fmla="*/ 32908 w 523753"/>
                <a:gd name="connsiteY6" fmla="*/ 18409 h 421771"/>
                <a:gd name="connsiteX7" fmla="*/ 33722 w 523753"/>
                <a:gd name="connsiteY7" fmla="*/ 23296 h 421771"/>
                <a:gd name="connsiteX8" fmla="*/ 40402 w 523753"/>
                <a:gd name="connsiteY8" fmla="*/ 26717 h 421771"/>
                <a:gd name="connsiteX9" fmla="*/ 47081 w 523753"/>
                <a:gd name="connsiteY9" fmla="*/ 26880 h 421771"/>
                <a:gd name="connsiteX10" fmla="*/ 54249 w 523753"/>
                <a:gd name="connsiteY10" fmla="*/ 30953 h 421771"/>
                <a:gd name="connsiteX11" fmla="*/ 55715 w 523753"/>
                <a:gd name="connsiteY11" fmla="*/ 26880 h 421771"/>
                <a:gd name="connsiteX12" fmla="*/ 55715 w 523753"/>
                <a:gd name="connsiteY12" fmla="*/ 27043 h 421771"/>
                <a:gd name="connsiteX13" fmla="*/ 61417 w 523753"/>
                <a:gd name="connsiteY13" fmla="*/ 25902 h 421771"/>
                <a:gd name="connsiteX14" fmla="*/ 65001 w 523753"/>
                <a:gd name="connsiteY14" fmla="*/ 27206 h 421771"/>
                <a:gd name="connsiteX15" fmla="*/ 69563 w 523753"/>
                <a:gd name="connsiteY15" fmla="*/ 25088 h 421771"/>
                <a:gd name="connsiteX16" fmla="*/ 70377 w 523753"/>
                <a:gd name="connsiteY16" fmla="*/ 22156 h 421771"/>
                <a:gd name="connsiteX17" fmla="*/ 72006 w 523753"/>
                <a:gd name="connsiteY17" fmla="*/ 19712 h 421771"/>
                <a:gd name="connsiteX18" fmla="*/ 74775 w 523753"/>
                <a:gd name="connsiteY18" fmla="*/ 19549 h 421771"/>
                <a:gd name="connsiteX19" fmla="*/ 79011 w 523753"/>
                <a:gd name="connsiteY19" fmla="*/ 13521 h 421771"/>
                <a:gd name="connsiteX20" fmla="*/ 82106 w 523753"/>
                <a:gd name="connsiteY20" fmla="*/ 12218 h 421771"/>
                <a:gd name="connsiteX21" fmla="*/ 85365 w 523753"/>
                <a:gd name="connsiteY21" fmla="*/ 7820 h 421771"/>
                <a:gd name="connsiteX22" fmla="*/ 89111 w 523753"/>
                <a:gd name="connsiteY22" fmla="*/ 7168 h 421771"/>
                <a:gd name="connsiteX23" fmla="*/ 93836 w 523753"/>
                <a:gd name="connsiteY23" fmla="*/ 3584 h 421771"/>
                <a:gd name="connsiteX24" fmla="*/ 96606 w 523753"/>
                <a:gd name="connsiteY24" fmla="*/ 3584 h 421771"/>
                <a:gd name="connsiteX25" fmla="*/ 96931 w 523753"/>
                <a:gd name="connsiteY25" fmla="*/ 5050 h 421771"/>
                <a:gd name="connsiteX26" fmla="*/ 99375 w 523753"/>
                <a:gd name="connsiteY26" fmla="*/ 5702 h 421771"/>
                <a:gd name="connsiteX27" fmla="*/ 101656 w 523753"/>
                <a:gd name="connsiteY27" fmla="*/ 9449 h 421771"/>
                <a:gd name="connsiteX28" fmla="*/ 105077 w 523753"/>
                <a:gd name="connsiteY28" fmla="*/ 12870 h 421771"/>
                <a:gd name="connsiteX29" fmla="*/ 101818 w 523753"/>
                <a:gd name="connsiteY29" fmla="*/ 15476 h 421771"/>
                <a:gd name="connsiteX30" fmla="*/ 103284 w 523753"/>
                <a:gd name="connsiteY30" fmla="*/ 18083 h 421771"/>
                <a:gd name="connsiteX31" fmla="*/ 109149 w 523753"/>
                <a:gd name="connsiteY31" fmla="*/ 21667 h 421771"/>
                <a:gd name="connsiteX32" fmla="*/ 100841 w 523753"/>
                <a:gd name="connsiteY32" fmla="*/ 27369 h 421771"/>
                <a:gd name="connsiteX33" fmla="*/ 109312 w 523753"/>
                <a:gd name="connsiteY33" fmla="*/ 36655 h 421771"/>
                <a:gd name="connsiteX34" fmla="*/ 113548 w 523753"/>
                <a:gd name="connsiteY34" fmla="*/ 38772 h 421771"/>
                <a:gd name="connsiteX35" fmla="*/ 115340 w 523753"/>
                <a:gd name="connsiteY35" fmla="*/ 41705 h 421771"/>
                <a:gd name="connsiteX36" fmla="*/ 119575 w 523753"/>
                <a:gd name="connsiteY36" fmla="*/ 42682 h 421771"/>
                <a:gd name="connsiteX37" fmla="*/ 121693 w 523753"/>
                <a:gd name="connsiteY37" fmla="*/ 41216 h 421771"/>
                <a:gd name="connsiteX38" fmla="*/ 121693 w 523753"/>
                <a:gd name="connsiteY38" fmla="*/ 42682 h 421771"/>
                <a:gd name="connsiteX39" fmla="*/ 125440 w 523753"/>
                <a:gd name="connsiteY39" fmla="*/ 48058 h 421771"/>
                <a:gd name="connsiteX40" fmla="*/ 126092 w 523753"/>
                <a:gd name="connsiteY40" fmla="*/ 54249 h 421771"/>
                <a:gd name="connsiteX41" fmla="*/ 124952 w 523753"/>
                <a:gd name="connsiteY41" fmla="*/ 60114 h 421771"/>
                <a:gd name="connsiteX42" fmla="*/ 126581 w 523753"/>
                <a:gd name="connsiteY42" fmla="*/ 62394 h 421771"/>
                <a:gd name="connsiteX43" fmla="*/ 130490 w 523753"/>
                <a:gd name="connsiteY43" fmla="*/ 63046 h 421771"/>
                <a:gd name="connsiteX44" fmla="*/ 135541 w 523753"/>
                <a:gd name="connsiteY44" fmla="*/ 68422 h 421771"/>
                <a:gd name="connsiteX45" fmla="*/ 141568 w 523753"/>
                <a:gd name="connsiteY45" fmla="*/ 68422 h 421771"/>
                <a:gd name="connsiteX46" fmla="*/ 145804 w 523753"/>
                <a:gd name="connsiteY46" fmla="*/ 69888 h 421771"/>
                <a:gd name="connsiteX47" fmla="*/ 151831 w 523753"/>
                <a:gd name="connsiteY47" fmla="*/ 67607 h 421771"/>
                <a:gd name="connsiteX48" fmla="*/ 157859 w 523753"/>
                <a:gd name="connsiteY48" fmla="*/ 71517 h 421771"/>
                <a:gd name="connsiteX49" fmla="*/ 161443 w 523753"/>
                <a:gd name="connsiteY49" fmla="*/ 71680 h 421771"/>
                <a:gd name="connsiteX50" fmla="*/ 163072 w 523753"/>
                <a:gd name="connsiteY50" fmla="*/ 77219 h 421771"/>
                <a:gd name="connsiteX51" fmla="*/ 166982 w 523753"/>
                <a:gd name="connsiteY51" fmla="*/ 81943 h 421771"/>
                <a:gd name="connsiteX52" fmla="*/ 179852 w 523753"/>
                <a:gd name="connsiteY52" fmla="*/ 87156 h 421771"/>
                <a:gd name="connsiteX53" fmla="*/ 185554 w 523753"/>
                <a:gd name="connsiteY53" fmla="*/ 87645 h 421771"/>
                <a:gd name="connsiteX54" fmla="*/ 201030 w 523753"/>
                <a:gd name="connsiteY54" fmla="*/ 92207 h 421771"/>
                <a:gd name="connsiteX55" fmla="*/ 208687 w 523753"/>
                <a:gd name="connsiteY55" fmla="*/ 92207 h 421771"/>
                <a:gd name="connsiteX56" fmla="*/ 225629 w 523753"/>
                <a:gd name="connsiteY56" fmla="*/ 87319 h 421771"/>
                <a:gd name="connsiteX57" fmla="*/ 238336 w 523753"/>
                <a:gd name="connsiteY57" fmla="*/ 85690 h 421771"/>
                <a:gd name="connsiteX58" fmla="*/ 252998 w 523753"/>
                <a:gd name="connsiteY58" fmla="*/ 86993 h 421771"/>
                <a:gd name="connsiteX59" fmla="*/ 258700 w 523753"/>
                <a:gd name="connsiteY59" fmla="*/ 88134 h 421771"/>
                <a:gd name="connsiteX60" fmla="*/ 260655 w 523753"/>
                <a:gd name="connsiteY60" fmla="*/ 81455 h 421771"/>
                <a:gd name="connsiteX61" fmla="*/ 256745 w 523753"/>
                <a:gd name="connsiteY61" fmla="*/ 75753 h 421771"/>
                <a:gd name="connsiteX62" fmla="*/ 254301 w 523753"/>
                <a:gd name="connsiteY62" fmla="*/ 69074 h 421771"/>
                <a:gd name="connsiteX63" fmla="*/ 259515 w 523753"/>
                <a:gd name="connsiteY63" fmla="*/ 65978 h 421771"/>
                <a:gd name="connsiteX64" fmla="*/ 272058 w 523753"/>
                <a:gd name="connsiteY64" fmla="*/ 65327 h 421771"/>
                <a:gd name="connsiteX65" fmla="*/ 274339 w 523753"/>
                <a:gd name="connsiteY65" fmla="*/ 58484 h 421771"/>
                <a:gd name="connsiteX66" fmla="*/ 277597 w 523753"/>
                <a:gd name="connsiteY66" fmla="*/ 54249 h 421771"/>
                <a:gd name="connsiteX67" fmla="*/ 281833 w 523753"/>
                <a:gd name="connsiteY67" fmla="*/ 53923 h 421771"/>
                <a:gd name="connsiteX68" fmla="*/ 292585 w 523753"/>
                <a:gd name="connsiteY68" fmla="*/ 44800 h 421771"/>
                <a:gd name="connsiteX69" fmla="*/ 303337 w 523753"/>
                <a:gd name="connsiteY69" fmla="*/ 42845 h 421771"/>
                <a:gd name="connsiteX70" fmla="*/ 312949 w 523753"/>
                <a:gd name="connsiteY70" fmla="*/ 44800 h 421771"/>
                <a:gd name="connsiteX71" fmla="*/ 314904 w 523753"/>
                <a:gd name="connsiteY71" fmla="*/ 38772 h 421771"/>
                <a:gd name="connsiteX72" fmla="*/ 319954 w 523753"/>
                <a:gd name="connsiteY72" fmla="*/ 37469 h 421771"/>
                <a:gd name="connsiteX73" fmla="*/ 325004 w 523753"/>
                <a:gd name="connsiteY73" fmla="*/ 39424 h 421771"/>
                <a:gd name="connsiteX74" fmla="*/ 330706 w 523753"/>
                <a:gd name="connsiteY74" fmla="*/ 39261 h 421771"/>
                <a:gd name="connsiteX75" fmla="*/ 339829 w 523753"/>
                <a:gd name="connsiteY75" fmla="*/ 46592 h 421771"/>
                <a:gd name="connsiteX76" fmla="*/ 347811 w 523753"/>
                <a:gd name="connsiteY76" fmla="*/ 48873 h 421771"/>
                <a:gd name="connsiteX77" fmla="*/ 362799 w 523753"/>
                <a:gd name="connsiteY77" fmla="*/ 58322 h 421771"/>
                <a:gd name="connsiteX78" fmla="*/ 366872 w 523753"/>
                <a:gd name="connsiteY78" fmla="*/ 58159 h 421771"/>
                <a:gd name="connsiteX79" fmla="*/ 370781 w 523753"/>
                <a:gd name="connsiteY79" fmla="*/ 55389 h 421771"/>
                <a:gd name="connsiteX80" fmla="*/ 381208 w 523753"/>
                <a:gd name="connsiteY80" fmla="*/ 59625 h 421771"/>
                <a:gd name="connsiteX81" fmla="*/ 386584 w 523753"/>
                <a:gd name="connsiteY81" fmla="*/ 60439 h 421771"/>
                <a:gd name="connsiteX82" fmla="*/ 388050 w 523753"/>
                <a:gd name="connsiteY82" fmla="*/ 68096 h 421771"/>
                <a:gd name="connsiteX83" fmla="*/ 390331 w 523753"/>
                <a:gd name="connsiteY83" fmla="*/ 69888 h 421771"/>
                <a:gd name="connsiteX84" fmla="*/ 395706 w 523753"/>
                <a:gd name="connsiteY84" fmla="*/ 68585 h 421771"/>
                <a:gd name="connsiteX85" fmla="*/ 405318 w 523753"/>
                <a:gd name="connsiteY85" fmla="*/ 70866 h 421771"/>
                <a:gd name="connsiteX86" fmla="*/ 415581 w 523753"/>
                <a:gd name="connsiteY86" fmla="*/ 85202 h 421771"/>
                <a:gd name="connsiteX87" fmla="*/ 426822 w 523753"/>
                <a:gd name="connsiteY87" fmla="*/ 86016 h 421771"/>
                <a:gd name="connsiteX88" fmla="*/ 433338 w 523753"/>
                <a:gd name="connsiteY88" fmla="*/ 88785 h 421771"/>
                <a:gd name="connsiteX89" fmla="*/ 437411 w 523753"/>
                <a:gd name="connsiteY89" fmla="*/ 96117 h 421771"/>
                <a:gd name="connsiteX90" fmla="*/ 435456 w 523753"/>
                <a:gd name="connsiteY90" fmla="*/ 99863 h 421771"/>
                <a:gd name="connsiteX91" fmla="*/ 437737 w 523753"/>
                <a:gd name="connsiteY91" fmla="*/ 106217 h 421771"/>
                <a:gd name="connsiteX92" fmla="*/ 437574 w 523753"/>
                <a:gd name="connsiteY92" fmla="*/ 110127 h 421771"/>
                <a:gd name="connsiteX93" fmla="*/ 440018 w 523753"/>
                <a:gd name="connsiteY93" fmla="*/ 114688 h 421771"/>
                <a:gd name="connsiteX94" fmla="*/ 439529 w 523753"/>
                <a:gd name="connsiteY94" fmla="*/ 121856 h 421771"/>
                <a:gd name="connsiteX95" fmla="*/ 440181 w 523753"/>
                <a:gd name="connsiteY95" fmla="*/ 125277 h 421771"/>
                <a:gd name="connsiteX96" fmla="*/ 438226 w 523753"/>
                <a:gd name="connsiteY96" fmla="*/ 129187 h 421771"/>
                <a:gd name="connsiteX97" fmla="*/ 441647 w 523753"/>
                <a:gd name="connsiteY97" fmla="*/ 133585 h 421771"/>
                <a:gd name="connsiteX98" fmla="*/ 440343 w 523753"/>
                <a:gd name="connsiteY98" fmla="*/ 134889 h 421771"/>
                <a:gd name="connsiteX99" fmla="*/ 440670 w 523753"/>
                <a:gd name="connsiteY99" fmla="*/ 138310 h 421771"/>
                <a:gd name="connsiteX100" fmla="*/ 433990 w 523753"/>
                <a:gd name="connsiteY100" fmla="*/ 142709 h 421771"/>
                <a:gd name="connsiteX101" fmla="*/ 428451 w 523753"/>
                <a:gd name="connsiteY101" fmla="*/ 144175 h 421771"/>
                <a:gd name="connsiteX102" fmla="*/ 430732 w 523753"/>
                <a:gd name="connsiteY102" fmla="*/ 147596 h 421771"/>
                <a:gd name="connsiteX103" fmla="*/ 434968 w 523753"/>
                <a:gd name="connsiteY103" fmla="*/ 151017 h 421771"/>
                <a:gd name="connsiteX104" fmla="*/ 430243 w 523753"/>
                <a:gd name="connsiteY104" fmla="*/ 157696 h 421771"/>
                <a:gd name="connsiteX105" fmla="*/ 431384 w 523753"/>
                <a:gd name="connsiteY105" fmla="*/ 158836 h 421771"/>
                <a:gd name="connsiteX106" fmla="*/ 433175 w 523753"/>
                <a:gd name="connsiteY106" fmla="*/ 168122 h 421771"/>
                <a:gd name="connsiteX107" fmla="*/ 433175 w 523753"/>
                <a:gd name="connsiteY107" fmla="*/ 173010 h 421771"/>
                <a:gd name="connsiteX108" fmla="*/ 441810 w 523753"/>
                <a:gd name="connsiteY108" fmla="*/ 175127 h 421771"/>
                <a:gd name="connsiteX109" fmla="*/ 443927 w 523753"/>
                <a:gd name="connsiteY109" fmla="*/ 175127 h 421771"/>
                <a:gd name="connsiteX110" fmla="*/ 436108 w 523753"/>
                <a:gd name="connsiteY110" fmla="*/ 184902 h 421771"/>
                <a:gd name="connsiteX111" fmla="*/ 434805 w 523753"/>
                <a:gd name="connsiteY111" fmla="*/ 191418 h 421771"/>
                <a:gd name="connsiteX112" fmla="*/ 441647 w 523753"/>
                <a:gd name="connsiteY112" fmla="*/ 204777 h 421771"/>
                <a:gd name="connsiteX113" fmla="*/ 445231 w 523753"/>
                <a:gd name="connsiteY113" fmla="*/ 216669 h 421771"/>
                <a:gd name="connsiteX114" fmla="*/ 443439 w 523753"/>
                <a:gd name="connsiteY114" fmla="*/ 220253 h 421771"/>
                <a:gd name="connsiteX115" fmla="*/ 446045 w 523753"/>
                <a:gd name="connsiteY115" fmla="*/ 224815 h 421771"/>
                <a:gd name="connsiteX116" fmla="*/ 446697 w 523753"/>
                <a:gd name="connsiteY116" fmla="*/ 234263 h 421771"/>
                <a:gd name="connsiteX117" fmla="*/ 469016 w 523753"/>
                <a:gd name="connsiteY117" fmla="*/ 234589 h 421771"/>
                <a:gd name="connsiteX118" fmla="*/ 473088 w 523753"/>
                <a:gd name="connsiteY118" fmla="*/ 243386 h 421771"/>
                <a:gd name="connsiteX119" fmla="*/ 472600 w 523753"/>
                <a:gd name="connsiteY119" fmla="*/ 250392 h 421771"/>
                <a:gd name="connsiteX120" fmla="*/ 475206 w 523753"/>
                <a:gd name="connsiteY120" fmla="*/ 260655 h 421771"/>
                <a:gd name="connsiteX121" fmla="*/ 473088 w 523753"/>
                <a:gd name="connsiteY121" fmla="*/ 263750 h 421771"/>
                <a:gd name="connsiteX122" fmla="*/ 453865 w 523753"/>
                <a:gd name="connsiteY122" fmla="*/ 289816 h 421771"/>
                <a:gd name="connsiteX123" fmla="*/ 467224 w 523753"/>
                <a:gd name="connsiteY123" fmla="*/ 307573 h 421771"/>
                <a:gd name="connsiteX124" fmla="*/ 470156 w 523753"/>
                <a:gd name="connsiteY124" fmla="*/ 313437 h 421771"/>
                <a:gd name="connsiteX125" fmla="*/ 476835 w 523753"/>
                <a:gd name="connsiteY125" fmla="*/ 320442 h 421771"/>
                <a:gd name="connsiteX126" fmla="*/ 483189 w 523753"/>
                <a:gd name="connsiteY126" fmla="*/ 324026 h 421771"/>
                <a:gd name="connsiteX127" fmla="*/ 485470 w 523753"/>
                <a:gd name="connsiteY127" fmla="*/ 326470 h 421771"/>
                <a:gd name="connsiteX128" fmla="*/ 493941 w 523753"/>
                <a:gd name="connsiteY128" fmla="*/ 327284 h 421771"/>
                <a:gd name="connsiteX129" fmla="*/ 498665 w 523753"/>
                <a:gd name="connsiteY129" fmla="*/ 329076 h 421771"/>
                <a:gd name="connsiteX130" fmla="*/ 499480 w 523753"/>
                <a:gd name="connsiteY130" fmla="*/ 331846 h 421771"/>
                <a:gd name="connsiteX131" fmla="*/ 506485 w 523753"/>
                <a:gd name="connsiteY131" fmla="*/ 332660 h 421771"/>
                <a:gd name="connsiteX132" fmla="*/ 506648 w 523753"/>
                <a:gd name="connsiteY132" fmla="*/ 341295 h 421771"/>
                <a:gd name="connsiteX133" fmla="*/ 508440 w 523753"/>
                <a:gd name="connsiteY133" fmla="*/ 347159 h 421771"/>
                <a:gd name="connsiteX134" fmla="*/ 508929 w 523753"/>
                <a:gd name="connsiteY134" fmla="*/ 354165 h 421771"/>
                <a:gd name="connsiteX135" fmla="*/ 510232 w 523753"/>
                <a:gd name="connsiteY135" fmla="*/ 358726 h 421771"/>
                <a:gd name="connsiteX136" fmla="*/ 516422 w 523753"/>
                <a:gd name="connsiteY136" fmla="*/ 358400 h 421771"/>
                <a:gd name="connsiteX137" fmla="*/ 523102 w 523753"/>
                <a:gd name="connsiteY137" fmla="*/ 362799 h 421771"/>
                <a:gd name="connsiteX138" fmla="*/ 523753 w 523753"/>
                <a:gd name="connsiteY138" fmla="*/ 372736 h 421771"/>
                <a:gd name="connsiteX139" fmla="*/ 520169 w 523753"/>
                <a:gd name="connsiteY139" fmla="*/ 376320 h 421771"/>
                <a:gd name="connsiteX140" fmla="*/ 513490 w 523753"/>
                <a:gd name="connsiteY140" fmla="*/ 373714 h 421771"/>
                <a:gd name="connsiteX141" fmla="*/ 501109 w 523753"/>
                <a:gd name="connsiteY141" fmla="*/ 377460 h 421771"/>
                <a:gd name="connsiteX142" fmla="*/ 498502 w 523753"/>
                <a:gd name="connsiteY142" fmla="*/ 380230 h 421771"/>
                <a:gd name="connsiteX143" fmla="*/ 490845 w 523753"/>
                <a:gd name="connsiteY143" fmla="*/ 383325 h 421771"/>
                <a:gd name="connsiteX144" fmla="*/ 488239 w 523753"/>
                <a:gd name="connsiteY144" fmla="*/ 388213 h 421771"/>
                <a:gd name="connsiteX145" fmla="*/ 489542 w 523753"/>
                <a:gd name="connsiteY145" fmla="*/ 392774 h 421771"/>
                <a:gd name="connsiteX146" fmla="*/ 485632 w 523753"/>
                <a:gd name="connsiteY146" fmla="*/ 397987 h 421771"/>
                <a:gd name="connsiteX147" fmla="*/ 488076 w 523753"/>
                <a:gd name="connsiteY147" fmla="*/ 404341 h 421771"/>
                <a:gd name="connsiteX148" fmla="*/ 486936 w 523753"/>
                <a:gd name="connsiteY148" fmla="*/ 413301 h 421771"/>
                <a:gd name="connsiteX149" fmla="*/ 487099 w 523753"/>
                <a:gd name="connsiteY149" fmla="*/ 417536 h 421771"/>
                <a:gd name="connsiteX150" fmla="*/ 485632 w 523753"/>
                <a:gd name="connsiteY150" fmla="*/ 417536 h 421771"/>
                <a:gd name="connsiteX151" fmla="*/ 484329 w 523753"/>
                <a:gd name="connsiteY151" fmla="*/ 419654 h 421771"/>
                <a:gd name="connsiteX152" fmla="*/ 480582 w 523753"/>
                <a:gd name="connsiteY152" fmla="*/ 421772 h 421771"/>
                <a:gd name="connsiteX153" fmla="*/ 472111 w 523753"/>
                <a:gd name="connsiteY153" fmla="*/ 418676 h 421771"/>
                <a:gd name="connsiteX154" fmla="*/ 465595 w 523753"/>
                <a:gd name="connsiteY154" fmla="*/ 416396 h 421771"/>
                <a:gd name="connsiteX155" fmla="*/ 463151 w 523753"/>
                <a:gd name="connsiteY155" fmla="*/ 411834 h 421771"/>
                <a:gd name="connsiteX156" fmla="*/ 459893 w 523753"/>
                <a:gd name="connsiteY156" fmla="*/ 412486 h 421771"/>
                <a:gd name="connsiteX157" fmla="*/ 458752 w 523753"/>
                <a:gd name="connsiteY157" fmla="*/ 416884 h 421771"/>
                <a:gd name="connsiteX158" fmla="*/ 457123 w 523753"/>
                <a:gd name="connsiteY158" fmla="*/ 417048 h 421771"/>
                <a:gd name="connsiteX159" fmla="*/ 453539 w 523753"/>
                <a:gd name="connsiteY159" fmla="*/ 413952 h 421771"/>
                <a:gd name="connsiteX160" fmla="*/ 451095 w 523753"/>
                <a:gd name="connsiteY160" fmla="*/ 414767 h 421771"/>
                <a:gd name="connsiteX161" fmla="*/ 446697 w 523753"/>
                <a:gd name="connsiteY161" fmla="*/ 413301 h 421771"/>
                <a:gd name="connsiteX162" fmla="*/ 435456 w 523753"/>
                <a:gd name="connsiteY162" fmla="*/ 412812 h 421771"/>
                <a:gd name="connsiteX163" fmla="*/ 427474 w 523753"/>
                <a:gd name="connsiteY163" fmla="*/ 409391 h 421771"/>
                <a:gd name="connsiteX164" fmla="*/ 413464 w 523753"/>
                <a:gd name="connsiteY164" fmla="*/ 410368 h 421771"/>
                <a:gd name="connsiteX165" fmla="*/ 406622 w 523753"/>
                <a:gd name="connsiteY165" fmla="*/ 404015 h 421771"/>
                <a:gd name="connsiteX166" fmla="*/ 404504 w 523753"/>
                <a:gd name="connsiteY166" fmla="*/ 403689 h 421771"/>
                <a:gd name="connsiteX167" fmla="*/ 398476 w 523753"/>
                <a:gd name="connsiteY167" fmla="*/ 408739 h 421771"/>
                <a:gd name="connsiteX168" fmla="*/ 393752 w 523753"/>
                <a:gd name="connsiteY168" fmla="*/ 405155 h 421771"/>
                <a:gd name="connsiteX169" fmla="*/ 388050 w 523753"/>
                <a:gd name="connsiteY169" fmla="*/ 405318 h 421771"/>
                <a:gd name="connsiteX170" fmla="*/ 374528 w 523753"/>
                <a:gd name="connsiteY170" fmla="*/ 405481 h 421771"/>
                <a:gd name="connsiteX171" fmla="*/ 373551 w 523753"/>
                <a:gd name="connsiteY171" fmla="*/ 402711 h 421771"/>
                <a:gd name="connsiteX172" fmla="*/ 370618 w 523753"/>
                <a:gd name="connsiteY172" fmla="*/ 400919 h 421771"/>
                <a:gd name="connsiteX173" fmla="*/ 370293 w 523753"/>
                <a:gd name="connsiteY173" fmla="*/ 394077 h 421771"/>
                <a:gd name="connsiteX174" fmla="*/ 365243 w 523753"/>
                <a:gd name="connsiteY174" fmla="*/ 384466 h 421771"/>
                <a:gd name="connsiteX175" fmla="*/ 362636 w 523753"/>
                <a:gd name="connsiteY175" fmla="*/ 375180 h 421771"/>
                <a:gd name="connsiteX176" fmla="*/ 357911 w 523753"/>
                <a:gd name="connsiteY176" fmla="*/ 368501 h 421771"/>
                <a:gd name="connsiteX177" fmla="*/ 357423 w 523753"/>
                <a:gd name="connsiteY177" fmla="*/ 365894 h 421771"/>
                <a:gd name="connsiteX178" fmla="*/ 354979 w 523753"/>
                <a:gd name="connsiteY178" fmla="*/ 366057 h 421771"/>
                <a:gd name="connsiteX179" fmla="*/ 354979 w 523753"/>
                <a:gd name="connsiteY179" fmla="*/ 364265 h 421771"/>
                <a:gd name="connsiteX180" fmla="*/ 346345 w 523753"/>
                <a:gd name="connsiteY180" fmla="*/ 363125 h 421771"/>
                <a:gd name="connsiteX181" fmla="*/ 341132 w 523753"/>
                <a:gd name="connsiteY181" fmla="*/ 364754 h 421771"/>
                <a:gd name="connsiteX182" fmla="*/ 334290 w 523753"/>
                <a:gd name="connsiteY182" fmla="*/ 369641 h 421771"/>
                <a:gd name="connsiteX183" fmla="*/ 329077 w 523753"/>
                <a:gd name="connsiteY183" fmla="*/ 369967 h 421771"/>
                <a:gd name="connsiteX184" fmla="*/ 328588 w 523753"/>
                <a:gd name="connsiteY184" fmla="*/ 367523 h 421771"/>
                <a:gd name="connsiteX185" fmla="*/ 328262 w 523753"/>
                <a:gd name="connsiteY185" fmla="*/ 370455 h 421771"/>
                <a:gd name="connsiteX186" fmla="*/ 317673 w 523753"/>
                <a:gd name="connsiteY186" fmla="*/ 377135 h 421771"/>
                <a:gd name="connsiteX187" fmla="*/ 308876 w 523753"/>
                <a:gd name="connsiteY187" fmla="*/ 384466 h 421771"/>
                <a:gd name="connsiteX188" fmla="*/ 298775 w 523753"/>
                <a:gd name="connsiteY188" fmla="*/ 377624 h 421771"/>
                <a:gd name="connsiteX189" fmla="*/ 290304 w 523753"/>
                <a:gd name="connsiteY189" fmla="*/ 375506 h 421771"/>
                <a:gd name="connsiteX190" fmla="*/ 284114 w 523753"/>
                <a:gd name="connsiteY190" fmla="*/ 376483 h 421771"/>
                <a:gd name="connsiteX191" fmla="*/ 281507 w 523753"/>
                <a:gd name="connsiteY191" fmla="*/ 377786 h 421771"/>
                <a:gd name="connsiteX192" fmla="*/ 272710 w 523753"/>
                <a:gd name="connsiteY192" fmla="*/ 369967 h 421771"/>
                <a:gd name="connsiteX193" fmla="*/ 268311 w 523753"/>
                <a:gd name="connsiteY193" fmla="*/ 369315 h 421771"/>
                <a:gd name="connsiteX194" fmla="*/ 264402 w 523753"/>
                <a:gd name="connsiteY194" fmla="*/ 366546 h 421771"/>
                <a:gd name="connsiteX195" fmla="*/ 258374 w 523753"/>
                <a:gd name="connsiteY195" fmla="*/ 365242 h 421771"/>
                <a:gd name="connsiteX196" fmla="*/ 250717 w 523753"/>
                <a:gd name="connsiteY196" fmla="*/ 357260 h 421771"/>
                <a:gd name="connsiteX197" fmla="*/ 253813 w 523753"/>
                <a:gd name="connsiteY197" fmla="*/ 354653 h 421771"/>
                <a:gd name="connsiteX198" fmla="*/ 253161 w 523753"/>
                <a:gd name="connsiteY198" fmla="*/ 352373 h 421771"/>
                <a:gd name="connsiteX199" fmla="*/ 248274 w 523753"/>
                <a:gd name="connsiteY199" fmla="*/ 351884 h 421771"/>
                <a:gd name="connsiteX200" fmla="*/ 247133 w 523753"/>
                <a:gd name="connsiteY200" fmla="*/ 350255 h 421771"/>
                <a:gd name="connsiteX201" fmla="*/ 238988 w 523753"/>
                <a:gd name="connsiteY201" fmla="*/ 349766 h 421771"/>
                <a:gd name="connsiteX202" fmla="*/ 236218 w 523753"/>
                <a:gd name="connsiteY202" fmla="*/ 346834 h 421771"/>
                <a:gd name="connsiteX203" fmla="*/ 229702 w 523753"/>
                <a:gd name="connsiteY203" fmla="*/ 344716 h 421771"/>
                <a:gd name="connsiteX204" fmla="*/ 220416 w 523753"/>
                <a:gd name="connsiteY204" fmla="*/ 345693 h 421771"/>
                <a:gd name="connsiteX205" fmla="*/ 215203 w 523753"/>
                <a:gd name="connsiteY205" fmla="*/ 342598 h 421771"/>
                <a:gd name="connsiteX206" fmla="*/ 207384 w 523753"/>
                <a:gd name="connsiteY206" fmla="*/ 325493 h 421771"/>
                <a:gd name="connsiteX207" fmla="*/ 206569 w 523753"/>
                <a:gd name="connsiteY207" fmla="*/ 321420 h 421771"/>
                <a:gd name="connsiteX208" fmla="*/ 204125 w 523753"/>
                <a:gd name="connsiteY208" fmla="*/ 322071 h 421771"/>
                <a:gd name="connsiteX209" fmla="*/ 199564 w 523753"/>
                <a:gd name="connsiteY209" fmla="*/ 318325 h 421771"/>
                <a:gd name="connsiteX210" fmla="*/ 200704 w 523753"/>
                <a:gd name="connsiteY210" fmla="*/ 316858 h 421771"/>
                <a:gd name="connsiteX211" fmla="*/ 202496 w 523753"/>
                <a:gd name="connsiteY211" fmla="*/ 317999 h 421771"/>
                <a:gd name="connsiteX212" fmla="*/ 204288 w 523753"/>
                <a:gd name="connsiteY212" fmla="*/ 317999 h 421771"/>
                <a:gd name="connsiteX213" fmla="*/ 201682 w 523753"/>
                <a:gd name="connsiteY213" fmla="*/ 313437 h 421771"/>
                <a:gd name="connsiteX214" fmla="*/ 197772 w 523753"/>
                <a:gd name="connsiteY214" fmla="*/ 314089 h 421771"/>
                <a:gd name="connsiteX215" fmla="*/ 195165 w 523753"/>
                <a:gd name="connsiteY215" fmla="*/ 312297 h 421771"/>
                <a:gd name="connsiteX216" fmla="*/ 194351 w 523753"/>
                <a:gd name="connsiteY216" fmla="*/ 304314 h 421771"/>
                <a:gd name="connsiteX217" fmla="*/ 185065 w 523753"/>
                <a:gd name="connsiteY217" fmla="*/ 293074 h 421771"/>
                <a:gd name="connsiteX218" fmla="*/ 184413 w 523753"/>
                <a:gd name="connsiteY218" fmla="*/ 288349 h 421771"/>
                <a:gd name="connsiteX219" fmla="*/ 179038 w 523753"/>
                <a:gd name="connsiteY219" fmla="*/ 281181 h 421771"/>
                <a:gd name="connsiteX220" fmla="*/ 176268 w 523753"/>
                <a:gd name="connsiteY220" fmla="*/ 279715 h 421771"/>
                <a:gd name="connsiteX221" fmla="*/ 168448 w 523753"/>
                <a:gd name="connsiteY221" fmla="*/ 286394 h 421771"/>
                <a:gd name="connsiteX222" fmla="*/ 165842 w 523753"/>
                <a:gd name="connsiteY222" fmla="*/ 286231 h 421771"/>
                <a:gd name="connsiteX223" fmla="*/ 163398 w 523753"/>
                <a:gd name="connsiteY223" fmla="*/ 281507 h 421771"/>
                <a:gd name="connsiteX224" fmla="*/ 161117 w 523753"/>
                <a:gd name="connsiteY224" fmla="*/ 282484 h 421771"/>
                <a:gd name="connsiteX225" fmla="*/ 155252 w 523753"/>
                <a:gd name="connsiteY225" fmla="*/ 279715 h 421771"/>
                <a:gd name="connsiteX226" fmla="*/ 156067 w 523753"/>
                <a:gd name="connsiteY226" fmla="*/ 276946 h 421771"/>
                <a:gd name="connsiteX227" fmla="*/ 157045 w 523753"/>
                <a:gd name="connsiteY227" fmla="*/ 274013 h 421771"/>
                <a:gd name="connsiteX228" fmla="*/ 155579 w 523753"/>
                <a:gd name="connsiteY228" fmla="*/ 275479 h 421771"/>
                <a:gd name="connsiteX229" fmla="*/ 152157 w 523753"/>
                <a:gd name="connsiteY229" fmla="*/ 275642 h 421771"/>
                <a:gd name="connsiteX230" fmla="*/ 149062 w 523753"/>
                <a:gd name="connsiteY230" fmla="*/ 275317 h 421771"/>
                <a:gd name="connsiteX231" fmla="*/ 152972 w 523753"/>
                <a:gd name="connsiteY231" fmla="*/ 278412 h 421771"/>
                <a:gd name="connsiteX232" fmla="*/ 152646 w 523753"/>
                <a:gd name="connsiteY232" fmla="*/ 283299 h 421771"/>
                <a:gd name="connsiteX233" fmla="*/ 149877 w 523753"/>
                <a:gd name="connsiteY233" fmla="*/ 285743 h 421771"/>
                <a:gd name="connsiteX234" fmla="*/ 146781 w 523753"/>
                <a:gd name="connsiteY234" fmla="*/ 285906 h 421771"/>
                <a:gd name="connsiteX235" fmla="*/ 142872 w 523753"/>
                <a:gd name="connsiteY235" fmla="*/ 281018 h 421771"/>
                <a:gd name="connsiteX236" fmla="*/ 143034 w 523753"/>
                <a:gd name="connsiteY236" fmla="*/ 279389 h 421771"/>
                <a:gd name="connsiteX237" fmla="*/ 140754 w 523753"/>
                <a:gd name="connsiteY237" fmla="*/ 280367 h 421771"/>
                <a:gd name="connsiteX238" fmla="*/ 138799 w 523753"/>
                <a:gd name="connsiteY238" fmla="*/ 278901 h 421771"/>
                <a:gd name="connsiteX239" fmla="*/ 133423 w 523753"/>
                <a:gd name="connsiteY239" fmla="*/ 276620 h 421771"/>
                <a:gd name="connsiteX240" fmla="*/ 128861 w 523753"/>
                <a:gd name="connsiteY240" fmla="*/ 273525 h 421771"/>
                <a:gd name="connsiteX241" fmla="*/ 127232 w 523753"/>
                <a:gd name="connsiteY241" fmla="*/ 257722 h 421771"/>
                <a:gd name="connsiteX242" fmla="*/ 119087 w 523753"/>
                <a:gd name="connsiteY242" fmla="*/ 257722 h 421771"/>
                <a:gd name="connsiteX243" fmla="*/ 117132 w 523753"/>
                <a:gd name="connsiteY243" fmla="*/ 250880 h 421771"/>
                <a:gd name="connsiteX244" fmla="*/ 117458 w 523753"/>
                <a:gd name="connsiteY244" fmla="*/ 243223 h 421771"/>
                <a:gd name="connsiteX245" fmla="*/ 122834 w 523753"/>
                <a:gd name="connsiteY245" fmla="*/ 238499 h 421771"/>
                <a:gd name="connsiteX246" fmla="*/ 117458 w 523753"/>
                <a:gd name="connsiteY246" fmla="*/ 227095 h 421771"/>
                <a:gd name="connsiteX247" fmla="*/ 112733 w 523753"/>
                <a:gd name="connsiteY247" fmla="*/ 224489 h 421771"/>
                <a:gd name="connsiteX248" fmla="*/ 107846 w 523753"/>
                <a:gd name="connsiteY248" fmla="*/ 215366 h 421771"/>
                <a:gd name="connsiteX249" fmla="*/ 104751 w 523753"/>
                <a:gd name="connsiteY249" fmla="*/ 213248 h 421771"/>
                <a:gd name="connsiteX250" fmla="*/ 101981 w 523753"/>
                <a:gd name="connsiteY250" fmla="*/ 214388 h 421771"/>
                <a:gd name="connsiteX251" fmla="*/ 83084 w 523753"/>
                <a:gd name="connsiteY251" fmla="*/ 201844 h 421771"/>
                <a:gd name="connsiteX252" fmla="*/ 78685 w 523753"/>
                <a:gd name="connsiteY252" fmla="*/ 202170 h 421771"/>
                <a:gd name="connsiteX253" fmla="*/ 76079 w 523753"/>
                <a:gd name="connsiteY253" fmla="*/ 203962 h 421771"/>
                <a:gd name="connsiteX254" fmla="*/ 70703 w 523753"/>
                <a:gd name="connsiteY254" fmla="*/ 199890 h 421771"/>
                <a:gd name="connsiteX255" fmla="*/ 71680 w 523753"/>
                <a:gd name="connsiteY255" fmla="*/ 196794 h 421771"/>
                <a:gd name="connsiteX256" fmla="*/ 70214 w 523753"/>
                <a:gd name="connsiteY256" fmla="*/ 195002 h 421771"/>
                <a:gd name="connsiteX257" fmla="*/ 72495 w 523753"/>
                <a:gd name="connsiteY257" fmla="*/ 189626 h 421771"/>
                <a:gd name="connsiteX258" fmla="*/ 66793 w 523753"/>
                <a:gd name="connsiteY258" fmla="*/ 184902 h 421771"/>
                <a:gd name="connsiteX259" fmla="*/ 65652 w 523753"/>
                <a:gd name="connsiteY259" fmla="*/ 181155 h 421771"/>
                <a:gd name="connsiteX260" fmla="*/ 60114 w 523753"/>
                <a:gd name="connsiteY260" fmla="*/ 180015 h 421771"/>
                <a:gd name="connsiteX261" fmla="*/ 57344 w 523753"/>
                <a:gd name="connsiteY261" fmla="*/ 176593 h 421771"/>
                <a:gd name="connsiteX262" fmla="*/ 53923 w 523753"/>
                <a:gd name="connsiteY262" fmla="*/ 176268 h 421771"/>
                <a:gd name="connsiteX263" fmla="*/ 53923 w 523753"/>
                <a:gd name="connsiteY263" fmla="*/ 172684 h 421771"/>
                <a:gd name="connsiteX264" fmla="*/ 55878 w 523753"/>
                <a:gd name="connsiteY264" fmla="*/ 169914 h 421771"/>
                <a:gd name="connsiteX265" fmla="*/ 54249 w 523753"/>
                <a:gd name="connsiteY265" fmla="*/ 167308 h 421771"/>
                <a:gd name="connsiteX266" fmla="*/ 55715 w 523753"/>
                <a:gd name="connsiteY266" fmla="*/ 163887 h 421771"/>
                <a:gd name="connsiteX267" fmla="*/ 55878 w 523753"/>
                <a:gd name="connsiteY267" fmla="*/ 154438 h 421771"/>
                <a:gd name="connsiteX268" fmla="*/ 58647 w 523753"/>
                <a:gd name="connsiteY268" fmla="*/ 151994 h 421771"/>
                <a:gd name="connsiteX269" fmla="*/ 59625 w 523753"/>
                <a:gd name="connsiteY269" fmla="*/ 144175 h 421771"/>
                <a:gd name="connsiteX270" fmla="*/ 62883 w 523753"/>
                <a:gd name="connsiteY270" fmla="*/ 144826 h 421771"/>
                <a:gd name="connsiteX271" fmla="*/ 66141 w 523753"/>
                <a:gd name="connsiteY271" fmla="*/ 142871 h 421771"/>
                <a:gd name="connsiteX272" fmla="*/ 66141 w 523753"/>
                <a:gd name="connsiteY272" fmla="*/ 133749 h 421771"/>
                <a:gd name="connsiteX273" fmla="*/ 64024 w 523753"/>
                <a:gd name="connsiteY273" fmla="*/ 132608 h 421771"/>
                <a:gd name="connsiteX274" fmla="*/ 63535 w 523753"/>
                <a:gd name="connsiteY274" fmla="*/ 125929 h 421771"/>
                <a:gd name="connsiteX275" fmla="*/ 66467 w 523753"/>
                <a:gd name="connsiteY275" fmla="*/ 125277 h 421771"/>
                <a:gd name="connsiteX276" fmla="*/ 71517 w 523753"/>
                <a:gd name="connsiteY276" fmla="*/ 123648 h 421771"/>
                <a:gd name="connsiteX277" fmla="*/ 73147 w 523753"/>
                <a:gd name="connsiteY277" fmla="*/ 122508 h 421771"/>
                <a:gd name="connsiteX278" fmla="*/ 70866 w 523753"/>
                <a:gd name="connsiteY278" fmla="*/ 121042 h 421771"/>
                <a:gd name="connsiteX279" fmla="*/ 67445 w 523753"/>
                <a:gd name="connsiteY279" fmla="*/ 119250 h 421771"/>
                <a:gd name="connsiteX280" fmla="*/ 61906 w 523753"/>
                <a:gd name="connsiteY280" fmla="*/ 119901 h 421771"/>
                <a:gd name="connsiteX281" fmla="*/ 57996 w 523753"/>
                <a:gd name="connsiteY281" fmla="*/ 118924 h 421771"/>
                <a:gd name="connsiteX282" fmla="*/ 49361 w 523753"/>
                <a:gd name="connsiteY282" fmla="*/ 113874 h 421771"/>
                <a:gd name="connsiteX283" fmla="*/ 45615 w 523753"/>
                <a:gd name="connsiteY283" fmla="*/ 113385 h 421771"/>
                <a:gd name="connsiteX284" fmla="*/ 41053 w 523753"/>
                <a:gd name="connsiteY284" fmla="*/ 110778 h 421771"/>
                <a:gd name="connsiteX285" fmla="*/ 38610 w 523753"/>
                <a:gd name="connsiteY285" fmla="*/ 104914 h 421771"/>
                <a:gd name="connsiteX286" fmla="*/ 36003 w 523753"/>
                <a:gd name="connsiteY286" fmla="*/ 100678 h 421771"/>
                <a:gd name="connsiteX287" fmla="*/ 32256 w 523753"/>
                <a:gd name="connsiteY287" fmla="*/ 99701 h 421771"/>
                <a:gd name="connsiteX288" fmla="*/ 29813 w 523753"/>
                <a:gd name="connsiteY288" fmla="*/ 94813 h 421771"/>
                <a:gd name="connsiteX289" fmla="*/ 29975 w 523753"/>
                <a:gd name="connsiteY289" fmla="*/ 90089 h 421771"/>
                <a:gd name="connsiteX290" fmla="*/ 27532 w 523753"/>
                <a:gd name="connsiteY290" fmla="*/ 83735 h 421771"/>
                <a:gd name="connsiteX291" fmla="*/ 22808 w 523753"/>
                <a:gd name="connsiteY291" fmla="*/ 83410 h 421771"/>
                <a:gd name="connsiteX292" fmla="*/ 22156 w 523753"/>
                <a:gd name="connsiteY292" fmla="*/ 83572 h 421771"/>
                <a:gd name="connsiteX293" fmla="*/ 23459 w 523753"/>
                <a:gd name="connsiteY293" fmla="*/ 79174 h 421771"/>
                <a:gd name="connsiteX294" fmla="*/ 21178 w 523753"/>
                <a:gd name="connsiteY294" fmla="*/ 73146 h 421771"/>
                <a:gd name="connsiteX295" fmla="*/ 15640 w 523753"/>
                <a:gd name="connsiteY295" fmla="*/ 63209 h 421771"/>
                <a:gd name="connsiteX296" fmla="*/ 8797 w 523753"/>
                <a:gd name="connsiteY296" fmla="*/ 60602 h 421771"/>
                <a:gd name="connsiteX297" fmla="*/ 9286 w 523753"/>
                <a:gd name="connsiteY297" fmla="*/ 57670 h 421771"/>
                <a:gd name="connsiteX298" fmla="*/ 8960 w 523753"/>
                <a:gd name="connsiteY298" fmla="*/ 50339 h 421771"/>
                <a:gd name="connsiteX299" fmla="*/ 12218 w 523753"/>
                <a:gd name="connsiteY299" fmla="*/ 42682 h 421771"/>
                <a:gd name="connsiteX300" fmla="*/ 10589 w 523753"/>
                <a:gd name="connsiteY300" fmla="*/ 39424 h 421771"/>
                <a:gd name="connsiteX301" fmla="*/ 4725 w 523753"/>
                <a:gd name="connsiteY301" fmla="*/ 38772 h 421771"/>
                <a:gd name="connsiteX302" fmla="*/ 4561 w 523753"/>
                <a:gd name="connsiteY302" fmla="*/ 31767 h 421771"/>
                <a:gd name="connsiteX303" fmla="*/ 5213 w 523753"/>
                <a:gd name="connsiteY303" fmla="*/ 26880 h 421771"/>
                <a:gd name="connsiteX304" fmla="*/ 2933 w 523753"/>
                <a:gd name="connsiteY304" fmla="*/ 17431 h 421771"/>
                <a:gd name="connsiteX305" fmla="*/ 163 w 523753"/>
                <a:gd name="connsiteY305" fmla="*/ 12381 h 421771"/>
                <a:gd name="connsiteX306" fmla="*/ 0 w 523753"/>
                <a:gd name="connsiteY306" fmla="*/ 9775 h 421771"/>
                <a:gd name="connsiteX307" fmla="*/ 7168 w 523753"/>
                <a:gd name="connsiteY307" fmla="*/ 9286 h 421771"/>
                <a:gd name="connsiteX308" fmla="*/ 9775 w 523753"/>
                <a:gd name="connsiteY308" fmla="*/ 2444 h 421771"/>
                <a:gd name="connsiteX309" fmla="*/ 12544 w 523753"/>
                <a:gd name="connsiteY309" fmla="*/ 0 h 421771"/>
                <a:gd name="connsiteX310" fmla="*/ 12381 w 523753"/>
                <a:gd name="connsiteY310" fmla="*/ 0 h 4217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</a:cxnLst>
              <a:rect l="l" t="t" r="r" b="b"/>
              <a:pathLst>
                <a:path w="523753" h="421771">
                  <a:moveTo>
                    <a:pt x="12381" y="0"/>
                  </a:moveTo>
                  <a:lnTo>
                    <a:pt x="13522" y="163"/>
                  </a:lnTo>
                  <a:lnTo>
                    <a:pt x="17106" y="4236"/>
                  </a:lnTo>
                  <a:lnTo>
                    <a:pt x="20364" y="4073"/>
                  </a:lnTo>
                  <a:lnTo>
                    <a:pt x="22156" y="8634"/>
                  </a:lnTo>
                  <a:lnTo>
                    <a:pt x="21830" y="12381"/>
                  </a:lnTo>
                  <a:lnTo>
                    <a:pt x="32908" y="18409"/>
                  </a:lnTo>
                  <a:lnTo>
                    <a:pt x="33722" y="23296"/>
                  </a:lnTo>
                  <a:lnTo>
                    <a:pt x="40402" y="26717"/>
                  </a:lnTo>
                  <a:lnTo>
                    <a:pt x="47081" y="26880"/>
                  </a:lnTo>
                  <a:lnTo>
                    <a:pt x="54249" y="30953"/>
                  </a:lnTo>
                  <a:lnTo>
                    <a:pt x="55715" y="26880"/>
                  </a:lnTo>
                  <a:lnTo>
                    <a:pt x="55715" y="27043"/>
                  </a:lnTo>
                  <a:lnTo>
                    <a:pt x="61417" y="25902"/>
                  </a:lnTo>
                  <a:lnTo>
                    <a:pt x="65001" y="27206"/>
                  </a:lnTo>
                  <a:lnTo>
                    <a:pt x="69563" y="25088"/>
                  </a:lnTo>
                  <a:lnTo>
                    <a:pt x="70377" y="22156"/>
                  </a:lnTo>
                  <a:lnTo>
                    <a:pt x="72006" y="19712"/>
                  </a:lnTo>
                  <a:lnTo>
                    <a:pt x="74775" y="19549"/>
                  </a:lnTo>
                  <a:lnTo>
                    <a:pt x="79011" y="13521"/>
                  </a:lnTo>
                  <a:lnTo>
                    <a:pt x="82106" y="12218"/>
                  </a:lnTo>
                  <a:lnTo>
                    <a:pt x="85365" y="7820"/>
                  </a:lnTo>
                  <a:lnTo>
                    <a:pt x="89111" y="7168"/>
                  </a:lnTo>
                  <a:lnTo>
                    <a:pt x="93836" y="3584"/>
                  </a:lnTo>
                  <a:lnTo>
                    <a:pt x="96606" y="3584"/>
                  </a:lnTo>
                  <a:lnTo>
                    <a:pt x="96931" y="5050"/>
                  </a:lnTo>
                  <a:lnTo>
                    <a:pt x="99375" y="5702"/>
                  </a:lnTo>
                  <a:lnTo>
                    <a:pt x="101656" y="9449"/>
                  </a:lnTo>
                  <a:lnTo>
                    <a:pt x="105077" y="12870"/>
                  </a:lnTo>
                  <a:lnTo>
                    <a:pt x="101818" y="15476"/>
                  </a:lnTo>
                  <a:lnTo>
                    <a:pt x="103284" y="18083"/>
                  </a:lnTo>
                  <a:lnTo>
                    <a:pt x="109149" y="21667"/>
                  </a:lnTo>
                  <a:lnTo>
                    <a:pt x="100841" y="27369"/>
                  </a:lnTo>
                  <a:lnTo>
                    <a:pt x="109312" y="36655"/>
                  </a:lnTo>
                  <a:lnTo>
                    <a:pt x="113548" y="38772"/>
                  </a:lnTo>
                  <a:lnTo>
                    <a:pt x="115340" y="41705"/>
                  </a:lnTo>
                  <a:lnTo>
                    <a:pt x="119575" y="42682"/>
                  </a:lnTo>
                  <a:lnTo>
                    <a:pt x="121693" y="41216"/>
                  </a:lnTo>
                  <a:lnTo>
                    <a:pt x="121693" y="42682"/>
                  </a:lnTo>
                  <a:lnTo>
                    <a:pt x="125440" y="48058"/>
                  </a:lnTo>
                  <a:lnTo>
                    <a:pt x="126092" y="54249"/>
                  </a:lnTo>
                  <a:lnTo>
                    <a:pt x="124952" y="60114"/>
                  </a:lnTo>
                  <a:lnTo>
                    <a:pt x="126581" y="62394"/>
                  </a:lnTo>
                  <a:lnTo>
                    <a:pt x="130490" y="63046"/>
                  </a:lnTo>
                  <a:lnTo>
                    <a:pt x="135541" y="68422"/>
                  </a:lnTo>
                  <a:lnTo>
                    <a:pt x="141568" y="68422"/>
                  </a:lnTo>
                  <a:lnTo>
                    <a:pt x="145804" y="69888"/>
                  </a:lnTo>
                  <a:lnTo>
                    <a:pt x="151831" y="67607"/>
                  </a:lnTo>
                  <a:lnTo>
                    <a:pt x="157859" y="71517"/>
                  </a:lnTo>
                  <a:lnTo>
                    <a:pt x="161443" y="71680"/>
                  </a:lnTo>
                  <a:lnTo>
                    <a:pt x="163072" y="77219"/>
                  </a:lnTo>
                  <a:lnTo>
                    <a:pt x="166982" y="81943"/>
                  </a:lnTo>
                  <a:lnTo>
                    <a:pt x="179852" y="87156"/>
                  </a:lnTo>
                  <a:lnTo>
                    <a:pt x="185554" y="87645"/>
                  </a:lnTo>
                  <a:lnTo>
                    <a:pt x="201030" y="92207"/>
                  </a:lnTo>
                  <a:lnTo>
                    <a:pt x="208687" y="92207"/>
                  </a:lnTo>
                  <a:lnTo>
                    <a:pt x="225629" y="87319"/>
                  </a:lnTo>
                  <a:lnTo>
                    <a:pt x="238336" y="85690"/>
                  </a:lnTo>
                  <a:lnTo>
                    <a:pt x="252998" y="86993"/>
                  </a:lnTo>
                  <a:lnTo>
                    <a:pt x="258700" y="88134"/>
                  </a:lnTo>
                  <a:lnTo>
                    <a:pt x="260655" y="81455"/>
                  </a:lnTo>
                  <a:lnTo>
                    <a:pt x="256745" y="75753"/>
                  </a:lnTo>
                  <a:lnTo>
                    <a:pt x="254301" y="69074"/>
                  </a:lnTo>
                  <a:lnTo>
                    <a:pt x="259515" y="65978"/>
                  </a:lnTo>
                  <a:lnTo>
                    <a:pt x="272058" y="65327"/>
                  </a:lnTo>
                  <a:lnTo>
                    <a:pt x="274339" y="58484"/>
                  </a:lnTo>
                  <a:lnTo>
                    <a:pt x="277597" y="54249"/>
                  </a:lnTo>
                  <a:lnTo>
                    <a:pt x="281833" y="53923"/>
                  </a:lnTo>
                  <a:lnTo>
                    <a:pt x="292585" y="44800"/>
                  </a:lnTo>
                  <a:lnTo>
                    <a:pt x="303337" y="42845"/>
                  </a:lnTo>
                  <a:lnTo>
                    <a:pt x="312949" y="44800"/>
                  </a:lnTo>
                  <a:lnTo>
                    <a:pt x="314904" y="38772"/>
                  </a:lnTo>
                  <a:lnTo>
                    <a:pt x="319954" y="37469"/>
                  </a:lnTo>
                  <a:lnTo>
                    <a:pt x="325004" y="39424"/>
                  </a:lnTo>
                  <a:lnTo>
                    <a:pt x="330706" y="39261"/>
                  </a:lnTo>
                  <a:lnTo>
                    <a:pt x="339829" y="46592"/>
                  </a:lnTo>
                  <a:lnTo>
                    <a:pt x="347811" y="48873"/>
                  </a:lnTo>
                  <a:lnTo>
                    <a:pt x="362799" y="58322"/>
                  </a:lnTo>
                  <a:lnTo>
                    <a:pt x="366872" y="58159"/>
                  </a:lnTo>
                  <a:lnTo>
                    <a:pt x="370781" y="55389"/>
                  </a:lnTo>
                  <a:lnTo>
                    <a:pt x="381208" y="59625"/>
                  </a:lnTo>
                  <a:lnTo>
                    <a:pt x="386584" y="60439"/>
                  </a:lnTo>
                  <a:lnTo>
                    <a:pt x="388050" y="68096"/>
                  </a:lnTo>
                  <a:lnTo>
                    <a:pt x="390331" y="69888"/>
                  </a:lnTo>
                  <a:lnTo>
                    <a:pt x="395706" y="68585"/>
                  </a:lnTo>
                  <a:lnTo>
                    <a:pt x="405318" y="70866"/>
                  </a:lnTo>
                  <a:lnTo>
                    <a:pt x="415581" y="85202"/>
                  </a:lnTo>
                  <a:lnTo>
                    <a:pt x="426822" y="86016"/>
                  </a:lnTo>
                  <a:lnTo>
                    <a:pt x="433338" y="88785"/>
                  </a:lnTo>
                  <a:lnTo>
                    <a:pt x="437411" y="96117"/>
                  </a:lnTo>
                  <a:lnTo>
                    <a:pt x="435456" y="99863"/>
                  </a:lnTo>
                  <a:lnTo>
                    <a:pt x="437737" y="106217"/>
                  </a:lnTo>
                  <a:lnTo>
                    <a:pt x="437574" y="110127"/>
                  </a:lnTo>
                  <a:lnTo>
                    <a:pt x="440018" y="114688"/>
                  </a:lnTo>
                  <a:lnTo>
                    <a:pt x="439529" y="121856"/>
                  </a:lnTo>
                  <a:lnTo>
                    <a:pt x="440181" y="125277"/>
                  </a:lnTo>
                  <a:lnTo>
                    <a:pt x="438226" y="129187"/>
                  </a:lnTo>
                  <a:lnTo>
                    <a:pt x="441647" y="133585"/>
                  </a:lnTo>
                  <a:lnTo>
                    <a:pt x="440343" y="134889"/>
                  </a:lnTo>
                  <a:lnTo>
                    <a:pt x="440670" y="138310"/>
                  </a:lnTo>
                  <a:lnTo>
                    <a:pt x="433990" y="142709"/>
                  </a:lnTo>
                  <a:lnTo>
                    <a:pt x="428451" y="144175"/>
                  </a:lnTo>
                  <a:lnTo>
                    <a:pt x="430732" y="147596"/>
                  </a:lnTo>
                  <a:lnTo>
                    <a:pt x="434968" y="151017"/>
                  </a:lnTo>
                  <a:lnTo>
                    <a:pt x="430243" y="157696"/>
                  </a:lnTo>
                  <a:lnTo>
                    <a:pt x="431384" y="158836"/>
                  </a:lnTo>
                  <a:lnTo>
                    <a:pt x="433175" y="168122"/>
                  </a:lnTo>
                  <a:lnTo>
                    <a:pt x="433175" y="173010"/>
                  </a:lnTo>
                  <a:lnTo>
                    <a:pt x="441810" y="175127"/>
                  </a:lnTo>
                  <a:lnTo>
                    <a:pt x="443927" y="175127"/>
                  </a:lnTo>
                  <a:lnTo>
                    <a:pt x="436108" y="184902"/>
                  </a:lnTo>
                  <a:lnTo>
                    <a:pt x="434805" y="191418"/>
                  </a:lnTo>
                  <a:lnTo>
                    <a:pt x="441647" y="204777"/>
                  </a:lnTo>
                  <a:lnTo>
                    <a:pt x="445231" y="216669"/>
                  </a:lnTo>
                  <a:lnTo>
                    <a:pt x="443439" y="220253"/>
                  </a:lnTo>
                  <a:lnTo>
                    <a:pt x="446045" y="224815"/>
                  </a:lnTo>
                  <a:lnTo>
                    <a:pt x="446697" y="234263"/>
                  </a:lnTo>
                  <a:lnTo>
                    <a:pt x="469016" y="234589"/>
                  </a:lnTo>
                  <a:lnTo>
                    <a:pt x="473088" y="243386"/>
                  </a:lnTo>
                  <a:lnTo>
                    <a:pt x="472600" y="250392"/>
                  </a:lnTo>
                  <a:lnTo>
                    <a:pt x="475206" y="260655"/>
                  </a:lnTo>
                  <a:lnTo>
                    <a:pt x="473088" y="263750"/>
                  </a:lnTo>
                  <a:lnTo>
                    <a:pt x="453865" y="289816"/>
                  </a:lnTo>
                  <a:lnTo>
                    <a:pt x="467224" y="307573"/>
                  </a:lnTo>
                  <a:lnTo>
                    <a:pt x="470156" y="313437"/>
                  </a:lnTo>
                  <a:lnTo>
                    <a:pt x="476835" y="320442"/>
                  </a:lnTo>
                  <a:lnTo>
                    <a:pt x="483189" y="324026"/>
                  </a:lnTo>
                  <a:lnTo>
                    <a:pt x="485470" y="326470"/>
                  </a:lnTo>
                  <a:lnTo>
                    <a:pt x="493941" y="327284"/>
                  </a:lnTo>
                  <a:lnTo>
                    <a:pt x="498665" y="329076"/>
                  </a:lnTo>
                  <a:lnTo>
                    <a:pt x="499480" y="331846"/>
                  </a:lnTo>
                  <a:lnTo>
                    <a:pt x="506485" y="332660"/>
                  </a:lnTo>
                  <a:lnTo>
                    <a:pt x="506648" y="341295"/>
                  </a:lnTo>
                  <a:lnTo>
                    <a:pt x="508440" y="347159"/>
                  </a:lnTo>
                  <a:lnTo>
                    <a:pt x="508929" y="354165"/>
                  </a:lnTo>
                  <a:lnTo>
                    <a:pt x="510232" y="358726"/>
                  </a:lnTo>
                  <a:lnTo>
                    <a:pt x="516422" y="358400"/>
                  </a:lnTo>
                  <a:lnTo>
                    <a:pt x="523102" y="362799"/>
                  </a:lnTo>
                  <a:lnTo>
                    <a:pt x="523753" y="372736"/>
                  </a:lnTo>
                  <a:lnTo>
                    <a:pt x="520169" y="376320"/>
                  </a:lnTo>
                  <a:lnTo>
                    <a:pt x="513490" y="373714"/>
                  </a:lnTo>
                  <a:lnTo>
                    <a:pt x="501109" y="377460"/>
                  </a:lnTo>
                  <a:lnTo>
                    <a:pt x="498502" y="380230"/>
                  </a:lnTo>
                  <a:lnTo>
                    <a:pt x="490845" y="383325"/>
                  </a:lnTo>
                  <a:lnTo>
                    <a:pt x="488239" y="388213"/>
                  </a:lnTo>
                  <a:lnTo>
                    <a:pt x="489542" y="392774"/>
                  </a:lnTo>
                  <a:lnTo>
                    <a:pt x="485632" y="397987"/>
                  </a:lnTo>
                  <a:lnTo>
                    <a:pt x="488076" y="404341"/>
                  </a:lnTo>
                  <a:lnTo>
                    <a:pt x="486936" y="413301"/>
                  </a:lnTo>
                  <a:lnTo>
                    <a:pt x="487099" y="417536"/>
                  </a:lnTo>
                  <a:lnTo>
                    <a:pt x="485632" y="417536"/>
                  </a:lnTo>
                  <a:lnTo>
                    <a:pt x="484329" y="419654"/>
                  </a:lnTo>
                  <a:lnTo>
                    <a:pt x="480582" y="421772"/>
                  </a:lnTo>
                  <a:lnTo>
                    <a:pt x="472111" y="418676"/>
                  </a:lnTo>
                  <a:lnTo>
                    <a:pt x="465595" y="416396"/>
                  </a:lnTo>
                  <a:lnTo>
                    <a:pt x="463151" y="411834"/>
                  </a:lnTo>
                  <a:lnTo>
                    <a:pt x="459893" y="412486"/>
                  </a:lnTo>
                  <a:lnTo>
                    <a:pt x="458752" y="416884"/>
                  </a:lnTo>
                  <a:lnTo>
                    <a:pt x="457123" y="417048"/>
                  </a:lnTo>
                  <a:lnTo>
                    <a:pt x="453539" y="413952"/>
                  </a:lnTo>
                  <a:lnTo>
                    <a:pt x="451095" y="414767"/>
                  </a:lnTo>
                  <a:lnTo>
                    <a:pt x="446697" y="413301"/>
                  </a:lnTo>
                  <a:lnTo>
                    <a:pt x="435456" y="412812"/>
                  </a:lnTo>
                  <a:lnTo>
                    <a:pt x="427474" y="409391"/>
                  </a:lnTo>
                  <a:lnTo>
                    <a:pt x="413464" y="410368"/>
                  </a:lnTo>
                  <a:lnTo>
                    <a:pt x="406622" y="404015"/>
                  </a:lnTo>
                  <a:lnTo>
                    <a:pt x="404504" y="403689"/>
                  </a:lnTo>
                  <a:lnTo>
                    <a:pt x="398476" y="408739"/>
                  </a:lnTo>
                  <a:lnTo>
                    <a:pt x="393752" y="405155"/>
                  </a:lnTo>
                  <a:lnTo>
                    <a:pt x="388050" y="405318"/>
                  </a:lnTo>
                  <a:lnTo>
                    <a:pt x="374528" y="405481"/>
                  </a:lnTo>
                  <a:lnTo>
                    <a:pt x="373551" y="402711"/>
                  </a:lnTo>
                  <a:lnTo>
                    <a:pt x="370618" y="400919"/>
                  </a:lnTo>
                  <a:lnTo>
                    <a:pt x="370293" y="394077"/>
                  </a:lnTo>
                  <a:lnTo>
                    <a:pt x="365243" y="384466"/>
                  </a:lnTo>
                  <a:lnTo>
                    <a:pt x="362636" y="375180"/>
                  </a:lnTo>
                  <a:lnTo>
                    <a:pt x="357911" y="368501"/>
                  </a:lnTo>
                  <a:lnTo>
                    <a:pt x="357423" y="365894"/>
                  </a:lnTo>
                  <a:lnTo>
                    <a:pt x="354979" y="366057"/>
                  </a:lnTo>
                  <a:lnTo>
                    <a:pt x="354979" y="364265"/>
                  </a:lnTo>
                  <a:lnTo>
                    <a:pt x="346345" y="363125"/>
                  </a:lnTo>
                  <a:lnTo>
                    <a:pt x="341132" y="364754"/>
                  </a:lnTo>
                  <a:lnTo>
                    <a:pt x="334290" y="369641"/>
                  </a:lnTo>
                  <a:lnTo>
                    <a:pt x="329077" y="369967"/>
                  </a:lnTo>
                  <a:lnTo>
                    <a:pt x="328588" y="367523"/>
                  </a:lnTo>
                  <a:lnTo>
                    <a:pt x="328262" y="370455"/>
                  </a:lnTo>
                  <a:lnTo>
                    <a:pt x="317673" y="377135"/>
                  </a:lnTo>
                  <a:lnTo>
                    <a:pt x="308876" y="384466"/>
                  </a:lnTo>
                  <a:lnTo>
                    <a:pt x="298775" y="377624"/>
                  </a:lnTo>
                  <a:lnTo>
                    <a:pt x="290304" y="375506"/>
                  </a:lnTo>
                  <a:lnTo>
                    <a:pt x="284114" y="376483"/>
                  </a:lnTo>
                  <a:lnTo>
                    <a:pt x="281507" y="377786"/>
                  </a:lnTo>
                  <a:lnTo>
                    <a:pt x="272710" y="369967"/>
                  </a:lnTo>
                  <a:lnTo>
                    <a:pt x="268311" y="369315"/>
                  </a:lnTo>
                  <a:lnTo>
                    <a:pt x="264402" y="366546"/>
                  </a:lnTo>
                  <a:lnTo>
                    <a:pt x="258374" y="365242"/>
                  </a:lnTo>
                  <a:lnTo>
                    <a:pt x="250717" y="357260"/>
                  </a:lnTo>
                  <a:lnTo>
                    <a:pt x="253813" y="354653"/>
                  </a:lnTo>
                  <a:lnTo>
                    <a:pt x="253161" y="352373"/>
                  </a:lnTo>
                  <a:lnTo>
                    <a:pt x="248274" y="351884"/>
                  </a:lnTo>
                  <a:lnTo>
                    <a:pt x="247133" y="350255"/>
                  </a:lnTo>
                  <a:lnTo>
                    <a:pt x="238988" y="349766"/>
                  </a:lnTo>
                  <a:lnTo>
                    <a:pt x="236218" y="346834"/>
                  </a:lnTo>
                  <a:lnTo>
                    <a:pt x="229702" y="344716"/>
                  </a:lnTo>
                  <a:lnTo>
                    <a:pt x="220416" y="345693"/>
                  </a:lnTo>
                  <a:lnTo>
                    <a:pt x="215203" y="342598"/>
                  </a:lnTo>
                  <a:lnTo>
                    <a:pt x="207384" y="325493"/>
                  </a:lnTo>
                  <a:lnTo>
                    <a:pt x="206569" y="321420"/>
                  </a:lnTo>
                  <a:lnTo>
                    <a:pt x="204125" y="322071"/>
                  </a:lnTo>
                  <a:lnTo>
                    <a:pt x="199564" y="318325"/>
                  </a:lnTo>
                  <a:lnTo>
                    <a:pt x="200704" y="316858"/>
                  </a:lnTo>
                  <a:lnTo>
                    <a:pt x="202496" y="317999"/>
                  </a:lnTo>
                  <a:lnTo>
                    <a:pt x="204288" y="317999"/>
                  </a:lnTo>
                  <a:lnTo>
                    <a:pt x="201682" y="313437"/>
                  </a:lnTo>
                  <a:lnTo>
                    <a:pt x="197772" y="314089"/>
                  </a:lnTo>
                  <a:lnTo>
                    <a:pt x="195165" y="312297"/>
                  </a:lnTo>
                  <a:lnTo>
                    <a:pt x="194351" y="304314"/>
                  </a:lnTo>
                  <a:lnTo>
                    <a:pt x="185065" y="293074"/>
                  </a:lnTo>
                  <a:lnTo>
                    <a:pt x="184413" y="288349"/>
                  </a:lnTo>
                  <a:lnTo>
                    <a:pt x="179038" y="281181"/>
                  </a:lnTo>
                  <a:lnTo>
                    <a:pt x="176268" y="279715"/>
                  </a:lnTo>
                  <a:lnTo>
                    <a:pt x="168448" y="286394"/>
                  </a:lnTo>
                  <a:lnTo>
                    <a:pt x="165842" y="286231"/>
                  </a:lnTo>
                  <a:lnTo>
                    <a:pt x="163398" y="281507"/>
                  </a:lnTo>
                  <a:lnTo>
                    <a:pt x="161117" y="282484"/>
                  </a:lnTo>
                  <a:lnTo>
                    <a:pt x="155252" y="279715"/>
                  </a:lnTo>
                  <a:lnTo>
                    <a:pt x="156067" y="276946"/>
                  </a:lnTo>
                  <a:lnTo>
                    <a:pt x="157045" y="274013"/>
                  </a:lnTo>
                  <a:lnTo>
                    <a:pt x="155579" y="275479"/>
                  </a:lnTo>
                  <a:lnTo>
                    <a:pt x="152157" y="275642"/>
                  </a:lnTo>
                  <a:lnTo>
                    <a:pt x="149062" y="275317"/>
                  </a:lnTo>
                  <a:lnTo>
                    <a:pt x="152972" y="278412"/>
                  </a:lnTo>
                  <a:lnTo>
                    <a:pt x="152646" y="283299"/>
                  </a:lnTo>
                  <a:lnTo>
                    <a:pt x="149877" y="285743"/>
                  </a:lnTo>
                  <a:lnTo>
                    <a:pt x="146781" y="285906"/>
                  </a:lnTo>
                  <a:lnTo>
                    <a:pt x="142872" y="281018"/>
                  </a:lnTo>
                  <a:lnTo>
                    <a:pt x="143034" y="279389"/>
                  </a:lnTo>
                  <a:lnTo>
                    <a:pt x="140754" y="280367"/>
                  </a:lnTo>
                  <a:lnTo>
                    <a:pt x="138799" y="278901"/>
                  </a:lnTo>
                  <a:lnTo>
                    <a:pt x="133423" y="276620"/>
                  </a:lnTo>
                  <a:lnTo>
                    <a:pt x="128861" y="273525"/>
                  </a:lnTo>
                  <a:lnTo>
                    <a:pt x="127232" y="257722"/>
                  </a:lnTo>
                  <a:lnTo>
                    <a:pt x="119087" y="257722"/>
                  </a:lnTo>
                  <a:lnTo>
                    <a:pt x="117132" y="250880"/>
                  </a:lnTo>
                  <a:lnTo>
                    <a:pt x="117458" y="243223"/>
                  </a:lnTo>
                  <a:lnTo>
                    <a:pt x="122834" y="238499"/>
                  </a:lnTo>
                  <a:lnTo>
                    <a:pt x="117458" y="227095"/>
                  </a:lnTo>
                  <a:lnTo>
                    <a:pt x="112733" y="224489"/>
                  </a:lnTo>
                  <a:lnTo>
                    <a:pt x="107846" y="215366"/>
                  </a:lnTo>
                  <a:lnTo>
                    <a:pt x="104751" y="213248"/>
                  </a:lnTo>
                  <a:lnTo>
                    <a:pt x="101981" y="214388"/>
                  </a:lnTo>
                  <a:lnTo>
                    <a:pt x="83084" y="201844"/>
                  </a:lnTo>
                  <a:lnTo>
                    <a:pt x="78685" y="202170"/>
                  </a:lnTo>
                  <a:lnTo>
                    <a:pt x="76079" y="203962"/>
                  </a:lnTo>
                  <a:lnTo>
                    <a:pt x="70703" y="199890"/>
                  </a:lnTo>
                  <a:lnTo>
                    <a:pt x="71680" y="196794"/>
                  </a:lnTo>
                  <a:lnTo>
                    <a:pt x="70214" y="195002"/>
                  </a:lnTo>
                  <a:lnTo>
                    <a:pt x="72495" y="189626"/>
                  </a:lnTo>
                  <a:lnTo>
                    <a:pt x="66793" y="184902"/>
                  </a:lnTo>
                  <a:lnTo>
                    <a:pt x="65652" y="181155"/>
                  </a:lnTo>
                  <a:lnTo>
                    <a:pt x="60114" y="180015"/>
                  </a:lnTo>
                  <a:lnTo>
                    <a:pt x="57344" y="176593"/>
                  </a:lnTo>
                  <a:lnTo>
                    <a:pt x="53923" y="176268"/>
                  </a:lnTo>
                  <a:lnTo>
                    <a:pt x="53923" y="172684"/>
                  </a:lnTo>
                  <a:lnTo>
                    <a:pt x="55878" y="169914"/>
                  </a:lnTo>
                  <a:lnTo>
                    <a:pt x="54249" y="167308"/>
                  </a:lnTo>
                  <a:lnTo>
                    <a:pt x="55715" y="163887"/>
                  </a:lnTo>
                  <a:lnTo>
                    <a:pt x="55878" y="154438"/>
                  </a:lnTo>
                  <a:lnTo>
                    <a:pt x="58647" y="151994"/>
                  </a:lnTo>
                  <a:lnTo>
                    <a:pt x="59625" y="144175"/>
                  </a:lnTo>
                  <a:lnTo>
                    <a:pt x="62883" y="144826"/>
                  </a:lnTo>
                  <a:lnTo>
                    <a:pt x="66141" y="142871"/>
                  </a:lnTo>
                  <a:lnTo>
                    <a:pt x="66141" y="133749"/>
                  </a:lnTo>
                  <a:lnTo>
                    <a:pt x="64024" y="132608"/>
                  </a:lnTo>
                  <a:lnTo>
                    <a:pt x="63535" y="125929"/>
                  </a:lnTo>
                  <a:lnTo>
                    <a:pt x="66467" y="125277"/>
                  </a:lnTo>
                  <a:lnTo>
                    <a:pt x="71517" y="123648"/>
                  </a:lnTo>
                  <a:lnTo>
                    <a:pt x="73147" y="122508"/>
                  </a:lnTo>
                  <a:lnTo>
                    <a:pt x="70866" y="121042"/>
                  </a:lnTo>
                  <a:lnTo>
                    <a:pt x="67445" y="119250"/>
                  </a:lnTo>
                  <a:lnTo>
                    <a:pt x="61906" y="119901"/>
                  </a:lnTo>
                  <a:lnTo>
                    <a:pt x="57996" y="118924"/>
                  </a:lnTo>
                  <a:lnTo>
                    <a:pt x="49361" y="113874"/>
                  </a:lnTo>
                  <a:lnTo>
                    <a:pt x="45615" y="113385"/>
                  </a:lnTo>
                  <a:lnTo>
                    <a:pt x="41053" y="110778"/>
                  </a:lnTo>
                  <a:lnTo>
                    <a:pt x="38610" y="104914"/>
                  </a:lnTo>
                  <a:lnTo>
                    <a:pt x="36003" y="100678"/>
                  </a:lnTo>
                  <a:lnTo>
                    <a:pt x="32256" y="99701"/>
                  </a:lnTo>
                  <a:lnTo>
                    <a:pt x="29813" y="94813"/>
                  </a:lnTo>
                  <a:lnTo>
                    <a:pt x="29975" y="90089"/>
                  </a:lnTo>
                  <a:lnTo>
                    <a:pt x="27532" y="83735"/>
                  </a:lnTo>
                  <a:lnTo>
                    <a:pt x="22808" y="83410"/>
                  </a:lnTo>
                  <a:lnTo>
                    <a:pt x="22156" y="83572"/>
                  </a:lnTo>
                  <a:lnTo>
                    <a:pt x="23459" y="79174"/>
                  </a:lnTo>
                  <a:lnTo>
                    <a:pt x="21178" y="73146"/>
                  </a:lnTo>
                  <a:lnTo>
                    <a:pt x="15640" y="63209"/>
                  </a:lnTo>
                  <a:lnTo>
                    <a:pt x="8797" y="60602"/>
                  </a:lnTo>
                  <a:lnTo>
                    <a:pt x="9286" y="57670"/>
                  </a:lnTo>
                  <a:lnTo>
                    <a:pt x="8960" y="50339"/>
                  </a:lnTo>
                  <a:lnTo>
                    <a:pt x="12218" y="42682"/>
                  </a:lnTo>
                  <a:lnTo>
                    <a:pt x="10589" y="39424"/>
                  </a:lnTo>
                  <a:lnTo>
                    <a:pt x="4725" y="38772"/>
                  </a:lnTo>
                  <a:lnTo>
                    <a:pt x="4561" y="31767"/>
                  </a:lnTo>
                  <a:lnTo>
                    <a:pt x="5213" y="26880"/>
                  </a:lnTo>
                  <a:lnTo>
                    <a:pt x="2933" y="17431"/>
                  </a:lnTo>
                  <a:lnTo>
                    <a:pt x="163" y="12381"/>
                  </a:lnTo>
                  <a:lnTo>
                    <a:pt x="0" y="9775"/>
                  </a:lnTo>
                  <a:lnTo>
                    <a:pt x="7168" y="9286"/>
                  </a:lnTo>
                  <a:lnTo>
                    <a:pt x="9775" y="2444"/>
                  </a:lnTo>
                  <a:lnTo>
                    <a:pt x="12544" y="0"/>
                  </a:lnTo>
                  <a:lnTo>
                    <a:pt x="12381" y="0"/>
                  </a:lnTo>
                  <a:close/>
                </a:path>
              </a:pathLst>
            </a:custGeom>
            <a:solidFill>
              <a:schemeClr val="bg2"/>
            </a:solidFill>
            <a:ln w="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23" name="Forma livre: Forma 222">
              <a:extLst>
                <a:ext uri="{FF2B5EF4-FFF2-40B4-BE49-F238E27FC236}">
                  <a16:creationId xmlns:a16="http://schemas.microsoft.com/office/drawing/2014/main" id="{C5232D89-C885-F9CC-7DB7-41E31EA9E53C}"/>
                </a:ext>
              </a:extLst>
            </p:cNvPr>
            <p:cNvSpPr/>
            <p:nvPr/>
          </p:nvSpPr>
          <p:spPr>
            <a:xfrm>
              <a:off x="7064658" y="3782792"/>
              <a:ext cx="94780" cy="80471"/>
            </a:xfrm>
            <a:custGeom>
              <a:avLst/>
              <a:gdLst>
                <a:gd name="connsiteX0" fmla="*/ 0 w 91717"/>
                <a:gd name="connsiteY0" fmla="*/ 5213 h 77870"/>
                <a:gd name="connsiteX1" fmla="*/ 7819 w 91717"/>
                <a:gd name="connsiteY1" fmla="*/ 2444 h 77870"/>
                <a:gd name="connsiteX2" fmla="*/ 19223 w 91717"/>
                <a:gd name="connsiteY2" fmla="*/ 0 h 77870"/>
                <a:gd name="connsiteX3" fmla="*/ 22644 w 91717"/>
                <a:gd name="connsiteY3" fmla="*/ 652 h 77870"/>
                <a:gd name="connsiteX4" fmla="*/ 36980 w 91717"/>
                <a:gd name="connsiteY4" fmla="*/ 326 h 77870"/>
                <a:gd name="connsiteX5" fmla="*/ 43333 w 91717"/>
                <a:gd name="connsiteY5" fmla="*/ 6191 h 77870"/>
                <a:gd name="connsiteX6" fmla="*/ 52457 w 91717"/>
                <a:gd name="connsiteY6" fmla="*/ 7331 h 77870"/>
                <a:gd name="connsiteX7" fmla="*/ 57669 w 91717"/>
                <a:gd name="connsiteY7" fmla="*/ 12544 h 77870"/>
                <a:gd name="connsiteX8" fmla="*/ 55878 w 91717"/>
                <a:gd name="connsiteY8" fmla="*/ 18409 h 77870"/>
                <a:gd name="connsiteX9" fmla="*/ 56203 w 91717"/>
                <a:gd name="connsiteY9" fmla="*/ 23622 h 77870"/>
                <a:gd name="connsiteX10" fmla="*/ 66630 w 91717"/>
                <a:gd name="connsiteY10" fmla="*/ 32093 h 77870"/>
                <a:gd name="connsiteX11" fmla="*/ 66955 w 91717"/>
                <a:gd name="connsiteY11" fmla="*/ 37143 h 77870"/>
                <a:gd name="connsiteX12" fmla="*/ 63534 w 91717"/>
                <a:gd name="connsiteY12" fmla="*/ 40890 h 77870"/>
                <a:gd name="connsiteX13" fmla="*/ 66955 w 91717"/>
                <a:gd name="connsiteY13" fmla="*/ 48710 h 77870"/>
                <a:gd name="connsiteX14" fmla="*/ 78359 w 91717"/>
                <a:gd name="connsiteY14" fmla="*/ 54900 h 77870"/>
                <a:gd name="connsiteX15" fmla="*/ 85690 w 91717"/>
                <a:gd name="connsiteY15" fmla="*/ 55226 h 77870"/>
                <a:gd name="connsiteX16" fmla="*/ 91717 w 91717"/>
                <a:gd name="connsiteY16" fmla="*/ 60765 h 77870"/>
                <a:gd name="connsiteX17" fmla="*/ 85364 w 91717"/>
                <a:gd name="connsiteY17" fmla="*/ 62231 h 77870"/>
                <a:gd name="connsiteX18" fmla="*/ 89111 w 91717"/>
                <a:gd name="connsiteY18" fmla="*/ 68911 h 77870"/>
                <a:gd name="connsiteX19" fmla="*/ 87156 w 91717"/>
                <a:gd name="connsiteY19" fmla="*/ 71191 h 77870"/>
                <a:gd name="connsiteX20" fmla="*/ 87156 w 91717"/>
                <a:gd name="connsiteY20" fmla="*/ 76730 h 77870"/>
                <a:gd name="connsiteX21" fmla="*/ 81292 w 91717"/>
                <a:gd name="connsiteY21" fmla="*/ 77871 h 77870"/>
                <a:gd name="connsiteX22" fmla="*/ 69888 w 91717"/>
                <a:gd name="connsiteY22" fmla="*/ 60439 h 77870"/>
                <a:gd name="connsiteX23" fmla="*/ 63534 w 91717"/>
                <a:gd name="connsiteY23" fmla="*/ 58647 h 77870"/>
                <a:gd name="connsiteX24" fmla="*/ 59462 w 91717"/>
                <a:gd name="connsiteY24" fmla="*/ 50502 h 77870"/>
                <a:gd name="connsiteX25" fmla="*/ 55063 w 91717"/>
                <a:gd name="connsiteY25" fmla="*/ 50502 h 77870"/>
                <a:gd name="connsiteX26" fmla="*/ 52131 w 91717"/>
                <a:gd name="connsiteY26" fmla="*/ 53108 h 77870"/>
                <a:gd name="connsiteX27" fmla="*/ 45451 w 91717"/>
                <a:gd name="connsiteY27" fmla="*/ 46755 h 77870"/>
                <a:gd name="connsiteX28" fmla="*/ 41379 w 91717"/>
                <a:gd name="connsiteY28" fmla="*/ 49036 h 77870"/>
                <a:gd name="connsiteX29" fmla="*/ 36980 w 91717"/>
                <a:gd name="connsiteY29" fmla="*/ 49199 h 77870"/>
                <a:gd name="connsiteX30" fmla="*/ 35025 w 91717"/>
                <a:gd name="connsiteY30" fmla="*/ 46103 h 77870"/>
                <a:gd name="connsiteX31" fmla="*/ 30627 w 91717"/>
                <a:gd name="connsiteY31" fmla="*/ 41705 h 77870"/>
                <a:gd name="connsiteX32" fmla="*/ 25739 w 91717"/>
                <a:gd name="connsiteY32" fmla="*/ 42031 h 77870"/>
                <a:gd name="connsiteX33" fmla="*/ 17757 w 91717"/>
                <a:gd name="connsiteY33" fmla="*/ 41705 h 77870"/>
                <a:gd name="connsiteX34" fmla="*/ 10426 w 91717"/>
                <a:gd name="connsiteY34" fmla="*/ 37306 h 77870"/>
                <a:gd name="connsiteX35" fmla="*/ 10100 w 91717"/>
                <a:gd name="connsiteY35" fmla="*/ 27043 h 77870"/>
                <a:gd name="connsiteX36" fmla="*/ 11729 w 91717"/>
                <a:gd name="connsiteY36" fmla="*/ 19223 h 77870"/>
                <a:gd name="connsiteX37" fmla="*/ 8960 w 91717"/>
                <a:gd name="connsiteY37" fmla="*/ 13847 h 77870"/>
                <a:gd name="connsiteX38" fmla="*/ 4235 w 91717"/>
                <a:gd name="connsiteY38" fmla="*/ 12707 h 77870"/>
                <a:gd name="connsiteX39" fmla="*/ 3910 w 91717"/>
                <a:gd name="connsiteY39" fmla="*/ 9612 h 77870"/>
                <a:gd name="connsiteX40" fmla="*/ 0 w 91717"/>
                <a:gd name="connsiteY40" fmla="*/ 5213 h 778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91717" h="77870">
                  <a:moveTo>
                    <a:pt x="0" y="5213"/>
                  </a:moveTo>
                  <a:lnTo>
                    <a:pt x="7819" y="2444"/>
                  </a:lnTo>
                  <a:lnTo>
                    <a:pt x="19223" y="0"/>
                  </a:lnTo>
                  <a:lnTo>
                    <a:pt x="22644" y="652"/>
                  </a:lnTo>
                  <a:lnTo>
                    <a:pt x="36980" y="326"/>
                  </a:lnTo>
                  <a:lnTo>
                    <a:pt x="43333" y="6191"/>
                  </a:lnTo>
                  <a:lnTo>
                    <a:pt x="52457" y="7331"/>
                  </a:lnTo>
                  <a:lnTo>
                    <a:pt x="57669" y="12544"/>
                  </a:lnTo>
                  <a:lnTo>
                    <a:pt x="55878" y="18409"/>
                  </a:lnTo>
                  <a:lnTo>
                    <a:pt x="56203" y="23622"/>
                  </a:lnTo>
                  <a:lnTo>
                    <a:pt x="66630" y="32093"/>
                  </a:lnTo>
                  <a:lnTo>
                    <a:pt x="66955" y="37143"/>
                  </a:lnTo>
                  <a:lnTo>
                    <a:pt x="63534" y="40890"/>
                  </a:lnTo>
                  <a:lnTo>
                    <a:pt x="66955" y="48710"/>
                  </a:lnTo>
                  <a:lnTo>
                    <a:pt x="78359" y="54900"/>
                  </a:lnTo>
                  <a:lnTo>
                    <a:pt x="85690" y="55226"/>
                  </a:lnTo>
                  <a:lnTo>
                    <a:pt x="91717" y="60765"/>
                  </a:lnTo>
                  <a:lnTo>
                    <a:pt x="85364" y="62231"/>
                  </a:lnTo>
                  <a:lnTo>
                    <a:pt x="89111" y="68911"/>
                  </a:lnTo>
                  <a:lnTo>
                    <a:pt x="87156" y="71191"/>
                  </a:lnTo>
                  <a:lnTo>
                    <a:pt x="87156" y="76730"/>
                  </a:lnTo>
                  <a:lnTo>
                    <a:pt x="81292" y="77871"/>
                  </a:lnTo>
                  <a:lnTo>
                    <a:pt x="69888" y="60439"/>
                  </a:lnTo>
                  <a:lnTo>
                    <a:pt x="63534" y="58647"/>
                  </a:lnTo>
                  <a:lnTo>
                    <a:pt x="59462" y="50502"/>
                  </a:lnTo>
                  <a:lnTo>
                    <a:pt x="55063" y="50502"/>
                  </a:lnTo>
                  <a:lnTo>
                    <a:pt x="52131" y="53108"/>
                  </a:lnTo>
                  <a:lnTo>
                    <a:pt x="45451" y="46755"/>
                  </a:lnTo>
                  <a:lnTo>
                    <a:pt x="41379" y="49036"/>
                  </a:lnTo>
                  <a:lnTo>
                    <a:pt x="36980" y="49199"/>
                  </a:lnTo>
                  <a:lnTo>
                    <a:pt x="35025" y="46103"/>
                  </a:lnTo>
                  <a:lnTo>
                    <a:pt x="30627" y="41705"/>
                  </a:lnTo>
                  <a:lnTo>
                    <a:pt x="25739" y="42031"/>
                  </a:lnTo>
                  <a:lnTo>
                    <a:pt x="17757" y="41705"/>
                  </a:lnTo>
                  <a:lnTo>
                    <a:pt x="10426" y="37306"/>
                  </a:lnTo>
                  <a:lnTo>
                    <a:pt x="10100" y="27043"/>
                  </a:lnTo>
                  <a:lnTo>
                    <a:pt x="11729" y="19223"/>
                  </a:lnTo>
                  <a:lnTo>
                    <a:pt x="8960" y="13847"/>
                  </a:lnTo>
                  <a:lnTo>
                    <a:pt x="4235" y="12707"/>
                  </a:lnTo>
                  <a:lnTo>
                    <a:pt x="3910" y="9612"/>
                  </a:lnTo>
                  <a:lnTo>
                    <a:pt x="0" y="5213"/>
                  </a:lnTo>
                  <a:close/>
                </a:path>
              </a:pathLst>
            </a:custGeom>
            <a:solidFill>
              <a:schemeClr val="bg2"/>
            </a:solidFill>
            <a:ln w="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24" name="Forma livre: Forma 223">
              <a:extLst>
                <a:ext uri="{FF2B5EF4-FFF2-40B4-BE49-F238E27FC236}">
                  <a16:creationId xmlns:a16="http://schemas.microsoft.com/office/drawing/2014/main" id="{E2207E3B-954E-6473-DE07-3657F2193752}"/>
                </a:ext>
              </a:extLst>
            </p:cNvPr>
            <p:cNvSpPr/>
            <p:nvPr/>
          </p:nvSpPr>
          <p:spPr>
            <a:xfrm>
              <a:off x="6624926" y="3762926"/>
              <a:ext cx="490236" cy="197643"/>
            </a:xfrm>
            <a:custGeom>
              <a:avLst/>
              <a:gdLst>
                <a:gd name="connsiteX0" fmla="*/ 7494 w 474391"/>
                <a:gd name="connsiteY0" fmla="*/ 42356 h 191255"/>
                <a:gd name="connsiteX1" fmla="*/ 13033 w 474391"/>
                <a:gd name="connsiteY1" fmla="*/ 40890 h 191255"/>
                <a:gd name="connsiteX2" fmla="*/ 15965 w 474391"/>
                <a:gd name="connsiteY2" fmla="*/ 35026 h 191255"/>
                <a:gd name="connsiteX3" fmla="*/ 14825 w 474391"/>
                <a:gd name="connsiteY3" fmla="*/ 29487 h 191255"/>
                <a:gd name="connsiteX4" fmla="*/ 21504 w 474391"/>
                <a:gd name="connsiteY4" fmla="*/ 25414 h 191255"/>
                <a:gd name="connsiteX5" fmla="*/ 21830 w 474391"/>
                <a:gd name="connsiteY5" fmla="*/ 19061 h 191255"/>
                <a:gd name="connsiteX6" fmla="*/ 16617 w 474391"/>
                <a:gd name="connsiteY6" fmla="*/ 16780 h 191255"/>
                <a:gd name="connsiteX7" fmla="*/ 17758 w 474391"/>
                <a:gd name="connsiteY7" fmla="*/ 9775 h 191255"/>
                <a:gd name="connsiteX8" fmla="*/ 21830 w 474391"/>
                <a:gd name="connsiteY8" fmla="*/ 5376 h 191255"/>
                <a:gd name="connsiteX9" fmla="*/ 25903 w 474391"/>
                <a:gd name="connsiteY9" fmla="*/ 5050 h 191255"/>
                <a:gd name="connsiteX10" fmla="*/ 28835 w 474391"/>
                <a:gd name="connsiteY10" fmla="*/ 1792 h 191255"/>
                <a:gd name="connsiteX11" fmla="*/ 36166 w 474391"/>
                <a:gd name="connsiteY11" fmla="*/ 1792 h 191255"/>
                <a:gd name="connsiteX12" fmla="*/ 43171 w 474391"/>
                <a:gd name="connsiteY12" fmla="*/ 7331 h 191255"/>
                <a:gd name="connsiteX13" fmla="*/ 46918 w 474391"/>
                <a:gd name="connsiteY13" fmla="*/ 4399 h 191255"/>
                <a:gd name="connsiteX14" fmla="*/ 52620 w 474391"/>
                <a:gd name="connsiteY14" fmla="*/ 5865 h 191255"/>
                <a:gd name="connsiteX15" fmla="*/ 53434 w 474391"/>
                <a:gd name="connsiteY15" fmla="*/ 14988 h 191255"/>
                <a:gd name="connsiteX16" fmla="*/ 61091 w 474391"/>
                <a:gd name="connsiteY16" fmla="*/ 21830 h 191255"/>
                <a:gd name="connsiteX17" fmla="*/ 66630 w 474391"/>
                <a:gd name="connsiteY17" fmla="*/ 22644 h 191255"/>
                <a:gd name="connsiteX18" fmla="*/ 72495 w 474391"/>
                <a:gd name="connsiteY18" fmla="*/ 28672 h 191255"/>
                <a:gd name="connsiteX19" fmla="*/ 77708 w 474391"/>
                <a:gd name="connsiteY19" fmla="*/ 31604 h 191255"/>
                <a:gd name="connsiteX20" fmla="*/ 77708 w 474391"/>
                <a:gd name="connsiteY20" fmla="*/ 34863 h 191255"/>
                <a:gd name="connsiteX21" fmla="*/ 73309 w 474391"/>
                <a:gd name="connsiteY21" fmla="*/ 39261 h 191255"/>
                <a:gd name="connsiteX22" fmla="*/ 66956 w 474391"/>
                <a:gd name="connsiteY22" fmla="*/ 38610 h 191255"/>
                <a:gd name="connsiteX23" fmla="*/ 63535 w 474391"/>
                <a:gd name="connsiteY23" fmla="*/ 36655 h 191255"/>
                <a:gd name="connsiteX24" fmla="*/ 57670 w 474391"/>
                <a:gd name="connsiteY24" fmla="*/ 36655 h 191255"/>
                <a:gd name="connsiteX25" fmla="*/ 55390 w 474391"/>
                <a:gd name="connsiteY25" fmla="*/ 38772 h 191255"/>
                <a:gd name="connsiteX26" fmla="*/ 46755 w 474391"/>
                <a:gd name="connsiteY26" fmla="*/ 38772 h 191255"/>
                <a:gd name="connsiteX27" fmla="*/ 41542 w 474391"/>
                <a:gd name="connsiteY27" fmla="*/ 40727 h 191255"/>
                <a:gd name="connsiteX28" fmla="*/ 38772 w 474391"/>
                <a:gd name="connsiteY28" fmla="*/ 47733 h 191255"/>
                <a:gd name="connsiteX29" fmla="*/ 25414 w 474391"/>
                <a:gd name="connsiteY29" fmla="*/ 54575 h 191255"/>
                <a:gd name="connsiteX30" fmla="*/ 14825 w 474391"/>
                <a:gd name="connsiteY30" fmla="*/ 63698 h 191255"/>
                <a:gd name="connsiteX31" fmla="*/ 14499 w 474391"/>
                <a:gd name="connsiteY31" fmla="*/ 60277 h 191255"/>
                <a:gd name="connsiteX32" fmla="*/ 16943 w 474391"/>
                <a:gd name="connsiteY32" fmla="*/ 52783 h 191255"/>
                <a:gd name="connsiteX33" fmla="*/ 19875 w 474391"/>
                <a:gd name="connsiteY33" fmla="*/ 52783 h 191255"/>
                <a:gd name="connsiteX34" fmla="*/ 24925 w 474391"/>
                <a:gd name="connsiteY34" fmla="*/ 49362 h 191255"/>
                <a:gd name="connsiteX35" fmla="*/ 20038 w 474391"/>
                <a:gd name="connsiteY35" fmla="*/ 50013 h 191255"/>
                <a:gd name="connsiteX36" fmla="*/ 16943 w 474391"/>
                <a:gd name="connsiteY36" fmla="*/ 49036 h 191255"/>
                <a:gd name="connsiteX37" fmla="*/ 14010 w 474391"/>
                <a:gd name="connsiteY37" fmla="*/ 49850 h 191255"/>
                <a:gd name="connsiteX38" fmla="*/ 9938 w 474391"/>
                <a:gd name="connsiteY38" fmla="*/ 47407 h 191255"/>
                <a:gd name="connsiteX39" fmla="*/ 7820 w 474391"/>
                <a:gd name="connsiteY39" fmla="*/ 43008 h 191255"/>
                <a:gd name="connsiteX40" fmla="*/ 7494 w 474391"/>
                <a:gd name="connsiteY40" fmla="*/ 43008 h 191255"/>
                <a:gd name="connsiteX41" fmla="*/ 382348 w 474391"/>
                <a:gd name="connsiteY41" fmla="*/ 11078 h 191255"/>
                <a:gd name="connsiteX42" fmla="*/ 381208 w 474391"/>
                <a:gd name="connsiteY42" fmla="*/ 12707 h 191255"/>
                <a:gd name="connsiteX43" fmla="*/ 378113 w 474391"/>
                <a:gd name="connsiteY43" fmla="*/ 19223 h 191255"/>
                <a:gd name="connsiteX44" fmla="*/ 371759 w 474391"/>
                <a:gd name="connsiteY44" fmla="*/ 23133 h 191255"/>
                <a:gd name="connsiteX45" fmla="*/ 363288 w 474391"/>
                <a:gd name="connsiteY45" fmla="*/ 27369 h 191255"/>
                <a:gd name="connsiteX46" fmla="*/ 361822 w 474391"/>
                <a:gd name="connsiteY46" fmla="*/ 31279 h 191255"/>
                <a:gd name="connsiteX47" fmla="*/ 353839 w 474391"/>
                <a:gd name="connsiteY47" fmla="*/ 31930 h 191255"/>
                <a:gd name="connsiteX48" fmla="*/ 350743 w 474391"/>
                <a:gd name="connsiteY48" fmla="*/ 34374 h 191255"/>
                <a:gd name="connsiteX49" fmla="*/ 340317 w 474391"/>
                <a:gd name="connsiteY49" fmla="*/ 32093 h 191255"/>
                <a:gd name="connsiteX50" fmla="*/ 337222 w 474391"/>
                <a:gd name="connsiteY50" fmla="*/ 30138 h 191255"/>
                <a:gd name="connsiteX51" fmla="*/ 333475 w 474391"/>
                <a:gd name="connsiteY51" fmla="*/ 30138 h 191255"/>
                <a:gd name="connsiteX52" fmla="*/ 331846 w 474391"/>
                <a:gd name="connsiteY52" fmla="*/ 29161 h 191255"/>
                <a:gd name="connsiteX53" fmla="*/ 326796 w 474391"/>
                <a:gd name="connsiteY53" fmla="*/ 30627 h 191255"/>
                <a:gd name="connsiteX54" fmla="*/ 317510 w 474391"/>
                <a:gd name="connsiteY54" fmla="*/ 31279 h 191255"/>
                <a:gd name="connsiteX55" fmla="*/ 306595 w 474391"/>
                <a:gd name="connsiteY55" fmla="*/ 35677 h 191255"/>
                <a:gd name="connsiteX56" fmla="*/ 297961 w 474391"/>
                <a:gd name="connsiteY56" fmla="*/ 33885 h 191255"/>
                <a:gd name="connsiteX57" fmla="*/ 292097 w 474391"/>
                <a:gd name="connsiteY57" fmla="*/ 29812 h 191255"/>
                <a:gd name="connsiteX58" fmla="*/ 289001 w 474391"/>
                <a:gd name="connsiteY58" fmla="*/ 31930 h 191255"/>
                <a:gd name="connsiteX59" fmla="*/ 279063 w 474391"/>
                <a:gd name="connsiteY59" fmla="*/ 27043 h 191255"/>
                <a:gd name="connsiteX60" fmla="*/ 274013 w 474391"/>
                <a:gd name="connsiteY60" fmla="*/ 26228 h 191255"/>
                <a:gd name="connsiteX61" fmla="*/ 265054 w 474391"/>
                <a:gd name="connsiteY61" fmla="*/ 20201 h 191255"/>
                <a:gd name="connsiteX62" fmla="*/ 262284 w 474391"/>
                <a:gd name="connsiteY62" fmla="*/ 20201 h 191255"/>
                <a:gd name="connsiteX63" fmla="*/ 260003 w 474391"/>
                <a:gd name="connsiteY63" fmla="*/ 23459 h 191255"/>
                <a:gd name="connsiteX64" fmla="*/ 255768 w 474391"/>
                <a:gd name="connsiteY64" fmla="*/ 22482 h 191255"/>
                <a:gd name="connsiteX65" fmla="*/ 251369 w 474391"/>
                <a:gd name="connsiteY65" fmla="*/ 16454 h 191255"/>
                <a:gd name="connsiteX66" fmla="*/ 250229 w 474391"/>
                <a:gd name="connsiteY66" fmla="*/ 10263 h 191255"/>
                <a:gd name="connsiteX67" fmla="*/ 246156 w 474391"/>
                <a:gd name="connsiteY67" fmla="*/ 6842 h 191255"/>
                <a:gd name="connsiteX68" fmla="*/ 243224 w 474391"/>
                <a:gd name="connsiteY68" fmla="*/ 7494 h 191255"/>
                <a:gd name="connsiteX69" fmla="*/ 237033 w 474391"/>
                <a:gd name="connsiteY69" fmla="*/ 13685 h 191255"/>
                <a:gd name="connsiteX70" fmla="*/ 234915 w 474391"/>
                <a:gd name="connsiteY70" fmla="*/ 12707 h 191255"/>
                <a:gd name="connsiteX71" fmla="*/ 232634 w 474391"/>
                <a:gd name="connsiteY71" fmla="*/ 14173 h 191255"/>
                <a:gd name="connsiteX72" fmla="*/ 223349 w 474391"/>
                <a:gd name="connsiteY72" fmla="*/ 5702 h 191255"/>
                <a:gd name="connsiteX73" fmla="*/ 222534 w 474391"/>
                <a:gd name="connsiteY73" fmla="*/ 652 h 191255"/>
                <a:gd name="connsiteX74" fmla="*/ 221068 w 474391"/>
                <a:gd name="connsiteY74" fmla="*/ 0 h 191255"/>
                <a:gd name="connsiteX75" fmla="*/ 214877 w 474391"/>
                <a:gd name="connsiteY75" fmla="*/ 3095 h 191255"/>
                <a:gd name="connsiteX76" fmla="*/ 206732 w 474391"/>
                <a:gd name="connsiteY76" fmla="*/ 3095 h 191255"/>
                <a:gd name="connsiteX77" fmla="*/ 202822 w 474391"/>
                <a:gd name="connsiteY77" fmla="*/ 1792 h 191255"/>
                <a:gd name="connsiteX78" fmla="*/ 197772 w 474391"/>
                <a:gd name="connsiteY78" fmla="*/ 3095 h 191255"/>
                <a:gd name="connsiteX79" fmla="*/ 185228 w 474391"/>
                <a:gd name="connsiteY79" fmla="*/ 2444 h 191255"/>
                <a:gd name="connsiteX80" fmla="*/ 179038 w 474391"/>
                <a:gd name="connsiteY80" fmla="*/ 3747 h 191255"/>
                <a:gd name="connsiteX81" fmla="*/ 167308 w 474391"/>
                <a:gd name="connsiteY81" fmla="*/ 8960 h 191255"/>
                <a:gd name="connsiteX82" fmla="*/ 161932 w 474391"/>
                <a:gd name="connsiteY82" fmla="*/ 9612 h 191255"/>
                <a:gd name="connsiteX83" fmla="*/ 152483 w 474391"/>
                <a:gd name="connsiteY83" fmla="*/ 11404 h 191255"/>
                <a:gd name="connsiteX84" fmla="*/ 149714 w 474391"/>
                <a:gd name="connsiteY84" fmla="*/ 15151 h 191255"/>
                <a:gd name="connsiteX85" fmla="*/ 145315 w 474391"/>
                <a:gd name="connsiteY85" fmla="*/ 16291 h 191255"/>
                <a:gd name="connsiteX86" fmla="*/ 141079 w 474391"/>
                <a:gd name="connsiteY86" fmla="*/ 20690 h 191255"/>
                <a:gd name="connsiteX87" fmla="*/ 138799 w 474391"/>
                <a:gd name="connsiteY87" fmla="*/ 21993 h 191255"/>
                <a:gd name="connsiteX88" fmla="*/ 136355 w 474391"/>
                <a:gd name="connsiteY88" fmla="*/ 28183 h 191255"/>
                <a:gd name="connsiteX89" fmla="*/ 134074 w 474391"/>
                <a:gd name="connsiteY89" fmla="*/ 29812 h 191255"/>
                <a:gd name="connsiteX90" fmla="*/ 134400 w 474391"/>
                <a:gd name="connsiteY90" fmla="*/ 32582 h 191255"/>
                <a:gd name="connsiteX91" fmla="*/ 125277 w 474391"/>
                <a:gd name="connsiteY91" fmla="*/ 33234 h 191255"/>
                <a:gd name="connsiteX92" fmla="*/ 111756 w 474391"/>
                <a:gd name="connsiteY92" fmla="*/ 28183 h 191255"/>
                <a:gd name="connsiteX93" fmla="*/ 107520 w 474391"/>
                <a:gd name="connsiteY93" fmla="*/ 28183 h 191255"/>
                <a:gd name="connsiteX94" fmla="*/ 104425 w 474391"/>
                <a:gd name="connsiteY94" fmla="*/ 30464 h 191255"/>
                <a:gd name="connsiteX95" fmla="*/ 98886 w 474391"/>
                <a:gd name="connsiteY95" fmla="*/ 29324 h 191255"/>
                <a:gd name="connsiteX96" fmla="*/ 91229 w 474391"/>
                <a:gd name="connsiteY96" fmla="*/ 31279 h 191255"/>
                <a:gd name="connsiteX97" fmla="*/ 87320 w 474391"/>
                <a:gd name="connsiteY97" fmla="*/ 29975 h 191255"/>
                <a:gd name="connsiteX98" fmla="*/ 80966 w 474391"/>
                <a:gd name="connsiteY98" fmla="*/ 31767 h 191255"/>
                <a:gd name="connsiteX99" fmla="*/ 79826 w 474391"/>
                <a:gd name="connsiteY99" fmla="*/ 35188 h 191255"/>
                <a:gd name="connsiteX100" fmla="*/ 84550 w 474391"/>
                <a:gd name="connsiteY100" fmla="*/ 42845 h 191255"/>
                <a:gd name="connsiteX101" fmla="*/ 91718 w 474391"/>
                <a:gd name="connsiteY101" fmla="*/ 42845 h 191255"/>
                <a:gd name="connsiteX102" fmla="*/ 97745 w 474391"/>
                <a:gd name="connsiteY102" fmla="*/ 43986 h 191255"/>
                <a:gd name="connsiteX103" fmla="*/ 96768 w 474391"/>
                <a:gd name="connsiteY103" fmla="*/ 46755 h 191255"/>
                <a:gd name="connsiteX104" fmla="*/ 86342 w 474391"/>
                <a:gd name="connsiteY104" fmla="*/ 46755 h 191255"/>
                <a:gd name="connsiteX105" fmla="*/ 77219 w 474391"/>
                <a:gd name="connsiteY105" fmla="*/ 49687 h 191255"/>
                <a:gd name="connsiteX106" fmla="*/ 73961 w 474391"/>
                <a:gd name="connsiteY106" fmla="*/ 53923 h 191255"/>
                <a:gd name="connsiteX107" fmla="*/ 75753 w 474391"/>
                <a:gd name="connsiteY107" fmla="*/ 56367 h 191255"/>
                <a:gd name="connsiteX108" fmla="*/ 80640 w 474391"/>
                <a:gd name="connsiteY108" fmla="*/ 54901 h 191255"/>
                <a:gd name="connsiteX109" fmla="*/ 82595 w 474391"/>
                <a:gd name="connsiteY109" fmla="*/ 57833 h 191255"/>
                <a:gd name="connsiteX110" fmla="*/ 78685 w 474391"/>
                <a:gd name="connsiteY110" fmla="*/ 59136 h 191255"/>
                <a:gd name="connsiteX111" fmla="*/ 66956 w 474391"/>
                <a:gd name="connsiteY111" fmla="*/ 59136 h 191255"/>
                <a:gd name="connsiteX112" fmla="*/ 61906 w 474391"/>
                <a:gd name="connsiteY112" fmla="*/ 56693 h 191255"/>
                <a:gd name="connsiteX113" fmla="*/ 55878 w 474391"/>
                <a:gd name="connsiteY113" fmla="*/ 59462 h 191255"/>
                <a:gd name="connsiteX114" fmla="*/ 52945 w 474391"/>
                <a:gd name="connsiteY114" fmla="*/ 55226 h 191255"/>
                <a:gd name="connsiteX115" fmla="*/ 49688 w 474391"/>
                <a:gd name="connsiteY115" fmla="*/ 55226 h 191255"/>
                <a:gd name="connsiteX116" fmla="*/ 45289 w 474391"/>
                <a:gd name="connsiteY116" fmla="*/ 60439 h 191255"/>
                <a:gd name="connsiteX117" fmla="*/ 41053 w 474391"/>
                <a:gd name="connsiteY117" fmla="*/ 60439 h 191255"/>
                <a:gd name="connsiteX118" fmla="*/ 34863 w 474391"/>
                <a:gd name="connsiteY118" fmla="*/ 55389 h 191255"/>
                <a:gd name="connsiteX119" fmla="*/ 28835 w 474391"/>
                <a:gd name="connsiteY119" fmla="*/ 55389 h 191255"/>
                <a:gd name="connsiteX120" fmla="*/ 17269 w 474391"/>
                <a:gd name="connsiteY120" fmla="*/ 64349 h 191255"/>
                <a:gd name="connsiteX121" fmla="*/ 15477 w 474391"/>
                <a:gd name="connsiteY121" fmla="*/ 69074 h 191255"/>
                <a:gd name="connsiteX122" fmla="*/ 13522 w 474391"/>
                <a:gd name="connsiteY122" fmla="*/ 73472 h 191255"/>
                <a:gd name="connsiteX123" fmla="*/ 15477 w 474391"/>
                <a:gd name="connsiteY123" fmla="*/ 76730 h 191255"/>
                <a:gd name="connsiteX124" fmla="*/ 15477 w 474391"/>
                <a:gd name="connsiteY124" fmla="*/ 81944 h 191255"/>
                <a:gd name="connsiteX125" fmla="*/ 13522 w 474391"/>
                <a:gd name="connsiteY125" fmla="*/ 84061 h 191255"/>
                <a:gd name="connsiteX126" fmla="*/ 15314 w 474391"/>
                <a:gd name="connsiteY126" fmla="*/ 87156 h 191255"/>
                <a:gd name="connsiteX127" fmla="*/ 22156 w 474391"/>
                <a:gd name="connsiteY127" fmla="*/ 84876 h 191255"/>
                <a:gd name="connsiteX128" fmla="*/ 24111 w 474391"/>
                <a:gd name="connsiteY128" fmla="*/ 85690 h 191255"/>
                <a:gd name="connsiteX129" fmla="*/ 29161 w 474391"/>
                <a:gd name="connsiteY129" fmla="*/ 84550 h 191255"/>
                <a:gd name="connsiteX130" fmla="*/ 35352 w 474391"/>
                <a:gd name="connsiteY130" fmla="*/ 84550 h 191255"/>
                <a:gd name="connsiteX131" fmla="*/ 29324 w 474391"/>
                <a:gd name="connsiteY131" fmla="*/ 90415 h 191255"/>
                <a:gd name="connsiteX132" fmla="*/ 30138 w 474391"/>
                <a:gd name="connsiteY132" fmla="*/ 94325 h 191255"/>
                <a:gd name="connsiteX133" fmla="*/ 32582 w 474391"/>
                <a:gd name="connsiteY133" fmla="*/ 98397 h 191255"/>
                <a:gd name="connsiteX134" fmla="*/ 32582 w 474391"/>
                <a:gd name="connsiteY134" fmla="*/ 101493 h 191255"/>
                <a:gd name="connsiteX135" fmla="*/ 31931 w 474391"/>
                <a:gd name="connsiteY135" fmla="*/ 103773 h 191255"/>
                <a:gd name="connsiteX136" fmla="*/ 33560 w 474391"/>
                <a:gd name="connsiteY136" fmla="*/ 104914 h 191255"/>
                <a:gd name="connsiteX137" fmla="*/ 38121 w 474391"/>
                <a:gd name="connsiteY137" fmla="*/ 101981 h 191255"/>
                <a:gd name="connsiteX138" fmla="*/ 38447 w 474391"/>
                <a:gd name="connsiteY138" fmla="*/ 104588 h 191255"/>
                <a:gd name="connsiteX139" fmla="*/ 35352 w 474391"/>
                <a:gd name="connsiteY139" fmla="*/ 107846 h 191255"/>
                <a:gd name="connsiteX140" fmla="*/ 28998 w 474391"/>
                <a:gd name="connsiteY140" fmla="*/ 111756 h 191255"/>
                <a:gd name="connsiteX141" fmla="*/ 31279 w 474391"/>
                <a:gd name="connsiteY141" fmla="*/ 113222 h 191255"/>
                <a:gd name="connsiteX142" fmla="*/ 34863 w 474391"/>
                <a:gd name="connsiteY142" fmla="*/ 113548 h 191255"/>
                <a:gd name="connsiteX143" fmla="*/ 31279 w 474391"/>
                <a:gd name="connsiteY143" fmla="*/ 115991 h 191255"/>
                <a:gd name="connsiteX144" fmla="*/ 28998 w 474391"/>
                <a:gd name="connsiteY144" fmla="*/ 120390 h 191255"/>
                <a:gd name="connsiteX145" fmla="*/ 26229 w 474391"/>
                <a:gd name="connsiteY145" fmla="*/ 120390 h 191255"/>
                <a:gd name="connsiteX146" fmla="*/ 23459 w 474391"/>
                <a:gd name="connsiteY146" fmla="*/ 113711 h 191255"/>
                <a:gd name="connsiteX147" fmla="*/ 21504 w 474391"/>
                <a:gd name="connsiteY147" fmla="*/ 112733 h 191255"/>
                <a:gd name="connsiteX148" fmla="*/ 20690 w 474391"/>
                <a:gd name="connsiteY148" fmla="*/ 116969 h 191255"/>
                <a:gd name="connsiteX149" fmla="*/ 22482 w 474391"/>
                <a:gd name="connsiteY149" fmla="*/ 121693 h 191255"/>
                <a:gd name="connsiteX150" fmla="*/ 20201 w 474391"/>
                <a:gd name="connsiteY150" fmla="*/ 124137 h 191255"/>
                <a:gd name="connsiteX151" fmla="*/ 21015 w 474391"/>
                <a:gd name="connsiteY151" fmla="*/ 127721 h 191255"/>
                <a:gd name="connsiteX152" fmla="*/ 25251 w 474391"/>
                <a:gd name="connsiteY152" fmla="*/ 130490 h 191255"/>
                <a:gd name="connsiteX153" fmla="*/ 26229 w 474391"/>
                <a:gd name="connsiteY153" fmla="*/ 128372 h 191255"/>
                <a:gd name="connsiteX154" fmla="*/ 31279 w 474391"/>
                <a:gd name="connsiteY154" fmla="*/ 132608 h 191255"/>
                <a:gd name="connsiteX155" fmla="*/ 35188 w 474391"/>
                <a:gd name="connsiteY155" fmla="*/ 131794 h 191255"/>
                <a:gd name="connsiteX156" fmla="*/ 41053 w 474391"/>
                <a:gd name="connsiteY156" fmla="*/ 135215 h 191255"/>
                <a:gd name="connsiteX157" fmla="*/ 42520 w 474391"/>
                <a:gd name="connsiteY157" fmla="*/ 141242 h 191255"/>
                <a:gd name="connsiteX158" fmla="*/ 38447 w 474391"/>
                <a:gd name="connsiteY158" fmla="*/ 145315 h 191255"/>
                <a:gd name="connsiteX159" fmla="*/ 41705 w 474391"/>
                <a:gd name="connsiteY159" fmla="*/ 148410 h 191255"/>
                <a:gd name="connsiteX160" fmla="*/ 41705 w 474391"/>
                <a:gd name="connsiteY160" fmla="*/ 151506 h 191255"/>
                <a:gd name="connsiteX161" fmla="*/ 45126 w 474391"/>
                <a:gd name="connsiteY161" fmla="*/ 151669 h 191255"/>
                <a:gd name="connsiteX162" fmla="*/ 51479 w 474391"/>
                <a:gd name="connsiteY162" fmla="*/ 157859 h 191255"/>
                <a:gd name="connsiteX163" fmla="*/ 49199 w 474391"/>
                <a:gd name="connsiteY163" fmla="*/ 161932 h 191255"/>
                <a:gd name="connsiteX164" fmla="*/ 45126 w 474391"/>
                <a:gd name="connsiteY164" fmla="*/ 160792 h 191255"/>
                <a:gd name="connsiteX165" fmla="*/ 44149 w 474391"/>
                <a:gd name="connsiteY165" fmla="*/ 163724 h 191255"/>
                <a:gd name="connsiteX166" fmla="*/ 47407 w 474391"/>
                <a:gd name="connsiteY166" fmla="*/ 165027 h 191255"/>
                <a:gd name="connsiteX167" fmla="*/ 55226 w 474391"/>
                <a:gd name="connsiteY167" fmla="*/ 163072 h 191255"/>
                <a:gd name="connsiteX168" fmla="*/ 65979 w 474391"/>
                <a:gd name="connsiteY168" fmla="*/ 163072 h 191255"/>
                <a:gd name="connsiteX169" fmla="*/ 65164 w 474391"/>
                <a:gd name="connsiteY169" fmla="*/ 165190 h 191255"/>
                <a:gd name="connsiteX170" fmla="*/ 62720 w 474391"/>
                <a:gd name="connsiteY170" fmla="*/ 167796 h 191255"/>
                <a:gd name="connsiteX171" fmla="*/ 57181 w 474391"/>
                <a:gd name="connsiteY171" fmla="*/ 170240 h 191255"/>
                <a:gd name="connsiteX172" fmla="*/ 48873 w 474391"/>
                <a:gd name="connsiteY172" fmla="*/ 169914 h 191255"/>
                <a:gd name="connsiteX173" fmla="*/ 46918 w 474391"/>
                <a:gd name="connsiteY173" fmla="*/ 172847 h 191255"/>
                <a:gd name="connsiteX174" fmla="*/ 50013 w 474391"/>
                <a:gd name="connsiteY174" fmla="*/ 173661 h 191255"/>
                <a:gd name="connsiteX175" fmla="*/ 54249 w 474391"/>
                <a:gd name="connsiteY175" fmla="*/ 172195 h 191255"/>
                <a:gd name="connsiteX176" fmla="*/ 59951 w 474391"/>
                <a:gd name="connsiteY176" fmla="*/ 172195 h 191255"/>
                <a:gd name="connsiteX177" fmla="*/ 62720 w 474391"/>
                <a:gd name="connsiteY177" fmla="*/ 170892 h 191255"/>
                <a:gd name="connsiteX178" fmla="*/ 62720 w 474391"/>
                <a:gd name="connsiteY178" fmla="*/ 174639 h 191255"/>
                <a:gd name="connsiteX179" fmla="*/ 64186 w 474391"/>
                <a:gd name="connsiteY179" fmla="*/ 175942 h 191255"/>
                <a:gd name="connsiteX180" fmla="*/ 67119 w 474391"/>
                <a:gd name="connsiteY180" fmla="*/ 172195 h 191255"/>
                <a:gd name="connsiteX181" fmla="*/ 70540 w 474391"/>
                <a:gd name="connsiteY181" fmla="*/ 167960 h 191255"/>
                <a:gd name="connsiteX182" fmla="*/ 74287 w 474391"/>
                <a:gd name="connsiteY182" fmla="*/ 167960 h 191255"/>
                <a:gd name="connsiteX183" fmla="*/ 76731 w 474391"/>
                <a:gd name="connsiteY183" fmla="*/ 170892 h 191255"/>
                <a:gd name="connsiteX184" fmla="*/ 79988 w 474391"/>
                <a:gd name="connsiteY184" fmla="*/ 170892 h 191255"/>
                <a:gd name="connsiteX185" fmla="*/ 84876 w 474391"/>
                <a:gd name="connsiteY185" fmla="*/ 173824 h 191255"/>
                <a:gd name="connsiteX186" fmla="*/ 87156 w 474391"/>
                <a:gd name="connsiteY186" fmla="*/ 170566 h 191255"/>
                <a:gd name="connsiteX187" fmla="*/ 91067 w 474391"/>
                <a:gd name="connsiteY187" fmla="*/ 171218 h 191255"/>
                <a:gd name="connsiteX188" fmla="*/ 90415 w 474391"/>
                <a:gd name="connsiteY188" fmla="*/ 173987 h 191255"/>
                <a:gd name="connsiteX189" fmla="*/ 88460 w 474391"/>
                <a:gd name="connsiteY189" fmla="*/ 174965 h 191255"/>
                <a:gd name="connsiteX190" fmla="*/ 90741 w 474391"/>
                <a:gd name="connsiteY190" fmla="*/ 178386 h 191255"/>
                <a:gd name="connsiteX191" fmla="*/ 91392 w 474391"/>
                <a:gd name="connsiteY191" fmla="*/ 181807 h 191255"/>
                <a:gd name="connsiteX192" fmla="*/ 96768 w 474391"/>
                <a:gd name="connsiteY192" fmla="*/ 186205 h 191255"/>
                <a:gd name="connsiteX193" fmla="*/ 98723 w 474391"/>
                <a:gd name="connsiteY193" fmla="*/ 185228 h 191255"/>
                <a:gd name="connsiteX194" fmla="*/ 104588 w 474391"/>
                <a:gd name="connsiteY194" fmla="*/ 187509 h 191255"/>
                <a:gd name="connsiteX195" fmla="*/ 110779 w 474391"/>
                <a:gd name="connsiteY195" fmla="*/ 186531 h 191255"/>
                <a:gd name="connsiteX196" fmla="*/ 113711 w 474391"/>
                <a:gd name="connsiteY196" fmla="*/ 184250 h 191255"/>
                <a:gd name="connsiteX197" fmla="*/ 118761 w 474391"/>
                <a:gd name="connsiteY197" fmla="*/ 184250 h 191255"/>
                <a:gd name="connsiteX198" fmla="*/ 121693 w 474391"/>
                <a:gd name="connsiteY198" fmla="*/ 181807 h 191255"/>
                <a:gd name="connsiteX199" fmla="*/ 126092 w 474391"/>
                <a:gd name="connsiteY199" fmla="*/ 184087 h 191255"/>
                <a:gd name="connsiteX200" fmla="*/ 129187 w 474391"/>
                <a:gd name="connsiteY200" fmla="*/ 182295 h 191255"/>
                <a:gd name="connsiteX201" fmla="*/ 128536 w 474391"/>
                <a:gd name="connsiteY201" fmla="*/ 176268 h 191255"/>
                <a:gd name="connsiteX202" fmla="*/ 129513 w 474391"/>
                <a:gd name="connsiteY202" fmla="*/ 173173 h 191255"/>
                <a:gd name="connsiteX203" fmla="*/ 128536 w 474391"/>
                <a:gd name="connsiteY203" fmla="*/ 167634 h 191255"/>
                <a:gd name="connsiteX204" fmla="*/ 139288 w 474391"/>
                <a:gd name="connsiteY204" fmla="*/ 166656 h 191255"/>
                <a:gd name="connsiteX205" fmla="*/ 148574 w 474391"/>
                <a:gd name="connsiteY205" fmla="*/ 167471 h 191255"/>
                <a:gd name="connsiteX206" fmla="*/ 160954 w 474391"/>
                <a:gd name="connsiteY206" fmla="*/ 173824 h 191255"/>
                <a:gd name="connsiteX207" fmla="*/ 165353 w 474391"/>
                <a:gd name="connsiteY207" fmla="*/ 173824 h 191255"/>
                <a:gd name="connsiteX208" fmla="*/ 173499 w 474391"/>
                <a:gd name="connsiteY208" fmla="*/ 184739 h 191255"/>
                <a:gd name="connsiteX209" fmla="*/ 180504 w 474391"/>
                <a:gd name="connsiteY209" fmla="*/ 189138 h 191255"/>
                <a:gd name="connsiteX210" fmla="*/ 203636 w 474391"/>
                <a:gd name="connsiteY210" fmla="*/ 186205 h 191255"/>
                <a:gd name="connsiteX211" fmla="*/ 210642 w 474391"/>
                <a:gd name="connsiteY211" fmla="*/ 183273 h 191255"/>
                <a:gd name="connsiteX212" fmla="*/ 212922 w 474391"/>
                <a:gd name="connsiteY212" fmla="*/ 183273 h 191255"/>
                <a:gd name="connsiteX213" fmla="*/ 214063 w 474391"/>
                <a:gd name="connsiteY213" fmla="*/ 184413 h 191255"/>
                <a:gd name="connsiteX214" fmla="*/ 217321 w 474391"/>
                <a:gd name="connsiteY214" fmla="*/ 182133 h 191255"/>
                <a:gd name="connsiteX215" fmla="*/ 218461 w 474391"/>
                <a:gd name="connsiteY215" fmla="*/ 177897 h 191255"/>
                <a:gd name="connsiteX216" fmla="*/ 229539 w 474391"/>
                <a:gd name="connsiteY216" fmla="*/ 165353 h 191255"/>
                <a:gd name="connsiteX217" fmla="*/ 232309 w 474391"/>
                <a:gd name="connsiteY217" fmla="*/ 164701 h 191255"/>
                <a:gd name="connsiteX218" fmla="*/ 242735 w 474391"/>
                <a:gd name="connsiteY218" fmla="*/ 168448 h 191255"/>
                <a:gd name="connsiteX219" fmla="*/ 249088 w 474391"/>
                <a:gd name="connsiteY219" fmla="*/ 171380 h 191255"/>
                <a:gd name="connsiteX220" fmla="*/ 257071 w 474391"/>
                <a:gd name="connsiteY220" fmla="*/ 169914 h 191255"/>
                <a:gd name="connsiteX221" fmla="*/ 257722 w 474391"/>
                <a:gd name="connsiteY221" fmla="*/ 167634 h 191255"/>
                <a:gd name="connsiteX222" fmla="*/ 263261 w 474391"/>
                <a:gd name="connsiteY222" fmla="*/ 163561 h 191255"/>
                <a:gd name="connsiteX223" fmla="*/ 267497 w 474391"/>
                <a:gd name="connsiteY223" fmla="*/ 164864 h 191255"/>
                <a:gd name="connsiteX224" fmla="*/ 268149 w 474391"/>
                <a:gd name="connsiteY224" fmla="*/ 168611 h 191255"/>
                <a:gd name="connsiteX225" fmla="*/ 264239 w 474391"/>
                <a:gd name="connsiteY225" fmla="*/ 174802 h 191255"/>
                <a:gd name="connsiteX226" fmla="*/ 259189 w 474391"/>
                <a:gd name="connsiteY226" fmla="*/ 178874 h 191255"/>
                <a:gd name="connsiteX227" fmla="*/ 259189 w 474391"/>
                <a:gd name="connsiteY227" fmla="*/ 181318 h 191255"/>
                <a:gd name="connsiteX228" fmla="*/ 264076 w 474391"/>
                <a:gd name="connsiteY228" fmla="*/ 186694 h 191255"/>
                <a:gd name="connsiteX229" fmla="*/ 263099 w 474391"/>
                <a:gd name="connsiteY229" fmla="*/ 190278 h 191255"/>
                <a:gd name="connsiteX230" fmla="*/ 268149 w 474391"/>
                <a:gd name="connsiteY230" fmla="*/ 191255 h 191255"/>
                <a:gd name="connsiteX231" fmla="*/ 273525 w 474391"/>
                <a:gd name="connsiteY231" fmla="*/ 190278 h 191255"/>
                <a:gd name="connsiteX232" fmla="*/ 278575 w 474391"/>
                <a:gd name="connsiteY232" fmla="*/ 188486 h 191255"/>
                <a:gd name="connsiteX233" fmla="*/ 278086 w 474391"/>
                <a:gd name="connsiteY233" fmla="*/ 182784 h 191255"/>
                <a:gd name="connsiteX234" fmla="*/ 281344 w 474391"/>
                <a:gd name="connsiteY234" fmla="*/ 180829 h 191255"/>
                <a:gd name="connsiteX235" fmla="*/ 281344 w 474391"/>
                <a:gd name="connsiteY235" fmla="*/ 171218 h 191255"/>
                <a:gd name="connsiteX236" fmla="*/ 282974 w 474391"/>
                <a:gd name="connsiteY236" fmla="*/ 167145 h 191255"/>
                <a:gd name="connsiteX237" fmla="*/ 290304 w 474391"/>
                <a:gd name="connsiteY237" fmla="*/ 168937 h 191255"/>
                <a:gd name="connsiteX238" fmla="*/ 294703 w 474391"/>
                <a:gd name="connsiteY238" fmla="*/ 170077 h 191255"/>
                <a:gd name="connsiteX239" fmla="*/ 307084 w 474391"/>
                <a:gd name="connsiteY239" fmla="*/ 165353 h 191255"/>
                <a:gd name="connsiteX240" fmla="*/ 310016 w 474391"/>
                <a:gd name="connsiteY240" fmla="*/ 165027 h 191255"/>
                <a:gd name="connsiteX241" fmla="*/ 313763 w 474391"/>
                <a:gd name="connsiteY241" fmla="*/ 162746 h 191255"/>
                <a:gd name="connsiteX242" fmla="*/ 326959 w 474391"/>
                <a:gd name="connsiteY242" fmla="*/ 161443 h 191255"/>
                <a:gd name="connsiteX243" fmla="*/ 331683 w 474391"/>
                <a:gd name="connsiteY243" fmla="*/ 162746 h 191255"/>
                <a:gd name="connsiteX244" fmla="*/ 334290 w 474391"/>
                <a:gd name="connsiteY244" fmla="*/ 165190 h 191255"/>
                <a:gd name="connsiteX245" fmla="*/ 342598 w 474391"/>
                <a:gd name="connsiteY245" fmla="*/ 166819 h 191255"/>
                <a:gd name="connsiteX246" fmla="*/ 354165 w 474391"/>
                <a:gd name="connsiteY246" fmla="*/ 167145 h 191255"/>
                <a:gd name="connsiteX247" fmla="*/ 355305 w 474391"/>
                <a:gd name="connsiteY247" fmla="*/ 164864 h 191255"/>
                <a:gd name="connsiteX248" fmla="*/ 361984 w 474391"/>
                <a:gd name="connsiteY248" fmla="*/ 162909 h 191255"/>
                <a:gd name="connsiteX249" fmla="*/ 365894 w 474391"/>
                <a:gd name="connsiteY249" fmla="*/ 158674 h 191255"/>
                <a:gd name="connsiteX250" fmla="*/ 374854 w 474391"/>
                <a:gd name="connsiteY250" fmla="*/ 155904 h 191255"/>
                <a:gd name="connsiteX251" fmla="*/ 381370 w 474391"/>
                <a:gd name="connsiteY251" fmla="*/ 155904 h 191255"/>
                <a:gd name="connsiteX252" fmla="*/ 386258 w 474391"/>
                <a:gd name="connsiteY252" fmla="*/ 154927 h 191255"/>
                <a:gd name="connsiteX253" fmla="*/ 399127 w 474391"/>
                <a:gd name="connsiteY253" fmla="*/ 155741 h 191255"/>
                <a:gd name="connsiteX254" fmla="*/ 409228 w 474391"/>
                <a:gd name="connsiteY254" fmla="*/ 152320 h 191255"/>
                <a:gd name="connsiteX255" fmla="*/ 416396 w 474391"/>
                <a:gd name="connsiteY255" fmla="*/ 152320 h 191255"/>
                <a:gd name="connsiteX256" fmla="*/ 418351 w 474391"/>
                <a:gd name="connsiteY256" fmla="*/ 153786 h 191255"/>
                <a:gd name="connsiteX257" fmla="*/ 425356 w 474391"/>
                <a:gd name="connsiteY257" fmla="*/ 148085 h 191255"/>
                <a:gd name="connsiteX258" fmla="*/ 431384 w 474391"/>
                <a:gd name="connsiteY258" fmla="*/ 148085 h 191255"/>
                <a:gd name="connsiteX259" fmla="*/ 433990 w 474391"/>
                <a:gd name="connsiteY259" fmla="*/ 146130 h 191255"/>
                <a:gd name="connsiteX260" fmla="*/ 444416 w 474391"/>
                <a:gd name="connsiteY260" fmla="*/ 146130 h 191255"/>
                <a:gd name="connsiteX261" fmla="*/ 453213 w 474391"/>
                <a:gd name="connsiteY261" fmla="*/ 148410 h 191255"/>
                <a:gd name="connsiteX262" fmla="*/ 459893 w 474391"/>
                <a:gd name="connsiteY262" fmla="*/ 146618 h 191255"/>
                <a:gd name="connsiteX263" fmla="*/ 463314 w 474391"/>
                <a:gd name="connsiteY263" fmla="*/ 148899 h 191255"/>
                <a:gd name="connsiteX264" fmla="*/ 463314 w 474391"/>
                <a:gd name="connsiteY264" fmla="*/ 153949 h 191255"/>
                <a:gd name="connsiteX265" fmla="*/ 467386 w 474391"/>
                <a:gd name="connsiteY265" fmla="*/ 155904 h 191255"/>
                <a:gd name="connsiteX266" fmla="*/ 473088 w 474391"/>
                <a:gd name="connsiteY266" fmla="*/ 154275 h 191255"/>
                <a:gd name="connsiteX267" fmla="*/ 474392 w 474391"/>
                <a:gd name="connsiteY267" fmla="*/ 149877 h 191255"/>
                <a:gd name="connsiteX268" fmla="*/ 471948 w 474391"/>
                <a:gd name="connsiteY268" fmla="*/ 144012 h 191255"/>
                <a:gd name="connsiteX269" fmla="*/ 466409 w 474391"/>
                <a:gd name="connsiteY269" fmla="*/ 134074 h 191255"/>
                <a:gd name="connsiteX270" fmla="*/ 459567 w 474391"/>
                <a:gd name="connsiteY270" fmla="*/ 131468 h 191255"/>
                <a:gd name="connsiteX271" fmla="*/ 460056 w 474391"/>
                <a:gd name="connsiteY271" fmla="*/ 128535 h 191255"/>
                <a:gd name="connsiteX272" fmla="*/ 459730 w 474391"/>
                <a:gd name="connsiteY272" fmla="*/ 121204 h 191255"/>
                <a:gd name="connsiteX273" fmla="*/ 462988 w 474391"/>
                <a:gd name="connsiteY273" fmla="*/ 113385 h 191255"/>
                <a:gd name="connsiteX274" fmla="*/ 461359 w 474391"/>
                <a:gd name="connsiteY274" fmla="*/ 110290 h 191255"/>
                <a:gd name="connsiteX275" fmla="*/ 455494 w 474391"/>
                <a:gd name="connsiteY275" fmla="*/ 109475 h 191255"/>
                <a:gd name="connsiteX276" fmla="*/ 455494 w 474391"/>
                <a:gd name="connsiteY276" fmla="*/ 102470 h 191255"/>
                <a:gd name="connsiteX277" fmla="*/ 455983 w 474391"/>
                <a:gd name="connsiteY277" fmla="*/ 97745 h 191255"/>
                <a:gd name="connsiteX278" fmla="*/ 453540 w 474391"/>
                <a:gd name="connsiteY278" fmla="*/ 88134 h 191255"/>
                <a:gd name="connsiteX279" fmla="*/ 450770 w 474391"/>
                <a:gd name="connsiteY279" fmla="*/ 83084 h 191255"/>
                <a:gd name="connsiteX280" fmla="*/ 450770 w 474391"/>
                <a:gd name="connsiteY280" fmla="*/ 80477 h 191255"/>
                <a:gd name="connsiteX281" fmla="*/ 457775 w 474391"/>
                <a:gd name="connsiteY281" fmla="*/ 79988 h 191255"/>
                <a:gd name="connsiteX282" fmla="*/ 460381 w 474391"/>
                <a:gd name="connsiteY282" fmla="*/ 73146 h 191255"/>
                <a:gd name="connsiteX283" fmla="*/ 463151 w 474391"/>
                <a:gd name="connsiteY283" fmla="*/ 70703 h 191255"/>
                <a:gd name="connsiteX284" fmla="*/ 460218 w 474391"/>
                <a:gd name="connsiteY284" fmla="*/ 65978 h 191255"/>
                <a:gd name="connsiteX285" fmla="*/ 455820 w 474391"/>
                <a:gd name="connsiteY285" fmla="*/ 61580 h 191255"/>
                <a:gd name="connsiteX286" fmla="*/ 450770 w 474391"/>
                <a:gd name="connsiteY286" fmla="*/ 61906 h 191255"/>
                <a:gd name="connsiteX287" fmla="*/ 442787 w 474391"/>
                <a:gd name="connsiteY287" fmla="*/ 61580 h 191255"/>
                <a:gd name="connsiteX288" fmla="*/ 435456 w 474391"/>
                <a:gd name="connsiteY288" fmla="*/ 57181 h 191255"/>
                <a:gd name="connsiteX289" fmla="*/ 435131 w 474391"/>
                <a:gd name="connsiteY289" fmla="*/ 47081 h 191255"/>
                <a:gd name="connsiteX290" fmla="*/ 436760 w 474391"/>
                <a:gd name="connsiteY290" fmla="*/ 39098 h 191255"/>
                <a:gd name="connsiteX291" fmla="*/ 433990 w 474391"/>
                <a:gd name="connsiteY291" fmla="*/ 33722 h 191255"/>
                <a:gd name="connsiteX292" fmla="*/ 429429 w 474391"/>
                <a:gd name="connsiteY292" fmla="*/ 32582 h 191255"/>
                <a:gd name="connsiteX293" fmla="*/ 429103 w 474391"/>
                <a:gd name="connsiteY293" fmla="*/ 29487 h 191255"/>
                <a:gd name="connsiteX294" fmla="*/ 424704 w 474391"/>
                <a:gd name="connsiteY294" fmla="*/ 24762 h 191255"/>
                <a:gd name="connsiteX295" fmla="*/ 420143 w 474391"/>
                <a:gd name="connsiteY295" fmla="*/ 23622 h 191255"/>
                <a:gd name="connsiteX296" fmla="*/ 409391 w 474391"/>
                <a:gd name="connsiteY296" fmla="*/ 14662 h 191255"/>
                <a:gd name="connsiteX297" fmla="*/ 405155 w 474391"/>
                <a:gd name="connsiteY297" fmla="*/ 13521 h 191255"/>
                <a:gd name="connsiteX298" fmla="*/ 401408 w 474391"/>
                <a:gd name="connsiteY298" fmla="*/ 16617 h 191255"/>
                <a:gd name="connsiteX299" fmla="*/ 398313 w 474391"/>
                <a:gd name="connsiteY299" fmla="*/ 17106 h 191255"/>
                <a:gd name="connsiteX300" fmla="*/ 391634 w 474391"/>
                <a:gd name="connsiteY300" fmla="*/ 14499 h 191255"/>
                <a:gd name="connsiteX301" fmla="*/ 389190 w 474391"/>
                <a:gd name="connsiteY301" fmla="*/ 17594 h 191255"/>
                <a:gd name="connsiteX302" fmla="*/ 386258 w 474391"/>
                <a:gd name="connsiteY302" fmla="*/ 16617 h 191255"/>
                <a:gd name="connsiteX303" fmla="*/ 385117 w 474391"/>
                <a:gd name="connsiteY303" fmla="*/ 12055 h 191255"/>
                <a:gd name="connsiteX304" fmla="*/ 381859 w 474391"/>
                <a:gd name="connsiteY304" fmla="*/ 11729 h 191255"/>
                <a:gd name="connsiteX305" fmla="*/ 381859 w 474391"/>
                <a:gd name="connsiteY305" fmla="*/ 11729 h 191255"/>
                <a:gd name="connsiteX306" fmla="*/ 56367 w 474391"/>
                <a:gd name="connsiteY306" fmla="*/ 176757 h 191255"/>
                <a:gd name="connsiteX307" fmla="*/ 58159 w 474391"/>
                <a:gd name="connsiteY307" fmla="*/ 174965 h 191255"/>
                <a:gd name="connsiteX308" fmla="*/ 60277 w 474391"/>
                <a:gd name="connsiteY308" fmla="*/ 174965 h 191255"/>
                <a:gd name="connsiteX309" fmla="*/ 60765 w 474391"/>
                <a:gd name="connsiteY309" fmla="*/ 176919 h 191255"/>
                <a:gd name="connsiteX310" fmla="*/ 58485 w 474391"/>
                <a:gd name="connsiteY310" fmla="*/ 177571 h 191255"/>
                <a:gd name="connsiteX311" fmla="*/ 56204 w 474391"/>
                <a:gd name="connsiteY311" fmla="*/ 176757 h 191255"/>
                <a:gd name="connsiteX312" fmla="*/ 56204 w 474391"/>
                <a:gd name="connsiteY312" fmla="*/ 176757 h 191255"/>
                <a:gd name="connsiteX313" fmla="*/ 0 w 474391"/>
                <a:gd name="connsiteY313" fmla="*/ 62557 h 191255"/>
                <a:gd name="connsiteX314" fmla="*/ 3910 w 474391"/>
                <a:gd name="connsiteY314" fmla="*/ 64186 h 191255"/>
                <a:gd name="connsiteX315" fmla="*/ 8960 w 474391"/>
                <a:gd name="connsiteY315" fmla="*/ 62720 h 191255"/>
                <a:gd name="connsiteX316" fmla="*/ 9775 w 474391"/>
                <a:gd name="connsiteY316" fmla="*/ 59951 h 191255"/>
                <a:gd name="connsiteX317" fmla="*/ 7331 w 474391"/>
                <a:gd name="connsiteY317" fmla="*/ 58322 h 191255"/>
                <a:gd name="connsiteX318" fmla="*/ 4725 w 474391"/>
                <a:gd name="connsiteY318" fmla="*/ 60277 h 191255"/>
                <a:gd name="connsiteX319" fmla="*/ 978 w 474391"/>
                <a:gd name="connsiteY319" fmla="*/ 60277 h 191255"/>
                <a:gd name="connsiteX320" fmla="*/ 0 w 474391"/>
                <a:gd name="connsiteY320" fmla="*/ 62394 h 1912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</a:cxnLst>
              <a:rect l="l" t="t" r="r" b="b"/>
              <a:pathLst>
                <a:path w="474391" h="191255">
                  <a:moveTo>
                    <a:pt x="7494" y="42356"/>
                  </a:moveTo>
                  <a:lnTo>
                    <a:pt x="13033" y="40890"/>
                  </a:lnTo>
                  <a:lnTo>
                    <a:pt x="15965" y="35026"/>
                  </a:lnTo>
                  <a:lnTo>
                    <a:pt x="14825" y="29487"/>
                  </a:lnTo>
                  <a:lnTo>
                    <a:pt x="21504" y="25414"/>
                  </a:lnTo>
                  <a:lnTo>
                    <a:pt x="21830" y="19061"/>
                  </a:lnTo>
                  <a:lnTo>
                    <a:pt x="16617" y="16780"/>
                  </a:lnTo>
                  <a:lnTo>
                    <a:pt x="17758" y="9775"/>
                  </a:lnTo>
                  <a:lnTo>
                    <a:pt x="21830" y="5376"/>
                  </a:lnTo>
                  <a:lnTo>
                    <a:pt x="25903" y="5050"/>
                  </a:lnTo>
                  <a:lnTo>
                    <a:pt x="28835" y="1792"/>
                  </a:lnTo>
                  <a:lnTo>
                    <a:pt x="36166" y="1792"/>
                  </a:lnTo>
                  <a:lnTo>
                    <a:pt x="43171" y="7331"/>
                  </a:lnTo>
                  <a:lnTo>
                    <a:pt x="46918" y="4399"/>
                  </a:lnTo>
                  <a:lnTo>
                    <a:pt x="52620" y="5865"/>
                  </a:lnTo>
                  <a:lnTo>
                    <a:pt x="53434" y="14988"/>
                  </a:lnTo>
                  <a:lnTo>
                    <a:pt x="61091" y="21830"/>
                  </a:lnTo>
                  <a:lnTo>
                    <a:pt x="66630" y="22644"/>
                  </a:lnTo>
                  <a:lnTo>
                    <a:pt x="72495" y="28672"/>
                  </a:lnTo>
                  <a:lnTo>
                    <a:pt x="77708" y="31604"/>
                  </a:lnTo>
                  <a:lnTo>
                    <a:pt x="77708" y="34863"/>
                  </a:lnTo>
                  <a:lnTo>
                    <a:pt x="73309" y="39261"/>
                  </a:lnTo>
                  <a:lnTo>
                    <a:pt x="66956" y="38610"/>
                  </a:lnTo>
                  <a:lnTo>
                    <a:pt x="63535" y="36655"/>
                  </a:lnTo>
                  <a:lnTo>
                    <a:pt x="57670" y="36655"/>
                  </a:lnTo>
                  <a:lnTo>
                    <a:pt x="55390" y="38772"/>
                  </a:lnTo>
                  <a:lnTo>
                    <a:pt x="46755" y="38772"/>
                  </a:lnTo>
                  <a:cubicBezTo>
                    <a:pt x="46755" y="38772"/>
                    <a:pt x="41542" y="40727"/>
                    <a:pt x="41542" y="40727"/>
                  </a:cubicBezTo>
                  <a:lnTo>
                    <a:pt x="38772" y="47733"/>
                  </a:lnTo>
                  <a:lnTo>
                    <a:pt x="25414" y="54575"/>
                  </a:lnTo>
                  <a:lnTo>
                    <a:pt x="14825" y="63698"/>
                  </a:lnTo>
                  <a:lnTo>
                    <a:pt x="14499" y="60277"/>
                  </a:lnTo>
                  <a:lnTo>
                    <a:pt x="16943" y="52783"/>
                  </a:lnTo>
                  <a:lnTo>
                    <a:pt x="19875" y="52783"/>
                  </a:lnTo>
                  <a:cubicBezTo>
                    <a:pt x="19875" y="52783"/>
                    <a:pt x="24925" y="49362"/>
                    <a:pt x="24925" y="49362"/>
                  </a:cubicBezTo>
                  <a:lnTo>
                    <a:pt x="20038" y="50013"/>
                  </a:lnTo>
                  <a:lnTo>
                    <a:pt x="16943" y="49036"/>
                  </a:lnTo>
                  <a:lnTo>
                    <a:pt x="14010" y="49850"/>
                  </a:lnTo>
                  <a:lnTo>
                    <a:pt x="9938" y="47407"/>
                  </a:lnTo>
                  <a:lnTo>
                    <a:pt x="7820" y="43008"/>
                  </a:lnTo>
                  <a:lnTo>
                    <a:pt x="7494" y="43008"/>
                  </a:lnTo>
                  <a:close/>
                  <a:moveTo>
                    <a:pt x="382348" y="11078"/>
                  </a:moveTo>
                  <a:lnTo>
                    <a:pt x="381208" y="12707"/>
                  </a:lnTo>
                  <a:lnTo>
                    <a:pt x="378113" y="19223"/>
                  </a:lnTo>
                  <a:lnTo>
                    <a:pt x="371759" y="23133"/>
                  </a:lnTo>
                  <a:lnTo>
                    <a:pt x="363288" y="27369"/>
                  </a:lnTo>
                  <a:lnTo>
                    <a:pt x="361822" y="31279"/>
                  </a:lnTo>
                  <a:lnTo>
                    <a:pt x="353839" y="31930"/>
                  </a:lnTo>
                  <a:lnTo>
                    <a:pt x="350743" y="34374"/>
                  </a:lnTo>
                  <a:lnTo>
                    <a:pt x="340317" y="32093"/>
                  </a:lnTo>
                  <a:lnTo>
                    <a:pt x="337222" y="30138"/>
                  </a:lnTo>
                  <a:lnTo>
                    <a:pt x="333475" y="30138"/>
                  </a:lnTo>
                  <a:lnTo>
                    <a:pt x="331846" y="29161"/>
                  </a:lnTo>
                  <a:lnTo>
                    <a:pt x="326796" y="30627"/>
                  </a:lnTo>
                  <a:lnTo>
                    <a:pt x="317510" y="31279"/>
                  </a:lnTo>
                  <a:lnTo>
                    <a:pt x="306595" y="35677"/>
                  </a:lnTo>
                  <a:lnTo>
                    <a:pt x="297961" y="33885"/>
                  </a:lnTo>
                  <a:lnTo>
                    <a:pt x="292097" y="29812"/>
                  </a:lnTo>
                  <a:lnTo>
                    <a:pt x="289001" y="31930"/>
                  </a:lnTo>
                  <a:lnTo>
                    <a:pt x="279063" y="27043"/>
                  </a:lnTo>
                  <a:lnTo>
                    <a:pt x="274013" y="26228"/>
                  </a:lnTo>
                  <a:lnTo>
                    <a:pt x="265054" y="20201"/>
                  </a:lnTo>
                  <a:lnTo>
                    <a:pt x="262284" y="20201"/>
                  </a:lnTo>
                  <a:lnTo>
                    <a:pt x="260003" y="23459"/>
                  </a:lnTo>
                  <a:lnTo>
                    <a:pt x="255768" y="22482"/>
                  </a:lnTo>
                  <a:lnTo>
                    <a:pt x="251369" y="16454"/>
                  </a:lnTo>
                  <a:lnTo>
                    <a:pt x="250229" y="10263"/>
                  </a:lnTo>
                  <a:lnTo>
                    <a:pt x="246156" y="6842"/>
                  </a:lnTo>
                  <a:lnTo>
                    <a:pt x="243224" y="7494"/>
                  </a:lnTo>
                  <a:lnTo>
                    <a:pt x="237033" y="13685"/>
                  </a:lnTo>
                  <a:lnTo>
                    <a:pt x="234915" y="12707"/>
                  </a:lnTo>
                  <a:lnTo>
                    <a:pt x="232634" y="14173"/>
                  </a:lnTo>
                  <a:lnTo>
                    <a:pt x="223349" y="5702"/>
                  </a:lnTo>
                  <a:lnTo>
                    <a:pt x="222534" y="652"/>
                  </a:lnTo>
                  <a:lnTo>
                    <a:pt x="221068" y="0"/>
                  </a:lnTo>
                  <a:lnTo>
                    <a:pt x="214877" y="3095"/>
                  </a:lnTo>
                  <a:lnTo>
                    <a:pt x="206732" y="3095"/>
                  </a:lnTo>
                  <a:lnTo>
                    <a:pt x="202822" y="1792"/>
                  </a:lnTo>
                  <a:lnTo>
                    <a:pt x="197772" y="3095"/>
                  </a:lnTo>
                  <a:lnTo>
                    <a:pt x="185228" y="2444"/>
                  </a:lnTo>
                  <a:lnTo>
                    <a:pt x="179038" y="3747"/>
                  </a:lnTo>
                  <a:lnTo>
                    <a:pt x="167308" y="8960"/>
                  </a:lnTo>
                  <a:lnTo>
                    <a:pt x="161932" y="9612"/>
                  </a:lnTo>
                  <a:lnTo>
                    <a:pt x="152483" y="11404"/>
                  </a:lnTo>
                  <a:lnTo>
                    <a:pt x="149714" y="15151"/>
                  </a:lnTo>
                  <a:lnTo>
                    <a:pt x="145315" y="16291"/>
                  </a:lnTo>
                  <a:lnTo>
                    <a:pt x="141079" y="20690"/>
                  </a:lnTo>
                  <a:lnTo>
                    <a:pt x="138799" y="21993"/>
                  </a:lnTo>
                  <a:lnTo>
                    <a:pt x="136355" y="28183"/>
                  </a:lnTo>
                  <a:lnTo>
                    <a:pt x="134074" y="29812"/>
                  </a:lnTo>
                  <a:lnTo>
                    <a:pt x="134400" y="32582"/>
                  </a:lnTo>
                  <a:lnTo>
                    <a:pt x="125277" y="33234"/>
                  </a:lnTo>
                  <a:lnTo>
                    <a:pt x="111756" y="28183"/>
                  </a:lnTo>
                  <a:lnTo>
                    <a:pt x="107520" y="28183"/>
                  </a:lnTo>
                  <a:lnTo>
                    <a:pt x="104425" y="30464"/>
                  </a:lnTo>
                  <a:lnTo>
                    <a:pt x="98886" y="29324"/>
                  </a:lnTo>
                  <a:lnTo>
                    <a:pt x="91229" y="31279"/>
                  </a:lnTo>
                  <a:lnTo>
                    <a:pt x="87320" y="29975"/>
                  </a:lnTo>
                  <a:lnTo>
                    <a:pt x="80966" y="31767"/>
                  </a:lnTo>
                  <a:lnTo>
                    <a:pt x="79826" y="35188"/>
                  </a:lnTo>
                  <a:lnTo>
                    <a:pt x="84550" y="42845"/>
                  </a:lnTo>
                  <a:lnTo>
                    <a:pt x="91718" y="42845"/>
                  </a:lnTo>
                  <a:cubicBezTo>
                    <a:pt x="91718" y="42845"/>
                    <a:pt x="97745" y="43986"/>
                    <a:pt x="97745" y="43986"/>
                  </a:cubicBezTo>
                  <a:lnTo>
                    <a:pt x="96768" y="46755"/>
                  </a:lnTo>
                  <a:lnTo>
                    <a:pt x="86342" y="46755"/>
                  </a:lnTo>
                  <a:cubicBezTo>
                    <a:pt x="86342" y="46755"/>
                    <a:pt x="77219" y="49687"/>
                    <a:pt x="77219" y="49687"/>
                  </a:cubicBezTo>
                  <a:lnTo>
                    <a:pt x="73961" y="53923"/>
                  </a:lnTo>
                  <a:lnTo>
                    <a:pt x="75753" y="56367"/>
                  </a:lnTo>
                  <a:lnTo>
                    <a:pt x="80640" y="54901"/>
                  </a:lnTo>
                  <a:lnTo>
                    <a:pt x="82595" y="57833"/>
                  </a:lnTo>
                  <a:lnTo>
                    <a:pt x="78685" y="59136"/>
                  </a:lnTo>
                  <a:lnTo>
                    <a:pt x="66956" y="59136"/>
                  </a:lnTo>
                  <a:cubicBezTo>
                    <a:pt x="66956" y="59136"/>
                    <a:pt x="61906" y="56693"/>
                    <a:pt x="61906" y="56693"/>
                  </a:cubicBezTo>
                  <a:lnTo>
                    <a:pt x="55878" y="59462"/>
                  </a:lnTo>
                  <a:lnTo>
                    <a:pt x="52945" y="55226"/>
                  </a:lnTo>
                  <a:lnTo>
                    <a:pt x="49688" y="55226"/>
                  </a:lnTo>
                  <a:cubicBezTo>
                    <a:pt x="49688" y="55226"/>
                    <a:pt x="45289" y="60439"/>
                    <a:pt x="45289" y="60439"/>
                  </a:cubicBezTo>
                  <a:lnTo>
                    <a:pt x="41053" y="60439"/>
                  </a:lnTo>
                  <a:cubicBezTo>
                    <a:pt x="41053" y="60439"/>
                    <a:pt x="34863" y="55389"/>
                    <a:pt x="34863" y="55389"/>
                  </a:cubicBezTo>
                  <a:lnTo>
                    <a:pt x="28835" y="55389"/>
                  </a:lnTo>
                  <a:lnTo>
                    <a:pt x="17269" y="64349"/>
                  </a:lnTo>
                  <a:lnTo>
                    <a:pt x="15477" y="69074"/>
                  </a:lnTo>
                  <a:lnTo>
                    <a:pt x="13522" y="73472"/>
                  </a:lnTo>
                  <a:lnTo>
                    <a:pt x="15477" y="76730"/>
                  </a:lnTo>
                  <a:lnTo>
                    <a:pt x="15477" y="81944"/>
                  </a:lnTo>
                  <a:cubicBezTo>
                    <a:pt x="15477" y="81944"/>
                    <a:pt x="13522" y="84061"/>
                    <a:pt x="13522" y="84061"/>
                  </a:cubicBezTo>
                  <a:lnTo>
                    <a:pt x="15314" y="87156"/>
                  </a:lnTo>
                  <a:lnTo>
                    <a:pt x="22156" y="84876"/>
                  </a:lnTo>
                  <a:lnTo>
                    <a:pt x="24111" y="85690"/>
                  </a:lnTo>
                  <a:lnTo>
                    <a:pt x="29161" y="84550"/>
                  </a:lnTo>
                  <a:lnTo>
                    <a:pt x="35352" y="84550"/>
                  </a:lnTo>
                  <a:cubicBezTo>
                    <a:pt x="35352" y="84550"/>
                    <a:pt x="29324" y="90415"/>
                    <a:pt x="29324" y="90415"/>
                  </a:cubicBezTo>
                  <a:lnTo>
                    <a:pt x="30138" y="94325"/>
                  </a:lnTo>
                  <a:lnTo>
                    <a:pt x="32582" y="98397"/>
                  </a:lnTo>
                  <a:lnTo>
                    <a:pt x="32582" y="101493"/>
                  </a:lnTo>
                  <a:cubicBezTo>
                    <a:pt x="32582" y="101493"/>
                    <a:pt x="31931" y="103773"/>
                    <a:pt x="31931" y="103773"/>
                  </a:cubicBezTo>
                  <a:lnTo>
                    <a:pt x="33560" y="104914"/>
                  </a:lnTo>
                  <a:lnTo>
                    <a:pt x="38121" y="101981"/>
                  </a:lnTo>
                  <a:lnTo>
                    <a:pt x="38447" y="104588"/>
                  </a:lnTo>
                  <a:lnTo>
                    <a:pt x="35352" y="107846"/>
                  </a:lnTo>
                  <a:lnTo>
                    <a:pt x="28998" y="111756"/>
                  </a:lnTo>
                  <a:lnTo>
                    <a:pt x="31279" y="113222"/>
                  </a:lnTo>
                  <a:lnTo>
                    <a:pt x="34863" y="113548"/>
                  </a:lnTo>
                  <a:lnTo>
                    <a:pt x="31279" y="115991"/>
                  </a:lnTo>
                  <a:lnTo>
                    <a:pt x="28998" y="120390"/>
                  </a:lnTo>
                  <a:lnTo>
                    <a:pt x="26229" y="120390"/>
                  </a:lnTo>
                  <a:lnTo>
                    <a:pt x="23459" y="113711"/>
                  </a:lnTo>
                  <a:lnTo>
                    <a:pt x="21504" y="112733"/>
                  </a:lnTo>
                  <a:lnTo>
                    <a:pt x="20690" y="116969"/>
                  </a:lnTo>
                  <a:lnTo>
                    <a:pt x="22482" y="121693"/>
                  </a:lnTo>
                  <a:lnTo>
                    <a:pt x="20201" y="124137"/>
                  </a:lnTo>
                  <a:lnTo>
                    <a:pt x="21015" y="127721"/>
                  </a:lnTo>
                  <a:lnTo>
                    <a:pt x="25251" y="130490"/>
                  </a:lnTo>
                  <a:lnTo>
                    <a:pt x="26229" y="128372"/>
                  </a:lnTo>
                  <a:lnTo>
                    <a:pt x="31279" y="132608"/>
                  </a:lnTo>
                  <a:lnTo>
                    <a:pt x="35188" y="131794"/>
                  </a:lnTo>
                  <a:lnTo>
                    <a:pt x="41053" y="135215"/>
                  </a:lnTo>
                  <a:lnTo>
                    <a:pt x="42520" y="141242"/>
                  </a:lnTo>
                  <a:lnTo>
                    <a:pt x="38447" y="145315"/>
                  </a:lnTo>
                  <a:lnTo>
                    <a:pt x="41705" y="148410"/>
                  </a:lnTo>
                  <a:lnTo>
                    <a:pt x="41705" y="151506"/>
                  </a:lnTo>
                  <a:cubicBezTo>
                    <a:pt x="41705" y="151506"/>
                    <a:pt x="45126" y="151669"/>
                    <a:pt x="45126" y="151669"/>
                  </a:cubicBezTo>
                  <a:lnTo>
                    <a:pt x="51479" y="157859"/>
                  </a:lnTo>
                  <a:lnTo>
                    <a:pt x="49199" y="161932"/>
                  </a:lnTo>
                  <a:lnTo>
                    <a:pt x="45126" y="160792"/>
                  </a:lnTo>
                  <a:lnTo>
                    <a:pt x="44149" y="163724"/>
                  </a:lnTo>
                  <a:lnTo>
                    <a:pt x="47407" y="165027"/>
                  </a:lnTo>
                  <a:lnTo>
                    <a:pt x="55226" y="163072"/>
                  </a:lnTo>
                  <a:lnTo>
                    <a:pt x="65979" y="163072"/>
                  </a:lnTo>
                  <a:lnTo>
                    <a:pt x="65164" y="165190"/>
                  </a:lnTo>
                  <a:lnTo>
                    <a:pt x="62720" y="167796"/>
                  </a:lnTo>
                  <a:lnTo>
                    <a:pt x="57181" y="170240"/>
                  </a:lnTo>
                  <a:lnTo>
                    <a:pt x="48873" y="169914"/>
                  </a:lnTo>
                  <a:lnTo>
                    <a:pt x="46918" y="172847"/>
                  </a:lnTo>
                  <a:lnTo>
                    <a:pt x="50013" y="173661"/>
                  </a:lnTo>
                  <a:lnTo>
                    <a:pt x="54249" y="172195"/>
                  </a:lnTo>
                  <a:lnTo>
                    <a:pt x="59951" y="172195"/>
                  </a:lnTo>
                  <a:cubicBezTo>
                    <a:pt x="59951" y="172195"/>
                    <a:pt x="62720" y="170892"/>
                    <a:pt x="62720" y="170892"/>
                  </a:cubicBezTo>
                  <a:lnTo>
                    <a:pt x="62720" y="174639"/>
                  </a:lnTo>
                  <a:lnTo>
                    <a:pt x="64186" y="175942"/>
                  </a:lnTo>
                  <a:lnTo>
                    <a:pt x="67119" y="172195"/>
                  </a:lnTo>
                  <a:lnTo>
                    <a:pt x="70540" y="167960"/>
                  </a:lnTo>
                  <a:lnTo>
                    <a:pt x="74287" y="167960"/>
                  </a:lnTo>
                  <a:cubicBezTo>
                    <a:pt x="74287" y="167960"/>
                    <a:pt x="76731" y="170892"/>
                    <a:pt x="76731" y="170892"/>
                  </a:cubicBezTo>
                  <a:lnTo>
                    <a:pt x="79988" y="170892"/>
                  </a:lnTo>
                  <a:lnTo>
                    <a:pt x="84876" y="173824"/>
                  </a:lnTo>
                  <a:lnTo>
                    <a:pt x="87156" y="170566"/>
                  </a:lnTo>
                  <a:lnTo>
                    <a:pt x="91067" y="171218"/>
                  </a:lnTo>
                  <a:lnTo>
                    <a:pt x="90415" y="173987"/>
                  </a:lnTo>
                  <a:lnTo>
                    <a:pt x="88460" y="174965"/>
                  </a:lnTo>
                  <a:lnTo>
                    <a:pt x="90741" y="178386"/>
                  </a:lnTo>
                  <a:lnTo>
                    <a:pt x="91392" y="181807"/>
                  </a:lnTo>
                  <a:lnTo>
                    <a:pt x="96768" y="186205"/>
                  </a:lnTo>
                  <a:lnTo>
                    <a:pt x="98723" y="185228"/>
                  </a:lnTo>
                  <a:lnTo>
                    <a:pt x="104588" y="187509"/>
                  </a:lnTo>
                  <a:lnTo>
                    <a:pt x="110779" y="186531"/>
                  </a:lnTo>
                  <a:lnTo>
                    <a:pt x="113711" y="184250"/>
                  </a:lnTo>
                  <a:lnTo>
                    <a:pt x="118761" y="184250"/>
                  </a:lnTo>
                  <a:lnTo>
                    <a:pt x="121693" y="181807"/>
                  </a:lnTo>
                  <a:lnTo>
                    <a:pt x="126092" y="184087"/>
                  </a:lnTo>
                  <a:lnTo>
                    <a:pt x="129187" y="182295"/>
                  </a:lnTo>
                  <a:lnTo>
                    <a:pt x="128536" y="176268"/>
                  </a:lnTo>
                  <a:lnTo>
                    <a:pt x="129513" y="173173"/>
                  </a:lnTo>
                  <a:lnTo>
                    <a:pt x="128536" y="167634"/>
                  </a:lnTo>
                  <a:lnTo>
                    <a:pt x="139288" y="166656"/>
                  </a:lnTo>
                  <a:lnTo>
                    <a:pt x="148574" y="167471"/>
                  </a:lnTo>
                  <a:lnTo>
                    <a:pt x="160954" y="173824"/>
                  </a:lnTo>
                  <a:lnTo>
                    <a:pt x="165353" y="173824"/>
                  </a:lnTo>
                  <a:lnTo>
                    <a:pt x="173499" y="184739"/>
                  </a:lnTo>
                  <a:lnTo>
                    <a:pt x="180504" y="189138"/>
                  </a:lnTo>
                  <a:lnTo>
                    <a:pt x="203636" y="186205"/>
                  </a:lnTo>
                  <a:lnTo>
                    <a:pt x="210642" y="183273"/>
                  </a:lnTo>
                  <a:lnTo>
                    <a:pt x="212922" y="183273"/>
                  </a:lnTo>
                  <a:lnTo>
                    <a:pt x="214063" y="184413"/>
                  </a:lnTo>
                  <a:lnTo>
                    <a:pt x="217321" y="182133"/>
                  </a:lnTo>
                  <a:lnTo>
                    <a:pt x="218461" y="177897"/>
                  </a:lnTo>
                  <a:lnTo>
                    <a:pt x="229539" y="165353"/>
                  </a:lnTo>
                  <a:lnTo>
                    <a:pt x="232309" y="164701"/>
                  </a:lnTo>
                  <a:lnTo>
                    <a:pt x="242735" y="168448"/>
                  </a:lnTo>
                  <a:lnTo>
                    <a:pt x="249088" y="171380"/>
                  </a:lnTo>
                  <a:lnTo>
                    <a:pt x="257071" y="169914"/>
                  </a:lnTo>
                  <a:lnTo>
                    <a:pt x="257722" y="167634"/>
                  </a:lnTo>
                  <a:lnTo>
                    <a:pt x="263261" y="163561"/>
                  </a:lnTo>
                  <a:lnTo>
                    <a:pt x="267497" y="164864"/>
                  </a:lnTo>
                  <a:lnTo>
                    <a:pt x="268149" y="168611"/>
                  </a:lnTo>
                  <a:lnTo>
                    <a:pt x="264239" y="174802"/>
                  </a:lnTo>
                  <a:lnTo>
                    <a:pt x="259189" y="178874"/>
                  </a:lnTo>
                  <a:lnTo>
                    <a:pt x="259189" y="181318"/>
                  </a:lnTo>
                  <a:cubicBezTo>
                    <a:pt x="259189" y="181318"/>
                    <a:pt x="264076" y="186694"/>
                    <a:pt x="264076" y="186694"/>
                  </a:cubicBezTo>
                  <a:lnTo>
                    <a:pt x="263099" y="190278"/>
                  </a:lnTo>
                  <a:lnTo>
                    <a:pt x="268149" y="191255"/>
                  </a:lnTo>
                  <a:lnTo>
                    <a:pt x="273525" y="190278"/>
                  </a:lnTo>
                  <a:lnTo>
                    <a:pt x="278575" y="188486"/>
                  </a:lnTo>
                  <a:lnTo>
                    <a:pt x="278086" y="182784"/>
                  </a:lnTo>
                  <a:lnTo>
                    <a:pt x="281344" y="180829"/>
                  </a:lnTo>
                  <a:lnTo>
                    <a:pt x="281344" y="171218"/>
                  </a:lnTo>
                  <a:cubicBezTo>
                    <a:pt x="281344" y="171218"/>
                    <a:pt x="282974" y="167145"/>
                    <a:pt x="282974" y="167145"/>
                  </a:cubicBezTo>
                  <a:lnTo>
                    <a:pt x="290304" y="168937"/>
                  </a:lnTo>
                  <a:lnTo>
                    <a:pt x="294703" y="170077"/>
                  </a:lnTo>
                  <a:lnTo>
                    <a:pt x="307084" y="165353"/>
                  </a:lnTo>
                  <a:lnTo>
                    <a:pt x="310016" y="165027"/>
                  </a:lnTo>
                  <a:lnTo>
                    <a:pt x="313763" y="162746"/>
                  </a:lnTo>
                  <a:lnTo>
                    <a:pt x="326959" y="161443"/>
                  </a:lnTo>
                  <a:lnTo>
                    <a:pt x="331683" y="162746"/>
                  </a:lnTo>
                  <a:lnTo>
                    <a:pt x="334290" y="165190"/>
                  </a:lnTo>
                  <a:lnTo>
                    <a:pt x="342598" y="166819"/>
                  </a:lnTo>
                  <a:lnTo>
                    <a:pt x="354165" y="167145"/>
                  </a:lnTo>
                  <a:lnTo>
                    <a:pt x="355305" y="164864"/>
                  </a:lnTo>
                  <a:lnTo>
                    <a:pt x="361984" y="162909"/>
                  </a:lnTo>
                  <a:lnTo>
                    <a:pt x="365894" y="158674"/>
                  </a:lnTo>
                  <a:lnTo>
                    <a:pt x="374854" y="155904"/>
                  </a:lnTo>
                  <a:lnTo>
                    <a:pt x="381370" y="155904"/>
                  </a:lnTo>
                  <a:lnTo>
                    <a:pt x="386258" y="154927"/>
                  </a:lnTo>
                  <a:lnTo>
                    <a:pt x="399127" y="155741"/>
                  </a:lnTo>
                  <a:lnTo>
                    <a:pt x="409228" y="152320"/>
                  </a:lnTo>
                  <a:lnTo>
                    <a:pt x="416396" y="152320"/>
                  </a:lnTo>
                  <a:cubicBezTo>
                    <a:pt x="416396" y="152320"/>
                    <a:pt x="418351" y="153786"/>
                    <a:pt x="418351" y="153786"/>
                  </a:cubicBezTo>
                  <a:lnTo>
                    <a:pt x="425356" y="148085"/>
                  </a:lnTo>
                  <a:lnTo>
                    <a:pt x="431384" y="148085"/>
                  </a:lnTo>
                  <a:lnTo>
                    <a:pt x="433990" y="146130"/>
                  </a:lnTo>
                  <a:lnTo>
                    <a:pt x="444416" y="146130"/>
                  </a:lnTo>
                  <a:lnTo>
                    <a:pt x="453213" y="148410"/>
                  </a:lnTo>
                  <a:lnTo>
                    <a:pt x="459893" y="146618"/>
                  </a:lnTo>
                  <a:lnTo>
                    <a:pt x="463314" y="148899"/>
                  </a:lnTo>
                  <a:lnTo>
                    <a:pt x="463314" y="153949"/>
                  </a:lnTo>
                  <a:cubicBezTo>
                    <a:pt x="463314" y="153949"/>
                    <a:pt x="467386" y="155904"/>
                    <a:pt x="467386" y="155904"/>
                  </a:cubicBezTo>
                  <a:lnTo>
                    <a:pt x="473088" y="154275"/>
                  </a:lnTo>
                  <a:lnTo>
                    <a:pt x="474392" y="149877"/>
                  </a:lnTo>
                  <a:lnTo>
                    <a:pt x="471948" y="144012"/>
                  </a:lnTo>
                  <a:lnTo>
                    <a:pt x="466409" y="134074"/>
                  </a:lnTo>
                  <a:lnTo>
                    <a:pt x="459567" y="131468"/>
                  </a:lnTo>
                  <a:lnTo>
                    <a:pt x="460056" y="128535"/>
                  </a:lnTo>
                  <a:lnTo>
                    <a:pt x="459730" y="121204"/>
                  </a:lnTo>
                  <a:lnTo>
                    <a:pt x="462988" y="113385"/>
                  </a:lnTo>
                  <a:lnTo>
                    <a:pt x="461359" y="110290"/>
                  </a:lnTo>
                  <a:lnTo>
                    <a:pt x="455494" y="109475"/>
                  </a:lnTo>
                  <a:lnTo>
                    <a:pt x="455494" y="102470"/>
                  </a:lnTo>
                  <a:cubicBezTo>
                    <a:pt x="455494" y="102470"/>
                    <a:pt x="455983" y="97745"/>
                    <a:pt x="455983" y="97745"/>
                  </a:cubicBezTo>
                  <a:lnTo>
                    <a:pt x="453540" y="88134"/>
                  </a:lnTo>
                  <a:lnTo>
                    <a:pt x="450770" y="83084"/>
                  </a:lnTo>
                  <a:lnTo>
                    <a:pt x="450770" y="80477"/>
                  </a:lnTo>
                  <a:cubicBezTo>
                    <a:pt x="450770" y="80477"/>
                    <a:pt x="457775" y="79988"/>
                    <a:pt x="457775" y="79988"/>
                  </a:cubicBezTo>
                  <a:lnTo>
                    <a:pt x="460381" y="73146"/>
                  </a:lnTo>
                  <a:lnTo>
                    <a:pt x="463151" y="70703"/>
                  </a:lnTo>
                  <a:lnTo>
                    <a:pt x="460218" y="65978"/>
                  </a:lnTo>
                  <a:lnTo>
                    <a:pt x="455820" y="61580"/>
                  </a:lnTo>
                  <a:lnTo>
                    <a:pt x="450770" y="61906"/>
                  </a:lnTo>
                  <a:lnTo>
                    <a:pt x="442787" y="61580"/>
                  </a:lnTo>
                  <a:lnTo>
                    <a:pt x="435456" y="57181"/>
                  </a:lnTo>
                  <a:lnTo>
                    <a:pt x="435131" y="47081"/>
                  </a:lnTo>
                  <a:lnTo>
                    <a:pt x="436760" y="39098"/>
                  </a:lnTo>
                  <a:lnTo>
                    <a:pt x="433990" y="33722"/>
                  </a:lnTo>
                  <a:lnTo>
                    <a:pt x="429429" y="32582"/>
                  </a:lnTo>
                  <a:lnTo>
                    <a:pt x="429103" y="29487"/>
                  </a:lnTo>
                  <a:lnTo>
                    <a:pt x="424704" y="24762"/>
                  </a:lnTo>
                  <a:lnTo>
                    <a:pt x="420143" y="23622"/>
                  </a:lnTo>
                  <a:lnTo>
                    <a:pt x="409391" y="14662"/>
                  </a:lnTo>
                  <a:lnTo>
                    <a:pt x="405155" y="13521"/>
                  </a:lnTo>
                  <a:lnTo>
                    <a:pt x="401408" y="16617"/>
                  </a:lnTo>
                  <a:lnTo>
                    <a:pt x="398313" y="17106"/>
                  </a:lnTo>
                  <a:lnTo>
                    <a:pt x="391634" y="14499"/>
                  </a:lnTo>
                  <a:lnTo>
                    <a:pt x="389190" y="17594"/>
                  </a:lnTo>
                  <a:lnTo>
                    <a:pt x="386258" y="16617"/>
                  </a:lnTo>
                  <a:lnTo>
                    <a:pt x="385117" y="12055"/>
                  </a:lnTo>
                  <a:lnTo>
                    <a:pt x="381859" y="11729"/>
                  </a:lnTo>
                  <a:lnTo>
                    <a:pt x="381859" y="11729"/>
                  </a:lnTo>
                  <a:close/>
                  <a:moveTo>
                    <a:pt x="56367" y="176757"/>
                  </a:moveTo>
                  <a:lnTo>
                    <a:pt x="58159" y="174965"/>
                  </a:lnTo>
                  <a:lnTo>
                    <a:pt x="60277" y="174965"/>
                  </a:lnTo>
                  <a:cubicBezTo>
                    <a:pt x="60277" y="174965"/>
                    <a:pt x="60765" y="176919"/>
                    <a:pt x="60765" y="176919"/>
                  </a:cubicBezTo>
                  <a:lnTo>
                    <a:pt x="58485" y="177571"/>
                  </a:lnTo>
                  <a:lnTo>
                    <a:pt x="56204" y="176757"/>
                  </a:lnTo>
                  <a:lnTo>
                    <a:pt x="56204" y="176757"/>
                  </a:lnTo>
                  <a:close/>
                  <a:moveTo>
                    <a:pt x="0" y="62557"/>
                  </a:moveTo>
                  <a:lnTo>
                    <a:pt x="3910" y="64186"/>
                  </a:lnTo>
                  <a:lnTo>
                    <a:pt x="8960" y="62720"/>
                  </a:lnTo>
                  <a:lnTo>
                    <a:pt x="9775" y="59951"/>
                  </a:lnTo>
                  <a:lnTo>
                    <a:pt x="7331" y="58322"/>
                  </a:lnTo>
                  <a:lnTo>
                    <a:pt x="4725" y="60277"/>
                  </a:lnTo>
                  <a:lnTo>
                    <a:pt x="978" y="60277"/>
                  </a:lnTo>
                  <a:cubicBezTo>
                    <a:pt x="978" y="60277"/>
                    <a:pt x="0" y="62394"/>
                    <a:pt x="0" y="62394"/>
                  </a:cubicBezTo>
                  <a:close/>
                </a:path>
              </a:pathLst>
            </a:custGeom>
            <a:solidFill>
              <a:schemeClr val="bg2"/>
            </a:solidFill>
            <a:ln w="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25" name="Forma livre: Forma 224">
              <a:extLst>
                <a:ext uri="{FF2B5EF4-FFF2-40B4-BE49-F238E27FC236}">
                  <a16:creationId xmlns:a16="http://schemas.microsoft.com/office/drawing/2014/main" id="{23E1DA8B-4455-24BA-6376-457245AA2116}"/>
                </a:ext>
              </a:extLst>
            </p:cNvPr>
            <p:cNvSpPr/>
            <p:nvPr/>
          </p:nvSpPr>
          <p:spPr>
            <a:xfrm>
              <a:off x="6979472" y="3913432"/>
              <a:ext cx="257071" cy="245791"/>
            </a:xfrm>
            <a:custGeom>
              <a:avLst/>
              <a:gdLst>
                <a:gd name="connsiteX0" fmla="*/ 248762 w 248762"/>
                <a:gd name="connsiteY0" fmla="*/ 204777 h 237847"/>
                <a:gd name="connsiteX1" fmla="*/ 246807 w 248762"/>
                <a:gd name="connsiteY1" fmla="*/ 203311 h 237847"/>
                <a:gd name="connsiteX2" fmla="*/ 241431 w 248762"/>
                <a:gd name="connsiteY2" fmla="*/ 201030 h 237847"/>
                <a:gd name="connsiteX3" fmla="*/ 236870 w 248762"/>
                <a:gd name="connsiteY3" fmla="*/ 197935 h 237847"/>
                <a:gd name="connsiteX4" fmla="*/ 235240 w 248762"/>
                <a:gd name="connsiteY4" fmla="*/ 182133 h 237847"/>
                <a:gd name="connsiteX5" fmla="*/ 227095 w 248762"/>
                <a:gd name="connsiteY5" fmla="*/ 182133 h 237847"/>
                <a:gd name="connsiteX6" fmla="*/ 225140 w 248762"/>
                <a:gd name="connsiteY6" fmla="*/ 175290 h 237847"/>
                <a:gd name="connsiteX7" fmla="*/ 225466 w 248762"/>
                <a:gd name="connsiteY7" fmla="*/ 167634 h 237847"/>
                <a:gd name="connsiteX8" fmla="*/ 230842 w 248762"/>
                <a:gd name="connsiteY8" fmla="*/ 162909 h 237847"/>
                <a:gd name="connsiteX9" fmla="*/ 225466 w 248762"/>
                <a:gd name="connsiteY9" fmla="*/ 151506 h 237847"/>
                <a:gd name="connsiteX10" fmla="*/ 220742 w 248762"/>
                <a:gd name="connsiteY10" fmla="*/ 148899 h 237847"/>
                <a:gd name="connsiteX11" fmla="*/ 215855 w 248762"/>
                <a:gd name="connsiteY11" fmla="*/ 139776 h 237847"/>
                <a:gd name="connsiteX12" fmla="*/ 212759 w 248762"/>
                <a:gd name="connsiteY12" fmla="*/ 137658 h 237847"/>
                <a:gd name="connsiteX13" fmla="*/ 209990 w 248762"/>
                <a:gd name="connsiteY13" fmla="*/ 138799 h 237847"/>
                <a:gd name="connsiteX14" fmla="*/ 191092 w 248762"/>
                <a:gd name="connsiteY14" fmla="*/ 126255 h 237847"/>
                <a:gd name="connsiteX15" fmla="*/ 186694 w 248762"/>
                <a:gd name="connsiteY15" fmla="*/ 126580 h 237847"/>
                <a:gd name="connsiteX16" fmla="*/ 184087 w 248762"/>
                <a:gd name="connsiteY16" fmla="*/ 128372 h 237847"/>
                <a:gd name="connsiteX17" fmla="*/ 178711 w 248762"/>
                <a:gd name="connsiteY17" fmla="*/ 124300 h 237847"/>
                <a:gd name="connsiteX18" fmla="*/ 179689 w 248762"/>
                <a:gd name="connsiteY18" fmla="*/ 121204 h 237847"/>
                <a:gd name="connsiteX19" fmla="*/ 178222 w 248762"/>
                <a:gd name="connsiteY19" fmla="*/ 119412 h 237847"/>
                <a:gd name="connsiteX20" fmla="*/ 180503 w 248762"/>
                <a:gd name="connsiteY20" fmla="*/ 114036 h 237847"/>
                <a:gd name="connsiteX21" fmla="*/ 174801 w 248762"/>
                <a:gd name="connsiteY21" fmla="*/ 109312 h 237847"/>
                <a:gd name="connsiteX22" fmla="*/ 173661 w 248762"/>
                <a:gd name="connsiteY22" fmla="*/ 105565 h 237847"/>
                <a:gd name="connsiteX23" fmla="*/ 168122 w 248762"/>
                <a:gd name="connsiteY23" fmla="*/ 104425 h 237847"/>
                <a:gd name="connsiteX24" fmla="*/ 165353 w 248762"/>
                <a:gd name="connsiteY24" fmla="*/ 101004 h 237847"/>
                <a:gd name="connsiteX25" fmla="*/ 161931 w 248762"/>
                <a:gd name="connsiteY25" fmla="*/ 100678 h 237847"/>
                <a:gd name="connsiteX26" fmla="*/ 161931 w 248762"/>
                <a:gd name="connsiteY26" fmla="*/ 97094 h 237847"/>
                <a:gd name="connsiteX27" fmla="*/ 163887 w 248762"/>
                <a:gd name="connsiteY27" fmla="*/ 94325 h 237847"/>
                <a:gd name="connsiteX28" fmla="*/ 162257 w 248762"/>
                <a:gd name="connsiteY28" fmla="*/ 91718 h 237847"/>
                <a:gd name="connsiteX29" fmla="*/ 163724 w 248762"/>
                <a:gd name="connsiteY29" fmla="*/ 88297 h 237847"/>
                <a:gd name="connsiteX30" fmla="*/ 163887 w 248762"/>
                <a:gd name="connsiteY30" fmla="*/ 78848 h 237847"/>
                <a:gd name="connsiteX31" fmla="*/ 166656 w 248762"/>
                <a:gd name="connsiteY31" fmla="*/ 76404 h 237847"/>
                <a:gd name="connsiteX32" fmla="*/ 167633 w 248762"/>
                <a:gd name="connsiteY32" fmla="*/ 68585 h 237847"/>
                <a:gd name="connsiteX33" fmla="*/ 170892 w 248762"/>
                <a:gd name="connsiteY33" fmla="*/ 69236 h 237847"/>
                <a:gd name="connsiteX34" fmla="*/ 174149 w 248762"/>
                <a:gd name="connsiteY34" fmla="*/ 67282 h 237847"/>
                <a:gd name="connsiteX35" fmla="*/ 174149 w 248762"/>
                <a:gd name="connsiteY35" fmla="*/ 58159 h 237847"/>
                <a:gd name="connsiteX36" fmla="*/ 172032 w 248762"/>
                <a:gd name="connsiteY36" fmla="*/ 57018 h 237847"/>
                <a:gd name="connsiteX37" fmla="*/ 171543 w 248762"/>
                <a:gd name="connsiteY37" fmla="*/ 50339 h 237847"/>
                <a:gd name="connsiteX38" fmla="*/ 174476 w 248762"/>
                <a:gd name="connsiteY38" fmla="*/ 49687 h 237847"/>
                <a:gd name="connsiteX39" fmla="*/ 179526 w 248762"/>
                <a:gd name="connsiteY39" fmla="*/ 48058 h 237847"/>
                <a:gd name="connsiteX40" fmla="*/ 181155 w 248762"/>
                <a:gd name="connsiteY40" fmla="*/ 46918 h 237847"/>
                <a:gd name="connsiteX41" fmla="*/ 178874 w 248762"/>
                <a:gd name="connsiteY41" fmla="*/ 45452 h 237847"/>
                <a:gd name="connsiteX42" fmla="*/ 175453 w 248762"/>
                <a:gd name="connsiteY42" fmla="*/ 43660 h 237847"/>
                <a:gd name="connsiteX43" fmla="*/ 169914 w 248762"/>
                <a:gd name="connsiteY43" fmla="*/ 44311 h 237847"/>
                <a:gd name="connsiteX44" fmla="*/ 166004 w 248762"/>
                <a:gd name="connsiteY44" fmla="*/ 43334 h 237847"/>
                <a:gd name="connsiteX45" fmla="*/ 157370 w 248762"/>
                <a:gd name="connsiteY45" fmla="*/ 38284 h 237847"/>
                <a:gd name="connsiteX46" fmla="*/ 153623 w 248762"/>
                <a:gd name="connsiteY46" fmla="*/ 37795 h 237847"/>
                <a:gd name="connsiteX47" fmla="*/ 149062 w 248762"/>
                <a:gd name="connsiteY47" fmla="*/ 35188 h 237847"/>
                <a:gd name="connsiteX48" fmla="*/ 146618 w 248762"/>
                <a:gd name="connsiteY48" fmla="*/ 29324 h 237847"/>
                <a:gd name="connsiteX49" fmla="*/ 144012 w 248762"/>
                <a:gd name="connsiteY49" fmla="*/ 25088 h 237847"/>
                <a:gd name="connsiteX50" fmla="*/ 140265 w 248762"/>
                <a:gd name="connsiteY50" fmla="*/ 24111 h 237847"/>
                <a:gd name="connsiteX51" fmla="*/ 137821 w 248762"/>
                <a:gd name="connsiteY51" fmla="*/ 19223 h 237847"/>
                <a:gd name="connsiteX52" fmla="*/ 137984 w 248762"/>
                <a:gd name="connsiteY52" fmla="*/ 14499 h 237847"/>
                <a:gd name="connsiteX53" fmla="*/ 135540 w 248762"/>
                <a:gd name="connsiteY53" fmla="*/ 8145 h 237847"/>
                <a:gd name="connsiteX54" fmla="*/ 130816 w 248762"/>
                <a:gd name="connsiteY54" fmla="*/ 7820 h 237847"/>
                <a:gd name="connsiteX55" fmla="*/ 124462 w 248762"/>
                <a:gd name="connsiteY55" fmla="*/ 9612 h 237847"/>
                <a:gd name="connsiteX56" fmla="*/ 120227 w 248762"/>
                <a:gd name="connsiteY56" fmla="*/ 7494 h 237847"/>
                <a:gd name="connsiteX57" fmla="*/ 120553 w 248762"/>
                <a:gd name="connsiteY57" fmla="*/ 2607 h 237847"/>
                <a:gd name="connsiteX58" fmla="*/ 116969 w 248762"/>
                <a:gd name="connsiteY58" fmla="*/ 326 h 237847"/>
                <a:gd name="connsiteX59" fmla="*/ 110289 w 248762"/>
                <a:gd name="connsiteY59" fmla="*/ 2281 h 237847"/>
                <a:gd name="connsiteX60" fmla="*/ 101492 w 248762"/>
                <a:gd name="connsiteY60" fmla="*/ 0 h 237847"/>
                <a:gd name="connsiteX61" fmla="*/ 91066 w 248762"/>
                <a:gd name="connsiteY61" fmla="*/ 0 h 237847"/>
                <a:gd name="connsiteX62" fmla="*/ 88460 w 248762"/>
                <a:gd name="connsiteY62" fmla="*/ 1955 h 237847"/>
                <a:gd name="connsiteX63" fmla="*/ 82269 w 248762"/>
                <a:gd name="connsiteY63" fmla="*/ 1955 h 237847"/>
                <a:gd name="connsiteX64" fmla="*/ 75264 w 248762"/>
                <a:gd name="connsiteY64" fmla="*/ 7820 h 237847"/>
                <a:gd name="connsiteX65" fmla="*/ 76404 w 248762"/>
                <a:gd name="connsiteY65" fmla="*/ 8634 h 237847"/>
                <a:gd name="connsiteX66" fmla="*/ 73146 w 248762"/>
                <a:gd name="connsiteY66" fmla="*/ 14173 h 237847"/>
                <a:gd name="connsiteX67" fmla="*/ 70703 w 248762"/>
                <a:gd name="connsiteY67" fmla="*/ 14173 h 237847"/>
                <a:gd name="connsiteX68" fmla="*/ 65326 w 248762"/>
                <a:gd name="connsiteY68" fmla="*/ 18735 h 237847"/>
                <a:gd name="connsiteX69" fmla="*/ 55389 w 248762"/>
                <a:gd name="connsiteY69" fmla="*/ 20852 h 237847"/>
                <a:gd name="connsiteX70" fmla="*/ 50828 w 248762"/>
                <a:gd name="connsiteY70" fmla="*/ 29324 h 237847"/>
                <a:gd name="connsiteX71" fmla="*/ 50339 w 248762"/>
                <a:gd name="connsiteY71" fmla="*/ 37632 h 237847"/>
                <a:gd name="connsiteX72" fmla="*/ 55063 w 248762"/>
                <a:gd name="connsiteY72" fmla="*/ 47244 h 237847"/>
                <a:gd name="connsiteX73" fmla="*/ 55226 w 248762"/>
                <a:gd name="connsiteY73" fmla="*/ 55226 h 237847"/>
                <a:gd name="connsiteX74" fmla="*/ 50828 w 248762"/>
                <a:gd name="connsiteY74" fmla="*/ 64349 h 237847"/>
                <a:gd name="connsiteX75" fmla="*/ 52131 w 248762"/>
                <a:gd name="connsiteY75" fmla="*/ 68422 h 237847"/>
                <a:gd name="connsiteX76" fmla="*/ 51968 w 248762"/>
                <a:gd name="connsiteY76" fmla="*/ 75427 h 237847"/>
                <a:gd name="connsiteX77" fmla="*/ 47895 w 248762"/>
                <a:gd name="connsiteY77" fmla="*/ 81292 h 237847"/>
                <a:gd name="connsiteX78" fmla="*/ 45451 w 248762"/>
                <a:gd name="connsiteY78" fmla="*/ 85202 h 237847"/>
                <a:gd name="connsiteX79" fmla="*/ 0 w 248762"/>
                <a:gd name="connsiteY79" fmla="*/ 117620 h 237847"/>
                <a:gd name="connsiteX80" fmla="*/ 0 w 248762"/>
                <a:gd name="connsiteY80" fmla="*/ 117783 h 237847"/>
                <a:gd name="connsiteX81" fmla="*/ 0 w 248762"/>
                <a:gd name="connsiteY81" fmla="*/ 117783 h 237847"/>
                <a:gd name="connsiteX82" fmla="*/ 13033 w 248762"/>
                <a:gd name="connsiteY82" fmla="*/ 151180 h 237847"/>
                <a:gd name="connsiteX83" fmla="*/ 35677 w 248762"/>
                <a:gd name="connsiteY83" fmla="*/ 153949 h 237847"/>
                <a:gd name="connsiteX84" fmla="*/ 155252 w 248762"/>
                <a:gd name="connsiteY84" fmla="*/ 237033 h 237847"/>
                <a:gd name="connsiteX85" fmla="*/ 203473 w 248762"/>
                <a:gd name="connsiteY85" fmla="*/ 237847 h 237847"/>
                <a:gd name="connsiteX86" fmla="*/ 209175 w 248762"/>
                <a:gd name="connsiteY86" fmla="*/ 227095 h 237847"/>
                <a:gd name="connsiteX87" fmla="*/ 214714 w 248762"/>
                <a:gd name="connsiteY87" fmla="*/ 214551 h 237847"/>
                <a:gd name="connsiteX88" fmla="*/ 226117 w 248762"/>
                <a:gd name="connsiteY88" fmla="*/ 209338 h 237847"/>
                <a:gd name="connsiteX89" fmla="*/ 234915 w 248762"/>
                <a:gd name="connsiteY89" fmla="*/ 212596 h 237847"/>
                <a:gd name="connsiteX90" fmla="*/ 240942 w 248762"/>
                <a:gd name="connsiteY90" fmla="*/ 210804 h 237847"/>
                <a:gd name="connsiteX91" fmla="*/ 243386 w 248762"/>
                <a:gd name="connsiteY91" fmla="*/ 211945 h 237847"/>
                <a:gd name="connsiteX92" fmla="*/ 245992 w 248762"/>
                <a:gd name="connsiteY92" fmla="*/ 205917 h 237847"/>
                <a:gd name="connsiteX93" fmla="*/ 248762 w 248762"/>
                <a:gd name="connsiteY93" fmla="*/ 204777 h 2378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</a:cxnLst>
              <a:rect l="l" t="t" r="r" b="b"/>
              <a:pathLst>
                <a:path w="248762" h="237847">
                  <a:moveTo>
                    <a:pt x="248762" y="204777"/>
                  </a:moveTo>
                  <a:lnTo>
                    <a:pt x="246807" y="203311"/>
                  </a:lnTo>
                  <a:lnTo>
                    <a:pt x="241431" y="201030"/>
                  </a:lnTo>
                  <a:lnTo>
                    <a:pt x="236870" y="197935"/>
                  </a:lnTo>
                  <a:lnTo>
                    <a:pt x="235240" y="182133"/>
                  </a:lnTo>
                  <a:lnTo>
                    <a:pt x="227095" y="182133"/>
                  </a:lnTo>
                  <a:lnTo>
                    <a:pt x="225140" y="175290"/>
                  </a:lnTo>
                  <a:lnTo>
                    <a:pt x="225466" y="167634"/>
                  </a:lnTo>
                  <a:lnTo>
                    <a:pt x="230842" y="162909"/>
                  </a:lnTo>
                  <a:lnTo>
                    <a:pt x="225466" y="151506"/>
                  </a:lnTo>
                  <a:lnTo>
                    <a:pt x="220742" y="148899"/>
                  </a:lnTo>
                  <a:lnTo>
                    <a:pt x="215855" y="139776"/>
                  </a:lnTo>
                  <a:lnTo>
                    <a:pt x="212759" y="137658"/>
                  </a:lnTo>
                  <a:lnTo>
                    <a:pt x="209990" y="138799"/>
                  </a:lnTo>
                  <a:lnTo>
                    <a:pt x="191092" y="126255"/>
                  </a:lnTo>
                  <a:lnTo>
                    <a:pt x="186694" y="126580"/>
                  </a:lnTo>
                  <a:lnTo>
                    <a:pt x="184087" y="128372"/>
                  </a:lnTo>
                  <a:lnTo>
                    <a:pt x="178711" y="124300"/>
                  </a:lnTo>
                  <a:lnTo>
                    <a:pt x="179689" y="121204"/>
                  </a:lnTo>
                  <a:lnTo>
                    <a:pt x="178222" y="119412"/>
                  </a:lnTo>
                  <a:lnTo>
                    <a:pt x="180503" y="114036"/>
                  </a:lnTo>
                  <a:lnTo>
                    <a:pt x="174801" y="109312"/>
                  </a:lnTo>
                  <a:lnTo>
                    <a:pt x="173661" y="105565"/>
                  </a:lnTo>
                  <a:lnTo>
                    <a:pt x="168122" y="104425"/>
                  </a:lnTo>
                  <a:lnTo>
                    <a:pt x="165353" y="101004"/>
                  </a:lnTo>
                  <a:lnTo>
                    <a:pt x="161931" y="100678"/>
                  </a:lnTo>
                  <a:lnTo>
                    <a:pt x="161931" y="97094"/>
                  </a:lnTo>
                  <a:lnTo>
                    <a:pt x="163887" y="94325"/>
                  </a:lnTo>
                  <a:lnTo>
                    <a:pt x="162257" y="91718"/>
                  </a:lnTo>
                  <a:lnTo>
                    <a:pt x="163724" y="88297"/>
                  </a:lnTo>
                  <a:lnTo>
                    <a:pt x="163887" y="78848"/>
                  </a:lnTo>
                  <a:lnTo>
                    <a:pt x="166656" y="76404"/>
                  </a:lnTo>
                  <a:lnTo>
                    <a:pt x="167633" y="68585"/>
                  </a:lnTo>
                  <a:lnTo>
                    <a:pt x="170892" y="69236"/>
                  </a:lnTo>
                  <a:lnTo>
                    <a:pt x="174149" y="67282"/>
                  </a:lnTo>
                  <a:lnTo>
                    <a:pt x="174149" y="58159"/>
                  </a:lnTo>
                  <a:lnTo>
                    <a:pt x="172032" y="57018"/>
                  </a:lnTo>
                  <a:lnTo>
                    <a:pt x="171543" y="50339"/>
                  </a:lnTo>
                  <a:lnTo>
                    <a:pt x="174476" y="49687"/>
                  </a:lnTo>
                  <a:lnTo>
                    <a:pt x="179526" y="48058"/>
                  </a:lnTo>
                  <a:lnTo>
                    <a:pt x="181155" y="46918"/>
                  </a:lnTo>
                  <a:lnTo>
                    <a:pt x="178874" y="45452"/>
                  </a:lnTo>
                  <a:lnTo>
                    <a:pt x="175453" y="43660"/>
                  </a:lnTo>
                  <a:lnTo>
                    <a:pt x="169914" y="44311"/>
                  </a:lnTo>
                  <a:lnTo>
                    <a:pt x="166004" y="43334"/>
                  </a:lnTo>
                  <a:lnTo>
                    <a:pt x="157370" y="38284"/>
                  </a:lnTo>
                  <a:lnTo>
                    <a:pt x="153623" y="37795"/>
                  </a:lnTo>
                  <a:lnTo>
                    <a:pt x="149062" y="35188"/>
                  </a:lnTo>
                  <a:lnTo>
                    <a:pt x="146618" y="29324"/>
                  </a:lnTo>
                  <a:lnTo>
                    <a:pt x="144012" y="25088"/>
                  </a:lnTo>
                  <a:lnTo>
                    <a:pt x="140265" y="24111"/>
                  </a:lnTo>
                  <a:lnTo>
                    <a:pt x="137821" y="19223"/>
                  </a:lnTo>
                  <a:lnTo>
                    <a:pt x="137984" y="14499"/>
                  </a:lnTo>
                  <a:lnTo>
                    <a:pt x="135540" y="8145"/>
                  </a:lnTo>
                  <a:lnTo>
                    <a:pt x="130816" y="7820"/>
                  </a:lnTo>
                  <a:lnTo>
                    <a:pt x="124462" y="9612"/>
                  </a:lnTo>
                  <a:lnTo>
                    <a:pt x="120227" y="7494"/>
                  </a:lnTo>
                  <a:lnTo>
                    <a:pt x="120553" y="2607"/>
                  </a:lnTo>
                  <a:lnTo>
                    <a:pt x="116969" y="326"/>
                  </a:lnTo>
                  <a:lnTo>
                    <a:pt x="110289" y="2281"/>
                  </a:lnTo>
                  <a:lnTo>
                    <a:pt x="101492" y="0"/>
                  </a:lnTo>
                  <a:lnTo>
                    <a:pt x="91066" y="0"/>
                  </a:lnTo>
                  <a:lnTo>
                    <a:pt x="88460" y="1955"/>
                  </a:lnTo>
                  <a:lnTo>
                    <a:pt x="82269" y="1955"/>
                  </a:lnTo>
                  <a:lnTo>
                    <a:pt x="75264" y="7820"/>
                  </a:lnTo>
                  <a:lnTo>
                    <a:pt x="76404" y="8634"/>
                  </a:lnTo>
                  <a:lnTo>
                    <a:pt x="73146" y="14173"/>
                  </a:lnTo>
                  <a:lnTo>
                    <a:pt x="70703" y="14173"/>
                  </a:lnTo>
                  <a:lnTo>
                    <a:pt x="65326" y="18735"/>
                  </a:lnTo>
                  <a:lnTo>
                    <a:pt x="55389" y="20852"/>
                  </a:lnTo>
                  <a:lnTo>
                    <a:pt x="50828" y="29324"/>
                  </a:lnTo>
                  <a:lnTo>
                    <a:pt x="50339" y="37632"/>
                  </a:lnTo>
                  <a:lnTo>
                    <a:pt x="55063" y="47244"/>
                  </a:lnTo>
                  <a:lnTo>
                    <a:pt x="55226" y="55226"/>
                  </a:lnTo>
                  <a:lnTo>
                    <a:pt x="50828" y="64349"/>
                  </a:lnTo>
                  <a:lnTo>
                    <a:pt x="52131" y="68422"/>
                  </a:lnTo>
                  <a:lnTo>
                    <a:pt x="51968" y="75427"/>
                  </a:lnTo>
                  <a:lnTo>
                    <a:pt x="47895" y="81292"/>
                  </a:lnTo>
                  <a:lnTo>
                    <a:pt x="45451" y="85202"/>
                  </a:lnTo>
                  <a:lnTo>
                    <a:pt x="0" y="117620"/>
                  </a:lnTo>
                  <a:lnTo>
                    <a:pt x="0" y="117783"/>
                  </a:lnTo>
                  <a:lnTo>
                    <a:pt x="0" y="117783"/>
                  </a:lnTo>
                  <a:lnTo>
                    <a:pt x="13033" y="151180"/>
                  </a:lnTo>
                  <a:lnTo>
                    <a:pt x="35677" y="153949"/>
                  </a:lnTo>
                  <a:lnTo>
                    <a:pt x="155252" y="237033"/>
                  </a:lnTo>
                  <a:lnTo>
                    <a:pt x="203473" y="237847"/>
                  </a:lnTo>
                  <a:lnTo>
                    <a:pt x="209175" y="227095"/>
                  </a:lnTo>
                  <a:lnTo>
                    <a:pt x="214714" y="214551"/>
                  </a:lnTo>
                  <a:lnTo>
                    <a:pt x="226117" y="209338"/>
                  </a:lnTo>
                  <a:lnTo>
                    <a:pt x="234915" y="212596"/>
                  </a:lnTo>
                  <a:lnTo>
                    <a:pt x="240942" y="210804"/>
                  </a:lnTo>
                  <a:lnTo>
                    <a:pt x="243386" y="211945"/>
                  </a:lnTo>
                  <a:lnTo>
                    <a:pt x="245992" y="205917"/>
                  </a:lnTo>
                  <a:lnTo>
                    <a:pt x="248762" y="204777"/>
                  </a:lnTo>
                  <a:close/>
                </a:path>
              </a:pathLst>
            </a:custGeom>
            <a:solidFill>
              <a:schemeClr val="bg2"/>
            </a:solidFill>
            <a:ln w="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26" name="Forma livre: Forma 225">
              <a:extLst>
                <a:ext uri="{FF2B5EF4-FFF2-40B4-BE49-F238E27FC236}">
                  <a16:creationId xmlns:a16="http://schemas.microsoft.com/office/drawing/2014/main" id="{67781F46-2D07-0C27-6A6C-6BA314017A5B}"/>
                </a:ext>
              </a:extLst>
            </p:cNvPr>
            <p:cNvSpPr/>
            <p:nvPr/>
          </p:nvSpPr>
          <p:spPr>
            <a:xfrm>
              <a:off x="7189742" y="4129762"/>
              <a:ext cx="45286" cy="46632"/>
            </a:xfrm>
            <a:custGeom>
              <a:avLst/>
              <a:gdLst>
                <a:gd name="connsiteX0" fmla="*/ 0 w 43822"/>
                <a:gd name="connsiteY0" fmla="*/ 28509 h 45125"/>
                <a:gd name="connsiteX1" fmla="*/ 5702 w 43822"/>
                <a:gd name="connsiteY1" fmla="*/ 17757 h 45125"/>
                <a:gd name="connsiteX2" fmla="*/ 11241 w 43822"/>
                <a:gd name="connsiteY2" fmla="*/ 5213 h 45125"/>
                <a:gd name="connsiteX3" fmla="*/ 22644 w 43822"/>
                <a:gd name="connsiteY3" fmla="*/ 0 h 45125"/>
                <a:gd name="connsiteX4" fmla="*/ 31441 w 43822"/>
                <a:gd name="connsiteY4" fmla="*/ 3258 h 45125"/>
                <a:gd name="connsiteX5" fmla="*/ 37469 w 43822"/>
                <a:gd name="connsiteY5" fmla="*/ 1466 h 45125"/>
                <a:gd name="connsiteX6" fmla="*/ 39912 w 43822"/>
                <a:gd name="connsiteY6" fmla="*/ 2607 h 45125"/>
                <a:gd name="connsiteX7" fmla="*/ 39261 w 43822"/>
                <a:gd name="connsiteY7" fmla="*/ 3910 h 45125"/>
                <a:gd name="connsiteX8" fmla="*/ 41868 w 43822"/>
                <a:gd name="connsiteY8" fmla="*/ 15313 h 45125"/>
                <a:gd name="connsiteX9" fmla="*/ 27043 w 43822"/>
                <a:gd name="connsiteY9" fmla="*/ 18246 h 45125"/>
                <a:gd name="connsiteX10" fmla="*/ 37143 w 43822"/>
                <a:gd name="connsiteY10" fmla="*/ 24762 h 45125"/>
                <a:gd name="connsiteX11" fmla="*/ 38284 w 43822"/>
                <a:gd name="connsiteY11" fmla="*/ 22482 h 45125"/>
                <a:gd name="connsiteX12" fmla="*/ 40076 w 43822"/>
                <a:gd name="connsiteY12" fmla="*/ 26391 h 45125"/>
                <a:gd name="connsiteX13" fmla="*/ 40239 w 43822"/>
                <a:gd name="connsiteY13" fmla="*/ 30627 h 45125"/>
                <a:gd name="connsiteX14" fmla="*/ 43171 w 43822"/>
                <a:gd name="connsiteY14" fmla="*/ 33885 h 45125"/>
                <a:gd name="connsiteX15" fmla="*/ 42193 w 43822"/>
                <a:gd name="connsiteY15" fmla="*/ 33885 h 45125"/>
                <a:gd name="connsiteX16" fmla="*/ 41216 w 43822"/>
                <a:gd name="connsiteY16" fmla="*/ 34537 h 45125"/>
                <a:gd name="connsiteX17" fmla="*/ 43823 w 43822"/>
                <a:gd name="connsiteY17" fmla="*/ 37795 h 45125"/>
                <a:gd name="connsiteX18" fmla="*/ 28346 w 43822"/>
                <a:gd name="connsiteY18" fmla="*/ 45126 h 45125"/>
                <a:gd name="connsiteX19" fmla="*/ 26880 w 43822"/>
                <a:gd name="connsiteY19" fmla="*/ 35677 h 45125"/>
                <a:gd name="connsiteX20" fmla="*/ 3421 w 43822"/>
                <a:gd name="connsiteY20" fmla="*/ 28509 h 45125"/>
                <a:gd name="connsiteX21" fmla="*/ 0 w 43822"/>
                <a:gd name="connsiteY21" fmla="*/ 28509 h 451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43822" h="45125">
                  <a:moveTo>
                    <a:pt x="0" y="28509"/>
                  </a:moveTo>
                  <a:lnTo>
                    <a:pt x="5702" y="17757"/>
                  </a:lnTo>
                  <a:lnTo>
                    <a:pt x="11241" y="5213"/>
                  </a:lnTo>
                  <a:lnTo>
                    <a:pt x="22644" y="0"/>
                  </a:lnTo>
                  <a:lnTo>
                    <a:pt x="31441" y="3258"/>
                  </a:lnTo>
                  <a:lnTo>
                    <a:pt x="37469" y="1466"/>
                  </a:lnTo>
                  <a:lnTo>
                    <a:pt x="39912" y="2607"/>
                  </a:lnTo>
                  <a:lnTo>
                    <a:pt x="39261" y="3910"/>
                  </a:lnTo>
                  <a:lnTo>
                    <a:pt x="41868" y="15313"/>
                  </a:lnTo>
                  <a:lnTo>
                    <a:pt x="27043" y="18246"/>
                  </a:lnTo>
                  <a:lnTo>
                    <a:pt x="37143" y="24762"/>
                  </a:lnTo>
                  <a:lnTo>
                    <a:pt x="38284" y="22482"/>
                  </a:lnTo>
                  <a:lnTo>
                    <a:pt x="40076" y="26391"/>
                  </a:lnTo>
                  <a:lnTo>
                    <a:pt x="40239" y="30627"/>
                  </a:lnTo>
                  <a:lnTo>
                    <a:pt x="43171" y="33885"/>
                  </a:lnTo>
                  <a:lnTo>
                    <a:pt x="42193" y="33885"/>
                  </a:lnTo>
                  <a:lnTo>
                    <a:pt x="41216" y="34537"/>
                  </a:lnTo>
                  <a:lnTo>
                    <a:pt x="43823" y="37795"/>
                  </a:lnTo>
                  <a:lnTo>
                    <a:pt x="28346" y="45126"/>
                  </a:lnTo>
                  <a:lnTo>
                    <a:pt x="26880" y="35677"/>
                  </a:lnTo>
                  <a:lnTo>
                    <a:pt x="3421" y="28509"/>
                  </a:lnTo>
                  <a:lnTo>
                    <a:pt x="0" y="28509"/>
                  </a:lnTo>
                  <a:close/>
                </a:path>
              </a:pathLst>
            </a:custGeom>
            <a:solidFill>
              <a:schemeClr val="bg2"/>
            </a:solidFill>
            <a:ln w="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27" name="Forma livre: Forma 226">
              <a:extLst>
                <a:ext uri="{FF2B5EF4-FFF2-40B4-BE49-F238E27FC236}">
                  <a16:creationId xmlns:a16="http://schemas.microsoft.com/office/drawing/2014/main" id="{5CC3B2FF-8630-7D16-7AEF-86C0E9F73518}"/>
                </a:ext>
              </a:extLst>
            </p:cNvPr>
            <p:cNvSpPr/>
            <p:nvPr/>
          </p:nvSpPr>
          <p:spPr>
            <a:xfrm>
              <a:off x="6806071" y="3969661"/>
              <a:ext cx="58754" cy="34175"/>
            </a:xfrm>
            <a:custGeom>
              <a:avLst/>
              <a:gdLst>
                <a:gd name="connsiteX0" fmla="*/ 9286 w 56855"/>
                <a:gd name="connsiteY0" fmla="*/ 31604 h 33070"/>
                <a:gd name="connsiteX1" fmla="*/ 3421 w 56855"/>
                <a:gd name="connsiteY1" fmla="*/ 28020 h 33070"/>
                <a:gd name="connsiteX2" fmla="*/ 0 w 56855"/>
                <a:gd name="connsiteY2" fmla="*/ 23296 h 33070"/>
                <a:gd name="connsiteX3" fmla="*/ 0 w 56855"/>
                <a:gd name="connsiteY3" fmla="*/ 17594 h 33070"/>
                <a:gd name="connsiteX4" fmla="*/ 3095 w 56855"/>
                <a:gd name="connsiteY4" fmla="*/ 16780 h 33070"/>
                <a:gd name="connsiteX5" fmla="*/ 6191 w 56855"/>
                <a:gd name="connsiteY5" fmla="*/ 13196 h 33070"/>
                <a:gd name="connsiteX6" fmla="*/ 11078 w 56855"/>
                <a:gd name="connsiteY6" fmla="*/ 15150 h 33070"/>
                <a:gd name="connsiteX7" fmla="*/ 14662 w 56855"/>
                <a:gd name="connsiteY7" fmla="*/ 14010 h 33070"/>
                <a:gd name="connsiteX8" fmla="*/ 16128 w 56855"/>
                <a:gd name="connsiteY8" fmla="*/ 10752 h 33070"/>
                <a:gd name="connsiteX9" fmla="*/ 16291 w 56855"/>
                <a:gd name="connsiteY9" fmla="*/ 7494 h 33070"/>
                <a:gd name="connsiteX10" fmla="*/ 21178 w 56855"/>
                <a:gd name="connsiteY10" fmla="*/ 7494 h 33070"/>
                <a:gd name="connsiteX11" fmla="*/ 26391 w 56855"/>
                <a:gd name="connsiteY11" fmla="*/ 10100 h 33070"/>
                <a:gd name="connsiteX12" fmla="*/ 33071 w 56855"/>
                <a:gd name="connsiteY12" fmla="*/ 9612 h 33070"/>
                <a:gd name="connsiteX13" fmla="*/ 44474 w 56855"/>
                <a:gd name="connsiteY13" fmla="*/ 5213 h 33070"/>
                <a:gd name="connsiteX14" fmla="*/ 52457 w 56855"/>
                <a:gd name="connsiteY14" fmla="*/ 326 h 33070"/>
                <a:gd name="connsiteX15" fmla="*/ 55389 w 56855"/>
                <a:gd name="connsiteY15" fmla="*/ 0 h 33070"/>
                <a:gd name="connsiteX16" fmla="*/ 56855 w 56855"/>
                <a:gd name="connsiteY16" fmla="*/ 1629 h 33070"/>
                <a:gd name="connsiteX17" fmla="*/ 54086 w 56855"/>
                <a:gd name="connsiteY17" fmla="*/ 3584 h 33070"/>
                <a:gd name="connsiteX18" fmla="*/ 48221 w 56855"/>
                <a:gd name="connsiteY18" fmla="*/ 7331 h 33070"/>
                <a:gd name="connsiteX19" fmla="*/ 42520 w 56855"/>
                <a:gd name="connsiteY19" fmla="*/ 13847 h 33070"/>
                <a:gd name="connsiteX20" fmla="*/ 44474 w 56855"/>
                <a:gd name="connsiteY20" fmla="*/ 18572 h 33070"/>
                <a:gd name="connsiteX21" fmla="*/ 44148 w 56855"/>
                <a:gd name="connsiteY21" fmla="*/ 23296 h 33070"/>
                <a:gd name="connsiteX22" fmla="*/ 37306 w 56855"/>
                <a:gd name="connsiteY22" fmla="*/ 22481 h 33070"/>
                <a:gd name="connsiteX23" fmla="*/ 33397 w 56855"/>
                <a:gd name="connsiteY23" fmla="*/ 24436 h 33070"/>
                <a:gd name="connsiteX24" fmla="*/ 28020 w 56855"/>
                <a:gd name="connsiteY24" fmla="*/ 29323 h 33070"/>
                <a:gd name="connsiteX25" fmla="*/ 22156 w 56855"/>
                <a:gd name="connsiteY25" fmla="*/ 30627 h 33070"/>
                <a:gd name="connsiteX26" fmla="*/ 19223 w 56855"/>
                <a:gd name="connsiteY26" fmla="*/ 33071 h 33070"/>
                <a:gd name="connsiteX27" fmla="*/ 16291 w 56855"/>
                <a:gd name="connsiteY27" fmla="*/ 31279 h 33070"/>
                <a:gd name="connsiteX28" fmla="*/ 9286 w 56855"/>
                <a:gd name="connsiteY28" fmla="*/ 31604 h 330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56855" h="33070">
                  <a:moveTo>
                    <a:pt x="9286" y="31604"/>
                  </a:moveTo>
                  <a:lnTo>
                    <a:pt x="3421" y="28020"/>
                  </a:lnTo>
                  <a:lnTo>
                    <a:pt x="0" y="23296"/>
                  </a:lnTo>
                  <a:lnTo>
                    <a:pt x="0" y="17594"/>
                  </a:lnTo>
                  <a:lnTo>
                    <a:pt x="3095" y="16780"/>
                  </a:lnTo>
                  <a:lnTo>
                    <a:pt x="6191" y="13196"/>
                  </a:lnTo>
                  <a:lnTo>
                    <a:pt x="11078" y="15150"/>
                  </a:lnTo>
                  <a:lnTo>
                    <a:pt x="14662" y="14010"/>
                  </a:lnTo>
                  <a:lnTo>
                    <a:pt x="16128" y="10752"/>
                  </a:lnTo>
                  <a:lnTo>
                    <a:pt x="16291" y="7494"/>
                  </a:lnTo>
                  <a:lnTo>
                    <a:pt x="21178" y="7494"/>
                  </a:lnTo>
                  <a:lnTo>
                    <a:pt x="26391" y="10100"/>
                  </a:lnTo>
                  <a:lnTo>
                    <a:pt x="33071" y="9612"/>
                  </a:lnTo>
                  <a:lnTo>
                    <a:pt x="44474" y="5213"/>
                  </a:lnTo>
                  <a:lnTo>
                    <a:pt x="52457" y="326"/>
                  </a:lnTo>
                  <a:lnTo>
                    <a:pt x="55389" y="0"/>
                  </a:lnTo>
                  <a:lnTo>
                    <a:pt x="56855" y="1629"/>
                  </a:lnTo>
                  <a:lnTo>
                    <a:pt x="54086" y="3584"/>
                  </a:lnTo>
                  <a:lnTo>
                    <a:pt x="48221" y="7331"/>
                  </a:lnTo>
                  <a:lnTo>
                    <a:pt x="42520" y="13847"/>
                  </a:lnTo>
                  <a:lnTo>
                    <a:pt x="44474" y="18572"/>
                  </a:lnTo>
                  <a:lnTo>
                    <a:pt x="44148" y="23296"/>
                  </a:lnTo>
                  <a:lnTo>
                    <a:pt x="37306" y="22481"/>
                  </a:lnTo>
                  <a:lnTo>
                    <a:pt x="33397" y="24436"/>
                  </a:lnTo>
                  <a:lnTo>
                    <a:pt x="28020" y="29323"/>
                  </a:lnTo>
                  <a:lnTo>
                    <a:pt x="22156" y="30627"/>
                  </a:lnTo>
                  <a:lnTo>
                    <a:pt x="19223" y="33071"/>
                  </a:lnTo>
                  <a:lnTo>
                    <a:pt x="16291" y="31279"/>
                  </a:lnTo>
                  <a:lnTo>
                    <a:pt x="9286" y="31604"/>
                  </a:lnTo>
                  <a:close/>
                </a:path>
              </a:pathLst>
            </a:custGeom>
            <a:solidFill>
              <a:schemeClr val="bg2"/>
            </a:solidFill>
            <a:ln w="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28" name="Forma livre: Forma 227">
              <a:extLst>
                <a:ext uri="{FF2B5EF4-FFF2-40B4-BE49-F238E27FC236}">
                  <a16:creationId xmlns:a16="http://schemas.microsoft.com/office/drawing/2014/main" id="{713601EF-1C31-57F5-554B-43CC2F9366D3}"/>
                </a:ext>
              </a:extLst>
            </p:cNvPr>
            <p:cNvSpPr/>
            <p:nvPr/>
          </p:nvSpPr>
          <p:spPr>
            <a:xfrm>
              <a:off x="6892940" y="3919661"/>
              <a:ext cx="165488" cy="148147"/>
            </a:xfrm>
            <a:custGeom>
              <a:avLst/>
              <a:gdLst>
                <a:gd name="connsiteX0" fmla="*/ 83736 w 160139"/>
                <a:gd name="connsiteY0" fmla="*/ 111593 h 143359"/>
                <a:gd name="connsiteX1" fmla="*/ 129187 w 160139"/>
                <a:gd name="connsiteY1" fmla="*/ 79174 h 143359"/>
                <a:gd name="connsiteX2" fmla="*/ 131630 w 160139"/>
                <a:gd name="connsiteY2" fmla="*/ 75264 h 143359"/>
                <a:gd name="connsiteX3" fmla="*/ 135703 w 160139"/>
                <a:gd name="connsiteY3" fmla="*/ 69399 h 143359"/>
                <a:gd name="connsiteX4" fmla="*/ 135866 w 160139"/>
                <a:gd name="connsiteY4" fmla="*/ 62394 h 143359"/>
                <a:gd name="connsiteX5" fmla="*/ 134563 w 160139"/>
                <a:gd name="connsiteY5" fmla="*/ 58321 h 143359"/>
                <a:gd name="connsiteX6" fmla="*/ 138961 w 160139"/>
                <a:gd name="connsiteY6" fmla="*/ 49198 h 143359"/>
                <a:gd name="connsiteX7" fmla="*/ 138798 w 160139"/>
                <a:gd name="connsiteY7" fmla="*/ 41216 h 143359"/>
                <a:gd name="connsiteX8" fmla="*/ 134074 w 160139"/>
                <a:gd name="connsiteY8" fmla="*/ 31604 h 143359"/>
                <a:gd name="connsiteX9" fmla="*/ 134563 w 160139"/>
                <a:gd name="connsiteY9" fmla="*/ 23296 h 143359"/>
                <a:gd name="connsiteX10" fmla="*/ 139125 w 160139"/>
                <a:gd name="connsiteY10" fmla="*/ 14825 h 143359"/>
                <a:gd name="connsiteX11" fmla="*/ 149062 w 160139"/>
                <a:gd name="connsiteY11" fmla="*/ 12707 h 143359"/>
                <a:gd name="connsiteX12" fmla="*/ 154438 w 160139"/>
                <a:gd name="connsiteY12" fmla="*/ 8145 h 143359"/>
                <a:gd name="connsiteX13" fmla="*/ 156882 w 160139"/>
                <a:gd name="connsiteY13" fmla="*/ 8145 h 143359"/>
                <a:gd name="connsiteX14" fmla="*/ 160139 w 160139"/>
                <a:gd name="connsiteY14" fmla="*/ 2606 h 143359"/>
                <a:gd name="connsiteX15" fmla="*/ 157045 w 160139"/>
                <a:gd name="connsiteY15" fmla="*/ 0 h 143359"/>
                <a:gd name="connsiteX16" fmla="*/ 149877 w 160139"/>
                <a:gd name="connsiteY16" fmla="*/ 163 h 143359"/>
                <a:gd name="connsiteX17" fmla="*/ 139776 w 160139"/>
                <a:gd name="connsiteY17" fmla="*/ 3747 h 143359"/>
                <a:gd name="connsiteX18" fmla="*/ 126743 w 160139"/>
                <a:gd name="connsiteY18" fmla="*/ 2932 h 143359"/>
                <a:gd name="connsiteX19" fmla="*/ 121856 w 160139"/>
                <a:gd name="connsiteY19" fmla="*/ 3910 h 143359"/>
                <a:gd name="connsiteX20" fmla="*/ 115339 w 160139"/>
                <a:gd name="connsiteY20" fmla="*/ 3910 h 143359"/>
                <a:gd name="connsiteX21" fmla="*/ 106380 w 160139"/>
                <a:gd name="connsiteY21" fmla="*/ 6679 h 143359"/>
                <a:gd name="connsiteX22" fmla="*/ 102470 w 160139"/>
                <a:gd name="connsiteY22" fmla="*/ 10915 h 143359"/>
                <a:gd name="connsiteX23" fmla="*/ 95791 w 160139"/>
                <a:gd name="connsiteY23" fmla="*/ 13033 h 143359"/>
                <a:gd name="connsiteX24" fmla="*/ 94813 w 160139"/>
                <a:gd name="connsiteY24" fmla="*/ 15150 h 143359"/>
                <a:gd name="connsiteX25" fmla="*/ 83084 w 160139"/>
                <a:gd name="connsiteY25" fmla="*/ 14825 h 143359"/>
                <a:gd name="connsiteX26" fmla="*/ 74775 w 160139"/>
                <a:gd name="connsiteY26" fmla="*/ 13196 h 143359"/>
                <a:gd name="connsiteX27" fmla="*/ 72332 w 160139"/>
                <a:gd name="connsiteY27" fmla="*/ 10752 h 143359"/>
                <a:gd name="connsiteX28" fmla="*/ 67445 w 160139"/>
                <a:gd name="connsiteY28" fmla="*/ 9449 h 143359"/>
                <a:gd name="connsiteX29" fmla="*/ 54249 w 160139"/>
                <a:gd name="connsiteY29" fmla="*/ 10752 h 143359"/>
                <a:gd name="connsiteX30" fmla="*/ 50502 w 160139"/>
                <a:gd name="connsiteY30" fmla="*/ 13033 h 143359"/>
                <a:gd name="connsiteX31" fmla="*/ 47570 w 160139"/>
                <a:gd name="connsiteY31" fmla="*/ 13358 h 143359"/>
                <a:gd name="connsiteX32" fmla="*/ 35188 w 160139"/>
                <a:gd name="connsiteY32" fmla="*/ 18083 h 143359"/>
                <a:gd name="connsiteX33" fmla="*/ 30790 w 160139"/>
                <a:gd name="connsiteY33" fmla="*/ 16942 h 143359"/>
                <a:gd name="connsiteX34" fmla="*/ 23459 w 160139"/>
                <a:gd name="connsiteY34" fmla="*/ 15150 h 143359"/>
                <a:gd name="connsiteX35" fmla="*/ 21993 w 160139"/>
                <a:gd name="connsiteY35" fmla="*/ 19223 h 143359"/>
                <a:gd name="connsiteX36" fmla="*/ 21830 w 160139"/>
                <a:gd name="connsiteY36" fmla="*/ 28835 h 143359"/>
                <a:gd name="connsiteX37" fmla="*/ 18409 w 160139"/>
                <a:gd name="connsiteY37" fmla="*/ 30790 h 143359"/>
                <a:gd name="connsiteX38" fmla="*/ 19061 w 160139"/>
                <a:gd name="connsiteY38" fmla="*/ 36491 h 143359"/>
                <a:gd name="connsiteX39" fmla="*/ 14010 w 160139"/>
                <a:gd name="connsiteY39" fmla="*/ 38447 h 143359"/>
                <a:gd name="connsiteX40" fmla="*/ 8797 w 160139"/>
                <a:gd name="connsiteY40" fmla="*/ 39261 h 143359"/>
                <a:gd name="connsiteX41" fmla="*/ 3584 w 160139"/>
                <a:gd name="connsiteY41" fmla="*/ 38284 h 143359"/>
                <a:gd name="connsiteX42" fmla="*/ 3584 w 160139"/>
                <a:gd name="connsiteY42" fmla="*/ 38935 h 143359"/>
                <a:gd name="connsiteX43" fmla="*/ 0 w 160139"/>
                <a:gd name="connsiteY43" fmla="*/ 40239 h 143359"/>
                <a:gd name="connsiteX44" fmla="*/ 1140 w 160139"/>
                <a:gd name="connsiteY44" fmla="*/ 47895 h 143359"/>
                <a:gd name="connsiteX45" fmla="*/ 5539 w 160139"/>
                <a:gd name="connsiteY45" fmla="*/ 56529 h 143359"/>
                <a:gd name="connsiteX46" fmla="*/ 7168 w 160139"/>
                <a:gd name="connsiteY46" fmla="*/ 63209 h 143359"/>
                <a:gd name="connsiteX47" fmla="*/ 6028 w 160139"/>
                <a:gd name="connsiteY47" fmla="*/ 68585 h 143359"/>
                <a:gd name="connsiteX48" fmla="*/ 5213 w 160139"/>
                <a:gd name="connsiteY48" fmla="*/ 78522 h 143359"/>
                <a:gd name="connsiteX49" fmla="*/ 16128 w 160139"/>
                <a:gd name="connsiteY49" fmla="*/ 78848 h 143359"/>
                <a:gd name="connsiteX50" fmla="*/ 18409 w 160139"/>
                <a:gd name="connsiteY50" fmla="*/ 84387 h 143359"/>
                <a:gd name="connsiteX51" fmla="*/ 22970 w 160139"/>
                <a:gd name="connsiteY51" fmla="*/ 86668 h 143359"/>
                <a:gd name="connsiteX52" fmla="*/ 22482 w 160139"/>
                <a:gd name="connsiteY52" fmla="*/ 93673 h 143359"/>
                <a:gd name="connsiteX53" fmla="*/ 24436 w 160139"/>
                <a:gd name="connsiteY53" fmla="*/ 97582 h 143359"/>
                <a:gd name="connsiteX54" fmla="*/ 21830 w 160139"/>
                <a:gd name="connsiteY54" fmla="*/ 99212 h 143359"/>
                <a:gd name="connsiteX55" fmla="*/ 19061 w 160139"/>
                <a:gd name="connsiteY55" fmla="*/ 99212 h 143359"/>
                <a:gd name="connsiteX56" fmla="*/ 14010 w 160139"/>
                <a:gd name="connsiteY56" fmla="*/ 101818 h 143359"/>
                <a:gd name="connsiteX57" fmla="*/ 12055 w 160139"/>
                <a:gd name="connsiteY57" fmla="*/ 108823 h 143359"/>
                <a:gd name="connsiteX58" fmla="*/ 8309 w 160139"/>
                <a:gd name="connsiteY58" fmla="*/ 114688 h 143359"/>
                <a:gd name="connsiteX59" fmla="*/ 7657 w 160139"/>
                <a:gd name="connsiteY59" fmla="*/ 114688 h 143359"/>
                <a:gd name="connsiteX60" fmla="*/ 8960 w 160139"/>
                <a:gd name="connsiteY60" fmla="*/ 116480 h 143359"/>
                <a:gd name="connsiteX61" fmla="*/ 12707 w 160139"/>
                <a:gd name="connsiteY61" fmla="*/ 120064 h 143359"/>
                <a:gd name="connsiteX62" fmla="*/ 13359 w 160139"/>
                <a:gd name="connsiteY62" fmla="*/ 129187 h 143359"/>
                <a:gd name="connsiteX63" fmla="*/ 11893 w 160139"/>
                <a:gd name="connsiteY63" fmla="*/ 133260 h 143359"/>
                <a:gd name="connsiteX64" fmla="*/ 14173 w 160139"/>
                <a:gd name="connsiteY64" fmla="*/ 133422 h 143359"/>
                <a:gd name="connsiteX65" fmla="*/ 22645 w 160139"/>
                <a:gd name="connsiteY65" fmla="*/ 137169 h 143359"/>
                <a:gd name="connsiteX66" fmla="*/ 27857 w 160139"/>
                <a:gd name="connsiteY66" fmla="*/ 141242 h 143359"/>
                <a:gd name="connsiteX67" fmla="*/ 29650 w 160139"/>
                <a:gd name="connsiteY67" fmla="*/ 141242 h 143359"/>
                <a:gd name="connsiteX68" fmla="*/ 33234 w 160139"/>
                <a:gd name="connsiteY68" fmla="*/ 143360 h 143359"/>
                <a:gd name="connsiteX69" fmla="*/ 83736 w 160139"/>
                <a:gd name="connsiteY69" fmla="*/ 111756 h 143359"/>
                <a:gd name="connsiteX70" fmla="*/ 83736 w 160139"/>
                <a:gd name="connsiteY70" fmla="*/ 111593 h 1433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</a:cxnLst>
              <a:rect l="l" t="t" r="r" b="b"/>
              <a:pathLst>
                <a:path w="160139" h="143359">
                  <a:moveTo>
                    <a:pt x="83736" y="111593"/>
                  </a:moveTo>
                  <a:lnTo>
                    <a:pt x="129187" y="79174"/>
                  </a:lnTo>
                  <a:lnTo>
                    <a:pt x="131630" y="75264"/>
                  </a:lnTo>
                  <a:lnTo>
                    <a:pt x="135703" y="69399"/>
                  </a:lnTo>
                  <a:lnTo>
                    <a:pt x="135866" y="62394"/>
                  </a:lnTo>
                  <a:lnTo>
                    <a:pt x="134563" y="58321"/>
                  </a:lnTo>
                  <a:lnTo>
                    <a:pt x="138961" y="49198"/>
                  </a:lnTo>
                  <a:lnTo>
                    <a:pt x="138798" y="41216"/>
                  </a:lnTo>
                  <a:lnTo>
                    <a:pt x="134074" y="31604"/>
                  </a:lnTo>
                  <a:lnTo>
                    <a:pt x="134563" y="23296"/>
                  </a:lnTo>
                  <a:lnTo>
                    <a:pt x="139125" y="14825"/>
                  </a:lnTo>
                  <a:lnTo>
                    <a:pt x="149062" y="12707"/>
                  </a:lnTo>
                  <a:lnTo>
                    <a:pt x="154438" y="8145"/>
                  </a:lnTo>
                  <a:lnTo>
                    <a:pt x="156882" y="8145"/>
                  </a:lnTo>
                  <a:lnTo>
                    <a:pt x="160139" y="2606"/>
                  </a:lnTo>
                  <a:lnTo>
                    <a:pt x="157045" y="0"/>
                  </a:lnTo>
                  <a:lnTo>
                    <a:pt x="149877" y="163"/>
                  </a:lnTo>
                  <a:lnTo>
                    <a:pt x="139776" y="3747"/>
                  </a:lnTo>
                  <a:lnTo>
                    <a:pt x="126743" y="2932"/>
                  </a:lnTo>
                  <a:lnTo>
                    <a:pt x="121856" y="3910"/>
                  </a:lnTo>
                  <a:lnTo>
                    <a:pt x="115339" y="3910"/>
                  </a:lnTo>
                  <a:lnTo>
                    <a:pt x="106380" y="6679"/>
                  </a:lnTo>
                  <a:lnTo>
                    <a:pt x="102470" y="10915"/>
                  </a:lnTo>
                  <a:lnTo>
                    <a:pt x="95791" y="13033"/>
                  </a:lnTo>
                  <a:lnTo>
                    <a:pt x="94813" y="15150"/>
                  </a:lnTo>
                  <a:lnTo>
                    <a:pt x="83084" y="14825"/>
                  </a:lnTo>
                  <a:lnTo>
                    <a:pt x="74775" y="13196"/>
                  </a:lnTo>
                  <a:lnTo>
                    <a:pt x="72332" y="10752"/>
                  </a:lnTo>
                  <a:lnTo>
                    <a:pt x="67445" y="9449"/>
                  </a:lnTo>
                  <a:lnTo>
                    <a:pt x="54249" y="10752"/>
                  </a:lnTo>
                  <a:lnTo>
                    <a:pt x="50502" y="13033"/>
                  </a:lnTo>
                  <a:lnTo>
                    <a:pt x="47570" y="13358"/>
                  </a:lnTo>
                  <a:lnTo>
                    <a:pt x="35188" y="18083"/>
                  </a:lnTo>
                  <a:lnTo>
                    <a:pt x="30790" y="16942"/>
                  </a:lnTo>
                  <a:lnTo>
                    <a:pt x="23459" y="15150"/>
                  </a:lnTo>
                  <a:lnTo>
                    <a:pt x="21993" y="19223"/>
                  </a:lnTo>
                  <a:lnTo>
                    <a:pt x="21830" y="28835"/>
                  </a:lnTo>
                  <a:lnTo>
                    <a:pt x="18409" y="30790"/>
                  </a:lnTo>
                  <a:lnTo>
                    <a:pt x="19061" y="36491"/>
                  </a:lnTo>
                  <a:lnTo>
                    <a:pt x="14010" y="38447"/>
                  </a:lnTo>
                  <a:lnTo>
                    <a:pt x="8797" y="39261"/>
                  </a:lnTo>
                  <a:lnTo>
                    <a:pt x="3584" y="38284"/>
                  </a:lnTo>
                  <a:lnTo>
                    <a:pt x="3584" y="38935"/>
                  </a:lnTo>
                  <a:lnTo>
                    <a:pt x="0" y="40239"/>
                  </a:lnTo>
                  <a:lnTo>
                    <a:pt x="1140" y="47895"/>
                  </a:lnTo>
                  <a:lnTo>
                    <a:pt x="5539" y="56529"/>
                  </a:lnTo>
                  <a:lnTo>
                    <a:pt x="7168" y="63209"/>
                  </a:lnTo>
                  <a:lnTo>
                    <a:pt x="6028" y="68585"/>
                  </a:lnTo>
                  <a:lnTo>
                    <a:pt x="5213" y="78522"/>
                  </a:lnTo>
                  <a:lnTo>
                    <a:pt x="16128" y="78848"/>
                  </a:lnTo>
                  <a:lnTo>
                    <a:pt x="18409" y="84387"/>
                  </a:lnTo>
                  <a:lnTo>
                    <a:pt x="22970" y="86668"/>
                  </a:lnTo>
                  <a:lnTo>
                    <a:pt x="22482" y="93673"/>
                  </a:lnTo>
                  <a:lnTo>
                    <a:pt x="24436" y="97582"/>
                  </a:lnTo>
                  <a:lnTo>
                    <a:pt x="21830" y="99212"/>
                  </a:lnTo>
                  <a:lnTo>
                    <a:pt x="19061" y="99212"/>
                  </a:lnTo>
                  <a:lnTo>
                    <a:pt x="14010" y="101818"/>
                  </a:lnTo>
                  <a:lnTo>
                    <a:pt x="12055" y="108823"/>
                  </a:lnTo>
                  <a:lnTo>
                    <a:pt x="8309" y="114688"/>
                  </a:lnTo>
                  <a:lnTo>
                    <a:pt x="7657" y="114688"/>
                  </a:lnTo>
                  <a:lnTo>
                    <a:pt x="8960" y="116480"/>
                  </a:lnTo>
                  <a:lnTo>
                    <a:pt x="12707" y="120064"/>
                  </a:lnTo>
                  <a:lnTo>
                    <a:pt x="13359" y="129187"/>
                  </a:lnTo>
                  <a:lnTo>
                    <a:pt x="11893" y="133260"/>
                  </a:lnTo>
                  <a:lnTo>
                    <a:pt x="14173" y="133422"/>
                  </a:lnTo>
                  <a:lnTo>
                    <a:pt x="22645" y="137169"/>
                  </a:lnTo>
                  <a:lnTo>
                    <a:pt x="27857" y="141242"/>
                  </a:lnTo>
                  <a:lnTo>
                    <a:pt x="29650" y="141242"/>
                  </a:lnTo>
                  <a:lnTo>
                    <a:pt x="33234" y="143360"/>
                  </a:lnTo>
                  <a:lnTo>
                    <a:pt x="83736" y="111756"/>
                  </a:lnTo>
                  <a:lnTo>
                    <a:pt x="83736" y="111593"/>
                  </a:lnTo>
                  <a:close/>
                </a:path>
              </a:pathLst>
            </a:custGeom>
            <a:solidFill>
              <a:schemeClr val="bg2"/>
            </a:solidFill>
            <a:ln w="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29" name="Forma livre: Forma 228">
              <a:extLst>
                <a:ext uri="{FF2B5EF4-FFF2-40B4-BE49-F238E27FC236}">
                  <a16:creationId xmlns:a16="http://schemas.microsoft.com/office/drawing/2014/main" id="{3989AC7D-F1FD-CBF2-ADE8-1986B6CD7C3C}"/>
                </a:ext>
              </a:extLst>
            </p:cNvPr>
            <p:cNvSpPr/>
            <p:nvPr/>
          </p:nvSpPr>
          <p:spPr>
            <a:xfrm>
              <a:off x="6860112" y="4038180"/>
              <a:ext cx="40404" cy="116162"/>
            </a:xfrm>
            <a:custGeom>
              <a:avLst/>
              <a:gdLst>
                <a:gd name="connsiteX0" fmla="*/ 24436 w 39098"/>
                <a:gd name="connsiteY0" fmla="*/ 112407 h 112407"/>
                <a:gd name="connsiteX1" fmla="*/ 27369 w 39098"/>
                <a:gd name="connsiteY1" fmla="*/ 107846 h 112407"/>
                <a:gd name="connsiteX2" fmla="*/ 27532 w 39098"/>
                <a:gd name="connsiteY2" fmla="*/ 107031 h 112407"/>
                <a:gd name="connsiteX3" fmla="*/ 27369 w 39098"/>
                <a:gd name="connsiteY3" fmla="*/ 103773 h 112407"/>
                <a:gd name="connsiteX4" fmla="*/ 29813 w 39098"/>
                <a:gd name="connsiteY4" fmla="*/ 101167 h 112407"/>
                <a:gd name="connsiteX5" fmla="*/ 29813 w 39098"/>
                <a:gd name="connsiteY5" fmla="*/ 95302 h 112407"/>
                <a:gd name="connsiteX6" fmla="*/ 31767 w 39098"/>
                <a:gd name="connsiteY6" fmla="*/ 88949 h 112407"/>
                <a:gd name="connsiteX7" fmla="*/ 31604 w 39098"/>
                <a:gd name="connsiteY7" fmla="*/ 81455 h 112407"/>
                <a:gd name="connsiteX8" fmla="*/ 33234 w 39098"/>
                <a:gd name="connsiteY8" fmla="*/ 80477 h 112407"/>
                <a:gd name="connsiteX9" fmla="*/ 33234 w 39098"/>
                <a:gd name="connsiteY9" fmla="*/ 74938 h 112407"/>
                <a:gd name="connsiteX10" fmla="*/ 34374 w 39098"/>
                <a:gd name="connsiteY10" fmla="*/ 69074 h 112407"/>
                <a:gd name="connsiteX11" fmla="*/ 34211 w 39098"/>
                <a:gd name="connsiteY11" fmla="*/ 65164 h 112407"/>
                <a:gd name="connsiteX12" fmla="*/ 35188 w 39098"/>
                <a:gd name="connsiteY12" fmla="*/ 54086 h 112407"/>
                <a:gd name="connsiteX13" fmla="*/ 33234 w 39098"/>
                <a:gd name="connsiteY13" fmla="*/ 54737 h 112407"/>
                <a:gd name="connsiteX14" fmla="*/ 30138 w 39098"/>
                <a:gd name="connsiteY14" fmla="*/ 54737 h 112407"/>
                <a:gd name="connsiteX15" fmla="*/ 25903 w 39098"/>
                <a:gd name="connsiteY15" fmla="*/ 56855 h 112407"/>
                <a:gd name="connsiteX16" fmla="*/ 23459 w 39098"/>
                <a:gd name="connsiteY16" fmla="*/ 54575 h 112407"/>
                <a:gd name="connsiteX17" fmla="*/ 24599 w 39098"/>
                <a:gd name="connsiteY17" fmla="*/ 46592 h 112407"/>
                <a:gd name="connsiteX18" fmla="*/ 24599 w 39098"/>
                <a:gd name="connsiteY18" fmla="*/ 34537 h 112407"/>
                <a:gd name="connsiteX19" fmla="*/ 23133 w 39098"/>
                <a:gd name="connsiteY19" fmla="*/ 32093 h 112407"/>
                <a:gd name="connsiteX20" fmla="*/ 24436 w 39098"/>
                <a:gd name="connsiteY20" fmla="*/ 25088 h 112407"/>
                <a:gd name="connsiteX21" fmla="*/ 30464 w 39098"/>
                <a:gd name="connsiteY21" fmla="*/ 25088 h 112407"/>
                <a:gd name="connsiteX22" fmla="*/ 31116 w 39098"/>
                <a:gd name="connsiteY22" fmla="*/ 29161 h 112407"/>
                <a:gd name="connsiteX23" fmla="*/ 33722 w 39098"/>
                <a:gd name="connsiteY23" fmla="*/ 29487 h 112407"/>
                <a:gd name="connsiteX24" fmla="*/ 36655 w 39098"/>
                <a:gd name="connsiteY24" fmla="*/ 26717 h 112407"/>
                <a:gd name="connsiteX25" fmla="*/ 36655 w 39098"/>
                <a:gd name="connsiteY25" fmla="*/ 23785 h 112407"/>
                <a:gd name="connsiteX26" fmla="*/ 37306 w 39098"/>
                <a:gd name="connsiteY26" fmla="*/ 23785 h 112407"/>
                <a:gd name="connsiteX27" fmla="*/ 36166 w 39098"/>
                <a:gd name="connsiteY27" fmla="*/ 21504 h 112407"/>
                <a:gd name="connsiteX28" fmla="*/ 35026 w 39098"/>
                <a:gd name="connsiteY28" fmla="*/ 17106 h 112407"/>
                <a:gd name="connsiteX29" fmla="*/ 36492 w 39098"/>
                <a:gd name="connsiteY29" fmla="*/ 9449 h 112407"/>
                <a:gd name="connsiteX30" fmla="*/ 37795 w 39098"/>
                <a:gd name="connsiteY30" fmla="*/ 3095 h 112407"/>
                <a:gd name="connsiteX31" fmla="*/ 39099 w 39098"/>
                <a:gd name="connsiteY31" fmla="*/ 0 h 112407"/>
                <a:gd name="connsiteX32" fmla="*/ 36655 w 39098"/>
                <a:gd name="connsiteY32" fmla="*/ 163 h 112407"/>
                <a:gd name="connsiteX33" fmla="*/ 33885 w 39098"/>
                <a:gd name="connsiteY33" fmla="*/ 5539 h 112407"/>
                <a:gd name="connsiteX34" fmla="*/ 25740 w 39098"/>
                <a:gd name="connsiteY34" fmla="*/ 5702 h 112407"/>
                <a:gd name="connsiteX35" fmla="*/ 22645 w 39098"/>
                <a:gd name="connsiteY35" fmla="*/ 5050 h 112407"/>
                <a:gd name="connsiteX36" fmla="*/ 17268 w 39098"/>
                <a:gd name="connsiteY36" fmla="*/ 11241 h 112407"/>
                <a:gd name="connsiteX37" fmla="*/ 15314 w 39098"/>
                <a:gd name="connsiteY37" fmla="*/ 29812 h 112407"/>
                <a:gd name="connsiteX38" fmla="*/ 7983 w 39098"/>
                <a:gd name="connsiteY38" fmla="*/ 44474 h 112407"/>
                <a:gd name="connsiteX39" fmla="*/ 0 w 39098"/>
                <a:gd name="connsiteY39" fmla="*/ 55226 h 112407"/>
                <a:gd name="connsiteX40" fmla="*/ 2770 w 39098"/>
                <a:gd name="connsiteY40" fmla="*/ 56529 h 112407"/>
                <a:gd name="connsiteX41" fmla="*/ 7820 w 39098"/>
                <a:gd name="connsiteY41" fmla="*/ 63860 h 112407"/>
                <a:gd name="connsiteX42" fmla="*/ 10426 w 39098"/>
                <a:gd name="connsiteY42" fmla="*/ 73309 h 112407"/>
                <a:gd name="connsiteX43" fmla="*/ 17758 w 39098"/>
                <a:gd name="connsiteY43" fmla="*/ 84224 h 112407"/>
                <a:gd name="connsiteX44" fmla="*/ 23296 w 39098"/>
                <a:gd name="connsiteY44" fmla="*/ 97583 h 112407"/>
                <a:gd name="connsiteX45" fmla="*/ 21178 w 39098"/>
                <a:gd name="connsiteY45" fmla="*/ 103773 h 112407"/>
                <a:gd name="connsiteX46" fmla="*/ 24436 w 39098"/>
                <a:gd name="connsiteY46" fmla="*/ 112407 h 1124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</a:cxnLst>
              <a:rect l="l" t="t" r="r" b="b"/>
              <a:pathLst>
                <a:path w="39098" h="112407">
                  <a:moveTo>
                    <a:pt x="24436" y="112407"/>
                  </a:moveTo>
                  <a:lnTo>
                    <a:pt x="27369" y="107846"/>
                  </a:lnTo>
                  <a:lnTo>
                    <a:pt x="27532" y="107031"/>
                  </a:lnTo>
                  <a:lnTo>
                    <a:pt x="27369" y="103773"/>
                  </a:lnTo>
                  <a:lnTo>
                    <a:pt x="29813" y="101167"/>
                  </a:lnTo>
                  <a:lnTo>
                    <a:pt x="29813" y="95302"/>
                  </a:lnTo>
                  <a:lnTo>
                    <a:pt x="31767" y="88949"/>
                  </a:lnTo>
                  <a:lnTo>
                    <a:pt x="31604" y="81455"/>
                  </a:lnTo>
                  <a:lnTo>
                    <a:pt x="33234" y="80477"/>
                  </a:lnTo>
                  <a:lnTo>
                    <a:pt x="33234" y="74938"/>
                  </a:lnTo>
                  <a:lnTo>
                    <a:pt x="34374" y="69074"/>
                  </a:lnTo>
                  <a:lnTo>
                    <a:pt x="34211" y="65164"/>
                  </a:lnTo>
                  <a:lnTo>
                    <a:pt x="35188" y="54086"/>
                  </a:lnTo>
                  <a:lnTo>
                    <a:pt x="33234" y="54737"/>
                  </a:lnTo>
                  <a:lnTo>
                    <a:pt x="30138" y="54737"/>
                  </a:lnTo>
                  <a:lnTo>
                    <a:pt x="25903" y="56855"/>
                  </a:lnTo>
                  <a:lnTo>
                    <a:pt x="23459" y="54575"/>
                  </a:lnTo>
                  <a:lnTo>
                    <a:pt x="24599" y="46592"/>
                  </a:lnTo>
                  <a:lnTo>
                    <a:pt x="24599" y="34537"/>
                  </a:lnTo>
                  <a:lnTo>
                    <a:pt x="23133" y="32093"/>
                  </a:lnTo>
                  <a:lnTo>
                    <a:pt x="24436" y="25088"/>
                  </a:lnTo>
                  <a:lnTo>
                    <a:pt x="30464" y="25088"/>
                  </a:lnTo>
                  <a:lnTo>
                    <a:pt x="31116" y="29161"/>
                  </a:lnTo>
                  <a:lnTo>
                    <a:pt x="33722" y="29487"/>
                  </a:lnTo>
                  <a:lnTo>
                    <a:pt x="36655" y="26717"/>
                  </a:lnTo>
                  <a:lnTo>
                    <a:pt x="36655" y="23785"/>
                  </a:lnTo>
                  <a:lnTo>
                    <a:pt x="37306" y="23785"/>
                  </a:lnTo>
                  <a:lnTo>
                    <a:pt x="36166" y="21504"/>
                  </a:lnTo>
                  <a:lnTo>
                    <a:pt x="35026" y="17106"/>
                  </a:lnTo>
                  <a:lnTo>
                    <a:pt x="36492" y="9449"/>
                  </a:lnTo>
                  <a:lnTo>
                    <a:pt x="37795" y="3095"/>
                  </a:lnTo>
                  <a:lnTo>
                    <a:pt x="39099" y="0"/>
                  </a:lnTo>
                  <a:lnTo>
                    <a:pt x="36655" y="163"/>
                  </a:lnTo>
                  <a:lnTo>
                    <a:pt x="33885" y="5539"/>
                  </a:lnTo>
                  <a:lnTo>
                    <a:pt x="25740" y="5702"/>
                  </a:lnTo>
                  <a:lnTo>
                    <a:pt x="22645" y="5050"/>
                  </a:lnTo>
                  <a:lnTo>
                    <a:pt x="17268" y="11241"/>
                  </a:lnTo>
                  <a:lnTo>
                    <a:pt x="15314" y="29812"/>
                  </a:lnTo>
                  <a:lnTo>
                    <a:pt x="7983" y="44474"/>
                  </a:lnTo>
                  <a:lnTo>
                    <a:pt x="0" y="55226"/>
                  </a:lnTo>
                  <a:lnTo>
                    <a:pt x="2770" y="56529"/>
                  </a:lnTo>
                  <a:lnTo>
                    <a:pt x="7820" y="63860"/>
                  </a:lnTo>
                  <a:lnTo>
                    <a:pt x="10426" y="73309"/>
                  </a:lnTo>
                  <a:lnTo>
                    <a:pt x="17758" y="84224"/>
                  </a:lnTo>
                  <a:lnTo>
                    <a:pt x="23296" y="97583"/>
                  </a:lnTo>
                  <a:lnTo>
                    <a:pt x="21178" y="103773"/>
                  </a:lnTo>
                  <a:lnTo>
                    <a:pt x="24436" y="112407"/>
                  </a:lnTo>
                  <a:close/>
                </a:path>
              </a:pathLst>
            </a:custGeom>
            <a:solidFill>
              <a:schemeClr val="bg2"/>
            </a:solidFill>
            <a:ln w="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30" name="Forma livre: Forma 229">
              <a:extLst>
                <a:ext uri="{FF2B5EF4-FFF2-40B4-BE49-F238E27FC236}">
                  <a16:creationId xmlns:a16="http://schemas.microsoft.com/office/drawing/2014/main" id="{4FCBB270-E33B-831B-5F4E-70E61998ABB3}"/>
                </a:ext>
              </a:extLst>
            </p:cNvPr>
            <p:cNvSpPr/>
            <p:nvPr/>
          </p:nvSpPr>
          <p:spPr>
            <a:xfrm>
              <a:off x="6896307" y="4038180"/>
              <a:ext cx="10437" cy="24747"/>
            </a:xfrm>
            <a:custGeom>
              <a:avLst/>
              <a:gdLst>
                <a:gd name="connsiteX0" fmla="*/ 2280 w 10100"/>
                <a:gd name="connsiteY0" fmla="*/ 23785 h 23947"/>
                <a:gd name="connsiteX1" fmla="*/ 1140 w 10100"/>
                <a:gd name="connsiteY1" fmla="*/ 21504 h 23947"/>
                <a:gd name="connsiteX2" fmla="*/ 0 w 10100"/>
                <a:gd name="connsiteY2" fmla="*/ 17106 h 23947"/>
                <a:gd name="connsiteX3" fmla="*/ 1466 w 10100"/>
                <a:gd name="connsiteY3" fmla="*/ 9449 h 23947"/>
                <a:gd name="connsiteX4" fmla="*/ 2769 w 10100"/>
                <a:gd name="connsiteY4" fmla="*/ 3095 h 23947"/>
                <a:gd name="connsiteX5" fmla="*/ 4073 w 10100"/>
                <a:gd name="connsiteY5" fmla="*/ 0 h 23947"/>
                <a:gd name="connsiteX6" fmla="*/ 4398 w 10100"/>
                <a:gd name="connsiteY6" fmla="*/ 0 h 23947"/>
                <a:gd name="connsiteX7" fmla="*/ 5701 w 10100"/>
                <a:gd name="connsiteY7" fmla="*/ 1792 h 23947"/>
                <a:gd name="connsiteX8" fmla="*/ 9449 w 10100"/>
                <a:gd name="connsiteY8" fmla="*/ 5376 h 23947"/>
                <a:gd name="connsiteX9" fmla="*/ 10100 w 10100"/>
                <a:gd name="connsiteY9" fmla="*/ 14499 h 23947"/>
                <a:gd name="connsiteX10" fmla="*/ 8634 w 10100"/>
                <a:gd name="connsiteY10" fmla="*/ 18572 h 23947"/>
                <a:gd name="connsiteX11" fmla="*/ 8471 w 10100"/>
                <a:gd name="connsiteY11" fmla="*/ 18572 h 23947"/>
                <a:gd name="connsiteX12" fmla="*/ 5213 w 10100"/>
                <a:gd name="connsiteY12" fmla="*/ 21341 h 23947"/>
                <a:gd name="connsiteX13" fmla="*/ 3584 w 10100"/>
                <a:gd name="connsiteY13" fmla="*/ 23948 h 23947"/>
                <a:gd name="connsiteX14" fmla="*/ 2280 w 10100"/>
                <a:gd name="connsiteY14" fmla="*/ 23785 h 239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0100" h="23947">
                  <a:moveTo>
                    <a:pt x="2280" y="23785"/>
                  </a:moveTo>
                  <a:lnTo>
                    <a:pt x="1140" y="21504"/>
                  </a:lnTo>
                  <a:lnTo>
                    <a:pt x="0" y="17106"/>
                  </a:lnTo>
                  <a:lnTo>
                    <a:pt x="1466" y="9449"/>
                  </a:lnTo>
                  <a:lnTo>
                    <a:pt x="2769" y="3095"/>
                  </a:lnTo>
                  <a:lnTo>
                    <a:pt x="4073" y="0"/>
                  </a:lnTo>
                  <a:lnTo>
                    <a:pt x="4398" y="0"/>
                  </a:lnTo>
                  <a:lnTo>
                    <a:pt x="5701" y="1792"/>
                  </a:lnTo>
                  <a:lnTo>
                    <a:pt x="9449" y="5376"/>
                  </a:lnTo>
                  <a:lnTo>
                    <a:pt x="10100" y="14499"/>
                  </a:lnTo>
                  <a:lnTo>
                    <a:pt x="8634" y="18572"/>
                  </a:lnTo>
                  <a:lnTo>
                    <a:pt x="8471" y="18572"/>
                  </a:lnTo>
                  <a:lnTo>
                    <a:pt x="5213" y="21341"/>
                  </a:lnTo>
                  <a:lnTo>
                    <a:pt x="3584" y="23948"/>
                  </a:lnTo>
                  <a:lnTo>
                    <a:pt x="2280" y="23785"/>
                  </a:lnTo>
                  <a:close/>
                </a:path>
              </a:pathLst>
            </a:custGeom>
            <a:solidFill>
              <a:schemeClr val="bg2"/>
            </a:solidFill>
            <a:ln w="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31" name="Forma livre: Forma 230">
              <a:extLst>
                <a:ext uri="{FF2B5EF4-FFF2-40B4-BE49-F238E27FC236}">
                  <a16:creationId xmlns:a16="http://schemas.microsoft.com/office/drawing/2014/main" id="{DEE94AED-089F-2781-FF83-7B76419585F1}"/>
                </a:ext>
              </a:extLst>
            </p:cNvPr>
            <p:cNvSpPr/>
            <p:nvPr/>
          </p:nvSpPr>
          <p:spPr>
            <a:xfrm>
              <a:off x="6884017" y="4064106"/>
              <a:ext cx="14646" cy="32828"/>
            </a:xfrm>
            <a:custGeom>
              <a:avLst/>
              <a:gdLst>
                <a:gd name="connsiteX0" fmla="*/ 10100 w 14173"/>
                <a:gd name="connsiteY0" fmla="*/ 29650 h 31767"/>
                <a:gd name="connsiteX1" fmla="*/ 7005 w 14173"/>
                <a:gd name="connsiteY1" fmla="*/ 29650 h 31767"/>
                <a:gd name="connsiteX2" fmla="*/ 2770 w 14173"/>
                <a:gd name="connsiteY2" fmla="*/ 31767 h 31767"/>
                <a:gd name="connsiteX3" fmla="*/ 326 w 14173"/>
                <a:gd name="connsiteY3" fmla="*/ 29487 h 31767"/>
                <a:gd name="connsiteX4" fmla="*/ 1466 w 14173"/>
                <a:gd name="connsiteY4" fmla="*/ 21504 h 31767"/>
                <a:gd name="connsiteX5" fmla="*/ 1466 w 14173"/>
                <a:gd name="connsiteY5" fmla="*/ 9449 h 31767"/>
                <a:gd name="connsiteX6" fmla="*/ 0 w 14173"/>
                <a:gd name="connsiteY6" fmla="*/ 7005 h 31767"/>
                <a:gd name="connsiteX7" fmla="*/ 1303 w 14173"/>
                <a:gd name="connsiteY7" fmla="*/ 0 h 31767"/>
                <a:gd name="connsiteX8" fmla="*/ 7331 w 14173"/>
                <a:gd name="connsiteY8" fmla="*/ 0 h 31767"/>
                <a:gd name="connsiteX9" fmla="*/ 7982 w 14173"/>
                <a:gd name="connsiteY9" fmla="*/ 4073 h 31767"/>
                <a:gd name="connsiteX10" fmla="*/ 10589 w 14173"/>
                <a:gd name="connsiteY10" fmla="*/ 4399 h 31767"/>
                <a:gd name="connsiteX11" fmla="*/ 13521 w 14173"/>
                <a:gd name="connsiteY11" fmla="*/ 1629 h 31767"/>
                <a:gd name="connsiteX12" fmla="*/ 13684 w 14173"/>
                <a:gd name="connsiteY12" fmla="*/ 3258 h 31767"/>
                <a:gd name="connsiteX13" fmla="*/ 14173 w 14173"/>
                <a:gd name="connsiteY13" fmla="*/ 6354 h 31767"/>
                <a:gd name="connsiteX14" fmla="*/ 13359 w 14173"/>
                <a:gd name="connsiteY14" fmla="*/ 8797 h 31767"/>
                <a:gd name="connsiteX15" fmla="*/ 12707 w 14173"/>
                <a:gd name="connsiteY15" fmla="*/ 15639 h 31767"/>
                <a:gd name="connsiteX16" fmla="*/ 12870 w 14173"/>
                <a:gd name="connsiteY16" fmla="*/ 19549 h 31767"/>
                <a:gd name="connsiteX17" fmla="*/ 12055 w 14173"/>
                <a:gd name="connsiteY17" fmla="*/ 28998 h 31767"/>
                <a:gd name="connsiteX18" fmla="*/ 10100 w 14173"/>
                <a:gd name="connsiteY18" fmla="*/ 29650 h 317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4173" h="31767">
                  <a:moveTo>
                    <a:pt x="10100" y="29650"/>
                  </a:moveTo>
                  <a:lnTo>
                    <a:pt x="7005" y="29650"/>
                  </a:lnTo>
                  <a:lnTo>
                    <a:pt x="2770" y="31767"/>
                  </a:lnTo>
                  <a:lnTo>
                    <a:pt x="326" y="29487"/>
                  </a:lnTo>
                  <a:lnTo>
                    <a:pt x="1466" y="21504"/>
                  </a:lnTo>
                  <a:lnTo>
                    <a:pt x="1466" y="9449"/>
                  </a:lnTo>
                  <a:lnTo>
                    <a:pt x="0" y="7005"/>
                  </a:lnTo>
                  <a:lnTo>
                    <a:pt x="1303" y="0"/>
                  </a:lnTo>
                  <a:lnTo>
                    <a:pt x="7331" y="0"/>
                  </a:lnTo>
                  <a:lnTo>
                    <a:pt x="7982" y="4073"/>
                  </a:lnTo>
                  <a:lnTo>
                    <a:pt x="10589" y="4399"/>
                  </a:lnTo>
                  <a:lnTo>
                    <a:pt x="13521" y="1629"/>
                  </a:lnTo>
                  <a:lnTo>
                    <a:pt x="13684" y="3258"/>
                  </a:lnTo>
                  <a:lnTo>
                    <a:pt x="14173" y="6354"/>
                  </a:lnTo>
                  <a:lnTo>
                    <a:pt x="13359" y="8797"/>
                  </a:lnTo>
                  <a:lnTo>
                    <a:pt x="12707" y="15639"/>
                  </a:lnTo>
                  <a:lnTo>
                    <a:pt x="12870" y="19549"/>
                  </a:lnTo>
                  <a:lnTo>
                    <a:pt x="12055" y="28998"/>
                  </a:lnTo>
                  <a:lnTo>
                    <a:pt x="10100" y="29650"/>
                  </a:lnTo>
                  <a:close/>
                </a:path>
              </a:pathLst>
            </a:custGeom>
            <a:solidFill>
              <a:schemeClr val="bg2"/>
            </a:solidFill>
            <a:ln w="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32" name="Forma livre: Forma 231">
              <a:extLst>
                <a:ext uri="{FF2B5EF4-FFF2-40B4-BE49-F238E27FC236}">
                  <a16:creationId xmlns:a16="http://schemas.microsoft.com/office/drawing/2014/main" id="{8B1753D8-3D23-91A0-5C6E-F69874C05FE5}"/>
                </a:ext>
              </a:extLst>
            </p:cNvPr>
            <p:cNvSpPr/>
            <p:nvPr/>
          </p:nvSpPr>
          <p:spPr>
            <a:xfrm>
              <a:off x="6883512" y="4000806"/>
              <a:ext cx="34680" cy="43265"/>
            </a:xfrm>
            <a:custGeom>
              <a:avLst/>
              <a:gdLst>
                <a:gd name="connsiteX0" fmla="*/ 0 w 33559"/>
                <a:gd name="connsiteY0" fmla="*/ 41216 h 41867"/>
                <a:gd name="connsiteX1" fmla="*/ 3095 w 33559"/>
                <a:gd name="connsiteY1" fmla="*/ 41868 h 41867"/>
                <a:gd name="connsiteX2" fmla="*/ 11241 w 33559"/>
                <a:gd name="connsiteY2" fmla="*/ 41705 h 41867"/>
                <a:gd name="connsiteX3" fmla="*/ 14010 w 33559"/>
                <a:gd name="connsiteY3" fmla="*/ 36329 h 41867"/>
                <a:gd name="connsiteX4" fmla="*/ 17431 w 33559"/>
                <a:gd name="connsiteY4" fmla="*/ 36166 h 41867"/>
                <a:gd name="connsiteX5" fmla="*/ 21178 w 33559"/>
                <a:gd name="connsiteY5" fmla="*/ 30301 h 41867"/>
                <a:gd name="connsiteX6" fmla="*/ 23133 w 33559"/>
                <a:gd name="connsiteY6" fmla="*/ 23296 h 41867"/>
                <a:gd name="connsiteX7" fmla="*/ 28183 w 33559"/>
                <a:gd name="connsiteY7" fmla="*/ 20690 h 41867"/>
                <a:gd name="connsiteX8" fmla="*/ 30953 w 33559"/>
                <a:gd name="connsiteY8" fmla="*/ 20690 h 41867"/>
                <a:gd name="connsiteX9" fmla="*/ 33559 w 33559"/>
                <a:gd name="connsiteY9" fmla="*/ 19060 h 41867"/>
                <a:gd name="connsiteX10" fmla="*/ 31604 w 33559"/>
                <a:gd name="connsiteY10" fmla="*/ 15151 h 41867"/>
                <a:gd name="connsiteX11" fmla="*/ 32093 w 33559"/>
                <a:gd name="connsiteY11" fmla="*/ 8145 h 41867"/>
                <a:gd name="connsiteX12" fmla="*/ 27532 w 33559"/>
                <a:gd name="connsiteY12" fmla="*/ 5865 h 41867"/>
                <a:gd name="connsiteX13" fmla="*/ 25251 w 33559"/>
                <a:gd name="connsiteY13" fmla="*/ 326 h 41867"/>
                <a:gd name="connsiteX14" fmla="*/ 14336 w 33559"/>
                <a:gd name="connsiteY14" fmla="*/ 0 h 41867"/>
                <a:gd name="connsiteX15" fmla="*/ 14336 w 33559"/>
                <a:gd name="connsiteY15" fmla="*/ 1303 h 41867"/>
                <a:gd name="connsiteX16" fmla="*/ 10752 w 33559"/>
                <a:gd name="connsiteY16" fmla="*/ 2118 h 41867"/>
                <a:gd name="connsiteX17" fmla="*/ 9612 w 33559"/>
                <a:gd name="connsiteY17" fmla="*/ 20201 h 41867"/>
                <a:gd name="connsiteX18" fmla="*/ 5376 w 33559"/>
                <a:gd name="connsiteY18" fmla="*/ 26880 h 41867"/>
                <a:gd name="connsiteX19" fmla="*/ 814 w 33559"/>
                <a:gd name="connsiteY19" fmla="*/ 33396 h 41867"/>
                <a:gd name="connsiteX20" fmla="*/ 814 w 33559"/>
                <a:gd name="connsiteY20" fmla="*/ 40401 h 41867"/>
                <a:gd name="connsiteX21" fmla="*/ 0 w 33559"/>
                <a:gd name="connsiteY21" fmla="*/ 41216 h 418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33559" h="41867">
                  <a:moveTo>
                    <a:pt x="0" y="41216"/>
                  </a:moveTo>
                  <a:lnTo>
                    <a:pt x="3095" y="41868"/>
                  </a:lnTo>
                  <a:lnTo>
                    <a:pt x="11241" y="41705"/>
                  </a:lnTo>
                  <a:lnTo>
                    <a:pt x="14010" y="36329"/>
                  </a:lnTo>
                  <a:lnTo>
                    <a:pt x="17431" y="36166"/>
                  </a:lnTo>
                  <a:lnTo>
                    <a:pt x="21178" y="30301"/>
                  </a:lnTo>
                  <a:lnTo>
                    <a:pt x="23133" y="23296"/>
                  </a:lnTo>
                  <a:lnTo>
                    <a:pt x="28183" y="20690"/>
                  </a:lnTo>
                  <a:lnTo>
                    <a:pt x="30953" y="20690"/>
                  </a:lnTo>
                  <a:lnTo>
                    <a:pt x="33559" y="19060"/>
                  </a:lnTo>
                  <a:lnTo>
                    <a:pt x="31604" y="15151"/>
                  </a:lnTo>
                  <a:lnTo>
                    <a:pt x="32093" y="8145"/>
                  </a:lnTo>
                  <a:lnTo>
                    <a:pt x="27532" y="5865"/>
                  </a:lnTo>
                  <a:lnTo>
                    <a:pt x="25251" y="326"/>
                  </a:lnTo>
                  <a:lnTo>
                    <a:pt x="14336" y="0"/>
                  </a:lnTo>
                  <a:lnTo>
                    <a:pt x="14336" y="1303"/>
                  </a:lnTo>
                  <a:lnTo>
                    <a:pt x="10752" y="2118"/>
                  </a:lnTo>
                  <a:lnTo>
                    <a:pt x="9612" y="20201"/>
                  </a:lnTo>
                  <a:lnTo>
                    <a:pt x="5376" y="26880"/>
                  </a:lnTo>
                  <a:lnTo>
                    <a:pt x="814" y="33396"/>
                  </a:lnTo>
                  <a:lnTo>
                    <a:pt x="814" y="40401"/>
                  </a:lnTo>
                  <a:lnTo>
                    <a:pt x="0" y="41216"/>
                  </a:lnTo>
                  <a:close/>
                </a:path>
              </a:pathLst>
            </a:custGeom>
            <a:solidFill>
              <a:schemeClr val="bg2"/>
            </a:solidFill>
            <a:ln w="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33" name="Forma livre: Forma 232">
              <a:extLst>
                <a:ext uri="{FF2B5EF4-FFF2-40B4-BE49-F238E27FC236}">
                  <a16:creationId xmlns:a16="http://schemas.microsoft.com/office/drawing/2014/main" id="{B163D687-D53F-B933-5013-D094648DD554}"/>
                </a:ext>
              </a:extLst>
            </p:cNvPr>
            <p:cNvSpPr/>
            <p:nvPr/>
          </p:nvSpPr>
          <p:spPr>
            <a:xfrm>
              <a:off x="6886543" y="4035150"/>
              <a:ext cx="106397" cy="131649"/>
            </a:xfrm>
            <a:custGeom>
              <a:avLst/>
              <a:gdLst>
                <a:gd name="connsiteX0" fmla="*/ 1792 w 102958"/>
                <a:gd name="connsiteY0" fmla="*/ 110778 h 127394"/>
                <a:gd name="connsiteX1" fmla="*/ 1955 w 102958"/>
                <a:gd name="connsiteY1" fmla="*/ 109964 h 127394"/>
                <a:gd name="connsiteX2" fmla="*/ 1792 w 102958"/>
                <a:gd name="connsiteY2" fmla="*/ 106705 h 127394"/>
                <a:gd name="connsiteX3" fmla="*/ 4236 w 102958"/>
                <a:gd name="connsiteY3" fmla="*/ 104099 h 127394"/>
                <a:gd name="connsiteX4" fmla="*/ 4236 w 102958"/>
                <a:gd name="connsiteY4" fmla="*/ 98234 h 127394"/>
                <a:gd name="connsiteX5" fmla="*/ 6191 w 102958"/>
                <a:gd name="connsiteY5" fmla="*/ 91881 h 127394"/>
                <a:gd name="connsiteX6" fmla="*/ 6028 w 102958"/>
                <a:gd name="connsiteY6" fmla="*/ 84387 h 127394"/>
                <a:gd name="connsiteX7" fmla="*/ 7657 w 102958"/>
                <a:gd name="connsiteY7" fmla="*/ 83409 h 127394"/>
                <a:gd name="connsiteX8" fmla="*/ 7657 w 102958"/>
                <a:gd name="connsiteY8" fmla="*/ 77871 h 127394"/>
                <a:gd name="connsiteX9" fmla="*/ 8797 w 102958"/>
                <a:gd name="connsiteY9" fmla="*/ 72006 h 127394"/>
                <a:gd name="connsiteX10" fmla="*/ 8634 w 102958"/>
                <a:gd name="connsiteY10" fmla="*/ 68096 h 127394"/>
                <a:gd name="connsiteX11" fmla="*/ 10426 w 102958"/>
                <a:gd name="connsiteY11" fmla="*/ 47569 h 127394"/>
                <a:gd name="connsiteX12" fmla="*/ 10263 w 102958"/>
                <a:gd name="connsiteY12" fmla="*/ 43660 h 127394"/>
                <a:gd name="connsiteX13" fmla="*/ 10915 w 102958"/>
                <a:gd name="connsiteY13" fmla="*/ 36817 h 127394"/>
                <a:gd name="connsiteX14" fmla="*/ 11729 w 102958"/>
                <a:gd name="connsiteY14" fmla="*/ 34374 h 127394"/>
                <a:gd name="connsiteX15" fmla="*/ 11241 w 102958"/>
                <a:gd name="connsiteY15" fmla="*/ 31279 h 127394"/>
                <a:gd name="connsiteX16" fmla="*/ 11078 w 102958"/>
                <a:gd name="connsiteY16" fmla="*/ 26717 h 127394"/>
                <a:gd name="connsiteX17" fmla="*/ 13033 w 102958"/>
                <a:gd name="connsiteY17" fmla="*/ 26880 h 127394"/>
                <a:gd name="connsiteX18" fmla="*/ 14662 w 102958"/>
                <a:gd name="connsiteY18" fmla="*/ 24273 h 127394"/>
                <a:gd name="connsiteX19" fmla="*/ 17920 w 102958"/>
                <a:gd name="connsiteY19" fmla="*/ 21504 h 127394"/>
                <a:gd name="connsiteX20" fmla="*/ 20364 w 102958"/>
                <a:gd name="connsiteY20" fmla="*/ 21667 h 127394"/>
                <a:gd name="connsiteX21" fmla="*/ 28835 w 102958"/>
                <a:gd name="connsiteY21" fmla="*/ 25414 h 127394"/>
                <a:gd name="connsiteX22" fmla="*/ 34048 w 102958"/>
                <a:gd name="connsiteY22" fmla="*/ 29487 h 127394"/>
                <a:gd name="connsiteX23" fmla="*/ 35840 w 102958"/>
                <a:gd name="connsiteY23" fmla="*/ 29487 h 127394"/>
                <a:gd name="connsiteX24" fmla="*/ 39424 w 102958"/>
                <a:gd name="connsiteY24" fmla="*/ 31604 h 127394"/>
                <a:gd name="connsiteX25" fmla="*/ 89926 w 102958"/>
                <a:gd name="connsiteY25" fmla="*/ 0 h 127394"/>
                <a:gd name="connsiteX26" fmla="*/ 102959 w 102958"/>
                <a:gd name="connsiteY26" fmla="*/ 33396 h 127394"/>
                <a:gd name="connsiteX27" fmla="*/ 101655 w 102958"/>
                <a:gd name="connsiteY27" fmla="*/ 33233 h 127394"/>
                <a:gd name="connsiteX28" fmla="*/ 92370 w 102958"/>
                <a:gd name="connsiteY28" fmla="*/ 42845 h 127394"/>
                <a:gd name="connsiteX29" fmla="*/ 54412 w 102958"/>
                <a:gd name="connsiteY29" fmla="*/ 54737 h 127394"/>
                <a:gd name="connsiteX30" fmla="*/ 83084 w 102958"/>
                <a:gd name="connsiteY30" fmla="*/ 86016 h 127394"/>
                <a:gd name="connsiteX31" fmla="*/ 72495 w 102958"/>
                <a:gd name="connsiteY31" fmla="*/ 98886 h 127394"/>
                <a:gd name="connsiteX32" fmla="*/ 71680 w 102958"/>
                <a:gd name="connsiteY32" fmla="*/ 106380 h 127394"/>
                <a:gd name="connsiteX33" fmla="*/ 52131 w 102958"/>
                <a:gd name="connsiteY33" fmla="*/ 109312 h 127394"/>
                <a:gd name="connsiteX34" fmla="*/ 33722 w 102958"/>
                <a:gd name="connsiteY34" fmla="*/ 127395 h 127394"/>
                <a:gd name="connsiteX35" fmla="*/ 7820 w 102958"/>
                <a:gd name="connsiteY35" fmla="*/ 119901 h 127394"/>
                <a:gd name="connsiteX36" fmla="*/ 0 w 102958"/>
                <a:gd name="connsiteY36" fmla="*/ 120227 h 127394"/>
                <a:gd name="connsiteX37" fmla="*/ 0 w 102958"/>
                <a:gd name="connsiteY37" fmla="*/ 119249 h 127394"/>
                <a:gd name="connsiteX38" fmla="*/ 2281 w 102958"/>
                <a:gd name="connsiteY38" fmla="*/ 112896 h 127394"/>
                <a:gd name="connsiteX39" fmla="*/ 1955 w 102958"/>
                <a:gd name="connsiteY39" fmla="*/ 110452 h 127394"/>
                <a:gd name="connsiteX40" fmla="*/ 1792 w 102958"/>
                <a:gd name="connsiteY40" fmla="*/ 110778 h 1273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102958" h="127394">
                  <a:moveTo>
                    <a:pt x="1792" y="110778"/>
                  </a:moveTo>
                  <a:lnTo>
                    <a:pt x="1955" y="109964"/>
                  </a:lnTo>
                  <a:lnTo>
                    <a:pt x="1792" y="106705"/>
                  </a:lnTo>
                  <a:lnTo>
                    <a:pt x="4236" y="104099"/>
                  </a:lnTo>
                  <a:lnTo>
                    <a:pt x="4236" y="98234"/>
                  </a:lnTo>
                  <a:lnTo>
                    <a:pt x="6191" y="91881"/>
                  </a:lnTo>
                  <a:lnTo>
                    <a:pt x="6028" y="84387"/>
                  </a:lnTo>
                  <a:lnTo>
                    <a:pt x="7657" y="83409"/>
                  </a:lnTo>
                  <a:lnTo>
                    <a:pt x="7657" y="77871"/>
                  </a:lnTo>
                  <a:lnTo>
                    <a:pt x="8797" y="72006"/>
                  </a:lnTo>
                  <a:lnTo>
                    <a:pt x="8634" y="68096"/>
                  </a:lnTo>
                  <a:lnTo>
                    <a:pt x="10426" y="47569"/>
                  </a:lnTo>
                  <a:lnTo>
                    <a:pt x="10263" y="43660"/>
                  </a:lnTo>
                  <a:lnTo>
                    <a:pt x="10915" y="36817"/>
                  </a:lnTo>
                  <a:lnTo>
                    <a:pt x="11729" y="34374"/>
                  </a:lnTo>
                  <a:lnTo>
                    <a:pt x="11241" y="31279"/>
                  </a:lnTo>
                  <a:lnTo>
                    <a:pt x="11078" y="26717"/>
                  </a:lnTo>
                  <a:lnTo>
                    <a:pt x="13033" y="26880"/>
                  </a:lnTo>
                  <a:lnTo>
                    <a:pt x="14662" y="24273"/>
                  </a:lnTo>
                  <a:lnTo>
                    <a:pt x="17920" y="21504"/>
                  </a:lnTo>
                  <a:lnTo>
                    <a:pt x="20364" y="21667"/>
                  </a:lnTo>
                  <a:lnTo>
                    <a:pt x="28835" y="25414"/>
                  </a:lnTo>
                  <a:lnTo>
                    <a:pt x="34048" y="29487"/>
                  </a:lnTo>
                  <a:lnTo>
                    <a:pt x="35840" y="29487"/>
                  </a:lnTo>
                  <a:lnTo>
                    <a:pt x="39424" y="31604"/>
                  </a:lnTo>
                  <a:lnTo>
                    <a:pt x="89926" y="0"/>
                  </a:lnTo>
                  <a:lnTo>
                    <a:pt x="102959" y="33396"/>
                  </a:lnTo>
                  <a:lnTo>
                    <a:pt x="101655" y="33233"/>
                  </a:lnTo>
                  <a:lnTo>
                    <a:pt x="92370" y="42845"/>
                  </a:lnTo>
                  <a:lnTo>
                    <a:pt x="54412" y="54737"/>
                  </a:lnTo>
                  <a:lnTo>
                    <a:pt x="83084" y="86016"/>
                  </a:lnTo>
                  <a:lnTo>
                    <a:pt x="72495" y="98886"/>
                  </a:lnTo>
                  <a:lnTo>
                    <a:pt x="71680" y="106380"/>
                  </a:lnTo>
                  <a:lnTo>
                    <a:pt x="52131" y="109312"/>
                  </a:lnTo>
                  <a:lnTo>
                    <a:pt x="33722" y="127395"/>
                  </a:lnTo>
                  <a:lnTo>
                    <a:pt x="7820" y="119901"/>
                  </a:lnTo>
                  <a:lnTo>
                    <a:pt x="0" y="120227"/>
                  </a:lnTo>
                  <a:lnTo>
                    <a:pt x="0" y="119249"/>
                  </a:lnTo>
                  <a:lnTo>
                    <a:pt x="2281" y="112896"/>
                  </a:lnTo>
                  <a:lnTo>
                    <a:pt x="1955" y="110452"/>
                  </a:lnTo>
                  <a:lnTo>
                    <a:pt x="1792" y="110778"/>
                  </a:lnTo>
                  <a:close/>
                </a:path>
              </a:pathLst>
            </a:custGeom>
            <a:solidFill>
              <a:schemeClr val="bg2"/>
            </a:solidFill>
            <a:ln w="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34" name="Forma livre: Forma 233">
              <a:extLst>
                <a:ext uri="{FF2B5EF4-FFF2-40B4-BE49-F238E27FC236}">
                  <a16:creationId xmlns:a16="http://schemas.microsoft.com/office/drawing/2014/main" id="{6B5C3664-2D17-9342-1A4C-8325E5826D79}"/>
                </a:ext>
              </a:extLst>
            </p:cNvPr>
            <p:cNvSpPr/>
            <p:nvPr/>
          </p:nvSpPr>
          <p:spPr>
            <a:xfrm>
              <a:off x="6883343" y="4069493"/>
              <a:ext cx="549832" cy="463468"/>
            </a:xfrm>
            <a:custGeom>
              <a:avLst/>
              <a:gdLst>
                <a:gd name="connsiteX0" fmla="*/ 340317 w 532061"/>
                <a:gd name="connsiteY0" fmla="*/ 96116 h 448488"/>
                <a:gd name="connsiteX1" fmla="*/ 324841 w 532061"/>
                <a:gd name="connsiteY1" fmla="*/ 103447 h 448488"/>
                <a:gd name="connsiteX2" fmla="*/ 323375 w 532061"/>
                <a:gd name="connsiteY2" fmla="*/ 93999 h 448488"/>
                <a:gd name="connsiteX3" fmla="*/ 299916 w 532061"/>
                <a:gd name="connsiteY3" fmla="*/ 86831 h 448488"/>
                <a:gd name="connsiteX4" fmla="*/ 248274 w 532061"/>
                <a:gd name="connsiteY4" fmla="*/ 86016 h 448488"/>
                <a:gd name="connsiteX5" fmla="*/ 128698 w 532061"/>
                <a:gd name="connsiteY5" fmla="*/ 2932 h 448488"/>
                <a:gd name="connsiteX6" fmla="*/ 104750 w 532061"/>
                <a:gd name="connsiteY6" fmla="*/ 0 h 448488"/>
                <a:gd name="connsiteX7" fmla="*/ 95465 w 532061"/>
                <a:gd name="connsiteY7" fmla="*/ 9612 h 448488"/>
                <a:gd name="connsiteX8" fmla="*/ 57507 w 532061"/>
                <a:gd name="connsiteY8" fmla="*/ 21504 h 448488"/>
                <a:gd name="connsiteX9" fmla="*/ 86179 w 532061"/>
                <a:gd name="connsiteY9" fmla="*/ 52783 h 448488"/>
                <a:gd name="connsiteX10" fmla="*/ 75590 w 532061"/>
                <a:gd name="connsiteY10" fmla="*/ 65652 h 448488"/>
                <a:gd name="connsiteX11" fmla="*/ 74775 w 532061"/>
                <a:gd name="connsiteY11" fmla="*/ 73146 h 448488"/>
                <a:gd name="connsiteX12" fmla="*/ 55226 w 532061"/>
                <a:gd name="connsiteY12" fmla="*/ 76079 h 448488"/>
                <a:gd name="connsiteX13" fmla="*/ 36818 w 532061"/>
                <a:gd name="connsiteY13" fmla="*/ 94161 h 448488"/>
                <a:gd name="connsiteX14" fmla="*/ 10915 w 532061"/>
                <a:gd name="connsiteY14" fmla="*/ 86668 h 448488"/>
                <a:gd name="connsiteX15" fmla="*/ 3095 w 532061"/>
                <a:gd name="connsiteY15" fmla="*/ 86993 h 448488"/>
                <a:gd name="connsiteX16" fmla="*/ 2281 w 532061"/>
                <a:gd name="connsiteY16" fmla="*/ 96442 h 448488"/>
                <a:gd name="connsiteX17" fmla="*/ 2770 w 532061"/>
                <a:gd name="connsiteY17" fmla="*/ 107357 h 448488"/>
                <a:gd name="connsiteX18" fmla="*/ 0 w 532061"/>
                <a:gd name="connsiteY18" fmla="*/ 114688 h 448488"/>
                <a:gd name="connsiteX19" fmla="*/ 652 w 532061"/>
                <a:gd name="connsiteY19" fmla="*/ 117458 h 448488"/>
                <a:gd name="connsiteX20" fmla="*/ 4236 w 532061"/>
                <a:gd name="connsiteY20" fmla="*/ 115991 h 448488"/>
                <a:gd name="connsiteX21" fmla="*/ 5376 w 532061"/>
                <a:gd name="connsiteY21" fmla="*/ 117946 h 448488"/>
                <a:gd name="connsiteX22" fmla="*/ 8634 w 532061"/>
                <a:gd name="connsiteY22" fmla="*/ 115666 h 448488"/>
                <a:gd name="connsiteX23" fmla="*/ 14499 w 532061"/>
                <a:gd name="connsiteY23" fmla="*/ 118924 h 448488"/>
                <a:gd name="connsiteX24" fmla="*/ 13033 w 532061"/>
                <a:gd name="connsiteY24" fmla="*/ 119901 h 448488"/>
                <a:gd name="connsiteX25" fmla="*/ 24274 w 532061"/>
                <a:gd name="connsiteY25" fmla="*/ 132445 h 448488"/>
                <a:gd name="connsiteX26" fmla="*/ 25414 w 532061"/>
                <a:gd name="connsiteY26" fmla="*/ 137821 h 448488"/>
                <a:gd name="connsiteX27" fmla="*/ 27858 w 532061"/>
                <a:gd name="connsiteY27" fmla="*/ 138961 h 448488"/>
                <a:gd name="connsiteX28" fmla="*/ 28835 w 532061"/>
                <a:gd name="connsiteY28" fmla="*/ 144338 h 448488"/>
                <a:gd name="connsiteX29" fmla="*/ 34374 w 532061"/>
                <a:gd name="connsiteY29" fmla="*/ 149225 h 448488"/>
                <a:gd name="connsiteX30" fmla="*/ 37143 w 532061"/>
                <a:gd name="connsiteY30" fmla="*/ 149550 h 448488"/>
                <a:gd name="connsiteX31" fmla="*/ 44474 w 532061"/>
                <a:gd name="connsiteY31" fmla="*/ 162095 h 448488"/>
                <a:gd name="connsiteX32" fmla="*/ 44637 w 532061"/>
                <a:gd name="connsiteY32" fmla="*/ 166167 h 448488"/>
                <a:gd name="connsiteX33" fmla="*/ 46592 w 532061"/>
                <a:gd name="connsiteY33" fmla="*/ 170566 h 448488"/>
                <a:gd name="connsiteX34" fmla="*/ 50665 w 532061"/>
                <a:gd name="connsiteY34" fmla="*/ 171380 h 448488"/>
                <a:gd name="connsiteX35" fmla="*/ 51805 w 532061"/>
                <a:gd name="connsiteY35" fmla="*/ 177734 h 448488"/>
                <a:gd name="connsiteX36" fmla="*/ 54412 w 532061"/>
                <a:gd name="connsiteY36" fmla="*/ 181155 h 448488"/>
                <a:gd name="connsiteX37" fmla="*/ 60114 w 532061"/>
                <a:gd name="connsiteY37" fmla="*/ 183762 h 448488"/>
                <a:gd name="connsiteX38" fmla="*/ 64838 w 532061"/>
                <a:gd name="connsiteY38" fmla="*/ 195980 h 448488"/>
                <a:gd name="connsiteX39" fmla="*/ 68422 w 532061"/>
                <a:gd name="connsiteY39" fmla="*/ 198423 h 448488"/>
                <a:gd name="connsiteX40" fmla="*/ 70051 w 532061"/>
                <a:gd name="connsiteY40" fmla="*/ 206080 h 448488"/>
                <a:gd name="connsiteX41" fmla="*/ 68422 w 532061"/>
                <a:gd name="connsiteY41" fmla="*/ 209501 h 448488"/>
                <a:gd name="connsiteX42" fmla="*/ 68422 w 532061"/>
                <a:gd name="connsiteY42" fmla="*/ 213085 h 448488"/>
                <a:gd name="connsiteX43" fmla="*/ 73961 w 532061"/>
                <a:gd name="connsiteY43" fmla="*/ 216995 h 448488"/>
                <a:gd name="connsiteX44" fmla="*/ 74124 w 532061"/>
                <a:gd name="connsiteY44" fmla="*/ 221231 h 448488"/>
                <a:gd name="connsiteX45" fmla="*/ 77545 w 532061"/>
                <a:gd name="connsiteY45" fmla="*/ 223349 h 448488"/>
                <a:gd name="connsiteX46" fmla="*/ 81455 w 532061"/>
                <a:gd name="connsiteY46" fmla="*/ 219439 h 448488"/>
                <a:gd name="connsiteX47" fmla="*/ 86831 w 532061"/>
                <a:gd name="connsiteY47" fmla="*/ 224000 h 448488"/>
                <a:gd name="connsiteX48" fmla="*/ 94976 w 532061"/>
                <a:gd name="connsiteY48" fmla="*/ 227584 h 448488"/>
                <a:gd name="connsiteX49" fmla="*/ 101330 w 532061"/>
                <a:gd name="connsiteY49" fmla="*/ 234263 h 448488"/>
                <a:gd name="connsiteX50" fmla="*/ 103284 w 532061"/>
                <a:gd name="connsiteY50" fmla="*/ 239802 h 448488"/>
                <a:gd name="connsiteX51" fmla="*/ 105240 w 532061"/>
                <a:gd name="connsiteY51" fmla="*/ 240128 h 448488"/>
                <a:gd name="connsiteX52" fmla="*/ 106054 w 532061"/>
                <a:gd name="connsiteY52" fmla="*/ 246644 h 448488"/>
                <a:gd name="connsiteX53" fmla="*/ 108498 w 532061"/>
                <a:gd name="connsiteY53" fmla="*/ 248762 h 448488"/>
                <a:gd name="connsiteX54" fmla="*/ 110615 w 532061"/>
                <a:gd name="connsiteY54" fmla="*/ 257397 h 448488"/>
                <a:gd name="connsiteX55" fmla="*/ 115666 w 532061"/>
                <a:gd name="connsiteY55" fmla="*/ 261795 h 448488"/>
                <a:gd name="connsiteX56" fmla="*/ 117295 w 532061"/>
                <a:gd name="connsiteY56" fmla="*/ 270755 h 448488"/>
                <a:gd name="connsiteX57" fmla="*/ 118761 w 532061"/>
                <a:gd name="connsiteY57" fmla="*/ 273524 h 448488"/>
                <a:gd name="connsiteX58" fmla="*/ 116806 w 532061"/>
                <a:gd name="connsiteY58" fmla="*/ 281996 h 448488"/>
                <a:gd name="connsiteX59" fmla="*/ 115014 w 532061"/>
                <a:gd name="connsiteY59" fmla="*/ 283788 h 448488"/>
                <a:gd name="connsiteX60" fmla="*/ 116806 w 532061"/>
                <a:gd name="connsiteY60" fmla="*/ 287698 h 448488"/>
                <a:gd name="connsiteX61" fmla="*/ 119413 w 532061"/>
                <a:gd name="connsiteY61" fmla="*/ 296983 h 448488"/>
                <a:gd name="connsiteX62" fmla="*/ 120390 w 532061"/>
                <a:gd name="connsiteY62" fmla="*/ 306758 h 448488"/>
                <a:gd name="connsiteX63" fmla="*/ 125114 w 532061"/>
                <a:gd name="connsiteY63" fmla="*/ 310831 h 448488"/>
                <a:gd name="connsiteX64" fmla="*/ 125766 w 532061"/>
                <a:gd name="connsiteY64" fmla="*/ 314415 h 448488"/>
                <a:gd name="connsiteX65" fmla="*/ 138799 w 532061"/>
                <a:gd name="connsiteY65" fmla="*/ 328262 h 448488"/>
                <a:gd name="connsiteX66" fmla="*/ 143197 w 532061"/>
                <a:gd name="connsiteY66" fmla="*/ 330054 h 448488"/>
                <a:gd name="connsiteX67" fmla="*/ 148411 w 532061"/>
                <a:gd name="connsiteY67" fmla="*/ 330543 h 448488"/>
                <a:gd name="connsiteX68" fmla="*/ 151831 w 532061"/>
                <a:gd name="connsiteY68" fmla="*/ 335593 h 448488"/>
                <a:gd name="connsiteX69" fmla="*/ 154275 w 532061"/>
                <a:gd name="connsiteY69" fmla="*/ 335593 h 448488"/>
                <a:gd name="connsiteX70" fmla="*/ 161932 w 532061"/>
                <a:gd name="connsiteY70" fmla="*/ 341946 h 448488"/>
                <a:gd name="connsiteX71" fmla="*/ 162095 w 532061"/>
                <a:gd name="connsiteY71" fmla="*/ 345856 h 448488"/>
                <a:gd name="connsiteX72" fmla="*/ 168448 w 532061"/>
                <a:gd name="connsiteY72" fmla="*/ 346997 h 448488"/>
                <a:gd name="connsiteX73" fmla="*/ 167634 w 532061"/>
                <a:gd name="connsiteY73" fmla="*/ 350581 h 448488"/>
                <a:gd name="connsiteX74" fmla="*/ 171055 w 532061"/>
                <a:gd name="connsiteY74" fmla="*/ 352047 h 448488"/>
                <a:gd name="connsiteX75" fmla="*/ 176920 w 532061"/>
                <a:gd name="connsiteY75" fmla="*/ 374040 h 448488"/>
                <a:gd name="connsiteX76" fmla="*/ 182458 w 532061"/>
                <a:gd name="connsiteY76" fmla="*/ 377298 h 448488"/>
                <a:gd name="connsiteX77" fmla="*/ 182784 w 532061"/>
                <a:gd name="connsiteY77" fmla="*/ 383977 h 448488"/>
                <a:gd name="connsiteX78" fmla="*/ 202170 w 532061"/>
                <a:gd name="connsiteY78" fmla="*/ 403363 h 448488"/>
                <a:gd name="connsiteX79" fmla="*/ 205103 w 532061"/>
                <a:gd name="connsiteY79" fmla="*/ 403363 h 448488"/>
                <a:gd name="connsiteX80" fmla="*/ 206732 w 532061"/>
                <a:gd name="connsiteY80" fmla="*/ 414441 h 448488"/>
                <a:gd name="connsiteX81" fmla="*/ 214877 w 532061"/>
                <a:gd name="connsiteY81" fmla="*/ 416722 h 448488"/>
                <a:gd name="connsiteX82" fmla="*/ 219439 w 532061"/>
                <a:gd name="connsiteY82" fmla="*/ 429917 h 448488"/>
                <a:gd name="connsiteX83" fmla="*/ 224000 w 532061"/>
                <a:gd name="connsiteY83" fmla="*/ 430243 h 448488"/>
                <a:gd name="connsiteX84" fmla="*/ 227910 w 532061"/>
                <a:gd name="connsiteY84" fmla="*/ 432035 h 448488"/>
                <a:gd name="connsiteX85" fmla="*/ 230679 w 532061"/>
                <a:gd name="connsiteY85" fmla="*/ 426822 h 448488"/>
                <a:gd name="connsiteX86" fmla="*/ 237522 w 532061"/>
                <a:gd name="connsiteY86" fmla="*/ 422423 h 448488"/>
                <a:gd name="connsiteX87" fmla="*/ 232797 w 532061"/>
                <a:gd name="connsiteY87" fmla="*/ 413789 h 448488"/>
                <a:gd name="connsiteX88" fmla="*/ 236218 w 532061"/>
                <a:gd name="connsiteY88" fmla="*/ 401571 h 448488"/>
                <a:gd name="connsiteX89" fmla="*/ 242898 w 532061"/>
                <a:gd name="connsiteY89" fmla="*/ 398639 h 448488"/>
                <a:gd name="connsiteX90" fmla="*/ 250717 w 532061"/>
                <a:gd name="connsiteY90" fmla="*/ 404829 h 448488"/>
                <a:gd name="connsiteX91" fmla="*/ 266682 w 532061"/>
                <a:gd name="connsiteY91" fmla="*/ 405481 h 448488"/>
                <a:gd name="connsiteX92" fmla="*/ 288675 w 532061"/>
                <a:gd name="connsiteY92" fmla="*/ 414278 h 448488"/>
                <a:gd name="connsiteX93" fmla="*/ 311482 w 532061"/>
                <a:gd name="connsiteY93" fmla="*/ 425356 h 448488"/>
                <a:gd name="connsiteX94" fmla="*/ 312623 w 532061"/>
                <a:gd name="connsiteY94" fmla="*/ 448489 h 448488"/>
                <a:gd name="connsiteX95" fmla="*/ 359052 w 532061"/>
                <a:gd name="connsiteY95" fmla="*/ 385769 h 448488"/>
                <a:gd name="connsiteX96" fmla="*/ 528314 w 532061"/>
                <a:gd name="connsiteY96" fmla="*/ 335104 h 448488"/>
                <a:gd name="connsiteX97" fmla="*/ 532061 w 532061"/>
                <a:gd name="connsiteY97" fmla="*/ 279389 h 448488"/>
                <a:gd name="connsiteX98" fmla="*/ 526197 w 532061"/>
                <a:gd name="connsiteY98" fmla="*/ 258700 h 448488"/>
                <a:gd name="connsiteX99" fmla="*/ 526197 w 532061"/>
                <a:gd name="connsiteY99" fmla="*/ 258374 h 448488"/>
                <a:gd name="connsiteX100" fmla="*/ 517725 w 532061"/>
                <a:gd name="connsiteY100" fmla="*/ 266519 h 448488"/>
                <a:gd name="connsiteX101" fmla="*/ 442787 w 532061"/>
                <a:gd name="connsiteY101" fmla="*/ 255116 h 448488"/>
                <a:gd name="connsiteX102" fmla="*/ 437248 w 532061"/>
                <a:gd name="connsiteY102" fmla="*/ 235078 h 448488"/>
                <a:gd name="connsiteX103" fmla="*/ 431058 w 532061"/>
                <a:gd name="connsiteY103" fmla="*/ 227747 h 448488"/>
                <a:gd name="connsiteX104" fmla="*/ 431221 w 532061"/>
                <a:gd name="connsiteY104" fmla="*/ 218950 h 448488"/>
                <a:gd name="connsiteX105" fmla="*/ 431058 w 532061"/>
                <a:gd name="connsiteY105" fmla="*/ 218950 h 448488"/>
                <a:gd name="connsiteX106" fmla="*/ 429754 w 532061"/>
                <a:gd name="connsiteY106" fmla="*/ 219439 h 448488"/>
                <a:gd name="connsiteX107" fmla="*/ 427474 w 532061"/>
                <a:gd name="connsiteY107" fmla="*/ 215366 h 448488"/>
                <a:gd name="connsiteX108" fmla="*/ 427637 w 532061"/>
                <a:gd name="connsiteY108" fmla="*/ 212922 h 448488"/>
                <a:gd name="connsiteX109" fmla="*/ 429918 w 532061"/>
                <a:gd name="connsiteY109" fmla="*/ 209990 h 448488"/>
                <a:gd name="connsiteX110" fmla="*/ 425682 w 532061"/>
                <a:gd name="connsiteY110" fmla="*/ 210479 h 448488"/>
                <a:gd name="connsiteX111" fmla="*/ 425030 w 532061"/>
                <a:gd name="connsiteY111" fmla="*/ 209175 h 448488"/>
                <a:gd name="connsiteX112" fmla="*/ 420795 w 532061"/>
                <a:gd name="connsiteY112" fmla="*/ 209175 h 448488"/>
                <a:gd name="connsiteX113" fmla="*/ 412486 w 532061"/>
                <a:gd name="connsiteY113" fmla="*/ 204777 h 448488"/>
                <a:gd name="connsiteX114" fmla="*/ 411509 w 532061"/>
                <a:gd name="connsiteY114" fmla="*/ 202333 h 448488"/>
                <a:gd name="connsiteX115" fmla="*/ 410043 w 532061"/>
                <a:gd name="connsiteY115" fmla="*/ 203311 h 448488"/>
                <a:gd name="connsiteX116" fmla="*/ 405807 w 532061"/>
                <a:gd name="connsiteY116" fmla="*/ 197283 h 448488"/>
                <a:gd name="connsiteX117" fmla="*/ 404666 w 532061"/>
                <a:gd name="connsiteY117" fmla="*/ 190604 h 448488"/>
                <a:gd name="connsiteX118" fmla="*/ 391634 w 532061"/>
                <a:gd name="connsiteY118" fmla="*/ 174476 h 448488"/>
                <a:gd name="connsiteX119" fmla="*/ 388375 w 532061"/>
                <a:gd name="connsiteY119" fmla="*/ 168285 h 448488"/>
                <a:gd name="connsiteX120" fmla="*/ 391308 w 532061"/>
                <a:gd name="connsiteY120" fmla="*/ 169100 h 448488"/>
                <a:gd name="connsiteX121" fmla="*/ 391308 w 532061"/>
                <a:gd name="connsiteY121" fmla="*/ 166167 h 448488"/>
                <a:gd name="connsiteX122" fmla="*/ 386584 w 532061"/>
                <a:gd name="connsiteY122" fmla="*/ 153786 h 448488"/>
                <a:gd name="connsiteX123" fmla="*/ 386584 w 532061"/>
                <a:gd name="connsiteY123" fmla="*/ 150854 h 448488"/>
                <a:gd name="connsiteX124" fmla="*/ 383325 w 532061"/>
                <a:gd name="connsiteY124" fmla="*/ 145804 h 448488"/>
                <a:gd name="connsiteX125" fmla="*/ 381045 w 532061"/>
                <a:gd name="connsiteY125" fmla="*/ 145804 h 448488"/>
                <a:gd name="connsiteX126" fmla="*/ 372736 w 532061"/>
                <a:gd name="connsiteY126" fmla="*/ 133749 h 448488"/>
                <a:gd name="connsiteX127" fmla="*/ 369641 w 532061"/>
                <a:gd name="connsiteY127" fmla="*/ 133585 h 448488"/>
                <a:gd name="connsiteX128" fmla="*/ 365894 w 532061"/>
                <a:gd name="connsiteY128" fmla="*/ 129513 h 448488"/>
                <a:gd name="connsiteX129" fmla="*/ 366383 w 532061"/>
                <a:gd name="connsiteY129" fmla="*/ 127884 h 448488"/>
                <a:gd name="connsiteX130" fmla="*/ 367849 w 532061"/>
                <a:gd name="connsiteY130" fmla="*/ 127395 h 448488"/>
                <a:gd name="connsiteX131" fmla="*/ 369967 w 532061"/>
                <a:gd name="connsiteY131" fmla="*/ 128861 h 448488"/>
                <a:gd name="connsiteX132" fmla="*/ 367849 w 532061"/>
                <a:gd name="connsiteY132" fmla="*/ 125766 h 448488"/>
                <a:gd name="connsiteX133" fmla="*/ 363613 w 532061"/>
                <a:gd name="connsiteY133" fmla="*/ 124951 h 448488"/>
                <a:gd name="connsiteX134" fmla="*/ 354979 w 532061"/>
                <a:gd name="connsiteY134" fmla="*/ 122833 h 448488"/>
                <a:gd name="connsiteX135" fmla="*/ 350092 w 532061"/>
                <a:gd name="connsiteY135" fmla="*/ 109801 h 448488"/>
                <a:gd name="connsiteX136" fmla="*/ 347322 w 532061"/>
                <a:gd name="connsiteY136" fmla="*/ 103610 h 448488"/>
                <a:gd name="connsiteX137" fmla="*/ 344064 w 532061"/>
                <a:gd name="connsiteY137" fmla="*/ 101981 h 448488"/>
                <a:gd name="connsiteX138" fmla="*/ 344064 w 532061"/>
                <a:gd name="connsiteY138" fmla="*/ 97583 h 448488"/>
                <a:gd name="connsiteX139" fmla="*/ 342272 w 532061"/>
                <a:gd name="connsiteY139" fmla="*/ 98560 h 448488"/>
                <a:gd name="connsiteX140" fmla="*/ 340317 w 532061"/>
                <a:gd name="connsiteY140" fmla="*/ 96116 h 4484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</a:cxnLst>
              <a:rect l="l" t="t" r="r" b="b"/>
              <a:pathLst>
                <a:path w="532061" h="448488">
                  <a:moveTo>
                    <a:pt x="340317" y="96116"/>
                  </a:moveTo>
                  <a:lnTo>
                    <a:pt x="324841" y="103447"/>
                  </a:lnTo>
                  <a:lnTo>
                    <a:pt x="323375" y="93999"/>
                  </a:lnTo>
                  <a:lnTo>
                    <a:pt x="299916" y="86831"/>
                  </a:lnTo>
                  <a:lnTo>
                    <a:pt x="248274" y="86016"/>
                  </a:lnTo>
                  <a:lnTo>
                    <a:pt x="128698" y="2932"/>
                  </a:lnTo>
                  <a:lnTo>
                    <a:pt x="104750" y="0"/>
                  </a:lnTo>
                  <a:lnTo>
                    <a:pt x="95465" y="9612"/>
                  </a:lnTo>
                  <a:lnTo>
                    <a:pt x="57507" y="21504"/>
                  </a:lnTo>
                  <a:lnTo>
                    <a:pt x="86179" y="52783"/>
                  </a:lnTo>
                  <a:lnTo>
                    <a:pt x="75590" y="65652"/>
                  </a:lnTo>
                  <a:lnTo>
                    <a:pt x="74775" y="73146"/>
                  </a:lnTo>
                  <a:lnTo>
                    <a:pt x="55226" y="76079"/>
                  </a:lnTo>
                  <a:lnTo>
                    <a:pt x="36818" y="94161"/>
                  </a:lnTo>
                  <a:lnTo>
                    <a:pt x="10915" y="86668"/>
                  </a:lnTo>
                  <a:lnTo>
                    <a:pt x="3095" y="86993"/>
                  </a:lnTo>
                  <a:lnTo>
                    <a:pt x="2281" y="96442"/>
                  </a:lnTo>
                  <a:lnTo>
                    <a:pt x="2770" y="107357"/>
                  </a:lnTo>
                  <a:lnTo>
                    <a:pt x="0" y="114688"/>
                  </a:lnTo>
                  <a:lnTo>
                    <a:pt x="652" y="117458"/>
                  </a:lnTo>
                  <a:lnTo>
                    <a:pt x="4236" y="115991"/>
                  </a:lnTo>
                  <a:lnTo>
                    <a:pt x="5376" y="117946"/>
                  </a:lnTo>
                  <a:lnTo>
                    <a:pt x="8634" y="115666"/>
                  </a:lnTo>
                  <a:lnTo>
                    <a:pt x="14499" y="118924"/>
                  </a:lnTo>
                  <a:lnTo>
                    <a:pt x="13033" y="119901"/>
                  </a:lnTo>
                  <a:lnTo>
                    <a:pt x="24274" y="132445"/>
                  </a:lnTo>
                  <a:lnTo>
                    <a:pt x="25414" y="137821"/>
                  </a:lnTo>
                  <a:lnTo>
                    <a:pt x="27858" y="138961"/>
                  </a:lnTo>
                  <a:lnTo>
                    <a:pt x="28835" y="144338"/>
                  </a:lnTo>
                  <a:lnTo>
                    <a:pt x="34374" y="149225"/>
                  </a:lnTo>
                  <a:lnTo>
                    <a:pt x="37143" y="149550"/>
                  </a:lnTo>
                  <a:lnTo>
                    <a:pt x="44474" y="162095"/>
                  </a:lnTo>
                  <a:lnTo>
                    <a:pt x="44637" y="166167"/>
                  </a:lnTo>
                  <a:lnTo>
                    <a:pt x="46592" y="170566"/>
                  </a:lnTo>
                  <a:lnTo>
                    <a:pt x="50665" y="171380"/>
                  </a:lnTo>
                  <a:lnTo>
                    <a:pt x="51805" y="177734"/>
                  </a:lnTo>
                  <a:lnTo>
                    <a:pt x="54412" y="181155"/>
                  </a:lnTo>
                  <a:lnTo>
                    <a:pt x="60114" y="183762"/>
                  </a:lnTo>
                  <a:lnTo>
                    <a:pt x="64838" y="195980"/>
                  </a:lnTo>
                  <a:lnTo>
                    <a:pt x="68422" y="198423"/>
                  </a:lnTo>
                  <a:lnTo>
                    <a:pt x="70051" y="206080"/>
                  </a:lnTo>
                  <a:lnTo>
                    <a:pt x="68422" y="209501"/>
                  </a:lnTo>
                  <a:lnTo>
                    <a:pt x="68422" y="213085"/>
                  </a:lnTo>
                  <a:lnTo>
                    <a:pt x="73961" y="216995"/>
                  </a:lnTo>
                  <a:lnTo>
                    <a:pt x="74124" y="221231"/>
                  </a:lnTo>
                  <a:lnTo>
                    <a:pt x="77545" y="223349"/>
                  </a:lnTo>
                  <a:lnTo>
                    <a:pt x="81455" y="219439"/>
                  </a:lnTo>
                  <a:lnTo>
                    <a:pt x="86831" y="224000"/>
                  </a:lnTo>
                  <a:lnTo>
                    <a:pt x="94976" y="227584"/>
                  </a:lnTo>
                  <a:lnTo>
                    <a:pt x="101330" y="234263"/>
                  </a:lnTo>
                  <a:lnTo>
                    <a:pt x="103284" y="239802"/>
                  </a:lnTo>
                  <a:lnTo>
                    <a:pt x="105240" y="240128"/>
                  </a:lnTo>
                  <a:lnTo>
                    <a:pt x="106054" y="246644"/>
                  </a:lnTo>
                  <a:lnTo>
                    <a:pt x="108498" y="248762"/>
                  </a:lnTo>
                  <a:lnTo>
                    <a:pt x="110615" y="257397"/>
                  </a:lnTo>
                  <a:lnTo>
                    <a:pt x="115666" y="261795"/>
                  </a:lnTo>
                  <a:lnTo>
                    <a:pt x="117295" y="270755"/>
                  </a:lnTo>
                  <a:lnTo>
                    <a:pt x="118761" y="273524"/>
                  </a:lnTo>
                  <a:lnTo>
                    <a:pt x="116806" y="281996"/>
                  </a:lnTo>
                  <a:lnTo>
                    <a:pt x="115014" y="283788"/>
                  </a:lnTo>
                  <a:lnTo>
                    <a:pt x="116806" y="287698"/>
                  </a:lnTo>
                  <a:lnTo>
                    <a:pt x="119413" y="296983"/>
                  </a:lnTo>
                  <a:lnTo>
                    <a:pt x="120390" y="306758"/>
                  </a:lnTo>
                  <a:lnTo>
                    <a:pt x="125114" y="310831"/>
                  </a:lnTo>
                  <a:lnTo>
                    <a:pt x="125766" y="314415"/>
                  </a:lnTo>
                  <a:lnTo>
                    <a:pt x="138799" y="328262"/>
                  </a:lnTo>
                  <a:lnTo>
                    <a:pt x="143197" y="330054"/>
                  </a:lnTo>
                  <a:lnTo>
                    <a:pt x="148411" y="330543"/>
                  </a:lnTo>
                  <a:lnTo>
                    <a:pt x="151831" y="335593"/>
                  </a:lnTo>
                  <a:lnTo>
                    <a:pt x="154275" y="335593"/>
                  </a:lnTo>
                  <a:lnTo>
                    <a:pt x="161932" y="341946"/>
                  </a:lnTo>
                  <a:lnTo>
                    <a:pt x="162095" y="345856"/>
                  </a:lnTo>
                  <a:lnTo>
                    <a:pt x="168448" y="346997"/>
                  </a:lnTo>
                  <a:lnTo>
                    <a:pt x="167634" y="350581"/>
                  </a:lnTo>
                  <a:lnTo>
                    <a:pt x="171055" y="352047"/>
                  </a:lnTo>
                  <a:lnTo>
                    <a:pt x="176920" y="374040"/>
                  </a:lnTo>
                  <a:lnTo>
                    <a:pt x="182458" y="377298"/>
                  </a:lnTo>
                  <a:lnTo>
                    <a:pt x="182784" y="383977"/>
                  </a:lnTo>
                  <a:lnTo>
                    <a:pt x="202170" y="403363"/>
                  </a:lnTo>
                  <a:lnTo>
                    <a:pt x="205103" y="403363"/>
                  </a:lnTo>
                  <a:lnTo>
                    <a:pt x="206732" y="414441"/>
                  </a:lnTo>
                  <a:lnTo>
                    <a:pt x="214877" y="416722"/>
                  </a:lnTo>
                  <a:lnTo>
                    <a:pt x="219439" y="429917"/>
                  </a:lnTo>
                  <a:lnTo>
                    <a:pt x="224000" y="430243"/>
                  </a:lnTo>
                  <a:lnTo>
                    <a:pt x="227910" y="432035"/>
                  </a:lnTo>
                  <a:lnTo>
                    <a:pt x="230679" y="426822"/>
                  </a:lnTo>
                  <a:lnTo>
                    <a:pt x="237522" y="422423"/>
                  </a:lnTo>
                  <a:lnTo>
                    <a:pt x="232797" y="413789"/>
                  </a:lnTo>
                  <a:lnTo>
                    <a:pt x="236218" y="401571"/>
                  </a:lnTo>
                  <a:lnTo>
                    <a:pt x="242898" y="398639"/>
                  </a:lnTo>
                  <a:lnTo>
                    <a:pt x="250717" y="404829"/>
                  </a:lnTo>
                  <a:lnTo>
                    <a:pt x="266682" y="405481"/>
                  </a:lnTo>
                  <a:lnTo>
                    <a:pt x="288675" y="414278"/>
                  </a:lnTo>
                  <a:lnTo>
                    <a:pt x="311482" y="425356"/>
                  </a:lnTo>
                  <a:lnTo>
                    <a:pt x="312623" y="448489"/>
                  </a:lnTo>
                  <a:lnTo>
                    <a:pt x="359052" y="385769"/>
                  </a:lnTo>
                  <a:lnTo>
                    <a:pt x="528314" y="335104"/>
                  </a:lnTo>
                  <a:lnTo>
                    <a:pt x="532061" y="279389"/>
                  </a:lnTo>
                  <a:lnTo>
                    <a:pt x="526197" y="258700"/>
                  </a:lnTo>
                  <a:lnTo>
                    <a:pt x="526197" y="258374"/>
                  </a:lnTo>
                  <a:lnTo>
                    <a:pt x="517725" y="266519"/>
                  </a:lnTo>
                  <a:lnTo>
                    <a:pt x="442787" y="255116"/>
                  </a:lnTo>
                  <a:lnTo>
                    <a:pt x="437248" y="235078"/>
                  </a:lnTo>
                  <a:lnTo>
                    <a:pt x="431058" y="227747"/>
                  </a:lnTo>
                  <a:lnTo>
                    <a:pt x="431221" y="218950"/>
                  </a:lnTo>
                  <a:lnTo>
                    <a:pt x="431058" y="218950"/>
                  </a:lnTo>
                  <a:lnTo>
                    <a:pt x="429754" y="219439"/>
                  </a:lnTo>
                  <a:lnTo>
                    <a:pt x="427474" y="215366"/>
                  </a:lnTo>
                  <a:lnTo>
                    <a:pt x="427637" y="212922"/>
                  </a:lnTo>
                  <a:lnTo>
                    <a:pt x="429918" y="209990"/>
                  </a:lnTo>
                  <a:lnTo>
                    <a:pt x="425682" y="210479"/>
                  </a:lnTo>
                  <a:lnTo>
                    <a:pt x="425030" y="209175"/>
                  </a:lnTo>
                  <a:lnTo>
                    <a:pt x="420795" y="209175"/>
                  </a:lnTo>
                  <a:lnTo>
                    <a:pt x="412486" y="204777"/>
                  </a:lnTo>
                  <a:lnTo>
                    <a:pt x="411509" y="202333"/>
                  </a:lnTo>
                  <a:lnTo>
                    <a:pt x="410043" y="203311"/>
                  </a:lnTo>
                  <a:lnTo>
                    <a:pt x="405807" y="197283"/>
                  </a:lnTo>
                  <a:lnTo>
                    <a:pt x="404666" y="190604"/>
                  </a:lnTo>
                  <a:lnTo>
                    <a:pt x="391634" y="174476"/>
                  </a:lnTo>
                  <a:lnTo>
                    <a:pt x="388375" y="168285"/>
                  </a:lnTo>
                  <a:lnTo>
                    <a:pt x="391308" y="169100"/>
                  </a:lnTo>
                  <a:lnTo>
                    <a:pt x="391308" y="166167"/>
                  </a:lnTo>
                  <a:lnTo>
                    <a:pt x="386584" y="153786"/>
                  </a:lnTo>
                  <a:lnTo>
                    <a:pt x="386584" y="150854"/>
                  </a:lnTo>
                  <a:lnTo>
                    <a:pt x="383325" y="145804"/>
                  </a:lnTo>
                  <a:lnTo>
                    <a:pt x="381045" y="145804"/>
                  </a:lnTo>
                  <a:lnTo>
                    <a:pt x="372736" y="133749"/>
                  </a:lnTo>
                  <a:lnTo>
                    <a:pt x="369641" y="133585"/>
                  </a:lnTo>
                  <a:lnTo>
                    <a:pt x="365894" y="129513"/>
                  </a:lnTo>
                  <a:lnTo>
                    <a:pt x="366383" y="127884"/>
                  </a:lnTo>
                  <a:lnTo>
                    <a:pt x="367849" y="127395"/>
                  </a:lnTo>
                  <a:lnTo>
                    <a:pt x="369967" y="128861"/>
                  </a:lnTo>
                  <a:lnTo>
                    <a:pt x="367849" y="125766"/>
                  </a:lnTo>
                  <a:lnTo>
                    <a:pt x="363613" y="124951"/>
                  </a:lnTo>
                  <a:lnTo>
                    <a:pt x="354979" y="122833"/>
                  </a:lnTo>
                  <a:lnTo>
                    <a:pt x="350092" y="109801"/>
                  </a:lnTo>
                  <a:lnTo>
                    <a:pt x="347322" y="103610"/>
                  </a:lnTo>
                  <a:lnTo>
                    <a:pt x="344064" y="101981"/>
                  </a:lnTo>
                  <a:lnTo>
                    <a:pt x="344064" y="97583"/>
                  </a:lnTo>
                  <a:lnTo>
                    <a:pt x="342272" y="98560"/>
                  </a:lnTo>
                  <a:lnTo>
                    <a:pt x="340317" y="96116"/>
                  </a:lnTo>
                  <a:close/>
                </a:path>
              </a:pathLst>
            </a:custGeom>
            <a:solidFill>
              <a:schemeClr val="bg2"/>
            </a:solidFill>
            <a:ln w="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35" name="Forma livre: Forma 234">
              <a:extLst>
                <a:ext uri="{FF2B5EF4-FFF2-40B4-BE49-F238E27FC236}">
                  <a16:creationId xmlns:a16="http://schemas.microsoft.com/office/drawing/2014/main" id="{461DB8EB-65F2-833A-3027-C2E6FDB635B4}"/>
                </a:ext>
              </a:extLst>
            </p:cNvPr>
            <p:cNvSpPr/>
            <p:nvPr/>
          </p:nvSpPr>
          <p:spPr>
            <a:xfrm>
              <a:off x="7306914" y="4241042"/>
              <a:ext cx="20538" cy="44612"/>
            </a:xfrm>
            <a:custGeom>
              <a:avLst/>
              <a:gdLst>
                <a:gd name="connsiteX0" fmla="*/ 15150 w 19874"/>
                <a:gd name="connsiteY0" fmla="*/ 43171 h 43170"/>
                <a:gd name="connsiteX1" fmla="*/ 10915 w 19874"/>
                <a:gd name="connsiteY1" fmla="*/ 43171 h 43170"/>
                <a:gd name="connsiteX2" fmla="*/ 2607 w 19874"/>
                <a:gd name="connsiteY2" fmla="*/ 38772 h 43170"/>
                <a:gd name="connsiteX3" fmla="*/ 1629 w 19874"/>
                <a:gd name="connsiteY3" fmla="*/ 36329 h 43170"/>
                <a:gd name="connsiteX4" fmla="*/ 2932 w 19874"/>
                <a:gd name="connsiteY4" fmla="*/ 35514 h 43170"/>
                <a:gd name="connsiteX5" fmla="*/ 2932 w 19874"/>
                <a:gd name="connsiteY5" fmla="*/ 30301 h 43170"/>
                <a:gd name="connsiteX6" fmla="*/ 1140 w 19874"/>
                <a:gd name="connsiteY6" fmla="*/ 28183 h 43170"/>
                <a:gd name="connsiteX7" fmla="*/ 0 w 19874"/>
                <a:gd name="connsiteY7" fmla="*/ 24436 h 43170"/>
                <a:gd name="connsiteX8" fmla="*/ 815 w 19874"/>
                <a:gd name="connsiteY8" fmla="*/ 16780 h 43170"/>
                <a:gd name="connsiteX9" fmla="*/ 2932 w 19874"/>
                <a:gd name="connsiteY9" fmla="*/ 16780 h 43170"/>
                <a:gd name="connsiteX10" fmla="*/ 4236 w 19874"/>
                <a:gd name="connsiteY10" fmla="*/ 17757 h 43170"/>
                <a:gd name="connsiteX11" fmla="*/ 2932 w 19874"/>
                <a:gd name="connsiteY11" fmla="*/ 9937 h 43170"/>
                <a:gd name="connsiteX12" fmla="*/ 4073 w 19874"/>
                <a:gd name="connsiteY12" fmla="*/ 9937 h 43170"/>
                <a:gd name="connsiteX13" fmla="*/ 3095 w 19874"/>
                <a:gd name="connsiteY13" fmla="*/ 5865 h 43170"/>
                <a:gd name="connsiteX14" fmla="*/ 4725 w 19874"/>
                <a:gd name="connsiteY14" fmla="*/ 4561 h 43170"/>
                <a:gd name="connsiteX15" fmla="*/ 4725 w 19874"/>
                <a:gd name="connsiteY15" fmla="*/ 2444 h 43170"/>
                <a:gd name="connsiteX16" fmla="*/ 6679 w 19874"/>
                <a:gd name="connsiteY16" fmla="*/ 2281 h 43170"/>
                <a:gd name="connsiteX17" fmla="*/ 7494 w 19874"/>
                <a:gd name="connsiteY17" fmla="*/ 0 h 43170"/>
                <a:gd name="connsiteX18" fmla="*/ 9449 w 19874"/>
                <a:gd name="connsiteY18" fmla="*/ 0 h 43170"/>
                <a:gd name="connsiteX19" fmla="*/ 13847 w 19874"/>
                <a:gd name="connsiteY19" fmla="*/ 3421 h 43170"/>
                <a:gd name="connsiteX20" fmla="*/ 14336 w 19874"/>
                <a:gd name="connsiteY20" fmla="*/ 6191 h 43170"/>
                <a:gd name="connsiteX21" fmla="*/ 16454 w 19874"/>
                <a:gd name="connsiteY21" fmla="*/ 6191 h 43170"/>
                <a:gd name="connsiteX22" fmla="*/ 17431 w 19874"/>
                <a:gd name="connsiteY22" fmla="*/ 7820 h 43170"/>
                <a:gd name="connsiteX23" fmla="*/ 15639 w 19874"/>
                <a:gd name="connsiteY23" fmla="*/ 16128 h 43170"/>
                <a:gd name="connsiteX24" fmla="*/ 14499 w 19874"/>
                <a:gd name="connsiteY24" fmla="*/ 16128 h 43170"/>
                <a:gd name="connsiteX25" fmla="*/ 15477 w 19874"/>
                <a:gd name="connsiteY25" fmla="*/ 24925 h 43170"/>
                <a:gd name="connsiteX26" fmla="*/ 17106 w 19874"/>
                <a:gd name="connsiteY26" fmla="*/ 24925 h 43170"/>
                <a:gd name="connsiteX27" fmla="*/ 19875 w 19874"/>
                <a:gd name="connsiteY27" fmla="*/ 29975 h 43170"/>
                <a:gd name="connsiteX28" fmla="*/ 17920 w 19874"/>
                <a:gd name="connsiteY28" fmla="*/ 42519 h 43170"/>
                <a:gd name="connsiteX29" fmla="*/ 14988 w 19874"/>
                <a:gd name="connsiteY29" fmla="*/ 43008 h 43170"/>
                <a:gd name="connsiteX30" fmla="*/ 15150 w 19874"/>
                <a:gd name="connsiteY30" fmla="*/ 43171 h 431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19874" h="43170">
                  <a:moveTo>
                    <a:pt x="15150" y="43171"/>
                  </a:moveTo>
                  <a:lnTo>
                    <a:pt x="10915" y="43171"/>
                  </a:lnTo>
                  <a:lnTo>
                    <a:pt x="2607" y="38772"/>
                  </a:lnTo>
                  <a:lnTo>
                    <a:pt x="1629" y="36329"/>
                  </a:lnTo>
                  <a:lnTo>
                    <a:pt x="2932" y="35514"/>
                  </a:lnTo>
                  <a:lnTo>
                    <a:pt x="2932" y="30301"/>
                  </a:lnTo>
                  <a:lnTo>
                    <a:pt x="1140" y="28183"/>
                  </a:lnTo>
                  <a:lnTo>
                    <a:pt x="0" y="24436"/>
                  </a:lnTo>
                  <a:lnTo>
                    <a:pt x="815" y="16780"/>
                  </a:lnTo>
                  <a:lnTo>
                    <a:pt x="2932" y="16780"/>
                  </a:lnTo>
                  <a:lnTo>
                    <a:pt x="4236" y="17757"/>
                  </a:lnTo>
                  <a:lnTo>
                    <a:pt x="2932" y="9937"/>
                  </a:lnTo>
                  <a:lnTo>
                    <a:pt x="4073" y="9937"/>
                  </a:lnTo>
                  <a:lnTo>
                    <a:pt x="3095" y="5865"/>
                  </a:lnTo>
                  <a:lnTo>
                    <a:pt x="4725" y="4561"/>
                  </a:lnTo>
                  <a:lnTo>
                    <a:pt x="4725" y="2444"/>
                  </a:lnTo>
                  <a:lnTo>
                    <a:pt x="6679" y="2281"/>
                  </a:lnTo>
                  <a:lnTo>
                    <a:pt x="7494" y="0"/>
                  </a:lnTo>
                  <a:lnTo>
                    <a:pt x="9449" y="0"/>
                  </a:lnTo>
                  <a:lnTo>
                    <a:pt x="13847" y="3421"/>
                  </a:lnTo>
                  <a:lnTo>
                    <a:pt x="14336" y="6191"/>
                  </a:lnTo>
                  <a:lnTo>
                    <a:pt x="16454" y="6191"/>
                  </a:lnTo>
                  <a:lnTo>
                    <a:pt x="17431" y="7820"/>
                  </a:lnTo>
                  <a:lnTo>
                    <a:pt x="15639" y="16128"/>
                  </a:lnTo>
                  <a:lnTo>
                    <a:pt x="14499" y="16128"/>
                  </a:lnTo>
                  <a:lnTo>
                    <a:pt x="15477" y="24925"/>
                  </a:lnTo>
                  <a:lnTo>
                    <a:pt x="17106" y="24925"/>
                  </a:lnTo>
                  <a:lnTo>
                    <a:pt x="19875" y="29975"/>
                  </a:lnTo>
                  <a:lnTo>
                    <a:pt x="17920" y="42519"/>
                  </a:lnTo>
                  <a:lnTo>
                    <a:pt x="14988" y="43008"/>
                  </a:lnTo>
                  <a:lnTo>
                    <a:pt x="15150" y="43171"/>
                  </a:lnTo>
                  <a:close/>
                </a:path>
              </a:pathLst>
            </a:custGeom>
            <a:solidFill>
              <a:schemeClr val="bg2"/>
            </a:solidFill>
            <a:ln w="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36" name="Forma livre: Forma 235">
              <a:extLst>
                <a:ext uri="{FF2B5EF4-FFF2-40B4-BE49-F238E27FC236}">
                  <a16:creationId xmlns:a16="http://schemas.microsoft.com/office/drawing/2014/main" id="{38D8D468-89F4-7252-6D37-15D258A6D249}"/>
                </a:ext>
              </a:extLst>
            </p:cNvPr>
            <p:cNvSpPr/>
            <p:nvPr/>
          </p:nvSpPr>
          <p:spPr>
            <a:xfrm>
              <a:off x="7328799" y="4244409"/>
              <a:ext cx="125925" cy="100504"/>
            </a:xfrm>
            <a:custGeom>
              <a:avLst/>
              <a:gdLst>
                <a:gd name="connsiteX0" fmla="*/ 163 w 121855"/>
                <a:gd name="connsiteY0" fmla="*/ 49687 h 97256"/>
                <a:gd name="connsiteX1" fmla="*/ 0 w 121855"/>
                <a:gd name="connsiteY1" fmla="*/ 58484 h 97256"/>
                <a:gd name="connsiteX2" fmla="*/ 6190 w 121855"/>
                <a:gd name="connsiteY2" fmla="*/ 65815 h 97256"/>
                <a:gd name="connsiteX3" fmla="*/ 11729 w 121855"/>
                <a:gd name="connsiteY3" fmla="*/ 85853 h 97256"/>
                <a:gd name="connsiteX4" fmla="*/ 86667 w 121855"/>
                <a:gd name="connsiteY4" fmla="*/ 97257 h 97256"/>
                <a:gd name="connsiteX5" fmla="*/ 95139 w 121855"/>
                <a:gd name="connsiteY5" fmla="*/ 89111 h 97256"/>
                <a:gd name="connsiteX6" fmla="*/ 116969 w 121855"/>
                <a:gd name="connsiteY6" fmla="*/ 21993 h 97256"/>
                <a:gd name="connsiteX7" fmla="*/ 121856 w 121855"/>
                <a:gd name="connsiteY7" fmla="*/ 21178 h 97256"/>
                <a:gd name="connsiteX8" fmla="*/ 121367 w 121855"/>
                <a:gd name="connsiteY8" fmla="*/ 14825 h 97256"/>
                <a:gd name="connsiteX9" fmla="*/ 120553 w 121855"/>
                <a:gd name="connsiteY9" fmla="*/ 11404 h 97256"/>
                <a:gd name="connsiteX10" fmla="*/ 118272 w 121855"/>
                <a:gd name="connsiteY10" fmla="*/ 12055 h 97256"/>
                <a:gd name="connsiteX11" fmla="*/ 116806 w 121855"/>
                <a:gd name="connsiteY11" fmla="*/ 10915 h 97256"/>
                <a:gd name="connsiteX12" fmla="*/ 116969 w 121855"/>
                <a:gd name="connsiteY12" fmla="*/ 10263 h 97256"/>
                <a:gd name="connsiteX13" fmla="*/ 114688 w 121855"/>
                <a:gd name="connsiteY13" fmla="*/ 10100 h 97256"/>
                <a:gd name="connsiteX14" fmla="*/ 113873 w 121855"/>
                <a:gd name="connsiteY14" fmla="*/ 977 h 97256"/>
                <a:gd name="connsiteX15" fmla="*/ 110615 w 121855"/>
                <a:gd name="connsiteY15" fmla="*/ 0 h 97256"/>
                <a:gd name="connsiteX16" fmla="*/ 110615 w 121855"/>
                <a:gd name="connsiteY16" fmla="*/ 3747 h 97256"/>
                <a:gd name="connsiteX17" fmla="*/ 109149 w 121855"/>
                <a:gd name="connsiteY17" fmla="*/ 6191 h 97256"/>
                <a:gd name="connsiteX18" fmla="*/ 93347 w 121855"/>
                <a:gd name="connsiteY18" fmla="*/ 15802 h 97256"/>
                <a:gd name="connsiteX19" fmla="*/ 93347 w 121855"/>
                <a:gd name="connsiteY19" fmla="*/ 22807 h 97256"/>
                <a:gd name="connsiteX20" fmla="*/ 78522 w 121855"/>
                <a:gd name="connsiteY20" fmla="*/ 35351 h 97256"/>
                <a:gd name="connsiteX21" fmla="*/ 76241 w 121855"/>
                <a:gd name="connsiteY21" fmla="*/ 39098 h 97256"/>
                <a:gd name="connsiteX22" fmla="*/ 78359 w 121855"/>
                <a:gd name="connsiteY22" fmla="*/ 39750 h 97256"/>
                <a:gd name="connsiteX23" fmla="*/ 79825 w 121855"/>
                <a:gd name="connsiteY23" fmla="*/ 42845 h 97256"/>
                <a:gd name="connsiteX24" fmla="*/ 73146 w 121855"/>
                <a:gd name="connsiteY24" fmla="*/ 49850 h 97256"/>
                <a:gd name="connsiteX25" fmla="*/ 70865 w 121855"/>
                <a:gd name="connsiteY25" fmla="*/ 46592 h 97256"/>
                <a:gd name="connsiteX26" fmla="*/ 68747 w 121855"/>
                <a:gd name="connsiteY26" fmla="*/ 48058 h 97256"/>
                <a:gd name="connsiteX27" fmla="*/ 65489 w 121855"/>
                <a:gd name="connsiteY27" fmla="*/ 48058 h 97256"/>
                <a:gd name="connsiteX28" fmla="*/ 65815 w 121855"/>
                <a:gd name="connsiteY28" fmla="*/ 52131 h 97256"/>
                <a:gd name="connsiteX29" fmla="*/ 64349 w 121855"/>
                <a:gd name="connsiteY29" fmla="*/ 52620 h 97256"/>
                <a:gd name="connsiteX30" fmla="*/ 63046 w 121855"/>
                <a:gd name="connsiteY30" fmla="*/ 54900 h 97256"/>
                <a:gd name="connsiteX31" fmla="*/ 55552 w 121855"/>
                <a:gd name="connsiteY31" fmla="*/ 56204 h 97256"/>
                <a:gd name="connsiteX32" fmla="*/ 50176 w 121855"/>
                <a:gd name="connsiteY32" fmla="*/ 56855 h 97256"/>
                <a:gd name="connsiteX33" fmla="*/ 47895 w 121855"/>
                <a:gd name="connsiteY33" fmla="*/ 53923 h 97256"/>
                <a:gd name="connsiteX34" fmla="*/ 42845 w 121855"/>
                <a:gd name="connsiteY34" fmla="*/ 54249 h 97256"/>
                <a:gd name="connsiteX35" fmla="*/ 40727 w 121855"/>
                <a:gd name="connsiteY35" fmla="*/ 53108 h 97256"/>
                <a:gd name="connsiteX36" fmla="*/ 36980 w 121855"/>
                <a:gd name="connsiteY36" fmla="*/ 53923 h 97256"/>
                <a:gd name="connsiteX37" fmla="*/ 28346 w 121855"/>
                <a:gd name="connsiteY37" fmla="*/ 51968 h 97256"/>
                <a:gd name="connsiteX38" fmla="*/ 17920 w 121855"/>
                <a:gd name="connsiteY38" fmla="*/ 60114 h 97256"/>
                <a:gd name="connsiteX39" fmla="*/ 13847 w 121855"/>
                <a:gd name="connsiteY39" fmla="*/ 58973 h 97256"/>
                <a:gd name="connsiteX40" fmla="*/ 9937 w 121855"/>
                <a:gd name="connsiteY40" fmla="*/ 58484 h 97256"/>
                <a:gd name="connsiteX41" fmla="*/ 5864 w 121855"/>
                <a:gd name="connsiteY41" fmla="*/ 60276 h 97256"/>
                <a:gd name="connsiteX42" fmla="*/ 4398 w 121855"/>
                <a:gd name="connsiteY42" fmla="*/ 48710 h 97256"/>
                <a:gd name="connsiteX43" fmla="*/ 2117 w 121855"/>
                <a:gd name="connsiteY43" fmla="*/ 50991 h 97256"/>
                <a:gd name="connsiteX44" fmla="*/ 163 w 121855"/>
                <a:gd name="connsiteY44" fmla="*/ 49687 h 972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</a:cxnLst>
              <a:rect l="l" t="t" r="r" b="b"/>
              <a:pathLst>
                <a:path w="121855" h="97256">
                  <a:moveTo>
                    <a:pt x="163" y="49687"/>
                  </a:moveTo>
                  <a:lnTo>
                    <a:pt x="0" y="58484"/>
                  </a:lnTo>
                  <a:lnTo>
                    <a:pt x="6190" y="65815"/>
                  </a:lnTo>
                  <a:lnTo>
                    <a:pt x="11729" y="85853"/>
                  </a:lnTo>
                  <a:lnTo>
                    <a:pt x="86667" y="97257"/>
                  </a:lnTo>
                  <a:lnTo>
                    <a:pt x="95139" y="89111"/>
                  </a:lnTo>
                  <a:lnTo>
                    <a:pt x="116969" y="21993"/>
                  </a:lnTo>
                  <a:lnTo>
                    <a:pt x="121856" y="21178"/>
                  </a:lnTo>
                  <a:lnTo>
                    <a:pt x="121367" y="14825"/>
                  </a:lnTo>
                  <a:lnTo>
                    <a:pt x="120553" y="11404"/>
                  </a:lnTo>
                  <a:lnTo>
                    <a:pt x="118272" y="12055"/>
                  </a:lnTo>
                  <a:lnTo>
                    <a:pt x="116806" y="10915"/>
                  </a:lnTo>
                  <a:lnTo>
                    <a:pt x="116969" y="10263"/>
                  </a:lnTo>
                  <a:lnTo>
                    <a:pt x="114688" y="10100"/>
                  </a:lnTo>
                  <a:lnTo>
                    <a:pt x="113873" y="977"/>
                  </a:lnTo>
                  <a:lnTo>
                    <a:pt x="110615" y="0"/>
                  </a:lnTo>
                  <a:lnTo>
                    <a:pt x="110615" y="3747"/>
                  </a:lnTo>
                  <a:lnTo>
                    <a:pt x="109149" y="6191"/>
                  </a:lnTo>
                  <a:lnTo>
                    <a:pt x="93347" y="15802"/>
                  </a:lnTo>
                  <a:lnTo>
                    <a:pt x="93347" y="22807"/>
                  </a:lnTo>
                  <a:lnTo>
                    <a:pt x="78522" y="35351"/>
                  </a:lnTo>
                  <a:lnTo>
                    <a:pt x="76241" y="39098"/>
                  </a:lnTo>
                  <a:lnTo>
                    <a:pt x="78359" y="39750"/>
                  </a:lnTo>
                  <a:lnTo>
                    <a:pt x="79825" y="42845"/>
                  </a:lnTo>
                  <a:lnTo>
                    <a:pt x="73146" y="49850"/>
                  </a:lnTo>
                  <a:lnTo>
                    <a:pt x="70865" y="46592"/>
                  </a:lnTo>
                  <a:lnTo>
                    <a:pt x="68747" y="48058"/>
                  </a:lnTo>
                  <a:lnTo>
                    <a:pt x="65489" y="48058"/>
                  </a:lnTo>
                  <a:lnTo>
                    <a:pt x="65815" y="52131"/>
                  </a:lnTo>
                  <a:lnTo>
                    <a:pt x="64349" y="52620"/>
                  </a:lnTo>
                  <a:lnTo>
                    <a:pt x="63046" y="54900"/>
                  </a:lnTo>
                  <a:lnTo>
                    <a:pt x="55552" y="56204"/>
                  </a:lnTo>
                  <a:lnTo>
                    <a:pt x="50176" y="56855"/>
                  </a:lnTo>
                  <a:lnTo>
                    <a:pt x="47895" y="53923"/>
                  </a:lnTo>
                  <a:lnTo>
                    <a:pt x="42845" y="54249"/>
                  </a:lnTo>
                  <a:lnTo>
                    <a:pt x="40727" y="53108"/>
                  </a:lnTo>
                  <a:lnTo>
                    <a:pt x="36980" y="53923"/>
                  </a:lnTo>
                  <a:lnTo>
                    <a:pt x="28346" y="51968"/>
                  </a:lnTo>
                  <a:lnTo>
                    <a:pt x="17920" y="60114"/>
                  </a:lnTo>
                  <a:lnTo>
                    <a:pt x="13847" y="58973"/>
                  </a:lnTo>
                  <a:lnTo>
                    <a:pt x="9937" y="58484"/>
                  </a:lnTo>
                  <a:lnTo>
                    <a:pt x="5864" y="60276"/>
                  </a:lnTo>
                  <a:lnTo>
                    <a:pt x="4398" y="48710"/>
                  </a:lnTo>
                  <a:lnTo>
                    <a:pt x="2117" y="50991"/>
                  </a:lnTo>
                  <a:lnTo>
                    <a:pt x="163" y="49687"/>
                  </a:lnTo>
                  <a:close/>
                </a:path>
              </a:pathLst>
            </a:custGeom>
            <a:solidFill>
              <a:schemeClr val="bg2"/>
            </a:solidFill>
            <a:ln w="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37" name="Forma livre: Forma 236">
              <a:extLst>
                <a:ext uri="{FF2B5EF4-FFF2-40B4-BE49-F238E27FC236}">
                  <a16:creationId xmlns:a16="http://schemas.microsoft.com/office/drawing/2014/main" id="{44043A1D-8F80-EC84-E621-1AF940BDB8CB}"/>
                </a:ext>
              </a:extLst>
            </p:cNvPr>
            <p:cNvSpPr/>
            <p:nvPr/>
          </p:nvSpPr>
          <p:spPr>
            <a:xfrm>
              <a:off x="7353379" y="4232119"/>
              <a:ext cx="196801" cy="279293"/>
            </a:xfrm>
            <a:custGeom>
              <a:avLst/>
              <a:gdLst>
                <a:gd name="connsiteX0" fmla="*/ 814 w 190440"/>
                <a:gd name="connsiteY0" fmla="*/ 199401 h 270266"/>
                <a:gd name="connsiteX1" fmla="*/ 73472 w 190440"/>
                <a:gd name="connsiteY1" fmla="*/ 177734 h 270266"/>
                <a:gd name="connsiteX2" fmla="*/ 77219 w 190440"/>
                <a:gd name="connsiteY2" fmla="*/ 122019 h 270266"/>
                <a:gd name="connsiteX3" fmla="*/ 71354 w 190440"/>
                <a:gd name="connsiteY3" fmla="*/ 101330 h 270266"/>
                <a:gd name="connsiteX4" fmla="*/ 93184 w 190440"/>
                <a:gd name="connsiteY4" fmla="*/ 33722 h 270266"/>
                <a:gd name="connsiteX5" fmla="*/ 98234 w 190440"/>
                <a:gd name="connsiteY5" fmla="*/ 33071 h 270266"/>
                <a:gd name="connsiteX6" fmla="*/ 99537 w 190440"/>
                <a:gd name="connsiteY6" fmla="*/ 48384 h 270266"/>
                <a:gd name="connsiteX7" fmla="*/ 108009 w 190440"/>
                <a:gd name="connsiteY7" fmla="*/ 58810 h 270266"/>
                <a:gd name="connsiteX8" fmla="*/ 108823 w 190440"/>
                <a:gd name="connsiteY8" fmla="*/ 62231 h 270266"/>
                <a:gd name="connsiteX9" fmla="*/ 123159 w 190440"/>
                <a:gd name="connsiteY9" fmla="*/ 74287 h 270266"/>
                <a:gd name="connsiteX10" fmla="*/ 129512 w 190440"/>
                <a:gd name="connsiteY10" fmla="*/ 76079 h 270266"/>
                <a:gd name="connsiteX11" fmla="*/ 132771 w 190440"/>
                <a:gd name="connsiteY11" fmla="*/ 74612 h 270266"/>
                <a:gd name="connsiteX12" fmla="*/ 137658 w 190440"/>
                <a:gd name="connsiteY12" fmla="*/ 74612 h 270266"/>
                <a:gd name="connsiteX13" fmla="*/ 149062 w 190440"/>
                <a:gd name="connsiteY13" fmla="*/ 76567 h 270266"/>
                <a:gd name="connsiteX14" fmla="*/ 155415 w 190440"/>
                <a:gd name="connsiteY14" fmla="*/ 75264 h 270266"/>
                <a:gd name="connsiteX15" fmla="*/ 158836 w 190440"/>
                <a:gd name="connsiteY15" fmla="*/ 75264 h 270266"/>
                <a:gd name="connsiteX16" fmla="*/ 166004 w 190440"/>
                <a:gd name="connsiteY16" fmla="*/ 84876 h 270266"/>
                <a:gd name="connsiteX17" fmla="*/ 167959 w 190440"/>
                <a:gd name="connsiteY17" fmla="*/ 91392 h 270266"/>
                <a:gd name="connsiteX18" fmla="*/ 172358 w 190440"/>
                <a:gd name="connsiteY18" fmla="*/ 95465 h 270266"/>
                <a:gd name="connsiteX19" fmla="*/ 174639 w 190440"/>
                <a:gd name="connsiteY19" fmla="*/ 100026 h 270266"/>
                <a:gd name="connsiteX20" fmla="*/ 184087 w 190440"/>
                <a:gd name="connsiteY20" fmla="*/ 107846 h 270266"/>
                <a:gd name="connsiteX21" fmla="*/ 188812 w 190440"/>
                <a:gd name="connsiteY21" fmla="*/ 108660 h 270266"/>
                <a:gd name="connsiteX22" fmla="*/ 190441 w 190440"/>
                <a:gd name="connsiteY22" fmla="*/ 110452 h 270266"/>
                <a:gd name="connsiteX23" fmla="*/ 190115 w 190440"/>
                <a:gd name="connsiteY23" fmla="*/ 115340 h 270266"/>
                <a:gd name="connsiteX24" fmla="*/ 187019 w 190440"/>
                <a:gd name="connsiteY24" fmla="*/ 120879 h 270266"/>
                <a:gd name="connsiteX25" fmla="*/ 187508 w 190440"/>
                <a:gd name="connsiteY25" fmla="*/ 124137 h 270266"/>
                <a:gd name="connsiteX26" fmla="*/ 186694 w 190440"/>
                <a:gd name="connsiteY26" fmla="*/ 128047 h 270266"/>
                <a:gd name="connsiteX27" fmla="*/ 177245 w 190440"/>
                <a:gd name="connsiteY27" fmla="*/ 143197 h 270266"/>
                <a:gd name="connsiteX28" fmla="*/ 171055 w 190440"/>
                <a:gd name="connsiteY28" fmla="*/ 148736 h 270266"/>
                <a:gd name="connsiteX29" fmla="*/ 168285 w 190440"/>
                <a:gd name="connsiteY29" fmla="*/ 154601 h 270266"/>
                <a:gd name="connsiteX30" fmla="*/ 165353 w 190440"/>
                <a:gd name="connsiteY30" fmla="*/ 157207 h 270266"/>
                <a:gd name="connsiteX31" fmla="*/ 162420 w 190440"/>
                <a:gd name="connsiteY31" fmla="*/ 166982 h 270266"/>
                <a:gd name="connsiteX32" fmla="*/ 159488 w 190440"/>
                <a:gd name="connsiteY32" fmla="*/ 166656 h 270266"/>
                <a:gd name="connsiteX33" fmla="*/ 156882 w 190440"/>
                <a:gd name="connsiteY33" fmla="*/ 165190 h 270266"/>
                <a:gd name="connsiteX34" fmla="*/ 157370 w 190440"/>
                <a:gd name="connsiteY34" fmla="*/ 162420 h 270266"/>
                <a:gd name="connsiteX35" fmla="*/ 158673 w 190440"/>
                <a:gd name="connsiteY35" fmla="*/ 159977 h 270266"/>
                <a:gd name="connsiteX36" fmla="*/ 156393 w 190440"/>
                <a:gd name="connsiteY36" fmla="*/ 159162 h 270266"/>
                <a:gd name="connsiteX37" fmla="*/ 153949 w 190440"/>
                <a:gd name="connsiteY37" fmla="*/ 161117 h 270266"/>
                <a:gd name="connsiteX38" fmla="*/ 150854 w 190440"/>
                <a:gd name="connsiteY38" fmla="*/ 166656 h 270266"/>
                <a:gd name="connsiteX39" fmla="*/ 149714 w 190440"/>
                <a:gd name="connsiteY39" fmla="*/ 166982 h 270266"/>
                <a:gd name="connsiteX40" fmla="*/ 151505 w 190440"/>
                <a:gd name="connsiteY40" fmla="*/ 170240 h 270266"/>
                <a:gd name="connsiteX41" fmla="*/ 148573 w 190440"/>
                <a:gd name="connsiteY41" fmla="*/ 171055 h 270266"/>
                <a:gd name="connsiteX42" fmla="*/ 144175 w 190440"/>
                <a:gd name="connsiteY42" fmla="*/ 179363 h 270266"/>
                <a:gd name="connsiteX43" fmla="*/ 144175 w 190440"/>
                <a:gd name="connsiteY43" fmla="*/ 183762 h 270266"/>
                <a:gd name="connsiteX44" fmla="*/ 142546 w 190440"/>
                <a:gd name="connsiteY44" fmla="*/ 187834 h 270266"/>
                <a:gd name="connsiteX45" fmla="*/ 143686 w 190440"/>
                <a:gd name="connsiteY45" fmla="*/ 188160 h 270266"/>
                <a:gd name="connsiteX46" fmla="*/ 146130 w 190440"/>
                <a:gd name="connsiteY46" fmla="*/ 192722 h 270266"/>
                <a:gd name="connsiteX47" fmla="*/ 144663 w 190440"/>
                <a:gd name="connsiteY47" fmla="*/ 193047 h 270266"/>
                <a:gd name="connsiteX48" fmla="*/ 147921 w 190440"/>
                <a:gd name="connsiteY48" fmla="*/ 202170 h 270266"/>
                <a:gd name="connsiteX49" fmla="*/ 150039 w 190440"/>
                <a:gd name="connsiteY49" fmla="*/ 204125 h 270266"/>
                <a:gd name="connsiteX50" fmla="*/ 149062 w 190440"/>
                <a:gd name="connsiteY50" fmla="*/ 206569 h 270266"/>
                <a:gd name="connsiteX51" fmla="*/ 136355 w 190440"/>
                <a:gd name="connsiteY51" fmla="*/ 207709 h 270266"/>
                <a:gd name="connsiteX52" fmla="*/ 133748 w 190440"/>
                <a:gd name="connsiteY52" fmla="*/ 209501 h 270266"/>
                <a:gd name="connsiteX53" fmla="*/ 130164 w 190440"/>
                <a:gd name="connsiteY53" fmla="*/ 207709 h 270266"/>
                <a:gd name="connsiteX54" fmla="*/ 124462 w 190440"/>
                <a:gd name="connsiteY54" fmla="*/ 209175 h 270266"/>
                <a:gd name="connsiteX55" fmla="*/ 115177 w 190440"/>
                <a:gd name="connsiteY55" fmla="*/ 220579 h 270266"/>
                <a:gd name="connsiteX56" fmla="*/ 115177 w 190440"/>
                <a:gd name="connsiteY56" fmla="*/ 228562 h 270266"/>
                <a:gd name="connsiteX57" fmla="*/ 112896 w 190440"/>
                <a:gd name="connsiteY57" fmla="*/ 230679 h 270266"/>
                <a:gd name="connsiteX58" fmla="*/ 108009 w 190440"/>
                <a:gd name="connsiteY58" fmla="*/ 235566 h 270266"/>
                <a:gd name="connsiteX59" fmla="*/ 104914 w 190440"/>
                <a:gd name="connsiteY59" fmla="*/ 234263 h 270266"/>
                <a:gd name="connsiteX60" fmla="*/ 98560 w 190440"/>
                <a:gd name="connsiteY60" fmla="*/ 235404 h 270266"/>
                <a:gd name="connsiteX61" fmla="*/ 89763 w 190440"/>
                <a:gd name="connsiteY61" fmla="*/ 235404 h 270266"/>
                <a:gd name="connsiteX62" fmla="*/ 87482 w 190440"/>
                <a:gd name="connsiteY62" fmla="*/ 237684 h 270266"/>
                <a:gd name="connsiteX63" fmla="*/ 83898 w 190440"/>
                <a:gd name="connsiteY63" fmla="*/ 241268 h 270266"/>
                <a:gd name="connsiteX64" fmla="*/ 84550 w 190440"/>
                <a:gd name="connsiteY64" fmla="*/ 243712 h 270266"/>
                <a:gd name="connsiteX65" fmla="*/ 84061 w 190440"/>
                <a:gd name="connsiteY65" fmla="*/ 246970 h 270266"/>
                <a:gd name="connsiteX66" fmla="*/ 86505 w 190440"/>
                <a:gd name="connsiteY66" fmla="*/ 248273 h 270266"/>
                <a:gd name="connsiteX67" fmla="*/ 86179 w 190440"/>
                <a:gd name="connsiteY67" fmla="*/ 251206 h 270266"/>
                <a:gd name="connsiteX68" fmla="*/ 84876 w 190440"/>
                <a:gd name="connsiteY68" fmla="*/ 251532 h 270266"/>
                <a:gd name="connsiteX69" fmla="*/ 85201 w 190440"/>
                <a:gd name="connsiteY69" fmla="*/ 252672 h 270266"/>
                <a:gd name="connsiteX70" fmla="*/ 79011 w 190440"/>
                <a:gd name="connsiteY70" fmla="*/ 261795 h 270266"/>
                <a:gd name="connsiteX71" fmla="*/ 75916 w 190440"/>
                <a:gd name="connsiteY71" fmla="*/ 262121 h 270266"/>
                <a:gd name="connsiteX72" fmla="*/ 71843 w 190440"/>
                <a:gd name="connsiteY72" fmla="*/ 259677 h 270266"/>
                <a:gd name="connsiteX73" fmla="*/ 67444 w 190440"/>
                <a:gd name="connsiteY73" fmla="*/ 260492 h 270266"/>
                <a:gd name="connsiteX74" fmla="*/ 62394 w 190440"/>
                <a:gd name="connsiteY74" fmla="*/ 260166 h 270266"/>
                <a:gd name="connsiteX75" fmla="*/ 53271 w 190440"/>
                <a:gd name="connsiteY75" fmla="*/ 265053 h 270266"/>
                <a:gd name="connsiteX76" fmla="*/ 47732 w 190440"/>
                <a:gd name="connsiteY76" fmla="*/ 265053 h 270266"/>
                <a:gd name="connsiteX77" fmla="*/ 44474 w 190440"/>
                <a:gd name="connsiteY77" fmla="*/ 270266 h 270266"/>
                <a:gd name="connsiteX78" fmla="*/ 39424 w 190440"/>
                <a:gd name="connsiteY78" fmla="*/ 270266 h 270266"/>
                <a:gd name="connsiteX79" fmla="*/ 38121 w 190440"/>
                <a:gd name="connsiteY79" fmla="*/ 269289 h 270266"/>
                <a:gd name="connsiteX80" fmla="*/ 34700 w 190440"/>
                <a:gd name="connsiteY80" fmla="*/ 270103 h 270266"/>
                <a:gd name="connsiteX81" fmla="*/ 20038 w 190440"/>
                <a:gd name="connsiteY81" fmla="*/ 252672 h 270266"/>
                <a:gd name="connsiteX82" fmla="*/ 23296 w 190440"/>
                <a:gd name="connsiteY82" fmla="*/ 241594 h 270266"/>
                <a:gd name="connsiteX83" fmla="*/ 0 w 190440"/>
                <a:gd name="connsiteY83" fmla="*/ 212108 h 270266"/>
                <a:gd name="connsiteX84" fmla="*/ 1466 w 190440"/>
                <a:gd name="connsiteY84" fmla="*/ 199564 h 270266"/>
                <a:gd name="connsiteX85" fmla="*/ 1466 w 190440"/>
                <a:gd name="connsiteY85" fmla="*/ 199564 h 270266"/>
                <a:gd name="connsiteX86" fmla="*/ 93184 w 190440"/>
                <a:gd name="connsiteY86" fmla="*/ 22156 h 270266"/>
                <a:gd name="connsiteX87" fmla="*/ 93184 w 190440"/>
                <a:gd name="connsiteY87" fmla="*/ 19060 h 270266"/>
                <a:gd name="connsiteX88" fmla="*/ 95465 w 190440"/>
                <a:gd name="connsiteY88" fmla="*/ 14988 h 270266"/>
                <a:gd name="connsiteX89" fmla="*/ 96116 w 190440"/>
                <a:gd name="connsiteY89" fmla="*/ 7820 h 270266"/>
                <a:gd name="connsiteX90" fmla="*/ 94976 w 190440"/>
                <a:gd name="connsiteY90" fmla="*/ 7168 h 270266"/>
                <a:gd name="connsiteX91" fmla="*/ 95953 w 190440"/>
                <a:gd name="connsiteY91" fmla="*/ 4236 h 270266"/>
                <a:gd name="connsiteX92" fmla="*/ 94650 w 190440"/>
                <a:gd name="connsiteY92" fmla="*/ 2607 h 270266"/>
                <a:gd name="connsiteX93" fmla="*/ 95791 w 190440"/>
                <a:gd name="connsiteY93" fmla="*/ 1792 h 270266"/>
                <a:gd name="connsiteX94" fmla="*/ 96931 w 190440"/>
                <a:gd name="connsiteY94" fmla="*/ 1792 h 270266"/>
                <a:gd name="connsiteX95" fmla="*/ 95628 w 190440"/>
                <a:gd name="connsiteY95" fmla="*/ 0 h 270266"/>
                <a:gd name="connsiteX96" fmla="*/ 93835 w 190440"/>
                <a:gd name="connsiteY96" fmla="*/ 489 h 270266"/>
                <a:gd name="connsiteX97" fmla="*/ 91718 w 190440"/>
                <a:gd name="connsiteY97" fmla="*/ 489 h 270266"/>
                <a:gd name="connsiteX98" fmla="*/ 90577 w 190440"/>
                <a:gd name="connsiteY98" fmla="*/ 7168 h 270266"/>
                <a:gd name="connsiteX99" fmla="*/ 89274 w 190440"/>
                <a:gd name="connsiteY99" fmla="*/ 8797 h 270266"/>
                <a:gd name="connsiteX100" fmla="*/ 87971 w 190440"/>
                <a:gd name="connsiteY100" fmla="*/ 7168 h 270266"/>
                <a:gd name="connsiteX101" fmla="*/ 87156 w 190440"/>
                <a:gd name="connsiteY101" fmla="*/ 9612 h 270266"/>
                <a:gd name="connsiteX102" fmla="*/ 87156 w 190440"/>
                <a:gd name="connsiteY102" fmla="*/ 11892 h 270266"/>
                <a:gd name="connsiteX103" fmla="*/ 90414 w 190440"/>
                <a:gd name="connsiteY103" fmla="*/ 12870 h 270266"/>
                <a:gd name="connsiteX104" fmla="*/ 91066 w 190440"/>
                <a:gd name="connsiteY104" fmla="*/ 21993 h 270266"/>
                <a:gd name="connsiteX105" fmla="*/ 93347 w 190440"/>
                <a:gd name="connsiteY105" fmla="*/ 21993 h 2702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</a:cxnLst>
              <a:rect l="l" t="t" r="r" b="b"/>
              <a:pathLst>
                <a:path w="190440" h="270266">
                  <a:moveTo>
                    <a:pt x="814" y="199401"/>
                  </a:moveTo>
                  <a:lnTo>
                    <a:pt x="73472" y="177734"/>
                  </a:lnTo>
                  <a:lnTo>
                    <a:pt x="77219" y="122019"/>
                  </a:lnTo>
                  <a:lnTo>
                    <a:pt x="71354" y="101330"/>
                  </a:lnTo>
                  <a:lnTo>
                    <a:pt x="93184" y="33722"/>
                  </a:lnTo>
                  <a:lnTo>
                    <a:pt x="98234" y="33071"/>
                  </a:lnTo>
                  <a:lnTo>
                    <a:pt x="99537" y="48384"/>
                  </a:lnTo>
                  <a:lnTo>
                    <a:pt x="108009" y="58810"/>
                  </a:lnTo>
                  <a:lnTo>
                    <a:pt x="108823" y="62231"/>
                  </a:lnTo>
                  <a:lnTo>
                    <a:pt x="123159" y="74287"/>
                  </a:lnTo>
                  <a:lnTo>
                    <a:pt x="129512" y="76079"/>
                  </a:lnTo>
                  <a:lnTo>
                    <a:pt x="132771" y="74612"/>
                  </a:lnTo>
                  <a:lnTo>
                    <a:pt x="137658" y="74612"/>
                  </a:lnTo>
                  <a:cubicBezTo>
                    <a:pt x="137658" y="74612"/>
                    <a:pt x="149062" y="76567"/>
                    <a:pt x="149062" y="76567"/>
                  </a:cubicBezTo>
                  <a:lnTo>
                    <a:pt x="155415" y="75264"/>
                  </a:lnTo>
                  <a:lnTo>
                    <a:pt x="158836" y="75264"/>
                  </a:lnTo>
                  <a:cubicBezTo>
                    <a:pt x="158836" y="75264"/>
                    <a:pt x="166004" y="84876"/>
                    <a:pt x="166004" y="84876"/>
                  </a:cubicBezTo>
                  <a:lnTo>
                    <a:pt x="167959" y="91392"/>
                  </a:lnTo>
                  <a:lnTo>
                    <a:pt x="172358" y="95465"/>
                  </a:lnTo>
                  <a:lnTo>
                    <a:pt x="174639" y="100026"/>
                  </a:lnTo>
                  <a:lnTo>
                    <a:pt x="184087" y="107846"/>
                  </a:lnTo>
                  <a:lnTo>
                    <a:pt x="188812" y="108660"/>
                  </a:lnTo>
                  <a:lnTo>
                    <a:pt x="190441" y="110452"/>
                  </a:lnTo>
                  <a:lnTo>
                    <a:pt x="190115" y="115340"/>
                  </a:lnTo>
                  <a:lnTo>
                    <a:pt x="187019" y="120879"/>
                  </a:lnTo>
                  <a:lnTo>
                    <a:pt x="187508" y="124137"/>
                  </a:lnTo>
                  <a:lnTo>
                    <a:pt x="186694" y="128047"/>
                  </a:lnTo>
                  <a:lnTo>
                    <a:pt x="177245" y="143197"/>
                  </a:lnTo>
                  <a:lnTo>
                    <a:pt x="171055" y="148736"/>
                  </a:lnTo>
                  <a:lnTo>
                    <a:pt x="168285" y="154601"/>
                  </a:lnTo>
                  <a:lnTo>
                    <a:pt x="165353" y="157207"/>
                  </a:lnTo>
                  <a:lnTo>
                    <a:pt x="162420" y="166982"/>
                  </a:lnTo>
                  <a:lnTo>
                    <a:pt x="159488" y="166656"/>
                  </a:lnTo>
                  <a:lnTo>
                    <a:pt x="156882" y="165190"/>
                  </a:lnTo>
                  <a:lnTo>
                    <a:pt x="157370" y="162420"/>
                  </a:lnTo>
                  <a:lnTo>
                    <a:pt x="158673" y="159977"/>
                  </a:lnTo>
                  <a:lnTo>
                    <a:pt x="156393" y="159162"/>
                  </a:lnTo>
                  <a:lnTo>
                    <a:pt x="153949" y="161117"/>
                  </a:lnTo>
                  <a:lnTo>
                    <a:pt x="150854" y="166656"/>
                  </a:lnTo>
                  <a:lnTo>
                    <a:pt x="149714" y="166982"/>
                  </a:lnTo>
                  <a:lnTo>
                    <a:pt x="151505" y="170240"/>
                  </a:lnTo>
                  <a:lnTo>
                    <a:pt x="148573" y="171055"/>
                  </a:lnTo>
                  <a:lnTo>
                    <a:pt x="144175" y="179363"/>
                  </a:lnTo>
                  <a:lnTo>
                    <a:pt x="144175" y="183762"/>
                  </a:lnTo>
                  <a:lnTo>
                    <a:pt x="142546" y="187834"/>
                  </a:lnTo>
                  <a:lnTo>
                    <a:pt x="143686" y="188160"/>
                  </a:lnTo>
                  <a:lnTo>
                    <a:pt x="146130" y="192722"/>
                  </a:lnTo>
                  <a:lnTo>
                    <a:pt x="144663" y="193047"/>
                  </a:lnTo>
                  <a:lnTo>
                    <a:pt x="147921" y="202170"/>
                  </a:lnTo>
                  <a:lnTo>
                    <a:pt x="150039" y="204125"/>
                  </a:lnTo>
                  <a:lnTo>
                    <a:pt x="149062" y="206569"/>
                  </a:lnTo>
                  <a:lnTo>
                    <a:pt x="136355" y="207709"/>
                  </a:lnTo>
                  <a:lnTo>
                    <a:pt x="133748" y="209501"/>
                  </a:lnTo>
                  <a:lnTo>
                    <a:pt x="130164" y="207709"/>
                  </a:lnTo>
                  <a:lnTo>
                    <a:pt x="124462" y="209175"/>
                  </a:lnTo>
                  <a:lnTo>
                    <a:pt x="115177" y="220579"/>
                  </a:lnTo>
                  <a:lnTo>
                    <a:pt x="115177" y="228562"/>
                  </a:lnTo>
                  <a:lnTo>
                    <a:pt x="112896" y="230679"/>
                  </a:lnTo>
                  <a:lnTo>
                    <a:pt x="108009" y="235566"/>
                  </a:lnTo>
                  <a:lnTo>
                    <a:pt x="104914" y="234263"/>
                  </a:lnTo>
                  <a:lnTo>
                    <a:pt x="98560" y="235404"/>
                  </a:lnTo>
                  <a:lnTo>
                    <a:pt x="89763" y="235404"/>
                  </a:lnTo>
                  <a:cubicBezTo>
                    <a:pt x="89763" y="235404"/>
                    <a:pt x="87482" y="237684"/>
                    <a:pt x="87482" y="237684"/>
                  </a:cubicBezTo>
                  <a:lnTo>
                    <a:pt x="83898" y="241268"/>
                  </a:lnTo>
                  <a:lnTo>
                    <a:pt x="84550" y="243712"/>
                  </a:lnTo>
                  <a:lnTo>
                    <a:pt x="84061" y="246970"/>
                  </a:lnTo>
                  <a:lnTo>
                    <a:pt x="86505" y="248273"/>
                  </a:lnTo>
                  <a:lnTo>
                    <a:pt x="86179" y="251206"/>
                  </a:lnTo>
                  <a:lnTo>
                    <a:pt x="84876" y="251532"/>
                  </a:lnTo>
                  <a:lnTo>
                    <a:pt x="85201" y="252672"/>
                  </a:lnTo>
                  <a:lnTo>
                    <a:pt x="79011" y="261795"/>
                  </a:lnTo>
                  <a:lnTo>
                    <a:pt x="75916" y="262121"/>
                  </a:lnTo>
                  <a:lnTo>
                    <a:pt x="71843" y="259677"/>
                  </a:lnTo>
                  <a:lnTo>
                    <a:pt x="67444" y="260492"/>
                  </a:lnTo>
                  <a:lnTo>
                    <a:pt x="62394" y="260166"/>
                  </a:lnTo>
                  <a:lnTo>
                    <a:pt x="53271" y="265053"/>
                  </a:lnTo>
                  <a:lnTo>
                    <a:pt x="47732" y="265053"/>
                  </a:lnTo>
                  <a:cubicBezTo>
                    <a:pt x="47732" y="265053"/>
                    <a:pt x="44474" y="270266"/>
                    <a:pt x="44474" y="270266"/>
                  </a:cubicBezTo>
                  <a:lnTo>
                    <a:pt x="39424" y="270266"/>
                  </a:lnTo>
                  <a:lnTo>
                    <a:pt x="38121" y="269289"/>
                  </a:lnTo>
                  <a:lnTo>
                    <a:pt x="34700" y="270103"/>
                  </a:lnTo>
                  <a:lnTo>
                    <a:pt x="20038" y="252672"/>
                  </a:lnTo>
                  <a:lnTo>
                    <a:pt x="23296" y="241594"/>
                  </a:lnTo>
                  <a:lnTo>
                    <a:pt x="0" y="212108"/>
                  </a:lnTo>
                  <a:lnTo>
                    <a:pt x="1466" y="199564"/>
                  </a:lnTo>
                  <a:lnTo>
                    <a:pt x="1466" y="199564"/>
                  </a:lnTo>
                  <a:close/>
                  <a:moveTo>
                    <a:pt x="93184" y="22156"/>
                  </a:moveTo>
                  <a:lnTo>
                    <a:pt x="93184" y="19060"/>
                  </a:lnTo>
                  <a:cubicBezTo>
                    <a:pt x="93184" y="19060"/>
                    <a:pt x="95465" y="14988"/>
                    <a:pt x="95465" y="14988"/>
                  </a:cubicBezTo>
                  <a:lnTo>
                    <a:pt x="96116" y="7820"/>
                  </a:lnTo>
                  <a:lnTo>
                    <a:pt x="94976" y="7168"/>
                  </a:lnTo>
                  <a:lnTo>
                    <a:pt x="95953" y="4236"/>
                  </a:lnTo>
                  <a:lnTo>
                    <a:pt x="94650" y="2607"/>
                  </a:lnTo>
                  <a:lnTo>
                    <a:pt x="95791" y="1792"/>
                  </a:lnTo>
                  <a:lnTo>
                    <a:pt x="96931" y="1792"/>
                  </a:lnTo>
                  <a:cubicBezTo>
                    <a:pt x="96931" y="1792"/>
                    <a:pt x="95628" y="0"/>
                    <a:pt x="95628" y="0"/>
                  </a:cubicBezTo>
                  <a:lnTo>
                    <a:pt x="93835" y="489"/>
                  </a:lnTo>
                  <a:lnTo>
                    <a:pt x="91718" y="489"/>
                  </a:lnTo>
                  <a:cubicBezTo>
                    <a:pt x="91718" y="489"/>
                    <a:pt x="90577" y="7168"/>
                    <a:pt x="90577" y="7168"/>
                  </a:cubicBezTo>
                  <a:lnTo>
                    <a:pt x="89274" y="8797"/>
                  </a:lnTo>
                  <a:lnTo>
                    <a:pt x="87971" y="7168"/>
                  </a:lnTo>
                  <a:lnTo>
                    <a:pt x="87156" y="9612"/>
                  </a:lnTo>
                  <a:lnTo>
                    <a:pt x="87156" y="11892"/>
                  </a:lnTo>
                  <a:cubicBezTo>
                    <a:pt x="87156" y="11892"/>
                    <a:pt x="90414" y="12870"/>
                    <a:pt x="90414" y="12870"/>
                  </a:cubicBezTo>
                  <a:lnTo>
                    <a:pt x="91066" y="21993"/>
                  </a:lnTo>
                  <a:lnTo>
                    <a:pt x="93347" y="21993"/>
                  </a:lnTo>
                  <a:close/>
                </a:path>
              </a:pathLst>
            </a:custGeom>
            <a:solidFill>
              <a:schemeClr val="bg2"/>
            </a:solidFill>
            <a:ln w="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38" name="Forma livre: Forma 237">
              <a:extLst>
                <a:ext uri="{FF2B5EF4-FFF2-40B4-BE49-F238E27FC236}">
                  <a16:creationId xmlns:a16="http://schemas.microsoft.com/office/drawing/2014/main" id="{E3A4315E-3767-3F5E-174E-2768B7D510D1}"/>
                </a:ext>
              </a:extLst>
            </p:cNvPr>
            <p:cNvSpPr/>
            <p:nvPr/>
          </p:nvSpPr>
          <p:spPr>
            <a:xfrm>
              <a:off x="7106408" y="4438181"/>
              <a:ext cx="321549" cy="197812"/>
            </a:xfrm>
            <a:custGeom>
              <a:avLst/>
              <a:gdLst>
                <a:gd name="connsiteX0" fmla="*/ 3584 w 311156"/>
                <a:gd name="connsiteY0" fmla="*/ 73146 h 191418"/>
                <a:gd name="connsiteX1" fmla="*/ 8145 w 311156"/>
                <a:gd name="connsiteY1" fmla="*/ 73635 h 191418"/>
                <a:gd name="connsiteX2" fmla="*/ 12056 w 311156"/>
                <a:gd name="connsiteY2" fmla="*/ 75264 h 191418"/>
                <a:gd name="connsiteX3" fmla="*/ 14825 w 311156"/>
                <a:gd name="connsiteY3" fmla="*/ 70051 h 191418"/>
                <a:gd name="connsiteX4" fmla="*/ 21667 w 311156"/>
                <a:gd name="connsiteY4" fmla="*/ 65652 h 191418"/>
                <a:gd name="connsiteX5" fmla="*/ 17106 w 311156"/>
                <a:gd name="connsiteY5" fmla="*/ 57018 h 191418"/>
                <a:gd name="connsiteX6" fmla="*/ 20364 w 311156"/>
                <a:gd name="connsiteY6" fmla="*/ 44800 h 191418"/>
                <a:gd name="connsiteX7" fmla="*/ 27206 w 311156"/>
                <a:gd name="connsiteY7" fmla="*/ 41868 h 191418"/>
                <a:gd name="connsiteX8" fmla="*/ 35025 w 311156"/>
                <a:gd name="connsiteY8" fmla="*/ 48058 h 191418"/>
                <a:gd name="connsiteX9" fmla="*/ 50991 w 311156"/>
                <a:gd name="connsiteY9" fmla="*/ 48547 h 191418"/>
                <a:gd name="connsiteX10" fmla="*/ 72983 w 311156"/>
                <a:gd name="connsiteY10" fmla="*/ 57344 h 191418"/>
                <a:gd name="connsiteX11" fmla="*/ 95791 w 311156"/>
                <a:gd name="connsiteY11" fmla="*/ 68422 h 191418"/>
                <a:gd name="connsiteX12" fmla="*/ 96931 w 311156"/>
                <a:gd name="connsiteY12" fmla="*/ 91718 h 191418"/>
                <a:gd name="connsiteX13" fmla="*/ 143360 w 311156"/>
                <a:gd name="connsiteY13" fmla="*/ 28835 h 191418"/>
                <a:gd name="connsiteX14" fmla="*/ 239965 w 311156"/>
                <a:gd name="connsiteY14" fmla="*/ 0 h 191418"/>
                <a:gd name="connsiteX15" fmla="*/ 238499 w 311156"/>
                <a:gd name="connsiteY15" fmla="*/ 12544 h 191418"/>
                <a:gd name="connsiteX16" fmla="*/ 261795 w 311156"/>
                <a:gd name="connsiteY16" fmla="*/ 42031 h 191418"/>
                <a:gd name="connsiteX17" fmla="*/ 258537 w 311156"/>
                <a:gd name="connsiteY17" fmla="*/ 53109 h 191418"/>
                <a:gd name="connsiteX18" fmla="*/ 273199 w 311156"/>
                <a:gd name="connsiteY18" fmla="*/ 70540 h 191418"/>
                <a:gd name="connsiteX19" fmla="*/ 267497 w 311156"/>
                <a:gd name="connsiteY19" fmla="*/ 72006 h 191418"/>
                <a:gd name="connsiteX20" fmla="*/ 257559 w 311156"/>
                <a:gd name="connsiteY20" fmla="*/ 74124 h 191418"/>
                <a:gd name="connsiteX21" fmla="*/ 248925 w 311156"/>
                <a:gd name="connsiteY21" fmla="*/ 84713 h 191418"/>
                <a:gd name="connsiteX22" fmla="*/ 248111 w 311156"/>
                <a:gd name="connsiteY22" fmla="*/ 91066 h 191418"/>
                <a:gd name="connsiteX23" fmla="*/ 250229 w 311156"/>
                <a:gd name="connsiteY23" fmla="*/ 93184 h 191418"/>
                <a:gd name="connsiteX24" fmla="*/ 249414 w 311156"/>
                <a:gd name="connsiteY24" fmla="*/ 94650 h 191418"/>
                <a:gd name="connsiteX25" fmla="*/ 250391 w 311156"/>
                <a:gd name="connsiteY25" fmla="*/ 97583 h 191418"/>
                <a:gd name="connsiteX26" fmla="*/ 239314 w 311156"/>
                <a:gd name="connsiteY26" fmla="*/ 99863 h 191418"/>
                <a:gd name="connsiteX27" fmla="*/ 234263 w 311156"/>
                <a:gd name="connsiteY27" fmla="*/ 104588 h 191418"/>
                <a:gd name="connsiteX28" fmla="*/ 224163 w 311156"/>
                <a:gd name="connsiteY28" fmla="*/ 109638 h 191418"/>
                <a:gd name="connsiteX29" fmla="*/ 208361 w 311156"/>
                <a:gd name="connsiteY29" fmla="*/ 112570 h 191418"/>
                <a:gd name="connsiteX30" fmla="*/ 205917 w 311156"/>
                <a:gd name="connsiteY30" fmla="*/ 115340 h 191418"/>
                <a:gd name="connsiteX31" fmla="*/ 177734 w 311156"/>
                <a:gd name="connsiteY31" fmla="*/ 123648 h 191418"/>
                <a:gd name="connsiteX32" fmla="*/ 174965 w 311156"/>
                <a:gd name="connsiteY32" fmla="*/ 123322 h 191418"/>
                <a:gd name="connsiteX33" fmla="*/ 170240 w 311156"/>
                <a:gd name="connsiteY33" fmla="*/ 125603 h 191418"/>
                <a:gd name="connsiteX34" fmla="*/ 164864 w 311156"/>
                <a:gd name="connsiteY34" fmla="*/ 134237 h 191418"/>
                <a:gd name="connsiteX35" fmla="*/ 157370 w 311156"/>
                <a:gd name="connsiteY35" fmla="*/ 140428 h 191418"/>
                <a:gd name="connsiteX36" fmla="*/ 153786 w 311156"/>
                <a:gd name="connsiteY36" fmla="*/ 140428 h 191418"/>
                <a:gd name="connsiteX37" fmla="*/ 152157 w 311156"/>
                <a:gd name="connsiteY37" fmla="*/ 138961 h 191418"/>
                <a:gd name="connsiteX38" fmla="*/ 149714 w 311156"/>
                <a:gd name="connsiteY38" fmla="*/ 141242 h 191418"/>
                <a:gd name="connsiteX39" fmla="*/ 145967 w 311156"/>
                <a:gd name="connsiteY39" fmla="*/ 142057 h 191418"/>
                <a:gd name="connsiteX40" fmla="*/ 142709 w 311156"/>
                <a:gd name="connsiteY40" fmla="*/ 139613 h 191418"/>
                <a:gd name="connsiteX41" fmla="*/ 138799 w 311156"/>
                <a:gd name="connsiteY41" fmla="*/ 139613 h 191418"/>
                <a:gd name="connsiteX42" fmla="*/ 129676 w 311156"/>
                <a:gd name="connsiteY42" fmla="*/ 146618 h 191418"/>
                <a:gd name="connsiteX43" fmla="*/ 129024 w 311156"/>
                <a:gd name="connsiteY43" fmla="*/ 149714 h 191418"/>
                <a:gd name="connsiteX44" fmla="*/ 125766 w 311156"/>
                <a:gd name="connsiteY44" fmla="*/ 152483 h 191418"/>
                <a:gd name="connsiteX45" fmla="*/ 116154 w 311156"/>
                <a:gd name="connsiteY45" fmla="*/ 153461 h 191418"/>
                <a:gd name="connsiteX46" fmla="*/ 104099 w 311156"/>
                <a:gd name="connsiteY46" fmla="*/ 158022 h 191418"/>
                <a:gd name="connsiteX47" fmla="*/ 99049 w 311156"/>
                <a:gd name="connsiteY47" fmla="*/ 156882 h 191418"/>
                <a:gd name="connsiteX48" fmla="*/ 97583 w 311156"/>
                <a:gd name="connsiteY48" fmla="*/ 154927 h 191418"/>
                <a:gd name="connsiteX49" fmla="*/ 90252 w 311156"/>
                <a:gd name="connsiteY49" fmla="*/ 155252 h 191418"/>
                <a:gd name="connsiteX50" fmla="*/ 89274 w 311156"/>
                <a:gd name="connsiteY50" fmla="*/ 153786 h 191418"/>
                <a:gd name="connsiteX51" fmla="*/ 85202 w 311156"/>
                <a:gd name="connsiteY51" fmla="*/ 153786 h 191418"/>
                <a:gd name="connsiteX52" fmla="*/ 81943 w 311156"/>
                <a:gd name="connsiteY52" fmla="*/ 154601 h 191418"/>
                <a:gd name="connsiteX53" fmla="*/ 75590 w 311156"/>
                <a:gd name="connsiteY53" fmla="*/ 158674 h 191418"/>
                <a:gd name="connsiteX54" fmla="*/ 72658 w 311156"/>
                <a:gd name="connsiteY54" fmla="*/ 165353 h 191418"/>
                <a:gd name="connsiteX55" fmla="*/ 70214 w 311156"/>
                <a:gd name="connsiteY55" fmla="*/ 165679 h 191418"/>
                <a:gd name="connsiteX56" fmla="*/ 65327 w 311156"/>
                <a:gd name="connsiteY56" fmla="*/ 172521 h 191418"/>
                <a:gd name="connsiteX57" fmla="*/ 60440 w 311156"/>
                <a:gd name="connsiteY57" fmla="*/ 174476 h 191418"/>
                <a:gd name="connsiteX58" fmla="*/ 57670 w 311156"/>
                <a:gd name="connsiteY58" fmla="*/ 171706 h 191418"/>
                <a:gd name="connsiteX59" fmla="*/ 52620 w 311156"/>
                <a:gd name="connsiteY59" fmla="*/ 171706 h 191418"/>
                <a:gd name="connsiteX60" fmla="*/ 47407 w 311156"/>
                <a:gd name="connsiteY60" fmla="*/ 176105 h 191418"/>
                <a:gd name="connsiteX61" fmla="*/ 43171 w 311156"/>
                <a:gd name="connsiteY61" fmla="*/ 177082 h 191418"/>
                <a:gd name="connsiteX62" fmla="*/ 36003 w 311156"/>
                <a:gd name="connsiteY62" fmla="*/ 174802 h 191418"/>
                <a:gd name="connsiteX63" fmla="*/ 34700 w 311156"/>
                <a:gd name="connsiteY63" fmla="*/ 176594 h 191418"/>
                <a:gd name="connsiteX64" fmla="*/ 29487 w 311156"/>
                <a:gd name="connsiteY64" fmla="*/ 177408 h 191418"/>
                <a:gd name="connsiteX65" fmla="*/ 27369 w 311156"/>
                <a:gd name="connsiteY65" fmla="*/ 173173 h 191418"/>
                <a:gd name="connsiteX66" fmla="*/ 26391 w 311156"/>
                <a:gd name="connsiteY66" fmla="*/ 166819 h 191418"/>
                <a:gd name="connsiteX67" fmla="*/ 21015 w 311156"/>
                <a:gd name="connsiteY67" fmla="*/ 160954 h 191418"/>
                <a:gd name="connsiteX68" fmla="*/ 18246 w 311156"/>
                <a:gd name="connsiteY68" fmla="*/ 153949 h 191418"/>
                <a:gd name="connsiteX69" fmla="*/ 21015 w 311156"/>
                <a:gd name="connsiteY69" fmla="*/ 152157 h 191418"/>
                <a:gd name="connsiteX70" fmla="*/ 20690 w 311156"/>
                <a:gd name="connsiteY70" fmla="*/ 144989 h 191418"/>
                <a:gd name="connsiteX71" fmla="*/ 14173 w 311156"/>
                <a:gd name="connsiteY71" fmla="*/ 138961 h 191418"/>
                <a:gd name="connsiteX72" fmla="*/ 10915 w 311156"/>
                <a:gd name="connsiteY72" fmla="*/ 115177 h 191418"/>
                <a:gd name="connsiteX73" fmla="*/ 4725 w 311156"/>
                <a:gd name="connsiteY73" fmla="*/ 107194 h 191418"/>
                <a:gd name="connsiteX74" fmla="*/ 4725 w 311156"/>
                <a:gd name="connsiteY74" fmla="*/ 103285 h 191418"/>
                <a:gd name="connsiteX75" fmla="*/ 1792 w 311156"/>
                <a:gd name="connsiteY75" fmla="*/ 103285 h 191418"/>
                <a:gd name="connsiteX76" fmla="*/ 0 w 311156"/>
                <a:gd name="connsiteY76" fmla="*/ 99538 h 191418"/>
                <a:gd name="connsiteX77" fmla="*/ 4073 w 311156"/>
                <a:gd name="connsiteY77" fmla="*/ 100678 h 191418"/>
                <a:gd name="connsiteX78" fmla="*/ 4073 w 311156"/>
                <a:gd name="connsiteY78" fmla="*/ 97909 h 191418"/>
                <a:gd name="connsiteX79" fmla="*/ 7005 w 311156"/>
                <a:gd name="connsiteY79" fmla="*/ 97909 h 191418"/>
                <a:gd name="connsiteX80" fmla="*/ 7331 w 311156"/>
                <a:gd name="connsiteY80" fmla="*/ 90252 h 191418"/>
                <a:gd name="connsiteX81" fmla="*/ 5050 w 311156"/>
                <a:gd name="connsiteY81" fmla="*/ 77219 h 191418"/>
                <a:gd name="connsiteX82" fmla="*/ 3421 w 311156"/>
                <a:gd name="connsiteY82" fmla="*/ 72495 h 191418"/>
                <a:gd name="connsiteX83" fmla="*/ 3421 w 311156"/>
                <a:gd name="connsiteY83" fmla="*/ 72495 h 191418"/>
                <a:gd name="connsiteX84" fmla="*/ 248763 w 311156"/>
                <a:gd name="connsiteY84" fmla="*/ 190278 h 191418"/>
                <a:gd name="connsiteX85" fmla="*/ 254138 w 311156"/>
                <a:gd name="connsiteY85" fmla="*/ 188649 h 191418"/>
                <a:gd name="connsiteX86" fmla="*/ 260981 w 311156"/>
                <a:gd name="connsiteY86" fmla="*/ 190604 h 191418"/>
                <a:gd name="connsiteX87" fmla="*/ 255441 w 311156"/>
                <a:gd name="connsiteY87" fmla="*/ 191418 h 191418"/>
                <a:gd name="connsiteX88" fmla="*/ 248763 w 311156"/>
                <a:gd name="connsiteY88" fmla="*/ 190278 h 191418"/>
                <a:gd name="connsiteX89" fmla="*/ 248763 w 311156"/>
                <a:gd name="connsiteY89" fmla="*/ 190278 h 191418"/>
                <a:gd name="connsiteX90" fmla="*/ 280367 w 311156"/>
                <a:gd name="connsiteY90" fmla="*/ 182295 h 191418"/>
                <a:gd name="connsiteX91" fmla="*/ 283462 w 311156"/>
                <a:gd name="connsiteY91" fmla="*/ 180666 h 191418"/>
                <a:gd name="connsiteX92" fmla="*/ 283951 w 311156"/>
                <a:gd name="connsiteY92" fmla="*/ 176757 h 191418"/>
                <a:gd name="connsiteX93" fmla="*/ 286883 w 311156"/>
                <a:gd name="connsiteY93" fmla="*/ 174313 h 191418"/>
                <a:gd name="connsiteX94" fmla="*/ 290141 w 311156"/>
                <a:gd name="connsiteY94" fmla="*/ 174802 h 191418"/>
                <a:gd name="connsiteX95" fmla="*/ 291445 w 311156"/>
                <a:gd name="connsiteY95" fmla="*/ 177408 h 191418"/>
                <a:gd name="connsiteX96" fmla="*/ 294703 w 311156"/>
                <a:gd name="connsiteY96" fmla="*/ 178060 h 191418"/>
                <a:gd name="connsiteX97" fmla="*/ 298287 w 311156"/>
                <a:gd name="connsiteY97" fmla="*/ 177082 h 191418"/>
                <a:gd name="connsiteX98" fmla="*/ 303337 w 311156"/>
                <a:gd name="connsiteY98" fmla="*/ 175942 h 191418"/>
                <a:gd name="connsiteX99" fmla="*/ 306758 w 311156"/>
                <a:gd name="connsiteY99" fmla="*/ 177734 h 191418"/>
                <a:gd name="connsiteX100" fmla="*/ 310831 w 311156"/>
                <a:gd name="connsiteY100" fmla="*/ 178549 h 191418"/>
                <a:gd name="connsiteX101" fmla="*/ 311157 w 311156"/>
                <a:gd name="connsiteY101" fmla="*/ 180503 h 191418"/>
                <a:gd name="connsiteX102" fmla="*/ 309202 w 311156"/>
                <a:gd name="connsiteY102" fmla="*/ 182784 h 191418"/>
                <a:gd name="connsiteX103" fmla="*/ 305292 w 311156"/>
                <a:gd name="connsiteY103" fmla="*/ 183110 h 191418"/>
                <a:gd name="connsiteX104" fmla="*/ 299753 w 311156"/>
                <a:gd name="connsiteY104" fmla="*/ 186694 h 191418"/>
                <a:gd name="connsiteX105" fmla="*/ 292096 w 311156"/>
                <a:gd name="connsiteY105" fmla="*/ 187834 h 191418"/>
                <a:gd name="connsiteX106" fmla="*/ 286720 w 311156"/>
                <a:gd name="connsiteY106" fmla="*/ 186694 h 191418"/>
                <a:gd name="connsiteX107" fmla="*/ 283625 w 311156"/>
                <a:gd name="connsiteY107" fmla="*/ 184250 h 191418"/>
                <a:gd name="connsiteX108" fmla="*/ 280367 w 311156"/>
                <a:gd name="connsiteY108" fmla="*/ 182458 h 1914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</a:cxnLst>
              <a:rect l="l" t="t" r="r" b="b"/>
              <a:pathLst>
                <a:path w="311156" h="191418">
                  <a:moveTo>
                    <a:pt x="3584" y="73146"/>
                  </a:moveTo>
                  <a:lnTo>
                    <a:pt x="8145" y="73635"/>
                  </a:lnTo>
                  <a:lnTo>
                    <a:pt x="12056" y="75264"/>
                  </a:lnTo>
                  <a:lnTo>
                    <a:pt x="14825" y="70051"/>
                  </a:lnTo>
                  <a:lnTo>
                    <a:pt x="21667" y="65652"/>
                  </a:lnTo>
                  <a:lnTo>
                    <a:pt x="17106" y="57018"/>
                  </a:lnTo>
                  <a:lnTo>
                    <a:pt x="20364" y="44800"/>
                  </a:lnTo>
                  <a:lnTo>
                    <a:pt x="27206" y="41868"/>
                  </a:lnTo>
                  <a:lnTo>
                    <a:pt x="35025" y="48058"/>
                  </a:lnTo>
                  <a:lnTo>
                    <a:pt x="50991" y="48547"/>
                  </a:lnTo>
                  <a:lnTo>
                    <a:pt x="72983" y="57344"/>
                  </a:lnTo>
                  <a:lnTo>
                    <a:pt x="95791" y="68422"/>
                  </a:lnTo>
                  <a:lnTo>
                    <a:pt x="96931" y="91718"/>
                  </a:lnTo>
                  <a:lnTo>
                    <a:pt x="143360" y="28835"/>
                  </a:lnTo>
                  <a:lnTo>
                    <a:pt x="239965" y="0"/>
                  </a:lnTo>
                  <a:lnTo>
                    <a:pt x="238499" y="12544"/>
                  </a:lnTo>
                  <a:lnTo>
                    <a:pt x="261795" y="42031"/>
                  </a:lnTo>
                  <a:lnTo>
                    <a:pt x="258537" y="53109"/>
                  </a:lnTo>
                  <a:lnTo>
                    <a:pt x="273199" y="70540"/>
                  </a:lnTo>
                  <a:lnTo>
                    <a:pt x="267497" y="72006"/>
                  </a:lnTo>
                  <a:lnTo>
                    <a:pt x="257559" y="74124"/>
                  </a:lnTo>
                  <a:lnTo>
                    <a:pt x="248925" y="84713"/>
                  </a:lnTo>
                  <a:lnTo>
                    <a:pt x="248111" y="91066"/>
                  </a:lnTo>
                  <a:lnTo>
                    <a:pt x="250229" y="93184"/>
                  </a:lnTo>
                  <a:lnTo>
                    <a:pt x="249414" y="94650"/>
                  </a:lnTo>
                  <a:lnTo>
                    <a:pt x="250391" y="97583"/>
                  </a:lnTo>
                  <a:lnTo>
                    <a:pt x="239314" y="99863"/>
                  </a:lnTo>
                  <a:lnTo>
                    <a:pt x="234263" y="104588"/>
                  </a:lnTo>
                  <a:lnTo>
                    <a:pt x="224163" y="109638"/>
                  </a:lnTo>
                  <a:lnTo>
                    <a:pt x="208361" y="112570"/>
                  </a:lnTo>
                  <a:lnTo>
                    <a:pt x="205917" y="115340"/>
                  </a:lnTo>
                  <a:lnTo>
                    <a:pt x="177734" y="123648"/>
                  </a:lnTo>
                  <a:lnTo>
                    <a:pt x="174965" y="123322"/>
                  </a:lnTo>
                  <a:lnTo>
                    <a:pt x="170240" y="125603"/>
                  </a:lnTo>
                  <a:lnTo>
                    <a:pt x="164864" y="134237"/>
                  </a:lnTo>
                  <a:lnTo>
                    <a:pt x="157370" y="140428"/>
                  </a:lnTo>
                  <a:lnTo>
                    <a:pt x="153786" y="140428"/>
                  </a:lnTo>
                  <a:lnTo>
                    <a:pt x="152157" y="138961"/>
                  </a:lnTo>
                  <a:lnTo>
                    <a:pt x="149714" y="141242"/>
                  </a:lnTo>
                  <a:lnTo>
                    <a:pt x="145967" y="142057"/>
                  </a:lnTo>
                  <a:lnTo>
                    <a:pt x="142709" y="139613"/>
                  </a:lnTo>
                  <a:lnTo>
                    <a:pt x="138799" y="139613"/>
                  </a:lnTo>
                  <a:cubicBezTo>
                    <a:pt x="138799" y="139613"/>
                    <a:pt x="129676" y="146618"/>
                    <a:pt x="129676" y="146618"/>
                  </a:cubicBezTo>
                  <a:lnTo>
                    <a:pt x="129024" y="149714"/>
                  </a:lnTo>
                  <a:lnTo>
                    <a:pt x="125766" y="152483"/>
                  </a:lnTo>
                  <a:lnTo>
                    <a:pt x="116154" y="153461"/>
                  </a:lnTo>
                  <a:lnTo>
                    <a:pt x="104099" y="158022"/>
                  </a:lnTo>
                  <a:lnTo>
                    <a:pt x="99049" y="156882"/>
                  </a:lnTo>
                  <a:lnTo>
                    <a:pt x="97583" y="154927"/>
                  </a:lnTo>
                  <a:lnTo>
                    <a:pt x="90252" y="155252"/>
                  </a:lnTo>
                  <a:lnTo>
                    <a:pt x="89274" y="153786"/>
                  </a:lnTo>
                  <a:lnTo>
                    <a:pt x="85202" y="153786"/>
                  </a:lnTo>
                  <a:cubicBezTo>
                    <a:pt x="85202" y="153786"/>
                    <a:pt x="81943" y="154601"/>
                    <a:pt x="81943" y="154601"/>
                  </a:cubicBezTo>
                  <a:lnTo>
                    <a:pt x="75590" y="158674"/>
                  </a:lnTo>
                  <a:lnTo>
                    <a:pt x="72658" y="165353"/>
                  </a:lnTo>
                  <a:lnTo>
                    <a:pt x="70214" y="165679"/>
                  </a:lnTo>
                  <a:lnTo>
                    <a:pt x="65327" y="172521"/>
                  </a:lnTo>
                  <a:lnTo>
                    <a:pt x="60440" y="174476"/>
                  </a:lnTo>
                  <a:lnTo>
                    <a:pt x="57670" y="171706"/>
                  </a:lnTo>
                  <a:lnTo>
                    <a:pt x="52620" y="171706"/>
                  </a:lnTo>
                  <a:lnTo>
                    <a:pt x="47407" y="176105"/>
                  </a:lnTo>
                  <a:lnTo>
                    <a:pt x="43171" y="177082"/>
                  </a:lnTo>
                  <a:lnTo>
                    <a:pt x="36003" y="174802"/>
                  </a:lnTo>
                  <a:lnTo>
                    <a:pt x="34700" y="176594"/>
                  </a:lnTo>
                  <a:lnTo>
                    <a:pt x="29487" y="177408"/>
                  </a:lnTo>
                  <a:lnTo>
                    <a:pt x="27369" y="173173"/>
                  </a:lnTo>
                  <a:lnTo>
                    <a:pt x="26391" y="166819"/>
                  </a:lnTo>
                  <a:lnTo>
                    <a:pt x="21015" y="160954"/>
                  </a:lnTo>
                  <a:lnTo>
                    <a:pt x="18246" y="153949"/>
                  </a:lnTo>
                  <a:lnTo>
                    <a:pt x="21015" y="152157"/>
                  </a:lnTo>
                  <a:lnTo>
                    <a:pt x="20690" y="144989"/>
                  </a:lnTo>
                  <a:lnTo>
                    <a:pt x="14173" y="138961"/>
                  </a:lnTo>
                  <a:lnTo>
                    <a:pt x="10915" y="115177"/>
                  </a:lnTo>
                  <a:lnTo>
                    <a:pt x="4725" y="107194"/>
                  </a:lnTo>
                  <a:lnTo>
                    <a:pt x="4725" y="103285"/>
                  </a:lnTo>
                  <a:lnTo>
                    <a:pt x="1792" y="103285"/>
                  </a:lnTo>
                  <a:lnTo>
                    <a:pt x="0" y="99538"/>
                  </a:lnTo>
                  <a:lnTo>
                    <a:pt x="4073" y="100678"/>
                  </a:lnTo>
                  <a:lnTo>
                    <a:pt x="4073" y="97909"/>
                  </a:lnTo>
                  <a:lnTo>
                    <a:pt x="7005" y="97909"/>
                  </a:lnTo>
                  <a:lnTo>
                    <a:pt x="7331" y="90252"/>
                  </a:lnTo>
                  <a:lnTo>
                    <a:pt x="5050" y="77219"/>
                  </a:lnTo>
                  <a:lnTo>
                    <a:pt x="3421" y="72495"/>
                  </a:lnTo>
                  <a:lnTo>
                    <a:pt x="3421" y="72495"/>
                  </a:lnTo>
                  <a:close/>
                  <a:moveTo>
                    <a:pt x="248763" y="190278"/>
                  </a:moveTo>
                  <a:lnTo>
                    <a:pt x="254138" y="188649"/>
                  </a:lnTo>
                  <a:lnTo>
                    <a:pt x="260981" y="190604"/>
                  </a:lnTo>
                  <a:lnTo>
                    <a:pt x="255441" y="191418"/>
                  </a:lnTo>
                  <a:lnTo>
                    <a:pt x="248763" y="190278"/>
                  </a:lnTo>
                  <a:lnTo>
                    <a:pt x="248763" y="190278"/>
                  </a:lnTo>
                  <a:close/>
                  <a:moveTo>
                    <a:pt x="280367" y="182295"/>
                  </a:moveTo>
                  <a:lnTo>
                    <a:pt x="283462" y="180666"/>
                  </a:lnTo>
                  <a:lnTo>
                    <a:pt x="283951" y="176757"/>
                  </a:lnTo>
                  <a:lnTo>
                    <a:pt x="286883" y="174313"/>
                  </a:lnTo>
                  <a:lnTo>
                    <a:pt x="290141" y="174802"/>
                  </a:lnTo>
                  <a:lnTo>
                    <a:pt x="291445" y="177408"/>
                  </a:lnTo>
                  <a:lnTo>
                    <a:pt x="294703" y="178060"/>
                  </a:lnTo>
                  <a:lnTo>
                    <a:pt x="298287" y="177082"/>
                  </a:lnTo>
                  <a:lnTo>
                    <a:pt x="303337" y="175942"/>
                  </a:lnTo>
                  <a:lnTo>
                    <a:pt x="306758" y="177734"/>
                  </a:lnTo>
                  <a:lnTo>
                    <a:pt x="310831" y="178549"/>
                  </a:lnTo>
                  <a:lnTo>
                    <a:pt x="311157" y="180503"/>
                  </a:lnTo>
                  <a:lnTo>
                    <a:pt x="309202" y="182784"/>
                  </a:lnTo>
                  <a:lnTo>
                    <a:pt x="305292" y="183110"/>
                  </a:lnTo>
                  <a:lnTo>
                    <a:pt x="299753" y="186694"/>
                  </a:lnTo>
                  <a:lnTo>
                    <a:pt x="292096" y="187834"/>
                  </a:lnTo>
                  <a:lnTo>
                    <a:pt x="286720" y="186694"/>
                  </a:lnTo>
                  <a:lnTo>
                    <a:pt x="283625" y="184250"/>
                  </a:lnTo>
                  <a:lnTo>
                    <a:pt x="280367" y="182458"/>
                  </a:lnTo>
                  <a:close/>
                </a:path>
              </a:pathLst>
            </a:custGeom>
            <a:solidFill>
              <a:schemeClr val="bg2"/>
            </a:solidFill>
            <a:ln w="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239" name="Gráfico 24">
              <a:extLst>
                <a:ext uri="{FF2B5EF4-FFF2-40B4-BE49-F238E27FC236}">
                  <a16:creationId xmlns:a16="http://schemas.microsoft.com/office/drawing/2014/main" id="{1DED17C6-F807-C463-C09E-5FE8EAA0DFA9}"/>
                </a:ext>
              </a:extLst>
            </p:cNvPr>
            <p:cNvGrpSpPr/>
            <p:nvPr/>
          </p:nvGrpSpPr>
          <p:grpSpPr>
            <a:xfrm>
              <a:off x="7610618" y="3684476"/>
              <a:ext cx="1568353" cy="770709"/>
              <a:chOff x="7470627" y="3647634"/>
              <a:chExt cx="1517661" cy="745798"/>
            </a:xfrm>
            <a:solidFill>
              <a:schemeClr val="bg2"/>
            </a:solidFill>
          </p:grpSpPr>
          <p:sp>
            <p:nvSpPr>
              <p:cNvPr id="240" name="Forma livre: Forma 239">
                <a:extLst>
                  <a:ext uri="{FF2B5EF4-FFF2-40B4-BE49-F238E27FC236}">
                    <a16:creationId xmlns:a16="http://schemas.microsoft.com/office/drawing/2014/main" id="{426BEDFF-76CC-93FD-F40D-39F8B6778168}"/>
                  </a:ext>
                </a:extLst>
              </p:cNvPr>
              <p:cNvSpPr/>
              <p:nvPr/>
            </p:nvSpPr>
            <p:spPr>
              <a:xfrm>
                <a:off x="7470627" y="3647634"/>
                <a:ext cx="3746" cy="2769"/>
              </a:xfrm>
              <a:custGeom>
                <a:avLst/>
                <a:gdLst>
                  <a:gd name="connsiteX0" fmla="*/ 0 w 3746"/>
                  <a:gd name="connsiteY0" fmla="*/ 0 h 2769"/>
                  <a:gd name="connsiteX1" fmla="*/ 3747 w 3746"/>
                  <a:gd name="connsiteY1" fmla="*/ 2770 h 2769"/>
                  <a:gd name="connsiteX2" fmla="*/ 0 w 3746"/>
                  <a:gd name="connsiteY2" fmla="*/ 0 h 2769"/>
                  <a:gd name="connsiteX3" fmla="*/ 0 w 3746"/>
                  <a:gd name="connsiteY3" fmla="*/ 0 h 27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746" h="2769">
                    <a:moveTo>
                      <a:pt x="0" y="0"/>
                    </a:moveTo>
                    <a:lnTo>
                      <a:pt x="3747" y="277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41" name="Forma livre: Forma 240">
                <a:extLst>
                  <a:ext uri="{FF2B5EF4-FFF2-40B4-BE49-F238E27FC236}">
                    <a16:creationId xmlns:a16="http://schemas.microsoft.com/office/drawing/2014/main" id="{9A4A74D3-2E77-AEE2-62CE-E8339D4FAC34}"/>
                  </a:ext>
                </a:extLst>
              </p:cNvPr>
              <p:cNvSpPr/>
              <p:nvPr/>
            </p:nvSpPr>
            <p:spPr>
              <a:xfrm>
                <a:off x="8665891" y="4339183"/>
                <a:ext cx="60765" cy="54248"/>
              </a:xfrm>
              <a:custGeom>
                <a:avLst/>
                <a:gdLst>
                  <a:gd name="connsiteX0" fmla="*/ 53434 w 60765"/>
                  <a:gd name="connsiteY0" fmla="*/ 1955 h 54248"/>
                  <a:gd name="connsiteX1" fmla="*/ 47895 w 60765"/>
                  <a:gd name="connsiteY1" fmla="*/ 0 h 54248"/>
                  <a:gd name="connsiteX2" fmla="*/ 44148 w 60765"/>
                  <a:gd name="connsiteY2" fmla="*/ 2607 h 54248"/>
                  <a:gd name="connsiteX3" fmla="*/ 41379 w 60765"/>
                  <a:gd name="connsiteY3" fmla="*/ 489 h 54248"/>
                  <a:gd name="connsiteX4" fmla="*/ 36166 w 60765"/>
                  <a:gd name="connsiteY4" fmla="*/ 1629 h 54248"/>
                  <a:gd name="connsiteX5" fmla="*/ 33559 w 60765"/>
                  <a:gd name="connsiteY5" fmla="*/ 815 h 54248"/>
                  <a:gd name="connsiteX6" fmla="*/ 29975 w 60765"/>
                  <a:gd name="connsiteY6" fmla="*/ 3258 h 54248"/>
                  <a:gd name="connsiteX7" fmla="*/ 25251 w 60765"/>
                  <a:gd name="connsiteY7" fmla="*/ 3258 h 54248"/>
                  <a:gd name="connsiteX8" fmla="*/ 20201 w 60765"/>
                  <a:gd name="connsiteY8" fmla="*/ 5865 h 54248"/>
                  <a:gd name="connsiteX9" fmla="*/ 15639 w 60765"/>
                  <a:gd name="connsiteY9" fmla="*/ 6516 h 54248"/>
                  <a:gd name="connsiteX10" fmla="*/ 14499 w 60765"/>
                  <a:gd name="connsiteY10" fmla="*/ 11241 h 54248"/>
                  <a:gd name="connsiteX11" fmla="*/ 6679 w 60765"/>
                  <a:gd name="connsiteY11" fmla="*/ 15802 h 54248"/>
                  <a:gd name="connsiteX12" fmla="*/ 0 w 60765"/>
                  <a:gd name="connsiteY12" fmla="*/ 22807 h 54248"/>
                  <a:gd name="connsiteX13" fmla="*/ 2444 w 60765"/>
                  <a:gd name="connsiteY13" fmla="*/ 26880 h 54248"/>
                  <a:gd name="connsiteX14" fmla="*/ 2444 w 60765"/>
                  <a:gd name="connsiteY14" fmla="*/ 36492 h 54248"/>
                  <a:gd name="connsiteX15" fmla="*/ 5539 w 60765"/>
                  <a:gd name="connsiteY15" fmla="*/ 41542 h 54248"/>
                  <a:gd name="connsiteX16" fmla="*/ 5213 w 60765"/>
                  <a:gd name="connsiteY16" fmla="*/ 44474 h 54248"/>
                  <a:gd name="connsiteX17" fmla="*/ 9775 w 60765"/>
                  <a:gd name="connsiteY17" fmla="*/ 48547 h 54248"/>
                  <a:gd name="connsiteX18" fmla="*/ 15150 w 60765"/>
                  <a:gd name="connsiteY18" fmla="*/ 48547 h 54248"/>
                  <a:gd name="connsiteX19" fmla="*/ 18572 w 60765"/>
                  <a:gd name="connsiteY19" fmla="*/ 51316 h 54248"/>
                  <a:gd name="connsiteX20" fmla="*/ 22318 w 60765"/>
                  <a:gd name="connsiteY20" fmla="*/ 51316 h 54248"/>
                  <a:gd name="connsiteX21" fmla="*/ 26880 w 60765"/>
                  <a:gd name="connsiteY21" fmla="*/ 54249 h 54248"/>
                  <a:gd name="connsiteX22" fmla="*/ 29975 w 60765"/>
                  <a:gd name="connsiteY22" fmla="*/ 52620 h 54248"/>
                  <a:gd name="connsiteX23" fmla="*/ 31279 w 60765"/>
                  <a:gd name="connsiteY23" fmla="*/ 48058 h 54248"/>
                  <a:gd name="connsiteX24" fmla="*/ 35352 w 60765"/>
                  <a:gd name="connsiteY24" fmla="*/ 47407 h 54248"/>
                  <a:gd name="connsiteX25" fmla="*/ 39587 w 60765"/>
                  <a:gd name="connsiteY25" fmla="*/ 48547 h 54248"/>
                  <a:gd name="connsiteX26" fmla="*/ 42682 w 60765"/>
                  <a:gd name="connsiteY26" fmla="*/ 44474 h 54248"/>
                  <a:gd name="connsiteX27" fmla="*/ 43008 w 60765"/>
                  <a:gd name="connsiteY27" fmla="*/ 41542 h 54248"/>
                  <a:gd name="connsiteX28" fmla="*/ 47732 w 60765"/>
                  <a:gd name="connsiteY28" fmla="*/ 40564 h 54248"/>
                  <a:gd name="connsiteX29" fmla="*/ 51479 w 60765"/>
                  <a:gd name="connsiteY29" fmla="*/ 36655 h 54248"/>
                  <a:gd name="connsiteX30" fmla="*/ 50502 w 60765"/>
                  <a:gd name="connsiteY30" fmla="*/ 32256 h 54248"/>
                  <a:gd name="connsiteX31" fmla="*/ 53109 w 60765"/>
                  <a:gd name="connsiteY31" fmla="*/ 24274 h 54248"/>
                  <a:gd name="connsiteX32" fmla="*/ 55715 w 60765"/>
                  <a:gd name="connsiteY32" fmla="*/ 22318 h 54248"/>
                  <a:gd name="connsiteX33" fmla="*/ 56855 w 60765"/>
                  <a:gd name="connsiteY33" fmla="*/ 18572 h 54248"/>
                  <a:gd name="connsiteX34" fmla="*/ 60765 w 60765"/>
                  <a:gd name="connsiteY34" fmla="*/ 12381 h 54248"/>
                  <a:gd name="connsiteX35" fmla="*/ 58484 w 60765"/>
                  <a:gd name="connsiteY35" fmla="*/ 5702 h 54248"/>
                  <a:gd name="connsiteX36" fmla="*/ 53109 w 60765"/>
                  <a:gd name="connsiteY36" fmla="*/ 2281 h 542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</a:cxnLst>
                <a:rect l="l" t="t" r="r" b="b"/>
                <a:pathLst>
                  <a:path w="60765" h="54248">
                    <a:moveTo>
                      <a:pt x="53434" y="1955"/>
                    </a:moveTo>
                    <a:lnTo>
                      <a:pt x="47895" y="0"/>
                    </a:lnTo>
                    <a:lnTo>
                      <a:pt x="44148" y="2607"/>
                    </a:lnTo>
                    <a:cubicBezTo>
                      <a:pt x="44148" y="2607"/>
                      <a:pt x="41216" y="652"/>
                      <a:pt x="41379" y="489"/>
                    </a:cubicBezTo>
                    <a:lnTo>
                      <a:pt x="36166" y="1629"/>
                    </a:lnTo>
                    <a:lnTo>
                      <a:pt x="33559" y="815"/>
                    </a:lnTo>
                    <a:lnTo>
                      <a:pt x="29975" y="3258"/>
                    </a:lnTo>
                    <a:lnTo>
                      <a:pt x="25251" y="3258"/>
                    </a:lnTo>
                    <a:lnTo>
                      <a:pt x="20201" y="5865"/>
                    </a:lnTo>
                    <a:lnTo>
                      <a:pt x="15639" y="6516"/>
                    </a:lnTo>
                    <a:lnTo>
                      <a:pt x="14499" y="11241"/>
                    </a:lnTo>
                    <a:lnTo>
                      <a:pt x="6679" y="15802"/>
                    </a:lnTo>
                    <a:lnTo>
                      <a:pt x="0" y="22807"/>
                    </a:lnTo>
                    <a:lnTo>
                      <a:pt x="2444" y="26880"/>
                    </a:lnTo>
                    <a:lnTo>
                      <a:pt x="2444" y="36492"/>
                    </a:lnTo>
                    <a:cubicBezTo>
                      <a:pt x="2444" y="36492"/>
                      <a:pt x="5539" y="41542"/>
                      <a:pt x="5539" y="41542"/>
                    </a:cubicBezTo>
                    <a:lnTo>
                      <a:pt x="5213" y="44474"/>
                    </a:lnTo>
                    <a:lnTo>
                      <a:pt x="9775" y="48547"/>
                    </a:lnTo>
                    <a:lnTo>
                      <a:pt x="15150" y="48547"/>
                    </a:lnTo>
                    <a:lnTo>
                      <a:pt x="18572" y="51316"/>
                    </a:lnTo>
                    <a:lnTo>
                      <a:pt x="22318" y="51316"/>
                    </a:lnTo>
                    <a:cubicBezTo>
                      <a:pt x="22318" y="51316"/>
                      <a:pt x="26880" y="54249"/>
                      <a:pt x="26880" y="54249"/>
                    </a:cubicBezTo>
                    <a:lnTo>
                      <a:pt x="29975" y="52620"/>
                    </a:lnTo>
                    <a:lnTo>
                      <a:pt x="31279" y="48058"/>
                    </a:lnTo>
                    <a:lnTo>
                      <a:pt x="35352" y="47407"/>
                    </a:lnTo>
                    <a:lnTo>
                      <a:pt x="39587" y="48547"/>
                    </a:lnTo>
                    <a:lnTo>
                      <a:pt x="42682" y="44474"/>
                    </a:lnTo>
                    <a:lnTo>
                      <a:pt x="43008" y="41542"/>
                    </a:lnTo>
                    <a:lnTo>
                      <a:pt x="47732" y="40564"/>
                    </a:lnTo>
                    <a:lnTo>
                      <a:pt x="51479" y="36655"/>
                    </a:lnTo>
                    <a:lnTo>
                      <a:pt x="50502" y="32256"/>
                    </a:lnTo>
                    <a:lnTo>
                      <a:pt x="53109" y="24274"/>
                    </a:lnTo>
                    <a:lnTo>
                      <a:pt x="55715" y="22318"/>
                    </a:lnTo>
                    <a:lnTo>
                      <a:pt x="56855" y="18572"/>
                    </a:lnTo>
                    <a:lnTo>
                      <a:pt x="60765" y="12381"/>
                    </a:lnTo>
                    <a:lnTo>
                      <a:pt x="58484" y="5702"/>
                    </a:lnTo>
                    <a:lnTo>
                      <a:pt x="53109" y="2281"/>
                    </a:lnTo>
                    <a:close/>
                  </a:path>
                </a:pathLst>
              </a:custGeom>
              <a:grpFill/>
              <a:ln w="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242" name="Gráfico 24">
                <a:extLst>
                  <a:ext uri="{FF2B5EF4-FFF2-40B4-BE49-F238E27FC236}">
                    <a16:creationId xmlns:a16="http://schemas.microsoft.com/office/drawing/2014/main" id="{30293B12-36EA-BC37-BBA5-7071AA0DC5CD}"/>
                  </a:ext>
                </a:extLst>
              </p:cNvPr>
              <p:cNvGrpSpPr/>
              <p:nvPr/>
            </p:nvGrpSpPr>
            <p:grpSpPr>
              <a:xfrm>
                <a:off x="8122264" y="4158354"/>
                <a:ext cx="130816" cy="170891"/>
                <a:chOff x="8122264" y="4158354"/>
                <a:chExt cx="130816" cy="170891"/>
              </a:xfrm>
              <a:grpFill/>
            </p:grpSpPr>
            <p:sp>
              <p:nvSpPr>
                <p:cNvPr id="243" name="Forma livre: Forma 242">
                  <a:extLst>
                    <a:ext uri="{FF2B5EF4-FFF2-40B4-BE49-F238E27FC236}">
                      <a16:creationId xmlns:a16="http://schemas.microsoft.com/office/drawing/2014/main" id="{8247B6CA-BB44-C201-81C3-1206A61C4E84}"/>
                    </a:ext>
                  </a:extLst>
                </p:cNvPr>
                <p:cNvSpPr/>
                <p:nvPr/>
              </p:nvSpPr>
              <p:spPr>
                <a:xfrm>
                  <a:off x="8195247" y="4272879"/>
                  <a:ext cx="8308" cy="11892"/>
                </a:xfrm>
                <a:custGeom>
                  <a:avLst/>
                  <a:gdLst>
                    <a:gd name="connsiteX0" fmla="*/ 4725 w 8308"/>
                    <a:gd name="connsiteY0" fmla="*/ 0 h 11892"/>
                    <a:gd name="connsiteX1" fmla="*/ 0 w 8308"/>
                    <a:gd name="connsiteY1" fmla="*/ 1955 h 11892"/>
                    <a:gd name="connsiteX2" fmla="*/ 326 w 8308"/>
                    <a:gd name="connsiteY2" fmla="*/ 4236 h 11892"/>
                    <a:gd name="connsiteX3" fmla="*/ 3747 w 8308"/>
                    <a:gd name="connsiteY3" fmla="*/ 11729 h 11892"/>
                    <a:gd name="connsiteX4" fmla="*/ 8309 w 8308"/>
                    <a:gd name="connsiteY4" fmla="*/ 11893 h 11892"/>
                    <a:gd name="connsiteX5" fmla="*/ 7820 w 8308"/>
                    <a:gd name="connsiteY5" fmla="*/ 4399 h 11892"/>
                    <a:gd name="connsiteX6" fmla="*/ 4725 w 8308"/>
                    <a:gd name="connsiteY6" fmla="*/ 0 h 118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8308" h="11892">
                      <a:moveTo>
                        <a:pt x="4725" y="0"/>
                      </a:moveTo>
                      <a:lnTo>
                        <a:pt x="0" y="1955"/>
                      </a:lnTo>
                      <a:lnTo>
                        <a:pt x="326" y="4236"/>
                      </a:lnTo>
                      <a:lnTo>
                        <a:pt x="3747" y="11729"/>
                      </a:lnTo>
                      <a:lnTo>
                        <a:pt x="8309" y="11893"/>
                      </a:lnTo>
                      <a:lnTo>
                        <a:pt x="7820" y="4399"/>
                      </a:lnTo>
                      <a:lnTo>
                        <a:pt x="4725" y="0"/>
                      </a:lnTo>
                      <a:close/>
                    </a:path>
                  </a:pathLst>
                </a:custGeom>
                <a:grpFill/>
                <a:ln w="0" cap="flat">
                  <a:solidFill>
                    <a:schemeClr val="bg1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44" name="Forma livre: Forma 243">
                  <a:extLst>
                    <a:ext uri="{FF2B5EF4-FFF2-40B4-BE49-F238E27FC236}">
                      <a16:creationId xmlns:a16="http://schemas.microsoft.com/office/drawing/2014/main" id="{8A19DCBA-7F6A-0E93-BAF6-DD0DFFE7A2B8}"/>
                    </a:ext>
                  </a:extLst>
                </p:cNvPr>
                <p:cNvSpPr/>
                <p:nvPr/>
              </p:nvSpPr>
              <p:spPr>
                <a:xfrm>
                  <a:off x="8205021" y="4274182"/>
                  <a:ext cx="7819" cy="15313"/>
                </a:xfrm>
                <a:custGeom>
                  <a:avLst/>
                  <a:gdLst>
                    <a:gd name="connsiteX0" fmla="*/ 0 w 7819"/>
                    <a:gd name="connsiteY0" fmla="*/ 0 h 15313"/>
                    <a:gd name="connsiteX1" fmla="*/ 0 w 7819"/>
                    <a:gd name="connsiteY1" fmla="*/ 2444 h 15313"/>
                    <a:gd name="connsiteX2" fmla="*/ 2607 w 7819"/>
                    <a:gd name="connsiteY2" fmla="*/ 7820 h 15313"/>
                    <a:gd name="connsiteX3" fmla="*/ 2118 w 7819"/>
                    <a:gd name="connsiteY3" fmla="*/ 12055 h 15313"/>
                    <a:gd name="connsiteX4" fmla="*/ 4399 w 7819"/>
                    <a:gd name="connsiteY4" fmla="*/ 15313 h 15313"/>
                    <a:gd name="connsiteX5" fmla="*/ 7820 w 7819"/>
                    <a:gd name="connsiteY5" fmla="*/ 8634 h 15313"/>
                    <a:gd name="connsiteX6" fmla="*/ 6516 w 7819"/>
                    <a:gd name="connsiteY6" fmla="*/ 4561 h 15313"/>
                    <a:gd name="connsiteX7" fmla="*/ 0 w 7819"/>
                    <a:gd name="connsiteY7" fmla="*/ 0 h 1531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7819" h="15313">
                      <a:moveTo>
                        <a:pt x="0" y="0"/>
                      </a:moveTo>
                      <a:cubicBezTo>
                        <a:pt x="0" y="0"/>
                        <a:pt x="163" y="1955"/>
                        <a:pt x="0" y="2444"/>
                      </a:cubicBezTo>
                      <a:lnTo>
                        <a:pt x="2607" y="7820"/>
                      </a:lnTo>
                      <a:lnTo>
                        <a:pt x="2118" y="12055"/>
                      </a:lnTo>
                      <a:lnTo>
                        <a:pt x="4399" y="15313"/>
                      </a:lnTo>
                      <a:lnTo>
                        <a:pt x="7820" y="8634"/>
                      </a:lnTo>
                      <a:lnTo>
                        <a:pt x="6516" y="4561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0" cap="flat">
                  <a:solidFill>
                    <a:schemeClr val="bg1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45" name="Forma livre: Forma 244">
                  <a:extLst>
                    <a:ext uri="{FF2B5EF4-FFF2-40B4-BE49-F238E27FC236}">
                      <a16:creationId xmlns:a16="http://schemas.microsoft.com/office/drawing/2014/main" id="{D3B29C0D-276E-9055-B2AD-5CE5CDE01881}"/>
                    </a:ext>
                  </a:extLst>
                </p:cNvPr>
                <p:cNvSpPr/>
                <p:nvPr/>
              </p:nvSpPr>
              <p:spPr>
                <a:xfrm>
                  <a:off x="8122264" y="4158354"/>
                  <a:ext cx="130816" cy="170891"/>
                </a:xfrm>
                <a:custGeom>
                  <a:avLst/>
                  <a:gdLst>
                    <a:gd name="connsiteX0" fmla="*/ 129839 w 130816"/>
                    <a:gd name="connsiteY0" fmla="*/ 139125 h 170891"/>
                    <a:gd name="connsiteX1" fmla="*/ 128535 w 130816"/>
                    <a:gd name="connsiteY1" fmla="*/ 137007 h 170891"/>
                    <a:gd name="connsiteX2" fmla="*/ 128372 w 130816"/>
                    <a:gd name="connsiteY2" fmla="*/ 134237 h 170891"/>
                    <a:gd name="connsiteX3" fmla="*/ 127232 w 130816"/>
                    <a:gd name="connsiteY3" fmla="*/ 132445 h 170891"/>
                    <a:gd name="connsiteX4" fmla="*/ 125440 w 130816"/>
                    <a:gd name="connsiteY4" fmla="*/ 128535 h 170891"/>
                    <a:gd name="connsiteX5" fmla="*/ 123322 w 130816"/>
                    <a:gd name="connsiteY5" fmla="*/ 121693 h 170891"/>
                    <a:gd name="connsiteX6" fmla="*/ 121856 w 130816"/>
                    <a:gd name="connsiteY6" fmla="*/ 111430 h 170891"/>
                    <a:gd name="connsiteX7" fmla="*/ 120064 w 130816"/>
                    <a:gd name="connsiteY7" fmla="*/ 107520 h 170891"/>
                    <a:gd name="connsiteX8" fmla="*/ 120064 w 130816"/>
                    <a:gd name="connsiteY8" fmla="*/ 102144 h 170891"/>
                    <a:gd name="connsiteX9" fmla="*/ 118435 w 130816"/>
                    <a:gd name="connsiteY9" fmla="*/ 94976 h 170891"/>
                    <a:gd name="connsiteX10" fmla="*/ 116154 w 130816"/>
                    <a:gd name="connsiteY10" fmla="*/ 91392 h 170891"/>
                    <a:gd name="connsiteX11" fmla="*/ 114851 w 130816"/>
                    <a:gd name="connsiteY11" fmla="*/ 88949 h 170891"/>
                    <a:gd name="connsiteX12" fmla="*/ 110452 w 130816"/>
                    <a:gd name="connsiteY12" fmla="*/ 89437 h 170891"/>
                    <a:gd name="connsiteX13" fmla="*/ 107194 w 130816"/>
                    <a:gd name="connsiteY13" fmla="*/ 87156 h 170891"/>
                    <a:gd name="connsiteX14" fmla="*/ 104914 w 130816"/>
                    <a:gd name="connsiteY14" fmla="*/ 88949 h 170891"/>
                    <a:gd name="connsiteX15" fmla="*/ 106543 w 130816"/>
                    <a:gd name="connsiteY15" fmla="*/ 91392 h 170891"/>
                    <a:gd name="connsiteX16" fmla="*/ 104914 w 130816"/>
                    <a:gd name="connsiteY16" fmla="*/ 93673 h 170891"/>
                    <a:gd name="connsiteX17" fmla="*/ 104914 w 130816"/>
                    <a:gd name="connsiteY17" fmla="*/ 96442 h 170891"/>
                    <a:gd name="connsiteX18" fmla="*/ 102144 w 130816"/>
                    <a:gd name="connsiteY18" fmla="*/ 100352 h 170891"/>
                    <a:gd name="connsiteX19" fmla="*/ 103936 w 130816"/>
                    <a:gd name="connsiteY19" fmla="*/ 101655 h 170891"/>
                    <a:gd name="connsiteX20" fmla="*/ 103447 w 130816"/>
                    <a:gd name="connsiteY20" fmla="*/ 105728 h 170891"/>
                    <a:gd name="connsiteX21" fmla="*/ 100841 w 130816"/>
                    <a:gd name="connsiteY21" fmla="*/ 105891 h 170891"/>
                    <a:gd name="connsiteX22" fmla="*/ 96931 w 130816"/>
                    <a:gd name="connsiteY22" fmla="*/ 100515 h 170891"/>
                    <a:gd name="connsiteX23" fmla="*/ 92858 w 130816"/>
                    <a:gd name="connsiteY23" fmla="*/ 96768 h 170891"/>
                    <a:gd name="connsiteX24" fmla="*/ 91718 w 130816"/>
                    <a:gd name="connsiteY24" fmla="*/ 94161 h 170891"/>
                    <a:gd name="connsiteX25" fmla="*/ 89274 w 130816"/>
                    <a:gd name="connsiteY25" fmla="*/ 91718 h 170891"/>
                    <a:gd name="connsiteX26" fmla="*/ 86668 w 130816"/>
                    <a:gd name="connsiteY26" fmla="*/ 84876 h 170891"/>
                    <a:gd name="connsiteX27" fmla="*/ 86668 w 130816"/>
                    <a:gd name="connsiteY27" fmla="*/ 81780 h 170891"/>
                    <a:gd name="connsiteX28" fmla="*/ 88623 w 130816"/>
                    <a:gd name="connsiteY28" fmla="*/ 79988 h 170891"/>
                    <a:gd name="connsiteX29" fmla="*/ 89437 w 130816"/>
                    <a:gd name="connsiteY29" fmla="*/ 76730 h 170891"/>
                    <a:gd name="connsiteX30" fmla="*/ 94325 w 130816"/>
                    <a:gd name="connsiteY30" fmla="*/ 73309 h 170891"/>
                    <a:gd name="connsiteX31" fmla="*/ 96279 w 130816"/>
                    <a:gd name="connsiteY31" fmla="*/ 75101 h 170891"/>
                    <a:gd name="connsiteX32" fmla="*/ 99049 w 130816"/>
                    <a:gd name="connsiteY32" fmla="*/ 75590 h 170891"/>
                    <a:gd name="connsiteX33" fmla="*/ 101166 w 130816"/>
                    <a:gd name="connsiteY33" fmla="*/ 73146 h 170891"/>
                    <a:gd name="connsiteX34" fmla="*/ 101166 w 130816"/>
                    <a:gd name="connsiteY34" fmla="*/ 69725 h 170891"/>
                    <a:gd name="connsiteX35" fmla="*/ 104262 w 130816"/>
                    <a:gd name="connsiteY35" fmla="*/ 68096 h 170891"/>
                    <a:gd name="connsiteX36" fmla="*/ 107520 w 130816"/>
                    <a:gd name="connsiteY36" fmla="*/ 59625 h 170891"/>
                    <a:gd name="connsiteX37" fmla="*/ 108498 w 130816"/>
                    <a:gd name="connsiteY37" fmla="*/ 53434 h 170891"/>
                    <a:gd name="connsiteX38" fmla="*/ 111267 w 130816"/>
                    <a:gd name="connsiteY38" fmla="*/ 48058 h 170891"/>
                    <a:gd name="connsiteX39" fmla="*/ 108660 w 130816"/>
                    <a:gd name="connsiteY39" fmla="*/ 46918 h 170891"/>
                    <a:gd name="connsiteX40" fmla="*/ 104262 w 130816"/>
                    <a:gd name="connsiteY40" fmla="*/ 42356 h 170891"/>
                    <a:gd name="connsiteX41" fmla="*/ 101330 w 130816"/>
                    <a:gd name="connsiteY41" fmla="*/ 43008 h 170891"/>
                    <a:gd name="connsiteX42" fmla="*/ 99375 w 130816"/>
                    <a:gd name="connsiteY42" fmla="*/ 41705 h 170891"/>
                    <a:gd name="connsiteX43" fmla="*/ 95139 w 130816"/>
                    <a:gd name="connsiteY43" fmla="*/ 42194 h 170891"/>
                    <a:gd name="connsiteX44" fmla="*/ 86505 w 130816"/>
                    <a:gd name="connsiteY44" fmla="*/ 42519 h 170891"/>
                    <a:gd name="connsiteX45" fmla="*/ 78848 w 130816"/>
                    <a:gd name="connsiteY45" fmla="*/ 41542 h 170891"/>
                    <a:gd name="connsiteX46" fmla="*/ 68422 w 130816"/>
                    <a:gd name="connsiteY46" fmla="*/ 42356 h 170891"/>
                    <a:gd name="connsiteX47" fmla="*/ 61905 w 130816"/>
                    <a:gd name="connsiteY47" fmla="*/ 42356 h 170891"/>
                    <a:gd name="connsiteX48" fmla="*/ 56529 w 130816"/>
                    <a:gd name="connsiteY48" fmla="*/ 39913 h 170891"/>
                    <a:gd name="connsiteX49" fmla="*/ 51642 w 130816"/>
                    <a:gd name="connsiteY49" fmla="*/ 40239 h 170891"/>
                    <a:gd name="connsiteX50" fmla="*/ 46918 w 130816"/>
                    <a:gd name="connsiteY50" fmla="*/ 38447 h 170891"/>
                    <a:gd name="connsiteX51" fmla="*/ 47080 w 130816"/>
                    <a:gd name="connsiteY51" fmla="*/ 34700 h 170891"/>
                    <a:gd name="connsiteX52" fmla="*/ 45126 w 130816"/>
                    <a:gd name="connsiteY52" fmla="*/ 29161 h 170891"/>
                    <a:gd name="connsiteX53" fmla="*/ 44311 w 130816"/>
                    <a:gd name="connsiteY53" fmla="*/ 26066 h 170891"/>
                    <a:gd name="connsiteX54" fmla="*/ 44311 w 130816"/>
                    <a:gd name="connsiteY54" fmla="*/ 25577 h 170891"/>
                    <a:gd name="connsiteX55" fmla="*/ 44311 w 130816"/>
                    <a:gd name="connsiteY55" fmla="*/ 25577 h 170891"/>
                    <a:gd name="connsiteX56" fmla="*/ 43171 w 130816"/>
                    <a:gd name="connsiteY56" fmla="*/ 20038 h 170891"/>
                    <a:gd name="connsiteX57" fmla="*/ 39750 w 130816"/>
                    <a:gd name="connsiteY57" fmla="*/ 13685 h 170891"/>
                    <a:gd name="connsiteX58" fmla="*/ 37143 w 130816"/>
                    <a:gd name="connsiteY58" fmla="*/ 14336 h 170891"/>
                    <a:gd name="connsiteX59" fmla="*/ 36818 w 130816"/>
                    <a:gd name="connsiteY59" fmla="*/ 16128 h 170891"/>
                    <a:gd name="connsiteX60" fmla="*/ 31767 w 130816"/>
                    <a:gd name="connsiteY60" fmla="*/ 14499 h 170891"/>
                    <a:gd name="connsiteX61" fmla="*/ 29161 w 130816"/>
                    <a:gd name="connsiteY61" fmla="*/ 11893 h 170891"/>
                    <a:gd name="connsiteX62" fmla="*/ 25577 w 130816"/>
                    <a:gd name="connsiteY62" fmla="*/ 8797 h 170891"/>
                    <a:gd name="connsiteX63" fmla="*/ 23296 w 130816"/>
                    <a:gd name="connsiteY63" fmla="*/ 8634 h 170891"/>
                    <a:gd name="connsiteX64" fmla="*/ 22318 w 130816"/>
                    <a:gd name="connsiteY64" fmla="*/ 11567 h 170891"/>
                    <a:gd name="connsiteX65" fmla="*/ 25902 w 130816"/>
                    <a:gd name="connsiteY65" fmla="*/ 13685 h 170891"/>
                    <a:gd name="connsiteX66" fmla="*/ 23296 w 130816"/>
                    <a:gd name="connsiteY66" fmla="*/ 14988 h 170891"/>
                    <a:gd name="connsiteX67" fmla="*/ 17920 w 130816"/>
                    <a:gd name="connsiteY67" fmla="*/ 14336 h 170891"/>
                    <a:gd name="connsiteX68" fmla="*/ 14336 w 130816"/>
                    <a:gd name="connsiteY68" fmla="*/ 9775 h 170891"/>
                    <a:gd name="connsiteX69" fmla="*/ 14499 w 130816"/>
                    <a:gd name="connsiteY69" fmla="*/ 7005 h 170891"/>
                    <a:gd name="connsiteX70" fmla="*/ 10915 w 130816"/>
                    <a:gd name="connsiteY70" fmla="*/ 2932 h 170891"/>
                    <a:gd name="connsiteX71" fmla="*/ 8960 w 130816"/>
                    <a:gd name="connsiteY71" fmla="*/ 0 h 170891"/>
                    <a:gd name="connsiteX72" fmla="*/ 7494 w 130816"/>
                    <a:gd name="connsiteY72" fmla="*/ 3584 h 170891"/>
                    <a:gd name="connsiteX73" fmla="*/ 5213 w 130816"/>
                    <a:gd name="connsiteY73" fmla="*/ 3747 h 170891"/>
                    <a:gd name="connsiteX74" fmla="*/ 5539 w 130816"/>
                    <a:gd name="connsiteY74" fmla="*/ 7331 h 170891"/>
                    <a:gd name="connsiteX75" fmla="*/ 7982 w 130816"/>
                    <a:gd name="connsiteY75" fmla="*/ 9449 h 170891"/>
                    <a:gd name="connsiteX76" fmla="*/ 5702 w 130816"/>
                    <a:gd name="connsiteY76" fmla="*/ 16128 h 170891"/>
                    <a:gd name="connsiteX77" fmla="*/ 814 w 130816"/>
                    <a:gd name="connsiteY77" fmla="*/ 21667 h 170891"/>
                    <a:gd name="connsiteX78" fmla="*/ 814 w 130816"/>
                    <a:gd name="connsiteY78" fmla="*/ 21667 h 170891"/>
                    <a:gd name="connsiteX79" fmla="*/ 652 w 130816"/>
                    <a:gd name="connsiteY79" fmla="*/ 21830 h 170891"/>
                    <a:gd name="connsiteX80" fmla="*/ 0 w 130816"/>
                    <a:gd name="connsiteY80" fmla="*/ 28020 h 170891"/>
                    <a:gd name="connsiteX81" fmla="*/ 11892 w 130816"/>
                    <a:gd name="connsiteY81" fmla="*/ 32256 h 170891"/>
                    <a:gd name="connsiteX82" fmla="*/ 16454 w 130816"/>
                    <a:gd name="connsiteY82" fmla="*/ 30301 h 170891"/>
                    <a:gd name="connsiteX83" fmla="*/ 23133 w 130816"/>
                    <a:gd name="connsiteY83" fmla="*/ 30953 h 170891"/>
                    <a:gd name="connsiteX84" fmla="*/ 21993 w 130816"/>
                    <a:gd name="connsiteY84" fmla="*/ 34048 h 170891"/>
                    <a:gd name="connsiteX85" fmla="*/ 23459 w 130816"/>
                    <a:gd name="connsiteY85" fmla="*/ 40727 h 170891"/>
                    <a:gd name="connsiteX86" fmla="*/ 20201 w 130816"/>
                    <a:gd name="connsiteY86" fmla="*/ 43171 h 170891"/>
                    <a:gd name="connsiteX87" fmla="*/ 17105 w 130816"/>
                    <a:gd name="connsiteY87" fmla="*/ 42194 h 170891"/>
                    <a:gd name="connsiteX88" fmla="*/ 13359 w 130816"/>
                    <a:gd name="connsiteY88" fmla="*/ 44311 h 170891"/>
                    <a:gd name="connsiteX89" fmla="*/ 11241 w 130816"/>
                    <a:gd name="connsiteY89" fmla="*/ 51153 h 170891"/>
                    <a:gd name="connsiteX90" fmla="*/ 6353 w 130816"/>
                    <a:gd name="connsiteY90" fmla="*/ 52294 h 170891"/>
                    <a:gd name="connsiteX91" fmla="*/ 6191 w 130816"/>
                    <a:gd name="connsiteY91" fmla="*/ 62394 h 170891"/>
                    <a:gd name="connsiteX92" fmla="*/ 11892 w 130816"/>
                    <a:gd name="connsiteY92" fmla="*/ 69236 h 170891"/>
                    <a:gd name="connsiteX93" fmla="*/ 18571 w 130816"/>
                    <a:gd name="connsiteY93" fmla="*/ 71843 h 170891"/>
                    <a:gd name="connsiteX94" fmla="*/ 24762 w 130816"/>
                    <a:gd name="connsiteY94" fmla="*/ 79663 h 170891"/>
                    <a:gd name="connsiteX95" fmla="*/ 24762 w 130816"/>
                    <a:gd name="connsiteY95" fmla="*/ 88134 h 170891"/>
                    <a:gd name="connsiteX96" fmla="*/ 27206 w 130816"/>
                    <a:gd name="connsiteY96" fmla="*/ 94650 h 170891"/>
                    <a:gd name="connsiteX97" fmla="*/ 26228 w 130816"/>
                    <a:gd name="connsiteY97" fmla="*/ 99212 h 170891"/>
                    <a:gd name="connsiteX98" fmla="*/ 27532 w 130816"/>
                    <a:gd name="connsiteY98" fmla="*/ 107194 h 170891"/>
                    <a:gd name="connsiteX99" fmla="*/ 34862 w 130816"/>
                    <a:gd name="connsiteY99" fmla="*/ 117620 h 170891"/>
                    <a:gd name="connsiteX100" fmla="*/ 35025 w 130816"/>
                    <a:gd name="connsiteY100" fmla="*/ 124463 h 170891"/>
                    <a:gd name="connsiteX101" fmla="*/ 36818 w 130816"/>
                    <a:gd name="connsiteY101" fmla="*/ 128861 h 170891"/>
                    <a:gd name="connsiteX102" fmla="*/ 37469 w 130816"/>
                    <a:gd name="connsiteY102" fmla="*/ 136844 h 170891"/>
                    <a:gd name="connsiteX103" fmla="*/ 39912 w 130816"/>
                    <a:gd name="connsiteY103" fmla="*/ 135866 h 170891"/>
                    <a:gd name="connsiteX104" fmla="*/ 42030 w 130816"/>
                    <a:gd name="connsiteY104" fmla="*/ 140917 h 170891"/>
                    <a:gd name="connsiteX105" fmla="*/ 43008 w 130816"/>
                    <a:gd name="connsiteY105" fmla="*/ 143197 h 170891"/>
                    <a:gd name="connsiteX106" fmla="*/ 46103 w 130816"/>
                    <a:gd name="connsiteY106" fmla="*/ 143197 h 170891"/>
                    <a:gd name="connsiteX107" fmla="*/ 47244 w 130816"/>
                    <a:gd name="connsiteY107" fmla="*/ 139450 h 170891"/>
                    <a:gd name="connsiteX108" fmla="*/ 49361 w 130816"/>
                    <a:gd name="connsiteY108" fmla="*/ 138473 h 170891"/>
                    <a:gd name="connsiteX109" fmla="*/ 52782 w 130816"/>
                    <a:gd name="connsiteY109" fmla="*/ 140753 h 170891"/>
                    <a:gd name="connsiteX110" fmla="*/ 53109 w 130816"/>
                    <a:gd name="connsiteY110" fmla="*/ 141568 h 170891"/>
                    <a:gd name="connsiteX111" fmla="*/ 55715 w 130816"/>
                    <a:gd name="connsiteY111" fmla="*/ 140102 h 170891"/>
                    <a:gd name="connsiteX112" fmla="*/ 56041 w 130816"/>
                    <a:gd name="connsiteY112" fmla="*/ 135541 h 170891"/>
                    <a:gd name="connsiteX113" fmla="*/ 53434 w 130816"/>
                    <a:gd name="connsiteY113" fmla="*/ 129513 h 170891"/>
                    <a:gd name="connsiteX114" fmla="*/ 54900 w 130816"/>
                    <a:gd name="connsiteY114" fmla="*/ 129513 h 170891"/>
                    <a:gd name="connsiteX115" fmla="*/ 55389 w 130816"/>
                    <a:gd name="connsiteY115" fmla="*/ 124137 h 170891"/>
                    <a:gd name="connsiteX116" fmla="*/ 57344 w 130816"/>
                    <a:gd name="connsiteY116" fmla="*/ 121042 h 170891"/>
                    <a:gd name="connsiteX117" fmla="*/ 56203 w 130816"/>
                    <a:gd name="connsiteY117" fmla="*/ 118598 h 170891"/>
                    <a:gd name="connsiteX118" fmla="*/ 57996 w 130816"/>
                    <a:gd name="connsiteY118" fmla="*/ 120716 h 170891"/>
                    <a:gd name="connsiteX119" fmla="*/ 57996 w 130816"/>
                    <a:gd name="connsiteY119" fmla="*/ 122345 h 170891"/>
                    <a:gd name="connsiteX120" fmla="*/ 55389 w 130816"/>
                    <a:gd name="connsiteY120" fmla="*/ 130979 h 170891"/>
                    <a:gd name="connsiteX121" fmla="*/ 58810 w 130816"/>
                    <a:gd name="connsiteY121" fmla="*/ 135866 h 170891"/>
                    <a:gd name="connsiteX122" fmla="*/ 61905 w 130816"/>
                    <a:gd name="connsiteY122" fmla="*/ 130653 h 170891"/>
                    <a:gd name="connsiteX123" fmla="*/ 65652 w 130816"/>
                    <a:gd name="connsiteY123" fmla="*/ 128861 h 170891"/>
                    <a:gd name="connsiteX124" fmla="*/ 64512 w 130816"/>
                    <a:gd name="connsiteY124" fmla="*/ 131142 h 170891"/>
                    <a:gd name="connsiteX125" fmla="*/ 62394 w 130816"/>
                    <a:gd name="connsiteY125" fmla="*/ 132119 h 170891"/>
                    <a:gd name="connsiteX126" fmla="*/ 59950 w 130816"/>
                    <a:gd name="connsiteY126" fmla="*/ 136518 h 170891"/>
                    <a:gd name="connsiteX127" fmla="*/ 63860 w 130816"/>
                    <a:gd name="connsiteY127" fmla="*/ 139287 h 170891"/>
                    <a:gd name="connsiteX128" fmla="*/ 68096 w 130816"/>
                    <a:gd name="connsiteY128" fmla="*/ 131631 h 170891"/>
                    <a:gd name="connsiteX129" fmla="*/ 72983 w 130816"/>
                    <a:gd name="connsiteY129" fmla="*/ 129676 h 170891"/>
                    <a:gd name="connsiteX130" fmla="*/ 73472 w 130816"/>
                    <a:gd name="connsiteY130" fmla="*/ 122671 h 170891"/>
                    <a:gd name="connsiteX131" fmla="*/ 70051 w 130816"/>
                    <a:gd name="connsiteY131" fmla="*/ 117132 h 170891"/>
                    <a:gd name="connsiteX132" fmla="*/ 66793 w 130816"/>
                    <a:gd name="connsiteY132" fmla="*/ 115828 h 170891"/>
                    <a:gd name="connsiteX133" fmla="*/ 72006 w 130816"/>
                    <a:gd name="connsiteY133" fmla="*/ 113874 h 170891"/>
                    <a:gd name="connsiteX134" fmla="*/ 72657 w 130816"/>
                    <a:gd name="connsiteY134" fmla="*/ 111104 h 170891"/>
                    <a:gd name="connsiteX135" fmla="*/ 69236 w 130816"/>
                    <a:gd name="connsiteY135" fmla="*/ 105891 h 170891"/>
                    <a:gd name="connsiteX136" fmla="*/ 68259 w 130816"/>
                    <a:gd name="connsiteY136" fmla="*/ 97094 h 170891"/>
                    <a:gd name="connsiteX137" fmla="*/ 70377 w 130816"/>
                    <a:gd name="connsiteY137" fmla="*/ 104588 h 170891"/>
                    <a:gd name="connsiteX138" fmla="*/ 75101 w 130816"/>
                    <a:gd name="connsiteY138" fmla="*/ 108823 h 170891"/>
                    <a:gd name="connsiteX139" fmla="*/ 77871 w 130816"/>
                    <a:gd name="connsiteY139" fmla="*/ 108660 h 170891"/>
                    <a:gd name="connsiteX140" fmla="*/ 78848 w 130816"/>
                    <a:gd name="connsiteY140" fmla="*/ 110290 h 170891"/>
                    <a:gd name="connsiteX141" fmla="*/ 87971 w 130816"/>
                    <a:gd name="connsiteY141" fmla="*/ 114688 h 170891"/>
                    <a:gd name="connsiteX142" fmla="*/ 92858 w 130816"/>
                    <a:gd name="connsiteY142" fmla="*/ 111756 h 170891"/>
                    <a:gd name="connsiteX143" fmla="*/ 94487 w 130816"/>
                    <a:gd name="connsiteY143" fmla="*/ 112570 h 170891"/>
                    <a:gd name="connsiteX144" fmla="*/ 94325 w 130816"/>
                    <a:gd name="connsiteY144" fmla="*/ 110941 h 170891"/>
                    <a:gd name="connsiteX145" fmla="*/ 96442 w 130816"/>
                    <a:gd name="connsiteY145" fmla="*/ 110941 h 170891"/>
                    <a:gd name="connsiteX146" fmla="*/ 104425 w 130816"/>
                    <a:gd name="connsiteY146" fmla="*/ 128535 h 170891"/>
                    <a:gd name="connsiteX147" fmla="*/ 107683 w 130816"/>
                    <a:gd name="connsiteY147" fmla="*/ 130816 h 170891"/>
                    <a:gd name="connsiteX148" fmla="*/ 107520 w 130816"/>
                    <a:gd name="connsiteY148" fmla="*/ 134400 h 170891"/>
                    <a:gd name="connsiteX149" fmla="*/ 106380 w 130816"/>
                    <a:gd name="connsiteY149" fmla="*/ 140102 h 170891"/>
                    <a:gd name="connsiteX150" fmla="*/ 108171 w 130816"/>
                    <a:gd name="connsiteY150" fmla="*/ 141242 h 170891"/>
                    <a:gd name="connsiteX151" fmla="*/ 106705 w 130816"/>
                    <a:gd name="connsiteY151" fmla="*/ 148899 h 170891"/>
                    <a:gd name="connsiteX152" fmla="*/ 107683 w 130816"/>
                    <a:gd name="connsiteY152" fmla="*/ 150365 h 170891"/>
                    <a:gd name="connsiteX153" fmla="*/ 110778 w 130816"/>
                    <a:gd name="connsiteY153" fmla="*/ 147433 h 170891"/>
                    <a:gd name="connsiteX154" fmla="*/ 111593 w 130816"/>
                    <a:gd name="connsiteY154" fmla="*/ 145315 h 170891"/>
                    <a:gd name="connsiteX155" fmla="*/ 111430 w 130816"/>
                    <a:gd name="connsiteY155" fmla="*/ 149388 h 170891"/>
                    <a:gd name="connsiteX156" fmla="*/ 109964 w 130816"/>
                    <a:gd name="connsiteY156" fmla="*/ 152483 h 170891"/>
                    <a:gd name="connsiteX157" fmla="*/ 112244 w 130816"/>
                    <a:gd name="connsiteY157" fmla="*/ 155252 h 170891"/>
                    <a:gd name="connsiteX158" fmla="*/ 116806 w 130816"/>
                    <a:gd name="connsiteY158" fmla="*/ 161932 h 170891"/>
                    <a:gd name="connsiteX159" fmla="*/ 120553 w 130816"/>
                    <a:gd name="connsiteY159" fmla="*/ 170892 h 170891"/>
                    <a:gd name="connsiteX160" fmla="*/ 121204 w 130816"/>
                    <a:gd name="connsiteY160" fmla="*/ 170566 h 170891"/>
                    <a:gd name="connsiteX161" fmla="*/ 120064 w 130816"/>
                    <a:gd name="connsiteY161" fmla="*/ 164212 h 170891"/>
                    <a:gd name="connsiteX162" fmla="*/ 120553 w 130816"/>
                    <a:gd name="connsiteY162" fmla="*/ 163724 h 170891"/>
                    <a:gd name="connsiteX163" fmla="*/ 120227 w 130816"/>
                    <a:gd name="connsiteY163" fmla="*/ 161932 h 170891"/>
                    <a:gd name="connsiteX164" fmla="*/ 121041 w 130816"/>
                    <a:gd name="connsiteY164" fmla="*/ 157044 h 170891"/>
                    <a:gd name="connsiteX165" fmla="*/ 125928 w 130816"/>
                    <a:gd name="connsiteY165" fmla="*/ 151017 h 170891"/>
                    <a:gd name="connsiteX166" fmla="*/ 128046 w 130816"/>
                    <a:gd name="connsiteY166" fmla="*/ 152320 h 170891"/>
                    <a:gd name="connsiteX167" fmla="*/ 130816 w 130816"/>
                    <a:gd name="connsiteY167" fmla="*/ 146130 h 170891"/>
                    <a:gd name="connsiteX168" fmla="*/ 130816 w 130816"/>
                    <a:gd name="connsiteY168" fmla="*/ 139939 h 170891"/>
                    <a:gd name="connsiteX169" fmla="*/ 129839 w 130816"/>
                    <a:gd name="connsiteY169" fmla="*/ 139125 h 17089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  <a:cxn ang="0">
                      <a:pos x="connsiteX86" y="connsiteY86"/>
                    </a:cxn>
                    <a:cxn ang="0">
                      <a:pos x="connsiteX87" y="connsiteY87"/>
                    </a:cxn>
                    <a:cxn ang="0">
                      <a:pos x="connsiteX88" y="connsiteY88"/>
                    </a:cxn>
                    <a:cxn ang="0">
                      <a:pos x="connsiteX89" y="connsiteY89"/>
                    </a:cxn>
                    <a:cxn ang="0">
                      <a:pos x="connsiteX90" y="connsiteY90"/>
                    </a:cxn>
                    <a:cxn ang="0">
                      <a:pos x="connsiteX91" y="connsiteY91"/>
                    </a:cxn>
                    <a:cxn ang="0">
                      <a:pos x="connsiteX92" y="connsiteY92"/>
                    </a:cxn>
                    <a:cxn ang="0">
                      <a:pos x="connsiteX93" y="connsiteY93"/>
                    </a:cxn>
                    <a:cxn ang="0">
                      <a:pos x="connsiteX94" y="connsiteY94"/>
                    </a:cxn>
                    <a:cxn ang="0">
                      <a:pos x="connsiteX95" y="connsiteY95"/>
                    </a:cxn>
                    <a:cxn ang="0">
                      <a:pos x="connsiteX96" y="connsiteY96"/>
                    </a:cxn>
                    <a:cxn ang="0">
                      <a:pos x="connsiteX97" y="connsiteY97"/>
                    </a:cxn>
                    <a:cxn ang="0">
                      <a:pos x="connsiteX98" y="connsiteY98"/>
                    </a:cxn>
                    <a:cxn ang="0">
                      <a:pos x="connsiteX99" y="connsiteY99"/>
                    </a:cxn>
                    <a:cxn ang="0">
                      <a:pos x="connsiteX100" y="connsiteY100"/>
                    </a:cxn>
                    <a:cxn ang="0">
                      <a:pos x="connsiteX101" y="connsiteY101"/>
                    </a:cxn>
                    <a:cxn ang="0">
                      <a:pos x="connsiteX102" y="connsiteY102"/>
                    </a:cxn>
                    <a:cxn ang="0">
                      <a:pos x="connsiteX103" y="connsiteY103"/>
                    </a:cxn>
                    <a:cxn ang="0">
                      <a:pos x="connsiteX104" y="connsiteY104"/>
                    </a:cxn>
                    <a:cxn ang="0">
                      <a:pos x="connsiteX105" y="connsiteY105"/>
                    </a:cxn>
                    <a:cxn ang="0">
                      <a:pos x="connsiteX106" y="connsiteY106"/>
                    </a:cxn>
                    <a:cxn ang="0">
                      <a:pos x="connsiteX107" y="connsiteY107"/>
                    </a:cxn>
                    <a:cxn ang="0">
                      <a:pos x="connsiteX108" y="connsiteY108"/>
                    </a:cxn>
                    <a:cxn ang="0">
                      <a:pos x="connsiteX109" y="connsiteY109"/>
                    </a:cxn>
                    <a:cxn ang="0">
                      <a:pos x="connsiteX110" y="connsiteY110"/>
                    </a:cxn>
                    <a:cxn ang="0">
                      <a:pos x="connsiteX111" y="connsiteY111"/>
                    </a:cxn>
                    <a:cxn ang="0">
                      <a:pos x="connsiteX112" y="connsiteY112"/>
                    </a:cxn>
                    <a:cxn ang="0">
                      <a:pos x="connsiteX113" y="connsiteY113"/>
                    </a:cxn>
                    <a:cxn ang="0">
                      <a:pos x="connsiteX114" y="connsiteY114"/>
                    </a:cxn>
                    <a:cxn ang="0">
                      <a:pos x="connsiteX115" y="connsiteY115"/>
                    </a:cxn>
                    <a:cxn ang="0">
                      <a:pos x="connsiteX116" y="connsiteY116"/>
                    </a:cxn>
                    <a:cxn ang="0">
                      <a:pos x="connsiteX117" y="connsiteY117"/>
                    </a:cxn>
                    <a:cxn ang="0">
                      <a:pos x="connsiteX118" y="connsiteY118"/>
                    </a:cxn>
                    <a:cxn ang="0">
                      <a:pos x="connsiteX119" y="connsiteY119"/>
                    </a:cxn>
                    <a:cxn ang="0">
                      <a:pos x="connsiteX120" y="connsiteY120"/>
                    </a:cxn>
                    <a:cxn ang="0">
                      <a:pos x="connsiteX121" y="connsiteY121"/>
                    </a:cxn>
                    <a:cxn ang="0">
                      <a:pos x="connsiteX122" y="connsiteY122"/>
                    </a:cxn>
                    <a:cxn ang="0">
                      <a:pos x="connsiteX123" y="connsiteY123"/>
                    </a:cxn>
                    <a:cxn ang="0">
                      <a:pos x="connsiteX124" y="connsiteY124"/>
                    </a:cxn>
                    <a:cxn ang="0">
                      <a:pos x="connsiteX125" y="connsiteY125"/>
                    </a:cxn>
                    <a:cxn ang="0">
                      <a:pos x="connsiteX126" y="connsiteY126"/>
                    </a:cxn>
                    <a:cxn ang="0">
                      <a:pos x="connsiteX127" y="connsiteY127"/>
                    </a:cxn>
                    <a:cxn ang="0">
                      <a:pos x="connsiteX128" y="connsiteY128"/>
                    </a:cxn>
                    <a:cxn ang="0">
                      <a:pos x="connsiteX129" y="connsiteY129"/>
                    </a:cxn>
                    <a:cxn ang="0">
                      <a:pos x="connsiteX130" y="connsiteY130"/>
                    </a:cxn>
                    <a:cxn ang="0">
                      <a:pos x="connsiteX131" y="connsiteY131"/>
                    </a:cxn>
                    <a:cxn ang="0">
                      <a:pos x="connsiteX132" y="connsiteY132"/>
                    </a:cxn>
                    <a:cxn ang="0">
                      <a:pos x="connsiteX133" y="connsiteY133"/>
                    </a:cxn>
                    <a:cxn ang="0">
                      <a:pos x="connsiteX134" y="connsiteY134"/>
                    </a:cxn>
                    <a:cxn ang="0">
                      <a:pos x="connsiteX135" y="connsiteY135"/>
                    </a:cxn>
                    <a:cxn ang="0">
                      <a:pos x="connsiteX136" y="connsiteY136"/>
                    </a:cxn>
                    <a:cxn ang="0">
                      <a:pos x="connsiteX137" y="connsiteY137"/>
                    </a:cxn>
                    <a:cxn ang="0">
                      <a:pos x="connsiteX138" y="connsiteY138"/>
                    </a:cxn>
                    <a:cxn ang="0">
                      <a:pos x="connsiteX139" y="connsiteY139"/>
                    </a:cxn>
                    <a:cxn ang="0">
                      <a:pos x="connsiteX140" y="connsiteY140"/>
                    </a:cxn>
                    <a:cxn ang="0">
                      <a:pos x="connsiteX141" y="connsiteY141"/>
                    </a:cxn>
                    <a:cxn ang="0">
                      <a:pos x="connsiteX142" y="connsiteY142"/>
                    </a:cxn>
                    <a:cxn ang="0">
                      <a:pos x="connsiteX143" y="connsiteY143"/>
                    </a:cxn>
                    <a:cxn ang="0">
                      <a:pos x="connsiteX144" y="connsiteY144"/>
                    </a:cxn>
                    <a:cxn ang="0">
                      <a:pos x="connsiteX145" y="connsiteY145"/>
                    </a:cxn>
                    <a:cxn ang="0">
                      <a:pos x="connsiteX146" y="connsiteY146"/>
                    </a:cxn>
                    <a:cxn ang="0">
                      <a:pos x="connsiteX147" y="connsiteY147"/>
                    </a:cxn>
                    <a:cxn ang="0">
                      <a:pos x="connsiteX148" y="connsiteY148"/>
                    </a:cxn>
                    <a:cxn ang="0">
                      <a:pos x="connsiteX149" y="connsiteY149"/>
                    </a:cxn>
                    <a:cxn ang="0">
                      <a:pos x="connsiteX150" y="connsiteY150"/>
                    </a:cxn>
                    <a:cxn ang="0">
                      <a:pos x="connsiteX151" y="connsiteY151"/>
                    </a:cxn>
                    <a:cxn ang="0">
                      <a:pos x="connsiteX152" y="connsiteY152"/>
                    </a:cxn>
                    <a:cxn ang="0">
                      <a:pos x="connsiteX153" y="connsiteY153"/>
                    </a:cxn>
                    <a:cxn ang="0">
                      <a:pos x="connsiteX154" y="connsiteY154"/>
                    </a:cxn>
                    <a:cxn ang="0">
                      <a:pos x="connsiteX155" y="connsiteY155"/>
                    </a:cxn>
                    <a:cxn ang="0">
                      <a:pos x="connsiteX156" y="connsiteY156"/>
                    </a:cxn>
                    <a:cxn ang="0">
                      <a:pos x="connsiteX157" y="connsiteY157"/>
                    </a:cxn>
                    <a:cxn ang="0">
                      <a:pos x="connsiteX158" y="connsiteY158"/>
                    </a:cxn>
                    <a:cxn ang="0">
                      <a:pos x="connsiteX159" y="connsiteY159"/>
                    </a:cxn>
                    <a:cxn ang="0">
                      <a:pos x="connsiteX160" y="connsiteY160"/>
                    </a:cxn>
                    <a:cxn ang="0">
                      <a:pos x="connsiteX161" y="connsiteY161"/>
                    </a:cxn>
                    <a:cxn ang="0">
                      <a:pos x="connsiteX162" y="connsiteY162"/>
                    </a:cxn>
                    <a:cxn ang="0">
                      <a:pos x="connsiteX163" y="connsiteY163"/>
                    </a:cxn>
                    <a:cxn ang="0">
                      <a:pos x="connsiteX164" y="connsiteY164"/>
                    </a:cxn>
                    <a:cxn ang="0">
                      <a:pos x="connsiteX165" y="connsiteY165"/>
                    </a:cxn>
                    <a:cxn ang="0">
                      <a:pos x="connsiteX166" y="connsiteY166"/>
                    </a:cxn>
                    <a:cxn ang="0">
                      <a:pos x="connsiteX167" y="connsiteY167"/>
                    </a:cxn>
                    <a:cxn ang="0">
                      <a:pos x="connsiteX168" y="connsiteY168"/>
                    </a:cxn>
                    <a:cxn ang="0">
                      <a:pos x="connsiteX169" y="connsiteY169"/>
                    </a:cxn>
                  </a:cxnLst>
                  <a:rect l="l" t="t" r="r" b="b"/>
                  <a:pathLst>
                    <a:path w="130816" h="170891">
                      <a:moveTo>
                        <a:pt x="129839" y="139125"/>
                      </a:moveTo>
                      <a:lnTo>
                        <a:pt x="128535" y="137007"/>
                      </a:lnTo>
                      <a:lnTo>
                        <a:pt x="128372" y="134237"/>
                      </a:lnTo>
                      <a:lnTo>
                        <a:pt x="127232" y="132445"/>
                      </a:lnTo>
                      <a:lnTo>
                        <a:pt x="125440" y="128535"/>
                      </a:lnTo>
                      <a:lnTo>
                        <a:pt x="123322" y="121693"/>
                      </a:lnTo>
                      <a:lnTo>
                        <a:pt x="121856" y="111430"/>
                      </a:lnTo>
                      <a:lnTo>
                        <a:pt x="120064" y="107520"/>
                      </a:lnTo>
                      <a:lnTo>
                        <a:pt x="120064" y="102144"/>
                      </a:lnTo>
                      <a:lnTo>
                        <a:pt x="118435" y="94976"/>
                      </a:lnTo>
                      <a:lnTo>
                        <a:pt x="116154" y="91392"/>
                      </a:lnTo>
                      <a:lnTo>
                        <a:pt x="114851" y="88949"/>
                      </a:lnTo>
                      <a:lnTo>
                        <a:pt x="110452" y="89437"/>
                      </a:lnTo>
                      <a:lnTo>
                        <a:pt x="107194" y="87156"/>
                      </a:lnTo>
                      <a:lnTo>
                        <a:pt x="104914" y="88949"/>
                      </a:lnTo>
                      <a:lnTo>
                        <a:pt x="106543" y="91392"/>
                      </a:lnTo>
                      <a:lnTo>
                        <a:pt x="104914" y="93673"/>
                      </a:lnTo>
                      <a:lnTo>
                        <a:pt x="104914" y="96442"/>
                      </a:lnTo>
                      <a:lnTo>
                        <a:pt x="102144" y="100352"/>
                      </a:lnTo>
                      <a:lnTo>
                        <a:pt x="103936" y="101655"/>
                      </a:lnTo>
                      <a:lnTo>
                        <a:pt x="103447" y="105728"/>
                      </a:lnTo>
                      <a:lnTo>
                        <a:pt x="100841" y="105891"/>
                      </a:lnTo>
                      <a:lnTo>
                        <a:pt x="96931" y="100515"/>
                      </a:lnTo>
                      <a:lnTo>
                        <a:pt x="92858" y="96768"/>
                      </a:lnTo>
                      <a:lnTo>
                        <a:pt x="91718" y="94161"/>
                      </a:lnTo>
                      <a:lnTo>
                        <a:pt x="89274" y="91718"/>
                      </a:lnTo>
                      <a:lnTo>
                        <a:pt x="86668" y="84876"/>
                      </a:lnTo>
                      <a:lnTo>
                        <a:pt x="86668" y="81780"/>
                      </a:lnTo>
                      <a:lnTo>
                        <a:pt x="88623" y="79988"/>
                      </a:lnTo>
                      <a:lnTo>
                        <a:pt x="89437" y="76730"/>
                      </a:lnTo>
                      <a:lnTo>
                        <a:pt x="94325" y="73309"/>
                      </a:lnTo>
                      <a:lnTo>
                        <a:pt x="96279" y="75101"/>
                      </a:lnTo>
                      <a:lnTo>
                        <a:pt x="99049" y="75590"/>
                      </a:lnTo>
                      <a:lnTo>
                        <a:pt x="101166" y="73146"/>
                      </a:lnTo>
                      <a:lnTo>
                        <a:pt x="101166" y="69725"/>
                      </a:lnTo>
                      <a:lnTo>
                        <a:pt x="104262" y="68096"/>
                      </a:lnTo>
                      <a:lnTo>
                        <a:pt x="107520" y="59625"/>
                      </a:lnTo>
                      <a:lnTo>
                        <a:pt x="108498" y="53434"/>
                      </a:lnTo>
                      <a:lnTo>
                        <a:pt x="111267" y="48058"/>
                      </a:lnTo>
                      <a:lnTo>
                        <a:pt x="108660" y="46918"/>
                      </a:lnTo>
                      <a:lnTo>
                        <a:pt x="104262" y="42356"/>
                      </a:lnTo>
                      <a:lnTo>
                        <a:pt x="101330" y="43008"/>
                      </a:lnTo>
                      <a:lnTo>
                        <a:pt x="99375" y="41705"/>
                      </a:lnTo>
                      <a:lnTo>
                        <a:pt x="95139" y="42194"/>
                      </a:lnTo>
                      <a:lnTo>
                        <a:pt x="86505" y="42519"/>
                      </a:lnTo>
                      <a:lnTo>
                        <a:pt x="78848" y="41542"/>
                      </a:lnTo>
                      <a:lnTo>
                        <a:pt x="68422" y="42356"/>
                      </a:lnTo>
                      <a:lnTo>
                        <a:pt x="61905" y="42356"/>
                      </a:lnTo>
                      <a:lnTo>
                        <a:pt x="56529" y="39913"/>
                      </a:lnTo>
                      <a:lnTo>
                        <a:pt x="51642" y="40239"/>
                      </a:lnTo>
                      <a:lnTo>
                        <a:pt x="46918" y="38447"/>
                      </a:lnTo>
                      <a:lnTo>
                        <a:pt x="47080" y="34700"/>
                      </a:lnTo>
                      <a:lnTo>
                        <a:pt x="45126" y="29161"/>
                      </a:lnTo>
                      <a:lnTo>
                        <a:pt x="44311" y="26066"/>
                      </a:lnTo>
                      <a:lnTo>
                        <a:pt x="44311" y="25577"/>
                      </a:lnTo>
                      <a:lnTo>
                        <a:pt x="44311" y="25577"/>
                      </a:lnTo>
                      <a:lnTo>
                        <a:pt x="43171" y="20038"/>
                      </a:lnTo>
                      <a:lnTo>
                        <a:pt x="39750" y="13685"/>
                      </a:lnTo>
                      <a:lnTo>
                        <a:pt x="37143" y="14336"/>
                      </a:lnTo>
                      <a:lnTo>
                        <a:pt x="36818" y="16128"/>
                      </a:lnTo>
                      <a:lnTo>
                        <a:pt x="31767" y="14499"/>
                      </a:lnTo>
                      <a:lnTo>
                        <a:pt x="29161" y="11893"/>
                      </a:lnTo>
                      <a:lnTo>
                        <a:pt x="25577" y="8797"/>
                      </a:lnTo>
                      <a:lnTo>
                        <a:pt x="23296" y="8634"/>
                      </a:lnTo>
                      <a:lnTo>
                        <a:pt x="22318" y="11567"/>
                      </a:lnTo>
                      <a:lnTo>
                        <a:pt x="25902" y="13685"/>
                      </a:lnTo>
                      <a:lnTo>
                        <a:pt x="23296" y="14988"/>
                      </a:lnTo>
                      <a:lnTo>
                        <a:pt x="17920" y="14336"/>
                      </a:lnTo>
                      <a:lnTo>
                        <a:pt x="14336" y="9775"/>
                      </a:lnTo>
                      <a:lnTo>
                        <a:pt x="14499" y="7005"/>
                      </a:lnTo>
                      <a:lnTo>
                        <a:pt x="10915" y="2932"/>
                      </a:lnTo>
                      <a:lnTo>
                        <a:pt x="8960" y="0"/>
                      </a:lnTo>
                      <a:lnTo>
                        <a:pt x="7494" y="3584"/>
                      </a:lnTo>
                      <a:lnTo>
                        <a:pt x="5213" y="3747"/>
                      </a:lnTo>
                      <a:lnTo>
                        <a:pt x="5539" y="7331"/>
                      </a:lnTo>
                      <a:lnTo>
                        <a:pt x="7982" y="9449"/>
                      </a:lnTo>
                      <a:lnTo>
                        <a:pt x="5702" y="16128"/>
                      </a:lnTo>
                      <a:lnTo>
                        <a:pt x="814" y="21667"/>
                      </a:lnTo>
                      <a:lnTo>
                        <a:pt x="814" y="21667"/>
                      </a:lnTo>
                      <a:lnTo>
                        <a:pt x="652" y="21830"/>
                      </a:lnTo>
                      <a:lnTo>
                        <a:pt x="0" y="28020"/>
                      </a:lnTo>
                      <a:lnTo>
                        <a:pt x="11892" y="32256"/>
                      </a:lnTo>
                      <a:lnTo>
                        <a:pt x="16454" y="30301"/>
                      </a:lnTo>
                      <a:lnTo>
                        <a:pt x="23133" y="30953"/>
                      </a:lnTo>
                      <a:lnTo>
                        <a:pt x="21993" y="34048"/>
                      </a:lnTo>
                      <a:lnTo>
                        <a:pt x="23459" y="40727"/>
                      </a:lnTo>
                      <a:lnTo>
                        <a:pt x="20201" y="43171"/>
                      </a:lnTo>
                      <a:lnTo>
                        <a:pt x="17105" y="42194"/>
                      </a:lnTo>
                      <a:lnTo>
                        <a:pt x="13359" y="44311"/>
                      </a:lnTo>
                      <a:lnTo>
                        <a:pt x="11241" y="51153"/>
                      </a:lnTo>
                      <a:lnTo>
                        <a:pt x="6353" y="52294"/>
                      </a:lnTo>
                      <a:lnTo>
                        <a:pt x="6191" y="62394"/>
                      </a:lnTo>
                      <a:lnTo>
                        <a:pt x="11892" y="69236"/>
                      </a:lnTo>
                      <a:lnTo>
                        <a:pt x="18571" y="71843"/>
                      </a:lnTo>
                      <a:lnTo>
                        <a:pt x="24762" y="79663"/>
                      </a:lnTo>
                      <a:lnTo>
                        <a:pt x="24762" y="88134"/>
                      </a:lnTo>
                      <a:lnTo>
                        <a:pt x="27206" y="94650"/>
                      </a:lnTo>
                      <a:lnTo>
                        <a:pt x="26228" y="99212"/>
                      </a:lnTo>
                      <a:lnTo>
                        <a:pt x="27532" y="107194"/>
                      </a:lnTo>
                      <a:lnTo>
                        <a:pt x="34862" y="117620"/>
                      </a:lnTo>
                      <a:lnTo>
                        <a:pt x="35025" y="124463"/>
                      </a:lnTo>
                      <a:lnTo>
                        <a:pt x="36818" y="128861"/>
                      </a:lnTo>
                      <a:lnTo>
                        <a:pt x="37469" y="136844"/>
                      </a:lnTo>
                      <a:lnTo>
                        <a:pt x="39912" y="135866"/>
                      </a:lnTo>
                      <a:lnTo>
                        <a:pt x="42030" y="140917"/>
                      </a:lnTo>
                      <a:lnTo>
                        <a:pt x="43008" y="143197"/>
                      </a:lnTo>
                      <a:lnTo>
                        <a:pt x="46103" y="143197"/>
                      </a:lnTo>
                      <a:lnTo>
                        <a:pt x="47244" y="139450"/>
                      </a:lnTo>
                      <a:lnTo>
                        <a:pt x="49361" y="138473"/>
                      </a:lnTo>
                      <a:lnTo>
                        <a:pt x="52782" y="140753"/>
                      </a:lnTo>
                      <a:lnTo>
                        <a:pt x="53109" y="141568"/>
                      </a:lnTo>
                      <a:lnTo>
                        <a:pt x="55715" y="140102"/>
                      </a:lnTo>
                      <a:lnTo>
                        <a:pt x="56041" y="135541"/>
                      </a:lnTo>
                      <a:lnTo>
                        <a:pt x="53434" y="129513"/>
                      </a:lnTo>
                      <a:lnTo>
                        <a:pt x="54900" y="129513"/>
                      </a:lnTo>
                      <a:lnTo>
                        <a:pt x="55389" y="124137"/>
                      </a:lnTo>
                      <a:lnTo>
                        <a:pt x="57344" y="121042"/>
                      </a:lnTo>
                      <a:lnTo>
                        <a:pt x="56203" y="118598"/>
                      </a:lnTo>
                      <a:lnTo>
                        <a:pt x="57996" y="120716"/>
                      </a:lnTo>
                      <a:lnTo>
                        <a:pt x="57996" y="122345"/>
                      </a:lnTo>
                      <a:lnTo>
                        <a:pt x="55389" y="130979"/>
                      </a:lnTo>
                      <a:lnTo>
                        <a:pt x="58810" y="135866"/>
                      </a:lnTo>
                      <a:lnTo>
                        <a:pt x="61905" y="130653"/>
                      </a:lnTo>
                      <a:lnTo>
                        <a:pt x="65652" y="128861"/>
                      </a:lnTo>
                      <a:lnTo>
                        <a:pt x="64512" y="131142"/>
                      </a:lnTo>
                      <a:lnTo>
                        <a:pt x="62394" y="132119"/>
                      </a:lnTo>
                      <a:lnTo>
                        <a:pt x="59950" y="136518"/>
                      </a:lnTo>
                      <a:lnTo>
                        <a:pt x="63860" y="139287"/>
                      </a:lnTo>
                      <a:lnTo>
                        <a:pt x="68096" y="131631"/>
                      </a:lnTo>
                      <a:lnTo>
                        <a:pt x="72983" y="129676"/>
                      </a:lnTo>
                      <a:lnTo>
                        <a:pt x="73472" y="122671"/>
                      </a:lnTo>
                      <a:lnTo>
                        <a:pt x="70051" y="117132"/>
                      </a:lnTo>
                      <a:lnTo>
                        <a:pt x="66793" y="115828"/>
                      </a:lnTo>
                      <a:lnTo>
                        <a:pt x="72006" y="113874"/>
                      </a:lnTo>
                      <a:lnTo>
                        <a:pt x="72657" y="111104"/>
                      </a:lnTo>
                      <a:lnTo>
                        <a:pt x="69236" y="105891"/>
                      </a:lnTo>
                      <a:lnTo>
                        <a:pt x="68259" y="97094"/>
                      </a:lnTo>
                      <a:lnTo>
                        <a:pt x="70377" y="104588"/>
                      </a:lnTo>
                      <a:lnTo>
                        <a:pt x="75101" y="108823"/>
                      </a:lnTo>
                      <a:lnTo>
                        <a:pt x="77871" y="108660"/>
                      </a:lnTo>
                      <a:lnTo>
                        <a:pt x="78848" y="110290"/>
                      </a:lnTo>
                      <a:lnTo>
                        <a:pt x="87971" y="114688"/>
                      </a:lnTo>
                      <a:lnTo>
                        <a:pt x="92858" y="111756"/>
                      </a:lnTo>
                      <a:lnTo>
                        <a:pt x="94487" y="112570"/>
                      </a:lnTo>
                      <a:lnTo>
                        <a:pt x="94325" y="110941"/>
                      </a:lnTo>
                      <a:lnTo>
                        <a:pt x="96442" y="110941"/>
                      </a:lnTo>
                      <a:lnTo>
                        <a:pt x="104425" y="128535"/>
                      </a:lnTo>
                      <a:lnTo>
                        <a:pt x="107683" y="130816"/>
                      </a:lnTo>
                      <a:lnTo>
                        <a:pt x="107520" y="134400"/>
                      </a:lnTo>
                      <a:lnTo>
                        <a:pt x="106380" y="140102"/>
                      </a:lnTo>
                      <a:lnTo>
                        <a:pt x="108171" y="141242"/>
                      </a:lnTo>
                      <a:lnTo>
                        <a:pt x="106705" y="148899"/>
                      </a:lnTo>
                      <a:lnTo>
                        <a:pt x="107683" y="150365"/>
                      </a:lnTo>
                      <a:lnTo>
                        <a:pt x="110778" y="147433"/>
                      </a:lnTo>
                      <a:lnTo>
                        <a:pt x="111593" y="145315"/>
                      </a:lnTo>
                      <a:lnTo>
                        <a:pt x="111430" y="149388"/>
                      </a:lnTo>
                      <a:lnTo>
                        <a:pt x="109964" y="152483"/>
                      </a:lnTo>
                      <a:lnTo>
                        <a:pt x="112244" y="155252"/>
                      </a:lnTo>
                      <a:lnTo>
                        <a:pt x="116806" y="161932"/>
                      </a:lnTo>
                      <a:lnTo>
                        <a:pt x="120553" y="170892"/>
                      </a:lnTo>
                      <a:lnTo>
                        <a:pt x="121204" y="170566"/>
                      </a:lnTo>
                      <a:lnTo>
                        <a:pt x="120064" y="164212"/>
                      </a:lnTo>
                      <a:lnTo>
                        <a:pt x="120553" y="163724"/>
                      </a:lnTo>
                      <a:lnTo>
                        <a:pt x="120227" y="161932"/>
                      </a:lnTo>
                      <a:lnTo>
                        <a:pt x="121041" y="157044"/>
                      </a:lnTo>
                      <a:lnTo>
                        <a:pt x="125928" y="151017"/>
                      </a:lnTo>
                      <a:lnTo>
                        <a:pt x="128046" y="152320"/>
                      </a:lnTo>
                      <a:lnTo>
                        <a:pt x="130816" y="146130"/>
                      </a:lnTo>
                      <a:lnTo>
                        <a:pt x="130816" y="139939"/>
                      </a:lnTo>
                      <a:lnTo>
                        <a:pt x="129839" y="139125"/>
                      </a:lnTo>
                      <a:close/>
                    </a:path>
                  </a:pathLst>
                </a:custGeom>
                <a:grpFill/>
                <a:ln w="0" cap="flat">
                  <a:solidFill>
                    <a:schemeClr val="bg1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46" name="Forma livre: Forma 245">
                  <a:extLst>
                    <a:ext uri="{FF2B5EF4-FFF2-40B4-BE49-F238E27FC236}">
                      <a16:creationId xmlns:a16="http://schemas.microsoft.com/office/drawing/2014/main" id="{8FDE979A-A1F7-DF29-7029-75C04EB5AAA7}"/>
                    </a:ext>
                  </a:extLst>
                </p:cNvPr>
                <p:cNvSpPr/>
                <p:nvPr/>
              </p:nvSpPr>
              <p:spPr>
                <a:xfrm>
                  <a:off x="8214633" y="4276137"/>
                  <a:ext cx="3747" cy="6516"/>
                </a:xfrm>
                <a:custGeom>
                  <a:avLst/>
                  <a:gdLst>
                    <a:gd name="connsiteX0" fmla="*/ 0 w 3747"/>
                    <a:gd name="connsiteY0" fmla="*/ 1140 h 6516"/>
                    <a:gd name="connsiteX1" fmla="*/ 652 w 3747"/>
                    <a:gd name="connsiteY1" fmla="*/ 6516 h 6516"/>
                    <a:gd name="connsiteX2" fmla="*/ 3095 w 3747"/>
                    <a:gd name="connsiteY2" fmla="*/ 5376 h 6516"/>
                    <a:gd name="connsiteX3" fmla="*/ 3747 w 3747"/>
                    <a:gd name="connsiteY3" fmla="*/ 1792 h 6516"/>
                    <a:gd name="connsiteX4" fmla="*/ 2118 w 3747"/>
                    <a:gd name="connsiteY4" fmla="*/ 0 h 6516"/>
                    <a:gd name="connsiteX5" fmla="*/ 0 w 3747"/>
                    <a:gd name="connsiteY5" fmla="*/ 1140 h 651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3747" h="6516">
                      <a:moveTo>
                        <a:pt x="0" y="1140"/>
                      </a:moveTo>
                      <a:lnTo>
                        <a:pt x="652" y="6516"/>
                      </a:lnTo>
                      <a:lnTo>
                        <a:pt x="3095" y="5376"/>
                      </a:lnTo>
                      <a:lnTo>
                        <a:pt x="3747" y="1792"/>
                      </a:lnTo>
                      <a:lnTo>
                        <a:pt x="2118" y="0"/>
                      </a:lnTo>
                      <a:lnTo>
                        <a:pt x="0" y="1140"/>
                      </a:lnTo>
                      <a:close/>
                    </a:path>
                  </a:pathLst>
                </a:custGeom>
                <a:grpFill/>
                <a:ln w="0" cap="flat">
                  <a:solidFill>
                    <a:schemeClr val="bg1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247" name="Forma livre: Forma 246">
                <a:extLst>
                  <a:ext uri="{FF2B5EF4-FFF2-40B4-BE49-F238E27FC236}">
                    <a16:creationId xmlns:a16="http://schemas.microsoft.com/office/drawing/2014/main" id="{748A9B6A-A3EA-9FA8-8342-9654A65B6115}"/>
                  </a:ext>
                </a:extLst>
              </p:cNvPr>
              <p:cNvSpPr/>
              <p:nvPr/>
            </p:nvSpPr>
            <p:spPr>
              <a:xfrm>
                <a:off x="8706619" y="4312792"/>
                <a:ext cx="10752" cy="4072"/>
              </a:xfrm>
              <a:custGeom>
                <a:avLst/>
                <a:gdLst>
                  <a:gd name="connsiteX0" fmla="*/ 10752 w 10752"/>
                  <a:gd name="connsiteY0" fmla="*/ 1955 h 4072"/>
                  <a:gd name="connsiteX1" fmla="*/ 6191 w 10752"/>
                  <a:gd name="connsiteY1" fmla="*/ 0 h 4072"/>
                  <a:gd name="connsiteX2" fmla="*/ 0 w 10752"/>
                  <a:gd name="connsiteY2" fmla="*/ 977 h 4072"/>
                  <a:gd name="connsiteX3" fmla="*/ 2281 w 10752"/>
                  <a:gd name="connsiteY3" fmla="*/ 3421 h 4072"/>
                  <a:gd name="connsiteX4" fmla="*/ 5702 w 10752"/>
                  <a:gd name="connsiteY4" fmla="*/ 3095 h 4072"/>
                  <a:gd name="connsiteX5" fmla="*/ 10752 w 10752"/>
                  <a:gd name="connsiteY5" fmla="*/ 4073 h 4072"/>
                  <a:gd name="connsiteX6" fmla="*/ 10752 w 10752"/>
                  <a:gd name="connsiteY6" fmla="*/ 1955 h 40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0752" h="4072">
                    <a:moveTo>
                      <a:pt x="10752" y="1955"/>
                    </a:moveTo>
                    <a:lnTo>
                      <a:pt x="6191" y="0"/>
                    </a:lnTo>
                    <a:lnTo>
                      <a:pt x="0" y="977"/>
                    </a:lnTo>
                    <a:lnTo>
                      <a:pt x="2281" y="3421"/>
                    </a:lnTo>
                    <a:lnTo>
                      <a:pt x="5702" y="3095"/>
                    </a:lnTo>
                    <a:lnTo>
                      <a:pt x="10752" y="4073"/>
                    </a:lnTo>
                    <a:lnTo>
                      <a:pt x="10752" y="1955"/>
                    </a:lnTo>
                    <a:close/>
                  </a:path>
                </a:pathLst>
              </a:custGeom>
              <a:grpFill/>
              <a:ln w="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48" name="Forma livre: Forma 247">
                <a:extLst>
                  <a:ext uri="{FF2B5EF4-FFF2-40B4-BE49-F238E27FC236}">
                    <a16:creationId xmlns:a16="http://schemas.microsoft.com/office/drawing/2014/main" id="{1D4AF7C1-39D4-B7CF-A513-32936729CAFF}"/>
                  </a:ext>
                </a:extLst>
              </p:cNvPr>
              <p:cNvSpPr/>
              <p:nvPr/>
            </p:nvSpPr>
            <p:spPr>
              <a:xfrm>
                <a:off x="7530414" y="3846709"/>
                <a:ext cx="8308" cy="2280"/>
              </a:xfrm>
              <a:custGeom>
                <a:avLst/>
                <a:gdLst>
                  <a:gd name="connsiteX0" fmla="*/ 0 w 8308"/>
                  <a:gd name="connsiteY0" fmla="*/ 2281 h 2280"/>
                  <a:gd name="connsiteX1" fmla="*/ 8309 w 8308"/>
                  <a:gd name="connsiteY1" fmla="*/ 0 h 2280"/>
                  <a:gd name="connsiteX2" fmla="*/ 977 w 8308"/>
                  <a:gd name="connsiteY2" fmla="*/ 1955 h 2280"/>
                  <a:gd name="connsiteX3" fmla="*/ 0 w 8308"/>
                  <a:gd name="connsiteY3" fmla="*/ 2281 h 22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308" h="2280">
                    <a:moveTo>
                      <a:pt x="0" y="2281"/>
                    </a:moveTo>
                    <a:lnTo>
                      <a:pt x="8309" y="0"/>
                    </a:lnTo>
                    <a:lnTo>
                      <a:pt x="977" y="1955"/>
                    </a:lnTo>
                    <a:lnTo>
                      <a:pt x="0" y="2281"/>
                    </a:lnTo>
                    <a:close/>
                  </a:path>
                </a:pathLst>
              </a:custGeom>
              <a:grpFill/>
              <a:ln w="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49" name="Forma livre: Forma 248">
                <a:extLst>
                  <a:ext uri="{FF2B5EF4-FFF2-40B4-BE49-F238E27FC236}">
                    <a16:creationId xmlns:a16="http://schemas.microsoft.com/office/drawing/2014/main" id="{95F790CA-CE53-CC55-541D-708C75F3B8DE}"/>
                  </a:ext>
                </a:extLst>
              </p:cNvPr>
              <p:cNvSpPr/>
              <p:nvPr/>
            </p:nvSpPr>
            <p:spPr>
              <a:xfrm>
                <a:off x="8961083" y="4026723"/>
                <a:ext cx="9937" cy="7656"/>
              </a:xfrm>
              <a:custGeom>
                <a:avLst/>
                <a:gdLst>
                  <a:gd name="connsiteX0" fmla="*/ 9938 w 9937"/>
                  <a:gd name="connsiteY0" fmla="*/ 3421 h 7656"/>
                  <a:gd name="connsiteX1" fmla="*/ 5050 w 9937"/>
                  <a:gd name="connsiteY1" fmla="*/ 489 h 7656"/>
                  <a:gd name="connsiteX2" fmla="*/ 2118 w 9937"/>
                  <a:gd name="connsiteY2" fmla="*/ 815 h 7656"/>
                  <a:gd name="connsiteX3" fmla="*/ 0 w 9937"/>
                  <a:gd name="connsiteY3" fmla="*/ 0 h 7656"/>
                  <a:gd name="connsiteX4" fmla="*/ 1140 w 9937"/>
                  <a:gd name="connsiteY4" fmla="*/ 3584 h 7656"/>
                  <a:gd name="connsiteX5" fmla="*/ 6191 w 9937"/>
                  <a:gd name="connsiteY5" fmla="*/ 5050 h 7656"/>
                  <a:gd name="connsiteX6" fmla="*/ 9938 w 9937"/>
                  <a:gd name="connsiteY6" fmla="*/ 7657 h 7656"/>
                  <a:gd name="connsiteX7" fmla="*/ 9938 w 9937"/>
                  <a:gd name="connsiteY7" fmla="*/ 3421 h 76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9937" h="7656">
                    <a:moveTo>
                      <a:pt x="9938" y="3421"/>
                    </a:moveTo>
                    <a:lnTo>
                      <a:pt x="5050" y="489"/>
                    </a:lnTo>
                    <a:lnTo>
                      <a:pt x="2118" y="815"/>
                    </a:lnTo>
                    <a:lnTo>
                      <a:pt x="0" y="0"/>
                    </a:lnTo>
                    <a:lnTo>
                      <a:pt x="1140" y="3584"/>
                    </a:lnTo>
                    <a:lnTo>
                      <a:pt x="6191" y="5050"/>
                    </a:lnTo>
                    <a:lnTo>
                      <a:pt x="9938" y="7657"/>
                    </a:lnTo>
                    <a:lnTo>
                      <a:pt x="9938" y="3421"/>
                    </a:lnTo>
                    <a:close/>
                  </a:path>
                </a:pathLst>
              </a:custGeom>
              <a:grpFill/>
              <a:ln w="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50" name="Forma livre: Forma 249">
                <a:extLst>
                  <a:ext uri="{FF2B5EF4-FFF2-40B4-BE49-F238E27FC236}">
                    <a16:creationId xmlns:a16="http://schemas.microsoft.com/office/drawing/2014/main" id="{B712F218-353E-CDBE-DD14-32D12A680BB6}"/>
                  </a:ext>
                </a:extLst>
              </p:cNvPr>
              <p:cNvSpPr/>
              <p:nvPr/>
            </p:nvSpPr>
            <p:spPr>
              <a:xfrm>
                <a:off x="8932574" y="3976710"/>
                <a:ext cx="14010" cy="7656"/>
              </a:xfrm>
              <a:custGeom>
                <a:avLst/>
                <a:gdLst>
                  <a:gd name="connsiteX0" fmla="*/ 6842 w 14010"/>
                  <a:gd name="connsiteY0" fmla="*/ 977 h 7656"/>
                  <a:gd name="connsiteX1" fmla="*/ 652 w 14010"/>
                  <a:gd name="connsiteY1" fmla="*/ 0 h 7656"/>
                  <a:gd name="connsiteX2" fmla="*/ 0 w 14010"/>
                  <a:gd name="connsiteY2" fmla="*/ 1955 h 7656"/>
                  <a:gd name="connsiteX3" fmla="*/ 3095 w 14010"/>
                  <a:gd name="connsiteY3" fmla="*/ 5050 h 7656"/>
                  <a:gd name="connsiteX4" fmla="*/ 8472 w 14010"/>
                  <a:gd name="connsiteY4" fmla="*/ 5213 h 7656"/>
                  <a:gd name="connsiteX5" fmla="*/ 14010 w 14010"/>
                  <a:gd name="connsiteY5" fmla="*/ 7657 h 7656"/>
                  <a:gd name="connsiteX6" fmla="*/ 13359 w 14010"/>
                  <a:gd name="connsiteY6" fmla="*/ 2118 h 7656"/>
                  <a:gd name="connsiteX7" fmla="*/ 9123 w 14010"/>
                  <a:gd name="connsiteY7" fmla="*/ 2444 h 7656"/>
                  <a:gd name="connsiteX8" fmla="*/ 6842 w 14010"/>
                  <a:gd name="connsiteY8" fmla="*/ 977 h 76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4010" h="7656">
                    <a:moveTo>
                      <a:pt x="6842" y="977"/>
                    </a:moveTo>
                    <a:lnTo>
                      <a:pt x="652" y="0"/>
                    </a:lnTo>
                    <a:lnTo>
                      <a:pt x="0" y="1955"/>
                    </a:lnTo>
                    <a:lnTo>
                      <a:pt x="3095" y="5050"/>
                    </a:lnTo>
                    <a:lnTo>
                      <a:pt x="8472" y="5213"/>
                    </a:lnTo>
                    <a:lnTo>
                      <a:pt x="14010" y="7657"/>
                    </a:lnTo>
                    <a:lnTo>
                      <a:pt x="13359" y="2118"/>
                    </a:lnTo>
                    <a:lnTo>
                      <a:pt x="9123" y="2444"/>
                    </a:lnTo>
                    <a:lnTo>
                      <a:pt x="6842" y="977"/>
                    </a:lnTo>
                    <a:close/>
                  </a:path>
                </a:pathLst>
              </a:custGeom>
              <a:grpFill/>
              <a:ln w="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51" name="Forma livre: Forma 250">
                <a:extLst>
                  <a:ext uri="{FF2B5EF4-FFF2-40B4-BE49-F238E27FC236}">
                    <a16:creationId xmlns:a16="http://schemas.microsoft.com/office/drawing/2014/main" id="{E5270456-87FF-A959-BB6D-BD368E186D7E}"/>
                  </a:ext>
                </a:extLst>
              </p:cNvPr>
              <p:cNvSpPr/>
              <p:nvPr/>
            </p:nvSpPr>
            <p:spPr>
              <a:xfrm>
                <a:off x="8942674" y="4177088"/>
                <a:ext cx="45614" cy="108660"/>
              </a:xfrm>
              <a:custGeom>
                <a:avLst/>
                <a:gdLst>
                  <a:gd name="connsiteX0" fmla="*/ 40239 w 45614"/>
                  <a:gd name="connsiteY0" fmla="*/ 7820 h 108660"/>
                  <a:gd name="connsiteX1" fmla="*/ 38609 w 45614"/>
                  <a:gd name="connsiteY1" fmla="*/ 7820 h 108660"/>
                  <a:gd name="connsiteX2" fmla="*/ 35840 w 45614"/>
                  <a:gd name="connsiteY2" fmla="*/ 2118 h 108660"/>
                  <a:gd name="connsiteX3" fmla="*/ 30138 w 45614"/>
                  <a:gd name="connsiteY3" fmla="*/ 0 h 108660"/>
                  <a:gd name="connsiteX4" fmla="*/ 26717 w 45614"/>
                  <a:gd name="connsiteY4" fmla="*/ 1955 h 108660"/>
                  <a:gd name="connsiteX5" fmla="*/ 27369 w 45614"/>
                  <a:gd name="connsiteY5" fmla="*/ 5376 h 108660"/>
                  <a:gd name="connsiteX6" fmla="*/ 22645 w 45614"/>
                  <a:gd name="connsiteY6" fmla="*/ 7005 h 108660"/>
                  <a:gd name="connsiteX7" fmla="*/ 17106 w 45614"/>
                  <a:gd name="connsiteY7" fmla="*/ 13358 h 108660"/>
                  <a:gd name="connsiteX8" fmla="*/ 12056 w 45614"/>
                  <a:gd name="connsiteY8" fmla="*/ 22156 h 108660"/>
                  <a:gd name="connsiteX9" fmla="*/ 13359 w 45614"/>
                  <a:gd name="connsiteY9" fmla="*/ 24599 h 108660"/>
                  <a:gd name="connsiteX10" fmla="*/ 12381 w 45614"/>
                  <a:gd name="connsiteY10" fmla="*/ 28020 h 108660"/>
                  <a:gd name="connsiteX11" fmla="*/ 10263 w 45614"/>
                  <a:gd name="connsiteY11" fmla="*/ 30138 h 108660"/>
                  <a:gd name="connsiteX12" fmla="*/ 4725 w 45614"/>
                  <a:gd name="connsiteY12" fmla="*/ 39913 h 108660"/>
                  <a:gd name="connsiteX13" fmla="*/ 1955 w 45614"/>
                  <a:gd name="connsiteY13" fmla="*/ 50013 h 108660"/>
                  <a:gd name="connsiteX14" fmla="*/ 0 w 45614"/>
                  <a:gd name="connsiteY14" fmla="*/ 51479 h 108660"/>
                  <a:gd name="connsiteX15" fmla="*/ 1629 w 45614"/>
                  <a:gd name="connsiteY15" fmla="*/ 53923 h 108660"/>
                  <a:gd name="connsiteX16" fmla="*/ 1955 w 45614"/>
                  <a:gd name="connsiteY16" fmla="*/ 63860 h 108660"/>
                  <a:gd name="connsiteX17" fmla="*/ 2607 w 45614"/>
                  <a:gd name="connsiteY17" fmla="*/ 74123 h 108660"/>
                  <a:gd name="connsiteX18" fmla="*/ 5213 w 45614"/>
                  <a:gd name="connsiteY18" fmla="*/ 75753 h 108660"/>
                  <a:gd name="connsiteX19" fmla="*/ 5865 w 45614"/>
                  <a:gd name="connsiteY19" fmla="*/ 78685 h 108660"/>
                  <a:gd name="connsiteX20" fmla="*/ 4888 w 45614"/>
                  <a:gd name="connsiteY20" fmla="*/ 79174 h 108660"/>
                  <a:gd name="connsiteX21" fmla="*/ 4725 w 45614"/>
                  <a:gd name="connsiteY21" fmla="*/ 82269 h 108660"/>
                  <a:gd name="connsiteX22" fmla="*/ 7494 w 45614"/>
                  <a:gd name="connsiteY22" fmla="*/ 86505 h 108660"/>
                  <a:gd name="connsiteX23" fmla="*/ 10263 w 45614"/>
                  <a:gd name="connsiteY23" fmla="*/ 87156 h 108660"/>
                  <a:gd name="connsiteX24" fmla="*/ 10915 w 45614"/>
                  <a:gd name="connsiteY24" fmla="*/ 90577 h 108660"/>
                  <a:gd name="connsiteX25" fmla="*/ 18083 w 45614"/>
                  <a:gd name="connsiteY25" fmla="*/ 93021 h 108660"/>
                  <a:gd name="connsiteX26" fmla="*/ 21830 w 45614"/>
                  <a:gd name="connsiteY26" fmla="*/ 98397 h 108660"/>
                  <a:gd name="connsiteX27" fmla="*/ 21341 w 45614"/>
                  <a:gd name="connsiteY27" fmla="*/ 104425 h 108660"/>
                  <a:gd name="connsiteX28" fmla="*/ 21830 w 45614"/>
                  <a:gd name="connsiteY28" fmla="*/ 108660 h 108660"/>
                  <a:gd name="connsiteX29" fmla="*/ 25414 w 45614"/>
                  <a:gd name="connsiteY29" fmla="*/ 107357 h 108660"/>
                  <a:gd name="connsiteX30" fmla="*/ 29161 w 45614"/>
                  <a:gd name="connsiteY30" fmla="*/ 108660 h 108660"/>
                  <a:gd name="connsiteX31" fmla="*/ 28020 w 45614"/>
                  <a:gd name="connsiteY31" fmla="*/ 103447 h 108660"/>
                  <a:gd name="connsiteX32" fmla="*/ 29324 w 45614"/>
                  <a:gd name="connsiteY32" fmla="*/ 97420 h 108660"/>
                  <a:gd name="connsiteX33" fmla="*/ 26717 w 45614"/>
                  <a:gd name="connsiteY33" fmla="*/ 89763 h 108660"/>
                  <a:gd name="connsiteX34" fmla="*/ 30953 w 45614"/>
                  <a:gd name="connsiteY34" fmla="*/ 84061 h 108660"/>
                  <a:gd name="connsiteX35" fmla="*/ 37469 w 45614"/>
                  <a:gd name="connsiteY35" fmla="*/ 74287 h 108660"/>
                  <a:gd name="connsiteX36" fmla="*/ 37632 w 45614"/>
                  <a:gd name="connsiteY36" fmla="*/ 68096 h 108660"/>
                  <a:gd name="connsiteX37" fmla="*/ 39424 w 45614"/>
                  <a:gd name="connsiteY37" fmla="*/ 66304 h 108660"/>
                  <a:gd name="connsiteX38" fmla="*/ 37143 w 45614"/>
                  <a:gd name="connsiteY38" fmla="*/ 65326 h 108660"/>
                  <a:gd name="connsiteX39" fmla="*/ 38609 w 45614"/>
                  <a:gd name="connsiteY39" fmla="*/ 55552 h 108660"/>
                  <a:gd name="connsiteX40" fmla="*/ 39099 w 45614"/>
                  <a:gd name="connsiteY40" fmla="*/ 48710 h 108660"/>
                  <a:gd name="connsiteX41" fmla="*/ 37958 w 45614"/>
                  <a:gd name="connsiteY41" fmla="*/ 41379 h 108660"/>
                  <a:gd name="connsiteX42" fmla="*/ 40727 w 45614"/>
                  <a:gd name="connsiteY42" fmla="*/ 36003 h 108660"/>
                  <a:gd name="connsiteX43" fmla="*/ 42031 w 45614"/>
                  <a:gd name="connsiteY43" fmla="*/ 22807 h 108660"/>
                  <a:gd name="connsiteX44" fmla="*/ 43660 w 45614"/>
                  <a:gd name="connsiteY44" fmla="*/ 15965 h 108660"/>
                  <a:gd name="connsiteX45" fmla="*/ 45615 w 45614"/>
                  <a:gd name="connsiteY45" fmla="*/ 15476 h 108660"/>
                  <a:gd name="connsiteX46" fmla="*/ 44637 w 45614"/>
                  <a:gd name="connsiteY46" fmla="*/ 11078 h 108660"/>
                  <a:gd name="connsiteX47" fmla="*/ 40239 w 45614"/>
                  <a:gd name="connsiteY47" fmla="*/ 7820 h 1086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</a:cxnLst>
                <a:rect l="l" t="t" r="r" b="b"/>
                <a:pathLst>
                  <a:path w="45614" h="108660">
                    <a:moveTo>
                      <a:pt x="40239" y="7820"/>
                    </a:moveTo>
                    <a:lnTo>
                      <a:pt x="38609" y="7820"/>
                    </a:lnTo>
                    <a:lnTo>
                      <a:pt x="35840" y="2118"/>
                    </a:lnTo>
                    <a:lnTo>
                      <a:pt x="30138" y="0"/>
                    </a:lnTo>
                    <a:lnTo>
                      <a:pt x="26717" y="1955"/>
                    </a:lnTo>
                    <a:lnTo>
                      <a:pt x="27369" y="5376"/>
                    </a:lnTo>
                    <a:lnTo>
                      <a:pt x="22645" y="7005"/>
                    </a:lnTo>
                    <a:lnTo>
                      <a:pt x="17106" y="13358"/>
                    </a:lnTo>
                    <a:lnTo>
                      <a:pt x="12056" y="22156"/>
                    </a:lnTo>
                    <a:lnTo>
                      <a:pt x="13359" y="24599"/>
                    </a:lnTo>
                    <a:lnTo>
                      <a:pt x="12381" y="28020"/>
                    </a:lnTo>
                    <a:lnTo>
                      <a:pt x="10263" y="30138"/>
                    </a:lnTo>
                    <a:lnTo>
                      <a:pt x="4725" y="39913"/>
                    </a:lnTo>
                    <a:lnTo>
                      <a:pt x="1955" y="50013"/>
                    </a:lnTo>
                    <a:lnTo>
                      <a:pt x="0" y="51479"/>
                    </a:lnTo>
                    <a:lnTo>
                      <a:pt x="1629" y="53923"/>
                    </a:lnTo>
                    <a:lnTo>
                      <a:pt x="1955" y="63860"/>
                    </a:lnTo>
                    <a:lnTo>
                      <a:pt x="2607" y="74123"/>
                    </a:lnTo>
                    <a:lnTo>
                      <a:pt x="5213" y="75753"/>
                    </a:lnTo>
                    <a:lnTo>
                      <a:pt x="5865" y="78685"/>
                    </a:lnTo>
                    <a:lnTo>
                      <a:pt x="4888" y="79174"/>
                    </a:lnTo>
                    <a:lnTo>
                      <a:pt x="4725" y="82269"/>
                    </a:lnTo>
                    <a:lnTo>
                      <a:pt x="7494" y="86505"/>
                    </a:lnTo>
                    <a:lnTo>
                      <a:pt x="10263" y="87156"/>
                    </a:lnTo>
                    <a:lnTo>
                      <a:pt x="10915" y="90577"/>
                    </a:lnTo>
                    <a:lnTo>
                      <a:pt x="18083" y="93021"/>
                    </a:lnTo>
                    <a:lnTo>
                      <a:pt x="21830" y="98397"/>
                    </a:lnTo>
                    <a:lnTo>
                      <a:pt x="21341" y="104425"/>
                    </a:lnTo>
                    <a:lnTo>
                      <a:pt x="21830" y="108660"/>
                    </a:lnTo>
                    <a:lnTo>
                      <a:pt x="25414" y="107357"/>
                    </a:lnTo>
                    <a:lnTo>
                      <a:pt x="29161" y="108660"/>
                    </a:lnTo>
                    <a:lnTo>
                      <a:pt x="28020" y="103447"/>
                    </a:lnTo>
                    <a:lnTo>
                      <a:pt x="29324" y="97420"/>
                    </a:lnTo>
                    <a:lnTo>
                      <a:pt x="26717" y="89763"/>
                    </a:lnTo>
                    <a:lnTo>
                      <a:pt x="30953" y="84061"/>
                    </a:lnTo>
                    <a:lnTo>
                      <a:pt x="37469" y="74287"/>
                    </a:lnTo>
                    <a:lnTo>
                      <a:pt x="37632" y="68096"/>
                    </a:lnTo>
                    <a:lnTo>
                      <a:pt x="39424" y="66304"/>
                    </a:lnTo>
                    <a:lnTo>
                      <a:pt x="37143" y="65326"/>
                    </a:lnTo>
                    <a:lnTo>
                      <a:pt x="38609" y="55552"/>
                    </a:lnTo>
                    <a:lnTo>
                      <a:pt x="39099" y="48710"/>
                    </a:lnTo>
                    <a:lnTo>
                      <a:pt x="37958" y="41379"/>
                    </a:lnTo>
                    <a:lnTo>
                      <a:pt x="40727" y="36003"/>
                    </a:lnTo>
                    <a:lnTo>
                      <a:pt x="42031" y="22807"/>
                    </a:lnTo>
                    <a:lnTo>
                      <a:pt x="43660" y="15965"/>
                    </a:lnTo>
                    <a:lnTo>
                      <a:pt x="45615" y="15476"/>
                    </a:lnTo>
                    <a:lnTo>
                      <a:pt x="44637" y="11078"/>
                    </a:lnTo>
                    <a:lnTo>
                      <a:pt x="40239" y="7820"/>
                    </a:lnTo>
                    <a:close/>
                  </a:path>
                </a:pathLst>
              </a:custGeom>
              <a:grpFill/>
              <a:ln w="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52" name="Forma livre: Forma 251">
                <a:extLst>
                  <a:ext uri="{FF2B5EF4-FFF2-40B4-BE49-F238E27FC236}">
                    <a16:creationId xmlns:a16="http://schemas.microsoft.com/office/drawing/2014/main" id="{D94429B6-AE7E-E2F7-92B8-B8F30A4B9264}"/>
                  </a:ext>
                </a:extLst>
              </p:cNvPr>
              <p:cNvSpPr/>
              <p:nvPr/>
            </p:nvSpPr>
            <p:spPr>
              <a:xfrm>
                <a:off x="8866921" y="4238342"/>
                <a:ext cx="7004" cy="4398"/>
              </a:xfrm>
              <a:custGeom>
                <a:avLst/>
                <a:gdLst>
                  <a:gd name="connsiteX0" fmla="*/ 0 w 7004"/>
                  <a:gd name="connsiteY0" fmla="*/ 1955 h 4398"/>
                  <a:gd name="connsiteX1" fmla="*/ 652 w 7004"/>
                  <a:gd name="connsiteY1" fmla="*/ 4236 h 4398"/>
                  <a:gd name="connsiteX2" fmla="*/ 5213 w 7004"/>
                  <a:gd name="connsiteY2" fmla="*/ 4399 h 4398"/>
                  <a:gd name="connsiteX3" fmla="*/ 7005 w 7004"/>
                  <a:gd name="connsiteY3" fmla="*/ 2932 h 4398"/>
                  <a:gd name="connsiteX4" fmla="*/ 3910 w 7004"/>
                  <a:gd name="connsiteY4" fmla="*/ 0 h 4398"/>
                  <a:gd name="connsiteX5" fmla="*/ 0 w 7004"/>
                  <a:gd name="connsiteY5" fmla="*/ 1955 h 43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7004" h="4398">
                    <a:moveTo>
                      <a:pt x="0" y="1955"/>
                    </a:moveTo>
                    <a:lnTo>
                      <a:pt x="652" y="4236"/>
                    </a:lnTo>
                    <a:lnTo>
                      <a:pt x="5213" y="4399"/>
                    </a:lnTo>
                    <a:lnTo>
                      <a:pt x="7005" y="2932"/>
                    </a:lnTo>
                    <a:lnTo>
                      <a:pt x="3910" y="0"/>
                    </a:lnTo>
                    <a:lnTo>
                      <a:pt x="0" y="1955"/>
                    </a:lnTo>
                    <a:close/>
                  </a:path>
                </a:pathLst>
              </a:custGeom>
              <a:grpFill/>
              <a:ln w="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53" name="Forma livre: Forma 252">
                <a:extLst>
                  <a:ext uri="{FF2B5EF4-FFF2-40B4-BE49-F238E27FC236}">
                    <a16:creationId xmlns:a16="http://schemas.microsoft.com/office/drawing/2014/main" id="{86D72188-0EEB-661F-83B2-35C075C6CE6D}"/>
                  </a:ext>
                </a:extLst>
              </p:cNvPr>
              <p:cNvSpPr/>
              <p:nvPr/>
            </p:nvSpPr>
            <p:spPr>
              <a:xfrm>
                <a:off x="8921496" y="4173016"/>
                <a:ext cx="3909" cy="6679"/>
              </a:xfrm>
              <a:custGeom>
                <a:avLst/>
                <a:gdLst>
                  <a:gd name="connsiteX0" fmla="*/ 0 w 3909"/>
                  <a:gd name="connsiteY0" fmla="*/ 977 h 6679"/>
                  <a:gd name="connsiteX1" fmla="*/ 1140 w 3909"/>
                  <a:gd name="connsiteY1" fmla="*/ 6679 h 6679"/>
                  <a:gd name="connsiteX2" fmla="*/ 3584 w 3909"/>
                  <a:gd name="connsiteY2" fmla="*/ 5702 h 6679"/>
                  <a:gd name="connsiteX3" fmla="*/ 3910 w 3909"/>
                  <a:gd name="connsiteY3" fmla="*/ 2118 h 6679"/>
                  <a:gd name="connsiteX4" fmla="*/ 1955 w 3909"/>
                  <a:gd name="connsiteY4" fmla="*/ 0 h 6679"/>
                  <a:gd name="connsiteX5" fmla="*/ 0 w 3909"/>
                  <a:gd name="connsiteY5" fmla="*/ 977 h 66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3909" h="6679">
                    <a:moveTo>
                      <a:pt x="0" y="977"/>
                    </a:moveTo>
                    <a:lnTo>
                      <a:pt x="1140" y="6679"/>
                    </a:lnTo>
                    <a:lnTo>
                      <a:pt x="3584" y="5702"/>
                    </a:lnTo>
                    <a:lnTo>
                      <a:pt x="3910" y="2118"/>
                    </a:lnTo>
                    <a:lnTo>
                      <a:pt x="1955" y="0"/>
                    </a:lnTo>
                    <a:lnTo>
                      <a:pt x="0" y="977"/>
                    </a:lnTo>
                    <a:close/>
                  </a:path>
                </a:pathLst>
              </a:custGeom>
              <a:grpFill/>
              <a:ln w="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254" name="Forma livre: Forma 253">
              <a:extLst>
                <a:ext uri="{FF2B5EF4-FFF2-40B4-BE49-F238E27FC236}">
                  <a16:creationId xmlns:a16="http://schemas.microsoft.com/office/drawing/2014/main" id="{FA92554B-9848-B4B8-0289-A0C88B011912}"/>
                </a:ext>
              </a:extLst>
            </p:cNvPr>
            <p:cNvSpPr/>
            <p:nvPr/>
          </p:nvSpPr>
          <p:spPr>
            <a:xfrm>
              <a:off x="8667018" y="4306025"/>
              <a:ext cx="217677" cy="424075"/>
            </a:xfrm>
            <a:custGeom>
              <a:avLst/>
              <a:gdLst>
                <a:gd name="connsiteX0" fmla="*/ 489 w 210641"/>
                <a:gd name="connsiteY0" fmla="*/ 27695 h 410368"/>
                <a:gd name="connsiteX1" fmla="*/ 2280 w 210641"/>
                <a:gd name="connsiteY1" fmla="*/ 26228 h 410368"/>
                <a:gd name="connsiteX2" fmla="*/ 4398 w 210641"/>
                <a:gd name="connsiteY2" fmla="*/ 25902 h 410368"/>
                <a:gd name="connsiteX3" fmla="*/ 5702 w 210641"/>
                <a:gd name="connsiteY3" fmla="*/ 23296 h 410368"/>
                <a:gd name="connsiteX4" fmla="*/ 8471 w 210641"/>
                <a:gd name="connsiteY4" fmla="*/ 20852 h 410368"/>
                <a:gd name="connsiteX5" fmla="*/ 13847 w 210641"/>
                <a:gd name="connsiteY5" fmla="*/ 18734 h 410368"/>
                <a:gd name="connsiteX6" fmla="*/ 17105 w 210641"/>
                <a:gd name="connsiteY6" fmla="*/ 19223 h 410368"/>
                <a:gd name="connsiteX7" fmla="*/ 16780 w 210641"/>
                <a:gd name="connsiteY7" fmla="*/ 23133 h 410368"/>
                <a:gd name="connsiteX8" fmla="*/ 19060 w 210641"/>
                <a:gd name="connsiteY8" fmla="*/ 24925 h 410368"/>
                <a:gd name="connsiteX9" fmla="*/ 22482 w 210641"/>
                <a:gd name="connsiteY9" fmla="*/ 24925 h 410368"/>
                <a:gd name="connsiteX10" fmla="*/ 23296 w 210641"/>
                <a:gd name="connsiteY10" fmla="*/ 20038 h 410368"/>
                <a:gd name="connsiteX11" fmla="*/ 27206 w 210641"/>
                <a:gd name="connsiteY11" fmla="*/ 17268 h 410368"/>
                <a:gd name="connsiteX12" fmla="*/ 32419 w 210641"/>
                <a:gd name="connsiteY12" fmla="*/ 22318 h 410368"/>
                <a:gd name="connsiteX13" fmla="*/ 35025 w 210641"/>
                <a:gd name="connsiteY13" fmla="*/ 18734 h 410368"/>
                <a:gd name="connsiteX14" fmla="*/ 37958 w 210641"/>
                <a:gd name="connsiteY14" fmla="*/ 18734 h 410368"/>
                <a:gd name="connsiteX15" fmla="*/ 39098 w 210641"/>
                <a:gd name="connsiteY15" fmla="*/ 22644 h 410368"/>
                <a:gd name="connsiteX16" fmla="*/ 44800 w 210641"/>
                <a:gd name="connsiteY16" fmla="*/ 19875 h 410368"/>
                <a:gd name="connsiteX17" fmla="*/ 45777 w 210641"/>
                <a:gd name="connsiteY17" fmla="*/ 16128 h 410368"/>
                <a:gd name="connsiteX18" fmla="*/ 52131 w 210641"/>
                <a:gd name="connsiteY18" fmla="*/ 14336 h 410368"/>
                <a:gd name="connsiteX19" fmla="*/ 57181 w 210641"/>
                <a:gd name="connsiteY19" fmla="*/ 17268 h 410368"/>
                <a:gd name="connsiteX20" fmla="*/ 65815 w 210641"/>
                <a:gd name="connsiteY20" fmla="*/ 14499 h 410368"/>
                <a:gd name="connsiteX21" fmla="*/ 65489 w 210641"/>
                <a:gd name="connsiteY21" fmla="*/ 6516 h 410368"/>
                <a:gd name="connsiteX22" fmla="*/ 71028 w 210641"/>
                <a:gd name="connsiteY22" fmla="*/ 3421 h 410368"/>
                <a:gd name="connsiteX23" fmla="*/ 77219 w 210641"/>
                <a:gd name="connsiteY23" fmla="*/ 3421 h 410368"/>
                <a:gd name="connsiteX24" fmla="*/ 80640 w 210641"/>
                <a:gd name="connsiteY24" fmla="*/ 0 h 410368"/>
                <a:gd name="connsiteX25" fmla="*/ 86179 w 210641"/>
                <a:gd name="connsiteY25" fmla="*/ 4399 h 410368"/>
                <a:gd name="connsiteX26" fmla="*/ 86179 w 210641"/>
                <a:gd name="connsiteY26" fmla="*/ 7657 h 410368"/>
                <a:gd name="connsiteX27" fmla="*/ 91881 w 210641"/>
                <a:gd name="connsiteY27" fmla="*/ 8797 h 410368"/>
                <a:gd name="connsiteX28" fmla="*/ 94161 w 210641"/>
                <a:gd name="connsiteY28" fmla="*/ 12055 h 410368"/>
                <a:gd name="connsiteX29" fmla="*/ 105728 w 210641"/>
                <a:gd name="connsiteY29" fmla="*/ 12055 h 410368"/>
                <a:gd name="connsiteX30" fmla="*/ 107683 w 210641"/>
                <a:gd name="connsiteY30" fmla="*/ 14499 h 410368"/>
                <a:gd name="connsiteX31" fmla="*/ 114525 w 210641"/>
                <a:gd name="connsiteY31" fmla="*/ 11729 h 410368"/>
                <a:gd name="connsiteX32" fmla="*/ 118923 w 210641"/>
                <a:gd name="connsiteY32" fmla="*/ 15150 h 410368"/>
                <a:gd name="connsiteX33" fmla="*/ 117946 w 210641"/>
                <a:gd name="connsiteY33" fmla="*/ 20201 h 410368"/>
                <a:gd name="connsiteX34" fmla="*/ 114199 w 210641"/>
                <a:gd name="connsiteY34" fmla="*/ 20690 h 410368"/>
                <a:gd name="connsiteX35" fmla="*/ 111593 w 210641"/>
                <a:gd name="connsiteY35" fmla="*/ 30138 h 410368"/>
                <a:gd name="connsiteX36" fmla="*/ 114525 w 210641"/>
                <a:gd name="connsiteY36" fmla="*/ 31279 h 410368"/>
                <a:gd name="connsiteX37" fmla="*/ 115991 w 210641"/>
                <a:gd name="connsiteY37" fmla="*/ 36655 h 410368"/>
                <a:gd name="connsiteX38" fmla="*/ 126255 w 210641"/>
                <a:gd name="connsiteY38" fmla="*/ 40401 h 410368"/>
                <a:gd name="connsiteX39" fmla="*/ 127721 w 210641"/>
                <a:gd name="connsiteY39" fmla="*/ 44148 h 410368"/>
                <a:gd name="connsiteX40" fmla="*/ 132608 w 210641"/>
                <a:gd name="connsiteY40" fmla="*/ 46429 h 410368"/>
                <a:gd name="connsiteX41" fmla="*/ 137821 w 210641"/>
                <a:gd name="connsiteY41" fmla="*/ 49036 h 410368"/>
                <a:gd name="connsiteX42" fmla="*/ 143034 w 210641"/>
                <a:gd name="connsiteY42" fmla="*/ 47407 h 410368"/>
                <a:gd name="connsiteX43" fmla="*/ 145315 w 210641"/>
                <a:gd name="connsiteY43" fmla="*/ 49199 h 410368"/>
                <a:gd name="connsiteX44" fmla="*/ 148410 w 210641"/>
                <a:gd name="connsiteY44" fmla="*/ 48221 h 410368"/>
                <a:gd name="connsiteX45" fmla="*/ 152971 w 210641"/>
                <a:gd name="connsiteY45" fmla="*/ 50665 h 410368"/>
                <a:gd name="connsiteX46" fmla="*/ 152646 w 210641"/>
                <a:gd name="connsiteY46" fmla="*/ 50665 h 410368"/>
                <a:gd name="connsiteX47" fmla="*/ 153623 w 210641"/>
                <a:gd name="connsiteY47" fmla="*/ 52620 h 410368"/>
                <a:gd name="connsiteX48" fmla="*/ 151831 w 210641"/>
                <a:gd name="connsiteY48" fmla="*/ 55552 h 410368"/>
                <a:gd name="connsiteX49" fmla="*/ 149062 w 210641"/>
                <a:gd name="connsiteY49" fmla="*/ 56692 h 410368"/>
                <a:gd name="connsiteX50" fmla="*/ 146944 w 210641"/>
                <a:gd name="connsiteY50" fmla="*/ 56692 h 410368"/>
                <a:gd name="connsiteX51" fmla="*/ 142546 w 210641"/>
                <a:gd name="connsiteY51" fmla="*/ 59462 h 410368"/>
                <a:gd name="connsiteX52" fmla="*/ 138147 w 210641"/>
                <a:gd name="connsiteY52" fmla="*/ 59136 h 410368"/>
                <a:gd name="connsiteX53" fmla="*/ 133585 w 210641"/>
                <a:gd name="connsiteY53" fmla="*/ 59950 h 410368"/>
                <a:gd name="connsiteX54" fmla="*/ 132282 w 210641"/>
                <a:gd name="connsiteY54" fmla="*/ 62231 h 410368"/>
                <a:gd name="connsiteX55" fmla="*/ 133423 w 210641"/>
                <a:gd name="connsiteY55" fmla="*/ 65978 h 410368"/>
                <a:gd name="connsiteX56" fmla="*/ 130979 w 210641"/>
                <a:gd name="connsiteY56" fmla="*/ 67770 h 410368"/>
                <a:gd name="connsiteX57" fmla="*/ 130001 w 210641"/>
                <a:gd name="connsiteY57" fmla="*/ 69562 h 410368"/>
                <a:gd name="connsiteX58" fmla="*/ 127558 w 210641"/>
                <a:gd name="connsiteY58" fmla="*/ 68096 h 410368"/>
                <a:gd name="connsiteX59" fmla="*/ 123648 w 210641"/>
                <a:gd name="connsiteY59" fmla="*/ 68911 h 410368"/>
                <a:gd name="connsiteX60" fmla="*/ 121204 w 210641"/>
                <a:gd name="connsiteY60" fmla="*/ 71191 h 410368"/>
                <a:gd name="connsiteX61" fmla="*/ 119412 w 210641"/>
                <a:gd name="connsiteY61" fmla="*/ 71843 h 410368"/>
                <a:gd name="connsiteX62" fmla="*/ 117783 w 210641"/>
                <a:gd name="connsiteY62" fmla="*/ 69399 h 410368"/>
                <a:gd name="connsiteX63" fmla="*/ 115991 w 210641"/>
                <a:gd name="connsiteY63" fmla="*/ 68748 h 410368"/>
                <a:gd name="connsiteX64" fmla="*/ 115666 w 210641"/>
                <a:gd name="connsiteY64" fmla="*/ 72332 h 410368"/>
                <a:gd name="connsiteX65" fmla="*/ 113710 w 210641"/>
                <a:gd name="connsiteY65" fmla="*/ 75101 h 410368"/>
                <a:gd name="connsiteX66" fmla="*/ 115014 w 210641"/>
                <a:gd name="connsiteY66" fmla="*/ 76567 h 410368"/>
                <a:gd name="connsiteX67" fmla="*/ 114362 w 210641"/>
                <a:gd name="connsiteY67" fmla="*/ 80477 h 410368"/>
                <a:gd name="connsiteX68" fmla="*/ 114362 w 210641"/>
                <a:gd name="connsiteY68" fmla="*/ 84550 h 410368"/>
                <a:gd name="connsiteX69" fmla="*/ 113873 w 210641"/>
                <a:gd name="connsiteY69" fmla="*/ 85527 h 410368"/>
                <a:gd name="connsiteX70" fmla="*/ 115339 w 210641"/>
                <a:gd name="connsiteY70" fmla="*/ 88460 h 410368"/>
                <a:gd name="connsiteX71" fmla="*/ 114036 w 210641"/>
                <a:gd name="connsiteY71" fmla="*/ 90740 h 410368"/>
                <a:gd name="connsiteX72" fmla="*/ 112082 w 210641"/>
                <a:gd name="connsiteY72" fmla="*/ 91392 h 410368"/>
                <a:gd name="connsiteX73" fmla="*/ 108334 w 210641"/>
                <a:gd name="connsiteY73" fmla="*/ 97420 h 410368"/>
                <a:gd name="connsiteX74" fmla="*/ 105076 w 210641"/>
                <a:gd name="connsiteY74" fmla="*/ 97420 h 410368"/>
                <a:gd name="connsiteX75" fmla="*/ 103773 w 210641"/>
                <a:gd name="connsiteY75" fmla="*/ 95790 h 410368"/>
                <a:gd name="connsiteX76" fmla="*/ 103773 w 210641"/>
                <a:gd name="connsiteY76" fmla="*/ 97908 h 410368"/>
                <a:gd name="connsiteX77" fmla="*/ 101330 w 210641"/>
                <a:gd name="connsiteY77" fmla="*/ 99700 h 410368"/>
                <a:gd name="connsiteX78" fmla="*/ 99863 w 210641"/>
                <a:gd name="connsiteY78" fmla="*/ 104099 h 410368"/>
                <a:gd name="connsiteX79" fmla="*/ 97745 w 210641"/>
                <a:gd name="connsiteY79" fmla="*/ 105891 h 410368"/>
                <a:gd name="connsiteX80" fmla="*/ 97745 w 210641"/>
                <a:gd name="connsiteY80" fmla="*/ 110615 h 410368"/>
                <a:gd name="connsiteX81" fmla="*/ 99537 w 210641"/>
                <a:gd name="connsiteY81" fmla="*/ 110941 h 410368"/>
                <a:gd name="connsiteX82" fmla="*/ 101492 w 210641"/>
                <a:gd name="connsiteY82" fmla="*/ 113385 h 410368"/>
                <a:gd name="connsiteX83" fmla="*/ 99049 w 210641"/>
                <a:gd name="connsiteY83" fmla="*/ 121856 h 410368"/>
                <a:gd name="connsiteX84" fmla="*/ 96116 w 210641"/>
                <a:gd name="connsiteY84" fmla="*/ 126092 h 410368"/>
                <a:gd name="connsiteX85" fmla="*/ 101492 w 210641"/>
                <a:gd name="connsiteY85" fmla="*/ 130653 h 410368"/>
                <a:gd name="connsiteX86" fmla="*/ 100841 w 210641"/>
                <a:gd name="connsiteY86" fmla="*/ 133423 h 410368"/>
                <a:gd name="connsiteX87" fmla="*/ 96605 w 210641"/>
                <a:gd name="connsiteY87" fmla="*/ 134563 h 410368"/>
                <a:gd name="connsiteX88" fmla="*/ 101003 w 210641"/>
                <a:gd name="connsiteY88" fmla="*/ 135866 h 410368"/>
                <a:gd name="connsiteX89" fmla="*/ 108498 w 210641"/>
                <a:gd name="connsiteY89" fmla="*/ 140265 h 410368"/>
                <a:gd name="connsiteX90" fmla="*/ 115177 w 210641"/>
                <a:gd name="connsiteY90" fmla="*/ 146781 h 410368"/>
                <a:gd name="connsiteX91" fmla="*/ 117620 w 210641"/>
                <a:gd name="connsiteY91" fmla="*/ 146781 h 410368"/>
                <a:gd name="connsiteX92" fmla="*/ 120878 w 210641"/>
                <a:gd name="connsiteY92" fmla="*/ 152320 h 410368"/>
                <a:gd name="connsiteX93" fmla="*/ 120878 w 210641"/>
                <a:gd name="connsiteY93" fmla="*/ 155252 h 410368"/>
                <a:gd name="connsiteX94" fmla="*/ 119901 w 210641"/>
                <a:gd name="connsiteY94" fmla="*/ 157044 h 410368"/>
                <a:gd name="connsiteX95" fmla="*/ 122019 w 210641"/>
                <a:gd name="connsiteY95" fmla="*/ 162909 h 410368"/>
                <a:gd name="connsiteX96" fmla="*/ 122996 w 210641"/>
                <a:gd name="connsiteY96" fmla="*/ 166004 h 410368"/>
                <a:gd name="connsiteX97" fmla="*/ 133097 w 210641"/>
                <a:gd name="connsiteY97" fmla="*/ 174150 h 410368"/>
                <a:gd name="connsiteX98" fmla="*/ 138636 w 210641"/>
                <a:gd name="connsiteY98" fmla="*/ 177408 h 410368"/>
                <a:gd name="connsiteX99" fmla="*/ 139287 w 210641"/>
                <a:gd name="connsiteY99" fmla="*/ 179200 h 410368"/>
                <a:gd name="connsiteX100" fmla="*/ 152971 w 210641"/>
                <a:gd name="connsiteY100" fmla="*/ 186694 h 410368"/>
                <a:gd name="connsiteX101" fmla="*/ 165353 w 210641"/>
                <a:gd name="connsiteY101" fmla="*/ 195817 h 410368"/>
                <a:gd name="connsiteX102" fmla="*/ 168122 w 210641"/>
                <a:gd name="connsiteY102" fmla="*/ 200704 h 410368"/>
                <a:gd name="connsiteX103" fmla="*/ 179526 w 210641"/>
                <a:gd name="connsiteY103" fmla="*/ 209175 h 410368"/>
                <a:gd name="connsiteX104" fmla="*/ 183273 w 210641"/>
                <a:gd name="connsiteY104" fmla="*/ 215692 h 410368"/>
                <a:gd name="connsiteX105" fmla="*/ 184087 w 210641"/>
                <a:gd name="connsiteY105" fmla="*/ 219764 h 410368"/>
                <a:gd name="connsiteX106" fmla="*/ 185716 w 210641"/>
                <a:gd name="connsiteY106" fmla="*/ 219764 h 410368"/>
                <a:gd name="connsiteX107" fmla="*/ 185716 w 210641"/>
                <a:gd name="connsiteY107" fmla="*/ 223185 h 410368"/>
                <a:gd name="connsiteX108" fmla="*/ 191255 w 210641"/>
                <a:gd name="connsiteY108" fmla="*/ 229213 h 410368"/>
                <a:gd name="connsiteX109" fmla="*/ 191255 w 210641"/>
                <a:gd name="connsiteY109" fmla="*/ 231982 h 410368"/>
                <a:gd name="connsiteX110" fmla="*/ 192559 w 210641"/>
                <a:gd name="connsiteY110" fmla="*/ 234100 h 410368"/>
                <a:gd name="connsiteX111" fmla="*/ 191418 w 210641"/>
                <a:gd name="connsiteY111" fmla="*/ 236218 h 410368"/>
                <a:gd name="connsiteX112" fmla="*/ 195817 w 210641"/>
                <a:gd name="connsiteY112" fmla="*/ 241594 h 410368"/>
                <a:gd name="connsiteX113" fmla="*/ 196957 w 210641"/>
                <a:gd name="connsiteY113" fmla="*/ 250880 h 410368"/>
                <a:gd name="connsiteX114" fmla="*/ 198912 w 210641"/>
                <a:gd name="connsiteY114" fmla="*/ 252346 h 410368"/>
                <a:gd name="connsiteX115" fmla="*/ 200867 w 210641"/>
                <a:gd name="connsiteY115" fmla="*/ 260492 h 410368"/>
                <a:gd name="connsiteX116" fmla="*/ 202496 w 210641"/>
                <a:gd name="connsiteY116" fmla="*/ 262121 h 410368"/>
                <a:gd name="connsiteX117" fmla="*/ 202496 w 210641"/>
                <a:gd name="connsiteY117" fmla="*/ 266682 h 410368"/>
                <a:gd name="connsiteX118" fmla="*/ 201844 w 210641"/>
                <a:gd name="connsiteY118" fmla="*/ 269615 h 410368"/>
                <a:gd name="connsiteX119" fmla="*/ 203473 w 210641"/>
                <a:gd name="connsiteY119" fmla="*/ 274013 h 410368"/>
                <a:gd name="connsiteX120" fmla="*/ 202333 w 210641"/>
                <a:gd name="connsiteY120" fmla="*/ 275805 h 410368"/>
                <a:gd name="connsiteX121" fmla="*/ 204125 w 210641"/>
                <a:gd name="connsiteY121" fmla="*/ 282322 h 410368"/>
                <a:gd name="connsiteX122" fmla="*/ 204125 w 210641"/>
                <a:gd name="connsiteY122" fmla="*/ 284765 h 410368"/>
                <a:gd name="connsiteX123" fmla="*/ 206569 w 210641"/>
                <a:gd name="connsiteY123" fmla="*/ 285743 h 410368"/>
                <a:gd name="connsiteX124" fmla="*/ 207709 w 210641"/>
                <a:gd name="connsiteY124" fmla="*/ 289327 h 410368"/>
                <a:gd name="connsiteX125" fmla="*/ 210641 w 210641"/>
                <a:gd name="connsiteY125" fmla="*/ 295191 h 410368"/>
                <a:gd name="connsiteX126" fmla="*/ 209990 w 210641"/>
                <a:gd name="connsiteY126" fmla="*/ 299101 h 410368"/>
                <a:gd name="connsiteX127" fmla="*/ 208850 w 210641"/>
                <a:gd name="connsiteY127" fmla="*/ 299101 h 410368"/>
                <a:gd name="connsiteX128" fmla="*/ 208850 w 210641"/>
                <a:gd name="connsiteY128" fmla="*/ 297146 h 410368"/>
                <a:gd name="connsiteX129" fmla="*/ 207220 w 210641"/>
                <a:gd name="connsiteY129" fmla="*/ 295191 h 410368"/>
                <a:gd name="connsiteX130" fmla="*/ 205103 w 210641"/>
                <a:gd name="connsiteY130" fmla="*/ 296495 h 410368"/>
                <a:gd name="connsiteX131" fmla="*/ 205428 w 210641"/>
                <a:gd name="connsiteY131" fmla="*/ 300405 h 410368"/>
                <a:gd name="connsiteX132" fmla="*/ 207872 w 210641"/>
                <a:gd name="connsiteY132" fmla="*/ 302848 h 410368"/>
                <a:gd name="connsiteX133" fmla="*/ 207383 w 210641"/>
                <a:gd name="connsiteY133" fmla="*/ 305129 h 410368"/>
                <a:gd name="connsiteX134" fmla="*/ 204777 w 210641"/>
                <a:gd name="connsiteY134" fmla="*/ 307084 h 410368"/>
                <a:gd name="connsiteX135" fmla="*/ 204777 w 210641"/>
                <a:gd name="connsiteY135" fmla="*/ 310016 h 410368"/>
                <a:gd name="connsiteX136" fmla="*/ 200541 w 210641"/>
                <a:gd name="connsiteY136" fmla="*/ 313111 h 410368"/>
                <a:gd name="connsiteX137" fmla="*/ 204125 w 210641"/>
                <a:gd name="connsiteY137" fmla="*/ 318487 h 410368"/>
                <a:gd name="connsiteX138" fmla="*/ 202170 w 210641"/>
                <a:gd name="connsiteY138" fmla="*/ 323049 h 410368"/>
                <a:gd name="connsiteX139" fmla="*/ 203800 w 210641"/>
                <a:gd name="connsiteY139" fmla="*/ 325167 h 410368"/>
                <a:gd name="connsiteX140" fmla="*/ 200378 w 210641"/>
                <a:gd name="connsiteY140" fmla="*/ 328425 h 410368"/>
                <a:gd name="connsiteX141" fmla="*/ 197609 w 210641"/>
                <a:gd name="connsiteY141" fmla="*/ 329565 h 410368"/>
                <a:gd name="connsiteX142" fmla="*/ 196794 w 210641"/>
                <a:gd name="connsiteY142" fmla="*/ 335756 h 410368"/>
                <a:gd name="connsiteX143" fmla="*/ 194025 w 210641"/>
                <a:gd name="connsiteY143" fmla="*/ 336896 h 410368"/>
                <a:gd name="connsiteX144" fmla="*/ 188160 w 210641"/>
                <a:gd name="connsiteY144" fmla="*/ 342761 h 410368"/>
                <a:gd name="connsiteX145" fmla="*/ 184413 w 210641"/>
                <a:gd name="connsiteY145" fmla="*/ 344716 h 410368"/>
                <a:gd name="connsiteX146" fmla="*/ 179363 w 210641"/>
                <a:gd name="connsiteY146" fmla="*/ 348300 h 410368"/>
                <a:gd name="connsiteX147" fmla="*/ 178711 w 210641"/>
                <a:gd name="connsiteY147" fmla="*/ 352698 h 410368"/>
                <a:gd name="connsiteX148" fmla="*/ 174150 w 210641"/>
                <a:gd name="connsiteY148" fmla="*/ 352698 h 410368"/>
                <a:gd name="connsiteX149" fmla="*/ 171218 w 210641"/>
                <a:gd name="connsiteY149" fmla="*/ 356119 h 410368"/>
                <a:gd name="connsiteX150" fmla="*/ 160139 w 210641"/>
                <a:gd name="connsiteY150" fmla="*/ 362636 h 410368"/>
                <a:gd name="connsiteX151" fmla="*/ 153460 w 210641"/>
                <a:gd name="connsiteY151" fmla="*/ 363287 h 410368"/>
                <a:gd name="connsiteX152" fmla="*/ 150528 w 210641"/>
                <a:gd name="connsiteY152" fmla="*/ 361821 h 410368"/>
                <a:gd name="connsiteX153" fmla="*/ 145641 w 210641"/>
                <a:gd name="connsiteY153" fmla="*/ 363124 h 410368"/>
                <a:gd name="connsiteX154" fmla="*/ 144663 w 210641"/>
                <a:gd name="connsiteY154" fmla="*/ 362147 h 410368"/>
                <a:gd name="connsiteX155" fmla="*/ 145315 w 210641"/>
                <a:gd name="connsiteY155" fmla="*/ 358889 h 410368"/>
                <a:gd name="connsiteX156" fmla="*/ 145315 w 210641"/>
                <a:gd name="connsiteY156" fmla="*/ 355794 h 410368"/>
                <a:gd name="connsiteX157" fmla="*/ 144012 w 210641"/>
                <a:gd name="connsiteY157" fmla="*/ 358726 h 410368"/>
                <a:gd name="connsiteX158" fmla="*/ 143197 w 210641"/>
                <a:gd name="connsiteY158" fmla="*/ 360029 h 410368"/>
                <a:gd name="connsiteX159" fmla="*/ 138798 w 210641"/>
                <a:gd name="connsiteY159" fmla="*/ 358889 h 410368"/>
                <a:gd name="connsiteX160" fmla="*/ 141731 w 210641"/>
                <a:gd name="connsiteY160" fmla="*/ 361170 h 410368"/>
                <a:gd name="connsiteX161" fmla="*/ 141731 w 210641"/>
                <a:gd name="connsiteY161" fmla="*/ 362962 h 410368"/>
                <a:gd name="connsiteX162" fmla="*/ 140265 w 210641"/>
                <a:gd name="connsiteY162" fmla="*/ 363939 h 410368"/>
                <a:gd name="connsiteX163" fmla="*/ 136029 w 210641"/>
                <a:gd name="connsiteY163" fmla="*/ 363287 h 410368"/>
                <a:gd name="connsiteX164" fmla="*/ 143034 w 210641"/>
                <a:gd name="connsiteY164" fmla="*/ 366546 h 410368"/>
                <a:gd name="connsiteX165" fmla="*/ 141568 w 210641"/>
                <a:gd name="connsiteY165" fmla="*/ 368826 h 410368"/>
                <a:gd name="connsiteX166" fmla="*/ 143523 w 210641"/>
                <a:gd name="connsiteY166" fmla="*/ 372899 h 410368"/>
                <a:gd name="connsiteX167" fmla="*/ 139776 w 210641"/>
                <a:gd name="connsiteY167" fmla="*/ 374854 h 410368"/>
                <a:gd name="connsiteX168" fmla="*/ 134237 w 210641"/>
                <a:gd name="connsiteY168" fmla="*/ 370781 h 410368"/>
                <a:gd name="connsiteX169" fmla="*/ 138961 w 210641"/>
                <a:gd name="connsiteY169" fmla="*/ 375831 h 410368"/>
                <a:gd name="connsiteX170" fmla="*/ 138473 w 210641"/>
                <a:gd name="connsiteY170" fmla="*/ 378275 h 410368"/>
                <a:gd name="connsiteX171" fmla="*/ 136355 w 210641"/>
                <a:gd name="connsiteY171" fmla="*/ 381044 h 410368"/>
                <a:gd name="connsiteX172" fmla="*/ 134074 w 210641"/>
                <a:gd name="connsiteY172" fmla="*/ 380230 h 410368"/>
                <a:gd name="connsiteX173" fmla="*/ 132119 w 210641"/>
                <a:gd name="connsiteY173" fmla="*/ 377298 h 410368"/>
                <a:gd name="connsiteX174" fmla="*/ 129187 w 210641"/>
                <a:gd name="connsiteY174" fmla="*/ 377786 h 410368"/>
                <a:gd name="connsiteX175" fmla="*/ 130490 w 210641"/>
                <a:gd name="connsiteY175" fmla="*/ 381533 h 410368"/>
                <a:gd name="connsiteX176" fmla="*/ 130490 w 210641"/>
                <a:gd name="connsiteY176" fmla="*/ 382837 h 410368"/>
                <a:gd name="connsiteX177" fmla="*/ 131305 w 210641"/>
                <a:gd name="connsiteY177" fmla="*/ 384303 h 410368"/>
                <a:gd name="connsiteX178" fmla="*/ 129350 w 210641"/>
                <a:gd name="connsiteY178" fmla="*/ 385769 h 410368"/>
                <a:gd name="connsiteX179" fmla="*/ 128046 w 210641"/>
                <a:gd name="connsiteY179" fmla="*/ 387724 h 410368"/>
                <a:gd name="connsiteX180" fmla="*/ 125440 w 210641"/>
                <a:gd name="connsiteY180" fmla="*/ 387724 h 410368"/>
                <a:gd name="connsiteX181" fmla="*/ 120553 w 210641"/>
                <a:gd name="connsiteY181" fmla="*/ 392285 h 410368"/>
                <a:gd name="connsiteX182" fmla="*/ 118435 w 210641"/>
                <a:gd name="connsiteY182" fmla="*/ 393751 h 410368"/>
                <a:gd name="connsiteX183" fmla="*/ 115014 w 210641"/>
                <a:gd name="connsiteY183" fmla="*/ 393263 h 410368"/>
                <a:gd name="connsiteX184" fmla="*/ 113873 w 210641"/>
                <a:gd name="connsiteY184" fmla="*/ 396032 h 410368"/>
                <a:gd name="connsiteX185" fmla="*/ 113222 w 210641"/>
                <a:gd name="connsiteY185" fmla="*/ 401408 h 410368"/>
                <a:gd name="connsiteX186" fmla="*/ 109964 w 210641"/>
                <a:gd name="connsiteY186" fmla="*/ 404340 h 410368"/>
                <a:gd name="connsiteX187" fmla="*/ 108660 w 210641"/>
                <a:gd name="connsiteY187" fmla="*/ 404340 h 410368"/>
                <a:gd name="connsiteX188" fmla="*/ 108986 w 210641"/>
                <a:gd name="connsiteY188" fmla="*/ 405318 h 410368"/>
                <a:gd name="connsiteX189" fmla="*/ 97745 w 210641"/>
                <a:gd name="connsiteY189" fmla="*/ 410368 h 410368"/>
                <a:gd name="connsiteX190" fmla="*/ 91718 w 210641"/>
                <a:gd name="connsiteY190" fmla="*/ 409554 h 410368"/>
                <a:gd name="connsiteX191" fmla="*/ 95628 w 210641"/>
                <a:gd name="connsiteY191" fmla="*/ 407110 h 410368"/>
                <a:gd name="connsiteX192" fmla="*/ 100189 w 210641"/>
                <a:gd name="connsiteY192" fmla="*/ 405155 h 410368"/>
                <a:gd name="connsiteX193" fmla="*/ 102633 w 210641"/>
                <a:gd name="connsiteY193" fmla="*/ 402223 h 410368"/>
                <a:gd name="connsiteX194" fmla="*/ 100026 w 210641"/>
                <a:gd name="connsiteY194" fmla="*/ 403363 h 410368"/>
                <a:gd name="connsiteX195" fmla="*/ 96442 w 210641"/>
                <a:gd name="connsiteY195" fmla="*/ 401408 h 410368"/>
                <a:gd name="connsiteX196" fmla="*/ 97094 w 210641"/>
                <a:gd name="connsiteY196" fmla="*/ 393589 h 410368"/>
                <a:gd name="connsiteX197" fmla="*/ 97745 w 210641"/>
                <a:gd name="connsiteY197" fmla="*/ 392774 h 410368"/>
                <a:gd name="connsiteX198" fmla="*/ 96279 w 210641"/>
                <a:gd name="connsiteY198" fmla="*/ 392448 h 410368"/>
                <a:gd name="connsiteX199" fmla="*/ 97257 w 210641"/>
                <a:gd name="connsiteY199" fmla="*/ 389027 h 410368"/>
                <a:gd name="connsiteX200" fmla="*/ 96768 w 210641"/>
                <a:gd name="connsiteY200" fmla="*/ 380881 h 410368"/>
                <a:gd name="connsiteX201" fmla="*/ 100515 w 210641"/>
                <a:gd name="connsiteY201" fmla="*/ 374691 h 410368"/>
                <a:gd name="connsiteX202" fmla="*/ 107683 w 210641"/>
                <a:gd name="connsiteY202" fmla="*/ 369152 h 410368"/>
                <a:gd name="connsiteX203" fmla="*/ 109964 w 210641"/>
                <a:gd name="connsiteY203" fmla="*/ 366546 h 410368"/>
                <a:gd name="connsiteX204" fmla="*/ 106380 w 210641"/>
                <a:gd name="connsiteY204" fmla="*/ 368175 h 410368"/>
                <a:gd name="connsiteX205" fmla="*/ 101003 w 210641"/>
                <a:gd name="connsiteY205" fmla="*/ 367360 h 410368"/>
                <a:gd name="connsiteX206" fmla="*/ 97094 w 210641"/>
                <a:gd name="connsiteY206" fmla="*/ 368663 h 410368"/>
                <a:gd name="connsiteX207" fmla="*/ 94650 w 210641"/>
                <a:gd name="connsiteY207" fmla="*/ 367197 h 410368"/>
                <a:gd name="connsiteX208" fmla="*/ 92207 w 210641"/>
                <a:gd name="connsiteY208" fmla="*/ 368175 h 410368"/>
                <a:gd name="connsiteX209" fmla="*/ 87319 w 210641"/>
                <a:gd name="connsiteY209" fmla="*/ 366871 h 410368"/>
                <a:gd name="connsiteX210" fmla="*/ 88134 w 210641"/>
                <a:gd name="connsiteY210" fmla="*/ 365568 h 410368"/>
                <a:gd name="connsiteX211" fmla="*/ 88134 w 210641"/>
                <a:gd name="connsiteY211" fmla="*/ 361332 h 410368"/>
                <a:gd name="connsiteX212" fmla="*/ 86668 w 210641"/>
                <a:gd name="connsiteY212" fmla="*/ 360518 h 410368"/>
                <a:gd name="connsiteX213" fmla="*/ 91392 w 210641"/>
                <a:gd name="connsiteY213" fmla="*/ 354653 h 410368"/>
                <a:gd name="connsiteX214" fmla="*/ 96931 w 210641"/>
                <a:gd name="connsiteY214" fmla="*/ 353676 h 410368"/>
                <a:gd name="connsiteX215" fmla="*/ 99863 w 210641"/>
                <a:gd name="connsiteY215" fmla="*/ 346345 h 410368"/>
                <a:gd name="connsiteX216" fmla="*/ 105076 w 210641"/>
                <a:gd name="connsiteY216" fmla="*/ 346345 h 410368"/>
                <a:gd name="connsiteX217" fmla="*/ 107846 w 210641"/>
                <a:gd name="connsiteY217" fmla="*/ 347974 h 410368"/>
                <a:gd name="connsiteX218" fmla="*/ 119901 w 210641"/>
                <a:gd name="connsiteY218" fmla="*/ 345041 h 410368"/>
                <a:gd name="connsiteX219" fmla="*/ 124951 w 210641"/>
                <a:gd name="connsiteY219" fmla="*/ 347974 h 410368"/>
                <a:gd name="connsiteX220" fmla="*/ 126255 w 210641"/>
                <a:gd name="connsiteY220" fmla="*/ 351395 h 410368"/>
                <a:gd name="connsiteX221" fmla="*/ 134400 w 210641"/>
                <a:gd name="connsiteY221" fmla="*/ 350906 h 410368"/>
                <a:gd name="connsiteX222" fmla="*/ 131957 w 210641"/>
                <a:gd name="connsiteY222" fmla="*/ 345530 h 410368"/>
                <a:gd name="connsiteX223" fmla="*/ 132934 w 210641"/>
                <a:gd name="connsiteY223" fmla="*/ 341946 h 410368"/>
                <a:gd name="connsiteX224" fmla="*/ 128372 w 210641"/>
                <a:gd name="connsiteY224" fmla="*/ 337222 h 410368"/>
                <a:gd name="connsiteX225" fmla="*/ 122671 w 210641"/>
                <a:gd name="connsiteY225" fmla="*/ 335593 h 410368"/>
                <a:gd name="connsiteX226" fmla="*/ 121530 w 210641"/>
                <a:gd name="connsiteY226" fmla="*/ 326633 h 410368"/>
                <a:gd name="connsiteX227" fmla="*/ 126743 w 210641"/>
                <a:gd name="connsiteY227" fmla="*/ 322886 h 410368"/>
                <a:gd name="connsiteX228" fmla="*/ 136192 w 210641"/>
                <a:gd name="connsiteY228" fmla="*/ 323212 h 410368"/>
                <a:gd name="connsiteX229" fmla="*/ 138798 w 210641"/>
                <a:gd name="connsiteY229" fmla="*/ 318162 h 410368"/>
                <a:gd name="connsiteX230" fmla="*/ 146130 w 210641"/>
                <a:gd name="connsiteY230" fmla="*/ 313437 h 410368"/>
                <a:gd name="connsiteX231" fmla="*/ 153135 w 210641"/>
                <a:gd name="connsiteY231" fmla="*/ 311482 h 410368"/>
                <a:gd name="connsiteX232" fmla="*/ 154275 w 210641"/>
                <a:gd name="connsiteY232" fmla="*/ 308224 h 410368"/>
                <a:gd name="connsiteX233" fmla="*/ 158348 w 210641"/>
                <a:gd name="connsiteY233" fmla="*/ 306595 h 410368"/>
                <a:gd name="connsiteX234" fmla="*/ 162094 w 210641"/>
                <a:gd name="connsiteY234" fmla="*/ 299101 h 410368"/>
                <a:gd name="connsiteX235" fmla="*/ 161117 w 210641"/>
                <a:gd name="connsiteY235" fmla="*/ 293236 h 410368"/>
                <a:gd name="connsiteX236" fmla="*/ 162746 w 210641"/>
                <a:gd name="connsiteY236" fmla="*/ 286394 h 410368"/>
                <a:gd name="connsiteX237" fmla="*/ 160954 w 210641"/>
                <a:gd name="connsiteY237" fmla="*/ 281344 h 410368"/>
                <a:gd name="connsiteX238" fmla="*/ 162094 w 210641"/>
                <a:gd name="connsiteY238" fmla="*/ 273362 h 410368"/>
                <a:gd name="connsiteX239" fmla="*/ 157696 w 210641"/>
                <a:gd name="connsiteY239" fmla="*/ 263098 h 410368"/>
                <a:gd name="connsiteX240" fmla="*/ 153135 w 210641"/>
                <a:gd name="connsiteY240" fmla="*/ 260655 h 410368"/>
                <a:gd name="connsiteX241" fmla="*/ 150039 w 210641"/>
                <a:gd name="connsiteY241" fmla="*/ 252835 h 410368"/>
                <a:gd name="connsiteX242" fmla="*/ 150854 w 210641"/>
                <a:gd name="connsiteY242" fmla="*/ 252835 h 410368"/>
                <a:gd name="connsiteX243" fmla="*/ 155578 w 210641"/>
                <a:gd name="connsiteY243" fmla="*/ 249903 h 410368"/>
                <a:gd name="connsiteX244" fmla="*/ 154764 w 210641"/>
                <a:gd name="connsiteY244" fmla="*/ 242409 h 410368"/>
                <a:gd name="connsiteX245" fmla="*/ 152971 w 210641"/>
                <a:gd name="connsiteY245" fmla="*/ 238988 h 410368"/>
                <a:gd name="connsiteX246" fmla="*/ 151831 w 210641"/>
                <a:gd name="connsiteY246" fmla="*/ 232308 h 410368"/>
                <a:gd name="connsiteX247" fmla="*/ 158999 w 210641"/>
                <a:gd name="connsiteY247" fmla="*/ 226607 h 410368"/>
                <a:gd name="connsiteX248" fmla="*/ 158999 w 210641"/>
                <a:gd name="connsiteY248" fmla="*/ 220579 h 410368"/>
                <a:gd name="connsiteX249" fmla="*/ 155089 w 210641"/>
                <a:gd name="connsiteY249" fmla="*/ 220090 h 410368"/>
                <a:gd name="connsiteX250" fmla="*/ 153135 w 210641"/>
                <a:gd name="connsiteY250" fmla="*/ 217158 h 410368"/>
                <a:gd name="connsiteX251" fmla="*/ 153949 w 210641"/>
                <a:gd name="connsiteY251" fmla="*/ 210316 h 410368"/>
                <a:gd name="connsiteX252" fmla="*/ 157696 w 210641"/>
                <a:gd name="connsiteY252" fmla="*/ 206569 h 410368"/>
                <a:gd name="connsiteX253" fmla="*/ 156067 w 210641"/>
                <a:gd name="connsiteY253" fmla="*/ 202659 h 410368"/>
                <a:gd name="connsiteX254" fmla="*/ 151017 w 210641"/>
                <a:gd name="connsiteY254" fmla="*/ 204614 h 410368"/>
                <a:gd name="connsiteX255" fmla="*/ 148410 w 210641"/>
                <a:gd name="connsiteY255" fmla="*/ 203799 h 410368"/>
                <a:gd name="connsiteX256" fmla="*/ 145315 w 210641"/>
                <a:gd name="connsiteY256" fmla="*/ 199564 h 410368"/>
                <a:gd name="connsiteX257" fmla="*/ 139613 w 210641"/>
                <a:gd name="connsiteY257" fmla="*/ 199238 h 410368"/>
                <a:gd name="connsiteX258" fmla="*/ 137658 w 210641"/>
                <a:gd name="connsiteY258" fmla="*/ 196631 h 410368"/>
                <a:gd name="connsiteX259" fmla="*/ 138636 w 210641"/>
                <a:gd name="connsiteY259" fmla="*/ 192396 h 410368"/>
                <a:gd name="connsiteX260" fmla="*/ 134726 w 210641"/>
                <a:gd name="connsiteY260" fmla="*/ 190766 h 410368"/>
                <a:gd name="connsiteX261" fmla="*/ 132445 w 210641"/>
                <a:gd name="connsiteY261" fmla="*/ 191581 h 410368"/>
                <a:gd name="connsiteX262" fmla="*/ 129187 w 210641"/>
                <a:gd name="connsiteY262" fmla="*/ 188160 h 410368"/>
                <a:gd name="connsiteX263" fmla="*/ 128535 w 210641"/>
                <a:gd name="connsiteY263" fmla="*/ 183762 h 410368"/>
                <a:gd name="connsiteX264" fmla="*/ 125766 w 210641"/>
                <a:gd name="connsiteY264" fmla="*/ 179200 h 410368"/>
                <a:gd name="connsiteX265" fmla="*/ 119575 w 210641"/>
                <a:gd name="connsiteY265" fmla="*/ 179200 h 410368"/>
                <a:gd name="connsiteX266" fmla="*/ 116317 w 210641"/>
                <a:gd name="connsiteY266" fmla="*/ 177571 h 410368"/>
                <a:gd name="connsiteX267" fmla="*/ 114036 w 210641"/>
                <a:gd name="connsiteY267" fmla="*/ 171543 h 410368"/>
                <a:gd name="connsiteX268" fmla="*/ 106054 w 210641"/>
                <a:gd name="connsiteY268" fmla="*/ 162746 h 410368"/>
                <a:gd name="connsiteX269" fmla="*/ 106380 w 210641"/>
                <a:gd name="connsiteY269" fmla="*/ 158836 h 410368"/>
                <a:gd name="connsiteX270" fmla="*/ 101166 w 210641"/>
                <a:gd name="connsiteY270" fmla="*/ 151506 h 410368"/>
                <a:gd name="connsiteX271" fmla="*/ 93836 w 210641"/>
                <a:gd name="connsiteY271" fmla="*/ 148247 h 410368"/>
                <a:gd name="connsiteX272" fmla="*/ 87319 w 210641"/>
                <a:gd name="connsiteY272" fmla="*/ 139450 h 410368"/>
                <a:gd name="connsiteX273" fmla="*/ 82106 w 210641"/>
                <a:gd name="connsiteY273" fmla="*/ 138961 h 410368"/>
                <a:gd name="connsiteX274" fmla="*/ 74612 w 210641"/>
                <a:gd name="connsiteY274" fmla="*/ 134889 h 410368"/>
                <a:gd name="connsiteX275" fmla="*/ 66630 w 210641"/>
                <a:gd name="connsiteY275" fmla="*/ 134400 h 410368"/>
                <a:gd name="connsiteX276" fmla="*/ 62883 w 210641"/>
                <a:gd name="connsiteY276" fmla="*/ 127721 h 410368"/>
                <a:gd name="connsiteX277" fmla="*/ 58810 w 210641"/>
                <a:gd name="connsiteY277" fmla="*/ 127721 h 410368"/>
                <a:gd name="connsiteX278" fmla="*/ 57670 w 210641"/>
                <a:gd name="connsiteY278" fmla="*/ 124463 h 410368"/>
                <a:gd name="connsiteX279" fmla="*/ 61417 w 210641"/>
                <a:gd name="connsiteY279" fmla="*/ 120390 h 410368"/>
                <a:gd name="connsiteX280" fmla="*/ 56041 w 210641"/>
                <a:gd name="connsiteY280" fmla="*/ 114362 h 410368"/>
                <a:gd name="connsiteX281" fmla="*/ 55226 w 210641"/>
                <a:gd name="connsiteY281" fmla="*/ 110126 h 410368"/>
                <a:gd name="connsiteX282" fmla="*/ 59136 w 210641"/>
                <a:gd name="connsiteY282" fmla="*/ 110126 h 410368"/>
                <a:gd name="connsiteX283" fmla="*/ 66467 w 210641"/>
                <a:gd name="connsiteY283" fmla="*/ 107357 h 410368"/>
                <a:gd name="connsiteX284" fmla="*/ 71354 w 210641"/>
                <a:gd name="connsiteY284" fmla="*/ 106542 h 410368"/>
                <a:gd name="connsiteX285" fmla="*/ 74123 w 210641"/>
                <a:gd name="connsiteY285" fmla="*/ 103773 h 410368"/>
                <a:gd name="connsiteX286" fmla="*/ 77056 w 210641"/>
                <a:gd name="connsiteY286" fmla="*/ 93836 h 410368"/>
                <a:gd name="connsiteX287" fmla="*/ 80803 w 210641"/>
                <a:gd name="connsiteY287" fmla="*/ 92532 h 410368"/>
                <a:gd name="connsiteX288" fmla="*/ 80803 w 210641"/>
                <a:gd name="connsiteY288" fmla="*/ 88948 h 410368"/>
                <a:gd name="connsiteX289" fmla="*/ 73472 w 210641"/>
                <a:gd name="connsiteY289" fmla="*/ 87156 h 410368"/>
                <a:gd name="connsiteX290" fmla="*/ 73472 w 210641"/>
                <a:gd name="connsiteY290" fmla="*/ 82595 h 410368"/>
                <a:gd name="connsiteX291" fmla="*/ 72657 w 210641"/>
                <a:gd name="connsiteY291" fmla="*/ 77382 h 410368"/>
                <a:gd name="connsiteX292" fmla="*/ 65978 w 210641"/>
                <a:gd name="connsiteY292" fmla="*/ 76079 h 410368"/>
                <a:gd name="connsiteX293" fmla="*/ 62231 w 210641"/>
                <a:gd name="connsiteY293" fmla="*/ 71517 h 410368"/>
                <a:gd name="connsiteX294" fmla="*/ 55063 w 210641"/>
                <a:gd name="connsiteY294" fmla="*/ 71517 h 410368"/>
                <a:gd name="connsiteX295" fmla="*/ 49361 w 210641"/>
                <a:gd name="connsiteY295" fmla="*/ 74938 h 410368"/>
                <a:gd name="connsiteX296" fmla="*/ 43171 w 210641"/>
                <a:gd name="connsiteY296" fmla="*/ 73146 h 410368"/>
                <a:gd name="connsiteX297" fmla="*/ 32419 w 210641"/>
                <a:gd name="connsiteY297" fmla="*/ 73146 h 410368"/>
                <a:gd name="connsiteX298" fmla="*/ 27043 w 210641"/>
                <a:gd name="connsiteY298" fmla="*/ 64349 h 410368"/>
                <a:gd name="connsiteX299" fmla="*/ 18246 w 210641"/>
                <a:gd name="connsiteY299" fmla="*/ 56041 h 410368"/>
                <a:gd name="connsiteX300" fmla="*/ 20201 w 210641"/>
                <a:gd name="connsiteY300" fmla="*/ 51805 h 410368"/>
                <a:gd name="connsiteX301" fmla="*/ 19223 w 210641"/>
                <a:gd name="connsiteY301" fmla="*/ 46266 h 410368"/>
                <a:gd name="connsiteX302" fmla="*/ 14662 w 210641"/>
                <a:gd name="connsiteY302" fmla="*/ 42356 h 410368"/>
                <a:gd name="connsiteX303" fmla="*/ 10426 w 210641"/>
                <a:gd name="connsiteY303" fmla="*/ 35840 h 410368"/>
                <a:gd name="connsiteX304" fmla="*/ 1629 w 210641"/>
                <a:gd name="connsiteY304" fmla="*/ 32093 h 410368"/>
                <a:gd name="connsiteX305" fmla="*/ 0 w 210641"/>
                <a:gd name="connsiteY305" fmla="*/ 28835 h 410368"/>
                <a:gd name="connsiteX306" fmla="*/ 0 w 210641"/>
                <a:gd name="connsiteY306" fmla="*/ 28835 h 410368"/>
                <a:gd name="connsiteX307" fmla="*/ 71028 w 210641"/>
                <a:gd name="connsiteY307" fmla="*/ 361821 h 410368"/>
                <a:gd name="connsiteX308" fmla="*/ 73961 w 210641"/>
                <a:gd name="connsiteY308" fmla="*/ 365242 h 410368"/>
                <a:gd name="connsiteX309" fmla="*/ 72820 w 210641"/>
                <a:gd name="connsiteY309" fmla="*/ 368012 h 410368"/>
                <a:gd name="connsiteX310" fmla="*/ 74938 w 210641"/>
                <a:gd name="connsiteY310" fmla="*/ 372247 h 410368"/>
                <a:gd name="connsiteX311" fmla="*/ 77871 w 210641"/>
                <a:gd name="connsiteY311" fmla="*/ 370944 h 410368"/>
                <a:gd name="connsiteX312" fmla="*/ 79011 w 210641"/>
                <a:gd name="connsiteY312" fmla="*/ 363124 h 410368"/>
                <a:gd name="connsiteX313" fmla="*/ 77382 w 210641"/>
                <a:gd name="connsiteY313" fmla="*/ 362473 h 410368"/>
                <a:gd name="connsiteX314" fmla="*/ 75916 w 210641"/>
                <a:gd name="connsiteY314" fmla="*/ 359052 h 410368"/>
                <a:gd name="connsiteX315" fmla="*/ 71191 w 210641"/>
                <a:gd name="connsiteY315" fmla="*/ 361984 h 4103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</a:cxnLst>
              <a:rect l="l" t="t" r="r" b="b"/>
              <a:pathLst>
                <a:path w="210641" h="410368">
                  <a:moveTo>
                    <a:pt x="489" y="27695"/>
                  </a:moveTo>
                  <a:lnTo>
                    <a:pt x="2280" y="26228"/>
                  </a:lnTo>
                  <a:lnTo>
                    <a:pt x="4398" y="25902"/>
                  </a:lnTo>
                  <a:lnTo>
                    <a:pt x="5702" y="23296"/>
                  </a:lnTo>
                  <a:lnTo>
                    <a:pt x="8471" y="20852"/>
                  </a:lnTo>
                  <a:lnTo>
                    <a:pt x="13847" y="18734"/>
                  </a:lnTo>
                  <a:lnTo>
                    <a:pt x="17105" y="19223"/>
                  </a:lnTo>
                  <a:lnTo>
                    <a:pt x="16780" y="23133"/>
                  </a:lnTo>
                  <a:lnTo>
                    <a:pt x="19060" y="24925"/>
                  </a:lnTo>
                  <a:lnTo>
                    <a:pt x="22482" y="24925"/>
                  </a:lnTo>
                  <a:cubicBezTo>
                    <a:pt x="22482" y="24925"/>
                    <a:pt x="23296" y="20038"/>
                    <a:pt x="23296" y="20038"/>
                  </a:cubicBezTo>
                  <a:lnTo>
                    <a:pt x="27206" y="17268"/>
                  </a:lnTo>
                  <a:lnTo>
                    <a:pt x="32419" y="22318"/>
                  </a:lnTo>
                  <a:lnTo>
                    <a:pt x="35025" y="18734"/>
                  </a:lnTo>
                  <a:lnTo>
                    <a:pt x="37958" y="18734"/>
                  </a:lnTo>
                  <a:cubicBezTo>
                    <a:pt x="37958" y="18734"/>
                    <a:pt x="39098" y="22644"/>
                    <a:pt x="39098" y="22644"/>
                  </a:cubicBezTo>
                  <a:lnTo>
                    <a:pt x="44800" y="19875"/>
                  </a:lnTo>
                  <a:lnTo>
                    <a:pt x="45777" y="16128"/>
                  </a:lnTo>
                  <a:lnTo>
                    <a:pt x="52131" y="14336"/>
                  </a:lnTo>
                  <a:lnTo>
                    <a:pt x="57181" y="17268"/>
                  </a:lnTo>
                  <a:lnTo>
                    <a:pt x="65815" y="14499"/>
                  </a:lnTo>
                  <a:lnTo>
                    <a:pt x="65489" y="6516"/>
                  </a:lnTo>
                  <a:lnTo>
                    <a:pt x="71028" y="3421"/>
                  </a:lnTo>
                  <a:lnTo>
                    <a:pt x="77219" y="3421"/>
                  </a:lnTo>
                  <a:lnTo>
                    <a:pt x="80640" y="0"/>
                  </a:lnTo>
                  <a:lnTo>
                    <a:pt x="86179" y="4399"/>
                  </a:lnTo>
                  <a:lnTo>
                    <a:pt x="86179" y="7657"/>
                  </a:lnTo>
                  <a:lnTo>
                    <a:pt x="91881" y="8797"/>
                  </a:lnTo>
                  <a:lnTo>
                    <a:pt x="94161" y="12055"/>
                  </a:lnTo>
                  <a:lnTo>
                    <a:pt x="105728" y="12055"/>
                  </a:lnTo>
                  <a:cubicBezTo>
                    <a:pt x="105728" y="12055"/>
                    <a:pt x="107683" y="14499"/>
                    <a:pt x="107683" y="14499"/>
                  </a:cubicBezTo>
                  <a:lnTo>
                    <a:pt x="114525" y="11729"/>
                  </a:lnTo>
                  <a:lnTo>
                    <a:pt x="118923" y="15150"/>
                  </a:lnTo>
                  <a:lnTo>
                    <a:pt x="117946" y="20201"/>
                  </a:lnTo>
                  <a:lnTo>
                    <a:pt x="114199" y="20690"/>
                  </a:lnTo>
                  <a:lnTo>
                    <a:pt x="111593" y="30138"/>
                  </a:lnTo>
                  <a:lnTo>
                    <a:pt x="114525" y="31279"/>
                  </a:lnTo>
                  <a:lnTo>
                    <a:pt x="115991" y="36655"/>
                  </a:lnTo>
                  <a:lnTo>
                    <a:pt x="126255" y="40401"/>
                  </a:lnTo>
                  <a:lnTo>
                    <a:pt x="127721" y="44148"/>
                  </a:lnTo>
                  <a:lnTo>
                    <a:pt x="132608" y="46429"/>
                  </a:lnTo>
                  <a:lnTo>
                    <a:pt x="137821" y="49036"/>
                  </a:lnTo>
                  <a:lnTo>
                    <a:pt x="143034" y="47407"/>
                  </a:lnTo>
                  <a:lnTo>
                    <a:pt x="145315" y="49199"/>
                  </a:lnTo>
                  <a:lnTo>
                    <a:pt x="148410" y="48221"/>
                  </a:lnTo>
                  <a:lnTo>
                    <a:pt x="152971" y="50665"/>
                  </a:lnTo>
                  <a:lnTo>
                    <a:pt x="152646" y="50665"/>
                  </a:lnTo>
                  <a:cubicBezTo>
                    <a:pt x="152646" y="50665"/>
                    <a:pt x="153623" y="52620"/>
                    <a:pt x="153623" y="52620"/>
                  </a:cubicBezTo>
                  <a:lnTo>
                    <a:pt x="151831" y="55552"/>
                  </a:lnTo>
                  <a:lnTo>
                    <a:pt x="149062" y="56692"/>
                  </a:lnTo>
                  <a:lnTo>
                    <a:pt x="146944" y="56692"/>
                  </a:lnTo>
                  <a:cubicBezTo>
                    <a:pt x="146944" y="56692"/>
                    <a:pt x="142546" y="59462"/>
                    <a:pt x="142546" y="59462"/>
                  </a:cubicBezTo>
                  <a:lnTo>
                    <a:pt x="138147" y="59136"/>
                  </a:lnTo>
                  <a:lnTo>
                    <a:pt x="133585" y="59950"/>
                  </a:lnTo>
                  <a:lnTo>
                    <a:pt x="132282" y="62231"/>
                  </a:lnTo>
                  <a:lnTo>
                    <a:pt x="133423" y="65978"/>
                  </a:lnTo>
                  <a:lnTo>
                    <a:pt x="130979" y="67770"/>
                  </a:lnTo>
                  <a:lnTo>
                    <a:pt x="130001" y="69562"/>
                  </a:lnTo>
                  <a:lnTo>
                    <a:pt x="127558" y="68096"/>
                  </a:lnTo>
                  <a:lnTo>
                    <a:pt x="123648" y="68911"/>
                  </a:lnTo>
                  <a:lnTo>
                    <a:pt x="121204" y="71191"/>
                  </a:lnTo>
                  <a:lnTo>
                    <a:pt x="119412" y="71843"/>
                  </a:lnTo>
                  <a:lnTo>
                    <a:pt x="117783" y="69399"/>
                  </a:lnTo>
                  <a:lnTo>
                    <a:pt x="115991" y="68748"/>
                  </a:lnTo>
                  <a:lnTo>
                    <a:pt x="115666" y="72332"/>
                  </a:lnTo>
                  <a:lnTo>
                    <a:pt x="113710" y="75101"/>
                  </a:lnTo>
                  <a:lnTo>
                    <a:pt x="115014" y="76567"/>
                  </a:lnTo>
                  <a:lnTo>
                    <a:pt x="114362" y="80477"/>
                  </a:lnTo>
                  <a:lnTo>
                    <a:pt x="114362" y="84550"/>
                  </a:lnTo>
                  <a:cubicBezTo>
                    <a:pt x="114362" y="84550"/>
                    <a:pt x="113873" y="85527"/>
                    <a:pt x="113873" y="85527"/>
                  </a:cubicBezTo>
                  <a:lnTo>
                    <a:pt x="115339" y="88460"/>
                  </a:lnTo>
                  <a:lnTo>
                    <a:pt x="114036" y="90740"/>
                  </a:lnTo>
                  <a:lnTo>
                    <a:pt x="112082" y="91392"/>
                  </a:lnTo>
                  <a:lnTo>
                    <a:pt x="108334" y="97420"/>
                  </a:lnTo>
                  <a:lnTo>
                    <a:pt x="105076" y="97420"/>
                  </a:lnTo>
                  <a:cubicBezTo>
                    <a:pt x="105076" y="97420"/>
                    <a:pt x="103773" y="95790"/>
                    <a:pt x="103773" y="95790"/>
                  </a:cubicBezTo>
                  <a:lnTo>
                    <a:pt x="103773" y="97908"/>
                  </a:lnTo>
                  <a:cubicBezTo>
                    <a:pt x="103773" y="97908"/>
                    <a:pt x="101330" y="99700"/>
                    <a:pt x="101330" y="99700"/>
                  </a:cubicBezTo>
                  <a:lnTo>
                    <a:pt x="99863" y="104099"/>
                  </a:lnTo>
                  <a:lnTo>
                    <a:pt x="97745" y="105891"/>
                  </a:lnTo>
                  <a:lnTo>
                    <a:pt x="97745" y="110615"/>
                  </a:lnTo>
                  <a:cubicBezTo>
                    <a:pt x="97745" y="110615"/>
                    <a:pt x="99537" y="110941"/>
                    <a:pt x="99537" y="110941"/>
                  </a:cubicBezTo>
                  <a:lnTo>
                    <a:pt x="101492" y="113385"/>
                  </a:lnTo>
                  <a:lnTo>
                    <a:pt x="99049" y="121856"/>
                  </a:lnTo>
                  <a:lnTo>
                    <a:pt x="96116" y="126092"/>
                  </a:lnTo>
                  <a:lnTo>
                    <a:pt x="101492" y="130653"/>
                  </a:lnTo>
                  <a:lnTo>
                    <a:pt x="100841" y="133423"/>
                  </a:lnTo>
                  <a:lnTo>
                    <a:pt x="96605" y="134563"/>
                  </a:lnTo>
                  <a:lnTo>
                    <a:pt x="101003" y="135866"/>
                  </a:lnTo>
                  <a:lnTo>
                    <a:pt x="108498" y="140265"/>
                  </a:lnTo>
                  <a:lnTo>
                    <a:pt x="115177" y="146781"/>
                  </a:lnTo>
                  <a:lnTo>
                    <a:pt x="117620" y="146781"/>
                  </a:lnTo>
                  <a:cubicBezTo>
                    <a:pt x="117620" y="146781"/>
                    <a:pt x="120878" y="152320"/>
                    <a:pt x="120878" y="152320"/>
                  </a:cubicBezTo>
                  <a:lnTo>
                    <a:pt x="120878" y="155252"/>
                  </a:lnTo>
                  <a:lnTo>
                    <a:pt x="119901" y="157044"/>
                  </a:lnTo>
                  <a:lnTo>
                    <a:pt x="122019" y="162909"/>
                  </a:lnTo>
                  <a:lnTo>
                    <a:pt x="122996" y="166004"/>
                  </a:lnTo>
                  <a:lnTo>
                    <a:pt x="133097" y="174150"/>
                  </a:lnTo>
                  <a:lnTo>
                    <a:pt x="138636" y="177408"/>
                  </a:lnTo>
                  <a:lnTo>
                    <a:pt x="139287" y="179200"/>
                  </a:lnTo>
                  <a:lnTo>
                    <a:pt x="152971" y="186694"/>
                  </a:lnTo>
                  <a:lnTo>
                    <a:pt x="165353" y="195817"/>
                  </a:lnTo>
                  <a:lnTo>
                    <a:pt x="168122" y="200704"/>
                  </a:lnTo>
                  <a:lnTo>
                    <a:pt x="179526" y="209175"/>
                  </a:lnTo>
                  <a:lnTo>
                    <a:pt x="183273" y="215692"/>
                  </a:lnTo>
                  <a:lnTo>
                    <a:pt x="184087" y="219764"/>
                  </a:lnTo>
                  <a:lnTo>
                    <a:pt x="185716" y="219764"/>
                  </a:lnTo>
                  <a:lnTo>
                    <a:pt x="185716" y="223185"/>
                  </a:lnTo>
                  <a:cubicBezTo>
                    <a:pt x="185716" y="223185"/>
                    <a:pt x="191255" y="229213"/>
                    <a:pt x="191255" y="229213"/>
                  </a:cubicBezTo>
                  <a:lnTo>
                    <a:pt x="191255" y="231982"/>
                  </a:lnTo>
                  <a:lnTo>
                    <a:pt x="192559" y="234100"/>
                  </a:lnTo>
                  <a:lnTo>
                    <a:pt x="191418" y="236218"/>
                  </a:lnTo>
                  <a:lnTo>
                    <a:pt x="195817" y="241594"/>
                  </a:lnTo>
                  <a:lnTo>
                    <a:pt x="196957" y="250880"/>
                  </a:lnTo>
                  <a:lnTo>
                    <a:pt x="198912" y="252346"/>
                  </a:lnTo>
                  <a:lnTo>
                    <a:pt x="200867" y="260492"/>
                  </a:lnTo>
                  <a:lnTo>
                    <a:pt x="202496" y="262121"/>
                  </a:lnTo>
                  <a:lnTo>
                    <a:pt x="202496" y="266682"/>
                  </a:lnTo>
                  <a:cubicBezTo>
                    <a:pt x="202496" y="266682"/>
                    <a:pt x="201844" y="269615"/>
                    <a:pt x="201844" y="269615"/>
                  </a:cubicBezTo>
                  <a:lnTo>
                    <a:pt x="203473" y="274013"/>
                  </a:lnTo>
                  <a:lnTo>
                    <a:pt x="202333" y="275805"/>
                  </a:lnTo>
                  <a:lnTo>
                    <a:pt x="204125" y="282322"/>
                  </a:lnTo>
                  <a:lnTo>
                    <a:pt x="204125" y="284765"/>
                  </a:lnTo>
                  <a:cubicBezTo>
                    <a:pt x="204125" y="284765"/>
                    <a:pt x="206569" y="285743"/>
                    <a:pt x="206569" y="285743"/>
                  </a:cubicBezTo>
                  <a:lnTo>
                    <a:pt x="207709" y="289327"/>
                  </a:lnTo>
                  <a:lnTo>
                    <a:pt x="210641" y="295191"/>
                  </a:lnTo>
                  <a:lnTo>
                    <a:pt x="209990" y="299101"/>
                  </a:lnTo>
                  <a:lnTo>
                    <a:pt x="208850" y="299101"/>
                  </a:lnTo>
                  <a:cubicBezTo>
                    <a:pt x="208850" y="299101"/>
                    <a:pt x="208850" y="297146"/>
                    <a:pt x="208850" y="297146"/>
                  </a:cubicBezTo>
                  <a:lnTo>
                    <a:pt x="207220" y="295191"/>
                  </a:lnTo>
                  <a:lnTo>
                    <a:pt x="205103" y="296495"/>
                  </a:lnTo>
                  <a:lnTo>
                    <a:pt x="205428" y="300405"/>
                  </a:lnTo>
                  <a:lnTo>
                    <a:pt x="207872" y="302848"/>
                  </a:lnTo>
                  <a:lnTo>
                    <a:pt x="207383" y="305129"/>
                  </a:lnTo>
                  <a:lnTo>
                    <a:pt x="204777" y="307084"/>
                  </a:lnTo>
                  <a:lnTo>
                    <a:pt x="204777" y="310016"/>
                  </a:lnTo>
                  <a:cubicBezTo>
                    <a:pt x="204777" y="310016"/>
                    <a:pt x="200541" y="313111"/>
                    <a:pt x="200541" y="313111"/>
                  </a:cubicBezTo>
                  <a:lnTo>
                    <a:pt x="204125" y="318487"/>
                  </a:lnTo>
                  <a:lnTo>
                    <a:pt x="202170" y="323049"/>
                  </a:lnTo>
                  <a:lnTo>
                    <a:pt x="203800" y="325167"/>
                  </a:lnTo>
                  <a:lnTo>
                    <a:pt x="200378" y="328425"/>
                  </a:lnTo>
                  <a:lnTo>
                    <a:pt x="197609" y="329565"/>
                  </a:lnTo>
                  <a:lnTo>
                    <a:pt x="196794" y="335756"/>
                  </a:lnTo>
                  <a:lnTo>
                    <a:pt x="194025" y="336896"/>
                  </a:lnTo>
                  <a:lnTo>
                    <a:pt x="188160" y="342761"/>
                  </a:lnTo>
                  <a:lnTo>
                    <a:pt x="184413" y="344716"/>
                  </a:lnTo>
                  <a:lnTo>
                    <a:pt x="179363" y="348300"/>
                  </a:lnTo>
                  <a:lnTo>
                    <a:pt x="178711" y="352698"/>
                  </a:lnTo>
                  <a:lnTo>
                    <a:pt x="174150" y="352698"/>
                  </a:lnTo>
                  <a:lnTo>
                    <a:pt x="171218" y="356119"/>
                  </a:lnTo>
                  <a:lnTo>
                    <a:pt x="160139" y="362636"/>
                  </a:lnTo>
                  <a:lnTo>
                    <a:pt x="153460" y="363287"/>
                  </a:lnTo>
                  <a:lnTo>
                    <a:pt x="150528" y="361821"/>
                  </a:lnTo>
                  <a:lnTo>
                    <a:pt x="145641" y="363124"/>
                  </a:lnTo>
                  <a:lnTo>
                    <a:pt x="144663" y="362147"/>
                  </a:lnTo>
                  <a:lnTo>
                    <a:pt x="145315" y="358889"/>
                  </a:lnTo>
                  <a:lnTo>
                    <a:pt x="145315" y="355794"/>
                  </a:lnTo>
                  <a:cubicBezTo>
                    <a:pt x="145315" y="355794"/>
                    <a:pt x="144012" y="358726"/>
                    <a:pt x="144012" y="358726"/>
                  </a:cubicBezTo>
                  <a:lnTo>
                    <a:pt x="143197" y="360029"/>
                  </a:lnTo>
                  <a:lnTo>
                    <a:pt x="138798" y="358889"/>
                  </a:lnTo>
                  <a:lnTo>
                    <a:pt x="141731" y="361170"/>
                  </a:lnTo>
                  <a:lnTo>
                    <a:pt x="141731" y="362962"/>
                  </a:lnTo>
                  <a:cubicBezTo>
                    <a:pt x="141731" y="362962"/>
                    <a:pt x="140265" y="363939"/>
                    <a:pt x="140265" y="363939"/>
                  </a:cubicBezTo>
                  <a:lnTo>
                    <a:pt x="136029" y="363287"/>
                  </a:lnTo>
                  <a:lnTo>
                    <a:pt x="143034" y="366546"/>
                  </a:lnTo>
                  <a:lnTo>
                    <a:pt x="141568" y="368826"/>
                  </a:lnTo>
                  <a:lnTo>
                    <a:pt x="143523" y="372899"/>
                  </a:lnTo>
                  <a:lnTo>
                    <a:pt x="139776" y="374854"/>
                  </a:lnTo>
                  <a:lnTo>
                    <a:pt x="134237" y="370781"/>
                  </a:lnTo>
                  <a:lnTo>
                    <a:pt x="138961" y="375831"/>
                  </a:lnTo>
                  <a:lnTo>
                    <a:pt x="138473" y="378275"/>
                  </a:lnTo>
                  <a:lnTo>
                    <a:pt x="136355" y="381044"/>
                  </a:lnTo>
                  <a:lnTo>
                    <a:pt x="134074" y="380230"/>
                  </a:lnTo>
                  <a:lnTo>
                    <a:pt x="132119" y="377298"/>
                  </a:lnTo>
                  <a:lnTo>
                    <a:pt x="129187" y="377786"/>
                  </a:lnTo>
                  <a:lnTo>
                    <a:pt x="130490" y="381533"/>
                  </a:lnTo>
                  <a:lnTo>
                    <a:pt x="130490" y="382837"/>
                  </a:lnTo>
                  <a:cubicBezTo>
                    <a:pt x="130490" y="382837"/>
                    <a:pt x="131305" y="384303"/>
                    <a:pt x="131305" y="384303"/>
                  </a:cubicBezTo>
                  <a:lnTo>
                    <a:pt x="129350" y="385769"/>
                  </a:lnTo>
                  <a:lnTo>
                    <a:pt x="128046" y="387724"/>
                  </a:lnTo>
                  <a:lnTo>
                    <a:pt x="125440" y="387724"/>
                  </a:lnTo>
                  <a:cubicBezTo>
                    <a:pt x="125440" y="387724"/>
                    <a:pt x="120553" y="392285"/>
                    <a:pt x="120553" y="392285"/>
                  </a:cubicBezTo>
                  <a:lnTo>
                    <a:pt x="118435" y="393751"/>
                  </a:lnTo>
                  <a:lnTo>
                    <a:pt x="115014" y="393263"/>
                  </a:lnTo>
                  <a:lnTo>
                    <a:pt x="113873" y="396032"/>
                  </a:lnTo>
                  <a:lnTo>
                    <a:pt x="113222" y="401408"/>
                  </a:lnTo>
                  <a:lnTo>
                    <a:pt x="109964" y="404340"/>
                  </a:lnTo>
                  <a:lnTo>
                    <a:pt x="108660" y="404340"/>
                  </a:lnTo>
                  <a:cubicBezTo>
                    <a:pt x="108660" y="404340"/>
                    <a:pt x="108986" y="405318"/>
                    <a:pt x="108986" y="405318"/>
                  </a:cubicBezTo>
                  <a:lnTo>
                    <a:pt x="97745" y="410368"/>
                  </a:lnTo>
                  <a:lnTo>
                    <a:pt x="91718" y="409554"/>
                  </a:lnTo>
                  <a:lnTo>
                    <a:pt x="95628" y="407110"/>
                  </a:lnTo>
                  <a:lnTo>
                    <a:pt x="100189" y="405155"/>
                  </a:lnTo>
                  <a:lnTo>
                    <a:pt x="102633" y="402223"/>
                  </a:lnTo>
                  <a:lnTo>
                    <a:pt x="100026" y="403363"/>
                  </a:lnTo>
                  <a:lnTo>
                    <a:pt x="96442" y="401408"/>
                  </a:lnTo>
                  <a:lnTo>
                    <a:pt x="97094" y="393589"/>
                  </a:lnTo>
                  <a:lnTo>
                    <a:pt x="97745" y="392774"/>
                  </a:lnTo>
                  <a:lnTo>
                    <a:pt x="96279" y="392448"/>
                  </a:lnTo>
                  <a:lnTo>
                    <a:pt x="97257" y="389027"/>
                  </a:lnTo>
                  <a:lnTo>
                    <a:pt x="96768" y="380881"/>
                  </a:lnTo>
                  <a:lnTo>
                    <a:pt x="100515" y="374691"/>
                  </a:lnTo>
                  <a:lnTo>
                    <a:pt x="107683" y="369152"/>
                  </a:lnTo>
                  <a:lnTo>
                    <a:pt x="109964" y="366546"/>
                  </a:lnTo>
                  <a:lnTo>
                    <a:pt x="106380" y="368175"/>
                  </a:lnTo>
                  <a:lnTo>
                    <a:pt x="101003" y="367360"/>
                  </a:lnTo>
                  <a:lnTo>
                    <a:pt x="97094" y="368663"/>
                  </a:lnTo>
                  <a:lnTo>
                    <a:pt x="94650" y="367197"/>
                  </a:lnTo>
                  <a:lnTo>
                    <a:pt x="92207" y="368175"/>
                  </a:lnTo>
                  <a:lnTo>
                    <a:pt x="87319" y="366871"/>
                  </a:lnTo>
                  <a:lnTo>
                    <a:pt x="88134" y="365568"/>
                  </a:lnTo>
                  <a:lnTo>
                    <a:pt x="88134" y="361332"/>
                  </a:lnTo>
                  <a:cubicBezTo>
                    <a:pt x="88134" y="361332"/>
                    <a:pt x="86668" y="360518"/>
                    <a:pt x="86668" y="360518"/>
                  </a:cubicBezTo>
                  <a:lnTo>
                    <a:pt x="91392" y="354653"/>
                  </a:lnTo>
                  <a:lnTo>
                    <a:pt x="96931" y="353676"/>
                  </a:lnTo>
                  <a:lnTo>
                    <a:pt x="99863" y="346345"/>
                  </a:lnTo>
                  <a:lnTo>
                    <a:pt x="105076" y="346345"/>
                  </a:lnTo>
                  <a:cubicBezTo>
                    <a:pt x="105076" y="346345"/>
                    <a:pt x="107846" y="347974"/>
                    <a:pt x="107846" y="347974"/>
                  </a:cubicBezTo>
                  <a:lnTo>
                    <a:pt x="119901" y="345041"/>
                  </a:lnTo>
                  <a:lnTo>
                    <a:pt x="124951" y="347974"/>
                  </a:lnTo>
                  <a:lnTo>
                    <a:pt x="126255" y="351395"/>
                  </a:lnTo>
                  <a:lnTo>
                    <a:pt x="134400" y="350906"/>
                  </a:lnTo>
                  <a:lnTo>
                    <a:pt x="131957" y="345530"/>
                  </a:lnTo>
                  <a:lnTo>
                    <a:pt x="132934" y="341946"/>
                  </a:lnTo>
                  <a:lnTo>
                    <a:pt x="128372" y="337222"/>
                  </a:lnTo>
                  <a:lnTo>
                    <a:pt x="122671" y="335593"/>
                  </a:lnTo>
                  <a:lnTo>
                    <a:pt x="121530" y="326633"/>
                  </a:lnTo>
                  <a:lnTo>
                    <a:pt x="126743" y="322886"/>
                  </a:lnTo>
                  <a:lnTo>
                    <a:pt x="136192" y="323212"/>
                  </a:lnTo>
                  <a:lnTo>
                    <a:pt x="138798" y="318162"/>
                  </a:lnTo>
                  <a:lnTo>
                    <a:pt x="146130" y="313437"/>
                  </a:lnTo>
                  <a:lnTo>
                    <a:pt x="153135" y="311482"/>
                  </a:lnTo>
                  <a:lnTo>
                    <a:pt x="154275" y="308224"/>
                  </a:lnTo>
                  <a:lnTo>
                    <a:pt x="158348" y="306595"/>
                  </a:lnTo>
                  <a:lnTo>
                    <a:pt x="162094" y="299101"/>
                  </a:lnTo>
                  <a:lnTo>
                    <a:pt x="161117" y="293236"/>
                  </a:lnTo>
                  <a:lnTo>
                    <a:pt x="162746" y="286394"/>
                  </a:lnTo>
                  <a:lnTo>
                    <a:pt x="160954" y="281344"/>
                  </a:lnTo>
                  <a:lnTo>
                    <a:pt x="162094" y="273362"/>
                  </a:lnTo>
                  <a:lnTo>
                    <a:pt x="157696" y="263098"/>
                  </a:lnTo>
                  <a:lnTo>
                    <a:pt x="153135" y="260655"/>
                  </a:lnTo>
                  <a:lnTo>
                    <a:pt x="150039" y="252835"/>
                  </a:lnTo>
                  <a:lnTo>
                    <a:pt x="150854" y="252835"/>
                  </a:lnTo>
                  <a:cubicBezTo>
                    <a:pt x="150854" y="252835"/>
                    <a:pt x="155578" y="249903"/>
                    <a:pt x="155578" y="249903"/>
                  </a:cubicBezTo>
                  <a:lnTo>
                    <a:pt x="154764" y="242409"/>
                  </a:lnTo>
                  <a:lnTo>
                    <a:pt x="152971" y="238988"/>
                  </a:lnTo>
                  <a:lnTo>
                    <a:pt x="151831" y="232308"/>
                  </a:lnTo>
                  <a:lnTo>
                    <a:pt x="158999" y="226607"/>
                  </a:lnTo>
                  <a:lnTo>
                    <a:pt x="158999" y="220579"/>
                  </a:lnTo>
                  <a:lnTo>
                    <a:pt x="155089" y="220090"/>
                  </a:lnTo>
                  <a:lnTo>
                    <a:pt x="153135" y="217158"/>
                  </a:lnTo>
                  <a:lnTo>
                    <a:pt x="153949" y="210316"/>
                  </a:lnTo>
                  <a:lnTo>
                    <a:pt x="157696" y="206569"/>
                  </a:lnTo>
                  <a:lnTo>
                    <a:pt x="156067" y="202659"/>
                  </a:lnTo>
                  <a:lnTo>
                    <a:pt x="151017" y="204614"/>
                  </a:lnTo>
                  <a:lnTo>
                    <a:pt x="148410" y="203799"/>
                  </a:lnTo>
                  <a:lnTo>
                    <a:pt x="145315" y="199564"/>
                  </a:lnTo>
                  <a:lnTo>
                    <a:pt x="139613" y="199238"/>
                  </a:lnTo>
                  <a:lnTo>
                    <a:pt x="137658" y="196631"/>
                  </a:lnTo>
                  <a:lnTo>
                    <a:pt x="138636" y="192396"/>
                  </a:lnTo>
                  <a:lnTo>
                    <a:pt x="134726" y="190766"/>
                  </a:lnTo>
                  <a:lnTo>
                    <a:pt x="132445" y="191581"/>
                  </a:lnTo>
                  <a:lnTo>
                    <a:pt x="129187" y="188160"/>
                  </a:lnTo>
                  <a:lnTo>
                    <a:pt x="128535" y="183762"/>
                  </a:lnTo>
                  <a:lnTo>
                    <a:pt x="125766" y="179200"/>
                  </a:lnTo>
                  <a:lnTo>
                    <a:pt x="119575" y="179200"/>
                  </a:lnTo>
                  <a:lnTo>
                    <a:pt x="116317" y="177571"/>
                  </a:lnTo>
                  <a:lnTo>
                    <a:pt x="114036" y="171543"/>
                  </a:lnTo>
                  <a:lnTo>
                    <a:pt x="106054" y="162746"/>
                  </a:lnTo>
                  <a:lnTo>
                    <a:pt x="106380" y="158836"/>
                  </a:lnTo>
                  <a:lnTo>
                    <a:pt x="101166" y="151506"/>
                  </a:lnTo>
                  <a:lnTo>
                    <a:pt x="93836" y="148247"/>
                  </a:lnTo>
                  <a:lnTo>
                    <a:pt x="87319" y="139450"/>
                  </a:lnTo>
                  <a:lnTo>
                    <a:pt x="82106" y="138961"/>
                  </a:lnTo>
                  <a:lnTo>
                    <a:pt x="74612" y="134889"/>
                  </a:lnTo>
                  <a:lnTo>
                    <a:pt x="66630" y="134400"/>
                  </a:lnTo>
                  <a:lnTo>
                    <a:pt x="62883" y="127721"/>
                  </a:lnTo>
                  <a:lnTo>
                    <a:pt x="58810" y="127721"/>
                  </a:lnTo>
                  <a:lnTo>
                    <a:pt x="57670" y="124463"/>
                  </a:lnTo>
                  <a:lnTo>
                    <a:pt x="61417" y="120390"/>
                  </a:lnTo>
                  <a:lnTo>
                    <a:pt x="56041" y="114362"/>
                  </a:lnTo>
                  <a:lnTo>
                    <a:pt x="55226" y="110126"/>
                  </a:lnTo>
                  <a:lnTo>
                    <a:pt x="59136" y="110126"/>
                  </a:lnTo>
                  <a:cubicBezTo>
                    <a:pt x="59136" y="110126"/>
                    <a:pt x="66467" y="107357"/>
                    <a:pt x="66467" y="107357"/>
                  </a:cubicBezTo>
                  <a:lnTo>
                    <a:pt x="71354" y="106542"/>
                  </a:lnTo>
                  <a:lnTo>
                    <a:pt x="74123" y="103773"/>
                  </a:lnTo>
                  <a:lnTo>
                    <a:pt x="77056" y="93836"/>
                  </a:lnTo>
                  <a:lnTo>
                    <a:pt x="80803" y="92532"/>
                  </a:lnTo>
                  <a:lnTo>
                    <a:pt x="80803" y="88948"/>
                  </a:lnTo>
                  <a:lnTo>
                    <a:pt x="73472" y="87156"/>
                  </a:lnTo>
                  <a:lnTo>
                    <a:pt x="73472" y="82595"/>
                  </a:lnTo>
                  <a:cubicBezTo>
                    <a:pt x="73472" y="82595"/>
                    <a:pt x="72657" y="77382"/>
                    <a:pt x="72657" y="77382"/>
                  </a:cubicBezTo>
                  <a:lnTo>
                    <a:pt x="65978" y="76079"/>
                  </a:lnTo>
                  <a:lnTo>
                    <a:pt x="62231" y="71517"/>
                  </a:lnTo>
                  <a:lnTo>
                    <a:pt x="55063" y="71517"/>
                  </a:lnTo>
                  <a:lnTo>
                    <a:pt x="49361" y="74938"/>
                  </a:lnTo>
                  <a:lnTo>
                    <a:pt x="43171" y="73146"/>
                  </a:lnTo>
                  <a:lnTo>
                    <a:pt x="32419" y="73146"/>
                  </a:lnTo>
                  <a:cubicBezTo>
                    <a:pt x="32419" y="73146"/>
                    <a:pt x="27043" y="64349"/>
                    <a:pt x="27043" y="64349"/>
                  </a:cubicBezTo>
                  <a:lnTo>
                    <a:pt x="18246" y="56041"/>
                  </a:lnTo>
                  <a:lnTo>
                    <a:pt x="20201" y="51805"/>
                  </a:lnTo>
                  <a:lnTo>
                    <a:pt x="19223" y="46266"/>
                  </a:lnTo>
                  <a:lnTo>
                    <a:pt x="14662" y="42356"/>
                  </a:lnTo>
                  <a:lnTo>
                    <a:pt x="10426" y="35840"/>
                  </a:lnTo>
                  <a:lnTo>
                    <a:pt x="1629" y="32093"/>
                  </a:lnTo>
                  <a:lnTo>
                    <a:pt x="0" y="28835"/>
                  </a:lnTo>
                  <a:lnTo>
                    <a:pt x="0" y="28835"/>
                  </a:lnTo>
                  <a:close/>
                  <a:moveTo>
                    <a:pt x="71028" y="361821"/>
                  </a:moveTo>
                  <a:lnTo>
                    <a:pt x="73961" y="365242"/>
                  </a:lnTo>
                  <a:lnTo>
                    <a:pt x="72820" y="368012"/>
                  </a:lnTo>
                  <a:lnTo>
                    <a:pt x="74938" y="372247"/>
                  </a:lnTo>
                  <a:lnTo>
                    <a:pt x="77871" y="370944"/>
                  </a:lnTo>
                  <a:lnTo>
                    <a:pt x="79011" y="363124"/>
                  </a:lnTo>
                  <a:lnTo>
                    <a:pt x="77382" y="362473"/>
                  </a:lnTo>
                  <a:lnTo>
                    <a:pt x="75916" y="359052"/>
                  </a:lnTo>
                  <a:lnTo>
                    <a:pt x="71191" y="361984"/>
                  </a:lnTo>
                  <a:close/>
                </a:path>
              </a:pathLst>
            </a:custGeom>
            <a:solidFill>
              <a:schemeClr val="bg2"/>
            </a:solidFill>
            <a:ln w="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55" name="Forma livre: Forma 254">
              <a:extLst>
                <a:ext uri="{FF2B5EF4-FFF2-40B4-BE49-F238E27FC236}">
                  <a16:creationId xmlns:a16="http://schemas.microsoft.com/office/drawing/2014/main" id="{FA04D6DB-8DCF-4D2C-5F6B-E7950E6959AE}"/>
                </a:ext>
              </a:extLst>
            </p:cNvPr>
            <p:cNvSpPr/>
            <p:nvPr/>
          </p:nvSpPr>
          <p:spPr>
            <a:xfrm>
              <a:off x="8686377" y="4362592"/>
              <a:ext cx="841" cy="841"/>
            </a:xfrm>
            <a:custGeom>
              <a:avLst/>
              <a:gdLst>
                <a:gd name="connsiteX0" fmla="*/ 0 w 814"/>
                <a:gd name="connsiteY0" fmla="*/ 0 h 814"/>
                <a:gd name="connsiteX1" fmla="*/ 814 w 814"/>
                <a:gd name="connsiteY1" fmla="*/ 815 h 814"/>
                <a:gd name="connsiteX2" fmla="*/ 814 w 814"/>
                <a:gd name="connsiteY2" fmla="*/ 815 h 814"/>
                <a:gd name="connsiteX3" fmla="*/ 0 w 814"/>
                <a:gd name="connsiteY3" fmla="*/ 0 h 8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14" h="814">
                  <a:moveTo>
                    <a:pt x="0" y="0"/>
                  </a:moveTo>
                  <a:lnTo>
                    <a:pt x="814" y="815"/>
                  </a:lnTo>
                  <a:lnTo>
                    <a:pt x="814" y="81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2"/>
            </a:solidFill>
            <a:ln w="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56" name="Forma livre: Forma 255">
              <a:extLst>
                <a:ext uri="{FF2B5EF4-FFF2-40B4-BE49-F238E27FC236}">
                  <a16:creationId xmlns:a16="http://schemas.microsoft.com/office/drawing/2014/main" id="{EECF1784-575D-C172-B06B-3A8F3322007C}"/>
                </a:ext>
              </a:extLst>
            </p:cNvPr>
            <p:cNvSpPr/>
            <p:nvPr/>
          </p:nvSpPr>
          <p:spPr>
            <a:xfrm>
              <a:off x="7687722" y="3182623"/>
              <a:ext cx="1623067" cy="1212291"/>
            </a:xfrm>
            <a:custGeom>
              <a:avLst/>
              <a:gdLst>
                <a:gd name="connsiteX0" fmla="*/ 1567512 w 1570607"/>
                <a:gd name="connsiteY0" fmla="*/ 205754 h 1173108"/>
                <a:gd name="connsiteX1" fmla="*/ 1565068 w 1570607"/>
                <a:gd name="connsiteY1" fmla="*/ 203311 h 1173108"/>
                <a:gd name="connsiteX2" fmla="*/ 1564580 w 1570607"/>
                <a:gd name="connsiteY2" fmla="*/ 199564 h 1173108"/>
                <a:gd name="connsiteX3" fmla="*/ 1560344 w 1570607"/>
                <a:gd name="connsiteY3" fmla="*/ 195002 h 1173108"/>
                <a:gd name="connsiteX4" fmla="*/ 1559366 w 1570607"/>
                <a:gd name="connsiteY4" fmla="*/ 192396 h 1173108"/>
                <a:gd name="connsiteX5" fmla="*/ 1561973 w 1570607"/>
                <a:gd name="connsiteY5" fmla="*/ 189952 h 1173108"/>
                <a:gd name="connsiteX6" fmla="*/ 1559366 w 1570607"/>
                <a:gd name="connsiteY6" fmla="*/ 185391 h 1173108"/>
                <a:gd name="connsiteX7" fmla="*/ 1557900 w 1570607"/>
                <a:gd name="connsiteY7" fmla="*/ 182621 h 1173108"/>
                <a:gd name="connsiteX8" fmla="*/ 1553665 w 1570607"/>
                <a:gd name="connsiteY8" fmla="*/ 182458 h 1173108"/>
                <a:gd name="connsiteX9" fmla="*/ 1550895 w 1570607"/>
                <a:gd name="connsiteY9" fmla="*/ 180177 h 1173108"/>
                <a:gd name="connsiteX10" fmla="*/ 1546171 w 1570607"/>
                <a:gd name="connsiteY10" fmla="*/ 178385 h 1173108"/>
                <a:gd name="connsiteX11" fmla="*/ 1543564 w 1570607"/>
                <a:gd name="connsiteY11" fmla="*/ 180992 h 1173108"/>
                <a:gd name="connsiteX12" fmla="*/ 1539329 w 1570607"/>
                <a:gd name="connsiteY12" fmla="*/ 181481 h 1173108"/>
                <a:gd name="connsiteX13" fmla="*/ 1536559 w 1570607"/>
                <a:gd name="connsiteY13" fmla="*/ 184087 h 1173108"/>
                <a:gd name="connsiteX14" fmla="*/ 1535908 w 1570607"/>
                <a:gd name="connsiteY14" fmla="*/ 187834 h 1173108"/>
                <a:gd name="connsiteX15" fmla="*/ 1533301 w 1570607"/>
                <a:gd name="connsiteY15" fmla="*/ 188812 h 1173108"/>
                <a:gd name="connsiteX16" fmla="*/ 1530695 w 1570607"/>
                <a:gd name="connsiteY16" fmla="*/ 189300 h 1173108"/>
                <a:gd name="connsiteX17" fmla="*/ 1529228 w 1570607"/>
                <a:gd name="connsiteY17" fmla="*/ 194514 h 1173108"/>
                <a:gd name="connsiteX18" fmla="*/ 1524015 w 1570607"/>
                <a:gd name="connsiteY18" fmla="*/ 194514 h 1173108"/>
                <a:gd name="connsiteX19" fmla="*/ 1520757 w 1570607"/>
                <a:gd name="connsiteY19" fmla="*/ 195002 h 1173108"/>
                <a:gd name="connsiteX20" fmla="*/ 1519291 w 1570607"/>
                <a:gd name="connsiteY20" fmla="*/ 198586 h 1173108"/>
                <a:gd name="connsiteX21" fmla="*/ 1519291 w 1570607"/>
                <a:gd name="connsiteY21" fmla="*/ 202659 h 1173108"/>
                <a:gd name="connsiteX22" fmla="*/ 1515870 w 1570607"/>
                <a:gd name="connsiteY22" fmla="*/ 204451 h 1173108"/>
                <a:gd name="connsiteX23" fmla="*/ 1514730 w 1570607"/>
                <a:gd name="connsiteY23" fmla="*/ 209175 h 1173108"/>
                <a:gd name="connsiteX24" fmla="*/ 1515055 w 1570607"/>
                <a:gd name="connsiteY24" fmla="*/ 211945 h 1173108"/>
                <a:gd name="connsiteX25" fmla="*/ 1512449 w 1570607"/>
                <a:gd name="connsiteY25" fmla="*/ 213085 h 1173108"/>
                <a:gd name="connsiteX26" fmla="*/ 1509191 w 1570607"/>
                <a:gd name="connsiteY26" fmla="*/ 216180 h 1173108"/>
                <a:gd name="connsiteX27" fmla="*/ 1502023 w 1570607"/>
                <a:gd name="connsiteY27" fmla="*/ 217321 h 1173108"/>
                <a:gd name="connsiteX28" fmla="*/ 1499416 w 1570607"/>
                <a:gd name="connsiteY28" fmla="*/ 218298 h 1173108"/>
                <a:gd name="connsiteX29" fmla="*/ 1495832 w 1570607"/>
                <a:gd name="connsiteY29" fmla="*/ 217321 h 1173108"/>
                <a:gd name="connsiteX30" fmla="*/ 1493714 w 1570607"/>
                <a:gd name="connsiteY30" fmla="*/ 219602 h 1173108"/>
                <a:gd name="connsiteX31" fmla="*/ 1490619 w 1570607"/>
                <a:gd name="connsiteY31" fmla="*/ 220742 h 1173108"/>
                <a:gd name="connsiteX32" fmla="*/ 1489316 w 1570607"/>
                <a:gd name="connsiteY32" fmla="*/ 217321 h 1173108"/>
                <a:gd name="connsiteX33" fmla="*/ 1487035 w 1570607"/>
                <a:gd name="connsiteY33" fmla="*/ 213900 h 1173108"/>
                <a:gd name="connsiteX34" fmla="*/ 1483451 w 1570607"/>
                <a:gd name="connsiteY34" fmla="*/ 213900 h 1173108"/>
                <a:gd name="connsiteX35" fmla="*/ 1480030 w 1570607"/>
                <a:gd name="connsiteY35" fmla="*/ 216343 h 1173108"/>
                <a:gd name="connsiteX36" fmla="*/ 1476120 w 1570607"/>
                <a:gd name="connsiteY36" fmla="*/ 217484 h 1173108"/>
                <a:gd name="connsiteX37" fmla="*/ 1474817 w 1570607"/>
                <a:gd name="connsiteY37" fmla="*/ 214877 h 1173108"/>
                <a:gd name="connsiteX38" fmla="*/ 1470744 w 1570607"/>
                <a:gd name="connsiteY38" fmla="*/ 209664 h 1173108"/>
                <a:gd name="connsiteX39" fmla="*/ 1468463 w 1570607"/>
                <a:gd name="connsiteY39" fmla="*/ 208361 h 1173108"/>
                <a:gd name="connsiteX40" fmla="*/ 1463576 w 1570607"/>
                <a:gd name="connsiteY40" fmla="*/ 202170 h 1173108"/>
                <a:gd name="connsiteX41" fmla="*/ 1463576 w 1570607"/>
                <a:gd name="connsiteY41" fmla="*/ 198586 h 1173108"/>
                <a:gd name="connsiteX42" fmla="*/ 1464879 w 1570607"/>
                <a:gd name="connsiteY42" fmla="*/ 197120 h 1173108"/>
                <a:gd name="connsiteX43" fmla="*/ 1465694 w 1570607"/>
                <a:gd name="connsiteY43" fmla="*/ 192233 h 1173108"/>
                <a:gd name="connsiteX44" fmla="*/ 1464065 w 1570607"/>
                <a:gd name="connsiteY44" fmla="*/ 188160 h 1173108"/>
                <a:gd name="connsiteX45" fmla="*/ 1463087 w 1570607"/>
                <a:gd name="connsiteY45" fmla="*/ 183599 h 1173108"/>
                <a:gd name="connsiteX46" fmla="*/ 1458852 w 1570607"/>
                <a:gd name="connsiteY46" fmla="*/ 183762 h 1173108"/>
                <a:gd name="connsiteX47" fmla="*/ 1458363 w 1570607"/>
                <a:gd name="connsiteY47" fmla="*/ 180829 h 1173108"/>
                <a:gd name="connsiteX48" fmla="*/ 1458200 w 1570607"/>
                <a:gd name="connsiteY48" fmla="*/ 177408 h 1173108"/>
                <a:gd name="connsiteX49" fmla="*/ 1460318 w 1570607"/>
                <a:gd name="connsiteY49" fmla="*/ 174150 h 1173108"/>
                <a:gd name="connsiteX50" fmla="*/ 1460970 w 1570607"/>
                <a:gd name="connsiteY50" fmla="*/ 170892 h 1173108"/>
                <a:gd name="connsiteX51" fmla="*/ 1459014 w 1570607"/>
                <a:gd name="connsiteY51" fmla="*/ 169914 h 1173108"/>
                <a:gd name="connsiteX52" fmla="*/ 1456897 w 1570607"/>
                <a:gd name="connsiteY52" fmla="*/ 170403 h 1173108"/>
                <a:gd name="connsiteX53" fmla="*/ 1454290 w 1570607"/>
                <a:gd name="connsiteY53" fmla="*/ 172521 h 1173108"/>
                <a:gd name="connsiteX54" fmla="*/ 1451195 w 1570607"/>
                <a:gd name="connsiteY54" fmla="*/ 172684 h 1173108"/>
                <a:gd name="connsiteX55" fmla="*/ 1448588 w 1570607"/>
                <a:gd name="connsiteY55" fmla="*/ 173498 h 1173108"/>
                <a:gd name="connsiteX56" fmla="*/ 1445004 w 1570607"/>
                <a:gd name="connsiteY56" fmla="*/ 172847 h 1173108"/>
                <a:gd name="connsiteX57" fmla="*/ 1442398 w 1570607"/>
                <a:gd name="connsiteY57" fmla="*/ 170892 h 1173108"/>
                <a:gd name="connsiteX58" fmla="*/ 1439954 w 1570607"/>
                <a:gd name="connsiteY58" fmla="*/ 170566 h 1173108"/>
                <a:gd name="connsiteX59" fmla="*/ 1438651 w 1570607"/>
                <a:gd name="connsiteY59" fmla="*/ 169426 h 1173108"/>
                <a:gd name="connsiteX60" fmla="*/ 1433112 w 1570607"/>
                <a:gd name="connsiteY60" fmla="*/ 166982 h 1173108"/>
                <a:gd name="connsiteX61" fmla="*/ 1432461 w 1570607"/>
                <a:gd name="connsiteY61" fmla="*/ 164375 h 1173108"/>
                <a:gd name="connsiteX62" fmla="*/ 1430180 w 1570607"/>
                <a:gd name="connsiteY62" fmla="*/ 162095 h 1173108"/>
                <a:gd name="connsiteX63" fmla="*/ 1428877 w 1570607"/>
                <a:gd name="connsiteY63" fmla="*/ 162095 h 1173108"/>
                <a:gd name="connsiteX64" fmla="*/ 1426107 w 1570607"/>
                <a:gd name="connsiteY64" fmla="*/ 159814 h 1173108"/>
                <a:gd name="connsiteX65" fmla="*/ 1425455 w 1570607"/>
                <a:gd name="connsiteY65" fmla="*/ 157370 h 1173108"/>
                <a:gd name="connsiteX66" fmla="*/ 1422686 w 1570607"/>
                <a:gd name="connsiteY66" fmla="*/ 157044 h 1173108"/>
                <a:gd name="connsiteX67" fmla="*/ 1419916 w 1570607"/>
                <a:gd name="connsiteY67" fmla="*/ 153949 h 1173108"/>
                <a:gd name="connsiteX68" fmla="*/ 1418939 w 1570607"/>
                <a:gd name="connsiteY68" fmla="*/ 151180 h 1173108"/>
                <a:gd name="connsiteX69" fmla="*/ 1416984 w 1570607"/>
                <a:gd name="connsiteY69" fmla="*/ 149225 h 1173108"/>
                <a:gd name="connsiteX70" fmla="*/ 1414377 w 1570607"/>
                <a:gd name="connsiteY70" fmla="*/ 149551 h 1173108"/>
                <a:gd name="connsiteX71" fmla="*/ 1413400 w 1570607"/>
                <a:gd name="connsiteY71" fmla="*/ 152646 h 1173108"/>
                <a:gd name="connsiteX72" fmla="*/ 1410630 w 1570607"/>
                <a:gd name="connsiteY72" fmla="*/ 151994 h 1173108"/>
                <a:gd name="connsiteX73" fmla="*/ 1408187 w 1570607"/>
                <a:gd name="connsiteY73" fmla="*/ 152972 h 1173108"/>
                <a:gd name="connsiteX74" fmla="*/ 1407372 w 1570607"/>
                <a:gd name="connsiteY74" fmla="*/ 154927 h 1173108"/>
                <a:gd name="connsiteX75" fmla="*/ 1404277 w 1570607"/>
                <a:gd name="connsiteY75" fmla="*/ 152972 h 1173108"/>
                <a:gd name="connsiteX76" fmla="*/ 1402648 w 1570607"/>
                <a:gd name="connsiteY76" fmla="*/ 150854 h 1173108"/>
                <a:gd name="connsiteX77" fmla="*/ 1400041 w 1570607"/>
                <a:gd name="connsiteY77" fmla="*/ 149551 h 1173108"/>
                <a:gd name="connsiteX78" fmla="*/ 1394339 w 1570607"/>
                <a:gd name="connsiteY78" fmla="*/ 149062 h 1173108"/>
                <a:gd name="connsiteX79" fmla="*/ 1392711 w 1570607"/>
                <a:gd name="connsiteY79" fmla="*/ 147596 h 1173108"/>
                <a:gd name="connsiteX80" fmla="*/ 1394666 w 1570607"/>
                <a:gd name="connsiteY80" fmla="*/ 145315 h 1173108"/>
                <a:gd name="connsiteX81" fmla="*/ 1394666 w 1570607"/>
                <a:gd name="connsiteY81" fmla="*/ 144175 h 1173108"/>
                <a:gd name="connsiteX82" fmla="*/ 1391244 w 1570607"/>
                <a:gd name="connsiteY82" fmla="*/ 144175 h 1173108"/>
                <a:gd name="connsiteX83" fmla="*/ 1388475 w 1570607"/>
                <a:gd name="connsiteY83" fmla="*/ 146292 h 1173108"/>
                <a:gd name="connsiteX84" fmla="*/ 1383099 w 1570607"/>
                <a:gd name="connsiteY84" fmla="*/ 145641 h 1173108"/>
                <a:gd name="connsiteX85" fmla="*/ 1381144 w 1570607"/>
                <a:gd name="connsiteY85" fmla="*/ 146618 h 1173108"/>
                <a:gd name="connsiteX86" fmla="*/ 1378537 w 1570607"/>
                <a:gd name="connsiteY86" fmla="*/ 145152 h 1173108"/>
                <a:gd name="connsiteX87" fmla="*/ 1375931 w 1570607"/>
                <a:gd name="connsiteY87" fmla="*/ 146130 h 1173108"/>
                <a:gd name="connsiteX88" fmla="*/ 1372510 w 1570607"/>
                <a:gd name="connsiteY88" fmla="*/ 145641 h 1173108"/>
                <a:gd name="connsiteX89" fmla="*/ 1370718 w 1570607"/>
                <a:gd name="connsiteY89" fmla="*/ 142220 h 1173108"/>
                <a:gd name="connsiteX90" fmla="*/ 1366482 w 1570607"/>
                <a:gd name="connsiteY90" fmla="*/ 140753 h 1173108"/>
                <a:gd name="connsiteX91" fmla="*/ 1360780 w 1570607"/>
                <a:gd name="connsiteY91" fmla="*/ 134889 h 1173108"/>
                <a:gd name="connsiteX92" fmla="*/ 1358011 w 1570607"/>
                <a:gd name="connsiteY92" fmla="*/ 129839 h 1173108"/>
                <a:gd name="connsiteX93" fmla="*/ 1358662 w 1570607"/>
                <a:gd name="connsiteY93" fmla="*/ 126418 h 1173108"/>
                <a:gd name="connsiteX94" fmla="*/ 1357522 w 1570607"/>
                <a:gd name="connsiteY94" fmla="*/ 122019 h 1173108"/>
                <a:gd name="connsiteX95" fmla="*/ 1354753 w 1570607"/>
                <a:gd name="connsiteY95" fmla="*/ 121367 h 1173108"/>
                <a:gd name="connsiteX96" fmla="*/ 1351820 w 1570607"/>
                <a:gd name="connsiteY96" fmla="*/ 119738 h 1173108"/>
                <a:gd name="connsiteX97" fmla="*/ 1351332 w 1570607"/>
                <a:gd name="connsiteY97" fmla="*/ 114688 h 1173108"/>
                <a:gd name="connsiteX98" fmla="*/ 1349539 w 1570607"/>
                <a:gd name="connsiteY98" fmla="*/ 112896 h 1173108"/>
                <a:gd name="connsiteX99" fmla="*/ 1348562 w 1570607"/>
                <a:gd name="connsiteY99" fmla="*/ 107846 h 1173108"/>
                <a:gd name="connsiteX100" fmla="*/ 1346933 w 1570607"/>
                <a:gd name="connsiteY100" fmla="*/ 102959 h 1173108"/>
                <a:gd name="connsiteX101" fmla="*/ 1337810 w 1570607"/>
                <a:gd name="connsiteY101" fmla="*/ 97094 h 1173108"/>
                <a:gd name="connsiteX102" fmla="*/ 1332923 w 1570607"/>
                <a:gd name="connsiteY102" fmla="*/ 90577 h 1173108"/>
                <a:gd name="connsiteX103" fmla="*/ 1332271 w 1570607"/>
                <a:gd name="connsiteY103" fmla="*/ 87482 h 1173108"/>
                <a:gd name="connsiteX104" fmla="*/ 1329828 w 1570607"/>
                <a:gd name="connsiteY104" fmla="*/ 83410 h 1173108"/>
                <a:gd name="connsiteX105" fmla="*/ 1327384 w 1570607"/>
                <a:gd name="connsiteY105" fmla="*/ 84550 h 1173108"/>
                <a:gd name="connsiteX106" fmla="*/ 1325918 w 1570607"/>
                <a:gd name="connsiteY106" fmla="*/ 83735 h 1173108"/>
                <a:gd name="connsiteX107" fmla="*/ 1326570 w 1570607"/>
                <a:gd name="connsiteY107" fmla="*/ 80966 h 1173108"/>
                <a:gd name="connsiteX108" fmla="*/ 1326732 w 1570607"/>
                <a:gd name="connsiteY108" fmla="*/ 78685 h 1173108"/>
                <a:gd name="connsiteX109" fmla="*/ 1323637 w 1570607"/>
                <a:gd name="connsiteY109" fmla="*/ 76241 h 1173108"/>
                <a:gd name="connsiteX110" fmla="*/ 1321845 w 1570607"/>
                <a:gd name="connsiteY110" fmla="*/ 72006 h 1173108"/>
                <a:gd name="connsiteX111" fmla="*/ 1319239 w 1570607"/>
                <a:gd name="connsiteY111" fmla="*/ 70703 h 1173108"/>
                <a:gd name="connsiteX112" fmla="*/ 1318424 w 1570607"/>
                <a:gd name="connsiteY112" fmla="*/ 67119 h 1173108"/>
                <a:gd name="connsiteX113" fmla="*/ 1315329 w 1570607"/>
                <a:gd name="connsiteY113" fmla="*/ 63046 h 1173108"/>
                <a:gd name="connsiteX114" fmla="*/ 1313048 w 1570607"/>
                <a:gd name="connsiteY114" fmla="*/ 58810 h 1173108"/>
                <a:gd name="connsiteX115" fmla="*/ 1307346 w 1570607"/>
                <a:gd name="connsiteY115" fmla="*/ 55389 h 1173108"/>
                <a:gd name="connsiteX116" fmla="*/ 1306695 w 1570607"/>
                <a:gd name="connsiteY116" fmla="*/ 52620 h 1173108"/>
                <a:gd name="connsiteX117" fmla="*/ 1308161 w 1570607"/>
                <a:gd name="connsiteY117" fmla="*/ 49199 h 1173108"/>
                <a:gd name="connsiteX118" fmla="*/ 1307509 w 1570607"/>
                <a:gd name="connsiteY118" fmla="*/ 46266 h 1173108"/>
                <a:gd name="connsiteX119" fmla="*/ 1300993 w 1570607"/>
                <a:gd name="connsiteY119" fmla="*/ 45940 h 1173108"/>
                <a:gd name="connsiteX120" fmla="*/ 1299852 w 1570607"/>
                <a:gd name="connsiteY120" fmla="*/ 44148 h 1173108"/>
                <a:gd name="connsiteX121" fmla="*/ 1299852 w 1570607"/>
                <a:gd name="connsiteY121" fmla="*/ 41705 h 1173108"/>
                <a:gd name="connsiteX122" fmla="*/ 1298712 w 1570607"/>
                <a:gd name="connsiteY122" fmla="*/ 38610 h 1173108"/>
                <a:gd name="connsiteX123" fmla="*/ 1298386 w 1570607"/>
                <a:gd name="connsiteY123" fmla="*/ 35188 h 1173108"/>
                <a:gd name="connsiteX124" fmla="*/ 1296594 w 1570607"/>
                <a:gd name="connsiteY124" fmla="*/ 32256 h 1173108"/>
                <a:gd name="connsiteX125" fmla="*/ 1294150 w 1570607"/>
                <a:gd name="connsiteY125" fmla="*/ 30790 h 1173108"/>
                <a:gd name="connsiteX126" fmla="*/ 1293988 w 1570607"/>
                <a:gd name="connsiteY126" fmla="*/ 28346 h 1173108"/>
                <a:gd name="connsiteX127" fmla="*/ 1292196 w 1570607"/>
                <a:gd name="connsiteY127" fmla="*/ 26717 h 1173108"/>
                <a:gd name="connsiteX128" fmla="*/ 1289752 w 1570607"/>
                <a:gd name="connsiteY128" fmla="*/ 27206 h 1173108"/>
                <a:gd name="connsiteX129" fmla="*/ 1285516 w 1570607"/>
                <a:gd name="connsiteY129" fmla="*/ 25903 h 1173108"/>
                <a:gd name="connsiteX130" fmla="*/ 1284376 w 1570607"/>
                <a:gd name="connsiteY130" fmla="*/ 23785 h 1173108"/>
                <a:gd name="connsiteX131" fmla="*/ 1285679 w 1570607"/>
                <a:gd name="connsiteY131" fmla="*/ 21178 h 1173108"/>
                <a:gd name="connsiteX132" fmla="*/ 1284864 w 1570607"/>
                <a:gd name="connsiteY132" fmla="*/ 18735 h 1173108"/>
                <a:gd name="connsiteX133" fmla="*/ 1281444 w 1570607"/>
                <a:gd name="connsiteY133" fmla="*/ 18083 h 1173108"/>
                <a:gd name="connsiteX134" fmla="*/ 1278837 w 1570607"/>
                <a:gd name="connsiteY134" fmla="*/ 20201 h 1173108"/>
                <a:gd name="connsiteX135" fmla="*/ 1277534 w 1570607"/>
                <a:gd name="connsiteY135" fmla="*/ 18246 h 1173108"/>
                <a:gd name="connsiteX136" fmla="*/ 1274764 w 1570607"/>
                <a:gd name="connsiteY136" fmla="*/ 18083 h 1173108"/>
                <a:gd name="connsiteX137" fmla="*/ 1273950 w 1570607"/>
                <a:gd name="connsiteY137" fmla="*/ 15639 h 1173108"/>
                <a:gd name="connsiteX138" fmla="*/ 1274602 w 1570607"/>
                <a:gd name="connsiteY138" fmla="*/ 12870 h 1173108"/>
                <a:gd name="connsiteX139" fmla="*/ 1272972 w 1570607"/>
                <a:gd name="connsiteY139" fmla="*/ 10589 h 1173108"/>
                <a:gd name="connsiteX140" fmla="*/ 1269714 w 1570607"/>
                <a:gd name="connsiteY140" fmla="*/ 9286 h 1173108"/>
                <a:gd name="connsiteX141" fmla="*/ 1267107 w 1570607"/>
                <a:gd name="connsiteY141" fmla="*/ 9612 h 1173108"/>
                <a:gd name="connsiteX142" fmla="*/ 1264501 w 1570607"/>
                <a:gd name="connsiteY142" fmla="*/ 6679 h 1173108"/>
                <a:gd name="connsiteX143" fmla="*/ 1262546 w 1570607"/>
                <a:gd name="connsiteY143" fmla="*/ 7494 h 1173108"/>
                <a:gd name="connsiteX144" fmla="*/ 1258962 w 1570607"/>
                <a:gd name="connsiteY144" fmla="*/ 7494 h 1173108"/>
                <a:gd name="connsiteX145" fmla="*/ 1256681 w 1570607"/>
                <a:gd name="connsiteY145" fmla="*/ 6679 h 1173108"/>
                <a:gd name="connsiteX146" fmla="*/ 1254238 w 1570607"/>
                <a:gd name="connsiteY146" fmla="*/ 8145 h 1173108"/>
                <a:gd name="connsiteX147" fmla="*/ 1254727 w 1570607"/>
                <a:gd name="connsiteY147" fmla="*/ 11241 h 1173108"/>
                <a:gd name="connsiteX148" fmla="*/ 1252609 w 1570607"/>
                <a:gd name="connsiteY148" fmla="*/ 12218 h 1173108"/>
                <a:gd name="connsiteX149" fmla="*/ 1248047 w 1570607"/>
                <a:gd name="connsiteY149" fmla="*/ 9937 h 1173108"/>
                <a:gd name="connsiteX150" fmla="*/ 1246418 w 1570607"/>
                <a:gd name="connsiteY150" fmla="*/ 8308 h 1173108"/>
                <a:gd name="connsiteX151" fmla="*/ 1242997 w 1570607"/>
                <a:gd name="connsiteY151" fmla="*/ 9449 h 1173108"/>
                <a:gd name="connsiteX152" fmla="*/ 1237132 w 1570607"/>
                <a:gd name="connsiteY152" fmla="*/ 9449 h 1173108"/>
                <a:gd name="connsiteX153" fmla="*/ 1236155 w 1570607"/>
                <a:gd name="connsiteY153" fmla="*/ 7168 h 1173108"/>
                <a:gd name="connsiteX154" fmla="*/ 1232897 w 1570607"/>
                <a:gd name="connsiteY154" fmla="*/ 4398 h 1173108"/>
                <a:gd name="connsiteX155" fmla="*/ 1224751 w 1570607"/>
                <a:gd name="connsiteY155" fmla="*/ 3747 h 1173108"/>
                <a:gd name="connsiteX156" fmla="*/ 1221330 w 1570607"/>
                <a:gd name="connsiteY156" fmla="*/ 1140 h 1173108"/>
                <a:gd name="connsiteX157" fmla="*/ 1217257 w 1570607"/>
                <a:gd name="connsiteY157" fmla="*/ 815 h 1173108"/>
                <a:gd name="connsiteX158" fmla="*/ 1214325 w 1570607"/>
                <a:gd name="connsiteY158" fmla="*/ 0 h 1173108"/>
                <a:gd name="connsiteX159" fmla="*/ 1213022 w 1570607"/>
                <a:gd name="connsiteY159" fmla="*/ 815 h 1173108"/>
                <a:gd name="connsiteX160" fmla="*/ 1205691 w 1570607"/>
                <a:gd name="connsiteY160" fmla="*/ 1629 h 1173108"/>
                <a:gd name="connsiteX161" fmla="*/ 1204225 w 1570607"/>
                <a:gd name="connsiteY161" fmla="*/ 5539 h 1173108"/>
                <a:gd name="connsiteX162" fmla="*/ 1202107 w 1570607"/>
                <a:gd name="connsiteY162" fmla="*/ 5539 h 1173108"/>
                <a:gd name="connsiteX163" fmla="*/ 1199989 w 1570607"/>
                <a:gd name="connsiteY163" fmla="*/ 7494 h 1173108"/>
                <a:gd name="connsiteX164" fmla="*/ 1194613 w 1570607"/>
                <a:gd name="connsiteY164" fmla="*/ 7331 h 1173108"/>
                <a:gd name="connsiteX165" fmla="*/ 1191518 w 1570607"/>
                <a:gd name="connsiteY165" fmla="*/ 7983 h 1173108"/>
                <a:gd name="connsiteX166" fmla="*/ 1185979 w 1570607"/>
                <a:gd name="connsiteY166" fmla="*/ 7005 h 1173108"/>
                <a:gd name="connsiteX167" fmla="*/ 1183046 w 1570607"/>
                <a:gd name="connsiteY167" fmla="*/ 10263 h 1173108"/>
                <a:gd name="connsiteX168" fmla="*/ 1178485 w 1570607"/>
                <a:gd name="connsiteY168" fmla="*/ 10263 h 1173108"/>
                <a:gd name="connsiteX169" fmla="*/ 1176530 w 1570607"/>
                <a:gd name="connsiteY169" fmla="*/ 14173 h 1173108"/>
                <a:gd name="connsiteX170" fmla="*/ 1172620 w 1570607"/>
                <a:gd name="connsiteY170" fmla="*/ 15802 h 1173108"/>
                <a:gd name="connsiteX171" fmla="*/ 1169036 w 1570607"/>
                <a:gd name="connsiteY171" fmla="*/ 15476 h 1173108"/>
                <a:gd name="connsiteX172" fmla="*/ 1168059 w 1570607"/>
                <a:gd name="connsiteY172" fmla="*/ 16454 h 1173108"/>
                <a:gd name="connsiteX173" fmla="*/ 1164800 w 1570607"/>
                <a:gd name="connsiteY173" fmla="*/ 16617 h 1173108"/>
                <a:gd name="connsiteX174" fmla="*/ 1161543 w 1570607"/>
                <a:gd name="connsiteY174" fmla="*/ 17757 h 1173108"/>
                <a:gd name="connsiteX175" fmla="*/ 1155026 w 1570607"/>
                <a:gd name="connsiteY175" fmla="*/ 18409 h 1173108"/>
                <a:gd name="connsiteX176" fmla="*/ 1152257 w 1570607"/>
                <a:gd name="connsiteY176" fmla="*/ 20852 h 1173108"/>
                <a:gd name="connsiteX177" fmla="*/ 1152257 w 1570607"/>
                <a:gd name="connsiteY177" fmla="*/ 23948 h 1173108"/>
                <a:gd name="connsiteX178" fmla="*/ 1148510 w 1570607"/>
                <a:gd name="connsiteY178" fmla="*/ 28346 h 1173108"/>
                <a:gd name="connsiteX179" fmla="*/ 1147043 w 1570607"/>
                <a:gd name="connsiteY179" fmla="*/ 33233 h 1173108"/>
                <a:gd name="connsiteX180" fmla="*/ 1145089 w 1570607"/>
                <a:gd name="connsiteY180" fmla="*/ 35677 h 1173108"/>
                <a:gd name="connsiteX181" fmla="*/ 1145089 w 1570607"/>
                <a:gd name="connsiteY181" fmla="*/ 38284 h 1173108"/>
                <a:gd name="connsiteX182" fmla="*/ 1143297 w 1570607"/>
                <a:gd name="connsiteY182" fmla="*/ 40564 h 1173108"/>
                <a:gd name="connsiteX183" fmla="*/ 1143297 w 1570607"/>
                <a:gd name="connsiteY183" fmla="*/ 46755 h 1173108"/>
                <a:gd name="connsiteX184" fmla="*/ 1145089 w 1570607"/>
                <a:gd name="connsiteY184" fmla="*/ 48873 h 1173108"/>
                <a:gd name="connsiteX185" fmla="*/ 1147695 w 1570607"/>
                <a:gd name="connsiteY185" fmla="*/ 49199 h 1173108"/>
                <a:gd name="connsiteX186" fmla="*/ 1153397 w 1570607"/>
                <a:gd name="connsiteY186" fmla="*/ 45777 h 1173108"/>
                <a:gd name="connsiteX187" fmla="*/ 1156818 w 1570607"/>
                <a:gd name="connsiteY187" fmla="*/ 44148 h 1173108"/>
                <a:gd name="connsiteX188" fmla="*/ 1159913 w 1570607"/>
                <a:gd name="connsiteY188" fmla="*/ 44963 h 1173108"/>
                <a:gd name="connsiteX189" fmla="*/ 1163661 w 1570607"/>
                <a:gd name="connsiteY189" fmla="*/ 50991 h 1173108"/>
                <a:gd name="connsiteX190" fmla="*/ 1165615 w 1570607"/>
                <a:gd name="connsiteY190" fmla="*/ 55878 h 1173108"/>
                <a:gd name="connsiteX191" fmla="*/ 1169362 w 1570607"/>
                <a:gd name="connsiteY191" fmla="*/ 58647 h 1173108"/>
                <a:gd name="connsiteX192" fmla="*/ 1169362 w 1570607"/>
                <a:gd name="connsiteY192" fmla="*/ 62557 h 1173108"/>
                <a:gd name="connsiteX193" fmla="*/ 1170502 w 1570607"/>
                <a:gd name="connsiteY193" fmla="*/ 65652 h 1173108"/>
                <a:gd name="connsiteX194" fmla="*/ 1170177 w 1570607"/>
                <a:gd name="connsiteY194" fmla="*/ 71680 h 1173108"/>
                <a:gd name="connsiteX195" fmla="*/ 1166918 w 1570607"/>
                <a:gd name="connsiteY195" fmla="*/ 74124 h 1173108"/>
                <a:gd name="connsiteX196" fmla="*/ 1163661 w 1570607"/>
                <a:gd name="connsiteY196" fmla="*/ 79011 h 1173108"/>
                <a:gd name="connsiteX197" fmla="*/ 1162520 w 1570607"/>
                <a:gd name="connsiteY197" fmla="*/ 84876 h 1173108"/>
                <a:gd name="connsiteX198" fmla="*/ 1159425 w 1570607"/>
                <a:gd name="connsiteY198" fmla="*/ 87482 h 1173108"/>
                <a:gd name="connsiteX199" fmla="*/ 1156492 w 1570607"/>
                <a:gd name="connsiteY199" fmla="*/ 92695 h 1173108"/>
                <a:gd name="connsiteX200" fmla="*/ 1156004 w 1570607"/>
                <a:gd name="connsiteY200" fmla="*/ 96931 h 1173108"/>
                <a:gd name="connsiteX201" fmla="*/ 1158610 w 1570607"/>
                <a:gd name="connsiteY201" fmla="*/ 101167 h 1173108"/>
                <a:gd name="connsiteX202" fmla="*/ 1157796 w 1570607"/>
                <a:gd name="connsiteY202" fmla="*/ 103936 h 1173108"/>
                <a:gd name="connsiteX203" fmla="*/ 1158447 w 1570607"/>
                <a:gd name="connsiteY203" fmla="*/ 109475 h 1173108"/>
                <a:gd name="connsiteX204" fmla="*/ 1161543 w 1570607"/>
                <a:gd name="connsiteY204" fmla="*/ 112570 h 1173108"/>
                <a:gd name="connsiteX205" fmla="*/ 1161054 w 1570607"/>
                <a:gd name="connsiteY205" fmla="*/ 117457 h 1173108"/>
                <a:gd name="connsiteX206" fmla="*/ 1157959 w 1570607"/>
                <a:gd name="connsiteY206" fmla="*/ 119087 h 1173108"/>
                <a:gd name="connsiteX207" fmla="*/ 1156981 w 1570607"/>
                <a:gd name="connsiteY207" fmla="*/ 122019 h 1173108"/>
                <a:gd name="connsiteX208" fmla="*/ 1158936 w 1570607"/>
                <a:gd name="connsiteY208" fmla="*/ 126580 h 1173108"/>
                <a:gd name="connsiteX209" fmla="*/ 1158936 w 1570607"/>
                <a:gd name="connsiteY209" fmla="*/ 134074 h 1173108"/>
                <a:gd name="connsiteX210" fmla="*/ 1157632 w 1570607"/>
                <a:gd name="connsiteY210" fmla="*/ 136192 h 1173108"/>
                <a:gd name="connsiteX211" fmla="*/ 1158121 w 1570607"/>
                <a:gd name="connsiteY211" fmla="*/ 143197 h 1173108"/>
                <a:gd name="connsiteX212" fmla="*/ 1160565 w 1570607"/>
                <a:gd name="connsiteY212" fmla="*/ 143686 h 1173108"/>
                <a:gd name="connsiteX213" fmla="*/ 1162520 w 1570607"/>
                <a:gd name="connsiteY213" fmla="*/ 145152 h 1173108"/>
                <a:gd name="connsiteX214" fmla="*/ 1164475 w 1570607"/>
                <a:gd name="connsiteY214" fmla="*/ 143686 h 1173108"/>
                <a:gd name="connsiteX215" fmla="*/ 1166430 w 1570607"/>
                <a:gd name="connsiteY215" fmla="*/ 144989 h 1173108"/>
                <a:gd name="connsiteX216" fmla="*/ 1167407 w 1570607"/>
                <a:gd name="connsiteY216" fmla="*/ 150202 h 1173108"/>
                <a:gd name="connsiteX217" fmla="*/ 1165941 w 1570607"/>
                <a:gd name="connsiteY217" fmla="*/ 155089 h 1173108"/>
                <a:gd name="connsiteX218" fmla="*/ 1162031 w 1570607"/>
                <a:gd name="connsiteY218" fmla="*/ 158999 h 1173108"/>
                <a:gd name="connsiteX219" fmla="*/ 1152908 w 1570607"/>
                <a:gd name="connsiteY219" fmla="*/ 160465 h 1173108"/>
                <a:gd name="connsiteX220" fmla="*/ 1147043 w 1570607"/>
                <a:gd name="connsiteY220" fmla="*/ 164538 h 1173108"/>
                <a:gd name="connsiteX221" fmla="*/ 1134825 w 1570607"/>
                <a:gd name="connsiteY221" fmla="*/ 176105 h 1173108"/>
                <a:gd name="connsiteX222" fmla="*/ 1132056 w 1570607"/>
                <a:gd name="connsiteY222" fmla="*/ 176594 h 1173108"/>
                <a:gd name="connsiteX223" fmla="*/ 1128309 w 1570607"/>
                <a:gd name="connsiteY223" fmla="*/ 173498 h 1173108"/>
                <a:gd name="connsiteX224" fmla="*/ 1120815 w 1570607"/>
                <a:gd name="connsiteY224" fmla="*/ 172521 h 1173108"/>
                <a:gd name="connsiteX225" fmla="*/ 1116254 w 1570607"/>
                <a:gd name="connsiteY225" fmla="*/ 173335 h 1173108"/>
                <a:gd name="connsiteX226" fmla="*/ 1115439 w 1570607"/>
                <a:gd name="connsiteY226" fmla="*/ 171543 h 1173108"/>
                <a:gd name="connsiteX227" fmla="*/ 1111855 w 1570607"/>
                <a:gd name="connsiteY227" fmla="*/ 171055 h 1173108"/>
                <a:gd name="connsiteX228" fmla="*/ 1108923 w 1570607"/>
                <a:gd name="connsiteY228" fmla="*/ 171869 h 1173108"/>
                <a:gd name="connsiteX229" fmla="*/ 1109248 w 1570607"/>
                <a:gd name="connsiteY229" fmla="*/ 172358 h 1173108"/>
                <a:gd name="connsiteX230" fmla="*/ 1103710 w 1570607"/>
                <a:gd name="connsiteY230" fmla="*/ 211945 h 1173108"/>
                <a:gd name="connsiteX231" fmla="*/ 1104850 w 1570607"/>
                <a:gd name="connsiteY231" fmla="*/ 220579 h 1173108"/>
                <a:gd name="connsiteX232" fmla="*/ 1102570 w 1570607"/>
                <a:gd name="connsiteY232" fmla="*/ 227910 h 1173108"/>
                <a:gd name="connsiteX233" fmla="*/ 1103384 w 1570607"/>
                <a:gd name="connsiteY233" fmla="*/ 233123 h 1173108"/>
                <a:gd name="connsiteX234" fmla="*/ 1099963 w 1570607"/>
                <a:gd name="connsiteY234" fmla="*/ 244038 h 1173108"/>
                <a:gd name="connsiteX235" fmla="*/ 1104036 w 1570607"/>
                <a:gd name="connsiteY235" fmla="*/ 252183 h 1173108"/>
                <a:gd name="connsiteX236" fmla="*/ 1116254 w 1570607"/>
                <a:gd name="connsiteY236" fmla="*/ 258211 h 1173108"/>
                <a:gd name="connsiteX237" fmla="*/ 1124399 w 1570607"/>
                <a:gd name="connsiteY237" fmla="*/ 251858 h 1173108"/>
                <a:gd name="connsiteX238" fmla="*/ 1134662 w 1570607"/>
                <a:gd name="connsiteY238" fmla="*/ 251858 h 1173108"/>
                <a:gd name="connsiteX239" fmla="*/ 1145740 w 1570607"/>
                <a:gd name="connsiteY239" fmla="*/ 253650 h 1173108"/>
                <a:gd name="connsiteX240" fmla="*/ 1150953 w 1570607"/>
                <a:gd name="connsiteY240" fmla="*/ 258863 h 1173108"/>
                <a:gd name="connsiteX241" fmla="*/ 1157144 w 1570607"/>
                <a:gd name="connsiteY241" fmla="*/ 249251 h 1173108"/>
                <a:gd name="connsiteX242" fmla="*/ 1156492 w 1570607"/>
                <a:gd name="connsiteY242" fmla="*/ 243712 h 1173108"/>
                <a:gd name="connsiteX243" fmla="*/ 1156818 w 1570607"/>
                <a:gd name="connsiteY243" fmla="*/ 238988 h 1173108"/>
                <a:gd name="connsiteX244" fmla="*/ 1163823 w 1570607"/>
                <a:gd name="connsiteY244" fmla="*/ 236707 h 1173108"/>
                <a:gd name="connsiteX245" fmla="*/ 1166430 w 1570607"/>
                <a:gd name="connsiteY245" fmla="*/ 234589 h 1173108"/>
                <a:gd name="connsiteX246" fmla="*/ 1177834 w 1570607"/>
                <a:gd name="connsiteY246" fmla="*/ 237522 h 1173108"/>
                <a:gd name="connsiteX247" fmla="*/ 1184513 w 1570607"/>
                <a:gd name="connsiteY247" fmla="*/ 245667 h 1173108"/>
                <a:gd name="connsiteX248" fmla="*/ 1193798 w 1570607"/>
                <a:gd name="connsiteY248" fmla="*/ 254138 h 1173108"/>
                <a:gd name="connsiteX249" fmla="*/ 1201129 w 1570607"/>
                <a:gd name="connsiteY249" fmla="*/ 263261 h 1173108"/>
                <a:gd name="connsiteX250" fmla="*/ 1210578 w 1570607"/>
                <a:gd name="connsiteY250" fmla="*/ 270103 h 1173108"/>
                <a:gd name="connsiteX251" fmla="*/ 1210741 w 1570607"/>
                <a:gd name="connsiteY251" fmla="*/ 274502 h 1173108"/>
                <a:gd name="connsiteX252" fmla="*/ 1212696 w 1570607"/>
                <a:gd name="connsiteY252" fmla="*/ 278086 h 1173108"/>
                <a:gd name="connsiteX253" fmla="*/ 1212533 w 1570607"/>
                <a:gd name="connsiteY253" fmla="*/ 282485 h 1173108"/>
                <a:gd name="connsiteX254" fmla="*/ 1210578 w 1570607"/>
                <a:gd name="connsiteY254" fmla="*/ 285417 h 1173108"/>
                <a:gd name="connsiteX255" fmla="*/ 1210415 w 1570607"/>
                <a:gd name="connsiteY255" fmla="*/ 289001 h 1173108"/>
                <a:gd name="connsiteX256" fmla="*/ 1208461 w 1570607"/>
                <a:gd name="connsiteY256" fmla="*/ 292096 h 1173108"/>
                <a:gd name="connsiteX257" fmla="*/ 1204550 w 1570607"/>
                <a:gd name="connsiteY257" fmla="*/ 291119 h 1173108"/>
                <a:gd name="connsiteX258" fmla="*/ 1202107 w 1570607"/>
                <a:gd name="connsiteY258" fmla="*/ 288675 h 1173108"/>
                <a:gd name="connsiteX259" fmla="*/ 1196731 w 1570607"/>
                <a:gd name="connsiteY259" fmla="*/ 289490 h 1173108"/>
                <a:gd name="connsiteX260" fmla="*/ 1193798 w 1570607"/>
                <a:gd name="connsiteY260" fmla="*/ 291444 h 1173108"/>
                <a:gd name="connsiteX261" fmla="*/ 1186630 w 1570607"/>
                <a:gd name="connsiteY261" fmla="*/ 288349 h 1173108"/>
                <a:gd name="connsiteX262" fmla="*/ 1182232 w 1570607"/>
                <a:gd name="connsiteY262" fmla="*/ 289327 h 1173108"/>
                <a:gd name="connsiteX263" fmla="*/ 1177670 w 1570607"/>
                <a:gd name="connsiteY263" fmla="*/ 295680 h 1173108"/>
                <a:gd name="connsiteX264" fmla="*/ 1170665 w 1570607"/>
                <a:gd name="connsiteY264" fmla="*/ 301219 h 1173108"/>
                <a:gd name="connsiteX265" fmla="*/ 1166593 w 1570607"/>
                <a:gd name="connsiteY265" fmla="*/ 303826 h 1173108"/>
                <a:gd name="connsiteX266" fmla="*/ 1162031 w 1570607"/>
                <a:gd name="connsiteY266" fmla="*/ 300567 h 1173108"/>
                <a:gd name="connsiteX267" fmla="*/ 1159913 w 1570607"/>
                <a:gd name="connsiteY267" fmla="*/ 301056 h 1173108"/>
                <a:gd name="connsiteX268" fmla="*/ 1159750 w 1570607"/>
                <a:gd name="connsiteY268" fmla="*/ 305943 h 1173108"/>
                <a:gd name="connsiteX269" fmla="*/ 1157959 w 1570607"/>
                <a:gd name="connsiteY269" fmla="*/ 308713 h 1173108"/>
                <a:gd name="connsiteX270" fmla="*/ 1154375 w 1570607"/>
                <a:gd name="connsiteY270" fmla="*/ 309202 h 1173108"/>
                <a:gd name="connsiteX271" fmla="*/ 1151605 w 1570607"/>
                <a:gd name="connsiteY271" fmla="*/ 308713 h 1173108"/>
                <a:gd name="connsiteX272" fmla="*/ 1149650 w 1570607"/>
                <a:gd name="connsiteY272" fmla="*/ 311808 h 1173108"/>
                <a:gd name="connsiteX273" fmla="*/ 1145252 w 1570607"/>
                <a:gd name="connsiteY273" fmla="*/ 318650 h 1173108"/>
                <a:gd name="connsiteX274" fmla="*/ 1144111 w 1570607"/>
                <a:gd name="connsiteY274" fmla="*/ 326307 h 1173108"/>
                <a:gd name="connsiteX275" fmla="*/ 1144437 w 1570607"/>
                <a:gd name="connsiteY275" fmla="*/ 331683 h 1173108"/>
                <a:gd name="connsiteX276" fmla="*/ 1141668 w 1570607"/>
                <a:gd name="connsiteY276" fmla="*/ 334941 h 1173108"/>
                <a:gd name="connsiteX277" fmla="*/ 1136291 w 1570607"/>
                <a:gd name="connsiteY277" fmla="*/ 336244 h 1173108"/>
                <a:gd name="connsiteX278" fmla="*/ 1124888 w 1570607"/>
                <a:gd name="connsiteY278" fmla="*/ 344064 h 1173108"/>
                <a:gd name="connsiteX279" fmla="*/ 1118860 w 1570607"/>
                <a:gd name="connsiteY279" fmla="*/ 344064 h 1173108"/>
                <a:gd name="connsiteX280" fmla="*/ 1112670 w 1570607"/>
                <a:gd name="connsiteY280" fmla="*/ 342761 h 1173108"/>
                <a:gd name="connsiteX281" fmla="*/ 1109737 w 1570607"/>
                <a:gd name="connsiteY281" fmla="*/ 344879 h 1173108"/>
                <a:gd name="connsiteX282" fmla="*/ 1104850 w 1570607"/>
                <a:gd name="connsiteY282" fmla="*/ 355142 h 1173108"/>
                <a:gd name="connsiteX283" fmla="*/ 1100126 w 1570607"/>
                <a:gd name="connsiteY283" fmla="*/ 358563 h 1173108"/>
                <a:gd name="connsiteX284" fmla="*/ 1094424 w 1570607"/>
                <a:gd name="connsiteY284" fmla="*/ 362799 h 1173108"/>
                <a:gd name="connsiteX285" fmla="*/ 1090840 w 1570607"/>
                <a:gd name="connsiteY285" fmla="*/ 366546 h 1173108"/>
                <a:gd name="connsiteX286" fmla="*/ 1089373 w 1570607"/>
                <a:gd name="connsiteY286" fmla="*/ 370618 h 1173108"/>
                <a:gd name="connsiteX287" fmla="*/ 1086767 w 1570607"/>
                <a:gd name="connsiteY287" fmla="*/ 371107 h 1173108"/>
                <a:gd name="connsiteX288" fmla="*/ 1081391 w 1570607"/>
                <a:gd name="connsiteY288" fmla="*/ 368501 h 1173108"/>
                <a:gd name="connsiteX289" fmla="*/ 1075200 w 1570607"/>
                <a:gd name="connsiteY289" fmla="*/ 367197 h 1173108"/>
                <a:gd name="connsiteX290" fmla="*/ 1067381 w 1570607"/>
                <a:gd name="connsiteY290" fmla="*/ 364428 h 1173108"/>
                <a:gd name="connsiteX291" fmla="*/ 1061191 w 1570607"/>
                <a:gd name="connsiteY291" fmla="*/ 360029 h 1173108"/>
                <a:gd name="connsiteX292" fmla="*/ 1055000 w 1570607"/>
                <a:gd name="connsiteY292" fmla="*/ 359866 h 1173108"/>
                <a:gd name="connsiteX293" fmla="*/ 1044900 w 1570607"/>
                <a:gd name="connsiteY293" fmla="*/ 361821 h 1173108"/>
                <a:gd name="connsiteX294" fmla="*/ 1039035 w 1570607"/>
                <a:gd name="connsiteY294" fmla="*/ 366383 h 1173108"/>
                <a:gd name="connsiteX295" fmla="*/ 1035451 w 1570607"/>
                <a:gd name="connsiteY295" fmla="*/ 371596 h 1173108"/>
                <a:gd name="connsiteX296" fmla="*/ 1034962 w 1570607"/>
                <a:gd name="connsiteY296" fmla="*/ 382837 h 1173108"/>
                <a:gd name="connsiteX297" fmla="*/ 1035614 w 1570607"/>
                <a:gd name="connsiteY297" fmla="*/ 388375 h 1173108"/>
                <a:gd name="connsiteX298" fmla="*/ 1035125 w 1570607"/>
                <a:gd name="connsiteY298" fmla="*/ 391959 h 1173108"/>
                <a:gd name="connsiteX299" fmla="*/ 1046691 w 1570607"/>
                <a:gd name="connsiteY299" fmla="*/ 399453 h 1173108"/>
                <a:gd name="connsiteX300" fmla="*/ 1057118 w 1570607"/>
                <a:gd name="connsiteY300" fmla="*/ 405970 h 1173108"/>
                <a:gd name="connsiteX301" fmla="*/ 1057118 w 1570607"/>
                <a:gd name="connsiteY301" fmla="*/ 409065 h 1173108"/>
                <a:gd name="connsiteX302" fmla="*/ 1054511 w 1570607"/>
                <a:gd name="connsiteY302" fmla="*/ 413789 h 1173108"/>
                <a:gd name="connsiteX303" fmla="*/ 1051253 w 1570607"/>
                <a:gd name="connsiteY303" fmla="*/ 418839 h 1173108"/>
                <a:gd name="connsiteX304" fmla="*/ 1040012 w 1570607"/>
                <a:gd name="connsiteY304" fmla="*/ 431383 h 1173108"/>
                <a:gd name="connsiteX305" fmla="*/ 1033333 w 1570607"/>
                <a:gd name="connsiteY305" fmla="*/ 442298 h 1173108"/>
                <a:gd name="connsiteX306" fmla="*/ 1029749 w 1570607"/>
                <a:gd name="connsiteY306" fmla="*/ 450770 h 1173108"/>
                <a:gd name="connsiteX307" fmla="*/ 1025513 w 1570607"/>
                <a:gd name="connsiteY307" fmla="*/ 450770 h 1173108"/>
                <a:gd name="connsiteX308" fmla="*/ 1017368 w 1570607"/>
                <a:gd name="connsiteY308" fmla="*/ 453213 h 1173108"/>
                <a:gd name="connsiteX309" fmla="*/ 1011340 w 1570607"/>
                <a:gd name="connsiteY309" fmla="*/ 453702 h 1173108"/>
                <a:gd name="connsiteX310" fmla="*/ 1004498 w 1570607"/>
                <a:gd name="connsiteY310" fmla="*/ 458263 h 1173108"/>
                <a:gd name="connsiteX311" fmla="*/ 997493 w 1570607"/>
                <a:gd name="connsiteY311" fmla="*/ 463476 h 1173108"/>
                <a:gd name="connsiteX312" fmla="*/ 990325 w 1570607"/>
                <a:gd name="connsiteY312" fmla="*/ 463802 h 1173108"/>
                <a:gd name="connsiteX313" fmla="*/ 979736 w 1570607"/>
                <a:gd name="connsiteY313" fmla="*/ 464943 h 1173108"/>
                <a:gd name="connsiteX314" fmla="*/ 972568 w 1570607"/>
                <a:gd name="connsiteY314" fmla="*/ 467223 h 1173108"/>
                <a:gd name="connsiteX315" fmla="*/ 964259 w 1570607"/>
                <a:gd name="connsiteY315" fmla="*/ 469667 h 1173108"/>
                <a:gd name="connsiteX316" fmla="*/ 946014 w 1570607"/>
                <a:gd name="connsiteY316" fmla="*/ 476183 h 1173108"/>
                <a:gd name="connsiteX317" fmla="*/ 931678 w 1570607"/>
                <a:gd name="connsiteY317" fmla="*/ 480908 h 1173108"/>
                <a:gd name="connsiteX318" fmla="*/ 924509 w 1570607"/>
                <a:gd name="connsiteY318" fmla="*/ 489053 h 1173108"/>
                <a:gd name="connsiteX319" fmla="*/ 913432 w 1570607"/>
                <a:gd name="connsiteY319" fmla="*/ 497850 h 1173108"/>
                <a:gd name="connsiteX320" fmla="*/ 908870 w 1570607"/>
                <a:gd name="connsiteY320" fmla="*/ 501760 h 1173108"/>
                <a:gd name="connsiteX321" fmla="*/ 902680 w 1570607"/>
                <a:gd name="connsiteY321" fmla="*/ 501923 h 1173108"/>
                <a:gd name="connsiteX322" fmla="*/ 895186 w 1570607"/>
                <a:gd name="connsiteY322" fmla="*/ 499642 h 1173108"/>
                <a:gd name="connsiteX323" fmla="*/ 895186 w 1570607"/>
                <a:gd name="connsiteY323" fmla="*/ 496873 h 1173108"/>
                <a:gd name="connsiteX324" fmla="*/ 894209 w 1570607"/>
                <a:gd name="connsiteY324" fmla="*/ 493126 h 1173108"/>
                <a:gd name="connsiteX325" fmla="*/ 883457 w 1570607"/>
                <a:gd name="connsiteY325" fmla="*/ 496221 h 1173108"/>
                <a:gd name="connsiteX326" fmla="*/ 874497 w 1570607"/>
                <a:gd name="connsiteY326" fmla="*/ 497525 h 1173108"/>
                <a:gd name="connsiteX327" fmla="*/ 865373 w 1570607"/>
                <a:gd name="connsiteY327" fmla="*/ 492637 h 1173108"/>
                <a:gd name="connsiteX328" fmla="*/ 858043 w 1570607"/>
                <a:gd name="connsiteY328" fmla="*/ 491986 h 1173108"/>
                <a:gd name="connsiteX329" fmla="*/ 841752 w 1570607"/>
                <a:gd name="connsiteY329" fmla="*/ 485958 h 1173108"/>
                <a:gd name="connsiteX330" fmla="*/ 825787 w 1570607"/>
                <a:gd name="connsiteY330" fmla="*/ 478464 h 1173108"/>
                <a:gd name="connsiteX331" fmla="*/ 817315 w 1570607"/>
                <a:gd name="connsiteY331" fmla="*/ 470156 h 1173108"/>
                <a:gd name="connsiteX332" fmla="*/ 810473 w 1570607"/>
                <a:gd name="connsiteY332" fmla="*/ 469993 h 1173108"/>
                <a:gd name="connsiteX333" fmla="*/ 792064 w 1570607"/>
                <a:gd name="connsiteY333" fmla="*/ 468038 h 1173108"/>
                <a:gd name="connsiteX334" fmla="*/ 776588 w 1570607"/>
                <a:gd name="connsiteY334" fmla="*/ 468364 h 1173108"/>
                <a:gd name="connsiteX335" fmla="*/ 772515 w 1570607"/>
                <a:gd name="connsiteY335" fmla="*/ 467549 h 1173108"/>
                <a:gd name="connsiteX336" fmla="*/ 769746 w 1570607"/>
                <a:gd name="connsiteY336" fmla="*/ 469178 h 1173108"/>
                <a:gd name="connsiteX337" fmla="*/ 768280 w 1570607"/>
                <a:gd name="connsiteY337" fmla="*/ 472111 h 1173108"/>
                <a:gd name="connsiteX338" fmla="*/ 759645 w 1570607"/>
                <a:gd name="connsiteY338" fmla="*/ 475206 h 1173108"/>
                <a:gd name="connsiteX339" fmla="*/ 747590 w 1570607"/>
                <a:gd name="connsiteY339" fmla="*/ 476509 h 1173108"/>
                <a:gd name="connsiteX340" fmla="*/ 726412 w 1570607"/>
                <a:gd name="connsiteY340" fmla="*/ 474717 h 1173108"/>
                <a:gd name="connsiteX341" fmla="*/ 710936 w 1570607"/>
                <a:gd name="connsiteY341" fmla="*/ 475532 h 1173108"/>
                <a:gd name="connsiteX342" fmla="*/ 699206 w 1570607"/>
                <a:gd name="connsiteY342" fmla="*/ 474880 h 1173108"/>
                <a:gd name="connsiteX343" fmla="*/ 688943 w 1570607"/>
                <a:gd name="connsiteY343" fmla="*/ 476021 h 1173108"/>
                <a:gd name="connsiteX344" fmla="*/ 683893 w 1570607"/>
                <a:gd name="connsiteY344" fmla="*/ 476509 h 1173108"/>
                <a:gd name="connsiteX345" fmla="*/ 679494 w 1570607"/>
                <a:gd name="connsiteY345" fmla="*/ 475043 h 1173108"/>
                <a:gd name="connsiteX346" fmla="*/ 673629 w 1570607"/>
                <a:gd name="connsiteY346" fmla="*/ 463965 h 1173108"/>
                <a:gd name="connsiteX347" fmla="*/ 671512 w 1570607"/>
                <a:gd name="connsiteY347" fmla="*/ 458426 h 1173108"/>
                <a:gd name="connsiteX348" fmla="*/ 666136 w 1570607"/>
                <a:gd name="connsiteY348" fmla="*/ 450444 h 1173108"/>
                <a:gd name="connsiteX349" fmla="*/ 661737 w 1570607"/>
                <a:gd name="connsiteY349" fmla="*/ 445231 h 1173108"/>
                <a:gd name="connsiteX350" fmla="*/ 658805 w 1570607"/>
                <a:gd name="connsiteY350" fmla="*/ 437737 h 1173108"/>
                <a:gd name="connsiteX351" fmla="*/ 658316 w 1570607"/>
                <a:gd name="connsiteY351" fmla="*/ 434642 h 1173108"/>
                <a:gd name="connsiteX352" fmla="*/ 654732 w 1570607"/>
                <a:gd name="connsiteY352" fmla="*/ 430569 h 1173108"/>
                <a:gd name="connsiteX353" fmla="*/ 650822 w 1570607"/>
                <a:gd name="connsiteY353" fmla="*/ 429266 h 1173108"/>
                <a:gd name="connsiteX354" fmla="*/ 648379 w 1570607"/>
                <a:gd name="connsiteY354" fmla="*/ 428777 h 1173108"/>
                <a:gd name="connsiteX355" fmla="*/ 647238 w 1570607"/>
                <a:gd name="connsiteY355" fmla="*/ 426007 h 1173108"/>
                <a:gd name="connsiteX356" fmla="*/ 646586 w 1570607"/>
                <a:gd name="connsiteY356" fmla="*/ 421446 h 1173108"/>
                <a:gd name="connsiteX357" fmla="*/ 644795 w 1570607"/>
                <a:gd name="connsiteY357" fmla="*/ 420631 h 1173108"/>
                <a:gd name="connsiteX358" fmla="*/ 642514 w 1570607"/>
                <a:gd name="connsiteY358" fmla="*/ 421283 h 1173108"/>
                <a:gd name="connsiteX359" fmla="*/ 635346 w 1570607"/>
                <a:gd name="connsiteY359" fmla="*/ 421283 h 1173108"/>
                <a:gd name="connsiteX360" fmla="*/ 629155 w 1570607"/>
                <a:gd name="connsiteY360" fmla="*/ 417699 h 1173108"/>
                <a:gd name="connsiteX361" fmla="*/ 619707 w 1570607"/>
                <a:gd name="connsiteY361" fmla="*/ 411020 h 1173108"/>
                <a:gd name="connsiteX362" fmla="*/ 616611 w 1570607"/>
                <a:gd name="connsiteY362" fmla="*/ 410205 h 1173108"/>
                <a:gd name="connsiteX363" fmla="*/ 614331 w 1570607"/>
                <a:gd name="connsiteY363" fmla="*/ 410368 h 1173108"/>
                <a:gd name="connsiteX364" fmla="*/ 609769 w 1570607"/>
                <a:gd name="connsiteY364" fmla="*/ 409554 h 1173108"/>
                <a:gd name="connsiteX365" fmla="*/ 607651 w 1570607"/>
                <a:gd name="connsiteY365" fmla="*/ 406621 h 1173108"/>
                <a:gd name="connsiteX366" fmla="*/ 599669 w 1570607"/>
                <a:gd name="connsiteY366" fmla="*/ 401408 h 1173108"/>
                <a:gd name="connsiteX367" fmla="*/ 582238 w 1570607"/>
                <a:gd name="connsiteY367" fmla="*/ 397498 h 1173108"/>
                <a:gd name="connsiteX368" fmla="*/ 580608 w 1570607"/>
                <a:gd name="connsiteY368" fmla="*/ 397987 h 1173108"/>
                <a:gd name="connsiteX369" fmla="*/ 578328 w 1570607"/>
                <a:gd name="connsiteY369" fmla="*/ 399779 h 1173108"/>
                <a:gd name="connsiteX370" fmla="*/ 571486 w 1570607"/>
                <a:gd name="connsiteY370" fmla="*/ 400594 h 1173108"/>
                <a:gd name="connsiteX371" fmla="*/ 560407 w 1570607"/>
                <a:gd name="connsiteY371" fmla="*/ 400756 h 1173108"/>
                <a:gd name="connsiteX372" fmla="*/ 535157 w 1570607"/>
                <a:gd name="connsiteY372" fmla="*/ 395380 h 1173108"/>
                <a:gd name="connsiteX373" fmla="*/ 529618 w 1570607"/>
                <a:gd name="connsiteY373" fmla="*/ 392122 h 1173108"/>
                <a:gd name="connsiteX374" fmla="*/ 523916 w 1570607"/>
                <a:gd name="connsiteY374" fmla="*/ 383488 h 1173108"/>
                <a:gd name="connsiteX375" fmla="*/ 523102 w 1570607"/>
                <a:gd name="connsiteY375" fmla="*/ 379415 h 1173108"/>
                <a:gd name="connsiteX376" fmla="*/ 523102 w 1570607"/>
                <a:gd name="connsiteY376" fmla="*/ 375668 h 1173108"/>
                <a:gd name="connsiteX377" fmla="*/ 524731 w 1570607"/>
                <a:gd name="connsiteY377" fmla="*/ 372899 h 1173108"/>
                <a:gd name="connsiteX378" fmla="*/ 528315 w 1570607"/>
                <a:gd name="connsiteY378" fmla="*/ 369967 h 1173108"/>
                <a:gd name="connsiteX379" fmla="*/ 529943 w 1570607"/>
                <a:gd name="connsiteY379" fmla="*/ 365405 h 1173108"/>
                <a:gd name="connsiteX380" fmla="*/ 527011 w 1570607"/>
                <a:gd name="connsiteY380" fmla="*/ 361984 h 1173108"/>
                <a:gd name="connsiteX381" fmla="*/ 525708 w 1570607"/>
                <a:gd name="connsiteY381" fmla="*/ 355956 h 1173108"/>
                <a:gd name="connsiteX382" fmla="*/ 526848 w 1570607"/>
                <a:gd name="connsiteY382" fmla="*/ 352698 h 1173108"/>
                <a:gd name="connsiteX383" fmla="*/ 526523 w 1570607"/>
                <a:gd name="connsiteY383" fmla="*/ 346997 h 1173108"/>
                <a:gd name="connsiteX384" fmla="*/ 524405 w 1570607"/>
                <a:gd name="connsiteY384" fmla="*/ 343901 h 1173108"/>
                <a:gd name="connsiteX385" fmla="*/ 521309 w 1570607"/>
                <a:gd name="connsiteY385" fmla="*/ 338688 h 1173108"/>
                <a:gd name="connsiteX386" fmla="*/ 517563 w 1570607"/>
                <a:gd name="connsiteY386" fmla="*/ 336733 h 1173108"/>
                <a:gd name="connsiteX387" fmla="*/ 513490 w 1570607"/>
                <a:gd name="connsiteY387" fmla="*/ 333475 h 1173108"/>
                <a:gd name="connsiteX388" fmla="*/ 511861 w 1570607"/>
                <a:gd name="connsiteY388" fmla="*/ 328914 h 1173108"/>
                <a:gd name="connsiteX389" fmla="*/ 509091 w 1570607"/>
                <a:gd name="connsiteY389" fmla="*/ 325167 h 1173108"/>
                <a:gd name="connsiteX390" fmla="*/ 507625 w 1570607"/>
                <a:gd name="connsiteY390" fmla="*/ 320605 h 1173108"/>
                <a:gd name="connsiteX391" fmla="*/ 506973 w 1570607"/>
                <a:gd name="connsiteY391" fmla="*/ 316532 h 1173108"/>
                <a:gd name="connsiteX392" fmla="*/ 504204 w 1570607"/>
                <a:gd name="connsiteY392" fmla="*/ 312460 h 1173108"/>
                <a:gd name="connsiteX393" fmla="*/ 500131 w 1570607"/>
                <a:gd name="connsiteY393" fmla="*/ 309202 h 1173108"/>
                <a:gd name="connsiteX394" fmla="*/ 496222 w 1570607"/>
                <a:gd name="connsiteY394" fmla="*/ 308061 h 1173108"/>
                <a:gd name="connsiteX395" fmla="*/ 494266 w 1570607"/>
                <a:gd name="connsiteY395" fmla="*/ 304966 h 1173108"/>
                <a:gd name="connsiteX396" fmla="*/ 490031 w 1570607"/>
                <a:gd name="connsiteY396" fmla="*/ 303337 h 1173108"/>
                <a:gd name="connsiteX397" fmla="*/ 486284 w 1570607"/>
                <a:gd name="connsiteY397" fmla="*/ 303663 h 1173108"/>
                <a:gd name="connsiteX398" fmla="*/ 483677 w 1570607"/>
                <a:gd name="connsiteY398" fmla="*/ 306106 h 1173108"/>
                <a:gd name="connsiteX399" fmla="*/ 480908 w 1570607"/>
                <a:gd name="connsiteY399" fmla="*/ 307247 h 1173108"/>
                <a:gd name="connsiteX400" fmla="*/ 478302 w 1570607"/>
                <a:gd name="connsiteY400" fmla="*/ 306269 h 1173108"/>
                <a:gd name="connsiteX401" fmla="*/ 474229 w 1570607"/>
                <a:gd name="connsiteY401" fmla="*/ 301708 h 1173108"/>
                <a:gd name="connsiteX402" fmla="*/ 472925 w 1570607"/>
                <a:gd name="connsiteY402" fmla="*/ 299427 h 1173108"/>
                <a:gd name="connsiteX403" fmla="*/ 468201 w 1570607"/>
                <a:gd name="connsiteY403" fmla="*/ 299427 h 1173108"/>
                <a:gd name="connsiteX404" fmla="*/ 462988 w 1570607"/>
                <a:gd name="connsiteY404" fmla="*/ 301871 h 1173108"/>
                <a:gd name="connsiteX405" fmla="*/ 461033 w 1570607"/>
                <a:gd name="connsiteY405" fmla="*/ 304151 h 1173108"/>
                <a:gd name="connsiteX406" fmla="*/ 460218 w 1570607"/>
                <a:gd name="connsiteY406" fmla="*/ 307084 h 1173108"/>
                <a:gd name="connsiteX407" fmla="*/ 457775 w 1570607"/>
                <a:gd name="connsiteY407" fmla="*/ 307247 h 1173108"/>
                <a:gd name="connsiteX408" fmla="*/ 452725 w 1570607"/>
                <a:gd name="connsiteY408" fmla="*/ 303989 h 1173108"/>
                <a:gd name="connsiteX409" fmla="*/ 451422 w 1570607"/>
                <a:gd name="connsiteY409" fmla="*/ 300079 h 1173108"/>
                <a:gd name="connsiteX410" fmla="*/ 451259 w 1570607"/>
                <a:gd name="connsiteY410" fmla="*/ 298450 h 1173108"/>
                <a:gd name="connsiteX411" fmla="*/ 447675 w 1570607"/>
                <a:gd name="connsiteY411" fmla="*/ 293888 h 1173108"/>
                <a:gd name="connsiteX412" fmla="*/ 442624 w 1570607"/>
                <a:gd name="connsiteY412" fmla="*/ 290793 h 1173108"/>
                <a:gd name="connsiteX413" fmla="*/ 438715 w 1570607"/>
                <a:gd name="connsiteY413" fmla="*/ 286394 h 1173108"/>
                <a:gd name="connsiteX414" fmla="*/ 435782 w 1570607"/>
                <a:gd name="connsiteY414" fmla="*/ 285091 h 1173108"/>
                <a:gd name="connsiteX415" fmla="*/ 433175 w 1570607"/>
                <a:gd name="connsiteY415" fmla="*/ 282647 h 1173108"/>
                <a:gd name="connsiteX416" fmla="*/ 431872 w 1570607"/>
                <a:gd name="connsiteY416" fmla="*/ 279389 h 1173108"/>
                <a:gd name="connsiteX417" fmla="*/ 431709 w 1570607"/>
                <a:gd name="connsiteY417" fmla="*/ 276131 h 1173108"/>
                <a:gd name="connsiteX418" fmla="*/ 430243 w 1570607"/>
                <a:gd name="connsiteY418" fmla="*/ 273362 h 1173108"/>
                <a:gd name="connsiteX419" fmla="*/ 429429 w 1570607"/>
                <a:gd name="connsiteY419" fmla="*/ 273850 h 1173108"/>
                <a:gd name="connsiteX420" fmla="*/ 429103 w 1570607"/>
                <a:gd name="connsiteY420" fmla="*/ 275316 h 1173108"/>
                <a:gd name="connsiteX421" fmla="*/ 427474 w 1570607"/>
                <a:gd name="connsiteY421" fmla="*/ 275805 h 1173108"/>
                <a:gd name="connsiteX422" fmla="*/ 425519 w 1570607"/>
                <a:gd name="connsiteY422" fmla="*/ 272384 h 1173108"/>
                <a:gd name="connsiteX423" fmla="*/ 424053 w 1570607"/>
                <a:gd name="connsiteY423" fmla="*/ 270918 h 1173108"/>
                <a:gd name="connsiteX424" fmla="*/ 424216 w 1570607"/>
                <a:gd name="connsiteY424" fmla="*/ 265216 h 1173108"/>
                <a:gd name="connsiteX425" fmla="*/ 423727 w 1570607"/>
                <a:gd name="connsiteY425" fmla="*/ 262772 h 1173108"/>
                <a:gd name="connsiteX426" fmla="*/ 421609 w 1570607"/>
                <a:gd name="connsiteY426" fmla="*/ 262772 h 1173108"/>
                <a:gd name="connsiteX427" fmla="*/ 416396 w 1570607"/>
                <a:gd name="connsiteY427" fmla="*/ 260980 h 1173108"/>
                <a:gd name="connsiteX428" fmla="*/ 413300 w 1570607"/>
                <a:gd name="connsiteY428" fmla="*/ 260980 h 1173108"/>
                <a:gd name="connsiteX429" fmla="*/ 413952 w 1570607"/>
                <a:gd name="connsiteY429" fmla="*/ 261632 h 1173108"/>
                <a:gd name="connsiteX430" fmla="*/ 409228 w 1570607"/>
                <a:gd name="connsiteY430" fmla="*/ 266682 h 1173108"/>
                <a:gd name="connsiteX431" fmla="*/ 405318 w 1570607"/>
                <a:gd name="connsiteY431" fmla="*/ 268800 h 1173108"/>
                <a:gd name="connsiteX432" fmla="*/ 398476 w 1570607"/>
                <a:gd name="connsiteY432" fmla="*/ 275968 h 1173108"/>
                <a:gd name="connsiteX433" fmla="*/ 398313 w 1570607"/>
                <a:gd name="connsiteY433" fmla="*/ 280041 h 1173108"/>
                <a:gd name="connsiteX434" fmla="*/ 399779 w 1570607"/>
                <a:gd name="connsiteY434" fmla="*/ 282810 h 1173108"/>
                <a:gd name="connsiteX435" fmla="*/ 396521 w 1570607"/>
                <a:gd name="connsiteY435" fmla="*/ 288349 h 1173108"/>
                <a:gd name="connsiteX436" fmla="*/ 389027 w 1570607"/>
                <a:gd name="connsiteY436" fmla="*/ 291119 h 1173108"/>
                <a:gd name="connsiteX437" fmla="*/ 384466 w 1570607"/>
                <a:gd name="connsiteY437" fmla="*/ 294377 h 1173108"/>
                <a:gd name="connsiteX438" fmla="*/ 383488 w 1570607"/>
                <a:gd name="connsiteY438" fmla="*/ 300405 h 1173108"/>
                <a:gd name="connsiteX439" fmla="*/ 383814 w 1570607"/>
                <a:gd name="connsiteY439" fmla="*/ 311156 h 1173108"/>
                <a:gd name="connsiteX440" fmla="*/ 388864 w 1570607"/>
                <a:gd name="connsiteY440" fmla="*/ 321420 h 1173108"/>
                <a:gd name="connsiteX441" fmla="*/ 393589 w 1570607"/>
                <a:gd name="connsiteY441" fmla="*/ 327773 h 1173108"/>
                <a:gd name="connsiteX442" fmla="*/ 392937 w 1570607"/>
                <a:gd name="connsiteY442" fmla="*/ 331357 h 1173108"/>
                <a:gd name="connsiteX443" fmla="*/ 386421 w 1570607"/>
                <a:gd name="connsiteY443" fmla="*/ 338525 h 1173108"/>
                <a:gd name="connsiteX444" fmla="*/ 380882 w 1570607"/>
                <a:gd name="connsiteY444" fmla="*/ 340480 h 1173108"/>
                <a:gd name="connsiteX445" fmla="*/ 376483 w 1570607"/>
                <a:gd name="connsiteY445" fmla="*/ 345693 h 1173108"/>
                <a:gd name="connsiteX446" fmla="*/ 372736 w 1570607"/>
                <a:gd name="connsiteY446" fmla="*/ 346997 h 1173108"/>
                <a:gd name="connsiteX447" fmla="*/ 370456 w 1570607"/>
                <a:gd name="connsiteY447" fmla="*/ 346019 h 1173108"/>
                <a:gd name="connsiteX448" fmla="*/ 369152 w 1570607"/>
                <a:gd name="connsiteY448" fmla="*/ 343087 h 1173108"/>
                <a:gd name="connsiteX449" fmla="*/ 364754 w 1570607"/>
                <a:gd name="connsiteY449" fmla="*/ 343087 h 1173108"/>
                <a:gd name="connsiteX450" fmla="*/ 354816 w 1570607"/>
                <a:gd name="connsiteY450" fmla="*/ 345367 h 1173108"/>
                <a:gd name="connsiteX451" fmla="*/ 347974 w 1570607"/>
                <a:gd name="connsiteY451" fmla="*/ 344716 h 1173108"/>
                <a:gd name="connsiteX452" fmla="*/ 338037 w 1570607"/>
                <a:gd name="connsiteY452" fmla="*/ 341295 h 1173108"/>
                <a:gd name="connsiteX453" fmla="*/ 332009 w 1570607"/>
                <a:gd name="connsiteY453" fmla="*/ 340480 h 1173108"/>
                <a:gd name="connsiteX454" fmla="*/ 329077 w 1570607"/>
                <a:gd name="connsiteY454" fmla="*/ 340806 h 1173108"/>
                <a:gd name="connsiteX455" fmla="*/ 326959 w 1570607"/>
                <a:gd name="connsiteY455" fmla="*/ 352535 h 1173108"/>
                <a:gd name="connsiteX456" fmla="*/ 324678 w 1570607"/>
                <a:gd name="connsiteY456" fmla="*/ 359866 h 1173108"/>
                <a:gd name="connsiteX457" fmla="*/ 324352 w 1570607"/>
                <a:gd name="connsiteY457" fmla="*/ 365568 h 1173108"/>
                <a:gd name="connsiteX458" fmla="*/ 321909 w 1570607"/>
                <a:gd name="connsiteY458" fmla="*/ 380393 h 1173108"/>
                <a:gd name="connsiteX459" fmla="*/ 321909 w 1570607"/>
                <a:gd name="connsiteY459" fmla="*/ 391797 h 1173108"/>
                <a:gd name="connsiteX460" fmla="*/ 320606 w 1570607"/>
                <a:gd name="connsiteY460" fmla="*/ 395543 h 1173108"/>
                <a:gd name="connsiteX461" fmla="*/ 323538 w 1570607"/>
                <a:gd name="connsiteY461" fmla="*/ 397824 h 1173108"/>
                <a:gd name="connsiteX462" fmla="*/ 329565 w 1570607"/>
                <a:gd name="connsiteY462" fmla="*/ 400431 h 1173108"/>
                <a:gd name="connsiteX463" fmla="*/ 327122 w 1570607"/>
                <a:gd name="connsiteY463" fmla="*/ 405481 h 1173108"/>
                <a:gd name="connsiteX464" fmla="*/ 326470 w 1570607"/>
                <a:gd name="connsiteY464" fmla="*/ 409554 h 1173108"/>
                <a:gd name="connsiteX465" fmla="*/ 323212 w 1570607"/>
                <a:gd name="connsiteY465" fmla="*/ 409554 h 1173108"/>
                <a:gd name="connsiteX466" fmla="*/ 320279 w 1570607"/>
                <a:gd name="connsiteY466" fmla="*/ 411509 h 1173108"/>
                <a:gd name="connsiteX467" fmla="*/ 316207 w 1570607"/>
                <a:gd name="connsiteY467" fmla="*/ 411509 h 1173108"/>
                <a:gd name="connsiteX468" fmla="*/ 313274 w 1570607"/>
                <a:gd name="connsiteY468" fmla="*/ 408902 h 1173108"/>
                <a:gd name="connsiteX469" fmla="*/ 310016 w 1570607"/>
                <a:gd name="connsiteY469" fmla="*/ 410368 h 1173108"/>
                <a:gd name="connsiteX470" fmla="*/ 303825 w 1570607"/>
                <a:gd name="connsiteY470" fmla="*/ 411834 h 1173108"/>
                <a:gd name="connsiteX471" fmla="*/ 292585 w 1570607"/>
                <a:gd name="connsiteY471" fmla="*/ 414115 h 1173108"/>
                <a:gd name="connsiteX472" fmla="*/ 284765 w 1570607"/>
                <a:gd name="connsiteY472" fmla="*/ 417210 h 1173108"/>
                <a:gd name="connsiteX473" fmla="*/ 281018 w 1570607"/>
                <a:gd name="connsiteY473" fmla="*/ 417047 h 1173108"/>
                <a:gd name="connsiteX474" fmla="*/ 277923 w 1570607"/>
                <a:gd name="connsiteY474" fmla="*/ 415581 h 1173108"/>
                <a:gd name="connsiteX475" fmla="*/ 273688 w 1570607"/>
                <a:gd name="connsiteY475" fmla="*/ 417373 h 1173108"/>
                <a:gd name="connsiteX476" fmla="*/ 269126 w 1570607"/>
                <a:gd name="connsiteY476" fmla="*/ 421609 h 1173108"/>
                <a:gd name="connsiteX477" fmla="*/ 268963 w 1570607"/>
                <a:gd name="connsiteY477" fmla="*/ 425193 h 1173108"/>
                <a:gd name="connsiteX478" fmla="*/ 273362 w 1570607"/>
                <a:gd name="connsiteY478" fmla="*/ 428614 h 1173108"/>
                <a:gd name="connsiteX479" fmla="*/ 280530 w 1570607"/>
                <a:gd name="connsiteY479" fmla="*/ 428125 h 1173108"/>
                <a:gd name="connsiteX480" fmla="*/ 286395 w 1570607"/>
                <a:gd name="connsiteY480" fmla="*/ 428777 h 1173108"/>
                <a:gd name="connsiteX481" fmla="*/ 286395 w 1570607"/>
                <a:gd name="connsiteY481" fmla="*/ 431221 h 1173108"/>
                <a:gd name="connsiteX482" fmla="*/ 282811 w 1570607"/>
                <a:gd name="connsiteY482" fmla="*/ 434805 h 1173108"/>
                <a:gd name="connsiteX483" fmla="*/ 285254 w 1570607"/>
                <a:gd name="connsiteY483" fmla="*/ 442461 h 1173108"/>
                <a:gd name="connsiteX484" fmla="*/ 285580 w 1570607"/>
                <a:gd name="connsiteY484" fmla="*/ 446208 h 1173108"/>
                <a:gd name="connsiteX485" fmla="*/ 287861 w 1570607"/>
                <a:gd name="connsiteY485" fmla="*/ 449629 h 1173108"/>
                <a:gd name="connsiteX486" fmla="*/ 288838 w 1570607"/>
                <a:gd name="connsiteY486" fmla="*/ 455005 h 1173108"/>
                <a:gd name="connsiteX487" fmla="*/ 293563 w 1570607"/>
                <a:gd name="connsiteY487" fmla="*/ 462662 h 1173108"/>
                <a:gd name="connsiteX488" fmla="*/ 294540 w 1570607"/>
                <a:gd name="connsiteY488" fmla="*/ 466898 h 1173108"/>
                <a:gd name="connsiteX489" fmla="*/ 300079 w 1570607"/>
                <a:gd name="connsiteY489" fmla="*/ 470970 h 1173108"/>
                <a:gd name="connsiteX490" fmla="*/ 302034 w 1570607"/>
                <a:gd name="connsiteY490" fmla="*/ 481397 h 1173108"/>
                <a:gd name="connsiteX491" fmla="*/ 298938 w 1570607"/>
                <a:gd name="connsiteY491" fmla="*/ 484166 h 1173108"/>
                <a:gd name="connsiteX492" fmla="*/ 297309 w 1570607"/>
                <a:gd name="connsiteY492" fmla="*/ 488890 h 1173108"/>
                <a:gd name="connsiteX493" fmla="*/ 301545 w 1570607"/>
                <a:gd name="connsiteY493" fmla="*/ 493778 h 1173108"/>
                <a:gd name="connsiteX494" fmla="*/ 299264 w 1570607"/>
                <a:gd name="connsiteY494" fmla="*/ 495081 h 1173108"/>
                <a:gd name="connsiteX495" fmla="*/ 298613 w 1570607"/>
                <a:gd name="connsiteY495" fmla="*/ 498013 h 1173108"/>
                <a:gd name="connsiteX496" fmla="*/ 293725 w 1570607"/>
                <a:gd name="connsiteY496" fmla="*/ 501271 h 1173108"/>
                <a:gd name="connsiteX497" fmla="*/ 293888 w 1570607"/>
                <a:gd name="connsiteY497" fmla="*/ 507951 h 1173108"/>
                <a:gd name="connsiteX498" fmla="*/ 289164 w 1570607"/>
                <a:gd name="connsiteY498" fmla="*/ 510720 h 1173108"/>
                <a:gd name="connsiteX499" fmla="*/ 277760 w 1570607"/>
                <a:gd name="connsiteY499" fmla="*/ 507788 h 1173108"/>
                <a:gd name="connsiteX500" fmla="*/ 266845 w 1570607"/>
                <a:gd name="connsiteY500" fmla="*/ 495244 h 1173108"/>
                <a:gd name="connsiteX501" fmla="*/ 262284 w 1570607"/>
                <a:gd name="connsiteY501" fmla="*/ 496384 h 1173108"/>
                <a:gd name="connsiteX502" fmla="*/ 251532 w 1570607"/>
                <a:gd name="connsiteY502" fmla="*/ 492149 h 1173108"/>
                <a:gd name="connsiteX503" fmla="*/ 235893 w 1570607"/>
                <a:gd name="connsiteY503" fmla="*/ 491171 h 1173108"/>
                <a:gd name="connsiteX504" fmla="*/ 228236 w 1570607"/>
                <a:gd name="connsiteY504" fmla="*/ 493941 h 1173108"/>
                <a:gd name="connsiteX505" fmla="*/ 215040 w 1570607"/>
                <a:gd name="connsiteY505" fmla="*/ 490519 h 1173108"/>
                <a:gd name="connsiteX506" fmla="*/ 202985 w 1570607"/>
                <a:gd name="connsiteY506" fmla="*/ 493452 h 1173108"/>
                <a:gd name="connsiteX507" fmla="*/ 196631 w 1570607"/>
                <a:gd name="connsiteY507" fmla="*/ 494429 h 1173108"/>
                <a:gd name="connsiteX508" fmla="*/ 190767 w 1570607"/>
                <a:gd name="connsiteY508" fmla="*/ 492474 h 1173108"/>
                <a:gd name="connsiteX509" fmla="*/ 186206 w 1570607"/>
                <a:gd name="connsiteY509" fmla="*/ 496547 h 1173108"/>
                <a:gd name="connsiteX510" fmla="*/ 181318 w 1570607"/>
                <a:gd name="connsiteY510" fmla="*/ 498665 h 1173108"/>
                <a:gd name="connsiteX511" fmla="*/ 167308 w 1570607"/>
                <a:gd name="connsiteY511" fmla="*/ 496710 h 1173108"/>
                <a:gd name="connsiteX512" fmla="*/ 157045 w 1570607"/>
                <a:gd name="connsiteY512" fmla="*/ 493941 h 1173108"/>
                <a:gd name="connsiteX513" fmla="*/ 151668 w 1570607"/>
                <a:gd name="connsiteY513" fmla="*/ 490845 h 1173108"/>
                <a:gd name="connsiteX514" fmla="*/ 143523 w 1570607"/>
                <a:gd name="connsiteY514" fmla="*/ 491008 h 1173108"/>
                <a:gd name="connsiteX515" fmla="*/ 140754 w 1570607"/>
                <a:gd name="connsiteY515" fmla="*/ 492311 h 1173108"/>
                <a:gd name="connsiteX516" fmla="*/ 134726 w 1570607"/>
                <a:gd name="connsiteY516" fmla="*/ 491986 h 1173108"/>
                <a:gd name="connsiteX517" fmla="*/ 130002 w 1570607"/>
                <a:gd name="connsiteY517" fmla="*/ 491008 h 1173108"/>
                <a:gd name="connsiteX518" fmla="*/ 127069 w 1570607"/>
                <a:gd name="connsiteY518" fmla="*/ 492637 h 1173108"/>
                <a:gd name="connsiteX519" fmla="*/ 127558 w 1570607"/>
                <a:gd name="connsiteY519" fmla="*/ 498176 h 1173108"/>
                <a:gd name="connsiteX520" fmla="*/ 129024 w 1570607"/>
                <a:gd name="connsiteY520" fmla="*/ 503878 h 1173108"/>
                <a:gd name="connsiteX521" fmla="*/ 129187 w 1570607"/>
                <a:gd name="connsiteY521" fmla="*/ 510720 h 1173108"/>
                <a:gd name="connsiteX522" fmla="*/ 121204 w 1570607"/>
                <a:gd name="connsiteY522" fmla="*/ 512023 h 1173108"/>
                <a:gd name="connsiteX523" fmla="*/ 105402 w 1570607"/>
                <a:gd name="connsiteY523" fmla="*/ 512349 h 1173108"/>
                <a:gd name="connsiteX524" fmla="*/ 86668 w 1570607"/>
                <a:gd name="connsiteY524" fmla="*/ 510557 h 1173108"/>
                <a:gd name="connsiteX525" fmla="*/ 82106 w 1570607"/>
                <a:gd name="connsiteY525" fmla="*/ 507951 h 1173108"/>
                <a:gd name="connsiteX526" fmla="*/ 73635 w 1570607"/>
                <a:gd name="connsiteY526" fmla="*/ 506810 h 1173108"/>
                <a:gd name="connsiteX527" fmla="*/ 68911 w 1570607"/>
                <a:gd name="connsiteY527" fmla="*/ 512023 h 1173108"/>
                <a:gd name="connsiteX528" fmla="*/ 70703 w 1570607"/>
                <a:gd name="connsiteY528" fmla="*/ 514956 h 1173108"/>
                <a:gd name="connsiteX529" fmla="*/ 65164 w 1570607"/>
                <a:gd name="connsiteY529" fmla="*/ 518703 h 1173108"/>
                <a:gd name="connsiteX530" fmla="*/ 64349 w 1570607"/>
                <a:gd name="connsiteY530" fmla="*/ 520984 h 1173108"/>
                <a:gd name="connsiteX531" fmla="*/ 62720 w 1570607"/>
                <a:gd name="connsiteY531" fmla="*/ 520658 h 1173108"/>
                <a:gd name="connsiteX532" fmla="*/ 66956 w 1570607"/>
                <a:gd name="connsiteY532" fmla="*/ 521309 h 1173108"/>
                <a:gd name="connsiteX533" fmla="*/ 67282 w 1570607"/>
                <a:gd name="connsiteY533" fmla="*/ 526685 h 1173108"/>
                <a:gd name="connsiteX534" fmla="*/ 59136 w 1570607"/>
                <a:gd name="connsiteY534" fmla="*/ 539229 h 1173108"/>
                <a:gd name="connsiteX535" fmla="*/ 55389 w 1570607"/>
                <a:gd name="connsiteY535" fmla="*/ 545583 h 1173108"/>
                <a:gd name="connsiteX536" fmla="*/ 60114 w 1570607"/>
                <a:gd name="connsiteY536" fmla="*/ 548515 h 1173108"/>
                <a:gd name="connsiteX537" fmla="*/ 71517 w 1570607"/>
                <a:gd name="connsiteY537" fmla="*/ 551936 h 1173108"/>
                <a:gd name="connsiteX538" fmla="*/ 76079 w 1570607"/>
                <a:gd name="connsiteY538" fmla="*/ 556335 h 1173108"/>
                <a:gd name="connsiteX539" fmla="*/ 80803 w 1570607"/>
                <a:gd name="connsiteY539" fmla="*/ 557964 h 1173108"/>
                <a:gd name="connsiteX540" fmla="*/ 85202 w 1570607"/>
                <a:gd name="connsiteY540" fmla="*/ 553077 h 1173108"/>
                <a:gd name="connsiteX541" fmla="*/ 85853 w 1570607"/>
                <a:gd name="connsiteY541" fmla="*/ 545909 h 1173108"/>
                <a:gd name="connsiteX542" fmla="*/ 89274 w 1570607"/>
                <a:gd name="connsiteY542" fmla="*/ 546723 h 1173108"/>
                <a:gd name="connsiteX543" fmla="*/ 101818 w 1570607"/>
                <a:gd name="connsiteY543" fmla="*/ 556498 h 1173108"/>
                <a:gd name="connsiteX544" fmla="*/ 103122 w 1570607"/>
                <a:gd name="connsiteY544" fmla="*/ 561711 h 1173108"/>
                <a:gd name="connsiteX545" fmla="*/ 95791 w 1570607"/>
                <a:gd name="connsiteY545" fmla="*/ 569693 h 1173108"/>
                <a:gd name="connsiteX546" fmla="*/ 86993 w 1570607"/>
                <a:gd name="connsiteY546" fmla="*/ 569204 h 1173108"/>
                <a:gd name="connsiteX547" fmla="*/ 74450 w 1570607"/>
                <a:gd name="connsiteY547" fmla="*/ 571160 h 1173108"/>
                <a:gd name="connsiteX548" fmla="*/ 72495 w 1570607"/>
                <a:gd name="connsiteY548" fmla="*/ 567576 h 1173108"/>
                <a:gd name="connsiteX549" fmla="*/ 66956 w 1570607"/>
                <a:gd name="connsiteY549" fmla="*/ 561874 h 1173108"/>
                <a:gd name="connsiteX550" fmla="*/ 58810 w 1570607"/>
                <a:gd name="connsiteY550" fmla="*/ 570182 h 1173108"/>
                <a:gd name="connsiteX551" fmla="*/ 53597 w 1570607"/>
                <a:gd name="connsiteY551" fmla="*/ 569693 h 1173108"/>
                <a:gd name="connsiteX552" fmla="*/ 46918 w 1570607"/>
                <a:gd name="connsiteY552" fmla="*/ 574744 h 1173108"/>
                <a:gd name="connsiteX553" fmla="*/ 40402 w 1570607"/>
                <a:gd name="connsiteY553" fmla="*/ 577024 h 1173108"/>
                <a:gd name="connsiteX554" fmla="*/ 40076 w 1570607"/>
                <a:gd name="connsiteY554" fmla="*/ 583215 h 1173108"/>
                <a:gd name="connsiteX555" fmla="*/ 47895 w 1570607"/>
                <a:gd name="connsiteY555" fmla="*/ 587125 h 1173108"/>
                <a:gd name="connsiteX556" fmla="*/ 47733 w 1570607"/>
                <a:gd name="connsiteY556" fmla="*/ 592175 h 1173108"/>
                <a:gd name="connsiteX557" fmla="*/ 39098 w 1570607"/>
                <a:gd name="connsiteY557" fmla="*/ 595922 h 1173108"/>
                <a:gd name="connsiteX558" fmla="*/ 28020 w 1570607"/>
                <a:gd name="connsiteY558" fmla="*/ 598528 h 1173108"/>
                <a:gd name="connsiteX559" fmla="*/ 30301 w 1570607"/>
                <a:gd name="connsiteY559" fmla="*/ 600483 h 1173108"/>
                <a:gd name="connsiteX560" fmla="*/ 31931 w 1570607"/>
                <a:gd name="connsiteY560" fmla="*/ 604556 h 1173108"/>
                <a:gd name="connsiteX561" fmla="*/ 21993 w 1570607"/>
                <a:gd name="connsiteY561" fmla="*/ 608140 h 1173108"/>
                <a:gd name="connsiteX562" fmla="*/ 21178 w 1570607"/>
                <a:gd name="connsiteY562" fmla="*/ 614005 h 1173108"/>
                <a:gd name="connsiteX563" fmla="*/ 16617 w 1570607"/>
                <a:gd name="connsiteY563" fmla="*/ 615308 h 1173108"/>
                <a:gd name="connsiteX564" fmla="*/ 5213 w 1570607"/>
                <a:gd name="connsiteY564" fmla="*/ 613516 h 1173108"/>
                <a:gd name="connsiteX565" fmla="*/ 0 w 1570607"/>
                <a:gd name="connsiteY565" fmla="*/ 617589 h 1173108"/>
                <a:gd name="connsiteX566" fmla="*/ 163 w 1570607"/>
                <a:gd name="connsiteY566" fmla="*/ 625571 h 1173108"/>
                <a:gd name="connsiteX567" fmla="*/ 6842 w 1570607"/>
                <a:gd name="connsiteY567" fmla="*/ 635183 h 1173108"/>
                <a:gd name="connsiteX568" fmla="*/ 11241 w 1570607"/>
                <a:gd name="connsiteY568" fmla="*/ 632739 h 1173108"/>
                <a:gd name="connsiteX569" fmla="*/ 18409 w 1570607"/>
                <a:gd name="connsiteY569" fmla="*/ 632576 h 1173108"/>
                <a:gd name="connsiteX570" fmla="*/ 19712 w 1570607"/>
                <a:gd name="connsiteY570" fmla="*/ 638278 h 1173108"/>
                <a:gd name="connsiteX571" fmla="*/ 17431 w 1570607"/>
                <a:gd name="connsiteY571" fmla="*/ 643491 h 1173108"/>
                <a:gd name="connsiteX572" fmla="*/ 20201 w 1570607"/>
                <a:gd name="connsiteY572" fmla="*/ 650659 h 1173108"/>
                <a:gd name="connsiteX573" fmla="*/ 25251 w 1570607"/>
                <a:gd name="connsiteY573" fmla="*/ 652777 h 1173108"/>
                <a:gd name="connsiteX574" fmla="*/ 26066 w 1570607"/>
                <a:gd name="connsiteY574" fmla="*/ 659782 h 1173108"/>
                <a:gd name="connsiteX575" fmla="*/ 23622 w 1570607"/>
                <a:gd name="connsiteY575" fmla="*/ 662714 h 1173108"/>
                <a:gd name="connsiteX576" fmla="*/ 18246 w 1570607"/>
                <a:gd name="connsiteY576" fmla="*/ 675259 h 1173108"/>
                <a:gd name="connsiteX577" fmla="*/ 16454 w 1570607"/>
                <a:gd name="connsiteY577" fmla="*/ 691386 h 1173108"/>
                <a:gd name="connsiteX578" fmla="*/ 14173 w 1570607"/>
                <a:gd name="connsiteY578" fmla="*/ 688617 h 1173108"/>
                <a:gd name="connsiteX579" fmla="*/ 19712 w 1570607"/>
                <a:gd name="connsiteY579" fmla="*/ 695785 h 1173108"/>
                <a:gd name="connsiteX580" fmla="*/ 23622 w 1570607"/>
                <a:gd name="connsiteY580" fmla="*/ 697414 h 1173108"/>
                <a:gd name="connsiteX581" fmla="*/ 32093 w 1570607"/>
                <a:gd name="connsiteY581" fmla="*/ 695622 h 1173108"/>
                <a:gd name="connsiteX582" fmla="*/ 37632 w 1570607"/>
                <a:gd name="connsiteY582" fmla="*/ 692527 h 1173108"/>
                <a:gd name="connsiteX583" fmla="*/ 40402 w 1570607"/>
                <a:gd name="connsiteY583" fmla="*/ 688454 h 1173108"/>
                <a:gd name="connsiteX584" fmla="*/ 43334 w 1570607"/>
                <a:gd name="connsiteY584" fmla="*/ 687802 h 1173108"/>
                <a:gd name="connsiteX585" fmla="*/ 46266 w 1570607"/>
                <a:gd name="connsiteY585" fmla="*/ 685033 h 1173108"/>
                <a:gd name="connsiteX586" fmla="*/ 48873 w 1570607"/>
                <a:gd name="connsiteY586" fmla="*/ 686988 h 1173108"/>
                <a:gd name="connsiteX587" fmla="*/ 51642 w 1570607"/>
                <a:gd name="connsiteY587" fmla="*/ 690572 h 1173108"/>
                <a:gd name="connsiteX588" fmla="*/ 60440 w 1570607"/>
                <a:gd name="connsiteY588" fmla="*/ 691386 h 1173108"/>
                <a:gd name="connsiteX589" fmla="*/ 60277 w 1570607"/>
                <a:gd name="connsiteY589" fmla="*/ 687314 h 1173108"/>
                <a:gd name="connsiteX590" fmla="*/ 57833 w 1570607"/>
                <a:gd name="connsiteY590" fmla="*/ 684870 h 1173108"/>
                <a:gd name="connsiteX591" fmla="*/ 58322 w 1570607"/>
                <a:gd name="connsiteY591" fmla="*/ 681449 h 1173108"/>
                <a:gd name="connsiteX592" fmla="*/ 63861 w 1570607"/>
                <a:gd name="connsiteY592" fmla="*/ 679983 h 1173108"/>
                <a:gd name="connsiteX593" fmla="*/ 65815 w 1570607"/>
                <a:gd name="connsiteY593" fmla="*/ 677213 h 1173108"/>
                <a:gd name="connsiteX594" fmla="*/ 68422 w 1570607"/>
                <a:gd name="connsiteY594" fmla="*/ 677213 h 1173108"/>
                <a:gd name="connsiteX595" fmla="*/ 69074 w 1570607"/>
                <a:gd name="connsiteY595" fmla="*/ 679983 h 1173108"/>
                <a:gd name="connsiteX596" fmla="*/ 74613 w 1570607"/>
                <a:gd name="connsiteY596" fmla="*/ 679331 h 1173108"/>
                <a:gd name="connsiteX597" fmla="*/ 78197 w 1570607"/>
                <a:gd name="connsiteY597" fmla="*/ 673792 h 1173108"/>
                <a:gd name="connsiteX598" fmla="*/ 76893 w 1570607"/>
                <a:gd name="connsiteY598" fmla="*/ 666787 h 1173108"/>
                <a:gd name="connsiteX599" fmla="*/ 79174 w 1570607"/>
                <a:gd name="connsiteY599" fmla="*/ 663366 h 1173108"/>
                <a:gd name="connsiteX600" fmla="*/ 82269 w 1570607"/>
                <a:gd name="connsiteY600" fmla="*/ 660597 h 1173108"/>
                <a:gd name="connsiteX601" fmla="*/ 83084 w 1570607"/>
                <a:gd name="connsiteY601" fmla="*/ 653266 h 1173108"/>
                <a:gd name="connsiteX602" fmla="*/ 85690 w 1570607"/>
                <a:gd name="connsiteY602" fmla="*/ 648541 h 1173108"/>
                <a:gd name="connsiteX603" fmla="*/ 91881 w 1570607"/>
                <a:gd name="connsiteY603" fmla="*/ 648541 h 1173108"/>
                <a:gd name="connsiteX604" fmla="*/ 96279 w 1570607"/>
                <a:gd name="connsiteY604" fmla="*/ 651800 h 1173108"/>
                <a:gd name="connsiteX605" fmla="*/ 100841 w 1570607"/>
                <a:gd name="connsiteY605" fmla="*/ 654080 h 1173108"/>
                <a:gd name="connsiteX606" fmla="*/ 100841 w 1570607"/>
                <a:gd name="connsiteY606" fmla="*/ 658153 h 1173108"/>
                <a:gd name="connsiteX607" fmla="*/ 99700 w 1570607"/>
                <a:gd name="connsiteY607" fmla="*/ 664018 h 1173108"/>
                <a:gd name="connsiteX608" fmla="*/ 101167 w 1570607"/>
                <a:gd name="connsiteY608" fmla="*/ 668905 h 1173108"/>
                <a:gd name="connsiteX609" fmla="*/ 105402 w 1570607"/>
                <a:gd name="connsiteY609" fmla="*/ 668742 h 1173108"/>
                <a:gd name="connsiteX610" fmla="*/ 107357 w 1570607"/>
                <a:gd name="connsiteY610" fmla="*/ 673466 h 1173108"/>
                <a:gd name="connsiteX611" fmla="*/ 106868 w 1570607"/>
                <a:gd name="connsiteY611" fmla="*/ 679983 h 1173108"/>
                <a:gd name="connsiteX612" fmla="*/ 107683 w 1570607"/>
                <a:gd name="connsiteY612" fmla="*/ 685033 h 1173108"/>
                <a:gd name="connsiteX613" fmla="*/ 108009 w 1570607"/>
                <a:gd name="connsiteY613" fmla="*/ 694970 h 1173108"/>
                <a:gd name="connsiteX614" fmla="*/ 111919 w 1570607"/>
                <a:gd name="connsiteY614" fmla="*/ 700184 h 1173108"/>
                <a:gd name="connsiteX615" fmla="*/ 111919 w 1570607"/>
                <a:gd name="connsiteY615" fmla="*/ 703768 h 1173108"/>
                <a:gd name="connsiteX616" fmla="*/ 116480 w 1570607"/>
                <a:gd name="connsiteY616" fmla="*/ 705560 h 1173108"/>
                <a:gd name="connsiteX617" fmla="*/ 122997 w 1570607"/>
                <a:gd name="connsiteY617" fmla="*/ 705560 h 1173108"/>
                <a:gd name="connsiteX618" fmla="*/ 127395 w 1570607"/>
                <a:gd name="connsiteY618" fmla="*/ 702138 h 1173108"/>
                <a:gd name="connsiteX619" fmla="*/ 128372 w 1570607"/>
                <a:gd name="connsiteY619" fmla="*/ 699695 h 1173108"/>
                <a:gd name="connsiteX620" fmla="*/ 137170 w 1570607"/>
                <a:gd name="connsiteY620" fmla="*/ 695622 h 1173108"/>
                <a:gd name="connsiteX621" fmla="*/ 141242 w 1570607"/>
                <a:gd name="connsiteY621" fmla="*/ 691875 h 1173108"/>
                <a:gd name="connsiteX622" fmla="*/ 142383 w 1570607"/>
                <a:gd name="connsiteY622" fmla="*/ 687151 h 1173108"/>
                <a:gd name="connsiteX623" fmla="*/ 145804 w 1570607"/>
                <a:gd name="connsiteY623" fmla="*/ 684219 h 1173108"/>
                <a:gd name="connsiteX624" fmla="*/ 157370 w 1570607"/>
                <a:gd name="connsiteY624" fmla="*/ 676725 h 1173108"/>
                <a:gd name="connsiteX625" fmla="*/ 164701 w 1570607"/>
                <a:gd name="connsiteY625" fmla="*/ 675095 h 1173108"/>
                <a:gd name="connsiteX626" fmla="*/ 166004 w 1570607"/>
                <a:gd name="connsiteY626" fmla="*/ 680471 h 1173108"/>
                <a:gd name="connsiteX627" fmla="*/ 175616 w 1570607"/>
                <a:gd name="connsiteY627" fmla="*/ 679331 h 1173108"/>
                <a:gd name="connsiteX628" fmla="*/ 179038 w 1570607"/>
                <a:gd name="connsiteY628" fmla="*/ 675259 h 1173108"/>
                <a:gd name="connsiteX629" fmla="*/ 189789 w 1570607"/>
                <a:gd name="connsiteY629" fmla="*/ 675259 h 1173108"/>
                <a:gd name="connsiteX630" fmla="*/ 191093 w 1570607"/>
                <a:gd name="connsiteY630" fmla="*/ 679657 h 1173108"/>
                <a:gd name="connsiteX631" fmla="*/ 183273 w 1570607"/>
                <a:gd name="connsiteY631" fmla="*/ 686173 h 1173108"/>
                <a:gd name="connsiteX632" fmla="*/ 187346 w 1570607"/>
                <a:gd name="connsiteY632" fmla="*/ 687314 h 1173108"/>
                <a:gd name="connsiteX633" fmla="*/ 182133 w 1570607"/>
                <a:gd name="connsiteY633" fmla="*/ 696274 h 1173108"/>
                <a:gd name="connsiteX634" fmla="*/ 170729 w 1570607"/>
                <a:gd name="connsiteY634" fmla="*/ 700998 h 1173108"/>
                <a:gd name="connsiteX635" fmla="*/ 152646 w 1570607"/>
                <a:gd name="connsiteY635" fmla="*/ 704745 h 1173108"/>
                <a:gd name="connsiteX636" fmla="*/ 154275 w 1570607"/>
                <a:gd name="connsiteY636" fmla="*/ 708981 h 1173108"/>
                <a:gd name="connsiteX637" fmla="*/ 141894 w 1570607"/>
                <a:gd name="connsiteY637" fmla="*/ 717289 h 1173108"/>
                <a:gd name="connsiteX638" fmla="*/ 143034 w 1570607"/>
                <a:gd name="connsiteY638" fmla="*/ 727389 h 1173108"/>
                <a:gd name="connsiteX639" fmla="*/ 146781 w 1570607"/>
                <a:gd name="connsiteY639" fmla="*/ 730973 h 1173108"/>
                <a:gd name="connsiteX640" fmla="*/ 150365 w 1570607"/>
                <a:gd name="connsiteY640" fmla="*/ 729507 h 1173108"/>
                <a:gd name="connsiteX641" fmla="*/ 155579 w 1570607"/>
                <a:gd name="connsiteY641" fmla="*/ 727715 h 1173108"/>
                <a:gd name="connsiteX642" fmla="*/ 160791 w 1570607"/>
                <a:gd name="connsiteY642" fmla="*/ 734069 h 1173108"/>
                <a:gd name="connsiteX643" fmla="*/ 167797 w 1570607"/>
                <a:gd name="connsiteY643" fmla="*/ 739933 h 1173108"/>
                <a:gd name="connsiteX644" fmla="*/ 174476 w 1570607"/>
                <a:gd name="connsiteY644" fmla="*/ 744006 h 1173108"/>
                <a:gd name="connsiteX645" fmla="*/ 175942 w 1570607"/>
                <a:gd name="connsiteY645" fmla="*/ 749219 h 1173108"/>
                <a:gd name="connsiteX646" fmla="*/ 183436 w 1570607"/>
                <a:gd name="connsiteY646" fmla="*/ 751174 h 1173108"/>
                <a:gd name="connsiteX647" fmla="*/ 183599 w 1570607"/>
                <a:gd name="connsiteY647" fmla="*/ 757528 h 1173108"/>
                <a:gd name="connsiteX648" fmla="*/ 176431 w 1570607"/>
                <a:gd name="connsiteY648" fmla="*/ 762089 h 1173108"/>
                <a:gd name="connsiteX649" fmla="*/ 175616 w 1570607"/>
                <a:gd name="connsiteY649" fmla="*/ 767465 h 1173108"/>
                <a:gd name="connsiteX650" fmla="*/ 171381 w 1570607"/>
                <a:gd name="connsiteY650" fmla="*/ 769257 h 1173108"/>
                <a:gd name="connsiteX651" fmla="*/ 171543 w 1570607"/>
                <a:gd name="connsiteY651" fmla="*/ 777240 h 1173108"/>
                <a:gd name="connsiteX652" fmla="*/ 176268 w 1570607"/>
                <a:gd name="connsiteY652" fmla="*/ 784733 h 1173108"/>
                <a:gd name="connsiteX653" fmla="*/ 180177 w 1570607"/>
                <a:gd name="connsiteY653" fmla="*/ 802002 h 1173108"/>
                <a:gd name="connsiteX654" fmla="*/ 181481 w 1570607"/>
                <a:gd name="connsiteY654" fmla="*/ 809659 h 1173108"/>
                <a:gd name="connsiteX655" fmla="*/ 190767 w 1570607"/>
                <a:gd name="connsiteY655" fmla="*/ 817967 h 1173108"/>
                <a:gd name="connsiteX656" fmla="*/ 200379 w 1570607"/>
                <a:gd name="connsiteY656" fmla="*/ 820248 h 1173108"/>
                <a:gd name="connsiteX657" fmla="*/ 209338 w 1570607"/>
                <a:gd name="connsiteY657" fmla="*/ 823994 h 1173108"/>
                <a:gd name="connsiteX658" fmla="*/ 212434 w 1570607"/>
                <a:gd name="connsiteY658" fmla="*/ 830511 h 1173108"/>
                <a:gd name="connsiteX659" fmla="*/ 220253 w 1570607"/>
                <a:gd name="connsiteY659" fmla="*/ 832303 h 1173108"/>
                <a:gd name="connsiteX660" fmla="*/ 226281 w 1570607"/>
                <a:gd name="connsiteY660" fmla="*/ 829859 h 1173108"/>
                <a:gd name="connsiteX661" fmla="*/ 232797 w 1570607"/>
                <a:gd name="connsiteY661" fmla="*/ 831325 h 1173108"/>
                <a:gd name="connsiteX662" fmla="*/ 233449 w 1570607"/>
                <a:gd name="connsiteY662" fmla="*/ 836864 h 1173108"/>
                <a:gd name="connsiteX663" fmla="*/ 228399 w 1570607"/>
                <a:gd name="connsiteY663" fmla="*/ 842566 h 1173108"/>
                <a:gd name="connsiteX664" fmla="*/ 234915 w 1570607"/>
                <a:gd name="connsiteY664" fmla="*/ 835235 h 1173108"/>
                <a:gd name="connsiteX665" fmla="*/ 242572 w 1570607"/>
                <a:gd name="connsiteY665" fmla="*/ 822691 h 1173108"/>
                <a:gd name="connsiteX666" fmla="*/ 250066 w 1570607"/>
                <a:gd name="connsiteY666" fmla="*/ 815849 h 1173108"/>
                <a:gd name="connsiteX667" fmla="*/ 256582 w 1570607"/>
                <a:gd name="connsiteY667" fmla="*/ 815523 h 1173108"/>
                <a:gd name="connsiteX668" fmla="*/ 259840 w 1570607"/>
                <a:gd name="connsiteY668" fmla="*/ 809495 h 1173108"/>
                <a:gd name="connsiteX669" fmla="*/ 265216 w 1570607"/>
                <a:gd name="connsiteY669" fmla="*/ 809495 h 1173108"/>
                <a:gd name="connsiteX670" fmla="*/ 279227 w 1570607"/>
                <a:gd name="connsiteY670" fmla="*/ 818781 h 1173108"/>
                <a:gd name="connsiteX671" fmla="*/ 286557 w 1570607"/>
                <a:gd name="connsiteY671" fmla="*/ 814872 h 1173108"/>
                <a:gd name="connsiteX672" fmla="*/ 293563 w 1570607"/>
                <a:gd name="connsiteY672" fmla="*/ 817641 h 1173108"/>
                <a:gd name="connsiteX673" fmla="*/ 296169 w 1570607"/>
                <a:gd name="connsiteY673" fmla="*/ 824483 h 1173108"/>
                <a:gd name="connsiteX674" fmla="*/ 302685 w 1570607"/>
                <a:gd name="connsiteY674" fmla="*/ 824157 h 1173108"/>
                <a:gd name="connsiteX675" fmla="*/ 312949 w 1570607"/>
                <a:gd name="connsiteY675" fmla="*/ 830674 h 1173108"/>
                <a:gd name="connsiteX676" fmla="*/ 313111 w 1570607"/>
                <a:gd name="connsiteY676" fmla="*/ 830511 h 1173108"/>
                <a:gd name="connsiteX677" fmla="*/ 314741 w 1570607"/>
                <a:gd name="connsiteY677" fmla="*/ 833769 h 1173108"/>
                <a:gd name="connsiteX678" fmla="*/ 315066 w 1570607"/>
                <a:gd name="connsiteY678" fmla="*/ 838005 h 1173108"/>
                <a:gd name="connsiteX679" fmla="*/ 321909 w 1570607"/>
                <a:gd name="connsiteY679" fmla="*/ 841589 h 1173108"/>
                <a:gd name="connsiteX680" fmla="*/ 320768 w 1570607"/>
                <a:gd name="connsiteY680" fmla="*/ 851526 h 1173108"/>
                <a:gd name="connsiteX681" fmla="*/ 323538 w 1570607"/>
                <a:gd name="connsiteY681" fmla="*/ 856251 h 1173108"/>
                <a:gd name="connsiteX682" fmla="*/ 321909 w 1570607"/>
                <a:gd name="connsiteY682" fmla="*/ 859346 h 1173108"/>
                <a:gd name="connsiteX683" fmla="*/ 324678 w 1570607"/>
                <a:gd name="connsiteY683" fmla="*/ 861301 h 1173108"/>
                <a:gd name="connsiteX684" fmla="*/ 327773 w 1570607"/>
                <a:gd name="connsiteY684" fmla="*/ 865699 h 1173108"/>
                <a:gd name="connsiteX685" fmla="*/ 327773 w 1570607"/>
                <a:gd name="connsiteY685" fmla="*/ 869446 h 1173108"/>
                <a:gd name="connsiteX686" fmla="*/ 330217 w 1570607"/>
                <a:gd name="connsiteY686" fmla="*/ 870261 h 1173108"/>
                <a:gd name="connsiteX687" fmla="*/ 331846 w 1570607"/>
                <a:gd name="connsiteY687" fmla="*/ 875800 h 1173108"/>
                <a:gd name="connsiteX688" fmla="*/ 337548 w 1570607"/>
                <a:gd name="connsiteY688" fmla="*/ 878569 h 1173108"/>
                <a:gd name="connsiteX689" fmla="*/ 340643 w 1570607"/>
                <a:gd name="connsiteY689" fmla="*/ 873682 h 1173108"/>
                <a:gd name="connsiteX690" fmla="*/ 346345 w 1570607"/>
                <a:gd name="connsiteY690" fmla="*/ 874008 h 1173108"/>
                <a:gd name="connsiteX691" fmla="*/ 348625 w 1570607"/>
                <a:gd name="connsiteY691" fmla="*/ 876777 h 1173108"/>
                <a:gd name="connsiteX692" fmla="*/ 354490 w 1570607"/>
                <a:gd name="connsiteY692" fmla="*/ 877592 h 1173108"/>
                <a:gd name="connsiteX693" fmla="*/ 359541 w 1570607"/>
                <a:gd name="connsiteY693" fmla="*/ 882968 h 1173108"/>
                <a:gd name="connsiteX694" fmla="*/ 363450 w 1570607"/>
                <a:gd name="connsiteY694" fmla="*/ 884271 h 1173108"/>
                <a:gd name="connsiteX695" fmla="*/ 366383 w 1570607"/>
                <a:gd name="connsiteY695" fmla="*/ 890299 h 1173108"/>
                <a:gd name="connsiteX696" fmla="*/ 370781 w 1570607"/>
                <a:gd name="connsiteY696" fmla="*/ 891113 h 1173108"/>
                <a:gd name="connsiteX697" fmla="*/ 372573 w 1570607"/>
                <a:gd name="connsiteY697" fmla="*/ 895349 h 1173108"/>
                <a:gd name="connsiteX698" fmla="*/ 373062 w 1570607"/>
                <a:gd name="connsiteY698" fmla="*/ 894697 h 1173108"/>
                <a:gd name="connsiteX699" fmla="*/ 373714 w 1570607"/>
                <a:gd name="connsiteY699" fmla="*/ 903657 h 1173108"/>
                <a:gd name="connsiteX700" fmla="*/ 369641 w 1570607"/>
                <a:gd name="connsiteY700" fmla="*/ 917341 h 1173108"/>
                <a:gd name="connsiteX701" fmla="*/ 369641 w 1570607"/>
                <a:gd name="connsiteY701" fmla="*/ 925813 h 1173108"/>
                <a:gd name="connsiteX702" fmla="*/ 363776 w 1570607"/>
                <a:gd name="connsiteY702" fmla="*/ 934610 h 1173108"/>
                <a:gd name="connsiteX703" fmla="*/ 365243 w 1570607"/>
                <a:gd name="connsiteY703" fmla="*/ 940963 h 1173108"/>
                <a:gd name="connsiteX704" fmla="*/ 370781 w 1570607"/>
                <a:gd name="connsiteY704" fmla="*/ 941615 h 1173108"/>
                <a:gd name="connsiteX705" fmla="*/ 375180 w 1570607"/>
                <a:gd name="connsiteY705" fmla="*/ 945199 h 1173108"/>
                <a:gd name="connsiteX706" fmla="*/ 379741 w 1570607"/>
                <a:gd name="connsiteY706" fmla="*/ 945362 h 1173108"/>
                <a:gd name="connsiteX707" fmla="*/ 384140 w 1570607"/>
                <a:gd name="connsiteY707" fmla="*/ 948620 h 1173108"/>
                <a:gd name="connsiteX708" fmla="*/ 393263 w 1570607"/>
                <a:gd name="connsiteY708" fmla="*/ 951227 h 1173108"/>
                <a:gd name="connsiteX709" fmla="*/ 404992 w 1570607"/>
                <a:gd name="connsiteY709" fmla="*/ 958883 h 1173108"/>
                <a:gd name="connsiteX710" fmla="*/ 412812 w 1570607"/>
                <a:gd name="connsiteY710" fmla="*/ 968495 h 1173108"/>
                <a:gd name="connsiteX711" fmla="*/ 422749 w 1570607"/>
                <a:gd name="connsiteY711" fmla="*/ 970613 h 1173108"/>
                <a:gd name="connsiteX712" fmla="*/ 427637 w 1570607"/>
                <a:gd name="connsiteY712" fmla="*/ 974034 h 1173108"/>
                <a:gd name="connsiteX713" fmla="*/ 434642 w 1570607"/>
                <a:gd name="connsiteY713" fmla="*/ 974034 h 1173108"/>
                <a:gd name="connsiteX714" fmla="*/ 443113 w 1570607"/>
                <a:gd name="connsiteY714" fmla="*/ 979573 h 1173108"/>
                <a:gd name="connsiteX715" fmla="*/ 455983 w 1570607"/>
                <a:gd name="connsiteY715" fmla="*/ 978595 h 1173108"/>
                <a:gd name="connsiteX716" fmla="*/ 460381 w 1570607"/>
                <a:gd name="connsiteY716" fmla="*/ 982668 h 1173108"/>
                <a:gd name="connsiteX717" fmla="*/ 473740 w 1570607"/>
                <a:gd name="connsiteY717" fmla="*/ 978921 h 1173108"/>
                <a:gd name="connsiteX718" fmla="*/ 485958 w 1570607"/>
                <a:gd name="connsiteY718" fmla="*/ 981853 h 1173108"/>
                <a:gd name="connsiteX719" fmla="*/ 487424 w 1570607"/>
                <a:gd name="connsiteY719" fmla="*/ 988533 h 1173108"/>
                <a:gd name="connsiteX720" fmla="*/ 494104 w 1570607"/>
                <a:gd name="connsiteY720" fmla="*/ 994397 h 1173108"/>
                <a:gd name="connsiteX721" fmla="*/ 507625 w 1570607"/>
                <a:gd name="connsiteY721" fmla="*/ 998144 h 1173108"/>
                <a:gd name="connsiteX722" fmla="*/ 512513 w 1570607"/>
                <a:gd name="connsiteY722" fmla="*/ 995538 h 1173108"/>
                <a:gd name="connsiteX723" fmla="*/ 521309 w 1570607"/>
                <a:gd name="connsiteY723" fmla="*/ 995212 h 1173108"/>
                <a:gd name="connsiteX724" fmla="*/ 543465 w 1570607"/>
                <a:gd name="connsiteY724" fmla="*/ 1003194 h 1173108"/>
                <a:gd name="connsiteX725" fmla="*/ 549004 w 1570607"/>
                <a:gd name="connsiteY725" fmla="*/ 1000262 h 1173108"/>
                <a:gd name="connsiteX726" fmla="*/ 558616 w 1570607"/>
                <a:gd name="connsiteY726" fmla="*/ 1005475 h 1173108"/>
                <a:gd name="connsiteX727" fmla="*/ 574418 w 1570607"/>
                <a:gd name="connsiteY727" fmla="*/ 1002217 h 1173108"/>
                <a:gd name="connsiteX728" fmla="*/ 576373 w 1570607"/>
                <a:gd name="connsiteY728" fmla="*/ 990325 h 1173108"/>
                <a:gd name="connsiteX729" fmla="*/ 571486 w 1570607"/>
                <a:gd name="connsiteY729" fmla="*/ 980387 h 1173108"/>
                <a:gd name="connsiteX730" fmla="*/ 573766 w 1570607"/>
                <a:gd name="connsiteY730" fmla="*/ 968169 h 1173108"/>
                <a:gd name="connsiteX731" fmla="*/ 572137 w 1570607"/>
                <a:gd name="connsiteY731" fmla="*/ 962793 h 1173108"/>
                <a:gd name="connsiteX732" fmla="*/ 572789 w 1570607"/>
                <a:gd name="connsiteY732" fmla="*/ 962793 h 1173108"/>
                <a:gd name="connsiteX733" fmla="*/ 577350 w 1570607"/>
                <a:gd name="connsiteY733" fmla="*/ 958720 h 1173108"/>
                <a:gd name="connsiteX734" fmla="*/ 583215 w 1570607"/>
                <a:gd name="connsiteY734" fmla="*/ 957906 h 1173108"/>
                <a:gd name="connsiteX735" fmla="*/ 586147 w 1570607"/>
                <a:gd name="connsiteY735" fmla="*/ 963282 h 1173108"/>
                <a:gd name="connsiteX736" fmla="*/ 586473 w 1570607"/>
                <a:gd name="connsiteY736" fmla="*/ 969798 h 1173108"/>
                <a:gd name="connsiteX737" fmla="*/ 591523 w 1570607"/>
                <a:gd name="connsiteY737" fmla="*/ 973382 h 1173108"/>
                <a:gd name="connsiteX738" fmla="*/ 591849 w 1570607"/>
                <a:gd name="connsiteY738" fmla="*/ 973219 h 1173108"/>
                <a:gd name="connsiteX739" fmla="*/ 591197 w 1570607"/>
                <a:gd name="connsiteY739" fmla="*/ 979084 h 1173108"/>
                <a:gd name="connsiteX740" fmla="*/ 589243 w 1570607"/>
                <a:gd name="connsiteY740" fmla="*/ 983320 h 1173108"/>
                <a:gd name="connsiteX741" fmla="*/ 594293 w 1570607"/>
                <a:gd name="connsiteY741" fmla="*/ 991302 h 1173108"/>
                <a:gd name="connsiteX742" fmla="*/ 602927 w 1570607"/>
                <a:gd name="connsiteY742" fmla="*/ 993094 h 1173108"/>
                <a:gd name="connsiteX743" fmla="*/ 606511 w 1570607"/>
                <a:gd name="connsiteY743" fmla="*/ 990976 h 1173108"/>
                <a:gd name="connsiteX744" fmla="*/ 619055 w 1570607"/>
                <a:gd name="connsiteY744" fmla="*/ 998144 h 1173108"/>
                <a:gd name="connsiteX745" fmla="*/ 625734 w 1570607"/>
                <a:gd name="connsiteY745" fmla="*/ 998144 h 1173108"/>
                <a:gd name="connsiteX746" fmla="*/ 630947 w 1570607"/>
                <a:gd name="connsiteY746" fmla="*/ 991791 h 1173108"/>
                <a:gd name="connsiteX747" fmla="*/ 636649 w 1570607"/>
                <a:gd name="connsiteY747" fmla="*/ 991139 h 1173108"/>
                <a:gd name="connsiteX748" fmla="*/ 642025 w 1570607"/>
                <a:gd name="connsiteY748" fmla="*/ 993583 h 1173108"/>
                <a:gd name="connsiteX749" fmla="*/ 651148 w 1570607"/>
                <a:gd name="connsiteY749" fmla="*/ 990976 h 1173108"/>
                <a:gd name="connsiteX750" fmla="*/ 658153 w 1570607"/>
                <a:gd name="connsiteY750" fmla="*/ 991302 h 1173108"/>
                <a:gd name="connsiteX751" fmla="*/ 668579 w 1570607"/>
                <a:gd name="connsiteY751" fmla="*/ 988044 h 1173108"/>
                <a:gd name="connsiteX752" fmla="*/ 668416 w 1570607"/>
                <a:gd name="connsiteY752" fmla="*/ 983971 h 1173108"/>
                <a:gd name="connsiteX753" fmla="*/ 668416 w 1570607"/>
                <a:gd name="connsiteY753" fmla="*/ 976803 h 1173108"/>
                <a:gd name="connsiteX754" fmla="*/ 660434 w 1570607"/>
                <a:gd name="connsiteY754" fmla="*/ 973219 h 1173108"/>
                <a:gd name="connsiteX755" fmla="*/ 659782 w 1570607"/>
                <a:gd name="connsiteY755" fmla="*/ 968169 h 1173108"/>
                <a:gd name="connsiteX756" fmla="*/ 661411 w 1570607"/>
                <a:gd name="connsiteY756" fmla="*/ 961978 h 1173108"/>
                <a:gd name="connsiteX757" fmla="*/ 664832 w 1570607"/>
                <a:gd name="connsiteY757" fmla="*/ 961653 h 1173108"/>
                <a:gd name="connsiteX758" fmla="*/ 674281 w 1570607"/>
                <a:gd name="connsiteY758" fmla="*/ 959372 h 1173108"/>
                <a:gd name="connsiteX759" fmla="*/ 678354 w 1570607"/>
                <a:gd name="connsiteY759" fmla="*/ 959046 h 1173108"/>
                <a:gd name="connsiteX760" fmla="*/ 680961 w 1570607"/>
                <a:gd name="connsiteY760" fmla="*/ 952856 h 1173108"/>
                <a:gd name="connsiteX761" fmla="*/ 684707 w 1570607"/>
                <a:gd name="connsiteY761" fmla="*/ 950086 h 1173108"/>
                <a:gd name="connsiteX762" fmla="*/ 688780 w 1570607"/>
                <a:gd name="connsiteY762" fmla="*/ 951389 h 1173108"/>
                <a:gd name="connsiteX763" fmla="*/ 688780 w 1570607"/>
                <a:gd name="connsiteY763" fmla="*/ 947968 h 1173108"/>
                <a:gd name="connsiteX764" fmla="*/ 694156 w 1570607"/>
                <a:gd name="connsiteY764" fmla="*/ 946502 h 1173108"/>
                <a:gd name="connsiteX765" fmla="*/ 695948 w 1570607"/>
                <a:gd name="connsiteY765" fmla="*/ 941289 h 1173108"/>
                <a:gd name="connsiteX766" fmla="*/ 700184 w 1570607"/>
                <a:gd name="connsiteY766" fmla="*/ 935913 h 1173108"/>
                <a:gd name="connsiteX767" fmla="*/ 705723 w 1570607"/>
                <a:gd name="connsiteY767" fmla="*/ 935099 h 1173108"/>
                <a:gd name="connsiteX768" fmla="*/ 715171 w 1570607"/>
                <a:gd name="connsiteY768" fmla="*/ 932981 h 1173108"/>
                <a:gd name="connsiteX769" fmla="*/ 720873 w 1570607"/>
                <a:gd name="connsiteY769" fmla="*/ 925650 h 1173108"/>
                <a:gd name="connsiteX770" fmla="*/ 720547 w 1570607"/>
                <a:gd name="connsiteY770" fmla="*/ 920274 h 1173108"/>
                <a:gd name="connsiteX771" fmla="*/ 724131 w 1570607"/>
                <a:gd name="connsiteY771" fmla="*/ 919459 h 1173108"/>
                <a:gd name="connsiteX772" fmla="*/ 729833 w 1570607"/>
                <a:gd name="connsiteY772" fmla="*/ 915386 h 1173108"/>
                <a:gd name="connsiteX773" fmla="*/ 734557 w 1570607"/>
                <a:gd name="connsiteY773" fmla="*/ 922066 h 1173108"/>
                <a:gd name="connsiteX774" fmla="*/ 741074 w 1570607"/>
                <a:gd name="connsiteY774" fmla="*/ 920274 h 1173108"/>
                <a:gd name="connsiteX775" fmla="*/ 750848 w 1570607"/>
                <a:gd name="connsiteY775" fmla="*/ 923369 h 1173108"/>
                <a:gd name="connsiteX776" fmla="*/ 753618 w 1570607"/>
                <a:gd name="connsiteY776" fmla="*/ 920762 h 1173108"/>
                <a:gd name="connsiteX777" fmla="*/ 752966 w 1570607"/>
                <a:gd name="connsiteY777" fmla="*/ 916201 h 1173108"/>
                <a:gd name="connsiteX778" fmla="*/ 764044 w 1570607"/>
                <a:gd name="connsiteY778" fmla="*/ 909685 h 1173108"/>
                <a:gd name="connsiteX779" fmla="*/ 768117 w 1570607"/>
                <a:gd name="connsiteY779" fmla="*/ 910988 h 1173108"/>
                <a:gd name="connsiteX780" fmla="*/ 770886 w 1570607"/>
                <a:gd name="connsiteY780" fmla="*/ 914735 h 1173108"/>
                <a:gd name="connsiteX781" fmla="*/ 774307 w 1570607"/>
                <a:gd name="connsiteY781" fmla="*/ 913757 h 1173108"/>
                <a:gd name="connsiteX782" fmla="*/ 775448 w 1570607"/>
                <a:gd name="connsiteY782" fmla="*/ 916201 h 1173108"/>
                <a:gd name="connsiteX783" fmla="*/ 771701 w 1570607"/>
                <a:gd name="connsiteY783" fmla="*/ 923206 h 1173108"/>
                <a:gd name="connsiteX784" fmla="*/ 773818 w 1570607"/>
                <a:gd name="connsiteY784" fmla="*/ 927279 h 1173108"/>
                <a:gd name="connsiteX785" fmla="*/ 776914 w 1570607"/>
                <a:gd name="connsiteY785" fmla="*/ 926301 h 1173108"/>
                <a:gd name="connsiteX786" fmla="*/ 780172 w 1570607"/>
                <a:gd name="connsiteY786" fmla="*/ 925324 h 1173108"/>
                <a:gd name="connsiteX787" fmla="*/ 781313 w 1570607"/>
                <a:gd name="connsiteY787" fmla="*/ 929234 h 1173108"/>
                <a:gd name="connsiteX788" fmla="*/ 785059 w 1570607"/>
                <a:gd name="connsiteY788" fmla="*/ 934121 h 1173108"/>
                <a:gd name="connsiteX789" fmla="*/ 785059 w 1570607"/>
                <a:gd name="connsiteY789" fmla="*/ 937705 h 1173108"/>
                <a:gd name="connsiteX790" fmla="*/ 780987 w 1570607"/>
                <a:gd name="connsiteY790" fmla="*/ 942104 h 1173108"/>
                <a:gd name="connsiteX791" fmla="*/ 782290 w 1570607"/>
                <a:gd name="connsiteY791" fmla="*/ 946339 h 1173108"/>
                <a:gd name="connsiteX792" fmla="*/ 787829 w 1570607"/>
                <a:gd name="connsiteY792" fmla="*/ 947317 h 1173108"/>
                <a:gd name="connsiteX793" fmla="*/ 790924 w 1570607"/>
                <a:gd name="connsiteY793" fmla="*/ 946013 h 1173108"/>
                <a:gd name="connsiteX794" fmla="*/ 795648 w 1570607"/>
                <a:gd name="connsiteY794" fmla="*/ 947968 h 1173108"/>
                <a:gd name="connsiteX795" fmla="*/ 800861 w 1570607"/>
                <a:gd name="connsiteY795" fmla="*/ 953344 h 1173108"/>
                <a:gd name="connsiteX796" fmla="*/ 799721 w 1570607"/>
                <a:gd name="connsiteY796" fmla="*/ 952204 h 1173108"/>
                <a:gd name="connsiteX797" fmla="*/ 803957 w 1570607"/>
                <a:gd name="connsiteY797" fmla="*/ 950086 h 1173108"/>
                <a:gd name="connsiteX798" fmla="*/ 809822 w 1570607"/>
                <a:gd name="connsiteY798" fmla="*/ 952693 h 1173108"/>
                <a:gd name="connsiteX799" fmla="*/ 813731 w 1570607"/>
                <a:gd name="connsiteY799" fmla="*/ 950412 h 1173108"/>
                <a:gd name="connsiteX800" fmla="*/ 819596 w 1570607"/>
                <a:gd name="connsiteY800" fmla="*/ 950575 h 1173108"/>
                <a:gd name="connsiteX801" fmla="*/ 823017 w 1570607"/>
                <a:gd name="connsiteY801" fmla="*/ 957417 h 1173108"/>
                <a:gd name="connsiteX802" fmla="*/ 827904 w 1570607"/>
                <a:gd name="connsiteY802" fmla="*/ 961164 h 1173108"/>
                <a:gd name="connsiteX803" fmla="*/ 829371 w 1570607"/>
                <a:gd name="connsiteY803" fmla="*/ 968984 h 1173108"/>
                <a:gd name="connsiteX804" fmla="*/ 833769 w 1570607"/>
                <a:gd name="connsiteY804" fmla="*/ 968821 h 1173108"/>
                <a:gd name="connsiteX805" fmla="*/ 838493 w 1570607"/>
                <a:gd name="connsiteY805" fmla="*/ 974034 h 1173108"/>
                <a:gd name="connsiteX806" fmla="*/ 838493 w 1570607"/>
                <a:gd name="connsiteY806" fmla="*/ 981691 h 1173108"/>
                <a:gd name="connsiteX807" fmla="*/ 842729 w 1570607"/>
                <a:gd name="connsiteY807" fmla="*/ 990325 h 1173108"/>
                <a:gd name="connsiteX808" fmla="*/ 843218 w 1570607"/>
                <a:gd name="connsiteY808" fmla="*/ 998144 h 1173108"/>
                <a:gd name="connsiteX809" fmla="*/ 841752 w 1570607"/>
                <a:gd name="connsiteY809" fmla="*/ 1009059 h 1173108"/>
                <a:gd name="connsiteX810" fmla="*/ 841752 w 1570607"/>
                <a:gd name="connsiteY810" fmla="*/ 1014110 h 1173108"/>
                <a:gd name="connsiteX811" fmla="*/ 840611 w 1570607"/>
                <a:gd name="connsiteY811" fmla="*/ 1017368 h 1173108"/>
                <a:gd name="connsiteX812" fmla="*/ 835887 w 1570607"/>
                <a:gd name="connsiteY812" fmla="*/ 1019485 h 1173108"/>
                <a:gd name="connsiteX813" fmla="*/ 835236 w 1570607"/>
                <a:gd name="connsiteY813" fmla="*/ 1024373 h 1173108"/>
                <a:gd name="connsiteX814" fmla="*/ 832955 w 1570607"/>
                <a:gd name="connsiteY814" fmla="*/ 1025024 h 1173108"/>
                <a:gd name="connsiteX815" fmla="*/ 831652 w 1570607"/>
                <a:gd name="connsiteY815" fmla="*/ 1028608 h 1173108"/>
                <a:gd name="connsiteX816" fmla="*/ 833769 w 1570607"/>
                <a:gd name="connsiteY816" fmla="*/ 1033496 h 1173108"/>
                <a:gd name="connsiteX817" fmla="*/ 831814 w 1570607"/>
                <a:gd name="connsiteY817" fmla="*/ 1036428 h 1173108"/>
                <a:gd name="connsiteX818" fmla="*/ 828556 w 1570607"/>
                <a:gd name="connsiteY818" fmla="*/ 1035125 h 1173108"/>
                <a:gd name="connsiteX819" fmla="*/ 824972 w 1570607"/>
                <a:gd name="connsiteY819" fmla="*/ 1038872 h 1173108"/>
                <a:gd name="connsiteX820" fmla="*/ 823017 w 1570607"/>
                <a:gd name="connsiteY820" fmla="*/ 1043270 h 1173108"/>
                <a:gd name="connsiteX821" fmla="*/ 825135 w 1570607"/>
                <a:gd name="connsiteY821" fmla="*/ 1046528 h 1173108"/>
                <a:gd name="connsiteX822" fmla="*/ 822691 w 1570607"/>
                <a:gd name="connsiteY822" fmla="*/ 1050438 h 1173108"/>
                <a:gd name="connsiteX823" fmla="*/ 822691 w 1570607"/>
                <a:gd name="connsiteY823" fmla="*/ 1054674 h 1173108"/>
                <a:gd name="connsiteX824" fmla="*/ 827090 w 1570607"/>
                <a:gd name="connsiteY824" fmla="*/ 1056466 h 1173108"/>
                <a:gd name="connsiteX825" fmla="*/ 828882 w 1570607"/>
                <a:gd name="connsiteY825" fmla="*/ 1059887 h 1173108"/>
                <a:gd name="connsiteX826" fmla="*/ 832466 w 1570607"/>
                <a:gd name="connsiteY826" fmla="*/ 1063145 h 1173108"/>
                <a:gd name="connsiteX827" fmla="*/ 831814 w 1570607"/>
                <a:gd name="connsiteY827" fmla="*/ 1069336 h 1173108"/>
                <a:gd name="connsiteX828" fmla="*/ 834258 w 1570607"/>
                <a:gd name="connsiteY828" fmla="*/ 1075201 h 1173108"/>
                <a:gd name="connsiteX829" fmla="*/ 840286 w 1570607"/>
                <a:gd name="connsiteY829" fmla="*/ 1070802 h 1173108"/>
                <a:gd name="connsiteX830" fmla="*/ 851852 w 1570607"/>
                <a:gd name="connsiteY830" fmla="*/ 1068358 h 1173108"/>
                <a:gd name="connsiteX831" fmla="*/ 852993 w 1570607"/>
                <a:gd name="connsiteY831" fmla="*/ 1072431 h 1173108"/>
                <a:gd name="connsiteX832" fmla="*/ 851363 w 1570607"/>
                <a:gd name="connsiteY832" fmla="*/ 1075526 h 1173108"/>
                <a:gd name="connsiteX833" fmla="*/ 854459 w 1570607"/>
                <a:gd name="connsiteY833" fmla="*/ 1078133 h 1173108"/>
                <a:gd name="connsiteX834" fmla="*/ 861138 w 1570607"/>
                <a:gd name="connsiteY834" fmla="*/ 1076504 h 1173108"/>
                <a:gd name="connsiteX835" fmla="*/ 862441 w 1570607"/>
                <a:gd name="connsiteY835" fmla="*/ 1080902 h 1173108"/>
                <a:gd name="connsiteX836" fmla="*/ 860649 w 1570607"/>
                <a:gd name="connsiteY836" fmla="*/ 1085301 h 1173108"/>
                <a:gd name="connsiteX837" fmla="*/ 863745 w 1570607"/>
                <a:gd name="connsiteY837" fmla="*/ 1089374 h 1173108"/>
                <a:gd name="connsiteX838" fmla="*/ 870261 w 1570607"/>
                <a:gd name="connsiteY838" fmla="*/ 1090840 h 1173108"/>
                <a:gd name="connsiteX839" fmla="*/ 868957 w 1570607"/>
                <a:gd name="connsiteY839" fmla="*/ 1093283 h 1173108"/>
                <a:gd name="connsiteX840" fmla="*/ 871075 w 1570607"/>
                <a:gd name="connsiteY840" fmla="*/ 1096542 h 1173108"/>
                <a:gd name="connsiteX841" fmla="*/ 871890 w 1570607"/>
                <a:gd name="connsiteY841" fmla="*/ 1094424 h 1173108"/>
                <a:gd name="connsiteX842" fmla="*/ 879221 w 1570607"/>
                <a:gd name="connsiteY842" fmla="*/ 1093609 h 1173108"/>
                <a:gd name="connsiteX843" fmla="*/ 884271 w 1570607"/>
                <a:gd name="connsiteY843" fmla="*/ 1096867 h 1173108"/>
                <a:gd name="connsiteX844" fmla="*/ 884271 w 1570607"/>
                <a:gd name="connsiteY844" fmla="*/ 1100777 h 1173108"/>
                <a:gd name="connsiteX845" fmla="*/ 882153 w 1570607"/>
                <a:gd name="connsiteY845" fmla="*/ 1105176 h 1173108"/>
                <a:gd name="connsiteX846" fmla="*/ 882316 w 1570607"/>
                <a:gd name="connsiteY846" fmla="*/ 1108923 h 1173108"/>
                <a:gd name="connsiteX847" fmla="*/ 876452 w 1570607"/>
                <a:gd name="connsiteY847" fmla="*/ 1117231 h 1173108"/>
                <a:gd name="connsiteX848" fmla="*/ 871564 w 1570607"/>
                <a:gd name="connsiteY848" fmla="*/ 1121955 h 1173108"/>
                <a:gd name="connsiteX849" fmla="*/ 872541 w 1570607"/>
                <a:gd name="connsiteY849" fmla="*/ 1125539 h 1173108"/>
                <a:gd name="connsiteX850" fmla="*/ 876452 w 1570607"/>
                <a:gd name="connsiteY850" fmla="*/ 1123584 h 1173108"/>
                <a:gd name="connsiteX851" fmla="*/ 884434 w 1570607"/>
                <a:gd name="connsiteY851" fmla="*/ 1124562 h 1173108"/>
                <a:gd name="connsiteX852" fmla="*/ 885737 w 1570607"/>
                <a:gd name="connsiteY852" fmla="*/ 1126028 h 1173108"/>
                <a:gd name="connsiteX853" fmla="*/ 889647 w 1570607"/>
                <a:gd name="connsiteY853" fmla="*/ 1122444 h 1173108"/>
                <a:gd name="connsiteX854" fmla="*/ 893231 w 1570607"/>
                <a:gd name="connsiteY854" fmla="*/ 1127168 h 1173108"/>
                <a:gd name="connsiteX855" fmla="*/ 891602 w 1570607"/>
                <a:gd name="connsiteY855" fmla="*/ 1134010 h 1173108"/>
                <a:gd name="connsiteX856" fmla="*/ 893394 w 1570607"/>
                <a:gd name="connsiteY856" fmla="*/ 1138735 h 1173108"/>
                <a:gd name="connsiteX857" fmla="*/ 899259 w 1570607"/>
                <a:gd name="connsiteY857" fmla="*/ 1141667 h 1173108"/>
                <a:gd name="connsiteX858" fmla="*/ 902680 w 1570607"/>
                <a:gd name="connsiteY858" fmla="*/ 1138409 h 1173108"/>
                <a:gd name="connsiteX859" fmla="*/ 908382 w 1570607"/>
                <a:gd name="connsiteY859" fmla="*/ 1138409 h 1173108"/>
                <a:gd name="connsiteX860" fmla="*/ 920111 w 1570607"/>
                <a:gd name="connsiteY860" fmla="*/ 1133359 h 1173108"/>
                <a:gd name="connsiteX861" fmla="*/ 924998 w 1570607"/>
                <a:gd name="connsiteY861" fmla="*/ 1134988 h 1173108"/>
                <a:gd name="connsiteX862" fmla="*/ 924509 w 1570607"/>
                <a:gd name="connsiteY862" fmla="*/ 1139875 h 1173108"/>
                <a:gd name="connsiteX863" fmla="*/ 922392 w 1570607"/>
                <a:gd name="connsiteY863" fmla="*/ 1141667 h 1173108"/>
                <a:gd name="connsiteX864" fmla="*/ 925650 w 1570607"/>
                <a:gd name="connsiteY864" fmla="*/ 1144111 h 1173108"/>
                <a:gd name="connsiteX865" fmla="*/ 927768 w 1570607"/>
                <a:gd name="connsiteY865" fmla="*/ 1148347 h 1173108"/>
                <a:gd name="connsiteX866" fmla="*/ 934447 w 1570607"/>
                <a:gd name="connsiteY866" fmla="*/ 1146229 h 1173108"/>
                <a:gd name="connsiteX867" fmla="*/ 938846 w 1570607"/>
                <a:gd name="connsiteY867" fmla="*/ 1147369 h 1173108"/>
                <a:gd name="connsiteX868" fmla="*/ 937379 w 1570607"/>
                <a:gd name="connsiteY868" fmla="*/ 1141016 h 1173108"/>
                <a:gd name="connsiteX869" fmla="*/ 937054 w 1570607"/>
                <a:gd name="connsiteY869" fmla="*/ 1134825 h 1173108"/>
                <a:gd name="connsiteX870" fmla="*/ 935098 w 1570607"/>
                <a:gd name="connsiteY870" fmla="*/ 1129449 h 1173108"/>
                <a:gd name="connsiteX871" fmla="*/ 934773 w 1570607"/>
                <a:gd name="connsiteY871" fmla="*/ 1120815 h 1173108"/>
                <a:gd name="connsiteX872" fmla="*/ 938357 w 1570607"/>
                <a:gd name="connsiteY872" fmla="*/ 1118534 h 1173108"/>
                <a:gd name="connsiteX873" fmla="*/ 938357 w 1570607"/>
                <a:gd name="connsiteY873" fmla="*/ 1114787 h 1173108"/>
                <a:gd name="connsiteX874" fmla="*/ 947806 w 1570607"/>
                <a:gd name="connsiteY874" fmla="*/ 1114461 h 1173108"/>
                <a:gd name="connsiteX875" fmla="*/ 948131 w 1570607"/>
                <a:gd name="connsiteY875" fmla="*/ 1114787 h 1173108"/>
                <a:gd name="connsiteX876" fmla="*/ 949923 w 1570607"/>
                <a:gd name="connsiteY876" fmla="*/ 1113321 h 1173108"/>
                <a:gd name="connsiteX877" fmla="*/ 951879 w 1570607"/>
                <a:gd name="connsiteY877" fmla="*/ 1112995 h 1173108"/>
                <a:gd name="connsiteX878" fmla="*/ 953182 w 1570607"/>
                <a:gd name="connsiteY878" fmla="*/ 1110389 h 1173108"/>
                <a:gd name="connsiteX879" fmla="*/ 956114 w 1570607"/>
                <a:gd name="connsiteY879" fmla="*/ 1107945 h 1173108"/>
                <a:gd name="connsiteX880" fmla="*/ 961490 w 1570607"/>
                <a:gd name="connsiteY880" fmla="*/ 1105827 h 1173108"/>
                <a:gd name="connsiteX881" fmla="*/ 964748 w 1570607"/>
                <a:gd name="connsiteY881" fmla="*/ 1106153 h 1173108"/>
                <a:gd name="connsiteX882" fmla="*/ 964422 w 1570607"/>
                <a:gd name="connsiteY882" fmla="*/ 1110063 h 1173108"/>
                <a:gd name="connsiteX883" fmla="*/ 966703 w 1570607"/>
                <a:gd name="connsiteY883" fmla="*/ 1111855 h 1173108"/>
                <a:gd name="connsiteX884" fmla="*/ 970287 w 1570607"/>
                <a:gd name="connsiteY884" fmla="*/ 1111855 h 1173108"/>
                <a:gd name="connsiteX885" fmla="*/ 971102 w 1570607"/>
                <a:gd name="connsiteY885" fmla="*/ 1106968 h 1173108"/>
                <a:gd name="connsiteX886" fmla="*/ 975011 w 1570607"/>
                <a:gd name="connsiteY886" fmla="*/ 1104198 h 1173108"/>
                <a:gd name="connsiteX887" fmla="*/ 980225 w 1570607"/>
                <a:gd name="connsiteY887" fmla="*/ 1109248 h 1173108"/>
                <a:gd name="connsiteX888" fmla="*/ 982831 w 1570607"/>
                <a:gd name="connsiteY888" fmla="*/ 1105664 h 1173108"/>
                <a:gd name="connsiteX889" fmla="*/ 985763 w 1570607"/>
                <a:gd name="connsiteY889" fmla="*/ 1105827 h 1173108"/>
                <a:gd name="connsiteX890" fmla="*/ 987067 w 1570607"/>
                <a:gd name="connsiteY890" fmla="*/ 1109574 h 1173108"/>
                <a:gd name="connsiteX891" fmla="*/ 992768 w 1570607"/>
                <a:gd name="connsiteY891" fmla="*/ 1106805 h 1173108"/>
                <a:gd name="connsiteX892" fmla="*/ 993583 w 1570607"/>
                <a:gd name="connsiteY892" fmla="*/ 1102895 h 1173108"/>
                <a:gd name="connsiteX893" fmla="*/ 999936 w 1570607"/>
                <a:gd name="connsiteY893" fmla="*/ 1101103 h 1173108"/>
                <a:gd name="connsiteX894" fmla="*/ 1004824 w 1570607"/>
                <a:gd name="connsiteY894" fmla="*/ 1104035 h 1173108"/>
                <a:gd name="connsiteX895" fmla="*/ 1013458 w 1570607"/>
                <a:gd name="connsiteY895" fmla="*/ 1101103 h 1173108"/>
                <a:gd name="connsiteX896" fmla="*/ 1013132 w 1570607"/>
                <a:gd name="connsiteY896" fmla="*/ 1093283 h 1173108"/>
                <a:gd name="connsiteX897" fmla="*/ 1018671 w 1570607"/>
                <a:gd name="connsiteY897" fmla="*/ 1090025 h 1173108"/>
                <a:gd name="connsiteX898" fmla="*/ 1024862 w 1570607"/>
                <a:gd name="connsiteY898" fmla="*/ 1090025 h 1173108"/>
                <a:gd name="connsiteX899" fmla="*/ 1028446 w 1570607"/>
                <a:gd name="connsiteY899" fmla="*/ 1086604 h 1173108"/>
                <a:gd name="connsiteX900" fmla="*/ 1033984 w 1570607"/>
                <a:gd name="connsiteY900" fmla="*/ 1091002 h 1173108"/>
                <a:gd name="connsiteX901" fmla="*/ 1033984 w 1570607"/>
                <a:gd name="connsiteY901" fmla="*/ 1094261 h 1173108"/>
                <a:gd name="connsiteX902" fmla="*/ 1039686 w 1570607"/>
                <a:gd name="connsiteY902" fmla="*/ 1095401 h 1173108"/>
                <a:gd name="connsiteX903" fmla="*/ 1041804 w 1570607"/>
                <a:gd name="connsiteY903" fmla="*/ 1098659 h 1173108"/>
                <a:gd name="connsiteX904" fmla="*/ 1053534 w 1570607"/>
                <a:gd name="connsiteY904" fmla="*/ 1098496 h 1173108"/>
                <a:gd name="connsiteX905" fmla="*/ 1055489 w 1570607"/>
                <a:gd name="connsiteY905" fmla="*/ 1101103 h 1173108"/>
                <a:gd name="connsiteX906" fmla="*/ 1062331 w 1570607"/>
                <a:gd name="connsiteY906" fmla="*/ 1098334 h 1173108"/>
                <a:gd name="connsiteX907" fmla="*/ 1066729 w 1570607"/>
                <a:gd name="connsiteY907" fmla="*/ 1101918 h 1173108"/>
                <a:gd name="connsiteX908" fmla="*/ 1065752 w 1570607"/>
                <a:gd name="connsiteY908" fmla="*/ 1106805 h 1173108"/>
                <a:gd name="connsiteX909" fmla="*/ 1062168 w 1570607"/>
                <a:gd name="connsiteY909" fmla="*/ 1107456 h 1173108"/>
                <a:gd name="connsiteX910" fmla="*/ 1059561 w 1570607"/>
                <a:gd name="connsiteY910" fmla="*/ 1116742 h 1173108"/>
                <a:gd name="connsiteX911" fmla="*/ 1062494 w 1570607"/>
                <a:gd name="connsiteY911" fmla="*/ 1117883 h 1173108"/>
                <a:gd name="connsiteX912" fmla="*/ 1063960 w 1570607"/>
                <a:gd name="connsiteY912" fmla="*/ 1123259 h 1173108"/>
                <a:gd name="connsiteX913" fmla="*/ 1074223 w 1570607"/>
                <a:gd name="connsiteY913" fmla="*/ 1127006 h 1173108"/>
                <a:gd name="connsiteX914" fmla="*/ 1075689 w 1570607"/>
                <a:gd name="connsiteY914" fmla="*/ 1130590 h 1173108"/>
                <a:gd name="connsiteX915" fmla="*/ 1080739 w 1570607"/>
                <a:gd name="connsiteY915" fmla="*/ 1132870 h 1173108"/>
                <a:gd name="connsiteX916" fmla="*/ 1085789 w 1570607"/>
                <a:gd name="connsiteY916" fmla="*/ 1135477 h 1173108"/>
                <a:gd name="connsiteX917" fmla="*/ 1091166 w 1570607"/>
                <a:gd name="connsiteY917" fmla="*/ 1133848 h 1173108"/>
                <a:gd name="connsiteX918" fmla="*/ 1093284 w 1570607"/>
                <a:gd name="connsiteY918" fmla="*/ 1135640 h 1173108"/>
                <a:gd name="connsiteX919" fmla="*/ 1096542 w 1570607"/>
                <a:gd name="connsiteY919" fmla="*/ 1134662 h 1173108"/>
                <a:gd name="connsiteX920" fmla="*/ 1100777 w 1570607"/>
                <a:gd name="connsiteY920" fmla="*/ 1136943 h 1173108"/>
                <a:gd name="connsiteX921" fmla="*/ 1102407 w 1570607"/>
                <a:gd name="connsiteY921" fmla="*/ 1137269 h 1173108"/>
                <a:gd name="connsiteX922" fmla="*/ 1104198 w 1570607"/>
                <a:gd name="connsiteY922" fmla="*/ 1136291 h 1173108"/>
                <a:gd name="connsiteX923" fmla="*/ 1107294 w 1570607"/>
                <a:gd name="connsiteY923" fmla="*/ 1137595 h 1173108"/>
                <a:gd name="connsiteX924" fmla="*/ 1111529 w 1570607"/>
                <a:gd name="connsiteY924" fmla="*/ 1135803 h 1173108"/>
                <a:gd name="connsiteX925" fmla="*/ 1111366 w 1570607"/>
                <a:gd name="connsiteY925" fmla="*/ 1133196 h 1173108"/>
                <a:gd name="connsiteX926" fmla="*/ 1112507 w 1570607"/>
                <a:gd name="connsiteY926" fmla="*/ 1128146 h 1173108"/>
                <a:gd name="connsiteX927" fmla="*/ 1114950 w 1570607"/>
                <a:gd name="connsiteY927" fmla="*/ 1132870 h 1173108"/>
                <a:gd name="connsiteX928" fmla="*/ 1119675 w 1570607"/>
                <a:gd name="connsiteY928" fmla="*/ 1137595 h 1173108"/>
                <a:gd name="connsiteX929" fmla="*/ 1122118 w 1570607"/>
                <a:gd name="connsiteY929" fmla="*/ 1136780 h 1173108"/>
                <a:gd name="connsiteX930" fmla="*/ 1128472 w 1570607"/>
                <a:gd name="connsiteY930" fmla="*/ 1141993 h 1173108"/>
                <a:gd name="connsiteX931" fmla="*/ 1131241 w 1570607"/>
                <a:gd name="connsiteY931" fmla="*/ 1141016 h 1173108"/>
                <a:gd name="connsiteX932" fmla="*/ 1134662 w 1570607"/>
                <a:gd name="connsiteY932" fmla="*/ 1141342 h 1173108"/>
                <a:gd name="connsiteX933" fmla="*/ 1137269 w 1570607"/>
                <a:gd name="connsiteY933" fmla="*/ 1136943 h 1173108"/>
                <a:gd name="connsiteX934" fmla="*/ 1140853 w 1570607"/>
                <a:gd name="connsiteY934" fmla="*/ 1140364 h 1173108"/>
                <a:gd name="connsiteX935" fmla="*/ 1144600 w 1570607"/>
                <a:gd name="connsiteY935" fmla="*/ 1139224 h 1173108"/>
                <a:gd name="connsiteX936" fmla="*/ 1147207 w 1570607"/>
                <a:gd name="connsiteY936" fmla="*/ 1140364 h 1173108"/>
                <a:gd name="connsiteX937" fmla="*/ 1147532 w 1570607"/>
                <a:gd name="connsiteY937" fmla="*/ 1141993 h 1173108"/>
                <a:gd name="connsiteX938" fmla="*/ 1143786 w 1570607"/>
                <a:gd name="connsiteY938" fmla="*/ 1142482 h 1173108"/>
                <a:gd name="connsiteX939" fmla="*/ 1142971 w 1570607"/>
                <a:gd name="connsiteY939" fmla="*/ 1147043 h 1173108"/>
                <a:gd name="connsiteX940" fmla="*/ 1139387 w 1570607"/>
                <a:gd name="connsiteY940" fmla="*/ 1151442 h 1173108"/>
                <a:gd name="connsiteX941" fmla="*/ 1139224 w 1570607"/>
                <a:gd name="connsiteY941" fmla="*/ 1154537 h 1173108"/>
                <a:gd name="connsiteX942" fmla="*/ 1145414 w 1570607"/>
                <a:gd name="connsiteY942" fmla="*/ 1163009 h 1173108"/>
                <a:gd name="connsiteX943" fmla="*/ 1149161 w 1570607"/>
                <a:gd name="connsiteY943" fmla="*/ 1165126 h 1173108"/>
                <a:gd name="connsiteX944" fmla="*/ 1148998 w 1570607"/>
                <a:gd name="connsiteY944" fmla="*/ 1167570 h 1173108"/>
                <a:gd name="connsiteX945" fmla="*/ 1149650 w 1570607"/>
                <a:gd name="connsiteY945" fmla="*/ 1173109 h 1173108"/>
                <a:gd name="connsiteX946" fmla="*/ 1150791 w 1570607"/>
                <a:gd name="connsiteY946" fmla="*/ 1172131 h 1173108"/>
                <a:gd name="connsiteX947" fmla="*/ 1152745 w 1570607"/>
                <a:gd name="connsiteY947" fmla="*/ 1168547 h 1173108"/>
                <a:gd name="connsiteX948" fmla="*/ 1158447 w 1570607"/>
                <a:gd name="connsiteY948" fmla="*/ 1169688 h 1173108"/>
                <a:gd name="connsiteX949" fmla="*/ 1158447 w 1570607"/>
                <a:gd name="connsiteY949" fmla="*/ 1171154 h 1173108"/>
                <a:gd name="connsiteX950" fmla="*/ 1161380 w 1570607"/>
                <a:gd name="connsiteY950" fmla="*/ 1171154 h 1173108"/>
                <a:gd name="connsiteX951" fmla="*/ 1165778 w 1570607"/>
                <a:gd name="connsiteY951" fmla="*/ 1165452 h 1173108"/>
                <a:gd name="connsiteX952" fmla="*/ 1164475 w 1570607"/>
                <a:gd name="connsiteY952" fmla="*/ 1163171 h 1173108"/>
                <a:gd name="connsiteX953" fmla="*/ 1162520 w 1570607"/>
                <a:gd name="connsiteY953" fmla="*/ 1162845 h 1173108"/>
                <a:gd name="connsiteX954" fmla="*/ 1162520 w 1570607"/>
                <a:gd name="connsiteY954" fmla="*/ 1161379 h 1173108"/>
                <a:gd name="connsiteX955" fmla="*/ 1159750 w 1570607"/>
                <a:gd name="connsiteY955" fmla="*/ 1156166 h 1173108"/>
                <a:gd name="connsiteX956" fmla="*/ 1156818 w 1570607"/>
                <a:gd name="connsiteY956" fmla="*/ 1156166 h 1173108"/>
                <a:gd name="connsiteX957" fmla="*/ 1154863 w 1570607"/>
                <a:gd name="connsiteY957" fmla="*/ 1151442 h 1173108"/>
                <a:gd name="connsiteX958" fmla="*/ 1156004 w 1570607"/>
                <a:gd name="connsiteY958" fmla="*/ 1149487 h 1173108"/>
                <a:gd name="connsiteX959" fmla="*/ 1159588 w 1570607"/>
                <a:gd name="connsiteY959" fmla="*/ 1146555 h 1173108"/>
                <a:gd name="connsiteX960" fmla="*/ 1160565 w 1570607"/>
                <a:gd name="connsiteY960" fmla="*/ 1143134 h 1173108"/>
                <a:gd name="connsiteX961" fmla="*/ 1159750 w 1570607"/>
                <a:gd name="connsiteY961" fmla="*/ 1140527 h 1173108"/>
                <a:gd name="connsiteX962" fmla="*/ 1160891 w 1570607"/>
                <a:gd name="connsiteY962" fmla="*/ 1140364 h 1173108"/>
                <a:gd name="connsiteX963" fmla="*/ 1162683 w 1570607"/>
                <a:gd name="connsiteY963" fmla="*/ 1138409 h 1173108"/>
                <a:gd name="connsiteX964" fmla="*/ 1163171 w 1570607"/>
                <a:gd name="connsiteY964" fmla="*/ 1139875 h 1173108"/>
                <a:gd name="connsiteX965" fmla="*/ 1164312 w 1570607"/>
                <a:gd name="connsiteY965" fmla="*/ 1141830 h 1173108"/>
                <a:gd name="connsiteX966" fmla="*/ 1165778 w 1570607"/>
                <a:gd name="connsiteY966" fmla="*/ 1141830 h 1173108"/>
                <a:gd name="connsiteX967" fmla="*/ 1164800 w 1570607"/>
                <a:gd name="connsiteY967" fmla="*/ 1142482 h 1173108"/>
                <a:gd name="connsiteX968" fmla="*/ 1165127 w 1570607"/>
                <a:gd name="connsiteY968" fmla="*/ 1143622 h 1173108"/>
                <a:gd name="connsiteX969" fmla="*/ 1167407 w 1570607"/>
                <a:gd name="connsiteY969" fmla="*/ 1144111 h 1173108"/>
                <a:gd name="connsiteX970" fmla="*/ 1166430 w 1570607"/>
                <a:gd name="connsiteY970" fmla="*/ 1145414 h 1173108"/>
                <a:gd name="connsiteX971" fmla="*/ 1167733 w 1570607"/>
                <a:gd name="connsiteY971" fmla="*/ 1145577 h 1173108"/>
                <a:gd name="connsiteX972" fmla="*/ 1170339 w 1570607"/>
                <a:gd name="connsiteY972" fmla="*/ 1142808 h 1173108"/>
                <a:gd name="connsiteX973" fmla="*/ 1175389 w 1570607"/>
                <a:gd name="connsiteY973" fmla="*/ 1141993 h 1173108"/>
                <a:gd name="connsiteX974" fmla="*/ 1177345 w 1570607"/>
                <a:gd name="connsiteY974" fmla="*/ 1138246 h 1173108"/>
                <a:gd name="connsiteX975" fmla="*/ 1181418 w 1570607"/>
                <a:gd name="connsiteY975" fmla="*/ 1139875 h 1173108"/>
                <a:gd name="connsiteX976" fmla="*/ 1185979 w 1570607"/>
                <a:gd name="connsiteY976" fmla="*/ 1138246 h 1173108"/>
                <a:gd name="connsiteX977" fmla="*/ 1191518 w 1570607"/>
                <a:gd name="connsiteY977" fmla="*/ 1135151 h 1173108"/>
                <a:gd name="connsiteX978" fmla="*/ 1189563 w 1570607"/>
                <a:gd name="connsiteY978" fmla="*/ 1131893 h 1173108"/>
                <a:gd name="connsiteX979" fmla="*/ 1193961 w 1570607"/>
                <a:gd name="connsiteY979" fmla="*/ 1131893 h 1173108"/>
                <a:gd name="connsiteX980" fmla="*/ 1198848 w 1570607"/>
                <a:gd name="connsiteY980" fmla="*/ 1130427 h 1173108"/>
                <a:gd name="connsiteX981" fmla="*/ 1203899 w 1570607"/>
                <a:gd name="connsiteY981" fmla="*/ 1132219 h 1173108"/>
                <a:gd name="connsiteX982" fmla="*/ 1206831 w 1570607"/>
                <a:gd name="connsiteY982" fmla="*/ 1131404 h 1173108"/>
                <a:gd name="connsiteX983" fmla="*/ 1212533 w 1570607"/>
                <a:gd name="connsiteY983" fmla="*/ 1128635 h 1173108"/>
                <a:gd name="connsiteX984" fmla="*/ 1217420 w 1570607"/>
                <a:gd name="connsiteY984" fmla="*/ 1123747 h 1173108"/>
                <a:gd name="connsiteX985" fmla="*/ 1220679 w 1570607"/>
                <a:gd name="connsiteY985" fmla="*/ 1119349 h 1173108"/>
                <a:gd name="connsiteX986" fmla="*/ 1221167 w 1570607"/>
                <a:gd name="connsiteY986" fmla="*/ 1117231 h 1173108"/>
                <a:gd name="connsiteX987" fmla="*/ 1222470 w 1570607"/>
                <a:gd name="connsiteY987" fmla="*/ 1118534 h 1173108"/>
                <a:gd name="connsiteX988" fmla="*/ 1224588 w 1570607"/>
                <a:gd name="connsiteY988" fmla="*/ 1120326 h 1173108"/>
                <a:gd name="connsiteX989" fmla="*/ 1227032 w 1570607"/>
                <a:gd name="connsiteY989" fmla="*/ 1118371 h 1173108"/>
                <a:gd name="connsiteX990" fmla="*/ 1229313 w 1570607"/>
                <a:gd name="connsiteY990" fmla="*/ 1114625 h 1173108"/>
                <a:gd name="connsiteX991" fmla="*/ 1233386 w 1570607"/>
                <a:gd name="connsiteY991" fmla="*/ 1112507 h 1173108"/>
                <a:gd name="connsiteX992" fmla="*/ 1232571 w 1570607"/>
                <a:gd name="connsiteY992" fmla="*/ 1106316 h 1173108"/>
                <a:gd name="connsiteX993" fmla="*/ 1231430 w 1570607"/>
                <a:gd name="connsiteY993" fmla="*/ 1101755 h 1173108"/>
                <a:gd name="connsiteX994" fmla="*/ 1231756 w 1570607"/>
                <a:gd name="connsiteY994" fmla="*/ 1098008 h 1173108"/>
                <a:gd name="connsiteX995" fmla="*/ 1230616 w 1570607"/>
                <a:gd name="connsiteY995" fmla="*/ 1095238 h 1173108"/>
                <a:gd name="connsiteX996" fmla="*/ 1233059 w 1570607"/>
                <a:gd name="connsiteY996" fmla="*/ 1097519 h 1173108"/>
                <a:gd name="connsiteX997" fmla="*/ 1239413 w 1570607"/>
                <a:gd name="connsiteY997" fmla="*/ 1100614 h 1173108"/>
                <a:gd name="connsiteX998" fmla="*/ 1240228 w 1570607"/>
                <a:gd name="connsiteY998" fmla="*/ 1104035 h 1173108"/>
                <a:gd name="connsiteX999" fmla="*/ 1245441 w 1570607"/>
                <a:gd name="connsiteY999" fmla="*/ 1109085 h 1173108"/>
                <a:gd name="connsiteX1000" fmla="*/ 1248862 w 1570607"/>
                <a:gd name="connsiteY1000" fmla="*/ 1108271 h 1173108"/>
                <a:gd name="connsiteX1001" fmla="*/ 1246255 w 1570607"/>
                <a:gd name="connsiteY1001" fmla="*/ 1111855 h 1173108"/>
                <a:gd name="connsiteX1002" fmla="*/ 1242997 w 1570607"/>
                <a:gd name="connsiteY1002" fmla="*/ 1113484 h 1173108"/>
                <a:gd name="connsiteX1003" fmla="*/ 1243648 w 1570607"/>
                <a:gd name="connsiteY1003" fmla="*/ 1115602 h 1173108"/>
                <a:gd name="connsiteX1004" fmla="*/ 1252609 w 1570607"/>
                <a:gd name="connsiteY1004" fmla="*/ 1111040 h 1173108"/>
                <a:gd name="connsiteX1005" fmla="*/ 1253261 w 1570607"/>
                <a:gd name="connsiteY1005" fmla="*/ 1106153 h 1173108"/>
                <a:gd name="connsiteX1006" fmla="*/ 1257822 w 1570607"/>
                <a:gd name="connsiteY1006" fmla="*/ 1104524 h 1173108"/>
                <a:gd name="connsiteX1007" fmla="*/ 1260266 w 1570607"/>
                <a:gd name="connsiteY1007" fmla="*/ 1102406 h 1173108"/>
                <a:gd name="connsiteX1008" fmla="*/ 1264338 w 1570607"/>
                <a:gd name="connsiteY1008" fmla="*/ 1104687 h 1173108"/>
                <a:gd name="connsiteX1009" fmla="*/ 1268411 w 1570607"/>
                <a:gd name="connsiteY1009" fmla="*/ 1103710 h 1173108"/>
                <a:gd name="connsiteX1010" fmla="*/ 1268737 w 1570607"/>
                <a:gd name="connsiteY1010" fmla="*/ 1100288 h 1173108"/>
                <a:gd name="connsiteX1011" fmla="*/ 1272809 w 1570607"/>
                <a:gd name="connsiteY1011" fmla="*/ 1099311 h 1173108"/>
                <a:gd name="connsiteX1012" fmla="*/ 1273950 w 1570607"/>
                <a:gd name="connsiteY1012" fmla="*/ 1096867 h 1173108"/>
                <a:gd name="connsiteX1013" fmla="*/ 1275905 w 1570607"/>
                <a:gd name="connsiteY1013" fmla="*/ 1099963 h 1173108"/>
                <a:gd name="connsiteX1014" fmla="*/ 1279814 w 1570607"/>
                <a:gd name="connsiteY1014" fmla="*/ 1104198 h 1173108"/>
                <a:gd name="connsiteX1015" fmla="*/ 1282258 w 1570607"/>
                <a:gd name="connsiteY1015" fmla="*/ 1102080 h 1173108"/>
                <a:gd name="connsiteX1016" fmla="*/ 1283073 w 1570607"/>
                <a:gd name="connsiteY1016" fmla="*/ 1097519 h 1173108"/>
                <a:gd name="connsiteX1017" fmla="*/ 1285679 w 1570607"/>
                <a:gd name="connsiteY1017" fmla="*/ 1097519 h 1173108"/>
                <a:gd name="connsiteX1018" fmla="*/ 1286168 w 1570607"/>
                <a:gd name="connsiteY1018" fmla="*/ 1099148 h 1173108"/>
                <a:gd name="connsiteX1019" fmla="*/ 1290404 w 1570607"/>
                <a:gd name="connsiteY1019" fmla="*/ 1099148 h 1173108"/>
                <a:gd name="connsiteX1020" fmla="*/ 1291055 w 1570607"/>
                <a:gd name="connsiteY1020" fmla="*/ 1096542 h 1173108"/>
                <a:gd name="connsiteX1021" fmla="*/ 1296757 w 1570607"/>
                <a:gd name="connsiteY1021" fmla="*/ 1095890 h 1173108"/>
                <a:gd name="connsiteX1022" fmla="*/ 1299852 w 1570607"/>
                <a:gd name="connsiteY1022" fmla="*/ 1092794 h 1173108"/>
                <a:gd name="connsiteX1023" fmla="*/ 1302133 w 1570607"/>
                <a:gd name="connsiteY1023" fmla="*/ 1090677 h 1173108"/>
                <a:gd name="connsiteX1024" fmla="*/ 1302785 w 1570607"/>
                <a:gd name="connsiteY1024" fmla="*/ 1093446 h 1173108"/>
                <a:gd name="connsiteX1025" fmla="*/ 1304577 w 1570607"/>
                <a:gd name="connsiteY1025" fmla="*/ 1091166 h 1173108"/>
                <a:gd name="connsiteX1026" fmla="*/ 1307183 w 1570607"/>
                <a:gd name="connsiteY1026" fmla="*/ 1091980 h 1173108"/>
                <a:gd name="connsiteX1027" fmla="*/ 1311419 w 1570607"/>
                <a:gd name="connsiteY1027" fmla="*/ 1090025 h 1173108"/>
                <a:gd name="connsiteX1028" fmla="*/ 1309464 w 1570607"/>
                <a:gd name="connsiteY1028" fmla="*/ 1086767 h 1173108"/>
                <a:gd name="connsiteX1029" fmla="*/ 1311745 w 1570607"/>
                <a:gd name="connsiteY1029" fmla="*/ 1083672 h 1173108"/>
                <a:gd name="connsiteX1030" fmla="*/ 1313374 w 1570607"/>
                <a:gd name="connsiteY1030" fmla="*/ 1078296 h 1173108"/>
                <a:gd name="connsiteX1031" fmla="*/ 1311093 w 1570607"/>
                <a:gd name="connsiteY1031" fmla="*/ 1072920 h 1173108"/>
                <a:gd name="connsiteX1032" fmla="*/ 1313537 w 1570607"/>
                <a:gd name="connsiteY1032" fmla="*/ 1073734 h 1173108"/>
                <a:gd name="connsiteX1033" fmla="*/ 1315329 w 1570607"/>
                <a:gd name="connsiteY1033" fmla="*/ 1071128 h 1173108"/>
                <a:gd name="connsiteX1034" fmla="*/ 1321682 w 1570607"/>
                <a:gd name="connsiteY1034" fmla="*/ 1070150 h 1173108"/>
                <a:gd name="connsiteX1035" fmla="*/ 1322334 w 1570607"/>
                <a:gd name="connsiteY1035" fmla="*/ 1072431 h 1173108"/>
                <a:gd name="connsiteX1036" fmla="*/ 1327221 w 1570607"/>
                <a:gd name="connsiteY1036" fmla="*/ 1072431 h 1173108"/>
                <a:gd name="connsiteX1037" fmla="*/ 1328361 w 1570607"/>
                <a:gd name="connsiteY1037" fmla="*/ 1066403 h 1173108"/>
                <a:gd name="connsiteX1038" fmla="*/ 1330805 w 1570607"/>
                <a:gd name="connsiteY1038" fmla="*/ 1066403 h 1173108"/>
                <a:gd name="connsiteX1039" fmla="*/ 1331620 w 1570607"/>
                <a:gd name="connsiteY1039" fmla="*/ 1062331 h 1173108"/>
                <a:gd name="connsiteX1040" fmla="*/ 1333900 w 1570607"/>
                <a:gd name="connsiteY1040" fmla="*/ 1062168 h 1173108"/>
                <a:gd name="connsiteX1041" fmla="*/ 1334389 w 1570607"/>
                <a:gd name="connsiteY1041" fmla="*/ 1064285 h 1173108"/>
                <a:gd name="connsiteX1042" fmla="*/ 1335855 w 1570607"/>
                <a:gd name="connsiteY1042" fmla="*/ 1063308 h 1173108"/>
                <a:gd name="connsiteX1043" fmla="*/ 1338950 w 1570607"/>
                <a:gd name="connsiteY1043" fmla="*/ 1058747 h 1173108"/>
                <a:gd name="connsiteX1044" fmla="*/ 1341883 w 1570607"/>
                <a:gd name="connsiteY1044" fmla="*/ 1062168 h 1173108"/>
                <a:gd name="connsiteX1045" fmla="*/ 1342698 w 1570607"/>
                <a:gd name="connsiteY1045" fmla="*/ 1056955 h 1173108"/>
                <a:gd name="connsiteX1046" fmla="*/ 1345467 w 1570607"/>
                <a:gd name="connsiteY1046" fmla="*/ 1056629 h 1173108"/>
                <a:gd name="connsiteX1047" fmla="*/ 1347422 w 1570607"/>
                <a:gd name="connsiteY1047" fmla="*/ 1052556 h 1173108"/>
                <a:gd name="connsiteX1048" fmla="*/ 1343023 w 1570607"/>
                <a:gd name="connsiteY1048" fmla="*/ 1051579 h 1173108"/>
                <a:gd name="connsiteX1049" fmla="*/ 1339277 w 1570607"/>
                <a:gd name="connsiteY1049" fmla="*/ 1052882 h 1173108"/>
                <a:gd name="connsiteX1050" fmla="*/ 1332923 w 1570607"/>
                <a:gd name="connsiteY1050" fmla="*/ 1047994 h 1173108"/>
                <a:gd name="connsiteX1051" fmla="*/ 1341394 w 1570607"/>
                <a:gd name="connsiteY1051" fmla="*/ 1047669 h 1173108"/>
                <a:gd name="connsiteX1052" fmla="*/ 1345304 w 1570607"/>
                <a:gd name="connsiteY1052" fmla="*/ 1042293 h 1173108"/>
                <a:gd name="connsiteX1053" fmla="*/ 1347259 w 1570607"/>
                <a:gd name="connsiteY1053" fmla="*/ 1044248 h 1173108"/>
                <a:gd name="connsiteX1054" fmla="*/ 1350028 w 1570607"/>
                <a:gd name="connsiteY1054" fmla="*/ 1041641 h 1173108"/>
                <a:gd name="connsiteX1055" fmla="*/ 1356871 w 1570607"/>
                <a:gd name="connsiteY1055" fmla="*/ 1045877 h 1173108"/>
                <a:gd name="connsiteX1056" fmla="*/ 1358825 w 1570607"/>
                <a:gd name="connsiteY1056" fmla="*/ 1040501 h 1173108"/>
                <a:gd name="connsiteX1057" fmla="*/ 1354590 w 1570607"/>
                <a:gd name="connsiteY1057" fmla="*/ 1039197 h 1173108"/>
                <a:gd name="connsiteX1058" fmla="*/ 1352798 w 1570607"/>
                <a:gd name="connsiteY1058" fmla="*/ 1036591 h 1173108"/>
                <a:gd name="connsiteX1059" fmla="*/ 1353612 w 1570607"/>
                <a:gd name="connsiteY1059" fmla="*/ 1033333 h 1173108"/>
                <a:gd name="connsiteX1060" fmla="*/ 1358825 w 1570607"/>
                <a:gd name="connsiteY1060" fmla="*/ 1037080 h 1173108"/>
                <a:gd name="connsiteX1061" fmla="*/ 1361758 w 1570607"/>
                <a:gd name="connsiteY1061" fmla="*/ 1033496 h 1173108"/>
                <a:gd name="connsiteX1062" fmla="*/ 1361106 w 1570607"/>
                <a:gd name="connsiteY1062" fmla="*/ 1032192 h 1173108"/>
                <a:gd name="connsiteX1063" fmla="*/ 1357685 w 1570607"/>
                <a:gd name="connsiteY1063" fmla="*/ 1032192 h 1173108"/>
                <a:gd name="connsiteX1064" fmla="*/ 1356871 w 1570607"/>
                <a:gd name="connsiteY1064" fmla="*/ 1027468 h 1173108"/>
                <a:gd name="connsiteX1065" fmla="*/ 1354264 w 1570607"/>
                <a:gd name="connsiteY1065" fmla="*/ 1025350 h 1173108"/>
                <a:gd name="connsiteX1066" fmla="*/ 1357848 w 1570607"/>
                <a:gd name="connsiteY1066" fmla="*/ 1024373 h 1173108"/>
                <a:gd name="connsiteX1067" fmla="*/ 1359803 w 1570607"/>
                <a:gd name="connsiteY1067" fmla="*/ 1026979 h 1173108"/>
                <a:gd name="connsiteX1068" fmla="*/ 1362409 w 1570607"/>
                <a:gd name="connsiteY1068" fmla="*/ 1026979 h 1173108"/>
                <a:gd name="connsiteX1069" fmla="*/ 1364039 w 1570607"/>
                <a:gd name="connsiteY1069" fmla="*/ 1029423 h 1173108"/>
                <a:gd name="connsiteX1070" fmla="*/ 1364364 w 1570607"/>
                <a:gd name="connsiteY1070" fmla="*/ 1025187 h 1173108"/>
                <a:gd name="connsiteX1071" fmla="*/ 1359803 w 1570607"/>
                <a:gd name="connsiteY1071" fmla="*/ 1021929 h 1173108"/>
                <a:gd name="connsiteX1072" fmla="*/ 1360291 w 1570607"/>
                <a:gd name="connsiteY1072" fmla="*/ 1017856 h 1173108"/>
                <a:gd name="connsiteX1073" fmla="*/ 1362898 w 1570607"/>
                <a:gd name="connsiteY1073" fmla="*/ 1017856 h 1173108"/>
                <a:gd name="connsiteX1074" fmla="*/ 1364690 w 1570607"/>
                <a:gd name="connsiteY1074" fmla="*/ 1014761 h 1173108"/>
                <a:gd name="connsiteX1075" fmla="*/ 1368600 w 1570607"/>
                <a:gd name="connsiteY1075" fmla="*/ 1018182 h 1173108"/>
                <a:gd name="connsiteX1076" fmla="*/ 1368600 w 1570607"/>
                <a:gd name="connsiteY1076" fmla="*/ 1021766 h 1173108"/>
                <a:gd name="connsiteX1077" fmla="*/ 1371207 w 1570607"/>
                <a:gd name="connsiteY1077" fmla="*/ 1021766 h 1173108"/>
                <a:gd name="connsiteX1078" fmla="*/ 1373976 w 1570607"/>
                <a:gd name="connsiteY1078" fmla="*/ 1026002 h 1173108"/>
                <a:gd name="connsiteX1079" fmla="*/ 1374302 w 1570607"/>
                <a:gd name="connsiteY1079" fmla="*/ 1019811 h 1173108"/>
                <a:gd name="connsiteX1080" fmla="*/ 1372347 w 1570607"/>
                <a:gd name="connsiteY1080" fmla="*/ 1016064 h 1173108"/>
                <a:gd name="connsiteX1081" fmla="*/ 1369903 w 1570607"/>
                <a:gd name="connsiteY1081" fmla="*/ 1016064 h 1173108"/>
                <a:gd name="connsiteX1082" fmla="*/ 1368926 w 1570607"/>
                <a:gd name="connsiteY1082" fmla="*/ 1013295 h 1173108"/>
                <a:gd name="connsiteX1083" fmla="*/ 1372347 w 1570607"/>
                <a:gd name="connsiteY1083" fmla="*/ 1012318 h 1173108"/>
                <a:gd name="connsiteX1084" fmla="*/ 1372998 w 1570607"/>
                <a:gd name="connsiteY1084" fmla="*/ 1008896 h 1173108"/>
                <a:gd name="connsiteX1085" fmla="*/ 1368763 w 1570607"/>
                <a:gd name="connsiteY1085" fmla="*/ 1007593 h 1173108"/>
                <a:gd name="connsiteX1086" fmla="*/ 1374628 w 1570607"/>
                <a:gd name="connsiteY1086" fmla="*/ 1002543 h 1173108"/>
                <a:gd name="connsiteX1087" fmla="*/ 1371858 w 1570607"/>
                <a:gd name="connsiteY1087" fmla="*/ 999773 h 1173108"/>
                <a:gd name="connsiteX1088" fmla="*/ 1367786 w 1570607"/>
                <a:gd name="connsiteY1088" fmla="*/ 999936 h 1173108"/>
                <a:gd name="connsiteX1089" fmla="*/ 1365830 w 1570607"/>
                <a:gd name="connsiteY1089" fmla="*/ 1001891 h 1173108"/>
                <a:gd name="connsiteX1090" fmla="*/ 1366808 w 1570607"/>
                <a:gd name="connsiteY1090" fmla="*/ 997981 h 1173108"/>
                <a:gd name="connsiteX1091" fmla="*/ 1372021 w 1570607"/>
                <a:gd name="connsiteY1091" fmla="*/ 994235 h 1173108"/>
                <a:gd name="connsiteX1092" fmla="*/ 1380493 w 1570607"/>
                <a:gd name="connsiteY1092" fmla="*/ 990651 h 1173108"/>
                <a:gd name="connsiteX1093" fmla="*/ 1377886 w 1570607"/>
                <a:gd name="connsiteY1093" fmla="*/ 987718 h 1173108"/>
                <a:gd name="connsiteX1094" fmla="*/ 1374791 w 1570607"/>
                <a:gd name="connsiteY1094" fmla="*/ 990651 h 1173108"/>
                <a:gd name="connsiteX1095" fmla="*/ 1368600 w 1570607"/>
                <a:gd name="connsiteY1095" fmla="*/ 985112 h 1173108"/>
                <a:gd name="connsiteX1096" fmla="*/ 1373976 w 1570607"/>
                <a:gd name="connsiteY1096" fmla="*/ 985112 h 1173108"/>
                <a:gd name="connsiteX1097" fmla="*/ 1370555 w 1570607"/>
                <a:gd name="connsiteY1097" fmla="*/ 980550 h 1173108"/>
                <a:gd name="connsiteX1098" fmla="*/ 1366482 w 1570607"/>
                <a:gd name="connsiteY1098" fmla="*/ 980224 h 1173108"/>
                <a:gd name="connsiteX1099" fmla="*/ 1369089 w 1570607"/>
                <a:gd name="connsiteY1099" fmla="*/ 977781 h 1173108"/>
                <a:gd name="connsiteX1100" fmla="*/ 1366971 w 1570607"/>
                <a:gd name="connsiteY1100" fmla="*/ 975174 h 1173108"/>
                <a:gd name="connsiteX1101" fmla="*/ 1370229 w 1570607"/>
                <a:gd name="connsiteY1101" fmla="*/ 975826 h 1173108"/>
                <a:gd name="connsiteX1102" fmla="*/ 1371207 w 1570607"/>
                <a:gd name="connsiteY1102" fmla="*/ 971590 h 1173108"/>
                <a:gd name="connsiteX1103" fmla="*/ 1372836 w 1570607"/>
                <a:gd name="connsiteY1103" fmla="*/ 972079 h 1173108"/>
                <a:gd name="connsiteX1104" fmla="*/ 1375442 w 1570607"/>
                <a:gd name="connsiteY1104" fmla="*/ 971590 h 1173108"/>
                <a:gd name="connsiteX1105" fmla="*/ 1375116 w 1570607"/>
                <a:gd name="connsiteY1105" fmla="*/ 976640 h 1173108"/>
                <a:gd name="connsiteX1106" fmla="*/ 1378375 w 1570607"/>
                <a:gd name="connsiteY1106" fmla="*/ 976640 h 1173108"/>
                <a:gd name="connsiteX1107" fmla="*/ 1384728 w 1570607"/>
                <a:gd name="connsiteY1107" fmla="*/ 969961 h 1173108"/>
                <a:gd name="connsiteX1108" fmla="*/ 1385217 w 1570607"/>
                <a:gd name="connsiteY1108" fmla="*/ 966866 h 1173108"/>
                <a:gd name="connsiteX1109" fmla="*/ 1390918 w 1570607"/>
                <a:gd name="connsiteY1109" fmla="*/ 967192 h 1173108"/>
                <a:gd name="connsiteX1110" fmla="*/ 1387498 w 1570607"/>
                <a:gd name="connsiteY1110" fmla="*/ 962956 h 1173108"/>
                <a:gd name="connsiteX1111" fmla="*/ 1383588 w 1570607"/>
                <a:gd name="connsiteY1111" fmla="*/ 962630 h 1173108"/>
                <a:gd name="connsiteX1112" fmla="*/ 1384728 w 1570607"/>
                <a:gd name="connsiteY1112" fmla="*/ 958069 h 1173108"/>
                <a:gd name="connsiteX1113" fmla="*/ 1388312 w 1570607"/>
                <a:gd name="connsiteY1113" fmla="*/ 961816 h 1173108"/>
                <a:gd name="connsiteX1114" fmla="*/ 1392548 w 1570607"/>
                <a:gd name="connsiteY1114" fmla="*/ 959698 h 1173108"/>
                <a:gd name="connsiteX1115" fmla="*/ 1392385 w 1570607"/>
                <a:gd name="connsiteY1115" fmla="*/ 955136 h 1173108"/>
                <a:gd name="connsiteX1116" fmla="*/ 1394014 w 1570607"/>
                <a:gd name="connsiteY1116" fmla="*/ 953344 h 1173108"/>
                <a:gd name="connsiteX1117" fmla="*/ 1391896 w 1570607"/>
                <a:gd name="connsiteY1117" fmla="*/ 950412 h 1173108"/>
                <a:gd name="connsiteX1118" fmla="*/ 1392385 w 1570607"/>
                <a:gd name="connsiteY1118" fmla="*/ 946828 h 1173108"/>
                <a:gd name="connsiteX1119" fmla="*/ 1395154 w 1570607"/>
                <a:gd name="connsiteY1119" fmla="*/ 944873 h 1173108"/>
                <a:gd name="connsiteX1120" fmla="*/ 1393362 w 1570607"/>
                <a:gd name="connsiteY1120" fmla="*/ 941778 h 1173108"/>
                <a:gd name="connsiteX1121" fmla="*/ 1393362 w 1570607"/>
                <a:gd name="connsiteY1121" fmla="*/ 939171 h 1173108"/>
                <a:gd name="connsiteX1122" fmla="*/ 1388312 w 1570607"/>
                <a:gd name="connsiteY1122" fmla="*/ 936402 h 1173108"/>
                <a:gd name="connsiteX1123" fmla="*/ 1395480 w 1570607"/>
                <a:gd name="connsiteY1123" fmla="*/ 938519 h 1173108"/>
                <a:gd name="connsiteX1124" fmla="*/ 1398250 w 1570607"/>
                <a:gd name="connsiteY1124" fmla="*/ 936239 h 1173108"/>
                <a:gd name="connsiteX1125" fmla="*/ 1402159 w 1570607"/>
                <a:gd name="connsiteY1125" fmla="*/ 927116 h 1173108"/>
                <a:gd name="connsiteX1126" fmla="*/ 1406395 w 1570607"/>
                <a:gd name="connsiteY1126" fmla="*/ 926627 h 1173108"/>
                <a:gd name="connsiteX1127" fmla="*/ 1407209 w 1570607"/>
                <a:gd name="connsiteY1127" fmla="*/ 930700 h 1173108"/>
                <a:gd name="connsiteX1128" fmla="*/ 1408513 w 1570607"/>
                <a:gd name="connsiteY1128" fmla="*/ 932655 h 1173108"/>
                <a:gd name="connsiteX1129" fmla="*/ 1409490 w 1570607"/>
                <a:gd name="connsiteY1129" fmla="*/ 927442 h 1173108"/>
                <a:gd name="connsiteX1130" fmla="*/ 1413074 w 1570607"/>
                <a:gd name="connsiteY1130" fmla="*/ 925161 h 1173108"/>
                <a:gd name="connsiteX1131" fmla="*/ 1410305 w 1570607"/>
                <a:gd name="connsiteY1131" fmla="*/ 920437 h 1173108"/>
                <a:gd name="connsiteX1132" fmla="*/ 1405418 w 1570607"/>
                <a:gd name="connsiteY1132" fmla="*/ 920111 h 1173108"/>
                <a:gd name="connsiteX1133" fmla="*/ 1403300 w 1570607"/>
                <a:gd name="connsiteY1133" fmla="*/ 917993 h 1173108"/>
                <a:gd name="connsiteX1134" fmla="*/ 1405418 w 1570607"/>
                <a:gd name="connsiteY1134" fmla="*/ 916201 h 1173108"/>
                <a:gd name="connsiteX1135" fmla="*/ 1408839 w 1570607"/>
                <a:gd name="connsiteY1135" fmla="*/ 916853 h 1173108"/>
                <a:gd name="connsiteX1136" fmla="*/ 1411771 w 1570607"/>
                <a:gd name="connsiteY1136" fmla="*/ 914246 h 1173108"/>
                <a:gd name="connsiteX1137" fmla="*/ 1409327 w 1570607"/>
                <a:gd name="connsiteY1137" fmla="*/ 911640 h 1173108"/>
                <a:gd name="connsiteX1138" fmla="*/ 1406232 w 1570607"/>
                <a:gd name="connsiteY1138" fmla="*/ 910010 h 1173108"/>
                <a:gd name="connsiteX1139" fmla="*/ 1409653 w 1570607"/>
                <a:gd name="connsiteY1139" fmla="*/ 906915 h 1173108"/>
                <a:gd name="connsiteX1140" fmla="*/ 1411445 w 1570607"/>
                <a:gd name="connsiteY1140" fmla="*/ 907241 h 1173108"/>
                <a:gd name="connsiteX1141" fmla="*/ 1412097 w 1570607"/>
                <a:gd name="connsiteY1141" fmla="*/ 905123 h 1173108"/>
                <a:gd name="connsiteX1142" fmla="*/ 1409327 w 1570607"/>
                <a:gd name="connsiteY1142" fmla="*/ 902517 h 1173108"/>
                <a:gd name="connsiteX1143" fmla="*/ 1400856 w 1570607"/>
                <a:gd name="connsiteY1143" fmla="*/ 902843 h 1173108"/>
                <a:gd name="connsiteX1144" fmla="*/ 1401345 w 1570607"/>
                <a:gd name="connsiteY1144" fmla="*/ 900562 h 1173108"/>
                <a:gd name="connsiteX1145" fmla="*/ 1406721 w 1570607"/>
                <a:gd name="connsiteY1145" fmla="*/ 896000 h 1173108"/>
                <a:gd name="connsiteX1146" fmla="*/ 1411771 w 1570607"/>
                <a:gd name="connsiteY1146" fmla="*/ 897141 h 1173108"/>
                <a:gd name="connsiteX1147" fmla="*/ 1413237 w 1570607"/>
                <a:gd name="connsiteY1147" fmla="*/ 896000 h 1173108"/>
                <a:gd name="connsiteX1148" fmla="*/ 1413889 w 1570607"/>
                <a:gd name="connsiteY1148" fmla="*/ 893394 h 1173108"/>
                <a:gd name="connsiteX1149" fmla="*/ 1416984 w 1570607"/>
                <a:gd name="connsiteY1149" fmla="*/ 895023 h 1173108"/>
                <a:gd name="connsiteX1150" fmla="*/ 1417310 w 1570607"/>
                <a:gd name="connsiteY1150" fmla="*/ 896978 h 1173108"/>
                <a:gd name="connsiteX1151" fmla="*/ 1420568 w 1570607"/>
                <a:gd name="connsiteY1151" fmla="*/ 894371 h 1173108"/>
                <a:gd name="connsiteX1152" fmla="*/ 1418939 w 1570607"/>
                <a:gd name="connsiteY1152" fmla="*/ 891276 h 1173108"/>
                <a:gd name="connsiteX1153" fmla="*/ 1418287 w 1570607"/>
                <a:gd name="connsiteY1153" fmla="*/ 883619 h 1173108"/>
                <a:gd name="connsiteX1154" fmla="*/ 1415518 w 1570607"/>
                <a:gd name="connsiteY1154" fmla="*/ 881827 h 1173108"/>
                <a:gd name="connsiteX1155" fmla="*/ 1412423 w 1570607"/>
                <a:gd name="connsiteY1155" fmla="*/ 884922 h 1173108"/>
                <a:gd name="connsiteX1156" fmla="*/ 1413400 w 1570607"/>
                <a:gd name="connsiteY1156" fmla="*/ 886389 h 1173108"/>
                <a:gd name="connsiteX1157" fmla="*/ 1413400 w 1570607"/>
                <a:gd name="connsiteY1157" fmla="*/ 888669 h 1173108"/>
                <a:gd name="connsiteX1158" fmla="*/ 1408024 w 1570607"/>
                <a:gd name="connsiteY1158" fmla="*/ 887529 h 1173108"/>
                <a:gd name="connsiteX1159" fmla="*/ 1401345 w 1570607"/>
                <a:gd name="connsiteY1159" fmla="*/ 893068 h 1173108"/>
                <a:gd name="connsiteX1160" fmla="*/ 1397923 w 1570607"/>
                <a:gd name="connsiteY1160" fmla="*/ 892579 h 1173108"/>
                <a:gd name="connsiteX1161" fmla="*/ 1397923 w 1570607"/>
                <a:gd name="connsiteY1161" fmla="*/ 887855 h 1173108"/>
                <a:gd name="connsiteX1162" fmla="*/ 1404929 w 1570607"/>
                <a:gd name="connsiteY1162" fmla="*/ 886552 h 1173108"/>
                <a:gd name="connsiteX1163" fmla="*/ 1416332 w 1570607"/>
                <a:gd name="connsiteY1163" fmla="*/ 875962 h 1173108"/>
                <a:gd name="connsiteX1164" fmla="*/ 1415518 w 1570607"/>
                <a:gd name="connsiteY1164" fmla="*/ 874333 h 1173108"/>
                <a:gd name="connsiteX1165" fmla="*/ 1410468 w 1570607"/>
                <a:gd name="connsiteY1165" fmla="*/ 874333 h 1173108"/>
                <a:gd name="connsiteX1166" fmla="*/ 1408350 w 1570607"/>
                <a:gd name="connsiteY1166" fmla="*/ 871727 h 1173108"/>
                <a:gd name="connsiteX1167" fmla="*/ 1407046 w 1570607"/>
                <a:gd name="connsiteY1167" fmla="*/ 874008 h 1173108"/>
                <a:gd name="connsiteX1168" fmla="*/ 1398738 w 1570607"/>
                <a:gd name="connsiteY1168" fmla="*/ 863256 h 1173108"/>
                <a:gd name="connsiteX1169" fmla="*/ 1392711 w 1570607"/>
                <a:gd name="connsiteY1169" fmla="*/ 862441 h 1173108"/>
                <a:gd name="connsiteX1170" fmla="*/ 1384728 w 1570607"/>
                <a:gd name="connsiteY1170" fmla="*/ 869120 h 1173108"/>
                <a:gd name="connsiteX1171" fmla="*/ 1380655 w 1570607"/>
                <a:gd name="connsiteY1171" fmla="*/ 867817 h 1173108"/>
                <a:gd name="connsiteX1172" fmla="*/ 1375442 w 1570607"/>
                <a:gd name="connsiteY1172" fmla="*/ 860160 h 1173108"/>
                <a:gd name="connsiteX1173" fmla="*/ 1370229 w 1570607"/>
                <a:gd name="connsiteY1173" fmla="*/ 861464 h 1173108"/>
                <a:gd name="connsiteX1174" fmla="*/ 1365016 w 1570607"/>
                <a:gd name="connsiteY1174" fmla="*/ 865699 h 1173108"/>
                <a:gd name="connsiteX1175" fmla="*/ 1363550 w 1570607"/>
                <a:gd name="connsiteY1175" fmla="*/ 870098 h 1173108"/>
                <a:gd name="connsiteX1176" fmla="*/ 1364039 w 1570607"/>
                <a:gd name="connsiteY1176" fmla="*/ 864070 h 1173108"/>
                <a:gd name="connsiteX1177" fmla="*/ 1369903 w 1570607"/>
                <a:gd name="connsiteY1177" fmla="*/ 859346 h 1173108"/>
                <a:gd name="connsiteX1178" fmla="*/ 1373161 w 1570607"/>
                <a:gd name="connsiteY1178" fmla="*/ 859509 h 1173108"/>
                <a:gd name="connsiteX1179" fmla="*/ 1376582 w 1570607"/>
                <a:gd name="connsiteY1179" fmla="*/ 856902 h 1173108"/>
                <a:gd name="connsiteX1180" fmla="*/ 1382773 w 1570607"/>
                <a:gd name="connsiteY1180" fmla="*/ 859997 h 1173108"/>
                <a:gd name="connsiteX1181" fmla="*/ 1387334 w 1570607"/>
                <a:gd name="connsiteY1181" fmla="*/ 857880 h 1173108"/>
                <a:gd name="connsiteX1182" fmla="*/ 1387661 w 1570607"/>
                <a:gd name="connsiteY1182" fmla="*/ 853481 h 1173108"/>
                <a:gd name="connsiteX1183" fmla="*/ 1390267 w 1570607"/>
                <a:gd name="connsiteY1183" fmla="*/ 851200 h 1173108"/>
                <a:gd name="connsiteX1184" fmla="*/ 1393362 w 1570607"/>
                <a:gd name="connsiteY1184" fmla="*/ 851526 h 1173108"/>
                <a:gd name="connsiteX1185" fmla="*/ 1399227 w 1570607"/>
                <a:gd name="connsiteY1185" fmla="*/ 844521 h 1173108"/>
                <a:gd name="connsiteX1186" fmla="*/ 1406232 w 1570607"/>
                <a:gd name="connsiteY1186" fmla="*/ 843869 h 1173108"/>
                <a:gd name="connsiteX1187" fmla="*/ 1406395 w 1570607"/>
                <a:gd name="connsiteY1187" fmla="*/ 840122 h 1173108"/>
                <a:gd name="connsiteX1188" fmla="*/ 1400204 w 1570607"/>
                <a:gd name="connsiteY1188" fmla="*/ 830022 h 1173108"/>
                <a:gd name="connsiteX1189" fmla="*/ 1387171 w 1570607"/>
                <a:gd name="connsiteY1189" fmla="*/ 821877 h 1173108"/>
                <a:gd name="connsiteX1190" fmla="*/ 1378537 w 1570607"/>
                <a:gd name="connsiteY1190" fmla="*/ 817152 h 1173108"/>
                <a:gd name="connsiteX1191" fmla="*/ 1368274 w 1570607"/>
                <a:gd name="connsiteY1191" fmla="*/ 807052 h 1173108"/>
                <a:gd name="connsiteX1192" fmla="*/ 1363387 w 1570607"/>
                <a:gd name="connsiteY1192" fmla="*/ 806889 h 1173108"/>
                <a:gd name="connsiteX1193" fmla="*/ 1354916 w 1570607"/>
                <a:gd name="connsiteY1193" fmla="*/ 812591 h 1173108"/>
                <a:gd name="connsiteX1194" fmla="*/ 1351006 w 1570607"/>
                <a:gd name="connsiteY1194" fmla="*/ 811613 h 1173108"/>
                <a:gd name="connsiteX1195" fmla="*/ 1344327 w 1570607"/>
                <a:gd name="connsiteY1195" fmla="*/ 805749 h 1173108"/>
                <a:gd name="connsiteX1196" fmla="*/ 1344164 w 1570607"/>
                <a:gd name="connsiteY1196" fmla="*/ 802979 h 1173108"/>
                <a:gd name="connsiteX1197" fmla="*/ 1341394 w 1570607"/>
                <a:gd name="connsiteY1197" fmla="*/ 801839 h 1173108"/>
                <a:gd name="connsiteX1198" fmla="*/ 1335693 w 1570607"/>
                <a:gd name="connsiteY1198" fmla="*/ 804119 h 1173108"/>
                <a:gd name="connsiteX1199" fmla="*/ 1329013 w 1570607"/>
                <a:gd name="connsiteY1199" fmla="*/ 803305 h 1173108"/>
                <a:gd name="connsiteX1200" fmla="*/ 1323474 w 1570607"/>
                <a:gd name="connsiteY1200" fmla="*/ 805260 h 1173108"/>
                <a:gd name="connsiteX1201" fmla="*/ 1316306 w 1570607"/>
                <a:gd name="connsiteY1201" fmla="*/ 814057 h 1173108"/>
                <a:gd name="connsiteX1202" fmla="*/ 1322334 w 1570607"/>
                <a:gd name="connsiteY1202" fmla="*/ 802328 h 1173108"/>
                <a:gd name="connsiteX1203" fmla="*/ 1326895 w 1570607"/>
                <a:gd name="connsiteY1203" fmla="*/ 800047 h 1173108"/>
                <a:gd name="connsiteX1204" fmla="*/ 1329991 w 1570607"/>
                <a:gd name="connsiteY1204" fmla="*/ 801024 h 1173108"/>
                <a:gd name="connsiteX1205" fmla="*/ 1333412 w 1570607"/>
                <a:gd name="connsiteY1205" fmla="*/ 801024 h 1173108"/>
                <a:gd name="connsiteX1206" fmla="*/ 1334715 w 1570607"/>
                <a:gd name="connsiteY1206" fmla="*/ 799558 h 1173108"/>
                <a:gd name="connsiteX1207" fmla="*/ 1338625 w 1570607"/>
                <a:gd name="connsiteY1207" fmla="*/ 801024 h 1173108"/>
                <a:gd name="connsiteX1208" fmla="*/ 1345304 w 1570607"/>
                <a:gd name="connsiteY1208" fmla="*/ 798418 h 1173108"/>
                <a:gd name="connsiteX1209" fmla="*/ 1348399 w 1570607"/>
                <a:gd name="connsiteY1209" fmla="*/ 806075 h 1173108"/>
                <a:gd name="connsiteX1210" fmla="*/ 1351657 w 1570607"/>
                <a:gd name="connsiteY1210" fmla="*/ 808844 h 1173108"/>
                <a:gd name="connsiteX1211" fmla="*/ 1356707 w 1570607"/>
                <a:gd name="connsiteY1211" fmla="*/ 808844 h 1173108"/>
                <a:gd name="connsiteX1212" fmla="*/ 1359966 w 1570607"/>
                <a:gd name="connsiteY1212" fmla="*/ 804283 h 1173108"/>
                <a:gd name="connsiteX1213" fmla="*/ 1368111 w 1570607"/>
                <a:gd name="connsiteY1213" fmla="*/ 805423 h 1173108"/>
                <a:gd name="connsiteX1214" fmla="*/ 1373813 w 1570607"/>
                <a:gd name="connsiteY1214" fmla="*/ 809333 h 1173108"/>
                <a:gd name="connsiteX1215" fmla="*/ 1377560 w 1570607"/>
                <a:gd name="connsiteY1215" fmla="*/ 809495 h 1173108"/>
                <a:gd name="connsiteX1216" fmla="*/ 1382610 w 1570607"/>
                <a:gd name="connsiteY1216" fmla="*/ 814709 h 1173108"/>
                <a:gd name="connsiteX1217" fmla="*/ 1389941 w 1570607"/>
                <a:gd name="connsiteY1217" fmla="*/ 810473 h 1173108"/>
                <a:gd name="connsiteX1218" fmla="*/ 1400530 w 1570607"/>
                <a:gd name="connsiteY1218" fmla="*/ 814383 h 1173108"/>
                <a:gd name="connsiteX1219" fmla="*/ 1403300 w 1570607"/>
                <a:gd name="connsiteY1219" fmla="*/ 812591 h 1173108"/>
                <a:gd name="connsiteX1220" fmla="*/ 1399716 w 1570607"/>
                <a:gd name="connsiteY1220" fmla="*/ 805260 h 1173108"/>
                <a:gd name="connsiteX1221" fmla="*/ 1396457 w 1570607"/>
                <a:gd name="connsiteY1221" fmla="*/ 803957 h 1173108"/>
                <a:gd name="connsiteX1222" fmla="*/ 1390430 w 1570607"/>
                <a:gd name="connsiteY1222" fmla="*/ 796626 h 1173108"/>
                <a:gd name="connsiteX1223" fmla="*/ 1390430 w 1570607"/>
                <a:gd name="connsiteY1223" fmla="*/ 794671 h 1173108"/>
                <a:gd name="connsiteX1224" fmla="*/ 1387661 w 1570607"/>
                <a:gd name="connsiteY1224" fmla="*/ 792553 h 1173108"/>
                <a:gd name="connsiteX1225" fmla="*/ 1382447 w 1570607"/>
                <a:gd name="connsiteY1225" fmla="*/ 792879 h 1173108"/>
                <a:gd name="connsiteX1226" fmla="*/ 1377397 w 1570607"/>
                <a:gd name="connsiteY1226" fmla="*/ 790761 h 1173108"/>
                <a:gd name="connsiteX1227" fmla="*/ 1370718 w 1570607"/>
                <a:gd name="connsiteY1227" fmla="*/ 781149 h 1173108"/>
                <a:gd name="connsiteX1228" fmla="*/ 1370555 w 1570607"/>
                <a:gd name="connsiteY1228" fmla="*/ 773656 h 1173108"/>
                <a:gd name="connsiteX1229" fmla="*/ 1360943 w 1570607"/>
                <a:gd name="connsiteY1229" fmla="*/ 766651 h 1173108"/>
                <a:gd name="connsiteX1230" fmla="*/ 1360455 w 1570607"/>
                <a:gd name="connsiteY1230" fmla="*/ 759157 h 1173108"/>
                <a:gd name="connsiteX1231" fmla="*/ 1355404 w 1570607"/>
                <a:gd name="connsiteY1231" fmla="*/ 757365 h 1173108"/>
                <a:gd name="connsiteX1232" fmla="*/ 1357848 w 1570607"/>
                <a:gd name="connsiteY1232" fmla="*/ 751337 h 1173108"/>
                <a:gd name="connsiteX1233" fmla="*/ 1356219 w 1570607"/>
                <a:gd name="connsiteY1233" fmla="*/ 751011 h 1173108"/>
                <a:gd name="connsiteX1234" fmla="*/ 1348399 w 1570607"/>
                <a:gd name="connsiteY1234" fmla="*/ 734883 h 1173108"/>
                <a:gd name="connsiteX1235" fmla="*/ 1334389 w 1570607"/>
                <a:gd name="connsiteY1235" fmla="*/ 727715 h 1173108"/>
                <a:gd name="connsiteX1236" fmla="*/ 1330642 w 1570607"/>
                <a:gd name="connsiteY1236" fmla="*/ 729833 h 1173108"/>
                <a:gd name="connsiteX1237" fmla="*/ 1330642 w 1570607"/>
                <a:gd name="connsiteY1237" fmla="*/ 726249 h 1173108"/>
                <a:gd name="connsiteX1238" fmla="*/ 1317446 w 1570607"/>
                <a:gd name="connsiteY1238" fmla="*/ 720059 h 1173108"/>
                <a:gd name="connsiteX1239" fmla="*/ 1315491 w 1570607"/>
                <a:gd name="connsiteY1239" fmla="*/ 720221 h 1173108"/>
                <a:gd name="connsiteX1240" fmla="*/ 1315329 w 1570607"/>
                <a:gd name="connsiteY1240" fmla="*/ 707514 h 1173108"/>
                <a:gd name="connsiteX1241" fmla="*/ 1317446 w 1570607"/>
                <a:gd name="connsiteY1241" fmla="*/ 698717 h 1173108"/>
                <a:gd name="connsiteX1242" fmla="*/ 1315329 w 1570607"/>
                <a:gd name="connsiteY1242" fmla="*/ 692853 h 1173108"/>
                <a:gd name="connsiteX1243" fmla="*/ 1316632 w 1570607"/>
                <a:gd name="connsiteY1243" fmla="*/ 685522 h 1173108"/>
                <a:gd name="connsiteX1244" fmla="*/ 1318424 w 1570607"/>
                <a:gd name="connsiteY1244" fmla="*/ 686662 h 1173108"/>
                <a:gd name="connsiteX1245" fmla="*/ 1322171 w 1570607"/>
                <a:gd name="connsiteY1245" fmla="*/ 685522 h 1173108"/>
                <a:gd name="connsiteX1246" fmla="*/ 1326732 w 1570607"/>
                <a:gd name="connsiteY1246" fmla="*/ 678028 h 1173108"/>
                <a:gd name="connsiteX1247" fmla="*/ 1329339 w 1570607"/>
                <a:gd name="connsiteY1247" fmla="*/ 679657 h 1173108"/>
                <a:gd name="connsiteX1248" fmla="*/ 1333900 w 1570607"/>
                <a:gd name="connsiteY1248" fmla="*/ 674118 h 1173108"/>
                <a:gd name="connsiteX1249" fmla="*/ 1329013 w 1570607"/>
                <a:gd name="connsiteY1249" fmla="*/ 671349 h 1173108"/>
                <a:gd name="connsiteX1250" fmla="*/ 1326732 w 1570607"/>
                <a:gd name="connsiteY1250" fmla="*/ 668253 h 1173108"/>
                <a:gd name="connsiteX1251" fmla="*/ 1330805 w 1570607"/>
                <a:gd name="connsiteY1251" fmla="*/ 663692 h 1173108"/>
                <a:gd name="connsiteX1252" fmla="*/ 1338625 w 1570607"/>
                <a:gd name="connsiteY1252" fmla="*/ 664181 h 1173108"/>
                <a:gd name="connsiteX1253" fmla="*/ 1338788 w 1570607"/>
                <a:gd name="connsiteY1253" fmla="*/ 658642 h 1173108"/>
                <a:gd name="connsiteX1254" fmla="*/ 1345141 w 1570607"/>
                <a:gd name="connsiteY1254" fmla="*/ 657501 h 1173108"/>
                <a:gd name="connsiteX1255" fmla="*/ 1344489 w 1570607"/>
                <a:gd name="connsiteY1255" fmla="*/ 653428 h 1173108"/>
                <a:gd name="connsiteX1256" fmla="*/ 1338788 w 1570607"/>
                <a:gd name="connsiteY1256" fmla="*/ 649845 h 1173108"/>
                <a:gd name="connsiteX1257" fmla="*/ 1344489 w 1570607"/>
                <a:gd name="connsiteY1257" fmla="*/ 649030 h 1173108"/>
                <a:gd name="connsiteX1258" fmla="*/ 1348888 w 1570607"/>
                <a:gd name="connsiteY1258" fmla="*/ 652288 h 1173108"/>
                <a:gd name="connsiteX1259" fmla="*/ 1350028 w 1570607"/>
                <a:gd name="connsiteY1259" fmla="*/ 649193 h 1173108"/>
                <a:gd name="connsiteX1260" fmla="*/ 1354590 w 1570607"/>
                <a:gd name="connsiteY1260" fmla="*/ 649356 h 1173108"/>
                <a:gd name="connsiteX1261" fmla="*/ 1359314 w 1570607"/>
                <a:gd name="connsiteY1261" fmla="*/ 645609 h 1173108"/>
                <a:gd name="connsiteX1262" fmla="*/ 1362572 w 1570607"/>
                <a:gd name="connsiteY1262" fmla="*/ 645609 h 1173108"/>
                <a:gd name="connsiteX1263" fmla="*/ 1367948 w 1570607"/>
                <a:gd name="connsiteY1263" fmla="*/ 638441 h 1173108"/>
                <a:gd name="connsiteX1264" fmla="*/ 1369903 w 1570607"/>
                <a:gd name="connsiteY1264" fmla="*/ 641536 h 1173108"/>
                <a:gd name="connsiteX1265" fmla="*/ 1372184 w 1570607"/>
                <a:gd name="connsiteY1265" fmla="*/ 638604 h 1173108"/>
                <a:gd name="connsiteX1266" fmla="*/ 1372836 w 1570607"/>
                <a:gd name="connsiteY1266" fmla="*/ 641210 h 1173108"/>
                <a:gd name="connsiteX1267" fmla="*/ 1379026 w 1570607"/>
                <a:gd name="connsiteY1267" fmla="*/ 645609 h 1173108"/>
                <a:gd name="connsiteX1268" fmla="*/ 1385380 w 1570607"/>
                <a:gd name="connsiteY1268" fmla="*/ 640070 h 1173108"/>
                <a:gd name="connsiteX1269" fmla="*/ 1385380 w 1570607"/>
                <a:gd name="connsiteY1269" fmla="*/ 637789 h 1173108"/>
                <a:gd name="connsiteX1270" fmla="*/ 1381307 w 1570607"/>
                <a:gd name="connsiteY1270" fmla="*/ 636975 h 1173108"/>
                <a:gd name="connsiteX1271" fmla="*/ 1380655 w 1570607"/>
                <a:gd name="connsiteY1271" fmla="*/ 631599 h 1173108"/>
                <a:gd name="connsiteX1272" fmla="*/ 1384077 w 1570607"/>
                <a:gd name="connsiteY1272" fmla="*/ 629807 h 1173108"/>
                <a:gd name="connsiteX1273" fmla="*/ 1386683 w 1570607"/>
                <a:gd name="connsiteY1273" fmla="*/ 629807 h 1173108"/>
                <a:gd name="connsiteX1274" fmla="*/ 1382447 w 1570607"/>
                <a:gd name="connsiteY1274" fmla="*/ 623942 h 1173108"/>
                <a:gd name="connsiteX1275" fmla="*/ 1382773 w 1570607"/>
                <a:gd name="connsiteY1275" fmla="*/ 621010 h 1173108"/>
                <a:gd name="connsiteX1276" fmla="*/ 1388475 w 1570607"/>
                <a:gd name="connsiteY1276" fmla="*/ 619218 h 1173108"/>
                <a:gd name="connsiteX1277" fmla="*/ 1385217 w 1570607"/>
                <a:gd name="connsiteY1277" fmla="*/ 617752 h 1173108"/>
                <a:gd name="connsiteX1278" fmla="*/ 1379189 w 1570607"/>
                <a:gd name="connsiteY1278" fmla="*/ 618892 h 1173108"/>
                <a:gd name="connsiteX1279" fmla="*/ 1372021 w 1570607"/>
                <a:gd name="connsiteY1279" fmla="*/ 619055 h 1173108"/>
                <a:gd name="connsiteX1280" fmla="*/ 1372347 w 1570607"/>
                <a:gd name="connsiteY1280" fmla="*/ 616937 h 1173108"/>
                <a:gd name="connsiteX1281" fmla="*/ 1366808 w 1570607"/>
                <a:gd name="connsiteY1281" fmla="*/ 617100 h 1173108"/>
                <a:gd name="connsiteX1282" fmla="*/ 1364690 w 1570607"/>
                <a:gd name="connsiteY1282" fmla="*/ 619381 h 1173108"/>
                <a:gd name="connsiteX1283" fmla="*/ 1348399 w 1570607"/>
                <a:gd name="connsiteY1283" fmla="*/ 620032 h 1173108"/>
                <a:gd name="connsiteX1284" fmla="*/ 1345141 w 1570607"/>
                <a:gd name="connsiteY1284" fmla="*/ 617100 h 1173108"/>
                <a:gd name="connsiteX1285" fmla="*/ 1342046 w 1570607"/>
                <a:gd name="connsiteY1285" fmla="*/ 615797 h 1173108"/>
                <a:gd name="connsiteX1286" fmla="*/ 1339113 w 1570607"/>
                <a:gd name="connsiteY1286" fmla="*/ 611235 h 1173108"/>
                <a:gd name="connsiteX1287" fmla="*/ 1336181 w 1570607"/>
                <a:gd name="connsiteY1287" fmla="*/ 610095 h 1173108"/>
                <a:gd name="connsiteX1288" fmla="*/ 1334715 w 1570607"/>
                <a:gd name="connsiteY1288" fmla="*/ 607977 h 1173108"/>
                <a:gd name="connsiteX1289" fmla="*/ 1323148 w 1570607"/>
                <a:gd name="connsiteY1289" fmla="*/ 613516 h 1173108"/>
                <a:gd name="connsiteX1290" fmla="*/ 1316958 w 1570607"/>
                <a:gd name="connsiteY1290" fmla="*/ 613679 h 1173108"/>
                <a:gd name="connsiteX1291" fmla="*/ 1319075 w 1570607"/>
                <a:gd name="connsiteY1291" fmla="*/ 615308 h 1173108"/>
                <a:gd name="connsiteX1292" fmla="*/ 1319075 w 1570607"/>
                <a:gd name="connsiteY1292" fmla="*/ 620032 h 1173108"/>
                <a:gd name="connsiteX1293" fmla="*/ 1315491 w 1570607"/>
                <a:gd name="connsiteY1293" fmla="*/ 622965 h 1173108"/>
                <a:gd name="connsiteX1294" fmla="*/ 1308650 w 1570607"/>
                <a:gd name="connsiteY1294" fmla="*/ 625571 h 1173108"/>
                <a:gd name="connsiteX1295" fmla="*/ 1309790 w 1570607"/>
                <a:gd name="connsiteY1295" fmla="*/ 626386 h 1173108"/>
                <a:gd name="connsiteX1296" fmla="*/ 1312071 w 1570607"/>
                <a:gd name="connsiteY1296" fmla="*/ 629481 h 1173108"/>
                <a:gd name="connsiteX1297" fmla="*/ 1309301 w 1570607"/>
                <a:gd name="connsiteY1297" fmla="*/ 634368 h 1173108"/>
                <a:gd name="connsiteX1298" fmla="*/ 1307020 w 1570607"/>
                <a:gd name="connsiteY1298" fmla="*/ 636486 h 1173108"/>
                <a:gd name="connsiteX1299" fmla="*/ 1301970 w 1570607"/>
                <a:gd name="connsiteY1299" fmla="*/ 634531 h 1173108"/>
                <a:gd name="connsiteX1300" fmla="*/ 1297246 w 1570607"/>
                <a:gd name="connsiteY1300" fmla="*/ 637463 h 1173108"/>
                <a:gd name="connsiteX1301" fmla="*/ 1290404 w 1570607"/>
                <a:gd name="connsiteY1301" fmla="*/ 637301 h 1173108"/>
                <a:gd name="connsiteX1302" fmla="*/ 1283398 w 1570607"/>
                <a:gd name="connsiteY1302" fmla="*/ 623616 h 1173108"/>
                <a:gd name="connsiteX1303" fmla="*/ 1283398 w 1570607"/>
                <a:gd name="connsiteY1303" fmla="*/ 616774 h 1173108"/>
                <a:gd name="connsiteX1304" fmla="*/ 1282258 w 1570607"/>
                <a:gd name="connsiteY1304" fmla="*/ 611887 h 1173108"/>
                <a:gd name="connsiteX1305" fmla="*/ 1275579 w 1570607"/>
                <a:gd name="connsiteY1305" fmla="*/ 612050 h 1173108"/>
                <a:gd name="connsiteX1306" fmla="*/ 1272809 w 1570607"/>
                <a:gd name="connsiteY1306" fmla="*/ 613679 h 1173108"/>
                <a:gd name="connsiteX1307" fmla="*/ 1272484 w 1570607"/>
                <a:gd name="connsiteY1307" fmla="*/ 611072 h 1173108"/>
                <a:gd name="connsiteX1308" fmla="*/ 1269551 w 1570607"/>
                <a:gd name="connsiteY1308" fmla="*/ 611072 h 1173108"/>
                <a:gd name="connsiteX1309" fmla="*/ 1267434 w 1570607"/>
                <a:gd name="connsiteY1309" fmla="*/ 614168 h 1173108"/>
                <a:gd name="connsiteX1310" fmla="*/ 1265641 w 1570607"/>
                <a:gd name="connsiteY1310" fmla="*/ 611561 h 1173108"/>
                <a:gd name="connsiteX1311" fmla="*/ 1265479 w 1570607"/>
                <a:gd name="connsiteY1311" fmla="*/ 613842 h 1173108"/>
                <a:gd name="connsiteX1312" fmla="*/ 1261569 w 1570607"/>
                <a:gd name="connsiteY1312" fmla="*/ 607325 h 1173108"/>
                <a:gd name="connsiteX1313" fmla="*/ 1260591 w 1570607"/>
                <a:gd name="connsiteY1313" fmla="*/ 604230 h 1173108"/>
                <a:gd name="connsiteX1314" fmla="*/ 1252120 w 1570607"/>
                <a:gd name="connsiteY1314" fmla="*/ 598365 h 1173108"/>
                <a:gd name="connsiteX1315" fmla="*/ 1246744 w 1570607"/>
                <a:gd name="connsiteY1315" fmla="*/ 595270 h 1173108"/>
                <a:gd name="connsiteX1316" fmla="*/ 1246092 w 1570607"/>
                <a:gd name="connsiteY1316" fmla="*/ 589568 h 1173108"/>
                <a:gd name="connsiteX1317" fmla="*/ 1243486 w 1570607"/>
                <a:gd name="connsiteY1317" fmla="*/ 583703 h 1173108"/>
                <a:gd name="connsiteX1318" fmla="*/ 1245766 w 1570607"/>
                <a:gd name="connsiteY1318" fmla="*/ 581586 h 1173108"/>
                <a:gd name="connsiteX1319" fmla="*/ 1245604 w 1570607"/>
                <a:gd name="connsiteY1319" fmla="*/ 578979 h 1173108"/>
                <a:gd name="connsiteX1320" fmla="*/ 1246255 w 1570607"/>
                <a:gd name="connsiteY1320" fmla="*/ 576373 h 1173108"/>
                <a:gd name="connsiteX1321" fmla="*/ 1246907 w 1570607"/>
                <a:gd name="connsiteY1321" fmla="*/ 570997 h 1173108"/>
                <a:gd name="connsiteX1322" fmla="*/ 1250002 w 1570607"/>
                <a:gd name="connsiteY1322" fmla="*/ 568716 h 1173108"/>
                <a:gd name="connsiteX1323" fmla="*/ 1250491 w 1570607"/>
                <a:gd name="connsiteY1323" fmla="*/ 565784 h 1173108"/>
                <a:gd name="connsiteX1324" fmla="*/ 1260266 w 1570607"/>
                <a:gd name="connsiteY1324" fmla="*/ 569368 h 1173108"/>
                <a:gd name="connsiteX1325" fmla="*/ 1268574 w 1570607"/>
                <a:gd name="connsiteY1325" fmla="*/ 569204 h 1173108"/>
                <a:gd name="connsiteX1326" fmla="*/ 1275090 w 1570607"/>
                <a:gd name="connsiteY1326" fmla="*/ 568879 h 1173108"/>
                <a:gd name="connsiteX1327" fmla="*/ 1277697 w 1570607"/>
                <a:gd name="connsiteY1327" fmla="*/ 563503 h 1173108"/>
                <a:gd name="connsiteX1328" fmla="*/ 1276068 w 1570607"/>
                <a:gd name="connsiteY1328" fmla="*/ 561059 h 1173108"/>
                <a:gd name="connsiteX1329" fmla="*/ 1279814 w 1570607"/>
                <a:gd name="connsiteY1329" fmla="*/ 561059 h 1173108"/>
                <a:gd name="connsiteX1330" fmla="*/ 1278837 w 1570607"/>
                <a:gd name="connsiteY1330" fmla="*/ 554869 h 1173108"/>
                <a:gd name="connsiteX1331" fmla="*/ 1277208 w 1570607"/>
                <a:gd name="connsiteY1331" fmla="*/ 553402 h 1173108"/>
                <a:gd name="connsiteX1332" fmla="*/ 1279163 w 1570607"/>
                <a:gd name="connsiteY1332" fmla="*/ 550633 h 1173108"/>
                <a:gd name="connsiteX1333" fmla="*/ 1281932 w 1570607"/>
                <a:gd name="connsiteY1333" fmla="*/ 537600 h 1173108"/>
                <a:gd name="connsiteX1334" fmla="*/ 1291055 w 1570607"/>
                <a:gd name="connsiteY1334" fmla="*/ 532550 h 1173108"/>
                <a:gd name="connsiteX1335" fmla="*/ 1296431 w 1570607"/>
                <a:gd name="connsiteY1335" fmla="*/ 532387 h 1173108"/>
                <a:gd name="connsiteX1336" fmla="*/ 1300504 w 1570607"/>
                <a:gd name="connsiteY1336" fmla="*/ 525382 h 1173108"/>
                <a:gd name="connsiteX1337" fmla="*/ 1303111 w 1570607"/>
                <a:gd name="connsiteY1337" fmla="*/ 524893 h 1173108"/>
                <a:gd name="connsiteX1338" fmla="*/ 1303762 w 1570607"/>
                <a:gd name="connsiteY1338" fmla="*/ 514793 h 1173108"/>
                <a:gd name="connsiteX1339" fmla="*/ 1308975 w 1570607"/>
                <a:gd name="connsiteY1339" fmla="*/ 508928 h 1173108"/>
                <a:gd name="connsiteX1340" fmla="*/ 1309953 w 1570607"/>
                <a:gd name="connsiteY1340" fmla="*/ 503226 h 1173108"/>
                <a:gd name="connsiteX1341" fmla="*/ 1312071 w 1570607"/>
                <a:gd name="connsiteY1341" fmla="*/ 502086 h 1173108"/>
                <a:gd name="connsiteX1342" fmla="*/ 1315329 w 1570607"/>
                <a:gd name="connsiteY1342" fmla="*/ 496384 h 1173108"/>
                <a:gd name="connsiteX1343" fmla="*/ 1321193 w 1570607"/>
                <a:gd name="connsiteY1343" fmla="*/ 496221 h 1173108"/>
                <a:gd name="connsiteX1344" fmla="*/ 1323474 w 1570607"/>
                <a:gd name="connsiteY1344" fmla="*/ 497850 h 1173108"/>
                <a:gd name="connsiteX1345" fmla="*/ 1327873 w 1570607"/>
                <a:gd name="connsiteY1345" fmla="*/ 497850 h 1173108"/>
                <a:gd name="connsiteX1346" fmla="*/ 1329664 w 1570607"/>
                <a:gd name="connsiteY1346" fmla="*/ 492800 h 1173108"/>
                <a:gd name="connsiteX1347" fmla="*/ 1337647 w 1570607"/>
                <a:gd name="connsiteY1347" fmla="*/ 502249 h 1173108"/>
                <a:gd name="connsiteX1348" fmla="*/ 1349051 w 1570607"/>
                <a:gd name="connsiteY1348" fmla="*/ 508928 h 1173108"/>
                <a:gd name="connsiteX1349" fmla="*/ 1349539 w 1570607"/>
                <a:gd name="connsiteY1349" fmla="*/ 513164 h 1173108"/>
                <a:gd name="connsiteX1350" fmla="*/ 1346444 w 1570607"/>
                <a:gd name="connsiteY1350" fmla="*/ 514956 h 1173108"/>
                <a:gd name="connsiteX1351" fmla="*/ 1345304 w 1570607"/>
                <a:gd name="connsiteY1351" fmla="*/ 518540 h 1173108"/>
                <a:gd name="connsiteX1352" fmla="*/ 1339928 w 1570607"/>
                <a:gd name="connsiteY1352" fmla="*/ 525382 h 1173108"/>
                <a:gd name="connsiteX1353" fmla="*/ 1339277 w 1570607"/>
                <a:gd name="connsiteY1353" fmla="*/ 531898 h 1173108"/>
                <a:gd name="connsiteX1354" fmla="*/ 1334552 w 1570607"/>
                <a:gd name="connsiteY1354" fmla="*/ 532061 h 1173108"/>
                <a:gd name="connsiteX1355" fmla="*/ 1335041 w 1570607"/>
                <a:gd name="connsiteY1355" fmla="*/ 534016 h 1173108"/>
                <a:gd name="connsiteX1356" fmla="*/ 1333900 w 1570607"/>
                <a:gd name="connsiteY1356" fmla="*/ 540533 h 1173108"/>
                <a:gd name="connsiteX1357" fmla="*/ 1339602 w 1570607"/>
                <a:gd name="connsiteY1357" fmla="*/ 546071 h 1173108"/>
                <a:gd name="connsiteX1358" fmla="*/ 1339113 w 1570607"/>
                <a:gd name="connsiteY1358" fmla="*/ 549655 h 1173108"/>
                <a:gd name="connsiteX1359" fmla="*/ 1336996 w 1570607"/>
                <a:gd name="connsiteY1359" fmla="*/ 550633 h 1173108"/>
                <a:gd name="connsiteX1360" fmla="*/ 1336996 w 1570607"/>
                <a:gd name="connsiteY1360" fmla="*/ 553728 h 1173108"/>
                <a:gd name="connsiteX1361" fmla="*/ 1339277 w 1570607"/>
                <a:gd name="connsiteY1361" fmla="*/ 556335 h 1173108"/>
                <a:gd name="connsiteX1362" fmla="*/ 1344978 w 1570607"/>
                <a:gd name="connsiteY1362" fmla="*/ 554380 h 1173108"/>
                <a:gd name="connsiteX1363" fmla="*/ 1351006 w 1570607"/>
                <a:gd name="connsiteY1363" fmla="*/ 549819 h 1173108"/>
                <a:gd name="connsiteX1364" fmla="*/ 1348562 w 1570607"/>
                <a:gd name="connsiteY1364" fmla="*/ 554380 h 1173108"/>
                <a:gd name="connsiteX1365" fmla="*/ 1343838 w 1570607"/>
                <a:gd name="connsiteY1365" fmla="*/ 557801 h 1173108"/>
                <a:gd name="connsiteX1366" fmla="*/ 1344327 w 1570607"/>
                <a:gd name="connsiteY1366" fmla="*/ 560245 h 1173108"/>
                <a:gd name="connsiteX1367" fmla="*/ 1347259 w 1570607"/>
                <a:gd name="connsiteY1367" fmla="*/ 560896 h 1173108"/>
                <a:gd name="connsiteX1368" fmla="*/ 1346770 w 1570607"/>
                <a:gd name="connsiteY1368" fmla="*/ 563666 h 1173108"/>
                <a:gd name="connsiteX1369" fmla="*/ 1344652 w 1570607"/>
                <a:gd name="connsiteY1369" fmla="*/ 565295 h 1173108"/>
                <a:gd name="connsiteX1370" fmla="*/ 1338788 w 1570607"/>
                <a:gd name="connsiteY1370" fmla="*/ 564480 h 1173108"/>
                <a:gd name="connsiteX1371" fmla="*/ 1336181 w 1570607"/>
                <a:gd name="connsiteY1371" fmla="*/ 568064 h 1173108"/>
                <a:gd name="connsiteX1372" fmla="*/ 1331945 w 1570607"/>
                <a:gd name="connsiteY1372" fmla="*/ 568227 h 1173108"/>
                <a:gd name="connsiteX1373" fmla="*/ 1329828 w 1570607"/>
                <a:gd name="connsiteY1373" fmla="*/ 572137 h 1173108"/>
                <a:gd name="connsiteX1374" fmla="*/ 1333900 w 1570607"/>
                <a:gd name="connsiteY1374" fmla="*/ 574906 h 1173108"/>
                <a:gd name="connsiteX1375" fmla="*/ 1334552 w 1570607"/>
                <a:gd name="connsiteY1375" fmla="*/ 578979 h 1173108"/>
                <a:gd name="connsiteX1376" fmla="*/ 1337810 w 1570607"/>
                <a:gd name="connsiteY1376" fmla="*/ 578490 h 1173108"/>
                <a:gd name="connsiteX1377" fmla="*/ 1340905 w 1570607"/>
                <a:gd name="connsiteY1377" fmla="*/ 574418 h 1173108"/>
                <a:gd name="connsiteX1378" fmla="*/ 1343838 w 1570607"/>
                <a:gd name="connsiteY1378" fmla="*/ 574581 h 1173108"/>
                <a:gd name="connsiteX1379" fmla="*/ 1347911 w 1570607"/>
                <a:gd name="connsiteY1379" fmla="*/ 568390 h 1173108"/>
                <a:gd name="connsiteX1380" fmla="*/ 1355241 w 1570607"/>
                <a:gd name="connsiteY1380" fmla="*/ 565132 h 1173108"/>
                <a:gd name="connsiteX1381" fmla="*/ 1355893 w 1570607"/>
                <a:gd name="connsiteY1381" fmla="*/ 563177 h 1173108"/>
                <a:gd name="connsiteX1382" fmla="*/ 1353775 w 1570607"/>
                <a:gd name="connsiteY1382" fmla="*/ 558127 h 1173108"/>
                <a:gd name="connsiteX1383" fmla="*/ 1360291 w 1570607"/>
                <a:gd name="connsiteY1383" fmla="*/ 553239 h 1173108"/>
                <a:gd name="connsiteX1384" fmla="*/ 1371370 w 1570607"/>
                <a:gd name="connsiteY1384" fmla="*/ 544768 h 1173108"/>
                <a:gd name="connsiteX1385" fmla="*/ 1374791 w 1570607"/>
                <a:gd name="connsiteY1385" fmla="*/ 545094 h 1173108"/>
                <a:gd name="connsiteX1386" fmla="*/ 1375768 w 1570607"/>
                <a:gd name="connsiteY1386" fmla="*/ 539881 h 1173108"/>
                <a:gd name="connsiteX1387" fmla="*/ 1381470 w 1570607"/>
                <a:gd name="connsiteY1387" fmla="*/ 539881 h 1173108"/>
                <a:gd name="connsiteX1388" fmla="*/ 1388312 w 1570607"/>
                <a:gd name="connsiteY1388" fmla="*/ 535157 h 1173108"/>
                <a:gd name="connsiteX1389" fmla="*/ 1390918 w 1570607"/>
                <a:gd name="connsiteY1389" fmla="*/ 537437 h 1173108"/>
                <a:gd name="connsiteX1390" fmla="*/ 1393851 w 1570607"/>
                <a:gd name="connsiteY1390" fmla="*/ 536460 h 1173108"/>
                <a:gd name="connsiteX1391" fmla="*/ 1399553 w 1570607"/>
                <a:gd name="connsiteY1391" fmla="*/ 536134 h 1173108"/>
                <a:gd name="connsiteX1392" fmla="*/ 1406884 w 1570607"/>
                <a:gd name="connsiteY1392" fmla="*/ 527500 h 1173108"/>
                <a:gd name="connsiteX1393" fmla="*/ 1408513 w 1570607"/>
                <a:gd name="connsiteY1393" fmla="*/ 531898 h 1173108"/>
                <a:gd name="connsiteX1394" fmla="*/ 1408513 w 1570607"/>
                <a:gd name="connsiteY1394" fmla="*/ 517562 h 1173108"/>
                <a:gd name="connsiteX1395" fmla="*/ 1415192 w 1570607"/>
                <a:gd name="connsiteY1395" fmla="*/ 512023 h 1173108"/>
                <a:gd name="connsiteX1396" fmla="*/ 1418125 w 1570607"/>
                <a:gd name="connsiteY1396" fmla="*/ 505344 h 1173108"/>
                <a:gd name="connsiteX1397" fmla="*/ 1418125 w 1570607"/>
                <a:gd name="connsiteY1397" fmla="*/ 500946 h 1173108"/>
                <a:gd name="connsiteX1398" fmla="*/ 1424804 w 1570607"/>
                <a:gd name="connsiteY1398" fmla="*/ 496547 h 1173108"/>
                <a:gd name="connsiteX1399" fmla="*/ 1429202 w 1570607"/>
                <a:gd name="connsiteY1399" fmla="*/ 488076 h 1173108"/>
                <a:gd name="connsiteX1400" fmla="*/ 1434089 w 1570607"/>
                <a:gd name="connsiteY1400" fmla="*/ 485795 h 1173108"/>
                <a:gd name="connsiteX1401" fmla="*/ 1437999 w 1570607"/>
                <a:gd name="connsiteY1401" fmla="*/ 473251 h 1173108"/>
                <a:gd name="connsiteX1402" fmla="*/ 1440280 w 1570607"/>
                <a:gd name="connsiteY1402" fmla="*/ 468853 h 1173108"/>
                <a:gd name="connsiteX1403" fmla="*/ 1439954 w 1570607"/>
                <a:gd name="connsiteY1403" fmla="*/ 466246 h 1173108"/>
                <a:gd name="connsiteX1404" fmla="*/ 1440280 w 1570607"/>
                <a:gd name="connsiteY1404" fmla="*/ 457775 h 1173108"/>
                <a:gd name="connsiteX1405" fmla="*/ 1445168 w 1570607"/>
                <a:gd name="connsiteY1405" fmla="*/ 451910 h 1173108"/>
                <a:gd name="connsiteX1406" fmla="*/ 1449892 w 1570607"/>
                <a:gd name="connsiteY1406" fmla="*/ 459241 h 1173108"/>
                <a:gd name="connsiteX1407" fmla="*/ 1453964 w 1570607"/>
                <a:gd name="connsiteY1407" fmla="*/ 461522 h 1173108"/>
                <a:gd name="connsiteX1408" fmla="*/ 1457548 w 1570607"/>
                <a:gd name="connsiteY1408" fmla="*/ 464780 h 1173108"/>
                <a:gd name="connsiteX1409" fmla="*/ 1462110 w 1570607"/>
                <a:gd name="connsiteY1409" fmla="*/ 462988 h 1173108"/>
                <a:gd name="connsiteX1410" fmla="*/ 1467649 w 1570607"/>
                <a:gd name="connsiteY1410" fmla="*/ 465106 h 1173108"/>
                <a:gd name="connsiteX1411" fmla="*/ 1477912 w 1570607"/>
                <a:gd name="connsiteY1411" fmla="*/ 464128 h 1173108"/>
                <a:gd name="connsiteX1412" fmla="*/ 1484591 w 1570607"/>
                <a:gd name="connsiteY1412" fmla="*/ 465106 h 1173108"/>
                <a:gd name="connsiteX1413" fmla="*/ 1487850 w 1570607"/>
                <a:gd name="connsiteY1413" fmla="*/ 458101 h 1173108"/>
                <a:gd name="connsiteX1414" fmla="*/ 1487523 w 1570607"/>
                <a:gd name="connsiteY1414" fmla="*/ 454517 h 1173108"/>
                <a:gd name="connsiteX1415" fmla="*/ 1481985 w 1570607"/>
                <a:gd name="connsiteY1415" fmla="*/ 448978 h 1173108"/>
                <a:gd name="connsiteX1416" fmla="*/ 1476446 w 1570607"/>
                <a:gd name="connsiteY1416" fmla="*/ 444905 h 1173108"/>
                <a:gd name="connsiteX1417" fmla="*/ 1480844 w 1570607"/>
                <a:gd name="connsiteY1417" fmla="*/ 442298 h 1173108"/>
                <a:gd name="connsiteX1418" fmla="*/ 1486709 w 1570607"/>
                <a:gd name="connsiteY1418" fmla="*/ 441484 h 1173108"/>
                <a:gd name="connsiteX1419" fmla="*/ 1496809 w 1570607"/>
                <a:gd name="connsiteY1419" fmla="*/ 433501 h 1173108"/>
                <a:gd name="connsiteX1420" fmla="*/ 1496809 w 1570607"/>
                <a:gd name="connsiteY1420" fmla="*/ 427962 h 1173108"/>
                <a:gd name="connsiteX1421" fmla="*/ 1500882 w 1570607"/>
                <a:gd name="connsiteY1421" fmla="*/ 422423 h 1173108"/>
                <a:gd name="connsiteX1422" fmla="*/ 1505932 w 1570607"/>
                <a:gd name="connsiteY1422" fmla="*/ 421609 h 1173108"/>
                <a:gd name="connsiteX1423" fmla="*/ 1507887 w 1570607"/>
                <a:gd name="connsiteY1423" fmla="*/ 416885 h 1173108"/>
                <a:gd name="connsiteX1424" fmla="*/ 1505932 w 1570607"/>
                <a:gd name="connsiteY1424" fmla="*/ 413138 h 1173108"/>
                <a:gd name="connsiteX1425" fmla="*/ 1506258 w 1570607"/>
                <a:gd name="connsiteY1425" fmla="*/ 407925 h 1173108"/>
                <a:gd name="connsiteX1426" fmla="*/ 1506258 w 1570607"/>
                <a:gd name="connsiteY1426" fmla="*/ 402386 h 1173108"/>
                <a:gd name="connsiteX1427" fmla="*/ 1509679 w 1570607"/>
                <a:gd name="connsiteY1427" fmla="*/ 400919 h 1173108"/>
                <a:gd name="connsiteX1428" fmla="*/ 1514078 w 1570607"/>
                <a:gd name="connsiteY1428" fmla="*/ 404666 h 1173108"/>
                <a:gd name="connsiteX1429" fmla="*/ 1514078 w 1570607"/>
                <a:gd name="connsiteY1429" fmla="*/ 409879 h 1173108"/>
                <a:gd name="connsiteX1430" fmla="*/ 1516359 w 1570607"/>
                <a:gd name="connsiteY1430" fmla="*/ 412323 h 1173108"/>
                <a:gd name="connsiteX1431" fmla="*/ 1524504 w 1570607"/>
                <a:gd name="connsiteY1431" fmla="*/ 414278 h 1173108"/>
                <a:gd name="connsiteX1432" fmla="*/ 1525644 w 1570607"/>
                <a:gd name="connsiteY1432" fmla="*/ 416070 h 1173108"/>
                <a:gd name="connsiteX1433" fmla="*/ 1526296 w 1570607"/>
                <a:gd name="connsiteY1433" fmla="*/ 414767 h 1173108"/>
                <a:gd name="connsiteX1434" fmla="*/ 1526296 w 1570607"/>
                <a:gd name="connsiteY1434" fmla="*/ 411834 h 1173108"/>
                <a:gd name="connsiteX1435" fmla="*/ 1524341 w 1570607"/>
                <a:gd name="connsiteY1435" fmla="*/ 410531 h 1173108"/>
                <a:gd name="connsiteX1436" fmla="*/ 1523364 w 1570607"/>
                <a:gd name="connsiteY1436" fmla="*/ 406133 h 1173108"/>
                <a:gd name="connsiteX1437" fmla="*/ 1523689 w 1570607"/>
                <a:gd name="connsiteY1437" fmla="*/ 404178 h 1173108"/>
                <a:gd name="connsiteX1438" fmla="*/ 1526622 w 1570607"/>
                <a:gd name="connsiteY1438" fmla="*/ 402386 h 1173108"/>
                <a:gd name="connsiteX1439" fmla="*/ 1532650 w 1570607"/>
                <a:gd name="connsiteY1439" fmla="*/ 403037 h 1173108"/>
                <a:gd name="connsiteX1440" fmla="*/ 1534441 w 1570607"/>
                <a:gd name="connsiteY1440" fmla="*/ 402548 h 1173108"/>
                <a:gd name="connsiteX1441" fmla="*/ 1534604 w 1570607"/>
                <a:gd name="connsiteY1441" fmla="*/ 398150 h 1173108"/>
                <a:gd name="connsiteX1442" fmla="*/ 1533790 w 1570607"/>
                <a:gd name="connsiteY1442" fmla="*/ 395543 h 1173108"/>
                <a:gd name="connsiteX1443" fmla="*/ 1534116 w 1570607"/>
                <a:gd name="connsiteY1443" fmla="*/ 392122 h 1173108"/>
                <a:gd name="connsiteX1444" fmla="*/ 1535256 w 1570607"/>
                <a:gd name="connsiteY1444" fmla="*/ 389679 h 1173108"/>
                <a:gd name="connsiteX1445" fmla="*/ 1535093 w 1570607"/>
                <a:gd name="connsiteY1445" fmla="*/ 385117 h 1173108"/>
                <a:gd name="connsiteX1446" fmla="*/ 1534768 w 1570607"/>
                <a:gd name="connsiteY1446" fmla="*/ 380556 h 1173108"/>
                <a:gd name="connsiteX1447" fmla="*/ 1531835 w 1570607"/>
                <a:gd name="connsiteY1447" fmla="*/ 378438 h 1173108"/>
                <a:gd name="connsiteX1448" fmla="*/ 1531835 w 1570607"/>
                <a:gd name="connsiteY1448" fmla="*/ 369641 h 1173108"/>
                <a:gd name="connsiteX1449" fmla="*/ 1531184 w 1570607"/>
                <a:gd name="connsiteY1449" fmla="*/ 365405 h 1173108"/>
                <a:gd name="connsiteX1450" fmla="*/ 1530695 w 1570607"/>
                <a:gd name="connsiteY1450" fmla="*/ 359052 h 1173108"/>
                <a:gd name="connsiteX1451" fmla="*/ 1530857 w 1570607"/>
                <a:gd name="connsiteY1451" fmla="*/ 354490 h 1173108"/>
                <a:gd name="connsiteX1452" fmla="*/ 1527599 w 1570607"/>
                <a:gd name="connsiteY1452" fmla="*/ 350092 h 1173108"/>
                <a:gd name="connsiteX1453" fmla="*/ 1525970 w 1570607"/>
                <a:gd name="connsiteY1453" fmla="*/ 346997 h 1173108"/>
                <a:gd name="connsiteX1454" fmla="*/ 1524667 w 1570607"/>
                <a:gd name="connsiteY1454" fmla="*/ 343250 h 1173108"/>
                <a:gd name="connsiteX1455" fmla="*/ 1518639 w 1570607"/>
                <a:gd name="connsiteY1455" fmla="*/ 333964 h 1173108"/>
                <a:gd name="connsiteX1456" fmla="*/ 1516847 w 1570607"/>
                <a:gd name="connsiteY1456" fmla="*/ 329565 h 1173108"/>
                <a:gd name="connsiteX1457" fmla="*/ 1517988 w 1570607"/>
                <a:gd name="connsiteY1457" fmla="*/ 327285 h 1173108"/>
                <a:gd name="connsiteX1458" fmla="*/ 1521083 w 1570607"/>
                <a:gd name="connsiteY1458" fmla="*/ 325330 h 1173108"/>
                <a:gd name="connsiteX1459" fmla="*/ 1524015 w 1570607"/>
                <a:gd name="connsiteY1459" fmla="*/ 325004 h 1173108"/>
                <a:gd name="connsiteX1460" fmla="*/ 1526459 w 1570607"/>
                <a:gd name="connsiteY1460" fmla="*/ 321746 h 1173108"/>
                <a:gd name="connsiteX1461" fmla="*/ 1527599 w 1570607"/>
                <a:gd name="connsiteY1461" fmla="*/ 318324 h 1173108"/>
                <a:gd name="connsiteX1462" fmla="*/ 1532323 w 1570607"/>
                <a:gd name="connsiteY1462" fmla="*/ 310994 h 1173108"/>
                <a:gd name="connsiteX1463" fmla="*/ 1534279 w 1570607"/>
                <a:gd name="connsiteY1463" fmla="*/ 310505 h 1173108"/>
                <a:gd name="connsiteX1464" fmla="*/ 1538352 w 1570607"/>
                <a:gd name="connsiteY1464" fmla="*/ 311645 h 1173108"/>
                <a:gd name="connsiteX1465" fmla="*/ 1541609 w 1570607"/>
                <a:gd name="connsiteY1465" fmla="*/ 312948 h 1173108"/>
                <a:gd name="connsiteX1466" fmla="*/ 1557900 w 1570607"/>
                <a:gd name="connsiteY1466" fmla="*/ 315881 h 1173108"/>
                <a:gd name="connsiteX1467" fmla="*/ 1560344 w 1570607"/>
                <a:gd name="connsiteY1467" fmla="*/ 316532 h 1173108"/>
                <a:gd name="connsiteX1468" fmla="*/ 1563277 w 1570607"/>
                <a:gd name="connsiteY1468" fmla="*/ 316532 h 1173108"/>
                <a:gd name="connsiteX1469" fmla="*/ 1565231 w 1570607"/>
                <a:gd name="connsiteY1469" fmla="*/ 314089 h 1173108"/>
                <a:gd name="connsiteX1470" fmla="*/ 1564580 w 1570607"/>
                <a:gd name="connsiteY1470" fmla="*/ 310342 h 1173108"/>
                <a:gd name="connsiteX1471" fmla="*/ 1562950 w 1570607"/>
                <a:gd name="connsiteY1471" fmla="*/ 307410 h 1173108"/>
                <a:gd name="connsiteX1472" fmla="*/ 1562625 w 1570607"/>
                <a:gd name="connsiteY1472" fmla="*/ 304803 h 1173108"/>
                <a:gd name="connsiteX1473" fmla="*/ 1563602 w 1570607"/>
                <a:gd name="connsiteY1473" fmla="*/ 302848 h 1173108"/>
                <a:gd name="connsiteX1474" fmla="*/ 1562625 w 1570607"/>
                <a:gd name="connsiteY1474" fmla="*/ 300079 h 1173108"/>
                <a:gd name="connsiteX1475" fmla="*/ 1561973 w 1570607"/>
                <a:gd name="connsiteY1475" fmla="*/ 297309 h 1173108"/>
                <a:gd name="connsiteX1476" fmla="*/ 1564254 w 1570607"/>
                <a:gd name="connsiteY1476" fmla="*/ 292259 h 1173108"/>
                <a:gd name="connsiteX1477" fmla="*/ 1565883 w 1570607"/>
                <a:gd name="connsiteY1477" fmla="*/ 290304 h 1173108"/>
                <a:gd name="connsiteX1478" fmla="*/ 1565068 w 1570607"/>
                <a:gd name="connsiteY1478" fmla="*/ 286394 h 1173108"/>
                <a:gd name="connsiteX1479" fmla="*/ 1563602 w 1570607"/>
                <a:gd name="connsiteY1479" fmla="*/ 283788 h 1173108"/>
                <a:gd name="connsiteX1480" fmla="*/ 1564254 w 1570607"/>
                <a:gd name="connsiteY1480" fmla="*/ 282322 h 1173108"/>
                <a:gd name="connsiteX1481" fmla="*/ 1567838 w 1570607"/>
                <a:gd name="connsiteY1481" fmla="*/ 280530 h 1173108"/>
                <a:gd name="connsiteX1482" fmla="*/ 1566535 w 1570607"/>
                <a:gd name="connsiteY1482" fmla="*/ 278086 h 1173108"/>
                <a:gd name="connsiteX1483" fmla="*/ 1566535 w 1570607"/>
                <a:gd name="connsiteY1483" fmla="*/ 275316 h 1173108"/>
                <a:gd name="connsiteX1484" fmla="*/ 1564905 w 1570607"/>
                <a:gd name="connsiteY1484" fmla="*/ 272547 h 1173108"/>
                <a:gd name="connsiteX1485" fmla="*/ 1565883 w 1570607"/>
                <a:gd name="connsiteY1485" fmla="*/ 269126 h 1173108"/>
                <a:gd name="connsiteX1486" fmla="*/ 1568327 w 1570607"/>
                <a:gd name="connsiteY1486" fmla="*/ 267334 h 1173108"/>
                <a:gd name="connsiteX1487" fmla="*/ 1568327 w 1570607"/>
                <a:gd name="connsiteY1487" fmla="*/ 265216 h 1173108"/>
                <a:gd name="connsiteX1488" fmla="*/ 1567023 w 1570607"/>
                <a:gd name="connsiteY1488" fmla="*/ 262610 h 1173108"/>
                <a:gd name="connsiteX1489" fmla="*/ 1565068 w 1570607"/>
                <a:gd name="connsiteY1489" fmla="*/ 257397 h 1173108"/>
                <a:gd name="connsiteX1490" fmla="*/ 1564743 w 1570607"/>
                <a:gd name="connsiteY1490" fmla="*/ 251369 h 1173108"/>
                <a:gd name="connsiteX1491" fmla="*/ 1566371 w 1570607"/>
                <a:gd name="connsiteY1491" fmla="*/ 250717 h 1173108"/>
                <a:gd name="connsiteX1492" fmla="*/ 1567512 w 1570607"/>
                <a:gd name="connsiteY1492" fmla="*/ 249577 h 1173108"/>
                <a:gd name="connsiteX1493" fmla="*/ 1567186 w 1570607"/>
                <a:gd name="connsiteY1493" fmla="*/ 247622 h 1173108"/>
                <a:gd name="connsiteX1494" fmla="*/ 1566209 w 1570607"/>
                <a:gd name="connsiteY1494" fmla="*/ 245830 h 1173108"/>
                <a:gd name="connsiteX1495" fmla="*/ 1566371 w 1570607"/>
                <a:gd name="connsiteY1495" fmla="*/ 243060 h 1173108"/>
                <a:gd name="connsiteX1496" fmla="*/ 1564091 w 1570607"/>
                <a:gd name="connsiteY1496" fmla="*/ 241431 h 1173108"/>
                <a:gd name="connsiteX1497" fmla="*/ 1562625 w 1570607"/>
                <a:gd name="connsiteY1497" fmla="*/ 239151 h 1173108"/>
                <a:gd name="connsiteX1498" fmla="*/ 1564091 w 1570607"/>
                <a:gd name="connsiteY1498" fmla="*/ 235404 h 1173108"/>
                <a:gd name="connsiteX1499" fmla="*/ 1564417 w 1570607"/>
                <a:gd name="connsiteY1499" fmla="*/ 231168 h 1173108"/>
                <a:gd name="connsiteX1500" fmla="*/ 1563277 w 1570607"/>
                <a:gd name="connsiteY1500" fmla="*/ 229865 h 1173108"/>
                <a:gd name="connsiteX1501" fmla="*/ 1560996 w 1570607"/>
                <a:gd name="connsiteY1501" fmla="*/ 226770 h 1173108"/>
                <a:gd name="connsiteX1502" fmla="*/ 1560996 w 1570607"/>
                <a:gd name="connsiteY1502" fmla="*/ 224489 h 1173108"/>
                <a:gd name="connsiteX1503" fmla="*/ 1564417 w 1570607"/>
                <a:gd name="connsiteY1503" fmla="*/ 220253 h 1173108"/>
                <a:gd name="connsiteX1504" fmla="*/ 1568327 w 1570607"/>
                <a:gd name="connsiteY1504" fmla="*/ 219439 h 1173108"/>
                <a:gd name="connsiteX1505" fmla="*/ 1569304 w 1570607"/>
                <a:gd name="connsiteY1505" fmla="*/ 217484 h 1173108"/>
                <a:gd name="connsiteX1506" fmla="*/ 1569630 w 1570607"/>
                <a:gd name="connsiteY1506" fmla="*/ 213085 h 1173108"/>
                <a:gd name="connsiteX1507" fmla="*/ 1570607 w 1570607"/>
                <a:gd name="connsiteY1507" fmla="*/ 207709 h 1173108"/>
                <a:gd name="connsiteX1508" fmla="*/ 1567512 w 1570607"/>
                <a:gd name="connsiteY1508" fmla="*/ 205754 h 11731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  <a:cxn ang="0">
                  <a:pos x="connsiteX1317" y="connsiteY1317"/>
                </a:cxn>
                <a:cxn ang="0">
                  <a:pos x="connsiteX1318" y="connsiteY1318"/>
                </a:cxn>
                <a:cxn ang="0">
                  <a:pos x="connsiteX1319" y="connsiteY1319"/>
                </a:cxn>
                <a:cxn ang="0">
                  <a:pos x="connsiteX1320" y="connsiteY1320"/>
                </a:cxn>
                <a:cxn ang="0">
                  <a:pos x="connsiteX1321" y="connsiteY1321"/>
                </a:cxn>
                <a:cxn ang="0">
                  <a:pos x="connsiteX1322" y="connsiteY1322"/>
                </a:cxn>
                <a:cxn ang="0">
                  <a:pos x="connsiteX1323" y="connsiteY1323"/>
                </a:cxn>
                <a:cxn ang="0">
                  <a:pos x="connsiteX1324" y="connsiteY1324"/>
                </a:cxn>
                <a:cxn ang="0">
                  <a:pos x="connsiteX1325" y="connsiteY1325"/>
                </a:cxn>
                <a:cxn ang="0">
                  <a:pos x="connsiteX1326" y="connsiteY1326"/>
                </a:cxn>
                <a:cxn ang="0">
                  <a:pos x="connsiteX1327" y="connsiteY1327"/>
                </a:cxn>
                <a:cxn ang="0">
                  <a:pos x="connsiteX1328" y="connsiteY1328"/>
                </a:cxn>
                <a:cxn ang="0">
                  <a:pos x="connsiteX1329" y="connsiteY1329"/>
                </a:cxn>
                <a:cxn ang="0">
                  <a:pos x="connsiteX1330" y="connsiteY1330"/>
                </a:cxn>
                <a:cxn ang="0">
                  <a:pos x="connsiteX1331" y="connsiteY1331"/>
                </a:cxn>
                <a:cxn ang="0">
                  <a:pos x="connsiteX1332" y="connsiteY1332"/>
                </a:cxn>
                <a:cxn ang="0">
                  <a:pos x="connsiteX1333" y="connsiteY1333"/>
                </a:cxn>
                <a:cxn ang="0">
                  <a:pos x="connsiteX1334" y="connsiteY1334"/>
                </a:cxn>
                <a:cxn ang="0">
                  <a:pos x="connsiteX1335" y="connsiteY1335"/>
                </a:cxn>
                <a:cxn ang="0">
                  <a:pos x="connsiteX1336" y="connsiteY1336"/>
                </a:cxn>
                <a:cxn ang="0">
                  <a:pos x="connsiteX1337" y="connsiteY1337"/>
                </a:cxn>
                <a:cxn ang="0">
                  <a:pos x="connsiteX1338" y="connsiteY1338"/>
                </a:cxn>
                <a:cxn ang="0">
                  <a:pos x="connsiteX1339" y="connsiteY1339"/>
                </a:cxn>
                <a:cxn ang="0">
                  <a:pos x="connsiteX1340" y="connsiteY1340"/>
                </a:cxn>
                <a:cxn ang="0">
                  <a:pos x="connsiteX1341" y="connsiteY1341"/>
                </a:cxn>
                <a:cxn ang="0">
                  <a:pos x="connsiteX1342" y="connsiteY1342"/>
                </a:cxn>
                <a:cxn ang="0">
                  <a:pos x="connsiteX1343" y="connsiteY1343"/>
                </a:cxn>
                <a:cxn ang="0">
                  <a:pos x="connsiteX1344" y="connsiteY1344"/>
                </a:cxn>
                <a:cxn ang="0">
                  <a:pos x="connsiteX1345" y="connsiteY1345"/>
                </a:cxn>
                <a:cxn ang="0">
                  <a:pos x="connsiteX1346" y="connsiteY1346"/>
                </a:cxn>
                <a:cxn ang="0">
                  <a:pos x="connsiteX1347" y="connsiteY1347"/>
                </a:cxn>
                <a:cxn ang="0">
                  <a:pos x="connsiteX1348" y="connsiteY1348"/>
                </a:cxn>
                <a:cxn ang="0">
                  <a:pos x="connsiteX1349" y="connsiteY1349"/>
                </a:cxn>
                <a:cxn ang="0">
                  <a:pos x="connsiteX1350" y="connsiteY1350"/>
                </a:cxn>
                <a:cxn ang="0">
                  <a:pos x="connsiteX1351" y="connsiteY1351"/>
                </a:cxn>
                <a:cxn ang="0">
                  <a:pos x="connsiteX1352" y="connsiteY1352"/>
                </a:cxn>
                <a:cxn ang="0">
                  <a:pos x="connsiteX1353" y="connsiteY1353"/>
                </a:cxn>
                <a:cxn ang="0">
                  <a:pos x="connsiteX1354" y="connsiteY1354"/>
                </a:cxn>
                <a:cxn ang="0">
                  <a:pos x="connsiteX1355" y="connsiteY1355"/>
                </a:cxn>
                <a:cxn ang="0">
                  <a:pos x="connsiteX1356" y="connsiteY1356"/>
                </a:cxn>
                <a:cxn ang="0">
                  <a:pos x="connsiteX1357" y="connsiteY1357"/>
                </a:cxn>
                <a:cxn ang="0">
                  <a:pos x="connsiteX1358" y="connsiteY1358"/>
                </a:cxn>
                <a:cxn ang="0">
                  <a:pos x="connsiteX1359" y="connsiteY1359"/>
                </a:cxn>
                <a:cxn ang="0">
                  <a:pos x="connsiteX1360" y="connsiteY1360"/>
                </a:cxn>
                <a:cxn ang="0">
                  <a:pos x="connsiteX1361" y="connsiteY1361"/>
                </a:cxn>
                <a:cxn ang="0">
                  <a:pos x="connsiteX1362" y="connsiteY1362"/>
                </a:cxn>
                <a:cxn ang="0">
                  <a:pos x="connsiteX1363" y="connsiteY1363"/>
                </a:cxn>
                <a:cxn ang="0">
                  <a:pos x="connsiteX1364" y="connsiteY1364"/>
                </a:cxn>
                <a:cxn ang="0">
                  <a:pos x="connsiteX1365" y="connsiteY1365"/>
                </a:cxn>
                <a:cxn ang="0">
                  <a:pos x="connsiteX1366" y="connsiteY1366"/>
                </a:cxn>
                <a:cxn ang="0">
                  <a:pos x="connsiteX1367" y="connsiteY1367"/>
                </a:cxn>
                <a:cxn ang="0">
                  <a:pos x="connsiteX1368" y="connsiteY1368"/>
                </a:cxn>
                <a:cxn ang="0">
                  <a:pos x="connsiteX1369" y="connsiteY1369"/>
                </a:cxn>
                <a:cxn ang="0">
                  <a:pos x="connsiteX1370" y="connsiteY1370"/>
                </a:cxn>
                <a:cxn ang="0">
                  <a:pos x="connsiteX1371" y="connsiteY1371"/>
                </a:cxn>
                <a:cxn ang="0">
                  <a:pos x="connsiteX1372" y="connsiteY1372"/>
                </a:cxn>
                <a:cxn ang="0">
                  <a:pos x="connsiteX1373" y="connsiteY1373"/>
                </a:cxn>
                <a:cxn ang="0">
                  <a:pos x="connsiteX1374" y="connsiteY1374"/>
                </a:cxn>
                <a:cxn ang="0">
                  <a:pos x="connsiteX1375" y="connsiteY1375"/>
                </a:cxn>
                <a:cxn ang="0">
                  <a:pos x="connsiteX1376" y="connsiteY1376"/>
                </a:cxn>
                <a:cxn ang="0">
                  <a:pos x="connsiteX1377" y="connsiteY1377"/>
                </a:cxn>
                <a:cxn ang="0">
                  <a:pos x="connsiteX1378" y="connsiteY1378"/>
                </a:cxn>
                <a:cxn ang="0">
                  <a:pos x="connsiteX1379" y="connsiteY1379"/>
                </a:cxn>
                <a:cxn ang="0">
                  <a:pos x="connsiteX1380" y="connsiteY1380"/>
                </a:cxn>
                <a:cxn ang="0">
                  <a:pos x="connsiteX1381" y="connsiteY1381"/>
                </a:cxn>
                <a:cxn ang="0">
                  <a:pos x="connsiteX1382" y="connsiteY1382"/>
                </a:cxn>
                <a:cxn ang="0">
                  <a:pos x="connsiteX1383" y="connsiteY1383"/>
                </a:cxn>
                <a:cxn ang="0">
                  <a:pos x="connsiteX1384" y="connsiteY1384"/>
                </a:cxn>
                <a:cxn ang="0">
                  <a:pos x="connsiteX1385" y="connsiteY1385"/>
                </a:cxn>
                <a:cxn ang="0">
                  <a:pos x="connsiteX1386" y="connsiteY1386"/>
                </a:cxn>
                <a:cxn ang="0">
                  <a:pos x="connsiteX1387" y="connsiteY1387"/>
                </a:cxn>
                <a:cxn ang="0">
                  <a:pos x="connsiteX1388" y="connsiteY1388"/>
                </a:cxn>
                <a:cxn ang="0">
                  <a:pos x="connsiteX1389" y="connsiteY1389"/>
                </a:cxn>
                <a:cxn ang="0">
                  <a:pos x="connsiteX1390" y="connsiteY1390"/>
                </a:cxn>
                <a:cxn ang="0">
                  <a:pos x="connsiteX1391" y="connsiteY1391"/>
                </a:cxn>
                <a:cxn ang="0">
                  <a:pos x="connsiteX1392" y="connsiteY1392"/>
                </a:cxn>
                <a:cxn ang="0">
                  <a:pos x="connsiteX1393" y="connsiteY1393"/>
                </a:cxn>
                <a:cxn ang="0">
                  <a:pos x="connsiteX1394" y="connsiteY1394"/>
                </a:cxn>
                <a:cxn ang="0">
                  <a:pos x="connsiteX1395" y="connsiteY1395"/>
                </a:cxn>
                <a:cxn ang="0">
                  <a:pos x="connsiteX1396" y="connsiteY1396"/>
                </a:cxn>
                <a:cxn ang="0">
                  <a:pos x="connsiteX1397" y="connsiteY1397"/>
                </a:cxn>
                <a:cxn ang="0">
                  <a:pos x="connsiteX1398" y="connsiteY1398"/>
                </a:cxn>
                <a:cxn ang="0">
                  <a:pos x="connsiteX1399" y="connsiteY1399"/>
                </a:cxn>
                <a:cxn ang="0">
                  <a:pos x="connsiteX1400" y="connsiteY1400"/>
                </a:cxn>
                <a:cxn ang="0">
                  <a:pos x="connsiteX1401" y="connsiteY1401"/>
                </a:cxn>
                <a:cxn ang="0">
                  <a:pos x="connsiteX1402" y="connsiteY1402"/>
                </a:cxn>
                <a:cxn ang="0">
                  <a:pos x="connsiteX1403" y="connsiteY1403"/>
                </a:cxn>
                <a:cxn ang="0">
                  <a:pos x="connsiteX1404" y="connsiteY1404"/>
                </a:cxn>
                <a:cxn ang="0">
                  <a:pos x="connsiteX1405" y="connsiteY1405"/>
                </a:cxn>
                <a:cxn ang="0">
                  <a:pos x="connsiteX1406" y="connsiteY1406"/>
                </a:cxn>
                <a:cxn ang="0">
                  <a:pos x="connsiteX1407" y="connsiteY1407"/>
                </a:cxn>
                <a:cxn ang="0">
                  <a:pos x="connsiteX1408" y="connsiteY1408"/>
                </a:cxn>
                <a:cxn ang="0">
                  <a:pos x="connsiteX1409" y="connsiteY1409"/>
                </a:cxn>
                <a:cxn ang="0">
                  <a:pos x="connsiteX1410" y="connsiteY1410"/>
                </a:cxn>
                <a:cxn ang="0">
                  <a:pos x="connsiteX1411" y="connsiteY1411"/>
                </a:cxn>
                <a:cxn ang="0">
                  <a:pos x="connsiteX1412" y="connsiteY1412"/>
                </a:cxn>
                <a:cxn ang="0">
                  <a:pos x="connsiteX1413" y="connsiteY1413"/>
                </a:cxn>
                <a:cxn ang="0">
                  <a:pos x="connsiteX1414" y="connsiteY1414"/>
                </a:cxn>
                <a:cxn ang="0">
                  <a:pos x="connsiteX1415" y="connsiteY1415"/>
                </a:cxn>
                <a:cxn ang="0">
                  <a:pos x="connsiteX1416" y="connsiteY1416"/>
                </a:cxn>
                <a:cxn ang="0">
                  <a:pos x="connsiteX1417" y="connsiteY1417"/>
                </a:cxn>
                <a:cxn ang="0">
                  <a:pos x="connsiteX1418" y="connsiteY1418"/>
                </a:cxn>
                <a:cxn ang="0">
                  <a:pos x="connsiteX1419" y="connsiteY1419"/>
                </a:cxn>
                <a:cxn ang="0">
                  <a:pos x="connsiteX1420" y="connsiteY1420"/>
                </a:cxn>
                <a:cxn ang="0">
                  <a:pos x="connsiteX1421" y="connsiteY1421"/>
                </a:cxn>
                <a:cxn ang="0">
                  <a:pos x="connsiteX1422" y="connsiteY1422"/>
                </a:cxn>
                <a:cxn ang="0">
                  <a:pos x="connsiteX1423" y="connsiteY1423"/>
                </a:cxn>
                <a:cxn ang="0">
                  <a:pos x="connsiteX1424" y="connsiteY1424"/>
                </a:cxn>
                <a:cxn ang="0">
                  <a:pos x="connsiteX1425" y="connsiteY1425"/>
                </a:cxn>
                <a:cxn ang="0">
                  <a:pos x="connsiteX1426" y="connsiteY1426"/>
                </a:cxn>
                <a:cxn ang="0">
                  <a:pos x="connsiteX1427" y="connsiteY1427"/>
                </a:cxn>
                <a:cxn ang="0">
                  <a:pos x="connsiteX1428" y="connsiteY1428"/>
                </a:cxn>
                <a:cxn ang="0">
                  <a:pos x="connsiteX1429" y="connsiteY1429"/>
                </a:cxn>
                <a:cxn ang="0">
                  <a:pos x="connsiteX1430" y="connsiteY1430"/>
                </a:cxn>
                <a:cxn ang="0">
                  <a:pos x="connsiteX1431" y="connsiteY1431"/>
                </a:cxn>
                <a:cxn ang="0">
                  <a:pos x="connsiteX1432" y="connsiteY1432"/>
                </a:cxn>
                <a:cxn ang="0">
                  <a:pos x="connsiteX1433" y="connsiteY1433"/>
                </a:cxn>
                <a:cxn ang="0">
                  <a:pos x="connsiteX1434" y="connsiteY1434"/>
                </a:cxn>
                <a:cxn ang="0">
                  <a:pos x="connsiteX1435" y="connsiteY1435"/>
                </a:cxn>
                <a:cxn ang="0">
                  <a:pos x="connsiteX1436" y="connsiteY1436"/>
                </a:cxn>
                <a:cxn ang="0">
                  <a:pos x="connsiteX1437" y="connsiteY1437"/>
                </a:cxn>
                <a:cxn ang="0">
                  <a:pos x="connsiteX1438" y="connsiteY1438"/>
                </a:cxn>
                <a:cxn ang="0">
                  <a:pos x="connsiteX1439" y="connsiteY1439"/>
                </a:cxn>
                <a:cxn ang="0">
                  <a:pos x="connsiteX1440" y="connsiteY1440"/>
                </a:cxn>
                <a:cxn ang="0">
                  <a:pos x="connsiteX1441" y="connsiteY1441"/>
                </a:cxn>
                <a:cxn ang="0">
                  <a:pos x="connsiteX1442" y="connsiteY1442"/>
                </a:cxn>
                <a:cxn ang="0">
                  <a:pos x="connsiteX1443" y="connsiteY1443"/>
                </a:cxn>
                <a:cxn ang="0">
                  <a:pos x="connsiteX1444" y="connsiteY1444"/>
                </a:cxn>
                <a:cxn ang="0">
                  <a:pos x="connsiteX1445" y="connsiteY1445"/>
                </a:cxn>
                <a:cxn ang="0">
                  <a:pos x="connsiteX1446" y="connsiteY1446"/>
                </a:cxn>
                <a:cxn ang="0">
                  <a:pos x="connsiteX1447" y="connsiteY1447"/>
                </a:cxn>
                <a:cxn ang="0">
                  <a:pos x="connsiteX1448" y="connsiteY1448"/>
                </a:cxn>
                <a:cxn ang="0">
                  <a:pos x="connsiteX1449" y="connsiteY1449"/>
                </a:cxn>
                <a:cxn ang="0">
                  <a:pos x="connsiteX1450" y="connsiteY1450"/>
                </a:cxn>
                <a:cxn ang="0">
                  <a:pos x="connsiteX1451" y="connsiteY1451"/>
                </a:cxn>
                <a:cxn ang="0">
                  <a:pos x="connsiteX1452" y="connsiteY1452"/>
                </a:cxn>
                <a:cxn ang="0">
                  <a:pos x="connsiteX1453" y="connsiteY1453"/>
                </a:cxn>
                <a:cxn ang="0">
                  <a:pos x="connsiteX1454" y="connsiteY1454"/>
                </a:cxn>
                <a:cxn ang="0">
                  <a:pos x="connsiteX1455" y="connsiteY1455"/>
                </a:cxn>
                <a:cxn ang="0">
                  <a:pos x="connsiteX1456" y="connsiteY1456"/>
                </a:cxn>
                <a:cxn ang="0">
                  <a:pos x="connsiteX1457" y="connsiteY1457"/>
                </a:cxn>
                <a:cxn ang="0">
                  <a:pos x="connsiteX1458" y="connsiteY1458"/>
                </a:cxn>
                <a:cxn ang="0">
                  <a:pos x="connsiteX1459" y="connsiteY1459"/>
                </a:cxn>
                <a:cxn ang="0">
                  <a:pos x="connsiteX1460" y="connsiteY1460"/>
                </a:cxn>
                <a:cxn ang="0">
                  <a:pos x="connsiteX1461" y="connsiteY1461"/>
                </a:cxn>
                <a:cxn ang="0">
                  <a:pos x="connsiteX1462" y="connsiteY1462"/>
                </a:cxn>
                <a:cxn ang="0">
                  <a:pos x="connsiteX1463" y="connsiteY1463"/>
                </a:cxn>
                <a:cxn ang="0">
                  <a:pos x="connsiteX1464" y="connsiteY1464"/>
                </a:cxn>
                <a:cxn ang="0">
                  <a:pos x="connsiteX1465" y="connsiteY1465"/>
                </a:cxn>
                <a:cxn ang="0">
                  <a:pos x="connsiteX1466" y="connsiteY1466"/>
                </a:cxn>
                <a:cxn ang="0">
                  <a:pos x="connsiteX1467" y="connsiteY1467"/>
                </a:cxn>
                <a:cxn ang="0">
                  <a:pos x="connsiteX1468" y="connsiteY1468"/>
                </a:cxn>
                <a:cxn ang="0">
                  <a:pos x="connsiteX1469" y="connsiteY1469"/>
                </a:cxn>
                <a:cxn ang="0">
                  <a:pos x="connsiteX1470" y="connsiteY1470"/>
                </a:cxn>
                <a:cxn ang="0">
                  <a:pos x="connsiteX1471" y="connsiteY1471"/>
                </a:cxn>
                <a:cxn ang="0">
                  <a:pos x="connsiteX1472" y="connsiteY1472"/>
                </a:cxn>
                <a:cxn ang="0">
                  <a:pos x="connsiteX1473" y="connsiteY1473"/>
                </a:cxn>
                <a:cxn ang="0">
                  <a:pos x="connsiteX1474" y="connsiteY1474"/>
                </a:cxn>
                <a:cxn ang="0">
                  <a:pos x="connsiteX1475" y="connsiteY1475"/>
                </a:cxn>
                <a:cxn ang="0">
                  <a:pos x="connsiteX1476" y="connsiteY1476"/>
                </a:cxn>
                <a:cxn ang="0">
                  <a:pos x="connsiteX1477" y="connsiteY1477"/>
                </a:cxn>
                <a:cxn ang="0">
                  <a:pos x="connsiteX1478" y="connsiteY1478"/>
                </a:cxn>
                <a:cxn ang="0">
                  <a:pos x="connsiteX1479" y="connsiteY1479"/>
                </a:cxn>
                <a:cxn ang="0">
                  <a:pos x="connsiteX1480" y="connsiteY1480"/>
                </a:cxn>
                <a:cxn ang="0">
                  <a:pos x="connsiteX1481" y="connsiteY1481"/>
                </a:cxn>
                <a:cxn ang="0">
                  <a:pos x="connsiteX1482" y="connsiteY1482"/>
                </a:cxn>
                <a:cxn ang="0">
                  <a:pos x="connsiteX1483" y="connsiteY1483"/>
                </a:cxn>
                <a:cxn ang="0">
                  <a:pos x="connsiteX1484" y="connsiteY1484"/>
                </a:cxn>
                <a:cxn ang="0">
                  <a:pos x="connsiteX1485" y="connsiteY1485"/>
                </a:cxn>
                <a:cxn ang="0">
                  <a:pos x="connsiteX1486" y="connsiteY1486"/>
                </a:cxn>
                <a:cxn ang="0">
                  <a:pos x="connsiteX1487" y="connsiteY1487"/>
                </a:cxn>
                <a:cxn ang="0">
                  <a:pos x="connsiteX1488" y="connsiteY1488"/>
                </a:cxn>
                <a:cxn ang="0">
                  <a:pos x="connsiteX1489" y="connsiteY1489"/>
                </a:cxn>
                <a:cxn ang="0">
                  <a:pos x="connsiteX1490" y="connsiteY1490"/>
                </a:cxn>
                <a:cxn ang="0">
                  <a:pos x="connsiteX1491" y="connsiteY1491"/>
                </a:cxn>
                <a:cxn ang="0">
                  <a:pos x="connsiteX1492" y="connsiteY1492"/>
                </a:cxn>
                <a:cxn ang="0">
                  <a:pos x="connsiteX1493" y="connsiteY1493"/>
                </a:cxn>
                <a:cxn ang="0">
                  <a:pos x="connsiteX1494" y="connsiteY1494"/>
                </a:cxn>
                <a:cxn ang="0">
                  <a:pos x="connsiteX1495" y="connsiteY1495"/>
                </a:cxn>
                <a:cxn ang="0">
                  <a:pos x="connsiteX1496" y="connsiteY1496"/>
                </a:cxn>
                <a:cxn ang="0">
                  <a:pos x="connsiteX1497" y="connsiteY1497"/>
                </a:cxn>
                <a:cxn ang="0">
                  <a:pos x="connsiteX1498" y="connsiteY1498"/>
                </a:cxn>
                <a:cxn ang="0">
                  <a:pos x="connsiteX1499" y="connsiteY1499"/>
                </a:cxn>
                <a:cxn ang="0">
                  <a:pos x="connsiteX1500" y="connsiteY1500"/>
                </a:cxn>
                <a:cxn ang="0">
                  <a:pos x="connsiteX1501" y="connsiteY1501"/>
                </a:cxn>
                <a:cxn ang="0">
                  <a:pos x="connsiteX1502" y="connsiteY1502"/>
                </a:cxn>
                <a:cxn ang="0">
                  <a:pos x="connsiteX1503" y="connsiteY1503"/>
                </a:cxn>
                <a:cxn ang="0">
                  <a:pos x="connsiteX1504" y="connsiteY1504"/>
                </a:cxn>
                <a:cxn ang="0">
                  <a:pos x="connsiteX1505" y="connsiteY1505"/>
                </a:cxn>
                <a:cxn ang="0">
                  <a:pos x="connsiteX1506" y="connsiteY1506"/>
                </a:cxn>
                <a:cxn ang="0">
                  <a:pos x="connsiteX1507" y="connsiteY1507"/>
                </a:cxn>
                <a:cxn ang="0">
                  <a:pos x="connsiteX1508" y="connsiteY1508"/>
                </a:cxn>
              </a:cxnLst>
              <a:rect l="l" t="t" r="r" b="b"/>
              <a:pathLst>
                <a:path w="1570607" h="1173108">
                  <a:moveTo>
                    <a:pt x="1567512" y="205754"/>
                  </a:moveTo>
                  <a:lnTo>
                    <a:pt x="1565068" y="203311"/>
                  </a:lnTo>
                  <a:lnTo>
                    <a:pt x="1564580" y="199564"/>
                  </a:lnTo>
                  <a:lnTo>
                    <a:pt x="1560344" y="195002"/>
                  </a:lnTo>
                  <a:lnTo>
                    <a:pt x="1559366" y="192396"/>
                  </a:lnTo>
                  <a:lnTo>
                    <a:pt x="1561973" y="189952"/>
                  </a:lnTo>
                  <a:lnTo>
                    <a:pt x="1559366" y="185391"/>
                  </a:lnTo>
                  <a:lnTo>
                    <a:pt x="1557900" y="182621"/>
                  </a:lnTo>
                  <a:lnTo>
                    <a:pt x="1553665" y="182458"/>
                  </a:lnTo>
                  <a:lnTo>
                    <a:pt x="1550895" y="180177"/>
                  </a:lnTo>
                  <a:lnTo>
                    <a:pt x="1546171" y="178385"/>
                  </a:lnTo>
                  <a:lnTo>
                    <a:pt x="1543564" y="180992"/>
                  </a:lnTo>
                  <a:lnTo>
                    <a:pt x="1539329" y="181481"/>
                  </a:lnTo>
                  <a:lnTo>
                    <a:pt x="1536559" y="184087"/>
                  </a:lnTo>
                  <a:lnTo>
                    <a:pt x="1535908" y="187834"/>
                  </a:lnTo>
                  <a:lnTo>
                    <a:pt x="1533301" y="188812"/>
                  </a:lnTo>
                  <a:lnTo>
                    <a:pt x="1530695" y="189300"/>
                  </a:lnTo>
                  <a:lnTo>
                    <a:pt x="1529228" y="194514"/>
                  </a:lnTo>
                  <a:lnTo>
                    <a:pt x="1524015" y="194514"/>
                  </a:lnTo>
                  <a:lnTo>
                    <a:pt x="1520757" y="195002"/>
                  </a:lnTo>
                  <a:lnTo>
                    <a:pt x="1519291" y="198586"/>
                  </a:lnTo>
                  <a:lnTo>
                    <a:pt x="1519291" y="202659"/>
                  </a:lnTo>
                  <a:lnTo>
                    <a:pt x="1515870" y="204451"/>
                  </a:lnTo>
                  <a:lnTo>
                    <a:pt x="1514730" y="209175"/>
                  </a:lnTo>
                  <a:lnTo>
                    <a:pt x="1515055" y="211945"/>
                  </a:lnTo>
                  <a:lnTo>
                    <a:pt x="1512449" y="213085"/>
                  </a:lnTo>
                  <a:lnTo>
                    <a:pt x="1509191" y="216180"/>
                  </a:lnTo>
                  <a:lnTo>
                    <a:pt x="1502023" y="217321"/>
                  </a:lnTo>
                  <a:lnTo>
                    <a:pt x="1499416" y="218298"/>
                  </a:lnTo>
                  <a:lnTo>
                    <a:pt x="1495832" y="217321"/>
                  </a:lnTo>
                  <a:lnTo>
                    <a:pt x="1493714" y="219602"/>
                  </a:lnTo>
                  <a:lnTo>
                    <a:pt x="1490619" y="220742"/>
                  </a:lnTo>
                  <a:lnTo>
                    <a:pt x="1489316" y="217321"/>
                  </a:lnTo>
                  <a:lnTo>
                    <a:pt x="1487035" y="213900"/>
                  </a:lnTo>
                  <a:lnTo>
                    <a:pt x="1483451" y="213900"/>
                  </a:lnTo>
                  <a:lnTo>
                    <a:pt x="1480030" y="216343"/>
                  </a:lnTo>
                  <a:lnTo>
                    <a:pt x="1476120" y="217484"/>
                  </a:lnTo>
                  <a:lnTo>
                    <a:pt x="1474817" y="214877"/>
                  </a:lnTo>
                  <a:lnTo>
                    <a:pt x="1470744" y="209664"/>
                  </a:lnTo>
                  <a:lnTo>
                    <a:pt x="1468463" y="208361"/>
                  </a:lnTo>
                  <a:lnTo>
                    <a:pt x="1463576" y="202170"/>
                  </a:lnTo>
                  <a:lnTo>
                    <a:pt x="1463576" y="198586"/>
                  </a:lnTo>
                  <a:lnTo>
                    <a:pt x="1464879" y="197120"/>
                  </a:lnTo>
                  <a:lnTo>
                    <a:pt x="1465694" y="192233"/>
                  </a:lnTo>
                  <a:lnTo>
                    <a:pt x="1464065" y="188160"/>
                  </a:lnTo>
                  <a:lnTo>
                    <a:pt x="1463087" y="183599"/>
                  </a:lnTo>
                  <a:lnTo>
                    <a:pt x="1458852" y="183762"/>
                  </a:lnTo>
                  <a:lnTo>
                    <a:pt x="1458363" y="180829"/>
                  </a:lnTo>
                  <a:lnTo>
                    <a:pt x="1458200" y="177408"/>
                  </a:lnTo>
                  <a:lnTo>
                    <a:pt x="1460318" y="174150"/>
                  </a:lnTo>
                  <a:lnTo>
                    <a:pt x="1460970" y="170892"/>
                  </a:lnTo>
                  <a:lnTo>
                    <a:pt x="1459014" y="169914"/>
                  </a:lnTo>
                  <a:lnTo>
                    <a:pt x="1456897" y="170403"/>
                  </a:lnTo>
                  <a:lnTo>
                    <a:pt x="1454290" y="172521"/>
                  </a:lnTo>
                  <a:lnTo>
                    <a:pt x="1451195" y="172684"/>
                  </a:lnTo>
                  <a:lnTo>
                    <a:pt x="1448588" y="173498"/>
                  </a:lnTo>
                  <a:lnTo>
                    <a:pt x="1445004" y="172847"/>
                  </a:lnTo>
                  <a:lnTo>
                    <a:pt x="1442398" y="170892"/>
                  </a:lnTo>
                  <a:lnTo>
                    <a:pt x="1439954" y="170566"/>
                  </a:lnTo>
                  <a:lnTo>
                    <a:pt x="1438651" y="169426"/>
                  </a:lnTo>
                  <a:lnTo>
                    <a:pt x="1433112" y="166982"/>
                  </a:lnTo>
                  <a:lnTo>
                    <a:pt x="1432461" y="164375"/>
                  </a:lnTo>
                  <a:lnTo>
                    <a:pt x="1430180" y="162095"/>
                  </a:lnTo>
                  <a:lnTo>
                    <a:pt x="1428877" y="162095"/>
                  </a:lnTo>
                  <a:lnTo>
                    <a:pt x="1426107" y="159814"/>
                  </a:lnTo>
                  <a:lnTo>
                    <a:pt x="1425455" y="157370"/>
                  </a:lnTo>
                  <a:lnTo>
                    <a:pt x="1422686" y="157044"/>
                  </a:lnTo>
                  <a:lnTo>
                    <a:pt x="1419916" y="153949"/>
                  </a:lnTo>
                  <a:lnTo>
                    <a:pt x="1418939" y="151180"/>
                  </a:lnTo>
                  <a:lnTo>
                    <a:pt x="1416984" y="149225"/>
                  </a:lnTo>
                  <a:lnTo>
                    <a:pt x="1414377" y="149551"/>
                  </a:lnTo>
                  <a:lnTo>
                    <a:pt x="1413400" y="152646"/>
                  </a:lnTo>
                  <a:lnTo>
                    <a:pt x="1410630" y="151994"/>
                  </a:lnTo>
                  <a:lnTo>
                    <a:pt x="1408187" y="152972"/>
                  </a:lnTo>
                  <a:lnTo>
                    <a:pt x="1407372" y="154927"/>
                  </a:lnTo>
                  <a:lnTo>
                    <a:pt x="1404277" y="152972"/>
                  </a:lnTo>
                  <a:lnTo>
                    <a:pt x="1402648" y="150854"/>
                  </a:lnTo>
                  <a:lnTo>
                    <a:pt x="1400041" y="149551"/>
                  </a:lnTo>
                  <a:lnTo>
                    <a:pt x="1394339" y="149062"/>
                  </a:lnTo>
                  <a:lnTo>
                    <a:pt x="1392711" y="147596"/>
                  </a:lnTo>
                  <a:lnTo>
                    <a:pt x="1394666" y="145315"/>
                  </a:lnTo>
                  <a:lnTo>
                    <a:pt x="1394666" y="144175"/>
                  </a:lnTo>
                  <a:lnTo>
                    <a:pt x="1391244" y="144175"/>
                  </a:lnTo>
                  <a:lnTo>
                    <a:pt x="1388475" y="146292"/>
                  </a:lnTo>
                  <a:lnTo>
                    <a:pt x="1383099" y="145641"/>
                  </a:lnTo>
                  <a:lnTo>
                    <a:pt x="1381144" y="146618"/>
                  </a:lnTo>
                  <a:lnTo>
                    <a:pt x="1378537" y="145152"/>
                  </a:lnTo>
                  <a:lnTo>
                    <a:pt x="1375931" y="146130"/>
                  </a:lnTo>
                  <a:lnTo>
                    <a:pt x="1372510" y="145641"/>
                  </a:lnTo>
                  <a:lnTo>
                    <a:pt x="1370718" y="142220"/>
                  </a:lnTo>
                  <a:lnTo>
                    <a:pt x="1366482" y="140753"/>
                  </a:lnTo>
                  <a:lnTo>
                    <a:pt x="1360780" y="134889"/>
                  </a:lnTo>
                  <a:lnTo>
                    <a:pt x="1358011" y="129839"/>
                  </a:lnTo>
                  <a:lnTo>
                    <a:pt x="1358662" y="126418"/>
                  </a:lnTo>
                  <a:lnTo>
                    <a:pt x="1357522" y="122019"/>
                  </a:lnTo>
                  <a:lnTo>
                    <a:pt x="1354753" y="121367"/>
                  </a:lnTo>
                  <a:lnTo>
                    <a:pt x="1351820" y="119738"/>
                  </a:lnTo>
                  <a:lnTo>
                    <a:pt x="1351332" y="114688"/>
                  </a:lnTo>
                  <a:lnTo>
                    <a:pt x="1349539" y="112896"/>
                  </a:lnTo>
                  <a:lnTo>
                    <a:pt x="1348562" y="107846"/>
                  </a:lnTo>
                  <a:lnTo>
                    <a:pt x="1346933" y="102959"/>
                  </a:lnTo>
                  <a:lnTo>
                    <a:pt x="1337810" y="97094"/>
                  </a:lnTo>
                  <a:lnTo>
                    <a:pt x="1332923" y="90577"/>
                  </a:lnTo>
                  <a:lnTo>
                    <a:pt x="1332271" y="87482"/>
                  </a:lnTo>
                  <a:lnTo>
                    <a:pt x="1329828" y="83410"/>
                  </a:lnTo>
                  <a:lnTo>
                    <a:pt x="1327384" y="84550"/>
                  </a:lnTo>
                  <a:lnTo>
                    <a:pt x="1325918" y="83735"/>
                  </a:lnTo>
                  <a:lnTo>
                    <a:pt x="1326570" y="80966"/>
                  </a:lnTo>
                  <a:lnTo>
                    <a:pt x="1326732" y="78685"/>
                  </a:lnTo>
                  <a:lnTo>
                    <a:pt x="1323637" y="76241"/>
                  </a:lnTo>
                  <a:lnTo>
                    <a:pt x="1321845" y="72006"/>
                  </a:lnTo>
                  <a:lnTo>
                    <a:pt x="1319239" y="70703"/>
                  </a:lnTo>
                  <a:lnTo>
                    <a:pt x="1318424" y="67119"/>
                  </a:lnTo>
                  <a:lnTo>
                    <a:pt x="1315329" y="63046"/>
                  </a:lnTo>
                  <a:lnTo>
                    <a:pt x="1313048" y="58810"/>
                  </a:lnTo>
                  <a:lnTo>
                    <a:pt x="1307346" y="55389"/>
                  </a:lnTo>
                  <a:lnTo>
                    <a:pt x="1306695" y="52620"/>
                  </a:lnTo>
                  <a:lnTo>
                    <a:pt x="1308161" y="49199"/>
                  </a:lnTo>
                  <a:lnTo>
                    <a:pt x="1307509" y="46266"/>
                  </a:lnTo>
                  <a:lnTo>
                    <a:pt x="1300993" y="45940"/>
                  </a:lnTo>
                  <a:lnTo>
                    <a:pt x="1299852" y="44148"/>
                  </a:lnTo>
                  <a:lnTo>
                    <a:pt x="1299852" y="41705"/>
                  </a:lnTo>
                  <a:lnTo>
                    <a:pt x="1298712" y="38610"/>
                  </a:lnTo>
                  <a:lnTo>
                    <a:pt x="1298386" y="35188"/>
                  </a:lnTo>
                  <a:lnTo>
                    <a:pt x="1296594" y="32256"/>
                  </a:lnTo>
                  <a:lnTo>
                    <a:pt x="1294150" y="30790"/>
                  </a:lnTo>
                  <a:lnTo>
                    <a:pt x="1293988" y="28346"/>
                  </a:lnTo>
                  <a:lnTo>
                    <a:pt x="1292196" y="26717"/>
                  </a:lnTo>
                  <a:lnTo>
                    <a:pt x="1289752" y="27206"/>
                  </a:lnTo>
                  <a:lnTo>
                    <a:pt x="1285516" y="25903"/>
                  </a:lnTo>
                  <a:lnTo>
                    <a:pt x="1284376" y="23785"/>
                  </a:lnTo>
                  <a:lnTo>
                    <a:pt x="1285679" y="21178"/>
                  </a:lnTo>
                  <a:lnTo>
                    <a:pt x="1284864" y="18735"/>
                  </a:lnTo>
                  <a:lnTo>
                    <a:pt x="1281444" y="18083"/>
                  </a:lnTo>
                  <a:lnTo>
                    <a:pt x="1278837" y="20201"/>
                  </a:lnTo>
                  <a:lnTo>
                    <a:pt x="1277534" y="18246"/>
                  </a:lnTo>
                  <a:lnTo>
                    <a:pt x="1274764" y="18083"/>
                  </a:lnTo>
                  <a:lnTo>
                    <a:pt x="1273950" y="15639"/>
                  </a:lnTo>
                  <a:lnTo>
                    <a:pt x="1274602" y="12870"/>
                  </a:lnTo>
                  <a:lnTo>
                    <a:pt x="1272972" y="10589"/>
                  </a:lnTo>
                  <a:lnTo>
                    <a:pt x="1269714" y="9286"/>
                  </a:lnTo>
                  <a:lnTo>
                    <a:pt x="1267107" y="9612"/>
                  </a:lnTo>
                  <a:lnTo>
                    <a:pt x="1264501" y="6679"/>
                  </a:lnTo>
                  <a:lnTo>
                    <a:pt x="1262546" y="7494"/>
                  </a:lnTo>
                  <a:lnTo>
                    <a:pt x="1258962" y="7494"/>
                  </a:lnTo>
                  <a:lnTo>
                    <a:pt x="1256681" y="6679"/>
                  </a:lnTo>
                  <a:lnTo>
                    <a:pt x="1254238" y="8145"/>
                  </a:lnTo>
                  <a:lnTo>
                    <a:pt x="1254727" y="11241"/>
                  </a:lnTo>
                  <a:lnTo>
                    <a:pt x="1252609" y="12218"/>
                  </a:lnTo>
                  <a:lnTo>
                    <a:pt x="1248047" y="9937"/>
                  </a:lnTo>
                  <a:lnTo>
                    <a:pt x="1246418" y="8308"/>
                  </a:lnTo>
                  <a:lnTo>
                    <a:pt x="1242997" y="9449"/>
                  </a:lnTo>
                  <a:lnTo>
                    <a:pt x="1237132" y="9449"/>
                  </a:lnTo>
                  <a:lnTo>
                    <a:pt x="1236155" y="7168"/>
                  </a:lnTo>
                  <a:lnTo>
                    <a:pt x="1232897" y="4398"/>
                  </a:lnTo>
                  <a:lnTo>
                    <a:pt x="1224751" y="3747"/>
                  </a:lnTo>
                  <a:lnTo>
                    <a:pt x="1221330" y="1140"/>
                  </a:lnTo>
                  <a:lnTo>
                    <a:pt x="1217257" y="815"/>
                  </a:lnTo>
                  <a:lnTo>
                    <a:pt x="1214325" y="0"/>
                  </a:lnTo>
                  <a:lnTo>
                    <a:pt x="1213022" y="815"/>
                  </a:lnTo>
                  <a:lnTo>
                    <a:pt x="1205691" y="1629"/>
                  </a:lnTo>
                  <a:lnTo>
                    <a:pt x="1204225" y="5539"/>
                  </a:lnTo>
                  <a:lnTo>
                    <a:pt x="1202107" y="5539"/>
                  </a:lnTo>
                  <a:lnTo>
                    <a:pt x="1199989" y="7494"/>
                  </a:lnTo>
                  <a:lnTo>
                    <a:pt x="1194613" y="7331"/>
                  </a:lnTo>
                  <a:lnTo>
                    <a:pt x="1191518" y="7983"/>
                  </a:lnTo>
                  <a:lnTo>
                    <a:pt x="1185979" y="7005"/>
                  </a:lnTo>
                  <a:lnTo>
                    <a:pt x="1183046" y="10263"/>
                  </a:lnTo>
                  <a:lnTo>
                    <a:pt x="1178485" y="10263"/>
                  </a:lnTo>
                  <a:lnTo>
                    <a:pt x="1176530" y="14173"/>
                  </a:lnTo>
                  <a:lnTo>
                    <a:pt x="1172620" y="15802"/>
                  </a:lnTo>
                  <a:lnTo>
                    <a:pt x="1169036" y="15476"/>
                  </a:lnTo>
                  <a:lnTo>
                    <a:pt x="1168059" y="16454"/>
                  </a:lnTo>
                  <a:lnTo>
                    <a:pt x="1164800" y="16617"/>
                  </a:lnTo>
                  <a:lnTo>
                    <a:pt x="1161543" y="17757"/>
                  </a:lnTo>
                  <a:lnTo>
                    <a:pt x="1155026" y="18409"/>
                  </a:lnTo>
                  <a:lnTo>
                    <a:pt x="1152257" y="20852"/>
                  </a:lnTo>
                  <a:lnTo>
                    <a:pt x="1152257" y="23948"/>
                  </a:lnTo>
                  <a:lnTo>
                    <a:pt x="1148510" y="28346"/>
                  </a:lnTo>
                  <a:lnTo>
                    <a:pt x="1147043" y="33233"/>
                  </a:lnTo>
                  <a:lnTo>
                    <a:pt x="1145089" y="35677"/>
                  </a:lnTo>
                  <a:lnTo>
                    <a:pt x="1145089" y="38284"/>
                  </a:lnTo>
                  <a:lnTo>
                    <a:pt x="1143297" y="40564"/>
                  </a:lnTo>
                  <a:lnTo>
                    <a:pt x="1143297" y="46755"/>
                  </a:lnTo>
                  <a:lnTo>
                    <a:pt x="1145089" y="48873"/>
                  </a:lnTo>
                  <a:lnTo>
                    <a:pt x="1147695" y="49199"/>
                  </a:lnTo>
                  <a:lnTo>
                    <a:pt x="1153397" y="45777"/>
                  </a:lnTo>
                  <a:lnTo>
                    <a:pt x="1156818" y="44148"/>
                  </a:lnTo>
                  <a:lnTo>
                    <a:pt x="1159913" y="44963"/>
                  </a:lnTo>
                  <a:lnTo>
                    <a:pt x="1163661" y="50991"/>
                  </a:lnTo>
                  <a:lnTo>
                    <a:pt x="1165615" y="55878"/>
                  </a:lnTo>
                  <a:lnTo>
                    <a:pt x="1169362" y="58647"/>
                  </a:lnTo>
                  <a:lnTo>
                    <a:pt x="1169362" y="62557"/>
                  </a:lnTo>
                  <a:lnTo>
                    <a:pt x="1170502" y="65652"/>
                  </a:lnTo>
                  <a:lnTo>
                    <a:pt x="1170177" y="71680"/>
                  </a:lnTo>
                  <a:lnTo>
                    <a:pt x="1166918" y="74124"/>
                  </a:lnTo>
                  <a:lnTo>
                    <a:pt x="1163661" y="79011"/>
                  </a:lnTo>
                  <a:lnTo>
                    <a:pt x="1162520" y="84876"/>
                  </a:lnTo>
                  <a:lnTo>
                    <a:pt x="1159425" y="87482"/>
                  </a:lnTo>
                  <a:lnTo>
                    <a:pt x="1156492" y="92695"/>
                  </a:lnTo>
                  <a:lnTo>
                    <a:pt x="1156004" y="96931"/>
                  </a:lnTo>
                  <a:lnTo>
                    <a:pt x="1158610" y="101167"/>
                  </a:lnTo>
                  <a:lnTo>
                    <a:pt x="1157796" y="103936"/>
                  </a:lnTo>
                  <a:lnTo>
                    <a:pt x="1158447" y="109475"/>
                  </a:lnTo>
                  <a:lnTo>
                    <a:pt x="1161543" y="112570"/>
                  </a:lnTo>
                  <a:lnTo>
                    <a:pt x="1161054" y="117457"/>
                  </a:lnTo>
                  <a:lnTo>
                    <a:pt x="1157959" y="119087"/>
                  </a:lnTo>
                  <a:lnTo>
                    <a:pt x="1156981" y="122019"/>
                  </a:lnTo>
                  <a:lnTo>
                    <a:pt x="1158936" y="126580"/>
                  </a:lnTo>
                  <a:lnTo>
                    <a:pt x="1158936" y="134074"/>
                  </a:lnTo>
                  <a:lnTo>
                    <a:pt x="1157632" y="136192"/>
                  </a:lnTo>
                  <a:lnTo>
                    <a:pt x="1158121" y="143197"/>
                  </a:lnTo>
                  <a:lnTo>
                    <a:pt x="1160565" y="143686"/>
                  </a:lnTo>
                  <a:lnTo>
                    <a:pt x="1162520" y="145152"/>
                  </a:lnTo>
                  <a:lnTo>
                    <a:pt x="1164475" y="143686"/>
                  </a:lnTo>
                  <a:lnTo>
                    <a:pt x="1166430" y="144989"/>
                  </a:lnTo>
                  <a:lnTo>
                    <a:pt x="1167407" y="150202"/>
                  </a:lnTo>
                  <a:lnTo>
                    <a:pt x="1165941" y="155089"/>
                  </a:lnTo>
                  <a:lnTo>
                    <a:pt x="1162031" y="158999"/>
                  </a:lnTo>
                  <a:lnTo>
                    <a:pt x="1152908" y="160465"/>
                  </a:lnTo>
                  <a:lnTo>
                    <a:pt x="1147043" y="164538"/>
                  </a:lnTo>
                  <a:lnTo>
                    <a:pt x="1134825" y="176105"/>
                  </a:lnTo>
                  <a:lnTo>
                    <a:pt x="1132056" y="176594"/>
                  </a:lnTo>
                  <a:lnTo>
                    <a:pt x="1128309" y="173498"/>
                  </a:lnTo>
                  <a:lnTo>
                    <a:pt x="1120815" y="172521"/>
                  </a:lnTo>
                  <a:lnTo>
                    <a:pt x="1116254" y="173335"/>
                  </a:lnTo>
                  <a:lnTo>
                    <a:pt x="1115439" y="171543"/>
                  </a:lnTo>
                  <a:lnTo>
                    <a:pt x="1111855" y="171055"/>
                  </a:lnTo>
                  <a:lnTo>
                    <a:pt x="1108923" y="171869"/>
                  </a:lnTo>
                  <a:lnTo>
                    <a:pt x="1109248" y="172358"/>
                  </a:lnTo>
                  <a:lnTo>
                    <a:pt x="1103710" y="211945"/>
                  </a:lnTo>
                  <a:lnTo>
                    <a:pt x="1104850" y="220579"/>
                  </a:lnTo>
                  <a:lnTo>
                    <a:pt x="1102570" y="227910"/>
                  </a:lnTo>
                  <a:lnTo>
                    <a:pt x="1103384" y="233123"/>
                  </a:lnTo>
                  <a:lnTo>
                    <a:pt x="1099963" y="244038"/>
                  </a:lnTo>
                  <a:lnTo>
                    <a:pt x="1104036" y="252183"/>
                  </a:lnTo>
                  <a:lnTo>
                    <a:pt x="1116254" y="258211"/>
                  </a:lnTo>
                  <a:lnTo>
                    <a:pt x="1124399" y="251858"/>
                  </a:lnTo>
                  <a:lnTo>
                    <a:pt x="1134662" y="251858"/>
                  </a:lnTo>
                  <a:lnTo>
                    <a:pt x="1145740" y="253650"/>
                  </a:lnTo>
                  <a:lnTo>
                    <a:pt x="1150953" y="258863"/>
                  </a:lnTo>
                  <a:lnTo>
                    <a:pt x="1157144" y="249251"/>
                  </a:lnTo>
                  <a:lnTo>
                    <a:pt x="1156492" y="243712"/>
                  </a:lnTo>
                  <a:lnTo>
                    <a:pt x="1156818" y="238988"/>
                  </a:lnTo>
                  <a:lnTo>
                    <a:pt x="1163823" y="236707"/>
                  </a:lnTo>
                  <a:lnTo>
                    <a:pt x="1166430" y="234589"/>
                  </a:lnTo>
                  <a:lnTo>
                    <a:pt x="1177834" y="237522"/>
                  </a:lnTo>
                  <a:lnTo>
                    <a:pt x="1184513" y="245667"/>
                  </a:lnTo>
                  <a:lnTo>
                    <a:pt x="1193798" y="254138"/>
                  </a:lnTo>
                  <a:lnTo>
                    <a:pt x="1201129" y="263261"/>
                  </a:lnTo>
                  <a:lnTo>
                    <a:pt x="1210578" y="270103"/>
                  </a:lnTo>
                  <a:lnTo>
                    <a:pt x="1210741" y="274502"/>
                  </a:lnTo>
                  <a:lnTo>
                    <a:pt x="1212696" y="278086"/>
                  </a:lnTo>
                  <a:lnTo>
                    <a:pt x="1212533" y="282485"/>
                  </a:lnTo>
                  <a:lnTo>
                    <a:pt x="1210578" y="285417"/>
                  </a:lnTo>
                  <a:lnTo>
                    <a:pt x="1210415" y="289001"/>
                  </a:lnTo>
                  <a:lnTo>
                    <a:pt x="1208461" y="292096"/>
                  </a:lnTo>
                  <a:lnTo>
                    <a:pt x="1204550" y="291119"/>
                  </a:lnTo>
                  <a:lnTo>
                    <a:pt x="1202107" y="288675"/>
                  </a:lnTo>
                  <a:lnTo>
                    <a:pt x="1196731" y="289490"/>
                  </a:lnTo>
                  <a:lnTo>
                    <a:pt x="1193798" y="291444"/>
                  </a:lnTo>
                  <a:lnTo>
                    <a:pt x="1186630" y="288349"/>
                  </a:lnTo>
                  <a:lnTo>
                    <a:pt x="1182232" y="289327"/>
                  </a:lnTo>
                  <a:lnTo>
                    <a:pt x="1177670" y="295680"/>
                  </a:lnTo>
                  <a:lnTo>
                    <a:pt x="1170665" y="301219"/>
                  </a:lnTo>
                  <a:lnTo>
                    <a:pt x="1166593" y="303826"/>
                  </a:lnTo>
                  <a:lnTo>
                    <a:pt x="1162031" y="300567"/>
                  </a:lnTo>
                  <a:lnTo>
                    <a:pt x="1159913" y="301056"/>
                  </a:lnTo>
                  <a:lnTo>
                    <a:pt x="1159750" y="305943"/>
                  </a:lnTo>
                  <a:lnTo>
                    <a:pt x="1157959" y="308713"/>
                  </a:lnTo>
                  <a:lnTo>
                    <a:pt x="1154375" y="309202"/>
                  </a:lnTo>
                  <a:lnTo>
                    <a:pt x="1151605" y="308713"/>
                  </a:lnTo>
                  <a:lnTo>
                    <a:pt x="1149650" y="311808"/>
                  </a:lnTo>
                  <a:lnTo>
                    <a:pt x="1145252" y="318650"/>
                  </a:lnTo>
                  <a:lnTo>
                    <a:pt x="1144111" y="326307"/>
                  </a:lnTo>
                  <a:lnTo>
                    <a:pt x="1144437" y="331683"/>
                  </a:lnTo>
                  <a:lnTo>
                    <a:pt x="1141668" y="334941"/>
                  </a:lnTo>
                  <a:lnTo>
                    <a:pt x="1136291" y="336244"/>
                  </a:lnTo>
                  <a:lnTo>
                    <a:pt x="1124888" y="344064"/>
                  </a:lnTo>
                  <a:lnTo>
                    <a:pt x="1118860" y="344064"/>
                  </a:lnTo>
                  <a:lnTo>
                    <a:pt x="1112670" y="342761"/>
                  </a:lnTo>
                  <a:lnTo>
                    <a:pt x="1109737" y="344879"/>
                  </a:lnTo>
                  <a:lnTo>
                    <a:pt x="1104850" y="355142"/>
                  </a:lnTo>
                  <a:lnTo>
                    <a:pt x="1100126" y="358563"/>
                  </a:lnTo>
                  <a:lnTo>
                    <a:pt x="1094424" y="362799"/>
                  </a:lnTo>
                  <a:lnTo>
                    <a:pt x="1090840" y="366546"/>
                  </a:lnTo>
                  <a:lnTo>
                    <a:pt x="1089373" y="370618"/>
                  </a:lnTo>
                  <a:lnTo>
                    <a:pt x="1086767" y="371107"/>
                  </a:lnTo>
                  <a:lnTo>
                    <a:pt x="1081391" y="368501"/>
                  </a:lnTo>
                  <a:lnTo>
                    <a:pt x="1075200" y="367197"/>
                  </a:lnTo>
                  <a:lnTo>
                    <a:pt x="1067381" y="364428"/>
                  </a:lnTo>
                  <a:lnTo>
                    <a:pt x="1061191" y="360029"/>
                  </a:lnTo>
                  <a:lnTo>
                    <a:pt x="1055000" y="359866"/>
                  </a:lnTo>
                  <a:lnTo>
                    <a:pt x="1044900" y="361821"/>
                  </a:lnTo>
                  <a:lnTo>
                    <a:pt x="1039035" y="366383"/>
                  </a:lnTo>
                  <a:lnTo>
                    <a:pt x="1035451" y="371596"/>
                  </a:lnTo>
                  <a:lnTo>
                    <a:pt x="1034962" y="382837"/>
                  </a:lnTo>
                  <a:lnTo>
                    <a:pt x="1035614" y="388375"/>
                  </a:lnTo>
                  <a:lnTo>
                    <a:pt x="1035125" y="391959"/>
                  </a:lnTo>
                  <a:lnTo>
                    <a:pt x="1046691" y="399453"/>
                  </a:lnTo>
                  <a:lnTo>
                    <a:pt x="1057118" y="405970"/>
                  </a:lnTo>
                  <a:lnTo>
                    <a:pt x="1057118" y="409065"/>
                  </a:lnTo>
                  <a:lnTo>
                    <a:pt x="1054511" y="413789"/>
                  </a:lnTo>
                  <a:lnTo>
                    <a:pt x="1051253" y="418839"/>
                  </a:lnTo>
                  <a:lnTo>
                    <a:pt x="1040012" y="431383"/>
                  </a:lnTo>
                  <a:lnTo>
                    <a:pt x="1033333" y="442298"/>
                  </a:lnTo>
                  <a:lnTo>
                    <a:pt x="1029749" y="450770"/>
                  </a:lnTo>
                  <a:lnTo>
                    <a:pt x="1025513" y="450770"/>
                  </a:lnTo>
                  <a:lnTo>
                    <a:pt x="1017368" y="453213"/>
                  </a:lnTo>
                  <a:lnTo>
                    <a:pt x="1011340" y="453702"/>
                  </a:lnTo>
                  <a:lnTo>
                    <a:pt x="1004498" y="458263"/>
                  </a:lnTo>
                  <a:lnTo>
                    <a:pt x="997493" y="463476"/>
                  </a:lnTo>
                  <a:lnTo>
                    <a:pt x="990325" y="463802"/>
                  </a:lnTo>
                  <a:lnTo>
                    <a:pt x="979736" y="464943"/>
                  </a:lnTo>
                  <a:lnTo>
                    <a:pt x="972568" y="467223"/>
                  </a:lnTo>
                  <a:lnTo>
                    <a:pt x="964259" y="469667"/>
                  </a:lnTo>
                  <a:lnTo>
                    <a:pt x="946014" y="476183"/>
                  </a:lnTo>
                  <a:lnTo>
                    <a:pt x="931678" y="480908"/>
                  </a:lnTo>
                  <a:lnTo>
                    <a:pt x="924509" y="489053"/>
                  </a:lnTo>
                  <a:lnTo>
                    <a:pt x="913432" y="497850"/>
                  </a:lnTo>
                  <a:lnTo>
                    <a:pt x="908870" y="501760"/>
                  </a:lnTo>
                  <a:lnTo>
                    <a:pt x="902680" y="501923"/>
                  </a:lnTo>
                  <a:lnTo>
                    <a:pt x="895186" y="499642"/>
                  </a:lnTo>
                  <a:lnTo>
                    <a:pt x="895186" y="496873"/>
                  </a:lnTo>
                  <a:lnTo>
                    <a:pt x="894209" y="493126"/>
                  </a:lnTo>
                  <a:lnTo>
                    <a:pt x="883457" y="496221"/>
                  </a:lnTo>
                  <a:lnTo>
                    <a:pt x="874497" y="497525"/>
                  </a:lnTo>
                  <a:lnTo>
                    <a:pt x="865373" y="492637"/>
                  </a:lnTo>
                  <a:lnTo>
                    <a:pt x="858043" y="491986"/>
                  </a:lnTo>
                  <a:lnTo>
                    <a:pt x="841752" y="485958"/>
                  </a:lnTo>
                  <a:lnTo>
                    <a:pt x="825787" y="478464"/>
                  </a:lnTo>
                  <a:lnTo>
                    <a:pt x="817315" y="470156"/>
                  </a:lnTo>
                  <a:lnTo>
                    <a:pt x="810473" y="469993"/>
                  </a:lnTo>
                  <a:lnTo>
                    <a:pt x="792064" y="468038"/>
                  </a:lnTo>
                  <a:lnTo>
                    <a:pt x="776588" y="468364"/>
                  </a:lnTo>
                  <a:lnTo>
                    <a:pt x="772515" y="467549"/>
                  </a:lnTo>
                  <a:lnTo>
                    <a:pt x="769746" y="469178"/>
                  </a:lnTo>
                  <a:lnTo>
                    <a:pt x="768280" y="472111"/>
                  </a:lnTo>
                  <a:lnTo>
                    <a:pt x="759645" y="475206"/>
                  </a:lnTo>
                  <a:lnTo>
                    <a:pt x="747590" y="476509"/>
                  </a:lnTo>
                  <a:lnTo>
                    <a:pt x="726412" y="474717"/>
                  </a:lnTo>
                  <a:lnTo>
                    <a:pt x="710936" y="475532"/>
                  </a:lnTo>
                  <a:lnTo>
                    <a:pt x="699206" y="474880"/>
                  </a:lnTo>
                  <a:lnTo>
                    <a:pt x="688943" y="476021"/>
                  </a:lnTo>
                  <a:lnTo>
                    <a:pt x="683893" y="476509"/>
                  </a:lnTo>
                  <a:lnTo>
                    <a:pt x="679494" y="475043"/>
                  </a:lnTo>
                  <a:lnTo>
                    <a:pt x="673629" y="463965"/>
                  </a:lnTo>
                  <a:lnTo>
                    <a:pt x="671512" y="458426"/>
                  </a:lnTo>
                  <a:lnTo>
                    <a:pt x="666136" y="450444"/>
                  </a:lnTo>
                  <a:lnTo>
                    <a:pt x="661737" y="445231"/>
                  </a:lnTo>
                  <a:lnTo>
                    <a:pt x="658805" y="437737"/>
                  </a:lnTo>
                  <a:lnTo>
                    <a:pt x="658316" y="434642"/>
                  </a:lnTo>
                  <a:lnTo>
                    <a:pt x="654732" y="430569"/>
                  </a:lnTo>
                  <a:lnTo>
                    <a:pt x="650822" y="429266"/>
                  </a:lnTo>
                  <a:lnTo>
                    <a:pt x="648379" y="428777"/>
                  </a:lnTo>
                  <a:lnTo>
                    <a:pt x="647238" y="426007"/>
                  </a:lnTo>
                  <a:lnTo>
                    <a:pt x="646586" y="421446"/>
                  </a:lnTo>
                  <a:lnTo>
                    <a:pt x="644795" y="420631"/>
                  </a:lnTo>
                  <a:lnTo>
                    <a:pt x="642514" y="421283"/>
                  </a:lnTo>
                  <a:lnTo>
                    <a:pt x="635346" y="421283"/>
                  </a:lnTo>
                  <a:lnTo>
                    <a:pt x="629155" y="417699"/>
                  </a:lnTo>
                  <a:lnTo>
                    <a:pt x="619707" y="411020"/>
                  </a:lnTo>
                  <a:lnTo>
                    <a:pt x="616611" y="410205"/>
                  </a:lnTo>
                  <a:lnTo>
                    <a:pt x="614331" y="410368"/>
                  </a:lnTo>
                  <a:lnTo>
                    <a:pt x="609769" y="409554"/>
                  </a:lnTo>
                  <a:lnTo>
                    <a:pt x="607651" y="406621"/>
                  </a:lnTo>
                  <a:lnTo>
                    <a:pt x="599669" y="401408"/>
                  </a:lnTo>
                  <a:lnTo>
                    <a:pt x="582238" y="397498"/>
                  </a:lnTo>
                  <a:lnTo>
                    <a:pt x="580608" y="397987"/>
                  </a:lnTo>
                  <a:lnTo>
                    <a:pt x="578328" y="399779"/>
                  </a:lnTo>
                  <a:lnTo>
                    <a:pt x="571486" y="400594"/>
                  </a:lnTo>
                  <a:lnTo>
                    <a:pt x="560407" y="400756"/>
                  </a:lnTo>
                  <a:lnTo>
                    <a:pt x="535157" y="395380"/>
                  </a:lnTo>
                  <a:lnTo>
                    <a:pt x="529618" y="392122"/>
                  </a:lnTo>
                  <a:lnTo>
                    <a:pt x="523916" y="383488"/>
                  </a:lnTo>
                  <a:lnTo>
                    <a:pt x="523102" y="379415"/>
                  </a:lnTo>
                  <a:lnTo>
                    <a:pt x="523102" y="375668"/>
                  </a:lnTo>
                  <a:lnTo>
                    <a:pt x="524731" y="372899"/>
                  </a:lnTo>
                  <a:lnTo>
                    <a:pt x="528315" y="369967"/>
                  </a:lnTo>
                  <a:lnTo>
                    <a:pt x="529943" y="365405"/>
                  </a:lnTo>
                  <a:lnTo>
                    <a:pt x="527011" y="361984"/>
                  </a:lnTo>
                  <a:lnTo>
                    <a:pt x="525708" y="355956"/>
                  </a:lnTo>
                  <a:lnTo>
                    <a:pt x="526848" y="352698"/>
                  </a:lnTo>
                  <a:lnTo>
                    <a:pt x="526523" y="346997"/>
                  </a:lnTo>
                  <a:lnTo>
                    <a:pt x="524405" y="343901"/>
                  </a:lnTo>
                  <a:lnTo>
                    <a:pt x="521309" y="338688"/>
                  </a:lnTo>
                  <a:lnTo>
                    <a:pt x="517563" y="336733"/>
                  </a:lnTo>
                  <a:lnTo>
                    <a:pt x="513490" y="333475"/>
                  </a:lnTo>
                  <a:lnTo>
                    <a:pt x="511861" y="328914"/>
                  </a:lnTo>
                  <a:lnTo>
                    <a:pt x="509091" y="325167"/>
                  </a:lnTo>
                  <a:lnTo>
                    <a:pt x="507625" y="320605"/>
                  </a:lnTo>
                  <a:lnTo>
                    <a:pt x="506973" y="316532"/>
                  </a:lnTo>
                  <a:lnTo>
                    <a:pt x="504204" y="312460"/>
                  </a:lnTo>
                  <a:lnTo>
                    <a:pt x="500131" y="309202"/>
                  </a:lnTo>
                  <a:lnTo>
                    <a:pt x="496222" y="308061"/>
                  </a:lnTo>
                  <a:lnTo>
                    <a:pt x="494266" y="304966"/>
                  </a:lnTo>
                  <a:lnTo>
                    <a:pt x="490031" y="303337"/>
                  </a:lnTo>
                  <a:lnTo>
                    <a:pt x="486284" y="303663"/>
                  </a:lnTo>
                  <a:lnTo>
                    <a:pt x="483677" y="306106"/>
                  </a:lnTo>
                  <a:lnTo>
                    <a:pt x="480908" y="307247"/>
                  </a:lnTo>
                  <a:lnTo>
                    <a:pt x="478302" y="306269"/>
                  </a:lnTo>
                  <a:lnTo>
                    <a:pt x="474229" y="301708"/>
                  </a:lnTo>
                  <a:lnTo>
                    <a:pt x="472925" y="299427"/>
                  </a:lnTo>
                  <a:lnTo>
                    <a:pt x="468201" y="299427"/>
                  </a:lnTo>
                  <a:lnTo>
                    <a:pt x="462988" y="301871"/>
                  </a:lnTo>
                  <a:lnTo>
                    <a:pt x="461033" y="304151"/>
                  </a:lnTo>
                  <a:lnTo>
                    <a:pt x="460218" y="307084"/>
                  </a:lnTo>
                  <a:lnTo>
                    <a:pt x="457775" y="307247"/>
                  </a:lnTo>
                  <a:lnTo>
                    <a:pt x="452725" y="303989"/>
                  </a:lnTo>
                  <a:lnTo>
                    <a:pt x="451422" y="300079"/>
                  </a:lnTo>
                  <a:lnTo>
                    <a:pt x="451259" y="298450"/>
                  </a:lnTo>
                  <a:lnTo>
                    <a:pt x="447675" y="293888"/>
                  </a:lnTo>
                  <a:lnTo>
                    <a:pt x="442624" y="290793"/>
                  </a:lnTo>
                  <a:lnTo>
                    <a:pt x="438715" y="286394"/>
                  </a:lnTo>
                  <a:lnTo>
                    <a:pt x="435782" y="285091"/>
                  </a:lnTo>
                  <a:lnTo>
                    <a:pt x="433175" y="282647"/>
                  </a:lnTo>
                  <a:lnTo>
                    <a:pt x="431872" y="279389"/>
                  </a:lnTo>
                  <a:lnTo>
                    <a:pt x="431709" y="276131"/>
                  </a:lnTo>
                  <a:lnTo>
                    <a:pt x="430243" y="273362"/>
                  </a:lnTo>
                  <a:lnTo>
                    <a:pt x="429429" y="273850"/>
                  </a:lnTo>
                  <a:lnTo>
                    <a:pt x="429103" y="275316"/>
                  </a:lnTo>
                  <a:lnTo>
                    <a:pt x="427474" y="275805"/>
                  </a:lnTo>
                  <a:lnTo>
                    <a:pt x="425519" y="272384"/>
                  </a:lnTo>
                  <a:lnTo>
                    <a:pt x="424053" y="270918"/>
                  </a:lnTo>
                  <a:lnTo>
                    <a:pt x="424216" y="265216"/>
                  </a:lnTo>
                  <a:lnTo>
                    <a:pt x="423727" y="262772"/>
                  </a:lnTo>
                  <a:lnTo>
                    <a:pt x="421609" y="262772"/>
                  </a:lnTo>
                  <a:lnTo>
                    <a:pt x="416396" y="260980"/>
                  </a:lnTo>
                  <a:lnTo>
                    <a:pt x="413300" y="260980"/>
                  </a:lnTo>
                  <a:lnTo>
                    <a:pt x="413952" y="261632"/>
                  </a:lnTo>
                  <a:lnTo>
                    <a:pt x="409228" y="266682"/>
                  </a:lnTo>
                  <a:lnTo>
                    <a:pt x="405318" y="268800"/>
                  </a:lnTo>
                  <a:lnTo>
                    <a:pt x="398476" y="275968"/>
                  </a:lnTo>
                  <a:lnTo>
                    <a:pt x="398313" y="280041"/>
                  </a:lnTo>
                  <a:lnTo>
                    <a:pt x="399779" y="282810"/>
                  </a:lnTo>
                  <a:lnTo>
                    <a:pt x="396521" y="288349"/>
                  </a:lnTo>
                  <a:lnTo>
                    <a:pt x="389027" y="291119"/>
                  </a:lnTo>
                  <a:lnTo>
                    <a:pt x="384466" y="294377"/>
                  </a:lnTo>
                  <a:lnTo>
                    <a:pt x="383488" y="300405"/>
                  </a:lnTo>
                  <a:lnTo>
                    <a:pt x="383814" y="311156"/>
                  </a:lnTo>
                  <a:lnTo>
                    <a:pt x="388864" y="321420"/>
                  </a:lnTo>
                  <a:lnTo>
                    <a:pt x="393589" y="327773"/>
                  </a:lnTo>
                  <a:lnTo>
                    <a:pt x="392937" y="331357"/>
                  </a:lnTo>
                  <a:lnTo>
                    <a:pt x="386421" y="338525"/>
                  </a:lnTo>
                  <a:lnTo>
                    <a:pt x="380882" y="340480"/>
                  </a:lnTo>
                  <a:lnTo>
                    <a:pt x="376483" y="345693"/>
                  </a:lnTo>
                  <a:lnTo>
                    <a:pt x="372736" y="346997"/>
                  </a:lnTo>
                  <a:lnTo>
                    <a:pt x="370456" y="346019"/>
                  </a:lnTo>
                  <a:lnTo>
                    <a:pt x="369152" y="343087"/>
                  </a:lnTo>
                  <a:lnTo>
                    <a:pt x="364754" y="343087"/>
                  </a:lnTo>
                  <a:lnTo>
                    <a:pt x="354816" y="345367"/>
                  </a:lnTo>
                  <a:lnTo>
                    <a:pt x="347974" y="344716"/>
                  </a:lnTo>
                  <a:lnTo>
                    <a:pt x="338037" y="341295"/>
                  </a:lnTo>
                  <a:lnTo>
                    <a:pt x="332009" y="340480"/>
                  </a:lnTo>
                  <a:lnTo>
                    <a:pt x="329077" y="340806"/>
                  </a:lnTo>
                  <a:lnTo>
                    <a:pt x="326959" y="352535"/>
                  </a:lnTo>
                  <a:lnTo>
                    <a:pt x="324678" y="359866"/>
                  </a:lnTo>
                  <a:lnTo>
                    <a:pt x="324352" y="365568"/>
                  </a:lnTo>
                  <a:lnTo>
                    <a:pt x="321909" y="380393"/>
                  </a:lnTo>
                  <a:lnTo>
                    <a:pt x="321909" y="391797"/>
                  </a:lnTo>
                  <a:lnTo>
                    <a:pt x="320606" y="395543"/>
                  </a:lnTo>
                  <a:lnTo>
                    <a:pt x="323538" y="397824"/>
                  </a:lnTo>
                  <a:lnTo>
                    <a:pt x="329565" y="400431"/>
                  </a:lnTo>
                  <a:lnTo>
                    <a:pt x="327122" y="405481"/>
                  </a:lnTo>
                  <a:lnTo>
                    <a:pt x="326470" y="409554"/>
                  </a:lnTo>
                  <a:lnTo>
                    <a:pt x="323212" y="409554"/>
                  </a:lnTo>
                  <a:lnTo>
                    <a:pt x="320279" y="411509"/>
                  </a:lnTo>
                  <a:lnTo>
                    <a:pt x="316207" y="411509"/>
                  </a:lnTo>
                  <a:lnTo>
                    <a:pt x="313274" y="408902"/>
                  </a:lnTo>
                  <a:lnTo>
                    <a:pt x="310016" y="410368"/>
                  </a:lnTo>
                  <a:lnTo>
                    <a:pt x="303825" y="411834"/>
                  </a:lnTo>
                  <a:lnTo>
                    <a:pt x="292585" y="414115"/>
                  </a:lnTo>
                  <a:lnTo>
                    <a:pt x="284765" y="417210"/>
                  </a:lnTo>
                  <a:lnTo>
                    <a:pt x="281018" y="417047"/>
                  </a:lnTo>
                  <a:lnTo>
                    <a:pt x="277923" y="415581"/>
                  </a:lnTo>
                  <a:lnTo>
                    <a:pt x="273688" y="417373"/>
                  </a:lnTo>
                  <a:lnTo>
                    <a:pt x="269126" y="421609"/>
                  </a:lnTo>
                  <a:lnTo>
                    <a:pt x="268963" y="425193"/>
                  </a:lnTo>
                  <a:lnTo>
                    <a:pt x="273362" y="428614"/>
                  </a:lnTo>
                  <a:lnTo>
                    <a:pt x="280530" y="428125"/>
                  </a:lnTo>
                  <a:lnTo>
                    <a:pt x="286395" y="428777"/>
                  </a:lnTo>
                  <a:lnTo>
                    <a:pt x="286395" y="431221"/>
                  </a:lnTo>
                  <a:lnTo>
                    <a:pt x="282811" y="434805"/>
                  </a:lnTo>
                  <a:lnTo>
                    <a:pt x="285254" y="442461"/>
                  </a:lnTo>
                  <a:lnTo>
                    <a:pt x="285580" y="446208"/>
                  </a:lnTo>
                  <a:lnTo>
                    <a:pt x="287861" y="449629"/>
                  </a:lnTo>
                  <a:lnTo>
                    <a:pt x="288838" y="455005"/>
                  </a:lnTo>
                  <a:lnTo>
                    <a:pt x="293563" y="462662"/>
                  </a:lnTo>
                  <a:lnTo>
                    <a:pt x="294540" y="466898"/>
                  </a:lnTo>
                  <a:lnTo>
                    <a:pt x="300079" y="470970"/>
                  </a:lnTo>
                  <a:lnTo>
                    <a:pt x="302034" y="481397"/>
                  </a:lnTo>
                  <a:lnTo>
                    <a:pt x="298938" y="484166"/>
                  </a:lnTo>
                  <a:lnTo>
                    <a:pt x="297309" y="488890"/>
                  </a:lnTo>
                  <a:lnTo>
                    <a:pt x="301545" y="493778"/>
                  </a:lnTo>
                  <a:lnTo>
                    <a:pt x="299264" y="495081"/>
                  </a:lnTo>
                  <a:lnTo>
                    <a:pt x="298613" y="498013"/>
                  </a:lnTo>
                  <a:lnTo>
                    <a:pt x="293725" y="501271"/>
                  </a:lnTo>
                  <a:lnTo>
                    <a:pt x="293888" y="507951"/>
                  </a:lnTo>
                  <a:lnTo>
                    <a:pt x="289164" y="510720"/>
                  </a:lnTo>
                  <a:lnTo>
                    <a:pt x="277760" y="507788"/>
                  </a:lnTo>
                  <a:lnTo>
                    <a:pt x="266845" y="495244"/>
                  </a:lnTo>
                  <a:lnTo>
                    <a:pt x="262284" y="496384"/>
                  </a:lnTo>
                  <a:lnTo>
                    <a:pt x="251532" y="492149"/>
                  </a:lnTo>
                  <a:lnTo>
                    <a:pt x="235893" y="491171"/>
                  </a:lnTo>
                  <a:lnTo>
                    <a:pt x="228236" y="493941"/>
                  </a:lnTo>
                  <a:lnTo>
                    <a:pt x="215040" y="490519"/>
                  </a:lnTo>
                  <a:lnTo>
                    <a:pt x="202985" y="493452"/>
                  </a:lnTo>
                  <a:lnTo>
                    <a:pt x="196631" y="494429"/>
                  </a:lnTo>
                  <a:lnTo>
                    <a:pt x="190767" y="492474"/>
                  </a:lnTo>
                  <a:lnTo>
                    <a:pt x="186206" y="496547"/>
                  </a:lnTo>
                  <a:lnTo>
                    <a:pt x="181318" y="498665"/>
                  </a:lnTo>
                  <a:lnTo>
                    <a:pt x="167308" y="496710"/>
                  </a:lnTo>
                  <a:lnTo>
                    <a:pt x="157045" y="493941"/>
                  </a:lnTo>
                  <a:lnTo>
                    <a:pt x="151668" y="490845"/>
                  </a:lnTo>
                  <a:lnTo>
                    <a:pt x="143523" y="491008"/>
                  </a:lnTo>
                  <a:lnTo>
                    <a:pt x="140754" y="492311"/>
                  </a:lnTo>
                  <a:lnTo>
                    <a:pt x="134726" y="491986"/>
                  </a:lnTo>
                  <a:lnTo>
                    <a:pt x="130002" y="491008"/>
                  </a:lnTo>
                  <a:lnTo>
                    <a:pt x="127069" y="492637"/>
                  </a:lnTo>
                  <a:lnTo>
                    <a:pt x="127558" y="498176"/>
                  </a:lnTo>
                  <a:lnTo>
                    <a:pt x="129024" y="503878"/>
                  </a:lnTo>
                  <a:lnTo>
                    <a:pt x="129187" y="510720"/>
                  </a:lnTo>
                  <a:lnTo>
                    <a:pt x="121204" y="512023"/>
                  </a:lnTo>
                  <a:lnTo>
                    <a:pt x="105402" y="512349"/>
                  </a:lnTo>
                  <a:lnTo>
                    <a:pt x="86668" y="510557"/>
                  </a:lnTo>
                  <a:lnTo>
                    <a:pt x="82106" y="507951"/>
                  </a:lnTo>
                  <a:lnTo>
                    <a:pt x="73635" y="506810"/>
                  </a:lnTo>
                  <a:lnTo>
                    <a:pt x="68911" y="512023"/>
                  </a:lnTo>
                  <a:lnTo>
                    <a:pt x="70703" y="514956"/>
                  </a:lnTo>
                  <a:lnTo>
                    <a:pt x="65164" y="518703"/>
                  </a:lnTo>
                  <a:lnTo>
                    <a:pt x="64349" y="520984"/>
                  </a:lnTo>
                  <a:lnTo>
                    <a:pt x="62720" y="520658"/>
                  </a:lnTo>
                  <a:lnTo>
                    <a:pt x="66956" y="521309"/>
                  </a:lnTo>
                  <a:lnTo>
                    <a:pt x="67282" y="526685"/>
                  </a:lnTo>
                  <a:lnTo>
                    <a:pt x="59136" y="539229"/>
                  </a:lnTo>
                  <a:lnTo>
                    <a:pt x="55389" y="545583"/>
                  </a:lnTo>
                  <a:lnTo>
                    <a:pt x="60114" y="548515"/>
                  </a:lnTo>
                  <a:lnTo>
                    <a:pt x="71517" y="551936"/>
                  </a:lnTo>
                  <a:lnTo>
                    <a:pt x="76079" y="556335"/>
                  </a:lnTo>
                  <a:lnTo>
                    <a:pt x="80803" y="557964"/>
                  </a:lnTo>
                  <a:lnTo>
                    <a:pt x="85202" y="553077"/>
                  </a:lnTo>
                  <a:lnTo>
                    <a:pt x="85853" y="545909"/>
                  </a:lnTo>
                  <a:lnTo>
                    <a:pt x="89274" y="546723"/>
                  </a:lnTo>
                  <a:lnTo>
                    <a:pt x="101818" y="556498"/>
                  </a:lnTo>
                  <a:lnTo>
                    <a:pt x="103122" y="561711"/>
                  </a:lnTo>
                  <a:lnTo>
                    <a:pt x="95791" y="569693"/>
                  </a:lnTo>
                  <a:lnTo>
                    <a:pt x="86993" y="569204"/>
                  </a:lnTo>
                  <a:lnTo>
                    <a:pt x="74450" y="571160"/>
                  </a:lnTo>
                  <a:lnTo>
                    <a:pt x="72495" y="567576"/>
                  </a:lnTo>
                  <a:lnTo>
                    <a:pt x="66956" y="561874"/>
                  </a:lnTo>
                  <a:lnTo>
                    <a:pt x="58810" y="570182"/>
                  </a:lnTo>
                  <a:lnTo>
                    <a:pt x="53597" y="569693"/>
                  </a:lnTo>
                  <a:lnTo>
                    <a:pt x="46918" y="574744"/>
                  </a:lnTo>
                  <a:lnTo>
                    <a:pt x="40402" y="577024"/>
                  </a:lnTo>
                  <a:lnTo>
                    <a:pt x="40076" y="583215"/>
                  </a:lnTo>
                  <a:lnTo>
                    <a:pt x="47895" y="587125"/>
                  </a:lnTo>
                  <a:lnTo>
                    <a:pt x="47733" y="592175"/>
                  </a:lnTo>
                  <a:lnTo>
                    <a:pt x="39098" y="595922"/>
                  </a:lnTo>
                  <a:lnTo>
                    <a:pt x="28020" y="598528"/>
                  </a:lnTo>
                  <a:lnTo>
                    <a:pt x="30301" y="600483"/>
                  </a:lnTo>
                  <a:lnTo>
                    <a:pt x="31931" y="604556"/>
                  </a:lnTo>
                  <a:lnTo>
                    <a:pt x="21993" y="608140"/>
                  </a:lnTo>
                  <a:lnTo>
                    <a:pt x="21178" y="614005"/>
                  </a:lnTo>
                  <a:lnTo>
                    <a:pt x="16617" y="615308"/>
                  </a:lnTo>
                  <a:lnTo>
                    <a:pt x="5213" y="613516"/>
                  </a:lnTo>
                  <a:lnTo>
                    <a:pt x="0" y="617589"/>
                  </a:lnTo>
                  <a:lnTo>
                    <a:pt x="163" y="625571"/>
                  </a:lnTo>
                  <a:lnTo>
                    <a:pt x="6842" y="635183"/>
                  </a:lnTo>
                  <a:lnTo>
                    <a:pt x="11241" y="632739"/>
                  </a:lnTo>
                  <a:lnTo>
                    <a:pt x="18409" y="632576"/>
                  </a:lnTo>
                  <a:lnTo>
                    <a:pt x="19712" y="638278"/>
                  </a:lnTo>
                  <a:lnTo>
                    <a:pt x="17431" y="643491"/>
                  </a:lnTo>
                  <a:lnTo>
                    <a:pt x="20201" y="650659"/>
                  </a:lnTo>
                  <a:lnTo>
                    <a:pt x="25251" y="652777"/>
                  </a:lnTo>
                  <a:lnTo>
                    <a:pt x="26066" y="659782"/>
                  </a:lnTo>
                  <a:lnTo>
                    <a:pt x="23622" y="662714"/>
                  </a:lnTo>
                  <a:lnTo>
                    <a:pt x="18246" y="675259"/>
                  </a:lnTo>
                  <a:lnTo>
                    <a:pt x="16454" y="691386"/>
                  </a:lnTo>
                  <a:lnTo>
                    <a:pt x="14173" y="688617"/>
                  </a:lnTo>
                  <a:lnTo>
                    <a:pt x="19712" y="695785"/>
                  </a:lnTo>
                  <a:lnTo>
                    <a:pt x="23622" y="697414"/>
                  </a:lnTo>
                  <a:lnTo>
                    <a:pt x="32093" y="695622"/>
                  </a:lnTo>
                  <a:lnTo>
                    <a:pt x="37632" y="692527"/>
                  </a:lnTo>
                  <a:lnTo>
                    <a:pt x="40402" y="688454"/>
                  </a:lnTo>
                  <a:lnTo>
                    <a:pt x="43334" y="687802"/>
                  </a:lnTo>
                  <a:lnTo>
                    <a:pt x="46266" y="685033"/>
                  </a:lnTo>
                  <a:lnTo>
                    <a:pt x="48873" y="686988"/>
                  </a:lnTo>
                  <a:lnTo>
                    <a:pt x="51642" y="690572"/>
                  </a:lnTo>
                  <a:lnTo>
                    <a:pt x="60440" y="691386"/>
                  </a:lnTo>
                  <a:lnTo>
                    <a:pt x="60277" y="687314"/>
                  </a:lnTo>
                  <a:lnTo>
                    <a:pt x="57833" y="684870"/>
                  </a:lnTo>
                  <a:lnTo>
                    <a:pt x="58322" y="681449"/>
                  </a:lnTo>
                  <a:lnTo>
                    <a:pt x="63861" y="679983"/>
                  </a:lnTo>
                  <a:lnTo>
                    <a:pt x="65815" y="677213"/>
                  </a:lnTo>
                  <a:lnTo>
                    <a:pt x="68422" y="677213"/>
                  </a:lnTo>
                  <a:lnTo>
                    <a:pt x="69074" y="679983"/>
                  </a:lnTo>
                  <a:lnTo>
                    <a:pt x="74613" y="679331"/>
                  </a:lnTo>
                  <a:lnTo>
                    <a:pt x="78197" y="673792"/>
                  </a:lnTo>
                  <a:lnTo>
                    <a:pt x="76893" y="666787"/>
                  </a:lnTo>
                  <a:lnTo>
                    <a:pt x="79174" y="663366"/>
                  </a:lnTo>
                  <a:lnTo>
                    <a:pt x="82269" y="660597"/>
                  </a:lnTo>
                  <a:lnTo>
                    <a:pt x="83084" y="653266"/>
                  </a:lnTo>
                  <a:lnTo>
                    <a:pt x="85690" y="648541"/>
                  </a:lnTo>
                  <a:lnTo>
                    <a:pt x="91881" y="648541"/>
                  </a:lnTo>
                  <a:lnTo>
                    <a:pt x="96279" y="651800"/>
                  </a:lnTo>
                  <a:lnTo>
                    <a:pt x="100841" y="654080"/>
                  </a:lnTo>
                  <a:lnTo>
                    <a:pt x="100841" y="658153"/>
                  </a:lnTo>
                  <a:lnTo>
                    <a:pt x="99700" y="664018"/>
                  </a:lnTo>
                  <a:lnTo>
                    <a:pt x="101167" y="668905"/>
                  </a:lnTo>
                  <a:lnTo>
                    <a:pt x="105402" y="668742"/>
                  </a:lnTo>
                  <a:lnTo>
                    <a:pt x="107357" y="673466"/>
                  </a:lnTo>
                  <a:lnTo>
                    <a:pt x="106868" y="679983"/>
                  </a:lnTo>
                  <a:lnTo>
                    <a:pt x="107683" y="685033"/>
                  </a:lnTo>
                  <a:lnTo>
                    <a:pt x="108009" y="694970"/>
                  </a:lnTo>
                  <a:lnTo>
                    <a:pt x="111919" y="700184"/>
                  </a:lnTo>
                  <a:lnTo>
                    <a:pt x="111919" y="703768"/>
                  </a:lnTo>
                  <a:lnTo>
                    <a:pt x="116480" y="705560"/>
                  </a:lnTo>
                  <a:lnTo>
                    <a:pt x="122997" y="705560"/>
                  </a:lnTo>
                  <a:lnTo>
                    <a:pt x="127395" y="702138"/>
                  </a:lnTo>
                  <a:lnTo>
                    <a:pt x="128372" y="699695"/>
                  </a:lnTo>
                  <a:lnTo>
                    <a:pt x="137170" y="695622"/>
                  </a:lnTo>
                  <a:lnTo>
                    <a:pt x="141242" y="691875"/>
                  </a:lnTo>
                  <a:lnTo>
                    <a:pt x="142383" y="687151"/>
                  </a:lnTo>
                  <a:lnTo>
                    <a:pt x="145804" y="684219"/>
                  </a:lnTo>
                  <a:lnTo>
                    <a:pt x="157370" y="676725"/>
                  </a:lnTo>
                  <a:lnTo>
                    <a:pt x="164701" y="675095"/>
                  </a:lnTo>
                  <a:lnTo>
                    <a:pt x="166004" y="680471"/>
                  </a:lnTo>
                  <a:lnTo>
                    <a:pt x="175616" y="679331"/>
                  </a:lnTo>
                  <a:lnTo>
                    <a:pt x="179038" y="675259"/>
                  </a:lnTo>
                  <a:lnTo>
                    <a:pt x="189789" y="675259"/>
                  </a:lnTo>
                  <a:lnTo>
                    <a:pt x="191093" y="679657"/>
                  </a:lnTo>
                  <a:lnTo>
                    <a:pt x="183273" y="686173"/>
                  </a:lnTo>
                  <a:lnTo>
                    <a:pt x="187346" y="687314"/>
                  </a:lnTo>
                  <a:lnTo>
                    <a:pt x="182133" y="696274"/>
                  </a:lnTo>
                  <a:lnTo>
                    <a:pt x="170729" y="700998"/>
                  </a:lnTo>
                  <a:lnTo>
                    <a:pt x="152646" y="704745"/>
                  </a:lnTo>
                  <a:lnTo>
                    <a:pt x="154275" y="708981"/>
                  </a:lnTo>
                  <a:lnTo>
                    <a:pt x="141894" y="717289"/>
                  </a:lnTo>
                  <a:lnTo>
                    <a:pt x="143034" y="727389"/>
                  </a:lnTo>
                  <a:lnTo>
                    <a:pt x="146781" y="730973"/>
                  </a:lnTo>
                  <a:lnTo>
                    <a:pt x="150365" y="729507"/>
                  </a:lnTo>
                  <a:lnTo>
                    <a:pt x="155579" y="727715"/>
                  </a:lnTo>
                  <a:lnTo>
                    <a:pt x="160791" y="734069"/>
                  </a:lnTo>
                  <a:lnTo>
                    <a:pt x="167797" y="739933"/>
                  </a:lnTo>
                  <a:lnTo>
                    <a:pt x="174476" y="744006"/>
                  </a:lnTo>
                  <a:lnTo>
                    <a:pt x="175942" y="749219"/>
                  </a:lnTo>
                  <a:lnTo>
                    <a:pt x="183436" y="751174"/>
                  </a:lnTo>
                  <a:lnTo>
                    <a:pt x="183599" y="757528"/>
                  </a:lnTo>
                  <a:lnTo>
                    <a:pt x="176431" y="762089"/>
                  </a:lnTo>
                  <a:lnTo>
                    <a:pt x="175616" y="767465"/>
                  </a:lnTo>
                  <a:lnTo>
                    <a:pt x="171381" y="769257"/>
                  </a:lnTo>
                  <a:lnTo>
                    <a:pt x="171543" y="777240"/>
                  </a:lnTo>
                  <a:lnTo>
                    <a:pt x="176268" y="784733"/>
                  </a:lnTo>
                  <a:lnTo>
                    <a:pt x="180177" y="802002"/>
                  </a:lnTo>
                  <a:lnTo>
                    <a:pt x="181481" y="809659"/>
                  </a:lnTo>
                  <a:lnTo>
                    <a:pt x="190767" y="817967"/>
                  </a:lnTo>
                  <a:lnTo>
                    <a:pt x="200379" y="820248"/>
                  </a:lnTo>
                  <a:lnTo>
                    <a:pt x="209338" y="823994"/>
                  </a:lnTo>
                  <a:lnTo>
                    <a:pt x="212434" y="830511"/>
                  </a:lnTo>
                  <a:lnTo>
                    <a:pt x="220253" y="832303"/>
                  </a:lnTo>
                  <a:lnTo>
                    <a:pt x="226281" y="829859"/>
                  </a:lnTo>
                  <a:lnTo>
                    <a:pt x="232797" y="831325"/>
                  </a:lnTo>
                  <a:lnTo>
                    <a:pt x="233449" y="836864"/>
                  </a:lnTo>
                  <a:lnTo>
                    <a:pt x="228399" y="842566"/>
                  </a:lnTo>
                  <a:lnTo>
                    <a:pt x="234915" y="835235"/>
                  </a:lnTo>
                  <a:lnTo>
                    <a:pt x="242572" y="822691"/>
                  </a:lnTo>
                  <a:lnTo>
                    <a:pt x="250066" y="815849"/>
                  </a:lnTo>
                  <a:lnTo>
                    <a:pt x="256582" y="815523"/>
                  </a:lnTo>
                  <a:lnTo>
                    <a:pt x="259840" y="809495"/>
                  </a:lnTo>
                  <a:lnTo>
                    <a:pt x="265216" y="809495"/>
                  </a:lnTo>
                  <a:lnTo>
                    <a:pt x="279227" y="818781"/>
                  </a:lnTo>
                  <a:lnTo>
                    <a:pt x="286557" y="814872"/>
                  </a:lnTo>
                  <a:lnTo>
                    <a:pt x="293563" y="817641"/>
                  </a:lnTo>
                  <a:lnTo>
                    <a:pt x="296169" y="824483"/>
                  </a:lnTo>
                  <a:lnTo>
                    <a:pt x="302685" y="824157"/>
                  </a:lnTo>
                  <a:lnTo>
                    <a:pt x="312949" y="830674"/>
                  </a:lnTo>
                  <a:lnTo>
                    <a:pt x="313111" y="830511"/>
                  </a:lnTo>
                  <a:lnTo>
                    <a:pt x="314741" y="833769"/>
                  </a:lnTo>
                  <a:lnTo>
                    <a:pt x="315066" y="838005"/>
                  </a:lnTo>
                  <a:lnTo>
                    <a:pt x="321909" y="841589"/>
                  </a:lnTo>
                  <a:lnTo>
                    <a:pt x="320768" y="851526"/>
                  </a:lnTo>
                  <a:lnTo>
                    <a:pt x="323538" y="856251"/>
                  </a:lnTo>
                  <a:lnTo>
                    <a:pt x="321909" y="859346"/>
                  </a:lnTo>
                  <a:lnTo>
                    <a:pt x="324678" y="861301"/>
                  </a:lnTo>
                  <a:lnTo>
                    <a:pt x="327773" y="865699"/>
                  </a:lnTo>
                  <a:lnTo>
                    <a:pt x="327773" y="869446"/>
                  </a:lnTo>
                  <a:lnTo>
                    <a:pt x="330217" y="870261"/>
                  </a:lnTo>
                  <a:lnTo>
                    <a:pt x="331846" y="875800"/>
                  </a:lnTo>
                  <a:lnTo>
                    <a:pt x="337548" y="878569"/>
                  </a:lnTo>
                  <a:lnTo>
                    <a:pt x="340643" y="873682"/>
                  </a:lnTo>
                  <a:lnTo>
                    <a:pt x="346345" y="874008"/>
                  </a:lnTo>
                  <a:lnTo>
                    <a:pt x="348625" y="876777"/>
                  </a:lnTo>
                  <a:lnTo>
                    <a:pt x="354490" y="877592"/>
                  </a:lnTo>
                  <a:lnTo>
                    <a:pt x="359541" y="882968"/>
                  </a:lnTo>
                  <a:lnTo>
                    <a:pt x="363450" y="884271"/>
                  </a:lnTo>
                  <a:lnTo>
                    <a:pt x="366383" y="890299"/>
                  </a:lnTo>
                  <a:lnTo>
                    <a:pt x="370781" y="891113"/>
                  </a:lnTo>
                  <a:lnTo>
                    <a:pt x="372573" y="895349"/>
                  </a:lnTo>
                  <a:lnTo>
                    <a:pt x="373062" y="894697"/>
                  </a:lnTo>
                  <a:lnTo>
                    <a:pt x="373714" y="903657"/>
                  </a:lnTo>
                  <a:lnTo>
                    <a:pt x="369641" y="917341"/>
                  </a:lnTo>
                  <a:lnTo>
                    <a:pt x="369641" y="925813"/>
                  </a:lnTo>
                  <a:lnTo>
                    <a:pt x="363776" y="934610"/>
                  </a:lnTo>
                  <a:lnTo>
                    <a:pt x="365243" y="940963"/>
                  </a:lnTo>
                  <a:lnTo>
                    <a:pt x="370781" y="941615"/>
                  </a:lnTo>
                  <a:lnTo>
                    <a:pt x="375180" y="945199"/>
                  </a:lnTo>
                  <a:lnTo>
                    <a:pt x="379741" y="945362"/>
                  </a:lnTo>
                  <a:lnTo>
                    <a:pt x="384140" y="948620"/>
                  </a:lnTo>
                  <a:lnTo>
                    <a:pt x="393263" y="951227"/>
                  </a:lnTo>
                  <a:lnTo>
                    <a:pt x="404992" y="958883"/>
                  </a:lnTo>
                  <a:lnTo>
                    <a:pt x="412812" y="968495"/>
                  </a:lnTo>
                  <a:lnTo>
                    <a:pt x="422749" y="970613"/>
                  </a:lnTo>
                  <a:lnTo>
                    <a:pt x="427637" y="974034"/>
                  </a:lnTo>
                  <a:lnTo>
                    <a:pt x="434642" y="974034"/>
                  </a:lnTo>
                  <a:lnTo>
                    <a:pt x="443113" y="979573"/>
                  </a:lnTo>
                  <a:lnTo>
                    <a:pt x="455983" y="978595"/>
                  </a:lnTo>
                  <a:lnTo>
                    <a:pt x="460381" y="982668"/>
                  </a:lnTo>
                  <a:lnTo>
                    <a:pt x="473740" y="978921"/>
                  </a:lnTo>
                  <a:lnTo>
                    <a:pt x="485958" y="981853"/>
                  </a:lnTo>
                  <a:lnTo>
                    <a:pt x="487424" y="988533"/>
                  </a:lnTo>
                  <a:lnTo>
                    <a:pt x="494104" y="994397"/>
                  </a:lnTo>
                  <a:lnTo>
                    <a:pt x="507625" y="998144"/>
                  </a:lnTo>
                  <a:lnTo>
                    <a:pt x="512513" y="995538"/>
                  </a:lnTo>
                  <a:lnTo>
                    <a:pt x="521309" y="995212"/>
                  </a:lnTo>
                  <a:lnTo>
                    <a:pt x="543465" y="1003194"/>
                  </a:lnTo>
                  <a:lnTo>
                    <a:pt x="549004" y="1000262"/>
                  </a:lnTo>
                  <a:lnTo>
                    <a:pt x="558616" y="1005475"/>
                  </a:lnTo>
                  <a:lnTo>
                    <a:pt x="574418" y="1002217"/>
                  </a:lnTo>
                  <a:lnTo>
                    <a:pt x="576373" y="990325"/>
                  </a:lnTo>
                  <a:lnTo>
                    <a:pt x="571486" y="980387"/>
                  </a:lnTo>
                  <a:lnTo>
                    <a:pt x="573766" y="968169"/>
                  </a:lnTo>
                  <a:lnTo>
                    <a:pt x="572137" y="962793"/>
                  </a:lnTo>
                  <a:lnTo>
                    <a:pt x="572789" y="962793"/>
                  </a:lnTo>
                  <a:lnTo>
                    <a:pt x="577350" y="958720"/>
                  </a:lnTo>
                  <a:lnTo>
                    <a:pt x="583215" y="957906"/>
                  </a:lnTo>
                  <a:lnTo>
                    <a:pt x="586147" y="963282"/>
                  </a:lnTo>
                  <a:lnTo>
                    <a:pt x="586473" y="969798"/>
                  </a:lnTo>
                  <a:lnTo>
                    <a:pt x="591523" y="973382"/>
                  </a:lnTo>
                  <a:lnTo>
                    <a:pt x="591849" y="973219"/>
                  </a:lnTo>
                  <a:lnTo>
                    <a:pt x="591197" y="979084"/>
                  </a:lnTo>
                  <a:lnTo>
                    <a:pt x="589243" y="983320"/>
                  </a:lnTo>
                  <a:lnTo>
                    <a:pt x="594293" y="991302"/>
                  </a:lnTo>
                  <a:lnTo>
                    <a:pt x="602927" y="993094"/>
                  </a:lnTo>
                  <a:lnTo>
                    <a:pt x="606511" y="990976"/>
                  </a:lnTo>
                  <a:lnTo>
                    <a:pt x="619055" y="998144"/>
                  </a:lnTo>
                  <a:lnTo>
                    <a:pt x="625734" y="998144"/>
                  </a:lnTo>
                  <a:lnTo>
                    <a:pt x="630947" y="991791"/>
                  </a:lnTo>
                  <a:lnTo>
                    <a:pt x="636649" y="991139"/>
                  </a:lnTo>
                  <a:lnTo>
                    <a:pt x="642025" y="993583"/>
                  </a:lnTo>
                  <a:lnTo>
                    <a:pt x="651148" y="990976"/>
                  </a:lnTo>
                  <a:lnTo>
                    <a:pt x="658153" y="991302"/>
                  </a:lnTo>
                  <a:lnTo>
                    <a:pt x="668579" y="988044"/>
                  </a:lnTo>
                  <a:lnTo>
                    <a:pt x="668416" y="983971"/>
                  </a:lnTo>
                  <a:lnTo>
                    <a:pt x="668416" y="976803"/>
                  </a:lnTo>
                  <a:lnTo>
                    <a:pt x="660434" y="973219"/>
                  </a:lnTo>
                  <a:lnTo>
                    <a:pt x="659782" y="968169"/>
                  </a:lnTo>
                  <a:lnTo>
                    <a:pt x="661411" y="961978"/>
                  </a:lnTo>
                  <a:lnTo>
                    <a:pt x="664832" y="961653"/>
                  </a:lnTo>
                  <a:lnTo>
                    <a:pt x="674281" y="959372"/>
                  </a:lnTo>
                  <a:lnTo>
                    <a:pt x="678354" y="959046"/>
                  </a:lnTo>
                  <a:lnTo>
                    <a:pt x="680961" y="952856"/>
                  </a:lnTo>
                  <a:lnTo>
                    <a:pt x="684707" y="950086"/>
                  </a:lnTo>
                  <a:lnTo>
                    <a:pt x="688780" y="951389"/>
                  </a:lnTo>
                  <a:lnTo>
                    <a:pt x="688780" y="947968"/>
                  </a:lnTo>
                  <a:lnTo>
                    <a:pt x="694156" y="946502"/>
                  </a:lnTo>
                  <a:lnTo>
                    <a:pt x="695948" y="941289"/>
                  </a:lnTo>
                  <a:lnTo>
                    <a:pt x="700184" y="935913"/>
                  </a:lnTo>
                  <a:lnTo>
                    <a:pt x="705723" y="935099"/>
                  </a:lnTo>
                  <a:lnTo>
                    <a:pt x="715171" y="932981"/>
                  </a:lnTo>
                  <a:lnTo>
                    <a:pt x="720873" y="925650"/>
                  </a:lnTo>
                  <a:lnTo>
                    <a:pt x="720547" y="920274"/>
                  </a:lnTo>
                  <a:lnTo>
                    <a:pt x="724131" y="919459"/>
                  </a:lnTo>
                  <a:lnTo>
                    <a:pt x="729833" y="915386"/>
                  </a:lnTo>
                  <a:lnTo>
                    <a:pt x="734557" y="922066"/>
                  </a:lnTo>
                  <a:lnTo>
                    <a:pt x="741074" y="920274"/>
                  </a:lnTo>
                  <a:lnTo>
                    <a:pt x="750848" y="923369"/>
                  </a:lnTo>
                  <a:lnTo>
                    <a:pt x="753618" y="920762"/>
                  </a:lnTo>
                  <a:lnTo>
                    <a:pt x="752966" y="916201"/>
                  </a:lnTo>
                  <a:lnTo>
                    <a:pt x="764044" y="909685"/>
                  </a:lnTo>
                  <a:lnTo>
                    <a:pt x="768117" y="910988"/>
                  </a:lnTo>
                  <a:lnTo>
                    <a:pt x="770886" y="914735"/>
                  </a:lnTo>
                  <a:lnTo>
                    <a:pt x="774307" y="913757"/>
                  </a:lnTo>
                  <a:lnTo>
                    <a:pt x="775448" y="916201"/>
                  </a:lnTo>
                  <a:lnTo>
                    <a:pt x="771701" y="923206"/>
                  </a:lnTo>
                  <a:lnTo>
                    <a:pt x="773818" y="927279"/>
                  </a:lnTo>
                  <a:lnTo>
                    <a:pt x="776914" y="926301"/>
                  </a:lnTo>
                  <a:lnTo>
                    <a:pt x="780172" y="925324"/>
                  </a:lnTo>
                  <a:lnTo>
                    <a:pt x="781313" y="929234"/>
                  </a:lnTo>
                  <a:lnTo>
                    <a:pt x="785059" y="934121"/>
                  </a:lnTo>
                  <a:lnTo>
                    <a:pt x="785059" y="937705"/>
                  </a:lnTo>
                  <a:lnTo>
                    <a:pt x="780987" y="942104"/>
                  </a:lnTo>
                  <a:lnTo>
                    <a:pt x="782290" y="946339"/>
                  </a:lnTo>
                  <a:lnTo>
                    <a:pt x="787829" y="947317"/>
                  </a:lnTo>
                  <a:lnTo>
                    <a:pt x="790924" y="946013"/>
                  </a:lnTo>
                  <a:lnTo>
                    <a:pt x="795648" y="947968"/>
                  </a:lnTo>
                  <a:lnTo>
                    <a:pt x="800861" y="953344"/>
                  </a:lnTo>
                  <a:lnTo>
                    <a:pt x="799721" y="952204"/>
                  </a:lnTo>
                  <a:lnTo>
                    <a:pt x="803957" y="950086"/>
                  </a:lnTo>
                  <a:lnTo>
                    <a:pt x="809822" y="952693"/>
                  </a:lnTo>
                  <a:lnTo>
                    <a:pt x="813731" y="950412"/>
                  </a:lnTo>
                  <a:lnTo>
                    <a:pt x="819596" y="950575"/>
                  </a:lnTo>
                  <a:lnTo>
                    <a:pt x="823017" y="957417"/>
                  </a:lnTo>
                  <a:lnTo>
                    <a:pt x="827904" y="961164"/>
                  </a:lnTo>
                  <a:lnTo>
                    <a:pt x="829371" y="968984"/>
                  </a:lnTo>
                  <a:lnTo>
                    <a:pt x="833769" y="968821"/>
                  </a:lnTo>
                  <a:lnTo>
                    <a:pt x="838493" y="974034"/>
                  </a:lnTo>
                  <a:lnTo>
                    <a:pt x="838493" y="981691"/>
                  </a:lnTo>
                  <a:lnTo>
                    <a:pt x="842729" y="990325"/>
                  </a:lnTo>
                  <a:lnTo>
                    <a:pt x="843218" y="998144"/>
                  </a:lnTo>
                  <a:lnTo>
                    <a:pt x="841752" y="1009059"/>
                  </a:lnTo>
                  <a:lnTo>
                    <a:pt x="841752" y="1014110"/>
                  </a:lnTo>
                  <a:lnTo>
                    <a:pt x="840611" y="1017368"/>
                  </a:lnTo>
                  <a:lnTo>
                    <a:pt x="835887" y="1019485"/>
                  </a:lnTo>
                  <a:lnTo>
                    <a:pt x="835236" y="1024373"/>
                  </a:lnTo>
                  <a:lnTo>
                    <a:pt x="832955" y="1025024"/>
                  </a:lnTo>
                  <a:lnTo>
                    <a:pt x="831652" y="1028608"/>
                  </a:lnTo>
                  <a:lnTo>
                    <a:pt x="833769" y="1033496"/>
                  </a:lnTo>
                  <a:lnTo>
                    <a:pt x="831814" y="1036428"/>
                  </a:lnTo>
                  <a:lnTo>
                    <a:pt x="828556" y="1035125"/>
                  </a:lnTo>
                  <a:lnTo>
                    <a:pt x="824972" y="1038872"/>
                  </a:lnTo>
                  <a:lnTo>
                    <a:pt x="823017" y="1043270"/>
                  </a:lnTo>
                  <a:lnTo>
                    <a:pt x="825135" y="1046528"/>
                  </a:lnTo>
                  <a:lnTo>
                    <a:pt x="822691" y="1050438"/>
                  </a:lnTo>
                  <a:lnTo>
                    <a:pt x="822691" y="1054674"/>
                  </a:lnTo>
                  <a:lnTo>
                    <a:pt x="827090" y="1056466"/>
                  </a:lnTo>
                  <a:lnTo>
                    <a:pt x="828882" y="1059887"/>
                  </a:lnTo>
                  <a:lnTo>
                    <a:pt x="832466" y="1063145"/>
                  </a:lnTo>
                  <a:lnTo>
                    <a:pt x="831814" y="1069336"/>
                  </a:lnTo>
                  <a:lnTo>
                    <a:pt x="834258" y="1075201"/>
                  </a:lnTo>
                  <a:lnTo>
                    <a:pt x="840286" y="1070802"/>
                  </a:lnTo>
                  <a:lnTo>
                    <a:pt x="851852" y="1068358"/>
                  </a:lnTo>
                  <a:lnTo>
                    <a:pt x="852993" y="1072431"/>
                  </a:lnTo>
                  <a:lnTo>
                    <a:pt x="851363" y="1075526"/>
                  </a:lnTo>
                  <a:lnTo>
                    <a:pt x="854459" y="1078133"/>
                  </a:lnTo>
                  <a:lnTo>
                    <a:pt x="861138" y="1076504"/>
                  </a:lnTo>
                  <a:lnTo>
                    <a:pt x="862441" y="1080902"/>
                  </a:lnTo>
                  <a:lnTo>
                    <a:pt x="860649" y="1085301"/>
                  </a:lnTo>
                  <a:lnTo>
                    <a:pt x="863745" y="1089374"/>
                  </a:lnTo>
                  <a:lnTo>
                    <a:pt x="870261" y="1090840"/>
                  </a:lnTo>
                  <a:lnTo>
                    <a:pt x="868957" y="1093283"/>
                  </a:lnTo>
                  <a:lnTo>
                    <a:pt x="871075" y="1096542"/>
                  </a:lnTo>
                  <a:lnTo>
                    <a:pt x="871890" y="1094424"/>
                  </a:lnTo>
                  <a:lnTo>
                    <a:pt x="879221" y="1093609"/>
                  </a:lnTo>
                  <a:lnTo>
                    <a:pt x="884271" y="1096867"/>
                  </a:lnTo>
                  <a:lnTo>
                    <a:pt x="884271" y="1100777"/>
                  </a:lnTo>
                  <a:lnTo>
                    <a:pt x="882153" y="1105176"/>
                  </a:lnTo>
                  <a:lnTo>
                    <a:pt x="882316" y="1108923"/>
                  </a:lnTo>
                  <a:lnTo>
                    <a:pt x="876452" y="1117231"/>
                  </a:lnTo>
                  <a:lnTo>
                    <a:pt x="871564" y="1121955"/>
                  </a:lnTo>
                  <a:lnTo>
                    <a:pt x="872541" y="1125539"/>
                  </a:lnTo>
                  <a:lnTo>
                    <a:pt x="876452" y="1123584"/>
                  </a:lnTo>
                  <a:lnTo>
                    <a:pt x="884434" y="1124562"/>
                  </a:lnTo>
                  <a:lnTo>
                    <a:pt x="885737" y="1126028"/>
                  </a:lnTo>
                  <a:lnTo>
                    <a:pt x="889647" y="1122444"/>
                  </a:lnTo>
                  <a:lnTo>
                    <a:pt x="893231" y="1127168"/>
                  </a:lnTo>
                  <a:lnTo>
                    <a:pt x="891602" y="1134010"/>
                  </a:lnTo>
                  <a:lnTo>
                    <a:pt x="893394" y="1138735"/>
                  </a:lnTo>
                  <a:lnTo>
                    <a:pt x="899259" y="1141667"/>
                  </a:lnTo>
                  <a:lnTo>
                    <a:pt x="902680" y="1138409"/>
                  </a:lnTo>
                  <a:lnTo>
                    <a:pt x="908382" y="1138409"/>
                  </a:lnTo>
                  <a:lnTo>
                    <a:pt x="920111" y="1133359"/>
                  </a:lnTo>
                  <a:lnTo>
                    <a:pt x="924998" y="1134988"/>
                  </a:lnTo>
                  <a:lnTo>
                    <a:pt x="924509" y="1139875"/>
                  </a:lnTo>
                  <a:lnTo>
                    <a:pt x="922392" y="1141667"/>
                  </a:lnTo>
                  <a:lnTo>
                    <a:pt x="925650" y="1144111"/>
                  </a:lnTo>
                  <a:lnTo>
                    <a:pt x="927768" y="1148347"/>
                  </a:lnTo>
                  <a:lnTo>
                    <a:pt x="934447" y="1146229"/>
                  </a:lnTo>
                  <a:lnTo>
                    <a:pt x="938846" y="1147369"/>
                  </a:lnTo>
                  <a:lnTo>
                    <a:pt x="937379" y="1141016"/>
                  </a:lnTo>
                  <a:lnTo>
                    <a:pt x="937054" y="1134825"/>
                  </a:lnTo>
                  <a:lnTo>
                    <a:pt x="935098" y="1129449"/>
                  </a:lnTo>
                  <a:lnTo>
                    <a:pt x="934773" y="1120815"/>
                  </a:lnTo>
                  <a:lnTo>
                    <a:pt x="938357" y="1118534"/>
                  </a:lnTo>
                  <a:lnTo>
                    <a:pt x="938357" y="1114787"/>
                  </a:lnTo>
                  <a:lnTo>
                    <a:pt x="947806" y="1114461"/>
                  </a:lnTo>
                  <a:lnTo>
                    <a:pt x="948131" y="1114787"/>
                  </a:lnTo>
                  <a:lnTo>
                    <a:pt x="949923" y="1113321"/>
                  </a:lnTo>
                  <a:lnTo>
                    <a:pt x="951879" y="1112995"/>
                  </a:lnTo>
                  <a:lnTo>
                    <a:pt x="953182" y="1110389"/>
                  </a:lnTo>
                  <a:lnTo>
                    <a:pt x="956114" y="1107945"/>
                  </a:lnTo>
                  <a:lnTo>
                    <a:pt x="961490" y="1105827"/>
                  </a:lnTo>
                  <a:lnTo>
                    <a:pt x="964748" y="1106153"/>
                  </a:lnTo>
                  <a:lnTo>
                    <a:pt x="964422" y="1110063"/>
                  </a:lnTo>
                  <a:lnTo>
                    <a:pt x="966703" y="1111855"/>
                  </a:lnTo>
                  <a:lnTo>
                    <a:pt x="970287" y="1111855"/>
                  </a:lnTo>
                  <a:lnTo>
                    <a:pt x="971102" y="1106968"/>
                  </a:lnTo>
                  <a:lnTo>
                    <a:pt x="975011" y="1104198"/>
                  </a:lnTo>
                  <a:lnTo>
                    <a:pt x="980225" y="1109248"/>
                  </a:lnTo>
                  <a:lnTo>
                    <a:pt x="982831" y="1105664"/>
                  </a:lnTo>
                  <a:lnTo>
                    <a:pt x="985763" y="1105827"/>
                  </a:lnTo>
                  <a:lnTo>
                    <a:pt x="987067" y="1109574"/>
                  </a:lnTo>
                  <a:lnTo>
                    <a:pt x="992768" y="1106805"/>
                  </a:lnTo>
                  <a:lnTo>
                    <a:pt x="993583" y="1102895"/>
                  </a:lnTo>
                  <a:lnTo>
                    <a:pt x="999936" y="1101103"/>
                  </a:lnTo>
                  <a:lnTo>
                    <a:pt x="1004824" y="1104035"/>
                  </a:lnTo>
                  <a:lnTo>
                    <a:pt x="1013458" y="1101103"/>
                  </a:lnTo>
                  <a:lnTo>
                    <a:pt x="1013132" y="1093283"/>
                  </a:lnTo>
                  <a:lnTo>
                    <a:pt x="1018671" y="1090025"/>
                  </a:lnTo>
                  <a:lnTo>
                    <a:pt x="1024862" y="1090025"/>
                  </a:lnTo>
                  <a:lnTo>
                    <a:pt x="1028446" y="1086604"/>
                  </a:lnTo>
                  <a:lnTo>
                    <a:pt x="1033984" y="1091002"/>
                  </a:lnTo>
                  <a:lnTo>
                    <a:pt x="1033984" y="1094261"/>
                  </a:lnTo>
                  <a:lnTo>
                    <a:pt x="1039686" y="1095401"/>
                  </a:lnTo>
                  <a:lnTo>
                    <a:pt x="1041804" y="1098659"/>
                  </a:lnTo>
                  <a:lnTo>
                    <a:pt x="1053534" y="1098496"/>
                  </a:lnTo>
                  <a:lnTo>
                    <a:pt x="1055489" y="1101103"/>
                  </a:lnTo>
                  <a:lnTo>
                    <a:pt x="1062331" y="1098334"/>
                  </a:lnTo>
                  <a:lnTo>
                    <a:pt x="1066729" y="1101918"/>
                  </a:lnTo>
                  <a:lnTo>
                    <a:pt x="1065752" y="1106805"/>
                  </a:lnTo>
                  <a:lnTo>
                    <a:pt x="1062168" y="1107456"/>
                  </a:lnTo>
                  <a:lnTo>
                    <a:pt x="1059561" y="1116742"/>
                  </a:lnTo>
                  <a:lnTo>
                    <a:pt x="1062494" y="1117883"/>
                  </a:lnTo>
                  <a:lnTo>
                    <a:pt x="1063960" y="1123259"/>
                  </a:lnTo>
                  <a:lnTo>
                    <a:pt x="1074223" y="1127006"/>
                  </a:lnTo>
                  <a:lnTo>
                    <a:pt x="1075689" y="1130590"/>
                  </a:lnTo>
                  <a:lnTo>
                    <a:pt x="1080739" y="1132870"/>
                  </a:lnTo>
                  <a:lnTo>
                    <a:pt x="1085789" y="1135477"/>
                  </a:lnTo>
                  <a:lnTo>
                    <a:pt x="1091166" y="1133848"/>
                  </a:lnTo>
                  <a:lnTo>
                    <a:pt x="1093284" y="1135640"/>
                  </a:lnTo>
                  <a:lnTo>
                    <a:pt x="1096542" y="1134662"/>
                  </a:lnTo>
                  <a:lnTo>
                    <a:pt x="1100777" y="1136943"/>
                  </a:lnTo>
                  <a:lnTo>
                    <a:pt x="1102407" y="1137269"/>
                  </a:lnTo>
                  <a:lnTo>
                    <a:pt x="1104198" y="1136291"/>
                  </a:lnTo>
                  <a:lnTo>
                    <a:pt x="1107294" y="1137595"/>
                  </a:lnTo>
                  <a:lnTo>
                    <a:pt x="1111529" y="1135803"/>
                  </a:lnTo>
                  <a:lnTo>
                    <a:pt x="1111366" y="1133196"/>
                  </a:lnTo>
                  <a:lnTo>
                    <a:pt x="1112507" y="1128146"/>
                  </a:lnTo>
                  <a:lnTo>
                    <a:pt x="1114950" y="1132870"/>
                  </a:lnTo>
                  <a:lnTo>
                    <a:pt x="1119675" y="1137595"/>
                  </a:lnTo>
                  <a:lnTo>
                    <a:pt x="1122118" y="1136780"/>
                  </a:lnTo>
                  <a:lnTo>
                    <a:pt x="1128472" y="1141993"/>
                  </a:lnTo>
                  <a:lnTo>
                    <a:pt x="1131241" y="1141016"/>
                  </a:lnTo>
                  <a:lnTo>
                    <a:pt x="1134662" y="1141342"/>
                  </a:lnTo>
                  <a:lnTo>
                    <a:pt x="1137269" y="1136943"/>
                  </a:lnTo>
                  <a:lnTo>
                    <a:pt x="1140853" y="1140364"/>
                  </a:lnTo>
                  <a:lnTo>
                    <a:pt x="1144600" y="1139224"/>
                  </a:lnTo>
                  <a:lnTo>
                    <a:pt x="1147207" y="1140364"/>
                  </a:lnTo>
                  <a:lnTo>
                    <a:pt x="1147532" y="1141993"/>
                  </a:lnTo>
                  <a:lnTo>
                    <a:pt x="1143786" y="1142482"/>
                  </a:lnTo>
                  <a:lnTo>
                    <a:pt x="1142971" y="1147043"/>
                  </a:lnTo>
                  <a:lnTo>
                    <a:pt x="1139387" y="1151442"/>
                  </a:lnTo>
                  <a:lnTo>
                    <a:pt x="1139224" y="1154537"/>
                  </a:lnTo>
                  <a:lnTo>
                    <a:pt x="1145414" y="1163009"/>
                  </a:lnTo>
                  <a:lnTo>
                    <a:pt x="1149161" y="1165126"/>
                  </a:lnTo>
                  <a:lnTo>
                    <a:pt x="1148998" y="1167570"/>
                  </a:lnTo>
                  <a:lnTo>
                    <a:pt x="1149650" y="1173109"/>
                  </a:lnTo>
                  <a:lnTo>
                    <a:pt x="1150791" y="1172131"/>
                  </a:lnTo>
                  <a:lnTo>
                    <a:pt x="1152745" y="1168547"/>
                  </a:lnTo>
                  <a:lnTo>
                    <a:pt x="1158447" y="1169688"/>
                  </a:lnTo>
                  <a:lnTo>
                    <a:pt x="1158447" y="1171154"/>
                  </a:lnTo>
                  <a:lnTo>
                    <a:pt x="1161380" y="1171154"/>
                  </a:lnTo>
                  <a:lnTo>
                    <a:pt x="1165778" y="1165452"/>
                  </a:lnTo>
                  <a:lnTo>
                    <a:pt x="1164475" y="1163171"/>
                  </a:lnTo>
                  <a:lnTo>
                    <a:pt x="1162520" y="1162845"/>
                  </a:lnTo>
                  <a:lnTo>
                    <a:pt x="1162520" y="1161379"/>
                  </a:lnTo>
                  <a:lnTo>
                    <a:pt x="1159750" y="1156166"/>
                  </a:lnTo>
                  <a:lnTo>
                    <a:pt x="1156818" y="1156166"/>
                  </a:lnTo>
                  <a:lnTo>
                    <a:pt x="1154863" y="1151442"/>
                  </a:lnTo>
                  <a:lnTo>
                    <a:pt x="1156004" y="1149487"/>
                  </a:lnTo>
                  <a:lnTo>
                    <a:pt x="1159588" y="1146555"/>
                  </a:lnTo>
                  <a:lnTo>
                    <a:pt x="1160565" y="1143134"/>
                  </a:lnTo>
                  <a:lnTo>
                    <a:pt x="1159750" y="1140527"/>
                  </a:lnTo>
                  <a:lnTo>
                    <a:pt x="1160891" y="1140364"/>
                  </a:lnTo>
                  <a:lnTo>
                    <a:pt x="1162683" y="1138409"/>
                  </a:lnTo>
                  <a:lnTo>
                    <a:pt x="1163171" y="1139875"/>
                  </a:lnTo>
                  <a:lnTo>
                    <a:pt x="1164312" y="1141830"/>
                  </a:lnTo>
                  <a:lnTo>
                    <a:pt x="1165778" y="1141830"/>
                  </a:lnTo>
                  <a:lnTo>
                    <a:pt x="1164800" y="1142482"/>
                  </a:lnTo>
                  <a:lnTo>
                    <a:pt x="1165127" y="1143622"/>
                  </a:lnTo>
                  <a:lnTo>
                    <a:pt x="1167407" y="1144111"/>
                  </a:lnTo>
                  <a:lnTo>
                    <a:pt x="1166430" y="1145414"/>
                  </a:lnTo>
                  <a:lnTo>
                    <a:pt x="1167733" y="1145577"/>
                  </a:lnTo>
                  <a:lnTo>
                    <a:pt x="1170339" y="1142808"/>
                  </a:lnTo>
                  <a:lnTo>
                    <a:pt x="1175389" y="1141993"/>
                  </a:lnTo>
                  <a:lnTo>
                    <a:pt x="1177345" y="1138246"/>
                  </a:lnTo>
                  <a:lnTo>
                    <a:pt x="1181418" y="1139875"/>
                  </a:lnTo>
                  <a:lnTo>
                    <a:pt x="1185979" y="1138246"/>
                  </a:lnTo>
                  <a:lnTo>
                    <a:pt x="1191518" y="1135151"/>
                  </a:lnTo>
                  <a:lnTo>
                    <a:pt x="1189563" y="1131893"/>
                  </a:lnTo>
                  <a:lnTo>
                    <a:pt x="1193961" y="1131893"/>
                  </a:lnTo>
                  <a:lnTo>
                    <a:pt x="1198848" y="1130427"/>
                  </a:lnTo>
                  <a:lnTo>
                    <a:pt x="1203899" y="1132219"/>
                  </a:lnTo>
                  <a:lnTo>
                    <a:pt x="1206831" y="1131404"/>
                  </a:lnTo>
                  <a:lnTo>
                    <a:pt x="1212533" y="1128635"/>
                  </a:lnTo>
                  <a:lnTo>
                    <a:pt x="1217420" y="1123747"/>
                  </a:lnTo>
                  <a:lnTo>
                    <a:pt x="1220679" y="1119349"/>
                  </a:lnTo>
                  <a:lnTo>
                    <a:pt x="1221167" y="1117231"/>
                  </a:lnTo>
                  <a:lnTo>
                    <a:pt x="1222470" y="1118534"/>
                  </a:lnTo>
                  <a:lnTo>
                    <a:pt x="1224588" y="1120326"/>
                  </a:lnTo>
                  <a:lnTo>
                    <a:pt x="1227032" y="1118371"/>
                  </a:lnTo>
                  <a:lnTo>
                    <a:pt x="1229313" y="1114625"/>
                  </a:lnTo>
                  <a:lnTo>
                    <a:pt x="1233386" y="1112507"/>
                  </a:lnTo>
                  <a:lnTo>
                    <a:pt x="1232571" y="1106316"/>
                  </a:lnTo>
                  <a:lnTo>
                    <a:pt x="1231430" y="1101755"/>
                  </a:lnTo>
                  <a:lnTo>
                    <a:pt x="1231756" y="1098008"/>
                  </a:lnTo>
                  <a:lnTo>
                    <a:pt x="1230616" y="1095238"/>
                  </a:lnTo>
                  <a:lnTo>
                    <a:pt x="1233059" y="1097519"/>
                  </a:lnTo>
                  <a:lnTo>
                    <a:pt x="1239413" y="1100614"/>
                  </a:lnTo>
                  <a:lnTo>
                    <a:pt x="1240228" y="1104035"/>
                  </a:lnTo>
                  <a:lnTo>
                    <a:pt x="1245441" y="1109085"/>
                  </a:lnTo>
                  <a:lnTo>
                    <a:pt x="1248862" y="1108271"/>
                  </a:lnTo>
                  <a:lnTo>
                    <a:pt x="1246255" y="1111855"/>
                  </a:lnTo>
                  <a:lnTo>
                    <a:pt x="1242997" y="1113484"/>
                  </a:lnTo>
                  <a:lnTo>
                    <a:pt x="1243648" y="1115602"/>
                  </a:lnTo>
                  <a:lnTo>
                    <a:pt x="1252609" y="1111040"/>
                  </a:lnTo>
                  <a:lnTo>
                    <a:pt x="1253261" y="1106153"/>
                  </a:lnTo>
                  <a:lnTo>
                    <a:pt x="1257822" y="1104524"/>
                  </a:lnTo>
                  <a:lnTo>
                    <a:pt x="1260266" y="1102406"/>
                  </a:lnTo>
                  <a:lnTo>
                    <a:pt x="1264338" y="1104687"/>
                  </a:lnTo>
                  <a:lnTo>
                    <a:pt x="1268411" y="1103710"/>
                  </a:lnTo>
                  <a:lnTo>
                    <a:pt x="1268737" y="1100288"/>
                  </a:lnTo>
                  <a:lnTo>
                    <a:pt x="1272809" y="1099311"/>
                  </a:lnTo>
                  <a:lnTo>
                    <a:pt x="1273950" y="1096867"/>
                  </a:lnTo>
                  <a:lnTo>
                    <a:pt x="1275905" y="1099963"/>
                  </a:lnTo>
                  <a:lnTo>
                    <a:pt x="1279814" y="1104198"/>
                  </a:lnTo>
                  <a:lnTo>
                    <a:pt x="1282258" y="1102080"/>
                  </a:lnTo>
                  <a:lnTo>
                    <a:pt x="1283073" y="1097519"/>
                  </a:lnTo>
                  <a:lnTo>
                    <a:pt x="1285679" y="1097519"/>
                  </a:lnTo>
                  <a:lnTo>
                    <a:pt x="1286168" y="1099148"/>
                  </a:lnTo>
                  <a:lnTo>
                    <a:pt x="1290404" y="1099148"/>
                  </a:lnTo>
                  <a:lnTo>
                    <a:pt x="1291055" y="1096542"/>
                  </a:lnTo>
                  <a:lnTo>
                    <a:pt x="1296757" y="1095890"/>
                  </a:lnTo>
                  <a:lnTo>
                    <a:pt x="1299852" y="1092794"/>
                  </a:lnTo>
                  <a:lnTo>
                    <a:pt x="1302133" y="1090677"/>
                  </a:lnTo>
                  <a:lnTo>
                    <a:pt x="1302785" y="1093446"/>
                  </a:lnTo>
                  <a:lnTo>
                    <a:pt x="1304577" y="1091166"/>
                  </a:lnTo>
                  <a:lnTo>
                    <a:pt x="1307183" y="1091980"/>
                  </a:lnTo>
                  <a:lnTo>
                    <a:pt x="1311419" y="1090025"/>
                  </a:lnTo>
                  <a:lnTo>
                    <a:pt x="1309464" y="1086767"/>
                  </a:lnTo>
                  <a:lnTo>
                    <a:pt x="1311745" y="1083672"/>
                  </a:lnTo>
                  <a:lnTo>
                    <a:pt x="1313374" y="1078296"/>
                  </a:lnTo>
                  <a:lnTo>
                    <a:pt x="1311093" y="1072920"/>
                  </a:lnTo>
                  <a:lnTo>
                    <a:pt x="1313537" y="1073734"/>
                  </a:lnTo>
                  <a:lnTo>
                    <a:pt x="1315329" y="1071128"/>
                  </a:lnTo>
                  <a:lnTo>
                    <a:pt x="1321682" y="1070150"/>
                  </a:lnTo>
                  <a:lnTo>
                    <a:pt x="1322334" y="1072431"/>
                  </a:lnTo>
                  <a:lnTo>
                    <a:pt x="1327221" y="1072431"/>
                  </a:lnTo>
                  <a:lnTo>
                    <a:pt x="1328361" y="1066403"/>
                  </a:lnTo>
                  <a:lnTo>
                    <a:pt x="1330805" y="1066403"/>
                  </a:lnTo>
                  <a:lnTo>
                    <a:pt x="1331620" y="1062331"/>
                  </a:lnTo>
                  <a:lnTo>
                    <a:pt x="1333900" y="1062168"/>
                  </a:lnTo>
                  <a:lnTo>
                    <a:pt x="1334389" y="1064285"/>
                  </a:lnTo>
                  <a:lnTo>
                    <a:pt x="1335855" y="1063308"/>
                  </a:lnTo>
                  <a:lnTo>
                    <a:pt x="1338950" y="1058747"/>
                  </a:lnTo>
                  <a:lnTo>
                    <a:pt x="1341883" y="1062168"/>
                  </a:lnTo>
                  <a:lnTo>
                    <a:pt x="1342698" y="1056955"/>
                  </a:lnTo>
                  <a:lnTo>
                    <a:pt x="1345467" y="1056629"/>
                  </a:lnTo>
                  <a:lnTo>
                    <a:pt x="1347422" y="1052556"/>
                  </a:lnTo>
                  <a:lnTo>
                    <a:pt x="1343023" y="1051579"/>
                  </a:lnTo>
                  <a:lnTo>
                    <a:pt x="1339277" y="1052882"/>
                  </a:lnTo>
                  <a:lnTo>
                    <a:pt x="1332923" y="1047994"/>
                  </a:lnTo>
                  <a:lnTo>
                    <a:pt x="1341394" y="1047669"/>
                  </a:lnTo>
                  <a:lnTo>
                    <a:pt x="1345304" y="1042293"/>
                  </a:lnTo>
                  <a:lnTo>
                    <a:pt x="1347259" y="1044248"/>
                  </a:lnTo>
                  <a:lnTo>
                    <a:pt x="1350028" y="1041641"/>
                  </a:lnTo>
                  <a:lnTo>
                    <a:pt x="1356871" y="1045877"/>
                  </a:lnTo>
                  <a:lnTo>
                    <a:pt x="1358825" y="1040501"/>
                  </a:lnTo>
                  <a:lnTo>
                    <a:pt x="1354590" y="1039197"/>
                  </a:lnTo>
                  <a:lnTo>
                    <a:pt x="1352798" y="1036591"/>
                  </a:lnTo>
                  <a:lnTo>
                    <a:pt x="1353612" y="1033333"/>
                  </a:lnTo>
                  <a:lnTo>
                    <a:pt x="1358825" y="1037080"/>
                  </a:lnTo>
                  <a:lnTo>
                    <a:pt x="1361758" y="1033496"/>
                  </a:lnTo>
                  <a:lnTo>
                    <a:pt x="1361106" y="1032192"/>
                  </a:lnTo>
                  <a:lnTo>
                    <a:pt x="1357685" y="1032192"/>
                  </a:lnTo>
                  <a:lnTo>
                    <a:pt x="1356871" y="1027468"/>
                  </a:lnTo>
                  <a:lnTo>
                    <a:pt x="1354264" y="1025350"/>
                  </a:lnTo>
                  <a:lnTo>
                    <a:pt x="1357848" y="1024373"/>
                  </a:lnTo>
                  <a:lnTo>
                    <a:pt x="1359803" y="1026979"/>
                  </a:lnTo>
                  <a:lnTo>
                    <a:pt x="1362409" y="1026979"/>
                  </a:lnTo>
                  <a:lnTo>
                    <a:pt x="1364039" y="1029423"/>
                  </a:lnTo>
                  <a:lnTo>
                    <a:pt x="1364364" y="1025187"/>
                  </a:lnTo>
                  <a:lnTo>
                    <a:pt x="1359803" y="1021929"/>
                  </a:lnTo>
                  <a:lnTo>
                    <a:pt x="1360291" y="1017856"/>
                  </a:lnTo>
                  <a:lnTo>
                    <a:pt x="1362898" y="1017856"/>
                  </a:lnTo>
                  <a:lnTo>
                    <a:pt x="1364690" y="1014761"/>
                  </a:lnTo>
                  <a:lnTo>
                    <a:pt x="1368600" y="1018182"/>
                  </a:lnTo>
                  <a:lnTo>
                    <a:pt x="1368600" y="1021766"/>
                  </a:lnTo>
                  <a:lnTo>
                    <a:pt x="1371207" y="1021766"/>
                  </a:lnTo>
                  <a:lnTo>
                    <a:pt x="1373976" y="1026002"/>
                  </a:lnTo>
                  <a:lnTo>
                    <a:pt x="1374302" y="1019811"/>
                  </a:lnTo>
                  <a:lnTo>
                    <a:pt x="1372347" y="1016064"/>
                  </a:lnTo>
                  <a:lnTo>
                    <a:pt x="1369903" y="1016064"/>
                  </a:lnTo>
                  <a:lnTo>
                    <a:pt x="1368926" y="1013295"/>
                  </a:lnTo>
                  <a:lnTo>
                    <a:pt x="1372347" y="1012318"/>
                  </a:lnTo>
                  <a:lnTo>
                    <a:pt x="1372998" y="1008896"/>
                  </a:lnTo>
                  <a:lnTo>
                    <a:pt x="1368763" y="1007593"/>
                  </a:lnTo>
                  <a:lnTo>
                    <a:pt x="1374628" y="1002543"/>
                  </a:lnTo>
                  <a:lnTo>
                    <a:pt x="1371858" y="999773"/>
                  </a:lnTo>
                  <a:lnTo>
                    <a:pt x="1367786" y="999936"/>
                  </a:lnTo>
                  <a:lnTo>
                    <a:pt x="1365830" y="1001891"/>
                  </a:lnTo>
                  <a:lnTo>
                    <a:pt x="1366808" y="997981"/>
                  </a:lnTo>
                  <a:lnTo>
                    <a:pt x="1372021" y="994235"/>
                  </a:lnTo>
                  <a:lnTo>
                    <a:pt x="1380493" y="990651"/>
                  </a:lnTo>
                  <a:lnTo>
                    <a:pt x="1377886" y="987718"/>
                  </a:lnTo>
                  <a:lnTo>
                    <a:pt x="1374791" y="990651"/>
                  </a:lnTo>
                  <a:lnTo>
                    <a:pt x="1368600" y="985112"/>
                  </a:lnTo>
                  <a:lnTo>
                    <a:pt x="1373976" y="985112"/>
                  </a:lnTo>
                  <a:lnTo>
                    <a:pt x="1370555" y="980550"/>
                  </a:lnTo>
                  <a:lnTo>
                    <a:pt x="1366482" y="980224"/>
                  </a:lnTo>
                  <a:lnTo>
                    <a:pt x="1369089" y="977781"/>
                  </a:lnTo>
                  <a:lnTo>
                    <a:pt x="1366971" y="975174"/>
                  </a:lnTo>
                  <a:lnTo>
                    <a:pt x="1370229" y="975826"/>
                  </a:lnTo>
                  <a:lnTo>
                    <a:pt x="1371207" y="971590"/>
                  </a:lnTo>
                  <a:lnTo>
                    <a:pt x="1372836" y="972079"/>
                  </a:lnTo>
                  <a:lnTo>
                    <a:pt x="1375442" y="971590"/>
                  </a:lnTo>
                  <a:lnTo>
                    <a:pt x="1375116" y="976640"/>
                  </a:lnTo>
                  <a:lnTo>
                    <a:pt x="1378375" y="976640"/>
                  </a:lnTo>
                  <a:lnTo>
                    <a:pt x="1384728" y="969961"/>
                  </a:lnTo>
                  <a:lnTo>
                    <a:pt x="1385217" y="966866"/>
                  </a:lnTo>
                  <a:lnTo>
                    <a:pt x="1390918" y="967192"/>
                  </a:lnTo>
                  <a:lnTo>
                    <a:pt x="1387498" y="962956"/>
                  </a:lnTo>
                  <a:lnTo>
                    <a:pt x="1383588" y="962630"/>
                  </a:lnTo>
                  <a:lnTo>
                    <a:pt x="1384728" y="958069"/>
                  </a:lnTo>
                  <a:lnTo>
                    <a:pt x="1388312" y="961816"/>
                  </a:lnTo>
                  <a:lnTo>
                    <a:pt x="1392548" y="959698"/>
                  </a:lnTo>
                  <a:lnTo>
                    <a:pt x="1392385" y="955136"/>
                  </a:lnTo>
                  <a:lnTo>
                    <a:pt x="1394014" y="953344"/>
                  </a:lnTo>
                  <a:lnTo>
                    <a:pt x="1391896" y="950412"/>
                  </a:lnTo>
                  <a:lnTo>
                    <a:pt x="1392385" y="946828"/>
                  </a:lnTo>
                  <a:lnTo>
                    <a:pt x="1395154" y="944873"/>
                  </a:lnTo>
                  <a:lnTo>
                    <a:pt x="1393362" y="941778"/>
                  </a:lnTo>
                  <a:lnTo>
                    <a:pt x="1393362" y="939171"/>
                  </a:lnTo>
                  <a:lnTo>
                    <a:pt x="1388312" y="936402"/>
                  </a:lnTo>
                  <a:lnTo>
                    <a:pt x="1395480" y="938519"/>
                  </a:lnTo>
                  <a:lnTo>
                    <a:pt x="1398250" y="936239"/>
                  </a:lnTo>
                  <a:lnTo>
                    <a:pt x="1402159" y="927116"/>
                  </a:lnTo>
                  <a:lnTo>
                    <a:pt x="1406395" y="926627"/>
                  </a:lnTo>
                  <a:lnTo>
                    <a:pt x="1407209" y="930700"/>
                  </a:lnTo>
                  <a:lnTo>
                    <a:pt x="1408513" y="932655"/>
                  </a:lnTo>
                  <a:lnTo>
                    <a:pt x="1409490" y="927442"/>
                  </a:lnTo>
                  <a:lnTo>
                    <a:pt x="1413074" y="925161"/>
                  </a:lnTo>
                  <a:lnTo>
                    <a:pt x="1410305" y="920437"/>
                  </a:lnTo>
                  <a:lnTo>
                    <a:pt x="1405418" y="920111"/>
                  </a:lnTo>
                  <a:lnTo>
                    <a:pt x="1403300" y="917993"/>
                  </a:lnTo>
                  <a:lnTo>
                    <a:pt x="1405418" y="916201"/>
                  </a:lnTo>
                  <a:lnTo>
                    <a:pt x="1408839" y="916853"/>
                  </a:lnTo>
                  <a:lnTo>
                    <a:pt x="1411771" y="914246"/>
                  </a:lnTo>
                  <a:lnTo>
                    <a:pt x="1409327" y="911640"/>
                  </a:lnTo>
                  <a:lnTo>
                    <a:pt x="1406232" y="910010"/>
                  </a:lnTo>
                  <a:lnTo>
                    <a:pt x="1409653" y="906915"/>
                  </a:lnTo>
                  <a:lnTo>
                    <a:pt x="1411445" y="907241"/>
                  </a:lnTo>
                  <a:lnTo>
                    <a:pt x="1412097" y="905123"/>
                  </a:lnTo>
                  <a:lnTo>
                    <a:pt x="1409327" y="902517"/>
                  </a:lnTo>
                  <a:lnTo>
                    <a:pt x="1400856" y="902843"/>
                  </a:lnTo>
                  <a:lnTo>
                    <a:pt x="1401345" y="900562"/>
                  </a:lnTo>
                  <a:lnTo>
                    <a:pt x="1406721" y="896000"/>
                  </a:lnTo>
                  <a:lnTo>
                    <a:pt x="1411771" y="897141"/>
                  </a:lnTo>
                  <a:lnTo>
                    <a:pt x="1413237" y="896000"/>
                  </a:lnTo>
                  <a:lnTo>
                    <a:pt x="1413889" y="893394"/>
                  </a:lnTo>
                  <a:lnTo>
                    <a:pt x="1416984" y="895023"/>
                  </a:lnTo>
                  <a:lnTo>
                    <a:pt x="1417310" y="896978"/>
                  </a:lnTo>
                  <a:lnTo>
                    <a:pt x="1420568" y="894371"/>
                  </a:lnTo>
                  <a:lnTo>
                    <a:pt x="1418939" y="891276"/>
                  </a:lnTo>
                  <a:lnTo>
                    <a:pt x="1418287" y="883619"/>
                  </a:lnTo>
                  <a:lnTo>
                    <a:pt x="1415518" y="881827"/>
                  </a:lnTo>
                  <a:lnTo>
                    <a:pt x="1412423" y="884922"/>
                  </a:lnTo>
                  <a:lnTo>
                    <a:pt x="1413400" y="886389"/>
                  </a:lnTo>
                  <a:lnTo>
                    <a:pt x="1413400" y="888669"/>
                  </a:lnTo>
                  <a:lnTo>
                    <a:pt x="1408024" y="887529"/>
                  </a:lnTo>
                  <a:lnTo>
                    <a:pt x="1401345" y="893068"/>
                  </a:lnTo>
                  <a:lnTo>
                    <a:pt x="1397923" y="892579"/>
                  </a:lnTo>
                  <a:lnTo>
                    <a:pt x="1397923" y="887855"/>
                  </a:lnTo>
                  <a:lnTo>
                    <a:pt x="1404929" y="886552"/>
                  </a:lnTo>
                  <a:lnTo>
                    <a:pt x="1416332" y="875962"/>
                  </a:lnTo>
                  <a:lnTo>
                    <a:pt x="1415518" y="874333"/>
                  </a:lnTo>
                  <a:lnTo>
                    <a:pt x="1410468" y="874333"/>
                  </a:lnTo>
                  <a:lnTo>
                    <a:pt x="1408350" y="871727"/>
                  </a:lnTo>
                  <a:lnTo>
                    <a:pt x="1407046" y="874008"/>
                  </a:lnTo>
                  <a:lnTo>
                    <a:pt x="1398738" y="863256"/>
                  </a:lnTo>
                  <a:lnTo>
                    <a:pt x="1392711" y="862441"/>
                  </a:lnTo>
                  <a:lnTo>
                    <a:pt x="1384728" y="869120"/>
                  </a:lnTo>
                  <a:lnTo>
                    <a:pt x="1380655" y="867817"/>
                  </a:lnTo>
                  <a:lnTo>
                    <a:pt x="1375442" y="860160"/>
                  </a:lnTo>
                  <a:lnTo>
                    <a:pt x="1370229" y="861464"/>
                  </a:lnTo>
                  <a:lnTo>
                    <a:pt x="1365016" y="865699"/>
                  </a:lnTo>
                  <a:lnTo>
                    <a:pt x="1363550" y="870098"/>
                  </a:lnTo>
                  <a:lnTo>
                    <a:pt x="1364039" y="864070"/>
                  </a:lnTo>
                  <a:lnTo>
                    <a:pt x="1369903" y="859346"/>
                  </a:lnTo>
                  <a:lnTo>
                    <a:pt x="1373161" y="859509"/>
                  </a:lnTo>
                  <a:lnTo>
                    <a:pt x="1376582" y="856902"/>
                  </a:lnTo>
                  <a:lnTo>
                    <a:pt x="1382773" y="859997"/>
                  </a:lnTo>
                  <a:lnTo>
                    <a:pt x="1387334" y="857880"/>
                  </a:lnTo>
                  <a:lnTo>
                    <a:pt x="1387661" y="853481"/>
                  </a:lnTo>
                  <a:lnTo>
                    <a:pt x="1390267" y="851200"/>
                  </a:lnTo>
                  <a:lnTo>
                    <a:pt x="1393362" y="851526"/>
                  </a:lnTo>
                  <a:lnTo>
                    <a:pt x="1399227" y="844521"/>
                  </a:lnTo>
                  <a:lnTo>
                    <a:pt x="1406232" y="843869"/>
                  </a:lnTo>
                  <a:lnTo>
                    <a:pt x="1406395" y="840122"/>
                  </a:lnTo>
                  <a:lnTo>
                    <a:pt x="1400204" y="830022"/>
                  </a:lnTo>
                  <a:lnTo>
                    <a:pt x="1387171" y="821877"/>
                  </a:lnTo>
                  <a:lnTo>
                    <a:pt x="1378537" y="817152"/>
                  </a:lnTo>
                  <a:lnTo>
                    <a:pt x="1368274" y="807052"/>
                  </a:lnTo>
                  <a:lnTo>
                    <a:pt x="1363387" y="806889"/>
                  </a:lnTo>
                  <a:lnTo>
                    <a:pt x="1354916" y="812591"/>
                  </a:lnTo>
                  <a:lnTo>
                    <a:pt x="1351006" y="811613"/>
                  </a:lnTo>
                  <a:lnTo>
                    <a:pt x="1344327" y="805749"/>
                  </a:lnTo>
                  <a:lnTo>
                    <a:pt x="1344164" y="802979"/>
                  </a:lnTo>
                  <a:lnTo>
                    <a:pt x="1341394" y="801839"/>
                  </a:lnTo>
                  <a:lnTo>
                    <a:pt x="1335693" y="804119"/>
                  </a:lnTo>
                  <a:lnTo>
                    <a:pt x="1329013" y="803305"/>
                  </a:lnTo>
                  <a:lnTo>
                    <a:pt x="1323474" y="805260"/>
                  </a:lnTo>
                  <a:lnTo>
                    <a:pt x="1316306" y="814057"/>
                  </a:lnTo>
                  <a:lnTo>
                    <a:pt x="1322334" y="802328"/>
                  </a:lnTo>
                  <a:lnTo>
                    <a:pt x="1326895" y="800047"/>
                  </a:lnTo>
                  <a:lnTo>
                    <a:pt x="1329991" y="801024"/>
                  </a:lnTo>
                  <a:lnTo>
                    <a:pt x="1333412" y="801024"/>
                  </a:lnTo>
                  <a:lnTo>
                    <a:pt x="1334715" y="799558"/>
                  </a:lnTo>
                  <a:lnTo>
                    <a:pt x="1338625" y="801024"/>
                  </a:lnTo>
                  <a:lnTo>
                    <a:pt x="1345304" y="798418"/>
                  </a:lnTo>
                  <a:lnTo>
                    <a:pt x="1348399" y="806075"/>
                  </a:lnTo>
                  <a:lnTo>
                    <a:pt x="1351657" y="808844"/>
                  </a:lnTo>
                  <a:lnTo>
                    <a:pt x="1356707" y="808844"/>
                  </a:lnTo>
                  <a:lnTo>
                    <a:pt x="1359966" y="804283"/>
                  </a:lnTo>
                  <a:lnTo>
                    <a:pt x="1368111" y="805423"/>
                  </a:lnTo>
                  <a:lnTo>
                    <a:pt x="1373813" y="809333"/>
                  </a:lnTo>
                  <a:lnTo>
                    <a:pt x="1377560" y="809495"/>
                  </a:lnTo>
                  <a:lnTo>
                    <a:pt x="1382610" y="814709"/>
                  </a:lnTo>
                  <a:lnTo>
                    <a:pt x="1389941" y="810473"/>
                  </a:lnTo>
                  <a:lnTo>
                    <a:pt x="1400530" y="814383"/>
                  </a:lnTo>
                  <a:lnTo>
                    <a:pt x="1403300" y="812591"/>
                  </a:lnTo>
                  <a:lnTo>
                    <a:pt x="1399716" y="805260"/>
                  </a:lnTo>
                  <a:lnTo>
                    <a:pt x="1396457" y="803957"/>
                  </a:lnTo>
                  <a:lnTo>
                    <a:pt x="1390430" y="796626"/>
                  </a:lnTo>
                  <a:lnTo>
                    <a:pt x="1390430" y="794671"/>
                  </a:lnTo>
                  <a:lnTo>
                    <a:pt x="1387661" y="792553"/>
                  </a:lnTo>
                  <a:lnTo>
                    <a:pt x="1382447" y="792879"/>
                  </a:lnTo>
                  <a:lnTo>
                    <a:pt x="1377397" y="790761"/>
                  </a:lnTo>
                  <a:lnTo>
                    <a:pt x="1370718" y="781149"/>
                  </a:lnTo>
                  <a:lnTo>
                    <a:pt x="1370555" y="773656"/>
                  </a:lnTo>
                  <a:lnTo>
                    <a:pt x="1360943" y="766651"/>
                  </a:lnTo>
                  <a:lnTo>
                    <a:pt x="1360455" y="759157"/>
                  </a:lnTo>
                  <a:lnTo>
                    <a:pt x="1355404" y="757365"/>
                  </a:lnTo>
                  <a:lnTo>
                    <a:pt x="1357848" y="751337"/>
                  </a:lnTo>
                  <a:lnTo>
                    <a:pt x="1356219" y="751011"/>
                  </a:lnTo>
                  <a:lnTo>
                    <a:pt x="1348399" y="734883"/>
                  </a:lnTo>
                  <a:lnTo>
                    <a:pt x="1334389" y="727715"/>
                  </a:lnTo>
                  <a:lnTo>
                    <a:pt x="1330642" y="729833"/>
                  </a:lnTo>
                  <a:lnTo>
                    <a:pt x="1330642" y="726249"/>
                  </a:lnTo>
                  <a:lnTo>
                    <a:pt x="1317446" y="720059"/>
                  </a:lnTo>
                  <a:lnTo>
                    <a:pt x="1315491" y="720221"/>
                  </a:lnTo>
                  <a:lnTo>
                    <a:pt x="1315329" y="707514"/>
                  </a:lnTo>
                  <a:lnTo>
                    <a:pt x="1317446" y="698717"/>
                  </a:lnTo>
                  <a:lnTo>
                    <a:pt x="1315329" y="692853"/>
                  </a:lnTo>
                  <a:lnTo>
                    <a:pt x="1316632" y="685522"/>
                  </a:lnTo>
                  <a:lnTo>
                    <a:pt x="1318424" y="686662"/>
                  </a:lnTo>
                  <a:lnTo>
                    <a:pt x="1322171" y="685522"/>
                  </a:lnTo>
                  <a:lnTo>
                    <a:pt x="1326732" y="678028"/>
                  </a:lnTo>
                  <a:lnTo>
                    <a:pt x="1329339" y="679657"/>
                  </a:lnTo>
                  <a:lnTo>
                    <a:pt x="1333900" y="674118"/>
                  </a:lnTo>
                  <a:lnTo>
                    <a:pt x="1329013" y="671349"/>
                  </a:lnTo>
                  <a:lnTo>
                    <a:pt x="1326732" y="668253"/>
                  </a:lnTo>
                  <a:lnTo>
                    <a:pt x="1330805" y="663692"/>
                  </a:lnTo>
                  <a:lnTo>
                    <a:pt x="1338625" y="664181"/>
                  </a:lnTo>
                  <a:lnTo>
                    <a:pt x="1338788" y="658642"/>
                  </a:lnTo>
                  <a:lnTo>
                    <a:pt x="1345141" y="657501"/>
                  </a:lnTo>
                  <a:lnTo>
                    <a:pt x="1344489" y="653428"/>
                  </a:lnTo>
                  <a:lnTo>
                    <a:pt x="1338788" y="649845"/>
                  </a:lnTo>
                  <a:lnTo>
                    <a:pt x="1344489" y="649030"/>
                  </a:lnTo>
                  <a:lnTo>
                    <a:pt x="1348888" y="652288"/>
                  </a:lnTo>
                  <a:lnTo>
                    <a:pt x="1350028" y="649193"/>
                  </a:lnTo>
                  <a:lnTo>
                    <a:pt x="1354590" y="649356"/>
                  </a:lnTo>
                  <a:lnTo>
                    <a:pt x="1359314" y="645609"/>
                  </a:lnTo>
                  <a:lnTo>
                    <a:pt x="1362572" y="645609"/>
                  </a:lnTo>
                  <a:lnTo>
                    <a:pt x="1367948" y="638441"/>
                  </a:lnTo>
                  <a:lnTo>
                    <a:pt x="1369903" y="641536"/>
                  </a:lnTo>
                  <a:lnTo>
                    <a:pt x="1372184" y="638604"/>
                  </a:lnTo>
                  <a:lnTo>
                    <a:pt x="1372836" y="641210"/>
                  </a:lnTo>
                  <a:lnTo>
                    <a:pt x="1379026" y="645609"/>
                  </a:lnTo>
                  <a:lnTo>
                    <a:pt x="1385380" y="640070"/>
                  </a:lnTo>
                  <a:lnTo>
                    <a:pt x="1385380" y="637789"/>
                  </a:lnTo>
                  <a:lnTo>
                    <a:pt x="1381307" y="636975"/>
                  </a:lnTo>
                  <a:lnTo>
                    <a:pt x="1380655" y="631599"/>
                  </a:lnTo>
                  <a:lnTo>
                    <a:pt x="1384077" y="629807"/>
                  </a:lnTo>
                  <a:lnTo>
                    <a:pt x="1386683" y="629807"/>
                  </a:lnTo>
                  <a:lnTo>
                    <a:pt x="1382447" y="623942"/>
                  </a:lnTo>
                  <a:lnTo>
                    <a:pt x="1382773" y="621010"/>
                  </a:lnTo>
                  <a:lnTo>
                    <a:pt x="1388475" y="619218"/>
                  </a:lnTo>
                  <a:lnTo>
                    <a:pt x="1385217" y="617752"/>
                  </a:lnTo>
                  <a:lnTo>
                    <a:pt x="1379189" y="618892"/>
                  </a:lnTo>
                  <a:lnTo>
                    <a:pt x="1372021" y="619055"/>
                  </a:lnTo>
                  <a:lnTo>
                    <a:pt x="1372347" y="616937"/>
                  </a:lnTo>
                  <a:lnTo>
                    <a:pt x="1366808" y="617100"/>
                  </a:lnTo>
                  <a:lnTo>
                    <a:pt x="1364690" y="619381"/>
                  </a:lnTo>
                  <a:lnTo>
                    <a:pt x="1348399" y="620032"/>
                  </a:lnTo>
                  <a:lnTo>
                    <a:pt x="1345141" y="617100"/>
                  </a:lnTo>
                  <a:lnTo>
                    <a:pt x="1342046" y="615797"/>
                  </a:lnTo>
                  <a:lnTo>
                    <a:pt x="1339113" y="611235"/>
                  </a:lnTo>
                  <a:lnTo>
                    <a:pt x="1336181" y="610095"/>
                  </a:lnTo>
                  <a:lnTo>
                    <a:pt x="1334715" y="607977"/>
                  </a:lnTo>
                  <a:lnTo>
                    <a:pt x="1323148" y="613516"/>
                  </a:lnTo>
                  <a:lnTo>
                    <a:pt x="1316958" y="613679"/>
                  </a:lnTo>
                  <a:lnTo>
                    <a:pt x="1319075" y="615308"/>
                  </a:lnTo>
                  <a:lnTo>
                    <a:pt x="1319075" y="620032"/>
                  </a:lnTo>
                  <a:lnTo>
                    <a:pt x="1315491" y="622965"/>
                  </a:lnTo>
                  <a:lnTo>
                    <a:pt x="1308650" y="625571"/>
                  </a:lnTo>
                  <a:lnTo>
                    <a:pt x="1309790" y="626386"/>
                  </a:lnTo>
                  <a:lnTo>
                    <a:pt x="1312071" y="629481"/>
                  </a:lnTo>
                  <a:lnTo>
                    <a:pt x="1309301" y="634368"/>
                  </a:lnTo>
                  <a:lnTo>
                    <a:pt x="1307020" y="636486"/>
                  </a:lnTo>
                  <a:lnTo>
                    <a:pt x="1301970" y="634531"/>
                  </a:lnTo>
                  <a:lnTo>
                    <a:pt x="1297246" y="637463"/>
                  </a:lnTo>
                  <a:lnTo>
                    <a:pt x="1290404" y="637301"/>
                  </a:lnTo>
                  <a:lnTo>
                    <a:pt x="1283398" y="623616"/>
                  </a:lnTo>
                  <a:lnTo>
                    <a:pt x="1283398" y="616774"/>
                  </a:lnTo>
                  <a:lnTo>
                    <a:pt x="1282258" y="611887"/>
                  </a:lnTo>
                  <a:lnTo>
                    <a:pt x="1275579" y="612050"/>
                  </a:lnTo>
                  <a:lnTo>
                    <a:pt x="1272809" y="613679"/>
                  </a:lnTo>
                  <a:lnTo>
                    <a:pt x="1272484" y="611072"/>
                  </a:lnTo>
                  <a:lnTo>
                    <a:pt x="1269551" y="611072"/>
                  </a:lnTo>
                  <a:lnTo>
                    <a:pt x="1267434" y="614168"/>
                  </a:lnTo>
                  <a:lnTo>
                    <a:pt x="1265641" y="611561"/>
                  </a:lnTo>
                  <a:lnTo>
                    <a:pt x="1265479" y="613842"/>
                  </a:lnTo>
                  <a:lnTo>
                    <a:pt x="1261569" y="607325"/>
                  </a:lnTo>
                  <a:lnTo>
                    <a:pt x="1260591" y="604230"/>
                  </a:lnTo>
                  <a:lnTo>
                    <a:pt x="1252120" y="598365"/>
                  </a:lnTo>
                  <a:lnTo>
                    <a:pt x="1246744" y="595270"/>
                  </a:lnTo>
                  <a:lnTo>
                    <a:pt x="1246092" y="589568"/>
                  </a:lnTo>
                  <a:lnTo>
                    <a:pt x="1243486" y="583703"/>
                  </a:lnTo>
                  <a:lnTo>
                    <a:pt x="1245766" y="581586"/>
                  </a:lnTo>
                  <a:lnTo>
                    <a:pt x="1245604" y="578979"/>
                  </a:lnTo>
                  <a:lnTo>
                    <a:pt x="1246255" y="576373"/>
                  </a:lnTo>
                  <a:lnTo>
                    <a:pt x="1246907" y="570997"/>
                  </a:lnTo>
                  <a:lnTo>
                    <a:pt x="1250002" y="568716"/>
                  </a:lnTo>
                  <a:lnTo>
                    <a:pt x="1250491" y="565784"/>
                  </a:lnTo>
                  <a:lnTo>
                    <a:pt x="1260266" y="569368"/>
                  </a:lnTo>
                  <a:lnTo>
                    <a:pt x="1268574" y="569204"/>
                  </a:lnTo>
                  <a:lnTo>
                    <a:pt x="1275090" y="568879"/>
                  </a:lnTo>
                  <a:lnTo>
                    <a:pt x="1277697" y="563503"/>
                  </a:lnTo>
                  <a:lnTo>
                    <a:pt x="1276068" y="561059"/>
                  </a:lnTo>
                  <a:lnTo>
                    <a:pt x="1279814" y="561059"/>
                  </a:lnTo>
                  <a:lnTo>
                    <a:pt x="1278837" y="554869"/>
                  </a:lnTo>
                  <a:lnTo>
                    <a:pt x="1277208" y="553402"/>
                  </a:lnTo>
                  <a:lnTo>
                    <a:pt x="1279163" y="550633"/>
                  </a:lnTo>
                  <a:lnTo>
                    <a:pt x="1281932" y="537600"/>
                  </a:lnTo>
                  <a:lnTo>
                    <a:pt x="1291055" y="532550"/>
                  </a:lnTo>
                  <a:lnTo>
                    <a:pt x="1296431" y="532387"/>
                  </a:lnTo>
                  <a:lnTo>
                    <a:pt x="1300504" y="525382"/>
                  </a:lnTo>
                  <a:lnTo>
                    <a:pt x="1303111" y="524893"/>
                  </a:lnTo>
                  <a:lnTo>
                    <a:pt x="1303762" y="514793"/>
                  </a:lnTo>
                  <a:lnTo>
                    <a:pt x="1308975" y="508928"/>
                  </a:lnTo>
                  <a:lnTo>
                    <a:pt x="1309953" y="503226"/>
                  </a:lnTo>
                  <a:lnTo>
                    <a:pt x="1312071" y="502086"/>
                  </a:lnTo>
                  <a:lnTo>
                    <a:pt x="1315329" y="496384"/>
                  </a:lnTo>
                  <a:lnTo>
                    <a:pt x="1321193" y="496221"/>
                  </a:lnTo>
                  <a:lnTo>
                    <a:pt x="1323474" y="497850"/>
                  </a:lnTo>
                  <a:lnTo>
                    <a:pt x="1327873" y="497850"/>
                  </a:lnTo>
                  <a:lnTo>
                    <a:pt x="1329664" y="492800"/>
                  </a:lnTo>
                  <a:lnTo>
                    <a:pt x="1337647" y="502249"/>
                  </a:lnTo>
                  <a:lnTo>
                    <a:pt x="1349051" y="508928"/>
                  </a:lnTo>
                  <a:lnTo>
                    <a:pt x="1349539" y="513164"/>
                  </a:lnTo>
                  <a:lnTo>
                    <a:pt x="1346444" y="514956"/>
                  </a:lnTo>
                  <a:lnTo>
                    <a:pt x="1345304" y="518540"/>
                  </a:lnTo>
                  <a:lnTo>
                    <a:pt x="1339928" y="525382"/>
                  </a:lnTo>
                  <a:lnTo>
                    <a:pt x="1339277" y="531898"/>
                  </a:lnTo>
                  <a:lnTo>
                    <a:pt x="1334552" y="532061"/>
                  </a:lnTo>
                  <a:lnTo>
                    <a:pt x="1335041" y="534016"/>
                  </a:lnTo>
                  <a:lnTo>
                    <a:pt x="1333900" y="540533"/>
                  </a:lnTo>
                  <a:lnTo>
                    <a:pt x="1339602" y="546071"/>
                  </a:lnTo>
                  <a:lnTo>
                    <a:pt x="1339113" y="549655"/>
                  </a:lnTo>
                  <a:lnTo>
                    <a:pt x="1336996" y="550633"/>
                  </a:lnTo>
                  <a:lnTo>
                    <a:pt x="1336996" y="553728"/>
                  </a:lnTo>
                  <a:lnTo>
                    <a:pt x="1339277" y="556335"/>
                  </a:lnTo>
                  <a:lnTo>
                    <a:pt x="1344978" y="554380"/>
                  </a:lnTo>
                  <a:lnTo>
                    <a:pt x="1351006" y="549819"/>
                  </a:lnTo>
                  <a:lnTo>
                    <a:pt x="1348562" y="554380"/>
                  </a:lnTo>
                  <a:lnTo>
                    <a:pt x="1343838" y="557801"/>
                  </a:lnTo>
                  <a:lnTo>
                    <a:pt x="1344327" y="560245"/>
                  </a:lnTo>
                  <a:lnTo>
                    <a:pt x="1347259" y="560896"/>
                  </a:lnTo>
                  <a:lnTo>
                    <a:pt x="1346770" y="563666"/>
                  </a:lnTo>
                  <a:lnTo>
                    <a:pt x="1344652" y="565295"/>
                  </a:lnTo>
                  <a:lnTo>
                    <a:pt x="1338788" y="564480"/>
                  </a:lnTo>
                  <a:lnTo>
                    <a:pt x="1336181" y="568064"/>
                  </a:lnTo>
                  <a:lnTo>
                    <a:pt x="1331945" y="568227"/>
                  </a:lnTo>
                  <a:lnTo>
                    <a:pt x="1329828" y="572137"/>
                  </a:lnTo>
                  <a:lnTo>
                    <a:pt x="1333900" y="574906"/>
                  </a:lnTo>
                  <a:lnTo>
                    <a:pt x="1334552" y="578979"/>
                  </a:lnTo>
                  <a:lnTo>
                    <a:pt x="1337810" y="578490"/>
                  </a:lnTo>
                  <a:lnTo>
                    <a:pt x="1340905" y="574418"/>
                  </a:lnTo>
                  <a:lnTo>
                    <a:pt x="1343838" y="574581"/>
                  </a:lnTo>
                  <a:lnTo>
                    <a:pt x="1347911" y="568390"/>
                  </a:lnTo>
                  <a:lnTo>
                    <a:pt x="1355241" y="565132"/>
                  </a:lnTo>
                  <a:lnTo>
                    <a:pt x="1355893" y="563177"/>
                  </a:lnTo>
                  <a:lnTo>
                    <a:pt x="1353775" y="558127"/>
                  </a:lnTo>
                  <a:lnTo>
                    <a:pt x="1360291" y="553239"/>
                  </a:lnTo>
                  <a:lnTo>
                    <a:pt x="1371370" y="544768"/>
                  </a:lnTo>
                  <a:lnTo>
                    <a:pt x="1374791" y="545094"/>
                  </a:lnTo>
                  <a:lnTo>
                    <a:pt x="1375768" y="539881"/>
                  </a:lnTo>
                  <a:lnTo>
                    <a:pt x="1381470" y="539881"/>
                  </a:lnTo>
                  <a:lnTo>
                    <a:pt x="1388312" y="535157"/>
                  </a:lnTo>
                  <a:lnTo>
                    <a:pt x="1390918" y="537437"/>
                  </a:lnTo>
                  <a:lnTo>
                    <a:pt x="1393851" y="536460"/>
                  </a:lnTo>
                  <a:lnTo>
                    <a:pt x="1399553" y="536134"/>
                  </a:lnTo>
                  <a:lnTo>
                    <a:pt x="1406884" y="527500"/>
                  </a:lnTo>
                  <a:lnTo>
                    <a:pt x="1408513" y="531898"/>
                  </a:lnTo>
                  <a:lnTo>
                    <a:pt x="1408513" y="517562"/>
                  </a:lnTo>
                  <a:lnTo>
                    <a:pt x="1415192" y="512023"/>
                  </a:lnTo>
                  <a:lnTo>
                    <a:pt x="1418125" y="505344"/>
                  </a:lnTo>
                  <a:lnTo>
                    <a:pt x="1418125" y="500946"/>
                  </a:lnTo>
                  <a:lnTo>
                    <a:pt x="1424804" y="496547"/>
                  </a:lnTo>
                  <a:lnTo>
                    <a:pt x="1429202" y="488076"/>
                  </a:lnTo>
                  <a:lnTo>
                    <a:pt x="1434089" y="485795"/>
                  </a:lnTo>
                  <a:lnTo>
                    <a:pt x="1437999" y="473251"/>
                  </a:lnTo>
                  <a:lnTo>
                    <a:pt x="1440280" y="468853"/>
                  </a:lnTo>
                  <a:lnTo>
                    <a:pt x="1439954" y="466246"/>
                  </a:lnTo>
                  <a:lnTo>
                    <a:pt x="1440280" y="457775"/>
                  </a:lnTo>
                  <a:lnTo>
                    <a:pt x="1445168" y="451910"/>
                  </a:lnTo>
                  <a:lnTo>
                    <a:pt x="1449892" y="459241"/>
                  </a:lnTo>
                  <a:lnTo>
                    <a:pt x="1453964" y="461522"/>
                  </a:lnTo>
                  <a:lnTo>
                    <a:pt x="1457548" y="464780"/>
                  </a:lnTo>
                  <a:lnTo>
                    <a:pt x="1462110" y="462988"/>
                  </a:lnTo>
                  <a:lnTo>
                    <a:pt x="1467649" y="465106"/>
                  </a:lnTo>
                  <a:lnTo>
                    <a:pt x="1477912" y="464128"/>
                  </a:lnTo>
                  <a:lnTo>
                    <a:pt x="1484591" y="465106"/>
                  </a:lnTo>
                  <a:lnTo>
                    <a:pt x="1487850" y="458101"/>
                  </a:lnTo>
                  <a:lnTo>
                    <a:pt x="1487523" y="454517"/>
                  </a:lnTo>
                  <a:lnTo>
                    <a:pt x="1481985" y="448978"/>
                  </a:lnTo>
                  <a:lnTo>
                    <a:pt x="1476446" y="444905"/>
                  </a:lnTo>
                  <a:lnTo>
                    <a:pt x="1480844" y="442298"/>
                  </a:lnTo>
                  <a:lnTo>
                    <a:pt x="1486709" y="441484"/>
                  </a:lnTo>
                  <a:lnTo>
                    <a:pt x="1496809" y="433501"/>
                  </a:lnTo>
                  <a:lnTo>
                    <a:pt x="1496809" y="427962"/>
                  </a:lnTo>
                  <a:lnTo>
                    <a:pt x="1500882" y="422423"/>
                  </a:lnTo>
                  <a:lnTo>
                    <a:pt x="1505932" y="421609"/>
                  </a:lnTo>
                  <a:lnTo>
                    <a:pt x="1507887" y="416885"/>
                  </a:lnTo>
                  <a:lnTo>
                    <a:pt x="1505932" y="413138"/>
                  </a:lnTo>
                  <a:lnTo>
                    <a:pt x="1506258" y="407925"/>
                  </a:lnTo>
                  <a:lnTo>
                    <a:pt x="1506258" y="402386"/>
                  </a:lnTo>
                  <a:lnTo>
                    <a:pt x="1509679" y="400919"/>
                  </a:lnTo>
                  <a:lnTo>
                    <a:pt x="1514078" y="404666"/>
                  </a:lnTo>
                  <a:lnTo>
                    <a:pt x="1514078" y="409879"/>
                  </a:lnTo>
                  <a:lnTo>
                    <a:pt x="1516359" y="412323"/>
                  </a:lnTo>
                  <a:lnTo>
                    <a:pt x="1524504" y="414278"/>
                  </a:lnTo>
                  <a:lnTo>
                    <a:pt x="1525644" y="416070"/>
                  </a:lnTo>
                  <a:lnTo>
                    <a:pt x="1526296" y="414767"/>
                  </a:lnTo>
                  <a:lnTo>
                    <a:pt x="1526296" y="411834"/>
                  </a:lnTo>
                  <a:lnTo>
                    <a:pt x="1524341" y="410531"/>
                  </a:lnTo>
                  <a:lnTo>
                    <a:pt x="1523364" y="406133"/>
                  </a:lnTo>
                  <a:lnTo>
                    <a:pt x="1523689" y="404178"/>
                  </a:lnTo>
                  <a:lnTo>
                    <a:pt x="1526622" y="402386"/>
                  </a:lnTo>
                  <a:lnTo>
                    <a:pt x="1532650" y="403037"/>
                  </a:lnTo>
                  <a:lnTo>
                    <a:pt x="1534441" y="402548"/>
                  </a:lnTo>
                  <a:lnTo>
                    <a:pt x="1534604" y="398150"/>
                  </a:lnTo>
                  <a:lnTo>
                    <a:pt x="1533790" y="395543"/>
                  </a:lnTo>
                  <a:lnTo>
                    <a:pt x="1534116" y="392122"/>
                  </a:lnTo>
                  <a:lnTo>
                    <a:pt x="1535256" y="389679"/>
                  </a:lnTo>
                  <a:lnTo>
                    <a:pt x="1535093" y="385117"/>
                  </a:lnTo>
                  <a:lnTo>
                    <a:pt x="1534768" y="380556"/>
                  </a:lnTo>
                  <a:lnTo>
                    <a:pt x="1531835" y="378438"/>
                  </a:lnTo>
                  <a:lnTo>
                    <a:pt x="1531835" y="369641"/>
                  </a:lnTo>
                  <a:lnTo>
                    <a:pt x="1531184" y="365405"/>
                  </a:lnTo>
                  <a:lnTo>
                    <a:pt x="1530695" y="359052"/>
                  </a:lnTo>
                  <a:lnTo>
                    <a:pt x="1530857" y="354490"/>
                  </a:lnTo>
                  <a:lnTo>
                    <a:pt x="1527599" y="350092"/>
                  </a:lnTo>
                  <a:lnTo>
                    <a:pt x="1525970" y="346997"/>
                  </a:lnTo>
                  <a:lnTo>
                    <a:pt x="1524667" y="343250"/>
                  </a:lnTo>
                  <a:lnTo>
                    <a:pt x="1518639" y="333964"/>
                  </a:lnTo>
                  <a:lnTo>
                    <a:pt x="1516847" y="329565"/>
                  </a:lnTo>
                  <a:lnTo>
                    <a:pt x="1517988" y="327285"/>
                  </a:lnTo>
                  <a:lnTo>
                    <a:pt x="1521083" y="325330"/>
                  </a:lnTo>
                  <a:lnTo>
                    <a:pt x="1524015" y="325004"/>
                  </a:lnTo>
                  <a:lnTo>
                    <a:pt x="1526459" y="321746"/>
                  </a:lnTo>
                  <a:lnTo>
                    <a:pt x="1527599" y="318324"/>
                  </a:lnTo>
                  <a:lnTo>
                    <a:pt x="1532323" y="310994"/>
                  </a:lnTo>
                  <a:lnTo>
                    <a:pt x="1534279" y="310505"/>
                  </a:lnTo>
                  <a:lnTo>
                    <a:pt x="1538352" y="311645"/>
                  </a:lnTo>
                  <a:lnTo>
                    <a:pt x="1541609" y="312948"/>
                  </a:lnTo>
                  <a:lnTo>
                    <a:pt x="1557900" y="315881"/>
                  </a:lnTo>
                  <a:lnTo>
                    <a:pt x="1560344" y="316532"/>
                  </a:lnTo>
                  <a:lnTo>
                    <a:pt x="1563277" y="316532"/>
                  </a:lnTo>
                  <a:lnTo>
                    <a:pt x="1565231" y="314089"/>
                  </a:lnTo>
                  <a:lnTo>
                    <a:pt x="1564580" y="310342"/>
                  </a:lnTo>
                  <a:lnTo>
                    <a:pt x="1562950" y="307410"/>
                  </a:lnTo>
                  <a:lnTo>
                    <a:pt x="1562625" y="304803"/>
                  </a:lnTo>
                  <a:lnTo>
                    <a:pt x="1563602" y="302848"/>
                  </a:lnTo>
                  <a:lnTo>
                    <a:pt x="1562625" y="300079"/>
                  </a:lnTo>
                  <a:lnTo>
                    <a:pt x="1561973" y="297309"/>
                  </a:lnTo>
                  <a:lnTo>
                    <a:pt x="1564254" y="292259"/>
                  </a:lnTo>
                  <a:lnTo>
                    <a:pt x="1565883" y="290304"/>
                  </a:lnTo>
                  <a:lnTo>
                    <a:pt x="1565068" y="286394"/>
                  </a:lnTo>
                  <a:lnTo>
                    <a:pt x="1563602" y="283788"/>
                  </a:lnTo>
                  <a:lnTo>
                    <a:pt x="1564254" y="282322"/>
                  </a:lnTo>
                  <a:lnTo>
                    <a:pt x="1567838" y="280530"/>
                  </a:lnTo>
                  <a:lnTo>
                    <a:pt x="1566535" y="278086"/>
                  </a:lnTo>
                  <a:lnTo>
                    <a:pt x="1566535" y="275316"/>
                  </a:lnTo>
                  <a:lnTo>
                    <a:pt x="1564905" y="272547"/>
                  </a:lnTo>
                  <a:lnTo>
                    <a:pt x="1565883" y="269126"/>
                  </a:lnTo>
                  <a:lnTo>
                    <a:pt x="1568327" y="267334"/>
                  </a:lnTo>
                  <a:lnTo>
                    <a:pt x="1568327" y="265216"/>
                  </a:lnTo>
                  <a:lnTo>
                    <a:pt x="1567023" y="262610"/>
                  </a:lnTo>
                  <a:lnTo>
                    <a:pt x="1565068" y="257397"/>
                  </a:lnTo>
                  <a:lnTo>
                    <a:pt x="1564743" y="251369"/>
                  </a:lnTo>
                  <a:lnTo>
                    <a:pt x="1566371" y="250717"/>
                  </a:lnTo>
                  <a:lnTo>
                    <a:pt x="1567512" y="249577"/>
                  </a:lnTo>
                  <a:lnTo>
                    <a:pt x="1567186" y="247622"/>
                  </a:lnTo>
                  <a:lnTo>
                    <a:pt x="1566209" y="245830"/>
                  </a:lnTo>
                  <a:lnTo>
                    <a:pt x="1566371" y="243060"/>
                  </a:lnTo>
                  <a:lnTo>
                    <a:pt x="1564091" y="241431"/>
                  </a:lnTo>
                  <a:lnTo>
                    <a:pt x="1562625" y="239151"/>
                  </a:lnTo>
                  <a:lnTo>
                    <a:pt x="1564091" y="235404"/>
                  </a:lnTo>
                  <a:lnTo>
                    <a:pt x="1564417" y="231168"/>
                  </a:lnTo>
                  <a:lnTo>
                    <a:pt x="1563277" y="229865"/>
                  </a:lnTo>
                  <a:lnTo>
                    <a:pt x="1560996" y="226770"/>
                  </a:lnTo>
                  <a:lnTo>
                    <a:pt x="1560996" y="224489"/>
                  </a:lnTo>
                  <a:lnTo>
                    <a:pt x="1564417" y="220253"/>
                  </a:lnTo>
                  <a:lnTo>
                    <a:pt x="1568327" y="219439"/>
                  </a:lnTo>
                  <a:lnTo>
                    <a:pt x="1569304" y="217484"/>
                  </a:lnTo>
                  <a:lnTo>
                    <a:pt x="1569630" y="213085"/>
                  </a:lnTo>
                  <a:lnTo>
                    <a:pt x="1570607" y="207709"/>
                  </a:lnTo>
                  <a:lnTo>
                    <a:pt x="1567512" y="205754"/>
                  </a:lnTo>
                  <a:close/>
                </a:path>
              </a:pathLst>
            </a:custGeom>
            <a:solidFill>
              <a:schemeClr val="bg2"/>
            </a:solidFill>
            <a:ln w="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sp>
        <p:nvSpPr>
          <p:cNvPr id="262" name="Retângulo 205">
            <a:extLst>
              <a:ext uri="{FF2B5EF4-FFF2-40B4-BE49-F238E27FC236}">
                <a16:creationId xmlns:a16="http://schemas.microsoft.com/office/drawing/2014/main" id="{B0C4CE8F-58D1-9F5F-6392-914E1A0911F8}"/>
              </a:ext>
            </a:extLst>
          </p:cNvPr>
          <p:cNvSpPr/>
          <p:nvPr/>
        </p:nvSpPr>
        <p:spPr>
          <a:xfrm rot="16200000" flipH="1">
            <a:off x="3555714" y="359380"/>
            <a:ext cx="422172" cy="5897271"/>
          </a:xfrm>
          <a:custGeom>
            <a:avLst/>
            <a:gdLst>
              <a:gd name="connsiteX0" fmla="*/ 0 w 1635417"/>
              <a:gd name="connsiteY0" fmla="*/ 0 h 1179213"/>
              <a:gd name="connsiteX1" fmla="*/ 1635417 w 1635417"/>
              <a:gd name="connsiteY1" fmla="*/ 0 h 1179213"/>
              <a:gd name="connsiteX2" fmla="*/ 1635417 w 1635417"/>
              <a:gd name="connsiteY2" fmla="*/ 1179213 h 1179213"/>
              <a:gd name="connsiteX3" fmla="*/ 0 w 1635417"/>
              <a:gd name="connsiteY3" fmla="*/ 1179213 h 1179213"/>
              <a:gd name="connsiteX4" fmla="*/ 0 w 1635417"/>
              <a:gd name="connsiteY4" fmla="*/ 0 h 1179213"/>
              <a:gd name="connsiteX0" fmla="*/ 1635417 w 1726857"/>
              <a:gd name="connsiteY0" fmla="*/ 0 h 1179213"/>
              <a:gd name="connsiteX1" fmla="*/ 1635417 w 1726857"/>
              <a:gd name="connsiteY1" fmla="*/ 1179213 h 1179213"/>
              <a:gd name="connsiteX2" fmla="*/ 0 w 1726857"/>
              <a:gd name="connsiteY2" fmla="*/ 1179213 h 1179213"/>
              <a:gd name="connsiteX3" fmla="*/ 0 w 1726857"/>
              <a:gd name="connsiteY3" fmla="*/ 0 h 1179213"/>
              <a:gd name="connsiteX4" fmla="*/ 1726857 w 1726857"/>
              <a:gd name="connsiteY4" fmla="*/ 91440 h 1179213"/>
              <a:gd name="connsiteX0" fmla="*/ 1635417 w 1635417"/>
              <a:gd name="connsiteY0" fmla="*/ 0 h 1179213"/>
              <a:gd name="connsiteX1" fmla="*/ 1635417 w 1635417"/>
              <a:gd name="connsiteY1" fmla="*/ 1179213 h 1179213"/>
              <a:gd name="connsiteX2" fmla="*/ 0 w 1635417"/>
              <a:gd name="connsiteY2" fmla="*/ 1179213 h 1179213"/>
              <a:gd name="connsiteX3" fmla="*/ 0 w 1635417"/>
              <a:gd name="connsiteY3" fmla="*/ 0 h 1179213"/>
              <a:gd name="connsiteX0" fmla="*/ 1635417 w 1635417"/>
              <a:gd name="connsiteY0" fmla="*/ 1179213 h 1179213"/>
              <a:gd name="connsiteX1" fmla="*/ 0 w 1635417"/>
              <a:gd name="connsiteY1" fmla="*/ 1179213 h 1179213"/>
              <a:gd name="connsiteX2" fmla="*/ 0 w 1635417"/>
              <a:gd name="connsiteY2" fmla="*/ 0 h 11792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635417" h="1179213">
                <a:moveTo>
                  <a:pt x="1635417" y="1179213"/>
                </a:moveTo>
                <a:lnTo>
                  <a:pt x="0" y="1179213"/>
                </a:lnTo>
                <a:lnTo>
                  <a:pt x="0" y="0"/>
                </a:lnTo>
              </a:path>
            </a:pathLst>
          </a:custGeom>
          <a:noFill/>
          <a:ln w="6350" cap="sq"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  <p:sp>
        <p:nvSpPr>
          <p:cNvPr id="2" name="Marcador de pie de página 1">
            <a:extLst>
              <a:ext uri="{FF2B5EF4-FFF2-40B4-BE49-F238E27FC236}">
                <a16:creationId xmlns:a16="http://schemas.microsoft.com/office/drawing/2014/main" id="{8C77D53F-38A1-4E26-8C86-98C2A3DBACC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pt-PT"/>
              <a:t>Título de la presentación</a:t>
            </a:r>
            <a:endParaRPr lang="pt-PT" dirty="0"/>
          </a:p>
        </p:txBody>
      </p:sp>
      <p:sp>
        <p:nvSpPr>
          <p:cNvPr id="3" name="Marcador de número de diapositiva 2">
            <a:extLst>
              <a:ext uri="{FF2B5EF4-FFF2-40B4-BE49-F238E27FC236}">
                <a16:creationId xmlns:a16="http://schemas.microsoft.com/office/drawing/2014/main" id="{70D6A266-EF57-4558-982C-78F52ECE974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4A347C2-D68E-473A-8C76-1D063E4EB6E0}" type="slidenum">
              <a:rPr lang="es-ES" smtClean="0"/>
              <a:pPr/>
              <a:t>42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8052624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250"/>
                                        <p:tgtEl>
                                          <p:spTgt spid="2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1719 -0.00023 L -1.25E-6 1.85185E-6 " pathEditMode="relative" rAng="0" ptsTypes="AA">
                                      <p:cBhvr>
                                        <p:cTn id="12" dur="500" fill="hold"/>
                                        <p:tgtEl>
                                          <p:spTgt spid="26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859" y="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62" grpId="0" animBg="1"/>
      <p:bldP spid="262" grpId="1" animBg="1"/>
    </p:bld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189A12A9-E78C-B952-9971-4A7FDBD76FA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pt-PT" dirty="0"/>
              <a:t>Ejemplo de título de slide</a:t>
            </a:r>
          </a:p>
        </p:txBody>
      </p:sp>
      <p:sp>
        <p:nvSpPr>
          <p:cNvPr id="3" name="Marcador de Posição do Texto 2">
            <a:extLst>
              <a:ext uri="{FF2B5EF4-FFF2-40B4-BE49-F238E27FC236}">
                <a16:creationId xmlns:a16="http://schemas.microsoft.com/office/drawing/2014/main" id="{ECE02A4F-CE97-5C2F-3CBB-18367BA97F5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>
            <a:normAutofit lnSpcReduction="10000"/>
          </a:bodyPr>
          <a:lstStyle/>
          <a:p>
            <a:r>
              <a:rPr lang="pt-PT" dirty="0"/>
              <a:t>Ejemplo de subtítulo de slide</a:t>
            </a:r>
          </a:p>
        </p:txBody>
      </p:sp>
      <p:sp>
        <p:nvSpPr>
          <p:cNvPr id="4" name="Marcador de Posição do Texto 3">
            <a:extLst>
              <a:ext uri="{FF2B5EF4-FFF2-40B4-BE49-F238E27FC236}">
                <a16:creationId xmlns:a16="http://schemas.microsoft.com/office/drawing/2014/main" id="{B19B37C5-8BD8-0741-9D64-13407E03CD9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>
            <a:normAutofit lnSpcReduction="10000"/>
          </a:bodyPr>
          <a:lstStyle/>
          <a:p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Lorem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ipsum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dolor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sit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amet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,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consectetuer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adipiscing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elit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.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Maecenas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porttitor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congue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dirty="0"/>
              <a:t>massa. </a:t>
            </a:r>
            <a:r>
              <a:rPr lang="pt-PT" dirty="0" err="1"/>
              <a:t>Fusce</a:t>
            </a:r>
            <a:r>
              <a:rPr lang="pt-PT" dirty="0"/>
              <a:t> </a:t>
            </a:r>
            <a:r>
              <a:rPr lang="pt-PT" dirty="0" err="1"/>
              <a:t>posuere</a:t>
            </a:r>
            <a:r>
              <a:rPr lang="pt-PT" dirty="0"/>
              <a:t>, magna </a:t>
            </a:r>
            <a:r>
              <a:rPr lang="pt-PT" dirty="0" err="1"/>
              <a:t>sed</a:t>
            </a:r>
            <a:r>
              <a:rPr lang="pt-PT" dirty="0"/>
              <a:t> pulvinar </a:t>
            </a:r>
            <a:r>
              <a:rPr lang="pt-PT" dirty="0" err="1"/>
              <a:t>ultricies</a:t>
            </a:r>
            <a:r>
              <a:rPr lang="pt-PT" dirty="0"/>
              <a:t>, purus </a:t>
            </a:r>
            <a:r>
              <a:rPr lang="pt-PT" dirty="0" err="1"/>
              <a:t>lectus</a:t>
            </a:r>
            <a:r>
              <a:rPr lang="pt-PT" dirty="0"/>
              <a:t> </a:t>
            </a:r>
            <a:r>
              <a:rPr lang="pt-PT" dirty="0" err="1"/>
              <a:t>malesuada</a:t>
            </a:r>
            <a:r>
              <a:rPr lang="pt-PT" dirty="0"/>
              <a:t> libero,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r>
              <a:rPr lang="pt-PT" dirty="0"/>
              <a:t> </a:t>
            </a:r>
            <a:r>
              <a:rPr lang="pt-PT" dirty="0" err="1"/>
              <a:t>commodo</a:t>
            </a:r>
            <a:r>
              <a:rPr lang="pt-PT" dirty="0"/>
              <a:t> magna eros quis urna.</a:t>
            </a:r>
          </a:p>
          <a:p>
            <a:r>
              <a:rPr lang="pt-PT" dirty="0" err="1"/>
              <a:t>Nunc</a:t>
            </a:r>
            <a:r>
              <a:rPr lang="pt-PT" dirty="0"/>
              <a:t> </a:t>
            </a:r>
            <a:r>
              <a:rPr lang="pt-PT" dirty="0" err="1"/>
              <a:t>viverra</a:t>
            </a:r>
            <a:r>
              <a:rPr lang="pt-PT" dirty="0"/>
              <a:t> </a:t>
            </a:r>
            <a:r>
              <a:rPr lang="pt-PT" dirty="0" err="1"/>
              <a:t>imperdiet</a:t>
            </a:r>
            <a:r>
              <a:rPr lang="pt-PT" dirty="0"/>
              <a:t> </a:t>
            </a:r>
            <a:r>
              <a:rPr lang="pt-PT" dirty="0" err="1"/>
              <a:t>enim</a:t>
            </a:r>
            <a:r>
              <a:rPr lang="pt-PT" dirty="0"/>
              <a:t>. </a:t>
            </a:r>
            <a:r>
              <a:rPr lang="pt-PT" dirty="0" err="1"/>
              <a:t>Fusce</a:t>
            </a:r>
            <a:r>
              <a:rPr lang="pt-PT" dirty="0"/>
              <a:t> est. </a:t>
            </a:r>
            <a:r>
              <a:rPr lang="pt-PT" dirty="0" err="1"/>
              <a:t>Vivamus</a:t>
            </a:r>
            <a:r>
              <a:rPr lang="pt-PT" dirty="0"/>
              <a:t> a </a:t>
            </a:r>
            <a:r>
              <a:rPr lang="pt-PT" dirty="0" err="1"/>
              <a:t>tellus</a:t>
            </a:r>
            <a:r>
              <a:rPr lang="pt-PT" dirty="0"/>
              <a:t>.</a:t>
            </a:r>
          </a:p>
          <a:p>
            <a:r>
              <a:rPr lang="pt-PT" dirty="0" err="1"/>
              <a:t>Pellentesque</a:t>
            </a:r>
            <a:r>
              <a:rPr lang="pt-PT" dirty="0"/>
              <a:t> </a:t>
            </a:r>
            <a:r>
              <a:rPr lang="pt-PT" dirty="0" err="1"/>
              <a:t>habitant</a:t>
            </a:r>
            <a:r>
              <a:rPr lang="pt-PT" dirty="0"/>
              <a:t> </a:t>
            </a:r>
            <a:r>
              <a:rPr lang="pt-PT" dirty="0" err="1"/>
              <a:t>morbi</a:t>
            </a:r>
            <a:r>
              <a:rPr lang="pt-PT" dirty="0"/>
              <a:t> </a:t>
            </a:r>
            <a:r>
              <a:rPr lang="pt-PT" dirty="0" err="1"/>
              <a:t>tristique</a:t>
            </a:r>
            <a:r>
              <a:rPr lang="pt-PT" dirty="0"/>
              <a:t> </a:t>
            </a:r>
            <a:r>
              <a:rPr lang="pt-PT" dirty="0" err="1"/>
              <a:t>senectus</a:t>
            </a:r>
            <a:r>
              <a:rPr lang="pt-PT" dirty="0"/>
              <a:t> </a:t>
            </a:r>
            <a:r>
              <a:rPr lang="pt-PT" dirty="0" err="1"/>
              <a:t>et</a:t>
            </a:r>
            <a:r>
              <a:rPr lang="pt-PT" dirty="0"/>
              <a:t> </a:t>
            </a:r>
            <a:r>
              <a:rPr lang="pt-PT" dirty="0" err="1"/>
              <a:t>netus</a:t>
            </a:r>
            <a:r>
              <a:rPr lang="pt-PT" dirty="0"/>
              <a:t> </a:t>
            </a:r>
            <a:r>
              <a:rPr lang="pt-PT" dirty="0" err="1"/>
              <a:t>et</a:t>
            </a:r>
            <a:r>
              <a:rPr lang="pt-PT" dirty="0"/>
              <a:t> </a:t>
            </a:r>
            <a:r>
              <a:rPr lang="pt-PT" dirty="0" err="1"/>
              <a:t>malesuada</a:t>
            </a:r>
            <a:r>
              <a:rPr lang="pt-PT" dirty="0"/>
              <a:t> </a:t>
            </a:r>
            <a:r>
              <a:rPr lang="pt-PT" dirty="0" err="1"/>
              <a:t>fames</a:t>
            </a:r>
            <a:r>
              <a:rPr lang="pt-PT" dirty="0"/>
              <a:t> </a:t>
            </a:r>
            <a:r>
              <a:rPr lang="pt-PT" dirty="0" err="1"/>
              <a:t>ac</a:t>
            </a:r>
            <a:r>
              <a:rPr lang="pt-PT" dirty="0"/>
              <a:t> </a:t>
            </a:r>
            <a:r>
              <a:rPr lang="pt-PT" dirty="0" err="1"/>
              <a:t>turpis</a:t>
            </a:r>
            <a:r>
              <a:rPr lang="pt-PT" dirty="0"/>
              <a:t> egestas. </a:t>
            </a:r>
            <a:r>
              <a:rPr lang="pt-PT" dirty="0" err="1"/>
              <a:t>Proin</a:t>
            </a:r>
            <a:r>
              <a:rPr lang="pt-PT" dirty="0"/>
              <a:t> </a:t>
            </a:r>
            <a:r>
              <a:rPr lang="pt-PT" dirty="0" err="1"/>
              <a:t>pharetra</a:t>
            </a:r>
            <a:r>
              <a:rPr lang="pt-PT" dirty="0"/>
              <a:t> </a:t>
            </a:r>
            <a:r>
              <a:rPr lang="pt-PT" dirty="0" err="1"/>
              <a:t>nonummy</a:t>
            </a:r>
            <a:r>
              <a:rPr lang="pt-PT" dirty="0"/>
              <a:t> pede. </a:t>
            </a:r>
            <a:r>
              <a:rPr lang="pt-PT" dirty="0" err="1"/>
              <a:t>Mauris</a:t>
            </a:r>
            <a:r>
              <a:rPr lang="pt-PT" dirty="0"/>
              <a:t> </a:t>
            </a:r>
            <a:r>
              <a:rPr lang="pt-PT" dirty="0" err="1"/>
              <a:t>et</a:t>
            </a:r>
            <a:r>
              <a:rPr lang="pt-PT" dirty="0"/>
              <a:t> </a:t>
            </a:r>
            <a:r>
              <a:rPr lang="pt-PT" dirty="0" err="1"/>
              <a:t>orci</a:t>
            </a:r>
            <a:r>
              <a:rPr lang="pt-PT" dirty="0"/>
              <a:t>. </a:t>
            </a:r>
            <a:r>
              <a:rPr lang="pt-PT" dirty="0" err="1"/>
              <a:t>Lorem</a:t>
            </a:r>
            <a:r>
              <a:rPr lang="pt-PT" dirty="0"/>
              <a:t> </a:t>
            </a:r>
            <a:r>
              <a:rPr lang="pt-PT" dirty="0" err="1"/>
              <a:t>ipsum</a:t>
            </a:r>
            <a:r>
              <a:rPr lang="pt-PT" dirty="0"/>
              <a:t> </a:t>
            </a:r>
            <a:r>
              <a:rPr lang="pt-PT" dirty="0" err="1"/>
              <a:t>dolor</a:t>
            </a:r>
            <a:r>
              <a:rPr lang="pt-PT" dirty="0"/>
              <a:t>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r>
              <a:rPr lang="pt-PT" dirty="0"/>
              <a:t>, </a:t>
            </a:r>
            <a:r>
              <a:rPr lang="pt-PT" dirty="0" err="1"/>
              <a:t>consectetuer</a:t>
            </a:r>
            <a:r>
              <a:rPr lang="pt-PT" dirty="0"/>
              <a:t> </a:t>
            </a:r>
            <a:r>
              <a:rPr lang="pt-PT" dirty="0" err="1"/>
              <a:t>adipiscing</a:t>
            </a:r>
            <a:r>
              <a:rPr lang="pt-PT" dirty="0"/>
              <a:t> </a:t>
            </a:r>
            <a:r>
              <a:rPr lang="pt-PT" dirty="0" err="1"/>
              <a:t>elit</a:t>
            </a:r>
            <a:r>
              <a:rPr lang="pt-PT" dirty="0"/>
              <a:t>. </a:t>
            </a:r>
            <a:r>
              <a:rPr lang="pt-PT" dirty="0" err="1"/>
              <a:t>Maecenas</a:t>
            </a:r>
            <a:r>
              <a:rPr lang="pt-PT" dirty="0"/>
              <a:t> </a:t>
            </a:r>
            <a:r>
              <a:rPr lang="pt-PT" dirty="0" err="1"/>
              <a:t>porttitor</a:t>
            </a:r>
            <a:r>
              <a:rPr lang="pt-PT" dirty="0"/>
              <a:t> </a:t>
            </a:r>
            <a:r>
              <a:rPr lang="pt-PT" dirty="0" err="1"/>
              <a:t>congue</a:t>
            </a:r>
            <a:r>
              <a:rPr lang="pt-PT" dirty="0"/>
              <a:t> massa. </a:t>
            </a:r>
            <a:r>
              <a:rPr lang="pt-PT" dirty="0" err="1"/>
              <a:t>Fusce</a:t>
            </a:r>
            <a:r>
              <a:rPr lang="pt-PT" dirty="0"/>
              <a:t> </a:t>
            </a:r>
            <a:r>
              <a:rPr lang="pt-PT" dirty="0" err="1"/>
              <a:t>posuere</a:t>
            </a:r>
            <a:r>
              <a:rPr lang="pt-PT" dirty="0"/>
              <a:t>, magna </a:t>
            </a:r>
            <a:r>
              <a:rPr lang="pt-PT" dirty="0" err="1"/>
              <a:t>sed</a:t>
            </a:r>
            <a:r>
              <a:rPr lang="pt-PT" dirty="0"/>
              <a:t> pulvinar </a:t>
            </a:r>
            <a:r>
              <a:rPr lang="pt-PT" dirty="0" err="1"/>
              <a:t>ultricies</a:t>
            </a:r>
            <a:r>
              <a:rPr lang="pt-PT" dirty="0"/>
              <a:t>, purus </a:t>
            </a:r>
            <a:r>
              <a:rPr lang="pt-PT" dirty="0" err="1"/>
              <a:t>lectus</a:t>
            </a:r>
            <a:r>
              <a:rPr lang="pt-PT" dirty="0"/>
              <a:t> </a:t>
            </a:r>
            <a:r>
              <a:rPr lang="pt-PT" dirty="0" err="1"/>
              <a:t>malesuada</a:t>
            </a:r>
            <a:r>
              <a:rPr lang="pt-PT" dirty="0"/>
              <a:t> libero,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r>
              <a:rPr lang="pt-PT" dirty="0"/>
              <a:t> </a:t>
            </a:r>
            <a:r>
              <a:rPr lang="pt-PT" dirty="0" err="1"/>
              <a:t>commodo</a:t>
            </a:r>
            <a:r>
              <a:rPr lang="pt-PT" dirty="0"/>
              <a:t> magna eros quis urna.</a:t>
            </a:r>
          </a:p>
          <a:p>
            <a:pPr marL="174625" indent="-174625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pt-PT" dirty="0" err="1"/>
              <a:t>Nunc</a:t>
            </a:r>
            <a:r>
              <a:rPr lang="pt-PT" dirty="0"/>
              <a:t> </a:t>
            </a:r>
            <a:r>
              <a:rPr lang="pt-PT" dirty="0" err="1"/>
              <a:t>viverra</a:t>
            </a:r>
            <a:r>
              <a:rPr lang="pt-PT" dirty="0"/>
              <a:t> </a:t>
            </a:r>
            <a:r>
              <a:rPr lang="pt-PT" dirty="0" err="1"/>
              <a:t>imperdiet</a:t>
            </a:r>
            <a:r>
              <a:rPr lang="pt-PT" dirty="0"/>
              <a:t> </a:t>
            </a:r>
            <a:r>
              <a:rPr lang="pt-PT" dirty="0" err="1"/>
              <a:t>enim</a:t>
            </a:r>
            <a:r>
              <a:rPr lang="pt-PT" dirty="0"/>
              <a:t>. </a:t>
            </a:r>
            <a:r>
              <a:rPr lang="pt-PT" dirty="0" err="1"/>
              <a:t>Fusce</a:t>
            </a:r>
            <a:r>
              <a:rPr lang="pt-PT" dirty="0"/>
              <a:t> est. </a:t>
            </a:r>
            <a:r>
              <a:rPr lang="pt-PT" dirty="0" err="1"/>
              <a:t>Vivamus</a:t>
            </a:r>
            <a:r>
              <a:rPr lang="pt-PT" dirty="0"/>
              <a:t> a </a:t>
            </a:r>
            <a:r>
              <a:rPr lang="pt-PT" dirty="0" err="1"/>
              <a:t>tellus</a:t>
            </a:r>
            <a:r>
              <a:rPr lang="pt-PT" dirty="0"/>
              <a:t>.</a:t>
            </a:r>
          </a:p>
        </p:txBody>
      </p:sp>
      <p:sp>
        <p:nvSpPr>
          <p:cNvPr id="5" name="Marcador de Posição do Texto 4">
            <a:extLst>
              <a:ext uri="{FF2B5EF4-FFF2-40B4-BE49-F238E27FC236}">
                <a16:creationId xmlns:a16="http://schemas.microsoft.com/office/drawing/2014/main" id="{16992A2D-14DB-5D8A-15C6-DA8B5F24ACA4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>
            <a:normAutofit lnSpcReduction="10000"/>
          </a:bodyPr>
          <a:lstStyle/>
          <a:p>
            <a:r>
              <a:rPr lang="pt-PT" dirty="0"/>
              <a:t>01</a:t>
            </a:r>
          </a:p>
        </p:txBody>
      </p:sp>
      <p:sp>
        <p:nvSpPr>
          <p:cNvPr id="6" name="Marcador de Posição do Texto 5">
            <a:extLst>
              <a:ext uri="{FF2B5EF4-FFF2-40B4-BE49-F238E27FC236}">
                <a16:creationId xmlns:a16="http://schemas.microsoft.com/office/drawing/2014/main" id="{AD8B93D1-D554-72F8-B953-9999CF980F5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>
            <a:normAutofit lnSpcReduction="10000"/>
          </a:bodyPr>
          <a:lstStyle/>
          <a:p>
            <a:r>
              <a:rPr lang="pt-PT" dirty="0"/>
              <a:t>02</a:t>
            </a:r>
          </a:p>
        </p:txBody>
      </p:sp>
      <p:sp>
        <p:nvSpPr>
          <p:cNvPr id="7" name="Marcador de Posição do Texto 6">
            <a:extLst>
              <a:ext uri="{FF2B5EF4-FFF2-40B4-BE49-F238E27FC236}">
                <a16:creationId xmlns:a16="http://schemas.microsoft.com/office/drawing/2014/main" id="{C7166088-B482-A3D7-E943-36CC035636C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>
            <a:normAutofit lnSpcReduction="10000"/>
          </a:bodyPr>
          <a:lstStyle/>
          <a:p>
            <a:r>
              <a:rPr lang="pt-PT" dirty="0"/>
              <a:t>03</a:t>
            </a:r>
          </a:p>
        </p:txBody>
      </p:sp>
      <p:sp>
        <p:nvSpPr>
          <p:cNvPr id="8" name="Marcador de Posição do Texto 7">
            <a:extLst>
              <a:ext uri="{FF2B5EF4-FFF2-40B4-BE49-F238E27FC236}">
                <a16:creationId xmlns:a16="http://schemas.microsoft.com/office/drawing/2014/main" id="{2F3CAC05-3038-2D0C-DB42-90A50D9A2CD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>
            <a:normAutofit lnSpcReduction="10000"/>
          </a:bodyPr>
          <a:lstStyle/>
          <a:p>
            <a:r>
              <a:rPr lang="pt-PT" dirty="0"/>
              <a:t>04</a:t>
            </a:r>
          </a:p>
        </p:txBody>
      </p:sp>
      <p:sp>
        <p:nvSpPr>
          <p:cNvPr id="9" name="Marcador de Posição do Texto 8">
            <a:extLst>
              <a:ext uri="{FF2B5EF4-FFF2-40B4-BE49-F238E27FC236}">
                <a16:creationId xmlns:a16="http://schemas.microsoft.com/office/drawing/2014/main" id="{2AB830EC-5E31-BDE1-F185-1000758650D9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pt-PT" dirty="0"/>
              <a:t>Data </a:t>
            </a:r>
            <a:r>
              <a:rPr lang="pt-PT" dirty="0" err="1"/>
              <a:t>Strategy</a:t>
            </a:r>
            <a:endParaRPr lang="pt-PT" dirty="0"/>
          </a:p>
        </p:txBody>
      </p:sp>
      <p:sp>
        <p:nvSpPr>
          <p:cNvPr id="10" name="Marcador de Posição do Texto 9">
            <a:extLst>
              <a:ext uri="{FF2B5EF4-FFF2-40B4-BE49-F238E27FC236}">
                <a16:creationId xmlns:a16="http://schemas.microsoft.com/office/drawing/2014/main" id="{137C70DE-2504-76B7-551B-E2752FA44A9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pt-PT" dirty="0" err="1"/>
              <a:t>Advanced</a:t>
            </a:r>
            <a:br>
              <a:rPr lang="pt-PT" dirty="0"/>
            </a:br>
            <a:r>
              <a:rPr lang="pt-PT" dirty="0" err="1"/>
              <a:t>Analytics</a:t>
            </a:r>
            <a:r>
              <a:rPr lang="pt-PT" dirty="0"/>
              <a:t> &amp;</a:t>
            </a:r>
            <a:br>
              <a:rPr lang="pt-PT" dirty="0"/>
            </a:br>
            <a:r>
              <a:rPr lang="pt-PT" dirty="0" err="1"/>
              <a:t>Machine</a:t>
            </a:r>
            <a:r>
              <a:rPr lang="pt-PT" dirty="0"/>
              <a:t> </a:t>
            </a:r>
            <a:r>
              <a:rPr lang="pt-PT" dirty="0" err="1"/>
              <a:t>Learning</a:t>
            </a:r>
            <a:endParaRPr lang="pt-PT" dirty="0"/>
          </a:p>
        </p:txBody>
      </p:sp>
      <p:sp>
        <p:nvSpPr>
          <p:cNvPr id="11" name="Marcador de Posição do Texto 10">
            <a:extLst>
              <a:ext uri="{FF2B5EF4-FFF2-40B4-BE49-F238E27FC236}">
                <a16:creationId xmlns:a16="http://schemas.microsoft.com/office/drawing/2014/main" id="{BACC0111-9807-B9D4-788F-59284123BA16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pt-PT" dirty="0" err="1"/>
              <a:t>Process</a:t>
            </a:r>
            <a:br>
              <a:rPr lang="pt-PT" dirty="0"/>
            </a:br>
            <a:r>
              <a:rPr lang="pt-PT" dirty="0" err="1"/>
              <a:t>Mining</a:t>
            </a:r>
            <a:endParaRPr lang="pt-PT" dirty="0"/>
          </a:p>
        </p:txBody>
      </p:sp>
      <p:sp>
        <p:nvSpPr>
          <p:cNvPr id="12" name="Marcador de Posição do Texto 11">
            <a:extLst>
              <a:ext uri="{FF2B5EF4-FFF2-40B4-BE49-F238E27FC236}">
                <a16:creationId xmlns:a16="http://schemas.microsoft.com/office/drawing/2014/main" id="{82FC39F1-A851-F713-E60A-476DC6F250A5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r>
              <a:rPr lang="pt-PT" dirty="0"/>
              <a:t>Business </a:t>
            </a:r>
            <a:r>
              <a:rPr lang="pt-PT" dirty="0" err="1"/>
              <a:t>Intelligence</a:t>
            </a:r>
            <a:r>
              <a:rPr lang="pt-PT" dirty="0"/>
              <a:t> &amp; </a:t>
            </a:r>
            <a:r>
              <a:rPr lang="pt-PT" dirty="0" err="1"/>
              <a:t>Reporting</a:t>
            </a:r>
            <a:endParaRPr lang="pt-PT" dirty="0"/>
          </a:p>
        </p:txBody>
      </p:sp>
      <p:grpSp>
        <p:nvGrpSpPr>
          <p:cNvPr id="109" name="Agrupar 108">
            <a:extLst>
              <a:ext uri="{FF2B5EF4-FFF2-40B4-BE49-F238E27FC236}">
                <a16:creationId xmlns:a16="http://schemas.microsoft.com/office/drawing/2014/main" id="{04A141A7-E680-4242-7A97-7631962BDE17}"/>
              </a:ext>
            </a:extLst>
          </p:cNvPr>
          <p:cNvGrpSpPr/>
          <p:nvPr/>
        </p:nvGrpSpPr>
        <p:grpSpPr>
          <a:xfrm>
            <a:off x="7798493" y="2561788"/>
            <a:ext cx="524521" cy="524521"/>
            <a:chOff x="7798493" y="2561788"/>
            <a:chExt cx="524521" cy="524521"/>
          </a:xfrm>
        </p:grpSpPr>
        <p:sp>
          <p:nvSpPr>
            <p:cNvPr id="13" name="Oval 12">
              <a:extLst>
                <a:ext uri="{FF2B5EF4-FFF2-40B4-BE49-F238E27FC236}">
                  <a16:creationId xmlns:a16="http://schemas.microsoft.com/office/drawing/2014/main" id="{D6B59860-EB9D-5BF7-E558-3157D18ECCD0}"/>
                </a:ext>
              </a:extLst>
            </p:cNvPr>
            <p:cNvSpPr/>
            <p:nvPr/>
          </p:nvSpPr>
          <p:spPr>
            <a:xfrm>
              <a:off x="7798493" y="2561788"/>
              <a:ext cx="524521" cy="524521"/>
            </a:xfrm>
            <a:prstGeom prst="ellipse">
              <a:avLst/>
            </a:prstGeom>
            <a:solidFill>
              <a:srgbClr val="132153"/>
            </a:solidFill>
            <a:ln w="42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4" name="Agrupar 13">
              <a:extLst>
                <a:ext uri="{FF2B5EF4-FFF2-40B4-BE49-F238E27FC236}">
                  <a16:creationId xmlns:a16="http://schemas.microsoft.com/office/drawing/2014/main" id="{B5E787F0-542B-49B5-CEEC-55014DA24ACB}"/>
                </a:ext>
              </a:extLst>
            </p:cNvPr>
            <p:cNvGrpSpPr/>
            <p:nvPr/>
          </p:nvGrpSpPr>
          <p:grpSpPr>
            <a:xfrm>
              <a:off x="7918149" y="2668774"/>
              <a:ext cx="283538" cy="309640"/>
              <a:chOff x="6000092" y="1357908"/>
              <a:chExt cx="365300" cy="398929"/>
            </a:xfrm>
          </p:grpSpPr>
          <p:sp>
            <p:nvSpPr>
              <p:cNvPr id="15" name="Forma livre: Forma 14">
                <a:extLst>
                  <a:ext uri="{FF2B5EF4-FFF2-40B4-BE49-F238E27FC236}">
                    <a16:creationId xmlns:a16="http://schemas.microsoft.com/office/drawing/2014/main" id="{E360D8C1-273A-C08B-B134-8737C2FCDCBA}"/>
                  </a:ext>
                </a:extLst>
              </p:cNvPr>
              <p:cNvSpPr/>
              <p:nvPr/>
            </p:nvSpPr>
            <p:spPr>
              <a:xfrm>
                <a:off x="6000092" y="1418606"/>
                <a:ext cx="84058" cy="286120"/>
              </a:xfrm>
              <a:custGeom>
                <a:avLst/>
                <a:gdLst>
                  <a:gd name="connsiteX0" fmla="*/ 51595 w 84058"/>
                  <a:gd name="connsiteY0" fmla="*/ 0 h 286120"/>
                  <a:gd name="connsiteX1" fmla="*/ 35266 w 84058"/>
                  <a:gd name="connsiteY1" fmla="*/ 61674 h 286120"/>
                  <a:gd name="connsiteX2" fmla="*/ 28760 w 84058"/>
                  <a:gd name="connsiteY2" fmla="*/ 193415 h 286120"/>
                  <a:gd name="connsiteX3" fmla="*/ 84059 w 84058"/>
                  <a:gd name="connsiteY3" fmla="*/ 286121 h 2861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4058" h="286120">
                    <a:moveTo>
                      <a:pt x="51595" y="0"/>
                    </a:moveTo>
                    <a:cubicBezTo>
                      <a:pt x="37868" y="7872"/>
                      <a:pt x="26028" y="24852"/>
                      <a:pt x="35266" y="61674"/>
                    </a:cubicBezTo>
                    <a:cubicBezTo>
                      <a:pt x="35266" y="61674"/>
                      <a:pt x="-39549" y="126731"/>
                      <a:pt x="28760" y="193415"/>
                    </a:cubicBezTo>
                    <a:cubicBezTo>
                      <a:pt x="28760" y="193415"/>
                      <a:pt x="9243" y="281242"/>
                      <a:pt x="84059" y="286121"/>
                    </a:cubicBezTo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16" name="Gráfico 32">
                <a:extLst>
                  <a:ext uri="{FF2B5EF4-FFF2-40B4-BE49-F238E27FC236}">
                    <a16:creationId xmlns:a16="http://schemas.microsoft.com/office/drawing/2014/main" id="{73123E05-A839-798B-B5FC-033B7F00F85B}"/>
                  </a:ext>
                </a:extLst>
              </p:cNvPr>
              <p:cNvGrpSpPr/>
              <p:nvPr/>
            </p:nvGrpSpPr>
            <p:grpSpPr>
              <a:xfrm>
                <a:off x="6061121" y="1359924"/>
                <a:ext cx="128487" cy="396366"/>
                <a:chOff x="6061121" y="1359924"/>
                <a:chExt cx="128487" cy="396366"/>
              </a:xfrm>
              <a:noFill/>
            </p:grpSpPr>
            <p:sp>
              <p:nvSpPr>
                <p:cNvPr id="31" name="Forma livre: Forma 30">
                  <a:extLst>
                    <a:ext uri="{FF2B5EF4-FFF2-40B4-BE49-F238E27FC236}">
                      <a16:creationId xmlns:a16="http://schemas.microsoft.com/office/drawing/2014/main" id="{450515EB-0CCA-F188-4458-36CF131536A7}"/>
                    </a:ext>
                  </a:extLst>
                </p:cNvPr>
                <p:cNvSpPr/>
                <p:nvPr/>
              </p:nvSpPr>
              <p:spPr>
                <a:xfrm>
                  <a:off x="6083891" y="1359924"/>
                  <a:ext cx="105717" cy="396366"/>
                </a:xfrm>
                <a:custGeom>
                  <a:avLst/>
                  <a:gdLst>
                    <a:gd name="connsiteX0" fmla="*/ 52891 w 105717"/>
                    <a:gd name="connsiteY0" fmla="*/ 105718 h 396366"/>
                    <a:gd name="connsiteX1" fmla="*/ 0 w 105717"/>
                    <a:gd name="connsiteY1" fmla="*/ 52891 h 396366"/>
                    <a:gd name="connsiteX2" fmla="*/ 52891 w 105717"/>
                    <a:gd name="connsiteY2" fmla="*/ 0 h 396366"/>
                    <a:gd name="connsiteX3" fmla="*/ 105718 w 105717"/>
                    <a:gd name="connsiteY3" fmla="*/ 52826 h 396366"/>
                    <a:gd name="connsiteX4" fmla="*/ 105718 w 105717"/>
                    <a:gd name="connsiteY4" fmla="*/ 346884 h 396366"/>
                    <a:gd name="connsiteX5" fmla="*/ 80606 w 105717"/>
                    <a:gd name="connsiteY5" fmla="*/ 388911 h 396366"/>
                    <a:gd name="connsiteX6" fmla="*/ 9238 w 105717"/>
                    <a:gd name="connsiteY6" fmla="*/ 371150 h 396366"/>
                    <a:gd name="connsiteX7" fmla="*/ 15484 w 105717"/>
                    <a:gd name="connsiteY7" fmla="*/ 309216 h 396366"/>
                    <a:gd name="connsiteX8" fmla="*/ 45019 w 105717"/>
                    <a:gd name="connsiteY8" fmla="*/ 277078 h 39636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105717" h="396366">
                      <a:moveTo>
                        <a:pt x="52891" y="105718"/>
                      </a:moveTo>
                      <a:cubicBezTo>
                        <a:pt x="23681" y="105718"/>
                        <a:pt x="0" y="82037"/>
                        <a:pt x="0" y="52891"/>
                      </a:cubicBezTo>
                      <a:cubicBezTo>
                        <a:pt x="0" y="23746"/>
                        <a:pt x="23681" y="0"/>
                        <a:pt x="52891" y="0"/>
                      </a:cubicBezTo>
                      <a:cubicBezTo>
                        <a:pt x="82102" y="0"/>
                        <a:pt x="105718" y="23681"/>
                        <a:pt x="105718" y="52826"/>
                      </a:cubicBezTo>
                      <a:lnTo>
                        <a:pt x="105718" y="346884"/>
                      </a:lnTo>
                      <a:cubicBezTo>
                        <a:pt x="105718" y="364580"/>
                        <a:pt x="96414" y="379413"/>
                        <a:pt x="80606" y="388911"/>
                      </a:cubicBezTo>
                      <a:cubicBezTo>
                        <a:pt x="55949" y="403744"/>
                        <a:pt x="24006" y="395742"/>
                        <a:pt x="9238" y="371150"/>
                      </a:cubicBezTo>
                      <a:cubicBezTo>
                        <a:pt x="-2928" y="350918"/>
                        <a:pt x="260" y="325741"/>
                        <a:pt x="15484" y="309216"/>
                      </a:cubicBezTo>
                      <a:lnTo>
                        <a:pt x="45019" y="277078"/>
                      </a:lnTo>
                    </a:path>
                  </a:pathLst>
                </a:custGeom>
                <a:noFill/>
                <a:ln w="19050" cap="sq">
                  <a:solidFill>
                    <a:srgbClr val="00FF94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32" name="Forma livre: Forma 31">
                  <a:extLst>
                    <a:ext uri="{FF2B5EF4-FFF2-40B4-BE49-F238E27FC236}">
                      <a16:creationId xmlns:a16="http://schemas.microsoft.com/office/drawing/2014/main" id="{19BE2F13-D53D-29E9-9DA7-BDDB0147D23E}"/>
                    </a:ext>
                  </a:extLst>
                </p:cNvPr>
                <p:cNvSpPr/>
                <p:nvPr/>
              </p:nvSpPr>
              <p:spPr>
                <a:xfrm>
                  <a:off x="6144784" y="1383865"/>
                  <a:ext cx="41563" cy="38963"/>
                </a:xfrm>
                <a:custGeom>
                  <a:avLst/>
                  <a:gdLst>
                    <a:gd name="connsiteX0" fmla="*/ 36172 w 41563"/>
                    <a:gd name="connsiteY0" fmla="*/ 0 h 38963"/>
                    <a:gd name="connsiteX1" fmla="*/ 39425 w 41563"/>
                    <a:gd name="connsiteY1" fmla="*/ 24266 h 38963"/>
                    <a:gd name="connsiteX2" fmla="*/ 36432 w 41563"/>
                    <a:gd name="connsiteY2" fmla="*/ 29080 h 38963"/>
                    <a:gd name="connsiteX3" fmla="*/ 0 w 41563"/>
                    <a:gd name="connsiteY3" fmla="*/ 33439 h 3896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1563" h="38963">
                      <a:moveTo>
                        <a:pt x="36172" y="0"/>
                      </a:moveTo>
                      <a:cubicBezTo>
                        <a:pt x="41571" y="7547"/>
                        <a:pt x="43393" y="16004"/>
                        <a:pt x="39425" y="24266"/>
                      </a:cubicBezTo>
                      <a:cubicBezTo>
                        <a:pt x="38644" y="25893"/>
                        <a:pt x="37603" y="27519"/>
                        <a:pt x="36432" y="29080"/>
                      </a:cubicBezTo>
                      <a:cubicBezTo>
                        <a:pt x="27584" y="40270"/>
                        <a:pt x="11190" y="42287"/>
                        <a:pt x="0" y="33439"/>
                      </a:cubicBezTo>
                    </a:path>
                  </a:pathLst>
                </a:custGeom>
                <a:noFill/>
                <a:ln w="19050" cap="sq">
                  <a:solidFill>
                    <a:srgbClr val="00FF94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33" name="Forma livre: Forma 32">
                  <a:extLst>
                    <a:ext uri="{FF2B5EF4-FFF2-40B4-BE49-F238E27FC236}">
                      <a16:creationId xmlns:a16="http://schemas.microsoft.com/office/drawing/2014/main" id="{1668B5B3-8E95-4376-C8F3-299F7D6E7954}"/>
                    </a:ext>
                  </a:extLst>
                </p:cNvPr>
                <p:cNvSpPr/>
                <p:nvPr/>
              </p:nvSpPr>
              <p:spPr>
                <a:xfrm>
                  <a:off x="6081487" y="1460806"/>
                  <a:ext cx="34217" cy="54474"/>
                </a:xfrm>
                <a:custGeom>
                  <a:avLst/>
                  <a:gdLst>
                    <a:gd name="connsiteX0" fmla="*/ 21076 w 34217"/>
                    <a:gd name="connsiteY0" fmla="*/ 54475 h 54474"/>
                    <a:gd name="connsiteX1" fmla="*/ 778 w 34217"/>
                    <a:gd name="connsiteY1" fmla="*/ 21035 h 54474"/>
                    <a:gd name="connsiteX2" fmla="*/ 34217 w 34217"/>
                    <a:gd name="connsiteY2" fmla="*/ 803 h 544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34217" h="54474">
                      <a:moveTo>
                        <a:pt x="21076" y="54475"/>
                      </a:moveTo>
                      <a:cubicBezTo>
                        <a:pt x="6308" y="50832"/>
                        <a:pt x="-2800" y="35803"/>
                        <a:pt x="778" y="21035"/>
                      </a:cubicBezTo>
                      <a:cubicBezTo>
                        <a:pt x="4421" y="6267"/>
                        <a:pt x="19449" y="-2841"/>
                        <a:pt x="34217" y="803"/>
                      </a:cubicBezTo>
                    </a:path>
                  </a:pathLst>
                </a:custGeom>
                <a:noFill/>
                <a:ln w="19050" cap="sq">
                  <a:solidFill>
                    <a:srgbClr val="00FF94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34" name="Forma livre: Forma 33">
                  <a:extLst>
                    <a:ext uri="{FF2B5EF4-FFF2-40B4-BE49-F238E27FC236}">
                      <a16:creationId xmlns:a16="http://schemas.microsoft.com/office/drawing/2014/main" id="{2B259635-5B18-D620-F29B-DD4106EF9B2B}"/>
                    </a:ext>
                  </a:extLst>
                </p:cNvPr>
                <p:cNvSpPr/>
                <p:nvPr/>
              </p:nvSpPr>
              <p:spPr>
                <a:xfrm>
                  <a:off x="6073547" y="1527543"/>
                  <a:ext cx="114760" cy="72506"/>
                </a:xfrm>
                <a:custGeom>
                  <a:avLst/>
                  <a:gdLst>
                    <a:gd name="connsiteX0" fmla="*/ 114760 w 114760"/>
                    <a:gd name="connsiteY0" fmla="*/ 7254 h 72506"/>
                    <a:gd name="connsiteX1" fmla="*/ 73905 w 114760"/>
                    <a:gd name="connsiteY1" fmla="*/ 8881 h 72506"/>
                    <a:gd name="connsiteX2" fmla="*/ 0 w 114760"/>
                    <a:gd name="connsiteY2" fmla="*/ 72506 h 7250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14760" h="72506">
                      <a:moveTo>
                        <a:pt x="114760" y="7254"/>
                      </a:moveTo>
                      <a:cubicBezTo>
                        <a:pt x="103375" y="-2830"/>
                        <a:pt x="83989" y="-2504"/>
                        <a:pt x="73905" y="8881"/>
                      </a:cubicBezTo>
                      <a:cubicBezTo>
                        <a:pt x="73905" y="8881"/>
                        <a:pt x="31488" y="72506"/>
                        <a:pt x="0" y="72506"/>
                      </a:cubicBezTo>
                    </a:path>
                  </a:pathLst>
                </a:custGeom>
                <a:noFill/>
                <a:ln w="19050" cap="sq">
                  <a:solidFill>
                    <a:srgbClr val="00FF94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35" name="Forma livre: Forma 34">
                  <a:extLst>
                    <a:ext uri="{FF2B5EF4-FFF2-40B4-BE49-F238E27FC236}">
                      <a16:creationId xmlns:a16="http://schemas.microsoft.com/office/drawing/2014/main" id="{D031E32C-C0B9-A42F-29AB-5043808D9AB4}"/>
                    </a:ext>
                  </a:extLst>
                </p:cNvPr>
                <p:cNvSpPr/>
                <p:nvPr/>
              </p:nvSpPr>
              <p:spPr>
                <a:xfrm>
                  <a:off x="6079857" y="1646956"/>
                  <a:ext cx="29405" cy="9823"/>
                </a:xfrm>
                <a:custGeom>
                  <a:avLst/>
                  <a:gdLst>
                    <a:gd name="connsiteX0" fmla="*/ 0 w 29405"/>
                    <a:gd name="connsiteY0" fmla="*/ 0 h 9823"/>
                    <a:gd name="connsiteX1" fmla="*/ 29406 w 29405"/>
                    <a:gd name="connsiteY1" fmla="*/ 9824 h 982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9405" h="9823">
                      <a:moveTo>
                        <a:pt x="0" y="0"/>
                      </a:moveTo>
                      <a:lnTo>
                        <a:pt x="29406" y="9824"/>
                      </a:lnTo>
                    </a:path>
                  </a:pathLst>
                </a:custGeom>
                <a:ln w="19050" cap="sq">
                  <a:solidFill>
                    <a:srgbClr val="00FF94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36" name="Forma livre: Forma 35">
                  <a:extLst>
                    <a:ext uri="{FF2B5EF4-FFF2-40B4-BE49-F238E27FC236}">
                      <a16:creationId xmlns:a16="http://schemas.microsoft.com/office/drawing/2014/main" id="{F0DA6D07-6D90-5C95-DDD9-E811A2EF6654}"/>
                    </a:ext>
                  </a:extLst>
                </p:cNvPr>
                <p:cNvSpPr/>
                <p:nvPr/>
              </p:nvSpPr>
              <p:spPr>
                <a:xfrm>
                  <a:off x="6061121" y="1545272"/>
                  <a:ext cx="47166" cy="34154"/>
                </a:xfrm>
                <a:custGeom>
                  <a:avLst/>
                  <a:gdLst>
                    <a:gd name="connsiteX0" fmla="*/ 0 w 47166"/>
                    <a:gd name="connsiteY0" fmla="*/ 0 h 34154"/>
                    <a:gd name="connsiteX1" fmla="*/ 47166 w 47166"/>
                    <a:gd name="connsiteY1" fmla="*/ 34155 h 3415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7166" h="34154">
                      <a:moveTo>
                        <a:pt x="0" y="0"/>
                      </a:moveTo>
                      <a:cubicBezTo>
                        <a:pt x="0" y="0"/>
                        <a:pt x="27649" y="13011"/>
                        <a:pt x="47166" y="34155"/>
                      </a:cubicBezTo>
                    </a:path>
                  </a:pathLst>
                </a:custGeom>
                <a:noFill/>
                <a:ln w="19050" cap="sq">
                  <a:solidFill>
                    <a:srgbClr val="00FF94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17" name="Gráfico 32">
                <a:extLst>
                  <a:ext uri="{FF2B5EF4-FFF2-40B4-BE49-F238E27FC236}">
                    <a16:creationId xmlns:a16="http://schemas.microsoft.com/office/drawing/2014/main" id="{0326BBE6-96D4-39FF-D139-FEDA76C022C3}"/>
                  </a:ext>
                </a:extLst>
              </p:cNvPr>
              <p:cNvGrpSpPr/>
              <p:nvPr/>
            </p:nvGrpSpPr>
            <p:grpSpPr>
              <a:xfrm>
                <a:off x="6191625" y="1599725"/>
                <a:ext cx="173767" cy="157112"/>
                <a:chOff x="6191625" y="1599725"/>
                <a:chExt cx="173767" cy="157112"/>
              </a:xfrm>
              <a:noFill/>
            </p:grpSpPr>
            <p:sp>
              <p:nvSpPr>
                <p:cNvPr id="27" name="Forma livre: Forma 26">
                  <a:extLst>
                    <a:ext uri="{FF2B5EF4-FFF2-40B4-BE49-F238E27FC236}">
                      <a16:creationId xmlns:a16="http://schemas.microsoft.com/office/drawing/2014/main" id="{26F433A6-90A3-C0EA-8BE1-BEA770323D2D}"/>
                    </a:ext>
                  </a:extLst>
                </p:cNvPr>
                <p:cNvSpPr/>
                <p:nvPr/>
              </p:nvSpPr>
              <p:spPr>
                <a:xfrm>
                  <a:off x="6310094" y="1621974"/>
                  <a:ext cx="55298" cy="55298"/>
                </a:xfrm>
                <a:custGeom>
                  <a:avLst/>
                  <a:gdLst>
                    <a:gd name="connsiteX0" fmla="*/ 55298 w 55298"/>
                    <a:gd name="connsiteY0" fmla="*/ 27649 h 55298"/>
                    <a:gd name="connsiteX1" fmla="*/ 27649 w 55298"/>
                    <a:gd name="connsiteY1" fmla="*/ 55298 h 55298"/>
                    <a:gd name="connsiteX2" fmla="*/ 0 w 55298"/>
                    <a:gd name="connsiteY2" fmla="*/ 27649 h 55298"/>
                    <a:gd name="connsiteX3" fmla="*/ 27649 w 55298"/>
                    <a:gd name="connsiteY3" fmla="*/ 0 h 55298"/>
                    <a:gd name="connsiteX4" fmla="*/ 55298 w 55298"/>
                    <a:gd name="connsiteY4" fmla="*/ 27649 h 552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5298" h="55298">
                      <a:moveTo>
                        <a:pt x="55298" y="27649"/>
                      </a:moveTo>
                      <a:cubicBezTo>
                        <a:pt x="55298" y="42938"/>
                        <a:pt x="42938" y="55298"/>
                        <a:pt x="27649" y="55298"/>
                      </a:cubicBezTo>
                      <a:cubicBezTo>
                        <a:pt x="12361" y="55298"/>
                        <a:pt x="0" y="42938"/>
                        <a:pt x="0" y="27649"/>
                      </a:cubicBezTo>
                      <a:cubicBezTo>
                        <a:pt x="0" y="12361"/>
                        <a:pt x="12361" y="0"/>
                        <a:pt x="27649" y="0"/>
                      </a:cubicBezTo>
                      <a:cubicBezTo>
                        <a:pt x="42938" y="0"/>
                        <a:pt x="55298" y="12361"/>
                        <a:pt x="55298" y="27649"/>
                      </a:cubicBezTo>
                      <a:close/>
                    </a:path>
                  </a:pathLst>
                </a:custGeom>
                <a:noFill/>
                <a:ln w="19050" cap="sq">
                  <a:solidFill>
                    <a:srgbClr val="00FF94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8" name="Forma livre: Forma 27">
                  <a:extLst>
                    <a:ext uri="{FF2B5EF4-FFF2-40B4-BE49-F238E27FC236}">
                      <a16:creationId xmlns:a16="http://schemas.microsoft.com/office/drawing/2014/main" id="{1100580B-95D2-F787-1E2C-2F3B81DC86B1}"/>
                    </a:ext>
                  </a:extLst>
                </p:cNvPr>
                <p:cNvSpPr/>
                <p:nvPr/>
              </p:nvSpPr>
              <p:spPr>
                <a:xfrm>
                  <a:off x="6191625" y="1599725"/>
                  <a:ext cx="118078" cy="49898"/>
                </a:xfrm>
                <a:custGeom>
                  <a:avLst/>
                  <a:gdLst>
                    <a:gd name="connsiteX0" fmla="*/ 0 w 118078"/>
                    <a:gd name="connsiteY0" fmla="*/ 0 h 49898"/>
                    <a:gd name="connsiteX1" fmla="*/ 37343 w 118078"/>
                    <a:gd name="connsiteY1" fmla="*/ 0 h 49898"/>
                    <a:gd name="connsiteX2" fmla="*/ 87176 w 118078"/>
                    <a:gd name="connsiteY2" fmla="*/ 49899 h 49898"/>
                    <a:gd name="connsiteX3" fmla="*/ 118078 w 118078"/>
                    <a:gd name="connsiteY3" fmla="*/ 49899 h 498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18078" h="49898">
                      <a:moveTo>
                        <a:pt x="0" y="0"/>
                      </a:moveTo>
                      <a:lnTo>
                        <a:pt x="37343" y="0"/>
                      </a:lnTo>
                      <a:lnTo>
                        <a:pt x="87176" y="49899"/>
                      </a:lnTo>
                      <a:lnTo>
                        <a:pt x="118078" y="49899"/>
                      </a:lnTo>
                    </a:path>
                  </a:pathLst>
                </a:custGeom>
                <a:noFill/>
                <a:ln w="19050" cap="sq">
                  <a:solidFill>
                    <a:srgbClr val="00FF94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9" name="Forma livre: Forma 28">
                  <a:extLst>
                    <a:ext uri="{FF2B5EF4-FFF2-40B4-BE49-F238E27FC236}">
                      <a16:creationId xmlns:a16="http://schemas.microsoft.com/office/drawing/2014/main" id="{E1592575-D934-4F38-AB39-6287F4AA60E0}"/>
                    </a:ext>
                  </a:extLst>
                </p:cNvPr>
                <p:cNvSpPr/>
                <p:nvPr/>
              </p:nvSpPr>
              <p:spPr>
                <a:xfrm>
                  <a:off x="6191625" y="1665367"/>
                  <a:ext cx="81906" cy="44108"/>
                </a:xfrm>
                <a:custGeom>
                  <a:avLst/>
                  <a:gdLst>
                    <a:gd name="connsiteX0" fmla="*/ 0 w 81906"/>
                    <a:gd name="connsiteY0" fmla="*/ 0 h 44108"/>
                    <a:gd name="connsiteX1" fmla="*/ 37343 w 81906"/>
                    <a:gd name="connsiteY1" fmla="*/ 0 h 44108"/>
                    <a:gd name="connsiteX2" fmla="*/ 81907 w 81906"/>
                    <a:gd name="connsiteY2" fmla="*/ 44109 h 4410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81906" h="44108">
                      <a:moveTo>
                        <a:pt x="0" y="0"/>
                      </a:moveTo>
                      <a:lnTo>
                        <a:pt x="37343" y="0"/>
                      </a:lnTo>
                      <a:lnTo>
                        <a:pt x="81907" y="44109"/>
                      </a:lnTo>
                    </a:path>
                  </a:pathLst>
                </a:custGeom>
                <a:noFill/>
                <a:ln w="19050" cap="sq">
                  <a:solidFill>
                    <a:srgbClr val="00FF94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30" name="Forma livre: Forma 29">
                  <a:extLst>
                    <a:ext uri="{FF2B5EF4-FFF2-40B4-BE49-F238E27FC236}">
                      <a16:creationId xmlns:a16="http://schemas.microsoft.com/office/drawing/2014/main" id="{561D3109-99E6-2F14-9456-13D37A4F1319}"/>
                    </a:ext>
                  </a:extLst>
                </p:cNvPr>
                <p:cNvSpPr/>
                <p:nvPr/>
              </p:nvSpPr>
              <p:spPr>
                <a:xfrm>
                  <a:off x="6265075" y="1701539"/>
                  <a:ext cx="55298" cy="55298"/>
                </a:xfrm>
                <a:custGeom>
                  <a:avLst/>
                  <a:gdLst>
                    <a:gd name="connsiteX0" fmla="*/ 55298 w 55298"/>
                    <a:gd name="connsiteY0" fmla="*/ 27649 h 55298"/>
                    <a:gd name="connsiteX1" fmla="*/ 27649 w 55298"/>
                    <a:gd name="connsiteY1" fmla="*/ 55298 h 55298"/>
                    <a:gd name="connsiteX2" fmla="*/ 0 w 55298"/>
                    <a:gd name="connsiteY2" fmla="*/ 27649 h 55298"/>
                    <a:gd name="connsiteX3" fmla="*/ 27649 w 55298"/>
                    <a:gd name="connsiteY3" fmla="*/ 0 h 55298"/>
                    <a:gd name="connsiteX4" fmla="*/ 55298 w 55298"/>
                    <a:gd name="connsiteY4" fmla="*/ 27649 h 552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5298" h="55298">
                      <a:moveTo>
                        <a:pt x="55298" y="27649"/>
                      </a:moveTo>
                      <a:cubicBezTo>
                        <a:pt x="55298" y="42938"/>
                        <a:pt x="42938" y="55298"/>
                        <a:pt x="27649" y="55298"/>
                      </a:cubicBezTo>
                      <a:cubicBezTo>
                        <a:pt x="12361" y="55298"/>
                        <a:pt x="0" y="42938"/>
                        <a:pt x="0" y="27649"/>
                      </a:cubicBezTo>
                      <a:cubicBezTo>
                        <a:pt x="0" y="12361"/>
                        <a:pt x="12361" y="0"/>
                        <a:pt x="27649" y="0"/>
                      </a:cubicBezTo>
                      <a:cubicBezTo>
                        <a:pt x="42938" y="0"/>
                        <a:pt x="55298" y="12361"/>
                        <a:pt x="55298" y="27649"/>
                      </a:cubicBezTo>
                      <a:close/>
                    </a:path>
                  </a:pathLst>
                </a:custGeom>
                <a:noFill/>
                <a:ln w="19050" cap="sq">
                  <a:solidFill>
                    <a:srgbClr val="00FF94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18" name="Gráfico 32">
                <a:extLst>
                  <a:ext uri="{FF2B5EF4-FFF2-40B4-BE49-F238E27FC236}">
                    <a16:creationId xmlns:a16="http://schemas.microsoft.com/office/drawing/2014/main" id="{A2CF747C-E95B-36ED-1C05-3E58AB6E43EE}"/>
                  </a:ext>
                </a:extLst>
              </p:cNvPr>
              <p:cNvGrpSpPr/>
              <p:nvPr/>
            </p:nvGrpSpPr>
            <p:grpSpPr>
              <a:xfrm>
                <a:off x="6191625" y="1357908"/>
                <a:ext cx="173767" cy="157112"/>
                <a:chOff x="6191625" y="1357908"/>
                <a:chExt cx="173767" cy="157112"/>
              </a:xfrm>
              <a:noFill/>
            </p:grpSpPr>
            <p:sp>
              <p:nvSpPr>
                <p:cNvPr id="23" name="Forma livre: Forma 22">
                  <a:extLst>
                    <a:ext uri="{FF2B5EF4-FFF2-40B4-BE49-F238E27FC236}">
                      <a16:creationId xmlns:a16="http://schemas.microsoft.com/office/drawing/2014/main" id="{495CABAE-0012-57A2-8BB8-7FF5B9C2BB69}"/>
                    </a:ext>
                  </a:extLst>
                </p:cNvPr>
                <p:cNvSpPr/>
                <p:nvPr/>
              </p:nvSpPr>
              <p:spPr>
                <a:xfrm>
                  <a:off x="6310094" y="1437472"/>
                  <a:ext cx="55298" cy="55298"/>
                </a:xfrm>
                <a:custGeom>
                  <a:avLst/>
                  <a:gdLst>
                    <a:gd name="connsiteX0" fmla="*/ 55298 w 55298"/>
                    <a:gd name="connsiteY0" fmla="*/ 27649 h 55298"/>
                    <a:gd name="connsiteX1" fmla="*/ 27649 w 55298"/>
                    <a:gd name="connsiteY1" fmla="*/ 0 h 55298"/>
                    <a:gd name="connsiteX2" fmla="*/ 0 w 55298"/>
                    <a:gd name="connsiteY2" fmla="*/ 27649 h 55298"/>
                    <a:gd name="connsiteX3" fmla="*/ 27649 w 55298"/>
                    <a:gd name="connsiteY3" fmla="*/ 55298 h 55298"/>
                    <a:gd name="connsiteX4" fmla="*/ 55298 w 55298"/>
                    <a:gd name="connsiteY4" fmla="*/ 27649 h 552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5298" h="55298">
                      <a:moveTo>
                        <a:pt x="55298" y="27649"/>
                      </a:moveTo>
                      <a:cubicBezTo>
                        <a:pt x="55298" y="12361"/>
                        <a:pt x="42938" y="0"/>
                        <a:pt x="27649" y="0"/>
                      </a:cubicBezTo>
                      <a:cubicBezTo>
                        <a:pt x="12361" y="0"/>
                        <a:pt x="0" y="12361"/>
                        <a:pt x="0" y="27649"/>
                      </a:cubicBezTo>
                      <a:cubicBezTo>
                        <a:pt x="0" y="42938"/>
                        <a:pt x="12361" y="55298"/>
                        <a:pt x="27649" y="55298"/>
                      </a:cubicBezTo>
                      <a:cubicBezTo>
                        <a:pt x="42938" y="55298"/>
                        <a:pt x="55298" y="42938"/>
                        <a:pt x="55298" y="27649"/>
                      </a:cubicBezTo>
                      <a:close/>
                    </a:path>
                  </a:pathLst>
                </a:custGeom>
                <a:noFill/>
                <a:ln w="19050" cap="sq">
                  <a:solidFill>
                    <a:srgbClr val="00FF94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4" name="Forma livre: Forma 23">
                  <a:extLst>
                    <a:ext uri="{FF2B5EF4-FFF2-40B4-BE49-F238E27FC236}">
                      <a16:creationId xmlns:a16="http://schemas.microsoft.com/office/drawing/2014/main" id="{340816D6-56A2-1B10-06D5-029516BD69DD}"/>
                    </a:ext>
                  </a:extLst>
                </p:cNvPr>
                <p:cNvSpPr/>
                <p:nvPr/>
              </p:nvSpPr>
              <p:spPr>
                <a:xfrm>
                  <a:off x="6191625" y="1465122"/>
                  <a:ext cx="118468" cy="49898"/>
                </a:xfrm>
                <a:custGeom>
                  <a:avLst/>
                  <a:gdLst>
                    <a:gd name="connsiteX0" fmla="*/ 0 w 118468"/>
                    <a:gd name="connsiteY0" fmla="*/ 49899 h 49898"/>
                    <a:gd name="connsiteX1" fmla="*/ 37343 w 118468"/>
                    <a:gd name="connsiteY1" fmla="*/ 49899 h 49898"/>
                    <a:gd name="connsiteX2" fmla="*/ 87176 w 118468"/>
                    <a:gd name="connsiteY2" fmla="*/ 0 h 49898"/>
                    <a:gd name="connsiteX3" fmla="*/ 118469 w 118468"/>
                    <a:gd name="connsiteY3" fmla="*/ 0 h 498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18468" h="49898">
                      <a:moveTo>
                        <a:pt x="0" y="49899"/>
                      </a:moveTo>
                      <a:lnTo>
                        <a:pt x="37343" y="49899"/>
                      </a:lnTo>
                      <a:lnTo>
                        <a:pt x="87176" y="0"/>
                      </a:lnTo>
                      <a:lnTo>
                        <a:pt x="118469" y="0"/>
                      </a:lnTo>
                    </a:path>
                  </a:pathLst>
                </a:custGeom>
                <a:noFill/>
                <a:ln w="19050" cap="sq">
                  <a:solidFill>
                    <a:srgbClr val="00FF94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5" name="Forma livre: Forma 24">
                  <a:extLst>
                    <a:ext uri="{FF2B5EF4-FFF2-40B4-BE49-F238E27FC236}">
                      <a16:creationId xmlns:a16="http://schemas.microsoft.com/office/drawing/2014/main" id="{DBE36892-9720-7403-82F8-3E7C89A127A3}"/>
                    </a:ext>
                  </a:extLst>
                </p:cNvPr>
                <p:cNvSpPr/>
                <p:nvPr/>
              </p:nvSpPr>
              <p:spPr>
                <a:xfrm>
                  <a:off x="6191625" y="1405269"/>
                  <a:ext cx="81451" cy="44043"/>
                </a:xfrm>
                <a:custGeom>
                  <a:avLst/>
                  <a:gdLst>
                    <a:gd name="connsiteX0" fmla="*/ 0 w 81451"/>
                    <a:gd name="connsiteY0" fmla="*/ 44044 h 44043"/>
                    <a:gd name="connsiteX1" fmla="*/ 37343 w 81451"/>
                    <a:gd name="connsiteY1" fmla="*/ 44044 h 44043"/>
                    <a:gd name="connsiteX2" fmla="*/ 81451 w 81451"/>
                    <a:gd name="connsiteY2" fmla="*/ 0 h 4404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81451" h="44043">
                      <a:moveTo>
                        <a:pt x="0" y="44044"/>
                      </a:moveTo>
                      <a:lnTo>
                        <a:pt x="37343" y="44044"/>
                      </a:lnTo>
                      <a:lnTo>
                        <a:pt x="81451" y="0"/>
                      </a:lnTo>
                    </a:path>
                  </a:pathLst>
                </a:custGeom>
                <a:noFill/>
                <a:ln w="19050" cap="sq">
                  <a:solidFill>
                    <a:srgbClr val="00FF94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6" name="Forma livre: Forma 25">
                  <a:extLst>
                    <a:ext uri="{FF2B5EF4-FFF2-40B4-BE49-F238E27FC236}">
                      <a16:creationId xmlns:a16="http://schemas.microsoft.com/office/drawing/2014/main" id="{0BA2F9EF-84E0-577F-F6CC-889BF7598D42}"/>
                    </a:ext>
                  </a:extLst>
                </p:cNvPr>
                <p:cNvSpPr/>
                <p:nvPr/>
              </p:nvSpPr>
              <p:spPr>
                <a:xfrm>
                  <a:off x="6265075" y="1357908"/>
                  <a:ext cx="55298" cy="55298"/>
                </a:xfrm>
                <a:custGeom>
                  <a:avLst/>
                  <a:gdLst>
                    <a:gd name="connsiteX0" fmla="*/ 55298 w 55298"/>
                    <a:gd name="connsiteY0" fmla="*/ 27649 h 55298"/>
                    <a:gd name="connsiteX1" fmla="*/ 27649 w 55298"/>
                    <a:gd name="connsiteY1" fmla="*/ 0 h 55298"/>
                    <a:gd name="connsiteX2" fmla="*/ 0 w 55298"/>
                    <a:gd name="connsiteY2" fmla="*/ 27649 h 55298"/>
                    <a:gd name="connsiteX3" fmla="*/ 27649 w 55298"/>
                    <a:gd name="connsiteY3" fmla="*/ 55298 h 55298"/>
                    <a:gd name="connsiteX4" fmla="*/ 55298 w 55298"/>
                    <a:gd name="connsiteY4" fmla="*/ 27649 h 552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5298" h="55298">
                      <a:moveTo>
                        <a:pt x="55298" y="27649"/>
                      </a:moveTo>
                      <a:cubicBezTo>
                        <a:pt x="55298" y="12361"/>
                        <a:pt x="42938" y="0"/>
                        <a:pt x="27649" y="0"/>
                      </a:cubicBezTo>
                      <a:cubicBezTo>
                        <a:pt x="12361" y="0"/>
                        <a:pt x="0" y="12361"/>
                        <a:pt x="0" y="27649"/>
                      </a:cubicBezTo>
                      <a:cubicBezTo>
                        <a:pt x="0" y="42938"/>
                        <a:pt x="12361" y="55298"/>
                        <a:pt x="27649" y="55298"/>
                      </a:cubicBezTo>
                      <a:cubicBezTo>
                        <a:pt x="42938" y="55298"/>
                        <a:pt x="55298" y="42938"/>
                        <a:pt x="55298" y="27649"/>
                      </a:cubicBezTo>
                      <a:close/>
                    </a:path>
                  </a:pathLst>
                </a:custGeom>
                <a:noFill/>
                <a:ln w="19050" cap="sq">
                  <a:solidFill>
                    <a:srgbClr val="00FF94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19" name="Gráfico 32">
                <a:extLst>
                  <a:ext uri="{FF2B5EF4-FFF2-40B4-BE49-F238E27FC236}">
                    <a16:creationId xmlns:a16="http://schemas.microsoft.com/office/drawing/2014/main" id="{79373E6A-7DE1-1F45-A397-7ABEAEE90EAC}"/>
                  </a:ext>
                </a:extLst>
              </p:cNvPr>
              <p:cNvGrpSpPr/>
              <p:nvPr/>
            </p:nvGrpSpPr>
            <p:grpSpPr>
              <a:xfrm>
                <a:off x="6190910" y="1529723"/>
                <a:ext cx="123673" cy="55298"/>
                <a:chOff x="6190910" y="1529723"/>
                <a:chExt cx="123673" cy="55298"/>
              </a:xfrm>
              <a:noFill/>
            </p:grpSpPr>
            <p:sp>
              <p:nvSpPr>
                <p:cNvPr id="21" name="Forma livre: Forma 20">
                  <a:extLst>
                    <a:ext uri="{FF2B5EF4-FFF2-40B4-BE49-F238E27FC236}">
                      <a16:creationId xmlns:a16="http://schemas.microsoft.com/office/drawing/2014/main" id="{E2FBC6DA-1FEE-D718-D9A9-4D7FD0B59B85}"/>
                    </a:ext>
                  </a:extLst>
                </p:cNvPr>
                <p:cNvSpPr/>
                <p:nvPr/>
              </p:nvSpPr>
              <p:spPr>
                <a:xfrm>
                  <a:off x="6190910" y="1557372"/>
                  <a:ext cx="68765" cy="6505"/>
                </a:xfrm>
                <a:custGeom>
                  <a:avLst/>
                  <a:gdLst>
                    <a:gd name="connsiteX0" fmla="*/ 0 w 68765"/>
                    <a:gd name="connsiteY0" fmla="*/ 0 h 6505"/>
                    <a:gd name="connsiteX1" fmla="*/ 68765 w 68765"/>
                    <a:gd name="connsiteY1" fmla="*/ 0 h 650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68765" h="6505">
                      <a:moveTo>
                        <a:pt x="0" y="0"/>
                      </a:moveTo>
                      <a:lnTo>
                        <a:pt x="68765" y="0"/>
                      </a:lnTo>
                    </a:path>
                  </a:pathLst>
                </a:custGeom>
                <a:ln w="19050" cap="sq">
                  <a:solidFill>
                    <a:srgbClr val="00FF94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2" name="Forma livre: Forma 21">
                  <a:extLst>
                    <a:ext uri="{FF2B5EF4-FFF2-40B4-BE49-F238E27FC236}">
                      <a16:creationId xmlns:a16="http://schemas.microsoft.com/office/drawing/2014/main" id="{8A35E332-1CA2-C1AA-787D-427DBA89E84B}"/>
                    </a:ext>
                  </a:extLst>
                </p:cNvPr>
                <p:cNvSpPr/>
                <p:nvPr/>
              </p:nvSpPr>
              <p:spPr>
                <a:xfrm>
                  <a:off x="6259285" y="1529723"/>
                  <a:ext cx="55298" cy="55298"/>
                </a:xfrm>
                <a:custGeom>
                  <a:avLst/>
                  <a:gdLst>
                    <a:gd name="connsiteX0" fmla="*/ 55298 w 55298"/>
                    <a:gd name="connsiteY0" fmla="*/ 27649 h 55298"/>
                    <a:gd name="connsiteX1" fmla="*/ 27649 w 55298"/>
                    <a:gd name="connsiteY1" fmla="*/ 55298 h 55298"/>
                    <a:gd name="connsiteX2" fmla="*/ 0 w 55298"/>
                    <a:gd name="connsiteY2" fmla="*/ 27649 h 55298"/>
                    <a:gd name="connsiteX3" fmla="*/ 27649 w 55298"/>
                    <a:gd name="connsiteY3" fmla="*/ 0 h 55298"/>
                    <a:gd name="connsiteX4" fmla="*/ 55298 w 55298"/>
                    <a:gd name="connsiteY4" fmla="*/ 27649 h 552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5298" h="55298">
                      <a:moveTo>
                        <a:pt x="55298" y="27649"/>
                      </a:moveTo>
                      <a:cubicBezTo>
                        <a:pt x="55298" y="42938"/>
                        <a:pt x="42938" y="55298"/>
                        <a:pt x="27649" y="55298"/>
                      </a:cubicBezTo>
                      <a:cubicBezTo>
                        <a:pt x="12361" y="55298"/>
                        <a:pt x="0" y="42938"/>
                        <a:pt x="0" y="27649"/>
                      </a:cubicBezTo>
                      <a:cubicBezTo>
                        <a:pt x="0" y="12361"/>
                        <a:pt x="12361" y="0"/>
                        <a:pt x="27649" y="0"/>
                      </a:cubicBezTo>
                      <a:cubicBezTo>
                        <a:pt x="42938" y="0"/>
                        <a:pt x="55298" y="12361"/>
                        <a:pt x="55298" y="27649"/>
                      </a:cubicBezTo>
                      <a:close/>
                    </a:path>
                  </a:pathLst>
                </a:custGeom>
                <a:noFill/>
                <a:ln w="19050" cap="sq">
                  <a:solidFill>
                    <a:srgbClr val="00FF94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20" name="Forma livre: Forma 19">
                <a:extLst>
                  <a:ext uri="{FF2B5EF4-FFF2-40B4-BE49-F238E27FC236}">
                    <a16:creationId xmlns:a16="http://schemas.microsoft.com/office/drawing/2014/main" id="{36B8D06B-091C-1828-797A-9BCDD1FBD155}"/>
                  </a:ext>
                </a:extLst>
              </p:cNvPr>
              <p:cNvSpPr/>
              <p:nvPr/>
            </p:nvSpPr>
            <p:spPr>
              <a:xfrm>
                <a:off x="6152201" y="1686285"/>
                <a:ext cx="37362" cy="20848"/>
              </a:xfrm>
              <a:custGeom>
                <a:avLst/>
                <a:gdLst>
                  <a:gd name="connsiteX0" fmla="*/ 0 w 37362"/>
                  <a:gd name="connsiteY0" fmla="*/ 10505 h 20848"/>
                  <a:gd name="connsiteX1" fmla="*/ 27064 w 37362"/>
                  <a:gd name="connsiteY1" fmla="*/ 2373 h 20848"/>
                  <a:gd name="connsiteX2" fmla="*/ 37343 w 37362"/>
                  <a:gd name="connsiteY2" fmla="*/ 20849 h 208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7362" h="20848">
                    <a:moveTo>
                      <a:pt x="0" y="10505"/>
                    </a:moveTo>
                    <a:cubicBezTo>
                      <a:pt x="5205" y="811"/>
                      <a:pt x="17435" y="-2832"/>
                      <a:pt x="27064" y="2373"/>
                    </a:cubicBezTo>
                    <a:cubicBezTo>
                      <a:pt x="34025" y="6081"/>
                      <a:pt x="37668" y="13432"/>
                      <a:pt x="37343" y="20849"/>
                    </a:cubicBezTo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12" name="Agrupar 111">
            <a:extLst>
              <a:ext uri="{FF2B5EF4-FFF2-40B4-BE49-F238E27FC236}">
                <a16:creationId xmlns:a16="http://schemas.microsoft.com/office/drawing/2014/main" id="{48CB8E47-C623-2407-2AED-D0D60EC359C1}"/>
              </a:ext>
            </a:extLst>
          </p:cNvPr>
          <p:cNvGrpSpPr/>
          <p:nvPr/>
        </p:nvGrpSpPr>
        <p:grpSpPr>
          <a:xfrm>
            <a:off x="7798493" y="3601015"/>
            <a:ext cx="524521" cy="524521"/>
            <a:chOff x="7798493" y="3601015"/>
            <a:chExt cx="524521" cy="524521"/>
          </a:xfrm>
        </p:grpSpPr>
        <p:sp>
          <p:nvSpPr>
            <p:cNvPr id="37" name="Oval 36">
              <a:extLst>
                <a:ext uri="{FF2B5EF4-FFF2-40B4-BE49-F238E27FC236}">
                  <a16:creationId xmlns:a16="http://schemas.microsoft.com/office/drawing/2014/main" id="{74F04576-833A-7592-3E17-438E86EF10DC}"/>
                </a:ext>
              </a:extLst>
            </p:cNvPr>
            <p:cNvSpPr/>
            <p:nvPr/>
          </p:nvSpPr>
          <p:spPr>
            <a:xfrm>
              <a:off x="7798493" y="3601015"/>
              <a:ext cx="524521" cy="524521"/>
            </a:xfrm>
            <a:prstGeom prst="ellipse">
              <a:avLst/>
            </a:prstGeom>
            <a:solidFill>
              <a:srgbClr val="132153"/>
            </a:solidFill>
            <a:ln w="42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38" name="Agrupar 37">
              <a:extLst>
                <a:ext uri="{FF2B5EF4-FFF2-40B4-BE49-F238E27FC236}">
                  <a16:creationId xmlns:a16="http://schemas.microsoft.com/office/drawing/2014/main" id="{87271DA9-479B-4DF0-F997-6F40E27908D1}"/>
                </a:ext>
              </a:extLst>
            </p:cNvPr>
            <p:cNvGrpSpPr/>
            <p:nvPr/>
          </p:nvGrpSpPr>
          <p:grpSpPr>
            <a:xfrm>
              <a:off x="7918149" y="3708001"/>
              <a:ext cx="283538" cy="309640"/>
              <a:chOff x="6000092" y="1357908"/>
              <a:chExt cx="365300" cy="398929"/>
            </a:xfrm>
          </p:grpSpPr>
          <p:sp>
            <p:nvSpPr>
              <p:cNvPr id="39" name="Forma livre: Forma 38">
                <a:extLst>
                  <a:ext uri="{FF2B5EF4-FFF2-40B4-BE49-F238E27FC236}">
                    <a16:creationId xmlns:a16="http://schemas.microsoft.com/office/drawing/2014/main" id="{45274DFA-DF39-999A-D547-687F40733225}"/>
                  </a:ext>
                </a:extLst>
              </p:cNvPr>
              <p:cNvSpPr/>
              <p:nvPr/>
            </p:nvSpPr>
            <p:spPr>
              <a:xfrm>
                <a:off x="6000092" y="1418606"/>
                <a:ext cx="84058" cy="286120"/>
              </a:xfrm>
              <a:custGeom>
                <a:avLst/>
                <a:gdLst>
                  <a:gd name="connsiteX0" fmla="*/ 51595 w 84058"/>
                  <a:gd name="connsiteY0" fmla="*/ 0 h 286120"/>
                  <a:gd name="connsiteX1" fmla="*/ 35266 w 84058"/>
                  <a:gd name="connsiteY1" fmla="*/ 61674 h 286120"/>
                  <a:gd name="connsiteX2" fmla="*/ 28760 w 84058"/>
                  <a:gd name="connsiteY2" fmla="*/ 193415 h 286120"/>
                  <a:gd name="connsiteX3" fmla="*/ 84059 w 84058"/>
                  <a:gd name="connsiteY3" fmla="*/ 286121 h 2861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4058" h="286120">
                    <a:moveTo>
                      <a:pt x="51595" y="0"/>
                    </a:moveTo>
                    <a:cubicBezTo>
                      <a:pt x="37868" y="7872"/>
                      <a:pt x="26028" y="24852"/>
                      <a:pt x="35266" y="61674"/>
                    </a:cubicBezTo>
                    <a:cubicBezTo>
                      <a:pt x="35266" y="61674"/>
                      <a:pt x="-39549" y="126731"/>
                      <a:pt x="28760" y="193415"/>
                    </a:cubicBezTo>
                    <a:cubicBezTo>
                      <a:pt x="28760" y="193415"/>
                      <a:pt x="9243" y="281242"/>
                      <a:pt x="84059" y="286121"/>
                    </a:cubicBezTo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40" name="Gráfico 32">
                <a:extLst>
                  <a:ext uri="{FF2B5EF4-FFF2-40B4-BE49-F238E27FC236}">
                    <a16:creationId xmlns:a16="http://schemas.microsoft.com/office/drawing/2014/main" id="{23296D8B-128D-6014-45C3-2A0B1CDFBB9D}"/>
                  </a:ext>
                </a:extLst>
              </p:cNvPr>
              <p:cNvGrpSpPr/>
              <p:nvPr/>
            </p:nvGrpSpPr>
            <p:grpSpPr>
              <a:xfrm>
                <a:off x="6061121" y="1359924"/>
                <a:ext cx="128487" cy="396366"/>
                <a:chOff x="6061121" y="1359924"/>
                <a:chExt cx="128487" cy="396366"/>
              </a:xfrm>
              <a:noFill/>
            </p:grpSpPr>
            <p:sp>
              <p:nvSpPr>
                <p:cNvPr id="55" name="Forma livre: Forma 54">
                  <a:extLst>
                    <a:ext uri="{FF2B5EF4-FFF2-40B4-BE49-F238E27FC236}">
                      <a16:creationId xmlns:a16="http://schemas.microsoft.com/office/drawing/2014/main" id="{9F8D649D-70F9-8E3F-50F5-79A10AC6C014}"/>
                    </a:ext>
                  </a:extLst>
                </p:cNvPr>
                <p:cNvSpPr/>
                <p:nvPr/>
              </p:nvSpPr>
              <p:spPr>
                <a:xfrm>
                  <a:off x="6083891" y="1359924"/>
                  <a:ext cx="105717" cy="396366"/>
                </a:xfrm>
                <a:custGeom>
                  <a:avLst/>
                  <a:gdLst>
                    <a:gd name="connsiteX0" fmla="*/ 52891 w 105717"/>
                    <a:gd name="connsiteY0" fmla="*/ 105718 h 396366"/>
                    <a:gd name="connsiteX1" fmla="*/ 0 w 105717"/>
                    <a:gd name="connsiteY1" fmla="*/ 52891 h 396366"/>
                    <a:gd name="connsiteX2" fmla="*/ 52891 w 105717"/>
                    <a:gd name="connsiteY2" fmla="*/ 0 h 396366"/>
                    <a:gd name="connsiteX3" fmla="*/ 105718 w 105717"/>
                    <a:gd name="connsiteY3" fmla="*/ 52826 h 396366"/>
                    <a:gd name="connsiteX4" fmla="*/ 105718 w 105717"/>
                    <a:gd name="connsiteY4" fmla="*/ 346884 h 396366"/>
                    <a:gd name="connsiteX5" fmla="*/ 80606 w 105717"/>
                    <a:gd name="connsiteY5" fmla="*/ 388911 h 396366"/>
                    <a:gd name="connsiteX6" fmla="*/ 9238 w 105717"/>
                    <a:gd name="connsiteY6" fmla="*/ 371150 h 396366"/>
                    <a:gd name="connsiteX7" fmla="*/ 15484 w 105717"/>
                    <a:gd name="connsiteY7" fmla="*/ 309216 h 396366"/>
                    <a:gd name="connsiteX8" fmla="*/ 45019 w 105717"/>
                    <a:gd name="connsiteY8" fmla="*/ 277078 h 39636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105717" h="396366">
                      <a:moveTo>
                        <a:pt x="52891" y="105718"/>
                      </a:moveTo>
                      <a:cubicBezTo>
                        <a:pt x="23681" y="105718"/>
                        <a:pt x="0" y="82037"/>
                        <a:pt x="0" y="52891"/>
                      </a:cubicBezTo>
                      <a:cubicBezTo>
                        <a:pt x="0" y="23746"/>
                        <a:pt x="23681" y="0"/>
                        <a:pt x="52891" y="0"/>
                      </a:cubicBezTo>
                      <a:cubicBezTo>
                        <a:pt x="82102" y="0"/>
                        <a:pt x="105718" y="23681"/>
                        <a:pt x="105718" y="52826"/>
                      </a:cubicBezTo>
                      <a:lnTo>
                        <a:pt x="105718" y="346884"/>
                      </a:lnTo>
                      <a:cubicBezTo>
                        <a:pt x="105718" y="364580"/>
                        <a:pt x="96414" y="379413"/>
                        <a:pt x="80606" y="388911"/>
                      </a:cubicBezTo>
                      <a:cubicBezTo>
                        <a:pt x="55949" y="403744"/>
                        <a:pt x="24006" y="395742"/>
                        <a:pt x="9238" y="371150"/>
                      </a:cubicBezTo>
                      <a:cubicBezTo>
                        <a:pt x="-2928" y="350918"/>
                        <a:pt x="260" y="325741"/>
                        <a:pt x="15484" y="309216"/>
                      </a:cubicBezTo>
                      <a:lnTo>
                        <a:pt x="45019" y="277078"/>
                      </a:lnTo>
                    </a:path>
                  </a:pathLst>
                </a:custGeom>
                <a:noFill/>
                <a:ln w="19050" cap="sq">
                  <a:solidFill>
                    <a:srgbClr val="00FF94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56" name="Forma livre: Forma 55">
                  <a:extLst>
                    <a:ext uri="{FF2B5EF4-FFF2-40B4-BE49-F238E27FC236}">
                      <a16:creationId xmlns:a16="http://schemas.microsoft.com/office/drawing/2014/main" id="{BCA75459-6DD3-E092-BEF7-141569CBF088}"/>
                    </a:ext>
                  </a:extLst>
                </p:cNvPr>
                <p:cNvSpPr/>
                <p:nvPr/>
              </p:nvSpPr>
              <p:spPr>
                <a:xfrm>
                  <a:off x="6144784" y="1383865"/>
                  <a:ext cx="41563" cy="38963"/>
                </a:xfrm>
                <a:custGeom>
                  <a:avLst/>
                  <a:gdLst>
                    <a:gd name="connsiteX0" fmla="*/ 36172 w 41563"/>
                    <a:gd name="connsiteY0" fmla="*/ 0 h 38963"/>
                    <a:gd name="connsiteX1" fmla="*/ 39425 w 41563"/>
                    <a:gd name="connsiteY1" fmla="*/ 24266 h 38963"/>
                    <a:gd name="connsiteX2" fmla="*/ 36432 w 41563"/>
                    <a:gd name="connsiteY2" fmla="*/ 29080 h 38963"/>
                    <a:gd name="connsiteX3" fmla="*/ 0 w 41563"/>
                    <a:gd name="connsiteY3" fmla="*/ 33439 h 3896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1563" h="38963">
                      <a:moveTo>
                        <a:pt x="36172" y="0"/>
                      </a:moveTo>
                      <a:cubicBezTo>
                        <a:pt x="41571" y="7547"/>
                        <a:pt x="43393" y="16004"/>
                        <a:pt x="39425" y="24266"/>
                      </a:cubicBezTo>
                      <a:cubicBezTo>
                        <a:pt x="38644" y="25893"/>
                        <a:pt x="37603" y="27519"/>
                        <a:pt x="36432" y="29080"/>
                      </a:cubicBezTo>
                      <a:cubicBezTo>
                        <a:pt x="27584" y="40270"/>
                        <a:pt x="11190" y="42287"/>
                        <a:pt x="0" y="33439"/>
                      </a:cubicBezTo>
                    </a:path>
                  </a:pathLst>
                </a:custGeom>
                <a:noFill/>
                <a:ln w="19050" cap="sq">
                  <a:solidFill>
                    <a:srgbClr val="00FF94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57" name="Forma livre: Forma 56">
                  <a:extLst>
                    <a:ext uri="{FF2B5EF4-FFF2-40B4-BE49-F238E27FC236}">
                      <a16:creationId xmlns:a16="http://schemas.microsoft.com/office/drawing/2014/main" id="{DA0F5399-4F2E-3DC9-6289-65FD43615C7F}"/>
                    </a:ext>
                  </a:extLst>
                </p:cNvPr>
                <p:cNvSpPr/>
                <p:nvPr/>
              </p:nvSpPr>
              <p:spPr>
                <a:xfrm>
                  <a:off x="6081487" y="1460806"/>
                  <a:ext cx="34217" cy="54474"/>
                </a:xfrm>
                <a:custGeom>
                  <a:avLst/>
                  <a:gdLst>
                    <a:gd name="connsiteX0" fmla="*/ 21076 w 34217"/>
                    <a:gd name="connsiteY0" fmla="*/ 54475 h 54474"/>
                    <a:gd name="connsiteX1" fmla="*/ 778 w 34217"/>
                    <a:gd name="connsiteY1" fmla="*/ 21035 h 54474"/>
                    <a:gd name="connsiteX2" fmla="*/ 34217 w 34217"/>
                    <a:gd name="connsiteY2" fmla="*/ 803 h 544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34217" h="54474">
                      <a:moveTo>
                        <a:pt x="21076" y="54475"/>
                      </a:moveTo>
                      <a:cubicBezTo>
                        <a:pt x="6308" y="50832"/>
                        <a:pt x="-2800" y="35803"/>
                        <a:pt x="778" y="21035"/>
                      </a:cubicBezTo>
                      <a:cubicBezTo>
                        <a:pt x="4421" y="6267"/>
                        <a:pt x="19449" y="-2841"/>
                        <a:pt x="34217" y="803"/>
                      </a:cubicBezTo>
                    </a:path>
                  </a:pathLst>
                </a:custGeom>
                <a:noFill/>
                <a:ln w="19050" cap="sq">
                  <a:solidFill>
                    <a:srgbClr val="00FF94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58" name="Forma livre: Forma 57">
                  <a:extLst>
                    <a:ext uri="{FF2B5EF4-FFF2-40B4-BE49-F238E27FC236}">
                      <a16:creationId xmlns:a16="http://schemas.microsoft.com/office/drawing/2014/main" id="{11984517-12DC-3852-F45F-F0EFE12F0190}"/>
                    </a:ext>
                  </a:extLst>
                </p:cNvPr>
                <p:cNvSpPr/>
                <p:nvPr/>
              </p:nvSpPr>
              <p:spPr>
                <a:xfrm>
                  <a:off x="6073547" y="1527543"/>
                  <a:ext cx="114760" cy="72506"/>
                </a:xfrm>
                <a:custGeom>
                  <a:avLst/>
                  <a:gdLst>
                    <a:gd name="connsiteX0" fmla="*/ 114760 w 114760"/>
                    <a:gd name="connsiteY0" fmla="*/ 7254 h 72506"/>
                    <a:gd name="connsiteX1" fmla="*/ 73905 w 114760"/>
                    <a:gd name="connsiteY1" fmla="*/ 8881 h 72506"/>
                    <a:gd name="connsiteX2" fmla="*/ 0 w 114760"/>
                    <a:gd name="connsiteY2" fmla="*/ 72506 h 7250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14760" h="72506">
                      <a:moveTo>
                        <a:pt x="114760" y="7254"/>
                      </a:moveTo>
                      <a:cubicBezTo>
                        <a:pt x="103375" y="-2830"/>
                        <a:pt x="83989" y="-2504"/>
                        <a:pt x="73905" y="8881"/>
                      </a:cubicBezTo>
                      <a:cubicBezTo>
                        <a:pt x="73905" y="8881"/>
                        <a:pt x="31488" y="72506"/>
                        <a:pt x="0" y="72506"/>
                      </a:cubicBezTo>
                    </a:path>
                  </a:pathLst>
                </a:custGeom>
                <a:noFill/>
                <a:ln w="19050" cap="sq">
                  <a:solidFill>
                    <a:srgbClr val="00FF94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59" name="Forma livre: Forma 58">
                  <a:extLst>
                    <a:ext uri="{FF2B5EF4-FFF2-40B4-BE49-F238E27FC236}">
                      <a16:creationId xmlns:a16="http://schemas.microsoft.com/office/drawing/2014/main" id="{DDD881AD-7FB9-905B-6143-701F6E9C3A56}"/>
                    </a:ext>
                  </a:extLst>
                </p:cNvPr>
                <p:cNvSpPr/>
                <p:nvPr/>
              </p:nvSpPr>
              <p:spPr>
                <a:xfrm>
                  <a:off x="6079857" y="1646956"/>
                  <a:ext cx="29405" cy="9823"/>
                </a:xfrm>
                <a:custGeom>
                  <a:avLst/>
                  <a:gdLst>
                    <a:gd name="connsiteX0" fmla="*/ 0 w 29405"/>
                    <a:gd name="connsiteY0" fmla="*/ 0 h 9823"/>
                    <a:gd name="connsiteX1" fmla="*/ 29406 w 29405"/>
                    <a:gd name="connsiteY1" fmla="*/ 9824 h 982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9405" h="9823">
                      <a:moveTo>
                        <a:pt x="0" y="0"/>
                      </a:moveTo>
                      <a:lnTo>
                        <a:pt x="29406" y="9824"/>
                      </a:lnTo>
                    </a:path>
                  </a:pathLst>
                </a:custGeom>
                <a:ln w="19050" cap="sq">
                  <a:solidFill>
                    <a:srgbClr val="00FF94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60" name="Forma livre: Forma 59">
                  <a:extLst>
                    <a:ext uri="{FF2B5EF4-FFF2-40B4-BE49-F238E27FC236}">
                      <a16:creationId xmlns:a16="http://schemas.microsoft.com/office/drawing/2014/main" id="{CC594868-1F25-0903-1F0D-4CA44D4D91FE}"/>
                    </a:ext>
                  </a:extLst>
                </p:cNvPr>
                <p:cNvSpPr/>
                <p:nvPr/>
              </p:nvSpPr>
              <p:spPr>
                <a:xfrm>
                  <a:off x="6061121" y="1545272"/>
                  <a:ext cx="47166" cy="34154"/>
                </a:xfrm>
                <a:custGeom>
                  <a:avLst/>
                  <a:gdLst>
                    <a:gd name="connsiteX0" fmla="*/ 0 w 47166"/>
                    <a:gd name="connsiteY0" fmla="*/ 0 h 34154"/>
                    <a:gd name="connsiteX1" fmla="*/ 47166 w 47166"/>
                    <a:gd name="connsiteY1" fmla="*/ 34155 h 3415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7166" h="34154">
                      <a:moveTo>
                        <a:pt x="0" y="0"/>
                      </a:moveTo>
                      <a:cubicBezTo>
                        <a:pt x="0" y="0"/>
                        <a:pt x="27649" y="13011"/>
                        <a:pt x="47166" y="34155"/>
                      </a:cubicBezTo>
                    </a:path>
                  </a:pathLst>
                </a:custGeom>
                <a:noFill/>
                <a:ln w="19050" cap="sq">
                  <a:solidFill>
                    <a:srgbClr val="00FF94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41" name="Gráfico 32">
                <a:extLst>
                  <a:ext uri="{FF2B5EF4-FFF2-40B4-BE49-F238E27FC236}">
                    <a16:creationId xmlns:a16="http://schemas.microsoft.com/office/drawing/2014/main" id="{0FD58601-69E1-7817-6836-A0E9585D94CE}"/>
                  </a:ext>
                </a:extLst>
              </p:cNvPr>
              <p:cNvGrpSpPr/>
              <p:nvPr/>
            </p:nvGrpSpPr>
            <p:grpSpPr>
              <a:xfrm>
                <a:off x="6191625" y="1599725"/>
                <a:ext cx="173767" cy="157112"/>
                <a:chOff x="6191625" y="1599725"/>
                <a:chExt cx="173767" cy="157112"/>
              </a:xfrm>
              <a:noFill/>
            </p:grpSpPr>
            <p:sp>
              <p:nvSpPr>
                <p:cNvPr id="51" name="Forma livre: Forma 50">
                  <a:extLst>
                    <a:ext uri="{FF2B5EF4-FFF2-40B4-BE49-F238E27FC236}">
                      <a16:creationId xmlns:a16="http://schemas.microsoft.com/office/drawing/2014/main" id="{2F18B6F8-13D3-C88D-A9F0-8903805AEBD4}"/>
                    </a:ext>
                  </a:extLst>
                </p:cNvPr>
                <p:cNvSpPr/>
                <p:nvPr/>
              </p:nvSpPr>
              <p:spPr>
                <a:xfrm>
                  <a:off x="6310094" y="1621974"/>
                  <a:ext cx="55298" cy="55298"/>
                </a:xfrm>
                <a:custGeom>
                  <a:avLst/>
                  <a:gdLst>
                    <a:gd name="connsiteX0" fmla="*/ 55298 w 55298"/>
                    <a:gd name="connsiteY0" fmla="*/ 27649 h 55298"/>
                    <a:gd name="connsiteX1" fmla="*/ 27649 w 55298"/>
                    <a:gd name="connsiteY1" fmla="*/ 55298 h 55298"/>
                    <a:gd name="connsiteX2" fmla="*/ 0 w 55298"/>
                    <a:gd name="connsiteY2" fmla="*/ 27649 h 55298"/>
                    <a:gd name="connsiteX3" fmla="*/ 27649 w 55298"/>
                    <a:gd name="connsiteY3" fmla="*/ 0 h 55298"/>
                    <a:gd name="connsiteX4" fmla="*/ 55298 w 55298"/>
                    <a:gd name="connsiteY4" fmla="*/ 27649 h 552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5298" h="55298">
                      <a:moveTo>
                        <a:pt x="55298" y="27649"/>
                      </a:moveTo>
                      <a:cubicBezTo>
                        <a:pt x="55298" y="42938"/>
                        <a:pt x="42938" y="55298"/>
                        <a:pt x="27649" y="55298"/>
                      </a:cubicBezTo>
                      <a:cubicBezTo>
                        <a:pt x="12361" y="55298"/>
                        <a:pt x="0" y="42938"/>
                        <a:pt x="0" y="27649"/>
                      </a:cubicBezTo>
                      <a:cubicBezTo>
                        <a:pt x="0" y="12361"/>
                        <a:pt x="12361" y="0"/>
                        <a:pt x="27649" y="0"/>
                      </a:cubicBezTo>
                      <a:cubicBezTo>
                        <a:pt x="42938" y="0"/>
                        <a:pt x="55298" y="12361"/>
                        <a:pt x="55298" y="27649"/>
                      </a:cubicBezTo>
                      <a:close/>
                    </a:path>
                  </a:pathLst>
                </a:custGeom>
                <a:noFill/>
                <a:ln w="19050" cap="sq">
                  <a:solidFill>
                    <a:srgbClr val="00FF94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52" name="Forma livre: Forma 51">
                  <a:extLst>
                    <a:ext uri="{FF2B5EF4-FFF2-40B4-BE49-F238E27FC236}">
                      <a16:creationId xmlns:a16="http://schemas.microsoft.com/office/drawing/2014/main" id="{BEAB7858-8C92-1CCC-2217-581DD58F4B2F}"/>
                    </a:ext>
                  </a:extLst>
                </p:cNvPr>
                <p:cNvSpPr/>
                <p:nvPr/>
              </p:nvSpPr>
              <p:spPr>
                <a:xfrm>
                  <a:off x="6191625" y="1599725"/>
                  <a:ext cx="118078" cy="49898"/>
                </a:xfrm>
                <a:custGeom>
                  <a:avLst/>
                  <a:gdLst>
                    <a:gd name="connsiteX0" fmla="*/ 0 w 118078"/>
                    <a:gd name="connsiteY0" fmla="*/ 0 h 49898"/>
                    <a:gd name="connsiteX1" fmla="*/ 37343 w 118078"/>
                    <a:gd name="connsiteY1" fmla="*/ 0 h 49898"/>
                    <a:gd name="connsiteX2" fmla="*/ 87176 w 118078"/>
                    <a:gd name="connsiteY2" fmla="*/ 49899 h 49898"/>
                    <a:gd name="connsiteX3" fmla="*/ 118078 w 118078"/>
                    <a:gd name="connsiteY3" fmla="*/ 49899 h 498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18078" h="49898">
                      <a:moveTo>
                        <a:pt x="0" y="0"/>
                      </a:moveTo>
                      <a:lnTo>
                        <a:pt x="37343" y="0"/>
                      </a:lnTo>
                      <a:lnTo>
                        <a:pt x="87176" y="49899"/>
                      </a:lnTo>
                      <a:lnTo>
                        <a:pt x="118078" y="49899"/>
                      </a:lnTo>
                    </a:path>
                  </a:pathLst>
                </a:custGeom>
                <a:noFill/>
                <a:ln w="19050" cap="sq">
                  <a:solidFill>
                    <a:srgbClr val="00FF94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53" name="Forma livre: Forma 52">
                  <a:extLst>
                    <a:ext uri="{FF2B5EF4-FFF2-40B4-BE49-F238E27FC236}">
                      <a16:creationId xmlns:a16="http://schemas.microsoft.com/office/drawing/2014/main" id="{4DCE8DDF-09B9-18DD-8681-F74C0E88CACA}"/>
                    </a:ext>
                  </a:extLst>
                </p:cNvPr>
                <p:cNvSpPr/>
                <p:nvPr/>
              </p:nvSpPr>
              <p:spPr>
                <a:xfrm>
                  <a:off x="6191625" y="1665367"/>
                  <a:ext cx="81906" cy="44108"/>
                </a:xfrm>
                <a:custGeom>
                  <a:avLst/>
                  <a:gdLst>
                    <a:gd name="connsiteX0" fmla="*/ 0 w 81906"/>
                    <a:gd name="connsiteY0" fmla="*/ 0 h 44108"/>
                    <a:gd name="connsiteX1" fmla="*/ 37343 w 81906"/>
                    <a:gd name="connsiteY1" fmla="*/ 0 h 44108"/>
                    <a:gd name="connsiteX2" fmla="*/ 81907 w 81906"/>
                    <a:gd name="connsiteY2" fmla="*/ 44109 h 4410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81906" h="44108">
                      <a:moveTo>
                        <a:pt x="0" y="0"/>
                      </a:moveTo>
                      <a:lnTo>
                        <a:pt x="37343" y="0"/>
                      </a:lnTo>
                      <a:lnTo>
                        <a:pt x="81907" y="44109"/>
                      </a:lnTo>
                    </a:path>
                  </a:pathLst>
                </a:custGeom>
                <a:noFill/>
                <a:ln w="19050" cap="sq">
                  <a:solidFill>
                    <a:srgbClr val="00FF94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54" name="Forma livre: Forma 53">
                  <a:extLst>
                    <a:ext uri="{FF2B5EF4-FFF2-40B4-BE49-F238E27FC236}">
                      <a16:creationId xmlns:a16="http://schemas.microsoft.com/office/drawing/2014/main" id="{B89E0533-D4D9-3E25-C11D-C60A3F9DEF01}"/>
                    </a:ext>
                  </a:extLst>
                </p:cNvPr>
                <p:cNvSpPr/>
                <p:nvPr/>
              </p:nvSpPr>
              <p:spPr>
                <a:xfrm>
                  <a:off x="6265075" y="1701539"/>
                  <a:ext cx="55298" cy="55298"/>
                </a:xfrm>
                <a:custGeom>
                  <a:avLst/>
                  <a:gdLst>
                    <a:gd name="connsiteX0" fmla="*/ 55298 w 55298"/>
                    <a:gd name="connsiteY0" fmla="*/ 27649 h 55298"/>
                    <a:gd name="connsiteX1" fmla="*/ 27649 w 55298"/>
                    <a:gd name="connsiteY1" fmla="*/ 55298 h 55298"/>
                    <a:gd name="connsiteX2" fmla="*/ 0 w 55298"/>
                    <a:gd name="connsiteY2" fmla="*/ 27649 h 55298"/>
                    <a:gd name="connsiteX3" fmla="*/ 27649 w 55298"/>
                    <a:gd name="connsiteY3" fmla="*/ 0 h 55298"/>
                    <a:gd name="connsiteX4" fmla="*/ 55298 w 55298"/>
                    <a:gd name="connsiteY4" fmla="*/ 27649 h 552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5298" h="55298">
                      <a:moveTo>
                        <a:pt x="55298" y="27649"/>
                      </a:moveTo>
                      <a:cubicBezTo>
                        <a:pt x="55298" y="42938"/>
                        <a:pt x="42938" y="55298"/>
                        <a:pt x="27649" y="55298"/>
                      </a:cubicBezTo>
                      <a:cubicBezTo>
                        <a:pt x="12361" y="55298"/>
                        <a:pt x="0" y="42938"/>
                        <a:pt x="0" y="27649"/>
                      </a:cubicBezTo>
                      <a:cubicBezTo>
                        <a:pt x="0" y="12361"/>
                        <a:pt x="12361" y="0"/>
                        <a:pt x="27649" y="0"/>
                      </a:cubicBezTo>
                      <a:cubicBezTo>
                        <a:pt x="42938" y="0"/>
                        <a:pt x="55298" y="12361"/>
                        <a:pt x="55298" y="27649"/>
                      </a:cubicBezTo>
                      <a:close/>
                    </a:path>
                  </a:pathLst>
                </a:custGeom>
                <a:noFill/>
                <a:ln w="19050" cap="sq">
                  <a:solidFill>
                    <a:srgbClr val="00FF94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42" name="Gráfico 32">
                <a:extLst>
                  <a:ext uri="{FF2B5EF4-FFF2-40B4-BE49-F238E27FC236}">
                    <a16:creationId xmlns:a16="http://schemas.microsoft.com/office/drawing/2014/main" id="{FE47B6BE-19DE-C339-8825-FA92C96A49BD}"/>
                  </a:ext>
                </a:extLst>
              </p:cNvPr>
              <p:cNvGrpSpPr/>
              <p:nvPr/>
            </p:nvGrpSpPr>
            <p:grpSpPr>
              <a:xfrm>
                <a:off x="6191625" y="1357908"/>
                <a:ext cx="173767" cy="157112"/>
                <a:chOff x="6191625" y="1357908"/>
                <a:chExt cx="173767" cy="157112"/>
              </a:xfrm>
              <a:noFill/>
            </p:grpSpPr>
            <p:sp>
              <p:nvSpPr>
                <p:cNvPr id="47" name="Forma livre: Forma 46">
                  <a:extLst>
                    <a:ext uri="{FF2B5EF4-FFF2-40B4-BE49-F238E27FC236}">
                      <a16:creationId xmlns:a16="http://schemas.microsoft.com/office/drawing/2014/main" id="{8C7AE5E1-E7B5-C5F9-1266-3C5134B02488}"/>
                    </a:ext>
                  </a:extLst>
                </p:cNvPr>
                <p:cNvSpPr/>
                <p:nvPr/>
              </p:nvSpPr>
              <p:spPr>
                <a:xfrm>
                  <a:off x="6310094" y="1437472"/>
                  <a:ext cx="55298" cy="55298"/>
                </a:xfrm>
                <a:custGeom>
                  <a:avLst/>
                  <a:gdLst>
                    <a:gd name="connsiteX0" fmla="*/ 55298 w 55298"/>
                    <a:gd name="connsiteY0" fmla="*/ 27649 h 55298"/>
                    <a:gd name="connsiteX1" fmla="*/ 27649 w 55298"/>
                    <a:gd name="connsiteY1" fmla="*/ 0 h 55298"/>
                    <a:gd name="connsiteX2" fmla="*/ 0 w 55298"/>
                    <a:gd name="connsiteY2" fmla="*/ 27649 h 55298"/>
                    <a:gd name="connsiteX3" fmla="*/ 27649 w 55298"/>
                    <a:gd name="connsiteY3" fmla="*/ 55298 h 55298"/>
                    <a:gd name="connsiteX4" fmla="*/ 55298 w 55298"/>
                    <a:gd name="connsiteY4" fmla="*/ 27649 h 552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5298" h="55298">
                      <a:moveTo>
                        <a:pt x="55298" y="27649"/>
                      </a:moveTo>
                      <a:cubicBezTo>
                        <a:pt x="55298" y="12361"/>
                        <a:pt x="42938" y="0"/>
                        <a:pt x="27649" y="0"/>
                      </a:cubicBezTo>
                      <a:cubicBezTo>
                        <a:pt x="12361" y="0"/>
                        <a:pt x="0" y="12361"/>
                        <a:pt x="0" y="27649"/>
                      </a:cubicBezTo>
                      <a:cubicBezTo>
                        <a:pt x="0" y="42938"/>
                        <a:pt x="12361" y="55298"/>
                        <a:pt x="27649" y="55298"/>
                      </a:cubicBezTo>
                      <a:cubicBezTo>
                        <a:pt x="42938" y="55298"/>
                        <a:pt x="55298" y="42938"/>
                        <a:pt x="55298" y="27649"/>
                      </a:cubicBezTo>
                      <a:close/>
                    </a:path>
                  </a:pathLst>
                </a:custGeom>
                <a:noFill/>
                <a:ln w="19050" cap="sq">
                  <a:solidFill>
                    <a:srgbClr val="00FF94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48" name="Forma livre: Forma 47">
                  <a:extLst>
                    <a:ext uri="{FF2B5EF4-FFF2-40B4-BE49-F238E27FC236}">
                      <a16:creationId xmlns:a16="http://schemas.microsoft.com/office/drawing/2014/main" id="{007A8CF7-5C59-3EB7-BEB6-8CD614715CD9}"/>
                    </a:ext>
                  </a:extLst>
                </p:cNvPr>
                <p:cNvSpPr/>
                <p:nvPr/>
              </p:nvSpPr>
              <p:spPr>
                <a:xfrm>
                  <a:off x="6191625" y="1465122"/>
                  <a:ext cx="118468" cy="49898"/>
                </a:xfrm>
                <a:custGeom>
                  <a:avLst/>
                  <a:gdLst>
                    <a:gd name="connsiteX0" fmla="*/ 0 w 118468"/>
                    <a:gd name="connsiteY0" fmla="*/ 49899 h 49898"/>
                    <a:gd name="connsiteX1" fmla="*/ 37343 w 118468"/>
                    <a:gd name="connsiteY1" fmla="*/ 49899 h 49898"/>
                    <a:gd name="connsiteX2" fmla="*/ 87176 w 118468"/>
                    <a:gd name="connsiteY2" fmla="*/ 0 h 49898"/>
                    <a:gd name="connsiteX3" fmla="*/ 118469 w 118468"/>
                    <a:gd name="connsiteY3" fmla="*/ 0 h 498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18468" h="49898">
                      <a:moveTo>
                        <a:pt x="0" y="49899"/>
                      </a:moveTo>
                      <a:lnTo>
                        <a:pt x="37343" y="49899"/>
                      </a:lnTo>
                      <a:lnTo>
                        <a:pt x="87176" y="0"/>
                      </a:lnTo>
                      <a:lnTo>
                        <a:pt x="118469" y="0"/>
                      </a:lnTo>
                    </a:path>
                  </a:pathLst>
                </a:custGeom>
                <a:noFill/>
                <a:ln w="19050" cap="sq">
                  <a:solidFill>
                    <a:srgbClr val="00FF94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49" name="Forma livre: Forma 48">
                  <a:extLst>
                    <a:ext uri="{FF2B5EF4-FFF2-40B4-BE49-F238E27FC236}">
                      <a16:creationId xmlns:a16="http://schemas.microsoft.com/office/drawing/2014/main" id="{4FDAD8F4-65E0-C39C-FB81-D19DACBFA465}"/>
                    </a:ext>
                  </a:extLst>
                </p:cNvPr>
                <p:cNvSpPr/>
                <p:nvPr/>
              </p:nvSpPr>
              <p:spPr>
                <a:xfrm>
                  <a:off x="6191625" y="1405269"/>
                  <a:ext cx="81451" cy="44043"/>
                </a:xfrm>
                <a:custGeom>
                  <a:avLst/>
                  <a:gdLst>
                    <a:gd name="connsiteX0" fmla="*/ 0 w 81451"/>
                    <a:gd name="connsiteY0" fmla="*/ 44044 h 44043"/>
                    <a:gd name="connsiteX1" fmla="*/ 37343 w 81451"/>
                    <a:gd name="connsiteY1" fmla="*/ 44044 h 44043"/>
                    <a:gd name="connsiteX2" fmla="*/ 81451 w 81451"/>
                    <a:gd name="connsiteY2" fmla="*/ 0 h 4404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81451" h="44043">
                      <a:moveTo>
                        <a:pt x="0" y="44044"/>
                      </a:moveTo>
                      <a:lnTo>
                        <a:pt x="37343" y="44044"/>
                      </a:lnTo>
                      <a:lnTo>
                        <a:pt x="81451" y="0"/>
                      </a:lnTo>
                    </a:path>
                  </a:pathLst>
                </a:custGeom>
                <a:noFill/>
                <a:ln w="19050" cap="sq">
                  <a:solidFill>
                    <a:srgbClr val="00FF94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50" name="Forma livre: Forma 49">
                  <a:extLst>
                    <a:ext uri="{FF2B5EF4-FFF2-40B4-BE49-F238E27FC236}">
                      <a16:creationId xmlns:a16="http://schemas.microsoft.com/office/drawing/2014/main" id="{63D8E20C-303D-D918-080F-04E544AC5BE1}"/>
                    </a:ext>
                  </a:extLst>
                </p:cNvPr>
                <p:cNvSpPr/>
                <p:nvPr/>
              </p:nvSpPr>
              <p:spPr>
                <a:xfrm>
                  <a:off x="6265075" y="1357908"/>
                  <a:ext cx="55298" cy="55298"/>
                </a:xfrm>
                <a:custGeom>
                  <a:avLst/>
                  <a:gdLst>
                    <a:gd name="connsiteX0" fmla="*/ 55298 w 55298"/>
                    <a:gd name="connsiteY0" fmla="*/ 27649 h 55298"/>
                    <a:gd name="connsiteX1" fmla="*/ 27649 w 55298"/>
                    <a:gd name="connsiteY1" fmla="*/ 0 h 55298"/>
                    <a:gd name="connsiteX2" fmla="*/ 0 w 55298"/>
                    <a:gd name="connsiteY2" fmla="*/ 27649 h 55298"/>
                    <a:gd name="connsiteX3" fmla="*/ 27649 w 55298"/>
                    <a:gd name="connsiteY3" fmla="*/ 55298 h 55298"/>
                    <a:gd name="connsiteX4" fmla="*/ 55298 w 55298"/>
                    <a:gd name="connsiteY4" fmla="*/ 27649 h 552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5298" h="55298">
                      <a:moveTo>
                        <a:pt x="55298" y="27649"/>
                      </a:moveTo>
                      <a:cubicBezTo>
                        <a:pt x="55298" y="12361"/>
                        <a:pt x="42938" y="0"/>
                        <a:pt x="27649" y="0"/>
                      </a:cubicBezTo>
                      <a:cubicBezTo>
                        <a:pt x="12361" y="0"/>
                        <a:pt x="0" y="12361"/>
                        <a:pt x="0" y="27649"/>
                      </a:cubicBezTo>
                      <a:cubicBezTo>
                        <a:pt x="0" y="42938"/>
                        <a:pt x="12361" y="55298"/>
                        <a:pt x="27649" y="55298"/>
                      </a:cubicBezTo>
                      <a:cubicBezTo>
                        <a:pt x="42938" y="55298"/>
                        <a:pt x="55298" y="42938"/>
                        <a:pt x="55298" y="27649"/>
                      </a:cubicBezTo>
                      <a:close/>
                    </a:path>
                  </a:pathLst>
                </a:custGeom>
                <a:noFill/>
                <a:ln w="19050" cap="sq">
                  <a:solidFill>
                    <a:srgbClr val="00FF94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43" name="Gráfico 32">
                <a:extLst>
                  <a:ext uri="{FF2B5EF4-FFF2-40B4-BE49-F238E27FC236}">
                    <a16:creationId xmlns:a16="http://schemas.microsoft.com/office/drawing/2014/main" id="{4F7897DE-CD6A-5EC8-DCD4-6850DB9642D2}"/>
                  </a:ext>
                </a:extLst>
              </p:cNvPr>
              <p:cNvGrpSpPr/>
              <p:nvPr/>
            </p:nvGrpSpPr>
            <p:grpSpPr>
              <a:xfrm>
                <a:off x="6190910" y="1529723"/>
                <a:ext cx="123673" cy="55298"/>
                <a:chOff x="6190910" y="1529723"/>
                <a:chExt cx="123673" cy="55298"/>
              </a:xfrm>
              <a:noFill/>
            </p:grpSpPr>
            <p:sp>
              <p:nvSpPr>
                <p:cNvPr id="45" name="Forma livre: Forma 44">
                  <a:extLst>
                    <a:ext uri="{FF2B5EF4-FFF2-40B4-BE49-F238E27FC236}">
                      <a16:creationId xmlns:a16="http://schemas.microsoft.com/office/drawing/2014/main" id="{2BE0D296-F2E9-7A93-72B4-4DACBB9E3AEC}"/>
                    </a:ext>
                  </a:extLst>
                </p:cNvPr>
                <p:cNvSpPr/>
                <p:nvPr/>
              </p:nvSpPr>
              <p:spPr>
                <a:xfrm>
                  <a:off x="6190910" y="1557372"/>
                  <a:ext cx="68765" cy="6505"/>
                </a:xfrm>
                <a:custGeom>
                  <a:avLst/>
                  <a:gdLst>
                    <a:gd name="connsiteX0" fmla="*/ 0 w 68765"/>
                    <a:gd name="connsiteY0" fmla="*/ 0 h 6505"/>
                    <a:gd name="connsiteX1" fmla="*/ 68765 w 68765"/>
                    <a:gd name="connsiteY1" fmla="*/ 0 h 650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68765" h="6505">
                      <a:moveTo>
                        <a:pt x="0" y="0"/>
                      </a:moveTo>
                      <a:lnTo>
                        <a:pt x="68765" y="0"/>
                      </a:lnTo>
                    </a:path>
                  </a:pathLst>
                </a:custGeom>
                <a:ln w="19050" cap="sq">
                  <a:solidFill>
                    <a:srgbClr val="00FF94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46" name="Forma livre: Forma 45">
                  <a:extLst>
                    <a:ext uri="{FF2B5EF4-FFF2-40B4-BE49-F238E27FC236}">
                      <a16:creationId xmlns:a16="http://schemas.microsoft.com/office/drawing/2014/main" id="{664F9BC2-3F97-FACE-CEB0-924CEBD3B6C2}"/>
                    </a:ext>
                  </a:extLst>
                </p:cNvPr>
                <p:cNvSpPr/>
                <p:nvPr/>
              </p:nvSpPr>
              <p:spPr>
                <a:xfrm>
                  <a:off x="6259285" y="1529723"/>
                  <a:ext cx="55298" cy="55298"/>
                </a:xfrm>
                <a:custGeom>
                  <a:avLst/>
                  <a:gdLst>
                    <a:gd name="connsiteX0" fmla="*/ 55298 w 55298"/>
                    <a:gd name="connsiteY0" fmla="*/ 27649 h 55298"/>
                    <a:gd name="connsiteX1" fmla="*/ 27649 w 55298"/>
                    <a:gd name="connsiteY1" fmla="*/ 55298 h 55298"/>
                    <a:gd name="connsiteX2" fmla="*/ 0 w 55298"/>
                    <a:gd name="connsiteY2" fmla="*/ 27649 h 55298"/>
                    <a:gd name="connsiteX3" fmla="*/ 27649 w 55298"/>
                    <a:gd name="connsiteY3" fmla="*/ 0 h 55298"/>
                    <a:gd name="connsiteX4" fmla="*/ 55298 w 55298"/>
                    <a:gd name="connsiteY4" fmla="*/ 27649 h 552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5298" h="55298">
                      <a:moveTo>
                        <a:pt x="55298" y="27649"/>
                      </a:moveTo>
                      <a:cubicBezTo>
                        <a:pt x="55298" y="42938"/>
                        <a:pt x="42938" y="55298"/>
                        <a:pt x="27649" y="55298"/>
                      </a:cubicBezTo>
                      <a:cubicBezTo>
                        <a:pt x="12361" y="55298"/>
                        <a:pt x="0" y="42938"/>
                        <a:pt x="0" y="27649"/>
                      </a:cubicBezTo>
                      <a:cubicBezTo>
                        <a:pt x="0" y="12361"/>
                        <a:pt x="12361" y="0"/>
                        <a:pt x="27649" y="0"/>
                      </a:cubicBezTo>
                      <a:cubicBezTo>
                        <a:pt x="42938" y="0"/>
                        <a:pt x="55298" y="12361"/>
                        <a:pt x="55298" y="27649"/>
                      </a:cubicBezTo>
                      <a:close/>
                    </a:path>
                  </a:pathLst>
                </a:custGeom>
                <a:noFill/>
                <a:ln w="19050" cap="sq">
                  <a:solidFill>
                    <a:srgbClr val="00FF94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44" name="Forma livre: Forma 43">
                <a:extLst>
                  <a:ext uri="{FF2B5EF4-FFF2-40B4-BE49-F238E27FC236}">
                    <a16:creationId xmlns:a16="http://schemas.microsoft.com/office/drawing/2014/main" id="{2AF1D54B-7DE9-B73F-BBB1-A89EFD851B06}"/>
                  </a:ext>
                </a:extLst>
              </p:cNvPr>
              <p:cNvSpPr/>
              <p:nvPr/>
            </p:nvSpPr>
            <p:spPr>
              <a:xfrm>
                <a:off x="6152201" y="1686285"/>
                <a:ext cx="37362" cy="20848"/>
              </a:xfrm>
              <a:custGeom>
                <a:avLst/>
                <a:gdLst>
                  <a:gd name="connsiteX0" fmla="*/ 0 w 37362"/>
                  <a:gd name="connsiteY0" fmla="*/ 10505 h 20848"/>
                  <a:gd name="connsiteX1" fmla="*/ 27064 w 37362"/>
                  <a:gd name="connsiteY1" fmla="*/ 2373 h 20848"/>
                  <a:gd name="connsiteX2" fmla="*/ 37343 w 37362"/>
                  <a:gd name="connsiteY2" fmla="*/ 20849 h 208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7362" h="20848">
                    <a:moveTo>
                      <a:pt x="0" y="10505"/>
                    </a:moveTo>
                    <a:cubicBezTo>
                      <a:pt x="5205" y="811"/>
                      <a:pt x="17435" y="-2832"/>
                      <a:pt x="27064" y="2373"/>
                    </a:cubicBezTo>
                    <a:cubicBezTo>
                      <a:pt x="34025" y="6081"/>
                      <a:pt x="37668" y="13432"/>
                      <a:pt x="37343" y="20849"/>
                    </a:cubicBezTo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10" name="Agrupar 109">
            <a:extLst>
              <a:ext uri="{FF2B5EF4-FFF2-40B4-BE49-F238E27FC236}">
                <a16:creationId xmlns:a16="http://schemas.microsoft.com/office/drawing/2014/main" id="{16B3CF25-F23B-DE9F-A4E9-826EB20E34E2}"/>
              </a:ext>
            </a:extLst>
          </p:cNvPr>
          <p:cNvGrpSpPr/>
          <p:nvPr/>
        </p:nvGrpSpPr>
        <p:grpSpPr>
          <a:xfrm>
            <a:off x="8841557" y="2561788"/>
            <a:ext cx="524521" cy="524521"/>
            <a:chOff x="8841557" y="2561788"/>
            <a:chExt cx="524521" cy="524521"/>
          </a:xfrm>
        </p:grpSpPr>
        <p:sp>
          <p:nvSpPr>
            <p:cNvPr id="61" name="Oval 60">
              <a:extLst>
                <a:ext uri="{FF2B5EF4-FFF2-40B4-BE49-F238E27FC236}">
                  <a16:creationId xmlns:a16="http://schemas.microsoft.com/office/drawing/2014/main" id="{FC4E2270-E250-0FD4-564F-C116C145C23E}"/>
                </a:ext>
              </a:extLst>
            </p:cNvPr>
            <p:cNvSpPr/>
            <p:nvPr/>
          </p:nvSpPr>
          <p:spPr>
            <a:xfrm>
              <a:off x="8841557" y="2561788"/>
              <a:ext cx="524521" cy="524521"/>
            </a:xfrm>
            <a:prstGeom prst="ellipse">
              <a:avLst/>
            </a:prstGeom>
            <a:solidFill>
              <a:srgbClr val="132153"/>
            </a:solidFill>
            <a:ln w="42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62" name="Agrupar 61">
              <a:extLst>
                <a:ext uri="{FF2B5EF4-FFF2-40B4-BE49-F238E27FC236}">
                  <a16:creationId xmlns:a16="http://schemas.microsoft.com/office/drawing/2014/main" id="{661B325D-37E3-BC14-5970-C82EC5D008AD}"/>
                </a:ext>
              </a:extLst>
            </p:cNvPr>
            <p:cNvGrpSpPr/>
            <p:nvPr/>
          </p:nvGrpSpPr>
          <p:grpSpPr>
            <a:xfrm>
              <a:off x="8961213" y="2668774"/>
              <a:ext cx="283538" cy="309640"/>
              <a:chOff x="6000092" y="1357908"/>
              <a:chExt cx="365300" cy="398929"/>
            </a:xfrm>
          </p:grpSpPr>
          <p:sp>
            <p:nvSpPr>
              <p:cNvPr id="63" name="Forma livre: Forma 62">
                <a:extLst>
                  <a:ext uri="{FF2B5EF4-FFF2-40B4-BE49-F238E27FC236}">
                    <a16:creationId xmlns:a16="http://schemas.microsoft.com/office/drawing/2014/main" id="{C8528E88-5364-A854-4191-1AF1B115904A}"/>
                  </a:ext>
                </a:extLst>
              </p:cNvPr>
              <p:cNvSpPr/>
              <p:nvPr/>
            </p:nvSpPr>
            <p:spPr>
              <a:xfrm>
                <a:off x="6000092" y="1418606"/>
                <a:ext cx="84058" cy="286120"/>
              </a:xfrm>
              <a:custGeom>
                <a:avLst/>
                <a:gdLst>
                  <a:gd name="connsiteX0" fmla="*/ 51595 w 84058"/>
                  <a:gd name="connsiteY0" fmla="*/ 0 h 286120"/>
                  <a:gd name="connsiteX1" fmla="*/ 35266 w 84058"/>
                  <a:gd name="connsiteY1" fmla="*/ 61674 h 286120"/>
                  <a:gd name="connsiteX2" fmla="*/ 28760 w 84058"/>
                  <a:gd name="connsiteY2" fmla="*/ 193415 h 286120"/>
                  <a:gd name="connsiteX3" fmla="*/ 84059 w 84058"/>
                  <a:gd name="connsiteY3" fmla="*/ 286121 h 2861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4058" h="286120">
                    <a:moveTo>
                      <a:pt x="51595" y="0"/>
                    </a:moveTo>
                    <a:cubicBezTo>
                      <a:pt x="37868" y="7872"/>
                      <a:pt x="26028" y="24852"/>
                      <a:pt x="35266" y="61674"/>
                    </a:cubicBezTo>
                    <a:cubicBezTo>
                      <a:pt x="35266" y="61674"/>
                      <a:pt x="-39549" y="126731"/>
                      <a:pt x="28760" y="193415"/>
                    </a:cubicBezTo>
                    <a:cubicBezTo>
                      <a:pt x="28760" y="193415"/>
                      <a:pt x="9243" y="281242"/>
                      <a:pt x="84059" y="286121"/>
                    </a:cubicBezTo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64" name="Gráfico 32">
                <a:extLst>
                  <a:ext uri="{FF2B5EF4-FFF2-40B4-BE49-F238E27FC236}">
                    <a16:creationId xmlns:a16="http://schemas.microsoft.com/office/drawing/2014/main" id="{85C096AC-7486-60F2-CBB7-2E9F5B3DD2CB}"/>
                  </a:ext>
                </a:extLst>
              </p:cNvPr>
              <p:cNvGrpSpPr/>
              <p:nvPr/>
            </p:nvGrpSpPr>
            <p:grpSpPr>
              <a:xfrm>
                <a:off x="6061121" y="1359924"/>
                <a:ext cx="128487" cy="396366"/>
                <a:chOff x="6061121" y="1359924"/>
                <a:chExt cx="128487" cy="396366"/>
              </a:xfrm>
              <a:noFill/>
            </p:grpSpPr>
            <p:sp>
              <p:nvSpPr>
                <p:cNvPr id="79" name="Forma livre: Forma 78">
                  <a:extLst>
                    <a:ext uri="{FF2B5EF4-FFF2-40B4-BE49-F238E27FC236}">
                      <a16:creationId xmlns:a16="http://schemas.microsoft.com/office/drawing/2014/main" id="{5284DEC6-7439-9A55-94A7-1D43DD62CC84}"/>
                    </a:ext>
                  </a:extLst>
                </p:cNvPr>
                <p:cNvSpPr/>
                <p:nvPr/>
              </p:nvSpPr>
              <p:spPr>
                <a:xfrm>
                  <a:off x="6083891" y="1359924"/>
                  <a:ext cx="105717" cy="396366"/>
                </a:xfrm>
                <a:custGeom>
                  <a:avLst/>
                  <a:gdLst>
                    <a:gd name="connsiteX0" fmla="*/ 52891 w 105717"/>
                    <a:gd name="connsiteY0" fmla="*/ 105718 h 396366"/>
                    <a:gd name="connsiteX1" fmla="*/ 0 w 105717"/>
                    <a:gd name="connsiteY1" fmla="*/ 52891 h 396366"/>
                    <a:gd name="connsiteX2" fmla="*/ 52891 w 105717"/>
                    <a:gd name="connsiteY2" fmla="*/ 0 h 396366"/>
                    <a:gd name="connsiteX3" fmla="*/ 105718 w 105717"/>
                    <a:gd name="connsiteY3" fmla="*/ 52826 h 396366"/>
                    <a:gd name="connsiteX4" fmla="*/ 105718 w 105717"/>
                    <a:gd name="connsiteY4" fmla="*/ 346884 h 396366"/>
                    <a:gd name="connsiteX5" fmla="*/ 80606 w 105717"/>
                    <a:gd name="connsiteY5" fmla="*/ 388911 h 396366"/>
                    <a:gd name="connsiteX6" fmla="*/ 9238 w 105717"/>
                    <a:gd name="connsiteY6" fmla="*/ 371150 h 396366"/>
                    <a:gd name="connsiteX7" fmla="*/ 15484 w 105717"/>
                    <a:gd name="connsiteY7" fmla="*/ 309216 h 396366"/>
                    <a:gd name="connsiteX8" fmla="*/ 45019 w 105717"/>
                    <a:gd name="connsiteY8" fmla="*/ 277078 h 39636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105717" h="396366">
                      <a:moveTo>
                        <a:pt x="52891" y="105718"/>
                      </a:moveTo>
                      <a:cubicBezTo>
                        <a:pt x="23681" y="105718"/>
                        <a:pt x="0" y="82037"/>
                        <a:pt x="0" y="52891"/>
                      </a:cubicBezTo>
                      <a:cubicBezTo>
                        <a:pt x="0" y="23746"/>
                        <a:pt x="23681" y="0"/>
                        <a:pt x="52891" y="0"/>
                      </a:cubicBezTo>
                      <a:cubicBezTo>
                        <a:pt x="82102" y="0"/>
                        <a:pt x="105718" y="23681"/>
                        <a:pt x="105718" y="52826"/>
                      </a:cubicBezTo>
                      <a:lnTo>
                        <a:pt x="105718" y="346884"/>
                      </a:lnTo>
                      <a:cubicBezTo>
                        <a:pt x="105718" y="364580"/>
                        <a:pt x="96414" y="379413"/>
                        <a:pt x="80606" y="388911"/>
                      </a:cubicBezTo>
                      <a:cubicBezTo>
                        <a:pt x="55949" y="403744"/>
                        <a:pt x="24006" y="395742"/>
                        <a:pt x="9238" y="371150"/>
                      </a:cubicBezTo>
                      <a:cubicBezTo>
                        <a:pt x="-2928" y="350918"/>
                        <a:pt x="260" y="325741"/>
                        <a:pt x="15484" y="309216"/>
                      </a:cubicBezTo>
                      <a:lnTo>
                        <a:pt x="45019" y="277078"/>
                      </a:lnTo>
                    </a:path>
                  </a:pathLst>
                </a:custGeom>
                <a:noFill/>
                <a:ln w="19050" cap="sq">
                  <a:solidFill>
                    <a:srgbClr val="00FF94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80" name="Forma livre: Forma 79">
                  <a:extLst>
                    <a:ext uri="{FF2B5EF4-FFF2-40B4-BE49-F238E27FC236}">
                      <a16:creationId xmlns:a16="http://schemas.microsoft.com/office/drawing/2014/main" id="{A0D8B2A1-0541-6685-92A8-ABFEBCFF605E}"/>
                    </a:ext>
                  </a:extLst>
                </p:cNvPr>
                <p:cNvSpPr/>
                <p:nvPr/>
              </p:nvSpPr>
              <p:spPr>
                <a:xfrm>
                  <a:off x="6144784" y="1383865"/>
                  <a:ext cx="41563" cy="38963"/>
                </a:xfrm>
                <a:custGeom>
                  <a:avLst/>
                  <a:gdLst>
                    <a:gd name="connsiteX0" fmla="*/ 36172 w 41563"/>
                    <a:gd name="connsiteY0" fmla="*/ 0 h 38963"/>
                    <a:gd name="connsiteX1" fmla="*/ 39425 w 41563"/>
                    <a:gd name="connsiteY1" fmla="*/ 24266 h 38963"/>
                    <a:gd name="connsiteX2" fmla="*/ 36432 w 41563"/>
                    <a:gd name="connsiteY2" fmla="*/ 29080 h 38963"/>
                    <a:gd name="connsiteX3" fmla="*/ 0 w 41563"/>
                    <a:gd name="connsiteY3" fmla="*/ 33439 h 3896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1563" h="38963">
                      <a:moveTo>
                        <a:pt x="36172" y="0"/>
                      </a:moveTo>
                      <a:cubicBezTo>
                        <a:pt x="41571" y="7547"/>
                        <a:pt x="43393" y="16004"/>
                        <a:pt x="39425" y="24266"/>
                      </a:cubicBezTo>
                      <a:cubicBezTo>
                        <a:pt x="38644" y="25893"/>
                        <a:pt x="37603" y="27519"/>
                        <a:pt x="36432" y="29080"/>
                      </a:cubicBezTo>
                      <a:cubicBezTo>
                        <a:pt x="27584" y="40270"/>
                        <a:pt x="11190" y="42287"/>
                        <a:pt x="0" y="33439"/>
                      </a:cubicBezTo>
                    </a:path>
                  </a:pathLst>
                </a:custGeom>
                <a:noFill/>
                <a:ln w="19050" cap="sq">
                  <a:solidFill>
                    <a:srgbClr val="00FF94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81" name="Forma livre: Forma 80">
                  <a:extLst>
                    <a:ext uri="{FF2B5EF4-FFF2-40B4-BE49-F238E27FC236}">
                      <a16:creationId xmlns:a16="http://schemas.microsoft.com/office/drawing/2014/main" id="{A8A3AF76-B9B8-9AD7-C57C-4CF6D520D4E2}"/>
                    </a:ext>
                  </a:extLst>
                </p:cNvPr>
                <p:cNvSpPr/>
                <p:nvPr/>
              </p:nvSpPr>
              <p:spPr>
                <a:xfrm>
                  <a:off x="6081487" y="1460806"/>
                  <a:ext cx="34217" cy="54474"/>
                </a:xfrm>
                <a:custGeom>
                  <a:avLst/>
                  <a:gdLst>
                    <a:gd name="connsiteX0" fmla="*/ 21076 w 34217"/>
                    <a:gd name="connsiteY0" fmla="*/ 54475 h 54474"/>
                    <a:gd name="connsiteX1" fmla="*/ 778 w 34217"/>
                    <a:gd name="connsiteY1" fmla="*/ 21035 h 54474"/>
                    <a:gd name="connsiteX2" fmla="*/ 34217 w 34217"/>
                    <a:gd name="connsiteY2" fmla="*/ 803 h 544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34217" h="54474">
                      <a:moveTo>
                        <a:pt x="21076" y="54475"/>
                      </a:moveTo>
                      <a:cubicBezTo>
                        <a:pt x="6308" y="50832"/>
                        <a:pt x="-2800" y="35803"/>
                        <a:pt x="778" y="21035"/>
                      </a:cubicBezTo>
                      <a:cubicBezTo>
                        <a:pt x="4421" y="6267"/>
                        <a:pt x="19449" y="-2841"/>
                        <a:pt x="34217" y="803"/>
                      </a:cubicBezTo>
                    </a:path>
                  </a:pathLst>
                </a:custGeom>
                <a:noFill/>
                <a:ln w="19050" cap="sq">
                  <a:solidFill>
                    <a:srgbClr val="00FF94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82" name="Forma livre: Forma 81">
                  <a:extLst>
                    <a:ext uri="{FF2B5EF4-FFF2-40B4-BE49-F238E27FC236}">
                      <a16:creationId xmlns:a16="http://schemas.microsoft.com/office/drawing/2014/main" id="{2F3C36E2-D9FD-975C-8F4B-EB8D1E16C760}"/>
                    </a:ext>
                  </a:extLst>
                </p:cNvPr>
                <p:cNvSpPr/>
                <p:nvPr/>
              </p:nvSpPr>
              <p:spPr>
                <a:xfrm>
                  <a:off x="6073547" y="1527543"/>
                  <a:ext cx="114760" cy="72506"/>
                </a:xfrm>
                <a:custGeom>
                  <a:avLst/>
                  <a:gdLst>
                    <a:gd name="connsiteX0" fmla="*/ 114760 w 114760"/>
                    <a:gd name="connsiteY0" fmla="*/ 7254 h 72506"/>
                    <a:gd name="connsiteX1" fmla="*/ 73905 w 114760"/>
                    <a:gd name="connsiteY1" fmla="*/ 8881 h 72506"/>
                    <a:gd name="connsiteX2" fmla="*/ 0 w 114760"/>
                    <a:gd name="connsiteY2" fmla="*/ 72506 h 7250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14760" h="72506">
                      <a:moveTo>
                        <a:pt x="114760" y="7254"/>
                      </a:moveTo>
                      <a:cubicBezTo>
                        <a:pt x="103375" y="-2830"/>
                        <a:pt x="83989" y="-2504"/>
                        <a:pt x="73905" y="8881"/>
                      </a:cubicBezTo>
                      <a:cubicBezTo>
                        <a:pt x="73905" y="8881"/>
                        <a:pt x="31488" y="72506"/>
                        <a:pt x="0" y="72506"/>
                      </a:cubicBezTo>
                    </a:path>
                  </a:pathLst>
                </a:custGeom>
                <a:noFill/>
                <a:ln w="19050" cap="sq">
                  <a:solidFill>
                    <a:srgbClr val="00FF94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83" name="Forma livre: Forma 82">
                  <a:extLst>
                    <a:ext uri="{FF2B5EF4-FFF2-40B4-BE49-F238E27FC236}">
                      <a16:creationId xmlns:a16="http://schemas.microsoft.com/office/drawing/2014/main" id="{24044F6F-3125-A361-44E7-BF07B034B4EE}"/>
                    </a:ext>
                  </a:extLst>
                </p:cNvPr>
                <p:cNvSpPr/>
                <p:nvPr/>
              </p:nvSpPr>
              <p:spPr>
                <a:xfrm>
                  <a:off x="6079857" y="1646956"/>
                  <a:ext cx="29405" cy="9823"/>
                </a:xfrm>
                <a:custGeom>
                  <a:avLst/>
                  <a:gdLst>
                    <a:gd name="connsiteX0" fmla="*/ 0 w 29405"/>
                    <a:gd name="connsiteY0" fmla="*/ 0 h 9823"/>
                    <a:gd name="connsiteX1" fmla="*/ 29406 w 29405"/>
                    <a:gd name="connsiteY1" fmla="*/ 9824 h 982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9405" h="9823">
                      <a:moveTo>
                        <a:pt x="0" y="0"/>
                      </a:moveTo>
                      <a:lnTo>
                        <a:pt x="29406" y="9824"/>
                      </a:lnTo>
                    </a:path>
                  </a:pathLst>
                </a:custGeom>
                <a:ln w="19050" cap="sq">
                  <a:solidFill>
                    <a:srgbClr val="00FF94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84" name="Forma livre: Forma 83">
                  <a:extLst>
                    <a:ext uri="{FF2B5EF4-FFF2-40B4-BE49-F238E27FC236}">
                      <a16:creationId xmlns:a16="http://schemas.microsoft.com/office/drawing/2014/main" id="{60CCA403-619F-FC8F-DE37-9A46D7BA252B}"/>
                    </a:ext>
                  </a:extLst>
                </p:cNvPr>
                <p:cNvSpPr/>
                <p:nvPr/>
              </p:nvSpPr>
              <p:spPr>
                <a:xfrm>
                  <a:off x="6061121" y="1545272"/>
                  <a:ext cx="47166" cy="34154"/>
                </a:xfrm>
                <a:custGeom>
                  <a:avLst/>
                  <a:gdLst>
                    <a:gd name="connsiteX0" fmla="*/ 0 w 47166"/>
                    <a:gd name="connsiteY0" fmla="*/ 0 h 34154"/>
                    <a:gd name="connsiteX1" fmla="*/ 47166 w 47166"/>
                    <a:gd name="connsiteY1" fmla="*/ 34155 h 3415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7166" h="34154">
                      <a:moveTo>
                        <a:pt x="0" y="0"/>
                      </a:moveTo>
                      <a:cubicBezTo>
                        <a:pt x="0" y="0"/>
                        <a:pt x="27649" y="13011"/>
                        <a:pt x="47166" y="34155"/>
                      </a:cubicBezTo>
                    </a:path>
                  </a:pathLst>
                </a:custGeom>
                <a:noFill/>
                <a:ln w="19050" cap="sq">
                  <a:solidFill>
                    <a:srgbClr val="00FF94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65" name="Gráfico 32">
                <a:extLst>
                  <a:ext uri="{FF2B5EF4-FFF2-40B4-BE49-F238E27FC236}">
                    <a16:creationId xmlns:a16="http://schemas.microsoft.com/office/drawing/2014/main" id="{85A03CDC-E5FB-BAFB-2B2D-BC9D3697A08B}"/>
                  </a:ext>
                </a:extLst>
              </p:cNvPr>
              <p:cNvGrpSpPr/>
              <p:nvPr/>
            </p:nvGrpSpPr>
            <p:grpSpPr>
              <a:xfrm>
                <a:off x="6191625" y="1599725"/>
                <a:ext cx="173767" cy="157112"/>
                <a:chOff x="6191625" y="1599725"/>
                <a:chExt cx="173767" cy="157112"/>
              </a:xfrm>
              <a:noFill/>
            </p:grpSpPr>
            <p:sp>
              <p:nvSpPr>
                <p:cNvPr id="75" name="Forma livre: Forma 74">
                  <a:extLst>
                    <a:ext uri="{FF2B5EF4-FFF2-40B4-BE49-F238E27FC236}">
                      <a16:creationId xmlns:a16="http://schemas.microsoft.com/office/drawing/2014/main" id="{E1FA97F6-9FB2-602C-1E13-25ECE8E1E0F8}"/>
                    </a:ext>
                  </a:extLst>
                </p:cNvPr>
                <p:cNvSpPr/>
                <p:nvPr/>
              </p:nvSpPr>
              <p:spPr>
                <a:xfrm>
                  <a:off x="6310094" y="1621974"/>
                  <a:ext cx="55298" cy="55298"/>
                </a:xfrm>
                <a:custGeom>
                  <a:avLst/>
                  <a:gdLst>
                    <a:gd name="connsiteX0" fmla="*/ 55298 w 55298"/>
                    <a:gd name="connsiteY0" fmla="*/ 27649 h 55298"/>
                    <a:gd name="connsiteX1" fmla="*/ 27649 w 55298"/>
                    <a:gd name="connsiteY1" fmla="*/ 55298 h 55298"/>
                    <a:gd name="connsiteX2" fmla="*/ 0 w 55298"/>
                    <a:gd name="connsiteY2" fmla="*/ 27649 h 55298"/>
                    <a:gd name="connsiteX3" fmla="*/ 27649 w 55298"/>
                    <a:gd name="connsiteY3" fmla="*/ 0 h 55298"/>
                    <a:gd name="connsiteX4" fmla="*/ 55298 w 55298"/>
                    <a:gd name="connsiteY4" fmla="*/ 27649 h 552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5298" h="55298">
                      <a:moveTo>
                        <a:pt x="55298" y="27649"/>
                      </a:moveTo>
                      <a:cubicBezTo>
                        <a:pt x="55298" y="42938"/>
                        <a:pt x="42938" y="55298"/>
                        <a:pt x="27649" y="55298"/>
                      </a:cubicBezTo>
                      <a:cubicBezTo>
                        <a:pt x="12361" y="55298"/>
                        <a:pt x="0" y="42938"/>
                        <a:pt x="0" y="27649"/>
                      </a:cubicBezTo>
                      <a:cubicBezTo>
                        <a:pt x="0" y="12361"/>
                        <a:pt x="12361" y="0"/>
                        <a:pt x="27649" y="0"/>
                      </a:cubicBezTo>
                      <a:cubicBezTo>
                        <a:pt x="42938" y="0"/>
                        <a:pt x="55298" y="12361"/>
                        <a:pt x="55298" y="27649"/>
                      </a:cubicBezTo>
                      <a:close/>
                    </a:path>
                  </a:pathLst>
                </a:custGeom>
                <a:noFill/>
                <a:ln w="19050" cap="sq">
                  <a:solidFill>
                    <a:srgbClr val="00FF94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76" name="Forma livre: Forma 75">
                  <a:extLst>
                    <a:ext uri="{FF2B5EF4-FFF2-40B4-BE49-F238E27FC236}">
                      <a16:creationId xmlns:a16="http://schemas.microsoft.com/office/drawing/2014/main" id="{EEDF0AE5-9E70-CB1D-B7F2-02C29CF9937D}"/>
                    </a:ext>
                  </a:extLst>
                </p:cNvPr>
                <p:cNvSpPr/>
                <p:nvPr/>
              </p:nvSpPr>
              <p:spPr>
                <a:xfrm>
                  <a:off x="6191625" y="1599725"/>
                  <a:ext cx="118078" cy="49898"/>
                </a:xfrm>
                <a:custGeom>
                  <a:avLst/>
                  <a:gdLst>
                    <a:gd name="connsiteX0" fmla="*/ 0 w 118078"/>
                    <a:gd name="connsiteY0" fmla="*/ 0 h 49898"/>
                    <a:gd name="connsiteX1" fmla="*/ 37343 w 118078"/>
                    <a:gd name="connsiteY1" fmla="*/ 0 h 49898"/>
                    <a:gd name="connsiteX2" fmla="*/ 87176 w 118078"/>
                    <a:gd name="connsiteY2" fmla="*/ 49899 h 49898"/>
                    <a:gd name="connsiteX3" fmla="*/ 118078 w 118078"/>
                    <a:gd name="connsiteY3" fmla="*/ 49899 h 498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18078" h="49898">
                      <a:moveTo>
                        <a:pt x="0" y="0"/>
                      </a:moveTo>
                      <a:lnTo>
                        <a:pt x="37343" y="0"/>
                      </a:lnTo>
                      <a:lnTo>
                        <a:pt x="87176" y="49899"/>
                      </a:lnTo>
                      <a:lnTo>
                        <a:pt x="118078" y="49899"/>
                      </a:lnTo>
                    </a:path>
                  </a:pathLst>
                </a:custGeom>
                <a:noFill/>
                <a:ln w="19050" cap="sq">
                  <a:solidFill>
                    <a:srgbClr val="00FF94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77" name="Forma livre: Forma 76">
                  <a:extLst>
                    <a:ext uri="{FF2B5EF4-FFF2-40B4-BE49-F238E27FC236}">
                      <a16:creationId xmlns:a16="http://schemas.microsoft.com/office/drawing/2014/main" id="{FF95F91F-E691-0C9C-6E04-3DFBAD8F92B8}"/>
                    </a:ext>
                  </a:extLst>
                </p:cNvPr>
                <p:cNvSpPr/>
                <p:nvPr/>
              </p:nvSpPr>
              <p:spPr>
                <a:xfrm>
                  <a:off x="6191625" y="1665367"/>
                  <a:ext cx="81906" cy="44108"/>
                </a:xfrm>
                <a:custGeom>
                  <a:avLst/>
                  <a:gdLst>
                    <a:gd name="connsiteX0" fmla="*/ 0 w 81906"/>
                    <a:gd name="connsiteY0" fmla="*/ 0 h 44108"/>
                    <a:gd name="connsiteX1" fmla="*/ 37343 w 81906"/>
                    <a:gd name="connsiteY1" fmla="*/ 0 h 44108"/>
                    <a:gd name="connsiteX2" fmla="*/ 81907 w 81906"/>
                    <a:gd name="connsiteY2" fmla="*/ 44109 h 4410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81906" h="44108">
                      <a:moveTo>
                        <a:pt x="0" y="0"/>
                      </a:moveTo>
                      <a:lnTo>
                        <a:pt x="37343" y="0"/>
                      </a:lnTo>
                      <a:lnTo>
                        <a:pt x="81907" y="44109"/>
                      </a:lnTo>
                    </a:path>
                  </a:pathLst>
                </a:custGeom>
                <a:noFill/>
                <a:ln w="19050" cap="sq">
                  <a:solidFill>
                    <a:srgbClr val="00FF94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78" name="Forma livre: Forma 77">
                  <a:extLst>
                    <a:ext uri="{FF2B5EF4-FFF2-40B4-BE49-F238E27FC236}">
                      <a16:creationId xmlns:a16="http://schemas.microsoft.com/office/drawing/2014/main" id="{220F59F9-2D5B-D875-0F92-B50A08C214CC}"/>
                    </a:ext>
                  </a:extLst>
                </p:cNvPr>
                <p:cNvSpPr/>
                <p:nvPr/>
              </p:nvSpPr>
              <p:spPr>
                <a:xfrm>
                  <a:off x="6265075" y="1701539"/>
                  <a:ext cx="55298" cy="55298"/>
                </a:xfrm>
                <a:custGeom>
                  <a:avLst/>
                  <a:gdLst>
                    <a:gd name="connsiteX0" fmla="*/ 55298 w 55298"/>
                    <a:gd name="connsiteY0" fmla="*/ 27649 h 55298"/>
                    <a:gd name="connsiteX1" fmla="*/ 27649 w 55298"/>
                    <a:gd name="connsiteY1" fmla="*/ 55298 h 55298"/>
                    <a:gd name="connsiteX2" fmla="*/ 0 w 55298"/>
                    <a:gd name="connsiteY2" fmla="*/ 27649 h 55298"/>
                    <a:gd name="connsiteX3" fmla="*/ 27649 w 55298"/>
                    <a:gd name="connsiteY3" fmla="*/ 0 h 55298"/>
                    <a:gd name="connsiteX4" fmla="*/ 55298 w 55298"/>
                    <a:gd name="connsiteY4" fmla="*/ 27649 h 552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5298" h="55298">
                      <a:moveTo>
                        <a:pt x="55298" y="27649"/>
                      </a:moveTo>
                      <a:cubicBezTo>
                        <a:pt x="55298" y="42938"/>
                        <a:pt x="42938" y="55298"/>
                        <a:pt x="27649" y="55298"/>
                      </a:cubicBezTo>
                      <a:cubicBezTo>
                        <a:pt x="12361" y="55298"/>
                        <a:pt x="0" y="42938"/>
                        <a:pt x="0" y="27649"/>
                      </a:cubicBezTo>
                      <a:cubicBezTo>
                        <a:pt x="0" y="12361"/>
                        <a:pt x="12361" y="0"/>
                        <a:pt x="27649" y="0"/>
                      </a:cubicBezTo>
                      <a:cubicBezTo>
                        <a:pt x="42938" y="0"/>
                        <a:pt x="55298" y="12361"/>
                        <a:pt x="55298" y="27649"/>
                      </a:cubicBezTo>
                      <a:close/>
                    </a:path>
                  </a:pathLst>
                </a:custGeom>
                <a:noFill/>
                <a:ln w="19050" cap="sq">
                  <a:solidFill>
                    <a:srgbClr val="00FF94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66" name="Gráfico 32">
                <a:extLst>
                  <a:ext uri="{FF2B5EF4-FFF2-40B4-BE49-F238E27FC236}">
                    <a16:creationId xmlns:a16="http://schemas.microsoft.com/office/drawing/2014/main" id="{11338641-058C-B447-1258-768F32257529}"/>
                  </a:ext>
                </a:extLst>
              </p:cNvPr>
              <p:cNvGrpSpPr/>
              <p:nvPr/>
            </p:nvGrpSpPr>
            <p:grpSpPr>
              <a:xfrm>
                <a:off x="6191625" y="1357908"/>
                <a:ext cx="173767" cy="157112"/>
                <a:chOff x="6191625" y="1357908"/>
                <a:chExt cx="173767" cy="157112"/>
              </a:xfrm>
              <a:noFill/>
            </p:grpSpPr>
            <p:sp>
              <p:nvSpPr>
                <p:cNvPr id="71" name="Forma livre: Forma 70">
                  <a:extLst>
                    <a:ext uri="{FF2B5EF4-FFF2-40B4-BE49-F238E27FC236}">
                      <a16:creationId xmlns:a16="http://schemas.microsoft.com/office/drawing/2014/main" id="{D3A3911B-214D-35FC-80F2-1A639EC3CA72}"/>
                    </a:ext>
                  </a:extLst>
                </p:cNvPr>
                <p:cNvSpPr/>
                <p:nvPr/>
              </p:nvSpPr>
              <p:spPr>
                <a:xfrm>
                  <a:off x="6310094" y="1437472"/>
                  <a:ext cx="55298" cy="55298"/>
                </a:xfrm>
                <a:custGeom>
                  <a:avLst/>
                  <a:gdLst>
                    <a:gd name="connsiteX0" fmla="*/ 55298 w 55298"/>
                    <a:gd name="connsiteY0" fmla="*/ 27649 h 55298"/>
                    <a:gd name="connsiteX1" fmla="*/ 27649 w 55298"/>
                    <a:gd name="connsiteY1" fmla="*/ 0 h 55298"/>
                    <a:gd name="connsiteX2" fmla="*/ 0 w 55298"/>
                    <a:gd name="connsiteY2" fmla="*/ 27649 h 55298"/>
                    <a:gd name="connsiteX3" fmla="*/ 27649 w 55298"/>
                    <a:gd name="connsiteY3" fmla="*/ 55298 h 55298"/>
                    <a:gd name="connsiteX4" fmla="*/ 55298 w 55298"/>
                    <a:gd name="connsiteY4" fmla="*/ 27649 h 552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5298" h="55298">
                      <a:moveTo>
                        <a:pt x="55298" y="27649"/>
                      </a:moveTo>
                      <a:cubicBezTo>
                        <a:pt x="55298" y="12361"/>
                        <a:pt x="42938" y="0"/>
                        <a:pt x="27649" y="0"/>
                      </a:cubicBezTo>
                      <a:cubicBezTo>
                        <a:pt x="12361" y="0"/>
                        <a:pt x="0" y="12361"/>
                        <a:pt x="0" y="27649"/>
                      </a:cubicBezTo>
                      <a:cubicBezTo>
                        <a:pt x="0" y="42938"/>
                        <a:pt x="12361" y="55298"/>
                        <a:pt x="27649" y="55298"/>
                      </a:cubicBezTo>
                      <a:cubicBezTo>
                        <a:pt x="42938" y="55298"/>
                        <a:pt x="55298" y="42938"/>
                        <a:pt x="55298" y="27649"/>
                      </a:cubicBezTo>
                      <a:close/>
                    </a:path>
                  </a:pathLst>
                </a:custGeom>
                <a:noFill/>
                <a:ln w="19050" cap="sq">
                  <a:solidFill>
                    <a:srgbClr val="00FF94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72" name="Forma livre: Forma 71">
                  <a:extLst>
                    <a:ext uri="{FF2B5EF4-FFF2-40B4-BE49-F238E27FC236}">
                      <a16:creationId xmlns:a16="http://schemas.microsoft.com/office/drawing/2014/main" id="{F4512F29-3697-7895-FA89-D785AEB0F773}"/>
                    </a:ext>
                  </a:extLst>
                </p:cNvPr>
                <p:cNvSpPr/>
                <p:nvPr/>
              </p:nvSpPr>
              <p:spPr>
                <a:xfrm>
                  <a:off x="6191625" y="1465122"/>
                  <a:ext cx="118468" cy="49898"/>
                </a:xfrm>
                <a:custGeom>
                  <a:avLst/>
                  <a:gdLst>
                    <a:gd name="connsiteX0" fmla="*/ 0 w 118468"/>
                    <a:gd name="connsiteY0" fmla="*/ 49899 h 49898"/>
                    <a:gd name="connsiteX1" fmla="*/ 37343 w 118468"/>
                    <a:gd name="connsiteY1" fmla="*/ 49899 h 49898"/>
                    <a:gd name="connsiteX2" fmla="*/ 87176 w 118468"/>
                    <a:gd name="connsiteY2" fmla="*/ 0 h 49898"/>
                    <a:gd name="connsiteX3" fmla="*/ 118469 w 118468"/>
                    <a:gd name="connsiteY3" fmla="*/ 0 h 498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18468" h="49898">
                      <a:moveTo>
                        <a:pt x="0" y="49899"/>
                      </a:moveTo>
                      <a:lnTo>
                        <a:pt x="37343" y="49899"/>
                      </a:lnTo>
                      <a:lnTo>
                        <a:pt x="87176" y="0"/>
                      </a:lnTo>
                      <a:lnTo>
                        <a:pt x="118469" y="0"/>
                      </a:lnTo>
                    </a:path>
                  </a:pathLst>
                </a:custGeom>
                <a:noFill/>
                <a:ln w="19050" cap="sq">
                  <a:solidFill>
                    <a:srgbClr val="00FF94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73" name="Forma livre: Forma 72">
                  <a:extLst>
                    <a:ext uri="{FF2B5EF4-FFF2-40B4-BE49-F238E27FC236}">
                      <a16:creationId xmlns:a16="http://schemas.microsoft.com/office/drawing/2014/main" id="{5900504E-847C-A1C6-B9C2-F34FCA6CB31A}"/>
                    </a:ext>
                  </a:extLst>
                </p:cNvPr>
                <p:cNvSpPr/>
                <p:nvPr/>
              </p:nvSpPr>
              <p:spPr>
                <a:xfrm>
                  <a:off x="6191625" y="1405269"/>
                  <a:ext cx="81451" cy="44043"/>
                </a:xfrm>
                <a:custGeom>
                  <a:avLst/>
                  <a:gdLst>
                    <a:gd name="connsiteX0" fmla="*/ 0 w 81451"/>
                    <a:gd name="connsiteY0" fmla="*/ 44044 h 44043"/>
                    <a:gd name="connsiteX1" fmla="*/ 37343 w 81451"/>
                    <a:gd name="connsiteY1" fmla="*/ 44044 h 44043"/>
                    <a:gd name="connsiteX2" fmla="*/ 81451 w 81451"/>
                    <a:gd name="connsiteY2" fmla="*/ 0 h 4404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81451" h="44043">
                      <a:moveTo>
                        <a:pt x="0" y="44044"/>
                      </a:moveTo>
                      <a:lnTo>
                        <a:pt x="37343" y="44044"/>
                      </a:lnTo>
                      <a:lnTo>
                        <a:pt x="81451" y="0"/>
                      </a:lnTo>
                    </a:path>
                  </a:pathLst>
                </a:custGeom>
                <a:noFill/>
                <a:ln w="19050" cap="sq">
                  <a:solidFill>
                    <a:srgbClr val="00FF94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74" name="Forma livre: Forma 73">
                  <a:extLst>
                    <a:ext uri="{FF2B5EF4-FFF2-40B4-BE49-F238E27FC236}">
                      <a16:creationId xmlns:a16="http://schemas.microsoft.com/office/drawing/2014/main" id="{FD34879D-4195-DCE8-E890-25F943979631}"/>
                    </a:ext>
                  </a:extLst>
                </p:cNvPr>
                <p:cNvSpPr/>
                <p:nvPr/>
              </p:nvSpPr>
              <p:spPr>
                <a:xfrm>
                  <a:off x="6265075" y="1357908"/>
                  <a:ext cx="55298" cy="55298"/>
                </a:xfrm>
                <a:custGeom>
                  <a:avLst/>
                  <a:gdLst>
                    <a:gd name="connsiteX0" fmla="*/ 55298 w 55298"/>
                    <a:gd name="connsiteY0" fmla="*/ 27649 h 55298"/>
                    <a:gd name="connsiteX1" fmla="*/ 27649 w 55298"/>
                    <a:gd name="connsiteY1" fmla="*/ 0 h 55298"/>
                    <a:gd name="connsiteX2" fmla="*/ 0 w 55298"/>
                    <a:gd name="connsiteY2" fmla="*/ 27649 h 55298"/>
                    <a:gd name="connsiteX3" fmla="*/ 27649 w 55298"/>
                    <a:gd name="connsiteY3" fmla="*/ 55298 h 55298"/>
                    <a:gd name="connsiteX4" fmla="*/ 55298 w 55298"/>
                    <a:gd name="connsiteY4" fmla="*/ 27649 h 552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5298" h="55298">
                      <a:moveTo>
                        <a:pt x="55298" y="27649"/>
                      </a:moveTo>
                      <a:cubicBezTo>
                        <a:pt x="55298" y="12361"/>
                        <a:pt x="42938" y="0"/>
                        <a:pt x="27649" y="0"/>
                      </a:cubicBezTo>
                      <a:cubicBezTo>
                        <a:pt x="12361" y="0"/>
                        <a:pt x="0" y="12361"/>
                        <a:pt x="0" y="27649"/>
                      </a:cubicBezTo>
                      <a:cubicBezTo>
                        <a:pt x="0" y="42938"/>
                        <a:pt x="12361" y="55298"/>
                        <a:pt x="27649" y="55298"/>
                      </a:cubicBezTo>
                      <a:cubicBezTo>
                        <a:pt x="42938" y="55298"/>
                        <a:pt x="55298" y="42938"/>
                        <a:pt x="55298" y="27649"/>
                      </a:cubicBezTo>
                      <a:close/>
                    </a:path>
                  </a:pathLst>
                </a:custGeom>
                <a:noFill/>
                <a:ln w="19050" cap="sq">
                  <a:solidFill>
                    <a:srgbClr val="00FF94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67" name="Gráfico 32">
                <a:extLst>
                  <a:ext uri="{FF2B5EF4-FFF2-40B4-BE49-F238E27FC236}">
                    <a16:creationId xmlns:a16="http://schemas.microsoft.com/office/drawing/2014/main" id="{1A6F24C2-B7FB-B3DC-4119-83381B086382}"/>
                  </a:ext>
                </a:extLst>
              </p:cNvPr>
              <p:cNvGrpSpPr/>
              <p:nvPr/>
            </p:nvGrpSpPr>
            <p:grpSpPr>
              <a:xfrm>
                <a:off x="6190910" y="1529723"/>
                <a:ext cx="123673" cy="55298"/>
                <a:chOff x="6190910" y="1529723"/>
                <a:chExt cx="123673" cy="55298"/>
              </a:xfrm>
              <a:noFill/>
            </p:grpSpPr>
            <p:sp>
              <p:nvSpPr>
                <p:cNvPr id="69" name="Forma livre: Forma 68">
                  <a:extLst>
                    <a:ext uri="{FF2B5EF4-FFF2-40B4-BE49-F238E27FC236}">
                      <a16:creationId xmlns:a16="http://schemas.microsoft.com/office/drawing/2014/main" id="{814ED60D-1765-5270-6D11-8E88805E9E1C}"/>
                    </a:ext>
                  </a:extLst>
                </p:cNvPr>
                <p:cNvSpPr/>
                <p:nvPr/>
              </p:nvSpPr>
              <p:spPr>
                <a:xfrm>
                  <a:off x="6190910" y="1557372"/>
                  <a:ext cx="68765" cy="6505"/>
                </a:xfrm>
                <a:custGeom>
                  <a:avLst/>
                  <a:gdLst>
                    <a:gd name="connsiteX0" fmla="*/ 0 w 68765"/>
                    <a:gd name="connsiteY0" fmla="*/ 0 h 6505"/>
                    <a:gd name="connsiteX1" fmla="*/ 68765 w 68765"/>
                    <a:gd name="connsiteY1" fmla="*/ 0 h 650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68765" h="6505">
                      <a:moveTo>
                        <a:pt x="0" y="0"/>
                      </a:moveTo>
                      <a:lnTo>
                        <a:pt x="68765" y="0"/>
                      </a:lnTo>
                    </a:path>
                  </a:pathLst>
                </a:custGeom>
                <a:ln w="19050" cap="sq">
                  <a:solidFill>
                    <a:srgbClr val="00FF94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70" name="Forma livre: Forma 69">
                  <a:extLst>
                    <a:ext uri="{FF2B5EF4-FFF2-40B4-BE49-F238E27FC236}">
                      <a16:creationId xmlns:a16="http://schemas.microsoft.com/office/drawing/2014/main" id="{D5FF2373-02E2-466D-A118-5EE94AC4DAB7}"/>
                    </a:ext>
                  </a:extLst>
                </p:cNvPr>
                <p:cNvSpPr/>
                <p:nvPr/>
              </p:nvSpPr>
              <p:spPr>
                <a:xfrm>
                  <a:off x="6259285" y="1529723"/>
                  <a:ext cx="55298" cy="55298"/>
                </a:xfrm>
                <a:custGeom>
                  <a:avLst/>
                  <a:gdLst>
                    <a:gd name="connsiteX0" fmla="*/ 55298 w 55298"/>
                    <a:gd name="connsiteY0" fmla="*/ 27649 h 55298"/>
                    <a:gd name="connsiteX1" fmla="*/ 27649 w 55298"/>
                    <a:gd name="connsiteY1" fmla="*/ 55298 h 55298"/>
                    <a:gd name="connsiteX2" fmla="*/ 0 w 55298"/>
                    <a:gd name="connsiteY2" fmla="*/ 27649 h 55298"/>
                    <a:gd name="connsiteX3" fmla="*/ 27649 w 55298"/>
                    <a:gd name="connsiteY3" fmla="*/ 0 h 55298"/>
                    <a:gd name="connsiteX4" fmla="*/ 55298 w 55298"/>
                    <a:gd name="connsiteY4" fmla="*/ 27649 h 552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5298" h="55298">
                      <a:moveTo>
                        <a:pt x="55298" y="27649"/>
                      </a:moveTo>
                      <a:cubicBezTo>
                        <a:pt x="55298" y="42938"/>
                        <a:pt x="42938" y="55298"/>
                        <a:pt x="27649" y="55298"/>
                      </a:cubicBezTo>
                      <a:cubicBezTo>
                        <a:pt x="12361" y="55298"/>
                        <a:pt x="0" y="42938"/>
                        <a:pt x="0" y="27649"/>
                      </a:cubicBezTo>
                      <a:cubicBezTo>
                        <a:pt x="0" y="12361"/>
                        <a:pt x="12361" y="0"/>
                        <a:pt x="27649" y="0"/>
                      </a:cubicBezTo>
                      <a:cubicBezTo>
                        <a:pt x="42938" y="0"/>
                        <a:pt x="55298" y="12361"/>
                        <a:pt x="55298" y="27649"/>
                      </a:cubicBezTo>
                      <a:close/>
                    </a:path>
                  </a:pathLst>
                </a:custGeom>
                <a:noFill/>
                <a:ln w="19050" cap="sq">
                  <a:solidFill>
                    <a:srgbClr val="00FF94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68" name="Forma livre: Forma 67">
                <a:extLst>
                  <a:ext uri="{FF2B5EF4-FFF2-40B4-BE49-F238E27FC236}">
                    <a16:creationId xmlns:a16="http://schemas.microsoft.com/office/drawing/2014/main" id="{1C6CA493-FF7A-9BC5-F2D6-D9C4AEB31B0E}"/>
                  </a:ext>
                </a:extLst>
              </p:cNvPr>
              <p:cNvSpPr/>
              <p:nvPr/>
            </p:nvSpPr>
            <p:spPr>
              <a:xfrm>
                <a:off x="6152201" y="1686285"/>
                <a:ext cx="37362" cy="20848"/>
              </a:xfrm>
              <a:custGeom>
                <a:avLst/>
                <a:gdLst>
                  <a:gd name="connsiteX0" fmla="*/ 0 w 37362"/>
                  <a:gd name="connsiteY0" fmla="*/ 10505 h 20848"/>
                  <a:gd name="connsiteX1" fmla="*/ 27064 w 37362"/>
                  <a:gd name="connsiteY1" fmla="*/ 2373 h 20848"/>
                  <a:gd name="connsiteX2" fmla="*/ 37343 w 37362"/>
                  <a:gd name="connsiteY2" fmla="*/ 20849 h 208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7362" h="20848">
                    <a:moveTo>
                      <a:pt x="0" y="10505"/>
                    </a:moveTo>
                    <a:cubicBezTo>
                      <a:pt x="5205" y="811"/>
                      <a:pt x="17435" y="-2832"/>
                      <a:pt x="27064" y="2373"/>
                    </a:cubicBezTo>
                    <a:cubicBezTo>
                      <a:pt x="34025" y="6081"/>
                      <a:pt x="37668" y="13432"/>
                      <a:pt x="37343" y="20849"/>
                    </a:cubicBezTo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11" name="Agrupar 110">
            <a:extLst>
              <a:ext uri="{FF2B5EF4-FFF2-40B4-BE49-F238E27FC236}">
                <a16:creationId xmlns:a16="http://schemas.microsoft.com/office/drawing/2014/main" id="{2FFB6268-97CF-1C95-4F3C-37005D498B47}"/>
              </a:ext>
            </a:extLst>
          </p:cNvPr>
          <p:cNvGrpSpPr/>
          <p:nvPr/>
        </p:nvGrpSpPr>
        <p:grpSpPr>
          <a:xfrm>
            <a:off x="8841557" y="3601015"/>
            <a:ext cx="524521" cy="524521"/>
            <a:chOff x="8841557" y="3601015"/>
            <a:chExt cx="524521" cy="524521"/>
          </a:xfrm>
        </p:grpSpPr>
        <p:sp>
          <p:nvSpPr>
            <p:cNvPr id="85" name="Oval 84">
              <a:extLst>
                <a:ext uri="{FF2B5EF4-FFF2-40B4-BE49-F238E27FC236}">
                  <a16:creationId xmlns:a16="http://schemas.microsoft.com/office/drawing/2014/main" id="{7332F747-2533-0E96-02D1-242D7697E048}"/>
                </a:ext>
              </a:extLst>
            </p:cNvPr>
            <p:cNvSpPr/>
            <p:nvPr/>
          </p:nvSpPr>
          <p:spPr>
            <a:xfrm>
              <a:off x="8841557" y="3601015"/>
              <a:ext cx="524521" cy="524521"/>
            </a:xfrm>
            <a:prstGeom prst="ellipse">
              <a:avLst/>
            </a:prstGeom>
            <a:solidFill>
              <a:srgbClr val="132153"/>
            </a:solidFill>
            <a:ln w="42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86" name="Agrupar 85">
              <a:extLst>
                <a:ext uri="{FF2B5EF4-FFF2-40B4-BE49-F238E27FC236}">
                  <a16:creationId xmlns:a16="http://schemas.microsoft.com/office/drawing/2014/main" id="{F1C5096B-79DF-0C17-9F8D-7E538DA18243}"/>
                </a:ext>
              </a:extLst>
            </p:cNvPr>
            <p:cNvGrpSpPr/>
            <p:nvPr/>
          </p:nvGrpSpPr>
          <p:grpSpPr>
            <a:xfrm>
              <a:off x="8961213" y="3708001"/>
              <a:ext cx="283538" cy="309640"/>
              <a:chOff x="6000092" y="1357908"/>
              <a:chExt cx="365300" cy="398929"/>
            </a:xfrm>
          </p:grpSpPr>
          <p:sp>
            <p:nvSpPr>
              <p:cNvPr id="87" name="Forma livre: Forma 86">
                <a:extLst>
                  <a:ext uri="{FF2B5EF4-FFF2-40B4-BE49-F238E27FC236}">
                    <a16:creationId xmlns:a16="http://schemas.microsoft.com/office/drawing/2014/main" id="{CFDC3223-EA3E-FF83-6AA3-1D8B0A92720A}"/>
                  </a:ext>
                </a:extLst>
              </p:cNvPr>
              <p:cNvSpPr/>
              <p:nvPr/>
            </p:nvSpPr>
            <p:spPr>
              <a:xfrm>
                <a:off x="6000092" y="1418606"/>
                <a:ext cx="84058" cy="286120"/>
              </a:xfrm>
              <a:custGeom>
                <a:avLst/>
                <a:gdLst>
                  <a:gd name="connsiteX0" fmla="*/ 51595 w 84058"/>
                  <a:gd name="connsiteY0" fmla="*/ 0 h 286120"/>
                  <a:gd name="connsiteX1" fmla="*/ 35266 w 84058"/>
                  <a:gd name="connsiteY1" fmla="*/ 61674 h 286120"/>
                  <a:gd name="connsiteX2" fmla="*/ 28760 w 84058"/>
                  <a:gd name="connsiteY2" fmla="*/ 193415 h 286120"/>
                  <a:gd name="connsiteX3" fmla="*/ 84059 w 84058"/>
                  <a:gd name="connsiteY3" fmla="*/ 286121 h 2861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4058" h="286120">
                    <a:moveTo>
                      <a:pt x="51595" y="0"/>
                    </a:moveTo>
                    <a:cubicBezTo>
                      <a:pt x="37868" y="7872"/>
                      <a:pt x="26028" y="24852"/>
                      <a:pt x="35266" y="61674"/>
                    </a:cubicBezTo>
                    <a:cubicBezTo>
                      <a:pt x="35266" y="61674"/>
                      <a:pt x="-39549" y="126731"/>
                      <a:pt x="28760" y="193415"/>
                    </a:cubicBezTo>
                    <a:cubicBezTo>
                      <a:pt x="28760" y="193415"/>
                      <a:pt x="9243" y="281242"/>
                      <a:pt x="84059" y="286121"/>
                    </a:cubicBezTo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88" name="Gráfico 32">
                <a:extLst>
                  <a:ext uri="{FF2B5EF4-FFF2-40B4-BE49-F238E27FC236}">
                    <a16:creationId xmlns:a16="http://schemas.microsoft.com/office/drawing/2014/main" id="{E6E309A6-D9BA-18AA-C699-DC03B45C4AA5}"/>
                  </a:ext>
                </a:extLst>
              </p:cNvPr>
              <p:cNvGrpSpPr/>
              <p:nvPr/>
            </p:nvGrpSpPr>
            <p:grpSpPr>
              <a:xfrm>
                <a:off x="6061121" y="1359924"/>
                <a:ext cx="128487" cy="396366"/>
                <a:chOff x="6061121" y="1359924"/>
                <a:chExt cx="128487" cy="396366"/>
              </a:xfrm>
              <a:noFill/>
            </p:grpSpPr>
            <p:sp>
              <p:nvSpPr>
                <p:cNvPr id="103" name="Forma livre: Forma 102">
                  <a:extLst>
                    <a:ext uri="{FF2B5EF4-FFF2-40B4-BE49-F238E27FC236}">
                      <a16:creationId xmlns:a16="http://schemas.microsoft.com/office/drawing/2014/main" id="{61B4D231-8D9F-3862-888B-40CD9ECA8AE1}"/>
                    </a:ext>
                  </a:extLst>
                </p:cNvPr>
                <p:cNvSpPr/>
                <p:nvPr/>
              </p:nvSpPr>
              <p:spPr>
                <a:xfrm>
                  <a:off x="6083891" y="1359924"/>
                  <a:ext cx="105717" cy="396366"/>
                </a:xfrm>
                <a:custGeom>
                  <a:avLst/>
                  <a:gdLst>
                    <a:gd name="connsiteX0" fmla="*/ 52891 w 105717"/>
                    <a:gd name="connsiteY0" fmla="*/ 105718 h 396366"/>
                    <a:gd name="connsiteX1" fmla="*/ 0 w 105717"/>
                    <a:gd name="connsiteY1" fmla="*/ 52891 h 396366"/>
                    <a:gd name="connsiteX2" fmla="*/ 52891 w 105717"/>
                    <a:gd name="connsiteY2" fmla="*/ 0 h 396366"/>
                    <a:gd name="connsiteX3" fmla="*/ 105718 w 105717"/>
                    <a:gd name="connsiteY3" fmla="*/ 52826 h 396366"/>
                    <a:gd name="connsiteX4" fmla="*/ 105718 w 105717"/>
                    <a:gd name="connsiteY4" fmla="*/ 346884 h 396366"/>
                    <a:gd name="connsiteX5" fmla="*/ 80606 w 105717"/>
                    <a:gd name="connsiteY5" fmla="*/ 388911 h 396366"/>
                    <a:gd name="connsiteX6" fmla="*/ 9238 w 105717"/>
                    <a:gd name="connsiteY6" fmla="*/ 371150 h 396366"/>
                    <a:gd name="connsiteX7" fmla="*/ 15484 w 105717"/>
                    <a:gd name="connsiteY7" fmla="*/ 309216 h 396366"/>
                    <a:gd name="connsiteX8" fmla="*/ 45019 w 105717"/>
                    <a:gd name="connsiteY8" fmla="*/ 277078 h 39636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105717" h="396366">
                      <a:moveTo>
                        <a:pt x="52891" y="105718"/>
                      </a:moveTo>
                      <a:cubicBezTo>
                        <a:pt x="23681" y="105718"/>
                        <a:pt x="0" y="82037"/>
                        <a:pt x="0" y="52891"/>
                      </a:cubicBezTo>
                      <a:cubicBezTo>
                        <a:pt x="0" y="23746"/>
                        <a:pt x="23681" y="0"/>
                        <a:pt x="52891" y="0"/>
                      </a:cubicBezTo>
                      <a:cubicBezTo>
                        <a:pt x="82102" y="0"/>
                        <a:pt x="105718" y="23681"/>
                        <a:pt x="105718" y="52826"/>
                      </a:cubicBezTo>
                      <a:lnTo>
                        <a:pt x="105718" y="346884"/>
                      </a:lnTo>
                      <a:cubicBezTo>
                        <a:pt x="105718" y="364580"/>
                        <a:pt x="96414" y="379413"/>
                        <a:pt x="80606" y="388911"/>
                      </a:cubicBezTo>
                      <a:cubicBezTo>
                        <a:pt x="55949" y="403744"/>
                        <a:pt x="24006" y="395742"/>
                        <a:pt x="9238" y="371150"/>
                      </a:cubicBezTo>
                      <a:cubicBezTo>
                        <a:pt x="-2928" y="350918"/>
                        <a:pt x="260" y="325741"/>
                        <a:pt x="15484" y="309216"/>
                      </a:cubicBezTo>
                      <a:lnTo>
                        <a:pt x="45019" y="277078"/>
                      </a:lnTo>
                    </a:path>
                  </a:pathLst>
                </a:custGeom>
                <a:noFill/>
                <a:ln w="19050" cap="sq">
                  <a:solidFill>
                    <a:srgbClr val="00FF94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04" name="Forma livre: Forma 103">
                  <a:extLst>
                    <a:ext uri="{FF2B5EF4-FFF2-40B4-BE49-F238E27FC236}">
                      <a16:creationId xmlns:a16="http://schemas.microsoft.com/office/drawing/2014/main" id="{A04BE5E3-3C7C-08A4-56B6-FE3F93EE6E34}"/>
                    </a:ext>
                  </a:extLst>
                </p:cNvPr>
                <p:cNvSpPr/>
                <p:nvPr/>
              </p:nvSpPr>
              <p:spPr>
                <a:xfrm>
                  <a:off x="6144784" y="1383865"/>
                  <a:ext cx="41563" cy="38963"/>
                </a:xfrm>
                <a:custGeom>
                  <a:avLst/>
                  <a:gdLst>
                    <a:gd name="connsiteX0" fmla="*/ 36172 w 41563"/>
                    <a:gd name="connsiteY0" fmla="*/ 0 h 38963"/>
                    <a:gd name="connsiteX1" fmla="*/ 39425 w 41563"/>
                    <a:gd name="connsiteY1" fmla="*/ 24266 h 38963"/>
                    <a:gd name="connsiteX2" fmla="*/ 36432 w 41563"/>
                    <a:gd name="connsiteY2" fmla="*/ 29080 h 38963"/>
                    <a:gd name="connsiteX3" fmla="*/ 0 w 41563"/>
                    <a:gd name="connsiteY3" fmla="*/ 33439 h 3896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1563" h="38963">
                      <a:moveTo>
                        <a:pt x="36172" y="0"/>
                      </a:moveTo>
                      <a:cubicBezTo>
                        <a:pt x="41571" y="7547"/>
                        <a:pt x="43393" y="16004"/>
                        <a:pt x="39425" y="24266"/>
                      </a:cubicBezTo>
                      <a:cubicBezTo>
                        <a:pt x="38644" y="25893"/>
                        <a:pt x="37603" y="27519"/>
                        <a:pt x="36432" y="29080"/>
                      </a:cubicBezTo>
                      <a:cubicBezTo>
                        <a:pt x="27584" y="40270"/>
                        <a:pt x="11190" y="42287"/>
                        <a:pt x="0" y="33439"/>
                      </a:cubicBezTo>
                    </a:path>
                  </a:pathLst>
                </a:custGeom>
                <a:noFill/>
                <a:ln w="19050" cap="sq">
                  <a:solidFill>
                    <a:srgbClr val="00FF94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05" name="Forma livre: Forma 104">
                  <a:extLst>
                    <a:ext uri="{FF2B5EF4-FFF2-40B4-BE49-F238E27FC236}">
                      <a16:creationId xmlns:a16="http://schemas.microsoft.com/office/drawing/2014/main" id="{A516AD3E-E364-07F6-2FD3-B31ECD40CA60}"/>
                    </a:ext>
                  </a:extLst>
                </p:cNvPr>
                <p:cNvSpPr/>
                <p:nvPr/>
              </p:nvSpPr>
              <p:spPr>
                <a:xfrm>
                  <a:off x="6081487" y="1460806"/>
                  <a:ext cx="34217" cy="54474"/>
                </a:xfrm>
                <a:custGeom>
                  <a:avLst/>
                  <a:gdLst>
                    <a:gd name="connsiteX0" fmla="*/ 21076 w 34217"/>
                    <a:gd name="connsiteY0" fmla="*/ 54475 h 54474"/>
                    <a:gd name="connsiteX1" fmla="*/ 778 w 34217"/>
                    <a:gd name="connsiteY1" fmla="*/ 21035 h 54474"/>
                    <a:gd name="connsiteX2" fmla="*/ 34217 w 34217"/>
                    <a:gd name="connsiteY2" fmla="*/ 803 h 544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34217" h="54474">
                      <a:moveTo>
                        <a:pt x="21076" y="54475"/>
                      </a:moveTo>
                      <a:cubicBezTo>
                        <a:pt x="6308" y="50832"/>
                        <a:pt x="-2800" y="35803"/>
                        <a:pt x="778" y="21035"/>
                      </a:cubicBezTo>
                      <a:cubicBezTo>
                        <a:pt x="4421" y="6267"/>
                        <a:pt x="19449" y="-2841"/>
                        <a:pt x="34217" y="803"/>
                      </a:cubicBezTo>
                    </a:path>
                  </a:pathLst>
                </a:custGeom>
                <a:noFill/>
                <a:ln w="19050" cap="sq">
                  <a:solidFill>
                    <a:srgbClr val="00FF94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06" name="Forma livre: Forma 105">
                  <a:extLst>
                    <a:ext uri="{FF2B5EF4-FFF2-40B4-BE49-F238E27FC236}">
                      <a16:creationId xmlns:a16="http://schemas.microsoft.com/office/drawing/2014/main" id="{30AC40FA-F085-AACD-991C-AD993C922201}"/>
                    </a:ext>
                  </a:extLst>
                </p:cNvPr>
                <p:cNvSpPr/>
                <p:nvPr/>
              </p:nvSpPr>
              <p:spPr>
                <a:xfrm>
                  <a:off x="6073547" y="1527543"/>
                  <a:ext cx="114760" cy="72506"/>
                </a:xfrm>
                <a:custGeom>
                  <a:avLst/>
                  <a:gdLst>
                    <a:gd name="connsiteX0" fmla="*/ 114760 w 114760"/>
                    <a:gd name="connsiteY0" fmla="*/ 7254 h 72506"/>
                    <a:gd name="connsiteX1" fmla="*/ 73905 w 114760"/>
                    <a:gd name="connsiteY1" fmla="*/ 8881 h 72506"/>
                    <a:gd name="connsiteX2" fmla="*/ 0 w 114760"/>
                    <a:gd name="connsiteY2" fmla="*/ 72506 h 7250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14760" h="72506">
                      <a:moveTo>
                        <a:pt x="114760" y="7254"/>
                      </a:moveTo>
                      <a:cubicBezTo>
                        <a:pt x="103375" y="-2830"/>
                        <a:pt x="83989" y="-2504"/>
                        <a:pt x="73905" y="8881"/>
                      </a:cubicBezTo>
                      <a:cubicBezTo>
                        <a:pt x="73905" y="8881"/>
                        <a:pt x="31488" y="72506"/>
                        <a:pt x="0" y="72506"/>
                      </a:cubicBezTo>
                    </a:path>
                  </a:pathLst>
                </a:custGeom>
                <a:noFill/>
                <a:ln w="19050" cap="sq">
                  <a:solidFill>
                    <a:srgbClr val="00FF94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07" name="Forma livre: Forma 106">
                  <a:extLst>
                    <a:ext uri="{FF2B5EF4-FFF2-40B4-BE49-F238E27FC236}">
                      <a16:creationId xmlns:a16="http://schemas.microsoft.com/office/drawing/2014/main" id="{992C3681-3003-DC37-EC44-D0DFA4BB5A41}"/>
                    </a:ext>
                  </a:extLst>
                </p:cNvPr>
                <p:cNvSpPr/>
                <p:nvPr/>
              </p:nvSpPr>
              <p:spPr>
                <a:xfrm>
                  <a:off x="6079857" y="1646956"/>
                  <a:ext cx="29405" cy="9823"/>
                </a:xfrm>
                <a:custGeom>
                  <a:avLst/>
                  <a:gdLst>
                    <a:gd name="connsiteX0" fmla="*/ 0 w 29405"/>
                    <a:gd name="connsiteY0" fmla="*/ 0 h 9823"/>
                    <a:gd name="connsiteX1" fmla="*/ 29406 w 29405"/>
                    <a:gd name="connsiteY1" fmla="*/ 9824 h 982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9405" h="9823">
                      <a:moveTo>
                        <a:pt x="0" y="0"/>
                      </a:moveTo>
                      <a:lnTo>
                        <a:pt x="29406" y="9824"/>
                      </a:lnTo>
                    </a:path>
                  </a:pathLst>
                </a:custGeom>
                <a:ln w="19050" cap="sq">
                  <a:solidFill>
                    <a:srgbClr val="00FF94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08" name="Forma livre: Forma 107">
                  <a:extLst>
                    <a:ext uri="{FF2B5EF4-FFF2-40B4-BE49-F238E27FC236}">
                      <a16:creationId xmlns:a16="http://schemas.microsoft.com/office/drawing/2014/main" id="{627E07DD-3550-22AD-C669-E0DADE0D2C52}"/>
                    </a:ext>
                  </a:extLst>
                </p:cNvPr>
                <p:cNvSpPr/>
                <p:nvPr/>
              </p:nvSpPr>
              <p:spPr>
                <a:xfrm>
                  <a:off x="6061121" y="1545272"/>
                  <a:ext cx="47166" cy="34154"/>
                </a:xfrm>
                <a:custGeom>
                  <a:avLst/>
                  <a:gdLst>
                    <a:gd name="connsiteX0" fmla="*/ 0 w 47166"/>
                    <a:gd name="connsiteY0" fmla="*/ 0 h 34154"/>
                    <a:gd name="connsiteX1" fmla="*/ 47166 w 47166"/>
                    <a:gd name="connsiteY1" fmla="*/ 34155 h 3415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7166" h="34154">
                      <a:moveTo>
                        <a:pt x="0" y="0"/>
                      </a:moveTo>
                      <a:cubicBezTo>
                        <a:pt x="0" y="0"/>
                        <a:pt x="27649" y="13011"/>
                        <a:pt x="47166" y="34155"/>
                      </a:cubicBezTo>
                    </a:path>
                  </a:pathLst>
                </a:custGeom>
                <a:noFill/>
                <a:ln w="19050" cap="sq">
                  <a:solidFill>
                    <a:srgbClr val="00FF94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89" name="Gráfico 32">
                <a:extLst>
                  <a:ext uri="{FF2B5EF4-FFF2-40B4-BE49-F238E27FC236}">
                    <a16:creationId xmlns:a16="http://schemas.microsoft.com/office/drawing/2014/main" id="{7DF8FEA0-BEE0-6F53-F340-83C9A3929F0B}"/>
                  </a:ext>
                </a:extLst>
              </p:cNvPr>
              <p:cNvGrpSpPr/>
              <p:nvPr/>
            </p:nvGrpSpPr>
            <p:grpSpPr>
              <a:xfrm>
                <a:off x="6191625" y="1599725"/>
                <a:ext cx="173767" cy="157112"/>
                <a:chOff x="6191625" y="1599725"/>
                <a:chExt cx="173767" cy="157112"/>
              </a:xfrm>
              <a:noFill/>
            </p:grpSpPr>
            <p:sp>
              <p:nvSpPr>
                <p:cNvPr id="99" name="Forma livre: Forma 98">
                  <a:extLst>
                    <a:ext uri="{FF2B5EF4-FFF2-40B4-BE49-F238E27FC236}">
                      <a16:creationId xmlns:a16="http://schemas.microsoft.com/office/drawing/2014/main" id="{03161C38-3D63-3A68-7A93-6E681781BB53}"/>
                    </a:ext>
                  </a:extLst>
                </p:cNvPr>
                <p:cNvSpPr/>
                <p:nvPr/>
              </p:nvSpPr>
              <p:spPr>
                <a:xfrm>
                  <a:off x="6310094" y="1621974"/>
                  <a:ext cx="55298" cy="55298"/>
                </a:xfrm>
                <a:custGeom>
                  <a:avLst/>
                  <a:gdLst>
                    <a:gd name="connsiteX0" fmla="*/ 55298 w 55298"/>
                    <a:gd name="connsiteY0" fmla="*/ 27649 h 55298"/>
                    <a:gd name="connsiteX1" fmla="*/ 27649 w 55298"/>
                    <a:gd name="connsiteY1" fmla="*/ 55298 h 55298"/>
                    <a:gd name="connsiteX2" fmla="*/ 0 w 55298"/>
                    <a:gd name="connsiteY2" fmla="*/ 27649 h 55298"/>
                    <a:gd name="connsiteX3" fmla="*/ 27649 w 55298"/>
                    <a:gd name="connsiteY3" fmla="*/ 0 h 55298"/>
                    <a:gd name="connsiteX4" fmla="*/ 55298 w 55298"/>
                    <a:gd name="connsiteY4" fmla="*/ 27649 h 552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5298" h="55298">
                      <a:moveTo>
                        <a:pt x="55298" y="27649"/>
                      </a:moveTo>
                      <a:cubicBezTo>
                        <a:pt x="55298" y="42938"/>
                        <a:pt x="42938" y="55298"/>
                        <a:pt x="27649" y="55298"/>
                      </a:cubicBezTo>
                      <a:cubicBezTo>
                        <a:pt x="12361" y="55298"/>
                        <a:pt x="0" y="42938"/>
                        <a:pt x="0" y="27649"/>
                      </a:cubicBezTo>
                      <a:cubicBezTo>
                        <a:pt x="0" y="12361"/>
                        <a:pt x="12361" y="0"/>
                        <a:pt x="27649" y="0"/>
                      </a:cubicBezTo>
                      <a:cubicBezTo>
                        <a:pt x="42938" y="0"/>
                        <a:pt x="55298" y="12361"/>
                        <a:pt x="55298" y="27649"/>
                      </a:cubicBezTo>
                      <a:close/>
                    </a:path>
                  </a:pathLst>
                </a:custGeom>
                <a:noFill/>
                <a:ln w="19050" cap="sq">
                  <a:solidFill>
                    <a:srgbClr val="00FF94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00" name="Forma livre: Forma 99">
                  <a:extLst>
                    <a:ext uri="{FF2B5EF4-FFF2-40B4-BE49-F238E27FC236}">
                      <a16:creationId xmlns:a16="http://schemas.microsoft.com/office/drawing/2014/main" id="{74D8C1C2-0B86-B925-780E-8ACF2716DE1A}"/>
                    </a:ext>
                  </a:extLst>
                </p:cNvPr>
                <p:cNvSpPr/>
                <p:nvPr/>
              </p:nvSpPr>
              <p:spPr>
                <a:xfrm>
                  <a:off x="6191625" y="1599725"/>
                  <a:ext cx="118078" cy="49898"/>
                </a:xfrm>
                <a:custGeom>
                  <a:avLst/>
                  <a:gdLst>
                    <a:gd name="connsiteX0" fmla="*/ 0 w 118078"/>
                    <a:gd name="connsiteY0" fmla="*/ 0 h 49898"/>
                    <a:gd name="connsiteX1" fmla="*/ 37343 w 118078"/>
                    <a:gd name="connsiteY1" fmla="*/ 0 h 49898"/>
                    <a:gd name="connsiteX2" fmla="*/ 87176 w 118078"/>
                    <a:gd name="connsiteY2" fmla="*/ 49899 h 49898"/>
                    <a:gd name="connsiteX3" fmla="*/ 118078 w 118078"/>
                    <a:gd name="connsiteY3" fmla="*/ 49899 h 498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18078" h="49898">
                      <a:moveTo>
                        <a:pt x="0" y="0"/>
                      </a:moveTo>
                      <a:lnTo>
                        <a:pt x="37343" y="0"/>
                      </a:lnTo>
                      <a:lnTo>
                        <a:pt x="87176" y="49899"/>
                      </a:lnTo>
                      <a:lnTo>
                        <a:pt x="118078" y="49899"/>
                      </a:lnTo>
                    </a:path>
                  </a:pathLst>
                </a:custGeom>
                <a:noFill/>
                <a:ln w="19050" cap="sq">
                  <a:solidFill>
                    <a:srgbClr val="00FF94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01" name="Forma livre: Forma 100">
                  <a:extLst>
                    <a:ext uri="{FF2B5EF4-FFF2-40B4-BE49-F238E27FC236}">
                      <a16:creationId xmlns:a16="http://schemas.microsoft.com/office/drawing/2014/main" id="{71B67EDD-CB7E-E217-1C15-2EB75E5B0A5F}"/>
                    </a:ext>
                  </a:extLst>
                </p:cNvPr>
                <p:cNvSpPr/>
                <p:nvPr/>
              </p:nvSpPr>
              <p:spPr>
                <a:xfrm>
                  <a:off x="6191625" y="1665367"/>
                  <a:ext cx="81906" cy="44108"/>
                </a:xfrm>
                <a:custGeom>
                  <a:avLst/>
                  <a:gdLst>
                    <a:gd name="connsiteX0" fmla="*/ 0 w 81906"/>
                    <a:gd name="connsiteY0" fmla="*/ 0 h 44108"/>
                    <a:gd name="connsiteX1" fmla="*/ 37343 w 81906"/>
                    <a:gd name="connsiteY1" fmla="*/ 0 h 44108"/>
                    <a:gd name="connsiteX2" fmla="*/ 81907 w 81906"/>
                    <a:gd name="connsiteY2" fmla="*/ 44109 h 4410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81906" h="44108">
                      <a:moveTo>
                        <a:pt x="0" y="0"/>
                      </a:moveTo>
                      <a:lnTo>
                        <a:pt x="37343" y="0"/>
                      </a:lnTo>
                      <a:lnTo>
                        <a:pt x="81907" y="44109"/>
                      </a:lnTo>
                    </a:path>
                  </a:pathLst>
                </a:custGeom>
                <a:noFill/>
                <a:ln w="19050" cap="sq">
                  <a:solidFill>
                    <a:srgbClr val="00FF94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02" name="Forma livre: Forma 101">
                  <a:extLst>
                    <a:ext uri="{FF2B5EF4-FFF2-40B4-BE49-F238E27FC236}">
                      <a16:creationId xmlns:a16="http://schemas.microsoft.com/office/drawing/2014/main" id="{EE8D8561-A8C9-A3A6-DF46-DF63762B45EC}"/>
                    </a:ext>
                  </a:extLst>
                </p:cNvPr>
                <p:cNvSpPr/>
                <p:nvPr/>
              </p:nvSpPr>
              <p:spPr>
                <a:xfrm>
                  <a:off x="6265075" y="1701539"/>
                  <a:ext cx="55298" cy="55298"/>
                </a:xfrm>
                <a:custGeom>
                  <a:avLst/>
                  <a:gdLst>
                    <a:gd name="connsiteX0" fmla="*/ 55298 w 55298"/>
                    <a:gd name="connsiteY0" fmla="*/ 27649 h 55298"/>
                    <a:gd name="connsiteX1" fmla="*/ 27649 w 55298"/>
                    <a:gd name="connsiteY1" fmla="*/ 55298 h 55298"/>
                    <a:gd name="connsiteX2" fmla="*/ 0 w 55298"/>
                    <a:gd name="connsiteY2" fmla="*/ 27649 h 55298"/>
                    <a:gd name="connsiteX3" fmla="*/ 27649 w 55298"/>
                    <a:gd name="connsiteY3" fmla="*/ 0 h 55298"/>
                    <a:gd name="connsiteX4" fmla="*/ 55298 w 55298"/>
                    <a:gd name="connsiteY4" fmla="*/ 27649 h 552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5298" h="55298">
                      <a:moveTo>
                        <a:pt x="55298" y="27649"/>
                      </a:moveTo>
                      <a:cubicBezTo>
                        <a:pt x="55298" y="42938"/>
                        <a:pt x="42938" y="55298"/>
                        <a:pt x="27649" y="55298"/>
                      </a:cubicBezTo>
                      <a:cubicBezTo>
                        <a:pt x="12361" y="55298"/>
                        <a:pt x="0" y="42938"/>
                        <a:pt x="0" y="27649"/>
                      </a:cubicBezTo>
                      <a:cubicBezTo>
                        <a:pt x="0" y="12361"/>
                        <a:pt x="12361" y="0"/>
                        <a:pt x="27649" y="0"/>
                      </a:cubicBezTo>
                      <a:cubicBezTo>
                        <a:pt x="42938" y="0"/>
                        <a:pt x="55298" y="12361"/>
                        <a:pt x="55298" y="27649"/>
                      </a:cubicBezTo>
                      <a:close/>
                    </a:path>
                  </a:pathLst>
                </a:custGeom>
                <a:noFill/>
                <a:ln w="19050" cap="sq">
                  <a:solidFill>
                    <a:srgbClr val="00FF94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90" name="Gráfico 32">
                <a:extLst>
                  <a:ext uri="{FF2B5EF4-FFF2-40B4-BE49-F238E27FC236}">
                    <a16:creationId xmlns:a16="http://schemas.microsoft.com/office/drawing/2014/main" id="{BDB30C50-F188-2CC8-FE25-A88B9977B873}"/>
                  </a:ext>
                </a:extLst>
              </p:cNvPr>
              <p:cNvGrpSpPr/>
              <p:nvPr/>
            </p:nvGrpSpPr>
            <p:grpSpPr>
              <a:xfrm>
                <a:off x="6191625" y="1357908"/>
                <a:ext cx="173767" cy="157112"/>
                <a:chOff x="6191625" y="1357908"/>
                <a:chExt cx="173767" cy="157112"/>
              </a:xfrm>
              <a:noFill/>
            </p:grpSpPr>
            <p:sp>
              <p:nvSpPr>
                <p:cNvPr id="95" name="Forma livre: Forma 94">
                  <a:extLst>
                    <a:ext uri="{FF2B5EF4-FFF2-40B4-BE49-F238E27FC236}">
                      <a16:creationId xmlns:a16="http://schemas.microsoft.com/office/drawing/2014/main" id="{0A8D42F2-81C9-65F8-2A06-F6BC196C162C}"/>
                    </a:ext>
                  </a:extLst>
                </p:cNvPr>
                <p:cNvSpPr/>
                <p:nvPr/>
              </p:nvSpPr>
              <p:spPr>
                <a:xfrm>
                  <a:off x="6310094" y="1437472"/>
                  <a:ext cx="55298" cy="55298"/>
                </a:xfrm>
                <a:custGeom>
                  <a:avLst/>
                  <a:gdLst>
                    <a:gd name="connsiteX0" fmla="*/ 55298 w 55298"/>
                    <a:gd name="connsiteY0" fmla="*/ 27649 h 55298"/>
                    <a:gd name="connsiteX1" fmla="*/ 27649 w 55298"/>
                    <a:gd name="connsiteY1" fmla="*/ 0 h 55298"/>
                    <a:gd name="connsiteX2" fmla="*/ 0 w 55298"/>
                    <a:gd name="connsiteY2" fmla="*/ 27649 h 55298"/>
                    <a:gd name="connsiteX3" fmla="*/ 27649 w 55298"/>
                    <a:gd name="connsiteY3" fmla="*/ 55298 h 55298"/>
                    <a:gd name="connsiteX4" fmla="*/ 55298 w 55298"/>
                    <a:gd name="connsiteY4" fmla="*/ 27649 h 552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5298" h="55298">
                      <a:moveTo>
                        <a:pt x="55298" y="27649"/>
                      </a:moveTo>
                      <a:cubicBezTo>
                        <a:pt x="55298" y="12361"/>
                        <a:pt x="42938" y="0"/>
                        <a:pt x="27649" y="0"/>
                      </a:cubicBezTo>
                      <a:cubicBezTo>
                        <a:pt x="12361" y="0"/>
                        <a:pt x="0" y="12361"/>
                        <a:pt x="0" y="27649"/>
                      </a:cubicBezTo>
                      <a:cubicBezTo>
                        <a:pt x="0" y="42938"/>
                        <a:pt x="12361" y="55298"/>
                        <a:pt x="27649" y="55298"/>
                      </a:cubicBezTo>
                      <a:cubicBezTo>
                        <a:pt x="42938" y="55298"/>
                        <a:pt x="55298" y="42938"/>
                        <a:pt x="55298" y="27649"/>
                      </a:cubicBezTo>
                      <a:close/>
                    </a:path>
                  </a:pathLst>
                </a:custGeom>
                <a:noFill/>
                <a:ln w="19050" cap="sq">
                  <a:solidFill>
                    <a:srgbClr val="00FF94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96" name="Forma livre: Forma 95">
                  <a:extLst>
                    <a:ext uri="{FF2B5EF4-FFF2-40B4-BE49-F238E27FC236}">
                      <a16:creationId xmlns:a16="http://schemas.microsoft.com/office/drawing/2014/main" id="{2AF5087B-E516-1B0C-1520-62DE60E0724F}"/>
                    </a:ext>
                  </a:extLst>
                </p:cNvPr>
                <p:cNvSpPr/>
                <p:nvPr/>
              </p:nvSpPr>
              <p:spPr>
                <a:xfrm>
                  <a:off x="6191625" y="1465122"/>
                  <a:ext cx="118468" cy="49898"/>
                </a:xfrm>
                <a:custGeom>
                  <a:avLst/>
                  <a:gdLst>
                    <a:gd name="connsiteX0" fmla="*/ 0 w 118468"/>
                    <a:gd name="connsiteY0" fmla="*/ 49899 h 49898"/>
                    <a:gd name="connsiteX1" fmla="*/ 37343 w 118468"/>
                    <a:gd name="connsiteY1" fmla="*/ 49899 h 49898"/>
                    <a:gd name="connsiteX2" fmla="*/ 87176 w 118468"/>
                    <a:gd name="connsiteY2" fmla="*/ 0 h 49898"/>
                    <a:gd name="connsiteX3" fmla="*/ 118469 w 118468"/>
                    <a:gd name="connsiteY3" fmla="*/ 0 h 498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18468" h="49898">
                      <a:moveTo>
                        <a:pt x="0" y="49899"/>
                      </a:moveTo>
                      <a:lnTo>
                        <a:pt x="37343" y="49899"/>
                      </a:lnTo>
                      <a:lnTo>
                        <a:pt x="87176" y="0"/>
                      </a:lnTo>
                      <a:lnTo>
                        <a:pt x="118469" y="0"/>
                      </a:lnTo>
                    </a:path>
                  </a:pathLst>
                </a:custGeom>
                <a:noFill/>
                <a:ln w="19050" cap="sq">
                  <a:solidFill>
                    <a:srgbClr val="00FF94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97" name="Forma livre: Forma 96">
                  <a:extLst>
                    <a:ext uri="{FF2B5EF4-FFF2-40B4-BE49-F238E27FC236}">
                      <a16:creationId xmlns:a16="http://schemas.microsoft.com/office/drawing/2014/main" id="{2F0E2FE7-E227-4B32-446F-DC5509D5EFC0}"/>
                    </a:ext>
                  </a:extLst>
                </p:cNvPr>
                <p:cNvSpPr/>
                <p:nvPr/>
              </p:nvSpPr>
              <p:spPr>
                <a:xfrm>
                  <a:off x="6191625" y="1405269"/>
                  <a:ext cx="81451" cy="44043"/>
                </a:xfrm>
                <a:custGeom>
                  <a:avLst/>
                  <a:gdLst>
                    <a:gd name="connsiteX0" fmla="*/ 0 w 81451"/>
                    <a:gd name="connsiteY0" fmla="*/ 44044 h 44043"/>
                    <a:gd name="connsiteX1" fmla="*/ 37343 w 81451"/>
                    <a:gd name="connsiteY1" fmla="*/ 44044 h 44043"/>
                    <a:gd name="connsiteX2" fmla="*/ 81451 w 81451"/>
                    <a:gd name="connsiteY2" fmla="*/ 0 h 4404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81451" h="44043">
                      <a:moveTo>
                        <a:pt x="0" y="44044"/>
                      </a:moveTo>
                      <a:lnTo>
                        <a:pt x="37343" y="44044"/>
                      </a:lnTo>
                      <a:lnTo>
                        <a:pt x="81451" y="0"/>
                      </a:lnTo>
                    </a:path>
                  </a:pathLst>
                </a:custGeom>
                <a:noFill/>
                <a:ln w="19050" cap="sq">
                  <a:solidFill>
                    <a:srgbClr val="00FF94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98" name="Forma livre: Forma 97">
                  <a:extLst>
                    <a:ext uri="{FF2B5EF4-FFF2-40B4-BE49-F238E27FC236}">
                      <a16:creationId xmlns:a16="http://schemas.microsoft.com/office/drawing/2014/main" id="{6C6E833C-7830-27EE-DB39-5788F411A59B}"/>
                    </a:ext>
                  </a:extLst>
                </p:cNvPr>
                <p:cNvSpPr/>
                <p:nvPr/>
              </p:nvSpPr>
              <p:spPr>
                <a:xfrm>
                  <a:off x="6265075" y="1357908"/>
                  <a:ext cx="55298" cy="55298"/>
                </a:xfrm>
                <a:custGeom>
                  <a:avLst/>
                  <a:gdLst>
                    <a:gd name="connsiteX0" fmla="*/ 55298 w 55298"/>
                    <a:gd name="connsiteY0" fmla="*/ 27649 h 55298"/>
                    <a:gd name="connsiteX1" fmla="*/ 27649 w 55298"/>
                    <a:gd name="connsiteY1" fmla="*/ 0 h 55298"/>
                    <a:gd name="connsiteX2" fmla="*/ 0 w 55298"/>
                    <a:gd name="connsiteY2" fmla="*/ 27649 h 55298"/>
                    <a:gd name="connsiteX3" fmla="*/ 27649 w 55298"/>
                    <a:gd name="connsiteY3" fmla="*/ 55298 h 55298"/>
                    <a:gd name="connsiteX4" fmla="*/ 55298 w 55298"/>
                    <a:gd name="connsiteY4" fmla="*/ 27649 h 552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5298" h="55298">
                      <a:moveTo>
                        <a:pt x="55298" y="27649"/>
                      </a:moveTo>
                      <a:cubicBezTo>
                        <a:pt x="55298" y="12361"/>
                        <a:pt x="42938" y="0"/>
                        <a:pt x="27649" y="0"/>
                      </a:cubicBezTo>
                      <a:cubicBezTo>
                        <a:pt x="12361" y="0"/>
                        <a:pt x="0" y="12361"/>
                        <a:pt x="0" y="27649"/>
                      </a:cubicBezTo>
                      <a:cubicBezTo>
                        <a:pt x="0" y="42938"/>
                        <a:pt x="12361" y="55298"/>
                        <a:pt x="27649" y="55298"/>
                      </a:cubicBezTo>
                      <a:cubicBezTo>
                        <a:pt x="42938" y="55298"/>
                        <a:pt x="55298" y="42938"/>
                        <a:pt x="55298" y="27649"/>
                      </a:cubicBezTo>
                      <a:close/>
                    </a:path>
                  </a:pathLst>
                </a:custGeom>
                <a:noFill/>
                <a:ln w="19050" cap="sq">
                  <a:solidFill>
                    <a:srgbClr val="00FF94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91" name="Gráfico 32">
                <a:extLst>
                  <a:ext uri="{FF2B5EF4-FFF2-40B4-BE49-F238E27FC236}">
                    <a16:creationId xmlns:a16="http://schemas.microsoft.com/office/drawing/2014/main" id="{76CE8789-E83B-1569-FFB5-719BB9AEF07B}"/>
                  </a:ext>
                </a:extLst>
              </p:cNvPr>
              <p:cNvGrpSpPr/>
              <p:nvPr/>
            </p:nvGrpSpPr>
            <p:grpSpPr>
              <a:xfrm>
                <a:off x="6190910" y="1529723"/>
                <a:ext cx="123673" cy="55298"/>
                <a:chOff x="6190910" y="1529723"/>
                <a:chExt cx="123673" cy="55298"/>
              </a:xfrm>
              <a:noFill/>
            </p:grpSpPr>
            <p:sp>
              <p:nvSpPr>
                <p:cNvPr id="93" name="Forma livre: Forma 92">
                  <a:extLst>
                    <a:ext uri="{FF2B5EF4-FFF2-40B4-BE49-F238E27FC236}">
                      <a16:creationId xmlns:a16="http://schemas.microsoft.com/office/drawing/2014/main" id="{BFBA3BC6-D929-EEBF-8B4A-FFD52F169F56}"/>
                    </a:ext>
                  </a:extLst>
                </p:cNvPr>
                <p:cNvSpPr/>
                <p:nvPr/>
              </p:nvSpPr>
              <p:spPr>
                <a:xfrm>
                  <a:off x="6190910" y="1557372"/>
                  <a:ext cx="68765" cy="6505"/>
                </a:xfrm>
                <a:custGeom>
                  <a:avLst/>
                  <a:gdLst>
                    <a:gd name="connsiteX0" fmla="*/ 0 w 68765"/>
                    <a:gd name="connsiteY0" fmla="*/ 0 h 6505"/>
                    <a:gd name="connsiteX1" fmla="*/ 68765 w 68765"/>
                    <a:gd name="connsiteY1" fmla="*/ 0 h 650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68765" h="6505">
                      <a:moveTo>
                        <a:pt x="0" y="0"/>
                      </a:moveTo>
                      <a:lnTo>
                        <a:pt x="68765" y="0"/>
                      </a:lnTo>
                    </a:path>
                  </a:pathLst>
                </a:custGeom>
                <a:ln w="19050" cap="sq">
                  <a:solidFill>
                    <a:srgbClr val="00FF94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94" name="Forma livre: Forma 93">
                  <a:extLst>
                    <a:ext uri="{FF2B5EF4-FFF2-40B4-BE49-F238E27FC236}">
                      <a16:creationId xmlns:a16="http://schemas.microsoft.com/office/drawing/2014/main" id="{3C7EE391-FCE0-25B7-322D-485971F995CA}"/>
                    </a:ext>
                  </a:extLst>
                </p:cNvPr>
                <p:cNvSpPr/>
                <p:nvPr/>
              </p:nvSpPr>
              <p:spPr>
                <a:xfrm>
                  <a:off x="6259285" y="1529723"/>
                  <a:ext cx="55298" cy="55298"/>
                </a:xfrm>
                <a:custGeom>
                  <a:avLst/>
                  <a:gdLst>
                    <a:gd name="connsiteX0" fmla="*/ 55298 w 55298"/>
                    <a:gd name="connsiteY0" fmla="*/ 27649 h 55298"/>
                    <a:gd name="connsiteX1" fmla="*/ 27649 w 55298"/>
                    <a:gd name="connsiteY1" fmla="*/ 55298 h 55298"/>
                    <a:gd name="connsiteX2" fmla="*/ 0 w 55298"/>
                    <a:gd name="connsiteY2" fmla="*/ 27649 h 55298"/>
                    <a:gd name="connsiteX3" fmla="*/ 27649 w 55298"/>
                    <a:gd name="connsiteY3" fmla="*/ 0 h 55298"/>
                    <a:gd name="connsiteX4" fmla="*/ 55298 w 55298"/>
                    <a:gd name="connsiteY4" fmla="*/ 27649 h 552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5298" h="55298">
                      <a:moveTo>
                        <a:pt x="55298" y="27649"/>
                      </a:moveTo>
                      <a:cubicBezTo>
                        <a:pt x="55298" y="42938"/>
                        <a:pt x="42938" y="55298"/>
                        <a:pt x="27649" y="55298"/>
                      </a:cubicBezTo>
                      <a:cubicBezTo>
                        <a:pt x="12361" y="55298"/>
                        <a:pt x="0" y="42938"/>
                        <a:pt x="0" y="27649"/>
                      </a:cubicBezTo>
                      <a:cubicBezTo>
                        <a:pt x="0" y="12361"/>
                        <a:pt x="12361" y="0"/>
                        <a:pt x="27649" y="0"/>
                      </a:cubicBezTo>
                      <a:cubicBezTo>
                        <a:pt x="42938" y="0"/>
                        <a:pt x="55298" y="12361"/>
                        <a:pt x="55298" y="27649"/>
                      </a:cubicBezTo>
                      <a:close/>
                    </a:path>
                  </a:pathLst>
                </a:custGeom>
                <a:noFill/>
                <a:ln w="19050" cap="sq">
                  <a:solidFill>
                    <a:srgbClr val="00FF94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92" name="Forma livre: Forma 91">
                <a:extLst>
                  <a:ext uri="{FF2B5EF4-FFF2-40B4-BE49-F238E27FC236}">
                    <a16:creationId xmlns:a16="http://schemas.microsoft.com/office/drawing/2014/main" id="{E84BC671-4D74-FAE3-C7E7-E086226526D1}"/>
                  </a:ext>
                </a:extLst>
              </p:cNvPr>
              <p:cNvSpPr/>
              <p:nvPr/>
            </p:nvSpPr>
            <p:spPr>
              <a:xfrm>
                <a:off x="6152201" y="1686285"/>
                <a:ext cx="37362" cy="20848"/>
              </a:xfrm>
              <a:custGeom>
                <a:avLst/>
                <a:gdLst>
                  <a:gd name="connsiteX0" fmla="*/ 0 w 37362"/>
                  <a:gd name="connsiteY0" fmla="*/ 10505 h 20848"/>
                  <a:gd name="connsiteX1" fmla="*/ 27064 w 37362"/>
                  <a:gd name="connsiteY1" fmla="*/ 2373 h 20848"/>
                  <a:gd name="connsiteX2" fmla="*/ 37343 w 37362"/>
                  <a:gd name="connsiteY2" fmla="*/ 20849 h 208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7362" h="20848">
                    <a:moveTo>
                      <a:pt x="0" y="10505"/>
                    </a:moveTo>
                    <a:cubicBezTo>
                      <a:pt x="5205" y="811"/>
                      <a:pt x="17435" y="-2832"/>
                      <a:pt x="27064" y="2373"/>
                    </a:cubicBezTo>
                    <a:cubicBezTo>
                      <a:pt x="34025" y="6081"/>
                      <a:pt x="37668" y="13432"/>
                      <a:pt x="37343" y="20849"/>
                    </a:cubicBezTo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sp>
        <p:nvSpPr>
          <p:cNvPr id="113" name="Marcador de pie de página 112">
            <a:extLst>
              <a:ext uri="{FF2B5EF4-FFF2-40B4-BE49-F238E27FC236}">
                <a16:creationId xmlns:a16="http://schemas.microsoft.com/office/drawing/2014/main" id="{D12FE6B0-07CA-4902-91DD-5F0BFCBF1B9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pt-PT"/>
              <a:t>Título de la presentación</a:t>
            </a:r>
            <a:endParaRPr lang="pt-PT" dirty="0"/>
          </a:p>
        </p:txBody>
      </p:sp>
      <p:sp>
        <p:nvSpPr>
          <p:cNvPr id="114" name="Marcador de número de diapositiva 113">
            <a:extLst>
              <a:ext uri="{FF2B5EF4-FFF2-40B4-BE49-F238E27FC236}">
                <a16:creationId xmlns:a16="http://schemas.microsoft.com/office/drawing/2014/main" id="{2C3E6AF3-AB02-4CDF-981A-C963FFAD664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4A347C2-D68E-473A-8C76-1D063E4EB6E0}" type="slidenum">
              <a:rPr lang="es-ES" smtClean="0"/>
              <a:pPr/>
              <a:t>43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6930344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6" presetClass="emph" presetSubtype="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animScale>
                                      <p:cBhvr>
                                        <p:cTn id="9" dur="10" fill="hold"/>
                                        <p:tgtEl>
                                          <p:spTgt spid="112"/>
                                        </p:tgtEl>
                                      </p:cBhvr>
                                      <p:by x="125000" y="125000"/>
                                    </p:animScale>
                                  </p:childTnLst>
                                </p:cTn>
                              </p:par>
                              <p:par>
                                <p:cTn id="10" presetID="6" presetClass="emph" presetSubtype="0" decel="10000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animScale>
                                      <p:cBhvr>
                                        <p:cTn id="11" dur="750" fill="hold"/>
                                        <p:tgtEl>
                                          <p:spTgt spid="112"/>
                                        </p:tgtEl>
                                      </p:cBhvr>
                                      <p:by x="80000" y="80000"/>
                                    </p:animScale>
                                  </p:childTnLst>
                                </p:cTn>
                              </p:par>
                              <p:par>
                                <p:cTn id="12" presetID="10" presetClass="entr" presetSubtype="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10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6" presetClass="emph" presetSubtype="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animScale>
                                      <p:cBhvr>
                                        <p:cTn id="16" dur="10" fill="hold"/>
                                        <p:tgtEl>
                                          <p:spTgt spid="109"/>
                                        </p:tgtEl>
                                      </p:cBhvr>
                                      <p:by x="125000" y="125000"/>
                                    </p:animScale>
                                  </p:childTnLst>
                                </p:cTn>
                              </p:par>
                              <p:par>
                                <p:cTn id="17" presetID="6" presetClass="emph" presetSubtype="0" decel="10000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animScale>
                                      <p:cBhvr>
                                        <p:cTn id="18" dur="750" fill="hold"/>
                                        <p:tgtEl>
                                          <p:spTgt spid="109"/>
                                        </p:tgtEl>
                                      </p:cBhvr>
                                      <p:by x="80000" y="80000"/>
                                    </p:animScale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1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6" presetClass="emph" presetSubtype="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animScale>
                                      <p:cBhvr>
                                        <p:cTn id="23" dur="10" fill="hold"/>
                                        <p:tgtEl>
                                          <p:spTgt spid="110"/>
                                        </p:tgtEl>
                                      </p:cBhvr>
                                      <p:by x="125000" y="125000"/>
                                    </p:animScale>
                                  </p:childTnLst>
                                </p:cTn>
                              </p:par>
                              <p:par>
                                <p:cTn id="24" presetID="6" presetClass="emph" presetSubtype="0" decel="10000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animScale>
                                      <p:cBhvr>
                                        <p:cTn id="25" dur="750" fill="hold"/>
                                        <p:tgtEl>
                                          <p:spTgt spid="110"/>
                                        </p:tgtEl>
                                      </p:cBhvr>
                                      <p:by x="80000" y="80000"/>
                                    </p:animScale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1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6" presetClass="emph" presetSubtype="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animScale>
                                      <p:cBhvr>
                                        <p:cTn id="30" dur="10" fill="hold"/>
                                        <p:tgtEl>
                                          <p:spTgt spid="111"/>
                                        </p:tgtEl>
                                      </p:cBhvr>
                                      <p:by x="125000" y="125000"/>
                                    </p:animScale>
                                  </p:childTnLst>
                                </p:cTn>
                              </p:par>
                              <p:par>
                                <p:cTn id="31" presetID="6" presetClass="emph" presetSubtype="0" decel="10000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animScale>
                                      <p:cBhvr>
                                        <p:cTn id="32" dur="750" fill="hold"/>
                                        <p:tgtEl>
                                          <p:spTgt spid="111"/>
                                        </p:tgtEl>
                                      </p:cBhvr>
                                      <p:by x="80000" y="8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Círculo Parcial 10">
            <a:extLst>
              <a:ext uri="{FF2B5EF4-FFF2-40B4-BE49-F238E27FC236}">
                <a16:creationId xmlns:a16="http://schemas.microsoft.com/office/drawing/2014/main" id="{7E818BA4-527B-9982-3A0F-E595FFEBCEA2}"/>
              </a:ext>
            </a:extLst>
          </p:cNvPr>
          <p:cNvSpPr/>
          <p:nvPr/>
        </p:nvSpPr>
        <p:spPr>
          <a:xfrm>
            <a:off x="3474234" y="1710139"/>
            <a:ext cx="3693632" cy="3721534"/>
          </a:xfrm>
          <a:custGeom>
            <a:avLst/>
            <a:gdLst>
              <a:gd name="connsiteX0" fmla="*/ 211948 w 3048000"/>
              <a:gd name="connsiteY0" fmla="*/ 748696 h 3048000"/>
              <a:gd name="connsiteX1" fmla="*/ 2056542 w 3048000"/>
              <a:gd name="connsiteY1" fmla="*/ 96073 h 3048000"/>
              <a:gd name="connsiteX2" fmla="*/ 3023315 w 3048000"/>
              <a:gd name="connsiteY2" fmla="*/ 1797188 h 3048000"/>
              <a:gd name="connsiteX3" fmla="*/ 1518677 w 3048000"/>
              <a:gd name="connsiteY3" fmla="*/ 3047990 h 3048000"/>
              <a:gd name="connsiteX4" fmla="*/ 22814 w 3048000"/>
              <a:gd name="connsiteY4" fmla="*/ 1786707 h 3048000"/>
              <a:gd name="connsiteX5" fmla="*/ 1524000 w 3048000"/>
              <a:gd name="connsiteY5" fmla="*/ 1524000 h 3048000"/>
              <a:gd name="connsiteX6" fmla="*/ 211948 w 3048000"/>
              <a:gd name="connsiteY6" fmla="*/ 748696 h 3048000"/>
              <a:gd name="connsiteX0" fmla="*/ 1501186 w 3025335"/>
              <a:gd name="connsiteY0" fmla="*/ 1524191 h 3048190"/>
              <a:gd name="connsiteX1" fmla="*/ 189134 w 3025335"/>
              <a:gd name="connsiteY1" fmla="*/ 748887 h 3048190"/>
              <a:gd name="connsiteX2" fmla="*/ 2033728 w 3025335"/>
              <a:gd name="connsiteY2" fmla="*/ 96264 h 3048190"/>
              <a:gd name="connsiteX3" fmla="*/ 3000501 w 3025335"/>
              <a:gd name="connsiteY3" fmla="*/ 1797379 h 3048190"/>
              <a:gd name="connsiteX4" fmla="*/ 1495863 w 3025335"/>
              <a:gd name="connsiteY4" fmla="*/ 3048181 h 3048190"/>
              <a:gd name="connsiteX5" fmla="*/ 0 w 3025335"/>
              <a:gd name="connsiteY5" fmla="*/ 1786898 h 3048190"/>
              <a:gd name="connsiteX6" fmla="*/ 1592626 w 3025335"/>
              <a:gd name="connsiteY6" fmla="*/ 1615631 h 3048190"/>
              <a:gd name="connsiteX0" fmla="*/ 1501186 w 3025335"/>
              <a:gd name="connsiteY0" fmla="*/ 1524191 h 3048190"/>
              <a:gd name="connsiteX1" fmla="*/ 189134 w 3025335"/>
              <a:gd name="connsiteY1" fmla="*/ 748887 h 3048190"/>
              <a:gd name="connsiteX2" fmla="*/ 2033728 w 3025335"/>
              <a:gd name="connsiteY2" fmla="*/ 96264 h 3048190"/>
              <a:gd name="connsiteX3" fmla="*/ 3000501 w 3025335"/>
              <a:gd name="connsiteY3" fmla="*/ 1797379 h 3048190"/>
              <a:gd name="connsiteX4" fmla="*/ 1495863 w 3025335"/>
              <a:gd name="connsiteY4" fmla="*/ 3048181 h 3048190"/>
              <a:gd name="connsiteX5" fmla="*/ 0 w 3025335"/>
              <a:gd name="connsiteY5" fmla="*/ 1786898 h 3048190"/>
              <a:gd name="connsiteX0" fmla="*/ 189134 w 3025335"/>
              <a:gd name="connsiteY0" fmla="*/ 748887 h 3048190"/>
              <a:gd name="connsiteX1" fmla="*/ 2033728 w 3025335"/>
              <a:gd name="connsiteY1" fmla="*/ 96264 h 3048190"/>
              <a:gd name="connsiteX2" fmla="*/ 3000501 w 3025335"/>
              <a:gd name="connsiteY2" fmla="*/ 1797379 h 3048190"/>
              <a:gd name="connsiteX3" fmla="*/ 1495863 w 3025335"/>
              <a:gd name="connsiteY3" fmla="*/ 3048181 h 3048190"/>
              <a:gd name="connsiteX4" fmla="*/ 0 w 3025335"/>
              <a:gd name="connsiteY4" fmla="*/ 1786898 h 30481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025335" h="3048190">
                <a:moveTo>
                  <a:pt x="189134" y="748887"/>
                </a:moveTo>
                <a:cubicBezTo>
                  <a:pt x="564739" y="113249"/>
                  <a:pt x="1341952" y="-161732"/>
                  <a:pt x="2033728" y="96264"/>
                </a:cubicBezTo>
                <a:cubicBezTo>
                  <a:pt x="2725503" y="354260"/>
                  <a:pt x="3132850" y="1071020"/>
                  <a:pt x="3000501" y="1797379"/>
                </a:cubicBezTo>
                <a:cubicBezTo>
                  <a:pt x="2868152" y="2523739"/>
                  <a:pt x="2234177" y="3050760"/>
                  <a:pt x="1495863" y="3048181"/>
                </a:cubicBezTo>
                <a:cubicBezTo>
                  <a:pt x="757549" y="3045602"/>
                  <a:pt x="127271" y="2514164"/>
                  <a:pt x="0" y="1786898"/>
                </a:cubicBezTo>
              </a:path>
            </a:pathLst>
          </a:custGeom>
          <a:noFill/>
          <a:ln w="12700">
            <a:solidFill>
              <a:schemeClr val="tx1"/>
            </a:solidFill>
            <a:headEnd type="arrow"/>
            <a:tailEnd type="none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>
              <a:solidFill>
                <a:schemeClr val="tx1"/>
              </a:solidFill>
            </a:endParaRPr>
          </a:p>
        </p:txBody>
      </p:sp>
      <p:sp>
        <p:nvSpPr>
          <p:cNvPr id="35" name="Marcador de Posição do Texto 34">
            <a:extLst>
              <a:ext uri="{FF2B5EF4-FFF2-40B4-BE49-F238E27FC236}">
                <a16:creationId xmlns:a16="http://schemas.microsoft.com/office/drawing/2014/main" id="{493AE608-F337-AAD0-3E8A-587042B498C2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Data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Governance</a:t>
            </a:r>
            <a:r>
              <a:rPr lang="pt-PT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 </a:t>
            </a:r>
            <a:r>
              <a:rPr lang="pt-PT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Tool</a:t>
            </a:r>
            <a:endParaRPr lang="pt-PT" b="1" dirty="0">
              <a:latin typeface="ALTIA Eddi" panose="020B0000000000020000" pitchFamily="34" charset="0"/>
              <a:ea typeface="ALTIA Eddi" panose="020B0000000000020000" pitchFamily="34" charset="0"/>
              <a:cs typeface="ALTIA Eddi" panose="020B0000000000020000" pitchFamily="34" charset="0"/>
            </a:endParaRPr>
          </a:p>
        </p:txBody>
      </p:sp>
      <p:sp>
        <p:nvSpPr>
          <p:cNvPr id="36" name="Marcador de Posição do Texto 35">
            <a:extLst>
              <a:ext uri="{FF2B5EF4-FFF2-40B4-BE49-F238E27FC236}">
                <a16:creationId xmlns:a16="http://schemas.microsoft.com/office/drawing/2014/main" id="{4404B849-D45A-6C55-880E-4DBB00AC9AF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pt-PT" dirty="0" err="1"/>
              <a:t>Metadata</a:t>
            </a:r>
            <a:endParaRPr lang="pt-PT" dirty="0"/>
          </a:p>
        </p:txBody>
      </p:sp>
      <p:sp>
        <p:nvSpPr>
          <p:cNvPr id="37" name="Marcador de Posição do Texto 36">
            <a:extLst>
              <a:ext uri="{FF2B5EF4-FFF2-40B4-BE49-F238E27FC236}">
                <a16:creationId xmlns:a16="http://schemas.microsoft.com/office/drawing/2014/main" id="{B408A740-A748-0231-084B-45C56823C84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746324" y="4692244"/>
            <a:ext cx="1149452" cy="1149450"/>
          </a:xfrm>
        </p:spPr>
        <p:txBody>
          <a:bodyPr/>
          <a:lstStyle/>
          <a:p>
            <a:r>
              <a:rPr lang="pt-PT"/>
              <a:t>Privacy</a:t>
            </a:r>
            <a:endParaRPr lang="pt-PT" dirty="0"/>
          </a:p>
        </p:txBody>
      </p:sp>
      <p:sp>
        <p:nvSpPr>
          <p:cNvPr id="38" name="Marcador de Posição do Texto 37">
            <a:extLst>
              <a:ext uri="{FF2B5EF4-FFF2-40B4-BE49-F238E27FC236}">
                <a16:creationId xmlns:a16="http://schemas.microsoft.com/office/drawing/2014/main" id="{27453DFD-8175-AD54-85D6-53B1CD4012AB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r>
              <a:rPr lang="pt-PT" dirty="0" err="1"/>
              <a:t>ETL</a:t>
            </a:r>
            <a:r>
              <a:rPr lang="pt-PT" dirty="0"/>
              <a:t> </a:t>
            </a:r>
          </a:p>
        </p:txBody>
      </p:sp>
      <p:sp>
        <p:nvSpPr>
          <p:cNvPr id="39" name="Marcador de Posição do Texto 38">
            <a:extLst>
              <a:ext uri="{FF2B5EF4-FFF2-40B4-BE49-F238E27FC236}">
                <a16:creationId xmlns:a16="http://schemas.microsoft.com/office/drawing/2014/main" id="{16599FF3-244A-587F-2DBA-16BA0781BF48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r>
              <a:rPr lang="pt-PT" dirty="0" err="1"/>
              <a:t>Strategy</a:t>
            </a:r>
            <a:endParaRPr lang="pt-PT" dirty="0"/>
          </a:p>
        </p:txBody>
      </p:sp>
      <p:sp>
        <p:nvSpPr>
          <p:cNvPr id="40" name="Marcador de Posição do Texto 39">
            <a:extLst>
              <a:ext uri="{FF2B5EF4-FFF2-40B4-BE49-F238E27FC236}">
                <a16:creationId xmlns:a16="http://schemas.microsoft.com/office/drawing/2014/main" id="{C7755164-5978-21DF-BFA5-48110247ED7A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r>
              <a:rPr lang="pt-PT" dirty="0"/>
              <a:t>Define Business </a:t>
            </a:r>
            <a:r>
              <a:rPr lang="pt-PT" dirty="0" err="1"/>
              <a:t>Area</a:t>
            </a:r>
            <a:endParaRPr lang="pt-PT" dirty="0"/>
          </a:p>
        </p:txBody>
      </p:sp>
      <p:sp>
        <p:nvSpPr>
          <p:cNvPr id="41" name="Marcador de Posição do Texto 40">
            <a:extLst>
              <a:ext uri="{FF2B5EF4-FFF2-40B4-BE49-F238E27FC236}">
                <a16:creationId xmlns:a16="http://schemas.microsoft.com/office/drawing/2014/main" id="{5B528AC1-C33B-C2F3-3B63-5A3334D1DFA9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/>
        <p:txBody>
          <a:bodyPr>
            <a:normAutofit lnSpcReduction="10000"/>
          </a:bodyPr>
          <a:lstStyle/>
          <a:p>
            <a:r>
              <a:rPr lang="pt-PT" dirty="0" err="1"/>
              <a:t>Master</a:t>
            </a:r>
            <a:br>
              <a:rPr lang="pt-PT" dirty="0"/>
            </a:br>
            <a:r>
              <a:rPr lang="pt-PT" dirty="0"/>
              <a:t>Data Management</a:t>
            </a:r>
          </a:p>
        </p:txBody>
      </p:sp>
      <p:sp>
        <p:nvSpPr>
          <p:cNvPr id="42" name="Marcador de Posição do Texto 41">
            <a:extLst>
              <a:ext uri="{FF2B5EF4-FFF2-40B4-BE49-F238E27FC236}">
                <a16:creationId xmlns:a16="http://schemas.microsoft.com/office/drawing/2014/main" id="{60117470-63E9-E1E5-6B96-64D552C56922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10156722" y="3214588"/>
            <a:ext cx="1052052" cy="703656"/>
          </a:xfrm>
        </p:spPr>
        <p:txBody>
          <a:bodyPr>
            <a:normAutofit lnSpcReduction="10000"/>
          </a:bodyPr>
          <a:lstStyle/>
          <a:p>
            <a:r>
              <a:rPr lang="pt-PT" dirty="0" err="1"/>
              <a:t>Continuous</a:t>
            </a:r>
            <a:r>
              <a:rPr lang="pt-PT" dirty="0"/>
              <a:t> Data</a:t>
            </a:r>
            <a:br>
              <a:rPr lang="pt-PT" dirty="0"/>
            </a:br>
            <a:r>
              <a:rPr lang="pt-PT" dirty="0" err="1"/>
              <a:t>Quality</a:t>
            </a:r>
            <a:r>
              <a:rPr lang="pt-PT" dirty="0"/>
              <a:t> </a:t>
            </a:r>
            <a:r>
              <a:rPr lang="pt-PT" dirty="0" err="1"/>
              <a:t>Process</a:t>
            </a:r>
            <a:endParaRPr lang="pt-PT" dirty="0"/>
          </a:p>
        </p:txBody>
      </p:sp>
      <p:sp>
        <p:nvSpPr>
          <p:cNvPr id="33" name="Título 32">
            <a:extLst>
              <a:ext uri="{FF2B5EF4-FFF2-40B4-BE49-F238E27FC236}">
                <a16:creationId xmlns:a16="http://schemas.microsoft.com/office/drawing/2014/main" id="{E7B11FD8-AAF6-4D95-49FF-CB21114E09D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PT" dirty="0"/>
              <a:t>Ejemplo de título de slide</a:t>
            </a:r>
          </a:p>
        </p:txBody>
      </p:sp>
      <p:sp>
        <p:nvSpPr>
          <p:cNvPr id="34" name="Marcador de Posição do Texto 33">
            <a:extLst>
              <a:ext uri="{FF2B5EF4-FFF2-40B4-BE49-F238E27FC236}">
                <a16:creationId xmlns:a16="http://schemas.microsoft.com/office/drawing/2014/main" id="{99974150-C3F2-E6CF-6E2C-617509260D2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>
            <a:normAutofit lnSpcReduction="10000"/>
          </a:bodyPr>
          <a:lstStyle/>
          <a:p>
            <a:r>
              <a:rPr lang="pt-PT" dirty="0"/>
              <a:t>Ejemplo de título de slide</a:t>
            </a:r>
          </a:p>
        </p:txBody>
      </p:sp>
      <p:sp>
        <p:nvSpPr>
          <p:cNvPr id="2" name="Marcador de Posição do Texto 1">
            <a:extLst>
              <a:ext uri="{FF2B5EF4-FFF2-40B4-BE49-F238E27FC236}">
                <a16:creationId xmlns:a16="http://schemas.microsoft.com/office/drawing/2014/main" id="{7C6A811D-39A7-A7FF-9AF8-D6D5E4C2E9E2}"/>
              </a:ext>
            </a:extLst>
          </p:cNvPr>
          <p:cNvSpPr>
            <a:spLocks noGrp="1"/>
          </p:cNvSpPr>
          <p:nvPr>
            <p:ph type="body" sz="quarter" idx="52"/>
          </p:nvPr>
        </p:nvSpPr>
        <p:spPr/>
        <p:txBody>
          <a:bodyPr/>
          <a:lstStyle/>
          <a:p>
            <a:r>
              <a:rPr lang="pt-PT" dirty="0" err="1"/>
              <a:t>Centralized</a:t>
            </a:r>
            <a:r>
              <a:rPr lang="pt-PT" dirty="0"/>
              <a:t> </a:t>
            </a:r>
            <a:r>
              <a:rPr lang="pt-PT" dirty="0" err="1"/>
              <a:t>Metadata</a:t>
            </a:r>
            <a:endParaRPr lang="pt-PT" dirty="0"/>
          </a:p>
        </p:txBody>
      </p:sp>
      <p:sp>
        <p:nvSpPr>
          <p:cNvPr id="3" name="Marcador de Posição do Texto 2">
            <a:extLst>
              <a:ext uri="{FF2B5EF4-FFF2-40B4-BE49-F238E27FC236}">
                <a16:creationId xmlns:a16="http://schemas.microsoft.com/office/drawing/2014/main" id="{F47B3FDF-6F5A-84A0-AA41-9B93B8D42672}"/>
              </a:ext>
            </a:extLst>
          </p:cNvPr>
          <p:cNvSpPr>
            <a:spLocks noGrp="1"/>
          </p:cNvSpPr>
          <p:nvPr>
            <p:ph type="body" sz="quarter" idx="53"/>
          </p:nvPr>
        </p:nvSpPr>
        <p:spPr/>
        <p:txBody>
          <a:bodyPr/>
          <a:lstStyle/>
          <a:p>
            <a:r>
              <a:rPr lang="pt-PT" dirty="0"/>
              <a:t>Compile </a:t>
            </a:r>
            <a:r>
              <a:rPr lang="pt-PT" dirty="0" err="1"/>
              <a:t>and</a:t>
            </a:r>
            <a:r>
              <a:rPr lang="pt-PT" dirty="0"/>
              <a:t> </a:t>
            </a:r>
            <a:r>
              <a:rPr lang="pt-PT" dirty="0" err="1"/>
              <a:t>update</a:t>
            </a:r>
            <a:br>
              <a:rPr lang="pt-PT" dirty="0"/>
            </a:br>
            <a:r>
              <a:rPr lang="pt-PT" dirty="0"/>
              <a:t>data </a:t>
            </a:r>
            <a:r>
              <a:rPr lang="pt-PT" dirty="0" err="1"/>
              <a:t>sources</a:t>
            </a:r>
            <a:r>
              <a:rPr lang="pt-PT" dirty="0"/>
              <a:t> &amp; data</a:t>
            </a:r>
            <a:br>
              <a:rPr lang="pt-PT" dirty="0"/>
            </a:br>
            <a:r>
              <a:rPr lang="pt-PT" dirty="0" err="1"/>
              <a:t>storage</a:t>
            </a:r>
            <a:r>
              <a:rPr lang="pt-PT" dirty="0"/>
              <a:t> </a:t>
            </a:r>
            <a:r>
              <a:rPr lang="pt-PT" dirty="0" err="1"/>
              <a:t>metadata</a:t>
            </a:r>
            <a:endParaRPr lang="pt-PT" dirty="0"/>
          </a:p>
          <a:p>
            <a:r>
              <a:rPr lang="pt-PT" dirty="0" err="1"/>
              <a:t>Create</a:t>
            </a:r>
            <a:r>
              <a:rPr lang="pt-PT" dirty="0"/>
              <a:t> reverse</a:t>
            </a:r>
            <a:br>
              <a:rPr lang="pt-PT" dirty="0"/>
            </a:br>
            <a:r>
              <a:rPr lang="pt-PT" dirty="0" err="1"/>
              <a:t>impact</a:t>
            </a:r>
            <a:r>
              <a:rPr lang="pt-PT" dirty="0"/>
              <a:t> </a:t>
            </a:r>
            <a:r>
              <a:rPr lang="pt-PT" dirty="0" err="1"/>
              <a:t>analysis</a:t>
            </a:r>
            <a:r>
              <a:rPr lang="pt-PT" dirty="0"/>
              <a:t> </a:t>
            </a:r>
            <a:r>
              <a:rPr lang="pt-PT" dirty="0" err="1"/>
              <a:t>process</a:t>
            </a:r>
            <a:endParaRPr lang="pt-PT" dirty="0"/>
          </a:p>
        </p:txBody>
      </p:sp>
      <p:sp>
        <p:nvSpPr>
          <p:cNvPr id="10" name="Marcador de Posição do Texto 9">
            <a:extLst>
              <a:ext uri="{FF2B5EF4-FFF2-40B4-BE49-F238E27FC236}">
                <a16:creationId xmlns:a16="http://schemas.microsoft.com/office/drawing/2014/main" id="{9EE2D59A-F1E8-2BBA-43B7-D0DE7BCC7162}"/>
              </a:ext>
            </a:extLst>
          </p:cNvPr>
          <p:cNvSpPr>
            <a:spLocks noGrp="1"/>
          </p:cNvSpPr>
          <p:nvPr>
            <p:ph type="body" sz="quarter" idx="54"/>
          </p:nvPr>
        </p:nvSpPr>
        <p:spPr/>
        <p:txBody>
          <a:bodyPr/>
          <a:lstStyle/>
          <a:p>
            <a:r>
              <a:rPr lang="pt-PT" dirty="0"/>
              <a:t>Data</a:t>
            </a:r>
            <a:br>
              <a:rPr lang="pt-PT" dirty="0"/>
            </a:br>
            <a:r>
              <a:rPr lang="pt-PT" dirty="0" err="1"/>
              <a:t>Modeling</a:t>
            </a:r>
            <a:endParaRPr lang="pt-PT" dirty="0"/>
          </a:p>
        </p:txBody>
      </p:sp>
      <p:sp>
        <p:nvSpPr>
          <p:cNvPr id="11" name="Marcador de Posição do Texto 10">
            <a:extLst>
              <a:ext uri="{FF2B5EF4-FFF2-40B4-BE49-F238E27FC236}">
                <a16:creationId xmlns:a16="http://schemas.microsoft.com/office/drawing/2014/main" id="{DE39904C-5B1D-951C-CA72-F8D9BF17BE4F}"/>
              </a:ext>
            </a:extLst>
          </p:cNvPr>
          <p:cNvSpPr>
            <a:spLocks noGrp="1"/>
          </p:cNvSpPr>
          <p:nvPr>
            <p:ph type="body" sz="quarter" idx="55"/>
          </p:nvPr>
        </p:nvSpPr>
        <p:spPr/>
        <p:txBody>
          <a:bodyPr/>
          <a:lstStyle/>
          <a:p>
            <a:r>
              <a:rPr lang="en-US" dirty="0"/>
              <a:t>Identify data</a:t>
            </a:r>
            <a:br>
              <a:rPr lang="en-US" dirty="0"/>
            </a:br>
            <a:r>
              <a:rPr lang="en-US" dirty="0"/>
              <a:t>transformation processes</a:t>
            </a:r>
          </a:p>
          <a:p>
            <a:r>
              <a:rPr lang="en-US" dirty="0"/>
              <a:t>Map data sources vs. data storage</a:t>
            </a:r>
          </a:p>
          <a:p>
            <a:r>
              <a:rPr lang="en-US" dirty="0"/>
              <a:t>Find data modeling</a:t>
            </a:r>
            <a:br>
              <a:rPr lang="en-US" dirty="0"/>
            </a:br>
            <a:r>
              <a:rPr lang="en-US" dirty="0"/>
              <a:t>recovery processes</a:t>
            </a:r>
          </a:p>
        </p:txBody>
      </p:sp>
      <p:sp>
        <p:nvSpPr>
          <p:cNvPr id="16" name="Marcador de Posição do Texto 15">
            <a:extLst>
              <a:ext uri="{FF2B5EF4-FFF2-40B4-BE49-F238E27FC236}">
                <a16:creationId xmlns:a16="http://schemas.microsoft.com/office/drawing/2014/main" id="{8324246B-D230-13A6-25DA-575AA372C980}"/>
              </a:ext>
            </a:extLst>
          </p:cNvPr>
          <p:cNvSpPr>
            <a:spLocks noGrp="1"/>
          </p:cNvSpPr>
          <p:nvPr>
            <p:ph type="body" sz="quarter" idx="56"/>
          </p:nvPr>
        </p:nvSpPr>
        <p:spPr/>
        <p:txBody>
          <a:bodyPr/>
          <a:lstStyle/>
          <a:p>
            <a:r>
              <a:rPr lang="pt-PT" dirty="0"/>
              <a:t>Data </a:t>
            </a:r>
            <a:r>
              <a:rPr lang="pt-PT" dirty="0" err="1"/>
              <a:t>Security</a:t>
            </a:r>
            <a:endParaRPr lang="pt-PT" dirty="0"/>
          </a:p>
        </p:txBody>
      </p:sp>
      <p:sp>
        <p:nvSpPr>
          <p:cNvPr id="17" name="Marcador de Posição do Texto 16">
            <a:extLst>
              <a:ext uri="{FF2B5EF4-FFF2-40B4-BE49-F238E27FC236}">
                <a16:creationId xmlns:a16="http://schemas.microsoft.com/office/drawing/2014/main" id="{647E4A35-001E-C564-904A-347894FFFC04}"/>
              </a:ext>
            </a:extLst>
          </p:cNvPr>
          <p:cNvSpPr>
            <a:spLocks noGrp="1"/>
          </p:cNvSpPr>
          <p:nvPr>
            <p:ph type="body" sz="quarter" idx="57"/>
          </p:nvPr>
        </p:nvSpPr>
        <p:spPr/>
        <p:txBody>
          <a:bodyPr/>
          <a:lstStyle/>
          <a:p>
            <a:r>
              <a:rPr lang="en-US" dirty="0"/>
              <a:t>Identify data users and roles</a:t>
            </a:r>
          </a:p>
          <a:p>
            <a:r>
              <a:rPr lang="en-US" dirty="0"/>
              <a:t>Manager user groups</a:t>
            </a:r>
          </a:p>
          <a:p>
            <a:r>
              <a:rPr lang="en-US" dirty="0"/>
              <a:t>Define data life</a:t>
            </a:r>
            <a:br>
              <a:rPr lang="en-US" dirty="0"/>
            </a:br>
            <a:r>
              <a:rPr lang="en-US" dirty="0"/>
              <a:t>cycle access strategy</a:t>
            </a:r>
          </a:p>
          <a:p>
            <a:endParaRPr lang="pt-PT" dirty="0"/>
          </a:p>
        </p:txBody>
      </p:sp>
      <p:sp>
        <p:nvSpPr>
          <p:cNvPr id="14" name="Marcador de Posição do Texto 13">
            <a:extLst>
              <a:ext uri="{FF2B5EF4-FFF2-40B4-BE49-F238E27FC236}">
                <a16:creationId xmlns:a16="http://schemas.microsoft.com/office/drawing/2014/main" id="{CB0A0A95-9409-59FB-0058-AC19280E894E}"/>
              </a:ext>
            </a:extLst>
          </p:cNvPr>
          <p:cNvSpPr>
            <a:spLocks noGrp="1"/>
          </p:cNvSpPr>
          <p:nvPr>
            <p:ph type="body" sz="quarter" idx="58"/>
          </p:nvPr>
        </p:nvSpPr>
        <p:spPr/>
        <p:txBody>
          <a:bodyPr/>
          <a:lstStyle/>
          <a:p>
            <a:r>
              <a:rPr lang="pt-PT" dirty="0"/>
              <a:t>Data </a:t>
            </a:r>
            <a:r>
              <a:rPr lang="pt-PT" dirty="0" err="1"/>
              <a:t>Architecture</a:t>
            </a:r>
            <a:endParaRPr lang="pt-PT" dirty="0"/>
          </a:p>
        </p:txBody>
      </p:sp>
      <p:sp>
        <p:nvSpPr>
          <p:cNvPr id="15" name="Marcador de Posição do Texto 14">
            <a:extLst>
              <a:ext uri="{FF2B5EF4-FFF2-40B4-BE49-F238E27FC236}">
                <a16:creationId xmlns:a16="http://schemas.microsoft.com/office/drawing/2014/main" id="{A40FDE06-B007-BADF-57A4-D62A2DF665C2}"/>
              </a:ext>
            </a:extLst>
          </p:cNvPr>
          <p:cNvSpPr>
            <a:spLocks noGrp="1"/>
          </p:cNvSpPr>
          <p:nvPr>
            <p:ph type="body" sz="quarter" idx="59"/>
          </p:nvPr>
        </p:nvSpPr>
        <p:spPr/>
        <p:txBody>
          <a:bodyPr/>
          <a:lstStyle/>
          <a:p>
            <a:r>
              <a:rPr lang="en-US" dirty="0"/>
              <a:t>Identify data sources</a:t>
            </a:r>
          </a:p>
          <a:p>
            <a:r>
              <a:rPr lang="en-US" dirty="0"/>
              <a:t>Define data source owners</a:t>
            </a:r>
          </a:p>
          <a:p>
            <a:r>
              <a:rPr lang="en-US" dirty="0"/>
              <a:t>Understand Data</a:t>
            </a:r>
            <a:br>
              <a:rPr lang="en-US" dirty="0"/>
            </a:br>
            <a:r>
              <a:rPr lang="en-US" dirty="0"/>
              <a:t>source refresh timeline</a:t>
            </a:r>
          </a:p>
          <a:p>
            <a:r>
              <a:rPr lang="en-US" dirty="0"/>
              <a:t>Create data impact analysis</a:t>
            </a:r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655A916C-CFA0-4BC5-99DB-CD2DC1FC2FD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pt-PT"/>
              <a:t>Título de la presentación</a:t>
            </a:r>
            <a:endParaRPr lang="pt-PT" dirty="0"/>
          </a:p>
        </p:txBody>
      </p:sp>
      <p:sp>
        <p:nvSpPr>
          <p:cNvPr id="5" name="Marcador de número de diapositiva 4">
            <a:extLst>
              <a:ext uri="{FF2B5EF4-FFF2-40B4-BE49-F238E27FC236}">
                <a16:creationId xmlns:a16="http://schemas.microsoft.com/office/drawing/2014/main" id="{A9E16098-9A79-4960-B519-1FBC412E322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4A347C2-D68E-473A-8C76-1D063E4EB6E0}" type="slidenum">
              <a:rPr lang="es-ES" smtClean="0"/>
              <a:pPr/>
              <a:t>44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5482337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2" grpId="0" animBg="1"/>
    </p:bld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ítulo 19">
            <a:extLst>
              <a:ext uri="{FF2B5EF4-FFF2-40B4-BE49-F238E27FC236}">
                <a16:creationId xmlns:a16="http://schemas.microsoft.com/office/drawing/2014/main" id="{E7B395E5-5860-4365-93BC-DAD61D0FBD7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PT" dirty="0"/>
              <a:t>Ejemplo de titulo do slide</a:t>
            </a:r>
          </a:p>
        </p:txBody>
      </p:sp>
      <p:sp>
        <p:nvSpPr>
          <p:cNvPr id="21" name="Marcador de Posição do Texto 20">
            <a:extLst>
              <a:ext uri="{FF2B5EF4-FFF2-40B4-BE49-F238E27FC236}">
                <a16:creationId xmlns:a16="http://schemas.microsoft.com/office/drawing/2014/main" id="{E7E3E4BE-2863-80ED-D15B-ACA6C7E6943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>
            <a:normAutofit lnSpcReduction="10000"/>
          </a:bodyPr>
          <a:lstStyle/>
          <a:p>
            <a:r>
              <a:rPr lang="pt-PT" dirty="0"/>
              <a:t>Ejemplo de subtítulo de slide</a:t>
            </a:r>
          </a:p>
        </p:txBody>
      </p:sp>
      <p:sp>
        <p:nvSpPr>
          <p:cNvPr id="22" name="Marcador de Posição do Texto 21">
            <a:extLst>
              <a:ext uri="{FF2B5EF4-FFF2-40B4-BE49-F238E27FC236}">
                <a16:creationId xmlns:a16="http://schemas.microsoft.com/office/drawing/2014/main" id="{424288A7-A633-2EF1-8F1F-869291B3BB34}"/>
              </a:ext>
            </a:extLst>
          </p:cNvPr>
          <p:cNvSpPr>
            <a:spLocks noGrp="1"/>
          </p:cNvSpPr>
          <p:nvPr>
            <p:ph type="body" sz="quarter" idx="52"/>
          </p:nvPr>
        </p:nvSpPr>
        <p:spPr/>
        <p:txBody>
          <a:bodyPr/>
          <a:lstStyle/>
          <a:p>
            <a:r>
              <a:rPr lang="pt-PT" dirty="0" err="1"/>
              <a:t>Reporting</a:t>
            </a:r>
            <a:endParaRPr lang="pt-PT" dirty="0"/>
          </a:p>
        </p:txBody>
      </p:sp>
      <p:sp>
        <p:nvSpPr>
          <p:cNvPr id="23" name="Marcador de Posição do Texto 22">
            <a:extLst>
              <a:ext uri="{FF2B5EF4-FFF2-40B4-BE49-F238E27FC236}">
                <a16:creationId xmlns:a16="http://schemas.microsoft.com/office/drawing/2014/main" id="{49A671EF-E490-1607-DDB7-A0202D3908C6}"/>
              </a:ext>
            </a:extLst>
          </p:cNvPr>
          <p:cNvSpPr>
            <a:spLocks noGrp="1"/>
          </p:cNvSpPr>
          <p:nvPr>
            <p:ph type="body" sz="quarter" idx="53"/>
          </p:nvPr>
        </p:nvSpPr>
        <p:spPr/>
        <p:txBody>
          <a:bodyPr/>
          <a:lstStyle/>
          <a:p>
            <a:r>
              <a:rPr lang="pt-PT" dirty="0"/>
              <a:t>Adv. </a:t>
            </a:r>
            <a:r>
              <a:rPr lang="pt-PT" dirty="0" err="1"/>
              <a:t>Analytical</a:t>
            </a:r>
            <a:r>
              <a:rPr lang="pt-PT" dirty="0"/>
              <a:t> Workbench</a:t>
            </a:r>
          </a:p>
        </p:txBody>
      </p:sp>
      <p:sp>
        <p:nvSpPr>
          <p:cNvPr id="24" name="Marcador de Posição do Texto 23">
            <a:extLst>
              <a:ext uri="{FF2B5EF4-FFF2-40B4-BE49-F238E27FC236}">
                <a16:creationId xmlns:a16="http://schemas.microsoft.com/office/drawing/2014/main" id="{E5696D45-CFCB-4E9A-CA9F-C914362BC356}"/>
              </a:ext>
            </a:extLst>
          </p:cNvPr>
          <p:cNvSpPr>
            <a:spLocks noGrp="1"/>
          </p:cNvSpPr>
          <p:nvPr>
            <p:ph type="body" sz="quarter" idx="54"/>
          </p:nvPr>
        </p:nvSpPr>
        <p:spPr/>
        <p:txBody>
          <a:bodyPr/>
          <a:lstStyle/>
          <a:p>
            <a:r>
              <a:rPr lang="pt-PT" dirty="0" err="1"/>
              <a:t>Enterprise</a:t>
            </a:r>
            <a:r>
              <a:rPr lang="pt-PT" dirty="0"/>
              <a:t> </a:t>
            </a:r>
            <a:r>
              <a:rPr lang="pt-PT" dirty="0" err="1"/>
              <a:t>DW</a:t>
            </a:r>
            <a:endParaRPr lang="pt-PT" dirty="0"/>
          </a:p>
        </p:txBody>
      </p:sp>
      <p:sp>
        <p:nvSpPr>
          <p:cNvPr id="25" name="Marcador de Posição do Texto 24">
            <a:extLst>
              <a:ext uri="{FF2B5EF4-FFF2-40B4-BE49-F238E27FC236}">
                <a16:creationId xmlns:a16="http://schemas.microsoft.com/office/drawing/2014/main" id="{84584739-D9C5-B1E8-B543-8CCF44D47DE8}"/>
              </a:ext>
            </a:extLst>
          </p:cNvPr>
          <p:cNvSpPr>
            <a:spLocks noGrp="1"/>
          </p:cNvSpPr>
          <p:nvPr>
            <p:ph type="body" sz="quarter" idx="55"/>
          </p:nvPr>
        </p:nvSpPr>
        <p:spPr/>
        <p:txBody>
          <a:bodyPr/>
          <a:lstStyle/>
          <a:p>
            <a:r>
              <a:rPr lang="pt-PT" dirty="0"/>
              <a:t>Data Integration </a:t>
            </a:r>
          </a:p>
        </p:txBody>
      </p:sp>
      <p:sp>
        <p:nvSpPr>
          <p:cNvPr id="26" name="Marcador de Posição do Texto 25">
            <a:extLst>
              <a:ext uri="{FF2B5EF4-FFF2-40B4-BE49-F238E27FC236}">
                <a16:creationId xmlns:a16="http://schemas.microsoft.com/office/drawing/2014/main" id="{5A3CFFBE-F5A5-996C-1486-63931489D8EC}"/>
              </a:ext>
            </a:extLst>
          </p:cNvPr>
          <p:cNvSpPr>
            <a:spLocks noGrp="1"/>
          </p:cNvSpPr>
          <p:nvPr>
            <p:ph type="body" sz="quarter" idx="56"/>
          </p:nvPr>
        </p:nvSpPr>
        <p:spPr/>
        <p:txBody>
          <a:bodyPr/>
          <a:lstStyle/>
          <a:p>
            <a:r>
              <a:rPr lang="en-US" dirty="0"/>
              <a:t>Data Lake</a:t>
            </a:r>
            <a:br>
              <a:rPr lang="en-US" dirty="0"/>
            </a:br>
            <a:r>
              <a:rPr lang="en-US" sz="1200" cap="none" dirty="0">
                <a:latin typeface="+mn-lt"/>
              </a:rPr>
              <a:t>(Landing and raw zone)</a:t>
            </a:r>
            <a:endParaRPr lang="en-US" dirty="0">
              <a:latin typeface="+mn-lt"/>
            </a:endParaRPr>
          </a:p>
        </p:txBody>
      </p:sp>
      <p:sp>
        <p:nvSpPr>
          <p:cNvPr id="27" name="Marcador de Posição do Texto 26">
            <a:extLst>
              <a:ext uri="{FF2B5EF4-FFF2-40B4-BE49-F238E27FC236}">
                <a16:creationId xmlns:a16="http://schemas.microsoft.com/office/drawing/2014/main" id="{E88B12A6-9059-24F7-FA5A-B6794DF83E7F}"/>
              </a:ext>
            </a:extLst>
          </p:cNvPr>
          <p:cNvSpPr>
            <a:spLocks noGrp="1"/>
          </p:cNvSpPr>
          <p:nvPr>
            <p:ph type="body" sz="quarter" idx="57"/>
          </p:nvPr>
        </p:nvSpPr>
        <p:spPr/>
        <p:txBody>
          <a:bodyPr/>
          <a:lstStyle/>
          <a:p>
            <a:r>
              <a:rPr lang="pt-PT" dirty="0"/>
              <a:t>Data </a:t>
            </a:r>
            <a:r>
              <a:rPr lang="pt-PT" dirty="0" err="1"/>
              <a:t>Injection</a:t>
            </a:r>
            <a:r>
              <a:rPr lang="pt-PT" dirty="0"/>
              <a:t> </a:t>
            </a:r>
          </a:p>
        </p:txBody>
      </p:sp>
      <p:sp>
        <p:nvSpPr>
          <p:cNvPr id="28" name="Marcador de Posição do Texto 27">
            <a:extLst>
              <a:ext uri="{FF2B5EF4-FFF2-40B4-BE49-F238E27FC236}">
                <a16:creationId xmlns:a16="http://schemas.microsoft.com/office/drawing/2014/main" id="{A8444C50-094B-71B4-8938-B7E7ED4389E1}"/>
              </a:ext>
            </a:extLst>
          </p:cNvPr>
          <p:cNvSpPr>
            <a:spLocks noGrp="1"/>
          </p:cNvSpPr>
          <p:nvPr>
            <p:ph type="body" sz="quarter" idx="58"/>
          </p:nvPr>
        </p:nvSpPr>
        <p:spPr/>
        <p:txBody>
          <a:bodyPr/>
          <a:lstStyle/>
          <a:p>
            <a:r>
              <a:rPr lang="pt-PT" dirty="0"/>
              <a:t>Data </a:t>
            </a:r>
            <a:r>
              <a:rPr lang="pt-PT" dirty="0" err="1"/>
              <a:t>Sources</a:t>
            </a:r>
            <a:endParaRPr lang="pt-PT" dirty="0"/>
          </a:p>
        </p:txBody>
      </p:sp>
      <p:sp>
        <p:nvSpPr>
          <p:cNvPr id="29" name="Marcador de Posição do Texto 28">
            <a:extLst>
              <a:ext uri="{FF2B5EF4-FFF2-40B4-BE49-F238E27FC236}">
                <a16:creationId xmlns:a16="http://schemas.microsoft.com/office/drawing/2014/main" id="{38C42B4A-26ED-DABF-0568-8727E98F05A1}"/>
              </a:ext>
            </a:extLst>
          </p:cNvPr>
          <p:cNvSpPr>
            <a:spLocks noGrp="1"/>
          </p:cNvSpPr>
          <p:nvPr>
            <p:ph type="body" sz="quarter" idx="59"/>
          </p:nvPr>
        </p:nvSpPr>
        <p:spPr/>
        <p:txBody>
          <a:bodyPr/>
          <a:lstStyle/>
          <a:p>
            <a:r>
              <a:rPr lang="pt-PT" dirty="0"/>
              <a:t>Business </a:t>
            </a:r>
            <a:r>
              <a:rPr lang="pt-PT" dirty="0" err="1"/>
              <a:t>analytics</a:t>
            </a:r>
            <a:r>
              <a:rPr lang="pt-PT" dirty="0"/>
              <a:t> </a:t>
            </a:r>
          </a:p>
        </p:txBody>
      </p:sp>
      <p:sp>
        <p:nvSpPr>
          <p:cNvPr id="31" name="Marcador de Posição do Texto 30">
            <a:extLst>
              <a:ext uri="{FF2B5EF4-FFF2-40B4-BE49-F238E27FC236}">
                <a16:creationId xmlns:a16="http://schemas.microsoft.com/office/drawing/2014/main" id="{74096EF2-203B-8DA9-0990-6D9B4D51362C}"/>
              </a:ext>
            </a:extLst>
          </p:cNvPr>
          <p:cNvSpPr>
            <a:spLocks noGrp="1"/>
          </p:cNvSpPr>
          <p:nvPr>
            <p:ph type="body" sz="quarter" idx="61"/>
          </p:nvPr>
        </p:nvSpPr>
        <p:spPr/>
        <p:txBody>
          <a:bodyPr/>
          <a:lstStyle/>
          <a:p>
            <a:r>
              <a:rPr lang="pt-PT" dirty="0" err="1"/>
              <a:t>Operational</a:t>
            </a:r>
            <a:br>
              <a:rPr lang="pt-PT" dirty="0"/>
            </a:br>
            <a:r>
              <a:rPr lang="pt-PT" dirty="0" err="1"/>
              <a:t>reporting</a:t>
            </a:r>
            <a:endParaRPr lang="pt-PT" dirty="0"/>
          </a:p>
        </p:txBody>
      </p:sp>
      <p:sp>
        <p:nvSpPr>
          <p:cNvPr id="33" name="Marcador de Posição do Texto 32">
            <a:extLst>
              <a:ext uri="{FF2B5EF4-FFF2-40B4-BE49-F238E27FC236}">
                <a16:creationId xmlns:a16="http://schemas.microsoft.com/office/drawing/2014/main" id="{09A5628B-A3F0-E906-85A6-73E0B7850A2D}"/>
              </a:ext>
            </a:extLst>
          </p:cNvPr>
          <p:cNvSpPr>
            <a:spLocks noGrp="1"/>
          </p:cNvSpPr>
          <p:nvPr>
            <p:ph type="body" sz="quarter" idx="63"/>
          </p:nvPr>
        </p:nvSpPr>
        <p:spPr/>
        <p:txBody>
          <a:bodyPr/>
          <a:lstStyle/>
          <a:p>
            <a:r>
              <a:rPr lang="pt-PT" dirty="0" err="1"/>
              <a:t>Forecasting</a:t>
            </a:r>
            <a:endParaRPr lang="pt-PT" dirty="0"/>
          </a:p>
        </p:txBody>
      </p:sp>
      <p:sp>
        <p:nvSpPr>
          <p:cNvPr id="34" name="Marcador de Posição do Texto 33">
            <a:extLst>
              <a:ext uri="{FF2B5EF4-FFF2-40B4-BE49-F238E27FC236}">
                <a16:creationId xmlns:a16="http://schemas.microsoft.com/office/drawing/2014/main" id="{404FE389-46DF-552A-F2E1-B162FA0EBCC4}"/>
              </a:ext>
            </a:extLst>
          </p:cNvPr>
          <p:cNvSpPr>
            <a:spLocks noGrp="1"/>
          </p:cNvSpPr>
          <p:nvPr>
            <p:ph type="body" sz="quarter" idx="64"/>
          </p:nvPr>
        </p:nvSpPr>
        <p:spPr/>
        <p:txBody>
          <a:bodyPr/>
          <a:lstStyle/>
          <a:p>
            <a:r>
              <a:rPr lang="pt-PT" dirty="0" err="1"/>
              <a:t>Anomaliy</a:t>
            </a:r>
            <a:r>
              <a:rPr lang="pt-PT" dirty="0"/>
              <a:t> </a:t>
            </a:r>
            <a:br>
              <a:rPr lang="pt-PT" dirty="0"/>
            </a:br>
            <a:r>
              <a:rPr lang="pt-PT" dirty="0" err="1"/>
              <a:t>detection</a:t>
            </a:r>
            <a:endParaRPr lang="pt-PT" dirty="0"/>
          </a:p>
        </p:txBody>
      </p:sp>
      <p:sp>
        <p:nvSpPr>
          <p:cNvPr id="35" name="Marcador de Posição do Texto 34">
            <a:extLst>
              <a:ext uri="{FF2B5EF4-FFF2-40B4-BE49-F238E27FC236}">
                <a16:creationId xmlns:a16="http://schemas.microsoft.com/office/drawing/2014/main" id="{EBB23984-9303-B1A3-17CF-11287004C550}"/>
              </a:ext>
            </a:extLst>
          </p:cNvPr>
          <p:cNvSpPr>
            <a:spLocks noGrp="1"/>
          </p:cNvSpPr>
          <p:nvPr>
            <p:ph type="body" sz="quarter" idx="65"/>
          </p:nvPr>
        </p:nvSpPr>
        <p:spPr/>
        <p:txBody>
          <a:bodyPr/>
          <a:lstStyle/>
          <a:p>
            <a:r>
              <a:rPr lang="pt-PT" dirty="0" err="1"/>
              <a:t>Optimization</a:t>
            </a:r>
            <a:endParaRPr lang="pt-PT" dirty="0"/>
          </a:p>
        </p:txBody>
      </p:sp>
      <p:sp>
        <p:nvSpPr>
          <p:cNvPr id="36" name="Marcador de Posição do Texto 35">
            <a:extLst>
              <a:ext uri="{FF2B5EF4-FFF2-40B4-BE49-F238E27FC236}">
                <a16:creationId xmlns:a16="http://schemas.microsoft.com/office/drawing/2014/main" id="{0714E3DE-9C0A-31C6-357B-C0095446A9B2}"/>
              </a:ext>
            </a:extLst>
          </p:cNvPr>
          <p:cNvSpPr>
            <a:spLocks noGrp="1"/>
          </p:cNvSpPr>
          <p:nvPr>
            <p:ph type="body" sz="quarter" idx="66"/>
          </p:nvPr>
        </p:nvSpPr>
        <p:spPr/>
        <p:txBody>
          <a:bodyPr/>
          <a:lstStyle/>
          <a:p>
            <a:r>
              <a:rPr lang="pt-PT" dirty="0"/>
              <a:t>Ml </a:t>
            </a:r>
            <a:r>
              <a:rPr lang="pt-PT" dirty="0" err="1"/>
              <a:t>models</a:t>
            </a:r>
            <a:endParaRPr lang="pt-PT" dirty="0"/>
          </a:p>
        </p:txBody>
      </p:sp>
      <p:sp>
        <p:nvSpPr>
          <p:cNvPr id="37" name="Marcador de Posição do Texto 36">
            <a:extLst>
              <a:ext uri="{FF2B5EF4-FFF2-40B4-BE49-F238E27FC236}">
                <a16:creationId xmlns:a16="http://schemas.microsoft.com/office/drawing/2014/main" id="{869AFC6A-4A27-E817-64BF-5FDA8AF6BFEE}"/>
              </a:ext>
            </a:extLst>
          </p:cNvPr>
          <p:cNvSpPr>
            <a:spLocks noGrp="1"/>
          </p:cNvSpPr>
          <p:nvPr>
            <p:ph type="body" sz="quarter" idx="67"/>
          </p:nvPr>
        </p:nvSpPr>
        <p:spPr/>
        <p:txBody>
          <a:bodyPr/>
          <a:lstStyle/>
          <a:p>
            <a:r>
              <a:rPr lang="pt-PT" dirty="0"/>
              <a:t>Data </a:t>
            </a:r>
            <a:r>
              <a:rPr lang="pt-PT" dirty="0" err="1"/>
              <a:t>hub</a:t>
            </a:r>
            <a:endParaRPr lang="pt-PT" dirty="0"/>
          </a:p>
        </p:txBody>
      </p:sp>
      <p:sp>
        <p:nvSpPr>
          <p:cNvPr id="38" name="Marcador de Posição do Texto 37">
            <a:extLst>
              <a:ext uri="{FF2B5EF4-FFF2-40B4-BE49-F238E27FC236}">
                <a16:creationId xmlns:a16="http://schemas.microsoft.com/office/drawing/2014/main" id="{26B09212-95C8-8735-8C33-2BB3810DD601}"/>
              </a:ext>
            </a:extLst>
          </p:cNvPr>
          <p:cNvSpPr>
            <a:spLocks noGrp="1"/>
          </p:cNvSpPr>
          <p:nvPr>
            <p:ph type="body" sz="quarter" idx="68"/>
          </p:nvPr>
        </p:nvSpPr>
        <p:spPr/>
        <p:txBody>
          <a:bodyPr/>
          <a:lstStyle/>
          <a:p>
            <a:r>
              <a:rPr lang="pt-PT" dirty="0"/>
              <a:t>Data management</a:t>
            </a:r>
          </a:p>
        </p:txBody>
      </p:sp>
      <p:sp>
        <p:nvSpPr>
          <p:cNvPr id="39" name="Marcador de Posição do Texto 38">
            <a:extLst>
              <a:ext uri="{FF2B5EF4-FFF2-40B4-BE49-F238E27FC236}">
                <a16:creationId xmlns:a16="http://schemas.microsoft.com/office/drawing/2014/main" id="{1B7F6F8D-FC86-3364-4327-EEE6DAAC9EF1}"/>
              </a:ext>
            </a:extLst>
          </p:cNvPr>
          <p:cNvSpPr>
            <a:spLocks noGrp="1"/>
          </p:cNvSpPr>
          <p:nvPr>
            <p:ph type="body" sz="quarter" idx="69"/>
          </p:nvPr>
        </p:nvSpPr>
        <p:spPr/>
        <p:txBody>
          <a:bodyPr/>
          <a:lstStyle/>
          <a:p>
            <a:r>
              <a:rPr lang="pt-PT" dirty="0" err="1"/>
              <a:t>Master</a:t>
            </a:r>
            <a:r>
              <a:rPr lang="pt-PT" dirty="0"/>
              <a:t> data management</a:t>
            </a:r>
          </a:p>
        </p:txBody>
      </p:sp>
      <p:sp>
        <p:nvSpPr>
          <p:cNvPr id="41" name="Marcador de Posição do Texto 40">
            <a:extLst>
              <a:ext uri="{FF2B5EF4-FFF2-40B4-BE49-F238E27FC236}">
                <a16:creationId xmlns:a16="http://schemas.microsoft.com/office/drawing/2014/main" id="{4DD6046A-6438-16B8-EFE5-E81F7385CE85}"/>
              </a:ext>
            </a:extLst>
          </p:cNvPr>
          <p:cNvSpPr>
            <a:spLocks noGrp="1"/>
          </p:cNvSpPr>
          <p:nvPr>
            <p:ph type="body" sz="quarter" idx="71"/>
          </p:nvPr>
        </p:nvSpPr>
        <p:spPr/>
        <p:txBody>
          <a:bodyPr/>
          <a:lstStyle/>
          <a:p>
            <a:r>
              <a:rPr lang="pt-PT" dirty="0" err="1"/>
              <a:t>ETL</a:t>
            </a:r>
            <a:r>
              <a:rPr lang="pt-PT" dirty="0"/>
              <a:t> / </a:t>
            </a:r>
            <a:r>
              <a:rPr lang="pt-PT" dirty="0" err="1"/>
              <a:t>ELT</a:t>
            </a:r>
            <a:r>
              <a:rPr lang="pt-PT" dirty="0"/>
              <a:t> </a:t>
            </a:r>
          </a:p>
        </p:txBody>
      </p:sp>
      <p:sp>
        <p:nvSpPr>
          <p:cNvPr id="42" name="Marcador de Posição do Texto 41">
            <a:extLst>
              <a:ext uri="{FF2B5EF4-FFF2-40B4-BE49-F238E27FC236}">
                <a16:creationId xmlns:a16="http://schemas.microsoft.com/office/drawing/2014/main" id="{ECFF7EDD-E7C7-2877-AC9E-F7EEF1AD25E2}"/>
              </a:ext>
            </a:extLst>
          </p:cNvPr>
          <p:cNvSpPr>
            <a:spLocks noGrp="1"/>
          </p:cNvSpPr>
          <p:nvPr>
            <p:ph type="body" sz="quarter" idx="72"/>
          </p:nvPr>
        </p:nvSpPr>
        <p:spPr/>
        <p:txBody>
          <a:bodyPr/>
          <a:lstStyle/>
          <a:p>
            <a:r>
              <a:rPr lang="pt-PT" dirty="0"/>
              <a:t>Data </a:t>
            </a:r>
            <a:r>
              <a:rPr lang="pt-PT" dirty="0" err="1"/>
              <a:t>Cleansing</a:t>
            </a:r>
            <a:endParaRPr lang="pt-PT" dirty="0"/>
          </a:p>
        </p:txBody>
      </p:sp>
      <p:sp>
        <p:nvSpPr>
          <p:cNvPr id="43" name="Marcador de Posição do Texto 42">
            <a:extLst>
              <a:ext uri="{FF2B5EF4-FFF2-40B4-BE49-F238E27FC236}">
                <a16:creationId xmlns:a16="http://schemas.microsoft.com/office/drawing/2014/main" id="{A71FD843-5338-D9E6-2456-060A00D815DB}"/>
              </a:ext>
            </a:extLst>
          </p:cNvPr>
          <p:cNvSpPr>
            <a:spLocks noGrp="1"/>
          </p:cNvSpPr>
          <p:nvPr>
            <p:ph type="body" sz="quarter" idx="73"/>
          </p:nvPr>
        </p:nvSpPr>
        <p:spPr/>
        <p:txBody>
          <a:bodyPr/>
          <a:lstStyle/>
          <a:p>
            <a:r>
              <a:rPr lang="pt-PT" dirty="0"/>
              <a:t>Data </a:t>
            </a:r>
            <a:r>
              <a:rPr lang="pt-PT" dirty="0" err="1"/>
              <a:t>Quality</a:t>
            </a:r>
            <a:endParaRPr lang="pt-PT" dirty="0"/>
          </a:p>
        </p:txBody>
      </p:sp>
      <p:sp>
        <p:nvSpPr>
          <p:cNvPr id="44" name="Marcador de Posição do Texto 43">
            <a:extLst>
              <a:ext uri="{FF2B5EF4-FFF2-40B4-BE49-F238E27FC236}">
                <a16:creationId xmlns:a16="http://schemas.microsoft.com/office/drawing/2014/main" id="{EC2047C5-43E8-D349-E58B-C04CC6B5176F}"/>
              </a:ext>
            </a:extLst>
          </p:cNvPr>
          <p:cNvSpPr>
            <a:spLocks noGrp="1"/>
          </p:cNvSpPr>
          <p:nvPr>
            <p:ph type="body" sz="quarter" idx="74"/>
          </p:nvPr>
        </p:nvSpPr>
        <p:spPr/>
        <p:txBody>
          <a:bodyPr/>
          <a:lstStyle/>
          <a:p>
            <a:r>
              <a:rPr lang="pt-PT" dirty="0"/>
              <a:t>Data </a:t>
            </a:r>
            <a:r>
              <a:rPr lang="pt-PT" dirty="0" err="1"/>
              <a:t>Enrichment</a:t>
            </a:r>
            <a:endParaRPr lang="pt-PT" dirty="0"/>
          </a:p>
        </p:txBody>
      </p:sp>
      <p:sp>
        <p:nvSpPr>
          <p:cNvPr id="45" name="Marcador de Posição do Texto 44">
            <a:extLst>
              <a:ext uri="{FF2B5EF4-FFF2-40B4-BE49-F238E27FC236}">
                <a16:creationId xmlns:a16="http://schemas.microsoft.com/office/drawing/2014/main" id="{220567D8-F5E1-6232-534A-6744D0DAF35B}"/>
              </a:ext>
            </a:extLst>
          </p:cNvPr>
          <p:cNvSpPr>
            <a:spLocks noGrp="1"/>
          </p:cNvSpPr>
          <p:nvPr>
            <p:ph type="body" sz="quarter" idx="75"/>
          </p:nvPr>
        </p:nvSpPr>
        <p:spPr/>
        <p:txBody>
          <a:bodyPr/>
          <a:lstStyle/>
          <a:p>
            <a:r>
              <a:rPr lang="pt-PT" dirty="0"/>
              <a:t>Non-</a:t>
            </a:r>
            <a:r>
              <a:rPr lang="pt-PT" dirty="0" err="1"/>
              <a:t>structured</a:t>
            </a:r>
            <a:r>
              <a:rPr lang="pt-PT" dirty="0"/>
              <a:t> data </a:t>
            </a:r>
          </a:p>
        </p:txBody>
      </p:sp>
      <p:sp>
        <p:nvSpPr>
          <p:cNvPr id="47" name="Marcador de Posição do Texto 46">
            <a:extLst>
              <a:ext uri="{FF2B5EF4-FFF2-40B4-BE49-F238E27FC236}">
                <a16:creationId xmlns:a16="http://schemas.microsoft.com/office/drawing/2014/main" id="{A69B83E1-163D-9273-0499-46A7F3FED404}"/>
              </a:ext>
            </a:extLst>
          </p:cNvPr>
          <p:cNvSpPr>
            <a:spLocks noGrp="1"/>
          </p:cNvSpPr>
          <p:nvPr>
            <p:ph type="body" sz="quarter" idx="77"/>
          </p:nvPr>
        </p:nvSpPr>
        <p:spPr/>
        <p:txBody>
          <a:bodyPr/>
          <a:lstStyle/>
          <a:p>
            <a:r>
              <a:rPr lang="pt-PT" dirty="0" err="1"/>
              <a:t>Structured</a:t>
            </a:r>
            <a:r>
              <a:rPr lang="pt-PT" dirty="0"/>
              <a:t>  data </a:t>
            </a:r>
          </a:p>
        </p:txBody>
      </p:sp>
      <p:sp>
        <p:nvSpPr>
          <p:cNvPr id="49" name="Marcador de Posição do Texto 48">
            <a:extLst>
              <a:ext uri="{FF2B5EF4-FFF2-40B4-BE49-F238E27FC236}">
                <a16:creationId xmlns:a16="http://schemas.microsoft.com/office/drawing/2014/main" id="{BF6AFD1F-A217-6C65-0AB3-38793C498BF8}"/>
              </a:ext>
            </a:extLst>
          </p:cNvPr>
          <p:cNvSpPr>
            <a:spLocks noGrp="1"/>
          </p:cNvSpPr>
          <p:nvPr>
            <p:ph type="body" sz="quarter" idx="79"/>
          </p:nvPr>
        </p:nvSpPr>
        <p:spPr/>
        <p:txBody>
          <a:bodyPr/>
          <a:lstStyle/>
          <a:p>
            <a:r>
              <a:rPr lang="pt-PT" dirty="0" err="1"/>
              <a:t>Streaming</a:t>
            </a:r>
            <a:r>
              <a:rPr lang="pt-PT" dirty="0"/>
              <a:t> / Real Time </a:t>
            </a:r>
          </a:p>
        </p:txBody>
      </p:sp>
      <p:sp>
        <p:nvSpPr>
          <p:cNvPr id="50" name="Marcador de Posição do Texto 49">
            <a:extLst>
              <a:ext uri="{FF2B5EF4-FFF2-40B4-BE49-F238E27FC236}">
                <a16:creationId xmlns:a16="http://schemas.microsoft.com/office/drawing/2014/main" id="{2C59679E-DE12-EFE2-D46A-2741098B14AD}"/>
              </a:ext>
            </a:extLst>
          </p:cNvPr>
          <p:cNvSpPr>
            <a:spLocks noGrp="1"/>
          </p:cNvSpPr>
          <p:nvPr>
            <p:ph type="body" sz="quarter" idx="80"/>
          </p:nvPr>
        </p:nvSpPr>
        <p:spPr/>
        <p:txBody>
          <a:bodyPr/>
          <a:lstStyle/>
          <a:p>
            <a:r>
              <a:rPr lang="pt-PT" dirty="0" err="1"/>
              <a:t>Batch</a:t>
            </a:r>
            <a:r>
              <a:rPr lang="pt-PT" dirty="0"/>
              <a:t> </a:t>
            </a:r>
            <a:r>
              <a:rPr lang="pt-PT" dirty="0" err="1"/>
              <a:t>Process</a:t>
            </a:r>
            <a:endParaRPr lang="pt-PT" dirty="0"/>
          </a:p>
        </p:txBody>
      </p:sp>
      <p:sp>
        <p:nvSpPr>
          <p:cNvPr id="51" name="Marcador de Posição do Texto 50">
            <a:extLst>
              <a:ext uri="{FF2B5EF4-FFF2-40B4-BE49-F238E27FC236}">
                <a16:creationId xmlns:a16="http://schemas.microsoft.com/office/drawing/2014/main" id="{BA9DF81C-6664-81CC-2029-A00AB7D10E47}"/>
              </a:ext>
            </a:extLst>
          </p:cNvPr>
          <p:cNvSpPr>
            <a:spLocks noGrp="1"/>
          </p:cNvSpPr>
          <p:nvPr>
            <p:ph type="body" sz="quarter" idx="81"/>
          </p:nvPr>
        </p:nvSpPr>
        <p:spPr/>
        <p:txBody>
          <a:bodyPr/>
          <a:lstStyle/>
          <a:p>
            <a:r>
              <a:rPr lang="pt-PT" dirty="0" err="1"/>
              <a:t>SOAP</a:t>
            </a:r>
            <a:r>
              <a:rPr lang="pt-PT" dirty="0"/>
              <a:t> </a:t>
            </a:r>
            <a:r>
              <a:rPr lang="pt-PT" dirty="0" err="1"/>
              <a:t>REST</a:t>
            </a:r>
            <a:r>
              <a:rPr lang="pt-PT" dirty="0"/>
              <a:t> / API </a:t>
            </a:r>
          </a:p>
        </p:txBody>
      </p:sp>
      <p:sp>
        <p:nvSpPr>
          <p:cNvPr id="53" name="Marcador de Posição do Texto 52">
            <a:extLst>
              <a:ext uri="{FF2B5EF4-FFF2-40B4-BE49-F238E27FC236}">
                <a16:creationId xmlns:a16="http://schemas.microsoft.com/office/drawing/2014/main" id="{A9089B3E-7B4C-1D89-6174-A6995361043D}"/>
              </a:ext>
            </a:extLst>
          </p:cNvPr>
          <p:cNvSpPr>
            <a:spLocks noGrp="1"/>
          </p:cNvSpPr>
          <p:nvPr>
            <p:ph type="body" sz="quarter" idx="83"/>
          </p:nvPr>
        </p:nvSpPr>
        <p:spPr>
          <a:xfrm>
            <a:off x="4139918" y="5793142"/>
            <a:ext cx="844250" cy="422173"/>
          </a:xfrm>
        </p:spPr>
        <p:txBody>
          <a:bodyPr/>
          <a:lstStyle/>
          <a:p>
            <a:r>
              <a:rPr lang="pt-PT" dirty="0"/>
              <a:t>PC FILES</a:t>
            </a:r>
          </a:p>
        </p:txBody>
      </p:sp>
      <p:sp>
        <p:nvSpPr>
          <p:cNvPr id="54" name="Marcador de Posição do Texto 53">
            <a:extLst>
              <a:ext uri="{FF2B5EF4-FFF2-40B4-BE49-F238E27FC236}">
                <a16:creationId xmlns:a16="http://schemas.microsoft.com/office/drawing/2014/main" id="{A54E1300-2F1D-D14A-913F-175FABC220DD}"/>
              </a:ext>
            </a:extLst>
          </p:cNvPr>
          <p:cNvSpPr>
            <a:spLocks noGrp="1"/>
          </p:cNvSpPr>
          <p:nvPr>
            <p:ph type="body" sz="quarter" idx="84"/>
          </p:nvPr>
        </p:nvSpPr>
        <p:spPr>
          <a:xfrm>
            <a:off x="5494201" y="5793142"/>
            <a:ext cx="844250" cy="422173"/>
          </a:xfrm>
        </p:spPr>
        <p:txBody>
          <a:bodyPr/>
          <a:lstStyle/>
          <a:p>
            <a:r>
              <a:rPr lang="pt-PT" dirty="0" err="1"/>
              <a:t>HADOOP</a:t>
            </a:r>
            <a:endParaRPr lang="pt-PT" dirty="0"/>
          </a:p>
        </p:txBody>
      </p:sp>
      <p:sp>
        <p:nvSpPr>
          <p:cNvPr id="55" name="Marcador de Posição do Texto 54">
            <a:extLst>
              <a:ext uri="{FF2B5EF4-FFF2-40B4-BE49-F238E27FC236}">
                <a16:creationId xmlns:a16="http://schemas.microsoft.com/office/drawing/2014/main" id="{3A3D4976-4E67-A5D9-DCE9-AB1EDC62BE47}"/>
              </a:ext>
            </a:extLst>
          </p:cNvPr>
          <p:cNvSpPr>
            <a:spLocks noGrp="1"/>
          </p:cNvSpPr>
          <p:nvPr>
            <p:ph type="body" sz="quarter" idx="85"/>
          </p:nvPr>
        </p:nvSpPr>
        <p:spPr>
          <a:xfrm>
            <a:off x="8202767" y="5793142"/>
            <a:ext cx="844250" cy="422173"/>
          </a:xfrm>
        </p:spPr>
        <p:txBody>
          <a:bodyPr/>
          <a:lstStyle/>
          <a:p>
            <a:r>
              <a:rPr lang="pt-PT" dirty="0"/>
              <a:t>ERP</a:t>
            </a:r>
          </a:p>
        </p:txBody>
      </p:sp>
      <p:sp>
        <p:nvSpPr>
          <p:cNvPr id="56" name="Marcador de Posição do Texto 55">
            <a:extLst>
              <a:ext uri="{FF2B5EF4-FFF2-40B4-BE49-F238E27FC236}">
                <a16:creationId xmlns:a16="http://schemas.microsoft.com/office/drawing/2014/main" id="{3ED70534-827D-FF3F-46D6-BB8CA21890DA}"/>
              </a:ext>
            </a:extLst>
          </p:cNvPr>
          <p:cNvSpPr>
            <a:spLocks noGrp="1"/>
          </p:cNvSpPr>
          <p:nvPr>
            <p:ph type="body" sz="quarter" idx="86"/>
          </p:nvPr>
        </p:nvSpPr>
        <p:spPr>
          <a:xfrm>
            <a:off x="9557051" y="5793142"/>
            <a:ext cx="844250" cy="422173"/>
          </a:xfrm>
        </p:spPr>
        <p:txBody>
          <a:bodyPr/>
          <a:lstStyle/>
          <a:p>
            <a:r>
              <a:rPr lang="pt-PT" dirty="0" err="1"/>
              <a:t>SENSORS</a:t>
            </a:r>
            <a:endParaRPr lang="pt-PT" dirty="0"/>
          </a:p>
        </p:txBody>
      </p:sp>
      <p:sp>
        <p:nvSpPr>
          <p:cNvPr id="57" name="Marcador de Posição do Texto 56">
            <a:extLst>
              <a:ext uri="{FF2B5EF4-FFF2-40B4-BE49-F238E27FC236}">
                <a16:creationId xmlns:a16="http://schemas.microsoft.com/office/drawing/2014/main" id="{AD623301-49A3-C4D2-9EB7-9464004E948D}"/>
              </a:ext>
            </a:extLst>
          </p:cNvPr>
          <p:cNvSpPr>
            <a:spLocks noGrp="1"/>
          </p:cNvSpPr>
          <p:nvPr>
            <p:ph type="body" sz="quarter" idx="87"/>
          </p:nvPr>
        </p:nvSpPr>
        <p:spPr/>
        <p:txBody>
          <a:bodyPr/>
          <a:lstStyle/>
          <a:p>
            <a:r>
              <a:rPr lang="pt-PT" dirty="0"/>
              <a:t>DATA </a:t>
            </a:r>
            <a:r>
              <a:rPr lang="pt-PT" dirty="0" err="1"/>
              <a:t>GOVERNANE</a:t>
            </a:r>
            <a:r>
              <a:rPr lang="pt-PT" dirty="0"/>
              <a:t> , </a:t>
            </a:r>
            <a:r>
              <a:rPr lang="pt-PT" dirty="0" err="1"/>
              <a:t>LINEAGE</a:t>
            </a:r>
            <a:r>
              <a:rPr lang="pt-PT" dirty="0"/>
              <a:t> , </a:t>
            </a:r>
            <a:r>
              <a:rPr lang="pt-PT" dirty="0" err="1"/>
              <a:t>METADATA</a:t>
            </a:r>
            <a:endParaRPr lang="pt-PT" dirty="0"/>
          </a:p>
        </p:txBody>
      </p:sp>
      <p:sp>
        <p:nvSpPr>
          <p:cNvPr id="58" name="Marcador de Posição do Texto 57">
            <a:extLst>
              <a:ext uri="{FF2B5EF4-FFF2-40B4-BE49-F238E27FC236}">
                <a16:creationId xmlns:a16="http://schemas.microsoft.com/office/drawing/2014/main" id="{73546B6A-5BC1-29DE-3DBC-3FBED781BF0B}"/>
              </a:ext>
            </a:extLst>
          </p:cNvPr>
          <p:cNvSpPr>
            <a:spLocks noGrp="1"/>
          </p:cNvSpPr>
          <p:nvPr>
            <p:ph type="body" sz="quarter" idx="88"/>
          </p:nvPr>
        </p:nvSpPr>
        <p:spPr/>
        <p:txBody>
          <a:bodyPr/>
          <a:lstStyle/>
          <a:p>
            <a:r>
              <a:rPr lang="pt-PT" dirty="0" err="1"/>
              <a:t>DEPLOYMENT</a:t>
            </a:r>
            <a:r>
              <a:rPr lang="pt-PT" dirty="0"/>
              <a:t> (CI/CD ; </a:t>
            </a:r>
            <a:r>
              <a:rPr lang="pt-PT" dirty="0" err="1"/>
              <a:t>DEVOPS</a:t>
            </a:r>
            <a:r>
              <a:rPr lang="pt-PT" dirty="0"/>
              <a:t> ; </a:t>
            </a:r>
            <a:r>
              <a:rPr lang="pt-PT" dirty="0" err="1"/>
              <a:t>MLOPS</a:t>
            </a:r>
            <a:r>
              <a:rPr lang="pt-PT" dirty="0"/>
              <a:t>)</a:t>
            </a:r>
          </a:p>
        </p:txBody>
      </p:sp>
      <p:sp>
        <p:nvSpPr>
          <p:cNvPr id="59" name="Marcador de Posição do Texto 54">
            <a:extLst>
              <a:ext uri="{FF2B5EF4-FFF2-40B4-BE49-F238E27FC236}">
                <a16:creationId xmlns:a16="http://schemas.microsoft.com/office/drawing/2014/main" id="{0430BA80-F824-DCED-639D-6DEF6DA8B20E}"/>
              </a:ext>
            </a:extLst>
          </p:cNvPr>
          <p:cNvSpPr txBox="1">
            <a:spLocks/>
          </p:cNvSpPr>
          <p:nvPr/>
        </p:nvSpPr>
        <p:spPr>
          <a:xfrm>
            <a:off x="6848484" y="5793142"/>
            <a:ext cx="844250" cy="42217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177800" indent="-177800" algn="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177800" indent="-177800" algn="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77800" indent="-177800" algn="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177800" indent="-177800" algn="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PT"/>
              <a:t>CLOUD</a:t>
            </a:r>
            <a:br>
              <a:rPr lang="pt-PT"/>
            </a:br>
            <a:r>
              <a:rPr lang="pt-PT"/>
              <a:t>DATA</a:t>
            </a:r>
            <a:endParaRPr lang="pt-PT" dirty="0"/>
          </a:p>
        </p:txBody>
      </p:sp>
      <p:grpSp>
        <p:nvGrpSpPr>
          <p:cNvPr id="60" name="Agrupar 59">
            <a:extLst>
              <a:ext uri="{FF2B5EF4-FFF2-40B4-BE49-F238E27FC236}">
                <a16:creationId xmlns:a16="http://schemas.microsoft.com/office/drawing/2014/main" id="{6D05F1A3-7FB7-F6C6-D75B-89CAD42D800B}"/>
              </a:ext>
            </a:extLst>
          </p:cNvPr>
          <p:cNvGrpSpPr/>
          <p:nvPr/>
        </p:nvGrpSpPr>
        <p:grpSpPr>
          <a:xfrm>
            <a:off x="3540989" y="1848387"/>
            <a:ext cx="325297" cy="355243"/>
            <a:chOff x="6000092" y="1357908"/>
            <a:chExt cx="365300" cy="398929"/>
          </a:xfrm>
        </p:grpSpPr>
        <p:sp>
          <p:nvSpPr>
            <p:cNvPr id="61" name="Forma livre: Forma 60">
              <a:extLst>
                <a:ext uri="{FF2B5EF4-FFF2-40B4-BE49-F238E27FC236}">
                  <a16:creationId xmlns:a16="http://schemas.microsoft.com/office/drawing/2014/main" id="{3B4D4B86-BEB5-B319-216A-1508E7FF9E00}"/>
                </a:ext>
              </a:extLst>
            </p:cNvPr>
            <p:cNvSpPr/>
            <p:nvPr/>
          </p:nvSpPr>
          <p:spPr>
            <a:xfrm>
              <a:off x="6000092" y="1418606"/>
              <a:ext cx="84058" cy="286120"/>
            </a:xfrm>
            <a:custGeom>
              <a:avLst/>
              <a:gdLst>
                <a:gd name="connsiteX0" fmla="*/ 51595 w 84058"/>
                <a:gd name="connsiteY0" fmla="*/ 0 h 286120"/>
                <a:gd name="connsiteX1" fmla="*/ 35266 w 84058"/>
                <a:gd name="connsiteY1" fmla="*/ 61674 h 286120"/>
                <a:gd name="connsiteX2" fmla="*/ 28760 w 84058"/>
                <a:gd name="connsiteY2" fmla="*/ 193415 h 286120"/>
                <a:gd name="connsiteX3" fmla="*/ 84059 w 84058"/>
                <a:gd name="connsiteY3" fmla="*/ 286121 h 2861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4058" h="286120">
                  <a:moveTo>
                    <a:pt x="51595" y="0"/>
                  </a:moveTo>
                  <a:cubicBezTo>
                    <a:pt x="37868" y="7872"/>
                    <a:pt x="26028" y="24852"/>
                    <a:pt x="35266" y="61674"/>
                  </a:cubicBezTo>
                  <a:cubicBezTo>
                    <a:pt x="35266" y="61674"/>
                    <a:pt x="-39549" y="126731"/>
                    <a:pt x="28760" y="193415"/>
                  </a:cubicBezTo>
                  <a:cubicBezTo>
                    <a:pt x="28760" y="193415"/>
                    <a:pt x="9243" y="281242"/>
                    <a:pt x="84059" y="286121"/>
                  </a:cubicBezTo>
                </a:path>
              </a:pathLst>
            </a:custGeom>
            <a:noFill/>
            <a:ln w="19050" cap="sq">
              <a:solidFill>
                <a:srgbClr val="00FF94"/>
              </a:solidFill>
              <a:prstDash val="solid"/>
              <a:miter lim="800000"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62" name="Gráfico 32">
              <a:extLst>
                <a:ext uri="{FF2B5EF4-FFF2-40B4-BE49-F238E27FC236}">
                  <a16:creationId xmlns:a16="http://schemas.microsoft.com/office/drawing/2014/main" id="{2C0CBA9F-8CA5-EE32-8250-B3255723CE98}"/>
                </a:ext>
              </a:extLst>
            </p:cNvPr>
            <p:cNvGrpSpPr/>
            <p:nvPr/>
          </p:nvGrpSpPr>
          <p:grpSpPr>
            <a:xfrm>
              <a:off x="6061121" y="1359924"/>
              <a:ext cx="128487" cy="396366"/>
              <a:chOff x="6061121" y="1359924"/>
              <a:chExt cx="128487" cy="396366"/>
            </a:xfrm>
            <a:noFill/>
          </p:grpSpPr>
          <p:sp>
            <p:nvSpPr>
              <p:cNvPr id="77" name="Forma livre: Forma 76">
                <a:extLst>
                  <a:ext uri="{FF2B5EF4-FFF2-40B4-BE49-F238E27FC236}">
                    <a16:creationId xmlns:a16="http://schemas.microsoft.com/office/drawing/2014/main" id="{F781CA9B-943A-1674-B900-2ABF1598DD58}"/>
                  </a:ext>
                </a:extLst>
              </p:cNvPr>
              <p:cNvSpPr/>
              <p:nvPr/>
            </p:nvSpPr>
            <p:spPr>
              <a:xfrm>
                <a:off x="6083891" y="1359924"/>
                <a:ext cx="105717" cy="396366"/>
              </a:xfrm>
              <a:custGeom>
                <a:avLst/>
                <a:gdLst>
                  <a:gd name="connsiteX0" fmla="*/ 52891 w 105717"/>
                  <a:gd name="connsiteY0" fmla="*/ 105718 h 396366"/>
                  <a:gd name="connsiteX1" fmla="*/ 0 w 105717"/>
                  <a:gd name="connsiteY1" fmla="*/ 52891 h 396366"/>
                  <a:gd name="connsiteX2" fmla="*/ 52891 w 105717"/>
                  <a:gd name="connsiteY2" fmla="*/ 0 h 396366"/>
                  <a:gd name="connsiteX3" fmla="*/ 105718 w 105717"/>
                  <a:gd name="connsiteY3" fmla="*/ 52826 h 396366"/>
                  <a:gd name="connsiteX4" fmla="*/ 105718 w 105717"/>
                  <a:gd name="connsiteY4" fmla="*/ 346884 h 396366"/>
                  <a:gd name="connsiteX5" fmla="*/ 80606 w 105717"/>
                  <a:gd name="connsiteY5" fmla="*/ 388911 h 396366"/>
                  <a:gd name="connsiteX6" fmla="*/ 9238 w 105717"/>
                  <a:gd name="connsiteY6" fmla="*/ 371150 h 396366"/>
                  <a:gd name="connsiteX7" fmla="*/ 15484 w 105717"/>
                  <a:gd name="connsiteY7" fmla="*/ 309216 h 396366"/>
                  <a:gd name="connsiteX8" fmla="*/ 45019 w 105717"/>
                  <a:gd name="connsiteY8" fmla="*/ 277078 h 3963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05717" h="396366">
                    <a:moveTo>
                      <a:pt x="52891" y="105718"/>
                    </a:moveTo>
                    <a:cubicBezTo>
                      <a:pt x="23681" y="105718"/>
                      <a:pt x="0" y="82037"/>
                      <a:pt x="0" y="52891"/>
                    </a:cubicBezTo>
                    <a:cubicBezTo>
                      <a:pt x="0" y="23746"/>
                      <a:pt x="23681" y="0"/>
                      <a:pt x="52891" y="0"/>
                    </a:cubicBezTo>
                    <a:cubicBezTo>
                      <a:pt x="82102" y="0"/>
                      <a:pt x="105718" y="23681"/>
                      <a:pt x="105718" y="52826"/>
                    </a:cubicBezTo>
                    <a:lnTo>
                      <a:pt x="105718" y="346884"/>
                    </a:lnTo>
                    <a:cubicBezTo>
                      <a:pt x="105718" y="364580"/>
                      <a:pt x="96414" y="379413"/>
                      <a:pt x="80606" y="388911"/>
                    </a:cubicBezTo>
                    <a:cubicBezTo>
                      <a:pt x="55949" y="403744"/>
                      <a:pt x="24006" y="395742"/>
                      <a:pt x="9238" y="371150"/>
                    </a:cubicBezTo>
                    <a:cubicBezTo>
                      <a:pt x="-2928" y="350918"/>
                      <a:pt x="260" y="325741"/>
                      <a:pt x="15484" y="309216"/>
                    </a:cubicBezTo>
                    <a:lnTo>
                      <a:pt x="45019" y="277078"/>
                    </a:lnTo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8" name="Forma livre: Forma 77">
                <a:extLst>
                  <a:ext uri="{FF2B5EF4-FFF2-40B4-BE49-F238E27FC236}">
                    <a16:creationId xmlns:a16="http://schemas.microsoft.com/office/drawing/2014/main" id="{8A08209F-AC91-DB7C-1AF5-0A277EE398D7}"/>
                  </a:ext>
                </a:extLst>
              </p:cNvPr>
              <p:cNvSpPr/>
              <p:nvPr/>
            </p:nvSpPr>
            <p:spPr>
              <a:xfrm>
                <a:off x="6144784" y="1383865"/>
                <a:ext cx="41563" cy="38963"/>
              </a:xfrm>
              <a:custGeom>
                <a:avLst/>
                <a:gdLst>
                  <a:gd name="connsiteX0" fmla="*/ 36172 w 41563"/>
                  <a:gd name="connsiteY0" fmla="*/ 0 h 38963"/>
                  <a:gd name="connsiteX1" fmla="*/ 39425 w 41563"/>
                  <a:gd name="connsiteY1" fmla="*/ 24266 h 38963"/>
                  <a:gd name="connsiteX2" fmla="*/ 36432 w 41563"/>
                  <a:gd name="connsiteY2" fmla="*/ 29080 h 38963"/>
                  <a:gd name="connsiteX3" fmla="*/ 0 w 41563"/>
                  <a:gd name="connsiteY3" fmla="*/ 33439 h 389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563" h="38963">
                    <a:moveTo>
                      <a:pt x="36172" y="0"/>
                    </a:moveTo>
                    <a:cubicBezTo>
                      <a:pt x="41571" y="7547"/>
                      <a:pt x="43393" y="16004"/>
                      <a:pt x="39425" y="24266"/>
                    </a:cubicBezTo>
                    <a:cubicBezTo>
                      <a:pt x="38644" y="25893"/>
                      <a:pt x="37603" y="27519"/>
                      <a:pt x="36432" y="29080"/>
                    </a:cubicBezTo>
                    <a:cubicBezTo>
                      <a:pt x="27584" y="40270"/>
                      <a:pt x="11190" y="42287"/>
                      <a:pt x="0" y="33439"/>
                    </a:cubicBezTo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9" name="Forma livre: Forma 78">
                <a:extLst>
                  <a:ext uri="{FF2B5EF4-FFF2-40B4-BE49-F238E27FC236}">
                    <a16:creationId xmlns:a16="http://schemas.microsoft.com/office/drawing/2014/main" id="{4F197A04-D99E-0702-850A-1F95741F19BE}"/>
                  </a:ext>
                </a:extLst>
              </p:cNvPr>
              <p:cNvSpPr/>
              <p:nvPr/>
            </p:nvSpPr>
            <p:spPr>
              <a:xfrm>
                <a:off x="6081487" y="1460806"/>
                <a:ext cx="34217" cy="54474"/>
              </a:xfrm>
              <a:custGeom>
                <a:avLst/>
                <a:gdLst>
                  <a:gd name="connsiteX0" fmla="*/ 21076 w 34217"/>
                  <a:gd name="connsiteY0" fmla="*/ 54475 h 54474"/>
                  <a:gd name="connsiteX1" fmla="*/ 778 w 34217"/>
                  <a:gd name="connsiteY1" fmla="*/ 21035 h 54474"/>
                  <a:gd name="connsiteX2" fmla="*/ 34217 w 34217"/>
                  <a:gd name="connsiteY2" fmla="*/ 803 h 544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4217" h="54474">
                    <a:moveTo>
                      <a:pt x="21076" y="54475"/>
                    </a:moveTo>
                    <a:cubicBezTo>
                      <a:pt x="6308" y="50832"/>
                      <a:pt x="-2800" y="35803"/>
                      <a:pt x="778" y="21035"/>
                    </a:cubicBezTo>
                    <a:cubicBezTo>
                      <a:pt x="4421" y="6267"/>
                      <a:pt x="19449" y="-2841"/>
                      <a:pt x="34217" y="803"/>
                    </a:cubicBezTo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80" name="Forma livre: Forma 79">
                <a:extLst>
                  <a:ext uri="{FF2B5EF4-FFF2-40B4-BE49-F238E27FC236}">
                    <a16:creationId xmlns:a16="http://schemas.microsoft.com/office/drawing/2014/main" id="{3A0F5329-594E-F35E-9B74-32922CE4FD83}"/>
                  </a:ext>
                </a:extLst>
              </p:cNvPr>
              <p:cNvSpPr/>
              <p:nvPr/>
            </p:nvSpPr>
            <p:spPr>
              <a:xfrm>
                <a:off x="6073547" y="1527543"/>
                <a:ext cx="114760" cy="72506"/>
              </a:xfrm>
              <a:custGeom>
                <a:avLst/>
                <a:gdLst>
                  <a:gd name="connsiteX0" fmla="*/ 114760 w 114760"/>
                  <a:gd name="connsiteY0" fmla="*/ 7254 h 72506"/>
                  <a:gd name="connsiteX1" fmla="*/ 73905 w 114760"/>
                  <a:gd name="connsiteY1" fmla="*/ 8881 h 72506"/>
                  <a:gd name="connsiteX2" fmla="*/ 0 w 114760"/>
                  <a:gd name="connsiteY2" fmla="*/ 72506 h 725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14760" h="72506">
                    <a:moveTo>
                      <a:pt x="114760" y="7254"/>
                    </a:moveTo>
                    <a:cubicBezTo>
                      <a:pt x="103375" y="-2830"/>
                      <a:pt x="83989" y="-2504"/>
                      <a:pt x="73905" y="8881"/>
                    </a:cubicBezTo>
                    <a:cubicBezTo>
                      <a:pt x="73905" y="8881"/>
                      <a:pt x="31488" y="72506"/>
                      <a:pt x="0" y="72506"/>
                    </a:cubicBezTo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81" name="Forma livre: Forma 80">
                <a:extLst>
                  <a:ext uri="{FF2B5EF4-FFF2-40B4-BE49-F238E27FC236}">
                    <a16:creationId xmlns:a16="http://schemas.microsoft.com/office/drawing/2014/main" id="{D39DFA0F-81D0-16B2-4CB0-1B263EBA8B20}"/>
                  </a:ext>
                </a:extLst>
              </p:cNvPr>
              <p:cNvSpPr/>
              <p:nvPr/>
            </p:nvSpPr>
            <p:spPr>
              <a:xfrm>
                <a:off x="6079857" y="1646956"/>
                <a:ext cx="29405" cy="9823"/>
              </a:xfrm>
              <a:custGeom>
                <a:avLst/>
                <a:gdLst>
                  <a:gd name="connsiteX0" fmla="*/ 0 w 29405"/>
                  <a:gd name="connsiteY0" fmla="*/ 0 h 9823"/>
                  <a:gd name="connsiteX1" fmla="*/ 29406 w 29405"/>
                  <a:gd name="connsiteY1" fmla="*/ 9824 h 98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9405" h="9823">
                    <a:moveTo>
                      <a:pt x="0" y="0"/>
                    </a:moveTo>
                    <a:lnTo>
                      <a:pt x="29406" y="9824"/>
                    </a:lnTo>
                  </a:path>
                </a:pathLst>
              </a:custGeom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82" name="Forma livre: Forma 81">
                <a:extLst>
                  <a:ext uri="{FF2B5EF4-FFF2-40B4-BE49-F238E27FC236}">
                    <a16:creationId xmlns:a16="http://schemas.microsoft.com/office/drawing/2014/main" id="{62FC4924-2D85-2385-F3B5-0C66619C89EF}"/>
                  </a:ext>
                </a:extLst>
              </p:cNvPr>
              <p:cNvSpPr/>
              <p:nvPr/>
            </p:nvSpPr>
            <p:spPr>
              <a:xfrm>
                <a:off x="6061121" y="1545272"/>
                <a:ext cx="47166" cy="34154"/>
              </a:xfrm>
              <a:custGeom>
                <a:avLst/>
                <a:gdLst>
                  <a:gd name="connsiteX0" fmla="*/ 0 w 47166"/>
                  <a:gd name="connsiteY0" fmla="*/ 0 h 34154"/>
                  <a:gd name="connsiteX1" fmla="*/ 47166 w 47166"/>
                  <a:gd name="connsiteY1" fmla="*/ 34155 h 341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166" h="34154">
                    <a:moveTo>
                      <a:pt x="0" y="0"/>
                    </a:moveTo>
                    <a:cubicBezTo>
                      <a:pt x="0" y="0"/>
                      <a:pt x="27649" y="13011"/>
                      <a:pt x="47166" y="34155"/>
                    </a:cubicBezTo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63" name="Gráfico 32">
              <a:extLst>
                <a:ext uri="{FF2B5EF4-FFF2-40B4-BE49-F238E27FC236}">
                  <a16:creationId xmlns:a16="http://schemas.microsoft.com/office/drawing/2014/main" id="{065ADCA1-EAA2-31BB-D90D-543ECC70E724}"/>
                </a:ext>
              </a:extLst>
            </p:cNvPr>
            <p:cNvGrpSpPr/>
            <p:nvPr/>
          </p:nvGrpSpPr>
          <p:grpSpPr>
            <a:xfrm>
              <a:off x="6191625" y="1599725"/>
              <a:ext cx="173767" cy="157112"/>
              <a:chOff x="6191625" y="1599725"/>
              <a:chExt cx="173767" cy="157112"/>
            </a:xfrm>
            <a:noFill/>
          </p:grpSpPr>
          <p:sp>
            <p:nvSpPr>
              <p:cNvPr id="73" name="Forma livre: Forma 72">
                <a:extLst>
                  <a:ext uri="{FF2B5EF4-FFF2-40B4-BE49-F238E27FC236}">
                    <a16:creationId xmlns:a16="http://schemas.microsoft.com/office/drawing/2014/main" id="{6E1D6130-56CB-2326-5E85-B7BC1D667867}"/>
                  </a:ext>
                </a:extLst>
              </p:cNvPr>
              <p:cNvSpPr/>
              <p:nvPr/>
            </p:nvSpPr>
            <p:spPr>
              <a:xfrm>
                <a:off x="6310094" y="1621974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4" name="Forma livre: Forma 73">
                <a:extLst>
                  <a:ext uri="{FF2B5EF4-FFF2-40B4-BE49-F238E27FC236}">
                    <a16:creationId xmlns:a16="http://schemas.microsoft.com/office/drawing/2014/main" id="{2396CA9C-5796-CBD7-537C-2FF27D8390A6}"/>
                  </a:ext>
                </a:extLst>
              </p:cNvPr>
              <p:cNvSpPr/>
              <p:nvPr/>
            </p:nvSpPr>
            <p:spPr>
              <a:xfrm>
                <a:off x="6191625" y="1599725"/>
                <a:ext cx="118078" cy="49898"/>
              </a:xfrm>
              <a:custGeom>
                <a:avLst/>
                <a:gdLst>
                  <a:gd name="connsiteX0" fmla="*/ 0 w 118078"/>
                  <a:gd name="connsiteY0" fmla="*/ 0 h 49898"/>
                  <a:gd name="connsiteX1" fmla="*/ 37343 w 118078"/>
                  <a:gd name="connsiteY1" fmla="*/ 0 h 49898"/>
                  <a:gd name="connsiteX2" fmla="*/ 87176 w 118078"/>
                  <a:gd name="connsiteY2" fmla="*/ 49899 h 49898"/>
                  <a:gd name="connsiteX3" fmla="*/ 118078 w 118078"/>
                  <a:gd name="connsiteY3" fmla="*/ 49899 h 49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8078" h="49898">
                    <a:moveTo>
                      <a:pt x="0" y="0"/>
                    </a:moveTo>
                    <a:lnTo>
                      <a:pt x="37343" y="0"/>
                    </a:lnTo>
                    <a:lnTo>
                      <a:pt x="87176" y="49899"/>
                    </a:lnTo>
                    <a:lnTo>
                      <a:pt x="118078" y="49899"/>
                    </a:lnTo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5" name="Forma livre: Forma 74">
                <a:extLst>
                  <a:ext uri="{FF2B5EF4-FFF2-40B4-BE49-F238E27FC236}">
                    <a16:creationId xmlns:a16="http://schemas.microsoft.com/office/drawing/2014/main" id="{1F4685C8-9446-9016-F1DC-F34CEEC626D4}"/>
                  </a:ext>
                </a:extLst>
              </p:cNvPr>
              <p:cNvSpPr/>
              <p:nvPr/>
            </p:nvSpPr>
            <p:spPr>
              <a:xfrm>
                <a:off x="6191625" y="1665367"/>
                <a:ext cx="81906" cy="44108"/>
              </a:xfrm>
              <a:custGeom>
                <a:avLst/>
                <a:gdLst>
                  <a:gd name="connsiteX0" fmla="*/ 0 w 81906"/>
                  <a:gd name="connsiteY0" fmla="*/ 0 h 44108"/>
                  <a:gd name="connsiteX1" fmla="*/ 37343 w 81906"/>
                  <a:gd name="connsiteY1" fmla="*/ 0 h 44108"/>
                  <a:gd name="connsiteX2" fmla="*/ 81907 w 81906"/>
                  <a:gd name="connsiteY2" fmla="*/ 44109 h 441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1906" h="44108">
                    <a:moveTo>
                      <a:pt x="0" y="0"/>
                    </a:moveTo>
                    <a:lnTo>
                      <a:pt x="37343" y="0"/>
                    </a:lnTo>
                    <a:lnTo>
                      <a:pt x="81907" y="44109"/>
                    </a:lnTo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6" name="Forma livre: Forma 75">
                <a:extLst>
                  <a:ext uri="{FF2B5EF4-FFF2-40B4-BE49-F238E27FC236}">
                    <a16:creationId xmlns:a16="http://schemas.microsoft.com/office/drawing/2014/main" id="{942C76D8-5882-8A0D-181C-572EE448F256}"/>
                  </a:ext>
                </a:extLst>
              </p:cNvPr>
              <p:cNvSpPr/>
              <p:nvPr/>
            </p:nvSpPr>
            <p:spPr>
              <a:xfrm>
                <a:off x="6265075" y="1701539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64" name="Gráfico 32">
              <a:extLst>
                <a:ext uri="{FF2B5EF4-FFF2-40B4-BE49-F238E27FC236}">
                  <a16:creationId xmlns:a16="http://schemas.microsoft.com/office/drawing/2014/main" id="{36511C31-7E50-C7D5-1E41-F264FD4FF45E}"/>
                </a:ext>
              </a:extLst>
            </p:cNvPr>
            <p:cNvGrpSpPr/>
            <p:nvPr/>
          </p:nvGrpSpPr>
          <p:grpSpPr>
            <a:xfrm>
              <a:off x="6191625" y="1357908"/>
              <a:ext cx="173767" cy="157112"/>
              <a:chOff x="6191625" y="1357908"/>
              <a:chExt cx="173767" cy="157112"/>
            </a:xfrm>
            <a:noFill/>
          </p:grpSpPr>
          <p:sp>
            <p:nvSpPr>
              <p:cNvPr id="69" name="Forma livre: Forma 68">
                <a:extLst>
                  <a:ext uri="{FF2B5EF4-FFF2-40B4-BE49-F238E27FC236}">
                    <a16:creationId xmlns:a16="http://schemas.microsoft.com/office/drawing/2014/main" id="{757655DC-4D93-83DB-BCC4-BEBAE95C3705}"/>
                  </a:ext>
                </a:extLst>
              </p:cNvPr>
              <p:cNvSpPr/>
              <p:nvPr/>
            </p:nvSpPr>
            <p:spPr>
              <a:xfrm>
                <a:off x="6310094" y="1437472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0 h 55298"/>
                  <a:gd name="connsiteX2" fmla="*/ 0 w 55298"/>
                  <a:gd name="connsiteY2" fmla="*/ 27649 h 55298"/>
                  <a:gd name="connsiteX3" fmla="*/ 27649 w 55298"/>
                  <a:gd name="connsiteY3" fmla="*/ 55298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12361"/>
                      <a:pt x="42938" y="0"/>
                      <a:pt x="27649" y="0"/>
                    </a:cubicBezTo>
                    <a:cubicBezTo>
                      <a:pt x="12361" y="0"/>
                      <a:pt x="0" y="12361"/>
                      <a:pt x="0" y="27649"/>
                    </a:cubicBezTo>
                    <a:cubicBezTo>
                      <a:pt x="0" y="42938"/>
                      <a:pt x="12361" y="55298"/>
                      <a:pt x="27649" y="55298"/>
                    </a:cubicBezTo>
                    <a:cubicBezTo>
                      <a:pt x="42938" y="55298"/>
                      <a:pt x="55298" y="42938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0" name="Forma livre: Forma 69">
                <a:extLst>
                  <a:ext uri="{FF2B5EF4-FFF2-40B4-BE49-F238E27FC236}">
                    <a16:creationId xmlns:a16="http://schemas.microsoft.com/office/drawing/2014/main" id="{2ED414B3-0414-382E-CDB7-173CCDE5A095}"/>
                  </a:ext>
                </a:extLst>
              </p:cNvPr>
              <p:cNvSpPr/>
              <p:nvPr/>
            </p:nvSpPr>
            <p:spPr>
              <a:xfrm>
                <a:off x="6191625" y="1465122"/>
                <a:ext cx="118468" cy="49898"/>
              </a:xfrm>
              <a:custGeom>
                <a:avLst/>
                <a:gdLst>
                  <a:gd name="connsiteX0" fmla="*/ 0 w 118468"/>
                  <a:gd name="connsiteY0" fmla="*/ 49899 h 49898"/>
                  <a:gd name="connsiteX1" fmla="*/ 37343 w 118468"/>
                  <a:gd name="connsiteY1" fmla="*/ 49899 h 49898"/>
                  <a:gd name="connsiteX2" fmla="*/ 87176 w 118468"/>
                  <a:gd name="connsiteY2" fmla="*/ 0 h 49898"/>
                  <a:gd name="connsiteX3" fmla="*/ 118469 w 118468"/>
                  <a:gd name="connsiteY3" fmla="*/ 0 h 49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8468" h="49898">
                    <a:moveTo>
                      <a:pt x="0" y="49899"/>
                    </a:moveTo>
                    <a:lnTo>
                      <a:pt x="37343" y="49899"/>
                    </a:lnTo>
                    <a:lnTo>
                      <a:pt x="87176" y="0"/>
                    </a:lnTo>
                    <a:lnTo>
                      <a:pt x="118469" y="0"/>
                    </a:lnTo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1" name="Forma livre: Forma 70">
                <a:extLst>
                  <a:ext uri="{FF2B5EF4-FFF2-40B4-BE49-F238E27FC236}">
                    <a16:creationId xmlns:a16="http://schemas.microsoft.com/office/drawing/2014/main" id="{AEC28EEC-DABB-2AFD-5CD1-2963ECD55542}"/>
                  </a:ext>
                </a:extLst>
              </p:cNvPr>
              <p:cNvSpPr/>
              <p:nvPr/>
            </p:nvSpPr>
            <p:spPr>
              <a:xfrm>
                <a:off x="6191625" y="1405269"/>
                <a:ext cx="81451" cy="44043"/>
              </a:xfrm>
              <a:custGeom>
                <a:avLst/>
                <a:gdLst>
                  <a:gd name="connsiteX0" fmla="*/ 0 w 81451"/>
                  <a:gd name="connsiteY0" fmla="*/ 44044 h 44043"/>
                  <a:gd name="connsiteX1" fmla="*/ 37343 w 81451"/>
                  <a:gd name="connsiteY1" fmla="*/ 44044 h 44043"/>
                  <a:gd name="connsiteX2" fmla="*/ 81451 w 81451"/>
                  <a:gd name="connsiteY2" fmla="*/ 0 h 440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1451" h="44043">
                    <a:moveTo>
                      <a:pt x="0" y="44044"/>
                    </a:moveTo>
                    <a:lnTo>
                      <a:pt x="37343" y="44044"/>
                    </a:lnTo>
                    <a:lnTo>
                      <a:pt x="81451" y="0"/>
                    </a:lnTo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2" name="Forma livre: Forma 71">
                <a:extLst>
                  <a:ext uri="{FF2B5EF4-FFF2-40B4-BE49-F238E27FC236}">
                    <a16:creationId xmlns:a16="http://schemas.microsoft.com/office/drawing/2014/main" id="{0E775843-1F7B-E6AF-675A-E44342242D84}"/>
                  </a:ext>
                </a:extLst>
              </p:cNvPr>
              <p:cNvSpPr/>
              <p:nvPr/>
            </p:nvSpPr>
            <p:spPr>
              <a:xfrm>
                <a:off x="6265075" y="1357908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0 h 55298"/>
                  <a:gd name="connsiteX2" fmla="*/ 0 w 55298"/>
                  <a:gd name="connsiteY2" fmla="*/ 27649 h 55298"/>
                  <a:gd name="connsiteX3" fmla="*/ 27649 w 55298"/>
                  <a:gd name="connsiteY3" fmla="*/ 55298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12361"/>
                      <a:pt x="42938" y="0"/>
                      <a:pt x="27649" y="0"/>
                    </a:cubicBezTo>
                    <a:cubicBezTo>
                      <a:pt x="12361" y="0"/>
                      <a:pt x="0" y="12361"/>
                      <a:pt x="0" y="27649"/>
                    </a:cubicBezTo>
                    <a:cubicBezTo>
                      <a:pt x="0" y="42938"/>
                      <a:pt x="12361" y="55298"/>
                      <a:pt x="27649" y="55298"/>
                    </a:cubicBezTo>
                    <a:cubicBezTo>
                      <a:pt x="42938" y="55298"/>
                      <a:pt x="55298" y="42938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65" name="Gráfico 32">
              <a:extLst>
                <a:ext uri="{FF2B5EF4-FFF2-40B4-BE49-F238E27FC236}">
                  <a16:creationId xmlns:a16="http://schemas.microsoft.com/office/drawing/2014/main" id="{142F1DE5-5074-CB58-4A8C-6EE6A70A0FDE}"/>
                </a:ext>
              </a:extLst>
            </p:cNvPr>
            <p:cNvGrpSpPr/>
            <p:nvPr/>
          </p:nvGrpSpPr>
          <p:grpSpPr>
            <a:xfrm>
              <a:off x="6190910" y="1529723"/>
              <a:ext cx="123673" cy="55298"/>
              <a:chOff x="6190910" y="1529723"/>
              <a:chExt cx="123673" cy="55298"/>
            </a:xfrm>
            <a:noFill/>
          </p:grpSpPr>
          <p:sp>
            <p:nvSpPr>
              <p:cNvPr id="67" name="Forma livre: Forma 66">
                <a:extLst>
                  <a:ext uri="{FF2B5EF4-FFF2-40B4-BE49-F238E27FC236}">
                    <a16:creationId xmlns:a16="http://schemas.microsoft.com/office/drawing/2014/main" id="{69D71C44-BBA5-1B6C-E9EA-791A29AF8916}"/>
                  </a:ext>
                </a:extLst>
              </p:cNvPr>
              <p:cNvSpPr/>
              <p:nvPr/>
            </p:nvSpPr>
            <p:spPr>
              <a:xfrm>
                <a:off x="6190910" y="1557372"/>
                <a:ext cx="68765" cy="6505"/>
              </a:xfrm>
              <a:custGeom>
                <a:avLst/>
                <a:gdLst>
                  <a:gd name="connsiteX0" fmla="*/ 0 w 68765"/>
                  <a:gd name="connsiteY0" fmla="*/ 0 h 6505"/>
                  <a:gd name="connsiteX1" fmla="*/ 68765 w 68765"/>
                  <a:gd name="connsiteY1" fmla="*/ 0 h 65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8765" h="6505">
                    <a:moveTo>
                      <a:pt x="0" y="0"/>
                    </a:moveTo>
                    <a:lnTo>
                      <a:pt x="68765" y="0"/>
                    </a:lnTo>
                  </a:path>
                </a:pathLst>
              </a:custGeom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68" name="Forma livre: Forma 67">
                <a:extLst>
                  <a:ext uri="{FF2B5EF4-FFF2-40B4-BE49-F238E27FC236}">
                    <a16:creationId xmlns:a16="http://schemas.microsoft.com/office/drawing/2014/main" id="{14D0E9BC-88DA-2D9D-C11B-6D2F83782A86}"/>
                  </a:ext>
                </a:extLst>
              </p:cNvPr>
              <p:cNvSpPr/>
              <p:nvPr/>
            </p:nvSpPr>
            <p:spPr>
              <a:xfrm>
                <a:off x="6259285" y="1529723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66" name="Forma livre: Forma 65">
              <a:extLst>
                <a:ext uri="{FF2B5EF4-FFF2-40B4-BE49-F238E27FC236}">
                  <a16:creationId xmlns:a16="http://schemas.microsoft.com/office/drawing/2014/main" id="{578D0181-FA69-6B07-A5AA-1BCAE8DA11E1}"/>
                </a:ext>
              </a:extLst>
            </p:cNvPr>
            <p:cNvSpPr/>
            <p:nvPr/>
          </p:nvSpPr>
          <p:spPr>
            <a:xfrm>
              <a:off x="6152201" y="1686285"/>
              <a:ext cx="37362" cy="20848"/>
            </a:xfrm>
            <a:custGeom>
              <a:avLst/>
              <a:gdLst>
                <a:gd name="connsiteX0" fmla="*/ 0 w 37362"/>
                <a:gd name="connsiteY0" fmla="*/ 10505 h 20848"/>
                <a:gd name="connsiteX1" fmla="*/ 27064 w 37362"/>
                <a:gd name="connsiteY1" fmla="*/ 2373 h 20848"/>
                <a:gd name="connsiteX2" fmla="*/ 37343 w 37362"/>
                <a:gd name="connsiteY2" fmla="*/ 20849 h 20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7362" h="20848">
                  <a:moveTo>
                    <a:pt x="0" y="10505"/>
                  </a:moveTo>
                  <a:cubicBezTo>
                    <a:pt x="5205" y="811"/>
                    <a:pt x="17435" y="-2832"/>
                    <a:pt x="27064" y="2373"/>
                  </a:cubicBezTo>
                  <a:cubicBezTo>
                    <a:pt x="34025" y="6081"/>
                    <a:pt x="37668" y="13432"/>
                    <a:pt x="37343" y="20849"/>
                  </a:cubicBezTo>
                </a:path>
              </a:pathLst>
            </a:custGeom>
            <a:noFill/>
            <a:ln w="19050" cap="sq">
              <a:solidFill>
                <a:srgbClr val="00FF94"/>
              </a:solidFill>
              <a:prstDash val="solid"/>
              <a:miter lim="800000"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83" name="Agrupar 82">
            <a:extLst>
              <a:ext uri="{FF2B5EF4-FFF2-40B4-BE49-F238E27FC236}">
                <a16:creationId xmlns:a16="http://schemas.microsoft.com/office/drawing/2014/main" id="{322EFA5F-A48D-81E4-3648-6188C91498D3}"/>
              </a:ext>
            </a:extLst>
          </p:cNvPr>
          <p:cNvGrpSpPr/>
          <p:nvPr/>
        </p:nvGrpSpPr>
        <p:grpSpPr>
          <a:xfrm>
            <a:off x="7367437" y="1848387"/>
            <a:ext cx="325297" cy="355243"/>
            <a:chOff x="6000092" y="1357908"/>
            <a:chExt cx="365300" cy="398929"/>
          </a:xfrm>
        </p:grpSpPr>
        <p:sp>
          <p:nvSpPr>
            <p:cNvPr id="84" name="Forma livre: Forma 83">
              <a:extLst>
                <a:ext uri="{FF2B5EF4-FFF2-40B4-BE49-F238E27FC236}">
                  <a16:creationId xmlns:a16="http://schemas.microsoft.com/office/drawing/2014/main" id="{8E9D53B0-A011-B6CF-555F-DCB60365CE8C}"/>
                </a:ext>
              </a:extLst>
            </p:cNvPr>
            <p:cNvSpPr/>
            <p:nvPr/>
          </p:nvSpPr>
          <p:spPr>
            <a:xfrm>
              <a:off x="6000092" y="1418606"/>
              <a:ext cx="84058" cy="286120"/>
            </a:xfrm>
            <a:custGeom>
              <a:avLst/>
              <a:gdLst>
                <a:gd name="connsiteX0" fmla="*/ 51595 w 84058"/>
                <a:gd name="connsiteY0" fmla="*/ 0 h 286120"/>
                <a:gd name="connsiteX1" fmla="*/ 35266 w 84058"/>
                <a:gd name="connsiteY1" fmla="*/ 61674 h 286120"/>
                <a:gd name="connsiteX2" fmla="*/ 28760 w 84058"/>
                <a:gd name="connsiteY2" fmla="*/ 193415 h 286120"/>
                <a:gd name="connsiteX3" fmla="*/ 84059 w 84058"/>
                <a:gd name="connsiteY3" fmla="*/ 286121 h 2861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4058" h="286120">
                  <a:moveTo>
                    <a:pt x="51595" y="0"/>
                  </a:moveTo>
                  <a:cubicBezTo>
                    <a:pt x="37868" y="7872"/>
                    <a:pt x="26028" y="24852"/>
                    <a:pt x="35266" y="61674"/>
                  </a:cubicBezTo>
                  <a:cubicBezTo>
                    <a:pt x="35266" y="61674"/>
                    <a:pt x="-39549" y="126731"/>
                    <a:pt x="28760" y="193415"/>
                  </a:cubicBezTo>
                  <a:cubicBezTo>
                    <a:pt x="28760" y="193415"/>
                    <a:pt x="9243" y="281242"/>
                    <a:pt x="84059" y="286121"/>
                  </a:cubicBezTo>
                </a:path>
              </a:pathLst>
            </a:custGeom>
            <a:noFill/>
            <a:ln w="19050" cap="sq">
              <a:solidFill>
                <a:srgbClr val="00FF94"/>
              </a:solidFill>
              <a:prstDash val="solid"/>
              <a:miter lim="800000"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85" name="Gráfico 32">
              <a:extLst>
                <a:ext uri="{FF2B5EF4-FFF2-40B4-BE49-F238E27FC236}">
                  <a16:creationId xmlns:a16="http://schemas.microsoft.com/office/drawing/2014/main" id="{C5E3478B-ABB5-0CE8-7FE7-F170AAA37A8C}"/>
                </a:ext>
              </a:extLst>
            </p:cNvPr>
            <p:cNvGrpSpPr/>
            <p:nvPr/>
          </p:nvGrpSpPr>
          <p:grpSpPr>
            <a:xfrm>
              <a:off x="6061121" y="1359924"/>
              <a:ext cx="128487" cy="396366"/>
              <a:chOff x="6061121" y="1359924"/>
              <a:chExt cx="128487" cy="396366"/>
            </a:xfrm>
            <a:noFill/>
          </p:grpSpPr>
          <p:sp>
            <p:nvSpPr>
              <p:cNvPr id="100" name="Forma livre: Forma 99">
                <a:extLst>
                  <a:ext uri="{FF2B5EF4-FFF2-40B4-BE49-F238E27FC236}">
                    <a16:creationId xmlns:a16="http://schemas.microsoft.com/office/drawing/2014/main" id="{D1922F93-A7F9-AA26-D8C3-AD0EF38B529C}"/>
                  </a:ext>
                </a:extLst>
              </p:cNvPr>
              <p:cNvSpPr/>
              <p:nvPr/>
            </p:nvSpPr>
            <p:spPr>
              <a:xfrm>
                <a:off x="6083891" y="1359924"/>
                <a:ext cx="105717" cy="396366"/>
              </a:xfrm>
              <a:custGeom>
                <a:avLst/>
                <a:gdLst>
                  <a:gd name="connsiteX0" fmla="*/ 52891 w 105717"/>
                  <a:gd name="connsiteY0" fmla="*/ 105718 h 396366"/>
                  <a:gd name="connsiteX1" fmla="*/ 0 w 105717"/>
                  <a:gd name="connsiteY1" fmla="*/ 52891 h 396366"/>
                  <a:gd name="connsiteX2" fmla="*/ 52891 w 105717"/>
                  <a:gd name="connsiteY2" fmla="*/ 0 h 396366"/>
                  <a:gd name="connsiteX3" fmla="*/ 105718 w 105717"/>
                  <a:gd name="connsiteY3" fmla="*/ 52826 h 396366"/>
                  <a:gd name="connsiteX4" fmla="*/ 105718 w 105717"/>
                  <a:gd name="connsiteY4" fmla="*/ 346884 h 396366"/>
                  <a:gd name="connsiteX5" fmla="*/ 80606 w 105717"/>
                  <a:gd name="connsiteY5" fmla="*/ 388911 h 396366"/>
                  <a:gd name="connsiteX6" fmla="*/ 9238 w 105717"/>
                  <a:gd name="connsiteY6" fmla="*/ 371150 h 396366"/>
                  <a:gd name="connsiteX7" fmla="*/ 15484 w 105717"/>
                  <a:gd name="connsiteY7" fmla="*/ 309216 h 396366"/>
                  <a:gd name="connsiteX8" fmla="*/ 45019 w 105717"/>
                  <a:gd name="connsiteY8" fmla="*/ 277078 h 3963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05717" h="396366">
                    <a:moveTo>
                      <a:pt x="52891" y="105718"/>
                    </a:moveTo>
                    <a:cubicBezTo>
                      <a:pt x="23681" y="105718"/>
                      <a:pt x="0" y="82037"/>
                      <a:pt x="0" y="52891"/>
                    </a:cubicBezTo>
                    <a:cubicBezTo>
                      <a:pt x="0" y="23746"/>
                      <a:pt x="23681" y="0"/>
                      <a:pt x="52891" y="0"/>
                    </a:cubicBezTo>
                    <a:cubicBezTo>
                      <a:pt x="82102" y="0"/>
                      <a:pt x="105718" y="23681"/>
                      <a:pt x="105718" y="52826"/>
                    </a:cubicBezTo>
                    <a:lnTo>
                      <a:pt x="105718" y="346884"/>
                    </a:lnTo>
                    <a:cubicBezTo>
                      <a:pt x="105718" y="364580"/>
                      <a:pt x="96414" y="379413"/>
                      <a:pt x="80606" y="388911"/>
                    </a:cubicBezTo>
                    <a:cubicBezTo>
                      <a:pt x="55949" y="403744"/>
                      <a:pt x="24006" y="395742"/>
                      <a:pt x="9238" y="371150"/>
                    </a:cubicBezTo>
                    <a:cubicBezTo>
                      <a:pt x="-2928" y="350918"/>
                      <a:pt x="260" y="325741"/>
                      <a:pt x="15484" y="309216"/>
                    </a:cubicBezTo>
                    <a:lnTo>
                      <a:pt x="45019" y="277078"/>
                    </a:lnTo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01" name="Forma livre: Forma 100">
                <a:extLst>
                  <a:ext uri="{FF2B5EF4-FFF2-40B4-BE49-F238E27FC236}">
                    <a16:creationId xmlns:a16="http://schemas.microsoft.com/office/drawing/2014/main" id="{5636ED81-58E2-34B3-1AA2-E8429A02C5CE}"/>
                  </a:ext>
                </a:extLst>
              </p:cNvPr>
              <p:cNvSpPr/>
              <p:nvPr/>
            </p:nvSpPr>
            <p:spPr>
              <a:xfrm>
                <a:off x="6144784" y="1383865"/>
                <a:ext cx="41563" cy="38963"/>
              </a:xfrm>
              <a:custGeom>
                <a:avLst/>
                <a:gdLst>
                  <a:gd name="connsiteX0" fmla="*/ 36172 w 41563"/>
                  <a:gd name="connsiteY0" fmla="*/ 0 h 38963"/>
                  <a:gd name="connsiteX1" fmla="*/ 39425 w 41563"/>
                  <a:gd name="connsiteY1" fmla="*/ 24266 h 38963"/>
                  <a:gd name="connsiteX2" fmla="*/ 36432 w 41563"/>
                  <a:gd name="connsiteY2" fmla="*/ 29080 h 38963"/>
                  <a:gd name="connsiteX3" fmla="*/ 0 w 41563"/>
                  <a:gd name="connsiteY3" fmla="*/ 33439 h 389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563" h="38963">
                    <a:moveTo>
                      <a:pt x="36172" y="0"/>
                    </a:moveTo>
                    <a:cubicBezTo>
                      <a:pt x="41571" y="7547"/>
                      <a:pt x="43393" y="16004"/>
                      <a:pt x="39425" y="24266"/>
                    </a:cubicBezTo>
                    <a:cubicBezTo>
                      <a:pt x="38644" y="25893"/>
                      <a:pt x="37603" y="27519"/>
                      <a:pt x="36432" y="29080"/>
                    </a:cubicBezTo>
                    <a:cubicBezTo>
                      <a:pt x="27584" y="40270"/>
                      <a:pt x="11190" y="42287"/>
                      <a:pt x="0" y="33439"/>
                    </a:cubicBezTo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02" name="Forma livre: Forma 101">
                <a:extLst>
                  <a:ext uri="{FF2B5EF4-FFF2-40B4-BE49-F238E27FC236}">
                    <a16:creationId xmlns:a16="http://schemas.microsoft.com/office/drawing/2014/main" id="{6B60B573-7234-579C-F730-022BAE32A67B}"/>
                  </a:ext>
                </a:extLst>
              </p:cNvPr>
              <p:cNvSpPr/>
              <p:nvPr/>
            </p:nvSpPr>
            <p:spPr>
              <a:xfrm>
                <a:off x="6081487" y="1460806"/>
                <a:ext cx="34217" cy="54474"/>
              </a:xfrm>
              <a:custGeom>
                <a:avLst/>
                <a:gdLst>
                  <a:gd name="connsiteX0" fmla="*/ 21076 w 34217"/>
                  <a:gd name="connsiteY0" fmla="*/ 54475 h 54474"/>
                  <a:gd name="connsiteX1" fmla="*/ 778 w 34217"/>
                  <a:gd name="connsiteY1" fmla="*/ 21035 h 54474"/>
                  <a:gd name="connsiteX2" fmla="*/ 34217 w 34217"/>
                  <a:gd name="connsiteY2" fmla="*/ 803 h 544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4217" h="54474">
                    <a:moveTo>
                      <a:pt x="21076" y="54475"/>
                    </a:moveTo>
                    <a:cubicBezTo>
                      <a:pt x="6308" y="50832"/>
                      <a:pt x="-2800" y="35803"/>
                      <a:pt x="778" y="21035"/>
                    </a:cubicBezTo>
                    <a:cubicBezTo>
                      <a:pt x="4421" y="6267"/>
                      <a:pt x="19449" y="-2841"/>
                      <a:pt x="34217" y="803"/>
                    </a:cubicBezTo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03" name="Forma livre: Forma 102">
                <a:extLst>
                  <a:ext uri="{FF2B5EF4-FFF2-40B4-BE49-F238E27FC236}">
                    <a16:creationId xmlns:a16="http://schemas.microsoft.com/office/drawing/2014/main" id="{7A26CA73-F884-E397-8869-FD89962FEFF4}"/>
                  </a:ext>
                </a:extLst>
              </p:cNvPr>
              <p:cNvSpPr/>
              <p:nvPr/>
            </p:nvSpPr>
            <p:spPr>
              <a:xfrm>
                <a:off x="6073547" y="1527543"/>
                <a:ext cx="114760" cy="72506"/>
              </a:xfrm>
              <a:custGeom>
                <a:avLst/>
                <a:gdLst>
                  <a:gd name="connsiteX0" fmla="*/ 114760 w 114760"/>
                  <a:gd name="connsiteY0" fmla="*/ 7254 h 72506"/>
                  <a:gd name="connsiteX1" fmla="*/ 73905 w 114760"/>
                  <a:gd name="connsiteY1" fmla="*/ 8881 h 72506"/>
                  <a:gd name="connsiteX2" fmla="*/ 0 w 114760"/>
                  <a:gd name="connsiteY2" fmla="*/ 72506 h 725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14760" h="72506">
                    <a:moveTo>
                      <a:pt x="114760" y="7254"/>
                    </a:moveTo>
                    <a:cubicBezTo>
                      <a:pt x="103375" y="-2830"/>
                      <a:pt x="83989" y="-2504"/>
                      <a:pt x="73905" y="8881"/>
                    </a:cubicBezTo>
                    <a:cubicBezTo>
                      <a:pt x="73905" y="8881"/>
                      <a:pt x="31488" y="72506"/>
                      <a:pt x="0" y="72506"/>
                    </a:cubicBezTo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04" name="Forma livre: Forma 103">
                <a:extLst>
                  <a:ext uri="{FF2B5EF4-FFF2-40B4-BE49-F238E27FC236}">
                    <a16:creationId xmlns:a16="http://schemas.microsoft.com/office/drawing/2014/main" id="{443130F7-D8E0-D698-BC2E-F7E911D0EF13}"/>
                  </a:ext>
                </a:extLst>
              </p:cNvPr>
              <p:cNvSpPr/>
              <p:nvPr/>
            </p:nvSpPr>
            <p:spPr>
              <a:xfrm>
                <a:off x="6079857" y="1646956"/>
                <a:ext cx="29405" cy="9823"/>
              </a:xfrm>
              <a:custGeom>
                <a:avLst/>
                <a:gdLst>
                  <a:gd name="connsiteX0" fmla="*/ 0 w 29405"/>
                  <a:gd name="connsiteY0" fmla="*/ 0 h 9823"/>
                  <a:gd name="connsiteX1" fmla="*/ 29406 w 29405"/>
                  <a:gd name="connsiteY1" fmla="*/ 9824 h 98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9405" h="9823">
                    <a:moveTo>
                      <a:pt x="0" y="0"/>
                    </a:moveTo>
                    <a:lnTo>
                      <a:pt x="29406" y="9824"/>
                    </a:lnTo>
                  </a:path>
                </a:pathLst>
              </a:custGeom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05" name="Forma livre: Forma 104">
                <a:extLst>
                  <a:ext uri="{FF2B5EF4-FFF2-40B4-BE49-F238E27FC236}">
                    <a16:creationId xmlns:a16="http://schemas.microsoft.com/office/drawing/2014/main" id="{B5B9D56B-B39F-08CF-B340-56B16ADB10A4}"/>
                  </a:ext>
                </a:extLst>
              </p:cNvPr>
              <p:cNvSpPr/>
              <p:nvPr/>
            </p:nvSpPr>
            <p:spPr>
              <a:xfrm>
                <a:off x="6061121" y="1545272"/>
                <a:ext cx="47166" cy="34154"/>
              </a:xfrm>
              <a:custGeom>
                <a:avLst/>
                <a:gdLst>
                  <a:gd name="connsiteX0" fmla="*/ 0 w 47166"/>
                  <a:gd name="connsiteY0" fmla="*/ 0 h 34154"/>
                  <a:gd name="connsiteX1" fmla="*/ 47166 w 47166"/>
                  <a:gd name="connsiteY1" fmla="*/ 34155 h 341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166" h="34154">
                    <a:moveTo>
                      <a:pt x="0" y="0"/>
                    </a:moveTo>
                    <a:cubicBezTo>
                      <a:pt x="0" y="0"/>
                      <a:pt x="27649" y="13011"/>
                      <a:pt x="47166" y="34155"/>
                    </a:cubicBezTo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86" name="Gráfico 32">
              <a:extLst>
                <a:ext uri="{FF2B5EF4-FFF2-40B4-BE49-F238E27FC236}">
                  <a16:creationId xmlns:a16="http://schemas.microsoft.com/office/drawing/2014/main" id="{78DA2746-BDA8-53C8-5EB6-DB8887C67D5E}"/>
                </a:ext>
              </a:extLst>
            </p:cNvPr>
            <p:cNvGrpSpPr/>
            <p:nvPr/>
          </p:nvGrpSpPr>
          <p:grpSpPr>
            <a:xfrm>
              <a:off x="6191625" y="1599725"/>
              <a:ext cx="173767" cy="157112"/>
              <a:chOff x="6191625" y="1599725"/>
              <a:chExt cx="173767" cy="157112"/>
            </a:xfrm>
            <a:noFill/>
          </p:grpSpPr>
          <p:sp>
            <p:nvSpPr>
              <p:cNvPr id="96" name="Forma livre: Forma 95">
                <a:extLst>
                  <a:ext uri="{FF2B5EF4-FFF2-40B4-BE49-F238E27FC236}">
                    <a16:creationId xmlns:a16="http://schemas.microsoft.com/office/drawing/2014/main" id="{3D8EBE1D-9875-FCED-06EA-EBC65250C697}"/>
                  </a:ext>
                </a:extLst>
              </p:cNvPr>
              <p:cNvSpPr/>
              <p:nvPr/>
            </p:nvSpPr>
            <p:spPr>
              <a:xfrm>
                <a:off x="6310094" y="1621974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7" name="Forma livre: Forma 96">
                <a:extLst>
                  <a:ext uri="{FF2B5EF4-FFF2-40B4-BE49-F238E27FC236}">
                    <a16:creationId xmlns:a16="http://schemas.microsoft.com/office/drawing/2014/main" id="{C0392F53-FE20-C6A4-04F0-5ACA51575145}"/>
                  </a:ext>
                </a:extLst>
              </p:cNvPr>
              <p:cNvSpPr/>
              <p:nvPr/>
            </p:nvSpPr>
            <p:spPr>
              <a:xfrm>
                <a:off x="6191625" y="1599725"/>
                <a:ext cx="118078" cy="49898"/>
              </a:xfrm>
              <a:custGeom>
                <a:avLst/>
                <a:gdLst>
                  <a:gd name="connsiteX0" fmla="*/ 0 w 118078"/>
                  <a:gd name="connsiteY0" fmla="*/ 0 h 49898"/>
                  <a:gd name="connsiteX1" fmla="*/ 37343 w 118078"/>
                  <a:gd name="connsiteY1" fmla="*/ 0 h 49898"/>
                  <a:gd name="connsiteX2" fmla="*/ 87176 w 118078"/>
                  <a:gd name="connsiteY2" fmla="*/ 49899 h 49898"/>
                  <a:gd name="connsiteX3" fmla="*/ 118078 w 118078"/>
                  <a:gd name="connsiteY3" fmla="*/ 49899 h 49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8078" h="49898">
                    <a:moveTo>
                      <a:pt x="0" y="0"/>
                    </a:moveTo>
                    <a:lnTo>
                      <a:pt x="37343" y="0"/>
                    </a:lnTo>
                    <a:lnTo>
                      <a:pt x="87176" y="49899"/>
                    </a:lnTo>
                    <a:lnTo>
                      <a:pt x="118078" y="49899"/>
                    </a:lnTo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8" name="Forma livre: Forma 97">
                <a:extLst>
                  <a:ext uri="{FF2B5EF4-FFF2-40B4-BE49-F238E27FC236}">
                    <a16:creationId xmlns:a16="http://schemas.microsoft.com/office/drawing/2014/main" id="{4CDABA40-CC15-B01A-47F6-A90C907F80E0}"/>
                  </a:ext>
                </a:extLst>
              </p:cNvPr>
              <p:cNvSpPr/>
              <p:nvPr/>
            </p:nvSpPr>
            <p:spPr>
              <a:xfrm>
                <a:off x="6191625" y="1665367"/>
                <a:ext cx="81906" cy="44108"/>
              </a:xfrm>
              <a:custGeom>
                <a:avLst/>
                <a:gdLst>
                  <a:gd name="connsiteX0" fmla="*/ 0 w 81906"/>
                  <a:gd name="connsiteY0" fmla="*/ 0 h 44108"/>
                  <a:gd name="connsiteX1" fmla="*/ 37343 w 81906"/>
                  <a:gd name="connsiteY1" fmla="*/ 0 h 44108"/>
                  <a:gd name="connsiteX2" fmla="*/ 81907 w 81906"/>
                  <a:gd name="connsiteY2" fmla="*/ 44109 h 441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1906" h="44108">
                    <a:moveTo>
                      <a:pt x="0" y="0"/>
                    </a:moveTo>
                    <a:lnTo>
                      <a:pt x="37343" y="0"/>
                    </a:lnTo>
                    <a:lnTo>
                      <a:pt x="81907" y="44109"/>
                    </a:lnTo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9" name="Forma livre: Forma 98">
                <a:extLst>
                  <a:ext uri="{FF2B5EF4-FFF2-40B4-BE49-F238E27FC236}">
                    <a16:creationId xmlns:a16="http://schemas.microsoft.com/office/drawing/2014/main" id="{FC580138-ECE1-902D-6665-258E7CD36A64}"/>
                  </a:ext>
                </a:extLst>
              </p:cNvPr>
              <p:cNvSpPr/>
              <p:nvPr/>
            </p:nvSpPr>
            <p:spPr>
              <a:xfrm>
                <a:off x="6265075" y="1701539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87" name="Gráfico 32">
              <a:extLst>
                <a:ext uri="{FF2B5EF4-FFF2-40B4-BE49-F238E27FC236}">
                  <a16:creationId xmlns:a16="http://schemas.microsoft.com/office/drawing/2014/main" id="{1FF08C4E-AD09-9C9D-AEE1-E704014757CD}"/>
                </a:ext>
              </a:extLst>
            </p:cNvPr>
            <p:cNvGrpSpPr/>
            <p:nvPr/>
          </p:nvGrpSpPr>
          <p:grpSpPr>
            <a:xfrm>
              <a:off x="6191625" y="1357908"/>
              <a:ext cx="173767" cy="157112"/>
              <a:chOff x="6191625" y="1357908"/>
              <a:chExt cx="173767" cy="157112"/>
            </a:xfrm>
            <a:noFill/>
          </p:grpSpPr>
          <p:sp>
            <p:nvSpPr>
              <p:cNvPr id="92" name="Forma livre: Forma 91">
                <a:extLst>
                  <a:ext uri="{FF2B5EF4-FFF2-40B4-BE49-F238E27FC236}">
                    <a16:creationId xmlns:a16="http://schemas.microsoft.com/office/drawing/2014/main" id="{FC3389EA-787B-E79E-29D2-332CD8918D01}"/>
                  </a:ext>
                </a:extLst>
              </p:cNvPr>
              <p:cNvSpPr/>
              <p:nvPr/>
            </p:nvSpPr>
            <p:spPr>
              <a:xfrm>
                <a:off x="6310094" y="1437472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0 h 55298"/>
                  <a:gd name="connsiteX2" fmla="*/ 0 w 55298"/>
                  <a:gd name="connsiteY2" fmla="*/ 27649 h 55298"/>
                  <a:gd name="connsiteX3" fmla="*/ 27649 w 55298"/>
                  <a:gd name="connsiteY3" fmla="*/ 55298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12361"/>
                      <a:pt x="42938" y="0"/>
                      <a:pt x="27649" y="0"/>
                    </a:cubicBezTo>
                    <a:cubicBezTo>
                      <a:pt x="12361" y="0"/>
                      <a:pt x="0" y="12361"/>
                      <a:pt x="0" y="27649"/>
                    </a:cubicBezTo>
                    <a:cubicBezTo>
                      <a:pt x="0" y="42938"/>
                      <a:pt x="12361" y="55298"/>
                      <a:pt x="27649" y="55298"/>
                    </a:cubicBezTo>
                    <a:cubicBezTo>
                      <a:pt x="42938" y="55298"/>
                      <a:pt x="55298" y="42938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3" name="Forma livre: Forma 92">
                <a:extLst>
                  <a:ext uri="{FF2B5EF4-FFF2-40B4-BE49-F238E27FC236}">
                    <a16:creationId xmlns:a16="http://schemas.microsoft.com/office/drawing/2014/main" id="{944548DC-2078-97F7-DD90-3CD085C4F458}"/>
                  </a:ext>
                </a:extLst>
              </p:cNvPr>
              <p:cNvSpPr/>
              <p:nvPr/>
            </p:nvSpPr>
            <p:spPr>
              <a:xfrm>
                <a:off x="6191625" y="1465122"/>
                <a:ext cx="118468" cy="49898"/>
              </a:xfrm>
              <a:custGeom>
                <a:avLst/>
                <a:gdLst>
                  <a:gd name="connsiteX0" fmla="*/ 0 w 118468"/>
                  <a:gd name="connsiteY0" fmla="*/ 49899 h 49898"/>
                  <a:gd name="connsiteX1" fmla="*/ 37343 w 118468"/>
                  <a:gd name="connsiteY1" fmla="*/ 49899 h 49898"/>
                  <a:gd name="connsiteX2" fmla="*/ 87176 w 118468"/>
                  <a:gd name="connsiteY2" fmla="*/ 0 h 49898"/>
                  <a:gd name="connsiteX3" fmla="*/ 118469 w 118468"/>
                  <a:gd name="connsiteY3" fmla="*/ 0 h 49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8468" h="49898">
                    <a:moveTo>
                      <a:pt x="0" y="49899"/>
                    </a:moveTo>
                    <a:lnTo>
                      <a:pt x="37343" y="49899"/>
                    </a:lnTo>
                    <a:lnTo>
                      <a:pt x="87176" y="0"/>
                    </a:lnTo>
                    <a:lnTo>
                      <a:pt x="118469" y="0"/>
                    </a:lnTo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4" name="Forma livre: Forma 93">
                <a:extLst>
                  <a:ext uri="{FF2B5EF4-FFF2-40B4-BE49-F238E27FC236}">
                    <a16:creationId xmlns:a16="http://schemas.microsoft.com/office/drawing/2014/main" id="{B72A3F86-439C-5F19-DD0A-33CB7AC66FD9}"/>
                  </a:ext>
                </a:extLst>
              </p:cNvPr>
              <p:cNvSpPr/>
              <p:nvPr/>
            </p:nvSpPr>
            <p:spPr>
              <a:xfrm>
                <a:off x="6191625" y="1405269"/>
                <a:ext cx="81451" cy="44043"/>
              </a:xfrm>
              <a:custGeom>
                <a:avLst/>
                <a:gdLst>
                  <a:gd name="connsiteX0" fmla="*/ 0 w 81451"/>
                  <a:gd name="connsiteY0" fmla="*/ 44044 h 44043"/>
                  <a:gd name="connsiteX1" fmla="*/ 37343 w 81451"/>
                  <a:gd name="connsiteY1" fmla="*/ 44044 h 44043"/>
                  <a:gd name="connsiteX2" fmla="*/ 81451 w 81451"/>
                  <a:gd name="connsiteY2" fmla="*/ 0 h 440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1451" h="44043">
                    <a:moveTo>
                      <a:pt x="0" y="44044"/>
                    </a:moveTo>
                    <a:lnTo>
                      <a:pt x="37343" y="44044"/>
                    </a:lnTo>
                    <a:lnTo>
                      <a:pt x="81451" y="0"/>
                    </a:lnTo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5" name="Forma livre: Forma 94">
                <a:extLst>
                  <a:ext uri="{FF2B5EF4-FFF2-40B4-BE49-F238E27FC236}">
                    <a16:creationId xmlns:a16="http://schemas.microsoft.com/office/drawing/2014/main" id="{BE9848BE-0EDC-2BA2-66FE-988C1CB1DB67}"/>
                  </a:ext>
                </a:extLst>
              </p:cNvPr>
              <p:cNvSpPr/>
              <p:nvPr/>
            </p:nvSpPr>
            <p:spPr>
              <a:xfrm>
                <a:off x="6265075" y="1357908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0 h 55298"/>
                  <a:gd name="connsiteX2" fmla="*/ 0 w 55298"/>
                  <a:gd name="connsiteY2" fmla="*/ 27649 h 55298"/>
                  <a:gd name="connsiteX3" fmla="*/ 27649 w 55298"/>
                  <a:gd name="connsiteY3" fmla="*/ 55298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12361"/>
                      <a:pt x="42938" y="0"/>
                      <a:pt x="27649" y="0"/>
                    </a:cubicBezTo>
                    <a:cubicBezTo>
                      <a:pt x="12361" y="0"/>
                      <a:pt x="0" y="12361"/>
                      <a:pt x="0" y="27649"/>
                    </a:cubicBezTo>
                    <a:cubicBezTo>
                      <a:pt x="0" y="42938"/>
                      <a:pt x="12361" y="55298"/>
                      <a:pt x="27649" y="55298"/>
                    </a:cubicBezTo>
                    <a:cubicBezTo>
                      <a:pt x="42938" y="55298"/>
                      <a:pt x="55298" y="42938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88" name="Gráfico 32">
              <a:extLst>
                <a:ext uri="{FF2B5EF4-FFF2-40B4-BE49-F238E27FC236}">
                  <a16:creationId xmlns:a16="http://schemas.microsoft.com/office/drawing/2014/main" id="{524DFF21-8AEA-A9DC-5C4C-0E75CA5EFA14}"/>
                </a:ext>
              </a:extLst>
            </p:cNvPr>
            <p:cNvGrpSpPr/>
            <p:nvPr/>
          </p:nvGrpSpPr>
          <p:grpSpPr>
            <a:xfrm>
              <a:off x="6190910" y="1529723"/>
              <a:ext cx="123673" cy="55298"/>
              <a:chOff x="6190910" y="1529723"/>
              <a:chExt cx="123673" cy="55298"/>
            </a:xfrm>
            <a:noFill/>
          </p:grpSpPr>
          <p:sp>
            <p:nvSpPr>
              <p:cNvPr id="90" name="Forma livre: Forma 89">
                <a:extLst>
                  <a:ext uri="{FF2B5EF4-FFF2-40B4-BE49-F238E27FC236}">
                    <a16:creationId xmlns:a16="http://schemas.microsoft.com/office/drawing/2014/main" id="{69E810A0-76E3-4E9B-BF4B-D2E9065DC22F}"/>
                  </a:ext>
                </a:extLst>
              </p:cNvPr>
              <p:cNvSpPr/>
              <p:nvPr/>
            </p:nvSpPr>
            <p:spPr>
              <a:xfrm>
                <a:off x="6190910" y="1557372"/>
                <a:ext cx="68765" cy="6505"/>
              </a:xfrm>
              <a:custGeom>
                <a:avLst/>
                <a:gdLst>
                  <a:gd name="connsiteX0" fmla="*/ 0 w 68765"/>
                  <a:gd name="connsiteY0" fmla="*/ 0 h 6505"/>
                  <a:gd name="connsiteX1" fmla="*/ 68765 w 68765"/>
                  <a:gd name="connsiteY1" fmla="*/ 0 h 65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8765" h="6505">
                    <a:moveTo>
                      <a:pt x="0" y="0"/>
                    </a:moveTo>
                    <a:lnTo>
                      <a:pt x="68765" y="0"/>
                    </a:lnTo>
                  </a:path>
                </a:pathLst>
              </a:custGeom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1" name="Forma livre: Forma 90">
                <a:extLst>
                  <a:ext uri="{FF2B5EF4-FFF2-40B4-BE49-F238E27FC236}">
                    <a16:creationId xmlns:a16="http://schemas.microsoft.com/office/drawing/2014/main" id="{FEBE29F9-0C78-4D14-C9AB-6B79B2FFD199}"/>
                  </a:ext>
                </a:extLst>
              </p:cNvPr>
              <p:cNvSpPr/>
              <p:nvPr/>
            </p:nvSpPr>
            <p:spPr>
              <a:xfrm>
                <a:off x="6259285" y="1529723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89" name="Forma livre: Forma 88">
              <a:extLst>
                <a:ext uri="{FF2B5EF4-FFF2-40B4-BE49-F238E27FC236}">
                  <a16:creationId xmlns:a16="http://schemas.microsoft.com/office/drawing/2014/main" id="{9B885522-9944-933B-2253-2146EE408F34}"/>
                </a:ext>
              </a:extLst>
            </p:cNvPr>
            <p:cNvSpPr/>
            <p:nvPr/>
          </p:nvSpPr>
          <p:spPr>
            <a:xfrm>
              <a:off x="6152201" y="1686285"/>
              <a:ext cx="37362" cy="20848"/>
            </a:xfrm>
            <a:custGeom>
              <a:avLst/>
              <a:gdLst>
                <a:gd name="connsiteX0" fmla="*/ 0 w 37362"/>
                <a:gd name="connsiteY0" fmla="*/ 10505 h 20848"/>
                <a:gd name="connsiteX1" fmla="*/ 27064 w 37362"/>
                <a:gd name="connsiteY1" fmla="*/ 2373 h 20848"/>
                <a:gd name="connsiteX2" fmla="*/ 37343 w 37362"/>
                <a:gd name="connsiteY2" fmla="*/ 20849 h 20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7362" h="20848">
                  <a:moveTo>
                    <a:pt x="0" y="10505"/>
                  </a:moveTo>
                  <a:cubicBezTo>
                    <a:pt x="5205" y="811"/>
                    <a:pt x="17435" y="-2832"/>
                    <a:pt x="27064" y="2373"/>
                  </a:cubicBezTo>
                  <a:cubicBezTo>
                    <a:pt x="34025" y="6081"/>
                    <a:pt x="37668" y="13432"/>
                    <a:pt x="37343" y="20849"/>
                  </a:cubicBezTo>
                </a:path>
              </a:pathLst>
            </a:custGeom>
            <a:noFill/>
            <a:ln w="19050" cap="sq">
              <a:solidFill>
                <a:srgbClr val="00FF94"/>
              </a:solidFill>
              <a:prstDash val="solid"/>
              <a:miter lim="800000"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06" name="Agrupar 105">
            <a:extLst>
              <a:ext uri="{FF2B5EF4-FFF2-40B4-BE49-F238E27FC236}">
                <a16:creationId xmlns:a16="http://schemas.microsoft.com/office/drawing/2014/main" id="{076B3AEA-54DA-FEF5-5B6A-E7E1BEF6419B}"/>
              </a:ext>
            </a:extLst>
          </p:cNvPr>
          <p:cNvGrpSpPr/>
          <p:nvPr/>
        </p:nvGrpSpPr>
        <p:grpSpPr>
          <a:xfrm>
            <a:off x="3741528" y="2602274"/>
            <a:ext cx="325297" cy="355243"/>
            <a:chOff x="6000092" y="1357908"/>
            <a:chExt cx="365300" cy="398929"/>
          </a:xfrm>
        </p:grpSpPr>
        <p:sp>
          <p:nvSpPr>
            <p:cNvPr id="107" name="Forma livre: Forma 106">
              <a:extLst>
                <a:ext uri="{FF2B5EF4-FFF2-40B4-BE49-F238E27FC236}">
                  <a16:creationId xmlns:a16="http://schemas.microsoft.com/office/drawing/2014/main" id="{837D8046-3DBA-786A-0DDD-BA840827E53E}"/>
                </a:ext>
              </a:extLst>
            </p:cNvPr>
            <p:cNvSpPr/>
            <p:nvPr/>
          </p:nvSpPr>
          <p:spPr>
            <a:xfrm>
              <a:off x="6000092" y="1418606"/>
              <a:ext cx="84058" cy="286120"/>
            </a:xfrm>
            <a:custGeom>
              <a:avLst/>
              <a:gdLst>
                <a:gd name="connsiteX0" fmla="*/ 51595 w 84058"/>
                <a:gd name="connsiteY0" fmla="*/ 0 h 286120"/>
                <a:gd name="connsiteX1" fmla="*/ 35266 w 84058"/>
                <a:gd name="connsiteY1" fmla="*/ 61674 h 286120"/>
                <a:gd name="connsiteX2" fmla="*/ 28760 w 84058"/>
                <a:gd name="connsiteY2" fmla="*/ 193415 h 286120"/>
                <a:gd name="connsiteX3" fmla="*/ 84059 w 84058"/>
                <a:gd name="connsiteY3" fmla="*/ 286121 h 2861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4058" h="286120">
                  <a:moveTo>
                    <a:pt x="51595" y="0"/>
                  </a:moveTo>
                  <a:cubicBezTo>
                    <a:pt x="37868" y="7872"/>
                    <a:pt x="26028" y="24852"/>
                    <a:pt x="35266" y="61674"/>
                  </a:cubicBezTo>
                  <a:cubicBezTo>
                    <a:pt x="35266" y="61674"/>
                    <a:pt x="-39549" y="126731"/>
                    <a:pt x="28760" y="193415"/>
                  </a:cubicBezTo>
                  <a:cubicBezTo>
                    <a:pt x="28760" y="193415"/>
                    <a:pt x="9243" y="281242"/>
                    <a:pt x="84059" y="286121"/>
                  </a:cubicBezTo>
                </a:path>
              </a:pathLst>
            </a:custGeom>
            <a:noFill/>
            <a:ln w="19050" cap="sq">
              <a:solidFill>
                <a:srgbClr val="00FF94"/>
              </a:solidFill>
              <a:prstDash val="solid"/>
              <a:miter lim="800000"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08" name="Gráfico 32">
              <a:extLst>
                <a:ext uri="{FF2B5EF4-FFF2-40B4-BE49-F238E27FC236}">
                  <a16:creationId xmlns:a16="http://schemas.microsoft.com/office/drawing/2014/main" id="{AC8E2700-5A8C-57A9-D469-111E52886A13}"/>
                </a:ext>
              </a:extLst>
            </p:cNvPr>
            <p:cNvGrpSpPr/>
            <p:nvPr/>
          </p:nvGrpSpPr>
          <p:grpSpPr>
            <a:xfrm>
              <a:off x="6061121" y="1359924"/>
              <a:ext cx="128487" cy="396366"/>
              <a:chOff x="6061121" y="1359924"/>
              <a:chExt cx="128487" cy="396366"/>
            </a:xfrm>
            <a:noFill/>
          </p:grpSpPr>
          <p:sp>
            <p:nvSpPr>
              <p:cNvPr id="123" name="Forma livre: Forma 122">
                <a:extLst>
                  <a:ext uri="{FF2B5EF4-FFF2-40B4-BE49-F238E27FC236}">
                    <a16:creationId xmlns:a16="http://schemas.microsoft.com/office/drawing/2014/main" id="{E4468B17-BB02-1BA2-4A90-D8023A5CB159}"/>
                  </a:ext>
                </a:extLst>
              </p:cNvPr>
              <p:cNvSpPr/>
              <p:nvPr/>
            </p:nvSpPr>
            <p:spPr>
              <a:xfrm>
                <a:off x="6083891" y="1359924"/>
                <a:ext cx="105717" cy="396366"/>
              </a:xfrm>
              <a:custGeom>
                <a:avLst/>
                <a:gdLst>
                  <a:gd name="connsiteX0" fmla="*/ 52891 w 105717"/>
                  <a:gd name="connsiteY0" fmla="*/ 105718 h 396366"/>
                  <a:gd name="connsiteX1" fmla="*/ 0 w 105717"/>
                  <a:gd name="connsiteY1" fmla="*/ 52891 h 396366"/>
                  <a:gd name="connsiteX2" fmla="*/ 52891 w 105717"/>
                  <a:gd name="connsiteY2" fmla="*/ 0 h 396366"/>
                  <a:gd name="connsiteX3" fmla="*/ 105718 w 105717"/>
                  <a:gd name="connsiteY3" fmla="*/ 52826 h 396366"/>
                  <a:gd name="connsiteX4" fmla="*/ 105718 w 105717"/>
                  <a:gd name="connsiteY4" fmla="*/ 346884 h 396366"/>
                  <a:gd name="connsiteX5" fmla="*/ 80606 w 105717"/>
                  <a:gd name="connsiteY5" fmla="*/ 388911 h 396366"/>
                  <a:gd name="connsiteX6" fmla="*/ 9238 w 105717"/>
                  <a:gd name="connsiteY6" fmla="*/ 371150 h 396366"/>
                  <a:gd name="connsiteX7" fmla="*/ 15484 w 105717"/>
                  <a:gd name="connsiteY7" fmla="*/ 309216 h 396366"/>
                  <a:gd name="connsiteX8" fmla="*/ 45019 w 105717"/>
                  <a:gd name="connsiteY8" fmla="*/ 277078 h 3963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05717" h="396366">
                    <a:moveTo>
                      <a:pt x="52891" y="105718"/>
                    </a:moveTo>
                    <a:cubicBezTo>
                      <a:pt x="23681" y="105718"/>
                      <a:pt x="0" y="82037"/>
                      <a:pt x="0" y="52891"/>
                    </a:cubicBezTo>
                    <a:cubicBezTo>
                      <a:pt x="0" y="23746"/>
                      <a:pt x="23681" y="0"/>
                      <a:pt x="52891" y="0"/>
                    </a:cubicBezTo>
                    <a:cubicBezTo>
                      <a:pt x="82102" y="0"/>
                      <a:pt x="105718" y="23681"/>
                      <a:pt x="105718" y="52826"/>
                    </a:cubicBezTo>
                    <a:lnTo>
                      <a:pt x="105718" y="346884"/>
                    </a:lnTo>
                    <a:cubicBezTo>
                      <a:pt x="105718" y="364580"/>
                      <a:pt x="96414" y="379413"/>
                      <a:pt x="80606" y="388911"/>
                    </a:cubicBezTo>
                    <a:cubicBezTo>
                      <a:pt x="55949" y="403744"/>
                      <a:pt x="24006" y="395742"/>
                      <a:pt x="9238" y="371150"/>
                    </a:cubicBezTo>
                    <a:cubicBezTo>
                      <a:pt x="-2928" y="350918"/>
                      <a:pt x="260" y="325741"/>
                      <a:pt x="15484" y="309216"/>
                    </a:cubicBezTo>
                    <a:lnTo>
                      <a:pt x="45019" y="277078"/>
                    </a:lnTo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4" name="Forma livre: Forma 123">
                <a:extLst>
                  <a:ext uri="{FF2B5EF4-FFF2-40B4-BE49-F238E27FC236}">
                    <a16:creationId xmlns:a16="http://schemas.microsoft.com/office/drawing/2014/main" id="{9CA49F88-C38B-2F2B-6B52-F967487BAA72}"/>
                  </a:ext>
                </a:extLst>
              </p:cNvPr>
              <p:cNvSpPr/>
              <p:nvPr/>
            </p:nvSpPr>
            <p:spPr>
              <a:xfrm>
                <a:off x="6144784" y="1383865"/>
                <a:ext cx="41563" cy="38963"/>
              </a:xfrm>
              <a:custGeom>
                <a:avLst/>
                <a:gdLst>
                  <a:gd name="connsiteX0" fmla="*/ 36172 w 41563"/>
                  <a:gd name="connsiteY0" fmla="*/ 0 h 38963"/>
                  <a:gd name="connsiteX1" fmla="*/ 39425 w 41563"/>
                  <a:gd name="connsiteY1" fmla="*/ 24266 h 38963"/>
                  <a:gd name="connsiteX2" fmla="*/ 36432 w 41563"/>
                  <a:gd name="connsiteY2" fmla="*/ 29080 h 38963"/>
                  <a:gd name="connsiteX3" fmla="*/ 0 w 41563"/>
                  <a:gd name="connsiteY3" fmla="*/ 33439 h 389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563" h="38963">
                    <a:moveTo>
                      <a:pt x="36172" y="0"/>
                    </a:moveTo>
                    <a:cubicBezTo>
                      <a:pt x="41571" y="7547"/>
                      <a:pt x="43393" y="16004"/>
                      <a:pt x="39425" y="24266"/>
                    </a:cubicBezTo>
                    <a:cubicBezTo>
                      <a:pt x="38644" y="25893"/>
                      <a:pt x="37603" y="27519"/>
                      <a:pt x="36432" y="29080"/>
                    </a:cubicBezTo>
                    <a:cubicBezTo>
                      <a:pt x="27584" y="40270"/>
                      <a:pt x="11190" y="42287"/>
                      <a:pt x="0" y="33439"/>
                    </a:cubicBezTo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5" name="Forma livre: Forma 124">
                <a:extLst>
                  <a:ext uri="{FF2B5EF4-FFF2-40B4-BE49-F238E27FC236}">
                    <a16:creationId xmlns:a16="http://schemas.microsoft.com/office/drawing/2014/main" id="{E8A1E733-3A64-2D90-9FA9-358D8B74EAD7}"/>
                  </a:ext>
                </a:extLst>
              </p:cNvPr>
              <p:cNvSpPr/>
              <p:nvPr/>
            </p:nvSpPr>
            <p:spPr>
              <a:xfrm>
                <a:off x="6081487" y="1460806"/>
                <a:ext cx="34217" cy="54474"/>
              </a:xfrm>
              <a:custGeom>
                <a:avLst/>
                <a:gdLst>
                  <a:gd name="connsiteX0" fmla="*/ 21076 w 34217"/>
                  <a:gd name="connsiteY0" fmla="*/ 54475 h 54474"/>
                  <a:gd name="connsiteX1" fmla="*/ 778 w 34217"/>
                  <a:gd name="connsiteY1" fmla="*/ 21035 h 54474"/>
                  <a:gd name="connsiteX2" fmla="*/ 34217 w 34217"/>
                  <a:gd name="connsiteY2" fmla="*/ 803 h 544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4217" h="54474">
                    <a:moveTo>
                      <a:pt x="21076" y="54475"/>
                    </a:moveTo>
                    <a:cubicBezTo>
                      <a:pt x="6308" y="50832"/>
                      <a:pt x="-2800" y="35803"/>
                      <a:pt x="778" y="21035"/>
                    </a:cubicBezTo>
                    <a:cubicBezTo>
                      <a:pt x="4421" y="6267"/>
                      <a:pt x="19449" y="-2841"/>
                      <a:pt x="34217" y="803"/>
                    </a:cubicBezTo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6" name="Forma livre: Forma 125">
                <a:extLst>
                  <a:ext uri="{FF2B5EF4-FFF2-40B4-BE49-F238E27FC236}">
                    <a16:creationId xmlns:a16="http://schemas.microsoft.com/office/drawing/2014/main" id="{BC133968-FB7E-3C24-DF9E-AE58EE7067F3}"/>
                  </a:ext>
                </a:extLst>
              </p:cNvPr>
              <p:cNvSpPr/>
              <p:nvPr/>
            </p:nvSpPr>
            <p:spPr>
              <a:xfrm>
                <a:off x="6073547" y="1527543"/>
                <a:ext cx="114760" cy="72506"/>
              </a:xfrm>
              <a:custGeom>
                <a:avLst/>
                <a:gdLst>
                  <a:gd name="connsiteX0" fmla="*/ 114760 w 114760"/>
                  <a:gd name="connsiteY0" fmla="*/ 7254 h 72506"/>
                  <a:gd name="connsiteX1" fmla="*/ 73905 w 114760"/>
                  <a:gd name="connsiteY1" fmla="*/ 8881 h 72506"/>
                  <a:gd name="connsiteX2" fmla="*/ 0 w 114760"/>
                  <a:gd name="connsiteY2" fmla="*/ 72506 h 725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14760" h="72506">
                    <a:moveTo>
                      <a:pt x="114760" y="7254"/>
                    </a:moveTo>
                    <a:cubicBezTo>
                      <a:pt x="103375" y="-2830"/>
                      <a:pt x="83989" y="-2504"/>
                      <a:pt x="73905" y="8881"/>
                    </a:cubicBezTo>
                    <a:cubicBezTo>
                      <a:pt x="73905" y="8881"/>
                      <a:pt x="31488" y="72506"/>
                      <a:pt x="0" y="72506"/>
                    </a:cubicBezTo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7" name="Forma livre: Forma 126">
                <a:extLst>
                  <a:ext uri="{FF2B5EF4-FFF2-40B4-BE49-F238E27FC236}">
                    <a16:creationId xmlns:a16="http://schemas.microsoft.com/office/drawing/2014/main" id="{FCD08F60-9542-D60D-6867-23FCA22D1E35}"/>
                  </a:ext>
                </a:extLst>
              </p:cNvPr>
              <p:cNvSpPr/>
              <p:nvPr/>
            </p:nvSpPr>
            <p:spPr>
              <a:xfrm>
                <a:off x="6079857" y="1646956"/>
                <a:ext cx="29405" cy="9823"/>
              </a:xfrm>
              <a:custGeom>
                <a:avLst/>
                <a:gdLst>
                  <a:gd name="connsiteX0" fmla="*/ 0 w 29405"/>
                  <a:gd name="connsiteY0" fmla="*/ 0 h 9823"/>
                  <a:gd name="connsiteX1" fmla="*/ 29406 w 29405"/>
                  <a:gd name="connsiteY1" fmla="*/ 9824 h 98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9405" h="9823">
                    <a:moveTo>
                      <a:pt x="0" y="0"/>
                    </a:moveTo>
                    <a:lnTo>
                      <a:pt x="29406" y="9824"/>
                    </a:lnTo>
                  </a:path>
                </a:pathLst>
              </a:custGeom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8" name="Forma livre: Forma 127">
                <a:extLst>
                  <a:ext uri="{FF2B5EF4-FFF2-40B4-BE49-F238E27FC236}">
                    <a16:creationId xmlns:a16="http://schemas.microsoft.com/office/drawing/2014/main" id="{FE1A97F7-D17A-1F5C-6C3A-F8E0F75EDBE1}"/>
                  </a:ext>
                </a:extLst>
              </p:cNvPr>
              <p:cNvSpPr/>
              <p:nvPr/>
            </p:nvSpPr>
            <p:spPr>
              <a:xfrm>
                <a:off x="6061121" y="1545272"/>
                <a:ext cx="47166" cy="34154"/>
              </a:xfrm>
              <a:custGeom>
                <a:avLst/>
                <a:gdLst>
                  <a:gd name="connsiteX0" fmla="*/ 0 w 47166"/>
                  <a:gd name="connsiteY0" fmla="*/ 0 h 34154"/>
                  <a:gd name="connsiteX1" fmla="*/ 47166 w 47166"/>
                  <a:gd name="connsiteY1" fmla="*/ 34155 h 341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166" h="34154">
                    <a:moveTo>
                      <a:pt x="0" y="0"/>
                    </a:moveTo>
                    <a:cubicBezTo>
                      <a:pt x="0" y="0"/>
                      <a:pt x="27649" y="13011"/>
                      <a:pt x="47166" y="34155"/>
                    </a:cubicBezTo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09" name="Gráfico 32">
              <a:extLst>
                <a:ext uri="{FF2B5EF4-FFF2-40B4-BE49-F238E27FC236}">
                  <a16:creationId xmlns:a16="http://schemas.microsoft.com/office/drawing/2014/main" id="{FDC0A7A8-82A7-E09D-742A-43FFF49D06F6}"/>
                </a:ext>
              </a:extLst>
            </p:cNvPr>
            <p:cNvGrpSpPr/>
            <p:nvPr/>
          </p:nvGrpSpPr>
          <p:grpSpPr>
            <a:xfrm>
              <a:off x="6191625" y="1599725"/>
              <a:ext cx="173767" cy="157112"/>
              <a:chOff x="6191625" y="1599725"/>
              <a:chExt cx="173767" cy="157112"/>
            </a:xfrm>
            <a:noFill/>
          </p:grpSpPr>
          <p:sp>
            <p:nvSpPr>
              <p:cNvPr id="119" name="Forma livre: Forma 118">
                <a:extLst>
                  <a:ext uri="{FF2B5EF4-FFF2-40B4-BE49-F238E27FC236}">
                    <a16:creationId xmlns:a16="http://schemas.microsoft.com/office/drawing/2014/main" id="{D6F05E45-ECA7-7033-C187-A9CA5FDC0233}"/>
                  </a:ext>
                </a:extLst>
              </p:cNvPr>
              <p:cNvSpPr/>
              <p:nvPr/>
            </p:nvSpPr>
            <p:spPr>
              <a:xfrm>
                <a:off x="6310094" y="1621974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0" name="Forma livre: Forma 119">
                <a:extLst>
                  <a:ext uri="{FF2B5EF4-FFF2-40B4-BE49-F238E27FC236}">
                    <a16:creationId xmlns:a16="http://schemas.microsoft.com/office/drawing/2014/main" id="{C9556FC9-890E-7205-BBE8-E8F99F4FBA47}"/>
                  </a:ext>
                </a:extLst>
              </p:cNvPr>
              <p:cNvSpPr/>
              <p:nvPr/>
            </p:nvSpPr>
            <p:spPr>
              <a:xfrm>
                <a:off x="6191625" y="1599725"/>
                <a:ext cx="118078" cy="49898"/>
              </a:xfrm>
              <a:custGeom>
                <a:avLst/>
                <a:gdLst>
                  <a:gd name="connsiteX0" fmla="*/ 0 w 118078"/>
                  <a:gd name="connsiteY0" fmla="*/ 0 h 49898"/>
                  <a:gd name="connsiteX1" fmla="*/ 37343 w 118078"/>
                  <a:gd name="connsiteY1" fmla="*/ 0 h 49898"/>
                  <a:gd name="connsiteX2" fmla="*/ 87176 w 118078"/>
                  <a:gd name="connsiteY2" fmla="*/ 49899 h 49898"/>
                  <a:gd name="connsiteX3" fmla="*/ 118078 w 118078"/>
                  <a:gd name="connsiteY3" fmla="*/ 49899 h 49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8078" h="49898">
                    <a:moveTo>
                      <a:pt x="0" y="0"/>
                    </a:moveTo>
                    <a:lnTo>
                      <a:pt x="37343" y="0"/>
                    </a:lnTo>
                    <a:lnTo>
                      <a:pt x="87176" y="49899"/>
                    </a:lnTo>
                    <a:lnTo>
                      <a:pt x="118078" y="49899"/>
                    </a:lnTo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1" name="Forma livre: Forma 120">
                <a:extLst>
                  <a:ext uri="{FF2B5EF4-FFF2-40B4-BE49-F238E27FC236}">
                    <a16:creationId xmlns:a16="http://schemas.microsoft.com/office/drawing/2014/main" id="{8D15F8F3-9335-4D82-D5C5-0745D50DC510}"/>
                  </a:ext>
                </a:extLst>
              </p:cNvPr>
              <p:cNvSpPr/>
              <p:nvPr/>
            </p:nvSpPr>
            <p:spPr>
              <a:xfrm>
                <a:off x="6191625" y="1665367"/>
                <a:ext cx="81906" cy="44108"/>
              </a:xfrm>
              <a:custGeom>
                <a:avLst/>
                <a:gdLst>
                  <a:gd name="connsiteX0" fmla="*/ 0 w 81906"/>
                  <a:gd name="connsiteY0" fmla="*/ 0 h 44108"/>
                  <a:gd name="connsiteX1" fmla="*/ 37343 w 81906"/>
                  <a:gd name="connsiteY1" fmla="*/ 0 h 44108"/>
                  <a:gd name="connsiteX2" fmla="*/ 81907 w 81906"/>
                  <a:gd name="connsiteY2" fmla="*/ 44109 h 441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1906" h="44108">
                    <a:moveTo>
                      <a:pt x="0" y="0"/>
                    </a:moveTo>
                    <a:lnTo>
                      <a:pt x="37343" y="0"/>
                    </a:lnTo>
                    <a:lnTo>
                      <a:pt x="81907" y="44109"/>
                    </a:lnTo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2" name="Forma livre: Forma 121">
                <a:extLst>
                  <a:ext uri="{FF2B5EF4-FFF2-40B4-BE49-F238E27FC236}">
                    <a16:creationId xmlns:a16="http://schemas.microsoft.com/office/drawing/2014/main" id="{CADE4E40-48EF-596C-3CE5-1A543D2E7F24}"/>
                  </a:ext>
                </a:extLst>
              </p:cNvPr>
              <p:cNvSpPr/>
              <p:nvPr/>
            </p:nvSpPr>
            <p:spPr>
              <a:xfrm>
                <a:off x="6265075" y="1701539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10" name="Gráfico 32">
              <a:extLst>
                <a:ext uri="{FF2B5EF4-FFF2-40B4-BE49-F238E27FC236}">
                  <a16:creationId xmlns:a16="http://schemas.microsoft.com/office/drawing/2014/main" id="{6C065A91-4F5D-8AE6-99D8-F2883DAF6253}"/>
                </a:ext>
              </a:extLst>
            </p:cNvPr>
            <p:cNvGrpSpPr/>
            <p:nvPr/>
          </p:nvGrpSpPr>
          <p:grpSpPr>
            <a:xfrm>
              <a:off x="6191625" y="1357908"/>
              <a:ext cx="173767" cy="157112"/>
              <a:chOff x="6191625" y="1357908"/>
              <a:chExt cx="173767" cy="157112"/>
            </a:xfrm>
            <a:noFill/>
          </p:grpSpPr>
          <p:sp>
            <p:nvSpPr>
              <p:cNvPr id="115" name="Forma livre: Forma 114">
                <a:extLst>
                  <a:ext uri="{FF2B5EF4-FFF2-40B4-BE49-F238E27FC236}">
                    <a16:creationId xmlns:a16="http://schemas.microsoft.com/office/drawing/2014/main" id="{D3229225-25B1-0644-78B2-83EA96859F5C}"/>
                  </a:ext>
                </a:extLst>
              </p:cNvPr>
              <p:cNvSpPr/>
              <p:nvPr/>
            </p:nvSpPr>
            <p:spPr>
              <a:xfrm>
                <a:off x="6310094" y="1437472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0 h 55298"/>
                  <a:gd name="connsiteX2" fmla="*/ 0 w 55298"/>
                  <a:gd name="connsiteY2" fmla="*/ 27649 h 55298"/>
                  <a:gd name="connsiteX3" fmla="*/ 27649 w 55298"/>
                  <a:gd name="connsiteY3" fmla="*/ 55298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12361"/>
                      <a:pt x="42938" y="0"/>
                      <a:pt x="27649" y="0"/>
                    </a:cubicBezTo>
                    <a:cubicBezTo>
                      <a:pt x="12361" y="0"/>
                      <a:pt x="0" y="12361"/>
                      <a:pt x="0" y="27649"/>
                    </a:cubicBezTo>
                    <a:cubicBezTo>
                      <a:pt x="0" y="42938"/>
                      <a:pt x="12361" y="55298"/>
                      <a:pt x="27649" y="55298"/>
                    </a:cubicBezTo>
                    <a:cubicBezTo>
                      <a:pt x="42938" y="55298"/>
                      <a:pt x="55298" y="42938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16" name="Forma livre: Forma 115">
                <a:extLst>
                  <a:ext uri="{FF2B5EF4-FFF2-40B4-BE49-F238E27FC236}">
                    <a16:creationId xmlns:a16="http://schemas.microsoft.com/office/drawing/2014/main" id="{381EDA9E-7539-86E8-CF76-BF2138341BFB}"/>
                  </a:ext>
                </a:extLst>
              </p:cNvPr>
              <p:cNvSpPr/>
              <p:nvPr/>
            </p:nvSpPr>
            <p:spPr>
              <a:xfrm>
                <a:off x="6191625" y="1465122"/>
                <a:ext cx="118468" cy="49898"/>
              </a:xfrm>
              <a:custGeom>
                <a:avLst/>
                <a:gdLst>
                  <a:gd name="connsiteX0" fmla="*/ 0 w 118468"/>
                  <a:gd name="connsiteY0" fmla="*/ 49899 h 49898"/>
                  <a:gd name="connsiteX1" fmla="*/ 37343 w 118468"/>
                  <a:gd name="connsiteY1" fmla="*/ 49899 h 49898"/>
                  <a:gd name="connsiteX2" fmla="*/ 87176 w 118468"/>
                  <a:gd name="connsiteY2" fmla="*/ 0 h 49898"/>
                  <a:gd name="connsiteX3" fmla="*/ 118469 w 118468"/>
                  <a:gd name="connsiteY3" fmla="*/ 0 h 49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8468" h="49898">
                    <a:moveTo>
                      <a:pt x="0" y="49899"/>
                    </a:moveTo>
                    <a:lnTo>
                      <a:pt x="37343" y="49899"/>
                    </a:lnTo>
                    <a:lnTo>
                      <a:pt x="87176" y="0"/>
                    </a:lnTo>
                    <a:lnTo>
                      <a:pt x="118469" y="0"/>
                    </a:lnTo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17" name="Forma livre: Forma 116">
                <a:extLst>
                  <a:ext uri="{FF2B5EF4-FFF2-40B4-BE49-F238E27FC236}">
                    <a16:creationId xmlns:a16="http://schemas.microsoft.com/office/drawing/2014/main" id="{BBA50339-75A9-7188-3514-433F61C58461}"/>
                  </a:ext>
                </a:extLst>
              </p:cNvPr>
              <p:cNvSpPr/>
              <p:nvPr/>
            </p:nvSpPr>
            <p:spPr>
              <a:xfrm>
                <a:off x="6191625" y="1405269"/>
                <a:ext cx="81451" cy="44043"/>
              </a:xfrm>
              <a:custGeom>
                <a:avLst/>
                <a:gdLst>
                  <a:gd name="connsiteX0" fmla="*/ 0 w 81451"/>
                  <a:gd name="connsiteY0" fmla="*/ 44044 h 44043"/>
                  <a:gd name="connsiteX1" fmla="*/ 37343 w 81451"/>
                  <a:gd name="connsiteY1" fmla="*/ 44044 h 44043"/>
                  <a:gd name="connsiteX2" fmla="*/ 81451 w 81451"/>
                  <a:gd name="connsiteY2" fmla="*/ 0 h 440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1451" h="44043">
                    <a:moveTo>
                      <a:pt x="0" y="44044"/>
                    </a:moveTo>
                    <a:lnTo>
                      <a:pt x="37343" y="44044"/>
                    </a:lnTo>
                    <a:lnTo>
                      <a:pt x="81451" y="0"/>
                    </a:lnTo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18" name="Forma livre: Forma 117">
                <a:extLst>
                  <a:ext uri="{FF2B5EF4-FFF2-40B4-BE49-F238E27FC236}">
                    <a16:creationId xmlns:a16="http://schemas.microsoft.com/office/drawing/2014/main" id="{50AA079A-5D85-5A3F-D211-76D895652CFC}"/>
                  </a:ext>
                </a:extLst>
              </p:cNvPr>
              <p:cNvSpPr/>
              <p:nvPr/>
            </p:nvSpPr>
            <p:spPr>
              <a:xfrm>
                <a:off x="6265075" y="1357908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0 h 55298"/>
                  <a:gd name="connsiteX2" fmla="*/ 0 w 55298"/>
                  <a:gd name="connsiteY2" fmla="*/ 27649 h 55298"/>
                  <a:gd name="connsiteX3" fmla="*/ 27649 w 55298"/>
                  <a:gd name="connsiteY3" fmla="*/ 55298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12361"/>
                      <a:pt x="42938" y="0"/>
                      <a:pt x="27649" y="0"/>
                    </a:cubicBezTo>
                    <a:cubicBezTo>
                      <a:pt x="12361" y="0"/>
                      <a:pt x="0" y="12361"/>
                      <a:pt x="0" y="27649"/>
                    </a:cubicBezTo>
                    <a:cubicBezTo>
                      <a:pt x="0" y="42938"/>
                      <a:pt x="12361" y="55298"/>
                      <a:pt x="27649" y="55298"/>
                    </a:cubicBezTo>
                    <a:cubicBezTo>
                      <a:pt x="42938" y="55298"/>
                      <a:pt x="55298" y="42938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11" name="Gráfico 32">
              <a:extLst>
                <a:ext uri="{FF2B5EF4-FFF2-40B4-BE49-F238E27FC236}">
                  <a16:creationId xmlns:a16="http://schemas.microsoft.com/office/drawing/2014/main" id="{8405E88D-41B0-C2D0-AB95-D9397E96C0CC}"/>
                </a:ext>
              </a:extLst>
            </p:cNvPr>
            <p:cNvGrpSpPr/>
            <p:nvPr/>
          </p:nvGrpSpPr>
          <p:grpSpPr>
            <a:xfrm>
              <a:off x="6190910" y="1529723"/>
              <a:ext cx="123673" cy="55298"/>
              <a:chOff x="6190910" y="1529723"/>
              <a:chExt cx="123673" cy="55298"/>
            </a:xfrm>
            <a:noFill/>
          </p:grpSpPr>
          <p:sp>
            <p:nvSpPr>
              <p:cNvPr id="113" name="Forma livre: Forma 112">
                <a:extLst>
                  <a:ext uri="{FF2B5EF4-FFF2-40B4-BE49-F238E27FC236}">
                    <a16:creationId xmlns:a16="http://schemas.microsoft.com/office/drawing/2014/main" id="{E52AAD32-2571-7589-FCC4-B1D981F8AE09}"/>
                  </a:ext>
                </a:extLst>
              </p:cNvPr>
              <p:cNvSpPr/>
              <p:nvPr/>
            </p:nvSpPr>
            <p:spPr>
              <a:xfrm>
                <a:off x="6190910" y="1557372"/>
                <a:ext cx="68765" cy="6505"/>
              </a:xfrm>
              <a:custGeom>
                <a:avLst/>
                <a:gdLst>
                  <a:gd name="connsiteX0" fmla="*/ 0 w 68765"/>
                  <a:gd name="connsiteY0" fmla="*/ 0 h 6505"/>
                  <a:gd name="connsiteX1" fmla="*/ 68765 w 68765"/>
                  <a:gd name="connsiteY1" fmla="*/ 0 h 65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8765" h="6505">
                    <a:moveTo>
                      <a:pt x="0" y="0"/>
                    </a:moveTo>
                    <a:lnTo>
                      <a:pt x="68765" y="0"/>
                    </a:lnTo>
                  </a:path>
                </a:pathLst>
              </a:custGeom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14" name="Forma livre: Forma 113">
                <a:extLst>
                  <a:ext uri="{FF2B5EF4-FFF2-40B4-BE49-F238E27FC236}">
                    <a16:creationId xmlns:a16="http://schemas.microsoft.com/office/drawing/2014/main" id="{5C8E1139-90E5-94AD-0181-68B59B81EEA6}"/>
                  </a:ext>
                </a:extLst>
              </p:cNvPr>
              <p:cNvSpPr/>
              <p:nvPr/>
            </p:nvSpPr>
            <p:spPr>
              <a:xfrm>
                <a:off x="6259285" y="1529723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12" name="Forma livre: Forma 111">
              <a:extLst>
                <a:ext uri="{FF2B5EF4-FFF2-40B4-BE49-F238E27FC236}">
                  <a16:creationId xmlns:a16="http://schemas.microsoft.com/office/drawing/2014/main" id="{8F80EAF4-96CB-0A70-BE33-664E25FD57B0}"/>
                </a:ext>
              </a:extLst>
            </p:cNvPr>
            <p:cNvSpPr/>
            <p:nvPr/>
          </p:nvSpPr>
          <p:spPr>
            <a:xfrm>
              <a:off x="6152201" y="1686285"/>
              <a:ext cx="37362" cy="20848"/>
            </a:xfrm>
            <a:custGeom>
              <a:avLst/>
              <a:gdLst>
                <a:gd name="connsiteX0" fmla="*/ 0 w 37362"/>
                <a:gd name="connsiteY0" fmla="*/ 10505 h 20848"/>
                <a:gd name="connsiteX1" fmla="*/ 27064 w 37362"/>
                <a:gd name="connsiteY1" fmla="*/ 2373 h 20848"/>
                <a:gd name="connsiteX2" fmla="*/ 37343 w 37362"/>
                <a:gd name="connsiteY2" fmla="*/ 20849 h 20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7362" h="20848">
                  <a:moveTo>
                    <a:pt x="0" y="10505"/>
                  </a:moveTo>
                  <a:cubicBezTo>
                    <a:pt x="5205" y="811"/>
                    <a:pt x="17435" y="-2832"/>
                    <a:pt x="27064" y="2373"/>
                  </a:cubicBezTo>
                  <a:cubicBezTo>
                    <a:pt x="34025" y="6081"/>
                    <a:pt x="37668" y="13432"/>
                    <a:pt x="37343" y="20849"/>
                  </a:cubicBezTo>
                </a:path>
              </a:pathLst>
            </a:custGeom>
            <a:noFill/>
            <a:ln w="19050" cap="sq">
              <a:solidFill>
                <a:srgbClr val="00FF94"/>
              </a:solidFill>
              <a:prstDash val="solid"/>
              <a:miter lim="800000"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29" name="Agrupar 128">
            <a:extLst>
              <a:ext uri="{FF2B5EF4-FFF2-40B4-BE49-F238E27FC236}">
                <a16:creationId xmlns:a16="http://schemas.microsoft.com/office/drawing/2014/main" id="{2B8611DE-A4C7-AF01-4EB1-5FDE7991F7FB}"/>
              </a:ext>
            </a:extLst>
          </p:cNvPr>
          <p:cNvGrpSpPr/>
          <p:nvPr/>
        </p:nvGrpSpPr>
        <p:grpSpPr>
          <a:xfrm>
            <a:off x="5591029" y="2602274"/>
            <a:ext cx="325297" cy="355243"/>
            <a:chOff x="6000092" y="1357908"/>
            <a:chExt cx="365300" cy="398929"/>
          </a:xfrm>
        </p:grpSpPr>
        <p:sp>
          <p:nvSpPr>
            <p:cNvPr id="130" name="Forma livre: Forma 129">
              <a:extLst>
                <a:ext uri="{FF2B5EF4-FFF2-40B4-BE49-F238E27FC236}">
                  <a16:creationId xmlns:a16="http://schemas.microsoft.com/office/drawing/2014/main" id="{8BB67581-1452-473D-195A-E1E788CAC7C6}"/>
                </a:ext>
              </a:extLst>
            </p:cNvPr>
            <p:cNvSpPr/>
            <p:nvPr/>
          </p:nvSpPr>
          <p:spPr>
            <a:xfrm>
              <a:off x="6000092" y="1418606"/>
              <a:ext cx="84058" cy="286120"/>
            </a:xfrm>
            <a:custGeom>
              <a:avLst/>
              <a:gdLst>
                <a:gd name="connsiteX0" fmla="*/ 51595 w 84058"/>
                <a:gd name="connsiteY0" fmla="*/ 0 h 286120"/>
                <a:gd name="connsiteX1" fmla="*/ 35266 w 84058"/>
                <a:gd name="connsiteY1" fmla="*/ 61674 h 286120"/>
                <a:gd name="connsiteX2" fmla="*/ 28760 w 84058"/>
                <a:gd name="connsiteY2" fmla="*/ 193415 h 286120"/>
                <a:gd name="connsiteX3" fmla="*/ 84059 w 84058"/>
                <a:gd name="connsiteY3" fmla="*/ 286121 h 2861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4058" h="286120">
                  <a:moveTo>
                    <a:pt x="51595" y="0"/>
                  </a:moveTo>
                  <a:cubicBezTo>
                    <a:pt x="37868" y="7872"/>
                    <a:pt x="26028" y="24852"/>
                    <a:pt x="35266" y="61674"/>
                  </a:cubicBezTo>
                  <a:cubicBezTo>
                    <a:pt x="35266" y="61674"/>
                    <a:pt x="-39549" y="126731"/>
                    <a:pt x="28760" y="193415"/>
                  </a:cubicBezTo>
                  <a:cubicBezTo>
                    <a:pt x="28760" y="193415"/>
                    <a:pt x="9243" y="281242"/>
                    <a:pt x="84059" y="286121"/>
                  </a:cubicBezTo>
                </a:path>
              </a:pathLst>
            </a:custGeom>
            <a:noFill/>
            <a:ln w="19050" cap="sq">
              <a:solidFill>
                <a:srgbClr val="00FF94"/>
              </a:solidFill>
              <a:prstDash val="solid"/>
              <a:miter lim="800000"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31" name="Gráfico 32">
              <a:extLst>
                <a:ext uri="{FF2B5EF4-FFF2-40B4-BE49-F238E27FC236}">
                  <a16:creationId xmlns:a16="http://schemas.microsoft.com/office/drawing/2014/main" id="{3FB14031-E436-417A-89E7-6C4149907A4B}"/>
                </a:ext>
              </a:extLst>
            </p:cNvPr>
            <p:cNvGrpSpPr/>
            <p:nvPr/>
          </p:nvGrpSpPr>
          <p:grpSpPr>
            <a:xfrm>
              <a:off x="6061121" y="1359924"/>
              <a:ext cx="128487" cy="396366"/>
              <a:chOff x="6061121" y="1359924"/>
              <a:chExt cx="128487" cy="396366"/>
            </a:xfrm>
            <a:noFill/>
          </p:grpSpPr>
          <p:sp>
            <p:nvSpPr>
              <p:cNvPr id="146" name="Forma livre: Forma 145">
                <a:extLst>
                  <a:ext uri="{FF2B5EF4-FFF2-40B4-BE49-F238E27FC236}">
                    <a16:creationId xmlns:a16="http://schemas.microsoft.com/office/drawing/2014/main" id="{2B8F521D-0AC5-2DF7-2DCB-106FEC05BF74}"/>
                  </a:ext>
                </a:extLst>
              </p:cNvPr>
              <p:cNvSpPr/>
              <p:nvPr/>
            </p:nvSpPr>
            <p:spPr>
              <a:xfrm>
                <a:off x="6083891" y="1359924"/>
                <a:ext cx="105717" cy="396366"/>
              </a:xfrm>
              <a:custGeom>
                <a:avLst/>
                <a:gdLst>
                  <a:gd name="connsiteX0" fmla="*/ 52891 w 105717"/>
                  <a:gd name="connsiteY0" fmla="*/ 105718 h 396366"/>
                  <a:gd name="connsiteX1" fmla="*/ 0 w 105717"/>
                  <a:gd name="connsiteY1" fmla="*/ 52891 h 396366"/>
                  <a:gd name="connsiteX2" fmla="*/ 52891 w 105717"/>
                  <a:gd name="connsiteY2" fmla="*/ 0 h 396366"/>
                  <a:gd name="connsiteX3" fmla="*/ 105718 w 105717"/>
                  <a:gd name="connsiteY3" fmla="*/ 52826 h 396366"/>
                  <a:gd name="connsiteX4" fmla="*/ 105718 w 105717"/>
                  <a:gd name="connsiteY4" fmla="*/ 346884 h 396366"/>
                  <a:gd name="connsiteX5" fmla="*/ 80606 w 105717"/>
                  <a:gd name="connsiteY5" fmla="*/ 388911 h 396366"/>
                  <a:gd name="connsiteX6" fmla="*/ 9238 w 105717"/>
                  <a:gd name="connsiteY6" fmla="*/ 371150 h 396366"/>
                  <a:gd name="connsiteX7" fmla="*/ 15484 w 105717"/>
                  <a:gd name="connsiteY7" fmla="*/ 309216 h 396366"/>
                  <a:gd name="connsiteX8" fmla="*/ 45019 w 105717"/>
                  <a:gd name="connsiteY8" fmla="*/ 277078 h 3963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05717" h="396366">
                    <a:moveTo>
                      <a:pt x="52891" y="105718"/>
                    </a:moveTo>
                    <a:cubicBezTo>
                      <a:pt x="23681" y="105718"/>
                      <a:pt x="0" y="82037"/>
                      <a:pt x="0" y="52891"/>
                    </a:cubicBezTo>
                    <a:cubicBezTo>
                      <a:pt x="0" y="23746"/>
                      <a:pt x="23681" y="0"/>
                      <a:pt x="52891" y="0"/>
                    </a:cubicBezTo>
                    <a:cubicBezTo>
                      <a:pt x="82102" y="0"/>
                      <a:pt x="105718" y="23681"/>
                      <a:pt x="105718" y="52826"/>
                    </a:cubicBezTo>
                    <a:lnTo>
                      <a:pt x="105718" y="346884"/>
                    </a:lnTo>
                    <a:cubicBezTo>
                      <a:pt x="105718" y="364580"/>
                      <a:pt x="96414" y="379413"/>
                      <a:pt x="80606" y="388911"/>
                    </a:cubicBezTo>
                    <a:cubicBezTo>
                      <a:pt x="55949" y="403744"/>
                      <a:pt x="24006" y="395742"/>
                      <a:pt x="9238" y="371150"/>
                    </a:cubicBezTo>
                    <a:cubicBezTo>
                      <a:pt x="-2928" y="350918"/>
                      <a:pt x="260" y="325741"/>
                      <a:pt x="15484" y="309216"/>
                    </a:cubicBezTo>
                    <a:lnTo>
                      <a:pt x="45019" y="277078"/>
                    </a:lnTo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47" name="Forma livre: Forma 146">
                <a:extLst>
                  <a:ext uri="{FF2B5EF4-FFF2-40B4-BE49-F238E27FC236}">
                    <a16:creationId xmlns:a16="http://schemas.microsoft.com/office/drawing/2014/main" id="{181493D0-7680-095D-4DE2-5CA433ADCC03}"/>
                  </a:ext>
                </a:extLst>
              </p:cNvPr>
              <p:cNvSpPr/>
              <p:nvPr/>
            </p:nvSpPr>
            <p:spPr>
              <a:xfrm>
                <a:off x="6144784" y="1383865"/>
                <a:ext cx="41563" cy="38963"/>
              </a:xfrm>
              <a:custGeom>
                <a:avLst/>
                <a:gdLst>
                  <a:gd name="connsiteX0" fmla="*/ 36172 w 41563"/>
                  <a:gd name="connsiteY0" fmla="*/ 0 h 38963"/>
                  <a:gd name="connsiteX1" fmla="*/ 39425 w 41563"/>
                  <a:gd name="connsiteY1" fmla="*/ 24266 h 38963"/>
                  <a:gd name="connsiteX2" fmla="*/ 36432 w 41563"/>
                  <a:gd name="connsiteY2" fmla="*/ 29080 h 38963"/>
                  <a:gd name="connsiteX3" fmla="*/ 0 w 41563"/>
                  <a:gd name="connsiteY3" fmla="*/ 33439 h 389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563" h="38963">
                    <a:moveTo>
                      <a:pt x="36172" y="0"/>
                    </a:moveTo>
                    <a:cubicBezTo>
                      <a:pt x="41571" y="7547"/>
                      <a:pt x="43393" y="16004"/>
                      <a:pt x="39425" y="24266"/>
                    </a:cubicBezTo>
                    <a:cubicBezTo>
                      <a:pt x="38644" y="25893"/>
                      <a:pt x="37603" y="27519"/>
                      <a:pt x="36432" y="29080"/>
                    </a:cubicBezTo>
                    <a:cubicBezTo>
                      <a:pt x="27584" y="40270"/>
                      <a:pt x="11190" y="42287"/>
                      <a:pt x="0" y="33439"/>
                    </a:cubicBezTo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48" name="Forma livre: Forma 147">
                <a:extLst>
                  <a:ext uri="{FF2B5EF4-FFF2-40B4-BE49-F238E27FC236}">
                    <a16:creationId xmlns:a16="http://schemas.microsoft.com/office/drawing/2014/main" id="{18CEA138-12A9-8958-A3D4-C1819177D69F}"/>
                  </a:ext>
                </a:extLst>
              </p:cNvPr>
              <p:cNvSpPr/>
              <p:nvPr/>
            </p:nvSpPr>
            <p:spPr>
              <a:xfrm>
                <a:off x="6081487" y="1460806"/>
                <a:ext cx="34217" cy="54474"/>
              </a:xfrm>
              <a:custGeom>
                <a:avLst/>
                <a:gdLst>
                  <a:gd name="connsiteX0" fmla="*/ 21076 w 34217"/>
                  <a:gd name="connsiteY0" fmla="*/ 54475 h 54474"/>
                  <a:gd name="connsiteX1" fmla="*/ 778 w 34217"/>
                  <a:gd name="connsiteY1" fmla="*/ 21035 h 54474"/>
                  <a:gd name="connsiteX2" fmla="*/ 34217 w 34217"/>
                  <a:gd name="connsiteY2" fmla="*/ 803 h 544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4217" h="54474">
                    <a:moveTo>
                      <a:pt x="21076" y="54475"/>
                    </a:moveTo>
                    <a:cubicBezTo>
                      <a:pt x="6308" y="50832"/>
                      <a:pt x="-2800" y="35803"/>
                      <a:pt x="778" y="21035"/>
                    </a:cubicBezTo>
                    <a:cubicBezTo>
                      <a:pt x="4421" y="6267"/>
                      <a:pt x="19449" y="-2841"/>
                      <a:pt x="34217" y="803"/>
                    </a:cubicBezTo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49" name="Forma livre: Forma 148">
                <a:extLst>
                  <a:ext uri="{FF2B5EF4-FFF2-40B4-BE49-F238E27FC236}">
                    <a16:creationId xmlns:a16="http://schemas.microsoft.com/office/drawing/2014/main" id="{FB1AC679-6439-65FC-3EB3-B0F21DD4C5F1}"/>
                  </a:ext>
                </a:extLst>
              </p:cNvPr>
              <p:cNvSpPr/>
              <p:nvPr/>
            </p:nvSpPr>
            <p:spPr>
              <a:xfrm>
                <a:off x="6073547" y="1527543"/>
                <a:ext cx="114760" cy="72506"/>
              </a:xfrm>
              <a:custGeom>
                <a:avLst/>
                <a:gdLst>
                  <a:gd name="connsiteX0" fmla="*/ 114760 w 114760"/>
                  <a:gd name="connsiteY0" fmla="*/ 7254 h 72506"/>
                  <a:gd name="connsiteX1" fmla="*/ 73905 w 114760"/>
                  <a:gd name="connsiteY1" fmla="*/ 8881 h 72506"/>
                  <a:gd name="connsiteX2" fmla="*/ 0 w 114760"/>
                  <a:gd name="connsiteY2" fmla="*/ 72506 h 725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14760" h="72506">
                    <a:moveTo>
                      <a:pt x="114760" y="7254"/>
                    </a:moveTo>
                    <a:cubicBezTo>
                      <a:pt x="103375" y="-2830"/>
                      <a:pt x="83989" y="-2504"/>
                      <a:pt x="73905" y="8881"/>
                    </a:cubicBezTo>
                    <a:cubicBezTo>
                      <a:pt x="73905" y="8881"/>
                      <a:pt x="31488" y="72506"/>
                      <a:pt x="0" y="72506"/>
                    </a:cubicBezTo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50" name="Forma livre: Forma 149">
                <a:extLst>
                  <a:ext uri="{FF2B5EF4-FFF2-40B4-BE49-F238E27FC236}">
                    <a16:creationId xmlns:a16="http://schemas.microsoft.com/office/drawing/2014/main" id="{28682229-B8ED-639A-17FD-14E1608252B9}"/>
                  </a:ext>
                </a:extLst>
              </p:cNvPr>
              <p:cNvSpPr/>
              <p:nvPr/>
            </p:nvSpPr>
            <p:spPr>
              <a:xfrm>
                <a:off x="6079857" y="1646956"/>
                <a:ext cx="29405" cy="9823"/>
              </a:xfrm>
              <a:custGeom>
                <a:avLst/>
                <a:gdLst>
                  <a:gd name="connsiteX0" fmla="*/ 0 w 29405"/>
                  <a:gd name="connsiteY0" fmla="*/ 0 h 9823"/>
                  <a:gd name="connsiteX1" fmla="*/ 29406 w 29405"/>
                  <a:gd name="connsiteY1" fmla="*/ 9824 h 98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9405" h="9823">
                    <a:moveTo>
                      <a:pt x="0" y="0"/>
                    </a:moveTo>
                    <a:lnTo>
                      <a:pt x="29406" y="9824"/>
                    </a:lnTo>
                  </a:path>
                </a:pathLst>
              </a:custGeom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51" name="Forma livre: Forma 150">
                <a:extLst>
                  <a:ext uri="{FF2B5EF4-FFF2-40B4-BE49-F238E27FC236}">
                    <a16:creationId xmlns:a16="http://schemas.microsoft.com/office/drawing/2014/main" id="{1E2CED6C-2DB1-C887-5B4B-95410E9698D0}"/>
                  </a:ext>
                </a:extLst>
              </p:cNvPr>
              <p:cNvSpPr/>
              <p:nvPr/>
            </p:nvSpPr>
            <p:spPr>
              <a:xfrm>
                <a:off x="6061121" y="1545272"/>
                <a:ext cx="47166" cy="34154"/>
              </a:xfrm>
              <a:custGeom>
                <a:avLst/>
                <a:gdLst>
                  <a:gd name="connsiteX0" fmla="*/ 0 w 47166"/>
                  <a:gd name="connsiteY0" fmla="*/ 0 h 34154"/>
                  <a:gd name="connsiteX1" fmla="*/ 47166 w 47166"/>
                  <a:gd name="connsiteY1" fmla="*/ 34155 h 341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166" h="34154">
                    <a:moveTo>
                      <a:pt x="0" y="0"/>
                    </a:moveTo>
                    <a:cubicBezTo>
                      <a:pt x="0" y="0"/>
                      <a:pt x="27649" y="13011"/>
                      <a:pt x="47166" y="34155"/>
                    </a:cubicBezTo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32" name="Gráfico 32">
              <a:extLst>
                <a:ext uri="{FF2B5EF4-FFF2-40B4-BE49-F238E27FC236}">
                  <a16:creationId xmlns:a16="http://schemas.microsoft.com/office/drawing/2014/main" id="{9813C5E7-2C40-8A03-DCBE-41A48721A08E}"/>
                </a:ext>
              </a:extLst>
            </p:cNvPr>
            <p:cNvGrpSpPr/>
            <p:nvPr/>
          </p:nvGrpSpPr>
          <p:grpSpPr>
            <a:xfrm>
              <a:off x="6191625" y="1599725"/>
              <a:ext cx="173767" cy="157112"/>
              <a:chOff x="6191625" y="1599725"/>
              <a:chExt cx="173767" cy="157112"/>
            </a:xfrm>
            <a:noFill/>
          </p:grpSpPr>
          <p:sp>
            <p:nvSpPr>
              <p:cNvPr id="142" name="Forma livre: Forma 141">
                <a:extLst>
                  <a:ext uri="{FF2B5EF4-FFF2-40B4-BE49-F238E27FC236}">
                    <a16:creationId xmlns:a16="http://schemas.microsoft.com/office/drawing/2014/main" id="{2C860784-1799-017E-0680-B83D22D25D8E}"/>
                  </a:ext>
                </a:extLst>
              </p:cNvPr>
              <p:cNvSpPr/>
              <p:nvPr/>
            </p:nvSpPr>
            <p:spPr>
              <a:xfrm>
                <a:off x="6310094" y="1621974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43" name="Forma livre: Forma 142">
                <a:extLst>
                  <a:ext uri="{FF2B5EF4-FFF2-40B4-BE49-F238E27FC236}">
                    <a16:creationId xmlns:a16="http://schemas.microsoft.com/office/drawing/2014/main" id="{461DA5DD-1BD6-58AE-CE55-41110E61A765}"/>
                  </a:ext>
                </a:extLst>
              </p:cNvPr>
              <p:cNvSpPr/>
              <p:nvPr/>
            </p:nvSpPr>
            <p:spPr>
              <a:xfrm>
                <a:off x="6191625" y="1599725"/>
                <a:ext cx="118078" cy="49898"/>
              </a:xfrm>
              <a:custGeom>
                <a:avLst/>
                <a:gdLst>
                  <a:gd name="connsiteX0" fmla="*/ 0 w 118078"/>
                  <a:gd name="connsiteY0" fmla="*/ 0 h 49898"/>
                  <a:gd name="connsiteX1" fmla="*/ 37343 w 118078"/>
                  <a:gd name="connsiteY1" fmla="*/ 0 h 49898"/>
                  <a:gd name="connsiteX2" fmla="*/ 87176 w 118078"/>
                  <a:gd name="connsiteY2" fmla="*/ 49899 h 49898"/>
                  <a:gd name="connsiteX3" fmla="*/ 118078 w 118078"/>
                  <a:gd name="connsiteY3" fmla="*/ 49899 h 49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8078" h="49898">
                    <a:moveTo>
                      <a:pt x="0" y="0"/>
                    </a:moveTo>
                    <a:lnTo>
                      <a:pt x="37343" y="0"/>
                    </a:lnTo>
                    <a:lnTo>
                      <a:pt x="87176" y="49899"/>
                    </a:lnTo>
                    <a:lnTo>
                      <a:pt x="118078" y="49899"/>
                    </a:lnTo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44" name="Forma livre: Forma 143">
                <a:extLst>
                  <a:ext uri="{FF2B5EF4-FFF2-40B4-BE49-F238E27FC236}">
                    <a16:creationId xmlns:a16="http://schemas.microsoft.com/office/drawing/2014/main" id="{DD9449B6-EB8D-6554-38A4-98CED4C53ABA}"/>
                  </a:ext>
                </a:extLst>
              </p:cNvPr>
              <p:cNvSpPr/>
              <p:nvPr/>
            </p:nvSpPr>
            <p:spPr>
              <a:xfrm>
                <a:off x="6191625" y="1665367"/>
                <a:ext cx="81906" cy="44108"/>
              </a:xfrm>
              <a:custGeom>
                <a:avLst/>
                <a:gdLst>
                  <a:gd name="connsiteX0" fmla="*/ 0 w 81906"/>
                  <a:gd name="connsiteY0" fmla="*/ 0 h 44108"/>
                  <a:gd name="connsiteX1" fmla="*/ 37343 w 81906"/>
                  <a:gd name="connsiteY1" fmla="*/ 0 h 44108"/>
                  <a:gd name="connsiteX2" fmla="*/ 81907 w 81906"/>
                  <a:gd name="connsiteY2" fmla="*/ 44109 h 441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1906" h="44108">
                    <a:moveTo>
                      <a:pt x="0" y="0"/>
                    </a:moveTo>
                    <a:lnTo>
                      <a:pt x="37343" y="0"/>
                    </a:lnTo>
                    <a:lnTo>
                      <a:pt x="81907" y="44109"/>
                    </a:lnTo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45" name="Forma livre: Forma 144">
                <a:extLst>
                  <a:ext uri="{FF2B5EF4-FFF2-40B4-BE49-F238E27FC236}">
                    <a16:creationId xmlns:a16="http://schemas.microsoft.com/office/drawing/2014/main" id="{80AB4794-E6B8-D1C1-6BBA-681FACC362F6}"/>
                  </a:ext>
                </a:extLst>
              </p:cNvPr>
              <p:cNvSpPr/>
              <p:nvPr/>
            </p:nvSpPr>
            <p:spPr>
              <a:xfrm>
                <a:off x="6265075" y="1701539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33" name="Gráfico 32">
              <a:extLst>
                <a:ext uri="{FF2B5EF4-FFF2-40B4-BE49-F238E27FC236}">
                  <a16:creationId xmlns:a16="http://schemas.microsoft.com/office/drawing/2014/main" id="{AA221430-18A1-BC35-BABD-83AD74D26CFF}"/>
                </a:ext>
              </a:extLst>
            </p:cNvPr>
            <p:cNvGrpSpPr/>
            <p:nvPr/>
          </p:nvGrpSpPr>
          <p:grpSpPr>
            <a:xfrm>
              <a:off x="6191625" y="1357908"/>
              <a:ext cx="173767" cy="157112"/>
              <a:chOff x="6191625" y="1357908"/>
              <a:chExt cx="173767" cy="157112"/>
            </a:xfrm>
            <a:noFill/>
          </p:grpSpPr>
          <p:sp>
            <p:nvSpPr>
              <p:cNvPr id="138" name="Forma livre: Forma 137">
                <a:extLst>
                  <a:ext uri="{FF2B5EF4-FFF2-40B4-BE49-F238E27FC236}">
                    <a16:creationId xmlns:a16="http://schemas.microsoft.com/office/drawing/2014/main" id="{4B8F3802-D09C-57DA-5B17-D171FEC5A5E8}"/>
                  </a:ext>
                </a:extLst>
              </p:cNvPr>
              <p:cNvSpPr/>
              <p:nvPr/>
            </p:nvSpPr>
            <p:spPr>
              <a:xfrm>
                <a:off x="6310094" y="1437472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0 h 55298"/>
                  <a:gd name="connsiteX2" fmla="*/ 0 w 55298"/>
                  <a:gd name="connsiteY2" fmla="*/ 27649 h 55298"/>
                  <a:gd name="connsiteX3" fmla="*/ 27649 w 55298"/>
                  <a:gd name="connsiteY3" fmla="*/ 55298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12361"/>
                      <a:pt x="42938" y="0"/>
                      <a:pt x="27649" y="0"/>
                    </a:cubicBezTo>
                    <a:cubicBezTo>
                      <a:pt x="12361" y="0"/>
                      <a:pt x="0" y="12361"/>
                      <a:pt x="0" y="27649"/>
                    </a:cubicBezTo>
                    <a:cubicBezTo>
                      <a:pt x="0" y="42938"/>
                      <a:pt x="12361" y="55298"/>
                      <a:pt x="27649" y="55298"/>
                    </a:cubicBezTo>
                    <a:cubicBezTo>
                      <a:pt x="42938" y="55298"/>
                      <a:pt x="55298" y="42938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39" name="Forma livre: Forma 138">
                <a:extLst>
                  <a:ext uri="{FF2B5EF4-FFF2-40B4-BE49-F238E27FC236}">
                    <a16:creationId xmlns:a16="http://schemas.microsoft.com/office/drawing/2014/main" id="{3642984D-167A-A447-7FA3-09906C500DAA}"/>
                  </a:ext>
                </a:extLst>
              </p:cNvPr>
              <p:cNvSpPr/>
              <p:nvPr/>
            </p:nvSpPr>
            <p:spPr>
              <a:xfrm>
                <a:off x="6191625" y="1465122"/>
                <a:ext cx="118468" cy="49898"/>
              </a:xfrm>
              <a:custGeom>
                <a:avLst/>
                <a:gdLst>
                  <a:gd name="connsiteX0" fmla="*/ 0 w 118468"/>
                  <a:gd name="connsiteY0" fmla="*/ 49899 h 49898"/>
                  <a:gd name="connsiteX1" fmla="*/ 37343 w 118468"/>
                  <a:gd name="connsiteY1" fmla="*/ 49899 h 49898"/>
                  <a:gd name="connsiteX2" fmla="*/ 87176 w 118468"/>
                  <a:gd name="connsiteY2" fmla="*/ 0 h 49898"/>
                  <a:gd name="connsiteX3" fmla="*/ 118469 w 118468"/>
                  <a:gd name="connsiteY3" fmla="*/ 0 h 49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8468" h="49898">
                    <a:moveTo>
                      <a:pt x="0" y="49899"/>
                    </a:moveTo>
                    <a:lnTo>
                      <a:pt x="37343" y="49899"/>
                    </a:lnTo>
                    <a:lnTo>
                      <a:pt x="87176" y="0"/>
                    </a:lnTo>
                    <a:lnTo>
                      <a:pt x="118469" y="0"/>
                    </a:lnTo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40" name="Forma livre: Forma 139">
                <a:extLst>
                  <a:ext uri="{FF2B5EF4-FFF2-40B4-BE49-F238E27FC236}">
                    <a16:creationId xmlns:a16="http://schemas.microsoft.com/office/drawing/2014/main" id="{ABC03866-7C6D-9AA4-0FDD-2612582E131E}"/>
                  </a:ext>
                </a:extLst>
              </p:cNvPr>
              <p:cNvSpPr/>
              <p:nvPr/>
            </p:nvSpPr>
            <p:spPr>
              <a:xfrm>
                <a:off x="6191625" y="1405269"/>
                <a:ext cx="81451" cy="44043"/>
              </a:xfrm>
              <a:custGeom>
                <a:avLst/>
                <a:gdLst>
                  <a:gd name="connsiteX0" fmla="*/ 0 w 81451"/>
                  <a:gd name="connsiteY0" fmla="*/ 44044 h 44043"/>
                  <a:gd name="connsiteX1" fmla="*/ 37343 w 81451"/>
                  <a:gd name="connsiteY1" fmla="*/ 44044 h 44043"/>
                  <a:gd name="connsiteX2" fmla="*/ 81451 w 81451"/>
                  <a:gd name="connsiteY2" fmla="*/ 0 h 440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1451" h="44043">
                    <a:moveTo>
                      <a:pt x="0" y="44044"/>
                    </a:moveTo>
                    <a:lnTo>
                      <a:pt x="37343" y="44044"/>
                    </a:lnTo>
                    <a:lnTo>
                      <a:pt x="81451" y="0"/>
                    </a:lnTo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41" name="Forma livre: Forma 140">
                <a:extLst>
                  <a:ext uri="{FF2B5EF4-FFF2-40B4-BE49-F238E27FC236}">
                    <a16:creationId xmlns:a16="http://schemas.microsoft.com/office/drawing/2014/main" id="{78135FCD-599C-D007-277E-6D0BBE21FFD9}"/>
                  </a:ext>
                </a:extLst>
              </p:cNvPr>
              <p:cNvSpPr/>
              <p:nvPr/>
            </p:nvSpPr>
            <p:spPr>
              <a:xfrm>
                <a:off x="6265075" y="1357908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0 h 55298"/>
                  <a:gd name="connsiteX2" fmla="*/ 0 w 55298"/>
                  <a:gd name="connsiteY2" fmla="*/ 27649 h 55298"/>
                  <a:gd name="connsiteX3" fmla="*/ 27649 w 55298"/>
                  <a:gd name="connsiteY3" fmla="*/ 55298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12361"/>
                      <a:pt x="42938" y="0"/>
                      <a:pt x="27649" y="0"/>
                    </a:cubicBezTo>
                    <a:cubicBezTo>
                      <a:pt x="12361" y="0"/>
                      <a:pt x="0" y="12361"/>
                      <a:pt x="0" y="27649"/>
                    </a:cubicBezTo>
                    <a:cubicBezTo>
                      <a:pt x="0" y="42938"/>
                      <a:pt x="12361" y="55298"/>
                      <a:pt x="27649" y="55298"/>
                    </a:cubicBezTo>
                    <a:cubicBezTo>
                      <a:pt x="42938" y="55298"/>
                      <a:pt x="55298" y="42938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34" name="Gráfico 32">
              <a:extLst>
                <a:ext uri="{FF2B5EF4-FFF2-40B4-BE49-F238E27FC236}">
                  <a16:creationId xmlns:a16="http://schemas.microsoft.com/office/drawing/2014/main" id="{8ABFC6D5-1427-A78D-BFFE-C75BFE5E7EA1}"/>
                </a:ext>
              </a:extLst>
            </p:cNvPr>
            <p:cNvGrpSpPr/>
            <p:nvPr/>
          </p:nvGrpSpPr>
          <p:grpSpPr>
            <a:xfrm>
              <a:off x="6190910" y="1529723"/>
              <a:ext cx="123673" cy="55298"/>
              <a:chOff x="6190910" y="1529723"/>
              <a:chExt cx="123673" cy="55298"/>
            </a:xfrm>
            <a:noFill/>
          </p:grpSpPr>
          <p:sp>
            <p:nvSpPr>
              <p:cNvPr id="136" name="Forma livre: Forma 135">
                <a:extLst>
                  <a:ext uri="{FF2B5EF4-FFF2-40B4-BE49-F238E27FC236}">
                    <a16:creationId xmlns:a16="http://schemas.microsoft.com/office/drawing/2014/main" id="{C102E981-DA2E-47D5-8C6A-CB5F598A756D}"/>
                  </a:ext>
                </a:extLst>
              </p:cNvPr>
              <p:cNvSpPr/>
              <p:nvPr/>
            </p:nvSpPr>
            <p:spPr>
              <a:xfrm>
                <a:off x="6190910" y="1557372"/>
                <a:ext cx="68765" cy="6505"/>
              </a:xfrm>
              <a:custGeom>
                <a:avLst/>
                <a:gdLst>
                  <a:gd name="connsiteX0" fmla="*/ 0 w 68765"/>
                  <a:gd name="connsiteY0" fmla="*/ 0 h 6505"/>
                  <a:gd name="connsiteX1" fmla="*/ 68765 w 68765"/>
                  <a:gd name="connsiteY1" fmla="*/ 0 h 65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8765" h="6505">
                    <a:moveTo>
                      <a:pt x="0" y="0"/>
                    </a:moveTo>
                    <a:lnTo>
                      <a:pt x="68765" y="0"/>
                    </a:lnTo>
                  </a:path>
                </a:pathLst>
              </a:custGeom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37" name="Forma livre: Forma 136">
                <a:extLst>
                  <a:ext uri="{FF2B5EF4-FFF2-40B4-BE49-F238E27FC236}">
                    <a16:creationId xmlns:a16="http://schemas.microsoft.com/office/drawing/2014/main" id="{E0D30E2F-B2E2-1053-2D2A-303E59C689D0}"/>
                  </a:ext>
                </a:extLst>
              </p:cNvPr>
              <p:cNvSpPr/>
              <p:nvPr/>
            </p:nvSpPr>
            <p:spPr>
              <a:xfrm>
                <a:off x="6259285" y="1529723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35" name="Forma livre: Forma 134">
              <a:extLst>
                <a:ext uri="{FF2B5EF4-FFF2-40B4-BE49-F238E27FC236}">
                  <a16:creationId xmlns:a16="http://schemas.microsoft.com/office/drawing/2014/main" id="{007A728C-F611-CA27-07B1-7C98CA2DC65A}"/>
                </a:ext>
              </a:extLst>
            </p:cNvPr>
            <p:cNvSpPr/>
            <p:nvPr/>
          </p:nvSpPr>
          <p:spPr>
            <a:xfrm>
              <a:off x="6152201" y="1686285"/>
              <a:ext cx="37362" cy="20848"/>
            </a:xfrm>
            <a:custGeom>
              <a:avLst/>
              <a:gdLst>
                <a:gd name="connsiteX0" fmla="*/ 0 w 37362"/>
                <a:gd name="connsiteY0" fmla="*/ 10505 h 20848"/>
                <a:gd name="connsiteX1" fmla="*/ 27064 w 37362"/>
                <a:gd name="connsiteY1" fmla="*/ 2373 h 20848"/>
                <a:gd name="connsiteX2" fmla="*/ 37343 w 37362"/>
                <a:gd name="connsiteY2" fmla="*/ 20849 h 20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7362" h="20848">
                  <a:moveTo>
                    <a:pt x="0" y="10505"/>
                  </a:moveTo>
                  <a:cubicBezTo>
                    <a:pt x="5205" y="811"/>
                    <a:pt x="17435" y="-2832"/>
                    <a:pt x="27064" y="2373"/>
                  </a:cubicBezTo>
                  <a:cubicBezTo>
                    <a:pt x="34025" y="6081"/>
                    <a:pt x="37668" y="13432"/>
                    <a:pt x="37343" y="20849"/>
                  </a:cubicBezTo>
                </a:path>
              </a:pathLst>
            </a:custGeom>
            <a:noFill/>
            <a:ln w="19050" cap="sq">
              <a:solidFill>
                <a:srgbClr val="00FF94"/>
              </a:solidFill>
              <a:prstDash val="solid"/>
              <a:miter lim="800000"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52" name="Agrupar 151">
            <a:extLst>
              <a:ext uri="{FF2B5EF4-FFF2-40B4-BE49-F238E27FC236}">
                <a16:creationId xmlns:a16="http://schemas.microsoft.com/office/drawing/2014/main" id="{898F21CB-A833-D04F-4849-B54B4A669500}"/>
              </a:ext>
            </a:extLst>
          </p:cNvPr>
          <p:cNvGrpSpPr/>
          <p:nvPr/>
        </p:nvGrpSpPr>
        <p:grpSpPr>
          <a:xfrm>
            <a:off x="7279641" y="2602274"/>
            <a:ext cx="325297" cy="355243"/>
            <a:chOff x="6000092" y="1357908"/>
            <a:chExt cx="365300" cy="398929"/>
          </a:xfrm>
        </p:grpSpPr>
        <p:sp>
          <p:nvSpPr>
            <p:cNvPr id="153" name="Forma livre: Forma 152">
              <a:extLst>
                <a:ext uri="{FF2B5EF4-FFF2-40B4-BE49-F238E27FC236}">
                  <a16:creationId xmlns:a16="http://schemas.microsoft.com/office/drawing/2014/main" id="{B926F9B3-E8DF-146F-1166-79B7C710F98E}"/>
                </a:ext>
              </a:extLst>
            </p:cNvPr>
            <p:cNvSpPr/>
            <p:nvPr/>
          </p:nvSpPr>
          <p:spPr>
            <a:xfrm>
              <a:off x="6000092" y="1418606"/>
              <a:ext cx="84058" cy="286120"/>
            </a:xfrm>
            <a:custGeom>
              <a:avLst/>
              <a:gdLst>
                <a:gd name="connsiteX0" fmla="*/ 51595 w 84058"/>
                <a:gd name="connsiteY0" fmla="*/ 0 h 286120"/>
                <a:gd name="connsiteX1" fmla="*/ 35266 w 84058"/>
                <a:gd name="connsiteY1" fmla="*/ 61674 h 286120"/>
                <a:gd name="connsiteX2" fmla="*/ 28760 w 84058"/>
                <a:gd name="connsiteY2" fmla="*/ 193415 h 286120"/>
                <a:gd name="connsiteX3" fmla="*/ 84059 w 84058"/>
                <a:gd name="connsiteY3" fmla="*/ 286121 h 2861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4058" h="286120">
                  <a:moveTo>
                    <a:pt x="51595" y="0"/>
                  </a:moveTo>
                  <a:cubicBezTo>
                    <a:pt x="37868" y="7872"/>
                    <a:pt x="26028" y="24852"/>
                    <a:pt x="35266" y="61674"/>
                  </a:cubicBezTo>
                  <a:cubicBezTo>
                    <a:pt x="35266" y="61674"/>
                    <a:pt x="-39549" y="126731"/>
                    <a:pt x="28760" y="193415"/>
                  </a:cubicBezTo>
                  <a:cubicBezTo>
                    <a:pt x="28760" y="193415"/>
                    <a:pt x="9243" y="281242"/>
                    <a:pt x="84059" y="286121"/>
                  </a:cubicBezTo>
                </a:path>
              </a:pathLst>
            </a:custGeom>
            <a:noFill/>
            <a:ln w="19050" cap="sq">
              <a:solidFill>
                <a:srgbClr val="00FF94"/>
              </a:solidFill>
              <a:prstDash val="solid"/>
              <a:miter lim="800000"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54" name="Gráfico 32">
              <a:extLst>
                <a:ext uri="{FF2B5EF4-FFF2-40B4-BE49-F238E27FC236}">
                  <a16:creationId xmlns:a16="http://schemas.microsoft.com/office/drawing/2014/main" id="{B7A71EF5-56F5-289A-6AE3-1334F71BB712}"/>
                </a:ext>
              </a:extLst>
            </p:cNvPr>
            <p:cNvGrpSpPr/>
            <p:nvPr/>
          </p:nvGrpSpPr>
          <p:grpSpPr>
            <a:xfrm>
              <a:off x="6061121" y="1359924"/>
              <a:ext cx="128487" cy="396366"/>
              <a:chOff x="6061121" y="1359924"/>
              <a:chExt cx="128487" cy="396366"/>
            </a:xfrm>
            <a:noFill/>
          </p:grpSpPr>
          <p:sp>
            <p:nvSpPr>
              <p:cNvPr id="169" name="Forma livre: Forma 168">
                <a:extLst>
                  <a:ext uri="{FF2B5EF4-FFF2-40B4-BE49-F238E27FC236}">
                    <a16:creationId xmlns:a16="http://schemas.microsoft.com/office/drawing/2014/main" id="{051543C2-99B4-83F3-82CF-3F822085C048}"/>
                  </a:ext>
                </a:extLst>
              </p:cNvPr>
              <p:cNvSpPr/>
              <p:nvPr/>
            </p:nvSpPr>
            <p:spPr>
              <a:xfrm>
                <a:off x="6083891" y="1359924"/>
                <a:ext cx="105717" cy="396366"/>
              </a:xfrm>
              <a:custGeom>
                <a:avLst/>
                <a:gdLst>
                  <a:gd name="connsiteX0" fmla="*/ 52891 w 105717"/>
                  <a:gd name="connsiteY0" fmla="*/ 105718 h 396366"/>
                  <a:gd name="connsiteX1" fmla="*/ 0 w 105717"/>
                  <a:gd name="connsiteY1" fmla="*/ 52891 h 396366"/>
                  <a:gd name="connsiteX2" fmla="*/ 52891 w 105717"/>
                  <a:gd name="connsiteY2" fmla="*/ 0 h 396366"/>
                  <a:gd name="connsiteX3" fmla="*/ 105718 w 105717"/>
                  <a:gd name="connsiteY3" fmla="*/ 52826 h 396366"/>
                  <a:gd name="connsiteX4" fmla="*/ 105718 w 105717"/>
                  <a:gd name="connsiteY4" fmla="*/ 346884 h 396366"/>
                  <a:gd name="connsiteX5" fmla="*/ 80606 w 105717"/>
                  <a:gd name="connsiteY5" fmla="*/ 388911 h 396366"/>
                  <a:gd name="connsiteX6" fmla="*/ 9238 w 105717"/>
                  <a:gd name="connsiteY6" fmla="*/ 371150 h 396366"/>
                  <a:gd name="connsiteX7" fmla="*/ 15484 w 105717"/>
                  <a:gd name="connsiteY7" fmla="*/ 309216 h 396366"/>
                  <a:gd name="connsiteX8" fmla="*/ 45019 w 105717"/>
                  <a:gd name="connsiteY8" fmla="*/ 277078 h 3963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05717" h="396366">
                    <a:moveTo>
                      <a:pt x="52891" y="105718"/>
                    </a:moveTo>
                    <a:cubicBezTo>
                      <a:pt x="23681" y="105718"/>
                      <a:pt x="0" y="82037"/>
                      <a:pt x="0" y="52891"/>
                    </a:cubicBezTo>
                    <a:cubicBezTo>
                      <a:pt x="0" y="23746"/>
                      <a:pt x="23681" y="0"/>
                      <a:pt x="52891" y="0"/>
                    </a:cubicBezTo>
                    <a:cubicBezTo>
                      <a:pt x="82102" y="0"/>
                      <a:pt x="105718" y="23681"/>
                      <a:pt x="105718" y="52826"/>
                    </a:cubicBezTo>
                    <a:lnTo>
                      <a:pt x="105718" y="346884"/>
                    </a:lnTo>
                    <a:cubicBezTo>
                      <a:pt x="105718" y="364580"/>
                      <a:pt x="96414" y="379413"/>
                      <a:pt x="80606" y="388911"/>
                    </a:cubicBezTo>
                    <a:cubicBezTo>
                      <a:pt x="55949" y="403744"/>
                      <a:pt x="24006" y="395742"/>
                      <a:pt x="9238" y="371150"/>
                    </a:cubicBezTo>
                    <a:cubicBezTo>
                      <a:pt x="-2928" y="350918"/>
                      <a:pt x="260" y="325741"/>
                      <a:pt x="15484" y="309216"/>
                    </a:cubicBezTo>
                    <a:lnTo>
                      <a:pt x="45019" y="277078"/>
                    </a:lnTo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70" name="Forma livre: Forma 169">
                <a:extLst>
                  <a:ext uri="{FF2B5EF4-FFF2-40B4-BE49-F238E27FC236}">
                    <a16:creationId xmlns:a16="http://schemas.microsoft.com/office/drawing/2014/main" id="{8F3B30D1-178A-F731-2F5F-BD91A7B8CEDE}"/>
                  </a:ext>
                </a:extLst>
              </p:cNvPr>
              <p:cNvSpPr/>
              <p:nvPr/>
            </p:nvSpPr>
            <p:spPr>
              <a:xfrm>
                <a:off x="6144784" y="1383865"/>
                <a:ext cx="41563" cy="38963"/>
              </a:xfrm>
              <a:custGeom>
                <a:avLst/>
                <a:gdLst>
                  <a:gd name="connsiteX0" fmla="*/ 36172 w 41563"/>
                  <a:gd name="connsiteY0" fmla="*/ 0 h 38963"/>
                  <a:gd name="connsiteX1" fmla="*/ 39425 w 41563"/>
                  <a:gd name="connsiteY1" fmla="*/ 24266 h 38963"/>
                  <a:gd name="connsiteX2" fmla="*/ 36432 w 41563"/>
                  <a:gd name="connsiteY2" fmla="*/ 29080 h 38963"/>
                  <a:gd name="connsiteX3" fmla="*/ 0 w 41563"/>
                  <a:gd name="connsiteY3" fmla="*/ 33439 h 389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563" h="38963">
                    <a:moveTo>
                      <a:pt x="36172" y="0"/>
                    </a:moveTo>
                    <a:cubicBezTo>
                      <a:pt x="41571" y="7547"/>
                      <a:pt x="43393" y="16004"/>
                      <a:pt x="39425" y="24266"/>
                    </a:cubicBezTo>
                    <a:cubicBezTo>
                      <a:pt x="38644" y="25893"/>
                      <a:pt x="37603" y="27519"/>
                      <a:pt x="36432" y="29080"/>
                    </a:cubicBezTo>
                    <a:cubicBezTo>
                      <a:pt x="27584" y="40270"/>
                      <a:pt x="11190" y="42287"/>
                      <a:pt x="0" y="33439"/>
                    </a:cubicBezTo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71" name="Forma livre: Forma 170">
                <a:extLst>
                  <a:ext uri="{FF2B5EF4-FFF2-40B4-BE49-F238E27FC236}">
                    <a16:creationId xmlns:a16="http://schemas.microsoft.com/office/drawing/2014/main" id="{B3E463A0-E478-01AE-201A-EA1F1223D4CB}"/>
                  </a:ext>
                </a:extLst>
              </p:cNvPr>
              <p:cNvSpPr/>
              <p:nvPr/>
            </p:nvSpPr>
            <p:spPr>
              <a:xfrm>
                <a:off x="6081487" y="1460806"/>
                <a:ext cx="34217" cy="54474"/>
              </a:xfrm>
              <a:custGeom>
                <a:avLst/>
                <a:gdLst>
                  <a:gd name="connsiteX0" fmla="*/ 21076 w 34217"/>
                  <a:gd name="connsiteY0" fmla="*/ 54475 h 54474"/>
                  <a:gd name="connsiteX1" fmla="*/ 778 w 34217"/>
                  <a:gd name="connsiteY1" fmla="*/ 21035 h 54474"/>
                  <a:gd name="connsiteX2" fmla="*/ 34217 w 34217"/>
                  <a:gd name="connsiteY2" fmla="*/ 803 h 544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4217" h="54474">
                    <a:moveTo>
                      <a:pt x="21076" y="54475"/>
                    </a:moveTo>
                    <a:cubicBezTo>
                      <a:pt x="6308" y="50832"/>
                      <a:pt x="-2800" y="35803"/>
                      <a:pt x="778" y="21035"/>
                    </a:cubicBezTo>
                    <a:cubicBezTo>
                      <a:pt x="4421" y="6267"/>
                      <a:pt x="19449" y="-2841"/>
                      <a:pt x="34217" y="803"/>
                    </a:cubicBezTo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72" name="Forma livre: Forma 171">
                <a:extLst>
                  <a:ext uri="{FF2B5EF4-FFF2-40B4-BE49-F238E27FC236}">
                    <a16:creationId xmlns:a16="http://schemas.microsoft.com/office/drawing/2014/main" id="{3866FEA6-7538-1D6B-6980-8F7CF1972D50}"/>
                  </a:ext>
                </a:extLst>
              </p:cNvPr>
              <p:cNvSpPr/>
              <p:nvPr/>
            </p:nvSpPr>
            <p:spPr>
              <a:xfrm>
                <a:off x="6073547" y="1527543"/>
                <a:ext cx="114760" cy="72506"/>
              </a:xfrm>
              <a:custGeom>
                <a:avLst/>
                <a:gdLst>
                  <a:gd name="connsiteX0" fmla="*/ 114760 w 114760"/>
                  <a:gd name="connsiteY0" fmla="*/ 7254 h 72506"/>
                  <a:gd name="connsiteX1" fmla="*/ 73905 w 114760"/>
                  <a:gd name="connsiteY1" fmla="*/ 8881 h 72506"/>
                  <a:gd name="connsiteX2" fmla="*/ 0 w 114760"/>
                  <a:gd name="connsiteY2" fmla="*/ 72506 h 725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14760" h="72506">
                    <a:moveTo>
                      <a:pt x="114760" y="7254"/>
                    </a:moveTo>
                    <a:cubicBezTo>
                      <a:pt x="103375" y="-2830"/>
                      <a:pt x="83989" y="-2504"/>
                      <a:pt x="73905" y="8881"/>
                    </a:cubicBezTo>
                    <a:cubicBezTo>
                      <a:pt x="73905" y="8881"/>
                      <a:pt x="31488" y="72506"/>
                      <a:pt x="0" y="72506"/>
                    </a:cubicBezTo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73" name="Forma livre: Forma 172">
                <a:extLst>
                  <a:ext uri="{FF2B5EF4-FFF2-40B4-BE49-F238E27FC236}">
                    <a16:creationId xmlns:a16="http://schemas.microsoft.com/office/drawing/2014/main" id="{E72A103A-3B3F-9B24-EFC9-A8A889E32A14}"/>
                  </a:ext>
                </a:extLst>
              </p:cNvPr>
              <p:cNvSpPr/>
              <p:nvPr/>
            </p:nvSpPr>
            <p:spPr>
              <a:xfrm>
                <a:off x="6079857" y="1646956"/>
                <a:ext cx="29405" cy="9823"/>
              </a:xfrm>
              <a:custGeom>
                <a:avLst/>
                <a:gdLst>
                  <a:gd name="connsiteX0" fmla="*/ 0 w 29405"/>
                  <a:gd name="connsiteY0" fmla="*/ 0 h 9823"/>
                  <a:gd name="connsiteX1" fmla="*/ 29406 w 29405"/>
                  <a:gd name="connsiteY1" fmla="*/ 9824 h 98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9405" h="9823">
                    <a:moveTo>
                      <a:pt x="0" y="0"/>
                    </a:moveTo>
                    <a:lnTo>
                      <a:pt x="29406" y="9824"/>
                    </a:lnTo>
                  </a:path>
                </a:pathLst>
              </a:custGeom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74" name="Forma livre: Forma 173">
                <a:extLst>
                  <a:ext uri="{FF2B5EF4-FFF2-40B4-BE49-F238E27FC236}">
                    <a16:creationId xmlns:a16="http://schemas.microsoft.com/office/drawing/2014/main" id="{5A59C372-A9B9-6F04-0179-A8437AC418DE}"/>
                  </a:ext>
                </a:extLst>
              </p:cNvPr>
              <p:cNvSpPr/>
              <p:nvPr/>
            </p:nvSpPr>
            <p:spPr>
              <a:xfrm>
                <a:off x="6061121" y="1545272"/>
                <a:ext cx="47166" cy="34154"/>
              </a:xfrm>
              <a:custGeom>
                <a:avLst/>
                <a:gdLst>
                  <a:gd name="connsiteX0" fmla="*/ 0 w 47166"/>
                  <a:gd name="connsiteY0" fmla="*/ 0 h 34154"/>
                  <a:gd name="connsiteX1" fmla="*/ 47166 w 47166"/>
                  <a:gd name="connsiteY1" fmla="*/ 34155 h 341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166" h="34154">
                    <a:moveTo>
                      <a:pt x="0" y="0"/>
                    </a:moveTo>
                    <a:cubicBezTo>
                      <a:pt x="0" y="0"/>
                      <a:pt x="27649" y="13011"/>
                      <a:pt x="47166" y="34155"/>
                    </a:cubicBezTo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55" name="Gráfico 32">
              <a:extLst>
                <a:ext uri="{FF2B5EF4-FFF2-40B4-BE49-F238E27FC236}">
                  <a16:creationId xmlns:a16="http://schemas.microsoft.com/office/drawing/2014/main" id="{791C5809-ACBC-EF61-D05B-5607A016C1CF}"/>
                </a:ext>
              </a:extLst>
            </p:cNvPr>
            <p:cNvGrpSpPr/>
            <p:nvPr/>
          </p:nvGrpSpPr>
          <p:grpSpPr>
            <a:xfrm>
              <a:off x="6191625" y="1599725"/>
              <a:ext cx="173767" cy="157112"/>
              <a:chOff x="6191625" y="1599725"/>
              <a:chExt cx="173767" cy="157112"/>
            </a:xfrm>
            <a:noFill/>
          </p:grpSpPr>
          <p:sp>
            <p:nvSpPr>
              <p:cNvPr id="165" name="Forma livre: Forma 164">
                <a:extLst>
                  <a:ext uri="{FF2B5EF4-FFF2-40B4-BE49-F238E27FC236}">
                    <a16:creationId xmlns:a16="http://schemas.microsoft.com/office/drawing/2014/main" id="{9F8B1F34-0DD5-4E08-01A9-3E046F3D8246}"/>
                  </a:ext>
                </a:extLst>
              </p:cNvPr>
              <p:cNvSpPr/>
              <p:nvPr/>
            </p:nvSpPr>
            <p:spPr>
              <a:xfrm>
                <a:off x="6310094" y="1621974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66" name="Forma livre: Forma 165">
                <a:extLst>
                  <a:ext uri="{FF2B5EF4-FFF2-40B4-BE49-F238E27FC236}">
                    <a16:creationId xmlns:a16="http://schemas.microsoft.com/office/drawing/2014/main" id="{403E6568-706B-275A-C3D5-5A44D1BA53B6}"/>
                  </a:ext>
                </a:extLst>
              </p:cNvPr>
              <p:cNvSpPr/>
              <p:nvPr/>
            </p:nvSpPr>
            <p:spPr>
              <a:xfrm>
                <a:off x="6191625" y="1599725"/>
                <a:ext cx="118078" cy="49898"/>
              </a:xfrm>
              <a:custGeom>
                <a:avLst/>
                <a:gdLst>
                  <a:gd name="connsiteX0" fmla="*/ 0 w 118078"/>
                  <a:gd name="connsiteY0" fmla="*/ 0 h 49898"/>
                  <a:gd name="connsiteX1" fmla="*/ 37343 w 118078"/>
                  <a:gd name="connsiteY1" fmla="*/ 0 h 49898"/>
                  <a:gd name="connsiteX2" fmla="*/ 87176 w 118078"/>
                  <a:gd name="connsiteY2" fmla="*/ 49899 h 49898"/>
                  <a:gd name="connsiteX3" fmla="*/ 118078 w 118078"/>
                  <a:gd name="connsiteY3" fmla="*/ 49899 h 49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8078" h="49898">
                    <a:moveTo>
                      <a:pt x="0" y="0"/>
                    </a:moveTo>
                    <a:lnTo>
                      <a:pt x="37343" y="0"/>
                    </a:lnTo>
                    <a:lnTo>
                      <a:pt x="87176" y="49899"/>
                    </a:lnTo>
                    <a:lnTo>
                      <a:pt x="118078" y="49899"/>
                    </a:lnTo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67" name="Forma livre: Forma 166">
                <a:extLst>
                  <a:ext uri="{FF2B5EF4-FFF2-40B4-BE49-F238E27FC236}">
                    <a16:creationId xmlns:a16="http://schemas.microsoft.com/office/drawing/2014/main" id="{C49C09A2-BC82-22CE-C238-BA95A64C2003}"/>
                  </a:ext>
                </a:extLst>
              </p:cNvPr>
              <p:cNvSpPr/>
              <p:nvPr/>
            </p:nvSpPr>
            <p:spPr>
              <a:xfrm>
                <a:off x="6191625" y="1665367"/>
                <a:ext cx="81906" cy="44108"/>
              </a:xfrm>
              <a:custGeom>
                <a:avLst/>
                <a:gdLst>
                  <a:gd name="connsiteX0" fmla="*/ 0 w 81906"/>
                  <a:gd name="connsiteY0" fmla="*/ 0 h 44108"/>
                  <a:gd name="connsiteX1" fmla="*/ 37343 w 81906"/>
                  <a:gd name="connsiteY1" fmla="*/ 0 h 44108"/>
                  <a:gd name="connsiteX2" fmla="*/ 81907 w 81906"/>
                  <a:gd name="connsiteY2" fmla="*/ 44109 h 441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1906" h="44108">
                    <a:moveTo>
                      <a:pt x="0" y="0"/>
                    </a:moveTo>
                    <a:lnTo>
                      <a:pt x="37343" y="0"/>
                    </a:lnTo>
                    <a:lnTo>
                      <a:pt x="81907" y="44109"/>
                    </a:lnTo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68" name="Forma livre: Forma 167">
                <a:extLst>
                  <a:ext uri="{FF2B5EF4-FFF2-40B4-BE49-F238E27FC236}">
                    <a16:creationId xmlns:a16="http://schemas.microsoft.com/office/drawing/2014/main" id="{2B98570F-EBA6-D4D7-61D2-ADA345A3372F}"/>
                  </a:ext>
                </a:extLst>
              </p:cNvPr>
              <p:cNvSpPr/>
              <p:nvPr/>
            </p:nvSpPr>
            <p:spPr>
              <a:xfrm>
                <a:off x="6265075" y="1701539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56" name="Gráfico 32">
              <a:extLst>
                <a:ext uri="{FF2B5EF4-FFF2-40B4-BE49-F238E27FC236}">
                  <a16:creationId xmlns:a16="http://schemas.microsoft.com/office/drawing/2014/main" id="{4254C381-D921-059D-A6F2-124B794B4AE3}"/>
                </a:ext>
              </a:extLst>
            </p:cNvPr>
            <p:cNvGrpSpPr/>
            <p:nvPr/>
          </p:nvGrpSpPr>
          <p:grpSpPr>
            <a:xfrm>
              <a:off x="6191625" y="1357908"/>
              <a:ext cx="173767" cy="157112"/>
              <a:chOff x="6191625" y="1357908"/>
              <a:chExt cx="173767" cy="157112"/>
            </a:xfrm>
            <a:noFill/>
          </p:grpSpPr>
          <p:sp>
            <p:nvSpPr>
              <p:cNvPr id="161" name="Forma livre: Forma 160">
                <a:extLst>
                  <a:ext uri="{FF2B5EF4-FFF2-40B4-BE49-F238E27FC236}">
                    <a16:creationId xmlns:a16="http://schemas.microsoft.com/office/drawing/2014/main" id="{B92958E0-F916-B038-619E-7F356A13A3D4}"/>
                  </a:ext>
                </a:extLst>
              </p:cNvPr>
              <p:cNvSpPr/>
              <p:nvPr/>
            </p:nvSpPr>
            <p:spPr>
              <a:xfrm>
                <a:off x="6310094" y="1437472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0 h 55298"/>
                  <a:gd name="connsiteX2" fmla="*/ 0 w 55298"/>
                  <a:gd name="connsiteY2" fmla="*/ 27649 h 55298"/>
                  <a:gd name="connsiteX3" fmla="*/ 27649 w 55298"/>
                  <a:gd name="connsiteY3" fmla="*/ 55298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12361"/>
                      <a:pt x="42938" y="0"/>
                      <a:pt x="27649" y="0"/>
                    </a:cubicBezTo>
                    <a:cubicBezTo>
                      <a:pt x="12361" y="0"/>
                      <a:pt x="0" y="12361"/>
                      <a:pt x="0" y="27649"/>
                    </a:cubicBezTo>
                    <a:cubicBezTo>
                      <a:pt x="0" y="42938"/>
                      <a:pt x="12361" y="55298"/>
                      <a:pt x="27649" y="55298"/>
                    </a:cubicBezTo>
                    <a:cubicBezTo>
                      <a:pt x="42938" y="55298"/>
                      <a:pt x="55298" y="42938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62" name="Forma livre: Forma 161">
                <a:extLst>
                  <a:ext uri="{FF2B5EF4-FFF2-40B4-BE49-F238E27FC236}">
                    <a16:creationId xmlns:a16="http://schemas.microsoft.com/office/drawing/2014/main" id="{DA1721F4-4B2E-9E8D-4C0D-470A1323263D}"/>
                  </a:ext>
                </a:extLst>
              </p:cNvPr>
              <p:cNvSpPr/>
              <p:nvPr/>
            </p:nvSpPr>
            <p:spPr>
              <a:xfrm>
                <a:off x="6191625" y="1465122"/>
                <a:ext cx="118468" cy="49898"/>
              </a:xfrm>
              <a:custGeom>
                <a:avLst/>
                <a:gdLst>
                  <a:gd name="connsiteX0" fmla="*/ 0 w 118468"/>
                  <a:gd name="connsiteY0" fmla="*/ 49899 h 49898"/>
                  <a:gd name="connsiteX1" fmla="*/ 37343 w 118468"/>
                  <a:gd name="connsiteY1" fmla="*/ 49899 h 49898"/>
                  <a:gd name="connsiteX2" fmla="*/ 87176 w 118468"/>
                  <a:gd name="connsiteY2" fmla="*/ 0 h 49898"/>
                  <a:gd name="connsiteX3" fmla="*/ 118469 w 118468"/>
                  <a:gd name="connsiteY3" fmla="*/ 0 h 49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8468" h="49898">
                    <a:moveTo>
                      <a:pt x="0" y="49899"/>
                    </a:moveTo>
                    <a:lnTo>
                      <a:pt x="37343" y="49899"/>
                    </a:lnTo>
                    <a:lnTo>
                      <a:pt x="87176" y="0"/>
                    </a:lnTo>
                    <a:lnTo>
                      <a:pt x="118469" y="0"/>
                    </a:lnTo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63" name="Forma livre: Forma 162">
                <a:extLst>
                  <a:ext uri="{FF2B5EF4-FFF2-40B4-BE49-F238E27FC236}">
                    <a16:creationId xmlns:a16="http://schemas.microsoft.com/office/drawing/2014/main" id="{795CFE48-ED3C-F589-ACA0-AAC857D8F936}"/>
                  </a:ext>
                </a:extLst>
              </p:cNvPr>
              <p:cNvSpPr/>
              <p:nvPr/>
            </p:nvSpPr>
            <p:spPr>
              <a:xfrm>
                <a:off x="6191625" y="1405269"/>
                <a:ext cx="81451" cy="44043"/>
              </a:xfrm>
              <a:custGeom>
                <a:avLst/>
                <a:gdLst>
                  <a:gd name="connsiteX0" fmla="*/ 0 w 81451"/>
                  <a:gd name="connsiteY0" fmla="*/ 44044 h 44043"/>
                  <a:gd name="connsiteX1" fmla="*/ 37343 w 81451"/>
                  <a:gd name="connsiteY1" fmla="*/ 44044 h 44043"/>
                  <a:gd name="connsiteX2" fmla="*/ 81451 w 81451"/>
                  <a:gd name="connsiteY2" fmla="*/ 0 h 440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1451" h="44043">
                    <a:moveTo>
                      <a:pt x="0" y="44044"/>
                    </a:moveTo>
                    <a:lnTo>
                      <a:pt x="37343" y="44044"/>
                    </a:lnTo>
                    <a:lnTo>
                      <a:pt x="81451" y="0"/>
                    </a:lnTo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64" name="Forma livre: Forma 163">
                <a:extLst>
                  <a:ext uri="{FF2B5EF4-FFF2-40B4-BE49-F238E27FC236}">
                    <a16:creationId xmlns:a16="http://schemas.microsoft.com/office/drawing/2014/main" id="{B951616A-F8D8-2503-0A2C-77A513634997}"/>
                  </a:ext>
                </a:extLst>
              </p:cNvPr>
              <p:cNvSpPr/>
              <p:nvPr/>
            </p:nvSpPr>
            <p:spPr>
              <a:xfrm>
                <a:off x="6265075" y="1357908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0 h 55298"/>
                  <a:gd name="connsiteX2" fmla="*/ 0 w 55298"/>
                  <a:gd name="connsiteY2" fmla="*/ 27649 h 55298"/>
                  <a:gd name="connsiteX3" fmla="*/ 27649 w 55298"/>
                  <a:gd name="connsiteY3" fmla="*/ 55298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12361"/>
                      <a:pt x="42938" y="0"/>
                      <a:pt x="27649" y="0"/>
                    </a:cubicBezTo>
                    <a:cubicBezTo>
                      <a:pt x="12361" y="0"/>
                      <a:pt x="0" y="12361"/>
                      <a:pt x="0" y="27649"/>
                    </a:cubicBezTo>
                    <a:cubicBezTo>
                      <a:pt x="0" y="42938"/>
                      <a:pt x="12361" y="55298"/>
                      <a:pt x="27649" y="55298"/>
                    </a:cubicBezTo>
                    <a:cubicBezTo>
                      <a:pt x="42938" y="55298"/>
                      <a:pt x="55298" y="42938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57" name="Gráfico 32">
              <a:extLst>
                <a:ext uri="{FF2B5EF4-FFF2-40B4-BE49-F238E27FC236}">
                  <a16:creationId xmlns:a16="http://schemas.microsoft.com/office/drawing/2014/main" id="{1833F43F-29B5-8E34-8BC5-2D31F651B7B0}"/>
                </a:ext>
              </a:extLst>
            </p:cNvPr>
            <p:cNvGrpSpPr/>
            <p:nvPr/>
          </p:nvGrpSpPr>
          <p:grpSpPr>
            <a:xfrm>
              <a:off x="6190910" y="1529723"/>
              <a:ext cx="123673" cy="55298"/>
              <a:chOff x="6190910" y="1529723"/>
              <a:chExt cx="123673" cy="55298"/>
            </a:xfrm>
            <a:noFill/>
          </p:grpSpPr>
          <p:sp>
            <p:nvSpPr>
              <p:cNvPr id="159" name="Forma livre: Forma 158">
                <a:extLst>
                  <a:ext uri="{FF2B5EF4-FFF2-40B4-BE49-F238E27FC236}">
                    <a16:creationId xmlns:a16="http://schemas.microsoft.com/office/drawing/2014/main" id="{40CED43A-3972-87BF-9CA3-AA0E6A2CABE8}"/>
                  </a:ext>
                </a:extLst>
              </p:cNvPr>
              <p:cNvSpPr/>
              <p:nvPr/>
            </p:nvSpPr>
            <p:spPr>
              <a:xfrm>
                <a:off x="6190910" y="1557372"/>
                <a:ext cx="68765" cy="6505"/>
              </a:xfrm>
              <a:custGeom>
                <a:avLst/>
                <a:gdLst>
                  <a:gd name="connsiteX0" fmla="*/ 0 w 68765"/>
                  <a:gd name="connsiteY0" fmla="*/ 0 h 6505"/>
                  <a:gd name="connsiteX1" fmla="*/ 68765 w 68765"/>
                  <a:gd name="connsiteY1" fmla="*/ 0 h 65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8765" h="6505">
                    <a:moveTo>
                      <a:pt x="0" y="0"/>
                    </a:moveTo>
                    <a:lnTo>
                      <a:pt x="68765" y="0"/>
                    </a:lnTo>
                  </a:path>
                </a:pathLst>
              </a:custGeom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60" name="Forma livre: Forma 159">
                <a:extLst>
                  <a:ext uri="{FF2B5EF4-FFF2-40B4-BE49-F238E27FC236}">
                    <a16:creationId xmlns:a16="http://schemas.microsoft.com/office/drawing/2014/main" id="{C42BC4FD-ED61-1122-67F0-4E75753C8E73}"/>
                  </a:ext>
                </a:extLst>
              </p:cNvPr>
              <p:cNvSpPr/>
              <p:nvPr/>
            </p:nvSpPr>
            <p:spPr>
              <a:xfrm>
                <a:off x="6259285" y="1529723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58" name="Forma livre: Forma 157">
              <a:extLst>
                <a:ext uri="{FF2B5EF4-FFF2-40B4-BE49-F238E27FC236}">
                  <a16:creationId xmlns:a16="http://schemas.microsoft.com/office/drawing/2014/main" id="{3DD7ECB7-7E53-8097-FD06-1A024F2FF143}"/>
                </a:ext>
              </a:extLst>
            </p:cNvPr>
            <p:cNvSpPr/>
            <p:nvPr/>
          </p:nvSpPr>
          <p:spPr>
            <a:xfrm>
              <a:off x="6152201" y="1686285"/>
              <a:ext cx="37362" cy="20848"/>
            </a:xfrm>
            <a:custGeom>
              <a:avLst/>
              <a:gdLst>
                <a:gd name="connsiteX0" fmla="*/ 0 w 37362"/>
                <a:gd name="connsiteY0" fmla="*/ 10505 h 20848"/>
                <a:gd name="connsiteX1" fmla="*/ 27064 w 37362"/>
                <a:gd name="connsiteY1" fmla="*/ 2373 h 20848"/>
                <a:gd name="connsiteX2" fmla="*/ 37343 w 37362"/>
                <a:gd name="connsiteY2" fmla="*/ 20849 h 20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7362" h="20848">
                  <a:moveTo>
                    <a:pt x="0" y="10505"/>
                  </a:moveTo>
                  <a:cubicBezTo>
                    <a:pt x="5205" y="811"/>
                    <a:pt x="17435" y="-2832"/>
                    <a:pt x="27064" y="2373"/>
                  </a:cubicBezTo>
                  <a:cubicBezTo>
                    <a:pt x="34025" y="6081"/>
                    <a:pt x="37668" y="13432"/>
                    <a:pt x="37343" y="20849"/>
                  </a:cubicBezTo>
                </a:path>
              </a:pathLst>
            </a:custGeom>
            <a:noFill/>
            <a:ln w="19050" cap="sq">
              <a:solidFill>
                <a:srgbClr val="00FF94"/>
              </a:solidFill>
              <a:prstDash val="solid"/>
              <a:miter lim="800000"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75" name="Agrupar 174">
            <a:extLst>
              <a:ext uri="{FF2B5EF4-FFF2-40B4-BE49-F238E27FC236}">
                <a16:creationId xmlns:a16="http://schemas.microsoft.com/office/drawing/2014/main" id="{9B049355-2FFD-551D-1EFB-FAF5617EBBF7}"/>
              </a:ext>
            </a:extLst>
          </p:cNvPr>
          <p:cNvGrpSpPr/>
          <p:nvPr/>
        </p:nvGrpSpPr>
        <p:grpSpPr>
          <a:xfrm>
            <a:off x="9232517" y="2602274"/>
            <a:ext cx="325297" cy="355243"/>
            <a:chOff x="6000092" y="1357908"/>
            <a:chExt cx="365300" cy="398929"/>
          </a:xfrm>
        </p:grpSpPr>
        <p:sp>
          <p:nvSpPr>
            <p:cNvPr id="176" name="Forma livre: Forma 175">
              <a:extLst>
                <a:ext uri="{FF2B5EF4-FFF2-40B4-BE49-F238E27FC236}">
                  <a16:creationId xmlns:a16="http://schemas.microsoft.com/office/drawing/2014/main" id="{2EF25507-C3BF-0D3C-06DB-A1D61781D4F2}"/>
                </a:ext>
              </a:extLst>
            </p:cNvPr>
            <p:cNvSpPr/>
            <p:nvPr/>
          </p:nvSpPr>
          <p:spPr>
            <a:xfrm>
              <a:off x="6000092" y="1418606"/>
              <a:ext cx="84058" cy="286120"/>
            </a:xfrm>
            <a:custGeom>
              <a:avLst/>
              <a:gdLst>
                <a:gd name="connsiteX0" fmla="*/ 51595 w 84058"/>
                <a:gd name="connsiteY0" fmla="*/ 0 h 286120"/>
                <a:gd name="connsiteX1" fmla="*/ 35266 w 84058"/>
                <a:gd name="connsiteY1" fmla="*/ 61674 h 286120"/>
                <a:gd name="connsiteX2" fmla="*/ 28760 w 84058"/>
                <a:gd name="connsiteY2" fmla="*/ 193415 h 286120"/>
                <a:gd name="connsiteX3" fmla="*/ 84059 w 84058"/>
                <a:gd name="connsiteY3" fmla="*/ 286121 h 2861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4058" h="286120">
                  <a:moveTo>
                    <a:pt x="51595" y="0"/>
                  </a:moveTo>
                  <a:cubicBezTo>
                    <a:pt x="37868" y="7872"/>
                    <a:pt x="26028" y="24852"/>
                    <a:pt x="35266" y="61674"/>
                  </a:cubicBezTo>
                  <a:cubicBezTo>
                    <a:pt x="35266" y="61674"/>
                    <a:pt x="-39549" y="126731"/>
                    <a:pt x="28760" y="193415"/>
                  </a:cubicBezTo>
                  <a:cubicBezTo>
                    <a:pt x="28760" y="193415"/>
                    <a:pt x="9243" y="281242"/>
                    <a:pt x="84059" y="286121"/>
                  </a:cubicBezTo>
                </a:path>
              </a:pathLst>
            </a:custGeom>
            <a:noFill/>
            <a:ln w="19050" cap="sq">
              <a:solidFill>
                <a:srgbClr val="00FF94"/>
              </a:solidFill>
              <a:prstDash val="solid"/>
              <a:miter lim="800000"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77" name="Gráfico 32">
              <a:extLst>
                <a:ext uri="{FF2B5EF4-FFF2-40B4-BE49-F238E27FC236}">
                  <a16:creationId xmlns:a16="http://schemas.microsoft.com/office/drawing/2014/main" id="{3835B2CA-05BD-EBE3-3159-467C8BCA42A4}"/>
                </a:ext>
              </a:extLst>
            </p:cNvPr>
            <p:cNvGrpSpPr/>
            <p:nvPr/>
          </p:nvGrpSpPr>
          <p:grpSpPr>
            <a:xfrm>
              <a:off x="6061121" y="1359924"/>
              <a:ext cx="128487" cy="396366"/>
              <a:chOff x="6061121" y="1359924"/>
              <a:chExt cx="128487" cy="396366"/>
            </a:xfrm>
            <a:noFill/>
          </p:grpSpPr>
          <p:sp>
            <p:nvSpPr>
              <p:cNvPr id="192" name="Forma livre: Forma 191">
                <a:extLst>
                  <a:ext uri="{FF2B5EF4-FFF2-40B4-BE49-F238E27FC236}">
                    <a16:creationId xmlns:a16="http://schemas.microsoft.com/office/drawing/2014/main" id="{6796523D-C7B1-0621-4411-1FB4A34639CD}"/>
                  </a:ext>
                </a:extLst>
              </p:cNvPr>
              <p:cNvSpPr/>
              <p:nvPr/>
            </p:nvSpPr>
            <p:spPr>
              <a:xfrm>
                <a:off x="6083891" y="1359924"/>
                <a:ext cx="105717" cy="396366"/>
              </a:xfrm>
              <a:custGeom>
                <a:avLst/>
                <a:gdLst>
                  <a:gd name="connsiteX0" fmla="*/ 52891 w 105717"/>
                  <a:gd name="connsiteY0" fmla="*/ 105718 h 396366"/>
                  <a:gd name="connsiteX1" fmla="*/ 0 w 105717"/>
                  <a:gd name="connsiteY1" fmla="*/ 52891 h 396366"/>
                  <a:gd name="connsiteX2" fmla="*/ 52891 w 105717"/>
                  <a:gd name="connsiteY2" fmla="*/ 0 h 396366"/>
                  <a:gd name="connsiteX3" fmla="*/ 105718 w 105717"/>
                  <a:gd name="connsiteY3" fmla="*/ 52826 h 396366"/>
                  <a:gd name="connsiteX4" fmla="*/ 105718 w 105717"/>
                  <a:gd name="connsiteY4" fmla="*/ 346884 h 396366"/>
                  <a:gd name="connsiteX5" fmla="*/ 80606 w 105717"/>
                  <a:gd name="connsiteY5" fmla="*/ 388911 h 396366"/>
                  <a:gd name="connsiteX6" fmla="*/ 9238 w 105717"/>
                  <a:gd name="connsiteY6" fmla="*/ 371150 h 396366"/>
                  <a:gd name="connsiteX7" fmla="*/ 15484 w 105717"/>
                  <a:gd name="connsiteY7" fmla="*/ 309216 h 396366"/>
                  <a:gd name="connsiteX8" fmla="*/ 45019 w 105717"/>
                  <a:gd name="connsiteY8" fmla="*/ 277078 h 3963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05717" h="396366">
                    <a:moveTo>
                      <a:pt x="52891" y="105718"/>
                    </a:moveTo>
                    <a:cubicBezTo>
                      <a:pt x="23681" y="105718"/>
                      <a:pt x="0" y="82037"/>
                      <a:pt x="0" y="52891"/>
                    </a:cubicBezTo>
                    <a:cubicBezTo>
                      <a:pt x="0" y="23746"/>
                      <a:pt x="23681" y="0"/>
                      <a:pt x="52891" y="0"/>
                    </a:cubicBezTo>
                    <a:cubicBezTo>
                      <a:pt x="82102" y="0"/>
                      <a:pt x="105718" y="23681"/>
                      <a:pt x="105718" y="52826"/>
                    </a:cubicBezTo>
                    <a:lnTo>
                      <a:pt x="105718" y="346884"/>
                    </a:lnTo>
                    <a:cubicBezTo>
                      <a:pt x="105718" y="364580"/>
                      <a:pt x="96414" y="379413"/>
                      <a:pt x="80606" y="388911"/>
                    </a:cubicBezTo>
                    <a:cubicBezTo>
                      <a:pt x="55949" y="403744"/>
                      <a:pt x="24006" y="395742"/>
                      <a:pt x="9238" y="371150"/>
                    </a:cubicBezTo>
                    <a:cubicBezTo>
                      <a:pt x="-2928" y="350918"/>
                      <a:pt x="260" y="325741"/>
                      <a:pt x="15484" y="309216"/>
                    </a:cubicBezTo>
                    <a:lnTo>
                      <a:pt x="45019" y="277078"/>
                    </a:lnTo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93" name="Forma livre: Forma 192">
                <a:extLst>
                  <a:ext uri="{FF2B5EF4-FFF2-40B4-BE49-F238E27FC236}">
                    <a16:creationId xmlns:a16="http://schemas.microsoft.com/office/drawing/2014/main" id="{69C3111E-1A27-6C3A-860C-41435D19BA8F}"/>
                  </a:ext>
                </a:extLst>
              </p:cNvPr>
              <p:cNvSpPr/>
              <p:nvPr/>
            </p:nvSpPr>
            <p:spPr>
              <a:xfrm>
                <a:off x="6144784" y="1383865"/>
                <a:ext cx="41563" cy="38963"/>
              </a:xfrm>
              <a:custGeom>
                <a:avLst/>
                <a:gdLst>
                  <a:gd name="connsiteX0" fmla="*/ 36172 w 41563"/>
                  <a:gd name="connsiteY0" fmla="*/ 0 h 38963"/>
                  <a:gd name="connsiteX1" fmla="*/ 39425 w 41563"/>
                  <a:gd name="connsiteY1" fmla="*/ 24266 h 38963"/>
                  <a:gd name="connsiteX2" fmla="*/ 36432 w 41563"/>
                  <a:gd name="connsiteY2" fmla="*/ 29080 h 38963"/>
                  <a:gd name="connsiteX3" fmla="*/ 0 w 41563"/>
                  <a:gd name="connsiteY3" fmla="*/ 33439 h 389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563" h="38963">
                    <a:moveTo>
                      <a:pt x="36172" y="0"/>
                    </a:moveTo>
                    <a:cubicBezTo>
                      <a:pt x="41571" y="7547"/>
                      <a:pt x="43393" y="16004"/>
                      <a:pt x="39425" y="24266"/>
                    </a:cubicBezTo>
                    <a:cubicBezTo>
                      <a:pt x="38644" y="25893"/>
                      <a:pt x="37603" y="27519"/>
                      <a:pt x="36432" y="29080"/>
                    </a:cubicBezTo>
                    <a:cubicBezTo>
                      <a:pt x="27584" y="40270"/>
                      <a:pt x="11190" y="42287"/>
                      <a:pt x="0" y="33439"/>
                    </a:cubicBezTo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94" name="Forma livre: Forma 193">
                <a:extLst>
                  <a:ext uri="{FF2B5EF4-FFF2-40B4-BE49-F238E27FC236}">
                    <a16:creationId xmlns:a16="http://schemas.microsoft.com/office/drawing/2014/main" id="{AE3227C9-5CD2-FB67-D197-FFBA2C602611}"/>
                  </a:ext>
                </a:extLst>
              </p:cNvPr>
              <p:cNvSpPr/>
              <p:nvPr/>
            </p:nvSpPr>
            <p:spPr>
              <a:xfrm>
                <a:off x="6081487" y="1460806"/>
                <a:ext cx="34217" cy="54474"/>
              </a:xfrm>
              <a:custGeom>
                <a:avLst/>
                <a:gdLst>
                  <a:gd name="connsiteX0" fmla="*/ 21076 w 34217"/>
                  <a:gd name="connsiteY0" fmla="*/ 54475 h 54474"/>
                  <a:gd name="connsiteX1" fmla="*/ 778 w 34217"/>
                  <a:gd name="connsiteY1" fmla="*/ 21035 h 54474"/>
                  <a:gd name="connsiteX2" fmla="*/ 34217 w 34217"/>
                  <a:gd name="connsiteY2" fmla="*/ 803 h 544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4217" h="54474">
                    <a:moveTo>
                      <a:pt x="21076" y="54475"/>
                    </a:moveTo>
                    <a:cubicBezTo>
                      <a:pt x="6308" y="50832"/>
                      <a:pt x="-2800" y="35803"/>
                      <a:pt x="778" y="21035"/>
                    </a:cubicBezTo>
                    <a:cubicBezTo>
                      <a:pt x="4421" y="6267"/>
                      <a:pt x="19449" y="-2841"/>
                      <a:pt x="34217" y="803"/>
                    </a:cubicBezTo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95" name="Forma livre: Forma 194">
                <a:extLst>
                  <a:ext uri="{FF2B5EF4-FFF2-40B4-BE49-F238E27FC236}">
                    <a16:creationId xmlns:a16="http://schemas.microsoft.com/office/drawing/2014/main" id="{FEF634CC-6839-16D7-C86B-ABD281DD91E8}"/>
                  </a:ext>
                </a:extLst>
              </p:cNvPr>
              <p:cNvSpPr/>
              <p:nvPr/>
            </p:nvSpPr>
            <p:spPr>
              <a:xfrm>
                <a:off x="6073547" y="1527543"/>
                <a:ext cx="114760" cy="72506"/>
              </a:xfrm>
              <a:custGeom>
                <a:avLst/>
                <a:gdLst>
                  <a:gd name="connsiteX0" fmla="*/ 114760 w 114760"/>
                  <a:gd name="connsiteY0" fmla="*/ 7254 h 72506"/>
                  <a:gd name="connsiteX1" fmla="*/ 73905 w 114760"/>
                  <a:gd name="connsiteY1" fmla="*/ 8881 h 72506"/>
                  <a:gd name="connsiteX2" fmla="*/ 0 w 114760"/>
                  <a:gd name="connsiteY2" fmla="*/ 72506 h 725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14760" h="72506">
                    <a:moveTo>
                      <a:pt x="114760" y="7254"/>
                    </a:moveTo>
                    <a:cubicBezTo>
                      <a:pt x="103375" y="-2830"/>
                      <a:pt x="83989" y="-2504"/>
                      <a:pt x="73905" y="8881"/>
                    </a:cubicBezTo>
                    <a:cubicBezTo>
                      <a:pt x="73905" y="8881"/>
                      <a:pt x="31488" y="72506"/>
                      <a:pt x="0" y="72506"/>
                    </a:cubicBezTo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96" name="Forma livre: Forma 195">
                <a:extLst>
                  <a:ext uri="{FF2B5EF4-FFF2-40B4-BE49-F238E27FC236}">
                    <a16:creationId xmlns:a16="http://schemas.microsoft.com/office/drawing/2014/main" id="{7AD801BF-E97A-5158-B01B-0E97924CCE11}"/>
                  </a:ext>
                </a:extLst>
              </p:cNvPr>
              <p:cNvSpPr/>
              <p:nvPr/>
            </p:nvSpPr>
            <p:spPr>
              <a:xfrm>
                <a:off x="6079857" y="1646956"/>
                <a:ext cx="29405" cy="9823"/>
              </a:xfrm>
              <a:custGeom>
                <a:avLst/>
                <a:gdLst>
                  <a:gd name="connsiteX0" fmla="*/ 0 w 29405"/>
                  <a:gd name="connsiteY0" fmla="*/ 0 h 9823"/>
                  <a:gd name="connsiteX1" fmla="*/ 29406 w 29405"/>
                  <a:gd name="connsiteY1" fmla="*/ 9824 h 98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9405" h="9823">
                    <a:moveTo>
                      <a:pt x="0" y="0"/>
                    </a:moveTo>
                    <a:lnTo>
                      <a:pt x="29406" y="9824"/>
                    </a:lnTo>
                  </a:path>
                </a:pathLst>
              </a:custGeom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97" name="Forma livre: Forma 196">
                <a:extLst>
                  <a:ext uri="{FF2B5EF4-FFF2-40B4-BE49-F238E27FC236}">
                    <a16:creationId xmlns:a16="http://schemas.microsoft.com/office/drawing/2014/main" id="{8FFB8353-60C2-72F5-8B80-B9F63214F28D}"/>
                  </a:ext>
                </a:extLst>
              </p:cNvPr>
              <p:cNvSpPr/>
              <p:nvPr/>
            </p:nvSpPr>
            <p:spPr>
              <a:xfrm>
                <a:off x="6061121" y="1545272"/>
                <a:ext cx="47166" cy="34154"/>
              </a:xfrm>
              <a:custGeom>
                <a:avLst/>
                <a:gdLst>
                  <a:gd name="connsiteX0" fmla="*/ 0 w 47166"/>
                  <a:gd name="connsiteY0" fmla="*/ 0 h 34154"/>
                  <a:gd name="connsiteX1" fmla="*/ 47166 w 47166"/>
                  <a:gd name="connsiteY1" fmla="*/ 34155 h 341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166" h="34154">
                    <a:moveTo>
                      <a:pt x="0" y="0"/>
                    </a:moveTo>
                    <a:cubicBezTo>
                      <a:pt x="0" y="0"/>
                      <a:pt x="27649" y="13011"/>
                      <a:pt x="47166" y="34155"/>
                    </a:cubicBezTo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78" name="Gráfico 32">
              <a:extLst>
                <a:ext uri="{FF2B5EF4-FFF2-40B4-BE49-F238E27FC236}">
                  <a16:creationId xmlns:a16="http://schemas.microsoft.com/office/drawing/2014/main" id="{6E97FB07-B908-614B-154C-8E6DB8A91A0C}"/>
                </a:ext>
              </a:extLst>
            </p:cNvPr>
            <p:cNvGrpSpPr/>
            <p:nvPr/>
          </p:nvGrpSpPr>
          <p:grpSpPr>
            <a:xfrm>
              <a:off x="6191625" y="1599725"/>
              <a:ext cx="173767" cy="157112"/>
              <a:chOff x="6191625" y="1599725"/>
              <a:chExt cx="173767" cy="157112"/>
            </a:xfrm>
            <a:noFill/>
          </p:grpSpPr>
          <p:sp>
            <p:nvSpPr>
              <p:cNvPr id="188" name="Forma livre: Forma 187">
                <a:extLst>
                  <a:ext uri="{FF2B5EF4-FFF2-40B4-BE49-F238E27FC236}">
                    <a16:creationId xmlns:a16="http://schemas.microsoft.com/office/drawing/2014/main" id="{91008D8E-8A10-90D3-DEAF-129184FBCAB4}"/>
                  </a:ext>
                </a:extLst>
              </p:cNvPr>
              <p:cNvSpPr/>
              <p:nvPr/>
            </p:nvSpPr>
            <p:spPr>
              <a:xfrm>
                <a:off x="6310094" y="1621974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89" name="Forma livre: Forma 188">
                <a:extLst>
                  <a:ext uri="{FF2B5EF4-FFF2-40B4-BE49-F238E27FC236}">
                    <a16:creationId xmlns:a16="http://schemas.microsoft.com/office/drawing/2014/main" id="{9B0F58D4-C518-31E7-328A-1F2B01FDBABC}"/>
                  </a:ext>
                </a:extLst>
              </p:cNvPr>
              <p:cNvSpPr/>
              <p:nvPr/>
            </p:nvSpPr>
            <p:spPr>
              <a:xfrm>
                <a:off x="6191625" y="1599725"/>
                <a:ext cx="118078" cy="49898"/>
              </a:xfrm>
              <a:custGeom>
                <a:avLst/>
                <a:gdLst>
                  <a:gd name="connsiteX0" fmla="*/ 0 w 118078"/>
                  <a:gd name="connsiteY0" fmla="*/ 0 h 49898"/>
                  <a:gd name="connsiteX1" fmla="*/ 37343 w 118078"/>
                  <a:gd name="connsiteY1" fmla="*/ 0 h 49898"/>
                  <a:gd name="connsiteX2" fmla="*/ 87176 w 118078"/>
                  <a:gd name="connsiteY2" fmla="*/ 49899 h 49898"/>
                  <a:gd name="connsiteX3" fmla="*/ 118078 w 118078"/>
                  <a:gd name="connsiteY3" fmla="*/ 49899 h 49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8078" h="49898">
                    <a:moveTo>
                      <a:pt x="0" y="0"/>
                    </a:moveTo>
                    <a:lnTo>
                      <a:pt x="37343" y="0"/>
                    </a:lnTo>
                    <a:lnTo>
                      <a:pt x="87176" y="49899"/>
                    </a:lnTo>
                    <a:lnTo>
                      <a:pt x="118078" y="49899"/>
                    </a:lnTo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90" name="Forma livre: Forma 189">
                <a:extLst>
                  <a:ext uri="{FF2B5EF4-FFF2-40B4-BE49-F238E27FC236}">
                    <a16:creationId xmlns:a16="http://schemas.microsoft.com/office/drawing/2014/main" id="{DFB3D75E-F738-AA5F-7EBB-D3AA51FADF99}"/>
                  </a:ext>
                </a:extLst>
              </p:cNvPr>
              <p:cNvSpPr/>
              <p:nvPr/>
            </p:nvSpPr>
            <p:spPr>
              <a:xfrm>
                <a:off x="6191625" y="1665367"/>
                <a:ext cx="81906" cy="44108"/>
              </a:xfrm>
              <a:custGeom>
                <a:avLst/>
                <a:gdLst>
                  <a:gd name="connsiteX0" fmla="*/ 0 w 81906"/>
                  <a:gd name="connsiteY0" fmla="*/ 0 h 44108"/>
                  <a:gd name="connsiteX1" fmla="*/ 37343 w 81906"/>
                  <a:gd name="connsiteY1" fmla="*/ 0 h 44108"/>
                  <a:gd name="connsiteX2" fmla="*/ 81907 w 81906"/>
                  <a:gd name="connsiteY2" fmla="*/ 44109 h 441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1906" h="44108">
                    <a:moveTo>
                      <a:pt x="0" y="0"/>
                    </a:moveTo>
                    <a:lnTo>
                      <a:pt x="37343" y="0"/>
                    </a:lnTo>
                    <a:lnTo>
                      <a:pt x="81907" y="44109"/>
                    </a:lnTo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91" name="Forma livre: Forma 190">
                <a:extLst>
                  <a:ext uri="{FF2B5EF4-FFF2-40B4-BE49-F238E27FC236}">
                    <a16:creationId xmlns:a16="http://schemas.microsoft.com/office/drawing/2014/main" id="{F7EDCCCD-1715-FA01-A1FB-56991FAFFA6B}"/>
                  </a:ext>
                </a:extLst>
              </p:cNvPr>
              <p:cNvSpPr/>
              <p:nvPr/>
            </p:nvSpPr>
            <p:spPr>
              <a:xfrm>
                <a:off x="6265075" y="1701539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79" name="Gráfico 32">
              <a:extLst>
                <a:ext uri="{FF2B5EF4-FFF2-40B4-BE49-F238E27FC236}">
                  <a16:creationId xmlns:a16="http://schemas.microsoft.com/office/drawing/2014/main" id="{C724A70F-003F-711E-ED76-BBC0DE0771A5}"/>
                </a:ext>
              </a:extLst>
            </p:cNvPr>
            <p:cNvGrpSpPr/>
            <p:nvPr/>
          </p:nvGrpSpPr>
          <p:grpSpPr>
            <a:xfrm>
              <a:off x="6191625" y="1357908"/>
              <a:ext cx="173767" cy="157112"/>
              <a:chOff x="6191625" y="1357908"/>
              <a:chExt cx="173767" cy="157112"/>
            </a:xfrm>
            <a:noFill/>
          </p:grpSpPr>
          <p:sp>
            <p:nvSpPr>
              <p:cNvPr id="184" name="Forma livre: Forma 183">
                <a:extLst>
                  <a:ext uri="{FF2B5EF4-FFF2-40B4-BE49-F238E27FC236}">
                    <a16:creationId xmlns:a16="http://schemas.microsoft.com/office/drawing/2014/main" id="{1AA17EFA-0732-8D47-F3EA-0F5778B39DB6}"/>
                  </a:ext>
                </a:extLst>
              </p:cNvPr>
              <p:cNvSpPr/>
              <p:nvPr/>
            </p:nvSpPr>
            <p:spPr>
              <a:xfrm>
                <a:off x="6310094" y="1437472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0 h 55298"/>
                  <a:gd name="connsiteX2" fmla="*/ 0 w 55298"/>
                  <a:gd name="connsiteY2" fmla="*/ 27649 h 55298"/>
                  <a:gd name="connsiteX3" fmla="*/ 27649 w 55298"/>
                  <a:gd name="connsiteY3" fmla="*/ 55298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12361"/>
                      <a:pt x="42938" y="0"/>
                      <a:pt x="27649" y="0"/>
                    </a:cubicBezTo>
                    <a:cubicBezTo>
                      <a:pt x="12361" y="0"/>
                      <a:pt x="0" y="12361"/>
                      <a:pt x="0" y="27649"/>
                    </a:cubicBezTo>
                    <a:cubicBezTo>
                      <a:pt x="0" y="42938"/>
                      <a:pt x="12361" y="55298"/>
                      <a:pt x="27649" y="55298"/>
                    </a:cubicBezTo>
                    <a:cubicBezTo>
                      <a:pt x="42938" y="55298"/>
                      <a:pt x="55298" y="42938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85" name="Forma livre: Forma 184">
                <a:extLst>
                  <a:ext uri="{FF2B5EF4-FFF2-40B4-BE49-F238E27FC236}">
                    <a16:creationId xmlns:a16="http://schemas.microsoft.com/office/drawing/2014/main" id="{648BDF8C-0CCF-03E8-B904-AFF75741FB78}"/>
                  </a:ext>
                </a:extLst>
              </p:cNvPr>
              <p:cNvSpPr/>
              <p:nvPr/>
            </p:nvSpPr>
            <p:spPr>
              <a:xfrm>
                <a:off x="6191625" y="1465122"/>
                <a:ext cx="118468" cy="49898"/>
              </a:xfrm>
              <a:custGeom>
                <a:avLst/>
                <a:gdLst>
                  <a:gd name="connsiteX0" fmla="*/ 0 w 118468"/>
                  <a:gd name="connsiteY0" fmla="*/ 49899 h 49898"/>
                  <a:gd name="connsiteX1" fmla="*/ 37343 w 118468"/>
                  <a:gd name="connsiteY1" fmla="*/ 49899 h 49898"/>
                  <a:gd name="connsiteX2" fmla="*/ 87176 w 118468"/>
                  <a:gd name="connsiteY2" fmla="*/ 0 h 49898"/>
                  <a:gd name="connsiteX3" fmla="*/ 118469 w 118468"/>
                  <a:gd name="connsiteY3" fmla="*/ 0 h 49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8468" h="49898">
                    <a:moveTo>
                      <a:pt x="0" y="49899"/>
                    </a:moveTo>
                    <a:lnTo>
                      <a:pt x="37343" y="49899"/>
                    </a:lnTo>
                    <a:lnTo>
                      <a:pt x="87176" y="0"/>
                    </a:lnTo>
                    <a:lnTo>
                      <a:pt x="118469" y="0"/>
                    </a:lnTo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86" name="Forma livre: Forma 185">
                <a:extLst>
                  <a:ext uri="{FF2B5EF4-FFF2-40B4-BE49-F238E27FC236}">
                    <a16:creationId xmlns:a16="http://schemas.microsoft.com/office/drawing/2014/main" id="{AB7753CD-E104-DFAE-ED51-BAB1885938B0}"/>
                  </a:ext>
                </a:extLst>
              </p:cNvPr>
              <p:cNvSpPr/>
              <p:nvPr/>
            </p:nvSpPr>
            <p:spPr>
              <a:xfrm>
                <a:off x="6191625" y="1405269"/>
                <a:ext cx="81451" cy="44043"/>
              </a:xfrm>
              <a:custGeom>
                <a:avLst/>
                <a:gdLst>
                  <a:gd name="connsiteX0" fmla="*/ 0 w 81451"/>
                  <a:gd name="connsiteY0" fmla="*/ 44044 h 44043"/>
                  <a:gd name="connsiteX1" fmla="*/ 37343 w 81451"/>
                  <a:gd name="connsiteY1" fmla="*/ 44044 h 44043"/>
                  <a:gd name="connsiteX2" fmla="*/ 81451 w 81451"/>
                  <a:gd name="connsiteY2" fmla="*/ 0 h 440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1451" h="44043">
                    <a:moveTo>
                      <a:pt x="0" y="44044"/>
                    </a:moveTo>
                    <a:lnTo>
                      <a:pt x="37343" y="44044"/>
                    </a:lnTo>
                    <a:lnTo>
                      <a:pt x="81451" y="0"/>
                    </a:lnTo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87" name="Forma livre: Forma 186">
                <a:extLst>
                  <a:ext uri="{FF2B5EF4-FFF2-40B4-BE49-F238E27FC236}">
                    <a16:creationId xmlns:a16="http://schemas.microsoft.com/office/drawing/2014/main" id="{70C4AA83-4830-ED1C-BE71-2D542B1AA94F}"/>
                  </a:ext>
                </a:extLst>
              </p:cNvPr>
              <p:cNvSpPr/>
              <p:nvPr/>
            </p:nvSpPr>
            <p:spPr>
              <a:xfrm>
                <a:off x="6265075" y="1357908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0 h 55298"/>
                  <a:gd name="connsiteX2" fmla="*/ 0 w 55298"/>
                  <a:gd name="connsiteY2" fmla="*/ 27649 h 55298"/>
                  <a:gd name="connsiteX3" fmla="*/ 27649 w 55298"/>
                  <a:gd name="connsiteY3" fmla="*/ 55298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12361"/>
                      <a:pt x="42938" y="0"/>
                      <a:pt x="27649" y="0"/>
                    </a:cubicBezTo>
                    <a:cubicBezTo>
                      <a:pt x="12361" y="0"/>
                      <a:pt x="0" y="12361"/>
                      <a:pt x="0" y="27649"/>
                    </a:cubicBezTo>
                    <a:cubicBezTo>
                      <a:pt x="0" y="42938"/>
                      <a:pt x="12361" y="55298"/>
                      <a:pt x="27649" y="55298"/>
                    </a:cubicBezTo>
                    <a:cubicBezTo>
                      <a:pt x="42938" y="55298"/>
                      <a:pt x="55298" y="42938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80" name="Gráfico 32">
              <a:extLst>
                <a:ext uri="{FF2B5EF4-FFF2-40B4-BE49-F238E27FC236}">
                  <a16:creationId xmlns:a16="http://schemas.microsoft.com/office/drawing/2014/main" id="{93306AA6-ACC9-ABDE-D7C8-CA4B805E2F8A}"/>
                </a:ext>
              </a:extLst>
            </p:cNvPr>
            <p:cNvGrpSpPr/>
            <p:nvPr/>
          </p:nvGrpSpPr>
          <p:grpSpPr>
            <a:xfrm>
              <a:off x="6190910" y="1529723"/>
              <a:ext cx="123673" cy="55298"/>
              <a:chOff x="6190910" y="1529723"/>
              <a:chExt cx="123673" cy="55298"/>
            </a:xfrm>
            <a:noFill/>
          </p:grpSpPr>
          <p:sp>
            <p:nvSpPr>
              <p:cNvPr id="182" name="Forma livre: Forma 181">
                <a:extLst>
                  <a:ext uri="{FF2B5EF4-FFF2-40B4-BE49-F238E27FC236}">
                    <a16:creationId xmlns:a16="http://schemas.microsoft.com/office/drawing/2014/main" id="{CF9C555B-1B74-64E0-0E3F-02CCD9D218FC}"/>
                  </a:ext>
                </a:extLst>
              </p:cNvPr>
              <p:cNvSpPr/>
              <p:nvPr/>
            </p:nvSpPr>
            <p:spPr>
              <a:xfrm>
                <a:off x="6190910" y="1557372"/>
                <a:ext cx="68765" cy="6505"/>
              </a:xfrm>
              <a:custGeom>
                <a:avLst/>
                <a:gdLst>
                  <a:gd name="connsiteX0" fmla="*/ 0 w 68765"/>
                  <a:gd name="connsiteY0" fmla="*/ 0 h 6505"/>
                  <a:gd name="connsiteX1" fmla="*/ 68765 w 68765"/>
                  <a:gd name="connsiteY1" fmla="*/ 0 h 65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8765" h="6505">
                    <a:moveTo>
                      <a:pt x="0" y="0"/>
                    </a:moveTo>
                    <a:lnTo>
                      <a:pt x="68765" y="0"/>
                    </a:lnTo>
                  </a:path>
                </a:pathLst>
              </a:custGeom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83" name="Forma livre: Forma 182">
                <a:extLst>
                  <a:ext uri="{FF2B5EF4-FFF2-40B4-BE49-F238E27FC236}">
                    <a16:creationId xmlns:a16="http://schemas.microsoft.com/office/drawing/2014/main" id="{80D48943-E479-7CE8-8636-7A31EE77CA99}"/>
                  </a:ext>
                </a:extLst>
              </p:cNvPr>
              <p:cNvSpPr/>
              <p:nvPr/>
            </p:nvSpPr>
            <p:spPr>
              <a:xfrm>
                <a:off x="6259285" y="1529723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81" name="Forma livre: Forma 180">
              <a:extLst>
                <a:ext uri="{FF2B5EF4-FFF2-40B4-BE49-F238E27FC236}">
                  <a16:creationId xmlns:a16="http://schemas.microsoft.com/office/drawing/2014/main" id="{98202B6A-B9CB-7B7A-A4B8-029D2751B957}"/>
                </a:ext>
              </a:extLst>
            </p:cNvPr>
            <p:cNvSpPr/>
            <p:nvPr/>
          </p:nvSpPr>
          <p:spPr>
            <a:xfrm>
              <a:off x="6152201" y="1686285"/>
              <a:ext cx="37362" cy="20848"/>
            </a:xfrm>
            <a:custGeom>
              <a:avLst/>
              <a:gdLst>
                <a:gd name="connsiteX0" fmla="*/ 0 w 37362"/>
                <a:gd name="connsiteY0" fmla="*/ 10505 h 20848"/>
                <a:gd name="connsiteX1" fmla="*/ 27064 w 37362"/>
                <a:gd name="connsiteY1" fmla="*/ 2373 h 20848"/>
                <a:gd name="connsiteX2" fmla="*/ 37343 w 37362"/>
                <a:gd name="connsiteY2" fmla="*/ 20849 h 20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7362" h="20848">
                  <a:moveTo>
                    <a:pt x="0" y="10505"/>
                  </a:moveTo>
                  <a:cubicBezTo>
                    <a:pt x="5205" y="811"/>
                    <a:pt x="17435" y="-2832"/>
                    <a:pt x="27064" y="2373"/>
                  </a:cubicBezTo>
                  <a:cubicBezTo>
                    <a:pt x="34025" y="6081"/>
                    <a:pt x="37668" y="13432"/>
                    <a:pt x="37343" y="20849"/>
                  </a:cubicBezTo>
                </a:path>
              </a:pathLst>
            </a:custGeom>
            <a:noFill/>
            <a:ln w="19050" cap="sq">
              <a:solidFill>
                <a:srgbClr val="00FF94"/>
              </a:solidFill>
              <a:prstDash val="solid"/>
              <a:miter lim="800000"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98" name="Agrupar 197">
            <a:extLst>
              <a:ext uri="{FF2B5EF4-FFF2-40B4-BE49-F238E27FC236}">
                <a16:creationId xmlns:a16="http://schemas.microsoft.com/office/drawing/2014/main" id="{FC50FDF5-73A2-9793-61F1-966D940A6D9C}"/>
              </a:ext>
            </a:extLst>
          </p:cNvPr>
          <p:cNvGrpSpPr/>
          <p:nvPr/>
        </p:nvGrpSpPr>
        <p:grpSpPr>
          <a:xfrm>
            <a:off x="3777385" y="3384912"/>
            <a:ext cx="325297" cy="355243"/>
            <a:chOff x="6000092" y="1357908"/>
            <a:chExt cx="365300" cy="398929"/>
          </a:xfrm>
        </p:grpSpPr>
        <p:sp>
          <p:nvSpPr>
            <p:cNvPr id="199" name="Forma livre: Forma 198">
              <a:extLst>
                <a:ext uri="{FF2B5EF4-FFF2-40B4-BE49-F238E27FC236}">
                  <a16:creationId xmlns:a16="http://schemas.microsoft.com/office/drawing/2014/main" id="{AE9EF99E-2532-83A0-A34F-A281101BBD1B}"/>
                </a:ext>
              </a:extLst>
            </p:cNvPr>
            <p:cNvSpPr/>
            <p:nvPr/>
          </p:nvSpPr>
          <p:spPr>
            <a:xfrm>
              <a:off x="6000092" y="1418606"/>
              <a:ext cx="84058" cy="286120"/>
            </a:xfrm>
            <a:custGeom>
              <a:avLst/>
              <a:gdLst>
                <a:gd name="connsiteX0" fmla="*/ 51595 w 84058"/>
                <a:gd name="connsiteY0" fmla="*/ 0 h 286120"/>
                <a:gd name="connsiteX1" fmla="*/ 35266 w 84058"/>
                <a:gd name="connsiteY1" fmla="*/ 61674 h 286120"/>
                <a:gd name="connsiteX2" fmla="*/ 28760 w 84058"/>
                <a:gd name="connsiteY2" fmla="*/ 193415 h 286120"/>
                <a:gd name="connsiteX3" fmla="*/ 84059 w 84058"/>
                <a:gd name="connsiteY3" fmla="*/ 286121 h 2861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4058" h="286120">
                  <a:moveTo>
                    <a:pt x="51595" y="0"/>
                  </a:moveTo>
                  <a:cubicBezTo>
                    <a:pt x="37868" y="7872"/>
                    <a:pt x="26028" y="24852"/>
                    <a:pt x="35266" y="61674"/>
                  </a:cubicBezTo>
                  <a:cubicBezTo>
                    <a:pt x="35266" y="61674"/>
                    <a:pt x="-39549" y="126731"/>
                    <a:pt x="28760" y="193415"/>
                  </a:cubicBezTo>
                  <a:cubicBezTo>
                    <a:pt x="28760" y="193415"/>
                    <a:pt x="9243" y="281242"/>
                    <a:pt x="84059" y="286121"/>
                  </a:cubicBezTo>
                </a:path>
              </a:pathLst>
            </a:custGeom>
            <a:noFill/>
            <a:ln w="19050" cap="sq">
              <a:solidFill>
                <a:schemeClr val="bg1"/>
              </a:solidFill>
              <a:prstDash val="solid"/>
              <a:miter lim="800000"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200" name="Gráfico 32">
              <a:extLst>
                <a:ext uri="{FF2B5EF4-FFF2-40B4-BE49-F238E27FC236}">
                  <a16:creationId xmlns:a16="http://schemas.microsoft.com/office/drawing/2014/main" id="{B56DCA7A-EB43-ACFB-25CC-A8AF8E004656}"/>
                </a:ext>
              </a:extLst>
            </p:cNvPr>
            <p:cNvGrpSpPr/>
            <p:nvPr/>
          </p:nvGrpSpPr>
          <p:grpSpPr>
            <a:xfrm>
              <a:off x="6061121" y="1359924"/>
              <a:ext cx="128487" cy="396366"/>
              <a:chOff x="6061121" y="1359924"/>
              <a:chExt cx="128487" cy="396366"/>
            </a:xfrm>
            <a:noFill/>
          </p:grpSpPr>
          <p:sp>
            <p:nvSpPr>
              <p:cNvPr id="215" name="Forma livre: Forma 214">
                <a:extLst>
                  <a:ext uri="{FF2B5EF4-FFF2-40B4-BE49-F238E27FC236}">
                    <a16:creationId xmlns:a16="http://schemas.microsoft.com/office/drawing/2014/main" id="{2AAEE2E9-7A8A-33A0-F372-6D3778647C5D}"/>
                  </a:ext>
                </a:extLst>
              </p:cNvPr>
              <p:cNvSpPr/>
              <p:nvPr/>
            </p:nvSpPr>
            <p:spPr>
              <a:xfrm>
                <a:off x="6083891" y="1359924"/>
                <a:ext cx="105717" cy="396366"/>
              </a:xfrm>
              <a:custGeom>
                <a:avLst/>
                <a:gdLst>
                  <a:gd name="connsiteX0" fmla="*/ 52891 w 105717"/>
                  <a:gd name="connsiteY0" fmla="*/ 105718 h 396366"/>
                  <a:gd name="connsiteX1" fmla="*/ 0 w 105717"/>
                  <a:gd name="connsiteY1" fmla="*/ 52891 h 396366"/>
                  <a:gd name="connsiteX2" fmla="*/ 52891 w 105717"/>
                  <a:gd name="connsiteY2" fmla="*/ 0 h 396366"/>
                  <a:gd name="connsiteX3" fmla="*/ 105718 w 105717"/>
                  <a:gd name="connsiteY3" fmla="*/ 52826 h 396366"/>
                  <a:gd name="connsiteX4" fmla="*/ 105718 w 105717"/>
                  <a:gd name="connsiteY4" fmla="*/ 346884 h 396366"/>
                  <a:gd name="connsiteX5" fmla="*/ 80606 w 105717"/>
                  <a:gd name="connsiteY5" fmla="*/ 388911 h 396366"/>
                  <a:gd name="connsiteX6" fmla="*/ 9238 w 105717"/>
                  <a:gd name="connsiteY6" fmla="*/ 371150 h 396366"/>
                  <a:gd name="connsiteX7" fmla="*/ 15484 w 105717"/>
                  <a:gd name="connsiteY7" fmla="*/ 309216 h 396366"/>
                  <a:gd name="connsiteX8" fmla="*/ 45019 w 105717"/>
                  <a:gd name="connsiteY8" fmla="*/ 277078 h 3963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05717" h="396366">
                    <a:moveTo>
                      <a:pt x="52891" y="105718"/>
                    </a:moveTo>
                    <a:cubicBezTo>
                      <a:pt x="23681" y="105718"/>
                      <a:pt x="0" y="82037"/>
                      <a:pt x="0" y="52891"/>
                    </a:cubicBezTo>
                    <a:cubicBezTo>
                      <a:pt x="0" y="23746"/>
                      <a:pt x="23681" y="0"/>
                      <a:pt x="52891" y="0"/>
                    </a:cubicBezTo>
                    <a:cubicBezTo>
                      <a:pt x="82102" y="0"/>
                      <a:pt x="105718" y="23681"/>
                      <a:pt x="105718" y="52826"/>
                    </a:cubicBezTo>
                    <a:lnTo>
                      <a:pt x="105718" y="346884"/>
                    </a:lnTo>
                    <a:cubicBezTo>
                      <a:pt x="105718" y="364580"/>
                      <a:pt x="96414" y="379413"/>
                      <a:pt x="80606" y="388911"/>
                    </a:cubicBezTo>
                    <a:cubicBezTo>
                      <a:pt x="55949" y="403744"/>
                      <a:pt x="24006" y="395742"/>
                      <a:pt x="9238" y="371150"/>
                    </a:cubicBezTo>
                    <a:cubicBezTo>
                      <a:pt x="-2928" y="350918"/>
                      <a:pt x="260" y="325741"/>
                      <a:pt x="15484" y="309216"/>
                    </a:cubicBezTo>
                    <a:lnTo>
                      <a:pt x="45019" y="277078"/>
                    </a:lnTo>
                  </a:path>
                </a:pathLst>
              </a:custGeom>
              <a:noFill/>
              <a:ln w="19050" cap="sq">
                <a:solidFill>
                  <a:schemeClr val="bg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16" name="Forma livre: Forma 215">
                <a:extLst>
                  <a:ext uri="{FF2B5EF4-FFF2-40B4-BE49-F238E27FC236}">
                    <a16:creationId xmlns:a16="http://schemas.microsoft.com/office/drawing/2014/main" id="{5E2FCBFF-2F3B-0826-B564-661A2075FFC0}"/>
                  </a:ext>
                </a:extLst>
              </p:cNvPr>
              <p:cNvSpPr/>
              <p:nvPr/>
            </p:nvSpPr>
            <p:spPr>
              <a:xfrm>
                <a:off x="6144784" y="1383865"/>
                <a:ext cx="41563" cy="38963"/>
              </a:xfrm>
              <a:custGeom>
                <a:avLst/>
                <a:gdLst>
                  <a:gd name="connsiteX0" fmla="*/ 36172 w 41563"/>
                  <a:gd name="connsiteY0" fmla="*/ 0 h 38963"/>
                  <a:gd name="connsiteX1" fmla="*/ 39425 w 41563"/>
                  <a:gd name="connsiteY1" fmla="*/ 24266 h 38963"/>
                  <a:gd name="connsiteX2" fmla="*/ 36432 w 41563"/>
                  <a:gd name="connsiteY2" fmla="*/ 29080 h 38963"/>
                  <a:gd name="connsiteX3" fmla="*/ 0 w 41563"/>
                  <a:gd name="connsiteY3" fmla="*/ 33439 h 389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563" h="38963">
                    <a:moveTo>
                      <a:pt x="36172" y="0"/>
                    </a:moveTo>
                    <a:cubicBezTo>
                      <a:pt x="41571" y="7547"/>
                      <a:pt x="43393" y="16004"/>
                      <a:pt x="39425" y="24266"/>
                    </a:cubicBezTo>
                    <a:cubicBezTo>
                      <a:pt x="38644" y="25893"/>
                      <a:pt x="37603" y="27519"/>
                      <a:pt x="36432" y="29080"/>
                    </a:cubicBezTo>
                    <a:cubicBezTo>
                      <a:pt x="27584" y="40270"/>
                      <a:pt x="11190" y="42287"/>
                      <a:pt x="0" y="33439"/>
                    </a:cubicBezTo>
                  </a:path>
                </a:pathLst>
              </a:custGeom>
              <a:noFill/>
              <a:ln w="19050" cap="sq">
                <a:solidFill>
                  <a:schemeClr val="bg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17" name="Forma livre: Forma 216">
                <a:extLst>
                  <a:ext uri="{FF2B5EF4-FFF2-40B4-BE49-F238E27FC236}">
                    <a16:creationId xmlns:a16="http://schemas.microsoft.com/office/drawing/2014/main" id="{BA5DBD4D-5216-822D-68E2-AD57A05B06C8}"/>
                  </a:ext>
                </a:extLst>
              </p:cNvPr>
              <p:cNvSpPr/>
              <p:nvPr/>
            </p:nvSpPr>
            <p:spPr>
              <a:xfrm>
                <a:off x="6081487" y="1460806"/>
                <a:ext cx="34217" cy="54474"/>
              </a:xfrm>
              <a:custGeom>
                <a:avLst/>
                <a:gdLst>
                  <a:gd name="connsiteX0" fmla="*/ 21076 w 34217"/>
                  <a:gd name="connsiteY0" fmla="*/ 54475 h 54474"/>
                  <a:gd name="connsiteX1" fmla="*/ 778 w 34217"/>
                  <a:gd name="connsiteY1" fmla="*/ 21035 h 54474"/>
                  <a:gd name="connsiteX2" fmla="*/ 34217 w 34217"/>
                  <a:gd name="connsiteY2" fmla="*/ 803 h 544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4217" h="54474">
                    <a:moveTo>
                      <a:pt x="21076" y="54475"/>
                    </a:moveTo>
                    <a:cubicBezTo>
                      <a:pt x="6308" y="50832"/>
                      <a:pt x="-2800" y="35803"/>
                      <a:pt x="778" y="21035"/>
                    </a:cubicBezTo>
                    <a:cubicBezTo>
                      <a:pt x="4421" y="6267"/>
                      <a:pt x="19449" y="-2841"/>
                      <a:pt x="34217" y="803"/>
                    </a:cubicBezTo>
                  </a:path>
                </a:pathLst>
              </a:custGeom>
              <a:noFill/>
              <a:ln w="19050" cap="sq">
                <a:solidFill>
                  <a:schemeClr val="bg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18" name="Forma livre: Forma 217">
                <a:extLst>
                  <a:ext uri="{FF2B5EF4-FFF2-40B4-BE49-F238E27FC236}">
                    <a16:creationId xmlns:a16="http://schemas.microsoft.com/office/drawing/2014/main" id="{367A0379-2A3D-099F-82E5-2FAEC67D3551}"/>
                  </a:ext>
                </a:extLst>
              </p:cNvPr>
              <p:cNvSpPr/>
              <p:nvPr/>
            </p:nvSpPr>
            <p:spPr>
              <a:xfrm>
                <a:off x="6073547" y="1527543"/>
                <a:ext cx="114760" cy="72506"/>
              </a:xfrm>
              <a:custGeom>
                <a:avLst/>
                <a:gdLst>
                  <a:gd name="connsiteX0" fmla="*/ 114760 w 114760"/>
                  <a:gd name="connsiteY0" fmla="*/ 7254 h 72506"/>
                  <a:gd name="connsiteX1" fmla="*/ 73905 w 114760"/>
                  <a:gd name="connsiteY1" fmla="*/ 8881 h 72506"/>
                  <a:gd name="connsiteX2" fmla="*/ 0 w 114760"/>
                  <a:gd name="connsiteY2" fmla="*/ 72506 h 725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14760" h="72506">
                    <a:moveTo>
                      <a:pt x="114760" y="7254"/>
                    </a:moveTo>
                    <a:cubicBezTo>
                      <a:pt x="103375" y="-2830"/>
                      <a:pt x="83989" y="-2504"/>
                      <a:pt x="73905" y="8881"/>
                    </a:cubicBezTo>
                    <a:cubicBezTo>
                      <a:pt x="73905" y="8881"/>
                      <a:pt x="31488" y="72506"/>
                      <a:pt x="0" y="72506"/>
                    </a:cubicBezTo>
                  </a:path>
                </a:pathLst>
              </a:custGeom>
              <a:noFill/>
              <a:ln w="19050" cap="sq">
                <a:solidFill>
                  <a:schemeClr val="bg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19" name="Forma livre: Forma 218">
                <a:extLst>
                  <a:ext uri="{FF2B5EF4-FFF2-40B4-BE49-F238E27FC236}">
                    <a16:creationId xmlns:a16="http://schemas.microsoft.com/office/drawing/2014/main" id="{5BFEAFD2-FF58-8199-1DFE-78EFBAFC225F}"/>
                  </a:ext>
                </a:extLst>
              </p:cNvPr>
              <p:cNvSpPr/>
              <p:nvPr/>
            </p:nvSpPr>
            <p:spPr>
              <a:xfrm>
                <a:off x="6079857" y="1646956"/>
                <a:ext cx="29405" cy="9823"/>
              </a:xfrm>
              <a:custGeom>
                <a:avLst/>
                <a:gdLst>
                  <a:gd name="connsiteX0" fmla="*/ 0 w 29405"/>
                  <a:gd name="connsiteY0" fmla="*/ 0 h 9823"/>
                  <a:gd name="connsiteX1" fmla="*/ 29406 w 29405"/>
                  <a:gd name="connsiteY1" fmla="*/ 9824 h 98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9405" h="9823">
                    <a:moveTo>
                      <a:pt x="0" y="0"/>
                    </a:moveTo>
                    <a:lnTo>
                      <a:pt x="29406" y="9824"/>
                    </a:lnTo>
                  </a:path>
                </a:pathLst>
              </a:custGeom>
              <a:ln w="19050" cap="sq">
                <a:solidFill>
                  <a:schemeClr val="bg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20" name="Forma livre: Forma 219">
                <a:extLst>
                  <a:ext uri="{FF2B5EF4-FFF2-40B4-BE49-F238E27FC236}">
                    <a16:creationId xmlns:a16="http://schemas.microsoft.com/office/drawing/2014/main" id="{8167EDA8-2090-6B8D-F1F7-60DE349E8883}"/>
                  </a:ext>
                </a:extLst>
              </p:cNvPr>
              <p:cNvSpPr/>
              <p:nvPr/>
            </p:nvSpPr>
            <p:spPr>
              <a:xfrm>
                <a:off x="6061121" y="1545272"/>
                <a:ext cx="47166" cy="34154"/>
              </a:xfrm>
              <a:custGeom>
                <a:avLst/>
                <a:gdLst>
                  <a:gd name="connsiteX0" fmla="*/ 0 w 47166"/>
                  <a:gd name="connsiteY0" fmla="*/ 0 h 34154"/>
                  <a:gd name="connsiteX1" fmla="*/ 47166 w 47166"/>
                  <a:gd name="connsiteY1" fmla="*/ 34155 h 341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166" h="34154">
                    <a:moveTo>
                      <a:pt x="0" y="0"/>
                    </a:moveTo>
                    <a:cubicBezTo>
                      <a:pt x="0" y="0"/>
                      <a:pt x="27649" y="13011"/>
                      <a:pt x="47166" y="34155"/>
                    </a:cubicBezTo>
                  </a:path>
                </a:pathLst>
              </a:custGeom>
              <a:noFill/>
              <a:ln w="19050" cap="sq">
                <a:solidFill>
                  <a:schemeClr val="bg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201" name="Gráfico 32">
              <a:extLst>
                <a:ext uri="{FF2B5EF4-FFF2-40B4-BE49-F238E27FC236}">
                  <a16:creationId xmlns:a16="http://schemas.microsoft.com/office/drawing/2014/main" id="{FED49105-7776-21C3-CEA1-9A23032B5D5B}"/>
                </a:ext>
              </a:extLst>
            </p:cNvPr>
            <p:cNvGrpSpPr/>
            <p:nvPr/>
          </p:nvGrpSpPr>
          <p:grpSpPr>
            <a:xfrm>
              <a:off x="6191625" y="1599725"/>
              <a:ext cx="173767" cy="157112"/>
              <a:chOff x="6191625" y="1599725"/>
              <a:chExt cx="173767" cy="157112"/>
            </a:xfrm>
            <a:noFill/>
          </p:grpSpPr>
          <p:sp>
            <p:nvSpPr>
              <p:cNvPr id="211" name="Forma livre: Forma 210">
                <a:extLst>
                  <a:ext uri="{FF2B5EF4-FFF2-40B4-BE49-F238E27FC236}">
                    <a16:creationId xmlns:a16="http://schemas.microsoft.com/office/drawing/2014/main" id="{FBD5EEDB-E297-F02D-110C-986BD68E93AE}"/>
                  </a:ext>
                </a:extLst>
              </p:cNvPr>
              <p:cNvSpPr/>
              <p:nvPr/>
            </p:nvSpPr>
            <p:spPr>
              <a:xfrm>
                <a:off x="6310094" y="1621974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bg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12" name="Forma livre: Forma 211">
                <a:extLst>
                  <a:ext uri="{FF2B5EF4-FFF2-40B4-BE49-F238E27FC236}">
                    <a16:creationId xmlns:a16="http://schemas.microsoft.com/office/drawing/2014/main" id="{60A55B0D-B939-5306-3B92-C76F2B08787F}"/>
                  </a:ext>
                </a:extLst>
              </p:cNvPr>
              <p:cNvSpPr/>
              <p:nvPr/>
            </p:nvSpPr>
            <p:spPr>
              <a:xfrm>
                <a:off x="6191625" y="1599725"/>
                <a:ext cx="118078" cy="49898"/>
              </a:xfrm>
              <a:custGeom>
                <a:avLst/>
                <a:gdLst>
                  <a:gd name="connsiteX0" fmla="*/ 0 w 118078"/>
                  <a:gd name="connsiteY0" fmla="*/ 0 h 49898"/>
                  <a:gd name="connsiteX1" fmla="*/ 37343 w 118078"/>
                  <a:gd name="connsiteY1" fmla="*/ 0 h 49898"/>
                  <a:gd name="connsiteX2" fmla="*/ 87176 w 118078"/>
                  <a:gd name="connsiteY2" fmla="*/ 49899 h 49898"/>
                  <a:gd name="connsiteX3" fmla="*/ 118078 w 118078"/>
                  <a:gd name="connsiteY3" fmla="*/ 49899 h 49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8078" h="49898">
                    <a:moveTo>
                      <a:pt x="0" y="0"/>
                    </a:moveTo>
                    <a:lnTo>
                      <a:pt x="37343" y="0"/>
                    </a:lnTo>
                    <a:lnTo>
                      <a:pt x="87176" y="49899"/>
                    </a:lnTo>
                    <a:lnTo>
                      <a:pt x="118078" y="49899"/>
                    </a:lnTo>
                  </a:path>
                </a:pathLst>
              </a:custGeom>
              <a:noFill/>
              <a:ln w="19050" cap="sq">
                <a:solidFill>
                  <a:schemeClr val="bg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13" name="Forma livre: Forma 212">
                <a:extLst>
                  <a:ext uri="{FF2B5EF4-FFF2-40B4-BE49-F238E27FC236}">
                    <a16:creationId xmlns:a16="http://schemas.microsoft.com/office/drawing/2014/main" id="{D90533BD-5403-3612-1514-9AAFA4ACA88A}"/>
                  </a:ext>
                </a:extLst>
              </p:cNvPr>
              <p:cNvSpPr/>
              <p:nvPr/>
            </p:nvSpPr>
            <p:spPr>
              <a:xfrm>
                <a:off x="6191625" y="1665367"/>
                <a:ext cx="81906" cy="44108"/>
              </a:xfrm>
              <a:custGeom>
                <a:avLst/>
                <a:gdLst>
                  <a:gd name="connsiteX0" fmla="*/ 0 w 81906"/>
                  <a:gd name="connsiteY0" fmla="*/ 0 h 44108"/>
                  <a:gd name="connsiteX1" fmla="*/ 37343 w 81906"/>
                  <a:gd name="connsiteY1" fmla="*/ 0 h 44108"/>
                  <a:gd name="connsiteX2" fmla="*/ 81907 w 81906"/>
                  <a:gd name="connsiteY2" fmla="*/ 44109 h 441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1906" h="44108">
                    <a:moveTo>
                      <a:pt x="0" y="0"/>
                    </a:moveTo>
                    <a:lnTo>
                      <a:pt x="37343" y="0"/>
                    </a:lnTo>
                    <a:lnTo>
                      <a:pt x="81907" y="44109"/>
                    </a:lnTo>
                  </a:path>
                </a:pathLst>
              </a:custGeom>
              <a:noFill/>
              <a:ln w="19050" cap="sq">
                <a:solidFill>
                  <a:schemeClr val="bg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14" name="Forma livre: Forma 213">
                <a:extLst>
                  <a:ext uri="{FF2B5EF4-FFF2-40B4-BE49-F238E27FC236}">
                    <a16:creationId xmlns:a16="http://schemas.microsoft.com/office/drawing/2014/main" id="{13095F12-2F42-0584-7EEC-19F46D11894D}"/>
                  </a:ext>
                </a:extLst>
              </p:cNvPr>
              <p:cNvSpPr/>
              <p:nvPr/>
            </p:nvSpPr>
            <p:spPr>
              <a:xfrm>
                <a:off x="6265075" y="1701539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bg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202" name="Gráfico 32">
              <a:extLst>
                <a:ext uri="{FF2B5EF4-FFF2-40B4-BE49-F238E27FC236}">
                  <a16:creationId xmlns:a16="http://schemas.microsoft.com/office/drawing/2014/main" id="{8A48B8AC-9489-24EA-D055-C114A32DB15C}"/>
                </a:ext>
              </a:extLst>
            </p:cNvPr>
            <p:cNvGrpSpPr/>
            <p:nvPr/>
          </p:nvGrpSpPr>
          <p:grpSpPr>
            <a:xfrm>
              <a:off x="6191625" y="1357908"/>
              <a:ext cx="173767" cy="157112"/>
              <a:chOff x="6191625" y="1357908"/>
              <a:chExt cx="173767" cy="157112"/>
            </a:xfrm>
            <a:noFill/>
          </p:grpSpPr>
          <p:sp>
            <p:nvSpPr>
              <p:cNvPr id="207" name="Forma livre: Forma 206">
                <a:extLst>
                  <a:ext uri="{FF2B5EF4-FFF2-40B4-BE49-F238E27FC236}">
                    <a16:creationId xmlns:a16="http://schemas.microsoft.com/office/drawing/2014/main" id="{E91BF9E1-0691-6629-CEDB-B592FBFDE380}"/>
                  </a:ext>
                </a:extLst>
              </p:cNvPr>
              <p:cNvSpPr/>
              <p:nvPr/>
            </p:nvSpPr>
            <p:spPr>
              <a:xfrm>
                <a:off x="6310094" y="1437472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0 h 55298"/>
                  <a:gd name="connsiteX2" fmla="*/ 0 w 55298"/>
                  <a:gd name="connsiteY2" fmla="*/ 27649 h 55298"/>
                  <a:gd name="connsiteX3" fmla="*/ 27649 w 55298"/>
                  <a:gd name="connsiteY3" fmla="*/ 55298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12361"/>
                      <a:pt x="42938" y="0"/>
                      <a:pt x="27649" y="0"/>
                    </a:cubicBezTo>
                    <a:cubicBezTo>
                      <a:pt x="12361" y="0"/>
                      <a:pt x="0" y="12361"/>
                      <a:pt x="0" y="27649"/>
                    </a:cubicBezTo>
                    <a:cubicBezTo>
                      <a:pt x="0" y="42938"/>
                      <a:pt x="12361" y="55298"/>
                      <a:pt x="27649" y="55298"/>
                    </a:cubicBezTo>
                    <a:cubicBezTo>
                      <a:pt x="42938" y="55298"/>
                      <a:pt x="55298" y="42938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bg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08" name="Forma livre: Forma 207">
                <a:extLst>
                  <a:ext uri="{FF2B5EF4-FFF2-40B4-BE49-F238E27FC236}">
                    <a16:creationId xmlns:a16="http://schemas.microsoft.com/office/drawing/2014/main" id="{D5F2F0AB-C807-8030-8379-7EEF1993335B}"/>
                  </a:ext>
                </a:extLst>
              </p:cNvPr>
              <p:cNvSpPr/>
              <p:nvPr/>
            </p:nvSpPr>
            <p:spPr>
              <a:xfrm>
                <a:off x="6191625" y="1465122"/>
                <a:ext cx="118468" cy="49898"/>
              </a:xfrm>
              <a:custGeom>
                <a:avLst/>
                <a:gdLst>
                  <a:gd name="connsiteX0" fmla="*/ 0 w 118468"/>
                  <a:gd name="connsiteY0" fmla="*/ 49899 h 49898"/>
                  <a:gd name="connsiteX1" fmla="*/ 37343 w 118468"/>
                  <a:gd name="connsiteY1" fmla="*/ 49899 h 49898"/>
                  <a:gd name="connsiteX2" fmla="*/ 87176 w 118468"/>
                  <a:gd name="connsiteY2" fmla="*/ 0 h 49898"/>
                  <a:gd name="connsiteX3" fmla="*/ 118469 w 118468"/>
                  <a:gd name="connsiteY3" fmla="*/ 0 h 49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8468" h="49898">
                    <a:moveTo>
                      <a:pt x="0" y="49899"/>
                    </a:moveTo>
                    <a:lnTo>
                      <a:pt x="37343" y="49899"/>
                    </a:lnTo>
                    <a:lnTo>
                      <a:pt x="87176" y="0"/>
                    </a:lnTo>
                    <a:lnTo>
                      <a:pt x="118469" y="0"/>
                    </a:lnTo>
                  </a:path>
                </a:pathLst>
              </a:custGeom>
              <a:noFill/>
              <a:ln w="19050" cap="sq">
                <a:solidFill>
                  <a:schemeClr val="bg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09" name="Forma livre: Forma 208">
                <a:extLst>
                  <a:ext uri="{FF2B5EF4-FFF2-40B4-BE49-F238E27FC236}">
                    <a16:creationId xmlns:a16="http://schemas.microsoft.com/office/drawing/2014/main" id="{EACFE798-0392-5DD0-C5DB-713ED5EB7F7D}"/>
                  </a:ext>
                </a:extLst>
              </p:cNvPr>
              <p:cNvSpPr/>
              <p:nvPr/>
            </p:nvSpPr>
            <p:spPr>
              <a:xfrm>
                <a:off x="6191625" y="1405269"/>
                <a:ext cx="81451" cy="44043"/>
              </a:xfrm>
              <a:custGeom>
                <a:avLst/>
                <a:gdLst>
                  <a:gd name="connsiteX0" fmla="*/ 0 w 81451"/>
                  <a:gd name="connsiteY0" fmla="*/ 44044 h 44043"/>
                  <a:gd name="connsiteX1" fmla="*/ 37343 w 81451"/>
                  <a:gd name="connsiteY1" fmla="*/ 44044 h 44043"/>
                  <a:gd name="connsiteX2" fmla="*/ 81451 w 81451"/>
                  <a:gd name="connsiteY2" fmla="*/ 0 h 440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1451" h="44043">
                    <a:moveTo>
                      <a:pt x="0" y="44044"/>
                    </a:moveTo>
                    <a:lnTo>
                      <a:pt x="37343" y="44044"/>
                    </a:lnTo>
                    <a:lnTo>
                      <a:pt x="81451" y="0"/>
                    </a:lnTo>
                  </a:path>
                </a:pathLst>
              </a:custGeom>
              <a:noFill/>
              <a:ln w="19050" cap="sq">
                <a:solidFill>
                  <a:schemeClr val="bg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10" name="Forma livre: Forma 209">
                <a:extLst>
                  <a:ext uri="{FF2B5EF4-FFF2-40B4-BE49-F238E27FC236}">
                    <a16:creationId xmlns:a16="http://schemas.microsoft.com/office/drawing/2014/main" id="{D68DDA76-F593-813C-5B37-ECA9035D1215}"/>
                  </a:ext>
                </a:extLst>
              </p:cNvPr>
              <p:cNvSpPr/>
              <p:nvPr/>
            </p:nvSpPr>
            <p:spPr>
              <a:xfrm>
                <a:off x="6265075" y="1357908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0 h 55298"/>
                  <a:gd name="connsiteX2" fmla="*/ 0 w 55298"/>
                  <a:gd name="connsiteY2" fmla="*/ 27649 h 55298"/>
                  <a:gd name="connsiteX3" fmla="*/ 27649 w 55298"/>
                  <a:gd name="connsiteY3" fmla="*/ 55298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12361"/>
                      <a:pt x="42938" y="0"/>
                      <a:pt x="27649" y="0"/>
                    </a:cubicBezTo>
                    <a:cubicBezTo>
                      <a:pt x="12361" y="0"/>
                      <a:pt x="0" y="12361"/>
                      <a:pt x="0" y="27649"/>
                    </a:cubicBezTo>
                    <a:cubicBezTo>
                      <a:pt x="0" y="42938"/>
                      <a:pt x="12361" y="55298"/>
                      <a:pt x="27649" y="55298"/>
                    </a:cubicBezTo>
                    <a:cubicBezTo>
                      <a:pt x="42938" y="55298"/>
                      <a:pt x="55298" y="42938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bg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203" name="Gráfico 32">
              <a:extLst>
                <a:ext uri="{FF2B5EF4-FFF2-40B4-BE49-F238E27FC236}">
                  <a16:creationId xmlns:a16="http://schemas.microsoft.com/office/drawing/2014/main" id="{E6F8B1DE-068E-0A07-EA4A-ECA7A5EBDD1D}"/>
                </a:ext>
              </a:extLst>
            </p:cNvPr>
            <p:cNvGrpSpPr/>
            <p:nvPr/>
          </p:nvGrpSpPr>
          <p:grpSpPr>
            <a:xfrm>
              <a:off x="6190910" y="1529723"/>
              <a:ext cx="123673" cy="55298"/>
              <a:chOff x="6190910" y="1529723"/>
              <a:chExt cx="123673" cy="55298"/>
            </a:xfrm>
            <a:noFill/>
          </p:grpSpPr>
          <p:sp>
            <p:nvSpPr>
              <p:cNvPr id="205" name="Forma livre: Forma 204">
                <a:extLst>
                  <a:ext uri="{FF2B5EF4-FFF2-40B4-BE49-F238E27FC236}">
                    <a16:creationId xmlns:a16="http://schemas.microsoft.com/office/drawing/2014/main" id="{ACE5AF32-65C0-BA5B-985B-EBD9C89A88FA}"/>
                  </a:ext>
                </a:extLst>
              </p:cNvPr>
              <p:cNvSpPr/>
              <p:nvPr/>
            </p:nvSpPr>
            <p:spPr>
              <a:xfrm>
                <a:off x="6190910" y="1557372"/>
                <a:ext cx="68765" cy="6505"/>
              </a:xfrm>
              <a:custGeom>
                <a:avLst/>
                <a:gdLst>
                  <a:gd name="connsiteX0" fmla="*/ 0 w 68765"/>
                  <a:gd name="connsiteY0" fmla="*/ 0 h 6505"/>
                  <a:gd name="connsiteX1" fmla="*/ 68765 w 68765"/>
                  <a:gd name="connsiteY1" fmla="*/ 0 h 65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8765" h="6505">
                    <a:moveTo>
                      <a:pt x="0" y="0"/>
                    </a:moveTo>
                    <a:lnTo>
                      <a:pt x="68765" y="0"/>
                    </a:lnTo>
                  </a:path>
                </a:pathLst>
              </a:custGeom>
              <a:ln w="19050" cap="sq">
                <a:solidFill>
                  <a:schemeClr val="bg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06" name="Forma livre: Forma 205">
                <a:extLst>
                  <a:ext uri="{FF2B5EF4-FFF2-40B4-BE49-F238E27FC236}">
                    <a16:creationId xmlns:a16="http://schemas.microsoft.com/office/drawing/2014/main" id="{BAEC13D1-4D33-4E8D-3DE7-5488FD11501B}"/>
                  </a:ext>
                </a:extLst>
              </p:cNvPr>
              <p:cNvSpPr/>
              <p:nvPr/>
            </p:nvSpPr>
            <p:spPr>
              <a:xfrm>
                <a:off x="6259285" y="1529723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bg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204" name="Forma livre: Forma 203">
              <a:extLst>
                <a:ext uri="{FF2B5EF4-FFF2-40B4-BE49-F238E27FC236}">
                  <a16:creationId xmlns:a16="http://schemas.microsoft.com/office/drawing/2014/main" id="{ED73288C-9782-F298-1860-D65AA2361AA2}"/>
                </a:ext>
              </a:extLst>
            </p:cNvPr>
            <p:cNvSpPr/>
            <p:nvPr/>
          </p:nvSpPr>
          <p:spPr>
            <a:xfrm>
              <a:off x="6152201" y="1686285"/>
              <a:ext cx="37362" cy="20848"/>
            </a:xfrm>
            <a:custGeom>
              <a:avLst/>
              <a:gdLst>
                <a:gd name="connsiteX0" fmla="*/ 0 w 37362"/>
                <a:gd name="connsiteY0" fmla="*/ 10505 h 20848"/>
                <a:gd name="connsiteX1" fmla="*/ 27064 w 37362"/>
                <a:gd name="connsiteY1" fmla="*/ 2373 h 20848"/>
                <a:gd name="connsiteX2" fmla="*/ 37343 w 37362"/>
                <a:gd name="connsiteY2" fmla="*/ 20849 h 20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7362" h="20848">
                  <a:moveTo>
                    <a:pt x="0" y="10505"/>
                  </a:moveTo>
                  <a:cubicBezTo>
                    <a:pt x="5205" y="811"/>
                    <a:pt x="17435" y="-2832"/>
                    <a:pt x="27064" y="2373"/>
                  </a:cubicBezTo>
                  <a:cubicBezTo>
                    <a:pt x="34025" y="6081"/>
                    <a:pt x="37668" y="13432"/>
                    <a:pt x="37343" y="20849"/>
                  </a:cubicBezTo>
                </a:path>
              </a:pathLst>
            </a:custGeom>
            <a:noFill/>
            <a:ln w="19050" cap="sq">
              <a:solidFill>
                <a:schemeClr val="bg1"/>
              </a:solidFill>
              <a:prstDash val="solid"/>
              <a:miter lim="800000"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221" name="Agrupar 220">
            <a:extLst>
              <a:ext uri="{FF2B5EF4-FFF2-40B4-BE49-F238E27FC236}">
                <a16:creationId xmlns:a16="http://schemas.microsoft.com/office/drawing/2014/main" id="{E5CD90C4-F791-BA21-E9FD-90C8009B29C7}"/>
              </a:ext>
            </a:extLst>
          </p:cNvPr>
          <p:cNvGrpSpPr/>
          <p:nvPr/>
        </p:nvGrpSpPr>
        <p:grpSpPr>
          <a:xfrm>
            <a:off x="5331552" y="3384912"/>
            <a:ext cx="325297" cy="355243"/>
            <a:chOff x="6000092" y="1357908"/>
            <a:chExt cx="365300" cy="398929"/>
          </a:xfrm>
        </p:grpSpPr>
        <p:sp>
          <p:nvSpPr>
            <p:cNvPr id="222" name="Forma livre: Forma 221">
              <a:extLst>
                <a:ext uri="{FF2B5EF4-FFF2-40B4-BE49-F238E27FC236}">
                  <a16:creationId xmlns:a16="http://schemas.microsoft.com/office/drawing/2014/main" id="{C013FFE3-4350-E09A-1CE2-161586795C53}"/>
                </a:ext>
              </a:extLst>
            </p:cNvPr>
            <p:cNvSpPr/>
            <p:nvPr/>
          </p:nvSpPr>
          <p:spPr>
            <a:xfrm>
              <a:off x="6000092" y="1418606"/>
              <a:ext cx="84058" cy="286120"/>
            </a:xfrm>
            <a:custGeom>
              <a:avLst/>
              <a:gdLst>
                <a:gd name="connsiteX0" fmla="*/ 51595 w 84058"/>
                <a:gd name="connsiteY0" fmla="*/ 0 h 286120"/>
                <a:gd name="connsiteX1" fmla="*/ 35266 w 84058"/>
                <a:gd name="connsiteY1" fmla="*/ 61674 h 286120"/>
                <a:gd name="connsiteX2" fmla="*/ 28760 w 84058"/>
                <a:gd name="connsiteY2" fmla="*/ 193415 h 286120"/>
                <a:gd name="connsiteX3" fmla="*/ 84059 w 84058"/>
                <a:gd name="connsiteY3" fmla="*/ 286121 h 2861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4058" h="286120">
                  <a:moveTo>
                    <a:pt x="51595" y="0"/>
                  </a:moveTo>
                  <a:cubicBezTo>
                    <a:pt x="37868" y="7872"/>
                    <a:pt x="26028" y="24852"/>
                    <a:pt x="35266" y="61674"/>
                  </a:cubicBezTo>
                  <a:cubicBezTo>
                    <a:pt x="35266" y="61674"/>
                    <a:pt x="-39549" y="126731"/>
                    <a:pt x="28760" y="193415"/>
                  </a:cubicBezTo>
                  <a:cubicBezTo>
                    <a:pt x="28760" y="193415"/>
                    <a:pt x="9243" y="281242"/>
                    <a:pt x="84059" y="286121"/>
                  </a:cubicBezTo>
                </a:path>
              </a:pathLst>
            </a:custGeom>
            <a:noFill/>
            <a:ln w="19050" cap="sq">
              <a:solidFill>
                <a:schemeClr val="bg1"/>
              </a:solidFill>
              <a:prstDash val="solid"/>
              <a:miter lim="800000"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223" name="Gráfico 32">
              <a:extLst>
                <a:ext uri="{FF2B5EF4-FFF2-40B4-BE49-F238E27FC236}">
                  <a16:creationId xmlns:a16="http://schemas.microsoft.com/office/drawing/2014/main" id="{028623EF-F93E-6E29-BFC5-7432074D31AD}"/>
                </a:ext>
              </a:extLst>
            </p:cNvPr>
            <p:cNvGrpSpPr/>
            <p:nvPr/>
          </p:nvGrpSpPr>
          <p:grpSpPr>
            <a:xfrm>
              <a:off x="6061121" y="1359924"/>
              <a:ext cx="128487" cy="396366"/>
              <a:chOff x="6061121" y="1359924"/>
              <a:chExt cx="128487" cy="396366"/>
            </a:xfrm>
            <a:noFill/>
          </p:grpSpPr>
          <p:sp>
            <p:nvSpPr>
              <p:cNvPr id="238" name="Forma livre: Forma 237">
                <a:extLst>
                  <a:ext uri="{FF2B5EF4-FFF2-40B4-BE49-F238E27FC236}">
                    <a16:creationId xmlns:a16="http://schemas.microsoft.com/office/drawing/2014/main" id="{8BBA8E23-C6D9-27E8-4015-9E6B0AA68AFB}"/>
                  </a:ext>
                </a:extLst>
              </p:cNvPr>
              <p:cNvSpPr/>
              <p:nvPr/>
            </p:nvSpPr>
            <p:spPr>
              <a:xfrm>
                <a:off x="6083891" y="1359924"/>
                <a:ext cx="105717" cy="396366"/>
              </a:xfrm>
              <a:custGeom>
                <a:avLst/>
                <a:gdLst>
                  <a:gd name="connsiteX0" fmla="*/ 52891 w 105717"/>
                  <a:gd name="connsiteY0" fmla="*/ 105718 h 396366"/>
                  <a:gd name="connsiteX1" fmla="*/ 0 w 105717"/>
                  <a:gd name="connsiteY1" fmla="*/ 52891 h 396366"/>
                  <a:gd name="connsiteX2" fmla="*/ 52891 w 105717"/>
                  <a:gd name="connsiteY2" fmla="*/ 0 h 396366"/>
                  <a:gd name="connsiteX3" fmla="*/ 105718 w 105717"/>
                  <a:gd name="connsiteY3" fmla="*/ 52826 h 396366"/>
                  <a:gd name="connsiteX4" fmla="*/ 105718 w 105717"/>
                  <a:gd name="connsiteY4" fmla="*/ 346884 h 396366"/>
                  <a:gd name="connsiteX5" fmla="*/ 80606 w 105717"/>
                  <a:gd name="connsiteY5" fmla="*/ 388911 h 396366"/>
                  <a:gd name="connsiteX6" fmla="*/ 9238 w 105717"/>
                  <a:gd name="connsiteY6" fmla="*/ 371150 h 396366"/>
                  <a:gd name="connsiteX7" fmla="*/ 15484 w 105717"/>
                  <a:gd name="connsiteY7" fmla="*/ 309216 h 396366"/>
                  <a:gd name="connsiteX8" fmla="*/ 45019 w 105717"/>
                  <a:gd name="connsiteY8" fmla="*/ 277078 h 3963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05717" h="396366">
                    <a:moveTo>
                      <a:pt x="52891" y="105718"/>
                    </a:moveTo>
                    <a:cubicBezTo>
                      <a:pt x="23681" y="105718"/>
                      <a:pt x="0" y="82037"/>
                      <a:pt x="0" y="52891"/>
                    </a:cubicBezTo>
                    <a:cubicBezTo>
                      <a:pt x="0" y="23746"/>
                      <a:pt x="23681" y="0"/>
                      <a:pt x="52891" y="0"/>
                    </a:cubicBezTo>
                    <a:cubicBezTo>
                      <a:pt x="82102" y="0"/>
                      <a:pt x="105718" y="23681"/>
                      <a:pt x="105718" y="52826"/>
                    </a:cubicBezTo>
                    <a:lnTo>
                      <a:pt x="105718" y="346884"/>
                    </a:lnTo>
                    <a:cubicBezTo>
                      <a:pt x="105718" y="364580"/>
                      <a:pt x="96414" y="379413"/>
                      <a:pt x="80606" y="388911"/>
                    </a:cubicBezTo>
                    <a:cubicBezTo>
                      <a:pt x="55949" y="403744"/>
                      <a:pt x="24006" y="395742"/>
                      <a:pt x="9238" y="371150"/>
                    </a:cubicBezTo>
                    <a:cubicBezTo>
                      <a:pt x="-2928" y="350918"/>
                      <a:pt x="260" y="325741"/>
                      <a:pt x="15484" y="309216"/>
                    </a:cubicBezTo>
                    <a:lnTo>
                      <a:pt x="45019" y="277078"/>
                    </a:lnTo>
                  </a:path>
                </a:pathLst>
              </a:custGeom>
              <a:noFill/>
              <a:ln w="19050" cap="sq">
                <a:solidFill>
                  <a:schemeClr val="bg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39" name="Forma livre: Forma 238">
                <a:extLst>
                  <a:ext uri="{FF2B5EF4-FFF2-40B4-BE49-F238E27FC236}">
                    <a16:creationId xmlns:a16="http://schemas.microsoft.com/office/drawing/2014/main" id="{CD09374F-DF87-ABE0-9A21-14E56195580C}"/>
                  </a:ext>
                </a:extLst>
              </p:cNvPr>
              <p:cNvSpPr/>
              <p:nvPr/>
            </p:nvSpPr>
            <p:spPr>
              <a:xfrm>
                <a:off x="6144784" y="1383865"/>
                <a:ext cx="41563" cy="38963"/>
              </a:xfrm>
              <a:custGeom>
                <a:avLst/>
                <a:gdLst>
                  <a:gd name="connsiteX0" fmla="*/ 36172 w 41563"/>
                  <a:gd name="connsiteY0" fmla="*/ 0 h 38963"/>
                  <a:gd name="connsiteX1" fmla="*/ 39425 w 41563"/>
                  <a:gd name="connsiteY1" fmla="*/ 24266 h 38963"/>
                  <a:gd name="connsiteX2" fmla="*/ 36432 w 41563"/>
                  <a:gd name="connsiteY2" fmla="*/ 29080 h 38963"/>
                  <a:gd name="connsiteX3" fmla="*/ 0 w 41563"/>
                  <a:gd name="connsiteY3" fmla="*/ 33439 h 389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563" h="38963">
                    <a:moveTo>
                      <a:pt x="36172" y="0"/>
                    </a:moveTo>
                    <a:cubicBezTo>
                      <a:pt x="41571" y="7547"/>
                      <a:pt x="43393" y="16004"/>
                      <a:pt x="39425" y="24266"/>
                    </a:cubicBezTo>
                    <a:cubicBezTo>
                      <a:pt x="38644" y="25893"/>
                      <a:pt x="37603" y="27519"/>
                      <a:pt x="36432" y="29080"/>
                    </a:cubicBezTo>
                    <a:cubicBezTo>
                      <a:pt x="27584" y="40270"/>
                      <a:pt x="11190" y="42287"/>
                      <a:pt x="0" y="33439"/>
                    </a:cubicBezTo>
                  </a:path>
                </a:pathLst>
              </a:custGeom>
              <a:noFill/>
              <a:ln w="19050" cap="sq">
                <a:solidFill>
                  <a:schemeClr val="bg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40" name="Forma livre: Forma 239">
                <a:extLst>
                  <a:ext uri="{FF2B5EF4-FFF2-40B4-BE49-F238E27FC236}">
                    <a16:creationId xmlns:a16="http://schemas.microsoft.com/office/drawing/2014/main" id="{AD5CED08-98AD-DDEA-6E14-7F12E2AF0B0C}"/>
                  </a:ext>
                </a:extLst>
              </p:cNvPr>
              <p:cNvSpPr/>
              <p:nvPr/>
            </p:nvSpPr>
            <p:spPr>
              <a:xfrm>
                <a:off x="6081487" y="1460806"/>
                <a:ext cx="34217" cy="54474"/>
              </a:xfrm>
              <a:custGeom>
                <a:avLst/>
                <a:gdLst>
                  <a:gd name="connsiteX0" fmla="*/ 21076 w 34217"/>
                  <a:gd name="connsiteY0" fmla="*/ 54475 h 54474"/>
                  <a:gd name="connsiteX1" fmla="*/ 778 w 34217"/>
                  <a:gd name="connsiteY1" fmla="*/ 21035 h 54474"/>
                  <a:gd name="connsiteX2" fmla="*/ 34217 w 34217"/>
                  <a:gd name="connsiteY2" fmla="*/ 803 h 544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4217" h="54474">
                    <a:moveTo>
                      <a:pt x="21076" y="54475"/>
                    </a:moveTo>
                    <a:cubicBezTo>
                      <a:pt x="6308" y="50832"/>
                      <a:pt x="-2800" y="35803"/>
                      <a:pt x="778" y="21035"/>
                    </a:cubicBezTo>
                    <a:cubicBezTo>
                      <a:pt x="4421" y="6267"/>
                      <a:pt x="19449" y="-2841"/>
                      <a:pt x="34217" y="803"/>
                    </a:cubicBezTo>
                  </a:path>
                </a:pathLst>
              </a:custGeom>
              <a:noFill/>
              <a:ln w="19050" cap="sq">
                <a:solidFill>
                  <a:schemeClr val="bg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41" name="Forma livre: Forma 240">
                <a:extLst>
                  <a:ext uri="{FF2B5EF4-FFF2-40B4-BE49-F238E27FC236}">
                    <a16:creationId xmlns:a16="http://schemas.microsoft.com/office/drawing/2014/main" id="{185F594B-8B8C-BA01-F149-4BEB620B72B3}"/>
                  </a:ext>
                </a:extLst>
              </p:cNvPr>
              <p:cNvSpPr/>
              <p:nvPr/>
            </p:nvSpPr>
            <p:spPr>
              <a:xfrm>
                <a:off x="6073547" y="1527543"/>
                <a:ext cx="114760" cy="72506"/>
              </a:xfrm>
              <a:custGeom>
                <a:avLst/>
                <a:gdLst>
                  <a:gd name="connsiteX0" fmla="*/ 114760 w 114760"/>
                  <a:gd name="connsiteY0" fmla="*/ 7254 h 72506"/>
                  <a:gd name="connsiteX1" fmla="*/ 73905 w 114760"/>
                  <a:gd name="connsiteY1" fmla="*/ 8881 h 72506"/>
                  <a:gd name="connsiteX2" fmla="*/ 0 w 114760"/>
                  <a:gd name="connsiteY2" fmla="*/ 72506 h 725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14760" h="72506">
                    <a:moveTo>
                      <a:pt x="114760" y="7254"/>
                    </a:moveTo>
                    <a:cubicBezTo>
                      <a:pt x="103375" y="-2830"/>
                      <a:pt x="83989" y="-2504"/>
                      <a:pt x="73905" y="8881"/>
                    </a:cubicBezTo>
                    <a:cubicBezTo>
                      <a:pt x="73905" y="8881"/>
                      <a:pt x="31488" y="72506"/>
                      <a:pt x="0" y="72506"/>
                    </a:cubicBezTo>
                  </a:path>
                </a:pathLst>
              </a:custGeom>
              <a:noFill/>
              <a:ln w="19050" cap="sq">
                <a:solidFill>
                  <a:schemeClr val="bg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42" name="Forma livre: Forma 241">
                <a:extLst>
                  <a:ext uri="{FF2B5EF4-FFF2-40B4-BE49-F238E27FC236}">
                    <a16:creationId xmlns:a16="http://schemas.microsoft.com/office/drawing/2014/main" id="{189D9318-4E6D-E504-D9F1-6C8DD4025967}"/>
                  </a:ext>
                </a:extLst>
              </p:cNvPr>
              <p:cNvSpPr/>
              <p:nvPr/>
            </p:nvSpPr>
            <p:spPr>
              <a:xfrm>
                <a:off x="6079857" y="1646956"/>
                <a:ext cx="29405" cy="9823"/>
              </a:xfrm>
              <a:custGeom>
                <a:avLst/>
                <a:gdLst>
                  <a:gd name="connsiteX0" fmla="*/ 0 w 29405"/>
                  <a:gd name="connsiteY0" fmla="*/ 0 h 9823"/>
                  <a:gd name="connsiteX1" fmla="*/ 29406 w 29405"/>
                  <a:gd name="connsiteY1" fmla="*/ 9824 h 98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9405" h="9823">
                    <a:moveTo>
                      <a:pt x="0" y="0"/>
                    </a:moveTo>
                    <a:lnTo>
                      <a:pt x="29406" y="9824"/>
                    </a:lnTo>
                  </a:path>
                </a:pathLst>
              </a:custGeom>
              <a:ln w="19050" cap="sq">
                <a:solidFill>
                  <a:schemeClr val="bg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43" name="Forma livre: Forma 242">
                <a:extLst>
                  <a:ext uri="{FF2B5EF4-FFF2-40B4-BE49-F238E27FC236}">
                    <a16:creationId xmlns:a16="http://schemas.microsoft.com/office/drawing/2014/main" id="{75994E4F-3A0C-5E44-055B-3C34C8B7D704}"/>
                  </a:ext>
                </a:extLst>
              </p:cNvPr>
              <p:cNvSpPr/>
              <p:nvPr/>
            </p:nvSpPr>
            <p:spPr>
              <a:xfrm>
                <a:off x="6061121" y="1545272"/>
                <a:ext cx="47166" cy="34154"/>
              </a:xfrm>
              <a:custGeom>
                <a:avLst/>
                <a:gdLst>
                  <a:gd name="connsiteX0" fmla="*/ 0 w 47166"/>
                  <a:gd name="connsiteY0" fmla="*/ 0 h 34154"/>
                  <a:gd name="connsiteX1" fmla="*/ 47166 w 47166"/>
                  <a:gd name="connsiteY1" fmla="*/ 34155 h 341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166" h="34154">
                    <a:moveTo>
                      <a:pt x="0" y="0"/>
                    </a:moveTo>
                    <a:cubicBezTo>
                      <a:pt x="0" y="0"/>
                      <a:pt x="27649" y="13011"/>
                      <a:pt x="47166" y="34155"/>
                    </a:cubicBezTo>
                  </a:path>
                </a:pathLst>
              </a:custGeom>
              <a:noFill/>
              <a:ln w="19050" cap="sq">
                <a:solidFill>
                  <a:schemeClr val="bg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224" name="Gráfico 32">
              <a:extLst>
                <a:ext uri="{FF2B5EF4-FFF2-40B4-BE49-F238E27FC236}">
                  <a16:creationId xmlns:a16="http://schemas.microsoft.com/office/drawing/2014/main" id="{5C28382A-C43D-9B56-B36E-CB851B7437FA}"/>
                </a:ext>
              </a:extLst>
            </p:cNvPr>
            <p:cNvGrpSpPr/>
            <p:nvPr/>
          </p:nvGrpSpPr>
          <p:grpSpPr>
            <a:xfrm>
              <a:off x="6191625" y="1599725"/>
              <a:ext cx="173767" cy="157112"/>
              <a:chOff x="6191625" y="1599725"/>
              <a:chExt cx="173767" cy="157112"/>
            </a:xfrm>
            <a:noFill/>
          </p:grpSpPr>
          <p:sp>
            <p:nvSpPr>
              <p:cNvPr id="234" name="Forma livre: Forma 233">
                <a:extLst>
                  <a:ext uri="{FF2B5EF4-FFF2-40B4-BE49-F238E27FC236}">
                    <a16:creationId xmlns:a16="http://schemas.microsoft.com/office/drawing/2014/main" id="{2D8B83A0-1E14-FE50-CB76-D7885A403A94}"/>
                  </a:ext>
                </a:extLst>
              </p:cNvPr>
              <p:cNvSpPr/>
              <p:nvPr/>
            </p:nvSpPr>
            <p:spPr>
              <a:xfrm>
                <a:off x="6310094" y="1621974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bg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35" name="Forma livre: Forma 234">
                <a:extLst>
                  <a:ext uri="{FF2B5EF4-FFF2-40B4-BE49-F238E27FC236}">
                    <a16:creationId xmlns:a16="http://schemas.microsoft.com/office/drawing/2014/main" id="{643FC1F0-0435-C9CB-49F2-758F71093EC3}"/>
                  </a:ext>
                </a:extLst>
              </p:cNvPr>
              <p:cNvSpPr/>
              <p:nvPr/>
            </p:nvSpPr>
            <p:spPr>
              <a:xfrm>
                <a:off x="6191625" y="1599725"/>
                <a:ext cx="118078" cy="49898"/>
              </a:xfrm>
              <a:custGeom>
                <a:avLst/>
                <a:gdLst>
                  <a:gd name="connsiteX0" fmla="*/ 0 w 118078"/>
                  <a:gd name="connsiteY0" fmla="*/ 0 h 49898"/>
                  <a:gd name="connsiteX1" fmla="*/ 37343 w 118078"/>
                  <a:gd name="connsiteY1" fmla="*/ 0 h 49898"/>
                  <a:gd name="connsiteX2" fmla="*/ 87176 w 118078"/>
                  <a:gd name="connsiteY2" fmla="*/ 49899 h 49898"/>
                  <a:gd name="connsiteX3" fmla="*/ 118078 w 118078"/>
                  <a:gd name="connsiteY3" fmla="*/ 49899 h 49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8078" h="49898">
                    <a:moveTo>
                      <a:pt x="0" y="0"/>
                    </a:moveTo>
                    <a:lnTo>
                      <a:pt x="37343" y="0"/>
                    </a:lnTo>
                    <a:lnTo>
                      <a:pt x="87176" y="49899"/>
                    </a:lnTo>
                    <a:lnTo>
                      <a:pt x="118078" y="49899"/>
                    </a:lnTo>
                  </a:path>
                </a:pathLst>
              </a:custGeom>
              <a:noFill/>
              <a:ln w="19050" cap="sq">
                <a:solidFill>
                  <a:schemeClr val="bg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36" name="Forma livre: Forma 235">
                <a:extLst>
                  <a:ext uri="{FF2B5EF4-FFF2-40B4-BE49-F238E27FC236}">
                    <a16:creationId xmlns:a16="http://schemas.microsoft.com/office/drawing/2014/main" id="{27919859-2F22-0402-E072-52620E77F1A7}"/>
                  </a:ext>
                </a:extLst>
              </p:cNvPr>
              <p:cNvSpPr/>
              <p:nvPr/>
            </p:nvSpPr>
            <p:spPr>
              <a:xfrm>
                <a:off x="6191625" y="1665367"/>
                <a:ext cx="81906" cy="44108"/>
              </a:xfrm>
              <a:custGeom>
                <a:avLst/>
                <a:gdLst>
                  <a:gd name="connsiteX0" fmla="*/ 0 w 81906"/>
                  <a:gd name="connsiteY0" fmla="*/ 0 h 44108"/>
                  <a:gd name="connsiteX1" fmla="*/ 37343 w 81906"/>
                  <a:gd name="connsiteY1" fmla="*/ 0 h 44108"/>
                  <a:gd name="connsiteX2" fmla="*/ 81907 w 81906"/>
                  <a:gd name="connsiteY2" fmla="*/ 44109 h 441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1906" h="44108">
                    <a:moveTo>
                      <a:pt x="0" y="0"/>
                    </a:moveTo>
                    <a:lnTo>
                      <a:pt x="37343" y="0"/>
                    </a:lnTo>
                    <a:lnTo>
                      <a:pt x="81907" y="44109"/>
                    </a:lnTo>
                  </a:path>
                </a:pathLst>
              </a:custGeom>
              <a:noFill/>
              <a:ln w="19050" cap="sq">
                <a:solidFill>
                  <a:schemeClr val="bg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37" name="Forma livre: Forma 236">
                <a:extLst>
                  <a:ext uri="{FF2B5EF4-FFF2-40B4-BE49-F238E27FC236}">
                    <a16:creationId xmlns:a16="http://schemas.microsoft.com/office/drawing/2014/main" id="{C8D76724-8805-B73F-D234-6A414AC176A8}"/>
                  </a:ext>
                </a:extLst>
              </p:cNvPr>
              <p:cNvSpPr/>
              <p:nvPr/>
            </p:nvSpPr>
            <p:spPr>
              <a:xfrm>
                <a:off x="6265075" y="1701539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bg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225" name="Gráfico 32">
              <a:extLst>
                <a:ext uri="{FF2B5EF4-FFF2-40B4-BE49-F238E27FC236}">
                  <a16:creationId xmlns:a16="http://schemas.microsoft.com/office/drawing/2014/main" id="{E2559336-22CC-B9DA-51D3-82CEB0F84BA9}"/>
                </a:ext>
              </a:extLst>
            </p:cNvPr>
            <p:cNvGrpSpPr/>
            <p:nvPr/>
          </p:nvGrpSpPr>
          <p:grpSpPr>
            <a:xfrm>
              <a:off x="6191625" y="1357908"/>
              <a:ext cx="173767" cy="157112"/>
              <a:chOff x="6191625" y="1357908"/>
              <a:chExt cx="173767" cy="157112"/>
            </a:xfrm>
            <a:noFill/>
          </p:grpSpPr>
          <p:sp>
            <p:nvSpPr>
              <p:cNvPr id="230" name="Forma livre: Forma 229">
                <a:extLst>
                  <a:ext uri="{FF2B5EF4-FFF2-40B4-BE49-F238E27FC236}">
                    <a16:creationId xmlns:a16="http://schemas.microsoft.com/office/drawing/2014/main" id="{02D4BD2F-4465-9225-002E-B01A0D8E91B8}"/>
                  </a:ext>
                </a:extLst>
              </p:cNvPr>
              <p:cNvSpPr/>
              <p:nvPr/>
            </p:nvSpPr>
            <p:spPr>
              <a:xfrm>
                <a:off x="6310094" y="1437472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0 h 55298"/>
                  <a:gd name="connsiteX2" fmla="*/ 0 w 55298"/>
                  <a:gd name="connsiteY2" fmla="*/ 27649 h 55298"/>
                  <a:gd name="connsiteX3" fmla="*/ 27649 w 55298"/>
                  <a:gd name="connsiteY3" fmla="*/ 55298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12361"/>
                      <a:pt x="42938" y="0"/>
                      <a:pt x="27649" y="0"/>
                    </a:cubicBezTo>
                    <a:cubicBezTo>
                      <a:pt x="12361" y="0"/>
                      <a:pt x="0" y="12361"/>
                      <a:pt x="0" y="27649"/>
                    </a:cubicBezTo>
                    <a:cubicBezTo>
                      <a:pt x="0" y="42938"/>
                      <a:pt x="12361" y="55298"/>
                      <a:pt x="27649" y="55298"/>
                    </a:cubicBezTo>
                    <a:cubicBezTo>
                      <a:pt x="42938" y="55298"/>
                      <a:pt x="55298" y="42938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bg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31" name="Forma livre: Forma 230">
                <a:extLst>
                  <a:ext uri="{FF2B5EF4-FFF2-40B4-BE49-F238E27FC236}">
                    <a16:creationId xmlns:a16="http://schemas.microsoft.com/office/drawing/2014/main" id="{59C821F1-752F-07C7-C7F6-6A126C2F6264}"/>
                  </a:ext>
                </a:extLst>
              </p:cNvPr>
              <p:cNvSpPr/>
              <p:nvPr/>
            </p:nvSpPr>
            <p:spPr>
              <a:xfrm>
                <a:off x="6191625" y="1465122"/>
                <a:ext cx="118468" cy="49898"/>
              </a:xfrm>
              <a:custGeom>
                <a:avLst/>
                <a:gdLst>
                  <a:gd name="connsiteX0" fmla="*/ 0 w 118468"/>
                  <a:gd name="connsiteY0" fmla="*/ 49899 h 49898"/>
                  <a:gd name="connsiteX1" fmla="*/ 37343 w 118468"/>
                  <a:gd name="connsiteY1" fmla="*/ 49899 h 49898"/>
                  <a:gd name="connsiteX2" fmla="*/ 87176 w 118468"/>
                  <a:gd name="connsiteY2" fmla="*/ 0 h 49898"/>
                  <a:gd name="connsiteX3" fmla="*/ 118469 w 118468"/>
                  <a:gd name="connsiteY3" fmla="*/ 0 h 49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8468" h="49898">
                    <a:moveTo>
                      <a:pt x="0" y="49899"/>
                    </a:moveTo>
                    <a:lnTo>
                      <a:pt x="37343" y="49899"/>
                    </a:lnTo>
                    <a:lnTo>
                      <a:pt x="87176" y="0"/>
                    </a:lnTo>
                    <a:lnTo>
                      <a:pt x="118469" y="0"/>
                    </a:lnTo>
                  </a:path>
                </a:pathLst>
              </a:custGeom>
              <a:noFill/>
              <a:ln w="19050" cap="sq">
                <a:solidFill>
                  <a:schemeClr val="bg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32" name="Forma livre: Forma 231">
                <a:extLst>
                  <a:ext uri="{FF2B5EF4-FFF2-40B4-BE49-F238E27FC236}">
                    <a16:creationId xmlns:a16="http://schemas.microsoft.com/office/drawing/2014/main" id="{9118E40E-F76A-51BB-D2B9-28B57AE79276}"/>
                  </a:ext>
                </a:extLst>
              </p:cNvPr>
              <p:cNvSpPr/>
              <p:nvPr/>
            </p:nvSpPr>
            <p:spPr>
              <a:xfrm>
                <a:off x="6191625" y="1405269"/>
                <a:ext cx="81451" cy="44043"/>
              </a:xfrm>
              <a:custGeom>
                <a:avLst/>
                <a:gdLst>
                  <a:gd name="connsiteX0" fmla="*/ 0 w 81451"/>
                  <a:gd name="connsiteY0" fmla="*/ 44044 h 44043"/>
                  <a:gd name="connsiteX1" fmla="*/ 37343 w 81451"/>
                  <a:gd name="connsiteY1" fmla="*/ 44044 h 44043"/>
                  <a:gd name="connsiteX2" fmla="*/ 81451 w 81451"/>
                  <a:gd name="connsiteY2" fmla="*/ 0 h 440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1451" h="44043">
                    <a:moveTo>
                      <a:pt x="0" y="44044"/>
                    </a:moveTo>
                    <a:lnTo>
                      <a:pt x="37343" y="44044"/>
                    </a:lnTo>
                    <a:lnTo>
                      <a:pt x="81451" y="0"/>
                    </a:lnTo>
                  </a:path>
                </a:pathLst>
              </a:custGeom>
              <a:noFill/>
              <a:ln w="19050" cap="sq">
                <a:solidFill>
                  <a:schemeClr val="bg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33" name="Forma livre: Forma 232">
                <a:extLst>
                  <a:ext uri="{FF2B5EF4-FFF2-40B4-BE49-F238E27FC236}">
                    <a16:creationId xmlns:a16="http://schemas.microsoft.com/office/drawing/2014/main" id="{FB67869C-2A0B-7015-CF96-49063A3AC8D2}"/>
                  </a:ext>
                </a:extLst>
              </p:cNvPr>
              <p:cNvSpPr/>
              <p:nvPr/>
            </p:nvSpPr>
            <p:spPr>
              <a:xfrm>
                <a:off x="6265075" y="1357908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0 h 55298"/>
                  <a:gd name="connsiteX2" fmla="*/ 0 w 55298"/>
                  <a:gd name="connsiteY2" fmla="*/ 27649 h 55298"/>
                  <a:gd name="connsiteX3" fmla="*/ 27649 w 55298"/>
                  <a:gd name="connsiteY3" fmla="*/ 55298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12361"/>
                      <a:pt x="42938" y="0"/>
                      <a:pt x="27649" y="0"/>
                    </a:cubicBezTo>
                    <a:cubicBezTo>
                      <a:pt x="12361" y="0"/>
                      <a:pt x="0" y="12361"/>
                      <a:pt x="0" y="27649"/>
                    </a:cubicBezTo>
                    <a:cubicBezTo>
                      <a:pt x="0" y="42938"/>
                      <a:pt x="12361" y="55298"/>
                      <a:pt x="27649" y="55298"/>
                    </a:cubicBezTo>
                    <a:cubicBezTo>
                      <a:pt x="42938" y="55298"/>
                      <a:pt x="55298" y="42938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bg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226" name="Gráfico 32">
              <a:extLst>
                <a:ext uri="{FF2B5EF4-FFF2-40B4-BE49-F238E27FC236}">
                  <a16:creationId xmlns:a16="http://schemas.microsoft.com/office/drawing/2014/main" id="{A959F7A2-66DF-313B-3606-9B9F216B265D}"/>
                </a:ext>
              </a:extLst>
            </p:cNvPr>
            <p:cNvGrpSpPr/>
            <p:nvPr/>
          </p:nvGrpSpPr>
          <p:grpSpPr>
            <a:xfrm>
              <a:off x="6190910" y="1529723"/>
              <a:ext cx="123673" cy="55298"/>
              <a:chOff x="6190910" y="1529723"/>
              <a:chExt cx="123673" cy="55298"/>
            </a:xfrm>
            <a:noFill/>
          </p:grpSpPr>
          <p:sp>
            <p:nvSpPr>
              <p:cNvPr id="228" name="Forma livre: Forma 227">
                <a:extLst>
                  <a:ext uri="{FF2B5EF4-FFF2-40B4-BE49-F238E27FC236}">
                    <a16:creationId xmlns:a16="http://schemas.microsoft.com/office/drawing/2014/main" id="{F75A588A-9C2F-C70C-6976-75F6F0A1AF04}"/>
                  </a:ext>
                </a:extLst>
              </p:cNvPr>
              <p:cNvSpPr/>
              <p:nvPr/>
            </p:nvSpPr>
            <p:spPr>
              <a:xfrm>
                <a:off x="6190910" y="1557372"/>
                <a:ext cx="68765" cy="6505"/>
              </a:xfrm>
              <a:custGeom>
                <a:avLst/>
                <a:gdLst>
                  <a:gd name="connsiteX0" fmla="*/ 0 w 68765"/>
                  <a:gd name="connsiteY0" fmla="*/ 0 h 6505"/>
                  <a:gd name="connsiteX1" fmla="*/ 68765 w 68765"/>
                  <a:gd name="connsiteY1" fmla="*/ 0 h 65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8765" h="6505">
                    <a:moveTo>
                      <a:pt x="0" y="0"/>
                    </a:moveTo>
                    <a:lnTo>
                      <a:pt x="68765" y="0"/>
                    </a:lnTo>
                  </a:path>
                </a:pathLst>
              </a:custGeom>
              <a:ln w="19050" cap="sq">
                <a:solidFill>
                  <a:schemeClr val="bg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29" name="Forma livre: Forma 228">
                <a:extLst>
                  <a:ext uri="{FF2B5EF4-FFF2-40B4-BE49-F238E27FC236}">
                    <a16:creationId xmlns:a16="http://schemas.microsoft.com/office/drawing/2014/main" id="{CDFAAC12-E9D1-E1FA-2937-A9F748A3AEBF}"/>
                  </a:ext>
                </a:extLst>
              </p:cNvPr>
              <p:cNvSpPr/>
              <p:nvPr/>
            </p:nvSpPr>
            <p:spPr>
              <a:xfrm>
                <a:off x="6259285" y="1529723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bg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227" name="Forma livre: Forma 226">
              <a:extLst>
                <a:ext uri="{FF2B5EF4-FFF2-40B4-BE49-F238E27FC236}">
                  <a16:creationId xmlns:a16="http://schemas.microsoft.com/office/drawing/2014/main" id="{B23C68CC-0AE1-3A7D-DA7F-A860B4A8061F}"/>
                </a:ext>
              </a:extLst>
            </p:cNvPr>
            <p:cNvSpPr/>
            <p:nvPr/>
          </p:nvSpPr>
          <p:spPr>
            <a:xfrm>
              <a:off x="6152201" y="1686285"/>
              <a:ext cx="37362" cy="20848"/>
            </a:xfrm>
            <a:custGeom>
              <a:avLst/>
              <a:gdLst>
                <a:gd name="connsiteX0" fmla="*/ 0 w 37362"/>
                <a:gd name="connsiteY0" fmla="*/ 10505 h 20848"/>
                <a:gd name="connsiteX1" fmla="*/ 27064 w 37362"/>
                <a:gd name="connsiteY1" fmla="*/ 2373 h 20848"/>
                <a:gd name="connsiteX2" fmla="*/ 37343 w 37362"/>
                <a:gd name="connsiteY2" fmla="*/ 20849 h 20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7362" h="20848">
                  <a:moveTo>
                    <a:pt x="0" y="10505"/>
                  </a:moveTo>
                  <a:cubicBezTo>
                    <a:pt x="5205" y="811"/>
                    <a:pt x="17435" y="-2832"/>
                    <a:pt x="27064" y="2373"/>
                  </a:cubicBezTo>
                  <a:cubicBezTo>
                    <a:pt x="34025" y="6081"/>
                    <a:pt x="37668" y="13432"/>
                    <a:pt x="37343" y="20849"/>
                  </a:cubicBezTo>
                </a:path>
              </a:pathLst>
            </a:custGeom>
            <a:noFill/>
            <a:ln w="19050" cap="sq">
              <a:solidFill>
                <a:schemeClr val="bg1"/>
              </a:solidFill>
              <a:prstDash val="solid"/>
              <a:miter lim="800000"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244" name="Agrupar 243">
            <a:extLst>
              <a:ext uri="{FF2B5EF4-FFF2-40B4-BE49-F238E27FC236}">
                <a16:creationId xmlns:a16="http://schemas.microsoft.com/office/drawing/2014/main" id="{58BE3882-6CF9-FD16-9E4F-77CF953F27D4}"/>
              </a:ext>
            </a:extLst>
          </p:cNvPr>
          <p:cNvGrpSpPr/>
          <p:nvPr/>
        </p:nvGrpSpPr>
        <p:grpSpPr>
          <a:xfrm>
            <a:off x="7330593" y="3384912"/>
            <a:ext cx="325297" cy="355243"/>
            <a:chOff x="6000092" y="1357908"/>
            <a:chExt cx="365300" cy="398929"/>
          </a:xfrm>
        </p:grpSpPr>
        <p:sp>
          <p:nvSpPr>
            <p:cNvPr id="245" name="Forma livre: Forma 244">
              <a:extLst>
                <a:ext uri="{FF2B5EF4-FFF2-40B4-BE49-F238E27FC236}">
                  <a16:creationId xmlns:a16="http://schemas.microsoft.com/office/drawing/2014/main" id="{46E305C6-356D-92D9-02D2-F8CD0D15AA33}"/>
                </a:ext>
              </a:extLst>
            </p:cNvPr>
            <p:cNvSpPr/>
            <p:nvPr/>
          </p:nvSpPr>
          <p:spPr>
            <a:xfrm>
              <a:off x="6000092" y="1418606"/>
              <a:ext cx="84058" cy="286120"/>
            </a:xfrm>
            <a:custGeom>
              <a:avLst/>
              <a:gdLst>
                <a:gd name="connsiteX0" fmla="*/ 51595 w 84058"/>
                <a:gd name="connsiteY0" fmla="*/ 0 h 286120"/>
                <a:gd name="connsiteX1" fmla="*/ 35266 w 84058"/>
                <a:gd name="connsiteY1" fmla="*/ 61674 h 286120"/>
                <a:gd name="connsiteX2" fmla="*/ 28760 w 84058"/>
                <a:gd name="connsiteY2" fmla="*/ 193415 h 286120"/>
                <a:gd name="connsiteX3" fmla="*/ 84059 w 84058"/>
                <a:gd name="connsiteY3" fmla="*/ 286121 h 2861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4058" h="286120">
                  <a:moveTo>
                    <a:pt x="51595" y="0"/>
                  </a:moveTo>
                  <a:cubicBezTo>
                    <a:pt x="37868" y="7872"/>
                    <a:pt x="26028" y="24852"/>
                    <a:pt x="35266" y="61674"/>
                  </a:cubicBezTo>
                  <a:cubicBezTo>
                    <a:pt x="35266" y="61674"/>
                    <a:pt x="-39549" y="126731"/>
                    <a:pt x="28760" y="193415"/>
                  </a:cubicBezTo>
                  <a:cubicBezTo>
                    <a:pt x="28760" y="193415"/>
                    <a:pt x="9243" y="281242"/>
                    <a:pt x="84059" y="286121"/>
                  </a:cubicBezTo>
                </a:path>
              </a:pathLst>
            </a:custGeom>
            <a:noFill/>
            <a:ln w="19050" cap="sq">
              <a:solidFill>
                <a:schemeClr val="bg1"/>
              </a:solidFill>
              <a:prstDash val="solid"/>
              <a:miter lim="800000"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246" name="Gráfico 32">
              <a:extLst>
                <a:ext uri="{FF2B5EF4-FFF2-40B4-BE49-F238E27FC236}">
                  <a16:creationId xmlns:a16="http://schemas.microsoft.com/office/drawing/2014/main" id="{961EFEC6-565A-1EB2-C1AF-232ABB19CBE4}"/>
                </a:ext>
              </a:extLst>
            </p:cNvPr>
            <p:cNvGrpSpPr/>
            <p:nvPr/>
          </p:nvGrpSpPr>
          <p:grpSpPr>
            <a:xfrm>
              <a:off x="6061121" y="1359924"/>
              <a:ext cx="128487" cy="396366"/>
              <a:chOff x="6061121" y="1359924"/>
              <a:chExt cx="128487" cy="396366"/>
            </a:xfrm>
            <a:noFill/>
          </p:grpSpPr>
          <p:sp>
            <p:nvSpPr>
              <p:cNvPr id="261" name="Forma livre: Forma 260">
                <a:extLst>
                  <a:ext uri="{FF2B5EF4-FFF2-40B4-BE49-F238E27FC236}">
                    <a16:creationId xmlns:a16="http://schemas.microsoft.com/office/drawing/2014/main" id="{39DA8F25-A56A-AA6F-6AAC-B77EC983D661}"/>
                  </a:ext>
                </a:extLst>
              </p:cNvPr>
              <p:cNvSpPr/>
              <p:nvPr/>
            </p:nvSpPr>
            <p:spPr>
              <a:xfrm>
                <a:off x="6083891" y="1359924"/>
                <a:ext cx="105717" cy="396366"/>
              </a:xfrm>
              <a:custGeom>
                <a:avLst/>
                <a:gdLst>
                  <a:gd name="connsiteX0" fmla="*/ 52891 w 105717"/>
                  <a:gd name="connsiteY0" fmla="*/ 105718 h 396366"/>
                  <a:gd name="connsiteX1" fmla="*/ 0 w 105717"/>
                  <a:gd name="connsiteY1" fmla="*/ 52891 h 396366"/>
                  <a:gd name="connsiteX2" fmla="*/ 52891 w 105717"/>
                  <a:gd name="connsiteY2" fmla="*/ 0 h 396366"/>
                  <a:gd name="connsiteX3" fmla="*/ 105718 w 105717"/>
                  <a:gd name="connsiteY3" fmla="*/ 52826 h 396366"/>
                  <a:gd name="connsiteX4" fmla="*/ 105718 w 105717"/>
                  <a:gd name="connsiteY4" fmla="*/ 346884 h 396366"/>
                  <a:gd name="connsiteX5" fmla="*/ 80606 w 105717"/>
                  <a:gd name="connsiteY5" fmla="*/ 388911 h 396366"/>
                  <a:gd name="connsiteX6" fmla="*/ 9238 w 105717"/>
                  <a:gd name="connsiteY6" fmla="*/ 371150 h 396366"/>
                  <a:gd name="connsiteX7" fmla="*/ 15484 w 105717"/>
                  <a:gd name="connsiteY7" fmla="*/ 309216 h 396366"/>
                  <a:gd name="connsiteX8" fmla="*/ 45019 w 105717"/>
                  <a:gd name="connsiteY8" fmla="*/ 277078 h 3963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05717" h="396366">
                    <a:moveTo>
                      <a:pt x="52891" y="105718"/>
                    </a:moveTo>
                    <a:cubicBezTo>
                      <a:pt x="23681" y="105718"/>
                      <a:pt x="0" y="82037"/>
                      <a:pt x="0" y="52891"/>
                    </a:cubicBezTo>
                    <a:cubicBezTo>
                      <a:pt x="0" y="23746"/>
                      <a:pt x="23681" y="0"/>
                      <a:pt x="52891" y="0"/>
                    </a:cubicBezTo>
                    <a:cubicBezTo>
                      <a:pt x="82102" y="0"/>
                      <a:pt x="105718" y="23681"/>
                      <a:pt x="105718" y="52826"/>
                    </a:cubicBezTo>
                    <a:lnTo>
                      <a:pt x="105718" y="346884"/>
                    </a:lnTo>
                    <a:cubicBezTo>
                      <a:pt x="105718" y="364580"/>
                      <a:pt x="96414" y="379413"/>
                      <a:pt x="80606" y="388911"/>
                    </a:cubicBezTo>
                    <a:cubicBezTo>
                      <a:pt x="55949" y="403744"/>
                      <a:pt x="24006" y="395742"/>
                      <a:pt x="9238" y="371150"/>
                    </a:cubicBezTo>
                    <a:cubicBezTo>
                      <a:pt x="-2928" y="350918"/>
                      <a:pt x="260" y="325741"/>
                      <a:pt x="15484" y="309216"/>
                    </a:cubicBezTo>
                    <a:lnTo>
                      <a:pt x="45019" y="277078"/>
                    </a:lnTo>
                  </a:path>
                </a:pathLst>
              </a:custGeom>
              <a:noFill/>
              <a:ln w="19050" cap="sq">
                <a:solidFill>
                  <a:schemeClr val="bg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62" name="Forma livre: Forma 261">
                <a:extLst>
                  <a:ext uri="{FF2B5EF4-FFF2-40B4-BE49-F238E27FC236}">
                    <a16:creationId xmlns:a16="http://schemas.microsoft.com/office/drawing/2014/main" id="{4DFBC2E7-3D2D-C6CC-FB7F-A7C6A4D41958}"/>
                  </a:ext>
                </a:extLst>
              </p:cNvPr>
              <p:cNvSpPr/>
              <p:nvPr/>
            </p:nvSpPr>
            <p:spPr>
              <a:xfrm>
                <a:off x="6144784" y="1383865"/>
                <a:ext cx="41563" cy="38963"/>
              </a:xfrm>
              <a:custGeom>
                <a:avLst/>
                <a:gdLst>
                  <a:gd name="connsiteX0" fmla="*/ 36172 w 41563"/>
                  <a:gd name="connsiteY0" fmla="*/ 0 h 38963"/>
                  <a:gd name="connsiteX1" fmla="*/ 39425 w 41563"/>
                  <a:gd name="connsiteY1" fmla="*/ 24266 h 38963"/>
                  <a:gd name="connsiteX2" fmla="*/ 36432 w 41563"/>
                  <a:gd name="connsiteY2" fmla="*/ 29080 h 38963"/>
                  <a:gd name="connsiteX3" fmla="*/ 0 w 41563"/>
                  <a:gd name="connsiteY3" fmla="*/ 33439 h 389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563" h="38963">
                    <a:moveTo>
                      <a:pt x="36172" y="0"/>
                    </a:moveTo>
                    <a:cubicBezTo>
                      <a:pt x="41571" y="7547"/>
                      <a:pt x="43393" y="16004"/>
                      <a:pt x="39425" y="24266"/>
                    </a:cubicBezTo>
                    <a:cubicBezTo>
                      <a:pt x="38644" y="25893"/>
                      <a:pt x="37603" y="27519"/>
                      <a:pt x="36432" y="29080"/>
                    </a:cubicBezTo>
                    <a:cubicBezTo>
                      <a:pt x="27584" y="40270"/>
                      <a:pt x="11190" y="42287"/>
                      <a:pt x="0" y="33439"/>
                    </a:cubicBezTo>
                  </a:path>
                </a:pathLst>
              </a:custGeom>
              <a:noFill/>
              <a:ln w="19050" cap="sq">
                <a:solidFill>
                  <a:schemeClr val="bg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63" name="Forma livre: Forma 262">
                <a:extLst>
                  <a:ext uri="{FF2B5EF4-FFF2-40B4-BE49-F238E27FC236}">
                    <a16:creationId xmlns:a16="http://schemas.microsoft.com/office/drawing/2014/main" id="{CE173645-176B-560C-F121-D2CDD0C0AADC}"/>
                  </a:ext>
                </a:extLst>
              </p:cNvPr>
              <p:cNvSpPr/>
              <p:nvPr/>
            </p:nvSpPr>
            <p:spPr>
              <a:xfrm>
                <a:off x="6081487" y="1460806"/>
                <a:ext cx="34217" cy="54474"/>
              </a:xfrm>
              <a:custGeom>
                <a:avLst/>
                <a:gdLst>
                  <a:gd name="connsiteX0" fmla="*/ 21076 w 34217"/>
                  <a:gd name="connsiteY0" fmla="*/ 54475 h 54474"/>
                  <a:gd name="connsiteX1" fmla="*/ 778 w 34217"/>
                  <a:gd name="connsiteY1" fmla="*/ 21035 h 54474"/>
                  <a:gd name="connsiteX2" fmla="*/ 34217 w 34217"/>
                  <a:gd name="connsiteY2" fmla="*/ 803 h 544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4217" h="54474">
                    <a:moveTo>
                      <a:pt x="21076" y="54475"/>
                    </a:moveTo>
                    <a:cubicBezTo>
                      <a:pt x="6308" y="50832"/>
                      <a:pt x="-2800" y="35803"/>
                      <a:pt x="778" y="21035"/>
                    </a:cubicBezTo>
                    <a:cubicBezTo>
                      <a:pt x="4421" y="6267"/>
                      <a:pt x="19449" y="-2841"/>
                      <a:pt x="34217" y="803"/>
                    </a:cubicBezTo>
                  </a:path>
                </a:pathLst>
              </a:custGeom>
              <a:noFill/>
              <a:ln w="19050" cap="sq">
                <a:solidFill>
                  <a:schemeClr val="bg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64" name="Forma livre: Forma 263">
                <a:extLst>
                  <a:ext uri="{FF2B5EF4-FFF2-40B4-BE49-F238E27FC236}">
                    <a16:creationId xmlns:a16="http://schemas.microsoft.com/office/drawing/2014/main" id="{2E12AEBB-B434-72E4-FEC8-ABCFFD7E9519}"/>
                  </a:ext>
                </a:extLst>
              </p:cNvPr>
              <p:cNvSpPr/>
              <p:nvPr/>
            </p:nvSpPr>
            <p:spPr>
              <a:xfrm>
                <a:off x="6073547" y="1527543"/>
                <a:ext cx="114760" cy="72506"/>
              </a:xfrm>
              <a:custGeom>
                <a:avLst/>
                <a:gdLst>
                  <a:gd name="connsiteX0" fmla="*/ 114760 w 114760"/>
                  <a:gd name="connsiteY0" fmla="*/ 7254 h 72506"/>
                  <a:gd name="connsiteX1" fmla="*/ 73905 w 114760"/>
                  <a:gd name="connsiteY1" fmla="*/ 8881 h 72506"/>
                  <a:gd name="connsiteX2" fmla="*/ 0 w 114760"/>
                  <a:gd name="connsiteY2" fmla="*/ 72506 h 725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14760" h="72506">
                    <a:moveTo>
                      <a:pt x="114760" y="7254"/>
                    </a:moveTo>
                    <a:cubicBezTo>
                      <a:pt x="103375" y="-2830"/>
                      <a:pt x="83989" y="-2504"/>
                      <a:pt x="73905" y="8881"/>
                    </a:cubicBezTo>
                    <a:cubicBezTo>
                      <a:pt x="73905" y="8881"/>
                      <a:pt x="31488" y="72506"/>
                      <a:pt x="0" y="72506"/>
                    </a:cubicBezTo>
                  </a:path>
                </a:pathLst>
              </a:custGeom>
              <a:noFill/>
              <a:ln w="19050" cap="sq">
                <a:solidFill>
                  <a:schemeClr val="bg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65" name="Forma livre: Forma 264">
                <a:extLst>
                  <a:ext uri="{FF2B5EF4-FFF2-40B4-BE49-F238E27FC236}">
                    <a16:creationId xmlns:a16="http://schemas.microsoft.com/office/drawing/2014/main" id="{3B09656D-6775-8988-DA29-AC1DF1EAA565}"/>
                  </a:ext>
                </a:extLst>
              </p:cNvPr>
              <p:cNvSpPr/>
              <p:nvPr/>
            </p:nvSpPr>
            <p:spPr>
              <a:xfrm>
                <a:off x="6079857" y="1646956"/>
                <a:ext cx="29405" cy="9823"/>
              </a:xfrm>
              <a:custGeom>
                <a:avLst/>
                <a:gdLst>
                  <a:gd name="connsiteX0" fmla="*/ 0 w 29405"/>
                  <a:gd name="connsiteY0" fmla="*/ 0 h 9823"/>
                  <a:gd name="connsiteX1" fmla="*/ 29406 w 29405"/>
                  <a:gd name="connsiteY1" fmla="*/ 9824 h 98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9405" h="9823">
                    <a:moveTo>
                      <a:pt x="0" y="0"/>
                    </a:moveTo>
                    <a:lnTo>
                      <a:pt x="29406" y="9824"/>
                    </a:lnTo>
                  </a:path>
                </a:pathLst>
              </a:custGeom>
              <a:ln w="19050" cap="sq">
                <a:solidFill>
                  <a:schemeClr val="bg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66" name="Forma livre: Forma 265">
                <a:extLst>
                  <a:ext uri="{FF2B5EF4-FFF2-40B4-BE49-F238E27FC236}">
                    <a16:creationId xmlns:a16="http://schemas.microsoft.com/office/drawing/2014/main" id="{1EF0A357-A657-373F-8DE2-B8A2D0C9A1C4}"/>
                  </a:ext>
                </a:extLst>
              </p:cNvPr>
              <p:cNvSpPr/>
              <p:nvPr/>
            </p:nvSpPr>
            <p:spPr>
              <a:xfrm>
                <a:off x="6061121" y="1545272"/>
                <a:ext cx="47166" cy="34154"/>
              </a:xfrm>
              <a:custGeom>
                <a:avLst/>
                <a:gdLst>
                  <a:gd name="connsiteX0" fmla="*/ 0 w 47166"/>
                  <a:gd name="connsiteY0" fmla="*/ 0 h 34154"/>
                  <a:gd name="connsiteX1" fmla="*/ 47166 w 47166"/>
                  <a:gd name="connsiteY1" fmla="*/ 34155 h 341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166" h="34154">
                    <a:moveTo>
                      <a:pt x="0" y="0"/>
                    </a:moveTo>
                    <a:cubicBezTo>
                      <a:pt x="0" y="0"/>
                      <a:pt x="27649" y="13011"/>
                      <a:pt x="47166" y="34155"/>
                    </a:cubicBezTo>
                  </a:path>
                </a:pathLst>
              </a:custGeom>
              <a:noFill/>
              <a:ln w="19050" cap="sq">
                <a:solidFill>
                  <a:schemeClr val="bg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247" name="Gráfico 32">
              <a:extLst>
                <a:ext uri="{FF2B5EF4-FFF2-40B4-BE49-F238E27FC236}">
                  <a16:creationId xmlns:a16="http://schemas.microsoft.com/office/drawing/2014/main" id="{7DD431A5-EEED-C35E-F455-2D414EAD3676}"/>
                </a:ext>
              </a:extLst>
            </p:cNvPr>
            <p:cNvGrpSpPr/>
            <p:nvPr/>
          </p:nvGrpSpPr>
          <p:grpSpPr>
            <a:xfrm>
              <a:off x="6191625" y="1599725"/>
              <a:ext cx="173767" cy="157112"/>
              <a:chOff x="6191625" y="1599725"/>
              <a:chExt cx="173767" cy="157112"/>
            </a:xfrm>
            <a:noFill/>
          </p:grpSpPr>
          <p:sp>
            <p:nvSpPr>
              <p:cNvPr id="257" name="Forma livre: Forma 256">
                <a:extLst>
                  <a:ext uri="{FF2B5EF4-FFF2-40B4-BE49-F238E27FC236}">
                    <a16:creationId xmlns:a16="http://schemas.microsoft.com/office/drawing/2014/main" id="{9752BBB0-7574-65AD-ABD3-343DFD75EEB4}"/>
                  </a:ext>
                </a:extLst>
              </p:cNvPr>
              <p:cNvSpPr/>
              <p:nvPr/>
            </p:nvSpPr>
            <p:spPr>
              <a:xfrm>
                <a:off x="6310094" y="1621974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bg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58" name="Forma livre: Forma 257">
                <a:extLst>
                  <a:ext uri="{FF2B5EF4-FFF2-40B4-BE49-F238E27FC236}">
                    <a16:creationId xmlns:a16="http://schemas.microsoft.com/office/drawing/2014/main" id="{B11C1B5F-2580-517A-35E3-12A0F7EE3897}"/>
                  </a:ext>
                </a:extLst>
              </p:cNvPr>
              <p:cNvSpPr/>
              <p:nvPr/>
            </p:nvSpPr>
            <p:spPr>
              <a:xfrm>
                <a:off x="6191625" y="1599725"/>
                <a:ext cx="118078" cy="49898"/>
              </a:xfrm>
              <a:custGeom>
                <a:avLst/>
                <a:gdLst>
                  <a:gd name="connsiteX0" fmla="*/ 0 w 118078"/>
                  <a:gd name="connsiteY0" fmla="*/ 0 h 49898"/>
                  <a:gd name="connsiteX1" fmla="*/ 37343 w 118078"/>
                  <a:gd name="connsiteY1" fmla="*/ 0 h 49898"/>
                  <a:gd name="connsiteX2" fmla="*/ 87176 w 118078"/>
                  <a:gd name="connsiteY2" fmla="*/ 49899 h 49898"/>
                  <a:gd name="connsiteX3" fmla="*/ 118078 w 118078"/>
                  <a:gd name="connsiteY3" fmla="*/ 49899 h 49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8078" h="49898">
                    <a:moveTo>
                      <a:pt x="0" y="0"/>
                    </a:moveTo>
                    <a:lnTo>
                      <a:pt x="37343" y="0"/>
                    </a:lnTo>
                    <a:lnTo>
                      <a:pt x="87176" y="49899"/>
                    </a:lnTo>
                    <a:lnTo>
                      <a:pt x="118078" y="49899"/>
                    </a:lnTo>
                  </a:path>
                </a:pathLst>
              </a:custGeom>
              <a:noFill/>
              <a:ln w="19050" cap="sq">
                <a:solidFill>
                  <a:schemeClr val="bg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59" name="Forma livre: Forma 258">
                <a:extLst>
                  <a:ext uri="{FF2B5EF4-FFF2-40B4-BE49-F238E27FC236}">
                    <a16:creationId xmlns:a16="http://schemas.microsoft.com/office/drawing/2014/main" id="{CC939286-A8EE-1D0D-CB30-6051410CB253}"/>
                  </a:ext>
                </a:extLst>
              </p:cNvPr>
              <p:cNvSpPr/>
              <p:nvPr/>
            </p:nvSpPr>
            <p:spPr>
              <a:xfrm>
                <a:off x="6191625" y="1665367"/>
                <a:ext cx="81906" cy="44108"/>
              </a:xfrm>
              <a:custGeom>
                <a:avLst/>
                <a:gdLst>
                  <a:gd name="connsiteX0" fmla="*/ 0 w 81906"/>
                  <a:gd name="connsiteY0" fmla="*/ 0 h 44108"/>
                  <a:gd name="connsiteX1" fmla="*/ 37343 w 81906"/>
                  <a:gd name="connsiteY1" fmla="*/ 0 h 44108"/>
                  <a:gd name="connsiteX2" fmla="*/ 81907 w 81906"/>
                  <a:gd name="connsiteY2" fmla="*/ 44109 h 441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1906" h="44108">
                    <a:moveTo>
                      <a:pt x="0" y="0"/>
                    </a:moveTo>
                    <a:lnTo>
                      <a:pt x="37343" y="0"/>
                    </a:lnTo>
                    <a:lnTo>
                      <a:pt x="81907" y="44109"/>
                    </a:lnTo>
                  </a:path>
                </a:pathLst>
              </a:custGeom>
              <a:noFill/>
              <a:ln w="19050" cap="sq">
                <a:solidFill>
                  <a:schemeClr val="bg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60" name="Forma livre: Forma 259">
                <a:extLst>
                  <a:ext uri="{FF2B5EF4-FFF2-40B4-BE49-F238E27FC236}">
                    <a16:creationId xmlns:a16="http://schemas.microsoft.com/office/drawing/2014/main" id="{2F7FA2DD-CBF5-D50A-7132-D1E7999840AB}"/>
                  </a:ext>
                </a:extLst>
              </p:cNvPr>
              <p:cNvSpPr/>
              <p:nvPr/>
            </p:nvSpPr>
            <p:spPr>
              <a:xfrm>
                <a:off x="6265075" y="1701539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bg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248" name="Gráfico 32">
              <a:extLst>
                <a:ext uri="{FF2B5EF4-FFF2-40B4-BE49-F238E27FC236}">
                  <a16:creationId xmlns:a16="http://schemas.microsoft.com/office/drawing/2014/main" id="{58C284D5-4C83-22F7-06F0-EC25BD7261A3}"/>
                </a:ext>
              </a:extLst>
            </p:cNvPr>
            <p:cNvGrpSpPr/>
            <p:nvPr/>
          </p:nvGrpSpPr>
          <p:grpSpPr>
            <a:xfrm>
              <a:off x="6191625" y="1357908"/>
              <a:ext cx="173767" cy="157112"/>
              <a:chOff x="6191625" y="1357908"/>
              <a:chExt cx="173767" cy="157112"/>
            </a:xfrm>
            <a:noFill/>
          </p:grpSpPr>
          <p:sp>
            <p:nvSpPr>
              <p:cNvPr id="253" name="Forma livre: Forma 252">
                <a:extLst>
                  <a:ext uri="{FF2B5EF4-FFF2-40B4-BE49-F238E27FC236}">
                    <a16:creationId xmlns:a16="http://schemas.microsoft.com/office/drawing/2014/main" id="{0D0E6813-2E41-B586-D791-400A37E72244}"/>
                  </a:ext>
                </a:extLst>
              </p:cNvPr>
              <p:cNvSpPr/>
              <p:nvPr/>
            </p:nvSpPr>
            <p:spPr>
              <a:xfrm>
                <a:off x="6310094" y="1437472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0 h 55298"/>
                  <a:gd name="connsiteX2" fmla="*/ 0 w 55298"/>
                  <a:gd name="connsiteY2" fmla="*/ 27649 h 55298"/>
                  <a:gd name="connsiteX3" fmla="*/ 27649 w 55298"/>
                  <a:gd name="connsiteY3" fmla="*/ 55298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12361"/>
                      <a:pt x="42938" y="0"/>
                      <a:pt x="27649" y="0"/>
                    </a:cubicBezTo>
                    <a:cubicBezTo>
                      <a:pt x="12361" y="0"/>
                      <a:pt x="0" y="12361"/>
                      <a:pt x="0" y="27649"/>
                    </a:cubicBezTo>
                    <a:cubicBezTo>
                      <a:pt x="0" y="42938"/>
                      <a:pt x="12361" y="55298"/>
                      <a:pt x="27649" y="55298"/>
                    </a:cubicBezTo>
                    <a:cubicBezTo>
                      <a:pt x="42938" y="55298"/>
                      <a:pt x="55298" y="42938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bg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54" name="Forma livre: Forma 253">
                <a:extLst>
                  <a:ext uri="{FF2B5EF4-FFF2-40B4-BE49-F238E27FC236}">
                    <a16:creationId xmlns:a16="http://schemas.microsoft.com/office/drawing/2014/main" id="{E29731D8-50B7-FDD7-B4AB-7CBE28C4A08B}"/>
                  </a:ext>
                </a:extLst>
              </p:cNvPr>
              <p:cNvSpPr/>
              <p:nvPr/>
            </p:nvSpPr>
            <p:spPr>
              <a:xfrm>
                <a:off x="6191625" y="1465122"/>
                <a:ext cx="118468" cy="49898"/>
              </a:xfrm>
              <a:custGeom>
                <a:avLst/>
                <a:gdLst>
                  <a:gd name="connsiteX0" fmla="*/ 0 w 118468"/>
                  <a:gd name="connsiteY0" fmla="*/ 49899 h 49898"/>
                  <a:gd name="connsiteX1" fmla="*/ 37343 w 118468"/>
                  <a:gd name="connsiteY1" fmla="*/ 49899 h 49898"/>
                  <a:gd name="connsiteX2" fmla="*/ 87176 w 118468"/>
                  <a:gd name="connsiteY2" fmla="*/ 0 h 49898"/>
                  <a:gd name="connsiteX3" fmla="*/ 118469 w 118468"/>
                  <a:gd name="connsiteY3" fmla="*/ 0 h 49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8468" h="49898">
                    <a:moveTo>
                      <a:pt x="0" y="49899"/>
                    </a:moveTo>
                    <a:lnTo>
                      <a:pt x="37343" y="49899"/>
                    </a:lnTo>
                    <a:lnTo>
                      <a:pt x="87176" y="0"/>
                    </a:lnTo>
                    <a:lnTo>
                      <a:pt x="118469" y="0"/>
                    </a:lnTo>
                  </a:path>
                </a:pathLst>
              </a:custGeom>
              <a:noFill/>
              <a:ln w="19050" cap="sq">
                <a:solidFill>
                  <a:schemeClr val="bg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55" name="Forma livre: Forma 254">
                <a:extLst>
                  <a:ext uri="{FF2B5EF4-FFF2-40B4-BE49-F238E27FC236}">
                    <a16:creationId xmlns:a16="http://schemas.microsoft.com/office/drawing/2014/main" id="{A1324689-2C0F-2B20-3769-4943F7BF9F35}"/>
                  </a:ext>
                </a:extLst>
              </p:cNvPr>
              <p:cNvSpPr/>
              <p:nvPr/>
            </p:nvSpPr>
            <p:spPr>
              <a:xfrm>
                <a:off x="6191625" y="1405269"/>
                <a:ext cx="81451" cy="44043"/>
              </a:xfrm>
              <a:custGeom>
                <a:avLst/>
                <a:gdLst>
                  <a:gd name="connsiteX0" fmla="*/ 0 w 81451"/>
                  <a:gd name="connsiteY0" fmla="*/ 44044 h 44043"/>
                  <a:gd name="connsiteX1" fmla="*/ 37343 w 81451"/>
                  <a:gd name="connsiteY1" fmla="*/ 44044 h 44043"/>
                  <a:gd name="connsiteX2" fmla="*/ 81451 w 81451"/>
                  <a:gd name="connsiteY2" fmla="*/ 0 h 440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1451" h="44043">
                    <a:moveTo>
                      <a:pt x="0" y="44044"/>
                    </a:moveTo>
                    <a:lnTo>
                      <a:pt x="37343" y="44044"/>
                    </a:lnTo>
                    <a:lnTo>
                      <a:pt x="81451" y="0"/>
                    </a:lnTo>
                  </a:path>
                </a:pathLst>
              </a:custGeom>
              <a:noFill/>
              <a:ln w="19050" cap="sq">
                <a:solidFill>
                  <a:schemeClr val="bg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56" name="Forma livre: Forma 255">
                <a:extLst>
                  <a:ext uri="{FF2B5EF4-FFF2-40B4-BE49-F238E27FC236}">
                    <a16:creationId xmlns:a16="http://schemas.microsoft.com/office/drawing/2014/main" id="{60928CEB-D351-C70C-7BCD-177FE015971D}"/>
                  </a:ext>
                </a:extLst>
              </p:cNvPr>
              <p:cNvSpPr/>
              <p:nvPr/>
            </p:nvSpPr>
            <p:spPr>
              <a:xfrm>
                <a:off x="6265075" y="1357908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0 h 55298"/>
                  <a:gd name="connsiteX2" fmla="*/ 0 w 55298"/>
                  <a:gd name="connsiteY2" fmla="*/ 27649 h 55298"/>
                  <a:gd name="connsiteX3" fmla="*/ 27649 w 55298"/>
                  <a:gd name="connsiteY3" fmla="*/ 55298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12361"/>
                      <a:pt x="42938" y="0"/>
                      <a:pt x="27649" y="0"/>
                    </a:cubicBezTo>
                    <a:cubicBezTo>
                      <a:pt x="12361" y="0"/>
                      <a:pt x="0" y="12361"/>
                      <a:pt x="0" y="27649"/>
                    </a:cubicBezTo>
                    <a:cubicBezTo>
                      <a:pt x="0" y="42938"/>
                      <a:pt x="12361" y="55298"/>
                      <a:pt x="27649" y="55298"/>
                    </a:cubicBezTo>
                    <a:cubicBezTo>
                      <a:pt x="42938" y="55298"/>
                      <a:pt x="55298" y="42938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bg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249" name="Gráfico 32">
              <a:extLst>
                <a:ext uri="{FF2B5EF4-FFF2-40B4-BE49-F238E27FC236}">
                  <a16:creationId xmlns:a16="http://schemas.microsoft.com/office/drawing/2014/main" id="{A556EFB7-F7C7-CB69-A161-2C0F0A2BC49B}"/>
                </a:ext>
              </a:extLst>
            </p:cNvPr>
            <p:cNvGrpSpPr/>
            <p:nvPr/>
          </p:nvGrpSpPr>
          <p:grpSpPr>
            <a:xfrm>
              <a:off x="6190910" y="1529723"/>
              <a:ext cx="123673" cy="55298"/>
              <a:chOff x="6190910" y="1529723"/>
              <a:chExt cx="123673" cy="55298"/>
            </a:xfrm>
            <a:noFill/>
          </p:grpSpPr>
          <p:sp>
            <p:nvSpPr>
              <p:cNvPr id="251" name="Forma livre: Forma 250">
                <a:extLst>
                  <a:ext uri="{FF2B5EF4-FFF2-40B4-BE49-F238E27FC236}">
                    <a16:creationId xmlns:a16="http://schemas.microsoft.com/office/drawing/2014/main" id="{6FD60050-DD18-4447-699A-680638414DD1}"/>
                  </a:ext>
                </a:extLst>
              </p:cNvPr>
              <p:cNvSpPr/>
              <p:nvPr/>
            </p:nvSpPr>
            <p:spPr>
              <a:xfrm>
                <a:off x="6190910" y="1557372"/>
                <a:ext cx="68765" cy="6505"/>
              </a:xfrm>
              <a:custGeom>
                <a:avLst/>
                <a:gdLst>
                  <a:gd name="connsiteX0" fmla="*/ 0 w 68765"/>
                  <a:gd name="connsiteY0" fmla="*/ 0 h 6505"/>
                  <a:gd name="connsiteX1" fmla="*/ 68765 w 68765"/>
                  <a:gd name="connsiteY1" fmla="*/ 0 h 65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8765" h="6505">
                    <a:moveTo>
                      <a:pt x="0" y="0"/>
                    </a:moveTo>
                    <a:lnTo>
                      <a:pt x="68765" y="0"/>
                    </a:lnTo>
                  </a:path>
                </a:pathLst>
              </a:custGeom>
              <a:ln w="19050" cap="sq">
                <a:solidFill>
                  <a:schemeClr val="bg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52" name="Forma livre: Forma 251">
                <a:extLst>
                  <a:ext uri="{FF2B5EF4-FFF2-40B4-BE49-F238E27FC236}">
                    <a16:creationId xmlns:a16="http://schemas.microsoft.com/office/drawing/2014/main" id="{575D4BC6-DC13-5D7E-E639-85368AB05E8F}"/>
                  </a:ext>
                </a:extLst>
              </p:cNvPr>
              <p:cNvSpPr/>
              <p:nvPr/>
            </p:nvSpPr>
            <p:spPr>
              <a:xfrm>
                <a:off x="6259285" y="1529723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bg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250" name="Forma livre: Forma 249">
              <a:extLst>
                <a:ext uri="{FF2B5EF4-FFF2-40B4-BE49-F238E27FC236}">
                  <a16:creationId xmlns:a16="http://schemas.microsoft.com/office/drawing/2014/main" id="{C483F8A0-C8E9-9935-2AB8-412482C2FEBC}"/>
                </a:ext>
              </a:extLst>
            </p:cNvPr>
            <p:cNvSpPr/>
            <p:nvPr/>
          </p:nvSpPr>
          <p:spPr>
            <a:xfrm>
              <a:off x="6152201" y="1686285"/>
              <a:ext cx="37362" cy="20848"/>
            </a:xfrm>
            <a:custGeom>
              <a:avLst/>
              <a:gdLst>
                <a:gd name="connsiteX0" fmla="*/ 0 w 37362"/>
                <a:gd name="connsiteY0" fmla="*/ 10505 h 20848"/>
                <a:gd name="connsiteX1" fmla="*/ 27064 w 37362"/>
                <a:gd name="connsiteY1" fmla="*/ 2373 h 20848"/>
                <a:gd name="connsiteX2" fmla="*/ 37343 w 37362"/>
                <a:gd name="connsiteY2" fmla="*/ 20849 h 20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7362" h="20848">
                  <a:moveTo>
                    <a:pt x="0" y="10505"/>
                  </a:moveTo>
                  <a:cubicBezTo>
                    <a:pt x="5205" y="811"/>
                    <a:pt x="17435" y="-2832"/>
                    <a:pt x="27064" y="2373"/>
                  </a:cubicBezTo>
                  <a:cubicBezTo>
                    <a:pt x="34025" y="6081"/>
                    <a:pt x="37668" y="13432"/>
                    <a:pt x="37343" y="20849"/>
                  </a:cubicBezTo>
                </a:path>
              </a:pathLst>
            </a:custGeom>
            <a:noFill/>
            <a:ln w="19050" cap="sq">
              <a:solidFill>
                <a:schemeClr val="bg1"/>
              </a:solidFill>
              <a:prstDash val="solid"/>
              <a:miter lim="800000"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267" name="Agrupar 266">
            <a:extLst>
              <a:ext uri="{FF2B5EF4-FFF2-40B4-BE49-F238E27FC236}">
                <a16:creationId xmlns:a16="http://schemas.microsoft.com/office/drawing/2014/main" id="{60F16E57-99AA-81FF-6942-8BD028086385}"/>
              </a:ext>
            </a:extLst>
          </p:cNvPr>
          <p:cNvGrpSpPr/>
          <p:nvPr/>
        </p:nvGrpSpPr>
        <p:grpSpPr>
          <a:xfrm>
            <a:off x="3777385" y="4027475"/>
            <a:ext cx="325297" cy="355243"/>
            <a:chOff x="6000092" y="1357908"/>
            <a:chExt cx="365300" cy="398929"/>
          </a:xfrm>
        </p:grpSpPr>
        <p:sp>
          <p:nvSpPr>
            <p:cNvPr id="268" name="Forma livre: Forma 267">
              <a:extLst>
                <a:ext uri="{FF2B5EF4-FFF2-40B4-BE49-F238E27FC236}">
                  <a16:creationId xmlns:a16="http://schemas.microsoft.com/office/drawing/2014/main" id="{AC880E91-0D65-5980-A3C2-EB64AAE741EF}"/>
                </a:ext>
              </a:extLst>
            </p:cNvPr>
            <p:cNvSpPr/>
            <p:nvPr/>
          </p:nvSpPr>
          <p:spPr>
            <a:xfrm>
              <a:off x="6000092" y="1418606"/>
              <a:ext cx="84058" cy="286120"/>
            </a:xfrm>
            <a:custGeom>
              <a:avLst/>
              <a:gdLst>
                <a:gd name="connsiteX0" fmla="*/ 51595 w 84058"/>
                <a:gd name="connsiteY0" fmla="*/ 0 h 286120"/>
                <a:gd name="connsiteX1" fmla="*/ 35266 w 84058"/>
                <a:gd name="connsiteY1" fmla="*/ 61674 h 286120"/>
                <a:gd name="connsiteX2" fmla="*/ 28760 w 84058"/>
                <a:gd name="connsiteY2" fmla="*/ 193415 h 286120"/>
                <a:gd name="connsiteX3" fmla="*/ 84059 w 84058"/>
                <a:gd name="connsiteY3" fmla="*/ 286121 h 2861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4058" h="286120">
                  <a:moveTo>
                    <a:pt x="51595" y="0"/>
                  </a:moveTo>
                  <a:cubicBezTo>
                    <a:pt x="37868" y="7872"/>
                    <a:pt x="26028" y="24852"/>
                    <a:pt x="35266" y="61674"/>
                  </a:cubicBezTo>
                  <a:cubicBezTo>
                    <a:pt x="35266" y="61674"/>
                    <a:pt x="-39549" y="126731"/>
                    <a:pt x="28760" y="193415"/>
                  </a:cubicBezTo>
                  <a:cubicBezTo>
                    <a:pt x="28760" y="193415"/>
                    <a:pt x="9243" y="281242"/>
                    <a:pt x="84059" y="286121"/>
                  </a:cubicBezTo>
                </a:path>
              </a:pathLst>
            </a:custGeom>
            <a:noFill/>
            <a:ln w="19050" cap="sq">
              <a:solidFill>
                <a:schemeClr val="tx1"/>
              </a:solidFill>
              <a:prstDash val="solid"/>
              <a:miter lim="800000"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269" name="Gráfico 32">
              <a:extLst>
                <a:ext uri="{FF2B5EF4-FFF2-40B4-BE49-F238E27FC236}">
                  <a16:creationId xmlns:a16="http://schemas.microsoft.com/office/drawing/2014/main" id="{7A165E74-711E-F7E7-1865-7FA61DA1E27E}"/>
                </a:ext>
              </a:extLst>
            </p:cNvPr>
            <p:cNvGrpSpPr/>
            <p:nvPr/>
          </p:nvGrpSpPr>
          <p:grpSpPr>
            <a:xfrm>
              <a:off x="6061121" y="1359924"/>
              <a:ext cx="128487" cy="396366"/>
              <a:chOff x="6061121" y="1359924"/>
              <a:chExt cx="128487" cy="396366"/>
            </a:xfrm>
            <a:noFill/>
          </p:grpSpPr>
          <p:sp>
            <p:nvSpPr>
              <p:cNvPr id="284" name="Forma livre: Forma 283">
                <a:extLst>
                  <a:ext uri="{FF2B5EF4-FFF2-40B4-BE49-F238E27FC236}">
                    <a16:creationId xmlns:a16="http://schemas.microsoft.com/office/drawing/2014/main" id="{75116DFF-51D7-4635-EC5E-E5CDB67BCB2F}"/>
                  </a:ext>
                </a:extLst>
              </p:cNvPr>
              <p:cNvSpPr/>
              <p:nvPr/>
            </p:nvSpPr>
            <p:spPr>
              <a:xfrm>
                <a:off x="6083891" y="1359924"/>
                <a:ext cx="105717" cy="396366"/>
              </a:xfrm>
              <a:custGeom>
                <a:avLst/>
                <a:gdLst>
                  <a:gd name="connsiteX0" fmla="*/ 52891 w 105717"/>
                  <a:gd name="connsiteY0" fmla="*/ 105718 h 396366"/>
                  <a:gd name="connsiteX1" fmla="*/ 0 w 105717"/>
                  <a:gd name="connsiteY1" fmla="*/ 52891 h 396366"/>
                  <a:gd name="connsiteX2" fmla="*/ 52891 w 105717"/>
                  <a:gd name="connsiteY2" fmla="*/ 0 h 396366"/>
                  <a:gd name="connsiteX3" fmla="*/ 105718 w 105717"/>
                  <a:gd name="connsiteY3" fmla="*/ 52826 h 396366"/>
                  <a:gd name="connsiteX4" fmla="*/ 105718 w 105717"/>
                  <a:gd name="connsiteY4" fmla="*/ 346884 h 396366"/>
                  <a:gd name="connsiteX5" fmla="*/ 80606 w 105717"/>
                  <a:gd name="connsiteY5" fmla="*/ 388911 h 396366"/>
                  <a:gd name="connsiteX6" fmla="*/ 9238 w 105717"/>
                  <a:gd name="connsiteY6" fmla="*/ 371150 h 396366"/>
                  <a:gd name="connsiteX7" fmla="*/ 15484 w 105717"/>
                  <a:gd name="connsiteY7" fmla="*/ 309216 h 396366"/>
                  <a:gd name="connsiteX8" fmla="*/ 45019 w 105717"/>
                  <a:gd name="connsiteY8" fmla="*/ 277078 h 3963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05717" h="396366">
                    <a:moveTo>
                      <a:pt x="52891" y="105718"/>
                    </a:moveTo>
                    <a:cubicBezTo>
                      <a:pt x="23681" y="105718"/>
                      <a:pt x="0" y="82037"/>
                      <a:pt x="0" y="52891"/>
                    </a:cubicBezTo>
                    <a:cubicBezTo>
                      <a:pt x="0" y="23746"/>
                      <a:pt x="23681" y="0"/>
                      <a:pt x="52891" y="0"/>
                    </a:cubicBezTo>
                    <a:cubicBezTo>
                      <a:pt x="82102" y="0"/>
                      <a:pt x="105718" y="23681"/>
                      <a:pt x="105718" y="52826"/>
                    </a:cubicBezTo>
                    <a:lnTo>
                      <a:pt x="105718" y="346884"/>
                    </a:lnTo>
                    <a:cubicBezTo>
                      <a:pt x="105718" y="364580"/>
                      <a:pt x="96414" y="379413"/>
                      <a:pt x="80606" y="388911"/>
                    </a:cubicBezTo>
                    <a:cubicBezTo>
                      <a:pt x="55949" y="403744"/>
                      <a:pt x="24006" y="395742"/>
                      <a:pt x="9238" y="371150"/>
                    </a:cubicBezTo>
                    <a:cubicBezTo>
                      <a:pt x="-2928" y="350918"/>
                      <a:pt x="260" y="325741"/>
                      <a:pt x="15484" y="309216"/>
                    </a:cubicBezTo>
                    <a:lnTo>
                      <a:pt x="45019" y="277078"/>
                    </a:lnTo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85" name="Forma livre: Forma 284">
                <a:extLst>
                  <a:ext uri="{FF2B5EF4-FFF2-40B4-BE49-F238E27FC236}">
                    <a16:creationId xmlns:a16="http://schemas.microsoft.com/office/drawing/2014/main" id="{25606237-196E-D409-9B03-F298E9C48607}"/>
                  </a:ext>
                </a:extLst>
              </p:cNvPr>
              <p:cNvSpPr/>
              <p:nvPr/>
            </p:nvSpPr>
            <p:spPr>
              <a:xfrm>
                <a:off x="6144784" y="1383865"/>
                <a:ext cx="41563" cy="38963"/>
              </a:xfrm>
              <a:custGeom>
                <a:avLst/>
                <a:gdLst>
                  <a:gd name="connsiteX0" fmla="*/ 36172 w 41563"/>
                  <a:gd name="connsiteY0" fmla="*/ 0 h 38963"/>
                  <a:gd name="connsiteX1" fmla="*/ 39425 w 41563"/>
                  <a:gd name="connsiteY1" fmla="*/ 24266 h 38963"/>
                  <a:gd name="connsiteX2" fmla="*/ 36432 w 41563"/>
                  <a:gd name="connsiteY2" fmla="*/ 29080 h 38963"/>
                  <a:gd name="connsiteX3" fmla="*/ 0 w 41563"/>
                  <a:gd name="connsiteY3" fmla="*/ 33439 h 389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563" h="38963">
                    <a:moveTo>
                      <a:pt x="36172" y="0"/>
                    </a:moveTo>
                    <a:cubicBezTo>
                      <a:pt x="41571" y="7547"/>
                      <a:pt x="43393" y="16004"/>
                      <a:pt x="39425" y="24266"/>
                    </a:cubicBezTo>
                    <a:cubicBezTo>
                      <a:pt x="38644" y="25893"/>
                      <a:pt x="37603" y="27519"/>
                      <a:pt x="36432" y="29080"/>
                    </a:cubicBezTo>
                    <a:cubicBezTo>
                      <a:pt x="27584" y="40270"/>
                      <a:pt x="11190" y="42287"/>
                      <a:pt x="0" y="33439"/>
                    </a:cubicBezTo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86" name="Forma livre: Forma 285">
                <a:extLst>
                  <a:ext uri="{FF2B5EF4-FFF2-40B4-BE49-F238E27FC236}">
                    <a16:creationId xmlns:a16="http://schemas.microsoft.com/office/drawing/2014/main" id="{C02722E8-3B12-ECF5-FF12-52CFEA91D63F}"/>
                  </a:ext>
                </a:extLst>
              </p:cNvPr>
              <p:cNvSpPr/>
              <p:nvPr/>
            </p:nvSpPr>
            <p:spPr>
              <a:xfrm>
                <a:off x="6081487" y="1460806"/>
                <a:ext cx="34217" cy="54474"/>
              </a:xfrm>
              <a:custGeom>
                <a:avLst/>
                <a:gdLst>
                  <a:gd name="connsiteX0" fmla="*/ 21076 w 34217"/>
                  <a:gd name="connsiteY0" fmla="*/ 54475 h 54474"/>
                  <a:gd name="connsiteX1" fmla="*/ 778 w 34217"/>
                  <a:gd name="connsiteY1" fmla="*/ 21035 h 54474"/>
                  <a:gd name="connsiteX2" fmla="*/ 34217 w 34217"/>
                  <a:gd name="connsiteY2" fmla="*/ 803 h 544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4217" h="54474">
                    <a:moveTo>
                      <a:pt x="21076" y="54475"/>
                    </a:moveTo>
                    <a:cubicBezTo>
                      <a:pt x="6308" y="50832"/>
                      <a:pt x="-2800" y="35803"/>
                      <a:pt x="778" y="21035"/>
                    </a:cubicBezTo>
                    <a:cubicBezTo>
                      <a:pt x="4421" y="6267"/>
                      <a:pt x="19449" y="-2841"/>
                      <a:pt x="34217" y="803"/>
                    </a:cubicBezTo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87" name="Forma livre: Forma 286">
                <a:extLst>
                  <a:ext uri="{FF2B5EF4-FFF2-40B4-BE49-F238E27FC236}">
                    <a16:creationId xmlns:a16="http://schemas.microsoft.com/office/drawing/2014/main" id="{BFD04F74-4D62-5C80-12B4-E560915977D8}"/>
                  </a:ext>
                </a:extLst>
              </p:cNvPr>
              <p:cNvSpPr/>
              <p:nvPr/>
            </p:nvSpPr>
            <p:spPr>
              <a:xfrm>
                <a:off x="6073547" y="1527543"/>
                <a:ext cx="114760" cy="72506"/>
              </a:xfrm>
              <a:custGeom>
                <a:avLst/>
                <a:gdLst>
                  <a:gd name="connsiteX0" fmla="*/ 114760 w 114760"/>
                  <a:gd name="connsiteY0" fmla="*/ 7254 h 72506"/>
                  <a:gd name="connsiteX1" fmla="*/ 73905 w 114760"/>
                  <a:gd name="connsiteY1" fmla="*/ 8881 h 72506"/>
                  <a:gd name="connsiteX2" fmla="*/ 0 w 114760"/>
                  <a:gd name="connsiteY2" fmla="*/ 72506 h 725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14760" h="72506">
                    <a:moveTo>
                      <a:pt x="114760" y="7254"/>
                    </a:moveTo>
                    <a:cubicBezTo>
                      <a:pt x="103375" y="-2830"/>
                      <a:pt x="83989" y="-2504"/>
                      <a:pt x="73905" y="8881"/>
                    </a:cubicBezTo>
                    <a:cubicBezTo>
                      <a:pt x="73905" y="8881"/>
                      <a:pt x="31488" y="72506"/>
                      <a:pt x="0" y="72506"/>
                    </a:cubicBezTo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88" name="Forma livre: Forma 287">
                <a:extLst>
                  <a:ext uri="{FF2B5EF4-FFF2-40B4-BE49-F238E27FC236}">
                    <a16:creationId xmlns:a16="http://schemas.microsoft.com/office/drawing/2014/main" id="{91A8A9E1-91FD-40F7-8ECB-7FAADE8FDCF4}"/>
                  </a:ext>
                </a:extLst>
              </p:cNvPr>
              <p:cNvSpPr/>
              <p:nvPr/>
            </p:nvSpPr>
            <p:spPr>
              <a:xfrm>
                <a:off x="6079857" y="1646956"/>
                <a:ext cx="29405" cy="9823"/>
              </a:xfrm>
              <a:custGeom>
                <a:avLst/>
                <a:gdLst>
                  <a:gd name="connsiteX0" fmla="*/ 0 w 29405"/>
                  <a:gd name="connsiteY0" fmla="*/ 0 h 9823"/>
                  <a:gd name="connsiteX1" fmla="*/ 29406 w 29405"/>
                  <a:gd name="connsiteY1" fmla="*/ 9824 h 98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9405" h="9823">
                    <a:moveTo>
                      <a:pt x="0" y="0"/>
                    </a:moveTo>
                    <a:lnTo>
                      <a:pt x="29406" y="9824"/>
                    </a:lnTo>
                  </a:path>
                </a:pathLst>
              </a:custGeom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89" name="Forma livre: Forma 288">
                <a:extLst>
                  <a:ext uri="{FF2B5EF4-FFF2-40B4-BE49-F238E27FC236}">
                    <a16:creationId xmlns:a16="http://schemas.microsoft.com/office/drawing/2014/main" id="{BC82F522-70A1-2CC0-8AE4-A68FA38DA969}"/>
                  </a:ext>
                </a:extLst>
              </p:cNvPr>
              <p:cNvSpPr/>
              <p:nvPr/>
            </p:nvSpPr>
            <p:spPr>
              <a:xfrm>
                <a:off x="6061121" y="1545272"/>
                <a:ext cx="47166" cy="34154"/>
              </a:xfrm>
              <a:custGeom>
                <a:avLst/>
                <a:gdLst>
                  <a:gd name="connsiteX0" fmla="*/ 0 w 47166"/>
                  <a:gd name="connsiteY0" fmla="*/ 0 h 34154"/>
                  <a:gd name="connsiteX1" fmla="*/ 47166 w 47166"/>
                  <a:gd name="connsiteY1" fmla="*/ 34155 h 341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166" h="34154">
                    <a:moveTo>
                      <a:pt x="0" y="0"/>
                    </a:moveTo>
                    <a:cubicBezTo>
                      <a:pt x="0" y="0"/>
                      <a:pt x="27649" y="13011"/>
                      <a:pt x="47166" y="34155"/>
                    </a:cubicBezTo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270" name="Gráfico 32">
              <a:extLst>
                <a:ext uri="{FF2B5EF4-FFF2-40B4-BE49-F238E27FC236}">
                  <a16:creationId xmlns:a16="http://schemas.microsoft.com/office/drawing/2014/main" id="{1E11FD34-0028-EC3C-4618-7B758EAEF5EE}"/>
                </a:ext>
              </a:extLst>
            </p:cNvPr>
            <p:cNvGrpSpPr/>
            <p:nvPr/>
          </p:nvGrpSpPr>
          <p:grpSpPr>
            <a:xfrm>
              <a:off x="6191625" y="1599725"/>
              <a:ext cx="173767" cy="157112"/>
              <a:chOff x="6191625" y="1599725"/>
              <a:chExt cx="173767" cy="157112"/>
            </a:xfrm>
            <a:noFill/>
          </p:grpSpPr>
          <p:sp>
            <p:nvSpPr>
              <p:cNvPr id="280" name="Forma livre: Forma 279">
                <a:extLst>
                  <a:ext uri="{FF2B5EF4-FFF2-40B4-BE49-F238E27FC236}">
                    <a16:creationId xmlns:a16="http://schemas.microsoft.com/office/drawing/2014/main" id="{4D6D0483-100F-7650-92D1-BAE9503B7CCB}"/>
                  </a:ext>
                </a:extLst>
              </p:cNvPr>
              <p:cNvSpPr/>
              <p:nvPr/>
            </p:nvSpPr>
            <p:spPr>
              <a:xfrm>
                <a:off x="6310094" y="1621974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81" name="Forma livre: Forma 280">
                <a:extLst>
                  <a:ext uri="{FF2B5EF4-FFF2-40B4-BE49-F238E27FC236}">
                    <a16:creationId xmlns:a16="http://schemas.microsoft.com/office/drawing/2014/main" id="{89F03B5E-8BB9-6D60-9818-63EAA1DCA5E3}"/>
                  </a:ext>
                </a:extLst>
              </p:cNvPr>
              <p:cNvSpPr/>
              <p:nvPr/>
            </p:nvSpPr>
            <p:spPr>
              <a:xfrm>
                <a:off x="6191625" y="1599725"/>
                <a:ext cx="118078" cy="49898"/>
              </a:xfrm>
              <a:custGeom>
                <a:avLst/>
                <a:gdLst>
                  <a:gd name="connsiteX0" fmla="*/ 0 w 118078"/>
                  <a:gd name="connsiteY0" fmla="*/ 0 h 49898"/>
                  <a:gd name="connsiteX1" fmla="*/ 37343 w 118078"/>
                  <a:gd name="connsiteY1" fmla="*/ 0 h 49898"/>
                  <a:gd name="connsiteX2" fmla="*/ 87176 w 118078"/>
                  <a:gd name="connsiteY2" fmla="*/ 49899 h 49898"/>
                  <a:gd name="connsiteX3" fmla="*/ 118078 w 118078"/>
                  <a:gd name="connsiteY3" fmla="*/ 49899 h 49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8078" h="49898">
                    <a:moveTo>
                      <a:pt x="0" y="0"/>
                    </a:moveTo>
                    <a:lnTo>
                      <a:pt x="37343" y="0"/>
                    </a:lnTo>
                    <a:lnTo>
                      <a:pt x="87176" y="49899"/>
                    </a:lnTo>
                    <a:lnTo>
                      <a:pt x="118078" y="49899"/>
                    </a:lnTo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82" name="Forma livre: Forma 281">
                <a:extLst>
                  <a:ext uri="{FF2B5EF4-FFF2-40B4-BE49-F238E27FC236}">
                    <a16:creationId xmlns:a16="http://schemas.microsoft.com/office/drawing/2014/main" id="{70015240-9F78-EDED-3AFC-21F8F53FD023}"/>
                  </a:ext>
                </a:extLst>
              </p:cNvPr>
              <p:cNvSpPr/>
              <p:nvPr/>
            </p:nvSpPr>
            <p:spPr>
              <a:xfrm>
                <a:off x="6191625" y="1665367"/>
                <a:ext cx="81906" cy="44108"/>
              </a:xfrm>
              <a:custGeom>
                <a:avLst/>
                <a:gdLst>
                  <a:gd name="connsiteX0" fmla="*/ 0 w 81906"/>
                  <a:gd name="connsiteY0" fmla="*/ 0 h 44108"/>
                  <a:gd name="connsiteX1" fmla="*/ 37343 w 81906"/>
                  <a:gd name="connsiteY1" fmla="*/ 0 h 44108"/>
                  <a:gd name="connsiteX2" fmla="*/ 81907 w 81906"/>
                  <a:gd name="connsiteY2" fmla="*/ 44109 h 441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1906" h="44108">
                    <a:moveTo>
                      <a:pt x="0" y="0"/>
                    </a:moveTo>
                    <a:lnTo>
                      <a:pt x="37343" y="0"/>
                    </a:lnTo>
                    <a:lnTo>
                      <a:pt x="81907" y="44109"/>
                    </a:lnTo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83" name="Forma livre: Forma 282">
                <a:extLst>
                  <a:ext uri="{FF2B5EF4-FFF2-40B4-BE49-F238E27FC236}">
                    <a16:creationId xmlns:a16="http://schemas.microsoft.com/office/drawing/2014/main" id="{284BE88A-6D87-4C39-80AE-A3518B38E10B}"/>
                  </a:ext>
                </a:extLst>
              </p:cNvPr>
              <p:cNvSpPr/>
              <p:nvPr/>
            </p:nvSpPr>
            <p:spPr>
              <a:xfrm>
                <a:off x="6265075" y="1701539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271" name="Gráfico 32">
              <a:extLst>
                <a:ext uri="{FF2B5EF4-FFF2-40B4-BE49-F238E27FC236}">
                  <a16:creationId xmlns:a16="http://schemas.microsoft.com/office/drawing/2014/main" id="{4C9458FE-189D-FCD1-3970-037F5CB86F91}"/>
                </a:ext>
              </a:extLst>
            </p:cNvPr>
            <p:cNvGrpSpPr/>
            <p:nvPr/>
          </p:nvGrpSpPr>
          <p:grpSpPr>
            <a:xfrm>
              <a:off x="6191625" y="1357908"/>
              <a:ext cx="173767" cy="157112"/>
              <a:chOff x="6191625" y="1357908"/>
              <a:chExt cx="173767" cy="157112"/>
            </a:xfrm>
            <a:noFill/>
          </p:grpSpPr>
          <p:sp>
            <p:nvSpPr>
              <p:cNvPr id="276" name="Forma livre: Forma 275">
                <a:extLst>
                  <a:ext uri="{FF2B5EF4-FFF2-40B4-BE49-F238E27FC236}">
                    <a16:creationId xmlns:a16="http://schemas.microsoft.com/office/drawing/2014/main" id="{8D89DFDB-20CB-1F76-2ED3-2EC63B17C0CC}"/>
                  </a:ext>
                </a:extLst>
              </p:cNvPr>
              <p:cNvSpPr/>
              <p:nvPr/>
            </p:nvSpPr>
            <p:spPr>
              <a:xfrm>
                <a:off x="6310094" y="1437472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0 h 55298"/>
                  <a:gd name="connsiteX2" fmla="*/ 0 w 55298"/>
                  <a:gd name="connsiteY2" fmla="*/ 27649 h 55298"/>
                  <a:gd name="connsiteX3" fmla="*/ 27649 w 55298"/>
                  <a:gd name="connsiteY3" fmla="*/ 55298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12361"/>
                      <a:pt x="42938" y="0"/>
                      <a:pt x="27649" y="0"/>
                    </a:cubicBezTo>
                    <a:cubicBezTo>
                      <a:pt x="12361" y="0"/>
                      <a:pt x="0" y="12361"/>
                      <a:pt x="0" y="27649"/>
                    </a:cubicBezTo>
                    <a:cubicBezTo>
                      <a:pt x="0" y="42938"/>
                      <a:pt x="12361" y="55298"/>
                      <a:pt x="27649" y="55298"/>
                    </a:cubicBezTo>
                    <a:cubicBezTo>
                      <a:pt x="42938" y="55298"/>
                      <a:pt x="55298" y="42938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77" name="Forma livre: Forma 276">
                <a:extLst>
                  <a:ext uri="{FF2B5EF4-FFF2-40B4-BE49-F238E27FC236}">
                    <a16:creationId xmlns:a16="http://schemas.microsoft.com/office/drawing/2014/main" id="{B49995A4-9862-BC92-A3A6-67A1C2B34968}"/>
                  </a:ext>
                </a:extLst>
              </p:cNvPr>
              <p:cNvSpPr/>
              <p:nvPr/>
            </p:nvSpPr>
            <p:spPr>
              <a:xfrm>
                <a:off x="6191625" y="1465122"/>
                <a:ext cx="118468" cy="49898"/>
              </a:xfrm>
              <a:custGeom>
                <a:avLst/>
                <a:gdLst>
                  <a:gd name="connsiteX0" fmla="*/ 0 w 118468"/>
                  <a:gd name="connsiteY0" fmla="*/ 49899 h 49898"/>
                  <a:gd name="connsiteX1" fmla="*/ 37343 w 118468"/>
                  <a:gd name="connsiteY1" fmla="*/ 49899 h 49898"/>
                  <a:gd name="connsiteX2" fmla="*/ 87176 w 118468"/>
                  <a:gd name="connsiteY2" fmla="*/ 0 h 49898"/>
                  <a:gd name="connsiteX3" fmla="*/ 118469 w 118468"/>
                  <a:gd name="connsiteY3" fmla="*/ 0 h 49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8468" h="49898">
                    <a:moveTo>
                      <a:pt x="0" y="49899"/>
                    </a:moveTo>
                    <a:lnTo>
                      <a:pt x="37343" y="49899"/>
                    </a:lnTo>
                    <a:lnTo>
                      <a:pt x="87176" y="0"/>
                    </a:lnTo>
                    <a:lnTo>
                      <a:pt x="118469" y="0"/>
                    </a:lnTo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78" name="Forma livre: Forma 277">
                <a:extLst>
                  <a:ext uri="{FF2B5EF4-FFF2-40B4-BE49-F238E27FC236}">
                    <a16:creationId xmlns:a16="http://schemas.microsoft.com/office/drawing/2014/main" id="{5BE0EBB3-EF6B-0F2A-6815-E593F6303FB3}"/>
                  </a:ext>
                </a:extLst>
              </p:cNvPr>
              <p:cNvSpPr/>
              <p:nvPr/>
            </p:nvSpPr>
            <p:spPr>
              <a:xfrm>
                <a:off x="6191625" y="1405269"/>
                <a:ext cx="81451" cy="44043"/>
              </a:xfrm>
              <a:custGeom>
                <a:avLst/>
                <a:gdLst>
                  <a:gd name="connsiteX0" fmla="*/ 0 w 81451"/>
                  <a:gd name="connsiteY0" fmla="*/ 44044 h 44043"/>
                  <a:gd name="connsiteX1" fmla="*/ 37343 w 81451"/>
                  <a:gd name="connsiteY1" fmla="*/ 44044 h 44043"/>
                  <a:gd name="connsiteX2" fmla="*/ 81451 w 81451"/>
                  <a:gd name="connsiteY2" fmla="*/ 0 h 440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1451" h="44043">
                    <a:moveTo>
                      <a:pt x="0" y="44044"/>
                    </a:moveTo>
                    <a:lnTo>
                      <a:pt x="37343" y="44044"/>
                    </a:lnTo>
                    <a:lnTo>
                      <a:pt x="81451" y="0"/>
                    </a:lnTo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79" name="Forma livre: Forma 278">
                <a:extLst>
                  <a:ext uri="{FF2B5EF4-FFF2-40B4-BE49-F238E27FC236}">
                    <a16:creationId xmlns:a16="http://schemas.microsoft.com/office/drawing/2014/main" id="{C4BD2CA8-B857-5070-8FA6-349DD6936EA5}"/>
                  </a:ext>
                </a:extLst>
              </p:cNvPr>
              <p:cNvSpPr/>
              <p:nvPr/>
            </p:nvSpPr>
            <p:spPr>
              <a:xfrm>
                <a:off x="6265075" y="1357908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0 h 55298"/>
                  <a:gd name="connsiteX2" fmla="*/ 0 w 55298"/>
                  <a:gd name="connsiteY2" fmla="*/ 27649 h 55298"/>
                  <a:gd name="connsiteX3" fmla="*/ 27649 w 55298"/>
                  <a:gd name="connsiteY3" fmla="*/ 55298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12361"/>
                      <a:pt x="42938" y="0"/>
                      <a:pt x="27649" y="0"/>
                    </a:cubicBezTo>
                    <a:cubicBezTo>
                      <a:pt x="12361" y="0"/>
                      <a:pt x="0" y="12361"/>
                      <a:pt x="0" y="27649"/>
                    </a:cubicBezTo>
                    <a:cubicBezTo>
                      <a:pt x="0" y="42938"/>
                      <a:pt x="12361" y="55298"/>
                      <a:pt x="27649" y="55298"/>
                    </a:cubicBezTo>
                    <a:cubicBezTo>
                      <a:pt x="42938" y="55298"/>
                      <a:pt x="55298" y="42938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272" name="Gráfico 32">
              <a:extLst>
                <a:ext uri="{FF2B5EF4-FFF2-40B4-BE49-F238E27FC236}">
                  <a16:creationId xmlns:a16="http://schemas.microsoft.com/office/drawing/2014/main" id="{4F30CD16-649F-A607-1BFD-384C82D9BC44}"/>
                </a:ext>
              </a:extLst>
            </p:cNvPr>
            <p:cNvGrpSpPr/>
            <p:nvPr/>
          </p:nvGrpSpPr>
          <p:grpSpPr>
            <a:xfrm>
              <a:off x="6190910" y="1529723"/>
              <a:ext cx="123673" cy="55298"/>
              <a:chOff x="6190910" y="1529723"/>
              <a:chExt cx="123673" cy="55298"/>
            </a:xfrm>
            <a:noFill/>
          </p:grpSpPr>
          <p:sp>
            <p:nvSpPr>
              <p:cNvPr id="274" name="Forma livre: Forma 273">
                <a:extLst>
                  <a:ext uri="{FF2B5EF4-FFF2-40B4-BE49-F238E27FC236}">
                    <a16:creationId xmlns:a16="http://schemas.microsoft.com/office/drawing/2014/main" id="{A9666F56-AB43-64FC-2DA3-4668DC60CF44}"/>
                  </a:ext>
                </a:extLst>
              </p:cNvPr>
              <p:cNvSpPr/>
              <p:nvPr/>
            </p:nvSpPr>
            <p:spPr>
              <a:xfrm>
                <a:off x="6190910" y="1557372"/>
                <a:ext cx="68765" cy="6505"/>
              </a:xfrm>
              <a:custGeom>
                <a:avLst/>
                <a:gdLst>
                  <a:gd name="connsiteX0" fmla="*/ 0 w 68765"/>
                  <a:gd name="connsiteY0" fmla="*/ 0 h 6505"/>
                  <a:gd name="connsiteX1" fmla="*/ 68765 w 68765"/>
                  <a:gd name="connsiteY1" fmla="*/ 0 h 65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8765" h="6505">
                    <a:moveTo>
                      <a:pt x="0" y="0"/>
                    </a:moveTo>
                    <a:lnTo>
                      <a:pt x="68765" y="0"/>
                    </a:lnTo>
                  </a:path>
                </a:pathLst>
              </a:custGeom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75" name="Forma livre: Forma 274">
                <a:extLst>
                  <a:ext uri="{FF2B5EF4-FFF2-40B4-BE49-F238E27FC236}">
                    <a16:creationId xmlns:a16="http://schemas.microsoft.com/office/drawing/2014/main" id="{A4AB8ED4-43B9-B67A-A4D2-F19F6D7D5C33}"/>
                  </a:ext>
                </a:extLst>
              </p:cNvPr>
              <p:cNvSpPr/>
              <p:nvPr/>
            </p:nvSpPr>
            <p:spPr>
              <a:xfrm>
                <a:off x="6259285" y="1529723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273" name="Forma livre: Forma 272">
              <a:extLst>
                <a:ext uri="{FF2B5EF4-FFF2-40B4-BE49-F238E27FC236}">
                  <a16:creationId xmlns:a16="http://schemas.microsoft.com/office/drawing/2014/main" id="{C58B78EB-002E-3DBE-E21D-59E9C0325547}"/>
                </a:ext>
              </a:extLst>
            </p:cNvPr>
            <p:cNvSpPr/>
            <p:nvPr/>
          </p:nvSpPr>
          <p:spPr>
            <a:xfrm>
              <a:off x="6152201" y="1686285"/>
              <a:ext cx="37362" cy="20848"/>
            </a:xfrm>
            <a:custGeom>
              <a:avLst/>
              <a:gdLst>
                <a:gd name="connsiteX0" fmla="*/ 0 w 37362"/>
                <a:gd name="connsiteY0" fmla="*/ 10505 h 20848"/>
                <a:gd name="connsiteX1" fmla="*/ 27064 w 37362"/>
                <a:gd name="connsiteY1" fmla="*/ 2373 h 20848"/>
                <a:gd name="connsiteX2" fmla="*/ 37343 w 37362"/>
                <a:gd name="connsiteY2" fmla="*/ 20849 h 20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7362" h="20848">
                  <a:moveTo>
                    <a:pt x="0" y="10505"/>
                  </a:moveTo>
                  <a:cubicBezTo>
                    <a:pt x="5205" y="811"/>
                    <a:pt x="17435" y="-2832"/>
                    <a:pt x="27064" y="2373"/>
                  </a:cubicBezTo>
                  <a:cubicBezTo>
                    <a:pt x="34025" y="6081"/>
                    <a:pt x="37668" y="13432"/>
                    <a:pt x="37343" y="20849"/>
                  </a:cubicBezTo>
                </a:path>
              </a:pathLst>
            </a:custGeom>
            <a:noFill/>
            <a:ln w="19050" cap="sq">
              <a:solidFill>
                <a:schemeClr val="tx1"/>
              </a:solidFill>
              <a:prstDash val="solid"/>
              <a:miter lim="800000"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290" name="Agrupar 289">
            <a:extLst>
              <a:ext uri="{FF2B5EF4-FFF2-40B4-BE49-F238E27FC236}">
                <a16:creationId xmlns:a16="http://schemas.microsoft.com/office/drawing/2014/main" id="{D7960D28-3844-EEE9-DA2C-0A0319D7ED55}"/>
              </a:ext>
            </a:extLst>
          </p:cNvPr>
          <p:cNvGrpSpPr/>
          <p:nvPr/>
        </p:nvGrpSpPr>
        <p:grpSpPr>
          <a:xfrm>
            <a:off x="5434455" y="4027475"/>
            <a:ext cx="325297" cy="355243"/>
            <a:chOff x="6000092" y="1357908"/>
            <a:chExt cx="365300" cy="398929"/>
          </a:xfrm>
        </p:grpSpPr>
        <p:sp>
          <p:nvSpPr>
            <p:cNvPr id="291" name="Forma livre: Forma 290">
              <a:extLst>
                <a:ext uri="{FF2B5EF4-FFF2-40B4-BE49-F238E27FC236}">
                  <a16:creationId xmlns:a16="http://schemas.microsoft.com/office/drawing/2014/main" id="{B6F55A80-9B19-28E6-9653-8C2601EFB301}"/>
                </a:ext>
              </a:extLst>
            </p:cNvPr>
            <p:cNvSpPr/>
            <p:nvPr/>
          </p:nvSpPr>
          <p:spPr>
            <a:xfrm>
              <a:off x="6000092" y="1418606"/>
              <a:ext cx="84058" cy="286120"/>
            </a:xfrm>
            <a:custGeom>
              <a:avLst/>
              <a:gdLst>
                <a:gd name="connsiteX0" fmla="*/ 51595 w 84058"/>
                <a:gd name="connsiteY0" fmla="*/ 0 h 286120"/>
                <a:gd name="connsiteX1" fmla="*/ 35266 w 84058"/>
                <a:gd name="connsiteY1" fmla="*/ 61674 h 286120"/>
                <a:gd name="connsiteX2" fmla="*/ 28760 w 84058"/>
                <a:gd name="connsiteY2" fmla="*/ 193415 h 286120"/>
                <a:gd name="connsiteX3" fmla="*/ 84059 w 84058"/>
                <a:gd name="connsiteY3" fmla="*/ 286121 h 2861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4058" h="286120">
                  <a:moveTo>
                    <a:pt x="51595" y="0"/>
                  </a:moveTo>
                  <a:cubicBezTo>
                    <a:pt x="37868" y="7872"/>
                    <a:pt x="26028" y="24852"/>
                    <a:pt x="35266" y="61674"/>
                  </a:cubicBezTo>
                  <a:cubicBezTo>
                    <a:pt x="35266" y="61674"/>
                    <a:pt x="-39549" y="126731"/>
                    <a:pt x="28760" y="193415"/>
                  </a:cubicBezTo>
                  <a:cubicBezTo>
                    <a:pt x="28760" y="193415"/>
                    <a:pt x="9243" y="281242"/>
                    <a:pt x="84059" y="286121"/>
                  </a:cubicBezTo>
                </a:path>
              </a:pathLst>
            </a:custGeom>
            <a:noFill/>
            <a:ln w="19050" cap="sq">
              <a:solidFill>
                <a:schemeClr val="tx1"/>
              </a:solidFill>
              <a:prstDash val="solid"/>
              <a:miter lim="800000"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292" name="Gráfico 32">
              <a:extLst>
                <a:ext uri="{FF2B5EF4-FFF2-40B4-BE49-F238E27FC236}">
                  <a16:creationId xmlns:a16="http://schemas.microsoft.com/office/drawing/2014/main" id="{39369D57-080B-A958-933A-2BDE35E6F39D}"/>
                </a:ext>
              </a:extLst>
            </p:cNvPr>
            <p:cNvGrpSpPr/>
            <p:nvPr/>
          </p:nvGrpSpPr>
          <p:grpSpPr>
            <a:xfrm>
              <a:off x="6061121" y="1359924"/>
              <a:ext cx="128487" cy="396366"/>
              <a:chOff x="6061121" y="1359924"/>
              <a:chExt cx="128487" cy="396366"/>
            </a:xfrm>
            <a:noFill/>
          </p:grpSpPr>
          <p:sp>
            <p:nvSpPr>
              <p:cNvPr id="307" name="Forma livre: Forma 306">
                <a:extLst>
                  <a:ext uri="{FF2B5EF4-FFF2-40B4-BE49-F238E27FC236}">
                    <a16:creationId xmlns:a16="http://schemas.microsoft.com/office/drawing/2014/main" id="{861C06D3-1E56-0BED-D864-6DF723F967C4}"/>
                  </a:ext>
                </a:extLst>
              </p:cNvPr>
              <p:cNvSpPr/>
              <p:nvPr/>
            </p:nvSpPr>
            <p:spPr>
              <a:xfrm>
                <a:off x="6083891" y="1359924"/>
                <a:ext cx="105717" cy="396366"/>
              </a:xfrm>
              <a:custGeom>
                <a:avLst/>
                <a:gdLst>
                  <a:gd name="connsiteX0" fmla="*/ 52891 w 105717"/>
                  <a:gd name="connsiteY0" fmla="*/ 105718 h 396366"/>
                  <a:gd name="connsiteX1" fmla="*/ 0 w 105717"/>
                  <a:gd name="connsiteY1" fmla="*/ 52891 h 396366"/>
                  <a:gd name="connsiteX2" fmla="*/ 52891 w 105717"/>
                  <a:gd name="connsiteY2" fmla="*/ 0 h 396366"/>
                  <a:gd name="connsiteX3" fmla="*/ 105718 w 105717"/>
                  <a:gd name="connsiteY3" fmla="*/ 52826 h 396366"/>
                  <a:gd name="connsiteX4" fmla="*/ 105718 w 105717"/>
                  <a:gd name="connsiteY4" fmla="*/ 346884 h 396366"/>
                  <a:gd name="connsiteX5" fmla="*/ 80606 w 105717"/>
                  <a:gd name="connsiteY5" fmla="*/ 388911 h 396366"/>
                  <a:gd name="connsiteX6" fmla="*/ 9238 w 105717"/>
                  <a:gd name="connsiteY6" fmla="*/ 371150 h 396366"/>
                  <a:gd name="connsiteX7" fmla="*/ 15484 w 105717"/>
                  <a:gd name="connsiteY7" fmla="*/ 309216 h 396366"/>
                  <a:gd name="connsiteX8" fmla="*/ 45019 w 105717"/>
                  <a:gd name="connsiteY8" fmla="*/ 277078 h 3963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05717" h="396366">
                    <a:moveTo>
                      <a:pt x="52891" y="105718"/>
                    </a:moveTo>
                    <a:cubicBezTo>
                      <a:pt x="23681" y="105718"/>
                      <a:pt x="0" y="82037"/>
                      <a:pt x="0" y="52891"/>
                    </a:cubicBezTo>
                    <a:cubicBezTo>
                      <a:pt x="0" y="23746"/>
                      <a:pt x="23681" y="0"/>
                      <a:pt x="52891" y="0"/>
                    </a:cubicBezTo>
                    <a:cubicBezTo>
                      <a:pt x="82102" y="0"/>
                      <a:pt x="105718" y="23681"/>
                      <a:pt x="105718" y="52826"/>
                    </a:cubicBezTo>
                    <a:lnTo>
                      <a:pt x="105718" y="346884"/>
                    </a:lnTo>
                    <a:cubicBezTo>
                      <a:pt x="105718" y="364580"/>
                      <a:pt x="96414" y="379413"/>
                      <a:pt x="80606" y="388911"/>
                    </a:cubicBezTo>
                    <a:cubicBezTo>
                      <a:pt x="55949" y="403744"/>
                      <a:pt x="24006" y="395742"/>
                      <a:pt x="9238" y="371150"/>
                    </a:cubicBezTo>
                    <a:cubicBezTo>
                      <a:pt x="-2928" y="350918"/>
                      <a:pt x="260" y="325741"/>
                      <a:pt x="15484" y="309216"/>
                    </a:cubicBezTo>
                    <a:lnTo>
                      <a:pt x="45019" y="277078"/>
                    </a:lnTo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08" name="Forma livre: Forma 307">
                <a:extLst>
                  <a:ext uri="{FF2B5EF4-FFF2-40B4-BE49-F238E27FC236}">
                    <a16:creationId xmlns:a16="http://schemas.microsoft.com/office/drawing/2014/main" id="{52425E8F-3A17-BA88-6D81-1F942CDDC968}"/>
                  </a:ext>
                </a:extLst>
              </p:cNvPr>
              <p:cNvSpPr/>
              <p:nvPr/>
            </p:nvSpPr>
            <p:spPr>
              <a:xfrm>
                <a:off x="6144784" y="1383865"/>
                <a:ext cx="41563" cy="38963"/>
              </a:xfrm>
              <a:custGeom>
                <a:avLst/>
                <a:gdLst>
                  <a:gd name="connsiteX0" fmla="*/ 36172 w 41563"/>
                  <a:gd name="connsiteY0" fmla="*/ 0 h 38963"/>
                  <a:gd name="connsiteX1" fmla="*/ 39425 w 41563"/>
                  <a:gd name="connsiteY1" fmla="*/ 24266 h 38963"/>
                  <a:gd name="connsiteX2" fmla="*/ 36432 w 41563"/>
                  <a:gd name="connsiteY2" fmla="*/ 29080 h 38963"/>
                  <a:gd name="connsiteX3" fmla="*/ 0 w 41563"/>
                  <a:gd name="connsiteY3" fmla="*/ 33439 h 389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563" h="38963">
                    <a:moveTo>
                      <a:pt x="36172" y="0"/>
                    </a:moveTo>
                    <a:cubicBezTo>
                      <a:pt x="41571" y="7547"/>
                      <a:pt x="43393" y="16004"/>
                      <a:pt x="39425" y="24266"/>
                    </a:cubicBezTo>
                    <a:cubicBezTo>
                      <a:pt x="38644" y="25893"/>
                      <a:pt x="37603" y="27519"/>
                      <a:pt x="36432" y="29080"/>
                    </a:cubicBezTo>
                    <a:cubicBezTo>
                      <a:pt x="27584" y="40270"/>
                      <a:pt x="11190" y="42287"/>
                      <a:pt x="0" y="33439"/>
                    </a:cubicBezTo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09" name="Forma livre: Forma 308">
                <a:extLst>
                  <a:ext uri="{FF2B5EF4-FFF2-40B4-BE49-F238E27FC236}">
                    <a16:creationId xmlns:a16="http://schemas.microsoft.com/office/drawing/2014/main" id="{A3761A61-8E85-FDD9-689E-18EB2CA53646}"/>
                  </a:ext>
                </a:extLst>
              </p:cNvPr>
              <p:cNvSpPr/>
              <p:nvPr/>
            </p:nvSpPr>
            <p:spPr>
              <a:xfrm>
                <a:off x="6081487" y="1460806"/>
                <a:ext cx="34217" cy="54474"/>
              </a:xfrm>
              <a:custGeom>
                <a:avLst/>
                <a:gdLst>
                  <a:gd name="connsiteX0" fmla="*/ 21076 w 34217"/>
                  <a:gd name="connsiteY0" fmla="*/ 54475 h 54474"/>
                  <a:gd name="connsiteX1" fmla="*/ 778 w 34217"/>
                  <a:gd name="connsiteY1" fmla="*/ 21035 h 54474"/>
                  <a:gd name="connsiteX2" fmla="*/ 34217 w 34217"/>
                  <a:gd name="connsiteY2" fmla="*/ 803 h 544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4217" h="54474">
                    <a:moveTo>
                      <a:pt x="21076" y="54475"/>
                    </a:moveTo>
                    <a:cubicBezTo>
                      <a:pt x="6308" y="50832"/>
                      <a:pt x="-2800" y="35803"/>
                      <a:pt x="778" y="21035"/>
                    </a:cubicBezTo>
                    <a:cubicBezTo>
                      <a:pt x="4421" y="6267"/>
                      <a:pt x="19449" y="-2841"/>
                      <a:pt x="34217" y="803"/>
                    </a:cubicBezTo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10" name="Forma livre: Forma 309">
                <a:extLst>
                  <a:ext uri="{FF2B5EF4-FFF2-40B4-BE49-F238E27FC236}">
                    <a16:creationId xmlns:a16="http://schemas.microsoft.com/office/drawing/2014/main" id="{ABCB206C-721C-64C0-EBD7-825F12B541BD}"/>
                  </a:ext>
                </a:extLst>
              </p:cNvPr>
              <p:cNvSpPr/>
              <p:nvPr/>
            </p:nvSpPr>
            <p:spPr>
              <a:xfrm>
                <a:off x="6073547" y="1527543"/>
                <a:ext cx="114760" cy="72506"/>
              </a:xfrm>
              <a:custGeom>
                <a:avLst/>
                <a:gdLst>
                  <a:gd name="connsiteX0" fmla="*/ 114760 w 114760"/>
                  <a:gd name="connsiteY0" fmla="*/ 7254 h 72506"/>
                  <a:gd name="connsiteX1" fmla="*/ 73905 w 114760"/>
                  <a:gd name="connsiteY1" fmla="*/ 8881 h 72506"/>
                  <a:gd name="connsiteX2" fmla="*/ 0 w 114760"/>
                  <a:gd name="connsiteY2" fmla="*/ 72506 h 725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14760" h="72506">
                    <a:moveTo>
                      <a:pt x="114760" y="7254"/>
                    </a:moveTo>
                    <a:cubicBezTo>
                      <a:pt x="103375" y="-2830"/>
                      <a:pt x="83989" y="-2504"/>
                      <a:pt x="73905" y="8881"/>
                    </a:cubicBezTo>
                    <a:cubicBezTo>
                      <a:pt x="73905" y="8881"/>
                      <a:pt x="31488" y="72506"/>
                      <a:pt x="0" y="72506"/>
                    </a:cubicBezTo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11" name="Forma livre: Forma 310">
                <a:extLst>
                  <a:ext uri="{FF2B5EF4-FFF2-40B4-BE49-F238E27FC236}">
                    <a16:creationId xmlns:a16="http://schemas.microsoft.com/office/drawing/2014/main" id="{A15FDE0B-A5D4-7768-260A-1DEB86666FD0}"/>
                  </a:ext>
                </a:extLst>
              </p:cNvPr>
              <p:cNvSpPr/>
              <p:nvPr/>
            </p:nvSpPr>
            <p:spPr>
              <a:xfrm>
                <a:off x="6079857" y="1646956"/>
                <a:ext cx="29405" cy="9823"/>
              </a:xfrm>
              <a:custGeom>
                <a:avLst/>
                <a:gdLst>
                  <a:gd name="connsiteX0" fmla="*/ 0 w 29405"/>
                  <a:gd name="connsiteY0" fmla="*/ 0 h 9823"/>
                  <a:gd name="connsiteX1" fmla="*/ 29406 w 29405"/>
                  <a:gd name="connsiteY1" fmla="*/ 9824 h 98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9405" h="9823">
                    <a:moveTo>
                      <a:pt x="0" y="0"/>
                    </a:moveTo>
                    <a:lnTo>
                      <a:pt x="29406" y="9824"/>
                    </a:lnTo>
                  </a:path>
                </a:pathLst>
              </a:custGeom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12" name="Forma livre: Forma 311">
                <a:extLst>
                  <a:ext uri="{FF2B5EF4-FFF2-40B4-BE49-F238E27FC236}">
                    <a16:creationId xmlns:a16="http://schemas.microsoft.com/office/drawing/2014/main" id="{0A16D274-CE25-5302-CC57-750AF39967CF}"/>
                  </a:ext>
                </a:extLst>
              </p:cNvPr>
              <p:cNvSpPr/>
              <p:nvPr/>
            </p:nvSpPr>
            <p:spPr>
              <a:xfrm>
                <a:off x="6061121" y="1545272"/>
                <a:ext cx="47166" cy="34154"/>
              </a:xfrm>
              <a:custGeom>
                <a:avLst/>
                <a:gdLst>
                  <a:gd name="connsiteX0" fmla="*/ 0 w 47166"/>
                  <a:gd name="connsiteY0" fmla="*/ 0 h 34154"/>
                  <a:gd name="connsiteX1" fmla="*/ 47166 w 47166"/>
                  <a:gd name="connsiteY1" fmla="*/ 34155 h 341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166" h="34154">
                    <a:moveTo>
                      <a:pt x="0" y="0"/>
                    </a:moveTo>
                    <a:cubicBezTo>
                      <a:pt x="0" y="0"/>
                      <a:pt x="27649" y="13011"/>
                      <a:pt x="47166" y="34155"/>
                    </a:cubicBezTo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293" name="Gráfico 32">
              <a:extLst>
                <a:ext uri="{FF2B5EF4-FFF2-40B4-BE49-F238E27FC236}">
                  <a16:creationId xmlns:a16="http://schemas.microsoft.com/office/drawing/2014/main" id="{24D9635F-509E-D430-5809-8086928EE37D}"/>
                </a:ext>
              </a:extLst>
            </p:cNvPr>
            <p:cNvGrpSpPr/>
            <p:nvPr/>
          </p:nvGrpSpPr>
          <p:grpSpPr>
            <a:xfrm>
              <a:off x="6191625" y="1599725"/>
              <a:ext cx="173767" cy="157112"/>
              <a:chOff x="6191625" y="1599725"/>
              <a:chExt cx="173767" cy="157112"/>
            </a:xfrm>
            <a:noFill/>
          </p:grpSpPr>
          <p:sp>
            <p:nvSpPr>
              <p:cNvPr id="303" name="Forma livre: Forma 302">
                <a:extLst>
                  <a:ext uri="{FF2B5EF4-FFF2-40B4-BE49-F238E27FC236}">
                    <a16:creationId xmlns:a16="http://schemas.microsoft.com/office/drawing/2014/main" id="{7DEED788-7506-4CBC-E0BA-C4738044E957}"/>
                  </a:ext>
                </a:extLst>
              </p:cNvPr>
              <p:cNvSpPr/>
              <p:nvPr/>
            </p:nvSpPr>
            <p:spPr>
              <a:xfrm>
                <a:off x="6310094" y="1621974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04" name="Forma livre: Forma 303">
                <a:extLst>
                  <a:ext uri="{FF2B5EF4-FFF2-40B4-BE49-F238E27FC236}">
                    <a16:creationId xmlns:a16="http://schemas.microsoft.com/office/drawing/2014/main" id="{6AB6E4D0-0524-C6A0-287C-444DEF6FF7C9}"/>
                  </a:ext>
                </a:extLst>
              </p:cNvPr>
              <p:cNvSpPr/>
              <p:nvPr/>
            </p:nvSpPr>
            <p:spPr>
              <a:xfrm>
                <a:off x="6191625" y="1599725"/>
                <a:ext cx="118078" cy="49898"/>
              </a:xfrm>
              <a:custGeom>
                <a:avLst/>
                <a:gdLst>
                  <a:gd name="connsiteX0" fmla="*/ 0 w 118078"/>
                  <a:gd name="connsiteY0" fmla="*/ 0 h 49898"/>
                  <a:gd name="connsiteX1" fmla="*/ 37343 w 118078"/>
                  <a:gd name="connsiteY1" fmla="*/ 0 h 49898"/>
                  <a:gd name="connsiteX2" fmla="*/ 87176 w 118078"/>
                  <a:gd name="connsiteY2" fmla="*/ 49899 h 49898"/>
                  <a:gd name="connsiteX3" fmla="*/ 118078 w 118078"/>
                  <a:gd name="connsiteY3" fmla="*/ 49899 h 49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8078" h="49898">
                    <a:moveTo>
                      <a:pt x="0" y="0"/>
                    </a:moveTo>
                    <a:lnTo>
                      <a:pt x="37343" y="0"/>
                    </a:lnTo>
                    <a:lnTo>
                      <a:pt x="87176" y="49899"/>
                    </a:lnTo>
                    <a:lnTo>
                      <a:pt x="118078" y="49899"/>
                    </a:lnTo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05" name="Forma livre: Forma 304">
                <a:extLst>
                  <a:ext uri="{FF2B5EF4-FFF2-40B4-BE49-F238E27FC236}">
                    <a16:creationId xmlns:a16="http://schemas.microsoft.com/office/drawing/2014/main" id="{4801AFD8-C2A5-3BB6-4B43-54F16BDEA525}"/>
                  </a:ext>
                </a:extLst>
              </p:cNvPr>
              <p:cNvSpPr/>
              <p:nvPr/>
            </p:nvSpPr>
            <p:spPr>
              <a:xfrm>
                <a:off x="6191625" y="1665367"/>
                <a:ext cx="81906" cy="44108"/>
              </a:xfrm>
              <a:custGeom>
                <a:avLst/>
                <a:gdLst>
                  <a:gd name="connsiteX0" fmla="*/ 0 w 81906"/>
                  <a:gd name="connsiteY0" fmla="*/ 0 h 44108"/>
                  <a:gd name="connsiteX1" fmla="*/ 37343 w 81906"/>
                  <a:gd name="connsiteY1" fmla="*/ 0 h 44108"/>
                  <a:gd name="connsiteX2" fmla="*/ 81907 w 81906"/>
                  <a:gd name="connsiteY2" fmla="*/ 44109 h 441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1906" h="44108">
                    <a:moveTo>
                      <a:pt x="0" y="0"/>
                    </a:moveTo>
                    <a:lnTo>
                      <a:pt x="37343" y="0"/>
                    </a:lnTo>
                    <a:lnTo>
                      <a:pt x="81907" y="44109"/>
                    </a:lnTo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06" name="Forma livre: Forma 305">
                <a:extLst>
                  <a:ext uri="{FF2B5EF4-FFF2-40B4-BE49-F238E27FC236}">
                    <a16:creationId xmlns:a16="http://schemas.microsoft.com/office/drawing/2014/main" id="{6AB5B2EF-5A3E-65A4-DC36-3A8ED39C4CEC}"/>
                  </a:ext>
                </a:extLst>
              </p:cNvPr>
              <p:cNvSpPr/>
              <p:nvPr/>
            </p:nvSpPr>
            <p:spPr>
              <a:xfrm>
                <a:off x="6265075" y="1701539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294" name="Gráfico 32">
              <a:extLst>
                <a:ext uri="{FF2B5EF4-FFF2-40B4-BE49-F238E27FC236}">
                  <a16:creationId xmlns:a16="http://schemas.microsoft.com/office/drawing/2014/main" id="{CD56F0AC-6C98-D34F-1B80-295676667A76}"/>
                </a:ext>
              </a:extLst>
            </p:cNvPr>
            <p:cNvGrpSpPr/>
            <p:nvPr/>
          </p:nvGrpSpPr>
          <p:grpSpPr>
            <a:xfrm>
              <a:off x="6191625" y="1357908"/>
              <a:ext cx="173767" cy="157112"/>
              <a:chOff x="6191625" y="1357908"/>
              <a:chExt cx="173767" cy="157112"/>
            </a:xfrm>
            <a:noFill/>
          </p:grpSpPr>
          <p:sp>
            <p:nvSpPr>
              <p:cNvPr id="299" name="Forma livre: Forma 298">
                <a:extLst>
                  <a:ext uri="{FF2B5EF4-FFF2-40B4-BE49-F238E27FC236}">
                    <a16:creationId xmlns:a16="http://schemas.microsoft.com/office/drawing/2014/main" id="{B3683A32-D58D-7F4A-3EFC-0B0D7D0F4600}"/>
                  </a:ext>
                </a:extLst>
              </p:cNvPr>
              <p:cNvSpPr/>
              <p:nvPr/>
            </p:nvSpPr>
            <p:spPr>
              <a:xfrm>
                <a:off x="6310094" y="1437472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0 h 55298"/>
                  <a:gd name="connsiteX2" fmla="*/ 0 w 55298"/>
                  <a:gd name="connsiteY2" fmla="*/ 27649 h 55298"/>
                  <a:gd name="connsiteX3" fmla="*/ 27649 w 55298"/>
                  <a:gd name="connsiteY3" fmla="*/ 55298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12361"/>
                      <a:pt x="42938" y="0"/>
                      <a:pt x="27649" y="0"/>
                    </a:cubicBezTo>
                    <a:cubicBezTo>
                      <a:pt x="12361" y="0"/>
                      <a:pt x="0" y="12361"/>
                      <a:pt x="0" y="27649"/>
                    </a:cubicBezTo>
                    <a:cubicBezTo>
                      <a:pt x="0" y="42938"/>
                      <a:pt x="12361" y="55298"/>
                      <a:pt x="27649" y="55298"/>
                    </a:cubicBezTo>
                    <a:cubicBezTo>
                      <a:pt x="42938" y="55298"/>
                      <a:pt x="55298" y="42938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00" name="Forma livre: Forma 299">
                <a:extLst>
                  <a:ext uri="{FF2B5EF4-FFF2-40B4-BE49-F238E27FC236}">
                    <a16:creationId xmlns:a16="http://schemas.microsoft.com/office/drawing/2014/main" id="{B954CF88-222D-0953-7D05-1B2EE0BFDEC5}"/>
                  </a:ext>
                </a:extLst>
              </p:cNvPr>
              <p:cNvSpPr/>
              <p:nvPr/>
            </p:nvSpPr>
            <p:spPr>
              <a:xfrm>
                <a:off x="6191625" y="1465122"/>
                <a:ext cx="118468" cy="49898"/>
              </a:xfrm>
              <a:custGeom>
                <a:avLst/>
                <a:gdLst>
                  <a:gd name="connsiteX0" fmla="*/ 0 w 118468"/>
                  <a:gd name="connsiteY0" fmla="*/ 49899 h 49898"/>
                  <a:gd name="connsiteX1" fmla="*/ 37343 w 118468"/>
                  <a:gd name="connsiteY1" fmla="*/ 49899 h 49898"/>
                  <a:gd name="connsiteX2" fmla="*/ 87176 w 118468"/>
                  <a:gd name="connsiteY2" fmla="*/ 0 h 49898"/>
                  <a:gd name="connsiteX3" fmla="*/ 118469 w 118468"/>
                  <a:gd name="connsiteY3" fmla="*/ 0 h 49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8468" h="49898">
                    <a:moveTo>
                      <a:pt x="0" y="49899"/>
                    </a:moveTo>
                    <a:lnTo>
                      <a:pt x="37343" y="49899"/>
                    </a:lnTo>
                    <a:lnTo>
                      <a:pt x="87176" y="0"/>
                    </a:lnTo>
                    <a:lnTo>
                      <a:pt x="118469" y="0"/>
                    </a:lnTo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01" name="Forma livre: Forma 300">
                <a:extLst>
                  <a:ext uri="{FF2B5EF4-FFF2-40B4-BE49-F238E27FC236}">
                    <a16:creationId xmlns:a16="http://schemas.microsoft.com/office/drawing/2014/main" id="{0D21D5AF-5C3C-D24F-3649-F62628CFEFA5}"/>
                  </a:ext>
                </a:extLst>
              </p:cNvPr>
              <p:cNvSpPr/>
              <p:nvPr/>
            </p:nvSpPr>
            <p:spPr>
              <a:xfrm>
                <a:off x="6191625" y="1405269"/>
                <a:ext cx="81451" cy="44043"/>
              </a:xfrm>
              <a:custGeom>
                <a:avLst/>
                <a:gdLst>
                  <a:gd name="connsiteX0" fmla="*/ 0 w 81451"/>
                  <a:gd name="connsiteY0" fmla="*/ 44044 h 44043"/>
                  <a:gd name="connsiteX1" fmla="*/ 37343 w 81451"/>
                  <a:gd name="connsiteY1" fmla="*/ 44044 h 44043"/>
                  <a:gd name="connsiteX2" fmla="*/ 81451 w 81451"/>
                  <a:gd name="connsiteY2" fmla="*/ 0 h 440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1451" h="44043">
                    <a:moveTo>
                      <a:pt x="0" y="44044"/>
                    </a:moveTo>
                    <a:lnTo>
                      <a:pt x="37343" y="44044"/>
                    </a:lnTo>
                    <a:lnTo>
                      <a:pt x="81451" y="0"/>
                    </a:lnTo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02" name="Forma livre: Forma 301">
                <a:extLst>
                  <a:ext uri="{FF2B5EF4-FFF2-40B4-BE49-F238E27FC236}">
                    <a16:creationId xmlns:a16="http://schemas.microsoft.com/office/drawing/2014/main" id="{C9CD1FCA-286E-F06D-5E4C-9884713B96F9}"/>
                  </a:ext>
                </a:extLst>
              </p:cNvPr>
              <p:cNvSpPr/>
              <p:nvPr/>
            </p:nvSpPr>
            <p:spPr>
              <a:xfrm>
                <a:off x="6265075" y="1357908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0 h 55298"/>
                  <a:gd name="connsiteX2" fmla="*/ 0 w 55298"/>
                  <a:gd name="connsiteY2" fmla="*/ 27649 h 55298"/>
                  <a:gd name="connsiteX3" fmla="*/ 27649 w 55298"/>
                  <a:gd name="connsiteY3" fmla="*/ 55298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12361"/>
                      <a:pt x="42938" y="0"/>
                      <a:pt x="27649" y="0"/>
                    </a:cubicBezTo>
                    <a:cubicBezTo>
                      <a:pt x="12361" y="0"/>
                      <a:pt x="0" y="12361"/>
                      <a:pt x="0" y="27649"/>
                    </a:cubicBezTo>
                    <a:cubicBezTo>
                      <a:pt x="0" y="42938"/>
                      <a:pt x="12361" y="55298"/>
                      <a:pt x="27649" y="55298"/>
                    </a:cubicBezTo>
                    <a:cubicBezTo>
                      <a:pt x="42938" y="55298"/>
                      <a:pt x="55298" y="42938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295" name="Gráfico 32">
              <a:extLst>
                <a:ext uri="{FF2B5EF4-FFF2-40B4-BE49-F238E27FC236}">
                  <a16:creationId xmlns:a16="http://schemas.microsoft.com/office/drawing/2014/main" id="{62B02D46-C4AC-40CA-106D-491A008EE4C6}"/>
                </a:ext>
              </a:extLst>
            </p:cNvPr>
            <p:cNvGrpSpPr/>
            <p:nvPr/>
          </p:nvGrpSpPr>
          <p:grpSpPr>
            <a:xfrm>
              <a:off x="6190910" y="1529723"/>
              <a:ext cx="123673" cy="55298"/>
              <a:chOff x="6190910" y="1529723"/>
              <a:chExt cx="123673" cy="55298"/>
            </a:xfrm>
            <a:noFill/>
          </p:grpSpPr>
          <p:sp>
            <p:nvSpPr>
              <p:cNvPr id="297" name="Forma livre: Forma 296">
                <a:extLst>
                  <a:ext uri="{FF2B5EF4-FFF2-40B4-BE49-F238E27FC236}">
                    <a16:creationId xmlns:a16="http://schemas.microsoft.com/office/drawing/2014/main" id="{66D35DEA-FE35-3210-90BD-F6D96BA02F5F}"/>
                  </a:ext>
                </a:extLst>
              </p:cNvPr>
              <p:cNvSpPr/>
              <p:nvPr/>
            </p:nvSpPr>
            <p:spPr>
              <a:xfrm>
                <a:off x="6190910" y="1557372"/>
                <a:ext cx="68765" cy="6505"/>
              </a:xfrm>
              <a:custGeom>
                <a:avLst/>
                <a:gdLst>
                  <a:gd name="connsiteX0" fmla="*/ 0 w 68765"/>
                  <a:gd name="connsiteY0" fmla="*/ 0 h 6505"/>
                  <a:gd name="connsiteX1" fmla="*/ 68765 w 68765"/>
                  <a:gd name="connsiteY1" fmla="*/ 0 h 65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8765" h="6505">
                    <a:moveTo>
                      <a:pt x="0" y="0"/>
                    </a:moveTo>
                    <a:lnTo>
                      <a:pt x="68765" y="0"/>
                    </a:lnTo>
                  </a:path>
                </a:pathLst>
              </a:custGeom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98" name="Forma livre: Forma 297">
                <a:extLst>
                  <a:ext uri="{FF2B5EF4-FFF2-40B4-BE49-F238E27FC236}">
                    <a16:creationId xmlns:a16="http://schemas.microsoft.com/office/drawing/2014/main" id="{28294720-D095-8FA4-9CE4-0B9BBEEA775A}"/>
                  </a:ext>
                </a:extLst>
              </p:cNvPr>
              <p:cNvSpPr/>
              <p:nvPr/>
            </p:nvSpPr>
            <p:spPr>
              <a:xfrm>
                <a:off x="6259285" y="1529723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296" name="Forma livre: Forma 295">
              <a:extLst>
                <a:ext uri="{FF2B5EF4-FFF2-40B4-BE49-F238E27FC236}">
                  <a16:creationId xmlns:a16="http://schemas.microsoft.com/office/drawing/2014/main" id="{CB3C63A1-A965-E44B-E87B-F461B7E3C12C}"/>
                </a:ext>
              </a:extLst>
            </p:cNvPr>
            <p:cNvSpPr/>
            <p:nvPr/>
          </p:nvSpPr>
          <p:spPr>
            <a:xfrm>
              <a:off x="6152201" y="1686285"/>
              <a:ext cx="37362" cy="20848"/>
            </a:xfrm>
            <a:custGeom>
              <a:avLst/>
              <a:gdLst>
                <a:gd name="connsiteX0" fmla="*/ 0 w 37362"/>
                <a:gd name="connsiteY0" fmla="*/ 10505 h 20848"/>
                <a:gd name="connsiteX1" fmla="*/ 27064 w 37362"/>
                <a:gd name="connsiteY1" fmla="*/ 2373 h 20848"/>
                <a:gd name="connsiteX2" fmla="*/ 37343 w 37362"/>
                <a:gd name="connsiteY2" fmla="*/ 20849 h 20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7362" h="20848">
                  <a:moveTo>
                    <a:pt x="0" y="10505"/>
                  </a:moveTo>
                  <a:cubicBezTo>
                    <a:pt x="5205" y="811"/>
                    <a:pt x="17435" y="-2832"/>
                    <a:pt x="27064" y="2373"/>
                  </a:cubicBezTo>
                  <a:cubicBezTo>
                    <a:pt x="34025" y="6081"/>
                    <a:pt x="37668" y="13432"/>
                    <a:pt x="37343" y="20849"/>
                  </a:cubicBezTo>
                </a:path>
              </a:pathLst>
            </a:custGeom>
            <a:noFill/>
            <a:ln w="19050" cap="sq">
              <a:solidFill>
                <a:schemeClr val="tx1"/>
              </a:solidFill>
              <a:prstDash val="solid"/>
              <a:miter lim="800000"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313" name="Agrupar 312">
            <a:extLst>
              <a:ext uri="{FF2B5EF4-FFF2-40B4-BE49-F238E27FC236}">
                <a16:creationId xmlns:a16="http://schemas.microsoft.com/office/drawing/2014/main" id="{67B7F76E-BDCE-F178-604E-5AF91B47BA92}"/>
              </a:ext>
            </a:extLst>
          </p:cNvPr>
          <p:cNvGrpSpPr/>
          <p:nvPr/>
        </p:nvGrpSpPr>
        <p:grpSpPr>
          <a:xfrm>
            <a:off x="7367437" y="4027475"/>
            <a:ext cx="325297" cy="355243"/>
            <a:chOff x="6000092" y="1357908"/>
            <a:chExt cx="365300" cy="398929"/>
          </a:xfrm>
        </p:grpSpPr>
        <p:sp>
          <p:nvSpPr>
            <p:cNvPr id="314" name="Forma livre: Forma 313">
              <a:extLst>
                <a:ext uri="{FF2B5EF4-FFF2-40B4-BE49-F238E27FC236}">
                  <a16:creationId xmlns:a16="http://schemas.microsoft.com/office/drawing/2014/main" id="{BECC1FD3-BF01-6A25-3124-3E5FDE4B1C6E}"/>
                </a:ext>
              </a:extLst>
            </p:cNvPr>
            <p:cNvSpPr/>
            <p:nvPr/>
          </p:nvSpPr>
          <p:spPr>
            <a:xfrm>
              <a:off x="6000092" y="1418606"/>
              <a:ext cx="84058" cy="286120"/>
            </a:xfrm>
            <a:custGeom>
              <a:avLst/>
              <a:gdLst>
                <a:gd name="connsiteX0" fmla="*/ 51595 w 84058"/>
                <a:gd name="connsiteY0" fmla="*/ 0 h 286120"/>
                <a:gd name="connsiteX1" fmla="*/ 35266 w 84058"/>
                <a:gd name="connsiteY1" fmla="*/ 61674 h 286120"/>
                <a:gd name="connsiteX2" fmla="*/ 28760 w 84058"/>
                <a:gd name="connsiteY2" fmla="*/ 193415 h 286120"/>
                <a:gd name="connsiteX3" fmla="*/ 84059 w 84058"/>
                <a:gd name="connsiteY3" fmla="*/ 286121 h 2861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4058" h="286120">
                  <a:moveTo>
                    <a:pt x="51595" y="0"/>
                  </a:moveTo>
                  <a:cubicBezTo>
                    <a:pt x="37868" y="7872"/>
                    <a:pt x="26028" y="24852"/>
                    <a:pt x="35266" y="61674"/>
                  </a:cubicBezTo>
                  <a:cubicBezTo>
                    <a:pt x="35266" y="61674"/>
                    <a:pt x="-39549" y="126731"/>
                    <a:pt x="28760" y="193415"/>
                  </a:cubicBezTo>
                  <a:cubicBezTo>
                    <a:pt x="28760" y="193415"/>
                    <a:pt x="9243" y="281242"/>
                    <a:pt x="84059" y="286121"/>
                  </a:cubicBezTo>
                </a:path>
              </a:pathLst>
            </a:custGeom>
            <a:noFill/>
            <a:ln w="19050" cap="sq">
              <a:solidFill>
                <a:schemeClr val="tx1"/>
              </a:solidFill>
              <a:prstDash val="solid"/>
              <a:miter lim="800000"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315" name="Gráfico 32">
              <a:extLst>
                <a:ext uri="{FF2B5EF4-FFF2-40B4-BE49-F238E27FC236}">
                  <a16:creationId xmlns:a16="http://schemas.microsoft.com/office/drawing/2014/main" id="{7A601697-3E49-CD04-48A6-790A41E2F1B2}"/>
                </a:ext>
              </a:extLst>
            </p:cNvPr>
            <p:cNvGrpSpPr/>
            <p:nvPr/>
          </p:nvGrpSpPr>
          <p:grpSpPr>
            <a:xfrm>
              <a:off x="6061121" y="1359924"/>
              <a:ext cx="128487" cy="396366"/>
              <a:chOff x="6061121" y="1359924"/>
              <a:chExt cx="128487" cy="396366"/>
            </a:xfrm>
            <a:noFill/>
          </p:grpSpPr>
          <p:sp>
            <p:nvSpPr>
              <p:cNvPr id="330" name="Forma livre: Forma 329">
                <a:extLst>
                  <a:ext uri="{FF2B5EF4-FFF2-40B4-BE49-F238E27FC236}">
                    <a16:creationId xmlns:a16="http://schemas.microsoft.com/office/drawing/2014/main" id="{5FFD00F7-966B-E9A7-BB29-B3CBA0E297DC}"/>
                  </a:ext>
                </a:extLst>
              </p:cNvPr>
              <p:cNvSpPr/>
              <p:nvPr/>
            </p:nvSpPr>
            <p:spPr>
              <a:xfrm>
                <a:off x="6083891" y="1359924"/>
                <a:ext cx="105717" cy="396366"/>
              </a:xfrm>
              <a:custGeom>
                <a:avLst/>
                <a:gdLst>
                  <a:gd name="connsiteX0" fmla="*/ 52891 w 105717"/>
                  <a:gd name="connsiteY0" fmla="*/ 105718 h 396366"/>
                  <a:gd name="connsiteX1" fmla="*/ 0 w 105717"/>
                  <a:gd name="connsiteY1" fmla="*/ 52891 h 396366"/>
                  <a:gd name="connsiteX2" fmla="*/ 52891 w 105717"/>
                  <a:gd name="connsiteY2" fmla="*/ 0 h 396366"/>
                  <a:gd name="connsiteX3" fmla="*/ 105718 w 105717"/>
                  <a:gd name="connsiteY3" fmla="*/ 52826 h 396366"/>
                  <a:gd name="connsiteX4" fmla="*/ 105718 w 105717"/>
                  <a:gd name="connsiteY4" fmla="*/ 346884 h 396366"/>
                  <a:gd name="connsiteX5" fmla="*/ 80606 w 105717"/>
                  <a:gd name="connsiteY5" fmla="*/ 388911 h 396366"/>
                  <a:gd name="connsiteX6" fmla="*/ 9238 w 105717"/>
                  <a:gd name="connsiteY6" fmla="*/ 371150 h 396366"/>
                  <a:gd name="connsiteX7" fmla="*/ 15484 w 105717"/>
                  <a:gd name="connsiteY7" fmla="*/ 309216 h 396366"/>
                  <a:gd name="connsiteX8" fmla="*/ 45019 w 105717"/>
                  <a:gd name="connsiteY8" fmla="*/ 277078 h 3963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05717" h="396366">
                    <a:moveTo>
                      <a:pt x="52891" y="105718"/>
                    </a:moveTo>
                    <a:cubicBezTo>
                      <a:pt x="23681" y="105718"/>
                      <a:pt x="0" y="82037"/>
                      <a:pt x="0" y="52891"/>
                    </a:cubicBezTo>
                    <a:cubicBezTo>
                      <a:pt x="0" y="23746"/>
                      <a:pt x="23681" y="0"/>
                      <a:pt x="52891" y="0"/>
                    </a:cubicBezTo>
                    <a:cubicBezTo>
                      <a:pt x="82102" y="0"/>
                      <a:pt x="105718" y="23681"/>
                      <a:pt x="105718" y="52826"/>
                    </a:cubicBezTo>
                    <a:lnTo>
                      <a:pt x="105718" y="346884"/>
                    </a:lnTo>
                    <a:cubicBezTo>
                      <a:pt x="105718" y="364580"/>
                      <a:pt x="96414" y="379413"/>
                      <a:pt x="80606" y="388911"/>
                    </a:cubicBezTo>
                    <a:cubicBezTo>
                      <a:pt x="55949" y="403744"/>
                      <a:pt x="24006" y="395742"/>
                      <a:pt x="9238" y="371150"/>
                    </a:cubicBezTo>
                    <a:cubicBezTo>
                      <a:pt x="-2928" y="350918"/>
                      <a:pt x="260" y="325741"/>
                      <a:pt x="15484" y="309216"/>
                    </a:cubicBezTo>
                    <a:lnTo>
                      <a:pt x="45019" y="277078"/>
                    </a:lnTo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31" name="Forma livre: Forma 330">
                <a:extLst>
                  <a:ext uri="{FF2B5EF4-FFF2-40B4-BE49-F238E27FC236}">
                    <a16:creationId xmlns:a16="http://schemas.microsoft.com/office/drawing/2014/main" id="{16B29735-9A0C-4D30-D28B-3B6354E227EB}"/>
                  </a:ext>
                </a:extLst>
              </p:cNvPr>
              <p:cNvSpPr/>
              <p:nvPr/>
            </p:nvSpPr>
            <p:spPr>
              <a:xfrm>
                <a:off x="6144784" y="1383865"/>
                <a:ext cx="41563" cy="38963"/>
              </a:xfrm>
              <a:custGeom>
                <a:avLst/>
                <a:gdLst>
                  <a:gd name="connsiteX0" fmla="*/ 36172 w 41563"/>
                  <a:gd name="connsiteY0" fmla="*/ 0 h 38963"/>
                  <a:gd name="connsiteX1" fmla="*/ 39425 w 41563"/>
                  <a:gd name="connsiteY1" fmla="*/ 24266 h 38963"/>
                  <a:gd name="connsiteX2" fmla="*/ 36432 w 41563"/>
                  <a:gd name="connsiteY2" fmla="*/ 29080 h 38963"/>
                  <a:gd name="connsiteX3" fmla="*/ 0 w 41563"/>
                  <a:gd name="connsiteY3" fmla="*/ 33439 h 389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563" h="38963">
                    <a:moveTo>
                      <a:pt x="36172" y="0"/>
                    </a:moveTo>
                    <a:cubicBezTo>
                      <a:pt x="41571" y="7547"/>
                      <a:pt x="43393" y="16004"/>
                      <a:pt x="39425" y="24266"/>
                    </a:cubicBezTo>
                    <a:cubicBezTo>
                      <a:pt x="38644" y="25893"/>
                      <a:pt x="37603" y="27519"/>
                      <a:pt x="36432" y="29080"/>
                    </a:cubicBezTo>
                    <a:cubicBezTo>
                      <a:pt x="27584" y="40270"/>
                      <a:pt x="11190" y="42287"/>
                      <a:pt x="0" y="33439"/>
                    </a:cubicBezTo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32" name="Forma livre: Forma 331">
                <a:extLst>
                  <a:ext uri="{FF2B5EF4-FFF2-40B4-BE49-F238E27FC236}">
                    <a16:creationId xmlns:a16="http://schemas.microsoft.com/office/drawing/2014/main" id="{52855C5A-BDA2-5B15-4274-C6CDD18B7D8C}"/>
                  </a:ext>
                </a:extLst>
              </p:cNvPr>
              <p:cNvSpPr/>
              <p:nvPr/>
            </p:nvSpPr>
            <p:spPr>
              <a:xfrm>
                <a:off x="6081487" y="1460806"/>
                <a:ext cx="34217" cy="54474"/>
              </a:xfrm>
              <a:custGeom>
                <a:avLst/>
                <a:gdLst>
                  <a:gd name="connsiteX0" fmla="*/ 21076 w 34217"/>
                  <a:gd name="connsiteY0" fmla="*/ 54475 h 54474"/>
                  <a:gd name="connsiteX1" fmla="*/ 778 w 34217"/>
                  <a:gd name="connsiteY1" fmla="*/ 21035 h 54474"/>
                  <a:gd name="connsiteX2" fmla="*/ 34217 w 34217"/>
                  <a:gd name="connsiteY2" fmla="*/ 803 h 544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4217" h="54474">
                    <a:moveTo>
                      <a:pt x="21076" y="54475"/>
                    </a:moveTo>
                    <a:cubicBezTo>
                      <a:pt x="6308" y="50832"/>
                      <a:pt x="-2800" y="35803"/>
                      <a:pt x="778" y="21035"/>
                    </a:cubicBezTo>
                    <a:cubicBezTo>
                      <a:pt x="4421" y="6267"/>
                      <a:pt x="19449" y="-2841"/>
                      <a:pt x="34217" y="803"/>
                    </a:cubicBezTo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33" name="Forma livre: Forma 332">
                <a:extLst>
                  <a:ext uri="{FF2B5EF4-FFF2-40B4-BE49-F238E27FC236}">
                    <a16:creationId xmlns:a16="http://schemas.microsoft.com/office/drawing/2014/main" id="{383787B4-6109-C5E5-12D5-59925BA160A0}"/>
                  </a:ext>
                </a:extLst>
              </p:cNvPr>
              <p:cNvSpPr/>
              <p:nvPr/>
            </p:nvSpPr>
            <p:spPr>
              <a:xfrm>
                <a:off x="6073547" y="1527543"/>
                <a:ext cx="114760" cy="72506"/>
              </a:xfrm>
              <a:custGeom>
                <a:avLst/>
                <a:gdLst>
                  <a:gd name="connsiteX0" fmla="*/ 114760 w 114760"/>
                  <a:gd name="connsiteY0" fmla="*/ 7254 h 72506"/>
                  <a:gd name="connsiteX1" fmla="*/ 73905 w 114760"/>
                  <a:gd name="connsiteY1" fmla="*/ 8881 h 72506"/>
                  <a:gd name="connsiteX2" fmla="*/ 0 w 114760"/>
                  <a:gd name="connsiteY2" fmla="*/ 72506 h 725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14760" h="72506">
                    <a:moveTo>
                      <a:pt x="114760" y="7254"/>
                    </a:moveTo>
                    <a:cubicBezTo>
                      <a:pt x="103375" y="-2830"/>
                      <a:pt x="83989" y="-2504"/>
                      <a:pt x="73905" y="8881"/>
                    </a:cubicBezTo>
                    <a:cubicBezTo>
                      <a:pt x="73905" y="8881"/>
                      <a:pt x="31488" y="72506"/>
                      <a:pt x="0" y="72506"/>
                    </a:cubicBezTo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34" name="Forma livre: Forma 333">
                <a:extLst>
                  <a:ext uri="{FF2B5EF4-FFF2-40B4-BE49-F238E27FC236}">
                    <a16:creationId xmlns:a16="http://schemas.microsoft.com/office/drawing/2014/main" id="{F9CCA818-61F1-CD74-7351-F82370CF3AF5}"/>
                  </a:ext>
                </a:extLst>
              </p:cNvPr>
              <p:cNvSpPr/>
              <p:nvPr/>
            </p:nvSpPr>
            <p:spPr>
              <a:xfrm>
                <a:off x="6079857" y="1646956"/>
                <a:ext cx="29405" cy="9823"/>
              </a:xfrm>
              <a:custGeom>
                <a:avLst/>
                <a:gdLst>
                  <a:gd name="connsiteX0" fmla="*/ 0 w 29405"/>
                  <a:gd name="connsiteY0" fmla="*/ 0 h 9823"/>
                  <a:gd name="connsiteX1" fmla="*/ 29406 w 29405"/>
                  <a:gd name="connsiteY1" fmla="*/ 9824 h 98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9405" h="9823">
                    <a:moveTo>
                      <a:pt x="0" y="0"/>
                    </a:moveTo>
                    <a:lnTo>
                      <a:pt x="29406" y="9824"/>
                    </a:lnTo>
                  </a:path>
                </a:pathLst>
              </a:custGeom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35" name="Forma livre: Forma 334">
                <a:extLst>
                  <a:ext uri="{FF2B5EF4-FFF2-40B4-BE49-F238E27FC236}">
                    <a16:creationId xmlns:a16="http://schemas.microsoft.com/office/drawing/2014/main" id="{5EBD6EAE-1499-37CE-CC4F-82F3B3033266}"/>
                  </a:ext>
                </a:extLst>
              </p:cNvPr>
              <p:cNvSpPr/>
              <p:nvPr/>
            </p:nvSpPr>
            <p:spPr>
              <a:xfrm>
                <a:off x="6061121" y="1545272"/>
                <a:ext cx="47166" cy="34154"/>
              </a:xfrm>
              <a:custGeom>
                <a:avLst/>
                <a:gdLst>
                  <a:gd name="connsiteX0" fmla="*/ 0 w 47166"/>
                  <a:gd name="connsiteY0" fmla="*/ 0 h 34154"/>
                  <a:gd name="connsiteX1" fmla="*/ 47166 w 47166"/>
                  <a:gd name="connsiteY1" fmla="*/ 34155 h 341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166" h="34154">
                    <a:moveTo>
                      <a:pt x="0" y="0"/>
                    </a:moveTo>
                    <a:cubicBezTo>
                      <a:pt x="0" y="0"/>
                      <a:pt x="27649" y="13011"/>
                      <a:pt x="47166" y="34155"/>
                    </a:cubicBezTo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316" name="Gráfico 32">
              <a:extLst>
                <a:ext uri="{FF2B5EF4-FFF2-40B4-BE49-F238E27FC236}">
                  <a16:creationId xmlns:a16="http://schemas.microsoft.com/office/drawing/2014/main" id="{BCCC3DF8-92AF-0DF6-722B-D45C28FFE7B5}"/>
                </a:ext>
              </a:extLst>
            </p:cNvPr>
            <p:cNvGrpSpPr/>
            <p:nvPr/>
          </p:nvGrpSpPr>
          <p:grpSpPr>
            <a:xfrm>
              <a:off x="6191625" y="1599725"/>
              <a:ext cx="173767" cy="157112"/>
              <a:chOff x="6191625" y="1599725"/>
              <a:chExt cx="173767" cy="157112"/>
            </a:xfrm>
            <a:noFill/>
          </p:grpSpPr>
          <p:sp>
            <p:nvSpPr>
              <p:cNvPr id="326" name="Forma livre: Forma 325">
                <a:extLst>
                  <a:ext uri="{FF2B5EF4-FFF2-40B4-BE49-F238E27FC236}">
                    <a16:creationId xmlns:a16="http://schemas.microsoft.com/office/drawing/2014/main" id="{0C96862D-4E1F-F2B9-92DE-D88B4E2A3EAE}"/>
                  </a:ext>
                </a:extLst>
              </p:cNvPr>
              <p:cNvSpPr/>
              <p:nvPr/>
            </p:nvSpPr>
            <p:spPr>
              <a:xfrm>
                <a:off x="6310094" y="1621974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27" name="Forma livre: Forma 326">
                <a:extLst>
                  <a:ext uri="{FF2B5EF4-FFF2-40B4-BE49-F238E27FC236}">
                    <a16:creationId xmlns:a16="http://schemas.microsoft.com/office/drawing/2014/main" id="{9715449F-9065-5B49-1B1A-87F8C5E3BC36}"/>
                  </a:ext>
                </a:extLst>
              </p:cNvPr>
              <p:cNvSpPr/>
              <p:nvPr/>
            </p:nvSpPr>
            <p:spPr>
              <a:xfrm>
                <a:off x="6191625" y="1599725"/>
                <a:ext cx="118078" cy="49898"/>
              </a:xfrm>
              <a:custGeom>
                <a:avLst/>
                <a:gdLst>
                  <a:gd name="connsiteX0" fmla="*/ 0 w 118078"/>
                  <a:gd name="connsiteY0" fmla="*/ 0 h 49898"/>
                  <a:gd name="connsiteX1" fmla="*/ 37343 w 118078"/>
                  <a:gd name="connsiteY1" fmla="*/ 0 h 49898"/>
                  <a:gd name="connsiteX2" fmla="*/ 87176 w 118078"/>
                  <a:gd name="connsiteY2" fmla="*/ 49899 h 49898"/>
                  <a:gd name="connsiteX3" fmla="*/ 118078 w 118078"/>
                  <a:gd name="connsiteY3" fmla="*/ 49899 h 49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8078" h="49898">
                    <a:moveTo>
                      <a:pt x="0" y="0"/>
                    </a:moveTo>
                    <a:lnTo>
                      <a:pt x="37343" y="0"/>
                    </a:lnTo>
                    <a:lnTo>
                      <a:pt x="87176" y="49899"/>
                    </a:lnTo>
                    <a:lnTo>
                      <a:pt x="118078" y="49899"/>
                    </a:lnTo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28" name="Forma livre: Forma 327">
                <a:extLst>
                  <a:ext uri="{FF2B5EF4-FFF2-40B4-BE49-F238E27FC236}">
                    <a16:creationId xmlns:a16="http://schemas.microsoft.com/office/drawing/2014/main" id="{0BBB10D2-1AEF-1FF3-4801-FF6B9183FDCA}"/>
                  </a:ext>
                </a:extLst>
              </p:cNvPr>
              <p:cNvSpPr/>
              <p:nvPr/>
            </p:nvSpPr>
            <p:spPr>
              <a:xfrm>
                <a:off x="6191625" y="1665367"/>
                <a:ext cx="81906" cy="44108"/>
              </a:xfrm>
              <a:custGeom>
                <a:avLst/>
                <a:gdLst>
                  <a:gd name="connsiteX0" fmla="*/ 0 w 81906"/>
                  <a:gd name="connsiteY0" fmla="*/ 0 h 44108"/>
                  <a:gd name="connsiteX1" fmla="*/ 37343 w 81906"/>
                  <a:gd name="connsiteY1" fmla="*/ 0 h 44108"/>
                  <a:gd name="connsiteX2" fmla="*/ 81907 w 81906"/>
                  <a:gd name="connsiteY2" fmla="*/ 44109 h 441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1906" h="44108">
                    <a:moveTo>
                      <a:pt x="0" y="0"/>
                    </a:moveTo>
                    <a:lnTo>
                      <a:pt x="37343" y="0"/>
                    </a:lnTo>
                    <a:lnTo>
                      <a:pt x="81907" y="44109"/>
                    </a:lnTo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29" name="Forma livre: Forma 328">
                <a:extLst>
                  <a:ext uri="{FF2B5EF4-FFF2-40B4-BE49-F238E27FC236}">
                    <a16:creationId xmlns:a16="http://schemas.microsoft.com/office/drawing/2014/main" id="{1C5E0EB8-8D54-F6DF-27C0-2710942FBBAE}"/>
                  </a:ext>
                </a:extLst>
              </p:cNvPr>
              <p:cNvSpPr/>
              <p:nvPr/>
            </p:nvSpPr>
            <p:spPr>
              <a:xfrm>
                <a:off x="6265075" y="1701539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317" name="Gráfico 32">
              <a:extLst>
                <a:ext uri="{FF2B5EF4-FFF2-40B4-BE49-F238E27FC236}">
                  <a16:creationId xmlns:a16="http://schemas.microsoft.com/office/drawing/2014/main" id="{7807E2C0-63D1-D5B4-A16F-5096565E0C6E}"/>
                </a:ext>
              </a:extLst>
            </p:cNvPr>
            <p:cNvGrpSpPr/>
            <p:nvPr/>
          </p:nvGrpSpPr>
          <p:grpSpPr>
            <a:xfrm>
              <a:off x="6191625" y="1357908"/>
              <a:ext cx="173767" cy="157112"/>
              <a:chOff x="6191625" y="1357908"/>
              <a:chExt cx="173767" cy="157112"/>
            </a:xfrm>
            <a:noFill/>
          </p:grpSpPr>
          <p:sp>
            <p:nvSpPr>
              <p:cNvPr id="322" name="Forma livre: Forma 321">
                <a:extLst>
                  <a:ext uri="{FF2B5EF4-FFF2-40B4-BE49-F238E27FC236}">
                    <a16:creationId xmlns:a16="http://schemas.microsoft.com/office/drawing/2014/main" id="{A8EB0CCD-76FB-F51F-6F49-378E67E186DE}"/>
                  </a:ext>
                </a:extLst>
              </p:cNvPr>
              <p:cNvSpPr/>
              <p:nvPr/>
            </p:nvSpPr>
            <p:spPr>
              <a:xfrm>
                <a:off x="6310094" y="1437472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0 h 55298"/>
                  <a:gd name="connsiteX2" fmla="*/ 0 w 55298"/>
                  <a:gd name="connsiteY2" fmla="*/ 27649 h 55298"/>
                  <a:gd name="connsiteX3" fmla="*/ 27649 w 55298"/>
                  <a:gd name="connsiteY3" fmla="*/ 55298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12361"/>
                      <a:pt x="42938" y="0"/>
                      <a:pt x="27649" y="0"/>
                    </a:cubicBezTo>
                    <a:cubicBezTo>
                      <a:pt x="12361" y="0"/>
                      <a:pt x="0" y="12361"/>
                      <a:pt x="0" y="27649"/>
                    </a:cubicBezTo>
                    <a:cubicBezTo>
                      <a:pt x="0" y="42938"/>
                      <a:pt x="12361" y="55298"/>
                      <a:pt x="27649" y="55298"/>
                    </a:cubicBezTo>
                    <a:cubicBezTo>
                      <a:pt x="42938" y="55298"/>
                      <a:pt x="55298" y="42938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23" name="Forma livre: Forma 322">
                <a:extLst>
                  <a:ext uri="{FF2B5EF4-FFF2-40B4-BE49-F238E27FC236}">
                    <a16:creationId xmlns:a16="http://schemas.microsoft.com/office/drawing/2014/main" id="{56F872BB-D3B1-1EE0-3731-CC6A6FEEC352}"/>
                  </a:ext>
                </a:extLst>
              </p:cNvPr>
              <p:cNvSpPr/>
              <p:nvPr/>
            </p:nvSpPr>
            <p:spPr>
              <a:xfrm>
                <a:off x="6191625" y="1465122"/>
                <a:ext cx="118468" cy="49898"/>
              </a:xfrm>
              <a:custGeom>
                <a:avLst/>
                <a:gdLst>
                  <a:gd name="connsiteX0" fmla="*/ 0 w 118468"/>
                  <a:gd name="connsiteY0" fmla="*/ 49899 h 49898"/>
                  <a:gd name="connsiteX1" fmla="*/ 37343 w 118468"/>
                  <a:gd name="connsiteY1" fmla="*/ 49899 h 49898"/>
                  <a:gd name="connsiteX2" fmla="*/ 87176 w 118468"/>
                  <a:gd name="connsiteY2" fmla="*/ 0 h 49898"/>
                  <a:gd name="connsiteX3" fmla="*/ 118469 w 118468"/>
                  <a:gd name="connsiteY3" fmla="*/ 0 h 49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8468" h="49898">
                    <a:moveTo>
                      <a:pt x="0" y="49899"/>
                    </a:moveTo>
                    <a:lnTo>
                      <a:pt x="37343" y="49899"/>
                    </a:lnTo>
                    <a:lnTo>
                      <a:pt x="87176" y="0"/>
                    </a:lnTo>
                    <a:lnTo>
                      <a:pt x="118469" y="0"/>
                    </a:lnTo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24" name="Forma livre: Forma 323">
                <a:extLst>
                  <a:ext uri="{FF2B5EF4-FFF2-40B4-BE49-F238E27FC236}">
                    <a16:creationId xmlns:a16="http://schemas.microsoft.com/office/drawing/2014/main" id="{D1E7B03D-7E2D-B572-83DE-1D111E98B4A6}"/>
                  </a:ext>
                </a:extLst>
              </p:cNvPr>
              <p:cNvSpPr/>
              <p:nvPr/>
            </p:nvSpPr>
            <p:spPr>
              <a:xfrm>
                <a:off x="6191625" y="1405269"/>
                <a:ext cx="81451" cy="44043"/>
              </a:xfrm>
              <a:custGeom>
                <a:avLst/>
                <a:gdLst>
                  <a:gd name="connsiteX0" fmla="*/ 0 w 81451"/>
                  <a:gd name="connsiteY0" fmla="*/ 44044 h 44043"/>
                  <a:gd name="connsiteX1" fmla="*/ 37343 w 81451"/>
                  <a:gd name="connsiteY1" fmla="*/ 44044 h 44043"/>
                  <a:gd name="connsiteX2" fmla="*/ 81451 w 81451"/>
                  <a:gd name="connsiteY2" fmla="*/ 0 h 440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1451" h="44043">
                    <a:moveTo>
                      <a:pt x="0" y="44044"/>
                    </a:moveTo>
                    <a:lnTo>
                      <a:pt x="37343" y="44044"/>
                    </a:lnTo>
                    <a:lnTo>
                      <a:pt x="81451" y="0"/>
                    </a:lnTo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25" name="Forma livre: Forma 324">
                <a:extLst>
                  <a:ext uri="{FF2B5EF4-FFF2-40B4-BE49-F238E27FC236}">
                    <a16:creationId xmlns:a16="http://schemas.microsoft.com/office/drawing/2014/main" id="{87F65D2C-7F35-A23D-6160-CEE081C2C201}"/>
                  </a:ext>
                </a:extLst>
              </p:cNvPr>
              <p:cNvSpPr/>
              <p:nvPr/>
            </p:nvSpPr>
            <p:spPr>
              <a:xfrm>
                <a:off x="6265075" y="1357908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0 h 55298"/>
                  <a:gd name="connsiteX2" fmla="*/ 0 w 55298"/>
                  <a:gd name="connsiteY2" fmla="*/ 27649 h 55298"/>
                  <a:gd name="connsiteX3" fmla="*/ 27649 w 55298"/>
                  <a:gd name="connsiteY3" fmla="*/ 55298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12361"/>
                      <a:pt x="42938" y="0"/>
                      <a:pt x="27649" y="0"/>
                    </a:cubicBezTo>
                    <a:cubicBezTo>
                      <a:pt x="12361" y="0"/>
                      <a:pt x="0" y="12361"/>
                      <a:pt x="0" y="27649"/>
                    </a:cubicBezTo>
                    <a:cubicBezTo>
                      <a:pt x="0" y="42938"/>
                      <a:pt x="12361" y="55298"/>
                      <a:pt x="27649" y="55298"/>
                    </a:cubicBezTo>
                    <a:cubicBezTo>
                      <a:pt x="42938" y="55298"/>
                      <a:pt x="55298" y="42938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318" name="Gráfico 32">
              <a:extLst>
                <a:ext uri="{FF2B5EF4-FFF2-40B4-BE49-F238E27FC236}">
                  <a16:creationId xmlns:a16="http://schemas.microsoft.com/office/drawing/2014/main" id="{CE2B965D-4CC1-DB92-572F-B536149B70EA}"/>
                </a:ext>
              </a:extLst>
            </p:cNvPr>
            <p:cNvGrpSpPr/>
            <p:nvPr/>
          </p:nvGrpSpPr>
          <p:grpSpPr>
            <a:xfrm>
              <a:off x="6190910" y="1529723"/>
              <a:ext cx="123673" cy="55298"/>
              <a:chOff x="6190910" y="1529723"/>
              <a:chExt cx="123673" cy="55298"/>
            </a:xfrm>
            <a:noFill/>
          </p:grpSpPr>
          <p:sp>
            <p:nvSpPr>
              <p:cNvPr id="320" name="Forma livre: Forma 319">
                <a:extLst>
                  <a:ext uri="{FF2B5EF4-FFF2-40B4-BE49-F238E27FC236}">
                    <a16:creationId xmlns:a16="http://schemas.microsoft.com/office/drawing/2014/main" id="{4456CF77-2DE0-B768-4A66-CF11CAA3BC68}"/>
                  </a:ext>
                </a:extLst>
              </p:cNvPr>
              <p:cNvSpPr/>
              <p:nvPr/>
            </p:nvSpPr>
            <p:spPr>
              <a:xfrm>
                <a:off x="6190910" y="1557372"/>
                <a:ext cx="68765" cy="6505"/>
              </a:xfrm>
              <a:custGeom>
                <a:avLst/>
                <a:gdLst>
                  <a:gd name="connsiteX0" fmla="*/ 0 w 68765"/>
                  <a:gd name="connsiteY0" fmla="*/ 0 h 6505"/>
                  <a:gd name="connsiteX1" fmla="*/ 68765 w 68765"/>
                  <a:gd name="connsiteY1" fmla="*/ 0 h 65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8765" h="6505">
                    <a:moveTo>
                      <a:pt x="0" y="0"/>
                    </a:moveTo>
                    <a:lnTo>
                      <a:pt x="68765" y="0"/>
                    </a:lnTo>
                  </a:path>
                </a:pathLst>
              </a:custGeom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21" name="Forma livre: Forma 320">
                <a:extLst>
                  <a:ext uri="{FF2B5EF4-FFF2-40B4-BE49-F238E27FC236}">
                    <a16:creationId xmlns:a16="http://schemas.microsoft.com/office/drawing/2014/main" id="{C6EA7855-BD62-4F08-B2B3-7EFBE9F8D802}"/>
                  </a:ext>
                </a:extLst>
              </p:cNvPr>
              <p:cNvSpPr/>
              <p:nvPr/>
            </p:nvSpPr>
            <p:spPr>
              <a:xfrm>
                <a:off x="6259285" y="1529723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319" name="Forma livre: Forma 318">
              <a:extLst>
                <a:ext uri="{FF2B5EF4-FFF2-40B4-BE49-F238E27FC236}">
                  <a16:creationId xmlns:a16="http://schemas.microsoft.com/office/drawing/2014/main" id="{F00D8B17-2DB3-66F5-CF26-B9A33C7A8235}"/>
                </a:ext>
              </a:extLst>
            </p:cNvPr>
            <p:cNvSpPr/>
            <p:nvPr/>
          </p:nvSpPr>
          <p:spPr>
            <a:xfrm>
              <a:off x="6152201" y="1686285"/>
              <a:ext cx="37362" cy="20848"/>
            </a:xfrm>
            <a:custGeom>
              <a:avLst/>
              <a:gdLst>
                <a:gd name="connsiteX0" fmla="*/ 0 w 37362"/>
                <a:gd name="connsiteY0" fmla="*/ 10505 h 20848"/>
                <a:gd name="connsiteX1" fmla="*/ 27064 w 37362"/>
                <a:gd name="connsiteY1" fmla="*/ 2373 h 20848"/>
                <a:gd name="connsiteX2" fmla="*/ 37343 w 37362"/>
                <a:gd name="connsiteY2" fmla="*/ 20849 h 20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7362" h="20848">
                  <a:moveTo>
                    <a:pt x="0" y="10505"/>
                  </a:moveTo>
                  <a:cubicBezTo>
                    <a:pt x="5205" y="811"/>
                    <a:pt x="17435" y="-2832"/>
                    <a:pt x="27064" y="2373"/>
                  </a:cubicBezTo>
                  <a:cubicBezTo>
                    <a:pt x="34025" y="6081"/>
                    <a:pt x="37668" y="13432"/>
                    <a:pt x="37343" y="20849"/>
                  </a:cubicBezTo>
                </a:path>
              </a:pathLst>
            </a:custGeom>
            <a:noFill/>
            <a:ln w="19050" cap="sq">
              <a:solidFill>
                <a:schemeClr val="tx1"/>
              </a:solidFill>
              <a:prstDash val="solid"/>
              <a:miter lim="800000"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336" name="Agrupar 335">
            <a:extLst>
              <a:ext uri="{FF2B5EF4-FFF2-40B4-BE49-F238E27FC236}">
                <a16:creationId xmlns:a16="http://schemas.microsoft.com/office/drawing/2014/main" id="{0B1BE8C0-F895-DDA4-46D7-0502DA7EC619}"/>
              </a:ext>
            </a:extLst>
          </p:cNvPr>
          <p:cNvGrpSpPr/>
          <p:nvPr/>
        </p:nvGrpSpPr>
        <p:grpSpPr>
          <a:xfrm>
            <a:off x="9042672" y="4027475"/>
            <a:ext cx="325297" cy="355243"/>
            <a:chOff x="6000092" y="1357908"/>
            <a:chExt cx="365300" cy="398929"/>
          </a:xfrm>
        </p:grpSpPr>
        <p:sp>
          <p:nvSpPr>
            <p:cNvPr id="337" name="Forma livre: Forma 336">
              <a:extLst>
                <a:ext uri="{FF2B5EF4-FFF2-40B4-BE49-F238E27FC236}">
                  <a16:creationId xmlns:a16="http://schemas.microsoft.com/office/drawing/2014/main" id="{F67E72E5-AB23-6593-7713-3336A0958B2A}"/>
                </a:ext>
              </a:extLst>
            </p:cNvPr>
            <p:cNvSpPr/>
            <p:nvPr/>
          </p:nvSpPr>
          <p:spPr>
            <a:xfrm>
              <a:off x="6000092" y="1418606"/>
              <a:ext cx="84058" cy="286120"/>
            </a:xfrm>
            <a:custGeom>
              <a:avLst/>
              <a:gdLst>
                <a:gd name="connsiteX0" fmla="*/ 51595 w 84058"/>
                <a:gd name="connsiteY0" fmla="*/ 0 h 286120"/>
                <a:gd name="connsiteX1" fmla="*/ 35266 w 84058"/>
                <a:gd name="connsiteY1" fmla="*/ 61674 h 286120"/>
                <a:gd name="connsiteX2" fmla="*/ 28760 w 84058"/>
                <a:gd name="connsiteY2" fmla="*/ 193415 h 286120"/>
                <a:gd name="connsiteX3" fmla="*/ 84059 w 84058"/>
                <a:gd name="connsiteY3" fmla="*/ 286121 h 2861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4058" h="286120">
                  <a:moveTo>
                    <a:pt x="51595" y="0"/>
                  </a:moveTo>
                  <a:cubicBezTo>
                    <a:pt x="37868" y="7872"/>
                    <a:pt x="26028" y="24852"/>
                    <a:pt x="35266" y="61674"/>
                  </a:cubicBezTo>
                  <a:cubicBezTo>
                    <a:pt x="35266" y="61674"/>
                    <a:pt x="-39549" y="126731"/>
                    <a:pt x="28760" y="193415"/>
                  </a:cubicBezTo>
                  <a:cubicBezTo>
                    <a:pt x="28760" y="193415"/>
                    <a:pt x="9243" y="281242"/>
                    <a:pt x="84059" y="286121"/>
                  </a:cubicBezTo>
                </a:path>
              </a:pathLst>
            </a:custGeom>
            <a:noFill/>
            <a:ln w="19050" cap="sq">
              <a:solidFill>
                <a:schemeClr val="tx1"/>
              </a:solidFill>
              <a:prstDash val="solid"/>
              <a:miter lim="800000"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338" name="Gráfico 32">
              <a:extLst>
                <a:ext uri="{FF2B5EF4-FFF2-40B4-BE49-F238E27FC236}">
                  <a16:creationId xmlns:a16="http://schemas.microsoft.com/office/drawing/2014/main" id="{8A20F788-0CC1-E8F8-A385-C04BDE87823B}"/>
                </a:ext>
              </a:extLst>
            </p:cNvPr>
            <p:cNvGrpSpPr/>
            <p:nvPr/>
          </p:nvGrpSpPr>
          <p:grpSpPr>
            <a:xfrm>
              <a:off x="6061121" y="1359924"/>
              <a:ext cx="128487" cy="396366"/>
              <a:chOff x="6061121" y="1359924"/>
              <a:chExt cx="128487" cy="396366"/>
            </a:xfrm>
            <a:noFill/>
          </p:grpSpPr>
          <p:sp>
            <p:nvSpPr>
              <p:cNvPr id="353" name="Forma livre: Forma 352">
                <a:extLst>
                  <a:ext uri="{FF2B5EF4-FFF2-40B4-BE49-F238E27FC236}">
                    <a16:creationId xmlns:a16="http://schemas.microsoft.com/office/drawing/2014/main" id="{9B09E4D8-63B0-AFBD-6653-A4F437572494}"/>
                  </a:ext>
                </a:extLst>
              </p:cNvPr>
              <p:cNvSpPr/>
              <p:nvPr/>
            </p:nvSpPr>
            <p:spPr>
              <a:xfrm>
                <a:off x="6083891" y="1359924"/>
                <a:ext cx="105717" cy="396366"/>
              </a:xfrm>
              <a:custGeom>
                <a:avLst/>
                <a:gdLst>
                  <a:gd name="connsiteX0" fmla="*/ 52891 w 105717"/>
                  <a:gd name="connsiteY0" fmla="*/ 105718 h 396366"/>
                  <a:gd name="connsiteX1" fmla="*/ 0 w 105717"/>
                  <a:gd name="connsiteY1" fmla="*/ 52891 h 396366"/>
                  <a:gd name="connsiteX2" fmla="*/ 52891 w 105717"/>
                  <a:gd name="connsiteY2" fmla="*/ 0 h 396366"/>
                  <a:gd name="connsiteX3" fmla="*/ 105718 w 105717"/>
                  <a:gd name="connsiteY3" fmla="*/ 52826 h 396366"/>
                  <a:gd name="connsiteX4" fmla="*/ 105718 w 105717"/>
                  <a:gd name="connsiteY4" fmla="*/ 346884 h 396366"/>
                  <a:gd name="connsiteX5" fmla="*/ 80606 w 105717"/>
                  <a:gd name="connsiteY5" fmla="*/ 388911 h 396366"/>
                  <a:gd name="connsiteX6" fmla="*/ 9238 w 105717"/>
                  <a:gd name="connsiteY6" fmla="*/ 371150 h 396366"/>
                  <a:gd name="connsiteX7" fmla="*/ 15484 w 105717"/>
                  <a:gd name="connsiteY7" fmla="*/ 309216 h 396366"/>
                  <a:gd name="connsiteX8" fmla="*/ 45019 w 105717"/>
                  <a:gd name="connsiteY8" fmla="*/ 277078 h 3963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05717" h="396366">
                    <a:moveTo>
                      <a:pt x="52891" y="105718"/>
                    </a:moveTo>
                    <a:cubicBezTo>
                      <a:pt x="23681" y="105718"/>
                      <a:pt x="0" y="82037"/>
                      <a:pt x="0" y="52891"/>
                    </a:cubicBezTo>
                    <a:cubicBezTo>
                      <a:pt x="0" y="23746"/>
                      <a:pt x="23681" y="0"/>
                      <a:pt x="52891" y="0"/>
                    </a:cubicBezTo>
                    <a:cubicBezTo>
                      <a:pt x="82102" y="0"/>
                      <a:pt x="105718" y="23681"/>
                      <a:pt x="105718" y="52826"/>
                    </a:cubicBezTo>
                    <a:lnTo>
                      <a:pt x="105718" y="346884"/>
                    </a:lnTo>
                    <a:cubicBezTo>
                      <a:pt x="105718" y="364580"/>
                      <a:pt x="96414" y="379413"/>
                      <a:pt x="80606" y="388911"/>
                    </a:cubicBezTo>
                    <a:cubicBezTo>
                      <a:pt x="55949" y="403744"/>
                      <a:pt x="24006" y="395742"/>
                      <a:pt x="9238" y="371150"/>
                    </a:cubicBezTo>
                    <a:cubicBezTo>
                      <a:pt x="-2928" y="350918"/>
                      <a:pt x="260" y="325741"/>
                      <a:pt x="15484" y="309216"/>
                    </a:cubicBezTo>
                    <a:lnTo>
                      <a:pt x="45019" y="277078"/>
                    </a:lnTo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54" name="Forma livre: Forma 353">
                <a:extLst>
                  <a:ext uri="{FF2B5EF4-FFF2-40B4-BE49-F238E27FC236}">
                    <a16:creationId xmlns:a16="http://schemas.microsoft.com/office/drawing/2014/main" id="{AD263A5D-EF88-B8BC-98F9-C0D1C0380CB6}"/>
                  </a:ext>
                </a:extLst>
              </p:cNvPr>
              <p:cNvSpPr/>
              <p:nvPr/>
            </p:nvSpPr>
            <p:spPr>
              <a:xfrm>
                <a:off x="6144784" y="1383865"/>
                <a:ext cx="41563" cy="38963"/>
              </a:xfrm>
              <a:custGeom>
                <a:avLst/>
                <a:gdLst>
                  <a:gd name="connsiteX0" fmla="*/ 36172 w 41563"/>
                  <a:gd name="connsiteY0" fmla="*/ 0 h 38963"/>
                  <a:gd name="connsiteX1" fmla="*/ 39425 w 41563"/>
                  <a:gd name="connsiteY1" fmla="*/ 24266 h 38963"/>
                  <a:gd name="connsiteX2" fmla="*/ 36432 w 41563"/>
                  <a:gd name="connsiteY2" fmla="*/ 29080 h 38963"/>
                  <a:gd name="connsiteX3" fmla="*/ 0 w 41563"/>
                  <a:gd name="connsiteY3" fmla="*/ 33439 h 389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563" h="38963">
                    <a:moveTo>
                      <a:pt x="36172" y="0"/>
                    </a:moveTo>
                    <a:cubicBezTo>
                      <a:pt x="41571" y="7547"/>
                      <a:pt x="43393" y="16004"/>
                      <a:pt x="39425" y="24266"/>
                    </a:cubicBezTo>
                    <a:cubicBezTo>
                      <a:pt x="38644" y="25893"/>
                      <a:pt x="37603" y="27519"/>
                      <a:pt x="36432" y="29080"/>
                    </a:cubicBezTo>
                    <a:cubicBezTo>
                      <a:pt x="27584" y="40270"/>
                      <a:pt x="11190" y="42287"/>
                      <a:pt x="0" y="33439"/>
                    </a:cubicBezTo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55" name="Forma livre: Forma 354">
                <a:extLst>
                  <a:ext uri="{FF2B5EF4-FFF2-40B4-BE49-F238E27FC236}">
                    <a16:creationId xmlns:a16="http://schemas.microsoft.com/office/drawing/2014/main" id="{DA7D447D-5486-57F9-2E94-2936C3E24EE5}"/>
                  </a:ext>
                </a:extLst>
              </p:cNvPr>
              <p:cNvSpPr/>
              <p:nvPr/>
            </p:nvSpPr>
            <p:spPr>
              <a:xfrm>
                <a:off x="6081487" y="1460806"/>
                <a:ext cx="34217" cy="54474"/>
              </a:xfrm>
              <a:custGeom>
                <a:avLst/>
                <a:gdLst>
                  <a:gd name="connsiteX0" fmla="*/ 21076 w 34217"/>
                  <a:gd name="connsiteY0" fmla="*/ 54475 h 54474"/>
                  <a:gd name="connsiteX1" fmla="*/ 778 w 34217"/>
                  <a:gd name="connsiteY1" fmla="*/ 21035 h 54474"/>
                  <a:gd name="connsiteX2" fmla="*/ 34217 w 34217"/>
                  <a:gd name="connsiteY2" fmla="*/ 803 h 544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4217" h="54474">
                    <a:moveTo>
                      <a:pt x="21076" y="54475"/>
                    </a:moveTo>
                    <a:cubicBezTo>
                      <a:pt x="6308" y="50832"/>
                      <a:pt x="-2800" y="35803"/>
                      <a:pt x="778" y="21035"/>
                    </a:cubicBezTo>
                    <a:cubicBezTo>
                      <a:pt x="4421" y="6267"/>
                      <a:pt x="19449" y="-2841"/>
                      <a:pt x="34217" y="803"/>
                    </a:cubicBezTo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56" name="Forma livre: Forma 355">
                <a:extLst>
                  <a:ext uri="{FF2B5EF4-FFF2-40B4-BE49-F238E27FC236}">
                    <a16:creationId xmlns:a16="http://schemas.microsoft.com/office/drawing/2014/main" id="{91363CF6-CBEF-4021-E93D-3E0ED46CFE99}"/>
                  </a:ext>
                </a:extLst>
              </p:cNvPr>
              <p:cNvSpPr/>
              <p:nvPr/>
            </p:nvSpPr>
            <p:spPr>
              <a:xfrm>
                <a:off x="6073547" y="1527543"/>
                <a:ext cx="114760" cy="72506"/>
              </a:xfrm>
              <a:custGeom>
                <a:avLst/>
                <a:gdLst>
                  <a:gd name="connsiteX0" fmla="*/ 114760 w 114760"/>
                  <a:gd name="connsiteY0" fmla="*/ 7254 h 72506"/>
                  <a:gd name="connsiteX1" fmla="*/ 73905 w 114760"/>
                  <a:gd name="connsiteY1" fmla="*/ 8881 h 72506"/>
                  <a:gd name="connsiteX2" fmla="*/ 0 w 114760"/>
                  <a:gd name="connsiteY2" fmla="*/ 72506 h 725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14760" h="72506">
                    <a:moveTo>
                      <a:pt x="114760" y="7254"/>
                    </a:moveTo>
                    <a:cubicBezTo>
                      <a:pt x="103375" y="-2830"/>
                      <a:pt x="83989" y="-2504"/>
                      <a:pt x="73905" y="8881"/>
                    </a:cubicBezTo>
                    <a:cubicBezTo>
                      <a:pt x="73905" y="8881"/>
                      <a:pt x="31488" y="72506"/>
                      <a:pt x="0" y="72506"/>
                    </a:cubicBezTo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57" name="Forma livre: Forma 356">
                <a:extLst>
                  <a:ext uri="{FF2B5EF4-FFF2-40B4-BE49-F238E27FC236}">
                    <a16:creationId xmlns:a16="http://schemas.microsoft.com/office/drawing/2014/main" id="{EBB31213-B85B-7846-1ABE-8257C0BFA91C}"/>
                  </a:ext>
                </a:extLst>
              </p:cNvPr>
              <p:cNvSpPr/>
              <p:nvPr/>
            </p:nvSpPr>
            <p:spPr>
              <a:xfrm>
                <a:off x="6079857" y="1646956"/>
                <a:ext cx="29405" cy="9823"/>
              </a:xfrm>
              <a:custGeom>
                <a:avLst/>
                <a:gdLst>
                  <a:gd name="connsiteX0" fmla="*/ 0 w 29405"/>
                  <a:gd name="connsiteY0" fmla="*/ 0 h 9823"/>
                  <a:gd name="connsiteX1" fmla="*/ 29406 w 29405"/>
                  <a:gd name="connsiteY1" fmla="*/ 9824 h 98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9405" h="9823">
                    <a:moveTo>
                      <a:pt x="0" y="0"/>
                    </a:moveTo>
                    <a:lnTo>
                      <a:pt x="29406" y="9824"/>
                    </a:lnTo>
                  </a:path>
                </a:pathLst>
              </a:custGeom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58" name="Forma livre: Forma 357">
                <a:extLst>
                  <a:ext uri="{FF2B5EF4-FFF2-40B4-BE49-F238E27FC236}">
                    <a16:creationId xmlns:a16="http://schemas.microsoft.com/office/drawing/2014/main" id="{5944E349-7F72-1525-8A69-9205BB6A63A6}"/>
                  </a:ext>
                </a:extLst>
              </p:cNvPr>
              <p:cNvSpPr/>
              <p:nvPr/>
            </p:nvSpPr>
            <p:spPr>
              <a:xfrm>
                <a:off x="6061121" y="1545272"/>
                <a:ext cx="47166" cy="34154"/>
              </a:xfrm>
              <a:custGeom>
                <a:avLst/>
                <a:gdLst>
                  <a:gd name="connsiteX0" fmla="*/ 0 w 47166"/>
                  <a:gd name="connsiteY0" fmla="*/ 0 h 34154"/>
                  <a:gd name="connsiteX1" fmla="*/ 47166 w 47166"/>
                  <a:gd name="connsiteY1" fmla="*/ 34155 h 341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166" h="34154">
                    <a:moveTo>
                      <a:pt x="0" y="0"/>
                    </a:moveTo>
                    <a:cubicBezTo>
                      <a:pt x="0" y="0"/>
                      <a:pt x="27649" y="13011"/>
                      <a:pt x="47166" y="34155"/>
                    </a:cubicBezTo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339" name="Gráfico 32">
              <a:extLst>
                <a:ext uri="{FF2B5EF4-FFF2-40B4-BE49-F238E27FC236}">
                  <a16:creationId xmlns:a16="http://schemas.microsoft.com/office/drawing/2014/main" id="{7BDE6C4D-5F43-C370-3CED-FBECB864CCBF}"/>
                </a:ext>
              </a:extLst>
            </p:cNvPr>
            <p:cNvGrpSpPr/>
            <p:nvPr/>
          </p:nvGrpSpPr>
          <p:grpSpPr>
            <a:xfrm>
              <a:off x="6191625" y="1599725"/>
              <a:ext cx="173767" cy="157112"/>
              <a:chOff x="6191625" y="1599725"/>
              <a:chExt cx="173767" cy="157112"/>
            </a:xfrm>
            <a:noFill/>
          </p:grpSpPr>
          <p:sp>
            <p:nvSpPr>
              <p:cNvPr id="349" name="Forma livre: Forma 348">
                <a:extLst>
                  <a:ext uri="{FF2B5EF4-FFF2-40B4-BE49-F238E27FC236}">
                    <a16:creationId xmlns:a16="http://schemas.microsoft.com/office/drawing/2014/main" id="{C0B8FCBD-7BDD-93BE-A898-26618EA51CE8}"/>
                  </a:ext>
                </a:extLst>
              </p:cNvPr>
              <p:cNvSpPr/>
              <p:nvPr/>
            </p:nvSpPr>
            <p:spPr>
              <a:xfrm>
                <a:off x="6310094" y="1621974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50" name="Forma livre: Forma 349">
                <a:extLst>
                  <a:ext uri="{FF2B5EF4-FFF2-40B4-BE49-F238E27FC236}">
                    <a16:creationId xmlns:a16="http://schemas.microsoft.com/office/drawing/2014/main" id="{0BC40C24-619F-CEB3-EAA6-26C3822FDAEA}"/>
                  </a:ext>
                </a:extLst>
              </p:cNvPr>
              <p:cNvSpPr/>
              <p:nvPr/>
            </p:nvSpPr>
            <p:spPr>
              <a:xfrm>
                <a:off x="6191625" y="1599725"/>
                <a:ext cx="118078" cy="49898"/>
              </a:xfrm>
              <a:custGeom>
                <a:avLst/>
                <a:gdLst>
                  <a:gd name="connsiteX0" fmla="*/ 0 w 118078"/>
                  <a:gd name="connsiteY0" fmla="*/ 0 h 49898"/>
                  <a:gd name="connsiteX1" fmla="*/ 37343 w 118078"/>
                  <a:gd name="connsiteY1" fmla="*/ 0 h 49898"/>
                  <a:gd name="connsiteX2" fmla="*/ 87176 w 118078"/>
                  <a:gd name="connsiteY2" fmla="*/ 49899 h 49898"/>
                  <a:gd name="connsiteX3" fmla="*/ 118078 w 118078"/>
                  <a:gd name="connsiteY3" fmla="*/ 49899 h 49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8078" h="49898">
                    <a:moveTo>
                      <a:pt x="0" y="0"/>
                    </a:moveTo>
                    <a:lnTo>
                      <a:pt x="37343" y="0"/>
                    </a:lnTo>
                    <a:lnTo>
                      <a:pt x="87176" y="49899"/>
                    </a:lnTo>
                    <a:lnTo>
                      <a:pt x="118078" y="49899"/>
                    </a:lnTo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51" name="Forma livre: Forma 350">
                <a:extLst>
                  <a:ext uri="{FF2B5EF4-FFF2-40B4-BE49-F238E27FC236}">
                    <a16:creationId xmlns:a16="http://schemas.microsoft.com/office/drawing/2014/main" id="{CE5DD8A0-351E-E0FD-C742-A07298531FC6}"/>
                  </a:ext>
                </a:extLst>
              </p:cNvPr>
              <p:cNvSpPr/>
              <p:nvPr/>
            </p:nvSpPr>
            <p:spPr>
              <a:xfrm>
                <a:off x="6191625" y="1665367"/>
                <a:ext cx="81906" cy="44108"/>
              </a:xfrm>
              <a:custGeom>
                <a:avLst/>
                <a:gdLst>
                  <a:gd name="connsiteX0" fmla="*/ 0 w 81906"/>
                  <a:gd name="connsiteY0" fmla="*/ 0 h 44108"/>
                  <a:gd name="connsiteX1" fmla="*/ 37343 w 81906"/>
                  <a:gd name="connsiteY1" fmla="*/ 0 h 44108"/>
                  <a:gd name="connsiteX2" fmla="*/ 81907 w 81906"/>
                  <a:gd name="connsiteY2" fmla="*/ 44109 h 441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1906" h="44108">
                    <a:moveTo>
                      <a:pt x="0" y="0"/>
                    </a:moveTo>
                    <a:lnTo>
                      <a:pt x="37343" y="0"/>
                    </a:lnTo>
                    <a:lnTo>
                      <a:pt x="81907" y="44109"/>
                    </a:lnTo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52" name="Forma livre: Forma 351">
                <a:extLst>
                  <a:ext uri="{FF2B5EF4-FFF2-40B4-BE49-F238E27FC236}">
                    <a16:creationId xmlns:a16="http://schemas.microsoft.com/office/drawing/2014/main" id="{3F3EC985-DE89-EC42-4AAB-95B2228D153D}"/>
                  </a:ext>
                </a:extLst>
              </p:cNvPr>
              <p:cNvSpPr/>
              <p:nvPr/>
            </p:nvSpPr>
            <p:spPr>
              <a:xfrm>
                <a:off x="6265075" y="1701539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340" name="Gráfico 32">
              <a:extLst>
                <a:ext uri="{FF2B5EF4-FFF2-40B4-BE49-F238E27FC236}">
                  <a16:creationId xmlns:a16="http://schemas.microsoft.com/office/drawing/2014/main" id="{0E2C4F23-23AA-C799-71F4-EA291FD00A3D}"/>
                </a:ext>
              </a:extLst>
            </p:cNvPr>
            <p:cNvGrpSpPr/>
            <p:nvPr/>
          </p:nvGrpSpPr>
          <p:grpSpPr>
            <a:xfrm>
              <a:off x="6191625" y="1357908"/>
              <a:ext cx="173767" cy="157112"/>
              <a:chOff x="6191625" y="1357908"/>
              <a:chExt cx="173767" cy="157112"/>
            </a:xfrm>
            <a:noFill/>
          </p:grpSpPr>
          <p:sp>
            <p:nvSpPr>
              <p:cNvPr id="345" name="Forma livre: Forma 344">
                <a:extLst>
                  <a:ext uri="{FF2B5EF4-FFF2-40B4-BE49-F238E27FC236}">
                    <a16:creationId xmlns:a16="http://schemas.microsoft.com/office/drawing/2014/main" id="{ADC841C1-B49B-3B10-7887-86F2440B9566}"/>
                  </a:ext>
                </a:extLst>
              </p:cNvPr>
              <p:cNvSpPr/>
              <p:nvPr/>
            </p:nvSpPr>
            <p:spPr>
              <a:xfrm>
                <a:off x="6310094" y="1437472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0 h 55298"/>
                  <a:gd name="connsiteX2" fmla="*/ 0 w 55298"/>
                  <a:gd name="connsiteY2" fmla="*/ 27649 h 55298"/>
                  <a:gd name="connsiteX3" fmla="*/ 27649 w 55298"/>
                  <a:gd name="connsiteY3" fmla="*/ 55298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12361"/>
                      <a:pt x="42938" y="0"/>
                      <a:pt x="27649" y="0"/>
                    </a:cubicBezTo>
                    <a:cubicBezTo>
                      <a:pt x="12361" y="0"/>
                      <a:pt x="0" y="12361"/>
                      <a:pt x="0" y="27649"/>
                    </a:cubicBezTo>
                    <a:cubicBezTo>
                      <a:pt x="0" y="42938"/>
                      <a:pt x="12361" y="55298"/>
                      <a:pt x="27649" y="55298"/>
                    </a:cubicBezTo>
                    <a:cubicBezTo>
                      <a:pt x="42938" y="55298"/>
                      <a:pt x="55298" y="42938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46" name="Forma livre: Forma 345">
                <a:extLst>
                  <a:ext uri="{FF2B5EF4-FFF2-40B4-BE49-F238E27FC236}">
                    <a16:creationId xmlns:a16="http://schemas.microsoft.com/office/drawing/2014/main" id="{61DD7A32-D7A9-5C69-E387-913CD9E7260C}"/>
                  </a:ext>
                </a:extLst>
              </p:cNvPr>
              <p:cNvSpPr/>
              <p:nvPr/>
            </p:nvSpPr>
            <p:spPr>
              <a:xfrm>
                <a:off x="6191625" y="1465122"/>
                <a:ext cx="118468" cy="49898"/>
              </a:xfrm>
              <a:custGeom>
                <a:avLst/>
                <a:gdLst>
                  <a:gd name="connsiteX0" fmla="*/ 0 w 118468"/>
                  <a:gd name="connsiteY0" fmla="*/ 49899 h 49898"/>
                  <a:gd name="connsiteX1" fmla="*/ 37343 w 118468"/>
                  <a:gd name="connsiteY1" fmla="*/ 49899 h 49898"/>
                  <a:gd name="connsiteX2" fmla="*/ 87176 w 118468"/>
                  <a:gd name="connsiteY2" fmla="*/ 0 h 49898"/>
                  <a:gd name="connsiteX3" fmla="*/ 118469 w 118468"/>
                  <a:gd name="connsiteY3" fmla="*/ 0 h 49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8468" h="49898">
                    <a:moveTo>
                      <a:pt x="0" y="49899"/>
                    </a:moveTo>
                    <a:lnTo>
                      <a:pt x="37343" y="49899"/>
                    </a:lnTo>
                    <a:lnTo>
                      <a:pt x="87176" y="0"/>
                    </a:lnTo>
                    <a:lnTo>
                      <a:pt x="118469" y="0"/>
                    </a:lnTo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47" name="Forma livre: Forma 346">
                <a:extLst>
                  <a:ext uri="{FF2B5EF4-FFF2-40B4-BE49-F238E27FC236}">
                    <a16:creationId xmlns:a16="http://schemas.microsoft.com/office/drawing/2014/main" id="{889B6324-7AE9-8938-5760-599387F644D1}"/>
                  </a:ext>
                </a:extLst>
              </p:cNvPr>
              <p:cNvSpPr/>
              <p:nvPr/>
            </p:nvSpPr>
            <p:spPr>
              <a:xfrm>
                <a:off x="6191625" y="1405269"/>
                <a:ext cx="81451" cy="44043"/>
              </a:xfrm>
              <a:custGeom>
                <a:avLst/>
                <a:gdLst>
                  <a:gd name="connsiteX0" fmla="*/ 0 w 81451"/>
                  <a:gd name="connsiteY0" fmla="*/ 44044 h 44043"/>
                  <a:gd name="connsiteX1" fmla="*/ 37343 w 81451"/>
                  <a:gd name="connsiteY1" fmla="*/ 44044 h 44043"/>
                  <a:gd name="connsiteX2" fmla="*/ 81451 w 81451"/>
                  <a:gd name="connsiteY2" fmla="*/ 0 h 440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1451" h="44043">
                    <a:moveTo>
                      <a:pt x="0" y="44044"/>
                    </a:moveTo>
                    <a:lnTo>
                      <a:pt x="37343" y="44044"/>
                    </a:lnTo>
                    <a:lnTo>
                      <a:pt x="81451" y="0"/>
                    </a:lnTo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48" name="Forma livre: Forma 347">
                <a:extLst>
                  <a:ext uri="{FF2B5EF4-FFF2-40B4-BE49-F238E27FC236}">
                    <a16:creationId xmlns:a16="http://schemas.microsoft.com/office/drawing/2014/main" id="{1D58ABF0-FCCE-337C-F2CA-12F6F1235DE3}"/>
                  </a:ext>
                </a:extLst>
              </p:cNvPr>
              <p:cNvSpPr/>
              <p:nvPr/>
            </p:nvSpPr>
            <p:spPr>
              <a:xfrm>
                <a:off x="6265075" y="1357908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0 h 55298"/>
                  <a:gd name="connsiteX2" fmla="*/ 0 w 55298"/>
                  <a:gd name="connsiteY2" fmla="*/ 27649 h 55298"/>
                  <a:gd name="connsiteX3" fmla="*/ 27649 w 55298"/>
                  <a:gd name="connsiteY3" fmla="*/ 55298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12361"/>
                      <a:pt x="42938" y="0"/>
                      <a:pt x="27649" y="0"/>
                    </a:cubicBezTo>
                    <a:cubicBezTo>
                      <a:pt x="12361" y="0"/>
                      <a:pt x="0" y="12361"/>
                      <a:pt x="0" y="27649"/>
                    </a:cubicBezTo>
                    <a:cubicBezTo>
                      <a:pt x="0" y="42938"/>
                      <a:pt x="12361" y="55298"/>
                      <a:pt x="27649" y="55298"/>
                    </a:cubicBezTo>
                    <a:cubicBezTo>
                      <a:pt x="42938" y="55298"/>
                      <a:pt x="55298" y="42938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341" name="Gráfico 32">
              <a:extLst>
                <a:ext uri="{FF2B5EF4-FFF2-40B4-BE49-F238E27FC236}">
                  <a16:creationId xmlns:a16="http://schemas.microsoft.com/office/drawing/2014/main" id="{DD413FA4-5417-72DC-34C0-7A025F2C2AEC}"/>
                </a:ext>
              </a:extLst>
            </p:cNvPr>
            <p:cNvGrpSpPr/>
            <p:nvPr/>
          </p:nvGrpSpPr>
          <p:grpSpPr>
            <a:xfrm>
              <a:off x="6190910" y="1529723"/>
              <a:ext cx="123673" cy="55298"/>
              <a:chOff x="6190910" y="1529723"/>
              <a:chExt cx="123673" cy="55298"/>
            </a:xfrm>
            <a:noFill/>
          </p:grpSpPr>
          <p:sp>
            <p:nvSpPr>
              <p:cNvPr id="343" name="Forma livre: Forma 342">
                <a:extLst>
                  <a:ext uri="{FF2B5EF4-FFF2-40B4-BE49-F238E27FC236}">
                    <a16:creationId xmlns:a16="http://schemas.microsoft.com/office/drawing/2014/main" id="{47D2FBD5-3728-6CA1-986F-0B488E5EAF72}"/>
                  </a:ext>
                </a:extLst>
              </p:cNvPr>
              <p:cNvSpPr/>
              <p:nvPr/>
            </p:nvSpPr>
            <p:spPr>
              <a:xfrm>
                <a:off x="6190910" y="1557372"/>
                <a:ext cx="68765" cy="6505"/>
              </a:xfrm>
              <a:custGeom>
                <a:avLst/>
                <a:gdLst>
                  <a:gd name="connsiteX0" fmla="*/ 0 w 68765"/>
                  <a:gd name="connsiteY0" fmla="*/ 0 h 6505"/>
                  <a:gd name="connsiteX1" fmla="*/ 68765 w 68765"/>
                  <a:gd name="connsiteY1" fmla="*/ 0 h 65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8765" h="6505">
                    <a:moveTo>
                      <a:pt x="0" y="0"/>
                    </a:moveTo>
                    <a:lnTo>
                      <a:pt x="68765" y="0"/>
                    </a:lnTo>
                  </a:path>
                </a:pathLst>
              </a:custGeom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44" name="Forma livre: Forma 343">
                <a:extLst>
                  <a:ext uri="{FF2B5EF4-FFF2-40B4-BE49-F238E27FC236}">
                    <a16:creationId xmlns:a16="http://schemas.microsoft.com/office/drawing/2014/main" id="{4F2BAB11-89AF-E34F-5106-4B01DC0A87B4}"/>
                  </a:ext>
                </a:extLst>
              </p:cNvPr>
              <p:cNvSpPr/>
              <p:nvPr/>
            </p:nvSpPr>
            <p:spPr>
              <a:xfrm>
                <a:off x="6259285" y="1529723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342" name="Forma livre: Forma 341">
              <a:extLst>
                <a:ext uri="{FF2B5EF4-FFF2-40B4-BE49-F238E27FC236}">
                  <a16:creationId xmlns:a16="http://schemas.microsoft.com/office/drawing/2014/main" id="{5386071B-E13E-1972-7877-34B4509DAC1F}"/>
                </a:ext>
              </a:extLst>
            </p:cNvPr>
            <p:cNvSpPr/>
            <p:nvPr/>
          </p:nvSpPr>
          <p:spPr>
            <a:xfrm>
              <a:off x="6152201" y="1686285"/>
              <a:ext cx="37362" cy="20848"/>
            </a:xfrm>
            <a:custGeom>
              <a:avLst/>
              <a:gdLst>
                <a:gd name="connsiteX0" fmla="*/ 0 w 37362"/>
                <a:gd name="connsiteY0" fmla="*/ 10505 h 20848"/>
                <a:gd name="connsiteX1" fmla="*/ 27064 w 37362"/>
                <a:gd name="connsiteY1" fmla="*/ 2373 h 20848"/>
                <a:gd name="connsiteX2" fmla="*/ 37343 w 37362"/>
                <a:gd name="connsiteY2" fmla="*/ 20849 h 20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7362" h="20848">
                  <a:moveTo>
                    <a:pt x="0" y="10505"/>
                  </a:moveTo>
                  <a:cubicBezTo>
                    <a:pt x="5205" y="811"/>
                    <a:pt x="17435" y="-2832"/>
                    <a:pt x="27064" y="2373"/>
                  </a:cubicBezTo>
                  <a:cubicBezTo>
                    <a:pt x="34025" y="6081"/>
                    <a:pt x="37668" y="13432"/>
                    <a:pt x="37343" y="20849"/>
                  </a:cubicBezTo>
                </a:path>
              </a:pathLst>
            </a:custGeom>
            <a:noFill/>
            <a:ln w="19050" cap="sq">
              <a:solidFill>
                <a:schemeClr val="tx1"/>
              </a:solidFill>
              <a:prstDash val="solid"/>
              <a:miter lim="800000"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359" name="Agrupar 358">
            <a:extLst>
              <a:ext uri="{FF2B5EF4-FFF2-40B4-BE49-F238E27FC236}">
                <a16:creationId xmlns:a16="http://schemas.microsoft.com/office/drawing/2014/main" id="{D891F710-31CC-DA06-06E3-4B9BD2830229}"/>
              </a:ext>
            </a:extLst>
          </p:cNvPr>
          <p:cNvGrpSpPr/>
          <p:nvPr/>
        </p:nvGrpSpPr>
        <p:grpSpPr>
          <a:xfrm>
            <a:off x="3497291" y="4629357"/>
            <a:ext cx="325297" cy="355243"/>
            <a:chOff x="6000092" y="1357908"/>
            <a:chExt cx="365300" cy="398929"/>
          </a:xfrm>
        </p:grpSpPr>
        <p:sp>
          <p:nvSpPr>
            <p:cNvPr id="360" name="Forma livre: Forma 359">
              <a:extLst>
                <a:ext uri="{FF2B5EF4-FFF2-40B4-BE49-F238E27FC236}">
                  <a16:creationId xmlns:a16="http://schemas.microsoft.com/office/drawing/2014/main" id="{B319B9D7-3C1D-15E4-24D0-9AA88234F430}"/>
                </a:ext>
              </a:extLst>
            </p:cNvPr>
            <p:cNvSpPr/>
            <p:nvPr/>
          </p:nvSpPr>
          <p:spPr>
            <a:xfrm>
              <a:off x="6000092" y="1418606"/>
              <a:ext cx="84058" cy="286120"/>
            </a:xfrm>
            <a:custGeom>
              <a:avLst/>
              <a:gdLst>
                <a:gd name="connsiteX0" fmla="*/ 51595 w 84058"/>
                <a:gd name="connsiteY0" fmla="*/ 0 h 286120"/>
                <a:gd name="connsiteX1" fmla="*/ 35266 w 84058"/>
                <a:gd name="connsiteY1" fmla="*/ 61674 h 286120"/>
                <a:gd name="connsiteX2" fmla="*/ 28760 w 84058"/>
                <a:gd name="connsiteY2" fmla="*/ 193415 h 286120"/>
                <a:gd name="connsiteX3" fmla="*/ 84059 w 84058"/>
                <a:gd name="connsiteY3" fmla="*/ 286121 h 2861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4058" h="286120">
                  <a:moveTo>
                    <a:pt x="51595" y="0"/>
                  </a:moveTo>
                  <a:cubicBezTo>
                    <a:pt x="37868" y="7872"/>
                    <a:pt x="26028" y="24852"/>
                    <a:pt x="35266" y="61674"/>
                  </a:cubicBezTo>
                  <a:cubicBezTo>
                    <a:pt x="35266" y="61674"/>
                    <a:pt x="-39549" y="126731"/>
                    <a:pt x="28760" y="193415"/>
                  </a:cubicBezTo>
                  <a:cubicBezTo>
                    <a:pt x="28760" y="193415"/>
                    <a:pt x="9243" y="281242"/>
                    <a:pt x="84059" y="286121"/>
                  </a:cubicBezTo>
                </a:path>
              </a:pathLst>
            </a:custGeom>
            <a:noFill/>
            <a:ln w="19050" cap="sq">
              <a:solidFill>
                <a:schemeClr val="bg1"/>
              </a:solidFill>
              <a:prstDash val="solid"/>
              <a:miter lim="800000"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361" name="Gráfico 32">
              <a:extLst>
                <a:ext uri="{FF2B5EF4-FFF2-40B4-BE49-F238E27FC236}">
                  <a16:creationId xmlns:a16="http://schemas.microsoft.com/office/drawing/2014/main" id="{E6D6C420-6C38-2982-55E2-381CB162F233}"/>
                </a:ext>
              </a:extLst>
            </p:cNvPr>
            <p:cNvGrpSpPr/>
            <p:nvPr/>
          </p:nvGrpSpPr>
          <p:grpSpPr>
            <a:xfrm>
              <a:off x="6061121" y="1359924"/>
              <a:ext cx="128487" cy="396366"/>
              <a:chOff x="6061121" y="1359924"/>
              <a:chExt cx="128487" cy="396366"/>
            </a:xfrm>
            <a:noFill/>
          </p:grpSpPr>
          <p:sp>
            <p:nvSpPr>
              <p:cNvPr id="376" name="Forma livre: Forma 375">
                <a:extLst>
                  <a:ext uri="{FF2B5EF4-FFF2-40B4-BE49-F238E27FC236}">
                    <a16:creationId xmlns:a16="http://schemas.microsoft.com/office/drawing/2014/main" id="{F79A481C-1FF9-D5A0-07BC-95B76272B837}"/>
                  </a:ext>
                </a:extLst>
              </p:cNvPr>
              <p:cNvSpPr/>
              <p:nvPr/>
            </p:nvSpPr>
            <p:spPr>
              <a:xfrm>
                <a:off x="6083891" y="1359924"/>
                <a:ext cx="105717" cy="396366"/>
              </a:xfrm>
              <a:custGeom>
                <a:avLst/>
                <a:gdLst>
                  <a:gd name="connsiteX0" fmla="*/ 52891 w 105717"/>
                  <a:gd name="connsiteY0" fmla="*/ 105718 h 396366"/>
                  <a:gd name="connsiteX1" fmla="*/ 0 w 105717"/>
                  <a:gd name="connsiteY1" fmla="*/ 52891 h 396366"/>
                  <a:gd name="connsiteX2" fmla="*/ 52891 w 105717"/>
                  <a:gd name="connsiteY2" fmla="*/ 0 h 396366"/>
                  <a:gd name="connsiteX3" fmla="*/ 105718 w 105717"/>
                  <a:gd name="connsiteY3" fmla="*/ 52826 h 396366"/>
                  <a:gd name="connsiteX4" fmla="*/ 105718 w 105717"/>
                  <a:gd name="connsiteY4" fmla="*/ 346884 h 396366"/>
                  <a:gd name="connsiteX5" fmla="*/ 80606 w 105717"/>
                  <a:gd name="connsiteY5" fmla="*/ 388911 h 396366"/>
                  <a:gd name="connsiteX6" fmla="*/ 9238 w 105717"/>
                  <a:gd name="connsiteY6" fmla="*/ 371150 h 396366"/>
                  <a:gd name="connsiteX7" fmla="*/ 15484 w 105717"/>
                  <a:gd name="connsiteY7" fmla="*/ 309216 h 396366"/>
                  <a:gd name="connsiteX8" fmla="*/ 45019 w 105717"/>
                  <a:gd name="connsiteY8" fmla="*/ 277078 h 3963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05717" h="396366">
                    <a:moveTo>
                      <a:pt x="52891" y="105718"/>
                    </a:moveTo>
                    <a:cubicBezTo>
                      <a:pt x="23681" y="105718"/>
                      <a:pt x="0" y="82037"/>
                      <a:pt x="0" y="52891"/>
                    </a:cubicBezTo>
                    <a:cubicBezTo>
                      <a:pt x="0" y="23746"/>
                      <a:pt x="23681" y="0"/>
                      <a:pt x="52891" y="0"/>
                    </a:cubicBezTo>
                    <a:cubicBezTo>
                      <a:pt x="82102" y="0"/>
                      <a:pt x="105718" y="23681"/>
                      <a:pt x="105718" y="52826"/>
                    </a:cubicBezTo>
                    <a:lnTo>
                      <a:pt x="105718" y="346884"/>
                    </a:lnTo>
                    <a:cubicBezTo>
                      <a:pt x="105718" y="364580"/>
                      <a:pt x="96414" y="379413"/>
                      <a:pt x="80606" y="388911"/>
                    </a:cubicBezTo>
                    <a:cubicBezTo>
                      <a:pt x="55949" y="403744"/>
                      <a:pt x="24006" y="395742"/>
                      <a:pt x="9238" y="371150"/>
                    </a:cubicBezTo>
                    <a:cubicBezTo>
                      <a:pt x="-2928" y="350918"/>
                      <a:pt x="260" y="325741"/>
                      <a:pt x="15484" y="309216"/>
                    </a:cubicBezTo>
                    <a:lnTo>
                      <a:pt x="45019" y="277078"/>
                    </a:lnTo>
                  </a:path>
                </a:pathLst>
              </a:custGeom>
              <a:noFill/>
              <a:ln w="19050" cap="sq">
                <a:solidFill>
                  <a:schemeClr val="bg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77" name="Forma livre: Forma 376">
                <a:extLst>
                  <a:ext uri="{FF2B5EF4-FFF2-40B4-BE49-F238E27FC236}">
                    <a16:creationId xmlns:a16="http://schemas.microsoft.com/office/drawing/2014/main" id="{7E9858AF-2D92-1F29-FA86-5299D2355D33}"/>
                  </a:ext>
                </a:extLst>
              </p:cNvPr>
              <p:cNvSpPr/>
              <p:nvPr/>
            </p:nvSpPr>
            <p:spPr>
              <a:xfrm>
                <a:off x="6144784" y="1383865"/>
                <a:ext cx="41563" cy="38963"/>
              </a:xfrm>
              <a:custGeom>
                <a:avLst/>
                <a:gdLst>
                  <a:gd name="connsiteX0" fmla="*/ 36172 w 41563"/>
                  <a:gd name="connsiteY0" fmla="*/ 0 h 38963"/>
                  <a:gd name="connsiteX1" fmla="*/ 39425 w 41563"/>
                  <a:gd name="connsiteY1" fmla="*/ 24266 h 38963"/>
                  <a:gd name="connsiteX2" fmla="*/ 36432 w 41563"/>
                  <a:gd name="connsiteY2" fmla="*/ 29080 h 38963"/>
                  <a:gd name="connsiteX3" fmla="*/ 0 w 41563"/>
                  <a:gd name="connsiteY3" fmla="*/ 33439 h 389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563" h="38963">
                    <a:moveTo>
                      <a:pt x="36172" y="0"/>
                    </a:moveTo>
                    <a:cubicBezTo>
                      <a:pt x="41571" y="7547"/>
                      <a:pt x="43393" y="16004"/>
                      <a:pt x="39425" y="24266"/>
                    </a:cubicBezTo>
                    <a:cubicBezTo>
                      <a:pt x="38644" y="25893"/>
                      <a:pt x="37603" y="27519"/>
                      <a:pt x="36432" y="29080"/>
                    </a:cubicBezTo>
                    <a:cubicBezTo>
                      <a:pt x="27584" y="40270"/>
                      <a:pt x="11190" y="42287"/>
                      <a:pt x="0" y="33439"/>
                    </a:cubicBezTo>
                  </a:path>
                </a:pathLst>
              </a:custGeom>
              <a:noFill/>
              <a:ln w="19050" cap="sq">
                <a:solidFill>
                  <a:schemeClr val="bg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78" name="Forma livre: Forma 377">
                <a:extLst>
                  <a:ext uri="{FF2B5EF4-FFF2-40B4-BE49-F238E27FC236}">
                    <a16:creationId xmlns:a16="http://schemas.microsoft.com/office/drawing/2014/main" id="{52E0DDF8-A3B3-0480-DF51-B1BA2701D658}"/>
                  </a:ext>
                </a:extLst>
              </p:cNvPr>
              <p:cNvSpPr/>
              <p:nvPr/>
            </p:nvSpPr>
            <p:spPr>
              <a:xfrm>
                <a:off x="6081487" y="1460806"/>
                <a:ext cx="34217" cy="54474"/>
              </a:xfrm>
              <a:custGeom>
                <a:avLst/>
                <a:gdLst>
                  <a:gd name="connsiteX0" fmla="*/ 21076 w 34217"/>
                  <a:gd name="connsiteY0" fmla="*/ 54475 h 54474"/>
                  <a:gd name="connsiteX1" fmla="*/ 778 w 34217"/>
                  <a:gd name="connsiteY1" fmla="*/ 21035 h 54474"/>
                  <a:gd name="connsiteX2" fmla="*/ 34217 w 34217"/>
                  <a:gd name="connsiteY2" fmla="*/ 803 h 544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4217" h="54474">
                    <a:moveTo>
                      <a:pt x="21076" y="54475"/>
                    </a:moveTo>
                    <a:cubicBezTo>
                      <a:pt x="6308" y="50832"/>
                      <a:pt x="-2800" y="35803"/>
                      <a:pt x="778" y="21035"/>
                    </a:cubicBezTo>
                    <a:cubicBezTo>
                      <a:pt x="4421" y="6267"/>
                      <a:pt x="19449" y="-2841"/>
                      <a:pt x="34217" y="803"/>
                    </a:cubicBezTo>
                  </a:path>
                </a:pathLst>
              </a:custGeom>
              <a:noFill/>
              <a:ln w="19050" cap="sq">
                <a:solidFill>
                  <a:schemeClr val="bg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79" name="Forma livre: Forma 378">
                <a:extLst>
                  <a:ext uri="{FF2B5EF4-FFF2-40B4-BE49-F238E27FC236}">
                    <a16:creationId xmlns:a16="http://schemas.microsoft.com/office/drawing/2014/main" id="{4E746C3C-229C-85A4-3AD3-BA09240DAB9A}"/>
                  </a:ext>
                </a:extLst>
              </p:cNvPr>
              <p:cNvSpPr/>
              <p:nvPr/>
            </p:nvSpPr>
            <p:spPr>
              <a:xfrm>
                <a:off x="6073547" y="1527543"/>
                <a:ext cx="114760" cy="72506"/>
              </a:xfrm>
              <a:custGeom>
                <a:avLst/>
                <a:gdLst>
                  <a:gd name="connsiteX0" fmla="*/ 114760 w 114760"/>
                  <a:gd name="connsiteY0" fmla="*/ 7254 h 72506"/>
                  <a:gd name="connsiteX1" fmla="*/ 73905 w 114760"/>
                  <a:gd name="connsiteY1" fmla="*/ 8881 h 72506"/>
                  <a:gd name="connsiteX2" fmla="*/ 0 w 114760"/>
                  <a:gd name="connsiteY2" fmla="*/ 72506 h 725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14760" h="72506">
                    <a:moveTo>
                      <a:pt x="114760" y="7254"/>
                    </a:moveTo>
                    <a:cubicBezTo>
                      <a:pt x="103375" y="-2830"/>
                      <a:pt x="83989" y="-2504"/>
                      <a:pt x="73905" y="8881"/>
                    </a:cubicBezTo>
                    <a:cubicBezTo>
                      <a:pt x="73905" y="8881"/>
                      <a:pt x="31488" y="72506"/>
                      <a:pt x="0" y="72506"/>
                    </a:cubicBezTo>
                  </a:path>
                </a:pathLst>
              </a:custGeom>
              <a:noFill/>
              <a:ln w="19050" cap="sq">
                <a:solidFill>
                  <a:schemeClr val="bg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80" name="Forma livre: Forma 379">
                <a:extLst>
                  <a:ext uri="{FF2B5EF4-FFF2-40B4-BE49-F238E27FC236}">
                    <a16:creationId xmlns:a16="http://schemas.microsoft.com/office/drawing/2014/main" id="{AFEA82F3-4565-16A5-9C32-795B003B16E8}"/>
                  </a:ext>
                </a:extLst>
              </p:cNvPr>
              <p:cNvSpPr/>
              <p:nvPr/>
            </p:nvSpPr>
            <p:spPr>
              <a:xfrm>
                <a:off x="6079857" y="1646956"/>
                <a:ext cx="29405" cy="9823"/>
              </a:xfrm>
              <a:custGeom>
                <a:avLst/>
                <a:gdLst>
                  <a:gd name="connsiteX0" fmla="*/ 0 w 29405"/>
                  <a:gd name="connsiteY0" fmla="*/ 0 h 9823"/>
                  <a:gd name="connsiteX1" fmla="*/ 29406 w 29405"/>
                  <a:gd name="connsiteY1" fmla="*/ 9824 h 98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9405" h="9823">
                    <a:moveTo>
                      <a:pt x="0" y="0"/>
                    </a:moveTo>
                    <a:lnTo>
                      <a:pt x="29406" y="9824"/>
                    </a:lnTo>
                  </a:path>
                </a:pathLst>
              </a:custGeom>
              <a:ln w="19050" cap="sq">
                <a:solidFill>
                  <a:schemeClr val="bg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81" name="Forma livre: Forma 380">
                <a:extLst>
                  <a:ext uri="{FF2B5EF4-FFF2-40B4-BE49-F238E27FC236}">
                    <a16:creationId xmlns:a16="http://schemas.microsoft.com/office/drawing/2014/main" id="{92A590D6-03D3-EAB1-DAD8-56CB338AEB56}"/>
                  </a:ext>
                </a:extLst>
              </p:cNvPr>
              <p:cNvSpPr/>
              <p:nvPr/>
            </p:nvSpPr>
            <p:spPr>
              <a:xfrm>
                <a:off x="6061121" y="1545272"/>
                <a:ext cx="47166" cy="34154"/>
              </a:xfrm>
              <a:custGeom>
                <a:avLst/>
                <a:gdLst>
                  <a:gd name="connsiteX0" fmla="*/ 0 w 47166"/>
                  <a:gd name="connsiteY0" fmla="*/ 0 h 34154"/>
                  <a:gd name="connsiteX1" fmla="*/ 47166 w 47166"/>
                  <a:gd name="connsiteY1" fmla="*/ 34155 h 341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166" h="34154">
                    <a:moveTo>
                      <a:pt x="0" y="0"/>
                    </a:moveTo>
                    <a:cubicBezTo>
                      <a:pt x="0" y="0"/>
                      <a:pt x="27649" y="13011"/>
                      <a:pt x="47166" y="34155"/>
                    </a:cubicBezTo>
                  </a:path>
                </a:pathLst>
              </a:custGeom>
              <a:noFill/>
              <a:ln w="19050" cap="sq">
                <a:solidFill>
                  <a:schemeClr val="bg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362" name="Gráfico 32">
              <a:extLst>
                <a:ext uri="{FF2B5EF4-FFF2-40B4-BE49-F238E27FC236}">
                  <a16:creationId xmlns:a16="http://schemas.microsoft.com/office/drawing/2014/main" id="{DEDCD7DD-EA06-5FC6-A44C-532B10435FAE}"/>
                </a:ext>
              </a:extLst>
            </p:cNvPr>
            <p:cNvGrpSpPr/>
            <p:nvPr/>
          </p:nvGrpSpPr>
          <p:grpSpPr>
            <a:xfrm>
              <a:off x="6191625" y="1599725"/>
              <a:ext cx="173767" cy="157112"/>
              <a:chOff x="6191625" y="1599725"/>
              <a:chExt cx="173767" cy="157112"/>
            </a:xfrm>
            <a:noFill/>
          </p:grpSpPr>
          <p:sp>
            <p:nvSpPr>
              <p:cNvPr id="372" name="Forma livre: Forma 371">
                <a:extLst>
                  <a:ext uri="{FF2B5EF4-FFF2-40B4-BE49-F238E27FC236}">
                    <a16:creationId xmlns:a16="http://schemas.microsoft.com/office/drawing/2014/main" id="{F51FE8EB-F5B1-2DBD-219D-D06765DEC119}"/>
                  </a:ext>
                </a:extLst>
              </p:cNvPr>
              <p:cNvSpPr/>
              <p:nvPr/>
            </p:nvSpPr>
            <p:spPr>
              <a:xfrm>
                <a:off x="6310094" y="1621974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bg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73" name="Forma livre: Forma 372">
                <a:extLst>
                  <a:ext uri="{FF2B5EF4-FFF2-40B4-BE49-F238E27FC236}">
                    <a16:creationId xmlns:a16="http://schemas.microsoft.com/office/drawing/2014/main" id="{DE69B114-13B3-CDC3-5C96-A3A720CFD37C}"/>
                  </a:ext>
                </a:extLst>
              </p:cNvPr>
              <p:cNvSpPr/>
              <p:nvPr/>
            </p:nvSpPr>
            <p:spPr>
              <a:xfrm>
                <a:off x="6191625" y="1599725"/>
                <a:ext cx="118078" cy="49898"/>
              </a:xfrm>
              <a:custGeom>
                <a:avLst/>
                <a:gdLst>
                  <a:gd name="connsiteX0" fmla="*/ 0 w 118078"/>
                  <a:gd name="connsiteY0" fmla="*/ 0 h 49898"/>
                  <a:gd name="connsiteX1" fmla="*/ 37343 w 118078"/>
                  <a:gd name="connsiteY1" fmla="*/ 0 h 49898"/>
                  <a:gd name="connsiteX2" fmla="*/ 87176 w 118078"/>
                  <a:gd name="connsiteY2" fmla="*/ 49899 h 49898"/>
                  <a:gd name="connsiteX3" fmla="*/ 118078 w 118078"/>
                  <a:gd name="connsiteY3" fmla="*/ 49899 h 49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8078" h="49898">
                    <a:moveTo>
                      <a:pt x="0" y="0"/>
                    </a:moveTo>
                    <a:lnTo>
                      <a:pt x="37343" y="0"/>
                    </a:lnTo>
                    <a:lnTo>
                      <a:pt x="87176" y="49899"/>
                    </a:lnTo>
                    <a:lnTo>
                      <a:pt x="118078" y="49899"/>
                    </a:lnTo>
                  </a:path>
                </a:pathLst>
              </a:custGeom>
              <a:noFill/>
              <a:ln w="19050" cap="sq">
                <a:solidFill>
                  <a:schemeClr val="bg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74" name="Forma livre: Forma 373">
                <a:extLst>
                  <a:ext uri="{FF2B5EF4-FFF2-40B4-BE49-F238E27FC236}">
                    <a16:creationId xmlns:a16="http://schemas.microsoft.com/office/drawing/2014/main" id="{38D813DB-75EF-25E4-092F-595F1A19C382}"/>
                  </a:ext>
                </a:extLst>
              </p:cNvPr>
              <p:cNvSpPr/>
              <p:nvPr/>
            </p:nvSpPr>
            <p:spPr>
              <a:xfrm>
                <a:off x="6191625" y="1665367"/>
                <a:ext cx="81906" cy="44108"/>
              </a:xfrm>
              <a:custGeom>
                <a:avLst/>
                <a:gdLst>
                  <a:gd name="connsiteX0" fmla="*/ 0 w 81906"/>
                  <a:gd name="connsiteY0" fmla="*/ 0 h 44108"/>
                  <a:gd name="connsiteX1" fmla="*/ 37343 w 81906"/>
                  <a:gd name="connsiteY1" fmla="*/ 0 h 44108"/>
                  <a:gd name="connsiteX2" fmla="*/ 81907 w 81906"/>
                  <a:gd name="connsiteY2" fmla="*/ 44109 h 441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1906" h="44108">
                    <a:moveTo>
                      <a:pt x="0" y="0"/>
                    </a:moveTo>
                    <a:lnTo>
                      <a:pt x="37343" y="0"/>
                    </a:lnTo>
                    <a:lnTo>
                      <a:pt x="81907" y="44109"/>
                    </a:lnTo>
                  </a:path>
                </a:pathLst>
              </a:custGeom>
              <a:noFill/>
              <a:ln w="19050" cap="sq">
                <a:solidFill>
                  <a:schemeClr val="bg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75" name="Forma livre: Forma 374">
                <a:extLst>
                  <a:ext uri="{FF2B5EF4-FFF2-40B4-BE49-F238E27FC236}">
                    <a16:creationId xmlns:a16="http://schemas.microsoft.com/office/drawing/2014/main" id="{D7DDBC8A-5BF7-A94C-9717-0FA0D8B68C3E}"/>
                  </a:ext>
                </a:extLst>
              </p:cNvPr>
              <p:cNvSpPr/>
              <p:nvPr/>
            </p:nvSpPr>
            <p:spPr>
              <a:xfrm>
                <a:off x="6265075" y="1701539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bg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363" name="Gráfico 32">
              <a:extLst>
                <a:ext uri="{FF2B5EF4-FFF2-40B4-BE49-F238E27FC236}">
                  <a16:creationId xmlns:a16="http://schemas.microsoft.com/office/drawing/2014/main" id="{73FA780B-397E-5A4D-8AF5-E7E3A691E4A3}"/>
                </a:ext>
              </a:extLst>
            </p:cNvPr>
            <p:cNvGrpSpPr/>
            <p:nvPr/>
          </p:nvGrpSpPr>
          <p:grpSpPr>
            <a:xfrm>
              <a:off x="6191625" y="1357908"/>
              <a:ext cx="173767" cy="157112"/>
              <a:chOff x="6191625" y="1357908"/>
              <a:chExt cx="173767" cy="157112"/>
            </a:xfrm>
            <a:noFill/>
          </p:grpSpPr>
          <p:sp>
            <p:nvSpPr>
              <p:cNvPr id="368" name="Forma livre: Forma 367">
                <a:extLst>
                  <a:ext uri="{FF2B5EF4-FFF2-40B4-BE49-F238E27FC236}">
                    <a16:creationId xmlns:a16="http://schemas.microsoft.com/office/drawing/2014/main" id="{477F4C0A-FFEA-9EAA-0B28-AE221E8EC7E5}"/>
                  </a:ext>
                </a:extLst>
              </p:cNvPr>
              <p:cNvSpPr/>
              <p:nvPr/>
            </p:nvSpPr>
            <p:spPr>
              <a:xfrm>
                <a:off x="6310094" y="1437472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0 h 55298"/>
                  <a:gd name="connsiteX2" fmla="*/ 0 w 55298"/>
                  <a:gd name="connsiteY2" fmla="*/ 27649 h 55298"/>
                  <a:gd name="connsiteX3" fmla="*/ 27649 w 55298"/>
                  <a:gd name="connsiteY3" fmla="*/ 55298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12361"/>
                      <a:pt x="42938" y="0"/>
                      <a:pt x="27649" y="0"/>
                    </a:cubicBezTo>
                    <a:cubicBezTo>
                      <a:pt x="12361" y="0"/>
                      <a:pt x="0" y="12361"/>
                      <a:pt x="0" y="27649"/>
                    </a:cubicBezTo>
                    <a:cubicBezTo>
                      <a:pt x="0" y="42938"/>
                      <a:pt x="12361" y="55298"/>
                      <a:pt x="27649" y="55298"/>
                    </a:cubicBezTo>
                    <a:cubicBezTo>
                      <a:pt x="42938" y="55298"/>
                      <a:pt x="55298" y="42938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bg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69" name="Forma livre: Forma 368">
                <a:extLst>
                  <a:ext uri="{FF2B5EF4-FFF2-40B4-BE49-F238E27FC236}">
                    <a16:creationId xmlns:a16="http://schemas.microsoft.com/office/drawing/2014/main" id="{E5C54098-4430-9371-3347-25C9D2FC3237}"/>
                  </a:ext>
                </a:extLst>
              </p:cNvPr>
              <p:cNvSpPr/>
              <p:nvPr/>
            </p:nvSpPr>
            <p:spPr>
              <a:xfrm>
                <a:off x="6191625" y="1465122"/>
                <a:ext cx="118468" cy="49898"/>
              </a:xfrm>
              <a:custGeom>
                <a:avLst/>
                <a:gdLst>
                  <a:gd name="connsiteX0" fmla="*/ 0 w 118468"/>
                  <a:gd name="connsiteY0" fmla="*/ 49899 h 49898"/>
                  <a:gd name="connsiteX1" fmla="*/ 37343 w 118468"/>
                  <a:gd name="connsiteY1" fmla="*/ 49899 h 49898"/>
                  <a:gd name="connsiteX2" fmla="*/ 87176 w 118468"/>
                  <a:gd name="connsiteY2" fmla="*/ 0 h 49898"/>
                  <a:gd name="connsiteX3" fmla="*/ 118469 w 118468"/>
                  <a:gd name="connsiteY3" fmla="*/ 0 h 49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8468" h="49898">
                    <a:moveTo>
                      <a:pt x="0" y="49899"/>
                    </a:moveTo>
                    <a:lnTo>
                      <a:pt x="37343" y="49899"/>
                    </a:lnTo>
                    <a:lnTo>
                      <a:pt x="87176" y="0"/>
                    </a:lnTo>
                    <a:lnTo>
                      <a:pt x="118469" y="0"/>
                    </a:lnTo>
                  </a:path>
                </a:pathLst>
              </a:custGeom>
              <a:noFill/>
              <a:ln w="19050" cap="sq">
                <a:solidFill>
                  <a:schemeClr val="bg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70" name="Forma livre: Forma 369">
                <a:extLst>
                  <a:ext uri="{FF2B5EF4-FFF2-40B4-BE49-F238E27FC236}">
                    <a16:creationId xmlns:a16="http://schemas.microsoft.com/office/drawing/2014/main" id="{7BEC48CC-A20A-24A4-6023-2A7415482DCC}"/>
                  </a:ext>
                </a:extLst>
              </p:cNvPr>
              <p:cNvSpPr/>
              <p:nvPr/>
            </p:nvSpPr>
            <p:spPr>
              <a:xfrm>
                <a:off x="6191625" y="1405269"/>
                <a:ext cx="81451" cy="44043"/>
              </a:xfrm>
              <a:custGeom>
                <a:avLst/>
                <a:gdLst>
                  <a:gd name="connsiteX0" fmla="*/ 0 w 81451"/>
                  <a:gd name="connsiteY0" fmla="*/ 44044 h 44043"/>
                  <a:gd name="connsiteX1" fmla="*/ 37343 w 81451"/>
                  <a:gd name="connsiteY1" fmla="*/ 44044 h 44043"/>
                  <a:gd name="connsiteX2" fmla="*/ 81451 w 81451"/>
                  <a:gd name="connsiteY2" fmla="*/ 0 h 440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1451" h="44043">
                    <a:moveTo>
                      <a:pt x="0" y="44044"/>
                    </a:moveTo>
                    <a:lnTo>
                      <a:pt x="37343" y="44044"/>
                    </a:lnTo>
                    <a:lnTo>
                      <a:pt x="81451" y="0"/>
                    </a:lnTo>
                  </a:path>
                </a:pathLst>
              </a:custGeom>
              <a:noFill/>
              <a:ln w="19050" cap="sq">
                <a:solidFill>
                  <a:schemeClr val="bg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71" name="Forma livre: Forma 370">
                <a:extLst>
                  <a:ext uri="{FF2B5EF4-FFF2-40B4-BE49-F238E27FC236}">
                    <a16:creationId xmlns:a16="http://schemas.microsoft.com/office/drawing/2014/main" id="{1B5DD97C-885E-488B-B4DD-C68EC6A39077}"/>
                  </a:ext>
                </a:extLst>
              </p:cNvPr>
              <p:cNvSpPr/>
              <p:nvPr/>
            </p:nvSpPr>
            <p:spPr>
              <a:xfrm>
                <a:off x="6265075" y="1357908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0 h 55298"/>
                  <a:gd name="connsiteX2" fmla="*/ 0 w 55298"/>
                  <a:gd name="connsiteY2" fmla="*/ 27649 h 55298"/>
                  <a:gd name="connsiteX3" fmla="*/ 27649 w 55298"/>
                  <a:gd name="connsiteY3" fmla="*/ 55298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12361"/>
                      <a:pt x="42938" y="0"/>
                      <a:pt x="27649" y="0"/>
                    </a:cubicBezTo>
                    <a:cubicBezTo>
                      <a:pt x="12361" y="0"/>
                      <a:pt x="0" y="12361"/>
                      <a:pt x="0" y="27649"/>
                    </a:cubicBezTo>
                    <a:cubicBezTo>
                      <a:pt x="0" y="42938"/>
                      <a:pt x="12361" y="55298"/>
                      <a:pt x="27649" y="55298"/>
                    </a:cubicBezTo>
                    <a:cubicBezTo>
                      <a:pt x="42938" y="55298"/>
                      <a:pt x="55298" y="42938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bg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364" name="Gráfico 32">
              <a:extLst>
                <a:ext uri="{FF2B5EF4-FFF2-40B4-BE49-F238E27FC236}">
                  <a16:creationId xmlns:a16="http://schemas.microsoft.com/office/drawing/2014/main" id="{CE53A632-7BC5-CDC1-B843-5B106DC04862}"/>
                </a:ext>
              </a:extLst>
            </p:cNvPr>
            <p:cNvGrpSpPr/>
            <p:nvPr/>
          </p:nvGrpSpPr>
          <p:grpSpPr>
            <a:xfrm>
              <a:off x="6190910" y="1529723"/>
              <a:ext cx="123673" cy="55298"/>
              <a:chOff x="6190910" y="1529723"/>
              <a:chExt cx="123673" cy="55298"/>
            </a:xfrm>
            <a:noFill/>
          </p:grpSpPr>
          <p:sp>
            <p:nvSpPr>
              <p:cNvPr id="366" name="Forma livre: Forma 365">
                <a:extLst>
                  <a:ext uri="{FF2B5EF4-FFF2-40B4-BE49-F238E27FC236}">
                    <a16:creationId xmlns:a16="http://schemas.microsoft.com/office/drawing/2014/main" id="{896064F0-EF63-ED76-D443-0269060D36FB}"/>
                  </a:ext>
                </a:extLst>
              </p:cNvPr>
              <p:cNvSpPr/>
              <p:nvPr/>
            </p:nvSpPr>
            <p:spPr>
              <a:xfrm>
                <a:off x="6190910" y="1557372"/>
                <a:ext cx="68765" cy="6505"/>
              </a:xfrm>
              <a:custGeom>
                <a:avLst/>
                <a:gdLst>
                  <a:gd name="connsiteX0" fmla="*/ 0 w 68765"/>
                  <a:gd name="connsiteY0" fmla="*/ 0 h 6505"/>
                  <a:gd name="connsiteX1" fmla="*/ 68765 w 68765"/>
                  <a:gd name="connsiteY1" fmla="*/ 0 h 65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8765" h="6505">
                    <a:moveTo>
                      <a:pt x="0" y="0"/>
                    </a:moveTo>
                    <a:lnTo>
                      <a:pt x="68765" y="0"/>
                    </a:lnTo>
                  </a:path>
                </a:pathLst>
              </a:custGeom>
              <a:ln w="19050" cap="sq">
                <a:solidFill>
                  <a:schemeClr val="bg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67" name="Forma livre: Forma 366">
                <a:extLst>
                  <a:ext uri="{FF2B5EF4-FFF2-40B4-BE49-F238E27FC236}">
                    <a16:creationId xmlns:a16="http://schemas.microsoft.com/office/drawing/2014/main" id="{E6F0B969-5D68-667E-941E-633D62059A9B}"/>
                  </a:ext>
                </a:extLst>
              </p:cNvPr>
              <p:cNvSpPr/>
              <p:nvPr/>
            </p:nvSpPr>
            <p:spPr>
              <a:xfrm>
                <a:off x="6259285" y="1529723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bg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365" name="Forma livre: Forma 364">
              <a:extLst>
                <a:ext uri="{FF2B5EF4-FFF2-40B4-BE49-F238E27FC236}">
                  <a16:creationId xmlns:a16="http://schemas.microsoft.com/office/drawing/2014/main" id="{B0E91EEB-DD6D-2BB6-05BF-F526D41BEEC6}"/>
                </a:ext>
              </a:extLst>
            </p:cNvPr>
            <p:cNvSpPr/>
            <p:nvPr/>
          </p:nvSpPr>
          <p:spPr>
            <a:xfrm>
              <a:off x="6152201" y="1686285"/>
              <a:ext cx="37362" cy="20848"/>
            </a:xfrm>
            <a:custGeom>
              <a:avLst/>
              <a:gdLst>
                <a:gd name="connsiteX0" fmla="*/ 0 w 37362"/>
                <a:gd name="connsiteY0" fmla="*/ 10505 h 20848"/>
                <a:gd name="connsiteX1" fmla="*/ 27064 w 37362"/>
                <a:gd name="connsiteY1" fmla="*/ 2373 h 20848"/>
                <a:gd name="connsiteX2" fmla="*/ 37343 w 37362"/>
                <a:gd name="connsiteY2" fmla="*/ 20849 h 20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7362" h="20848">
                  <a:moveTo>
                    <a:pt x="0" y="10505"/>
                  </a:moveTo>
                  <a:cubicBezTo>
                    <a:pt x="5205" y="811"/>
                    <a:pt x="17435" y="-2832"/>
                    <a:pt x="27064" y="2373"/>
                  </a:cubicBezTo>
                  <a:cubicBezTo>
                    <a:pt x="34025" y="6081"/>
                    <a:pt x="37668" y="13432"/>
                    <a:pt x="37343" y="20849"/>
                  </a:cubicBezTo>
                </a:path>
              </a:pathLst>
            </a:custGeom>
            <a:noFill/>
            <a:ln w="19050" cap="sq">
              <a:solidFill>
                <a:schemeClr val="bg1"/>
              </a:solidFill>
              <a:prstDash val="solid"/>
              <a:miter lim="800000"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382" name="Agrupar 381">
            <a:extLst>
              <a:ext uri="{FF2B5EF4-FFF2-40B4-BE49-F238E27FC236}">
                <a16:creationId xmlns:a16="http://schemas.microsoft.com/office/drawing/2014/main" id="{59C5322C-F20E-933B-20DA-29C76995FC98}"/>
              </a:ext>
            </a:extLst>
          </p:cNvPr>
          <p:cNvGrpSpPr/>
          <p:nvPr/>
        </p:nvGrpSpPr>
        <p:grpSpPr>
          <a:xfrm>
            <a:off x="7191845" y="4629357"/>
            <a:ext cx="325297" cy="355243"/>
            <a:chOff x="6000092" y="1357908"/>
            <a:chExt cx="365300" cy="398929"/>
          </a:xfrm>
        </p:grpSpPr>
        <p:sp>
          <p:nvSpPr>
            <p:cNvPr id="383" name="Forma livre: Forma 382">
              <a:extLst>
                <a:ext uri="{FF2B5EF4-FFF2-40B4-BE49-F238E27FC236}">
                  <a16:creationId xmlns:a16="http://schemas.microsoft.com/office/drawing/2014/main" id="{97863B0B-E339-ABF6-FF44-A6DE7BFB43E9}"/>
                </a:ext>
              </a:extLst>
            </p:cNvPr>
            <p:cNvSpPr/>
            <p:nvPr/>
          </p:nvSpPr>
          <p:spPr>
            <a:xfrm>
              <a:off x="6000092" y="1418606"/>
              <a:ext cx="84058" cy="286120"/>
            </a:xfrm>
            <a:custGeom>
              <a:avLst/>
              <a:gdLst>
                <a:gd name="connsiteX0" fmla="*/ 51595 w 84058"/>
                <a:gd name="connsiteY0" fmla="*/ 0 h 286120"/>
                <a:gd name="connsiteX1" fmla="*/ 35266 w 84058"/>
                <a:gd name="connsiteY1" fmla="*/ 61674 h 286120"/>
                <a:gd name="connsiteX2" fmla="*/ 28760 w 84058"/>
                <a:gd name="connsiteY2" fmla="*/ 193415 h 286120"/>
                <a:gd name="connsiteX3" fmla="*/ 84059 w 84058"/>
                <a:gd name="connsiteY3" fmla="*/ 286121 h 2861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4058" h="286120">
                  <a:moveTo>
                    <a:pt x="51595" y="0"/>
                  </a:moveTo>
                  <a:cubicBezTo>
                    <a:pt x="37868" y="7872"/>
                    <a:pt x="26028" y="24852"/>
                    <a:pt x="35266" y="61674"/>
                  </a:cubicBezTo>
                  <a:cubicBezTo>
                    <a:pt x="35266" y="61674"/>
                    <a:pt x="-39549" y="126731"/>
                    <a:pt x="28760" y="193415"/>
                  </a:cubicBezTo>
                  <a:cubicBezTo>
                    <a:pt x="28760" y="193415"/>
                    <a:pt x="9243" y="281242"/>
                    <a:pt x="84059" y="286121"/>
                  </a:cubicBezTo>
                </a:path>
              </a:pathLst>
            </a:custGeom>
            <a:noFill/>
            <a:ln w="19050" cap="sq">
              <a:solidFill>
                <a:schemeClr val="bg1"/>
              </a:solidFill>
              <a:prstDash val="solid"/>
              <a:miter lim="800000"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384" name="Gráfico 32">
              <a:extLst>
                <a:ext uri="{FF2B5EF4-FFF2-40B4-BE49-F238E27FC236}">
                  <a16:creationId xmlns:a16="http://schemas.microsoft.com/office/drawing/2014/main" id="{B4D42948-1BD4-2CBD-767F-75F7F446CA86}"/>
                </a:ext>
              </a:extLst>
            </p:cNvPr>
            <p:cNvGrpSpPr/>
            <p:nvPr/>
          </p:nvGrpSpPr>
          <p:grpSpPr>
            <a:xfrm>
              <a:off x="6061121" y="1359924"/>
              <a:ext cx="128487" cy="396366"/>
              <a:chOff x="6061121" y="1359924"/>
              <a:chExt cx="128487" cy="396366"/>
            </a:xfrm>
            <a:noFill/>
          </p:grpSpPr>
          <p:sp>
            <p:nvSpPr>
              <p:cNvPr id="399" name="Forma livre: Forma 398">
                <a:extLst>
                  <a:ext uri="{FF2B5EF4-FFF2-40B4-BE49-F238E27FC236}">
                    <a16:creationId xmlns:a16="http://schemas.microsoft.com/office/drawing/2014/main" id="{43E58761-5A86-9FD4-93FF-DBB6264C181D}"/>
                  </a:ext>
                </a:extLst>
              </p:cNvPr>
              <p:cNvSpPr/>
              <p:nvPr/>
            </p:nvSpPr>
            <p:spPr>
              <a:xfrm>
                <a:off x="6083891" y="1359924"/>
                <a:ext cx="105717" cy="396366"/>
              </a:xfrm>
              <a:custGeom>
                <a:avLst/>
                <a:gdLst>
                  <a:gd name="connsiteX0" fmla="*/ 52891 w 105717"/>
                  <a:gd name="connsiteY0" fmla="*/ 105718 h 396366"/>
                  <a:gd name="connsiteX1" fmla="*/ 0 w 105717"/>
                  <a:gd name="connsiteY1" fmla="*/ 52891 h 396366"/>
                  <a:gd name="connsiteX2" fmla="*/ 52891 w 105717"/>
                  <a:gd name="connsiteY2" fmla="*/ 0 h 396366"/>
                  <a:gd name="connsiteX3" fmla="*/ 105718 w 105717"/>
                  <a:gd name="connsiteY3" fmla="*/ 52826 h 396366"/>
                  <a:gd name="connsiteX4" fmla="*/ 105718 w 105717"/>
                  <a:gd name="connsiteY4" fmla="*/ 346884 h 396366"/>
                  <a:gd name="connsiteX5" fmla="*/ 80606 w 105717"/>
                  <a:gd name="connsiteY5" fmla="*/ 388911 h 396366"/>
                  <a:gd name="connsiteX6" fmla="*/ 9238 w 105717"/>
                  <a:gd name="connsiteY6" fmla="*/ 371150 h 396366"/>
                  <a:gd name="connsiteX7" fmla="*/ 15484 w 105717"/>
                  <a:gd name="connsiteY7" fmla="*/ 309216 h 396366"/>
                  <a:gd name="connsiteX8" fmla="*/ 45019 w 105717"/>
                  <a:gd name="connsiteY8" fmla="*/ 277078 h 3963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05717" h="396366">
                    <a:moveTo>
                      <a:pt x="52891" y="105718"/>
                    </a:moveTo>
                    <a:cubicBezTo>
                      <a:pt x="23681" y="105718"/>
                      <a:pt x="0" y="82037"/>
                      <a:pt x="0" y="52891"/>
                    </a:cubicBezTo>
                    <a:cubicBezTo>
                      <a:pt x="0" y="23746"/>
                      <a:pt x="23681" y="0"/>
                      <a:pt x="52891" y="0"/>
                    </a:cubicBezTo>
                    <a:cubicBezTo>
                      <a:pt x="82102" y="0"/>
                      <a:pt x="105718" y="23681"/>
                      <a:pt x="105718" y="52826"/>
                    </a:cubicBezTo>
                    <a:lnTo>
                      <a:pt x="105718" y="346884"/>
                    </a:lnTo>
                    <a:cubicBezTo>
                      <a:pt x="105718" y="364580"/>
                      <a:pt x="96414" y="379413"/>
                      <a:pt x="80606" y="388911"/>
                    </a:cubicBezTo>
                    <a:cubicBezTo>
                      <a:pt x="55949" y="403744"/>
                      <a:pt x="24006" y="395742"/>
                      <a:pt x="9238" y="371150"/>
                    </a:cubicBezTo>
                    <a:cubicBezTo>
                      <a:pt x="-2928" y="350918"/>
                      <a:pt x="260" y="325741"/>
                      <a:pt x="15484" y="309216"/>
                    </a:cubicBezTo>
                    <a:lnTo>
                      <a:pt x="45019" y="277078"/>
                    </a:lnTo>
                  </a:path>
                </a:pathLst>
              </a:custGeom>
              <a:noFill/>
              <a:ln w="19050" cap="sq">
                <a:solidFill>
                  <a:schemeClr val="bg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00" name="Forma livre: Forma 399">
                <a:extLst>
                  <a:ext uri="{FF2B5EF4-FFF2-40B4-BE49-F238E27FC236}">
                    <a16:creationId xmlns:a16="http://schemas.microsoft.com/office/drawing/2014/main" id="{975155D5-AB6B-07AF-1324-5349B8DBC218}"/>
                  </a:ext>
                </a:extLst>
              </p:cNvPr>
              <p:cNvSpPr/>
              <p:nvPr/>
            </p:nvSpPr>
            <p:spPr>
              <a:xfrm>
                <a:off x="6144784" y="1383865"/>
                <a:ext cx="41563" cy="38963"/>
              </a:xfrm>
              <a:custGeom>
                <a:avLst/>
                <a:gdLst>
                  <a:gd name="connsiteX0" fmla="*/ 36172 w 41563"/>
                  <a:gd name="connsiteY0" fmla="*/ 0 h 38963"/>
                  <a:gd name="connsiteX1" fmla="*/ 39425 w 41563"/>
                  <a:gd name="connsiteY1" fmla="*/ 24266 h 38963"/>
                  <a:gd name="connsiteX2" fmla="*/ 36432 w 41563"/>
                  <a:gd name="connsiteY2" fmla="*/ 29080 h 38963"/>
                  <a:gd name="connsiteX3" fmla="*/ 0 w 41563"/>
                  <a:gd name="connsiteY3" fmla="*/ 33439 h 389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563" h="38963">
                    <a:moveTo>
                      <a:pt x="36172" y="0"/>
                    </a:moveTo>
                    <a:cubicBezTo>
                      <a:pt x="41571" y="7547"/>
                      <a:pt x="43393" y="16004"/>
                      <a:pt x="39425" y="24266"/>
                    </a:cubicBezTo>
                    <a:cubicBezTo>
                      <a:pt x="38644" y="25893"/>
                      <a:pt x="37603" y="27519"/>
                      <a:pt x="36432" y="29080"/>
                    </a:cubicBezTo>
                    <a:cubicBezTo>
                      <a:pt x="27584" y="40270"/>
                      <a:pt x="11190" y="42287"/>
                      <a:pt x="0" y="33439"/>
                    </a:cubicBezTo>
                  </a:path>
                </a:pathLst>
              </a:custGeom>
              <a:noFill/>
              <a:ln w="19050" cap="sq">
                <a:solidFill>
                  <a:schemeClr val="bg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01" name="Forma livre: Forma 400">
                <a:extLst>
                  <a:ext uri="{FF2B5EF4-FFF2-40B4-BE49-F238E27FC236}">
                    <a16:creationId xmlns:a16="http://schemas.microsoft.com/office/drawing/2014/main" id="{36C33921-C64F-360D-4DBD-B31D755784D7}"/>
                  </a:ext>
                </a:extLst>
              </p:cNvPr>
              <p:cNvSpPr/>
              <p:nvPr/>
            </p:nvSpPr>
            <p:spPr>
              <a:xfrm>
                <a:off x="6081487" y="1460806"/>
                <a:ext cx="34217" cy="54474"/>
              </a:xfrm>
              <a:custGeom>
                <a:avLst/>
                <a:gdLst>
                  <a:gd name="connsiteX0" fmla="*/ 21076 w 34217"/>
                  <a:gd name="connsiteY0" fmla="*/ 54475 h 54474"/>
                  <a:gd name="connsiteX1" fmla="*/ 778 w 34217"/>
                  <a:gd name="connsiteY1" fmla="*/ 21035 h 54474"/>
                  <a:gd name="connsiteX2" fmla="*/ 34217 w 34217"/>
                  <a:gd name="connsiteY2" fmla="*/ 803 h 544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4217" h="54474">
                    <a:moveTo>
                      <a:pt x="21076" y="54475"/>
                    </a:moveTo>
                    <a:cubicBezTo>
                      <a:pt x="6308" y="50832"/>
                      <a:pt x="-2800" y="35803"/>
                      <a:pt x="778" y="21035"/>
                    </a:cubicBezTo>
                    <a:cubicBezTo>
                      <a:pt x="4421" y="6267"/>
                      <a:pt x="19449" y="-2841"/>
                      <a:pt x="34217" y="803"/>
                    </a:cubicBezTo>
                  </a:path>
                </a:pathLst>
              </a:custGeom>
              <a:noFill/>
              <a:ln w="19050" cap="sq">
                <a:solidFill>
                  <a:schemeClr val="bg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02" name="Forma livre: Forma 401">
                <a:extLst>
                  <a:ext uri="{FF2B5EF4-FFF2-40B4-BE49-F238E27FC236}">
                    <a16:creationId xmlns:a16="http://schemas.microsoft.com/office/drawing/2014/main" id="{E93632EC-6076-C524-B06A-E7AC681685CB}"/>
                  </a:ext>
                </a:extLst>
              </p:cNvPr>
              <p:cNvSpPr/>
              <p:nvPr/>
            </p:nvSpPr>
            <p:spPr>
              <a:xfrm>
                <a:off x="6073547" y="1527543"/>
                <a:ext cx="114760" cy="72506"/>
              </a:xfrm>
              <a:custGeom>
                <a:avLst/>
                <a:gdLst>
                  <a:gd name="connsiteX0" fmla="*/ 114760 w 114760"/>
                  <a:gd name="connsiteY0" fmla="*/ 7254 h 72506"/>
                  <a:gd name="connsiteX1" fmla="*/ 73905 w 114760"/>
                  <a:gd name="connsiteY1" fmla="*/ 8881 h 72506"/>
                  <a:gd name="connsiteX2" fmla="*/ 0 w 114760"/>
                  <a:gd name="connsiteY2" fmla="*/ 72506 h 725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14760" h="72506">
                    <a:moveTo>
                      <a:pt x="114760" y="7254"/>
                    </a:moveTo>
                    <a:cubicBezTo>
                      <a:pt x="103375" y="-2830"/>
                      <a:pt x="83989" y="-2504"/>
                      <a:pt x="73905" y="8881"/>
                    </a:cubicBezTo>
                    <a:cubicBezTo>
                      <a:pt x="73905" y="8881"/>
                      <a:pt x="31488" y="72506"/>
                      <a:pt x="0" y="72506"/>
                    </a:cubicBezTo>
                  </a:path>
                </a:pathLst>
              </a:custGeom>
              <a:noFill/>
              <a:ln w="19050" cap="sq">
                <a:solidFill>
                  <a:schemeClr val="bg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03" name="Forma livre: Forma 402">
                <a:extLst>
                  <a:ext uri="{FF2B5EF4-FFF2-40B4-BE49-F238E27FC236}">
                    <a16:creationId xmlns:a16="http://schemas.microsoft.com/office/drawing/2014/main" id="{0658B22A-3C2D-1E05-FD44-A2E73CAB8A6B}"/>
                  </a:ext>
                </a:extLst>
              </p:cNvPr>
              <p:cNvSpPr/>
              <p:nvPr/>
            </p:nvSpPr>
            <p:spPr>
              <a:xfrm>
                <a:off x="6079857" y="1646956"/>
                <a:ext cx="29405" cy="9823"/>
              </a:xfrm>
              <a:custGeom>
                <a:avLst/>
                <a:gdLst>
                  <a:gd name="connsiteX0" fmla="*/ 0 w 29405"/>
                  <a:gd name="connsiteY0" fmla="*/ 0 h 9823"/>
                  <a:gd name="connsiteX1" fmla="*/ 29406 w 29405"/>
                  <a:gd name="connsiteY1" fmla="*/ 9824 h 98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9405" h="9823">
                    <a:moveTo>
                      <a:pt x="0" y="0"/>
                    </a:moveTo>
                    <a:lnTo>
                      <a:pt x="29406" y="9824"/>
                    </a:lnTo>
                  </a:path>
                </a:pathLst>
              </a:custGeom>
              <a:ln w="19050" cap="sq">
                <a:solidFill>
                  <a:schemeClr val="bg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04" name="Forma livre: Forma 403">
                <a:extLst>
                  <a:ext uri="{FF2B5EF4-FFF2-40B4-BE49-F238E27FC236}">
                    <a16:creationId xmlns:a16="http://schemas.microsoft.com/office/drawing/2014/main" id="{7B8708F3-9971-56A9-536D-C840D76F7703}"/>
                  </a:ext>
                </a:extLst>
              </p:cNvPr>
              <p:cNvSpPr/>
              <p:nvPr/>
            </p:nvSpPr>
            <p:spPr>
              <a:xfrm>
                <a:off x="6061121" y="1545272"/>
                <a:ext cx="47166" cy="34154"/>
              </a:xfrm>
              <a:custGeom>
                <a:avLst/>
                <a:gdLst>
                  <a:gd name="connsiteX0" fmla="*/ 0 w 47166"/>
                  <a:gd name="connsiteY0" fmla="*/ 0 h 34154"/>
                  <a:gd name="connsiteX1" fmla="*/ 47166 w 47166"/>
                  <a:gd name="connsiteY1" fmla="*/ 34155 h 341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166" h="34154">
                    <a:moveTo>
                      <a:pt x="0" y="0"/>
                    </a:moveTo>
                    <a:cubicBezTo>
                      <a:pt x="0" y="0"/>
                      <a:pt x="27649" y="13011"/>
                      <a:pt x="47166" y="34155"/>
                    </a:cubicBezTo>
                  </a:path>
                </a:pathLst>
              </a:custGeom>
              <a:noFill/>
              <a:ln w="19050" cap="sq">
                <a:solidFill>
                  <a:schemeClr val="bg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385" name="Gráfico 32">
              <a:extLst>
                <a:ext uri="{FF2B5EF4-FFF2-40B4-BE49-F238E27FC236}">
                  <a16:creationId xmlns:a16="http://schemas.microsoft.com/office/drawing/2014/main" id="{A5142FCB-682F-EBFF-39E0-4588E543891D}"/>
                </a:ext>
              </a:extLst>
            </p:cNvPr>
            <p:cNvGrpSpPr/>
            <p:nvPr/>
          </p:nvGrpSpPr>
          <p:grpSpPr>
            <a:xfrm>
              <a:off x="6191625" y="1599725"/>
              <a:ext cx="173767" cy="157112"/>
              <a:chOff x="6191625" y="1599725"/>
              <a:chExt cx="173767" cy="157112"/>
            </a:xfrm>
            <a:noFill/>
          </p:grpSpPr>
          <p:sp>
            <p:nvSpPr>
              <p:cNvPr id="395" name="Forma livre: Forma 394">
                <a:extLst>
                  <a:ext uri="{FF2B5EF4-FFF2-40B4-BE49-F238E27FC236}">
                    <a16:creationId xmlns:a16="http://schemas.microsoft.com/office/drawing/2014/main" id="{9EA38351-E5C7-0CEA-5D26-3120DCF2951B}"/>
                  </a:ext>
                </a:extLst>
              </p:cNvPr>
              <p:cNvSpPr/>
              <p:nvPr/>
            </p:nvSpPr>
            <p:spPr>
              <a:xfrm>
                <a:off x="6310094" y="1621974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bg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96" name="Forma livre: Forma 395">
                <a:extLst>
                  <a:ext uri="{FF2B5EF4-FFF2-40B4-BE49-F238E27FC236}">
                    <a16:creationId xmlns:a16="http://schemas.microsoft.com/office/drawing/2014/main" id="{C55BDE4F-9412-DFB7-EF9C-F66F4DBCFEDA}"/>
                  </a:ext>
                </a:extLst>
              </p:cNvPr>
              <p:cNvSpPr/>
              <p:nvPr/>
            </p:nvSpPr>
            <p:spPr>
              <a:xfrm>
                <a:off x="6191625" y="1599725"/>
                <a:ext cx="118078" cy="49898"/>
              </a:xfrm>
              <a:custGeom>
                <a:avLst/>
                <a:gdLst>
                  <a:gd name="connsiteX0" fmla="*/ 0 w 118078"/>
                  <a:gd name="connsiteY0" fmla="*/ 0 h 49898"/>
                  <a:gd name="connsiteX1" fmla="*/ 37343 w 118078"/>
                  <a:gd name="connsiteY1" fmla="*/ 0 h 49898"/>
                  <a:gd name="connsiteX2" fmla="*/ 87176 w 118078"/>
                  <a:gd name="connsiteY2" fmla="*/ 49899 h 49898"/>
                  <a:gd name="connsiteX3" fmla="*/ 118078 w 118078"/>
                  <a:gd name="connsiteY3" fmla="*/ 49899 h 49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8078" h="49898">
                    <a:moveTo>
                      <a:pt x="0" y="0"/>
                    </a:moveTo>
                    <a:lnTo>
                      <a:pt x="37343" y="0"/>
                    </a:lnTo>
                    <a:lnTo>
                      <a:pt x="87176" y="49899"/>
                    </a:lnTo>
                    <a:lnTo>
                      <a:pt x="118078" y="49899"/>
                    </a:lnTo>
                  </a:path>
                </a:pathLst>
              </a:custGeom>
              <a:noFill/>
              <a:ln w="19050" cap="sq">
                <a:solidFill>
                  <a:schemeClr val="bg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97" name="Forma livre: Forma 396">
                <a:extLst>
                  <a:ext uri="{FF2B5EF4-FFF2-40B4-BE49-F238E27FC236}">
                    <a16:creationId xmlns:a16="http://schemas.microsoft.com/office/drawing/2014/main" id="{36089DEB-C69E-D2A3-1FF8-A345DBFD9AD3}"/>
                  </a:ext>
                </a:extLst>
              </p:cNvPr>
              <p:cNvSpPr/>
              <p:nvPr/>
            </p:nvSpPr>
            <p:spPr>
              <a:xfrm>
                <a:off x="6191625" y="1665367"/>
                <a:ext cx="81906" cy="44108"/>
              </a:xfrm>
              <a:custGeom>
                <a:avLst/>
                <a:gdLst>
                  <a:gd name="connsiteX0" fmla="*/ 0 w 81906"/>
                  <a:gd name="connsiteY0" fmla="*/ 0 h 44108"/>
                  <a:gd name="connsiteX1" fmla="*/ 37343 w 81906"/>
                  <a:gd name="connsiteY1" fmla="*/ 0 h 44108"/>
                  <a:gd name="connsiteX2" fmla="*/ 81907 w 81906"/>
                  <a:gd name="connsiteY2" fmla="*/ 44109 h 441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1906" h="44108">
                    <a:moveTo>
                      <a:pt x="0" y="0"/>
                    </a:moveTo>
                    <a:lnTo>
                      <a:pt x="37343" y="0"/>
                    </a:lnTo>
                    <a:lnTo>
                      <a:pt x="81907" y="44109"/>
                    </a:lnTo>
                  </a:path>
                </a:pathLst>
              </a:custGeom>
              <a:noFill/>
              <a:ln w="19050" cap="sq">
                <a:solidFill>
                  <a:schemeClr val="bg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98" name="Forma livre: Forma 397">
                <a:extLst>
                  <a:ext uri="{FF2B5EF4-FFF2-40B4-BE49-F238E27FC236}">
                    <a16:creationId xmlns:a16="http://schemas.microsoft.com/office/drawing/2014/main" id="{D3830061-3E0E-055F-AFE8-52E1C5364ED2}"/>
                  </a:ext>
                </a:extLst>
              </p:cNvPr>
              <p:cNvSpPr/>
              <p:nvPr/>
            </p:nvSpPr>
            <p:spPr>
              <a:xfrm>
                <a:off x="6265075" y="1701539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bg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386" name="Gráfico 32">
              <a:extLst>
                <a:ext uri="{FF2B5EF4-FFF2-40B4-BE49-F238E27FC236}">
                  <a16:creationId xmlns:a16="http://schemas.microsoft.com/office/drawing/2014/main" id="{182C057E-808C-F6EC-3A1E-AB444666E74E}"/>
                </a:ext>
              </a:extLst>
            </p:cNvPr>
            <p:cNvGrpSpPr/>
            <p:nvPr/>
          </p:nvGrpSpPr>
          <p:grpSpPr>
            <a:xfrm>
              <a:off x="6191625" y="1357908"/>
              <a:ext cx="173767" cy="157112"/>
              <a:chOff x="6191625" y="1357908"/>
              <a:chExt cx="173767" cy="157112"/>
            </a:xfrm>
            <a:noFill/>
          </p:grpSpPr>
          <p:sp>
            <p:nvSpPr>
              <p:cNvPr id="391" name="Forma livre: Forma 390">
                <a:extLst>
                  <a:ext uri="{FF2B5EF4-FFF2-40B4-BE49-F238E27FC236}">
                    <a16:creationId xmlns:a16="http://schemas.microsoft.com/office/drawing/2014/main" id="{879F5BE4-317C-6E69-C6A7-6DB62012C0B6}"/>
                  </a:ext>
                </a:extLst>
              </p:cNvPr>
              <p:cNvSpPr/>
              <p:nvPr/>
            </p:nvSpPr>
            <p:spPr>
              <a:xfrm>
                <a:off x="6310094" y="1437472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0 h 55298"/>
                  <a:gd name="connsiteX2" fmla="*/ 0 w 55298"/>
                  <a:gd name="connsiteY2" fmla="*/ 27649 h 55298"/>
                  <a:gd name="connsiteX3" fmla="*/ 27649 w 55298"/>
                  <a:gd name="connsiteY3" fmla="*/ 55298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12361"/>
                      <a:pt x="42938" y="0"/>
                      <a:pt x="27649" y="0"/>
                    </a:cubicBezTo>
                    <a:cubicBezTo>
                      <a:pt x="12361" y="0"/>
                      <a:pt x="0" y="12361"/>
                      <a:pt x="0" y="27649"/>
                    </a:cubicBezTo>
                    <a:cubicBezTo>
                      <a:pt x="0" y="42938"/>
                      <a:pt x="12361" y="55298"/>
                      <a:pt x="27649" y="55298"/>
                    </a:cubicBezTo>
                    <a:cubicBezTo>
                      <a:pt x="42938" y="55298"/>
                      <a:pt x="55298" y="42938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bg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92" name="Forma livre: Forma 391">
                <a:extLst>
                  <a:ext uri="{FF2B5EF4-FFF2-40B4-BE49-F238E27FC236}">
                    <a16:creationId xmlns:a16="http://schemas.microsoft.com/office/drawing/2014/main" id="{DAD17420-5C48-1644-653B-50F78AEE5FBD}"/>
                  </a:ext>
                </a:extLst>
              </p:cNvPr>
              <p:cNvSpPr/>
              <p:nvPr/>
            </p:nvSpPr>
            <p:spPr>
              <a:xfrm>
                <a:off x="6191625" y="1465122"/>
                <a:ext cx="118468" cy="49898"/>
              </a:xfrm>
              <a:custGeom>
                <a:avLst/>
                <a:gdLst>
                  <a:gd name="connsiteX0" fmla="*/ 0 w 118468"/>
                  <a:gd name="connsiteY0" fmla="*/ 49899 h 49898"/>
                  <a:gd name="connsiteX1" fmla="*/ 37343 w 118468"/>
                  <a:gd name="connsiteY1" fmla="*/ 49899 h 49898"/>
                  <a:gd name="connsiteX2" fmla="*/ 87176 w 118468"/>
                  <a:gd name="connsiteY2" fmla="*/ 0 h 49898"/>
                  <a:gd name="connsiteX3" fmla="*/ 118469 w 118468"/>
                  <a:gd name="connsiteY3" fmla="*/ 0 h 49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8468" h="49898">
                    <a:moveTo>
                      <a:pt x="0" y="49899"/>
                    </a:moveTo>
                    <a:lnTo>
                      <a:pt x="37343" y="49899"/>
                    </a:lnTo>
                    <a:lnTo>
                      <a:pt x="87176" y="0"/>
                    </a:lnTo>
                    <a:lnTo>
                      <a:pt x="118469" y="0"/>
                    </a:lnTo>
                  </a:path>
                </a:pathLst>
              </a:custGeom>
              <a:noFill/>
              <a:ln w="19050" cap="sq">
                <a:solidFill>
                  <a:schemeClr val="bg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93" name="Forma livre: Forma 392">
                <a:extLst>
                  <a:ext uri="{FF2B5EF4-FFF2-40B4-BE49-F238E27FC236}">
                    <a16:creationId xmlns:a16="http://schemas.microsoft.com/office/drawing/2014/main" id="{8CE67AC0-AB99-8C99-444E-E0AD2D28033B}"/>
                  </a:ext>
                </a:extLst>
              </p:cNvPr>
              <p:cNvSpPr/>
              <p:nvPr/>
            </p:nvSpPr>
            <p:spPr>
              <a:xfrm>
                <a:off x="6191625" y="1405269"/>
                <a:ext cx="81451" cy="44043"/>
              </a:xfrm>
              <a:custGeom>
                <a:avLst/>
                <a:gdLst>
                  <a:gd name="connsiteX0" fmla="*/ 0 w 81451"/>
                  <a:gd name="connsiteY0" fmla="*/ 44044 h 44043"/>
                  <a:gd name="connsiteX1" fmla="*/ 37343 w 81451"/>
                  <a:gd name="connsiteY1" fmla="*/ 44044 h 44043"/>
                  <a:gd name="connsiteX2" fmla="*/ 81451 w 81451"/>
                  <a:gd name="connsiteY2" fmla="*/ 0 h 440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1451" h="44043">
                    <a:moveTo>
                      <a:pt x="0" y="44044"/>
                    </a:moveTo>
                    <a:lnTo>
                      <a:pt x="37343" y="44044"/>
                    </a:lnTo>
                    <a:lnTo>
                      <a:pt x="81451" y="0"/>
                    </a:lnTo>
                  </a:path>
                </a:pathLst>
              </a:custGeom>
              <a:noFill/>
              <a:ln w="19050" cap="sq">
                <a:solidFill>
                  <a:schemeClr val="bg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94" name="Forma livre: Forma 393">
                <a:extLst>
                  <a:ext uri="{FF2B5EF4-FFF2-40B4-BE49-F238E27FC236}">
                    <a16:creationId xmlns:a16="http://schemas.microsoft.com/office/drawing/2014/main" id="{0A1D818C-F2E1-7639-92A8-95933DB03E1A}"/>
                  </a:ext>
                </a:extLst>
              </p:cNvPr>
              <p:cNvSpPr/>
              <p:nvPr/>
            </p:nvSpPr>
            <p:spPr>
              <a:xfrm>
                <a:off x="6265075" y="1357908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0 h 55298"/>
                  <a:gd name="connsiteX2" fmla="*/ 0 w 55298"/>
                  <a:gd name="connsiteY2" fmla="*/ 27649 h 55298"/>
                  <a:gd name="connsiteX3" fmla="*/ 27649 w 55298"/>
                  <a:gd name="connsiteY3" fmla="*/ 55298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12361"/>
                      <a:pt x="42938" y="0"/>
                      <a:pt x="27649" y="0"/>
                    </a:cubicBezTo>
                    <a:cubicBezTo>
                      <a:pt x="12361" y="0"/>
                      <a:pt x="0" y="12361"/>
                      <a:pt x="0" y="27649"/>
                    </a:cubicBezTo>
                    <a:cubicBezTo>
                      <a:pt x="0" y="42938"/>
                      <a:pt x="12361" y="55298"/>
                      <a:pt x="27649" y="55298"/>
                    </a:cubicBezTo>
                    <a:cubicBezTo>
                      <a:pt x="42938" y="55298"/>
                      <a:pt x="55298" y="42938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bg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387" name="Gráfico 32">
              <a:extLst>
                <a:ext uri="{FF2B5EF4-FFF2-40B4-BE49-F238E27FC236}">
                  <a16:creationId xmlns:a16="http://schemas.microsoft.com/office/drawing/2014/main" id="{FA3B4EE8-97E8-EBAB-BE66-F408E7F595D7}"/>
                </a:ext>
              </a:extLst>
            </p:cNvPr>
            <p:cNvGrpSpPr/>
            <p:nvPr/>
          </p:nvGrpSpPr>
          <p:grpSpPr>
            <a:xfrm>
              <a:off x="6190910" y="1529723"/>
              <a:ext cx="123673" cy="55298"/>
              <a:chOff x="6190910" y="1529723"/>
              <a:chExt cx="123673" cy="55298"/>
            </a:xfrm>
            <a:noFill/>
          </p:grpSpPr>
          <p:sp>
            <p:nvSpPr>
              <p:cNvPr id="389" name="Forma livre: Forma 388">
                <a:extLst>
                  <a:ext uri="{FF2B5EF4-FFF2-40B4-BE49-F238E27FC236}">
                    <a16:creationId xmlns:a16="http://schemas.microsoft.com/office/drawing/2014/main" id="{FECECE8D-6ECB-1980-342A-DE9D3DA9DE15}"/>
                  </a:ext>
                </a:extLst>
              </p:cNvPr>
              <p:cNvSpPr/>
              <p:nvPr/>
            </p:nvSpPr>
            <p:spPr>
              <a:xfrm>
                <a:off x="6190910" y="1557372"/>
                <a:ext cx="68765" cy="6505"/>
              </a:xfrm>
              <a:custGeom>
                <a:avLst/>
                <a:gdLst>
                  <a:gd name="connsiteX0" fmla="*/ 0 w 68765"/>
                  <a:gd name="connsiteY0" fmla="*/ 0 h 6505"/>
                  <a:gd name="connsiteX1" fmla="*/ 68765 w 68765"/>
                  <a:gd name="connsiteY1" fmla="*/ 0 h 65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8765" h="6505">
                    <a:moveTo>
                      <a:pt x="0" y="0"/>
                    </a:moveTo>
                    <a:lnTo>
                      <a:pt x="68765" y="0"/>
                    </a:lnTo>
                  </a:path>
                </a:pathLst>
              </a:custGeom>
              <a:ln w="19050" cap="sq">
                <a:solidFill>
                  <a:schemeClr val="bg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90" name="Forma livre: Forma 389">
                <a:extLst>
                  <a:ext uri="{FF2B5EF4-FFF2-40B4-BE49-F238E27FC236}">
                    <a16:creationId xmlns:a16="http://schemas.microsoft.com/office/drawing/2014/main" id="{BD6EBD31-278B-EA37-9F1B-F444DAD3F5C3}"/>
                  </a:ext>
                </a:extLst>
              </p:cNvPr>
              <p:cNvSpPr/>
              <p:nvPr/>
            </p:nvSpPr>
            <p:spPr>
              <a:xfrm>
                <a:off x="6259285" y="1529723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bg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388" name="Forma livre: Forma 387">
              <a:extLst>
                <a:ext uri="{FF2B5EF4-FFF2-40B4-BE49-F238E27FC236}">
                  <a16:creationId xmlns:a16="http://schemas.microsoft.com/office/drawing/2014/main" id="{D7B592D0-EC19-F62C-1757-566E02F8676B}"/>
                </a:ext>
              </a:extLst>
            </p:cNvPr>
            <p:cNvSpPr/>
            <p:nvPr/>
          </p:nvSpPr>
          <p:spPr>
            <a:xfrm>
              <a:off x="6152201" y="1686285"/>
              <a:ext cx="37362" cy="20848"/>
            </a:xfrm>
            <a:custGeom>
              <a:avLst/>
              <a:gdLst>
                <a:gd name="connsiteX0" fmla="*/ 0 w 37362"/>
                <a:gd name="connsiteY0" fmla="*/ 10505 h 20848"/>
                <a:gd name="connsiteX1" fmla="*/ 27064 w 37362"/>
                <a:gd name="connsiteY1" fmla="*/ 2373 h 20848"/>
                <a:gd name="connsiteX2" fmla="*/ 37343 w 37362"/>
                <a:gd name="connsiteY2" fmla="*/ 20849 h 20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7362" h="20848">
                  <a:moveTo>
                    <a:pt x="0" y="10505"/>
                  </a:moveTo>
                  <a:cubicBezTo>
                    <a:pt x="5205" y="811"/>
                    <a:pt x="17435" y="-2832"/>
                    <a:pt x="27064" y="2373"/>
                  </a:cubicBezTo>
                  <a:cubicBezTo>
                    <a:pt x="34025" y="6081"/>
                    <a:pt x="37668" y="13432"/>
                    <a:pt x="37343" y="20849"/>
                  </a:cubicBezTo>
                </a:path>
              </a:pathLst>
            </a:custGeom>
            <a:noFill/>
            <a:ln w="19050" cap="sq">
              <a:solidFill>
                <a:schemeClr val="bg1"/>
              </a:solidFill>
              <a:prstDash val="solid"/>
              <a:miter lim="800000"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405" name="Agrupar 404">
            <a:extLst>
              <a:ext uri="{FF2B5EF4-FFF2-40B4-BE49-F238E27FC236}">
                <a16:creationId xmlns:a16="http://schemas.microsoft.com/office/drawing/2014/main" id="{A0C00284-878C-6CCC-25B7-7459D803A4C5}"/>
              </a:ext>
            </a:extLst>
          </p:cNvPr>
          <p:cNvGrpSpPr/>
          <p:nvPr/>
        </p:nvGrpSpPr>
        <p:grpSpPr>
          <a:xfrm>
            <a:off x="3497291" y="5247550"/>
            <a:ext cx="325297" cy="355243"/>
            <a:chOff x="6000092" y="1357908"/>
            <a:chExt cx="365300" cy="398929"/>
          </a:xfrm>
        </p:grpSpPr>
        <p:sp>
          <p:nvSpPr>
            <p:cNvPr id="406" name="Forma livre: Forma 405">
              <a:extLst>
                <a:ext uri="{FF2B5EF4-FFF2-40B4-BE49-F238E27FC236}">
                  <a16:creationId xmlns:a16="http://schemas.microsoft.com/office/drawing/2014/main" id="{7B31C44C-80FC-CE59-BAB2-90B84463A6F1}"/>
                </a:ext>
              </a:extLst>
            </p:cNvPr>
            <p:cNvSpPr/>
            <p:nvPr/>
          </p:nvSpPr>
          <p:spPr>
            <a:xfrm>
              <a:off x="6000092" y="1418606"/>
              <a:ext cx="84058" cy="286120"/>
            </a:xfrm>
            <a:custGeom>
              <a:avLst/>
              <a:gdLst>
                <a:gd name="connsiteX0" fmla="*/ 51595 w 84058"/>
                <a:gd name="connsiteY0" fmla="*/ 0 h 286120"/>
                <a:gd name="connsiteX1" fmla="*/ 35266 w 84058"/>
                <a:gd name="connsiteY1" fmla="*/ 61674 h 286120"/>
                <a:gd name="connsiteX2" fmla="*/ 28760 w 84058"/>
                <a:gd name="connsiteY2" fmla="*/ 193415 h 286120"/>
                <a:gd name="connsiteX3" fmla="*/ 84059 w 84058"/>
                <a:gd name="connsiteY3" fmla="*/ 286121 h 2861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4058" h="286120">
                  <a:moveTo>
                    <a:pt x="51595" y="0"/>
                  </a:moveTo>
                  <a:cubicBezTo>
                    <a:pt x="37868" y="7872"/>
                    <a:pt x="26028" y="24852"/>
                    <a:pt x="35266" y="61674"/>
                  </a:cubicBezTo>
                  <a:cubicBezTo>
                    <a:pt x="35266" y="61674"/>
                    <a:pt x="-39549" y="126731"/>
                    <a:pt x="28760" y="193415"/>
                  </a:cubicBezTo>
                  <a:cubicBezTo>
                    <a:pt x="28760" y="193415"/>
                    <a:pt x="9243" y="281242"/>
                    <a:pt x="84059" y="286121"/>
                  </a:cubicBezTo>
                </a:path>
              </a:pathLst>
            </a:custGeom>
            <a:noFill/>
            <a:ln w="19050" cap="sq">
              <a:solidFill>
                <a:schemeClr val="tx1"/>
              </a:solidFill>
              <a:prstDash val="solid"/>
              <a:miter lim="800000"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407" name="Gráfico 32">
              <a:extLst>
                <a:ext uri="{FF2B5EF4-FFF2-40B4-BE49-F238E27FC236}">
                  <a16:creationId xmlns:a16="http://schemas.microsoft.com/office/drawing/2014/main" id="{785CACED-8F13-AB62-FFC1-A4B2C341F38D}"/>
                </a:ext>
              </a:extLst>
            </p:cNvPr>
            <p:cNvGrpSpPr/>
            <p:nvPr/>
          </p:nvGrpSpPr>
          <p:grpSpPr>
            <a:xfrm>
              <a:off x="6061121" y="1359924"/>
              <a:ext cx="128487" cy="396366"/>
              <a:chOff x="6061121" y="1359924"/>
              <a:chExt cx="128487" cy="396366"/>
            </a:xfrm>
            <a:noFill/>
          </p:grpSpPr>
          <p:sp>
            <p:nvSpPr>
              <p:cNvPr id="422" name="Forma livre: Forma 421">
                <a:extLst>
                  <a:ext uri="{FF2B5EF4-FFF2-40B4-BE49-F238E27FC236}">
                    <a16:creationId xmlns:a16="http://schemas.microsoft.com/office/drawing/2014/main" id="{900CD99A-B019-D942-2B50-F8EAD868E3B0}"/>
                  </a:ext>
                </a:extLst>
              </p:cNvPr>
              <p:cNvSpPr/>
              <p:nvPr/>
            </p:nvSpPr>
            <p:spPr>
              <a:xfrm>
                <a:off x="6083891" y="1359924"/>
                <a:ext cx="105717" cy="396366"/>
              </a:xfrm>
              <a:custGeom>
                <a:avLst/>
                <a:gdLst>
                  <a:gd name="connsiteX0" fmla="*/ 52891 w 105717"/>
                  <a:gd name="connsiteY0" fmla="*/ 105718 h 396366"/>
                  <a:gd name="connsiteX1" fmla="*/ 0 w 105717"/>
                  <a:gd name="connsiteY1" fmla="*/ 52891 h 396366"/>
                  <a:gd name="connsiteX2" fmla="*/ 52891 w 105717"/>
                  <a:gd name="connsiteY2" fmla="*/ 0 h 396366"/>
                  <a:gd name="connsiteX3" fmla="*/ 105718 w 105717"/>
                  <a:gd name="connsiteY3" fmla="*/ 52826 h 396366"/>
                  <a:gd name="connsiteX4" fmla="*/ 105718 w 105717"/>
                  <a:gd name="connsiteY4" fmla="*/ 346884 h 396366"/>
                  <a:gd name="connsiteX5" fmla="*/ 80606 w 105717"/>
                  <a:gd name="connsiteY5" fmla="*/ 388911 h 396366"/>
                  <a:gd name="connsiteX6" fmla="*/ 9238 w 105717"/>
                  <a:gd name="connsiteY6" fmla="*/ 371150 h 396366"/>
                  <a:gd name="connsiteX7" fmla="*/ 15484 w 105717"/>
                  <a:gd name="connsiteY7" fmla="*/ 309216 h 396366"/>
                  <a:gd name="connsiteX8" fmla="*/ 45019 w 105717"/>
                  <a:gd name="connsiteY8" fmla="*/ 277078 h 3963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05717" h="396366">
                    <a:moveTo>
                      <a:pt x="52891" y="105718"/>
                    </a:moveTo>
                    <a:cubicBezTo>
                      <a:pt x="23681" y="105718"/>
                      <a:pt x="0" y="82037"/>
                      <a:pt x="0" y="52891"/>
                    </a:cubicBezTo>
                    <a:cubicBezTo>
                      <a:pt x="0" y="23746"/>
                      <a:pt x="23681" y="0"/>
                      <a:pt x="52891" y="0"/>
                    </a:cubicBezTo>
                    <a:cubicBezTo>
                      <a:pt x="82102" y="0"/>
                      <a:pt x="105718" y="23681"/>
                      <a:pt x="105718" y="52826"/>
                    </a:cubicBezTo>
                    <a:lnTo>
                      <a:pt x="105718" y="346884"/>
                    </a:lnTo>
                    <a:cubicBezTo>
                      <a:pt x="105718" y="364580"/>
                      <a:pt x="96414" y="379413"/>
                      <a:pt x="80606" y="388911"/>
                    </a:cubicBezTo>
                    <a:cubicBezTo>
                      <a:pt x="55949" y="403744"/>
                      <a:pt x="24006" y="395742"/>
                      <a:pt x="9238" y="371150"/>
                    </a:cubicBezTo>
                    <a:cubicBezTo>
                      <a:pt x="-2928" y="350918"/>
                      <a:pt x="260" y="325741"/>
                      <a:pt x="15484" y="309216"/>
                    </a:cubicBezTo>
                    <a:lnTo>
                      <a:pt x="45019" y="277078"/>
                    </a:lnTo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23" name="Forma livre: Forma 422">
                <a:extLst>
                  <a:ext uri="{FF2B5EF4-FFF2-40B4-BE49-F238E27FC236}">
                    <a16:creationId xmlns:a16="http://schemas.microsoft.com/office/drawing/2014/main" id="{E2BE7198-638C-1E00-0D23-18586DA9926B}"/>
                  </a:ext>
                </a:extLst>
              </p:cNvPr>
              <p:cNvSpPr/>
              <p:nvPr/>
            </p:nvSpPr>
            <p:spPr>
              <a:xfrm>
                <a:off x="6144784" y="1383865"/>
                <a:ext cx="41563" cy="38963"/>
              </a:xfrm>
              <a:custGeom>
                <a:avLst/>
                <a:gdLst>
                  <a:gd name="connsiteX0" fmla="*/ 36172 w 41563"/>
                  <a:gd name="connsiteY0" fmla="*/ 0 h 38963"/>
                  <a:gd name="connsiteX1" fmla="*/ 39425 w 41563"/>
                  <a:gd name="connsiteY1" fmla="*/ 24266 h 38963"/>
                  <a:gd name="connsiteX2" fmla="*/ 36432 w 41563"/>
                  <a:gd name="connsiteY2" fmla="*/ 29080 h 38963"/>
                  <a:gd name="connsiteX3" fmla="*/ 0 w 41563"/>
                  <a:gd name="connsiteY3" fmla="*/ 33439 h 389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563" h="38963">
                    <a:moveTo>
                      <a:pt x="36172" y="0"/>
                    </a:moveTo>
                    <a:cubicBezTo>
                      <a:pt x="41571" y="7547"/>
                      <a:pt x="43393" y="16004"/>
                      <a:pt x="39425" y="24266"/>
                    </a:cubicBezTo>
                    <a:cubicBezTo>
                      <a:pt x="38644" y="25893"/>
                      <a:pt x="37603" y="27519"/>
                      <a:pt x="36432" y="29080"/>
                    </a:cubicBezTo>
                    <a:cubicBezTo>
                      <a:pt x="27584" y="40270"/>
                      <a:pt x="11190" y="42287"/>
                      <a:pt x="0" y="33439"/>
                    </a:cubicBezTo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24" name="Forma livre: Forma 423">
                <a:extLst>
                  <a:ext uri="{FF2B5EF4-FFF2-40B4-BE49-F238E27FC236}">
                    <a16:creationId xmlns:a16="http://schemas.microsoft.com/office/drawing/2014/main" id="{D102CE7E-8F1B-A938-CAC4-3989BA9DF4C2}"/>
                  </a:ext>
                </a:extLst>
              </p:cNvPr>
              <p:cNvSpPr/>
              <p:nvPr/>
            </p:nvSpPr>
            <p:spPr>
              <a:xfrm>
                <a:off x="6081487" y="1460806"/>
                <a:ext cx="34217" cy="54474"/>
              </a:xfrm>
              <a:custGeom>
                <a:avLst/>
                <a:gdLst>
                  <a:gd name="connsiteX0" fmla="*/ 21076 w 34217"/>
                  <a:gd name="connsiteY0" fmla="*/ 54475 h 54474"/>
                  <a:gd name="connsiteX1" fmla="*/ 778 w 34217"/>
                  <a:gd name="connsiteY1" fmla="*/ 21035 h 54474"/>
                  <a:gd name="connsiteX2" fmla="*/ 34217 w 34217"/>
                  <a:gd name="connsiteY2" fmla="*/ 803 h 544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4217" h="54474">
                    <a:moveTo>
                      <a:pt x="21076" y="54475"/>
                    </a:moveTo>
                    <a:cubicBezTo>
                      <a:pt x="6308" y="50832"/>
                      <a:pt x="-2800" y="35803"/>
                      <a:pt x="778" y="21035"/>
                    </a:cubicBezTo>
                    <a:cubicBezTo>
                      <a:pt x="4421" y="6267"/>
                      <a:pt x="19449" y="-2841"/>
                      <a:pt x="34217" y="803"/>
                    </a:cubicBezTo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25" name="Forma livre: Forma 424">
                <a:extLst>
                  <a:ext uri="{FF2B5EF4-FFF2-40B4-BE49-F238E27FC236}">
                    <a16:creationId xmlns:a16="http://schemas.microsoft.com/office/drawing/2014/main" id="{5F5963CA-0014-CBB5-FE10-9274966431CB}"/>
                  </a:ext>
                </a:extLst>
              </p:cNvPr>
              <p:cNvSpPr/>
              <p:nvPr/>
            </p:nvSpPr>
            <p:spPr>
              <a:xfrm>
                <a:off x="6073547" y="1527543"/>
                <a:ext cx="114760" cy="72506"/>
              </a:xfrm>
              <a:custGeom>
                <a:avLst/>
                <a:gdLst>
                  <a:gd name="connsiteX0" fmla="*/ 114760 w 114760"/>
                  <a:gd name="connsiteY0" fmla="*/ 7254 h 72506"/>
                  <a:gd name="connsiteX1" fmla="*/ 73905 w 114760"/>
                  <a:gd name="connsiteY1" fmla="*/ 8881 h 72506"/>
                  <a:gd name="connsiteX2" fmla="*/ 0 w 114760"/>
                  <a:gd name="connsiteY2" fmla="*/ 72506 h 725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14760" h="72506">
                    <a:moveTo>
                      <a:pt x="114760" y="7254"/>
                    </a:moveTo>
                    <a:cubicBezTo>
                      <a:pt x="103375" y="-2830"/>
                      <a:pt x="83989" y="-2504"/>
                      <a:pt x="73905" y="8881"/>
                    </a:cubicBezTo>
                    <a:cubicBezTo>
                      <a:pt x="73905" y="8881"/>
                      <a:pt x="31488" y="72506"/>
                      <a:pt x="0" y="72506"/>
                    </a:cubicBezTo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26" name="Forma livre: Forma 425">
                <a:extLst>
                  <a:ext uri="{FF2B5EF4-FFF2-40B4-BE49-F238E27FC236}">
                    <a16:creationId xmlns:a16="http://schemas.microsoft.com/office/drawing/2014/main" id="{A48FB4E2-6125-8037-4731-D3BAB7A6A329}"/>
                  </a:ext>
                </a:extLst>
              </p:cNvPr>
              <p:cNvSpPr/>
              <p:nvPr/>
            </p:nvSpPr>
            <p:spPr>
              <a:xfrm>
                <a:off x="6079857" y="1646956"/>
                <a:ext cx="29405" cy="9823"/>
              </a:xfrm>
              <a:custGeom>
                <a:avLst/>
                <a:gdLst>
                  <a:gd name="connsiteX0" fmla="*/ 0 w 29405"/>
                  <a:gd name="connsiteY0" fmla="*/ 0 h 9823"/>
                  <a:gd name="connsiteX1" fmla="*/ 29406 w 29405"/>
                  <a:gd name="connsiteY1" fmla="*/ 9824 h 98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9405" h="9823">
                    <a:moveTo>
                      <a:pt x="0" y="0"/>
                    </a:moveTo>
                    <a:lnTo>
                      <a:pt x="29406" y="9824"/>
                    </a:lnTo>
                  </a:path>
                </a:pathLst>
              </a:custGeom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27" name="Forma livre: Forma 426">
                <a:extLst>
                  <a:ext uri="{FF2B5EF4-FFF2-40B4-BE49-F238E27FC236}">
                    <a16:creationId xmlns:a16="http://schemas.microsoft.com/office/drawing/2014/main" id="{BABEDCA6-BBBA-778F-F227-66CB066D7588}"/>
                  </a:ext>
                </a:extLst>
              </p:cNvPr>
              <p:cNvSpPr/>
              <p:nvPr/>
            </p:nvSpPr>
            <p:spPr>
              <a:xfrm>
                <a:off x="6061121" y="1545272"/>
                <a:ext cx="47166" cy="34154"/>
              </a:xfrm>
              <a:custGeom>
                <a:avLst/>
                <a:gdLst>
                  <a:gd name="connsiteX0" fmla="*/ 0 w 47166"/>
                  <a:gd name="connsiteY0" fmla="*/ 0 h 34154"/>
                  <a:gd name="connsiteX1" fmla="*/ 47166 w 47166"/>
                  <a:gd name="connsiteY1" fmla="*/ 34155 h 341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166" h="34154">
                    <a:moveTo>
                      <a:pt x="0" y="0"/>
                    </a:moveTo>
                    <a:cubicBezTo>
                      <a:pt x="0" y="0"/>
                      <a:pt x="27649" y="13011"/>
                      <a:pt x="47166" y="34155"/>
                    </a:cubicBezTo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408" name="Gráfico 32">
              <a:extLst>
                <a:ext uri="{FF2B5EF4-FFF2-40B4-BE49-F238E27FC236}">
                  <a16:creationId xmlns:a16="http://schemas.microsoft.com/office/drawing/2014/main" id="{DD1E2E14-4A68-B3AD-46E9-24F382D9D66A}"/>
                </a:ext>
              </a:extLst>
            </p:cNvPr>
            <p:cNvGrpSpPr/>
            <p:nvPr/>
          </p:nvGrpSpPr>
          <p:grpSpPr>
            <a:xfrm>
              <a:off x="6191625" y="1599725"/>
              <a:ext cx="173767" cy="157112"/>
              <a:chOff x="6191625" y="1599725"/>
              <a:chExt cx="173767" cy="157112"/>
            </a:xfrm>
            <a:noFill/>
          </p:grpSpPr>
          <p:sp>
            <p:nvSpPr>
              <p:cNvPr id="418" name="Forma livre: Forma 417">
                <a:extLst>
                  <a:ext uri="{FF2B5EF4-FFF2-40B4-BE49-F238E27FC236}">
                    <a16:creationId xmlns:a16="http://schemas.microsoft.com/office/drawing/2014/main" id="{C3318EB4-B552-5749-B128-8B9E12E39610}"/>
                  </a:ext>
                </a:extLst>
              </p:cNvPr>
              <p:cNvSpPr/>
              <p:nvPr/>
            </p:nvSpPr>
            <p:spPr>
              <a:xfrm>
                <a:off x="6310094" y="1621974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19" name="Forma livre: Forma 418">
                <a:extLst>
                  <a:ext uri="{FF2B5EF4-FFF2-40B4-BE49-F238E27FC236}">
                    <a16:creationId xmlns:a16="http://schemas.microsoft.com/office/drawing/2014/main" id="{55F2398D-DB00-4FDE-432A-1236E4199AAE}"/>
                  </a:ext>
                </a:extLst>
              </p:cNvPr>
              <p:cNvSpPr/>
              <p:nvPr/>
            </p:nvSpPr>
            <p:spPr>
              <a:xfrm>
                <a:off x="6191625" y="1599725"/>
                <a:ext cx="118078" cy="49898"/>
              </a:xfrm>
              <a:custGeom>
                <a:avLst/>
                <a:gdLst>
                  <a:gd name="connsiteX0" fmla="*/ 0 w 118078"/>
                  <a:gd name="connsiteY0" fmla="*/ 0 h 49898"/>
                  <a:gd name="connsiteX1" fmla="*/ 37343 w 118078"/>
                  <a:gd name="connsiteY1" fmla="*/ 0 h 49898"/>
                  <a:gd name="connsiteX2" fmla="*/ 87176 w 118078"/>
                  <a:gd name="connsiteY2" fmla="*/ 49899 h 49898"/>
                  <a:gd name="connsiteX3" fmla="*/ 118078 w 118078"/>
                  <a:gd name="connsiteY3" fmla="*/ 49899 h 49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8078" h="49898">
                    <a:moveTo>
                      <a:pt x="0" y="0"/>
                    </a:moveTo>
                    <a:lnTo>
                      <a:pt x="37343" y="0"/>
                    </a:lnTo>
                    <a:lnTo>
                      <a:pt x="87176" y="49899"/>
                    </a:lnTo>
                    <a:lnTo>
                      <a:pt x="118078" y="49899"/>
                    </a:lnTo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20" name="Forma livre: Forma 419">
                <a:extLst>
                  <a:ext uri="{FF2B5EF4-FFF2-40B4-BE49-F238E27FC236}">
                    <a16:creationId xmlns:a16="http://schemas.microsoft.com/office/drawing/2014/main" id="{2B2C6781-340F-4E9D-7BAD-27CB54891F77}"/>
                  </a:ext>
                </a:extLst>
              </p:cNvPr>
              <p:cNvSpPr/>
              <p:nvPr/>
            </p:nvSpPr>
            <p:spPr>
              <a:xfrm>
                <a:off x="6191625" y="1665367"/>
                <a:ext cx="81906" cy="44108"/>
              </a:xfrm>
              <a:custGeom>
                <a:avLst/>
                <a:gdLst>
                  <a:gd name="connsiteX0" fmla="*/ 0 w 81906"/>
                  <a:gd name="connsiteY0" fmla="*/ 0 h 44108"/>
                  <a:gd name="connsiteX1" fmla="*/ 37343 w 81906"/>
                  <a:gd name="connsiteY1" fmla="*/ 0 h 44108"/>
                  <a:gd name="connsiteX2" fmla="*/ 81907 w 81906"/>
                  <a:gd name="connsiteY2" fmla="*/ 44109 h 441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1906" h="44108">
                    <a:moveTo>
                      <a:pt x="0" y="0"/>
                    </a:moveTo>
                    <a:lnTo>
                      <a:pt x="37343" y="0"/>
                    </a:lnTo>
                    <a:lnTo>
                      <a:pt x="81907" y="44109"/>
                    </a:lnTo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21" name="Forma livre: Forma 420">
                <a:extLst>
                  <a:ext uri="{FF2B5EF4-FFF2-40B4-BE49-F238E27FC236}">
                    <a16:creationId xmlns:a16="http://schemas.microsoft.com/office/drawing/2014/main" id="{10F6C946-E791-8A9F-03CB-BD6AACBE9449}"/>
                  </a:ext>
                </a:extLst>
              </p:cNvPr>
              <p:cNvSpPr/>
              <p:nvPr/>
            </p:nvSpPr>
            <p:spPr>
              <a:xfrm>
                <a:off x="6265075" y="1701539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409" name="Gráfico 32">
              <a:extLst>
                <a:ext uri="{FF2B5EF4-FFF2-40B4-BE49-F238E27FC236}">
                  <a16:creationId xmlns:a16="http://schemas.microsoft.com/office/drawing/2014/main" id="{1833B332-0AA1-4F00-83CF-87342154F9F2}"/>
                </a:ext>
              </a:extLst>
            </p:cNvPr>
            <p:cNvGrpSpPr/>
            <p:nvPr/>
          </p:nvGrpSpPr>
          <p:grpSpPr>
            <a:xfrm>
              <a:off x="6191625" y="1357908"/>
              <a:ext cx="173767" cy="157112"/>
              <a:chOff x="6191625" y="1357908"/>
              <a:chExt cx="173767" cy="157112"/>
            </a:xfrm>
            <a:noFill/>
          </p:grpSpPr>
          <p:sp>
            <p:nvSpPr>
              <p:cNvPr id="414" name="Forma livre: Forma 413">
                <a:extLst>
                  <a:ext uri="{FF2B5EF4-FFF2-40B4-BE49-F238E27FC236}">
                    <a16:creationId xmlns:a16="http://schemas.microsoft.com/office/drawing/2014/main" id="{645C012A-8511-1E16-7E9B-05D84ADAEAC7}"/>
                  </a:ext>
                </a:extLst>
              </p:cNvPr>
              <p:cNvSpPr/>
              <p:nvPr/>
            </p:nvSpPr>
            <p:spPr>
              <a:xfrm>
                <a:off x="6310094" y="1437472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0 h 55298"/>
                  <a:gd name="connsiteX2" fmla="*/ 0 w 55298"/>
                  <a:gd name="connsiteY2" fmla="*/ 27649 h 55298"/>
                  <a:gd name="connsiteX3" fmla="*/ 27649 w 55298"/>
                  <a:gd name="connsiteY3" fmla="*/ 55298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12361"/>
                      <a:pt x="42938" y="0"/>
                      <a:pt x="27649" y="0"/>
                    </a:cubicBezTo>
                    <a:cubicBezTo>
                      <a:pt x="12361" y="0"/>
                      <a:pt x="0" y="12361"/>
                      <a:pt x="0" y="27649"/>
                    </a:cubicBezTo>
                    <a:cubicBezTo>
                      <a:pt x="0" y="42938"/>
                      <a:pt x="12361" y="55298"/>
                      <a:pt x="27649" y="55298"/>
                    </a:cubicBezTo>
                    <a:cubicBezTo>
                      <a:pt x="42938" y="55298"/>
                      <a:pt x="55298" y="42938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15" name="Forma livre: Forma 414">
                <a:extLst>
                  <a:ext uri="{FF2B5EF4-FFF2-40B4-BE49-F238E27FC236}">
                    <a16:creationId xmlns:a16="http://schemas.microsoft.com/office/drawing/2014/main" id="{07B756F7-99FC-A097-D828-086FF36D7748}"/>
                  </a:ext>
                </a:extLst>
              </p:cNvPr>
              <p:cNvSpPr/>
              <p:nvPr/>
            </p:nvSpPr>
            <p:spPr>
              <a:xfrm>
                <a:off x="6191625" y="1465122"/>
                <a:ext cx="118468" cy="49898"/>
              </a:xfrm>
              <a:custGeom>
                <a:avLst/>
                <a:gdLst>
                  <a:gd name="connsiteX0" fmla="*/ 0 w 118468"/>
                  <a:gd name="connsiteY0" fmla="*/ 49899 h 49898"/>
                  <a:gd name="connsiteX1" fmla="*/ 37343 w 118468"/>
                  <a:gd name="connsiteY1" fmla="*/ 49899 h 49898"/>
                  <a:gd name="connsiteX2" fmla="*/ 87176 w 118468"/>
                  <a:gd name="connsiteY2" fmla="*/ 0 h 49898"/>
                  <a:gd name="connsiteX3" fmla="*/ 118469 w 118468"/>
                  <a:gd name="connsiteY3" fmla="*/ 0 h 49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8468" h="49898">
                    <a:moveTo>
                      <a:pt x="0" y="49899"/>
                    </a:moveTo>
                    <a:lnTo>
                      <a:pt x="37343" y="49899"/>
                    </a:lnTo>
                    <a:lnTo>
                      <a:pt x="87176" y="0"/>
                    </a:lnTo>
                    <a:lnTo>
                      <a:pt x="118469" y="0"/>
                    </a:lnTo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16" name="Forma livre: Forma 415">
                <a:extLst>
                  <a:ext uri="{FF2B5EF4-FFF2-40B4-BE49-F238E27FC236}">
                    <a16:creationId xmlns:a16="http://schemas.microsoft.com/office/drawing/2014/main" id="{A37D617E-DA5F-E2F9-EA40-E05E3C87E0C7}"/>
                  </a:ext>
                </a:extLst>
              </p:cNvPr>
              <p:cNvSpPr/>
              <p:nvPr/>
            </p:nvSpPr>
            <p:spPr>
              <a:xfrm>
                <a:off x="6191625" y="1405269"/>
                <a:ext cx="81451" cy="44043"/>
              </a:xfrm>
              <a:custGeom>
                <a:avLst/>
                <a:gdLst>
                  <a:gd name="connsiteX0" fmla="*/ 0 w 81451"/>
                  <a:gd name="connsiteY0" fmla="*/ 44044 h 44043"/>
                  <a:gd name="connsiteX1" fmla="*/ 37343 w 81451"/>
                  <a:gd name="connsiteY1" fmla="*/ 44044 h 44043"/>
                  <a:gd name="connsiteX2" fmla="*/ 81451 w 81451"/>
                  <a:gd name="connsiteY2" fmla="*/ 0 h 440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1451" h="44043">
                    <a:moveTo>
                      <a:pt x="0" y="44044"/>
                    </a:moveTo>
                    <a:lnTo>
                      <a:pt x="37343" y="44044"/>
                    </a:lnTo>
                    <a:lnTo>
                      <a:pt x="81451" y="0"/>
                    </a:lnTo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17" name="Forma livre: Forma 416">
                <a:extLst>
                  <a:ext uri="{FF2B5EF4-FFF2-40B4-BE49-F238E27FC236}">
                    <a16:creationId xmlns:a16="http://schemas.microsoft.com/office/drawing/2014/main" id="{FD7A93F4-8377-23EE-1A88-709515238B8C}"/>
                  </a:ext>
                </a:extLst>
              </p:cNvPr>
              <p:cNvSpPr/>
              <p:nvPr/>
            </p:nvSpPr>
            <p:spPr>
              <a:xfrm>
                <a:off x="6265075" y="1357908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0 h 55298"/>
                  <a:gd name="connsiteX2" fmla="*/ 0 w 55298"/>
                  <a:gd name="connsiteY2" fmla="*/ 27649 h 55298"/>
                  <a:gd name="connsiteX3" fmla="*/ 27649 w 55298"/>
                  <a:gd name="connsiteY3" fmla="*/ 55298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12361"/>
                      <a:pt x="42938" y="0"/>
                      <a:pt x="27649" y="0"/>
                    </a:cubicBezTo>
                    <a:cubicBezTo>
                      <a:pt x="12361" y="0"/>
                      <a:pt x="0" y="12361"/>
                      <a:pt x="0" y="27649"/>
                    </a:cubicBezTo>
                    <a:cubicBezTo>
                      <a:pt x="0" y="42938"/>
                      <a:pt x="12361" y="55298"/>
                      <a:pt x="27649" y="55298"/>
                    </a:cubicBezTo>
                    <a:cubicBezTo>
                      <a:pt x="42938" y="55298"/>
                      <a:pt x="55298" y="42938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410" name="Gráfico 32">
              <a:extLst>
                <a:ext uri="{FF2B5EF4-FFF2-40B4-BE49-F238E27FC236}">
                  <a16:creationId xmlns:a16="http://schemas.microsoft.com/office/drawing/2014/main" id="{1656EB9E-4B33-E713-EDA6-D7ED8A493484}"/>
                </a:ext>
              </a:extLst>
            </p:cNvPr>
            <p:cNvGrpSpPr/>
            <p:nvPr/>
          </p:nvGrpSpPr>
          <p:grpSpPr>
            <a:xfrm>
              <a:off x="6190910" y="1529723"/>
              <a:ext cx="123673" cy="55298"/>
              <a:chOff x="6190910" y="1529723"/>
              <a:chExt cx="123673" cy="55298"/>
            </a:xfrm>
            <a:noFill/>
          </p:grpSpPr>
          <p:sp>
            <p:nvSpPr>
              <p:cNvPr id="412" name="Forma livre: Forma 411">
                <a:extLst>
                  <a:ext uri="{FF2B5EF4-FFF2-40B4-BE49-F238E27FC236}">
                    <a16:creationId xmlns:a16="http://schemas.microsoft.com/office/drawing/2014/main" id="{1346FE72-4C71-94BD-BA5D-00E18A4FDB2E}"/>
                  </a:ext>
                </a:extLst>
              </p:cNvPr>
              <p:cNvSpPr/>
              <p:nvPr/>
            </p:nvSpPr>
            <p:spPr>
              <a:xfrm>
                <a:off x="6190910" y="1557372"/>
                <a:ext cx="68765" cy="6505"/>
              </a:xfrm>
              <a:custGeom>
                <a:avLst/>
                <a:gdLst>
                  <a:gd name="connsiteX0" fmla="*/ 0 w 68765"/>
                  <a:gd name="connsiteY0" fmla="*/ 0 h 6505"/>
                  <a:gd name="connsiteX1" fmla="*/ 68765 w 68765"/>
                  <a:gd name="connsiteY1" fmla="*/ 0 h 65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8765" h="6505">
                    <a:moveTo>
                      <a:pt x="0" y="0"/>
                    </a:moveTo>
                    <a:lnTo>
                      <a:pt x="68765" y="0"/>
                    </a:lnTo>
                  </a:path>
                </a:pathLst>
              </a:custGeom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13" name="Forma livre: Forma 412">
                <a:extLst>
                  <a:ext uri="{FF2B5EF4-FFF2-40B4-BE49-F238E27FC236}">
                    <a16:creationId xmlns:a16="http://schemas.microsoft.com/office/drawing/2014/main" id="{D26C70A5-3868-35E0-D75C-6F18F7666C37}"/>
                  </a:ext>
                </a:extLst>
              </p:cNvPr>
              <p:cNvSpPr/>
              <p:nvPr/>
            </p:nvSpPr>
            <p:spPr>
              <a:xfrm>
                <a:off x="6259285" y="1529723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411" name="Forma livre: Forma 410">
              <a:extLst>
                <a:ext uri="{FF2B5EF4-FFF2-40B4-BE49-F238E27FC236}">
                  <a16:creationId xmlns:a16="http://schemas.microsoft.com/office/drawing/2014/main" id="{2D280672-9F0C-55DF-A674-30B5C639214F}"/>
                </a:ext>
              </a:extLst>
            </p:cNvPr>
            <p:cNvSpPr/>
            <p:nvPr/>
          </p:nvSpPr>
          <p:spPr>
            <a:xfrm>
              <a:off x="6152201" y="1686285"/>
              <a:ext cx="37362" cy="20848"/>
            </a:xfrm>
            <a:custGeom>
              <a:avLst/>
              <a:gdLst>
                <a:gd name="connsiteX0" fmla="*/ 0 w 37362"/>
                <a:gd name="connsiteY0" fmla="*/ 10505 h 20848"/>
                <a:gd name="connsiteX1" fmla="*/ 27064 w 37362"/>
                <a:gd name="connsiteY1" fmla="*/ 2373 h 20848"/>
                <a:gd name="connsiteX2" fmla="*/ 37343 w 37362"/>
                <a:gd name="connsiteY2" fmla="*/ 20849 h 20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7362" h="20848">
                  <a:moveTo>
                    <a:pt x="0" y="10505"/>
                  </a:moveTo>
                  <a:cubicBezTo>
                    <a:pt x="5205" y="811"/>
                    <a:pt x="17435" y="-2832"/>
                    <a:pt x="27064" y="2373"/>
                  </a:cubicBezTo>
                  <a:cubicBezTo>
                    <a:pt x="34025" y="6081"/>
                    <a:pt x="37668" y="13432"/>
                    <a:pt x="37343" y="20849"/>
                  </a:cubicBezTo>
                </a:path>
              </a:pathLst>
            </a:custGeom>
            <a:noFill/>
            <a:ln w="19050" cap="sq">
              <a:solidFill>
                <a:schemeClr val="tx1"/>
              </a:solidFill>
              <a:prstDash val="solid"/>
              <a:miter lim="800000"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428" name="Agrupar 427">
            <a:extLst>
              <a:ext uri="{FF2B5EF4-FFF2-40B4-BE49-F238E27FC236}">
                <a16:creationId xmlns:a16="http://schemas.microsoft.com/office/drawing/2014/main" id="{8AF2A420-4A27-BFAE-80C7-5F1E758C5FED}"/>
              </a:ext>
            </a:extLst>
          </p:cNvPr>
          <p:cNvGrpSpPr/>
          <p:nvPr/>
        </p:nvGrpSpPr>
        <p:grpSpPr>
          <a:xfrm>
            <a:off x="5503233" y="5247550"/>
            <a:ext cx="325297" cy="355243"/>
            <a:chOff x="6000092" y="1357908"/>
            <a:chExt cx="365300" cy="398929"/>
          </a:xfrm>
        </p:grpSpPr>
        <p:sp>
          <p:nvSpPr>
            <p:cNvPr id="429" name="Forma livre: Forma 428">
              <a:extLst>
                <a:ext uri="{FF2B5EF4-FFF2-40B4-BE49-F238E27FC236}">
                  <a16:creationId xmlns:a16="http://schemas.microsoft.com/office/drawing/2014/main" id="{1F30FD62-4884-0E04-5A05-8AC97A9215E2}"/>
                </a:ext>
              </a:extLst>
            </p:cNvPr>
            <p:cNvSpPr/>
            <p:nvPr/>
          </p:nvSpPr>
          <p:spPr>
            <a:xfrm>
              <a:off x="6000092" y="1418606"/>
              <a:ext cx="84058" cy="286120"/>
            </a:xfrm>
            <a:custGeom>
              <a:avLst/>
              <a:gdLst>
                <a:gd name="connsiteX0" fmla="*/ 51595 w 84058"/>
                <a:gd name="connsiteY0" fmla="*/ 0 h 286120"/>
                <a:gd name="connsiteX1" fmla="*/ 35266 w 84058"/>
                <a:gd name="connsiteY1" fmla="*/ 61674 h 286120"/>
                <a:gd name="connsiteX2" fmla="*/ 28760 w 84058"/>
                <a:gd name="connsiteY2" fmla="*/ 193415 h 286120"/>
                <a:gd name="connsiteX3" fmla="*/ 84059 w 84058"/>
                <a:gd name="connsiteY3" fmla="*/ 286121 h 2861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4058" h="286120">
                  <a:moveTo>
                    <a:pt x="51595" y="0"/>
                  </a:moveTo>
                  <a:cubicBezTo>
                    <a:pt x="37868" y="7872"/>
                    <a:pt x="26028" y="24852"/>
                    <a:pt x="35266" y="61674"/>
                  </a:cubicBezTo>
                  <a:cubicBezTo>
                    <a:pt x="35266" y="61674"/>
                    <a:pt x="-39549" y="126731"/>
                    <a:pt x="28760" y="193415"/>
                  </a:cubicBezTo>
                  <a:cubicBezTo>
                    <a:pt x="28760" y="193415"/>
                    <a:pt x="9243" y="281242"/>
                    <a:pt x="84059" y="286121"/>
                  </a:cubicBezTo>
                </a:path>
              </a:pathLst>
            </a:custGeom>
            <a:noFill/>
            <a:ln w="19050" cap="sq">
              <a:solidFill>
                <a:schemeClr val="tx1"/>
              </a:solidFill>
              <a:prstDash val="solid"/>
              <a:miter lim="800000"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430" name="Gráfico 32">
              <a:extLst>
                <a:ext uri="{FF2B5EF4-FFF2-40B4-BE49-F238E27FC236}">
                  <a16:creationId xmlns:a16="http://schemas.microsoft.com/office/drawing/2014/main" id="{835CD064-6908-D4D9-7377-C2A3EFF740A5}"/>
                </a:ext>
              </a:extLst>
            </p:cNvPr>
            <p:cNvGrpSpPr/>
            <p:nvPr/>
          </p:nvGrpSpPr>
          <p:grpSpPr>
            <a:xfrm>
              <a:off x="6061121" y="1359924"/>
              <a:ext cx="128487" cy="396366"/>
              <a:chOff x="6061121" y="1359924"/>
              <a:chExt cx="128487" cy="396366"/>
            </a:xfrm>
            <a:noFill/>
          </p:grpSpPr>
          <p:sp>
            <p:nvSpPr>
              <p:cNvPr id="445" name="Forma livre: Forma 444">
                <a:extLst>
                  <a:ext uri="{FF2B5EF4-FFF2-40B4-BE49-F238E27FC236}">
                    <a16:creationId xmlns:a16="http://schemas.microsoft.com/office/drawing/2014/main" id="{81E4529A-D99D-2FD1-AF00-4CCC7FD7C9E4}"/>
                  </a:ext>
                </a:extLst>
              </p:cNvPr>
              <p:cNvSpPr/>
              <p:nvPr/>
            </p:nvSpPr>
            <p:spPr>
              <a:xfrm>
                <a:off x="6083891" y="1359924"/>
                <a:ext cx="105717" cy="396366"/>
              </a:xfrm>
              <a:custGeom>
                <a:avLst/>
                <a:gdLst>
                  <a:gd name="connsiteX0" fmla="*/ 52891 w 105717"/>
                  <a:gd name="connsiteY0" fmla="*/ 105718 h 396366"/>
                  <a:gd name="connsiteX1" fmla="*/ 0 w 105717"/>
                  <a:gd name="connsiteY1" fmla="*/ 52891 h 396366"/>
                  <a:gd name="connsiteX2" fmla="*/ 52891 w 105717"/>
                  <a:gd name="connsiteY2" fmla="*/ 0 h 396366"/>
                  <a:gd name="connsiteX3" fmla="*/ 105718 w 105717"/>
                  <a:gd name="connsiteY3" fmla="*/ 52826 h 396366"/>
                  <a:gd name="connsiteX4" fmla="*/ 105718 w 105717"/>
                  <a:gd name="connsiteY4" fmla="*/ 346884 h 396366"/>
                  <a:gd name="connsiteX5" fmla="*/ 80606 w 105717"/>
                  <a:gd name="connsiteY5" fmla="*/ 388911 h 396366"/>
                  <a:gd name="connsiteX6" fmla="*/ 9238 w 105717"/>
                  <a:gd name="connsiteY6" fmla="*/ 371150 h 396366"/>
                  <a:gd name="connsiteX7" fmla="*/ 15484 w 105717"/>
                  <a:gd name="connsiteY7" fmla="*/ 309216 h 396366"/>
                  <a:gd name="connsiteX8" fmla="*/ 45019 w 105717"/>
                  <a:gd name="connsiteY8" fmla="*/ 277078 h 3963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05717" h="396366">
                    <a:moveTo>
                      <a:pt x="52891" y="105718"/>
                    </a:moveTo>
                    <a:cubicBezTo>
                      <a:pt x="23681" y="105718"/>
                      <a:pt x="0" y="82037"/>
                      <a:pt x="0" y="52891"/>
                    </a:cubicBezTo>
                    <a:cubicBezTo>
                      <a:pt x="0" y="23746"/>
                      <a:pt x="23681" y="0"/>
                      <a:pt x="52891" y="0"/>
                    </a:cubicBezTo>
                    <a:cubicBezTo>
                      <a:pt x="82102" y="0"/>
                      <a:pt x="105718" y="23681"/>
                      <a:pt x="105718" y="52826"/>
                    </a:cubicBezTo>
                    <a:lnTo>
                      <a:pt x="105718" y="346884"/>
                    </a:lnTo>
                    <a:cubicBezTo>
                      <a:pt x="105718" y="364580"/>
                      <a:pt x="96414" y="379413"/>
                      <a:pt x="80606" y="388911"/>
                    </a:cubicBezTo>
                    <a:cubicBezTo>
                      <a:pt x="55949" y="403744"/>
                      <a:pt x="24006" y="395742"/>
                      <a:pt x="9238" y="371150"/>
                    </a:cubicBezTo>
                    <a:cubicBezTo>
                      <a:pt x="-2928" y="350918"/>
                      <a:pt x="260" y="325741"/>
                      <a:pt x="15484" y="309216"/>
                    </a:cubicBezTo>
                    <a:lnTo>
                      <a:pt x="45019" y="277078"/>
                    </a:lnTo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46" name="Forma livre: Forma 445">
                <a:extLst>
                  <a:ext uri="{FF2B5EF4-FFF2-40B4-BE49-F238E27FC236}">
                    <a16:creationId xmlns:a16="http://schemas.microsoft.com/office/drawing/2014/main" id="{65DBAEF5-99D9-2E08-536B-5DA26BC288BB}"/>
                  </a:ext>
                </a:extLst>
              </p:cNvPr>
              <p:cNvSpPr/>
              <p:nvPr/>
            </p:nvSpPr>
            <p:spPr>
              <a:xfrm>
                <a:off x="6144784" y="1383865"/>
                <a:ext cx="41563" cy="38963"/>
              </a:xfrm>
              <a:custGeom>
                <a:avLst/>
                <a:gdLst>
                  <a:gd name="connsiteX0" fmla="*/ 36172 w 41563"/>
                  <a:gd name="connsiteY0" fmla="*/ 0 h 38963"/>
                  <a:gd name="connsiteX1" fmla="*/ 39425 w 41563"/>
                  <a:gd name="connsiteY1" fmla="*/ 24266 h 38963"/>
                  <a:gd name="connsiteX2" fmla="*/ 36432 w 41563"/>
                  <a:gd name="connsiteY2" fmla="*/ 29080 h 38963"/>
                  <a:gd name="connsiteX3" fmla="*/ 0 w 41563"/>
                  <a:gd name="connsiteY3" fmla="*/ 33439 h 389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563" h="38963">
                    <a:moveTo>
                      <a:pt x="36172" y="0"/>
                    </a:moveTo>
                    <a:cubicBezTo>
                      <a:pt x="41571" y="7547"/>
                      <a:pt x="43393" y="16004"/>
                      <a:pt x="39425" y="24266"/>
                    </a:cubicBezTo>
                    <a:cubicBezTo>
                      <a:pt x="38644" y="25893"/>
                      <a:pt x="37603" y="27519"/>
                      <a:pt x="36432" y="29080"/>
                    </a:cubicBezTo>
                    <a:cubicBezTo>
                      <a:pt x="27584" y="40270"/>
                      <a:pt x="11190" y="42287"/>
                      <a:pt x="0" y="33439"/>
                    </a:cubicBezTo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47" name="Forma livre: Forma 446">
                <a:extLst>
                  <a:ext uri="{FF2B5EF4-FFF2-40B4-BE49-F238E27FC236}">
                    <a16:creationId xmlns:a16="http://schemas.microsoft.com/office/drawing/2014/main" id="{B8FAB53E-12A2-A31E-59D9-72D20A78471C}"/>
                  </a:ext>
                </a:extLst>
              </p:cNvPr>
              <p:cNvSpPr/>
              <p:nvPr/>
            </p:nvSpPr>
            <p:spPr>
              <a:xfrm>
                <a:off x="6081487" y="1460806"/>
                <a:ext cx="34217" cy="54474"/>
              </a:xfrm>
              <a:custGeom>
                <a:avLst/>
                <a:gdLst>
                  <a:gd name="connsiteX0" fmla="*/ 21076 w 34217"/>
                  <a:gd name="connsiteY0" fmla="*/ 54475 h 54474"/>
                  <a:gd name="connsiteX1" fmla="*/ 778 w 34217"/>
                  <a:gd name="connsiteY1" fmla="*/ 21035 h 54474"/>
                  <a:gd name="connsiteX2" fmla="*/ 34217 w 34217"/>
                  <a:gd name="connsiteY2" fmla="*/ 803 h 544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4217" h="54474">
                    <a:moveTo>
                      <a:pt x="21076" y="54475"/>
                    </a:moveTo>
                    <a:cubicBezTo>
                      <a:pt x="6308" y="50832"/>
                      <a:pt x="-2800" y="35803"/>
                      <a:pt x="778" y="21035"/>
                    </a:cubicBezTo>
                    <a:cubicBezTo>
                      <a:pt x="4421" y="6267"/>
                      <a:pt x="19449" y="-2841"/>
                      <a:pt x="34217" y="803"/>
                    </a:cubicBezTo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48" name="Forma livre: Forma 447">
                <a:extLst>
                  <a:ext uri="{FF2B5EF4-FFF2-40B4-BE49-F238E27FC236}">
                    <a16:creationId xmlns:a16="http://schemas.microsoft.com/office/drawing/2014/main" id="{D06ECDB4-DEC4-EE24-A1B1-9FA0B8AE8215}"/>
                  </a:ext>
                </a:extLst>
              </p:cNvPr>
              <p:cNvSpPr/>
              <p:nvPr/>
            </p:nvSpPr>
            <p:spPr>
              <a:xfrm>
                <a:off x="6073547" y="1527543"/>
                <a:ext cx="114760" cy="72506"/>
              </a:xfrm>
              <a:custGeom>
                <a:avLst/>
                <a:gdLst>
                  <a:gd name="connsiteX0" fmla="*/ 114760 w 114760"/>
                  <a:gd name="connsiteY0" fmla="*/ 7254 h 72506"/>
                  <a:gd name="connsiteX1" fmla="*/ 73905 w 114760"/>
                  <a:gd name="connsiteY1" fmla="*/ 8881 h 72506"/>
                  <a:gd name="connsiteX2" fmla="*/ 0 w 114760"/>
                  <a:gd name="connsiteY2" fmla="*/ 72506 h 725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14760" h="72506">
                    <a:moveTo>
                      <a:pt x="114760" y="7254"/>
                    </a:moveTo>
                    <a:cubicBezTo>
                      <a:pt x="103375" y="-2830"/>
                      <a:pt x="83989" y="-2504"/>
                      <a:pt x="73905" y="8881"/>
                    </a:cubicBezTo>
                    <a:cubicBezTo>
                      <a:pt x="73905" y="8881"/>
                      <a:pt x="31488" y="72506"/>
                      <a:pt x="0" y="72506"/>
                    </a:cubicBezTo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49" name="Forma livre: Forma 448">
                <a:extLst>
                  <a:ext uri="{FF2B5EF4-FFF2-40B4-BE49-F238E27FC236}">
                    <a16:creationId xmlns:a16="http://schemas.microsoft.com/office/drawing/2014/main" id="{EC55257B-ADCD-BDD0-010A-10B2752E1AD3}"/>
                  </a:ext>
                </a:extLst>
              </p:cNvPr>
              <p:cNvSpPr/>
              <p:nvPr/>
            </p:nvSpPr>
            <p:spPr>
              <a:xfrm>
                <a:off x="6079857" y="1646956"/>
                <a:ext cx="29405" cy="9823"/>
              </a:xfrm>
              <a:custGeom>
                <a:avLst/>
                <a:gdLst>
                  <a:gd name="connsiteX0" fmla="*/ 0 w 29405"/>
                  <a:gd name="connsiteY0" fmla="*/ 0 h 9823"/>
                  <a:gd name="connsiteX1" fmla="*/ 29406 w 29405"/>
                  <a:gd name="connsiteY1" fmla="*/ 9824 h 98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9405" h="9823">
                    <a:moveTo>
                      <a:pt x="0" y="0"/>
                    </a:moveTo>
                    <a:lnTo>
                      <a:pt x="29406" y="9824"/>
                    </a:lnTo>
                  </a:path>
                </a:pathLst>
              </a:custGeom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50" name="Forma livre: Forma 449">
                <a:extLst>
                  <a:ext uri="{FF2B5EF4-FFF2-40B4-BE49-F238E27FC236}">
                    <a16:creationId xmlns:a16="http://schemas.microsoft.com/office/drawing/2014/main" id="{9DA0D5A9-5BFC-A697-2BE1-BC1E523CCCCF}"/>
                  </a:ext>
                </a:extLst>
              </p:cNvPr>
              <p:cNvSpPr/>
              <p:nvPr/>
            </p:nvSpPr>
            <p:spPr>
              <a:xfrm>
                <a:off x="6061121" y="1545272"/>
                <a:ext cx="47166" cy="34154"/>
              </a:xfrm>
              <a:custGeom>
                <a:avLst/>
                <a:gdLst>
                  <a:gd name="connsiteX0" fmla="*/ 0 w 47166"/>
                  <a:gd name="connsiteY0" fmla="*/ 0 h 34154"/>
                  <a:gd name="connsiteX1" fmla="*/ 47166 w 47166"/>
                  <a:gd name="connsiteY1" fmla="*/ 34155 h 341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166" h="34154">
                    <a:moveTo>
                      <a:pt x="0" y="0"/>
                    </a:moveTo>
                    <a:cubicBezTo>
                      <a:pt x="0" y="0"/>
                      <a:pt x="27649" y="13011"/>
                      <a:pt x="47166" y="34155"/>
                    </a:cubicBezTo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431" name="Gráfico 32">
              <a:extLst>
                <a:ext uri="{FF2B5EF4-FFF2-40B4-BE49-F238E27FC236}">
                  <a16:creationId xmlns:a16="http://schemas.microsoft.com/office/drawing/2014/main" id="{A313A4E8-A7FB-0A23-C778-655CA5904877}"/>
                </a:ext>
              </a:extLst>
            </p:cNvPr>
            <p:cNvGrpSpPr/>
            <p:nvPr/>
          </p:nvGrpSpPr>
          <p:grpSpPr>
            <a:xfrm>
              <a:off x="6191625" y="1599725"/>
              <a:ext cx="173767" cy="157112"/>
              <a:chOff x="6191625" y="1599725"/>
              <a:chExt cx="173767" cy="157112"/>
            </a:xfrm>
            <a:noFill/>
          </p:grpSpPr>
          <p:sp>
            <p:nvSpPr>
              <p:cNvPr id="441" name="Forma livre: Forma 440">
                <a:extLst>
                  <a:ext uri="{FF2B5EF4-FFF2-40B4-BE49-F238E27FC236}">
                    <a16:creationId xmlns:a16="http://schemas.microsoft.com/office/drawing/2014/main" id="{F3333C2A-99F0-5360-C3C6-71D39F850313}"/>
                  </a:ext>
                </a:extLst>
              </p:cNvPr>
              <p:cNvSpPr/>
              <p:nvPr/>
            </p:nvSpPr>
            <p:spPr>
              <a:xfrm>
                <a:off x="6310094" y="1621974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42" name="Forma livre: Forma 441">
                <a:extLst>
                  <a:ext uri="{FF2B5EF4-FFF2-40B4-BE49-F238E27FC236}">
                    <a16:creationId xmlns:a16="http://schemas.microsoft.com/office/drawing/2014/main" id="{9D5A1173-3256-2E36-E0BC-230386E22F88}"/>
                  </a:ext>
                </a:extLst>
              </p:cNvPr>
              <p:cNvSpPr/>
              <p:nvPr/>
            </p:nvSpPr>
            <p:spPr>
              <a:xfrm>
                <a:off x="6191625" y="1599725"/>
                <a:ext cx="118078" cy="49898"/>
              </a:xfrm>
              <a:custGeom>
                <a:avLst/>
                <a:gdLst>
                  <a:gd name="connsiteX0" fmla="*/ 0 w 118078"/>
                  <a:gd name="connsiteY0" fmla="*/ 0 h 49898"/>
                  <a:gd name="connsiteX1" fmla="*/ 37343 w 118078"/>
                  <a:gd name="connsiteY1" fmla="*/ 0 h 49898"/>
                  <a:gd name="connsiteX2" fmla="*/ 87176 w 118078"/>
                  <a:gd name="connsiteY2" fmla="*/ 49899 h 49898"/>
                  <a:gd name="connsiteX3" fmla="*/ 118078 w 118078"/>
                  <a:gd name="connsiteY3" fmla="*/ 49899 h 49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8078" h="49898">
                    <a:moveTo>
                      <a:pt x="0" y="0"/>
                    </a:moveTo>
                    <a:lnTo>
                      <a:pt x="37343" y="0"/>
                    </a:lnTo>
                    <a:lnTo>
                      <a:pt x="87176" y="49899"/>
                    </a:lnTo>
                    <a:lnTo>
                      <a:pt x="118078" y="49899"/>
                    </a:lnTo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43" name="Forma livre: Forma 442">
                <a:extLst>
                  <a:ext uri="{FF2B5EF4-FFF2-40B4-BE49-F238E27FC236}">
                    <a16:creationId xmlns:a16="http://schemas.microsoft.com/office/drawing/2014/main" id="{17C858D7-98DF-2BCB-9F5F-3D8DCCDCC0BD}"/>
                  </a:ext>
                </a:extLst>
              </p:cNvPr>
              <p:cNvSpPr/>
              <p:nvPr/>
            </p:nvSpPr>
            <p:spPr>
              <a:xfrm>
                <a:off x="6191625" y="1665367"/>
                <a:ext cx="81906" cy="44108"/>
              </a:xfrm>
              <a:custGeom>
                <a:avLst/>
                <a:gdLst>
                  <a:gd name="connsiteX0" fmla="*/ 0 w 81906"/>
                  <a:gd name="connsiteY0" fmla="*/ 0 h 44108"/>
                  <a:gd name="connsiteX1" fmla="*/ 37343 w 81906"/>
                  <a:gd name="connsiteY1" fmla="*/ 0 h 44108"/>
                  <a:gd name="connsiteX2" fmla="*/ 81907 w 81906"/>
                  <a:gd name="connsiteY2" fmla="*/ 44109 h 441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1906" h="44108">
                    <a:moveTo>
                      <a:pt x="0" y="0"/>
                    </a:moveTo>
                    <a:lnTo>
                      <a:pt x="37343" y="0"/>
                    </a:lnTo>
                    <a:lnTo>
                      <a:pt x="81907" y="44109"/>
                    </a:lnTo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44" name="Forma livre: Forma 443">
                <a:extLst>
                  <a:ext uri="{FF2B5EF4-FFF2-40B4-BE49-F238E27FC236}">
                    <a16:creationId xmlns:a16="http://schemas.microsoft.com/office/drawing/2014/main" id="{09D32E49-056D-3E0A-BB59-6BE6F3A4C1E2}"/>
                  </a:ext>
                </a:extLst>
              </p:cNvPr>
              <p:cNvSpPr/>
              <p:nvPr/>
            </p:nvSpPr>
            <p:spPr>
              <a:xfrm>
                <a:off x="6265075" y="1701539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432" name="Gráfico 32">
              <a:extLst>
                <a:ext uri="{FF2B5EF4-FFF2-40B4-BE49-F238E27FC236}">
                  <a16:creationId xmlns:a16="http://schemas.microsoft.com/office/drawing/2014/main" id="{04B850FF-49A0-33B1-2E88-7411EBDF696B}"/>
                </a:ext>
              </a:extLst>
            </p:cNvPr>
            <p:cNvGrpSpPr/>
            <p:nvPr/>
          </p:nvGrpSpPr>
          <p:grpSpPr>
            <a:xfrm>
              <a:off x="6191625" y="1357908"/>
              <a:ext cx="173767" cy="157112"/>
              <a:chOff x="6191625" y="1357908"/>
              <a:chExt cx="173767" cy="157112"/>
            </a:xfrm>
            <a:noFill/>
          </p:grpSpPr>
          <p:sp>
            <p:nvSpPr>
              <p:cNvPr id="437" name="Forma livre: Forma 436">
                <a:extLst>
                  <a:ext uri="{FF2B5EF4-FFF2-40B4-BE49-F238E27FC236}">
                    <a16:creationId xmlns:a16="http://schemas.microsoft.com/office/drawing/2014/main" id="{4EFB1299-80BB-FD42-28DB-A6EEB4C7F8FC}"/>
                  </a:ext>
                </a:extLst>
              </p:cNvPr>
              <p:cNvSpPr/>
              <p:nvPr/>
            </p:nvSpPr>
            <p:spPr>
              <a:xfrm>
                <a:off x="6310094" y="1437472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0 h 55298"/>
                  <a:gd name="connsiteX2" fmla="*/ 0 w 55298"/>
                  <a:gd name="connsiteY2" fmla="*/ 27649 h 55298"/>
                  <a:gd name="connsiteX3" fmla="*/ 27649 w 55298"/>
                  <a:gd name="connsiteY3" fmla="*/ 55298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12361"/>
                      <a:pt x="42938" y="0"/>
                      <a:pt x="27649" y="0"/>
                    </a:cubicBezTo>
                    <a:cubicBezTo>
                      <a:pt x="12361" y="0"/>
                      <a:pt x="0" y="12361"/>
                      <a:pt x="0" y="27649"/>
                    </a:cubicBezTo>
                    <a:cubicBezTo>
                      <a:pt x="0" y="42938"/>
                      <a:pt x="12361" y="55298"/>
                      <a:pt x="27649" y="55298"/>
                    </a:cubicBezTo>
                    <a:cubicBezTo>
                      <a:pt x="42938" y="55298"/>
                      <a:pt x="55298" y="42938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38" name="Forma livre: Forma 437">
                <a:extLst>
                  <a:ext uri="{FF2B5EF4-FFF2-40B4-BE49-F238E27FC236}">
                    <a16:creationId xmlns:a16="http://schemas.microsoft.com/office/drawing/2014/main" id="{1A3380F6-B827-B447-892F-3548227E6950}"/>
                  </a:ext>
                </a:extLst>
              </p:cNvPr>
              <p:cNvSpPr/>
              <p:nvPr/>
            </p:nvSpPr>
            <p:spPr>
              <a:xfrm>
                <a:off x="6191625" y="1465122"/>
                <a:ext cx="118468" cy="49898"/>
              </a:xfrm>
              <a:custGeom>
                <a:avLst/>
                <a:gdLst>
                  <a:gd name="connsiteX0" fmla="*/ 0 w 118468"/>
                  <a:gd name="connsiteY0" fmla="*/ 49899 h 49898"/>
                  <a:gd name="connsiteX1" fmla="*/ 37343 w 118468"/>
                  <a:gd name="connsiteY1" fmla="*/ 49899 h 49898"/>
                  <a:gd name="connsiteX2" fmla="*/ 87176 w 118468"/>
                  <a:gd name="connsiteY2" fmla="*/ 0 h 49898"/>
                  <a:gd name="connsiteX3" fmla="*/ 118469 w 118468"/>
                  <a:gd name="connsiteY3" fmla="*/ 0 h 49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8468" h="49898">
                    <a:moveTo>
                      <a:pt x="0" y="49899"/>
                    </a:moveTo>
                    <a:lnTo>
                      <a:pt x="37343" y="49899"/>
                    </a:lnTo>
                    <a:lnTo>
                      <a:pt x="87176" y="0"/>
                    </a:lnTo>
                    <a:lnTo>
                      <a:pt x="118469" y="0"/>
                    </a:lnTo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39" name="Forma livre: Forma 438">
                <a:extLst>
                  <a:ext uri="{FF2B5EF4-FFF2-40B4-BE49-F238E27FC236}">
                    <a16:creationId xmlns:a16="http://schemas.microsoft.com/office/drawing/2014/main" id="{8883EE00-AEFF-04AC-476D-3046763E1CCD}"/>
                  </a:ext>
                </a:extLst>
              </p:cNvPr>
              <p:cNvSpPr/>
              <p:nvPr/>
            </p:nvSpPr>
            <p:spPr>
              <a:xfrm>
                <a:off x="6191625" y="1405269"/>
                <a:ext cx="81451" cy="44043"/>
              </a:xfrm>
              <a:custGeom>
                <a:avLst/>
                <a:gdLst>
                  <a:gd name="connsiteX0" fmla="*/ 0 w 81451"/>
                  <a:gd name="connsiteY0" fmla="*/ 44044 h 44043"/>
                  <a:gd name="connsiteX1" fmla="*/ 37343 w 81451"/>
                  <a:gd name="connsiteY1" fmla="*/ 44044 h 44043"/>
                  <a:gd name="connsiteX2" fmla="*/ 81451 w 81451"/>
                  <a:gd name="connsiteY2" fmla="*/ 0 h 440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1451" h="44043">
                    <a:moveTo>
                      <a:pt x="0" y="44044"/>
                    </a:moveTo>
                    <a:lnTo>
                      <a:pt x="37343" y="44044"/>
                    </a:lnTo>
                    <a:lnTo>
                      <a:pt x="81451" y="0"/>
                    </a:lnTo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40" name="Forma livre: Forma 439">
                <a:extLst>
                  <a:ext uri="{FF2B5EF4-FFF2-40B4-BE49-F238E27FC236}">
                    <a16:creationId xmlns:a16="http://schemas.microsoft.com/office/drawing/2014/main" id="{5BAE0520-E284-EF70-F790-91F07FA9B34B}"/>
                  </a:ext>
                </a:extLst>
              </p:cNvPr>
              <p:cNvSpPr/>
              <p:nvPr/>
            </p:nvSpPr>
            <p:spPr>
              <a:xfrm>
                <a:off x="6265075" y="1357908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0 h 55298"/>
                  <a:gd name="connsiteX2" fmla="*/ 0 w 55298"/>
                  <a:gd name="connsiteY2" fmla="*/ 27649 h 55298"/>
                  <a:gd name="connsiteX3" fmla="*/ 27649 w 55298"/>
                  <a:gd name="connsiteY3" fmla="*/ 55298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12361"/>
                      <a:pt x="42938" y="0"/>
                      <a:pt x="27649" y="0"/>
                    </a:cubicBezTo>
                    <a:cubicBezTo>
                      <a:pt x="12361" y="0"/>
                      <a:pt x="0" y="12361"/>
                      <a:pt x="0" y="27649"/>
                    </a:cubicBezTo>
                    <a:cubicBezTo>
                      <a:pt x="0" y="42938"/>
                      <a:pt x="12361" y="55298"/>
                      <a:pt x="27649" y="55298"/>
                    </a:cubicBezTo>
                    <a:cubicBezTo>
                      <a:pt x="42938" y="55298"/>
                      <a:pt x="55298" y="42938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433" name="Gráfico 32">
              <a:extLst>
                <a:ext uri="{FF2B5EF4-FFF2-40B4-BE49-F238E27FC236}">
                  <a16:creationId xmlns:a16="http://schemas.microsoft.com/office/drawing/2014/main" id="{00E0D74A-F0FC-FA17-4BD3-9CB23B3C8A25}"/>
                </a:ext>
              </a:extLst>
            </p:cNvPr>
            <p:cNvGrpSpPr/>
            <p:nvPr/>
          </p:nvGrpSpPr>
          <p:grpSpPr>
            <a:xfrm>
              <a:off x="6190910" y="1529723"/>
              <a:ext cx="123673" cy="55298"/>
              <a:chOff x="6190910" y="1529723"/>
              <a:chExt cx="123673" cy="55298"/>
            </a:xfrm>
            <a:noFill/>
          </p:grpSpPr>
          <p:sp>
            <p:nvSpPr>
              <p:cNvPr id="435" name="Forma livre: Forma 434">
                <a:extLst>
                  <a:ext uri="{FF2B5EF4-FFF2-40B4-BE49-F238E27FC236}">
                    <a16:creationId xmlns:a16="http://schemas.microsoft.com/office/drawing/2014/main" id="{EF16BC14-5A79-D78B-99BC-9A3C9F759727}"/>
                  </a:ext>
                </a:extLst>
              </p:cNvPr>
              <p:cNvSpPr/>
              <p:nvPr/>
            </p:nvSpPr>
            <p:spPr>
              <a:xfrm>
                <a:off x="6190910" y="1557372"/>
                <a:ext cx="68765" cy="6505"/>
              </a:xfrm>
              <a:custGeom>
                <a:avLst/>
                <a:gdLst>
                  <a:gd name="connsiteX0" fmla="*/ 0 w 68765"/>
                  <a:gd name="connsiteY0" fmla="*/ 0 h 6505"/>
                  <a:gd name="connsiteX1" fmla="*/ 68765 w 68765"/>
                  <a:gd name="connsiteY1" fmla="*/ 0 h 65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8765" h="6505">
                    <a:moveTo>
                      <a:pt x="0" y="0"/>
                    </a:moveTo>
                    <a:lnTo>
                      <a:pt x="68765" y="0"/>
                    </a:lnTo>
                  </a:path>
                </a:pathLst>
              </a:custGeom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36" name="Forma livre: Forma 435">
                <a:extLst>
                  <a:ext uri="{FF2B5EF4-FFF2-40B4-BE49-F238E27FC236}">
                    <a16:creationId xmlns:a16="http://schemas.microsoft.com/office/drawing/2014/main" id="{B6CF5F2D-7E19-7702-9FA7-AB60BC4D7BBD}"/>
                  </a:ext>
                </a:extLst>
              </p:cNvPr>
              <p:cNvSpPr/>
              <p:nvPr/>
            </p:nvSpPr>
            <p:spPr>
              <a:xfrm>
                <a:off x="6259285" y="1529723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434" name="Forma livre: Forma 433">
              <a:extLst>
                <a:ext uri="{FF2B5EF4-FFF2-40B4-BE49-F238E27FC236}">
                  <a16:creationId xmlns:a16="http://schemas.microsoft.com/office/drawing/2014/main" id="{BA4C8656-937B-587F-78B6-89CBE16DD049}"/>
                </a:ext>
              </a:extLst>
            </p:cNvPr>
            <p:cNvSpPr/>
            <p:nvPr/>
          </p:nvSpPr>
          <p:spPr>
            <a:xfrm>
              <a:off x="6152201" y="1686285"/>
              <a:ext cx="37362" cy="20848"/>
            </a:xfrm>
            <a:custGeom>
              <a:avLst/>
              <a:gdLst>
                <a:gd name="connsiteX0" fmla="*/ 0 w 37362"/>
                <a:gd name="connsiteY0" fmla="*/ 10505 h 20848"/>
                <a:gd name="connsiteX1" fmla="*/ 27064 w 37362"/>
                <a:gd name="connsiteY1" fmla="*/ 2373 h 20848"/>
                <a:gd name="connsiteX2" fmla="*/ 37343 w 37362"/>
                <a:gd name="connsiteY2" fmla="*/ 20849 h 20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7362" h="20848">
                  <a:moveTo>
                    <a:pt x="0" y="10505"/>
                  </a:moveTo>
                  <a:cubicBezTo>
                    <a:pt x="5205" y="811"/>
                    <a:pt x="17435" y="-2832"/>
                    <a:pt x="27064" y="2373"/>
                  </a:cubicBezTo>
                  <a:cubicBezTo>
                    <a:pt x="34025" y="6081"/>
                    <a:pt x="37668" y="13432"/>
                    <a:pt x="37343" y="20849"/>
                  </a:cubicBezTo>
                </a:path>
              </a:pathLst>
            </a:custGeom>
            <a:noFill/>
            <a:ln w="19050" cap="sq">
              <a:solidFill>
                <a:schemeClr val="tx1"/>
              </a:solidFill>
              <a:prstDash val="solid"/>
              <a:miter lim="800000"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451" name="Agrupar 450">
            <a:extLst>
              <a:ext uri="{FF2B5EF4-FFF2-40B4-BE49-F238E27FC236}">
                <a16:creationId xmlns:a16="http://schemas.microsoft.com/office/drawing/2014/main" id="{09EE3309-818C-BA66-E9AF-EB8AA3A5A43C}"/>
              </a:ext>
            </a:extLst>
          </p:cNvPr>
          <p:cNvGrpSpPr/>
          <p:nvPr/>
        </p:nvGrpSpPr>
        <p:grpSpPr>
          <a:xfrm>
            <a:off x="7204788" y="5247550"/>
            <a:ext cx="325297" cy="355243"/>
            <a:chOff x="6000092" y="1357908"/>
            <a:chExt cx="365300" cy="398929"/>
          </a:xfrm>
        </p:grpSpPr>
        <p:sp>
          <p:nvSpPr>
            <p:cNvPr id="452" name="Forma livre: Forma 451">
              <a:extLst>
                <a:ext uri="{FF2B5EF4-FFF2-40B4-BE49-F238E27FC236}">
                  <a16:creationId xmlns:a16="http://schemas.microsoft.com/office/drawing/2014/main" id="{895B23E1-34BB-68E8-96B7-DF08C2F01EAA}"/>
                </a:ext>
              </a:extLst>
            </p:cNvPr>
            <p:cNvSpPr/>
            <p:nvPr/>
          </p:nvSpPr>
          <p:spPr>
            <a:xfrm>
              <a:off x="6000092" y="1418606"/>
              <a:ext cx="84058" cy="286120"/>
            </a:xfrm>
            <a:custGeom>
              <a:avLst/>
              <a:gdLst>
                <a:gd name="connsiteX0" fmla="*/ 51595 w 84058"/>
                <a:gd name="connsiteY0" fmla="*/ 0 h 286120"/>
                <a:gd name="connsiteX1" fmla="*/ 35266 w 84058"/>
                <a:gd name="connsiteY1" fmla="*/ 61674 h 286120"/>
                <a:gd name="connsiteX2" fmla="*/ 28760 w 84058"/>
                <a:gd name="connsiteY2" fmla="*/ 193415 h 286120"/>
                <a:gd name="connsiteX3" fmla="*/ 84059 w 84058"/>
                <a:gd name="connsiteY3" fmla="*/ 286121 h 2861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4058" h="286120">
                  <a:moveTo>
                    <a:pt x="51595" y="0"/>
                  </a:moveTo>
                  <a:cubicBezTo>
                    <a:pt x="37868" y="7872"/>
                    <a:pt x="26028" y="24852"/>
                    <a:pt x="35266" y="61674"/>
                  </a:cubicBezTo>
                  <a:cubicBezTo>
                    <a:pt x="35266" y="61674"/>
                    <a:pt x="-39549" y="126731"/>
                    <a:pt x="28760" y="193415"/>
                  </a:cubicBezTo>
                  <a:cubicBezTo>
                    <a:pt x="28760" y="193415"/>
                    <a:pt x="9243" y="281242"/>
                    <a:pt x="84059" y="286121"/>
                  </a:cubicBezTo>
                </a:path>
              </a:pathLst>
            </a:custGeom>
            <a:noFill/>
            <a:ln w="19050" cap="sq">
              <a:solidFill>
                <a:schemeClr val="tx1"/>
              </a:solidFill>
              <a:prstDash val="solid"/>
              <a:miter lim="800000"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453" name="Gráfico 32">
              <a:extLst>
                <a:ext uri="{FF2B5EF4-FFF2-40B4-BE49-F238E27FC236}">
                  <a16:creationId xmlns:a16="http://schemas.microsoft.com/office/drawing/2014/main" id="{DCCEB438-5D6B-01FC-3D11-E3B2649CE411}"/>
                </a:ext>
              </a:extLst>
            </p:cNvPr>
            <p:cNvGrpSpPr/>
            <p:nvPr/>
          </p:nvGrpSpPr>
          <p:grpSpPr>
            <a:xfrm>
              <a:off x="6061121" y="1359924"/>
              <a:ext cx="128487" cy="396366"/>
              <a:chOff x="6061121" y="1359924"/>
              <a:chExt cx="128487" cy="396366"/>
            </a:xfrm>
            <a:noFill/>
          </p:grpSpPr>
          <p:sp>
            <p:nvSpPr>
              <p:cNvPr id="468" name="Forma livre: Forma 467">
                <a:extLst>
                  <a:ext uri="{FF2B5EF4-FFF2-40B4-BE49-F238E27FC236}">
                    <a16:creationId xmlns:a16="http://schemas.microsoft.com/office/drawing/2014/main" id="{2C46ED83-5BB8-5C5E-834E-3AEF0BC47B71}"/>
                  </a:ext>
                </a:extLst>
              </p:cNvPr>
              <p:cNvSpPr/>
              <p:nvPr/>
            </p:nvSpPr>
            <p:spPr>
              <a:xfrm>
                <a:off x="6083891" y="1359924"/>
                <a:ext cx="105717" cy="396366"/>
              </a:xfrm>
              <a:custGeom>
                <a:avLst/>
                <a:gdLst>
                  <a:gd name="connsiteX0" fmla="*/ 52891 w 105717"/>
                  <a:gd name="connsiteY0" fmla="*/ 105718 h 396366"/>
                  <a:gd name="connsiteX1" fmla="*/ 0 w 105717"/>
                  <a:gd name="connsiteY1" fmla="*/ 52891 h 396366"/>
                  <a:gd name="connsiteX2" fmla="*/ 52891 w 105717"/>
                  <a:gd name="connsiteY2" fmla="*/ 0 h 396366"/>
                  <a:gd name="connsiteX3" fmla="*/ 105718 w 105717"/>
                  <a:gd name="connsiteY3" fmla="*/ 52826 h 396366"/>
                  <a:gd name="connsiteX4" fmla="*/ 105718 w 105717"/>
                  <a:gd name="connsiteY4" fmla="*/ 346884 h 396366"/>
                  <a:gd name="connsiteX5" fmla="*/ 80606 w 105717"/>
                  <a:gd name="connsiteY5" fmla="*/ 388911 h 396366"/>
                  <a:gd name="connsiteX6" fmla="*/ 9238 w 105717"/>
                  <a:gd name="connsiteY6" fmla="*/ 371150 h 396366"/>
                  <a:gd name="connsiteX7" fmla="*/ 15484 w 105717"/>
                  <a:gd name="connsiteY7" fmla="*/ 309216 h 396366"/>
                  <a:gd name="connsiteX8" fmla="*/ 45019 w 105717"/>
                  <a:gd name="connsiteY8" fmla="*/ 277078 h 3963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05717" h="396366">
                    <a:moveTo>
                      <a:pt x="52891" y="105718"/>
                    </a:moveTo>
                    <a:cubicBezTo>
                      <a:pt x="23681" y="105718"/>
                      <a:pt x="0" y="82037"/>
                      <a:pt x="0" y="52891"/>
                    </a:cubicBezTo>
                    <a:cubicBezTo>
                      <a:pt x="0" y="23746"/>
                      <a:pt x="23681" y="0"/>
                      <a:pt x="52891" y="0"/>
                    </a:cubicBezTo>
                    <a:cubicBezTo>
                      <a:pt x="82102" y="0"/>
                      <a:pt x="105718" y="23681"/>
                      <a:pt x="105718" y="52826"/>
                    </a:cubicBezTo>
                    <a:lnTo>
                      <a:pt x="105718" y="346884"/>
                    </a:lnTo>
                    <a:cubicBezTo>
                      <a:pt x="105718" y="364580"/>
                      <a:pt x="96414" y="379413"/>
                      <a:pt x="80606" y="388911"/>
                    </a:cubicBezTo>
                    <a:cubicBezTo>
                      <a:pt x="55949" y="403744"/>
                      <a:pt x="24006" y="395742"/>
                      <a:pt x="9238" y="371150"/>
                    </a:cubicBezTo>
                    <a:cubicBezTo>
                      <a:pt x="-2928" y="350918"/>
                      <a:pt x="260" y="325741"/>
                      <a:pt x="15484" y="309216"/>
                    </a:cubicBezTo>
                    <a:lnTo>
                      <a:pt x="45019" y="277078"/>
                    </a:lnTo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69" name="Forma livre: Forma 468">
                <a:extLst>
                  <a:ext uri="{FF2B5EF4-FFF2-40B4-BE49-F238E27FC236}">
                    <a16:creationId xmlns:a16="http://schemas.microsoft.com/office/drawing/2014/main" id="{48FCC4B2-A35F-DAE5-7E7C-204CC52BB26D}"/>
                  </a:ext>
                </a:extLst>
              </p:cNvPr>
              <p:cNvSpPr/>
              <p:nvPr/>
            </p:nvSpPr>
            <p:spPr>
              <a:xfrm>
                <a:off x="6144784" y="1383865"/>
                <a:ext cx="41563" cy="38963"/>
              </a:xfrm>
              <a:custGeom>
                <a:avLst/>
                <a:gdLst>
                  <a:gd name="connsiteX0" fmla="*/ 36172 w 41563"/>
                  <a:gd name="connsiteY0" fmla="*/ 0 h 38963"/>
                  <a:gd name="connsiteX1" fmla="*/ 39425 w 41563"/>
                  <a:gd name="connsiteY1" fmla="*/ 24266 h 38963"/>
                  <a:gd name="connsiteX2" fmla="*/ 36432 w 41563"/>
                  <a:gd name="connsiteY2" fmla="*/ 29080 h 38963"/>
                  <a:gd name="connsiteX3" fmla="*/ 0 w 41563"/>
                  <a:gd name="connsiteY3" fmla="*/ 33439 h 389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563" h="38963">
                    <a:moveTo>
                      <a:pt x="36172" y="0"/>
                    </a:moveTo>
                    <a:cubicBezTo>
                      <a:pt x="41571" y="7547"/>
                      <a:pt x="43393" y="16004"/>
                      <a:pt x="39425" y="24266"/>
                    </a:cubicBezTo>
                    <a:cubicBezTo>
                      <a:pt x="38644" y="25893"/>
                      <a:pt x="37603" y="27519"/>
                      <a:pt x="36432" y="29080"/>
                    </a:cubicBezTo>
                    <a:cubicBezTo>
                      <a:pt x="27584" y="40270"/>
                      <a:pt x="11190" y="42287"/>
                      <a:pt x="0" y="33439"/>
                    </a:cubicBezTo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70" name="Forma livre: Forma 469">
                <a:extLst>
                  <a:ext uri="{FF2B5EF4-FFF2-40B4-BE49-F238E27FC236}">
                    <a16:creationId xmlns:a16="http://schemas.microsoft.com/office/drawing/2014/main" id="{C4517FDD-AF30-C22C-D494-5F9F91EE46C2}"/>
                  </a:ext>
                </a:extLst>
              </p:cNvPr>
              <p:cNvSpPr/>
              <p:nvPr/>
            </p:nvSpPr>
            <p:spPr>
              <a:xfrm>
                <a:off x="6081487" y="1460806"/>
                <a:ext cx="34217" cy="54474"/>
              </a:xfrm>
              <a:custGeom>
                <a:avLst/>
                <a:gdLst>
                  <a:gd name="connsiteX0" fmla="*/ 21076 w 34217"/>
                  <a:gd name="connsiteY0" fmla="*/ 54475 h 54474"/>
                  <a:gd name="connsiteX1" fmla="*/ 778 w 34217"/>
                  <a:gd name="connsiteY1" fmla="*/ 21035 h 54474"/>
                  <a:gd name="connsiteX2" fmla="*/ 34217 w 34217"/>
                  <a:gd name="connsiteY2" fmla="*/ 803 h 544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4217" h="54474">
                    <a:moveTo>
                      <a:pt x="21076" y="54475"/>
                    </a:moveTo>
                    <a:cubicBezTo>
                      <a:pt x="6308" y="50832"/>
                      <a:pt x="-2800" y="35803"/>
                      <a:pt x="778" y="21035"/>
                    </a:cubicBezTo>
                    <a:cubicBezTo>
                      <a:pt x="4421" y="6267"/>
                      <a:pt x="19449" y="-2841"/>
                      <a:pt x="34217" y="803"/>
                    </a:cubicBezTo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71" name="Forma livre: Forma 470">
                <a:extLst>
                  <a:ext uri="{FF2B5EF4-FFF2-40B4-BE49-F238E27FC236}">
                    <a16:creationId xmlns:a16="http://schemas.microsoft.com/office/drawing/2014/main" id="{A1A3E643-C1DD-20E7-179A-F89652D6BD96}"/>
                  </a:ext>
                </a:extLst>
              </p:cNvPr>
              <p:cNvSpPr/>
              <p:nvPr/>
            </p:nvSpPr>
            <p:spPr>
              <a:xfrm>
                <a:off x="6073547" y="1527543"/>
                <a:ext cx="114760" cy="72506"/>
              </a:xfrm>
              <a:custGeom>
                <a:avLst/>
                <a:gdLst>
                  <a:gd name="connsiteX0" fmla="*/ 114760 w 114760"/>
                  <a:gd name="connsiteY0" fmla="*/ 7254 h 72506"/>
                  <a:gd name="connsiteX1" fmla="*/ 73905 w 114760"/>
                  <a:gd name="connsiteY1" fmla="*/ 8881 h 72506"/>
                  <a:gd name="connsiteX2" fmla="*/ 0 w 114760"/>
                  <a:gd name="connsiteY2" fmla="*/ 72506 h 725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14760" h="72506">
                    <a:moveTo>
                      <a:pt x="114760" y="7254"/>
                    </a:moveTo>
                    <a:cubicBezTo>
                      <a:pt x="103375" y="-2830"/>
                      <a:pt x="83989" y="-2504"/>
                      <a:pt x="73905" y="8881"/>
                    </a:cubicBezTo>
                    <a:cubicBezTo>
                      <a:pt x="73905" y="8881"/>
                      <a:pt x="31488" y="72506"/>
                      <a:pt x="0" y="72506"/>
                    </a:cubicBezTo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72" name="Forma livre: Forma 471">
                <a:extLst>
                  <a:ext uri="{FF2B5EF4-FFF2-40B4-BE49-F238E27FC236}">
                    <a16:creationId xmlns:a16="http://schemas.microsoft.com/office/drawing/2014/main" id="{49CB8420-A2A8-EED1-A80A-74DE5BB13CFD}"/>
                  </a:ext>
                </a:extLst>
              </p:cNvPr>
              <p:cNvSpPr/>
              <p:nvPr/>
            </p:nvSpPr>
            <p:spPr>
              <a:xfrm>
                <a:off x="6079857" y="1646956"/>
                <a:ext cx="29405" cy="9823"/>
              </a:xfrm>
              <a:custGeom>
                <a:avLst/>
                <a:gdLst>
                  <a:gd name="connsiteX0" fmla="*/ 0 w 29405"/>
                  <a:gd name="connsiteY0" fmla="*/ 0 h 9823"/>
                  <a:gd name="connsiteX1" fmla="*/ 29406 w 29405"/>
                  <a:gd name="connsiteY1" fmla="*/ 9824 h 98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9405" h="9823">
                    <a:moveTo>
                      <a:pt x="0" y="0"/>
                    </a:moveTo>
                    <a:lnTo>
                      <a:pt x="29406" y="9824"/>
                    </a:lnTo>
                  </a:path>
                </a:pathLst>
              </a:custGeom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73" name="Forma livre: Forma 472">
                <a:extLst>
                  <a:ext uri="{FF2B5EF4-FFF2-40B4-BE49-F238E27FC236}">
                    <a16:creationId xmlns:a16="http://schemas.microsoft.com/office/drawing/2014/main" id="{58EEA290-B3C2-8546-65D0-21B1521D60DC}"/>
                  </a:ext>
                </a:extLst>
              </p:cNvPr>
              <p:cNvSpPr/>
              <p:nvPr/>
            </p:nvSpPr>
            <p:spPr>
              <a:xfrm>
                <a:off x="6061121" y="1545272"/>
                <a:ext cx="47166" cy="34154"/>
              </a:xfrm>
              <a:custGeom>
                <a:avLst/>
                <a:gdLst>
                  <a:gd name="connsiteX0" fmla="*/ 0 w 47166"/>
                  <a:gd name="connsiteY0" fmla="*/ 0 h 34154"/>
                  <a:gd name="connsiteX1" fmla="*/ 47166 w 47166"/>
                  <a:gd name="connsiteY1" fmla="*/ 34155 h 341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166" h="34154">
                    <a:moveTo>
                      <a:pt x="0" y="0"/>
                    </a:moveTo>
                    <a:cubicBezTo>
                      <a:pt x="0" y="0"/>
                      <a:pt x="27649" y="13011"/>
                      <a:pt x="47166" y="34155"/>
                    </a:cubicBezTo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454" name="Gráfico 32">
              <a:extLst>
                <a:ext uri="{FF2B5EF4-FFF2-40B4-BE49-F238E27FC236}">
                  <a16:creationId xmlns:a16="http://schemas.microsoft.com/office/drawing/2014/main" id="{269C6EFB-35A0-0584-937A-6D07D33553B4}"/>
                </a:ext>
              </a:extLst>
            </p:cNvPr>
            <p:cNvGrpSpPr/>
            <p:nvPr/>
          </p:nvGrpSpPr>
          <p:grpSpPr>
            <a:xfrm>
              <a:off x="6191625" y="1599725"/>
              <a:ext cx="173767" cy="157112"/>
              <a:chOff x="6191625" y="1599725"/>
              <a:chExt cx="173767" cy="157112"/>
            </a:xfrm>
            <a:noFill/>
          </p:grpSpPr>
          <p:sp>
            <p:nvSpPr>
              <p:cNvPr id="464" name="Forma livre: Forma 463">
                <a:extLst>
                  <a:ext uri="{FF2B5EF4-FFF2-40B4-BE49-F238E27FC236}">
                    <a16:creationId xmlns:a16="http://schemas.microsoft.com/office/drawing/2014/main" id="{877D0E98-C4D5-CCAB-FE5B-07E6222BDDD5}"/>
                  </a:ext>
                </a:extLst>
              </p:cNvPr>
              <p:cNvSpPr/>
              <p:nvPr/>
            </p:nvSpPr>
            <p:spPr>
              <a:xfrm>
                <a:off x="6310094" y="1621974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65" name="Forma livre: Forma 464">
                <a:extLst>
                  <a:ext uri="{FF2B5EF4-FFF2-40B4-BE49-F238E27FC236}">
                    <a16:creationId xmlns:a16="http://schemas.microsoft.com/office/drawing/2014/main" id="{105B12D9-DD44-2EA6-F2D3-86DF7C4205C3}"/>
                  </a:ext>
                </a:extLst>
              </p:cNvPr>
              <p:cNvSpPr/>
              <p:nvPr/>
            </p:nvSpPr>
            <p:spPr>
              <a:xfrm>
                <a:off x="6191625" y="1599725"/>
                <a:ext cx="118078" cy="49898"/>
              </a:xfrm>
              <a:custGeom>
                <a:avLst/>
                <a:gdLst>
                  <a:gd name="connsiteX0" fmla="*/ 0 w 118078"/>
                  <a:gd name="connsiteY0" fmla="*/ 0 h 49898"/>
                  <a:gd name="connsiteX1" fmla="*/ 37343 w 118078"/>
                  <a:gd name="connsiteY1" fmla="*/ 0 h 49898"/>
                  <a:gd name="connsiteX2" fmla="*/ 87176 w 118078"/>
                  <a:gd name="connsiteY2" fmla="*/ 49899 h 49898"/>
                  <a:gd name="connsiteX3" fmla="*/ 118078 w 118078"/>
                  <a:gd name="connsiteY3" fmla="*/ 49899 h 49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8078" h="49898">
                    <a:moveTo>
                      <a:pt x="0" y="0"/>
                    </a:moveTo>
                    <a:lnTo>
                      <a:pt x="37343" y="0"/>
                    </a:lnTo>
                    <a:lnTo>
                      <a:pt x="87176" y="49899"/>
                    </a:lnTo>
                    <a:lnTo>
                      <a:pt x="118078" y="49899"/>
                    </a:lnTo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66" name="Forma livre: Forma 465">
                <a:extLst>
                  <a:ext uri="{FF2B5EF4-FFF2-40B4-BE49-F238E27FC236}">
                    <a16:creationId xmlns:a16="http://schemas.microsoft.com/office/drawing/2014/main" id="{31CBC2B8-BBFD-9A6E-F434-402030D80667}"/>
                  </a:ext>
                </a:extLst>
              </p:cNvPr>
              <p:cNvSpPr/>
              <p:nvPr/>
            </p:nvSpPr>
            <p:spPr>
              <a:xfrm>
                <a:off x="6191625" y="1665367"/>
                <a:ext cx="81906" cy="44108"/>
              </a:xfrm>
              <a:custGeom>
                <a:avLst/>
                <a:gdLst>
                  <a:gd name="connsiteX0" fmla="*/ 0 w 81906"/>
                  <a:gd name="connsiteY0" fmla="*/ 0 h 44108"/>
                  <a:gd name="connsiteX1" fmla="*/ 37343 w 81906"/>
                  <a:gd name="connsiteY1" fmla="*/ 0 h 44108"/>
                  <a:gd name="connsiteX2" fmla="*/ 81907 w 81906"/>
                  <a:gd name="connsiteY2" fmla="*/ 44109 h 441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1906" h="44108">
                    <a:moveTo>
                      <a:pt x="0" y="0"/>
                    </a:moveTo>
                    <a:lnTo>
                      <a:pt x="37343" y="0"/>
                    </a:lnTo>
                    <a:lnTo>
                      <a:pt x="81907" y="44109"/>
                    </a:lnTo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67" name="Forma livre: Forma 466">
                <a:extLst>
                  <a:ext uri="{FF2B5EF4-FFF2-40B4-BE49-F238E27FC236}">
                    <a16:creationId xmlns:a16="http://schemas.microsoft.com/office/drawing/2014/main" id="{DEC70916-F35A-8694-9569-43C1FEFD925F}"/>
                  </a:ext>
                </a:extLst>
              </p:cNvPr>
              <p:cNvSpPr/>
              <p:nvPr/>
            </p:nvSpPr>
            <p:spPr>
              <a:xfrm>
                <a:off x="6265075" y="1701539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455" name="Gráfico 32">
              <a:extLst>
                <a:ext uri="{FF2B5EF4-FFF2-40B4-BE49-F238E27FC236}">
                  <a16:creationId xmlns:a16="http://schemas.microsoft.com/office/drawing/2014/main" id="{91B5F071-F68C-9298-075E-26D0BEF649A0}"/>
                </a:ext>
              </a:extLst>
            </p:cNvPr>
            <p:cNvGrpSpPr/>
            <p:nvPr/>
          </p:nvGrpSpPr>
          <p:grpSpPr>
            <a:xfrm>
              <a:off x="6191625" y="1357908"/>
              <a:ext cx="173767" cy="157112"/>
              <a:chOff x="6191625" y="1357908"/>
              <a:chExt cx="173767" cy="157112"/>
            </a:xfrm>
            <a:noFill/>
          </p:grpSpPr>
          <p:sp>
            <p:nvSpPr>
              <p:cNvPr id="460" name="Forma livre: Forma 459">
                <a:extLst>
                  <a:ext uri="{FF2B5EF4-FFF2-40B4-BE49-F238E27FC236}">
                    <a16:creationId xmlns:a16="http://schemas.microsoft.com/office/drawing/2014/main" id="{1CACA2AE-199A-F375-E354-F4EBF9F2E34A}"/>
                  </a:ext>
                </a:extLst>
              </p:cNvPr>
              <p:cNvSpPr/>
              <p:nvPr/>
            </p:nvSpPr>
            <p:spPr>
              <a:xfrm>
                <a:off x="6310094" y="1437472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0 h 55298"/>
                  <a:gd name="connsiteX2" fmla="*/ 0 w 55298"/>
                  <a:gd name="connsiteY2" fmla="*/ 27649 h 55298"/>
                  <a:gd name="connsiteX3" fmla="*/ 27649 w 55298"/>
                  <a:gd name="connsiteY3" fmla="*/ 55298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12361"/>
                      <a:pt x="42938" y="0"/>
                      <a:pt x="27649" y="0"/>
                    </a:cubicBezTo>
                    <a:cubicBezTo>
                      <a:pt x="12361" y="0"/>
                      <a:pt x="0" y="12361"/>
                      <a:pt x="0" y="27649"/>
                    </a:cubicBezTo>
                    <a:cubicBezTo>
                      <a:pt x="0" y="42938"/>
                      <a:pt x="12361" y="55298"/>
                      <a:pt x="27649" y="55298"/>
                    </a:cubicBezTo>
                    <a:cubicBezTo>
                      <a:pt x="42938" y="55298"/>
                      <a:pt x="55298" y="42938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61" name="Forma livre: Forma 460">
                <a:extLst>
                  <a:ext uri="{FF2B5EF4-FFF2-40B4-BE49-F238E27FC236}">
                    <a16:creationId xmlns:a16="http://schemas.microsoft.com/office/drawing/2014/main" id="{673041DD-8B99-F3DF-A569-274B8CDFE7F5}"/>
                  </a:ext>
                </a:extLst>
              </p:cNvPr>
              <p:cNvSpPr/>
              <p:nvPr/>
            </p:nvSpPr>
            <p:spPr>
              <a:xfrm>
                <a:off x="6191625" y="1465122"/>
                <a:ext cx="118468" cy="49898"/>
              </a:xfrm>
              <a:custGeom>
                <a:avLst/>
                <a:gdLst>
                  <a:gd name="connsiteX0" fmla="*/ 0 w 118468"/>
                  <a:gd name="connsiteY0" fmla="*/ 49899 h 49898"/>
                  <a:gd name="connsiteX1" fmla="*/ 37343 w 118468"/>
                  <a:gd name="connsiteY1" fmla="*/ 49899 h 49898"/>
                  <a:gd name="connsiteX2" fmla="*/ 87176 w 118468"/>
                  <a:gd name="connsiteY2" fmla="*/ 0 h 49898"/>
                  <a:gd name="connsiteX3" fmla="*/ 118469 w 118468"/>
                  <a:gd name="connsiteY3" fmla="*/ 0 h 49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8468" h="49898">
                    <a:moveTo>
                      <a:pt x="0" y="49899"/>
                    </a:moveTo>
                    <a:lnTo>
                      <a:pt x="37343" y="49899"/>
                    </a:lnTo>
                    <a:lnTo>
                      <a:pt x="87176" y="0"/>
                    </a:lnTo>
                    <a:lnTo>
                      <a:pt x="118469" y="0"/>
                    </a:lnTo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62" name="Forma livre: Forma 461">
                <a:extLst>
                  <a:ext uri="{FF2B5EF4-FFF2-40B4-BE49-F238E27FC236}">
                    <a16:creationId xmlns:a16="http://schemas.microsoft.com/office/drawing/2014/main" id="{506A00D2-D1E9-9F06-B685-C01439F43548}"/>
                  </a:ext>
                </a:extLst>
              </p:cNvPr>
              <p:cNvSpPr/>
              <p:nvPr/>
            </p:nvSpPr>
            <p:spPr>
              <a:xfrm>
                <a:off x="6191625" y="1405269"/>
                <a:ext cx="81451" cy="44043"/>
              </a:xfrm>
              <a:custGeom>
                <a:avLst/>
                <a:gdLst>
                  <a:gd name="connsiteX0" fmla="*/ 0 w 81451"/>
                  <a:gd name="connsiteY0" fmla="*/ 44044 h 44043"/>
                  <a:gd name="connsiteX1" fmla="*/ 37343 w 81451"/>
                  <a:gd name="connsiteY1" fmla="*/ 44044 h 44043"/>
                  <a:gd name="connsiteX2" fmla="*/ 81451 w 81451"/>
                  <a:gd name="connsiteY2" fmla="*/ 0 h 440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1451" h="44043">
                    <a:moveTo>
                      <a:pt x="0" y="44044"/>
                    </a:moveTo>
                    <a:lnTo>
                      <a:pt x="37343" y="44044"/>
                    </a:lnTo>
                    <a:lnTo>
                      <a:pt x="81451" y="0"/>
                    </a:lnTo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63" name="Forma livre: Forma 462">
                <a:extLst>
                  <a:ext uri="{FF2B5EF4-FFF2-40B4-BE49-F238E27FC236}">
                    <a16:creationId xmlns:a16="http://schemas.microsoft.com/office/drawing/2014/main" id="{CD65E0C6-F64A-4E8F-CFF6-DC08C85E716A}"/>
                  </a:ext>
                </a:extLst>
              </p:cNvPr>
              <p:cNvSpPr/>
              <p:nvPr/>
            </p:nvSpPr>
            <p:spPr>
              <a:xfrm>
                <a:off x="6265075" y="1357908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0 h 55298"/>
                  <a:gd name="connsiteX2" fmla="*/ 0 w 55298"/>
                  <a:gd name="connsiteY2" fmla="*/ 27649 h 55298"/>
                  <a:gd name="connsiteX3" fmla="*/ 27649 w 55298"/>
                  <a:gd name="connsiteY3" fmla="*/ 55298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12361"/>
                      <a:pt x="42938" y="0"/>
                      <a:pt x="27649" y="0"/>
                    </a:cubicBezTo>
                    <a:cubicBezTo>
                      <a:pt x="12361" y="0"/>
                      <a:pt x="0" y="12361"/>
                      <a:pt x="0" y="27649"/>
                    </a:cubicBezTo>
                    <a:cubicBezTo>
                      <a:pt x="0" y="42938"/>
                      <a:pt x="12361" y="55298"/>
                      <a:pt x="27649" y="55298"/>
                    </a:cubicBezTo>
                    <a:cubicBezTo>
                      <a:pt x="42938" y="55298"/>
                      <a:pt x="55298" y="42938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456" name="Gráfico 32">
              <a:extLst>
                <a:ext uri="{FF2B5EF4-FFF2-40B4-BE49-F238E27FC236}">
                  <a16:creationId xmlns:a16="http://schemas.microsoft.com/office/drawing/2014/main" id="{6444BEFE-D007-97B6-EC34-A31F5A261E10}"/>
                </a:ext>
              </a:extLst>
            </p:cNvPr>
            <p:cNvGrpSpPr/>
            <p:nvPr/>
          </p:nvGrpSpPr>
          <p:grpSpPr>
            <a:xfrm>
              <a:off x="6190910" y="1529723"/>
              <a:ext cx="123673" cy="55298"/>
              <a:chOff x="6190910" y="1529723"/>
              <a:chExt cx="123673" cy="55298"/>
            </a:xfrm>
            <a:noFill/>
          </p:grpSpPr>
          <p:sp>
            <p:nvSpPr>
              <p:cNvPr id="458" name="Forma livre: Forma 457">
                <a:extLst>
                  <a:ext uri="{FF2B5EF4-FFF2-40B4-BE49-F238E27FC236}">
                    <a16:creationId xmlns:a16="http://schemas.microsoft.com/office/drawing/2014/main" id="{22B66FC2-F10B-4395-A621-D383E54431AF}"/>
                  </a:ext>
                </a:extLst>
              </p:cNvPr>
              <p:cNvSpPr/>
              <p:nvPr/>
            </p:nvSpPr>
            <p:spPr>
              <a:xfrm>
                <a:off x="6190910" y="1557372"/>
                <a:ext cx="68765" cy="6505"/>
              </a:xfrm>
              <a:custGeom>
                <a:avLst/>
                <a:gdLst>
                  <a:gd name="connsiteX0" fmla="*/ 0 w 68765"/>
                  <a:gd name="connsiteY0" fmla="*/ 0 h 6505"/>
                  <a:gd name="connsiteX1" fmla="*/ 68765 w 68765"/>
                  <a:gd name="connsiteY1" fmla="*/ 0 h 65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8765" h="6505">
                    <a:moveTo>
                      <a:pt x="0" y="0"/>
                    </a:moveTo>
                    <a:lnTo>
                      <a:pt x="68765" y="0"/>
                    </a:lnTo>
                  </a:path>
                </a:pathLst>
              </a:custGeom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59" name="Forma livre: Forma 458">
                <a:extLst>
                  <a:ext uri="{FF2B5EF4-FFF2-40B4-BE49-F238E27FC236}">
                    <a16:creationId xmlns:a16="http://schemas.microsoft.com/office/drawing/2014/main" id="{BB41CAF2-E8E8-420A-FCB7-8DAD4265F572}"/>
                  </a:ext>
                </a:extLst>
              </p:cNvPr>
              <p:cNvSpPr/>
              <p:nvPr/>
            </p:nvSpPr>
            <p:spPr>
              <a:xfrm>
                <a:off x="6259285" y="1529723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457" name="Forma livre: Forma 456">
              <a:extLst>
                <a:ext uri="{FF2B5EF4-FFF2-40B4-BE49-F238E27FC236}">
                  <a16:creationId xmlns:a16="http://schemas.microsoft.com/office/drawing/2014/main" id="{91658C7C-2510-6833-B49C-3875D2566A90}"/>
                </a:ext>
              </a:extLst>
            </p:cNvPr>
            <p:cNvSpPr/>
            <p:nvPr/>
          </p:nvSpPr>
          <p:spPr>
            <a:xfrm>
              <a:off x="6152201" y="1686285"/>
              <a:ext cx="37362" cy="20848"/>
            </a:xfrm>
            <a:custGeom>
              <a:avLst/>
              <a:gdLst>
                <a:gd name="connsiteX0" fmla="*/ 0 w 37362"/>
                <a:gd name="connsiteY0" fmla="*/ 10505 h 20848"/>
                <a:gd name="connsiteX1" fmla="*/ 27064 w 37362"/>
                <a:gd name="connsiteY1" fmla="*/ 2373 h 20848"/>
                <a:gd name="connsiteX2" fmla="*/ 37343 w 37362"/>
                <a:gd name="connsiteY2" fmla="*/ 20849 h 20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7362" h="20848">
                  <a:moveTo>
                    <a:pt x="0" y="10505"/>
                  </a:moveTo>
                  <a:cubicBezTo>
                    <a:pt x="5205" y="811"/>
                    <a:pt x="17435" y="-2832"/>
                    <a:pt x="27064" y="2373"/>
                  </a:cubicBezTo>
                  <a:cubicBezTo>
                    <a:pt x="34025" y="6081"/>
                    <a:pt x="37668" y="13432"/>
                    <a:pt x="37343" y="20849"/>
                  </a:cubicBezTo>
                </a:path>
              </a:pathLst>
            </a:custGeom>
            <a:noFill/>
            <a:ln w="19050" cap="sq">
              <a:solidFill>
                <a:schemeClr val="tx1"/>
              </a:solidFill>
              <a:prstDash val="solid"/>
              <a:miter lim="800000"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474" name="Agrupar 473">
            <a:extLst>
              <a:ext uri="{FF2B5EF4-FFF2-40B4-BE49-F238E27FC236}">
                <a16:creationId xmlns:a16="http://schemas.microsoft.com/office/drawing/2014/main" id="{38FAD20E-8BF7-741D-CCC5-68AA5A1D3B3B}"/>
              </a:ext>
            </a:extLst>
          </p:cNvPr>
          <p:cNvGrpSpPr/>
          <p:nvPr/>
        </p:nvGrpSpPr>
        <p:grpSpPr>
          <a:xfrm>
            <a:off x="3814811" y="5826606"/>
            <a:ext cx="325297" cy="355243"/>
            <a:chOff x="6000092" y="1357908"/>
            <a:chExt cx="365300" cy="398929"/>
          </a:xfrm>
        </p:grpSpPr>
        <p:sp>
          <p:nvSpPr>
            <p:cNvPr id="475" name="Forma livre: Forma 474">
              <a:extLst>
                <a:ext uri="{FF2B5EF4-FFF2-40B4-BE49-F238E27FC236}">
                  <a16:creationId xmlns:a16="http://schemas.microsoft.com/office/drawing/2014/main" id="{BB6587FE-3723-A19D-E017-8949B63570D4}"/>
                </a:ext>
              </a:extLst>
            </p:cNvPr>
            <p:cNvSpPr/>
            <p:nvPr/>
          </p:nvSpPr>
          <p:spPr>
            <a:xfrm>
              <a:off x="6000092" y="1418606"/>
              <a:ext cx="84058" cy="286120"/>
            </a:xfrm>
            <a:custGeom>
              <a:avLst/>
              <a:gdLst>
                <a:gd name="connsiteX0" fmla="*/ 51595 w 84058"/>
                <a:gd name="connsiteY0" fmla="*/ 0 h 286120"/>
                <a:gd name="connsiteX1" fmla="*/ 35266 w 84058"/>
                <a:gd name="connsiteY1" fmla="*/ 61674 h 286120"/>
                <a:gd name="connsiteX2" fmla="*/ 28760 w 84058"/>
                <a:gd name="connsiteY2" fmla="*/ 193415 h 286120"/>
                <a:gd name="connsiteX3" fmla="*/ 84059 w 84058"/>
                <a:gd name="connsiteY3" fmla="*/ 286121 h 2861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4058" h="286120">
                  <a:moveTo>
                    <a:pt x="51595" y="0"/>
                  </a:moveTo>
                  <a:cubicBezTo>
                    <a:pt x="37868" y="7872"/>
                    <a:pt x="26028" y="24852"/>
                    <a:pt x="35266" y="61674"/>
                  </a:cubicBezTo>
                  <a:cubicBezTo>
                    <a:pt x="35266" y="61674"/>
                    <a:pt x="-39549" y="126731"/>
                    <a:pt x="28760" y="193415"/>
                  </a:cubicBezTo>
                  <a:cubicBezTo>
                    <a:pt x="28760" y="193415"/>
                    <a:pt x="9243" y="281242"/>
                    <a:pt x="84059" y="286121"/>
                  </a:cubicBezTo>
                </a:path>
              </a:pathLst>
            </a:custGeom>
            <a:noFill/>
            <a:ln w="19050" cap="sq">
              <a:solidFill>
                <a:schemeClr val="bg1"/>
              </a:solidFill>
              <a:prstDash val="solid"/>
              <a:miter lim="800000"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476" name="Gráfico 32">
              <a:extLst>
                <a:ext uri="{FF2B5EF4-FFF2-40B4-BE49-F238E27FC236}">
                  <a16:creationId xmlns:a16="http://schemas.microsoft.com/office/drawing/2014/main" id="{B6B25442-C6C6-E3DF-11C4-F75A6BA22BC3}"/>
                </a:ext>
              </a:extLst>
            </p:cNvPr>
            <p:cNvGrpSpPr/>
            <p:nvPr/>
          </p:nvGrpSpPr>
          <p:grpSpPr>
            <a:xfrm>
              <a:off x="6061121" y="1359924"/>
              <a:ext cx="128487" cy="396366"/>
              <a:chOff x="6061121" y="1359924"/>
              <a:chExt cx="128487" cy="396366"/>
            </a:xfrm>
            <a:noFill/>
          </p:grpSpPr>
          <p:sp>
            <p:nvSpPr>
              <p:cNvPr id="491" name="Forma livre: Forma 490">
                <a:extLst>
                  <a:ext uri="{FF2B5EF4-FFF2-40B4-BE49-F238E27FC236}">
                    <a16:creationId xmlns:a16="http://schemas.microsoft.com/office/drawing/2014/main" id="{A61222B7-02DE-847E-C862-EDE3EF76844E}"/>
                  </a:ext>
                </a:extLst>
              </p:cNvPr>
              <p:cNvSpPr/>
              <p:nvPr/>
            </p:nvSpPr>
            <p:spPr>
              <a:xfrm>
                <a:off x="6083891" y="1359924"/>
                <a:ext cx="105717" cy="396366"/>
              </a:xfrm>
              <a:custGeom>
                <a:avLst/>
                <a:gdLst>
                  <a:gd name="connsiteX0" fmla="*/ 52891 w 105717"/>
                  <a:gd name="connsiteY0" fmla="*/ 105718 h 396366"/>
                  <a:gd name="connsiteX1" fmla="*/ 0 w 105717"/>
                  <a:gd name="connsiteY1" fmla="*/ 52891 h 396366"/>
                  <a:gd name="connsiteX2" fmla="*/ 52891 w 105717"/>
                  <a:gd name="connsiteY2" fmla="*/ 0 h 396366"/>
                  <a:gd name="connsiteX3" fmla="*/ 105718 w 105717"/>
                  <a:gd name="connsiteY3" fmla="*/ 52826 h 396366"/>
                  <a:gd name="connsiteX4" fmla="*/ 105718 w 105717"/>
                  <a:gd name="connsiteY4" fmla="*/ 346884 h 396366"/>
                  <a:gd name="connsiteX5" fmla="*/ 80606 w 105717"/>
                  <a:gd name="connsiteY5" fmla="*/ 388911 h 396366"/>
                  <a:gd name="connsiteX6" fmla="*/ 9238 w 105717"/>
                  <a:gd name="connsiteY6" fmla="*/ 371150 h 396366"/>
                  <a:gd name="connsiteX7" fmla="*/ 15484 w 105717"/>
                  <a:gd name="connsiteY7" fmla="*/ 309216 h 396366"/>
                  <a:gd name="connsiteX8" fmla="*/ 45019 w 105717"/>
                  <a:gd name="connsiteY8" fmla="*/ 277078 h 3963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05717" h="396366">
                    <a:moveTo>
                      <a:pt x="52891" y="105718"/>
                    </a:moveTo>
                    <a:cubicBezTo>
                      <a:pt x="23681" y="105718"/>
                      <a:pt x="0" y="82037"/>
                      <a:pt x="0" y="52891"/>
                    </a:cubicBezTo>
                    <a:cubicBezTo>
                      <a:pt x="0" y="23746"/>
                      <a:pt x="23681" y="0"/>
                      <a:pt x="52891" y="0"/>
                    </a:cubicBezTo>
                    <a:cubicBezTo>
                      <a:pt x="82102" y="0"/>
                      <a:pt x="105718" y="23681"/>
                      <a:pt x="105718" y="52826"/>
                    </a:cubicBezTo>
                    <a:lnTo>
                      <a:pt x="105718" y="346884"/>
                    </a:lnTo>
                    <a:cubicBezTo>
                      <a:pt x="105718" y="364580"/>
                      <a:pt x="96414" y="379413"/>
                      <a:pt x="80606" y="388911"/>
                    </a:cubicBezTo>
                    <a:cubicBezTo>
                      <a:pt x="55949" y="403744"/>
                      <a:pt x="24006" y="395742"/>
                      <a:pt x="9238" y="371150"/>
                    </a:cubicBezTo>
                    <a:cubicBezTo>
                      <a:pt x="-2928" y="350918"/>
                      <a:pt x="260" y="325741"/>
                      <a:pt x="15484" y="309216"/>
                    </a:cubicBezTo>
                    <a:lnTo>
                      <a:pt x="45019" y="277078"/>
                    </a:lnTo>
                  </a:path>
                </a:pathLst>
              </a:custGeom>
              <a:noFill/>
              <a:ln w="19050" cap="sq">
                <a:solidFill>
                  <a:schemeClr val="bg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92" name="Forma livre: Forma 491">
                <a:extLst>
                  <a:ext uri="{FF2B5EF4-FFF2-40B4-BE49-F238E27FC236}">
                    <a16:creationId xmlns:a16="http://schemas.microsoft.com/office/drawing/2014/main" id="{8B50CBB8-0959-59CF-1559-B046A6EDE9B9}"/>
                  </a:ext>
                </a:extLst>
              </p:cNvPr>
              <p:cNvSpPr/>
              <p:nvPr/>
            </p:nvSpPr>
            <p:spPr>
              <a:xfrm>
                <a:off x="6144784" y="1383865"/>
                <a:ext cx="41563" cy="38963"/>
              </a:xfrm>
              <a:custGeom>
                <a:avLst/>
                <a:gdLst>
                  <a:gd name="connsiteX0" fmla="*/ 36172 w 41563"/>
                  <a:gd name="connsiteY0" fmla="*/ 0 h 38963"/>
                  <a:gd name="connsiteX1" fmla="*/ 39425 w 41563"/>
                  <a:gd name="connsiteY1" fmla="*/ 24266 h 38963"/>
                  <a:gd name="connsiteX2" fmla="*/ 36432 w 41563"/>
                  <a:gd name="connsiteY2" fmla="*/ 29080 h 38963"/>
                  <a:gd name="connsiteX3" fmla="*/ 0 w 41563"/>
                  <a:gd name="connsiteY3" fmla="*/ 33439 h 389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563" h="38963">
                    <a:moveTo>
                      <a:pt x="36172" y="0"/>
                    </a:moveTo>
                    <a:cubicBezTo>
                      <a:pt x="41571" y="7547"/>
                      <a:pt x="43393" y="16004"/>
                      <a:pt x="39425" y="24266"/>
                    </a:cubicBezTo>
                    <a:cubicBezTo>
                      <a:pt x="38644" y="25893"/>
                      <a:pt x="37603" y="27519"/>
                      <a:pt x="36432" y="29080"/>
                    </a:cubicBezTo>
                    <a:cubicBezTo>
                      <a:pt x="27584" y="40270"/>
                      <a:pt x="11190" y="42287"/>
                      <a:pt x="0" y="33439"/>
                    </a:cubicBezTo>
                  </a:path>
                </a:pathLst>
              </a:custGeom>
              <a:noFill/>
              <a:ln w="19050" cap="sq">
                <a:solidFill>
                  <a:schemeClr val="bg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93" name="Forma livre: Forma 492">
                <a:extLst>
                  <a:ext uri="{FF2B5EF4-FFF2-40B4-BE49-F238E27FC236}">
                    <a16:creationId xmlns:a16="http://schemas.microsoft.com/office/drawing/2014/main" id="{C9C93D23-6067-E08D-1D75-B725D5E8679C}"/>
                  </a:ext>
                </a:extLst>
              </p:cNvPr>
              <p:cNvSpPr/>
              <p:nvPr/>
            </p:nvSpPr>
            <p:spPr>
              <a:xfrm>
                <a:off x="6081487" y="1460806"/>
                <a:ext cx="34217" cy="54474"/>
              </a:xfrm>
              <a:custGeom>
                <a:avLst/>
                <a:gdLst>
                  <a:gd name="connsiteX0" fmla="*/ 21076 w 34217"/>
                  <a:gd name="connsiteY0" fmla="*/ 54475 h 54474"/>
                  <a:gd name="connsiteX1" fmla="*/ 778 w 34217"/>
                  <a:gd name="connsiteY1" fmla="*/ 21035 h 54474"/>
                  <a:gd name="connsiteX2" fmla="*/ 34217 w 34217"/>
                  <a:gd name="connsiteY2" fmla="*/ 803 h 544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4217" h="54474">
                    <a:moveTo>
                      <a:pt x="21076" y="54475"/>
                    </a:moveTo>
                    <a:cubicBezTo>
                      <a:pt x="6308" y="50832"/>
                      <a:pt x="-2800" y="35803"/>
                      <a:pt x="778" y="21035"/>
                    </a:cubicBezTo>
                    <a:cubicBezTo>
                      <a:pt x="4421" y="6267"/>
                      <a:pt x="19449" y="-2841"/>
                      <a:pt x="34217" y="803"/>
                    </a:cubicBezTo>
                  </a:path>
                </a:pathLst>
              </a:custGeom>
              <a:noFill/>
              <a:ln w="19050" cap="sq">
                <a:solidFill>
                  <a:schemeClr val="bg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94" name="Forma livre: Forma 493">
                <a:extLst>
                  <a:ext uri="{FF2B5EF4-FFF2-40B4-BE49-F238E27FC236}">
                    <a16:creationId xmlns:a16="http://schemas.microsoft.com/office/drawing/2014/main" id="{2CE635FC-4B3C-17A8-1593-146B5DE00276}"/>
                  </a:ext>
                </a:extLst>
              </p:cNvPr>
              <p:cNvSpPr/>
              <p:nvPr/>
            </p:nvSpPr>
            <p:spPr>
              <a:xfrm>
                <a:off x="6073547" y="1527543"/>
                <a:ext cx="114760" cy="72506"/>
              </a:xfrm>
              <a:custGeom>
                <a:avLst/>
                <a:gdLst>
                  <a:gd name="connsiteX0" fmla="*/ 114760 w 114760"/>
                  <a:gd name="connsiteY0" fmla="*/ 7254 h 72506"/>
                  <a:gd name="connsiteX1" fmla="*/ 73905 w 114760"/>
                  <a:gd name="connsiteY1" fmla="*/ 8881 h 72506"/>
                  <a:gd name="connsiteX2" fmla="*/ 0 w 114760"/>
                  <a:gd name="connsiteY2" fmla="*/ 72506 h 725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14760" h="72506">
                    <a:moveTo>
                      <a:pt x="114760" y="7254"/>
                    </a:moveTo>
                    <a:cubicBezTo>
                      <a:pt x="103375" y="-2830"/>
                      <a:pt x="83989" y="-2504"/>
                      <a:pt x="73905" y="8881"/>
                    </a:cubicBezTo>
                    <a:cubicBezTo>
                      <a:pt x="73905" y="8881"/>
                      <a:pt x="31488" y="72506"/>
                      <a:pt x="0" y="72506"/>
                    </a:cubicBezTo>
                  </a:path>
                </a:pathLst>
              </a:custGeom>
              <a:noFill/>
              <a:ln w="19050" cap="sq">
                <a:solidFill>
                  <a:schemeClr val="bg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95" name="Forma livre: Forma 494">
                <a:extLst>
                  <a:ext uri="{FF2B5EF4-FFF2-40B4-BE49-F238E27FC236}">
                    <a16:creationId xmlns:a16="http://schemas.microsoft.com/office/drawing/2014/main" id="{8C286038-6004-0E78-7A4F-9A2D021F9EC9}"/>
                  </a:ext>
                </a:extLst>
              </p:cNvPr>
              <p:cNvSpPr/>
              <p:nvPr/>
            </p:nvSpPr>
            <p:spPr>
              <a:xfrm>
                <a:off x="6079857" y="1646956"/>
                <a:ext cx="29405" cy="9823"/>
              </a:xfrm>
              <a:custGeom>
                <a:avLst/>
                <a:gdLst>
                  <a:gd name="connsiteX0" fmla="*/ 0 w 29405"/>
                  <a:gd name="connsiteY0" fmla="*/ 0 h 9823"/>
                  <a:gd name="connsiteX1" fmla="*/ 29406 w 29405"/>
                  <a:gd name="connsiteY1" fmla="*/ 9824 h 98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9405" h="9823">
                    <a:moveTo>
                      <a:pt x="0" y="0"/>
                    </a:moveTo>
                    <a:lnTo>
                      <a:pt x="29406" y="9824"/>
                    </a:lnTo>
                  </a:path>
                </a:pathLst>
              </a:custGeom>
              <a:ln w="19050" cap="sq">
                <a:solidFill>
                  <a:schemeClr val="bg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96" name="Forma livre: Forma 495">
                <a:extLst>
                  <a:ext uri="{FF2B5EF4-FFF2-40B4-BE49-F238E27FC236}">
                    <a16:creationId xmlns:a16="http://schemas.microsoft.com/office/drawing/2014/main" id="{78B59EC6-8A71-21FB-CE1B-9DE44745BE7D}"/>
                  </a:ext>
                </a:extLst>
              </p:cNvPr>
              <p:cNvSpPr/>
              <p:nvPr/>
            </p:nvSpPr>
            <p:spPr>
              <a:xfrm>
                <a:off x="6061121" y="1545272"/>
                <a:ext cx="47166" cy="34154"/>
              </a:xfrm>
              <a:custGeom>
                <a:avLst/>
                <a:gdLst>
                  <a:gd name="connsiteX0" fmla="*/ 0 w 47166"/>
                  <a:gd name="connsiteY0" fmla="*/ 0 h 34154"/>
                  <a:gd name="connsiteX1" fmla="*/ 47166 w 47166"/>
                  <a:gd name="connsiteY1" fmla="*/ 34155 h 341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166" h="34154">
                    <a:moveTo>
                      <a:pt x="0" y="0"/>
                    </a:moveTo>
                    <a:cubicBezTo>
                      <a:pt x="0" y="0"/>
                      <a:pt x="27649" y="13011"/>
                      <a:pt x="47166" y="34155"/>
                    </a:cubicBezTo>
                  </a:path>
                </a:pathLst>
              </a:custGeom>
              <a:noFill/>
              <a:ln w="19050" cap="sq">
                <a:solidFill>
                  <a:schemeClr val="bg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477" name="Gráfico 32">
              <a:extLst>
                <a:ext uri="{FF2B5EF4-FFF2-40B4-BE49-F238E27FC236}">
                  <a16:creationId xmlns:a16="http://schemas.microsoft.com/office/drawing/2014/main" id="{2F7691EA-56E3-C956-65E1-C3C4E13E4734}"/>
                </a:ext>
              </a:extLst>
            </p:cNvPr>
            <p:cNvGrpSpPr/>
            <p:nvPr/>
          </p:nvGrpSpPr>
          <p:grpSpPr>
            <a:xfrm>
              <a:off x="6191625" y="1599725"/>
              <a:ext cx="173767" cy="157112"/>
              <a:chOff x="6191625" y="1599725"/>
              <a:chExt cx="173767" cy="157112"/>
            </a:xfrm>
            <a:noFill/>
          </p:grpSpPr>
          <p:sp>
            <p:nvSpPr>
              <p:cNvPr id="487" name="Forma livre: Forma 486">
                <a:extLst>
                  <a:ext uri="{FF2B5EF4-FFF2-40B4-BE49-F238E27FC236}">
                    <a16:creationId xmlns:a16="http://schemas.microsoft.com/office/drawing/2014/main" id="{8F3C3B21-EA21-CBD5-4C3C-17C60D506F9A}"/>
                  </a:ext>
                </a:extLst>
              </p:cNvPr>
              <p:cNvSpPr/>
              <p:nvPr/>
            </p:nvSpPr>
            <p:spPr>
              <a:xfrm>
                <a:off x="6310094" y="1621974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bg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88" name="Forma livre: Forma 487">
                <a:extLst>
                  <a:ext uri="{FF2B5EF4-FFF2-40B4-BE49-F238E27FC236}">
                    <a16:creationId xmlns:a16="http://schemas.microsoft.com/office/drawing/2014/main" id="{E9279C99-BAFD-0599-1D8E-2581843B5DC6}"/>
                  </a:ext>
                </a:extLst>
              </p:cNvPr>
              <p:cNvSpPr/>
              <p:nvPr/>
            </p:nvSpPr>
            <p:spPr>
              <a:xfrm>
                <a:off x="6191625" y="1599725"/>
                <a:ext cx="118078" cy="49898"/>
              </a:xfrm>
              <a:custGeom>
                <a:avLst/>
                <a:gdLst>
                  <a:gd name="connsiteX0" fmla="*/ 0 w 118078"/>
                  <a:gd name="connsiteY0" fmla="*/ 0 h 49898"/>
                  <a:gd name="connsiteX1" fmla="*/ 37343 w 118078"/>
                  <a:gd name="connsiteY1" fmla="*/ 0 h 49898"/>
                  <a:gd name="connsiteX2" fmla="*/ 87176 w 118078"/>
                  <a:gd name="connsiteY2" fmla="*/ 49899 h 49898"/>
                  <a:gd name="connsiteX3" fmla="*/ 118078 w 118078"/>
                  <a:gd name="connsiteY3" fmla="*/ 49899 h 49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8078" h="49898">
                    <a:moveTo>
                      <a:pt x="0" y="0"/>
                    </a:moveTo>
                    <a:lnTo>
                      <a:pt x="37343" y="0"/>
                    </a:lnTo>
                    <a:lnTo>
                      <a:pt x="87176" y="49899"/>
                    </a:lnTo>
                    <a:lnTo>
                      <a:pt x="118078" y="49899"/>
                    </a:lnTo>
                  </a:path>
                </a:pathLst>
              </a:custGeom>
              <a:noFill/>
              <a:ln w="19050" cap="sq">
                <a:solidFill>
                  <a:schemeClr val="bg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89" name="Forma livre: Forma 488">
                <a:extLst>
                  <a:ext uri="{FF2B5EF4-FFF2-40B4-BE49-F238E27FC236}">
                    <a16:creationId xmlns:a16="http://schemas.microsoft.com/office/drawing/2014/main" id="{441D3E17-28AF-1C12-D0A3-04081C3332B4}"/>
                  </a:ext>
                </a:extLst>
              </p:cNvPr>
              <p:cNvSpPr/>
              <p:nvPr/>
            </p:nvSpPr>
            <p:spPr>
              <a:xfrm>
                <a:off x="6191625" y="1665367"/>
                <a:ext cx="81906" cy="44108"/>
              </a:xfrm>
              <a:custGeom>
                <a:avLst/>
                <a:gdLst>
                  <a:gd name="connsiteX0" fmla="*/ 0 w 81906"/>
                  <a:gd name="connsiteY0" fmla="*/ 0 h 44108"/>
                  <a:gd name="connsiteX1" fmla="*/ 37343 w 81906"/>
                  <a:gd name="connsiteY1" fmla="*/ 0 h 44108"/>
                  <a:gd name="connsiteX2" fmla="*/ 81907 w 81906"/>
                  <a:gd name="connsiteY2" fmla="*/ 44109 h 441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1906" h="44108">
                    <a:moveTo>
                      <a:pt x="0" y="0"/>
                    </a:moveTo>
                    <a:lnTo>
                      <a:pt x="37343" y="0"/>
                    </a:lnTo>
                    <a:lnTo>
                      <a:pt x="81907" y="44109"/>
                    </a:lnTo>
                  </a:path>
                </a:pathLst>
              </a:custGeom>
              <a:noFill/>
              <a:ln w="19050" cap="sq">
                <a:solidFill>
                  <a:schemeClr val="bg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90" name="Forma livre: Forma 489">
                <a:extLst>
                  <a:ext uri="{FF2B5EF4-FFF2-40B4-BE49-F238E27FC236}">
                    <a16:creationId xmlns:a16="http://schemas.microsoft.com/office/drawing/2014/main" id="{35215714-D80D-4FE4-1859-FC3AEF697916}"/>
                  </a:ext>
                </a:extLst>
              </p:cNvPr>
              <p:cNvSpPr/>
              <p:nvPr/>
            </p:nvSpPr>
            <p:spPr>
              <a:xfrm>
                <a:off x="6265075" y="1701539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bg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478" name="Gráfico 32">
              <a:extLst>
                <a:ext uri="{FF2B5EF4-FFF2-40B4-BE49-F238E27FC236}">
                  <a16:creationId xmlns:a16="http://schemas.microsoft.com/office/drawing/2014/main" id="{2B53E9AC-27DA-B8A8-DD7E-9E81184291AA}"/>
                </a:ext>
              </a:extLst>
            </p:cNvPr>
            <p:cNvGrpSpPr/>
            <p:nvPr/>
          </p:nvGrpSpPr>
          <p:grpSpPr>
            <a:xfrm>
              <a:off x="6191625" y="1357908"/>
              <a:ext cx="173767" cy="157112"/>
              <a:chOff x="6191625" y="1357908"/>
              <a:chExt cx="173767" cy="157112"/>
            </a:xfrm>
            <a:noFill/>
          </p:grpSpPr>
          <p:sp>
            <p:nvSpPr>
              <p:cNvPr id="483" name="Forma livre: Forma 482">
                <a:extLst>
                  <a:ext uri="{FF2B5EF4-FFF2-40B4-BE49-F238E27FC236}">
                    <a16:creationId xmlns:a16="http://schemas.microsoft.com/office/drawing/2014/main" id="{04D7BDAB-BAF3-38B7-EA48-5CBD2FFD45C0}"/>
                  </a:ext>
                </a:extLst>
              </p:cNvPr>
              <p:cNvSpPr/>
              <p:nvPr/>
            </p:nvSpPr>
            <p:spPr>
              <a:xfrm>
                <a:off x="6310094" y="1437472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0 h 55298"/>
                  <a:gd name="connsiteX2" fmla="*/ 0 w 55298"/>
                  <a:gd name="connsiteY2" fmla="*/ 27649 h 55298"/>
                  <a:gd name="connsiteX3" fmla="*/ 27649 w 55298"/>
                  <a:gd name="connsiteY3" fmla="*/ 55298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12361"/>
                      <a:pt x="42938" y="0"/>
                      <a:pt x="27649" y="0"/>
                    </a:cubicBezTo>
                    <a:cubicBezTo>
                      <a:pt x="12361" y="0"/>
                      <a:pt x="0" y="12361"/>
                      <a:pt x="0" y="27649"/>
                    </a:cubicBezTo>
                    <a:cubicBezTo>
                      <a:pt x="0" y="42938"/>
                      <a:pt x="12361" y="55298"/>
                      <a:pt x="27649" y="55298"/>
                    </a:cubicBezTo>
                    <a:cubicBezTo>
                      <a:pt x="42938" y="55298"/>
                      <a:pt x="55298" y="42938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bg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84" name="Forma livre: Forma 483">
                <a:extLst>
                  <a:ext uri="{FF2B5EF4-FFF2-40B4-BE49-F238E27FC236}">
                    <a16:creationId xmlns:a16="http://schemas.microsoft.com/office/drawing/2014/main" id="{6E3ADA9D-8137-CAD2-E454-4B505862798A}"/>
                  </a:ext>
                </a:extLst>
              </p:cNvPr>
              <p:cNvSpPr/>
              <p:nvPr/>
            </p:nvSpPr>
            <p:spPr>
              <a:xfrm>
                <a:off x="6191625" y="1465122"/>
                <a:ext cx="118468" cy="49898"/>
              </a:xfrm>
              <a:custGeom>
                <a:avLst/>
                <a:gdLst>
                  <a:gd name="connsiteX0" fmla="*/ 0 w 118468"/>
                  <a:gd name="connsiteY0" fmla="*/ 49899 h 49898"/>
                  <a:gd name="connsiteX1" fmla="*/ 37343 w 118468"/>
                  <a:gd name="connsiteY1" fmla="*/ 49899 h 49898"/>
                  <a:gd name="connsiteX2" fmla="*/ 87176 w 118468"/>
                  <a:gd name="connsiteY2" fmla="*/ 0 h 49898"/>
                  <a:gd name="connsiteX3" fmla="*/ 118469 w 118468"/>
                  <a:gd name="connsiteY3" fmla="*/ 0 h 49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8468" h="49898">
                    <a:moveTo>
                      <a:pt x="0" y="49899"/>
                    </a:moveTo>
                    <a:lnTo>
                      <a:pt x="37343" y="49899"/>
                    </a:lnTo>
                    <a:lnTo>
                      <a:pt x="87176" y="0"/>
                    </a:lnTo>
                    <a:lnTo>
                      <a:pt x="118469" y="0"/>
                    </a:lnTo>
                  </a:path>
                </a:pathLst>
              </a:custGeom>
              <a:noFill/>
              <a:ln w="19050" cap="sq">
                <a:solidFill>
                  <a:schemeClr val="bg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85" name="Forma livre: Forma 484">
                <a:extLst>
                  <a:ext uri="{FF2B5EF4-FFF2-40B4-BE49-F238E27FC236}">
                    <a16:creationId xmlns:a16="http://schemas.microsoft.com/office/drawing/2014/main" id="{A317A96C-9B68-FE4C-3005-82A04A5A36E4}"/>
                  </a:ext>
                </a:extLst>
              </p:cNvPr>
              <p:cNvSpPr/>
              <p:nvPr/>
            </p:nvSpPr>
            <p:spPr>
              <a:xfrm>
                <a:off x="6191625" y="1405269"/>
                <a:ext cx="81451" cy="44043"/>
              </a:xfrm>
              <a:custGeom>
                <a:avLst/>
                <a:gdLst>
                  <a:gd name="connsiteX0" fmla="*/ 0 w 81451"/>
                  <a:gd name="connsiteY0" fmla="*/ 44044 h 44043"/>
                  <a:gd name="connsiteX1" fmla="*/ 37343 w 81451"/>
                  <a:gd name="connsiteY1" fmla="*/ 44044 h 44043"/>
                  <a:gd name="connsiteX2" fmla="*/ 81451 w 81451"/>
                  <a:gd name="connsiteY2" fmla="*/ 0 h 440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1451" h="44043">
                    <a:moveTo>
                      <a:pt x="0" y="44044"/>
                    </a:moveTo>
                    <a:lnTo>
                      <a:pt x="37343" y="44044"/>
                    </a:lnTo>
                    <a:lnTo>
                      <a:pt x="81451" y="0"/>
                    </a:lnTo>
                  </a:path>
                </a:pathLst>
              </a:custGeom>
              <a:noFill/>
              <a:ln w="19050" cap="sq">
                <a:solidFill>
                  <a:schemeClr val="bg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86" name="Forma livre: Forma 485">
                <a:extLst>
                  <a:ext uri="{FF2B5EF4-FFF2-40B4-BE49-F238E27FC236}">
                    <a16:creationId xmlns:a16="http://schemas.microsoft.com/office/drawing/2014/main" id="{F5403A63-421B-04C2-335A-B4C8F70147A2}"/>
                  </a:ext>
                </a:extLst>
              </p:cNvPr>
              <p:cNvSpPr/>
              <p:nvPr/>
            </p:nvSpPr>
            <p:spPr>
              <a:xfrm>
                <a:off x="6265075" y="1357908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0 h 55298"/>
                  <a:gd name="connsiteX2" fmla="*/ 0 w 55298"/>
                  <a:gd name="connsiteY2" fmla="*/ 27649 h 55298"/>
                  <a:gd name="connsiteX3" fmla="*/ 27649 w 55298"/>
                  <a:gd name="connsiteY3" fmla="*/ 55298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12361"/>
                      <a:pt x="42938" y="0"/>
                      <a:pt x="27649" y="0"/>
                    </a:cubicBezTo>
                    <a:cubicBezTo>
                      <a:pt x="12361" y="0"/>
                      <a:pt x="0" y="12361"/>
                      <a:pt x="0" y="27649"/>
                    </a:cubicBezTo>
                    <a:cubicBezTo>
                      <a:pt x="0" y="42938"/>
                      <a:pt x="12361" y="55298"/>
                      <a:pt x="27649" y="55298"/>
                    </a:cubicBezTo>
                    <a:cubicBezTo>
                      <a:pt x="42938" y="55298"/>
                      <a:pt x="55298" y="42938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bg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479" name="Gráfico 32">
              <a:extLst>
                <a:ext uri="{FF2B5EF4-FFF2-40B4-BE49-F238E27FC236}">
                  <a16:creationId xmlns:a16="http://schemas.microsoft.com/office/drawing/2014/main" id="{F38000E8-65EB-9C17-EC76-527545649906}"/>
                </a:ext>
              </a:extLst>
            </p:cNvPr>
            <p:cNvGrpSpPr/>
            <p:nvPr/>
          </p:nvGrpSpPr>
          <p:grpSpPr>
            <a:xfrm>
              <a:off x="6190910" y="1529723"/>
              <a:ext cx="123673" cy="55298"/>
              <a:chOff x="6190910" y="1529723"/>
              <a:chExt cx="123673" cy="55298"/>
            </a:xfrm>
            <a:noFill/>
          </p:grpSpPr>
          <p:sp>
            <p:nvSpPr>
              <p:cNvPr id="481" name="Forma livre: Forma 480">
                <a:extLst>
                  <a:ext uri="{FF2B5EF4-FFF2-40B4-BE49-F238E27FC236}">
                    <a16:creationId xmlns:a16="http://schemas.microsoft.com/office/drawing/2014/main" id="{F1A7E15E-5C10-392B-EA65-11D815129EF9}"/>
                  </a:ext>
                </a:extLst>
              </p:cNvPr>
              <p:cNvSpPr/>
              <p:nvPr/>
            </p:nvSpPr>
            <p:spPr>
              <a:xfrm>
                <a:off x="6190910" y="1557372"/>
                <a:ext cx="68765" cy="6505"/>
              </a:xfrm>
              <a:custGeom>
                <a:avLst/>
                <a:gdLst>
                  <a:gd name="connsiteX0" fmla="*/ 0 w 68765"/>
                  <a:gd name="connsiteY0" fmla="*/ 0 h 6505"/>
                  <a:gd name="connsiteX1" fmla="*/ 68765 w 68765"/>
                  <a:gd name="connsiteY1" fmla="*/ 0 h 65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8765" h="6505">
                    <a:moveTo>
                      <a:pt x="0" y="0"/>
                    </a:moveTo>
                    <a:lnTo>
                      <a:pt x="68765" y="0"/>
                    </a:lnTo>
                  </a:path>
                </a:pathLst>
              </a:custGeom>
              <a:ln w="19050" cap="sq">
                <a:solidFill>
                  <a:schemeClr val="bg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82" name="Forma livre: Forma 481">
                <a:extLst>
                  <a:ext uri="{FF2B5EF4-FFF2-40B4-BE49-F238E27FC236}">
                    <a16:creationId xmlns:a16="http://schemas.microsoft.com/office/drawing/2014/main" id="{C33EB8DA-E2A9-C9E7-A256-FBBABEAF4773}"/>
                  </a:ext>
                </a:extLst>
              </p:cNvPr>
              <p:cNvSpPr/>
              <p:nvPr/>
            </p:nvSpPr>
            <p:spPr>
              <a:xfrm>
                <a:off x="6259285" y="1529723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bg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480" name="Forma livre: Forma 479">
              <a:extLst>
                <a:ext uri="{FF2B5EF4-FFF2-40B4-BE49-F238E27FC236}">
                  <a16:creationId xmlns:a16="http://schemas.microsoft.com/office/drawing/2014/main" id="{97BAF066-310A-B234-14D1-7C1CD24962AC}"/>
                </a:ext>
              </a:extLst>
            </p:cNvPr>
            <p:cNvSpPr/>
            <p:nvPr/>
          </p:nvSpPr>
          <p:spPr>
            <a:xfrm>
              <a:off x="6152201" y="1686285"/>
              <a:ext cx="37362" cy="20848"/>
            </a:xfrm>
            <a:custGeom>
              <a:avLst/>
              <a:gdLst>
                <a:gd name="connsiteX0" fmla="*/ 0 w 37362"/>
                <a:gd name="connsiteY0" fmla="*/ 10505 h 20848"/>
                <a:gd name="connsiteX1" fmla="*/ 27064 w 37362"/>
                <a:gd name="connsiteY1" fmla="*/ 2373 h 20848"/>
                <a:gd name="connsiteX2" fmla="*/ 37343 w 37362"/>
                <a:gd name="connsiteY2" fmla="*/ 20849 h 20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7362" h="20848">
                  <a:moveTo>
                    <a:pt x="0" y="10505"/>
                  </a:moveTo>
                  <a:cubicBezTo>
                    <a:pt x="5205" y="811"/>
                    <a:pt x="17435" y="-2832"/>
                    <a:pt x="27064" y="2373"/>
                  </a:cubicBezTo>
                  <a:cubicBezTo>
                    <a:pt x="34025" y="6081"/>
                    <a:pt x="37668" y="13432"/>
                    <a:pt x="37343" y="20849"/>
                  </a:cubicBezTo>
                </a:path>
              </a:pathLst>
            </a:custGeom>
            <a:noFill/>
            <a:ln w="19050" cap="sq">
              <a:solidFill>
                <a:schemeClr val="bg1"/>
              </a:solidFill>
              <a:prstDash val="solid"/>
              <a:miter lim="800000"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497" name="Agrupar 496">
            <a:extLst>
              <a:ext uri="{FF2B5EF4-FFF2-40B4-BE49-F238E27FC236}">
                <a16:creationId xmlns:a16="http://schemas.microsoft.com/office/drawing/2014/main" id="{C7F68A23-E62B-3815-7239-AB527DA20514}"/>
              </a:ext>
            </a:extLst>
          </p:cNvPr>
          <p:cNvGrpSpPr/>
          <p:nvPr/>
        </p:nvGrpSpPr>
        <p:grpSpPr>
          <a:xfrm>
            <a:off x="5158342" y="5826606"/>
            <a:ext cx="325297" cy="355243"/>
            <a:chOff x="6000092" y="1357908"/>
            <a:chExt cx="365300" cy="398929"/>
          </a:xfrm>
        </p:grpSpPr>
        <p:sp>
          <p:nvSpPr>
            <p:cNvPr id="498" name="Forma livre: Forma 497">
              <a:extLst>
                <a:ext uri="{FF2B5EF4-FFF2-40B4-BE49-F238E27FC236}">
                  <a16:creationId xmlns:a16="http://schemas.microsoft.com/office/drawing/2014/main" id="{65EE942B-3367-AAD0-133F-71C072D9858B}"/>
                </a:ext>
              </a:extLst>
            </p:cNvPr>
            <p:cNvSpPr/>
            <p:nvPr/>
          </p:nvSpPr>
          <p:spPr>
            <a:xfrm>
              <a:off x="6000092" y="1418606"/>
              <a:ext cx="84058" cy="286120"/>
            </a:xfrm>
            <a:custGeom>
              <a:avLst/>
              <a:gdLst>
                <a:gd name="connsiteX0" fmla="*/ 51595 w 84058"/>
                <a:gd name="connsiteY0" fmla="*/ 0 h 286120"/>
                <a:gd name="connsiteX1" fmla="*/ 35266 w 84058"/>
                <a:gd name="connsiteY1" fmla="*/ 61674 h 286120"/>
                <a:gd name="connsiteX2" fmla="*/ 28760 w 84058"/>
                <a:gd name="connsiteY2" fmla="*/ 193415 h 286120"/>
                <a:gd name="connsiteX3" fmla="*/ 84059 w 84058"/>
                <a:gd name="connsiteY3" fmla="*/ 286121 h 2861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4058" h="286120">
                  <a:moveTo>
                    <a:pt x="51595" y="0"/>
                  </a:moveTo>
                  <a:cubicBezTo>
                    <a:pt x="37868" y="7872"/>
                    <a:pt x="26028" y="24852"/>
                    <a:pt x="35266" y="61674"/>
                  </a:cubicBezTo>
                  <a:cubicBezTo>
                    <a:pt x="35266" y="61674"/>
                    <a:pt x="-39549" y="126731"/>
                    <a:pt x="28760" y="193415"/>
                  </a:cubicBezTo>
                  <a:cubicBezTo>
                    <a:pt x="28760" y="193415"/>
                    <a:pt x="9243" y="281242"/>
                    <a:pt x="84059" y="286121"/>
                  </a:cubicBezTo>
                </a:path>
              </a:pathLst>
            </a:custGeom>
            <a:noFill/>
            <a:ln w="19050" cap="sq">
              <a:solidFill>
                <a:schemeClr val="bg1"/>
              </a:solidFill>
              <a:prstDash val="solid"/>
              <a:miter lim="800000"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499" name="Gráfico 32">
              <a:extLst>
                <a:ext uri="{FF2B5EF4-FFF2-40B4-BE49-F238E27FC236}">
                  <a16:creationId xmlns:a16="http://schemas.microsoft.com/office/drawing/2014/main" id="{EC1C3228-F170-3A91-9598-0ED2A7BC91AB}"/>
                </a:ext>
              </a:extLst>
            </p:cNvPr>
            <p:cNvGrpSpPr/>
            <p:nvPr/>
          </p:nvGrpSpPr>
          <p:grpSpPr>
            <a:xfrm>
              <a:off x="6061121" y="1359924"/>
              <a:ext cx="128487" cy="396366"/>
              <a:chOff x="6061121" y="1359924"/>
              <a:chExt cx="128487" cy="396366"/>
            </a:xfrm>
            <a:noFill/>
          </p:grpSpPr>
          <p:sp>
            <p:nvSpPr>
              <p:cNvPr id="514" name="Forma livre: Forma 513">
                <a:extLst>
                  <a:ext uri="{FF2B5EF4-FFF2-40B4-BE49-F238E27FC236}">
                    <a16:creationId xmlns:a16="http://schemas.microsoft.com/office/drawing/2014/main" id="{43AA722E-3B91-B87D-7082-6AA8AD187B64}"/>
                  </a:ext>
                </a:extLst>
              </p:cNvPr>
              <p:cNvSpPr/>
              <p:nvPr/>
            </p:nvSpPr>
            <p:spPr>
              <a:xfrm>
                <a:off x="6083891" y="1359924"/>
                <a:ext cx="105717" cy="396366"/>
              </a:xfrm>
              <a:custGeom>
                <a:avLst/>
                <a:gdLst>
                  <a:gd name="connsiteX0" fmla="*/ 52891 w 105717"/>
                  <a:gd name="connsiteY0" fmla="*/ 105718 h 396366"/>
                  <a:gd name="connsiteX1" fmla="*/ 0 w 105717"/>
                  <a:gd name="connsiteY1" fmla="*/ 52891 h 396366"/>
                  <a:gd name="connsiteX2" fmla="*/ 52891 w 105717"/>
                  <a:gd name="connsiteY2" fmla="*/ 0 h 396366"/>
                  <a:gd name="connsiteX3" fmla="*/ 105718 w 105717"/>
                  <a:gd name="connsiteY3" fmla="*/ 52826 h 396366"/>
                  <a:gd name="connsiteX4" fmla="*/ 105718 w 105717"/>
                  <a:gd name="connsiteY4" fmla="*/ 346884 h 396366"/>
                  <a:gd name="connsiteX5" fmla="*/ 80606 w 105717"/>
                  <a:gd name="connsiteY5" fmla="*/ 388911 h 396366"/>
                  <a:gd name="connsiteX6" fmla="*/ 9238 w 105717"/>
                  <a:gd name="connsiteY6" fmla="*/ 371150 h 396366"/>
                  <a:gd name="connsiteX7" fmla="*/ 15484 w 105717"/>
                  <a:gd name="connsiteY7" fmla="*/ 309216 h 396366"/>
                  <a:gd name="connsiteX8" fmla="*/ 45019 w 105717"/>
                  <a:gd name="connsiteY8" fmla="*/ 277078 h 3963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05717" h="396366">
                    <a:moveTo>
                      <a:pt x="52891" y="105718"/>
                    </a:moveTo>
                    <a:cubicBezTo>
                      <a:pt x="23681" y="105718"/>
                      <a:pt x="0" y="82037"/>
                      <a:pt x="0" y="52891"/>
                    </a:cubicBezTo>
                    <a:cubicBezTo>
                      <a:pt x="0" y="23746"/>
                      <a:pt x="23681" y="0"/>
                      <a:pt x="52891" y="0"/>
                    </a:cubicBezTo>
                    <a:cubicBezTo>
                      <a:pt x="82102" y="0"/>
                      <a:pt x="105718" y="23681"/>
                      <a:pt x="105718" y="52826"/>
                    </a:cubicBezTo>
                    <a:lnTo>
                      <a:pt x="105718" y="346884"/>
                    </a:lnTo>
                    <a:cubicBezTo>
                      <a:pt x="105718" y="364580"/>
                      <a:pt x="96414" y="379413"/>
                      <a:pt x="80606" y="388911"/>
                    </a:cubicBezTo>
                    <a:cubicBezTo>
                      <a:pt x="55949" y="403744"/>
                      <a:pt x="24006" y="395742"/>
                      <a:pt x="9238" y="371150"/>
                    </a:cubicBezTo>
                    <a:cubicBezTo>
                      <a:pt x="-2928" y="350918"/>
                      <a:pt x="260" y="325741"/>
                      <a:pt x="15484" y="309216"/>
                    </a:cubicBezTo>
                    <a:lnTo>
                      <a:pt x="45019" y="277078"/>
                    </a:lnTo>
                  </a:path>
                </a:pathLst>
              </a:custGeom>
              <a:noFill/>
              <a:ln w="19050" cap="sq">
                <a:solidFill>
                  <a:schemeClr val="bg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15" name="Forma livre: Forma 514">
                <a:extLst>
                  <a:ext uri="{FF2B5EF4-FFF2-40B4-BE49-F238E27FC236}">
                    <a16:creationId xmlns:a16="http://schemas.microsoft.com/office/drawing/2014/main" id="{E48754A8-E657-F6E2-E642-F0503C7D8671}"/>
                  </a:ext>
                </a:extLst>
              </p:cNvPr>
              <p:cNvSpPr/>
              <p:nvPr/>
            </p:nvSpPr>
            <p:spPr>
              <a:xfrm>
                <a:off x="6144784" y="1383865"/>
                <a:ext cx="41563" cy="38963"/>
              </a:xfrm>
              <a:custGeom>
                <a:avLst/>
                <a:gdLst>
                  <a:gd name="connsiteX0" fmla="*/ 36172 w 41563"/>
                  <a:gd name="connsiteY0" fmla="*/ 0 h 38963"/>
                  <a:gd name="connsiteX1" fmla="*/ 39425 w 41563"/>
                  <a:gd name="connsiteY1" fmla="*/ 24266 h 38963"/>
                  <a:gd name="connsiteX2" fmla="*/ 36432 w 41563"/>
                  <a:gd name="connsiteY2" fmla="*/ 29080 h 38963"/>
                  <a:gd name="connsiteX3" fmla="*/ 0 w 41563"/>
                  <a:gd name="connsiteY3" fmla="*/ 33439 h 389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563" h="38963">
                    <a:moveTo>
                      <a:pt x="36172" y="0"/>
                    </a:moveTo>
                    <a:cubicBezTo>
                      <a:pt x="41571" y="7547"/>
                      <a:pt x="43393" y="16004"/>
                      <a:pt x="39425" y="24266"/>
                    </a:cubicBezTo>
                    <a:cubicBezTo>
                      <a:pt x="38644" y="25893"/>
                      <a:pt x="37603" y="27519"/>
                      <a:pt x="36432" y="29080"/>
                    </a:cubicBezTo>
                    <a:cubicBezTo>
                      <a:pt x="27584" y="40270"/>
                      <a:pt x="11190" y="42287"/>
                      <a:pt x="0" y="33439"/>
                    </a:cubicBezTo>
                  </a:path>
                </a:pathLst>
              </a:custGeom>
              <a:noFill/>
              <a:ln w="19050" cap="sq">
                <a:solidFill>
                  <a:schemeClr val="bg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16" name="Forma livre: Forma 515">
                <a:extLst>
                  <a:ext uri="{FF2B5EF4-FFF2-40B4-BE49-F238E27FC236}">
                    <a16:creationId xmlns:a16="http://schemas.microsoft.com/office/drawing/2014/main" id="{61D1E033-B5EB-8992-E0B3-9B76A2719EE7}"/>
                  </a:ext>
                </a:extLst>
              </p:cNvPr>
              <p:cNvSpPr/>
              <p:nvPr/>
            </p:nvSpPr>
            <p:spPr>
              <a:xfrm>
                <a:off x="6081487" y="1460806"/>
                <a:ext cx="34217" cy="54474"/>
              </a:xfrm>
              <a:custGeom>
                <a:avLst/>
                <a:gdLst>
                  <a:gd name="connsiteX0" fmla="*/ 21076 w 34217"/>
                  <a:gd name="connsiteY0" fmla="*/ 54475 h 54474"/>
                  <a:gd name="connsiteX1" fmla="*/ 778 w 34217"/>
                  <a:gd name="connsiteY1" fmla="*/ 21035 h 54474"/>
                  <a:gd name="connsiteX2" fmla="*/ 34217 w 34217"/>
                  <a:gd name="connsiteY2" fmla="*/ 803 h 544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4217" h="54474">
                    <a:moveTo>
                      <a:pt x="21076" y="54475"/>
                    </a:moveTo>
                    <a:cubicBezTo>
                      <a:pt x="6308" y="50832"/>
                      <a:pt x="-2800" y="35803"/>
                      <a:pt x="778" y="21035"/>
                    </a:cubicBezTo>
                    <a:cubicBezTo>
                      <a:pt x="4421" y="6267"/>
                      <a:pt x="19449" y="-2841"/>
                      <a:pt x="34217" y="803"/>
                    </a:cubicBezTo>
                  </a:path>
                </a:pathLst>
              </a:custGeom>
              <a:noFill/>
              <a:ln w="19050" cap="sq">
                <a:solidFill>
                  <a:schemeClr val="bg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17" name="Forma livre: Forma 516">
                <a:extLst>
                  <a:ext uri="{FF2B5EF4-FFF2-40B4-BE49-F238E27FC236}">
                    <a16:creationId xmlns:a16="http://schemas.microsoft.com/office/drawing/2014/main" id="{FEA4593E-0C60-3F91-9671-45A4C9688C1F}"/>
                  </a:ext>
                </a:extLst>
              </p:cNvPr>
              <p:cNvSpPr/>
              <p:nvPr/>
            </p:nvSpPr>
            <p:spPr>
              <a:xfrm>
                <a:off x="6073547" y="1527543"/>
                <a:ext cx="114760" cy="72506"/>
              </a:xfrm>
              <a:custGeom>
                <a:avLst/>
                <a:gdLst>
                  <a:gd name="connsiteX0" fmla="*/ 114760 w 114760"/>
                  <a:gd name="connsiteY0" fmla="*/ 7254 h 72506"/>
                  <a:gd name="connsiteX1" fmla="*/ 73905 w 114760"/>
                  <a:gd name="connsiteY1" fmla="*/ 8881 h 72506"/>
                  <a:gd name="connsiteX2" fmla="*/ 0 w 114760"/>
                  <a:gd name="connsiteY2" fmla="*/ 72506 h 725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14760" h="72506">
                    <a:moveTo>
                      <a:pt x="114760" y="7254"/>
                    </a:moveTo>
                    <a:cubicBezTo>
                      <a:pt x="103375" y="-2830"/>
                      <a:pt x="83989" y="-2504"/>
                      <a:pt x="73905" y="8881"/>
                    </a:cubicBezTo>
                    <a:cubicBezTo>
                      <a:pt x="73905" y="8881"/>
                      <a:pt x="31488" y="72506"/>
                      <a:pt x="0" y="72506"/>
                    </a:cubicBezTo>
                  </a:path>
                </a:pathLst>
              </a:custGeom>
              <a:noFill/>
              <a:ln w="19050" cap="sq">
                <a:solidFill>
                  <a:schemeClr val="bg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18" name="Forma livre: Forma 517">
                <a:extLst>
                  <a:ext uri="{FF2B5EF4-FFF2-40B4-BE49-F238E27FC236}">
                    <a16:creationId xmlns:a16="http://schemas.microsoft.com/office/drawing/2014/main" id="{7EF52D47-5915-9DF4-0FD3-DC83571B08A3}"/>
                  </a:ext>
                </a:extLst>
              </p:cNvPr>
              <p:cNvSpPr/>
              <p:nvPr/>
            </p:nvSpPr>
            <p:spPr>
              <a:xfrm>
                <a:off x="6079857" y="1646956"/>
                <a:ext cx="29405" cy="9823"/>
              </a:xfrm>
              <a:custGeom>
                <a:avLst/>
                <a:gdLst>
                  <a:gd name="connsiteX0" fmla="*/ 0 w 29405"/>
                  <a:gd name="connsiteY0" fmla="*/ 0 h 9823"/>
                  <a:gd name="connsiteX1" fmla="*/ 29406 w 29405"/>
                  <a:gd name="connsiteY1" fmla="*/ 9824 h 98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9405" h="9823">
                    <a:moveTo>
                      <a:pt x="0" y="0"/>
                    </a:moveTo>
                    <a:lnTo>
                      <a:pt x="29406" y="9824"/>
                    </a:lnTo>
                  </a:path>
                </a:pathLst>
              </a:custGeom>
              <a:ln w="19050" cap="sq">
                <a:solidFill>
                  <a:schemeClr val="bg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19" name="Forma livre: Forma 518">
                <a:extLst>
                  <a:ext uri="{FF2B5EF4-FFF2-40B4-BE49-F238E27FC236}">
                    <a16:creationId xmlns:a16="http://schemas.microsoft.com/office/drawing/2014/main" id="{B96A24FE-10ED-4988-9111-7CE05DC65F13}"/>
                  </a:ext>
                </a:extLst>
              </p:cNvPr>
              <p:cNvSpPr/>
              <p:nvPr/>
            </p:nvSpPr>
            <p:spPr>
              <a:xfrm>
                <a:off x="6061121" y="1545272"/>
                <a:ext cx="47166" cy="34154"/>
              </a:xfrm>
              <a:custGeom>
                <a:avLst/>
                <a:gdLst>
                  <a:gd name="connsiteX0" fmla="*/ 0 w 47166"/>
                  <a:gd name="connsiteY0" fmla="*/ 0 h 34154"/>
                  <a:gd name="connsiteX1" fmla="*/ 47166 w 47166"/>
                  <a:gd name="connsiteY1" fmla="*/ 34155 h 341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166" h="34154">
                    <a:moveTo>
                      <a:pt x="0" y="0"/>
                    </a:moveTo>
                    <a:cubicBezTo>
                      <a:pt x="0" y="0"/>
                      <a:pt x="27649" y="13011"/>
                      <a:pt x="47166" y="34155"/>
                    </a:cubicBezTo>
                  </a:path>
                </a:pathLst>
              </a:custGeom>
              <a:noFill/>
              <a:ln w="19050" cap="sq">
                <a:solidFill>
                  <a:schemeClr val="bg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500" name="Gráfico 32">
              <a:extLst>
                <a:ext uri="{FF2B5EF4-FFF2-40B4-BE49-F238E27FC236}">
                  <a16:creationId xmlns:a16="http://schemas.microsoft.com/office/drawing/2014/main" id="{35FB8DE8-1091-0F34-5BA4-4F5A75897CA1}"/>
                </a:ext>
              </a:extLst>
            </p:cNvPr>
            <p:cNvGrpSpPr/>
            <p:nvPr/>
          </p:nvGrpSpPr>
          <p:grpSpPr>
            <a:xfrm>
              <a:off x="6191625" y="1599725"/>
              <a:ext cx="173767" cy="157112"/>
              <a:chOff x="6191625" y="1599725"/>
              <a:chExt cx="173767" cy="157112"/>
            </a:xfrm>
            <a:noFill/>
          </p:grpSpPr>
          <p:sp>
            <p:nvSpPr>
              <p:cNvPr id="510" name="Forma livre: Forma 509">
                <a:extLst>
                  <a:ext uri="{FF2B5EF4-FFF2-40B4-BE49-F238E27FC236}">
                    <a16:creationId xmlns:a16="http://schemas.microsoft.com/office/drawing/2014/main" id="{D7358072-F0E3-E70A-9DE5-995595CEBB1B}"/>
                  </a:ext>
                </a:extLst>
              </p:cNvPr>
              <p:cNvSpPr/>
              <p:nvPr/>
            </p:nvSpPr>
            <p:spPr>
              <a:xfrm>
                <a:off x="6310094" y="1621974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bg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11" name="Forma livre: Forma 510">
                <a:extLst>
                  <a:ext uri="{FF2B5EF4-FFF2-40B4-BE49-F238E27FC236}">
                    <a16:creationId xmlns:a16="http://schemas.microsoft.com/office/drawing/2014/main" id="{19D8BFEB-FDCF-32FC-84B2-8E8185E3D418}"/>
                  </a:ext>
                </a:extLst>
              </p:cNvPr>
              <p:cNvSpPr/>
              <p:nvPr/>
            </p:nvSpPr>
            <p:spPr>
              <a:xfrm>
                <a:off x="6191625" y="1599725"/>
                <a:ext cx="118078" cy="49898"/>
              </a:xfrm>
              <a:custGeom>
                <a:avLst/>
                <a:gdLst>
                  <a:gd name="connsiteX0" fmla="*/ 0 w 118078"/>
                  <a:gd name="connsiteY0" fmla="*/ 0 h 49898"/>
                  <a:gd name="connsiteX1" fmla="*/ 37343 w 118078"/>
                  <a:gd name="connsiteY1" fmla="*/ 0 h 49898"/>
                  <a:gd name="connsiteX2" fmla="*/ 87176 w 118078"/>
                  <a:gd name="connsiteY2" fmla="*/ 49899 h 49898"/>
                  <a:gd name="connsiteX3" fmla="*/ 118078 w 118078"/>
                  <a:gd name="connsiteY3" fmla="*/ 49899 h 49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8078" h="49898">
                    <a:moveTo>
                      <a:pt x="0" y="0"/>
                    </a:moveTo>
                    <a:lnTo>
                      <a:pt x="37343" y="0"/>
                    </a:lnTo>
                    <a:lnTo>
                      <a:pt x="87176" y="49899"/>
                    </a:lnTo>
                    <a:lnTo>
                      <a:pt x="118078" y="49899"/>
                    </a:lnTo>
                  </a:path>
                </a:pathLst>
              </a:custGeom>
              <a:noFill/>
              <a:ln w="19050" cap="sq">
                <a:solidFill>
                  <a:schemeClr val="bg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12" name="Forma livre: Forma 511">
                <a:extLst>
                  <a:ext uri="{FF2B5EF4-FFF2-40B4-BE49-F238E27FC236}">
                    <a16:creationId xmlns:a16="http://schemas.microsoft.com/office/drawing/2014/main" id="{02AC8E3C-37C5-D743-57F8-FD619AC2DE69}"/>
                  </a:ext>
                </a:extLst>
              </p:cNvPr>
              <p:cNvSpPr/>
              <p:nvPr/>
            </p:nvSpPr>
            <p:spPr>
              <a:xfrm>
                <a:off x="6191625" y="1665367"/>
                <a:ext cx="81906" cy="44108"/>
              </a:xfrm>
              <a:custGeom>
                <a:avLst/>
                <a:gdLst>
                  <a:gd name="connsiteX0" fmla="*/ 0 w 81906"/>
                  <a:gd name="connsiteY0" fmla="*/ 0 h 44108"/>
                  <a:gd name="connsiteX1" fmla="*/ 37343 w 81906"/>
                  <a:gd name="connsiteY1" fmla="*/ 0 h 44108"/>
                  <a:gd name="connsiteX2" fmla="*/ 81907 w 81906"/>
                  <a:gd name="connsiteY2" fmla="*/ 44109 h 441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1906" h="44108">
                    <a:moveTo>
                      <a:pt x="0" y="0"/>
                    </a:moveTo>
                    <a:lnTo>
                      <a:pt x="37343" y="0"/>
                    </a:lnTo>
                    <a:lnTo>
                      <a:pt x="81907" y="44109"/>
                    </a:lnTo>
                  </a:path>
                </a:pathLst>
              </a:custGeom>
              <a:noFill/>
              <a:ln w="19050" cap="sq">
                <a:solidFill>
                  <a:schemeClr val="bg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13" name="Forma livre: Forma 512">
                <a:extLst>
                  <a:ext uri="{FF2B5EF4-FFF2-40B4-BE49-F238E27FC236}">
                    <a16:creationId xmlns:a16="http://schemas.microsoft.com/office/drawing/2014/main" id="{24D07CA4-ABD9-1E79-4613-295F19C4A426}"/>
                  </a:ext>
                </a:extLst>
              </p:cNvPr>
              <p:cNvSpPr/>
              <p:nvPr/>
            </p:nvSpPr>
            <p:spPr>
              <a:xfrm>
                <a:off x="6265075" y="1701539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bg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501" name="Gráfico 32">
              <a:extLst>
                <a:ext uri="{FF2B5EF4-FFF2-40B4-BE49-F238E27FC236}">
                  <a16:creationId xmlns:a16="http://schemas.microsoft.com/office/drawing/2014/main" id="{F8F7C491-02D6-D0B8-64E1-895BE20F0BEA}"/>
                </a:ext>
              </a:extLst>
            </p:cNvPr>
            <p:cNvGrpSpPr/>
            <p:nvPr/>
          </p:nvGrpSpPr>
          <p:grpSpPr>
            <a:xfrm>
              <a:off x="6191625" y="1357908"/>
              <a:ext cx="173767" cy="157112"/>
              <a:chOff x="6191625" y="1357908"/>
              <a:chExt cx="173767" cy="157112"/>
            </a:xfrm>
            <a:noFill/>
          </p:grpSpPr>
          <p:sp>
            <p:nvSpPr>
              <p:cNvPr id="506" name="Forma livre: Forma 505">
                <a:extLst>
                  <a:ext uri="{FF2B5EF4-FFF2-40B4-BE49-F238E27FC236}">
                    <a16:creationId xmlns:a16="http://schemas.microsoft.com/office/drawing/2014/main" id="{495A4E47-A199-391C-10CD-65AC86213D7B}"/>
                  </a:ext>
                </a:extLst>
              </p:cNvPr>
              <p:cNvSpPr/>
              <p:nvPr/>
            </p:nvSpPr>
            <p:spPr>
              <a:xfrm>
                <a:off x="6310094" y="1437472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0 h 55298"/>
                  <a:gd name="connsiteX2" fmla="*/ 0 w 55298"/>
                  <a:gd name="connsiteY2" fmla="*/ 27649 h 55298"/>
                  <a:gd name="connsiteX3" fmla="*/ 27649 w 55298"/>
                  <a:gd name="connsiteY3" fmla="*/ 55298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12361"/>
                      <a:pt x="42938" y="0"/>
                      <a:pt x="27649" y="0"/>
                    </a:cubicBezTo>
                    <a:cubicBezTo>
                      <a:pt x="12361" y="0"/>
                      <a:pt x="0" y="12361"/>
                      <a:pt x="0" y="27649"/>
                    </a:cubicBezTo>
                    <a:cubicBezTo>
                      <a:pt x="0" y="42938"/>
                      <a:pt x="12361" y="55298"/>
                      <a:pt x="27649" y="55298"/>
                    </a:cubicBezTo>
                    <a:cubicBezTo>
                      <a:pt x="42938" y="55298"/>
                      <a:pt x="55298" y="42938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bg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07" name="Forma livre: Forma 506">
                <a:extLst>
                  <a:ext uri="{FF2B5EF4-FFF2-40B4-BE49-F238E27FC236}">
                    <a16:creationId xmlns:a16="http://schemas.microsoft.com/office/drawing/2014/main" id="{5403E8B2-C861-AAFD-9B86-C661732B2F5A}"/>
                  </a:ext>
                </a:extLst>
              </p:cNvPr>
              <p:cNvSpPr/>
              <p:nvPr/>
            </p:nvSpPr>
            <p:spPr>
              <a:xfrm>
                <a:off x="6191625" y="1465122"/>
                <a:ext cx="118468" cy="49898"/>
              </a:xfrm>
              <a:custGeom>
                <a:avLst/>
                <a:gdLst>
                  <a:gd name="connsiteX0" fmla="*/ 0 w 118468"/>
                  <a:gd name="connsiteY0" fmla="*/ 49899 h 49898"/>
                  <a:gd name="connsiteX1" fmla="*/ 37343 w 118468"/>
                  <a:gd name="connsiteY1" fmla="*/ 49899 h 49898"/>
                  <a:gd name="connsiteX2" fmla="*/ 87176 w 118468"/>
                  <a:gd name="connsiteY2" fmla="*/ 0 h 49898"/>
                  <a:gd name="connsiteX3" fmla="*/ 118469 w 118468"/>
                  <a:gd name="connsiteY3" fmla="*/ 0 h 49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8468" h="49898">
                    <a:moveTo>
                      <a:pt x="0" y="49899"/>
                    </a:moveTo>
                    <a:lnTo>
                      <a:pt x="37343" y="49899"/>
                    </a:lnTo>
                    <a:lnTo>
                      <a:pt x="87176" y="0"/>
                    </a:lnTo>
                    <a:lnTo>
                      <a:pt x="118469" y="0"/>
                    </a:lnTo>
                  </a:path>
                </a:pathLst>
              </a:custGeom>
              <a:noFill/>
              <a:ln w="19050" cap="sq">
                <a:solidFill>
                  <a:schemeClr val="bg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08" name="Forma livre: Forma 507">
                <a:extLst>
                  <a:ext uri="{FF2B5EF4-FFF2-40B4-BE49-F238E27FC236}">
                    <a16:creationId xmlns:a16="http://schemas.microsoft.com/office/drawing/2014/main" id="{68CA9898-7AE4-E4A6-CF39-9143BBFDCAD3}"/>
                  </a:ext>
                </a:extLst>
              </p:cNvPr>
              <p:cNvSpPr/>
              <p:nvPr/>
            </p:nvSpPr>
            <p:spPr>
              <a:xfrm>
                <a:off x="6191625" y="1405269"/>
                <a:ext cx="81451" cy="44043"/>
              </a:xfrm>
              <a:custGeom>
                <a:avLst/>
                <a:gdLst>
                  <a:gd name="connsiteX0" fmla="*/ 0 w 81451"/>
                  <a:gd name="connsiteY0" fmla="*/ 44044 h 44043"/>
                  <a:gd name="connsiteX1" fmla="*/ 37343 w 81451"/>
                  <a:gd name="connsiteY1" fmla="*/ 44044 h 44043"/>
                  <a:gd name="connsiteX2" fmla="*/ 81451 w 81451"/>
                  <a:gd name="connsiteY2" fmla="*/ 0 h 440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1451" h="44043">
                    <a:moveTo>
                      <a:pt x="0" y="44044"/>
                    </a:moveTo>
                    <a:lnTo>
                      <a:pt x="37343" y="44044"/>
                    </a:lnTo>
                    <a:lnTo>
                      <a:pt x="81451" y="0"/>
                    </a:lnTo>
                  </a:path>
                </a:pathLst>
              </a:custGeom>
              <a:noFill/>
              <a:ln w="19050" cap="sq">
                <a:solidFill>
                  <a:schemeClr val="bg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09" name="Forma livre: Forma 508">
                <a:extLst>
                  <a:ext uri="{FF2B5EF4-FFF2-40B4-BE49-F238E27FC236}">
                    <a16:creationId xmlns:a16="http://schemas.microsoft.com/office/drawing/2014/main" id="{B3F687F1-D3E7-702E-951C-C9ECBE2470F7}"/>
                  </a:ext>
                </a:extLst>
              </p:cNvPr>
              <p:cNvSpPr/>
              <p:nvPr/>
            </p:nvSpPr>
            <p:spPr>
              <a:xfrm>
                <a:off x="6265075" y="1357908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0 h 55298"/>
                  <a:gd name="connsiteX2" fmla="*/ 0 w 55298"/>
                  <a:gd name="connsiteY2" fmla="*/ 27649 h 55298"/>
                  <a:gd name="connsiteX3" fmla="*/ 27649 w 55298"/>
                  <a:gd name="connsiteY3" fmla="*/ 55298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12361"/>
                      <a:pt x="42938" y="0"/>
                      <a:pt x="27649" y="0"/>
                    </a:cubicBezTo>
                    <a:cubicBezTo>
                      <a:pt x="12361" y="0"/>
                      <a:pt x="0" y="12361"/>
                      <a:pt x="0" y="27649"/>
                    </a:cubicBezTo>
                    <a:cubicBezTo>
                      <a:pt x="0" y="42938"/>
                      <a:pt x="12361" y="55298"/>
                      <a:pt x="27649" y="55298"/>
                    </a:cubicBezTo>
                    <a:cubicBezTo>
                      <a:pt x="42938" y="55298"/>
                      <a:pt x="55298" y="42938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bg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502" name="Gráfico 32">
              <a:extLst>
                <a:ext uri="{FF2B5EF4-FFF2-40B4-BE49-F238E27FC236}">
                  <a16:creationId xmlns:a16="http://schemas.microsoft.com/office/drawing/2014/main" id="{5AAF5781-EFDB-A16C-24C4-DB71BBBD8AE4}"/>
                </a:ext>
              </a:extLst>
            </p:cNvPr>
            <p:cNvGrpSpPr/>
            <p:nvPr/>
          </p:nvGrpSpPr>
          <p:grpSpPr>
            <a:xfrm>
              <a:off x="6190910" y="1529723"/>
              <a:ext cx="123673" cy="55298"/>
              <a:chOff x="6190910" y="1529723"/>
              <a:chExt cx="123673" cy="55298"/>
            </a:xfrm>
            <a:noFill/>
          </p:grpSpPr>
          <p:sp>
            <p:nvSpPr>
              <p:cNvPr id="504" name="Forma livre: Forma 503">
                <a:extLst>
                  <a:ext uri="{FF2B5EF4-FFF2-40B4-BE49-F238E27FC236}">
                    <a16:creationId xmlns:a16="http://schemas.microsoft.com/office/drawing/2014/main" id="{58B11E7A-0553-36CF-7524-A1396F167363}"/>
                  </a:ext>
                </a:extLst>
              </p:cNvPr>
              <p:cNvSpPr/>
              <p:nvPr/>
            </p:nvSpPr>
            <p:spPr>
              <a:xfrm>
                <a:off x="6190910" y="1557372"/>
                <a:ext cx="68765" cy="6505"/>
              </a:xfrm>
              <a:custGeom>
                <a:avLst/>
                <a:gdLst>
                  <a:gd name="connsiteX0" fmla="*/ 0 w 68765"/>
                  <a:gd name="connsiteY0" fmla="*/ 0 h 6505"/>
                  <a:gd name="connsiteX1" fmla="*/ 68765 w 68765"/>
                  <a:gd name="connsiteY1" fmla="*/ 0 h 65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8765" h="6505">
                    <a:moveTo>
                      <a:pt x="0" y="0"/>
                    </a:moveTo>
                    <a:lnTo>
                      <a:pt x="68765" y="0"/>
                    </a:lnTo>
                  </a:path>
                </a:pathLst>
              </a:custGeom>
              <a:ln w="19050" cap="sq">
                <a:solidFill>
                  <a:schemeClr val="bg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05" name="Forma livre: Forma 504">
                <a:extLst>
                  <a:ext uri="{FF2B5EF4-FFF2-40B4-BE49-F238E27FC236}">
                    <a16:creationId xmlns:a16="http://schemas.microsoft.com/office/drawing/2014/main" id="{2BD0ADC5-F479-38F1-0070-714FD11CA197}"/>
                  </a:ext>
                </a:extLst>
              </p:cNvPr>
              <p:cNvSpPr/>
              <p:nvPr/>
            </p:nvSpPr>
            <p:spPr>
              <a:xfrm>
                <a:off x="6259285" y="1529723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bg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503" name="Forma livre: Forma 502">
              <a:extLst>
                <a:ext uri="{FF2B5EF4-FFF2-40B4-BE49-F238E27FC236}">
                  <a16:creationId xmlns:a16="http://schemas.microsoft.com/office/drawing/2014/main" id="{64312D02-3C31-ECAD-5881-80A2D863E1F2}"/>
                </a:ext>
              </a:extLst>
            </p:cNvPr>
            <p:cNvSpPr/>
            <p:nvPr/>
          </p:nvSpPr>
          <p:spPr>
            <a:xfrm>
              <a:off x="6152201" y="1686285"/>
              <a:ext cx="37362" cy="20848"/>
            </a:xfrm>
            <a:custGeom>
              <a:avLst/>
              <a:gdLst>
                <a:gd name="connsiteX0" fmla="*/ 0 w 37362"/>
                <a:gd name="connsiteY0" fmla="*/ 10505 h 20848"/>
                <a:gd name="connsiteX1" fmla="*/ 27064 w 37362"/>
                <a:gd name="connsiteY1" fmla="*/ 2373 h 20848"/>
                <a:gd name="connsiteX2" fmla="*/ 37343 w 37362"/>
                <a:gd name="connsiteY2" fmla="*/ 20849 h 20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7362" h="20848">
                  <a:moveTo>
                    <a:pt x="0" y="10505"/>
                  </a:moveTo>
                  <a:cubicBezTo>
                    <a:pt x="5205" y="811"/>
                    <a:pt x="17435" y="-2832"/>
                    <a:pt x="27064" y="2373"/>
                  </a:cubicBezTo>
                  <a:cubicBezTo>
                    <a:pt x="34025" y="6081"/>
                    <a:pt x="37668" y="13432"/>
                    <a:pt x="37343" y="20849"/>
                  </a:cubicBezTo>
                </a:path>
              </a:pathLst>
            </a:custGeom>
            <a:noFill/>
            <a:ln w="19050" cap="sq">
              <a:solidFill>
                <a:schemeClr val="bg1"/>
              </a:solidFill>
              <a:prstDash val="solid"/>
              <a:miter lim="800000"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520" name="Agrupar 519">
            <a:extLst>
              <a:ext uri="{FF2B5EF4-FFF2-40B4-BE49-F238E27FC236}">
                <a16:creationId xmlns:a16="http://schemas.microsoft.com/office/drawing/2014/main" id="{FAC74F66-D04C-C8BE-6507-61D2B9107D90}"/>
              </a:ext>
            </a:extLst>
          </p:cNvPr>
          <p:cNvGrpSpPr/>
          <p:nvPr/>
        </p:nvGrpSpPr>
        <p:grpSpPr>
          <a:xfrm>
            <a:off x="6571539" y="5826606"/>
            <a:ext cx="325297" cy="355243"/>
            <a:chOff x="6000092" y="1357908"/>
            <a:chExt cx="365300" cy="398929"/>
          </a:xfrm>
        </p:grpSpPr>
        <p:sp>
          <p:nvSpPr>
            <p:cNvPr id="521" name="Forma livre: Forma 520">
              <a:extLst>
                <a:ext uri="{FF2B5EF4-FFF2-40B4-BE49-F238E27FC236}">
                  <a16:creationId xmlns:a16="http://schemas.microsoft.com/office/drawing/2014/main" id="{E673152D-7F1F-663F-87DC-9732875EECD8}"/>
                </a:ext>
              </a:extLst>
            </p:cNvPr>
            <p:cNvSpPr/>
            <p:nvPr/>
          </p:nvSpPr>
          <p:spPr>
            <a:xfrm>
              <a:off x="6000092" y="1418606"/>
              <a:ext cx="84058" cy="286120"/>
            </a:xfrm>
            <a:custGeom>
              <a:avLst/>
              <a:gdLst>
                <a:gd name="connsiteX0" fmla="*/ 51595 w 84058"/>
                <a:gd name="connsiteY0" fmla="*/ 0 h 286120"/>
                <a:gd name="connsiteX1" fmla="*/ 35266 w 84058"/>
                <a:gd name="connsiteY1" fmla="*/ 61674 h 286120"/>
                <a:gd name="connsiteX2" fmla="*/ 28760 w 84058"/>
                <a:gd name="connsiteY2" fmla="*/ 193415 h 286120"/>
                <a:gd name="connsiteX3" fmla="*/ 84059 w 84058"/>
                <a:gd name="connsiteY3" fmla="*/ 286121 h 2861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4058" h="286120">
                  <a:moveTo>
                    <a:pt x="51595" y="0"/>
                  </a:moveTo>
                  <a:cubicBezTo>
                    <a:pt x="37868" y="7872"/>
                    <a:pt x="26028" y="24852"/>
                    <a:pt x="35266" y="61674"/>
                  </a:cubicBezTo>
                  <a:cubicBezTo>
                    <a:pt x="35266" y="61674"/>
                    <a:pt x="-39549" y="126731"/>
                    <a:pt x="28760" y="193415"/>
                  </a:cubicBezTo>
                  <a:cubicBezTo>
                    <a:pt x="28760" y="193415"/>
                    <a:pt x="9243" y="281242"/>
                    <a:pt x="84059" y="286121"/>
                  </a:cubicBezTo>
                </a:path>
              </a:pathLst>
            </a:custGeom>
            <a:noFill/>
            <a:ln w="19050" cap="sq">
              <a:solidFill>
                <a:schemeClr val="bg1"/>
              </a:solidFill>
              <a:prstDash val="solid"/>
              <a:miter lim="800000"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522" name="Gráfico 32">
              <a:extLst>
                <a:ext uri="{FF2B5EF4-FFF2-40B4-BE49-F238E27FC236}">
                  <a16:creationId xmlns:a16="http://schemas.microsoft.com/office/drawing/2014/main" id="{FB4ACA19-C5DD-32DE-EED2-D719D73F0592}"/>
                </a:ext>
              </a:extLst>
            </p:cNvPr>
            <p:cNvGrpSpPr/>
            <p:nvPr/>
          </p:nvGrpSpPr>
          <p:grpSpPr>
            <a:xfrm>
              <a:off x="6061121" y="1359924"/>
              <a:ext cx="128487" cy="396366"/>
              <a:chOff x="6061121" y="1359924"/>
              <a:chExt cx="128487" cy="396366"/>
            </a:xfrm>
            <a:noFill/>
          </p:grpSpPr>
          <p:sp>
            <p:nvSpPr>
              <p:cNvPr id="537" name="Forma livre: Forma 536">
                <a:extLst>
                  <a:ext uri="{FF2B5EF4-FFF2-40B4-BE49-F238E27FC236}">
                    <a16:creationId xmlns:a16="http://schemas.microsoft.com/office/drawing/2014/main" id="{4D4C0290-5AEB-2810-D16D-269B3C15AFCB}"/>
                  </a:ext>
                </a:extLst>
              </p:cNvPr>
              <p:cNvSpPr/>
              <p:nvPr/>
            </p:nvSpPr>
            <p:spPr>
              <a:xfrm>
                <a:off x="6083891" y="1359924"/>
                <a:ext cx="105717" cy="396366"/>
              </a:xfrm>
              <a:custGeom>
                <a:avLst/>
                <a:gdLst>
                  <a:gd name="connsiteX0" fmla="*/ 52891 w 105717"/>
                  <a:gd name="connsiteY0" fmla="*/ 105718 h 396366"/>
                  <a:gd name="connsiteX1" fmla="*/ 0 w 105717"/>
                  <a:gd name="connsiteY1" fmla="*/ 52891 h 396366"/>
                  <a:gd name="connsiteX2" fmla="*/ 52891 w 105717"/>
                  <a:gd name="connsiteY2" fmla="*/ 0 h 396366"/>
                  <a:gd name="connsiteX3" fmla="*/ 105718 w 105717"/>
                  <a:gd name="connsiteY3" fmla="*/ 52826 h 396366"/>
                  <a:gd name="connsiteX4" fmla="*/ 105718 w 105717"/>
                  <a:gd name="connsiteY4" fmla="*/ 346884 h 396366"/>
                  <a:gd name="connsiteX5" fmla="*/ 80606 w 105717"/>
                  <a:gd name="connsiteY5" fmla="*/ 388911 h 396366"/>
                  <a:gd name="connsiteX6" fmla="*/ 9238 w 105717"/>
                  <a:gd name="connsiteY6" fmla="*/ 371150 h 396366"/>
                  <a:gd name="connsiteX7" fmla="*/ 15484 w 105717"/>
                  <a:gd name="connsiteY7" fmla="*/ 309216 h 396366"/>
                  <a:gd name="connsiteX8" fmla="*/ 45019 w 105717"/>
                  <a:gd name="connsiteY8" fmla="*/ 277078 h 3963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05717" h="396366">
                    <a:moveTo>
                      <a:pt x="52891" y="105718"/>
                    </a:moveTo>
                    <a:cubicBezTo>
                      <a:pt x="23681" y="105718"/>
                      <a:pt x="0" y="82037"/>
                      <a:pt x="0" y="52891"/>
                    </a:cubicBezTo>
                    <a:cubicBezTo>
                      <a:pt x="0" y="23746"/>
                      <a:pt x="23681" y="0"/>
                      <a:pt x="52891" y="0"/>
                    </a:cubicBezTo>
                    <a:cubicBezTo>
                      <a:pt x="82102" y="0"/>
                      <a:pt x="105718" y="23681"/>
                      <a:pt x="105718" y="52826"/>
                    </a:cubicBezTo>
                    <a:lnTo>
                      <a:pt x="105718" y="346884"/>
                    </a:lnTo>
                    <a:cubicBezTo>
                      <a:pt x="105718" y="364580"/>
                      <a:pt x="96414" y="379413"/>
                      <a:pt x="80606" y="388911"/>
                    </a:cubicBezTo>
                    <a:cubicBezTo>
                      <a:pt x="55949" y="403744"/>
                      <a:pt x="24006" y="395742"/>
                      <a:pt x="9238" y="371150"/>
                    </a:cubicBezTo>
                    <a:cubicBezTo>
                      <a:pt x="-2928" y="350918"/>
                      <a:pt x="260" y="325741"/>
                      <a:pt x="15484" y="309216"/>
                    </a:cubicBezTo>
                    <a:lnTo>
                      <a:pt x="45019" y="277078"/>
                    </a:lnTo>
                  </a:path>
                </a:pathLst>
              </a:custGeom>
              <a:noFill/>
              <a:ln w="19050" cap="sq">
                <a:solidFill>
                  <a:schemeClr val="bg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38" name="Forma livre: Forma 537">
                <a:extLst>
                  <a:ext uri="{FF2B5EF4-FFF2-40B4-BE49-F238E27FC236}">
                    <a16:creationId xmlns:a16="http://schemas.microsoft.com/office/drawing/2014/main" id="{ABE8214B-B342-ECF3-468E-63E2526DF33A}"/>
                  </a:ext>
                </a:extLst>
              </p:cNvPr>
              <p:cNvSpPr/>
              <p:nvPr/>
            </p:nvSpPr>
            <p:spPr>
              <a:xfrm>
                <a:off x="6144784" y="1383865"/>
                <a:ext cx="41563" cy="38963"/>
              </a:xfrm>
              <a:custGeom>
                <a:avLst/>
                <a:gdLst>
                  <a:gd name="connsiteX0" fmla="*/ 36172 w 41563"/>
                  <a:gd name="connsiteY0" fmla="*/ 0 h 38963"/>
                  <a:gd name="connsiteX1" fmla="*/ 39425 w 41563"/>
                  <a:gd name="connsiteY1" fmla="*/ 24266 h 38963"/>
                  <a:gd name="connsiteX2" fmla="*/ 36432 w 41563"/>
                  <a:gd name="connsiteY2" fmla="*/ 29080 h 38963"/>
                  <a:gd name="connsiteX3" fmla="*/ 0 w 41563"/>
                  <a:gd name="connsiteY3" fmla="*/ 33439 h 389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563" h="38963">
                    <a:moveTo>
                      <a:pt x="36172" y="0"/>
                    </a:moveTo>
                    <a:cubicBezTo>
                      <a:pt x="41571" y="7547"/>
                      <a:pt x="43393" y="16004"/>
                      <a:pt x="39425" y="24266"/>
                    </a:cubicBezTo>
                    <a:cubicBezTo>
                      <a:pt x="38644" y="25893"/>
                      <a:pt x="37603" y="27519"/>
                      <a:pt x="36432" y="29080"/>
                    </a:cubicBezTo>
                    <a:cubicBezTo>
                      <a:pt x="27584" y="40270"/>
                      <a:pt x="11190" y="42287"/>
                      <a:pt x="0" y="33439"/>
                    </a:cubicBezTo>
                  </a:path>
                </a:pathLst>
              </a:custGeom>
              <a:noFill/>
              <a:ln w="19050" cap="sq">
                <a:solidFill>
                  <a:schemeClr val="bg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39" name="Forma livre: Forma 538">
                <a:extLst>
                  <a:ext uri="{FF2B5EF4-FFF2-40B4-BE49-F238E27FC236}">
                    <a16:creationId xmlns:a16="http://schemas.microsoft.com/office/drawing/2014/main" id="{983912D7-1383-DFB2-CB4C-3FAD30F438A0}"/>
                  </a:ext>
                </a:extLst>
              </p:cNvPr>
              <p:cNvSpPr/>
              <p:nvPr/>
            </p:nvSpPr>
            <p:spPr>
              <a:xfrm>
                <a:off x="6081487" y="1460806"/>
                <a:ext cx="34217" cy="54474"/>
              </a:xfrm>
              <a:custGeom>
                <a:avLst/>
                <a:gdLst>
                  <a:gd name="connsiteX0" fmla="*/ 21076 w 34217"/>
                  <a:gd name="connsiteY0" fmla="*/ 54475 h 54474"/>
                  <a:gd name="connsiteX1" fmla="*/ 778 w 34217"/>
                  <a:gd name="connsiteY1" fmla="*/ 21035 h 54474"/>
                  <a:gd name="connsiteX2" fmla="*/ 34217 w 34217"/>
                  <a:gd name="connsiteY2" fmla="*/ 803 h 544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4217" h="54474">
                    <a:moveTo>
                      <a:pt x="21076" y="54475"/>
                    </a:moveTo>
                    <a:cubicBezTo>
                      <a:pt x="6308" y="50832"/>
                      <a:pt x="-2800" y="35803"/>
                      <a:pt x="778" y="21035"/>
                    </a:cubicBezTo>
                    <a:cubicBezTo>
                      <a:pt x="4421" y="6267"/>
                      <a:pt x="19449" y="-2841"/>
                      <a:pt x="34217" y="803"/>
                    </a:cubicBezTo>
                  </a:path>
                </a:pathLst>
              </a:custGeom>
              <a:noFill/>
              <a:ln w="19050" cap="sq">
                <a:solidFill>
                  <a:schemeClr val="bg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40" name="Forma livre: Forma 539">
                <a:extLst>
                  <a:ext uri="{FF2B5EF4-FFF2-40B4-BE49-F238E27FC236}">
                    <a16:creationId xmlns:a16="http://schemas.microsoft.com/office/drawing/2014/main" id="{E10847BE-C70D-23A8-6DDE-D10651493F79}"/>
                  </a:ext>
                </a:extLst>
              </p:cNvPr>
              <p:cNvSpPr/>
              <p:nvPr/>
            </p:nvSpPr>
            <p:spPr>
              <a:xfrm>
                <a:off x="6073547" y="1527543"/>
                <a:ext cx="114760" cy="72506"/>
              </a:xfrm>
              <a:custGeom>
                <a:avLst/>
                <a:gdLst>
                  <a:gd name="connsiteX0" fmla="*/ 114760 w 114760"/>
                  <a:gd name="connsiteY0" fmla="*/ 7254 h 72506"/>
                  <a:gd name="connsiteX1" fmla="*/ 73905 w 114760"/>
                  <a:gd name="connsiteY1" fmla="*/ 8881 h 72506"/>
                  <a:gd name="connsiteX2" fmla="*/ 0 w 114760"/>
                  <a:gd name="connsiteY2" fmla="*/ 72506 h 725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14760" h="72506">
                    <a:moveTo>
                      <a:pt x="114760" y="7254"/>
                    </a:moveTo>
                    <a:cubicBezTo>
                      <a:pt x="103375" y="-2830"/>
                      <a:pt x="83989" y="-2504"/>
                      <a:pt x="73905" y="8881"/>
                    </a:cubicBezTo>
                    <a:cubicBezTo>
                      <a:pt x="73905" y="8881"/>
                      <a:pt x="31488" y="72506"/>
                      <a:pt x="0" y="72506"/>
                    </a:cubicBezTo>
                  </a:path>
                </a:pathLst>
              </a:custGeom>
              <a:noFill/>
              <a:ln w="19050" cap="sq">
                <a:solidFill>
                  <a:schemeClr val="bg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41" name="Forma livre: Forma 540">
                <a:extLst>
                  <a:ext uri="{FF2B5EF4-FFF2-40B4-BE49-F238E27FC236}">
                    <a16:creationId xmlns:a16="http://schemas.microsoft.com/office/drawing/2014/main" id="{54B3041F-75C2-87B4-09E1-46B44B596247}"/>
                  </a:ext>
                </a:extLst>
              </p:cNvPr>
              <p:cNvSpPr/>
              <p:nvPr/>
            </p:nvSpPr>
            <p:spPr>
              <a:xfrm>
                <a:off x="6079857" y="1646956"/>
                <a:ext cx="29405" cy="9823"/>
              </a:xfrm>
              <a:custGeom>
                <a:avLst/>
                <a:gdLst>
                  <a:gd name="connsiteX0" fmla="*/ 0 w 29405"/>
                  <a:gd name="connsiteY0" fmla="*/ 0 h 9823"/>
                  <a:gd name="connsiteX1" fmla="*/ 29406 w 29405"/>
                  <a:gd name="connsiteY1" fmla="*/ 9824 h 98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9405" h="9823">
                    <a:moveTo>
                      <a:pt x="0" y="0"/>
                    </a:moveTo>
                    <a:lnTo>
                      <a:pt x="29406" y="9824"/>
                    </a:lnTo>
                  </a:path>
                </a:pathLst>
              </a:custGeom>
              <a:ln w="19050" cap="sq">
                <a:solidFill>
                  <a:schemeClr val="bg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42" name="Forma livre: Forma 541">
                <a:extLst>
                  <a:ext uri="{FF2B5EF4-FFF2-40B4-BE49-F238E27FC236}">
                    <a16:creationId xmlns:a16="http://schemas.microsoft.com/office/drawing/2014/main" id="{399B444F-CA7F-BA35-053D-EF343FB9DD31}"/>
                  </a:ext>
                </a:extLst>
              </p:cNvPr>
              <p:cNvSpPr/>
              <p:nvPr/>
            </p:nvSpPr>
            <p:spPr>
              <a:xfrm>
                <a:off x="6061121" y="1545272"/>
                <a:ext cx="47166" cy="34154"/>
              </a:xfrm>
              <a:custGeom>
                <a:avLst/>
                <a:gdLst>
                  <a:gd name="connsiteX0" fmla="*/ 0 w 47166"/>
                  <a:gd name="connsiteY0" fmla="*/ 0 h 34154"/>
                  <a:gd name="connsiteX1" fmla="*/ 47166 w 47166"/>
                  <a:gd name="connsiteY1" fmla="*/ 34155 h 341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166" h="34154">
                    <a:moveTo>
                      <a:pt x="0" y="0"/>
                    </a:moveTo>
                    <a:cubicBezTo>
                      <a:pt x="0" y="0"/>
                      <a:pt x="27649" y="13011"/>
                      <a:pt x="47166" y="34155"/>
                    </a:cubicBezTo>
                  </a:path>
                </a:pathLst>
              </a:custGeom>
              <a:noFill/>
              <a:ln w="19050" cap="sq">
                <a:solidFill>
                  <a:schemeClr val="bg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523" name="Gráfico 32">
              <a:extLst>
                <a:ext uri="{FF2B5EF4-FFF2-40B4-BE49-F238E27FC236}">
                  <a16:creationId xmlns:a16="http://schemas.microsoft.com/office/drawing/2014/main" id="{4C7D652D-068F-6A19-2DDA-4DF21AA9859F}"/>
                </a:ext>
              </a:extLst>
            </p:cNvPr>
            <p:cNvGrpSpPr/>
            <p:nvPr/>
          </p:nvGrpSpPr>
          <p:grpSpPr>
            <a:xfrm>
              <a:off x="6191625" y="1599725"/>
              <a:ext cx="173767" cy="157112"/>
              <a:chOff x="6191625" y="1599725"/>
              <a:chExt cx="173767" cy="157112"/>
            </a:xfrm>
            <a:noFill/>
          </p:grpSpPr>
          <p:sp>
            <p:nvSpPr>
              <p:cNvPr id="533" name="Forma livre: Forma 532">
                <a:extLst>
                  <a:ext uri="{FF2B5EF4-FFF2-40B4-BE49-F238E27FC236}">
                    <a16:creationId xmlns:a16="http://schemas.microsoft.com/office/drawing/2014/main" id="{008B8D57-4156-078F-D2DC-789C53AD8349}"/>
                  </a:ext>
                </a:extLst>
              </p:cNvPr>
              <p:cNvSpPr/>
              <p:nvPr/>
            </p:nvSpPr>
            <p:spPr>
              <a:xfrm>
                <a:off x="6310094" y="1621974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bg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34" name="Forma livre: Forma 533">
                <a:extLst>
                  <a:ext uri="{FF2B5EF4-FFF2-40B4-BE49-F238E27FC236}">
                    <a16:creationId xmlns:a16="http://schemas.microsoft.com/office/drawing/2014/main" id="{7CB54FC6-C2C6-25AB-C3FA-3EB467155CF6}"/>
                  </a:ext>
                </a:extLst>
              </p:cNvPr>
              <p:cNvSpPr/>
              <p:nvPr/>
            </p:nvSpPr>
            <p:spPr>
              <a:xfrm>
                <a:off x="6191625" y="1599725"/>
                <a:ext cx="118078" cy="49898"/>
              </a:xfrm>
              <a:custGeom>
                <a:avLst/>
                <a:gdLst>
                  <a:gd name="connsiteX0" fmla="*/ 0 w 118078"/>
                  <a:gd name="connsiteY0" fmla="*/ 0 h 49898"/>
                  <a:gd name="connsiteX1" fmla="*/ 37343 w 118078"/>
                  <a:gd name="connsiteY1" fmla="*/ 0 h 49898"/>
                  <a:gd name="connsiteX2" fmla="*/ 87176 w 118078"/>
                  <a:gd name="connsiteY2" fmla="*/ 49899 h 49898"/>
                  <a:gd name="connsiteX3" fmla="*/ 118078 w 118078"/>
                  <a:gd name="connsiteY3" fmla="*/ 49899 h 49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8078" h="49898">
                    <a:moveTo>
                      <a:pt x="0" y="0"/>
                    </a:moveTo>
                    <a:lnTo>
                      <a:pt x="37343" y="0"/>
                    </a:lnTo>
                    <a:lnTo>
                      <a:pt x="87176" y="49899"/>
                    </a:lnTo>
                    <a:lnTo>
                      <a:pt x="118078" y="49899"/>
                    </a:lnTo>
                  </a:path>
                </a:pathLst>
              </a:custGeom>
              <a:noFill/>
              <a:ln w="19050" cap="sq">
                <a:solidFill>
                  <a:schemeClr val="bg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35" name="Forma livre: Forma 534">
                <a:extLst>
                  <a:ext uri="{FF2B5EF4-FFF2-40B4-BE49-F238E27FC236}">
                    <a16:creationId xmlns:a16="http://schemas.microsoft.com/office/drawing/2014/main" id="{2840EAC9-0C04-0D56-6D11-07BF9B41945F}"/>
                  </a:ext>
                </a:extLst>
              </p:cNvPr>
              <p:cNvSpPr/>
              <p:nvPr/>
            </p:nvSpPr>
            <p:spPr>
              <a:xfrm>
                <a:off x="6191625" y="1665367"/>
                <a:ext cx="81906" cy="44108"/>
              </a:xfrm>
              <a:custGeom>
                <a:avLst/>
                <a:gdLst>
                  <a:gd name="connsiteX0" fmla="*/ 0 w 81906"/>
                  <a:gd name="connsiteY0" fmla="*/ 0 h 44108"/>
                  <a:gd name="connsiteX1" fmla="*/ 37343 w 81906"/>
                  <a:gd name="connsiteY1" fmla="*/ 0 h 44108"/>
                  <a:gd name="connsiteX2" fmla="*/ 81907 w 81906"/>
                  <a:gd name="connsiteY2" fmla="*/ 44109 h 441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1906" h="44108">
                    <a:moveTo>
                      <a:pt x="0" y="0"/>
                    </a:moveTo>
                    <a:lnTo>
                      <a:pt x="37343" y="0"/>
                    </a:lnTo>
                    <a:lnTo>
                      <a:pt x="81907" y="44109"/>
                    </a:lnTo>
                  </a:path>
                </a:pathLst>
              </a:custGeom>
              <a:noFill/>
              <a:ln w="19050" cap="sq">
                <a:solidFill>
                  <a:schemeClr val="bg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36" name="Forma livre: Forma 535">
                <a:extLst>
                  <a:ext uri="{FF2B5EF4-FFF2-40B4-BE49-F238E27FC236}">
                    <a16:creationId xmlns:a16="http://schemas.microsoft.com/office/drawing/2014/main" id="{4CA0A195-54BA-020F-6042-0A16E1E6767B}"/>
                  </a:ext>
                </a:extLst>
              </p:cNvPr>
              <p:cNvSpPr/>
              <p:nvPr/>
            </p:nvSpPr>
            <p:spPr>
              <a:xfrm>
                <a:off x="6265075" y="1701539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bg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524" name="Gráfico 32">
              <a:extLst>
                <a:ext uri="{FF2B5EF4-FFF2-40B4-BE49-F238E27FC236}">
                  <a16:creationId xmlns:a16="http://schemas.microsoft.com/office/drawing/2014/main" id="{2D440ED1-19F0-4E5C-A725-81C2ECC46D5B}"/>
                </a:ext>
              </a:extLst>
            </p:cNvPr>
            <p:cNvGrpSpPr/>
            <p:nvPr/>
          </p:nvGrpSpPr>
          <p:grpSpPr>
            <a:xfrm>
              <a:off x="6191625" y="1357908"/>
              <a:ext cx="173767" cy="157112"/>
              <a:chOff x="6191625" y="1357908"/>
              <a:chExt cx="173767" cy="157112"/>
            </a:xfrm>
            <a:noFill/>
          </p:grpSpPr>
          <p:sp>
            <p:nvSpPr>
              <p:cNvPr id="529" name="Forma livre: Forma 528">
                <a:extLst>
                  <a:ext uri="{FF2B5EF4-FFF2-40B4-BE49-F238E27FC236}">
                    <a16:creationId xmlns:a16="http://schemas.microsoft.com/office/drawing/2014/main" id="{9B89E75D-25EC-E282-9B18-E9C2F6F8A040}"/>
                  </a:ext>
                </a:extLst>
              </p:cNvPr>
              <p:cNvSpPr/>
              <p:nvPr/>
            </p:nvSpPr>
            <p:spPr>
              <a:xfrm>
                <a:off x="6310094" y="1437472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0 h 55298"/>
                  <a:gd name="connsiteX2" fmla="*/ 0 w 55298"/>
                  <a:gd name="connsiteY2" fmla="*/ 27649 h 55298"/>
                  <a:gd name="connsiteX3" fmla="*/ 27649 w 55298"/>
                  <a:gd name="connsiteY3" fmla="*/ 55298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12361"/>
                      <a:pt x="42938" y="0"/>
                      <a:pt x="27649" y="0"/>
                    </a:cubicBezTo>
                    <a:cubicBezTo>
                      <a:pt x="12361" y="0"/>
                      <a:pt x="0" y="12361"/>
                      <a:pt x="0" y="27649"/>
                    </a:cubicBezTo>
                    <a:cubicBezTo>
                      <a:pt x="0" y="42938"/>
                      <a:pt x="12361" y="55298"/>
                      <a:pt x="27649" y="55298"/>
                    </a:cubicBezTo>
                    <a:cubicBezTo>
                      <a:pt x="42938" y="55298"/>
                      <a:pt x="55298" y="42938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bg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30" name="Forma livre: Forma 529">
                <a:extLst>
                  <a:ext uri="{FF2B5EF4-FFF2-40B4-BE49-F238E27FC236}">
                    <a16:creationId xmlns:a16="http://schemas.microsoft.com/office/drawing/2014/main" id="{5CAB9D20-5B16-FE00-8540-2A5DB6A9C0CE}"/>
                  </a:ext>
                </a:extLst>
              </p:cNvPr>
              <p:cNvSpPr/>
              <p:nvPr/>
            </p:nvSpPr>
            <p:spPr>
              <a:xfrm>
                <a:off x="6191625" y="1465122"/>
                <a:ext cx="118468" cy="49898"/>
              </a:xfrm>
              <a:custGeom>
                <a:avLst/>
                <a:gdLst>
                  <a:gd name="connsiteX0" fmla="*/ 0 w 118468"/>
                  <a:gd name="connsiteY0" fmla="*/ 49899 h 49898"/>
                  <a:gd name="connsiteX1" fmla="*/ 37343 w 118468"/>
                  <a:gd name="connsiteY1" fmla="*/ 49899 h 49898"/>
                  <a:gd name="connsiteX2" fmla="*/ 87176 w 118468"/>
                  <a:gd name="connsiteY2" fmla="*/ 0 h 49898"/>
                  <a:gd name="connsiteX3" fmla="*/ 118469 w 118468"/>
                  <a:gd name="connsiteY3" fmla="*/ 0 h 49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8468" h="49898">
                    <a:moveTo>
                      <a:pt x="0" y="49899"/>
                    </a:moveTo>
                    <a:lnTo>
                      <a:pt x="37343" y="49899"/>
                    </a:lnTo>
                    <a:lnTo>
                      <a:pt x="87176" y="0"/>
                    </a:lnTo>
                    <a:lnTo>
                      <a:pt x="118469" y="0"/>
                    </a:lnTo>
                  </a:path>
                </a:pathLst>
              </a:custGeom>
              <a:noFill/>
              <a:ln w="19050" cap="sq">
                <a:solidFill>
                  <a:schemeClr val="bg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31" name="Forma livre: Forma 530">
                <a:extLst>
                  <a:ext uri="{FF2B5EF4-FFF2-40B4-BE49-F238E27FC236}">
                    <a16:creationId xmlns:a16="http://schemas.microsoft.com/office/drawing/2014/main" id="{B8BA93C5-5C9E-D798-12A7-1EF96BDD05BD}"/>
                  </a:ext>
                </a:extLst>
              </p:cNvPr>
              <p:cNvSpPr/>
              <p:nvPr/>
            </p:nvSpPr>
            <p:spPr>
              <a:xfrm>
                <a:off x="6191625" y="1405269"/>
                <a:ext cx="81451" cy="44043"/>
              </a:xfrm>
              <a:custGeom>
                <a:avLst/>
                <a:gdLst>
                  <a:gd name="connsiteX0" fmla="*/ 0 w 81451"/>
                  <a:gd name="connsiteY0" fmla="*/ 44044 h 44043"/>
                  <a:gd name="connsiteX1" fmla="*/ 37343 w 81451"/>
                  <a:gd name="connsiteY1" fmla="*/ 44044 h 44043"/>
                  <a:gd name="connsiteX2" fmla="*/ 81451 w 81451"/>
                  <a:gd name="connsiteY2" fmla="*/ 0 h 440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1451" h="44043">
                    <a:moveTo>
                      <a:pt x="0" y="44044"/>
                    </a:moveTo>
                    <a:lnTo>
                      <a:pt x="37343" y="44044"/>
                    </a:lnTo>
                    <a:lnTo>
                      <a:pt x="81451" y="0"/>
                    </a:lnTo>
                  </a:path>
                </a:pathLst>
              </a:custGeom>
              <a:noFill/>
              <a:ln w="19050" cap="sq">
                <a:solidFill>
                  <a:schemeClr val="bg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32" name="Forma livre: Forma 531">
                <a:extLst>
                  <a:ext uri="{FF2B5EF4-FFF2-40B4-BE49-F238E27FC236}">
                    <a16:creationId xmlns:a16="http://schemas.microsoft.com/office/drawing/2014/main" id="{B6F61D34-1BB2-9715-32AA-A35DD7EB836E}"/>
                  </a:ext>
                </a:extLst>
              </p:cNvPr>
              <p:cNvSpPr/>
              <p:nvPr/>
            </p:nvSpPr>
            <p:spPr>
              <a:xfrm>
                <a:off x="6265075" y="1357908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0 h 55298"/>
                  <a:gd name="connsiteX2" fmla="*/ 0 w 55298"/>
                  <a:gd name="connsiteY2" fmla="*/ 27649 h 55298"/>
                  <a:gd name="connsiteX3" fmla="*/ 27649 w 55298"/>
                  <a:gd name="connsiteY3" fmla="*/ 55298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12361"/>
                      <a:pt x="42938" y="0"/>
                      <a:pt x="27649" y="0"/>
                    </a:cubicBezTo>
                    <a:cubicBezTo>
                      <a:pt x="12361" y="0"/>
                      <a:pt x="0" y="12361"/>
                      <a:pt x="0" y="27649"/>
                    </a:cubicBezTo>
                    <a:cubicBezTo>
                      <a:pt x="0" y="42938"/>
                      <a:pt x="12361" y="55298"/>
                      <a:pt x="27649" y="55298"/>
                    </a:cubicBezTo>
                    <a:cubicBezTo>
                      <a:pt x="42938" y="55298"/>
                      <a:pt x="55298" y="42938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bg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525" name="Gráfico 32">
              <a:extLst>
                <a:ext uri="{FF2B5EF4-FFF2-40B4-BE49-F238E27FC236}">
                  <a16:creationId xmlns:a16="http://schemas.microsoft.com/office/drawing/2014/main" id="{8126C5DB-4912-400C-4101-08070CBACF4F}"/>
                </a:ext>
              </a:extLst>
            </p:cNvPr>
            <p:cNvGrpSpPr/>
            <p:nvPr/>
          </p:nvGrpSpPr>
          <p:grpSpPr>
            <a:xfrm>
              <a:off x="6190910" y="1529723"/>
              <a:ext cx="123673" cy="55298"/>
              <a:chOff x="6190910" y="1529723"/>
              <a:chExt cx="123673" cy="55298"/>
            </a:xfrm>
            <a:noFill/>
          </p:grpSpPr>
          <p:sp>
            <p:nvSpPr>
              <p:cNvPr id="527" name="Forma livre: Forma 526">
                <a:extLst>
                  <a:ext uri="{FF2B5EF4-FFF2-40B4-BE49-F238E27FC236}">
                    <a16:creationId xmlns:a16="http://schemas.microsoft.com/office/drawing/2014/main" id="{933138B4-C307-3CA0-E7F1-D52102038EA7}"/>
                  </a:ext>
                </a:extLst>
              </p:cNvPr>
              <p:cNvSpPr/>
              <p:nvPr/>
            </p:nvSpPr>
            <p:spPr>
              <a:xfrm>
                <a:off x="6190910" y="1557372"/>
                <a:ext cx="68765" cy="6505"/>
              </a:xfrm>
              <a:custGeom>
                <a:avLst/>
                <a:gdLst>
                  <a:gd name="connsiteX0" fmla="*/ 0 w 68765"/>
                  <a:gd name="connsiteY0" fmla="*/ 0 h 6505"/>
                  <a:gd name="connsiteX1" fmla="*/ 68765 w 68765"/>
                  <a:gd name="connsiteY1" fmla="*/ 0 h 65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8765" h="6505">
                    <a:moveTo>
                      <a:pt x="0" y="0"/>
                    </a:moveTo>
                    <a:lnTo>
                      <a:pt x="68765" y="0"/>
                    </a:lnTo>
                  </a:path>
                </a:pathLst>
              </a:custGeom>
              <a:ln w="19050" cap="sq">
                <a:solidFill>
                  <a:schemeClr val="bg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28" name="Forma livre: Forma 527">
                <a:extLst>
                  <a:ext uri="{FF2B5EF4-FFF2-40B4-BE49-F238E27FC236}">
                    <a16:creationId xmlns:a16="http://schemas.microsoft.com/office/drawing/2014/main" id="{8A616000-6B1F-0071-0DB6-A1CAB6DB9421}"/>
                  </a:ext>
                </a:extLst>
              </p:cNvPr>
              <p:cNvSpPr/>
              <p:nvPr/>
            </p:nvSpPr>
            <p:spPr>
              <a:xfrm>
                <a:off x="6259285" y="1529723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bg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526" name="Forma livre: Forma 525">
              <a:extLst>
                <a:ext uri="{FF2B5EF4-FFF2-40B4-BE49-F238E27FC236}">
                  <a16:creationId xmlns:a16="http://schemas.microsoft.com/office/drawing/2014/main" id="{4B83CC4F-B906-0DA9-E6AB-50ECFFC43EF3}"/>
                </a:ext>
              </a:extLst>
            </p:cNvPr>
            <p:cNvSpPr/>
            <p:nvPr/>
          </p:nvSpPr>
          <p:spPr>
            <a:xfrm>
              <a:off x="6152201" y="1686285"/>
              <a:ext cx="37362" cy="20848"/>
            </a:xfrm>
            <a:custGeom>
              <a:avLst/>
              <a:gdLst>
                <a:gd name="connsiteX0" fmla="*/ 0 w 37362"/>
                <a:gd name="connsiteY0" fmla="*/ 10505 h 20848"/>
                <a:gd name="connsiteX1" fmla="*/ 27064 w 37362"/>
                <a:gd name="connsiteY1" fmla="*/ 2373 h 20848"/>
                <a:gd name="connsiteX2" fmla="*/ 37343 w 37362"/>
                <a:gd name="connsiteY2" fmla="*/ 20849 h 20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7362" h="20848">
                  <a:moveTo>
                    <a:pt x="0" y="10505"/>
                  </a:moveTo>
                  <a:cubicBezTo>
                    <a:pt x="5205" y="811"/>
                    <a:pt x="17435" y="-2832"/>
                    <a:pt x="27064" y="2373"/>
                  </a:cubicBezTo>
                  <a:cubicBezTo>
                    <a:pt x="34025" y="6081"/>
                    <a:pt x="37668" y="13432"/>
                    <a:pt x="37343" y="20849"/>
                  </a:cubicBezTo>
                </a:path>
              </a:pathLst>
            </a:custGeom>
            <a:noFill/>
            <a:ln w="19050" cap="sq">
              <a:solidFill>
                <a:schemeClr val="bg1"/>
              </a:solidFill>
              <a:prstDash val="solid"/>
              <a:miter lim="800000"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543" name="Agrupar 542">
            <a:extLst>
              <a:ext uri="{FF2B5EF4-FFF2-40B4-BE49-F238E27FC236}">
                <a16:creationId xmlns:a16="http://schemas.microsoft.com/office/drawing/2014/main" id="{28875E03-8F75-3721-14C4-D5653C13ABA9}"/>
              </a:ext>
            </a:extLst>
          </p:cNvPr>
          <p:cNvGrpSpPr/>
          <p:nvPr/>
        </p:nvGrpSpPr>
        <p:grpSpPr>
          <a:xfrm>
            <a:off x="8040118" y="5826606"/>
            <a:ext cx="325297" cy="355243"/>
            <a:chOff x="6000092" y="1357908"/>
            <a:chExt cx="365300" cy="398929"/>
          </a:xfrm>
        </p:grpSpPr>
        <p:sp>
          <p:nvSpPr>
            <p:cNvPr id="544" name="Forma livre: Forma 543">
              <a:extLst>
                <a:ext uri="{FF2B5EF4-FFF2-40B4-BE49-F238E27FC236}">
                  <a16:creationId xmlns:a16="http://schemas.microsoft.com/office/drawing/2014/main" id="{6391DF8C-5740-4A02-1124-0EDD1A218DD2}"/>
                </a:ext>
              </a:extLst>
            </p:cNvPr>
            <p:cNvSpPr/>
            <p:nvPr/>
          </p:nvSpPr>
          <p:spPr>
            <a:xfrm>
              <a:off x="6000092" y="1418606"/>
              <a:ext cx="84058" cy="286120"/>
            </a:xfrm>
            <a:custGeom>
              <a:avLst/>
              <a:gdLst>
                <a:gd name="connsiteX0" fmla="*/ 51595 w 84058"/>
                <a:gd name="connsiteY0" fmla="*/ 0 h 286120"/>
                <a:gd name="connsiteX1" fmla="*/ 35266 w 84058"/>
                <a:gd name="connsiteY1" fmla="*/ 61674 h 286120"/>
                <a:gd name="connsiteX2" fmla="*/ 28760 w 84058"/>
                <a:gd name="connsiteY2" fmla="*/ 193415 h 286120"/>
                <a:gd name="connsiteX3" fmla="*/ 84059 w 84058"/>
                <a:gd name="connsiteY3" fmla="*/ 286121 h 2861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4058" h="286120">
                  <a:moveTo>
                    <a:pt x="51595" y="0"/>
                  </a:moveTo>
                  <a:cubicBezTo>
                    <a:pt x="37868" y="7872"/>
                    <a:pt x="26028" y="24852"/>
                    <a:pt x="35266" y="61674"/>
                  </a:cubicBezTo>
                  <a:cubicBezTo>
                    <a:pt x="35266" y="61674"/>
                    <a:pt x="-39549" y="126731"/>
                    <a:pt x="28760" y="193415"/>
                  </a:cubicBezTo>
                  <a:cubicBezTo>
                    <a:pt x="28760" y="193415"/>
                    <a:pt x="9243" y="281242"/>
                    <a:pt x="84059" y="286121"/>
                  </a:cubicBezTo>
                </a:path>
              </a:pathLst>
            </a:custGeom>
            <a:noFill/>
            <a:ln w="19050" cap="sq">
              <a:solidFill>
                <a:schemeClr val="bg1"/>
              </a:solidFill>
              <a:prstDash val="solid"/>
              <a:miter lim="800000"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545" name="Gráfico 32">
              <a:extLst>
                <a:ext uri="{FF2B5EF4-FFF2-40B4-BE49-F238E27FC236}">
                  <a16:creationId xmlns:a16="http://schemas.microsoft.com/office/drawing/2014/main" id="{0CE64114-7268-A5B2-6CF8-BD699E34756C}"/>
                </a:ext>
              </a:extLst>
            </p:cNvPr>
            <p:cNvGrpSpPr/>
            <p:nvPr/>
          </p:nvGrpSpPr>
          <p:grpSpPr>
            <a:xfrm>
              <a:off x="6061121" y="1359924"/>
              <a:ext cx="128487" cy="396366"/>
              <a:chOff x="6061121" y="1359924"/>
              <a:chExt cx="128487" cy="396366"/>
            </a:xfrm>
            <a:noFill/>
          </p:grpSpPr>
          <p:sp>
            <p:nvSpPr>
              <p:cNvPr id="560" name="Forma livre: Forma 559">
                <a:extLst>
                  <a:ext uri="{FF2B5EF4-FFF2-40B4-BE49-F238E27FC236}">
                    <a16:creationId xmlns:a16="http://schemas.microsoft.com/office/drawing/2014/main" id="{7F8D12DC-1F3D-6348-2938-21F8A3A0302D}"/>
                  </a:ext>
                </a:extLst>
              </p:cNvPr>
              <p:cNvSpPr/>
              <p:nvPr/>
            </p:nvSpPr>
            <p:spPr>
              <a:xfrm>
                <a:off x="6083891" y="1359924"/>
                <a:ext cx="105717" cy="396366"/>
              </a:xfrm>
              <a:custGeom>
                <a:avLst/>
                <a:gdLst>
                  <a:gd name="connsiteX0" fmla="*/ 52891 w 105717"/>
                  <a:gd name="connsiteY0" fmla="*/ 105718 h 396366"/>
                  <a:gd name="connsiteX1" fmla="*/ 0 w 105717"/>
                  <a:gd name="connsiteY1" fmla="*/ 52891 h 396366"/>
                  <a:gd name="connsiteX2" fmla="*/ 52891 w 105717"/>
                  <a:gd name="connsiteY2" fmla="*/ 0 h 396366"/>
                  <a:gd name="connsiteX3" fmla="*/ 105718 w 105717"/>
                  <a:gd name="connsiteY3" fmla="*/ 52826 h 396366"/>
                  <a:gd name="connsiteX4" fmla="*/ 105718 w 105717"/>
                  <a:gd name="connsiteY4" fmla="*/ 346884 h 396366"/>
                  <a:gd name="connsiteX5" fmla="*/ 80606 w 105717"/>
                  <a:gd name="connsiteY5" fmla="*/ 388911 h 396366"/>
                  <a:gd name="connsiteX6" fmla="*/ 9238 w 105717"/>
                  <a:gd name="connsiteY6" fmla="*/ 371150 h 396366"/>
                  <a:gd name="connsiteX7" fmla="*/ 15484 w 105717"/>
                  <a:gd name="connsiteY7" fmla="*/ 309216 h 396366"/>
                  <a:gd name="connsiteX8" fmla="*/ 45019 w 105717"/>
                  <a:gd name="connsiteY8" fmla="*/ 277078 h 3963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05717" h="396366">
                    <a:moveTo>
                      <a:pt x="52891" y="105718"/>
                    </a:moveTo>
                    <a:cubicBezTo>
                      <a:pt x="23681" y="105718"/>
                      <a:pt x="0" y="82037"/>
                      <a:pt x="0" y="52891"/>
                    </a:cubicBezTo>
                    <a:cubicBezTo>
                      <a:pt x="0" y="23746"/>
                      <a:pt x="23681" y="0"/>
                      <a:pt x="52891" y="0"/>
                    </a:cubicBezTo>
                    <a:cubicBezTo>
                      <a:pt x="82102" y="0"/>
                      <a:pt x="105718" y="23681"/>
                      <a:pt x="105718" y="52826"/>
                    </a:cubicBezTo>
                    <a:lnTo>
                      <a:pt x="105718" y="346884"/>
                    </a:lnTo>
                    <a:cubicBezTo>
                      <a:pt x="105718" y="364580"/>
                      <a:pt x="96414" y="379413"/>
                      <a:pt x="80606" y="388911"/>
                    </a:cubicBezTo>
                    <a:cubicBezTo>
                      <a:pt x="55949" y="403744"/>
                      <a:pt x="24006" y="395742"/>
                      <a:pt x="9238" y="371150"/>
                    </a:cubicBezTo>
                    <a:cubicBezTo>
                      <a:pt x="-2928" y="350918"/>
                      <a:pt x="260" y="325741"/>
                      <a:pt x="15484" y="309216"/>
                    </a:cubicBezTo>
                    <a:lnTo>
                      <a:pt x="45019" y="277078"/>
                    </a:lnTo>
                  </a:path>
                </a:pathLst>
              </a:custGeom>
              <a:noFill/>
              <a:ln w="19050" cap="sq">
                <a:solidFill>
                  <a:schemeClr val="bg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61" name="Forma livre: Forma 560">
                <a:extLst>
                  <a:ext uri="{FF2B5EF4-FFF2-40B4-BE49-F238E27FC236}">
                    <a16:creationId xmlns:a16="http://schemas.microsoft.com/office/drawing/2014/main" id="{E092D7BE-7609-3B00-C5DA-19239EB74161}"/>
                  </a:ext>
                </a:extLst>
              </p:cNvPr>
              <p:cNvSpPr/>
              <p:nvPr/>
            </p:nvSpPr>
            <p:spPr>
              <a:xfrm>
                <a:off x="6144784" y="1383865"/>
                <a:ext cx="41563" cy="38963"/>
              </a:xfrm>
              <a:custGeom>
                <a:avLst/>
                <a:gdLst>
                  <a:gd name="connsiteX0" fmla="*/ 36172 w 41563"/>
                  <a:gd name="connsiteY0" fmla="*/ 0 h 38963"/>
                  <a:gd name="connsiteX1" fmla="*/ 39425 w 41563"/>
                  <a:gd name="connsiteY1" fmla="*/ 24266 h 38963"/>
                  <a:gd name="connsiteX2" fmla="*/ 36432 w 41563"/>
                  <a:gd name="connsiteY2" fmla="*/ 29080 h 38963"/>
                  <a:gd name="connsiteX3" fmla="*/ 0 w 41563"/>
                  <a:gd name="connsiteY3" fmla="*/ 33439 h 389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563" h="38963">
                    <a:moveTo>
                      <a:pt x="36172" y="0"/>
                    </a:moveTo>
                    <a:cubicBezTo>
                      <a:pt x="41571" y="7547"/>
                      <a:pt x="43393" y="16004"/>
                      <a:pt x="39425" y="24266"/>
                    </a:cubicBezTo>
                    <a:cubicBezTo>
                      <a:pt x="38644" y="25893"/>
                      <a:pt x="37603" y="27519"/>
                      <a:pt x="36432" y="29080"/>
                    </a:cubicBezTo>
                    <a:cubicBezTo>
                      <a:pt x="27584" y="40270"/>
                      <a:pt x="11190" y="42287"/>
                      <a:pt x="0" y="33439"/>
                    </a:cubicBezTo>
                  </a:path>
                </a:pathLst>
              </a:custGeom>
              <a:noFill/>
              <a:ln w="19050" cap="sq">
                <a:solidFill>
                  <a:schemeClr val="bg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62" name="Forma livre: Forma 561">
                <a:extLst>
                  <a:ext uri="{FF2B5EF4-FFF2-40B4-BE49-F238E27FC236}">
                    <a16:creationId xmlns:a16="http://schemas.microsoft.com/office/drawing/2014/main" id="{898995E5-42C7-65CF-4D94-42A89EB91E47}"/>
                  </a:ext>
                </a:extLst>
              </p:cNvPr>
              <p:cNvSpPr/>
              <p:nvPr/>
            </p:nvSpPr>
            <p:spPr>
              <a:xfrm>
                <a:off x="6081487" y="1460806"/>
                <a:ext cx="34217" cy="54474"/>
              </a:xfrm>
              <a:custGeom>
                <a:avLst/>
                <a:gdLst>
                  <a:gd name="connsiteX0" fmla="*/ 21076 w 34217"/>
                  <a:gd name="connsiteY0" fmla="*/ 54475 h 54474"/>
                  <a:gd name="connsiteX1" fmla="*/ 778 w 34217"/>
                  <a:gd name="connsiteY1" fmla="*/ 21035 h 54474"/>
                  <a:gd name="connsiteX2" fmla="*/ 34217 w 34217"/>
                  <a:gd name="connsiteY2" fmla="*/ 803 h 544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4217" h="54474">
                    <a:moveTo>
                      <a:pt x="21076" y="54475"/>
                    </a:moveTo>
                    <a:cubicBezTo>
                      <a:pt x="6308" y="50832"/>
                      <a:pt x="-2800" y="35803"/>
                      <a:pt x="778" y="21035"/>
                    </a:cubicBezTo>
                    <a:cubicBezTo>
                      <a:pt x="4421" y="6267"/>
                      <a:pt x="19449" y="-2841"/>
                      <a:pt x="34217" y="803"/>
                    </a:cubicBezTo>
                  </a:path>
                </a:pathLst>
              </a:custGeom>
              <a:noFill/>
              <a:ln w="19050" cap="sq">
                <a:solidFill>
                  <a:schemeClr val="bg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63" name="Forma livre: Forma 562">
                <a:extLst>
                  <a:ext uri="{FF2B5EF4-FFF2-40B4-BE49-F238E27FC236}">
                    <a16:creationId xmlns:a16="http://schemas.microsoft.com/office/drawing/2014/main" id="{C03151DD-9310-03E1-5B53-F3397A9CC1EA}"/>
                  </a:ext>
                </a:extLst>
              </p:cNvPr>
              <p:cNvSpPr/>
              <p:nvPr/>
            </p:nvSpPr>
            <p:spPr>
              <a:xfrm>
                <a:off x="6073547" y="1527543"/>
                <a:ext cx="114760" cy="72506"/>
              </a:xfrm>
              <a:custGeom>
                <a:avLst/>
                <a:gdLst>
                  <a:gd name="connsiteX0" fmla="*/ 114760 w 114760"/>
                  <a:gd name="connsiteY0" fmla="*/ 7254 h 72506"/>
                  <a:gd name="connsiteX1" fmla="*/ 73905 w 114760"/>
                  <a:gd name="connsiteY1" fmla="*/ 8881 h 72506"/>
                  <a:gd name="connsiteX2" fmla="*/ 0 w 114760"/>
                  <a:gd name="connsiteY2" fmla="*/ 72506 h 725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14760" h="72506">
                    <a:moveTo>
                      <a:pt x="114760" y="7254"/>
                    </a:moveTo>
                    <a:cubicBezTo>
                      <a:pt x="103375" y="-2830"/>
                      <a:pt x="83989" y="-2504"/>
                      <a:pt x="73905" y="8881"/>
                    </a:cubicBezTo>
                    <a:cubicBezTo>
                      <a:pt x="73905" y="8881"/>
                      <a:pt x="31488" y="72506"/>
                      <a:pt x="0" y="72506"/>
                    </a:cubicBezTo>
                  </a:path>
                </a:pathLst>
              </a:custGeom>
              <a:noFill/>
              <a:ln w="19050" cap="sq">
                <a:solidFill>
                  <a:schemeClr val="bg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64" name="Forma livre: Forma 563">
                <a:extLst>
                  <a:ext uri="{FF2B5EF4-FFF2-40B4-BE49-F238E27FC236}">
                    <a16:creationId xmlns:a16="http://schemas.microsoft.com/office/drawing/2014/main" id="{B103A95F-A75A-F95F-2AC9-AE840150D853}"/>
                  </a:ext>
                </a:extLst>
              </p:cNvPr>
              <p:cNvSpPr/>
              <p:nvPr/>
            </p:nvSpPr>
            <p:spPr>
              <a:xfrm>
                <a:off x="6079857" y="1646956"/>
                <a:ext cx="29405" cy="9823"/>
              </a:xfrm>
              <a:custGeom>
                <a:avLst/>
                <a:gdLst>
                  <a:gd name="connsiteX0" fmla="*/ 0 w 29405"/>
                  <a:gd name="connsiteY0" fmla="*/ 0 h 9823"/>
                  <a:gd name="connsiteX1" fmla="*/ 29406 w 29405"/>
                  <a:gd name="connsiteY1" fmla="*/ 9824 h 98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9405" h="9823">
                    <a:moveTo>
                      <a:pt x="0" y="0"/>
                    </a:moveTo>
                    <a:lnTo>
                      <a:pt x="29406" y="9824"/>
                    </a:lnTo>
                  </a:path>
                </a:pathLst>
              </a:custGeom>
              <a:ln w="19050" cap="sq">
                <a:solidFill>
                  <a:schemeClr val="bg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65" name="Forma livre: Forma 564">
                <a:extLst>
                  <a:ext uri="{FF2B5EF4-FFF2-40B4-BE49-F238E27FC236}">
                    <a16:creationId xmlns:a16="http://schemas.microsoft.com/office/drawing/2014/main" id="{F46FC9FD-F4B6-2CB8-026B-FFEF655C63D3}"/>
                  </a:ext>
                </a:extLst>
              </p:cNvPr>
              <p:cNvSpPr/>
              <p:nvPr/>
            </p:nvSpPr>
            <p:spPr>
              <a:xfrm>
                <a:off x="6061121" y="1545272"/>
                <a:ext cx="47166" cy="34154"/>
              </a:xfrm>
              <a:custGeom>
                <a:avLst/>
                <a:gdLst>
                  <a:gd name="connsiteX0" fmla="*/ 0 w 47166"/>
                  <a:gd name="connsiteY0" fmla="*/ 0 h 34154"/>
                  <a:gd name="connsiteX1" fmla="*/ 47166 w 47166"/>
                  <a:gd name="connsiteY1" fmla="*/ 34155 h 341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166" h="34154">
                    <a:moveTo>
                      <a:pt x="0" y="0"/>
                    </a:moveTo>
                    <a:cubicBezTo>
                      <a:pt x="0" y="0"/>
                      <a:pt x="27649" y="13011"/>
                      <a:pt x="47166" y="34155"/>
                    </a:cubicBezTo>
                  </a:path>
                </a:pathLst>
              </a:custGeom>
              <a:noFill/>
              <a:ln w="19050" cap="sq">
                <a:solidFill>
                  <a:schemeClr val="bg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546" name="Gráfico 32">
              <a:extLst>
                <a:ext uri="{FF2B5EF4-FFF2-40B4-BE49-F238E27FC236}">
                  <a16:creationId xmlns:a16="http://schemas.microsoft.com/office/drawing/2014/main" id="{9FFB9263-5D8A-131C-6CA6-BB596DE615D6}"/>
                </a:ext>
              </a:extLst>
            </p:cNvPr>
            <p:cNvGrpSpPr/>
            <p:nvPr/>
          </p:nvGrpSpPr>
          <p:grpSpPr>
            <a:xfrm>
              <a:off x="6191625" y="1599725"/>
              <a:ext cx="173767" cy="157112"/>
              <a:chOff x="6191625" y="1599725"/>
              <a:chExt cx="173767" cy="157112"/>
            </a:xfrm>
            <a:noFill/>
          </p:grpSpPr>
          <p:sp>
            <p:nvSpPr>
              <p:cNvPr id="556" name="Forma livre: Forma 555">
                <a:extLst>
                  <a:ext uri="{FF2B5EF4-FFF2-40B4-BE49-F238E27FC236}">
                    <a16:creationId xmlns:a16="http://schemas.microsoft.com/office/drawing/2014/main" id="{B5E128DB-05DE-34D2-6231-E6C5B5F0E3CD}"/>
                  </a:ext>
                </a:extLst>
              </p:cNvPr>
              <p:cNvSpPr/>
              <p:nvPr/>
            </p:nvSpPr>
            <p:spPr>
              <a:xfrm>
                <a:off x="6310094" y="1621974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bg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57" name="Forma livre: Forma 556">
                <a:extLst>
                  <a:ext uri="{FF2B5EF4-FFF2-40B4-BE49-F238E27FC236}">
                    <a16:creationId xmlns:a16="http://schemas.microsoft.com/office/drawing/2014/main" id="{1CA77A88-FCA1-DA09-3128-E7B7E4AF0FD9}"/>
                  </a:ext>
                </a:extLst>
              </p:cNvPr>
              <p:cNvSpPr/>
              <p:nvPr/>
            </p:nvSpPr>
            <p:spPr>
              <a:xfrm>
                <a:off x="6191625" y="1599725"/>
                <a:ext cx="118078" cy="49898"/>
              </a:xfrm>
              <a:custGeom>
                <a:avLst/>
                <a:gdLst>
                  <a:gd name="connsiteX0" fmla="*/ 0 w 118078"/>
                  <a:gd name="connsiteY0" fmla="*/ 0 h 49898"/>
                  <a:gd name="connsiteX1" fmla="*/ 37343 w 118078"/>
                  <a:gd name="connsiteY1" fmla="*/ 0 h 49898"/>
                  <a:gd name="connsiteX2" fmla="*/ 87176 w 118078"/>
                  <a:gd name="connsiteY2" fmla="*/ 49899 h 49898"/>
                  <a:gd name="connsiteX3" fmla="*/ 118078 w 118078"/>
                  <a:gd name="connsiteY3" fmla="*/ 49899 h 49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8078" h="49898">
                    <a:moveTo>
                      <a:pt x="0" y="0"/>
                    </a:moveTo>
                    <a:lnTo>
                      <a:pt x="37343" y="0"/>
                    </a:lnTo>
                    <a:lnTo>
                      <a:pt x="87176" y="49899"/>
                    </a:lnTo>
                    <a:lnTo>
                      <a:pt x="118078" y="49899"/>
                    </a:lnTo>
                  </a:path>
                </a:pathLst>
              </a:custGeom>
              <a:noFill/>
              <a:ln w="19050" cap="sq">
                <a:solidFill>
                  <a:schemeClr val="bg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58" name="Forma livre: Forma 557">
                <a:extLst>
                  <a:ext uri="{FF2B5EF4-FFF2-40B4-BE49-F238E27FC236}">
                    <a16:creationId xmlns:a16="http://schemas.microsoft.com/office/drawing/2014/main" id="{E6203B03-A6BB-2ECC-623B-D2030925E2B8}"/>
                  </a:ext>
                </a:extLst>
              </p:cNvPr>
              <p:cNvSpPr/>
              <p:nvPr/>
            </p:nvSpPr>
            <p:spPr>
              <a:xfrm>
                <a:off x="6191625" y="1665367"/>
                <a:ext cx="81906" cy="44108"/>
              </a:xfrm>
              <a:custGeom>
                <a:avLst/>
                <a:gdLst>
                  <a:gd name="connsiteX0" fmla="*/ 0 w 81906"/>
                  <a:gd name="connsiteY0" fmla="*/ 0 h 44108"/>
                  <a:gd name="connsiteX1" fmla="*/ 37343 w 81906"/>
                  <a:gd name="connsiteY1" fmla="*/ 0 h 44108"/>
                  <a:gd name="connsiteX2" fmla="*/ 81907 w 81906"/>
                  <a:gd name="connsiteY2" fmla="*/ 44109 h 441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1906" h="44108">
                    <a:moveTo>
                      <a:pt x="0" y="0"/>
                    </a:moveTo>
                    <a:lnTo>
                      <a:pt x="37343" y="0"/>
                    </a:lnTo>
                    <a:lnTo>
                      <a:pt x="81907" y="44109"/>
                    </a:lnTo>
                  </a:path>
                </a:pathLst>
              </a:custGeom>
              <a:noFill/>
              <a:ln w="19050" cap="sq">
                <a:solidFill>
                  <a:schemeClr val="bg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59" name="Forma livre: Forma 558">
                <a:extLst>
                  <a:ext uri="{FF2B5EF4-FFF2-40B4-BE49-F238E27FC236}">
                    <a16:creationId xmlns:a16="http://schemas.microsoft.com/office/drawing/2014/main" id="{0705BD0D-7CFA-F500-73F6-F17B1608B94A}"/>
                  </a:ext>
                </a:extLst>
              </p:cNvPr>
              <p:cNvSpPr/>
              <p:nvPr/>
            </p:nvSpPr>
            <p:spPr>
              <a:xfrm>
                <a:off x="6265075" y="1701539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bg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547" name="Gráfico 32">
              <a:extLst>
                <a:ext uri="{FF2B5EF4-FFF2-40B4-BE49-F238E27FC236}">
                  <a16:creationId xmlns:a16="http://schemas.microsoft.com/office/drawing/2014/main" id="{B717DCEB-C410-5ED1-34C7-C3B0FC4966C3}"/>
                </a:ext>
              </a:extLst>
            </p:cNvPr>
            <p:cNvGrpSpPr/>
            <p:nvPr/>
          </p:nvGrpSpPr>
          <p:grpSpPr>
            <a:xfrm>
              <a:off x="6191625" y="1357908"/>
              <a:ext cx="173767" cy="157112"/>
              <a:chOff x="6191625" y="1357908"/>
              <a:chExt cx="173767" cy="157112"/>
            </a:xfrm>
            <a:noFill/>
          </p:grpSpPr>
          <p:sp>
            <p:nvSpPr>
              <p:cNvPr id="552" name="Forma livre: Forma 551">
                <a:extLst>
                  <a:ext uri="{FF2B5EF4-FFF2-40B4-BE49-F238E27FC236}">
                    <a16:creationId xmlns:a16="http://schemas.microsoft.com/office/drawing/2014/main" id="{B4136885-E579-99E9-42AF-FD7EC4BE7457}"/>
                  </a:ext>
                </a:extLst>
              </p:cNvPr>
              <p:cNvSpPr/>
              <p:nvPr/>
            </p:nvSpPr>
            <p:spPr>
              <a:xfrm>
                <a:off x="6310094" y="1437472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0 h 55298"/>
                  <a:gd name="connsiteX2" fmla="*/ 0 w 55298"/>
                  <a:gd name="connsiteY2" fmla="*/ 27649 h 55298"/>
                  <a:gd name="connsiteX3" fmla="*/ 27649 w 55298"/>
                  <a:gd name="connsiteY3" fmla="*/ 55298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12361"/>
                      <a:pt x="42938" y="0"/>
                      <a:pt x="27649" y="0"/>
                    </a:cubicBezTo>
                    <a:cubicBezTo>
                      <a:pt x="12361" y="0"/>
                      <a:pt x="0" y="12361"/>
                      <a:pt x="0" y="27649"/>
                    </a:cubicBezTo>
                    <a:cubicBezTo>
                      <a:pt x="0" y="42938"/>
                      <a:pt x="12361" y="55298"/>
                      <a:pt x="27649" y="55298"/>
                    </a:cubicBezTo>
                    <a:cubicBezTo>
                      <a:pt x="42938" y="55298"/>
                      <a:pt x="55298" y="42938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bg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53" name="Forma livre: Forma 552">
                <a:extLst>
                  <a:ext uri="{FF2B5EF4-FFF2-40B4-BE49-F238E27FC236}">
                    <a16:creationId xmlns:a16="http://schemas.microsoft.com/office/drawing/2014/main" id="{6F7165DC-E7CC-68D5-3852-A6B17C6CBFEC}"/>
                  </a:ext>
                </a:extLst>
              </p:cNvPr>
              <p:cNvSpPr/>
              <p:nvPr/>
            </p:nvSpPr>
            <p:spPr>
              <a:xfrm>
                <a:off x="6191625" y="1465122"/>
                <a:ext cx="118468" cy="49898"/>
              </a:xfrm>
              <a:custGeom>
                <a:avLst/>
                <a:gdLst>
                  <a:gd name="connsiteX0" fmla="*/ 0 w 118468"/>
                  <a:gd name="connsiteY0" fmla="*/ 49899 h 49898"/>
                  <a:gd name="connsiteX1" fmla="*/ 37343 w 118468"/>
                  <a:gd name="connsiteY1" fmla="*/ 49899 h 49898"/>
                  <a:gd name="connsiteX2" fmla="*/ 87176 w 118468"/>
                  <a:gd name="connsiteY2" fmla="*/ 0 h 49898"/>
                  <a:gd name="connsiteX3" fmla="*/ 118469 w 118468"/>
                  <a:gd name="connsiteY3" fmla="*/ 0 h 49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8468" h="49898">
                    <a:moveTo>
                      <a:pt x="0" y="49899"/>
                    </a:moveTo>
                    <a:lnTo>
                      <a:pt x="37343" y="49899"/>
                    </a:lnTo>
                    <a:lnTo>
                      <a:pt x="87176" y="0"/>
                    </a:lnTo>
                    <a:lnTo>
                      <a:pt x="118469" y="0"/>
                    </a:lnTo>
                  </a:path>
                </a:pathLst>
              </a:custGeom>
              <a:noFill/>
              <a:ln w="19050" cap="sq">
                <a:solidFill>
                  <a:schemeClr val="bg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54" name="Forma livre: Forma 553">
                <a:extLst>
                  <a:ext uri="{FF2B5EF4-FFF2-40B4-BE49-F238E27FC236}">
                    <a16:creationId xmlns:a16="http://schemas.microsoft.com/office/drawing/2014/main" id="{3E80E433-F0EB-86EF-4A2E-30C93597992F}"/>
                  </a:ext>
                </a:extLst>
              </p:cNvPr>
              <p:cNvSpPr/>
              <p:nvPr/>
            </p:nvSpPr>
            <p:spPr>
              <a:xfrm>
                <a:off x="6191625" y="1405269"/>
                <a:ext cx="81451" cy="44043"/>
              </a:xfrm>
              <a:custGeom>
                <a:avLst/>
                <a:gdLst>
                  <a:gd name="connsiteX0" fmla="*/ 0 w 81451"/>
                  <a:gd name="connsiteY0" fmla="*/ 44044 h 44043"/>
                  <a:gd name="connsiteX1" fmla="*/ 37343 w 81451"/>
                  <a:gd name="connsiteY1" fmla="*/ 44044 h 44043"/>
                  <a:gd name="connsiteX2" fmla="*/ 81451 w 81451"/>
                  <a:gd name="connsiteY2" fmla="*/ 0 h 440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1451" h="44043">
                    <a:moveTo>
                      <a:pt x="0" y="44044"/>
                    </a:moveTo>
                    <a:lnTo>
                      <a:pt x="37343" y="44044"/>
                    </a:lnTo>
                    <a:lnTo>
                      <a:pt x="81451" y="0"/>
                    </a:lnTo>
                  </a:path>
                </a:pathLst>
              </a:custGeom>
              <a:noFill/>
              <a:ln w="19050" cap="sq">
                <a:solidFill>
                  <a:schemeClr val="bg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55" name="Forma livre: Forma 554">
                <a:extLst>
                  <a:ext uri="{FF2B5EF4-FFF2-40B4-BE49-F238E27FC236}">
                    <a16:creationId xmlns:a16="http://schemas.microsoft.com/office/drawing/2014/main" id="{3CE2DC13-1364-34E0-EBB1-DA6306F5B89F}"/>
                  </a:ext>
                </a:extLst>
              </p:cNvPr>
              <p:cNvSpPr/>
              <p:nvPr/>
            </p:nvSpPr>
            <p:spPr>
              <a:xfrm>
                <a:off x="6265075" y="1357908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0 h 55298"/>
                  <a:gd name="connsiteX2" fmla="*/ 0 w 55298"/>
                  <a:gd name="connsiteY2" fmla="*/ 27649 h 55298"/>
                  <a:gd name="connsiteX3" fmla="*/ 27649 w 55298"/>
                  <a:gd name="connsiteY3" fmla="*/ 55298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12361"/>
                      <a:pt x="42938" y="0"/>
                      <a:pt x="27649" y="0"/>
                    </a:cubicBezTo>
                    <a:cubicBezTo>
                      <a:pt x="12361" y="0"/>
                      <a:pt x="0" y="12361"/>
                      <a:pt x="0" y="27649"/>
                    </a:cubicBezTo>
                    <a:cubicBezTo>
                      <a:pt x="0" y="42938"/>
                      <a:pt x="12361" y="55298"/>
                      <a:pt x="27649" y="55298"/>
                    </a:cubicBezTo>
                    <a:cubicBezTo>
                      <a:pt x="42938" y="55298"/>
                      <a:pt x="55298" y="42938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bg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548" name="Gráfico 32">
              <a:extLst>
                <a:ext uri="{FF2B5EF4-FFF2-40B4-BE49-F238E27FC236}">
                  <a16:creationId xmlns:a16="http://schemas.microsoft.com/office/drawing/2014/main" id="{E65EDC45-333B-0531-A973-8CC980DB9E7F}"/>
                </a:ext>
              </a:extLst>
            </p:cNvPr>
            <p:cNvGrpSpPr/>
            <p:nvPr/>
          </p:nvGrpSpPr>
          <p:grpSpPr>
            <a:xfrm>
              <a:off x="6190910" y="1529723"/>
              <a:ext cx="123673" cy="55298"/>
              <a:chOff x="6190910" y="1529723"/>
              <a:chExt cx="123673" cy="55298"/>
            </a:xfrm>
            <a:noFill/>
          </p:grpSpPr>
          <p:sp>
            <p:nvSpPr>
              <p:cNvPr id="550" name="Forma livre: Forma 549">
                <a:extLst>
                  <a:ext uri="{FF2B5EF4-FFF2-40B4-BE49-F238E27FC236}">
                    <a16:creationId xmlns:a16="http://schemas.microsoft.com/office/drawing/2014/main" id="{49F93D89-6CBA-A905-0A8B-ECEEB2926D7E}"/>
                  </a:ext>
                </a:extLst>
              </p:cNvPr>
              <p:cNvSpPr/>
              <p:nvPr/>
            </p:nvSpPr>
            <p:spPr>
              <a:xfrm>
                <a:off x="6190910" y="1557372"/>
                <a:ext cx="68765" cy="6505"/>
              </a:xfrm>
              <a:custGeom>
                <a:avLst/>
                <a:gdLst>
                  <a:gd name="connsiteX0" fmla="*/ 0 w 68765"/>
                  <a:gd name="connsiteY0" fmla="*/ 0 h 6505"/>
                  <a:gd name="connsiteX1" fmla="*/ 68765 w 68765"/>
                  <a:gd name="connsiteY1" fmla="*/ 0 h 65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8765" h="6505">
                    <a:moveTo>
                      <a:pt x="0" y="0"/>
                    </a:moveTo>
                    <a:lnTo>
                      <a:pt x="68765" y="0"/>
                    </a:lnTo>
                  </a:path>
                </a:pathLst>
              </a:custGeom>
              <a:ln w="19050" cap="sq">
                <a:solidFill>
                  <a:schemeClr val="bg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51" name="Forma livre: Forma 550">
                <a:extLst>
                  <a:ext uri="{FF2B5EF4-FFF2-40B4-BE49-F238E27FC236}">
                    <a16:creationId xmlns:a16="http://schemas.microsoft.com/office/drawing/2014/main" id="{9003E949-F7BE-39BA-5002-2BD166E419F1}"/>
                  </a:ext>
                </a:extLst>
              </p:cNvPr>
              <p:cNvSpPr/>
              <p:nvPr/>
            </p:nvSpPr>
            <p:spPr>
              <a:xfrm>
                <a:off x="6259285" y="1529723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bg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549" name="Forma livre: Forma 548">
              <a:extLst>
                <a:ext uri="{FF2B5EF4-FFF2-40B4-BE49-F238E27FC236}">
                  <a16:creationId xmlns:a16="http://schemas.microsoft.com/office/drawing/2014/main" id="{C92FA5C7-F942-2C9F-AB55-C754A0962CE8}"/>
                </a:ext>
              </a:extLst>
            </p:cNvPr>
            <p:cNvSpPr/>
            <p:nvPr/>
          </p:nvSpPr>
          <p:spPr>
            <a:xfrm>
              <a:off x="6152201" y="1686285"/>
              <a:ext cx="37362" cy="20848"/>
            </a:xfrm>
            <a:custGeom>
              <a:avLst/>
              <a:gdLst>
                <a:gd name="connsiteX0" fmla="*/ 0 w 37362"/>
                <a:gd name="connsiteY0" fmla="*/ 10505 h 20848"/>
                <a:gd name="connsiteX1" fmla="*/ 27064 w 37362"/>
                <a:gd name="connsiteY1" fmla="*/ 2373 h 20848"/>
                <a:gd name="connsiteX2" fmla="*/ 37343 w 37362"/>
                <a:gd name="connsiteY2" fmla="*/ 20849 h 20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7362" h="20848">
                  <a:moveTo>
                    <a:pt x="0" y="10505"/>
                  </a:moveTo>
                  <a:cubicBezTo>
                    <a:pt x="5205" y="811"/>
                    <a:pt x="17435" y="-2832"/>
                    <a:pt x="27064" y="2373"/>
                  </a:cubicBezTo>
                  <a:cubicBezTo>
                    <a:pt x="34025" y="6081"/>
                    <a:pt x="37668" y="13432"/>
                    <a:pt x="37343" y="20849"/>
                  </a:cubicBezTo>
                </a:path>
              </a:pathLst>
            </a:custGeom>
            <a:noFill/>
            <a:ln w="19050" cap="sq">
              <a:solidFill>
                <a:schemeClr val="bg1"/>
              </a:solidFill>
              <a:prstDash val="solid"/>
              <a:miter lim="800000"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566" name="Agrupar 565">
            <a:extLst>
              <a:ext uri="{FF2B5EF4-FFF2-40B4-BE49-F238E27FC236}">
                <a16:creationId xmlns:a16="http://schemas.microsoft.com/office/drawing/2014/main" id="{DE42FCE4-7AD4-3C99-6B59-6083ACA304F4}"/>
              </a:ext>
            </a:extLst>
          </p:cNvPr>
          <p:cNvGrpSpPr/>
          <p:nvPr/>
        </p:nvGrpSpPr>
        <p:grpSpPr>
          <a:xfrm>
            <a:off x="9221955" y="5826606"/>
            <a:ext cx="325297" cy="355243"/>
            <a:chOff x="6000092" y="1357908"/>
            <a:chExt cx="365300" cy="398929"/>
          </a:xfrm>
        </p:grpSpPr>
        <p:sp>
          <p:nvSpPr>
            <p:cNvPr id="567" name="Forma livre: Forma 566">
              <a:extLst>
                <a:ext uri="{FF2B5EF4-FFF2-40B4-BE49-F238E27FC236}">
                  <a16:creationId xmlns:a16="http://schemas.microsoft.com/office/drawing/2014/main" id="{43A91681-6676-C40F-A5CA-B6B82B668DF2}"/>
                </a:ext>
              </a:extLst>
            </p:cNvPr>
            <p:cNvSpPr/>
            <p:nvPr/>
          </p:nvSpPr>
          <p:spPr>
            <a:xfrm>
              <a:off x="6000092" y="1418606"/>
              <a:ext cx="84058" cy="286120"/>
            </a:xfrm>
            <a:custGeom>
              <a:avLst/>
              <a:gdLst>
                <a:gd name="connsiteX0" fmla="*/ 51595 w 84058"/>
                <a:gd name="connsiteY0" fmla="*/ 0 h 286120"/>
                <a:gd name="connsiteX1" fmla="*/ 35266 w 84058"/>
                <a:gd name="connsiteY1" fmla="*/ 61674 h 286120"/>
                <a:gd name="connsiteX2" fmla="*/ 28760 w 84058"/>
                <a:gd name="connsiteY2" fmla="*/ 193415 h 286120"/>
                <a:gd name="connsiteX3" fmla="*/ 84059 w 84058"/>
                <a:gd name="connsiteY3" fmla="*/ 286121 h 2861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4058" h="286120">
                  <a:moveTo>
                    <a:pt x="51595" y="0"/>
                  </a:moveTo>
                  <a:cubicBezTo>
                    <a:pt x="37868" y="7872"/>
                    <a:pt x="26028" y="24852"/>
                    <a:pt x="35266" y="61674"/>
                  </a:cubicBezTo>
                  <a:cubicBezTo>
                    <a:pt x="35266" y="61674"/>
                    <a:pt x="-39549" y="126731"/>
                    <a:pt x="28760" y="193415"/>
                  </a:cubicBezTo>
                  <a:cubicBezTo>
                    <a:pt x="28760" y="193415"/>
                    <a:pt x="9243" y="281242"/>
                    <a:pt x="84059" y="286121"/>
                  </a:cubicBezTo>
                </a:path>
              </a:pathLst>
            </a:custGeom>
            <a:noFill/>
            <a:ln w="19050" cap="sq">
              <a:solidFill>
                <a:schemeClr val="bg1"/>
              </a:solidFill>
              <a:prstDash val="solid"/>
              <a:miter lim="800000"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568" name="Gráfico 32">
              <a:extLst>
                <a:ext uri="{FF2B5EF4-FFF2-40B4-BE49-F238E27FC236}">
                  <a16:creationId xmlns:a16="http://schemas.microsoft.com/office/drawing/2014/main" id="{53D28506-D997-4D90-1043-CDABB03A689B}"/>
                </a:ext>
              </a:extLst>
            </p:cNvPr>
            <p:cNvGrpSpPr/>
            <p:nvPr/>
          </p:nvGrpSpPr>
          <p:grpSpPr>
            <a:xfrm>
              <a:off x="6061121" y="1359924"/>
              <a:ext cx="128487" cy="396366"/>
              <a:chOff x="6061121" y="1359924"/>
              <a:chExt cx="128487" cy="396366"/>
            </a:xfrm>
            <a:noFill/>
          </p:grpSpPr>
          <p:sp>
            <p:nvSpPr>
              <p:cNvPr id="583" name="Forma livre: Forma 582">
                <a:extLst>
                  <a:ext uri="{FF2B5EF4-FFF2-40B4-BE49-F238E27FC236}">
                    <a16:creationId xmlns:a16="http://schemas.microsoft.com/office/drawing/2014/main" id="{CCC6B0E4-FA19-3046-9BE1-5606178EF432}"/>
                  </a:ext>
                </a:extLst>
              </p:cNvPr>
              <p:cNvSpPr/>
              <p:nvPr/>
            </p:nvSpPr>
            <p:spPr>
              <a:xfrm>
                <a:off x="6083891" y="1359924"/>
                <a:ext cx="105717" cy="396366"/>
              </a:xfrm>
              <a:custGeom>
                <a:avLst/>
                <a:gdLst>
                  <a:gd name="connsiteX0" fmla="*/ 52891 w 105717"/>
                  <a:gd name="connsiteY0" fmla="*/ 105718 h 396366"/>
                  <a:gd name="connsiteX1" fmla="*/ 0 w 105717"/>
                  <a:gd name="connsiteY1" fmla="*/ 52891 h 396366"/>
                  <a:gd name="connsiteX2" fmla="*/ 52891 w 105717"/>
                  <a:gd name="connsiteY2" fmla="*/ 0 h 396366"/>
                  <a:gd name="connsiteX3" fmla="*/ 105718 w 105717"/>
                  <a:gd name="connsiteY3" fmla="*/ 52826 h 396366"/>
                  <a:gd name="connsiteX4" fmla="*/ 105718 w 105717"/>
                  <a:gd name="connsiteY4" fmla="*/ 346884 h 396366"/>
                  <a:gd name="connsiteX5" fmla="*/ 80606 w 105717"/>
                  <a:gd name="connsiteY5" fmla="*/ 388911 h 396366"/>
                  <a:gd name="connsiteX6" fmla="*/ 9238 w 105717"/>
                  <a:gd name="connsiteY6" fmla="*/ 371150 h 396366"/>
                  <a:gd name="connsiteX7" fmla="*/ 15484 w 105717"/>
                  <a:gd name="connsiteY7" fmla="*/ 309216 h 396366"/>
                  <a:gd name="connsiteX8" fmla="*/ 45019 w 105717"/>
                  <a:gd name="connsiteY8" fmla="*/ 277078 h 3963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05717" h="396366">
                    <a:moveTo>
                      <a:pt x="52891" y="105718"/>
                    </a:moveTo>
                    <a:cubicBezTo>
                      <a:pt x="23681" y="105718"/>
                      <a:pt x="0" y="82037"/>
                      <a:pt x="0" y="52891"/>
                    </a:cubicBezTo>
                    <a:cubicBezTo>
                      <a:pt x="0" y="23746"/>
                      <a:pt x="23681" y="0"/>
                      <a:pt x="52891" y="0"/>
                    </a:cubicBezTo>
                    <a:cubicBezTo>
                      <a:pt x="82102" y="0"/>
                      <a:pt x="105718" y="23681"/>
                      <a:pt x="105718" y="52826"/>
                    </a:cubicBezTo>
                    <a:lnTo>
                      <a:pt x="105718" y="346884"/>
                    </a:lnTo>
                    <a:cubicBezTo>
                      <a:pt x="105718" y="364580"/>
                      <a:pt x="96414" y="379413"/>
                      <a:pt x="80606" y="388911"/>
                    </a:cubicBezTo>
                    <a:cubicBezTo>
                      <a:pt x="55949" y="403744"/>
                      <a:pt x="24006" y="395742"/>
                      <a:pt x="9238" y="371150"/>
                    </a:cubicBezTo>
                    <a:cubicBezTo>
                      <a:pt x="-2928" y="350918"/>
                      <a:pt x="260" y="325741"/>
                      <a:pt x="15484" y="309216"/>
                    </a:cubicBezTo>
                    <a:lnTo>
                      <a:pt x="45019" y="277078"/>
                    </a:lnTo>
                  </a:path>
                </a:pathLst>
              </a:custGeom>
              <a:noFill/>
              <a:ln w="19050" cap="sq">
                <a:solidFill>
                  <a:schemeClr val="bg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84" name="Forma livre: Forma 583">
                <a:extLst>
                  <a:ext uri="{FF2B5EF4-FFF2-40B4-BE49-F238E27FC236}">
                    <a16:creationId xmlns:a16="http://schemas.microsoft.com/office/drawing/2014/main" id="{E22F72CA-B019-F1CF-A643-09374CB0B5E9}"/>
                  </a:ext>
                </a:extLst>
              </p:cNvPr>
              <p:cNvSpPr/>
              <p:nvPr/>
            </p:nvSpPr>
            <p:spPr>
              <a:xfrm>
                <a:off x="6144784" y="1383865"/>
                <a:ext cx="41563" cy="38963"/>
              </a:xfrm>
              <a:custGeom>
                <a:avLst/>
                <a:gdLst>
                  <a:gd name="connsiteX0" fmla="*/ 36172 w 41563"/>
                  <a:gd name="connsiteY0" fmla="*/ 0 h 38963"/>
                  <a:gd name="connsiteX1" fmla="*/ 39425 w 41563"/>
                  <a:gd name="connsiteY1" fmla="*/ 24266 h 38963"/>
                  <a:gd name="connsiteX2" fmla="*/ 36432 w 41563"/>
                  <a:gd name="connsiteY2" fmla="*/ 29080 h 38963"/>
                  <a:gd name="connsiteX3" fmla="*/ 0 w 41563"/>
                  <a:gd name="connsiteY3" fmla="*/ 33439 h 389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563" h="38963">
                    <a:moveTo>
                      <a:pt x="36172" y="0"/>
                    </a:moveTo>
                    <a:cubicBezTo>
                      <a:pt x="41571" y="7547"/>
                      <a:pt x="43393" y="16004"/>
                      <a:pt x="39425" y="24266"/>
                    </a:cubicBezTo>
                    <a:cubicBezTo>
                      <a:pt x="38644" y="25893"/>
                      <a:pt x="37603" y="27519"/>
                      <a:pt x="36432" y="29080"/>
                    </a:cubicBezTo>
                    <a:cubicBezTo>
                      <a:pt x="27584" y="40270"/>
                      <a:pt x="11190" y="42287"/>
                      <a:pt x="0" y="33439"/>
                    </a:cubicBezTo>
                  </a:path>
                </a:pathLst>
              </a:custGeom>
              <a:noFill/>
              <a:ln w="19050" cap="sq">
                <a:solidFill>
                  <a:schemeClr val="bg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85" name="Forma livre: Forma 584">
                <a:extLst>
                  <a:ext uri="{FF2B5EF4-FFF2-40B4-BE49-F238E27FC236}">
                    <a16:creationId xmlns:a16="http://schemas.microsoft.com/office/drawing/2014/main" id="{7818D658-44F2-3210-2C38-D8226D874240}"/>
                  </a:ext>
                </a:extLst>
              </p:cNvPr>
              <p:cNvSpPr/>
              <p:nvPr/>
            </p:nvSpPr>
            <p:spPr>
              <a:xfrm>
                <a:off x="6081487" y="1460806"/>
                <a:ext cx="34217" cy="54474"/>
              </a:xfrm>
              <a:custGeom>
                <a:avLst/>
                <a:gdLst>
                  <a:gd name="connsiteX0" fmla="*/ 21076 w 34217"/>
                  <a:gd name="connsiteY0" fmla="*/ 54475 h 54474"/>
                  <a:gd name="connsiteX1" fmla="*/ 778 w 34217"/>
                  <a:gd name="connsiteY1" fmla="*/ 21035 h 54474"/>
                  <a:gd name="connsiteX2" fmla="*/ 34217 w 34217"/>
                  <a:gd name="connsiteY2" fmla="*/ 803 h 544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4217" h="54474">
                    <a:moveTo>
                      <a:pt x="21076" y="54475"/>
                    </a:moveTo>
                    <a:cubicBezTo>
                      <a:pt x="6308" y="50832"/>
                      <a:pt x="-2800" y="35803"/>
                      <a:pt x="778" y="21035"/>
                    </a:cubicBezTo>
                    <a:cubicBezTo>
                      <a:pt x="4421" y="6267"/>
                      <a:pt x="19449" y="-2841"/>
                      <a:pt x="34217" y="803"/>
                    </a:cubicBezTo>
                  </a:path>
                </a:pathLst>
              </a:custGeom>
              <a:noFill/>
              <a:ln w="19050" cap="sq">
                <a:solidFill>
                  <a:schemeClr val="bg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86" name="Forma livre: Forma 585">
                <a:extLst>
                  <a:ext uri="{FF2B5EF4-FFF2-40B4-BE49-F238E27FC236}">
                    <a16:creationId xmlns:a16="http://schemas.microsoft.com/office/drawing/2014/main" id="{72B54EB3-02A9-C2B1-A25F-2E5DAF64BE26}"/>
                  </a:ext>
                </a:extLst>
              </p:cNvPr>
              <p:cNvSpPr/>
              <p:nvPr/>
            </p:nvSpPr>
            <p:spPr>
              <a:xfrm>
                <a:off x="6073547" y="1527543"/>
                <a:ext cx="114760" cy="72506"/>
              </a:xfrm>
              <a:custGeom>
                <a:avLst/>
                <a:gdLst>
                  <a:gd name="connsiteX0" fmla="*/ 114760 w 114760"/>
                  <a:gd name="connsiteY0" fmla="*/ 7254 h 72506"/>
                  <a:gd name="connsiteX1" fmla="*/ 73905 w 114760"/>
                  <a:gd name="connsiteY1" fmla="*/ 8881 h 72506"/>
                  <a:gd name="connsiteX2" fmla="*/ 0 w 114760"/>
                  <a:gd name="connsiteY2" fmla="*/ 72506 h 725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14760" h="72506">
                    <a:moveTo>
                      <a:pt x="114760" y="7254"/>
                    </a:moveTo>
                    <a:cubicBezTo>
                      <a:pt x="103375" y="-2830"/>
                      <a:pt x="83989" y="-2504"/>
                      <a:pt x="73905" y="8881"/>
                    </a:cubicBezTo>
                    <a:cubicBezTo>
                      <a:pt x="73905" y="8881"/>
                      <a:pt x="31488" y="72506"/>
                      <a:pt x="0" y="72506"/>
                    </a:cubicBezTo>
                  </a:path>
                </a:pathLst>
              </a:custGeom>
              <a:noFill/>
              <a:ln w="19050" cap="sq">
                <a:solidFill>
                  <a:schemeClr val="bg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87" name="Forma livre: Forma 586">
                <a:extLst>
                  <a:ext uri="{FF2B5EF4-FFF2-40B4-BE49-F238E27FC236}">
                    <a16:creationId xmlns:a16="http://schemas.microsoft.com/office/drawing/2014/main" id="{FD27966C-DE6F-20C5-5336-3C88ECF4EC68}"/>
                  </a:ext>
                </a:extLst>
              </p:cNvPr>
              <p:cNvSpPr/>
              <p:nvPr/>
            </p:nvSpPr>
            <p:spPr>
              <a:xfrm>
                <a:off x="6079857" y="1646956"/>
                <a:ext cx="29405" cy="9823"/>
              </a:xfrm>
              <a:custGeom>
                <a:avLst/>
                <a:gdLst>
                  <a:gd name="connsiteX0" fmla="*/ 0 w 29405"/>
                  <a:gd name="connsiteY0" fmla="*/ 0 h 9823"/>
                  <a:gd name="connsiteX1" fmla="*/ 29406 w 29405"/>
                  <a:gd name="connsiteY1" fmla="*/ 9824 h 98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9405" h="9823">
                    <a:moveTo>
                      <a:pt x="0" y="0"/>
                    </a:moveTo>
                    <a:lnTo>
                      <a:pt x="29406" y="9824"/>
                    </a:lnTo>
                  </a:path>
                </a:pathLst>
              </a:custGeom>
              <a:ln w="19050" cap="sq">
                <a:solidFill>
                  <a:schemeClr val="bg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88" name="Forma livre: Forma 587">
                <a:extLst>
                  <a:ext uri="{FF2B5EF4-FFF2-40B4-BE49-F238E27FC236}">
                    <a16:creationId xmlns:a16="http://schemas.microsoft.com/office/drawing/2014/main" id="{578007F4-C5E5-F3F4-7B2B-83F592ECCB6E}"/>
                  </a:ext>
                </a:extLst>
              </p:cNvPr>
              <p:cNvSpPr/>
              <p:nvPr/>
            </p:nvSpPr>
            <p:spPr>
              <a:xfrm>
                <a:off x="6061121" y="1545272"/>
                <a:ext cx="47166" cy="34154"/>
              </a:xfrm>
              <a:custGeom>
                <a:avLst/>
                <a:gdLst>
                  <a:gd name="connsiteX0" fmla="*/ 0 w 47166"/>
                  <a:gd name="connsiteY0" fmla="*/ 0 h 34154"/>
                  <a:gd name="connsiteX1" fmla="*/ 47166 w 47166"/>
                  <a:gd name="connsiteY1" fmla="*/ 34155 h 341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166" h="34154">
                    <a:moveTo>
                      <a:pt x="0" y="0"/>
                    </a:moveTo>
                    <a:cubicBezTo>
                      <a:pt x="0" y="0"/>
                      <a:pt x="27649" y="13011"/>
                      <a:pt x="47166" y="34155"/>
                    </a:cubicBezTo>
                  </a:path>
                </a:pathLst>
              </a:custGeom>
              <a:noFill/>
              <a:ln w="19050" cap="sq">
                <a:solidFill>
                  <a:schemeClr val="bg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569" name="Gráfico 32">
              <a:extLst>
                <a:ext uri="{FF2B5EF4-FFF2-40B4-BE49-F238E27FC236}">
                  <a16:creationId xmlns:a16="http://schemas.microsoft.com/office/drawing/2014/main" id="{F0F39C59-D92E-3C54-0633-4AA991580A54}"/>
                </a:ext>
              </a:extLst>
            </p:cNvPr>
            <p:cNvGrpSpPr/>
            <p:nvPr/>
          </p:nvGrpSpPr>
          <p:grpSpPr>
            <a:xfrm>
              <a:off x="6191625" y="1599725"/>
              <a:ext cx="173767" cy="157112"/>
              <a:chOff x="6191625" y="1599725"/>
              <a:chExt cx="173767" cy="157112"/>
            </a:xfrm>
            <a:noFill/>
          </p:grpSpPr>
          <p:sp>
            <p:nvSpPr>
              <p:cNvPr id="579" name="Forma livre: Forma 578">
                <a:extLst>
                  <a:ext uri="{FF2B5EF4-FFF2-40B4-BE49-F238E27FC236}">
                    <a16:creationId xmlns:a16="http://schemas.microsoft.com/office/drawing/2014/main" id="{B99FC500-D9FB-1C22-28DC-58B3C17D8D00}"/>
                  </a:ext>
                </a:extLst>
              </p:cNvPr>
              <p:cNvSpPr/>
              <p:nvPr/>
            </p:nvSpPr>
            <p:spPr>
              <a:xfrm>
                <a:off x="6310094" y="1621974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bg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80" name="Forma livre: Forma 579">
                <a:extLst>
                  <a:ext uri="{FF2B5EF4-FFF2-40B4-BE49-F238E27FC236}">
                    <a16:creationId xmlns:a16="http://schemas.microsoft.com/office/drawing/2014/main" id="{8EAC33CF-3375-B34C-C1AB-874F2AC0A277}"/>
                  </a:ext>
                </a:extLst>
              </p:cNvPr>
              <p:cNvSpPr/>
              <p:nvPr/>
            </p:nvSpPr>
            <p:spPr>
              <a:xfrm>
                <a:off x="6191625" y="1599725"/>
                <a:ext cx="118078" cy="49898"/>
              </a:xfrm>
              <a:custGeom>
                <a:avLst/>
                <a:gdLst>
                  <a:gd name="connsiteX0" fmla="*/ 0 w 118078"/>
                  <a:gd name="connsiteY0" fmla="*/ 0 h 49898"/>
                  <a:gd name="connsiteX1" fmla="*/ 37343 w 118078"/>
                  <a:gd name="connsiteY1" fmla="*/ 0 h 49898"/>
                  <a:gd name="connsiteX2" fmla="*/ 87176 w 118078"/>
                  <a:gd name="connsiteY2" fmla="*/ 49899 h 49898"/>
                  <a:gd name="connsiteX3" fmla="*/ 118078 w 118078"/>
                  <a:gd name="connsiteY3" fmla="*/ 49899 h 49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8078" h="49898">
                    <a:moveTo>
                      <a:pt x="0" y="0"/>
                    </a:moveTo>
                    <a:lnTo>
                      <a:pt x="37343" y="0"/>
                    </a:lnTo>
                    <a:lnTo>
                      <a:pt x="87176" y="49899"/>
                    </a:lnTo>
                    <a:lnTo>
                      <a:pt x="118078" y="49899"/>
                    </a:lnTo>
                  </a:path>
                </a:pathLst>
              </a:custGeom>
              <a:noFill/>
              <a:ln w="19050" cap="sq">
                <a:solidFill>
                  <a:schemeClr val="bg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81" name="Forma livre: Forma 580">
                <a:extLst>
                  <a:ext uri="{FF2B5EF4-FFF2-40B4-BE49-F238E27FC236}">
                    <a16:creationId xmlns:a16="http://schemas.microsoft.com/office/drawing/2014/main" id="{228D9BB4-8245-07C3-A6D1-FC2512CC2EF1}"/>
                  </a:ext>
                </a:extLst>
              </p:cNvPr>
              <p:cNvSpPr/>
              <p:nvPr/>
            </p:nvSpPr>
            <p:spPr>
              <a:xfrm>
                <a:off x="6191625" y="1665367"/>
                <a:ext cx="81906" cy="44108"/>
              </a:xfrm>
              <a:custGeom>
                <a:avLst/>
                <a:gdLst>
                  <a:gd name="connsiteX0" fmla="*/ 0 w 81906"/>
                  <a:gd name="connsiteY0" fmla="*/ 0 h 44108"/>
                  <a:gd name="connsiteX1" fmla="*/ 37343 w 81906"/>
                  <a:gd name="connsiteY1" fmla="*/ 0 h 44108"/>
                  <a:gd name="connsiteX2" fmla="*/ 81907 w 81906"/>
                  <a:gd name="connsiteY2" fmla="*/ 44109 h 441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1906" h="44108">
                    <a:moveTo>
                      <a:pt x="0" y="0"/>
                    </a:moveTo>
                    <a:lnTo>
                      <a:pt x="37343" y="0"/>
                    </a:lnTo>
                    <a:lnTo>
                      <a:pt x="81907" y="44109"/>
                    </a:lnTo>
                  </a:path>
                </a:pathLst>
              </a:custGeom>
              <a:noFill/>
              <a:ln w="19050" cap="sq">
                <a:solidFill>
                  <a:schemeClr val="bg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82" name="Forma livre: Forma 581">
                <a:extLst>
                  <a:ext uri="{FF2B5EF4-FFF2-40B4-BE49-F238E27FC236}">
                    <a16:creationId xmlns:a16="http://schemas.microsoft.com/office/drawing/2014/main" id="{A26FA240-3174-5A00-B22A-BCCCEF460651}"/>
                  </a:ext>
                </a:extLst>
              </p:cNvPr>
              <p:cNvSpPr/>
              <p:nvPr/>
            </p:nvSpPr>
            <p:spPr>
              <a:xfrm>
                <a:off x="6265075" y="1701539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bg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570" name="Gráfico 32">
              <a:extLst>
                <a:ext uri="{FF2B5EF4-FFF2-40B4-BE49-F238E27FC236}">
                  <a16:creationId xmlns:a16="http://schemas.microsoft.com/office/drawing/2014/main" id="{C6603E6E-0A0B-03E5-CE58-87098D5DC6EC}"/>
                </a:ext>
              </a:extLst>
            </p:cNvPr>
            <p:cNvGrpSpPr/>
            <p:nvPr/>
          </p:nvGrpSpPr>
          <p:grpSpPr>
            <a:xfrm>
              <a:off x="6191625" y="1357908"/>
              <a:ext cx="173767" cy="157112"/>
              <a:chOff x="6191625" y="1357908"/>
              <a:chExt cx="173767" cy="157112"/>
            </a:xfrm>
            <a:noFill/>
          </p:grpSpPr>
          <p:sp>
            <p:nvSpPr>
              <p:cNvPr id="575" name="Forma livre: Forma 574">
                <a:extLst>
                  <a:ext uri="{FF2B5EF4-FFF2-40B4-BE49-F238E27FC236}">
                    <a16:creationId xmlns:a16="http://schemas.microsoft.com/office/drawing/2014/main" id="{E19441A8-B69D-4051-8CE2-3008ACFE76DC}"/>
                  </a:ext>
                </a:extLst>
              </p:cNvPr>
              <p:cNvSpPr/>
              <p:nvPr/>
            </p:nvSpPr>
            <p:spPr>
              <a:xfrm>
                <a:off x="6310094" y="1437472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0 h 55298"/>
                  <a:gd name="connsiteX2" fmla="*/ 0 w 55298"/>
                  <a:gd name="connsiteY2" fmla="*/ 27649 h 55298"/>
                  <a:gd name="connsiteX3" fmla="*/ 27649 w 55298"/>
                  <a:gd name="connsiteY3" fmla="*/ 55298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12361"/>
                      <a:pt x="42938" y="0"/>
                      <a:pt x="27649" y="0"/>
                    </a:cubicBezTo>
                    <a:cubicBezTo>
                      <a:pt x="12361" y="0"/>
                      <a:pt x="0" y="12361"/>
                      <a:pt x="0" y="27649"/>
                    </a:cubicBezTo>
                    <a:cubicBezTo>
                      <a:pt x="0" y="42938"/>
                      <a:pt x="12361" y="55298"/>
                      <a:pt x="27649" y="55298"/>
                    </a:cubicBezTo>
                    <a:cubicBezTo>
                      <a:pt x="42938" y="55298"/>
                      <a:pt x="55298" y="42938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bg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76" name="Forma livre: Forma 575">
                <a:extLst>
                  <a:ext uri="{FF2B5EF4-FFF2-40B4-BE49-F238E27FC236}">
                    <a16:creationId xmlns:a16="http://schemas.microsoft.com/office/drawing/2014/main" id="{CC3A62E8-D634-E0D8-CF77-3780674F5A68}"/>
                  </a:ext>
                </a:extLst>
              </p:cNvPr>
              <p:cNvSpPr/>
              <p:nvPr/>
            </p:nvSpPr>
            <p:spPr>
              <a:xfrm>
                <a:off x="6191625" y="1465122"/>
                <a:ext cx="118468" cy="49898"/>
              </a:xfrm>
              <a:custGeom>
                <a:avLst/>
                <a:gdLst>
                  <a:gd name="connsiteX0" fmla="*/ 0 w 118468"/>
                  <a:gd name="connsiteY0" fmla="*/ 49899 h 49898"/>
                  <a:gd name="connsiteX1" fmla="*/ 37343 w 118468"/>
                  <a:gd name="connsiteY1" fmla="*/ 49899 h 49898"/>
                  <a:gd name="connsiteX2" fmla="*/ 87176 w 118468"/>
                  <a:gd name="connsiteY2" fmla="*/ 0 h 49898"/>
                  <a:gd name="connsiteX3" fmla="*/ 118469 w 118468"/>
                  <a:gd name="connsiteY3" fmla="*/ 0 h 49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8468" h="49898">
                    <a:moveTo>
                      <a:pt x="0" y="49899"/>
                    </a:moveTo>
                    <a:lnTo>
                      <a:pt x="37343" y="49899"/>
                    </a:lnTo>
                    <a:lnTo>
                      <a:pt x="87176" y="0"/>
                    </a:lnTo>
                    <a:lnTo>
                      <a:pt x="118469" y="0"/>
                    </a:lnTo>
                  </a:path>
                </a:pathLst>
              </a:custGeom>
              <a:noFill/>
              <a:ln w="19050" cap="sq">
                <a:solidFill>
                  <a:schemeClr val="bg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77" name="Forma livre: Forma 576">
                <a:extLst>
                  <a:ext uri="{FF2B5EF4-FFF2-40B4-BE49-F238E27FC236}">
                    <a16:creationId xmlns:a16="http://schemas.microsoft.com/office/drawing/2014/main" id="{35B8836C-98AC-7E8B-21FD-AB901E2A9A15}"/>
                  </a:ext>
                </a:extLst>
              </p:cNvPr>
              <p:cNvSpPr/>
              <p:nvPr/>
            </p:nvSpPr>
            <p:spPr>
              <a:xfrm>
                <a:off x="6191625" y="1405269"/>
                <a:ext cx="81451" cy="44043"/>
              </a:xfrm>
              <a:custGeom>
                <a:avLst/>
                <a:gdLst>
                  <a:gd name="connsiteX0" fmla="*/ 0 w 81451"/>
                  <a:gd name="connsiteY0" fmla="*/ 44044 h 44043"/>
                  <a:gd name="connsiteX1" fmla="*/ 37343 w 81451"/>
                  <a:gd name="connsiteY1" fmla="*/ 44044 h 44043"/>
                  <a:gd name="connsiteX2" fmla="*/ 81451 w 81451"/>
                  <a:gd name="connsiteY2" fmla="*/ 0 h 440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1451" h="44043">
                    <a:moveTo>
                      <a:pt x="0" y="44044"/>
                    </a:moveTo>
                    <a:lnTo>
                      <a:pt x="37343" y="44044"/>
                    </a:lnTo>
                    <a:lnTo>
                      <a:pt x="81451" y="0"/>
                    </a:lnTo>
                  </a:path>
                </a:pathLst>
              </a:custGeom>
              <a:noFill/>
              <a:ln w="19050" cap="sq">
                <a:solidFill>
                  <a:schemeClr val="bg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78" name="Forma livre: Forma 577">
                <a:extLst>
                  <a:ext uri="{FF2B5EF4-FFF2-40B4-BE49-F238E27FC236}">
                    <a16:creationId xmlns:a16="http://schemas.microsoft.com/office/drawing/2014/main" id="{B37A13EB-4EAC-DE8C-B474-0CABB8C00394}"/>
                  </a:ext>
                </a:extLst>
              </p:cNvPr>
              <p:cNvSpPr/>
              <p:nvPr/>
            </p:nvSpPr>
            <p:spPr>
              <a:xfrm>
                <a:off x="6265075" y="1357908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0 h 55298"/>
                  <a:gd name="connsiteX2" fmla="*/ 0 w 55298"/>
                  <a:gd name="connsiteY2" fmla="*/ 27649 h 55298"/>
                  <a:gd name="connsiteX3" fmla="*/ 27649 w 55298"/>
                  <a:gd name="connsiteY3" fmla="*/ 55298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12361"/>
                      <a:pt x="42938" y="0"/>
                      <a:pt x="27649" y="0"/>
                    </a:cubicBezTo>
                    <a:cubicBezTo>
                      <a:pt x="12361" y="0"/>
                      <a:pt x="0" y="12361"/>
                      <a:pt x="0" y="27649"/>
                    </a:cubicBezTo>
                    <a:cubicBezTo>
                      <a:pt x="0" y="42938"/>
                      <a:pt x="12361" y="55298"/>
                      <a:pt x="27649" y="55298"/>
                    </a:cubicBezTo>
                    <a:cubicBezTo>
                      <a:pt x="42938" y="55298"/>
                      <a:pt x="55298" y="42938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bg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571" name="Gráfico 32">
              <a:extLst>
                <a:ext uri="{FF2B5EF4-FFF2-40B4-BE49-F238E27FC236}">
                  <a16:creationId xmlns:a16="http://schemas.microsoft.com/office/drawing/2014/main" id="{57B4BC70-AC2D-E21A-D799-D4878778749C}"/>
                </a:ext>
              </a:extLst>
            </p:cNvPr>
            <p:cNvGrpSpPr/>
            <p:nvPr/>
          </p:nvGrpSpPr>
          <p:grpSpPr>
            <a:xfrm>
              <a:off x="6190910" y="1529723"/>
              <a:ext cx="123673" cy="55298"/>
              <a:chOff x="6190910" y="1529723"/>
              <a:chExt cx="123673" cy="55298"/>
            </a:xfrm>
            <a:noFill/>
          </p:grpSpPr>
          <p:sp>
            <p:nvSpPr>
              <p:cNvPr id="573" name="Forma livre: Forma 572">
                <a:extLst>
                  <a:ext uri="{FF2B5EF4-FFF2-40B4-BE49-F238E27FC236}">
                    <a16:creationId xmlns:a16="http://schemas.microsoft.com/office/drawing/2014/main" id="{0D5B7999-1824-EA32-AA45-CE9E5B4C5A25}"/>
                  </a:ext>
                </a:extLst>
              </p:cNvPr>
              <p:cNvSpPr/>
              <p:nvPr/>
            </p:nvSpPr>
            <p:spPr>
              <a:xfrm>
                <a:off x="6190910" y="1557372"/>
                <a:ext cx="68765" cy="6505"/>
              </a:xfrm>
              <a:custGeom>
                <a:avLst/>
                <a:gdLst>
                  <a:gd name="connsiteX0" fmla="*/ 0 w 68765"/>
                  <a:gd name="connsiteY0" fmla="*/ 0 h 6505"/>
                  <a:gd name="connsiteX1" fmla="*/ 68765 w 68765"/>
                  <a:gd name="connsiteY1" fmla="*/ 0 h 65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8765" h="6505">
                    <a:moveTo>
                      <a:pt x="0" y="0"/>
                    </a:moveTo>
                    <a:lnTo>
                      <a:pt x="68765" y="0"/>
                    </a:lnTo>
                  </a:path>
                </a:pathLst>
              </a:custGeom>
              <a:ln w="19050" cap="sq">
                <a:solidFill>
                  <a:schemeClr val="bg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74" name="Forma livre: Forma 573">
                <a:extLst>
                  <a:ext uri="{FF2B5EF4-FFF2-40B4-BE49-F238E27FC236}">
                    <a16:creationId xmlns:a16="http://schemas.microsoft.com/office/drawing/2014/main" id="{ADB6D73D-1EB6-7BDE-80DD-DB0448DB2BB0}"/>
                  </a:ext>
                </a:extLst>
              </p:cNvPr>
              <p:cNvSpPr/>
              <p:nvPr/>
            </p:nvSpPr>
            <p:spPr>
              <a:xfrm>
                <a:off x="6259285" y="1529723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bg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572" name="Forma livre: Forma 571">
              <a:extLst>
                <a:ext uri="{FF2B5EF4-FFF2-40B4-BE49-F238E27FC236}">
                  <a16:creationId xmlns:a16="http://schemas.microsoft.com/office/drawing/2014/main" id="{310669FF-A549-531D-9790-F181CA903B21}"/>
                </a:ext>
              </a:extLst>
            </p:cNvPr>
            <p:cNvSpPr/>
            <p:nvPr/>
          </p:nvSpPr>
          <p:spPr>
            <a:xfrm>
              <a:off x="6152201" y="1686285"/>
              <a:ext cx="37362" cy="20848"/>
            </a:xfrm>
            <a:custGeom>
              <a:avLst/>
              <a:gdLst>
                <a:gd name="connsiteX0" fmla="*/ 0 w 37362"/>
                <a:gd name="connsiteY0" fmla="*/ 10505 h 20848"/>
                <a:gd name="connsiteX1" fmla="*/ 27064 w 37362"/>
                <a:gd name="connsiteY1" fmla="*/ 2373 h 20848"/>
                <a:gd name="connsiteX2" fmla="*/ 37343 w 37362"/>
                <a:gd name="connsiteY2" fmla="*/ 20849 h 20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7362" h="20848">
                  <a:moveTo>
                    <a:pt x="0" y="10505"/>
                  </a:moveTo>
                  <a:cubicBezTo>
                    <a:pt x="5205" y="811"/>
                    <a:pt x="17435" y="-2832"/>
                    <a:pt x="27064" y="2373"/>
                  </a:cubicBezTo>
                  <a:cubicBezTo>
                    <a:pt x="34025" y="6081"/>
                    <a:pt x="37668" y="13432"/>
                    <a:pt x="37343" y="20849"/>
                  </a:cubicBezTo>
                </a:path>
              </a:pathLst>
            </a:custGeom>
            <a:noFill/>
            <a:ln w="19050" cap="sq">
              <a:solidFill>
                <a:schemeClr val="bg1"/>
              </a:solidFill>
              <a:prstDash val="solid"/>
              <a:miter lim="800000"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sp>
        <p:nvSpPr>
          <p:cNvPr id="2" name="Marcador de pie de página 1">
            <a:extLst>
              <a:ext uri="{FF2B5EF4-FFF2-40B4-BE49-F238E27FC236}">
                <a16:creationId xmlns:a16="http://schemas.microsoft.com/office/drawing/2014/main" id="{EE95AA29-DA0A-4542-83AE-F4E5DEF3762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pt-PT"/>
              <a:t>Título de la presentación</a:t>
            </a:r>
            <a:endParaRPr lang="pt-PT" dirty="0"/>
          </a:p>
        </p:txBody>
      </p:sp>
      <p:sp>
        <p:nvSpPr>
          <p:cNvPr id="3" name="Marcador de número de diapositiva 2">
            <a:extLst>
              <a:ext uri="{FF2B5EF4-FFF2-40B4-BE49-F238E27FC236}">
                <a16:creationId xmlns:a16="http://schemas.microsoft.com/office/drawing/2014/main" id="{CE979BC5-36A3-4FA0-A737-35D2C247E09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4A347C2-D68E-473A-8C76-1D063E4EB6E0}" type="slidenum">
              <a:rPr lang="es-ES" smtClean="0"/>
              <a:pPr/>
              <a:t>45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7684535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0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9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26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35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40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4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2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29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4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49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10" presetClass="entr" presetSubtype="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1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10" presetClass="entr" presetSubtype="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5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10" presetClass="entr" presetSubtype="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500"/>
                                        <p:tgtEl>
                                          <p:spTgt spid="5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7" presetID="10" presetClass="entr" presetSubtype="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5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10" presetClass="entr" presetSubtype="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1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" presetID="10" presetClass="entr" presetSubtype="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500"/>
                                        <p:tgtEl>
                                          <p:spTgt spid="3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6" presetID="10" presetClass="entr" presetSubtype="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8" dur="500"/>
                                        <p:tgtEl>
                                          <p:spTgt spid="8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9" presetID="10" presetClass="entr" presetSubtype="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1" dur="500"/>
                                        <p:tgtEl>
                                          <p:spTgt spid="1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2" presetID="10" presetClass="entr" presetSubtype="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4" dur="500"/>
                                        <p:tgtEl>
                                          <p:spTgt spid="2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5" presetID="10" presetClass="entr" presetSubtype="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7" dur="500"/>
                                        <p:tgtEl>
                                          <p:spTgt spid="3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8" presetID="10" presetClass="entr" presetSubtype="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0" dur="500"/>
                                        <p:tgtEl>
                                          <p:spTgt spid="38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1" presetID="10" presetClass="entr" presetSubtype="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3" dur="500"/>
                                        <p:tgtEl>
                                          <p:spTgt spid="4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678628EF-7D84-7A48-F7EE-D0BFB25B91C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PT" dirty="0"/>
              <a:t>Ejemplo de título de slide</a:t>
            </a:r>
          </a:p>
        </p:txBody>
      </p:sp>
      <p:sp>
        <p:nvSpPr>
          <p:cNvPr id="3" name="Marcador de Posição do Texto 2">
            <a:extLst>
              <a:ext uri="{FF2B5EF4-FFF2-40B4-BE49-F238E27FC236}">
                <a16:creationId xmlns:a16="http://schemas.microsoft.com/office/drawing/2014/main" id="{1DDB8235-AB60-59B6-4425-E5E2CE5E309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>
            <a:normAutofit lnSpcReduction="10000"/>
          </a:bodyPr>
          <a:lstStyle/>
          <a:p>
            <a:r>
              <a:rPr lang="pt-PT" dirty="0"/>
              <a:t>Ejemplo de subtítulo de slide</a:t>
            </a:r>
          </a:p>
        </p:txBody>
      </p:sp>
      <p:sp>
        <p:nvSpPr>
          <p:cNvPr id="4" name="Marcador de Posição do Texto 3">
            <a:extLst>
              <a:ext uri="{FF2B5EF4-FFF2-40B4-BE49-F238E27FC236}">
                <a16:creationId xmlns:a16="http://schemas.microsoft.com/office/drawing/2014/main" id="{B6C0A6B3-291B-1A3B-0964-F2D8D88C5302}"/>
              </a:ext>
            </a:extLst>
          </p:cNvPr>
          <p:cNvSpPr>
            <a:spLocks noGrp="1"/>
          </p:cNvSpPr>
          <p:nvPr>
            <p:ph type="body" sz="quarter" idx="59"/>
          </p:nvPr>
        </p:nvSpPr>
        <p:spPr/>
        <p:txBody>
          <a:bodyPr/>
          <a:lstStyle/>
          <a:p>
            <a:r>
              <a:rPr lang="pt-PT" dirty="0" err="1"/>
              <a:t>Communication</a:t>
            </a:r>
            <a:r>
              <a:rPr lang="pt-PT" dirty="0"/>
              <a:t> &amp; </a:t>
            </a:r>
            <a:r>
              <a:rPr lang="pt-PT" dirty="0" err="1"/>
              <a:t>Collaboration</a:t>
            </a:r>
            <a:endParaRPr lang="pt-PT" dirty="0"/>
          </a:p>
        </p:txBody>
      </p:sp>
      <p:sp>
        <p:nvSpPr>
          <p:cNvPr id="5" name="Marcador de Posição do Texto 4">
            <a:extLst>
              <a:ext uri="{FF2B5EF4-FFF2-40B4-BE49-F238E27FC236}">
                <a16:creationId xmlns:a16="http://schemas.microsoft.com/office/drawing/2014/main" id="{42491297-5979-59E4-ABDA-ECA0071613AF}"/>
              </a:ext>
            </a:extLst>
          </p:cNvPr>
          <p:cNvSpPr>
            <a:spLocks noGrp="1"/>
          </p:cNvSpPr>
          <p:nvPr>
            <p:ph type="body" sz="quarter" idx="60"/>
          </p:nvPr>
        </p:nvSpPr>
        <p:spPr/>
        <p:txBody>
          <a:bodyPr/>
          <a:lstStyle/>
          <a:p>
            <a:r>
              <a:rPr lang="pt-PT" dirty="0"/>
              <a:t>Data </a:t>
            </a:r>
            <a:r>
              <a:rPr lang="pt-PT" dirty="0" err="1"/>
              <a:t>Governance</a:t>
            </a:r>
            <a:r>
              <a:rPr lang="pt-PT" dirty="0"/>
              <a:t> </a:t>
            </a:r>
            <a:r>
              <a:rPr lang="pt-PT" dirty="0" err="1"/>
              <a:t>KPI’s</a:t>
            </a:r>
            <a:endParaRPr lang="pt-PT" dirty="0"/>
          </a:p>
        </p:txBody>
      </p:sp>
      <p:sp>
        <p:nvSpPr>
          <p:cNvPr id="6" name="Marcador de Posição do Texto 5">
            <a:extLst>
              <a:ext uri="{FF2B5EF4-FFF2-40B4-BE49-F238E27FC236}">
                <a16:creationId xmlns:a16="http://schemas.microsoft.com/office/drawing/2014/main" id="{7FBEE531-8346-8AF2-5FCF-4ED1B2E3145C}"/>
              </a:ext>
            </a:extLst>
          </p:cNvPr>
          <p:cNvSpPr>
            <a:spLocks noGrp="1"/>
          </p:cNvSpPr>
          <p:nvPr>
            <p:ph type="body" sz="quarter" idx="61"/>
          </p:nvPr>
        </p:nvSpPr>
        <p:spPr/>
        <p:txBody>
          <a:bodyPr/>
          <a:lstStyle/>
          <a:p>
            <a:r>
              <a:rPr lang="pt-PT" dirty="0"/>
              <a:t>Data </a:t>
            </a:r>
            <a:r>
              <a:rPr lang="pt-PT" dirty="0" err="1"/>
              <a:t>Literacy</a:t>
            </a:r>
            <a:endParaRPr lang="pt-PT" dirty="0"/>
          </a:p>
        </p:txBody>
      </p:sp>
      <p:sp>
        <p:nvSpPr>
          <p:cNvPr id="7" name="Marcador de Posição do Texto 6">
            <a:extLst>
              <a:ext uri="{FF2B5EF4-FFF2-40B4-BE49-F238E27FC236}">
                <a16:creationId xmlns:a16="http://schemas.microsoft.com/office/drawing/2014/main" id="{D068BAFF-80A7-11BA-A1E0-3C227951DC7E}"/>
              </a:ext>
            </a:extLst>
          </p:cNvPr>
          <p:cNvSpPr>
            <a:spLocks noGrp="1"/>
          </p:cNvSpPr>
          <p:nvPr>
            <p:ph type="body" sz="quarter" idx="62"/>
          </p:nvPr>
        </p:nvSpPr>
        <p:spPr/>
        <p:txBody>
          <a:bodyPr/>
          <a:lstStyle/>
          <a:p>
            <a:r>
              <a:rPr lang="pt-PT" dirty="0"/>
              <a:t>Data </a:t>
            </a:r>
            <a:r>
              <a:rPr lang="pt-PT" dirty="0" err="1"/>
              <a:t>Strategy</a:t>
            </a:r>
            <a:endParaRPr lang="pt-PT" dirty="0"/>
          </a:p>
        </p:txBody>
      </p:sp>
      <p:sp>
        <p:nvSpPr>
          <p:cNvPr id="8" name="Marcador de Posição do Texto 7">
            <a:extLst>
              <a:ext uri="{FF2B5EF4-FFF2-40B4-BE49-F238E27FC236}">
                <a16:creationId xmlns:a16="http://schemas.microsoft.com/office/drawing/2014/main" id="{D5E1A99F-7EEE-2016-F4BD-9FBDE1B80C98}"/>
              </a:ext>
            </a:extLst>
          </p:cNvPr>
          <p:cNvSpPr>
            <a:spLocks noGrp="1"/>
          </p:cNvSpPr>
          <p:nvPr>
            <p:ph type="body" sz="quarter" idx="63"/>
          </p:nvPr>
        </p:nvSpPr>
        <p:spPr/>
        <p:txBody>
          <a:bodyPr/>
          <a:lstStyle/>
          <a:p>
            <a:r>
              <a:rPr lang="pt-PT" dirty="0"/>
              <a:t>Data </a:t>
            </a:r>
            <a:r>
              <a:rPr lang="pt-PT" dirty="0" err="1"/>
              <a:t>Policy</a:t>
            </a:r>
            <a:endParaRPr lang="pt-PT" dirty="0"/>
          </a:p>
        </p:txBody>
      </p:sp>
      <p:sp>
        <p:nvSpPr>
          <p:cNvPr id="9" name="Marcador de Posição do Texto 8">
            <a:extLst>
              <a:ext uri="{FF2B5EF4-FFF2-40B4-BE49-F238E27FC236}">
                <a16:creationId xmlns:a16="http://schemas.microsoft.com/office/drawing/2014/main" id="{8004B8B1-62A2-522C-63DA-C6135126621D}"/>
              </a:ext>
            </a:extLst>
          </p:cNvPr>
          <p:cNvSpPr>
            <a:spLocks noGrp="1"/>
          </p:cNvSpPr>
          <p:nvPr>
            <p:ph type="body" sz="quarter" idx="64"/>
          </p:nvPr>
        </p:nvSpPr>
        <p:spPr/>
        <p:txBody>
          <a:bodyPr/>
          <a:lstStyle/>
          <a:p>
            <a:r>
              <a:rPr lang="pt-PT" dirty="0"/>
              <a:t>Data </a:t>
            </a:r>
            <a:r>
              <a:rPr lang="pt-PT" dirty="0" err="1"/>
              <a:t>Security</a:t>
            </a:r>
            <a:endParaRPr lang="pt-PT" dirty="0"/>
          </a:p>
        </p:txBody>
      </p:sp>
      <p:sp>
        <p:nvSpPr>
          <p:cNvPr id="10" name="Marcador de Posição do Texto 9">
            <a:extLst>
              <a:ext uri="{FF2B5EF4-FFF2-40B4-BE49-F238E27FC236}">
                <a16:creationId xmlns:a16="http://schemas.microsoft.com/office/drawing/2014/main" id="{E7746EE8-179B-51EC-FB13-47A4224B6C5A}"/>
              </a:ext>
            </a:extLst>
          </p:cNvPr>
          <p:cNvSpPr>
            <a:spLocks noGrp="1"/>
          </p:cNvSpPr>
          <p:nvPr>
            <p:ph type="body" sz="quarter" idx="65"/>
          </p:nvPr>
        </p:nvSpPr>
        <p:spPr/>
        <p:txBody>
          <a:bodyPr/>
          <a:lstStyle/>
          <a:p>
            <a:r>
              <a:rPr lang="pt-PT" dirty="0"/>
              <a:t>Data </a:t>
            </a:r>
            <a:r>
              <a:rPr lang="pt-PT" dirty="0" err="1"/>
              <a:t>Process</a:t>
            </a:r>
            <a:endParaRPr lang="pt-PT" dirty="0"/>
          </a:p>
        </p:txBody>
      </p:sp>
      <p:sp>
        <p:nvSpPr>
          <p:cNvPr id="11" name="Marcador de Posição do Texto 10">
            <a:extLst>
              <a:ext uri="{FF2B5EF4-FFF2-40B4-BE49-F238E27FC236}">
                <a16:creationId xmlns:a16="http://schemas.microsoft.com/office/drawing/2014/main" id="{2A43D2E9-C716-7F28-10F4-016E3FB316A5}"/>
              </a:ext>
            </a:extLst>
          </p:cNvPr>
          <p:cNvSpPr>
            <a:spLocks noGrp="1"/>
          </p:cNvSpPr>
          <p:nvPr>
            <p:ph type="body" sz="quarter" idx="66"/>
          </p:nvPr>
        </p:nvSpPr>
        <p:spPr/>
        <p:txBody>
          <a:bodyPr/>
          <a:lstStyle/>
          <a:p>
            <a:r>
              <a:rPr lang="pt-PT" dirty="0"/>
              <a:t>Data Standards</a:t>
            </a:r>
          </a:p>
        </p:txBody>
      </p:sp>
      <p:sp>
        <p:nvSpPr>
          <p:cNvPr id="12" name="Marcador de Posição do Texto 11">
            <a:extLst>
              <a:ext uri="{FF2B5EF4-FFF2-40B4-BE49-F238E27FC236}">
                <a16:creationId xmlns:a16="http://schemas.microsoft.com/office/drawing/2014/main" id="{980946D1-C3B6-D326-05CC-84842D069029}"/>
              </a:ext>
            </a:extLst>
          </p:cNvPr>
          <p:cNvSpPr>
            <a:spLocks noGrp="1"/>
          </p:cNvSpPr>
          <p:nvPr>
            <p:ph type="body" sz="quarter" idx="67"/>
          </p:nvPr>
        </p:nvSpPr>
        <p:spPr/>
        <p:txBody>
          <a:bodyPr/>
          <a:lstStyle/>
          <a:p>
            <a:r>
              <a:rPr lang="pt-PT" dirty="0"/>
              <a:t>Data </a:t>
            </a:r>
            <a:r>
              <a:rPr lang="pt-PT" dirty="0" err="1"/>
              <a:t>Quality</a:t>
            </a:r>
            <a:endParaRPr lang="pt-PT" dirty="0"/>
          </a:p>
        </p:txBody>
      </p:sp>
      <p:sp>
        <p:nvSpPr>
          <p:cNvPr id="13" name="Marcador de Posição do Texto 12">
            <a:extLst>
              <a:ext uri="{FF2B5EF4-FFF2-40B4-BE49-F238E27FC236}">
                <a16:creationId xmlns:a16="http://schemas.microsoft.com/office/drawing/2014/main" id="{DAFD93CD-1713-D07D-60BA-8F2B64A2489A}"/>
              </a:ext>
            </a:extLst>
          </p:cNvPr>
          <p:cNvSpPr>
            <a:spLocks noGrp="1"/>
          </p:cNvSpPr>
          <p:nvPr>
            <p:ph type="body" sz="quarter" idx="68"/>
          </p:nvPr>
        </p:nvSpPr>
        <p:spPr/>
        <p:txBody>
          <a:bodyPr/>
          <a:lstStyle/>
          <a:p>
            <a:r>
              <a:rPr lang="pt-PT" dirty="0"/>
              <a:t>IT Data </a:t>
            </a:r>
            <a:r>
              <a:rPr lang="pt-PT" dirty="0" err="1"/>
              <a:t>Owners</a:t>
            </a:r>
            <a:endParaRPr lang="pt-PT" dirty="0"/>
          </a:p>
        </p:txBody>
      </p:sp>
      <p:sp>
        <p:nvSpPr>
          <p:cNvPr id="14" name="Marcador de Posição do Texto 13">
            <a:extLst>
              <a:ext uri="{FF2B5EF4-FFF2-40B4-BE49-F238E27FC236}">
                <a16:creationId xmlns:a16="http://schemas.microsoft.com/office/drawing/2014/main" id="{642CC7BF-FDC5-0D8C-06C5-515364AB8CDF}"/>
              </a:ext>
            </a:extLst>
          </p:cNvPr>
          <p:cNvSpPr>
            <a:spLocks noGrp="1"/>
          </p:cNvSpPr>
          <p:nvPr>
            <p:ph type="body" sz="quarter" idx="69"/>
          </p:nvPr>
        </p:nvSpPr>
        <p:spPr/>
        <p:txBody>
          <a:bodyPr/>
          <a:lstStyle/>
          <a:p>
            <a:r>
              <a:rPr lang="pt-PT" dirty="0"/>
              <a:t>Business </a:t>
            </a:r>
            <a:r>
              <a:rPr lang="pt-PT" dirty="0" err="1"/>
              <a:t>User</a:t>
            </a:r>
            <a:br>
              <a:rPr lang="pt-PT" dirty="0"/>
            </a:br>
            <a:r>
              <a:rPr lang="pt-PT" dirty="0"/>
              <a:t>Data </a:t>
            </a:r>
            <a:r>
              <a:rPr lang="pt-PT" dirty="0" err="1"/>
              <a:t>Owners</a:t>
            </a:r>
            <a:endParaRPr lang="pt-PT" dirty="0"/>
          </a:p>
        </p:txBody>
      </p:sp>
      <p:sp>
        <p:nvSpPr>
          <p:cNvPr id="15" name="Marcador de Posição do Texto 14">
            <a:extLst>
              <a:ext uri="{FF2B5EF4-FFF2-40B4-BE49-F238E27FC236}">
                <a16:creationId xmlns:a16="http://schemas.microsoft.com/office/drawing/2014/main" id="{87653D53-ADDA-12D7-20BE-50FBF8E31E1C}"/>
              </a:ext>
            </a:extLst>
          </p:cNvPr>
          <p:cNvSpPr>
            <a:spLocks noGrp="1"/>
          </p:cNvSpPr>
          <p:nvPr>
            <p:ph type="body" sz="quarter" idx="70"/>
          </p:nvPr>
        </p:nvSpPr>
        <p:spPr/>
        <p:txBody>
          <a:bodyPr/>
          <a:lstStyle/>
          <a:p>
            <a:r>
              <a:rPr lang="pt-PT" dirty="0"/>
              <a:t>Data </a:t>
            </a:r>
            <a:r>
              <a:rPr lang="pt-PT" dirty="0" err="1"/>
              <a:t>Architecture</a:t>
            </a:r>
            <a:r>
              <a:rPr lang="pt-PT" dirty="0"/>
              <a:t> Lead</a:t>
            </a:r>
          </a:p>
        </p:txBody>
      </p:sp>
      <p:sp>
        <p:nvSpPr>
          <p:cNvPr id="16" name="Marcador de Posição do Texto 15">
            <a:extLst>
              <a:ext uri="{FF2B5EF4-FFF2-40B4-BE49-F238E27FC236}">
                <a16:creationId xmlns:a16="http://schemas.microsoft.com/office/drawing/2014/main" id="{AA121F6A-594C-3F43-83B1-34E44558C960}"/>
              </a:ext>
            </a:extLst>
          </p:cNvPr>
          <p:cNvSpPr>
            <a:spLocks noGrp="1"/>
          </p:cNvSpPr>
          <p:nvPr>
            <p:ph type="body" sz="quarter" idx="71"/>
          </p:nvPr>
        </p:nvSpPr>
        <p:spPr/>
        <p:txBody>
          <a:bodyPr/>
          <a:lstStyle/>
          <a:p>
            <a:r>
              <a:rPr lang="pt-PT" dirty="0" err="1"/>
              <a:t>Technology</a:t>
            </a:r>
            <a:endParaRPr lang="pt-PT" dirty="0"/>
          </a:p>
        </p:txBody>
      </p:sp>
      <p:sp>
        <p:nvSpPr>
          <p:cNvPr id="17" name="Marcador de Posição do Texto 16">
            <a:extLst>
              <a:ext uri="{FF2B5EF4-FFF2-40B4-BE49-F238E27FC236}">
                <a16:creationId xmlns:a16="http://schemas.microsoft.com/office/drawing/2014/main" id="{68D624E1-31BD-766C-EF43-A1CAFCF33F48}"/>
              </a:ext>
            </a:extLst>
          </p:cNvPr>
          <p:cNvSpPr>
            <a:spLocks noGrp="1"/>
          </p:cNvSpPr>
          <p:nvPr>
            <p:ph type="body" sz="quarter" idx="72"/>
          </p:nvPr>
        </p:nvSpPr>
        <p:spPr/>
        <p:txBody>
          <a:bodyPr/>
          <a:lstStyle/>
          <a:p>
            <a:r>
              <a:rPr lang="pt-PT" dirty="0"/>
              <a:t>Data </a:t>
            </a:r>
            <a:r>
              <a:rPr lang="pt-PT" dirty="0" err="1"/>
              <a:t>Steward</a:t>
            </a:r>
            <a:endParaRPr lang="pt-PT" dirty="0"/>
          </a:p>
        </p:txBody>
      </p:sp>
      <p:sp>
        <p:nvSpPr>
          <p:cNvPr id="18" name="Marcador de Posição do Texto 17">
            <a:extLst>
              <a:ext uri="{FF2B5EF4-FFF2-40B4-BE49-F238E27FC236}">
                <a16:creationId xmlns:a16="http://schemas.microsoft.com/office/drawing/2014/main" id="{E0B7F267-170B-19B2-45A3-187F480E3E62}"/>
              </a:ext>
            </a:extLst>
          </p:cNvPr>
          <p:cNvSpPr>
            <a:spLocks noGrp="1"/>
          </p:cNvSpPr>
          <p:nvPr>
            <p:ph type="body" sz="quarter" idx="73"/>
          </p:nvPr>
        </p:nvSpPr>
        <p:spPr/>
        <p:txBody>
          <a:bodyPr/>
          <a:lstStyle/>
          <a:p>
            <a:r>
              <a:rPr lang="pt-PT" dirty="0"/>
              <a:t>Data </a:t>
            </a:r>
            <a:br>
              <a:rPr lang="pt-PT" dirty="0"/>
            </a:br>
            <a:r>
              <a:rPr lang="pt-PT" dirty="0" err="1"/>
              <a:t>Consumers</a:t>
            </a:r>
            <a:endParaRPr lang="pt-PT" dirty="0"/>
          </a:p>
        </p:txBody>
      </p:sp>
      <p:sp>
        <p:nvSpPr>
          <p:cNvPr id="19" name="Marcador de Posição do Texto 18">
            <a:extLst>
              <a:ext uri="{FF2B5EF4-FFF2-40B4-BE49-F238E27FC236}">
                <a16:creationId xmlns:a16="http://schemas.microsoft.com/office/drawing/2014/main" id="{382219DE-CDB3-24E5-567C-2DEA465BB212}"/>
              </a:ext>
            </a:extLst>
          </p:cNvPr>
          <p:cNvSpPr>
            <a:spLocks noGrp="1"/>
          </p:cNvSpPr>
          <p:nvPr>
            <p:ph type="body" sz="quarter" idx="74"/>
          </p:nvPr>
        </p:nvSpPr>
        <p:spPr>
          <a:xfrm>
            <a:off x="6775955" y="1994472"/>
            <a:ext cx="2144526" cy="168468"/>
          </a:xfrm>
        </p:spPr>
        <p:txBody>
          <a:bodyPr/>
          <a:lstStyle/>
          <a:p>
            <a:r>
              <a:rPr lang="pt-PT" dirty="0" err="1"/>
              <a:t>Master</a:t>
            </a:r>
            <a:r>
              <a:rPr lang="pt-PT" dirty="0"/>
              <a:t> Data Management Lead</a:t>
            </a:r>
          </a:p>
        </p:txBody>
      </p:sp>
      <p:sp>
        <p:nvSpPr>
          <p:cNvPr id="20" name="Marcador de Posição do Texto 19">
            <a:extLst>
              <a:ext uri="{FF2B5EF4-FFF2-40B4-BE49-F238E27FC236}">
                <a16:creationId xmlns:a16="http://schemas.microsoft.com/office/drawing/2014/main" id="{B0710229-2079-AA33-750A-48C27E41B037}"/>
              </a:ext>
            </a:extLst>
          </p:cNvPr>
          <p:cNvSpPr>
            <a:spLocks noGrp="1"/>
          </p:cNvSpPr>
          <p:nvPr>
            <p:ph type="body" sz="quarter" idx="75"/>
          </p:nvPr>
        </p:nvSpPr>
        <p:spPr/>
        <p:txBody>
          <a:bodyPr/>
          <a:lstStyle/>
          <a:p>
            <a:r>
              <a:rPr lang="pt-PT" dirty="0"/>
              <a:t>Data Access Lead</a:t>
            </a:r>
          </a:p>
        </p:txBody>
      </p:sp>
      <p:grpSp>
        <p:nvGrpSpPr>
          <p:cNvPr id="22" name="Agrupar 21">
            <a:extLst>
              <a:ext uri="{FF2B5EF4-FFF2-40B4-BE49-F238E27FC236}">
                <a16:creationId xmlns:a16="http://schemas.microsoft.com/office/drawing/2014/main" id="{1814F4C4-6F31-6D46-1BCF-E3FCD1C5D3DF}"/>
              </a:ext>
            </a:extLst>
          </p:cNvPr>
          <p:cNvGrpSpPr/>
          <p:nvPr/>
        </p:nvGrpSpPr>
        <p:grpSpPr>
          <a:xfrm>
            <a:off x="4181135" y="1530631"/>
            <a:ext cx="325297" cy="355243"/>
            <a:chOff x="6000092" y="1357908"/>
            <a:chExt cx="365300" cy="398929"/>
          </a:xfrm>
        </p:grpSpPr>
        <p:sp>
          <p:nvSpPr>
            <p:cNvPr id="23" name="Forma livre: Forma 22">
              <a:extLst>
                <a:ext uri="{FF2B5EF4-FFF2-40B4-BE49-F238E27FC236}">
                  <a16:creationId xmlns:a16="http://schemas.microsoft.com/office/drawing/2014/main" id="{E827E1BA-DE87-E799-E9A3-5142E6235F87}"/>
                </a:ext>
              </a:extLst>
            </p:cNvPr>
            <p:cNvSpPr/>
            <p:nvPr/>
          </p:nvSpPr>
          <p:spPr>
            <a:xfrm>
              <a:off x="6000092" y="1418606"/>
              <a:ext cx="84058" cy="286120"/>
            </a:xfrm>
            <a:custGeom>
              <a:avLst/>
              <a:gdLst>
                <a:gd name="connsiteX0" fmla="*/ 51595 w 84058"/>
                <a:gd name="connsiteY0" fmla="*/ 0 h 286120"/>
                <a:gd name="connsiteX1" fmla="*/ 35266 w 84058"/>
                <a:gd name="connsiteY1" fmla="*/ 61674 h 286120"/>
                <a:gd name="connsiteX2" fmla="*/ 28760 w 84058"/>
                <a:gd name="connsiteY2" fmla="*/ 193415 h 286120"/>
                <a:gd name="connsiteX3" fmla="*/ 84059 w 84058"/>
                <a:gd name="connsiteY3" fmla="*/ 286121 h 2861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4058" h="286120">
                  <a:moveTo>
                    <a:pt x="51595" y="0"/>
                  </a:moveTo>
                  <a:cubicBezTo>
                    <a:pt x="37868" y="7872"/>
                    <a:pt x="26028" y="24852"/>
                    <a:pt x="35266" y="61674"/>
                  </a:cubicBezTo>
                  <a:cubicBezTo>
                    <a:pt x="35266" y="61674"/>
                    <a:pt x="-39549" y="126731"/>
                    <a:pt x="28760" y="193415"/>
                  </a:cubicBezTo>
                  <a:cubicBezTo>
                    <a:pt x="28760" y="193415"/>
                    <a:pt x="9243" y="281242"/>
                    <a:pt x="84059" y="286121"/>
                  </a:cubicBezTo>
                </a:path>
              </a:pathLst>
            </a:custGeom>
            <a:noFill/>
            <a:ln w="19050" cap="sq">
              <a:solidFill>
                <a:srgbClr val="184BFF"/>
              </a:solidFill>
              <a:prstDash val="solid"/>
              <a:miter lim="800000"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24" name="Gráfico 32">
              <a:extLst>
                <a:ext uri="{FF2B5EF4-FFF2-40B4-BE49-F238E27FC236}">
                  <a16:creationId xmlns:a16="http://schemas.microsoft.com/office/drawing/2014/main" id="{0F94EFB1-C343-D69A-0856-6FA5CE2B6097}"/>
                </a:ext>
              </a:extLst>
            </p:cNvPr>
            <p:cNvGrpSpPr/>
            <p:nvPr/>
          </p:nvGrpSpPr>
          <p:grpSpPr>
            <a:xfrm>
              <a:off x="6061121" y="1359924"/>
              <a:ext cx="128487" cy="396366"/>
              <a:chOff x="6061121" y="1359924"/>
              <a:chExt cx="128487" cy="396366"/>
            </a:xfrm>
            <a:noFill/>
          </p:grpSpPr>
          <p:sp>
            <p:nvSpPr>
              <p:cNvPr id="39" name="Forma livre: Forma 38">
                <a:extLst>
                  <a:ext uri="{FF2B5EF4-FFF2-40B4-BE49-F238E27FC236}">
                    <a16:creationId xmlns:a16="http://schemas.microsoft.com/office/drawing/2014/main" id="{6DA9B5C1-8CF8-4F7C-6FA0-40A6586320F9}"/>
                  </a:ext>
                </a:extLst>
              </p:cNvPr>
              <p:cNvSpPr/>
              <p:nvPr/>
            </p:nvSpPr>
            <p:spPr>
              <a:xfrm>
                <a:off x="6083891" y="1359924"/>
                <a:ext cx="105717" cy="396366"/>
              </a:xfrm>
              <a:custGeom>
                <a:avLst/>
                <a:gdLst>
                  <a:gd name="connsiteX0" fmla="*/ 52891 w 105717"/>
                  <a:gd name="connsiteY0" fmla="*/ 105718 h 396366"/>
                  <a:gd name="connsiteX1" fmla="*/ 0 w 105717"/>
                  <a:gd name="connsiteY1" fmla="*/ 52891 h 396366"/>
                  <a:gd name="connsiteX2" fmla="*/ 52891 w 105717"/>
                  <a:gd name="connsiteY2" fmla="*/ 0 h 396366"/>
                  <a:gd name="connsiteX3" fmla="*/ 105718 w 105717"/>
                  <a:gd name="connsiteY3" fmla="*/ 52826 h 396366"/>
                  <a:gd name="connsiteX4" fmla="*/ 105718 w 105717"/>
                  <a:gd name="connsiteY4" fmla="*/ 346884 h 396366"/>
                  <a:gd name="connsiteX5" fmla="*/ 80606 w 105717"/>
                  <a:gd name="connsiteY5" fmla="*/ 388911 h 396366"/>
                  <a:gd name="connsiteX6" fmla="*/ 9238 w 105717"/>
                  <a:gd name="connsiteY6" fmla="*/ 371150 h 396366"/>
                  <a:gd name="connsiteX7" fmla="*/ 15484 w 105717"/>
                  <a:gd name="connsiteY7" fmla="*/ 309216 h 396366"/>
                  <a:gd name="connsiteX8" fmla="*/ 45019 w 105717"/>
                  <a:gd name="connsiteY8" fmla="*/ 277078 h 3963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05717" h="396366">
                    <a:moveTo>
                      <a:pt x="52891" y="105718"/>
                    </a:moveTo>
                    <a:cubicBezTo>
                      <a:pt x="23681" y="105718"/>
                      <a:pt x="0" y="82037"/>
                      <a:pt x="0" y="52891"/>
                    </a:cubicBezTo>
                    <a:cubicBezTo>
                      <a:pt x="0" y="23746"/>
                      <a:pt x="23681" y="0"/>
                      <a:pt x="52891" y="0"/>
                    </a:cubicBezTo>
                    <a:cubicBezTo>
                      <a:pt x="82102" y="0"/>
                      <a:pt x="105718" y="23681"/>
                      <a:pt x="105718" y="52826"/>
                    </a:cubicBezTo>
                    <a:lnTo>
                      <a:pt x="105718" y="346884"/>
                    </a:lnTo>
                    <a:cubicBezTo>
                      <a:pt x="105718" y="364580"/>
                      <a:pt x="96414" y="379413"/>
                      <a:pt x="80606" y="388911"/>
                    </a:cubicBezTo>
                    <a:cubicBezTo>
                      <a:pt x="55949" y="403744"/>
                      <a:pt x="24006" y="395742"/>
                      <a:pt x="9238" y="371150"/>
                    </a:cubicBezTo>
                    <a:cubicBezTo>
                      <a:pt x="-2928" y="350918"/>
                      <a:pt x="260" y="325741"/>
                      <a:pt x="15484" y="309216"/>
                    </a:cubicBezTo>
                    <a:lnTo>
                      <a:pt x="45019" y="277078"/>
                    </a:lnTo>
                  </a:path>
                </a:pathLst>
              </a:custGeom>
              <a:noFill/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0" name="Forma livre: Forma 39">
                <a:extLst>
                  <a:ext uri="{FF2B5EF4-FFF2-40B4-BE49-F238E27FC236}">
                    <a16:creationId xmlns:a16="http://schemas.microsoft.com/office/drawing/2014/main" id="{FDF20941-BB3A-D149-D275-0EDCAEFE0B46}"/>
                  </a:ext>
                </a:extLst>
              </p:cNvPr>
              <p:cNvSpPr/>
              <p:nvPr/>
            </p:nvSpPr>
            <p:spPr>
              <a:xfrm>
                <a:off x="6144784" y="1383865"/>
                <a:ext cx="41563" cy="38963"/>
              </a:xfrm>
              <a:custGeom>
                <a:avLst/>
                <a:gdLst>
                  <a:gd name="connsiteX0" fmla="*/ 36172 w 41563"/>
                  <a:gd name="connsiteY0" fmla="*/ 0 h 38963"/>
                  <a:gd name="connsiteX1" fmla="*/ 39425 w 41563"/>
                  <a:gd name="connsiteY1" fmla="*/ 24266 h 38963"/>
                  <a:gd name="connsiteX2" fmla="*/ 36432 w 41563"/>
                  <a:gd name="connsiteY2" fmla="*/ 29080 h 38963"/>
                  <a:gd name="connsiteX3" fmla="*/ 0 w 41563"/>
                  <a:gd name="connsiteY3" fmla="*/ 33439 h 389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563" h="38963">
                    <a:moveTo>
                      <a:pt x="36172" y="0"/>
                    </a:moveTo>
                    <a:cubicBezTo>
                      <a:pt x="41571" y="7547"/>
                      <a:pt x="43393" y="16004"/>
                      <a:pt x="39425" y="24266"/>
                    </a:cubicBezTo>
                    <a:cubicBezTo>
                      <a:pt x="38644" y="25893"/>
                      <a:pt x="37603" y="27519"/>
                      <a:pt x="36432" y="29080"/>
                    </a:cubicBezTo>
                    <a:cubicBezTo>
                      <a:pt x="27584" y="40270"/>
                      <a:pt x="11190" y="42287"/>
                      <a:pt x="0" y="33439"/>
                    </a:cubicBezTo>
                  </a:path>
                </a:pathLst>
              </a:custGeom>
              <a:noFill/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1" name="Forma livre: Forma 40">
                <a:extLst>
                  <a:ext uri="{FF2B5EF4-FFF2-40B4-BE49-F238E27FC236}">
                    <a16:creationId xmlns:a16="http://schemas.microsoft.com/office/drawing/2014/main" id="{D8D4FC10-CA14-85C5-5C42-08A4876384F4}"/>
                  </a:ext>
                </a:extLst>
              </p:cNvPr>
              <p:cNvSpPr/>
              <p:nvPr/>
            </p:nvSpPr>
            <p:spPr>
              <a:xfrm>
                <a:off x="6081487" y="1460806"/>
                <a:ext cx="34217" cy="54474"/>
              </a:xfrm>
              <a:custGeom>
                <a:avLst/>
                <a:gdLst>
                  <a:gd name="connsiteX0" fmla="*/ 21076 w 34217"/>
                  <a:gd name="connsiteY0" fmla="*/ 54475 h 54474"/>
                  <a:gd name="connsiteX1" fmla="*/ 778 w 34217"/>
                  <a:gd name="connsiteY1" fmla="*/ 21035 h 54474"/>
                  <a:gd name="connsiteX2" fmla="*/ 34217 w 34217"/>
                  <a:gd name="connsiteY2" fmla="*/ 803 h 544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4217" h="54474">
                    <a:moveTo>
                      <a:pt x="21076" y="54475"/>
                    </a:moveTo>
                    <a:cubicBezTo>
                      <a:pt x="6308" y="50832"/>
                      <a:pt x="-2800" y="35803"/>
                      <a:pt x="778" y="21035"/>
                    </a:cubicBezTo>
                    <a:cubicBezTo>
                      <a:pt x="4421" y="6267"/>
                      <a:pt x="19449" y="-2841"/>
                      <a:pt x="34217" y="803"/>
                    </a:cubicBezTo>
                  </a:path>
                </a:pathLst>
              </a:custGeom>
              <a:noFill/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2" name="Forma livre: Forma 41">
                <a:extLst>
                  <a:ext uri="{FF2B5EF4-FFF2-40B4-BE49-F238E27FC236}">
                    <a16:creationId xmlns:a16="http://schemas.microsoft.com/office/drawing/2014/main" id="{E894BAC0-36CD-56D0-C273-C0D06E5BEB98}"/>
                  </a:ext>
                </a:extLst>
              </p:cNvPr>
              <p:cNvSpPr/>
              <p:nvPr/>
            </p:nvSpPr>
            <p:spPr>
              <a:xfrm>
                <a:off x="6073547" y="1527543"/>
                <a:ext cx="114760" cy="72506"/>
              </a:xfrm>
              <a:custGeom>
                <a:avLst/>
                <a:gdLst>
                  <a:gd name="connsiteX0" fmla="*/ 114760 w 114760"/>
                  <a:gd name="connsiteY0" fmla="*/ 7254 h 72506"/>
                  <a:gd name="connsiteX1" fmla="*/ 73905 w 114760"/>
                  <a:gd name="connsiteY1" fmla="*/ 8881 h 72506"/>
                  <a:gd name="connsiteX2" fmla="*/ 0 w 114760"/>
                  <a:gd name="connsiteY2" fmla="*/ 72506 h 725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14760" h="72506">
                    <a:moveTo>
                      <a:pt x="114760" y="7254"/>
                    </a:moveTo>
                    <a:cubicBezTo>
                      <a:pt x="103375" y="-2830"/>
                      <a:pt x="83989" y="-2504"/>
                      <a:pt x="73905" y="8881"/>
                    </a:cubicBezTo>
                    <a:cubicBezTo>
                      <a:pt x="73905" y="8881"/>
                      <a:pt x="31488" y="72506"/>
                      <a:pt x="0" y="72506"/>
                    </a:cubicBezTo>
                  </a:path>
                </a:pathLst>
              </a:custGeom>
              <a:noFill/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3" name="Forma livre: Forma 42">
                <a:extLst>
                  <a:ext uri="{FF2B5EF4-FFF2-40B4-BE49-F238E27FC236}">
                    <a16:creationId xmlns:a16="http://schemas.microsoft.com/office/drawing/2014/main" id="{9DB34736-4080-858B-B38D-915FD6FFF2B4}"/>
                  </a:ext>
                </a:extLst>
              </p:cNvPr>
              <p:cNvSpPr/>
              <p:nvPr/>
            </p:nvSpPr>
            <p:spPr>
              <a:xfrm>
                <a:off x="6079857" y="1646956"/>
                <a:ext cx="29405" cy="9823"/>
              </a:xfrm>
              <a:custGeom>
                <a:avLst/>
                <a:gdLst>
                  <a:gd name="connsiteX0" fmla="*/ 0 w 29405"/>
                  <a:gd name="connsiteY0" fmla="*/ 0 h 9823"/>
                  <a:gd name="connsiteX1" fmla="*/ 29406 w 29405"/>
                  <a:gd name="connsiteY1" fmla="*/ 9824 h 98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9405" h="9823">
                    <a:moveTo>
                      <a:pt x="0" y="0"/>
                    </a:moveTo>
                    <a:lnTo>
                      <a:pt x="29406" y="9824"/>
                    </a:lnTo>
                  </a:path>
                </a:pathLst>
              </a:custGeom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4" name="Forma livre: Forma 43">
                <a:extLst>
                  <a:ext uri="{FF2B5EF4-FFF2-40B4-BE49-F238E27FC236}">
                    <a16:creationId xmlns:a16="http://schemas.microsoft.com/office/drawing/2014/main" id="{51FD1FFD-7D06-DB3F-05CB-FC152B8AAA62}"/>
                  </a:ext>
                </a:extLst>
              </p:cNvPr>
              <p:cNvSpPr/>
              <p:nvPr/>
            </p:nvSpPr>
            <p:spPr>
              <a:xfrm>
                <a:off x="6061121" y="1545272"/>
                <a:ext cx="47166" cy="34154"/>
              </a:xfrm>
              <a:custGeom>
                <a:avLst/>
                <a:gdLst>
                  <a:gd name="connsiteX0" fmla="*/ 0 w 47166"/>
                  <a:gd name="connsiteY0" fmla="*/ 0 h 34154"/>
                  <a:gd name="connsiteX1" fmla="*/ 47166 w 47166"/>
                  <a:gd name="connsiteY1" fmla="*/ 34155 h 341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166" h="34154">
                    <a:moveTo>
                      <a:pt x="0" y="0"/>
                    </a:moveTo>
                    <a:cubicBezTo>
                      <a:pt x="0" y="0"/>
                      <a:pt x="27649" y="13011"/>
                      <a:pt x="47166" y="34155"/>
                    </a:cubicBezTo>
                  </a:path>
                </a:pathLst>
              </a:custGeom>
              <a:noFill/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25" name="Gráfico 32">
              <a:extLst>
                <a:ext uri="{FF2B5EF4-FFF2-40B4-BE49-F238E27FC236}">
                  <a16:creationId xmlns:a16="http://schemas.microsoft.com/office/drawing/2014/main" id="{869B3D3D-E85F-0B55-6D65-1CBBB2FF6747}"/>
                </a:ext>
              </a:extLst>
            </p:cNvPr>
            <p:cNvGrpSpPr/>
            <p:nvPr/>
          </p:nvGrpSpPr>
          <p:grpSpPr>
            <a:xfrm>
              <a:off x="6191625" y="1599725"/>
              <a:ext cx="173767" cy="157112"/>
              <a:chOff x="6191625" y="1599725"/>
              <a:chExt cx="173767" cy="157112"/>
            </a:xfrm>
            <a:noFill/>
          </p:grpSpPr>
          <p:sp>
            <p:nvSpPr>
              <p:cNvPr id="35" name="Forma livre: Forma 34">
                <a:extLst>
                  <a:ext uri="{FF2B5EF4-FFF2-40B4-BE49-F238E27FC236}">
                    <a16:creationId xmlns:a16="http://schemas.microsoft.com/office/drawing/2014/main" id="{ED322F66-DF81-4D72-91E1-D3775A5EBE34}"/>
                  </a:ext>
                </a:extLst>
              </p:cNvPr>
              <p:cNvSpPr/>
              <p:nvPr/>
            </p:nvSpPr>
            <p:spPr>
              <a:xfrm>
                <a:off x="6310094" y="1621974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6" name="Forma livre: Forma 35">
                <a:extLst>
                  <a:ext uri="{FF2B5EF4-FFF2-40B4-BE49-F238E27FC236}">
                    <a16:creationId xmlns:a16="http://schemas.microsoft.com/office/drawing/2014/main" id="{A9B93BC0-173A-9A04-5341-EC5CA6D4C996}"/>
                  </a:ext>
                </a:extLst>
              </p:cNvPr>
              <p:cNvSpPr/>
              <p:nvPr/>
            </p:nvSpPr>
            <p:spPr>
              <a:xfrm>
                <a:off x="6191625" y="1599725"/>
                <a:ext cx="118078" cy="49898"/>
              </a:xfrm>
              <a:custGeom>
                <a:avLst/>
                <a:gdLst>
                  <a:gd name="connsiteX0" fmla="*/ 0 w 118078"/>
                  <a:gd name="connsiteY0" fmla="*/ 0 h 49898"/>
                  <a:gd name="connsiteX1" fmla="*/ 37343 w 118078"/>
                  <a:gd name="connsiteY1" fmla="*/ 0 h 49898"/>
                  <a:gd name="connsiteX2" fmla="*/ 87176 w 118078"/>
                  <a:gd name="connsiteY2" fmla="*/ 49899 h 49898"/>
                  <a:gd name="connsiteX3" fmla="*/ 118078 w 118078"/>
                  <a:gd name="connsiteY3" fmla="*/ 49899 h 49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8078" h="49898">
                    <a:moveTo>
                      <a:pt x="0" y="0"/>
                    </a:moveTo>
                    <a:lnTo>
                      <a:pt x="37343" y="0"/>
                    </a:lnTo>
                    <a:lnTo>
                      <a:pt x="87176" y="49899"/>
                    </a:lnTo>
                    <a:lnTo>
                      <a:pt x="118078" y="49899"/>
                    </a:lnTo>
                  </a:path>
                </a:pathLst>
              </a:custGeom>
              <a:noFill/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7" name="Forma livre: Forma 36">
                <a:extLst>
                  <a:ext uri="{FF2B5EF4-FFF2-40B4-BE49-F238E27FC236}">
                    <a16:creationId xmlns:a16="http://schemas.microsoft.com/office/drawing/2014/main" id="{ED14E466-A82D-B991-EF4C-8BD5DEB4C88B}"/>
                  </a:ext>
                </a:extLst>
              </p:cNvPr>
              <p:cNvSpPr/>
              <p:nvPr/>
            </p:nvSpPr>
            <p:spPr>
              <a:xfrm>
                <a:off x="6191625" y="1665367"/>
                <a:ext cx="81906" cy="44108"/>
              </a:xfrm>
              <a:custGeom>
                <a:avLst/>
                <a:gdLst>
                  <a:gd name="connsiteX0" fmla="*/ 0 w 81906"/>
                  <a:gd name="connsiteY0" fmla="*/ 0 h 44108"/>
                  <a:gd name="connsiteX1" fmla="*/ 37343 w 81906"/>
                  <a:gd name="connsiteY1" fmla="*/ 0 h 44108"/>
                  <a:gd name="connsiteX2" fmla="*/ 81907 w 81906"/>
                  <a:gd name="connsiteY2" fmla="*/ 44109 h 441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1906" h="44108">
                    <a:moveTo>
                      <a:pt x="0" y="0"/>
                    </a:moveTo>
                    <a:lnTo>
                      <a:pt x="37343" y="0"/>
                    </a:lnTo>
                    <a:lnTo>
                      <a:pt x="81907" y="44109"/>
                    </a:lnTo>
                  </a:path>
                </a:pathLst>
              </a:custGeom>
              <a:noFill/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8" name="Forma livre: Forma 37">
                <a:extLst>
                  <a:ext uri="{FF2B5EF4-FFF2-40B4-BE49-F238E27FC236}">
                    <a16:creationId xmlns:a16="http://schemas.microsoft.com/office/drawing/2014/main" id="{DCE5B70C-8231-EE18-4832-6C2CF905B630}"/>
                  </a:ext>
                </a:extLst>
              </p:cNvPr>
              <p:cNvSpPr/>
              <p:nvPr/>
            </p:nvSpPr>
            <p:spPr>
              <a:xfrm>
                <a:off x="6265075" y="1701539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26" name="Gráfico 32">
              <a:extLst>
                <a:ext uri="{FF2B5EF4-FFF2-40B4-BE49-F238E27FC236}">
                  <a16:creationId xmlns:a16="http://schemas.microsoft.com/office/drawing/2014/main" id="{2F1FF7AA-2229-3D7B-7C12-BE84EBD0B1C1}"/>
                </a:ext>
              </a:extLst>
            </p:cNvPr>
            <p:cNvGrpSpPr/>
            <p:nvPr/>
          </p:nvGrpSpPr>
          <p:grpSpPr>
            <a:xfrm>
              <a:off x="6191625" y="1357908"/>
              <a:ext cx="173767" cy="157112"/>
              <a:chOff x="6191625" y="1357908"/>
              <a:chExt cx="173767" cy="157112"/>
            </a:xfrm>
            <a:noFill/>
          </p:grpSpPr>
          <p:sp>
            <p:nvSpPr>
              <p:cNvPr id="31" name="Forma livre: Forma 30">
                <a:extLst>
                  <a:ext uri="{FF2B5EF4-FFF2-40B4-BE49-F238E27FC236}">
                    <a16:creationId xmlns:a16="http://schemas.microsoft.com/office/drawing/2014/main" id="{B6C1A3D8-FC29-4E0C-583C-E07781EED627}"/>
                  </a:ext>
                </a:extLst>
              </p:cNvPr>
              <p:cNvSpPr/>
              <p:nvPr/>
            </p:nvSpPr>
            <p:spPr>
              <a:xfrm>
                <a:off x="6310094" y="1437472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0 h 55298"/>
                  <a:gd name="connsiteX2" fmla="*/ 0 w 55298"/>
                  <a:gd name="connsiteY2" fmla="*/ 27649 h 55298"/>
                  <a:gd name="connsiteX3" fmla="*/ 27649 w 55298"/>
                  <a:gd name="connsiteY3" fmla="*/ 55298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12361"/>
                      <a:pt x="42938" y="0"/>
                      <a:pt x="27649" y="0"/>
                    </a:cubicBezTo>
                    <a:cubicBezTo>
                      <a:pt x="12361" y="0"/>
                      <a:pt x="0" y="12361"/>
                      <a:pt x="0" y="27649"/>
                    </a:cubicBezTo>
                    <a:cubicBezTo>
                      <a:pt x="0" y="42938"/>
                      <a:pt x="12361" y="55298"/>
                      <a:pt x="27649" y="55298"/>
                    </a:cubicBezTo>
                    <a:cubicBezTo>
                      <a:pt x="42938" y="55298"/>
                      <a:pt x="55298" y="42938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2" name="Forma livre: Forma 31">
                <a:extLst>
                  <a:ext uri="{FF2B5EF4-FFF2-40B4-BE49-F238E27FC236}">
                    <a16:creationId xmlns:a16="http://schemas.microsoft.com/office/drawing/2014/main" id="{57350A7E-19BB-CDC4-027F-C596790D3D19}"/>
                  </a:ext>
                </a:extLst>
              </p:cNvPr>
              <p:cNvSpPr/>
              <p:nvPr/>
            </p:nvSpPr>
            <p:spPr>
              <a:xfrm>
                <a:off x="6191625" y="1465122"/>
                <a:ext cx="118468" cy="49898"/>
              </a:xfrm>
              <a:custGeom>
                <a:avLst/>
                <a:gdLst>
                  <a:gd name="connsiteX0" fmla="*/ 0 w 118468"/>
                  <a:gd name="connsiteY0" fmla="*/ 49899 h 49898"/>
                  <a:gd name="connsiteX1" fmla="*/ 37343 w 118468"/>
                  <a:gd name="connsiteY1" fmla="*/ 49899 h 49898"/>
                  <a:gd name="connsiteX2" fmla="*/ 87176 w 118468"/>
                  <a:gd name="connsiteY2" fmla="*/ 0 h 49898"/>
                  <a:gd name="connsiteX3" fmla="*/ 118469 w 118468"/>
                  <a:gd name="connsiteY3" fmla="*/ 0 h 49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8468" h="49898">
                    <a:moveTo>
                      <a:pt x="0" y="49899"/>
                    </a:moveTo>
                    <a:lnTo>
                      <a:pt x="37343" y="49899"/>
                    </a:lnTo>
                    <a:lnTo>
                      <a:pt x="87176" y="0"/>
                    </a:lnTo>
                    <a:lnTo>
                      <a:pt x="118469" y="0"/>
                    </a:lnTo>
                  </a:path>
                </a:pathLst>
              </a:custGeom>
              <a:noFill/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3" name="Forma livre: Forma 32">
                <a:extLst>
                  <a:ext uri="{FF2B5EF4-FFF2-40B4-BE49-F238E27FC236}">
                    <a16:creationId xmlns:a16="http://schemas.microsoft.com/office/drawing/2014/main" id="{3AE84969-6CE3-9C28-3078-A97AAA1A4CFA}"/>
                  </a:ext>
                </a:extLst>
              </p:cNvPr>
              <p:cNvSpPr/>
              <p:nvPr/>
            </p:nvSpPr>
            <p:spPr>
              <a:xfrm>
                <a:off x="6191625" y="1405269"/>
                <a:ext cx="81451" cy="44043"/>
              </a:xfrm>
              <a:custGeom>
                <a:avLst/>
                <a:gdLst>
                  <a:gd name="connsiteX0" fmla="*/ 0 w 81451"/>
                  <a:gd name="connsiteY0" fmla="*/ 44044 h 44043"/>
                  <a:gd name="connsiteX1" fmla="*/ 37343 w 81451"/>
                  <a:gd name="connsiteY1" fmla="*/ 44044 h 44043"/>
                  <a:gd name="connsiteX2" fmla="*/ 81451 w 81451"/>
                  <a:gd name="connsiteY2" fmla="*/ 0 h 440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1451" h="44043">
                    <a:moveTo>
                      <a:pt x="0" y="44044"/>
                    </a:moveTo>
                    <a:lnTo>
                      <a:pt x="37343" y="44044"/>
                    </a:lnTo>
                    <a:lnTo>
                      <a:pt x="81451" y="0"/>
                    </a:lnTo>
                  </a:path>
                </a:pathLst>
              </a:custGeom>
              <a:noFill/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4" name="Forma livre: Forma 33">
                <a:extLst>
                  <a:ext uri="{FF2B5EF4-FFF2-40B4-BE49-F238E27FC236}">
                    <a16:creationId xmlns:a16="http://schemas.microsoft.com/office/drawing/2014/main" id="{7BA5C1FE-71B3-4250-6453-0E20BDA774A7}"/>
                  </a:ext>
                </a:extLst>
              </p:cNvPr>
              <p:cNvSpPr/>
              <p:nvPr/>
            </p:nvSpPr>
            <p:spPr>
              <a:xfrm>
                <a:off x="6265075" y="1357908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0 h 55298"/>
                  <a:gd name="connsiteX2" fmla="*/ 0 w 55298"/>
                  <a:gd name="connsiteY2" fmla="*/ 27649 h 55298"/>
                  <a:gd name="connsiteX3" fmla="*/ 27649 w 55298"/>
                  <a:gd name="connsiteY3" fmla="*/ 55298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12361"/>
                      <a:pt x="42938" y="0"/>
                      <a:pt x="27649" y="0"/>
                    </a:cubicBezTo>
                    <a:cubicBezTo>
                      <a:pt x="12361" y="0"/>
                      <a:pt x="0" y="12361"/>
                      <a:pt x="0" y="27649"/>
                    </a:cubicBezTo>
                    <a:cubicBezTo>
                      <a:pt x="0" y="42938"/>
                      <a:pt x="12361" y="55298"/>
                      <a:pt x="27649" y="55298"/>
                    </a:cubicBezTo>
                    <a:cubicBezTo>
                      <a:pt x="42938" y="55298"/>
                      <a:pt x="55298" y="42938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27" name="Gráfico 32">
              <a:extLst>
                <a:ext uri="{FF2B5EF4-FFF2-40B4-BE49-F238E27FC236}">
                  <a16:creationId xmlns:a16="http://schemas.microsoft.com/office/drawing/2014/main" id="{C39668AD-2118-CD63-6ABA-BBBAA787097A}"/>
                </a:ext>
              </a:extLst>
            </p:cNvPr>
            <p:cNvGrpSpPr/>
            <p:nvPr/>
          </p:nvGrpSpPr>
          <p:grpSpPr>
            <a:xfrm>
              <a:off x="6190910" y="1529723"/>
              <a:ext cx="123673" cy="55298"/>
              <a:chOff x="6190910" y="1529723"/>
              <a:chExt cx="123673" cy="55298"/>
            </a:xfrm>
            <a:noFill/>
          </p:grpSpPr>
          <p:sp>
            <p:nvSpPr>
              <p:cNvPr id="29" name="Forma livre: Forma 28">
                <a:extLst>
                  <a:ext uri="{FF2B5EF4-FFF2-40B4-BE49-F238E27FC236}">
                    <a16:creationId xmlns:a16="http://schemas.microsoft.com/office/drawing/2014/main" id="{7B155581-DBA8-3177-C27F-999E755F090E}"/>
                  </a:ext>
                </a:extLst>
              </p:cNvPr>
              <p:cNvSpPr/>
              <p:nvPr/>
            </p:nvSpPr>
            <p:spPr>
              <a:xfrm>
                <a:off x="6190910" y="1557372"/>
                <a:ext cx="68765" cy="6505"/>
              </a:xfrm>
              <a:custGeom>
                <a:avLst/>
                <a:gdLst>
                  <a:gd name="connsiteX0" fmla="*/ 0 w 68765"/>
                  <a:gd name="connsiteY0" fmla="*/ 0 h 6505"/>
                  <a:gd name="connsiteX1" fmla="*/ 68765 w 68765"/>
                  <a:gd name="connsiteY1" fmla="*/ 0 h 65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8765" h="6505">
                    <a:moveTo>
                      <a:pt x="0" y="0"/>
                    </a:moveTo>
                    <a:lnTo>
                      <a:pt x="68765" y="0"/>
                    </a:lnTo>
                  </a:path>
                </a:pathLst>
              </a:custGeom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0" name="Forma livre: Forma 29">
                <a:extLst>
                  <a:ext uri="{FF2B5EF4-FFF2-40B4-BE49-F238E27FC236}">
                    <a16:creationId xmlns:a16="http://schemas.microsoft.com/office/drawing/2014/main" id="{7E6FF889-B249-DE46-7D08-1BFA3D18D97F}"/>
                  </a:ext>
                </a:extLst>
              </p:cNvPr>
              <p:cNvSpPr/>
              <p:nvPr/>
            </p:nvSpPr>
            <p:spPr>
              <a:xfrm>
                <a:off x="6259285" y="1529723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28" name="Forma livre: Forma 27">
              <a:extLst>
                <a:ext uri="{FF2B5EF4-FFF2-40B4-BE49-F238E27FC236}">
                  <a16:creationId xmlns:a16="http://schemas.microsoft.com/office/drawing/2014/main" id="{15A41D2A-ADD6-46B6-CBFD-6A635D008DE1}"/>
                </a:ext>
              </a:extLst>
            </p:cNvPr>
            <p:cNvSpPr/>
            <p:nvPr/>
          </p:nvSpPr>
          <p:spPr>
            <a:xfrm>
              <a:off x="6152201" y="1686285"/>
              <a:ext cx="37362" cy="20848"/>
            </a:xfrm>
            <a:custGeom>
              <a:avLst/>
              <a:gdLst>
                <a:gd name="connsiteX0" fmla="*/ 0 w 37362"/>
                <a:gd name="connsiteY0" fmla="*/ 10505 h 20848"/>
                <a:gd name="connsiteX1" fmla="*/ 27064 w 37362"/>
                <a:gd name="connsiteY1" fmla="*/ 2373 h 20848"/>
                <a:gd name="connsiteX2" fmla="*/ 37343 w 37362"/>
                <a:gd name="connsiteY2" fmla="*/ 20849 h 20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7362" h="20848">
                  <a:moveTo>
                    <a:pt x="0" y="10505"/>
                  </a:moveTo>
                  <a:cubicBezTo>
                    <a:pt x="5205" y="811"/>
                    <a:pt x="17435" y="-2832"/>
                    <a:pt x="27064" y="2373"/>
                  </a:cubicBezTo>
                  <a:cubicBezTo>
                    <a:pt x="34025" y="6081"/>
                    <a:pt x="37668" y="13432"/>
                    <a:pt x="37343" y="20849"/>
                  </a:cubicBezTo>
                </a:path>
              </a:pathLst>
            </a:custGeom>
            <a:noFill/>
            <a:ln w="19050" cap="sq">
              <a:solidFill>
                <a:srgbClr val="184BFF"/>
              </a:solidFill>
              <a:prstDash val="solid"/>
              <a:miter lim="800000"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45" name="Agrupar 44">
            <a:extLst>
              <a:ext uri="{FF2B5EF4-FFF2-40B4-BE49-F238E27FC236}">
                <a16:creationId xmlns:a16="http://schemas.microsoft.com/office/drawing/2014/main" id="{EF487088-CF8E-6524-C22E-26D39170CEBF}"/>
              </a:ext>
            </a:extLst>
          </p:cNvPr>
          <p:cNvGrpSpPr/>
          <p:nvPr/>
        </p:nvGrpSpPr>
        <p:grpSpPr>
          <a:xfrm>
            <a:off x="7682127" y="1530631"/>
            <a:ext cx="325297" cy="355243"/>
            <a:chOff x="6000092" y="1357908"/>
            <a:chExt cx="365300" cy="398929"/>
          </a:xfrm>
        </p:grpSpPr>
        <p:sp>
          <p:nvSpPr>
            <p:cNvPr id="46" name="Forma livre: Forma 45">
              <a:extLst>
                <a:ext uri="{FF2B5EF4-FFF2-40B4-BE49-F238E27FC236}">
                  <a16:creationId xmlns:a16="http://schemas.microsoft.com/office/drawing/2014/main" id="{8A65CA4A-0B3C-AD6A-E4CD-0056FB351498}"/>
                </a:ext>
              </a:extLst>
            </p:cNvPr>
            <p:cNvSpPr/>
            <p:nvPr/>
          </p:nvSpPr>
          <p:spPr>
            <a:xfrm>
              <a:off x="6000092" y="1418606"/>
              <a:ext cx="84058" cy="286120"/>
            </a:xfrm>
            <a:custGeom>
              <a:avLst/>
              <a:gdLst>
                <a:gd name="connsiteX0" fmla="*/ 51595 w 84058"/>
                <a:gd name="connsiteY0" fmla="*/ 0 h 286120"/>
                <a:gd name="connsiteX1" fmla="*/ 35266 w 84058"/>
                <a:gd name="connsiteY1" fmla="*/ 61674 h 286120"/>
                <a:gd name="connsiteX2" fmla="*/ 28760 w 84058"/>
                <a:gd name="connsiteY2" fmla="*/ 193415 h 286120"/>
                <a:gd name="connsiteX3" fmla="*/ 84059 w 84058"/>
                <a:gd name="connsiteY3" fmla="*/ 286121 h 2861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4058" h="286120">
                  <a:moveTo>
                    <a:pt x="51595" y="0"/>
                  </a:moveTo>
                  <a:cubicBezTo>
                    <a:pt x="37868" y="7872"/>
                    <a:pt x="26028" y="24852"/>
                    <a:pt x="35266" y="61674"/>
                  </a:cubicBezTo>
                  <a:cubicBezTo>
                    <a:pt x="35266" y="61674"/>
                    <a:pt x="-39549" y="126731"/>
                    <a:pt x="28760" y="193415"/>
                  </a:cubicBezTo>
                  <a:cubicBezTo>
                    <a:pt x="28760" y="193415"/>
                    <a:pt x="9243" y="281242"/>
                    <a:pt x="84059" y="286121"/>
                  </a:cubicBezTo>
                </a:path>
              </a:pathLst>
            </a:custGeom>
            <a:noFill/>
            <a:ln w="19050" cap="sq">
              <a:solidFill>
                <a:srgbClr val="184BFF"/>
              </a:solidFill>
              <a:prstDash val="solid"/>
              <a:miter lim="800000"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47" name="Gráfico 32">
              <a:extLst>
                <a:ext uri="{FF2B5EF4-FFF2-40B4-BE49-F238E27FC236}">
                  <a16:creationId xmlns:a16="http://schemas.microsoft.com/office/drawing/2014/main" id="{CBF54F10-D503-D707-AA22-6202DD445025}"/>
                </a:ext>
              </a:extLst>
            </p:cNvPr>
            <p:cNvGrpSpPr/>
            <p:nvPr/>
          </p:nvGrpSpPr>
          <p:grpSpPr>
            <a:xfrm>
              <a:off x="6061121" y="1359924"/>
              <a:ext cx="128487" cy="396366"/>
              <a:chOff x="6061121" y="1359924"/>
              <a:chExt cx="128487" cy="396366"/>
            </a:xfrm>
            <a:noFill/>
          </p:grpSpPr>
          <p:sp>
            <p:nvSpPr>
              <p:cNvPr id="62" name="Forma livre: Forma 61">
                <a:extLst>
                  <a:ext uri="{FF2B5EF4-FFF2-40B4-BE49-F238E27FC236}">
                    <a16:creationId xmlns:a16="http://schemas.microsoft.com/office/drawing/2014/main" id="{1C7482AA-521E-AA95-0BD5-061090122C7E}"/>
                  </a:ext>
                </a:extLst>
              </p:cNvPr>
              <p:cNvSpPr/>
              <p:nvPr/>
            </p:nvSpPr>
            <p:spPr>
              <a:xfrm>
                <a:off x="6083891" y="1359924"/>
                <a:ext cx="105717" cy="396366"/>
              </a:xfrm>
              <a:custGeom>
                <a:avLst/>
                <a:gdLst>
                  <a:gd name="connsiteX0" fmla="*/ 52891 w 105717"/>
                  <a:gd name="connsiteY0" fmla="*/ 105718 h 396366"/>
                  <a:gd name="connsiteX1" fmla="*/ 0 w 105717"/>
                  <a:gd name="connsiteY1" fmla="*/ 52891 h 396366"/>
                  <a:gd name="connsiteX2" fmla="*/ 52891 w 105717"/>
                  <a:gd name="connsiteY2" fmla="*/ 0 h 396366"/>
                  <a:gd name="connsiteX3" fmla="*/ 105718 w 105717"/>
                  <a:gd name="connsiteY3" fmla="*/ 52826 h 396366"/>
                  <a:gd name="connsiteX4" fmla="*/ 105718 w 105717"/>
                  <a:gd name="connsiteY4" fmla="*/ 346884 h 396366"/>
                  <a:gd name="connsiteX5" fmla="*/ 80606 w 105717"/>
                  <a:gd name="connsiteY5" fmla="*/ 388911 h 396366"/>
                  <a:gd name="connsiteX6" fmla="*/ 9238 w 105717"/>
                  <a:gd name="connsiteY6" fmla="*/ 371150 h 396366"/>
                  <a:gd name="connsiteX7" fmla="*/ 15484 w 105717"/>
                  <a:gd name="connsiteY7" fmla="*/ 309216 h 396366"/>
                  <a:gd name="connsiteX8" fmla="*/ 45019 w 105717"/>
                  <a:gd name="connsiteY8" fmla="*/ 277078 h 3963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05717" h="396366">
                    <a:moveTo>
                      <a:pt x="52891" y="105718"/>
                    </a:moveTo>
                    <a:cubicBezTo>
                      <a:pt x="23681" y="105718"/>
                      <a:pt x="0" y="82037"/>
                      <a:pt x="0" y="52891"/>
                    </a:cubicBezTo>
                    <a:cubicBezTo>
                      <a:pt x="0" y="23746"/>
                      <a:pt x="23681" y="0"/>
                      <a:pt x="52891" y="0"/>
                    </a:cubicBezTo>
                    <a:cubicBezTo>
                      <a:pt x="82102" y="0"/>
                      <a:pt x="105718" y="23681"/>
                      <a:pt x="105718" y="52826"/>
                    </a:cubicBezTo>
                    <a:lnTo>
                      <a:pt x="105718" y="346884"/>
                    </a:lnTo>
                    <a:cubicBezTo>
                      <a:pt x="105718" y="364580"/>
                      <a:pt x="96414" y="379413"/>
                      <a:pt x="80606" y="388911"/>
                    </a:cubicBezTo>
                    <a:cubicBezTo>
                      <a:pt x="55949" y="403744"/>
                      <a:pt x="24006" y="395742"/>
                      <a:pt x="9238" y="371150"/>
                    </a:cubicBezTo>
                    <a:cubicBezTo>
                      <a:pt x="-2928" y="350918"/>
                      <a:pt x="260" y="325741"/>
                      <a:pt x="15484" y="309216"/>
                    </a:cubicBezTo>
                    <a:lnTo>
                      <a:pt x="45019" y="277078"/>
                    </a:lnTo>
                  </a:path>
                </a:pathLst>
              </a:custGeom>
              <a:noFill/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63" name="Forma livre: Forma 62">
                <a:extLst>
                  <a:ext uri="{FF2B5EF4-FFF2-40B4-BE49-F238E27FC236}">
                    <a16:creationId xmlns:a16="http://schemas.microsoft.com/office/drawing/2014/main" id="{A9046E8B-C2AC-FD9A-0C7B-DAC07E184DB2}"/>
                  </a:ext>
                </a:extLst>
              </p:cNvPr>
              <p:cNvSpPr/>
              <p:nvPr/>
            </p:nvSpPr>
            <p:spPr>
              <a:xfrm>
                <a:off x="6144784" y="1383865"/>
                <a:ext cx="41563" cy="38963"/>
              </a:xfrm>
              <a:custGeom>
                <a:avLst/>
                <a:gdLst>
                  <a:gd name="connsiteX0" fmla="*/ 36172 w 41563"/>
                  <a:gd name="connsiteY0" fmla="*/ 0 h 38963"/>
                  <a:gd name="connsiteX1" fmla="*/ 39425 w 41563"/>
                  <a:gd name="connsiteY1" fmla="*/ 24266 h 38963"/>
                  <a:gd name="connsiteX2" fmla="*/ 36432 w 41563"/>
                  <a:gd name="connsiteY2" fmla="*/ 29080 h 38963"/>
                  <a:gd name="connsiteX3" fmla="*/ 0 w 41563"/>
                  <a:gd name="connsiteY3" fmla="*/ 33439 h 389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563" h="38963">
                    <a:moveTo>
                      <a:pt x="36172" y="0"/>
                    </a:moveTo>
                    <a:cubicBezTo>
                      <a:pt x="41571" y="7547"/>
                      <a:pt x="43393" y="16004"/>
                      <a:pt x="39425" y="24266"/>
                    </a:cubicBezTo>
                    <a:cubicBezTo>
                      <a:pt x="38644" y="25893"/>
                      <a:pt x="37603" y="27519"/>
                      <a:pt x="36432" y="29080"/>
                    </a:cubicBezTo>
                    <a:cubicBezTo>
                      <a:pt x="27584" y="40270"/>
                      <a:pt x="11190" y="42287"/>
                      <a:pt x="0" y="33439"/>
                    </a:cubicBezTo>
                  </a:path>
                </a:pathLst>
              </a:custGeom>
              <a:noFill/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64" name="Forma livre: Forma 63">
                <a:extLst>
                  <a:ext uri="{FF2B5EF4-FFF2-40B4-BE49-F238E27FC236}">
                    <a16:creationId xmlns:a16="http://schemas.microsoft.com/office/drawing/2014/main" id="{B60FE880-3FCD-089D-9361-3E3379B32751}"/>
                  </a:ext>
                </a:extLst>
              </p:cNvPr>
              <p:cNvSpPr/>
              <p:nvPr/>
            </p:nvSpPr>
            <p:spPr>
              <a:xfrm>
                <a:off x="6081487" y="1460806"/>
                <a:ext cx="34217" cy="54474"/>
              </a:xfrm>
              <a:custGeom>
                <a:avLst/>
                <a:gdLst>
                  <a:gd name="connsiteX0" fmla="*/ 21076 w 34217"/>
                  <a:gd name="connsiteY0" fmla="*/ 54475 h 54474"/>
                  <a:gd name="connsiteX1" fmla="*/ 778 w 34217"/>
                  <a:gd name="connsiteY1" fmla="*/ 21035 h 54474"/>
                  <a:gd name="connsiteX2" fmla="*/ 34217 w 34217"/>
                  <a:gd name="connsiteY2" fmla="*/ 803 h 544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4217" h="54474">
                    <a:moveTo>
                      <a:pt x="21076" y="54475"/>
                    </a:moveTo>
                    <a:cubicBezTo>
                      <a:pt x="6308" y="50832"/>
                      <a:pt x="-2800" y="35803"/>
                      <a:pt x="778" y="21035"/>
                    </a:cubicBezTo>
                    <a:cubicBezTo>
                      <a:pt x="4421" y="6267"/>
                      <a:pt x="19449" y="-2841"/>
                      <a:pt x="34217" y="803"/>
                    </a:cubicBezTo>
                  </a:path>
                </a:pathLst>
              </a:custGeom>
              <a:noFill/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65" name="Forma livre: Forma 64">
                <a:extLst>
                  <a:ext uri="{FF2B5EF4-FFF2-40B4-BE49-F238E27FC236}">
                    <a16:creationId xmlns:a16="http://schemas.microsoft.com/office/drawing/2014/main" id="{48590B45-BE8A-780C-3085-295CBBB236EE}"/>
                  </a:ext>
                </a:extLst>
              </p:cNvPr>
              <p:cNvSpPr/>
              <p:nvPr/>
            </p:nvSpPr>
            <p:spPr>
              <a:xfrm>
                <a:off x="6073547" y="1527543"/>
                <a:ext cx="114760" cy="72506"/>
              </a:xfrm>
              <a:custGeom>
                <a:avLst/>
                <a:gdLst>
                  <a:gd name="connsiteX0" fmla="*/ 114760 w 114760"/>
                  <a:gd name="connsiteY0" fmla="*/ 7254 h 72506"/>
                  <a:gd name="connsiteX1" fmla="*/ 73905 w 114760"/>
                  <a:gd name="connsiteY1" fmla="*/ 8881 h 72506"/>
                  <a:gd name="connsiteX2" fmla="*/ 0 w 114760"/>
                  <a:gd name="connsiteY2" fmla="*/ 72506 h 725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14760" h="72506">
                    <a:moveTo>
                      <a:pt x="114760" y="7254"/>
                    </a:moveTo>
                    <a:cubicBezTo>
                      <a:pt x="103375" y="-2830"/>
                      <a:pt x="83989" y="-2504"/>
                      <a:pt x="73905" y="8881"/>
                    </a:cubicBezTo>
                    <a:cubicBezTo>
                      <a:pt x="73905" y="8881"/>
                      <a:pt x="31488" y="72506"/>
                      <a:pt x="0" y="72506"/>
                    </a:cubicBezTo>
                  </a:path>
                </a:pathLst>
              </a:custGeom>
              <a:noFill/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66" name="Forma livre: Forma 65">
                <a:extLst>
                  <a:ext uri="{FF2B5EF4-FFF2-40B4-BE49-F238E27FC236}">
                    <a16:creationId xmlns:a16="http://schemas.microsoft.com/office/drawing/2014/main" id="{1253562B-7807-6824-A4B0-37B219EA2760}"/>
                  </a:ext>
                </a:extLst>
              </p:cNvPr>
              <p:cNvSpPr/>
              <p:nvPr/>
            </p:nvSpPr>
            <p:spPr>
              <a:xfrm>
                <a:off x="6079857" y="1646956"/>
                <a:ext cx="29405" cy="9823"/>
              </a:xfrm>
              <a:custGeom>
                <a:avLst/>
                <a:gdLst>
                  <a:gd name="connsiteX0" fmla="*/ 0 w 29405"/>
                  <a:gd name="connsiteY0" fmla="*/ 0 h 9823"/>
                  <a:gd name="connsiteX1" fmla="*/ 29406 w 29405"/>
                  <a:gd name="connsiteY1" fmla="*/ 9824 h 98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9405" h="9823">
                    <a:moveTo>
                      <a:pt x="0" y="0"/>
                    </a:moveTo>
                    <a:lnTo>
                      <a:pt x="29406" y="9824"/>
                    </a:lnTo>
                  </a:path>
                </a:pathLst>
              </a:custGeom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67" name="Forma livre: Forma 66">
                <a:extLst>
                  <a:ext uri="{FF2B5EF4-FFF2-40B4-BE49-F238E27FC236}">
                    <a16:creationId xmlns:a16="http://schemas.microsoft.com/office/drawing/2014/main" id="{96D5202A-490D-10F5-1100-2DC755FD2A32}"/>
                  </a:ext>
                </a:extLst>
              </p:cNvPr>
              <p:cNvSpPr/>
              <p:nvPr/>
            </p:nvSpPr>
            <p:spPr>
              <a:xfrm>
                <a:off x="6061121" y="1545272"/>
                <a:ext cx="47166" cy="34154"/>
              </a:xfrm>
              <a:custGeom>
                <a:avLst/>
                <a:gdLst>
                  <a:gd name="connsiteX0" fmla="*/ 0 w 47166"/>
                  <a:gd name="connsiteY0" fmla="*/ 0 h 34154"/>
                  <a:gd name="connsiteX1" fmla="*/ 47166 w 47166"/>
                  <a:gd name="connsiteY1" fmla="*/ 34155 h 341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166" h="34154">
                    <a:moveTo>
                      <a:pt x="0" y="0"/>
                    </a:moveTo>
                    <a:cubicBezTo>
                      <a:pt x="0" y="0"/>
                      <a:pt x="27649" y="13011"/>
                      <a:pt x="47166" y="34155"/>
                    </a:cubicBezTo>
                  </a:path>
                </a:pathLst>
              </a:custGeom>
              <a:noFill/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48" name="Gráfico 32">
              <a:extLst>
                <a:ext uri="{FF2B5EF4-FFF2-40B4-BE49-F238E27FC236}">
                  <a16:creationId xmlns:a16="http://schemas.microsoft.com/office/drawing/2014/main" id="{264CAD98-F3F6-75D0-7D32-A77F6EE64F2E}"/>
                </a:ext>
              </a:extLst>
            </p:cNvPr>
            <p:cNvGrpSpPr/>
            <p:nvPr/>
          </p:nvGrpSpPr>
          <p:grpSpPr>
            <a:xfrm>
              <a:off x="6191625" y="1599725"/>
              <a:ext cx="173767" cy="157112"/>
              <a:chOff x="6191625" y="1599725"/>
              <a:chExt cx="173767" cy="157112"/>
            </a:xfrm>
            <a:noFill/>
          </p:grpSpPr>
          <p:sp>
            <p:nvSpPr>
              <p:cNvPr id="58" name="Forma livre: Forma 57">
                <a:extLst>
                  <a:ext uri="{FF2B5EF4-FFF2-40B4-BE49-F238E27FC236}">
                    <a16:creationId xmlns:a16="http://schemas.microsoft.com/office/drawing/2014/main" id="{8A8EA0FF-3BAE-E576-5B15-8019C7BFF55C}"/>
                  </a:ext>
                </a:extLst>
              </p:cNvPr>
              <p:cNvSpPr/>
              <p:nvPr/>
            </p:nvSpPr>
            <p:spPr>
              <a:xfrm>
                <a:off x="6310094" y="1621974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9" name="Forma livre: Forma 58">
                <a:extLst>
                  <a:ext uri="{FF2B5EF4-FFF2-40B4-BE49-F238E27FC236}">
                    <a16:creationId xmlns:a16="http://schemas.microsoft.com/office/drawing/2014/main" id="{38A3F458-9F39-0712-F2EF-6E9027DD1A8C}"/>
                  </a:ext>
                </a:extLst>
              </p:cNvPr>
              <p:cNvSpPr/>
              <p:nvPr/>
            </p:nvSpPr>
            <p:spPr>
              <a:xfrm>
                <a:off x="6191625" y="1599725"/>
                <a:ext cx="118078" cy="49898"/>
              </a:xfrm>
              <a:custGeom>
                <a:avLst/>
                <a:gdLst>
                  <a:gd name="connsiteX0" fmla="*/ 0 w 118078"/>
                  <a:gd name="connsiteY0" fmla="*/ 0 h 49898"/>
                  <a:gd name="connsiteX1" fmla="*/ 37343 w 118078"/>
                  <a:gd name="connsiteY1" fmla="*/ 0 h 49898"/>
                  <a:gd name="connsiteX2" fmla="*/ 87176 w 118078"/>
                  <a:gd name="connsiteY2" fmla="*/ 49899 h 49898"/>
                  <a:gd name="connsiteX3" fmla="*/ 118078 w 118078"/>
                  <a:gd name="connsiteY3" fmla="*/ 49899 h 49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8078" h="49898">
                    <a:moveTo>
                      <a:pt x="0" y="0"/>
                    </a:moveTo>
                    <a:lnTo>
                      <a:pt x="37343" y="0"/>
                    </a:lnTo>
                    <a:lnTo>
                      <a:pt x="87176" y="49899"/>
                    </a:lnTo>
                    <a:lnTo>
                      <a:pt x="118078" y="49899"/>
                    </a:lnTo>
                  </a:path>
                </a:pathLst>
              </a:custGeom>
              <a:noFill/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60" name="Forma livre: Forma 59">
                <a:extLst>
                  <a:ext uri="{FF2B5EF4-FFF2-40B4-BE49-F238E27FC236}">
                    <a16:creationId xmlns:a16="http://schemas.microsoft.com/office/drawing/2014/main" id="{F37BF84D-2E0E-B80E-CD8E-1A3CB2D70074}"/>
                  </a:ext>
                </a:extLst>
              </p:cNvPr>
              <p:cNvSpPr/>
              <p:nvPr/>
            </p:nvSpPr>
            <p:spPr>
              <a:xfrm>
                <a:off x="6191625" y="1665367"/>
                <a:ext cx="81906" cy="44108"/>
              </a:xfrm>
              <a:custGeom>
                <a:avLst/>
                <a:gdLst>
                  <a:gd name="connsiteX0" fmla="*/ 0 w 81906"/>
                  <a:gd name="connsiteY0" fmla="*/ 0 h 44108"/>
                  <a:gd name="connsiteX1" fmla="*/ 37343 w 81906"/>
                  <a:gd name="connsiteY1" fmla="*/ 0 h 44108"/>
                  <a:gd name="connsiteX2" fmla="*/ 81907 w 81906"/>
                  <a:gd name="connsiteY2" fmla="*/ 44109 h 441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1906" h="44108">
                    <a:moveTo>
                      <a:pt x="0" y="0"/>
                    </a:moveTo>
                    <a:lnTo>
                      <a:pt x="37343" y="0"/>
                    </a:lnTo>
                    <a:lnTo>
                      <a:pt x="81907" y="44109"/>
                    </a:lnTo>
                  </a:path>
                </a:pathLst>
              </a:custGeom>
              <a:noFill/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61" name="Forma livre: Forma 60">
                <a:extLst>
                  <a:ext uri="{FF2B5EF4-FFF2-40B4-BE49-F238E27FC236}">
                    <a16:creationId xmlns:a16="http://schemas.microsoft.com/office/drawing/2014/main" id="{C233A55F-7427-6754-45DB-14F2C6BFF9EC}"/>
                  </a:ext>
                </a:extLst>
              </p:cNvPr>
              <p:cNvSpPr/>
              <p:nvPr/>
            </p:nvSpPr>
            <p:spPr>
              <a:xfrm>
                <a:off x="6265075" y="1701539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49" name="Gráfico 32">
              <a:extLst>
                <a:ext uri="{FF2B5EF4-FFF2-40B4-BE49-F238E27FC236}">
                  <a16:creationId xmlns:a16="http://schemas.microsoft.com/office/drawing/2014/main" id="{67B1AAB5-4B26-7737-8939-6E136A2E96F3}"/>
                </a:ext>
              </a:extLst>
            </p:cNvPr>
            <p:cNvGrpSpPr/>
            <p:nvPr/>
          </p:nvGrpSpPr>
          <p:grpSpPr>
            <a:xfrm>
              <a:off x="6191625" y="1357908"/>
              <a:ext cx="173767" cy="157112"/>
              <a:chOff x="6191625" y="1357908"/>
              <a:chExt cx="173767" cy="157112"/>
            </a:xfrm>
            <a:noFill/>
          </p:grpSpPr>
          <p:sp>
            <p:nvSpPr>
              <p:cNvPr id="54" name="Forma livre: Forma 53">
                <a:extLst>
                  <a:ext uri="{FF2B5EF4-FFF2-40B4-BE49-F238E27FC236}">
                    <a16:creationId xmlns:a16="http://schemas.microsoft.com/office/drawing/2014/main" id="{27235AAE-D11E-7C1D-9F0D-3DB2F9194218}"/>
                  </a:ext>
                </a:extLst>
              </p:cNvPr>
              <p:cNvSpPr/>
              <p:nvPr/>
            </p:nvSpPr>
            <p:spPr>
              <a:xfrm>
                <a:off x="6310094" y="1437472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0 h 55298"/>
                  <a:gd name="connsiteX2" fmla="*/ 0 w 55298"/>
                  <a:gd name="connsiteY2" fmla="*/ 27649 h 55298"/>
                  <a:gd name="connsiteX3" fmla="*/ 27649 w 55298"/>
                  <a:gd name="connsiteY3" fmla="*/ 55298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12361"/>
                      <a:pt x="42938" y="0"/>
                      <a:pt x="27649" y="0"/>
                    </a:cubicBezTo>
                    <a:cubicBezTo>
                      <a:pt x="12361" y="0"/>
                      <a:pt x="0" y="12361"/>
                      <a:pt x="0" y="27649"/>
                    </a:cubicBezTo>
                    <a:cubicBezTo>
                      <a:pt x="0" y="42938"/>
                      <a:pt x="12361" y="55298"/>
                      <a:pt x="27649" y="55298"/>
                    </a:cubicBezTo>
                    <a:cubicBezTo>
                      <a:pt x="42938" y="55298"/>
                      <a:pt x="55298" y="42938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5" name="Forma livre: Forma 54">
                <a:extLst>
                  <a:ext uri="{FF2B5EF4-FFF2-40B4-BE49-F238E27FC236}">
                    <a16:creationId xmlns:a16="http://schemas.microsoft.com/office/drawing/2014/main" id="{32F94904-7338-FE93-1939-E31D1F852C7C}"/>
                  </a:ext>
                </a:extLst>
              </p:cNvPr>
              <p:cNvSpPr/>
              <p:nvPr/>
            </p:nvSpPr>
            <p:spPr>
              <a:xfrm>
                <a:off x="6191625" y="1465122"/>
                <a:ext cx="118468" cy="49898"/>
              </a:xfrm>
              <a:custGeom>
                <a:avLst/>
                <a:gdLst>
                  <a:gd name="connsiteX0" fmla="*/ 0 w 118468"/>
                  <a:gd name="connsiteY0" fmla="*/ 49899 h 49898"/>
                  <a:gd name="connsiteX1" fmla="*/ 37343 w 118468"/>
                  <a:gd name="connsiteY1" fmla="*/ 49899 h 49898"/>
                  <a:gd name="connsiteX2" fmla="*/ 87176 w 118468"/>
                  <a:gd name="connsiteY2" fmla="*/ 0 h 49898"/>
                  <a:gd name="connsiteX3" fmla="*/ 118469 w 118468"/>
                  <a:gd name="connsiteY3" fmla="*/ 0 h 49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8468" h="49898">
                    <a:moveTo>
                      <a:pt x="0" y="49899"/>
                    </a:moveTo>
                    <a:lnTo>
                      <a:pt x="37343" y="49899"/>
                    </a:lnTo>
                    <a:lnTo>
                      <a:pt x="87176" y="0"/>
                    </a:lnTo>
                    <a:lnTo>
                      <a:pt x="118469" y="0"/>
                    </a:lnTo>
                  </a:path>
                </a:pathLst>
              </a:custGeom>
              <a:noFill/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6" name="Forma livre: Forma 55">
                <a:extLst>
                  <a:ext uri="{FF2B5EF4-FFF2-40B4-BE49-F238E27FC236}">
                    <a16:creationId xmlns:a16="http://schemas.microsoft.com/office/drawing/2014/main" id="{10E46E84-A33A-0F0D-767B-05EF27BACF05}"/>
                  </a:ext>
                </a:extLst>
              </p:cNvPr>
              <p:cNvSpPr/>
              <p:nvPr/>
            </p:nvSpPr>
            <p:spPr>
              <a:xfrm>
                <a:off x="6191625" y="1405269"/>
                <a:ext cx="81451" cy="44043"/>
              </a:xfrm>
              <a:custGeom>
                <a:avLst/>
                <a:gdLst>
                  <a:gd name="connsiteX0" fmla="*/ 0 w 81451"/>
                  <a:gd name="connsiteY0" fmla="*/ 44044 h 44043"/>
                  <a:gd name="connsiteX1" fmla="*/ 37343 w 81451"/>
                  <a:gd name="connsiteY1" fmla="*/ 44044 h 44043"/>
                  <a:gd name="connsiteX2" fmla="*/ 81451 w 81451"/>
                  <a:gd name="connsiteY2" fmla="*/ 0 h 440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1451" h="44043">
                    <a:moveTo>
                      <a:pt x="0" y="44044"/>
                    </a:moveTo>
                    <a:lnTo>
                      <a:pt x="37343" y="44044"/>
                    </a:lnTo>
                    <a:lnTo>
                      <a:pt x="81451" y="0"/>
                    </a:lnTo>
                  </a:path>
                </a:pathLst>
              </a:custGeom>
              <a:noFill/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7" name="Forma livre: Forma 56">
                <a:extLst>
                  <a:ext uri="{FF2B5EF4-FFF2-40B4-BE49-F238E27FC236}">
                    <a16:creationId xmlns:a16="http://schemas.microsoft.com/office/drawing/2014/main" id="{2AAE4EA8-A170-77A7-0A24-6058B5CEE40C}"/>
                  </a:ext>
                </a:extLst>
              </p:cNvPr>
              <p:cNvSpPr/>
              <p:nvPr/>
            </p:nvSpPr>
            <p:spPr>
              <a:xfrm>
                <a:off x="6265075" y="1357908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0 h 55298"/>
                  <a:gd name="connsiteX2" fmla="*/ 0 w 55298"/>
                  <a:gd name="connsiteY2" fmla="*/ 27649 h 55298"/>
                  <a:gd name="connsiteX3" fmla="*/ 27649 w 55298"/>
                  <a:gd name="connsiteY3" fmla="*/ 55298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12361"/>
                      <a:pt x="42938" y="0"/>
                      <a:pt x="27649" y="0"/>
                    </a:cubicBezTo>
                    <a:cubicBezTo>
                      <a:pt x="12361" y="0"/>
                      <a:pt x="0" y="12361"/>
                      <a:pt x="0" y="27649"/>
                    </a:cubicBezTo>
                    <a:cubicBezTo>
                      <a:pt x="0" y="42938"/>
                      <a:pt x="12361" y="55298"/>
                      <a:pt x="27649" y="55298"/>
                    </a:cubicBezTo>
                    <a:cubicBezTo>
                      <a:pt x="42938" y="55298"/>
                      <a:pt x="55298" y="42938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50" name="Gráfico 32">
              <a:extLst>
                <a:ext uri="{FF2B5EF4-FFF2-40B4-BE49-F238E27FC236}">
                  <a16:creationId xmlns:a16="http://schemas.microsoft.com/office/drawing/2014/main" id="{0601CA28-FA3A-9081-4F31-830DC6007C46}"/>
                </a:ext>
              </a:extLst>
            </p:cNvPr>
            <p:cNvGrpSpPr/>
            <p:nvPr/>
          </p:nvGrpSpPr>
          <p:grpSpPr>
            <a:xfrm>
              <a:off x="6190910" y="1529723"/>
              <a:ext cx="123673" cy="55298"/>
              <a:chOff x="6190910" y="1529723"/>
              <a:chExt cx="123673" cy="55298"/>
            </a:xfrm>
            <a:noFill/>
          </p:grpSpPr>
          <p:sp>
            <p:nvSpPr>
              <p:cNvPr id="52" name="Forma livre: Forma 51">
                <a:extLst>
                  <a:ext uri="{FF2B5EF4-FFF2-40B4-BE49-F238E27FC236}">
                    <a16:creationId xmlns:a16="http://schemas.microsoft.com/office/drawing/2014/main" id="{164899BD-7D12-3DDB-B7C2-FCA3A2B13F19}"/>
                  </a:ext>
                </a:extLst>
              </p:cNvPr>
              <p:cNvSpPr/>
              <p:nvPr/>
            </p:nvSpPr>
            <p:spPr>
              <a:xfrm>
                <a:off x="6190910" y="1557372"/>
                <a:ext cx="68765" cy="6505"/>
              </a:xfrm>
              <a:custGeom>
                <a:avLst/>
                <a:gdLst>
                  <a:gd name="connsiteX0" fmla="*/ 0 w 68765"/>
                  <a:gd name="connsiteY0" fmla="*/ 0 h 6505"/>
                  <a:gd name="connsiteX1" fmla="*/ 68765 w 68765"/>
                  <a:gd name="connsiteY1" fmla="*/ 0 h 65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8765" h="6505">
                    <a:moveTo>
                      <a:pt x="0" y="0"/>
                    </a:moveTo>
                    <a:lnTo>
                      <a:pt x="68765" y="0"/>
                    </a:lnTo>
                  </a:path>
                </a:pathLst>
              </a:custGeom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3" name="Forma livre: Forma 52">
                <a:extLst>
                  <a:ext uri="{FF2B5EF4-FFF2-40B4-BE49-F238E27FC236}">
                    <a16:creationId xmlns:a16="http://schemas.microsoft.com/office/drawing/2014/main" id="{EAAE79EA-60B0-C1EC-2EBD-8B25966341DC}"/>
                  </a:ext>
                </a:extLst>
              </p:cNvPr>
              <p:cNvSpPr/>
              <p:nvPr/>
            </p:nvSpPr>
            <p:spPr>
              <a:xfrm>
                <a:off x="6259285" y="1529723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51" name="Forma livre: Forma 50">
              <a:extLst>
                <a:ext uri="{FF2B5EF4-FFF2-40B4-BE49-F238E27FC236}">
                  <a16:creationId xmlns:a16="http://schemas.microsoft.com/office/drawing/2014/main" id="{9DF35556-2EB5-C6D8-7F32-DC84895CB8C6}"/>
                </a:ext>
              </a:extLst>
            </p:cNvPr>
            <p:cNvSpPr/>
            <p:nvPr/>
          </p:nvSpPr>
          <p:spPr>
            <a:xfrm>
              <a:off x="6152201" y="1686285"/>
              <a:ext cx="37362" cy="20848"/>
            </a:xfrm>
            <a:custGeom>
              <a:avLst/>
              <a:gdLst>
                <a:gd name="connsiteX0" fmla="*/ 0 w 37362"/>
                <a:gd name="connsiteY0" fmla="*/ 10505 h 20848"/>
                <a:gd name="connsiteX1" fmla="*/ 27064 w 37362"/>
                <a:gd name="connsiteY1" fmla="*/ 2373 h 20848"/>
                <a:gd name="connsiteX2" fmla="*/ 37343 w 37362"/>
                <a:gd name="connsiteY2" fmla="*/ 20849 h 20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7362" h="20848">
                  <a:moveTo>
                    <a:pt x="0" y="10505"/>
                  </a:moveTo>
                  <a:cubicBezTo>
                    <a:pt x="5205" y="811"/>
                    <a:pt x="17435" y="-2832"/>
                    <a:pt x="27064" y="2373"/>
                  </a:cubicBezTo>
                  <a:cubicBezTo>
                    <a:pt x="34025" y="6081"/>
                    <a:pt x="37668" y="13432"/>
                    <a:pt x="37343" y="20849"/>
                  </a:cubicBezTo>
                </a:path>
              </a:pathLst>
            </a:custGeom>
            <a:noFill/>
            <a:ln w="19050" cap="sq">
              <a:solidFill>
                <a:srgbClr val="184BFF"/>
              </a:solidFill>
              <a:prstDash val="solid"/>
              <a:miter lim="800000"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68" name="Agrupar 67">
            <a:extLst>
              <a:ext uri="{FF2B5EF4-FFF2-40B4-BE49-F238E27FC236}">
                <a16:creationId xmlns:a16="http://schemas.microsoft.com/office/drawing/2014/main" id="{F9E1C7B3-A68C-84C3-C700-7E8911A4A5CD}"/>
              </a:ext>
            </a:extLst>
          </p:cNvPr>
          <p:cNvGrpSpPr/>
          <p:nvPr/>
        </p:nvGrpSpPr>
        <p:grpSpPr>
          <a:xfrm>
            <a:off x="1133940" y="2932112"/>
            <a:ext cx="325297" cy="355243"/>
            <a:chOff x="6000092" y="1357908"/>
            <a:chExt cx="365300" cy="398929"/>
          </a:xfrm>
        </p:grpSpPr>
        <p:sp>
          <p:nvSpPr>
            <p:cNvPr id="69" name="Forma livre: Forma 68">
              <a:extLst>
                <a:ext uri="{FF2B5EF4-FFF2-40B4-BE49-F238E27FC236}">
                  <a16:creationId xmlns:a16="http://schemas.microsoft.com/office/drawing/2014/main" id="{17143995-8CED-6D7C-F5AB-8DC7ECE8A852}"/>
                </a:ext>
              </a:extLst>
            </p:cNvPr>
            <p:cNvSpPr/>
            <p:nvPr/>
          </p:nvSpPr>
          <p:spPr>
            <a:xfrm>
              <a:off x="6000092" y="1418606"/>
              <a:ext cx="84058" cy="286120"/>
            </a:xfrm>
            <a:custGeom>
              <a:avLst/>
              <a:gdLst>
                <a:gd name="connsiteX0" fmla="*/ 51595 w 84058"/>
                <a:gd name="connsiteY0" fmla="*/ 0 h 286120"/>
                <a:gd name="connsiteX1" fmla="*/ 35266 w 84058"/>
                <a:gd name="connsiteY1" fmla="*/ 61674 h 286120"/>
                <a:gd name="connsiteX2" fmla="*/ 28760 w 84058"/>
                <a:gd name="connsiteY2" fmla="*/ 193415 h 286120"/>
                <a:gd name="connsiteX3" fmla="*/ 84059 w 84058"/>
                <a:gd name="connsiteY3" fmla="*/ 286121 h 2861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4058" h="286120">
                  <a:moveTo>
                    <a:pt x="51595" y="0"/>
                  </a:moveTo>
                  <a:cubicBezTo>
                    <a:pt x="37868" y="7872"/>
                    <a:pt x="26028" y="24852"/>
                    <a:pt x="35266" y="61674"/>
                  </a:cubicBezTo>
                  <a:cubicBezTo>
                    <a:pt x="35266" y="61674"/>
                    <a:pt x="-39549" y="126731"/>
                    <a:pt x="28760" y="193415"/>
                  </a:cubicBezTo>
                  <a:cubicBezTo>
                    <a:pt x="28760" y="193415"/>
                    <a:pt x="9243" y="281242"/>
                    <a:pt x="84059" y="286121"/>
                  </a:cubicBezTo>
                </a:path>
              </a:pathLst>
            </a:custGeom>
            <a:noFill/>
            <a:ln w="19050" cap="sq">
              <a:solidFill>
                <a:srgbClr val="184BFF"/>
              </a:solidFill>
              <a:prstDash val="solid"/>
              <a:miter lim="800000"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70" name="Gráfico 32">
              <a:extLst>
                <a:ext uri="{FF2B5EF4-FFF2-40B4-BE49-F238E27FC236}">
                  <a16:creationId xmlns:a16="http://schemas.microsoft.com/office/drawing/2014/main" id="{544E10CC-6BBE-48C5-83AC-FBC5A347CB5C}"/>
                </a:ext>
              </a:extLst>
            </p:cNvPr>
            <p:cNvGrpSpPr/>
            <p:nvPr/>
          </p:nvGrpSpPr>
          <p:grpSpPr>
            <a:xfrm>
              <a:off x="6061121" y="1359924"/>
              <a:ext cx="128487" cy="396366"/>
              <a:chOff x="6061121" y="1359924"/>
              <a:chExt cx="128487" cy="396366"/>
            </a:xfrm>
            <a:noFill/>
          </p:grpSpPr>
          <p:sp>
            <p:nvSpPr>
              <p:cNvPr id="85" name="Forma livre: Forma 84">
                <a:extLst>
                  <a:ext uri="{FF2B5EF4-FFF2-40B4-BE49-F238E27FC236}">
                    <a16:creationId xmlns:a16="http://schemas.microsoft.com/office/drawing/2014/main" id="{D0A9B91B-C990-8F2B-12B7-8622F8452773}"/>
                  </a:ext>
                </a:extLst>
              </p:cNvPr>
              <p:cNvSpPr/>
              <p:nvPr/>
            </p:nvSpPr>
            <p:spPr>
              <a:xfrm>
                <a:off x="6083891" y="1359924"/>
                <a:ext cx="105717" cy="396366"/>
              </a:xfrm>
              <a:custGeom>
                <a:avLst/>
                <a:gdLst>
                  <a:gd name="connsiteX0" fmla="*/ 52891 w 105717"/>
                  <a:gd name="connsiteY0" fmla="*/ 105718 h 396366"/>
                  <a:gd name="connsiteX1" fmla="*/ 0 w 105717"/>
                  <a:gd name="connsiteY1" fmla="*/ 52891 h 396366"/>
                  <a:gd name="connsiteX2" fmla="*/ 52891 w 105717"/>
                  <a:gd name="connsiteY2" fmla="*/ 0 h 396366"/>
                  <a:gd name="connsiteX3" fmla="*/ 105718 w 105717"/>
                  <a:gd name="connsiteY3" fmla="*/ 52826 h 396366"/>
                  <a:gd name="connsiteX4" fmla="*/ 105718 w 105717"/>
                  <a:gd name="connsiteY4" fmla="*/ 346884 h 396366"/>
                  <a:gd name="connsiteX5" fmla="*/ 80606 w 105717"/>
                  <a:gd name="connsiteY5" fmla="*/ 388911 h 396366"/>
                  <a:gd name="connsiteX6" fmla="*/ 9238 w 105717"/>
                  <a:gd name="connsiteY6" fmla="*/ 371150 h 396366"/>
                  <a:gd name="connsiteX7" fmla="*/ 15484 w 105717"/>
                  <a:gd name="connsiteY7" fmla="*/ 309216 h 396366"/>
                  <a:gd name="connsiteX8" fmla="*/ 45019 w 105717"/>
                  <a:gd name="connsiteY8" fmla="*/ 277078 h 3963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05717" h="396366">
                    <a:moveTo>
                      <a:pt x="52891" y="105718"/>
                    </a:moveTo>
                    <a:cubicBezTo>
                      <a:pt x="23681" y="105718"/>
                      <a:pt x="0" y="82037"/>
                      <a:pt x="0" y="52891"/>
                    </a:cubicBezTo>
                    <a:cubicBezTo>
                      <a:pt x="0" y="23746"/>
                      <a:pt x="23681" y="0"/>
                      <a:pt x="52891" y="0"/>
                    </a:cubicBezTo>
                    <a:cubicBezTo>
                      <a:pt x="82102" y="0"/>
                      <a:pt x="105718" y="23681"/>
                      <a:pt x="105718" y="52826"/>
                    </a:cubicBezTo>
                    <a:lnTo>
                      <a:pt x="105718" y="346884"/>
                    </a:lnTo>
                    <a:cubicBezTo>
                      <a:pt x="105718" y="364580"/>
                      <a:pt x="96414" y="379413"/>
                      <a:pt x="80606" y="388911"/>
                    </a:cubicBezTo>
                    <a:cubicBezTo>
                      <a:pt x="55949" y="403744"/>
                      <a:pt x="24006" y="395742"/>
                      <a:pt x="9238" y="371150"/>
                    </a:cubicBezTo>
                    <a:cubicBezTo>
                      <a:pt x="-2928" y="350918"/>
                      <a:pt x="260" y="325741"/>
                      <a:pt x="15484" y="309216"/>
                    </a:cubicBezTo>
                    <a:lnTo>
                      <a:pt x="45019" y="277078"/>
                    </a:lnTo>
                  </a:path>
                </a:pathLst>
              </a:custGeom>
              <a:noFill/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86" name="Forma livre: Forma 85">
                <a:extLst>
                  <a:ext uri="{FF2B5EF4-FFF2-40B4-BE49-F238E27FC236}">
                    <a16:creationId xmlns:a16="http://schemas.microsoft.com/office/drawing/2014/main" id="{7A1800A4-E18D-9B51-2536-6A6341596428}"/>
                  </a:ext>
                </a:extLst>
              </p:cNvPr>
              <p:cNvSpPr/>
              <p:nvPr/>
            </p:nvSpPr>
            <p:spPr>
              <a:xfrm>
                <a:off x="6144784" y="1383865"/>
                <a:ext cx="41563" cy="38963"/>
              </a:xfrm>
              <a:custGeom>
                <a:avLst/>
                <a:gdLst>
                  <a:gd name="connsiteX0" fmla="*/ 36172 w 41563"/>
                  <a:gd name="connsiteY0" fmla="*/ 0 h 38963"/>
                  <a:gd name="connsiteX1" fmla="*/ 39425 w 41563"/>
                  <a:gd name="connsiteY1" fmla="*/ 24266 h 38963"/>
                  <a:gd name="connsiteX2" fmla="*/ 36432 w 41563"/>
                  <a:gd name="connsiteY2" fmla="*/ 29080 h 38963"/>
                  <a:gd name="connsiteX3" fmla="*/ 0 w 41563"/>
                  <a:gd name="connsiteY3" fmla="*/ 33439 h 389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563" h="38963">
                    <a:moveTo>
                      <a:pt x="36172" y="0"/>
                    </a:moveTo>
                    <a:cubicBezTo>
                      <a:pt x="41571" y="7547"/>
                      <a:pt x="43393" y="16004"/>
                      <a:pt x="39425" y="24266"/>
                    </a:cubicBezTo>
                    <a:cubicBezTo>
                      <a:pt x="38644" y="25893"/>
                      <a:pt x="37603" y="27519"/>
                      <a:pt x="36432" y="29080"/>
                    </a:cubicBezTo>
                    <a:cubicBezTo>
                      <a:pt x="27584" y="40270"/>
                      <a:pt x="11190" y="42287"/>
                      <a:pt x="0" y="33439"/>
                    </a:cubicBezTo>
                  </a:path>
                </a:pathLst>
              </a:custGeom>
              <a:noFill/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87" name="Forma livre: Forma 86">
                <a:extLst>
                  <a:ext uri="{FF2B5EF4-FFF2-40B4-BE49-F238E27FC236}">
                    <a16:creationId xmlns:a16="http://schemas.microsoft.com/office/drawing/2014/main" id="{0EDBE463-8137-6F96-BD9E-9A19DF06C74F}"/>
                  </a:ext>
                </a:extLst>
              </p:cNvPr>
              <p:cNvSpPr/>
              <p:nvPr/>
            </p:nvSpPr>
            <p:spPr>
              <a:xfrm>
                <a:off x="6081487" y="1460806"/>
                <a:ext cx="34217" cy="54474"/>
              </a:xfrm>
              <a:custGeom>
                <a:avLst/>
                <a:gdLst>
                  <a:gd name="connsiteX0" fmla="*/ 21076 w 34217"/>
                  <a:gd name="connsiteY0" fmla="*/ 54475 h 54474"/>
                  <a:gd name="connsiteX1" fmla="*/ 778 w 34217"/>
                  <a:gd name="connsiteY1" fmla="*/ 21035 h 54474"/>
                  <a:gd name="connsiteX2" fmla="*/ 34217 w 34217"/>
                  <a:gd name="connsiteY2" fmla="*/ 803 h 544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4217" h="54474">
                    <a:moveTo>
                      <a:pt x="21076" y="54475"/>
                    </a:moveTo>
                    <a:cubicBezTo>
                      <a:pt x="6308" y="50832"/>
                      <a:pt x="-2800" y="35803"/>
                      <a:pt x="778" y="21035"/>
                    </a:cubicBezTo>
                    <a:cubicBezTo>
                      <a:pt x="4421" y="6267"/>
                      <a:pt x="19449" y="-2841"/>
                      <a:pt x="34217" y="803"/>
                    </a:cubicBezTo>
                  </a:path>
                </a:pathLst>
              </a:custGeom>
              <a:noFill/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88" name="Forma livre: Forma 87">
                <a:extLst>
                  <a:ext uri="{FF2B5EF4-FFF2-40B4-BE49-F238E27FC236}">
                    <a16:creationId xmlns:a16="http://schemas.microsoft.com/office/drawing/2014/main" id="{882EAAE8-76ED-9B00-9815-07E1825963E5}"/>
                  </a:ext>
                </a:extLst>
              </p:cNvPr>
              <p:cNvSpPr/>
              <p:nvPr/>
            </p:nvSpPr>
            <p:spPr>
              <a:xfrm>
                <a:off x="6073547" y="1527543"/>
                <a:ext cx="114760" cy="72506"/>
              </a:xfrm>
              <a:custGeom>
                <a:avLst/>
                <a:gdLst>
                  <a:gd name="connsiteX0" fmla="*/ 114760 w 114760"/>
                  <a:gd name="connsiteY0" fmla="*/ 7254 h 72506"/>
                  <a:gd name="connsiteX1" fmla="*/ 73905 w 114760"/>
                  <a:gd name="connsiteY1" fmla="*/ 8881 h 72506"/>
                  <a:gd name="connsiteX2" fmla="*/ 0 w 114760"/>
                  <a:gd name="connsiteY2" fmla="*/ 72506 h 725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14760" h="72506">
                    <a:moveTo>
                      <a:pt x="114760" y="7254"/>
                    </a:moveTo>
                    <a:cubicBezTo>
                      <a:pt x="103375" y="-2830"/>
                      <a:pt x="83989" y="-2504"/>
                      <a:pt x="73905" y="8881"/>
                    </a:cubicBezTo>
                    <a:cubicBezTo>
                      <a:pt x="73905" y="8881"/>
                      <a:pt x="31488" y="72506"/>
                      <a:pt x="0" y="72506"/>
                    </a:cubicBezTo>
                  </a:path>
                </a:pathLst>
              </a:custGeom>
              <a:noFill/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89" name="Forma livre: Forma 88">
                <a:extLst>
                  <a:ext uri="{FF2B5EF4-FFF2-40B4-BE49-F238E27FC236}">
                    <a16:creationId xmlns:a16="http://schemas.microsoft.com/office/drawing/2014/main" id="{75356473-C8D0-8C08-E8A3-890BB9C5BEEF}"/>
                  </a:ext>
                </a:extLst>
              </p:cNvPr>
              <p:cNvSpPr/>
              <p:nvPr/>
            </p:nvSpPr>
            <p:spPr>
              <a:xfrm>
                <a:off x="6079857" y="1646956"/>
                <a:ext cx="29405" cy="9823"/>
              </a:xfrm>
              <a:custGeom>
                <a:avLst/>
                <a:gdLst>
                  <a:gd name="connsiteX0" fmla="*/ 0 w 29405"/>
                  <a:gd name="connsiteY0" fmla="*/ 0 h 9823"/>
                  <a:gd name="connsiteX1" fmla="*/ 29406 w 29405"/>
                  <a:gd name="connsiteY1" fmla="*/ 9824 h 98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9405" h="9823">
                    <a:moveTo>
                      <a:pt x="0" y="0"/>
                    </a:moveTo>
                    <a:lnTo>
                      <a:pt x="29406" y="9824"/>
                    </a:lnTo>
                  </a:path>
                </a:pathLst>
              </a:custGeom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0" name="Forma livre: Forma 89">
                <a:extLst>
                  <a:ext uri="{FF2B5EF4-FFF2-40B4-BE49-F238E27FC236}">
                    <a16:creationId xmlns:a16="http://schemas.microsoft.com/office/drawing/2014/main" id="{231FFC5E-BA90-D415-3451-C622725371EE}"/>
                  </a:ext>
                </a:extLst>
              </p:cNvPr>
              <p:cNvSpPr/>
              <p:nvPr/>
            </p:nvSpPr>
            <p:spPr>
              <a:xfrm>
                <a:off x="6061121" y="1545272"/>
                <a:ext cx="47166" cy="34154"/>
              </a:xfrm>
              <a:custGeom>
                <a:avLst/>
                <a:gdLst>
                  <a:gd name="connsiteX0" fmla="*/ 0 w 47166"/>
                  <a:gd name="connsiteY0" fmla="*/ 0 h 34154"/>
                  <a:gd name="connsiteX1" fmla="*/ 47166 w 47166"/>
                  <a:gd name="connsiteY1" fmla="*/ 34155 h 341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166" h="34154">
                    <a:moveTo>
                      <a:pt x="0" y="0"/>
                    </a:moveTo>
                    <a:cubicBezTo>
                      <a:pt x="0" y="0"/>
                      <a:pt x="27649" y="13011"/>
                      <a:pt x="47166" y="34155"/>
                    </a:cubicBezTo>
                  </a:path>
                </a:pathLst>
              </a:custGeom>
              <a:noFill/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71" name="Gráfico 32">
              <a:extLst>
                <a:ext uri="{FF2B5EF4-FFF2-40B4-BE49-F238E27FC236}">
                  <a16:creationId xmlns:a16="http://schemas.microsoft.com/office/drawing/2014/main" id="{56FBC29A-0D4D-E90A-0B4F-88DFA15B67B6}"/>
                </a:ext>
              </a:extLst>
            </p:cNvPr>
            <p:cNvGrpSpPr/>
            <p:nvPr/>
          </p:nvGrpSpPr>
          <p:grpSpPr>
            <a:xfrm>
              <a:off x="6191625" y="1599725"/>
              <a:ext cx="173767" cy="157112"/>
              <a:chOff x="6191625" y="1599725"/>
              <a:chExt cx="173767" cy="157112"/>
            </a:xfrm>
            <a:noFill/>
          </p:grpSpPr>
          <p:sp>
            <p:nvSpPr>
              <p:cNvPr id="81" name="Forma livre: Forma 80">
                <a:extLst>
                  <a:ext uri="{FF2B5EF4-FFF2-40B4-BE49-F238E27FC236}">
                    <a16:creationId xmlns:a16="http://schemas.microsoft.com/office/drawing/2014/main" id="{3701A86C-EBE6-5F8F-3FC0-E62A280D89E7}"/>
                  </a:ext>
                </a:extLst>
              </p:cNvPr>
              <p:cNvSpPr/>
              <p:nvPr/>
            </p:nvSpPr>
            <p:spPr>
              <a:xfrm>
                <a:off x="6310094" y="1621974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82" name="Forma livre: Forma 81">
                <a:extLst>
                  <a:ext uri="{FF2B5EF4-FFF2-40B4-BE49-F238E27FC236}">
                    <a16:creationId xmlns:a16="http://schemas.microsoft.com/office/drawing/2014/main" id="{EB1E2A21-FCD1-DF96-6DAD-0ED1D9C39B2F}"/>
                  </a:ext>
                </a:extLst>
              </p:cNvPr>
              <p:cNvSpPr/>
              <p:nvPr/>
            </p:nvSpPr>
            <p:spPr>
              <a:xfrm>
                <a:off x="6191625" y="1599725"/>
                <a:ext cx="118078" cy="49898"/>
              </a:xfrm>
              <a:custGeom>
                <a:avLst/>
                <a:gdLst>
                  <a:gd name="connsiteX0" fmla="*/ 0 w 118078"/>
                  <a:gd name="connsiteY0" fmla="*/ 0 h 49898"/>
                  <a:gd name="connsiteX1" fmla="*/ 37343 w 118078"/>
                  <a:gd name="connsiteY1" fmla="*/ 0 h 49898"/>
                  <a:gd name="connsiteX2" fmla="*/ 87176 w 118078"/>
                  <a:gd name="connsiteY2" fmla="*/ 49899 h 49898"/>
                  <a:gd name="connsiteX3" fmla="*/ 118078 w 118078"/>
                  <a:gd name="connsiteY3" fmla="*/ 49899 h 49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8078" h="49898">
                    <a:moveTo>
                      <a:pt x="0" y="0"/>
                    </a:moveTo>
                    <a:lnTo>
                      <a:pt x="37343" y="0"/>
                    </a:lnTo>
                    <a:lnTo>
                      <a:pt x="87176" y="49899"/>
                    </a:lnTo>
                    <a:lnTo>
                      <a:pt x="118078" y="49899"/>
                    </a:lnTo>
                  </a:path>
                </a:pathLst>
              </a:custGeom>
              <a:noFill/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83" name="Forma livre: Forma 82">
                <a:extLst>
                  <a:ext uri="{FF2B5EF4-FFF2-40B4-BE49-F238E27FC236}">
                    <a16:creationId xmlns:a16="http://schemas.microsoft.com/office/drawing/2014/main" id="{1705C957-23CA-23D7-6084-A63272F7CC13}"/>
                  </a:ext>
                </a:extLst>
              </p:cNvPr>
              <p:cNvSpPr/>
              <p:nvPr/>
            </p:nvSpPr>
            <p:spPr>
              <a:xfrm>
                <a:off x="6191625" y="1665367"/>
                <a:ext cx="81906" cy="44108"/>
              </a:xfrm>
              <a:custGeom>
                <a:avLst/>
                <a:gdLst>
                  <a:gd name="connsiteX0" fmla="*/ 0 w 81906"/>
                  <a:gd name="connsiteY0" fmla="*/ 0 h 44108"/>
                  <a:gd name="connsiteX1" fmla="*/ 37343 w 81906"/>
                  <a:gd name="connsiteY1" fmla="*/ 0 h 44108"/>
                  <a:gd name="connsiteX2" fmla="*/ 81907 w 81906"/>
                  <a:gd name="connsiteY2" fmla="*/ 44109 h 441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1906" h="44108">
                    <a:moveTo>
                      <a:pt x="0" y="0"/>
                    </a:moveTo>
                    <a:lnTo>
                      <a:pt x="37343" y="0"/>
                    </a:lnTo>
                    <a:lnTo>
                      <a:pt x="81907" y="44109"/>
                    </a:lnTo>
                  </a:path>
                </a:pathLst>
              </a:custGeom>
              <a:noFill/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84" name="Forma livre: Forma 83">
                <a:extLst>
                  <a:ext uri="{FF2B5EF4-FFF2-40B4-BE49-F238E27FC236}">
                    <a16:creationId xmlns:a16="http://schemas.microsoft.com/office/drawing/2014/main" id="{EBB4C202-11AA-9BB6-CEBC-BDA7B60782F9}"/>
                  </a:ext>
                </a:extLst>
              </p:cNvPr>
              <p:cNvSpPr/>
              <p:nvPr/>
            </p:nvSpPr>
            <p:spPr>
              <a:xfrm>
                <a:off x="6265075" y="1701539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72" name="Gráfico 32">
              <a:extLst>
                <a:ext uri="{FF2B5EF4-FFF2-40B4-BE49-F238E27FC236}">
                  <a16:creationId xmlns:a16="http://schemas.microsoft.com/office/drawing/2014/main" id="{1860071D-0D39-F431-43DC-81FD64E6F3DA}"/>
                </a:ext>
              </a:extLst>
            </p:cNvPr>
            <p:cNvGrpSpPr/>
            <p:nvPr/>
          </p:nvGrpSpPr>
          <p:grpSpPr>
            <a:xfrm>
              <a:off x="6191625" y="1357908"/>
              <a:ext cx="173767" cy="157112"/>
              <a:chOff x="6191625" y="1357908"/>
              <a:chExt cx="173767" cy="157112"/>
            </a:xfrm>
            <a:noFill/>
          </p:grpSpPr>
          <p:sp>
            <p:nvSpPr>
              <p:cNvPr id="77" name="Forma livre: Forma 76">
                <a:extLst>
                  <a:ext uri="{FF2B5EF4-FFF2-40B4-BE49-F238E27FC236}">
                    <a16:creationId xmlns:a16="http://schemas.microsoft.com/office/drawing/2014/main" id="{ABFD35CB-1D45-B247-92A1-E3400F71D9A8}"/>
                  </a:ext>
                </a:extLst>
              </p:cNvPr>
              <p:cNvSpPr/>
              <p:nvPr/>
            </p:nvSpPr>
            <p:spPr>
              <a:xfrm>
                <a:off x="6310094" y="1437472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0 h 55298"/>
                  <a:gd name="connsiteX2" fmla="*/ 0 w 55298"/>
                  <a:gd name="connsiteY2" fmla="*/ 27649 h 55298"/>
                  <a:gd name="connsiteX3" fmla="*/ 27649 w 55298"/>
                  <a:gd name="connsiteY3" fmla="*/ 55298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12361"/>
                      <a:pt x="42938" y="0"/>
                      <a:pt x="27649" y="0"/>
                    </a:cubicBezTo>
                    <a:cubicBezTo>
                      <a:pt x="12361" y="0"/>
                      <a:pt x="0" y="12361"/>
                      <a:pt x="0" y="27649"/>
                    </a:cubicBezTo>
                    <a:cubicBezTo>
                      <a:pt x="0" y="42938"/>
                      <a:pt x="12361" y="55298"/>
                      <a:pt x="27649" y="55298"/>
                    </a:cubicBezTo>
                    <a:cubicBezTo>
                      <a:pt x="42938" y="55298"/>
                      <a:pt x="55298" y="42938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8" name="Forma livre: Forma 77">
                <a:extLst>
                  <a:ext uri="{FF2B5EF4-FFF2-40B4-BE49-F238E27FC236}">
                    <a16:creationId xmlns:a16="http://schemas.microsoft.com/office/drawing/2014/main" id="{ED52AE6A-ACCE-DF0C-4BC4-C5CCAC2791C3}"/>
                  </a:ext>
                </a:extLst>
              </p:cNvPr>
              <p:cNvSpPr/>
              <p:nvPr/>
            </p:nvSpPr>
            <p:spPr>
              <a:xfrm>
                <a:off x="6191625" y="1465122"/>
                <a:ext cx="118468" cy="49898"/>
              </a:xfrm>
              <a:custGeom>
                <a:avLst/>
                <a:gdLst>
                  <a:gd name="connsiteX0" fmla="*/ 0 w 118468"/>
                  <a:gd name="connsiteY0" fmla="*/ 49899 h 49898"/>
                  <a:gd name="connsiteX1" fmla="*/ 37343 w 118468"/>
                  <a:gd name="connsiteY1" fmla="*/ 49899 h 49898"/>
                  <a:gd name="connsiteX2" fmla="*/ 87176 w 118468"/>
                  <a:gd name="connsiteY2" fmla="*/ 0 h 49898"/>
                  <a:gd name="connsiteX3" fmla="*/ 118469 w 118468"/>
                  <a:gd name="connsiteY3" fmla="*/ 0 h 49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8468" h="49898">
                    <a:moveTo>
                      <a:pt x="0" y="49899"/>
                    </a:moveTo>
                    <a:lnTo>
                      <a:pt x="37343" y="49899"/>
                    </a:lnTo>
                    <a:lnTo>
                      <a:pt x="87176" y="0"/>
                    </a:lnTo>
                    <a:lnTo>
                      <a:pt x="118469" y="0"/>
                    </a:lnTo>
                  </a:path>
                </a:pathLst>
              </a:custGeom>
              <a:noFill/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9" name="Forma livre: Forma 78">
                <a:extLst>
                  <a:ext uri="{FF2B5EF4-FFF2-40B4-BE49-F238E27FC236}">
                    <a16:creationId xmlns:a16="http://schemas.microsoft.com/office/drawing/2014/main" id="{A7AF38EA-8FD5-47F0-D86D-35B3A491A194}"/>
                  </a:ext>
                </a:extLst>
              </p:cNvPr>
              <p:cNvSpPr/>
              <p:nvPr/>
            </p:nvSpPr>
            <p:spPr>
              <a:xfrm>
                <a:off x="6191625" y="1405269"/>
                <a:ext cx="81451" cy="44043"/>
              </a:xfrm>
              <a:custGeom>
                <a:avLst/>
                <a:gdLst>
                  <a:gd name="connsiteX0" fmla="*/ 0 w 81451"/>
                  <a:gd name="connsiteY0" fmla="*/ 44044 h 44043"/>
                  <a:gd name="connsiteX1" fmla="*/ 37343 w 81451"/>
                  <a:gd name="connsiteY1" fmla="*/ 44044 h 44043"/>
                  <a:gd name="connsiteX2" fmla="*/ 81451 w 81451"/>
                  <a:gd name="connsiteY2" fmla="*/ 0 h 440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1451" h="44043">
                    <a:moveTo>
                      <a:pt x="0" y="44044"/>
                    </a:moveTo>
                    <a:lnTo>
                      <a:pt x="37343" y="44044"/>
                    </a:lnTo>
                    <a:lnTo>
                      <a:pt x="81451" y="0"/>
                    </a:lnTo>
                  </a:path>
                </a:pathLst>
              </a:custGeom>
              <a:noFill/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80" name="Forma livre: Forma 79">
                <a:extLst>
                  <a:ext uri="{FF2B5EF4-FFF2-40B4-BE49-F238E27FC236}">
                    <a16:creationId xmlns:a16="http://schemas.microsoft.com/office/drawing/2014/main" id="{613E635C-787F-65A4-60B1-65B95FE8F0FE}"/>
                  </a:ext>
                </a:extLst>
              </p:cNvPr>
              <p:cNvSpPr/>
              <p:nvPr/>
            </p:nvSpPr>
            <p:spPr>
              <a:xfrm>
                <a:off x="6265075" y="1357908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0 h 55298"/>
                  <a:gd name="connsiteX2" fmla="*/ 0 w 55298"/>
                  <a:gd name="connsiteY2" fmla="*/ 27649 h 55298"/>
                  <a:gd name="connsiteX3" fmla="*/ 27649 w 55298"/>
                  <a:gd name="connsiteY3" fmla="*/ 55298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12361"/>
                      <a:pt x="42938" y="0"/>
                      <a:pt x="27649" y="0"/>
                    </a:cubicBezTo>
                    <a:cubicBezTo>
                      <a:pt x="12361" y="0"/>
                      <a:pt x="0" y="12361"/>
                      <a:pt x="0" y="27649"/>
                    </a:cubicBezTo>
                    <a:cubicBezTo>
                      <a:pt x="0" y="42938"/>
                      <a:pt x="12361" y="55298"/>
                      <a:pt x="27649" y="55298"/>
                    </a:cubicBezTo>
                    <a:cubicBezTo>
                      <a:pt x="42938" y="55298"/>
                      <a:pt x="55298" y="42938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73" name="Gráfico 32">
              <a:extLst>
                <a:ext uri="{FF2B5EF4-FFF2-40B4-BE49-F238E27FC236}">
                  <a16:creationId xmlns:a16="http://schemas.microsoft.com/office/drawing/2014/main" id="{11DD12CC-B3B3-E48F-4015-D6929EA9BD6A}"/>
                </a:ext>
              </a:extLst>
            </p:cNvPr>
            <p:cNvGrpSpPr/>
            <p:nvPr/>
          </p:nvGrpSpPr>
          <p:grpSpPr>
            <a:xfrm>
              <a:off x="6190910" y="1529723"/>
              <a:ext cx="123673" cy="55298"/>
              <a:chOff x="6190910" y="1529723"/>
              <a:chExt cx="123673" cy="55298"/>
            </a:xfrm>
            <a:noFill/>
          </p:grpSpPr>
          <p:sp>
            <p:nvSpPr>
              <p:cNvPr id="75" name="Forma livre: Forma 74">
                <a:extLst>
                  <a:ext uri="{FF2B5EF4-FFF2-40B4-BE49-F238E27FC236}">
                    <a16:creationId xmlns:a16="http://schemas.microsoft.com/office/drawing/2014/main" id="{F2D0FAB5-3FDC-FF60-3EA5-AED4FBB40590}"/>
                  </a:ext>
                </a:extLst>
              </p:cNvPr>
              <p:cNvSpPr/>
              <p:nvPr/>
            </p:nvSpPr>
            <p:spPr>
              <a:xfrm>
                <a:off x="6190910" y="1557372"/>
                <a:ext cx="68765" cy="6505"/>
              </a:xfrm>
              <a:custGeom>
                <a:avLst/>
                <a:gdLst>
                  <a:gd name="connsiteX0" fmla="*/ 0 w 68765"/>
                  <a:gd name="connsiteY0" fmla="*/ 0 h 6505"/>
                  <a:gd name="connsiteX1" fmla="*/ 68765 w 68765"/>
                  <a:gd name="connsiteY1" fmla="*/ 0 h 65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8765" h="6505">
                    <a:moveTo>
                      <a:pt x="0" y="0"/>
                    </a:moveTo>
                    <a:lnTo>
                      <a:pt x="68765" y="0"/>
                    </a:lnTo>
                  </a:path>
                </a:pathLst>
              </a:custGeom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6" name="Forma livre: Forma 75">
                <a:extLst>
                  <a:ext uri="{FF2B5EF4-FFF2-40B4-BE49-F238E27FC236}">
                    <a16:creationId xmlns:a16="http://schemas.microsoft.com/office/drawing/2014/main" id="{D2321925-A0CA-CB22-35FD-CE79731E316E}"/>
                  </a:ext>
                </a:extLst>
              </p:cNvPr>
              <p:cNvSpPr/>
              <p:nvPr/>
            </p:nvSpPr>
            <p:spPr>
              <a:xfrm>
                <a:off x="6259285" y="1529723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74" name="Forma livre: Forma 73">
              <a:extLst>
                <a:ext uri="{FF2B5EF4-FFF2-40B4-BE49-F238E27FC236}">
                  <a16:creationId xmlns:a16="http://schemas.microsoft.com/office/drawing/2014/main" id="{F2557BF9-992B-9189-3E33-D71F5D22045E}"/>
                </a:ext>
              </a:extLst>
            </p:cNvPr>
            <p:cNvSpPr/>
            <p:nvPr/>
          </p:nvSpPr>
          <p:spPr>
            <a:xfrm>
              <a:off x="6152201" y="1686285"/>
              <a:ext cx="37362" cy="20848"/>
            </a:xfrm>
            <a:custGeom>
              <a:avLst/>
              <a:gdLst>
                <a:gd name="connsiteX0" fmla="*/ 0 w 37362"/>
                <a:gd name="connsiteY0" fmla="*/ 10505 h 20848"/>
                <a:gd name="connsiteX1" fmla="*/ 27064 w 37362"/>
                <a:gd name="connsiteY1" fmla="*/ 2373 h 20848"/>
                <a:gd name="connsiteX2" fmla="*/ 37343 w 37362"/>
                <a:gd name="connsiteY2" fmla="*/ 20849 h 20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7362" h="20848">
                  <a:moveTo>
                    <a:pt x="0" y="10505"/>
                  </a:moveTo>
                  <a:cubicBezTo>
                    <a:pt x="5205" y="811"/>
                    <a:pt x="17435" y="-2832"/>
                    <a:pt x="27064" y="2373"/>
                  </a:cubicBezTo>
                  <a:cubicBezTo>
                    <a:pt x="34025" y="6081"/>
                    <a:pt x="37668" y="13432"/>
                    <a:pt x="37343" y="20849"/>
                  </a:cubicBezTo>
                </a:path>
              </a:pathLst>
            </a:custGeom>
            <a:noFill/>
            <a:ln w="19050" cap="sq">
              <a:solidFill>
                <a:srgbClr val="184BFF"/>
              </a:solidFill>
              <a:prstDash val="solid"/>
              <a:miter lim="800000"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91" name="Agrupar 90">
            <a:extLst>
              <a:ext uri="{FF2B5EF4-FFF2-40B4-BE49-F238E27FC236}">
                <a16:creationId xmlns:a16="http://schemas.microsoft.com/office/drawing/2014/main" id="{0E6AF843-A4D7-F36D-34C4-B8CB93B9EF87}"/>
              </a:ext>
            </a:extLst>
          </p:cNvPr>
          <p:cNvGrpSpPr/>
          <p:nvPr/>
        </p:nvGrpSpPr>
        <p:grpSpPr>
          <a:xfrm>
            <a:off x="1133940" y="4714465"/>
            <a:ext cx="325297" cy="355243"/>
            <a:chOff x="6000092" y="1357908"/>
            <a:chExt cx="365300" cy="398929"/>
          </a:xfrm>
        </p:grpSpPr>
        <p:sp>
          <p:nvSpPr>
            <p:cNvPr id="92" name="Forma livre: Forma 91">
              <a:extLst>
                <a:ext uri="{FF2B5EF4-FFF2-40B4-BE49-F238E27FC236}">
                  <a16:creationId xmlns:a16="http://schemas.microsoft.com/office/drawing/2014/main" id="{7C239EAF-78FB-82D2-37DE-31A2913CA38C}"/>
                </a:ext>
              </a:extLst>
            </p:cNvPr>
            <p:cNvSpPr/>
            <p:nvPr/>
          </p:nvSpPr>
          <p:spPr>
            <a:xfrm>
              <a:off x="6000092" y="1418606"/>
              <a:ext cx="84058" cy="286120"/>
            </a:xfrm>
            <a:custGeom>
              <a:avLst/>
              <a:gdLst>
                <a:gd name="connsiteX0" fmla="*/ 51595 w 84058"/>
                <a:gd name="connsiteY0" fmla="*/ 0 h 286120"/>
                <a:gd name="connsiteX1" fmla="*/ 35266 w 84058"/>
                <a:gd name="connsiteY1" fmla="*/ 61674 h 286120"/>
                <a:gd name="connsiteX2" fmla="*/ 28760 w 84058"/>
                <a:gd name="connsiteY2" fmla="*/ 193415 h 286120"/>
                <a:gd name="connsiteX3" fmla="*/ 84059 w 84058"/>
                <a:gd name="connsiteY3" fmla="*/ 286121 h 2861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4058" h="286120">
                  <a:moveTo>
                    <a:pt x="51595" y="0"/>
                  </a:moveTo>
                  <a:cubicBezTo>
                    <a:pt x="37868" y="7872"/>
                    <a:pt x="26028" y="24852"/>
                    <a:pt x="35266" y="61674"/>
                  </a:cubicBezTo>
                  <a:cubicBezTo>
                    <a:pt x="35266" y="61674"/>
                    <a:pt x="-39549" y="126731"/>
                    <a:pt x="28760" y="193415"/>
                  </a:cubicBezTo>
                  <a:cubicBezTo>
                    <a:pt x="28760" y="193415"/>
                    <a:pt x="9243" y="281242"/>
                    <a:pt x="84059" y="286121"/>
                  </a:cubicBezTo>
                </a:path>
              </a:pathLst>
            </a:custGeom>
            <a:noFill/>
            <a:ln w="19050" cap="sq">
              <a:solidFill>
                <a:srgbClr val="184BFF"/>
              </a:solidFill>
              <a:prstDash val="solid"/>
              <a:miter lim="800000"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93" name="Gráfico 32">
              <a:extLst>
                <a:ext uri="{FF2B5EF4-FFF2-40B4-BE49-F238E27FC236}">
                  <a16:creationId xmlns:a16="http://schemas.microsoft.com/office/drawing/2014/main" id="{06DBFEF7-60E8-2C5D-E600-8D42B385F94D}"/>
                </a:ext>
              </a:extLst>
            </p:cNvPr>
            <p:cNvGrpSpPr/>
            <p:nvPr/>
          </p:nvGrpSpPr>
          <p:grpSpPr>
            <a:xfrm>
              <a:off x="6061121" y="1359924"/>
              <a:ext cx="128487" cy="396366"/>
              <a:chOff x="6061121" y="1359924"/>
              <a:chExt cx="128487" cy="396366"/>
            </a:xfrm>
            <a:noFill/>
          </p:grpSpPr>
          <p:sp>
            <p:nvSpPr>
              <p:cNvPr id="108" name="Forma livre: Forma 107">
                <a:extLst>
                  <a:ext uri="{FF2B5EF4-FFF2-40B4-BE49-F238E27FC236}">
                    <a16:creationId xmlns:a16="http://schemas.microsoft.com/office/drawing/2014/main" id="{36BD4249-6E7E-59F1-B0E5-D357DF1F8A03}"/>
                  </a:ext>
                </a:extLst>
              </p:cNvPr>
              <p:cNvSpPr/>
              <p:nvPr/>
            </p:nvSpPr>
            <p:spPr>
              <a:xfrm>
                <a:off x="6083891" y="1359924"/>
                <a:ext cx="105717" cy="396366"/>
              </a:xfrm>
              <a:custGeom>
                <a:avLst/>
                <a:gdLst>
                  <a:gd name="connsiteX0" fmla="*/ 52891 w 105717"/>
                  <a:gd name="connsiteY0" fmla="*/ 105718 h 396366"/>
                  <a:gd name="connsiteX1" fmla="*/ 0 w 105717"/>
                  <a:gd name="connsiteY1" fmla="*/ 52891 h 396366"/>
                  <a:gd name="connsiteX2" fmla="*/ 52891 w 105717"/>
                  <a:gd name="connsiteY2" fmla="*/ 0 h 396366"/>
                  <a:gd name="connsiteX3" fmla="*/ 105718 w 105717"/>
                  <a:gd name="connsiteY3" fmla="*/ 52826 h 396366"/>
                  <a:gd name="connsiteX4" fmla="*/ 105718 w 105717"/>
                  <a:gd name="connsiteY4" fmla="*/ 346884 h 396366"/>
                  <a:gd name="connsiteX5" fmla="*/ 80606 w 105717"/>
                  <a:gd name="connsiteY5" fmla="*/ 388911 h 396366"/>
                  <a:gd name="connsiteX6" fmla="*/ 9238 w 105717"/>
                  <a:gd name="connsiteY6" fmla="*/ 371150 h 396366"/>
                  <a:gd name="connsiteX7" fmla="*/ 15484 w 105717"/>
                  <a:gd name="connsiteY7" fmla="*/ 309216 h 396366"/>
                  <a:gd name="connsiteX8" fmla="*/ 45019 w 105717"/>
                  <a:gd name="connsiteY8" fmla="*/ 277078 h 3963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05717" h="396366">
                    <a:moveTo>
                      <a:pt x="52891" y="105718"/>
                    </a:moveTo>
                    <a:cubicBezTo>
                      <a:pt x="23681" y="105718"/>
                      <a:pt x="0" y="82037"/>
                      <a:pt x="0" y="52891"/>
                    </a:cubicBezTo>
                    <a:cubicBezTo>
                      <a:pt x="0" y="23746"/>
                      <a:pt x="23681" y="0"/>
                      <a:pt x="52891" y="0"/>
                    </a:cubicBezTo>
                    <a:cubicBezTo>
                      <a:pt x="82102" y="0"/>
                      <a:pt x="105718" y="23681"/>
                      <a:pt x="105718" y="52826"/>
                    </a:cubicBezTo>
                    <a:lnTo>
                      <a:pt x="105718" y="346884"/>
                    </a:lnTo>
                    <a:cubicBezTo>
                      <a:pt x="105718" y="364580"/>
                      <a:pt x="96414" y="379413"/>
                      <a:pt x="80606" y="388911"/>
                    </a:cubicBezTo>
                    <a:cubicBezTo>
                      <a:pt x="55949" y="403744"/>
                      <a:pt x="24006" y="395742"/>
                      <a:pt x="9238" y="371150"/>
                    </a:cubicBezTo>
                    <a:cubicBezTo>
                      <a:pt x="-2928" y="350918"/>
                      <a:pt x="260" y="325741"/>
                      <a:pt x="15484" y="309216"/>
                    </a:cubicBezTo>
                    <a:lnTo>
                      <a:pt x="45019" y="277078"/>
                    </a:lnTo>
                  </a:path>
                </a:pathLst>
              </a:custGeom>
              <a:noFill/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09" name="Forma livre: Forma 108">
                <a:extLst>
                  <a:ext uri="{FF2B5EF4-FFF2-40B4-BE49-F238E27FC236}">
                    <a16:creationId xmlns:a16="http://schemas.microsoft.com/office/drawing/2014/main" id="{2EFDAFBC-8096-337D-39E2-CC17963E436D}"/>
                  </a:ext>
                </a:extLst>
              </p:cNvPr>
              <p:cNvSpPr/>
              <p:nvPr/>
            </p:nvSpPr>
            <p:spPr>
              <a:xfrm>
                <a:off x="6144784" y="1383865"/>
                <a:ext cx="41563" cy="38963"/>
              </a:xfrm>
              <a:custGeom>
                <a:avLst/>
                <a:gdLst>
                  <a:gd name="connsiteX0" fmla="*/ 36172 w 41563"/>
                  <a:gd name="connsiteY0" fmla="*/ 0 h 38963"/>
                  <a:gd name="connsiteX1" fmla="*/ 39425 w 41563"/>
                  <a:gd name="connsiteY1" fmla="*/ 24266 h 38963"/>
                  <a:gd name="connsiteX2" fmla="*/ 36432 w 41563"/>
                  <a:gd name="connsiteY2" fmla="*/ 29080 h 38963"/>
                  <a:gd name="connsiteX3" fmla="*/ 0 w 41563"/>
                  <a:gd name="connsiteY3" fmla="*/ 33439 h 389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563" h="38963">
                    <a:moveTo>
                      <a:pt x="36172" y="0"/>
                    </a:moveTo>
                    <a:cubicBezTo>
                      <a:pt x="41571" y="7547"/>
                      <a:pt x="43393" y="16004"/>
                      <a:pt x="39425" y="24266"/>
                    </a:cubicBezTo>
                    <a:cubicBezTo>
                      <a:pt x="38644" y="25893"/>
                      <a:pt x="37603" y="27519"/>
                      <a:pt x="36432" y="29080"/>
                    </a:cubicBezTo>
                    <a:cubicBezTo>
                      <a:pt x="27584" y="40270"/>
                      <a:pt x="11190" y="42287"/>
                      <a:pt x="0" y="33439"/>
                    </a:cubicBezTo>
                  </a:path>
                </a:pathLst>
              </a:custGeom>
              <a:noFill/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10" name="Forma livre: Forma 109">
                <a:extLst>
                  <a:ext uri="{FF2B5EF4-FFF2-40B4-BE49-F238E27FC236}">
                    <a16:creationId xmlns:a16="http://schemas.microsoft.com/office/drawing/2014/main" id="{CEC5AE7C-F627-9D00-D38F-339DF7336FFC}"/>
                  </a:ext>
                </a:extLst>
              </p:cNvPr>
              <p:cNvSpPr/>
              <p:nvPr/>
            </p:nvSpPr>
            <p:spPr>
              <a:xfrm>
                <a:off x="6081487" y="1460806"/>
                <a:ext cx="34217" cy="54474"/>
              </a:xfrm>
              <a:custGeom>
                <a:avLst/>
                <a:gdLst>
                  <a:gd name="connsiteX0" fmla="*/ 21076 w 34217"/>
                  <a:gd name="connsiteY0" fmla="*/ 54475 h 54474"/>
                  <a:gd name="connsiteX1" fmla="*/ 778 w 34217"/>
                  <a:gd name="connsiteY1" fmla="*/ 21035 h 54474"/>
                  <a:gd name="connsiteX2" fmla="*/ 34217 w 34217"/>
                  <a:gd name="connsiteY2" fmla="*/ 803 h 544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4217" h="54474">
                    <a:moveTo>
                      <a:pt x="21076" y="54475"/>
                    </a:moveTo>
                    <a:cubicBezTo>
                      <a:pt x="6308" y="50832"/>
                      <a:pt x="-2800" y="35803"/>
                      <a:pt x="778" y="21035"/>
                    </a:cubicBezTo>
                    <a:cubicBezTo>
                      <a:pt x="4421" y="6267"/>
                      <a:pt x="19449" y="-2841"/>
                      <a:pt x="34217" y="803"/>
                    </a:cubicBezTo>
                  </a:path>
                </a:pathLst>
              </a:custGeom>
              <a:noFill/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11" name="Forma livre: Forma 110">
                <a:extLst>
                  <a:ext uri="{FF2B5EF4-FFF2-40B4-BE49-F238E27FC236}">
                    <a16:creationId xmlns:a16="http://schemas.microsoft.com/office/drawing/2014/main" id="{7C4DEFE6-6A0B-98CE-7F18-50A5A272BF52}"/>
                  </a:ext>
                </a:extLst>
              </p:cNvPr>
              <p:cNvSpPr/>
              <p:nvPr/>
            </p:nvSpPr>
            <p:spPr>
              <a:xfrm>
                <a:off x="6073547" y="1527543"/>
                <a:ext cx="114760" cy="72506"/>
              </a:xfrm>
              <a:custGeom>
                <a:avLst/>
                <a:gdLst>
                  <a:gd name="connsiteX0" fmla="*/ 114760 w 114760"/>
                  <a:gd name="connsiteY0" fmla="*/ 7254 h 72506"/>
                  <a:gd name="connsiteX1" fmla="*/ 73905 w 114760"/>
                  <a:gd name="connsiteY1" fmla="*/ 8881 h 72506"/>
                  <a:gd name="connsiteX2" fmla="*/ 0 w 114760"/>
                  <a:gd name="connsiteY2" fmla="*/ 72506 h 725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14760" h="72506">
                    <a:moveTo>
                      <a:pt x="114760" y="7254"/>
                    </a:moveTo>
                    <a:cubicBezTo>
                      <a:pt x="103375" y="-2830"/>
                      <a:pt x="83989" y="-2504"/>
                      <a:pt x="73905" y="8881"/>
                    </a:cubicBezTo>
                    <a:cubicBezTo>
                      <a:pt x="73905" y="8881"/>
                      <a:pt x="31488" y="72506"/>
                      <a:pt x="0" y="72506"/>
                    </a:cubicBezTo>
                  </a:path>
                </a:pathLst>
              </a:custGeom>
              <a:noFill/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12" name="Forma livre: Forma 111">
                <a:extLst>
                  <a:ext uri="{FF2B5EF4-FFF2-40B4-BE49-F238E27FC236}">
                    <a16:creationId xmlns:a16="http://schemas.microsoft.com/office/drawing/2014/main" id="{14ECBE38-F561-507D-4293-5C2A9E9FBA88}"/>
                  </a:ext>
                </a:extLst>
              </p:cNvPr>
              <p:cNvSpPr/>
              <p:nvPr/>
            </p:nvSpPr>
            <p:spPr>
              <a:xfrm>
                <a:off x="6079857" y="1646956"/>
                <a:ext cx="29405" cy="9823"/>
              </a:xfrm>
              <a:custGeom>
                <a:avLst/>
                <a:gdLst>
                  <a:gd name="connsiteX0" fmla="*/ 0 w 29405"/>
                  <a:gd name="connsiteY0" fmla="*/ 0 h 9823"/>
                  <a:gd name="connsiteX1" fmla="*/ 29406 w 29405"/>
                  <a:gd name="connsiteY1" fmla="*/ 9824 h 98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9405" h="9823">
                    <a:moveTo>
                      <a:pt x="0" y="0"/>
                    </a:moveTo>
                    <a:lnTo>
                      <a:pt x="29406" y="9824"/>
                    </a:lnTo>
                  </a:path>
                </a:pathLst>
              </a:custGeom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13" name="Forma livre: Forma 112">
                <a:extLst>
                  <a:ext uri="{FF2B5EF4-FFF2-40B4-BE49-F238E27FC236}">
                    <a16:creationId xmlns:a16="http://schemas.microsoft.com/office/drawing/2014/main" id="{7A415D96-4BE1-DE45-46D0-220196C09606}"/>
                  </a:ext>
                </a:extLst>
              </p:cNvPr>
              <p:cNvSpPr/>
              <p:nvPr/>
            </p:nvSpPr>
            <p:spPr>
              <a:xfrm>
                <a:off x="6061121" y="1545272"/>
                <a:ext cx="47166" cy="34154"/>
              </a:xfrm>
              <a:custGeom>
                <a:avLst/>
                <a:gdLst>
                  <a:gd name="connsiteX0" fmla="*/ 0 w 47166"/>
                  <a:gd name="connsiteY0" fmla="*/ 0 h 34154"/>
                  <a:gd name="connsiteX1" fmla="*/ 47166 w 47166"/>
                  <a:gd name="connsiteY1" fmla="*/ 34155 h 341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166" h="34154">
                    <a:moveTo>
                      <a:pt x="0" y="0"/>
                    </a:moveTo>
                    <a:cubicBezTo>
                      <a:pt x="0" y="0"/>
                      <a:pt x="27649" y="13011"/>
                      <a:pt x="47166" y="34155"/>
                    </a:cubicBezTo>
                  </a:path>
                </a:pathLst>
              </a:custGeom>
              <a:noFill/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94" name="Gráfico 32">
              <a:extLst>
                <a:ext uri="{FF2B5EF4-FFF2-40B4-BE49-F238E27FC236}">
                  <a16:creationId xmlns:a16="http://schemas.microsoft.com/office/drawing/2014/main" id="{B6533D55-95C8-EED8-7FF4-F633856E1CF6}"/>
                </a:ext>
              </a:extLst>
            </p:cNvPr>
            <p:cNvGrpSpPr/>
            <p:nvPr/>
          </p:nvGrpSpPr>
          <p:grpSpPr>
            <a:xfrm>
              <a:off x="6191625" y="1599725"/>
              <a:ext cx="173767" cy="157112"/>
              <a:chOff x="6191625" y="1599725"/>
              <a:chExt cx="173767" cy="157112"/>
            </a:xfrm>
            <a:noFill/>
          </p:grpSpPr>
          <p:sp>
            <p:nvSpPr>
              <p:cNvPr id="104" name="Forma livre: Forma 103">
                <a:extLst>
                  <a:ext uri="{FF2B5EF4-FFF2-40B4-BE49-F238E27FC236}">
                    <a16:creationId xmlns:a16="http://schemas.microsoft.com/office/drawing/2014/main" id="{6A53814D-ED3B-E291-6143-CA9EDFD88AE8}"/>
                  </a:ext>
                </a:extLst>
              </p:cNvPr>
              <p:cNvSpPr/>
              <p:nvPr/>
            </p:nvSpPr>
            <p:spPr>
              <a:xfrm>
                <a:off x="6310094" y="1621974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05" name="Forma livre: Forma 104">
                <a:extLst>
                  <a:ext uri="{FF2B5EF4-FFF2-40B4-BE49-F238E27FC236}">
                    <a16:creationId xmlns:a16="http://schemas.microsoft.com/office/drawing/2014/main" id="{DC0CF6C1-59D5-120D-EF4E-5D3F85B7CB63}"/>
                  </a:ext>
                </a:extLst>
              </p:cNvPr>
              <p:cNvSpPr/>
              <p:nvPr/>
            </p:nvSpPr>
            <p:spPr>
              <a:xfrm>
                <a:off x="6191625" y="1599725"/>
                <a:ext cx="118078" cy="49898"/>
              </a:xfrm>
              <a:custGeom>
                <a:avLst/>
                <a:gdLst>
                  <a:gd name="connsiteX0" fmla="*/ 0 w 118078"/>
                  <a:gd name="connsiteY0" fmla="*/ 0 h 49898"/>
                  <a:gd name="connsiteX1" fmla="*/ 37343 w 118078"/>
                  <a:gd name="connsiteY1" fmla="*/ 0 h 49898"/>
                  <a:gd name="connsiteX2" fmla="*/ 87176 w 118078"/>
                  <a:gd name="connsiteY2" fmla="*/ 49899 h 49898"/>
                  <a:gd name="connsiteX3" fmla="*/ 118078 w 118078"/>
                  <a:gd name="connsiteY3" fmla="*/ 49899 h 49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8078" h="49898">
                    <a:moveTo>
                      <a:pt x="0" y="0"/>
                    </a:moveTo>
                    <a:lnTo>
                      <a:pt x="37343" y="0"/>
                    </a:lnTo>
                    <a:lnTo>
                      <a:pt x="87176" y="49899"/>
                    </a:lnTo>
                    <a:lnTo>
                      <a:pt x="118078" y="49899"/>
                    </a:lnTo>
                  </a:path>
                </a:pathLst>
              </a:custGeom>
              <a:noFill/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06" name="Forma livre: Forma 105">
                <a:extLst>
                  <a:ext uri="{FF2B5EF4-FFF2-40B4-BE49-F238E27FC236}">
                    <a16:creationId xmlns:a16="http://schemas.microsoft.com/office/drawing/2014/main" id="{5ABCE798-66A3-BEB2-9A59-599622AF003B}"/>
                  </a:ext>
                </a:extLst>
              </p:cNvPr>
              <p:cNvSpPr/>
              <p:nvPr/>
            </p:nvSpPr>
            <p:spPr>
              <a:xfrm>
                <a:off x="6191625" y="1665367"/>
                <a:ext cx="81906" cy="44108"/>
              </a:xfrm>
              <a:custGeom>
                <a:avLst/>
                <a:gdLst>
                  <a:gd name="connsiteX0" fmla="*/ 0 w 81906"/>
                  <a:gd name="connsiteY0" fmla="*/ 0 h 44108"/>
                  <a:gd name="connsiteX1" fmla="*/ 37343 w 81906"/>
                  <a:gd name="connsiteY1" fmla="*/ 0 h 44108"/>
                  <a:gd name="connsiteX2" fmla="*/ 81907 w 81906"/>
                  <a:gd name="connsiteY2" fmla="*/ 44109 h 441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1906" h="44108">
                    <a:moveTo>
                      <a:pt x="0" y="0"/>
                    </a:moveTo>
                    <a:lnTo>
                      <a:pt x="37343" y="0"/>
                    </a:lnTo>
                    <a:lnTo>
                      <a:pt x="81907" y="44109"/>
                    </a:lnTo>
                  </a:path>
                </a:pathLst>
              </a:custGeom>
              <a:noFill/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07" name="Forma livre: Forma 106">
                <a:extLst>
                  <a:ext uri="{FF2B5EF4-FFF2-40B4-BE49-F238E27FC236}">
                    <a16:creationId xmlns:a16="http://schemas.microsoft.com/office/drawing/2014/main" id="{68FBCE60-069F-FA79-B185-1D158AD73C0B}"/>
                  </a:ext>
                </a:extLst>
              </p:cNvPr>
              <p:cNvSpPr/>
              <p:nvPr/>
            </p:nvSpPr>
            <p:spPr>
              <a:xfrm>
                <a:off x="6265075" y="1701539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95" name="Gráfico 32">
              <a:extLst>
                <a:ext uri="{FF2B5EF4-FFF2-40B4-BE49-F238E27FC236}">
                  <a16:creationId xmlns:a16="http://schemas.microsoft.com/office/drawing/2014/main" id="{C4AC1606-4A68-46AE-F7C8-C1AAFCE8F5AC}"/>
                </a:ext>
              </a:extLst>
            </p:cNvPr>
            <p:cNvGrpSpPr/>
            <p:nvPr/>
          </p:nvGrpSpPr>
          <p:grpSpPr>
            <a:xfrm>
              <a:off x="6191625" y="1357908"/>
              <a:ext cx="173767" cy="157112"/>
              <a:chOff x="6191625" y="1357908"/>
              <a:chExt cx="173767" cy="157112"/>
            </a:xfrm>
            <a:noFill/>
          </p:grpSpPr>
          <p:sp>
            <p:nvSpPr>
              <p:cNvPr id="100" name="Forma livre: Forma 99">
                <a:extLst>
                  <a:ext uri="{FF2B5EF4-FFF2-40B4-BE49-F238E27FC236}">
                    <a16:creationId xmlns:a16="http://schemas.microsoft.com/office/drawing/2014/main" id="{3ACCE7EB-EBFB-D283-81B4-AA8D5EA0ED99}"/>
                  </a:ext>
                </a:extLst>
              </p:cNvPr>
              <p:cNvSpPr/>
              <p:nvPr/>
            </p:nvSpPr>
            <p:spPr>
              <a:xfrm>
                <a:off x="6310094" y="1437472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0 h 55298"/>
                  <a:gd name="connsiteX2" fmla="*/ 0 w 55298"/>
                  <a:gd name="connsiteY2" fmla="*/ 27649 h 55298"/>
                  <a:gd name="connsiteX3" fmla="*/ 27649 w 55298"/>
                  <a:gd name="connsiteY3" fmla="*/ 55298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12361"/>
                      <a:pt x="42938" y="0"/>
                      <a:pt x="27649" y="0"/>
                    </a:cubicBezTo>
                    <a:cubicBezTo>
                      <a:pt x="12361" y="0"/>
                      <a:pt x="0" y="12361"/>
                      <a:pt x="0" y="27649"/>
                    </a:cubicBezTo>
                    <a:cubicBezTo>
                      <a:pt x="0" y="42938"/>
                      <a:pt x="12361" y="55298"/>
                      <a:pt x="27649" y="55298"/>
                    </a:cubicBezTo>
                    <a:cubicBezTo>
                      <a:pt x="42938" y="55298"/>
                      <a:pt x="55298" y="42938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01" name="Forma livre: Forma 100">
                <a:extLst>
                  <a:ext uri="{FF2B5EF4-FFF2-40B4-BE49-F238E27FC236}">
                    <a16:creationId xmlns:a16="http://schemas.microsoft.com/office/drawing/2014/main" id="{05DE81FE-6974-6D55-66C4-58A2C0E4FA62}"/>
                  </a:ext>
                </a:extLst>
              </p:cNvPr>
              <p:cNvSpPr/>
              <p:nvPr/>
            </p:nvSpPr>
            <p:spPr>
              <a:xfrm>
                <a:off x="6191625" y="1465122"/>
                <a:ext cx="118468" cy="49898"/>
              </a:xfrm>
              <a:custGeom>
                <a:avLst/>
                <a:gdLst>
                  <a:gd name="connsiteX0" fmla="*/ 0 w 118468"/>
                  <a:gd name="connsiteY0" fmla="*/ 49899 h 49898"/>
                  <a:gd name="connsiteX1" fmla="*/ 37343 w 118468"/>
                  <a:gd name="connsiteY1" fmla="*/ 49899 h 49898"/>
                  <a:gd name="connsiteX2" fmla="*/ 87176 w 118468"/>
                  <a:gd name="connsiteY2" fmla="*/ 0 h 49898"/>
                  <a:gd name="connsiteX3" fmla="*/ 118469 w 118468"/>
                  <a:gd name="connsiteY3" fmla="*/ 0 h 49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8468" h="49898">
                    <a:moveTo>
                      <a:pt x="0" y="49899"/>
                    </a:moveTo>
                    <a:lnTo>
                      <a:pt x="37343" y="49899"/>
                    </a:lnTo>
                    <a:lnTo>
                      <a:pt x="87176" y="0"/>
                    </a:lnTo>
                    <a:lnTo>
                      <a:pt x="118469" y="0"/>
                    </a:lnTo>
                  </a:path>
                </a:pathLst>
              </a:custGeom>
              <a:noFill/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02" name="Forma livre: Forma 101">
                <a:extLst>
                  <a:ext uri="{FF2B5EF4-FFF2-40B4-BE49-F238E27FC236}">
                    <a16:creationId xmlns:a16="http://schemas.microsoft.com/office/drawing/2014/main" id="{0703FE6F-9931-4909-687E-80B28C22E05C}"/>
                  </a:ext>
                </a:extLst>
              </p:cNvPr>
              <p:cNvSpPr/>
              <p:nvPr/>
            </p:nvSpPr>
            <p:spPr>
              <a:xfrm>
                <a:off x="6191625" y="1405269"/>
                <a:ext cx="81451" cy="44043"/>
              </a:xfrm>
              <a:custGeom>
                <a:avLst/>
                <a:gdLst>
                  <a:gd name="connsiteX0" fmla="*/ 0 w 81451"/>
                  <a:gd name="connsiteY0" fmla="*/ 44044 h 44043"/>
                  <a:gd name="connsiteX1" fmla="*/ 37343 w 81451"/>
                  <a:gd name="connsiteY1" fmla="*/ 44044 h 44043"/>
                  <a:gd name="connsiteX2" fmla="*/ 81451 w 81451"/>
                  <a:gd name="connsiteY2" fmla="*/ 0 h 440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1451" h="44043">
                    <a:moveTo>
                      <a:pt x="0" y="44044"/>
                    </a:moveTo>
                    <a:lnTo>
                      <a:pt x="37343" y="44044"/>
                    </a:lnTo>
                    <a:lnTo>
                      <a:pt x="81451" y="0"/>
                    </a:lnTo>
                  </a:path>
                </a:pathLst>
              </a:custGeom>
              <a:noFill/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03" name="Forma livre: Forma 102">
                <a:extLst>
                  <a:ext uri="{FF2B5EF4-FFF2-40B4-BE49-F238E27FC236}">
                    <a16:creationId xmlns:a16="http://schemas.microsoft.com/office/drawing/2014/main" id="{FA59AC58-7835-2E15-EDDC-4E80748D56C4}"/>
                  </a:ext>
                </a:extLst>
              </p:cNvPr>
              <p:cNvSpPr/>
              <p:nvPr/>
            </p:nvSpPr>
            <p:spPr>
              <a:xfrm>
                <a:off x="6265075" y="1357908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0 h 55298"/>
                  <a:gd name="connsiteX2" fmla="*/ 0 w 55298"/>
                  <a:gd name="connsiteY2" fmla="*/ 27649 h 55298"/>
                  <a:gd name="connsiteX3" fmla="*/ 27649 w 55298"/>
                  <a:gd name="connsiteY3" fmla="*/ 55298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12361"/>
                      <a:pt x="42938" y="0"/>
                      <a:pt x="27649" y="0"/>
                    </a:cubicBezTo>
                    <a:cubicBezTo>
                      <a:pt x="12361" y="0"/>
                      <a:pt x="0" y="12361"/>
                      <a:pt x="0" y="27649"/>
                    </a:cubicBezTo>
                    <a:cubicBezTo>
                      <a:pt x="0" y="42938"/>
                      <a:pt x="12361" y="55298"/>
                      <a:pt x="27649" y="55298"/>
                    </a:cubicBezTo>
                    <a:cubicBezTo>
                      <a:pt x="42938" y="55298"/>
                      <a:pt x="55298" y="42938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96" name="Gráfico 32">
              <a:extLst>
                <a:ext uri="{FF2B5EF4-FFF2-40B4-BE49-F238E27FC236}">
                  <a16:creationId xmlns:a16="http://schemas.microsoft.com/office/drawing/2014/main" id="{D6547C59-75A4-AAD4-A31B-9594B7213364}"/>
                </a:ext>
              </a:extLst>
            </p:cNvPr>
            <p:cNvGrpSpPr/>
            <p:nvPr/>
          </p:nvGrpSpPr>
          <p:grpSpPr>
            <a:xfrm>
              <a:off x="6190910" y="1529723"/>
              <a:ext cx="123673" cy="55298"/>
              <a:chOff x="6190910" y="1529723"/>
              <a:chExt cx="123673" cy="55298"/>
            </a:xfrm>
            <a:noFill/>
          </p:grpSpPr>
          <p:sp>
            <p:nvSpPr>
              <p:cNvPr id="98" name="Forma livre: Forma 97">
                <a:extLst>
                  <a:ext uri="{FF2B5EF4-FFF2-40B4-BE49-F238E27FC236}">
                    <a16:creationId xmlns:a16="http://schemas.microsoft.com/office/drawing/2014/main" id="{17356A68-2781-7906-F8D9-624956EABA3C}"/>
                  </a:ext>
                </a:extLst>
              </p:cNvPr>
              <p:cNvSpPr/>
              <p:nvPr/>
            </p:nvSpPr>
            <p:spPr>
              <a:xfrm>
                <a:off x="6190910" y="1557372"/>
                <a:ext cx="68765" cy="6505"/>
              </a:xfrm>
              <a:custGeom>
                <a:avLst/>
                <a:gdLst>
                  <a:gd name="connsiteX0" fmla="*/ 0 w 68765"/>
                  <a:gd name="connsiteY0" fmla="*/ 0 h 6505"/>
                  <a:gd name="connsiteX1" fmla="*/ 68765 w 68765"/>
                  <a:gd name="connsiteY1" fmla="*/ 0 h 65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8765" h="6505">
                    <a:moveTo>
                      <a:pt x="0" y="0"/>
                    </a:moveTo>
                    <a:lnTo>
                      <a:pt x="68765" y="0"/>
                    </a:lnTo>
                  </a:path>
                </a:pathLst>
              </a:custGeom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9" name="Forma livre: Forma 98">
                <a:extLst>
                  <a:ext uri="{FF2B5EF4-FFF2-40B4-BE49-F238E27FC236}">
                    <a16:creationId xmlns:a16="http://schemas.microsoft.com/office/drawing/2014/main" id="{365B6F6C-D11C-34A9-F2A8-13626C37B2FC}"/>
                  </a:ext>
                </a:extLst>
              </p:cNvPr>
              <p:cNvSpPr/>
              <p:nvPr/>
            </p:nvSpPr>
            <p:spPr>
              <a:xfrm>
                <a:off x="6259285" y="1529723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97" name="Forma livre: Forma 96">
              <a:extLst>
                <a:ext uri="{FF2B5EF4-FFF2-40B4-BE49-F238E27FC236}">
                  <a16:creationId xmlns:a16="http://schemas.microsoft.com/office/drawing/2014/main" id="{7586BD8C-58A8-F65D-BAA6-9C30C413E849}"/>
                </a:ext>
              </a:extLst>
            </p:cNvPr>
            <p:cNvSpPr/>
            <p:nvPr/>
          </p:nvSpPr>
          <p:spPr>
            <a:xfrm>
              <a:off x="6152201" y="1686285"/>
              <a:ext cx="37362" cy="20848"/>
            </a:xfrm>
            <a:custGeom>
              <a:avLst/>
              <a:gdLst>
                <a:gd name="connsiteX0" fmla="*/ 0 w 37362"/>
                <a:gd name="connsiteY0" fmla="*/ 10505 h 20848"/>
                <a:gd name="connsiteX1" fmla="*/ 27064 w 37362"/>
                <a:gd name="connsiteY1" fmla="*/ 2373 h 20848"/>
                <a:gd name="connsiteX2" fmla="*/ 37343 w 37362"/>
                <a:gd name="connsiteY2" fmla="*/ 20849 h 20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7362" h="20848">
                  <a:moveTo>
                    <a:pt x="0" y="10505"/>
                  </a:moveTo>
                  <a:cubicBezTo>
                    <a:pt x="5205" y="811"/>
                    <a:pt x="17435" y="-2832"/>
                    <a:pt x="27064" y="2373"/>
                  </a:cubicBezTo>
                  <a:cubicBezTo>
                    <a:pt x="34025" y="6081"/>
                    <a:pt x="37668" y="13432"/>
                    <a:pt x="37343" y="20849"/>
                  </a:cubicBezTo>
                </a:path>
              </a:pathLst>
            </a:custGeom>
            <a:noFill/>
            <a:ln w="19050" cap="sq">
              <a:solidFill>
                <a:srgbClr val="184BFF"/>
              </a:solidFill>
              <a:prstDash val="solid"/>
              <a:miter lim="800000"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14" name="Agrupar 113">
            <a:extLst>
              <a:ext uri="{FF2B5EF4-FFF2-40B4-BE49-F238E27FC236}">
                <a16:creationId xmlns:a16="http://schemas.microsoft.com/office/drawing/2014/main" id="{7CD6688D-A44F-9B71-D5C4-4D95BB426157}"/>
              </a:ext>
            </a:extLst>
          </p:cNvPr>
          <p:cNvGrpSpPr/>
          <p:nvPr/>
        </p:nvGrpSpPr>
        <p:grpSpPr>
          <a:xfrm>
            <a:off x="10724980" y="2932112"/>
            <a:ext cx="325297" cy="355243"/>
            <a:chOff x="6000092" y="1357908"/>
            <a:chExt cx="365300" cy="398929"/>
          </a:xfrm>
        </p:grpSpPr>
        <p:sp>
          <p:nvSpPr>
            <p:cNvPr id="115" name="Forma livre: Forma 114">
              <a:extLst>
                <a:ext uri="{FF2B5EF4-FFF2-40B4-BE49-F238E27FC236}">
                  <a16:creationId xmlns:a16="http://schemas.microsoft.com/office/drawing/2014/main" id="{CAEB1C80-CBB5-7401-A2A7-C8A431E6CBE9}"/>
                </a:ext>
              </a:extLst>
            </p:cNvPr>
            <p:cNvSpPr/>
            <p:nvPr/>
          </p:nvSpPr>
          <p:spPr>
            <a:xfrm>
              <a:off x="6000092" y="1418606"/>
              <a:ext cx="84058" cy="286120"/>
            </a:xfrm>
            <a:custGeom>
              <a:avLst/>
              <a:gdLst>
                <a:gd name="connsiteX0" fmla="*/ 51595 w 84058"/>
                <a:gd name="connsiteY0" fmla="*/ 0 h 286120"/>
                <a:gd name="connsiteX1" fmla="*/ 35266 w 84058"/>
                <a:gd name="connsiteY1" fmla="*/ 61674 h 286120"/>
                <a:gd name="connsiteX2" fmla="*/ 28760 w 84058"/>
                <a:gd name="connsiteY2" fmla="*/ 193415 h 286120"/>
                <a:gd name="connsiteX3" fmla="*/ 84059 w 84058"/>
                <a:gd name="connsiteY3" fmla="*/ 286121 h 2861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4058" h="286120">
                  <a:moveTo>
                    <a:pt x="51595" y="0"/>
                  </a:moveTo>
                  <a:cubicBezTo>
                    <a:pt x="37868" y="7872"/>
                    <a:pt x="26028" y="24852"/>
                    <a:pt x="35266" y="61674"/>
                  </a:cubicBezTo>
                  <a:cubicBezTo>
                    <a:pt x="35266" y="61674"/>
                    <a:pt x="-39549" y="126731"/>
                    <a:pt x="28760" y="193415"/>
                  </a:cubicBezTo>
                  <a:cubicBezTo>
                    <a:pt x="28760" y="193415"/>
                    <a:pt x="9243" y="281242"/>
                    <a:pt x="84059" y="286121"/>
                  </a:cubicBezTo>
                </a:path>
              </a:pathLst>
            </a:custGeom>
            <a:noFill/>
            <a:ln w="19050" cap="sq">
              <a:solidFill>
                <a:srgbClr val="184BFF"/>
              </a:solidFill>
              <a:prstDash val="solid"/>
              <a:miter lim="800000"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16" name="Gráfico 32">
              <a:extLst>
                <a:ext uri="{FF2B5EF4-FFF2-40B4-BE49-F238E27FC236}">
                  <a16:creationId xmlns:a16="http://schemas.microsoft.com/office/drawing/2014/main" id="{BB1634BA-00F6-4BDC-A6E5-F435F184087D}"/>
                </a:ext>
              </a:extLst>
            </p:cNvPr>
            <p:cNvGrpSpPr/>
            <p:nvPr/>
          </p:nvGrpSpPr>
          <p:grpSpPr>
            <a:xfrm>
              <a:off x="6061121" y="1359924"/>
              <a:ext cx="128487" cy="396366"/>
              <a:chOff x="6061121" y="1359924"/>
              <a:chExt cx="128487" cy="396366"/>
            </a:xfrm>
            <a:noFill/>
          </p:grpSpPr>
          <p:sp>
            <p:nvSpPr>
              <p:cNvPr id="131" name="Forma livre: Forma 130">
                <a:extLst>
                  <a:ext uri="{FF2B5EF4-FFF2-40B4-BE49-F238E27FC236}">
                    <a16:creationId xmlns:a16="http://schemas.microsoft.com/office/drawing/2014/main" id="{78EC2F22-3995-3150-A24F-AD8EB88699F0}"/>
                  </a:ext>
                </a:extLst>
              </p:cNvPr>
              <p:cNvSpPr/>
              <p:nvPr/>
            </p:nvSpPr>
            <p:spPr>
              <a:xfrm>
                <a:off x="6083891" y="1359924"/>
                <a:ext cx="105717" cy="396366"/>
              </a:xfrm>
              <a:custGeom>
                <a:avLst/>
                <a:gdLst>
                  <a:gd name="connsiteX0" fmla="*/ 52891 w 105717"/>
                  <a:gd name="connsiteY0" fmla="*/ 105718 h 396366"/>
                  <a:gd name="connsiteX1" fmla="*/ 0 w 105717"/>
                  <a:gd name="connsiteY1" fmla="*/ 52891 h 396366"/>
                  <a:gd name="connsiteX2" fmla="*/ 52891 w 105717"/>
                  <a:gd name="connsiteY2" fmla="*/ 0 h 396366"/>
                  <a:gd name="connsiteX3" fmla="*/ 105718 w 105717"/>
                  <a:gd name="connsiteY3" fmla="*/ 52826 h 396366"/>
                  <a:gd name="connsiteX4" fmla="*/ 105718 w 105717"/>
                  <a:gd name="connsiteY4" fmla="*/ 346884 h 396366"/>
                  <a:gd name="connsiteX5" fmla="*/ 80606 w 105717"/>
                  <a:gd name="connsiteY5" fmla="*/ 388911 h 396366"/>
                  <a:gd name="connsiteX6" fmla="*/ 9238 w 105717"/>
                  <a:gd name="connsiteY6" fmla="*/ 371150 h 396366"/>
                  <a:gd name="connsiteX7" fmla="*/ 15484 w 105717"/>
                  <a:gd name="connsiteY7" fmla="*/ 309216 h 396366"/>
                  <a:gd name="connsiteX8" fmla="*/ 45019 w 105717"/>
                  <a:gd name="connsiteY8" fmla="*/ 277078 h 3963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05717" h="396366">
                    <a:moveTo>
                      <a:pt x="52891" y="105718"/>
                    </a:moveTo>
                    <a:cubicBezTo>
                      <a:pt x="23681" y="105718"/>
                      <a:pt x="0" y="82037"/>
                      <a:pt x="0" y="52891"/>
                    </a:cubicBezTo>
                    <a:cubicBezTo>
                      <a:pt x="0" y="23746"/>
                      <a:pt x="23681" y="0"/>
                      <a:pt x="52891" y="0"/>
                    </a:cubicBezTo>
                    <a:cubicBezTo>
                      <a:pt x="82102" y="0"/>
                      <a:pt x="105718" y="23681"/>
                      <a:pt x="105718" y="52826"/>
                    </a:cubicBezTo>
                    <a:lnTo>
                      <a:pt x="105718" y="346884"/>
                    </a:lnTo>
                    <a:cubicBezTo>
                      <a:pt x="105718" y="364580"/>
                      <a:pt x="96414" y="379413"/>
                      <a:pt x="80606" y="388911"/>
                    </a:cubicBezTo>
                    <a:cubicBezTo>
                      <a:pt x="55949" y="403744"/>
                      <a:pt x="24006" y="395742"/>
                      <a:pt x="9238" y="371150"/>
                    </a:cubicBezTo>
                    <a:cubicBezTo>
                      <a:pt x="-2928" y="350918"/>
                      <a:pt x="260" y="325741"/>
                      <a:pt x="15484" y="309216"/>
                    </a:cubicBezTo>
                    <a:lnTo>
                      <a:pt x="45019" y="277078"/>
                    </a:lnTo>
                  </a:path>
                </a:pathLst>
              </a:custGeom>
              <a:noFill/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32" name="Forma livre: Forma 131">
                <a:extLst>
                  <a:ext uri="{FF2B5EF4-FFF2-40B4-BE49-F238E27FC236}">
                    <a16:creationId xmlns:a16="http://schemas.microsoft.com/office/drawing/2014/main" id="{94BB525A-FFC7-C163-8944-5895A64A9982}"/>
                  </a:ext>
                </a:extLst>
              </p:cNvPr>
              <p:cNvSpPr/>
              <p:nvPr/>
            </p:nvSpPr>
            <p:spPr>
              <a:xfrm>
                <a:off x="6144784" y="1383865"/>
                <a:ext cx="41563" cy="38963"/>
              </a:xfrm>
              <a:custGeom>
                <a:avLst/>
                <a:gdLst>
                  <a:gd name="connsiteX0" fmla="*/ 36172 w 41563"/>
                  <a:gd name="connsiteY0" fmla="*/ 0 h 38963"/>
                  <a:gd name="connsiteX1" fmla="*/ 39425 w 41563"/>
                  <a:gd name="connsiteY1" fmla="*/ 24266 h 38963"/>
                  <a:gd name="connsiteX2" fmla="*/ 36432 w 41563"/>
                  <a:gd name="connsiteY2" fmla="*/ 29080 h 38963"/>
                  <a:gd name="connsiteX3" fmla="*/ 0 w 41563"/>
                  <a:gd name="connsiteY3" fmla="*/ 33439 h 389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563" h="38963">
                    <a:moveTo>
                      <a:pt x="36172" y="0"/>
                    </a:moveTo>
                    <a:cubicBezTo>
                      <a:pt x="41571" y="7547"/>
                      <a:pt x="43393" y="16004"/>
                      <a:pt x="39425" y="24266"/>
                    </a:cubicBezTo>
                    <a:cubicBezTo>
                      <a:pt x="38644" y="25893"/>
                      <a:pt x="37603" y="27519"/>
                      <a:pt x="36432" y="29080"/>
                    </a:cubicBezTo>
                    <a:cubicBezTo>
                      <a:pt x="27584" y="40270"/>
                      <a:pt x="11190" y="42287"/>
                      <a:pt x="0" y="33439"/>
                    </a:cubicBezTo>
                  </a:path>
                </a:pathLst>
              </a:custGeom>
              <a:noFill/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33" name="Forma livre: Forma 132">
                <a:extLst>
                  <a:ext uri="{FF2B5EF4-FFF2-40B4-BE49-F238E27FC236}">
                    <a16:creationId xmlns:a16="http://schemas.microsoft.com/office/drawing/2014/main" id="{40B0F895-CF5A-2187-3642-6E38A3B45B81}"/>
                  </a:ext>
                </a:extLst>
              </p:cNvPr>
              <p:cNvSpPr/>
              <p:nvPr/>
            </p:nvSpPr>
            <p:spPr>
              <a:xfrm>
                <a:off x="6081487" y="1460806"/>
                <a:ext cx="34217" cy="54474"/>
              </a:xfrm>
              <a:custGeom>
                <a:avLst/>
                <a:gdLst>
                  <a:gd name="connsiteX0" fmla="*/ 21076 w 34217"/>
                  <a:gd name="connsiteY0" fmla="*/ 54475 h 54474"/>
                  <a:gd name="connsiteX1" fmla="*/ 778 w 34217"/>
                  <a:gd name="connsiteY1" fmla="*/ 21035 h 54474"/>
                  <a:gd name="connsiteX2" fmla="*/ 34217 w 34217"/>
                  <a:gd name="connsiteY2" fmla="*/ 803 h 544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4217" h="54474">
                    <a:moveTo>
                      <a:pt x="21076" y="54475"/>
                    </a:moveTo>
                    <a:cubicBezTo>
                      <a:pt x="6308" y="50832"/>
                      <a:pt x="-2800" y="35803"/>
                      <a:pt x="778" y="21035"/>
                    </a:cubicBezTo>
                    <a:cubicBezTo>
                      <a:pt x="4421" y="6267"/>
                      <a:pt x="19449" y="-2841"/>
                      <a:pt x="34217" y="803"/>
                    </a:cubicBezTo>
                  </a:path>
                </a:pathLst>
              </a:custGeom>
              <a:noFill/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34" name="Forma livre: Forma 133">
                <a:extLst>
                  <a:ext uri="{FF2B5EF4-FFF2-40B4-BE49-F238E27FC236}">
                    <a16:creationId xmlns:a16="http://schemas.microsoft.com/office/drawing/2014/main" id="{C3DD9CFD-202D-E3C8-558A-D2ACCA5B08B1}"/>
                  </a:ext>
                </a:extLst>
              </p:cNvPr>
              <p:cNvSpPr/>
              <p:nvPr/>
            </p:nvSpPr>
            <p:spPr>
              <a:xfrm>
                <a:off x="6073547" y="1527543"/>
                <a:ext cx="114760" cy="72506"/>
              </a:xfrm>
              <a:custGeom>
                <a:avLst/>
                <a:gdLst>
                  <a:gd name="connsiteX0" fmla="*/ 114760 w 114760"/>
                  <a:gd name="connsiteY0" fmla="*/ 7254 h 72506"/>
                  <a:gd name="connsiteX1" fmla="*/ 73905 w 114760"/>
                  <a:gd name="connsiteY1" fmla="*/ 8881 h 72506"/>
                  <a:gd name="connsiteX2" fmla="*/ 0 w 114760"/>
                  <a:gd name="connsiteY2" fmla="*/ 72506 h 725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14760" h="72506">
                    <a:moveTo>
                      <a:pt x="114760" y="7254"/>
                    </a:moveTo>
                    <a:cubicBezTo>
                      <a:pt x="103375" y="-2830"/>
                      <a:pt x="83989" y="-2504"/>
                      <a:pt x="73905" y="8881"/>
                    </a:cubicBezTo>
                    <a:cubicBezTo>
                      <a:pt x="73905" y="8881"/>
                      <a:pt x="31488" y="72506"/>
                      <a:pt x="0" y="72506"/>
                    </a:cubicBezTo>
                  </a:path>
                </a:pathLst>
              </a:custGeom>
              <a:noFill/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35" name="Forma livre: Forma 134">
                <a:extLst>
                  <a:ext uri="{FF2B5EF4-FFF2-40B4-BE49-F238E27FC236}">
                    <a16:creationId xmlns:a16="http://schemas.microsoft.com/office/drawing/2014/main" id="{6042DB6F-9AA5-5169-6BDD-46A310BF368C}"/>
                  </a:ext>
                </a:extLst>
              </p:cNvPr>
              <p:cNvSpPr/>
              <p:nvPr/>
            </p:nvSpPr>
            <p:spPr>
              <a:xfrm>
                <a:off x="6079857" y="1646956"/>
                <a:ext cx="29405" cy="9823"/>
              </a:xfrm>
              <a:custGeom>
                <a:avLst/>
                <a:gdLst>
                  <a:gd name="connsiteX0" fmla="*/ 0 w 29405"/>
                  <a:gd name="connsiteY0" fmla="*/ 0 h 9823"/>
                  <a:gd name="connsiteX1" fmla="*/ 29406 w 29405"/>
                  <a:gd name="connsiteY1" fmla="*/ 9824 h 98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9405" h="9823">
                    <a:moveTo>
                      <a:pt x="0" y="0"/>
                    </a:moveTo>
                    <a:lnTo>
                      <a:pt x="29406" y="9824"/>
                    </a:lnTo>
                  </a:path>
                </a:pathLst>
              </a:custGeom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36" name="Forma livre: Forma 135">
                <a:extLst>
                  <a:ext uri="{FF2B5EF4-FFF2-40B4-BE49-F238E27FC236}">
                    <a16:creationId xmlns:a16="http://schemas.microsoft.com/office/drawing/2014/main" id="{45F8A0BB-BE4F-8F54-910C-35E31A8EAA7D}"/>
                  </a:ext>
                </a:extLst>
              </p:cNvPr>
              <p:cNvSpPr/>
              <p:nvPr/>
            </p:nvSpPr>
            <p:spPr>
              <a:xfrm>
                <a:off x="6061121" y="1545272"/>
                <a:ext cx="47166" cy="34154"/>
              </a:xfrm>
              <a:custGeom>
                <a:avLst/>
                <a:gdLst>
                  <a:gd name="connsiteX0" fmla="*/ 0 w 47166"/>
                  <a:gd name="connsiteY0" fmla="*/ 0 h 34154"/>
                  <a:gd name="connsiteX1" fmla="*/ 47166 w 47166"/>
                  <a:gd name="connsiteY1" fmla="*/ 34155 h 341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166" h="34154">
                    <a:moveTo>
                      <a:pt x="0" y="0"/>
                    </a:moveTo>
                    <a:cubicBezTo>
                      <a:pt x="0" y="0"/>
                      <a:pt x="27649" y="13011"/>
                      <a:pt x="47166" y="34155"/>
                    </a:cubicBezTo>
                  </a:path>
                </a:pathLst>
              </a:custGeom>
              <a:noFill/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17" name="Gráfico 32">
              <a:extLst>
                <a:ext uri="{FF2B5EF4-FFF2-40B4-BE49-F238E27FC236}">
                  <a16:creationId xmlns:a16="http://schemas.microsoft.com/office/drawing/2014/main" id="{18BCC358-A1E3-7FDA-8470-DB4FAB0B26BF}"/>
                </a:ext>
              </a:extLst>
            </p:cNvPr>
            <p:cNvGrpSpPr/>
            <p:nvPr/>
          </p:nvGrpSpPr>
          <p:grpSpPr>
            <a:xfrm>
              <a:off x="6191625" y="1599725"/>
              <a:ext cx="173767" cy="157112"/>
              <a:chOff x="6191625" y="1599725"/>
              <a:chExt cx="173767" cy="157112"/>
            </a:xfrm>
            <a:noFill/>
          </p:grpSpPr>
          <p:sp>
            <p:nvSpPr>
              <p:cNvPr id="127" name="Forma livre: Forma 126">
                <a:extLst>
                  <a:ext uri="{FF2B5EF4-FFF2-40B4-BE49-F238E27FC236}">
                    <a16:creationId xmlns:a16="http://schemas.microsoft.com/office/drawing/2014/main" id="{2017F38D-476B-0B6E-390A-338889FC2A26}"/>
                  </a:ext>
                </a:extLst>
              </p:cNvPr>
              <p:cNvSpPr/>
              <p:nvPr/>
            </p:nvSpPr>
            <p:spPr>
              <a:xfrm>
                <a:off x="6310094" y="1621974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8" name="Forma livre: Forma 127">
                <a:extLst>
                  <a:ext uri="{FF2B5EF4-FFF2-40B4-BE49-F238E27FC236}">
                    <a16:creationId xmlns:a16="http://schemas.microsoft.com/office/drawing/2014/main" id="{56FA2EAD-130B-6BCF-0541-9C3AD161B5A4}"/>
                  </a:ext>
                </a:extLst>
              </p:cNvPr>
              <p:cNvSpPr/>
              <p:nvPr/>
            </p:nvSpPr>
            <p:spPr>
              <a:xfrm>
                <a:off x="6191625" y="1599725"/>
                <a:ext cx="118078" cy="49898"/>
              </a:xfrm>
              <a:custGeom>
                <a:avLst/>
                <a:gdLst>
                  <a:gd name="connsiteX0" fmla="*/ 0 w 118078"/>
                  <a:gd name="connsiteY0" fmla="*/ 0 h 49898"/>
                  <a:gd name="connsiteX1" fmla="*/ 37343 w 118078"/>
                  <a:gd name="connsiteY1" fmla="*/ 0 h 49898"/>
                  <a:gd name="connsiteX2" fmla="*/ 87176 w 118078"/>
                  <a:gd name="connsiteY2" fmla="*/ 49899 h 49898"/>
                  <a:gd name="connsiteX3" fmla="*/ 118078 w 118078"/>
                  <a:gd name="connsiteY3" fmla="*/ 49899 h 49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8078" h="49898">
                    <a:moveTo>
                      <a:pt x="0" y="0"/>
                    </a:moveTo>
                    <a:lnTo>
                      <a:pt x="37343" y="0"/>
                    </a:lnTo>
                    <a:lnTo>
                      <a:pt x="87176" y="49899"/>
                    </a:lnTo>
                    <a:lnTo>
                      <a:pt x="118078" y="49899"/>
                    </a:lnTo>
                  </a:path>
                </a:pathLst>
              </a:custGeom>
              <a:noFill/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9" name="Forma livre: Forma 128">
                <a:extLst>
                  <a:ext uri="{FF2B5EF4-FFF2-40B4-BE49-F238E27FC236}">
                    <a16:creationId xmlns:a16="http://schemas.microsoft.com/office/drawing/2014/main" id="{C7F89FE6-D73A-9B64-7CE7-E5C5EB70EF1A}"/>
                  </a:ext>
                </a:extLst>
              </p:cNvPr>
              <p:cNvSpPr/>
              <p:nvPr/>
            </p:nvSpPr>
            <p:spPr>
              <a:xfrm>
                <a:off x="6191625" y="1665367"/>
                <a:ext cx="81906" cy="44108"/>
              </a:xfrm>
              <a:custGeom>
                <a:avLst/>
                <a:gdLst>
                  <a:gd name="connsiteX0" fmla="*/ 0 w 81906"/>
                  <a:gd name="connsiteY0" fmla="*/ 0 h 44108"/>
                  <a:gd name="connsiteX1" fmla="*/ 37343 w 81906"/>
                  <a:gd name="connsiteY1" fmla="*/ 0 h 44108"/>
                  <a:gd name="connsiteX2" fmla="*/ 81907 w 81906"/>
                  <a:gd name="connsiteY2" fmla="*/ 44109 h 441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1906" h="44108">
                    <a:moveTo>
                      <a:pt x="0" y="0"/>
                    </a:moveTo>
                    <a:lnTo>
                      <a:pt x="37343" y="0"/>
                    </a:lnTo>
                    <a:lnTo>
                      <a:pt x="81907" y="44109"/>
                    </a:lnTo>
                  </a:path>
                </a:pathLst>
              </a:custGeom>
              <a:noFill/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30" name="Forma livre: Forma 129">
                <a:extLst>
                  <a:ext uri="{FF2B5EF4-FFF2-40B4-BE49-F238E27FC236}">
                    <a16:creationId xmlns:a16="http://schemas.microsoft.com/office/drawing/2014/main" id="{DFF9D857-AA43-9552-D724-9D3F180187DF}"/>
                  </a:ext>
                </a:extLst>
              </p:cNvPr>
              <p:cNvSpPr/>
              <p:nvPr/>
            </p:nvSpPr>
            <p:spPr>
              <a:xfrm>
                <a:off x="6265075" y="1701539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18" name="Gráfico 32">
              <a:extLst>
                <a:ext uri="{FF2B5EF4-FFF2-40B4-BE49-F238E27FC236}">
                  <a16:creationId xmlns:a16="http://schemas.microsoft.com/office/drawing/2014/main" id="{886E499C-D718-A0EE-CD50-DEED66FF9510}"/>
                </a:ext>
              </a:extLst>
            </p:cNvPr>
            <p:cNvGrpSpPr/>
            <p:nvPr/>
          </p:nvGrpSpPr>
          <p:grpSpPr>
            <a:xfrm>
              <a:off x="6191625" y="1357908"/>
              <a:ext cx="173767" cy="157112"/>
              <a:chOff x="6191625" y="1357908"/>
              <a:chExt cx="173767" cy="157112"/>
            </a:xfrm>
            <a:noFill/>
          </p:grpSpPr>
          <p:sp>
            <p:nvSpPr>
              <p:cNvPr id="123" name="Forma livre: Forma 122">
                <a:extLst>
                  <a:ext uri="{FF2B5EF4-FFF2-40B4-BE49-F238E27FC236}">
                    <a16:creationId xmlns:a16="http://schemas.microsoft.com/office/drawing/2014/main" id="{95084BBF-F475-81FF-8155-CD0D58136609}"/>
                  </a:ext>
                </a:extLst>
              </p:cNvPr>
              <p:cNvSpPr/>
              <p:nvPr/>
            </p:nvSpPr>
            <p:spPr>
              <a:xfrm>
                <a:off x="6310094" y="1437472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0 h 55298"/>
                  <a:gd name="connsiteX2" fmla="*/ 0 w 55298"/>
                  <a:gd name="connsiteY2" fmla="*/ 27649 h 55298"/>
                  <a:gd name="connsiteX3" fmla="*/ 27649 w 55298"/>
                  <a:gd name="connsiteY3" fmla="*/ 55298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12361"/>
                      <a:pt x="42938" y="0"/>
                      <a:pt x="27649" y="0"/>
                    </a:cubicBezTo>
                    <a:cubicBezTo>
                      <a:pt x="12361" y="0"/>
                      <a:pt x="0" y="12361"/>
                      <a:pt x="0" y="27649"/>
                    </a:cubicBezTo>
                    <a:cubicBezTo>
                      <a:pt x="0" y="42938"/>
                      <a:pt x="12361" y="55298"/>
                      <a:pt x="27649" y="55298"/>
                    </a:cubicBezTo>
                    <a:cubicBezTo>
                      <a:pt x="42938" y="55298"/>
                      <a:pt x="55298" y="42938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4" name="Forma livre: Forma 123">
                <a:extLst>
                  <a:ext uri="{FF2B5EF4-FFF2-40B4-BE49-F238E27FC236}">
                    <a16:creationId xmlns:a16="http://schemas.microsoft.com/office/drawing/2014/main" id="{F158C824-1FAA-71FB-DBF6-7D14BB67574D}"/>
                  </a:ext>
                </a:extLst>
              </p:cNvPr>
              <p:cNvSpPr/>
              <p:nvPr/>
            </p:nvSpPr>
            <p:spPr>
              <a:xfrm>
                <a:off x="6191625" y="1465122"/>
                <a:ext cx="118468" cy="49898"/>
              </a:xfrm>
              <a:custGeom>
                <a:avLst/>
                <a:gdLst>
                  <a:gd name="connsiteX0" fmla="*/ 0 w 118468"/>
                  <a:gd name="connsiteY0" fmla="*/ 49899 h 49898"/>
                  <a:gd name="connsiteX1" fmla="*/ 37343 w 118468"/>
                  <a:gd name="connsiteY1" fmla="*/ 49899 h 49898"/>
                  <a:gd name="connsiteX2" fmla="*/ 87176 w 118468"/>
                  <a:gd name="connsiteY2" fmla="*/ 0 h 49898"/>
                  <a:gd name="connsiteX3" fmla="*/ 118469 w 118468"/>
                  <a:gd name="connsiteY3" fmla="*/ 0 h 49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8468" h="49898">
                    <a:moveTo>
                      <a:pt x="0" y="49899"/>
                    </a:moveTo>
                    <a:lnTo>
                      <a:pt x="37343" y="49899"/>
                    </a:lnTo>
                    <a:lnTo>
                      <a:pt x="87176" y="0"/>
                    </a:lnTo>
                    <a:lnTo>
                      <a:pt x="118469" y="0"/>
                    </a:lnTo>
                  </a:path>
                </a:pathLst>
              </a:custGeom>
              <a:noFill/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5" name="Forma livre: Forma 124">
                <a:extLst>
                  <a:ext uri="{FF2B5EF4-FFF2-40B4-BE49-F238E27FC236}">
                    <a16:creationId xmlns:a16="http://schemas.microsoft.com/office/drawing/2014/main" id="{84674666-910A-8BB7-D8BD-C2B1B2F1DB14}"/>
                  </a:ext>
                </a:extLst>
              </p:cNvPr>
              <p:cNvSpPr/>
              <p:nvPr/>
            </p:nvSpPr>
            <p:spPr>
              <a:xfrm>
                <a:off x="6191625" y="1405269"/>
                <a:ext cx="81451" cy="44043"/>
              </a:xfrm>
              <a:custGeom>
                <a:avLst/>
                <a:gdLst>
                  <a:gd name="connsiteX0" fmla="*/ 0 w 81451"/>
                  <a:gd name="connsiteY0" fmla="*/ 44044 h 44043"/>
                  <a:gd name="connsiteX1" fmla="*/ 37343 w 81451"/>
                  <a:gd name="connsiteY1" fmla="*/ 44044 h 44043"/>
                  <a:gd name="connsiteX2" fmla="*/ 81451 w 81451"/>
                  <a:gd name="connsiteY2" fmla="*/ 0 h 440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1451" h="44043">
                    <a:moveTo>
                      <a:pt x="0" y="44044"/>
                    </a:moveTo>
                    <a:lnTo>
                      <a:pt x="37343" y="44044"/>
                    </a:lnTo>
                    <a:lnTo>
                      <a:pt x="81451" y="0"/>
                    </a:lnTo>
                  </a:path>
                </a:pathLst>
              </a:custGeom>
              <a:noFill/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6" name="Forma livre: Forma 125">
                <a:extLst>
                  <a:ext uri="{FF2B5EF4-FFF2-40B4-BE49-F238E27FC236}">
                    <a16:creationId xmlns:a16="http://schemas.microsoft.com/office/drawing/2014/main" id="{3141BDD0-AF73-EF61-E991-03BFA2607D5D}"/>
                  </a:ext>
                </a:extLst>
              </p:cNvPr>
              <p:cNvSpPr/>
              <p:nvPr/>
            </p:nvSpPr>
            <p:spPr>
              <a:xfrm>
                <a:off x="6265075" y="1357908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0 h 55298"/>
                  <a:gd name="connsiteX2" fmla="*/ 0 w 55298"/>
                  <a:gd name="connsiteY2" fmla="*/ 27649 h 55298"/>
                  <a:gd name="connsiteX3" fmla="*/ 27649 w 55298"/>
                  <a:gd name="connsiteY3" fmla="*/ 55298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12361"/>
                      <a:pt x="42938" y="0"/>
                      <a:pt x="27649" y="0"/>
                    </a:cubicBezTo>
                    <a:cubicBezTo>
                      <a:pt x="12361" y="0"/>
                      <a:pt x="0" y="12361"/>
                      <a:pt x="0" y="27649"/>
                    </a:cubicBezTo>
                    <a:cubicBezTo>
                      <a:pt x="0" y="42938"/>
                      <a:pt x="12361" y="55298"/>
                      <a:pt x="27649" y="55298"/>
                    </a:cubicBezTo>
                    <a:cubicBezTo>
                      <a:pt x="42938" y="55298"/>
                      <a:pt x="55298" y="42938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19" name="Gráfico 32">
              <a:extLst>
                <a:ext uri="{FF2B5EF4-FFF2-40B4-BE49-F238E27FC236}">
                  <a16:creationId xmlns:a16="http://schemas.microsoft.com/office/drawing/2014/main" id="{CB34CD18-39C9-6005-0963-F8BEFAFC4AA9}"/>
                </a:ext>
              </a:extLst>
            </p:cNvPr>
            <p:cNvGrpSpPr/>
            <p:nvPr/>
          </p:nvGrpSpPr>
          <p:grpSpPr>
            <a:xfrm>
              <a:off x="6190910" y="1529723"/>
              <a:ext cx="123673" cy="55298"/>
              <a:chOff x="6190910" y="1529723"/>
              <a:chExt cx="123673" cy="55298"/>
            </a:xfrm>
            <a:noFill/>
          </p:grpSpPr>
          <p:sp>
            <p:nvSpPr>
              <p:cNvPr id="121" name="Forma livre: Forma 120">
                <a:extLst>
                  <a:ext uri="{FF2B5EF4-FFF2-40B4-BE49-F238E27FC236}">
                    <a16:creationId xmlns:a16="http://schemas.microsoft.com/office/drawing/2014/main" id="{B47217A2-425F-9C04-1862-9488D3A6EA1F}"/>
                  </a:ext>
                </a:extLst>
              </p:cNvPr>
              <p:cNvSpPr/>
              <p:nvPr/>
            </p:nvSpPr>
            <p:spPr>
              <a:xfrm>
                <a:off x="6190910" y="1557372"/>
                <a:ext cx="68765" cy="6505"/>
              </a:xfrm>
              <a:custGeom>
                <a:avLst/>
                <a:gdLst>
                  <a:gd name="connsiteX0" fmla="*/ 0 w 68765"/>
                  <a:gd name="connsiteY0" fmla="*/ 0 h 6505"/>
                  <a:gd name="connsiteX1" fmla="*/ 68765 w 68765"/>
                  <a:gd name="connsiteY1" fmla="*/ 0 h 65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8765" h="6505">
                    <a:moveTo>
                      <a:pt x="0" y="0"/>
                    </a:moveTo>
                    <a:lnTo>
                      <a:pt x="68765" y="0"/>
                    </a:lnTo>
                  </a:path>
                </a:pathLst>
              </a:custGeom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2" name="Forma livre: Forma 121">
                <a:extLst>
                  <a:ext uri="{FF2B5EF4-FFF2-40B4-BE49-F238E27FC236}">
                    <a16:creationId xmlns:a16="http://schemas.microsoft.com/office/drawing/2014/main" id="{358D43BB-2A1D-3468-8BB1-43F36751A895}"/>
                  </a:ext>
                </a:extLst>
              </p:cNvPr>
              <p:cNvSpPr/>
              <p:nvPr/>
            </p:nvSpPr>
            <p:spPr>
              <a:xfrm>
                <a:off x="6259285" y="1529723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20" name="Forma livre: Forma 119">
              <a:extLst>
                <a:ext uri="{FF2B5EF4-FFF2-40B4-BE49-F238E27FC236}">
                  <a16:creationId xmlns:a16="http://schemas.microsoft.com/office/drawing/2014/main" id="{75ECAE75-56EA-27B3-1600-03C09EE11FA3}"/>
                </a:ext>
              </a:extLst>
            </p:cNvPr>
            <p:cNvSpPr/>
            <p:nvPr/>
          </p:nvSpPr>
          <p:spPr>
            <a:xfrm>
              <a:off x="6152201" y="1686285"/>
              <a:ext cx="37362" cy="20848"/>
            </a:xfrm>
            <a:custGeom>
              <a:avLst/>
              <a:gdLst>
                <a:gd name="connsiteX0" fmla="*/ 0 w 37362"/>
                <a:gd name="connsiteY0" fmla="*/ 10505 h 20848"/>
                <a:gd name="connsiteX1" fmla="*/ 27064 w 37362"/>
                <a:gd name="connsiteY1" fmla="*/ 2373 h 20848"/>
                <a:gd name="connsiteX2" fmla="*/ 37343 w 37362"/>
                <a:gd name="connsiteY2" fmla="*/ 20849 h 20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7362" h="20848">
                  <a:moveTo>
                    <a:pt x="0" y="10505"/>
                  </a:moveTo>
                  <a:cubicBezTo>
                    <a:pt x="5205" y="811"/>
                    <a:pt x="17435" y="-2832"/>
                    <a:pt x="27064" y="2373"/>
                  </a:cubicBezTo>
                  <a:cubicBezTo>
                    <a:pt x="34025" y="6081"/>
                    <a:pt x="37668" y="13432"/>
                    <a:pt x="37343" y="20849"/>
                  </a:cubicBezTo>
                </a:path>
              </a:pathLst>
            </a:custGeom>
            <a:noFill/>
            <a:ln w="19050" cap="sq">
              <a:solidFill>
                <a:srgbClr val="184BFF"/>
              </a:solidFill>
              <a:prstDash val="solid"/>
              <a:miter lim="800000"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37" name="Agrupar 136">
            <a:extLst>
              <a:ext uri="{FF2B5EF4-FFF2-40B4-BE49-F238E27FC236}">
                <a16:creationId xmlns:a16="http://schemas.microsoft.com/office/drawing/2014/main" id="{4718E6ED-03B5-3DDB-C9AE-F66D26806337}"/>
              </a:ext>
            </a:extLst>
          </p:cNvPr>
          <p:cNvGrpSpPr/>
          <p:nvPr/>
        </p:nvGrpSpPr>
        <p:grpSpPr>
          <a:xfrm>
            <a:off x="10724980" y="4714465"/>
            <a:ext cx="325297" cy="355243"/>
            <a:chOff x="6000092" y="1357908"/>
            <a:chExt cx="365300" cy="398929"/>
          </a:xfrm>
        </p:grpSpPr>
        <p:sp>
          <p:nvSpPr>
            <p:cNvPr id="138" name="Forma livre: Forma 137">
              <a:extLst>
                <a:ext uri="{FF2B5EF4-FFF2-40B4-BE49-F238E27FC236}">
                  <a16:creationId xmlns:a16="http://schemas.microsoft.com/office/drawing/2014/main" id="{B631D8EE-1B41-6220-0F84-85BB5F8E2C43}"/>
                </a:ext>
              </a:extLst>
            </p:cNvPr>
            <p:cNvSpPr/>
            <p:nvPr/>
          </p:nvSpPr>
          <p:spPr>
            <a:xfrm>
              <a:off x="6000092" y="1418606"/>
              <a:ext cx="84058" cy="286120"/>
            </a:xfrm>
            <a:custGeom>
              <a:avLst/>
              <a:gdLst>
                <a:gd name="connsiteX0" fmla="*/ 51595 w 84058"/>
                <a:gd name="connsiteY0" fmla="*/ 0 h 286120"/>
                <a:gd name="connsiteX1" fmla="*/ 35266 w 84058"/>
                <a:gd name="connsiteY1" fmla="*/ 61674 h 286120"/>
                <a:gd name="connsiteX2" fmla="*/ 28760 w 84058"/>
                <a:gd name="connsiteY2" fmla="*/ 193415 h 286120"/>
                <a:gd name="connsiteX3" fmla="*/ 84059 w 84058"/>
                <a:gd name="connsiteY3" fmla="*/ 286121 h 2861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4058" h="286120">
                  <a:moveTo>
                    <a:pt x="51595" y="0"/>
                  </a:moveTo>
                  <a:cubicBezTo>
                    <a:pt x="37868" y="7872"/>
                    <a:pt x="26028" y="24852"/>
                    <a:pt x="35266" y="61674"/>
                  </a:cubicBezTo>
                  <a:cubicBezTo>
                    <a:pt x="35266" y="61674"/>
                    <a:pt x="-39549" y="126731"/>
                    <a:pt x="28760" y="193415"/>
                  </a:cubicBezTo>
                  <a:cubicBezTo>
                    <a:pt x="28760" y="193415"/>
                    <a:pt x="9243" y="281242"/>
                    <a:pt x="84059" y="286121"/>
                  </a:cubicBezTo>
                </a:path>
              </a:pathLst>
            </a:custGeom>
            <a:noFill/>
            <a:ln w="19050" cap="sq">
              <a:solidFill>
                <a:srgbClr val="184BFF"/>
              </a:solidFill>
              <a:prstDash val="solid"/>
              <a:miter lim="800000"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39" name="Gráfico 32">
              <a:extLst>
                <a:ext uri="{FF2B5EF4-FFF2-40B4-BE49-F238E27FC236}">
                  <a16:creationId xmlns:a16="http://schemas.microsoft.com/office/drawing/2014/main" id="{847668BC-22F2-B547-E68A-8227AF1E4E0C}"/>
                </a:ext>
              </a:extLst>
            </p:cNvPr>
            <p:cNvGrpSpPr/>
            <p:nvPr/>
          </p:nvGrpSpPr>
          <p:grpSpPr>
            <a:xfrm>
              <a:off x="6061121" y="1359924"/>
              <a:ext cx="128487" cy="396366"/>
              <a:chOff x="6061121" y="1359924"/>
              <a:chExt cx="128487" cy="396366"/>
            </a:xfrm>
            <a:noFill/>
          </p:grpSpPr>
          <p:sp>
            <p:nvSpPr>
              <p:cNvPr id="154" name="Forma livre: Forma 153">
                <a:extLst>
                  <a:ext uri="{FF2B5EF4-FFF2-40B4-BE49-F238E27FC236}">
                    <a16:creationId xmlns:a16="http://schemas.microsoft.com/office/drawing/2014/main" id="{BAA3D384-D0DC-ACE9-4166-7FF2955CFAE2}"/>
                  </a:ext>
                </a:extLst>
              </p:cNvPr>
              <p:cNvSpPr/>
              <p:nvPr/>
            </p:nvSpPr>
            <p:spPr>
              <a:xfrm>
                <a:off x="6083891" y="1359924"/>
                <a:ext cx="105717" cy="396366"/>
              </a:xfrm>
              <a:custGeom>
                <a:avLst/>
                <a:gdLst>
                  <a:gd name="connsiteX0" fmla="*/ 52891 w 105717"/>
                  <a:gd name="connsiteY0" fmla="*/ 105718 h 396366"/>
                  <a:gd name="connsiteX1" fmla="*/ 0 w 105717"/>
                  <a:gd name="connsiteY1" fmla="*/ 52891 h 396366"/>
                  <a:gd name="connsiteX2" fmla="*/ 52891 w 105717"/>
                  <a:gd name="connsiteY2" fmla="*/ 0 h 396366"/>
                  <a:gd name="connsiteX3" fmla="*/ 105718 w 105717"/>
                  <a:gd name="connsiteY3" fmla="*/ 52826 h 396366"/>
                  <a:gd name="connsiteX4" fmla="*/ 105718 w 105717"/>
                  <a:gd name="connsiteY4" fmla="*/ 346884 h 396366"/>
                  <a:gd name="connsiteX5" fmla="*/ 80606 w 105717"/>
                  <a:gd name="connsiteY5" fmla="*/ 388911 h 396366"/>
                  <a:gd name="connsiteX6" fmla="*/ 9238 w 105717"/>
                  <a:gd name="connsiteY6" fmla="*/ 371150 h 396366"/>
                  <a:gd name="connsiteX7" fmla="*/ 15484 w 105717"/>
                  <a:gd name="connsiteY7" fmla="*/ 309216 h 396366"/>
                  <a:gd name="connsiteX8" fmla="*/ 45019 w 105717"/>
                  <a:gd name="connsiteY8" fmla="*/ 277078 h 3963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05717" h="396366">
                    <a:moveTo>
                      <a:pt x="52891" y="105718"/>
                    </a:moveTo>
                    <a:cubicBezTo>
                      <a:pt x="23681" y="105718"/>
                      <a:pt x="0" y="82037"/>
                      <a:pt x="0" y="52891"/>
                    </a:cubicBezTo>
                    <a:cubicBezTo>
                      <a:pt x="0" y="23746"/>
                      <a:pt x="23681" y="0"/>
                      <a:pt x="52891" y="0"/>
                    </a:cubicBezTo>
                    <a:cubicBezTo>
                      <a:pt x="82102" y="0"/>
                      <a:pt x="105718" y="23681"/>
                      <a:pt x="105718" y="52826"/>
                    </a:cubicBezTo>
                    <a:lnTo>
                      <a:pt x="105718" y="346884"/>
                    </a:lnTo>
                    <a:cubicBezTo>
                      <a:pt x="105718" y="364580"/>
                      <a:pt x="96414" y="379413"/>
                      <a:pt x="80606" y="388911"/>
                    </a:cubicBezTo>
                    <a:cubicBezTo>
                      <a:pt x="55949" y="403744"/>
                      <a:pt x="24006" y="395742"/>
                      <a:pt x="9238" y="371150"/>
                    </a:cubicBezTo>
                    <a:cubicBezTo>
                      <a:pt x="-2928" y="350918"/>
                      <a:pt x="260" y="325741"/>
                      <a:pt x="15484" y="309216"/>
                    </a:cubicBezTo>
                    <a:lnTo>
                      <a:pt x="45019" y="277078"/>
                    </a:lnTo>
                  </a:path>
                </a:pathLst>
              </a:custGeom>
              <a:noFill/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55" name="Forma livre: Forma 154">
                <a:extLst>
                  <a:ext uri="{FF2B5EF4-FFF2-40B4-BE49-F238E27FC236}">
                    <a16:creationId xmlns:a16="http://schemas.microsoft.com/office/drawing/2014/main" id="{70631346-4451-1382-6DED-EBB158554780}"/>
                  </a:ext>
                </a:extLst>
              </p:cNvPr>
              <p:cNvSpPr/>
              <p:nvPr/>
            </p:nvSpPr>
            <p:spPr>
              <a:xfrm>
                <a:off x="6144784" y="1383865"/>
                <a:ext cx="41563" cy="38963"/>
              </a:xfrm>
              <a:custGeom>
                <a:avLst/>
                <a:gdLst>
                  <a:gd name="connsiteX0" fmla="*/ 36172 w 41563"/>
                  <a:gd name="connsiteY0" fmla="*/ 0 h 38963"/>
                  <a:gd name="connsiteX1" fmla="*/ 39425 w 41563"/>
                  <a:gd name="connsiteY1" fmla="*/ 24266 h 38963"/>
                  <a:gd name="connsiteX2" fmla="*/ 36432 w 41563"/>
                  <a:gd name="connsiteY2" fmla="*/ 29080 h 38963"/>
                  <a:gd name="connsiteX3" fmla="*/ 0 w 41563"/>
                  <a:gd name="connsiteY3" fmla="*/ 33439 h 389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563" h="38963">
                    <a:moveTo>
                      <a:pt x="36172" y="0"/>
                    </a:moveTo>
                    <a:cubicBezTo>
                      <a:pt x="41571" y="7547"/>
                      <a:pt x="43393" y="16004"/>
                      <a:pt x="39425" y="24266"/>
                    </a:cubicBezTo>
                    <a:cubicBezTo>
                      <a:pt x="38644" y="25893"/>
                      <a:pt x="37603" y="27519"/>
                      <a:pt x="36432" y="29080"/>
                    </a:cubicBezTo>
                    <a:cubicBezTo>
                      <a:pt x="27584" y="40270"/>
                      <a:pt x="11190" y="42287"/>
                      <a:pt x="0" y="33439"/>
                    </a:cubicBezTo>
                  </a:path>
                </a:pathLst>
              </a:custGeom>
              <a:noFill/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56" name="Forma livre: Forma 155">
                <a:extLst>
                  <a:ext uri="{FF2B5EF4-FFF2-40B4-BE49-F238E27FC236}">
                    <a16:creationId xmlns:a16="http://schemas.microsoft.com/office/drawing/2014/main" id="{D6DCEAB1-D011-CA26-DE5A-777B2E4D1895}"/>
                  </a:ext>
                </a:extLst>
              </p:cNvPr>
              <p:cNvSpPr/>
              <p:nvPr/>
            </p:nvSpPr>
            <p:spPr>
              <a:xfrm>
                <a:off x="6081487" y="1460806"/>
                <a:ext cx="34217" cy="54474"/>
              </a:xfrm>
              <a:custGeom>
                <a:avLst/>
                <a:gdLst>
                  <a:gd name="connsiteX0" fmla="*/ 21076 w 34217"/>
                  <a:gd name="connsiteY0" fmla="*/ 54475 h 54474"/>
                  <a:gd name="connsiteX1" fmla="*/ 778 w 34217"/>
                  <a:gd name="connsiteY1" fmla="*/ 21035 h 54474"/>
                  <a:gd name="connsiteX2" fmla="*/ 34217 w 34217"/>
                  <a:gd name="connsiteY2" fmla="*/ 803 h 544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4217" h="54474">
                    <a:moveTo>
                      <a:pt x="21076" y="54475"/>
                    </a:moveTo>
                    <a:cubicBezTo>
                      <a:pt x="6308" y="50832"/>
                      <a:pt x="-2800" y="35803"/>
                      <a:pt x="778" y="21035"/>
                    </a:cubicBezTo>
                    <a:cubicBezTo>
                      <a:pt x="4421" y="6267"/>
                      <a:pt x="19449" y="-2841"/>
                      <a:pt x="34217" y="803"/>
                    </a:cubicBezTo>
                  </a:path>
                </a:pathLst>
              </a:custGeom>
              <a:noFill/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57" name="Forma livre: Forma 156">
                <a:extLst>
                  <a:ext uri="{FF2B5EF4-FFF2-40B4-BE49-F238E27FC236}">
                    <a16:creationId xmlns:a16="http://schemas.microsoft.com/office/drawing/2014/main" id="{BF159F73-79A1-5DE5-11F1-8439E2EBBBE4}"/>
                  </a:ext>
                </a:extLst>
              </p:cNvPr>
              <p:cNvSpPr/>
              <p:nvPr/>
            </p:nvSpPr>
            <p:spPr>
              <a:xfrm>
                <a:off x="6073547" y="1527543"/>
                <a:ext cx="114760" cy="72506"/>
              </a:xfrm>
              <a:custGeom>
                <a:avLst/>
                <a:gdLst>
                  <a:gd name="connsiteX0" fmla="*/ 114760 w 114760"/>
                  <a:gd name="connsiteY0" fmla="*/ 7254 h 72506"/>
                  <a:gd name="connsiteX1" fmla="*/ 73905 w 114760"/>
                  <a:gd name="connsiteY1" fmla="*/ 8881 h 72506"/>
                  <a:gd name="connsiteX2" fmla="*/ 0 w 114760"/>
                  <a:gd name="connsiteY2" fmla="*/ 72506 h 725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14760" h="72506">
                    <a:moveTo>
                      <a:pt x="114760" y="7254"/>
                    </a:moveTo>
                    <a:cubicBezTo>
                      <a:pt x="103375" y="-2830"/>
                      <a:pt x="83989" y="-2504"/>
                      <a:pt x="73905" y="8881"/>
                    </a:cubicBezTo>
                    <a:cubicBezTo>
                      <a:pt x="73905" y="8881"/>
                      <a:pt x="31488" y="72506"/>
                      <a:pt x="0" y="72506"/>
                    </a:cubicBezTo>
                  </a:path>
                </a:pathLst>
              </a:custGeom>
              <a:noFill/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58" name="Forma livre: Forma 157">
                <a:extLst>
                  <a:ext uri="{FF2B5EF4-FFF2-40B4-BE49-F238E27FC236}">
                    <a16:creationId xmlns:a16="http://schemas.microsoft.com/office/drawing/2014/main" id="{219FB6A7-0AB2-371E-0B5F-5AF2997C9134}"/>
                  </a:ext>
                </a:extLst>
              </p:cNvPr>
              <p:cNvSpPr/>
              <p:nvPr/>
            </p:nvSpPr>
            <p:spPr>
              <a:xfrm>
                <a:off x="6079857" y="1646956"/>
                <a:ext cx="29405" cy="9823"/>
              </a:xfrm>
              <a:custGeom>
                <a:avLst/>
                <a:gdLst>
                  <a:gd name="connsiteX0" fmla="*/ 0 w 29405"/>
                  <a:gd name="connsiteY0" fmla="*/ 0 h 9823"/>
                  <a:gd name="connsiteX1" fmla="*/ 29406 w 29405"/>
                  <a:gd name="connsiteY1" fmla="*/ 9824 h 98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9405" h="9823">
                    <a:moveTo>
                      <a:pt x="0" y="0"/>
                    </a:moveTo>
                    <a:lnTo>
                      <a:pt x="29406" y="9824"/>
                    </a:lnTo>
                  </a:path>
                </a:pathLst>
              </a:custGeom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59" name="Forma livre: Forma 158">
                <a:extLst>
                  <a:ext uri="{FF2B5EF4-FFF2-40B4-BE49-F238E27FC236}">
                    <a16:creationId xmlns:a16="http://schemas.microsoft.com/office/drawing/2014/main" id="{DB6DAA4E-FA4D-321E-A7A6-9F33A1AB9E3E}"/>
                  </a:ext>
                </a:extLst>
              </p:cNvPr>
              <p:cNvSpPr/>
              <p:nvPr/>
            </p:nvSpPr>
            <p:spPr>
              <a:xfrm>
                <a:off x="6061121" y="1545272"/>
                <a:ext cx="47166" cy="34154"/>
              </a:xfrm>
              <a:custGeom>
                <a:avLst/>
                <a:gdLst>
                  <a:gd name="connsiteX0" fmla="*/ 0 w 47166"/>
                  <a:gd name="connsiteY0" fmla="*/ 0 h 34154"/>
                  <a:gd name="connsiteX1" fmla="*/ 47166 w 47166"/>
                  <a:gd name="connsiteY1" fmla="*/ 34155 h 341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166" h="34154">
                    <a:moveTo>
                      <a:pt x="0" y="0"/>
                    </a:moveTo>
                    <a:cubicBezTo>
                      <a:pt x="0" y="0"/>
                      <a:pt x="27649" y="13011"/>
                      <a:pt x="47166" y="34155"/>
                    </a:cubicBezTo>
                  </a:path>
                </a:pathLst>
              </a:custGeom>
              <a:noFill/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40" name="Gráfico 32">
              <a:extLst>
                <a:ext uri="{FF2B5EF4-FFF2-40B4-BE49-F238E27FC236}">
                  <a16:creationId xmlns:a16="http://schemas.microsoft.com/office/drawing/2014/main" id="{A7009E81-E4B1-B9B3-C4E6-2041CEEB5033}"/>
                </a:ext>
              </a:extLst>
            </p:cNvPr>
            <p:cNvGrpSpPr/>
            <p:nvPr/>
          </p:nvGrpSpPr>
          <p:grpSpPr>
            <a:xfrm>
              <a:off x="6191625" y="1599725"/>
              <a:ext cx="173767" cy="157112"/>
              <a:chOff x="6191625" y="1599725"/>
              <a:chExt cx="173767" cy="157112"/>
            </a:xfrm>
            <a:noFill/>
          </p:grpSpPr>
          <p:sp>
            <p:nvSpPr>
              <p:cNvPr id="150" name="Forma livre: Forma 149">
                <a:extLst>
                  <a:ext uri="{FF2B5EF4-FFF2-40B4-BE49-F238E27FC236}">
                    <a16:creationId xmlns:a16="http://schemas.microsoft.com/office/drawing/2014/main" id="{ECC0FBF1-7438-6CC1-694B-14F573491A4D}"/>
                  </a:ext>
                </a:extLst>
              </p:cNvPr>
              <p:cNvSpPr/>
              <p:nvPr/>
            </p:nvSpPr>
            <p:spPr>
              <a:xfrm>
                <a:off x="6310094" y="1621974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51" name="Forma livre: Forma 150">
                <a:extLst>
                  <a:ext uri="{FF2B5EF4-FFF2-40B4-BE49-F238E27FC236}">
                    <a16:creationId xmlns:a16="http://schemas.microsoft.com/office/drawing/2014/main" id="{AA220B3E-6F04-A0B8-8C64-6B406A9AEB08}"/>
                  </a:ext>
                </a:extLst>
              </p:cNvPr>
              <p:cNvSpPr/>
              <p:nvPr/>
            </p:nvSpPr>
            <p:spPr>
              <a:xfrm>
                <a:off x="6191625" y="1599725"/>
                <a:ext cx="118078" cy="49898"/>
              </a:xfrm>
              <a:custGeom>
                <a:avLst/>
                <a:gdLst>
                  <a:gd name="connsiteX0" fmla="*/ 0 w 118078"/>
                  <a:gd name="connsiteY0" fmla="*/ 0 h 49898"/>
                  <a:gd name="connsiteX1" fmla="*/ 37343 w 118078"/>
                  <a:gd name="connsiteY1" fmla="*/ 0 h 49898"/>
                  <a:gd name="connsiteX2" fmla="*/ 87176 w 118078"/>
                  <a:gd name="connsiteY2" fmla="*/ 49899 h 49898"/>
                  <a:gd name="connsiteX3" fmla="*/ 118078 w 118078"/>
                  <a:gd name="connsiteY3" fmla="*/ 49899 h 49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8078" h="49898">
                    <a:moveTo>
                      <a:pt x="0" y="0"/>
                    </a:moveTo>
                    <a:lnTo>
                      <a:pt x="37343" y="0"/>
                    </a:lnTo>
                    <a:lnTo>
                      <a:pt x="87176" y="49899"/>
                    </a:lnTo>
                    <a:lnTo>
                      <a:pt x="118078" y="49899"/>
                    </a:lnTo>
                  </a:path>
                </a:pathLst>
              </a:custGeom>
              <a:noFill/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52" name="Forma livre: Forma 151">
                <a:extLst>
                  <a:ext uri="{FF2B5EF4-FFF2-40B4-BE49-F238E27FC236}">
                    <a16:creationId xmlns:a16="http://schemas.microsoft.com/office/drawing/2014/main" id="{E807A307-E2E5-2B6D-91A7-FF960DD65266}"/>
                  </a:ext>
                </a:extLst>
              </p:cNvPr>
              <p:cNvSpPr/>
              <p:nvPr/>
            </p:nvSpPr>
            <p:spPr>
              <a:xfrm>
                <a:off x="6191625" y="1665367"/>
                <a:ext cx="81906" cy="44108"/>
              </a:xfrm>
              <a:custGeom>
                <a:avLst/>
                <a:gdLst>
                  <a:gd name="connsiteX0" fmla="*/ 0 w 81906"/>
                  <a:gd name="connsiteY0" fmla="*/ 0 h 44108"/>
                  <a:gd name="connsiteX1" fmla="*/ 37343 w 81906"/>
                  <a:gd name="connsiteY1" fmla="*/ 0 h 44108"/>
                  <a:gd name="connsiteX2" fmla="*/ 81907 w 81906"/>
                  <a:gd name="connsiteY2" fmla="*/ 44109 h 441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1906" h="44108">
                    <a:moveTo>
                      <a:pt x="0" y="0"/>
                    </a:moveTo>
                    <a:lnTo>
                      <a:pt x="37343" y="0"/>
                    </a:lnTo>
                    <a:lnTo>
                      <a:pt x="81907" y="44109"/>
                    </a:lnTo>
                  </a:path>
                </a:pathLst>
              </a:custGeom>
              <a:noFill/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53" name="Forma livre: Forma 152">
                <a:extLst>
                  <a:ext uri="{FF2B5EF4-FFF2-40B4-BE49-F238E27FC236}">
                    <a16:creationId xmlns:a16="http://schemas.microsoft.com/office/drawing/2014/main" id="{BE944F41-61C2-16A8-F30F-7DFD987AECD3}"/>
                  </a:ext>
                </a:extLst>
              </p:cNvPr>
              <p:cNvSpPr/>
              <p:nvPr/>
            </p:nvSpPr>
            <p:spPr>
              <a:xfrm>
                <a:off x="6265075" y="1701539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41" name="Gráfico 32">
              <a:extLst>
                <a:ext uri="{FF2B5EF4-FFF2-40B4-BE49-F238E27FC236}">
                  <a16:creationId xmlns:a16="http://schemas.microsoft.com/office/drawing/2014/main" id="{3AA935BC-1244-BA5A-F6E2-B26A9A35E478}"/>
                </a:ext>
              </a:extLst>
            </p:cNvPr>
            <p:cNvGrpSpPr/>
            <p:nvPr/>
          </p:nvGrpSpPr>
          <p:grpSpPr>
            <a:xfrm>
              <a:off x="6191625" y="1357908"/>
              <a:ext cx="173767" cy="157112"/>
              <a:chOff x="6191625" y="1357908"/>
              <a:chExt cx="173767" cy="157112"/>
            </a:xfrm>
            <a:noFill/>
          </p:grpSpPr>
          <p:sp>
            <p:nvSpPr>
              <p:cNvPr id="146" name="Forma livre: Forma 145">
                <a:extLst>
                  <a:ext uri="{FF2B5EF4-FFF2-40B4-BE49-F238E27FC236}">
                    <a16:creationId xmlns:a16="http://schemas.microsoft.com/office/drawing/2014/main" id="{77395527-ECA0-4F3D-A5E2-2695BD2B5895}"/>
                  </a:ext>
                </a:extLst>
              </p:cNvPr>
              <p:cNvSpPr/>
              <p:nvPr/>
            </p:nvSpPr>
            <p:spPr>
              <a:xfrm>
                <a:off x="6310094" y="1437472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0 h 55298"/>
                  <a:gd name="connsiteX2" fmla="*/ 0 w 55298"/>
                  <a:gd name="connsiteY2" fmla="*/ 27649 h 55298"/>
                  <a:gd name="connsiteX3" fmla="*/ 27649 w 55298"/>
                  <a:gd name="connsiteY3" fmla="*/ 55298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12361"/>
                      <a:pt x="42938" y="0"/>
                      <a:pt x="27649" y="0"/>
                    </a:cubicBezTo>
                    <a:cubicBezTo>
                      <a:pt x="12361" y="0"/>
                      <a:pt x="0" y="12361"/>
                      <a:pt x="0" y="27649"/>
                    </a:cubicBezTo>
                    <a:cubicBezTo>
                      <a:pt x="0" y="42938"/>
                      <a:pt x="12361" y="55298"/>
                      <a:pt x="27649" y="55298"/>
                    </a:cubicBezTo>
                    <a:cubicBezTo>
                      <a:pt x="42938" y="55298"/>
                      <a:pt x="55298" y="42938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47" name="Forma livre: Forma 146">
                <a:extLst>
                  <a:ext uri="{FF2B5EF4-FFF2-40B4-BE49-F238E27FC236}">
                    <a16:creationId xmlns:a16="http://schemas.microsoft.com/office/drawing/2014/main" id="{DC49BFB2-B5FA-C9E5-A99B-BC7FCEAA9E8E}"/>
                  </a:ext>
                </a:extLst>
              </p:cNvPr>
              <p:cNvSpPr/>
              <p:nvPr/>
            </p:nvSpPr>
            <p:spPr>
              <a:xfrm>
                <a:off x="6191625" y="1465122"/>
                <a:ext cx="118468" cy="49898"/>
              </a:xfrm>
              <a:custGeom>
                <a:avLst/>
                <a:gdLst>
                  <a:gd name="connsiteX0" fmla="*/ 0 w 118468"/>
                  <a:gd name="connsiteY0" fmla="*/ 49899 h 49898"/>
                  <a:gd name="connsiteX1" fmla="*/ 37343 w 118468"/>
                  <a:gd name="connsiteY1" fmla="*/ 49899 h 49898"/>
                  <a:gd name="connsiteX2" fmla="*/ 87176 w 118468"/>
                  <a:gd name="connsiteY2" fmla="*/ 0 h 49898"/>
                  <a:gd name="connsiteX3" fmla="*/ 118469 w 118468"/>
                  <a:gd name="connsiteY3" fmla="*/ 0 h 49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8468" h="49898">
                    <a:moveTo>
                      <a:pt x="0" y="49899"/>
                    </a:moveTo>
                    <a:lnTo>
                      <a:pt x="37343" y="49899"/>
                    </a:lnTo>
                    <a:lnTo>
                      <a:pt x="87176" y="0"/>
                    </a:lnTo>
                    <a:lnTo>
                      <a:pt x="118469" y="0"/>
                    </a:lnTo>
                  </a:path>
                </a:pathLst>
              </a:custGeom>
              <a:noFill/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48" name="Forma livre: Forma 147">
                <a:extLst>
                  <a:ext uri="{FF2B5EF4-FFF2-40B4-BE49-F238E27FC236}">
                    <a16:creationId xmlns:a16="http://schemas.microsoft.com/office/drawing/2014/main" id="{32D0DD5D-48D4-1BB0-D27F-2739C0E22350}"/>
                  </a:ext>
                </a:extLst>
              </p:cNvPr>
              <p:cNvSpPr/>
              <p:nvPr/>
            </p:nvSpPr>
            <p:spPr>
              <a:xfrm>
                <a:off x="6191625" y="1405269"/>
                <a:ext cx="81451" cy="44043"/>
              </a:xfrm>
              <a:custGeom>
                <a:avLst/>
                <a:gdLst>
                  <a:gd name="connsiteX0" fmla="*/ 0 w 81451"/>
                  <a:gd name="connsiteY0" fmla="*/ 44044 h 44043"/>
                  <a:gd name="connsiteX1" fmla="*/ 37343 w 81451"/>
                  <a:gd name="connsiteY1" fmla="*/ 44044 h 44043"/>
                  <a:gd name="connsiteX2" fmla="*/ 81451 w 81451"/>
                  <a:gd name="connsiteY2" fmla="*/ 0 h 440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1451" h="44043">
                    <a:moveTo>
                      <a:pt x="0" y="44044"/>
                    </a:moveTo>
                    <a:lnTo>
                      <a:pt x="37343" y="44044"/>
                    </a:lnTo>
                    <a:lnTo>
                      <a:pt x="81451" y="0"/>
                    </a:lnTo>
                  </a:path>
                </a:pathLst>
              </a:custGeom>
              <a:noFill/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49" name="Forma livre: Forma 148">
                <a:extLst>
                  <a:ext uri="{FF2B5EF4-FFF2-40B4-BE49-F238E27FC236}">
                    <a16:creationId xmlns:a16="http://schemas.microsoft.com/office/drawing/2014/main" id="{E6239E6D-773A-EF85-B408-F547217DC92A}"/>
                  </a:ext>
                </a:extLst>
              </p:cNvPr>
              <p:cNvSpPr/>
              <p:nvPr/>
            </p:nvSpPr>
            <p:spPr>
              <a:xfrm>
                <a:off x="6265075" y="1357908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0 h 55298"/>
                  <a:gd name="connsiteX2" fmla="*/ 0 w 55298"/>
                  <a:gd name="connsiteY2" fmla="*/ 27649 h 55298"/>
                  <a:gd name="connsiteX3" fmla="*/ 27649 w 55298"/>
                  <a:gd name="connsiteY3" fmla="*/ 55298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12361"/>
                      <a:pt x="42938" y="0"/>
                      <a:pt x="27649" y="0"/>
                    </a:cubicBezTo>
                    <a:cubicBezTo>
                      <a:pt x="12361" y="0"/>
                      <a:pt x="0" y="12361"/>
                      <a:pt x="0" y="27649"/>
                    </a:cubicBezTo>
                    <a:cubicBezTo>
                      <a:pt x="0" y="42938"/>
                      <a:pt x="12361" y="55298"/>
                      <a:pt x="27649" y="55298"/>
                    </a:cubicBezTo>
                    <a:cubicBezTo>
                      <a:pt x="42938" y="55298"/>
                      <a:pt x="55298" y="42938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42" name="Gráfico 32">
              <a:extLst>
                <a:ext uri="{FF2B5EF4-FFF2-40B4-BE49-F238E27FC236}">
                  <a16:creationId xmlns:a16="http://schemas.microsoft.com/office/drawing/2014/main" id="{1F37E50A-83CD-4FA3-051A-E45362380E5D}"/>
                </a:ext>
              </a:extLst>
            </p:cNvPr>
            <p:cNvGrpSpPr/>
            <p:nvPr/>
          </p:nvGrpSpPr>
          <p:grpSpPr>
            <a:xfrm>
              <a:off x="6190910" y="1529723"/>
              <a:ext cx="123673" cy="55298"/>
              <a:chOff x="6190910" y="1529723"/>
              <a:chExt cx="123673" cy="55298"/>
            </a:xfrm>
            <a:noFill/>
          </p:grpSpPr>
          <p:sp>
            <p:nvSpPr>
              <p:cNvPr id="144" name="Forma livre: Forma 143">
                <a:extLst>
                  <a:ext uri="{FF2B5EF4-FFF2-40B4-BE49-F238E27FC236}">
                    <a16:creationId xmlns:a16="http://schemas.microsoft.com/office/drawing/2014/main" id="{4B530456-9ABE-B077-47DF-2D41CB2AE581}"/>
                  </a:ext>
                </a:extLst>
              </p:cNvPr>
              <p:cNvSpPr/>
              <p:nvPr/>
            </p:nvSpPr>
            <p:spPr>
              <a:xfrm>
                <a:off x="6190910" y="1557372"/>
                <a:ext cx="68765" cy="6505"/>
              </a:xfrm>
              <a:custGeom>
                <a:avLst/>
                <a:gdLst>
                  <a:gd name="connsiteX0" fmla="*/ 0 w 68765"/>
                  <a:gd name="connsiteY0" fmla="*/ 0 h 6505"/>
                  <a:gd name="connsiteX1" fmla="*/ 68765 w 68765"/>
                  <a:gd name="connsiteY1" fmla="*/ 0 h 65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8765" h="6505">
                    <a:moveTo>
                      <a:pt x="0" y="0"/>
                    </a:moveTo>
                    <a:lnTo>
                      <a:pt x="68765" y="0"/>
                    </a:lnTo>
                  </a:path>
                </a:pathLst>
              </a:custGeom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45" name="Forma livre: Forma 144">
                <a:extLst>
                  <a:ext uri="{FF2B5EF4-FFF2-40B4-BE49-F238E27FC236}">
                    <a16:creationId xmlns:a16="http://schemas.microsoft.com/office/drawing/2014/main" id="{C9CAEF15-0177-27D6-3231-3725CBA5AC12}"/>
                  </a:ext>
                </a:extLst>
              </p:cNvPr>
              <p:cNvSpPr/>
              <p:nvPr/>
            </p:nvSpPr>
            <p:spPr>
              <a:xfrm>
                <a:off x="6259285" y="1529723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43" name="Forma livre: Forma 142">
              <a:extLst>
                <a:ext uri="{FF2B5EF4-FFF2-40B4-BE49-F238E27FC236}">
                  <a16:creationId xmlns:a16="http://schemas.microsoft.com/office/drawing/2014/main" id="{A80DE4C5-07C6-E85F-C735-DFD71E54805C}"/>
                </a:ext>
              </a:extLst>
            </p:cNvPr>
            <p:cNvSpPr/>
            <p:nvPr/>
          </p:nvSpPr>
          <p:spPr>
            <a:xfrm>
              <a:off x="6152201" y="1686285"/>
              <a:ext cx="37362" cy="20848"/>
            </a:xfrm>
            <a:custGeom>
              <a:avLst/>
              <a:gdLst>
                <a:gd name="connsiteX0" fmla="*/ 0 w 37362"/>
                <a:gd name="connsiteY0" fmla="*/ 10505 h 20848"/>
                <a:gd name="connsiteX1" fmla="*/ 27064 w 37362"/>
                <a:gd name="connsiteY1" fmla="*/ 2373 h 20848"/>
                <a:gd name="connsiteX2" fmla="*/ 37343 w 37362"/>
                <a:gd name="connsiteY2" fmla="*/ 20849 h 20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7362" h="20848">
                  <a:moveTo>
                    <a:pt x="0" y="10505"/>
                  </a:moveTo>
                  <a:cubicBezTo>
                    <a:pt x="5205" y="811"/>
                    <a:pt x="17435" y="-2832"/>
                    <a:pt x="27064" y="2373"/>
                  </a:cubicBezTo>
                  <a:cubicBezTo>
                    <a:pt x="34025" y="6081"/>
                    <a:pt x="37668" y="13432"/>
                    <a:pt x="37343" y="20849"/>
                  </a:cubicBezTo>
                </a:path>
              </a:pathLst>
            </a:custGeom>
            <a:noFill/>
            <a:ln w="19050" cap="sq">
              <a:solidFill>
                <a:srgbClr val="184BFF"/>
              </a:solidFill>
              <a:prstDash val="solid"/>
              <a:miter lim="800000"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60" name="Agrupar 159">
            <a:extLst>
              <a:ext uri="{FF2B5EF4-FFF2-40B4-BE49-F238E27FC236}">
                <a16:creationId xmlns:a16="http://schemas.microsoft.com/office/drawing/2014/main" id="{FFD4C783-F6B0-C1D2-3B35-E62764E2A69B}"/>
              </a:ext>
            </a:extLst>
          </p:cNvPr>
          <p:cNvGrpSpPr/>
          <p:nvPr/>
        </p:nvGrpSpPr>
        <p:grpSpPr>
          <a:xfrm>
            <a:off x="4153938" y="5611279"/>
            <a:ext cx="325297" cy="355243"/>
            <a:chOff x="6000092" y="1357908"/>
            <a:chExt cx="365300" cy="398929"/>
          </a:xfrm>
        </p:grpSpPr>
        <p:sp>
          <p:nvSpPr>
            <p:cNvPr id="161" name="Forma livre: Forma 160">
              <a:extLst>
                <a:ext uri="{FF2B5EF4-FFF2-40B4-BE49-F238E27FC236}">
                  <a16:creationId xmlns:a16="http://schemas.microsoft.com/office/drawing/2014/main" id="{613524A2-3BF8-6497-4C8C-F875AAC464CD}"/>
                </a:ext>
              </a:extLst>
            </p:cNvPr>
            <p:cNvSpPr/>
            <p:nvPr/>
          </p:nvSpPr>
          <p:spPr>
            <a:xfrm>
              <a:off x="6000092" y="1418606"/>
              <a:ext cx="84058" cy="286120"/>
            </a:xfrm>
            <a:custGeom>
              <a:avLst/>
              <a:gdLst>
                <a:gd name="connsiteX0" fmla="*/ 51595 w 84058"/>
                <a:gd name="connsiteY0" fmla="*/ 0 h 286120"/>
                <a:gd name="connsiteX1" fmla="*/ 35266 w 84058"/>
                <a:gd name="connsiteY1" fmla="*/ 61674 h 286120"/>
                <a:gd name="connsiteX2" fmla="*/ 28760 w 84058"/>
                <a:gd name="connsiteY2" fmla="*/ 193415 h 286120"/>
                <a:gd name="connsiteX3" fmla="*/ 84059 w 84058"/>
                <a:gd name="connsiteY3" fmla="*/ 286121 h 2861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4058" h="286120">
                  <a:moveTo>
                    <a:pt x="51595" y="0"/>
                  </a:moveTo>
                  <a:cubicBezTo>
                    <a:pt x="37868" y="7872"/>
                    <a:pt x="26028" y="24852"/>
                    <a:pt x="35266" y="61674"/>
                  </a:cubicBezTo>
                  <a:cubicBezTo>
                    <a:pt x="35266" y="61674"/>
                    <a:pt x="-39549" y="126731"/>
                    <a:pt x="28760" y="193415"/>
                  </a:cubicBezTo>
                  <a:cubicBezTo>
                    <a:pt x="28760" y="193415"/>
                    <a:pt x="9243" y="281242"/>
                    <a:pt x="84059" y="286121"/>
                  </a:cubicBezTo>
                </a:path>
              </a:pathLst>
            </a:custGeom>
            <a:noFill/>
            <a:ln w="19050" cap="sq">
              <a:solidFill>
                <a:srgbClr val="184BFF"/>
              </a:solidFill>
              <a:prstDash val="solid"/>
              <a:miter lim="800000"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62" name="Gráfico 32">
              <a:extLst>
                <a:ext uri="{FF2B5EF4-FFF2-40B4-BE49-F238E27FC236}">
                  <a16:creationId xmlns:a16="http://schemas.microsoft.com/office/drawing/2014/main" id="{1F6312D0-02F6-56E6-ACBD-278D0461B6FC}"/>
                </a:ext>
              </a:extLst>
            </p:cNvPr>
            <p:cNvGrpSpPr/>
            <p:nvPr/>
          </p:nvGrpSpPr>
          <p:grpSpPr>
            <a:xfrm>
              <a:off x="6061121" y="1359924"/>
              <a:ext cx="128487" cy="396366"/>
              <a:chOff x="6061121" y="1359924"/>
              <a:chExt cx="128487" cy="396366"/>
            </a:xfrm>
            <a:noFill/>
          </p:grpSpPr>
          <p:sp>
            <p:nvSpPr>
              <p:cNvPr id="177" name="Forma livre: Forma 176">
                <a:extLst>
                  <a:ext uri="{FF2B5EF4-FFF2-40B4-BE49-F238E27FC236}">
                    <a16:creationId xmlns:a16="http://schemas.microsoft.com/office/drawing/2014/main" id="{F75B2EAB-8FEB-FD67-1132-77DCE0C316C4}"/>
                  </a:ext>
                </a:extLst>
              </p:cNvPr>
              <p:cNvSpPr/>
              <p:nvPr/>
            </p:nvSpPr>
            <p:spPr>
              <a:xfrm>
                <a:off x="6083891" y="1359924"/>
                <a:ext cx="105717" cy="396366"/>
              </a:xfrm>
              <a:custGeom>
                <a:avLst/>
                <a:gdLst>
                  <a:gd name="connsiteX0" fmla="*/ 52891 w 105717"/>
                  <a:gd name="connsiteY0" fmla="*/ 105718 h 396366"/>
                  <a:gd name="connsiteX1" fmla="*/ 0 w 105717"/>
                  <a:gd name="connsiteY1" fmla="*/ 52891 h 396366"/>
                  <a:gd name="connsiteX2" fmla="*/ 52891 w 105717"/>
                  <a:gd name="connsiteY2" fmla="*/ 0 h 396366"/>
                  <a:gd name="connsiteX3" fmla="*/ 105718 w 105717"/>
                  <a:gd name="connsiteY3" fmla="*/ 52826 h 396366"/>
                  <a:gd name="connsiteX4" fmla="*/ 105718 w 105717"/>
                  <a:gd name="connsiteY4" fmla="*/ 346884 h 396366"/>
                  <a:gd name="connsiteX5" fmla="*/ 80606 w 105717"/>
                  <a:gd name="connsiteY5" fmla="*/ 388911 h 396366"/>
                  <a:gd name="connsiteX6" fmla="*/ 9238 w 105717"/>
                  <a:gd name="connsiteY6" fmla="*/ 371150 h 396366"/>
                  <a:gd name="connsiteX7" fmla="*/ 15484 w 105717"/>
                  <a:gd name="connsiteY7" fmla="*/ 309216 h 396366"/>
                  <a:gd name="connsiteX8" fmla="*/ 45019 w 105717"/>
                  <a:gd name="connsiteY8" fmla="*/ 277078 h 3963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05717" h="396366">
                    <a:moveTo>
                      <a:pt x="52891" y="105718"/>
                    </a:moveTo>
                    <a:cubicBezTo>
                      <a:pt x="23681" y="105718"/>
                      <a:pt x="0" y="82037"/>
                      <a:pt x="0" y="52891"/>
                    </a:cubicBezTo>
                    <a:cubicBezTo>
                      <a:pt x="0" y="23746"/>
                      <a:pt x="23681" y="0"/>
                      <a:pt x="52891" y="0"/>
                    </a:cubicBezTo>
                    <a:cubicBezTo>
                      <a:pt x="82102" y="0"/>
                      <a:pt x="105718" y="23681"/>
                      <a:pt x="105718" y="52826"/>
                    </a:cubicBezTo>
                    <a:lnTo>
                      <a:pt x="105718" y="346884"/>
                    </a:lnTo>
                    <a:cubicBezTo>
                      <a:pt x="105718" y="364580"/>
                      <a:pt x="96414" y="379413"/>
                      <a:pt x="80606" y="388911"/>
                    </a:cubicBezTo>
                    <a:cubicBezTo>
                      <a:pt x="55949" y="403744"/>
                      <a:pt x="24006" y="395742"/>
                      <a:pt x="9238" y="371150"/>
                    </a:cubicBezTo>
                    <a:cubicBezTo>
                      <a:pt x="-2928" y="350918"/>
                      <a:pt x="260" y="325741"/>
                      <a:pt x="15484" y="309216"/>
                    </a:cubicBezTo>
                    <a:lnTo>
                      <a:pt x="45019" y="277078"/>
                    </a:lnTo>
                  </a:path>
                </a:pathLst>
              </a:custGeom>
              <a:noFill/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78" name="Forma livre: Forma 177">
                <a:extLst>
                  <a:ext uri="{FF2B5EF4-FFF2-40B4-BE49-F238E27FC236}">
                    <a16:creationId xmlns:a16="http://schemas.microsoft.com/office/drawing/2014/main" id="{7B8B148B-CFC7-8B90-3D7F-DECE214DE30F}"/>
                  </a:ext>
                </a:extLst>
              </p:cNvPr>
              <p:cNvSpPr/>
              <p:nvPr/>
            </p:nvSpPr>
            <p:spPr>
              <a:xfrm>
                <a:off x="6144784" y="1383865"/>
                <a:ext cx="41563" cy="38963"/>
              </a:xfrm>
              <a:custGeom>
                <a:avLst/>
                <a:gdLst>
                  <a:gd name="connsiteX0" fmla="*/ 36172 w 41563"/>
                  <a:gd name="connsiteY0" fmla="*/ 0 h 38963"/>
                  <a:gd name="connsiteX1" fmla="*/ 39425 w 41563"/>
                  <a:gd name="connsiteY1" fmla="*/ 24266 h 38963"/>
                  <a:gd name="connsiteX2" fmla="*/ 36432 w 41563"/>
                  <a:gd name="connsiteY2" fmla="*/ 29080 h 38963"/>
                  <a:gd name="connsiteX3" fmla="*/ 0 w 41563"/>
                  <a:gd name="connsiteY3" fmla="*/ 33439 h 389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563" h="38963">
                    <a:moveTo>
                      <a:pt x="36172" y="0"/>
                    </a:moveTo>
                    <a:cubicBezTo>
                      <a:pt x="41571" y="7547"/>
                      <a:pt x="43393" y="16004"/>
                      <a:pt x="39425" y="24266"/>
                    </a:cubicBezTo>
                    <a:cubicBezTo>
                      <a:pt x="38644" y="25893"/>
                      <a:pt x="37603" y="27519"/>
                      <a:pt x="36432" y="29080"/>
                    </a:cubicBezTo>
                    <a:cubicBezTo>
                      <a:pt x="27584" y="40270"/>
                      <a:pt x="11190" y="42287"/>
                      <a:pt x="0" y="33439"/>
                    </a:cubicBezTo>
                  </a:path>
                </a:pathLst>
              </a:custGeom>
              <a:noFill/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79" name="Forma livre: Forma 178">
                <a:extLst>
                  <a:ext uri="{FF2B5EF4-FFF2-40B4-BE49-F238E27FC236}">
                    <a16:creationId xmlns:a16="http://schemas.microsoft.com/office/drawing/2014/main" id="{9CFA7A3D-124B-595A-9000-26598CD16CE1}"/>
                  </a:ext>
                </a:extLst>
              </p:cNvPr>
              <p:cNvSpPr/>
              <p:nvPr/>
            </p:nvSpPr>
            <p:spPr>
              <a:xfrm>
                <a:off x="6081487" y="1460806"/>
                <a:ext cx="34217" cy="54474"/>
              </a:xfrm>
              <a:custGeom>
                <a:avLst/>
                <a:gdLst>
                  <a:gd name="connsiteX0" fmla="*/ 21076 w 34217"/>
                  <a:gd name="connsiteY0" fmla="*/ 54475 h 54474"/>
                  <a:gd name="connsiteX1" fmla="*/ 778 w 34217"/>
                  <a:gd name="connsiteY1" fmla="*/ 21035 h 54474"/>
                  <a:gd name="connsiteX2" fmla="*/ 34217 w 34217"/>
                  <a:gd name="connsiteY2" fmla="*/ 803 h 544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4217" h="54474">
                    <a:moveTo>
                      <a:pt x="21076" y="54475"/>
                    </a:moveTo>
                    <a:cubicBezTo>
                      <a:pt x="6308" y="50832"/>
                      <a:pt x="-2800" y="35803"/>
                      <a:pt x="778" y="21035"/>
                    </a:cubicBezTo>
                    <a:cubicBezTo>
                      <a:pt x="4421" y="6267"/>
                      <a:pt x="19449" y="-2841"/>
                      <a:pt x="34217" y="803"/>
                    </a:cubicBezTo>
                  </a:path>
                </a:pathLst>
              </a:custGeom>
              <a:noFill/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80" name="Forma livre: Forma 179">
                <a:extLst>
                  <a:ext uri="{FF2B5EF4-FFF2-40B4-BE49-F238E27FC236}">
                    <a16:creationId xmlns:a16="http://schemas.microsoft.com/office/drawing/2014/main" id="{048B60AD-2B23-2094-1DAC-111CC2643C64}"/>
                  </a:ext>
                </a:extLst>
              </p:cNvPr>
              <p:cNvSpPr/>
              <p:nvPr/>
            </p:nvSpPr>
            <p:spPr>
              <a:xfrm>
                <a:off x="6073547" y="1527543"/>
                <a:ext cx="114760" cy="72506"/>
              </a:xfrm>
              <a:custGeom>
                <a:avLst/>
                <a:gdLst>
                  <a:gd name="connsiteX0" fmla="*/ 114760 w 114760"/>
                  <a:gd name="connsiteY0" fmla="*/ 7254 h 72506"/>
                  <a:gd name="connsiteX1" fmla="*/ 73905 w 114760"/>
                  <a:gd name="connsiteY1" fmla="*/ 8881 h 72506"/>
                  <a:gd name="connsiteX2" fmla="*/ 0 w 114760"/>
                  <a:gd name="connsiteY2" fmla="*/ 72506 h 725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14760" h="72506">
                    <a:moveTo>
                      <a:pt x="114760" y="7254"/>
                    </a:moveTo>
                    <a:cubicBezTo>
                      <a:pt x="103375" y="-2830"/>
                      <a:pt x="83989" y="-2504"/>
                      <a:pt x="73905" y="8881"/>
                    </a:cubicBezTo>
                    <a:cubicBezTo>
                      <a:pt x="73905" y="8881"/>
                      <a:pt x="31488" y="72506"/>
                      <a:pt x="0" y="72506"/>
                    </a:cubicBezTo>
                  </a:path>
                </a:pathLst>
              </a:custGeom>
              <a:noFill/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81" name="Forma livre: Forma 180">
                <a:extLst>
                  <a:ext uri="{FF2B5EF4-FFF2-40B4-BE49-F238E27FC236}">
                    <a16:creationId xmlns:a16="http://schemas.microsoft.com/office/drawing/2014/main" id="{4E9AEAC3-4619-1B2F-4E4C-BD00D3364475}"/>
                  </a:ext>
                </a:extLst>
              </p:cNvPr>
              <p:cNvSpPr/>
              <p:nvPr/>
            </p:nvSpPr>
            <p:spPr>
              <a:xfrm>
                <a:off x="6079857" y="1646956"/>
                <a:ext cx="29405" cy="9823"/>
              </a:xfrm>
              <a:custGeom>
                <a:avLst/>
                <a:gdLst>
                  <a:gd name="connsiteX0" fmla="*/ 0 w 29405"/>
                  <a:gd name="connsiteY0" fmla="*/ 0 h 9823"/>
                  <a:gd name="connsiteX1" fmla="*/ 29406 w 29405"/>
                  <a:gd name="connsiteY1" fmla="*/ 9824 h 98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9405" h="9823">
                    <a:moveTo>
                      <a:pt x="0" y="0"/>
                    </a:moveTo>
                    <a:lnTo>
                      <a:pt x="29406" y="9824"/>
                    </a:lnTo>
                  </a:path>
                </a:pathLst>
              </a:custGeom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82" name="Forma livre: Forma 181">
                <a:extLst>
                  <a:ext uri="{FF2B5EF4-FFF2-40B4-BE49-F238E27FC236}">
                    <a16:creationId xmlns:a16="http://schemas.microsoft.com/office/drawing/2014/main" id="{E0AED8E8-A5F9-29AD-2202-2A275520CD6D}"/>
                  </a:ext>
                </a:extLst>
              </p:cNvPr>
              <p:cNvSpPr/>
              <p:nvPr/>
            </p:nvSpPr>
            <p:spPr>
              <a:xfrm>
                <a:off x="6061121" y="1545272"/>
                <a:ext cx="47166" cy="34154"/>
              </a:xfrm>
              <a:custGeom>
                <a:avLst/>
                <a:gdLst>
                  <a:gd name="connsiteX0" fmla="*/ 0 w 47166"/>
                  <a:gd name="connsiteY0" fmla="*/ 0 h 34154"/>
                  <a:gd name="connsiteX1" fmla="*/ 47166 w 47166"/>
                  <a:gd name="connsiteY1" fmla="*/ 34155 h 341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166" h="34154">
                    <a:moveTo>
                      <a:pt x="0" y="0"/>
                    </a:moveTo>
                    <a:cubicBezTo>
                      <a:pt x="0" y="0"/>
                      <a:pt x="27649" y="13011"/>
                      <a:pt x="47166" y="34155"/>
                    </a:cubicBezTo>
                  </a:path>
                </a:pathLst>
              </a:custGeom>
              <a:noFill/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63" name="Gráfico 32">
              <a:extLst>
                <a:ext uri="{FF2B5EF4-FFF2-40B4-BE49-F238E27FC236}">
                  <a16:creationId xmlns:a16="http://schemas.microsoft.com/office/drawing/2014/main" id="{6CC24A89-F07A-D085-EB27-D1F4123BD3DF}"/>
                </a:ext>
              </a:extLst>
            </p:cNvPr>
            <p:cNvGrpSpPr/>
            <p:nvPr/>
          </p:nvGrpSpPr>
          <p:grpSpPr>
            <a:xfrm>
              <a:off x="6191625" y="1599725"/>
              <a:ext cx="173767" cy="157112"/>
              <a:chOff x="6191625" y="1599725"/>
              <a:chExt cx="173767" cy="157112"/>
            </a:xfrm>
            <a:noFill/>
          </p:grpSpPr>
          <p:sp>
            <p:nvSpPr>
              <p:cNvPr id="173" name="Forma livre: Forma 172">
                <a:extLst>
                  <a:ext uri="{FF2B5EF4-FFF2-40B4-BE49-F238E27FC236}">
                    <a16:creationId xmlns:a16="http://schemas.microsoft.com/office/drawing/2014/main" id="{875DDBD9-5DC1-E0F2-56F9-A191EB7C5080}"/>
                  </a:ext>
                </a:extLst>
              </p:cNvPr>
              <p:cNvSpPr/>
              <p:nvPr/>
            </p:nvSpPr>
            <p:spPr>
              <a:xfrm>
                <a:off x="6310094" y="1621974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74" name="Forma livre: Forma 173">
                <a:extLst>
                  <a:ext uri="{FF2B5EF4-FFF2-40B4-BE49-F238E27FC236}">
                    <a16:creationId xmlns:a16="http://schemas.microsoft.com/office/drawing/2014/main" id="{61F0CE7E-0CAE-B8F8-524F-04015F1314CB}"/>
                  </a:ext>
                </a:extLst>
              </p:cNvPr>
              <p:cNvSpPr/>
              <p:nvPr/>
            </p:nvSpPr>
            <p:spPr>
              <a:xfrm>
                <a:off x="6191625" y="1599725"/>
                <a:ext cx="118078" cy="49898"/>
              </a:xfrm>
              <a:custGeom>
                <a:avLst/>
                <a:gdLst>
                  <a:gd name="connsiteX0" fmla="*/ 0 w 118078"/>
                  <a:gd name="connsiteY0" fmla="*/ 0 h 49898"/>
                  <a:gd name="connsiteX1" fmla="*/ 37343 w 118078"/>
                  <a:gd name="connsiteY1" fmla="*/ 0 h 49898"/>
                  <a:gd name="connsiteX2" fmla="*/ 87176 w 118078"/>
                  <a:gd name="connsiteY2" fmla="*/ 49899 h 49898"/>
                  <a:gd name="connsiteX3" fmla="*/ 118078 w 118078"/>
                  <a:gd name="connsiteY3" fmla="*/ 49899 h 49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8078" h="49898">
                    <a:moveTo>
                      <a:pt x="0" y="0"/>
                    </a:moveTo>
                    <a:lnTo>
                      <a:pt x="37343" y="0"/>
                    </a:lnTo>
                    <a:lnTo>
                      <a:pt x="87176" y="49899"/>
                    </a:lnTo>
                    <a:lnTo>
                      <a:pt x="118078" y="49899"/>
                    </a:lnTo>
                  </a:path>
                </a:pathLst>
              </a:custGeom>
              <a:noFill/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75" name="Forma livre: Forma 174">
                <a:extLst>
                  <a:ext uri="{FF2B5EF4-FFF2-40B4-BE49-F238E27FC236}">
                    <a16:creationId xmlns:a16="http://schemas.microsoft.com/office/drawing/2014/main" id="{5FD2B67F-90EF-6A5A-9073-61420D3BA5F3}"/>
                  </a:ext>
                </a:extLst>
              </p:cNvPr>
              <p:cNvSpPr/>
              <p:nvPr/>
            </p:nvSpPr>
            <p:spPr>
              <a:xfrm>
                <a:off x="6191625" y="1665367"/>
                <a:ext cx="81906" cy="44108"/>
              </a:xfrm>
              <a:custGeom>
                <a:avLst/>
                <a:gdLst>
                  <a:gd name="connsiteX0" fmla="*/ 0 w 81906"/>
                  <a:gd name="connsiteY0" fmla="*/ 0 h 44108"/>
                  <a:gd name="connsiteX1" fmla="*/ 37343 w 81906"/>
                  <a:gd name="connsiteY1" fmla="*/ 0 h 44108"/>
                  <a:gd name="connsiteX2" fmla="*/ 81907 w 81906"/>
                  <a:gd name="connsiteY2" fmla="*/ 44109 h 441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1906" h="44108">
                    <a:moveTo>
                      <a:pt x="0" y="0"/>
                    </a:moveTo>
                    <a:lnTo>
                      <a:pt x="37343" y="0"/>
                    </a:lnTo>
                    <a:lnTo>
                      <a:pt x="81907" y="44109"/>
                    </a:lnTo>
                  </a:path>
                </a:pathLst>
              </a:custGeom>
              <a:noFill/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76" name="Forma livre: Forma 175">
                <a:extLst>
                  <a:ext uri="{FF2B5EF4-FFF2-40B4-BE49-F238E27FC236}">
                    <a16:creationId xmlns:a16="http://schemas.microsoft.com/office/drawing/2014/main" id="{D27885D9-BC7B-2C28-2CFA-F584F1C53AD3}"/>
                  </a:ext>
                </a:extLst>
              </p:cNvPr>
              <p:cNvSpPr/>
              <p:nvPr/>
            </p:nvSpPr>
            <p:spPr>
              <a:xfrm>
                <a:off x="6265075" y="1701539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64" name="Gráfico 32">
              <a:extLst>
                <a:ext uri="{FF2B5EF4-FFF2-40B4-BE49-F238E27FC236}">
                  <a16:creationId xmlns:a16="http://schemas.microsoft.com/office/drawing/2014/main" id="{4500A13C-4209-D3CE-8145-B42BFE952536}"/>
                </a:ext>
              </a:extLst>
            </p:cNvPr>
            <p:cNvGrpSpPr/>
            <p:nvPr/>
          </p:nvGrpSpPr>
          <p:grpSpPr>
            <a:xfrm>
              <a:off x="6191625" y="1357908"/>
              <a:ext cx="173767" cy="157112"/>
              <a:chOff x="6191625" y="1357908"/>
              <a:chExt cx="173767" cy="157112"/>
            </a:xfrm>
            <a:noFill/>
          </p:grpSpPr>
          <p:sp>
            <p:nvSpPr>
              <p:cNvPr id="169" name="Forma livre: Forma 168">
                <a:extLst>
                  <a:ext uri="{FF2B5EF4-FFF2-40B4-BE49-F238E27FC236}">
                    <a16:creationId xmlns:a16="http://schemas.microsoft.com/office/drawing/2014/main" id="{D89CD275-EF1D-0558-1C15-70DA78A629E6}"/>
                  </a:ext>
                </a:extLst>
              </p:cNvPr>
              <p:cNvSpPr/>
              <p:nvPr/>
            </p:nvSpPr>
            <p:spPr>
              <a:xfrm>
                <a:off x="6310094" y="1437472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0 h 55298"/>
                  <a:gd name="connsiteX2" fmla="*/ 0 w 55298"/>
                  <a:gd name="connsiteY2" fmla="*/ 27649 h 55298"/>
                  <a:gd name="connsiteX3" fmla="*/ 27649 w 55298"/>
                  <a:gd name="connsiteY3" fmla="*/ 55298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12361"/>
                      <a:pt x="42938" y="0"/>
                      <a:pt x="27649" y="0"/>
                    </a:cubicBezTo>
                    <a:cubicBezTo>
                      <a:pt x="12361" y="0"/>
                      <a:pt x="0" y="12361"/>
                      <a:pt x="0" y="27649"/>
                    </a:cubicBezTo>
                    <a:cubicBezTo>
                      <a:pt x="0" y="42938"/>
                      <a:pt x="12361" y="55298"/>
                      <a:pt x="27649" y="55298"/>
                    </a:cubicBezTo>
                    <a:cubicBezTo>
                      <a:pt x="42938" y="55298"/>
                      <a:pt x="55298" y="42938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70" name="Forma livre: Forma 169">
                <a:extLst>
                  <a:ext uri="{FF2B5EF4-FFF2-40B4-BE49-F238E27FC236}">
                    <a16:creationId xmlns:a16="http://schemas.microsoft.com/office/drawing/2014/main" id="{2CA65F1C-725A-3F78-1D02-26F9D6FD241E}"/>
                  </a:ext>
                </a:extLst>
              </p:cNvPr>
              <p:cNvSpPr/>
              <p:nvPr/>
            </p:nvSpPr>
            <p:spPr>
              <a:xfrm>
                <a:off x="6191625" y="1465122"/>
                <a:ext cx="118468" cy="49898"/>
              </a:xfrm>
              <a:custGeom>
                <a:avLst/>
                <a:gdLst>
                  <a:gd name="connsiteX0" fmla="*/ 0 w 118468"/>
                  <a:gd name="connsiteY0" fmla="*/ 49899 h 49898"/>
                  <a:gd name="connsiteX1" fmla="*/ 37343 w 118468"/>
                  <a:gd name="connsiteY1" fmla="*/ 49899 h 49898"/>
                  <a:gd name="connsiteX2" fmla="*/ 87176 w 118468"/>
                  <a:gd name="connsiteY2" fmla="*/ 0 h 49898"/>
                  <a:gd name="connsiteX3" fmla="*/ 118469 w 118468"/>
                  <a:gd name="connsiteY3" fmla="*/ 0 h 49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8468" h="49898">
                    <a:moveTo>
                      <a:pt x="0" y="49899"/>
                    </a:moveTo>
                    <a:lnTo>
                      <a:pt x="37343" y="49899"/>
                    </a:lnTo>
                    <a:lnTo>
                      <a:pt x="87176" y="0"/>
                    </a:lnTo>
                    <a:lnTo>
                      <a:pt x="118469" y="0"/>
                    </a:lnTo>
                  </a:path>
                </a:pathLst>
              </a:custGeom>
              <a:noFill/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71" name="Forma livre: Forma 170">
                <a:extLst>
                  <a:ext uri="{FF2B5EF4-FFF2-40B4-BE49-F238E27FC236}">
                    <a16:creationId xmlns:a16="http://schemas.microsoft.com/office/drawing/2014/main" id="{F8288AB6-6127-C50C-C8AF-9FD67EA9339F}"/>
                  </a:ext>
                </a:extLst>
              </p:cNvPr>
              <p:cNvSpPr/>
              <p:nvPr/>
            </p:nvSpPr>
            <p:spPr>
              <a:xfrm>
                <a:off x="6191625" y="1405269"/>
                <a:ext cx="81451" cy="44043"/>
              </a:xfrm>
              <a:custGeom>
                <a:avLst/>
                <a:gdLst>
                  <a:gd name="connsiteX0" fmla="*/ 0 w 81451"/>
                  <a:gd name="connsiteY0" fmla="*/ 44044 h 44043"/>
                  <a:gd name="connsiteX1" fmla="*/ 37343 w 81451"/>
                  <a:gd name="connsiteY1" fmla="*/ 44044 h 44043"/>
                  <a:gd name="connsiteX2" fmla="*/ 81451 w 81451"/>
                  <a:gd name="connsiteY2" fmla="*/ 0 h 440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1451" h="44043">
                    <a:moveTo>
                      <a:pt x="0" y="44044"/>
                    </a:moveTo>
                    <a:lnTo>
                      <a:pt x="37343" y="44044"/>
                    </a:lnTo>
                    <a:lnTo>
                      <a:pt x="81451" y="0"/>
                    </a:lnTo>
                  </a:path>
                </a:pathLst>
              </a:custGeom>
              <a:noFill/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72" name="Forma livre: Forma 171">
                <a:extLst>
                  <a:ext uri="{FF2B5EF4-FFF2-40B4-BE49-F238E27FC236}">
                    <a16:creationId xmlns:a16="http://schemas.microsoft.com/office/drawing/2014/main" id="{6132B025-E49D-F684-4E24-975437FA07A6}"/>
                  </a:ext>
                </a:extLst>
              </p:cNvPr>
              <p:cNvSpPr/>
              <p:nvPr/>
            </p:nvSpPr>
            <p:spPr>
              <a:xfrm>
                <a:off x="6265075" y="1357908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0 h 55298"/>
                  <a:gd name="connsiteX2" fmla="*/ 0 w 55298"/>
                  <a:gd name="connsiteY2" fmla="*/ 27649 h 55298"/>
                  <a:gd name="connsiteX3" fmla="*/ 27649 w 55298"/>
                  <a:gd name="connsiteY3" fmla="*/ 55298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12361"/>
                      <a:pt x="42938" y="0"/>
                      <a:pt x="27649" y="0"/>
                    </a:cubicBezTo>
                    <a:cubicBezTo>
                      <a:pt x="12361" y="0"/>
                      <a:pt x="0" y="12361"/>
                      <a:pt x="0" y="27649"/>
                    </a:cubicBezTo>
                    <a:cubicBezTo>
                      <a:pt x="0" y="42938"/>
                      <a:pt x="12361" y="55298"/>
                      <a:pt x="27649" y="55298"/>
                    </a:cubicBezTo>
                    <a:cubicBezTo>
                      <a:pt x="42938" y="55298"/>
                      <a:pt x="55298" y="42938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65" name="Gráfico 32">
              <a:extLst>
                <a:ext uri="{FF2B5EF4-FFF2-40B4-BE49-F238E27FC236}">
                  <a16:creationId xmlns:a16="http://schemas.microsoft.com/office/drawing/2014/main" id="{7B1EEA3F-E842-1E55-C6F5-64C9DD83C57F}"/>
                </a:ext>
              </a:extLst>
            </p:cNvPr>
            <p:cNvGrpSpPr/>
            <p:nvPr/>
          </p:nvGrpSpPr>
          <p:grpSpPr>
            <a:xfrm>
              <a:off x="6190910" y="1529723"/>
              <a:ext cx="123673" cy="55298"/>
              <a:chOff x="6190910" y="1529723"/>
              <a:chExt cx="123673" cy="55298"/>
            </a:xfrm>
            <a:noFill/>
          </p:grpSpPr>
          <p:sp>
            <p:nvSpPr>
              <p:cNvPr id="167" name="Forma livre: Forma 166">
                <a:extLst>
                  <a:ext uri="{FF2B5EF4-FFF2-40B4-BE49-F238E27FC236}">
                    <a16:creationId xmlns:a16="http://schemas.microsoft.com/office/drawing/2014/main" id="{CB065D06-3760-9912-5EB8-80183D3ADFF0}"/>
                  </a:ext>
                </a:extLst>
              </p:cNvPr>
              <p:cNvSpPr/>
              <p:nvPr/>
            </p:nvSpPr>
            <p:spPr>
              <a:xfrm>
                <a:off x="6190910" y="1557372"/>
                <a:ext cx="68765" cy="6505"/>
              </a:xfrm>
              <a:custGeom>
                <a:avLst/>
                <a:gdLst>
                  <a:gd name="connsiteX0" fmla="*/ 0 w 68765"/>
                  <a:gd name="connsiteY0" fmla="*/ 0 h 6505"/>
                  <a:gd name="connsiteX1" fmla="*/ 68765 w 68765"/>
                  <a:gd name="connsiteY1" fmla="*/ 0 h 65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8765" h="6505">
                    <a:moveTo>
                      <a:pt x="0" y="0"/>
                    </a:moveTo>
                    <a:lnTo>
                      <a:pt x="68765" y="0"/>
                    </a:lnTo>
                  </a:path>
                </a:pathLst>
              </a:custGeom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68" name="Forma livre: Forma 167">
                <a:extLst>
                  <a:ext uri="{FF2B5EF4-FFF2-40B4-BE49-F238E27FC236}">
                    <a16:creationId xmlns:a16="http://schemas.microsoft.com/office/drawing/2014/main" id="{C6CFE981-E59D-58D8-9D56-E6755A749D1F}"/>
                  </a:ext>
                </a:extLst>
              </p:cNvPr>
              <p:cNvSpPr/>
              <p:nvPr/>
            </p:nvSpPr>
            <p:spPr>
              <a:xfrm>
                <a:off x="6259285" y="1529723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66" name="Forma livre: Forma 165">
              <a:extLst>
                <a:ext uri="{FF2B5EF4-FFF2-40B4-BE49-F238E27FC236}">
                  <a16:creationId xmlns:a16="http://schemas.microsoft.com/office/drawing/2014/main" id="{F199F16B-E8EA-ED52-99EC-BA45E492616B}"/>
                </a:ext>
              </a:extLst>
            </p:cNvPr>
            <p:cNvSpPr/>
            <p:nvPr/>
          </p:nvSpPr>
          <p:spPr>
            <a:xfrm>
              <a:off x="6152201" y="1686285"/>
              <a:ext cx="37362" cy="20848"/>
            </a:xfrm>
            <a:custGeom>
              <a:avLst/>
              <a:gdLst>
                <a:gd name="connsiteX0" fmla="*/ 0 w 37362"/>
                <a:gd name="connsiteY0" fmla="*/ 10505 h 20848"/>
                <a:gd name="connsiteX1" fmla="*/ 27064 w 37362"/>
                <a:gd name="connsiteY1" fmla="*/ 2373 h 20848"/>
                <a:gd name="connsiteX2" fmla="*/ 37343 w 37362"/>
                <a:gd name="connsiteY2" fmla="*/ 20849 h 20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7362" h="20848">
                  <a:moveTo>
                    <a:pt x="0" y="10505"/>
                  </a:moveTo>
                  <a:cubicBezTo>
                    <a:pt x="5205" y="811"/>
                    <a:pt x="17435" y="-2832"/>
                    <a:pt x="27064" y="2373"/>
                  </a:cubicBezTo>
                  <a:cubicBezTo>
                    <a:pt x="34025" y="6081"/>
                    <a:pt x="37668" y="13432"/>
                    <a:pt x="37343" y="20849"/>
                  </a:cubicBezTo>
                </a:path>
              </a:pathLst>
            </a:custGeom>
            <a:noFill/>
            <a:ln w="19050" cap="sq">
              <a:solidFill>
                <a:srgbClr val="184BFF"/>
              </a:solidFill>
              <a:prstDash val="solid"/>
              <a:miter lim="800000"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sp>
        <p:nvSpPr>
          <p:cNvPr id="21" name="Marcador de pie de página 20">
            <a:extLst>
              <a:ext uri="{FF2B5EF4-FFF2-40B4-BE49-F238E27FC236}">
                <a16:creationId xmlns:a16="http://schemas.microsoft.com/office/drawing/2014/main" id="{565D94FE-99AD-4FB9-9DA3-B47036CE5A3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pt-PT"/>
              <a:t>Título de la presentación</a:t>
            </a:r>
            <a:endParaRPr lang="pt-PT" dirty="0"/>
          </a:p>
        </p:txBody>
      </p:sp>
      <p:sp>
        <p:nvSpPr>
          <p:cNvPr id="183" name="Marcador de número de diapositiva 182">
            <a:extLst>
              <a:ext uri="{FF2B5EF4-FFF2-40B4-BE49-F238E27FC236}">
                <a16:creationId xmlns:a16="http://schemas.microsoft.com/office/drawing/2014/main" id="{E83C7146-9A31-4425-BCE1-17672BB5075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4A347C2-D68E-473A-8C76-1D063E4EB6E0}" type="slidenum">
              <a:rPr lang="es-ES" smtClean="0"/>
              <a:pPr/>
              <a:t>46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5987969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6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9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1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5A97D84E-3FCD-2DD9-DF34-B7632B041A8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PT" dirty="0"/>
              <a:t>Ejemplo de título de slide</a:t>
            </a:r>
          </a:p>
        </p:txBody>
      </p:sp>
      <p:sp>
        <p:nvSpPr>
          <p:cNvPr id="3" name="Marcador de Posição do Texto 2">
            <a:extLst>
              <a:ext uri="{FF2B5EF4-FFF2-40B4-BE49-F238E27FC236}">
                <a16:creationId xmlns:a16="http://schemas.microsoft.com/office/drawing/2014/main" id="{0868A589-460F-9F1E-725C-B055A72B2C7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>
            <a:normAutofit lnSpcReduction="10000"/>
          </a:bodyPr>
          <a:lstStyle/>
          <a:p>
            <a:r>
              <a:rPr lang="es-ES" dirty="0"/>
              <a:t>Ejemplo de subtítulo de </a:t>
            </a:r>
            <a:r>
              <a:rPr lang="es-ES" dirty="0" err="1"/>
              <a:t>slide</a:t>
            </a:r>
            <a:endParaRPr lang="pt-PT" dirty="0"/>
          </a:p>
        </p:txBody>
      </p:sp>
      <p:sp>
        <p:nvSpPr>
          <p:cNvPr id="4" name="Marcador de Posição do Texto 3">
            <a:extLst>
              <a:ext uri="{FF2B5EF4-FFF2-40B4-BE49-F238E27FC236}">
                <a16:creationId xmlns:a16="http://schemas.microsoft.com/office/drawing/2014/main" id="{56AF2671-4F45-B5E7-FB3F-61231688E1C4}"/>
              </a:ext>
            </a:extLst>
          </p:cNvPr>
          <p:cNvSpPr>
            <a:spLocks noGrp="1"/>
          </p:cNvSpPr>
          <p:nvPr>
            <p:ph type="body" sz="quarter" idx="74"/>
          </p:nvPr>
        </p:nvSpPr>
        <p:spPr/>
        <p:txBody>
          <a:bodyPr/>
          <a:lstStyle/>
          <a:p>
            <a:r>
              <a:rPr lang="pt-PT" dirty="0"/>
              <a:t>Data </a:t>
            </a:r>
            <a:r>
              <a:rPr lang="pt-PT" dirty="0" err="1"/>
              <a:t>Governance</a:t>
            </a:r>
            <a:r>
              <a:rPr lang="pt-PT" dirty="0"/>
              <a:t> </a:t>
            </a:r>
            <a:r>
              <a:rPr lang="pt-PT" dirty="0" err="1"/>
              <a:t>Strategy</a:t>
            </a:r>
            <a:r>
              <a:rPr lang="pt-PT" dirty="0"/>
              <a:t> – </a:t>
            </a:r>
            <a:r>
              <a:rPr lang="pt-PT" dirty="0" err="1"/>
              <a:t>Centralized</a:t>
            </a:r>
            <a:r>
              <a:rPr lang="pt-PT" dirty="0"/>
              <a:t> / </a:t>
            </a:r>
            <a:r>
              <a:rPr lang="pt-PT" dirty="0" err="1"/>
              <a:t>Decentralized</a:t>
            </a:r>
            <a:r>
              <a:rPr lang="pt-PT" dirty="0"/>
              <a:t> / </a:t>
            </a:r>
            <a:r>
              <a:rPr lang="pt-PT" dirty="0" err="1"/>
              <a:t>Hybrid</a:t>
            </a:r>
            <a:r>
              <a:rPr lang="pt-PT" dirty="0"/>
              <a:t> </a:t>
            </a:r>
          </a:p>
        </p:txBody>
      </p:sp>
      <p:sp>
        <p:nvSpPr>
          <p:cNvPr id="5" name="Marcador de Posição do Texto 4">
            <a:extLst>
              <a:ext uri="{FF2B5EF4-FFF2-40B4-BE49-F238E27FC236}">
                <a16:creationId xmlns:a16="http://schemas.microsoft.com/office/drawing/2014/main" id="{D10E9246-7A6F-6D92-40BA-B1B5F1D9EA88}"/>
              </a:ext>
            </a:extLst>
          </p:cNvPr>
          <p:cNvSpPr>
            <a:spLocks noGrp="1"/>
          </p:cNvSpPr>
          <p:nvPr>
            <p:ph type="body" sz="quarter" idx="75"/>
          </p:nvPr>
        </p:nvSpPr>
        <p:spPr/>
        <p:txBody>
          <a:bodyPr/>
          <a:lstStyle/>
          <a:p>
            <a:r>
              <a:rPr lang="pt-PT" dirty="0"/>
              <a:t>Data </a:t>
            </a:r>
            <a:r>
              <a:rPr lang="pt-PT" dirty="0" err="1"/>
              <a:t>Platform</a:t>
            </a:r>
            <a:r>
              <a:rPr lang="pt-PT" dirty="0"/>
              <a:t> </a:t>
            </a:r>
            <a:r>
              <a:rPr lang="pt-PT" dirty="0" err="1"/>
              <a:t>Strategy</a:t>
            </a:r>
            <a:r>
              <a:rPr lang="pt-PT" dirty="0"/>
              <a:t> – Data Access </a:t>
            </a:r>
            <a:r>
              <a:rPr lang="pt-PT" dirty="0" err="1"/>
              <a:t>Owners</a:t>
            </a:r>
            <a:r>
              <a:rPr lang="pt-PT" dirty="0"/>
              <a:t> + Data Catalogue &amp; </a:t>
            </a:r>
            <a:r>
              <a:rPr lang="pt-PT" dirty="0" err="1"/>
              <a:t>Lineage</a:t>
            </a:r>
            <a:r>
              <a:rPr lang="pt-PT" dirty="0"/>
              <a:t> + </a:t>
            </a:r>
            <a:r>
              <a:rPr lang="pt-PT" dirty="0" err="1"/>
              <a:t>Master</a:t>
            </a:r>
            <a:r>
              <a:rPr lang="pt-PT" dirty="0"/>
              <a:t> Data Management </a:t>
            </a:r>
          </a:p>
        </p:txBody>
      </p:sp>
      <p:sp>
        <p:nvSpPr>
          <p:cNvPr id="6" name="Marcador de Posição do Texto 5">
            <a:extLst>
              <a:ext uri="{FF2B5EF4-FFF2-40B4-BE49-F238E27FC236}">
                <a16:creationId xmlns:a16="http://schemas.microsoft.com/office/drawing/2014/main" id="{372F1B23-5D91-CDC2-D445-512601C2F600}"/>
              </a:ext>
            </a:extLst>
          </p:cNvPr>
          <p:cNvSpPr>
            <a:spLocks noGrp="1"/>
          </p:cNvSpPr>
          <p:nvPr>
            <p:ph type="body" sz="quarter" idx="76"/>
          </p:nvPr>
        </p:nvSpPr>
        <p:spPr/>
        <p:txBody>
          <a:bodyPr/>
          <a:lstStyle/>
          <a:p>
            <a:r>
              <a:rPr lang="pt-PT" dirty="0" err="1"/>
              <a:t>Tech</a:t>
            </a:r>
            <a:r>
              <a:rPr lang="pt-PT" dirty="0"/>
              <a:t> </a:t>
            </a:r>
            <a:r>
              <a:rPr lang="pt-PT" dirty="0" err="1"/>
              <a:t>Stack</a:t>
            </a:r>
            <a:r>
              <a:rPr lang="pt-PT" dirty="0"/>
              <a:t> </a:t>
            </a:r>
            <a:r>
              <a:rPr lang="pt-PT" dirty="0" err="1"/>
              <a:t>Partners</a:t>
            </a:r>
            <a:r>
              <a:rPr lang="pt-PT" dirty="0"/>
              <a:t> : Google </a:t>
            </a:r>
            <a:r>
              <a:rPr lang="pt-PT" dirty="0" err="1"/>
              <a:t>Big</a:t>
            </a:r>
            <a:r>
              <a:rPr lang="pt-PT" dirty="0"/>
              <a:t> </a:t>
            </a:r>
            <a:r>
              <a:rPr lang="pt-PT" dirty="0" err="1"/>
              <a:t>Query</a:t>
            </a:r>
            <a:r>
              <a:rPr lang="pt-PT" dirty="0"/>
              <a:t> / </a:t>
            </a:r>
            <a:r>
              <a:rPr lang="pt-PT" dirty="0" err="1"/>
              <a:t>AWS</a:t>
            </a:r>
            <a:r>
              <a:rPr lang="pt-PT" dirty="0"/>
              <a:t> / </a:t>
            </a:r>
            <a:r>
              <a:rPr lang="pt-PT" dirty="0" err="1"/>
              <a:t>Synapse</a:t>
            </a:r>
            <a:r>
              <a:rPr lang="pt-PT" dirty="0"/>
              <a:t>  /</a:t>
            </a:r>
            <a:r>
              <a:rPr lang="pt-PT" dirty="0" err="1"/>
              <a:t>dbt</a:t>
            </a:r>
            <a:r>
              <a:rPr lang="pt-PT" dirty="0"/>
              <a:t> </a:t>
            </a:r>
            <a:r>
              <a:rPr lang="pt-PT" dirty="0" err="1"/>
              <a:t>and</a:t>
            </a:r>
            <a:r>
              <a:rPr lang="pt-PT" dirty="0"/>
              <a:t> </a:t>
            </a:r>
            <a:r>
              <a:rPr lang="pt-PT" dirty="0" err="1"/>
              <a:t>Snowflake</a:t>
            </a:r>
            <a:r>
              <a:rPr lang="pt-PT" dirty="0"/>
              <a:t> / Data </a:t>
            </a:r>
            <a:r>
              <a:rPr lang="pt-PT" dirty="0" err="1"/>
              <a:t>Bricks</a:t>
            </a:r>
            <a:r>
              <a:rPr lang="pt-PT" dirty="0"/>
              <a:t> / SAS / etc...</a:t>
            </a:r>
          </a:p>
        </p:txBody>
      </p:sp>
      <p:sp>
        <p:nvSpPr>
          <p:cNvPr id="7" name="Marcador de Posição do Texto 6">
            <a:extLst>
              <a:ext uri="{FF2B5EF4-FFF2-40B4-BE49-F238E27FC236}">
                <a16:creationId xmlns:a16="http://schemas.microsoft.com/office/drawing/2014/main" id="{C566D2F8-5CF1-8755-3DA1-18A6B8B3DD89}"/>
              </a:ext>
            </a:extLst>
          </p:cNvPr>
          <p:cNvSpPr>
            <a:spLocks noGrp="1"/>
          </p:cNvSpPr>
          <p:nvPr>
            <p:ph type="body" sz="quarter" idx="68"/>
          </p:nvPr>
        </p:nvSpPr>
        <p:spPr/>
        <p:txBody>
          <a:bodyPr/>
          <a:lstStyle/>
          <a:p>
            <a:r>
              <a:rPr lang="en-US" dirty="0"/>
              <a:t>Ingesting and </a:t>
            </a:r>
            <a:br>
              <a:rPr lang="en-US" dirty="0"/>
            </a:br>
            <a:r>
              <a:rPr lang="en-US" dirty="0"/>
              <a:t>Cleaning Data </a:t>
            </a:r>
            <a:br>
              <a:rPr lang="en-US" dirty="0"/>
            </a:br>
            <a:r>
              <a:rPr lang="en-US" dirty="0"/>
              <a:t>Process</a:t>
            </a:r>
          </a:p>
        </p:txBody>
      </p:sp>
      <p:sp>
        <p:nvSpPr>
          <p:cNvPr id="8" name="Marcador de Posição do Texto 7">
            <a:extLst>
              <a:ext uri="{FF2B5EF4-FFF2-40B4-BE49-F238E27FC236}">
                <a16:creationId xmlns:a16="http://schemas.microsoft.com/office/drawing/2014/main" id="{AB9AF5E2-1882-79C4-D9AB-E65BA63F00C7}"/>
              </a:ext>
            </a:extLst>
          </p:cNvPr>
          <p:cNvSpPr>
            <a:spLocks noGrp="1"/>
          </p:cNvSpPr>
          <p:nvPr>
            <p:ph type="body" sz="quarter" idx="77"/>
          </p:nvPr>
        </p:nvSpPr>
        <p:spPr/>
        <p:txBody>
          <a:bodyPr/>
          <a:lstStyle/>
          <a:p>
            <a:r>
              <a:rPr lang="pt-PT" dirty="0"/>
              <a:t>Data </a:t>
            </a:r>
            <a:r>
              <a:rPr lang="pt-PT" dirty="0" err="1"/>
              <a:t>Table</a:t>
            </a:r>
            <a:endParaRPr lang="pt-PT" dirty="0"/>
          </a:p>
        </p:txBody>
      </p:sp>
      <p:sp>
        <p:nvSpPr>
          <p:cNvPr id="9" name="Marcador de Posição do Texto 8">
            <a:extLst>
              <a:ext uri="{FF2B5EF4-FFF2-40B4-BE49-F238E27FC236}">
                <a16:creationId xmlns:a16="http://schemas.microsoft.com/office/drawing/2014/main" id="{014CFEB0-22DE-F19B-7E8D-B4887637A7AD}"/>
              </a:ext>
            </a:extLst>
          </p:cNvPr>
          <p:cNvSpPr>
            <a:spLocks noGrp="1"/>
          </p:cNvSpPr>
          <p:nvPr>
            <p:ph type="body" sz="quarter" idx="78"/>
          </p:nvPr>
        </p:nvSpPr>
        <p:spPr/>
        <p:txBody>
          <a:bodyPr/>
          <a:lstStyle/>
          <a:p>
            <a:r>
              <a:rPr lang="pt-PT" dirty="0"/>
              <a:t>Data </a:t>
            </a:r>
            <a:r>
              <a:rPr lang="pt-PT" dirty="0" err="1"/>
              <a:t>Table</a:t>
            </a:r>
            <a:endParaRPr lang="pt-PT" dirty="0"/>
          </a:p>
        </p:txBody>
      </p:sp>
      <p:sp>
        <p:nvSpPr>
          <p:cNvPr id="10" name="Marcador de Posição do Texto 9">
            <a:extLst>
              <a:ext uri="{FF2B5EF4-FFF2-40B4-BE49-F238E27FC236}">
                <a16:creationId xmlns:a16="http://schemas.microsoft.com/office/drawing/2014/main" id="{1E06045A-8031-2B2D-5CC4-AD6647ADE3C5}"/>
              </a:ext>
            </a:extLst>
          </p:cNvPr>
          <p:cNvSpPr>
            <a:spLocks noGrp="1"/>
          </p:cNvSpPr>
          <p:nvPr>
            <p:ph type="body" sz="quarter" idx="79"/>
          </p:nvPr>
        </p:nvSpPr>
        <p:spPr/>
        <p:txBody>
          <a:bodyPr/>
          <a:lstStyle/>
          <a:p>
            <a:r>
              <a:rPr lang="pt-PT" dirty="0" err="1"/>
              <a:t>Domain</a:t>
            </a:r>
            <a:r>
              <a:rPr lang="pt-PT" dirty="0"/>
              <a:t> Team A </a:t>
            </a:r>
          </a:p>
        </p:txBody>
      </p:sp>
      <p:sp>
        <p:nvSpPr>
          <p:cNvPr id="11" name="Marcador de Posição do Texto 10">
            <a:extLst>
              <a:ext uri="{FF2B5EF4-FFF2-40B4-BE49-F238E27FC236}">
                <a16:creationId xmlns:a16="http://schemas.microsoft.com/office/drawing/2014/main" id="{EC12DD4B-8DA7-2F86-70A0-57AF67ACEA32}"/>
              </a:ext>
            </a:extLst>
          </p:cNvPr>
          <p:cNvSpPr>
            <a:spLocks noGrp="1"/>
          </p:cNvSpPr>
          <p:nvPr>
            <p:ph type="body" sz="quarter" idx="80"/>
          </p:nvPr>
        </p:nvSpPr>
        <p:spPr/>
        <p:txBody>
          <a:bodyPr/>
          <a:lstStyle/>
          <a:p>
            <a:r>
              <a:rPr lang="pt-PT" dirty="0" err="1"/>
              <a:t>Analytics</a:t>
            </a:r>
            <a:r>
              <a:rPr lang="pt-PT" dirty="0"/>
              <a:t> + ML</a:t>
            </a:r>
          </a:p>
        </p:txBody>
      </p:sp>
      <p:sp>
        <p:nvSpPr>
          <p:cNvPr id="25" name="Marcador de Posição do Texto 24">
            <a:extLst>
              <a:ext uri="{FF2B5EF4-FFF2-40B4-BE49-F238E27FC236}">
                <a16:creationId xmlns:a16="http://schemas.microsoft.com/office/drawing/2014/main" id="{FF2D1A63-F773-8190-F7E7-7BFA2E079755}"/>
              </a:ext>
            </a:extLst>
          </p:cNvPr>
          <p:cNvSpPr>
            <a:spLocks noGrp="1"/>
          </p:cNvSpPr>
          <p:nvPr>
            <p:ph type="body" sz="quarter" idx="81"/>
          </p:nvPr>
        </p:nvSpPr>
        <p:spPr/>
        <p:txBody>
          <a:bodyPr>
            <a:normAutofit/>
          </a:bodyPr>
          <a:lstStyle/>
          <a:p>
            <a:r>
              <a:rPr lang="pt-PT" dirty="0" err="1"/>
              <a:t>Domain</a:t>
            </a:r>
            <a:r>
              <a:rPr lang="pt-PT" dirty="0"/>
              <a:t> Team D </a:t>
            </a:r>
          </a:p>
        </p:txBody>
      </p:sp>
      <p:sp>
        <p:nvSpPr>
          <p:cNvPr id="20" name="Marcador de Posição do Texto 19">
            <a:extLst>
              <a:ext uri="{FF2B5EF4-FFF2-40B4-BE49-F238E27FC236}">
                <a16:creationId xmlns:a16="http://schemas.microsoft.com/office/drawing/2014/main" id="{A04682CC-7A09-6FAF-6B52-5C4E83C178FA}"/>
              </a:ext>
            </a:extLst>
          </p:cNvPr>
          <p:cNvSpPr>
            <a:spLocks noGrp="1"/>
          </p:cNvSpPr>
          <p:nvPr>
            <p:ph type="body" sz="quarter" idx="85"/>
          </p:nvPr>
        </p:nvSpPr>
        <p:spPr/>
        <p:txBody>
          <a:bodyPr/>
          <a:lstStyle/>
          <a:p>
            <a:r>
              <a:rPr lang="pt-PT" dirty="0"/>
              <a:t>Data </a:t>
            </a:r>
            <a:r>
              <a:rPr lang="pt-PT" dirty="0" err="1"/>
              <a:t>Product</a:t>
            </a:r>
            <a:endParaRPr lang="pt-PT" dirty="0"/>
          </a:p>
        </p:txBody>
      </p:sp>
      <p:sp>
        <p:nvSpPr>
          <p:cNvPr id="30" name="Marcador de Posição do Texto 29">
            <a:extLst>
              <a:ext uri="{FF2B5EF4-FFF2-40B4-BE49-F238E27FC236}">
                <a16:creationId xmlns:a16="http://schemas.microsoft.com/office/drawing/2014/main" id="{D619F285-F429-0831-EFE2-1144F87B1272}"/>
              </a:ext>
            </a:extLst>
          </p:cNvPr>
          <p:cNvSpPr>
            <a:spLocks noGrp="1"/>
          </p:cNvSpPr>
          <p:nvPr>
            <p:ph type="body" sz="quarter" idx="86"/>
          </p:nvPr>
        </p:nvSpPr>
        <p:spPr/>
        <p:txBody>
          <a:bodyPr/>
          <a:lstStyle/>
          <a:p>
            <a:r>
              <a:rPr lang="pt-PT" dirty="0" err="1"/>
              <a:t>Domain</a:t>
            </a:r>
            <a:r>
              <a:rPr lang="pt-PT" dirty="0"/>
              <a:t> Team …</a:t>
            </a:r>
          </a:p>
        </p:txBody>
      </p:sp>
      <p:sp>
        <p:nvSpPr>
          <p:cNvPr id="31" name="Marcador de Posição do Texto 30">
            <a:extLst>
              <a:ext uri="{FF2B5EF4-FFF2-40B4-BE49-F238E27FC236}">
                <a16:creationId xmlns:a16="http://schemas.microsoft.com/office/drawing/2014/main" id="{B7EE22E5-DADE-BE9B-25EC-5023688F2D9B}"/>
              </a:ext>
            </a:extLst>
          </p:cNvPr>
          <p:cNvSpPr>
            <a:spLocks noGrp="1"/>
          </p:cNvSpPr>
          <p:nvPr>
            <p:ph type="body" sz="quarter" idx="87"/>
          </p:nvPr>
        </p:nvSpPr>
        <p:spPr/>
        <p:txBody>
          <a:bodyPr/>
          <a:lstStyle/>
          <a:p>
            <a:r>
              <a:rPr lang="pt-PT" dirty="0" err="1"/>
              <a:t>Domain</a:t>
            </a:r>
            <a:r>
              <a:rPr lang="pt-PT" dirty="0"/>
              <a:t> Team N </a:t>
            </a:r>
          </a:p>
        </p:txBody>
      </p:sp>
      <p:sp>
        <p:nvSpPr>
          <p:cNvPr id="32" name="Marcador de Posição do Texto 31">
            <a:extLst>
              <a:ext uri="{FF2B5EF4-FFF2-40B4-BE49-F238E27FC236}">
                <a16:creationId xmlns:a16="http://schemas.microsoft.com/office/drawing/2014/main" id="{FF4FE30F-D9A4-DAF7-A2D4-2C64E529F24E}"/>
              </a:ext>
            </a:extLst>
          </p:cNvPr>
          <p:cNvSpPr>
            <a:spLocks noGrp="1"/>
          </p:cNvSpPr>
          <p:nvPr>
            <p:ph type="body" sz="quarter" idx="88"/>
          </p:nvPr>
        </p:nvSpPr>
        <p:spPr/>
        <p:txBody>
          <a:bodyPr/>
          <a:lstStyle/>
          <a:p>
            <a:r>
              <a:rPr lang="pt-PT" dirty="0"/>
              <a:t>Data </a:t>
            </a:r>
            <a:r>
              <a:rPr lang="pt-PT" dirty="0" err="1"/>
              <a:t>Mesh</a:t>
            </a:r>
            <a:r>
              <a:rPr lang="pt-PT" dirty="0"/>
              <a:t> </a:t>
            </a:r>
            <a:r>
              <a:rPr lang="pt-PT" dirty="0" err="1"/>
              <a:t>Enablers</a:t>
            </a:r>
            <a:endParaRPr lang="pt-PT" dirty="0"/>
          </a:p>
        </p:txBody>
      </p:sp>
      <p:sp>
        <p:nvSpPr>
          <p:cNvPr id="34" name="Marcador de Posição do Texto 33">
            <a:extLst>
              <a:ext uri="{FF2B5EF4-FFF2-40B4-BE49-F238E27FC236}">
                <a16:creationId xmlns:a16="http://schemas.microsoft.com/office/drawing/2014/main" id="{0043D49F-27E0-0AF2-1BC3-733B83902551}"/>
              </a:ext>
            </a:extLst>
          </p:cNvPr>
          <p:cNvSpPr>
            <a:spLocks noGrp="1"/>
          </p:cNvSpPr>
          <p:nvPr>
            <p:ph type="body" sz="quarter" idx="84"/>
          </p:nvPr>
        </p:nvSpPr>
        <p:spPr>
          <a:xfrm>
            <a:off x="9707590" y="3163285"/>
            <a:ext cx="1778279" cy="1398075"/>
          </a:xfrm>
        </p:spPr>
        <p:txBody>
          <a:bodyPr/>
          <a:lstStyle/>
          <a:p>
            <a:r>
              <a:rPr lang="pt-PT" dirty="0"/>
              <a:t>Data </a:t>
            </a:r>
            <a:r>
              <a:rPr lang="pt-PT" dirty="0" err="1"/>
              <a:t>Engeneers</a:t>
            </a:r>
            <a:endParaRPr lang="pt-PT" dirty="0"/>
          </a:p>
          <a:p>
            <a:endParaRPr lang="pt-PT" dirty="0"/>
          </a:p>
          <a:p>
            <a:r>
              <a:rPr lang="pt-PT" dirty="0"/>
              <a:t>Data </a:t>
            </a:r>
            <a:r>
              <a:rPr lang="pt-PT" dirty="0" err="1"/>
              <a:t>Analytics</a:t>
            </a:r>
            <a:endParaRPr lang="pt-PT" dirty="0"/>
          </a:p>
          <a:p>
            <a:endParaRPr lang="pt-PT" dirty="0"/>
          </a:p>
          <a:p>
            <a:r>
              <a:rPr lang="pt-PT" dirty="0" err="1"/>
              <a:t>Serf</a:t>
            </a:r>
            <a:r>
              <a:rPr lang="pt-PT" dirty="0"/>
              <a:t>-Serve Data </a:t>
            </a:r>
            <a:r>
              <a:rPr lang="pt-PT" dirty="0" err="1"/>
              <a:t>Platform</a:t>
            </a:r>
            <a:endParaRPr lang="pt-PT" dirty="0"/>
          </a:p>
        </p:txBody>
      </p:sp>
      <p:grpSp>
        <p:nvGrpSpPr>
          <p:cNvPr id="35" name="Agrupar 34">
            <a:extLst>
              <a:ext uri="{FF2B5EF4-FFF2-40B4-BE49-F238E27FC236}">
                <a16:creationId xmlns:a16="http://schemas.microsoft.com/office/drawing/2014/main" id="{335D4E96-5288-47EE-AEA9-CFA6FD5FB5E1}"/>
              </a:ext>
            </a:extLst>
          </p:cNvPr>
          <p:cNvGrpSpPr/>
          <p:nvPr/>
        </p:nvGrpSpPr>
        <p:grpSpPr>
          <a:xfrm>
            <a:off x="2891141" y="4306843"/>
            <a:ext cx="325297" cy="355243"/>
            <a:chOff x="6000092" y="1357908"/>
            <a:chExt cx="365300" cy="398929"/>
          </a:xfrm>
        </p:grpSpPr>
        <p:sp>
          <p:nvSpPr>
            <p:cNvPr id="36" name="Forma livre: Forma 35">
              <a:extLst>
                <a:ext uri="{FF2B5EF4-FFF2-40B4-BE49-F238E27FC236}">
                  <a16:creationId xmlns:a16="http://schemas.microsoft.com/office/drawing/2014/main" id="{AFFBC311-070D-C06E-EDA6-F0E9ABBCB440}"/>
                </a:ext>
              </a:extLst>
            </p:cNvPr>
            <p:cNvSpPr/>
            <p:nvPr/>
          </p:nvSpPr>
          <p:spPr>
            <a:xfrm>
              <a:off x="6000092" y="1418606"/>
              <a:ext cx="84058" cy="286120"/>
            </a:xfrm>
            <a:custGeom>
              <a:avLst/>
              <a:gdLst>
                <a:gd name="connsiteX0" fmla="*/ 51595 w 84058"/>
                <a:gd name="connsiteY0" fmla="*/ 0 h 286120"/>
                <a:gd name="connsiteX1" fmla="*/ 35266 w 84058"/>
                <a:gd name="connsiteY1" fmla="*/ 61674 h 286120"/>
                <a:gd name="connsiteX2" fmla="*/ 28760 w 84058"/>
                <a:gd name="connsiteY2" fmla="*/ 193415 h 286120"/>
                <a:gd name="connsiteX3" fmla="*/ 84059 w 84058"/>
                <a:gd name="connsiteY3" fmla="*/ 286121 h 2861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4058" h="286120">
                  <a:moveTo>
                    <a:pt x="51595" y="0"/>
                  </a:moveTo>
                  <a:cubicBezTo>
                    <a:pt x="37868" y="7872"/>
                    <a:pt x="26028" y="24852"/>
                    <a:pt x="35266" y="61674"/>
                  </a:cubicBezTo>
                  <a:cubicBezTo>
                    <a:pt x="35266" y="61674"/>
                    <a:pt x="-39549" y="126731"/>
                    <a:pt x="28760" y="193415"/>
                  </a:cubicBezTo>
                  <a:cubicBezTo>
                    <a:pt x="28760" y="193415"/>
                    <a:pt x="9243" y="281242"/>
                    <a:pt x="84059" y="286121"/>
                  </a:cubicBezTo>
                </a:path>
              </a:pathLst>
            </a:custGeom>
            <a:noFill/>
            <a:ln w="19050" cap="sq">
              <a:solidFill>
                <a:schemeClr val="tx2"/>
              </a:solidFill>
              <a:prstDash val="solid"/>
              <a:miter lim="800000"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37" name="Gráfico 32">
              <a:extLst>
                <a:ext uri="{FF2B5EF4-FFF2-40B4-BE49-F238E27FC236}">
                  <a16:creationId xmlns:a16="http://schemas.microsoft.com/office/drawing/2014/main" id="{FEB0142A-8DE1-84B2-5216-D6C8C8FA69F1}"/>
                </a:ext>
              </a:extLst>
            </p:cNvPr>
            <p:cNvGrpSpPr/>
            <p:nvPr/>
          </p:nvGrpSpPr>
          <p:grpSpPr>
            <a:xfrm>
              <a:off x="6061121" y="1359924"/>
              <a:ext cx="128487" cy="396366"/>
              <a:chOff x="6061121" y="1359924"/>
              <a:chExt cx="128487" cy="396366"/>
            </a:xfrm>
            <a:noFill/>
          </p:grpSpPr>
          <p:sp>
            <p:nvSpPr>
              <p:cNvPr id="52" name="Forma livre: Forma 51">
                <a:extLst>
                  <a:ext uri="{FF2B5EF4-FFF2-40B4-BE49-F238E27FC236}">
                    <a16:creationId xmlns:a16="http://schemas.microsoft.com/office/drawing/2014/main" id="{BD1E8856-9F3B-3F20-AD2F-58F57E4C964F}"/>
                  </a:ext>
                </a:extLst>
              </p:cNvPr>
              <p:cNvSpPr/>
              <p:nvPr/>
            </p:nvSpPr>
            <p:spPr>
              <a:xfrm>
                <a:off x="6083891" y="1359924"/>
                <a:ext cx="105717" cy="396366"/>
              </a:xfrm>
              <a:custGeom>
                <a:avLst/>
                <a:gdLst>
                  <a:gd name="connsiteX0" fmla="*/ 52891 w 105717"/>
                  <a:gd name="connsiteY0" fmla="*/ 105718 h 396366"/>
                  <a:gd name="connsiteX1" fmla="*/ 0 w 105717"/>
                  <a:gd name="connsiteY1" fmla="*/ 52891 h 396366"/>
                  <a:gd name="connsiteX2" fmla="*/ 52891 w 105717"/>
                  <a:gd name="connsiteY2" fmla="*/ 0 h 396366"/>
                  <a:gd name="connsiteX3" fmla="*/ 105718 w 105717"/>
                  <a:gd name="connsiteY3" fmla="*/ 52826 h 396366"/>
                  <a:gd name="connsiteX4" fmla="*/ 105718 w 105717"/>
                  <a:gd name="connsiteY4" fmla="*/ 346884 h 396366"/>
                  <a:gd name="connsiteX5" fmla="*/ 80606 w 105717"/>
                  <a:gd name="connsiteY5" fmla="*/ 388911 h 396366"/>
                  <a:gd name="connsiteX6" fmla="*/ 9238 w 105717"/>
                  <a:gd name="connsiteY6" fmla="*/ 371150 h 396366"/>
                  <a:gd name="connsiteX7" fmla="*/ 15484 w 105717"/>
                  <a:gd name="connsiteY7" fmla="*/ 309216 h 396366"/>
                  <a:gd name="connsiteX8" fmla="*/ 45019 w 105717"/>
                  <a:gd name="connsiteY8" fmla="*/ 277078 h 3963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05717" h="396366">
                    <a:moveTo>
                      <a:pt x="52891" y="105718"/>
                    </a:moveTo>
                    <a:cubicBezTo>
                      <a:pt x="23681" y="105718"/>
                      <a:pt x="0" y="82037"/>
                      <a:pt x="0" y="52891"/>
                    </a:cubicBezTo>
                    <a:cubicBezTo>
                      <a:pt x="0" y="23746"/>
                      <a:pt x="23681" y="0"/>
                      <a:pt x="52891" y="0"/>
                    </a:cubicBezTo>
                    <a:cubicBezTo>
                      <a:pt x="82102" y="0"/>
                      <a:pt x="105718" y="23681"/>
                      <a:pt x="105718" y="52826"/>
                    </a:cubicBezTo>
                    <a:lnTo>
                      <a:pt x="105718" y="346884"/>
                    </a:lnTo>
                    <a:cubicBezTo>
                      <a:pt x="105718" y="364580"/>
                      <a:pt x="96414" y="379413"/>
                      <a:pt x="80606" y="388911"/>
                    </a:cubicBezTo>
                    <a:cubicBezTo>
                      <a:pt x="55949" y="403744"/>
                      <a:pt x="24006" y="395742"/>
                      <a:pt x="9238" y="371150"/>
                    </a:cubicBezTo>
                    <a:cubicBezTo>
                      <a:pt x="-2928" y="350918"/>
                      <a:pt x="260" y="325741"/>
                      <a:pt x="15484" y="309216"/>
                    </a:cubicBezTo>
                    <a:lnTo>
                      <a:pt x="45019" y="277078"/>
                    </a:lnTo>
                  </a:path>
                </a:pathLst>
              </a:custGeom>
              <a:noFill/>
              <a:ln w="19050" cap="sq">
                <a:solidFill>
                  <a:schemeClr val="tx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3" name="Forma livre: Forma 52">
                <a:extLst>
                  <a:ext uri="{FF2B5EF4-FFF2-40B4-BE49-F238E27FC236}">
                    <a16:creationId xmlns:a16="http://schemas.microsoft.com/office/drawing/2014/main" id="{6118E5BD-F3A9-1581-0F96-29B542FF3365}"/>
                  </a:ext>
                </a:extLst>
              </p:cNvPr>
              <p:cNvSpPr/>
              <p:nvPr/>
            </p:nvSpPr>
            <p:spPr>
              <a:xfrm>
                <a:off x="6144784" y="1383865"/>
                <a:ext cx="41563" cy="38963"/>
              </a:xfrm>
              <a:custGeom>
                <a:avLst/>
                <a:gdLst>
                  <a:gd name="connsiteX0" fmla="*/ 36172 w 41563"/>
                  <a:gd name="connsiteY0" fmla="*/ 0 h 38963"/>
                  <a:gd name="connsiteX1" fmla="*/ 39425 w 41563"/>
                  <a:gd name="connsiteY1" fmla="*/ 24266 h 38963"/>
                  <a:gd name="connsiteX2" fmla="*/ 36432 w 41563"/>
                  <a:gd name="connsiteY2" fmla="*/ 29080 h 38963"/>
                  <a:gd name="connsiteX3" fmla="*/ 0 w 41563"/>
                  <a:gd name="connsiteY3" fmla="*/ 33439 h 389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563" h="38963">
                    <a:moveTo>
                      <a:pt x="36172" y="0"/>
                    </a:moveTo>
                    <a:cubicBezTo>
                      <a:pt x="41571" y="7547"/>
                      <a:pt x="43393" y="16004"/>
                      <a:pt x="39425" y="24266"/>
                    </a:cubicBezTo>
                    <a:cubicBezTo>
                      <a:pt x="38644" y="25893"/>
                      <a:pt x="37603" y="27519"/>
                      <a:pt x="36432" y="29080"/>
                    </a:cubicBezTo>
                    <a:cubicBezTo>
                      <a:pt x="27584" y="40270"/>
                      <a:pt x="11190" y="42287"/>
                      <a:pt x="0" y="33439"/>
                    </a:cubicBezTo>
                  </a:path>
                </a:pathLst>
              </a:custGeom>
              <a:noFill/>
              <a:ln w="19050" cap="sq">
                <a:solidFill>
                  <a:schemeClr val="tx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4" name="Forma livre: Forma 53">
                <a:extLst>
                  <a:ext uri="{FF2B5EF4-FFF2-40B4-BE49-F238E27FC236}">
                    <a16:creationId xmlns:a16="http://schemas.microsoft.com/office/drawing/2014/main" id="{8A8AB779-72D1-7EF9-D07F-F247C92E4860}"/>
                  </a:ext>
                </a:extLst>
              </p:cNvPr>
              <p:cNvSpPr/>
              <p:nvPr/>
            </p:nvSpPr>
            <p:spPr>
              <a:xfrm>
                <a:off x="6081487" y="1460806"/>
                <a:ext cx="34217" cy="54474"/>
              </a:xfrm>
              <a:custGeom>
                <a:avLst/>
                <a:gdLst>
                  <a:gd name="connsiteX0" fmla="*/ 21076 w 34217"/>
                  <a:gd name="connsiteY0" fmla="*/ 54475 h 54474"/>
                  <a:gd name="connsiteX1" fmla="*/ 778 w 34217"/>
                  <a:gd name="connsiteY1" fmla="*/ 21035 h 54474"/>
                  <a:gd name="connsiteX2" fmla="*/ 34217 w 34217"/>
                  <a:gd name="connsiteY2" fmla="*/ 803 h 544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4217" h="54474">
                    <a:moveTo>
                      <a:pt x="21076" y="54475"/>
                    </a:moveTo>
                    <a:cubicBezTo>
                      <a:pt x="6308" y="50832"/>
                      <a:pt x="-2800" y="35803"/>
                      <a:pt x="778" y="21035"/>
                    </a:cubicBezTo>
                    <a:cubicBezTo>
                      <a:pt x="4421" y="6267"/>
                      <a:pt x="19449" y="-2841"/>
                      <a:pt x="34217" y="803"/>
                    </a:cubicBezTo>
                  </a:path>
                </a:pathLst>
              </a:custGeom>
              <a:noFill/>
              <a:ln w="19050" cap="sq">
                <a:solidFill>
                  <a:schemeClr val="tx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5" name="Forma livre: Forma 54">
                <a:extLst>
                  <a:ext uri="{FF2B5EF4-FFF2-40B4-BE49-F238E27FC236}">
                    <a16:creationId xmlns:a16="http://schemas.microsoft.com/office/drawing/2014/main" id="{32BC3748-DADA-064E-5AFB-563C9770B605}"/>
                  </a:ext>
                </a:extLst>
              </p:cNvPr>
              <p:cNvSpPr/>
              <p:nvPr/>
            </p:nvSpPr>
            <p:spPr>
              <a:xfrm>
                <a:off x="6073547" y="1527543"/>
                <a:ext cx="114760" cy="72506"/>
              </a:xfrm>
              <a:custGeom>
                <a:avLst/>
                <a:gdLst>
                  <a:gd name="connsiteX0" fmla="*/ 114760 w 114760"/>
                  <a:gd name="connsiteY0" fmla="*/ 7254 h 72506"/>
                  <a:gd name="connsiteX1" fmla="*/ 73905 w 114760"/>
                  <a:gd name="connsiteY1" fmla="*/ 8881 h 72506"/>
                  <a:gd name="connsiteX2" fmla="*/ 0 w 114760"/>
                  <a:gd name="connsiteY2" fmla="*/ 72506 h 725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14760" h="72506">
                    <a:moveTo>
                      <a:pt x="114760" y="7254"/>
                    </a:moveTo>
                    <a:cubicBezTo>
                      <a:pt x="103375" y="-2830"/>
                      <a:pt x="83989" y="-2504"/>
                      <a:pt x="73905" y="8881"/>
                    </a:cubicBezTo>
                    <a:cubicBezTo>
                      <a:pt x="73905" y="8881"/>
                      <a:pt x="31488" y="72506"/>
                      <a:pt x="0" y="72506"/>
                    </a:cubicBezTo>
                  </a:path>
                </a:pathLst>
              </a:custGeom>
              <a:noFill/>
              <a:ln w="19050" cap="sq">
                <a:solidFill>
                  <a:schemeClr val="tx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6" name="Forma livre: Forma 55">
                <a:extLst>
                  <a:ext uri="{FF2B5EF4-FFF2-40B4-BE49-F238E27FC236}">
                    <a16:creationId xmlns:a16="http://schemas.microsoft.com/office/drawing/2014/main" id="{8AFA27BB-E728-3610-B2EA-1A47C562259F}"/>
                  </a:ext>
                </a:extLst>
              </p:cNvPr>
              <p:cNvSpPr/>
              <p:nvPr/>
            </p:nvSpPr>
            <p:spPr>
              <a:xfrm>
                <a:off x="6079857" y="1646956"/>
                <a:ext cx="29405" cy="9823"/>
              </a:xfrm>
              <a:custGeom>
                <a:avLst/>
                <a:gdLst>
                  <a:gd name="connsiteX0" fmla="*/ 0 w 29405"/>
                  <a:gd name="connsiteY0" fmla="*/ 0 h 9823"/>
                  <a:gd name="connsiteX1" fmla="*/ 29406 w 29405"/>
                  <a:gd name="connsiteY1" fmla="*/ 9824 h 98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9405" h="9823">
                    <a:moveTo>
                      <a:pt x="0" y="0"/>
                    </a:moveTo>
                    <a:lnTo>
                      <a:pt x="29406" y="9824"/>
                    </a:lnTo>
                  </a:path>
                </a:pathLst>
              </a:custGeom>
              <a:ln w="19050" cap="sq">
                <a:solidFill>
                  <a:schemeClr val="tx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7" name="Forma livre: Forma 56">
                <a:extLst>
                  <a:ext uri="{FF2B5EF4-FFF2-40B4-BE49-F238E27FC236}">
                    <a16:creationId xmlns:a16="http://schemas.microsoft.com/office/drawing/2014/main" id="{5A760847-F1AF-7E32-82FD-8D17BBB3F343}"/>
                  </a:ext>
                </a:extLst>
              </p:cNvPr>
              <p:cNvSpPr/>
              <p:nvPr/>
            </p:nvSpPr>
            <p:spPr>
              <a:xfrm>
                <a:off x="6061121" y="1545272"/>
                <a:ext cx="47166" cy="34154"/>
              </a:xfrm>
              <a:custGeom>
                <a:avLst/>
                <a:gdLst>
                  <a:gd name="connsiteX0" fmla="*/ 0 w 47166"/>
                  <a:gd name="connsiteY0" fmla="*/ 0 h 34154"/>
                  <a:gd name="connsiteX1" fmla="*/ 47166 w 47166"/>
                  <a:gd name="connsiteY1" fmla="*/ 34155 h 341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166" h="34154">
                    <a:moveTo>
                      <a:pt x="0" y="0"/>
                    </a:moveTo>
                    <a:cubicBezTo>
                      <a:pt x="0" y="0"/>
                      <a:pt x="27649" y="13011"/>
                      <a:pt x="47166" y="34155"/>
                    </a:cubicBezTo>
                  </a:path>
                </a:pathLst>
              </a:custGeom>
              <a:noFill/>
              <a:ln w="19050" cap="sq">
                <a:solidFill>
                  <a:schemeClr val="tx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38" name="Gráfico 32">
              <a:extLst>
                <a:ext uri="{FF2B5EF4-FFF2-40B4-BE49-F238E27FC236}">
                  <a16:creationId xmlns:a16="http://schemas.microsoft.com/office/drawing/2014/main" id="{C97B6080-3030-227A-ED12-03896706FD8C}"/>
                </a:ext>
              </a:extLst>
            </p:cNvPr>
            <p:cNvGrpSpPr/>
            <p:nvPr/>
          </p:nvGrpSpPr>
          <p:grpSpPr>
            <a:xfrm>
              <a:off x="6191625" y="1599725"/>
              <a:ext cx="173767" cy="157112"/>
              <a:chOff x="6191625" y="1599725"/>
              <a:chExt cx="173767" cy="157112"/>
            </a:xfrm>
            <a:noFill/>
          </p:grpSpPr>
          <p:sp>
            <p:nvSpPr>
              <p:cNvPr id="48" name="Forma livre: Forma 47">
                <a:extLst>
                  <a:ext uri="{FF2B5EF4-FFF2-40B4-BE49-F238E27FC236}">
                    <a16:creationId xmlns:a16="http://schemas.microsoft.com/office/drawing/2014/main" id="{C9BAEB65-1815-74D0-DEA9-17B122450288}"/>
                  </a:ext>
                </a:extLst>
              </p:cNvPr>
              <p:cNvSpPr/>
              <p:nvPr/>
            </p:nvSpPr>
            <p:spPr>
              <a:xfrm>
                <a:off x="6310094" y="1621974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tx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9" name="Forma livre: Forma 48">
                <a:extLst>
                  <a:ext uri="{FF2B5EF4-FFF2-40B4-BE49-F238E27FC236}">
                    <a16:creationId xmlns:a16="http://schemas.microsoft.com/office/drawing/2014/main" id="{944C6193-7F51-FBCE-F6DA-DB59659EC60D}"/>
                  </a:ext>
                </a:extLst>
              </p:cNvPr>
              <p:cNvSpPr/>
              <p:nvPr/>
            </p:nvSpPr>
            <p:spPr>
              <a:xfrm>
                <a:off x="6191625" y="1599725"/>
                <a:ext cx="118078" cy="49898"/>
              </a:xfrm>
              <a:custGeom>
                <a:avLst/>
                <a:gdLst>
                  <a:gd name="connsiteX0" fmla="*/ 0 w 118078"/>
                  <a:gd name="connsiteY0" fmla="*/ 0 h 49898"/>
                  <a:gd name="connsiteX1" fmla="*/ 37343 w 118078"/>
                  <a:gd name="connsiteY1" fmla="*/ 0 h 49898"/>
                  <a:gd name="connsiteX2" fmla="*/ 87176 w 118078"/>
                  <a:gd name="connsiteY2" fmla="*/ 49899 h 49898"/>
                  <a:gd name="connsiteX3" fmla="*/ 118078 w 118078"/>
                  <a:gd name="connsiteY3" fmla="*/ 49899 h 49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8078" h="49898">
                    <a:moveTo>
                      <a:pt x="0" y="0"/>
                    </a:moveTo>
                    <a:lnTo>
                      <a:pt x="37343" y="0"/>
                    </a:lnTo>
                    <a:lnTo>
                      <a:pt x="87176" y="49899"/>
                    </a:lnTo>
                    <a:lnTo>
                      <a:pt x="118078" y="49899"/>
                    </a:lnTo>
                  </a:path>
                </a:pathLst>
              </a:custGeom>
              <a:noFill/>
              <a:ln w="19050" cap="sq">
                <a:solidFill>
                  <a:schemeClr val="tx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0" name="Forma livre: Forma 49">
                <a:extLst>
                  <a:ext uri="{FF2B5EF4-FFF2-40B4-BE49-F238E27FC236}">
                    <a16:creationId xmlns:a16="http://schemas.microsoft.com/office/drawing/2014/main" id="{852D4634-16E9-0032-4DF1-F54DACC8A876}"/>
                  </a:ext>
                </a:extLst>
              </p:cNvPr>
              <p:cNvSpPr/>
              <p:nvPr/>
            </p:nvSpPr>
            <p:spPr>
              <a:xfrm>
                <a:off x="6191625" y="1665367"/>
                <a:ext cx="81906" cy="44108"/>
              </a:xfrm>
              <a:custGeom>
                <a:avLst/>
                <a:gdLst>
                  <a:gd name="connsiteX0" fmla="*/ 0 w 81906"/>
                  <a:gd name="connsiteY0" fmla="*/ 0 h 44108"/>
                  <a:gd name="connsiteX1" fmla="*/ 37343 w 81906"/>
                  <a:gd name="connsiteY1" fmla="*/ 0 h 44108"/>
                  <a:gd name="connsiteX2" fmla="*/ 81907 w 81906"/>
                  <a:gd name="connsiteY2" fmla="*/ 44109 h 441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1906" h="44108">
                    <a:moveTo>
                      <a:pt x="0" y="0"/>
                    </a:moveTo>
                    <a:lnTo>
                      <a:pt x="37343" y="0"/>
                    </a:lnTo>
                    <a:lnTo>
                      <a:pt x="81907" y="44109"/>
                    </a:lnTo>
                  </a:path>
                </a:pathLst>
              </a:custGeom>
              <a:noFill/>
              <a:ln w="19050" cap="sq">
                <a:solidFill>
                  <a:schemeClr val="tx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1" name="Forma livre: Forma 50">
                <a:extLst>
                  <a:ext uri="{FF2B5EF4-FFF2-40B4-BE49-F238E27FC236}">
                    <a16:creationId xmlns:a16="http://schemas.microsoft.com/office/drawing/2014/main" id="{E2326A63-561A-D598-EE22-686CFC535799}"/>
                  </a:ext>
                </a:extLst>
              </p:cNvPr>
              <p:cNvSpPr/>
              <p:nvPr/>
            </p:nvSpPr>
            <p:spPr>
              <a:xfrm>
                <a:off x="6265075" y="1701539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tx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39" name="Gráfico 32">
              <a:extLst>
                <a:ext uri="{FF2B5EF4-FFF2-40B4-BE49-F238E27FC236}">
                  <a16:creationId xmlns:a16="http://schemas.microsoft.com/office/drawing/2014/main" id="{B4FC9673-20C7-ABF1-9241-E5124A1A03F8}"/>
                </a:ext>
              </a:extLst>
            </p:cNvPr>
            <p:cNvGrpSpPr/>
            <p:nvPr/>
          </p:nvGrpSpPr>
          <p:grpSpPr>
            <a:xfrm>
              <a:off x="6191625" y="1357908"/>
              <a:ext cx="173767" cy="157112"/>
              <a:chOff x="6191625" y="1357908"/>
              <a:chExt cx="173767" cy="157112"/>
            </a:xfrm>
            <a:noFill/>
          </p:grpSpPr>
          <p:sp>
            <p:nvSpPr>
              <p:cNvPr id="44" name="Forma livre: Forma 43">
                <a:extLst>
                  <a:ext uri="{FF2B5EF4-FFF2-40B4-BE49-F238E27FC236}">
                    <a16:creationId xmlns:a16="http://schemas.microsoft.com/office/drawing/2014/main" id="{B6B7FA45-6E06-D4D3-14D5-0B4010781393}"/>
                  </a:ext>
                </a:extLst>
              </p:cNvPr>
              <p:cNvSpPr/>
              <p:nvPr/>
            </p:nvSpPr>
            <p:spPr>
              <a:xfrm>
                <a:off x="6310094" y="1437472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0 h 55298"/>
                  <a:gd name="connsiteX2" fmla="*/ 0 w 55298"/>
                  <a:gd name="connsiteY2" fmla="*/ 27649 h 55298"/>
                  <a:gd name="connsiteX3" fmla="*/ 27649 w 55298"/>
                  <a:gd name="connsiteY3" fmla="*/ 55298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12361"/>
                      <a:pt x="42938" y="0"/>
                      <a:pt x="27649" y="0"/>
                    </a:cubicBezTo>
                    <a:cubicBezTo>
                      <a:pt x="12361" y="0"/>
                      <a:pt x="0" y="12361"/>
                      <a:pt x="0" y="27649"/>
                    </a:cubicBezTo>
                    <a:cubicBezTo>
                      <a:pt x="0" y="42938"/>
                      <a:pt x="12361" y="55298"/>
                      <a:pt x="27649" y="55298"/>
                    </a:cubicBezTo>
                    <a:cubicBezTo>
                      <a:pt x="42938" y="55298"/>
                      <a:pt x="55298" y="42938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tx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5" name="Forma livre: Forma 44">
                <a:extLst>
                  <a:ext uri="{FF2B5EF4-FFF2-40B4-BE49-F238E27FC236}">
                    <a16:creationId xmlns:a16="http://schemas.microsoft.com/office/drawing/2014/main" id="{914B481D-38BF-FDED-84FF-1CC07D874856}"/>
                  </a:ext>
                </a:extLst>
              </p:cNvPr>
              <p:cNvSpPr/>
              <p:nvPr/>
            </p:nvSpPr>
            <p:spPr>
              <a:xfrm>
                <a:off x="6191625" y="1465122"/>
                <a:ext cx="118468" cy="49898"/>
              </a:xfrm>
              <a:custGeom>
                <a:avLst/>
                <a:gdLst>
                  <a:gd name="connsiteX0" fmla="*/ 0 w 118468"/>
                  <a:gd name="connsiteY0" fmla="*/ 49899 h 49898"/>
                  <a:gd name="connsiteX1" fmla="*/ 37343 w 118468"/>
                  <a:gd name="connsiteY1" fmla="*/ 49899 h 49898"/>
                  <a:gd name="connsiteX2" fmla="*/ 87176 w 118468"/>
                  <a:gd name="connsiteY2" fmla="*/ 0 h 49898"/>
                  <a:gd name="connsiteX3" fmla="*/ 118469 w 118468"/>
                  <a:gd name="connsiteY3" fmla="*/ 0 h 49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8468" h="49898">
                    <a:moveTo>
                      <a:pt x="0" y="49899"/>
                    </a:moveTo>
                    <a:lnTo>
                      <a:pt x="37343" y="49899"/>
                    </a:lnTo>
                    <a:lnTo>
                      <a:pt x="87176" y="0"/>
                    </a:lnTo>
                    <a:lnTo>
                      <a:pt x="118469" y="0"/>
                    </a:lnTo>
                  </a:path>
                </a:pathLst>
              </a:custGeom>
              <a:noFill/>
              <a:ln w="19050" cap="sq">
                <a:solidFill>
                  <a:schemeClr val="tx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6" name="Forma livre: Forma 45">
                <a:extLst>
                  <a:ext uri="{FF2B5EF4-FFF2-40B4-BE49-F238E27FC236}">
                    <a16:creationId xmlns:a16="http://schemas.microsoft.com/office/drawing/2014/main" id="{C466F08E-5533-046C-CA31-AF8219695F8A}"/>
                  </a:ext>
                </a:extLst>
              </p:cNvPr>
              <p:cNvSpPr/>
              <p:nvPr/>
            </p:nvSpPr>
            <p:spPr>
              <a:xfrm>
                <a:off x="6191625" y="1405269"/>
                <a:ext cx="81451" cy="44043"/>
              </a:xfrm>
              <a:custGeom>
                <a:avLst/>
                <a:gdLst>
                  <a:gd name="connsiteX0" fmla="*/ 0 w 81451"/>
                  <a:gd name="connsiteY0" fmla="*/ 44044 h 44043"/>
                  <a:gd name="connsiteX1" fmla="*/ 37343 w 81451"/>
                  <a:gd name="connsiteY1" fmla="*/ 44044 h 44043"/>
                  <a:gd name="connsiteX2" fmla="*/ 81451 w 81451"/>
                  <a:gd name="connsiteY2" fmla="*/ 0 h 440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1451" h="44043">
                    <a:moveTo>
                      <a:pt x="0" y="44044"/>
                    </a:moveTo>
                    <a:lnTo>
                      <a:pt x="37343" y="44044"/>
                    </a:lnTo>
                    <a:lnTo>
                      <a:pt x="81451" y="0"/>
                    </a:lnTo>
                  </a:path>
                </a:pathLst>
              </a:custGeom>
              <a:noFill/>
              <a:ln w="19050" cap="sq">
                <a:solidFill>
                  <a:schemeClr val="tx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7" name="Forma livre: Forma 46">
                <a:extLst>
                  <a:ext uri="{FF2B5EF4-FFF2-40B4-BE49-F238E27FC236}">
                    <a16:creationId xmlns:a16="http://schemas.microsoft.com/office/drawing/2014/main" id="{6CF61F04-F7C7-076C-81B5-E61495EB5FC1}"/>
                  </a:ext>
                </a:extLst>
              </p:cNvPr>
              <p:cNvSpPr/>
              <p:nvPr/>
            </p:nvSpPr>
            <p:spPr>
              <a:xfrm>
                <a:off x="6265075" y="1357908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0 h 55298"/>
                  <a:gd name="connsiteX2" fmla="*/ 0 w 55298"/>
                  <a:gd name="connsiteY2" fmla="*/ 27649 h 55298"/>
                  <a:gd name="connsiteX3" fmla="*/ 27649 w 55298"/>
                  <a:gd name="connsiteY3" fmla="*/ 55298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12361"/>
                      <a:pt x="42938" y="0"/>
                      <a:pt x="27649" y="0"/>
                    </a:cubicBezTo>
                    <a:cubicBezTo>
                      <a:pt x="12361" y="0"/>
                      <a:pt x="0" y="12361"/>
                      <a:pt x="0" y="27649"/>
                    </a:cubicBezTo>
                    <a:cubicBezTo>
                      <a:pt x="0" y="42938"/>
                      <a:pt x="12361" y="55298"/>
                      <a:pt x="27649" y="55298"/>
                    </a:cubicBezTo>
                    <a:cubicBezTo>
                      <a:pt x="42938" y="55298"/>
                      <a:pt x="55298" y="42938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tx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40" name="Gráfico 32">
              <a:extLst>
                <a:ext uri="{FF2B5EF4-FFF2-40B4-BE49-F238E27FC236}">
                  <a16:creationId xmlns:a16="http://schemas.microsoft.com/office/drawing/2014/main" id="{948D0C16-C82D-DF65-BED3-3ED46FADBD22}"/>
                </a:ext>
              </a:extLst>
            </p:cNvPr>
            <p:cNvGrpSpPr/>
            <p:nvPr/>
          </p:nvGrpSpPr>
          <p:grpSpPr>
            <a:xfrm>
              <a:off x="6190910" y="1529723"/>
              <a:ext cx="123673" cy="55298"/>
              <a:chOff x="6190910" y="1529723"/>
              <a:chExt cx="123673" cy="55298"/>
            </a:xfrm>
            <a:noFill/>
          </p:grpSpPr>
          <p:sp>
            <p:nvSpPr>
              <p:cNvPr id="42" name="Forma livre: Forma 41">
                <a:extLst>
                  <a:ext uri="{FF2B5EF4-FFF2-40B4-BE49-F238E27FC236}">
                    <a16:creationId xmlns:a16="http://schemas.microsoft.com/office/drawing/2014/main" id="{40D43AB8-04FF-DDBD-E817-F8F96203DD5A}"/>
                  </a:ext>
                </a:extLst>
              </p:cNvPr>
              <p:cNvSpPr/>
              <p:nvPr/>
            </p:nvSpPr>
            <p:spPr>
              <a:xfrm>
                <a:off x="6190910" y="1557372"/>
                <a:ext cx="68765" cy="6505"/>
              </a:xfrm>
              <a:custGeom>
                <a:avLst/>
                <a:gdLst>
                  <a:gd name="connsiteX0" fmla="*/ 0 w 68765"/>
                  <a:gd name="connsiteY0" fmla="*/ 0 h 6505"/>
                  <a:gd name="connsiteX1" fmla="*/ 68765 w 68765"/>
                  <a:gd name="connsiteY1" fmla="*/ 0 h 65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8765" h="6505">
                    <a:moveTo>
                      <a:pt x="0" y="0"/>
                    </a:moveTo>
                    <a:lnTo>
                      <a:pt x="68765" y="0"/>
                    </a:lnTo>
                  </a:path>
                </a:pathLst>
              </a:custGeom>
              <a:ln w="19050" cap="sq">
                <a:solidFill>
                  <a:schemeClr val="tx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3" name="Forma livre: Forma 42">
                <a:extLst>
                  <a:ext uri="{FF2B5EF4-FFF2-40B4-BE49-F238E27FC236}">
                    <a16:creationId xmlns:a16="http://schemas.microsoft.com/office/drawing/2014/main" id="{DB911FFD-7C65-DAA9-5CA0-D6FF194BA092}"/>
                  </a:ext>
                </a:extLst>
              </p:cNvPr>
              <p:cNvSpPr/>
              <p:nvPr/>
            </p:nvSpPr>
            <p:spPr>
              <a:xfrm>
                <a:off x="6259285" y="1529723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tx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41" name="Forma livre: Forma 40">
              <a:extLst>
                <a:ext uri="{FF2B5EF4-FFF2-40B4-BE49-F238E27FC236}">
                  <a16:creationId xmlns:a16="http://schemas.microsoft.com/office/drawing/2014/main" id="{4D35D365-D4E6-2B26-8492-F36038130C1B}"/>
                </a:ext>
              </a:extLst>
            </p:cNvPr>
            <p:cNvSpPr/>
            <p:nvPr/>
          </p:nvSpPr>
          <p:spPr>
            <a:xfrm>
              <a:off x="6152201" y="1686285"/>
              <a:ext cx="37362" cy="20848"/>
            </a:xfrm>
            <a:custGeom>
              <a:avLst/>
              <a:gdLst>
                <a:gd name="connsiteX0" fmla="*/ 0 w 37362"/>
                <a:gd name="connsiteY0" fmla="*/ 10505 h 20848"/>
                <a:gd name="connsiteX1" fmla="*/ 27064 w 37362"/>
                <a:gd name="connsiteY1" fmla="*/ 2373 h 20848"/>
                <a:gd name="connsiteX2" fmla="*/ 37343 w 37362"/>
                <a:gd name="connsiteY2" fmla="*/ 20849 h 20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7362" h="20848">
                  <a:moveTo>
                    <a:pt x="0" y="10505"/>
                  </a:moveTo>
                  <a:cubicBezTo>
                    <a:pt x="5205" y="811"/>
                    <a:pt x="17435" y="-2832"/>
                    <a:pt x="27064" y="2373"/>
                  </a:cubicBezTo>
                  <a:cubicBezTo>
                    <a:pt x="34025" y="6081"/>
                    <a:pt x="37668" y="13432"/>
                    <a:pt x="37343" y="20849"/>
                  </a:cubicBezTo>
                </a:path>
              </a:pathLst>
            </a:custGeom>
            <a:noFill/>
            <a:ln w="19050" cap="sq">
              <a:solidFill>
                <a:schemeClr val="tx2"/>
              </a:solidFill>
              <a:prstDash val="solid"/>
              <a:miter lim="800000"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58" name="Agrupar 57">
            <a:extLst>
              <a:ext uri="{FF2B5EF4-FFF2-40B4-BE49-F238E27FC236}">
                <a16:creationId xmlns:a16="http://schemas.microsoft.com/office/drawing/2014/main" id="{796AAC16-94A7-9691-5312-9E547DB73071}"/>
              </a:ext>
            </a:extLst>
          </p:cNvPr>
          <p:cNvGrpSpPr/>
          <p:nvPr/>
        </p:nvGrpSpPr>
        <p:grpSpPr>
          <a:xfrm>
            <a:off x="1066003" y="3429000"/>
            <a:ext cx="325297" cy="355243"/>
            <a:chOff x="6000092" y="1357908"/>
            <a:chExt cx="365300" cy="398929"/>
          </a:xfrm>
        </p:grpSpPr>
        <p:sp>
          <p:nvSpPr>
            <p:cNvPr id="59" name="Forma livre: Forma 58">
              <a:extLst>
                <a:ext uri="{FF2B5EF4-FFF2-40B4-BE49-F238E27FC236}">
                  <a16:creationId xmlns:a16="http://schemas.microsoft.com/office/drawing/2014/main" id="{0D178681-2931-9F23-4DB2-19BFBDF0DFD9}"/>
                </a:ext>
              </a:extLst>
            </p:cNvPr>
            <p:cNvSpPr/>
            <p:nvPr/>
          </p:nvSpPr>
          <p:spPr>
            <a:xfrm>
              <a:off x="6000092" y="1418606"/>
              <a:ext cx="84058" cy="286120"/>
            </a:xfrm>
            <a:custGeom>
              <a:avLst/>
              <a:gdLst>
                <a:gd name="connsiteX0" fmla="*/ 51595 w 84058"/>
                <a:gd name="connsiteY0" fmla="*/ 0 h 286120"/>
                <a:gd name="connsiteX1" fmla="*/ 35266 w 84058"/>
                <a:gd name="connsiteY1" fmla="*/ 61674 h 286120"/>
                <a:gd name="connsiteX2" fmla="*/ 28760 w 84058"/>
                <a:gd name="connsiteY2" fmla="*/ 193415 h 286120"/>
                <a:gd name="connsiteX3" fmla="*/ 84059 w 84058"/>
                <a:gd name="connsiteY3" fmla="*/ 286121 h 2861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4058" h="286120">
                  <a:moveTo>
                    <a:pt x="51595" y="0"/>
                  </a:moveTo>
                  <a:cubicBezTo>
                    <a:pt x="37868" y="7872"/>
                    <a:pt x="26028" y="24852"/>
                    <a:pt x="35266" y="61674"/>
                  </a:cubicBezTo>
                  <a:cubicBezTo>
                    <a:pt x="35266" y="61674"/>
                    <a:pt x="-39549" y="126731"/>
                    <a:pt x="28760" y="193415"/>
                  </a:cubicBezTo>
                  <a:cubicBezTo>
                    <a:pt x="28760" y="193415"/>
                    <a:pt x="9243" y="281242"/>
                    <a:pt x="84059" y="286121"/>
                  </a:cubicBezTo>
                </a:path>
              </a:pathLst>
            </a:custGeom>
            <a:noFill/>
            <a:ln w="19050" cap="sq">
              <a:solidFill>
                <a:schemeClr val="tx2"/>
              </a:solidFill>
              <a:prstDash val="solid"/>
              <a:miter lim="800000"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60" name="Gráfico 32">
              <a:extLst>
                <a:ext uri="{FF2B5EF4-FFF2-40B4-BE49-F238E27FC236}">
                  <a16:creationId xmlns:a16="http://schemas.microsoft.com/office/drawing/2014/main" id="{2B097DD3-2E9B-7B8A-C2B7-683CEC364ED1}"/>
                </a:ext>
              </a:extLst>
            </p:cNvPr>
            <p:cNvGrpSpPr/>
            <p:nvPr/>
          </p:nvGrpSpPr>
          <p:grpSpPr>
            <a:xfrm>
              <a:off x="6061121" y="1359924"/>
              <a:ext cx="128487" cy="396366"/>
              <a:chOff x="6061121" y="1359924"/>
              <a:chExt cx="128487" cy="396366"/>
            </a:xfrm>
            <a:noFill/>
          </p:grpSpPr>
          <p:sp>
            <p:nvSpPr>
              <p:cNvPr id="75" name="Forma livre: Forma 74">
                <a:extLst>
                  <a:ext uri="{FF2B5EF4-FFF2-40B4-BE49-F238E27FC236}">
                    <a16:creationId xmlns:a16="http://schemas.microsoft.com/office/drawing/2014/main" id="{0C4558C5-58C4-5B22-1F03-F8040F9EA4FA}"/>
                  </a:ext>
                </a:extLst>
              </p:cNvPr>
              <p:cNvSpPr/>
              <p:nvPr/>
            </p:nvSpPr>
            <p:spPr>
              <a:xfrm>
                <a:off x="6083891" y="1359924"/>
                <a:ext cx="105717" cy="396366"/>
              </a:xfrm>
              <a:custGeom>
                <a:avLst/>
                <a:gdLst>
                  <a:gd name="connsiteX0" fmla="*/ 52891 w 105717"/>
                  <a:gd name="connsiteY0" fmla="*/ 105718 h 396366"/>
                  <a:gd name="connsiteX1" fmla="*/ 0 w 105717"/>
                  <a:gd name="connsiteY1" fmla="*/ 52891 h 396366"/>
                  <a:gd name="connsiteX2" fmla="*/ 52891 w 105717"/>
                  <a:gd name="connsiteY2" fmla="*/ 0 h 396366"/>
                  <a:gd name="connsiteX3" fmla="*/ 105718 w 105717"/>
                  <a:gd name="connsiteY3" fmla="*/ 52826 h 396366"/>
                  <a:gd name="connsiteX4" fmla="*/ 105718 w 105717"/>
                  <a:gd name="connsiteY4" fmla="*/ 346884 h 396366"/>
                  <a:gd name="connsiteX5" fmla="*/ 80606 w 105717"/>
                  <a:gd name="connsiteY5" fmla="*/ 388911 h 396366"/>
                  <a:gd name="connsiteX6" fmla="*/ 9238 w 105717"/>
                  <a:gd name="connsiteY6" fmla="*/ 371150 h 396366"/>
                  <a:gd name="connsiteX7" fmla="*/ 15484 w 105717"/>
                  <a:gd name="connsiteY7" fmla="*/ 309216 h 396366"/>
                  <a:gd name="connsiteX8" fmla="*/ 45019 w 105717"/>
                  <a:gd name="connsiteY8" fmla="*/ 277078 h 3963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05717" h="396366">
                    <a:moveTo>
                      <a:pt x="52891" y="105718"/>
                    </a:moveTo>
                    <a:cubicBezTo>
                      <a:pt x="23681" y="105718"/>
                      <a:pt x="0" y="82037"/>
                      <a:pt x="0" y="52891"/>
                    </a:cubicBezTo>
                    <a:cubicBezTo>
                      <a:pt x="0" y="23746"/>
                      <a:pt x="23681" y="0"/>
                      <a:pt x="52891" y="0"/>
                    </a:cubicBezTo>
                    <a:cubicBezTo>
                      <a:pt x="82102" y="0"/>
                      <a:pt x="105718" y="23681"/>
                      <a:pt x="105718" y="52826"/>
                    </a:cubicBezTo>
                    <a:lnTo>
                      <a:pt x="105718" y="346884"/>
                    </a:lnTo>
                    <a:cubicBezTo>
                      <a:pt x="105718" y="364580"/>
                      <a:pt x="96414" y="379413"/>
                      <a:pt x="80606" y="388911"/>
                    </a:cubicBezTo>
                    <a:cubicBezTo>
                      <a:pt x="55949" y="403744"/>
                      <a:pt x="24006" y="395742"/>
                      <a:pt x="9238" y="371150"/>
                    </a:cubicBezTo>
                    <a:cubicBezTo>
                      <a:pt x="-2928" y="350918"/>
                      <a:pt x="260" y="325741"/>
                      <a:pt x="15484" y="309216"/>
                    </a:cubicBezTo>
                    <a:lnTo>
                      <a:pt x="45019" y="277078"/>
                    </a:lnTo>
                  </a:path>
                </a:pathLst>
              </a:custGeom>
              <a:noFill/>
              <a:ln w="19050" cap="sq">
                <a:solidFill>
                  <a:schemeClr val="tx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6" name="Forma livre: Forma 75">
                <a:extLst>
                  <a:ext uri="{FF2B5EF4-FFF2-40B4-BE49-F238E27FC236}">
                    <a16:creationId xmlns:a16="http://schemas.microsoft.com/office/drawing/2014/main" id="{F0689954-6363-F3D8-8374-9C7A4488E32D}"/>
                  </a:ext>
                </a:extLst>
              </p:cNvPr>
              <p:cNvSpPr/>
              <p:nvPr/>
            </p:nvSpPr>
            <p:spPr>
              <a:xfrm>
                <a:off x="6144784" y="1383865"/>
                <a:ext cx="41563" cy="38963"/>
              </a:xfrm>
              <a:custGeom>
                <a:avLst/>
                <a:gdLst>
                  <a:gd name="connsiteX0" fmla="*/ 36172 w 41563"/>
                  <a:gd name="connsiteY0" fmla="*/ 0 h 38963"/>
                  <a:gd name="connsiteX1" fmla="*/ 39425 w 41563"/>
                  <a:gd name="connsiteY1" fmla="*/ 24266 h 38963"/>
                  <a:gd name="connsiteX2" fmla="*/ 36432 w 41563"/>
                  <a:gd name="connsiteY2" fmla="*/ 29080 h 38963"/>
                  <a:gd name="connsiteX3" fmla="*/ 0 w 41563"/>
                  <a:gd name="connsiteY3" fmla="*/ 33439 h 389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563" h="38963">
                    <a:moveTo>
                      <a:pt x="36172" y="0"/>
                    </a:moveTo>
                    <a:cubicBezTo>
                      <a:pt x="41571" y="7547"/>
                      <a:pt x="43393" y="16004"/>
                      <a:pt x="39425" y="24266"/>
                    </a:cubicBezTo>
                    <a:cubicBezTo>
                      <a:pt x="38644" y="25893"/>
                      <a:pt x="37603" y="27519"/>
                      <a:pt x="36432" y="29080"/>
                    </a:cubicBezTo>
                    <a:cubicBezTo>
                      <a:pt x="27584" y="40270"/>
                      <a:pt x="11190" y="42287"/>
                      <a:pt x="0" y="33439"/>
                    </a:cubicBezTo>
                  </a:path>
                </a:pathLst>
              </a:custGeom>
              <a:noFill/>
              <a:ln w="19050" cap="sq">
                <a:solidFill>
                  <a:schemeClr val="tx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7" name="Forma livre: Forma 76">
                <a:extLst>
                  <a:ext uri="{FF2B5EF4-FFF2-40B4-BE49-F238E27FC236}">
                    <a16:creationId xmlns:a16="http://schemas.microsoft.com/office/drawing/2014/main" id="{CEC2DA1C-1157-D007-0A5C-455A80EF6893}"/>
                  </a:ext>
                </a:extLst>
              </p:cNvPr>
              <p:cNvSpPr/>
              <p:nvPr/>
            </p:nvSpPr>
            <p:spPr>
              <a:xfrm>
                <a:off x="6081487" y="1460806"/>
                <a:ext cx="34217" cy="54474"/>
              </a:xfrm>
              <a:custGeom>
                <a:avLst/>
                <a:gdLst>
                  <a:gd name="connsiteX0" fmla="*/ 21076 w 34217"/>
                  <a:gd name="connsiteY0" fmla="*/ 54475 h 54474"/>
                  <a:gd name="connsiteX1" fmla="*/ 778 w 34217"/>
                  <a:gd name="connsiteY1" fmla="*/ 21035 h 54474"/>
                  <a:gd name="connsiteX2" fmla="*/ 34217 w 34217"/>
                  <a:gd name="connsiteY2" fmla="*/ 803 h 544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4217" h="54474">
                    <a:moveTo>
                      <a:pt x="21076" y="54475"/>
                    </a:moveTo>
                    <a:cubicBezTo>
                      <a:pt x="6308" y="50832"/>
                      <a:pt x="-2800" y="35803"/>
                      <a:pt x="778" y="21035"/>
                    </a:cubicBezTo>
                    <a:cubicBezTo>
                      <a:pt x="4421" y="6267"/>
                      <a:pt x="19449" y="-2841"/>
                      <a:pt x="34217" y="803"/>
                    </a:cubicBezTo>
                  </a:path>
                </a:pathLst>
              </a:custGeom>
              <a:noFill/>
              <a:ln w="19050" cap="sq">
                <a:solidFill>
                  <a:schemeClr val="tx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8" name="Forma livre: Forma 77">
                <a:extLst>
                  <a:ext uri="{FF2B5EF4-FFF2-40B4-BE49-F238E27FC236}">
                    <a16:creationId xmlns:a16="http://schemas.microsoft.com/office/drawing/2014/main" id="{4920CF78-8950-3979-B6C6-BE655D241D80}"/>
                  </a:ext>
                </a:extLst>
              </p:cNvPr>
              <p:cNvSpPr/>
              <p:nvPr/>
            </p:nvSpPr>
            <p:spPr>
              <a:xfrm>
                <a:off x="6073547" y="1527543"/>
                <a:ext cx="114760" cy="72506"/>
              </a:xfrm>
              <a:custGeom>
                <a:avLst/>
                <a:gdLst>
                  <a:gd name="connsiteX0" fmla="*/ 114760 w 114760"/>
                  <a:gd name="connsiteY0" fmla="*/ 7254 h 72506"/>
                  <a:gd name="connsiteX1" fmla="*/ 73905 w 114760"/>
                  <a:gd name="connsiteY1" fmla="*/ 8881 h 72506"/>
                  <a:gd name="connsiteX2" fmla="*/ 0 w 114760"/>
                  <a:gd name="connsiteY2" fmla="*/ 72506 h 725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14760" h="72506">
                    <a:moveTo>
                      <a:pt x="114760" y="7254"/>
                    </a:moveTo>
                    <a:cubicBezTo>
                      <a:pt x="103375" y="-2830"/>
                      <a:pt x="83989" y="-2504"/>
                      <a:pt x="73905" y="8881"/>
                    </a:cubicBezTo>
                    <a:cubicBezTo>
                      <a:pt x="73905" y="8881"/>
                      <a:pt x="31488" y="72506"/>
                      <a:pt x="0" y="72506"/>
                    </a:cubicBezTo>
                  </a:path>
                </a:pathLst>
              </a:custGeom>
              <a:noFill/>
              <a:ln w="19050" cap="sq">
                <a:solidFill>
                  <a:schemeClr val="tx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9" name="Forma livre: Forma 78">
                <a:extLst>
                  <a:ext uri="{FF2B5EF4-FFF2-40B4-BE49-F238E27FC236}">
                    <a16:creationId xmlns:a16="http://schemas.microsoft.com/office/drawing/2014/main" id="{947FE0FF-D890-0D02-8AAE-3C0A83724E6B}"/>
                  </a:ext>
                </a:extLst>
              </p:cNvPr>
              <p:cNvSpPr/>
              <p:nvPr/>
            </p:nvSpPr>
            <p:spPr>
              <a:xfrm>
                <a:off x="6079857" y="1646956"/>
                <a:ext cx="29405" cy="9823"/>
              </a:xfrm>
              <a:custGeom>
                <a:avLst/>
                <a:gdLst>
                  <a:gd name="connsiteX0" fmla="*/ 0 w 29405"/>
                  <a:gd name="connsiteY0" fmla="*/ 0 h 9823"/>
                  <a:gd name="connsiteX1" fmla="*/ 29406 w 29405"/>
                  <a:gd name="connsiteY1" fmla="*/ 9824 h 98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9405" h="9823">
                    <a:moveTo>
                      <a:pt x="0" y="0"/>
                    </a:moveTo>
                    <a:lnTo>
                      <a:pt x="29406" y="9824"/>
                    </a:lnTo>
                  </a:path>
                </a:pathLst>
              </a:custGeom>
              <a:ln w="19050" cap="sq">
                <a:solidFill>
                  <a:schemeClr val="tx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80" name="Forma livre: Forma 79">
                <a:extLst>
                  <a:ext uri="{FF2B5EF4-FFF2-40B4-BE49-F238E27FC236}">
                    <a16:creationId xmlns:a16="http://schemas.microsoft.com/office/drawing/2014/main" id="{5AC0D6AB-FC58-5C40-5CA1-5C4DE5515CDA}"/>
                  </a:ext>
                </a:extLst>
              </p:cNvPr>
              <p:cNvSpPr/>
              <p:nvPr/>
            </p:nvSpPr>
            <p:spPr>
              <a:xfrm>
                <a:off x="6061121" y="1545272"/>
                <a:ext cx="47166" cy="34154"/>
              </a:xfrm>
              <a:custGeom>
                <a:avLst/>
                <a:gdLst>
                  <a:gd name="connsiteX0" fmla="*/ 0 w 47166"/>
                  <a:gd name="connsiteY0" fmla="*/ 0 h 34154"/>
                  <a:gd name="connsiteX1" fmla="*/ 47166 w 47166"/>
                  <a:gd name="connsiteY1" fmla="*/ 34155 h 341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166" h="34154">
                    <a:moveTo>
                      <a:pt x="0" y="0"/>
                    </a:moveTo>
                    <a:cubicBezTo>
                      <a:pt x="0" y="0"/>
                      <a:pt x="27649" y="13011"/>
                      <a:pt x="47166" y="34155"/>
                    </a:cubicBezTo>
                  </a:path>
                </a:pathLst>
              </a:custGeom>
              <a:noFill/>
              <a:ln w="19050" cap="sq">
                <a:solidFill>
                  <a:schemeClr val="tx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61" name="Gráfico 32">
              <a:extLst>
                <a:ext uri="{FF2B5EF4-FFF2-40B4-BE49-F238E27FC236}">
                  <a16:creationId xmlns:a16="http://schemas.microsoft.com/office/drawing/2014/main" id="{0E2FF17F-90BA-3F57-D160-A80BC21A7359}"/>
                </a:ext>
              </a:extLst>
            </p:cNvPr>
            <p:cNvGrpSpPr/>
            <p:nvPr/>
          </p:nvGrpSpPr>
          <p:grpSpPr>
            <a:xfrm>
              <a:off x="6191625" y="1599725"/>
              <a:ext cx="173767" cy="157112"/>
              <a:chOff x="6191625" y="1599725"/>
              <a:chExt cx="173767" cy="157112"/>
            </a:xfrm>
            <a:noFill/>
          </p:grpSpPr>
          <p:sp>
            <p:nvSpPr>
              <p:cNvPr id="71" name="Forma livre: Forma 70">
                <a:extLst>
                  <a:ext uri="{FF2B5EF4-FFF2-40B4-BE49-F238E27FC236}">
                    <a16:creationId xmlns:a16="http://schemas.microsoft.com/office/drawing/2014/main" id="{8FBBEDEC-0D6E-B3AF-F2DA-F2CECD19383E}"/>
                  </a:ext>
                </a:extLst>
              </p:cNvPr>
              <p:cNvSpPr/>
              <p:nvPr/>
            </p:nvSpPr>
            <p:spPr>
              <a:xfrm>
                <a:off x="6310094" y="1621974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tx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2" name="Forma livre: Forma 71">
                <a:extLst>
                  <a:ext uri="{FF2B5EF4-FFF2-40B4-BE49-F238E27FC236}">
                    <a16:creationId xmlns:a16="http://schemas.microsoft.com/office/drawing/2014/main" id="{6308326C-FE40-E56C-093F-1EF2999DDF5C}"/>
                  </a:ext>
                </a:extLst>
              </p:cNvPr>
              <p:cNvSpPr/>
              <p:nvPr/>
            </p:nvSpPr>
            <p:spPr>
              <a:xfrm>
                <a:off x="6191625" y="1599725"/>
                <a:ext cx="118078" cy="49898"/>
              </a:xfrm>
              <a:custGeom>
                <a:avLst/>
                <a:gdLst>
                  <a:gd name="connsiteX0" fmla="*/ 0 w 118078"/>
                  <a:gd name="connsiteY0" fmla="*/ 0 h 49898"/>
                  <a:gd name="connsiteX1" fmla="*/ 37343 w 118078"/>
                  <a:gd name="connsiteY1" fmla="*/ 0 h 49898"/>
                  <a:gd name="connsiteX2" fmla="*/ 87176 w 118078"/>
                  <a:gd name="connsiteY2" fmla="*/ 49899 h 49898"/>
                  <a:gd name="connsiteX3" fmla="*/ 118078 w 118078"/>
                  <a:gd name="connsiteY3" fmla="*/ 49899 h 49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8078" h="49898">
                    <a:moveTo>
                      <a:pt x="0" y="0"/>
                    </a:moveTo>
                    <a:lnTo>
                      <a:pt x="37343" y="0"/>
                    </a:lnTo>
                    <a:lnTo>
                      <a:pt x="87176" y="49899"/>
                    </a:lnTo>
                    <a:lnTo>
                      <a:pt x="118078" y="49899"/>
                    </a:lnTo>
                  </a:path>
                </a:pathLst>
              </a:custGeom>
              <a:noFill/>
              <a:ln w="19050" cap="sq">
                <a:solidFill>
                  <a:schemeClr val="tx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3" name="Forma livre: Forma 72">
                <a:extLst>
                  <a:ext uri="{FF2B5EF4-FFF2-40B4-BE49-F238E27FC236}">
                    <a16:creationId xmlns:a16="http://schemas.microsoft.com/office/drawing/2014/main" id="{1268DD1F-51EE-8866-D22E-ABC4238565E4}"/>
                  </a:ext>
                </a:extLst>
              </p:cNvPr>
              <p:cNvSpPr/>
              <p:nvPr/>
            </p:nvSpPr>
            <p:spPr>
              <a:xfrm>
                <a:off x="6191625" y="1665367"/>
                <a:ext cx="81906" cy="44108"/>
              </a:xfrm>
              <a:custGeom>
                <a:avLst/>
                <a:gdLst>
                  <a:gd name="connsiteX0" fmla="*/ 0 w 81906"/>
                  <a:gd name="connsiteY0" fmla="*/ 0 h 44108"/>
                  <a:gd name="connsiteX1" fmla="*/ 37343 w 81906"/>
                  <a:gd name="connsiteY1" fmla="*/ 0 h 44108"/>
                  <a:gd name="connsiteX2" fmla="*/ 81907 w 81906"/>
                  <a:gd name="connsiteY2" fmla="*/ 44109 h 441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1906" h="44108">
                    <a:moveTo>
                      <a:pt x="0" y="0"/>
                    </a:moveTo>
                    <a:lnTo>
                      <a:pt x="37343" y="0"/>
                    </a:lnTo>
                    <a:lnTo>
                      <a:pt x="81907" y="44109"/>
                    </a:lnTo>
                  </a:path>
                </a:pathLst>
              </a:custGeom>
              <a:noFill/>
              <a:ln w="19050" cap="sq">
                <a:solidFill>
                  <a:schemeClr val="tx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4" name="Forma livre: Forma 73">
                <a:extLst>
                  <a:ext uri="{FF2B5EF4-FFF2-40B4-BE49-F238E27FC236}">
                    <a16:creationId xmlns:a16="http://schemas.microsoft.com/office/drawing/2014/main" id="{0A59EF0D-2A99-3E00-C5CA-F8628A16CB0A}"/>
                  </a:ext>
                </a:extLst>
              </p:cNvPr>
              <p:cNvSpPr/>
              <p:nvPr/>
            </p:nvSpPr>
            <p:spPr>
              <a:xfrm>
                <a:off x="6265075" y="1701539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tx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62" name="Gráfico 32">
              <a:extLst>
                <a:ext uri="{FF2B5EF4-FFF2-40B4-BE49-F238E27FC236}">
                  <a16:creationId xmlns:a16="http://schemas.microsoft.com/office/drawing/2014/main" id="{8B5381D2-E33E-8981-9864-27ED0FE2EF03}"/>
                </a:ext>
              </a:extLst>
            </p:cNvPr>
            <p:cNvGrpSpPr/>
            <p:nvPr/>
          </p:nvGrpSpPr>
          <p:grpSpPr>
            <a:xfrm>
              <a:off x="6191625" y="1357908"/>
              <a:ext cx="173767" cy="157112"/>
              <a:chOff x="6191625" y="1357908"/>
              <a:chExt cx="173767" cy="157112"/>
            </a:xfrm>
            <a:noFill/>
          </p:grpSpPr>
          <p:sp>
            <p:nvSpPr>
              <p:cNvPr id="67" name="Forma livre: Forma 66">
                <a:extLst>
                  <a:ext uri="{FF2B5EF4-FFF2-40B4-BE49-F238E27FC236}">
                    <a16:creationId xmlns:a16="http://schemas.microsoft.com/office/drawing/2014/main" id="{E2DA7DC5-5CED-3CE3-3C27-305EBAD00F10}"/>
                  </a:ext>
                </a:extLst>
              </p:cNvPr>
              <p:cNvSpPr/>
              <p:nvPr/>
            </p:nvSpPr>
            <p:spPr>
              <a:xfrm>
                <a:off x="6310094" y="1437472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0 h 55298"/>
                  <a:gd name="connsiteX2" fmla="*/ 0 w 55298"/>
                  <a:gd name="connsiteY2" fmla="*/ 27649 h 55298"/>
                  <a:gd name="connsiteX3" fmla="*/ 27649 w 55298"/>
                  <a:gd name="connsiteY3" fmla="*/ 55298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12361"/>
                      <a:pt x="42938" y="0"/>
                      <a:pt x="27649" y="0"/>
                    </a:cubicBezTo>
                    <a:cubicBezTo>
                      <a:pt x="12361" y="0"/>
                      <a:pt x="0" y="12361"/>
                      <a:pt x="0" y="27649"/>
                    </a:cubicBezTo>
                    <a:cubicBezTo>
                      <a:pt x="0" y="42938"/>
                      <a:pt x="12361" y="55298"/>
                      <a:pt x="27649" y="55298"/>
                    </a:cubicBezTo>
                    <a:cubicBezTo>
                      <a:pt x="42938" y="55298"/>
                      <a:pt x="55298" y="42938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tx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68" name="Forma livre: Forma 67">
                <a:extLst>
                  <a:ext uri="{FF2B5EF4-FFF2-40B4-BE49-F238E27FC236}">
                    <a16:creationId xmlns:a16="http://schemas.microsoft.com/office/drawing/2014/main" id="{B24D1B38-8663-7A40-9D02-4D3DB53DAB9F}"/>
                  </a:ext>
                </a:extLst>
              </p:cNvPr>
              <p:cNvSpPr/>
              <p:nvPr/>
            </p:nvSpPr>
            <p:spPr>
              <a:xfrm>
                <a:off x="6191625" y="1465122"/>
                <a:ext cx="118468" cy="49898"/>
              </a:xfrm>
              <a:custGeom>
                <a:avLst/>
                <a:gdLst>
                  <a:gd name="connsiteX0" fmla="*/ 0 w 118468"/>
                  <a:gd name="connsiteY0" fmla="*/ 49899 h 49898"/>
                  <a:gd name="connsiteX1" fmla="*/ 37343 w 118468"/>
                  <a:gd name="connsiteY1" fmla="*/ 49899 h 49898"/>
                  <a:gd name="connsiteX2" fmla="*/ 87176 w 118468"/>
                  <a:gd name="connsiteY2" fmla="*/ 0 h 49898"/>
                  <a:gd name="connsiteX3" fmla="*/ 118469 w 118468"/>
                  <a:gd name="connsiteY3" fmla="*/ 0 h 49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8468" h="49898">
                    <a:moveTo>
                      <a:pt x="0" y="49899"/>
                    </a:moveTo>
                    <a:lnTo>
                      <a:pt x="37343" y="49899"/>
                    </a:lnTo>
                    <a:lnTo>
                      <a:pt x="87176" y="0"/>
                    </a:lnTo>
                    <a:lnTo>
                      <a:pt x="118469" y="0"/>
                    </a:lnTo>
                  </a:path>
                </a:pathLst>
              </a:custGeom>
              <a:noFill/>
              <a:ln w="19050" cap="sq">
                <a:solidFill>
                  <a:schemeClr val="tx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69" name="Forma livre: Forma 68">
                <a:extLst>
                  <a:ext uri="{FF2B5EF4-FFF2-40B4-BE49-F238E27FC236}">
                    <a16:creationId xmlns:a16="http://schemas.microsoft.com/office/drawing/2014/main" id="{64383F06-83E1-EAAE-3452-754F1EF0D7B6}"/>
                  </a:ext>
                </a:extLst>
              </p:cNvPr>
              <p:cNvSpPr/>
              <p:nvPr/>
            </p:nvSpPr>
            <p:spPr>
              <a:xfrm>
                <a:off x="6191625" y="1405269"/>
                <a:ext cx="81451" cy="44043"/>
              </a:xfrm>
              <a:custGeom>
                <a:avLst/>
                <a:gdLst>
                  <a:gd name="connsiteX0" fmla="*/ 0 w 81451"/>
                  <a:gd name="connsiteY0" fmla="*/ 44044 h 44043"/>
                  <a:gd name="connsiteX1" fmla="*/ 37343 w 81451"/>
                  <a:gd name="connsiteY1" fmla="*/ 44044 h 44043"/>
                  <a:gd name="connsiteX2" fmla="*/ 81451 w 81451"/>
                  <a:gd name="connsiteY2" fmla="*/ 0 h 440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1451" h="44043">
                    <a:moveTo>
                      <a:pt x="0" y="44044"/>
                    </a:moveTo>
                    <a:lnTo>
                      <a:pt x="37343" y="44044"/>
                    </a:lnTo>
                    <a:lnTo>
                      <a:pt x="81451" y="0"/>
                    </a:lnTo>
                  </a:path>
                </a:pathLst>
              </a:custGeom>
              <a:noFill/>
              <a:ln w="19050" cap="sq">
                <a:solidFill>
                  <a:schemeClr val="tx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0" name="Forma livre: Forma 69">
                <a:extLst>
                  <a:ext uri="{FF2B5EF4-FFF2-40B4-BE49-F238E27FC236}">
                    <a16:creationId xmlns:a16="http://schemas.microsoft.com/office/drawing/2014/main" id="{1361C808-EDC5-6052-6C61-A19AF077766F}"/>
                  </a:ext>
                </a:extLst>
              </p:cNvPr>
              <p:cNvSpPr/>
              <p:nvPr/>
            </p:nvSpPr>
            <p:spPr>
              <a:xfrm>
                <a:off x="6265075" y="1357908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0 h 55298"/>
                  <a:gd name="connsiteX2" fmla="*/ 0 w 55298"/>
                  <a:gd name="connsiteY2" fmla="*/ 27649 h 55298"/>
                  <a:gd name="connsiteX3" fmla="*/ 27649 w 55298"/>
                  <a:gd name="connsiteY3" fmla="*/ 55298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12361"/>
                      <a:pt x="42938" y="0"/>
                      <a:pt x="27649" y="0"/>
                    </a:cubicBezTo>
                    <a:cubicBezTo>
                      <a:pt x="12361" y="0"/>
                      <a:pt x="0" y="12361"/>
                      <a:pt x="0" y="27649"/>
                    </a:cubicBezTo>
                    <a:cubicBezTo>
                      <a:pt x="0" y="42938"/>
                      <a:pt x="12361" y="55298"/>
                      <a:pt x="27649" y="55298"/>
                    </a:cubicBezTo>
                    <a:cubicBezTo>
                      <a:pt x="42938" y="55298"/>
                      <a:pt x="55298" y="42938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tx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63" name="Gráfico 32">
              <a:extLst>
                <a:ext uri="{FF2B5EF4-FFF2-40B4-BE49-F238E27FC236}">
                  <a16:creationId xmlns:a16="http://schemas.microsoft.com/office/drawing/2014/main" id="{EDA7B594-2266-1E9A-0DB3-34BE90BE9C57}"/>
                </a:ext>
              </a:extLst>
            </p:cNvPr>
            <p:cNvGrpSpPr/>
            <p:nvPr/>
          </p:nvGrpSpPr>
          <p:grpSpPr>
            <a:xfrm>
              <a:off x="6190910" y="1529723"/>
              <a:ext cx="123673" cy="55298"/>
              <a:chOff x="6190910" y="1529723"/>
              <a:chExt cx="123673" cy="55298"/>
            </a:xfrm>
            <a:noFill/>
          </p:grpSpPr>
          <p:sp>
            <p:nvSpPr>
              <p:cNvPr id="65" name="Forma livre: Forma 64">
                <a:extLst>
                  <a:ext uri="{FF2B5EF4-FFF2-40B4-BE49-F238E27FC236}">
                    <a16:creationId xmlns:a16="http://schemas.microsoft.com/office/drawing/2014/main" id="{43025C34-EC66-D103-3DBB-11F3A466DBCA}"/>
                  </a:ext>
                </a:extLst>
              </p:cNvPr>
              <p:cNvSpPr/>
              <p:nvPr/>
            </p:nvSpPr>
            <p:spPr>
              <a:xfrm>
                <a:off x="6190910" y="1557372"/>
                <a:ext cx="68765" cy="6505"/>
              </a:xfrm>
              <a:custGeom>
                <a:avLst/>
                <a:gdLst>
                  <a:gd name="connsiteX0" fmla="*/ 0 w 68765"/>
                  <a:gd name="connsiteY0" fmla="*/ 0 h 6505"/>
                  <a:gd name="connsiteX1" fmla="*/ 68765 w 68765"/>
                  <a:gd name="connsiteY1" fmla="*/ 0 h 65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8765" h="6505">
                    <a:moveTo>
                      <a:pt x="0" y="0"/>
                    </a:moveTo>
                    <a:lnTo>
                      <a:pt x="68765" y="0"/>
                    </a:lnTo>
                  </a:path>
                </a:pathLst>
              </a:custGeom>
              <a:ln w="19050" cap="sq">
                <a:solidFill>
                  <a:schemeClr val="tx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66" name="Forma livre: Forma 65">
                <a:extLst>
                  <a:ext uri="{FF2B5EF4-FFF2-40B4-BE49-F238E27FC236}">
                    <a16:creationId xmlns:a16="http://schemas.microsoft.com/office/drawing/2014/main" id="{20958397-233E-B1FA-624C-7F9BA5943DCF}"/>
                  </a:ext>
                </a:extLst>
              </p:cNvPr>
              <p:cNvSpPr/>
              <p:nvPr/>
            </p:nvSpPr>
            <p:spPr>
              <a:xfrm>
                <a:off x="6259285" y="1529723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tx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64" name="Forma livre: Forma 63">
              <a:extLst>
                <a:ext uri="{FF2B5EF4-FFF2-40B4-BE49-F238E27FC236}">
                  <a16:creationId xmlns:a16="http://schemas.microsoft.com/office/drawing/2014/main" id="{DFE09C2A-83FE-7063-B8C8-DF4A4CE241E8}"/>
                </a:ext>
              </a:extLst>
            </p:cNvPr>
            <p:cNvSpPr/>
            <p:nvPr/>
          </p:nvSpPr>
          <p:spPr>
            <a:xfrm>
              <a:off x="6152201" y="1686285"/>
              <a:ext cx="37362" cy="20848"/>
            </a:xfrm>
            <a:custGeom>
              <a:avLst/>
              <a:gdLst>
                <a:gd name="connsiteX0" fmla="*/ 0 w 37362"/>
                <a:gd name="connsiteY0" fmla="*/ 10505 h 20848"/>
                <a:gd name="connsiteX1" fmla="*/ 27064 w 37362"/>
                <a:gd name="connsiteY1" fmla="*/ 2373 h 20848"/>
                <a:gd name="connsiteX2" fmla="*/ 37343 w 37362"/>
                <a:gd name="connsiteY2" fmla="*/ 20849 h 20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7362" h="20848">
                  <a:moveTo>
                    <a:pt x="0" y="10505"/>
                  </a:moveTo>
                  <a:cubicBezTo>
                    <a:pt x="5205" y="811"/>
                    <a:pt x="17435" y="-2832"/>
                    <a:pt x="27064" y="2373"/>
                  </a:cubicBezTo>
                  <a:cubicBezTo>
                    <a:pt x="34025" y="6081"/>
                    <a:pt x="37668" y="13432"/>
                    <a:pt x="37343" y="20849"/>
                  </a:cubicBezTo>
                </a:path>
              </a:pathLst>
            </a:custGeom>
            <a:noFill/>
            <a:ln w="19050" cap="sq">
              <a:solidFill>
                <a:schemeClr val="tx2"/>
              </a:solidFill>
              <a:prstDash val="solid"/>
              <a:miter lim="800000"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81" name="Agrupar 80">
            <a:extLst>
              <a:ext uri="{FF2B5EF4-FFF2-40B4-BE49-F238E27FC236}">
                <a16:creationId xmlns:a16="http://schemas.microsoft.com/office/drawing/2014/main" id="{52A5459D-0D4D-6AF4-15B1-AFDE7F601557}"/>
              </a:ext>
            </a:extLst>
          </p:cNvPr>
          <p:cNvGrpSpPr/>
          <p:nvPr/>
        </p:nvGrpSpPr>
        <p:grpSpPr>
          <a:xfrm>
            <a:off x="2891141" y="2922058"/>
            <a:ext cx="325297" cy="355243"/>
            <a:chOff x="6000092" y="1357908"/>
            <a:chExt cx="365300" cy="398929"/>
          </a:xfrm>
        </p:grpSpPr>
        <p:sp>
          <p:nvSpPr>
            <p:cNvPr id="82" name="Forma livre: Forma 81">
              <a:extLst>
                <a:ext uri="{FF2B5EF4-FFF2-40B4-BE49-F238E27FC236}">
                  <a16:creationId xmlns:a16="http://schemas.microsoft.com/office/drawing/2014/main" id="{37910331-5192-9C42-D1DC-7188301F1520}"/>
                </a:ext>
              </a:extLst>
            </p:cNvPr>
            <p:cNvSpPr/>
            <p:nvPr/>
          </p:nvSpPr>
          <p:spPr>
            <a:xfrm>
              <a:off x="6000092" y="1418606"/>
              <a:ext cx="84058" cy="286120"/>
            </a:xfrm>
            <a:custGeom>
              <a:avLst/>
              <a:gdLst>
                <a:gd name="connsiteX0" fmla="*/ 51595 w 84058"/>
                <a:gd name="connsiteY0" fmla="*/ 0 h 286120"/>
                <a:gd name="connsiteX1" fmla="*/ 35266 w 84058"/>
                <a:gd name="connsiteY1" fmla="*/ 61674 h 286120"/>
                <a:gd name="connsiteX2" fmla="*/ 28760 w 84058"/>
                <a:gd name="connsiteY2" fmla="*/ 193415 h 286120"/>
                <a:gd name="connsiteX3" fmla="*/ 84059 w 84058"/>
                <a:gd name="connsiteY3" fmla="*/ 286121 h 2861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4058" h="286120">
                  <a:moveTo>
                    <a:pt x="51595" y="0"/>
                  </a:moveTo>
                  <a:cubicBezTo>
                    <a:pt x="37868" y="7872"/>
                    <a:pt x="26028" y="24852"/>
                    <a:pt x="35266" y="61674"/>
                  </a:cubicBezTo>
                  <a:cubicBezTo>
                    <a:pt x="35266" y="61674"/>
                    <a:pt x="-39549" y="126731"/>
                    <a:pt x="28760" y="193415"/>
                  </a:cubicBezTo>
                  <a:cubicBezTo>
                    <a:pt x="28760" y="193415"/>
                    <a:pt x="9243" y="281242"/>
                    <a:pt x="84059" y="286121"/>
                  </a:cubicBezTo>
                </a:path>
              </a:pathLst>
            </a:custGeom>
            <a:noFill/>
            <a:ln w="19050" cap="sq">
              <a:solidFill>
                <a:schemeClr val="tx2"/>
              </a:solidFill>
              <a:prstDash val="solid"/>
              <a:miter lim="800000"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83" name="Gráfico 32">
              <a:extLst>
                <a:ext uri="{FF2B5EF4-FFF2-40B4-BE49-F238E27FC236}">
                  <a16:creationId xmlns:a16="http://schemas.microsoft.com/office/drawing/2014/main" id="{79C9BAEF-70C7-3FB9-C16A-78E6BCB7060E}"/>
                </a:ext>
              </a:extLst>
            </p:cNvPr>
            <p:cNvGrpSpPr/>
            <p:nvPr/>
          </p:nvGrpSpPr>
          <p:grpSpPr>
            <a:xfrm>
              <a:off x="6061121" y="1359924"/>
              <a:ext cx="128487" cy="396366"/>
              <a:chOff x="6061121" y="1359924"/>
              <a:chExt cx="128487" cy="396366"/>
            </a:xfrm>
            <a:noFill/>
          </p:grpSpPr>
          <p:sp>
            <p:nvSpPr>
              <p:cNvPr id="98" name="Forma livre: Forma 97">
                <a:extLst>
                  <a:ext uri="{FF2B5EF4-FFF2-40B4-BE49-F238E27FC236}">
                    <a16:creationId xmlns:a16="http://schemas.microsoft.com/office/drawing/2014/main" id="{8F6074D9-8D0F-953B-7D2A-D900E5509347}"/>
                  </a:ext>
                </a:extLst>
              </p:cNvPr>
              <p:cNvSpPr/>
              <p:nvPr/>
            </p:nvSpPr>
            <p:spPr>
              <a:xfrm>
                <a:off x="6083891" y="1359924"/>
                <a:ext cx="105717" cy="396366"/>
              </a:xfrm>
              <a:custGeom>
                <a:avLst/>
                <a:gdLst>
                  <a:gd name="connsiteX0" fmla="*/ 52891 w 105717"/>
                  <a:gd name="connsiteY0" fmla="*/ 105718 h 396366"/>
                  <a:gd name="connsiteX1" fmla="*/ 0 w 105717"/>
                  <a:gd name="connsiteY1" fmla="*/ 52891 h 396366"/>
                  <a:gd name="connsiteX2" fmla="*/ 52891 w 105717"/>
                  <a:gd name="connsiteY2" fmla="*/ 0 h 396366"/>
                  <a:gd name="connsiteX3" fmla="*/ 105718 w 105717"/>
                  <a:gd name="connsiteY3" fmla="*/ 52826 h 396366"/>
                  <a:gd name="connsiteX4" fmla="*/ 105718 w 105717"/>
                  <a:gd name="connsiteY4" fmla="*/ 346884 h 396366"/>
                  <a:gd name="connsiteX5" fmla="*/ 80606 w 105717"/>
                  <a:gd name="connsiteY5" fmla="*/ 388911 h 396366"/>
                  <a:gd name="connsiteX6" fmla="*/ 9238 w 105717"/>
                  <a:gd name="connsiteY6" fmla="*/ 371150 h 396366"/>
                  <a:gd name="connsiteX7" fmla="*/ 15484 w 105717"/>
                  <a:gd name="connsiteY7" fmla="*/ 309216 h 396366"/>
                  <a:gd name="connsiteX8" fmla="*/ 45019 w 105717"/>
                  <a:gd name="connsiteY8" fmla="*/ 277078 h 3963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05717" h="396366">
                    <a:moveTo>
                      <a:pt x="52891" y="105718"/>
                    </a:moveTo>
                    <a:cubicBezTo>
                      <a:pt x="23681" y="105718"/>
                      <a:pt x="0" y="82037"/>
                      <a:pt x="0" y="52891"/>
                    </a:cubicBezTo>
                    <a:cubicBezTo>
                      <a:pt x="0" y="23746"/>
                      <a:pt x="23681" y="0"/>
                      <a:pt x="52891" y="0"/>
                    </a:cubicBezTo>
                    <a:cubicBezTo>
                      <a:pt x="82102" y="0"/>
                      <a:pt x="105718" y="23681"/>
                      <a:pt x="105718" y="52826"/>
                    </a:cubicBezTo>
                    <a:lnTo>
                      <a:pt x="105718" y="346884"/>
                    </a:lnTo>
                    <a:cubicBezTo>
                      <a:pt x="105718" y="364580"/>
                      <a:pt x="96414" y="379413"/>
                      <a:pt x="80606" y="388911"/>
                    </a:cubicBezTo>
                    <a:cubicBezTo>
                      <a:pt x="55949" y="403744"/>
                      <a:pt x="24006" y="395742"/>
                      <a:pt x="9238" y="371150"/>
                    </a:cubicBezTo>
                    <a:cubicBezTo>
                      <a:pt x="-2928" y="350918"/>
                      <a:pt x="260" y="325741"/>
                      <a:pt x="15484" y="309216"/>
                    </a:cubicBezTo>
                    <a:lnTo>
                      <a:pt x="45019" y="277078"/>
                    </a:lnTo>
                  </a:path>
                </a:pathLst>
              </a:custGeom>
              <a:noFill/>
              <a:ln w="19050" cap="sq">
                <a:solidFill>
                  <a:schemeClr val="tx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9" name="Forma livre: Forma 98">
                <a:extLst>
                  <a:ext uri="{FF2B5EF4-FFF2-40B4-BE49-F238E27FC236}">
                    <a16:creationId xmlns:a16="http://schemas.microsoft.com/office/drawing/2014/main" id="{C9D4E94D-E422-5DC1-83A0-5A47B8394DA2}"/>
                  </a:ext>
                </a:extLst>
              </p:cNvPr>
              <p:cNvSpPr/>
              <p:nvPr/>
            </p:nvSpPr>
            <p:spPr>
              <a:xfrm>
                <a:off x="6144784" y="1383865"/>
                <a:ext cx="41563" cy="38963"/>
              </a:xfrm>
              <a:custGeom>
                <a:avLst/>
                <a:gdLst>
                  <a:gd name="connsiteX0" fmla="*/ 36172 w 41563"/>
                  <a:gd name="connsiteY0" fmla="*/ 0 h 38963"/>
                  <a:gd name="connsiteX1" fmla="*/ 39425 w 41563"/>
                  <a:gd name="connsiteY1" fmla="*/ 24266 h 38963"/>
                  <a:gd name="connsiteX2" fmla="*/ 36432 w 41563"/>
                  <a:gd name="connsiteY2" fmla="*/ 29080 h 38963"/>
                  <a:gd name="connsiteX3" fmla="*/ 0 w 41563"/>
                  <a:gd name="connsiteY3" fmla="*/ 33439 h 389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563" h="38963">
                    <a:moveTo>
                      <a:pt x="36172" y="0"/>
                    </a:moveTo>
                    <a:cubicBezTo>
                      <a:pt x="41571" y="7547"/>
                      <a:pt x="43393" y="16004"/>
                      <a:pt x="39425" y="24266"/>
                    </a:cubicBezTo>
                    <a:cubicBezTo>
                      <a:pt x="38644" y="25893"/>
                      <a:pt x="37603" y="27519"/>
                      <a:pt x="36432" y="29080"/>
                    </a:cubicBezTo>
                    <a:cubicBezTo>
                      <a:pt x="27584" y="40270"/>
                      <a:pt x="11190" y="42287"/>
                      <a:pt x="0" y="33439"/>
                    </a:cubicBezTo>
                  </a:path>
                </a:pathLst>
              </a:custGeom>
              <a:noFill/>
              <a:ln w="19050" cap="sq">
                <a:solidFill>
                  <a:schemeClr val="tx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00" name="Forma livre: Forma 99">
                <a:extLst>
                  <a:ext uri="{FF2B5EF4-FFF2-40B4-BE49-F238E27FC236}">
                    <a16:creationId xmlns:a16="http://schemas.microsoft.com/office/drawing/2014/main" id="{5FBF69AB-9B6D-D9B5-BE71-D12418997E94}"/>
                  </a:ext>
                </a:extLst>
              </p:cNvPr>
              <p:cNvSpPr/>
              <p:nvPr/>
            </p:nvSpPr>
            <p:spPr>
              <a:xfrm>
                <a:off x="6081487" y="1460806"/>
                <a:ext cx="34217" cy="54474"/>
              </a:xfrm>
              <a:custGeom>
                <a:avLst/>
                <a:gdLst>
                  <a:gd name="connsiteX0" fmla="*/ 21076 w 34217"/>
                  <a:gd name="connsiteY0" fmla="*/ 54475 h 54474"/>
                  <a:gd name="connsiteX1" fmla="*/ 778 w 34217"/>
                  <a:gd name="connsiteY1" fmla="*/ 21035 h 54474"/>
                  <a:gd name="connsiteX2" fmla="*/ 34217 w 34217"/>
                  <a:gd name="connsiteY2" fmla="*/ 803 h 544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4217" h="54474">
                    <a:moveTo>
                      <a:pt x="21076" y="54475"/>
                    </a:moveTo>
                    <a:cubicBezTo>
                      <a:pt x="6308" y="50832"/>
                      <a:pt x="-2800" y="35803"/>
                      <a:pt x="778" y="21035"/>
                    </a:cubicBezTo>
                    <a:cubicBezTo>
                      <a:pt x="4421" y="6267"/>
                      <a:pt x="19449" y="-2841"/>
                      <a:pt x="34217" y="803"/>
                    </a:cubicBezTo>
                  </a:path>
                </a:pathLst>
              </a:custGeom>
              <a:noFill/>
              <a:ln w="19050" cap="sq">
                <a:solidFill>
                  <a:schemeClr val="tx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01" name="Forma livre: Forma 100">
                <a:extLst>
                  <a:ext uri="{FF2B5EF4-FFF2-40B4-BE49-F238E27FC236}">
                    <a16:creationId xmlns:a16="http://schemas.microsoft.com/office/drawing/2014/main" id="{03460AB1-65B4-2BEC-555E-89073FCAEF28}"/>
                  </a:ext>
                </a:extLst>
              </p:cNvPr>
              <p:cNvSpPr/>
              <p:nvPr/>
            </p:nvSpPr>
            <p:spPr>
              <a:xfrm>
                <a:off x="6073547" y="1527543"/>
                <a:ext cx="114760" cy="72506"/>
              </a:xfrm>
              <a:custGeom>
                <a:avLst/>
                <a:gdLst>
                  <a:gd name="connsiteX0" fmla="*/ 114760 w 114760"/>
                  <a:gd name="connsiteY0" fmla="*/ 7254 h 72506"/>
                  <a:gd name="connsiteX1" fmla="*/ 73905 w 114760"/>
                  <a:gd name="connsiteY1" fmla="*/ 8881 h 72506"/>
                  <a:gd name="connsiteX2" fmla="*/ 0 w 114760"/>
                  <a:gd name="connsiteY2" fmla="*/ 72506 h 725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14760" h="72506">
                    <a:moveTo>
                      <a:pt x="114760" y="7254"/>
                    </a:moveTo>
                    <a:cubicBezTo>
                      <a:pt x="103375" y="-2830"/>
                      <a:pt x="83989" y="-2504"/>
                      <a:pt x="73905" y="8881"/>
                    </a:cubicBezTo>
                    <a:cubicBezTo>
                      <a:pt x="73905" y="8881"/>
                      <a:pt x="31488" y="72506"/>
                      <a:pt x="0" y="72506"/>
                    </a:cubicBezTo>
                  </a:path>
                </a:pathLst>
              </a:custGeom>
              <a:noFill/>
              <a:ln w="19050" cap="sq">
                <a:solidFill>
                  <a:schemeClr val="tx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02" name="Forma livre: Forma 101">
                <a:extLst>
                  <a:ext uri="{FF2B5EF4-FFF2-40B4-BE49-F238E27FC236}">
                    <a16:creationId xmlns:a16="http://schemas.microsoft.com/office/drawing/2014/main" id="{EC0436DD-2742-5382-49B7-50CBAD1353FC}"/>
                  </a:ext>
                </a:extLst>
              </p:cNvPr>
              <p:cNvSpPr/>
              <p:nvPr/>
            </p:nvSpPr>
            <p:spPr>
              <a:xfrm>
                <a:off x="6079857" y="1646956"/>
                <a:ext cx="29405" cy="9823"/>
              </a:xfrm>
              <a:custGeom>
                <a:avLst/>
                <a:gdLst>
                  <a:gd name="connsiteX0" fmla="*/ 0 w 29405"/>
                  <a:gd name="connsiteY0" fmla="*/ 0 h 9823"/>
                  <a:gd name="connsiteX1" fmla="*/ 29406 w 29405"/>
                  <a:gd name="connsiteY1" fmla="*/ 9824 h 98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9405" h="9823">
                    <a:moveTo>
                      <a:pt x="0" y="0"/>
                    </a:moveTo>
                    <a:lnTo>
                      <a:pt x="29406" y="9824"/>
                    </a:lnTo>
                  </a:path>
                </a:pathLst>
              </a:custGeom>
              <a:ln w="19050" cap="sq">
                <a:solidFill>
                  <a:schemeClr val="tx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03" name="Forma livre: Forma 102">
                <a:extLst>
                  <a:ext uri="{FF2B5EF4-FFF2-40B4-BE49-F238E27FC236}">
                    <a16:creationId xmlns:a16="http://schemas.microsoft.com/office/drawing/2014/main" id="{147AB118-D3D4-9A0D-0EB5-136DE715E6C4}"/>
                  </a:ext>
                </a:extLst>
              </p:cNvPr>
              <p:cNvSpPr/>
              <p:nvPr/>
            </p:nvSpPr>
            <p:spPr>
              <a:xfrm>
                <a:off x="6061121" y="1545272"/>
                <a:ext cx="47166" cy="34154"/>
              </a:xfrm>
              <a:custGeom>
                <a:avLst/>
                <a:gdLst>
                  <a:gd name="connsiteX0" fmla="*/ 0 w 47166"/>
                  <a:gd name="connsiteY0" fmla="*/ 0 h 34154"/>
                  <a:gd name="connsiteX1" fmla="*/ 47166 w 47166"/>
                  <a:gd name="connsiteY1" fmla="*/ 34155 h 341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166" h="34154">
                    <a:moveTo>
                      <a:pt x="0" y="0"/>
                    </a:moveTo>
                    <a:cubicBezTo>
                      <a:pt x="0" y="0"/>
                      <a:pt x="27649" y="13011"/>
                      <a:pt x="47166" y="34155"/>
                    </a:cubicBezTo>
                  </a:path>
                </a:pathLst>
              </a:custGeom>
              <a:noFill/>
              <a:ln w="19050" cap="sq">
                <a:solidFill>
                  <a:schemeClr val="tx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84" name="Gráfico 32">
              <a:extLst>
                <a:ext uri="{FF2B5EF4-FFF2-40B4-BE49-F238E27FC236}">
                  <a16:creationId xmlns:a16="http://schemas.microsoft.com/office/drawing/2014/main" id="{2740F9C2-4B8C-D86C-52FA-A190066E601E}"/>
                </a:ext>
              </a:extLst>
            </p:cNvPr>
            <p:cNvGrpSpPr/>
            <p:nvPr/>
          </p:nvGrpSpPr>
          <p:grpSpPr>
            <a:xfrm>
              <a:off x="6191625" y="1599725"/>
              <a:ext cx="173767" cy="157112"/>
              <a:chOff x="6191625" y="1599725"/>
              <a:chExt cx="173767" cy="157112"/>
            </a:xfrm>
            <a:noFill/>
          </p:grpSpPr>
          <p:sp>
            <p:nvSpPr>
              <p:cNvPr id="94" name="Forma livre: Forma 93">
                <a:extLst>
                  <a:ext uri="{FF2B5EF4-FFF2-40B4-BE49-F238E27FC236}">
                    <a16:creationId xmlns:a16="http://schemas.microsoft.com/office/drawing/2014/main" id="{A1BDB338-B051-4A83-3394-74406699428E}"/>
                  </a:ext>
                </a:extLst>
              </p:cNvPr>
              <p:cNvSpPr/>
              <p:nvPr/>
            </p:nvSpPr>
            <p:spPr>
              <a:xfrm>
                <a:off x="6310094" y="1621974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tx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5" name="Forma livre: Forma 94">
                <a:extLst>
                  <a:ext uri="{FF2B5EF4-FFF2-40B4-BE49-F238E27FC236}">
                    <a16:creationId xmlns:a16="http://schemas.microsoft.com/office/drawing/2014/main" id="{01FBD8D8-9E82-6DB8-589D-187240C628AD}"/>
                  </a:ext>
                </a:extLst>
              </p:cNvPr>
              <p:cNvSpPr/>
              <p:nvPr/>
            </p:nvSpPr>
            <p:spPr>
              <a:xfrm>
                <a:off x="6191625" y="1599725"/>
                <a:ext cx="118078" cy="49898"/>
              </a:xfrm>
              <a:custGeom>
                <a:avLst/>
                <a:gdLst>
                  <a:gd name="connsiteX0" fmla="*/ 0 w 118078"/>
                  <a:gd name="connsiteY0" fmla="*/ 0 h 49898"/>
                  <a:gd name="connsiteX1" fmla="*/ 37343 w 118078"/>
                  <a:gd name="connsiteY1" fmla="*/ 0 h 49898"/>
                  <a:gd name="connsiteX2" fmla="*/ 87176 w 118078"/>
                  <a:gd name="connsiteY2" fmla="*/ 49899 h 49898"/>
                  <a:gd name="connsiteX3" fmla="*/ 118078 w 118078"/>
                  <a:gd name="connsiteY3" fmla="*/ 49899 h 49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8078" h="49898">
                    <a:moveTo>
                      <a:pt x="0" y="0"/>
                    </a:moveTo>
                    <a:lnTo>
                      <a:pt x="37343" y="0"/>
                    </a:lnTo>
                    <a:lnTo>
                      <a:pt x="87176" y="49899"/>
                    </a:lnTo>
                    <a:lnTo>
                      <a:pt x="118078" y="49899"/>
                    </a:lnTo>
                  </a:path>
                </a:pathLst>
              </a:custGeom>
              <a:noFill/>
              <a:ln w="19050" cap="sq">
                <a:solidFill>
                  <a:schemeClr val="tx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6" name="Forma livre: Forma 95">
                <a:extLst>
                  <a:ext uri="{FF2B5EF4-FFF2-40B4-BE49-F238E27FC236}">
                    <a16:creationId xmlns:a16="http://schemas.microsoft.com/office/drawing/2014/main" id="{ADF0E27B-F655-4773-AEFA-4920E81EDA99}"/>
                  </a:ext>
                </a:extLst>
              </p:cNvPr>
              <p:cNvSpPr/>
              <p:nvPr/>
            </p:nvSpPr>
            <p:spPr>
              <a:xfrm>
                <a:off x="6191625" y="1665367"/>
                <a:ext cx="81906" cy="44108"/>
              </a:xfrm>
              <a:custGeom>
                <a:avLst/>
                <a:gdLst>
                  <a:gd name="connsiteX0" fmla="*/ 0 w 81906"/>
                  <a:gd name="connsiteY0" fmla="*/ 0 h 44108"/>
                  <a:gd name="connsiteX1" fmla="*/ 37343 w 81906"/>
                  <a:gd name="connsiteY1" fmla="*/ 0 h 44108"/>
                  <a:gd name="connsiteX2" fmla="*/ 81907 w 81906"/>
                  <a:gd name="connsiteY2" fmla="*/ 44109 h 441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1906" h="44108">
                    <a:moveTo>
                      <a:pt x="0" y="0"/>
                    </a:moveTo>
                    <a:lnTo>
                      <a:pt x="37343" y="0"/>
                    </a:lnTo>
                    <a:lnTo>
                      <a:pt x="81907" y="44109"/>
                    </a:lnTo>
                  </a:path>
                </a:pathLst>
              </a:custGeom>
              <a:noFill/>
              <a:ln w="19050" cap="sq">
                <a:solidFill>
                  <a:schemeClr val="tx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7" name="Forma livre: Forma 96">
                <a:extLst>
                  <a:ext uri="{FF2B5EF4-FFF2-40B4-BE49-F238E27FC236}">
                    <a16:creationId xmlns:a16="http://schemas.microsoft.com/office/drawing/2014/main" id="{FFABE715-BFA0-1932-40BE-D400766AD463}"/>
                  </a:ext>
                </a:extLst>
              </p:cNvPr>
              <p:cNvSpPr/>
              <p:nvPr/>
            </p:nvSpPr>
            <p:spPr>
              <a:xfrm>
                <a:off x="6265075" y="1701539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tx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85" name="Gráfico 32">
              <a:extLst>
                <a:ext uri="{FF2B5EF4-FFF2-40B4-BE49-F238E27FC236}">
                  <a16:creationId xmlns:a16="http://schemas.microsoft.com/office/drawing/2014/main" id="{DEE90CEC-C525-8029-E134-D8797E4F64C1}"/>
                </a:ext>
              </a:extLst>
            </p:cNvPr>
            <p:cNvGrpSpPr/>
            <p:nvPr/>
          </p:nvGrpSpPr>
          <p:grpSpPr>
            <a:xfrm>
              <a:off x="6191625" y="1357908"/>
              <a:ext cx="173767" cy="157112"/>
              <a:chOff x="6191625" y="1357908"/>
              <a:chExt cx="173767" cy="157112"/>
            </a:xfrm>
            <a:noFill/>
          </p:grpSpPr>
          <p:sp>
            <p:nvSpPr>
              <p:cNvPr id="90" name="Forma livre: Forma 89">
                <a:extLst>
                  <a:ext uri="{FF2B5EF4-FFF2-40B4-BE49-F238E27FC236}">
                    <a16:creationId xmlns:a16="http://schemas.microsoft.com/office/drawing/2014/main" id="{7F6BB9B8-4149-333F-377D-C3BB1A033A32}"/>
                  </a:ext>
                </a:extLst>
              </p:cNvPr>
              <p:cNvSpPr/>
              <p:nvPr/>
            </p:nvSpPr>
            <p:spPr>
              <a:xfrm>
                <a:off x="6310094" y="1437472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0 h 55298"/>
                  <a:gd name="connsiteX2" fmla="*/ 0 w 55298"/>
                  <a:gd name="connsiteY2" fmla="*/ 27649 h 55298"/>
                  <a:gd name="connsiteX3" fmla="*/ 27649 w 55298"/>
                  <a:gd name="connsiteY3" fmla="*/ 55298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12361"/>
                      <a:pt x="42938" y="0"/>
                      <a:pt x="27649" y="0"/>
                    </a:cubicBezTo>
                    <a:cubicBezTo>
                      <a:pt x="12361" y="0"/>
                      <a:pt x="0" y="12361"/>
                      <a:pt x="0" y="27649"/>
                    </a:cubicBezTo>
                    <a:cubicBezTo>
                      <a:pt x="0" y="42938"/>
                      <a:pt x="12361" y="55298"/>
                      <a:pt x="27649" y="55298"/>
                    </a:cubicBezTo>
                    <a:cubicBezTo>
                      <a:pt x="42938" y="55298"/>
                      <a:pt x="55298" y="42938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tx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1" name="Forma livre: Forma 90">
                <a:extLst>
                  <a:ext uri="{FF2B5EF4-FFF2-40B4-BE49-F238E27FC236}">
                    <a16:creationId xmlns:a16="http://schemas.microsoft.com/office/drawing/2014/main" id="{FA02BBAE-FF9B-FD10-2E0A-F5B0060F1A16}"/>
                  </a:ext>
                </a:extLst>
              </p:cNvPr>
              <p:cNvSpPr/>
              <p:nvPr/>
            </p:nvSpPr>
            <p:spPr>
              <a:xfrm>
                <a:off x="6191625" y="1465122"/>
                <a:ext cx="118468" cy="49898"/>
              </a:xfrm>
              <a:custGeom>
                <a:avLst/>
                <a:gdLst>
                  <a:gd name="connsiteX0" fmla="*/ 0 w 118468"/>
                  <a:gd name="connsiteY0" fmla="*/ 49899 h 49898"/>
                  <a:gd name="connsiteX1" fmla="*/ 37343 w 118468"/>
                  <a:gd name="connsiteY1" fmla="*/ 49899 h 49898"/>
                  <a:gd name="connsiteX2" fmla="*/ 87176 w 118468"/>
                  <a:gd name="connsiteY2" fmla="*/ 0 h 49898"/>
                  <a:gd name="connsiteX3" fmla="*/ 118469 w 118468"/>
                  <a:gd name="connsiteY3" fmla="*/ 0 h 49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8468" h="49898">
                    <a:moveTo>
                      <a:pt x="0" y="49899"/>
                    </a:moveTo>
                    <a:lnTo>
                      <a:pt x="37343" y="49899"/>
                    </a:lnTo>
                    <a:lnTo>
                      <a:pt x="87176" y="0"/>
                    </a:lnTo>
                    <a:lnTo>
                      <a:pt x="118469" y="0"/>
                    </a:lnTo>
                  </a:path>
                </a:pathLst>
              </a:custGeom>
              <a:noFill/>
              <a:ln w="19050" cap="sq">
                <a:solidFill>
                  <a:schemeClr val="tx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2" name="Forma livre: Forma 91">
                <a:extLst>
                  <a:ext uri="{FF2B5EF4-FFF2-40B4-BE49-F238E27FC236}">
                    <a16:creationId xmlns:a16="http://schemas.microsoft.com/office/drawing/2014/main" id="{B41140FC-5365-DABE-4C22-B05E1C948477}"/>
                  </a:ext>
                </a:extLst>
              </p:cNvPr>
              <p:cNvSpPr/>
              <p:nvPr/>
            </p:nvSpPr>
            <p:spPr>
              <a:xfrm>
                <a:off x="6191625" y="1405269"/>
                <a:ext cx="81451" cy="44043"/>
              </a:xfrm>
              <a:custGeom>
                <a:avLst/>
                <a:gdLst>
                  <a:gd name="connsiteX0" fmla="*/ 0 w 81451"/>
                  <a:gd name="connsiteY0" fmla="*/ 44044 h 44043"/>
                  <a:gd name="connsiteX1" fmla="*/ 37343 w 81451"/>
                  <a:gd name="connsiteY1" fmla="*/ 44044 h 44043"/>
                  <a:gd name="connsiteX2" fmla="*/ 81451 w 81451"/>
                  <a:gd name="connsiteY2" fmla="*/ 0 h 440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1451" h="44043">
                    <a:moveTo>
                      <a:pt x="0" y="44044"/>
                    </a:moveTo>
                    <a:lnTo>
                      <a:pt x="37343" y="44044"/>
                    </a:lnTo>
                    <a:lnTo>
                      <a:pt x="81451" y="0"/>
                    </a:lnTo>
                  </a:path>
                </a:pathLst>
              </a:custGeom>
              <a:noFill/>
              <a:ln w="19050" cap="sq">
                <a:solidFill>
                  <a:schemeClr val="tx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3" name="Forma livre: Forma 92">
                <a:extLst>
                  <a:ext uri="{FF2B5EF4-FFF2-40B4-BE49-F238E27FC236}">
                    <a16:creationId xmlns:a16="http://schemas.microsoft.com/office/drawing/2014/main" id="{6DD02A8A-2EFF-6FB1-BBEA-F8DA91D513BE}"/>
                  </a:ext>
                </a:extLst>
              </p:cNvPr>
              <p:cNvSpPr/>
              <p:nvPr/>
            </p:nvSpPr>
            <p:spPr>
              <a:xfrm>
                <a:off x="6265075" y="1357908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0 h 55298"/>
                  <a:gd name="connsiteX2" fmla="*/ 0 w 55298"/>
                  <a:gd name="connsiteY2" fmla="*/ 27649 h 55298"/>
                  <a:gd name="connsiteX3" fmla="*/ 27649 w 55298"/>
                  <a:gd name="connsiteY3" fmla="*/ 55298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12361"/>
                      <a:pt x="42938" y="0"/>
                      <a:pt x="27649" y="0"/>
                    </a:cubicBezTo>
                    <a:cubicBezTo>
                      <a:pt x="12361" y="0"/>
                      <a:pt x="0" y="12361"/>
                      <a:pt x="0" y="27649"/>
                    </a:cubicBezTo>
                    <a:cubicBezTo>
                      <a:pt x="0" y="42938"/>
                      <a:pt x="12361" y="55298"/>
                      <a:pt x="27649" y="55298"/>
                    </a:cubicBezTo>
                    <a:cubicBezTo>
                      <a:pt x="42938" y="55298"/>
                      <a:pt x="55298" y="42938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tx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86" name="Gráfico 32">
              <a:extLst>
                <a:ext uri="{FF2B5EF4-FFF2-40B4-BE49-F238E27FC236}">
                  <a16:creationId xmlns:a16="http://schemas.microsoft.com/office/drawing/2014/main" id="{23036D42-7F6D-6EE2-7FCE-93ABBE615293}"/>
                </a:ext>
              </a:extLst>
            </p:cNvPr>
            <p:cNvGrpSpPr/>
            <p:nvPr/>
          </p:nvGrpSpPr>
          <p:grpSpPr>
            <a:xfrm>
              <a:off x="6190910" y="1529723"/>
              <a:ext cx="123673" cy="55298"/>
              <a:chOff x="6190910" y="1529723"/>
              <a:chExt cx="123673" cy="55298"/>
            </a:xfrm>
            <a:noFill/>
          </p:grpSpPr>
          <p:sp>
            <p:nvSpPr>
              <p:cNvPr id="88" name="Forma livre: Forma 87">
                <a:extLst>
                  <a:ext uri="{FF2B5EF4-FFF2-40B4-BE49-F238E27FC236}">
                    <a16:creationId xmlns:a16="http://schemas.microsoft.com/office/drawing/2014/main" id="{3959F571-2BD1-1239-8956-C3CD3D0A959F}"/>
                  </a:ext>
                </a:extLst>
              </p:cNvPr>
              <p:cNvSpPr/>
              <p:nvPr/>
            </p:nvSpPr>
            <p:spPr>
              <a:xfrm>
                <a:off x="6190910" y="1557372"/>
                <a:ext cx="68765" cy="6505"/>
              </a:xfrm>
              <a:custGeom>
                <a:avLst/>
                <a:gdLst>
                  <a:gd name="connsiteX0" fmla="*/ 0 w 68765"/>
                  <a:gd name="connsiteY0" fmla="*/ 0 h 6505"/>
                  <a:gd name="connsiteX1" fmla="*/ 68765 w 68765"/>
                  <a:gd name="connsiteY1" fmla="*/ 0 h 65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8765" h="6505">
                    <a:moveTo>
                      <a:pt x="0" y="0"/>
                    </a:moveTo>
                    <a:lnTo>
                      <a:pt x="68765" y="0"/>
                    </a:lnTo>
                  </a:path>
                </a:pathLst>
              </a:custGeom>
              <a:ln w="19050" cap="sq">
                <a:solidFill>
                  <a:schemeClr val="tx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89" name="Forma livre: Forma 88">
                <a:extLst>
                  <a:ext uri="{FF2B5EF4-FFF2-40B4-BE49-F238E27FC236}">
                    <a16:creationId xmlns:a16="http://schemas.microsoft.com/office/drawing/2014/main" id="{948E2316-3358-EBD2-C4C7-B74223D659DB}"/>
                  </a:ext>
                </a:extLst>
              </p:cNvPr>
              <p:cNvSpPr/>
              <p:nvPr/>
            </p:nvSpPr>
            <p:spPr>
              <a:xfrm>
                <a:off x="6259285" y="1529723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tx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87" name="Forma livre: Forma 86">
              <a:extLst>
                <a:ext uri="{FF2B5EF4-FFF2-40B4-BE49-F238E27FC236}">
                  <a16:creationId xmlns:a16="http://schemas.microsoft.com/office/drawing/2014/main" id="{36F16306-D194-0BD8-D179-63CFA0666489}"/>
                </a:ext>
              </a:extLst>
            </p:cNvPr>
            <p:cNvSpPr/>
            <p:nvPr/>
          </p:nvSpPr>
          <p:spPr>
            <a:xfrm>
              <a:off x="6152201" y="1686285"/>
              <a:ext cx="37362" cy="20848"/>
            </a:xfrm>
            <a:custGeom>
              <a:avLst/>
              <a:gdLst>
                <a:gd name="connsiteX0" fmla="*/ 0 w 37362"/>
                <a:gd name="connsiteY0" fmla="*/ 10505 h 20848"/>
                <a:gd name="connsiteX1" fmla="*/ 27064 w 37362"/>
                <a:gd name="connsiteY1" fmla="*/ 2373 h 20848"/>
                <a:gd name="connsiteX2" fmla="*/ 37343 w 37362"/>
                <a:gd name="connsiteY2" fmla="*/ 20849 h 20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7362" h="20848">
                  <a:moveTo>
                    <a:pt x="0" y="10505"/>
                  </a:moveTo>
                  <a:cubicBezTo>
                    <a:pt x="5205" y="811"/>
                    <a:pt x="17435" y="-2832"/>
                    <a:pt x="27064" y="2373"/>
                  </a:cubicBezTo>
                  <a:cubicBezTo>
                    <a:pt x="34025" y="6081"/>
                    <a:pt x="37668" y="13432"/>
                    <a:pt x="37343" y="20849"/>
                  </a:cubicBezTo>
                </a:path>
              </a:pathLst>
            </a:custGeom>
            <a:noFill/>
            <a:ln w="19050" cap="sq">
              <a:solidFill>
                <a:schemeClr val="tx2"/>
              </a:solidFill>
              <a:prstDash val="solid"/>
              <a:miter lim="800000"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04" name="Agrupar 103">
            <a:extLst>
              <a:ext uri="{FF2B5EF4-FFF2-40B4-BE49-F238E27FC236}">
                <a16:creationId xmlns:a16="http://schemas.microsoft.com/office/drawing/2014/main" id="{1E18F8CC-62F4-6331-FA69-17ED039D6837}"/>
              </a:ext>
            </a:extLst>
          </p:cNvPr>
          <p:cNvGrpSpPr/>
          <p:nvPr/>
        </p:nvGrpSpPr>
        <p:grpSpPr>
          <a:xfrm>
            <a:off x="5259628" y="2605803"/>
            <a:ext cx="325297" cy="355243"/>
            <a:chOff x="6000092" y="1357908"/>
            <a:chExt cx="365300" cy="398929"/>
          </a:xfrm>
        </p:grpSpPr>
        <p:sp>
          <p:nvSpPr>
            <p:cNvPr id="105" name="Forma livre: Forma 104">
              <a:extLst>
                <a:ext uri="{FF2B5EF4-FFF2-40B4-BE49-F238E27FC236}">
                  <a16:creationId xmlns:a16="http://schemas.microsoft.com/office/drawing/2014/main" id="{9FB960BA-0A01-069C-8A12-C339E8E1A255}"/>
                </a:ext>
              </a:extLst>
            </p:cNvPr>
            <p:cNvSpPr/>
            <p:nvPr/>
          </p:nvSpPr>
          <p:spPr>
            <a:xfrm>
              <a:off x="6000092" y="1418606"/>
              <a:ext cx="84058" cy="286120"/>
            </a:xfrm>
            <a:custGeom>
              <a:avLst/>
              <a:gdLst>
                <a:gd name="connsiteX0" fmla="*/ 51595 w 84058"/>
                <a:gd name="connsiteY0" fmla="*/ 0 h 286120"/>
                <a:gd name="connsiteX1" fmla="*/ 35266 w 84058"/>
                <a:gd name="connsiteY1" fmla="*/ 61674 h 286120"/>
                <a:gd name="connsiteX2" fmla="*/ 28760 w 84058"/>
                <a:gd name="connsiteY2" fmla="*/ 193415 h 286120"/>
                <a:gd name="connsiteX3" fmla="*/ 84059 w 84058"/>
                <a:gd name="connsiteY3" fmla="*/ 286121 h 2861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4058" h="286120">
                  <a:moveTo>
                    <a:pt x="51595" y="0"/>
                  </a:moveTo>
                  <a:cubicBezTo>
                    <a:pt x="37868" y="7872"/>
                    <a:pt x="26028" y="24852"/>
                    <a:pt x="35266" y="61674"/>
                  </a:cubicBezTo>
                  <a:cubicBezTo>
                    <a:pt x="35266" y="61674"/>
                    <a:pt x="-39549" y="126731"/>
                    <a:pt x="28760" y="193415"/>
                  </a:cubicBezTo>
                  <a:cubicBezTo>
                    <a:pt x="28760" y="193415"/>
                    <a:pt x="9243" y="281242"/>
                    <a:pt x="84059" y="286121"/>
                  </a:cubicBezTo>
                </a:path>
              </a:pathLst>
            </a:custGeom>
            <a:noFill/>
            <a:ln w="19050" cap="sq">
              <a:solidFill>
                <a:schemeClr val="tx2"/>
              </a:solidFill>
              <a:prstDash val="solid"/>
              <a:miter lim="800000"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06" name="Gráfico 32">
              <a:extLst>
                <a:ext uri="{FF2B5EF4-FFF2-40B4-BE49-F238E27FC236}">
                  <a16:creationId xmlns:a16="http://schemas.microsoft.com/office/drawing/2014/main" id="{ACD5B822-9932-B55E-BC3D-FF7FC0E0D2EF}"/>
                </a:ext>
              </a:extLst>
            </p:cNvPr>
            <p:cNvGrpSpPr/>
            <p:nvPr/>
          </p:nvGrpSpPr>
          <p:grpSpPr>
            <a:xfrm>
              <a:off x="6061121" y="1359924"/>
              <a:ext cx="128487" cy="396366"/>
              <a:chOff x="6061121" y="1359924"/>
              <a:chExt cx="128487" cy="396366"/>
            </a:xfrm>
            <a:noFill/>
          </p:grpSpPr>
          <p:sp>
            <p:nvSpPr>
              <p:cNvPr id="121" name="Forma livre: Forma 120">
                <a:extLst>
                  <a:ext uri="{FF2B5EF4-FFF2-40B4-BE49-F238E27FC236}">
                    <a16:creationId xmlns:a16="http://schemas.microsoft.com/office/drawing/2014/main" id="{CB79286D-41DB-D1DD-63D6-BE9ADF6E928F}"/>
                  </a:ext>
                </a:extLst>
              </p:cNvPr>
              <p:cNvSpPr/>
              <p:nvPr/>
            </p:nvSpPr>
            <p:spPr>
              <a:xfrm>
                <a:off x="6083891" y="1359924"/>
                <a:ext cx="105717" cy="396366"/>
              </a:xfrm>
              <a:custGeom>
                <a:avLst/>
                <a:gdLst>
                  <a:gd name="connsiteX0" fmla="*/ 52891 w 105717"/>
                  <a:gd name="connsiteY0" fmla="*/ 105718 h 396366"/>
                  <a:gd name="connsiteX1" fmla="*/ 0 w 105717"/>
                  <a:gd name="connsiteY1" fmla="*/ 52891 h 396366"/>
                  <a:gd name="connsiteX2" fmla="*/ 52891 w 105717"/>
                  <a:gd name="connsiteY2" fmla="*/ 0 h 396366"/>
                  <a:gd name="connsiteX3" fmla="*/ 105718 w 105717"/>
                  <a:gd name="connsiteY3" fmla="*/ 52826 h 396366"/>
                  <a:gd name="connsiteX4" fmla="*/ 105718 w 105717"/>
                  <a:gd name="connsiteY4" fmla="*/ 346884 h 396366"/>
                  <a:gd name="connsiteX5" fmla="*/ 80606 w 105717"/>
                  <a:gd name="connsiteY5" fmla="*/ 388911 h 396366"/>
                  <a:gd name="connsiteX6" fmla="*/ 9238 w 105717"/>
                  <a:gd name="connsiteY6" fmla="*/ 371150 h 396366"/>
                  <a:gd name="connsiteX7" fmla="*/ 15484 w 105717"/>
                  <a:gd name="connsiteY7" fmla="*/ 309216 h 396366"/>
                  <a:gd name="connsiteX8" fmla="*/ 45019 w 105717"/>
                  <a:gd name="connsiteY8" fmla="*/ 277078 h 3963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05717" h="396366">
                    <a:moveTo>
                      <a:pt x="52891" y="105718"/>
                    </a:moveTo>
                    <a:cubicBezTo>
                      <a:pt x="23681" y="105718"/>
                      <a:pt x="0" y="82037"/>
                      <a:pt x="0" y="52891"/>
                    </a:cubicBezTo>
                    <a:cubicBezTo>
                      <a:pt x="0" y="23746"/>
                      <a:pt x="23681" y="0"/>
                      <a:pt x="52891" y="0"/>
                    </a:cubicBezTo>
                    <a:cubicBezTo>
                      <a:pt x="82102" y="0"/>
                      <a:pt x="105718" y="23681"/>
                      <a:pt x="105718" y="52826"/>
                    </a:cubicBezTo>
                    <a:lnTo>
                      <a:pt x="105718" y="346884"/>
                    </a:lnTo>
                    <a:cubicBezTo>
                      <a:pt x="105718" y="364580"/>
                      <a:pt x="96414" y="379413"/>
                      <a:pt x="80606" y="388911"/>
                    </a:cubicBezTo>
                    <a:cubicBezTo>
                      <a:pt x="55949" y="403744"/>
                      <a:pt x="24006" y="395742"/>
                      <a:pt x="9238" y="371150"/>
                    </a:cubicBezTo>
                    <a:cubicBezTo>
                      <a:pt x="-2928" y="350918"/>
                      <a:pt x="260" y="325741"/>
                      <a:pt x="15484" y="309216"/>
                    </a:cubicBezTo>
                    <a:lnTo>
                      <a:pt x="45019" y="277078"/>
                    </a:lnTo>
                  </a:path>
                </a:pathLst>
              </a:custGeom>
              <a:noFill/>
              <a:ln w="19050" cap="sq">
                <a:solidFill>
                  <a:schemeClr val="tx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2" name="Forma livre: Forma 121">
                <a:extLst>
                  <a:ext uri="{FF2B5EF4-FFF2-40B4-BE49-F238E27FC236}">
                    <a16:creationId xmlns:a16="http://schemas.microsoft.com/office/drawing/2014/main" id="{1BA9E51F-ABCA-F942-F7ED-B015A69616CB}"/>
                  </a:ext>
                </a:extLst>
              </p:cNvPr>
              <p:cNvSpPr/>
              <p:nvPr/>
            </p:nvSpPr>
            <p:spPr>
              <a:xfrm>
                <a:off x="6144784" y="1383865"/>
                <a:ext cx="41563" cy="38963"/>
              </a:xfrm>
              <a:custGeom>
                <a:avLst/>
                <a:gdLst>
                  <a:gd name="connsiteX0" fmla="*/ 36172 w 41563"/>
                  <a:gd name="connsiteY0" fmla="*/ 0 h 38963"/>
                  <a:gd name="connsiteX1" fmla="*/ 39425 w 41563"/>
                  <a:gd name="connsiteY1" fmla="*/ 24266 h 38963"/>
                  <a:gd name="connsiteX2" fmla="*/ 36432 w 41563"/>
                  <a:gd name="connsiteY2" fmla="*/ 29080 h 38963"/>
                  <a:gd name="connsiteX3" fmla="*/ 0 w 41563"/>
                  <a:gd name="connsiteY3" fmla="*/ 33439 h 389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563" h="38963">
                    <a:moveTo>
                      <a:pt x="36172" y="0"/>
                    </a:moveTo>
                    <a:cubicBezTo>
                      <a:pt x="41571" y="7547"/>
                      <a:pt x="43393" y="16004"/>
                      <a:pt x="39425" y="24266"/>
                    </a:cubicBezTo>
                    <a:cubicBezTo>
                      <a:pt x="38644" y="25893"/>
                      <a:pt x="37603" y="27519"/>
                      <a:pt x="36432" y="29080"/>
                    </a:cubicBezTo>
                    <a:cubicBezTo>
                      <a:pt x="27584" y="40270"/>
                      <a:pt x="11190" y="42287"/>
                      <a:pt x="0" y="33439"/>
                    </a:cubicBezTo>
                  </a:path>
                </a:pathLst>
              </a:custGeom>
              <a:noFill/>
              <a:ln w="19050" cap="sq">
                <a:solidFill>
                  <a:schemeClr val="tx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3" name="Forma livre: Forma 122">
                <a:extLst>
                  <a:ext uri="{FF2B5EF4-FFF2-40B4-BE49-F238E27FC236}">
                    <a16:creationId xmlns:a16="http://schemas.microsoft.com/office/drawing/2014/main" id="{7956D256-9C3E-A209-7379-B09FC440F79B}"/>
                  </a:ext>
                </a:extLst>
              </p:cNvPr>
              <p:cNvSpPr/>
              <p:nvPr/>
            </p:nvSpPr>
            <p:spPr>
              <a:xfrm>
                <a:off x="6081487" y="1460806"/>
                <a:ext cx="34217" cy="54474"/>
              </a:xfrm>
              <a:custGeom>
                <a:avLst/>
                <a:gdLst>
                  <a:gd name="connsiteX0" fmla="*/ 21076 w 34217"/>
                  <a:gd name="connsiteY0" fmla="*/ 54475 h 54474"/>
                  <a:gd name="connsiteX1" fmla="*/ 778 w 34217"/>
                  <a:gd name="connsiteY1" fmla="*/ 21035 h 54474"/>
                  <a:gd name="connsiteX2" fmla="*/ 34217 w 34217"/>
                  <a:gd name="connsiteY2" fmla="*/ 803 h 544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4217" h="54474">
                    <a:moveTo>
                      <a:pt x="21076" y="54475"/>
                    </a:moveTo>
                    <a:cubicBezTo>
                      <a:pt x="6308" y="50832"/>
                      <a:pt x="-2800" y="35803"/>
                      <a:pt x="778" y="21035"/>
                    </a:cubicBezTo>
                    <a:cubicBezTo>
                      <a:pt x="4421" y="6267"/>
                      <a:pt x="19449" y="-2841"/>
                      <a:pt x="34217" y="803"/>
                    </a:cubicBezTo>
                  </a:path>
                </a:pathLst>
              </a:custGeom>
              <a:noFill/>
              <a:ln w="19050" cap="sq">
                <a:solidFill>
                  <a:schemeClr val="tx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4" name="Forma livre: Forma 123">
                <a:extLst>
                  <a:ext uri="{FF2B5EF4-FFF2-40B4-BE49-F238E27FC236}">
                    <a16:creationId xmlns:a16="http://schemas.microsoft.com/office/drawing/2014/main" id="{31914DB9-D03F-363F-3CBB-1A281A7F749F}"/>
                  </a:ext>
                </a:extLst>
              </p:cNvPr>
              <p:cNvSpPr/>
              <p:nvPr/>
            </p:nvSpPr>
            <p:spPr>
              <a:xfrm>
                <a:off x="6073547" y="1527543"/>
                <a:ext cx="114760" cy="72506"/>
              </a:xfrm>
              <a:custGeom>
                <a:avLst/>
                <a:gdLst>
                  <a:gd name="connsiteX0" fmla="*/ 114760 w 114760"/>
                  <a:gd name="connsiteY0" fmla="*/ 7254 h 72506"/>
                  <a:gd name="connsiteX1" fmla="*/ 73905 w 114760"/>
                  <a:gd name="connsiteY1" fmla="*/ 8881 h 72506"/>
                  <a:gd name="connsiteX2" fmla="*/ 0 w 114760"/>
                  <a:gd name="connsiteY2" fmla="*/ 72506 h 725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14760" h="72506">
                    <a:moveTo>
                      <a:pt x="114760" y="7254"/>
                    </a:moveTo>
                    <a:cubicBezTo>
                      <a:pt x="103375" y="-2830"/>
                      <a:pt x="83989" y="-2504"/>
                      <a:pt x="73905" y="8881"/>
                    </a:cubicBezTo>
                    <a:cubicBezTo>
                      <a:pt x="73905" y="8881"/>
                      <a:pt x="31488" y="72506"/>
                      <a:pt x="0" y="72506"/>
                    </a:cubicBezTo>
                  </a:path>
                </a:pathLst>
              </a:custGeom>
              <a:noFill/>
              <a:ln w="19050" cap="sq">
                <a:solidFill>
                  <a:schemeClr val="tx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5" name="Forma livre: Forma 124">
                <a:extLst>
                  <a:ext uri="{FF2B5EF4-FFF2-40B4-BE49-F238E27FC236}">
                    <a16:creationId xmlns:a16="http://schemas.microsoft.com/office/drawing/2014/main" id="{53EF9431-9D42-E080-CD67-03DEFBEE9EEE}"/>
                  </a:ext>
                </a:extLst>
              </p:cNvPr>
              <p:cNvSpPr/>
              <p:nvPr/>
            </p:nvSpPr>
            <p:spPr>
              <a:xfrm>
                <a:off x="6079857" y="1646956"/>
                <a:ext cx="29405" cy="9823"/>
              </a:xfrm>
              <a:custGeom>
                <a:avLst/>
                <a:gdLst>
                  <a:gd name="connsiteX0" fmla="*/ 0 w 29405"/>
                  <a:gd name="connsiteY0" fmla="*/ 0 h 9823"/>
                  <a:gd name="connsiteX1" fmla="*/ 29406 w 29405"/>
                  <a:gd name="connsiteY1" fmla="*/ 9824 h 98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9405" h="9823">
                    <a:moveTo>
                      <a:pt x="0" y="0"/>
                    </a:moveTo>
                    <a:lnTo>
                      <a:pt x="29406" y="9824"/>
                    </a:lnTo>
                  </a:path>
                </a:pathLst>
              </a:custGeom>
              <a:ln w="19050" cap="sq">
                <a:solidFill>
                  <a:schemeClr val="tx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6" name="Forma livre: Forma 125">
                <a:extLst>
                  <a:ext uri="{FF2B5EF4-FFF2-40B4-BE49-F238E27FC236}">
                    <a16:creationId xmlns:a16="http://schemas.microsoft.com/office/drawing/2014/main" id="{A408AE6F-3506-0E7D-6E8B-95408C27C2F4}"/>
                  </a:ext>
                </a:extLst>
              </p:cNvPr>
              <p:cNvSpPr/>
              <p:nvPr/>
            </p:nvSpPr>
            <p:spPr>
              <a:xfrm>
                <a:off x="6061121" y="1545272"/>
                <a:ext cx="47166" cy="34154"/>
              </a:xfrm>
              <a:custGeom>
                <a:avLst/>
                <a:gdLst>
                  <a:gd name="connsiteX0" fmla="*/ 0 w 47166"/>
                  <a:gd name="connsiteY0" fmla="*/ 0 h 34154"/>
                  <a:gd name="connsiteX1" fmla="*/ 47166 w 47166"/>
                  <a:gd name="connsiteY1" fmla="*/ 34155 h 341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166" h="34154">
                    <a:moveTo>
                      <a:pt x="0" y="0"/>
                    </a:moveTo>
                    <a:cubicBezTo>
                      <a:pt x="0" y="0"/>
                      <a:pt x="27649" y="13011"/>
                      <a:pt x="47166" y="34155"/>
                    </a:cubicBezTo>
                  </a:path>
                </a:pathLst>
              </a:custGeom>
              <a:noFill/>
              <a:ln w="19050" cap="sq">
                <a:solidFill>
                  <a:schemeClr val="tx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07" name="Gráfico 32">
              <a:extLst>
                <a:ext uri="{FF2B5EF4-FFF2-40B4-BE49-F238E27FC236}">
                  <a16:creationId xmlns:a16="http://schemas.microsoft.com/office/drawing/2014/main" id="{65A7B869-4649-7057-56D8-1C0CBBE209F7}"/>
                </a:ext>
              </a:extLst>
            </p:cNvPr>
            <p:cNvGrpSpPr/>
            <p:nvPr/>
          </p:nvGrpSpPr>
          <p:grpSpPr>
            <a:xfrm>
              <a:off x="6191625" y="1599725"/>
              <a:ext cx="173767" cy="157112"/>
              <a:chOff x="6191625" y="1599725"/>
              <a:chExt cx="173767" cy="157112"/>
            </a:xfrm>
            <a:noFill/>
          </p:grpSpPr>
          <p:sp>
            <p:nvSpPr>
              <p:cNvPr id="117" name="Forma livre: Forma 116">
                <a:extLst>
                  <a:ext uri="{FF2B5EF4-FFF2-40B4-BE49-F238E27FC236}">
                    <a16:creationId xmlns:a16="http://schemas.microsoft.com/office/drawing/2014/main" id="{27F25954-10EE-4F2F-8FD9-1CB950B4A94F}"/>
                  </a:ext>
                </a:extLst>
              </p:cNvPr>
              <p:cNvSpPr/>
              <p:nvPr/>
            </p:nvSpPr>
            <p:spPr>
              <a:xfrm>
                <a:off x="6310094" y="1621974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tx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18" name="Forma livre: Forma 117">
                <a:extLst>
                  <a:ext uri="{FF2B5EF4-FFF2-40B4-BE49-F238E27FC236}">
                    <a16:creationId xmlns:a16="http://schemas.microsoft.com/office/drawing/2014/main" id="{39A4D374-971B-A739-B2FC-F2E1644FCE60}"/>
                  </a:ext>
                </a:extLst>
              </p:cNvPr>
              <p:cNvSpPr/>
              <p:nvPr/>
            </p:nvSpPr>
            <p:spPr>
              <a:xfrm>
                <a:off x="6191625" y="1599725"/>
                <a:ext cx="118078" cy="49898"/>
              </a:xfrm>
              <a:custGeom>
                <a:avLst/>
                <a:gdLst>
                  <a:gd name="connsiteX0" fmla="*/ 0 w 118078"/>
                  <a:gd name="connsiteY0" fmla="*/ 0 h 49898"/>
                  <a:gd name="connsiteX1" fmla="*/ 37343 w 118078"/>
                  <a:gd name="connsiteY1" fmla="*/ 0 h 49898"/>
                  <a:gd name="connsiteX2" fmla="*/ 87176 w 118078"/>
                  <a:gd name="connsiteY2" fmla="*/ 49899 h 49898"/>
                  <a:gd name="connsiteX3" fmla="*/ 118078 w 118078"/>
                  <a:gd name="connsiteY3" fmla="*/ 49899 h 49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8078" h="49898">
                    <a:moveTo>
                      <a:pt x="0" y="0"/>
                    </a:moveTo>
                    <a:lnTo>
                      <a:pt x="37343" y="0"/>
                    </a:lnTo>
                    <a:lnTo>
                      <a:pt x="87176" y="49899"/>
                    </a:lnTo>
                    <a:lnTo>
                      <a:pt x="118078" y="49899"/>
                    </a:lnTo>
                  </a:path>
                </a:pathLst>
              </a:custGeom>
              <a:noFill/>
              <a:ln w="19050" cap="sq">
                <a:solidFill>
                  <a:schemeClr val="tx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19" name="Forma livre: Forma 118">
                <a:extLst>
                  <a:ext uri="{FF2B5EF4-FFF2-40B4-BE49-F238E27FC236}">
                    <a16:creationId xmlns:a16="http://schemas.microsoft.com/office/drawing/2014/main" id="{9F1FF33C-064A-A67C-0F96-4DD32EFD7922}"/>
                  </a:ext>
                </a:extLst>
              </p:cNvPr>
              <p:cNvSpPr/>
              <p:nvPr/>
            </p:nvSpPr>
            <p:spPr>
              <a:xfrm>
                <a:off x="6191625" y="1665367"/>
                <a:ext cx="81906" cy="44108"/>
              </a:xfrm>
              <a:custGeom>
                <a:avLst/>
                <a:gdLst>
                  <a:gd name="connsiteX0" fmla="*/ 0 w 81906"/>
                  <a:gd name="connsiteY0" fmla="*/ 0 h 44108"/>
                  <a:gd name="connsiteX1" fmla="*/ 37343 w 81906"/>
                  <a:gd name="connsiteY1" fmla="*/ 0 h 44108"/>
                  <a:gd name="connsiteX2" fmla="*/ 81907 w 81906"/>
                  <a:gd name="connsiteY2" fmla="*/ 44109 h 441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1906" h="44108">
                    <a:moveTo>
                      <a:pt x="0" y="0"/>
                    </a:moveTo>
                    <a:lnTo>
                      <a:pt x="37343" y="0"/>
                    </a:lnTo>
                    <a:lnTo>
                      <a:pt x="81907" y="44109"/>
                    </a:lnTo>
                  </a:path>
                </a:pathLst>
              </a:custGeom>
              <a:noFill/>
              <a:ln w="19050" cap="sq">
                <a:solidFill>
                  <a:schemeClr val="tx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0" name="Forma livre: Forma 119">
                <a:extLst>
                  <a:ext uri="{FF2B5EF4-FFF2-40B4-BE49-F238E27FC236}">
                    <a16:creationId xmlns:a16="http://schemas.microsoft.com/office/drawing/2014/main" id="{135B0DD2-7DB0-CD05-D9B6-B9BB408D6456}"/>
                  </a:ext>
                </a:extLst>
              </p:cNvPr>
              <p:cNvSpPr/>
              <p:nvPr/>
            </p:nvSpPr>
            <p:spPr>
              <a:xfrm>
                <a:off x="6265075" y="1701539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tx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08" name="Gráfico 32">
              <a:extLst>
                <a:ext uri="{FF2B5EF4-FFF2-40B4-BE49-F238E27FC236}">
                  <a16:creationId xmlns:a16="http://schemas.microsoft.com/office/drawing/2014/main" id="{B4C07382-C5EC-3A11-BFBF-AF92B995D2E1}"/>
                </a:ext>
              </a:extLst>
            </p:cNvPr>
            <p:cNvGrpSpPr/>
            <p:nvPr/>
          </p:nvGrpSpPr>
          <p:grpSpPr>
            <a:xfrm>
              <a:off x="6191625" y="1357908"/>
              <a:ext cx="173767" cy="157112"/>
              <a:chOff x="6191625" y="1357908"/>
              <a:chExt cx="173767" cy="157112"/>
            </a:xfrm>
            <a:noFill/>
          </p:grpSpPr>
          <p:sp>
            <p:nvSpPr>
              <p:cNvPr id="113" name="Forma livre: Forma 112">
                <a:extLst>
                  <a:ext uri="{FF2B5EF4-FFF2-40B4-BE49-F238E27FC236}">
                    <a16:creationId xmlns:a16="http://schemas.microsoft.com/office/drawing/2014/main" id="{D084FD97-D6E9-2970-6114-23EE3443A154}"/>
                  </a:ext>
                </a:extLst>
              </p:cNvPr>
              <p:cNvSpPr/>
              <p:nvPr/>
            </p:nvSpPr>
            <p:spPr>
              <a:xfrm>
                <a:off x="6310094" y="1437472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0 h 55298"/>
                  <a:gd name="connsiteX2" fmla="*/ 0 w 55298"/>
                  <a:gd name="connsiteY2" fmla="*/ 27649 h 55298"/>
                  <a:gd name="connsiteX3" fmla="*/ 27649 w 55298"/>
                  <a:gd name="connsiteY3" fmla="*/ 55298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12361"/>
                      <a:pt x="42938" y="0"/>
                      <a:pt x="27649" y="0"/>
                    </a:cubicBezTo>
                    <a:cubicBezTo>
                      <a:pt x="12361" y="0"/>
                      <a:pt x="0" y="12361"/>
                      <a:pt x="0" y="27649"/>
                    </a:cubicBezTo>
                    <a:cubicBezTo>
                      <a:pt x="0" y="42938"/>
                      <a:pt x="12361" y="55298"/>
                      <a:pt x="27649" y="55298"/>
                    </a:cubicBezTo>
                    <a:cubicBezTo>
                      <a:pt x="42938" y="55298"/>
                      <a:pt x="55298" y="42938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tx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14" name="Forma livre: Forma 113">
                <a:extLst>
                  <a:ext uri="{FF2B5EF4-FFF2-40B4-BE49-F238E27FC236}">
                    <a16:creationId xmlns:a16="http://schemas.microsoft.com/office/drawing/2014/main" id="{944E0ED3-B943-2BB8-2FD8-7D0F8116776E}"/>
                  </a:ext>
                </a:extLst>
              </p:cNvPr>
              <p:cNvSpPr/>
              <p:nvPr/>
            </p:nvSpPr>
            <p:spPr>
              <a:xfrm>
                <a:off x="6191625" y="1465122"/>
                <a:ext cx="118468" cy="49898"/>
              </a:xfrm>
              <a:custGeom>
                <a:avLst/>
                <a:gdLst>
                  <a:gd name="connsiteX0" fmla="*/ 0 w 118468"/>
                  <a:gd name="connsiteY0" fmla="*/ 49899 h 49898"/>
                  <a:gd name="connsiteX1" fmla="*/ 37343 w 118468"/>
                  <a:gd name="connsiteY1" fmla="*/ 49899 h 49898"/>
                  <a:gd name="connsiteX2" fmla="*/ 87176 w 118468"/>
                  <a:gd name="connsiteY2" fmla="*/ 0 h 49898"/>
                  <a:gd name="connsiteX3" fmla="*/ 118469 w 118468"/>
                  <a:gd name="connsiteY3" fmla="*/ 0 h 49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8468" h="49898">
                    <a:moveTo>
                      <a:pt x="0" y="49899"/>
                    </a:moveTo>
                    <a:lnTo>
                      <a:pt x="37343" y="49899"/>
                    </a:lnTo>
                    <a:lnTo>
                      <a:pt x="87176" y="0"/>
                    </a:lnTo>
                    <a:lnTo>
                      <a:pt x="118469" y="0"/>
                    </a:lnTo>
                  </a:path>
                </a:pathLst>
              </a:custGeom>
              <a:noFill/>
              <a:ln w="19050" cap="sq">
                <a:solidFill>
                  <a:schemeClr val="tx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15" name="Forma livre: Forma 114">
                <a:extLst>
                  <a:ext uri="{FF2B5EF4-FFF2-40B4-BE49-F238E27FC236}">
                    <a16:creationId xmlns:a16="http://schemas.microsoft.com/office/drawing/2014/main" id="{EB310B52-4D38-2012-9B0D-E6A830B3F256}"/>
                  </a:ext>
                </a:extLst>
              </p:cNvPr>
              <p:cNvSpPr/>
              <p:nvPr/>
            </p:nvSpPr>
            <p:spPr>
              <a:xfrm>
                <a:off x="6191625" y="1405269"/>
                <a:ext cx="81451" cy="44043"/>
              </a:xfrm>
              <a:custGeom>
                <a:avLst/>
                <a:gdLst>
                  <a:gd name="connsiteX0" fmla="*/ 0 w 81451"/>
                  <a:gd name="connsiteY0" fmla="*/ 44044 h 44043"/>
                  <a:gd name="connsiteX1" fmla="*/ 37343 w 81451"/>
                  <a:gd name="connsiteY1" fmla="*/ 44044 h 44043"/>
                  <a:gd name="connsiteX2" fmla="*/ 81451 w 81451"/>
                  <a:gd name="connsiteY2" fmla="*/ 0 h 440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1451" h="44043">
                    <a:moveTo>
                      <a:pt x="0" y="44044"/>
                    </a:moveTo>
                    <a:lnTo>
                      <a:pt x="37343" y="44044"/>
                    </a:lnTo>
                    <a:lnTo>
                      <a:pt x="81451" y="0"/>
                    </a:lnTo>
                  </a:path>
                </a:pathLst>
              </a:custGeom>
              <a:noFill/>
              <a:ln w="19050" cap="sq">
                <a:solidFill>
                  <a:schemeClr val="tx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16" name="Forma livre: Forma 115">
                <a:extLst>
                  <a:ext uri="{FF2B5EF4-FFF2-40B4-BE49-F238E27FC236}">
                    <a16:creationId xmlns:a16="http://schemas.microsoft.com/office/drawing/2014/main" id="{7DD9D8A5-5429-9AE8-CCBD-A98D8D6ECB20}"/>
                  </a:ext>
                </a:extLst>
              </p:cNvPr>
              <p:cNvSpPr/>
              <p:nvPr/>
            </p:nvSpPr>
            <p:spPr>
              <a:xfrm>
                <a:off x="6265075" y="1357908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0 h 55298"/>
                  <a:gd name="connsiteX2" fmla="*/ 0 w 55298"/>
                  <a:gd name="connsiteY2" fmla="*/ 27649 h 55298"/>
                  <a:gd name="connsiteX3" fmla="*/ 27649 w 55298"/>
                  <a:gd name="connsiteY3" fmla="*/ 55298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12361"/>
                      <a:pt x="42938" y="0"/>
                      <a:pt x="27649" y="0"/>
                    </a:cubicBezTo>
                    <a:cubicBezTo>
                      <a:pt x="12361" y="0"/>
                      <a:pt x="0" y="12361"/>
                      <a:pt x="0" y="27649"/>
                    </a:cubicBezTo>
                    <a:cubicBezTo>
                      <a:pt x="0" y="42938"/>
                      <a:pt x="12361" y="55298"/>
                      <a:pt x="27649" y="55298"/>
                    </a:cubicBezTo>
                    <a:cubicBezTo>
                      <a:pt x="42938" y="55298"/>
                      <a:pt x="55298" y="42938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tx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09" name="Gráfico 32">
              <a:extLst>
                <a:ext uri="{FF2B5EF4-FFF2-40B4-BE49-F238E27FC236}">
                  <a16:creationId xmlns:a16="http://schemas.microsoft.com/office/drawing/2014/main" id="{F835281C-B128-EF12-1F3A-9D913910D915}"/>
                </a:ext>
              </a:extLst>
            </p:cNvPr>
            <p:cNvGrpSpPr/>
            <p:nvPr/>
          </p:nvGrpSpPr>
          <p:grpSpPr>
            <a:xfrm>
              <a:off x="6190910" y="1529723"/>
              <a:ext cx="123673" cy="55298"/>
              <a:chOff x="6190910" y="1529723"/>
              <a:chExt cx="123673" cy="55298"/>
            </a:xfrm>
            <a:noFill/>
          </p:grpSpPr>
          <p:sp>
            <p:nvSpPr>
              <p:cNvPr id="111" name="Forma livre: Forma 110">
                <a:extLst>
                  <a:ext uri="{FF2B5EF4-FFF2-40B4-BE49-F238E27FC236}">
                    <a16:creationId xmlns:a16="http://schemas.microsoft.com/office/drawing/2014/main" id="{3599A1B7-4CC0-5994-D25C-FA564F7116A1}"/>
                  </a:ext>
                </a:extLst>
              </p:cNvPr>
              <p:cNvSpPr/>
              <p:nvPr/>
            </p:nvSpPr>
            <p:spPr>
              <a:xfrm>
                <a:off x="6190910" y="1557372"/>
                <a:ext cx="68765" cy="6505"/>
              </a:xfrm>
              <a:custGeom>
                <a:avLst/>
                <a:gdLst>
                  <a:gd name="connsiteX0" fmla="*/ 0 w 68765"/>
                  <a:gd name="connsiteY0" fmla="*/ 0 h 6505"/>
                  <a:gd name="connsiteX1" fmla="*/ 68765 w 68765"/>
                  <a:gd name="connsiteY1" fmla="*/ 0 h 65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8765" h="6505">
                    <a:moveTo>
                      <a:pt x="0" y="0"/>
                    </a:moveTo>
                    <a:lnTo>
                      <a:pt x="68765" y="0"/>
                    </a:lnTo>
                  </a:path>
                </a:pathLst>
              </a:custGeom>
              <a:ln w="19050" cap="sq">
                <a:solidFill>
                  <a:schemeClr val="tx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12" name="Forma livre: Forma 111">
                <a:extLst>
                  <a:ext uri="{FF2B5EF4-FFF2-40B4-BE49-F238E27FC236}">
                    <a16:creationId xmlns:a16="http://schemas.microsoft.com/office/drawing/2014/main" id="{2AB38667-E1B0-FC86-ED0C-08C905AABC48}"/>
                  </a:ext>
                </a:extLst>
              </p:cNvPr>
              <p:cNvSpPr/>
              <p:nvPr/>
            </p:nvSpPr>
            <p:spPr>
              <a:xfrm>
                <a:off x="6259285" y="1529723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tx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10" name="Forma livre: Forma 109">
              <a:extLst>
                <a:ext uri="{FF2B5EF4-FFF2-40B4-BE49-F238E27FC236}">
                  <a16:creationId xmlns:a16="http://schemas.microsoft.com/office/drawing/2014/main" id="{A3D11515-A487-F2E1-2463-2C225D373E40}"/>
                </a:ext>
              </a:extLst>
            </p:cNvPr>
            <p:cNvSpPr/>
            <p:nvPr/>
          </p:nvSpPr>
          <p:spPr>
            <a:xfrm>
              <a:off x="6152201" y="1686285"/>
              <a:ext cx="37362" cy="20848"/>
            </a:xfrm>
            <a:custGeom>
              <a:avLst/>
              <a:gdLst>
                <a:gd name="connsiteX0" fmla="*/ 0 w 37362"/>
                <a:gd name="connsiteY0" fmla="*/ 10505 h 20848"/>
                <a:gd name="connsiteX1" fmla="*/ 27064 w 37362"/>
                <a:gd name="connsiteY1" fmla="*/ 2373 h 20848"/>
                <a:gd name="connsiteX2" fmla="*/ 37343 w 37362"/>
                <a:gd name="connsiteY2" fmla="*/ 20849 h 20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7362" h="20848">
                  <a:moveTo>
                    <a:pt x="0" y="10505"/>
                  </a:moveTo>
                  <a:cubicBezTo>
                    <a:pt x="5205" y="811"/>
                    <a:pt x="17435" y="-2832"/>
                    <a:pt x="27064" y="2373"/>
                  </a:cubicBezTo>
                  <a:cubicBezTo>
                    <a:pt x="34025" y="6081"/>
                    <a:pt x="37668" y="13432"/>
                    <a:pt x="37343" y="20849"/>
                  </a:cubicBezTo>
                </a:path>
              </a:pathLst>
            </a:custGeom>
            <a:noFill/>
            <a:ln w="19050" cap="sq">
              <a:solidFill>
                <a:schemeClr val="tx2"/>
              </a:solidFill>
              <a:prstDash val="solid"/>
              <a:miter lim="800000"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27" name="Agrupar 126">
            <a:extLst>
              <a:ext uri="{FF2B5EF4-FFF2-40B4-BE49-F238E27FC236}">
                <a16:creationId xmlns:a16="http://schemas.microsoft.com/office/drawing/2014/main" id="{31798C30-DF83-F848-C4EB-ABE0112CCB24}"/>
              </a:ext>
            </a:extLst>
          </p:cNvPr>
          <p:cNvGrpSpPr/>
          <p:nvPr/>
        </p:nvGrpSpPr>
        <p:grpSpPr>
          <a:xfrm>
            <a:off x="5259628" y="3823467"/>
            <a:ext cx="325297" cy="355243"/>
            <a:chOff x="6000092" y="1357908"/>
            <a:chExt cx="365300" cy="398929"/>
          </a:xfrm>
        </p:grpSpPr>
        <p:sp>
          <p:nvSpPr>
            <p:cNvPr id="128" name="Forma livre: Forma 127">
              <a:extLst>
                <a:ext uri="{FF2B5EF4-FFF2-40B4-BE49-F238E27FC236}">
                  <a16:creationId xmlns:a16="http://schemas.microsoft.com/office/drawing/2014/main" id="{85C2B55B-86C1-A340-35B1-5700EAB16985}"/>
                </a:ext>
              </a:extLst>
            </p:cNvPr>
            <p:cNvSpPr/>
            <p:nvPr/>
          </p:nvSpPr>
          <p:spPr>
            <a:xfrm>
              <a:off x="6000092" y="1418606"/>
              <a:ext cx="84058" cy="286120"/>
            </a:xfrm>
            <a:custGeom>
              <a:avLst/>
              <a:gdLst>
                <a:gd name="connsiteX0" fmla="*/ 51595 w 84058"/>
                <a:gd name="connsiteY0" fmla="*/ 0 h 286120"/>
                <a:gd name="connsiteX1" fmla="*/ 35266 w 84058"/>
                <a:gd name="connsiteY1" fmla="*/ 61674 h 286120"/>
                <a:gd name="connsiteX2" fmla="*/ 28760 w 84058"/>
                <a:gd name="connsiteY2" fmla="*/ 193415 h 286120"/>
                <a:gd name="connsiteX3" fmla="*/ 84059 w 84058"/>
                <a:gd name="connsiteY3" fmla="*/ 286121 h 2861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4058" h="286120">
                  <a:moveTo>
                    <a:pt x="51595" y="0"/>
                  </a:moveTo>
                  <a:cubicBezTo>
                    <a:pt x="37868" y="7872"/>
                    <a:pt x="26028" y="24852"/>
                    <a:pt x="35266" y="61674"/>
                  </a:cubicBezTo>
                  <a:cubicBezTo>
                    <a:pt x="35266" y="61674"/>
                    <a:pt x="-39549" y="126731"/>
                    <a:pt x="28760" y="193415"/>
                  </a:cubicBezTo>
                  <a:cubicBezTo>
                    <a:pt x="28760" y="193415"/>
                    <a:pt x="9243" y="281242"/>
                    <a:pt x="84059" y="286121"/>
                  </a:cubicBezTo>
                </a:path>
              </a:pathLst>
            </a:custGeom>
            <a:noFill/>
            <a:ln w="19050" cap="sq">
              <a:solidFill>
                <a:schemeClr val="tx2"/>
              </a:solidFill>
              <a:prstDash val="solid"/>
              <a:miter lim="800000"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29" name="Gráfico 32">
              <a:extLst>
                <a:ext uri="{FF2B5EF4-FFF2-40B4-BE49-F238E27FC236}">
                  <a16:creationId xmlns:a16="http://schemas.microsoft.com/office/drawing/2014/main" id="{282A8755-C51F-543A-F72F-0D42A33CD04C}"/>
                </a:ext>
              </a:extLst>
            </p:cNvPr>
            <p:cNvGrpSpPr/>
            <p:nvPr/>
          </p:nvGrpSpPr>
          <p:grpSpPr>
            <a:xfrm>
              <a:off x="6061121" y="1359924"/>
              <a:ext cx="128487" cy="396366"/>
              <a:chOff x="6061121" y="1359924"/>
              <a:chExt cx="128487" cy="396366"/>
            </a:xfrm>
            <a:noFill/>
          </p:grpSpPr>
          <p:sp>
            <p:nvSpPr>
              <p:cNvPr id="144" name="Forma livre: Forma 143">
                <a:extLst>
                  <a:ext uri="{FF2B5EF4-FFF2-40B4-BE49-F238E27FC236}">
                    <a16:creationId xmlns:a16="http://schemas.microsoft.com/office/drawing/2014/main" id="{CE1CC739-7172-97BC-0B23-3FB55945431C}"/>
                  </a:ext>
                </a:extLst>
              </p:cNvPr>
              <p:cNvSpPr/>
              <p:nvPr/>
            </p:nvSpPr>
            <p:spPr>
              <a:xfrm>
                <a:off x="6083891" y="1359924"/>
                <a:ext cx="105717" cy="396366"/>
              </a:xfrm>
              <a:custGeom>
                <a:avLst/>
                <a:gdLst>
                  <a:gd name="connsiteX0" fmla="*/ 52891 w 105717"/>
                  <a:gd name="connsiteY0" fmla="*/ 105718 h 396366"/>
                  <a:gd name="connsiteX1" fmla="*/ 0 w 105717"/>
                  <a:gd name="connsiteY1" fmla="*/ 52891 h 396366"/>
                  <a:gd name="connsiteX2" fmla="*/ 52891 w 105717"/>
                  <a:gd name="connsiteY2" fmla="*/ 0 h 396366"/>
                  <a:gd name="connsiteX3" fmla="*/ 105718 w 105717"/>
                  <a:gd name="connsiteY3" fmla="*/ 52826 h 396366"/>
                  <a:gd name="connsiteX4" fmla="*/ 105718 w 105717"/>
                  <a:gd name="connsiteY4" fmla="*/ 346884 h 396366"/>
                  <a:gd name="connsiteX5" fmla="*/ 80606 w 105717"/>
                  <a:gd name="connsiteY5" fmla="*/ 388911 h 396366"/>
                  <a:gd name="connsiteX6" fmla="*/ 9238 w 105717"/>
                  <a:gd name="connsiteY6" fmla="*/ 371150 h 396366"/>
                  <a:gd name="connsiteX7" fmla="*/ 15484 w 105717"/>
                  <a:gd name="connsiteY7" fmla="*/ 309216 h 396366"/>
                  <a:gd name="connsiteX8" fmla="*/ 45019 w 105717"/>
                  <a:gd name="connsiteY8" fmla="*/ 277078 h 3963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05717" h="396366">
                    <a:moveTo>
                      <a:pt x="52891" y="105718"/>
                    </a:moveTo>
                    <a:cubicBezTo>
                      <a:pt x="23681" y="105718"/>
                      <a:pt x="0" y="82037"/>
                      <a:pt x="0" y="52891"/>
                    </a:cubicBezTo>
                    <a:cubicBezTo>
                      <a:pt x="0" y="23746"/>
                      <a:pt x="23681" y="0"/>
                      <a:pt x="52891" y="0"/>
                    </a:cubicBezTo>
                    <a:cubicBezTo>
                      <a:pt x="82102" y="0"/>
                      <a:pt x="105718" y="23681"/>
                      <a:pt x="105718" y="52826"/>
                    </a:cubicBezTo>
                    <a:lnTo>
                      <a:pt x="105718" y="346884"/>
                    </a:lnTo>
                    <a:cubicBezTo>
                      <a:pt x="105718" y="364580"/>
                      <a:pt x="96414" y="379413"/>
                      <a:pt x="80606" y="388911"/>
                    </a:cubicBezTo>
                    <a:cubicBezTo>
                      <a:pt x="55949" y="403744"/>
                      <a:pt x="24006" y="395742"/>
                      <a:pt x="9238" y="371150"/>
                    </a:cubicBezTo>
                    <a:cubicBezTo>
                      <a:pt x="-2928" y="350918"/>
                      <a:pt x="260" y="325741"/>
                      <a:pt x="15484" y="309216"/>
                    </a:cubicBezTo>
                    <a:lnTo>
                      <a:pt x="45019" y="277078"/>
                    </a:lnTo>
                  </a:path>
                </a:pathLst>
              </a:custGeom>
              <a:noFill/>
              <a:ln w="19050" cap="sq">
                <a:solidFill>
                  <a:schemeClr val="tx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45" name="Forma livre: Forma 144">
                <a:extLst>
                  <a:ext uri="{FF2B5EF4-FFF2-40B4-BE49-F238E27FC236}">
                    <a16:creationId xmlns:a16="http://schemas.microsoft.com/office/drawing/2014/main" id="{12372344-99C2-9823-EEE4-3A768E9D88DB}"/>
                  </a:ext>
                </a:extLst>
              </p:cNvPr>
              <p:cNvSpPr/>
              <p:nvPr/>
            </p:nvSpPr>
            <p:spPr>
              <a:xfrm>
                <a:off x="6144784" y="1383865"/>
                <a:ext cx="41563" cy="38963"/>
              </a:xfrm>
              <a:custGeom>
                <a:avLst/>
                <a:gdLst>
                  <a:gd name="connsiteX0" fmla="*/ 36172 w 41563"/>
                  <a:gd name="connsiteY0" fmla="*/ 0 h 38963"/>
                  <a:gd name="connsiteX1" fmla="*/ 39425 w 41563"/>
                  <a:gd name="connsiteY1" fmla="*/ 24266 h 38963"/>
                  <a:gd name="connsiteX2" fmla="*/ 36432 w 41563"/>
                  <a:gd name="connsiteY2" fmla="*/ 29080 h 38963"/>
                  <a:gd name="connsiteX3" fmla="*/ 0 w 41563"/>
                  <a:gd name="connsiteY3" fmla="*/ 33439 h 389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563" h="38963">
                    <a:moveTo>
                      <a:pt x="36172" y="0"/>
                    </a:moveTo>
                    <a:cubicBezTo>
                      <a:pt x="41571" y="7547"/>
                      <a:pt x="43393" y="16004"/>
                      <a:pt x="39425" y="24266"/>
                    </a:cubicBezTo>
                    <a:cubicBezTo>
                      <a:pt x="38644" y="25893"/>
                      <a:pt x="37603" y="27519"/>
                      <a:pt x="36432" y="29080"/>
                    </a:cubicBezTo>
                    <a:cubicBezTo>
                      <a:pt x="27584" y="40270"/>
                      <a:pt x="11190" y="42287"/>
                      <a:pt x="0" y="33439"/>
                    </a:cubicBezTo>
                  </a:path>
                </a:pathLst>
              </a:custGeom>
              <a:noFill/>
              <a:ln w="19050" cap="sq">
                <a:solidFill>
                  <a:schemeClr val="tx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46" name="Forma livre: Forma 145">
                <a:extLst>
                  <a:ext uri="{FF2B5EF4-FFF2-40B4-BE49-F238E27FC236}">
                    <a16:creationId xmlns:a16="http://schemas.microsoft.com/office/drawing/2014/main" id="{2052F0F4-97B1-8FC8-8B5D-9357BA7D00E8}"/>
                  </a:ext>
                </a:extLst>
              </p:cNvPr>
              <p:cNvSpPr/>
              <p:nvPr/>
            </p:nvSpPr>
            <p:spPr>
              <a:xfrm>
                <a:off x="6081487" y="1460806"/>
                <a:ext cx="34217" cy="54474"/>
              </a:xfrm>
              <a:custGeom>
                <a:avLst/>
                <a:gdLst>
                  <a:gd name="connsiteX0" fmla="*/ 21076 w 34217"/>
                  <a:gd name="connsiteY0" fmla="*/ 54475 h 54474"/>
                  <a:gd name="connsiteX1" fmla="*/ 778 w 34217"/>
                  <a:gd name="connsiteY1" fmla="*/ 21035 h 54474"/>
                  <a:gd name="connsiteX2" fmla="*/ 34217 w 34217"/>
                  <a:gd name="connsiteY2" fmla="*/ 803 h 544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4217" h="54474">
                    <a:moveTo>
                      <a:pt x="21076" y="54475"/>
                    </a:moveTo>
                    <a:cubicBezTo>
                      <a:pt x="6308" y="50832"/>
                      <a:pt x="-2800" y="35803"/>
                      <a:pt x="778" y="21035"/>
                    </a:cubicBezTo>
                    <a:cubicBezTo>
                      <a:pt x="4421" y="6267"/>
                      <a:pt x="19449" y="-2841"/>
                      <a:pt x="34217" y="803"/>
                    </a:cubicBezTo>
                  </a:path>
                </a:pathLst>
              </a:custGeom>
              <a:noFill/>
              <a:ln w="19050" cap="sq">
                <a:solidFill>
                  <a:schemeClr val="tx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47" name="Forma livre: Forma 146">
                <a:extLst>
                  <a:ext uri="{FF2B5EF4-FFF2-40B4-BE49-F238E27FC236}">
                    <a16:creationId xmlns:a16="http://schemas.microsoft.com/office/drawing/2014/main" id="{D569B63E-1345-F263-BE9B-B3B967B314B9}"/>
                  </a:ext>
                </a:extLst>
              </p:cNvPr>
              <p:cNvSpPr/>
              <p:nvPr/>
            </p:nvSpPr>
            <p:spPr>
              <a:xfrm>
                <a:off x="6073547" y="1527543"/>
                <a:ext cx="114760" cy="72506"/>
              </a:xfrm>
              <a:custGeom>
                <a:avLst/>
                <a:gdLst>
                  <a:gd name="connsiteX0" fmla="*/ 114760 w 114760"/>
                  <a:gd name="connsiteY0" fmla="*/ 7254 h 72506"/>
                  <a:gd name="connsiteX1" fmla="*/ 73905 w 114760"/>
                  <a:gd name="connsiteY1" fmla="*/ 8881 h 72506"/>
                  <a:gd name="connsiteX2" fmla="*/ 0 w 114760"/>
                  <a:gd name="connsiteY2" fmla="*/ 72506 h 725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14760" h="72506">
                    <a:moveTo>
                      <a:pt x="114760" y="7254"/>
                    </a:moveTo>
                    <a:cubicBezTo>
                      <a:pt x="103375" y="-2830"/>
                      <a:pt x="83989" y="-2504"/>
                      <a:pt x="73905" y="8881"/>
                    </a:cubicBezTo>
                    <a:cubicBezTo>
                      <a:pt x="73905" y="8881"/>
                      <a:pt x="31488" y="72506"/>
                      <a:pt x="0" y="72506"/>
                    </a:cubicBezTo>
                  </a:path>
                </a:pathLst>
              </a:custGeom>
              <a:noFill/>
              <a:ln w="19050" cap="sq">
                <a:solidFill>
                  <a:schemeClr val="tx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48" name="Forma livre: Forma 147">
                <a:extLst>
                  <a:ext uri="{FF2B5EF4-FFF2-40B4-BE49-F238E27FC236}">
                    <a16:creationId xmlns:a16="http://schemas.microsoft.com/office/drawing/2014/main" id="{F955EB62-73EE-2D31-60CB-5D44322BC350}"/>
                  </a:ext>
                </a:extLst>
              </p:cNvPr>
              <p:cNvSpPr/>
              <p:nvPr/>
            </p:nvSpPr>
            <p:spPr>
              <a:xfrm>
                <a:off x="6079857" y="1646956"/>
                <a:ext cx="29405" cy="9823"/>
              </a:xfrm>
              <a:custGeom>
                <a:avLst/>
                <a:gdLst>
                  <a:gd name="connsiteX0" fmla="*/ 0 w 29405"/>
                  <a:gd name="connsiteY0" fmla="*/ 0 h 9823"/>
                  <a:gd name="connsiteX1" fmla="*/ 29406 w 29405"/>
                  <a:gd name="connsiteY1" fmla="*/ 9824 h 98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9405" h="9823">
                    <a:moveTo>
                      <a:pt x="0" y="0"/>
                    </a:moveTo>
                    <a:lnTo>
                      <a:pt x="29406" y="9824"/>
                    </a:lnTo>
                  </a:path>
                </a:pathLst>
              </a:custGeom>
              <a:ln w="19050" cap="sq">
                <a:solidFill>
                  <a:schemeClr val="tx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49" name="Forma livre: Forma 148">
                <a:extLst>
                  <a:ext uri="{FF2B5EF4-FFF2-40B4-BE49-F238E27FC236}">
                    <a16:creationId xmlns:a16="http://schemas.microsoft.com/office/drawing/2014/main" id="{99052782-D2C0-6736-E85A-851E59414E21}"/>
                  </a:ext>
                </a:extLst>
              </p:cNvPr>
              <p:cNvSpPr/>
              <p:nvPr/>
            </p:nvSpPr>
            <p:spPr>
              <a:xfrm>
                <a:off x="6061121" y="1545272"/>
                <a:ext cx="47166" cy="34154"/>
              </a:xfrm>
              <a:custGeom>
                <a:avLst/>
                <a:gdLst>
                  <a:gd name="connsiteX0" fmla="*/ 0 w 47166"/>
                  <a:gd name="connsiteY0" fmla="*/ 0 h 34154"/>
                  <a:gd name="connsiteX1" fmla="*/ 47166 w 47166"/>
                  <a:gd name="connsiteY1" fmla="*/ 34155 h 341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166" h="34154">
                    <a:moveTo>
                      <a:pt x="0" y="0"/>
                    </a:moveTo>
                    <a:cubicBezTo>
                      <a:pt x="0" y="0"/>
                      <a:pt x="27649" y="13011"/>
                      <a:pt x="47166" y="34155"/>
                    </a:cubicBezTo>
                  </a:path>
                </a:pathLst>
              </a:custGeom>
              <a:noFill/>
              <a:ln w="19050" cap="sq">
                <a:solidFill>
                  <a:schemeClr val="tx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30" name="Gráfico 32">
              <a:extLst>
                <a:ext uri="{FF2B5EF4-FFF2-40B4-BE49-F238E27FC236}">
                  <a16:creationId xmlns:a16="http://schemas.microsoft.com/office/drawing/2014/main" id="{1D2E9035-0F70-A612-CF07-9F6129580FE0}"/>
                </a:ext>
              </a:extLst>
            </p:cNvPr>
            <p:cNvGrpSpPr/>
            <p:nvPr/>
          </p:nvGrpSpPr>
          <p:grpSpPr>
            <a:xfrm>
              <a:off x="6191625" y="1599725"/>
              <a:ext cx="173767" cy="157112"/>
              <a:chOff x="6191625" y="1599725"/>
              <a:chExt cx="173767" cy="157112"/>
            </a:xfrm>
            <a:noFill/>
          </p:grpSpPr>
          <p:sp>
            <p:nvSpPr>
              <p:cNvPr id="140" name="Forma livre: Forma 139">
                <a:extLst>
                  <a:ext uri="{FF2B5EF4-FFF2-40B4-BE49-F238E27FC236}">
                    <a16:creationId xmlns:a16="http://schemas.microsoft.com/office/drawing/2014/main" id="{ABBD9A71-A6D2-41E9-1ADB-A35AE3E21B0C}"/>
                  </a:ext>
                </a:extLst>
              </p:cNvPr>
              <p:cNvSpPr/>
              <p:nvPr/>
            </p:nvSpPr>
            <p:spPr>
              <a:xfrm>
                <a:off x="6310094" y="1621974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tx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41" name="Forma livre: Forma 140">
                <a:extLst>
                  <a:ext uri="{FF2B5EF4-FFF2-40B4-BE49-F238E27FC236}">
                    <a16:creationId xmlns:a16="http://schemas.microsoft.com/office/drawing/2014/main" id="{CE05E773-8E2B-C1BF-B507-FA5AF8F791E1}"/>
                  </a:ext>
                </a:extLst>
              </p:cNvPr>
              <p:cNvSpPr/>
              <p:nvPr/>
            </p:nvSpPr>
            <p:spPr>
              <a:xfrm>
                <a:off x="6191625" y="1599725"/>
                <a:ext cx="118078" cy="49898"/>
              </a:xfrm>
              <a:custGeom>
                <a:avLst/>
                <a:gdLst>
                  <a:gd name="connsiteX0" fmla="*/ 0 w 118078"/>
                  <a:gd name="connsiteY0" fmla="*/ 0 h 49898"/>
                  <a:gd name="connsiteX1" fmla="*/ 37343 w 118078"/>
                  <a:gd name="connsiteY1" fmla="*/ 0 h 49898"/>
                  <a:gd name="connsiteX2" fmla="*/ 87176 w 118078"/>
                  <a:gd name="connsiteY2" fmla="*/ 49899 h 49898"/>
                  <a:gd name="connsiteX3" fmla="*/ 118078 w 118078"/>
                  <a:gd name="connsiteY3" fmla="*/ 49899 h 49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8078" h="49898">
                    <a:moveTo>
                      <a:pt x="0" y="0"/>
                    </a:moveTo>
                    <a:lnTo>
                      <a:pt x="37343" y="0"/>
                    </a:lnTo>
                    <a:lnTo>
                      <a:pt x="87176" y="49899"/>
                    </a:lnTo>
                    <a:lnTo>
                      <a:pt x="118078" y="49899"/>
                    </a:lnTo>
                  </a:path>
                </a:pathLst>
              </a:custGeom>
              <a:noFill/>
              <a:ln w="19050" cap="sq">
                <a:solidFill>
                  <a:schemeClr val="tx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42" name="Forma livre: Forma 141">
                <a:extLst>
                  <a:ext uri="{FF2B5EF4-FFF2-40B4-BE49-F238E27FC236}">
                    <a16:creationId xmlns:a16="http://schemas.microsoft.com/office/drawing/2014/main" id="{1E3B5EB7-A4F1-6A97-AC4F-410BDD2A645A}"/>
                  </a:ext>
                </a:extLst>
              </p:cNvPr>
              <p:cNvSpPr/>
              <p:nvPr/>
            </p:nvSpPr>
            <p:spPr>
              <a:xfrm>
                <a:off x="6191625" y="1665367"/>
                <a:ext cx="81906" cy="44108"/>
              </a:xfrm>
              <a:custGeom>
                <a:avLst/>
                <a:gdLst>
                  <a:gd name="connsiteX0" fmla="*/ 0 w 81906"/>
                  <a:gd name="connsiteY0" fmla="*/ 0 h 44108"/>
                  <a:gd name="connsiteX1" fmla="*/ 37343 w 81906"/>
                  <a:gd name="connsiteY1" fmla="*/ 0 h 44108"/>
                  <a:gd name="connsiteX2" fmla="*/ 81907 w 81906"/>
                  <a:gd name="connsiteY2" fmla="*/ 44109 h 441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1906" h="44108">
                    <a:moveTo>
                      <a:pt x="0" y="0"/>
                    </a:moveTo>
                    <a:lnTo>
                      <a:pt x="37343" y="0"/>
                    </a:lnTo>
                    <a:lnTo>
                      <a:pt x="81907" y="44109"/>
                    </a:lnTo>
                  </a:path>
                </a:pathLst>
              </a:custGeom>
              <a:noFill/>
              <a:ln w="19050" cap="sq">
                <a:solidFill>
                  <a:schemeClr val="tx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43" name="Forma livre: Forma 142">
                <a:extLst>
                  <a:ext uri="{FF2B5EF4-FFF2-40B4-BE49-F238E27FC236}">
                    <a16:creationId xmlns:a16="http://schemas.microsoft.com/office/drawing/2014/main" id="{57BC70AD-8D4E-308B-7570-9EE190D7BF25}"/>
                  </a:ext>
                </a:extLst>
              </p:cNvPr>
              <p:cNvSpPr/>
              <p:nvPr/>
            </p:nvSpPr>
            <p:spPr>
              <a:xfrm>
                <a:off x="6265075" y="1701539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tx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31" name="Gráfico 32">
              <a:extLst>
                <a:ext uri="{FF2B5EF4-FFF2-40B4-BE49-F238E27FC236}">
                  <a16:creationId xmlns:a16="http://schemas.microsoft.com/office/drawing/2014/main" id="{6ABD40CD-DCAB-832A-836D-A779A351303B}"/>
                </a:ext>
              </a:extLst>
            </p:cNvPr>
            <p:cNvGrpSpPr/>
            <p:nvPr/>
          </p:nvGrpSpPr>
          <p:grpSpPr>
            <a:xfrm>
              <a:off x="6191625" y="1357908"/>
              <a:ext cx="173767" cy="157112"/>
              <a:chOff x="6191625" y="1357908"/>
              <a:chExt cx="173767" cy="157112"/>
            </a:xfrm>
            <a:noFill/>
          </p:grpSpPr>
          <p:sp>
            <p:nvSpPr>
              <p:cNvPr id="136" name="Forma livre: Forma 135">
                <a:extLst>
                  <a:ext uri="{FF2B5EF4-FFF2-40B4-BE49-F238E27FC236}">
                    <a16:creationId xmlns:a16="http://schemas.microsoft.com/office/drawing/2014/main" id="{72CA1DEA-5B7C-A9D5-4ACF-894E1A63784B}"/>
                  </a:ext>
                </a:extLst>
              </p:cNvPr>
              <p:cNvSpPr/>
              <p:nvPr/>
            </p:nvSpPr>
            <p:spPr>
              <a:xfrm>
                <a:off x="6310094" y="1437472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0 h 55298"/>
                  <a:gd name="connsiteX2" fmla="*/ 0 w 55298"/>
                  <a:gd name="connsiteY2" fmla="*/ 27649 h 55298"/>
                  <a:gd name="connsiteX3" fmla="*/ 27649 w 55298"/>
                  <a:gd name="connsiteY3" fmla="*/ 55298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12361"/>
                      <a:pt x="42938" y="0"/>
                      <a:pt x="27649" y="0"/>
                    </a:cubicBezTo>
                    <a:cubicBezTo>
                      <a:pt x="12361" y="0"/>
                      <a:pt x="0" y="12361"/>
                      <a:pt x="0" y="27649"/>
                    </a:cubicBezTo>
                    <a:cubicBezTo>
                      <a:pt x="0" y="42938"/>
                      <a:pt x="12361" y="55298"/>
                      <a:pt x="27649" y="55298"/>
                    </a:cubicBezTo>
                    <a:cubicBezTo>
                      <a:pt x="42938" y="55298"/>
                      <a:pt x="55298" y="42938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tx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37" name="Forma livre: Forma 136">
                <a:extLst>
                  <a:ext uri="{FF2B5EF4-FFF2-40B4-BE49-F238E27FC236}">
                    <a16:creationId xmlns:a16="http://schemas.microsoft.com/office/drawing/2014/main" id="{0E8D3068-F5D2-6EA6-E706-17B66BACFC98}"/>
                  </a:ext>
                </a:extLst>
              </p:cNvPr>
              <p:cNvSpPr/>
              <p:nvPr/>
            </p:nvSpPr>
            <p:spPr>
              <a:xfrm>
                <a:off x="6191625" y="1465122"/>
                <a:ext cx="118468" cy="49898"/>
              </a:xfrm>
              <a:custGeom>
                <a:avLst/>
                <a:gdLst>
                  <a:gd name="connsiteX0" fmla="*/ 0 w 118468"/>
                  <a:gd name="connsiteY0" fmla="*/ 49899 h 49898"/>
                  <a:gd name="connsiteX1" fmla="*/ 37343 w 118468"/>
                  <a:gd name="connsiteY1" fmla="*/ 49899 h 49898"/>
                  <a:gd name="connsiteX2" fmla="*/ 87176 w 118468"/>
                  <a:gd name="connsiteY2" fmla="*/ 0 h 49898"/>
                  <a:gd name="connsiteX3" fmla="*/ 118469 w 118468"/>
                  <a:gd name="connsiteY3" fmla="*/ 0 h 49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8468" h="49898">
                    <a:moveTo>
                      <a:pt x="0" y="49899"/>
                    </a:moveTo>
                    <a:lnTo>
                      <a:pt x="37343" y="49899"/>
                    </a:lnTo>
                    <a:lnTo>
                      <a:pt x="87176" y="0"/>
                    </a:lnTo>
                    <a:lnTo>
                      <a:pt x="118469" y="0"/>
                    </a:lnTo>
                  </a:path>
                </a:pathLst>
              </a:custGeom>
              <a:noFill/>
              <a:ln w="19050" cap="sq">
                <a:solidFill>
                  <a:schemeClr val="tx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38" name="Forma livre: Forma 137">
                <a:extLst>
                  <a:ext uri="{FF2B5EF4-FFF2-40B4-BE49-F238E27FC236}">
                    <a16:creationId xmlns:a16="http://schemas.microsoft.com/office/drawing/2014/main" id="{28C2987F-7ED7-F5A5-6B84-F1552ADEA834}"/>
                  </a:ext>
                </a:extLst>
              </p:cNvPr>
              <p:cNvSpPr/>
              <p:nvPr/>
            </p:nvSpPr>
            <p:spPr>
              <a:xfrm>
                <a:off x="6191625" y="1405269"/>
                <a:ext cx="81451" cy="44043"/>
              </a:xfrm>
              <a:custGeom>
                <a:avLst/>
                <a:gdLst>
                  <a:gd name="connsiteX0" fmla="*/ 0 w 81451"/>
                  <a:gd name="connsiteY0" fmla="*/ 44044 h 44043"/>
                  <a:gd name="connsiteX1" fmla="*/ 37343 w 81451"/>
                  <a:gd name="connsiteY1" fmla="*/ 44044 h 44043"/>
                  <a:gd name="connsiteX2" fmla="*/ 81451 w 81451"/>
                  <a:gd name="connsiteY2" fmla="*/ 0 h 440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1451" h="44043">
                    <a:moveTo>
                      <a:pt x="0" y="44044"/>
                    </a:moveTo>
                    <a:lnTo>
                      <a:pt x="37343" y="44044"/>
                    </a:lnTo>
                    <a:lnTo>
                      <a:pt x="81451" y="0"/>
                    </a:lnTo>
                  </a:path>
                </a:pathLst>
              </a:custGeom>
              <a:noFill/>
              <a:ln w="19050" cap="sq">
                <a:solidFill>
                  <a:schemeClr val="tx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39" name="Forma livre: Forma 138">
                <a:extLst>
                  <a:ext uri="{FF2B5EF4-FFF2-40B4-BE49-F238E27FC236}">
                    <a16:creationId xmlns:a16="http://schemas.microsoft.com/office/drawing/2014/main" id="{8A29AC4F-7446-8EEA-97F9-73561C8C1DB8}"/>
                  </a:ext>
                </a:extLst>
              </p:cNvPr>
              <p:cNvSpPr/>
              <p:nvPr/>
            </p:nvSpPr>
            <p:spPr>
              <a:xfrm>
                <a:off x="6265075" y="1357908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0 h 55298"/>
                  <a:gd name="connsiteX2" fmla="*/ 0 w 55298"/>
                  <a:gd name="connsiteY2" fmla="*/ 27649 h 55298"/>
                  <a:gd name="connsiteX3" fmla="*/ 27649 w 55298"/>
                  <a:gd name="connsiteY3" fmla="*/ 55298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12361"/>
                      <a:pt x="42938" y="0"/>
                      <a:pt x="27649" y="0"/>
                    </a:cubicBezTo>
                    <a:cubicBezTo>
                      <a:pt x="12361" y="0"/>
                      <a:pt x="0" y="12361"/>
                      <a:pt x="0" y="27649"/>
                    </a:cubicBezTo>
                    <a:cubicBezTo>
                      <a:pt x="0" y="42938"/>
                      <a:pt x="12361" y="55298"/>
                      <a:pt x="27649" y="55298"/>
                    </a:cubicBezTo>
                    <a:cubicBezTo>
                      <a:pt x="42938" y="55298"/>
                      <a:pt x="55298" y="42938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tx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32" name="Gráfico 32">
              <a:extLst>
                <a:ext uri="{FF2B5EF4-FFF2-40B4-BE49-F238E27FC236}">
                  <a16:creationId xmlns:a16="http://schemas.microsoft.com/office/drawing/2014/main" id="{EADF77CA-7DEA-9E01-29CE-BB0636DD262C}"/>
                </a:ext>
              </a:extLst>
            </p:cNvPr>
            <p:cNvGrpSpPr/>
            <p:nvPr/>
          </p:nvGrpSpPr>
          <p:grpSpPr>
            <a:xfrm>
              <a:off x="6190910" y="1529723"/>
              <a:ext cx="123673" cy="55298"/>
              <a:chOff x="6190910" y="1529723"/>
              <a:chExt cx="123673" cy="55298"/>
            </a:xfrm>
            <a:noFill/>
          </p:grpSpPr>
          <p:sp>
            <p:nvSpPr>
              <p:cNvPr id="134" name="Forma livre: Forma 133">
                <a:extLst>
                  <a:ext uri="{FF2B5EF4-FFF2-40B4-BE49-F238E27FC236}">
                    <a16:creationId xmlns:a16="http://schemas.microsoft.com/office/drawing/2014/main" id="{A48C5E98-460B-75C5-D511-D3E9675798DE}"/>
                  </a:ext>
                </a:extLst>
              </p:cNvPr>
              <p:cNvSpPr/>
              <p:nvPr/>
            </p:nvSpPr>
            <p:spPr>
              <a:xfrm>
                <a:off x="6190910" y="1557372"/>
                <a:ext cx="68765" cy="6505"/>
              </a:xfrm>
              <a:custGeom>
                <a:avLst/>
                <a:gdLst>
                  <a:gd name="connsiteX0" fmla="*/ 0 w 68765"/>
                  <a:gd name="connsiteY0" fmla="*/ 0 h 6505"/>
                  <a:gd name="connsiteX1" fmla="*/ 68765 w 68765"/>
                  <a:gd name="connsiteY1" fmla="*/ 0 h 65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8765" h="6505">
                    <a:moveTo>
                      <a:pt x="0" y="0"/>
                    </a:moveTo>
                    <a:lnTo>
                      <a:pt x="68765" y="0"/>
                    </a:lnTo>
                  </a:path>
                </a:pathLst>
              </a:custGeom>
              <a:ln w="19050" cap="sq">
                <a:solidFill>
                  <a:schemeClr val="tx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35" name="Forma livre: Forma 134">
                <a:extLst>
                  <a:ext uri="{FF2B5EF4-FFF2-40B4-BE49-F238E27FC236}">
                    <a16:creationId xmlns:a16="http://schemas.microsoft.com/office/drawing/2014/main" id="{2083E130-D372-E7C8-3615-5C623512163E}"/>
                  </a:ext>
                </a:extLst>
              </p:cNvPr>
              <p:cNvSpPr/>
              <p:nvPr/>
            </p:nvSpPr>
            <p:spPr>
              <a:xfrm>
                <a:off x="6259285" y="1529723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tx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33" name="Forma livre: Forma 132">
              <a:extLst>
                <a:ext uri="{FF2B5EF4-FFF2-40B4-BE49-F238E27FC236}">
                  <a16:creationId xmlns:a16="http://schemas.microsoft.com/office/drawing/2014/main" id="{3D94887C-99EB-B7A7-87E1-EE58369E1508}"/>
                </a:ext>
              </a:extLst>
            </p:cNvPr>
            <p:cNvSpPr/>
            <p:nvPr/>
          </p:nvSpPr>
          <p:spPr>
            <a:xfrm>
              <a:off x="6152201" y="1686285"/>
              <a:ext cx="37362" cy="20848"/>
            </a:xfrm>
            <a:custGeom>
              <a:avLst/>
              <a:gdLst>
                <a:gd name="connsiteX0" fmla="*/ 0 w 37362"/>
                <a:gd name="connsiteY0" fmla="*/ 10505 h 20848"/>
                <a:gd name="connsiteX1" fmla="*/ 27064 w 37362"/>
                <a:gd name="connsiteY1" fmla="*/ 2373 h 20848"/>
                <a:gd name="connsiteX2" fmla="*/ 37343 w 37362"/>
                <a:gd name="connsiteY2" fmla="*/ 20849 h 20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7362" h="20848">
                  <a:moveTo>
                    <a:pt x="0" y="10505"/>
                  </a:moveTo>
                  <a:cubicBezTo>
                    <a:pt x="5205" y="811"/>
                    <a:pt x="17435" y="-2832"/>
                    <a:pt x="27064" y="2373"/>
                  </a:cubicBezTo>
                  <a:cubicBezTo>
                    <a:pt x="34025" y="6081"/>
                    <a:pt x="37668" y="13432"/>
                    <a:pt x="37343" y="20849"/>
                  </a:cubicBezTo>
                </a:path>
              </a:pathLst>
            </a:custGeom>
            <a:noFill/>
            <a:ln w="19050" cap="sq">
              <a:solidFill>
                <a:schemeClr val="tx2"/>
              </a:solidFill>
              <a:prstDash val="solid"/>
              <a:miter lim="800000"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74" name="Agrupar 173">
            <a:extLst>
              <a:ext uri="{FF2B5EF4-FFF2-40B4-BE49-F238E27FC236}">
                <a16:creationId xmlns:a16="http://schemas.microsoft.com/office/drawing/2014/main" id="{AB8CF130-EB2B-396B-3D1C-E88D5A3B2D91}"/>
              </a:ext>
            </a:extLst>
          </p:cNvPr>
          <p:cNvGrpSpPr/>
          <p:nvPr/>
        </p:nvGrpSpPr>
        <p:grpSpPr>
          <a:xfrm>
            <a:off x="1897626" y="3429000"/>
            <a:ext cx="589935" cy="1186682"/>
            <a:chOff x="1897626" y="3429000"/>
            <a:chExt cx="589935" cy="1186682"/>
          </a:xfrm>
        </p:grpSpPr>
        <p:cxnSp>
          <p:nvCxnSpPr>
            <p:cNvPr id="151" name="Conexão reta 150">
              <a:extLst>
                <a:ext uri="{FF2B5EF4-FFF2-40B4-BE49-F238E27FC236}">
                  <a16:creationId xmlns:a16="http://schemas.microsoft.com/office/drawing/2014/main" id="{374B43CB-12D8-FCCF-DDF8-DC1AFC104286}"/>
                </a:ext>
              </a:extLst>
            </p:cNvPr>
            <p:cNvCxnSpPr/>
            <p:nvPr/>
          </p:nvCxnSpPr>
          <p:spPr>
            <a:xfrm>
              <a:off x="1897626" y="4004912"/>
              <a:ext cx="345060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3" name="Conexão reta 152">
              <a:extLst>
                <a:ext uri="{FF2B5EF4-FFF2-40B4-BE49-F238E27FC236}">
                  <a16:creationId xmlns:a16="http://schemas.microsoft.com/office/drawing/2014/main" id="{B31C55D2-26B6-F28F-CB36-7C70DDADC2FE}"/>
                </a:ext>
              </a:extLst>
            </p:cNvPr>
            <p:cNvCxnSpPr/>
            <p:nvPr/>
          </p:nvCxnSpPr>
          <p:spPr>
            <a:xfrm>
              <a:off x="2242686" y="3429000"/>
              <a:ext cx="0" cy="1186682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4" name="Conexão reta 153">
              <a:extLst>
                <a:ext uri="{FF2B5EF4-FFF2-40B4-BE49-F238E27FC236}">
                  <a16:creationId xmlns:a16="http://schemas.microsoft.com/office/drawing/2014/main" id="{5183BC84-5C98-66F1-BF09-3654C17DEE42}"/>
                </a:ext>
              </a:extLst>
            </p:cNvPr>
            <p:cNvCxnSpPr>
              <a:cxnSpLocks/>
            </p:cNvCxnSpPr>
            <p:nvPr/>
          </p:nvCxnSpPr>
          <p:spPr>
            <a:xfrm>
              <a:off x="2242686" y="3442015"/>
              <a:ext cx="244875" cy="0"/>
            </a:xfrm>
            <a:prstGeom prst="line">
              <a:avLst/>
            </a:prstGeom>
            <a:ln w="6350">
              <a:solidFill>
                <a:schemeClr val="tx1"/>
              </a:solidFill>
              <a:tailEnd type="arrow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5" name="Conexão reta 154">
              <a:extLst>
                <a:ext uri="{FF2B5EF4-FFF2-40B4-BE49-F238E27FC236}">
                  <a16:creationId xmlns:a16="http://schemas.microsoft.com/office/drawing/2014/main" id="{F6A1607E-9E65-244F-DF9C-9049A04B8B44}"/>
                </a:ext>
              </a:extLst>
            </p:cNvPr>
            <p:cNvCxnSpPr>
              <a:cxnSpLocks/>
            </p:cNvCxnSpPr>
            <p:nvPr/>
          </p:nvCxnSpPr>
          <p:spPr>
            <a:xfrm>
              <a:off x="2242686" y="4609267"/>
              <a:ext cx="244875" cy="0"/>
            </a:xfrm>
            <a:prstGeom prst="line">
              <a:avLst/>
            </a:prstGeom>
            <a:ln w="6350">
              <a:solidFill>
                <a:schemeClr val="tx1"/>
              </a:solidFill>
              <a:tailEnd type="arrow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73" name="Agrupar 172">
            <a:extLst>
              <a:ext uri="{FF2B5EF4-FFF2-40B4-BE49-F238E27FC236}">
                <a16:creationId xmlns:a16="http://schemas.microsoft.com/office/drawing/2014/main" id="{B7FC1C1A-E370-7060-DA63-C8CA99CE6FC8}"/>
              </a:ext>
            </a:extLst>
          </p:cNvPr>
          <p:cNvGrpSpPr/>
          <p:nvPr/>
        </p:nvGrpSpPr>
        <p:grpSpPr>
          <a:xfrm>
            <a:off x="3608439" y="4599260"/>
            <a:ext cx="1819912" cy="293525"/>
            <a:chOff x="3608439" y="4599260"/>
            <a:chExt cx="1819912" cy="293525"/>
          </a:xfrm>
        </p:grpSpPr>
        <p:cxnSp>
          <p:nvCxnSpPr>
            <p:cNvPr id="159" name="Conexão reta 158">
              <a:extLst>
                <a:ext uri="{FF2B5EF4-FFF2-40B4-BE49-F238E27FC236}">
                  <a16:creationId xmlns:a16="http://schemas.microsoft.com/office/drawing/2014/main" id="{12F98EBF-BF97-C056-A829-41A18F8E6E0E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428351" y="4599260"/>
              <a:ext cx="0" cy="293525"/>
            </a:xfrm>
            <a:prstGeom prst="line">
              <a:avLst/>
            </a:prstGeom>
            <a:ln w="6350">
              <a:solidFill>
                <a:schemeClr val="tx1"/>
              </a:solidFill>
              <a:tailEnd type="arrow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1" name="Conexão reta 160">
              <a:extLst>
                <a:ext uri="{FF2B5EF4-FFF2-40B4-BE49-F238E27FC236}">
                  <a16:creationId xmlns:a16="http://schemas.microsoft.com/office/drawing/2014/main" id="{4131CF9D-9B68-EF1F-E837-329B5166571E}"/>
                </a:ext>
              </a:extLst>
            </p:cNvPr>
            <p:cNvCxnSpPr>
              <a:cxnSpLocks/>
            </p:cNvCxnSpPr>
            <p:nvPr/>
          </p:nvCxnSpPr>
          <p:spPr>
            <a:xfrm>
              <a:off x="3608439" y="4892785"/>
              <a:ext cx="1815463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63" name="Conexão reta 162">
            <a:extLst>
              <a:ext uri="{FF2B5EF4-FFF2-40B4-BE49-F238E27FC236}">
                <a16:creationId xmlns:a16="http://schemas.microsoft.com/office/drawing/2014/main" id="{9ADABEF5-1C11-1357-4324-64D36272DA0F}"/>
              </a:ext>
            </a:extLst>
          </p:cNvPr>
          <p:cNvCxnSpPr>
            <a:cxnSpLocks/>
          </p:cNvCxnSpPr>
          <p:nvPr/>
        </p:nvCxnSpPr>
        <p:spPr>
          <a:xfrm>
            <a:off x="5411715" y="3359311"/>
            <a:ext cx="0" cy="274241"/>
          </a:xfrm>
          <a:prstGeom prst="line">
            <a:avLst/>
          </a:prstGeom>
          <a:ln w="6350">
            <a:solidFill>
              <a:schemeClr val="tx1"/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172" name="Agrupar 171">
            <a:extLst>
              <a:ext uri="{FF2B5EF4-FFF2-40B4-BE49-F238E27FC236}">
                <a16:creationId xmlns:a16="http://schemas.microsoft.com/office/drawing/2014/main" id="{7F3990C2-8C0A-AF9D-0CA3-009EC4E9948C}"/>
              </a:ext>
            </a:extLst>
          </p:cNvPr>
          <p:cNvGrpSpPr/>
          <p:nvPr/>
        </p:nvGrpSpPr>
        <p:grpSpPr>
          <a:xfrm>
            <a:off x="3602085" y="2847690"/>
            <a:ext cx="1176392" cy="399192"/>
            <a:chOff x="3602085" y="2847690"/>
            <a:chExt cx="1176392" cy="399192"/>
          </a:xfrm>
        </p:grpSpPr>
        <p:cxnSp>
          <p:nvCxnSpPr>
            <p:cNvPr id="158" name="Conexão reta 157">
              <a:extLst>
                <a:ext uri="{FF2B5EF4-FFF2-40B4-BE49-F238E27FC236}">
                  <a16:creationId xmlns:a16="http://schemas.microsoft.com/office/drawing/2014/main" id="{30DED5AE-8595-329D-707F-40218B15C197}"/>
                </a:ext>
              </a:extLst>
            </p:cNvPr>
            <p:cNvCxnSpPr>
              <a:cxnSpLocks/>
            </p:cNvCxnSpPr>
            <p:nvPr/>
          </p:nvCxnSpPr>
          <p:spPr>
            <a:xfrm>
              <a:off x="4533602" y="2847690"/>
              <a:ext cx="244875" cy="0"/>
            </a:xfrm>
            <a:prstGeom prst="line">
              <a:avLst/>
            </a:prstGeom>
            <a:ln w="6350">
              <a:solidFill>
                <a:schemeClr val="tx1"/>
              </a:solidFill>
              <a:tailEnd type="arrow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7" name="Conexão reta 166">
              <a:extLst>
                <a:ext uri="{FF2B5EF4-FFF2-40B4-BE49-F238E27FC236}">
                  <a16:creationId xmlns:a16="http://schemas.microsoft.com/office/drawing/2014/main" id="{8ED9A6BF-4B74-ED07-4273-F34B526813E8}"/>
                </a:ext>
              </a:extLst>
            </p:cNvPr>
            <p:cNvCxnSpPr>
              <a:cxnSpLocks/>
            </p:cNvCxnSpPr>
            <p:nvPr/>
          </p:nvCxnSpPr>
          <p:spPr>
            <a:xfrm>
              <a:off x="3602085" y="3246882"/>
              <a:ext cx="931477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9" name="Conexão reta 168">
              <a:extLst>
                <a:ext uri="{FF2B5EF4-FFF2-40B4-BE49-F238E27FC236}">
                  <a16:creationId xmlns:a16="http://schemas.microsoft.com/office/drawing/2014/main" id="{C01091DB-CE09-661C-A403-9E6417570715}"/>
                </a:ext>
              </a:extLst>
            </p:cNvPr>
            <p:cNvCxnSpPr>
              <a:cxnSpLocks/>
            </p:cNvCxnSpPr>
            <p:nvPr/>
          </p:nvCxnSpPr>
          <p:spPr>
            <a:xfrm>
              <a:off x="4533602" y="2848674"/>
              <a:ext cx="0" cy="398208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82" name="Agrupar 181">
            <a:extLst>
              <a:ext uri="{FF2B5EF4-FFF2-40B4-BE49-F238E27FC236}">
                <a16:creationId xmlns:a16="http://schemas.microsoft.com/office/drawing/2014/main" id="{E1F9DC7D-AABC-BB6C-7787-1447F0AFC734}"/>
              </a:ext>
            </a:extLst>
          </p:cNvPr>
          <p:cNvGrpSpPr/>
          <p:nvPr/>
        </p:nvGrpSpPr>
        <p:grpSpPr>
          <a:xfrm>
            <a:off x="5796116" y="3174212"/>
            <a:ext cx="896784" cy="1186682"/>
            <a:chOff x="5796116" y="3174212"/>
            <a:chExt cx="731572" cy="1186682"/>
          </a:xfrm>
        </p:grpSpPr>
        <p:cxnSp>
          <p:nvCxnSpPr>
            <p:cNvPr id="175" name="Conexão reta 174">
              <a:extLst>
                <a:ext uri="{FF2B5EF4-FFF2-40B4-BE49-F238E27FC236}">
                  <a16:creationId xmlns:a16="http://schemas.microsoft.com/office/drawing/2014/main" id="{D43D6DEF-9F2C-8CA9-6AEC-9B351D03C807}"/>
                </a:ext>
              </a:extLst>
            </p:cNvPr>
            <p:cNvCxnSpPr>
              <a:cxnSpLocks/>
            </p:cNvCxnSpPr>
            <p:nvPr/>
          </p:nvCxnSpPr>
          <p:spPr>
            <a:xfrm>
              <a:off x="5796116" y="3996316"/>
              <a:ext cx="486697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7" name="Conexão reta 176">
              <a:extLst>
                <a:ext uri="{FF2B5EF4-FFF2-40B4-BE49-F238E27FC236}">
                  <a16:creationId xmlns:a16="http://schemas.microsoft.com/office/drawing/2014/main" id="{244597CF-43C2-432E-0C22-3C66BDBC8FBD}"/>
                </a:ext>
              </a:extLst>
            </p:cNvPr>
            <p:cNvCxnSpPr>
              <a:cxnSpLocks/>
            </p:cNvCxnSpPr>
            <p:nvPr/>
          </p:nvCxnSpPr>
          <p:spPr>
            <a:xfrm>
              <a:off x="6282813" y="3174212"/>
              <a:ext cx="0" cy="1186682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8" name="Conexão reta 177">
              <a:extLst>
                <a:ext uri="{FF2B5EF4-FFF2-40B4-BE49-F238E27FC236}">
                  <a16:creationId xmlns:a16="http://schemas.microsoft.com/office/drawing/2014/main" id="{832E2EAE-A5E9-9245-215C-EEDC7E388F07}"/>
                </a:ext>
              </a:extLst>
            </p:cNvPr>
            <p:cNvCxnSpPr>
              <a:cxnSpLocks/>
            </p:cNvCxnSpPr>
            <p:nvPr/>
          </p:nvCxnSpPr>
          <p:spPr>
            <a:xfrm>
              <a:off x="6282813" y="3174212"/>
              <a:ext cx="244875" cy="0"/>
            </a:xfrm>
            <a:prstGeom prst="line">
              <a:avLst/>
            </a:prstGeom>
            <a:ln w="6350">
              <a:solidFill>
                <a:schemeClr val="tx1"/>
              </a:solidFill>
              <a:tailEnd type="arrow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9" name="Conexão reta 178">
              <a:extLst>
                <a:ext uri="{FF2B5EF4-FFF2-40B4-BE49-F238E27FC236}">
                  <a16:creationId xmlns:a16="http://schemas.microsoft.com/office/drawing/2014/main" id="{1B45EDFA-B518-6735-7B80-E770C2AD6A3F}"/>
                </a:ext>
              </a:extLst>
            </p:cNvPr>
            <p:cNvCxnSpPr>
              <a:cxnSpLocks/>
            </p:cNvCxnSpPr>
            <p:nvPr/>
          </p:nvCxnSpPr>
          <p:spPr>
            <a:xfrm>
              <a:off x="6282813" y="4354479"/>
              <a:ext cx="244875" cy="0"/>
            </a:xfrm>
            <a:prstGeom prst="line">
              <a:avLst/>
            </a:prstGeom>
            <a:ln w="6350">
              <a:solidFill>
                <a:schemeClr val="tx1"/>
              </a:solidFill>
              <a:tailEnd type="arrow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1" name="Conexão reta 180">
              <a:extLst>
                <a:ext uri="{FF2B5EF4-FFF2-40B4-BE49-F238E27FC236}">
                  <a16:creationId xmlns:a16="http://schemas.microsoft.com/office/drawing/2014/main" id="{049A2FEB-B3CE-7290-0D53-803BF4A1A3A9}"/>
                </a:ext>
              </a:extLst>
            </p:cNvPr>
            <p:cNvCxnSpPr>
              <a:cxnSpLocks/>
            </p:cNvCxnSpPr>
            <p:nvPr/>
          </p:nvCxnSpPr>
          <p:spPr>
            <a:xfrm>
              <a:off x="6282813" y="3759079"/>
              <a:ext cx="244875" cy="0"/>
            </a:xfrm>
            <a:prstGeom prst="line">
              <a:avLst/>
            </a:prstGeom>
            <a:ln w="6350">
              <a:solidFill>
                <a:schemeClr val="tx1"/>
              </a:solidFill>
              <a:tailEnd type="arrow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2" name="Marcador de pie de página 11">
            <a:extLst>
              <a:ext uri="{FF2B5EF4-FFF2-40B4-BE49-F238E27FC236}">
                <a16:creationId xmlns:a16="http://schemas.microsoft.com/office/drawing/2014/main" id="{6991ED81-621F-461C-B140-D9549E9381C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pt-PT"/>
              <a:t>Título de la presentación</a:t>
            </a:r>
            <a:endParaRPr lang="pt-PT" dirty="0"/>
          </a:p>
        </p:txBody>
      </p:sp>
      <p:sp>
        <p:nvSpPr>
          <p:cNvPr id="13" name="Marcador de número de diapositiva 12">
            <a:extLst>
              <a:ext uri="{FF2B5EF4-FFF2-40B4-BE49-F238E27FC236}">
                <a16:creationId xmlns:a16="http://schemas.microsoft.com/office/drawing/2014/main" id="{15A5F51F-CC1F-4F3D-9373-6AFE3C1FA48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4A347C2-D68E-473A-8C76-1D063E4EB6E0}" type="slidenum">
              <a:rPr lang="es-ES" smtClean="0"/>
              <a:pPr/>
              <a:t>47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2965976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8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0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1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17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16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1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18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Freeform: Shape 51">
            <a:extLst>
              <a:ext uri="{FF2B5EF4-FFF2-40B4-BE49-F238E27FC236}">
                <a16:creationId xmlns:a16="http://schemas.microsoft.com/office/drawing/2014/main" id="{6D0F6C91-51DA-3168-243B-DF1604B09046}"/>
              </a:ext>
            </a:extLst>
          </p:cNvPr>
          <p:cNvSpPr/>
          <p:nvPr/>
        </p:nvSpPr>
        <p:spPr>
          <a:xfrm>
            <a:off x="1098996" y="3819205"/>
            <a:ext cx="5471819" cy="2255793"/>
          </a:xfrm>
          <a:custGeom>
            <a:avLst/>
            <a:gdLst>
              <a:gd name="connsiteX0" fmla="*/ 0 w 3486150"/>
              <a:gd name="connsiteY0" fmla="*/ 657225 h 1035844"/>
              <a:gd name="connsiteX1" fmla="*/ 1778793 w 3486150"/>
              <a:gd name="connsiteY1" fmla="*/ 378619 h 1035844"/>
              <a:gd name="connsiteX2" fmla="*/ 2900362 w 3486150"/>
              <a:gd name="connsiteY2" fmla="*/ 142875 h 1035844"/>
              <a:gd name="connsiteX3" fmla="*/ 3486150 w 3486150"/>
              <a:gd name="connsiteY3" fmla="*/ 0 h 1035844"/>
              <a:gd name="connsiteX4" fmla="*/ 3486150 w 3486150"/>
              <a:gd name="connsiteY4" fmla="*/ 1035844 h 1035844"/>
              <a:gd name="connsiteX5" fmla="*/ 7143 w 3486150"/>
              <a:gd name="connsiteY5" fmla="*/ 1035844 h 1035844"/>
              <a:gd name="connsiteX6" fmla="*/ 0 w 3486150"/>
              <a:gd name="connsiteY6" fmla="*/ 657225 h 1035844"/>
              <a:gd name="connsiteX0" fmla="*/ 0 w 4165418"/>
              <a:gd name="connsiteY0" fmla="*/ 846636 h 1225255"/>
              <a:gd name="connsiteX1" fmla="*/ 1778793 w 4165418"/>
              <a:gd name="connsiteY1" fmla="*/ 568030 h 1225255"/>
              <a:gd name="connsiteX2" fmla="*/ 2900362 w 4165418"/>
              <a:gd name="connsiteY2" fmla="*/ 332286 h 1225255"/>
              <a:gd name="connsiteX3" fmla="*/ 4165418 w 4165418"/>
              <a:gd name="connsiteY3" fmla="*/ 0 h 1225255"/>
              <a:gd name="connsiteX4" fmla="*/ 3486150 w 4165418"/>
              <a:gd name="connsiteY4" fmla="*/ 1225255 h 1225255"/>
              <a:gd name="connsiteX5" fmla="*/ 7143 w 4165418"/>
              <a:gd name="connsiteY5" fmla="*/ 1225255 h 1225255"/>
              <a:gd name="connsiteX6" fmla="*/ 0 w 4165418"/>
              <a:gd name="connsiteY6" fmla="*/ 846636 h 1225255"/>
              <a:gd name="connsiteX0" fmla="*/ 0 w 4165418"/>
              <a:gd name="connsiteY0" fmla="*/ 846636 h 1225255"/>
              <a:gd name="connsiteX1" fmla="*/ 1778793 w 4165418"/>
              <a:gd name="connsiteY1" fmla="*/ 568030 h 1225255"/>
              <a:gd name="connsiteX2" fmla="*/ 2900362 w 4165418"/>
              <a:gd name="connsiteY2" fmla="*/ 332286 h 1225255"/>
              <a:gd name="connsiteX3" fmla="*/ 4165418 w 4165418"/>
              <a:gd name="connsiteY3" fmla="*/ 0 h 1225255"/>
              <a:gd name="connsiteX4" fmla="*/ 4165418 w 4165418"/>
              <a:gd name="connsiteY4" fmla="*/ 1212192 h 1225255"/>
              <a:gd name="connsiteX5" fmla="*/ 7143 w 4165418"/>
              <a:gd name="connsiteY5" fmla="*/ 1225255 h 1225255"/>
              <a:gd name="connsiteX6" fmla="*/ 0 w 4165418"/>
              <a:gd name="connsiteY6" fmla="*/ 846636 h 1225255"/>
              <a:gd name="connsiteX0" fmla="*/ 0 w 4165418"/>
              <a:gd name="connsiteY0" fmla="*/ 1264647 h 1643266"/>
              <a:gd name="connsiteX1" fmla="*/ 1778793 w 4165418"/>
              <a:gd name="connsiteY1" fmla="*/ 986041 h 1643266"/>
              <a:gd name="connsiteX2" fmla="*/ 2900362 w 4165418"/>
              <a:gd name="connsiteY2" fmla="*/ 750297 h 1643266"/>
              <a:gd name="connsiteX3" fmla="*/ 4145823 w 4165418"/>
              <a:gd name="connsiteY3" fmla="*/ 0 h 1643266"/>
              <a:gd name="connsiteX4" fmla="*/ 4165418 w 4165418"/>
              <a:gd name="connsiteY4" fmla="*/ 1630203 h 1643266"/>
              <a:gd name="connsiteX5" fmla="*/ 7143 w 4165418"/>
              <a:gd name="connsiteY5" fmla="*/ 1643266 h 1643266"/>
              <a:gd name="connsiteX6" fmla="*/ 0 w 4165418"/>
              <a:gd name="connsiteY6" fmla="*/ 1264647 h 1643266"/>
              <a:gd name="connsiteX0" fmla="*/ 0 w 4171948"/>
              <a:gd name="connsiteY0" fmla="*/ 1284242 h 1662861"/>
              <a:gd name="connsiteX1" fmla="*/ 1778793 w 4171948"/>
              <a:gd name="connsiteY1" fmla="*/ 1005636 h 1662861"/>
              <a:gd name="connsiteX2" fmla="*/ 2900362 w 4171948"/>
              <a:gd name="connsiteY2" fmla="*/ 769892 h 1662861"/>
              <a:gd name="connsiteX3" fmla="*/ 4171948 w 4171948"/>
              <a:gd name="connsiteY3" fmla="*/ 0 h 1662861"/>
              <a:gd name="connsiteX4" fmla="*/ 4165418 w 4171948"/>
              <a:gd name="connsiteY4" fmla="*/ 1649798 h 1662861"/>
              <a:gd name="connsiteX5" fmla="*/ 7143 w 4171948"/>
              <a:gd name="connsiteY5" fmla="*/ 1662861 h 1662861"/>
              <a:gd name="connsiteX6" fmla="*/ 0 w 4171948"/>
              <a:gd name="connsiteY6" fmla="*/ 1284242 h 1662861"/>
              <a:gd name="connsiteX0" fmla="*/ 0 w 4171948"/>
              <a:gd name="connsiteY0" fmla="*/ 1284242 h 1662861"/>
              <a:gd name="connsiteX1" fmla="*/ 1778793 w 4171948"/>
              <a:gd name="connsiteY1" fmla="*/ 1005636 h 1662861"/>
              <a:gd name="connsiteX2" fmla="*/ 2926488 w 4171948"/>
              <a:gd name="connsiteY2" fmla="*/ 515167 h 1662861"/>
              <a:gd name="connsiteX3" fmla="*/ 4171948 w 4171948"/>
              <a:gd name="connsiteY3" fmla="*/ 0 h 1662861"/>
              <a:gd name="connsiteX4" fmla="*/ 4165418 w 4171948"/>
              <a:gd name="connsiteY4" fmla="*/ 1649798 h 1662861"/>
              <a:gd name="connsiteX5" fmla="*/ 7143 w 4171948"/>
              <a:gd name="connsiteY5" fmla="*/ 1662861 h 1662861"/>
              <a:gd name="connsiteX6" fmla="*/ 0 w 4171948"/>
              <a:gd name="connsiteY6" fmla="*/ 1284242 h 1662861"/>
              <a:gd name="connsiteX0" fmla="*/ 0 w 4171948"/>
              <a:gd name="connsiteY0" fmla="*/ 1284242 h 1662861"/>
              <a:gd name="connsiteX1" fmla="*/ 1602445 w 4171948"/>
              <a:gd name="connsiteY1" fmla="*/ 803162 h 1662861"/>
              <a:gd name="connsiteX2" fmla="*/ 2926488 w 4171948"/>
              <a:gd name="connsiteY2" fmla="*/ 515167 h 1662861"/>
              <a:gd name="connsiteX3" fmla="*/ 4171948 w 4171948"/>
              <a:gd name="connsiteY3" fmla="*/ 0 h 1662861"/>
              <a:gd name="connsiteX4" fmla="*/ 4165418 w 4171948"/>
              <a:gd name="connsiteY4" fmla="*/ 1649798 h 1662861"/>
              <a:gd name="connsiteX5" fmla="*/ 7143 w 4171948"/>
              <a:gd name="connsiteY5" fmla="*/ 1662861 h 1662861"/>
              <a:gd name="connsiteX6" fmla="*/ 0 w 4171948"/>
              <a:gd name="connsiteY6" fmla="*/ 1284242 h 1662861"/>
              <a:gd name="connsiteX0" fmla="*/ 0 w 4191543"/>
              <a:gd name="connsiteY0" fmla="*/ 1029516 h 1662861"/>
              <a:gd name="connsiteX1" fmla="*/ 1622040 w 4191543"/>
              <a:gd name="connsiteY1" fmla="*/ 803162 h 1662861"/>
              <a:gd name="connsiteX2" fmla="*/ 2946083 w 4191543"/>
              <a:gd name="connsiteY2" fmla="*/ 515167 h 1662861"/>
              <a:gd name="connsiteX3" fmla="*/ 4191543 w 4191543"/>
              <a:gd name="connsiteY3" fmla="*/ 0 h 1662861"/>
              <a:gd name="connsiteX4" fmla="*/ 4185013 w 4191543"/>
              <a:gd name="connsiteY4" fmla="*/ 1649798 h 1662861"/>
              <a:gd name="connsiteX5" fmla="*/ 26738 w 4191543"/>
              <a:gd name="connsiteY5" fmla="*/ 1662861 h 1662861"/>
              <a:gd name="connsiteX6" fmla="*/ 0 w 4191543"/>
              <a:gd name="connsiteY6" fmla="*/ 1029516 h 1662861"/>
              <a:gd name="connsiteX0" fmla="*/ 0 w 4198074"/>
              <a:gd name="connsiteY0" fmla="*/ 1075236 h 1662861"/>
              <a:gd name="connsiteX1" fmla="*/ 1628571 w 4198074"/>
              <a:gd name="connsiteY1" fmla="*/ 803162 h 1662861"/>
              <a:gd name="connsiteX2" fmla="*/ 2952614 w 4198074"/>
              <a:gd name="connsiteY2" fmla="*/ 515167 h 1662861"/>
              <a:gd name="connsiteX3" fmla="*/ 4198074 w 4198074"/>
              <a:gd name="connsiteY3" fmla="*/ 0 h 1662861"/>
              <a:gd name="connsiteX4" fmla="*/ 4191544 w 4198074"/>
              <a:gd name="connsiteY4" fmla="*/ 1649798 h 1662861"/>
              <a:gd name="connsiteX5" fmla="*/ 33269 w 4198074"/>
              <a:gd name="connsiteY5" fmla="*/ 1662861 h 1662861"/>
              <a:gd name="connsiteX6" fmla="*/ 0 w 4198074"/>
              <a:gd name="connsiteY6" fmla="*/ 1075236 h 1662861"/>
              <a:gd name="connsiteX0" fmla="*/ 0 w 4198074"/>
              <a:gd name="connsiteY0" fmla="*/ 1075236 h 1662861"/>
              <a:gd name="connsiteX1" fmla="*/ 1733074 w 4198074"/>
              <a:gd name="connsiteY1" fmla="*/ 724784 h 1662861"/>
              <a:gd name="connsiteX2" fmla="*/ 2952614 w 4198074"/>
              <a:gd name="connsiteY2" fmla="*/ 515167 h 1662861"/>
              <a:gd name="connsiteX3" fmla="*/ 4198074 w 4198074"/>
              <a:gd name="connsiteY3" fmla="*/ 0 h 1662861"/>
              <a:gd name="connsiteX4" fmla="*/ 4191544 w 4198074"/>
              <a:gd name="connsiteY4" fmla="*/ 1649798 h 1662861"/>
              <a:gd name="connsiteX5" fmla="*/ 33269 w 4198074"/>
              <a:gd name="connsiteY5" fmla="*/ 1662861 h 1662861"/>
              <a:gd name="connsiteX6" fmla="*/ 0 w 4198074"/>
              <a:gd name="connsiteY6" fmla="*/ 1075236 h 1662861"/>
              <a:gd name="connsiteX0" fmla="*/ 0 w 4198074"/>
              <a:gd name="connsiteY0" fmla="*/ 1075236 h 1662861"/>
              <a:gd name="connsiteX1" fmla="*/ 1733074 w 4198074"/>
              <a:gd name="connsiteY1" fmla="*/ 724784 h 1662861"/>
              <a:gd name="connsiteX2" fmla="*/ 2952614 w 4198074"/>
              <a:gd name="connsiteY2" fmla="*/ 515167 h 1662861"/>
              <a:gd name="connsiteX3" fmla="*/ 4198074 w 4198074"/>
              <a:gd name="connsiteY3" fmla="*/ 0 h 1662861"/>
              <a:gd name="connsiteX4" fmla="*/ 4191544 w 4198074"/>
              <a:gd name="connsiteY4" fmla="*/ 1649798 h 1662861"/>
              <a:gd name="connsiteX5" fmla="*/ 33269 w 4198074"/>
              <a:gd name="connsiteY5" fmla="*/ 1662861 h 1662861"/>
              <a:gd name="connsiteX6" fmla="*/ 0 w 4198074"/>
              <a:gd name="connsiteY6" fmla="*/ 1075236 h 1662861"/>
              <a:gd name="connsiteX0" fmla="*/ 0 w 4198074"/>
              <a:gd name="connsiteY0" fmla="*/ 1075236 h 1662861"/>
              <a:gd name="connsiteX1" fmla="*/ 1733074 w 4198074"/>
              <a:gd name="connsiteY1" fmla="*/ 724784 h 1662861"/>
              <a:gd name="connsiteX2" fmla="*/ 2965677 w 4198074"/>
              <a:gd name="connsiteY2" fmla="*/ 371475 h 1662861"/>
              <a:gd name="connsiteX3" fmla="*/ 4198074 w 4198074"/>
              <a:gd name="connsiteY3" fmla="*/ 0 h 1662861"/>
              <a:gd name="connsiteX4" fmla="*/ 4191544 w 4198074"/>
              <a:gd name="connsiteY4" fmla="*/ 1649798 h 1662861"/>
              <a:gd name="connsiteX5" fmla="*/ 33269 w 4198074"/>
              <a:gd name="connsiteY5" fmla="*/ 1662861 h 1662861"/>
              <a:gd name="connsiteX6" fmla="*/ 0 w 4198074"/>
              <a:gd name="connsiteY6" fmla="*/ 1075236 h 1662861"/>
              <a:gd name="connsiteX0" fmla="*/ 0 w 4198074"/>
              <a:gd name="connsiteY0" fmla="*/ 1192802 h 1780427"/>
              <a:gd name="connsiteX1" fmla="*/ 1733074 w 4198074"/>
              <a:gd name="connsiteY1" fmla="*/ 842350 h 1780427"/>
              <a:gd name="connsiteX2" fmla="*/ 2965677 w 4198074"/>
              <a:gd name="connsiteY2" fmla="*/ 489041 h 1780427"/>
              <a:gd name="connsiteX3" fmla="*/ 4198074 w 4198074"/>
              <a:gd name="connsiteY3" fmla="*/ 0 h 1780427"/>
              <a:gd name="connsiteX4" fmla="*/ 4191544 w 4198074"/>
              <a:gd name="connsiteY4" fmla="*/ 1767364 h 1780427"/>
              <a:gd name="connsiteX5" fmla="*/ 33269 w 4198074"/>
              <a:gd name="connsiteY5" fmla="*/ 1780427 h 1780427"/>
              <a:gd name="connsiteX6" fmla="*/ 0 w 4198074"/>
              <a:gd name="connsiteY6" fmla="*/ 1192802 h 1780427"/>
              <a:gd name="connsiteX0" fmla="*/ 0 w 4198074"/>
              <a:gd name="connsiteY0" fmla="*/ 1192802 h 1769222"/>
              <a:gd name="connsiteX1" fmla="*/ 1733074 w 4198074"/>
              <a:gd name="connsiteY1" fmla="*/ 842350 h 1769222"/>
              <a:gd name="connsiteX2" fmla="*/ 2965677 w 4198074"/>
              <a:gd name="connsiteY2" fmla="*/ 489041 h 1769222"/>
              <a:gd name="connsiteX3" fmla="*/ 4198074 w 4198074"/>
              <a:gd name="connsiteY3" fmla="*/ 0 h 1769222"/>
              <a:gd name="connsiteX4" fmla="*/ 4191544 w 4198074"/>
              <a:gd name="connsiteY4" fmla="*/ 1767364 h 1769222"/>
              <a:gd name="connsiteX5" fmla="*/ 18718 w 4198074"/>
              <a:gd name="connsiteY5" fmla="*/ 1769222 h 1769222"/>
              <a:gd name="connsiteX6" fmla="*/ 0 w 4198074"/>
              <a:gd name="connsiteY6" fmla="*/ 1192802 h 1769222"/>
              <a:gd name="connsiteX0" fmla="*/ 2734 w 4182620"/>
              <a:gd name="connsiteY0" fmla="*/ 1192802 h 1769222"/>
              <a:gd name="connsiteX1" fmla="*/ 1717620 w 4182620"/>
              <a:gd name="connsiteY1" fmla="*/ 842350 h 1769222"/>
              <a:gd name="connsiteX2" fmla="*/ 2950223 w 4182620"/>
              <a:gd name="connsiteY2" fmla="*/ 489041 h 1769222"/>
              <a:gd name="connsiteX3" fmla="*/ 4182620 w 4182620"/>
              <a:gd name="connsiteY3" fmla="*/ 0 h 1769222"/>
              <a:gd name="connsiteX4" fmla="*/ 4176090 w 4182620"/>
              <a:gd name="connsiteY4" fmla="*/ 1767364 h 1769222"/>
              <a:gd name="connsiteX5" fmla="*/ 3264 w 4182620"/>
              <a:gd name="connsiteY5" fmla="*/ 1769222 h 1769222"/>
              <a:gd name="connsiteX6" fmla="*/ 2734 w 4182620"/>
              <a:gd name="connsiteY6" fmla="*/ 1192802 h 1769222"/>
              <a:gd name="connsiteX0" fmla="*/ 9326 w 4181937"/>
              <a:gd name="connsiteY0" fmla="*/ 1196538 h 1769222"/>
              <a:gd name="connsiteX1" fmla="*/ 1716937 w 4181937"/>
              <a:gd name="connsiteY1" fmla="*/ 842350 h 1769222"/>
              <a:gd name="connsiteX2" fmla="*/ 2949540 w 4181937"/>
              <a:gd name="connsiteY2" fmla="*/ 489041 h 1769222"/>
              <a:gd name="connsiteX3" fmla="*/ 4181937 w 4181937"/>
              <a:gd name="connsiteY3" fmla="*/ 0 h 1769222"/>
              <a:gd name="connsiteX4" fmla="*/ 4175407 w 4181937"/>
              <a:gd name="connsiteY4" fmla="*/ 1767364 h 1769222"/>
              <a:gd name="connsiteX5" fmla="*/ 2581 w 4181937"/>
              <a:gd name="connsiteY5" fmla="*/ 1769222 h 1769222"/>
              <a:gd name="connsiteX6" fmla="*/ 9326 w 4181937"/>
              <a:gd name="connsiteY6" fmla="*/ 1196538 h 1769222"/>
              <a:gd name="connsiteX0" fmla="*/ 10355 w 4182966"/>
              <a:gd name="connsiteY0" fmla="*/ 1196538 h 1769222"/>
              <a:gd name="connsiteX1" fmla="*/ 1717966 w 4182966"/>
              <a:gd name="connsiteY1" fmla="*/ 842350 h 1769222"/>
              <a:gd name="connsiteX2" fmla="*/ 2950569 w 4182966"/>
              <a:gd name="connsiteY2" fmla="*/ 489041 h 1769222"/>
              <a:gd name="connsiteX3" fmla="*/ 4182966 w 4182966"/>
              <a:gd name="connsiteY3" fmla="*/ 0 h 1769222"/>
              <a:gd name="connsiteX4" fmla="*/ 4176436 w 4182966"/>
              <a:gd name="connsiteY4" fmla="*/ 1767364 h 1769222"/>
              <a:gd name="connsiteX5" fmla="*/ 3610 w 4182966"/>
              <a:gd name="connsiteY5" fmla="*/ 1769222 h 1769222"/>
              <a:gd name="connsiteX6" fmla="*/ 10355 w 4182966"/>
              <a:gd name="connsiteY6" fmla="*/ 1196538 h 1769222"/>
              <a:gd name="connsiteX0" fmla="*/ 6749 w 4179360"/>
              <a:gd name="connsiteY0" fmla="*/ 1196538 h 1769222"/>
              <a:gd name="connsiteX1" fmla="*/ 1714360 w 4179360"/>
              <a:gd name="connsiteY1" fmla="*/ 842350 h 1769222"/>
              <a:gd name="connsiteX2" fmla="*/ 2946963 w 4179360"/>
              <a:gd name="connsiteY2" fmla="*/ 489041 h 1769222"/>
              <a:gd name="connsiteX3" fmla="*/ 4179360 w 4179360"/>
              <a:gd name="connsiteY3" fmla="*/ 0 h 1769222"/>
              <a:gd name="connsiteX4" fmla="*/ 4172830 w 4179360"/>
              <a:gd name="connsiteY4" fmla="*/ 1767364 h 1769222"/>
              <a:gd name="connsiteX5" fmla="*/ 4 w 4179360"/>
              <a:gd name="connsiteY5" fmla="*/ 1769222 h 1769222"/>
              <a:gd name="connsiteX6" fmla="*/ 6749 w 4179360"/>
              <a:gd name="connsiteY6" fmla="*/ 1196538 h 17692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179360" h="1769222">
                <a:moveTo>
                  <a:pt x="6749" y="1196538"/>
                </a:moveTo>
                <a:cubicBezTo>
                  <a:pt x="584440" y="1079721"/>
                  <a:pt x="823161" y="1037544"/>
                  <a:pt x="1714360" y="842350"/>
                </a:cubicBezTo>
                <a:lnTo>
                  <a:pt x="2946963" y="489041"/>
                </a:lnTo>
                <a:lnTo>
                  <a:pt x="4179360" y="0"/>
                </a:lnTo>
                <a:cubicBezTo>
                  <a:pt x="4177183" y="549933"/>
                  <a:pt x="4175007" y="1217431"/>
                  <a:pt x="4172830" y="1767364"/>
                </a:cubicBezTo>
                <a:lnTo>
                  <a:pt x="4" y="1769222"/>
                </a:lnTo>
                <a:cubicBezTo>
                  <a:pt x="-173" y="1565877"/>
                  <a:pt x="6927" y="1392413"/>
                  <a:pt x="6749" y="1196538"/>
                </a:cubicBez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9" name="Freeform: Shape 53">
            <a:extLst>
              <a:ext uri="{FF2B5EF4-FFF2-40B4-BE49-F238E27FC236}">
                <a16:creationId xmlns:a16="http://schemas.microsoft.com/office/drawing/2014/main" id="{93A42FC1-289D-85B2-E870-63C3382B76D4}"/>
              </a:ext>
            </a:extLst>
          </p:cNvPr>
          <p:cNvSpPr/>
          <p:nvPr/>
        </p:nvSpPr>
        <p:spPr>
          <a:xfrm>
            <a:off x="6611865" y="1115848"/>
            <a:ext cx="4833867" cy="4959150"/>
          </a:xfrm>
          <a:custGeom>
            <a:avLst/>
            <a:gdLst>
              <a:gd name="connsiteX0" fmla="*/ 0 w 4136231"/>
              <a:gd name="connsiteY0" fmla="*/ 3771900 h 3771900"/>
              <a:gd name="connsiteX1" fmla="*/ 0 w 4136231"/>
              <a:gd name="connsiteY1" fmla="*/ 2736056 h 3771900"/>
              <a:gd name="connsiteX2" fmla="*/ 1078706 w 4136231"/>
              <a:gd name="connsiteY2" fmla="*/ 2378869 h 3771900"/>
              <a:gd name="connsiteX3" fmla="*/ 1807369 w 4136231"/>
              <a:gd name="connsiteY3" fmla="*/ 2071688 h 3771900"/>
              <a:gd name="connsiteX4" fmla="*/ 2271713 w 4136231"/>
              <a:gd name="connsiteY4" fmla="*/ 1778794 h 3771900"/>
              <a:gd name="connsiteX5" fmla="*/ 2700338 w 4136231"/>
              <a:gd name="connsiteY5" fmla="*/ 1457325 h 3771900"/>
              <a:gd name="connsiteX6" fmla="*/ 3193256 w 4136231"/>
              <a:gd name="connsiteY6" fmla="*/ 1007269 h 3771900"/>
              <a:gd name="connsiteX7" fmla="*/ 3671888 w 4136231"/>
              <a:gd name="connsiteY7" fmla="*/ 514350 h 3771900"/>
              <a:gd name="connsiteX8" fmla="*/ 4136231 w 4136231"/>
              <a:gd name="connsiteY8" fmla="*/ 0 h 3771900"/>
              <a:gd name="connsiteX9" fmla="*/ 4136231 w 4136231"/>
              <a:gd name="connsiteY9" fmla="*/ 3771900 h 3771900"/>
              <a:gd name="connsiteX10" fmla="*/ 0 w 4136231"/>
              <a:gd name="connsiteY10" fmla="*/ 3771900 h 3771900"/>
              <a:gd name="connsiteX0" fmla="*/ 0 w 4136231"/>
              <a:gd name="connsiteY0" fmla="*/ 3771900 h 3771900"/>
              <a:gd name="connsiteX1" fmla="*/ 718457 w 4136231"/>
              <a:gd name="connsiteY1" fmla="*/ 2513988 h 3771900"/>
              <a:gd name="connsiteX2" fmla="*/ 1078706 w 4136231"/>
              <a:gd name="connsiteY2" fmla="*/ 2378869 h 3771900"/>
              <a:gd name="connsiteX3" fmla="*/ 1807369 w 4136231"/>
              <a:gd name="connsiteY3" fmla="*/ 2071688 h 3771900"/>
              <a:gd name="connsiteX4" fmla="*/ 2271713 w 4136231"/>
              <a:gd name="connsiteY4" fmla="*/ 1778794 h 3771900"/>
              <a:gd name="connsiteX5" fmla="*/ 2700338 w 4136231"/>
              <a:gd name="connsiteY5" fmla="*/ 1457325 h 3771900"/>
              <a:gd name="connsiteX6" fmla="*/ 3193256 w 4136231"/>
              <a:gd name="connsiteY6" fmla="*/ 1007269 h 3771900"/>
              <a:gd name="connsiteX7" fmla="*/ 3671888 w 4136231"/>
              <a:gd name="connsiteY7" fmla="*/ 514350 h 3771900"/>
              <a:gd name="connsiteX8" fmla="*/ 4136231 w 4136231"/>
              <a:gd name="connsiteY8" fmla="*/ 0 h 3771900"/>
              <a:gd name="connsiteX9" fmla="*/ 4136231 w 4136231"/>
              <a:gd name="connsiteY9" fmla="*/ 3771900 h 3771900"/>
              <a:gd name="connsiteX10" fmla="*/ 0 w 4136231"/>
              <a:gd name="connsiteY10" fmla="*/ 3771900 h 3771900"/>
              <a:gd name="connsiteX0" fmla="*/ 0 w 3443900"/>
              <a:gd name="connsiteY0" fmla="*/ 3778432 h 3778432"/>
              <a:gd name="connsiteX1" fmla="*/ 26126 w 3443900"/>
              <a:gd name="connsiteY1" fmla="*/ 2513988 h 3778432"/>
              <a:gd name="connsiteX2" fmla="*/ 386375 w 3443900"/>
              <a:gd name="connsiteY2" fmla="*/ 2378869 h 3778432"/>
              <a:gd name="connsiteX3" fmla="*/ 1115038 w 3443900"/>
              <a:gd name="connsiteY3" fmla="*/ 2071688 h 3778432"/>
              <a:gd name="connsiteX4" fmla="*/ 1579382 w 3443900"/>
              <a:gd name="connsiteY4" fmla="*/ 1778794 h 3778432"/>
              <a:gd name="connsiteX5" fmla="*/ 2008007 w 3443900"/>
              <a:gd name="connsiteY5" fmla="*/ 1457325 h 3778432"/>
              <a:gd name="connsiteX6" fmla="*/ 2500925 w 3443900"/>
              <a:gd name="connsiteY6" fmla="*/ 1007269 h 3778432"/>
              <a:gd name="connsiteX7" fmla="*/ 2979557 w 3443900"/>
              <a:gd name="connsiteY7" fmla="*/ 514350 h 3778432"/>
              <a:gd name="connsiteX8" fmla="*/ 3443900 w 3443900"/>
              <a:gd name="connsiteY8" fmla="*/ 0 h 3778432"/>
              <a:gd name="connsiteX9" fmla="*/ 3443900 w 3443900"/>
              <a:gd name="connsiteY9" fmla="*/ 3771900 h 3778432"/>
              <a:gd name="connsiteX10" fmla="*/ 0 w 3443900"/>
              <a:gd name="connsiteY10" fmla="*/ 3778432 h 3778432"/>
              <a:gd name="connsiteX0" fmla="*/ 0 w 3443900"/>
              <a:gd name="connsiteY0" fmla="*/ 3784964 h 3784964"/>
              <a:gd name="connsiteX1" fmla="*/ 26126 w 3443900"/>
              <a:gd name="connsiteY1" fmla="*/ 2513988 h 3784964"/>
              <a:gd name="connsiteX2" fmla="*/ 386375 w 3443900"/>
              <a:gd name="connsiteY2" fmla="*/ 2378869 h 3784964"/>
              <a:gd name="connsiteX3" fmla="*/ 1115038 w 3443900"/>
              <a:gd name="connsiteY3" fmla="*/ 2071688 h 3784964"/>
              <a:gd name="connsiteX4" fmla="*/ 1579382 w 3443900"/>
              <a:gd name="connsiteY4" fmla="*/ 1778794 h 3784964"/>
              <a:gd name="connsiteX5" fmla="*/ 2008007 w 3443900"/>
              <a:gd name="connsiteY5" fmla="*/ 1457325 h 3784964"/>
              <a:gd name="connsiteX6" fmla="*/ 2500925 w 3443900"/>
              <a:gd name="connsiteY6" fmla="*/ 1007269 h 3784964"/>
              <a:gd name="connsiteX7" fmla="*/ 2979557 w 3443900"/>
              <a:gd name="connsiteY7" fmla="*/ 514350 h 3784964"/>
              <a:gd name="connsiteX8" fmla="*/ 3443900 w 3443900"/>
              <a:gd name="connsiteY8" fmla="*/ 0 h 3784964"/>
              <a:gd name="connsiteX9" fmla="*/ 3443900 w 3443900"/>
              <a:gd name="connsiteY9" fmla="*/ 3771900 h 3784964"/>
              <a:gd name="connsiteX10" fmla="*/ 0 w 3443900"/>
              <a:gd name="connsiteY10" fmla="*/ 3784964 h 3784964"/>
              <a:gd name="connsiteX0" fmla="*/ 0 w 3417775"/>
              <a:gd name="connsiteY0" fmla="*/ 3765370 h 3771900"/>
              <a:gd name="connsiteX1" fmla="*/ 1 w 3417775"/>
              <a:gd name="connsiteY1" fmla="*/ 2513988 h 3771900"/>
              <a:gd name="connsiteX2" fmla="*/ 360250 w 3417775"/>
              <a:gd name="connsiteY2" fmla="*/ 2378869 h 3771900"/>
              <a:gd name="connsiteX3" fmla="*/ 1088913 w 3417775"/>
              <a:gd name="connsiteY3" fmla="*/ 2071688 h 3771900"/>
              <a:gd name="connsiteX4" fmla="*/ 1553257 w 3417775"/>
              <a:gd name="connsiteY4" fmla="*/ 1778794 h 3771900"/>
              <a:gd name="connsiteX5" fmla="*/ 1981882 w 3417775"/>
              <a:gd name="connsiteY5" fmla="*/ 1457325 h 3771900"/>
              <a:gd name="connsiteX6" fmla="*/ 2474800 w 3417775"/>
              <a:gd name="connsiteY6" fmla="*/ 1007269 h 3771900"/>
              <a:gd name="connsiteX7" fmla="*/ 2953432 w 3417775"/>
              <a:gd name="connsiteY7" fmla="*/ 514350 h 3771900"/>
              <a:gd name="connsiteX8" fmla="*/ 3417775 w 3417775"/>
              <a:gd name="connsiteY8" fmla="*/ 0 h 3771900"/>
              <a:gd name="connsiteX9" fmla="*/ 3417775 w 3417775"/>
              <a:gd name="connsiteY9" fmla="*/ 3771900 h 3771900"/>
              <a:gd name="connsiteX10" fmla="*/ 0 w 3417775"/>
              <a:gd name="connsiteY10" fmla="*/ 3765370 h 3771900"/>
              <a:gd name="connsiteX0" fmla="*/ 0 w 3424306"/>
              <a:gd name="connsiteY0" fmla="*/ 4268290 h 4274820"/>
              <a:gd name="connsiteX1" fmla="*/ 1 w 3424306"/>
              <a:gd name="connsiteY1" fmla="*/ 3016908 h 4274820"/>
              <a:gd name="connsiteX2" fmla="*/ 360250 w 3424306"/>
              <a:gd name="connsiteY2" fmla="*/ 2881789 h 4274820"/>
              <a:gd name="connsiteX3" fmla="*/ 1088913 w 3424306"/>
              <a:gd name="connsiteY3" fmla="*/ 2574608 h 4274820"/>
              <a:gd name="connsiteX4" fmla="*/ 1553257 w 3424306"/>
              <a:gd name="connsiteY4" fmla="*/ 2281714 h 4274820"/>
              <a:gd name="connsiteX5" fmla="*/ 1981882 w 3424306"/>
              <a:gd name="connsiteY5" fmla="*/ 1960245 h 4274820"/>
              <a:gd name="connsiteX6" fmla="*/ 2474800 w 3424306"/>
              <a:gd name="connsiteY6" fmla="*/ 1510189 h 4274820"/>
              <a:gd name="connsiteX7" fmla="*/ 2953432 w 3424306"/>
              <a:gd name="connsiteY7" fmla="*/ 1017270 h 4274820"/>
              <a:gd name="connsiteX8" fmla="*/ 3424306 w 3424306"/>
              <a:gd name="connsiteY8" fmla="*/ 0 h 4274820"/>
              <a:gd name="connsiteX9" fmla="*/ 3417775 w 3424306"/>
              <a:gd name="connsiteY9" fmla="*/ 4274820 h 4274820"/>
              <a:gd name="connsiteX10" fmla="*/ 0 w 3424306"/>
              <a:gd name="connsiteY10" fmla="*/ 4268290 h 4274820"/>
              <a:gd name="connsiteX0" fmla="*/ 0 w 3424306"/>
              <a:gd name="connsiteY0" fmla="*/ 4268290 h 4274820"/>
              <a:gd name="connsiteX1" fmla="*/ 1 w 3424306"/>
              <a:gd name="connsiteY1" fmla="*/ 3016908 h 4274820"/>
              <a:gd name="connsiteX2" fmla="*/ 360250 w 3424306"/>
              <a:gd name="connsiteY2" fmla="*/ 2881789 h 4274820"/>
              <a:gd name="connsiteX3" fmla="*/ 1088913 w 3424306"/>
              <a:gd name="connsiteY3" fmla="*/ 2574608 h 4274820"/>
              <a:gd name="connsiteX4" fmla="*/ 1553257 w 3424306"/>
              <a:gd name="connsiteY4" fmla="*/ 2281714 h 4274820"/>
              <a:gd name="connsiteX5" fmla="*/ 1981882 w 3424306"/>
              <a:gd name="connsiteY5" fmla="*/ 1960245 h 4274820"/>
              <a:gd name="connsiteX6" fmla="*/ 2474800 w 3424306"/>
              <a:gd name="connsiteY6" fmla="*/ 1510189 h 4274820"/>
              <a:gd name="connsiteX7" fmla="*/ 2888117 w 3424306"/>
              <a:gd name="connsiteY7" fmla="*/ 409848 h 4274820"/>
              <a:gd name="connsiteX8" fmla="*/ 3424306 w 3424306"/>
              <a:gd name="connsiteY8" fmla="*/ 0 h 4274820"/>
              <a:gd name="connsiteX9" fmla="*/ 3417775 w 3424306"/>
              <a:gd name="connsiteY9" fmla="*/ 4274820 h 4274820"/>
              <a:gd name="connsiteX10" fmla="*/ 0 w 3424306"/>
              <a:gd name="connsiteY10" fmla="*/ 4268290 h 4274820"/>
              <a:gd name="connsiteX0" fmla="*/ 0 w 3424306"/>
              <a:gd name="connsiteY0" fmla="*/ 4268290 h 4274820"/>
              <a:gd name="connsiteX1" fmla="*/ 1 w 3424306"/>
              <a:gd name="connsiteY1" fmla="*/ 3016908 h 4274820"/>
              <a:gd name="connsiteX2" fmla="*/ 360250 w 3424306"/>
              <a:gd name="connsiteY2" fmla="*/ 2881789 h 4274820"/>
              <a:gd name="connsiteX3" fmla="*/ 1088913 w 3424306"/>
              <a:gd name="connsiteY3" fmla="*/ 2574608 h 4274820"/>
              <a:gd name="connsiteX4" fmla="*/ 1553257 w 3424306"/>
              <a:gd name="connsiteY4" fmla="*/ 2281714 h 4274820"/>
              <a:gd name="connsiteX5" fmla="*/ 1981882 w 3424306"/>
              <a:gd name="connsiteY5" fmla="*/ 1960245 h 4274820"/>
              <a:gd name="connsiteX6" fmla="*/ 2350703 w 3424306"/>
              <a:gd name="connsiteY6" fmla="*/ 837452 h 4274820"/>
              <a:gd name="connsiteX7" fmla="*/ 2888117 w 3424306"/>
              <a:gd name="connsiteY7" fmla="*/ 409848 h 4274820"/>
              <a:gd name="connsiteX8" fmla="*/ 3424306 w 3424306"/>
              <a:gd name="connsiteY8" fmla="*/ 0 h 4274820"/>
              <a:gd name="connsiteX9" fmla="*/ 3417775 w 3424306"/>
              <a:gd name="connsiteY9" fmla="*/ 4274820 h 4274820"/>
              <a:gd name="connsiteX10" fmla="*/ 0 w 3424306"/>
              <a:gd name="connsiteY10" fmla="*/ 4268290 h 4274820"/>
              <a:gd name="connsiteX0" fmla="*/ 0 w 3424306"/>
              <a:gd name="connsiteY0" fmla="*/ 4268290 h 4274820"/>
              <a:gd name="connsiteX1" fmla="*/ 1 w 3424306"/>
              <a:gd name="connsiteY1" fmla="*/ 3016908 h 4274820"/>
              <a:gd name="connsiteX2" fmla="*/ 360250 w 3424306"/>
              <a:gd name="connsiteY2" fmla="*/ 2881789 h 4274820"/>
              <a:gd name="connsiteX3" fmla="*/ 1088913 w 3424306"/>
              <a:gd name="connsiteY3" fmla="*/ 2574608 h 4274820"/>
              <a:gd name="connsiteX4" fmla="*/ 1553257 w 3424306"/>
              <a:gd name="connsiteY4" fmla="*/ 2281714 h 4274820"/>
              <a:gd name="connsiteX5" fmla="*/ 1903505 w 3424306"/>
              <a:gd name="connsiteY5" fmla="*/ 1163411 h 4274820"/>
              <a:gd name="connsiteX6" fmla="*/ 2350703 w 3424306"/>
              <a:gd name="connsiteY6" fmla="*/ 837452 h 4274820"/>
              <a:gd name="connsiteX7" fmla="*/ 2888117 w 3424306"/>
              <a:gd name="connsiteY7" fmla="*/ 409848 h 4274820"/>
              <a:gd name="connsiteX8" fmla="*/ 3424306 w 3424306"/>
              <a:gd name="connsiteY8" fmla="*/ 0 h 4274820"/>
              <a:gd name="connsiteX9" fmla="*/ 3417775 w 3424306"/>
              <a:gd name="connsiteY9" fmla="*/ 4274820 h 4274820"/>
              <a:gd name="connsiteX10" fmla="*/ 0 w 3424306"/>
              <a:gd name="connsiteY10" fmla="*/ 4268290 h 4274820"/>
              <a:gd name="connsiteX0" fmla="*/ 0 w 3424306"/>
              <a:gd name="connsiteY0" fmla="*/ 4268290 h 4274820"/>
              <a:gd name="connsiteX1" fmla="*/ 1 w 3424306"/>
              <a:gd name="connsiteY1" fmla="*/ 3016908 h 4274820"/>
              <a:gd name="connsiteX2" fmla="*/ 360250 w 3424306"/>
              <a:gd name="connsiteY2" fmla="*/ 2881789 h 4274820"/>
              <a:gd name="connsiteX3" fmla="*/ 1088913 w 3424306"/>
              <a:gd name="connsiteY3" fmla="*/ 2574608 h 4274820"/>
              <a:gd name="connsiteX4" fmla="*/ 1416097 w 3424306"/>
              <a:gd name="connsiteY4" fmla="*/ 1537131 h 4274820"/>
              <a:gd name="connsiteX5" fmla="*/ 1903505 w 3424306"/>
              <a:gd name="connsiteY5" fmla="*/ 1163411 h 4274820"/>
              <a:gd name="connsiteX6" fmla="*/ 2350703 w 3424306"/>
              <a:gd name="connsiteY6" fmla="*/ 837452 h 4274820"/>
              <a:gd name="connsiteX7" fmla="*/ 2888117 w 3424306"/>
              <a:gd name="connsiteY7" fmla="*/ 409848 h 4274820"/>
              <a:gd name="connsiteX8" fmla="*/ 3424306 w 3424306"/>
              <a:gd name="connsiteY8" fmla="*/ 0 h 4274820"/>
              <a:gd name="connsiteX9" fmla="*/ 3417775 w 3424306"/>
              <a:gd name="connsiteY9" fmla="*/ 4274820 h 4274820"/>
              <a:gd name="connsiteX10" fmla="*/ 0 w 3424306"/>
              <a:gd name="connsiteY10" fmla="*/ 4268290 h 4274820"/>
              <a:gd name="connsiteX0" fmla="*/ 0 w 3424306"/>
              <a:gd name="connsiteY0" fmla="*/ 4268290 h 4274820"/>
              <a:gd name="connsiteX1" fmla="*/ 1 w 3424306"/>
              <a:gd name="connsiteY1" fmla="*/ 3016908 h 4274820"/>
              <a:gd name="connsiteX2" fmla="*/ 360250 w 3424306"/>
              <a:gd name="connsiteY2" fmla="*/ 2881789 h 4274820"/>
              <a:gd name="connsiteX3" fmla="*/ 853782 w 3424306"/>
              <a:gd name="connsiteY3" fmla="*/ 1927996 h 4274820"/>
              <a:gd name="connsiteX4" fmla="*/ 1416097 w 3424306"/>
              <a:gd name="connsiteY4" fmla="*/ 1537131 h 4274820"/>
              <a:gd name="connsiteX5" fmla="*/ 1903505 w 3424306"/>
              <a:gd name="connsiteY5" fmla="*/ 1163411 h 4274820"/>
              <a:gd name="connsiteX6" fmla="*/ 2350703 w 3424306"/>
              <a:gd name="connsiteY6" fmla="*/ 837452 h 4274820"/>
              <a:gd name="connsiteX7" fmla="*/ 2888117 w 3424306"/>
              <a:gd name="connsiteY7" fmla="*/ 409848 h 4274820"/>
              <a:gd name="connsiteX8" fmla="*/ 3424306 w 3424306"/>
              <a:gd name="connsiteY8" fmla="*/ 0 h 4274820"/>
              <a:gd name="connsiteX9" fmla="*/ 3417775 w 3424306"/>
              <a:gd name="connsiteY9" fmla="*/ 4274820 h 4274820"/>
              <a:gd name="connsiteX10" fmla="*/ 0 w 3424306"/>
              <a:gd name="connsiteY10" fmla="*/ 4268290 h 4274820"/>
              <a:gd name="connsiteX0" fmla="*/ 0 w 3424306"/>
              <a:gd name="connsiteY0" fmla="*/ 4268290 h 4274820"/>
              <a:gd name="connsiteX1" fmla="*/ 1 w 3424306"/>
              <a:gd name="connsiteY1" fmla="*/ 3016908 h 4274820"/>
              <a:gd name="connsiteX2" fmla="*/ 347188 w 3424306"/>
              <a:gd name="connsiteY2" fmla="*/ 2254772 h 4274820"/>
              <a:gd name="connsiteX3" fmla="*/ 853782 w 3424306"/>
              <a:gd name="connsiteY3" fmla="*/ 1927996 h 4274820"/>
              <a:gd name="connsiteX4" fmla="*/ 1416097 w 3424306"/>
              <a:gd name="connsiteY4" fmla="*/ 1537131 h 4274820"/>
              <a:gd name="connsiteX5" fmla="*/ 1903505 w 3424306"/>
              <a:gd name="connsiteY5" fmla="*/ 1163411 h 4274820"/>
              <a:gd name="connsiteX6" fmla="*/ 2350703 w 3424306"/>
              <a:gd name="connsiteY6" fmla="*/ 837452 h 4274820"/>
              <a:gd name="connsiteX7" fmla="*/ 2888117 w 3424306"/>
              <a:gd name="connsiteY7" fmla="*/ 409848 h 4274820"/>
              <a:gd name="connsiteX8" fmla="*/ 3424306 w 3424306"/>
              <a:gd name="connsiteY8" fmla="*/ 0 h 4274820"/>
              <a:gd name="connsiteX9" fmla="*/ 3417775 w 3424306"/>
              <a:gd name="connsiteY9" fmla="*/ 4274820 h 4274820"/>
              <a:gd name="connsiteX10" fmla="*/ 0 w 3424306"/>
              <a:gd name="connsiteY10" fmla="*/ 4268290 h 4274820"/>
              <a:gd name="connsiteX0" fmla="*/ 0 w 3424306"/>
              <a:gd name="connsiteY0" fmla="*/ 4268290 h 4274820"/>
              <a:gd name="connsiteX1" fmla="*/ 6532 w 3424306"/>
              <a:gd name="connsiteY1" fmla="*/ 2468268 h 4274820"/>
              <a:gd name="connsiteX2" fmla="*/ 347188 w 3424306"/>
              <a:gd name="connsiteY2" fmla="*/ 2254772 h 4274820"/>
              <a:gd name="connsiteX3" fmla="*/ 853782 w 3424306"/>
              <a:gd name="connsiteY3" fmla="*/ 1927996 h 4274820"/>
              <a:gd name="connsiteX4" fmla="*/ 1416097 w 3424306"/>
              <a:gd name="connsiteY4" fmla="*/ 1537131 h 4274820"/>
              <a:gd name="connsiteX5" fmla="*/ 1903505 w 3424306"/>
              <a:gd name="connsiteY5" fmla="*/ 1163411 h 4274820"/>
              <a:gd name="connsiteX6" fmla="*/ 2350703 w 3424306"/>
              <a:gd name="connsiteY6" fmla="*/ 837452 h 4274820"/>
              <a:gd name="connsiteX7" fmla="*/ 2888117 w 3424306"/>
              <a:gd name="connsiteY7" fmla="*/ 409848 h 4274820"/>
              <a:gd name="connsiteX8" fmla="*/ 3424306 w 3424306"/>
              <a:gd name="connsiteY8" fmla="*/ 0 h 4274820"/>
              <a:gd name="connsiteX9" fmla="*/ 3417775 w 3424306"/>
              <a:gd name="connsiteY9" fmla="*/ 4274820 h 4274820"/>
              <a:gd name="connsiteX10" fmla="*/ 0 w 3424306"/>
              <a:gd name="connsiteY10" fmla="*/ 4268290 h 4274820"/>
              <a:gd name="connsiteX0" fmla="*/ 0 w 3692095"/>
              <a:gd name="connsiteY0" fmla="*/ 4274821 h 4274821"/>
              <a:gd name="connsiteX1" fmla="*/ 274321 w 3692095"/>
              <a:gd name="connsiteY1" fmla="*/ 2468268 h 4274821"/>
              <a:gd name="connsiteX2" fmla="*/ 614977 w 3692095"/>
              <a:gd name="connsiteY2" fmla="*/ 2254772 h 4274821"/>
              <a:gd name="connsiteX3" fmla="*/ 1121571 w 3692095"/>
              <a:gd name="connsiteY3" fmla="*/ 1927996 h 4274821"/>
              <a:gd name="connsiteX4" fmla="*/ 1683886 w 3692095"/>
              <a:gd name="connsiteY4" fmla="*/ 1537131 h 4274821"/>
              <a:gd name="connsiteX5" fmla="*/ 2171294 w 3692095"/>
              <a:gd name="connsiteY5" fmla="*/ 1163411 h 4274821"/>
              <a:gd name="connsiteX6" fmla="*/ 2618492 w 3692095"/>
              <a:gd name="connsiteY6" fmla="*/ 837452 h 4274821"/>
              <a:gd name="connsiteX7" fmla="*/ 3155906 w 3692095"/>
              <a:gd name="connsiteY7" fmla="*/ 409848 h 4274821"/>
              <a:gd name="connsiteX8" fmla="*/ 3692095 w 3692095"/>
              <a:gd name="connsiteY8" fmla="*/ 0 h 4274821"/>
              <a:gd name="connsiteX9" fmla="*/ 3685564 w 3692095"/>
              <a:gd name="connsiteY9" fmla="*/ 4274820 h 4274821"/>
              <a:gd name="connsiteX10" fmla="*/ 0 w 3692095"/>
              <a:gd name="connsiteY10" fmla="*/ 4274821 h 4274821"/>
              <a:gd name="connsiteX0" fmla="*/ 19593 w 3711688"/>
              <a:gd name="connsiteY0" fmla="*/ 4274821 h 4274821"/>
              <a:gd name="connsiteX1" fmla="*/ 0 w 3711688"/>
              <a:gd name="connsiteY1" fmla="*/ 2618491 h 4274821"/>
              <a:gd name="connsiteX2" fmla="*/ 634570 w 3711688"/>
              <a:gd name="connsiteY2" fmla="*/ 2254772 h 4274821"/>
              <a:gd name="connsiteX3" fmla="*/ 1141164 w 3711688"/>
              <a:gd name="connsiteY3" fmla="*/ 1927996 h 4274821"/>
              <a:gd name="connsiteX4" fmla="*/ 1703479 w 3711688"/>
              <a:gd name="connsiteY4" fmla="*/ 1537131 h 4274821"/>
              <a:gd name="connsiteX5" fmla="*/ 2190887 w 3711688"/>
              <a:gd name="connsiteY5" fmla="*/ 1163411 h 4274821"/>
              <a:gd name="connsiteX6" fmla="*/ 2638085 w 3711688"/>
              <a:gd name="connsiteY6" fmla="*/ 837452 h 4274821"/>
              <a:gd name="connsiteX7" fmla="*/ 3175499 w 3711688"/>
              <a:gd name="connsiteY7" fmla="*/ 409848 h 4274821"/>
              <a:gd name="connsiteX8" fmla="*/ 3711688 w 3711688"/>
              <a:gd name="connsiteY8" fmla="*/ 0 h 4274821"/>
              <a:gd name="connsiteX9" fmla="*/ 3705157 w 3711688"/>
              <a:gd name="connsiteY9" fmla="*/ 4274820 h 4274821"/>
              <a:gd name="connsiteX10" fmla="*/ 19593 w 3711688"/>
              <a:gd name="connsiteY10" fmla="*/ 4274821 h 4274821"/>
              <a:gd name="connsiteX0" fmla="*/ 0 w 3692095"/>
              <a:gd name="connsiteY0" fmla="*/ 4274821 h 4274821"/>
              <a:gd name="connsiteX1" fmla="*/ 13064 w 3692095"/>
              <a:gd name="connsiteY1" fmla="*/ 2605428 h 4274821"/>
              <a:gd name="connsiteX2" fmla="*/ 614977 w 3692095"/>
              <a:gd name="connsiteY2" fmla="*/ 2254772 h 4274821"/>
              <a:gd name="connsiteX3" fmla="*/ 1121571 w 3692095"/>
              <a:gd name="connsiteY3" fmla="*/ 1927996 h 4274821"/>
              <a:gd name="connsiteX4" fmla="*/ 1683886 w 3692095"/>
              <a:gd name="connsiteY4" fmla="*/ 1537131 h 4274821"/>
              <a:gd name="connsiteX5" fmla="*/ 2171294 w 3692095"/>
              <a:gd name="connsiteY5" fmla="*/ 1163411 h 4274821"/>
              <a:gd name="connsiteX6" fmla="*/ 2618492 w 3692095"/>
              <a:gd name="connsiteY6" fmla="*/ 837452 h 4274821"/>
              <a:gd name="connsiteX7" fmla="*/ 3155906 w 3692095"/>
              <a:gd name="connsiteY7" fmla="*/ 409848 h 4274821"/>
              <a:gd name="connsiteX8" fmla="*/ 3692095 w 3692095"/>
              <a:gd name="connsiteY8" fmla="*/ 0 h 4274821"/>
              <a:gd name="connsiteX9" fmla="*/ 3685564 w 3692095"/>
              <a:gd name="connsiteY9" fmla="*/ 4274820 h 4274821"/>
              <a:gd name="connsiteX10" fmla="*/ 0 w 3692095"/>
              <a:gd name="connsiteY10" fmla="*/ 4274821 h 4274821"/>
              <a:gd name="connsiteX0" fmla="*/ 0 w 3692095"/>
              <a:gd name="connsiteY0" fmla="*/ 4274821 h 4274821"/>
              <a:gd name="connsiteX1" fmla="*/ 13064 w 3692095"/>
              <a:gd name="connsiteY1" fmla="*/ 2605428 h 4274821"/>
              <a:gd name="connsiteX2" fmla="*/ 614977 w 3692095"/>
              <a:gd name="connsiteY2" fmla="*/ 2254772 h 4274821"/>
              <a:gd name="connsiteX3" fmla="*/ 1121571 w 3692095"/>
              <a:gd name="connsiteY3" fmla="*/ 1927996 h 4274821"/>
              <a:gd name="connsiteX4" fmla="*/ 1683886 w 3692095"/>
              <a:gd name="connsiteY4" fmla="*/ 1537131 h 4274821"/>
              <a:gd name="connsiteX5" fmla="*/ 2171294 w 3692095"/>
              <a:gd name="connsiteY5" fmla="*/ 1163411 h 4274821"/>
              <a:gd name="connsiteX6" fmla="*/ 2618492 w 3692095"/>
              <a:gd name="connsiteY6" fmla="*/ 837452 h 4274821"/>
              <a:gd name="connsiteX7" fmla="*/ 3155906 w 3692095"/>
              <a:gd name="connsiteY7" fmla="*/ 409848 h 4274821"/>
              <a:gd name="connsiteX8" fmla="*/ 3692095 w 3692095"/>
              <a:gd name="connsiteY8" fmla="*/ 0 h 4274821"/>
              <a:gd name="connsiteX9" fmla="*/ 3685564 w 3692095"/>
              <a:gd name="connsiteY9" fmla="*/ 4274820 h 4274821"/>
              <a:gd name="connsiteX10" fmla="*/ 0 w 3692095"/>
              <a:gd name="connsiteY10" fmla="*/ 4274821 h 4274821"/>
              <a:gd name="connsiteX0" fmla="*/ 13062 w 3705157"/>
              <a:gd name="connsiteY0" fmla="*/ 4274821 h 4274821"/>
              <a:gd name="connsiteX1" fmla="*/ 0 w 3705157"/>
              <a:gd name="connsiteY1" fmla="*/ 2605428 h 4274821"/>
              <a:gd name="connsiteX2" fmla="*/ 628039 w 3705157"/>
              <a:gd name="connsiteY2" fmla="*/ 2254772 h 4274821"/>
              <a:gd name="connsiteX3" fmla="*/ 1134633 w 3705157"/>
              <a:gd name="connsiteY3" fmla="*/ 1927996 h 4274821"/>
              <a:gd name="connsiteX4" fmla="*/ 1696948 w 3705157"/>
              <a:gd name="connsiteY4" fmla="*/ 1537131 h 4274821"/>
              <a:gd name="connsiteX5" fmla="*/ 2184356 w 3705157"/>
              <a:gd name="connsiteY5" fmla="*/ 1163411 h 4274821"/>
              <a:gd name="connsiteX6" fmla="*/ 2631554 w 3705157"/>
              <a:gd name="connsiteY6" fmla="*/ 837452 h 4274821"/>
              <a:gd name="connsiteX7" fmla="*/ 3168968 w 3705157"/>
              <a:gd name="connsiteY7" fmla="*/ 409848 h 4274821"/>
              <a:gd name="connsiteX8" fmla="*/ 3705157 w 3705157"/>
              <a:gd name="connsiteY8" fmla="*/ 0 h 4274821"/>
              <a:gd name="connsiteX9" fmla="*/ 3698626 w 3705157"/>
              <a:gd name="connsiteY9" fmla="*/ 4274820 h 4274821"/>
              <a:gd name="connsiteX10" fmla="*/ 13062 w 3705157"/>
              <a:gd name="connsiteY10" fmla="*/ 4274821 h 4274821"/>
              <a:gd name="connsiteX0" fmla="*/ 6530 w 3698625"/>
              <a:gd name="connsiteY0" fmla="*/ 4274821 h 4274821"/>
              <a:gd name="connsiteX1" fmla="*/ 0 w 3698625"/>
              <a:gd name="connsiteY1" fmla="*/ 2605428 h 4274821"/>
              <a:gd name="connsiteX2" fmla="*/ 621507 w 3698625"/>
              <a:gd name="connsiteY2" fmla="*/ 2254772 h 4274821"/>
              <a:gd name="connsiteX3" fmla="*/ 1128101 w 3698625"/>
              <a:gd name="connsiteY3" fmla="*/ 1927996 h 4274821"/>
              <a:gd name="connsiteX4" fmla="*/ 1690416 w 3698625"/>
              <a:gd name="connsiteY4" fmla="*/ 1537131 h 4274821"/>
              <a:gd name="connsiteX5" fmla="*/ 2177824 w 3698625"/>
              <a:gd name="connsiteY5" fmla="*/ 1163411 h 4274821"/>
              <a:gd name="connsiteX6" fmla="*/ 2625022 w 3698625"/>
              <a:gd name="connsiteY6" fmla="*/ 837452 h 4274821"/>
              <a:gd name="connsiteX7" fmla="*/ 3162436 w 3698625"/>
              <a:gd name="connsiteY7" fmla="*/ 409848 h 4274821"/>
              <a:gd name="connsiteX8" fmla="*/ 3698625 w 3698625"/>
              <a:gd name="connsiteY8" fmla="*/ 0 h 4274821"/>
              <a:gd name="connsiteX9" fmla="*/ 3692094 w 3698625"/>
              <a:gd name="connsiteY9" fmla="*/ 4274820 h 4274821"/>
              <a:gd name="connsiteX10" fmla="*/ 6530 w 3698625"/>
              <a:gd name="connsiteY10" fmla="*/ 4274821 h 4274821"/>
              <a:gd name="connsiteX0" fmla="*/ 6530 w 3698625"/>
              <a:gd name="connsiteY0" fmla="*/ 4274821 h 4274821"/>
              <a:gd name="connsiteX1" fmla="*/ 0 w 3698625"/>
              <a:gd name="connsiteY1" fmla="*/ 2598897 h 4274821"/>
              <a:gd name="connsiteX2" fmla="*/ 621507 w 3698625"/>
              <a:gd name="connsiteY2" fmla="*/ 2254772 h 4274821"/>
              <a:gd name="connsiteX3" fmla="*/ 1128101 w 3698625"/>
              <a:gd name="connsiteY3" fmla="*/ 1927996 h 4274821"/>
              <a:gd name="connsiteX4" fmla="*/ 1690416 w 3698625"/>
              <a:gd name="connsiteY4" fmla="*/ 1537131 h 4274821"/>
              <a:gd name="connsiteX5" fmla="*/ 2177824 w 3698625"/>
              <a:gd name="connsiteY5" fmla="*/ 1163411 h 4274821"/>
              <a:gd name="connsiteX6" fmla="*/ 2625022 w 3698625"/>
              <a:gd name="connsiteY6" fmla="*/ 837452 h 4274821"/>
              <a:gd name="connsiteX7" fmla="*/ 3162436 w 3698625"/>
              <a:gd name="connsiteY7" fmla="*/ 409848 h 4274821"/>
              <a:gd name="connsiteX8" fmla="*/ 3698625 w 3698625"/>
              <a:gd name="connsiteY8" fmla="*/ 0 h 4274821"/>
              <a:gd name="connsiteX9" fmla="*/ 3692094 w 3698625"/>
              <a:gd name="connsiteY9" fmla="*/ 4274820 h 4274821"/>
              <a:gd name="connsiteX10" fmla="*/ 6530 w 3698625"/>
              <a:gd name="connsiteY10" fmla="*/ 4274821 h 4274821"/>
              <a:gd name="connsiteX0" fmla="*/ 0 w 3692095"/>
              <a:gd name="connsiteY0" fmla="*/ 4274821 h 4274821"/>
              <a:gd name="connsiteX1" fmla="*/ 45721 w 3692095"/>
              <a:gd name="connsiteY1" fmla="*/ 2487863 h 4274821"/>
              <a:gd name="connsiteX2" fmla="*/ 614977 w 3692095"/>
              <a:gd name="connsiteY2" fmla="*/ 2254772 h 4274821"/>
              <a:gd name="connsiteX3" fmla="*/ 1121571 w 3692095"/>
              <a:gd name="connsiteY3" fmla="*/ 1927996 h 4274821"/>
              <a:gd name="connsiteX4" fmla="*/ 1683886 w 3692095"/>
              <a:gd name="connsiteY4" fmla="*/ 1537131 h 4274821"/>
              <a:gd name="connsiteX5" fmla="*/ 2171294 w 3692095"/>
              <a:gd name="connsiteY5" fmla="*/ 1163411 h 4274821"/>
              <a:gd name="connsiteX6" fmla="*/ 2618492 w 3692095"/>
              <a:gd name="connsiteY6" fmla="*/ 837452 h 4274821"/>
              <a:gd name="connsiteX7" fmla="*/ 3155906 w 3692095"/>
              <a:gd name="connsiteY7" fmla="*/ 409848 h 4274821"/>
              <a:gd name="connsiteX8" fmla="*/ 3692095 w 3692095"/>
              <a:gd name="connsiteY8" fmla="*/ 0 h 4274821"/>
              <a:gd name="connsiteX9" fmla="*/ 3685564 w 3692095"/>
              <a:gd name="connsiteY9" fmla="*/ 4274820 h 4274821"/>
              <a:gd name="connsiteX10" fmla="*/ 0 w 3692095"/>
              <a:gd name="connsiteY10" fmla="*/ 4274821 h 4274821"/>
              <a:gd name="connsiteX0" fmla="*/ 0 w 3692095"/>
              <a:gd name="connsiteY0" fmla="*/ 4274821 h 4274821"/>
              <a:gd name="connsiteX1" fmla="*/ 45721 w 3692095"/>
              <a:gd name="connsiteY1" fmla="*/ 2487863 h 4274821"/>
              <a:gd name="connsiteX2" fmla="*/ 608445 w 3692095"/>
              <a:gd name="connsiteY2" fmla="*/ 2235177 h 4274821"/>
              <a:gd name="connsiteX3" fmla="*/ 1121571 w 3692095"/>
              <a:gd name="connsiteY3" fmla="*/ 1927996 h 4274821"/>
              <a:gd name="connsiteX4" fmla="*/ 1683886 w 3692095"/>
              <a:gd name="connsiteY4" fmla="*/ 1537131 h 4274821"/>
              <a:gd name="connsiteX5" fmla="*/ 2171294 w 3692095"/>
              <a:gd name="connsiteY5" fmla="*/ 1163411 h 4274821"/>
              <a:gd name="connsiteX6" fmla="*/ 2618492 w 3692095"/>
              <a:gd name="connsiteY6" fmla="*/ 837452 h 4274821"/>
              <a:gd name="connsiteX7" fmla="*/ 3155906 w 3692095"/>
              <a:gd name="connsiteY7" fmla="*/ 409848 h 4274821"/>
              <a:gd name="connsiteX8" fmla="*/ 3692095 w 3692095"/>
              <a:gd name="connsiteY8" fmla="*/ 0 h 4274821"/>
              <a:gd name="connsiteX9" fmla="*/ 3685564 w 3692095"/>
              <a:gd name="connsiteY9" fmla="*/ 4274820 h 4274821"/>
              <a:gd name="connsiteX10" fmla="*/ 0 w 3692095"/>
              <a:gd name="connsiteY10" fmla="*/ 4274821 h 4274821"/>
              <a:gd name="connsiteX0" fmla="*/ 0 w 3692095"/>
              <a:gd name="connsiteY0" fmla="*/ 4274821 h 4274821"/>
              <a:gd name="connsiteX1" fmla="*/ 45721 w 3692095"/>
              <a:gd name="connsiteY1" fmla="*/ 2487863 h 4274821"/>
              <a:gd name="connsiteX2" fmla="*/ 608445 w 3692095"/>
              <a:gd name="connsiteY2" fmla="*/ 2235177 h 4274821"/>
              <a:gd name="connsiteX3" fmla="*/ 1147697 w 3692095"/>
              <a:gd name="connsiteY3" fmla="*/ 1941059 h 4274821"/>
              <a:gd name="connsiteX4" fmla="*/ 1683886 w 3692095"/>
              <a:gd name="connsiteY4" fmla="*/ 1537131 h 4274821"/>
              <a:gd name="connsiteX5" fmla="*/ 2171294 w 3692095"/>
              <a:gd name="connsiteY5" fmla="*/ 1163411 h 4274821"/>
              <a:gd name="connsiteX6" fmla="*/ 2618492 w 3692095"/>
              <a:gd name="connsiteY6" fmla="*/ 837452 h 4274821"/>
              <a:gd name="connsiteX7" fmla="*/ 3155906 w 3692095"/>
              <a:gd name="connsiteY7" fmla="*/ 409848 h 4274821"/>
              <a:gd name="connsiteX8" fmla="*/ 3692095 w 3692095"/>
              <a:gd name="connsiteY8" fmla="*/ 0 h 4274821"/>
              <a:gd name="connsiteX9" fmla="*/ 3685564 w 3692095"/>
              <a:gd name="connsiteY9" fmla="*/ 4274820 h 4274821"/>
              <a:gd name="connsiteX10" fmla="*/ 0 w 3692095"/>
              <a:gd name="connsiteY10" fmla="*/ 4274821 h 4274821"/>
              <a:gd name="connsiteX0" fmla="*/ 0 w 3692095"/>
              <a:gd name="connsiteY0" fmla="*/ 4274821 h 4274821"/>
              <a:gd name="connsiteX1" fmla="*/ 45721 w 3692095"/>
              <a:gd name="connsiteY1" fmla="*/ 2487863 h 4274821"/>
              <a:gd name="connsiteX2" fmla="*/ 608445 w 3692095"/>
              <a:gd name="connsiteY2" fmla="*/ 2235177 h 4274821"/>
              <a:gd name="connsiteX3" fmla="*/ 1147697 w 3692095"/>
              <a:gd name="connsiteY3" fmla="*/ 1941059 h 4274821"/>
              <a:gd name="connsiteX4" fmla="*/ 1755732 w 3692095"/>
              <a:gd name="connsiteY4" fmla="*/ 1595914 h 4274821"/>
              <a:gd name="connsiteX5" fmla="*/ 2171294 w 3692095"/>
              <a:gd name="connsiteY5" fmla="*/ 1163411 h 4274821"/>
              <a:gd name="connsiteX6" fmla="*/ 2618492 w 3692095"/>
              <a:gd name="connsiteY6" fmla="*/ 837452 h 4274821"/>
              <a:gd name="connsiteX7" fmla="*/ 3155906 w 3692095"/>
              <a:gd name="connsiteY7" fmla="*/ 409848 h 4274821"/>
              <a:gd name="connsiteX8" fmla="*/ 3692095 w 3692095"/>
              <a:gd name="connsiteY8" fmla="*/ 0 h 4274821"/>
              <a:gd name="connsiteX9" fmla="*/ 3685564 w 3692095"/>
              <a:gd name="connsiteY9" fmla="*/ 4274820 h 4274821"/>
              <a:gd name="connsiteX10" fmla="*/ 0 w 3692095"/>
              <a:gd name="connsiteY10" fmla="*/ 4274821 h 4274821"/>
              <a:gd name="connsiteX0" fmla="*/ 0 w 3692095"/>
              <a:gd name="connsiteY0" fmla="*/ 4274821 h 4274821"/>
              <a:gd name="connsiteX1" fmla="*/ 45721 w 3692095"/>
              <a:gd name="connsiteY1" fmla="*/ 2487863 h 4274821"/>
              <a:gd name="connsiteX2" fmla="*/ 608445 w 3692095"/>
              <a:gd name="connsiteY2" fmla="*/ 2235177 h 4274821"/>
              <a:gd name="connsiteX3" fmla="*/ 1147697 w 3692095"/>
              <a:gd name="connsiteY3" fmla="*/ 1941059 h 4274821"/>
              <a:gd name="connsiteX4" fmla="*/ 1755732 w 3692095"/>
              <a:gd name="connsiteY4" fmla="*/ 1595914 h 4274821"/>
              <a:gd name="connsiteX5" fmla="*/ 2295391 w 3692095"/>
              <a:gd name="connsiteY5" fmla="*/ 1267914 h 4274821"/>
              <a:gd name="connsiteX6" fmla="*/ 2618492 w 3692095"/>
              <a:gd name="connsiteY6" fmla="*/ 837452 h 4274821"/>
              <a:gd name="connsiteX7" fmla="*/ 3155906 w 3692095"/>
              <a:gd name="connsiteY7" fmla="*/ 409848 h 4274821"/>
              <a:gd name="connsiteX8" fmla="*/ 3692095 w 3692095"/>
              <a:gd name="connsiteY8" fmla="*/ 0 h 4274821"/>
              <a:gd name="connsiteX9" fmla="*/ 3685564 w 3692095"/>
              <a:gd name="connsiteY9" fmla="*/ 4274820 h 4274821"/>
              <a:gd name="connsiteX10" fmla="*/ 0 w 3692095"/>
              <a:gd name="connsiteY10" fmla="*/ 4274821 h 4274821"/>
              <a:gd name="connsiteX0" fmla="*/ 0 w 3692095"/>
              <a:gd name="connsiteY0" fmla="*/ 4274821 h 4274821"/>
              <a:gd name="connsiteX1" fmla="*/ 45721 w 3692095"/>
              <a:gd name="connsiteY1" fmla="*/ 2487863 h 4274821"/>
              <a:gd name="connsiteX2" fmla="*/ 608445 w 3692095"/>
              <a:gd name="connsiteY2" fmla="*/ 2235177 h 4274821"/>
              <a:gd name="connsiteX3" fmla="*/ 1147697 w 3692095"/>
              <a:gd name="connsiteY3" fmla="*/ 1941059 h 4274821"/>
              <a:gd name="connsiteX4" fmla="*/ 1755732 w 3692095"/>
              <a:gd name="connsiteY4" fmla="*/ 1595914 h 4274821"/>
              <a:gd name="connsiteX5" fmla="*/ 2295391 w 3692095"/>
              <a:gd name="connsiteY5" fmla="*/ 1267914 h 4274821"/>
              <a:gd name="connsiteX6" fmla="*/ 2775247 w 3692095"/>
              <a:gd name="connsiteY6" fmla="*/ 968080 h 4274821"/>
              <a:gd name="connsiteX7" fmla="*/ 3155906 w 3692095"/>
              <a:gd name="connsiteY7" fmla="*/ 409848 h 4274821"/>
              <a:gd name="connsiteX8" fmla="*/ 3692095 w 3692095"/>
              <a:gd name="connsiteY8" fmla="*/ 0 h 4274821"/>
              <a:gd name="connsiteX9" fmla="*/ 3685564 w 3692095"/>
              <a:gd name="connsiteY9" fmla="*/ 4274820 h 4274821"/>
              <a:gd name="connsiteX10" fmla="*/ 0 w 3692095"/>
              <a:gd name="connsiteY10" fmla="*/ 4274821 h 4274821"/>
              <a:gd name="connsiteX0" fmla="*/ 0 w 3692095"/>
              <a:gd name="connsiteY0" fmla="*/ 4274821 h 4274821"/>
              <a:gd name="connsiteX1" fmla="*/ 45721 w 3692095"/>
              <a:gd name="connsiteY1" fmla="*/ 2487863 h 4274821"/>
              <a:gd name="connsiteX2" fmla="*/ 608445 w 3692095"/>
              <a:gd name="connsiteY2" fmla="*/ 2235177 h 4274821"/>
              <a:gd name="connsiteX3" fmla="*/ 1147697 w 3692095"/>
              <a:gd name="connsiteY3" fmla="*/ 1941059 h 4274821"/>
              <a:gd name="connsiteX4" fmla="*/ 1755732 w 3692095"/>
              <a:gd name="connsiteY4" fmla="*/ 1595914 h 4274821"/>
              <a:gd name="connsiteX5" fmla="*/ 2295391 w 3692095"/>
              <a:gd name="connsiteY5" fmla="*/ 1267914 h 4274821"/>
              <a:gd name="connsiteX6" fmla="*/ 2775247 w 3692095"/>
              <a:gd name="connsiteY6" fmla="*/ 968080 h 4274821"/>
              <a:gd name="connsiteX7" fmla="*/ 3253877 w 3692095"/>
              <a:gd name="connsiteY7" fmla="*/ 658042 h 4274821"/>
              <a:gd name="connsiteX8" fmla="*/ 3692095 w 3692095"/>
              <a:gd name="connsiteY8" fmla="*/ 0 h 4274821"/>
              <a:gd name="connsiteX9" fmla="*/ 3685564 w 3692095"/>
              <a:gd name="connsiteY9" fmla="*/ 4274820 h 4274821"/>
              <a:gd name="connsiteX10" fmla="*/ 0 w 3692095"/>
              <a:gd name="connsiteY10" fmla="*/ 4274821 h 4274821"/>
              <a:gd name="connsiteX0" fmla="*/ 0 w 3685564"/>
              <a:gd name="connsiteY0" fmla="*/ 3889467 h 3889467"/>
              <a:gd name="connsiteX1" fmla="*/ 45721 w 3685564"/>
              <a:gd name="connsiteY1" fmla="*/ 2102509 h 3889467"/>
              <a:gd name="connsiteX2" fmla="*/ 608445 w 3685564"/>
              <a:gd name="connsiteY2" fmla="*/ 1849823 h 3889467"/>
              <a:gd name="connsiteX3" fmla="*/ 1147697 w 3685564"/>
              <a:gd name="connsiteY3" fmla="*/ 1555705 h 3889467"/>
              <a:gd name="connsiteX4" fmla="*/ 1755732 w 3685564"/>
              <a:gd name="connsiteY4" fmla="*/ 1210560 h 3889467"/>
              <a:gd name="connsiteX5" fmla="*/ 2295391 w 3685564"/>
              <a:gd name="connsiteY5" fmla="*/ 882560 h 3889467"/>
              <a:gd name="connsiteX6" fmla="*/ 2775247 w 3685564"/>
              <a:gd name="connsiteY6" fmla="*/ 582726 h 3889467"/>
              <a:gd name="connsiteX7" fmla="*/ 3253877 w 3685564"/>
              <a:gd name="connsiteY7" fmla="*/ 272688 h 3889467"/>
              <a:gd name="connsiteX8" fmla="*/ 3685564 w 3685564"/>
              <a:gd name="connsiteY8" fmla="*/ 0 h 3889467"/>
              <a:gd name="connsiteX9" fmla="*/ 3685564 w 3685564"/>
              <a:gd name="connsiteY9" fmla="*/ 3889466 h 3889467"/>
              <a:gd name="connsiteX10" fmla="*/ 0 w 3685564"/>
              <a:gd name="connsiteY10" fmla="*/ 3889467 h 3889467"/>
              <a:gd name="connsiteX0" fmla="*/ 6530 w 3692094"/>
              <a:gd name="connsiteY0" fmla="*/ 3889467 h 3889467"/>
              <a:gd name="connsiteX1" fmla="*/ 0 w 3692094"/>
              <a:gd name="connsiteY1" fmla="*/ 2115572 h 3889467"/>
              <a:gd name="connsiteX2" fmla="*/ 614975 w 3692094"/>
              <a:gd name="connsiteY2" fmla="*/ 1849823 h 3889467"/>
              <a:gd name="connsiteX3" fmla="*/ 1154227 w 3692094"/>
              <a:gd name="connsiteY3" fmla="*/ 1555705 h 3889467"/>
              <a:gd name="connsiteX4" fmla="*/ 1762262 w 3692094"/>
              <a:gd name="connsiteY4" fmla="*/ 1210560 h 3889467"/>
              <a:gd name="connsiteX5" fmla="*/ 2301921 w 3692094"/>
              <a:gd name="connsiteY5" fmla="*/ 882560 h 3889467"/>
              <a:gd name="connsiteX6" fmla="*/ 2781777 w 3692094"/>
              <a:gd name="connsiteY6" fmla="*/ 582726 h 3889467"/>
              <a:gd name="connsiteX7" fmla="*/ 3260407 w 3692094"/>
              <a:gd name="connsiteY7" fmla="*/ 272688 h 3889467"/>
              <a:gd name="connsiteX8" fmla="*/ 3692094 w 3692094"/>
              <a:gd name="connsiteY8" fmla="*/ 0 h 3889467"/>
              <a:gd name="connsiteX9" fmla="*/ 3692094 w 3692094"/>
              <a:gd name="connsiteY9" fmla="*/ 3889466 h 3889467"/>
              <a:gd name="connsiteX10" fmla="*/ 6530 w 3692094"/>
              <a:gd name="connsiteY10" fmla="*/ 3889467 h 38894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3692094" h="3889467">
                <a:moveTo>
                  <a:pt x="6530" y="3889467"/>
                </a:moveTo>
                <a:cubicBezTo>
                  <a:pt x="6530" y="3472340"/>
                  <a:pt x="0" y="2532699"/>
                  <a:pt x="0" y="2115572"/>
                </a:cubicBezTo>
                <a:lnTo>
                  <a:pt x="614975" y="1849823"/>
                </a:lnTo>
                <a:lnTo>
                  <a:pt x="1154227" y="1555705"/>
                </a:lnTo>
                <a:lnTo>
                  <a:pt x="1762262" y="1210560"/>
                </a:lnTo>
                <a:lnTo>
                  <a:pt x="2301921" y="882560"/>
                </a:lnTo>
                <a:lnTo>
                  <a:pt x="2781777" y="582726"/>
                </a:lnTo>
                <a:lnTo>
                  <a:pt x="3260407" y="272688"/>
                </a:lnTo>
                <a:lnTo>
                  <a:pt x="3692094" y="0"/>
                </a:lnTo>
                <a:lnTo>
                  <a:pt x="3692094" y="3889466"/>
                </a:lnTo>
                <a:lnTo>
                  <a:pt x="6530" y="3889467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1BF04DAA-CA94-7095-B87A-E8AB188FD4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PT" dirty="0"/>
              <a:t>Ejemplo de título de slide</a:t>
            </a:r>
          </a:p>
        </p:txBody>
      </p:sp>
      <p:sp>
        <p:nvSpPr>
          <p:cNvPr id="3" name="Marcador de Posição do Texto 2">
            <a:extLst>
              <a:ext uri="{FF2B5EF4-FFF2-40B4-BE49-F238E27FC236}">
                <a16:creationId xmlns:a16="http://schemas.microsoft.com/office/drawing/2014/main" id="{6537A07B-1493-7909-5BCA-2D3188A6E8F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>
            <a:normAutofit lnSpcReduction="10000"/>
          </a:bodyPr>
          <a:lstStyle/>
          <a:p>
            <a:r>
              <a:rPr lang="pt-PT" dirty="0"/>
              <a:t>Ejemplo de subtítulo de slide</a:t>
            </a:r>
          </a:p>
        </p:txBody>
      </p:sp>
      <p:sp>
        <p:nvSpPr>
          <p:cNvPr id="4" name="Marcador de Posição do Texto 3">
            <a:extLst>
              <a:ext uri="{FF2B5EF4-FFF2-40B4-BE49-F238E27FC236}">
                <a16:creationId xmlns:a16="http://schemas.microsoft.com/office/drawing/2014/main" id="{AD937A1B-7129-A88B-2016-F7E3859CD3EE}"/>
              </a:ext>
            </a:extLst>
          </p:cNvPr>
          <p:cNvSpPr>
            <a:spLocks noGrp="1"/>
          </p:cNvSpPr>
          <p:nvPr>
            <p:ph type="body" sz="quarter" idx="77"/>
          </p:nvPr>
        </p:nvSpPr>
        <p:spPr/>
        <p:txBody>
          <a:bodyPr/>
          <a:lstStyle/>
          <a:p>
            <a:r>
              <a:rPr lang="en-US" dirty="0"/>
              <a:t>Access to data, integration of data sources and data quality to make sense of your data</a:t>
            </a:r>
          </a:p>
          <a:p>
            <a:r>
              <a:rPr lang="en-US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F0</a:t>
            </a:r>
            <a:r>
              <a:rPr lang="en-US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: Data</a:t>
            </a:r>
          </a:p>
          <a:p>
            <a:endParaRPr lang="pt-PT" dirty="0"/>
          </a:p>
        </p:txBody>
      </p:sp>
      <p:sp>
        <p:nvSpPr>
          <p:cNvPr id="5" name="Marcador de Posição do Texto 4">
            <a:extLst>
              <a:ext uri="{FF2B5EF4-FFF2-40B4-BE49-F238E27FC236}">
                <a16:creationId xmlns:a16="http://schemas.microsoft.com/office/drawing/2014/main" id="{A9E97C87-E39B-9269-48EA-6A26C273F026}"/>
              </a:ext>
            </a:extLst>
          </p:cNvPr>
          <p:cNvSpPr>
            <a:spLocks noGrp="1"/>
          </p:cNvSpPr>
          <p:nvPr>
            <p:ph type="body" sz="quarter" idx="79"/>
          </p:nvPr>
        </p:nvSpPr>
        <p:spPr/>
        <p:txBody>
          <a:bodyPr/>
          <a:lstStyle/>
          <a:p>
            <a:r>
              <a:rPr lang="en-US" dirty="0"/>
              <a:t>Do I have</a:t>
            </a:r>
            <a:br>
              <a:rPr lang="en-US" dirty="0"/>
            </a:br>
            <a:r>
              <a:rPr lang="en-US" dirty="0"/>
              <a:t>the base?</a:t>
            </a:r>
          </a:p>
        </p:txBody>
      </p:sp>
      <p:sp>
        <p:nvSpPr>
          <p:cNvPr id="6" name="Marcador de Posição do Texto 5">
            <a:extLst>
              <a:ext uri="{FF2B5EF4-FFF2-40B4-BE49-F238E27FC236}">
                <a16:creationId xmlns:a16="http://schemas.microsoft.com/office/drawing/2014/main" id="{0D0ACD0E-68B6-558A-2BD3-7E17D7182701}"/>
              </a:ext>
            </a:extLst>
          </p:cNvPr>
          <p:cNvSpPr>
            <a:spLocks noGrp="1"/>
          </p:cNvSpPr>
          <p:nvPr>
            <p:ph type="body" sz="quarter" idx="80"/>
          </p:nvPr>
        </p:nvSpPr>
        <p:spPr/>
        <p:txBody>
          <a:bodyPr/>
          <a:lstStyle/>
          <a:p>
            <a:r>
              <a:rPr lang="en-US" dirty="0"/>
              <a:t>Comprehensive, accurate</a:t>
            </a:r>
            <a:br>
              <a:rPr lang="en-US" dirty="0"/>
            </a:br>
            <a:r>
              <a:rPr lang="en-US" dirty="0"/>
              <a:t>and live data with effective visualization</a:t>
            </a:r>
          </a:p>
          <a:p>
            <a:r>
              <a:rPr lang="en-US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F1</a:t>
            </a:r>
            <a:r>
              <a:rPr lang="en-US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: Descriptive</a:t>
            </a:r>
          </a:p>
        </p:txBody>
      </p:sp>
      <p:sp>
        <p:nvSpPr>
          <p:cNvPr id="7" name="Marcador de Posição do Texto 6">
            <a:extLst>
              <a:ext uri="{FF2B5EF4-FFF2-40B4-BE49-F238E27FC236}">
                <a16:creationId xmlns:a16="http://schemas.microsoft.com/office/drawing/2014/main" id="{B3626927-3466-1A2F-81F3-DFD8BD2121A5}"/>
              </a:ext>
            </a:extLst>
          </p:cNvPr>
          <p:cNvSpPr>
            <a:spLocks noGrp="1"/>
          </p:cNvSpPr>
          <p:nvPr>
            <p:ph type="body" sz="quarter" idx="81"/>
          </p:nvPr>
        </p:nvSpPr>
        <p:spPr/>
        <p:txBody>
          <a:bodyPr/>
          <a:lstStyle/>
          <a:p>
            <a:r>
              <a:rPr lang="pt-PT" dirty="0" err="1"/>
              <a:t>What</a:t>
            </a:r>
            <a:r>
              <a:rPr lang="pt-PT" dirty="0"/>
              <a:t> </a:t>
            </a:r>
            <a:r>
              <a:rPr lang="pt-PT" dirty="0" err="1"/>
              <a:t>is</a:t>
            </a:r>
            <a:br>
              <a:rPr lang="pt-PT" dirty="0"/>
            </a:br>
            <a:r>
              <a:rPr lang="pt-PT" dirty="0"/>
              <a:t>happening?</a:t>
            </a:r>
          </a:p>
        </p:txBody>
      </p:sp>
      <p:sp>
        <p:nvSpPr>
          <p:cNvPr id="8" name="Marcador de Posição do Texto 7">
            <a:extLst>
              <a:ext uri="{FF2B5EF4-FFF2-40B4-BE49-F238E27FC236}">
                <a16:creationId xmlns:a16="http://schemas.microsoft.com/office/drawing/2014/main" id="{1A7C8EE1-B59C-1C48-B49C-B310461BBA60}"/>
              </a:ext>
            </a:extLst>
          </p:cNvPr>
          <p:cNvSpPr>
            <a:spLocks noGrp="1"/>
          </p:cNvSpPr>
          <p:nvPr>
            <p:ph type="body" sz="quarter" idx="82"/>
          </p:nvPr>
        </p:nvSpPr>
        <p:spPr/>
        <p:txBody>
          <a:bodyPr/>
          <a:lstStyle/>
          <a:p>
            <a:r>
              <a:rPr lang="en-US" dirty="0"/>
              <a:t>Ability to drill down to the root cause and to isolate relevant information for study</a:t>
            </a:r>
          </a:p>
          <a:p>
            <a:r>
              <a:rPr lang="en-US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F2</a:t>
            </a:r>
            <a:r>
              <a:rPr lang="en-US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: Diagnostic</a:t>
            </a:r>
          </a:p>
        </p:txBody>
      </p:sp>
      <p:sp>
        <p:nvSpPr>
          <p:cNvPr id="9" name="Marcador de Posição do Texto 8">
            <a:extLst>
              <a:ext uri="{FF2B5EF4-FFF2-40B4-BE49-F238E27FC236}">
                <a16:creationId xmlns:a16="http://schemas.microsoft.com/office/drawing/2014/main" id="{57A4E040-8E62-2E1A-021B-5F204D4BF863}"/>
              </a:ext>
            </a:extLst>
          </p:cNvPr>
          <p:cNvSpPr>
            <a:spLocks noGrp="1"/>
          </p:cNvSpPr>
          <p:nvPr>
            <p:ph type="body" sz="quarter" idx="83"/>
          </p:nvPr>
        </p:nvSpPr>
        <p:spPr/>
        <p:txBody>
          <a:bodyPr/>
          <a:lstStyle/>
          <a:p>
            <a:r>
              <a:rPr lang="pt-PT" dirty="0" err="1"/>
              <a:t>Why</a:t>
            </a:r>
            <a:r>
              <a:rPr lang="pt-PT" dirty="0"/>
              <a:t> </a:t>
            </a:r>
            <a:r>
              <a:rPr lang="pt-PT" dirty="0" err="1"/>
              <a:t>it’s</a:t>
            </a:r>
            <a:br>
              <a:rPr lang="pt-PT" dirty="0"/>
            </a:br>
            <a:r>
              <a:rPr lang="pt-PT" dirty="0"/>
              <a:t>happening?</a:t>
            </a:r>
          </a:p>
        </p:txBody>
      </p:sp>
      <p:sp>
        <p:nvSpPr>
          <p:cNvPr id="10" name="Marcador de Posição do Texto 9">
            <a:extLst>
              <a:ext uri="{FF2B5EF4-FFF2-40B4-BE49-F238E27FC236}">
                <a16:creationId xmlns:a16="http://schemas.microsoft.com/office/drawing/2014/main" id="{B16CFC3A-3DCB-7DD9-4CF6-D0FB70540BBF}"/>
              </a:ext>
            </a:extLst>
          </p:cNvPr>
          <p:cNvSpPr>
            <a:spLocks noGrp="1"/>
          </p:cNvSpPr>
          <p:nvPr>
            <p:ph type="body" sz="quarter" idx="84"/>
          </p:nvPr>
        </p:nvSpPr>
        <p:spPr/>
        <p:txBody>
          <a:bodyPr/>
          <a:lstStyle/>
          <a:p>
            <a:r>
              <a:rPr lang="en-US" dirty="0"/>
              <a:t>Historical patterns used to predict outcomes and decisions that can be automated</a:t>
            </a:r>
          </a:p>
          <a:p>
            <a:r>
              <a:rPr lang="en-US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F3</a:t>
            </a:r>
            <a:r>
              <a:rPr lang="en-US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: Predictive</a:t>
            </a:r>
          </a:p>
        </p:txBody>
      </p:sp>
      <p:sp>
        <p:nvSpPr>
          <p:cNvPr id="11" name="Marcador de Posição do Texto 10">
            <a:extLst>
              <a:ext uri="{FF2B5EF4-FFF2-40B4-BE49-F238E27FC236}">
                <a16:creationId xmlns:a16="http://schemas.microsoft.com/office/drawing/2014/main" id="{8AA87A71-5C3D-2BC6-DF11-78207F18A16A}"/>
              </a:ext>
            </a:extLst>
          </p:cNvPr>
          <p:cNvSpPr>
            <a:spLocks noGrp="1"/>
          </p:cNvSpPr>
          <p:nvPr>
            <p:ph type="body" sz="quarter" idx="85"/>
          </p:nvPr>
        </p:nvSpPr>
        <p:spPr/>
        <p:txBody>
          <a:bodyPr/>
          <a:lstStyle/>
          <a:p>
            <a:r>
              <a:rPr lang="pt-PT" dirty="0" err="1"/>
              <a:t>What’s</a:t>
            </a:r>
            <a:r>
              <a:rPr lang="pt-PT" dirty="0"/>
              <a:t> </a:t>
            </a:r>
            <a:r>
              <a:rPr lang="pt-PT" dirty="0" err="1"/>
              <a:t>likely</a:t>
            </a:r>
            <a:br>
              <a:rPr lang="pt-PT" dirty="0"/>
            </a:br>
            <a:r>
              <a:rPr lang="pt-PT" dirty="0"/>
              <a:t>to </a:t>
            </a:r>
            <a:r>
              <a:rPr lang="pt-PT" dirty="0" err="1"/>
              <a:t>happen</a:t>
            </a:r>
            <a:r>
              <a:rPr lang="pt-PT" dirty="0"/>
              <a:t>?</a:t>
            </a:r>
          </a:p>
        </p:txBody>
      </p:sp>
      <p:sp>
        <p:nvSpPr>
          <p:cNvPr id="12" name="Marcador de Posição do Texto 11">
            <a:extLst>
              <a:ext uri="{FF2B5EF4-FFF2-40B4-BE49-F238E27FC236}">
                <a16:creationId xmlns:a16="http://schemas.microsoft.com/office/drawing/2014/main" id="{755B6BDA-CA28-2E75-248E-853F5DB8ABA9}"/>
              </a:ext>
            </a:extLst>
          </p:cNvPr>
          <p:cNvSpPr>
            <a:spLocks noGrp="1"/>
          </p:cNvSpPr>
          <p:nvPr>
            <p:ph type="body" sz="quarter" idx="86"/>
          </p:nvPr>
        </p:nvSpPr>
        <p:spPr/>
        <p:txBody>
          <a:bodyPr/>
          <a:lstStyle/>
          <a:p>
            <a:r>
              <a:rPr lang="en-US" dirty="0"/>
              <a:t>Recommend actions and strategies based on testing and advanced analytics techniques</a:t>
            </a:r>
          </a:p>
          <a:p>
            <a:r>
              <a:rPr lang="en-US" b="1" dirty="0" err="1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F4</a:t>
            </a:r>
            <a:r>
              <a:rPr lang="en-US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: Prescriptive</a:t>
            </a:r>
          </a:p>
        </p:txBody>
      </p:sp>
      <p:sp>
        <p:nvSpPr>
          <p:cNvPr id="13" name="Marcador de Posição do Texto 12">
            <a:extLst>
              <a:ext uri="{FF2B5EF4-FFF2-40B4-BE49-F238E27FC236}">
                <a16:creationId xmlns:a16="http://schemas.microsoft.com/office/drawing/2014/main" id="{8D6023FF-D318-8EE5-A450-D0BB66FEC258}"/>
              </a:ext>
            </a:extLst>
          </p:cNvPr>
          <p:cNvSpPr>
            <a:spLocks noGrp="1"/>
          </p:cNvSpPr>
          <p:nvPr>
            <p:ph type="body" sz="quarter" idx="87"/>
          </p:nvPr>
        </p:nvSpPr>
        <p:spPr/>
        <p:txBody>
          <a:bodyPr/>
          <a:lstStyle/>
          <a:p>
            <a:r>
              <a:rPr lang="en-US" dirty="0"/>
              <a:t>What do I</a:t>
            </a:r>
            <a:br>
              <a:rPr lang="en-US" dirty="0"/>
            </a:br>
            <a:r>
              <a:rPr lang="en-US" dirty="0"/>
              <a:t>need to do?</a:t>
            </a:r>
          </a:p>
        </p:txBody>
      </p:sp>
      <p:sp>
        <p:nvSpPr>
          <p:cNvPr id="14" name="Marcador de Posição do Texto 13">
            <a:extLst>
              <a:ext uri="{FF2B5EF4-FFF2-40B4-BE49-F238E27FC236}">
                <a16:creationId xmlns:a16="http://schemas.microsoft.com/office/drawing/2014/main" id="{6F8283E4-DE6B-0873-D8D1-3B916E8345D1}"/>
              </a:ext>
            </a:extLst>
          </p:cNvPr>
          <p:cNvSpPr>
            <a:spLocks noGrp="1"/>
          </p:cNvSpPr>
          <p:nvPr>
            <p:ph type="body" sz="quarter" idx="88"/>
          </p:nvPr>
        </p:nvSpPr>
        <p:spPr/>
        <p:txBody>
          <a:bodyPr/>
          <a:lstStyle/>
          <a:p>
            <a:r>
              <a:rPr lang="pt-PT" dirty="0" err="1"/>
              <a:t>Efficient</a:t>
            </a:r>
            <a:r>
              <a:rPr lang="pt-PT" dirty="0"/>
              <a:t> </a:t>
            </a:r>
            <a:r>
              <a:rPr lang="pt-PT" dirty="0" err="1"/>
              <a:t>Operations</a:t>
            </a:r>
            <a:endParaRPr lang="pt-PT" dirty="0"/>
          </a:p>
        </p:txBody>
      </p:sp>
      <p:sp>
        <p:nvSpPr>
          <p:cNvPr id="15" name="Marcador de Posição do Texto 14">
            <a:extLst>
              <a:ext uri="{FF2B5EF4-FFF2-40B4-BE49-F238E27FC236}">
                <a16:creationId xmlns:a16="http://schemas.microsoft.com/office/drawing/2014/main" id="{4E0202B7-995B-54DF-E09E-5DC3289E0F39}"/>
              </a:ext>
            </a:extLst>
          </p:cNvPr>
          <p:cNvSpPr>
            <a:spLocks noGrp="1"/>
          </p:cNvSpPr>
          <p:nvPr>
            <p:ph type="body" sz="quarter" idx="89"/>
          </p:nvPr>
        </p:nvSpPr>
        <p:spPr/>
        <p:txBody>
          <a:bodyPr/>
          <a:lstStyle/>
          <a:p>
            <a:r>
              <a:rPr lang="pt-PT" dirty="0" err="1"/>
              <a:t>Effective</a:t>
            </a:r>
            <a:r>
              <a:rPr lang="pt-PT" dirty="0"/>
              <a:t> </a:t>
            </a:r>
            <a:r>
              <a:rPr lang="pt-PT" dirty="0" err="1"/>
              <a:t>Strategy</a:t>
            </a:r>
            <a:endParaRPr lang="pt-PT" dirty="0"/>
          </a:p>
        </p:txBody>
      </p:sp>
      <p:sp>
        <p:nvSpPr>
          <p:cNvPr id="16" name="Marcador de Posição do Texto 15">
            <a:extLst>
              <a:ext uri="{FF2B5EF4-FFF2-40B4-BE49-F238E27FC236}">
                <a16:creationId xmlns:a16="http://schemas.microsoft.com/office/drawing/2014/main" id="{30810010-C8D7-F599-0A2A-17D639DFDAB6}"/>
              </a:ext>
            </a:extLst>
          </p:cNvPr>
          <p:cNvSpPr>
            <a:spLocks noGrp="1"/>
          </p:cNvSpPr>
          <p:nvPr>
            <p:ph type="body" sz="quarter" idx="90"/>
          </p:nvPr>
        </p:nvSpPr>
        <p:spPr/>
        <p:txBody>
          <a:bodyPr/>
          <a:lstStyle/>
          <a:p>
            <a:r>
              <a:rPr lang="pt-PT" dirty="0" err="1"/>
              <a:t>Batch</a:t>
            </a:r>
            <a:endParaRPr lang="pt-PT" dirty="0"/>
          </a:p>
        </p:txBody>
      </p:sp>
      <p:sp>
        <p:nvSpPr>
          <p:cNvPr id="17" name="Marcador de Posição do Texto 16">
            <a:extLst>
              <a:ext uri="{FF2B5EF4-FFF2-40B4-BE49-F238E27FC236}">
                <a16:creationId xmlns:a16="http://schemas.microsoft.com/office/drawing/2014/main" id="{CBA5D589-3C80-83F3-67CD-AC169AD94696}"/>
              </a:ext>
            </a:extLst>
          </p:cNvPr>
          <p:cNvSpPr>
            <a:spLocks noGrp="1"/>
          </p:cNvSpPr>
          <p:nvPr>
            <p:ph type="body" sz="quarter" idx="91"/>
          </p:nvPr>
        </p:nvSpPr>
        <p:spPr/>
        <p:txBody>
          <a:bodyPr/>
          <a:lstStyle/>
          <a:p>
            <a:r>
              <a:rPr lang="pt-PT" dirty="0"/>
              <a:t>Real Time</a:t>
            </a:r>
          </a:p>
        </p:txBody>
      </p:sp>
      <p:sp>
        <p:nvSpPr>
          <p:cNvPr id="36" name="Marcador de Posição do Texto 35">
            <a:extLst>
              <a:ext uri="{FF2B5EF4-FFF2-40B4-BE49-F238E27FC236}">
                <a16:creationId xmlns:a16="http://schemas.microsoft.com/office/drawing/2014/main" id="{39A5CAB5-FC39-1E00-8682-E95CAE43297B}"/>
              </a:ext>
            </a:extLst>
          </p:cNvPr>
          <p:cNvSpPr>
            <a:spLocks noGrp="1"/>
          </p:cNvSpPr>
          <p:nvPr>
            <p:ph type="body" sz="quarter" idx="92"/>
          </p:nvPr>
        </p:nvSpPr>
        <p:spPr/>
        <p:txBody>
          <a:bodyPr/>
          <a:lstStyle/>
          <a:p>
            <a:r>
              <a:rPr lang="pt-PT" dirty="0" err="1"/>
              <a:t>Analytics</a:t>
            </a:r>
            <a:r>
              <a:rPr lang="pt-PT" dirty="0"/>
              <a:t> </a:t>
            </a:r>
            <a:r>
              <a:rPr lang="pt-PT" dirty="0" err="1"/>
              <a:t>Maturity</a:t>
            </a:r>
            <a:endParaRPr lang="pt-PT" dirty="0"/>
          </a:p>
        </p:txBody>
      </p:sp>
      <p:sp>
        <p:nvSpPr>
          <p:cNvPr id="37" name="Marcador de Posição do Texto 36">
            <a:extLst>
              <a:ext uri="{FF2B5EF4-FFF2-40B4-BE49-F238E27FC236}">
                <a16:creationId xmlns:a16="http://schemas.microsoft.com/office/drawing/2014/main" id="{E257A072-8199-80C6-8D5F-7B747CAAA8F2}"/>
              </a:ext>
            </a:extLst>
          </p:cNvPr>
          <p:cNvSpPr>
            <a:spLocks noGrp="1"/>
          </p:cNvSpPr>
          <p:nvPr>
            <p:ph type="body" sz="quarter" idx="93"/>
          </p:nvPr>
        </p:nvSpPr>
        <p:spPr/>
        <p:txBody>
          <a:bodyPr/>
          <a:lstStyle/>
          <a:p>
            <a:r>
              <a:rPr lang="pt-PT" dirty="0"/>
              <a:t>Business </a:t>
            </a:r>
            <a:r>
              <a:rPr lang="pt-PT" dirty="0" err="1"/>
              <a:t>Value</a:t>
            </a:r>
            <a:endParaRPr lang="pt-PT" dirty="0"/>
          </a:p>
        </p:txBody>
      </p:sp>
      <p:sp>
        <p:nvSpPr>
          <p:cNvPr id="20" name="Freeform: Shape 57">
            <a:extLst>
              <a:ext uri="{FF2B5EF4-FFF2-40B4-BE49-F238E27FC236}">
                <a16:creationId xmlns:a16="http://schemas.microsoft.com/office/drawing/2014/main" id="{5750919F-9183-9E30-4A22-92DA4DE048A6}"/>
              </a:ext>
            </a:extLst>
          </p:cNvPr>
          <p:cNvSpPr/>
          <p:nvPr/>
        </p:nvSpPr>
        <p:spPr>
          <a:xfrm>
            <a:off x="1084575" y="2947914"/>
            <a:ext cx="10355576" cy="2939680"/>
          </a:xfrm>
          <a:custGeom>
            <a:avLst/>
            <a:gdLst>
              <a:gd name="connsiteX0" fmla="*/ 0 w 7909560"/>
              <a:gd name="connsiteY0" fmla="*/ 2305595 h 2305595"/>
              <a:gd name="connsiteX1" fmla="*/ 3977640 w 7909560"/>
              <a:gd name="connsiteY1" fmla="*/ 1554480 h 2305595"/>
              <a:gd name="connsiteX2" fmla="*/ 7909560 w 7909560"/>
              <a:gd name="connsiteY2" fmla="*/ 0 h 23055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7909560" h="2305595">
                <a:moveTo>
                  <a:pt x="0" y="2305595"/>
                </a:moveTo>
                <a:cubicBezTo>
                  <a:pt x="1329690" y="2122170"/>
                  <a:pt x="2659380" y="1938746"/>
                  <a:pt x="3977640" y="1554480"/>
                </a:cubicBezTo>
                <a:cubicBezTo>
                  <a:pt x="5295900" y="1170214"/>
                  <a:pt x="7241177" y="263434"/>
                  <a:pt x="7909560" y="0"/>
                </a:cubicBezTo>
              </a:path>
            </a:pathLst>
          </a:custGeom>
          <a:noFill/>
          <a:ln w="952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cxnSp>
        <p:nvCxnSpPr>
          <p:cNvPr id="21" name="Conexão reta 20">
            <a:extLst>
              <a:ext uri="{FF2B5EF4-FFF2-40B4-BE49-F238E27FC236}">
                <a16:creationId xmlns:a16="http://schemas.microsoft.com/office/drawing/2014/main" id="{4C43205B-F32E-81D0-CC8F-F36590C1CE7A}"/>
              </a:ext>
            </a:extLst>
          </p:cNvPr>
          <p:cNvCxnSpPr>
            <a:cxnSpLocks/>
          </p:cNvCxnSpPr>
          <p:nvPr/>
        </p:nvCxnSpPr>
        <p:spPr>
          <a:xfrm flipV="1">
            <a:off x="2339042" y="4389120"/>
            <a:ext cx="0" cy="1127760"/>
          </a:xfrm>
          <a:prstGeom prst="line">
            <a:avLst/>
          </a:prstGeom>
          <a:ln w="6350">
            <a:solidFill>
              <a:schemeClr val="accent1"/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4" name="Conexão reta 23">
            <a:extLst>
              <a:ext uri="{FF2B5EF4-FFF2-40B4-BE49-F238E27FC236}">
                <a16:creationId xmlns:a16="http://schemas.microsoft.com/office/drawing/2014/main" id="{3F6EFD9D-E668-DDB7-C3F1-3FD96959F6A6}"/>
              </a:ext>
            </a:extLst>
          </p:cNvPr>
          <p:cNvCxnSpPr>
            <a:cxnSpLocks/>
          </p:cNvCxnSpPr>
          <p:nvPr/>
        </p:nvCxnSpPr>
        <p:spPr>
          <a:xfrm flipV="1">
            <a:off x="4432002" y="4033520"/>
            <a:ext cx="0" cy="1168400"/>
          </a:xfrm>
          <a:prstGeom prst="line">
            <a:avLst/>
          </a:prstGeom>
          <a:ln w="6350">
            <a:solidFill>
              <a:schemeClr val="accent1"/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5" name="Conexão reta 24">
            <a:extLst>
              <a:ext uri="{FF2B5EF4-FFF2-40B4-BE49-F238E27FC236}">
                <a16:creationId xmlns:a16="http://schemas.microsoft.com/office/drawing/2014/main" id="{FE6C6A52-6343-FDD4-7533-62E52EFA4974}"/>
              </a:ext>
            </a:extLst>
          </p:cNvPr>
          <p:cNvCxnSpPr>
            <a:cxnSpLocks/>
          </p:cNvCxnSpPr>
          <p:nvPr/>
        </p:nvCxnSpPr>
        <p:spPr>
          <a:xfrm flipV="1">
            <a:off x="6471457" y="3588373"/>
            <a:ext cx="0" cy="1124259"/>
          </a:xfrm>
          <a:prstGeom prst="line">
            <a:avLst/>
          </a:prstGeom>
          <a:ln w="6350">
            <a:solidFill>
              <a:schemeClr val="accent1"/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Conexão reta 25">
            <a:extLst>
              <a:ext uri="{FF2B5EF4-FFF2-40B4-BE49-F238E27FC236}">
                <a16:creationId xmlns:a16="http://schemas.microsoft.com/office/drawing/2014/main" id="{F404E7F4-3575-E965-5F42-FFBE93C68B6C}"/>
              </a:ext>
            </a:extLst>
          </p:cNvPr>
          <p:cNvCxnSpPr>
            <a:cxnSpLocks/>
          </p:cNvCxnSpPr>
          <p:nvPr/>
        </p:nvCxnSpPr>
        <p:spPr>
          <a:xfrm flipV="1">
            <a:off x="8483137" y="3200400"/>
            <a:ext cx="0" cy="722166"/>
          </a:xfrm>
          <a:prstGeom prst="line">
            <a:avLst/>
          </a:prstGeom>
          <a:ln w="6350">
            <a:solidFill>
              <a:schemeClr val="accent1"/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Conexão reta 27">
            <a:extLst>
              <a:ext uri="{FF2B5EF4-FFF2-40B4-BE49-F238E27FC236}">
                <a16:creationId xmlns:a16="http://schemas.microsoft.com/office/drawing/2014/main" id="{C02E7333-C9BF-E4DE-A912-5CEAC7AD5880}"/>
              </a:ext>
            </a:extLst>
          </p:cNvPr>
          <p:cNvCxnSpPr>
            <a:cxnSpLocks/>
          </p:cNvCxnSpPr>
          <p:nvPr/>
        </p:nvCxnSpPr>
        <p:spPr>
          <a:xfrm flipV="1">
            <a:off x="10474497" y="2734899"/>
            <a:ext cx="0" cy="465501"/>
          </a:xfrm>
          <a:prstGeom prst="line">
            <a:avLst/>
          </a:prstGeom>
          <a:ln w="6350">
            <a:solidFill>
              <a:schemeClr val="accent1"/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2" name="Marcador de pie de página 21">
            <a:extLst>
              <a:ext uri="{FF2B5EF4-FFF2-40B4-BE49-F238E27FC236}">
                <a16:creationId xmlns:a16="http://schemas.microsoft.com/office/drawing/2014/main" id="{6239E927-6178-4F87-B7AB-5EF82F010DF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pt-PT"/>
              <a:t>Título de la presentación</a:t>
            </a:r>
            <a:endParaRPr lang="pt-PT" dirty="0"/>
          </a:p>
        </p:txBody>
      </p:sp>
      <p:sp>
        <p:nvSpPr>
          <p:cNvPr id="23" name="Marcador de número de diapositiva 22">
            <a:extLst>
              <a:ext uri="{FF2B5EF4-FFF2-40B4-BE49-F238E27FC236}">
                <a16:creationId xmlns:a16="http://schemas.microsoft.com/office/drawing/2014/main" id="{ECD50577-B608-4EF8-B690-8B46E28921A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4A347C2-D68E-473A-8C76-1D063E4EB6E0}" type="slidenum">
              <a:rPr lang="es-ES" smtClean="0"/>
              <a:pPr/>
              <a:t>48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3632542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8" grpId="0" animBg="1"/>
      <p:bldP spid="19" grpId="0" animBg="1"/>
      <p:bldP spid="20" grpId="0" animBg="1"/>
    </p:bldLst>
  </p:timing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5" name="Título 184">
            <a:extLst>
              <a:ext uri="{FF2B5EF4-FFF2-40B4-BE49-F238E27FC236}">
                <a16:creationId xmlns:a16="http://schemas.microsoft.com/office/drawing/2014/main" id="{10CC369F-9185-9F3E-88A9-AAB67CBF0E6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PT" dirty="0"/>
              <a:t>Ejemplo de título de slide</a:t>
            </a:r>
          </a:p>
        </p:txBody>
      </p:sp>
      <p:sp>
        <p:nvSpPr>
          <p:cNvPr id="186" name="Marcador de Posição do Texto 185">
            <a:extLst>
              <a:ext uri="{FF2B5EF4-FFF2-40B4-BE49-F238E27FC236}">
                <a16:creationId xmlns:a16="http://schemas.microsoft.com/office/drawing/2014/main" id="{464CC9F3-06A4-F80D-FE37-9D3945A3F49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>
            <a:normAutofit lnSpcReduction="10000"/>
          </a:bodyPr>
          <a:lstStyle/>
          <a:p>
            <a:r>
              <a:rPr lang="es-ES" dirty="0"/>
              <a:t>Ejemplo de subtítulo de </a:t>
            </a:r>
            <a:r>
              <a:rPr lang="es-ES" dirty="0" err="1"/>
              <a:t>slide</a:t>
            </a:r>
            <a:endParaRPr lang="pt-PT" dirty="0"/>
          </a:p>
        </p:txBody>
      </p:sp>
      <p:sp>
        <p:nvSpPr>
          <p:cNvPr id="187" name="Marcador de Posição do Texto 186">
            <a:extLst>
              <a:ext uri="{FF2B5EF4-FFF2-40B4-BE49-F238E27FC236}">
                <a16:creationId xmlns:a16="http://schemas.microsoft.com/office/drawing/2014/main" id="{08AA8604-7475-D51C-5B22-43A1DBD9FA1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pt-PT" dirty="0"/>
              <a:t>01</a:t>
            </a:r>
          </a:p>
        </p:txBody>
      </p:sp>
      <p:sp>
        <p:nvSpPr>
          <p:cNvPr id="188" name="Marcador de Posição do Texto 187">
            <a:extLst>
              <a:ext uri="{FF2B5EF4-FFF2-40B4-BE49-F238E27FC236}">
                <a16:creationId xmlns:a16="http://schemas.microsoft.com/office/drawing/2014/main" id="{267DBF82-64E3-A1A2-EAAD-71149A208C75}"/>
              </a:ext>
            </a:extLst>
          </p:cNvPr>
          <p:cNvSpPr>
            <a:spLocks noGrp="1"/>
          </p:cNvSpPr>
          <p:nvPr>
            <p:ph type="body" sz="quarter" idx="77"/>
          </p:nvPr>
        </p:nvSpPr>
        <p:spPr/>
        <p:txBody>
          <a:bodyPr/>
          <a:lstStyle/>
          <a:p>
            <a:r>
              <a:rPr lang="en-US" dirty="0" err="1"/>
              <a:t>ChatGpt</a:t>
            </a:r>
            <a:r>
              <a:rPr lang="en-US" dirty="0"/>
              <a:t> with internal policy, user control access, centralized costs, etc.</a:t>
            </a:r>
          </a:p>
        </p:txBody>
      </p:sp>
      <p:sp>
        <p:nvSpPr>
          <p:cNvPr id="189" name="Marcador de Posição do Texto 188">
            <a:extLst>
              <a:ext uri="{FF2B5EF4-FFF2-40B4-BE49-F238E27FC236}">
                <a16:creationId xmlns:a16="http://schemas.microsoft.com/office/drawing/2014/main" id="{75795E8A-E66A-4594-070C-426E45CF3EF6}"/>
              </a:ext>
            </a:extLst>
          </p:cNvPr>
          <p:cNvSpPr>
            <a:spLocks noGrp="1"/>
          </p:cNvSpPr>
          <p:nvPr>
            <p:ph type="body" sz="quarter" idx="79"/>
          </p:nvPr>
        </p:nvSpPr>
        <p:spPr/>
        <p:txBody>
          <a:bodyPr/>
          <a:lstStyle/>
          <a:p>
            <a:r>
              <a:rPr lang="pt-PT" dirty="0" err="1"/>
              <a:t>Tailored</a:t>
            </a:r>
            <a:r>
              <a:rPr lang="pt-PT" dirty="0"/>
              <a:t> </a:t>
            </a:r>
            <a:r>
              <a:rPr lang="pt-PT" dirty="0" err="1"/>
              <a:t>ChatGpt</a:t>
            </a:r>
            <a:endParaRPr lang="pt-PT" dirty="0"/>
          </a:p>
        </p:txBody>
      </p:sp>
      <p:sp>
        <p:nvSpPr>
          <p:cNvPr id="190" name="Marcador de Posição do Texto 189">
            <a:extLst>
              <a:ext uri="{FF2B5EF4-FFF2-40B4-BE49-F238E27FC236}">
                <a16:creationId xmlns:a16="http://schemas.microsoft.com/office/drawing/2014/main" id="{15DAC206-FBC6-301F-BECF-62FB29734DAA}"/>
              </a:ext>
            </a:extLst>
          </p:cNvPr>
          <p:cNvSpPr>
            <a:spLocks noGrp="1"/>
          </p:cNvSpPr>
          <p:nvPr>
            <p:ph type="body" sz="quarter" idx="80"/>
          </p:nvPr>
        </p:nvSpPr>
        <p:spPr>
          <a:xfrm>
            <a:off x="1444171" y="4611212"/>
            <a:ext cx="1855192" cy="257884"/>
          </a:xfrm>
        </p:spPr>
        <p:txBody>
          <a:bodyPr/>
          <a:lstStyle/>
          <a:p>
            <a:r>
              <a:rPr lang="en-US" dirty="0"/>
              <a:t>Using LLM to search content inside customer KB. Document indexing and RAG (Retrieval Augmented Generation)</a:t>
            </a:r>
          </a:p>
        </p:txBody>
      </p:sp>
      <p:sp>
        <p:nvSpPr>
          <p:cNvPr id="191" name="Marcador de Posição do Texto 190">
            <a:extLst>
              <a:ext uri="{FF2B5EF4-FFF2-40B4-BE49-F238E27FC236}">
                <a16:creationId xmlns:a16="http://schemas.microsoft.com/office/drawing/2014/main" id="{D5282661-12CF-602F-1E76-D4958F9343A3}"/>
              </a:ext>
            </a:extLst>
          </p:cNvPr>
          <p:cNvSpPr>
            <a:spLocks noGrp="1"/>
          </p:cNvSpPr>
          <p:nvPr>
            <p:ph type="body" sz="quarter" idx="81"/>
          </p:nvPr>
        </p:nvSpPr>
        <p:spPr>
          <a:xfrm>
            <a:off x="1400566" y="4385149"/>
            <a:ext cx="1942402" cy="218992"/>
          </a:xfrm>
        </p:spPr>
        <p:txBody>
          <a:bodyPr/>
          <a:lstStyle/>
          <a:p>
            <a:r>
              <a:rPr lang="pt-PT" dirty="0" err="1"/>
              <a:t>Search</a:t>
            </a:r>
            <a:r>
              <a:rPr lang="pt-PT" dirty="0"/>
              <a:t> </a:t>
            </a:r>
            <a:r>
              <a:rPr lang="pt-PT" dirty="0" err="1"/>
              <a:t>Internal</a:t>
            </a:r>
            <a:r>
              <a:rPr lang="pt-PT" dirty="0"/>
              <a:t> KB</a:t>
            </a:r>
          </a:p>
        </p:txBody>
      </p:sp>
      <p:sp>
        <p:nvSpPr>
          <p:cNvPr id="192" name="Marcador de Posição do Texto 191">
            <a:extLst>
              <a:ext uri="{FF2B5EF4-FFF2-40B4-BE49-F238E27FC236}">
                <a16:creationId xmlns:a16="http://schemas.microsoft.com/office/drawing/2014/main" id="{A5D9B42B-E082-E714-2964-4B18D0777FCE}"/>
              </a:ext>
            </a:extLst>
          </p:cNvPr>
          <p:cNvSpPr>
            <a:spLocks noGrp="1"/>
          </p:cNvSpPr>
          <p:nvPr>
            <p:ph type="body" sz="quarter" idx="82"/>
          </p:nvPr>
        </p:nvSpPr>
        <p:spPr/>
        <p:txBody>
          <a:bodyPr/>
          <a:lstStyle/>
          <a:p>
            <a:r>
              <a:rPr lang="en-US" dirty="0"/>
              <a:t>Create more accurate content aligned with unique requirements</a:t>
            </a:r>
          </a:p>
        </p:txBody>
      </p:sp>
      <p:sp>
        <p:nvSpPr>
          <p:cNvPr id="193" name="Marcador de Posição do Texto 192">
            <a:extLst>
              <a:ext uri="{FF2B5EF4-FFF2-40B4-BE49-F238E27FC236}">
                <a16:creationId xmlns:a16="http://schemas.microsoft.com/office/drawing/2014/main" id="{EFCDD946-6E66-F3CF-1EF6-505948F25FCF}"/>
              </a:ext>
            </a:extLst>
          </p:cNvPr>
          <p:cNvSpPr>
            <a:spLocks noGrp="1"/>
          </p:cNvSpPr>
          <p:nvPr>
            <p:ph type="body" sz="quarter" idx="83"/>
          </p:nvPr>
        </p:nvSpPr>
        <p:spPr/>
        <p:txBody>
          <a:bodyPr/>
          <a:lstStyle/>
          <a:p>
            <a:r>
              <a:rPr lang="pt-PT" dirty="0" err="1"/>
              <a:t>Content</a:t>
            </a:r>
            <a:r>
              <a:rPr lang="pt-PT" dirty="0"/>
              <a:t> </a:t>
            </a:r>
            <a:r>
              <a:rPr lang="pt-PT" dirty="0" err="1"/>
              <a:t>Creation</a:t>
            </a:r>
            <a:endParaRPr lang="pt-PT" dirty="0"/>
          </a:p>
        </p:txBody>
      </p:sp>
      <p:sp>
        <p:nvSpPr>
          <p:cNvPr id="194" name="Marcador de Posição do Texto 193">
            <a:extLst>
              <a:ext uri="{FF2B5EF4-FFF2-40B4-BE49-F238E27FC236}">
                <a16:creationId xmlns:a16="http://schemas.microsoft.com/office/drawing/2014/main" id="{6F2C5F82-DA55-9542-225B-ED269A259F3A}"/>
              </a:ext>
            </a:extLst>
          </p:cNvPr>
          <p:cNvSpPr>
            <a:spLocks noGrp="1"/>
          </p:cNvSpPr>
          <p:nvPr>
            <p:ph type="body" sz="quarter" idx="84"/>
          </p:nvPr>
        </p:nvSpPr>
        <p:spPr/>
        <p:txBody>
          <a:bodyPr/>
          <a:lstStyle/>
          <a:p>
            <a:r>
              <a:rPr lang="en-US" dirty="0"/>
              <a:t>Classify and retrieve data from mail body inserting into other systems</a:t>
            </a:r>
          </a:p>
        </p:txBody>
      </p:sp>
      <p:sp>
        <p:nvSpPr>
          <p:cNvPr id="195" name="Marcador de Posição do Texto 194">
            <a:extLst>
              <a:ext uri="{FF2B5EF4-FFF2-40B4-BE49-F238E27FC236}">
                <a16:creationId xmlns:a16="http://schemas.microsoft.com/office/drawing/2014/main" id="{E5144802-D38C-612F-87A9-FC3A2A550D86}"/>
              </a:ext>
            </a:extLst>
          </p:cNvPr>
          <p:cNvSpPr>
            <a:spLocks noGrp="1"/>
          </p:cNvSpPr>
          <p:nvPr>
            <p:ph type="body" sz="quarter" idx="85"/>
          </p:nvPr>
        </p:nvSpPr>
        <p:spPr/>
        <p:txBody>
          <a:bodyPr/>
          <a:lstStyle/>
          <a:p>
            <a:r>
              <a:rPr lang="pt-PT" dirty="0"/>
              <a:t>Mail </a:t>
            </a:r>
            <a:r>
              <a:rPr lang="pt-PT" dirty="0" err="1"/>
              <a:t>Automation</a:t>
            </a:r>
            <a:endParaRPr lang="pt-PT" dirty="0"/>
          </a:p>
        </p:txBody>
      </p:sp>
      <p:sp>
        <p:nvSpPr>
          <p:cNvPr id="196" name="Marcador de Posição do Texto 195">
            <a:extLst>
              <a:ext uri="{FF2B5EF4-FFF2-40B4-BE49-F238E27FC236}">
                <a16:creationId xmlns:a16="http://schemas.microsoft.com/office/drawing/2014/main" id="{DEA3F0D1-2C6D-DB49-6EC7-6AB82516FF29}"/>
              </a:ext>
            </a:extLst>
          </p:cNvPr>
          <p:cNvSpPr>
            <a:spLocks noGrp="1"/>
          </p:cNvSpPr>
          <p:nvPr>
            <p:ph type="body" sz="quarter" idx="86"/>
          </p:nvPr>
        </p:nvSpPr>
        <p:spPr/>
        <p:txBody>
          <a:bodyPr/>
          <a:lstStyle/>
          <a:p>
            <a:r>
              <a:rPr lang="en-US" dirty="0"/>
              <a:t>Using GenAI to enhance chat-bot response, using a more humanized approach</a:t>
            </a:r>
          </a:p>
        </p:txBody>
      </p:sp>
      <p:sp>
        <p:nvSpPr>
          <p:cNvPr id="197" name="Marcador de Posição do Texto 196">
            <a:extLst>
              <a:ext uri="{FF2B5EF4-FFF2-40B4-BE49-F238E27FC236}">
                <a16:creationId xmlns:a16="http://schemas.microsoft.com/office/drawing/2014/main" id="{32BD3ADA-C668-5C59-FB22-FC96DCC99A14}"/>
              </a:ext>
            </a:extLst>
          </p:cNvPr>
          <p:cNvSpPr>
            <a:spLocks noGrp="1"/>
          </p:cNvSpPr>
          <p:nvPr>
            <p:ph type="body" sz="quarter" idx="87"/>
          </p:nvPr>
        </p:nvSpPr>
        <p:spPr>
          <a:xfrm>
            <a:off x="7430729" y="3284639"/>
            <a:ext cx="1978742" cy="218991"/>
          </a:xfrm>
        </p:spPr>
        <p:txBody>
          <a:bodyPr/>
          <a:lstStyle/>
          <a:p>
            <a:r>
              <a:rPr lang="pt-PT" dirty="0"/>
              <a:t>AI Virtual </a:t>
            </a:r>
            <a:r>
              <a:rPr lang="pt-PT" dirty="0" err="1"/>
              <a:t>Assistant</a:t>
            </a:r>
            <a:endParaRPr lang="pt-PT" dirty="0"/>
          </a:p>
        </p:txBody>
      </p:sp>
      <p:sp>
        <p:nvSpPr>
          <p:cNvPr id="198" name="Marcador de Posição do Texto 197">
            <a:extLst>
              <a:ext uri="{FF2B5EF4-FFF2-40B4-BE49-F238E27FC236}">
                <a16:creationId xmlns:a16="http://schemas.microsoft.com/office/drawing/2014/main" id="{6AE37186-1FA0-B7B5-E138-ED40667A0122}"/>
              </a:ext>
            </a:extLst>
          </p:cNvPr>
          <p:cNvSpPr>
            <a:spLocks noGrp="1"/>
          </p:cNvSpPr>
          <p:nvPr>
            <p:ph type="body" sz="quarter" idx="88"/>
          </p:nvPr>
        </p:nvSpPr>
        <p:spPr/>
        <p:txBody>
          <a:bodyPr/>
          <a:lstStyle/>
          <a:p>
            <a:r>
              <a:rPr lang="en-US" dirty="0"/>
              <a:t>Compare different frameworks and providing a consultancy strategy </a:t>
            </a:r>
          </a:p>
        </p:txBody>
      </p:sp>
      <p:sp>
        <p:nvSpPr>
          <p:cNvPr id="199" name="Marcador de Posição do Texto 198">
            <a:extLst>
              <a:ext uri="{FF2B5EF4-FFF2-40B4-BE49-F238E27FC236}">
                <a16:creationId xmlns:a16="http://schemas.microsoft.com/office/drawing/2014/main" id="{A462A1E2-305D-32AB-536F-8032F211BF2B}"/>
              </a:ext>
            </a:extLst>
          </p:cNvPr>
          <p:cNvSpPr>
            <a:spLocks noGrp="1"/>
          </p:cNvSpPr>
          <p:nvPr>
            <p:ph type="body" sz="quarter" idx="89"/>
          </p:nvPr>
        </p:nvSpPr>
        <p:spPr>
          <a:xfrm>
            <a:off x="9471681" y="4404595"/>
            <a:ext cx="1914074" cy="218992"/>
          </a:xfrm>
        </p:spPr>
        <p:txBody>
          <a:bodyPr/>
          <a:lstStyle/>
          <a:p>
            <a:r>
              <a:rPr lang="pt-PT" dirty="0" err="1"/>
              <a:t>GenAI</a:t>
            </a:r>
            <a:r>
              <a:rPr lang="pt-PT" dirty="0"/>
              <a:t> </a:t>
            </a:r>
            <a:r>
              <a:rPr lang="pt-PT" dirty="0" err="1"/>
              <a:t>Comparison</a:t>
            </a:r>
            <a:endParaRPr lang="pt-PT" dirty="0"/>
          </a:p>
        </p:txBody>
      </p:sp>
      <p:sp>
        <p:nvSpPr>
          <p:cNvPr id="200" name="Marcador de Posição do Texto 199">
            <a:extLst>
              <a:ext uri="{FF2B5EF4-FFF2-40B4-BE49-F238E27FC236}">
                <a16:creationId xmlns:a16="http://schemas.microsoft.com/office/drawing/2014/main" id="{03634715-14B4-8164-342F-5ED16285F983}"/>
              </a:ext>
            </a:extLst>
          </p:cNvPr>
          <p:cNvSpPr>
            <a:spLocks noGrp="1"/>
          </p:cNvSpPr>
          <p:nvPr>
            <p:ph type="body" sz="quarter" idx="90"/>
          </p:nvPr>
        </p:nvSpPr>
        <p:spPr/>
        <p:txBody>
          <a:bodyPr/>
          <a:lstStyle/>
          <a:p>
            <a:r>
              <a:rPr lang="pt-PT" dirty="0"/>
              <a:t>02</a:t>
            </a:r>
          </a:p>
        </p:txBody>
      </p:sp>
      <p:sp>
        <p:nvSpPr>
          <p:cNvPr id="201" name="Marcador de Posição do Texto 200">
            <a:extLst>
              <a:ext uri="{FF2B5EF4-FFF2-40B4-BE49-F238E27FC236}">
                <a16:creationId xmlns:a16="http://schemas.microsoft.com/office/drawing/2014/main" id="{F909C492-60D0-C36A-3BC2-B41743277915}"/>
              </a:ext>
            </a:extLst>
          </p:cNvPr>
          <p:cNvSpPr>
            <a:spLocks noGrp="1"/>
          </p:cNvSpPr>
          <p:nvPr>
            <p:ph type="body" sz="quarter" idx="91"/>
          </p:nvPr>
        </p:nvSpPr>
        <p:spPr/>
        <p:txBody>
          <a:bodyPr/>
          <a:lstStyle/>
          <a:p>
            <a:r>
              <a:rPr lang="pt-PT" dirty="0"/>
              <a:t>04</a:t>
            </a:r>
          </a:p>
        </p:txBody>
      </p:sp>
      <p:sp>
        <p:nvSpPr>
          <p:cNvPr id="202" name="Marcador de Posição do Texto 201">
            <a:extLst>
              <a:ext uri="{FF2B5EF4-FFF2-40B4-BE49-F238E27FC236}">
                <a16:creationId xmlns:a16="http://schemas.microsoft.com/office/drawing/2014/main" id="{0EEE52E6-C6B3-BE82-B88F-978B45EAAB07}"/>
              </a:ext>
            </a:extLst>
          </p:cNvPr>
          <p:cNvSpPr>
            <a:spLocks noGrp="1"/>
          </p:cNvSpPr>
          <p:nvPr>
            <p:ph type="body" sz="quarter" idx="92"/>
          </p:nvPr>
        </p:nvSpPr>
        <p:spPr/>
        <p:txBody>
          <a:bodyPr/>
          <a:lstStyle/>
          <a:p>
            <a:r>
              <a:rPr lang="pt-PT" dirty="0"/>
              <a:t>06</a:t>
            </a:r>
          </a:p>
        </p:txBody>
      </p:sp>
      <p:sp>
        <p:nvSpPr>
          <p:cNvPr id="203" name="Marcador de Posição do Texto 202">
            <a:extLst>
              <a:ext uri="{FF2B5EF4-FFF2-40B4-BE49-F238E27FC236}">
                <a16:creationId xmlns:a16="http://schemas.microsoft.com/office/drawing/2014/main" id="{6AD8598E-AD2E-9AA5-67B9-560727B3765F}"/>
              </a:ext>
            </a:extLst>
          </p:cNvPr>
          <p:cNvSpPr>
            <a:spLocks noGrp="1"/>
          </p:cNvSpPr>
          <p:nvPr>
            <p:ph type="body" sz="quarter" idx="93"/>
          </p:nvPr>
        </p:nvSpPr>
        <p:spPr/>
        <p:txBody>
          <a:bodyPr/>
          <a:lstStyle/>
          <a:p>
            <a:r>
              <a:rPr lang="pt-PT" dirty="0"/>
              <a:t>03</a:t>
            </a:r>
          </a:p>
        </p:txBody>
      </p:sp>
      <p:sp>
        <p:nvSpPr>
          <p:cNvPr id="204" name="Marcador de Posição do Texto 203">
            <a:extLst>
              <a:ext uri="{FF2B5EF4-FFF2-40B4-BE49-F238E27FC236}">
                <a16:creationId xmlns:a16="http://schemas.microsoft.com/office/drawing/2014/main" id="{990253CD-9AEB-ADC2-0DC2-E97786A40834}"/>
              </a:ext>
            </a:extLst>
          </p:cNvPr>
          <p:cNvSpPr>
            <a:spLocks noGrp="1"/>
          </p:cNvSpPr>
          <p:nvPr>
            <p:ph type="body" sz="quarter" idx="94"/>
          </p:nvPr>
        </p:nvSpPr>
        <p:spPr/>
        <p:txBody>
          <a:bodyPr/>
          <a:lstStyle/>
          <a:p>
            <a:r>
              <a:rPr lang="pt-PT" dirty="0"/>
              <a:t>05</a:t>
            </a:r>
          </a:p>
        </p:txBody>
      </p:sp>
      <p:grpSp>
        <p:nvGrpSpPr>
          <p:cNvPr id="205" name="Agrupar 204">
            <a:extLst>
              <a:ext uri="{FF2B5EF4-FFF2-40B4-BE49-F238E27FC236}">
                <a16:creationId xmlns:a16="http://schemas.microsoft.com/office/drawing/2014/main" id="{013BB522-0C70-7B4E-7635-95818DF4D5AE}"/>
              </a:ext>
            </a:extLst>
          </p:cNvPr>
          <p:cNvGrpSpPr/>
          <p:nvPr/>
        </p:nvGrpSpPr>
        <p:grpSpPr>
          <a:xfrm>
            <a:off x="1158151" y="1664763"/>
            <a:ext cx="325297" cy="355243"/>
            <a:chOff x="6000092" y="1357908"/>
            <a:chExt cx="365300" cy="398929"/>
          </a:xfrm>
        </p:grpSpPr>
        <p:sp>
          <p:nvSpPr>
            <p:cNvPr id="206" name="Forma livre: Forma 205">
              <a:extLst>
                <a:ext uri="{FF2B5EF4-FFF2-40B4-BE49-F238E27FC236}">
                  <a16:creationId xmlns:a16="http://schemas.microsoft.com/office/drawing/2014/main" id="{D84F15B8-126F-E981-0870-525DFFBB1442}"/>
                </a:ext>
              </a:extLst>
            </p:cNvPr>
            <p:cNvSpPr/>
            <p:nvPr/>
          </p:nvSpPr>
          <p:spPr>
            <a:xfrm>
              <a:off x="6000092" y="1418606"/>
              <a:ext cx="84058" cy="286120"/>
            </a:xfrm>
            <a:custGeom>
              <a:avLst/>
              <a:gdLst>
                <a:gd name="connsiteX0" fmla="*/ 51595 w 84058"/>
                <a:gd name="connsiteY0" fmla="*/ 0 h 286120"/>
                <a:gd name="connsiteX1" fmla="*/ 35266 w 84058"/>
                <a:gd name="connsiteY1" fmla="*/ 61674 h 286120"/>
                <a:gd name="connsiteX2" fmla="*/ 28760 w 84058"/>
                <a:gd name="connsiteY2" fmla="*/ 193415 h 286120"/>
                <a:gd name="connsiteX3" fmla="*/ 84059 w 84058"/>
                <a:gd name="connsiteY3" fmla="*/ 286121 h 2861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4058" h="286120">
                  <a:moveTo>
                    <a:pt x="51595" y="0"/>
                  </a:moveTo>
                  <a:cubicBezTo>
                    <a:pt x="37868" y="7872"/>
                    <a:pt x="26028" y="24852"/>
                    <a:pt x="35266" y="61674"/>
                  </a:cubicBezTo>
                  <a:cubicBezTo>
                    <a:pt x="35266" y="61674"/>
                    <a:pt x="-39549" y="126731"/>
                    <a:pt x="28760" y="193415"/>
                  </a:cubicBezTo>
                  <a:cubicBezTo>
                    <a:pt x="28760" y="193415"/>
                    <a:pt x="9243" y="281242"/>
                    <a:pt x="84059" y="286121"/>
                  </a:cubicBezTo>
                </a:path>
              </a:pathLst>
            </a:custGeom>
            <a:noFill/>
            <a:ln w="19050" cap="sq">
              <a:solidFill>
                <a:schemeClr val="tx1"/>
              </a:solidFill>
              <a:prstDash val="solid"/>
              <a:miter lim="800000"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207" name="Gráfico 32">
              <a:extLst>
                <a:ext uri="{FF2B5EF4-FFF2-40B4-BE49-F238E27FC236}">
                  <a16:creationId xmlns:a16="http://schemas.microsoft.com/office/drawing/2014/main" id="{33FC8A1D-5651-AD7D-A1D0-730784672295}"/>
                </a:ext>
              </a:extLst>
            </p:cNvPr>
            <p:cNvGrpSpPr/>
            <p:nvPr/>
          </p:nvGrpSpPr>
          <p:grpSpPr>
            <a:xfrm>
              <a:off x="6061121" y="1359924"/>
              <a:ext cx="128487" cy="396366"/>
              <a:chOff x="6061121" y="1359924"/>
              <a:chExt cx="128487" cy="396366"/>
            </a:xfrm>
            <a:noFill/>
          </p:grpSpPr>
          <p:sp>
            <p:nvSpPr>
              <p:cNvPr id="222" name="Forma livre: Forma 221">
                <a:extLst>
                  <a:ext uri="{FF2B5EF4-FFF2-40B4-BE49-F238E27FC236}">
                    <a16:creationId xmlns:a16="http://schemas.microsoft.com/office/drawing/2014/main" id="{282F92D7-BEEA-56CC-872C-A780138180B5}"/>
                  </a:ext>
                </a:extLst>
              </p:cNvPr>
              <p:cNvSpPr/>
              <p:nvPr/>
            </p:nvSpPr>
            <p:spPr>
              <a:xfrm>
                <a:off x="6083891" y="1359924"/>
                <a:ext cx="105717" cy="396366"/>
              </a:xfrm>
              <a:custGeom>
                <a:avLst/>
                <a:gdLst>
                  <a:gd name="connsiteX0" fmla="*/ 52891 w 105717"/>
                  <a:gd name="connsiteY0" fmla="*/ 105718 h 396366"/>
                  <a:gd name="connsiteX1" fmla="*/ 0 w 105717"/>
                  <a:gd name="connsiteY1" fmla="*/ 52891 h 396366"/>
                  <a:gd name="connsiteX2" fmla="*/ 52891 w 105717"/>
                  <a:gd name="connsiteY2" fmla="*/ 0 h 396366"/>
                  <a:gd name="connsiteX3" fmla="*/ 105718 w 105717"/>
                  <a:gd name="connsiteY3" fmla="*/ 52826 h 396366"/>
                  <a:gd name="connsiteX4" fmla="*/ 105718 w 105717"/>
                  <a:gd name="connsiteY4" fmla="*/ 346884 h 396366"/>
                  <a:gd name="connsiteX5" fmla="*/ 80606 w 105717"/>
                  <a:gd name="connsiteY5" fmla="*/ 388911 h 396366"/>
                  <a:gd name="connsiteX6" fmla="*/ 9238 w 105717"/>
                  <a:gd name="connsiteY6" fmla="*/ 371150 h 396366"/>
                  <a:gd name="connsiteX7" fmla="*/ 15484 w 105717"/>
                  <a:gd name="connsiteY7" fmla="*/ 309216 h 396366"/>
                  <a:gd name="connsiteX8" fmla="*/ 45019 w 105717"/>
                  <a:gd name="connsiteY8" fmla="*/ 277078 h 3963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05717" h="396366">
                    <a:moveTo>
                      <a:pt x="52891" y="105718"/>
                    </a:moveTo>
                    <a:cubicBezTo>
                      <a:pt x="23681" y="105718"/>
                      <a:pt x="0" y="82037"/>
                      <a:pt x="0" y="52891"/>
                    </a:cubicBezTo>
                    <a:cubicBezTo>
                      <a:pt x="0" y="23746"/>
                      <a:pt x="23681" y="0"/>
                      <a:pt x="52891" y="0"/>
                    </a:cubicBezTo>
                    <a:cubicBezTo>
                      <a:pt x="82102" y="0"/>
                      <a:pt x="105718" y="23681"/>
                      <a:pt x="105718" y="52826"/>
                    </a:cubicBezTo>
                    <a:lnTo>
                      <a:pt x="105718" y="346884"/>
                    </a:lnTo>
                    <a:cubicBezTo>
                      <a:pt x="105718" y="364580"/>
                      <a:pt x="96414" y="379413"/>
                      <a:pt x="80606" y="388911"/>
                    </a:cubicBezTo>
                    <a:cubicBezTo>
                      <a:pt x="55949" y="403744"/>
                      <a:pt x="24006" y="395742"/>
                      <a:pt x="9238" y="371150"/>
                    </a:cubicBezTo>
                    <a:cubicBezTo>
                      <a:pt x="-2928" y="350918"/>
                      <a:pt x="260" y="325741"/>
                      <a:pt x="15484" y="309216"/>
                    </a:cubicBezTo>
                    <a:lnTo>
                      <a:pt x="45019" y="277078"/>
                    </a:lnTo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23" name="Forma livre: Forma 222">
                <a:extLst>
                  <a:ext uri="{FF2B5EF4-FFF2-40B4-BE49-F238E27FC236}">
                    <a16:creationId xmlns:a16="http://schemas.microsoft.com/office/drawing/2014/main" id="{72DAFBA4-694E-28D6-C200-F475C5D41706}"/>
                  </a:ext>
                </a:extLst>
              </p:cNvPr>
              <p:cNvSpPr/>
              <p:nvPr/>
            </p:nvSpPr>
            <p:spPr>
              <a:xfrm>
                <a:off x="6144784" y="1383865"/>
                <a:ext cx="41563" cy="38963"/>
              </a:xfrm>
              <a:custGeom>
                <a:avLst/>
                <a:gdLst>
                  <a:gd name="connsiteX0" fmla="*/ 36172 w 41563"/>
                  <a:gd name="connsiteY0" fmla="*/ 0 h 38963"/>
                  <a:gd name="connsiteX1" fmla="*/ 39425 w 41563"/>
                  <a:gd name="connsiteY1" fmla="*/ 24266 h 38963"/>
                  <a:gd name="connsiteX2" fmla="*/ 36432 w 41563"/>
                  <a:gd name="connsiteY2" fmla="*/ 29080 h 38963"/>
                  <a:gd name="connsiteX3" fmla="*/ 0 w 41563"/>
                  <a:gd name="connsiteY3" fmla="*/ 33439 h 389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563" h="38963">
                    <a:moveTo>
                      <a:pt x="36172" y="0"/>
                    </a:moveTo>
                    <a:cubicBezTo>
                      <a:pt x="41571" y="7547"/>
                      <a:pt x="43393" y="16004"/>
                      <a:pt x="39425" y="24266"/>
                    </a:cubicBezTo>
                    <a:cubicBezTo>
                      <a:pt x="38644" y="25893"/>
                      <a:pt x="37603" y="27519"/>
                      <a:pt x="36432" y="29080"/>
                    </a:cubicBezTo>
                    <a:cubicBezTo>
                      <a:pt x="27584" y="40270"/>
                      <a:pt x="11190" y="42287"/>
                      <a:pt x="0" y="33439"/>
                    </a:cubicBezTo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24" name="Forma livre: Forma 223">
                <a:extLst>
                  <a:ext uri="{FF2B5EF4-FFF2-40B4-BE49-F238E27FC236}">
                    <a16:creationId xmlns:a16="http://schemas.microsoft.com/office/drawing/2014/main" id="{63BEF0E0-3C57-9A88-2814-A8B0108913EA}"/>
                  </a:ext>
                </a:extLst>
              </p:cNvPr>
              <p:cNvSpPr/>
              <p:nvPr/>
            </p:nvSpPr>
            <p:spPr>
              <a:xfrm>
                <a:off x="6081487" y="1460806"/>
                <a:ext cx="34217" cy="54474"/>
              </a:xfrm>
              <a:custGeom>
                <a:avLst/>
                <a:gdLst>
                  <a:gd name="connsiteX0" fmla="*/ 21076 w 34217"/>
                  <a:gd name="connsiteY0" fmla="*/ 54475 h 54474"/>
                  <a:gd name="connsiteX1" fmla="*/ 778 w 34217"/>
                  <a:gd name="connsiteY1" fmla="*/ 21035 h 54474"/>
                  <a:gd name="connsiteX2" fmla="*/ 34217 w 34217"/>
                  <a:gd name="connsiteY2" fmla="*/ 803 h 544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4217" h="54474">
                    <a:moveTo>
                      <a:pt x="21076" y="54475"/>
                    </a:moveTo>
                    <a:cubicBezTo>
                      <a:pt x="6308" y="50832"/>
                      <a:pt x="-2800" y="35803"/>
                      <a:pt x="778" y="21035"/>
                    </a:cubicBezTo>
                    <a:cubicBezTo>
                      <a:pt x="4421" y="6267"/>
                      <a:pt x="19449" y="-2841"/>
                      <a:pt x="34217" y="803"/>
                    </a:cubicBezTo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25" name="Forma livre: Forma 224">
                <a:extLst>
                  <a:ext uri="{FF2B5EF4-FFF2-40B4-BE49-F238E27FC236}">
                    <a16:creationId xmlns:a16="http://schemas.microsoft.com/office/drawing/2014/main" id="{B930FD3D-E191-0227-F3C8-6B88346047FD}"/>
                  </a:ext>
                </a:extLst>
              </p:cNvPr>
              <p:cNvSpPr/>
              <p:nvPr/>
            </p:nvSpPr>
            <p:spPr>
              <a:xfrm>
                <a:off x="6073547" y="1527543"/>
                <a:ext cx="114760" cy="72506"/>
              </a:xfrm>
              <a:custGeom>
                <a:avLst/>
                <a:gdLst>
                  <a:gd name="connsiteX0" fmla="*/ 114760 w 114760"/>
                  <a:gd name="connsiteY0" fmla="*/ 7254 h 72506"/>
                  <a:gd name="connsiteX1" fmla="*/ 73905 w 114760"/>
                  <a:gd name="connsiteY1" fmla="*/ 8881 h 72506"/>
                  <a:gd name="connsiteX2" fmla="*/ 0 w 114760"/>
                  <a:gd name="connsiteY2" fmla="*/ 72506 h 725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14760" h="72506">
                    <a:moveTo>
                      <a:pt x="114760" y="7254"/>
                    </a:moveTo>
                    <a:cubicBezTo>
                      <a:pt x="103375" y="-2830"/>
                      <a:pt x="83989" y="-2504"/>
                      <a:pt x="73905" y="8881"/>
                    </a:cubicBezTo>
                    <a:cubicBezTo>
                      <a:pt x="73905" y="8881"/>
                      <a:pt x="31488" y="72506"/>
                      <a:pt x="0" y="72506"/>
                    </a:cubicBezTo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26" name="Forma livre: Forma 225">
                <a:extLst>
                  <a:ext uri="{FF2B5EF4-FFF2-40B4-BE49-F238E27FC236}">
                    <a16:creationId xmlns:a16="http://schemas.microsoft.com/office/drawing/2014/main" id="{53A09A86-6720-3E6B-297A-A65E919ABD0A}"/>
                  </a:ext>
                </a:extLst>
              </p:cNvPr>
              <p:cNvSpPr/>
              <p:nvPr/>
            </p:nvSpPr>
            <p:spPr>
              <a:xfrm>
                <a:off x="6079857" y="1646956"/>
                <a:ext cx="29405" cy="9823"/>
              </a:xfrm>
              <a:custGeom>
                <a:avLst/>
                <a:gdLst>
                  <a:gd name="connsiteX0" fmla="*/ 0 w 29405"/>
                  <a:gd name="connsiteY0" fmla="*/ 0 h 9823"/>
                  <a:gd name="connsiteX1" fmla="*/ 29406 w 29405"/>
                  <a:gd name="connsiteY1" fmla="*/ 9824 h 98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9405" h="9823">
                    <a:moveTo>
                      <a:pt x="0" y="0"/>
                    </a:moveTo>
                    <a:lnTo>
                      <a:pt x="29406" y="9824"/>
                    </a:lnTo>
                  </a:path>
                </a:pathLst>
              </a:custGeom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27" name="Forma livre: Forma 226">
                <a:extLst>
                  <a:ext uri="{FF2B5EF4-FFF2-40B4-BE49-F238E27FC236}">
                    <a16:creationId xmlns:a16="http://schemas.microsoft.com/office/drawing/2014/main" id="{54981786-6062-5072-72BB-A774EEE1EDD5}"/>
                  </a:ext>
                </a:extLst>
              </p:cNvPr>
              <p:cNvSpPr/>
              <p:nvPr/>
            </p:nvSpPr>
            <p:spPr>
              <a:xfrm>
                <a:off x="6061121" y="1545272"/>
                <a:ext cx="47166" cy="34154"/>
              </a:xfrm>
              <a:custGeom>
                <a:avLst/>
                <a:gdLst>
                  <a:gd name="connsiteX0" fmla="*/ 0 w 47166"/>
                  <a:gd name="connsiteY0" fmla="*/ 0 h 34154"/>
                  <a:gd name="connsiteX1" fmla="*/ 47166 w 47166"/>
                  <a:gd name="connsiteY1" fmla="*/ 34155 h 341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166" h="34154">
                    <a:moveTo>
                      <a:pt x="0" y="0"/>
                    </a:moveTo>
                    <a:cubicBezTo>
                      <a:pt x="0" y="0"/>
                      <a:pt x="27649" y="13011"/>
                      <a:pt x="47166" y="34155"/>
                    </a:cubicBezTo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208" name="Gráfico 32">
              <a:extLst>
                <a:ext uri="{FF2B5EF4-FFF2-40B4-BE49-F238E27FC236}">
                  <a16:creationId xmlns:a16="http://schemas.microsoft.com/office/drawing/2014/main" id="{1BFACDA4-A91C-F85E-C056-FB8A2D935960}"/>
                </a:ext>
              </a:extLst>
            </p:cNvPr>
            <p:cNvGrpSpPr/>
            <p:nvPr/>
          </p:nvGrpSpPr>
          <p:grpSpPr>
            <a:xfrm>
              <a:off x="6191625" y="1599725"/>
              <a:ext cx="173767" cy="157112"/>
              <a:chOff x="6191625" y="1599725"/>
              <a:chExt cx="173767" cy="157112"/>
            </a:xfrm>
            <a:noFill/>
          </p:grpSpPr>
          <p:sp>
            <p:nvSpPr>
              <p:cNvPr id="218" name="Forma livre: Forma 217">
                <a:extLst>
                  <a:ext uri="{FF2B5EF4-FFF2-40B4-BE49-F238E27FC236}">
                    <a16:creationId xmlns:a16="http://schemas.microsoft.com/office/drawing/2014/main" id="{160C2DE0-E6A9-8DA1-8334-7125D1CB1608}"/>
                  </a:ext>
                </a:extLst>
              </p:cNvPr>
              <p:cNvSpPr/>
              <p:nvPr/>
            </p:nvSpPr>
            <p:spPr>
              <a:xfrm>
                <a:off x="6310094" y="1621974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19" name="Forma livre: Forma 218">
                <a:extLst>
                  <a:ext uri="{FF2B5EF4-FFF2-40B4-BE49-F238E27FC236}">
                    <a16:creationId xmlns:a16="http://schemas.microsoft.com/office/drawing/2014/main" id="{D9F07575-39DE-E4AB-611C-DAD6AAD46247}"/>
                  </a:ext>
                </a:extLst>
              </p:cNvPr>
              <p:cNvSpPr/>
              <p:nvPr/>
            </p:nvSpPr>
            <p:spPr>
              <a:xfrm>
                <a:off x="6191625" y="1599725"/>
                <a:ext cx="118078" cy="49898"/>
              </a:xfrm>
              <a:custGeom>
                <a:avLst/>
                <a:gdLst>
                  <a:gd name="connsiteX0" fmla="*/ 0 w 118078"/>
                  <a:gd name="connsiteY0" fmla="*/ 0 h 49898"/>
                  <a:gd name="connsiteX1" fmla="*/ 37343 w 118078"/>
                  <a:gd name="connsiteY1" fmla="*/ 0 h 49898"/>
                  <a:gd name="connsiteX2" fmla="*/ 87176 w 118078"/>
                  <a:gd name="connsiteY2" fmla="*/ 49899 h 49898"/>
                  <a:gd name="connsiteX3" fmla="*/ 118078 w 118078"/>
                  <a:gd name="connsiteY3" fmla="*/ 49899 h 49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8078" h="49898">
                    <a:moveTo>
                      <a:pt x="0" y="0"/>
                    </a:moveTo>
                    <a:lnTo>
                      <a:pt x="37343" y="0"/>
                    </a:lnTo>
                    <a:lnTo>
                      <a:pt x="87176" y="49899"/>
                    </a:lnTo>
                    <a:lnTo>
                      <a:pt x="118078" y="49899"/>
                    </a:lnTo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20" name="Forma livre: Forma 219">
                <a:extLst>
                  <a:ext uri="{FF2B5EF4-FFF2-40B4-BE49-F238E27FC236}">
                    <a16:creationId xmlns:a16="http://schemas.microsoft.com/office/drawing/2014/main" id="{C9D15915-1452-A9F0-7ED7-0512B0A8FF64}"/>
                  </a:ext>
                </a:extLst>
              </p:cNvPr>
              <p:cNvSpPr/>
              <p:nvPr/>
            </p:nvSpPr>
            <p:spPr>
              <a:xfrm>
                <a:off x="6191625" y="1665367"/>
                <a:ext cx="81906" cy="44108"/>
              </a:xfrm>
              <a:custGeom>
                <a:avLst/>
                <a:gdLst>
                  <a:gd name="connsiteX0" fmla="*/ 0 w 81906"/>
                  <a:gd name="connsiteY0" fmla="*/ 0 h 44108"/>
                  <a:gd name="connsiteX1" fmla="*/ 37343 w 81906"/>
                  <a:gd name="connsiteY1" fmla="*/ 0 h 44108"/>
                  <a:gd name="connsiteX2" fmla="*/ 81907 w 81906"/>
                  <a:gd name="connsiteY2" fmla="*/ 44109 h 441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1906" h="44108">
                    <a:moveTo>
                      <a:pt x="0" y="0"/>
                    </a:moveTo>
                    <a:lnTo>
                      <a:pt x="37343" y="0"/>
                    </a:lnTo>
                    <a:lnTo>
                      <a:pt x="81907" y="44109"/>
                    </a:lnTo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21" name="Forma livre: Forma 220">
                <a:extLst>
                  <a:ext uri="{FF2B5EF4-FFF2-40B4-BE49-F238E27FC236}">
                    <a16:creationId xmlns:a16="http://schemas.microsoft.com/office/drawing/2014/main" id="{11FA122F-900E-C533-5560-47F99BAE11C9}"/>
                  </a:ext>
                </a:extLst>
              </p:cNvPr>
              <p:cNvSpPr/>
              <p:nvPr/>
            </p:nvSpPr>
            <p:spPr>
              <a:xfrm>
                <a:off x="6265075" y="1701539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209" name="Gráfico 32">
              <a:extLst>
                <a:ext uri="{FF2B5EF4-FFF2-40B4-BE49-F238E27FC236}">
                  <a16:creationId xmlns:a16="http://schemas.microsoft.com/office/drawing/2014/main" id="{8295FDA5-2E8D-E6BB-57F5-2EB7233E808B}"/>
                </a:ext>
              </a:extLst>
            </p:cNvPr>
            <p:cNvGrpSpPr/>
            <p:nvPr/>
          </p:nvGrpSpPr>
          <p:grpSpPr>
            <a:xfrm>
              <a:off x="6191625" y="1357908"/>
              <a:ext cx="173767" cy="157112"/>
              <a:chOff x="6191625" y="1357908"/>
              <a:chExt cx="173767" cy="157112"/>
            </a:xfrm>
            <a:noFill/>
          </p:grpSpPr>
          <p:sp>
            <p:nvSpPr>
              <p:cNvPr id="214" name="Forma livre: Forma 213">
                <a:extLst>
                  <a:ext uri="{FF2B5EF4-FFF2-40B4-BE49-F238E27FC236}">
                    <a16:creationId xmlns:a16="http://schemas.microsoft.com/office/drawing/2014/main" id="{60683179-805B-FAE5-FC10-A57589E8B05E}"/>
                  </a:ext>
                </a:extLst>
              </p:cNvPr>
              <p:cNvSpPr/>
              <p:nvPr/>
            </p:nvSpPr>
            <p:spPr>
              <a:xfrm>
                <a:off x="6310094" y="1437472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0 h 55298"/>
                  <a:gd name="connsiteX2" fmla="*/ 0 w 55298"/>
                  <a:gd name="connsiteY2" fmla="*/ 27649 h 55298"/>
                  <a:gd name="connsiteX3" fmla="*/ 27649 w 55298"/>
                  <a:gd name="connsiteY3" fmla="*/ 55298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12361"/>
                      <a:pt x="42938" y="0"/>
                      <a:pt x="27649" y="0"/>
                    </a:cubicBezTo>
                    <a:cubicBezTo>
                      <a:pt x="12361" y="0"/>
                      <a:pt x="0" y="12361"/>
                      <a:pt x="0" y="27649"/>
                    </a:cubicBezTo>
                    <a:cubicBezTo>
                      <a:pt x="0" y="42938"/>
                      <a:pt x="12361" y="55298"/>
                      <a:pt x="27649" y="55298"/>
                    </a:cubicBezTo>
                    <a:cubicBezTo>
                      <a:pt x="42938" y="55298"/>
                      <a:pt x="55298" y="42938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15" name="Forma livre: Forma 214">
                <a:extLst>
                  <a:ext uri="{FF2B5EF4-FFF2-40B4-BE49-F238E27FC236}">
                    <a16:creationId xmlns:a16="http://schemas.microsoft.com/office/drawing/2014/main" id="{CCD10361-3537-099B-58AC-4E0503E72F0F}"/>
                  </a:ext>
                </a:extLst>
              </p:cNvPr>
              <p:cNvSpPr/>
              <p:nvPr/>
            </p:nvSpPr>
            <p:spPr>
              <a:xfrm>
                <a:off x="6191625" y="1465122"/>
                <a:ext cx="118468" cy="49898"/>
              </a:xfrm>
              <a:custGeom>
                <a:avLst/>
                <a:gdLst>
                  <a:gd name="connsiteX0" fmla="*/ 0 w 118468"/>
                  <a:gd name="connsiteY0" fmla="*/ 49899 h 49898"/>
                  <a:gd name="connsiteX1" fmla="*/ 37343 w 118468"/>
                  <a:gd name="connsiteY1" fmla="*/ 49899 h 49898"/>
                  <a:gd name="connsiteX2" fmla="*/ 87176 w 118468"/>
                  <a:gd name="connsiteY2" fmla="*/ 0 h 49898"/>
                  <a:gd name="connsiteX3" fmla="*/ 118469 w 118468"/>
                  <a:gd name="connsiteY3" fmla="*/ 0 h 49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8468" h="49898">
                    <a:moveTo>
                      <a:pt x="0" y="49899"/>
                    </a:moveTo>
                    <a:lnTo>
                      <a:pt x="37343" y="49899"/>
                    </a:lnTo>
                    <a:lnTo>
                      <a:pt x="87176" y="0"/>
                    </a:lnTo>
                    <a:lnTo>
                      <a:pt x="118469" y="0"/>
                    </a:lnTo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16" name="Forma livre: Forma 215">
                <a:extLst>
                  <a:ext uri="{FF2B5EF4-FFF2-40B4-BE49-F238E27FC236}">
                    <a16:creationId xmlns:a16="http://schemas.microsoft.com/office/drawing/2014/main" id="{97097C0A-E217-BFBE-FF93-DAE65D588DF1}"/>
                  </a:ext>
                </a:extLst>
              </p:cNvPr>
              <p:cNvSpPr/>
              <p:nvPr/>
            </p:nvSpPr>
            <p:spPr>
              <a:xfrm>
                <a:off x="6191625" y="1405269"/>
                <a:ext cx="81451" cy="44043"/>
              </a:xfrm>
              <a:custGeom>
                <a:avLst/>
                <a:gdLst>
                  <a:gd name="connsiteX0" fmla="*/ 0 w 81451"/>
                  <a:gd name="connsiteY0" fmla="*/ 44044 h 44043"/>
                  <a:gd name="connsiteX1" fmla="*/ 37343 w 81451"/>
                  <a:gd name="connsiteY1" fmla="*/ 44044 h 44043"/>
                  <a:gd name="connsiteX2" fmla="*/ 81451 w 81451"/>
                  <a:gd name="connsiteY2" fmla="*/ 0 h 440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1451" h="44043">
                    <a:moveTo>
                      <a:pt x="0" y="44044"/>
                    </a:moveTo>
                    <a:lnTo>
                      <a:pt x="37343" y="44044"/>
                    </a:lnTo>
                    <a:lnTo>
                      <a:pt x="81451" y="0"/>
                    </a:lnTo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17" name="Forma livre: Forma 216">
                <a:extLst>
                  <a:ext uri="{FF2B5EF4-FFF2-40B4-BE49-F238E27FC236}">
                    <a16:creationId xmlns:a16="http://schemas.microsoft.com/office/drawing/2014/main" id="{9065A912-EDA5-ECA3-CEE6-D45274A04CFC}"/>
                  </a:ext>
                </a:extLst>
              </p:cNvPr>
              <p:cNvSpPr/>
              <p:nvPr/>
            </p:nvSpPr>
            <p:spPr>
              <a:xfrm>
                <a:off x="6265075" y="1357908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0 h 55298"/>
                  <a:gd name="connsiteX2" fmla="*/ 0 w 55298"/>
                  <a:gd name="connsiteY2" fmla="*/ 27649 h 55298"/>
                  <a:gd name="connsiteX3" fmla="*/ 27649 w 55298"/>
                  <a:gd name="connsiteY3" fmla="*/ 55298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12361"/>
                      <a:pt x="42938" y="0"/>
                      <a:pt x="27649" y="0"/>
                    </a:cubicBezTo>
                    <a:cubicBezTo>
                      <a:pt x="12361" y="0"/>
                      <a:pt x="0" y="12361"/>
                      <a:pt x="0" y="27649"/>
                    </a:cubicBezTo>
                    <a:cubicBezTo>
                      <a:pt x="0" y="42938"/>
                      <a:pt x="12361" y="55298"/>
                      <a:pt x="27649" y="55298"/>
                    </a:cubicBezTo>
                    <a:cubicBezTo>
                      <a:pt x="42938" y="55298"/>
                      <a:pt x="55298" y="42938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210" name="Gráfico 32">
              <a:extLst>
                <a:ext uri="{FF2B5EF4-FFF2-40B4-BE49-F238E27FC236}">
                  <a16:creationId xmlns:a16="http://schemas.microsoft.com/office/drawing/2014/main" id="{CB837D83-17EE-CBF0-627C-4B7A2377765B}"/>
                </a:ext>
              </a:extLst>
            </p:cNvPr>
            <p:cNvGrpSpPr/>
            <p:nvPr/>
          </p:nvGrpSpPr>
          <p:grpSpPr>
            <a:xfrm>
              <a:off x="6190910" y="1529723"/>
              <a:ext cx="123673" cy="55298"/>
              <a:chOff x="6190910" y="1529723"/>
              <a:chExt cx="123673" cy="55298"/>
            </a:xfrm>
            <a:noFill/>
          </p:grpSpPr>
          <p:sp>
            <p:nvSpPr>
              <p:cNvPr id="212" name="Forma livre: Forma 211">
                <a:extLst>
                  <a:ext uri="{FF2B5EF4-FFF2-40B4-BE49-F238E27FC236}">
                    <a16:creationId xmlns:a16="http://schemas.microsoft.com/office/drawing/2014/main" id="{FFDE0DCA-668B-C121-5A44-66D634F9BCD2}"/>
                  </a:ext>
                </a:extLst>
              </p:cNvPr>
              <p:cNvSpPr/>
              <p:nvPr/>
            </p:nvSpPr>
            <p:spPr>
              <a:xfrm>
                <a:off x="6190910" y="1557372"/>
                <a:ext cx="68765" cy="6505"/>
              </a:xfrm>
              <a:custGeom>
                <a:avLst/>
                <a:gdLst>
                  <a:gd name="connsiteX0" fmla="*/ 0 w 68765"/>
                  <a:gd name="connsiteY0" fmla="*/ 0 h 6505"/>
                  <a:gd name="connsiteX1" fmla="*/ 68765 w 68765"/>
                  <a:gd name="connsiteY1" fmla="*/ 0 h 65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8765" h="6505">
                    <a:moveTo>
                      <a:pt x="0" y="0"/>
                    </a:moveTo>
                    <a:lnTo>
                      <a:pt x="68765" y="0"/>
                    </a:lnTo>
                  </a:path>
                </a:pathLst>
              </a:custGeom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13" name="Forma livre: Forma 212">
                <a:extLst>
                  <a:ext uri="{FF2B5EF4-FFF2-40B4-BE49-F238E27FC236}">
                    <a16:creationId xmlns:a16="http://schemas.microsoft.com/office/drawing/2014/main" id="{9323C9A4-FF90-0ED3-28BF-188FEB245096}"/>
                  </a:ext>
                </a:extLst>
              </p:cNvPr>
              <p:cNvSpPr/>
              <p:nvPr/>
            </p:nvSpPr>
            <p:spPr>
              <a:xfrm>
                <a:off x="6259285" y="1529723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211" name="Forma livre: Forma 210">
              <a:extLst>
                <a:ext uri="{FF2B5EF4-FFF2-40B4-BE49-F238E27FC236}">
                  <a16:creationId xmlns:a16="http://schemas.microsoft.com/office/drawing/2014/main" id="{CD7553CF-56E8-8896-1A9F-662765319293}"/>
                </a:ext>
              </a:extLst>
            </p:cNvPr>
            <p:cNvSpPr/>
            <p:nvPr/>
          </p:nvSpPr>
          <p:spPr>
            <a:xfrm>
              <a:off x="6152201" y="1686285"/>
              <a:ext cx="37362" cy="20848"/>
            </a:xfrm>
            <a:custGeom>
              <a:avLst/>
              <a:gdLst>
                <a:gd name="connsiteX0" fmla="*/ 0 w 37362"/>
                <a:gd name="connsiteY0" fmla="*/ 10505 h 20848"/>
                <a:gd name="connsiteX1" fmla="*/ 27064 w 37362"/>
                <a:gd name="connsiteY1" fmla="*/ 2373 h 20848"/>
                <a:gd name="connsiteX2" fmla="*/ 37343 w 37362"/>
                <a:gd name="connsiteY2" fmla="*/ 20849 h 20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7362" h="20848">
                  <a:moveTo>
                    <a:pt x="0" y="10505"/>
                  </a:moveTo>
                  <a:cubicBezTo>
                    <a:pt x="5205" y="811"/>
                    <a:pt x="17435" y="-2832"/>
                    <a:pt x="27064" y="2373"/>
                  </a:cubicBezTo>
                  <a:cubicBezTo>
                    <a:pt x="34025" y="6081"/>
                    <a:pt x="37668" y="13432"/>
                    <a:pt x="37343" y="20849"/>
                  </a:cubicBezTo>
                </a:path>
              </a:pathLst>
            </a:custGeom>
            <a:noFill/>
            <a:ln w="19050" cap="sq">
              <a:solidFill>
                <a:schemeClr val="tx1"/>
              </a:solidFill>
              <a:prstDash val="solid"/>
              <a:miter lim="800000"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228" name="Agrupar 227">
            <a:extLst>
              <a:ext uri="{FF2B5EF4-FFF2-40B4-BE49-F238E27FC236}">
                <a16:creationId xmlns:a16="http://schemas.microsoft.com/office/drawing/2014/main" id="{976F5BDC-7609-885D-A7D7-ED3D7662FDF5}"/>
              </a:ext>
            </a:extLst>
          </p:cNvPr>
          <p:cNvGrpSpPr/>
          <p:nvPr/>
        </p:nvGrpSpPr>
        <p:grpSpPr>
          <a:xfrm>
            <a:off x="2167801" y="3897379"/>
            <a:ext cx="325297" cy="355243"/>
            <a:chOff x="6000092" y="1357908"/>
            <a:chExt cx="365300" cy="398929"/>
          </a:xfrm>
        </p:grpSpPr>
        <p:sp>
          <p:nvSpPr>
            <p:cNvPr id="229" name="Forma livre: Forma 228">
              <a:extLst>
                <a:ext uri="{FF2B5EF4-FFF2-40B4-BE49-F238E27FC236}">
                  <a16:creationId xmlns:a16="http://schemas.microsoft.com/office/drawing/2014/main" id="{BFFC3C93-70A3-65FD-B74E-05732EE97B5C}"/>
                </a:ext>
              </a:extLst>
            </p:cNvPr>
            <p:cNvSpPr/>
            <p:nvPr/>
          </p:nvSpPr>
          <p:spPr>
            <a:xfrm>
              <a:off x="6000092" y="1418606"/>
              <a:ext cx="84058" cy="286120"/>
            </a:xfrm>
            <a:custGeom>
              <a:avLst/>
              <a:gdLst>
                <a:gd name="connsiteX0" fmla="*/ 51595 w 84058"/>
                <a:gd name="connsiteY0" fmla="*/ 0 h 286120"/>
                <a:gd name="connsiteX1" fmla="*/ 35266 w 84058"/>
                <a:gd name="connsiteY1" fmla="*/ 61674 h 286120"/>
                <a:gd name="connsiteX2" fmla="*/ 28760 w 84058"/>
                <a:gd name="connsiteY2" fmla="*/ 193415 h 286120"/>
                <a:gd name="connsiteX3" fmla="*/ 84059 w 84058"/>
                <a:gd name="connsiteY3" fmla="*/ 286121 h 2861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4058" h="286120">
                  <a:moveTo>
                    <a:pt x="51595" y="0"/>
                  </a:moveTo>
                  <a:cubicBezTo>
                    <a:pt x="37868" y="7872"/>
                    <a:pt x="26028" y="24852"/>
                    <a:pt x="35266" y="61674"/>
                  </a:cubicBezTo>
                  <a:cubicBezTo>
                    <a:pt x="35266" y="61674"/>
                    <a:pt x="-39549" y="126731"/>
                    <a:pt x="28760" y="193415"/>
                  </a:cubicBezTo>
                  <a:cubicBezTo>
                    <a:pt x="28760" y="193415"/>
                    <a:pt x="9243" y="281242"/>
                    <a:pt x="84059" y="286121"/>
                  </a:cubicBezTo>
                </a:path>
              </a:pathLst>
            </a:custGeom>
            <a:noFill/>
            <a:ln w="19050" cap="sq">
              <a:solidFill>
                <a:schemeClr val="tx1"/>
              </a:solidFill>
              <a:prstDash val="solid"/>
              <a:miter lim="800000"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230" name="Gráfico 32">
              <a:extLst>
                <a:ext uri="{FF2B5EF4-FFF2-40B4-BE49-F238E27FC236}">
                  <a16:creationId xmlns:a16="http://schemas.microsoft.com/office/drawing/2014/main" id="{09743D9B-D867-C75F-81BB-BB12EBC2F637}"/>
                </a:ext>
              </a:extLst>
            </p:cNvPr>
            <p:cNvGrpSpPr/>
            <p:nvPr/>
          </p:nvGrpSpPr>
          <p:grpSpPr>
            <a:xfrm>
              <a:off x="6061121" y="1359924"/>
              <a:ext cx="128487" cy="396366"/>
              <a:chOff x="6061121" y="1359924"/>
              <a:chExt cx="128487" cy="396366"/>
            </a:xfrm>
            <a:noFill/>
          </p:grpSpPr>
          <p:sp>
            <p:nvSpPr>
              <p:cNvPr id="245" name="Forma livre: Forma 244">
                <a:extLst>
                  <a:ext uri="{FF2B5EF4-FFF2-40B4-BE49-F238E27FC236}">
                    <a16:creationId xmlns:a16="http://schemas.microsoft.com/office/drawing/2014/main" id="{0876F185-72C5-CAC7-EBC2-2CEC07BA6AC2}"/>
                  </a:ext>
                </a:extLst>
              </p:cNvPr>
              <p:cNvSpPr/>
              <p:nvPr/>
            </p:nvSpPr>
            <p:spPr>
              <a:xfrm>
                <a:off x="6083891" y="1359924"/>
                <a:ext cx="105717" cy="396366"/>
              </a:xfrm>
              <a:custGeom>
                <a:avLst/>
                <a:gdLst>
                  <a:gd name="connsiteX0" fmla="*/ 52891 w 105717"/>
                  <a:gd name="connsiteY0" fmla="*/ 105718 h 396366"/>
                  <a:gd name="connsiteX1" fmla="*/ 0 w 105717"/>
                  <a:gd name="connsiteY1" fmla="*/ 52891 h 396366"/>
                  <a:gd name="connsiteX2" fmla="*/ 52891 w 105717"/>
                  <a:gd name="connsiteY2" fmla="*/ 0 h 396366"/>
                  <a:gd name="connsiteX3" fmla="*/ 105718 w 105717"/>
                  <a:gd name="connsiteY3" fmla="*/ 52826 h 396366"/>
                  <a:gd name="connsiteX4" fmla="*/ 105718 w 105717"/>
                  <a:gd name="connsiteY4" fmla="*/ 346884 h 396366"/>
                  <a:gd name="connsiteX5" fmla="*/ 80606 w 105717"/>
                  <a:gd name="connsiteY5" fmla="*/ 388911 h 396366"/>
                  <a:gd name="connsiteX6" fmla="*/ 9238 w 105717"/>
                  <a:gd name="connsiteY6" fmla="*/ 371150 h 396366"/>
                  <a:gd name="connsiteX7" fmla="*/ 15484 w 105717"/>
                  <a:gd name="connsiteY7" fmla="*/ 309216 h 396366"/>
                  <a:gd name="connsiteX8" fmla="*/ 45019 w 105717"/>
                  <a:gd name="connsiteY8" fmla="*/ 277078 h 3963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05717" h="396366">
                    <a:moveTo>
                      <a:pt x="52891" y="105718"/>
                    </a:moveTo>
                    <a:cubicBezTo>
                      <a:pt x="23681" y="105718"/>
                      <a:pt x="0" y="82037"/>
                      <a:pt x="0" y="52891"/>
                    </a:cubicBezTo>
                    <a:cubicBezTo>
                      <a:pt x="0" y="23746"/>
                      <a:pt x="23681" y="0"/>
                      <a:pt x="52891" y="0"/>
                    </a:cubicBezTo>
                    <a:cubicBezTo>
                      <a:pt x="82102" y="0"/>
                      <a:pt x="105718" y="23681"/>
                      <a:pt x="105718" y="52826"/>
                    </a:cubicBezTo>
                    <a:lnTo>
                      <a:pt x="105718" y="346884"/>
                    </a:lnTo>
                    <a:cubicBezTo>
                      <a:pt x="105718" y="364580"/>
                      <a:pt x="96414" y="379413"/>
                      <a:pt x="80606" y="388911"/>
                    </a:cubicBezTo>
                    <a:cubicBezTo>
                      <a:pt x="55949" y="403744"/>
                      <a:pt x="24006" y="395742"/>
                      <a:pt x="9238" y="371150"/>
                    </a:cubicBezTo>
                    <a:cubicBezTo>
                      <a:pt x="-2928" y="350918"/>
                      <a:pt x="260" y="325741"/>
                      <a:pt x="15484" y="309216"/>
                    </a:cubicBezTo>
                    <a:lnTo>
                      <a:pt x="45019" y="277078"/>
                    </a:lnTo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46" name="Forma livre: Forma 245">
                <a:extLst>
                  <a:ext uri="{FF2B5EF4-FFF2-40B4-BE49-F238E27FC236}">
                    <a16:creationId xmlns:a16="http://schemas.microsoft.com/office/drawing/2014/main" id="{36FD9DC4-01D9-CCDC-E362-B76DE245F8E7}"/>
                  </a:ext>
                </a:extLst>
              </p:cNvPr>
              <p:cNvSpPr/>
              <p:nvPr/>
            </p:nvSpPr>
            <p:spPr>
              <a:xfrm>
                <a:off x="6144784" y="1383865"/>
                <a:ext cx="41563" cy="38963"/>
              </a:xfrm>
              <a:custGeom>
                <a:avLst/>
                <a:gdLst>
                  <a:gd name="connsiteX0" fmla="*/ 36172 w 41563"/>
                  <a:gd name="connsiteY0" fmla="*/ 0 h 38963"/>
                  <a:gd name="connsiteX1" fmla="*/ 39425 w 41563"/>
                  <a:gd name="connsiteY1" fmla="*/ 24266 h 38963"/>
                  <a:gd name="connsiteX2" fmla="*/ 36432 w 41563"/>
                  <a:gd name="connsiteY2" fmla="*/ 29080 h 38963"/>
                  <a:gd name="connsiteX3" fmla="*/ 0 w 41563"/>
                  <a:gd name="connsiteY3" fmla="*/ 33439 h 389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563" h="38963">
                    <a:moveTo>
                      <a:pt x="36172" y="0"/>
                    </a:moveTo>
                    <a:cubicBezTo>
                      <a:pt x="41571" y="7547"/>
                      <a:pt x="43393" y="16004"/>
                      <a:pt x="39425" y="24266"/>
                    </a:cubicBezTo>
                    <a:cubicBezTo>
                      <a:pt x="38644" y="25893"/>
                      <a:pt x="37603" y="27519"/>
                      <a:pt x="36432" y="29080"/>
                    </a:cubicBezTo>
                    <a:cubicBezTo>
                      <a:pt x="27584" y="40270"/>
                      <a:pt x="11190" y="42287"/>
                      <a:pt x="0" y="33439"/>
                    </a:cubicBezTo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47" name="Forma livre: Forma 246">
                <a:extLst>
                  <a:ext uri="{FF2B5EF4-FFF2-40B4-BE49-F238E27FC236}">
                    <a16:creationId xmlns:a16="http://schemas.microsoft.com/office/drawing/2014/main" id="{3375A269-62FA-F1DE-42F8-F78EC76DC2C4}"/>
                  </a:ext>
                </a:extLst>
              </p:cNvPr>
              <p:cNvSpPr/>
              <p:nvPr/>
            </p:nvSpPr>
            <p:spPr>
              <a:xfrm>
                <a:off x="6081487" y="1460806"/>
                <a:ext cx="34217" cy="54474"/>
              </a:xfrm>
              <a:custGeom>
                <a:avLst/>
                <a:gdLst>
                  <a:gd name="connsiteX0" fmla="*/ 21076 w 34217"/>
                  <a:gd name="connsiteY0" fmla="*/ 54475 h 54474"/>
                  <a:gd name="connsiteX1" fmla="*/ 778 w 34217"/>
                  <a:gd name="connsiteY1" fmla="*/ 21035 h 54474"/>
                  <a:gd name="connsiteX2" fmla="*/ 34217 w 34217"/>
                  <a:gd name="connsiteY2" fmla="*/ 803 h 544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4217" h="54474">
                    <a:moveTo>
                      <a:pt x="21076" y="54475"/>
                    </a:moveTo>
                    <a:cubicBezTo>
                      <a:pt x="6308" y="50832"/>
                      <a:pt x="-2800" y="35803"/>
                      <a:pt x="778" y="21035"/>
                    </a:cubicBezTo>
                    <a:cubicBezTo>
                      <a:pt x="4421" y="6267"/>
                      <a:pt x="19449" y="-2841"/>
                      <a:pt x="34217" y="803"/>
                    </a:cubicBezTo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48" name="Forma livre: Forma 247">
                <a:extLst>
                  <a:ext uri="{FF2B5EF4-FFF2-40B4-BE49-F238E27FC236}">
                    <a16:creationId xmlns:a16="http://schemas.microsoft.com/office/drawing/2014/main" id="{FDE10A11-5993-5F85-AD96-6AF96FBEC04D}"/>
                  </a:ext>
                </a:extLst>
              </p:cNvPr>
              <p:cNvSpPr/>
              <p:nvPr/>
            </p:nvSpPr>
            <p:spPr>
              <a:xfrm>
                <a:off x="6073547" y="1527543"/>
                <a:ext cx="114760" cy="72506"/>
              </a:xfrm>
              <a:custGeom>
                <a:avLst/>
                <a:gdLst>
                  <a:gd name="connsiteX0" fmla="*/ 114760 w 114760"/>
                  <a:gd name="connsiteY0" fmla="*/ 7254 h 72506"/>
                  <a:gd name="connsiteX1" fmla="*/ 73905 w 114760"/>
                  <a:gd name="connsiteY1" fmla="*/ 8881 h 72506"/>
                  <a:gd name="connsiteX2" fmla="*/ 0 w 114760"/>
                  <a:gd name="connsiteY2" fmla="*/ 72506 h 725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14760" h="72506">
                    <a:moveTo>
                      <a:pt x="114760" y="7254"/>
                    </a:moveTo>
                    <a:cubicBezTo>
                      <a:pt x="103375" y="-2830"/>
                      <a:pt x="83989" y="-2504"/>
                      <a:pt x="73905" y="8881"/>
                    </a:cubicBezTo>
                    <a:cubicBezTo>
                      <a:pt x="73905" y="8881"/>
                      <a:pt x="31488" y="72506"/>
                      <a:pt x="0" y="72506"/>
                    </a:cubicBezTo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49" name="Forma livre: Forma 248">
                <a:extLst>
                  <a:ext uri="{FF2B5EF4-FFF2-40B4-BE49-F238E27FC236}">
                    <a16:creationId xmlns:a16="http://schemas.microsoft.com/office/drawing/2014/main" id="{D7C21F1B-9BAD-51DA-8613-8FD569628183}"/>
                  </a:ext>
                </a:extLst>
              </p:cNvPr>
              <p:cNvSpPr/>
              <p:nvPr/>
            </p:nvSpPr>
            <p:spPr>
              <a:xfrm>
                <a:off x="6079857" y="1646956"/>
                <a:ext cx="29405" cy="9823"/>
              </a:xfrm>
              <a:custGeom>
                <a:avLst/>
                <a:gdLst>
                  <a:gd name="connsiteX0" fmla="*/ 0 w 29405"/>
                  <a:gd name="connsiteY0" fmla="*/ 0 h 9823"/>
                  <a:gd name="connsiteX1" fmla="*/ 29406 w 29405"/>
                  <a:gd name="connsiteY1" fmla="*/ 9824 h 98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9405" h="9823">
                    <a:moveTo>
                      <a:pt x="0" y="0"/>
                    </a:moveTo>
                    <a:lnTo>
                      <a:pt x="29406" y="9824"/>
                    </a:lnTo>
                  </a:path>
                </a:pathLst>
              </a:custGeom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50" name="Forma livre: Forma 249">
                <a:extLst>
                  <a:ext uri="{FF2B5EF4-FFF2-40B4-BE49-F238E27FC236}">
                    <a16:creationId xmlns:a16="http://schemas.microsoft.com/office/drawing/2014/main" id="{9DDAB925-F8E7-0E45-0F15-2E1106446E71}"/>
                  </a:ext>
                </a:extLst>
              </p:cNvPr>
              <p:cNvSpPr/>
              <p:nvPr/>
            </p:nvSpPr>
            <p:spPr>
              <a:xfrm>
                <a:off x="6061121" y="1545272"/>
                <a:ext cx="47166" cy="34154"/>
              </a:xfrm>
              <a:custGeom>
                <a:avLst/>
                <a:gdLst>
                  <a:gd name="connsiteX0" fmla="*/ 0 w 47166"/>
                  <a:gd name="connsiteY0" fmla="*/ 0 h 34154"/>
                  <a:gd name="connsiteX1" fmla="*/ 47166 w 47166"/>
                  <a:gd name="connsiteY1" fmla="*/ 34155 h 341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166" h="34154">
                    <a:moveTo>
                      <a:pt x="0" y="0"/>
                    </a:moveTo>
                    <a:cubicBezTo>
                      <a:pt x="0" y="0"/>
                      <a:pt x="27649" y="13011"/>
                      <a:pt x="47166" y="34155"/>
                    </a:cubicBezTo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231" name="Gráfico 32">
              <a:extLst>
                <a:ext uri="{FF2B5EF4-FFF2-40B4-BE49-F238E27FC236}">
                  <a16:creationId xmlns:a16="http://schemas.microsoft.com/office/drawing/2014/main" id="{A9C22EE4-81FB-83C2-3ACB-DEB1257C7B33}"/>
                </a:ext>
              </a:extLst>
            </p:cNvPr>
            <p:cNvGrpSpPr/>
            <p:nvPr/>
          </p:nvGrpSpPr>
          <p:grpSpPr>
            <a:xfrm>
              <a:off x="6191625" y="1599725"/>
              <a:ext cx="173767" cy="157112"/>
              <a:chOff x="6191625" y="1599725"/>
              <a:chExt cx="173767" cy="157112"/>
            </a:xfrm>
            <a:noFill/>
          </p:grpSpPr>
          <p:sp>
            <p:nvSpPr>
              <p:cNvPr id="241" name="Forma livre: Forma 240">
                <a:extLst>
                  <a:ext uri="{FF2B5EF4-FFF2-40B4-BE49-F238E27FC236}">
                    <a16:creationId xmlns:a16="http://schemas.microsoft.com/office/drawing/2014/main" id="{8E34C536-8025-6ADC-1F98-710390A1D5C4}"/>
                  </a:ext>
                </a:extLst>
              </p:cNvPr>
              <p:cNvSpPr/>
              <p:nvPr/>
            </p:nvSpPr>
            <p:spPr>
              <a:xfrm>
                <a:off x="6310094" y="1621974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42" name="Forma livre: Forma 241">
                <a:extLst>
                  <a:ext uri="{FF2B5EF4-FFF2-40B4-BE49-F238E27FC236}">
                    <a16:creationId xmlns:a16="http://schemas.microsoft.com/office/drawing/2014/main" id="{76C3E853-B651-1EB2-FBF2-2E1766EF9E9E}"/>
                  </a:ext>
                </a:extLst>
              </p:cNvPr>
              <p:cNvSpPr/>
              <p:nvPr/>
            </p:nvSpPr>
            <p:spPr>
              <a:xfrm>
                <a:off x="6191625" y="1599725"/>
                <a:ext cx="118078" cy="49898"/>
              </a:xfrm>
              <a:custGeom>
                <a:avLst/>
                <a:gdLst>
                  <a:gd name="connsiteX0" fmla="*/ 0 w 118078"/>
                  <a:gd name="connsiteY0" fmla="*/ 0 h 49898"/>
                  <a:gd name="connsiteX1" fmla="*/ 37343 w 118078"/>
                  <a:gd name="connsiteY1" fmla="*/ 0 h 49898"/>
                  <a:gd name="connsiteX2" fmla="*/ 87176 w 118078"/>
                  <a:gd name="connsiteY2" fmla="*/ 49899 h 49898"/>
                  <a:gd name="connsiteX3" fmla="*/ 118078 w 118078"/>
                  <a:gd name="connsiteY3" fmla="*/ 49899 h 49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8078" h="49898">
                    <a:moveTo>
                      <a:pt x="0" y="0"/>
                    </a:moveTo>
                    <a:lnTo>
                      <a:pt x="37343" y="0"/>
                    </a:lnTo>
                    <a:lnTo>
                      <a:pt x="87176" y="49899"/>
                    </a:lnTo>
                    <a:lnTo>
                      <a:pt x="118078" y="49899"/>
                    </a:lnTo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43" name="Forma livre: Forma 242">
                <a:extLst>
                  <a:ext uri="{FF2B5EF4-FFF2-40B4-BE49-F238E27FC236}">
                    <a16:creationId xmlns:a16="http://schemas.microsoft.com/office/drawing/2014/main" id="{3F5E489C-4267-FC2C-2C32-4AD13BB699B7}"/>
                  </a:ext>
                </a:extLst>
              </p:cNvPr>
              <p:cNvSpPr/>
              <p:nvPr/>
            </p:nvSpPr>
            <p:spPr>
              <a:xfrm>
                <a:off x="6191625" y="1665367"/>
                <a:ext cx="81906" cy="44108"/>
              </a:xfrm>
              <a:custGeom>
                <a:avLst/>
                <a:gdLst>
                  <a:gd name="connsiteX0" fmla="*/ 0 w 81906"/>
                  <a:gd name="connsiteY0" fmla="*/ 0 h 44108"/>
                  <a:gd name="connsiteX1" fmla="*/ 37343 w 81906"/>
                  <a:gd name="connsiteY1" fmla="*/ 0 h 44108"/>
                  <a:gd name="connsiteX2" fmla="*/ 81907 w 81906"/>
                  <a:gd name="connsiteY2" fmla="*/ 44109 h 441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1906" h="44108">
                    <a:moveTo>
                      <a:pt x="0" y="0"/>
                    </a:moveTo>
                    <a:lnTo>
                      <a:pt x="37343" y="0"/>
                    </a:lnTo>
                    <a:lnTo>
                      <a:pt x="81907" y="44109"/>
                    </a:lnTo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44" name="Forma livre: Forma 243">
                <a:extLst>
                  <a:ext uri="{FF2B5EF4-FFF2-40B4-BE49-F238E27FC236}">
                    <a16:creationId xmlns:a16="http://schemas.microsoft.com/office/drawing/2014/main" id="{75F687B3-31A6-08A4-BA4E-5E7DA768D601}"/>
                  </a:ext>
                </a:extLst>
              </p:cNvPr>
              <p:cNvSpPr/>
              <p:nvPr/>
            </p:nvSpPr>
            <p:spPr>
              <a:xfrm>
                <a:off x="6265075" y="1701539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232" name="Gráfico 32">
              <a:extLst>
                <a:ext uri="{FF2B5EF4-FFF2-40B4-BE49-F238E27FC236}">
                  <a16:creationId xmlns:a16="http://schemas.microsoft.com/office/drawing/2014/main" id="{DB7E00C7-8F90-DAFF-C9B2-999DEFDFE045}"/>
                </a:ext>
              </a:extLst>
            </p:cNvPr>
            <p:cNvGrpSpPr/>
            <p:nvPr/>
          </p:nvGrpSpPr>
          <p:grpSpPr>
            <a:xfrm>
              <a:off x="6191625" y="1357908"/>
              <a:ext cx="173767" cy="157112"/>
              <a:chOff x="6191625" y="1357908"/>
              <a:chExt cx="173767" cy="157112"/>
            </a:xfrm>
            <a:noFill/>
          </p:grpSpPr>
          <p:sp>
            <p:nvSpPr>
              <p:cNvPr id="237" name="Forma livre: Forma 236">
                <a:extLst>
                  <a:ext uri="{FF2B5EF4-FFF2-40B4-BE49-F238E27FC236}">
                    <a16:creationId xmlns:a16="http://schemas.microsoft.com/office/drawing/2014/main" id="{E3B65556-6168-E707-F936-317ECB9A52F6}"/>
                  </a:ext>
                </a:extLst>
              </p:cNvPr>
              <p:cNvSpPr/>
              <p:nvPr/>
            </p:nvSpPr>
            <p:spPr>
              <a:xfrm>
                <a:off x="6310094" y="1437472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0 h 55298"/>
                  <a:gd name="connsiteX2" fmla="*/ 0 w 55298"/>
                  <a:gd name="connsiteY2" fmla="*/ 27649 h 55298"/>
                  <a:gd name="connsiteX3" fmla="*/ 27649 w 55298"/>
                  <a:gd name="connsiteY3" fmla="*/ 55298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12361"/>
                      <a:pt x="42938" y="0"/>
                      <a:pt x="27649" y="0"/>
                    </a:cubicBezTo>
                    <a:cubicBezTo>
                      <a:pt x="12361" y="0"/>
                      <a:pt x="0" y="12361"/>
                      <a:pt x="0" y="27649"/>
                    </a:cubicBezTo>
                    <a:cubicBezTo>
                      <a:pt x="0" y="42938"/>
                      <a:pt x="12361" y="55298"/>
                      <a:pt x="27649" y="55298"/>
                    </a:cubicBezTo>
                    <a:cubicBezTo>
                      <a:pt x="42938" y="55298"/>
                      <a:pt x="55298" y="42938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38" name="Forma livre: Forma 237">
                <a:extLst>
                  <a:ext uri="{FF2B5EF4-FFF2-40B4-BE49-F238E27FC236}">
                    <a16:creationId xmlns:a16="http://schemas.microsoft.com/office/drawing/2014/main" id="{108C31ED-333F-4795-F0EE-6E84B72490F1}"/>
                  </a:ext>
                </a:extLst>
              </p:cNvPr>
              <p:cNvSpPr/>
              <p:nvPr/>
            </p:nvSpPr>
            <p:spPr>
              <a:xfrm>
                <a:off x="6191625" y="1465122"/>
                <a:ext cx="118468" cy="49898"/>
              </a:xfrm>
              <a:custGeom>
                <a:avLst/>
                <a:gdLst>
                  <a:gd name="connsiteX0" fmla="*/ 0 w 118468"/>
                  <a:gd name="connsiteY0" fmla="*/ 49899 h 49898"/>
                  <a:gd name="connsiteX1" fmla="*/ 37343 w 118468"/>
                  <a:gd name="connsiteY1" fmla="*/ 49899 h 49898"/>
                  <a:gd name="connsiteX2" fmla="*/ 87176 w 118468"/>
                  <a:gd name="connsiteY2" fmla="*/ 0 h 49898"/>
                  <a:gd name="connsiteX3" fmla="*/ 118469 w 118468"/>
                  <a:gd name="connsiteY3" fmla="*/ 0 h 49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8468" h="49898">
                    <a:moveTo>
                      <a:pt x="0" y="49899"/>
                    </a:moveTo>
                    <a:lnTo>
                      <a:pt x="37343" y="49899"/>
                    </a:lnTo>
                    <a:lnTo>
                      <a:pt x="87176" y="0"/>
                    </a:lnTo>
                    <a:lnTo>
                      <a:pt x="118469" y="0"/>
                    </a:lnTo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39" name="Forma livre: Forma 238">
                <a:extLst>
                  <a:ext uri="{FF2B5EF4-FFF2-40B4-BE49-F238E27FC236}">
                    <a16:creationId xmlns:a16="http://schemas.microsoft.com/office/drawing/2014/main" id="{1F95D45A-377A-C89E-45AA-E63CDD0AB221}"/>
                  </a:ext>
                </a:extLst>
              </p:cNvPr>
              <p:cNvSpPr/>
              <p:nvPr/>
            </p:nvSpPr>
            <p:spPr>
              <a:xfrm>
                <a:off x="6191625" y="1405269"/>
                <a:ext cx="81451" cy="44043"/>
              </a:xfrm>
              <a:custGeom>
                <a:avLst/>
                <a:gdLst>
                  <a:gd name="connsiteX0" fmla="*/ 0 w 81451"/>
                  <a:gd name="connsiteY0" fmla="*/ 44044 h 44043"/>
                  <a:gd name="connsiteX1" fmla="*/ 37343 w 81451"/>
                  <a:gd name="connsiteY1" fmla="*/ 44044 h 44043"/>
                  <a:gd name="connsiteX2" fmla="*/ 81451 w 81451"/>
                  <a:gd name="connsiteY2" fmla="*/ 0 h 440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1451" h="44043">
                    <a:moveTo>
                      <a:pt x="0" y="44044"/>
                    </a:moveTo>
                    <a:lnTo>
                      <a:pt x="37343" y="44044"/>
                    </a:lnTo>
                    <a:lnTo>
                      <a:pt x="81451" y="0"/>
                    </a:lnTo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40" name="Forma livre: Forma 239">
                <a:extLst>
                  <a:ext uri="{FF2B5EF4-FFF2-40B4-BE49-F238E27FC236}">
                    <a16:creationId xmlns:a16="http://schemas.microsoft.com/office/drawing/2014/main" id="{57ED551B-9380-A97E-8733-36A8F65B99FE}"/>
                  </a:ext>
                </a:extLst>
              </p:cNvPr>
              <p:cNvSpPr/>
              <p:nvPr/>
            </p:nvSpPr>
            <p:spPr>
              <a:xfrm>
                <a:off x="6265075" y="1357908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0 h 55298"/>
                  <a:gd name="connsiteX2" fmla="*/ 0 w 55298"/>
                  <a:gd name="connsiteY2" fmla="*/ 27649 h 55298"/>
                  <a:gd name="connsiteX3" fmla="*/ 27649 w 55298"/>
                  <a:gd name="connsiteY3" fmla="*/ 55298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12361"/>
                      <a:pt x="42938" y="0"/>
                      <a:pt x="27649" y="0"/>
                    </a:cubicBezTo>
                    <a:cubicBezTo>
                      <a:pt x="12361" y="0"/>
                      <a:pt x="0" y="12361"/>
                      <a:pt x="0" y="27649"/>
                    </a:cubicBezTo>
                    <a:cubicBezTo>
                      <a:pt x="0" y="42938"/>
                      <a:pt x="12361" y="55298"/>
                      <a:pt x="27649" y="55298"/>
                    </a:cubicBezTo>
                    <a:cubicBezTo>
                      <a:pt x="42938" y="55298"/>
                      <a:pt x="55298" y="42938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233" name="Gráfico 32">
              <a:extLst>
                <a:ext uri="{FF2B5EF4-FFF2-40B4-BE49-F238E27FC236}">
                  <a16:creationId xmlns:a16="http://schemas.microsoft.com/office/drawing/2014/main" id="{53CEF7EC-C629-4DF3-8548-C3227458A836}"/>
                </a:ext>
              </a:extLst>
            </p:cNvPr>
            <p:cNvGrpSpPr/>
            <p:nvPr/>
          </p:nvGrpSpPr>
          <p:grpSpPr>
            <a:xfrm>
              <a:off x="6190910" y="1529723"/>
              <a:ext cx="123673" cy="55298"/>
              <a:chOff x="6190910" y="1529723"/>
              <a:chExt cx="123673" cy="55298"/>
            </a:xfrm>
            <a:noFill/>
          </p:grpSpPr>
          <p:sp>
            <p:nvSpPr>
              <p:cNvPr id="235" name="Forma livre: Forma 234">
                <a:extLst>
                  <a:ext uri="{FF2B5EF4-FFF2-40B4-BE49-F238E27FC236}">
                    <a16:creationId xmlns:a16="http://schemas.microsoft.com/office/drawing/2014/main" id="{FA11D75F-9B74-8546-0CBB-F6AAF1BC1DE4}"/>
                  </a:ext>
                </a:extLst>
              </p:cNvPr>
              <p:cNvSpPr/>
              <p:nvPr/>
            </p:nvSpPr>
            <p:spPr>
              <a:xfrm>
                <a:off x="6190910" y="1557372"/>
                <a:ext cx="68765" cy="6505"/>
              </a:xfrm>
              <a:custGeom>
                <a:avLst/>
                <a:gdLst>
                  <a:gd name="connsiteX0" fmla="*/ 0 w 68765"/>
                  <a:gd name="connsiteY0" fmla="*/ 0 h 6505"/>
                  <a:gd name="connsiteX1" fmla="*/ 68765 w 68765"/>
                  <a:gd name="connsiteY1" fmla="*/ 0 h 65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8765" h="6505">
                    <a:moveTo>
                      <a:pt x="0" y="0"/>
                    </a:moveTo>
                    <a:lnTo>
                      <a:pt x="68765" y="0"/>
                    </a:lnTo>
                  </a:path>
                </a:pathLst>
              </a:custGeom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36" name="Forma livre: Forma 235">
                <a:extLst>
                  <a:ext uri="{FF2B5EF4-FFF2-40B4-BE49-F238E27FC236}">
                    <a16:creationId xmlns:a16="http://schemas.microsoft.com/office/drawing/2014/main" id="{5922337B-C087-666E-AD21-16FD4B34B84F}"/>
                  </a:ext>
                </a:extLst>
              </p:cNvPr>
              <p:cNvSpPr/>
              <p:nvPr/>
            </p:nvSpPr>
            <p:spPr>
              <a:xfrm>
                <a:off x="6259285" y="1529723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234" name="Forma livre: Forma 233">
              <a:extLst>
                <a:ext uri="{FF2B5EF4-FFF2-40B4-BE49-F238E27FC236}">
                  <a16:creationId xmlns:a16="http://schemas.microsoft.com/office/drawing/2014/main" id="{935427CD-9E7C-FF50-34A6-492B14614F0D}"/>
                </a:ext>
              </a:extLst>
            </p:cNvPr>
            <p:cNvSpPr/>
            <p:nvPr/>
          </p:nvSpPr>
          <p:spPr>
            <a:xfrm>
              <a:off x="6152201" y="1686285"/>
              <a:ext cx="37362" cy="20848"/>
            </a:xfrm>
            <a:custGeom>
              <a:avLst/>
              <a:gdLst>
                <a:gd name="connsiteX0" fmla="*/ 0 w 37362"/>
                <a:gd name="connsiteY0" fmla="*/ 10505 h 20848"/>
                <a:gd name="connsiteX1" fmla="*/ 27064 w 37362"/>
                <a:gd name="connsiteY1" fmla="*/ 2373 h 20848"/>
                <a:gd name="connsiteX2" fmla="*/ 37343 w 37362"/>
                <a:gd name="connsiteY2" fmla="*/ 20849 h 20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7362" h="20848">
                  <a:moveTo>
                    <a:pt x="0" y="10505"/>
                  </a:moveTo>
                  <a:cubicBezTo>
                    <a:pt x="5205" y="811"/>
                    <a:pt x="17435" y="-2832"/>
                    <a:pt x="27064" y="2373"/>
                  </a:cubicBezTo>
                  <a:cubicBezTo>
                    <a:pt x="34025" y="6081"/>
                    <a:pt x="37668" y="13432"/>
                    <a:pt x="37343" y="20849"/>
                  </a:cubicBezTo>
                </a:path>
              </a:pathLst>
            </a:custGeom>
            <a:noFill/>
            <a:ln w="19050" cap="sq">
              <a:solidFill>
                <a:schemeClr val="tx1"/>
              </a:solidFill>
              <a:prstDash val="solid"/>
              <a:miter lim="800000"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251" name="Agrupar 250">
            <a:extLst>
              <a:ext uri="{FF2B5EF4-FFF2-40B4-BE49-F238E27FC236}">
                <a16:creationId xmlns:a16="http://schemas.microsoft.com/office/drawing/2014/main" id="{2C271F8C-A293-55A4-C031-A9D2E26F295E}"/>
              </a:ext>
            </a:extLst>
          </p:cNvPr>
          <p:cNvGrpSpPr/>
          <p:nvPr/>
        </p:nvGrpSpPr>
        <p:grpSpPr>
          <a:xfrm>
            <a:off x="4193452" y="2816551"/>
            <a:ext cx="325297" cy="355243"/>
            <a:chOff x="6000092" y="1357908"/>
            <a:chExt cx="365300" cy="398929"/>
          </a:xfrm>
        </p:grpSpPr>
        <p:sp>
          <p:nvSpPr>
            <p:cNvPr id="252" name="Forma livre: Forma 251">
              <a:extLst>
                <a:ext uri="{FF2B5EF4-FFF2-40B4-BE49-F238E27FC236}">
                  <a16:creationId xmlns:a16="http://schemas.microsoft.com/office/drawing/2014/main" id="{CD3A8ADE-B197-F57A-C448-842535EAC4F1}"/>
                </a:ext>
              </a:extLst>
            </p:cNvPr>
            <p:cNvSpPr/>
            <p:nvPr/>
          </p:nvSpPr>
          <p:spPr>
            <a:xfrm>
              <a:off x="6000092" y="1418606"/>
              <a:ext cx="84058" cy="286120"/>
            </a:xfrm>
            <a:custGeom>
              <a:avLst/>
              <a:gdLst>
                <a:gd name="connsiteX0" fmla="*/ 51595 w 84058"/>
                <a:gd name="connsiteY0" fmla="*/ 0 h 286120"/>
                <a:gd name="connsiteX1" fmla="*/ 35266 w 84058"/>
                <a:gd name="connsiteY1" fmla="*/ 61674 h 286120"/>
                <a:gd name="connsiteX2" fmla="*/ 28760 w 84058"/>
                <a:gd name="connsiteY2" fmla="*/ 193415 h 286120"/>
                <a:gd name="connsiteX3" fmla="*/ 84059 w 84058"/>
                <a:gd name="connsiteY3" fmla="*/ 286121 h 2861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4058" h="286120">
                  <a:moveTo>
                    <a:pt x="51595" y="0"/>
                  </a:moveTo>
                  <a:cubicBezTo>
                    <a:pt x="37868" y="7872"/>
                    <a:pt x="26028" y="24852"/>
                    <a:pt x="35266" y="61674"/>
                  </a:cubicBezTo>
                  <a:cubicBezTo>
                    <a:pt x="35266" y="61674"/>
                    <a:pt x="-39549" y="126731"/>
                    <a:pt x="28760" y="193415"/>
                  </a:cubicBezTo>
                  <a:cubicBezTo>
                    <a:pt x="28760" y="193415"/>
                    <a:pt x="9243" y="281242"/>
                    <a:pt x="84059" y="286121"/>
                  </a:cubicBezTo>
                </a:path>
              </a:pathLst>
            </a:custGeom>
            <a:noFill/>
            <a:ln w="19050" cap="sq">
              <a:solidFill>
                <a:schemeClr val="tx1"/>
              </a:solidFill>
              <a:prstDash val="solid"/>
              <a:miter lim="800000"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253" name="Gráfico 32">
              <a:extLst>
                <a:ext uri="{FF2B5EF4-FFF2-40B4-BE49-F238E27FC236}">
                  <a16:creationId xmlns:a16="http://schemas.microsoft.com/office/drawing/2014/main" id="{F024D649-F67C-982C-C6F2-3FD467C62938}"/>
                </a:ext>
              </a:extLst>
            </p:cNvPr>
            <p:cNvGrpSpPr/>
            <p:nvPr/>
          </p:nvGrpSpPr>
          <p:grpSpPr>
            <a:xfrm>
              <a:off x="6061121" y="1359924"/>
              <a:ext cx="128487" cy="396366"/>
              <a:chOff x="6061121" y="1359924"/>
              <a:chExt cx="128487" cy="396366"/>
            </a:xfrm>
            <a:noFill/>
          </p:grpSpPr>
          <p:sp>
            <p:nvSpPr>
              <p:cNvPr id="268" name="Forma livre: Forma 267">
                <a:extLst>
                  <a:ext uri="{FF2B5EF4-FFF2-40B4-BE49-F238E27FC236}">
                    <a16:creationId xmlns:a16="http://schemas.microsoft.com/office/drawing/2014/main" id="{6469C424-3BCE-C25A-82FC-A242F44E37BB}"/>
                  </a:ext>
                </a:extLst>
              </p:cNvPr>
              <p:cNvSpPr/>
              <p:nvPr/>
            </p:nvSpPr>
            <p:spPr>
              <a:xfrm>
                <a:off x="6083891" y="1359924"/>
                <a:ext cx="105717" cy="396366"/>
              </a:xfrm>
              <a:custGeom>
                <a:avLst/>
                <a:gdLst>
                  <a:gd name="connsiteX0" fmla="*/ 52891 w 105717"/>
                  <a:gd name="connsiteY0" fmla="*/ 105718 h 396366"/>
                  <a:gd name="connsiteX1" fmla="*/ 0 w 105717"/>
                  <a:gd name="connsiteY1" fmla="*/ 52891 h 396366"/>
                  <a:gd name="connsiteX2" fmla="*/ 52891 w 105717"/>
                  <a:gd name="connsiteY2" fmla="*/ 0 h 396366"/>
                  <a:gd name="connsiteX3" fmla="*/ 105718 w 105717"/>
                  <a:gd name="connsiteY3" fmla="*/ 52826 h 396366"/>
                  <a:gd name="connsiteX4" fmla="*/ 105718 w 105717"/>
                  <a:gd name="connsiteY4" fmla="*/ 346884 h 396366"/>
                  <a:gd name="connsiteX5" fmla="*/ 80606 w 105717"/>
                  <a:gd name="connsiteY5" fmla="*/ 388911 h 396366"/>
                  <a:gd name="connsiteX6" fmla="*/ 9238 w 105717"/>
                  <a:gd name="connsiteY6" fmla="*/ 371150 h 396366"/>
                  <a:gd name="connsiteX7" fmla="*/ 15484 w 105717"/>
                  <a:gd name="connsiteY7" fmla="*/ 309216 h 396366"/>
                  <a:gd name="connsiteX8" fmla="*/ 45019 w 105717"/>
                  <a:gd name="connsiteY8" fmla="*/ 277078 h 3963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05717" h="396366">
                    <a:moveTo>
                      <a:pt x="52891" y="105718"/>
                    </a:moveTo>
                    <a:cubicBezTo>
                      <a:pt x="23681" y="105718"/>
                      <a:pt x="0" y="82037"/>
                      <a:pt x="0" y="52891"/>
                    </a:cubicBezTo>
                    <a:cubicBezTo>
                      <a:pt x="0" y="23746"/>
                      <a:pt x="23681" y="0"/>
                      <a:pt x="52891" y="0"/>
                    </a:cubicBezTo>
                    <a:cubicBezTo>
                      <a:pt x="82102" y="0"/>
                      <a:pt x="105718" y="23681"/>
                      <a:pt x="105718" y="52826"/>
                    </a:cubicBezTo>
                    <a:lnTo>
                      <a:pt x="105718" y="346884"/>
                    </a:lnTo>
                    <a:cubicBezTo>
                      <a:pt x="105718" y="364580"/>
                      <a:pt x="96414" y="379413"/>
                      <a:pt x="80606" y="388911"/>
                    </a:cubicBezTo>
                    <a:cubicBezTo>
                      <a:pt x="55949" y="403744"/>
                      <a:pt x="24006" y="395742"/>
                      <a:pt x="9238" y="371150"/>
                    </a:cubicBezTo>
                    <a:cubicBezTo>
                      <a:pt x="-2928" y="350918"/>
                      <a:pt x="260" y="325741"/>
                      <a:pt x="15484" y="309216"/>
                    </a:cubicBezTo>
                    <a:lnTo>
                      <a:pt x="45019" y="277078"/>
                    </a:lnTo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69" name="Forma livre: Forma 268">
                <a:extLst>
                  <a:ext uri="{FF2B5EF4-FFF2-40B4-BE49-F238E27FC236}">
                    <a16:creationId xmlns:a16="http://schemas.microsoft.com/office/drawing/2014/main" id="{16D16720-58D9-A7F7-5ACD-C01BFB4C1AAB}"/>
                  </a:ext>
                </a:extLst>
              </p:cNvPr>
              <p:cNvSpPr/>
              <p:nvPr/>
            </p:nvSpPr>
            <p:spPr>
              <a:xfrm>
                <a:off x="6144784" y="1383865"/>
                <a:ext cx="41563" cy="38963"/>
              </a:xfrm>
              <a:custGeom>
                <a:avLst/>
                <a:gdLst>
                  <a:gd name="connsiteX0" fmla="*/ 36172 w 41563"/>
                  <a:gd name="connsiteY0" fmla="*/ 0 h 38963"/>
                  <a:gd name="connsiteX1" fmla="*/ 39425 w 41563"/>
                  <a:gd name="connsiteY1" fmla="*/ 24266 h 38963"/>
                  <a:gd name="connsiteX2" fmla="*/ 36432 w 41563"/>
                  <a:gd name="connsiteY2" fmla="*/ 29080 h 38963"/>
                  <a:gd name="connsiteX3" fmla="*/ 0 w 41563"/>
                  <a:gd name="connsiteY3" fmla="*/ 33439 h 389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563" h="38963">
                    <a:moveTo>
                      <a:pt x="36172" y="0"/>
                    </a:moveTo>
                    <a:cubicBezTo>
                      <a:pt x="41571" y="7547"/>
                      <a:pt x="43393" y="16004"/>
                      <a:pt x="39425" y="24266"/>
                    </a:cubicBezTo>
                    <a:cubicBezTo>
                      <a:pt x="38644" y="25893"/>
                      <a:pt x="37603" y="27519"/>
                      <a:pt x="36432" y="29080"/>
                    </a:cubicBezTo>
                    <a:cubicBezTo>
                      <a:pt x="27584" y="40270"/>
                      <a:pt x="11190" y="42287"/>
                      <a:pt x="0" y="33439"/>
                    </a:cubicBezTo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70" name="Forma livre: Forma 269">
                <a:extLst>
                  <a:ext uri="{FF2B5EF4-FFF2-40B4-BE49-F238E27FC236}">
                    <a16:creationId xmlns:a16="http://schemas.microsoft.com/office/drawing/2014/main" id="{13F84919-DFFC-25F5-2DEB-BB676057ED8C}"/>
                  </a:ext>
                </a:extLst>
              </p:cNvPr>
              <p:cNvSpPr/>
              <p:nvPr/>
            </p:nvSpPr>
            <p:spPr>
              <a:xfrm>
                <a:off x="6081487" y="1460806"/>
                <a:ext cx="34217" cy="54474"/>
              </a:xfrm>
              <a:custGeom>
                <a:avLst/>
                <a:gdLst>
                  <a:gd name="connsiteX0" fmla="*/ 21076 w 34217"/>
                  <a:gd name="connsiteY0" fmla="*/ 54475 h 54474"/>
                  <a:gd name="connsiteX1" fmla="*/ 778 w 34217"/>
                  <a:gd name="connsiteY1" fmla="*/ 21035 h 54474"/>
                  <a:gd name="connsiteX2" fmla="*/ 34217 w 34217"/>
                  <a:gd name="connsiteY2" fmla="*/ 803 h 544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4217" h="54474">
                    <a:moveTo>
                      <a:pt x="21076" y="54475"/>
                    </a:moveTo>
                    <a:cubicBezTo>
                      <a:pt x="6308" y="50832"/>
                      <a:pt x="-2800" y="35803"/>
                      <a:pt x="778" y="21035"/>
                    </a:cubicBezTo>
                    <a:cubicBezTo>
                      <a:pt x="4421" y="6267"/>
                      <a:pt x="19449" y="-2841"/>
                      <a:pt x="34217" y="803"/>
                    </a:cubicBezTo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71" name="Forma livre: Forma 270">
                <a:extLst>
                  <a:ext uri="{FF2B5EF4-FFF2-40B4-BE49-F238E27FC236}">
                    <a16:creationId xmlns:a16="http://schemas.microsoft.com/office/drawing/2014/main" id="{7E18B0ED-554A-9105-F842-5D9A38B6FAA9}"/>
                  </a:ext>
                </a:extLst>
              </p:cNvPr>
              <p:cNvSpPr/>
              <p:nvPr/>
            </p:nvSpPr>
            <p:spPr>
              <a:xfrm>
                <a:off x="6073547" y="1527543"/>
                <a:ext cx="114760" cy="72506"/>
              </a:xfrm>
              <a:custGeom>
                <a:avLst/>
                <a:gdLst>
                  <a:gd name="connsiteX0" fmla="*/ 114760 w 114760"/>
                  <a:gd name="connsiteY0" fmla="*/ 7254 h 72506"/>
                  <a:gd name="connsiteX1" fmla="*/ 73905 w 114760"/>
                  <a:gd name="connsiteY1" fmla="*/ 8881 h 72506"/>
                  <a:gd name="connsiteX2" fmla="*/ 0 w 114760"/>
                  <a:gd name="connsiteY2" fmla="*/ 72506 h 725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14760" h="72506">
                    <a:moveTo>
                      <a:pt x="114760" y="7254"/>
                    </a:moveTo>
                    <a:cubicBezTo>
                      <a:pt x="103375" y="-2830"/>
                      <a:pt x="83989" y="-2504"/>
                      <a:pt x="73905" y="8881"/>
                    </a:cubicBezTo>
                    <a:cubicBezTo>
                      <a:pt x="73905" y="8881"/>
                      <a:pt x="31488" y="72506"/>
                      <a:pt x="0" y="72506"/>
                    </a:cubicBezTo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72" name="Forma livre: Forma 271">
                <a:extLst>
                  <a:ext uri="{FF2B5EF4-FFF2-40B4-BE49-F238E27FC236}">
                    <a16:creationId xmlns:a16="http://schemas.microsoft.com/office/drawing/2014/main" id="{12072CDF-6A13-A571-8A64-1D92280C7F12}"/>
                  </a:ext>
                </a:extLst>
              </p:cNvPr>
              <p:cNvSpPr/>
              <p:nvPr/>
            </p:nvSpPr>
            <p:spPr>
              <a:xfrm>
                <a:off x="6079857" y="1646956"/>
                <a:ext cx="29405" cy="9823"/>
              </a:xfrm>
              <a:custGeom>
                <a:avLst/>
                <a:gdLst>
                  <a:gd name="connsiteX0" fmla="*/ 0 w 29405"/>
                  <a:gd name="connsiteY0" fmla="*/ 0 h 9823"/>
                  <a:gd name="connsiteX1" fmla="*/ 29406 w 29405"/>
                  <a:gd name="connsiteY1" fmla="*/ 9824 h 98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9405" h="9823">
                    <a:moveTo>
                      <a:pt x="0" y="0"/>
                    </a:moveTo>
                    <a:lnTo>
                      <a:pt x="29406" y="9824"/>
                    </a:lnTo>
                  </a:path>
                </a:pathLst>
              </a:custGeom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73" name="Forma livre: Forma 272">
                <a:extLst>
                  <a:ext uri="{FF2B5EF4-FFF2-40B4-BE49-F238E27FC236}">
                    <a16:creationId xmlns:a16="http://schemas.microsoft.com/office/drawing/2014/main" id="{58B86DB8-9807-121A-0F64-B849CF56ADAD}"/>
                  </a:ext>
                </a:extLst>
              </p:cNvPr>
              <p:cNvSpPr/>
              <p:nvPr/>
            </p:nvSpPr>
            <p:spPr>
              <a:xfrm>
                <a:off x="6061121" y="1545272"/>
                <a:ext cx="47166" cy="34154"/>
              </a:xfrm>
              <a:custGeom>
                <a:avLst/>
                <a:gdLst>
                  <a:gd name="connsiteX0" fmla="*/ 0 w 47166"/>
                  <a:gd name="connsiteY0" fmla="*/ 0 h 34154"/>
                  <a:gd name="connsiteX1" fmla="*/ 47166 w 47166"/>
                  <a:gd name="connsiteY1" fmla="*/ 34155 h 341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166" h="34154">
                    <a:moveTo>
                      <a:pt x="0" y="0"/>
                    </a:moveTo>
                    <a:cubicBezTo>
                      <a:pt x="0" y="0"/>
                      <a:pt x="27649" y="13011"/>
                      <a:pt x="47166" y="34155"/>
                    </a:cubicBezTo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254" name="Gráfico 32">
              <a:extLst>
                <a:ext uri="{FF2B5EF4-FFF2-40B4-BE49-F238E27FC236}">
                  <a16:creationId xmlns:a16="http://schemas.microsoft.com/office/drawing/2014/main" id="{54B4B495-CBAD-04B4-64BA-AE7EF2E8198F}"/>
                </a:ext>
              </a:extLst>
            </p:cNvPr>
            <p:cNvGrpSpPr/>
            <p:nvPr/>
          </p:nvGrpSpPr>
          <p:grpSpPr>
            <a:xfrm>
              <a:off x="6191625" y="1599725"/>
              <a:ext cx="173767" cy="157112"/>
              <a:chOff x="6191625" y="1599725"/>
              <a:chExt cx="173767" cy="157112"/>
            </a:xfrm>
            <a:noFill/>
          </p:grpSpPr>
          <p:sp>
            <p:nvSpPr>
              <p:cNvPr id="264" name="Forma livre: Forma 263">
                <a:extLst>
                  <a:ext uri="{FF2B5EF4-FFF2-40B4-BE49-F238E27FC236}">
                    <a16:creationId xmlns:a16="http://schemas.microsoft.com/office/drawing/2014/main" id="{C6272EB7-25BC-4616-0085-DBD4F68B46B7}"/>
                  </a:ext>
                </a:extLst>
              </p:cNvPr>
              <p:cNvSpPr/>
              <p:nvPr/>
            </p:nvSpPr>
            <p:spPr>
              <a:xfrm>
                <a:off x="6310094" y="1621974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65" name="Forma livre: Forma 264">
                <a:extLst>
                  <a:ext uri="{FF2B5EF4-FFF2-40B4-BE49-F238E27FC236}">
                    <a16:creationId xmlns:a16="http://schemas.microsoft.com/office/drawing/2014/main" id="{23F2DC82-4E64-FE22-ABDA-707C20B0A172}"/>
                  </a:ext>
                </a:extLst>
              </p:cNvPr>
              <p:cNvSpPr/>
              <p:nvPr/>
            </p:nvSpPr>
            <p:spPr>
              <a:xfrm>
                <a:off x="6191625" y="1599725"/>
                <a:ext cx="118078" cy="49898"/>
              </a:xfrm>
              <a:custGeom>
                <a:avLst/>
                <a:gdLst>
                  <a:gd name="connsiteX0" fmla="*/ 0 w 118078"/>
                  <a:gd name="connsiteY0" fmla="*/ 0 h 49898"/>
                  <a:gd name="connsiteX1" fmla="*/ 37343 w 118078"/>
                  <a:gd name="connsiteY1" fmla="*/ 0 h 49898"/>
                  <a:gd name="connsiteX2" fmla="*/ 87176 w 118078"/>
                  <a:gd name="connsiteY2" fmla="*/ 49899 h 49898"/>
                  <a:gd name="connsiteX3" fmla="*/ 118078 w 118078"/>
                  <a:gd name="connsiteY3" fmla="*/ 49899 h 49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8078" h="49898">
                    <a:moveTo>
                      <a:pt x="0" y="0"/>
                    </a:moveTo>
                    <a:lnTo>
                      <a:pt x="37343" y="0"/>
                    </a:lnTo>
                    <a:lnTo>
                      <a:pt x="87176" y="49899"/>
                    </a:lnTo>
                    <a:lnTo>
                      <a:pt x="118078" y="49899"/>
                    </a:lnTo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66" name="Forma livre: Forma 265">
                <a:extLst>
                  <a:ext uri="{FF2B5EF4-FFF2-40B4-BE49-F238E27FC236}">
                    <a16:creationId xmlns:a16="http://schemas.microsoft.com/office/drawing/2014/main" id="{E19B3B5D-EA01-C847-E13E-FCB8769A0B61}"/>
                  </a:ext>
                </a:extLst>
              </p:cNvPr>
              <p:cNvSpPr/>
              <p:nvPr/>
            </p:nvSpPr>
            <p:spPr>
              <a:xfrm>
                <a:off x="6191625" y="1665367"/>
                <a:ext cx="81906" cy="44108"/>
              </a:xfrm>
              <a:custGeom>
                <a:avLst/>
                <a:gdLst>
                  <a:gd name="connsiteX0" fmla="*/ 0 w 81906"/>
                  <a:gd name="connsiteY0" fmla="*/ 0 h 44108"/>
                  <a:gd name="connsiteX1" fmla="*/ 37343 w 81906"/>
                  <a:gd name="connsiteY1" fmla="*/ 0 h 44108"/>
                  <a:gd name="connsiteX2" fmla="*/ 81907 w 81906"/>
                  <a:gd name="connsiteY2" fmla="*/ 44109 h 441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1906" h="44108">
                    <a:moveTo>
                      <a:pt x="0" y="0"/>
                    </a:moveTo>
                    <a:lnTo>
                      <a:pt x="37343" y="0"/>
                    </a:lnTo>
                    <a:lnTo>
                      <a:pt x="81907" y="44109"/>
                    </a:lnTo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67" name="Forma livre: Forma 266">
                <a:extLst>
                  <a:ext uri="{FF2B5EF4-FFF2-40B4-BE49-F238E27FC236}">
                    <a16:creationId xmlns:a16="http://schemas.microsoft.com/office/drawing/2014/main" id="{1EA3AA45-8E5D-0554-BB02-C2695B3207CE}"/>
                  </a:ext>
                </a:extLst>
              </p:cNvPr>
              <p:cNvSpPr/>
              <p:nvPr/>
            </p:nvSpPr>
            <p:spPr>
              <a:xfrm>
                <a:off x="6265075" y="1701539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255" name="Gráfico 32">
              <a:extLst>
                <a:ext uri="{FF2B5EF4-FFF2-40B4-BE49-F238E27FC236}">
                  <a16:creationId xmlns:a16="http://schemas.microsoft.com/office/drawing/2014/main" id="{D06EC3B2-82ED-5499-8631-0A30AD3C5A8A}"/>
                </a:ext>
              </a:extLst>
            </p:cNvPr>
            <p:cNvGrpSpPr/>
            <p:nvPr/>
          </p:nvGrpSpPr>
          <p:grpSpPr>
            <a:xfrm>
              <a:off x="6191625" y="1357908"/>
              <a:ext cx="173767" cy="157112"/>
              <a:chOff x="6191625" y="1357908"/>
              <a:chExt cx="173767" cy="157112"/>
            </a:xfrm>
            <a:noFill/>
          </p:grpSpPr>
          <p:sp>
            <p:nvSpPr>
              <p:cNvPr id="260" name="Forma livre: Forma 259">
                <a:extLst>
                  <a:ext uri="{FF2B5EF4-FFF2-40B4-BE49-F238E27FC236}">
                    <a16:creationId xmlns:a16="http://schemas.microsoft.com/office/drawing/2014/main" id="{EC4BC0DB-37BA-190A-3EF4-A81154F84CD7}"/>
                  </a:ext>
                </a:extLst>
              </p:cNvPr>
              <p:cNvSpPr/>
              <p:nvPr/>
            </p:nvSpPr>
            <p:spPr>
              <a:xfrm>
                <a:off x="6310094" y="1437472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0 h 55298"/>
                  <a:gd name="connsiteX2" fmla="*/ 0 w 55298"/>
                  <a:gd name="connsiteY2" fmla="*/ 27649 h 55298"/>
                  <a:gd name="connsiteX3" fmla="*/ 27649 w 55298"/>
                  <a:gd name="connsiteY3" fmla="*/ 55298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12361"/>
                      <a:pt x="42938" y="0"/>
                      <a:pt x="27649" y="0"/>
                    </a:cubicBezTo>
                    <a:cubicBezTo>
                      <a:pt x="12361" y="0"/>
                      <a:pt x="0" y="12361"/>
                      <a:pt x="0" y="27649"/>
                    </a:cubicBezTo>
                    <a:cubicBezTo>
                      <a:pt x="0" y="42938"/>
                      <a:pt x="12361" y="55298"/>
                      <a:pt x="27649" y="55298"/>
                    </a:cubicBezTo>
                    <a:cubicBezTo>
                      <a:pt x="42938" y="55298"/>
                      <a:pt x="55298" y="42938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61" name="Forma livre: Forma 260">
                <a:extLst>
                  <a:ext uri="{FF2B5EF4-FFF2-40B4-BE49-F238E27FC236}">
                    <a16:creationId xmlns:a16="http://schemas.microsoft.com/office/drawing/2014/main" id="{7A9C7503-A33A-1464-6371-7E48C1B79812}"/>
                  </a:ext>
                </a:extLst>
              </p:cNvPr>
              <p:cNvSpPr/>
              <p:nvPr/>
            </p:nvSpPr>
            <p:spPr>
              <a:xfrm>
                <a:off x="6191625" y="1465122"/>
                <a:ext cx="118468" cy="49898"/>
              </a:xfrm>
              <a:custGeom>
                <a:avLst/>
                <a:gdLst>
                  <a:gd name="connsiteX0" fmla="*/ 0 w 118468"/>
                  <a:gd name="connsiteY0" fmla="*/ 49899 h 49898"/>
                  <a:gd name="connsiteX1" fmla="*/ 37343 w 118468"/>
                  <a:gd name="connsiteY1" fmla="*/ 49899 h 49898"/>
                  <a:gd name="connsiteX2" fmla="*/ 87176 w 118468"/>
                  <a:gd name="connsiteY2" fmla="*/ 0 h 49898"/>
                  <a:gd name="connsiteX3" fmla="*/ 118469 w 118468"/>
                  <a:gd name="connsiteY3" fmla="*/ 0 h 49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8468" h="49898">
                    <a:moveTo>
                      <a:pt x="0" y="49899"/>
                    </a:moveTo>
                    <a:lnTo>
                      <a:pt x="37343" y="49899"/>
                    </a:lnTo>
                    <a:lnTo>
                      <a:pt x="87176" y="0"/>
                    </a:lnTo>
                    <a:lnTo>
                      <a:pt x="118469" y="0"/>
                    </a:lnTo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62" name="Forma livre: Forma 261">
                <a:extLst>
                  <a:ext uri="{FF2B5EF4-FFF2-40B4-BE49-F238E27FC236}">
                    <a16:creationId xmlns:a16="http://schemas.microsoft.com/office/drawing/2014/main" id="{A7FEBA7E-BD5D-924C-EDE6-5FED223132E3}"/>
                  </a:ext>
                </a:extLst>
              </p:cNvPr>
              <p:cNvSpPr/>
              <p:nvPr/>
            </p:nvSpPr>
            <p:spPr>
              <a:xfrm>
                <a:off x="6191625" y="1405269"/>
                <a:ext cx="81451" cy="44043"/>
              </a:xfrm>
              <a:custGeom>
                <a:avLst/>
                <a:gdLst>
                  <a:gd name="connsiteX0" fmla="*/ 0 w 81451"/>
                  <a:gd name="connsiteY0" fmla="*/ 44044 h 44043"/>
                  <a:gd name="connsiteX1" fmla="*/ 37343 w 81451"/>
                  <a:gd name="connsiteY1" fmla="*/ 44044 h 44043"/>
                  <a:gd name="connsiteX2" fmla="*/ 81451 w 81451"/>
                  <a:gd name="connsiteY2" fmla="*/ 0 h 440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1451" h="44043">
                    <a:moveTo>
                      <a:pt x="0" y="44044"/>
                    </a:moveTo>
                    <a:lnTo>
                      <a:pt x="37343" y="44044"/>
                    </a:lnTo>
                    <a:lnTo>
                      <a:pt x="81451" y="0"/>
                    </a:lnTo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63" name="Forma livre: Forma 262">
                <a:extLst>
                  <a:ext uri="{FF2B5EF4-FFF2-40B4-BE49-F238E27FC236}">
                    <a16:creationId xmlns:a16="http://schemas.microsoft.com/office/drawing/2014/main" id="{60E607CE-2B10-05F6-99C7-A6D0E66CB173}"/>
                  </a:ext>
                </a:extLst>
              </p:cNvPr>
              <p:cNvSpPr/>
              <p:nvPr/>
            </p:nvSpPr>
            <p:spPr>
              <a:xfrm>
                <a:off x="6265075" y="1357908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0 h 55298"/>
                  <a:gd name="connsiteX2" fmla="*/ 0 w 55298"/>
                  <a:gd name="connsiteY2" fmla="*/ 27649 h 55298"/>
                  <a:gd name="connsiteX3" fmla="*/ 27649 w 55298"/>
                  <a:gd name="connsiteY3" fmla="*/ 55298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12361"/>
                      <a:pt x="42938" y="0"/>
                      <a:pt x="27649" y="0"/>
                    </a:cubicBezTo>
                    <a:cubicBezTo>
                      <a:pt x="12361" y="0"/>
                      <a:pt x="0" y="12361"/>
                      <a:pt x="0" y="27649"/>
                    </a:cubicBezTo>
                    <a:cubicBezTo>
                      <a:pt x="0" y="42938"/>
                      <a:pt x="12361" y="55298"/>
                      <a:pt x="27649" y="55298"/>
                    </a:cubicBezTo>
                    <a:cubicBezTo>
                      <a:pt x="42938" y="55298"/>
                      <a:pt x="55298" y="42938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256" name="Gráfico 32">
              <a:extLst>
                <a:ext uri="{FF2B5EF4-FFF2-40B4-BE49-F238E27FC236}">
                  <a16:creationId xmlns:a16="http://schemas.microsoft.com/office/drawing/2014/main" id="{8A23A697-1587-60C1-B54F-45F5EB61B2D2}"/>
                </a:ext>
              </a:extLst>
            </p:cNvPr>
            <p:cNvGrpSpPr/>
            <p:nvPr/>
          </p:nvGrpSpPr>
          <p:grpSpPr>
            <a:xfrm>
              <a:off x="6190910" y="1529723"/>
              <a:ext cx="123673" cy="55298"/>
              <a:chOff x="6190910" y="1529723"/>
              <a:chExt cx="123673" cy="55298"/>
            </a:xfrm>
            <a:noFill/>
          </p:grpSpPr>
          <p:sp>
            <p:nvSpPr>
              <p:cNvPr id="258" name="Forma livre: Forma 257">
                <a:extLst>
                  <a:ext uri="{FF2B5EF4-FFF2-40B4-BE49-F238E27FC236}">
                    <a16:creationId xmlns:a16="http://schemas.microsoft.com/office/drawing/2014/main" id="{8FBF81DB-CA2E-E941-152D-68C20072F3C0}"/>
                  </a:ext>
                </a:extLst>
              </p:cNvPr>
              <p:cNvSpPr/>
              <p:nvPr/>
            </p:nvSpPr>
            <p:spPr>
              <a:xfrm>
                <a:off x="6190910" y="1557372"/>
                <a:ext cx="68765" cy="6505"/>
              </a:xfrm>
              <a:custGeom>
                <a:avLst/>
                <a:gdLst>
                  <a:gd name="connsiteX0" fmla="*/ 0 w 68765"/>
                  <a:gd name="connsiteY0" fmla="*/ 0 h 6505"/>
                  <a:gd name="connsiteX1" fmla="*/ 68765 w 68765"/>
                  <a:gd name="connsiteY1" fmla="*/ 0 h 65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8765" h="6505">
                    <a:moveTo>
                      <a:pt x="0" y="0"/>
                    </a:moveTo>
                    <a:lnTo>
                      <a:pt x="68765" y="0"/>
                    </a:lnTo>
                  </a:path>
                </a:pathLst>
              </a:custGeom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59" name="Forma livre: Forma 258">
                <a:extLst>
                  <a:ext uri="{FF2B5EF4-FFF2-40B4-BE49-F238E27FC236}">
                    <a16:creationId xmlns:a16="http://schemas.microsoft.com/office/drawing/2014/main" id="{F7462425-A360-E55B-124E-947E2AE4AC2C}"/>
                  </a:ext>
                </a:extLst>
              </p:cNvPr>
              <p:cNvSpPr/>
              <p:nvPr/>
            </p:nvSpPr>
            <p:spPr>
              <a:xfrm>
                <a:off x="6259285" y="1529723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257" name="Forma livre: Forma 256">
              <a:extLst>
                <a:ext uri="{FF2B5EF4-FFF2-40B4-BE49-F238E27FC236}">
                  <a16:creationId xmlns:a16="http://schemas.microsoft.com/office/drawing/2014/main" id="{CE735950-05BD-0074-F42E-709131B9AD7C}"/>
                </a:ext>
              </a:extLst>
            </p:cNvPr>
            <p:cNvSpPr/>
            <p:nvPr/>
          </p:nvSpPr>
          <p:spPr>
            <a:xfrm>
              <a:off x="6152201" y="1686285"/>
              <a:ext cx="37362" cy="20848"/>
            </a:xfrm>
            <a:custGeom>
              <a:avLst/>
              <a:gdLst>
                <a:gd name="connsiteX0" fmla="*/ 0 w 37362"/>
                <a:gd name="connsiteY0" fmla="*/ 10505 h 20848"/>
                <a:gd name="connsiteX1" fmla="*/ 27064 w 37362"/>
                <a:gd name="connsiteY1" fmla="*/ 2373 h 20848"/>
                <a:gd name="connsiteX2" fmla="*/ 37343 w 37362"/>
                <a:gd name="connsiteY2" fmla="*/ 20849 h 20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7362" h="20848">
                  <a:moveTo>
                    <a:pt x="0" y="10505"/>
                  </a:moveTo>
                  <a:cubicBezTo>
                    <a:pt x="5205" y="811"/>
                    <a:pt x="17435" y="-2832"/>
                    <a:pt x="27064" y="2373"/>
                  </a:cubicBezTo>
                  <a:cubicBezTo>
                    <a:pt x="34025" y="6081"/>
                    <a:pt x="37668" y="13432"/>
                    <a:pt x="37343" y="20849"/>
                  </a:cubicBezTo>
                </a:path>
              </a:pathLst>
            </a:custGeom>
            <a:noFill/>
            <a:ln w="19050" cap="sq">
              <a:solidFill>
                <a:schemeClr val="tx1"/>
              </a:solidFill>
              <a:prstDash val="solid"/>
              <a:miter lim="800000"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274" name="Agrupar 273">
            <a:extLst>
              <a:ext uri="{FF2B5EF4-FFF2-40B4-BE49-F238E27FC236}">
                <a16:creationId xmlns:a16="http://schemas.microsoft.com/office/drawing/2014/main" id="{D92866E8-B42F-A9BF-3E02-17349BFBE877}"/>
              </a:ext>
            </a:extLst>
          </p:cNvPr>
          <p:cNvGrpSpPr/>
          <p:nvPr/>
        </p:nvGrpSpPr>
        <p:grpSpPr>
          <a:xfrm>
            <a:off x="6199027" y="3897379"/>
            <a:ext cx="325297" cy="355243"/>
            <a:chOff x="6000092" y="1357908"/>
            <a:chExt cx="365300" cy="398929"/>
          </a:xfrm>
        </p:grpSpPr>
        <p:sp>
          <p:nvSpPr>
            <p:cNvPr id="275" name="Forma livre: Forma 274">
              <a:extLst>
                <a:ext uri="{FF2B5EF4-FFF2-40B4-BE49-F238E27FC236}">
                  <a16:creationId xmlns:a16="http://schemas.microsoft.com/office/drawing/2014/main" id="{35140627-5200-D60F-BB7A-EA777EA5AF31}"/>
                </a:ext>
              </a:extLst>
            </p:cNvPr>
            <p:cNvSpPr/>
            <p:nvPr/>
          </p:nvSpPr>
          <p:spPr>
            <a:xfrm>
              <a:off x="6000092" y="1418606"/>
              <a:ext cx="84058" cy="286120"/>
            </a:xfrm>
            <a:custGeom>
              <a:avLst/>
              <a:gdLst>
                <a:gd name="connsiteX0" fmla="*/ 51595 w 84058"/>
                <a:gd name="connsiteY0" fmla="*/ 0 h 286120"/>
                <a:gd name="connsiteX1" fmla="*/ 35266 w 84058"/>
                <a:gd name="connsiteY1" fmla="*/ 61674 h 286120"/>
                <a:gd name="connsiteX2" fmla="*/ 28760 w 84058"/>
                <a:gd name="connsiteY2" fmla="*/ 193415 h 286120"/>
                <a:gd name="connsiteX3" fmla="*/ 84059 w 84058"/>
                <a:gd name="connsiteY3" fmla="*/ 286121 h 2861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4058" h="286120">
                  <a:moveTo>
                    <a:pt x="51595" y="0"/>
                  </a:moveTo>
                  <a:cubicBezTo>
                    <a:pt x="37868" y="7872"/>
                    <a:pt x="26028" y="24852"/>
                    <a:pt x="35266" y="61674"/>
                  </a:cubicBezTo>
                  <a:cubicBezTo>
                    <a:pt x="35266" y="61674"/>
                    <a:pt x="-39549" y="126731"/>
                    <a:pt x="28760" y="193415"/>
                  </a:cubicBezTo>
                  <a:cubicBezTo>
                    <a:pt x="28760" y="193415"/>
                    <a:pt x="9243" y="281242"/>
                    <a:pt x="84059" y="286121"/>
                  </a:cubicBezTo>
                </a:path>
              </a:pathLst>
            </a:custGeom>
            <a:noFill/>
            <a:ln w="19050" cap="sq">
              <a:solidFill>
                <a:schemeClr val="tx1"/>
              </a:solidFill>
              <a:prstDash val="solid"/>
              <a:miter lim="800000"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276" name="Gráfico 32">
              <a:extLst>
                <a:ext uri="{FF2B5EF4-FFF2-40B4-BE49-F238E27FC236}">
                  <a16:creationId xmlns:a16="http://schemas.microsoft.com/office/drawing/2014/main" id="{35F367BF-F59A-DEE6-D8FE-D4B1BEE31B00}"/>
                </a:ext>
              </a:extLst>
            </p:cNvPr>
            <p:cNvGrpSpPr/>
            <p:nvPr/>
          </p:nvGrpSpPr>
          <p:grpSpPr>
            <a:xfrm>
              <a:off x="6061121" y="1359924"/>
              <a:ext cx="128487" cy="396366"/>
              <a:chOff x="6061121" y="1359924"/>
              <a:chExt cx="128487" cy="396366"/>
            </a:xfrm>
            <a:noFill/>
          </p:grpSpPr>
          <p:sp>
            <p:nvSpPr>
              <p:cNvPr id="291" name="Forma livre: Forma 290">
                <a:extLst>
                  <a:ext uri="{FF2B5EF4-FFF2-40B4-BE49-F238E27FC236}">
                    <a16:creationId xmlns:a16="http://schemas.microsoft.com/office/drawing/2014/main" id="{45BF203A-AF50-FAFD-61EB-07B6978BB06B}"/>
                  </a:ext>
                </a:extLst>
              </p:cNvPr>
              <p:cNvSpPr/>
              <p:nvPr/>
            </p:nvSpPr>
            <p:spPr>
              <a:xfrm>
                <a:off x="6083891" y="1359924"/>
                <a:ext cx="105717" cy="396366"/>
              </a:xfrm>
              <a:custGeom>
                <a:avLst/>
                <a:gdLst>
                  <a:gd name="connsiteX0" fmla="*/ 52891 w 105717"/>
                  <a:gd name="connsiteY0" fmla="*/ 105718 h 396366"/>
                  <a:gd name="connsiteX1" fmla="*/ 0 w 105717"/>
                  <a:gd name="connsiteY1" fmla="*/ 52891 h 396366"/>
                  <a:gd name="connsiteX2" fmla="*/ 52891 w 105717"/>
                  <a:gd name="connsiteY2" fmla="*/ 0 h 396366"/>
                  <a:gd name="connsiteX3" fmla="*/ 105718 w 105717"/>
                  <a:gd name="connsiteY3" fmla="*/ 52826 h 396366"/>
                  <a:gd name="connsiteX4" fmla="*/ 105718 w 105717"/>
                  <a:gd name="connsiteY4" fmla="*/ 346884 h 396366"/>
                  <a:gd name="connsiteX5" fmla="*/ 80606 w 105717"/>
                  <a:gd name="connsiteY5" fmla="*/ 388911 h 396366"/>
                  <a:gd name="connsiteX6" fmla="*/ 9238 w 105717"/>
                  <a:gd name="connsiteY6" fmla="*/ 371150 h 396366"/>
                  <a:gd name="connsiteX7" fmla="*/ 15484 w 105717"/>
                  <a:gd name="connsiteY7" fmla="*/ 309216 h 396366"/>
                  <a:gd name="connsiteX8" fmla="*/ 45019 w 105717"/>
                  <a:gd name="connsiteY8" fmla="*/ 277078 h 3963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05717" h="396366">
                    <a:moveTo>
                      <a:pt x="52891" y="105718"/>
                    </a:moveTo>
                    <a:cubicBezTo>
                      <a:pt x="23681" y="105718"/>
                      <a:pt x="0" y="82037"/>
                      <a:pt x="0" y="52891"/>
                    </a:cubicBezTo>
                    <a:cubicBezTo>
                      <a:pt x="0" y="23746"/>
                      <a:pt x="23681" y="0"/>
                      <a:pt x="52891" y="0"/>
                    </a:cubicBezTo>
                    <a:cubicBezTo>
                      <a:pt x="82102" y="0"/>
                      <a:pt x="105718" y="23681"/>
                      <a:pt x="105718" y="52826"/>
                    </a:cubicBezTo>
                    <a:lnTo>
                      <a:pt x="105718" y="346884"/>
                    </a:lnTo>
                    <a:cubicBezTo>
                      <a:pt x="105718" y="364580"/>
                      <a:pt x="96414" y="379413"/>
                      <a:pt x="80606" y="388911"/>
                    </a:cubicBezTo>
                    <a:cubicBezTo>
                      <a:pt x="55949" y="403744"/>
                      <a:pt x="24006" y="395742"/>
                      <a:pt x="9238" y="371150"/>
                    </a:cubicBezTo>
                    <a:cubicBezTo>
                      <a:pt x="-2928" y="350918"/>
                      <a:pt x="260" y="325741"/>
                      <a:pt x="15484" y="309216"/>
                    </a:cubicBezTo>
                    <a:lnTo>
                      <a:pt x="45019" y="277078"/>
                    </a:lnTo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92" name="Forma livre: Forma 291">
                <a:extLst>
                  <a:ext uri="{FF2B5EF4-FFF2-40B4-BE49-F238E27FC236}">
                    <a16:creationId xmlns:a16="http://schemas.microsoft.com/office/drawing/2014/main" id="{EBFB2F5E-17CD-2CFC-7637-BAAE9C1F81EA}"/>
                  </a:ext>
                </a:extLst>
              </p:cNvPr>
              <p:cNvSpPr/>
              <p:nvPr/>
            </p:nvSpPr>
            <p:spPr>
              <a:xfrm>
                <a:off x="6144784" y="1383865"/>
                <a:ext cx="41563" cy="38963"/>
              </a:xfrm>
              <a:custGeom>
                <a:avLst/>
                <a:gdLst>
                  <a:gd name="connsiteX0" fmla="*/ 36172 w 41563"/>
                  <a:gd name="connsiteY0" fmla="*/ 0 h 38963"/>
                  <a:gd name="connsiteX1" fmla="*/ 39425 w 41563"/>
                  <a:gd name="connsiteY1" fmla="*/ 24266 h 38963"/>
                  <a:gd name="connsiteX2" fmla="*/ 36432 w 41563"/>
                  <a:gd name="connsiteY2" fmla="*/ 29080 h 38963"/>
                  <a:gd name="connsiteX3" fmla="*/ 0 w 41563"/>
                  <a:gd name="connsiteY3" fmla="*/ 33439 h 389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563" h="38963">
                    <a:moveTo>
                      <a:pt x="36172" y="0"/>
                    </a:moveTo>
                    <a:cubicBezTo>
                      <a:pt x="41571" y="7547"/>
                      <a:pt x="43393" y="16004"/>
                      <a:pt x="39425" y="24266"/>
                    </a:cubicBezTo>
                    <a:cubicBezTo>
                      <a:pt x="38644" y="25893"/>
                      <a:pt x="37603" y="27519"/>
                      <a:pt x="36432" y="29080"/>
                    </a:cubicBezTo>
                    <a:cubicBezTo>
                      <a:pt x="27584" y="40270"/>
                      <a:pt x="11190" y="42287"/>
                      <a:pt x="0" y="33439"/>
                    </a:cubicBezTo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93" name="Forma livre: Forma 292">
                <a:extLst>
                  <a:ext uri="{FF2B5EF4-FFF2-40B4-BE49-F238E27FC236}">
                    <a16:creationId xmlns:a16="http://schemas.microsoft.com/office/drawing/2014/main" id="{84F7579F-3747-FC0F-335D-EDF8E9EF89DC}"/>
                  </a:ext>
                </a:extLst>
              </p:cNvPr>
              <p:cNvSpPr/>
              <p:nvPr/>
            </p:nvSpPr>
            <p:spPr>
              <a:xfrm>
                <a:off x="6081487" y="1460806"/>
                <a:ext cx="34217" cy="54474"/>
              </a:xfrm>
              <a:custGeom>
                <a:avLst/>
                <a:gdLst>
                  <a:gd name="connsiteX0" fmla="*/ 21076 w 34217"/>
                  <a:gd name="connsiteY0" fmla="*/ 54475 h 54474"/>
                  <a:gd name="connsiteX1" fmla="*/ 778 w 34217"/>
                  <a:gd name="connsiteY1" fmla="*/ 21035 h 54474"/>
                  <a:gd name="connsiteX2" fmla="*/ 34217 w 34217"/>
                  <a:gd name="connsiteY2" fmla="*/ 803 h 544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4217" h="54474">
                    <a:moveTo>
                      <a:pt x="21076" y="54475"/>
                    </a:moveTo>
                    <a:cubicBezTo>
                      <a:pt x="6308" y="50832"/>
                      <a:pt x="-2800" y="35803"/>
                      <a:pt x="778" y="21035"/>
                    </a:cubicBezTo>
                    <a:cubicBezTo>
                      <a:pt x="4421" y="6267"/>
                      <a:pt x="19449" y="-2841"/>
                      <a:pt x="34217" y="803"/>
                    </a:cubicBezTo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94" name="Forma livre: Forma 293">
                <a:extLst>
                  <a:ext uri="{FF2B5EF4-FFF2-40B4-BE49-F238E27FC236}">
                    <a16:creationId xmlns:a16="http://schemas.microsoft.com/office/drawing/2014/main" id="{146B9162-BA08-0608-54D0-02BCAB409FB6}"/>
                  </a:ext>
                </a:extLst>
              </p:cNvPr>
              <p:cNvSpPr/>
              <p:nvPr/>
            </p:nvSpPr>
            <p:spPr>
              <a:xfrm>
                <a:off x="6073547" y="1527543"/>
                <a:ext cx="114760" cy="72506"/>
              </a:xfrm>
              <a:custGeom>
                <a:avLst/>
                <a:gdLst>
                  <a:gd name="connsiteX0" fmla="*/ 114760 w 114760"/>
                  <a:gd name="connsiteY0" fmla="*/ 7254 h 72506"/>
                  <a:gd name="connsiteX1" fmla="*/ 73905 w 114760"/>
                  <a:gd name="connsiteY1" fmla="*/ 8881 h 72506"/>
                  <a:gd name="connsiteX2" fmla="*/ 0 w 114760"/>
                  <a:gd name="connsiteY2" fmla="*/ 72506 h 725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14760" h="72506">
                    <a:moveTo>
                      <a:pt x="114760" y="7254"/>
                    </a:moveTo>
                    <a:cubicBezTo>
                      <a:pt x="103375" y="-2830"/>
                      <a:pt x="83989" y="-2504"/>
                      <a:pt x="73905" y="8881"/>
                    </a:cubicBezTo>
                    <a:cubicBezTo>
                      <a:pt x="73905" y="8881"/>
                      <a:pt x="31488" y="72506"/>
                      <a:pt x="0" y="72506"/>
                    </a:cubicBezTo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95" name="Forma livre: Forma 294">
                <a:extLst>
                  <a:ext uri="{FF2B5EF4-FFF2-40B4-BE49-F238E27FC236}">
                    <a16:creationId xmlns:a16="http://schemas.microsoft.com/office/drawing/2014/main" id="{AFA8AE0F-4A00-71E0-67AF-127664DEB6AB}"/>
                  </a:ext>
                </a:extLst>
              </p:cNvPr>
              <p:cNvSpPr/>
              <p:nvPr/>
            </p:nvSpPr>
            <p:spPr>
              <a:xfrm>
                <a:off x="6079857" y="1646956"/>
                <a:ext cx="29405" cy="9823"/>
              </a:xfrm>
              <a:custGeom>
                <a:avLst/>
                <a:gdLst>
                  <a:gd name="connsiteX0" fmla="*/ 0 w 29405"/>
                  <a:gd name="connsiteY0" fmla="*/ 0 h 9823"/>
                  <a:gd name="connsiteX1" fmla="*/ 29406 w 29405"/>
                  <a:gd name="connsiteY1" fmla="*/ 9824 h 98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9405" h="9823">
                    <a:moveTo>
                      <a:pt x="0" y="0"/>
                    </a:moveTo>
                    <a:lnTo>
                      <a:pt x="29406" y="9824"/>
                    </a:lnTo>
                  </a:path>
                </a:pathLst>
              </a:custGeom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96" name="Forma livre: Forma 295">
                <a:extLst>
                  <a:ext uri="{FF2B5EF4-FFF2-40B4-BE49-F238E27FC236}">
                    <a16:creationId xmlns:a16="http://schemas.microsoft.com/office/drawing/2014/main" id="{1B67F899-48FD-F4D5-0984-A84579037EEE}"/>
                  </a:ext>
                </a:extLst>
              </p:cNvPr>
              <p:cNvSpPr/>
              <p:nvPr/>
            </p:nvSpPr>
            <p:spPr>
              <a:xfrm>
                <a:off x="6061121" y="1545272"/>
                <a:ext cx="47166" cy="34154"/>
              </a:xfrm>
              <a:custGeom>
                <a:avLst/>
                <a:gdLst>
                  <a:gd name="connsiteX0" fmla="*/ 0 w 47166"/>
                  <a:gd name="connsiteY0" fmla="*/ 0 h 34154"/>
                  <a:gd name="connsiteX1" fmla="*/ 47166 w 47166"/>
                  <a:gd name="connsiteY1" fmla="*/ 34155 h 341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166" h="34154">
                    <a:moveTo>
                      <a:pt x="0" y="0"/>
                    </a:moveTo>
                    <a:cubicBezTo>
                      <a:pt x="0" y="0"/>
                      <a:pt x="27649" y="13011"/>
                      <a:pt x="47166" y="34155"/>
                    </a:cubicBezTo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277" name="Gráfico 32">
              <a:extLst>
                <a:ext uri="{FF2B5EF4-FFF2-40B4-BE49-F238E27FC236}">
                  <a16:creationId xmlns:a16="http://schemas.microsoft.com/office/drawing/2014/main" id="{31D793B5-B2F3-5219-66DD-A44AF59F4DBB}"/>
                </a:ext>
              </a:extLst>
            </p:cNvPr>
            <p:cNvGrpSpPr/>
            <p:nvPr/>
          </p:nvGrpSpPr>
          <p:grpSpPr>
            <a:xfrm>
              <a:off x="6191625" y="1599725"/>
              <a:ext cx="173767" cy="157112"/>
              <a:chOff x="6191625" y="1599725"/>
              <a:chExt cx="173767" cy="157112"/>
            </a:xfrm>
            <a:noFill/>
          </p:grpSpPr>
          <p:sp>
            <p:nvSpPr>
              <p:cNvPr id="287" name="Forma livre: Forma 286">
                <a:extLst>
                  <a:ext uri="{FF2B5EF4-FFF2-40B4-BE49-F238E27FC236}">
                    <a16:creationId xmlns:a16="http://schemas.microsoft.com/office/drawing/2014/main" id="{2296B651-5DAB-5D96-C59B-5322C9B2A25F}"/>
                  </a:ext>
                </a:extLst>
              </p:cNvPr>
              <p:cNvSpPr/>
              <p:nvPr/>
            </p:nvSpPr>
            <p:spPr>
              <a:xfrm>
                <a:off x="6310094" y="1621974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88" name="Forma livre: Forma 287">
                <a:extLst>
                  <a:ext uri="{FF2B5EF4-FFF2-40B4-BE49-F238E27FC236}">
                    <a16:creationId xmlns:a16="http://schemas.microsoft.com/office/drawing/2014/main" id="{07F6DAF0-9577-DE9E-C8DF-F3FC6FB19B98}"/>
                  </a:ext>
                </a:extLst>
              </p:cNvPr>
              <p:cNvSpPr/>
              <p:nvPr/>
            </p:nvSpPr>
            <p:spPr>
              <a:xfrm>
                <a:off x="6191625" y="1599725"/>
                <a:ext cx="118078" cy="49898"/>
              </a:xfrm>
              <a:custGeom>
                <a:avLst/>
                <a:gdLst>
                  <a:gd name="connsiteX0" fmla="*/ 0 w 118078"/>
                  <a:gd name="connsiteY0" fmla="*/ 0 h 49898"/>
                  <a:gd name="connsiteX1" fmla="*/ 37343 w 118078"/>
                  <a:gd name="connsiteY1" fmla="*/ 0 h 49898"/>
                  <a:gd name="connsiteX2" fmla="*/ 87176 w 118078"/>
                  <a:gd name="connsiteY2" fmla="*/ 49899 h 49898"/>
                  <a:gd name="connsiteX3" fmla="*/ 118078 w 118078"/>
                  <a:gd name="connsiteY3" fmla="*/ 49899 h 49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8078" h="49898">
                    <a:moveTo>
                      <a:pt x="0" y="0"/>
                    </a:moveTo>
                    <a:lnTo>
                      <a:pt x="37343" y="0"/>
                    </a:lnTo>
                    <a:lnTo>
                      <a:pt x="87176" y="49899"/>
                    </a:lnTo>
                    <a:lnTo>
                      <a:pt x="118078" y="49899"/>
                    </a:lnTo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89" name="Forma livre: Forma 288">
                <a:extLst>
                  <a:ext uri="{FF2B5EF4-FFF2-40B4-BE49-F238E27FC236}">
                    <a16:creationId xmlns:a16="http://schemas.microsoft.com/office/drawing/2014/main" id="{FAD4A547-6EF7-4C3D-942E-DA4F82EFE496}"/>
                  </a:ext>
                </a:extLst>
              </p:cNvPr>
              <p:cNvSpPr/>
              <p:nvPr/>
            </p:nvSpPr>
            <p:spPr>
              <a:xfrm>
                <a:off x="6191625" y="1665367"/>
                <a:ext cx="81906" cy="44108"/>
              </a:xfrm>
              <a:custGeom>
                <a:avLst/>
                <a:gdLst>
                  <a:gd name="connsiteX0" fmla="*/ 0 w 81906"/>
                  <a:gd name="connsiteY0" fmla="*/ 0 h 44108"/>
                  <a:gd name="connsiteX1" fmla="*/ 37343 w 81906"/>
                  <a:gd name="connsiteY1" fmla="*/ 0 h 44108"/>
                  <a:gd name="connsiteX2" fmla="*/ 81907 w 81906"/>
                  <a:gd name="connsiteY2" fmla="*/ 44109 h 441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1906" h="44108">
                    <a:moveTo>
                      <a:pt x="0" y="0"/>
                    </a:moveTo>
                    <a:lnTo>
                      <a:pt x="37343" y="0"/>
                    </a:lnTo>
                    <a:lnTo>
                      <a:pt x="81907" y="44109"/>
                    </a:lnTo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90" name="Forma livre: Forma 289">
                <a:extLst>
                  <a:ext uri="{FF2B5EF4-FFF2-40B4-BE49-F238E27FC236}">
                    <a16:creationId xmlns:a16="http://schemas.microsoft.com/office/drawing/2014/main" id="{F8721E91-1177-7227-E358-C45A97DAB883}"/>
                  </a:ext>
                </a:extLst>
              </p:cNvPr>
              <p:cNvSpPr/>
              <p:nvPr/>
            </p:nvSpPr>
            <p:spPr>
              <a:xfrm>
                <a:off x="6265075" y="1701539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278" name="Gráfico 32">
              <a:extLst>
                <a:ext uri="{FF2B5EF4-FFF2-40B4-BE49-F238E27FC236}">
                  <a16:creationId xmlns:a16="http://schemas.microsoft.com/office/drawing/2014/main" id="{F211450A-05C2-B517-F769-CB36427833B6}"/>
                </a:ext>
              </a:extLst>
            </p:cNvPr>
            <p:cNvGrpSpPr/>
            <p:nvPr/>
          </p:nvGrpSpPr>
          <p:grpSpPr>
            <a:xfrm>
              <a:off x="6191625" y="1357908"/>
              <a:ext cx="173767" cy="157112"/>
              <a:chOff x="6191625" y="1357908"/>
              <a:chExt cx="173767" cy="157112"/>
            </a:xfrm>
            <a:noFill/>
          </p:grpSpPr>
          <p:sp>
            <p:nvSpPr>
              <p:cNvPr id="283" name="Forma livre: Forma 282">
                <a:extLst>
                  <a:ext uri="{FF2B5EF4-FFF2-40B4-BE49-F238E27FC236}">
                    <a16:creationId xmlns:a16="http://schemas.microsoft.com/office/drawing/2014/main" id="{C38944DB-15FE-A411-7CD8-E0E42F27AE34}"/>
                  </a:ext>
                </a:extLst>
              </p:cNvPr>
              <p:cNvSpPr/>
              <p:nvPr/>
            </p:nvSpPr>
            <p:spPr>
              <a:xfrm>
                <a:off x="6310094" y="1437472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0 h 55298"/>
                  <a:gd name="connsiteX2" fmla="*/ 0 w 55298"/>
                  <a:gd name="connsiteY2" fmla="*/ 27649 h 55298"/>
                  <a:gd name="connsiteX3" fmla="*/ 27649 w 55298"/>
                  <a:gd name="connsiteY3" fmla="*/ 55298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12361"/>
                      <a:pt x="42938" y="0"/>
                      <a:pt x="27649" y="0"/>
                    </a:cubicBezTo>
                    <a:cubicBezTo>
                      <a:pt x="12361" y="0"/>
                      <a:pt x="0" y="12361"/>
                      <a:pt x="0" y="27649"/>
                    </a:cubicBezTo>
                    <a:cubicBezTo>
                      <a:pt x="0" y="42938"/>
                      <a:pt x="12361" y="55298"/>
                      <a:pt x="27649" y="55298"/>
                    </a:cubicBezTo>
                    <a:cubicBezTo>
                      <a:pt x="42938" y="55298"/>
                      <a:pt x="55298" y="42938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84" name="Forma livre: Forma 283">
                <a:extLst>
                  <a:ext uri="{FF2B5EF4-FFF2-40B4-BE49-F238E27FC236}">
                    <a16:creationId xmlns:a16="http://schemas.microsoft.com/office/drawing/2014/main" id="{0BA2A792-16B7-460F-690E-8FE9FC0900F0}"/>
                  </a:ext>
                </a:extLst>
              </p:cNvPr>
              <p:cNvSpPr/>
              <p:nvPr/>
            </p:nvSpPr>
            <p:spPr>
              <a:xfrm>
                <a:off x="6191625" y="1465122"/>
                <a:ext cx="118468" cy="49898"/>
              </a:xfrm>
              <a:custGeom>
                <a:avLst/>
                <a:gdLst>
                  <a:gd name="connsiteX0" fmla="*/ 0 w 118468"/>
                  <a:gd name="connsiteY0" fmla="*/ 49899 h 49898"/>
                  <a:gd name="connsiteX1" fmla="*/ 37343 w 118468"/>
                  <a:gd name="connsiteY1" fmla="*/ 49899 h 49898"/>
                  <a:gd name="connsiteX2" fmla="*/ 87176 w 118468"/>
                  <a:gd name="connsiteY2" fmla="*/ 0 h 49898"/>
                  <a:gd name="connsiteX3" fmla="*/ 118469 w 118468"/>
                  <a:gd name="connsiteY3" fmla="*/ 0 h 49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8468" h="49898">
                    <a:moveTo>
                      <a:pt x="0" y="49899"/>
                    </a:moveTo>
                    <a:lnTo>
                      <a:pt x="37343" y="49899"/>
                    </a:lnTo>
                    <a:lnTo>
                      <a:pt x="87176" y="0"/>
                    </a:lnTo>
                    <a:lnTo>
                      <a:pt x="118469" y="0"/>
                    </a:lnTo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85" name="Forma livre: Forma 284">
                <a:extLst>
                  <a:ext uri="{FF2B5EF4-FFF2-40B4-BE49-F238E27FC236}">
                    <a16:creationId xmlns:a16="http://schemas.microsoft.com/office/drawing/2014/main" id="{364346DD-1672-6636-6EF4-BD10E887A2F4}"/>
                  </a:ext>
                </a:extLst>
              </p:cNvPr>
              <p:cNvSpPr/>
              <p:nvPr/>
            </p:nvSpPr>
            <p:spPr>
              <a:xfrm>
                <a:off x="6191625" y="1405269"/>
                <a:ext cx="81451" cy="44043"/>
              </a:xfrm>
              <a:custGeom>
                <a:avLst/>
                <a:gdLst>
                  <a:gd name="connsiteX0" fmla="*/ 0 w 81451"/>
                  <a:gd name="connsiteY0" fmla="*/ 44044 h 44043"/>
                  <a:gd name="connsiteX1" fmla="*/ 37343 w 81451"/>
                  <a:gd name="connsiteY1" fmla="*/ 44044 h 44043"/>
                  <a:gd name="connsiteX2" fmla="*/ 81451 w 81451"/>
                  <a:gd name="connsiteY2" fmla="*/ 0 h 440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1451" h="44043">
                    <a:moveTo>
                      <a:pt x="0" y="44044"/>
                    </a:moveTo>
                    <a:lnTo>
                      <a:pt x="37343" y="44044"/>
                    </a:lnTo>
                    <a:lnTo>
                      <a:pt x="81451" y="0"/>
                    </a:lnTo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86" name="Forma livre: Forma 285">
                <a:extLst>
                  <a:ext uri="{FF2B5EF4-FFF2-40B4-BE49-F238E27FC236}">
                    <a16:creationId xmlns:a16="http://schemas.microsoft.com/office/drawing/2014/main" id="{5D9F4BD6-BB9F-8527-6549-744E83F8D6E6}"/>
                  </a:ext>
                </a:extLst>
              </p:cNvPr>
              <p:cNvSpPr/>
              <p:nvPr/>
            </p:nvSpPr>
            <p:spPr>
              <a:xfrm>
                <a:off x="6265075" y="1357908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0 h 55298"/>
                  <a:gd name="connsiteX2" fmla="*/ 0 w 55298"/>
                  <a:gd name="connsiteY2" fmla="*/ 27649 h 55298"/>
                  <a:gd name="connsiteX3" fmla="*/ 27649 w 55298"/>
                  <a:gd name="connsiteY3" fmla="*/ 55298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12361"/>
                      <a:pt x="42938" y="0"/>
                      <a:pt x="27649" y="0"/>
                    </a:cubicBezTo>
                    <a:cubicBezTo>
                      <a:pt x="12361" y="0"/>
                      <a:pt x="0" y="12361"/>
                      <a:pt x="0" y="27649"/>
                    </a:cubicBezTo>
                    <a:cubicBezTo>
                      <a:pt x="0" y="42938"/>
                      <a:pt x="12361" y="55298"/>
                      <a:pt x="27649" y="55298"/>
                    </a:cubicBezTo>
                    <a:cubicBezTo>
                      <a:pt x="42938" y="55298"/>
                      <a:pt x="55298" y="42938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279" name="Gráfico 32">
              <a:extLst>
                <a:ext uri="{FF2B5EF4-FFF2-40B4-BE49-F238E27FC236}">
                  <a16:creationId xmlns:a16="http://schemas.microsoft.com/office/drawing/2014/main" id="{7EAE9D24-1F43-2571-E482-501E4C756122}"/>
                </a:ext>
              </a:extLst>
            </p:cNvPr>
            <p:cNvGrpSpPr/>
            <p:nvPr/>
          </p:nvGrpSpPr>
          <p:grpSpPr>
            <a:xfrm>
              <a:off x="6190910" y="1529723"/>
              <a:ext cx="123673" cy="55298"/>
              <a:chOff x="6190910" y="1529723"/>
              <a:chExt cx="123673" cy="55298"/>
            </a:xfrm>
            <a:noFill/>
          </p:grpSpPr>
          <p:sp>
            <p:nvSpPr>
              <p:cNvPr id="281" name="Forma livre: Forma 280">
                <a:extLst>
                  <a:ext uri="{FF2B5EF4-FFF2-40B4-BE49-F238E27FC236}">
                    <a16:creationId xmlns:a16="http://schemas.microsoft.com/office/drawing/2014/main" id="{955CD3E5-25B3-3979-D06E-10A3C92B4F84}"/>
                  </a:ext>
                </a:extLst>
              </p:cNvPr>
              <p:cNvSpPr/>
              <p:nvPr/>
            </p:nvSpPr>
            <p:spPr>
              <a:xfrm>
                <a:off x="6190910" y="1557372"/>
                <a:ext cx="68765" cy="6505"/>
              </a:xfrm>
              <a:custGeom>
                <a:avLst/>
                <a:gdLst>
                  <a:gd name="connsiteX0" fmla="*/ 0 w 68765"/>
                  <a:gd name="connsiteY0" fmla="*/ 0 h 6505"/>
                  <a:gd name="connsiteX1" fmla="*/ 68765 w 68765"/>
                  <a:gd name="connsiteY1" fmla="*/ 0 h 65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8765" h="6505">
                    <a:moveTo>
                      <a:pt x="0" y="0"/>
                    </a:moveTo>
                    <a:lnTo>
                      <a:pt x="68765" y="0"/>
                    </a:lnTo>
                  </a:path>
                </a:pathLst>
              </a:custGeom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82" name="Forma livre: Forma 281">
                <a:extLst>
                  <a:ext uri="{FF2B5EF4-FFF2-40B4-BE49-F238E27FC236}">
                    <a16:creationId xmlns:a16="http://schemas.microsoft.com/office/drawing/2014/main" id="{64121E3B-25D3-CCA2-8E22-E653C61FCDC1}"/>
                  </a:ext>
                </a:extLst>
              </p:cNvPr>
              <p:cNvSpPr/>
              <p:nvPr/>
            </p:nvSpPr>
            <p:spPr>
              <a:xfrm>
                <a:off x="6259285" y="1529723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280" name="Forma livre: Forma 279">
              <a:extLst>
                <a:ext uri="{FF2B5EF4-FFF2-40B4-BE49-F238E27FC236}">
                  <a16:creationId xmlns:a16="http://schemas.microsoft.com/office/drawing/2014/main" id="{EA49D77C-33D1-2688-EC3B-CC4C95657A7F}"/>
                </a:ext>
              </a:extLst>
            </p:cNvPr>
            <p:cNvSpPr/>
            <p:nvPr/>
          </p:nvSpPr>
          <p:spPr>
            <a:xfrm>
              <a:off x="6152201" y="1686285"/>
              <a:ext cx="37362" cy="20848"/>
            </a:xfrm>
            <a:custGeom>
              <a:avLst/>
              <a:gdLst>
                <a:gd name="connsiteX0" fmla="*/ 0 w 37362"/>
                <a:gd name="connsiteY0" fmla="*/ 10505 h 20848"/>
                <a:gd name="connsiteX1" fmla="*/ 27064 w 37362"/>
                <a:gd name="connsiteY1" fmla="*/ 2373 h 20848"/>
                <a:gd name="connsiteX2" fmla="*/ 37343 w 37362"/>
                <a:gd name="connsiteY2" fmla="*/ 20849 h 20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7362" h="20848">
                  <a:moveTo>
                    <a:pt x="0" y="10505"/>
                  </a:moveTo>
                  <a:cubicBezTo>
                    <a:pt x="5205" y="811"/>
                    <a:pt x="17435" y="-2832"/>
                    <a:pt x="27064" y="2373"/>
                  </a:cubicBezTo>
                  <a:cubicBezTo>
                    <a:pt x="34025" y="6081"/>
                    <a:pt x="37668" y="13432"/>
                    <a:pt x="37343" y="20849"/>
                  </a:cubicBezTo>
                </a:path>
              </a:pathLst>
            </a:custGeom>
            <a:noFill/>
            <a:ln w="19050" cap="sq">
              <a:solidFill>
                <a:schemeClr val="tx1"/>
              </a:solidFill>
              <a:prstDash val="solid"/>
              <a:miter lim="800000"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297" name="Agrupar 296">
            <a:extLst>
              <a:ext uri="{FF2B5EF4-FFF2-40B4-BE49-F238E27FC236}">
                <a16:creationId xmlns:a16="http://schemas.microsoft.com/office/drawing/2014/main" id="{84EE5384-A5EA-A731-422D-EF381615CC75}"/>
              </a:ext>
            </a:extLst>
          </p:cNvPr>
          <p:cNvGrpSpPr/>
          <p:nvPr/>
        </p:nvGrpSpPr>
        <p:grpSpPr>
          <a:xfrm>
            <a:off x="8224678" y="2816551"/>
            <a:ext cx="325297" cy="355243"/>
            <a:chOff x="6000092" y="1357908"/>
            <a:chExt cx="365300" cy="398929"/>
          </a:xfrm>
        </p:grpSpPr>
        <p:sp>
          <p:nvSpPr>
            <p:cNvPr id="298" name="Forma livre: Forma 297">
              <a:extLst>
                <a:ext uri="{FF2B5EF4-FFF2-40B4-BE49-F238E27FC236}">
                  <a16:creationId xmlns:a16="http://schemas.microsoft.com/office/drawing/2014/main" id="{2C3C9520-ED09-7683-3EA3-82AD5246290D}"/>
                </a:ext>
              </a:extLst>
            </p:cNvPr>
            <p:cNvSpPr/>
            <p:nvPr/>
          </p:nvSpPr>
          <p:spPr>
            <a:xfrm>
              <a:off x="6000092" y="1418606"/>
              <a:ext cx="84058" cy="286120"/>
            </a:xfrm>
            <a:custGeom>
              <a:avLst/>
              <a:gdLst>
                <a:gd name="connsiteX0" fmla="*/ 51595 w 84058"/>
                <a:gd name="connsiteY0" fmla="*/ 0 h 286120"/>
                <a:gd name="connsiteX1" fmla="*/ 35266 w 84058"/>
                <a:gd name="connsiteY1" fmla="*/ 61674 h 286120"/>
                <a:gd name="connsiteX2" fmla="*/ 28760 w 84058"/>
                <a:gd name="connsiteY2" fmla="*/ 193415 h 286120"/>
                <a:gd name="connsiteX3" fmla="*/ 84059 w 84058"/>
                <a:gd name="connsiteY3" fmla="*/ 286121 h 2861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4058" h="286120">
                  <a:moveTo>
                    <a:pt x="51595" y="0"/>
                  </a:moveTo>
                  <a:cubicBezTo>
                    <a:pt x="37868" y="7872"/>
                    <a:pt x="26028" y="24852"/>
                    <a:pt x="35266" y="61674"/>
                  </a:cubicBezTo>
                  <a:cubicBezTo>
                    <a:pt x="35266" y="61674"/>
                    <a:pt x="-39549" y="126731"/>
                    <a:pt x="28760" y="193415"/>
                  </a:cubicBezTo>
                  <a:cubicBezTo>
                    <a:pt x="28760" y="193415"/>
                    <a:pt x="9243" y="281242"/>
                    <a:pt x="84059" y="286121"/>
                  </a:cubicBezTo>
                </a:path>
              </a:pathLst>
            </a:custGeom>
            <a:noFill/>
            <a:ln w="19050" cap="sq">
              <a:solidFill>
                <a:schemeClr val="tx1"/>
              </a:solidFill>
              <a:prstDash val="solid"/>
              <a:miter lim="800000"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299" name="Gráfico 32">
              <a:extLst>
                <a:ext uri="{FF2B5EF4-FFF2-40B4-BE49-F238E27FC236}">
                  <a16:creationId xmlns:a16="http://schemas.microsoft.com/office/drawing/2014/main" id="{4ADE8C78-4678-02B7-836E-645E0F95F59B}"/>
                </a:ext>
              </a:extLst>
            </p:cNvPr>
            <p:cNvGrpSpPr/>
            <p:nvPr/>
          </p:nvGrpSpPr>
          <p:grpSpPr>
            <a:xfrm>
              <a:off x="6061121" y="1359924"/>
              <a:ext cx="128487" cy="396366"/>
              <a:chOff x="6061121" y="1359924"/>
              <a:chExt cx="128487" cy="396366"/>
            </a:xfrm>
            <a:noFill/>
          </p:grpSpPr>
          <p:sp>
            <p:nvSpPr>
              <p:cNvPr id="314" name="Forma livre: Forma 313">
                <a:extLst>
                  <a:ext uri="{FF2B5EF4-FFF2-40B4-BE49-F238E27FC236}">
                    <a16:creationId xmlns:a16="http://schemas.microsoft.com/office/drawing/2014/main" id="{64E20FEF-F720-9AC6-FB24-46F2486E15AC}"/>
                  </a:ext>
                </a:extLst>
              </p:cNvPr>
              <p:cNvSpPr/>
              <p:nvPr/>
            </p:nvSpPr>
            <p:spPr>
              <a:xfrm>
                <a:off x="6083891" y="1359924"/>
                <a:ext cx="105717" cy="396366"/>
              </a:xfrm>
              <a:custGeom>
                <a:avLst/>
                <a:gdLst>
                  <a:gd name="connsiteX0" fmla="*/ 52891 w 105717"/>
                  <a:gd name="connsiteY0" fmla="*/ 105718 h 396366"/>
                  <a:gd name="connsiteX1" fmla="*/ 0 w 105717"/>
                  <a:gd name="connsiteY1" fmla="*/ 52891 h 396366"/>
                  <a:gd name="connsiteX2" fmla="*/ 52891 w 105717"/>
                  <a:gd name="connsiteY2" fmla="*/ 0 h 396366"/>
                  <a:gd name="connsiteX3" fmla="*/ 105718 w 105717"/>
                  <a:gd name="connsiteY3" fmla="*/ 52826 h 396366"/>
                  <a:gd name="connsiteX4" fmla="*/ 105718 w 105717"/>
                  <a:gd name="connsiteY4" fmla="*/ 346884 h 396366"/>
                  <a:gd name="connsiteX5" fmla="*/ 80606 w 105717"/>
                  <a:gd name="connsiteY5" fmla="*/ 388911 h 396366"/>
                  <a:gd name="connsiteX6" fmla="*/ 9238 w 105717"/>
                  <a:gd name="connsiteY6" fmla="*/ 371150 h 396366"/>
                  <a:gd name="connsiteX7" fmla="*/ 15484 w 105717"/>
                  <a:gd name="connsiteY7" fmla="*/ 309216 h 396366"/>
                  <a:gd name="connsiteX8" fmla="*/ 45019 w 105717"/>
                  <a:gd name="connsiteY8" fmla="*/ 277078 h 3963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05717" h="396366">
                    <a:moveTo>
                      <a:pt x="52891" y="105718"/>
                    </a:moveTo>
                    <a:cubicBezTo>
                      <a:pt x="23681" y="105718"/>
                      <a:pt x="0" y="82037"/>
                      <a:pt x="0" y="52891"/>
                    </a:cubicBezTo>
                    <a:cubicBezTo>
                      <a:pt x="0" y="23746"/>
                      <a:pt x="23681" y="0"/>
                      <a:pt x="52891" y="0"/>
                    </a:cubicBezTo>
                    <a:cubicBezTo>
                      <a:pt x="82102" y="0"/>
                      <a:pt x="105718" y="23681"/>
                      <a:pt x="105718" y="52826"/>
                    </a:cubicBezTo>
                    <a:lnTo>
                      <a:pt x="105718" y="346884"/>
                    </a:lnTo>
                    <a:cubicBezTo>
                      <a:pt x="105718" y="364580"/>
                      <a:pt x="96414" y="379413"/>
                      <a:pt x="80606" y="388911"/>
                    </a:cubicBezTo>
                    <a:cubicBezTo>
                      <a:pt x="55949" y="403744"/>
                      <a:pt x="24006" y="395742"/>
                      <a:pt x="9238" y="371150"/>
                    </a:cubicBezTo>
                    <a:cubicBezTo>
                      <a:pt x="-2928" y="350918"/>
                      <a:pt x="260" y="325741"/>
                      <a:pt x="15484" y="309216"/>
                    </a:cubicBezTo>
                    <a:lnTo>
                      <a:pt x="45019" y="277078"/>
                    </a:lnTo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15" name="Forma livre: Forma 314">
                <a:extLst>
                  <a:ext uri="{FF2B5EF4-FFF2-40B4-BE49-F238E27FC236}">
                    <a16:creationId xmlns:a16="http://schemas.microsoft.com/office/drawing/2014/main" id="{110AE345-E0BE-C310-233B-106296B5DDBE}"/>
                  </a:ext>
                </a:extLst>
              </p:cNvPr>
              <p:cNvSpPr/>
              <p:nvPr/>
            </p:nvSpPr>
            <p:spPr>
              <a:xfrm>
                <a:off x="6144784" y="1383865"/>
                <a:ext cx="41563" cy="38963"/>
              </a:xfrm>
              <a:custGeom>
                <a:avLst/>
                <a:gdLst>
                  <a:gd name="connsiteX0" fmla="*/ 36172 w 41563"/>
                  <a:gd name="connsiteY0" fmla="*/ 0 h 38963"/>
                  <a:gd name="connsiteX1" fmla="*/ 39425 w 41563"/>
                  <a:gd name="connsiteY1" fmla="*/ 24266 h 38963"/>
                  <a:gd name="connsiteX2" fmla="*/ 36432 w 41563"/>
                  <a:gd name="connsiteY2" fmla="*/ 29080 h 38963"/>
                  <a:gd name="connsiteX3" fmla="*/ 0 w 41563"/>
                  <a:gd name="connsiteY3" fmla="*/ 33439 h 389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563" h="38963">
                    <a:moveTo>
                      <a:pt x="36172" y="0"/>
                    </a:moveTo>
                    <a:cubicBezTo>
                      <a:pt x="41571" y="7547"/>
                      <a:pt x="43393" y="16004"/>
                      <a:pt x="39425" y="24266"/>
                    </a:cubicBezTo>
                    <a:cubicBezTo>
                      <a:pt x="38644" y="25893"/>
                      <a:pt x="37603" y="27519"/>
                      <a:pt x="36432" y="29080"/>
                    </a:cubicBezTo>
                    <a:cubicBezTo>
                      <a:pt x="27584" y="40270"/>
                      <a:pt x="11190" y="42287"/>
                      <a:pt x="0" y="33439"/>
                    </a:cubicBezTo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16" name="Forma livre: Forma 315">
                <a:extLst>
                  <a:ext uri="{FF2B5EF4-FFF2-40B4-BE49-F238E27FC236}">
                    <a16:creationId xmlns:a16="http://schemas.microsoft.com/office/drawing/2014/main" id="{68F04EAC-6417-016E-B994-D24B707F8CAF}"/>
                  </a:ext>
                </a:extLst>
              </p:cNvPr>
              <p:cNvSpPr/>
              <p:nvPr/>
            </p:nvSpPr>
            <p:spPr>
              <a:xfrm>
                <a:off x="6081487" y="1460806"/>
                <a:ext cx="34217" cy="54474"/>
              </a:xfrm>
              <a:custGeom>
                <a:avLst/>
                <a:gdLst>
                  <a:gd name="connsiteX0" fmla="*/ 21076 w 34217"/>
                  <a:gd name="connsiteY0" fmla="*/ 54475 h 54474"/>
                  <a:gd name="connsiteX1" fmla="*/ 778 w 34217"/>
                  <a:gd name="connsiteY1" fmla="*/ 21035 h 54474"/>
                  <a:gd name="connsiteX2" fmla="*/ 34217 w 34217"/>
                  <a:gd name="connsiteY2" fmla="*/ 803 h 544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4217" h="54474">
                    <a:moveTo>
                      <a:pt x="21076" y="54475"/>
                    </a:moveTo>
                    <a:cubicBezTo>
                      <a:pt x="6308" y="50832"/>
                      <a:pt x="-2800" y="35803"/>
                      <a:pt x="778" y="21035"/>
                    </a:cubicBezTo>
                    <a:cubicBezTo>
                      <a:pt x="4421" y="6267"/>
                      <a:pt x="19449" y="-2841"/>
                      <a:pt x="34217" y="803"/>
                    </a:cubicBezTo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17" name="Forma livre: Forma 316">
                <a:extLst>
                  <a:ext uri="{FF2B5EF4-FFF2-40B4-BE49-F238E27FC236}">
                    <a16:creationId xmlns:a16="http://schemas.microsoft.com/office/drawing/2014/main" id="{5447036B-AFB8-8B29-213A-38E4D504B8C2}"/>
                  </a:ext>
                </a:extLst>
              </p:cNvPr>
              <p:cNvSpPr/>
              <p:nvPr/>
            </p:nvSpPr>
            <p:spPr>
              <a:xfrm>
                <a:off x="6073547" y="1527543"/>
                <a:ext cx="114760" cy="72506"/>
              </a:xfrm>
              <a:custGeom>
                <a:avLst/>
                <a:gdLst>
                  <a:gd name="connsiteX0" fmla="*/ 114760 w 114760"/>
                  <a:gd name="connsiteY0" fmla="*/ 7254 h 72506"/>
                  <a:gd name="connsiteX1" fmla="*/ 73905 w 114760"/>
                  <a:gd name="connsiteY1" fmla="*/ 8881 h 72506"/>
                  <a:gd name="connsiteX2" fmla="*/ 0 w 114760"/>
                  <a:gd name="connsiteY2" fmla="*/ 72506 h 725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14760" h="72506">
                    <a:moveTo>
                      <a:pt x="114760" y="7254"/>
                    </a:moveTo>
                    <a:cubicBezTo>
                      <a:pt x="103375" y="-2830"/>
                      <a:pt x="83989" y="-2504"/>
                      <a:pt x="73905" y="8881"/>
                    </a:cubicBezTo>
                    <a:cubicBezTo>
                      <a:pt x="73905" y="8881"/>
                      <a:pt x="31488" y="72506"/>
                      <a:pt x="0" y="72506"/>
                    </a:cubicBezTo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18" name="Forma livre: Forma 317">
                <a:extLst>
                  <a:ext uri="{FF2B5EF4-FFF2-40B4-BE49-F238E27FC236}">
                    <a16:creationId xmlns:a16="http://schemas.microsoft.com/office/drawing/2014/main" id="{9DD7ED7B-2C6A-917B-052B-56C06E47FE96}"/>
                  </a:ext>
                </a:extLst>
              </p:cNvPr>
              <p:cNvSpPr/>
              <p:nvPr/>
            </p:nvSpPr>
            <p:spPr>
              <a:xfrm>
                <a:off x="6079857" y="1646956"/>
                <a:ext cx="29405" cy="9823"/>
              </a:xfrm>
              <a:custGeom>
                <a:avLst/>
                <a:gdLst>
                  <a:gd name="connsiteX0" fmla="*/ 0 w 29405"/>
                  <a:gd name="connsiteY0" fmla="*/ 0 h 9823"/>
                  <a:gd name="connsiteX1" fmla="*/ 29406 w 29405"/>
                  <a:gd name="connsiteY1" fmla="*/ 9824 h 98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9405" h="9823">
                    <a:moveTo>
                      <a:pt x="0" y="0"/>
                    </a:moveTo>
                    <a:lnTo>
                      <a:pt x="29406" y="9824"/>
                    </a:lnTo>
                  </a:path>
                </a:pathLst>
              </a:custGeom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19" name="Forma livre: Forma 318">
                <a:extLst>
                  <a:ext uri="{FF2B5EF4-FFF2-40B4-BE49-F238E27FC236}">
                    <a16:creationId xmlns:a16="http://schemas.microsoft.com/office/drawing/2014/main" id="{281A8FF8-A765-3A13-CABB-4A3E69795189}"/>
                  </a:ext>
                </a:extLst>
              </p:cNvPr>
              <p:cNvSpPr/>
              <p:nvPr/>
            </p:nvSpPr>
            <p:spPr>
              <a:xfrm>
                <a:off x="6061121" y="1545272"/>
                <a:ext cx="47166" cy="34154"/>
              </a:xfrm>
              <a:custGeom>
                <a:avLst/>
                <a:gdLst>
                  <a:gd name="connsiteX0" fmla="*/ 0 w 47166"/>
                  <a:gd name="connsiteY0" fmla="*/ 0 h 34154"/>
                  <a:gd name="connsiteX1" fmla="*/ 47166 w 47166"/>
                  <a:gd name="connsiteY1" fmla="*/ 34155 h 341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166" h="34154">
                    <a:moveTo>
                      <a:pt x="0" y="0"/>
                    </a:moveTo>
                    <a:cubicBezTo>
                      <a:pt x="0" y="0"/>
                      <a:pt x="27649" y="13011"/>
                      <a:pt x="47166" y="34155"/>
                    </a:cubicBezTo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300" name="Gráfico 32">
              <a:extLst>
                <a:ext uri="{FF2B5EF4-FFF2-40B4-BE49-F238E27FC236}">
                  <a16:creationId xmlns:a16="http://schemas.microsoft.com/office/drawing/2014/main" id="{D0BC0072-B1D0-18A3-AFDC-202AEA963932}"/>
                </a:ext>
              </a:extLst>
            </p:cNvPr>
            <p:cNvGrpSpPr/>
            <p:nvPr/>
          </p:nvGrpSpPr>
          <p:grpSpPr>
            <a:xfrm>
              <a:off x="6191625" y="1599725"/>
              <a:ext cx="173767" cy="157112"/>
              <a:chOff x="6191625" y="1599725"/>
              <a:chExt cx="173767" cy="157112"/>
            </a:xfrm>
            <a:noFill/>
          </p:grpSpPr>
          <p:sp>
            <p:nvSpPr>
              <p:cNvPr id="310" name="Forma livre: Forma 309">
                <a:extLst>
                  <a:ext uri="{FF2B5EF4-FFF2-40B4-BE49-F238E27FC236}">
                    <a16:creationId xmlns:a16="http://schemas.microsoft.com/office/drawing/2014/main" id="{5D5FE88C-07DE-086D-2B93-72A002A4F2CC}"/>
                  </a:ext>
                </a:extLst>
              </p:cNvPr>
              <p:cNvSpPr/>
              <p:nvPr/>
            </p:nvSpPr>
            <p:spPr>
              <a:xfrm>
                <a:off x="6310094" y="1621974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11" name="Forma livre: Forma 310">
                <a:extLst>
                  <a:ext uri="{FF2B5EF4-FFF2-40B4-BE49-F238E27FC236}">
                    <a16:creationId xmlns:a16="http://schemas.microsoft.com/office/drawing/2014/main" id="{21119FD5-722E-BE4F-9679-0C50BD9B5BFC}"/>
                  </a:ext>
                </a:extLst>
              </p:cNvPr>
              <p:cNvSpPr/>
              <p:nvPr/>
            </p:nvSpPr>
            <p:spPr>
              <a:xfrm>
                <a:off x="6191625" y="1599725"/>
                <a:ext cx="118078" cy="49898"/>
              </a:xfrm>
              <a:custGeom>
                <a:avLst/>
                <a:gdLst>
                  <a:gd name="connsiteX0" fmla="*/ 0 w 118078"/>
                  <a:gd name="connsiteY0" fmla="*/ 0 h 49898"/>
                  <a:gd name="connsiteX1" fmla="*/ 37343 w 118078"/>
                  <a:gd name="connsiteY1" fmla="*/ 0 h 49898"/>
                  <a:gd name="connsiteX2" fmla="*/ 87176 w 118078"/>
                  <a:gd name="connsiteY2" fmla="*/ 49899 h 49898"/>
                  <a:gd name="connsiteX3" fmla="*/ 118078 w 118078"/>
                  <a:gd name="connsiteY3" fmla="*/ 49899 h 49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8078" h="49898">
                    <a:moveTo>
                      <a:pt x="0" y="0"/>
                    </a:moveTo>
                    <a:lnTo>
                      <a:pt x="37343" y="0"/>
                    </a:lnTo>
                    <a:lnTo>
                      <a:pt x="87176" y="49899"/>
                    </a:lnTo>
                    <a:lnTo>
                      <a:pt x="118078" y="49899"/>
                    </a:lnTo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12" name="Forma livre: Forma 311">
                <a:extLst>
                  <a:ext uri="{FF2B5EF4-FFF2-40B4-BE49-F238E27FC236}">
                    <a16:creationId xmlns:a16="http://schemas.microsoft.com/office/drawing/2014/main" id="{706CA407-D089-3071-9983-B618D2941E12}"/>
                  </a:ext>
                </a:extLst>
              </p:cNvPr>
              <p:cNvSpPr/>
              <p:nvPr/>
            </p:nvSpPr>
            <p:spPr>
              <a:xfrm>
                <a:off x="6191625" y="1665367"/>
                <a:ext cx="81906" cy="44108"/>
              </a:xfrm>
              <a:custGeom>
                <a:avLst/>
                <a:gdLst>
                  <a:gd name="connsiteX0" fmla="*/ 0 w 81906"/>
                  <a:gd name="connsiteY0" fmla="*/ 0 h 44108"/>
                  <a:gd name="connsiteX1" fmla="*/ 37343 w 81906"/>
                  <a:gd name="connsiteY1" fmla="*/ 0 h 44108"/>
                  <a:gd name="connsiteX2" fmla="*/ 81907 w 81906"/>
                  <a:gd name="connsiteY2" fmla="*/ 44109 h 441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1906" h="44108">
                    <a:moveTo>
                      <a:pt x="0" y="0"/>
                    </a:moveTo>
                    <a:lnTo>
                      <a:pt x="37343" y="0"/>
                    </a:lnTo>
                    <a:lnTo>
                      <a:pt x="81907" y="44109"/>
                    </a:lnTo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13" name="Forma livre: Forma 312">
                <a:extLst>
                  <a:ext uri="{FF2B5EF4-FFF2-40B4-BE49-F238E27FC236}">
                    <a16:creationId xmlns:a16="http://schemas.microsoft.com/office/drawing/2014/main" id="{A612DE8A-D29D-3149-5CC8-42EBED70C6A3}"/>
                  </a:ext>
                </a:extLst>
              </p:cNvPr>
              <p:cNvSpPr/>
              <p:nvPr/>
            </p:nvSpPr>
            <p:spPr>
              <a:xfrm>
                <a:off x="6265075" y="1701539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301" name="Gráfico 32">
              <a:extLst>
                <a:ext uri="{FF2B5EF4-FFF2-40B4-BE49-F238E27FC236}">
                  <a16:creationId xmlns:a16="http://schemas.microsoft.com/office/drawing/2014/main" id="{EE90407F-5459-521D-054C-274BD640B42C}"/>
                </a:ext>
              </a:extLst>
            </p:cNvPr>
            <p:cNvGrpSpPr/>
            <p:nvPr/>
          </p:nvGrpSpPr>
          <p:grpSpPr>
            <a:xfrm>
              <a:off x="6191625" y="1357908"/>
              <a:ext cx="173767" cy="157112"/>
              <a:chOff x="6191625" y="1357908"/>
              <a:chExt cx="173767" cy="157112"/>
            </a:xfrm>
            <a:noFill/>
          </p:grpSpPr>
          <p:sp>
            <p:nvSpPr>
              <p:cNvPr id="306" name="Forma livre: Forma 305">
                <a:extLst>
                  <a:ext uri="{FF2B5EF4-FFF2-40B4-BE49-F238E27FC236}">
                    <a16:creationId xmlns:a16="http://schemas.microsoft.com/office/drawing/2014/main" id="{E5383884-B234-F6B3-BEA1-3B899C5ED366}"/>
                  </a:ext>
                </a:extLst>
              </p:cNvPr>
              <p:cNvSpPr/>
              <p:nvPr/>
            </p:nvSpPr>
            <p:spPr>
              <a:xfrm>
                <a:off x="6310094" y="1437472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0 h 55298"/>
                  <a:gd name="connsiteX2" fmla="*/ 0 w 55298"/>
                  <a:gd name="connsiteY2" fmla="*/ 27649 h 55298"/>
                  <a:gd name="connsiteX3" fmla="*/ 27649 w 55298"/>
                  <a:gd name="connsiteY3" fmla="*/ 55298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12361"/>
                      <a:pt x="42938" y="0"/>
                      <a:pt x="27649" y="0"/>
                    </a:cubicBezTo>
                    <a:cubicBezTo>
                      <a:pt x="12361" y="0"/>
                      <a:pt x="0" y="12361"/>
                      <a:pt x="0" y="27649"/>
                    </a:cubicBezTo>
                    <a:cubicBezTo>
                      <a:pt x="0" y="42938"/>
                      <a:pt x="12361" y="55298"/>
                      <a:pt x="27649" y="55298"/>
                    </a:cubicBezTo>
                    <a:cubicBezTo>
                      <a:pt x="42938" y="55298"/>
                      <a:pt x="55298" y="42938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07" name="Forma livre: Forma 306">
                <a:extLst>
                  <a:ext uri="{FF2B5EF4-FFF2-40B4-BE49-F238E27FC236}">
                    <a16:creationId xmlns:a16="http://schemas.microsoft.com/office/drawing/2014/main" id="{26E41E70-C9E3-6D56-D270-C9CC68EDF164}"/>
                  </a:ext>
                </a:extLst>
              </p:cNvPr>
              <p:cNvSpPr/>
              <p:nvPr/>
            </p:nvSpPr>
            <p:spPr>
              <a:xfrm>
                <a:off x="6191625" y="1465122"/>
                <a:ext cx="118468" cy="49898"/>
              </a:xfrm>
              <a:custGeom>
                <a:avLst/>
                <a:gdLst>
                  <a:gd name="connsiteX0" fmla="*/ 0 w 118468"/>
                  <a:gd name="connsiteY0" fmla="*/ 49899 h 49898"/>
                  <a:gd name="connsiteX1" fmla="*/ 37343 w 118468"/>
                  <a:gd name="connsiteY1" fmla="*/ 49899 h 49898"/>
                  <a:gd name="connsiteX2" fmla="*/ 87176 w 118468"/>
                  <a:gd name="connsiteY2" fmla="*/ 0 h 49898"/>
                  <a:gd name="connsiteX3" fmla="*/ 118469 w 118468"/>
                  <a:gd name="connsiteY3" fmla="*/ 0 h 49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8468" h="49898">
                    <a:moveTo>
                      <a:pt x="0" y="49899"/>
                    </a:moveTo>
                    <a:lnTo>
                      <a:pt x="37343" y="49899"/>
                    </a:lnTo>
                    <a:lnTo>
                      <a:pt x="87176" y="0"/>
                    </a:lnTo>
                    <a:lnTo>
                      <a:pt x="118469" y="0"/>
                    </a:lnTo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08" name="Forma livre: Forma 307">
                <a:extLst>
                  <a:ext uri="{FF2B5EF4-FFF2-40B4-BE49-F238E27FC236}">
                    <a16:creationId xmlns:a16="http://schemas.microsoft.com/office/drawing/2014/main" id="{7928725B-647C-5162-E886-2A17F848B41A}"/>
                  </a:ext>
                </a:extLst>
              </p:cNvPr>
              <p:cNvSpPr/>
              <p:nvPr/>
            </p:nvSpPr>
            <p:spPr>
              <a:xfrm>
                <a:off x="6191625" y="1405269"/>
                <a:ext cx="81451" cy="44043"/>
              </a:xfrm>
              <a:custGeom>
                <a:avLst/>
                <a:gdLst>
                  <a:gd name="connsiteX0" fmla="*/ 0 w 81451"/>
                  <a:gd name="connsiteY0" fmla="*/ 44044 h 44043"/>
                  <a:gd name="connsiteX1" fmla="*/ 37343 w 81451"/>
                  <a:gd name="connsiteY1" fmla="*/ 44044 h 44043"/>
                  <a:gd name="connsiteX2" fmla="*/ 81451 w 81451"/>
                  <a:gd name="connsiteY2" fmla="*/ 0 h 440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1451" h="44043">
                    <a:moveTo>
                      <a:pt x="0" y="44044"/>
                    </a:moveTo>
                    <a:lnTo>
                      <a:pt x="37343" y="44044"/>
                    </a:lnTo>
                    <a:lnTo>
                      <a:pt x="81451" y="0"/>
                    </a:lnTo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09" name="Forma livre: Forma 308">
                <a:extLst>
                  <a:ext uri="{FF2B5EF4-FFF2-40B4-BE49-F238E27FC236}">
                    <a16:creationId xmlns:a16="http://schemas.microsoft.com/office/drawing/2014/main" id="{E364D80B-8705-0BF4-58A3-88433E87F55B}"/>
                  </a:ext>
                </a:extLst>
              </p:cNvPr>
              <p:cNvSpPr/>
              <p:nvPr/>
            </p:nvSpPr>
            <p:spPr>
              <a:xfrm>
                <a:off x="6265075" y="1357908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0 h 55298"/>
                  <a:gd name="connsiteX2" fmla="*/ 0 w 55298"/>
                  <a:gd name="connsiteY2" fmla="*/ 27649 h 55298"/>
                  <a:gd name="connsiteX3" fmla="*/ 27649 w 55298"/>
                  <a:gd name="connsiteY3" fmla="*/ 55298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12361"/>
                      <a:pt x="42938" y="0"/>
                      <a:pt x="27649" y="0"/>
                    </a:cubicBezTo>
                    <a:cubicBezTo>
                      <a:pt x="12361" y="0"/>
                      <a:pt x="0" y="12361"/>
                      <a:pt x="0" y="27649"/>
                    </a:cubicBezTo>
                    <a:cubicBezTo>
                      <a:pt x="0" y="42938"/>
                      <a:pt x="12361" y="55298"/>
                      <a:pt x="27649" y="55298"/>
                    </a:cubicBezTo>
                    <a:cubicBezTo>
                      <a:pt x="42938" y="55298"/>
                      <a:pt x="55298" y="42938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302" name="Gráfico 32">
              <a:extLst>
                <a:ext uri="{FF2B5EF4-FFF2-40B4-BE49-F238E27FC236}">
                  <a16:creationId xmlns:a16="http://schemas.microsoft.com/office/drawing/2014/main" id="{B267A0C5-7943-FCAA-D322-5AA87FFFE088}"/>
                </a:ext>
              </a:extLst>
            </p:cNvPr>
            <p:cNvGrpSpPr/>
            <p:nvPr/>
          </p:nvGrpSpPr>
          <p:grpSpPr>
            <a:xfrm>
              <a:off x="6190910" y="1529723"/>
              <a:ext cx="123673" cy="55298"/>
              <a:chOff x="6190910" y="1529723"/>
              <a:chExt cx="123673" cy="55298"/>
            </a:xfrm>
            <a:noFill/>
          </p:grpSpPr>
          <p:sp>
            <p:nvSpPr>
              <p:cNvPr id="304" name="Forma livre: Forma 303">
                <a:extLst>
                  <a:ext uri="{FF2B5EF4-FFF2-40B4-BE49-F238E27FC236}">
                    <a16:creationId xmlns:a16="http://schemas.microsoft.com/office/drawing/2014/main" id="{364DC903-49D5-6426-6546-AD49455BF138}"/>
                  </a:ext>
                </a:extLst>
              </p:cNvPr>
              <p:cNvSpPr/>
              <p:nvPr/>
            </p:nvSpPr>
            <p:spPr>
              <a:xfrm>
                <a:off x="6190910" y="1557372"/>
                <a:ext cx="68765" cy="6505"/>
              </a:xfrm>
              <a:custGeom>
                <a:avLst/>
                <a:gdLst>
                  <a:gd name="connsiteX0" fmla="*/ 0 w 68765"/>
                  <a:gd name="connsiteY0" fmla="*/ 0 h 6505"/>
                  <a:gd name="connsiteX1" fmla="*/ 68765 w 68765"/>
                  <a:gd name="connsiteY1" fmla="*/ 0 h 65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8765" h="6505">
                    <a:moveTo>
                      <a:pt x="0" y="0"/>
                    </a:moveTo>
                    <a:lnTo>
                      <a:pt x="68765" y="0"/>
                    </a:lnTo>
                  </a:path>
                </a:pathLst>
              </a:custGeom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05" name="Forma livre: Forma 304">
                <a:extLst>
                  <a:ext uri="{FF2B5EF4-FFF2-40B4-BE49-F238E27FC236}">
                    <a16:creationId xmlns:a16="http://schemas.microsoft.com/office/drawing/2014/main" id="{E415C505-9100-1E59-733B-1A4C84080178}"/>
                  </a:ext>
                </a:extLst>
              </p:cNvPr>
              <p:cNvSpPr/>
              <p:nvPr/>
            </p:nvSpPr>
            <p:spPr>
              <a:xfrm>
                <a:off x="6259285" y="1529723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303" name="Forma livre: Forma 302">
              <a:extLst>
                <a:ext uri="{FF2B5EF4-FFF2-40B4-BE49-F238E27FC236}">
                  <a16:creationId xmlns:a16="http://schemas.microsoft.com/office/drawing/2014/main" id="{56BDC410-B5A2-48E8-1154-2CAAF1E227CB}"/>
                </a:ext>
              </a:extLst>
            </p:cNvPr>
            <p:cNvSpPr/>
            <p:nvPr/>
          </p:nvSpPr>
          <p:spPr>
            <a:xfrm>
              <a:off x="6152201" y="1686285"/>
              <a:ext cx="37362" cy="20848"/>
            </a:xfrm>
            <a:custGeom>
              <a:avLst/>
              <a:gdLst>
                <a:gd name="connsiteX0" fmla="*/ 0 w 37362"/>
                <a:gd name="connsiteY0" fmla="*/ 10505 h 20848"/>
                <a:gd name="connsiteX1" fmla="*/ 27064 w 37362"/>
                <a:gd name="connsiteY1" fmla="*/ 2373 h 20848"/>
                <a:gd name="connsiteX2" fmla="*/ 37343 w 37362"/>
                <a:gd name="connsiteY2" fmla="*/ 20849 h 20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7362" h="20848">
                  <a:moveTo>
                    <a:pt x="0" y="10505"/>
                  </a:moveTo>
                  <a:cubicBezTo>
                    <a:pt x="5205" y="811"/>
                    <a:pt x="17435" y="-2832"/>
                    <a:pt x="27064" y="2373"/>
                  </a:cubicBezTo>
                  <a:cubicBezTo>
                    <a:pt x="34025" y="6081"/>
                    <a:pt x="37668" y="13432"/>
                    <a:pt x="37343" y="20849"/>
                  </a:cubicBezTo>
                </a:path>
              </a:pathLst>
            </a:custGeom>
            <a:noFill/>
            <a:ln w="19050" cap="sq">
              <a:solidFill>
                <a:schemeClr val="tx1"/>
              </a:solidFill>
              <a:prstDash val="solid"/>
              <a:miter lim="800000"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320" name="Agrupar 319">
            <a:extLst>
              <a:ext uri="{FF2B5EF4-FFF2-40B4-BE49-F238E27FC236}">
                <a16:creationId xmlns:a16="http://schemas.microsoft.com/office/drawing/2014/main" id="{AF0CB1FB-053E-D066-8EA4-48665F601AC6}"/>
              </a:ext>
            </a:extLst>
          </p:cNvPr>
          <p:cNvGrpSpPr/>
          <p:nvPr/>
        </p:nvGrpSpPr>
        <p:grpSpPr>
          <a:xfrm>
            <a:off x="10266069" y="3897379"/>
            <a:ext cx="325297" cy="355243"/>
            <a:chOff x="6000092" y="1357908"/>
            <a:chExt cx="365300" cy="398929"/>
          </a:xfrm>
        </p:grpSpPr>
        <p:sp>
          <p:nvSpPr>
            <p:cNvPr id="321" name="Forma livre: Forma 320">
              <a:extLst>
                <a:ext uri="{FF2B5EF4-FFF2-40B4-BE49-F238E27FC236}">
                  <a16:creationId xmlns:a16="http://schemas.microsoft.com/office/drawing/2014/main" id="{46CAD49E-C042-94D5-8670-A07F1B4E7E55}"/>
                </a:ext>
              </a:extLst>
            </p:cNvPr>
            <p:cNvSpPr/>
            <p:nvPr/>
          </p:nvSpPr>
          <p:spPr>
            <a:xfrm>
              <a:off x="6000092" y="1418606"/>
              <a:ext cx="84058" cy="286120"/>
            </a:xfrm>
            <a:custGeom>
              <a:avLst/>
              <a:gdLst>
                <a:gd name="connsiteX0" fmla="*/ 51595 w 84058"/>
                <a:gd name="connsiteY0" fmla="*/ 0 h 286120"/>
                <a:gd name="connsiteX1" fmla="*/ 35266 w 84058"/>
                <a:gd name="connsiteY1" fmla="*/ 61674 h 286120"/>
                <a:gd name="connsiteX2" fmla="*/ 28760 w 84058"/>
                <a:gd name="connsiteY2" fmla="*/ 193415 h 286120"/>
                <a:gd name="connsiteX3" fmla="*/ 84059 w 84058"/>
                <a:gd name="connsiteY3" fmla="*/ 286121 h 2861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4058" h="286120">
                  <a:moveTo>
                    <a:pt x="51595" y="0"/>
                  </a:moveTo>
                  <a:cubicBezTo>
                    <a:pt x="37868" y="7872"/>
                    <a:pt x="26028" y="24852"/>
                    <a:pt x="35266" y="61674"/>
                  </a:cubicBezTo>
                  <a:cubicBezTo>
                    <a:pt x="35266" y="61674"/>
                    <a:pt x="-39549" y="126731"/>
                    <a:pt x="28760" y="193415"/>
                  </a:cubicBezTo>
                  <a:cubicBezTo>
                    <a:pt x="28760" y="193415"/>
                    <a:pt x="9243" y="281242"/>
                    <a:pt x="84059" y="286121"/>
                  </a:cubicBezTo>
                </a:path>
              </a:pathLst>
            </a:custGeom>
            <a:noFill/>
            <a:ln w="19050" cap="sq">
              <a:solidFill>
                <a:schemeClr val="tx1"/>
              </a:solidFill>
              <a:prstDash val="solid"/>
              <a:miter lim="800000"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322" name="Gráfico 32">
              <a:extLst>
                <a:ext uri="{FF2B5EF4-FFF2-40B4-BE49-F238E27FC236}">
                  <a16:creationId xmlns:a16="http://schemas.microsoft.com/office/drawing/2014/main" id="{3EC2C9D6-E01E-36B8-9D8F-B34D2799E1F5}"/>
                </a:ext>
              </a:extLst>
            </p:cNvPr>
            <p:cNvGrpSpPr/>
            <p:nvPr/>
          </p:nvGrpSpPr>
          <p:grpSpPr>
            <a:xfrm>
              <a:off x="6061121" y="1359924"/>
              <a:ext cx="128487" cy="396366"/>
              <a:chOff x="6061121" y="1359924"/>
              <a:chExt cx="128487" cy="396366"/>
            </a:xfrm>
            <a:noFill/>
          </p:grpSpPr>
          <p:sp>
            <p:nvSpPr>
              <p:cNvPr id="337" name="Forma livre: Forma 336">
                <a:extLst>
                  <a:ext uri="{FF2B5EF4-FFF2-40B4-BE49-F238E27FC236}">
                    <a16:creationId xmlns:a16="http://schemas.microsoft.com/office/drawing/2014/main" id="{8AF3D5DA-AE09-F1EF-83DE-12D92A2A2859}"/>
                  </a:ext>
                </a:extLst>
              </p:cNvPr>
              <p:cNvSpPr/>
              <p:nvPr/>
            </p:nvSpPr>
            <p:spPr>
              <a:xfrm>
                <a:off x="6083891" y="1359924"/>
                <a:ext cx="105717" cy="396366"/>
              </a:xfrm>
              <a:custGeom>
                <a:avLst/>
                <a:gdLst>
                  <a:gd name="connsiteX0" fmla="*/ 52891 w 105717"/>
                  <a:gd name="connsiteY0" fmla="*/ 105718 h 396366"/>
                  <a:gd name="connsiteX1" fmla="*/ 0 w 105717"/>
                  <a:gd name="connsiteY1" fmla="*/ 52891 h 396366"/>
                  <a:gd name="connsiteX2" fmla="*/ 52891 w 105717"/>
                  <a:gd name="connsiteY2" fmla="*/ 0 h 396366"/>
                  <a:gd name="connsiteX3" fmla="*/ 105718 w 105717"/>
                  <a:gd name="connsiteY3" fmla="*/ 52826 h 396366"/>
                  <a:gd name="connsiteX4" fmla="*/ 105718 w 105717"/>
                  <a:gd name="connsiteY4" fmla="*/ 346884 h 396366"/>
                  <a:gd name="connsiteX5" fmla="*/ 80606 w 105717"/>
                  <a:gd name="connsiteY5" fmla="*/ 388911 h 396366"/>
                  <a:gd name="connsiteX6" fmla="*/ 9238 w 105717"/>
                  <a:gd name="connsiteY6" fmla="*/ 371150 h 396366"/>
                  <a:gd name="connsiteX7" fmla="*/ 15484 w 105717"/>
                  <a:gd name="connsiteY7" fmla="*/ 309216 h 396366"/>
                  <a:gd name="connsiteX8" fmla="*/ 45019 w 105717"/>
                  <a:gd name="connsiteY8" fmla="*/ 277078 h 3963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05717" h="396366">
                    <a:moveTo>
                      <a:pt x="52891" y="105718"/>
                    </a:moveTo>
                    <a:cubicBezTo>
                      <a:pt x="23681" y="105718"/>
                      <a:pt x="0" y="82037"/>
                      <a:pt x="0" y="52891"/>
                    </a:cubicBezTo>
                    <a:cubicBezTo>
                      <a:pt x="0" y="23746"/>
                      <a:pt x="23681" y="0"/>
                      <a:pt x="52891" y="0"/>
                    </a:cubicBezTo>
                    <a:cubicBezTo>
                      <a:pt x="82102" y="0"/>
                      <a:pt x="105718" y="23681"/>
                      <a:pt x="105718" y="52826"/>
                    </a:cubicBezTo>
                    <a:lnTo>
                      <a:pt x="105718" y="346884"/>
                    </a:lnTo>
                    <a:cubicBezTo>
                      <a:pt x="105718" y="364580"/>
                      <a:pt x="96414" y="379413"/>
                      <a:pt x="80606" y="388911"/>
                    </a:cubicBezTo>
                    <a:cubicBezTo>
                      <a:pt x="55949" y="403744"/>
                      <a:pt x="24006" y="395742"/>
                      <a:pt x="9238" y="371150"/>
                    </a:cubicBezTo>
                    <a:cubicBezTo>
                      <a:pt x="-2928" y="350918"/>
                      <a:pt x="260" y="325741"/>
                      <a:pt x="15484" y="309216"/>
                    </a:cubicBezTo>
                    <a:lnTo>
                      <a:pt x="45019" y="277078"/>
                    </a:lnTo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38" name="Forma livre: Forma 337">
                <a:extLst>
                  <a:ext uri="{FF2B5EF4-FFF2-40B4-BE49-F238E27FC236}">
                    <a16:creationId xmlns:a16="http://schemas.microsoft.com/office/drawing/2014/main" id="{D9DDDEE0-3A76-4C93-70B1-F5D387123F78}"/>
                  </a:ext>
                </a:extLst>
              </p:cNvPr>
              <p:cNvSpPr/>
              <p:nvPr/>
            </p:nvSpPr>
            <p:spPr>
              <a:xfrm>
                <a:off x="6144784" y="1383865"/>
                <a:ext cx="41563" cy="38963"/>
              </a:xfrm>
              <a:custGeom>
                <a:avLst/>
                <a:gdLst>
                  <a:gd name="connsiteX0" fmla="*/ 36172 w 41563"/>
                  <a:gd name="connsiteY0" fmla="*/ 0 h 38963"/>
                  <a:gd name="connsiteX1" fmla="*/ 39425 w 41563"/>
                  <a:gd name="connsiteY1" fmla="*/ 24266 h 38963"/>
                  <a:gd name="connsiteX2" fmla="*/ 36432 w 41563"/>
                  <a:gd name="connsiteY2" fmla="*/ 29080 h 38963"/>
                  <a:gd name="connsiteX3" fmla="*/ 0 w 41563"/>
                  <a:gd name="connsiteY3" fmla="*/ 33439 h 389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563" h="38963">
                    <a:moveTo>
                      <a:pt x="36172" y="0"/>
                    </a:moveTo>
                    <a:cubicBezTo>
                      <a:pt x="41571" y="7547"/>
                      <a:pt x="43393" y="16004"/>
                      <a:pt x="39425" y="24266"/>
                    </a:cubicBezTo>
                    <a:cubicBezTo>
                      <a:pt x="38644" y="25893"/>
                      <a:pt x="37603" y="27519"/>
                      <a:pt x="36432" y="29080"/>
                    </a:cubicBezTo>
                    <a:cubicBezTo>
                      <a:pt x="27584" y="40270"/>
                      <a:pt x="11190" y="42287"/>
                      <a:pt x="0" y="33439"/>
                    </a:cubicBezTo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39" name="Forma livre: Forma 338">
                <a:extLst>
                  <a:ext uri="{FF2B5EF4-FFF2-40B4-BE49-F238E27FC236}">
                    <a16:creationId xmlns:a16="http://schemas.microsoft.com/office/drawing/2014/main" id="{8FCC3BBF-C69C-82A5-4ACF-07C49F4FFAE0}"/>
                  </a:ext>
                </a:extLst>
              </p:cNvPr>
              <p:cNvSpPr/>
              <p:nvPr/>
            </p:nvSpPr>
            <p:spPr>
              <a:xfrm>
                <a:off x="6081487" y="1460806"/>
                <a:ext cx="34217" cy="54474"/>
              </a:xfrm>
              <a:custGeom>
                <a:avLst/>
                <a:gdLst>
                  <a:gd name="connsiteX0" fmla="*/ 21076 w 34217"/>
                  <a:gd name="connsiteY0" fmla="*/ 54475 h 54474"/>
                  <a:gd name="connsiteX1" fmla="*/ 778 w 34217"/>
                  <a:gd name="connsiteY1" fmla="*/ 21035 h 54474"/>
                  <a:gd name="connsiteX2" fmla="*/ 34217 w 34217"/>
                  <a:gd name="connsiteY2" fmla="*/ 803 h 544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4217" h="54474">
                    <a:moveTo>
                      <a:pt x="21076" y="54475"/>
                    </a:moveTo>
                    <a:cubicBezTo>
                      <a:pt x="6308" y="50832"/>
                      <a:pt x="-2800" y="35803"/>
                      <a:pt x="778" y="21035"/>
                    </a:cubicBezTo>
                    <a:cubicBezTo>
                      <a:pt x="4421" y="6267"/>
                      <a:pt x="19449" y="-2841"/>
                      <a:pt x="34217" y="803"/>
                    </a:cubicBezTo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40" name="Forma livre: Forma 339">
                <a:extLst>
                  <a:ext uri="{FF2B5EF4-FFF2-40B4-BE49-F238E27FC236}">
                    <a16:creationId xmlns:a16="http://schemas.microsoft.com/office/drawing/2014/main" id="{A0B3607C-CE4C-3959-39E5-C66B62720EA3}"/>
                  </a:ext>
                </a:extLst>
              </p:cNvPr>
              <p:cNvSpPr/>
              <p:nvPr/>
            </p:nvSpPr>
            <p:spPr>
              <a:xfrm>
                <a:off x="6073547" y="1527543"/>
                <a:ext cx="114760" cy="72506"/>
              </a:xfrm>
              <a:custGeom>
                <a:avLst/>
                <a:gdLst>
                  <a:gd name="connsiteX0" fmla="*/ 114760 w 114760"/>
                  <a:gd name="connsiteY0" fmla="*/ 7254 h 72506"/>
                  <a:gd name="connsiteX1" fmla="*/ 73905 w 114760"/>
                  <a:gd name="connsiteY1" fmla="*/ 8881 h 72506"/>
                  <a:gd name="connsiteX2" fmla="*/ 0 w 114760"/>
                  <a:gd name="connsiteY2" fmla="*/ 72506 h 725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14760" h="72506">
                    <a:moveTo>
                      <a:pt x="114760" y="7254"/>
                    </a:moveTo>
                    <a:cubicBezTo>
                      <a:pt x="103375" y="-2830"/>
                      <a:pt x="83989" y="-2504"/>
                      <a:pt x="73905" y="8881"/>
                    </a:cubicBezTo>
                    <a:cubicBezTo>
                      <a:pt x="73905" y="8881"/>
                      <a:pt x="31488" y="72506"/>
                      <a:pt x="0" y="72506"/>
                    </a:cubicBezTo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41" name="Forma livre: Forma 340">
                <a:extLst>
                  <a:ext uri="{FF2B5EF4-FFF2-40B4-BE49-F238E27FC236}">
                    <a16:creationId xmlns:a16="http://schemas.microsoft.com/office/drawing/2014/main" id="{6DB24C6C-D086-9B58-DFFB-652BB9236241}"/>
                  </a:ext>
                </a:extLst>
              </p:cNvPr>
              <p:cNvSpPr/>
              <p:nvPr/>
            </p:nvSpPr>
            <p:spPr>
              <a:xfrm>
                <a:off x="6079857" y="1646956"/>
                <a:ext cx="29405" cy="9823"/>
              </a:xfrm>
              <a:custGeom>
                <a:avLst/>
                <a:gdLst>
                  <a:gd name="connsiteX0" fmla="*/ 0 w 29405"/>
                  <a:gd name="connsiteY0" fmla="*/ 0 h 9823"/>
                  <a:gd name="connsiteX1" fmla="*/ 29406 w 29405"/>
                  <a:gd name="connsiteY1" fmla="*/ 9824 h 98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9405" h="9823">
                    <a:moveTo>
                      <a:pt x="0" y="0"/>
                    </a:moveTo>
                    <a:lnTo>
                      <a:pt x="29406" y="9824"/>
                    </a:lnTo>
                  </a:path>
                </a:pathLst>
              </a:custGeom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42" name="Forma livre: Forma 341">
                <a:extLst>
                  <a:ext uri="{FF2B5EF4-FFF2-40B4-BE49-F238E27FC236}">
                    <a16:creationId xmlns:a16="http://schemas.microsoft.com/office/drawing/2014/main" id="{933C927A-6E92-2533-0368-94BD982F871A}"/>
                  </a:ext>
                </a:extLst>
              </p:cNvPr>
              <p:cNvSpPr/>
              <p:nvPr/>
            </p:nvSpPr>
            <p:spPr>
              <a:xfrm>
                <a:off x="6061121" y="1545272"/>
                <a:ext cx="47166" cy="34154"/>
              </a:xfrm>
              <a:custGeom>
                <a:avLst/>
                <a:gdLst>
                  <a:gd name="connsiteX0" fmla="*/ 0 w 47166"/>
                  <a:gd name="connsiteY0" fmla="*/ 0 h 34154"/>
                  <a:gd name="connsiteX1" fmla="*/ 47166 w 47166"/>
                  <a:gd name="connsiteY1" fmla="*/ 34155 h 341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166" h="34154">
                    <a:moveTo>
                      <a:pt x="0" y="0"/>
                    </a:moveTo>
                    <a:cubicBezTo>
                      <a:pt x="0" y="0"/>
                      <a:pt x="27649" y="13011"/>
                      <a:pt x="47166" y="34155"/>
                    </a:cubicBezTo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323" name="Gráfico 32">
              <a:extLst>
                <a:ext uri="{FF2B5EF4-FFF2-40B4-BE49-F238E27FC236}">
                  <a16:creationId xmlns:a16="http://schemas.microsoft.com/office/drawing/2014/main" id="{0CC0BA39-6AE7-12FC-C993-02D91F36E837}"/>
                </a:ext>
              </a:extLst>
            </p:cNvPr>
            <p:cNvGrpSpPr/>
            <p:nvPr/>
          </p:nvGrpSpPr>
          <p:grpSpPr>
            <a:xfrm>
              <a:off x="6191625" y="1599725"/>
              <a:ext cx="173767" cy="157112"/>
              <a:chOff x="6191625" y="1599725"/>
              <a:chExt cx="173767" cy="157112"/>
            </a:xfrm>
            <a:noFill/>
          </p:grpSpPr>
          <p:sp>
            <p:nvSpPr>
              <p:cNvPr id="333" name="Forma livre: Forma 332">
                <a:extLst>
                  <a:ext uri="{FF2B5EF4-FFF2-40B4-BE49-F238E27FC236}">
                    <a16:creationId xmlns:a16="http://schemas.microsoft.com/office/drawing/2014/main" id="{27579A2C-3B16-8E3F-5199-F2B92E64386D}"/>
                  </a:ext>
                </a:extLst>
              </p:cNvPr>
              <p:cNvSpPr/>
              <p:nvPr/>
            </p:nvSpPr>
            <p:spPr>
              <a:xfrm>
                <a:off x="6310094" y="1621974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34" name="Forma livre: Forma 333">
                <a:extLst>
                  <a:ext uri="{FF2B5EF4-FFF2-40B4-BE49-F238E27FC236}">
                    <a16:creationId xmlns:a16="http://schemas.microsoft.com/office/drawing/2014/main" id="{B941BA94-D4C4-D314-F29A-6EA919C7E0D8}"/>
                  </a:ext>
                </a:extLst>
              </p:cNvPr>
              <p:cNvSpPr/>
              <p:nvPr/>
            </p:nvSpPr>
            <p:spPr>
              <a:xfrm>
                <a:off x="6191625" y="1599725"/>
                <a:ext cx="118078" cy="49898"/>
              </a:xfrm>
              <a:custGeom>
                <a:avLst/>
                <a:gdLst>
                  <a:gd name="connsiteX0" fmla="*/ 0 w 118078"/>
                  <a:gd name="connsiteY0" fmla="*/ 0 h 49898"/>
                  <a:gd name="connsiteX1" fmla="*/ 37343 w 118078"/>
                  <a:gd name="connsiteY1" fmla="*/ 0 h 49898"/>
                  <a:gd name="connsiteX2" fmla="*/ 87176 w 118078"/>
                  <a:gd name="connsiteY2" fmla="*/ 49899 h 49898"/>
                  <a:gd name="connsiteX3" fmla="*/ 118078 w 118078"/>
                  <a:gd name="connsiteY3" fmla="*/ 49899 h 49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8078" h="49898">
                    <a:moveTo>
                      <a:pt x="0" y="0"/>
                    </a:moveTo>
                    <a:lnTo>
                      <a:pt x="37343" y="0"/>
                    </a:lnTo>
                    <a:lnTo>
                      <a:pt x="87176" y="49899"/>
                    </a:lnTo>
                    <a:lnTo>
                      <a:pt x="118078" y="49899"/>
                    </a:lnTo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35" name="Forma livre: Forma 334">
                <a:extLst>
                  <a:ext uri="{FF2B5EF4-FFF2-40B4-BE49-F238E27FC236}">
                    <a16:creationId xmlns:a16="http://schemas.microsoft.com/office/drawing/2014/main" id="{CC01C1CA-1B0C-0280-47CA-7AA982E6AE6D}"/>
                  </a:ext>
                </a:extLst>
              </p:cNvPr>
              <p:cNvSpPr/>
              <p:nvPr/>
            </p:nvSpPr>
            <p:spPr>
              <a:xfrm>
                <a:off x="6191625" y="1665367"/>
                <a:ext cx="81906" cy="44108"/>
              </a:xfrm>
              <a:custGeom>
                <a:avLst/>
                <a:gdLst>
                  <a:gd name="connsiteX0" fmla="*/ 0 w 81906"/>
                  <a:gd name="connsiteY0" fmla="*/ 0 h 44108"/>
                  <a:gd name="connsiteX1" fmla="*/ 37343 w 81906"/>
                  <a:gd name="connsiteY1" fmla="*/ 0 h 44108"/>
                  <a:gd name="connsiteX2" fmla="*/ 81907 w 81906"/>
                  <a:gd name="connsiteY2" fmla="*/ 44109 h 441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1906" h="44108">
                    <a:moveTo>
                      <a:pt x="0" y="0"/>
                    </a:moveTo>
                    <a:lnTo>
                      <a:pt x="37343" y="0"/>
                    </a:lnTo>
                    <a:lnTo>
                      <a:pt x="81907" y="44109"/>
                    </a:lnTo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36" name="Forma livre: Forma 335">
                <a:extLst>
                  <a:ext uri="{FF2B5EF4-FFF2-40B4-BE49-F238E27FC236}">
                    <a16:creationId xmlns:a16="http://schemas.microsoft.com/office/drawing/2014/main" id="{52EF1E4A-0F74-0895-CFD6-DF443CF8A5CA}"/>
                  </a:ext>
                </a:extLst>
              </p:cNvPr>
              <p:cNvSpPr/>
              <p:nvPr/>
            </p:nvSpPr>
            <p:spPr>
              <a:xfrm>
                <a:off x="6265075" y="1701539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324" name="Gráfico 32">
              <a:extLst>
                <a:ext uri="{FF2B5EF4-FFF2-40B4-BE49-F238E27FC236}">
                  <a16:creationId xmlns:a16="http://schemas.microsoft.com/office/drawing/2014/main" id="{D862DAA7-4537-F17E-C92B-647B4236A40D}"/>
                </a:ext>
              </a:extLst>
            </p:cNvPr>
            <p:cNvGrpSpPr/>
            <p:nvPr/>
          </p:nvGrpSpPr>
          <p:grpSpPr>
            <a:xfrm>
              <a:off x="6191625" y="1357908"/>
              <a:ext cx="173767" cy="157112"/>
              <a:chOff x="6191625" y="1357908"/>
              <a:chExt cx="173767" cy="157112"/>
            </a:xfrm>
            <a:noFill/>
          </p:grpSpPr>
          <p:sp>
            <p:nvSpPr>
              <p:cNvPr id="329" name="Forma livre: Forma 328">
                <a:extLst>
                  <a:ext uri="{FF2B5EF4-FFF2-40B4-BE49-F238E27FC236}">
                    <a16:creationId xmlns:a16="http://schemas.microsoft.com/office/drawing/2014/main" id="{3203FECF-E523-E7A6-8265-65D8CA02E7D5}"/>
                  </a:ext>
                </a:extLst>
              </p:cNvPr>
              <p:cNvSpPr/>
              <p:nvPr/>
            </p:nvSpPr>
            <p:spPr>
              <a:xfrm>
                <a:off x="6310094" y="1437472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0 h 55298"/>
                  <a:gd name="connsiteX2" fmla="*/ 0 w 55298"/>
                  <a:gd name="connsiteY2" fmla="*/ 27649 h 55298"/>
                  <a:gd name="connsiteX3" fmla="*/ 27649 w 55298"/>
                  <a:gd name="connsiteY3" fmla="*/ 55298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12361"/>
                      <a:pt x="42938" y="0"/>
                      <a:pt x="27649" y="0"/>
                    </a:cubicBezTo>
                    <a:cubicBezTo>
                      <a:pt x="12361" y="0"/>
                      <a:pt x="0" y="12361"/>
                      <a:pt x="0" y="27649"/>
                    </a:cubicBezTo>
                    <a:cubicBezTo>
                      <a:pt x="0" y="42938"/>
                      <a:pt x="12361" y="55298"/>
                      <a:pt x="27649" y="55298"/>
                    </a:cubicBezTo>
                    <a:cubicBezTo>
                      <a:pt x="42938" y="55298"/>
                      <a:pt x="55298" y="42938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30" name="Forma livre: Forma 329">
                <a:extLst>
                  <a:ext uri="{FF2B5EF4-FFF2-40B4-BE49-F238E27FC236}">
                    <a16:creationId xmlns:a16="http://schemas.microsoft.com/office/drawing/2014/main" id="{2FAD0304-1A40-F925-5317-409EE1BB1684}"/>
                  </a:ext>
                </a:extLst>
              </p:cNvPr>
              <p:cNvSpPr/>
              <p:nvPr/>
            </p:nvSpPr>
            <p:spPr>
              <a:xfrm>
                <a:off x="6191625" y="1465122"/>
                <a:ext cx="118468" cy="49898"/>
              </a:xfrm>
              <a:custGeom>
                <a:avLst/>
                <a:gdLst>
                  <a:gd name="connsiteX0" fmla="*/ 0 w 118468"/>
                  <a:gd name="connsiteY0" fmla="*/ 49899 h 49898"/>
                  <a:gd name="connsiteX1" fmla="*/ 37343 w 118468"/>
                  <a:gd name="connsiteY1" fmla="*/ 49899 h 49898"/>
                  <a:gd name="connsiteX2" fmla="*/ 87176 w 118468"/>
                  <a:gd name="connsiteY2" fmla="*/ 0 h 49898"/>
                  <a:gd name="connsiteX3" fmla="*/ 118469 w 118468"/>
                  <a:gd name="connsiteY3" fmla="*/ 0 h 49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8468" h="49898">
                    <a:moveTo>
                      <a:pt x="0" y="49899"/>
                    </a:moveTo>
                    <a:lnTo>
                      <a:pt x="37343" y="49899"/>
                    </a:lnTo>
                    <a:lnTo>
                      <a:pt x="87176" y="0"/>
                    </a:lnTo>
                    <a:lnTo>
                      <a:pt x="118469" y="0"/>
                    </a:lnTo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31" name="Forma livre: Forma 330">
                <a:extLst>
                  <a:ext uri="{FF2B5EF4-FFF2-40B4-BE49-F238E27FC236}">
                    <a16:creationId xmlns:a16="http://schemas.microsoft.com/office/drawing/2014/main" id="{1472F76E-1D11-A8EB-3A9F-E096A092CD59}"/>
                  </a:ext>
                </a:extLst>
              </p:cNvPr>
              <p:cNvSpPr/>
              <p:nvPr/>
            </p:nvSpPr>
            <p:spPr>
              <a:xfrm>
                <a:off x="6191625" y="1405269"/>
                <a:ext cx="81451" cy="44043"/>
              </a:xfrm>
              <a:custGeom>
                <a:avLst/>
                <a:gdLst>
                  <a:gd name="connsiteX0" fmla="*/ 0 w 81451"/>
                  <a:gd name="connsiteY0" fmla="*/ 44044 h 44043"/>
                  <a:gd name="connsiteX1" fmla="*/ 37343 w 81451"/>
                  <a:gd name="connsiteY1" fmla="*/ 44044 h 44043"/>
                  <a:gd name="connsiteX2" fmla="*/ 81451 w 81451"/>
                  <a:gd name="connsiteY2" fmla="*/ 0 h 440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1451" h="44043">
                    <a:moveTo>
                      <a:pt x="0" y="44044"/>
                    </a:moveTo>
                    <a:lnTo>
                      <a:pt x="37343" y="44044"/>
                    </a:lnTo>
                    <a:lnTo>
                      <a:pt x="81451" y="0"/>
                    </a:lnTo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32" name="Forma livre: Forma 331">
                <a:extLst>
                  <a:ext uri="{FF2B5EF4-FFF2-40B4-BE49-F238E27FC236}">
                    <a16:creationId xmlns:a16="http://schemas.microsoft.com/office/drawing/2014/main" id="{B45948C8-AC7B-E03E-9542-23BA78B4FAC1}"/>
                  </a:ext>
                </a:extLst>
              </p:cNvPr>
              <p:cNvSpPr/>
              <p:nvPr/>
            </p:nvSpPr>
            <p:spPr>
              <a:xfrm>
                <a:off x="6265075" y="1357908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0 h 55298"/>
                  <a:gd name="connsiteX2" fmla="*/ 0 w 55298"/>
                  <a:gd name="connsiteY2" fmla="*/ 27649 h 55298"/>
                  <a:gd name="connsiteX3" fmla="*/ 27649 w 55298"/>
                  <a:gd name="connsiteY3" fmla="*/ 55298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12361"/>
                      <a:pt x="42938" y="0"/>
                      <a:pt x="27649" y="0"/>
                    </a:cubicBezTo>
                    <a:cubicBezTo>
                      <a:pt x="12361" y="0"/>
                      <a:pt x="0" y="12361"/>
                      <a:pt x="0" y="27649"/>
                    </a:cubicBezTo>
                    <a:cubicBezTo>
                      <a:pt x="0" y="42938"/>
                      <a:pt x="12361" y="55298"/>
                      <a:pt x="27649" y="55298"/>
                    </a:cubicBezTo>
                    <a:cubicBezTo>
                      <a:pt x="42938" y="55298"/>
                      <a:pt x="55298" y="42938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325" name="Gráfico 32">
              <a:extLst>
                <a:ext uri="{FF2B5EF4-FFF2-40B4-BE49-F238E27FC236}">
                  <a16:creationId xmlns:a16="http://schemas.microsoft.com/office/drawing/2014/main" id="{66411873-3599-B006-BBDF-0A3BC675052D}"/>
                </a:ext>
              </a:extLst>
            </p:cNvPr>
            <p:cNvGrpSpPr/>
            <p:nvPr/>
          </p:nvGrpSpPr>
          <p:grpSpPr>
            <a:xfrm>
              <a:off x="6190910" y="1529723"/>
              <a:ext cx="123673" cy="55298"/>
              <a:chOff x="6190910" y="1529723"/>
              <a:chExt cx="123673" cy="55298"/>
            </a:xfrm>
            <a:noFill/>
          </p:grpSpPr>
          <p:sp>
            <p:nvSpPr>
              <p:cNvPr id="327" name="Forma livre: Forma 326">
                <a:extLst>
                  <a:ext uri="{FF2B5EF4-FFF2-40B4-BE49-F238E27FC236}">
                    <a16:creationId xmlns:a16="http://schemas.microsoft.com/office/drawing/2014/main" id="{0339BB9E-54E5-A09D-B9A1-D00821F570A7}"/>
                  </a:ext>
                </a:extLst>
              </p:cNvPr>
              <p:cNvSpPr/>
              <p:nvPr/>
            </p:nvSpPr>
            <p:spPr>
              <a:xfrm>
                <a:off x="6190910" y="1557372"/>
                <a:ext cx="68765" cy="6505"/>
              </a:xfrm>
              <a:custGeom>
                <a:avLst/>
                <a:gdLst>
                  <a:gd name="connsiteX0" fmla="*/ 0 w 68765"/>
                  <a:gd name="connsiteY0" fmla="*/ 0 h 6505"/>
                  <a:gd name="connsiteX1" fmla="*/ 68765 w 68765"/>
                  <a:gd name="connsiteY1" fmla="*/ 0 h 65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8765" h="6505">
                    <a:moveTo>
                      <a:pt x="0" y="0"/>
                    </a:moveTo>
                    <a:lnTo>
                      <a:pt x="68765" y="0"/>
                    </a:lnTo>
                  </a:path>
                </a:pathLst>
              </a:custGeom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28" name="Forma livre: Forma 327">
                <a:extLst>
                  <a:ext uri="{FF2B5EF4-FFF2-40B4-BE49-F238E27FC236}">
                    <a16:creationId xmlns:a16="http://schemas.microsoft.com/office/drawing/2014/main" id="{E28C6224-42E9-0ED7-8DFC-F071B248BA27}"/>
                  </a:ext>
                </a:extLst>
              </p:cNvPr>
              <p:cNvSpPr/>
              <p:nvPr/>
            </p:nvSpPr>
            <p:spPr>
              <a:xfrm>
                <a:off x="6259285" y="1529723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326" name="Forma livre: Forma 325">
              <a:extLst>
                <a:ext uri="{FF2B5EF4-FFF2-40B4-BE49-F238E27FC236}">
                  <a16:creationId xmlns:a16="http://schemas.microsoft.com/office/drawing/2014/main" id="{66278BA2-DDA4-7B75-09AF-89A2598C3888}"/>
                </a:ext>
              </a:extLst>
            </p:cNvPr>
            <p:cNvSpPr/>
            <p:nvPr/>
          </p:nvSpPr>
          <p:spPr>
            <a:xfrm>
              <a:off x="6152201" y="1686285"/>
              <a:ext cx="37362" cy="20848"/>
            </a:xfrm>
            <a:custGeom>
              <a:avLst/>
              <a:gdLst>
                <a:gd name="connsiteX0" fmla="*/ 0 w 37362"/>
                <a:gd name="connsiteY0" fmla="*/ 10505 h 20848"/>
                <a:gd name="connsiteX1" fmla="*/ 27064 w 37362"/>
                <a:gd name="connsiteY1" fmla="*/ 2373 h 20848"/>
                <a:gd name="connsiteX2" fmla="*/ 37343 w 37362"/>
                <a:gd name="connsiteY2" fmla="*/ 20849 h 20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7362" h="20848">
                  <a:moveTo>
                    <a:pt x="0" y="10505"/>
                  </a:moveTo>
                  <a:cubicBezTo>
                    <a:pt x="5205" y="811"/>
                    <a:pt x="17435" y="-2832"/>
                    <a:pt x="27064" y="2373"/>
                  </a:cubicBezTo>
                  <a:cubicBezTo>
                    <a:pt x="34025" y="6081"/>
                    <a:pt x="37668" y="13432"/>
                    <a:pt x="37343" y="20849"/>
                  </a:cubicBezTo>
                </a:path>
              </a:pathLst>
            </a:custGeom>
            <a:noFill/>
            <a:ln w="19050" cap="sq">
              <a:solidFill>
                <a:schemeClr val="tx1"/>
              </a:solidFill>
              <a:prstDash val="solid"/>
              <a:miter lim="800000"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sp>
        <p:nvSpPr>
          <p:cNvPr id="2" name="Marcador de pie de página 1">
            <a:extLst>
              <a:ext uri="{FF2B5EF4-FFF2-40B4-BE49-F238E27FC236}">
                <a16:creationId xmlns:a16="http://schemas.microsoft.com/office/drawing/2014/main" id="{8D73AD48-7570-45C8-AD2D-43BE2599AC9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pt-PT"/>
              <a:t>Título de la presentación</a:t>
            </a:r>
            <a:endParaRPr lang="pt-PT" dirty="0"/>
          </a:p>
        </p:txBody>
      </p:sp>
      <p:sp>
        <p:nvSpPr>
          <p:cNvPr id="3" name="Marcador de número de diapositiva 2">
            <a:extLst>
              <a:ext uri="{FF2B5EF4-FFF2-40B4-BE49-F238E27FC236}">
                <a16:creationId xmlns:a16="http://schemas.microsoft.com/office/drawing/2014/main" id="{CB0D7AF9-3E81-440A-9750-145550F4AC3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4A347C2-D68E-473A-8C76-1D063E4EB6E0}" type="slidenum">
              <a:rPr lang="es-ES" smtClean="0"/>
              <a:pPr/>
              <a:t>49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695076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0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2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2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29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3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67730078-07EA-1F86-3321-0F7BE2243BF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dirty="0"/>
              <a:t>Ejemplo de título de la presentación</a:t>
            </a:r>
            <a:endParaRPr lang="pt-PT" dirty="0"/>
          </a:p>
        </p:txBody>
      </p:sp>
      <p:sp>
        <p:nvSpPr>
          <p:cNvPr id="3" name="Marcador de Posição do Texto 2">
            <a:extLst>
              <a:ext uri="{FF2B5EF4-FFF2-40B4-BE49-F238E27FC236}">
                <a16:creationId xmlns:a16="http://schemas.microsoft.com/office/drawing/2014/main" id="{B2DD3807-1B2F-1CEF-49ED-27715EE6AE5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s-ES" dirty="0"/>
              <a:t>Ejemplo de subtítulo de la presentación</a:t>
            </a:r>
            <a:endParaRPr lang="pt-PT" dirty="0"/>
          </a:p>
        </p:txBody>
      </p:sp>
      <p:sp>
        <p:nvSpPr>
          <p:cNvPr id="4" name="Marcador de Posição do Texto 3">
            <a:extLst>
              <a:ext uri="{FF2B5EF4-FFF2-40B4-BE49-F238E27FC236}">
                <a16:creationId xmlns:a16="http://schemas.microsoft.com/office/drawing/2014/main" id="{7A311757-59B3-FE73-2352-BF305E0CAA1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pt-PT" dirty="0"/>
              <a:t>Insertar info</a:t>
            </a:r>
          </a:p>
        </p:txBody>
      </p:sp>
      <p:sp>
        <p:nvSpPr>
          <p:cNvPr id="5" name="Marcador de Posição do Texto 4">
            <a:extLst>
              <a:ext uri="{FF2B5EF4-FFF2-40B4-BE49-F238E27FC236}">
                <a16:creationId xmlns:a16="http://schemas.microsoft.com/office/drawing/2014/main" id="{F195C34C-8197-FDAB-9170-600ABF5975A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pt-PT" dirty="0"/>
              <a:t>Insertar fecha</a:t>
            </a:r>
          </a:p>
        </p:txBody>
      </p:sp>
    </p:spTree>
    <p:extLst>
      <p:ext uri="{BB962C8B-B14F-4D97-AF65-F5344CB8AC3E}">
        <p14:creationId xmlns:p14="http://schemas.microsoft.com/office/powerpoint/2010/main" val="24017512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900148AB-5665-1642-94B0-0F08541720E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PT" dirty="0"/>
              <a:t>Ejemplo de título de slide</a:t>
            </a:r>
          </a:p>
        </p:txBody>
      </p:sp>
      <p:sp>
        <p:nvSpPr>
          <p:cNvPr id="3" name="Marcador de Posição do Texto 2">
            <a:extLst>
              <a:ext uri="{FF2B5EF4-FFF2-40B4-BE49-F238E27FC236}">
                <a16:creationId xmlns:a16="http://schemas.microsoft.com/office/drawing/2014/main" id="{62F03175-6269-6D64-83CD-7CBAD05372C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>
            <a:normAutofit lnSpcReduction="10000"/>
          </a:bodyPr>
          <a:lstStyle/>
          <a:p>
            <a:r>
              <a:rPr lang="pt-PT" dirty="0"/>
              <a:t>Ejemplo de subtítulo de slide</a:t>
            </a:r>
          </a:p>
        </p:txBody>
      </p:sp>
      <p:sp>
        <p:nvSpPr>
          <p:cNvPr id="19" name="Marcador de Posição do Texto 18">
            <a:extLst>
              <a:ext uri="{FF2B5EF4-FFF2-40B4-BE49-F238E27FC236}">
                <a16:creationId xmlns:a16="http://schemas.microsoft.com/office/drawing/2014/main" id="{FC7E22A6-8DBE-76E1-FEC9-8C315162B14A}"/>
              </a:ext>
            </a:extLst>
          </p:cNvPr>
          <p:cNvSpPr>
            <a:spLocks noGrp="1"/>
          </p:cNvSpPr>
          <p:nvPr>
            <p:ph type="body" sz="quarter" idx="82"/>
          </p:nvPr>
        </p:nvSpPr>
        <p:spPr/>
        <p:txBody>
          <a:bodyPr/>
          <a:lstStyle/>
          <a:p>
            <a:r>
              <a:rPr lang="pt-PT" dirty="0" err="1"/>
              <a:t>Systems</a:t>
            </a:r>
            <a:r>
              <a:rPr lang="pt-PT" dirty="0"/>
              <a:t> </a:t>
            </a:r>
            <a:r>
              <a:rPr lang="pt-PT" dirty="0" err="1"/>
              <a:t>and</a:t>
            </a:r>
            <a:br>
              <a:rPr lang="pt-PT" dirty="0"/>
            </a:br>
            <a:r>
              <a:rPr lang="pt-PT" dirty="0" err="1"/>
              <a:t>Platforms</a:t>
            </a:r>
            <a:r>
              <a:rPr lang="pt-PT" dirty="0"/>
              <a:t> </a:t>
            </a:r>
            <a:r>
              <a:rPr lang="pt-PT" dirty="0" err="1"/>
              <a:t>Administration</a:t>
            </a:r>
            <a:endParaRPr lang="pt-PT" dirty="0"/>
          </a:p>
        </p:txBody>
      </p:sp>
      <p:sp>
        <p:nvSpPr>
          <p:cNvPr id="20" name="Marcador de Posição do Texto 19">
            <a:extLst>
              <a:ext uri="{FF2B5EF4-FFF2-40B4-BE49-F238E27FC236}">
                <a16:creationId xmlns:a16="http://schemas.microsoft.com/office/drawing/2014/main" id="{8F22C056-8058-A4B9-5522-95F46BB3D0AC}"/>
              </a:ext>
            </a:extLst>
          </p:cNvPr>
          <p:cNvSpPr>
            <a:spLocks noGrp="1"/>
          </p:cNvSpPr>
          <p:nvPr>
            <p:ph type="body" sz="quarter" idx="83"/>
          </p:nvPr>
        </p:nvSpPr>
        <p:spPr/>
        <p:txBody>
          <a:bodyPr/>
          <a:lstStyle/>
          <a:p>
            <a:r>
              <a:rPr lang="pt-PT" dirty="0" err="1"/>
              <a:t>Service</a:t>
            </a:r>
            <a:br>
              <a:rPr lang="pt-PT" dirty="0"/>
            </a:br>
            <a:r>
              <a:rPr lang="pt-PT" dirty="0" err="1"/>
              <a:t>Desk</a:t>
            </a:r>
            <a:endParaRPr lang="pt-PT" dirty="0"/>
          </a:p>
        </p:txBody>
      </p:sp>
      <p:sp>
        <p:nvSpPr>
          <p:cNvPr id="18" name="Marcador de Posição do Texto 17">
            <a:extLst>
              <a:ext uri="{FF2B5EF4-FFF2-40B4-BE49-F238E27FC236}">
                <a16:creationId xmlns:a16="http://schemas.microsoft.com/office/drawing/2014/main" id="{E2DFEA55-0A85-9ED1-CCF5-5CBC85FE0D4A}"/>
              </a:ext>
            </a:extLst>
          </p:cNvPr>
          <p:cNvSpPr>
            <a:spLocks noGrp="1"/>
          </p:cNvSpPr>
          <p:nvPr>
            <p:ph type="body" sz="quarter" idx="80"/>
          </p:nvPr>
        </p:nvSpPr>
        <p:spPr/>
        <p:txBody>
          <a:bodyPr/>
          <a:lstStyle/>
          <a:p>
            <a:r>
              <a:rPr lang="pt-PT" dirty="0" err="1"/>
              <a:t>SPOC</a:t>
            </a:r>
            <a:r>
              <a:rPr lang="pt-PT" dirty="0"/>
              <a:t>, Ticket </a:t>
            </a:r>
            <a:r>
              <a:rPr lang="pt-PT" dirty="0" err="1"/>
              <a:t>Lifecycle</a:t>
            </a:r>
            <a:r>
              <a:rPr lang="pt-PT" dirty="0"/>
              <a:t> Management, </a:t>
            </a:r>
            <a:r>
              <a:rPr lang="pt-PT" dirty="0" err="1"/>
              <a:t>E2E</a:t>
            </a:r>
            <a:r>
              <a:rPr lang="pt-PT" dirty="0"/>
              <a:t> </a:t>
            </a:r>
            <a:r>
              <a:rPr lang="pt-PT" dirty="0" err="1"/>
              <a:t>Vision</a:t>
            </a:r>
            <a:r>
              <a:rPr lang="pt-PT" dirty="0"/>
              <a:t>, </a:t>
            </a:r>
            <a:r>
              <a:rPr lang="pt-PT" dirty="0" err="1"/>
              <a:t>Traceability</a:t>
            </a:r>
            <a:r>
              <a:rPr lang="pt-PT" dirty="0"/>
              <a:t>, Self </a:t>
            </a:r>
            <a:r>
              <a:rPr lang="pt-PT" dirty="0" err="1"/>
              <a:t>Care</a:t>
            </a:r>
            <a:r>
              <a:rPr lang="pt-PT" dirty="0"/>
              <a:t> Portal, </a:t>
            </a:r>
            <a:r>
              <a:rPr lang="pt-PT" dirty="0" err="1"/>
              <a:t>Service</a:t>
            </a:r>
            <a:r>
              <a:rPr lang="pt-PT" dirty="0"/>
              <a:t> </a:t>
            </a:r>
            <a:r>
              <a:rPr lang="pt-PT" dirty="0" err="1"/>
              <a:t>Catalog</a:t>
            </a:r>
            <a:endParaRPr lang="pt-PT" dirty="0"/>
          </a:p>
          <a:p>
            <a:r>
              <a:rPr lang="pt-PT" dirty="0" err="1"/>
              <a:t>Service</a:t>
            </a:r>
            <a:r>
              <a:rPr lang="pt-PT" dirty="0"/>
              <a:t> </a:t>
            </a:r>
            <a:r>
              <a:rPr lang="pt-PT" dirty="0" err="1"/>
              <a:t>Requests</a:t>
            </a:r>
            <a:r>
              <a:rPr lang="pt-PT" dirty="0"/>
              <a:t>, </a:t>
            </a:r>
            <a:r>
              <a:rPr lang="pt-PT" dirty="0" err="1"/>
              <a:t>Incident</a:t>
            </a:r>
            <a:r>
              <a:rPr lang="pt-PT" dirty="0"/>
              <a:t> Management, </a:t>
            </a:r>
            <a:r>
              <a:rPr lang="pt-PT" dirty="0" err="1"/>
              <a:t>Request</a:t>
            </a:r>
            <a:r>
              <a:rPr lang="pt-PT" dirty="0"/>
              <a:t> &amp; </a:t>
            </a:r>
            <a:r>
              <a:rPr lang="pt-PT" dirty="0" err="1"/>
              <a:t>Problem</a:t>
            </a:r>
            <a:r>
              <a:rPr lang="pt-PT" dirty="0"/>
              <a:t> Management, </a:t>
            </a:r>
            <a:r>
              <a:rPr lang="pt-PT" dirty="0" err="1"/>
              <a:t>Troubleshooting</a:t>
            </a:r>
            <a:r>
              <a:rPr lang="pt-PT" dirty="0"/>
              <a:t>, </a:t>
            </a:r>
            <a:r>
              <a:rPr lang="pt-PT" dirty="0" err="1"/>
              <a:t>Remote</a:t>
            </a:r>
            <a:r>
              <a:rPr lang="pt-PT" dirty="0"/>
              <a:t> </a:t>
            </a:r>
            <a:r>
              <a:rPr lang="pt-PT" dirty="0" err="1"/>
              <a:t>User</a:t>
            </a:r>
            <a:r>
              <a:rPr lang="pt-PT" dirty="0"/>
              <a:t> Support, </a:t>
            </a:r>
            <a:r>
              <a:rPr lang="pt-PT" dirty="0" err="1"/>
              <a:t>Monitoring</a:t>
            </a:r>
            <a:r>
              <a:rPr lang="pt-PT" dirty="0"/>
              <a:t> &amp; </a:t>
            </a:r>
            <a:r>
              <a:rPr lang="pt-PT" dirty="0" err="1"/>
              <a:t>Alarming</a:t>
            </a:r>
            <a:endParaRPr lang="pt-PT" dirty="0"/>
          </a:p>
        </p:txBody>
      </p:sp>
      <p:sp>
        <p:nvSpPr>
          <p:cNvPr id="21" name="Marcador de Posição do Texto 20">
            <a:extLst>
              <a:ext uri="{FF2B5EF4-FFF2-40B4-BE49-F238E27FC236}">
                <a16:creationId xmlns:a16="http://schemas.microsoft.com/office/drawing/2014/main" id="{EA9E972F-F438-720C-0C56-1915E67D7EF1}"/>
              </a:ext>
            </a:extLst>
          </p:cNvPr>
          <p:cNvSpPr>
            <a:spLocks noGrp="1"/>
          </p:cNvSpPr>
          <p:nvPr>
            <p:ph type="body" sz="quarter" idx="84"/>
          </p:nvPr>
        </p:nvSpPr>
        <p:spPr/>
        <p:txBody>
          <a:bodyPr/>
          <a:lstStyle/>
          <a:p>
            <a:r>
              <a:rPr lang="pt-PT" dirty="0" err="1"/>
              <a:t>Cloud</a:t>
            </a:r>
            <a:br>
              <a:rPr lang="pt-PT" dirty="0"/>
            </a:br>
            <a:r>
              <a:rPr lang="pt-PT" dirty="0" err="1"/>
              <a:t>Administration</a:t>
            </a:r>
            <a:endParaRPr lang="pt-PT" dirty="0"/>
          </a:p>
        </p:txBody>
      </p:sp>
      <p:sp>
        <p:nvSpPr>
          <p:cNvPr id="22" name="Marcador de Posição do Texto 21">
            <a:extLst>
              <a:ext uri="{FF2B5EF4-FFF2-40B4-BE49-F238E27FC236}">
                <a16:creationId xmlns:a16="http://schemas.microsoft.com/office/drawing/2014/main" id="{F5960693-DD62-EEE0-B3F7-2C1D1F6857D0}"/>
              </a:ext>
            </a:extLst>
          </p:cNvPr>
          <p:cNvSpPr>
            <a:spLocks noGrp="1"/>
          </p:cNvSpPr>
          <p:nvPr>
            <p:ph type="body" sz="quarter" idx="85"/>
          </p:nvPr>
        </p:nvSpPr>
        <p:spPr/>
        <p:txBody>
          <a:bodyPr/>
          <a:lstStyle/>
          <a:p>
            <a:r>
              <a:rPr lang="pt-PT" dirty="0" err="1"/>
              <a:t>Security</a:t>
            </a:r>
            <a:br>
              <a:rPr lang="pt-PT" dirty="0"/>
            </a:br>
            <a:r>
              <a:rPr lang="pt-PT" dirty="0" err="1"/>
              <a:t>Operation</a:t>
            </a:r>
            <a:r>
              <a:rPr lang="pt-PT" dirty="0"/>
              <a:t> </a:t>
            </a:r>
            <a:r>
              <a:rPr lang="pt-PT" dirty="0" err="1"/>
              <a:t>Center</a:t>
            </a:r>
            <a:endParaRPr lang="pt-PT" dirty="0"/>
          </a:p>
        </p:txBody>
      </p:sp>
      <p:sp>
        <p:nvSpPr>
          <p:cNvPr id="23" name="Marcador de Posição do Texto 22">
            <a:extLst>
              <a:ext uri="{FF2B5EF4-FFF2-40B4-BE49-F238E27FC236}">
                <a16:creationId xmlns:a16="http://schemas.microsoft.com/office/drawing/2014/main" id="{C78B648D-7E79-7CF4-B188-C9BAF338F522}"/>
              </a:ext>
            </a:extLst>
          </p:cNvPr>
          <p:cNvSpPr>
            <a:spLocks noGrp="1"/>
          </p:cNvSpPr>
          <p:nvPr>
            <p:ph type="body" sz="quarter" idx="86"/>
          </p:nvPr>
        </p:nvSpPr>
        <p:spPr/>
        <p:txBody>
          <a:bodyPr/>
          <a:lstStyle/>
          <a:p>
            <a:r>
              <a:rPr lang="pt-PT" dirty="0"/>
              <a:t>Desktop</a:t>
            </a:r>
            <a:br>
              <a:rPr lang="pt-PT" dirty="0"/>
            </a:br>
            <a:r>
              <a:rPr lang="pt-PT" dirty="0"/>
              <a:t>Management</a:t>
            </a:r>
          </a:p>
        </p:txBody>
      </p:sp>
      <p:sp>
        <p:nvSpPr>
          <p:cNvPr id="24" name="Marcador de Posição do Texto 23">
            <a:extLst>
              <a:ext uri="{FF2B5EF4-FFF2-40B4-BE49-F238E27FC236}">
                <a16:creationId xmlns:a16="http://schemas.microsoft.com/office/drawing/2014/main" id="{C1E156F1-BDA8-2FE0-60E5-2320793E9E1D}"/>
              </a:ext>
            </a:extLst>
          </p:cNvPr>
          <p:cNvSpPr>
            <a:spLocks noGrp="1"/>
          </p:cNvSpPr>
          <p:nvPr>
            <p:ph type="body" sz="quarter" idx="87"/>
          </p:nvPr>
        </p:nvSpPr>
        <p:spPr/>
        <p:txBody>
          <a:bodyPr/>
          <a:lstStyle/>
          <a:p>
            <a:r>
              <a:rPr lang="en-US" dirty="0"/>
              <a:t>Self Care, ITSM, Channels (portal, e-mail, phone, </a:t>
            </a:r>
            <a:r>
              <a:rPr lang="en-US" dirty="0" err="1"/>
              <a:t>IVR</a:t>
            </a:r>
            <a:r>
              <a:rPr lang="en-US" dirty="0"/>
              <a:t>)</a:t>
            </a:r>
          </a:p>
        </p:txBody>
      </p:sp>
      <p:sp>
        <p:nvSpPr>
          <p:cNvPr id="25" name="Marcador de Posição do Texto 24">
            <a:extLst>
              <a:ext uri="{FF2B5EF4-FFF2-40B4-BE49-F238E27FC236}">
                <a16:creationId xmlns:a16="http://schemas.microsoft.com/office/drawing/2014/main" id="{8C45209E-7BAE-8477-AF5C-E88788BDEFFB}"/>
              </a:ext>
            </a:extLst>
          </p:cNvPr>
          <p:cNvSpPr>
            <a:spLocks noGrp="1"/>
          </p:cNvSpPr>
          <p:nvPr>
            <p:ph type="body" sz="quarter" idx="88"/>
          </p:nvPr>
        </p:nvSpPr>
        <p:spPr/>
        <p:txBody>
          <a:bodyPr/>
          <a:lstStyle/>
          <a:p>
            <a:r>
              <a:rPr lang="pt-PT" dirty="0" err="1"/>
              <a:t>Observability</a:t>
            </a:r>
            <a:endParaRPr lang="pt-PT" dirty="0"/>
          </a:p>
        </p:txBody>
      </p:sp>
      <p:sp>
        <p:nvSpPr>
          <p:cNvPr id="26" name="Marcador de Posição do Texto 25">
            <a:extLst>
              <a:ext uri="{FF2B5EF4-FFF2-40B4-BE49-F238E27FC236}">
                <a16:creationId xmlns:a16="http://schemas.microsoft.com/office/drawing/2014/main" id="{FE3075C5-B2AA-9E0A-54D5-D2581B76865E}"/>
              </a:ext>
            </a:extLst>
          </p:cNvPr>
          <p:cNvSpPr>
            <a:spLocks noGrp="1"/>
          </p:cNvSpPr>
          <p:nvPr>
            <p:ph type="body" sz="quarter" idx="89"/>
          </p:nvPr>
        </p:nvSpPr>
        <p:spPr/>
        <p:txBody>
          <a:bodyPr/>
          <a:lstStyle/>
          <a:p>
            <a:r>
              <a:rPr lang="pt-PT" dirty="0" err="1"/>
              <a:t>Service</a:t>
            </a:r>
            <a:r>
              <a:rPr lang="pt-PT" dirty="0"/>
              <a:t> Management</a:t>
            </a:r>
          </a:p>
        </p:txBody>
      </p:sp>
      <p:sp>
        <p:nvSpPr>
          <p:cNvPr id="27" name="Marcador de Posição do Texto 26">
            <a:extLst>
              <a:ext uri="{FF2B5EF4-FFF2-40B4-BE49-F238E27FC236}">
                <a16:creationId xmlns:a16="http://schemas.microsoft.com/office/drawing/2014/main" id="{1EB3D06D-7D85-C7AF-0D29-EF6F9894ED4D}"/>
              </a:ext>
            </a:extLst>
          </p:cNvPr>
          <p:cNvSpPr>
            <a:spLocks noGrp="1"/>
          </p:cNvSpPr>
          <p:nvPr>
            <p:ph type="body" sz="quarter" idx="90"/>
          </p:nvPr>
        </p:nvSpPr>
        <p:spPr/>
        <p:txBody>
          <a:bodyPr/>
          <a:lstStyle/>
          <a:p>
            <a:r>
              <a:rPr lang="pt-PT" dirty="0" err="1"/>
              <a:t>Automation</a:t>
            </a:r>
            <a:endParaRPr lang="pt-PT" dirty="0"/>
          </a:p>
        </p:txBody>
      </p:sp>
      <p:sp>
        <p:nvSpPr>
          <p:cNvPr id="28" name="Marcador de Posição do Texto 27">
            <a:extLst>
              <a:ext uri="{FF2B5EF4-FFF2-40B4-BE49-F238E27FC236}">
                <a16:creationId xmlns:a16="http://schemas.microsoft.com/office/drawing/2014/main" id="{8935F55B-52D4-DB0B-41B7-C800C5C771DE}"/>
              </a:ext>
            </a:extLst>
          </p:cNvPr>
          <p:cNvSpPr>
            <a:spLocks noGrp="1"/>
          </p:cNvSpPr>
          <p:nvPr>
            <p:ph type="body" sz="quarter" idx="91"/>
          </p:nvPr>
        </p:nvSpPr>
        <p:spPr/>
        <p:txBody>
          <a:bodyPr/>
          <a:lstStyle/>
          <a:p>
            <a:r>
              <a:rPr lang="pt-PT" dirty="0" err="1"/>
              <a:t>Advance</a:t>
            </a:r>
            <a:r>
              <a:rPr lang="pt-PT" dirty="0"/>
              <a:t> </a:t>
            </a:r>
            <a:r>
              <a:rPr lang="pt-PT" dirty="0" err="1"/>
              <a:t>Monitoring</a:t>
            </a:r>
            <a:endParaRPr lang="pt-PT" dirty="0"/>
          </a:p>
        </p:txBody>
      </p:sp>
      <p:sp>
        <p:nvSpPr>
          <p:cNvPr id="29" name="Marcador de Posição do Texto 28">
            <a:extLst>
              <a:ext uri="{FF2B5EF4-FFF2-40B4-BE49-F238E27FC236}">
                <a16:creationId xmlns:a16="http://schemas.microsoft.com/office/drawing/2014/main" id="{3083DD4D-6D25-340E-DE6B-65D6231213AC}"/>
              </a:ext>
            </a:extLst>
          </p:cNvPr>
          <p:cNvSpPr>
            <a:spLocks noGrp="1"/>
          </p:cNvSpPr>
          <p:nvPr>
            <p:ph type="body" sz="quarter" idx="92"/>
          </p:nvPr>
        </p:nvSpPr>
        <p:spPr/>
        <p:txBody>
          <a:bodyPr/>
          <a:lstStyle/>
          <a:p>
            <a:r>
              <a:rPr lang="pt-PT" dirty="0" err="1"/>
              <a:t>Technology</a:t>
            </a:r>
            <a:endParaRPr lang="pt-PT" dirty="0"/>
          </a:p>
        </p:txBody>
      </p:sp>
      <p:sp>
        <p:nvSpPr>
          <p:cNvPr id="30" name="Marcador de Posição do Texto 29">
            <a:extLst>
              <a:ext uri="{FF2B5EF4-FFF2-40B4-BE49-F238E27FC236}">
                <a16:creationId xmlns:a16="http://schemas.microsoft.com/office/drawing/2014/main" id="{DB8C65F7-4AB1-7018-63D9-6CDB61C5B505}"/>
              </a:ext>
            </a:extLst>
          </p:cNvPr>
          <p:cNvSpPr>
            <a:spLocks noGrp="1"/>
          </p:cNvSpPr>
          <p:nvPr>
            <p:ph type="body" sz="quarter" idx="93"/>
          </p:nvPr>
        </p:nvSpPr>
        <p:spPr/>
        <p:txBody>
          <a:bodyPr/>
          <a:lstStyle/>
          <a:p>
            <a:r>
              <a:rPr lang="pt-PT" dirty="0" err="1"/>
              <a:t>Service</a:t>
            </a:r>
            <a:r>
              <a:rPr lang="pt-PT" dirty="0"/>
              <a:t> </a:t>
            </a:r>
          </a:p>
          <a:p>
            <a:r>
              <a:rPr lang="pt-PT" dirty="0"/>
              <a:t>Management</a:t>
            </a:r>
          </a:p>
          <a:p>
            <a:endParaRPr lang="pt-PT" dirty="0"/>
          </a:p>
          <a:p>
            <a:endParaRPr lang="pt-PT" dirty="0"/>
          </a:p>
          <a:p>
            <a:endParaRPr lang="pt-PT" dirty="0"/>
          </a:p>
        </p:txBody>
      </p:sp>
      <p:sp>
        <p:nvSpPr>
          <p:cNvPr id="31" name="Marcador de Posição do Texto 30">
            <a:extLst>
              <a:ext uri="{FF2B5EF4-FFF2-40B4-BE49-F238E27FC236}">
                <a16:creationId xmlns:a16="http://schemas.microsoft.com/office/drawing/2014/main" id="{1CA472EB-F4AD-B073-4F49-EAB0B4BEC366}"/>
              </a:ext>
            </a:extLst>
          </p:cNvPr>
          <p:cNvSpPr>
            <a:spLocks noGrp="1"/>
          </p:cNvSpPr>
          <p:nvPr>
            <p:ph type="body" sz="quarter" idx="94"/>
          </p:nvPr>
        </p:nvSpPr>
        <p:spPr/>
        <p:txBody>
          <a:bodyPr/>
          <a:lstStyle/>
          <a:p>
            <a:r>
              <a:rPr lang="pt-PT" dirty="0" err="1"/>
              <a:t>Contract</a:t>
            </a:r>
            <a:r>
              <a:rPr lang="pt-PT" dirty="0"/>
              <a:t> Management</a:t>
            </a:r>
          </a:p>
          <a:p>
            <a:r>
              <a:rPr lang="pt-PT" dirty="0" err="1"/>
              <a:t>KPIs</a:t>
            </a:r>
            <a:r>
              <a:rPr lang="pt-PT" dirty="0"/>
              <a:t>/</a:t>
            </a:r>
            <a:r>
              <a:rPr lang="pt-PT" dirty="0" err="1"/>
              <a:t>SLAs</a:t>
            </a:r>
            <a:r>
              <a:rPr lang="pt-PT" dirty="0"/>
              <a:t> &amp; </a:t>
            </a:r>
            <a:r>
              <a:rPr lang="pt-PT" dirty="0" err="1"/>
              <a:t>Monitoring</a:t>
            </a:r>
            <a:endParaRPr lang="pt-PT" dirty="0"/>
          </a:p>
          <a:p>
            <a:r>
              <a:rPr lang="pt-PT" dirty="0" err="1"/>
              <a:t>Governance</a:t>
            </a:r>
            <a:endParaRPr lang="pt-PT" dirty="0"/>
          </a:p>
          <a:p>
            <a:r>
              <a:rPr lang="pt-PT" dirty="0" err="1"/>
              <a:t>Communication</a:t>
            </a:r>
            <a:endParaRPr lang="pt-PT" dirty="0"/>
          </a:p>
          <a:p>
            <a:r>
              <a:rPr lang="pt-PT" dirty="0"/>
              <a:t>Processes &amp; </a:t>
            </a:r>
            <a:r>
              <a:rPr lang="pt-PT" dirty="0" err="1"/>
              <a:t>Procedures</a:t>
            </a:r>
            <a:endParaRPr lang="pt-PT" dirty="0"/>
          </a:p>
          <a:p>
            <a:r>
              <a:rPr lang="pt-PT" dirty="0" err="1"/>
              <a:t>Continuous</a:t>
            </a:r>
            <a:r>
              <a:rPr lang="pt-PT" dirty="0"/>
              <a:t> </a:t>
            </a:r>
            <a:r>
              <a:rPr lang="pt-PT" dirty="0" err="1"/>
              <a:t>Improvement</a:t>
            </a:r>
            <a:endParaRPr lang="pt-PT" dirty="0"/>
          </a:p>
        </p:txBody>
      </p:sp>
      <p:sp>
        <p:nvSpPr>
          <p:cNvPr id="32" name="Marcador de Posição do Texto 31">
            <a:extLst>
              <a:ext uri="{FF2B5EF4-FFF2-40B4-BE49-F238E27FC236}">
                <a16:creationId xmlns:a16="http://schemas.microsoft.com/office/drawing/2014/main" id="{5C18EE7F-0745-DB6A-9EDB-9F71B49A8E66}"/>
              </a:ext>
            </a:extLst>
          </p:cNvPr>
          <p:cNvSpPr>
            <a:spLocks noGrp="1"/>
          </p:cNvSpPr>
          <p:nvPr>
            <p:ph type="body" sz="quarter" idx="95"/>
          </p:nvPr>
        </p:nvSpPr>
        <p:spPr/>
        <p:txBody>
          <a:bodyPr/>
          <a:lstStyle/>
          <a:p>
            <a:r>
              <a:rPr lang="pt-PT" dirty="0" err="1"/>
              <a:t>Alarming</a:t>
            </a:r>
            <a:endParaRPr lang="pt-PT" dirty="0"/>
          </a:p>
        </p:txBody>
      </p:sp>
      <p:sp>
        <p:nvSpPr>
          <p:cNvPr id="33" name="Marcador de Posição do Texto 32">
            <a:extLst>
              <a:ext uri="{FF2B5EF4-FFF2-40B4-BE49-F238E27FC236}">
                <a16:creationId xmlns:a16="http://schemas.microsoft.com/office/drawing/2014/main" id="{CF7319CA-F520-8B88-4F92-F12DEAC4FCCB}"/>
              </a:ext>
            </a:extLst>
          </p:cNvPr>
          <p:cNvSpPr>
            <a:spLocks noGrp="1"/>
          </p:cNvSpPr>
          <p:nvPr>
            <p:ph type="body" sz="quarter" idx="96"/>
          </p:nvPr>
        </p:nvSpPr>
        <p:spPr/>
        <p:txBody>
          <a:bodyPr/>
          <a:lstStyle/>
          <a:p>
            <a:r>
              <a:rPr lang="pt-PT" dirty="0" err="1"/>
              <a:t>End-Users</a:t>
            </a:r>
            <a:endParaRPr lang="pt-PT" dirty="0"/>
          </a:p>
        </p:txBody>
      </p:sp>
      <p:sp>
        <p:nvSpPr>
          <p:cNvPr id="34" name="Marcador de Posição do Texto 33">
            <a:extLst>
              <a:ext uri="{FF2B5EF4-FFF2-40B4-BE49-F238E27FC236}">
                <a16:creationId xmlns:a16="http://schemas.microsoft.com/office/drawing/2014/main" id="{74AA2B76-1E8E-B1E1-275D-5A5D89E4C527}"/>
              </a:ext>
            </a:extLst>
          </p:cNvPr>
          <p:cNvSpPr>
            <a:spLocks noGrp="1"/>
          </p:cNvSpPr>
          <p:nvPr>
            <p:ph type="body" sz="quarter" idx="97"/>
          </p:nvPr>
        </p:nvSpPr>
        <p:spPr/>
        <p:txBody>
          <a:bodyPr/>
          <a:lstStyle/>
          <a:p>
            <a:r>
              <a:rPr lang="pt-PT" dirty="0" err="1"/>
              <a:t>3rd</a:t>
            </a:r>
            <a:r>
              <a:rPr lang="pt-PT" dirty="0"/>
              <a:t> </a:t>
            </a:r>
            <a:r>
              <a:rPr lang="pt-PT" dirty="0" err="1"/>
              <a:t>Parties</a:t>
            </a:r>
            <a:endParaRPr lang="pt-PT" dirty="0"/>
          </a:p>
        </p:txBody>
      </p:sp>
      <p:sp>
        <p:nvSpPr>
          <p:cNvPr id="35" name="Marcador de Posição do Texto 34">
            <a:extLst>
              <a:ext uri="{FF2B5EF4-FFF2-40B4-BE49-F238E27FC236}">
                <a16:creationId xmlns:a16="http://schemas.microsoft.com/office/drawing/2014/main" id="{CA50D18B-B076-3603-4498-5B116EDDADBA}"/>
              </a:ext>
            </a:extLst>
          </p:cNvPr>
          <p:cNvSpPr>
            <a:spLocks noGrp="1"/>
          </p:cNvSpPr>
          <p:nvPr>
            <p:ph type="body" sz="quarter" idx="98"/>
          </p:nvPr>
        </p:nvSpPr>
        <p:spPr/>
        <p:txBody>
          <a:bodyPr/>
          <a:lstStyle/>
          <a:p>
            <a:r>
              <a:rPr lang="pt-PT" dirty="0"/>
              <a:t>VIP </a:t>
            </a:r>
            <a:r>
              <a:rPr lang="pt-PT" dirty="0" err="1"/>
              <a:t>End-Users</a:t>
            </a:r>
            <a:endParaRPr lang="pt-PT" dirty="0"/>
          </a:p>
        </p:txBody>
      </p:sp>
      <p:cxnSp>
        <p:nvCxnSpPr>
          <p:cNvPr id="36" name="Conexão reta 35">
            <a:extLst>
              <a:ext uri="{FF2B5EF4-FFF2-40B4-BE49-F238E27FC236}">
                <a16:creationId xmlns:a16="http://schemas.microsoft.com/office/drawing/2014/main" id="{7186310F-5EB8-F7D5-694D-3D2F510D5D9C}"/>
              </a:ext>
            </a:extLst>
          </p:cNvPr>
          <p:cNvCxnSpPr>
            <a:cxnSpLocks/>
          </p:cNvCxnSpPr>
          <p:nvPr/>
        </p:nvCxnSpPr>
        <p:spPr>
          <a:xfrm flipV="1">
            <a:off x="4572931" y="1744402"/>
            <a:ext cx="0" cy="231880"/>
          </a:xfrm>
          <a:prstGeom prst="line">
            <a:avLst/>
          </a:prstGeom>
          <a:ln w="6350">
            <a:solidFill>
              <a:schemeClr val="tx1"/>
            </a:solidFill>
            <a:headEnd type="arrow"/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7" name="Conexão reta 36">
            <a:extLst>
              <a:ext uri="{FF2B5EF4-FFF2-40B4-BE49-F238E27FC236}">
                <a16:creationId xmlns:a16="http://schemas.microsoft.com/office/drawing/2014/main" id="{03501354-A626-25A7-3001-D71EB37CB0E6}"/>
              </a:ext>
            </a:extLst>
          </p:cNvPr>
          <p:cNvCxnSpPr>
            <a:cxnSpLocks/>
          </p:cNvCxnSpPr>
          <p:nvPr/>
        </p:nvCxnSpPr>
        <p:spPr>
          <a:xfrm flipV="1">
            <a:off x="6333952" y="1744402"/>
            <a:ext cx="0" cy="231880"/>
          </a:xfrm>
          <a:prstGeom prst="line">
            <a:avLst/>
          </a:prstGeom>
          <a:ln w="6350">
            <a:solidFill>
              <a:schemeClr val="tx1"/>
            </a:solidFill>
            <a:headEnd type="arrow"/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Conexão reta 37">
            <a:extLst>
              <a:ext uri="{FF2B5EF4-FFF2-40B4-BE49-F238E27FC236}">
                <a16:creationId xmlns:a16="http://schemas.microsoft.com/office/drawing/2014/main" id="{4B864DCD-DFC5-0E59-7B3B-A01BA85633C0}"/>
              </a:ext>
            </a:extLst>
          </p:cNvPr>
          <p:cNvCxnSpPr>
            <a:cxnSpLocks/>
          </p:cNvCxnSpPr>
          <p:nvPr/>
        </p:nvCxnSpPr>
        <p:spPr>
          <a:xfrm flipV="1">
            <a:off x="8094973" y="1744402"/>
            <a:ext cx="0" cy="231880"/>
          </a:xfrm>
          <a:prstGeom prst="line">
            <a:avLst/>
          </a:prstGeom>
          <a:ln w="6350">
            <a:solidFill>
              <a:schemeClr val="tx1"/>
            </a:solidFill>
            <a:headEnd type="arrow"/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9" name="Conexão reta 38">
            <a:extLst>
              <a:ext uri="{FF2B5EF4-FFF2-40B4-BE49-F238E27FC236}">
                <a16:creationId xmlns:a16="http://schemas.microsoft.com/office/drawing/2014/main" id="{08CE4A99-AB51-1BC1-FE11-97D31C100186}"/>
              </a:ext>
            </a:extLst>
          </p:cNvPr>
          <p:cNvCxnSpPr>
            <a:cxnSpLocks/>
          </p:cNvCxnSpPr>
          <p:nvPr/>
        </p:nvCxnSpPr>
        <p:spPr>
          <a:xfrm flipV="1">
            <a:off x="9855995" y="1744402"/>
            <a:ext cx="0" cy="231880"/>
          </a:xfrm>
          <a:prstGeom prst="line">
            <a:avLst/>
          </a:prstGeom>
          <a:ln w="6350">
            <a:solidFill>
              <a:schemeClr val="tx1"/>
            </a:solidFill>
            <a:headEnd type="arrow"/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C0518B7C-1CDC-4E7B-B041-E198D52069B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pt-PT"/>
              <a:t>Título de la presentación</a:t>
            </a:r>
            <a:endParaRPr lang="pt-PT" dirty="0"/>
          </a:p>
        </p:txBody>
      </p:sp>
      <p:sp>
        <p:nvSpPr>
          <p:cNvPr id="5" name="Marcador de número de diapositiva 4">
            <a:extLst>
              <a:ext uri="{FF2B5EF4-FFF2-40B4-BE49-F238E27FC236}">
                <a16:creationId xmlns:a16="http://schemas.microsoft.com/office/drawing/2014/main" id="{21959CD8-B762-457B-BE43-907CD4EA831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4A347C2-D68E-473A-8C76-1D063E4EB6E0}" type="slidenum">
              <a:rPr lang="es-ES" smtClean="0"/>
              <a:pPr/>
              <a:t>50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1551993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Círculo Parcial 22">
            <a:extLst>
              <a:ext uri="{FF2B5EF4-FFF2-40B4-BE49-F238E27FC236}">
                <a16:creationId xmlns:a16="http://schemas.microsoft.com/office/drawing/2014/main" id="{54A12E36-BB00-87E2-CCE7-64C4CC664701}"/>
              </a:ext>
            </a:extLst>
          </p:cNvPr>
          <p:cNvSpPr/>
          <p:nvPr/>
        </p:nvSpPr>
        <p:spPr>
          <a:xfrm>
            <a:off x="2173365" y="4494597"/>
            <a:ext cx="786924" cy="2412593"/>
          </a:xfrm>
          <a:custGeom>
            <a:avLst/>
            <a:gdLst>
              <a:gd name="connsiteX0" fmla="*/ 307 w 7885034"/>
              <a:gd name="connsiteY0" fmla="*/ 3991708 h 7885034"/>
              <a:gd name="connsiteX1" fmla="*/ 786924 w 7885034"/>
              <a:gd name="connsiteY1" fmla="*/ 1579115 h 7885034"/>
              <a:gd name="connsiteX2" fmla="*/ 3942517 w 7885034"/>
              <a:gd name="connsiteY2" fmla="*/ 3942517 h 7885034"/>
              <a:gd name="connsiteX3" fmla="*/ 307 w 7885034"/>
              <a:gd name="connsiteY3" fmla="*/ 3991708 h 7885034"/>
              <a:gd name="connsiteX0" fmla="*/ 3942517 w 4033957"/>
              <a:gd name="connsiteY0" fmla="*/ 2363402 h 2454842"/>
              <a:gd name="connsiteX1" fmla="*/ 307 w 4033957"/>
              <a:gd name="connsiteY1" fmla="*/ 2412593 h 2454842"/>
              <a:gd name="connsiteX2" fmla="*/ 786924 w 4033957"/>
              <a:gd name="connsiteY2" fmla="*/ 0 h 2454842"/>
              <a:gd name="connsiteX3" fmla="*/ 4033957 w 4033957"/>
              <a:gd name="connsiteY3" fmla="*/ 2454842 h 2454842"/>
              <a:gd name="connsiteX0" fmla="*/ 3942517 w 3942517"/>
              <a:gd name="connsiteY0" fmla="*/ 2363402 h 2412593"/>
              <a:gd name="connsiteX1" fmla="*/ 307 w 3942517"/>
              <a:gd name="connsiteY1" fmla="*/ 2412593 h 2412593"/>
              <a:gd name="connsiteX2" fmla="*/ 786924 w 3942517"/>
              <a:gd name="connsiteY2" fmla="*/ 0 h 2412593"/>
              <a:gd name="connsiteX0" fmla="*/ 307 w 786924"/>
              <a:gd name="connsiteY0" fmla="*/ 2412593 h 2412593"/>
              <a:gd name="connsiteX1" fmla="*/ 786924 w 786924"/>
              <a:gd name="connsiteY1" fmla="*/ 0 h 24125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786924" h="2412593">
                <a:moveTo>
                  <a:pt x="307" y="2412593"/>
                </a:moveTo>
                <a:cubicBezTo>
                  <a:pt x="-10535" y="1543682"/>
                  <a:pt x="266001" y="695531"/>
                  <a:pt x="786924" y="0"/>
                </a:cubicBezTo>
              </a:path>
            </a:pathLst>
          </a:custGeom>
          <a:noFill/>
          <a:ln w="6350">
            <a:solidFill>
              <a:schemeClr val="tx1"/>
            </a:solidFill>
            <a:tailEnd type="arrow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>
              <a:solidFill>
                <a:schemeClr val="tx1"/>
              </a:solidFill>
            </a:endParaRPr>
          </a:p>
        </p:txBody>
      </p:sp>
      <p:sp>
        <p:nvSpPr>
          <p:cNvPr id="22" name="Círculo Parcial 24">
            <a:extLst>
              <a:ext uri="{FF2B5EF4-FFF2-40B4-BE49-F238E27FC236}">
                <a16:creationId xmlns:a16="http://schemas.microsoft.com/office/drawing/2014/main" id="{75D3138A-12BC-A19C-7AF6-817038446DBB}"/>
              </a:ext>
            </a:extLst>
          </p:cNvPr>
          <p:cNvSpPr/>
          <p:nvPr/>
        </p:nvSpPr>
        <p:spPr>
          <a:xfrm>
            <a:off x="5157831" y="2915452"/>
            <a:ext cx="4897822" cy="3795389"/>
          </a:xfrm>
          <a:custGeom>
            <a:avLst/>
            <a:gdLst>
              <a:gd name="connsiteX0" fmla="*/ 2984465 w 7885034"/>
              <a:gd name="connsiteY0" fmla="*/ 118177 h 7885034"/>
              <a:gd name="connsiteX1" fmla="*/ 6309599 w 7885034"/>
              <a:gd name="connsiteY1" fmla="*/ 789683 h 7885034"/>
              <a:gd name="connsiteX2" fmla="*/ 7882287 w 7885034"/>
              <a:gd name="connsiteY2" fmla="*/ 3795359 h 7885034"/>
              <a:gd name="connsiteX3" fmla="*/ 3942517 w 7885034"/>
              <a:gd name="connsiteY3" fmla="*/ 3942517 h 7885034"/>
              <a:gd name="connsiteX4" fmla="*/ 2984465 w 7885034"/>
              <a:gd name="connsiteY4" fmla="*/ 118177 h 7885034"/>
              <a:gd name="connsiteX0" fmla="*/ 958052 w 4897822"/>
              <a:gd name="connsiteY0" fmla="*/ 3942547 h 4033987"/>
              <a:gd name="connsiteX1" fmla="*/ 0 w 4897822"/>
              <a:gd name="connsiteY1" fmla="*/ 118207 h 4033987"/>
              <a:gd name="connsiteX2" fmla="*/ 3325134 w 4897822"/>
              <a:gd name="connsiteY2" fmla="*/ 789713 h 4033987"/>
              <a:gd name="connsiteX3" fmla="*/ 4897822 w 4897822"/>
              <a:gd name="connsiteY3" fmla="*/ 3795389 h 4033987"/>
              <a:gd name="connsiteX4" fmla="*/ 1049492 w 4897822"/>
              <a:gd name="connsiteY4" fmla="*/ 4033987 h 4033987"/>
              <a:gd name="connsiteX0" fmla="*/ 958052 w 4897822"/>
              <a:gd name="connsiteY0" fmla="*/ 3942547 h 3942547"/>
              <a:gd name="connsiteX1" fmla="*/ 0 w 4897822"/>
              <a:gd name="connsiteY1" fmla="*/ 118207 h 3942547"/>
              <a:gd name="connsiteX2" fmla="*/ 3325134 w 4897822"/>
              <a:gd name="connsiteY2" fmla="*/ 789713 h 3942547"/>
              <a:gd name="connsiteX3" fmla="*/ 4897822 w 4897822"/>
              <a:gd name="connsiteY3" fmla="*/ 3795389 h 3942547"/>
              <a:gd name="connsiteX0" fmla="*/ 0 w 4897822"/>
              <a:gd name="connsiteY0" fmla="*/ 118207 h 3795389"/>
              <a:gd name="connsiteX1" fmla="*/ 3325134 w 4897822"/>
              <a:gd name="connsiteY1" fmla="*/ 789713 h 3795389"/>
              <a:gd name="connsiteX2" fmla="*/ 4897822 w 4897822"/>
              <a:gd name="connsiteY2" fmla="*/ 3795389 h 37953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4897822" h="3795389">
                <a:moveTo>
                  <a:pt x="0" y="118207"/>
                </a:moveTo>
                <a:cubicBezTo>
                  <a:pt x="1152934" y="-170620"/>
                  <a:pt x="2374640" y="76102"/>
                  <a:pt x="3325134" y="789713"/>
                </a:cubicBezTo>
                <a:cubicBezTo>
                  <a:pt x="4275628" y="1503324"/>
                  <a:pt x="4853458" y="2607656"/>
                  <a:pt x="4897822" y="3795389"/>
                </a:cubicBezTo>
              </a:path>
            </a:pathLst>
          </a:custGeom>
          <a:noFill/>
          <a:ln w="6350">
            <a:solidFill>
              <a:schemeClr val="accent1"/>
            </a:solidFill>
            <a:tailEnd type="arrow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>
              <a:solidFill>
                <a:schemeClr val="tx1"/>
              </a:solidFill>
            </a:endParaRPr>
          </a:p>
        </p:txBody>
      </p:sp>
      <p:sp>
        <p:nvSpPr>
          <p:cNvPr id="149" name="Rectángulo 148">
            <a:extLst>
              <a:ext uri="{FF2B5EF4-FFF2-40B4-BE49-F238E27FC236}">
                <a16:creationId xmlns:a16="http://schemas.microsoft.com/office/drawing/2014/main" id="{BE90FC7C-D92E-4F2C-B6EF-CBF0040C8C61}"/>
              </a:ext>
            </a:extLst>
          </p:cNvPr>
          <p:cNvSpPr/>
          <p:nvPr/>
        </p:nvSpPr>
        <p:spPr>
          <a:xfrm>
            <a:off x="0" y="6245250"/>
            <a:ext cx="12192000" cy="612750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2C665CC0-3FE7-0C47-B654-74C9A06DE42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PT" dirty="0"/>
              <a:t>Ejemplo de título de slide</a:t>
            </a:r>
          </a:p>
        </p:txBody>
      </p:sp>
      <p:sp>
        <p:nvSpPr>
          <p:cNvPr id="3" name="Marcador de Posição do Texto 2">
            <a:extLst>
              <a:ext uri="{FF2B5EF4-FFF2-40B4-BE49-F238E27FC236}">
                <a16:creationId xmlns:a16="http://schemas.microsoft.com/office/drawing/2014/main" id="{CFE17BAE-CE6C-B5BA-7B0F-9DD50BFD7D7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>
            <a:normAutofit lnSpcReduction="10000"/>
          </a:bodyPr>
          <a:lstStyle/>
          <a:p>
            <a:r>
              <a:rPr lang="es-ES" dirty="0"/>
              <a:t>Ejemplo de subtítulo de </a:t>
            </a:r>
            <a:r>
              <a:rPr lang="es-ES" dirty="0" err="1"/>
              <a:t>slide</a:t>
            </a:r>
            <a:endParaRPr lang="pt-PT" dirty="0"/>
          </a:p>
        </p:txBody>
      </p:sp>
      <p:sp>
        <p:nvSpPr>
          <p:cNvPr id="4" name="Marcador de Posição do Texto 3">
            <a:extLst>
              <a:ext uri="{FF2B5EF4-FFF2-40B4-BE49-F238E27FC236}">
                <a16:creationId xmlns:a16="http://schemas.microsoft.com/office/drawing/2014/main" id="{2BAF402E-DEE7-5352-3D4A-DA43940C090C}"/>
              </a:ext>
            </a:extLst>
          </p:cNvPr>
          <p:cNvSpPr>
            <a:spLocks noGrp="1"/>
          </p:cNvSpPr>
          <p:nvPr>
            <p:ph type="body" sz="quarter" idx="52"/>
          </p:nvPr>
        </p:nvSpPr>
        <p:spPr/>
        <p:txBody>
          <a:bodyPr/>
          <a:lstStyle/>
          <a:p>
            <a:r>
              <a:rPr lang="pt-PT" dirty="0"/>
              <a:t>Texto</a:t>
            </a:r>
            <a:br>
              <a:rPr lang="pt-PT" dirty="0"/>
            </a:br>
            <a:r>
              <a:rPr lang="pt-PT" dirty="0"/>
              <a:t>destacado</a:t>
            </a:r>
          </a:p>
        </p:txBody>
      </p:sp>
      <p:sp>
        <p:nvSpPr>
          <p:cNvPr id="5" name="Marcador de Posição do Texto 4">
            <a:extLst>
              <a:ext uri="{FF2B5EF4-FFF2-40B4-BE49-F238E27FC236}">
                <a16:creationId xmlns:a16="http://schemas.microsoft.com/office/drawing/2014/main" id="{52B14EFA-E020-AA96-E021-42767990E765}"/>
              </a:ext>
            </a:extLst>
          </p:cNvPr>
          <p:cNvSpPr>
            <a:spLocks noGrp="1"/>
          </p:cNvSpPr>
          <p:nvPr>
            <p:ph type="body" sz="quarter" idx="80"/>
          </p:nvPr>
        </p:nvSpPr>
        <p:spPr/>
        <p:txBody>
          <a:bodyPr/>
          <a:lstStyle/>
          <a:p>
            <a:r>
              <a:rPr lang="en-US" dirty="0"/>
              <a:t>Identification of the most critical processes and enterprise assets that need protection</a:t>
            </a:r>
          </a:p>
        </p:txBody>
      </p:sp>
      <p:sp>
        <p:nvSpPr>
          <p:cNvPr id="6" name="Marcador de Posição do Texto 5">
            <a:extLst>
              <a:ext uri="{FF2B5EF4-FFF2-40B4-BE49-F238E27FC236}">
                <a16:creationId xmlns:a16="http://schemas.microsoft.com/office/drawing/2014/main" id="{A7E04B13-7C40-D2A2-B777-ED57FCD6348A}"/>
              </a:ext>
            </a:extLst>
          </p:cNvPr>
          <p:cNvSpPr>
            <a:spLocks noGrp="1"/>
          </p:cNvSpPr>
          <p:nvPr>
            <p:ph type="body" sz="quarter" idx="81"/>
          </p:nvPr>
        </p:nvSpPr>
        <p:spPr/>
        <p:txBody>
          <a:bodyPr/>
          <a:lstStyle/>
          <a:p>
            <a:r>
              <a:rPr lang="pt-PT" dirty="0" err="1"/>
              <a:t>Identity</a:t>
            </a:r>
            <a:endParaRPr lang="pt-PT" dirty="0"/>
          </a:p>
        </p:txBody>
      </p:sp>
      <p:sp>
        <p:nvSpPr>
          <p:cNvPr id="7" name="Marcador de Posição do Texto 6">
            <a:extLst>
              <a:ext uri="{FF2B5EF4-FFF2-40B4-BE49-F238E27FC236}">
                <a16:creationId xmlns:a16="http://schemas.microsoft.com/office/drawing/2014/main" id="{788DF241-22EA-5DC2-99DC-52A96EDB15AB}"/>
              </a:ext>
            </a:extLst>
          </p:cNvPr>
          <p:cNvSpPr>
            <a:spLocks noGrp="1"/>
          </p:cNvSpPr>
          <p:nvPr>
            <p:ph type="body" sz="quarter" idx="82"/>
          </p:nvPr>
        </p:nvSpPr>
        <p:spPr/>
        <p:txBody>
          <a:bodyPr/>
          <a:lstStyle/>
          <a:p>
            <a:r>
              <a:rPr lang="en-US" dirty="0"/>
              <a:t>Implementation of appropriate safeguards to ensure protection of the enterprise’s assets, by level of risk</a:t>
            </a:r>
          </a:p>
        </p:txBody>
      </p:sp>
      <p:sp>
        <p:nvSpPr>
          <p:cNvPr id="8" name="Marcador de Posição do Texto 7">
            <a:extLst>
              <a:ext uri="{FF2B5EF4-FFF2-40B4-BE49-F238E27FC236}">
                <a16:creationId xmlns:a16="http://schemas.microsoft.com/office/drawing/2014/main" id="{16EE9C35-1A55-BB01-30C6-E1A9CEAAD416}"/>
              </a:ext>
            </a:extLst>
          </p:cNvPr>
          <p:cNvSpPr>
            <a:spLocks noGrp="1"/>
          </p:cNvSpPr>
          <p:nvPr>
            <p:ph type="body" sz="quarter" idx="83"/>
          </p:nvPr>
        </p:nvSpPr>
        <p:spPr/>
        <p:txBody>
          <a:bodyPr/>
          <a:lstStyle/>
          <a:p>
            <a:r>
              <a:rPr lang="pt-PT" dirty="0" err="1"/>
              <a:t>PROTECT</a:t>
            </a:r>
            <a:endParaRPr lang="pt-PT" dirty="0"/>
          </a:p>
        </p:txBody>
      </p:sp>
      <p:sp>
        <p:nvSpPr>
          <p:cNvPr id="9" name="Marcador de Posição do Texto 8">
            <a:extLst>
              <a:ext uri="{FF2B5EF4-FFF2-40B4-BE49-F238E27FC236}">
                <a16:creationId xmlns:a16="http://schemas.microsoft.com/office/drawing/2014/main" id="{17DE6121-7DA4-8E68-745B-FFB82323AA42}"/>
              </a:ext>
            </a:extLst>
          </p:cNvPr>
          <p:cNvSpPr>
            <a:spLocks noGrp="1"/>
          </p:cNvSpPr>
          <p:nvPr>
            <p:ph type="body" sz="quarter" idx="84"/>
          </p:nvPr>
        </p:nvSpPr>
        <p:spPr/>
        <p:txBody>
          <a:bodyPr/>
          <a:lstStyle/>
          <a:p>
            <a:r>
              <a:rPr lang="en-US" dirty="0"/>
              <a:t>Implementation of mechanisms to detect and manage real-time cybersecurity incidents (Service Flow and Governance Model</a:t>
            </a:r>
          </a:p>
        </p:txBody>
      </p:sp>
      <p:sp>
        <p:nvSpPr>
          <p:cNvPr id="10" name="Marcador de Posição do Texto 9">
            <a:extLst>
              <a:ext uri="{FF2B5EF4-FFF2-40B4-BE49-F238E27FC236}">
                <a16:creationId xmlns:a16="http://schemas.microsoft.com/office/drawing/2014/main" id="{020E17DA-AD0F-A614-4811-4B447414B2F6}"/>
              </a:ext>
            </a:extLst>
          </p:cNvPr>
          <p:cNvSpPr>
            <a:spLocks noGrp="1"/>
          </p:cNvSpPr>
          <p:nvPr>
            <p:ph type="body" sz="quarter" idx="85"/>
          </p:nvPr>
        </p:nvSpPr>
        <p:spPr/>
        <p:txBody>
          <a:bodyPr/>
          <a:lstStyle/>
          <a:p>
            <a:r>
              <a:rPr lang="pt-PT" dirty="0" err="1"/>
              <a:t>DETECT</a:t>
            </a:r>
            <a:endParaRPr lang="pt-PT" dirty="0"/>
          </a:p>
        </p:txBody>
      </p:sp>
      <p:sp>
        <p:nvSpPr>
          <p:cNvPr id="11" name="Marcador de Posição do Texto 10">
            <a:extLst>
              <a:ext uri="{FF2B5EF4-FFF2-40B4-BE49-F238E27FC236}">
                <a16:creationId xmlns:a16="http://schemas.microsoft.com/office/drawing/2014/main" id="{8DBA1DAD-92AF-2331-ABEE-F388DD04A979}"/>
              </a:ext>
            </a:extLst>
          </p:cNvPr>
          <p:cNvSpPr>
            <a:spLocks noGrp="1"/>
          </p:cNvSpPr>
          <p:nvPr>
            <p:ph type="body" sz="quarter" idx="86"/>
          </p:nvPr>
        </p:nvSpPr>
        <p:spPr/>
        <p:txBody>
          <a:bodyPr/>
          <a:lstStyle/>
          <a:p>
            <a:r>
              <a:rPr lang="en-US" dirty="0"/>
              <a:t>Implementation of procedures to restore IT capabilities and services impacted by cybersecurity events</a:t>
            </a:r>
          </a:p>
          <a:p>
            <a:endParaRPr lang="pt-PT" dirty="0"/>
          </a:p>
        </p:txBody>
      </p:sp>
      <p:sp>
        <p:nvSpPr>
          <p:cNvPr id="12" name="Marcador de Posição do Texto 11">
            <a:extLst>
              <a:ext uri="{FF2B5EF4-FFF2-40B4-BE49-F238E27FC236}">
                <a16:creationId xmlns:a16="http://schemas.microsoft.com/office/drawing/2014/main" id="{FC1577E9-7CC3-842F-7DD7-9BC1228F412C}"/>
              </a:ext>
            </a:extLst>
          </p:cNvPr>
          <p:cNvSpPr>
            <a:spLocks noGrp="1"/>
          </p:cNvSpPr>
          <p:nvPr>
            <p:ph type="body" sz="quarter" idx="87"/>
          </p:nvPr>
        </p:nvSpPr>
        <p:spPr/>
        <p:txBody>
          <a:bodyPr/>
          <a:lstStyle/>
          <a:p>
            <a:r>
              <a:rPr lang="pt-PT" dirty="0" err="1"/>
              <a:t>RESPOND</a:t>
            </a:r>
            <a:endParaRPr lang="pt-PT" dirty="0"/>
          </a:p>
        </p:txBody>
      </p:sp>
      <p:sp>
        <p:nvSpPr>
          <p:cNvPr id="13" name="Marcador de Posição do Texto 12">
            <a:extLst>
              <a:ext uri="{FF2B5EF4-FFF2-40B4-BE49-F238E27FC236}">
                <a16:creationId xmlns:a16="http://schemas.microsoft.com/office/drawing/2014/main" id="{8D6F6541-DB9F-FB1E-2391-DD142D3B25EE}"/>
              </a:ext>
            </a:extLst>
          </p:cNvPr>
          <p:cNvSpPr>
            <a:spLocks noGrp="1"/>
          </p:cNvSpPr>
          <p:nvPr>
            <p:ph type="body" sz="quarter" idx="88"/>
          </p:nvPr>
        </p:nvSpPr>
        <p:spPr/>
        <p:txBody>
          <a:bodyPr/>
          <a:lstStyle/>
          <a:p>
            <a:r>
              <a:rPr lang="en-US" dirty="0"/>
              <a:t>Develop appropriate techniques to contain the impacts of cybersecurity events (Recovery Plan)</a:t>
            </a:r>
          </a:p>
          <a:p>
            <a:endParaRPr lang="pt-PT" dirty="0"/>
          </a:p>
        </p:txBody>
      </p:sp>
      <p:sp>
        <p:nvSpPr>
          <p:cNvPr id="14" name="Marcador de Posição do Texto 13">
            <a:extLst>
              <a:ext uri="{FF2B5EF4-FFF2-40B4-BE49-F238E27FC236}">
                <a16:creationId xmlns:a16="http://schemas.microsoft.com/office/drawing/2014/main" id="{8A0D359C-7453-9A0F-48A0-C04CF3D498BE}"/>
              </a:ext>
            </a:extLst>
          </p:cNvPr>
          <p:cNvSpPr>
            <a:spLocks noGrp="1"/>
          </p:cNvSpPr>
          <p:nvPr>
            <p:ph type="body" sz="quarter" idx="89"/>
          </p:nvPr>
        </p:nvSpPr>
        <p:spPr/>
        <p:txBody>
          <a:bodyPr/>
          <a:lstStyle/>
          <a:p>
            <a:r>
              <a:rPr lang="pt-PT" dirty="0" err="1"/>
              <a:t>Recover</a:t>
            </a:r>
            <a:endParaRPr lang="pt-PT" dirty="0"/>
          </a:p>
        </p:txBody>
      </p:sp>
      <p:sp>
        <p:nvSpPr>
          <p:cNvPr id="21" name="Círculo Parcial 23">
            <a:extLst>
              <a:ext uri="{FF2B5EF4-FFF2-40B4-BE49-F238E27FC236}">
                <a16:creationId xmlns:a16="http://schemas.microsoft.com/office/drawing/2014/main" id="{48C47357-F727-E633-3264-698E828A0BE4}"/>
              </a:ext>
            </a:extLst>
          </p:cNvPr>
          <p:cNvSpPr/>
          <p:nvPr/>
        </p:nvSpPr>
        <p:spPr>
          <a:xfrm>
            <a:off x="3054555" y="3073638"/>
            <a:ext cx="1955863" cy="1300067"/>
          </a:xfrm>
          <a:custGeom>
            <a:avLst/>
            <a:gdLst>
              <a:gd name="connsiteX0" fmla="*/ 881190 w 7885034"/>
              <a:gd name="connsiteY0" fmla="*/ 1458223 h 7885034"/>
              <a:gd name="connsiteX1" fmla="*/ 2837053 w 7885034"/>
              <a:gd name="connsiteY1" fmla="*/ 158156 h 7885034"/>
              <a:gd name="connsiteX2" fmla="*/ 3942517 w 7885034"/>
              <a:gd name="connsiteY2" fmla="*/ 3942517 h 7885034"/>
              <a:gd name="connsiteX3" fmla="*/ 881190 w 7885034"/>
              <a:gd name="connsiteY3" fmla="*/ 1458223 h 7885034"/>
              <a:gd name="connsiteX0" fmla="*/ 3061327 w 3152767"/>
              <a:gd name="connsiteY0" fmla="*/ 3784361 h 3875801"/>
              <a:gd name="connsiteX1" fmla="*/ 0 w 3152767"/>
              <a:gd name="connsiteY1" fmla="*/ 1300067 h 3875801"/>
              <a:gd name="connsiteX2" fmla="*/ 1955863 w 3152767"/>
              <a:gd name="connsiteY2" fmla="*/ 0 h 3875801"/>
              <a:gd name="connsiteX3" fmla="*/ 3152767 w 3152767"/>
              <a:gd name="connsiteY3" fmla="*/ 3875801 h 3875801"/>
              <a:gd name="connsiteX0" fmla="*/ 3061327 w 3061327"/>
              <a:gd name="connsiteY0" fmla="*/ 3784361 h 3784361"/>
              <a:gd name="connsiteX1" fmla="*/ 0 w 3061327"/>
              <a:gd name="connsiteY1" fmla="*/ 1300067 h 3784361"/>
              <a:gd name="connsiteX2" fmla="*/ 1955863 w 3061327"/>
              <a:gd name="connsiteY2" fmla="*/ 0 h 3784361"/>
              <a:gd name="connsiteX0" fmla="*/ 0 w 1955863"/>
              <a:gd name="connsiteY0" fmla="*/ 1300067 h 1300067"/>
              <a:gd name="connsiteX1" fmla="*/ 1955863 w 1955863"/>
              <a:gd name="connsiteY1" fmla="*/ 0 h 13000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955863" h="1300067">
                <a:moveTo>
                  <a:pt x="0" y="1300067"/>
                </a:moveTo>
                <a:cubicBezTo>
                  <a:pt x="504746" y="678083"/>
                  <a:pt x="1186977" y="224602"/>
                  <a:pt x="1955863" y="0"/>
                </a:cubicBezTo>
              </a:path>
            </a:pathLst>
          </a:custGeom>
          <a:noFill/>
          <a:ln w="6350">
            <a:solidFill>
              <a:schemeClr val="tx2"/>
            </a:solidFill>
            <a:tailEnd type="arrow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>
              <a:solidFill>
                <a:schemeClr val="tx1"/>
              </a:solidFill>
            </a:endParaRPr>
          </a:p>
        </p:txBody>
      </p:sp>
      <p:grpSp>
        <p:nvGrpSpPr>
          <p:cNvPr id="141" name="Agrupar 140">
            <a:extLst>
              <a:ext uri="{FF2B5EF4-FFF2-40B4-BE49-F238E27FC236}">
                <a16:creationId xmlns:a16="http://schemas.microsoft.com/office/drawing/2014/main" id="{35B82856-E6B5-06BB-B08D-6557D853A90F}"/>
              </a:ext>
            </a:extLst>
          </p:cNvPr>
          <p:cNvGrpSpPr/>
          <p:nvPr/>
        </p:nvGrpSpPr>
        <p:grpSpPr>
          <a:xfrm>
            <a:off x="2445237" y="5334847"/>
            <a:ext cx="1241960" cy="1117764"/>
            <a:chOff x="2445237" y="5334847"/>
            <a:chExt cx="1241960" cy="1117764"/>
          </a:xfrm>
        </p:grpSpPr>
        <p:pic>
          <p:nvPicPr>
            <p:cNvPr id="15" name="Gráfico 14">
              <a:extLst>
                <a:ext uri="{FF2B5EF4-FFF2-40B4-BE49-F238E27FC236}">
                  <a16:creationId xmlns:a16="http://schemas.microsoft.com/office/drawing/2014/main" id="{C3AA1310-881E-F0A7-B6B1-14C42ABC8152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 rot="1800000">
              <a:off x="2445237" y="5334847"/>
              <a:ext cx="1241960" cy="1117764"/>
            </a:xfrm>
            <a:prstGeom prst="rect">
              <a:avLst/>
            </a:prstGeom>
          </p:spPr>
        </p:pic>
        <p:grpSp>
          <p:nvGrpSpPr>
            <p:cNvPr id="23" name="Agrupar 22">
              <a:extLst>
                <a:ext uri="{FF2B5EF4-FFF2-40B4-BE49-F238E27FC236}">
                  <a16:creationId xmlns:a16="http://schemas.microsoft.com/office/drawing/2014/main" id="{C775B05B-E984-5BDC-1336-1D61C9F56D58}"/>
                </a:ext>
              </a:extLst>
            </p:cNvPr>
            <p:cNvGrpSpPr/>
            <p:nvPr/>
          </p:nvGrpSpPr>
          <p:grpSpPr>
            <a:xfrm>
              <a:off x="2808624" y="5655029"/>
              <a:ext cx="398619" cy="435315"/>
              <a:chOff x="6000092" y="1357908"/>
              <a:chExt cx="365300" cy="398929"/>
            </a:xfrm>
          </p:grpSpPr>
          <p:sp>
            <p:nvSpPr>
              <p:cNvPr id="24" name="Forma livre: Forma 23">
                <a:extLst>
                  <a:ext uri="{FF2B5EF4-FFF2-40B4-BE49-F238E27FC236}">
                    <a16:creationId xmlns:a16="http://schemas.microsoft.com/office/drawing/2014/main" id="{C9D9D584-D789-8252-52C1-7154F7400A2C}"/>
                  </a:ext>
                </a:extLst>
              </p:cNvPr>
              <p:cNvSpPr/>
              <p:nvPr/>
            </p:nvSpPr>
            <p:spPr>
              <a:xfrm>
                <a:off x="6000092" y="1418606"/>
                <a:ext cx="84058" cy="286120"/>
              </a:xfrm>
              <a:custGeom>
                <a:avLst/>
                <a:gdLst>
                  <a:gd name="connsiteX0" fmla="*/ 51595 w 84058"/>
                  <a:gd name="connsiteY0" fmla="*/ 0 h 286120"/>
                  <a:gd name="connsiteX1" fmla="*/ 35266 w 84058"/>
                  <a:gd name="connsiteY1" fmla="*/ 61674 h 286120"/>
                  <a:gd name="connsiteX2" fmla="*/ 28760 w 84058"/>
                  <a:gd name="connsiteY2" fmla="*/ 193415 h 286120"/>
                  <a:gd name="connsiteX3" fmla="*/ 84059 w 84058"/>
                  <a:gd name="connsiteY3" fmla="*/ 286121 h 2861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4058" h="286120">
                    <a:moveTo>
                      <a:pt x="51595" y="0"/>
                    </a:moveTo>
                    <a:cubicBezTo>
                      <a:pt x="37868" y="7872"/>
                      <a:pt x="26028" y="24852"/>
                      <a:pt x="35266" y="61674"/>
                    </a:cubicBezTo>
                    <a:cubicBezTo>
                      <a:pt x="35266" y="61674"/>
                      <a:pt x="-39549" y="126731"/>
                      <a:pt x="28760" y="193415"/>
                    </a:cubicBezTo>
                    <a:cubicBezTo>
                      <a:pt x="28760" y="193415"/>
                      <a:pt x="9243" y="281242"/>
                      <a:pt x="84059" y="286121"/>
                    </a:cubicBezTo>
                  </a:path>
                </a:pathLst>
              </a:custGeom>
              <a:noFill/>
              <a:ln w="19050" cap="sq">
                <a:solidFill>
                  <a:schemeClr val="bg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25" name="Gráfico 32">
                <a:extLst>
                  <a:ext uri="{FF2B5EF4-FFF2-40B4-BE49-F238E27FC236}">
                    <a16:creationId xmlns:a16="http://schemas.microsoft.com/office/drawing/2014/main" id="{8FE7564A-4316-4AC3-4A0A-0F58D91B6961}"/>
                  </a:ext>
                </a:extLst>
              </p:cNvPr>
              <p:cNvGrpSpPr/>
              <p:nvPr/>
            </p:nvGrpSpPr>
            <p:grpSpPr>
              <a:xfrm>
                <a:off x="6061121" y="1359924"/>
                <a:ext cx="128487" cy="396366"/>
                <a:chOff x="6061121" y="1359924"/>
                <a:chExt cx="128487" cy="396366"/>
              </a:xfrm>
              <a:noFill/>
            </p:grpSpPr>
            <p:sp>
              <p:nvSpPr>
                <p:cNvPr id="40" name="Forma livre: Forma 39">
                  <a:extLst>
                    <a:ext uri="{FF2B5EF4-FFF2-40B4-BE49-F238E27FC236}">
                      <a16:creationId xmlns:a16="http://schemas.microsoft.com/office/drawing/2014/main" id="{EA18E8F8-7408-2116-D1C6-819DCA132470}"/>
                    </a:ext>
                  </a:extLst>
                </p:cNvPr>
                <p:cNvSpPr/>
                <p:nvPr/>
              </p:nvSpPr>
              <p:spPr>
                <a:xfrm>
                  <a:off x="6083891" y="1359924"/>
                  <a:ext cx="105717" cy="396366"/>
                </a:xfrm>
                <a:custGeom>
                  <a:avLst/>
                  <a:gdLst>
                    <a:gd name="connsiteX0" fmla="*/ 52891 w 105717"/>
                    <a:gd name="connsiteY0" fmla="*/ 105718 h 396366"/>
                    <a:gd name="connsiteX1" fmla="*/ 0 w 105717"/>
                    <a:gd name="connsiteY1" fmla="*/ 52891 h 396366"/>
                    <a:gd name="connsiteX2" fmla="*/ 52891 w 105717"/>
                    <a:gd name="connsiteY2" fmla="*/ 0 h 396366"/>
                    <a:gd name="connsiteX3" fmla="*/ 105718 w 105717"/>
                    <a:gd name="connsiteY3" fmla="*/ 52826 h 396366"/>
                    <a:gd name="connsiteX4" fmla="*/ 105718 w 105717"/>
                    <a:gd name="connsiteY4" fmla="*/ 346884 h 396366"/>
                    <a:gd name="connsiteX5" fmla="*/ 80606 w 105717"/>
                    <a:gd name="connsiteY5" fmla="*/ 388911 h 396366"/>
                    <a:gd name="connsiteX6" fmla="*/ 9238 w 105717"/>
                    <a:gd name="connsiteY6" fmla="*/ 371150 h 396366"/>
                    <a:gd name="connsiteX7" fmla="*/ 15484 w 105717"/>
                    <a:gd name="connsiteY7" fmla="*/ 309216 h 396366"/>
                    <a:gd name="connsiteX8" fmla="*/ 45019 w 105717"/>
                    <a:gd name="connsiteY8" fmla="*/ 277078 h 39636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105717" h="396366">
                      <a:moveTo>
                        <a:pt x="52891" y="105718"/>
                      </a:moveTo>
                      <a:cubicBezTo>
                        <a:pt x="23681" y="105718"/>
                        <a:pt x="0" y="82037"/>
                        <a:pt x="0" y="52891"/>
                      </a:cubicBezTo>
                      <a:cubicBezTo>
                        <a:pt x="0" y="23746"/>
                        <a:pt x="23681" y="0"/>
                        <a:pt x="52891" y="0"/>
                      </a:cubicBezTo>
                      <a:cubicBezTo>
                        <a:pt x="82102" y="0"/>
                        <a:pt x="105718" y="23681"/>
                        <a:pt x="105718" y="52826"/>
                      </a:cubicBezTo>
                      <a:lnTo>
                        <a:pt x="105718" y="346884"/>
                      </a:lnTo>
                      <a:cubicBezTo>
                        <a:pt x="105718" y="364580"/>
                        <a:pt x="96414" y="379413"/>
                        <a:pt x="80606" y="388911"/>
                      </a:cubicBezTo>
                      <a:cubicBezTo>
                        <a:pt x="55949" y="403744"/>
                        <a:pt x="24006" y="395742"/>
                        <a:pt x="9238" y="371150"/>
                      </a:cubicBezTo>
                      <a:cubicBezTo>
                        <a:pt x="-2928" y="350918"/>
                        <a:pt x="260" y="325741"/>
                        <a:pt x="15484" y="309216"/>
                      </a:cubicBezTo>
                      <a:lnTo>
                        <a:pt x="45019" y="277078"/>
                      </a:lnTo>
                    </a:path>
                  </a:pathLst>
                </a:custGeom>
                <a:noFill/>
                <a:ln w="19050" cap="sq">
                  <a:solidFill>
                    <a:schemeClr val="bg1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41" name="Forma livre: Forma 40">
                  <a:extLst>
                    <a:ext uri="{FF2B5EF4-FFF2-40B4-BE49-F238E27FC236}">
                      <a16:creationId xmlns:a16="http://schemas.microsoft.com/office/drawing/2014/main" id="{4B433FFF-CCA3-1D2F-A308-A5F2780F9559}"/>
                    </a:ext>
                  </a:extLst>
                </p:cNvPr>
                <p:cNvSpPr/>
                <p:nvPr/>
              </p:nvSpPr>
              <p:spPr>
                <a:xfrm>
                  <a:off x="6144784" y="1383865"/>
                  <a:ext cx="41563" cy="38963"/>
                </a:xfrm>
                <a:custGeom>
                  <a:avLst/>
                  <a:gdLst>
                    <a:gd name="connsiteX0" fmla="*/ 36172 w 41563"/>
                    <a:gd name="connsiteY0" fmla="*/ 0 h 38963"/>
                    <a:gd name="connsiteX1" fmla="*/ 39425 w 41563"/>
                    <a:gd name="connsiteY1" fmla="*/ 24266 h 38963"/>
                    <a:gd name="connsiteX2" fmla="*/ 36432 w 41563"/>
                    <a:gd name="connsiteY2" fmla="*/ 29080 h 38963"/>
                    <a:gd name="connsiteX3" fmla="*/ 0 w 41563"/>
                    <a:gd name="connsiteY3" fmla="*/ 33439 h 3896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1563" h="38963">
                      <a:moveTo>
                        <a:pt x="36172" y="0"/>
                      </a:moveTo>
                      <a:cubicBezTo>
                        <a:pt x="41571" y="7547"/>
                        <a:pt x="43393" y="16004"/>
                        <a:pt x="39425" y="24266"/>
                      </a:cubicBezTo>
                      <a:cubicBezTo>
                        <a:pt x="38644" y="25893"/>
                        <a:pt x="37603" y="27519"/>
                        <a:pt x="36432" y="29080"/>
                      </a:cubicBezTo>
                      <a:cubicBezTo>
                        <a:pt x="27584" y="40270"/>
                        <a:pt x="11190" y="42287"/>
                        <a:pt x="0" y="33439"/>
                      </a:cubicBezTo>
                    </a:path>
                  </a:pathLst>
                </a:custGeom>
                <a:noFill/>
                <a:ln w="19050" cap="sq">
                  <a:solidFill>
                    <a:schemeClr val="bg1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42" name="Forma livre: Forma 41">
                  <a:extLst>
                    <a:ext uri="{FF2B5EF4-FFF2-40B4-BE49-F238E27FC236}">
                      <a16:creationId xmlns:a16="http://schemas.microsoft.com/office/drawing/2014/main" id="{28DBA99F-7E8C-B559-7A7D-811CB11231B7}"/>
                    </a:ext>
                  </a:extLst>
                </p:cNvPr>
                <p:cNvSpPr/>
                <p:nvPr/>
              </p:nvSpPr>
              <p:spPr>
                <a:xfrm>
                  <a:off x="6081487" y="1460806"/>
                  <a:ext cx="34217" cy="54474"/>
                </a:xfrm>
                <a:custGeom>
                  <a:avLst/>
                  <a:gdLst>
                    <a:gd name="connsiteX0" fmla="*/ 21076 w 34217"/>
                    <a:gd name="connsiteY0" fmla="*/ 54475 h 54474"/>
                    <a:gd name="connsiteX1" fmla="*/ 778 w 34217"/>
                    <a:gd name="connsiteY1" fmla="*/ 21035 h 54474"/>
                    <a:gd name="connsiteX2" fmla="*/ 34217 w 34217"/>
                    <a:gd name="connsiteY2" fmla="*/ 803 h 544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34217" h="54474">
                      <a:moveTo>
                        <a:pt x="21076" y="54475"/>
                      </a:moveTo>
                      <a:cubicBezTo>
                        <a:pt x="6308" y="50832"/>
                        <a:pt x="-2800" y="35803"/>
                        <a:pt x="778" y="21035"/>
                      </a:cubicBezTo>
                      <a:cubicBezTo>
                        <a:pt x="4421" y="6267"/>
                        <a:pt x="19449" y="-2841"/>
                        <a:pt x="34217" y="803"/>
                      </a:cubicBezTo>
                    </a:path>
                  </a:pathLst>
                </a:custGeom>
                <a:noFill/>
                <a:ln w="19050" cap="sq">
                  <a:solidFill>
                    <a:schemeClr val="bg1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43" name="Forma livre: Forma 42">
                  <a:extLst>
                    <a:ext uri="{FF2B5EF4-FFF2-40B4-BE49-F238E27FC236}">
                      <a16:creationId xmlns:a16="http://schemas.microsoft.com/office/drawing/2014/main" id="{AF1BE47E-9827-1B4E-8BCF-5D2BD96D3B9D}"/>
                    </a:ext>
                  </a:extLst>
                </p:cNvPr>
                <p:cNvSpPr/>
                <p:nvPr/>
              </p:nvSpPr>
              <p:spPr>
                <a:xfrm>
                  <a:off x="6073547" y="1527543"/>
                  <a:ext cx="114760" cy="72506"/>
                </a:xfrm>
                <a:custGeom>
                  <a:avLst/>
                  <a:gdLst>
                    <a:gd name="connsiteX0" fmla="*/ 114760 w 114760"/>
                    <a:gd name="connsiteY0" fmla="*/ 7254 h 72506"/>
                    <a:gd name="connsiteX1" fmla="*/ 73905 w 114760"/>
                    <a:gd name="connsiteY1" fmla="*/ 8881 h 72506"/>
                    <a:gd name="connsiteX2" fmla="*/ 0 w 114760"/>
                    <a:gd name="connsiteY2" fmla="*/ 72506 h 7250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14760" h="72506">
                      <a:moveTo>
                        <a:pt x="114760" y="7254"/>
                      </a:moveTo>
                      <a:cubicBezTo>
                        <a:pt x="103375" y="-2830"/>
                        <a:pt x="83989" y="-2504"/>
                        <a:pt x="73905" y="8881"/>
                      </a:cubicBezTo>
                      <a:cubicBezTo>
                        <a:pt x="73905" y="8881"/>
                        <a:pt x="31488" y="72506"/>
                        <a:pt x="0" y="72506"/>
                      </a:cubicBezTo>
                    </a:path>
                  </a:pathLst>
                </a:custGeom>
                <a:noFill/>
                <a:ln w="19050" cap="sq">
                  <a:solidFill>
                    <a:schemeClr val="bg1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44" name="Forma livre: Forma 43">
                  <a:extLst>
                    <a:ext uri="{FF2B5EF4-FFF2-40B4-BE49-F238E27FC236}">
                      <a16:creationId xmlns:a16="http://schemas.microsoft.com/office/drawing/2014/main" id="{7797FFB6-594A-4BF6-1A0E-558ECE297873}"/>
                    </a:ext>
                  </a:extLst>
                </p:cNvPr>
                <p:cNvSpPr/>
                <p:nvPr/>
              </p:nvSpPr>
              <p:spPr>
                <a:xfrm>
                  <a:off x="6079857" y="1646956"/>
                  <a:ext cx="29405" cy="9823"/>
                </a:xfrm>
                <a:custGeom>
                  <a:avLst/>
                  <a:gdLst>
                    <a:gd name="connsiteX0" fmla="*/ 0 w 29405"/>
                    <a:gd name="connsiteY0" fmla="*/ 0 h 9823"/>
                    <a:gd name="connsiteX1" fmla="*/ 29406 w 29405"/>
                    <a:gd name="connsiteY1" fmla="*/ 9824 h 982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9405" h="9823">
                      <a:moveTo>
                        <a:pt x="0" y="0"/>
                      </a:moveTo>
                      <a:lnTo>
                        <a:pt x="29406" y="9824"/>
                      </a:lnTo>
                    </a:path>
                  </a:pathLst>
                </a:custGeom>
                <a:ln w="19050" cap="sq">
                  <a:solidFill>
                    <a:schemeClr val="bg1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45" name="Forma livre: Forma 44">
                  <a:extLst>
                    <a:ext uri="{FF2B5EF4-FFF2-40B4-BE49-F238E27FC236}">
                      <a16:creationId xmlns:a16="http://schemas.microsoft.com/office/drawing/2014/main" id="{E5627882-C872-90A8-0966-686DADD5D98C}"/>
                    </a:ext>
                  </a:extLst>
                </p:cNvPr>
                <p:cNvSpPr/>
                <p:nvPr/>
              </p:nvSpPr>
              <p:spPr>
                <a:xfrm>
                  <a:off x="6061121" y="1545272"/>
                  <a:ext cx="47166" cy="34154"/>
                </a:xfrm>
                <a:custGeom>
                  <a:avLst/>
                  <a:gdLst>
                    <a:gd name="connsiteX0" fmla="*/ 0 w 47166"/>
                    <a:gd name="connsiteY0" fmla="*/ 0 h 34154"/>
                    <a:gd name="connsiteX1" fmla="*/ 47166 w 47166"/>
                    <a:gd name="connsiteY1" fmla="*/ 34155 h 3415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7166" h="34154">
                      <a:moveTo>
                        <a:pt x="0" y="0"/>
                      </a:moveTo>
                      <a:cubicBezTo>
                        <a:pt x="0" y="0"/>
                        <a:pt x="27649" y="13011"/>
                        <a:pt x="47166" y="34155"/>
                      </a:cubicBezTo>
                    </a:path>
                  </a:pathLst>
                </a:custGeom>
                <a:noFill/>
                <a:ln w="19050" cap="sq">
                  <a:solidFill>
                    <a:schemeClr val="bg1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26" name="Gráfico 32">
                <a:extLst>
                  <a:ext uri="{FF2B5EF4-FFF2-40B4-BE49-F238E27FC236}">
                    <a16:creationId xmlns:a16="http://schemas.microsoft.com/office/drawing/2014/main" id="{314C33C4-7F85-4382-0992-339826872434}"/>
                  </a:ext>
                </a:extLst>
              </p:cNvPr>
              <p:cNvGrpSpPr/>
              <p:nvPr/>
            </p:nvGrpSpPr>
            <p:grpSpPr>
              <a:xfrm>
                <a:off x="6191625" y="1599725"/>
                <a:ext cx="173767" cy="157112"/>
                <a:chOff x="6191625" y="1599725"/>
                <a:chExt cx="173767" cy="157112"/>
              </a:xfrm>
              <a:noFill/>
            </p:grpSpPr>
            <p:sp>
              <p:nvSpPr>
                <p:cNvPr id="36" name="Forma livre: Forma 35">
                  <a:extLst>
                    <a:ext uri="{FF2B5EF4-FFF2-40B4-BE49-F238E27FC236}">
                      <a16:creationId xmlns:a16="http://schemas.microsoft.com/office/drawing/2014/main" id="{82943DE4-8A4A-B0A2-F272-C90CD9F886EC}"/>
                    </a:ext>
                  </a:extLst>
                </p:cNvPr>
                <p:cNvSpPr/>
                <p:nvPr/>
              </p:nvSpPr>
              <p:spPr>
                <a:xfrm>
                  <a:off x="6310094" y="1621974"/>
                  <a:ext cx="55298" cy="55298"/>
                </a:xfrm>
                <a:custGeom>
                  <a:avLst/>
                  <a:gdLst>
                    <a:gd name="connsiteX0" fmla="*/ 55298 w 55298"/>
                    <a:gd name="connsiteY0" fmla="*/ 27649 h 55298"/>
                    <a:gd name="connsiteX1" fmla="*/ 27649 w 55298"/>
                    <a:gd name="connsiteY1" fmla="*/ 55298 h 55298"/>
                    <a:gd name="connsiteX2" fmla="*/ 0 w 55298"/>
                    <a:gd name="connsiteY2" fmla="*/ 27649 h 55298"/>
                    <a:gd name="connsiteX3" fmla="*/ 27649 w 55298"/>
                    <a:gd name="connsiteY3" fmla="*/ 0 h 55298"/>
                    <a:gd name="connsiteX4" fmla="*/ 55298 w 55298"/>
                    <a:gd name="connsiteY4" fmla="*/ 27649 h 552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5298" h="55298">
                      <a:moveTo>
                        <a:pt x="55298" y="27649"/>
                      </a:moveTo>
                      <a:cubicBezTo>
                        <a:pt x="55298" y="42938"/>
                        <a:pt x="42938" y="55298"/>
                        <a:pt x="27649" y="55298"/>
                      </a:cubicBezTo>
                      <a:cubicBezTo>
                        <a:pt x="12361" y="55298"/>
                        <a:pt x="0" y="42938"/>
                        <a:pt x="0" y="27649"/>
                      </a:cubicBezTo>
                      <a:cubicBezTo>
                        <a:pt x="0" y="12361"/>
                        <a:pt x="12361" y="0"/>
                        <a:pt x="27649" y="0"/>
                      </a:cubicBezTo>
                      <a:cubicBezTo>
                        <a:pt x="42938" y="0"/>
                        <a:pt x="55298" y="12361"/>
                        <a:pt x="55298" y="27649"/>
                      </a:cubicBezTo>
                      <a:close/>
                    </a:path>
                  </a:pathLst>
                </a:custGeom>
                <a:noFill/>
                <a:ln w="19050" cap="sq">
                  <a:solidFill>
                    <a:schemeClr val="bg1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37" name="Forma livre: Forma 36">
                  <a:extLst>
                    <a:ext uri="{FF2B5EF4-FFF2-40B4-BE49-F238E27FC236}">
                      <a16:creationId xmlns:a16="http://schemas.microsoft.com/office/drawing/2014/main" id="{4A95B8F6-7DF2-106D-F8C3-D0851121FAD0}"/>
                    </a:ext>
                  </a:extLst>
                </p:cNvPr>
                <p:cNvSpPr/>
                <p:nvPr/>
              </p:nvSpPr>
              <p:spPr>
                <a:xfrm>
                  <a:off x="6191625" y="1599725"/>
                  <a:ext cx="118078" cy="49898"/>
                </a:xfrm>
                <a:custGeom>
                  <a:avLst/>
                  <a:gdLst>
                    <a:gd name="connsiteX0" fmla="*/ 0 w 118078"/>
                    <a:gd name="connsiteY0" fmla="*/ 0 h 49898"/>
                    <a:gd name="connsiteX1" fmla="*/ 37343 w 118078"/>
                    <a:gd name="connsiteY1" fmla="*/ 0 h 49898"/>
                    <a:gd name="connsiteX2" fmla="*/ 87176 w 118078"/>
                    <a:gd name="connsiteY2" fmla="*/ 49899 h 49898"/>
                    <a:gd name="connsiteX3" fmla="*/ 118078 w 118078"/>
                    <a:gd name="connsiteY3" fmla="*/ 49899 h 498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18078" h="49898">
                      <a:moveTo>
                        <a:pt x="0" y="0"/>
                      </a:moveTo>
                      <a:lnTo>
                        <a:pt x="37343" y="0"/>
                      </a:lnTo>
                      <a:lnTo>
                        <a:pt x="87176" y="49899"/>
                      </a:lnTo>
                      <a:lnTo>
                        <a:pt x="118078" y="49899"/>
                      </a:lnTo>
                    </a:path>
                  </a:pathLst>
                </a:custGeom>
                <a:noFill/>
                <a:ln w="19050" cap="sq">
                  <a:solidFill>
                    <a:schemeClr val="bg1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38" name="Forma livre: Forma 37">
                  <a:extLst>
                    <a:ext uri="{FF2B5EF4-FFF2-40B4-BE49-F238E27FC236}">
                      <a16:creationId xmlns:a16="http://schemas.microsoft.com/office/drawing/2014/main" id="{B4AD8754-CA0E-4158-9001-F97A73347BB1}"/>
                    </a:ext>
                  </a:extLst>
                </p:cNvPr>
                <p:cNvSpPr/>
                <p:nvPr/>
              </p:nvSpPr>
              <p:spPr>
                <a:xfrm>
                  <a:off x="6191625" y="1665367"/>
                  <a:ext cx="81906" cy="44108"/>
                </a:xfrm>
                <a:custGeom>
                  <a:avLst/>
                  <a:gdLst>
                    <a:gd name="connsiteX0" fmla="*/ 0 w 81906"/>
                    <a:gd name="connsiteY0" fmla="*/ 0 h 44108"/>
                    <a:gd name="connsiteX1" fmla="*/ 37343 w 81906"/>
                    <a:gd name="connsiteY1" fmla="*/ 0 h 44108"/>
                    <a:gd name="connsiteX2" fmla="*/ 81907 w 81906"/>
                    <a:gd name="connsiteY2" fmla="*/ 44109 h 4410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81906" h="44108">
                      <a:moveTo>
                        <a:pt x="0" y="0"/>
                      </a:moveTo>
                      <a:lnTo>
                        <a:pt x="37343" y="0"/>
                      </a:lnTo>
                      <a:lnTo>
                        <a:pt x="81907" y="44109"/>
                      </a:lnTo>
                    </a:path>
                  </a:pathLst>
                </a:custGeom>
                <a:noFill/>
                <a:ln w="19050" cap="sq">
                  <a:solidFill>
                    <a:schemeClr val="bg1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39" name="Forma livre: Forma 38">
                  <a:extLst>
                    <a:ext uri="{FF2B5EF4-FFF2-40B4-BE49-F238E27FC236}">
                      <a16:creationId xmlns:a16="http://schemas.microsoft.com/office/drawing/2014/main" id="{616E7138-5779-CC15-665B-2752445AD1E7}"/>
                    </a:ext>
                  </a:extLst>
                </p:cNvPr>
                <p:cNvSpPr/>
                <p:nvPr/>
              </p:nvSpPr>
              <p:spPr>
                <a:xfrm>
                  <a:off x="6265075" y="1701539"/>
                  <a:ext cx="55298" cy="55298"/>
                </a:xfrm>
                <a:custGeom>
                  <a:avLst/>
                  <a:gdLst>
                    <a:gd name="connsiteX0" fmla="*/ 55298 w 55298"/>
                    <a:gd name="connsiteY0" fmla="*/ 27649 h 55298"/>
                    <a:gd name="connsiteX1" fmla="*/ 27649 w 55298"/>
                    <a:gd name="connsiteY1" fmla="*/ 55298 h 55298"/>
                    <a:gd name="connsiteX2" fmla="*/ 0 w 55298"/>
                    <a:gd name="connsiteY2" fmla="*/ 27649 h 55298"/>
                    <a:gd name="connsiteX3" fmla="*/ 27649 w 55298"/>
                    <a:gd name="connsiteY3" fmla="*/ 0 h 55298"/>
                    <a:gd name="connsiteX4" fmla="*/ 55298 w 55298"/>
                    <a:gd name="connsiteY4" fmla="*/ 27649 h 552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5298" h="55298">
                      <a:moveTo>
                        <a:pt x="55298" y="27649"/>
                      </a:moveTo>
                      <a:cubicBezTo>
                        <a:pt x="55298" y="42938"/>
                        <a:pt x="42938" y="55298"/>
                        <a:pt x="27649" y="55298"/>
                      </a:cubicBezTo>
                      <a:cubicBezTo>
                        <a:pt x="12361" y="55298"/>
                        <a:pt x="0" y="42938"/>
                        <a:pt x="0" y="27649"/>
                      </a:cubicBezTo>
                      <a:cubicBezTo>
                        <a:pt x="0" y="12361"/>
                        <a:pt x="12361" y="0"/>
                        <a:pt x="27649" y="0"/>
                      </a:cubicBezTo>
                      <a:cubicBezTo>
                        <a:pt x="42938" y="0"/>
                        <a:pt x="55298" y="12361"/>
                        <a:pt x="55298" y="27649"/>
                      </a:cubicBezTo>
                      <a:close/>
                    </a:path>
                  </a:pathLst>
                </a:custGeom>
                <a:noFill/>
                <a:ln w="19050" cap="sq">
                  <a:solidFill>
                    <a:schemeClr val="bg1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27" name="Gráfico 32">
                <a:extLst>
                  <a:ext uri="{FF2B5EF4-FFF2-40B4-BE49-F238E27FC236}">
                    <a16:creationId xmlns:a16="http://schemas.microsoft.com/office/drawing/2014/main" id="{0FFA2C49-D208-33B4-994A-7D1C04BBC945}"/>
                  </a:ext>
                </a:extLst>
              </p:cNvPr>
              <p:cNvGrpSpPr/>
              <p:nvPr/>
            </p:nvGrpSpPr>
            <p:grpSpPr>
              <a:xfrm>
                <a:off x="6191625" y="1357908"/>
                <a:ext cx="173767" cy="157112"/>
                <a:chOff x="6191625" y="1357908"/>
                <a:chExt cx="173767" cy="157112"/>
              </a:xfrm>
              <a:noFill/>
            </p:grpSpPr>
            <p:sp>
              <p:nvSpPr>
                <p:cNvPr id="32" name="Forma livre: Forma 31">
                  <a:extLst>
                    <a:ext uri="{FF2B5EF4-FFF2-40B4-BE49-F238E27FC236}">
                      <a16:creationId xmlns:a16="http://schemas.microsoft.com/office/drawing/2014/main" id="{62222A67-73D4-AF60-E8BE-87667E369E71}"/>
                    </a:ext>
                  </a:extLst>
                </p:cNvPr>
                <p:cNvSpPr/>
                <p:nvPr/>
              </p:nvSpPr>
              <p:spPr>
                <a:xfrm>
                  <a:off x="6310094" y="1437472"/>
                  <a:ext cx="55298" cy="55298"/>
                </a:xfrm>
                <a:custGeom>
                  <a:avLst/>
                  <a:gdLst>
                    <a:gd name="connsiteX0" fmla="*/ 55298 w 55298"/>
                    <a:gd name="connsiteY0" fmla="*/ 27649 h 55298"/>
                    <a:gd name="connsiteX1" fmla="*/ 27649 w 55298"/>
                    <a:gd name="connsiteY1" fmla="*/ 0 h 55298"/>
                    <a:gd name="connsiteX2" fmla="*/ 0 w 55298"/>
                    <a:gd name="connsiteY2" fmla="*/ 27649 h 55298"/>
                    <a:gd name="connsiteX3" fmla="*/ 27649 w 55298"/>
                    <a:gd name="connsiteY3" fmla="*/ 55298 h 55298"/>
                    <a:gd name="connsiteX4" fmla="*/ 55298 w 55298"/>
                    <a:gd name="connsiteY4" fmla="*/ 27649 h 552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5298" h="55298">
                      <a:moveTo>
                        <a:pt x="55298" y="27649"/>
                      </a:moveTo>
                      <a:cubicBezTo>
                        <a:pt x="55298" y="12361"/>
                        <a:pt x="42938" y="0"/>
                        <a:pt x="27649" y="0"/>
                      </a:cubicBezTo>
                      <a:cubicBezTo>
                        <a:pt x="12361" y="0"/>
                        <a:pt x="0" y="12361"/>
                        <a:pt x="0" y="27649"/>
                      </a:cubicBezTo>
                      <a:cubicBezTo>
                        <a:pt x="0" y="42938"/>
                        <a:pt x="12361" y="55298"/>
                        <a:pt x="27649" y="55298"/>
                      </a:cubicBezTo>
                      <a:cubicBezTo>
                        <a:pt x="42938" y="55298"/>
                        <a:pt x="55298" y="42938"/>
                        <a:pt x="55298" y="27649"/>
                      </a:cubicBezTo>
                      <a:close/>
                    </a:path>
                  </a:pathLst>
                </a:custGeom>
                <a:noFill/>
                <a:ln w="19050" cap="sq">
                  <a:solidFill>
                    <a:schemeClr val="bg1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33" name="Forma livre: Forma 32">
                  <a:extLst>
                    <a:ext uri="{FF2B5EF4-FFF2-40B4-BE49-F238E27FC236}">
                      <a16:creationId xmlns:a16="http://schemas.microsoft.com/office/drawing/2014/main" id="{A0811BE0-B8ED-C7C9-F578-FEFBACD59A3A}"/>
                    </a:ext>
                  </a:extLst>
                </p:cNvPr>
                <p:cNvSpPr/>
                <p:nvPr/>
              </p:nvSpPr>
              <p:spPr>
                <a:xfrm>
                  <a:off x="6191625" y="1465122"/>
                  <a:ext cx="118468" cy="49898"/>
                </a:xfrm>
                <a:custGeom>
                  <a:avLst/>
                  <a:gdLst>
                    <a:gd name="connsiteX0" fmla="*/ 0 w 118468"/>
                    <a:gd name="connsiteY0" fmla="*/ 49899 h 49898"/>
                    <a:gd name="connsiteX1" fmla="*/ 37343 w 118468"/>
                    <a:gd name="connsiteY1" fmla="*/ 49899 h 49898"/>
                    <a:gd name="connsiteX2" fmla="*/ 87176 w 118468"/>
                    <a:gd name="connsiteY2" fmla="*/ 0 h 49898"/>
                    <a:gd name="connsiteX3" fmla="*/ 118469 w 118468"/>
                    <a:gd name="connsiteY3" fmla="*/ 0 h 498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18468" h="49898">
                      <a:moveTo>
                        <a:pt x="0" y="49899"/>
                      </a:moveTo>
                      <a:lnTo>
                        <a:pt x="37343" y="49899"/>
                      </a:lnTo>
                      <a:lnTo>
                        <a:pt x="87176" y="0"/>
                      </a:lnTo>
                      <a:lnTo>
                        <a:pt x="118469" y="0"/>
                      </a:lnTo>
                    </a:path>
                  </a:pathLst>
                </a:custGeom>
                <a:noFill/>
                <a:ln w="19050" cap="sq">
                  <a:solidFill>
                    <a:schemeClr val="bg1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34" name="Forma livre: Forma 33">
                  <a:extLst>
                    <a:ext uri="{FF2B5EF4-FFF2-40B4-BE49-F238E27FC236}">
                      <a16:creationId xmlns:a16="http://schemas.microsoft.com/office/drawing/2014/main" id="{90E5ED5D-B0B3-8888-04C3-60C2A3CA3EA3}"/>
                    </a:ext>
                  </a:extLst>
                </p:cNvPr>
                <p:cNvSpPr/>
                <p:nvPr/>
              </p:nvSpPr>
              <p:spPr>
                <a:xfrm>
                  <a:off x="6191625" y="1405269"/>
                  <a:ext cx="81451" cy="44043"/>
                </a:xfrm>
                <a:custGeom>
                  <a:avLst/>
                  <a:gdLst>
                    <a:gd name="connsiteX0" fmla="*/ 0 w 81451"/>
                    <a:gd name="connsiteY0" fmla="*/ 44044 h 44043"/>
                    <a:gd name="connsiteX1" fmla="*/ 37343 w 81451"/>
                    <a:gd name="connsiteY1" fmla="*/ 44044 h 44043"/>
                    <a:gd name="connsiteX2" fmla="*/ 81451 w 81451"/>
                    <a:gd name="connsiteY2" fmla="*/ 0 h 4404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81451" h="44043">
                      <a:moveTo>
                        <a:pt x="0" y="44044"/>
                      </a:moveTo>
                      <a:lnTo>
                        <a:pt x="37343" y="44044"/>
                      </a:lnTo>
                      <a:lnTo>
                        <a:pt x="81451" y="0"/>
                      </a:lnTo>
                    </a:path>
                  </a:pathLst>
                </a:custGeom>
                <a:noFill/>
                <a:ln w="19050" cap="sq">
                  <a:solidFill>
                    <a:schemeClr val="bg1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35" name="Forma livre: Forma 34">
                  <a:extLst>
                    <a:ext uri="{FF2B5EF4-FFF2-40B4-BE49-F238E27FC236}">
                      <a16:creationId xmlns:a16="http://schemas.microsoft.com/office/drawing/2014/main" id="{E7758215-86AC-92CF-C782-1AF54958CF72}"/>
                    </a:ext>
                  </a:extLst>
                </p:cNvPr>
                <p:cNvSpPr/>
                <p:nvPr/>
              </p:nvSpPr>
              <p:spPr>
                <a:xfrm>
                  <a:off x="6265075" y="1357908"/>
                  <a:ext cx="55298" cy="55298"/>
                </a:xfrm>
                <a:custGeom>
                  <a:avLst/>
                  <a:gdLst>
                    <a:gd name="connsiteX0" fmla="*/ 55298 w 55298"/>
                    <a:gd name="connsiteY0" fmla="*/ 27649 h 55298"/>
                    <a:gd name="connsiteX1" fmla="*/ 27649 w 55298"/>
                    <a:gd name="connsiteY1" fmla="*/ 0 h 55298"/>
                    <a:gd name="connsiteX2" fmla="*/ 0 w 55298"/>
                    <a:gd name="connsiteY2" fmla="*/ 27649 h 55298"/>
                    <a:gd name="connsiteX3" fmla="*/ 27649 w 55298"/>
                    <a:gd name="connsiteY3" fmla="*/ 55298 h 55298"/>
                    <a:gd name="connsiteX4" fmla="*/ 55298 w 55298"/>
                    <a:gd name="connsiteY4" fmla="*/ 27649 h 552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5298" h="55298">
                      <a:moveTo>
                        <a:pt x="55298" y="27649"/>
                      </a:moveTo>
                      <a:cubicBezTo>
                        <a:pt x="55298" y="12361"/>
                        <a:pt x="42938" y="0"/>
                        <a:pt x="27649" y="0"/>
                      </a:cubicBezTo>
                      <a:cubicBezTo>
                        <a:pt x="12361" y="0"/>
                        <a:pt x="0" y="12361"/>
                        <a:pt x="0" y="27649"/>
                      </a:cubicBezTo>
                      <a:cubicBezTo>
                        <a:pt x="0" y="42938"/>
                        <a:pt x="12361" y="55298"/>
                        <a:pt x="27649" y="55298"/>
                      </a:cubicBezTo>
                      <a:cubicBezTo>
                        <a:pt x="42938" y="55298"/>
                        <a:pt x="55298" y="42938"/>
                        <a:pt x="55298" y="27649"/>
                      </a:cubicBezTo>
                      <a:close/>
                    </a:path>
                  </a:pathLst>
                </a:custGeom>
                <a:noFill/>
                <a:ln w="19050" cap="sq">
                  <a:solidFill>
                    <a:schemeClr val="bg1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28" name="Gráfico 32">
                <a:extLst>
                  <a:ext uri="{FF2B5EF4-FFF2-40B4-BE49-F238E27FC236}">
                    <a16:creationId xmlns:a16="http://schemas.microsoft.com/office/drawing/2014/main" id="{C1CB926D-F580-52A9-C84B-1A49DB3EA72D}"/>
                  </a:ext>
                </a:extLst>
              </p:cNvPr>
              <p:cNvGrpSpPr/>
              <p:nvPr/>
            </p:nvGrpSpPr>
            <p:grpSpPr>
              <a:xfrm>
                <a:off x="6190910" y="1529723"/>
                <a:ext cx="123673" cy="55298"/>
                <a:chOff x="6190910" y="1529723"/>
                <a:chExt cx="123673" cy="55298"/>
              </a:xfrm>
              <a:noFill/>
            </p:grpSpPr>
            <p:sp>
              <p:nvSpPr>
                <p:cNvPr id="30" name="Forma livre: Forma 29">
                  <a:extLst>
                    <a:ext uri="{FF2B5EF4-FFF2-40B4-BE49-F238E27FC236}">
                      <a16:creationId xmlns:a16="http://schemas.microsoft.com/office/drawing/2014/main" id="{1525C9A9-27AE-71B6-F2F1-D03C6EFA3EBB}"/>
                    </a:ext>
                  </a:extLst>
                </p:cNvPr>
                <p:cNvSpPr/>
                <p:nvPr/>
              </p:nvSpPr>
              <p:spPr>
                <a:xfrm>
                  <a:off x="6190910" y="1557372"/>
                  <a:ext cx="68765" cy="6505"/>
                </a:xfrm>
                <a:custGeom>
                  <a:avLst/>
                  <a:gdLst>
                    <a:gd name="connsiteX0" fmla="*/ 0 w 68765"/>
                    <a:gd name="connsiteY0" fmla="*/ 0 h 6505"/>
                    <a:gd name="connsiteX1" fmla="*/ 68765 w 68765"/>
                    <a:gd name="connsiteY1" fmla="*/ 0 h 650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68765" h="6505">
                      <a:moveTo>
                        <a:pt x="0" y="0"/>
                      </a:moveTo>
                      <a:lnTo>
                        <a:pt x="68765" y="0"/>
                      </a:lnTo>
                    </a:path>
                  </a:pathLst>
                </a:custGeom>
                <a:ln w="19050" cap="sq">
                  <a:solidFill>
                    <a:schemeClr val="bg1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31" name="Forma livre: Forma 30">
                  <a:extLst>
                    <a:ext uri="{FF2B5EF4-FFF2-40B4-BE49-F238E27FC236}">
                      <a16:creationId xmlns:a16="http://schemas.microsoft.com/office/drawing/2014/main" id="{815CD11D-4D6B-98CF-1AEF-A04103580FAD}"/>
                    </a:ext>
                  </a:extLst>
                </p:cNvPr>
                <p:cNvSpPr/>
                <p:nvPr/>
              </p:nvSpPr>
              <p:spPr>
                <a:xfrm>
                  <a:off x="6259285" y="1529723"/>
                  <a:ext cx="55298" cy="55298"/>
                </a:xfrm>
                <a:custGeom>
                  <a:avLst/>
                  <a:gdLst>
                    <a:gd name="connsiteX0" fmla="*/ 55298 w 55298"/>
                    <a:gd name="connsiteY0" fmla="*/ 27649 h 55298"/>
                    <a:gd name="connsiteX1" fmla="*/ 27649 w 55298"/>
                    <a:gd name="connsiteY1" fmla="*/ 55298 h 55298"/>
                    <a:gd name="connsiteX2" fmla="*/ 0 w 55298"/>
                    <a:gd name="connsiteY2" fmla="*/ 27649 h 55298"/>
                    <a:gd name="connsiteX3" fmla="*/ 27649 w 55298"/>
                    <a:gd name="connsiteY3" fmla="*/ 0 h 55298"/>
                    <a:gd name="connsiteX4" fmla="*/ 55298 w 55298"/>
                    <a:gd name="connsiteY4" fmla="*/ 27649 h 552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5298" h="55298">
                      <a:moveTo>
                        <a:pt x="55298" y="27649"/>
                      </a:moveTo>
                      <a:cubicBezTo>
                        <a:pt x="55298" y="42938"/>
                        <a:pt x="42938" y="55298"/>
                        <a:pt x="27649" y="55298"/>
                      </a:cubicBezTo>
                      <a:cubicBezTo>
                        <a:pt x="12361" y="55298"/>
                        <a:pt x="0" y="42938"/>
                        <a:pt x="0" y="27649"/>
                      </a:cubicBezTo>
                      <a:cubicBezTo>
                        <a:pt x="0" y="12361"/>
                        <a:pt x="12361" y="0"/>
                        <a:pt x="27649" y="0"/>
                      </a:cubicBezTo>
                      <a:cubicBezTo>
                        <a:pt x="42938" y="0"/>
                        <a:pt x="55298" y="12361"/>
                        <a:pt x="55298" y="27649"/>
                      </a:cubicBezTo>
                      <a:close/>
                    </a:path>
                  </a:pathLst>
                </a:custGeom>
                <a:noFill/>
                <a:ln w="19050" cap="sq">
                  <a:solidFill>
                    <a:schemeClr val="bg1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29" name="Forma livre: Forma 28">
                <a:extLst>
                  <a:ext uri="{FF2B5EF4-FFF2-40B4-BE49-F238E27FC236}">
                    <a16:creationId xmlns:a16="http://schemas.microsoft.com/office/drawing/2014/main" id="{E954F21E-5B81-A5FB-3B7E-53F3B0062D80}"/>
                  </a:ext>
                </a:extLst>
              </p:cNvPr>
              <p:cNvSpPr/>
              <p:nvPr/>
            </p:nvSpPr>
            <p:spPr>
              <a:xfrm>
                <a:off x="6152201" y="1686285"/>
                <a:ext cx="37362" cy="20848"/>
              </a:xfrm>
              <a:custGeom>
                <a:avLst/>
                <a:gdLst>
                  <a:gd name="connsiteX0" fmla="*/ 0 w 37362"/>
                  <a:gd name="connsiteY0" fmla="*/ 10505 h 20848"/>
                  <a:gd name="connsiteX1" fmla="*/ 27064 w 37362"/>
                  <a:gd name="connsiteY1" fmla="*/ 2373 h 20848"/>
                  <a:gd name="connsiteX2" fmla="*/ 37343 w 37362"/>
                  <a:gd name="connsiteY2" fmla="*/ 20849 h 208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7362" h="20848">
                    <a:moveTo>
                      <a:pt x="0" y="10505"/>
                    </a:moveTo>
                    <a:cubicBezTo>
                      <a:pt x="5205" y="811"/>
                      <a:pt x="17435" y="-2832"/>
                      <a:pt x="27064" y="2373"/>
                    </a:cubicBezTo>
                    <a:cubicBezTo>
                      <a:pt x="34025" y="6081"/>
                      <a:pt x="37668" y="13432"/>
                      <a:pt x="37343" y="20849"/>
                    </a:cubicBezTo>
                  </a:path>
                </a:pathLst>
              </a:custGeom>
              <a:noFill/>
              <a:ln w="19050" cap="sq">
                <a:solidFill>
                  <a:schemeClr val="bg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42" name="Agrupar 141">
            <a:extLst>
              <a:ext uri="{FF2B5EF4-FFF2-40B4-BE49-F238E27FC236}">
                <a16:creationId xmlns:a16="http://schemas.microsoft.com/office/drawing/2014/main" id="{903D6A2E-917C-519D-9673-F27923D06D32}"/>
              </a:ext>
            </a:extLst>
          </p:cNvPr>
          <p:cNvGrpSpPr/>
          <p:nvPr/>
        </p:nvGrpSpPr>
        <p:grpSpPr>
          <a:xfrm>
            <a:off x="3515653" y="3788984"/>
            <a:ext cx="1117764" cy="1241960"/>
            <a:chOff x="3515653" y="3788984"/>
            <a:chExt cx="1117764" cy="1241960"/>
          </a:xfrm>
        </p:grpSpPr>
        <p:pic>
          <p:nvPicPr>
            <p:cNvPr id="17" name="Gráfico 16">
              <a:extLst>
                <a:ext uri="{FF2B5EF4-FFF2-40B4-BE49-F238E27FC236}">
                  <a16:creationId xmlns:a16="http://schemas.microsoft.com/office/drawing/2014/main" id="{16DCFB48-8263-0C41-1C84-7C07D793BF24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 rot="3661463">
              <a:off x="3453555" y="3851082"/>
              <a:ext cx="1241960" cy="1117764"/>
            </a:xfrm>
            <a:prstGeom prst="rect">
              <a:avLst/>
            </a:prstGeom>
          </p:spPr>
        </p:pic>
        <p:grpSp>
          <p:nvGrpSpPr>
            <p:cNvPr id="46" name="Agrupar 45">
              <a:extLst>
                <a:ext uri="{FF2B5EF4-FFF2-40B4-BE49-F238E27FC236}">
                  <a16:creationId xmlns:a16="http://schemas.microsoft.com/office/drawing/2014/main" id="{E7272AB9-3FA5-DAC1-DA6C-0333E6CAF6C0}"/>
                </a:ext>
              </a:extLst>
            </p:cNvPr>
            <p:cNvGrpSpPr/>
            <p:nvPr/>
          </p:nvGrpSpPr>
          <p:grpSpPr>
            <a:xfrm>
              <a:off x="3834001" y="4130416"/>
              <a:ext cx="398619" cy="435315"/>
              <a:chOff x="6000092" y="1357908"/>
              <a:chExt cx="365300" cy="398929"/>
            </a:xfrm>
          </p:grpSpPr>
          <p:sp>
            <p:nvSpPr>
              <p:cNvPr id="47" name="Forma livre: Forma 46">
                <a:extLst>
                  <a:ext uri="{FF2B5EF4-FFF2-40B4-BE49-F238E27FC236}">
                    <a16:creationId xmlns:a16="http://schemas.microsoft.com/office/drawing/2014/main" id="{56834227-DE2C-54D0-BE7F-7044BD29C250}"/>
                  </a:ext>
                </a:extLst>
              </p:cNvPr>
              <p:cNvSpPr/>
              <p:nvPr/>
            </p:nvSpPr>
            <p:spPr>
              <a:xfrm>
                <a:off x="6000092" y="1418606"/>
                <a:ext cx="84058" cy="286120"/>
              </a:xfrm>
              <a:custGeom>
                <a:avLst/>
                <a:gdLst>
                  <a:gd name="connsiteX0" fmla="*/ 51595 w 84058"/>
                  <a:gd name="connsiteY0" fmla="*/ 0 h 286120"/>
                  <a:gd name="connsiteX1" fmla="*/ 35266 w 84058"/>
                  <a:gd name="connsiteY1" fmla="*/ 61674 h 286120"/>
                  <a:gd name="connsiteX2" fmla="*/ 28760 w 84058"/>
                  <a:gd name="connsiteY2" fmla="*/ 193415 h 286120"/>
                  <a:gd name="connsiteX3" fmla="*/ 84059 w 84058"/>
                  <a:gd name="connsiteY3" fmla="*/ 286121 h 2861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4058" h="286120">
                    <a:moveTo>
                      <a:pt x="51595" y="0"/>
                    </a:moveTo>
                    <a:cubicBezTo>
                      <a:pt x="37868" y="7872"/>
                      <a:pt x="26028" y="24852"/>
                      <a:pt x="35266" y="61674"/>
                    </a:cubicBezTo>
                    <a:cubicBezTo>
                      <a:pt x="35266" y="61674"/>
                      <a:pt x="-39549" y="126731"/>
                      <a:pt x="28760" y="193415"/>
                    </a:cubicBezTo>
                    <a:cubicBezTo>
                      <a:pt x="28760" y="193415"/>
                      <a:pt x="9243" y="281242"/>
                      <a:pt x="84059" y="286121"/>
                    </a:cubicBezTo>
                  </a:path>
                </a:pathLst>
              </a:custGeom>
              <a:noFill/>
              <a:ln w="19050" cap="sq">
                <a:solidFill>
                  <a:schemeClr val="bg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48" name="Gráfico 32">
                <a:extLst>
                  <a:ext uri="{FF2B5EF4-FFF2-40B4-BE49-F238E27FC236}">
                    <a16:creationId xmlns:a16="http://schemas.microsoft.com/office/drawing/2014/main" id="{54044040-7BB8-50AC-E838-EB2B3FA2E8AF}"/>
                  </a:ext>
                </a:extLst>
              </p:cNvPr>
              <p:cNvGrpSpPr/>
              <p:nvPr/>
            </p:nvGrpSpPr>
            <p:grpSpPr>
              <a:xfrm>
                <a:off x="6061121" y="1359924"/>
                <a:ext cx="128487" cy="396366"/>
                <a:chOff x="6061121" y="1359924"/>
                <a:chExt cx="128487" cy="396366"/>
              </a:xfrm>
              <a:noFill/>
            </p:grpSpPr>
            <p:sp>
              <p:nvSpPr>
                <p:cNvPr id="63" name="Forma livre: Forma 62">
                  <a:extLst>
                    <a:ext uri="{FF2B5EF4-FFF2-40B4-BE49-F238E27FC236}">
                      <a16:creationId xmlns:a16="http://schemas.microsoft.com/office/drawing/2014/main" id="{4D2E9E80-5788-252C-CE1F-47D69AFD416A}"/>
                    </a:ext>
                  </a:extLst>
                </p:cNvPr>
                <p:cNvSpPr/>
                <p:nvPr/>
              </p:nvSpPr>
              <p:spPr>
                <a:xfrm>
                  <a:off x="6083891" y="1359924"/>
                  <a:ext cx="105717" cy="396366"/>
                </a:xfrm>
                <a:custGeom>
                  <a:avLst/>
                  <a:gdLst>
                    <a:gd name="connsiteX0" fmla="*/ 52891 w 105717"/>
                    <a:gd name="connsiteY0" fmla="*/ 105718 h 396366"/>
                    <a:gd name="connsiteX1" fmla="*/ 0 w 105717"/>
                    <a:gd name="connsiteY1" fmla="*/ 52891 h 396366"/>
                    <a:gd name="connsiteX2" fmla="*/ 52891 w 105717"/>
                    <a:gd name="connsiteY2" fmla="*/ 0 h 396366"/>
                    <a:gd name="connsiteX3" fmla="*/ 105718 w 105717"/>
                    <a:gd name="connsiteY3" fmla="*/ 52826 h 396366"/>
                    <a:gd name="connsiteX4" fmla="*/ 105718 w 105717"/>
                    <a:gd name="connsiteY4" fmla="*/ 346884 h 396366"/>
                    <a:gd name="connsiteX5" fmla="*/ 80606 w 105717"/>
                    <a:gd name="connsiteY5" fmla="*/ 388911 h 396366"/>
                    <a:gd name="connsiteX6" fmla="*/ 9238 w 105717"/>
                    <a:gd name="connsiteY6" fmla="*/ 371150 h 396366"/>
                    <a:gd name="connsiteX7" fmla="*/ 15484 w 105717"/>
                    <a:gd name="connsiteY7" fmla="*/ 309216 h 396366"/>
                    <a:gd name="connsiteX8" fmla="*/ 45019 w 105717"/>
                    <a:gd name="connsiteY8" fmla="*/ 277078 h 39636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105717" h="396366">
                      <a:moveTo>
                        <a:pt x="52891" y="105718"/>
                      </a:moveTo>
                      <a:cubicBezTo>
                        <a:pt x="23681" y="105718"/>
                        <a:pt x="0" y="82037"/>
                        <a:pt x="0" y="52891"/>
                      </a:cubicBezTo>
                      <a:cubicBezTo>
                        <a:pt x="0" y="23746"/>
                        <a:pt x="23681" y="0"/>
                        <a:pt x="52891" y="0"/>
                      </a:cubicBezTo>
                      <a:cubicBezTo>
                        <a:pt x="82102" y="0"/>
                        <a:pt x="105718" y="23681"/>
                        <a:pt x="105718" y="52826"/>
                      </a:cubicBezTo>
                      <a:lnTo>
                        <a:pt x="105718" y="346884"/>
                      </a:lnTo>
                      <a:cubicBezTo>
                        <a:pt x="105718" y="364580"/>
                        <a:pt x="96414" y="379413"/>
                        <a:pt x="80606" y="388911"/>
                      </a:cubicBezTo>
                      <a:cubicBezTo>
                        <a:pt x="55949" y="403744"/>
                        <a:pt x="24006" y="395742"/>
                        <a:pt x="9238" y="371150"/>
                      </a:cubicBezTo>
                      <a:cubicBezTo>
                        <a:pt x="-2928" y="350918"/>
                        <a:pt x="260" y="325741"/>
                        <a:pt x="15484" y="309216"/>
                      </a:cubicBezTo>
                      <a:lnTo>
                        <a:pt x="45019" y="277078"/>
                      </a:lnTo>
                    </a:path>
                  </a:pathLst>
                </a:custGeom>
                <a:noFill/>
                <a:ln w="19050" cap="sq">
                  <a:solidFill>
                    <a:schemeClr val="bg1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64" name="Forma livre: Forma 63">
                  <a:extLst>
                    <a:ext uri="{FF2B5EF4-FFF2-40B4-BE49-F238E27FC236}">
                      <a16:creationId xmlns:a16="http://schemas.microsoft.com/office/drawing/2014/main" id="{6E6B832B-04DC-C6DB-EB02-44AF181F6DC4}"/>
                    </a:ext>
                  </a:extLst>
                </p:cNvPr>
                <p:cNvSpPr/>
                <p:nvPr/>
              </p:nvSpPr>
              <p:spPr>
                <a:xfrm>
                  <a:off x="6144784" y="1383865"/>
                  <a:ext cx="41563" cy="38963"/>
                </a:xfrm>
                <a:custGeom>
                  <a:avLst/>
                  <a:gdLst>
                    <a:gd name="connsiteX0" fmla="*/ 36172 w 41563"/>
                    <a:gd name="connsiteY0" fmla="*/ 0 h 38963"/>
                    <a:gd name="connsiteX1" fmla="*/ 39425 w 41563"/>
                    <a:gd name="connsiteY1" fmla="*/ 24266 h 38963"/>
                    <a:gd name="connsiteX2" fmla="*/ 36432 w 41563"/>
                    <a:gd name="connsiteY2" fmla="*/ 29080 h 38963"/>
                    <a:gd name="connsiteX3" fmla="*/ 0 w 41563"/>
                    <a:gd name="connsiteY3" fmla="*/ 33439 h 3896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1563" h="38963">
                      <a:moveTo>
                        <a:pt x="36172" y="0"/>
                      </a:moveTo>
                      <a:cubicBezTo>
                        <a:pt x="41571" y="7547"/>
                        <a:pt x="43393" y="16004"/>
                        <a:pt x="39425" y="24266"/>
                      </a:cubicBezTo>
                      <a:cubicBezTo>
                        <a:pt x="38644" y="25893"/>
                        <a:pt x="37603" y="27519"/>
                        <a:pt x="36432" y="29080"/>
                      </a:cubicBezTo>
                      <a:cubicBezTo>
                        <a:pt x="27584" y="40270"/>
                        <a:pt x="11190" y="42287"/>
                        <a:pt x="0" y="33439"/>
                      </a:cubicBezTo>
                    </a:path>
                  </a:pathLst>
                </a:custGeom>
                <a:noFill/>
                <a:ln w="19050" cap="sq">
                  <a:solidFill>
                    <a:schemeClr val="bg1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65" name="Forma livre: Forma 64">
                  <a:extLst>
                    <a:ext uri="{FF2B5EF4-FFF2-40B4-BE49-F238E27FC236}">
                      <a16:creationId xmlns:a16="http://schemas.microsoft.com/office/drawing/2014/main" id="{F49EECA5-DFC2-1161-7990-8C45BE2C1C72}"/>
                    </a:ext>
                  </a:extLst>
                </p:cNvPr>
                <p:cNvSpPr/>
                <p:nvPr/>
              </p:nvSpPr>
              <p:spPr>
                <a:xfrm>
                  <a:off x="6081487" y="1460806"/>
                  <a:ext cx="34217" cy="54474"/>
                </a:xfrm>
                <a:custGeom>
                  <a:avLst/>
                  <a:gdLst>
                    <a:gd name="connsiteX0" fmla="*/ 21076 w 34217"/>
                    <a:gd name="connsiteY0" fmla="*/ 54475 h 54474"/>
                    <a:gd name="connsiteX1" fmla="*/ 778 w 34217"/>
                    <a:gd name="connsiteY1" fmla="*/ 21035 h 54474"/>
                    <a:gd name="connsiteX2" fmla="*/ 34217 w 34217"/>
                    <a:gd name="connsiteY2" fmla="*/ 803 h 544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34217" h="54474">
                      <a:moveTo>
                        <a:pt x="21076" y="54475"/>
                      </a:moveTo>
                      <a:cubicBezTo>
                        <a:pt x="6308" y="50832"/>
                        <a:pt x="-2800" y="35803"/>
                        <a:pt x="778" y="21035"/>
                      </a:cubicBezTo>
                      <a:cubicBezTo>
                        <a:pt x="4421" y="6267"/>
                        <a:pt x="19449" y="-2841"/>
                        <a:pt x="34217" y="803"/>
                      </a:cubicBezTo>
                    </a:path>
                  </a:pathLst>
                </a:custGeom>
                <a:noFill/>
                <a:ln w="19050" cap="sq">
                  <a:solidFill>
                    <a:schemeClr val="bg1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66" name="Forma livre: Forma 65">
                  <a:extLst>
                    <a:ext uri="{FF2B5EF4-FFF2-40B4-BE49-F238E27FC236}">
                      <a16:creationId xmlns:a16="http://schemas.microsoft.com/office/drawing/2014/main" id="{460DC5DA-AC1C-A372-0324-16D91F070316}"/>
                    </a:ext>
                  </a:extLst>
                </p:cNvPr>
                <p:cNvSpPr/>
                <p:nvPr/>
              </p:nvSpPr>
              <p:spPr>
                <a:xfrm>
                  <a:off x="6073547" y="1527543"/>
                  <a:ext cx="114760" cy="72506"/>
                </a:xfrm>
                <a:custGeom>
                  <a:avLst/>
                  <a:gdLst>
                    <a:gd name="connsiteX0" fmla="*/ 114760 w 114760"/>
                    <a:gd name="connsiteY0" fmla="*/ 7254 h 72506"/>
                    <a:gd name="connsiteX1" fmla="*/ 73905 w 114760"/>
                    <a:gd name="connsiteY1" fmla="*/ 8881 h 72506"/>
                    <a:gd name="connsiteX2" fmla="*/ 0 w 114760"/>
                    <a:gd name="connsiteY2" fmla="*/ 72506 h 7250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14760" h="72506">
                      <a:moveTo>
                        <a:pt x="114760" y="7254"/>
                      </a:moveTo>
                      <a:cubicBezTo>
                        <a:pt x="103375" y="-2830"/>
                        <a:pt x="83989" y="-2504"/>
                        <a:pt x="73905" y="8881"/>
                      </a:cubicBezTo>
                      <a:cubicBezTo>
                        <a:pt x="73905" y="8881"/>
                        <a:pt x="31488" y="72506"/>
                        <a:pt x="0" y="72506"/>
                      </a:cubicBezTo>
                    </a:path>
                  </a:pathLst>
                </a:custGeom>
                <a:noFill/>
                <a:ln w="19050" cap="sq">
                  <a:solidFill>
                    <a:schemeClr val="bg1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67" name="Forma livre: Forma 66">
                  <a:extLst>
                    <a:ext uri="{FF2B5EF4-FFF2-40B4-BE49-F238E27FC236}">
                      <a16:creationId xmlns:a16="http://schemas.microsoft.com/office/drawing/2014/main" id="{F15E658B-E0A0-CC4B-9591-2921DA42F3B7}"/>
                    </a:ext>
                  </a:extLst>
                </p:cNvPr>
                <p:cNvSpPr/>
                <p:nvPr/>
              </p:nvSpPr>
              <p:spPr>
                <a:xfrm>
                  <a:off x="6079857" y="1646956"/>
                  <a:ext cx="29405" cy="9823"/>
                </a:xfrm>
                <a:custGeom>
                  <a:avLst/>
                  <a:gdLst>
                    <a:gd name="connsiteX0" fmla="*/ 0 w 29405"/>
                    <a:gd name="connsiteY0" fmla="*/ 0 h 9823"/>
                    <a:gd name="connsiteX1" fmla="*/ 29406 w 29405"/>
                    <a:gd name="connsiteY1" fmla="*/ 9824 h 982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9405" h="9823">
                      <a:moveTo>
                        <a:pt x="0" y="0"/>
                      </a:moveTo>
                      <a:lnTo>
                        <a:pt x="29406" y="9824"/>
                      </a:lnTo>
                    </a:path>
                  </a:pathLst>
                </a:custGeom>
                <a:ln w="19050" cap="sq">
                  <a:solidFill>
                    <a:schemeClr val="bg1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68" name="Forma livre: Forma 67">
                  <a:extLst>
                    <a:ext uri="{FF2B5EF4-FFF2-40B4-BE49-F238E27FC236}">
                      <a16:creationId xmlns:a16="http://schemas.microsoft.com/office/drawing/2014/main" id="{ACC2E697-4F57-0D6E-3B50-853558CC24FF}"/>
                    </a:ext>
                  </a:extLst>
                </p:cNvPr>
                <p:cNvSpPr/>
                <p:nvPr/>
              </p:nvSpPr>
              <p:spPr>
                <a:xfrm>
                  <a:off x="6061121" y="1545272"/>
                  <a:ext cx="47166" cy="34154"/>
                </a:xfrm>
                <a:custGeom>
                  <a:avLst/>
                  <a:gdLst>
                    <a:gd name="connsiteX0" fmla="*/ 0 w 47166"/>
                    <a:gd name="connsiteY0" fmla="*/ 0 h 34154"/>
                    <a:gd name="connsiteX1" fmla="*/ 47166 w 47166"/>
                    <a:gd name="connsiteY1" fmla="*/ 34155 h 3415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7166" h="34154">
                      <a:moveTo>
                        <a:pt x="0" y="0"/>
                      </a:moveTo>
                      <a:cubicBezTo>
                        <a:pt x="0" y="0"/>
                        <a:pt x="27649" y="13011"/>
                        <a:pt x="47166" y="34155"/>
                      </a:cubicBezTo>
                    </a:path>
                  </a:pathLst>
                </a:custGeom>
                <a:noFill/>
                <a:ln w="19050" cap="sq">
                  <a:solidFill>
                    <a:schemeClr val="bg1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49" name="Gráfico 32">
                <a:extLst>
                  <a:ext uri="{FF2B5EF4-FFF2-40B4-BE49-F238E27FC236}">
                    <a16:creationId xmlns:a16="http://schemas.microsoft.com/office/drawing/2014/main" id="{34EFA838-AC46-ED47-4B5D-B655E016A76C}"/>
                  </a:ext>
                </a:extLst>
              </p:cNvPr>
              <p:cNvGrpSpPr/>
              <p:nvPr/>
            </p:nvGrpSpPr>
            <p:grpSpPr>
              <a:xfrm>
                <a:off x="6191625" y="1599725"/>
                <a:ext cx="173767" cy="157112"/>
                <a:chOff x="6191625" y="1599725"/>
                <a:chExt cx="173767" cy="157112"/>
              </a:xfrm>
              <a:noFill/>
            </p:grpSpPr>
            <p:sp>
              <p:nvSpPr>
                <p:cNvPr id="59" name="Forma livre: Forma 58">
                  <a:extLst>
                    <a:ext uri="{FF2B5EF4-FFF2-40B4-BE49-F238E27FC236}">
                      <a16:creationId xmlns:a16="http://schemas.microsoft.com/office/drawing/2014/main" id="{409D70A4-C171-4360-6C84-9911F26E1340}"/>
                    </a:ext>
                  </a:extLst>
                </p:cNvPr>
                <p:cNvSpPr/>
                <p:nvPr/>
              </p:nvSpPr>
              <p:spPr>
                <a:xfrm>
                  <a:off x="6310094" y="1621974"/>
                  <a:ext cx="55298" cy="55298"/>
                </a:xfrm>
                <a:custGeom>
                  <a:avLst/>
                  <a:gdLst>
                    <a:gd name="connsiteX0" fmla="*/ 55298 w 55298"/>
                    <a:gd name="connsiteY0" fmla="*/ 27649 h 55298"/>
                    <a:gd name="connsiteX1" fmla="*/ 27649 w 55298"/>
                    <a:gd name="connsiteY1" fmla="*/ 55298 h 55298"/>
                    <a:gd name="connsiteX2" fmla="*/ 0 w 55298"/>
                    <a:gd name="connsiteY2" fmla="*/ 27649 h 55298"/>
                    <a:gd name="connsiteX3" fmla="*/ 27649 w 55298"/>
                    <a:gd name="connsiteY3" fmla="*/ 0 h 55298"/>
                    <a:gd name="connsiteX4" fmla="*/ 55298 w 55298"/>
                    <a:gd name="connsiteY4" fmla="*/ 27649 h 552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5298" h="55298">
                      <a:moveTo>
                        <a:pt x="55298" y="27649"/>
                      </a:moveTo>
                      <a:cubicBezTo>
                        <a:pt x="55298" y="42938"/>
                        <a:pt x="42938" y="55298"/>
                        <a:pt x="27649" y="55298"/>
                      </a:cubicBezTo>
                      <a:cubicBezTo>
                        <a:pt x="12361" y="55298"/>
                        <a:pt x="0" y="42938"/>
                        <a:pt x="0" y="27649"/>
                      </a:cubicBezTo>
                      <a:cubicBezTo>
                        <a:pt x="0" y="12361"/>
                        <a:pt x="12361" y="0"/>
                        <a:pt x="27649" y="0"/>
                      </a:cubicBezTo>
                      <a:cubicBezTo>
                        <a:pt x="42938" y="0"/>
                        <a:pt x="55298" y="12361"/>
                        <a:pt x="55298" y="27649"/>
                      </a:cubicBezTo>
                      <a:close/>
                    </a:path>
                  </a:pathLst>
                </a:custGeom>
                <a:noFill/>
                <a:ln w="19050" cap="sq">
                  <a:solidFill>
                    <a:schemeClr val="bg1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60" name="Forma livre: Forma 59">
                  <a:extLst>
                    <a:ext uri="{FF2B5EF4-FFF2-40B4-BE49-F238E27FC236}">
                      <a16:creationId xmlns:a16="http://schemas.microsoft.com/office/drawing/2014/main" id="{FA9FC88D-2E03-8D10-12AA-8988AB8B86A9}"/>
                    </a:ext>
                  </a:extLst>
                </p:cNvPr>
                <p:cNvSpPr/>
                <p:nvPr/>
              </p:nvSpPr>
              <p:spPr>
                <a:xfrm>
                  <a:off x="6191625" y="1599725"/>
                  <a:ext cx="118078" cy="49898"/>
                </a:xfrm>
                <a:custGeom>
                  <a:avLst/>
                  <a:gdLst>
                    <a:gd name="connsiteX0" fmla="*/ 0 w 118078"/>
                    <a:gd name="connsiteY0" fmla="*/ 0 h 49898"/>
                    <a:gd name="connsiteX1" fmla="*/ 37343 w 118078"/>
                    <a:gd name="connsiteY1" fmla="*/ 0 h 49898"/>
                    <a:gd name="connsiteX2" fmla="*/ 87176 w 118078"/>
                    <a:gd name="connsiteY2" fmla="*/ 49899 h 49898"/>
                    <a:gd name="connsiteX3" fmla="*/ 118078 w 118078"/>
                    <a:gd name="connsiteY3" fmla="*/ 49899 h 498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18078" h="49898">
                      <a:moveTo>
                        <a:pt x="0" y="0"/>
                      </a:moveTo>
                      <a:lnTo>
                        <a:pt x="37343" y="0"/>
                      </a:lnTo>
                      <a:lnTo>
                        <a:pt x="87176" y="49899"/>
                      </a:lnTo>
                      <a:lnTo>
                        <a:pt x="118078" y="49899"/>
                      </a:lnTo>
                    </a:path>
                  </a:pathLst>
                </a:custGeom>
                <a:noFill/>
                <a:ln w="19050" cap="sq">
                  <a:solidFill>
                    <a:schemeClr val="bg1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61" name="Forma livre: Forma 60">
                  <a:extLst>
                    <a:ext uri="{FF2B5EF4-FFF2-40B4-BE49-F238E27FC236}">
                      <a16:creationId xmlns:a16="http://schemas.microsoft.com/office/drawing/2014/main" id="{DE533C67-31EE-905E-94D3-1BF26D07832C}"/>
                    </a:ext>
                  </a:extLst>
                </p:cNvPr>
                <p:cNvSpPr/>
                <p:nvPr/>
              </p:nvSpPr>
              <p:spPr>
                <a:xfrm>
                  <a:off x="6191625" y="1665367"/>
                  <a:ext cx="81906" cy="44108"/>
                </a:xfrm>
                <a:custGeom>
                  <a:avLst/>
                  <a:gdLst>
                    <a:gd name="connsiteX0" fmla="*/ 0 w 81906"/>
                    <a:gd name="connsiteY0" fmla="*/ 0 h 44108"/>
                    <a:gd name="connsiteX1" fmla="*/ 37343 w 81906"/>
                    <a:gd name="connsiteY1" fmla="*/ 0 h 44108"/>
                    <a:gd name="connsiteX2" fmla="*/ 81907 w 81906"/>
                    <a:gd name="connsiteY2" fmla="*/ 44109 h 4410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81906" h="44108">
                      <a:moveTo>
                        <a:pt x="0" y="0"/>
                      </a:moveTo>
                      <a:lnTo>
                        <a:pt x="37343" y="0"/>
                      </a:lnTo>
                      <a:lnTo>
                        <a:pt x="81907" y="44109"/>
                      </a:lnTo>
                    </a:path>
                  </a:pathLst>
                </a:custGeom>
                <a:noFill/>
                <a:ln w="19050" cap="sq">
                  <a:solidFill>
                    <a:schemeClr val="bg1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62" name="Forma livre: Forma 61">
                  <a:extLst>
                    <a:ext uri="{FF2B5EF4-FFF2-40B4-BE49-F238E27FC236}">
                      <a16:creationId xmlns:a16="http://schemas.microsoft.com/office/drawing/2014/main" id="{51DF6566-6C5D-19F2-911B-D3C5F89951B4}"/>
                    </a:ext>
                  </a:extLst>
                </p:cNvPr>
                <p:cNvSpPr/>
                <p:nvPr/>
              </p:nvSpPr>
              <p:spPr>
                <a:xfrm>
                  <a:off x="6265075" y="1701539"/>
                  <a:ext cx="55298" cy="55298"/>
                </a:xfrm>
                <a:custGeom>
                  <a:avLst/>
                  <a:gdLst>
                    <a:gd name="connsiteX0" fmla="*/ 55298 w 55298"/>
                    <a:gd name="connsiteY0" fmla="*/ 27649 h 55298"/>
                    <a:gd name="connsiteX1" fmla="*/ 27649 w 55298"/>
                    <a:gd name="connsiteY1" fmla="*/ 55298 h 55298"/>
                    <a:gd name="connsiteX2" fmla="*/ 0 w 55298"/>
                    <a:gd name="connsiteY2" fmla="*/ 27649 h 55298"/>
                    <a:gd name="connsiteX3" fmla="*/ 27649 w 55298"/>
                    <a:gd name="connsiteY3" fmla="*/ 0 h 55298"/>
                    <a:gd name="connsiteX4" fmla="*/ 55298 w 55298"/>
                    <a:gd name="connsiteY4" fmla="*/ 27649 h 552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5298" h="55298">
                      <a:moveTo>
                        <a:pt x="55298" y="27649"/>
                      </a:moveTo>
                      <a:cubicBezTo>
                        <a:pt x="55298" y="42938"/>
                        <a:pt x="42938" y="55298"/>
                        <a:pt x="27649" y="55298"/>
                      </a:cubicBezTo>
                      <a:cubicBezTo>
                        <a:pt x="12361" y="55298"/>
                        <a:pt x="0" y="42938"/>
                        <a:pt x="0" y="27649"/>
                      </a:cubicBezTo>
                      <a:cubicBezTo>
                        <a:pt x="0" y="12361"/>
                        <a:pt x="12361" y="0"/>
                        <a:pt x="27649" y="0"/>
                      </a:cubicBezTo>
                      <a:cubicBezTo>
                        <a:pt x="42938" y="0"/>
                        <a:pt x="55298" y="12361"/>
                        <a:pt x="55298" y="27649"/>
                      </a:cubicBezTo>
                      <a:close/>
                    </a:path>
                  </a:pathLst>
                </a:custGeom>
                <a:noFill/>
                <a:ln w="19050" cap="sq">
                  <a:solidFill>
                    <a:schemeClr val="bg1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50" name="Gráfico 32">
                <a:extLst>
                  <a:ext uri="{FF2B5EF4-FFF2-40B4-BE49-F238E27FC236}">
                    <a16:creationId xmlns:a16="http://schemas.microsoft.com/office/drawing/2014/main" id="{350CFF59-157A-1E46-2AA1-3F6CDA82D70E}"/>
                  </a:ext>
                </a:extLst>
              </p:cNvPr>
              <p:cNvGrpSpPr/>
              <p:nvPr/>
            </p:nvGrpSpPr>
            <p:grpSpPr>
              <a:xfrm>
                <a:off x="6191625" y="1357908"/>
                <a:ext cx="173767" cy="157112"/>
                <a:chOff x="6191625" y="1357908"/>
                <a:chExt cx="173767" cy="157112"/>
              </a:xfrm>
              <a:noFill/>
            </p:grpSpPr>
            <p:sp>
              <p:nvSpPr>
                <p:cNvPr id="55" name="Forma livre: Forma 54">
                  <a:extLst>
                    <a:ext uri="{FF2B5EF4-FFF2-40B4-BE49-F238E27FC236}">
                      <a16:creationId xmlns:a16="http://schemas.microsoft.com/office/drawing/2014/main" id="{69E911A3-2B95-4DA9-739F-7C3440EE6B07}"/>
                    </a:ext>
                  </a:extLst>
                </p:cNvPr>
                <p:cNvSpPr/>
                <p:nvPr/>
              </p:nvSpPr>
              <p:spPr>
                <a:xfrm>
                  <a:off x="6310094" y="1437472"/>
                  <a:ext cx="55298" cy="55298"/>
                </a:xfrm>
                <a:custGeom>
                  <a:avLst/>
                  <a:gdLst>
                    <a:gd name="connsiteX0" fmla="*/ 55298 w 55298"/>
                    <a:gd name="connsiteY0" fmla="*/ 27649 h 55298"/>
                    <a:gd name="connsiteX1" fmla="*/ 27649 w 55298"/>
                    <a:gd name="connsiteY1" fmla="*/ 0 h 55298"/>
                    <a:gd name="connsiteX2" fmla="*/ 0 w 55298"/>
                    <a:gd name="connsiteY2" fmla="*/ 27649 h 55298"/>
                    <a:gd name="connsiteX3" fmla="*/ 27649 w 55298"/>
                    <a:gd name="connsiteY3" fmla="*/ 55298 h 55298"/>
                    <a:gd name="connsiteX4" fmla="*/ 55298 w 55298"/>
                    <a:gd name="connsiteY4" fmla="*/ 27649 h 552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5298" h="55298">
                      <a:moveTo>
                        <a:pt x="55298" y="27649"/>
                      </a:moveTo>
                      <a:cubicBezTo>
                        <a:pt x="55298" y="12361"/>
                        <a:pt x="42938" y="0"/>
                        <a:pt x="27649" y="0"/>
                      </a:cubicBezTo>
                      <a:cubicBezTo>
                        <a:pt x="12361" y="0"/>
                        <a:pt x="0" y="12361"/>
                        <a:pt x="0" y="27649"/>
                      </a:cubicBezTo>
                      <a:cubicBezTo>
                        <a:pt x="0" y="42938"/>
                        <a:pt x="12361" y="55298"/>
                        <a:pt x="27649" y="55298"/>
                      </a:cubicBezTo>
                      <a:cubicBezTo>
                        <a:pt x="42938" y="55298"/>
                        <a:pt x="55298" y="42938"/>
                        <a:pt x="55298" y="27649"/>
                      </a:cubicBezTo>
                      <a:close/>
                    </a:path>
                  </a:pathLst>
                </a:custGeom>
                <a:noFill/>
                <a:ln w="19050" cap="sq">
                  <a:solidFill>
                    <a:schemeClr val="bg1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56" name="Forma livre: Forma 55">
                  <a:extLst>
                    <a:ext uri="{FF2B5EF4-FFF2-40B4-BE49-F238E27FC236}">
                      <a16:creationId xmlns:a16="http://schemas.microsoft.com/office/drawing/2014/main" id="{1C4268AF-961A-45D4-7AD1-169D87ABA8C6}"/>
                    </a:ext>
                  </a:extLst>
                </p:cNvPr>
                <p:cNvSpPr/>
                <p:nvPr/>
              </p:nvSpPr>
              <p:spPr>
                <a:xfrm>
                  <a:off x="6191625" y="1465122"/>
                  <a:ext cx="118468" cy="49898"/>
                </a:xfrm>
                <a:custGeom>
                  <a:avLst/>
                  <a:gdLst>
                    <a:gd name="connsiteX0" fmla="*/ 0 w 118468"/>
                    <a:gd name="connsiteY0" fmla="*/ 49899 h 49898"/>
                    <a:gd name="connsiteX1" fmla="*/ 37343 w 118468"/>
                    <a:gd name="connsiteY1" fmla="*/ 49899 h 49898"/>
                    <a:gd name="connsiteX2" fmla="*/ 87176 w 118468"/>
                    <a:gd name="connsiteY2" fmla="*/ 0 h 49898"/>
                    <a:gd name="connsiteX3" fmla="*/ 118469 w 118468"/>
                    <a:gd name="connsiteY3" fmla="*/ 0 h 498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18468" h="49898">
                      <a:moveTo>
                        <a:pt x="0" y="49899"/>
                      </a:moveTo>
                      <a:lnTo>
                        <a:pt x="37343" y="49899"/>
                      </a:lnTo>
                      <a:lnTo>
                        <a:pt x="87176" y="0"/>
                      </a:lnTo>
                      <a:lnTo>
                        <a:pt x="118469" y="0"/>
                      </a:lnTo>
                    </a:path>
                  </a:pathLst>
                </a:custGeom>
                <a:noFill/>
                <a:ln w="19050" cap="sq">
                  <a:solidFill>
                    <a:schemeClr val="bg1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57" name="Forma livre: Forma 56">
                  <a:extLst>
                    <a:ext uri="{FF2B5EF4-FFF2-40B4-BE49-F238E27FC236}">
                      <a16:creationId xmlns:a16="http://schemas.microsoft.com/office/drawing/2014/main" id="{BFA7E672-5909-DDF7-8E82-DF43BB3E8E1F}"/>
                    </a:ext>
                  </a:extLst>
                </p:cNvPr>
                <p:cNvSpPr/>
                <p:nvPr/>
              </p:nvSpPr>
              <p:spPr>
                <a:xfrm>
                  <a:off x="6191625" y="1405269"/>
                  <a:ext cx="81451" cy="44043"/>
                </a:xfrm>
                <a:custGeom>
                  <a:avLst/>
                  <a:gdLst>
                    <a:gd name="connsiteX0" fmla="*/ 0 w 81451"/>
                    <a:gd name="connsiteY0" fmla="*/ 44044 h 44043"/>
                    <a:gd name="connsiteX1" fmla="*/ 37343 w 81451"/>
                    <a:gd name="connsiteY1" fmla="*/ 44044 h 44043"/>
                    <a:gd name="connsiteX2" fmla="*/ 81451 w 81451"/>
                    <a:gd name="connsiteY2" fmla="*/ 0 h 4404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81451" h="44043">
                      <a:moveTo>
                        <a:pt x="0" y="44044"/>
                      </a:moveTo>
                      <a:lnTo>
                        <a:pt x="37343" y="44044"/>
                      </a:lnTo>
                      <a:lnTo>
                        <a:pt x="81451" y="0"/>
                      </a:lnTo>
                    </a:path>
                  </a:pathLst>
                </a:custGeom>
                <a:noFill/>
                <a:ln w="19050" cap="sq">
                  <a:solidFill>
                    <a:schemeClr val="bg1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58" name="Forma livre: Forma 57">
                  <a:extLst>
                    <a:ext uri="{FF2B5EF4-FFF2-40B4-BE49-F238E27FC236}">
                      <a16:creationId xmlns:a16="http://schemas.microsoft.com/office/drawing/2014/main" id="{6EB52BA1-D678-8D0E-7D1B-89FA5CEA9B55}"/>
                    </a:ext>
                  </a:extLst>
                </p:cNvPr>
                <p:cNvSpPr/>
                <p:nvPr/>
              </p:nvSpPr>
              <p:spPr>
                <a:xfrm>
                  <a:off x="6265075" y="1357908"/>
                  <a:ext cx="55298" cy="55298"/>
                </a:xfrm>
                <a:custGeom>
                  <a:avLst/>
                  <a:gdLst>
                    <a:gd name="connsiteX0" fmla="*/ 55298 w 55298"/>
                    <a:gd name="connsiteY0" fmla="*/ 27649 h 55298"/>
                    <a:gd name="connsiteX1" fmla="*/ 27649 w 55298"/>
                    <a:gd name="connsiteY1" fmla="*/ 0 h 55298"/>
                    <a:gd name="connsiteX2" fmla="*/ 0 w 55298"/>
                    <a:gd name="connsiteY2" fmla="*/ 27649 h 55298"/>
                    <a:gd name="connsiteX3" fmla="*/ 27649 w 55298"/>
                    <a:gd name="connsiteY3" fmla="*/ 55298 h 55298"/>
                    <a:gd name="connsiteX4" fmla="*/ 55298 w 55298"/>
                    <a:gd name="connsiteY4" fmla="*/ 27649 h 552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5298" h="55298">
                      <a:moveTo>
                        <a:pt x="55298" y="27649"/>
                      </a:moveTo>
                      <a:cubicBezTo>
                        <a:pt x="55298" y="12361"/>
                        <a:pt x="42938" y="0"/>
                        <a:pt x="27649" y="0"/>
                      </a:cubicBezTo>
                      <a:cubicBezTo>
                        <a:pt x="12361" y="0"/>
                        <a:pt x="0" y="12361"/>
                        <a:pt x="0" y="27649"/>
                      </a:cubicBezTo>
                      <a:cubicBezTo>
                        <a:pt x="0" y="42938"/>
                        <a:pt x="12361" y="55298"/>
                        <a:pt x="27649" y="55298"/>
                      </a:cubicBezTo>
                      <a:cubicBezTo>
                        <a:pt x="42938" y="55298"/>
                        <a:pt x="55298" y="42938"/>
                        <a:pt x="55298" y="27649"/>
                      </a:cubicBezTo>
                      <a:close/>
                    </a:path>
                  </a:pathLst>
                </a:custGeom>
                <a:noFill/>
                <a:ln w="19050" cap="sq">
                  <a:solidFill>
                    <a:schemeClr val="bg1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51" name="Gráfico 32">
                <a:extLst>
                  <a:ext uri="{FF2B5EF4-FFF2-40B4-BE49-F238E27FC236}">
                    <a16:creationId xmlns:a16="http://schemas.microsoft.com/office/drawing/2014/main" id="{69438A6E-B1F1-CA41-FF4D-3C9F62799086}"/>
                  </a:ext>
                </a:extLst>
              </p:cNvPr>
              <p:cNvGrpSpPr/>
              <p:nvPr/>
            </p:nvGrpSpPr>
            <p:grpSpPr>
              <a:xfrm>
                <a:off x="6190910" y="1529723"/>
                <a:ext cx="123673" cy="55298"/>
                <a:chOff x="6190910" y="1529723"/>
                <a:chExt cx="123673" cy="55298"/>
              </a:xfrm>
              <a:noFill/>
            </p:grpSpPr>
            <p:sp>
              <p:nvSpPr>
                <p:cNvPr id="53" name="Forma livre: Forma 52">
                  <a:extLst>
                    <a:ext uri="{FF2B5EF4-FFF2-40B4-BE49-F238E27FC236}">
                      <a16:creationId xmlns:a16="http://schemas.microsoft.com/office/drawing/2014/main" id="{4FF5916B-458A-B95D-BA7A-5F55F34021A4}"/>
                    </a:ext>
                  </a:extLst>
                </p:cNvPr>
                <p:cNvSpPr/>
                <p:nvPr/>
              </p:nvSpPr>
              <p:spPr>
                <a:xfrm>
                  <a:off x="6190910" y="1557372"/>
                  <a:ext cx="68765" cy="6505"/>
                </a:xfrm>
                <a:custGeom>
                  <a:avLst/>
                  <a:gdLst>
                    <a:gd name="connsiteX0" fmla="*/ 0 w 68765"/>
                    <a:gd name="connsiteY0" fmla="*/ 0 h 6505"/>
                    <a:gd name="connsiteX1" fmla="*/ 68765 w 68765"/>
                    <a:gd name="connsiteY1" fmla="*/ 0 h 650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68765" h="6505">
                      <a:moveTo>
                        <a:pt x="0" y="0"/>
                      </a:moveTo>
                      <a:lnTo>
                        <a:pt x="68765" y="0"/>
                      </a:lnTo>
                    </a:path>
                  </a:pathLst>
                </a:custGeom>
                <a:ln w="19050" cap="sq">
                  <a:solidFill>
                    <a:schemeClr val="bg1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54" name="Forma livre: Forma 53">
                  <a:extLst>
                    <a:ext uri="{FF2B5EF4-FFF2-40B4-BE49-F238E27FC236}">
                      <a16:creationId xmlns:a16="http://schemas.microsoft.com/office/drawing/2014/main" id="{ABF8E1D5-7723-09E8-F222-03173BA572B4}"/>
                    </a:ext>
                  </a:extLst>
                </p:cNvPr>
                <p:cNvSpPr/>
                <p:nvPr/>
              </p:nvSpPr>
              <p:spPr>
                <a:xfrm>
                  <a:off x="6259285" y="1529723"/>
                  <a:ext cx="55298" cy="55298"/>
                </a:xfrm>
                <a:custGeom>
                  <a:avLst/>
                  <a:gdLst>
                    <a:gd name="connsiteX0" fmla="*/ 55298 w 55298"/>
                    <a:gd name="connsiteY0" fmla="*/ 27649 h 55298"/>
                    <a:gd name="connsiteX1" fmla="*/ 27649 w 55298"/>
                    <a:gd name="connsiteY1" fmla="*/ 55298 h 55298"/>
                    <a:gd name="connsiteX2" fmla="*/ 0 w 55298"/>
                    <a:gd name="connsiteY2" fmla="*/ 27649 h 55298"/>
                    <a:gd name="connsiteX3" fmla="*/ 27649 w 55298"/>
                    <a:gd name="connsiteY3" fmla="*/ 0 h 55298"/>
                    <a:gd name="connsiteX4" fmla="*/ 55298 w 55298"/>
                    <a:gd name="connsiteY4" fmla="*/ 27649 h 552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5298" h="55298">
                      <a:moveTo>
                        <a:pt x="55298" y="27649"/>
                      </a:moveTo>
                      <a:cubicBezTo>
                        <a:pt x="55298" y="42938"/>
                        <a:pt x="42938" y="55298"/>
                        <a:pt x="27649" y="55298"/>
                      </a:cubicBezTo>
                      <a:cubicBezTo>
                        <a:pt x="12361" y="55298"/>
                        <a:pt x="0" y="42938"/>
                        <a:pt x="0" y="27649"/>
                      </a:cubicBezTo>
                      <a:cubicBezTo>
                        <a:pt x="0" y="12361"/>
                        <a:pt x="12361" y="0"/>
                        <a:pt x="27649" y="0"/>
                      </a:cubicBezTo>
                      <a:cubicBezTo>
                        <a:pt x="42938" y="0"/>
                        <a:pt x="55298" y="12361"/>
                        <a:pt x="55298" y="27649"/>
                      </a:cubicBezTo>
                      <a:close/>
                    </a:path>
                  </a:pathLst>
                </a:custGeom>
                <a:noFill/>
                <a:ln w="19050" cap="sq">
                  <a:solidFill>
                    <a:schemeClr val="bg1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52" name="Forma livre: Forma 51">
                <a:extLst>
                  <a:ext uri="{FF2B5EF4-FFF2-40B4-BE49-F238E27FC236}">
                    <a16:creationId xmlns:a16="http://schemas.microsoft.com/office/drawing/2014/main" id="{9863A9CB-9DB3-6DF7-C43E-1D7008F18E5E}"/>
                  </a:ext>
                </a:extLst>
              </p:cNvPr>
              <p:cNvSpPr/>
              <p:nvPr/>
            </p:nvSpPr>
            <p:spPr>
              <a:xfrm>
                <a:off x="6152201" y="1686285"/>
                <a:ext cx="37362" cy="20848"/>
              </a:xfrm>
              <a:custGeom>
                <a:avLst/>
                <a:gdLst>
                  <a:gd name="connsiteX0" fmla="*/ 0 w 37362"/>
                  <a:gd name="connsiteY0" fmla="*/ 10505 h 20848"/>
                  <a:gd name="connsiteX1" fmla="*/ 27064 w 37362"/>
                  <a:gd name="connsiteY1" fmla="*/ 2373 h 20848"/>
                  <a:gd name="connsiteX2" fmla="*/ 37343 w 37362"/>
                  <a:gd name="connsiteY2" fmla="*/ 20849 h 208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7362" h="20848">
                    <a:moveTo>
                      <a:pt x="0" y="10505"/>
                    </a:moveTo>
                    <a:cubicBezTo>
                      <a:pt x="5205" y="811"/>
                      <a:pt x="17435" y="-2832"/>
                      <a:pt x="27064" y="2373"/>
                    </a:cubicBezTo>
                    <a:cubicBezTo>
                      <a:pt x="34025" y="6081"/>
                      <a:pt x="37668" y="13432"/>
                      <a:pt x="37343" y="20849"/>
                    </a:cubicBezTo>
                  </a:path>
                </a:pathLst>
              </a:custGeom>
              <a:noFill/>
              <a:ln w="19050" cap="sq">
                <a:solidFill>
                  <a:schemeClr val="bg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43" name="Agrupar 142">
            <a:extLst>
              <a:ext uri="{FF2B5EF4-FFF2-40B4-BE49-F238E27FC236}">
                <a16:creationId xmlns:a16="http://schemas.microsoft.com/office/drawing/2014/main" id="{13FBD0A3-B7D3-28A1-830A-A5E179461C7E}"/>
              </a:ext>
            </a:extLst>
          </p:cNvPr>
          <p:cNvGrpSpPr/>
          <p:nvPr/>
        </p:nvGrpSpPr>
        <p:grpSpPr>
          <a:xfrm>
            <a:off x="5537118" y="3078431"/>
            <a:ext cx="1117764" cy="1241960"/>
            <a:chOff x="5537118" y="3078431"/>
            <a:chExt cx="1117764" cy="1241960"/>
          </a:xfrm>
          <a:solidFill>
            <a:srgbClr val="132153"/>
          </a:solidFill>
        </p:grpSpPr>
        <p:pic>
          <p:nvPicPr>
            <p:cNvPr id="19" name="Gráfico 18">
              <a:extLst>
                <a:ext uri="{FF2B5EF4-FFF2-40B4-BE49-F238E27FC236}">
                  <a16:creationId xmlns:a16="http://schemas.microsoft.com/office/drawing/2014/main" id="{519DC392-C3DA-60E5-BE6D-8B163C1848A3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 rot="14931760" flipH="1">
              <a:off x="5475020" y="3140529"/>
              <a:ext cx="1241960" cy="1117764"/>
            </a:xfrm>
            <a:prstGeom prst="rect">
              <a:avLst/>
            </a:prstGeom>
          </p:spPr>
        </p:pic>
        <p:grpSp>
          <p:nvGrpSpPr>
            <p:cNvPr id="69" name="Agrupar 68">
              <a:extLst>
                <a:ext uri="{FF2B5EF4-FFF2-40B4-BE49-F238E27FC236}">
                  <a16:creationId xmlns:a16="http://schemas.microsoft.com/office/drawing/2014/main" id="{BFAAB051-AC9E-0E29-F26B-75B19C5EC373}"/>
                </a:ext>
              </a:extLst>
            </p:cNvPr>
            <p:cNvGrpSpPr/>
            <p:nvPr/>
          </p:nvGrpSpPr>
          <p:grpSpPr>
            <a:xfrm>
              <a:off x="5893830" y="3429000"/>
              <a:ext cx="398619" cy="435315"/>
              <a:chOff x="6000092" y="1357908"/>
              <a:chExt cx="365300" cy="398929"/>
            </a:xfrm>
            <a:grpFill/>
          </p:grpSpPr>
          <p:sp>
            <p:nvSpPr>
              <p:cNvPr id="70" name="Forma livre: Forma 69">
                <a:extLst>
                  <a:ext uri="{FF2B5EF4-FFF2-40B4-BE49-F238E27FC236}">
                    <a16:creationId xmlns:a16="http://schemas.microsoft.com/office/drawing/2014/main" id="{8D8C0486-C0C8-AB9E-6F36-67B15E42F25F}"/>
                  </a:ext>
                </a:extLst>
              </p:cNvPr>
              <p:cNvSpPr/>
              <p:nvPr/>
            </p:nvSpPr>
            <p:spPr>
              <a:xfrm>
                <a:off x="6000092" y="1418606"/>
                <a:ext cx="84058" cy="286120"/>
              </a:xfrm>
              <a:custGeom>
                <a:avLst/>
                <a:gdLst>
                  <a:gd name="connsiteX0" fmla="*/ 51595 w 84058"/>
                  <a:gd name="connsiteY0" fmla="*/ 0 h 286120"/>
                  <a:gd name="connsiteX1" fmla="*/ 35266 w 84058"/>
                  <a:gd name="connsiteY1" fmla="*/ 61674 h 286120"/>
                  <a:gd name="connsiteX2" fmla="*/ 28760 w 84058"/>
                  <a:gd name="connsiteY2" fmla="*/ 193415 h 286120"/>
                  <a:gd name="connsiteX3" fmla="*/ 84059 w 84058"/>
                  <a:gd name="connsiteY3" fmla="*/ 286121 h 2861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4058" h="286120">
                    <a:moveTo>
                      <a:pt x="51595" y="0"/>
                    </a:moveTo>
                    <a:cubicBezTo>
                      <a:pt x="37868" y="7872"/>
                      <a:pt x="26028" y="24852"/>
                      <a:pt x="35266" y="61674"/>
                    </a:cubicBezTo>
                    <a:cubicBezTo>
                      <a:pt x="35266" y="61674"/>
                      <a:pt x="-39549" y="126731"/>
                      <a:pt x="28760" y="193415"/>
                    </a:cubicBezTo>
                    <a:cubicBezTo>
                      <a:pt x="28760" y="193415"/>
                      <a:pt x="9243" y="281242"/>
                      <a:pt x="84059" y="286121"/>
                    </a:cubicBezTo>
                  </a:path>
                </a:pathLst>
              </a:custGeom>
              <a:grpFill/>
              <a:ln w="19050" cap="sq">
                <a:solidFill>
                  <a:srgbClr val="F7F7F7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71" name="Gráfico 32">
                <a:extLst>
                  <a:ext uri="{FF2B5EF4-FFF2-40B4-BE49-F238E27FC236}">
                    <a16:creationId xmlns:a16="http://schemas.microsoft.com/office/drawing/2014/main" id="{16085B09-2021-342E-19C5-9D1732C87B89}"/>
                  </a:ext>
                </a:extLst>
              </p:cNvPr>
              <p:cNvGrpSpPr/>
              <p:nvPr/>
            </p:nvGrpSpPr>
            <p:grpSpPr>
              <a:xfrm>
                <a:off x="6061121" y="1359924"/>
                <a:ext cx="128487" cy="396366"/>
                <a:chOff x="6061121" y="1359924"/>
                <a:chExt cx="128487" cy="396366"/>
              </a:xfrm>
              <a:grpFill/>
            </p:grpSpPr>
            <p:sp>
              <p:nvSpPr>
                <p:cNvPr id="86" name="Forma livre: Forma 85">
                  <a:extLst>
                    <a:ext uri="{FF2B5EF4-FFF2-40B4-BE49-F238E27FC236}">
                      <a16:creationId xmlns:a16="http://schemas.microsoft.com/office/drawing/2014/main" id="{2424D9BB-0B35-3BD0-7F1C-CD77E0AC51D9}"/>
                    </a:ext>
                  </a:extLst>
                </p:cNvPr>
                <p:cNvSpPr/>
                <p:nvPr/>
              </p:nvSpPr>
              <p:spPr>
                <a:xfrm>
                  <a:off x="6083891" y="1359924"/>
                  <a:ext cx="105717" cy="396366"/>
                </a:xfrm>
                <a:custGeom>
                  <a:avLst/>
                  <a:gdLst>
                    <a:gd name="connsiteX0" fmla="*/ 52891 w 105717"/>
                    <a:gd name="connsiteY0" fmla="*/ 105718 h 396366"/>
                    <a:gd name="connsiteX1" fmla="*/ 0 w 105717"/>
                    <a:gd name="connsiteY1" fmla="*/ 52891 h 396366"/>
                    <a:gd name="connsiteX2" fmla="*/ 52891 w 105717"/>
                    <a:gd name="connsiteY2" fmla="*/ 0 h 396366"/>
                    <a:gd name="connsiteX3" fmla="*/ 105718 w 105717"/>
                    <a:gd name="connsiteY3" fmla="*/ 52826 h 396366"/>
                    <a:gd name="connsiteX4" fmla="*/ 105718 w 105717"/>
                    <a:gd name="connsiteY4" fmla="*/ 346884 h 396366"/>
                    <a:gd name="connsiteX5" fmla="*/ 80606 w 105717"/>
                    <a:gd name="connsiteY5" fmla="*/ 388911 h 396366"/>
                    <a:gd name="connsiteX6" fmla="*/ 9238 w 105717"/>
                    <a:gd name="connsiteY6" fmla="*/ 371150 h 396366"/>
                    <a:gd name="connsiteX7" fmla="*/ 15484 w 105717"/>
                    <a:gd name="connsiteY7" fmla="*/ 309216 h 396366"/>
                    <a:gd name="connsiteX8" fmla="*/ 45019 w 105717"/>
                    <a:gd name="connsiteY8" fmla="*/ 277078 h 39636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105717" h="396366">
                      <a:moveTo>
                        <a:pt x="52891" y="105718"/>
                      </a:moveTo>
                      <a:cubicBezTo>
                        <a:pt x="23681" y="105718"/>
                        <a:pt x="0" y="82037"/>
                        <a:pt x="0" y="52891"/>
                      </a:cubicBezTo>
                      <a:cubicBezTo>
                        <a:pt x="0" y="23746"/>
                        <a:pt x="23681" y="0"/>
                        <a:pt x="52891" y="0"/>
                      </a:cubicBezTo>
                      <a:cubicBezTo>
                        <a:pt x="82102" y="0"/>
                        <a:pt x="105718" y="23681"/>
                        <a:pt x="105718" y="52826"/>
                      </a:cubicBezTo>
                      <a:lnTo>
                        <a:pt x="105718" y="346884"/>
                      </a:lnTo>
                      <a:cubicBezTo>
                        <a:pt x="105718" y="364580"/>
                        <a:pt x="96414" y="379413"/>
                        <a:pt x="80606" y="388911"/>
                      </a:cubicBezTo>
                      <a:cubicBezTo>
                        <a:pt x="55949" y="403744"/>
                        <a:pt x="24006" y="395742"/>
                        <a:pt x="9238" y="371150"/>
                      </a:cubicBezTo>
                      <a:cubicBezTo>
                        <a:pt x="-2928" y="350918"/>
                        <a:pt x="260" y="325741"/>
                        <a:pt x="15484" y="309216"/>
                      </a:cubicBezTo>
                      <a:lnTo>
                        <a:pt x="45019" y="277078"/>
                      </a:lnTo>
                    </a:path>
                  </a:pathLst>
                </a:custGeom>
                <a:grpFill/>
                <a:ln w="19050" cap="sq">
                  <a:solidFill>
                    <a:srgbClr val="F7F7F7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87" name="Forma livre: Forma 86">
                  <a:extLst>
                    <a:ext uri="{FF2B5EF4-FFF2-40B4-BE49-F238E27FC236}">
                      <a16:creationId xmlns:a16="http://schemas.microsoft.com/office/drawing/2014/main" id="{D0AE734A-A13E-A650-8C89-DD903776A2D2}"/>
                    </a:ext>
                  </a:extLst>
                </p:cNvPr>
                <p:cNvSpPr/>
                <p:nvPr/>
              </p:nvSpPr>
              <p:spPr>
                <a:xfrm>
                  <a:off x="6144784" y="1383865"/>
                  <a:ext cx="41563" cy="38963"/>
                </a:xfrm>
                <a:custGeom>
                  <a:avLst/>
                  <a:gdLst>
                    <a:gd name="connsiteX0" fmla="*/ 36172 w 41563"/>
                    <a:gd name="connsiteY0" fmla="*/ 0 h 38963"/>
                    <a:gd name="connsiteX1" fmla="*/ 39425 w 41563"/>
                    <a:gd name="connsiteY1" fmla="*/ 24266 h 38963"/>
                    <a:gd name="connsiteX2" fmla="*/ 36432 w 41563"/>
                    <a:gd name="connsiteY2" fmla="*/ 29080 h 38963"/>
                    <a:gd name="connsiteX3" fmla="*/ 0 w 41563"/>
                    <a:gd name="connsiteY3" fmla="*/ 33439 h 3896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1563" h="38963">
                      <a:moveTo>
                        <a:pt x="36172" y="0"/>
                      </a:moveTo>
                      <a:cubicBezTo>
                        <a:pt x="41571" y="7547"/>
                        <a:pt x="43393" y="16004"/>
                        <a:pt x="39425" y="24266"/>
                      </a:cubicBezTo>
                      <a:cubicBezTo>
                        <a:pt x="38644" y="25893"/>
                        <a:pt x="37603" y="27519"/>
                        <a:pt x="36432" y="29080"/>
                      </a:cubicBezTo>
                      <a:cubicBezTo>
                        <a:pt x="27584" y="40270"/>
                        <a:pt x="11190" y="42287"/>
                        <a:pt x="0" y="33439"/>
                      </a:cubicBezTo>
                    </a:path>
                  </a:pathLst>
                </a:custGeom>
                <a:grpFill/>
                <a:ln w="19050" cap="sq">
                  <a:solidFill>
                    <a:srgbClr val="F7F7F7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88" name="Forma livre: Forma 87">
                  <a:extLst>
                    <a:ext uri="{FF2B5EF4-FFF2-40B4-BE49-F238E27FC236}">
                      <a16:creationId xmlns:a16="http://schemas.microsoft.com/office/drawing/2014/main" id="{24D1ED7C-55FE-290D-C416-D7F2617FA66F}"/>
                    </a:ext>
                  </a:extLst>
                </p:cNvPr>
                <p:cNvSpPr/>
                <p:nvPr/>
              </p:nvSpPr>
              <p:spPr>
                <a:xfrm>
                  <a:off x="6081487" y="1460806"/>
                  <a:ext cx="34217" cy="54474"/>
                </a:xfrm>
                <a:custGeom>
                  <a:avLst/>
                  <a:gdLst>
                    <a:gd name="connsiteX0" fmla="*/ 21076 w 34217"/>
                    <a:gd name="connsiteY0" fmla="*/ 54475 h 54474"/>
                    <a:gd name="connsiteX1" fmla="*/ 778 w 34217"/>
                    <a:gd name="connsiteY1" fmla="*/ 21035 h 54474"/>
                    <a:gd name="connsiteX2" fmla="*/ 34217 w 34217"/>
                    <a:gd name="connsiteY2" fmla="*/ 803 h 544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34217" h="54474">
                      <a:moveTo>
                        <a:pt x="21076" y="54475"/>
                      </a:moveTo>
                      <a:cubicBezTo>
                        <a:pt x="6308" y="50832"/>
                        <a:pt x="-2800" y="35803"/>
                        <a:pt x="778" y="21035"/>
                      </a:cubicBezTo>
                      <a:cubicBezTo>
                        <a:pt x="4421" y="6267"/>
                        <a:pt x="19449" y="-2841"/>
                        <a:pt x="34217" y="803"/>
                      </a:cubicBezTo>
                    </a:path>
                  </a:pathLst>
                </a:custGeom>
                <a:grpFill/>
                <a:ln w="19050" cap="sq">
                  <a:solidFill>
                    <a:srgbClr val="F7F7F7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89" name="Forma livre: Forma 88">
                  <a:extLst>
                    <a:ext uri="{FF2B5EF4-FFF2-40B4-BE49-F238E27FC236}">
                      <a16:creationId xmlns:a16="http://schemas.microsoft.com/office/drawing/2014/main" id="{6BE8F3D3-54D1-DE9B-CAA3-E2D5B80BD5B3}"/>
                    </a:ext>
                  </a:extLst>
                </p:cNvPr>
                <p:cNvSpPr/>
                <p:nvPr/>
              </p:nvSpPr>
              <p:spPr>
                <a:xfrm>
                  <a:off x="6073547" y="1527543"/>
                  <a:ext cx="114760" cy="72506"/>
                </a:xfrm>
                <a:custGeom>
                  <a:avLst/>
                  <a:gdLst>
                    <a:gd name="connsiteX0" fmla="*/ 114760 w 114760"/>
                    <a:gd name="connsiteY0" fmla="*/ 7254 h 72506"/>
                    <a:gd name="connsiteX1" fmla="*/ 73905 w 114760"/>
                    <a:gd name="connsiteY1" fmla="*/ 8881 h 72506"/>
                    <a:gd name="connsiteX2" fmla="*/ 0 w 114760"/>
                    <a:gd name="connsiteY2" fmla="*/ 72506 h 7250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14760" h="72506">
                      <a:moveTo>
                        <a:pt x="114760" y="7254"/>
                      </a:moveTo>
                      <a:cubicBezTo>
                        <a:pt x="103375" y="-2830"/>
                        <a:pt x="83989" y="-2504"/>
                        <a:pt x="73905" y="8881"/>
                      </a:cubicBezTo>
                      <a:cubicBezTo>
                        <a:pt x="73905" y="8881"/>
                        <a:pt x="31488" y="72506"/>
                        <a:pt x="0" y="72506"/>
                      </a:cubicBezTo>
                    </a:path>
                  </a:pathLst>
                </a:custGeom>
                <a:grpFill/>
                <a:ln w="19050" cap="sq">
                  <a:solidFill>
                    <a:srgbClr val="F7F7F7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90" name="Forma livre: Forma 89">
                  <a:extLst>
                    <a:ext uri="{FF2B5EF4-FFF2-40B4-BE49-F238E27FC236}">
                      <a16:creationId xmlns:a16="http://schemas.microsoft.com/office/drawing/2014/main" id="{0E6F193E-8975-0E64-4531-93C3B692325F}"/>
                    </a:ext>
                  </a:extLst>
                </p:cNvPr>
                <p:cNvSpPr/>
                <p:nvPr/>
              </p:nvSpPr>
              <p:spPr>
                <a:xfrm>
                  <a:off x="6079857" y="1646956"/>
                  <a:ext cx="29405" cy="9823"/>
                </a:xfrm>
                <a:custGeom>
                  <a:avLst/>
                  <a:gdLst>
                    <a:gd name="connsiteX0" fmla="*/ 0 w 29405"/>
                    <a:gd name="connsiteY0" fmla="*/ 0 h 9823"/>
                    <a:gd name="connsiteX1" fmla="*/ 29406 w 29405"/>
                    <a:gd name="connsiteY1" fmla="*/ 9824 h 982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9405" h="9823">
                      <a:moveTo>
                        <a:pt x="0" y="0"/>
                      </a:moveTo>
                      <a:lnTo>
                        <a:pt x="29406" y="9824"/>
                      </a:lnTo>
                    </a:path>
                  </a:pathLst>
                </a:custGeom>
                <a:grpFill/>
                <a:ln w="19050" cap="sq">
                  <a:solidFill>
                    <a:srgbClr val="F7F7F7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91" name="Forma livre: Forma 90">
                  <a:extLst>
                    <a:ext uri="{FF2B5EF4-FFF2-40B4-BE49-F238E27FC236}">
                      <a16:creationId xmlns:a16="http://schemas.microsoft.com/office/drawing/2014/main" id="{438CED5D-E1D6-2AC7-9103-6317CEA8C54F}"/>
                    </a:ext>
                  </a:extLst>
                </p:cNvPr>
                <p:cNvSpPr/>
                <p:nvPr/>
              </p:nvSpPr>
              <p:spPr>
                <a:xfrm>
                  <a:off x="6061121" y="1545272"/>
                  <a:ext cx="47166" cy="34154"/>
                </a:xfrm>
                <a:custGeom>
                  <a:avLst/>
                  <a:gdLst>
                    <a:gd name="connsiteX0" fmla="*/ 0 w 47166"/>
                    <a:gd name="connsiteY0" fmla="*/ 0 h 34154"/>
                    <a:gd name="connsiteX1" fmla="*/ 47166 w 47166"/>
                    <a:gd name="connsiteY1" fmla="*/ 34155 h 3415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7166" h="34154">
                      <a:moveTo>
                        <a:pt x="0" y="0"/>
                      </a:moveTo>
                      <a:cubicBezTo>
                        <a:pt x="0" y="0"/>
                        <a:pt x="27649" y="13011"/>
                        <a:pt x="47166" y="34155"/>
                      </a:cubicBezTo>
                    </a:path>
                  </a:pathLst>
                </a:custGeom>
                <a:grpFill/>
                <a:ln w="19050" cap="sq">
                  <a:solidFill>
                    <a:srgbClr val="F7F7F7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72" name="Gráfico 32">
                <a:extLst>
                  <a:ext uri="{FF2B5EF4-FFF2-40B4-BE49-F238E27FC236}">
                    <a16:creationId xmlns:a16="http://schemas.microsoft.com/office/drawing/2014/main" id="{298B4E62-4EE6-1C95-4D6A-626534BFEFB1}"/>
                  </a:ext>
                </a:extLst>
              </p:cNvPr>
              <p:cNvGrpSpPr/>
              <p:nvPr/>
            </p:nvGrpSpPr>
            <p:grpSpPr>
              <a:xfrm>
                <a:off x="6191625" y="1599725"/>
                <a:ext cx="173767" cy="157112"/>
                <a:chOff x="6191625" y="1599725"/>
                <a:chExt cx="173767" cy="157112"/>
              </a:xfrm>
              <a:grpFill/>
            </p:grpSpPr>
            <p:sp>
              <p:nvSpPr>
                <p:cNvPr id="82" name="Forma livre: Forma 81">
                  <a:extLst>
                    <a:ext uri="{FF2B5EF4-FFF2-40B4-BE49-F238E27FC236}">
                      <a16:creationId xmlns:a16="http://schemas.microsoft.com/office/drawing/2014/main" id="{99ADDE86-AA3F-FE86-A7BA-44EB7CB5C72B}"/>
                    </a:ext>
                  </a:extLst>
                </p:cNvPr>
                <p:cNvSpPr/>
                <p:nvPr/>
              </p:nvSpPr>
              <p:spPr>
                <a:xfrm>
                  <a:off x="6310094" y="1621974"/>
                  <a:ext cx="55298" cy="55298"/>
                </a:xfrm>
                <a:custGeom>
                  <a:avLst/>
                  <a:gdLst>
                    <a:gd name="connsiteX0" fmla="*/ 55298 w 55298"/>
                    <a:gd name="connsiteY0" fmla="*/ 27649 h 55298"/>
                    <a:gd name="connsiteX1" fmla="*/ 27649 w 55298"/>
                    <a:gd name="connsiteY1" fmla="*/ 55298 h 55298"/>
                    <a:gd name="connsiteX2" fmla="*/ 0 w 55298"/>
                    <a:gd name="connsiteY2" fmla="*/ 27649 h 55298"/>
                    <a:gd name="connsiteX3" fmla="*/ 27649 w 55298"/>
                    <a:gd name="connsiteY3" fmla="*/ 0 h 55298"/>
                    <a:gd name="connsiteX4" fmla="*/ 55298 w 55298"/>
                    <a:gd name="connsiteY4" fmla="*/ 27649 h 552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5298" h="55298">
                      <a:moveTo>
                        <a:pt x="55298" y="27649"/>
                      </a:moveTo>
                      <a:cubicBezTo>
                        <a:pt x="55298" y="42938"/>
                        <a:pt x="42938" y="55298"/>
                        <a:pt x="27649" y="55298"/>
                      </a:cubicBezTo>
                      <a:cubicBezTo>
                        <a:pt x="12361" y="55298"/>
                        <a:pt x="0" y="42938"/>
                        <a:pt x="0" y="27649"/>
                      </a:cubicBezTo>
                      <a:cubicBezTo>
                        <a:pt x="0" y="12361"/>
                        <a:pt x="12361" y="0"/>
                        <a:pt x="27649" y="0"/>
                      </a:cubicBezTo>
                      <a:cubicBezTo>
                        <a:pt x="42938" y="0"/>
                        <a:pt x="55298" y="12361"/>
                        <a:pt x="55298" y="27649"/>
                      </a:cubicBezTo>
                      <a:close/>
                    </a:path>
                  </a:pathLst>
                </a:custGeom>
                <a:grpFill/>
                <a:ln w="19050" cap="sq">
                  <a:solidFill>
                    <a:srgbClr val="F7F7F7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83" name="Forma livre: Forma 82">
                  <a:extLst>
                    <a:ext uri="{FF2B5EF4-FFF2-40B4-BE49-F238E27FC236}">
                      <a16:creationId xmlns:a16="http://schemas.microsoft.com/office/drawing/2014/main" id="{384A4FE0-365C-4464-4743-4A85D4166BEC}"/>
                    </a:ext>
                  </a:extLst>
                </p:cNvPr>
                <p:cNvSpPr/>
                <p:nvPr/>
              </p:nvSpPr>
              <p:spPr>
                <a:xfrm>
                  <a:off x="6191625" y="1599725"/>
                  <a:ext cx="118078" cy="49898"/>
                </a:xfrm>
                <a:custGeom>
                  <a:avLst/>
                  <a:gdLst>
                    <a:gd name="connsiteX0" fmla="*/ 0 w 118078"/>
                    <a:gd name="connsiteY0" fmla="*/ 0 h 49898"/>
                    <a:gd name="connsiteX1" fmla="*/ 37343 w 118078"/>
                    <a:gd name="connsiteY1" fmla="*/ 0 h 49898"/>
                    <a:gd name="connsiteX2" fmla="*/ 87176 w 118078"/>
                    <a:gd name="connsiteY2" fmla="*/ 49899 h 49898"/>
                    <a:gd name="connsiteX3" fmla="*/ 118078 w 118078"/>
                    <a:gd name="connsiteY3" fmla="*/ 49899 h 498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18078" h="49898">
                      <a:moveTo>
                        <a:pt x="0" y="0"/>
                      </a:moveTo>
                      <a:lnTo>
                        <a:pt x="37343" y="0"/>
                      </a:lnTo>
                      <a:lnTo>
                        <a:pt x="87176" y="49899"/>
                      </a:lnTo>
                      <a:lnTo>
                        <a:pt x="118078" y="49899"/>
                      </a:lnTo>
                    </a:path>
                  </a:pathLst>
                </a:custGeom>
                <a:grpFill/>
                <a:ln w="19050" cap="sq">
                  <a:solidFill>
                    <a:srgbClr val="F7F7F7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84" name="Forma livre: Forma 83">
                  <a:extLst>
                    <a:ext uri="{FF2B5EF4-FFF2-40B4-BE49-F238E27FC236}">
                      <a16:creationId xmlns:a16="http://schemas.microsoft.com/office/drawing/2014/main" id="{7B0A31D7-5E39-528C-CA47-8ABA077987CC}"/>
                    </a:ext>
                  </a:extLst>
                </p:cNvPr>
                <p:cNvSpPr/>
                <p:nvPr/>
              </p:nvSpPr>
              <p:spPr>
                <a:xfrm>
                  <a:off x="6191625" y="1665367"/>
                  <a:ext cx="81906" cy="44108"/>
                </a:xfrm>
                <a:custGeom>
                  <a:avLst/>
                  <a:gdLst>
                    <a:gd name="connsiteX0" fmla="*/ 0 w 81906"/>
                    <a:gd name="connsiteY0" fmla="*/ 0 h 44108"/>
                    <a:gd name="connsiteX1" fmla="*/ 37343 w 81906"/>
                    <a:gd name="connsiteY1" fmla="*/ 0 h 44108"/>
                    <a:gd name="connsiteX2" fmla="*/ 81907 w 81906"/>
                    <a:gd name="connsiteY2" fmla="*/ 44109 h 4410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81906" h="44108">
                      <a:moveTo>
                        <a:pt x="0" y="0"/>
                      </a:moveTo>
                      <a:lnTo>
                        <a:pt x="37343" y="0"/>
                      </a:lnTo>
                      <a:lnTo>
                        <a:pt x="81907" y="44109"/>
                      </a:lnTo>
                    </a:path>
                  </a:pathLst>
                </a:custGeom>
                <a:grpFill/>
                <a:ln w="19050" cap="sq">
                  <a:solidFill>
                    <a:srgbClr val="F7F7F7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85" name="Forma livre: Forma 84">
                  <a:extLst>
                    <a:ext uri="{FF2B5EF4-FFF2-40B4-BE49-F238E27FC236}">
                      <a16:creationId xmlns:a16="http://schemas.microsoft.com/office/drawing/2014/main" id="{9C3AFDDB-4211-04DB-7475-4ADD532570FC}"/>
                    </a:ext>
                  </a:extLst>
                </p:cNvPr>
                <p:cNvSpPr/>
                <p:nvPr/>
              </p:nvSpPr>
              <p:spPr>
                <a:xfrm>
                  <a:off x="6265075" y="1701539"/>
                  <a:ext cx="55298" cy="55298"/>
                </a:xfrm>
                <a:custGeom>
                  <a:avLst/>
                  <a:gdLst>
                    <a:gd name="connsiteX0" fmla="*/ 55298 w 55298"/>
                    <a:gd name="connsiteY0" fmla="*/ 27649 h 55298"/>
                    <a:gd name="connsiteX1" fmla="*/ 27649 w 55298"/>
                    <a:gd name="connsiteY1" fmla="*/ 55298 h 55298"/>
                    <a:gd name="connsiteX2" fmla="*/ 0 w 55298"/>
                    <a:gd name="connsiteY2" fmla="*/ 27649 h 55298"/>
                    <a:gd name="connsiteX3" fmla="*/ 27649 w 55298"/>
                    <a:gd name="connsiteY3" fmla="*/ 0 h 55298"/>
                    <a:gd name="connsiteX4" fmla="*/ 55298 w 55298"/>
                    <a:gd name="connsiteY4" fmla="*/ 27649 h 552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5298" h="55298">
                      <a:moveTo>
                        <a:pt x="55298" y="27649"/>
                      </a:moveTo>
                      <a:cubicBezTo>
                        <a:pt x="55298" y="42938"/>
                        <a:pt x="42938" y="55298"/>
                        <a:pt x="27649" y="55298"/>
                      </a:cubicBezTo>
                      <a:cubicBezTo>
                        <a:pt x="12361" y="55298"/>
                        <a:pt x="0" y="42938"/>
                        <a:pt x="0" y="27649"/>
                      </a:cubicBezTo>
                      <a:cubicBezTo>
                        <a:pt x="0" y="12361"/>
                        <a:pt x="12361" y="0"/>
                        <a:pt x="27649" y="0"/>
                      </a:cubicBezTo>
                      <a:cubicBezTo>
                        <a:pt x="42938" y="0"/>
                        <a:pt x="55298" y="12361"/>
                        <a:pt x="55298" y="27649"/>
                      </a:cubicBezTo>
                      <a:close/>
                    </a:path>
                  </a:pathLst>
                </a:custGeom>
                <a:grpFill/>
                <a:ln w="19050" cap="sq">
                  <a:solidFill>
                    <a:srgbClr val="F7F7F7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73" name="Gráfico 32">
                <a:extLst>
                  <a:ext uri="{FF2B5EF4-FFF2-40B4-BE49-F238E27FC236}">
                    <a16:creationId xmlns:a16="http://schemas.microsoft.com/office/drawing/2014/main" id="{2120EBEC-A4F7-E683-98F6-A6398C350095}"/>
                  </a:ext>
                </a:extLst>
              </p:cNvPr>
              <p:cNvGrpSpPr/>
              <p:nvPr/>
            </p:nvGrpSpPr>
            <p:grpSpPr>
              <a:xfrm>
                <a:off x="6191625" y="1357908"/>
                <a:ext cx="173767" cy="157112"/>
                <a:chOff x="6191625" y="1357908"/>
                <a:chExt cx="173767" cy="157112"/>
              </a:xfrm>
              <a:grpFill/>
            </p:grpSpPr>
            <p:sp>
              <p:nvSpPr>
                <p:cNvPr id="78" name="Forma livre: Forma 77">
                  <a:extLst>
                    <a:ext uri="{FF2B5EF4-FFF2-40B4-BE49-F238E27FC236}">
                      <a16:creationId xmlns:a16="http://schemas.microsoft.com/office/drawing/2014/main" id="{D40A3D42-8686-10C0-6E3F-93F1470C91A6}"/>
                    </a:ext>
                  </a:extLst>
                </p:cNvPr>
                <p:cNvSpPr/>
                <p:nvPr/>
              </p:nvSpPr>
              <p:spPr>
                <a:xfrm>
                  <a:off x="6310094" y="1437472"/>
                  <a:ext cx="55298" cy="55298"/>
                </a:xfrm>
                <a:custGeom>
                  <a:avLst/>
                  <a:gdLst>
                    <a:gd name="connsiteX0" fmla="*/ 55298 w 55298"/>
                    <a:gd name="connsiteY0" fmla="*/ 27649 h 55298"/>
                    <a:gd name="connsiteX1" fmla="*/ 27649 w 55298"/>
                    <a:gd name="connsiteY1" fmla="*/ 0 h 55298"/>
                    <a:gd name="connsiteX2" fmla="*/ 0 w 55298"/>
                    <a:gd name="connsiteY2" fmla="*/ 27649 h 55298"/>
                    <a:gd name="connsiteX3" fmla="*/ 27649 w 55298"/>
                    <a:gd name="connsiteY3" fmla="*/ 55298 h 55298"/>
                    <a:gd name="connsiteX4" fmla="*/ 55298 w 55298"/>
                    <a:gd name="connsiteY4" fmla="*/ 27649 h 552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5298" h="55298">
                      <a:moveTo>
                        <a:pt x="55298" y="27649"/>
                      </a:moveTo>
                      <a:cubicBezTo>
                        <a:pt x="55298" y="12361"/>
                        <a:pt x="42938" y="0"/>
                        <a:pt x="27649" y="0"/>
                      </a:cubicBezTo>
                      <a:cubicBezTo>
                        <a:pt x="12361" y="0"/>
                        <a:pt x="0" y="12361"/>
                        <a:pt x="0" y="27649"/>
                      </a:cubicBezTo>
                      <a:cubicBezTo>
                        <a:pt x="0" y="42938"/>
                        <a:pt x="12361" y="55298"/>
                        <a:pt x="27649" y="55298"/>
                      </a:cubicBezTo>
                      <a:cubicBezTo>
                        <a:pt x="42938" y="55298"/>
                        <a:pt x="55298" y="42938"/>
                        <a:pt x="55298" y="27649"/>
                      </a:cubicBezTo>
                      <a:close/>
                    </a:path>
                  </a:pathLst>
                </a:custGeom>
                <a:grpFill/>
                <a:ln w="19050" cap="sq">
                  <a:solidFill>
                    <a:srgbClr val="F7F7F7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79" name="Forma livre: Forma 78">
                  <a:extLst>
                    <a:ext uri="{FF2B5EF4-FFF2-40B4-BE49-F238E27FC236}">
                      <a16:creationId xmlns:a16="http://schemas.microsoft.com/office/drawing/2014/main" id="{EFBFE238-C17C-CE70-4CA7-ED33B1AB91DB}"/>
                    </a:ext>
                  </a:extLst>
                </p:cNvPr>
                <p:cNvSpPr/>
                <p:nvPr/>
              </p:nvSpPr>
              <p:spPr>
                <a:xfrm>
                  <a:off x="6191625" y="1465122"/>
                  <a:ext cx="118468" cy="49898"/>
                </a:xfrm>
                <a:custGeom>
                  <a:avLst/>
                  <a:gdLst>
                    <a:gd name="connsiteX0" fmla="*/ 0 w 118468"/>
                    <a:gd name="connsiteY0" fmla="*/ 49899 h 49898"/>
                    <a:gd name="connsiteX1" fmla="*/ 37343 w 118468"/>
                    <a:gd name="connsiteY1" fmla="*/ 49899 h 49898"/>
                    <a:gd name="connsiteX2" fmla="*/ 87176 w 118468"/>
                    <a:gd name="connsiteY2" fmla="*/ 0 h 49898"/>
                    <a:gd name="connsiteX3" fmla="*/ 118469 w 118468"/>
                    <a:gd name="connsiteY3" fmla="*/ 0 h 498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18468" h="49898">
                      <a:moveTo>
                        <a:pt x="0" y="49899"/>
                      </a:moveTo>
                      <a:lnTo>
                        <a:pt x="37343" y="49899"/>
                      </a:lnTo>
                      <a:lnTo>
                        <a:pt x="87176" y="0"/>
                      </a:lnTo>
                      <a:lnTo>
                        <a:pt x="118469" y="0"/>
                      </a:lnTo>
                    </a:path>
                  </a:pathLst>
                </a:custGeom>
                <a:grpFill/>
                <a:ln w="19050" cap="sq">
                  <a:solidFill>
                    <a:srgbClr val="F7F7F7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80" name="Forma livre: Forma 79">
                  <a:extLst>
                    <a:ext uri="{FF2B5EF4-FFF2-40B4-BE49-F238E27FC236}">
                      <a16:creationId xmlns:a16="http://schemas.microsoft.com/office/drawing/2014/main" id="{3157AAB4-965B-25E1-1B04-17F1BB0B62F0}"/>
                    </a:ext>
                  </a:extLst>
                </p:cNvPr>
                <p:cNvSpPr/>
                <p:nvPr/>
              </p:nvSpPr>
              <p:spPr>
                <a:xfrm>
                  <a:off x="6191625" y="1405269"/>
                  <a:ext cx="81451" cy="44043"/>
                </a:xfrm>
                <a:custGeom>
                  <a:avLst/>
                  <a:gdLst>
                    <a:gd name="connsiteX0" fmla="*/ 0 w 81451"/>
                    <a:gd name="connsiteY0" fmla="*/ 44044 h 44043"/>
                    <a:gd name="connsiteX1" fmla="*/ 37343 w 81451"/>
                    <a:gd name="connsiteY1" fmla="*/ 44044 h 44043"/>
                    <a:gd name="connsiteX2" fmla="*/ 81451 w 81451"/>
                    <a:gd name="connsiteY2" fmla="*/ 0 h 4404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81451" h="44043">
                      <a:moveTo>
                        <a:pt x="0" y="44044"/>
                      </a:moveTo>
                      <a:lnTo>
                        <a:pt x="37343" y="44044"/>
                      </a:lnTo>
                      <a:lnTo>
                        <a:pt x="81451" y="0"/>
                      </a:lnTo>
                    </a:path>
                  </a:pathLst>
                </a:custGeom>
                <a:grpFill/>
                <a:ln w="19050" cap="sq">
                  <a:solidFill>
                    <a:srgbClr val="F7F7F7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81" name="Forma livre: Forma 80">
                  <a:extLst>
                    <a:ext uri="{FF2B5EF4-FFF2-40B4-BE49-F238E27FC236}">
                      <a16:creationId xmlns:a16="http://schemas.microsoft.com/office/drawing/2014/main" id="{965A2EC5-2F7F-F688-EE5F-5906225C3E43}"/>
                    </a:ext>
                  </a:extLst>
                </p:cNvPr>
                <p:cNvSpPr/>
                <p:nvPr/>
              </p:nvSpPr>
              <p:spPr>
                <a:xfrm>
                  <a:off x="6265075" y="1357908"/>
                  <a:ext cx="55298" cy="55298"/>
                </a:xfrm>
                <a:custGeom>
                  <a:avLst/>
                  <a:gdLst>
                    <a:gd name="connsiteX0" fmla="*/ 55298 w 55298"/>
                    <a:gd name="connsiteY0" fmla="*/ 27649 h 55298"/>
                    <a:gd name="connsiteX1" fmla="*/ 27649 w 55298"/>
                    <a:gd name="connsiteY1" fmla="*/ 0 h 55298"/>
                    <a:gd name="connsiteX2" fmla="*/ 0 w 55298"/>
                    <a:gd name="connsiteY2" fmla="*/ 27649 h 55298"/>
                    <a:gd name="connsiteX3" fmla="*/ 27649 w 55298"/>
                    <a:gd name="connsiteY3" fmla="*/ 55298 h 55298"/>
                    <a:gd name="connsiteX4" fmla="*/ 55298 w 55298"/>
                    <a:gd name="connsiteY4" fmla="*/ 27649 h 552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5298" h="55298">
                      <a:moveTo>
                        <a:pt x="55298" y="27649"/>
                      </a:moveTo>
                      <a:cubicBezTo>
                        <a:pt x="55298" y="12361"/>
                        <a:pt x="42938" y="0"/>
                        <a:pt x="27649" y="0"/>
                      </a:cubicBezTo>
                      <a:cubicBezTo>
                        <a:pt x="12361" y="0"/>
                        <a:pt x="0" y="12361"/>
                        <a:pt x="0" y="27649"/>
                      </a:cubicBezTo>
                      <a:cubicBezTo>
                        <a:pt x="0" y="42938"/>
                        <a:pt x="12361" y="55298"/>
                        <a:pt x="27649" y="55298"/>
                      </a:cubicBezTo>
                      <a:cubicBezTo>
                        <a:pt x="42938" y="55298"/>
                        <a:pt x="55298" y="42938"/>
                        <a:pt x="55298" y="27649"/>
                      </a:cubicBezTo>
                      <a:close/>
                    </a:path>
                  </a:pathLst>
                </a:custGeom>
                <a:grpFill/>
                <a:ln w="19050" cap="sq">
                  <a:solidFill>
                    <a:srgbClr val="F7F7F7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74" name="Gráfico 32">
                <a:extLst>
                  <a:ext uri="{FF2B5EF4-FFF2-40B4-BE49-F238E27FC236}">
                    <a16:creationId xmlns:a16="http://schemas.microsoft.com/office/drawing/2014/main" id="{ACC0E391-8D3D-A698-3E40-7E3E110E267E}"/>
                  </a:ext>
                </a:extLst>
              </p:cNvPr>
              <p:cNvGrpSpPr/>
              <p:nvPr/>
            </p:nvGrpSpPr>
            <p:grpSpPr>
              <a:xfrm>
                <a:off x="6190910" y="1529723"/>
                <a:ext cx="123673" cy="55298"/>
                <a:chOff x="6190910" y="1529723"/>
                <a:chExt cx="123673" cy="55298"/>
              </a:xfrm>
              <a:grpFill/>
            </p:grpSpPr>
            <p:sp>
              <p:nvSpPr>
                <p:cNvPr id="76" name="Forma livre: Forma 75">
                  <a:extLst>
                    <a:ext uri="{FF2B5EF4-FFF2-40B4-BE49-F238E27FC236}">
                      <a16:creationId xmlns:a16="http://schemas.microsoft.com/office/drawing/2014/main" id="{7B62C846-7500-4818-5531-6554B924C17F}"/>
                    </a:ext>
                  </a:extLst>
                </p:cNvPr>
                <p:cNvSpPr/>
                <p:nvPr/>
              </p:nvSpPr>
              <p:spPr>
                <a:xfrm>
                  <a:off x="6190910" y="1557372"/>
                  <a:ext cx="68765" cy="6505"/>
                </a:xfrm>
                <a:custGeom>
                  <a:avLst/>
                  <a:gdLst>
                    <a:gd name="connsiteX0" fmla="*/ 0 w 68765"/>
                    <a:gd name="connsiteY0" fmla="*/ 0 h 6505"/>
                    <a:gd name="connsiteX1" fmla="*/ 68765 w 68765"/>
                    <a:gd name="connsiteY1" fmla="*/ 0 h 650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68765" h="6505">
                      <a:moveTo>
                        <a:pt x="0" y="0"/>
                      </a:moveTo>
                      <a:lnTo>
                        <a:pt x="68765" y="0"/>
                      </a:lnTo>
                    </a:path>
                  </a:pathLst>
                </a:custGeom>
                <a:grpFill/>
                <a:ln w="19050" cap="sq">
                  <a:solidFill>
                    <a:srgbClr val="F7F7F7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77" name="Forma livre: Forma 76">
                  <a:extLst>
                    <a:ext uri="{FF2B5EF4-FFF2-40B4-BE49-F238E27FC236}">
                      <a16:creationId xmlns:a16="http://schemas.microsoft.com/office/drawing/2014/main" id="{3AC08A62-EDF1-3DB4-A7CA-EB32A27BD031}"/>
                    </a:ext>
                  </a:extLst>
                </p:cNvPr>
                <p:cNvSpPr/>
                <p:nvPr/>
              </p:nvSpPr>
              <p:spPr>
                <a:xfrm>
                  <a:off x="6259285" y="1529723"/>
                  <a:ext cx="55298" cy="55298"/>
                </a:xfrm>
                <a:custGeom>
                  <a:avLst/>
                  <a:gdLst>
                    <a:gd name="connsiteX0" fmla="*/ 55298 w 55298"/>
                    <a:gd name="connsiteY0" fmla="*/ 27649 h 55298"/>
                    <a:gd name="connsiteX1" fmla="*/ 27649 w 55298"/>
                    <a:gd name="connsiteY1" fmla="*/ 55298 h 55298"/>
                    <a:gd name="connsiteX2" fmla="*/ 0 w 55298"/>
                    <a:gd name="connsiteY2" fmla="*/ 27649 h 55298"/>
                    <a:gd name="connsiteX3" fmla="*/ 27649 w 55298"/>
                    <a:gd name="connsiteY3" fmla="*/ 0 h 55298"/>
                    <a:gd name="connsiteX4" fmla="*/ 55298 w 55298"/>
                    <a:gd name="connsiteY4" fmla="*/ 27649 h 552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5298" h="55298">
                      <a:moveTo>
                        <a:pt x="55298" y="27649"/>
                      </a:moveTo>
                      <a:cubicBezTo>
                        <a:pt x="55298" y="42938"/>
                        <a:pt x="42938" y="55298"/>
                        <a:pt x="27649" y="55298"/>
                      </a:cubicBezTo>
                      <a:cubicBezTo>
                        <a:pt x="12361" y="55298"/>
                        <a:pt x="0" y="42938"/>
                        <a:pt x="0" y="27649"/>
                      </a:cubicBezTo>
                      <a:cubicBezTo>
                        <a:pt x="0" y="12361"/>
                        <a:pt x="12361" y="0"/>
                        <a:pt x="27649" y="0"/>
                      </a:cubicBezTo>
                      <a:cubicBezTo>
                        <a:pt x="42938" y="0"/>
                        <a:pt x="55298" y="12361"/>
                        <a:pt x="55298" y="27649"/>
                      </a:cubicBezTo>
                      <a:close/>
                    </a:path>
                  </a:pathLst>
                </a:custGeom>
                <a:grpFill/>
                <a:ln w="19050" cap="sq">
                  <a:solidFill>
                    <a:srgbClr val="F7F7F7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75" name="Forma livre: Forma 74">
                <a:extLst>
                  <a:ext uri="{FF2B5EF4-FFF2-40B4-BE49-F238E27FC236}">
                    <a16:creationId xmlns:a16="http://schemas.microsoft.com/office/drawing/2014/main" id="{2D6AF4A9-ACE8-200A-79FD-8FA65AE3D2AF}"/>
                  </a:ext>
                </a:extLst>
              </p:cNvPr>
              <p:cNvSpPr/>
              <p:nvPr/>
            </p:nvSpPr>
            <p:spPr>
              <a:xfrm>
                <a:off x="6152201" y="1686285"/>
                <a:ext cx="37362" cy="20848"/>
              </a:xfrm>
              <a:custGeom>
                <a:avLst/>
                <a:gdLst>
                  <a:gd name="connsiteX0" fmla="*/ 0 w 37362"/>
                  <a:gd name="connsiteY0" fmla="*/ 10505 h 20848"/>
                  <a:gd name="connsiteX1" fmla="*/ 27064 w 37362"/>
                  <a:gd name="connsiteY1" fmla="*/ 2373 h 20848"/>
                  <a:gd name="connsiteX2" fmla="*/ 37343 w 37362"/>
                  <a:gd name="connsiteY2" fmla="*/ 20849 h 208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7362" h="20848">
                    <a:moveTo>
                      <a:pt x="0" y="10505"/>
                    </a:moveTo>
                    <a:cubicBezTo>
                      <a:pt x="5205" y="811"/>
                      <a:pt x="17435" y="-2832"/>
                      <a:pt x="27064" y="2373"/>
                    </a:cubicBezTo>
                    <a:cubicBezTo>
                      <a:pt x="34025" y="6081"/>
                      <a:pt x="37668" y="13432"/>
                      <a:pt x="37343" y="20849"/>
                    </a:cubicBezTo>
                  </a:path>
                </a:pathLst>
              </a:custGeom>
              <a:grpFill/>
              <a:ln w="19050" cap="sq">
                <a:solidFill>
                  <a:srgbClr val="F7F7F7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44" name="Agrupar 143">
            <a:extLst>
              <a:ext uri="{FF2B5EF4-FFF2-40B4-BE49-F238E27FC236}">
                <a16:creationId xmlns:a16="http://schemas.microsoft.com/office/drawing/2014/main" id="{626CEC44-9D00-F804-45AA-A991955313FE}"/>
              </a:ext>
            </a:extLst>
          </p:cNvPr>
          <p:cNvGrpSpPr/>
          <p:nvPr/>
        </p:nvGrpSpPr>
        <p:grpSpPr>
          <a:xfrm>
            <a:off x="7652503" y="3788984"/>
            <a:ext cx="1117764" cy="1241960"/>
            <a:chOff x="7652503" y="3788984"/>
            <a:chExt cx="1117764" cy="1241960"/>
          </a:xfrm>
          <a:solidFill>
            <a:srgbClr val="00FF94"/>
          </a:solidFill>
        </p:grpSpPr>
        <p:pic>
          <p:nvPicPr>
            <p:cNvPr id="18" name="Gráfico 17">
              <a:extLst>
                <a:ext uri="{FF2B5EF4-FFF2-40B4-BE49-F238E27FC236}">
                  <a16:creationId xmlns:a16="http://schemas.microsoft.com/office/drawing/2014/main" id="{F162ADAA-F126-406C-C54E-B33FC053C532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 rot="17938537" flipH="1">
              <a:off x="7590405" y="3851082"/>
              <a:ext cx="1241960" cy="1117764"/>
            </a:xfrm>
            <a:prstGeom prst="rect">
              <a:avLst/>
            </a:prstGeom>
          </p:spPr>
        </p:pic>
        <p:grpSp>
          <p:nvGrpSpPr>
            <p:cNvPr id="92" name="Agrupar 91">
              <a:extLst>
                <a:ext uri="{FF2B5EF4-FFF2-40B4-BE49-F238E27FC236}">
                  <a16:creationId xmlns:a16="http://schemas.microsoft.com/office/drawing/2014/main" id="{3E131730-A852-0310-7387-A1DBEA2AEB3C}"/>
                </a:ext>
              </a:extLst>
            </p:cNvPr>
            <p:cNvGrpSpPr/>
            <p:nvPr/>
          </p:nvGrpSpPr>
          <p:grpSpPr>
            <a:xfrm>
              <a:off x="8031906" y="4129819"/>
              <a:ext cx="398619" cy="435315"/>
              <a:chOff x="6000092" y="1357908"/>
              <a:chExt cx="365300" cy="398929"/>
            </a:xfrm>
            <a:grpFill/>
          </p:grpSpPr>
          <p:sp>
            <p:nvSpPr>
              <p:cNvPr id="93" name="Forma livre: Forma 92">
                <a:extLst>
                  <a:ext uri="{FF2B5EF4-FFF2-40B4-BE49-F238E27FC236}">
                    <a16:creationId xmlns:a16="http://schemas.microsoft.com/office/drawing/2014/main" id="{3276773B-C0DD-D499-70D1-E5C41CA8E7CC}"/>
                  </a:ext>
                </a:extLst>
              </p:cNvPr>
              <p:cNvSpPr/>
              <p:nvPr/>
            </p:nvSpPr>
            <p:spPr>
              <a:xfrm>
                <a:off x="6000092" y="1418606"/>
                <a:ext cx="84058" cy="286120"/>
              </a:xfrm>
              <a:custGeom>
                <a:avLst/>
                <a:gdLst>
                  <a:gd name="connsiteX0" fmla="*/ 51595 w 84058"/>
                  <a:gd name="connsiteY0" fmla="*/ 0 h 286120"/>
                  <a:gd name="connsiteX1" fmla="*/ 35266 w 84058"/>
                  <a:gd name="connsiteY1" fmla="*/ 61674 h 286120"/>
                  <a:gd name="connsiteX2" fmla="*/ 28760 w 84058"/>
                  <a:gd name="connsiteY2" fmla="*/ 193415 h 286120"/>
                  <a:gd name="connsiteX3" fmla="*/ 84059 w 84058"/>
                  <a:gd name="connsiteY3" fmla="*/ 286121 h 2861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4058" h="286120">
                    <a:moveTo>
                      <a:pt x="51595" y="0"/>
                    </a:moveTo>
                    <a:cubicBezTo>
                      <a:pt x="37868" y="7872"/>
                      <a:pt x="26028" y="24852"/>
                      <a:pt x="35266" y="61674"/>
                    </a:cubicBezTo>
                    <a:cubicBezTo>
                      <a:pt x="35266" y="61674"/>
                      <a:pt x="-39549" y="126731"/>
                      <a:pt x="28760" y="193415"/>
                    </a:cubicBezTo>
                    <a:cubicBezTo>
                      <a:pt x="28760" y="193415"/>
                      <a:pt x="9243" y="281242"/>
                      <a:pt x="84059" y="286121"/>
                    </a:cubicBezTo>
                  </a:path>
                </a:pathLst>
              </a:custGeom>
              <a:grp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94" name="Gráfico 32">
                <a:extLst>
                  <a:ext uri="{FF2B5EF4-FFF2-40B4-BE49-F238E27FC236}">
                    <a16:creationId xmlns:a16="http://schemas.microsoft.com/office/drawing/2014/main" id="{C76396EB-3E32-F3E6-4CE6-18886F68EB03}"/>
                  </a:ext>
                </a:extLst>
              </p:cNvPr>
              <p:cNvGrpSpPr/>
              <p:nvPr/>
            </p:nvGrpSpPr>
            <p:grpSpPr>
              <a:xfrm>
                <a:off x="6061121" y="1359924"/>
                <a:ext cx="128487" cy="396366"/>
                <a:chOff x="6061121" y="1359924"/>
                <a:chExt cx="128487" cy="396366"/>
              </a:xfrm>
              <a:grpFill/>
            </p:grpSpPr>
            <p:sp>
              <p:nvSpPr>
                <p:cNvPr id="109" name="Forma livre: Forma 108">
                  <a:extLst>
                    <a:ext uri="{FF2B5EF4-FFF2-40B4-BE49-F238E27FC236}">
                      <a16:creationId xmlns:a16="http://schemas.microsoft.com/office/drawing/2014/main" id="{032B26FC-CB85-179D-CFC3-C76D2F4614A6}"/>
                    </a:ext>
                  </a:extLst>
                </p:cNvPr>
                <p:cNvSpPr/>
                <p:nvPr/>
              </p:nvSpPr>
              <p:spPr>
                <a:xfrm>
                  <a:off x="6083891" y="1359924"/>
                  <a:ext cx="105717" cy="396366"/>
                </a:xfrm>
                <a:custGeom>
                  <a:avLst/>
                  <a:gdLst>
                    <a:gd name="connsiteX0" fmla="*/ 52891 w 105717"/>
                    <a:gd name="connsiteY0" fmla="*/ 105718 h 396366"/>
                    <a:gd name="connsiteX1" fmla="*/ 0 w 105717"/>
                    <a:gd name="connsiteY1" fmla="*/ 52891 h 396366"/>
                    <a:gd name="connsiteX2" fmla="*/ 52891 w 105717"/>
                    <a:gd name="connsiteY2" fmla="*/ 0 h 396366"/>
                    <a:gd name="connsiteX3" fmla="*/ 105718 w 105717"/>
                    <a:gd name="connsiteY3" fmla="*/ 52826 h 396366"/>
                    <a:gd name="connsiteX4" fmla="*/ 105718 w 105717"/>
                    <a:gd name="connsiteY4" fmla="*/ 346884 h 396366"/>
                    <a:gd name="connsiteX5" fmla="*/ 80606 w 105717"/>
                    <a:gd name="connsiteY5" fmla="*/ 388911 h 396366"/>
                    <a:gd name="connsiteX6" fmla="*/ 9238 w 105717"/>
                    <a:gd name="connsiteY6" fmla="*/ 371150 h 396366"/>
                    <a:gd name="connsiteX7" fmla="*/ 15484 w 105717"/>
                    <a:gd name="connsiteY7" fmla="*/ 309216 h 396366"/>
                    <a:gd name="connsiteX8" fmla="*/ 45019 w 105717"/>
                    <a:gd name="connsiteY8" fmla="*/ 277078 h 39636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105717" h="396366">
                      <a:moveTo>
                        <a:pt x="52891" y="105718"/>
                      </a:moveTo>
                      <a:cubicBezTo>
                        <a:pt x="23681" y="105718"/>
                        <a:pt x="0" y="82037"/>
                        <a:pt x="0" y="52891"/>
                      </a:cubicBezTo>
                      <a:cubicBezTo>
                        <a:pt x="0" y="23746"/>
                        <a:pt x="23681" y="0"/>
                        <a:pt x="52891" y="0"/>
                      </a:cubicBezTo>
                      <a:cubicBezTo>
                        <a:pt x="82102" y="0"/>
                        <a:pt x="105718" y="23681"/>
                        <a:pt x="105718" y="52826"/>
                      </a:cubicBezTo>
                      <a:lnTo>
                        <a:pt x="105718" y="346884"/>
                      </a:lnTo>
                      <a:cubicBezTo>
                        <a:pt x="105718" y="364580"/>
                        <a:pt x="96414" y="379413"/>
                        <a:pt x="80606" y="388911"/>
                      </a:cubicBezTo>
                      <a:cubicBezTo>
                        <a:pt x="55949" y="403744"/>
                        <a:pt x="24006" y="395742"/>
                        <a:pt x="9238" y="371150"/>
                      </a:cubicBezTo>
                      <a:cubicBezTo>
                        <a:pt x="-2928" y="350918"/>
                        <a:pt x="260" y="325741"/>
                        <a:pt x="15484" y="309216"/>
                      </a:cubicBezTo>
                      <a:lnTo>
                        <a:pt x="45019" y="277078"/>
                      </a:lnTo>
                    </a:path>
                  </a:pathLst>
                </a:custGeom>
                <a:grpFill/>
                <a:ln w="19050" cap="sq">
                  <a:solidFill>
                    <a:schemeClr val="accent2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10" name="Forma livre: Forma 109">
                  <a:extLst>
                    <a:ext uri="{FF2B5EF4-FFF2-40B4-BE49-F238E27FC236}">
                      <a16:creationId xmlns:a16="http://schemas.microsoft.com/office/drawing/2014/main" id="{818ED30D-F142-A8AB-3006-B82EA882AFAF}"/>
                    </a:ext>
                  </a:extLst>
                </p:cNvPr>
                <p:cNvSpPr/>
                <p:nvPr/>
              </p:nvSpPr>
              <p:spPr>
                <a:xfrm>
                  <a:off x="6144784" y="1383865"/>
                  <a:ext cx="41563" cy="38963"/>
                </a:xfrm>
                <a:custGeom>
                  <a:avLst/>
                  <a:gdLst>
                    <a:gd name="connsiteX0" fmla="*/ 36172 w 41563"/>
                    <a:gd name="connsiteY0" fmla="*/ 0 h 38963"/>
                    <a:gd name="connsiteX1" fmla="*/ 39425 w 41563"/>
                    <a:gd name="connsiteY1" fmla="*/ 24266 h 38963"/>
                    <a:gd name="connsiteX2" fmla="*/ 36432 w 41563"/>
                    <a:gd name="connsiteY2" fmla="*/ 29080 h 38963"/>
                    <a:gd name="connsiteX3" fmla="*/ 0 w 41563"/>
                    <a:gd name="connsiteY3" fmla="*/ 33439 h 3896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1563" h="38963">
                      <a:moveTo>
                        <a:pt x="36172" y="0"/>
                      </a:moveTo>
                      <a:cubicBezTo>
                        <a:pt x="41571" y="7547"/>
                        <a:pt x="43393" y="16004"/>
                        <a:pt x="39425" y="24266"/>
                      </a:cubicBezTo>
                      <a:cubicBezTo>
                        <a:pt x="38644" y="25893"/>
                        <a:pt x="37603" y="27519"/>
                        <a:pt x="36432" y="29080"/>
                      </a:cubicBezTo>
                      <a:cubicBezTo>
                        <a:pt x="27584" y="40270"/>
                        <a:pt x="11190" y="42287"/>
                        <a:pt x="0" y="33439"/>
                      </a:cubicBezTo>
                    </a:path>
                  </a:pathLst>
                </a:custGeom>
                <a:grpFill/>
                <a:ln w="19050" cap="sq">
                  <a:solidFill>
                    <a:schemeClr val="accent2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11" name="Forma livre: Forma 110">
                  <a:extLst>
                    <a:ext uri="{FF2B5EF4-FFF2-40B4-BE49-F238E27FC236}">
                      <a16:creationId xmlns:a16="http://schemas.microsoft.com/office/drawing/2014/main" id="{27F6ACD3-ACBA-4E8E-017C-E48295A6FA33}"/>
                    </a:ext>
                  </a:extLst>
                </p:cNvPr>
                <p:cNvSpPr/>
                <p:nvPr/>
              </p:nvSpPr>
              <p:spPr>
                <a:xfrm>
                  <a:off x="6081487" y="1460806"/>
                  <a:ext cx="34217" cy="54474"/>
                </a:xfrm>
                <a:custGeom>
                  <a:avLst/>
                  <a:gdLst>
                    <a:gd name="connsiteX0" fmla="*/ 21076 w 34217"/>
                    <a:gd name="connsiteY0" fmla="*/ 54475 h 54474"/>
                    <a:gd name="connsiteX1" fmla="*/ 778 w 34217"/>
                    <a:gd name="connsiteY1" fmla="*/ 21035 h 54474"/>
                    <a:gd name="connsiteX2" fmla="*/ 34217 w 34217"/>
                    <a:gd name="connsiteY2" fmla="*/ 803 h 544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34217" h="54474">
                      <a:moveTo>
                        <a:pt x="21076" y="54475"/>
                      </a:moveTo>
                      <a:cubicBezTo>
                        <a:pt x="6308" y="50832"/>
                        <a:pt x="-2800" y="35803"/>
                        <a:pt x="778" y="21035"/>
                      </a:cubicBezTo>
                      <a:cubicBezTo>
                        <a:pt x="4421" y="6267"/>
                        <a:pt x="19449" y="-2841"/>
                        <a:pt x="34217" y="803"/>
                      </a:cubicBezTo>
                    </a:path>
                  </a:pathLst>
                </a:custGeom>
                <a:grpFill/>
                <a:ln w="19050" cap="sq">
                  <a:solidFill>
                    <a:schemeClr val="accent2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12" name="Forma livre: Forma 111">
                  <a:extLst>
                    <a:ext uri="{FF2B5EF4-FFF2-40B4-BE49-F238E27FC236}">
                      <a16:creationId xmlns:a16="http://schemas.microsoft.com/office/drawing/2014/main" id="{881987F3-FA70-8BE2-8715-6B48402B462A}"/>
                    </a:ext>
                  </a:extLst>
                </p:cNvPr>
                <p:cNvSpPr/>
                <p:nvPr/>
              </p:nvSpPr>
              <p:spPr>
                <a:xfrm>
                  <a:off x="6073547" y="1527543"/>
                  <a:ext cx="114760" cy="72506"/>
                </a:xfrm>
                <a:custGeom>
                  <a:avLst/>
                  <a:gdLst>
                    <a:gd name="connsiteX0" fmla="*/ 114760 w 114760"/>
                    <a:gd name="connsiteY0" fmla="*/ 7254 h 72506"/>
                    <a:gd name="connsiteX1" fmla="*/ 73905 w 114760"/>
                    <a:gd name="connsiteY1" fmla="*/ 8881 h 72506"/>
                    <a:gd name="connsiteX2" fmla="*/ 0 w 114760"/>
                    <a:gd name="connsiteY2" fmla="*/ 72506 h 7250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14760" h="72506">
                      <a:moveTo>
                        <a:pt x="114760" y="7254"/>
                      </a:moveTo>
                      <a:cubicBezTo>
                        <a:pt x="103375" y="-2830"/>
                        <a:pt x="83989" y="-2504"/>
                        <a:pt x="73905" y="8881"/>
                      </a:cubicBezTo>
                      <a:cubicBezTo>
                        <a:pt x="73905" y="8881"/>
                        <a:pt x="31488" y="72506"/>
                        <a:pt x="0" y="72506"/>
                      </a:cubicBezTo>
                    </a:path>
                  </a:pathLst>
                </a:custGeom>
                <a:grpFill/>
                <a:ln w="19050" cap="sq">
                  <a:solidFill>
                    <a:schemeClr val="accent2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13" name="Forma livre: Forma 112">
                  <a:extLst>
                    <a:ext uri="{FF2B5EF4-FFF2-40B4-BE49-F238E27FC236}">
                      <a16:creationId xmlns:a16="http://schemas.microsoft.com/office/drawing/2014/main" id="{4D623032-4574-8792-1A11-DDC6C119653A}"/>
                    </a:ext>
                  </a:extLst>
                </p:cNvPr>
                <p:cNvSpPr/>
                <p:nvPr/>
              </p:nvSpPr>
              <p:spPr>
                <a:xfrm>
                  <a:off x="6079857" y="1646956"/>
                  <a:ext cx="29405" cy="9823"/>
                </a:xfrm>
                <a:custGeom>
                  <a:avLst/>
                  <a:gdLst>
                    <a:gd name="connsiteX0" fmla="*/ 0 w 29405"/>
                    <a:gd name="connsiteY0" fmla="*/ 0 h 9823"/>
                    <a:gd name="connsiteX1" fmla="*/ 29406 w 29405"/>
                    <a:gd name="connsiteY1" fmla="*/ 9824 h 982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9405" h="9823">
                      <a:moveTo>
                        <a:pt x="0" y="0"/>
                      </a:moveTo>
                      <a:lnTo>
                        <a:pt x="29406" y="9824"/>
                      </a:lnTo>
                    </a:path>
                  </a:pathLst>
                </a:custGeom>
                <a:grpFill/>
                <a:ln w="19050" cap="sq">
                  <a:solidFill>
                    <a:schemeClr val="accent2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14" name="Forma livre: Forma 113">
                  <a:extLst>
                    <a:ext uri="{FF2B5EF4-FFF2-40B4-BE49-F238E27FC236}">
                      <a16:creationId xmlns:a16="http://schemas.microsoft.com/office/drawing/2014/main" id="{94E45726-734F-6AE8-53CE-22A621CDDEEA}"/>
                    </a:ext>
                  </a:extLst>
                </p:cNvPr>
                <p:cNvSpPr/>
                <p:nvPr/>
              </p:nvSpPr>
              <p:spPr>
                <a:xfrm>
                  <a:off x="6061121" y="1545272"/>
                  <a:ext cx="47166" cy="34154"/>
                </a:xfrm>
                <a:custGeom>
                  <a:avLst/>
                  <a:gdLst>
                    <a:gd name="connsiteX0" fmla="*/ 0 w 47166"/>
                    <a:gd name="connsiteY0" fmla="*/ 0 h 34154"/>
                    <a:gd name="connsiteX1" fmla="*/ 47166 w 47166"/>
                    <a:gd name="connsiteY1" fmla="*/ 34155 h 3415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7166" h="34154">
                      <a:moveTo>
                        <a:pt x="0" y="0"/>
                      </a:moveTo>
                      <a:cubicBezTo>
                        <a:pt x="0" y="0"/>
                        <a:pt x="27649" y="13011"/>
                        <a:pt x="47166" y="34155"/>
                      </a:cubicBezTo>
                    </a:path>
                  </a:pathLst>
                </a:custGeom>
                <a:grpFill/>
                <a:ln w="19050" cap="sq">
                  <a:solidFill>
                    <a:schemeClr val="accent2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95" name="Gráfico 32">
                <a:extLst>
                  <a:ext uri="{FF2B5EF4-FFF2-40B4-BE49-F238E27FC236}">
                    <a16:creationId xmlns:a16="http://schemas.microsoft.com/office/drawing/2014/main" id="{74D7FD22-2156-CFA3-52C4-EBFEF7441388}"/>
                  </a:ext>
                </a:extLst>
              </p:cNvPr>
              <p:cNvGrpSpPr/>
              <p:nvPr/>
            </p:nvGrpSpPr>
            <p:grpSpPr>
              <a:xfrm>
                <a:off x="6191625" y="1599725"/>
                <a:ext cx="173767" cy="157112"/>
                <a:chOff x="6191625" y="1599725"/>
                <a:chExt cx="173767" cy="157112"/>
              </a:xfrm>
              <a:grpFill/>
            </p:grpSpPr>
            <p:sp>
              <p:nvSpPr>
                <p:cNvPr id="105" name="Forma livre: Forma 104">
                  <a:extLst>
                    <a:ext uri="{FF2B5EF4-FFF2-40B4-BE49-F238E27FC236}">
                      <a16:creationId xmlns:a16="http://schemas.microsoft.com/office/drawing/2014/main" id="{B1A1000A-5CCF-C614-9942-DC580128EB59}"/>
                    </a:ext>
                  </a:extLst>
                </p:cNvPr>
                <p:cNvSpPr/>
                <p:nvPr/>
              </p:nvSpPr>
              <p:spPr>
                <a:xfrm>
                  <a:off x="6310094" y="1621974"/>
                  <a:ext cx="55298" cy="55298"/>
                </a:xfrm>
                <a:custGeom>
                  <a:avLst/>
                  <a:gdLst>
                    <a:gd name="connsiteX0" fmla="*/ 55298 w 55298"/>
                    <a:gd name="connsiteY0" fmla="*/ 27649 h 55298"/>
                    <a:gd name="connsiteX1" fmla="*/ 27649 w 55298"/>
                    <a:gd name="connsiteY1" fmla="*/ 55298 h 55298"/>
                    <a:gd name="connsiteX2" fmla="*/ 0 w 55298"/>
                    <a:gd name="connsiteY2" fmla="*/ 27649 h 55298"/>
                    <a:gd name="connsiteX3" fmla="*/ 27649 w 55298"/>
                    <a:gd name="connsiteY3" fmla="*/ 0 h 55298"/>
                    <a:gd name="connsiteX4" fmla="*/ 55298 w 55298"/>
                    <a:gd name="connsiteY4" fmla="*/ 27649 h 552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5298" h="55298">
                      <a:moveTo>
                        <a:pt x="55298" y="27649"/>
                      </a:moveTo>
                      <a:cubicBezTo>
                        <a:pt x="55298" y="42938"/>
                        <a:pt x="42938" y="55298"/>
                        <a:pt x="27649" y="55298"/>
                      </a:cubicBezTo>
                      <a:cubicBezTo>
                        <a:pt x="12361" y="55298"/>
                        <a:pt x="0" y="42938"/>
                        <a:pt x="0" y="27649"/>
                      </a:cubicBezTo>
                      <a:cubicBezTo>
                        <a:pt x="0" y="12361"/>
                        <a:pt x="12361" y="0"/>
                        <a:pt x="27649" y="0"/>
                      </a:cubicBezTo>
                      <a:cubicBezTo>
                        <a:pt x="42938" y="0"/>
                        <a:pt x="55298" y="12361"/>
                        <a:pt x="55298" y="27649"/>
                      </a:cubicBezTo>
                      <a:close/>
                    </a:path>
                  </a:pathLst>
                </a:custGeom>
                <a:grpFill/>
                <a:ln w="19050" cap="sq">
                  <a:solidFill>
                    <a:schemeClr val="accent2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06" name="Forma livre: Forma 105">
                  <a:extLst>
                    <a:ext uri="{FF2B5EF4-FFF2-40B4-BE49-F238E27FC236}">
                      <a16:creationId xmlns:a16="http://schemas.microsoft.com/office/drawing/2014/main" id="{8AC2581D-3131-2DAD-7D96-ACBB82385ED0}"/>
                    </a:ext>
                  </a:extLst>
                </p:cNvPr>
                <p:cNvSpPr/>
                <p:nvPr/>
              </p:nvSpPr>
              <p:spPr>
                <a:xfrm>
                  <a:off x="6191625" y="1599725"/>
                  <a:ext cx="118078" cy="49898"/>
                </a:xfrm>
                <a:custGeom>
                  <a:avLst/>
                  <a:gdLst>
                    <a:gd name="connsiteX0" fmla="*/ 0 w 118078"/>
                    <a:gd name="connsiteY0" fmla="*/ 0 h 49898"/>
                    <a:gd name="connsiteX1" fmla="*/ 37343 w 118078"/>
                    <a:gd name="connsiteY1" fmla="*/ 0 h 49898"/>
                    <a:gd name="connsiteX2" fmla="*/ 87176 w 118078"/>
                    <a:gd name="connsiteY2" fmla="*/ 49899 h 49898"/>
                    <a:gd name="connsiteX3" fmla="*/ 118078 w 118078"/>
                    <a:gd name="connsiteY3" fmla="*/ 49899 h 498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18078" h="49898">
                      <a:moveTo>
                        <a:pt x="0" y="0"/>
                      </a:moveTo>
                      <a:lnTo>
                        <a:pt x="37343" y="0"/>
                      </a:lnTo>
                      <a:lnTo>
                        <a:pt x="87176" y="49899"/>
                      </a:lnTo>
                      <a:lnTo>
                        <a:pt x="118078" y="49899"/>
                      </a:lnTo>
                    </a:path>
                  </a:pathLst>
                </a:custGeom>
                <a:grpFill/>
                <a:ln w="19050" cap="sq">
                  <a:solidFill>
                    <a:schemeClr val="accent2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07" name="Forma livre: Forma 106">
                  <a:extLst>
                    <a:ext uri="{FF2B5EF4-FFF2-40B4-BE49-F238E27FC236}">
                      <a16:creationId xmlns:a16="http://schemas.microsoft.com/office/drawing/2014/main" id="{E2E98865-E67A-E29F-CA21-2A6382223A34}"/>
                    </a:ext>
                  </a:extLst>
                </p:cNvPr>
                <p:cNvSpPr/>
                <p:nvPr/>
              </p:nvSpPr>
              <p:spPr>
                <a:xfrm>
                  <a:off x="6191625" y="1665367"/>
                  <a:ext cx="81906" cy="44108"/>
                </a:xfrm>
                <a:custGeom>
                  <a:avLst/>
                  <a:gdLst>
                    <a:gd name="connsiteX0" fmla="*/ 0 w 81906"/>
                    <a:gd name="connsiteY0" fmla="*/ 0 h 44108"/>
                    <a:gd name="connsiteX1" fmla="*/ 37343 w 81906"/>
                    <a:gd name="connsiteY1" fmla="*/ 0 h 44108"/>
                    <a:gd name="connsiteX2" fmla="*/ 81907 w 81906"/>
                    <a:gd name="connsiteY2" fmla="*/ 44109 h 4410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81906" h="44108">
                      <a:moveTo>
                        <a:pt x="0" y="0"/>
                      </a:moveTo>
                      <a:lnTo>
                        <a:pt x="37343" y="0"/>
                      </a:lnTo>
                      <a:lnTo>
                        <a:pt x="81907" y="44109"/>
                      </a:lnTo>
                    </a:path>
                  </a:pathLst>
                </a:custGeom>
                <a:grpFill/>
                <a:ln w="19050" cap="sq">
                  <a:solidFill>
                    <a:schemeClr val="accent2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08" name="Forma livre: Forma 107">
                  <a:extLst>
                    <a:ext uri="{FF2B5EF4-FFF2-40B4-BE49-F238E27FC236}">
                      <a16:creationId xmlns:a16="http://schemas.microsoft.com/office/drawing/2014/main" id="{2BE847E6-0EAC-8FE3-46C9-68CE905CEABD}"/>
                    </a:ext>
                  </a:extLst>
                </p:cNvPr>
                <p:cNvSpPr/>
                <p:nvPr/>
              </p:nvSpPr>
              <p:spPr>
                <a:xfrm>
                  <a:off x="6265075" y="1701539"/>
                  <a:ext cx="55298" cy="55298"/>
                </a:xfrm>
                <a:custGeom>
                  <a:avLst/>
                  <a:gdLst>
                    <a:gd name="connsiteX0" fmla="*/ 55298 w 55298"/>
                    <a:gd name="connsiteY0" fmla="*/ 27649 h 55298"/>
                    <a:gd name="connsiteX1" fmla="*/ 27649 w 55298"/>
                    <a:gd name="connsiteY1" fmla="*/ 55298 h 55298"/>
                    <a:gd name="connsiteX2" fmla="*/ 0 w 55298"/>
                    <a:gd name="connsiteY2" fmla="*/ 27649 h 55298"/>
                    <a:gd name="connsiteX3" fmla="*/ 27649 w 55298"/>
                    <a:gd name="connsiteY3" fmla="*/ 0 h 55298"/>
                    <a:gd name="connsiteX4" fmla="*/ 55298 w 55298"/>
                    <a:gd name="connsiteY4" fmla="*/ 27649 h 552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5298" h="55298">
                      <a:moveTo>
                        <a:pt x="55298" y="27649"/>
                      </a:moveTo>
                      <a:cubicBezTo>
                        <a:pt x="55298" y="42938"/>
                        <a:pt x="42938" y="55298"/>
                        <a:pt x="27649" y="55298"/>
                      </a:cubicBezTo>
                      <a:cubicBezTo>
                        <a:pt x="12361" y="55298"/>
                        <a:pt x="0" y="42938"/>
                        <a:pt x="0" y="27649"/>
                      </a:cubicBezTo>
                      <a:cubicBezTo>
                        <a:pt x="0" y="12361"/>
                        <a:pt x="12361" y="0"/>
                        <a:pt x="27649" y="0"/>
                      </a:cubicBezTo>
                      <a:cubicBezTo>
                        <a:pt x="42938" y="0"/>
                        <a:pt x="55298" y="12361"/>
                        <a:pt x="55298" y="27649"/>
                      </a:cubicBezTo>
                      <a:close/>
                    </a:path>
                  </a:pathLst>
                </a:custGeom>
                <a:grpFill/>
                <a:ln w="19050" cap="sq">
                  <a:solidFill>
                    <a:schemeClr val="accent2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96" name="Gráfico 32">
                <a:extLst>
                  <a:ext uri="{FF2B5EF4-FFF2-40B4-BE49-F238E27FC236}">
                    <a16:creationId xmlns:a16="http://schemas.microsoft.com/office/drawing/2014/main" id="{14E1CD39-B778-00E7-93D5-4F2845B532A8}"/>
                  </a:ext>
                </a:extLst>
              </p:cNvPr>
              <p:cNvGrpSpPr/>
              <p:nvPr/>
            </p:nvGrpSpPr>
            <p:grpSpPr>
              <a:xfrm>
                <a:off x="6191625" y="1357908"/>
                <a:ext cx="173767" cy="157112"/>
                <a:chOff x="6191625" y="1357908"/>
                <a:chExt cx="173767" cy="157112"/>
              </a:xfrm>
              <a:grpFill/>
            </p:grpSpPr>
            <p:sp>
              <p:nvSpPr>
                <p:cNvPr id="101" name="Forma livre: Forma 100">
                  <a:extLst>
                    <a:ext uri="{FF2B5EF4-FFF2-40B4-BE49-F238E27FC236}">
                      <a16:creationId xmlns:a16="http://schemas.microsoft.com/office/drawing/2014/main" id="{971CB636-98DC-A988-D56E-3C9994276FF9}"/>
                    </a:ext>
                  </a:extLst>
                </p:cNvPr>
                <p:cNvSpPr/>
                <p:nvPr/>
              </p:nvSpPr>
              <p:spPr>
                <a:xfrm>
                  <a:off x="6310094" y="1437472"/>
                  <a:ext cx="55298" cy="55298"/>
                </a:xfrm>
                <a:custGeom>
                  <a:avLst/>
                  <a:gdLst>
                    <a:gd name="connsiteX0" fmla="*/ 55298 w 55298"/>
                    <a:gd name="connsiteY0" fmla="*/ 27649 h 55298"/>
                    <a:gd name="connsiteX1" fmla="*/ 27649 w 55298"/>
                    <a:gd name="connsiteY1" fmla="*/ 0 h 55298"/>
                    <a:gd name="connsiteX2" fmla="*/ 0 w 55298"/>
                    <a:gd name="connsiteY2" fmla="*/ 27649 h 55298"/>
                    <a:gd name="connsiteX3" fmla="*/ 27649 w 55298"/>
                    <a:gd name="connsiteY3" fmla="*/ 55298 h 55298"/>
                    <a:gd name="connsiteX4" fmla="*/ 55298 w 55298"/>
                    <a:gd name="connsiteY4" fmla="*/ 27649 h 552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5298" h="55298">
                      <a:moveTo>
                        <a:pt x="55298" y="27649"/>
                      </a:moveTo>
                      <a:cubicBezTo>
                        <a:pt x="55298" y="12361"/>
                        <a:pt x="42938" y="0"/>
                        <a:pt x="27649" y="0"/>
                      </a:cubicBezTo>
                      <a:cubicBezTo>
                        <a:pt x="12361" y="0"/>
                        <a:pt x="0" y="12361"/>
                        <a:pt x="0" y="27649"/>
                      </a:cubicBezTo>
                      <a:cubicBezTo>
                        <a:pt x="0" y="42938"/>
                        <a:pt x="12361" y="55298"/>
                        <a:pt x="27649" y="55298"/>
                      </a:cubicBezTo>
                      <a:cubicBezTo>
                        <a:pt x="42938" y="55298"/>
                        <a:pt x="55298" y="42938"/>
                        <a:pt x="55298" y="27649"/>
                      </a:cubicBezTo>
                      <a:close/>
                    </a:path>
                  </a:pathLst>
                </a:custGeom>
                <a:grpFill/>
                <a:ln w="19050" cap="sq">
                  <a:solidFill>
                    <a:schemeClr val="accent2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02" name="Forma livre: Forma 101">
                  <a:extLst>
                    <a:ext uri="{FF2B5EF4-FFF2-40B4-BE49-F238E27FC236}">
                      <a16:creationId xmlns:a16="http://schemas.microsoft.com/office/drawing/2014/main" id="{B26AE472-9A85-4FCC-BE98-B4A7F905F6C7}"/>
                    </a:ext>
                  </a:extLst>
                </p:cNvPr>
                <p:cNvSpPr/>
                <p:nvPr/>
              </p:nvSpPr>
              <p:spPr>
                <a:xfrm>
                  <a:off x="6191625" y="1465122"/>
                  <a:ext cx="118468" cy="49898"/>
                </a:xfrm>
                <a:custGeom>
                  <a:avLst/>
                  <a:gdLst>
                    <a:gd name="connsiteX0" fmla="*/ 0 w 118468"/>
                    <a:gd name="connsiteY0" fmla="*/ 49899 h 49898"/>
                    <a:gd name="connsiteX1" fmla="*/ 37343 w 118468"/>
                    <a:gd name="connsiteY1" fmla="*/ 49899 h 49898"/>
                    <a:gd name="connsiteX2" fmla="*/ 87176 w 118468"/>
                    <a:gd name="connsiteY2" fmla="*/ 0 h 49898"/>
                    <a:gd name="connsiteX3" fmla="*/ 118469 w 118468"/>
                    <a:gd name="connsiteY3" fmla="*/ 0 h 498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18468" h="49898">
                      <a:moveTo>
                        <a:pt x="0" y="49899"/>
                      </a:moveTo>
                      <a:lnTo>
                        <a:pt x="37343" y="49899"/>
                      </a:lnTo>
                      <a:lnTo>
                        <a:pt x="87176" y="0"/>
                      </a:lnTo>
                      <a:lnTo>
                        <a:pt x="118469" y="0"/>
                      </a:lnTo>
                    </a:path>
                  </a:pathLst>
                </a:custGeom>
                <a:grpFill/>
                <a:ln w="19050" cap="sq">
                  <a:solidFill>
                    <a:schemeClr val="accent2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03" name="Forma livre: Forma 102">
                  <a:extLst>
                    <a:ext uri="{FF2B5EF4-FFF2-40B4-BE49-F238E27FC236}">
                      <a16:creationId xmlns:a16="http://schemas.microsoft.com/office/drawing/2014/main" id="{EBE858E7-4A39-681C-5FEF-49AAC9E33A55}"/>
                    </a:ext>
                  </a:extLst>
                </p:cNvPr>
                <p:cNvSpPr/>
                <p:nvPr/>
              </p:nvSpPr>
              <p:spPr>
                <a:xfrm>
                  <a:off x="6191625" y="1405269"/>
                  <a:ext cx="81451" cy="44043"/>
                </a:xfrm>
                <a:custGeom>
                  <a:avLst/>
                  <a:gdLst>
                    <a:gd name="connsiteX0" fmla="*/ 0 w 81451"/>
                    <a:gd name="connsiteY0" fmla="*/ 44044 h 44043"/>
                    <a:gd name="connsiteX1" fmla="*/ 37343 w 81451"/>
                    <a:gd name="connsiteY1" fmla="*/ 44044 h 44043"/>
                    <a:gd name="connsiteX2" fmla="*/ 81451 w 81451"/>
                    <a:gd name="connsiteY2" fmla="*/ 0 h 4404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81451" h="44043">
                      <a:moveTo>
                        <a:pt x="0" y="44044"/>
                      </a:moveTo>
                      <a:lnTo>
                        <a:pt x="37343" y="44044"/>
                      </a:lnTo>
                      <a:lnTo>
                        <a:pt x="81451" y="0"/>
                      </a:lnTo>
                    </a:path>
                  </a:pathLst>
                </a:custGeom>
                <a:grpFill/>
                <a:ln w="19050" cap="sq">
                  <a:solidFill>
                    <a:schemeClr val="accent2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04" name="Forma livre: Forma 103">
                  <a:extLst>
                    <a:ext uri="{FF2B5EF4-FFF2-40B4-BE49-F238E27FC236}">
                      <a16:creationId xmlns:a16="http://schemas.microsoft.com/office/drawing/2014/main" id="{8DD0CB94-F422-0660-6690-5348A8FA7AE3}"/>
                    </a:ext>
                  </a:extLst>
                </p:cNvPr>
                <p:cNvSpPr/>
                <p:nvPr/>
              </p:nvSpPr>
              <p:spPr>
                <a:xfrm>
                  <a:off x="6265075" y="1357908"/>
                  <a:ext cx="55298" cy="55298"/>
                </a:xfrm>
                <a:custGeom>
                  <a:avLst/>
                  <a:gdLst>
                    <a:gd name="connsiteX0" fmla="*/ 55298 w 55298"/>
                    <a:gd name="connsiteY0" fmla="*/ 27649 h 55298"/>
                    <a:gd name="connsiteX1" fmla="*/ 27649 w 55298"/>
                    <a:gd name="connsiteY1" fmla="*/ 0 h 55298"/>
                    <a:gd name="connsiteX2" fmla="*/ 0 w 55298"/>
                    <a:gd name="connsiteY2" fmla="*/ 27649 h 55298"/>
                    <a:gd name="connsiteX3" fmla="*/ 27649 w 55298"/>
                    <a:gd name="connsiteY3" fmla="*/ 55298 h 55298"/>
                    <a:gd name="connsiteX4" fmla="*/ 55298 w 55298"/>
                    <a:gd name="connsiteY4" fmla="*/ 27649 h 552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5298" h="55298">
                      <a:moveTo>
                        <a:pt x="55298" y="27649"/>
                      </a:moveTo>
                      <a:cubicBezTo>
                        <a:pt x="55298" y="12361"/>
                        <a:pt x="42938" y="0"/>
                        <a:pt x="27649" y="0"/>
                      </a:cubicBezTo>
                      <a:cubicBezTo>
                        <a:pt x="12361" y="0"/>
                        <a:pt x="0" y="12361"/>
                        <a:pt x="0" y="27649"/>
                      </a:cubicBezTo>
                      <a:cubicBezTo>
                        <a:pt x="0" y="42938"/>
                        <a:pt x="12361" y="55298"/>
                        <a:pt x="27649" y="55298"/>
                      </a:cubicBezTo>
                      <a:cubicBezTo>
                        <a:pt x="42938" y="55298"/>
                        <a:pt x="55298" y="42938"/>
                        <a:pt x="55298" y="27649"/>
                      </a:cubicBezTo>
                      <a:close/>
                    </a:path>
                  </a:pathLst>
                </a:custGeom>
                <a:grpFill/>
                <a:ln w="19050" cap="sq">
                  <a:solidFill>
                    <a:schemeClr val="accent2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97" name="Gráfico 32">
                <a:extLst>
                  <a:ext uri="{FF2B5EF4-FFF2-40B4-BE49-F238E27FC236}">
                    <a16:creationId xmlns:a16="http://schemas.microsoft.com/office/drawing/2014/main" id="{6061C7A4-2A06-BAF8-3CCF-1AA0A5F599D7}"/>
                  </a:ext>
                </a:extLst>
              </p:cNvPr>
              <p:cNvGrpSpPr/>
              <p:nvPr/>
            </p:nvGrpSpPr>
            <p:grpSpPr>
              <a:xfrm>
                <a:off x="6190910" y="1529723"/>
                <a:ext cx="123673" cy="55298"/>
                <a:chOff x="6190910" y="1529723"/>
                <a:chExt cx="123673" cy="55298"/>
              </a:xfrm>
              <a:grpFill/>
            </p:grpSpPr>
            <p:sp>
              <p:nvSpPr>
                <p:cNvPr id="99" name="Forma livre: Forma 98">
                  <a:extLst>
                    <a:ext uri="{FF2B5EF4-FFF2-40B4-BE49-F238E27FC236}">
                      <a16:creationId xmlns:a16="http://schemas.microsoft.com/office/drawing/2014/main" id="{2A69F805-82D1-3E87-452E-12849BC51032}"/>
                    </a:ext>
                  </a:extLst>
                </p:cNvPr>
                <p:cNvSpPr/>
                <p:nvPr/>
              </p:nvSpPr>
              <p:spPr>
                <a:xfrm>
                  <a:off x="6190910" y="1557372"/>
                  <a:ext cx="68765" cy="6505"/>
                </a:xfrm>
                <a:custGeom>
                  <a:avLst/>
                  <a:gdLst>
                    <a:gd name="connsiteX0" fmla="*/ 0 w 68765"/>
                    <a:gd name="connsiteY0" fmla="*/ 0 h 6505"/>
                    <a:gd name="connsiteX1" fmla="*/ 68765 w 68765"/>
                    <a:gd name="connsiteY1" fmla="*/ 0 h 650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68765" h="6505">
                      <a:moveTo>
                        <a:pt x="0" y="0"/>
                      </a:moveTo>
                      <a:lnTo>
                        <a:pt x="68765" y="0"/>
                      </a:lnTo>
                    </a:path>
                  </a:pathLst>
                </a:custGeom>
                <a:grpFill/>
                <a:ln w="19050" cap="sq">
                  <a:solidFill>
                    <a:schemeClr val="accent2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00" name="Forma livre: Forma 99">
                  <a:extLst>
                    <a:ext uri="{FF2B5EF4-FFF2-40B4-BE49-F238E27FC236}">
                      <a16:creationId xmlns:a16="http://schemas.microsoft.com/office/drawing/2014/main" id="{7D4A038D-23AD-310D-25A8-B9AD84865894}"/>
                    </a:ext>
                  </a:extLst>
                </p:cNvPr>
                <p:cNvSpPr/>
                <p:nvPr/>
              </p:nvSpPr>
              <p:spPr>
                <a:xfrm>
                  <a:off x="6259285" y="1529723"/>
                  <a:ext cx="55298" cy="55298"/>
                </a:xfrm>
                <a:custGeom>
                  <a:avLst/>
                  <a:gdLst>
                    <a:gd name="connsiteX0" fmla="*/ 55298 w 55298"/>
                    <a:gd name="connsiteY0" fmla="*/ 27649 h 55298"/>
                    <a:gd name="connsiteX1" fmla="*/ 27649 w 55298"/>
                    <a:gd name="connsiteY1" fmla="*/ 55298 h 55298"/>
                    <a:gd name="connsiteX2" fmla="*/ 0 w 55298"/>
                    <a:gd name="connsiteY2" fmla="*/ 27649 h 55298"/>
                    <a:gd name="connsiteX3" fmla="*/ 27649 w 55298"/>
                    <a:gd name="connsiteY3" fmla="*/ 0 h 55298"/>
                    <a:gd name="connsiteX4" fmla="*/ 55298 w 55298"/>
                    <a:gd name="connsiteY4" fmla="*/ 27649 h 552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5298" h="55298">
                      <a:moveTo>
                        <a:pt x="55298" y="27649"/>
                      </a:moveTo>
                      <a:cubicBezTo>
                        <a:pt x="55298" y="42938"/>
                        <a:pt x="42938" y="55298"/>
                        <a:pt x="27649" y="55298"/>
                      </a:cubicBezTo>
                      <a:cubicBezTo>
                        <a:pt x="12361" y="55298"/>
                        <a:pt x="0" y="42938"/>
                        <a:pt x="0" y="27649"/>
                      </a:cubicBezTo>
                      <a:cubicBezTo>
                        <a:pt x="0" y="12361"/>
                        <a:pt x="12361" y="0"/>
                        <a:pt x="27649" y="0"/>
                      </a:cubicBezTo>
                      <a:cubicBezTo>
                        <a:pt x="42938" y="0"/>
                        <a:pt x="55298" y="12361"/>
                        <a:pt x="55298" y="27649"/>
                      </a:cubicBezTo>
                      <a:close/>
                    </a:path>
                  </a:pathLst>
                </a:custGeom>
                <a:grpFill/>
                <a:ln w="19050" cap="sq">
                  <a:solidFill>
                    <a:schemeClr val="accent2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98" name="Forma livre: Forma 97">
                <a:extLst>
                  <a:ext uri="{FF2B5EF4-FFF2-40B4-BE49-F238E27FC236}">
                    <a16:creationId xmlns:a16="http://schemas.microsoft.com/office/drawing/2014/main" id="{372BC3DC-9854-C867-2FCA-1B356747FE58}"/>
                  </a:ext>
                </a:extLst>
              </p:cNvPr>
              <p:cNvSpPr/>
              <p:nvPr/>
            </p:nvSpPr>
            <p:spPr>
              <a:xfrm>
                <a:off x="6152201" y="1686285"/>
                <a:ext cx="37362" cy="20848"/>
              </a:xfrm>
              <a:custGeom>
                <a:avLst/>
                <a:gdLst>
                  <a:gd name="connsiteX0" fmla="*/ 0 w 37362"/>
                  <a:gd name="connsiteY0" fmla="*/ 10505 h 20848"/>
                  <a:gd name="connsiteX1" fmla="*/ 27064 w 37362"/>
                  <a:gd name="connsiteY1" fmla="*/ 2373 h 20848"/>
                  <a:gd name="connsiteX2" fmla="*/ 37343 w 37362"/>
                  <a:gd name="connsiteY2" fmla="*/ 20849 h 208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7362" h="20848">
                    <a:moveTo>
                      <a:pt x="0" y="10505"/>
                    </a:moveTo>
                    <a:cubicBezTo>
                      <a:pt x="5205" y="811"/>
                      <a:pt x="17435" y="-2832"/>
                      <a:pt x="27064" y="2373"/>
                    </a:cubicBezTo>
                    <a:cubicBezTo>
                      <a:pt x="34025" y="6081"/>
                      <a:pt x="37668" y="13432"/>
                      <a:pt x="37343" y="20849"/>
                    </a:cubicBezTo>
                  </a:path>
                </a:pathLst>
              </a:custGeom>
              <a:grp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45" name="Agrupar 144">
            <a:extLst>
              <a:ext uri="{FF2B5EF4-FFF2-40B4-BE49-F238E27FC236}">
                <a16:creationId xmlns:a16="http://schemas.microsoft.com/office/drawing/2014/main" id="{4DB07958-F627-383A-A220-32FBD8ADC6B2}"/>
              </a:ext>
            </a:extLst>
          </p:cNvPr>
          <p:cNvGrpSpPr/>
          <p:nvPr/>
        </p:nvGrpSpPr>
        <p:grpSpPr>
          <a:xfrm>
            <a:off x="8504803" y="5334848"/>
            <a:ext cx="1241960" cy="1117764"/>
            <a:chOff x="8504803" y="5334848"/>
            <a:chExt cx="1241960" cy="1117764"/>
          </a:xfrm>
          <a:solidFill>
            <a:srgbClr val="81FFC9"/>
          </a:solidFill>
        </p:grpSpPr>
        <p:pic>
          <p:nvPicPr>
            <p:cNvPr id="16" name="Gráfico 15">
              <a:extLst>
                <a:ext uri="{FF2B5EF4-FFF2-40B4-BE49-F238E27FC236}">
                  <a16:creationId xmlns:a16="http://schemas.microsoft.com/office/drawing/2014/main" id="{2E5D03E8-D789-0CA4-00B8-8708FE114900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 rot="19800000" flipH="1">
              <a:off x="8504803" y="5334848"/>
              <a:ext cx="1241960" cy="1117764"/>
            </a:xfrm>
            <a:prstGeom prst="rect">
              <a:avLst/>
            </a:prstGeom>
          </p:spPr>
        </p:pic>
        <p:grpSp>
          <p:nvGrpSpPr>
            <p:cNvPr id="115" name="Agrupar 114">
              <a:extLst>
                <a:ext uri="{FF2B5EF4-FFF2-40B4-BE49-F238E27FC236}">
                  <a16:creationId xmlns:a16="http://schemas.microsoft.com/office/drawing/2014/main" id="{72B2F001-EECC-73F1-2D27-3F568774514C}"/>
                </a:ext>
              </a:extLst>
            </p:cNvPr>
            <p:cNvGrpSpPr/>
            <p:nvPr/>
          </p:nvGrpSpPr>
          <p:grpSpPr>
            <a:xfrm>
              <a:off x="8966542" y="5654432"/>
              <a:ext cx="398619" cy="435315"/>
              <a:chOff x="6000092" y="1357908"/>
              <a:chExt cx="365300" cy="398929"/>
            </a:xfrm>
            <a:grpFill/>
          </p:grpSpPr>
          <p:sp>
            <p:nvSpPr>
              <p:cNvPr id="116" name="Forma livre: Forma 115">
                <a:extLst>
                  <a:ext uri="{FF2B5EF4-FFF2-40B4-BE49-F238E27FC236}">
                    <a16:creationId xmlns:a16="http://schemas.microsoft.com/office/drawing/2014/main" id="{CCC810C7-7461-3E67-E8A2-E90EE884305B}"/>
                  </a:ext>
                </a:extLst>
              </p:cNvPr>
              <p:cNvSpPr/>
              <p:nvPr/>
            </p:nvSpPr>
            <p:spPr>
              <a:xfrm>
                <a:off x="6000092" y="1418606"/>
                <a:ext cx="84058" cy="286120"/>
              </a:xfrm>
              <a:custGeom>
                <a:avLst/>
                <a:gdLst>
                  <a:gd name="connsiteX0" fmla="*/ 51595 w 84058"/>
                  <a:gd name="connsiteY0" fmla="*/ 0 h 286120"/>
                  <a:gd name="connsiteX1" fmla="*/ 35266 w 84058"/>
                  <a:gd name="connsiteY1" fmla="*/ 61674 h 286120"/>
                  <a:gd name="connsiteX2" fmla="*/ 28760 w 84058"/>
                  <a:gd name="connsiteY2" fmla="*/ 193415 h 286120"/>
                  <a:gd name="connsiteX3" fmla="*/ 84059 w 84058"/>
                  <a:gd name="connsiteY3" fmla="*/ 286121 h 2861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4058" h="286120">
                    <a:moveTo>
                      <a:pt x="51595" y="0"/>
                    </a:moveTo>
                    <a:cubicBezTo>
                      <a:pt x="37868" y="7872"/>
                      <a:pt x="26028" y="24852"/>
                      <a:pt x="35266" y="61674"/>
                    </a:cubicBezTo>
                    <a:cubicBezTo>
                      <a:pt x="35266" y="61674"/>
                      <a:pt x="-39549" y="126731"/>
                      <a:pt x="28760" y="193415"/>
                    </a:cubicBezTo>
                    <a:cubicBezTo>
                      <a:pt x="28760" y="193415"/>
                      <a:pt x="9243" y="281242"/>
                      <a:pt x="84059" y="286121"/>
                    </a:cubicBezTo>
                  </a:path>
                </a:pathLst>
              </a:custGeom>
              <a:grpFill/>
              <a:ln w="19050" cap="sq">
                <a:solidFill>
                  <a:schemeClr val="tx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117" name="Gráfico 32">
                <a:extLst>
                  <a:ext uri="{FF2B5EF4-FFF2-40B4-BE49-F238E27FC236}">
                    <a16:creationId xmlns:a16="http://schemas.microsoft.com/office/drawing/2014/main" id="{B2EB864E-CC50-1C67-5E0B-B1884486C43A}"/>
                  </a:ext>
                </a:extLst>
              </p:cNvPr>
              <p:cNvGrpSpPr/>
              <p:nvPr/>
            </p:nvGrpSpPr>
            <p:grpSpPr>
              <a:xfrm>
                <a:off x="6061121" y="1359924"/>
                <a:ext cx="128487" cy="396366"/>
                <a:chOff x="6061121" y="1359924"/>
                <a:chExt cx="128487" cy="396366"/>
              </a:xfrm>
              <a:grpFill/>
            </p:grpSpPr>
            <p:sp>
              <p:nvSpPr>
                <p:cNvPr id="132" name="Forma livre: Forma 131">
                  <a:extLst>
                    <a:ext uri="{FF2B5EF4-FFF2-40B4-BE49-F238E27FC236}">
                      <a16:creationId xmlns:a16="http://schemas.microsoft.com/office/drawing/2014/main" id="{0771F894-155F-7904-93F3-9E89A9007650}"/>
                    </a:ext>
                  </a:extLst>
                </p:cNvPr>
                <p:cNvSpPr/>
                <p:nvPr/>
              </p:nvSpPr>
              <p:spPr>
                <a:xfrm>
                  <a:off x="6083891" y="1359924"/>
                  <a:ext cx="105717" cy="396366"/>
                </a:xfrm>
                <a:custGeom>
                  <a:avLst/>
                  <a:gdLst>
                    <a:gd name="connsiteX0" fmla="*/ 52891 w 105717"/>
                    <a:gd name="connsiteY0" fmla="*/ 105718 h 396366"/>
                    <a:gd name="connsiteX1" fmla="*/ 0 w 105717"/>
                    <a:gd name="connsiteY1" fmla="*/ 52891 h 396366"/>
                    <a:gd name="connsiteX2" fmla="*/ 52891 w 105717"/>
                    <a:gd name="connsiteY2" fmla="*/ 0 h 396366"/>
                    <a:gd name="connsiteX3" fmla="*/ 105718 w 105717"/>
                    <a:gd name="connsiteY3" fmla="*/ 52826 h 396366"/>
                    <a:gd name="connsiteX4" fmla="*/ 105718 w 105717"/>
                    <a:gd name="connsiteY4" fmla="*/ 346884 h 396366"/>
                    <a:gd name="connsiteX5" fmla="*/ 80606 w 105717"/>
                    <a:gd name="connsiteY5" fmla="*/ 388911 h 396366"/>
                    <a:gd name="connsiteX6" fmla="*/ 9238 w 105717"/>
                    <a:gd name="connsiteY6" fmla="*/ 371150 h 396366"/>
                    <a:gd name="connsiteX7" fmla="*/ 15484 w 105717"/>
                    <a:gd name="connsiteY7" fmla="*/ 309216 h 396366"/>
                    <a:gd name="connsiteX8" fmla="*/ 45019 w 105717"/>
                    <a:gd name="connsiteY8" fmla="*/ 277078 h 39636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105717" h="396366">
                      <a:moveTo>
                        <a:pt x="52891" y="105718"/>
                      </a:moveTo>
                      <a:cubicBezTo>
                        <a:pt x="23681" y="105718"/>
                        <a:pt x="0" y="82037"/>
                        <a:pt x="0" y="52891"/>
                      </a:cubicBezTo>
                      <a:cubicBezTo>
                        <a:pt x="0" y="23746"/>
                        <a:pt x="23681" y="0"/>
                        <a:pt x="52891" y="0"/>
                      </a:cubicBezTo>
                      <a:cubicBezTo>
                        <a:pt x="82102" y="0"/>
                        <a:pt x="105718" y="23681"/>
                        <a:pt x="105718" y="52826"/>
                      </a:cubicBezTo>
                      <a:lnTo>
                        <a:pt x="105718" y="346884"/>
                      </a:lnTo>
                      <a:cubicBezTo>
                        <a:pt x="105718" y="364580"/>
                        <a:pt x="96414" y="379413"/>
                        <a:pt x="80606" y="388911"/>
                      </a:cubicBezTo>
                      <a:cubicBezTo>
                        <a:pt x="55949" y="403744"/>
                        <a:pt x="24006" y="395742"/>
                        <a:pt x="9238" y="371150"/>
                      </a:cubicBezTo>
                      <a:cubicBezTo>
                        <a:pt x="-2928" y="350918"/>
                        <a:pt x="260" y="325741"/>
                        <a:pt x="15484" y="309216"/>
                      </a:cubicBezTo>
                      <a:lnTo>
                        <a:pt x="45019" y="277078"/>
                      </a:lnTo>
                    </a:path>
                  </a:pathLst>
                </a:custGeom>
                <a:grpFill/>
                <a:ln w="19050" cap="sq">
                  <a:solidFill>
                    <a:schemeClr val="tx2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33" name="Forma livre: Forma 132">
                  <a:extLst>
                    <a:ext uri="{FF2B5EF4-FFF2-40B4-BE49-F238E27FC236}">
                      <a16:creationId xmlns:a16="http://schemas.microsoft.com/office/drawing/2014/main" id="{98BE5B11-6A70-05FA-30DF-C333F9B7FCF1}"/>
                    </a:ext>
                  </a:extLst>
                </p:cNvPr>
                <p:cNvSpPr/>
                <p:nvPr/>
              </p:nvSpPr>
              <p:spPr>
                <a:xfrm>
                  <a:off x="6144784" y="1383865"/>
                  <a:ext cx="41563" cy="38963"/>
                </a:xfrm>
                <a:custGeom>
                  <a:avLst/>
                  <a:gdLst>
                    <a:gd name="connsiteX0" fmla="*/ 36172 w 41563"/>
                    <a:gd name="connsiteY0" fmla="*/ 0 h 38963"/>
                    <a:gd name="connsiteX1" fmla="*/ 39425 w 41563"/>
                    <a:gd name="connsiteY1" fmla="*/ 24266 h 38963"/>
                    <a:gd name="connsiteX2" fmla="*/ 36432 w 41563"/>
                    <a:gd name="connsiteY2" fmla="*/ 29080 h 38963"/>
                    <a:gd name="connsiteX3" fmla="*/ 0 w 41563"/>
                    <a:gd name="connsiteY3" fmla="*/ 33439 h 3896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1563" h="38963">
                      <a:moveTo>
                        <a:pt x="36172" y="0"/>
                      </a:moveTo>
                      <a:cubicBezTo>
                        <a:pt x="41571" y="7547"/>
                        <a:pt x="43393" y="16004"/>
                        <a:pt x="39425" y="24266"/>
                      </a:cubicBezTo>
                      <a:cubicBezTo>
                        <a:pt x="38644" y="25893"/>
                        <a:pt x="37603" y="27519"/>
                        <a:pt x="36432" y="29080"/>
                      </a:cubicBezTo>
                      <a:cubicBezTo>
                        <a:pt x="27584" y="40270"/>
                        <a:pt x="11190" y="42287"/>
                        <a:pt x="0" y="33439"/>
                      </a:cubicBezTo>
                    </a:path>
                  </a:pathLst>
                </a:custGeom>
                <a:grpFill/>
                <a:ln w="19050" cap="sq">
                  <a:solidFill>
                    <a:schemeClr val="tx2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34" name="Forma livre: Forma 133">
                  <a:extLst>
                    <a:ext uri="{FF2B5EF4-FFF2-40B4-BE49-F238E27FC236}">
                      <a16:creationId xmlns:a16="http://schemas.microsoft.com/office/drawing/2014/main" id="{53AF3015-0882-78BF-8E9A-7F8A000E44CF}"/>
                    </a:ext>
                  </a:extLst>
                </p:cNvPr>
                <p:cNvSpPr/>
                <p:nvPr/>
              </p:nvSpPr>
              <p:spPr>
                <a:xfrm>
                  <a:off x="6081487" y="1460806"/>
                  <a:ext cx="34217" cy="54474"/>
                </a:xfrm>
                <a:custGeom>
                  <a:avLst/>
                  <a:gdLst>
                    <a:gd name="connsiteX0" fmla="*/ 21076 w 34217"/>
                    <a:gd name="connsiteY0" fmla="*/ 54475 h 54474"/>
                    <a:gd name="connsiteX1" fmla="*/ 778 w 34217"/>
                    <a:gd name="connsiteY1" fmla="*/ 21035 h 54474"/>
                    <a:gd name="connsiteX2" fmla="*/ 34217 w 34217"/>
                    <a:gd name="connsiteY2" fmla="*/ 803 h 544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34217" h="54474">
                      <a:moveTo>
                        <a:pt x="21076" y="54475"/>
                      </a:moveTo>
                      <a:cubicBezTo>
                        <a:pt x="6308" y="50832"/>
                        <a:pt x="-2800" y="35803"/>
                        <a:pt x="778" y="21035"/>
                      </a:cubicBezTo>
                      <a:cubicBezTo>
                        <a:pt x="4421" y="6267"/>
                        <a:pt x="19449" y="-2841"/>
                        <a:pt x="34217" y="803"/>
                      </a:cubicBezTo>
                    </a:path>
                  </a:pathLst>
                </a:custGeom>
                <a:grpFill/>
                <a:ln w="19050" cap="sq">
                  <a:solidFill>
                    <a:schemeClr val="tx2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35" name="Forma livre: Forma 134">
                  <a:extLst>
                    <a:ext uri="{FF2B5EF4-FFF2-40B4-BE49-F238E27FC236}">
                      <a16:creationId xmlns:a16="http://schemas.microsoft.com/office/drawing/2014/main" id="{2D4717EE-E5CB-60E6-2C7B-001C76CBCB53}"/>
                    </a:ext>
                  </a:extLst>
                </p:cNvPr>
                <p:cNvSpPr/>
                <p:nvPr/>
              </p:nvSpPr>
              <p:spPr>
                <a:xfrm>
                  <a:off x="6073547" y="1527543"/>
                  <a:ext cx="114760" cy="72506"/>
                </a:xfrm>
                <a:custGeom>
                  <a:avLst/>
                  <a:gdLst>
                    <a:gd name="connsiteX0" fmla="*/ 114760 w 114760"/>
                    <a:gd name="connsiteY0" fmla="*/ 7254 h 72506"/>
                    <a:gd name="connsiteX1" fmla="*/ 73905 w 114760"/>
                    <a:gd name="connsiteY1" fmla="*/ 8881 h 72506"/>
                    <a:gd name="connsiteX2" fmla="*/ 0 w 114760"/>
                    <a:gd name="connsiteY2" fmla="*/ 72506 h 7250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14760" h="72506">
                      <a:moveTo>
                        <a:pt x="114760" y="7254"/>
                      </a:moveTo>
                      <a:cubicBezTo>
                        <a:pt x="103375" y="-2830"/>
                        <a:pt x="83989" y="-2504"/>
                        <a:pt x="73905" y="8881"/>
                      </a:cubicBezTo>
                      <a:cubicBezTo>
                        <a:pt x="73905" y="8881"/>
                        <a:pt x="31488" y="72506"/>
                        <a:pt x="0" y="72506"/>
                      </a:cubicBezTo>
                    </a:path>
                  </a:pathLst>
                </a:custGeom>
                <a:grpFill/>
                <a:ln w="19050" cap="sq">
                  <a:solidFill>
                    <a:schemeClr val="tx2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36" name="Forma livre: Forma 135">
                  <a:extLst>
                    <a:ext uri="{FF2B5EF4-FFF2-40B4-BE49-F238E27FC236}">
                      <a16:creationId xmlns:a16="http://schemas.microsoft.com/office/drawing/2014/main" id="{60B84C17-8483-AB17-C499-C0B02A895C7B}"/>
                    </a:ext>
                  </a:extLst>
                </p:cNvPr>
                <p:cNvSpPr/>
                <p:nvPr/>
              </p:nvSpPr>
              <p:spPr>
                <a:xfrm>
                  <a:off x="6079857" y="1646956"/>
                  <a:ext cx="29405" cy="9823"/>
                </a:xfrm>
                <a:custGeom>
                  <a:avLst/>
                  <a:gdLst>
                    <a:gd name="connsiteX0" fmla="*/ 0 w 29405"/>
                    <a:gd name="connsiteY0" fmla="*/ 0 h 9823"/>
                    <a:gd name="connsiteX1" fmla="*/ 29406 w 29405"/>
                    <a:gd name="connsiteY1" fmla="*/ 9824 h 982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9405" h="9823">
                      <a:moveTo>
                        <a:pt x="0" y="0"/>
                      </a:moveTo>
                      <a:lnTo>
                        <a:pt x="29406" y="9824"/>
                      </a:lnTo>
                    </a:path>
                  </a:pathLst>
                </a:custGeom>
                <a:grpFill/>
                <a:ln w="19050" cap="sq">
                  <a:solidFill>
                    <a:schemeClr val="tx2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37" name="Forma livre: Forma 136">
                  <a:extLst>
                    <a:ext uri="{FF2B5EF4-FFF2-40B4-BE49-F238E27FC236}">
                      <a16:creationId xmlns:a16="http://schemas.microsoft.com/office/drawing/2014/main" id="{C55BAB01-9776-4471-0AA1-CA894ABCE7E6}"/>
                    </a:ext>
                  </a:extLst>
                </p:cNvPr>
                <p:cNvSpPr/>
                <p:nvPr/>
              </p:nvSpPr>
              <p:spPr>
                <a:xfrm>
                  <a:off x="6061121" y="1545272"/>
                  <a:ext cx="47166" cy="34154"/>
                </a:xfrm>
                <a:custGeom>
                  <a:avLst/>
                  <a:gdLst>
                    <a:gd name="connsiteX0" fmla="*/ 0 w 47166"/>
                    <a:gd name="connsiteY0" fmla="*/ 0 h 34154"/>
                    <a:gd name="connsiteX1" fmla="*/ 47166 w 47166"/>
                    <a:gd name="connsiteY1" fmla="*/ 34155 h 3415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7166" h="34154">
                      <a:moveTo>
                        <a:pt x="0" y="0"/>
                      </a:moveTo>
                      <a:cubicBezTo>
                        <a:pt x="0" y="0"/>
                        <a:pt x="27649" y="13011"/>
                        <a:pt x="47166" y="34155"/>
                      </a:cubicBezTo>
                    </a:path>
                  </a:pathLst>
                </a:custGeom>
                <a:grpFill/>
                <a:ln w="19050" cap="sq">
                  <a:solidFill>
                    <a:schemeClr val="tx2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118" name="Gráfico 32">
                <a:extLst>
                  <a:ext uri="{FF2B5EF4-FFF2-40B4-BE49-F238E27FC236}">
                    <a16:creationId xmlns:a16="http://schemas.microsoft.com/office/drawing/2014/main" id="{30E0DDFA-B175-327B-2A43-3F2F4DD3BDCE}"/>
                  </a:ext>
                </a:extLst>
              </p:cNvPr>
              <p:cNvGrpSpPr/>
              <p:nvPr/>
            </p:nvGrpSpPr>
            <p:grpSpPr>
              <a:xfrm>
                <a:off x="6191625" y="1599725"/>
                <a:ext cx="173767" cy="157112"/>
                <a:chOff x="6191625" y="1599725"/>
                <a:chExt cx="173767" cy="157112"/>
              </a:xfrm>
              <a:grpFill/>
            </p:grpSpPr>
            <p:sp>
              <p:nvSpPr>
                <p:cNvPr id="128" name="Forma livre: Forma 127">
                  <a:extLst>
                    <a:ext uri="{FF2B5EF4-FFF2-40B4-BE49-F238E27FC236}">
                      <a16:creationId xmlns:a16="http://schemas.microsoft.com/office/drawing/2014/main" id="{4A82D38C-CE04-5C19-102B-9C2133EC0244}"/>
                    </a:ext>
                  </a:extLst>
                </p:cNvPr>
                <p:cNvSpPr/>
                <p:nvPr/>
              </p:nvSpPr>
              <p:spPr>
                <a:xfrm>
                  <a:off x="6310094" y="1621974"/>
                  <a:ext cx="55298" cy="55298"/>
                </a:xfrm>
                <a:custGeom>
                  <a:avLst/>
                  <a:gdLst>
                    <a:gd name="connsiteX0" fmla="*/ 55298 w 55298"/>
                    <a:gd name="connsiteY0" fmla="*/ 27649 h 55298"/>
                    <a:gd name="connsiteX1" fmla="*/ 27649 w 55298"/>
                    <a:gd name="connsiteY1" fmla="*/ 55298 h 55298"/>
                    <a:gd name="connsiteX2" fmla="*/ 0 w 55298"/>
                    <a:gd name="connsiteY2" fmla="*/ 27649 h 55298"/>
                    <a:gd name="connsiteX3" fmla="*/ 27649 w 55298"/>
                    <a:gd name="connsiteY3" fmla="*/ 0 h 55298"/>
                    <a:gd name="connsiteX4" fmla="*/ 55298 w 55298"/>
                    <a:gd name="connsiteY4" fmla="*/ 27649 h 552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5298" h="55298">
                      <a:moveTo>
                        <a:pt x="55298" y="27649"/>
                      </a:moveTo>
                      <a:cubicBezTo>
                        <a:pt x="55298" y="42938"/>
                        <a:pt x="42938" y="55298"/>
                        <a:pt x="27649" y="55298"/>
                      </a:cubicBezTo>
                      <a:cubicBezTo>
                        <a:pt x="12361" y="55298"/>
                        <a:pt x="0" y="42938"/>
                        <a:pt x="0" y="27649"/>
                      </a:cubicBezTo>
                      <a:cubicBezTo>
                        <a:pt x="0" y="12361"/>
                        <a:pt x="12361" y="0"/>
                        <a:pt x="27649" y="0"/>
                      </a:cubicBezTo>
                      <a:cubicBezTo>
                        <a:pt x="42938" y="0"/>
                        <a:pt x="55298" y="12361"/>
                        <a:pt x="55298" y="27649"/>
                      </a:cubicBezTo>
                      <a:close/>
                    </a:path>
                  </a:pathLst>
                </a:custGeom>
                <a:grpFill/>
                <a:ln w="19050" cap="sq">
                  <a:solidFill>
                    <a:schemeClr val="tx2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29" name="Forma livre: Forma 128">
                  <a:extLst>
                    <a:ext uri="{FF2B5EF4-FFF2-40B4-BE49-F238E27FC236}">
                      <a16:creationId xmlns:a16="http://schemas.microsoft.com/office/drawing/2014/main" id="{9005B092-8CAE-34EC-4494-D533542BD73B}"/>
                    </a:ext>
                  </a:extLst>
                </p:cNvPr>
                <p:cNvSpPr/>
                <p:nvPr/>
              </p:nvSpPr>
              <p:spPr>
                <a:xfrm>
                  <a:off x="6191625" y="1599725"/>
                  <a:ext cx="118078" cy="49898"/>
                </a:xfrm>
                <a:custGeom>
                  <a:avLst/>
                  <a:gdLst>
                    <a:gd name="connsiteX0" fmla="*/ 0 w 118078"/>
                    <a:gd name="connsiteY0" fmla="*/ 0 h 49898"/>
                    <a:gd name="connsiteX1" fmla="*/ 37343 w 118078"/>
                    <a:gd name="connsiteY1" fmla="*/ 0 h 49898"/>
                    <a:gd name="connsiteX2" fmla="*/ 87176 w 118078"/>
                    <a:gd name="connsiteY2" fmla="*/ 49899 h 49898"/>
                    <a:gd name="connsiteX3" fmla="*/ 118078 w 118078"/>
                    <a:gd name="connsiteY3" fmla="*/ 49899 h 498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18078" h="49898">
                      <a:moveTo>
                        <a:pt x="0" y="0"/>
                      </a:moveTo>
                      <a:lnTo>
                        <a:pt x="37343" y="0"/>
                      </a:lnTo>
                      <a:lnTo>
                        <a:pt x="87176" y="49899"/>
                      </a:lnTo>
                      <a:lnTo>
                        <a:pt x="118078" y="49899"/>
                      </a:lnTo>
                    </a:path>
                  </a:pathLst>
                </a:custGeom>
                <a:grpFill/>
                <a:ln w="19050" cap="sq">
                  <a:solidFill>
                    <a:schemeClr val="tx2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30" name="Forma livre: Forma 129">
                  <a:extLst>
                    <a:ext uri="{FF2B5EF4-FFF2-40B4-BE49-F238E27FC236}">
                      <a16:creationId xmlns:a16="http://schemas.microsoft.com/office/drawing/2014/main" id="{5F2A7360-C0B1-63D1-5658-FB8D6FA91F07}"/>
                    </a:ext>
                  </a:extLst>
                </p:cNvPr>
                <p:cNvSpPr/>
                <p:nvPr/>
              </p:nvSpPr>
              <p:spPr>
                <a:xfrm>
                  <a:off x="6191625" y="1665367"/>
                  <a:ext cx="81906" cy="44108"/>
                </a:xfrm>
                <a:custGeom>
                  <a:avLst/>
                  <a:gdLst>
                    <a:gd name="connsiteX0" fmla="*/ 0 w 81906"/>
                    <a:gd name="connsiteY0" fmla="*/ 0 h 44108"/>
                    <a:gd name="connsiteX1" fmla="*/ 37343 w 81906"/>
                    <a:gd name="connsiteY1" fmla="*/ 0 h 44108"/>
                    <a:gd name="connsiteX2" fmla="*/ 81907 w 81906"/>
                    <a:gd name="connsiteY2" fmla="*/ 44109 h 4410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81906" h="44108">
                      <a:moveTo>
                        <a:pt x="0" y="0"/>
                      </a:moveTo>
                      <a:lnTo>
                        <a:pt x="37343" y="0"/>
                      </a:lnTo>
                      <a:lnTo>
                        <a:pt x="81907" y="44109"/>
                      </a:lnTo>
                    </a:path>
                  </a:pathLst>
                </a:custGeom>
                <a:grpFill/>
                <a:ln w="19050" cap="sq">
                  <a:solidFill>
                    <a:schemeClr val="tx2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31" name="Forma livre: Forma 130">
                  <a:extLst>
                    <a:ext uri="{FF2B5EF4-FFF2-40B4-BE49-F238E27FC236}">
                      <a16:creationId xmlns:a16="http://schemas.microsoft.com/office/drawing/2014/main" id="{8AE912AC-C055-83ED-2024-CDFECAD719D9}"/>
                    </a:ext>
                  </a:extLst>
                </p:cNvPr>
                <p:cNvSpPr/>
                <p:nvPr/>
              </p:nvSpPr>
              <p:spPr>
                <a:xfrm>
                  <a:off x="6265075" y="1701539"/>
                  <a:ext cx="55298" cy="55298"/>
                </a:xfrm>
                <a:custGeom>
                  <a:avLst/>
                  <a:gdLst>
                    <a:gd name="connsiteX0" fmla="*/ 55298 w 55298"/>
                    <a:gd name="connsiteY0" fmla="*/ 27649 h 55298"/>
                    <a:gd name="connsiteX1" fmla="*/ 27649 w 55298"/>
                    <a:gd name="connsiteY1" fmla="*/ 55298 h 55298"/>
                    <a:gd name="connsiteX2" fmla="*/ 0 w 55298"/>
                    <a:gd name="connsiteY2" fmla="*/ 27649 h 55298"/>
                    <a:gd name="connsiteX3" fmla="*/ 27649 w 55298"/>
                    <a:gd name="connsiteY3" fmla="*/ 0 h 55298"/>
                    <a:gd name="connsiteX4" fmla="*/ 55298 w 55298"/>
                    <a:gd name="connsiteY4" fmla="*/ 27649 h 552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5298" h="55298">
                      <a:moveTo>
                        <a:pt x="55298" y="27649"/>
                      </a:moveTo>
                      <a:cubicBezTo>
                        <a:pt x="55298" y="42938"/>
                        <a:pt x="42938" y="55298"/>
                        <a:pt x="27649" y="55298"/>
                      </a:cubicBezTo>
                      <a:cubicBezTo>
                        <a:pt x="12361" y="55298"/>
                        <a:pt x="0" y="42938"/>
                        <a:pt x="0" y="27649"/>
                      </a:cubicBezTo>
                      <a:cubicBezTo>
                        <a:pt x="0" y="12361"/>
                        <a:pt x="12361" y="0"/>
                        <a:pt x="27649" y="0"/>
                      </a:cubicBezTo>
                      <a:cubicBezTo>
                        <a:pt x="42938" y="0"/>
                        <a:pt x="55298" y="12361"/>
                        <a:pt x="55298" y="27649"/>
                      </a:cubicBezTo>
                      <a:close/>
                    </a:path>
                  </a:pathLst>
                </a:custGeom>
                <a:grpFill/>
                <a:ln w="19050" cap="sq">
                  <a:solidFill>
                    <a:schemeClr val="tx2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119" name="Gráfico 32">
                <a:extLst>
                  <a:ext uri="{FF2B5EF4-FFF2-40B4-BE49-F238E27FC236}">
                    <a16:creationId xmlns:a16="http://schemas.microsoft.com/office/drawing/2014/main" id="{E410A5C4-CF4F-E8C8-0D00-EA177C4E0CC1}"/>
                  </a:ext>
                </a:extLst>
              </p:cNvPr>
              <p:cNvGrpSpPr/>
              <p:nvPr/>
            </p:nvGrpSpPr>
            <p:grpSpPr>
              <a:xfrm>
                <a:off x="6191625" y="1357908"/>
                <a:ext cx="173767" cy="157112"/>
                <a:chOff x="6191625" y="1357908"/>
                <a:chExt cx="173767" cy="157112"/>
              </a:xfrm>
              <a:grpFill/>
            </p:grpSpPr>
            <p:sp>
              <p:nvSpPr>
                <p:cNvPr id="124" name="Forma livre: Forma 123">
                  <a:extLst>
                    <a:ext uri="{FF2B5EF4-FFF2-40B4-BE49-F238E27FC236}">
                      <a16:creationId xmlns:a16="http://schemas.microsoft.com/office/drawing/2014/main" id="{ADF14EA1-2581-1C0A-87F9-8E16CD2562F1}"/>
                    </a:ext>
                  </a:extLst>
                </p:cNvPr>
                <p:cNvSpPr/>
                <p:nvPr/>
              </p:nvSpPr>
              <p:spPr>
                <a:xfrm>
                  <a:off x="6310094" y="1437472"/>
                  <a:ext cx="55298" cy="55298"/>
                </a:xfrm>
                <a:custGeom>
                  <a:avLst/>
                  <a:gdLst>
                    <a:gd name="connsiteX0" fmla="*/ 55298 w 55298"/>
                    <a:gd name="connsiteY0" fmla="*/ 27649 h 55298"/>
                    <a:gd name="connsiteX1" fmla="*/ 27649 w 55298"/>
                    <a:gd name="connsiteY1" fmla="*/ 0 h 55298"/>
                    <a:gd name="connsiteX2" fmla="*/ 0 w 55298"/>
                    <a:gd name="connsiteY2" fmla="*/ 27649 h 55298"/>
                    <a:gd name="connsiteX3" fmla="*/ 27649 w 55298"/>
                    <a:gd name="connsiteY3" fmla="*/ 55298 h 55298"/>
                    <a:gd name="connsiteX4" fmla="*/ 55298 w 55298"/>
                    <a:gd name="connsiteY4" fmla="*/ 27649 h 552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5298" h="55298">
                      <a:moveTo>
                        <a:pt x="55298" y="27649"/>
                      </a:moveTo>
                      <a:cubicBezTo>
                        <a:pt x="55298" y="12361"/>
                        <a:pt x="42938" y="0"/>
                        <a:pt x="27649" y="0"/>
                      </a:cubicBezTo>
                      <a:cubicBezTo>
                        <a:pt x="12361" y="0"/>
                        <a:pt x="0" y="12361"/>
                        <a:pt x="0" y="27649"/>
                      </a:cubicBezTo>
                      <a:cubicBezTo>
                        <a:pt x="0" y="42938"/>
                        <a:pt x="12361" y="55298"/>
                        <a:pt x="27649" y="55298"/>
                      </a:cubicBezTo>
                      <a:cubicBezTo>
                        <a:pt x="42938" y="55298"/>
                        <a:pt x="55298" y="42938"/>
                        <a:pt x="55298" y="27649"/>
                      </a:cubicBezTo>
                      <a:close/>
                    </a:path>
                  </a:pathLst>
                </a:custGeom>
                <a:grpFill/>
                <a:ln w="19050" cap="sq">
                  <a:solidFill>
                    <a:schemeClr val="tx2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25" name="Forma livre: Forma 124">
                  <a:extLst>
                    <a:ext uri="{FF2B5EF4-FFF2-40B4-BE49-F238E27FC236}">
                      <a16:creationId xmlns:a16="http://schemas.microsoft.com/office/drawing/2014/main" id="{9350D1D9-9F15-65E0-5021-915A41095017}"/>
                    </a:ext>
                  </a:extLst>
                </p:cNvPr>
                <p:cNvSpPr/>
                <p:nvPr/>
              </p:nvSpPr>
              <p:spPr>
                <a:xfrm>
                  <a:off x="6191625" y="1465122"/>
                  <a:ext cx="118468" cy="49898"/>
                </a:xfrm>
                <a:custGeom>
                  <a:avLst/>
                  <a:gdLst>
                    <a:gd name="connsiteX0" fmla="*/ 0 w 118468"/>
                    <a:gd name="connsiteY0" fmla="*/ 49899 h 49898"/>
                    <a:gd name="connsiteX1" fmla="*/ 37343 w 118468"/>
                    <a:gd name="connsiteY1" fmla="*/ 49899 h 49898"/>
                    <a:gd name="connsiteX2" fmla="*/ 87176 w 118468"/>
                    <a:gd name="connsiteY2" fmla="*/ 0 h 49898"/>
                    <a:gd name="connsiteX3" fmla="*/ 118469 w 118468"/>
                    <a:gd name="connsiteY3" fmla="*/ 0 h 498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18468" h="49898">
                      <a:moveTo>
                        <a:pt x="0" y="49899"/>
                      </a:moveTo>
                      <a:lnTo>
                        <a:pt x="37343" y="49899"/>
                      </a:lnTo>
                      <a:lnTo>
                        <a:pt x="87176" y="0"/>
                      </a:lnTo>
                      <a:lnTo>
                        <a:pt x="118469" y="0"/>
                      </a:lnTo>
                    </a:path>
                  </a:pathLst>
                </a:custGeom>
                <a:grpFill/>
                <a:ln w="19050" cap="sq">
                  <a:solidFill>
                    <a:schemeClr val="tx2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26" name="Forma livre: Forma 125">
                  <a:extLst>
                    <a:ext uri="{FF2B5EF4-FFF2-40B4-BE49-F238E27FC236}">
                      <a16:creationId xmlns:a16="http://schemas.microsoft.com/office/drawing/2014/main" id="{905295D8-22D3-4B9C-656E-5B3BE3BA5959}"/>
                    </a:ext>
                  </a:extLst>
                </p:cNvPr>
                <p:cNvSpPr/>
                <p:nvPr/>
              </p:nvSpPr>
              <p:spPr>
                <a:xfrm>
                  <a:off x="6191625" y="1405269"/>
                  <a:ext cx="81451" cy="44043"/>
                </a:xfrm>
                <a:custGeom>
                  <a:avLst/>
                  <a:gdLst>
                    <a:gd name="connsiteX0" fmla="*/ 0 w 81451"/>
                    <a:gd name="connsiteY0" fmla="*/ 44044 h 44043"/>
                    <a:gd name="connsiteX1" fmla="*/ 37343 w 81451"/>
                    <a:gd name="connsiteY1" fmla="*/ 44044 h 44043"/>
                    <a:gd name="connsiteX2" fmla="*/ 81451 w 81451"/>
                    <a:gd name="connsiteY2" fmla="*/ 0 h 4404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81451" h="44043">
                      <a:moveTo>
                        <a:pt x="0" y="44044"/>
                      </a:moveTo>
                      <a:lnTo>
                        <a:pt x="37343" y="44044"/>
                      </a:lnTo>
                      <a:lnTo>
                        <a:pt x="81451" y="0"/>
                      </a:lnTo>
                    </a:path>
                  </a:pathLst>
                </a:custGeom>
                <a:grpFill/>
                <a:ln w="19050" cap="sq">
                  <a:solidFill>
                    <a:schemeClr val="tx2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27" name="Forma livre: Forma 126">
                  <a:extLst>
                    <a:ext uri="{FF2B5EF4-FFF2-40B4-BE49-F238E27FC236}">
                      <a16:creationId xmlns:a16="http://schemas.microsoft.com/office/drawing/2014/main" id="{A104502B-55B9-BE63-54F8-FB97B1CAF9A1}"/>
                    </a:ext>
                  </a:extLst>
                </p:cNvPr>
                <p:cNvSpPr/>
                <p:nvPr/>
              </p:nvSpPr>
              <p:spPr>
                <a:xfrm>
                  <a:off x="6265075" y="1357908"/>
                  <a:ext cx="55298" cy="55298"/>
                </a:xfrm>
                <a:custGeom>
                  <a:avLst/>
                  <a:gdLst>
                    <a:gd name="connsiteX0" fmla="*/ 55298 w 55298"/>
                    <a:gd name="connsiteY0" fmla="*/ 27649 h 55298"/>
                    <a:gd name="connsiteX1" fmla="*/ 27649 w 55298"/>
                    <a:gd name="connsiteY1" fmla="*/ 0 h 55298"/>
                    <a:gd name="connsiteX2" fmla="*/ 0 w 55298"/>
                    <a:gd name="connsiteY2" fmla="*/ 27649 h 55298"/>
                    <a:gd name="connsiteX3" fmla="*/ 27649 w 55298"/>
                    <a:gd name="connsiteY3" fmla="*/ 55298 h 55298"/>
                    <a:gd name="connsiteX4" fmla="*/ 55298 w 55298"/>
                    <a:gd name="connsiteY4" fmla="*/ 27649 h 552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5298" h="55298">
                      <a:moveTo>
                        <a:pt x="55298" y="27649"/>
                      </a:moveTo>
                      <a:cubicBezTo>
                        <a:pt x="55298" y="12361"/>
                        <a:pt x="42938" y="0"/>
                        <a:pt x="27649" y="0"/>
                      </a:cubicBezTo>
                      <a:cubicBezTo>
                        <a:pt x="12361" y="0"/>
                        <a:pt x="0" y="12361"/>
                        <a:pt x="0" y="27649"/>
                      </a:cubicBezTo>
                      <a:cubicBezTo>
                        <a:pt x="0" y="42938"/>
                        <a:pt x="12361" y="55298"/>
                        <a:pt x="27649" y="55298"/>
                      </a:cubicBezTo>
                      <a:cubicBezTo>
                        <a:pt x="42938" y="55298"/>
                        <a:pt x="55298" y="42938"/>
                        <a:pt x="55298" y="27649"/>
                      </a:cubicBezTo>
                      <a:close/>
                    </a:path>
                  </a:pathLst>
                </a:custGeom>
                <a:grpFill/>
                <a:ln w="19050" cap="sq">
                  <a:solidFill>
                    <a:schemeClr val="tx2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120" name="Gráfico 32">
                <a:extLst>
                  <a:ext uri="{FF2B5EF4-FFF2-40B4-BE49-F238E27FC236}">
                    <a16:creationId xmlns:a16="http://schemas.microsoft.com/office/drawing/2014/main" id="{E97068E5-5151-9393-4C81-0796DB4D851D}"/>
                  </a:ext>
                </a:extLst>
              </p:cNvPr>
              <p:cNvGrpSpPr/>
              <p:nvPr/>
            </p:nvGrpSpPr>
            <p:grpSpPr>
              <a:xfrm>
                <a:off x="6190910" y="1529723"/>
                <a:ext cx="123673" cy="55298"/>
                <a:chOff x="6190910" y="1529723"/>
                <a:chExt cx="123673" cy="55298"/>
              </a:xfrm>
              <a:grpFill/>
            </p:grpSpPr>
            <p:sp>
              <p:nvSpPr>
                <p:cNvPr id="122" name="Forma livre: Forma 121">
                  <a:extLst>
                    <a:ext uri="{FF2B5EF4-FFF2-40B4-BE49-F238E27FC236}">
                      <a16:creationId xmlns:a16="http://schemas.microsoft.com/office/drawing/2014/main" id="{252B0B5A-FACF-0042-0055-658226A33EAA}"/>
                    </a:ext>
                  </a:extLst>
                </p:cNvPr>
                <p:cNvSpPr/>
                <p:nvPr/>
              </p:nvSpPr>
              <p:spPr>
                <a:xfrm>
                  <a:off x="6190910" y="1557372"/>
                  <a:ext cx="68765" cy="6505"/>
                </a:xfrm>
                <a:custGeom>
                  <a:avLst/>
                  <a:gdLst>
                    <a:gd name="connsiteX0" fmla="*/ 0 w 68765"/>
                    <a:gd name="connsiteY0" fmla="*/ 0 h 6505"/>
                    <a:gd name="connsiteX1" fmla="*/ 68765 w 68765"/>
                    <a:gd name="connsiteY1" fmla="*/ 0 h 650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68765" h="6505">
                      <a:moveTo>
                        <a:pt x="0" y="0"/>
                      </a:moveTo>
                      <a:lnTo>
                        <a:pt x="68765" y="0"/>
                      </a:lnTo>
                    </a:path>
                  </a:pathLst>
                </a:custGeom>
                <a:grpFill/>
                <a:ln w="19050" cap="sq">
                  <a:solidFill>
                    <a:schemeClr val="tx2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23" name="Forma livre: Forma 122">
                  <a:extLst>
                    <a:ext uri="{FF2B5EF4-FFF2-40B4-BE49-F238E27FC236}">
                      <a16:creationId xmlns:a16="http://schemas.microsoft.com/office/drawing/2014/main" id="{DB3CAC02-7EC5-67E9-9F92-77181F9217F3}"/>
                    </a:ext>
                  </a:extLst>
                </p:cNvPr>
                <p:cNvSpPr/>
                <p:nvPr/>
              </p:nvSpPr>
              <p:spPr>
                <a:xfrm>
                  <a:off x="6259285" y="1529723"/>
                  <a:ext cx="55298" cy="55298"/>
                </a:xfrm>
                <a:custGeom>
                  <a:avLst/>
                  <a:gdLst>
                    <a:gd name="connsiteX0" fmla="*/ 55298 w 55298"/>
                    <a:gd name="connsiteY0" fmla="*/ 27649 h 55298"/>
                    <a:gd name="connsiteX1" fmla="*/ 27649 w 55298"/>
                    <a:gd name="connsiteY1" fmla="*/ 55298 h 55298"/>
                    <a:gd name="connsiteX2" fmla="*/ 0 w 55298"/>
                    <a:gd name="connsiteY2" fmla="*/ 27649 h 55298"/>
                    <a:gd name="connsiteX3" fmla="*/ 27649 w 55298"/>
                    <a:gd name="connsiteY3" fmla="*/ 0 h 55298"/>
                    <a:gd name="connsiteX4" fmla="*/ 55298 w 55298"/>
                    <a:gd name="connsiteY4" fmla="*/ 27649 h 552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5298" h="55298">
                      <a:moveTo>
                        <a:pt x="55298" y="27649"/>
                      </a:moveTo>
                      <a:cubicBezTo>
                        <a:pt x="55298" y="42938"/>
                        <a:pt x="42938" y="55298"/>
                        <a:pt x="27649" y="55298"/>
                      </a:cubicBezTo>
                      <a:cubicBezTo>
                        <a:pt x="12361" y="55298"/>
                        <a:pt x="0" y="42938"/>
                        <a:pt x="0" y="27649"/>
                      </a:cubicBezTo>
                      <a:cubicBezTo>
                        <a:pt x="0" y="12361"/>
                        <a:pt x="12361" y="0"/>
                        <a:pt x="27649" y="0"/>
                      </a:cubicBezTo>
                      <a:cubicBezTo>
                        <a:pt x="42938" y="0"/>
                        <a:pt x="55298" y="12361"/>
                        <a:pt x="55298" y="27649"/>
                      </a:cubicBezTo>
                      <a:close/>
                    </a:path>
                  </a:pathLst>
                </a:custGeom>
                <a:grpFill/>
                <a:ln w="19050" cap="sq">
                  <a:solidFill>
                    <a:schemeClr val="tx2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121" name="Forma livre: Forma 120">
                <a:extLst>
                  <a:ext uri="{FF2B5EF4-FFF2-40B4-BE49-F238E27FC236}">
                    <a16:creationId xmlns:a16="http://schemas.microsoft.com/office/drawing/2014/main" id="{CA04AD59-2516-51FC-2058-CC8BDC3F5898}"/>
                  </a:ext>
                </a:extLst>
              </p:cNvPr>
              <p:cNvSpPr/>
              <p:nvPr/>
            </p:nvSpPr>
            <p:spPr>
              <a:xfrm>
                <a:off x="6152201" y="1686285"/>
                <a:ext cx="37362" cy="20848"/>
              </a:xfrm>
              <a:custGeom>
                <a:avLst/>
                <a:gdLst>
                  <a:gd name="connsiteX0" fmla="*/ 0 w 37362"/>
                  <a:gd name="connsiteY0" fmla="*/ 10505 h 20848"/>
                  <a:gd name="connsiteX1" fmla="*/ 27064 w 37362"/>
                  <a:gd name="connsiteY1" fmla="*/ 2373 h 20848"/>
                  <a:gd name="connsiteX2" fmla="*/ 37343 w 37362"/>
                  <a:gd name="connsiteY2" fmla="*/ 20849 h 208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7362" h="20848">
                    <a:moveTo>
                      <a:pt x="0" y="10505"/>
                    </a:moveTo>
                    <a:cubicBezTo>
                      <a:pt x="5205" y="811"/>
                      <a:pt x="17435" y="-2832"/>
                      <a:pt x="27064" y="2373"/>
                    </a:cubicBezTo>
                    <a:cubicBezTo>
                      <a:pt x="34025" y="6081"/>
                      <a:pt x="37668" y="13432"/>
                      <a:pt x="37343" y="20849"/>
                    </a:cubicBezTo>
                  </a:path>
                </a:pathLst>
              </a:custGeom>
              <a:grpFill/>
              <a:ln w="19050" cap="sq">
                <a:solidFill>
                  <a:schemeClr val="tx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sp>
        <p:nvSpPr>
          <p:cNvPr id="138" name="Marcador de Posição do Texto 11">
            <a:extLst>
              <a:ext uri="{FF2B5EF4-FFF2-40B4-BE49-F238E27FC236}">
                <a16:creationId xmlns:a16="http://schemas.microsoft.com/office/drawing/2014/main" id="{48789ACC-AEE0-FD49-D999-53F6A33B8248}"/>
              </a:ext>
            </a:extLst>
          </p:cNvPr>
          <p:cNvSpPr txBox="1">
            <a:spLocks/>
          </p:cNvSpPr>
          <p:nvPr/>
        </p:nvSpPr>
        <p:spPr>
          <a:xfrm rot="2534677">
            <a:off x="7567505" y="3610455"/>
            <a:ext cx="2186262" cy="573922"/>
          </a:xfrm>
          <a:prstGeom prst="rect">
            <a:avLst/>
          </a:prstGeom>
        </p:spPr>
        <p:txBody>
          <a:bodyPr>
            <a:prstTxWarp prst="textArchUp">
              <a:avLst/>
            </a:prstTxWarp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77800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177800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77800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177800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pt-PT" dirty="0"/>
              <a:t>Texto de destaque</a:t>
            </a:r>
          </a:p>
        </p:txBody>
      </p:sp>
      <p:sp>
        <p:nvSpPr>
          <p:cNvPr id="139" name="Marcador de Posição do Texto 11">
            <a:extLst>
              <a:ext uri="{FF2B5EF4-FFF2-40B4-BE49-F238E27FC236}">
                <a16:creationId xmlns:a16="http://schemas.microsoft.com/office/drawing/2014/main" id="{6D0982E7-8944-FFF0-B5A0-F7E70486DEC0}"/>
              </a:ext>
            </a:extLst>
          </p:cNvPr>
          <p:cNvSpPr txBox="1">
            <a:spLocks/>
          </p:cNvSpPr>
          <p:nvPr/>
        </p:nvSpPr>
        <p:spPr>
          <a:xfrm rot="19189481">
            <a:off x="2687053" y="3474176"/>
            <a:ext cx="2186262" cy="573922"/>
          </a:xfrm>
          <a:prstGeom prst="rect">
            <a:avLst/>
          </a:prstGeom>
        </p:spPr>
        <p:txBody>
          <a:bodyPr>
            <a:prstTxWarp prst="textArchUp">
              <a:avLst/>
            </a:prstTxWarp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77800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177800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77800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177800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pt-PT" dirty="0"/>
              <a:t>Texto de destaque</a:t>
            </a:r>
          </a:p>
        </p:txBody>
      </p:sp>
      <p:sp>
        <p:nvSpPr>
          <p:cNvPr id="146" name="Marcador de pie de página 145">
            <a:extLst>
              <a:ext uri="{FF2B5EF4-FFF2-40B4-BE49-F238E27FC236}">
                <a16:creationId xmlns:a16="http://schemas.microsoft.com/office/drawing/2014/main" id="{EB5D3054-D68F-4C35-8262-0D9BC042966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pt-PT"/>
              <a:t>Título de la presentación</a:t>
            </a:r>
            <a:endParaRPr lang="pt-PT" dirty="0"/>
          </a:p>
        </p:txBody>
      </p:sp>
      <p:sp>
        <p:nvSpPr>
          <p:cNvPr id="147" name="Marcador de número de diapositiva 146">
            <a:extLst>
              <a:ext uri="{FF2B5EF4-FFF2-40B4-BE49-F238E27FC236}">
                <a16:creationId xmlns:a16="http://schemas.microsoft.com/office/drawing/2014/main" id="{BC205774-3C94-4F8B-8D81-5D00E023A22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4A347C2-D68E-473A-8C76-1D063E4EB6E0}" type="slidenum">
              <a:rPr lang="es-ES" smtClean="0"/>
              <a:pPr/>
              <a:t>51</a:t>
            </a:fld>
            <a:endParaRPr lang="es-ES"/>
          </a:p>
        </p:txBody>
      </p:sp>
      <p:sp>
        <p:nvSpPr>
          <p:cNvPr id="148" name="Marcador de Posição do Texto 11">
            <a:extLst>
              <a:ext uri="{FF2B5EF4-FFF2-40B4-BE49-F238E27FC236}">
                <a16:creationId xmlns:a16="http://schemas.microsoft.com/office/drawing/2014/main" id="{F0598254-0302-49A4-A70E-292BED849D65}"/>
              </a:ext>
            </a:extLst>
          </p:cNvPr>
          <p:cNvSpPr txBox="1">
            <a:spLocks/>
          </p:cNvSpPr>
          <p:nvPr/>
        </p:nvSpPr>
        <p:spPr>
          <a:xfrm rot="17399692">
            <a:off x="1425790" y="5190668"/>
            <a:ext cx="2186262" cy="573922"/>
          </a:xfrm>
          <a:prstGeom prst="rect">
            <a:avLst/>
          </a:prstGeom>
        </p:spPr>
        <p:txBody>
          <a:bodyPr>
            <a:prstTxWarp prst="textArchUp">
              <a:avLst/>
            </a:prstTxWarp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77800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177800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77800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177800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pt-PT" dirty="0"/>
              <a:t>Texto de destaque</a:t>
            </a:r>
          </a:p>
        </p:txBody>
      </p:sp>
    </p:spTree>
    <p:extLst>
      <p:ext uri="{BB962C8B-B14F-4D97-AF65-F5344CB8AC3E}">
        <p14:creationId xmlns:p14="http://schemas.microsoft.com/office/powerpoint/2010/main" val="16856696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6" presetClass="emph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animScale>
                                      <p:cBhvr>
                                        <p:cTn id="9" dur="10" fill="hold"/>
                                        <p:tgtEl>
                                          <p:spTgt spid="141"/>
                                        </p:tgtEl>
                                      </p:cBhvr>
                                      <p:by x="125000" y="125000"/>
                                    </p:animScale>
                                  </p:childTnLst>
                                </p:cTn>
                              </p:par>
                              <p:par>
                                <p:cTn id="10" presetID="6" presetClass="emph" presetSubtype="0" decel="10000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animScale>
                                      <p:cBhvr>
                                        <p:cTn id="11" dur="750" fill="hold"/>
                                        <p:tgtEl>
                                          <p:spTgt spid="141"/>
                                        </p:tgtEl>
                                      </p:cBhvr>
                                      <p:by x="80000" y="80000"/>
                                    </p:animScale>
                                  </p:childTnLst>
                                </p:cTn>
                              </p:par>
                              <p:par>
                                <p:cTn id="12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1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6" presetClass="emph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animScale>
                                      <p:cBhvr>
                                        <p:cTn id="16" dur="10" fill="hold"/>
                                        <p:tgtEl>
                                          <p:spTgt spid="142"/>
                                        </p:tgtEl>
                                      </p:cBhvr>
                                      <p:by x="125000" y="125000"/>
                                    </p:animScale>
                                  </p:childTnLst>
                                </p:cTn>
                              </p:par>
                              <p:par>
                                <p:cTn id="17" presetID="6" presetClass="emph" presetSubtype="0" decel="10000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animScale>
                                      <p:cBhvr>
                                        <p:cTn id="18" dur="750" fill="hold"/>
                                        <p:tgtEl>
                                          <p:spTgt spid="142"/>
                                        </p:tgtEl>
                                      </p:cBhvr>
                                      <p:by x="80000" y="80000"/>
                                    </p:animScale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1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6" presetClass="emph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animScale>
                                      <p:cBhvr>
                                        <p:cTn id="23" dur="10" fill="hold"/>
                                        <p:tgtEl>
                                          <p:spTgt spid="143"/>
                                        </p:tgtEl>
                                      </p:cBhvr>
                                      <p:by x="125000" y="125000"/>
                                    </p:animScale>
                                  </p:childTnLst>
                                </p:cTn>
                              </p:par>
                              <p:par>
                                <p:cTn id="24" presetID="6" presetClass="emph" presetSubtype="0" decel="10000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animScale>
                                      <p:cBhvr>
                                        <p:cTn id="25" dur="750" fill="hold"/>
                                        <p:tgtEl>
                                          <p:spTgt spid="143"/>
                                        </p:tgtEl>
                                      </p:cBhvr>
                                      <p:by x="80000" y="80000"/>
                                    </p:animScale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1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6" presetClass="emph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animScale>
                                      <p:cBhvr>
                                        <p:cTn id="30" dur="10" fill="hold"/>
                                        <p:tgtEl>
                                          <p:spTgt spid="144"/>
                                        </p:tgtEl>
                                      </p:cBhvr>
                                      <p:by x="125000" y="125000"/>
                                    </p:animScale>
                                  </p:childTnLst>
                                </p:cTn>
                              </p:par>
                              <p:par>
                                <p:cTn id="31" presetID="6" presetClass="emph" presetSubtype="0" decel="10000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animScale>
                                      <p:cBhvr>
                                        <p:cTn id="32" dur="750" fill="hold"/>
                                        <p:tgtEl>
                                          <p:spTgt spid="144"/>
                                        </p:tgtEl>
                                      </p:cBhvr>
                                      <p:by x="80000" y="80000"/>
                                    </p:animScale>
                                  </p:childTnLst>
                                </p:cTn>
                              </p:par>
                              <p:par>
                                <p:cTn id="33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1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6" presetClass="emph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animScale>
                                      <p:cBhvr>
                                        <p:cTn id="37" dur="10" fill="hold"/>
                                        <p:tgtEl>
                                          <p:spTgt spid="145"/>
                                        </p:tgtEl>
                                      </p:cBhvr>
                                      <p:by x="125000" y="125000"/>
                                    </p:animScale>
                                  </p:childTnLst>
                                </p:cTn>
                              </p:par>
                              <p:par>
                                <p:cTn id="38" presetID="6" presetClass="emph" presetSubtype="0" decel="10000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animScale>
                                      <p:cBhvr>
                                        <p:cTn id="39" dur="750" fill="hold"/>
                                        <p:tgtEl>
                                          <p:spTgt spid="145"/>
                                        </p:tgtEl>
                                      </p:cBhvr>
                                      <p:by x="80000" y="80000"/>
                                    </p:animScale>
                                  </p:childTnLst>
                                </p:cTn>
                              </p:par>
                              <p:par>
                                <p:cTn id="40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6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8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9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1" dur="500"/>
                                        <p:tgtEl>
                                          <p:spTgt spid="1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2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4" dur="500"/>
                                        <p:tgtEl>
                                          <p:spTgt spid="1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5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500"/>
                                        <p:tgtEl>
                                          <p:spTgt spid="1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0" grpId="0" animBg="1"/>
      <p:bldP spid="22" grpId="0" animBg="1"/>
      <p:bldP spid="21" grpId="0" animBg="1"/>
      <p:bldP spid="138" grpId="0"/>
      <p:bldP spid="139" grpId="0"/>
      <p:bldP spid="148" grpId="0"/>
    </p:bldLst>
  </p:timing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E49D793B-3A46-112A-04F3-337042E943F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PT" dirty="0"/>
              <a:t>Ejemplo de título de slide</a:t>
            </a:r>
          </a:p>
        </p:txBody>
      </p:sp>
      <p:sp>
        <p:nvSpPr>
          <p:cNvPr id="3" name="Marcador de Posição do Texto 2">
            <a:extLst>
              <a:ext uri="{FF2B5EF4-FFF2-40B4-BE49-F238E27FC236}">
                <a16:creationId xmlns:a16="http://schemas.microsoft.com/office/drawing/2014/main" id="{BD36EE9B-B5C6-75E2-AF0E-00D8EA70181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>
            <a:normAutofit lnSpcReduction="10000"/>
          </a:bodyPr>
          <a:lstStyle/>
          <a:p>
            <a:r>
              <a:rPr lang="pt-PT" dirty="0"/>
              <a:t>Ejemplo de subtítulo de slide</a:t>
            </a:r>
          </a:p>
        </p:txBody>
      </p:sp>
      <p:sp>
        <p:nvSpPr>
          <p:cNvPr id="7" name="Marcador de Posição do Texto 6">
            <a:extLst>
              <a:ext uri="{FF2B5EF4-FFF2-40B4-BE49-F238E27FC236}">
                <a16:creationId xmlns:a16="http://schemas.microsoft.com/office/drawing/2014/main" id="{BA333362-CFA8-3864-0107-DF98D8DB4DDC}"/>
              </a:ext>
            </a:extLst>
          </p:cNvPr>
          <p:cNvSpPr>
            <a:spLocks noGrp="1"/>
          </p:cNvSpPr>
          <p:nvPr>
            <p:ph type="body" sz="quarter" idx="88"/>
          </p:nvPr>
        </p:nvSpPr>
        <p:spPr/>
        <p:txBody>
          <a:bodyPr/>
          <a:lstStyle/>
          <a:p>
            <a:r>
              <a:rPr lang="pt-PT" dirty="0" err="1"/>
              <a:t>DEVELOPER</a:t>
            </a:r>
            <a:r>
              <a:rPr lang="pt-PT" dirty="0"/>
              <a:t> TEAMS</a:t>
            </a:r>
          </a:p>
        </p:txBody>
      </p:sp>
      <p:sp>
        <p:nvSpPr>
          <p:cNvPr id="8" name="Marcador de Posição do Texto 7">
            <a:extLst>
              <a:ext uri="{FF2B5EF4-FFF2-40B4-BE49-F238E27FC236}">
                <a16:creationId xmlns:a16="http://schemas.microsoft.com/office/drawing/2014/main" id="{E2ED1A24-8787-810D-A3F2-479403DA335B}"/>
              </a:ext>
            </a:extLst>
          </p:cNvPr>
          <p:cNvSpPr>
            <a:spLocks noGrp="1"/>
          </p:cNvSpPr>
          <p:nvPr>
            <p:ph type="body" sz="quarter" idx="89"/>
          </p:nvPr>
        </p:nvSpPr>
        <p:spPr/>
        <p:txBody>
          <a:bodyPr/>
          <a:lstStyle/>
          <a:p>
            <a:r>
              <a:rPr lang="pt-PT" dirty="0"/>
              <a:t>PROJECT MANAGER</a:t>
            </a:r>
          </a:p>
        </p:txBody>
      </p:sp>
      <p:sp>
        <p:nvSpPr>
          <p:cNvPr id="9" name="Marcador de Posição do Texto 8">
            <a:extLst>
              <a:ext uri="{FF2B5EF4-FFF2-40B4-BE49-F238E27FC236}">
                <a16:creationId xmlns:a16="http://schemas.microsoft.com/office/drawing/2014/main" id="{A6001849-2A58-1E9E-1DA3-FEAC19BA28BD}"/>
              </a:ext>
            </a:extLst>
          </p:cNvPr>
          <p:cNvSpPr>
            <a:spLocks noGrp="1"/>
          </p:cNvSpPr>
          <p:nvPr>
            <p:ph type="body" sz="quarter" idx="90"/>
          </p:nvPr>
        </p:nvSpPr>
        <p:spPr/>
        <p:txBody>
          <a:bodyPr/>
          <a:lstStyle/>
          <a:p>
            <a:r>
              <a:rPr lang="pt-PT" dirty="0"/>
              <a:t>IT TEAMS</a:t>
            </a:r>
          </a:p>
        </p:txBody>
      </p:sp>
      <p:sp>
        <p:nvSpPr>
          <p:cNvPr id="10" name="Marcador de Posição do Texto 9">
            <a:extLst>
              <a:ext uri="{FF2B5EF4-FFF2-40B4-BE49-F238E27FC236}">
                <a16:creationId xmlns:a16="http://schemas.microsoft.com/office/drawing/2014/main" id="{BA7704EC-3B66-2A2A-DA95-237AAF2A8599}"/>
              </a:ext>
            </a:extLst>
          </p:cNvPr>
          <p:cNvSpPr>
            <a:spLocks noGrp="1"/>
          </p:cNvSpPr>
          <p:nvPr>
            <p:ph type="body" sz="quarter" idx="91"/>
          </p:nvPr>
        </p:nvSpPr>
        <p:spPr/>
        <p:txBody>
          <a:bodyPr/>
          <a:lstStyle/>
          <a:p>
            <a:r>
              <a:rPr lang="pt-PT" dirty="0" err="1"/>
              <a:t>END</a:t>
            </a:r>
            <a:r>
              <a:rPr lang="pt-PT" dirty="0"/>
              <a:t> </a:t>
            </a:r>
            <a:r>
              <a:rPr lang="pt-PT" dirty="0" err="1"/>
              <a:t>USERS</a:t>
            </a:r>
            <a:endParaRPr lang="pt-PT" dirty="0"/>
          </a:p>
        </p:txBody>
      </p:sp>
      <p:sp>
        <p:nvSpPr>
          <p:cNvPr id="4" name="Marcador de Posição do Texto 3">
            <a:extLst>
              <a:ext uri="{FF2B5EF4-FFF2-40B4-BE49-F238E27FC236}">
                <a16:creationId xmlns:a16="http://schemas.microsoft.com/office/drawing/2014/main" id="{E8361BCB-8D67-8F73-ECDB-FCD7DC8B2896}"/>
              </a:ext>
            </a:extLst>
          </p:cNvPr>
          <p:cNvSpPr>
            <a:spLocks noGrp="1"/>
          </p:cNvSpPr>
          <p:nvPr>
            <p:ph type="body" sz="quarter" idx="83"/>
          </p:nvPr>
        </p:nvSpPr>
        <p:spPr/>
        <p:txBody>
          <a:bodyPr/>
          <a:lstStyle/>
          <a:p>
            <a:r>
              <a:rPr lang="pt-PT" dirty="0" err="1"/>
              <a:t>SERVICE</a:t>
            </a:r>
            <a:br>
              <a:rPr lang="pt-PT" dirty="0"/>
            </a:br>
            <a:r>
              <a:rPr lang="pt-PT" dirty="0" err="1"/>
              <a:t>LAYER</a:t>
            </a:r>
            <a:endParaRPr lang="pt-PT" dirty="0"/>
          </a:p>
        </p:txBody>
      </p:sp>
      <p:sp>
        <p:nvSpPr>
          <p:cNvPr id="11" name="Marcador de Posição do Texto 10">
            <a:extLst>
              <a:ext uri="{FF2B5EF4-FFF2-40B4-BE49-F238E27FC236}">
                <a16:creationId xmlns:a16="http://schemas.microsoft.com/office/drawing/2014/main" id="{6582D0DA-17E3-786F-FFBF-3E6BAF56E95C}"/>
              </a:ext>
            </a:extLst>
          </p:cNvPr>
          <p:cNvSpPr>
            <a:spLocks noGrp="1"/>
          </p:cNvSpPr>
          <p:nvPr>
            <p:ph type="body" sz="quarter" idx="92"/>
          </p:nvPr>
        </p:nvSpPr>
        <p:spPr/>
        <p:txBody>
          <a:bodyPr/>
          <a:lstStyle/>
          <a:p>
            <a:r>
              <a:rPr lang="pt-PT" dirty="0" err="1"/>
              <a:t>ABSTRACTION</a:t>
            </a:r>
            <a:endParaRPr lang="pt-PT" dirty="0"/>
          </a:p>
          <a:p>
            <a:r>
              <a:rPr lang="pt-PT" dirty="0" err="1"/>
              <a:t>lAYER</a:t>
            </a:r>
            <a:endParaRPr lang="pt-PT" dirty="0"/>
          </a:p>
        </p:txBody>
      </p:sp>
      <p:sp>
        <p:nvSpPr>
          <p:cNvPr id="6" name="Marcador de Posição do Texto 5">
            <a:extLst>
              <a:ext uri="{FF2B5EF4-FFF2-40B4-BE49-F238E27FC236}">
                <a16:creationId xmlns:a16="http://schemas.microsoft.com/office/drawing/2014/main" id="{396E45F1-9109-3196-9A64-4CF51D2CECFE}"/>
              </a:ext>
            </a:extLst>
          </p:cNvPr>
          <p:cNvSpPr>
            <a:spLocks noGrp="1"/>
          </p:cNvSpPr>
          <p:nvPr>
            <p:ph type="body" sz="quarter" idx="87"/>
          </p:nvPr>
        </p:nvSpPr>
        <p:spPr/>
        <p:txBody>
          <a:bodyPr/>
          <a:lstStyle/>
          <a:p>
            <a:r>
              <a:rPr lang="pt-PT" dirty="0"/>
              <a:t>Self </a:t>
            </a:r>
            <a:r>
              <a:rPr lang="pt-PT" dirty="0" err="1"/>
              <a:t>Service</a:t>
            </a:r>
            <a:r>
              <a:rPr lang="pt-PT" dirty="0"/>
              <a:t> Portal</a:t>
            </a:r>
          </a:p>
        </p:txBody>
      </p:sp>
      <p:sp>
        <p:nvSpPr>
          <p:cNvPr id="12" name="Marcador de Posição do Texto 11">
            <a:extLst>
              <a:ext uri="{FF2B5EF4-FFF2-40B4-BE49-F238E27FC236}">
                <a16:creationId xmlns:a16="http://schemas.microsoft.com/office/drawing/2014/main" id="{2B89E2DA-E3B1-49B5-1B3E-3A2174C76DA8}"/>
              </a:ext>
            </a:extLst>
          </p:cNvPr>
          <p:cNvSpPr>
            <a:spLocks noGrp="1"/>
          </p:cNvSpPr>
          <p:nvPr>
            <p:ph type="body" sz="quarter" idx="93"/>
          </p:nvPr>
        </p:nvSpPr>
        <p:spPr/>
        <p:txBody>
          <a:bodyPr/>
          <a:lstStyle/>
          <a:p>
            <a:r>
              <a:rPr lang="pt-PT" dirty="0"/>
              <a:t>Compute </a:t>
            </a:r>
            <a:r>
              <a:rPr lang="pt-PT" dirty="0" err="1"/>
              <a:t>Controller</a:t>
            </a:r>
            <a:endParaRPr lang="pt-PT" dirty="0"/>
          </a:p>
        </p:txBody>
      </p:sp>
      <p:sp>
        <p:nvSpPr>
          <p:cNvPr id="13" name="Marcador de Posição do Texto 12">
            <a:extLst>
              <a:ext uri="{FF2B5EF4-FFF2-40B4-BE49-F238E27FC236}">
                <a16:creationId xmlns:a16="http://schemas.microsoft.com/office/drawing/2014/main" id="{3FB7BC91-0F93-F296-B64C-6794F493CC92}"/>
              </a:ext>
            </a:extLst>
          </p:cNvPr>
          <p:cNvSpPr>
            <a:spLocks noGrp="1"/>
          </p:cNvSpPr>
          <p:nvPr>
            <p:ph type="body" sz="quarter" idx="94"/>
          </p:nvPr>
        </p:nvSpPr>
        <p:spPr/>
        <p:txBody>
          <a:bodyPr/>
          <a:lstStyle/>
          <a:p>
            <a:r>
              <a:rPr lang="pt-PT" dirty="0"/>
              <a:t>Network </a:t>
            </a:r>
            <a:r>
              <a:rPr lang="pt-PT" dirty="0" err="1"/>
              <a:t>Controller</a:t>
            </a:r>
            <a:endParaRPr lang="pt-PT" dirty="0"/>
          </a:p>
        </p:txBody>
      </p:sp>
      <p:sp>
        <p:nvSpPr>
          <p:cNvPr id="14" name="Marcador de Posição do Texto 13">
            <a:extLst>
              <a:ext uri="{FF2B5EF4-FFF2-40B4-BE49-F238E27FC236}">
                <a16:creationId xmlns:a16="http://schemas.microsoft.com/office/drawing/2014/main" id="{C6E578CB-9770-9D50-469C-25CEAE4AE8A0}"/>
              </a:ext>
            </a:extLst>
          </p:cNvPr>
          <p:cNvSpPr>
            <a:spLocks noGrp="1"/>
          </p:cNvSpPr>
          <p:nvPr>
            <p:ph type="body" sz="quarter" idx="95"/>
          </p:nvPr>
        </p:nvSpPr>
        <p:spPr/>
        <p:txBody>
          <a:bodyPr/>
          <a:lstStyle/>
          <a:p>
            <a:r>
              <a:rPr lang="pt-PT" dirty="0" err="1"/>
              <a:t>Storage</a:t>
            </a:r>
            <a:r>
              <a:rPr lang="pt-PT" dirty="0"/>
              <a:t> </a:t>
            </a:r>
            <a:r>
              <a:rPr lang="pt-PT" dirty="0" err="1"/>
              <a:t>Controller</a:t>
            </a:r>
            <a:endParaRPr lang="pt-PT" dirty="0"/>
          </a:p>
        </p:txBody>
      </p:sp>
      <p:sp>
        <p:nvSpPr>
          <p:cNvPr id="15" name="Marcador de Posição do Texto 14">
            <a:extLst>
              <a:ext uri="{FF2B5EF4-FFF2-40B4-BE49-F238E27FC236}">
                <a16:creationId xmlns:a16="http://schemas.microsoft.com/office/drawing/2014/main" id="{27E408B7-FF84-DE9C-2DB3-ED4D41442EFC}"/>
              </a:ext>
            </a:extLst>
          </p:cNvPr>
          <p:cNvSpPr>
            <a:spLocks noGrp="1"/>
          </p:cNvSpPr>
          <p:nvPr>
            <p:ph type="body" sz="quarter" idx="96"/>
          </p:nvPr>
        </p:nvSpPr>
        <p:spPr/>
        <p:txBody>
          <a:bodyPr/>
          <a:lstStyle/>
          <a:p>
            <a:r>
              <a:rPr lang="pt-PT" dirty="0" err="1"/>
              <a:t>Security</a:t>
            </a:r>
            <a:r>
              <a:rPr lang="pt-PT" dirty="0"/>
              <a:t> </a:t>
            </a:r>
            <a:r>
              <a:rPr lang="pt-PT" dirty="0" err="1"/>
              <a:t>Controller</a:t>
            </a:r>
            <a:endParaRPr lang="pt-PT" dirty="0"/>
          </a:p>
        </p:txBody>
      </p:sp>
      <p:sp>
        <p:nvSpPr>
          <p:cNvPr id="5" name="Marcador de Posição do Texto 4">
            <a:extLst>
              <a:ext uri="{FF2B5EF4-FFF2-40B4-BE49-F238E27FC236}">
                <a16:creationId xmlns:a16="http://schemas.microsoft.com/office/drawing/2014/main" id="{7536A8BD-859F-98BB-E29A-4EDC3DF77E16}"/>
              </a:ext>
            </a:extLst>
          </p:cNvPr>
          <p:cNvSpPr>
            <a:spLocks noGrp="1"/>
          </p:cNvSpPr>
          <p:nvPr>
            <p:ph type="body" sz="quarter" idx="84"/>
          </p:nvPr>
        </p:nvSpPr>
        <p:spPr>
          <a:xfrm>
            <a:off x="4103278" y="2539639"/>
            <a:ext cx="1745988" cy="576342"/>
          </a:xfrm>
        </p:spPr>
        <p:txBody>
          <a:bodyPr/>
          <a:lstStyle/>
          <a:p>
            <a:r>
              <a:rPr lang="pt-PT" dirty="0" err="1"/>
              <a:t>Policy</a:t>
            </a:r>
            <a:r>
              <a:rPr lang="pt-PT" dirty="0"/>
              <a:t> </a:t>
            </a:r>
            <a:r>
              <a:rPr lang="pt-PT" dirty="0" err="1"/>
              <a:t>Based</a:t>
            </a:r>
            <a:br>
              <a:rPr lang="pt-PT" dirty="0"/>
            </a:br>
            <a:r>
              <a:rPr lang="pt-PT" dirty="0" err="1"/>
              <a:t>Automation</a:t>
            </a:r>
            <a:endParaRPr lang="pt-PT" dirty="0"/>
          </a:p>
        </p:txBody>
      </p:sp>
      <p:sp>
        <p:nvSpPr>
          <p:cNvPr id="16" name="Marcador de Posição do Texto 15">
            <a:extLst>
              <a:ext uri="{FF2B5EF4-FFF2-40B4-BE49-F238E27FC236}">
                <a16:creationId xmlns:a16="http://schemas.microsoft.com/office/drawing/2014/main" id="{A61835B9-E447-3853-305E-C9715DD89965}"/>
              </a:ext>
            </a:extLst>
          </p:cNvPr>
          <p:cNvSpPr>
            <a:spLocks noGrp="1"/>
          </p:cNvSpPr>
          <p:nvPr>
            <p:ph type="body" sz="quarter" idx="97"/>
          </p:nvPr>
        </p:nvSpPr>
        <p:spPr>
          <a:xfrm>
            <a:off x="6357600" y="2539639"/>
            <a:ext cx="1745988" cy="576342"/>
          </a:xfrm>
        </p:spPr>
        <p:txBody>
          <a:bodyPr/>
          <a:lstStyle/>
          <a:p>
            <a:r>
              <a:rPr lang="pt-PT" dirty="0" err="1"/>
              <a:t>Context</a:t>
            </a:r>
            <a:r>
              <a:rPr lang="pt-PT" dirty="0"/>
              <a:t> </a:t>
            </a:r>
            <a:r>
              <a:rPr lang="pt-PT" dirty="0" err="1"/>
              <a:t>Based</a:t>
            </a:r>
            <a:br>
              <a:rPr lang="pt-PT" dirty="0"/>
            </a:br>
            <a:r>
              <a:rPr lang="pt-PT" dirty="0" err="1"/>
              <a:t>Security</a:t>
            </a:r>
            <a:endParaRPr lang="pt-PT" dirty="0"/>
          </a:p>
        </p:txBody>
      </p:sp>
      <p:sp>
        <p:nvSpPr>
          <p:cNvPr id="17" name="Marcador de Posição do Texto 16">
            <a:extLst>
              <a:ext uri="{FF2B5EF4-FFF2-40B4-BE49-F238E27FC236}">
                <a16:creationId xmlns:a16="http://schemas.microsoft.com/office/drawing/2014/main" id="{6063B3B1-9EB0-05B3-D477-A10ED63FBE29}"/>
              </a:ext>
            </a:extLst>
          </p:cNvPr>
          <p:cNvSpPr>
            <a:spLocks noGrp="1"/>
          </p:cNvSpPr>
          <p:nvPr>
            <p:ph type="body" sz="quarter" idx="98"/>
          </p:nvPr>
        </p:nvSpPr>
        <p:spPr>
          <a:xfrm>
            <a:off x="8611922" y="2539639"/>
            <a:ext cx="1745988" cy="576342"/>
          </a:xfrm>
        </p:spPr>
        <p:txBody>
          <a:bodyPr/>
          <a:lstStyle/>
          <a:p>
            <a:r>
              <a:rPr lang="pt-PT" dirty="0"/>
              <a:t>Charge </a:t>
            </a:r>
            <a:r>
              <a:rPr lang="pt-PT" dirty="0" err="1"/>
              <a:t>Back</a:t>
            </a:r>
            <a:r>
              <a:rPr lang="pt-PT" dirty="0"/>
              <a:t> /</a:t>
            </a:r>
            <a:br>
              <a:rPr lang="pt-PT" dirty="0"/>
            </a:br>
            <a:r>
              <a:rPr lang="pt-PT" dirty="0" err="1"/>
              <a:t>Cost</a:t>
            </a:r>
            <a:r>
              <a:rPr lang="pt-PT" dirty="0"/>
              <a:t> </a:t>
            </a:r>
            <a:r>
              <a:rPr lang="pt-PT" dirty="0" err="1"/>
              <a:t>Control</a:t>
            </a:r>
            <a:endParaRPr lang="pt-PT" dirty="0"/>
          </a:p>
        </p:txBody>
      </p:sp>
      <p:sp>
        <p:nvSpPr>
          <p:cNvPr id="37" name="Marcador de Posição do Texto 36">
            <a:extLst>
              <a:ext uri="{FF2B5EF4-FFF2-40B4-BE49-F238E27FC236}">
                <a16:creationId xmlns:a16="http://schemas.microsoft.com/office/drawing/2014/main" id="{8390A398-30E5-5D9B-7B4E-F20341C1904C}"/>
              </a:ext>
            </a:extLst>
          </p:cNvPr>
          <p:cNvSpPr>
            <a:spLocks noGrp="1"/>
          </p:cNvSpPr>
          <p:nvPr>
            <p:ph type="body" sz="quarter" idx="100"/>
          </p:nvPr>
        </p:nvSpPr>
        <p:spPr/>
        <p:txBody>
          <a:bodyPr/>
          <a:lstStyle/>
          <a:p>
            <a:r>
              <a:rPr lang="pt-PT" dirty="0"/>
              <a:t>COMPUTE POOL</a:t>
            </a:r>
          </a:p>
        </p:txBody>
      </p:sp>
      <p:sp>
        <p:nvSpPr>
          <p:cNvPr id="38" name="Marcador de Posição do Texto 37">
            <a:extLst>
              <a:ext uri="{FF2B5EF4-FFF2-40B4-BE49-F238E27FC236}">
                <a16:creationId xmlns:a16="http://schemas.microsoft.com/office/drawing/2014/main" id="{EF02D6AC-A5AE-9FFB-6A36-E68ED95C3BDF}"/>
              </a:ext>
            </a:extLst>
          </p:cNvPr>
          <p:cNvSpPr>
            <a:spLocks noGrp="1"/>
          </p:cNvSpPr>
          <p:nvPr>
            <p:ph type="body" sz="quarter" idx="101"/>
          </p:nvPr>
        </p:nvSpPr>
        <p:spPr/>
        <p:txBody>
          <a:bodyPr/>
          <a:lstStyle/>
          <a:p>
            <a:r>
              <a:rPr lang="pt-PT" dirty="0"/>
              <a:t>NETWORK POOL</a:t>
            </a:r>
          </a:p>
        </p:txBody>
      </p:sp>
      <p:sp>
        <p:nvSpPr>
          <p:cNvPr id="39" name="Marcador de Posição do Texto 38">
            <a:extLst>
              <a:ext uri="{FF2B5EF4-FFF2-40B4-BE49-F238E27FC236}">
                <a16:creationId xmlns:a16="http://schemas.microsoft.com/office/drawing/2014/main" id="{F9D4CB57-5B6A-B220-2A5B-B72C4BE28389}"/>
              </a:ext>
            </a:extLst>
          </p:cNvPr>
          <p:cNvSpPr>
            <a:spLocks noGrp="1"/>
          </p:cNvSpPr>
          <p:nvPr>
            <p:ph type="body" sz="quarter" idx="102"/>
          </p:nvPr>
        </p:nvSpPr>
        <p:spPr/>
        <p:txBody>
          <a:bodyPr/>
          <a:lstStyle/>
          <a:p>
            <a:r>
              <a:rPr lang="pt-PT" dirty="0" err="1"/>
              <a:t>SECURITY</a:t>
            </a:r>
            <a:r>
              <a:rPr lang="pt-PT" dirty="0"/>
              <a:t> POOL</a:t>
            </a:r>
          </a:p>
        </p:txBody>
      </p:sp>
      <p:sp>
        <p:nvSpPr>
          <p:cNvPr id="40" name="Marcador de Posição do Texto 39">
            <a:extLst>
              <a:ext uri="{FF2B5EF4-FFF2-40B4-BE49-F238E27FC236}">
                <a16:creationId xmlns:a16="http://schemas.microsoft.com/office/drawing/2014/main" id="{E575DA6B-09DF-1710-47A7-AF176F82CE8A}"/>
              </a:ext>
            </a:extLst>
          </p:cNvPr>
          <p:cNvSpPr>
            <a:spLocks noGrp="1"/>
          </p:cNvSpPr>
          <p:nvPr>
            <p:ph type="body" sz="quarter" idx="103"/>
          </p:nvPr>
        </p:nvSpPr>
        <p:spPr/>
        <p:txBody>
          <a:bodyPr/>
          <a:lstStyle/>
          <a:p>
            <a:r>
              <a:rPr lang="pt-PT" dirty="0" err="1"/>
              <a:t>STORAGE</a:t>
            </a:r>
            <a:r>
              <a:rPr lang="pt-PT" dirty="0"/>
              <a:t> POOL</a:t>
            </a:r>
          </a:p>
        </p:txBody>
      </p:sp>
      <p:sp>
        <p:nvSpPr>
          <p:cNvPr id="41" name="Marcador de Posição do Texto 40">
            <a:extLst>
              <a:ext uri="{FF2B5EF4-FFF2-40B4-BE49-F238E27FC236}">
                <a16:creationId xmlns:a16="http://schemas.microsoft.com/office/drawing/2014/main" id="{E97D0A84-34CF-C1D0-E1D7-F790FA608D47}"/>
              </a:ext>
            </a:extLst>
          </p:cNvPr>
          <p:cNvSpPr>
            <a:spLocks noGrp="1"/>
          </p:cNvSpPr>
          <p:nvPr>
            <p:ph type="body" sz="quarter" idx="104"/>
          </p:nvPr>
        </p:nvSpPr>
        <p:spPr/>
        <p:txBody>
          <a:bodyPr/>
          <a:lstStyle/>
          <a:p>
            <a:r>
              <a:rPr lang="pt-PT" dirty="0"/>
              <a:t>Compute</a:t>
            </a:r>
          </a:p>
        </p:txBody>
      </p:sp>
      <p:sp>
        <p:nvSpPr>
          <p:cNvPr id="42" name="Marcador de Posição do Texto 41">
            <a:extLst>
              <a:ext uri="{FF2B5EF4-FFF2-40B4-BE49-F238E27FC236}">
                <a16:creationId xmlns:a16="http://schemas.microsoft.com/office/drawing/2014/main" id="{1EC6576D-53AD-6B9B-3210-47209BAB3E8B}"/>
              </a:ext>
            </a:extLst>
          </p:cNvPr>
          <p:cNvSpPr>
            <a:spLocks noGrp="1"/>
          </p:cNvSpPr>
          <p:nvPr>
            <p:ph type="body" sz="quarter" idx="105"/>
          </p:nvPr>
        </p:nvSpPr>
        <p:spPr/>
        <p:txBody>
          <a:bodyPr/>
          <a:lstStyle/>
          <a:p>
            <a:r>
              <a:rPr lang="pt-PT" dirty="0" err="1"/>
              <a:t>Storage</a:t>
            </a:r>
            <a:endParaRPr lang="pt-PT" dirty="0"/>
          </a:p>
        </p:txBody>
      </p:sp>
      <p:sp>
        <p:nvSpPr>
          <p:cNvPr id="43" name="Marcador de Posição do Texto 42">
            <a:extLst>
              <a:ext uri="{FF2B5EF4-FFF2-40B4-BE49-F238E27FC236}">
                <a16:creationId xmlns:a16="http://schemas.microsoft.com/office/drawing/2014/main" id="{684D40CB-BC34-4035-D1F1-C384796C38F8}"/>
              </a:ext>
            </a:extLst>
          </p:cNvPr>
          <p:cNvSpPr>
            <a:spLocks noGrp="1"/>
          </p:cNvSpPr>
          <p:nvPr>
            <p:ph type="body" sz="quarter" idx="106"/>
          </p:nvPr>
        </p:nvSpPr>
        <p:spPr/>
        <p:txBody>
          <a:bodyPr/>
          <a:lstStyle/>
          <a:p>
            <a:r>
              <a:rPr lang="pt-PT" dirty="0"/>
              <a:t>Network</a:t>
            </a:r>
          </a:p>
        </p:txBody>
      </p:sp>
      <p:sp>
        <p:nvSpPr>
          <p:cNvPr id="44" name="Marcador de Posição do Texto 43">
            <a:extLst>
              <a:ext uri="{FF2B5EF4-FFF2-40B4-BE49-F238E27FC236}">
                <a16:creationId xmlns:a16="http://schemas.microsoft.com/office/drawing/2014/main" id="{93CAA51E-C454-2C7A-6353-2198C3DBE66E}"/>
              </a:ext>
            </a:extLst>
          </p:cNvPr>
          <p:cNvSpPr>
            <a:spLocks noGrp="1"/>
          </p:cNvSpPr>
          <p:nvPr>
            <p:ph type="body" sz="quarter" idx="107"/>
          </p:nvPr>
        </p:nvSpPr>
        <p:spPr/>
        <p:txBody>
          <a:bodyPr/>
          <a:lstStyle/>
          <a:p>
            <a:r>
              <a:rPr lang="pt-PT" dirty="0" err="1"/>
              <a:t>Security</a:t>
            </a:r>
            <a:endParaRPr lang="pt-PT" dirty="0"/>
          </a:p>
        </p:txBody>
      </p:sp>
      <p:sp>
        <p:nvSpPr>
          <p:cNvPr id="45" name="Marcador de Posição do Texto 44">
            <a:extLst>
              <a:ext uri="{FF2B5EF4-FFF2-40B4-BE49-F238E27FC236}">
                <a16:creationId xmlns:a16="http://schemas.microsoft.com/office/drawing/2014/main" id="{42165816-3850-EE71-2D4D-11C14CE27F91}"/>
              </a:ext>
            </a:extLst>
          </p:cNvPr>
          <p:cNvSpPr>
            <a:spLocks noGrp="1"/>
          </p:cNvSpPr>
          <p:nvPr>
            <p:ph type="body" sz="quarter" idx="108"/>
          </p:nvPr>
        </p:nvSpPr>
        <p:spPr/>
        <p:txBody>
          <a:bodyPr/>
          <a:lstStyle/>
          <a:p>
            <a:r>
              <a:rPr lang="pt-PT" dirty="0" err="1"/>
              <a:t>VMs</a:t>
            </a:r>
            <a:endParaRPr lang="pt-PT" dirty="0"/>
          </a:p>
        </p:txBody>
      </p:sp>
      <p:sp>
        <p:nvSpPr>
          <p:cNvPr id="46" name="Marcador de Posição do Texto 45">
            <a:extLst>
              <a:ext uri="{FF2B5EF4-FFF2-40B4-BE49-F238E27FC236}">
                <a16:creationId xmlns:a16="http://schemas.microsoft.com/office/drawing/2014/main" id="{426170DC-D688-381E-35B4-19E9761FCAC4}"/>
              </a:ext>
            </a:extLst>
          </p:cNvPr>
          <p:cNvSpPr>
            <a:spLocks noGrp="1"/>
          </p:cNvSpPr>
          <p:nvPr>
            <p:ph type="body" sz="quarter" idx="109"/>
          </p:nvPr>
        </p:nvSpPr>
        <p:spPr/>
        <p:txBody>
          <a:bodyPr/>
          <a:lstStyle/>
          <a:p>
            <a:r>
              <a:rPr lang="pt-PT" dirty="0" err="1"/>
              <a:t>Hypervisor</a:t>
            </a:r>
            <a:endParaRPr lang="pt-PT" dirty="0"/>
          </a:p>
        </p:txBody>
      </p:sp>
      <p:sp>
        <p:nvSpPr>
          <p:cNvPr id="47" name="Marcador de Posição do Texto 46">
            <a:extLst>
              <a:ext uri="{FF2B5EF4-FFF2-40B4-BE49-F238E27FC236}">
                <a16:creationId xmlns:a16="http://schemas.microsoft.com/office/drawing/2014/main" id="{5FFBBEC6-EA79-FF7E-C1C4-37CD145283FF}"/>
              </a:ext>
            </a:extLst>
          </p:cNvPr>
          <p:cNvSpPr>
            <a:spLocks noGrp="1"/>
          </p:cNvSpPr>
          <p:nvPr>
            <p:ph type="body" sz="quarter" idx="110"/>
          </p:nvPr>
        </p:nvSpPr>
        <p:spPr/>
        <p:txBody>
          <a:bodyPr/>
          <a:lstStyle/>
          <a:p>
            <a:r>
              <a:rPr lang="pt-PT" dirty="0"/>
              <a:t>Containers</a:t>
            </a:r>
          </a:p>
        </p:txBody>
      </p:sp>
      <p:sp>
        <p:nvSpPr>
          <p:cNvPr id="49" name="Marcador de Posição do Texto 48">
            <a:extLst>
              <a:ext uri="{FF2B5EF4-FFF2-40B4-BE49-F238E27FC236}">
                <a16:creationId xmlns:a16="http://schemas.microsoft.com/office/drawing/2014/main" id="{0D6EAD76-842C-BD61-337A-BE48CBAE325A}"/>
              </a:ext>
            </a:extLst>
          </p:cNvPr>
          <p:cNvSpPr>
            <a:spLocks noGrp="1"/>
          </p:cNvSpPr>
          <p:nvPr>
            <p:ph type="body" sz="quarter" idx="112"/>
          </p:nvPr>
        </p:nvSpPr>
        <p:spPr/>
        <p:txBody>
          <a:bodyPr/>
          <a:lstStyle/>
          <a:p>
            <a:r>
              <a:rPr lang="pt-PT" dirty="0"/>
              <a:t>Software </a:t>
            </a:r>
            <a:r>
              <a:rPr lang="pt-PT" dirty="0" err="1"/>
              <a:t>Defined</a:t>
            </a:r>
            <a:r>
              <a:rPr lang="pt-PT" dirty="0"/>
              <a:t> Network</a:t>
            </a:r>
          </a:p>
        </p:txBody>
      </p:sp>
      <p:sp>
        <p:nvSpPr>
          <p:cNvPr id="51" name="Marcador de Posição do Texto 50">
            <a:extLst>
              <a:ext uri="{FF2B5EF4-FFF2-40B4-BE49-F238E27FC236}">
                <a16:creationId xmlns:a16="http://schemas.microsoft.com/office/drawing/2014/main" id="{FEA065B1-D511-4C9C-9736-8B8AA7C6A903}"/>
              </a:ext>
            </a:extLst>
          </p:cNvPr>
          <p:cNvSpPr>
            <a:spLocks noGrp="1"/>
          </p:cNvSpPr>
          <p:nvPr>
            <p:ph type="body" sz="quarter" idx="114"/>
          </p:nvPr>
        </p:nvSpPr>
        <p:spPr>
          <a:xfrm>
            <a:off x="7530256" y="4188816"/>
            <a:ext cx="850357" cy="330324"/>
          </a:xfrm>
        </p:spPr>
        <p:txBody>
          <a:bodyPr/>
          <a:lstStyle/>
          <a:p>
            <a:r>
              <a:rPr lang="pt-PT" dirty="0"/>
              <a:t>Virtual SAN</a:t>
            </a:r>
          </a:p>
        </p:txBody>
      </p:sp>
      <p:sp>
        <p:nvSpPr>
          <p:cNvPr id="52" name="Marcador de Posição do Texto 51">
            <a:extLst>
              <a:ext uri="{FF2B5EF4-FFF2-40B4-BE49-F238E27FC236}">
                <a16:creationId xmlns:a16="http://schemas.microsoft.com/office/drawing/2014/main" id="{432EC8FE-64B4-1FF9-AEE3-E1C5BAB43F24}"/>
              </a:ext>
            </a:extLst>
          </p:cNvPr>
          <p:cNvSpPr>
            <a:spLocks noGrp="1"/>
          </p:cNvSpPr>
          <p:nvPr>
            <p:ph type="body" sz="quarter" idx="115"/>
          </p:nvPr>
        </p:nvSpPr>
        <p:spPr/>
        <p:txBody>
          <a:bodyPr/>
          <a:lstStyle/>
          <a:p>
            <a:r>
              <a:rPr lang="pt-PT" dirty="0"/>
              <a:t>Software </a:t>
            </a:r>
            <a:r>
              <a:rPr lang="pt-PT" dirty="0" err="1"/>
              <a:t>Defined</a:t>
            </a:r>
            <a:r>
              <a:rPr lang="pt-PT" dirty="0"/>
              <a:t> </a:t>
            </a:r>
            <a:r>
              <a:rPr lang="pt-PT" dirty="0" err="1"/>
              <a:t>Storage</a:t>
            </a:r>
            <a:endParaRPr lang="pt-PT" dirty="0"/>
          </a:p>
        </p:txBody>
      </p:sp>
      <p:sp>
        <p:nvSpPr>
          <p:cNvPr id="53" name="Marcador de Posição do Texto 52">
            <a:extLst>
              <a:ext uri="{FF2B5EF4-FFF2-40B4-BE49-F238E27FC236}">
                <a16:creationId xmlns:a16="http://schemas.microsoft.com/office/drawing/2014/main" id="{7CA3DF20-FB1B-E344-3996-D016062279B6}"/>
              </a:ext>
            </a:extLst>
          </p:cNvPr>
          <p:cNvSpPr>
            <a:spLocks noGrp="1"/>
          </p:cNvSpPr>
          <p:nvPr>
            <p:ph type="body" sz="quarter" idx="116"/>
          </p:nvPr>
        </p:nvSpPr>
        <p:spPr/>
        <p:txBody>
          <a:bodyPr/>
          <a:lstStyle/>
          <a:p>
            <a:r>
              <a:rPr lang="pt-PT" dirty="0" err="1"/>
              <a:t>Scale</a:t>
            </a:r>
            <a:r>
              <a:rPr lang="pt-PT" dirty="0"/>
              <a:t> Out </a:t>
            </a:r>
            <a:r>
              <a:rPr lang="pt-PT" dirty="0" err="1"/>
              <a:t>Storage</a:t>
            </a:r>
            <a:endParaRPr lang="pt-PT" dirty="0"/>
          </a:p>
        </p:txBody>
      </p:sp>
      <p:sp>
        <p:nvSpPr>
          <p:cNvPr id="54" name="Marcador de Posição do Texto 53">
            <a:extLst>
              <a:ext uri="{FF2B5EF4-FFF2-40B4-BE49-F238E27FC236}">
                <a16:creationId xmlns:a16="http://schemas.microsoft.com/office/drawing/2014/main" id="{A5F64320-96D1-B49A-99DE-39B7BF04A3F9}"/>
              </a:ext>
            </a:extLst>
          </p:cNvPr>
          <p:cNvSpPr>
            <a:spLocks noGrp="1"/>
          </p:cNvSpPr>
          <p:nvPr>
            <p:ph type="body" sz="quarter" idx="117"/>
          </p:nvPr>
        </p:nvSpPr>
        <p:spPr/>
        <p:txBody>
          <a:bodyPr/>
          <a:lstStyle/>
          <a:p>
            <a:r>
              <a:rPr lang="pt-PT" dirty="0" err="1"/>
              <a:t>Identity</a:t>
            </a:r>
            <a:r>
              <a:rPr lang="pt-PT" dirty="0"/>
              <a:t> Firewall</a:t>
            </a:r>
          </a:p>
        </p:txBody>
      </p:sp>
      <p:sp>
        <p:nvSpPr>
          <p:cNvPr id="55" name="Marcador de Posição do Texto 54">
            <a:extLst>
              <a:ext uri="{FF2B5EF4-FFF2-40B4-BE49-F238E27FC236}">
                <a16:creationId xmlns:a16="http://schemas.microsoft.com/office/drawing/2014/main" id="{EA5A602E-D918-AD51-EF07-FD66C1B0AB74}"/>
              </a:ext>
            </a:extLst>
          </p:cNvPr>
          <p:cNvSpPr>
            <a:spLocks noGrp="1"/>
          </p:cNvSpPr>
          <p:nvPr>
            <p:ph type="body" sz="quarter" idx="118"/>
          </p:nvPr>
        </p:nvSpPr>
        <p:spPr/>
        <p:txBody>
          <a:bodyPr/>
          <a:lstStyle/>
          <a:p>
            <a:r>
              <a:rPr lang="pt-PT" dirty="0" err="1"/>
              <a:t>Distributed</a:t>
            </a:r>
            <a:r>
              <a:rPr lang="pt-PT" dirty="0"/>
              <a:t> Firewall</a:t>
            </a:r>
          </a:p>
        </p:txBody>
      </p:sp>
      <p:sp>
        <p:nvSpPr>
          <p:cNvPr id="56" name="Marcador de Posição do Texto 55">
            <a:extLst>
              <a:ext uri="{FF2B5EF4-FFF2-40B4-BE49-F238E27FC236}">
                <a16:creationId xmlns:a16="http://schemas.microsoft.com/office/drawing/2014/main" id="{4BC90225-61C9-2D03-22CD-0B5653BA063C}"/>
              </a:ext>
            </a:extLst>
          </p:cNvPr>
          <p:cNvSpPr>
            <a:spLocks noGrp="1"/>
          </p:cNvSpPr>
          <p:nvPr>
            <p:ph type="body" sz="quarter" idx="119"/>
          </p:nvPr>
        </p:nvSpPr>
        <p:spPr/>
        <p:txBody>
          <a:bodyPr/>
          <a:lstStyle/>
          <a:p>
            <a:r>
              <a:rPr lang="pt-PT" dirty="0"/>
              <a:t>Zero Trust</a:t>
            </a:r>
          </a:p>
        </p:txBody>
      </p:sp>
      <p:sp>
        <p:nvSpPr>
          <p:cNvPr id="155" name="Marcador de Posição do Texto 154">
            <a:extLst>
              <a:ext uri="{FF2B5EF4-FFF2-40B4-BE49-F238E27FC236}">
                <a16:creationId xmlns:a16="http://schemas.microsoft.com/office/drawing/2014/main" id="{F22FA2C5-F44F-6E1E-567C-6A6B8D1319FB}"/>
              </a:ext>
            </a:extLst>
          </p:cNvPr>
          <p:cNvSpPr>
            <a:spLocks noGrp="1"/>
          </p:cNvSpPr>
          <p:nvPr>
            <p:ph type="body" sz="quarter" idx="120"/>
          </p:nvPr>
        </p:nvSpPr>
        <p:spPr/>
        <p:txBody>
          <a:bodyPr/>
          <a:lstStyle/>
          <a:p>
            <a:r>
              <a:rPr lang="pt-PT" dirty="0" err="1"/>
              <a:t>PHYSICAL</a:t>
            </a:r>
            <a:r>
              <a:rPr lang="pt-PT" dirty="0"/>
              <a:t> </a:t>
            </a:r>
            <a:r>
              <a:rPr lang="pt-PT" dirty="0" err="1"/>
              <a:t>INFRASTRUCTURE</a:t>
            </a:r>
            <a:endParaRPr lang="pt-PT" dirty="0"/>
          </a:p>
        </p:txBody>
      </p:sp>
      <p:sp>
        <p:nvSpPr>
          <p:cNvPr id="59" name="Marcador de Posição do Texto 48">
            <a:extLst>
              <a:ext uri="{FF2B5EF4-FFF2-40B4-BE49-F238E27FC236}">
                <a16:creationId xmlns:a16="http://schemas.microsoft.com/office/drawing/2014/main" id="{6C2B2B63-32AC-8358-DB78-7228D9F45331}"/>
              </a:ext>
            </a:extLst>
          </p:cNvPr>
          <p:cNvSpPr txBox="1">
            <a:spLocks/>
          </p:cNvSpPr>
          <p:nvPr/>
        </p:nvSpPr>
        <p:spPr>
          <a:xfrm>
            <a:off x="5339971" y="4188816"/>
            <a:ext cx="1791894" cy="330324"/>
          </a:xfrm>
          <a:custGeom>
            <a:avLst/>
            <a:gdLst>
              <a:gd name="connsiteX0" fmla="*/ 1297484 w 1791894"/>
              <a:gd name="connsiteY0" fmla="*/ 0 h 330324"/>
              <a:gd name="connsiteX1" fmla="*/ 1297484 w 1791894"/>
              <a:gd name="connsiteY1" fmla="*/ 13 h 330324"/>
              <a:gd name="connsiteX2" fmla="*/ 1791894 w 1791894"/>
              <a:gd name="connsiteY2" fmla="*/ 13 h 330324"/>
              <a:gd name="connsiteX3" fmla="*/ 1461580 w 1791894"/>
              <a:gd name="connsiteY3" fmla="*/ 330324 h 330324"/>
              <a:gd name="connsiteX4" fmla="*/ 1461446 w 1791894"/>
              <a:gd name="connsiteY4" fmla="*/ 330324 h 330324"/>
              <a:gd name="connsiteX5" fmla="*/ 1186319 w 1791894"/>
              <a:gd name="connsiteY5" fmla="*/ 330324 h 330324"/>
              <a:gd name="connsiteX6" fmla="*/ 1186302 w 1791894"/>
              <a:gd name="connsiteY6" fmla="*/ 330273 h 330324"/>
              <a:gd name="connsiteX7" fmla="*/ 0 w 1791894"/>
              <a:gd name="connsiteY7" fmla="*/ 330308 h 330324"/>
              <a:gd name="connsiteX8" fmla="*/ 0 w 1791894"/>
              <a:gd name="connsiteY8" fmla="*/ 39 h 3303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791894" h="330324">
                <a:moveTo>
                  <a:pt x="1297484" y="0"/>
                </a:moveTo>
                <a:lnTo>
                  <a:pt x="1297484" y="13"/>
                </a:lnTo>
                <a:lnTo>
                  <a:pt x="1791894" y="13"/>
                </a:lnTo>
                <a:cubicBezTo>
                  <a:pt x="1791894" y="182525"/>
                  <a:pt x="1643956" y="330324"/>
                  <a:pt x="1461580" y="330324"/>
                </a:cubicBezTo>
                <a:lnTo>
                  <a:pt x="1461446" y="330324"/>
                </a:lnTo>
                <a:lnTo>
                  <a:pt x="1186319" y="330324"/>
                </a:lnTo>
                <a:lnTo>
                  <a:pt x="1186302" y="330273"/>
                </a:lnTo>
                <a:lnTo>
                  <a:pt x="0" y="330308"/>
                </a:lnTo>
                <a:lnTo>
                  <a:pt x="0" y="39"/>
                </a:lnTo>
                <a:close/>
              </a:path>
            </a:pathLst>
          </a:custGeom>
          <a:solidFill>
            <a:schemeClr val="tx2"/>
          </a:solidFill>
        </p:spPr>
        <p:txBody>
          <a:bodyPr vert="horz" wrap="square" lIns="91440" tIns="45720" rIns="91440" bIns="45720" rtlCol="0" anchor="ctr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 sz="9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177800" indent="-177800" algn="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177800" indent="-177800" algn="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77800" indent="-177800" algn="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177800" indent="-177800" algn="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PT" b="1" dirty="0" err="1">
                <a:solidFill>
                  <a:prstClr val="white"/>
                </a:solidFill>
                <a:latin typeface="Verdana" panose="020B0604030504040204" pitchFamily="34" charset="0"/>
              </a:rPr>
              <a:t>NFV</a:t>
            </a:r>
            <a:endParaRPr lang="pt-PT" b="1" dirty="0">
              <a:solidFill>
                <a:prstClr val="white"/>
              </a:solidFill>
              <a:latin typeface="Verdana" panose="020B0604030504040204" pitchFamily="34" charset="0"/>
            </a:endParaRPr>
          </a:p>
        </p:txBody>
      </p:sp>
      <p:sp>
        <p:nvSpPr>
          <p:cNvPr id="18" name="Marcador de pie de página 17">
            <a:extLst>
              <a:ext uri="{FF2B5EF4-FFF2-40B4-BE49-F238E27FC236}">
                <a16:creationId xmlns:a16="http://schemas.microsoft.com/office/drawing/2014/main" id="{77B269C6-05A4-4A68-B2ED-C307D76F876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pt-PT"/>
              <a:t>Título de la presentación</a:t>
            </a:r>
            <a:endParaRPr lang="pt-PT" dirty="0"/>
          </a:p>
        </p:txBody>
      </p:sp>
      <p:sp>
        <p:nvSpPr>
          <p:cNvPr id="19" name="Marcador de número de diapositiva 18">
            <a:extLst>
              <a:ext uri="{FF2B5EF4-FFF2-40B4-BE49-F238E27FC236}">
                <a16:creationId xmlns:a16="http://schemas.microsoft.com/office/drawing/2014/main" id="{EE4E7D6B-B133-40C1-BD12-35BB595D5A4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4A347C2-D68E-473A-8C76-1D063E4EB6E0}" type="slidenum">
              <a:rPr lang="es-ES" smtClean="0"/>
              <a:pPr/>
              <a:t>52</a:t>
            </a:fld>
            <a:endParaRPr lang="es-ES"/>
          </a:p>
        </p:txBody>
      </p:sp>
      <p:grpSp>
        <p:nvGrpSpPr>
          <p:cNvPr id="152" name="Agrupar 59">
            <a:extLst>
              <a:ext uri="{FF2B5EF4-FFF2-40B4-BE49-F238E27FC236}">
                <a16:creationId xmlns:a16="http://schemas.microsoft.com/office/drawing/2014/main" id="{2932B445-B5BA-4C86-91CA-676A26734517}"/>
              </a:ext>
            </a:extLst>
          </p:cNvPr>
          <p:cNvGrpSpPr/>
          <p:nvPr/>
        </p:nvGrpSpPr>
        <p:grpSpPr>
          <a:xfrm>
            <a:off x="3239842" y="5489767"/>
            <a:ext cx="307441" cy="335743"/>
            <a:chOff x="6000092" y="1357908"/>
            <a:chExt cx="365300" cy="398929"/>
          </a:xfrm>
        </p:grpSpPr>
        <p:sp>
          <p:nvSpPr>
            <p:cNvPr id="153" name="Forma livre: Forma 60">
              <a:extLst>
                <a:ext uri="{FF2B5EF4-FFF2-40B4-BE49-F238E27FC236}">
                  <a16:creationId xmlns:a16="http://schemas.microsoft.com/office/drawing/2014/main" id="{6274481A-2459-45CB-98B4-E5D4173C92BF}"/>
                </a:ext>
              </a:extLst>
            </p:cNvPr>
            <p:cNvSpPr/>
            <p:nvPr/>
          </p:nvSpPr>
          <p:spPr>
            <a:xfrm>
              <a:off x="6000092" y="1418606"/>
              <a:ext cx="84058" cy="286120"/>
            </a:xfrm>
            <a:custGeom>
              <a:avLst/>
              <a:gdLst>
                <a:gd name="connsiteX0" fmla="*/ 51595 w 84058"/>
                <a:gd name="connsiteY0" fmla="*/ 0 h 286120"/>
                <a:gd name="connsiteX1" fmla="*/ 35266 w 84058"/>
                <a:gd name="connsiteY1" fmla="*/ 61674 h 286120"/>
                <a:gd name="connsiteX2" fmla="*/ 28760 w 84058"/>
                <a:gd name="connsiteY2" fmla="*/ 193415 h 286120"/>
                <a:gd name="connsiteX3" fmla="*/ 84059 w 84058"/>
                <a:gd name="connsiteY3" fmla="*/ 286121 h 2861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4058" h="286120">
                  <a:moveTo>
                    <a:pt x="51595" y="0"/>
                  </a:moveTo>
                  <a:cubicBezTo>
                    <a:pt x="37868" y="7872"/>
                    <a:pt x="26028" y="24852"/>
                    <a:pt x="35266" y="61674"/>
                  </a:cubicBezTo>
                  <a:cubicBezTo>
                    <a:pt x="35266" y="61674"/>
                    <a:pt x="-39549" y="126731"/>
                    <a:pt x="28760" y="193415"/>
                  </a:cubicBezTo>
                  <a:cubicBezTo>
                    <a:pt x="28760" y="193415"/>
                    <a:pt x="9243" y="281242"/>
                    <a:pt x="84059" y="286121"/>
                  </a:cubicBezTo>
                </a:path>
              </a:pathLst>
            </a:custGeom>
            <a:noFill/>
            <a:ln w="19050" cap="sq">
              <a:solidFill>
                <a:schemeClr val="accent1"/>
              </a:solidFill>
              <a:prstDash val="solid"/>
              <a:miter lim="800000"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54" name="Gráfico 32">
              <a:extLst>
                <a:ext uri="{FF2B5EF4-FFF2-40B4-BE49-F238E27FC236}">
                  <a16:creationId xmlns:a16="http://schemas.microsoft.com/office/drawing/2014/main" id="{1EA002EF-D258-45AA-BCBA-E449594FBC2B}"/>
                </a:ext>
              </a:extLst>
            </p:cNvPr>
            <p:cNvGrpSpPr/>
            <p:nvPr/>
          </p:nvGrpSpPr>
          <p:grpSpPr>
            <a:xfrm>
              <a:off x="6061121" y="1359924"/>
              <a:ext cx="128487" cy="396366"/>
              <a:chOff x="6061121" y="1359924"/>
              <a:chExt cx="128487" cy="396366"/>
            </a:xfrm>
            <a:noFill/>
          </p:grpSpPr>
          <p:sp>
            <p:nvSpPr>
              <p:cNvPr id="170" name="Forma livre: Forma 76">
                <a:extLst>
                  <a:ext uri="{FF2B5EF4-FFF2-40B4-BE49-F238E27FC236}">
                    <a16:creationId xmlns:a16="http://schemas.microsoft.com/office/drawing/2014/main" id="{662616BE-A5F6-4DF2-83D1-1895B82F3453}"/>
                  </a:ext>
                </a:extLst>
              </p:cNvPr>
              <p:cNvSpPr/>
              <p:nvPr/>
            </p:nvSpPr>
            <p:spPr>
              <a:xfrm>
                <a:off x="6083891" y="1359924"/>
                <a:ext cx="105717" cy="396366"/>
              </a:xfrm>
              <a:custGeom>
                <a:avLst/>
                <a:gdLst>
                  <a:gd name="connsiteX0" fmla="*/ 52891 w 105717"/>
                  <a:gd name="connsiteY0" fmla="*/ 105718 h 396366"/>
                  <a:gd name="connsiteX1" fmla="*/ 0 w 105717"/>
                  <a:gd name="connsiteY1" fmla="*/ 52891 h 396366"/>
                  <a:gd name="connsiteX2" fmla="*/ 52891 w 105717"/>
                  <a:gd name="connsiteY2" fmla="*/ 0 h 396366"/>
                  <a:gd name="connsiteX3" fmla="*/ 105718 w 105717"/>
                  <a:gd name="connsiteY3" fmla="*/ 52826 h 396366"/>
                  <a:gd name="connsiteX4" fmla="*/ 105718 w 105717"/>
                  <a:gd name="connsiteY4" fmla="*/ 346884 h 396366"/>
                  <a:gd name="connsiteX5" fmla="*/ 80606 w 105717"/>
                  <a:gd name="connsiteY5" fmla="*/ 388911 h 396366"/>
                  <a:gd name="connsiteX6" fmla="*/ 9238 w 105717"/>
                  <a:gd name="connsiteY6" fmla="*/ 371150 h 396366"/>
                  <a:gd name="connsiteX7" fmla="*/ 15484 w 105717"/>
                  <a:gd name="connsiteY7" fmla="*/ 309216 h 396366"/>
                  <a:gd name="connsiteX8" fmla="*/ 45019 w 105717"/>
                  <a:gd name="connsiteY8" fmla="*/ 277078 h 3963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05717" h="396366">
                    <a:moveTo>
                      <a:pt x="52891" y="105718"/>
                    </a:moveTo>
                    <a:cubicBezTo>
                      <a:pt x="23681" y="105718"/>
                      <a:pt x="0" y="82037"/>
                      <a:pt x="0" y="52891"/>
                    </a:cubicBezTo>
                    <a:cubicBezTo>
                      <a:pt x="0" y="23746"/>
                      <a:pt x="23681" y="0"/>
                      <a:pt x="52891" y="0"/>
                    </a:cubicBezTo>
                    <a:cubicBezTo>
                      <a:pt x="82102" y="0"/>
                      <a:pt x="105718" y="23681"/>
                      <a:pt x="105718" y="52826"/>
                    </a:cubicBezTo>
                    <a:lnTo>
                      <a:pt x="105718" y="346884"/>
                    </a:lnTo>
                    <a:cubicBezTo>
                      <a:pt x="105718" y="364580"/>
                      <a:pt x="96414" y="379413"/>
                      <a:pt x="80606" y="388911"/>
                    </a:cubicBezTo>
                    <a:cubicBezTo>
                      <a:pt x="55949" y="403744"/>
                      <a:pt x="24006" y="395742"/>
                      <a:pt x="9238" y="371150"/>
                    </a:cubicBezTo>
                    <a:cubicBezTo>
                      <a:pt x="-2928" y="350918"/>
                      <a:pt x="260" y="325741"/>
                      <a:pt x="15484" y="309216"/>
                    </a:cubicBezTo>
                    <a:lnTo>
                      <a:pt x="45019" y="277078"/>
                    </a:lnTo>
                  </a:path>
                </a:pathLst>
              </a:custGeom>
              <a:noFill/>
              <a:ln w="19050" cap="sq">
                <a:solidFill>
                  <a:schemeClr val="accent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71" name="Forma livre: Forma 77">
                <a:extLst>
                  <a:ext uri="{FF2B5EF4-FFF2-40B4-BE49-F238E27FC236}">
                    <a16:creationId xmlns:a16="http://schemas.microsoft.com/office/drawing/2014/main" id="{478D449C-9765-4FFC-9C3A-400D7A5CDC31}"/>
                  </a:ext>
                </a:extLst>
              </p:cNvPr>
              <p:cNvSpPr/>
              <p:nvPr/>
            </p:nvSpPr>
            <p:spPr>
              <a:xfrm>
                <a:off x="6144784" y="1383865"/>
                <a:ext cx="41563" cy="38963"/>
              </a:xfrm>
              <a:custGeom>
                <a:avLst/>
                <a:gdLst>
                  <a:gd name="connsiteX0" fmla="*/ 36172 w 41563"/>
                  <a:gd name="connsiteY0" fmla="*/ 0 h 38963"/>
                  <a:gd name="connsiteX1" fmla="*/ 39425 w 41563"/>
                  <a:gd name="connsiteY1" fmla="*/ 24266 h 38963"/>
                  <a:gd name="connsiteX2" fmla="*/ 36432 w 41563"/>
                  <a:gd name="connsiteY2" fmla="*/ 29080 h 38963"/>
                  <a:gd name="connsiteX3" fmla="*/ 0 w 41563"/>
                  <a:gd name="connsiteY3" fmla="*/ 33439 h 389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563" h="38963">
                    <a:moveTo>
                      <a:pt x="36172" y="0"/>
                    </a:moveTo>
                    <a:cubicBezTo>
                      <a:pt x="41571" y="7547"/>
                      <a:pt x="43393" y="16004"/>
                      <a:pt x="39425" y="24266"/>
                    </a:cubicBezTo>
                    <a:cubicBezTo>
                      <a:pt x="38644" y="25893"/>
                      <a:pt x="37603" y="27519"/>
                      <a:pt x="36432" y="29080"/>
                    </a:cubicBezTo>
                    <a:cubicBezTo>
                      <a:pt x="27584" y="40270"/>
                      <a:pt x="11190" y="42287"/>
                      <a:pt x="0" y="33439"/>
                    </a:cubicBezTo>
                  </a:path>
                </a:pathLst>
              </a:custGeom>
              <a:noFill/>
              <a:ln w="19050" cap="sq">
                <a:solidFill>
                  <a:schemeClr val="accent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72" name="Forma livre: Forma 78">
                <a:extLst>
                  <a:ext uri="{FF2B5EF4-FFF2-40B4-BE49-F238E27FC236}">
                    <a16:creationId xmlns:a16="http://schemas.microsoft.com/office/drawing/2014/main" id="{43781EAE-F673-4969-B9E0-96CCDF2E8EF4}"/>
                  </a:ext>
                </a:extLst>
              </p:cNvPr>
              <p:cNvSpPr/>
              <p:nvPr/>
            </p:nvSpPr>
            <p:spPr>
              <a:xfrm>
                <a:off x="6081487" y="1460806"/>
                <a:ext cx="34217" cy="54474"/>
              </a:xfrm>
              <a:custGeom>
                <a:avLst/>
                <a:gdLst>
                  <a:gd name="connsiteX0" fmla="*/ 21076 w 34217"/>
                  <a:gd name="connsiteY0" fmla="*/ 54475 h 54474"/>
                  <a:gd name="connsiteX1" fmla="*/ 778 w 34217"/>
                  <a:gd name="connsiteY1" fmla="*/ 21035 h 54474"/>
                  <a:gd name="connsiteX2" fmla="*/ 34217 w 34217"/>
                  <a:gd name="connsiteY2" fmla="*/ 803 h 544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4217" h="54474">
                    <a:moveTo>
                      <a:pt x="21076" y="54475"/>
                    </a:moveTo>
                    <a:cubicBezTo>
                      <a:pt x="6308" y="50832"/>
                      <a:pt x="-2800" y="35803"/>
                      <a:pt x="778" y="21035"/>
                    </a:cubicBezTo>
                    <a:cubicBezTo>
                      <a:pt x="4421" y="6267"/>
                      <a:pt x="19449" y="-2841"/>
                      <a:pt x="34217" y="803"/>
                    </a:cubicBezTo>
                  </a:path>
                </a:pathLst>
              </a:custGeom>
              <a:noFill/>
              <a:ln w="19050" cap="sq">
                <a:solidFill>
                  <a:schemeClr val="accent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73" name="Forma livre: Forma 79">
                <a:extLst>
                  <a:ext uri="{FF2B5EF4-FFF2-40B4-BE49-F238E27FC236}">
                    <a16:creationId xmlns:a16="http://schemas.microsoft.com/office/drawing/2014/main" id="{EB5BBAD4-940F-4740-BCD7-BBA8EB51A667}"/>
                  </a:ext>
                </a:extLst>
              </p:cNvPr>
              <p:cNvSpPr/>
              <p:nvPr/>
            </p:nvSpPr>
            <p:spPr>
              <a:xfrm>
                <a:off x="6073547" y="1527543"/>
                <a:ext cx="114760" cy="72506"/>
              </a:xfrm>
              <a:custGeom>
                <a:avLst/>
                <a:gdLst>
                  <a:gd name="connsiteX0" fmla="*/ 114760 w 114760"/>
                  <a:gd name="connsiteY0" fmla="*/ 7254 h 72506"/>
                  <a:gd name="connsiteX1" fmla="*/ 73905 w 114760"/>
                  <a:gd name="connsiteY1" fmla="*/ 8881 h 72506"/>
                  <a:gd name="connsiteX2" fmla="*/ 0 w 114760"/>
                  <a:gd name="connsiteY2" fmla="*/ 72506 h 725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14760" h="72506">
                    <a:moveTo>
                      <a:pt x="114760" y="7254"/>
                    </a:moveTo>
                    <a:cubicBezTo>
                      <a:pt x="103375" y="-2830"/>
                      <a:pt x="83989" y="-2504"/>
                      <a:pt x="73905" y="8881"/>
                    </a:cubicBezTo>
                    <a:cubicBezTo>
                      <a:pt x="73905" y="8881"/>
                      <a:pt x="31488" y="72506"/>
                      <a:pt x="0" y="72506"/>
                    </a:cubicBezTo>
                  </a:path>
                </a:pathLst>
              </a:custGeom>
              <a:noFill/>
              <a:ln w="19050" cap="sq">
                <a:solidFill>
                  <a:schemeClr val="accent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74" name="Forma livre: Forma 80">
                <a:extLst>
                  <a:ext uri="{FF2B5EF4-FFF2-40B4-BE49-F238E27FC236}">
                    <a16:creationId xmlns:a16="http://schemas.microsoft.com/office/drawing/2014/main" id="{56CCB5F6-2D4A-4F84-8127-A39CF0109508}"/>
                  </a:ext>
                </a:extLst>
              </p:cNvPr>
              <p:cNvSpPr/>
              <p:nvPr/>
            </p:nvSpPr>
            <p:spPr>
              <a:xfrm>
                <a:off x="6079857" y="1646956"/>
                <a:ext cx="29405" cy="9823"/>
              </a:xfrm>
              <a:custGeom>
                <a:avLst/>
                <a:gdLst>
                  <a:gd name="connsiteX0" fmla="*/ 0 w 29405"/>
                  <a:gd name="connsiteY0" fmla="*/ 0 h 9823"/>
                  <a:gd name="connsiteX1" fmla="*/ 29406 w 29405"/>
                  <a:gd name="connsiteY1" fmla="*/ 9824 h 98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9405" h="9823">
                    <a:moveTo>
                      <a:pt x="0" y="0"/>
                    </a:moveTo>
                    <a:lnTo>
                      <a:pt x="29406" y="9824"/>
                    </a:lnTo>
                  </a:path>
                </a:pathLst>
              </a:custGeom>
              <a:ln w="19050" cap="sq">
                <a:solidFill>
                  <a:schemeClr val="accent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75" name="Forma livre: Forma 81">
                <a:extLst>
                  <a:ext uri="{FF2B5EF4-FFF2-40B4-BE49-F238E27FC236}">
                    <a16:creationId xmlns:a16="http://schemas.microsoft.com/office/drawing/2014/main" id="{9B7AA182-26F5-4EE5-8766-6EC477A58331}"/>
                  </a:ext>
                </a:extLst>
              </p:cNvPr>
              <p:cNvSpPr/>
              <p:nvPr/>
            </p:nvSpPr>
            <p:spPr>
              <a:xfrm>
                <a:off x="6061121" y="1545272"/>
                <a:ext cx="47166" cy="34154"/>
              </a:xfrm>
              <a:custGeom>
                <a:avLst/>
                <a:gdLst>
                  <a:gd name="connsiteX0" fmla="*/ 0 w 47166"/>
                  <a:gd name="connsiteY0" fmla="*/ 0 h 34154"/>
                  <a:gd name="connsiteX1" fmla="*/ 47166 w 47166"/>
                  <a:gd name="connsiteY1" fmla="*/ 34155 h 341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166" h="34154">
                    <a:moveTo>
                      <a:pt x="0" y="0"/>
                    </a:moveTo>
                    <a:cubicBezTo>
                      <a:pt x="0" y="0"/>
                      <a:pt x="27649" y="13011"/>
                      <a:pt x="47166" y="34155"/>
                    </a:cubicBezTo>
                  </a:path>
                </a:pathLst>
              </a:custGeom>
              <a:noFill/>
              <a:ln w="19050" cap="sq">
                <a:solidFill>
                  <a:schemeClr val="accent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56" name="Gráfico 32">
              <a:extLst>
                <a:ext uri="{FF2B5EF4-FFF2-40B4-BE49-F238E27FC236}">
                  <a16:creationId xmlns:a16="http://schemas.microsoft.com/office/drawing/2014/main" id="{A377F619-12C5-4A28-9642-F8AFAA94945F}"/>
                </a:ext>
              </a:extLst>
            </p:cNvPr>
            <p:cNvGrpSpPr/>
            <p:nvPr/>
          </p:nvGrpSpPr>
          <p:grpSpPr>
            <a:xfrm>
              <a:off x="6191625" y="1599725"/>
              <a:ext cx="173767" cy="157112"/>
              <a:chOff x="6191625" y="1599725"/>
              <a:chExt cx="173767" cy="157112"/>
            </a:xfrm>
            <a:noFill/>
          </p:grpSpPr>
          <p:sp>
            <p:nvSpPr>
              <p:cNvPr id="166" name="Forma livre: Forma 72">
                <a:extLst>
                  <a:ext uri="{FF2B5EF4-FFF2-40B4-BE49-F238E27FC236}">
                    <a16:creationId xmlns:a16="http://schemas.microsoft.com/office/drawing/2014/main" id="{DB95BA49-17E8-4DB6-B2E7-030FF2E3EB1E}"/>
                  </a:ext>
                </a:extLst>
              </p:cNvPr>
              <p:cNvSpPr/>
              <p:nvPr/>
            </p:nvSpPr>
            <p:spPr>
              <a:xfrm>
                <a:off x="6310094" y="1621974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accent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67" name="Forma livre: Forma 73">
                <a:extLst>
                  <a:ext uri="{FF2B5EF4-FFF2-40B4-BE49-F238E27FC236}">
                    <a16:creationId xmlns:a16="http://schemas.microsoft.com/office/drawing/2014/main" id="{DEB54784-C232-4143-BE4D-3F3ABFE8E5D2}"/>
                  </a:ext>
                </a:extLst>
              </p:cNvPr>
              <p:cNvSpPr/>
              <p:nvPr/>
            </p:nvSpPr>
            <p:spPr>
              <a:xfrm>
                <a:off x="6191625" y="1599725"/>
                <a:ext cx="118078" cy="49898"/>
              </a:xfrm>
              <a:custGeom>
                <a:avLst/>
                <a:gdLst>
                  <a:gd name="connsiteX0" fmla="*/ 0 w 118078"/>
                  <a:gd name="connsiteY0" fmla="*/ 0 h 49898"/>
                  <a:gd name="connsiteX1" fmla="*/ 37343 w 118078"/>
                  <a:gd name="connsiteY1" fmla="*/ 0 h 49898"/>
                  <a:gd name="connsiteX2" fmla="*/ 87176 w 118078"/>
                  <a:gd name="connsiteY2" fmla="*/ 49899 h 49898"/>
                  <a:gd name="connsiteX3" fmla="*/ 118078 w 118078"/>
                  <a:gd name="connsiteY3" fmla="*/ 49899 h 49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8078" h="49898">
                    <a:moveTo>
                      <a:pt x="0" y="0"/>
                    </a:moveTo>
                    <a:lnTo>
                      <a:pt x="37343" y="0"/>
                    </a:lnTo>
                    <a:lnTo>
                      <a:pt x="87176" y="49899"/>
                    </a:lnTo>
                    <a:lnTo>
                      <a:pt x="118078" y="49899"/>
                    </a:lnTo>
                  </a:path>
                </a:pathLst>
              </a:custGeom>
              <a:noFill/>
              <a:ln w="19050" cap="sq">
                <a:solidFill>
                  <a:schemeClr val="accent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68" name="Forma livre: Forma 74">
                <a:extLst>
                  <a:ext uri="{FF2B5EF4-FFF2-40B4-BE49-F238E27FC236}">
                    <a16:creationId xmlns:a16="http://schemas.microsoft.com/office/drawing/2014/main" id="{F56D3221-3E74-4207-A42D-871DEA40FFCE}"/>
                  </a:ext>
                </a:extLst>
              </p:cNvPr>
              <p:cNvSpPr/>
              <p:nvPr/>
            </p:nvSpPr>
            <p:spPr>
              <a:xfrm>
                <a:off x="6191625" y="1665367"/>
                <a:ext cx="81906" cy="44108"/>
              </a:xfrm>
              <a:custGeom>
                <a:avLst/>
                <a:gdLst>
                  <a:gd name="connsiteX0" fmla="*/ 0 w 81906"/>
                  <a:gd name="connsiteY0" fmla="*/ 0 h 44108"/>
                  <a:gd name="connsiteX1" fmla="*/ 37343 w 81906"/>
                  <a:gd name="connsiteY1" fmla="*/ 0 h 44108"/>
                  <a:gd name="connsiteX2" fmla="*/ 81907 w 81906"/>
                  <a:gd name="connsiteY2" fmla="*/ 44109 h 441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1906" h="44108">
                    <a:moveTo>
                      <a:pt x="0" y="0"/>
                    </a:moveTo>
                    <a:lnTo>
                      <a:pt x="37343" y="0"/>
                    </a:lnTo>
                    <a:lnTo>
                      <a:pt x="81907" y="44109"/>
                    </a:lnTo>
                  </a:path>
                </a:pathLst>
              </a:custGeom>
              <a:noFill/>
              <a:ln w="19050" cap="sq">
                <a:solidFill>
                  <a:schemeClr val="accent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69" name="Forma livre: Forma 75">
                <a:extLst>
                  <a:ext uri="{FF2B5EF4-FFF2-40B4-BE49-F238E27FC236}">
                    <a16:creationId xmlns:a16="http://schemas.microsoft.com/office/drawing/2014/main" id="{55F7FDEE-4DA3-4896-ADFF-A60E51BDB4A4}"/>
                  </a:ext>
                </a:extLst>
              </p:cNvPr>
              <p:cNvSpPr/>
              <p:nvPr/>
            </p:nvSpPr>
            <p:spPr>
              <a:xfrm>
                <a:off x="6265075" y="1701539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accent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57" name="Gráfico 32">
              <a:extLst>
                <a:ext uri="{FF2B5EF4-FFF2-40B4-BE49-F238E27FC236}">
                  <a16:creationId xmlns:a16="http://schemas.microsoft.com/office/drawing/2014/main" id="{6222B92D-6235-4969-A54C-07A96D39CB7E}"/>
                </a:ext>
              </a:extLst>
            </p:cNvPr>
            <p:cNvGrpSpPr/>
            <p:nvPr/>
          </p:nvGrpSpPr>
          <p:grpSpPr>
            <a:xfrm>
              <a:off x="6191625" y="1357908"/>
              <a:ext cx="173767" cy="157112"/>
              <a:chOff x="6191625" y="1357908"/>
              <a:chExt cx="173767" cy="157112"/>
            </a:xfrm>
            <a:noFill/>
          </p:grpSpPr>
          <p:sp>
            <p:nvSpPr>
              <p:cNvPr id="162" name="Forma livre: Forma 68">
                <a:extLst>
                  <a:ext uri="{FF2B5EF4-FFF2-40B4-BE49-F238E27FC236}">
                    <a16:creationId xmlns:a16="http://schemas.microsoft.com/office/drawing/2014/main" id="{AA9CEDD9-E2F5-40EB-98D7-4E11FF905009}"/>
                  </a:ext>
                </a:extLst>
              </p:cNvPr>
              <p:cNvSpPr/>
              <p:nvPr/>
            </p:nvSpPr>
            <p:spPr>
              <a:xfrm>
                <a:off x="6310094" y="1437472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0 h 55298"/>
                  <a:gd name="connsiteX2" fmla="*/ 0 w 55298"/>
                  <a:gd name="connsiteY2" fmla="*/ 27649 h 55298"/>
                  <a:gd name="connsiteX3" fmla="*/ 27649 w 55298"/>
                  <a:gd name="connsiteY3" fmla="*/ 55298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12361"/>
                      <a:pt x="42938" y="0"/>
                      <a:pt x="27649" y="0"/>
                    </a:cubicBezTo>
                    <a:cubicBezTo>
                      <a:pt x="12361" y="0"/>
                      <a:pt x="0" y="12361"/>
                      <a:pt x="0" y="27649"/>
                    </a:cubicBezTo>
                    <a:cubicBezTo>
                      <a:pt x="0" y="42938"/>
                      <a:pt x="12361" y="55298"/>
                      <a:pt x="27649" y="55298"/>
                    </a:cubicBezTo>
                    <a:cubicBezTo>
                      <a:pt x="42938" y="55298"/>
                      <a:pt x="55298" y="42938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accent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63" name="Forma livre: Forma 69">
                <a:extLst>
                  <a:ext uri="{FF2B5EF4-FFF2-40B4-BE49-F238E27FC236}">
                    <a16:creationId xmlns:a16="http://schemas.microsoft.com/office/drawing/2014/main" id="{C747F4D7-E4CB-4351-BEAB-8B01B4871569}"/>
                  </a:ext>
                </a:extLst>
              </p:cNvPr>
              <p:cNvSpPr/>
              <p:nvPr/>
            </p:nvSpPr>
            <p:spPr>
              <a:xfrm>
                <a:off x="6191625" y="1465122"/>
                <a:ext cx="118468" cy="49898"/>
              </a:xfrm>
              <a:custGeom>
                <a:avLst/>
                <a:gdLst>
                  <a:gd name="connsiteX0" fmla="*/ 0 w 118468"/>
                  <a:gd name="connsiteY0" fmla="*/ 49899 h 49898"/>
                  <a:gd name="connsiteX1" fmla="*/ 37343 w 118468"/>
                  <a:gd name="connsiteY1" fmla="*/ 49899 h 49898"/>
                  <a:gd name="connsiteX2" fmla="*/ 87176 w 118468"/>
                  <a:gd name="connsiteY2" fmla="*/ 0 h 49898"/>
                  <a:gd name="connsiteX3" fmla="*/ 118469 w 118468"/>
                  <a:gd name="connsiteY3" fmla="*/ 0 h 49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8468" h="49898">
                    <a:moveTo>
                      <a:pt x="0" y="49899"/>
                    </a:moveTo>
                    <a:lnTo>
                      <a:pt x="37343" y="49899"/>
                    </a:lnTo>
                    <a:lnTo>
                      <a:pt x="87176" y="0"/>
                    </a:lnTo>
                    <a:lnTo>
                      <a:pt x="118469" y="0"/>
                    </a:lnTo>
                  </a:path>
                </a:pathLst>
              </a:custGeom>
              <a:noFill/>
              <a:ln w="19050" cap="sq">
                <a:solidFill>
                  <a:schemeClr val="accent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64" name="Forma livre: Forma 70">
                <a:extLst>
                  <a:ext uri="{FF2B5EF4-FFF2-40B4-BE49-F238E27FC236}">
                    <a16:creationId xmlns:a16="http://schemas.microsoft.com/office/drawing/2014/main" id="{6FEED8CF-CC6B-40C1-8815-E5746A107352}"/>
                  </a:ext>
                </a:extLst>
              </p:cNvPr>
              <p:cNvSpPr/>
              <p:nvPr/>
            </p:nvSpPr>
            <p:spPr>
              <a:xfrm>
                <a:off x="6191625" y="1405269"/>
                <a:ext cx="81451" cy="44043"/>
              </a:xfrm>
              <a:custGeom>
                <a:avLst/>
                <a:gdLst>
                  <a:gd name="connsiteX0" fmla="*/ 0 w 81451"/>
                  <a:gd name="connsiteY0" fmla="*/ 44044 h 44043"/>
                  <a:gd name="connsiteX1" fmla="*/ 37343 w 81451"/>
                  <a:gd name="connsiteY1" fmla="*/ 44044 h 44043"/>
                  <a:gd name="connsiteX2" fmla="*/ 81451 w 81451"/>
                  <a:gd name="connsiteY2" fmla="*/ 0 h 440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1451" h="44043">
                    <a:moveTo>
                      <a:pt x="0" y="44044"/>
                    </a:moveTo>
                    <a:lnTo>
                      <a:pt x="37343" y="44044"/>
                    </a:lnTo>
                    <a:lnTo>
                      <a:pt x="81451" y="0"/>
                    </a:lnTo>
                  </a:path>
                </a:pathLst>
              </a:custGeom>
              <a:noFill/>
              <a:ln w="19050" cap="sq">
                <a:solidFill>
                  <a:schemeClr val="accent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65" name="Forma livre: Forma 71">
                <a:extLst>
                  <a:ext uri="{FF2B5EF4-FFF2-40B4-BE49-F238E27FC236}">
                    <a16:creationId xmlns:a16="http://schemas.microsoft.com/office/drawing/2014/main" id="{CAA70416-54D7-47B7-B71A-4B104EDDABF8}"/>
                  </a:ext>
                </a:extLst>
              </p:cNvPr>
              <p:cNvSpPr/>
              <p:nvPr/>
            </p:nvSpPr>
            <p:spPr>
              <a:xfrm>
                <a:off x="6265075" y="1357908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0 h 55298"/>
                  <a:gd name="connsiteX2" fmla="*/ 0 w 55298"/>
                  <a:gd name="connsiteY2" fmla="*/ 27649 h 55298"/>
                  <a:gd name="connsiteX3" fmla="*/ 27649 w 55298"/>
                  <a:gd name="connsiteY3" fmla="*/ 55298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12361"/>
                      <a:pt x="42938" y="0"/>
                      <a:pt x="27649" y="0"/>
                    </a:cubicBezTo>
                    <a:cubicBezTo>
                      <a:pt x="12361" y="0"/>
                      <a:pt x="0" y="12361"/>
                      <a:pt x="0" y="27649"/>
                    </a:cubicBezTo>
                    <a:cubicBezTo>
                      <a:pt x="0" y="42938"/>
                      <a:pt x="12361" y="55298"/>
                      <a:pt x="27649" y="55298"/>
                    </a:cubicBezTo>
                    <a:cubicBezTo>
                      <a:pt x="42938" y="55298"/>
                      <a:pt x="55298" y="42938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accent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58" name="Gráfico 32">
              <a:extLst>
                <a:ext uri="{FF2B5EF4-FFF2-40B4-BE49-F238E27FC236}">
                  <a16:creationId xmlns:a16="http://schemas.microsoft.com/office/drawing/2014/main" id="{1672A367-34CB-4407-841F-908A4C19C8EF}"/>
                </a:ext>
              </a:extLst>
            </p:cNvPr>
            <p:cNvGrpSpPr/>
            <p:nvPr/>
          </p:nvGrpSpPr>
          <p:grpSpPr>
            <a:xfrm>
              <a:off x="6190910" y="1529723"/>
              <a:ext cx="123673" cy="55298"/>
              <a:chOff x="6190910" y="1529723"/>
              <a:chExt cx="123673" cy="55298"/>
            </a:xfrm>
            <a:noFill/>
          </p:grpSpPr>
          <p:sp>
            <p:nvSpPr>
              <p:cNvPr id="160" name="Forma livre: Forma 66">
                <a:extLst>
                  <a:ext uri="{FF2B5EF4-FFF2-40B4-BE49-F238E27FC236}">
                    <a16:creationId xmlns:a16="http://schemas.microsoft.com/office/drawing/2014/main" id="{502F2D85-8CDE-4BC2-BF72-A927D09BABB4}"/>
                  </a:ext>
                </a:extLst>
              </p:cNvPr>
              <p:cNvSpPr/>
              <p:nvPr/>
            </p:nvSpPr>
            <p:spPr>
              <a:xfrm>
                <a:off x="6190910" y="1557372"/>
                <a:ext cx="68765" cy="6505"/>
              </a:xfrm>
              <a:custGeom>
                <a:avLst/>
                <a:gdLst>
                  <a:gd name="connsiteX0" fmla="*/ 0 w 68765"/>
                  <a:gd name="connsiteY0" fmla="*/ 0 h 6505"/>
                  <a:gd name="connsiteX1" fmla="*/ 68765 w 68765"/>
                  <a:gd name="connsiteY1" fmla="*/ 0 h 65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8765" h="6505">
                    <a:moveTo>
                      <a:pt x="0" y="0"/>
                    </a:moveTo>
                    <a:lnTo>
                      <a:pt x="68765" y="0"/>
                    </a:lnTo>
                  </a:path>
                </a:pathLst>
              </a:custGeom>
              <a:ln w="19050" cap="sq">
                <a:solidFill>
                  <a:schemeClr val="accent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61" name="Forma livre: Forma 67">
                <a:extLst>
                  <a:ext uri="{FF2B5EF4-FFF2-40B4-BE49-F238E27FC236}">
                    <a16:creationId xmlns:a16="http://schemas.microsoft.com/office/drawing/2014/main" id="{9592AC86-F3C6-4FB3-8390-1F0AADFF728A}"/>
                  </a:ext>
                </a:extLst>
              </p:cNvPr>
              <p:cNvSpPr/>
              <p:nvPr/>
            </p:nvSpPr>
            <p:spPr>
              <a:xfrm>
                <a:off x="6259285" y="1529723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accent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59" name="Forma livre: Forma 65">
              <a:extLst>
                <a:ext uri="{FF2B5EF4-FFF2-40B4-BE49-F238E27FC236}">
                  <a16:creationId xmlns:a16="http://schemas.microsoft.com/office/drawing/2014/main" id="{1E483518-2257-4BBC-A2D0-180BD9B02AC4}"/>
                </a:ext>
              </a:extLst>
            </p:cNvPr>
            <p:cNvSpPr/>
            <p:nvPr/>
          </p:nvSpPr>
          <p:spPr>
            <a:xfrm>
              <a:off x="6152201" y="1686285"/>
              <a:ext cx="37362" cy="20848"/>
            </a:xfrm>
            <a:custGeom>
              <a:avLst/>
              <a:gdLst>
                <a:gd name="connsiteX0" fmla="*/ 0 w 37362"/>
                <a:gd name="connsiteY0" fmla="*/ 10505 h 20848"/>
                <a:gd name="connsiteX1" fmla="*/ 27064 w 37362"/>
                <a:gd name="connsiteY1" fmla="*/ 2373 h 20848"/>
                <a:gd name="connsiteX2" fmla="*/ 37343 w 37362"/>
                <a:gd name="connsiteY2" fmla="*/ 20849 h 20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7362" h="20848">
                  <a:moveTo>
                    <a:pt x="0" y="10505"/>
                  </a:moveTo>
                  <a:cubicBezTo>
                    <a:pt x="5205" y="811"/>
                    <a:pt x="17435" y="-2832"/>
                    <a:pt x="27064" y="2373"/>
                  </a:cubicBezTo>
                  <a:cubicBezTo>
                    <a:pt x="34025" y="6081"/>
                    <a:pt x="37668" y="13432"/>
                    <a:pt x="37343" y="20849"/>
                  </a:cubicBezTo>
                </a:path>
              </a:pathLst>
            </a:custGeom>
            <a:noFill/>
            <a:ln w="19050" cap="sq">
              <a:solidFill>
                <a:schemeClr val="accent1"/>
              </a:solidFill>
              <a:prstDash val="solid"/>
              <a:miter lim="800000"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76" name="Agrupar 82">
            <a:extLst>
              <a:ext uri="{FF2B5EF4-FFF2-40B4-BE49-F238E27FC236}">
                <a16:creationId xmlns:a16="http://schemas.microsoft.com/office/drawing/2014/main" id="{0DC314A5-B165-4BD6-96ED-10742153D17F}"/>
              </a:ext>
            </a:extLst>
          </p:cNvPr>
          <p:cNvGrpSpPr/>
          <p:nvPr/>
        </p:nvGrpSpPr>
        <p:grpSpPr>
          <a:xfrm>
            <a:off x="5391352" y="5489767"/>
            <a:ext cx="307441" cy="335743"/>
            <a:chOff x="6000092" y="1357908"/>
            <a:chExt cx="365300" cy="398929"/>
          </a:xfrm>
        </p:grpSpPr>
        <p:sp>
          <p:nvSpPr>
            <p:cNvPr id="177" name="Forma livre: Forma 83">
              <a:extLst>
                <a:ext uri="{FF2B5EF4-FFF2-40B4-BE49-F238E27FC236}">
                  <a16:creationId xmlns:a16="http://schemas.microsoft.com/office/drawing/2014/main" id="{7018BCBF-EE60-4FA4-804A-5B101A83F47E}"/>
                </a:ext>
              </a:extLst>
            </p:cNvPr>
            <p:cNvSpPr/>
            <p:nvPr/>
          </p:nvSpPr>
          <p:spPr>
            <a:xfrm>
              <a:off x="6000092" y="1418606"/>
              <a:ext cx="84058" cy="286120"/>
            </a:xfrm>
            <a:custGeom>
              <a:avLst/>
              <a:gdLst>
                <a:gd name="connsiteX0" fmla="*/ 51595 w 84058"/>
                <a:gd name="connsiteY0" fmla="*/ 0 h 286120"/>
                <a:gd name="connsiteX1" fmla="*/ 35266 w 84058"/>
                <a:gd name="connsiteY1" fmla="*/ 61674 h 286120"/>
                <a:gd name="connsiteX2" fmla="*/ 28760 w 84058"/>
                <a:gd name="connsiteY2" fmla="*/ 193415 h 286120"/>
                <a:gd name="connsiteX3" fmla="*/ 84059 w 84058"/>
                <a:gd name="connsiteY3" fmla="*/ 286121 h 2861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4058" h="286120">
                  <a:moveTo>
                    <a:pt x="51595" y="0"/>
                  </a:moveTo>
                  <a:cubicBezTo>
                    <a:pt x="37868" y="7872"/>
                    <a:pt x="26028" y="24852"/>
                    <a:pt x="35266" y="61674"/>
                  </a:cubicBezTo>
                  <a:cubicBezTo>
                    <a:pt x="35266" y="61674"/>
                    <a:pt x="-39549" y="126731"/>
                    <a:pt x="28760" y="193415"/>
                  </a:cubicBezTo>
                  <a:cubicBezTo>
                    <a:pt x="28760" y="193415"/>
                    <a:pt x="9243" y="281242"/>
                    <a:pt x="84059" y="286121"/>
                  </a:cubicBezTo>
                </a:path>
              </a:pathLst>
            </a:custGeom>
            <a:noFill/>
            <a:ln w="19050" cap="sq">
              <a:solidFill>
                <a:schemeClr val="accent1"/>
              </a:solidFill>
              <a:prstDash val="solid"/>
              <a:miter lim="800000"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78" name="Gráfico 32">
              <a:extLst>
                <a:ext uri="{FF2B5EF4-FFF2-40B4-BE49-F238E27FC236}">
                  <a16:creationId xmlns:a16="http://schemas.microsoft.com/office/drawing/2014/main" id="{6E16ABC7-0CBA-4210-A36D-AB322CA6B195}"/>
                </a:ext>
              </a:extLst>
            </p:cNvPr>
            <p:cNvGrpSpPr/>
            <p:nvPr/>
          </p:nvGrpSpPr>
          <p:grpSpPr>
            <a:xfrm>
              <a:off x="6061121" y="1359924"/>
              <a:ext cx="128487" cy="396366"/>
              <a:chOff x="6061121" y="1359924"/>
              <a:chExt cx="128487" cy="396366"/>
            </a:xfrm>
            <a:noFill/>
          </p:grpSpPr>
          <p:sp>
            <p:nvSpPr>
              <p:cNvPr id="193" name="Forma livre: Forma 99">
                <a:extLst>
                  <a:ext uri="{FF2B5EF4-FFF2-40B4-BE49-F238E27FC236}">
                    <a16:creationId xmlns:a16="http://schemas.microsoft.com/office/drawing/2014/main" id="{066A9F16-4481-40F5-A2CD-772A230A2451}"/>
                  </a:ext>
                </a:extLst>
              </p:cNvPr>
              <p:cNvSpPr/>
              <p:nvPr/>
            </p:nvSpPr>
            <p:spPr>
              <a:xfrm>
                <a:off x="6083891" y="1359924"/>
                <a:ext cx="105717" cy="396366"/>
              </a:xfrm>
              <a:custGeom>
                <a:avLst/>
                <a:gdLst>
                  <a:gd name="connsiteX0" fmla="*/ 52891 w 105717"/>
                  <a:gd name="connsiteY0" fmla="*/ 105718 h 396366"/>
                  <a:gd name="connsiteX1" fmla="*/ 0 w 105717"/>
                  <a:gd name="connsiteY1" fmla="*/ 52891 h 396366"/>
                  <a:gd name="connsiteX2" fmla="*/ 52891 w 105717"/>
                  <a:gd name="connsiteY2" fmla="*/ 0 h 396366"/>
                  <a:gd name="connsiteX3" fmla="*/ 105718 w 105717"/>
                  <a:gd name="connsiteY3" fmla="*/ 52826 h 396366"/>
                  <a:gd name="connsiteX4" fmla="*/ 105718 w 105717"/>
                  <a:gd name="connsiteY4" fmla="*/ 346884 h 396366"/>
                  <a:gd name="connsiteX5" fmla="*/ 80606 w 105717"/>
                  <a:gd name="connsiteY5" fmla="*/ 388911 h 396366"/>
                  <a:gd name="connsiteX6" fmla="*/ 9238 w 105717"/>
                  <a:gd name="connsiteY6" fmla="*/ 371150 h 396366"/>
                  <a:gd name="connsiteX7" fmla="*/ 15484 w 105717"/>
                  <a:gd name="connsiteY7" fmla="*/ 309216 h 396366"/>
                  <a:gd name="connsiteX8" fmla="*/ 45019 w 105717"/>
                  <a:gd name="connsiteY8" fmla="*/ 277078 h 3963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05717" h="396366">
                    <a:moveTo>
                      <a:pt x="52891" y="105718"/>
                    </a:moveTo>
                    <a:cubicBezTo>
                      <a:pt x="23681" y="105718"/>
                      <a:pt x="0" y="82037"/>
                      <a:pt x="0" y="52891"/>
                    </a:cubicBezTo>
                    <a:cubicBezTo>
                      <a:pt x="0" y="23746"/>
                      <a:pt x="23681" y="0"/>
                      <a:pt x="52891" y="0"/>
                    </a:cubicBezTo>
                    <a:cubicBezTo>
                      <a:pt x="82102" y="0"/>
                      <a:pt x="105718" y="23681"/>
                      <a:pt x="105718" y="52826"/>
                    </a:cubicBezTo>
                    <a:lnTo>
                      <a:pt x="105718" y="346884"/>
                    </a:lnTo>
                    <a:cubicBezTo>
                      <a:pt x="105718" y="364580"/>
                      <a:pt x="96414" y="379413"/>
                      <a:pt x="80606" y="388911"/>
                    </a:cubicBezTo>
                    <a:cubicBezTo>
                      <a:pt x="55949" y="403744"/>
                      <a:pt x="24006" y="395742"/>
                      <a:pt x="9238" y="371150"/>
                    </a:cubicBezTo>
                    <a:cubicBezTo>
                      <a:pt x="-2928" y="350918"/>
                      <a:pt x="260" y="325741"/>
                      <a:pt x="15484" y="309216"/>
                    </a:cubicBezTo>
                    <a:lnTo>
                      <a:pt x="45019" y="277078"/>
                    </a:lnTo>
                  </a:path>
                </a:pathLst>
              </a:custGeom>
              <a:noFill/>
              <a:ln w="19050" cap="sq">
                <a:solidFill>
                  <a:schemeClr val="accent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94" name="Forma livre: Forma 100">
                <a:extLst>
                  <a:ext uri="{FF2B5EF4-FFF2-40B4-BE49-F238E27FC236}">
                    <a16:creationId xmlns:a16="http://schemas.microsoft.com/office/drawing/2014/main" id="{3D882EB5-EDAC-494E-B42F-410CF667345E}"/>
                  </a:ext>
                </a:extLst>
              </p:cNvPr>
              <p:cNvSpPr/>
              <p:nvPr/>
            </p:nvSpPr>
            <p:spPr>
              <a:xfrm>
                <a:off x="6144784" y="1383865"/>
                <a:ext cx="41563" cy="38963"/>
              </a:xfrm>
              <a:custGeom>
                <a:avLst/>
                <a:gdLst>
                  <a:gd name="connsiteX0" fmla="*/ 36172 w 41563"/>
                  <a:gd name="connsiteY0" fmla="*/ 0 h 38963"/>
                  <a:gd name="connsiteX1" fmla="*/ 39425 w 41563"/>
                  <a:gd name="connsiteY1" fmla="*/ 24266 h 38963"/>
                  <a:gd name="connsiteX2" fmla="*/ 36432 w 41563"/>
                  <a:gd name="connsiteY2" fmla="*/ 29080 h 38963"/>
                  <a:gd name="connsiteX3" fmla="*/ 0 w 41563"/>
                  <a:gd name="connsiteY3" fmla="*/ 33439 h 389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563" h="38963">
                    <a:moveTo>
                      <a:pt x="36172" y="0"/>
                    </a:moveTo>
                    <a:cubicBezTo>
                      <a:pt x="41571" y="7547"/>
                      <a:pt x="43393" y="16004"/>
                      <a:pt x="39425" y="24266"/>
                    </a:cubicBezTo>
                    <a:cubicBezTo>
                      <a:pt x="38644" y="25893"/>
                      <a:pt x="37603" y="27519"/>
                      <a:pt x="36432" y="29080"/>
                    </a:cubicBezTo>
                    <a:cubicBezTo>
                      <a:pt x="27584" y="40270"/>
                      <a:pt x="11190" y="42287"/>
                      <a:pt x="0" y="33439"/>
                    </a:cubicBezTo>
                  </a:path>
                </a:pathLst>
              </a:custGeom>
              <a:noFill/>
              <a:ln w="19050" cap="sq">
                <a:solidFill>
                  <a:schemeClr val="accent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95" name="Forma livre: Forma 101">
                <a:extLst>
                  <a:ext uri="{FF2B5EF4-FFF2-40B4-BE49-F238E27FC236}">
                    <a16:creationId xmlns:a16="http://schemas.microsoft.com/office/drawing/2014/main" id="{9D1065BC-8878-4BA7-B6D7-462E17E636FD}"/>
                  </a:ext>
                </a:extLst>
              </p:cNvPr>
              <p:cNvSpPr/>
              <p:nvPr/>
            </p:nvSpPr>
            <p:spPr>
              <a:xfrm>
                <a:off x="6081487" y="1460806"/>
                <a:ext cx="34217" cy="54474"/>
              </a:xfrm>
              <a:custGeom>
                <a:avLst/>
                <a:gdLst>
                  <a:gd name="connsiteX0" fmla="*/ 21076 w 34217"/>
                  <a:gd name="connsiteY0" fmla="*/ 54475 h 54474"/>
                  <a:gd name="connsiteX1" fmla="*/ 778 w 34217"/>
                  <a:gd name="connsiteY1" fmla="*/ 21035 h 54474"/>
                  <a:gd name="connsiteX2" fmla="*/ 34217 w 34217"/>
                  <a:gd name="connsiteY2" fmla="*/ 803 h 544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4217" h="54474">
                    <a:moveTo>
                      <a:pt x="21076" y="54475"/>
                    </a:moveTo>
                    <a:cubicBezTo>
                      <a:pt x="6308" y="50832"/>
                      <a:pt x="-2800" y="35803"/>
                      <a:pt x="778" y="21035"/>
                    </a:cubicBezTo>
                    <a:cubicBezTo>
                      <a:pt x="4421" y="6267"/>
                      <a:pt x="19449" y="-2841"/>
                      <a:pt x="34217" y="803"/>
                    </a:cubicBezTo>
                  </a:path>
                </a:pathLst>
              </a:custGeom>
              <a:noFill/>
              <a:ln w="19050" cap="sq">
                <a:solidFill>
                  <a:schemeClr val="accent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96" name="Forma livre: Forma 102">
                <a:extLst>
                  <a:ext uri="{FF2B5EF4-FFF2-40B4-BE49-F238E27FC236}">
                    <a16:creationId xmlns:a16="http://schemas.microsoft.com/office/drawing/2014/main" id="{12AC8383-3569-47D8-9E9F-F5202A6CDA5C}"/>
                  </a:ext>
                </a:extLst>
              </p:cNvPr>
              <p:cNvSpPr/>
              <p:nvPr/>
            </p:nvSpPr>
            <p:spPr>
              <a:xfrm>
                <a:off x="6073547" y="1527543"/>
                <a:ext cx="114760" cy="72506"/>
              </a:xfrm>
              <a:custGeom>
                <a:avLst/>
                <a:gdLst>
                  <a:gd name="connsiteX0" fmla="*/ 114760 w 114760"/>
                  <a:gd name="connsiteY0" fmla="*/ 7254 h 72506"/>
                  <a:gd name="connsiteX1" fmla="*/ 73905 w 114760"/>
                  <a:gd name="connsiteY1" fmla="*/ 8881 h 72506"/>
                  <a:gd name="connsiteX2" fmla="*/ 0 w 114760"/>
                  <a:gd name="connsiteY2" fmla="*/ 72506 h 725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14760" h="72506">
                    <a:moveTo>
                      <a:pt x="114760" y="7254"/>
                    </a:moveTo>
                    <a:cubicBezTo>
                      <a:pt x="103375" y="-2830"/>
                      <a:pt x="83989" y="-2504"/>
                      <a:pt x="73905" y="8881"/>
                    </a:cubicBezTo>
                    <a:cubicBezTo>
                      <a:pt x="73905" y="8881"/>
                      <a:pt x="31488" y="72506"/>
                      <a:pt x="0" y="72506"/>
                    </a:cubicBezTo>
                  </a:path>
                </a:pathLst>
              </a:custGeom>
              <a:noFill/>
              <a:ln w="19050" cap="sq">
                <a:solidFill>
                  <a:schemeClr val="accent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97" name="Forma livre: Forma 103">
                <a:extLst>
                  <a:ext uri="{FF2B5EF4-FFF2-40B4-BE49-F238E27FC236}">
                    <a16:creationId xmlns:a16="http://schemas.microsoft.com/office/drawing/2014/main" id="{27131BE3-6A1E-42E5-99B3-8D02FEC3D0E2}"/>
                  </a:ext>
                </a:extLst>
              </p:cNvPr>
              <p:cNvSpPr/>
              <p:nvPr/>
            </p:nvSpPr>
            <p:spPr>
              <a:xfrm>
                <a:off x="6079857" y="1646956"/>
                <a:ext cx="29405" cy="9823"/>
              </a:xfrm>
              <a:custGeom>
                <a:avLst/>
                <a:gdLst>
                  <a:gd name="connsiteX0" fmla="*/ 0 w 29405"/>
                  <a:gd name="connsiteY0" fmla="*/ 0 h 9823"/>
                  <a:gd name="connsiteX1" fmla="*/ 29406 w 29405"/>
                  <a:gd name="connsiteY1" fmla="*/ 9824 h 98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9405" h="9823">
                    <a:moveTo>
                      <a:pt x="0" y="0"/>
                    </a:moveTo>
                    <a:lnTo>
                      <a:pt x="29406" y="9824"/>
                    </a:lnTo>
                  </a:path>
                </a:pathLst>
              </a:custGeom>
              <a:ln w="19050" cap="sq">
                <a:solidFill>
                  <a:schemeClr val="accent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98" name="Forma livre: Forma 104">
                <a:extLst>
                  <a:ext uri="{FF2B5EF4-FFF2-40B4-BE49-F238E27FC236}">
                    <a16:creationId xmlns:a16="http://schemas.microsoft.com/office/drawing/2014/main" id="{FEFCDA37-8D32-40F5-9E0D-B99AB9F62911}"/>
                  </a:ext>
                </a:extLst>
              </p:cNvPr>
              <p:cNvSpPr/>
              <p:nvPr/>
            </p:nvSpPr>
            <p:spPr>
              <a:xfrm>
                <a:off x="6061121" y="1545272"/>
                <a:ext cx="47166" cy="34154"/>
              </a:xfrm>
              <a:custGeom>
                <a:avLst/>
                <a:gdLst>
                  <a:gd name="connsiteX0" fmla="*/ 0 w 47166"/>
                  <a:gd name="connsiteY0" fmla="*/ 0 h 34154"/>
                  <a:gd name="connsiteX1" fmla="*/ 47166 w 47166"/>
                  <a:gd name="connsiteY1" fmla="*/ 34155 h 341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166" h="34154">
                    <a:moveTo>
                      <a:pt x="0" y="0"/>
                    </a:moveTo>
                    <a:cubicBezTo>
                      <a:pt x="0" y="0"/>
                      <a:pt x="27649" y="13011"/>
                      <a:pt x="47166" y="34155"/>
                    </a:cubicBezTo>
                  </a:path>
                </a:pathLst>
              </a:custGeom>
              <a:noFill/>
              <a:ln w="19050" cap="sq">
                <a:solidFill>
                  <a:schemeClr val="accent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79" name="Gráfico 32">
              <a:extLst>
                <a:ext uri="{FF2B5EF4-FFF2-40B4-BE49-F238E27FC236}">
                  <a16:creationId xmlns:a16="http://schemas.microsoft.com/office/drawing/2014/main" id="{282B2FEB-3546-47AF-AA92-235D9888989A}"/>
                </a:ext>
              </a:extLst>
            </p:cNvPr>
            <p:cNvGrpSpPr/>
            <p:nvPr/>
          </p:nvGrpSpPr>
          <p:grpSpPr>
            <a:xfrm>
              <a:off x="6191625" y="1599725"/>
              <a:ext cx="173767" cy="157112"/>
              <a:chOff x="6191625" y="1599725"/>
              <a:chExt cx="173767" cy="157112"/>
            </a:xfrm>
            <a:noFill/>
          </p:grpSpPr>
          <p:sp>
            <p:nvSpPr>
              <p:cNvPr id="189" name="Forma livre: Forma 95">
                <a:extLst>
                  <a:ext uri="{FF2B5EF4-FFF2-40B4-BE49-F238E27FC236}">
                    <a16:creationId xmlns:a16="http://schemas.microsoft.com/office/drawing/2014/main" id="{2237DA9A-A8FD-4C1A-94AB-5CC9ACB94E22}"/>
                  </a:ext>
                </a:extLst>
              </p:cNvPr>
              <p:cNvSpPr/>
              <p:nvPr/>
            </p:nvSpPr>
            <p:spPr>
              <a:xfrm>
                <a:off x="6310094" y="1621974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accent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90" name="Forma livre: Forma 96">
                <a:extLst>
                  <a:ext uri="{FF2B5EF4-FFF2-40B4-BE49-F238E27FC236}">
                    <a16:creationId xmlns:a16="http://schemas.microsoft.com/office/drawing/2014/main" id="{76AEEE54-28DC-4865-B91A-E0D898F4958D}"/>
                  </a:ext>
                </a:extLst>
              </p:cNvPr>
              <p:cNvSpPr/>
              <p:nvPr/>
            </p:nvSpPr>
            <p:spPr>
              <a:xfrm>
                <a:off x="6191625" y="1599725"/>
                <a:ext cx="118078" cy="49898"/>
              </a:xfrm>
              <a:custGeom>
                <a:avLst/>
                <a:gdLst>
                  <a:gd name="connsiteX0" fmla="*/ 0 w 118078"/>
                  <a:gd name="connsiteY0" fmla="*/ 0 h 49898"/>
                  <a:gd name="connsiteX1" fmla="*/ 37343 w 118078"/>
                  <a:gd name="connsiteY1" fmla="*/ 0 h 49898"/>
                  <a:gd name="connsiteX2" fmla="*/ 87176 w 118078"/>
                  <a:gd name="connsiteY2" fmla="*/ 49899 h 49898"/>
                  <a:gd name="connsiteX3" fmla="*/ 118078 w 118078"/>
                  <a:gd name="connsiteY3" fmla="*/ 49899 h 49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8078" h="49898">
                    <a:moveTo>
                      <a:pt x="0" y="0"/>
                    </a:moveTo>
                    <a:lnTo>
                      <a:pt x="37343" y="0"/>
                    </a:lnTo>
                    <a:lnTo>
                      <a:pt x="87176" y="49899"/>
                    </a:lnTo>
                    <a:lnTo>
                      <a:pt x="118078" y="49899"/>
                    </a:lnTo>
                  </a:path>
                </a:pathLst>
              </a:custGeom>
              <a:noFill/>
              <a:ln w="19050" cap="sq">
                <a:solidFill>
                  <a:schemeClr val="accent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91" name="Forma livre: Forma 97">
                <a:extLst>
                  <a:ext uri="{FF2B5EF4-FFF2-40B4-BE49-F238E27FC236}">
                    <a16:creationId xmlns:a16="http://schemas.microsoft.com/office/drawing/2014/main" id="{5AA1D61F-F3F7-4A43-87CC-A8E66BFA6393}"/>
                  </a:ext>
                </a:extLst>
              </p:cNvPr>
              <p:cNvSpPr/>
              <p:nvPr/>
            </p:nvSpPr>
            <p:spPr>
              <a:xfrm>
                <a:off x="6191625" y="1665367"/>
                <a:ext cx="81906" cy="44108"/>
              </a:xfrm>
              <a:custGeom>
                <a:avLst/>
                <a:gdLst>
                  <a:gd name="connsiteX0" fmla="*/ 0 w 81906"/>
                  <a:gd name="connsiteY0" fmla="*/ 0 h 44108"/>
                  <a:gd name="connsiteX1" fmla="*/ 37343 w 81906"/>
                  <a:gd name="connsiteY1" fmla="*/ 0 h 44108"/>
                  <a:gd name="connsiteX2" fmla="*/ 81907 w 81906"/>
                  <a:gd name="connsiteY2" fmla="*/ 44109 h 441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1906" h="44108">
                    <a:moveTo>
                      <a:pt x="0" y="0"/>
                    </a:moveTo>
                    <a:lnTo>
                      <a:pt x="37343" y="0"/>
                    </a:lnTo>
                    <a:lnTo>
                      <a:pt x="81907" y="44109"/>
                    </a:lnTo>
                  </a:path>
                </a:pathLst>
              </a:custGeom>
              <a:noFill/>
              <a:ln w="19050" cap="sq">
                <a:solidFill>
                  <a:schemeClr val="accent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92" name="Forma livre: Forma 98">
                <a:extLst>
                  <a:ext uri="{FF2B5EF4-FFF2-40B4-BE49-F238E27FC236}">
                    <a16:creationId xmlns:a16="http://schemas.microsoft.com/office/drawing/2014/main" id="{C2B83043-6A72-4599-9103-E910105D45C9}"/>
                  </a:ext>
                </a:extLst>
              </p:cNvPr>
              <p:cNvSpPr/>
              <p:nvPr/>
            </p:nvSpPr>
            <p:spPr>
              <a:xfrm>
                <a:off x="6265075" y="1701539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accent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80" name="Gráfico 32">
              <a:extLst>
                <a:ext uri="{FF2B5EF4-FFF2-40B4-BE49-F238E27FC236}">
                  <a16:creationId xmlns:a16="http://schemas.microsoft.com/office/drawing/2014/main" id="{D1F49A15-00C1-4B26-AFCE-E30479141F2F}"/>
                </a:ext>
              </a:extLst>
            </p:cNvPr>
            <p:cNvGrpSpPr/>
            <p:nvPr/>
          </p:nvGrpSpPr>
          <p:grpSpPr>
            <a:xfrm>
              <a:off x="6191625" y="1357908"/>
              <a:ext cx="173767" cy="157112"/>
              <a:chOff x="6191625" y="1357908"/>
              <a:chExt cx="173767" cy="157112"/>
            </a:xfrm>
            <a:noFill/>
          </p:grpSpPr>
          <p:sp>
            <p:nvSpPr>
              <p:cNvPr id="185" name="Forma livre: Forma 91">
                <a:extLst>
                  <a:ext uri="{FF2B5EF4-FFF2-40B4-BE49-F238E27FC236}">
                    <a16:creationId xmlns:a16="http://schemas.microsoft.com/office/drawing/2014/main" id="{C6B193E0-7F23-4DE0-954F-238032A49D87}"/>
                  </a:ext>
                </a:extLst>
              </p:cNvPr>
              <p:cNvSpPr/>
              <p:nvPr/>
            </p:nvSpPr>
            <p:spPr>
              <a:xfrm>
                <a:off x="6310094" y="1437472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0 h 55298"/>
                  <a:gd name="connsiteX2" fmla="*/ 0 w 55298"/>
                  <a:gd name="connsiteY2" fmla="*/ 27649 h 55298"/>
                  <a:gd name="connsiteX3" fmla="*/ 27649 w 55298"/>
                  <a:gd name="connsiteY3" fmla="*/ 55298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12361"/>
                      <a:pt x="42938" y="0"/>
                      <a:pt x="27649" y="0"/>
                    </a:cubicBezTo>
                    <a:cubicBezTo>
                      <a:pt x="12361" y="0"/>
                      <a:pt x="0" y="12361"/>
                      <a:pt x="0" y="27649"/>
                    </a:cubicBezTo>
                    <a:cubicBezTo>
                      <a:pt x="0" y="42938"/>
                      <a:pt x="12361" y="55298"/>
                      <a:pt x="27649" y="55298"/>
                    </a:cubicBezTo>
                    <a:cubicBezTo>
                      <a:pt x="42938" y="55298"/>
                      <a:pt x="55298" y="42938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accent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86" name="Forma livre: Forma 92">
                <a:extLst>
                  <a:ext uri="{FF2B5EF4-FFF2-40B4-BE49-F238E27FC236}">
                    <a16:creationId xmlns:a16="http://schemas.microsoft.com/office/drawing/2014/main" id="{0E6848D9-8796-4F6B-9AF0-DB0FA67DE084}"/>
                  </a:ext>
                </a:extLst>
              </p:cNvPr>
              <p:cNvSpPr/>
              <p:nvPr/>
            </p:nvSpPr>
            <p:spPr>
              <a:xfrm>
                <a:off x="6191625" y="1465122"/>
                <a:ext cx="118468" cy="49898"/>
              </a:xfrm>
              <a:custGeom>
                <a:avLst/>
                <a:gdLst>
                  <a:gd name="connsiteX0" fmla="*/ 0 w 118468"/>
                  <a:gd name="connsiteY0" fmla="*/ 49899 h 49898"/>
                  <a:gd name="connsiteX1" fmla="*/ 37343 w 118468"/>
                  <a:gd name="connsiteY1" fmla="*/ 49899 h 49898"/>
                  <a:gd name="connsiteX2" fmla="*/ 87176 w 118468"/>
                  <a:gd name="connsiteY2" fmla="*/ 0 h 49898"/>
                  <a:gd name="connsiteX3" fmla="*/ 118469 w 118468"/>
                  <a:gd name="connsiteY3" fmla="*/ 0 h 49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8468" h="49898">
                    <a:moveTo>
                      <a:pt x="0" y="49899"/>
                    </a:moveTo>
                    <a:lnTo>
                      <a:pt x="37343" y="49899"/>
                    </a:lnTo>
                    <a:lnTo>
                      <a:pt x="87176" y="0"/>
                    </a:lnTo>
                    <a:lnTo>
                      <a:pt x="118469" y="0"/>
                    </a:lnTo>
                  </a:path>
                </a:pathLst>
              </a:custGeom>
              <a:noFill/>
              <a:ln w="19050" cap="sq">
                <a:solidFill>
                  <a:schemeClr val="accent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87" name="Forma livre: Forma 93">
                <a:extLst>
                  <a:ext uri="{FF2B5EF4-FFF2-40B4-BE49-F238E27FC236}">
                    <a16:creationId xmlns:a16="http://schemas.microsoft.com/office/drawing/2014/main" id="{6EECA9DD-0057-4D01-BA5E-F7AB5218D2FB}"/>
                  </a:ext>
                </a:extLst>
              </p:cNvPr>
              <p:cNvSpPr/>
              <p:nvPr/>
            </p:nvSpPr>
            <p:spPr>
              <a:xfrm>
                <a:off x="6191625" y="1405269"/>
                <a:ext cx="81451" cy="44043"/>
              </a:xfrm>
              <a:custGeom>
                <a:avLst/>
                <a:gdLst>
                  <a:gd name="connsiteX0" fmla="*/ 0 w 81451"/>
                  <a:gd name="connsiteY0" fmla="*/ 44044 h 44043"/>
                  <a:gd name="connsiteX1" fmla="*/ 37343 w 81451"/>
                  <a:gd name="connsiteY1" fmla="*/ 44044 h 44043"/>
                  <a:gd name="connsiteX2" fmla="*/ 81451 w 81451"/>
                  <a:gd name="connsiteY2" fmla="*/ 0 h 440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1451" h="44043">
                    <a:moveTo>
                      <a:pt x="0" y="44044"/>
                    </a:moveTo>
                    <a:lnTo>
                      <a:pt x="37343" y="44044"/>
                    </a:lnTo>
                    <a:lnTo>
                      <a:pt x="81451" y="0"/>
                    </a:lnTo>
                  </a:path>
                </a:pathLst>
              </a:custGeom>
              <a:noFill/>
              <a:ln w="19050" cap="sq">
                <a:solidFill>
                  <a:schemeClr val="accent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88" name="Forma livre: Forma 94">
                <a:extLst>
                  <a:ext uri="{FF2B5EF4-FFF2-40B4-BE49-F238E27FC236}">
                    <a16:creationId xmlns:a16="http://schemas.microsoft.com/office/drawing/2014/main" id="{1E4C490E-8EAA-4821-BB94-8212E6C33180}"/>
                  </a:ext>
                </a:extLst>
              </p:cNvPr>
              <p:cNvSpPr/>
              <p:nvPr/>
            </p:nvSpPr>
            <p:spPr>
              <a:xfrm>
                <a:off x="6265075" y="1357908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0 h 55298"/>
                  <a:gd name="connsiteX2" fmla="*/ 0 w 55298"/>
                  <a:gd name="connsiteY2" fmla="*/ 27649 h 55298"/>
                  <a:gd name="connsiteX3" fmla="*/ 27649 w 55298"/>
                  <a:gd name="connsiteY3" fmla="*/ 55298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12361"/>
                      <a:pt x="42938" y="0"/>
                      <a:pt x="27649" y="0"/>
                    </a:cubicBezTo>
                    <a:cubicBezTo>
                      <a:pt x="12361" y="0"/>
                      <a:pt x="0" y="12361"/>
                      <a:pt x="0" y="27649"/>
                    </a:cubicBezTo>
                    <a:cubicBezTo>
                      <a:pt x="0" y="42938"/>
                      <a:pt x="12361" y="55298"/>
                      <a:pt x="27649" y="55298"/>
                    </a:cubicBezTo>
                    <a:cubicBezTo>
                      <a:pt x="42938" y="55298"/>
                      <a:pt x="55298" y="42938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accent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81" name="Gráfico 32">
              <a:extLst>
                <a:ext uri="{FF2B5EF4-FFF2-40B4-BE49-F238E27FC236}">
                  <a16:creationId xmlns:a16="http://schemas.microsoft.com/office/drawing/2014/main" id="{D8E1CA92-B55E-45E1-B3DD-707DF6BC87DE}"/>
                </a:ext>
              </a:extLst>
            </p:cNvPr>
            <p:cNvGrpSpPr/>
            <p:nvPr/>
          </p:nvGrpSpPr>
          <p:grpSpPr>
            <a:xfrm>
              <a:off x="6190910" y="1529723"/>
              <a:ext cx="123673" cy="55298"/>
              <a:chOff x="6190910" y="1529723"/>
              <a:chExt cx="123673" cy="55298"/>
            </a:xfrm>
            <a:noFill/>
          </p:grpSpPr>
          <p:sp>
            <p:nvSpPr>
              <p:cNvPr id="183" name="Forma livre: Forma 89">
                <a:extLst>
                  <a:ext uri="{FF2B5EF4-FFF2-40B4-BE49-F238E27FC236}">
                    <a16:creationId xmlns:a16="http://schemas.microsoft.com/office/drawing/2014/main" id="{126570C2-9D94-4E1C-8BEC-1CE0F4877A1F}"/>
                  </a:ext>
                </a:extLst>
              </p:cNvPr>
              <p:cNvSpPr/>
              <p:nvPr/>
            </p:nvSpPr>
            <p:spPr>
              <a:xfrm>
                <a:off x="6190910" y="1557372"/>
                <a:ext cx="68765" cy="6505"/>
              </a:xfrm>
              <a:custGeom>
                <a:avLst/>
                <a:gdLst>
                  <a:gd name="connsiteX0" fmla="*/ 0 w 68765"/>
                  <a:gd name="connsiteY0" fmla="*/ 0 h 6505"/>
                  <a:gd name="connsiteX1" fmla="*/ 68765 w 68765"/>
                  <a:gd name="connsiteY1" fmla="*/ 0 h 65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8765" h="6505">
                    <a:moveTo>
                      <a:pt x="0" y="0"/>
                    </a:moveTo>
                    <a:lnTo>
                      <a:pt x="68765" y="0"/>
                    </a:lnTo>
                  </a:path>
                </a:pathLst>
              </a:custGeom>
              <a:ln w="19050" cap="sq">
                <a:solidFill>
                  <a:schemeClr val="accent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84" name="Forma livre: Forma 90">
                <a:extLst>
                  <a:ext uri="{FF2B5EF4-FFF2-40B4-BE49-F238E27FC236}">
                    <a16:creationId xmlns:a16="http://schemas.microsoft.com/office/drawing/2014/main" id="{AE2790DC-297A-49FD-BAD4-FAD9974B8328}"/>
                  </a:ext>
                </a:extLst>
              </p:cNvPr>
              <p:cNvSpPr/>
              <p:nvPr/>
            </p:nvSpPr>
            <p:spPr>
              <a:xfrm>
                <a:off x="6259285" y="1529723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accent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82" name="Forma livre: Forma 88">
              <a:extLst>
                <a:ext uri="{FF2B5EF4-FFF2-40B4-BE49-F238E27FC236}">
                  <a16:creationId xmlns:a16="http://schemas.microsoft.com/office/drawing/2014/main" id="{7EEC0396-2530-405B-B2D3-CA9680C1E363}"/>
                </a:ext>
              </a:extLst>
            </p:cNvPr>
            <p:cNvSpPr/>
            <p:nvPr/>
          </p:nvSpPr>
          <p:spPr>
            <a:xfrm>
              <a:off x="6152201" y="1686285"/>
              <a:ext cx="37362" cy="20848"/>
            </a:xfrm>
            <a:custGeom>
              <a:avLst/>
              <a:gdLst>
                <a:gd name="connsiteX0" fmla="*/ 0 w 37362"/>
                <a:gd name="connsiteY0" fmla="*/ 10505 h 20848"/>
                <a:gd name="connsiteX1" fmla="*/ 27064 w 37362"/>
                <a:gd name="connsiteY1" fmla="*/ 2373 h 20848"/>
                <a:gd name="connsiteX2" fmla="*/ 37343 w 37362"/>
                <a:gd name="connsiteY2" fmla="*/ 20849 h 20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7362" h="20848">
                  <a:moveTo>
                    <a:pt x="0" y="10505"/>
                  </a:moveTo>
                  <a:cubicBezTo>
                    <a:pt x="5205" y="811"/>
                    <a:pt x="17435" y="-2832"/>
                    <a:pt x="27064" y="2373"/>
                  </a:cubicBezTo>
                  <a:cubicBezTo>
                    <a:pt x="34025" y="6081"/>
                    <a:pt x="37668" y="13432"/>
                    <a:pt x="37343" y="20849"/>
                  </a:cubicBezTo>
                </a:path>
              </a:pathLst>
            </a:custGeom>
            <a:noFill/>
            <a:ln w="19050" cap="sq">
              <a:solidFill>
                <a:schemeClr val="accent1"/>
              </a:solidFill>
              <a:prstDash val="solid"/>
              <a:miter lim="800000"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99" name="Agrupar 105">
            <a:extLst>
              <a:ext uri="{FF2B5EF4-FFF2-40B4-BE49-F238E27FC236}">
                <a16:creationId xmlns:a16="http://schemas.microsoft.com/office/drawing/2014/main" id="{6EBB6B30-0D2A-425C-A671-84A3F41023D0}"/>
              </a:ext>
            </a:extLst>
          </p:cNvPr>
          <p:cNvGrpSpPr/>
          <p:nvPr/>
        </p:nvGrpSpPr>
        <p:grpSpPr>
          <a:xfrm>
            <a:off x="7626403" y="5489767"/>
            <a:ext cx="307441" cy="335743"/>
            <a:chOff x="6000092" y="1357908"/>
            <a:chExt cx="365300" cy="398929"/>
          </a:xfrm>
        </p:grpSpPr>
        <p:sp>
          <p:nvSpPr>
            <p:cNvPr id="200" name="Forma livre: Forma 106">
              <a:extLst>
                <a:ext uri="{FF2B5EF4-FFF2-40B4-BE49-F238E27FC236}">
                  <a16:creationId xmlns:a16="http://schemas.microsoft.com/office/drawing/2014/main" id="{C8468278-EAC3-43E7-B546-CCECD33D1619}"/>
                </a:ext>
              </a:extLst>
            </p:cNvPr>
            <p:cNvSpPr/>
            <p:nvPr/>
          </p:nvSpPr>
          <p:spPr>
            <a:xfrm>
              <a:off x="6000092" y="1418606"/>
              <a:ext cx="84058" cy="286120"/>
            </a:xfrm>
            <a:custGeom>
              <a:avLst/>
              <a:gdLst>
                <a:gd name="connsiteX0" fmla="*/ 51595 w 84058"/>
                <a:gd name="connsiteY0" fmla="*/ 0 h 286120"/>
                <a:gd name="connsiteX1" fmla="*/ 35266 w 84058"/>
                <a:gd name="connsiteY1" fmla="*/ 61674 h 286120"/>
                <a:gd name="connsiteX2" fmla="*/ 28760 w 84058"/>
                <a:gd name="connsiteY2" fmla="*/ 193415 h 286120"/>
                <a:gd name="connsiteX3" fmla="*/ 84059 w 84058"/>
                <a:gd name="connsiteY3" fmla="*/ 286121 h 2861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4058" h="286120">
                  <a:moveTo>
                    <a:pt x="51595" y="0"/>
                  </a:moveTo>
                  <a:cubicBezTo>
                    <a:pt x="37868" y="7872"/>
                    <a:pt x="26028" y="24852"/>
                    <a:pt x="35266" y="61674"/>
                  </a:cubicBezTo>
                  <a:cubicBezTo>
                    <a:pt x="35266" y="61674"/>
                    <a:pt x="-39549" y="126731"/>
                    <a:pt x="28760" y="193415"/>
                  </a:cubicBezTo>
                  <a:cubicBezTo>
                    <a:pt x="28760" y="193415"/>
                    <a:pt x="9243" y="281242"/>
                    <a:pt x="84059" y="286121"/>
                  </a:cubicBezTo>
                </a:path>
              </a:pathLst>
            </a:custGeom>
            <a:noFill/>
            <a:ln w="19050" cap="sq">
              <a:solidFill>
                <a:schemeClr val="accent1"/>
              </a:solidFill>
              <a:prstDash val="solid"/>
              <a:miter lim="800000"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201" name="Gráfico 32">
              <a:extLst>
                <a:ext uri="{FF2B5EF4-FFF2-40B4-BE49-F238E27FC236}">
                  <a16:creationId xmlns:a16="http://schemas.microsoft.com/office/drawing/2014/main" id="{E9942BA0-BF34-4BDF-9BE6-6DF56740305E}"/>
                </a:ext>
              </a:extLst>
            </p:cNvPr>
            <p:cNvGrpSpPr/>
            <p:nvPr/>
          </p:nvGrpSpPr>
          <p:grpSpPr>
            <a:xfrm>
              <a:off x="6061121" y="1359924"/>
              <a:ext cx="128487" cy="396366"/>
              <a:chOff x="6061121" y="1359924"/>
              <a:chExt cx="128487" cy="396366"/>
            </a:xfrm>
            <a:noFill/>
          </p:grpSpPr>
          <p:sp>
            <p:nvSpPr>
              <p:cNvPr id="216" name="Forma livre: Forma 122">
                <a:extLst>
                  <a:ext uri="{FF2B5EF4-FFF2-40B4-BE49-F238E27FC236}">
                    <a16:creationId xmlns:a16="http://schemas.microsoft.com/office/drawing/2014/main" id="{1201D623-8391-4F28-9258-EEE4800670B0}"/>
                  </a:ext>
                </a:extLst>
              </p:cNvPr>
              <p:cNvSpPr/>
              <p:nvPr/>
            </p:nvSpPr>
            <p:spPr>
              <a:xfrm>
                <a:off x="6083891" y="1359924"/>
                <a:ext cx="105717" cy="396366"/>
              </a:xfrm>
              <a:custGeom>
                <a:avLst/>
                <a:gdLst>
                  <a:gd name="connsiteX0" fmla="*/ 52891 w 105717"/>
                  <a:gd name="connsiteY0" fmla="*/ 105718 h 396366"/>
                  <a:gd name="connsiteX1" fmla="*/ 0 w 105717"/>
                  <a:gd name="connsiteY1" fmla="*/ 52891 h 396366"/>
                  <a:gd name="connsiteX2" fmla="*/ 52891 w 105717"/>
                  <a:gd name="connsiteY2" fmla="*/ 0 h 396366"/>
                  <a:gd name="connsiteX3" fmla="*/ 105718 w 105717"/>
                  <a:gd name="connsiteY3" fmla="*/ 52826 h 396366"/>
                  <a:gd name="connsiteX4" fmla="*/ 105718 w 105717"/>
                  <a:gd name="connsiteY4" fmla="*/ 346884 h 396366"/>
                  <a:gd name="connsiteX5" fmla="*/ 80606 w 105717"/>
                  <a:gd name="connsiteY5" fmla="*/ 388911 h 396366"/>
                  <a:gd name="connsiteX6" fmla="*/ 9238 w 105717"/>
                  <a:gd name="connsiteY6" fmla="*/ 371150 h 396366"/>
                  <a:gd name="connsiteX7" fmla="*/ 15484 w 105717"/>
                  <a:gd name="connsiteY7" fmla="*/ 309216 h 396366"/>
                  <a:gd name="connsiteX8" fmla="*/ 45019 w 105717"/>
                  <a:gd name="connsiteY8" fmla="*/ 277078 h 3963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05717" h="396366">
                    <a:moveTo>
                      <a:pt x="52891" y="105718"/>
                    </a:moveTo>
                    <a:cubicBezTo>
                      <a:pt x="23681" y="105718"/>
                      <a:pt x="0" y="82037"/>
                      <a:pt x="0" y="52891"/>
                    </a:cubicBezTo>
                    <a:cubicBezTo>
                      <a:pt x="0" y="23746"/>
                      <a:pt x="23681" y="0"/>
                      <a:pt x="52891" y="0"/>
                    </a:cubicBezTo>
                    <a:cubicBezTo>
                      <a:pt x="82102" y="0"/>
                      <a:pt x="105718" y="23681"/>
                      <a:pt x="105718" y="52826"/>
                    </a:cubicBezTo>
                    <a:lnTo>
                      <a:pt x="105718" y="346884"/>
                    </a:lnTo>
                    <a:cubicBezTo>
                      <a:pt x="105718" y="364580"/>
                      <a:pt x="96414" y="379413"/>
                      <a:pt x="80606" y="388911"/>
                    </a:cubicBezTo>
                    <a:cubicBezTo>
                      <a:pt x="55949" y="403744"/>
                      <a:pt x="24006" y="395742"/>
                      <a:pt x="9238" y="371150"/>
                    </a:cubicBezTo>
                    <a:cubicBezTo>
                      <a:pt x="-2928" y="350918"/>
                      <a:pt x="260" y="325741"/>
                      <a:pt x="15484" y="309216"/>
                    </a:cubicBezTo>
                    <a:lnTo>
                      <a:pt x="45019" y="277078"/>
                    </a:lnTo>
                  </a:path>
                </a:pathLst>
              </a:custGeom>
              <a:noFill/>
              <a:ln w="19050" cap="sq">
                <a:solidFill>
                  <a:schemeClr val="accent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17" name="Forma livre: Forma 123">
                <a:extLst>
                  <a:ext uri="{FF2B5EF4-FFF2-40B4-BE49-F238E27FC236}">
                    <a16:creationId xmlns:a16="http://schemas.microsoft.com/office/drawing/2014/main" id="{C2D65C64-80E2-4673-ACEB-9E98E2556559}"/>
                  </a:ext>
                </a:extLst>
              </p:cNvPr>
              <p:cNvSpPr/>
              <p:nvPr/>
            </p:nvSpPr>
            <p:spPr>
              <a:xfrm>
                <a:off x="6144784" y="1383865"/>
                <a:ext cx="41563" cy="38963"/>
              </a:xfrm>
              <a:custGeom>
                <a:avLst/>
                <a:gdLst>
                  <a:gd name="connsiteX0" fmla="*/ 36172 w 41563"/>
                  <a:gd name="connsiteY0" fmla="*/ 0 h 38963"/>
                  <a:gd name="connsiteX1" fmla="*/ 39425 w 41563"/>
                  <a:gd name="connsiteY1" fmla="*/ 24266 h 38963"/>
                  <a:gd name="connsiteX2" fmla="*/ 36432 w 41563"/>
                  <a:gd name="connsiteY2" fmla="*/ 29080 h 38963"/>
                  <a:gd name="connsiteX3" fmla="*/ 0 w 41563"/>
                  <a:gd name="connsiteY3" fmla="*/ 33439 h 389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563" h="38963">
                    <a:moveTo>
                      <a:pt x="36172" y="0"/>
                    </a:moveTo>
                    <a:cubicBezTo>
                      <a:pt x="41571" y="7547"/>
                      <a:pt x="43393" y="16004"/>
                      <a:pt x="39425" y="24266"/>
                    </a:cubicBezTo>
                    <a:cubicBezTo>
                      <a:pt x="38644" y="25893"/>
                      <a:pt x="37603" y="27519"/>
                      <a:pt x="36432" y="29080"/>
                    </a:cubicBezTo>
                    <a:cubicBezTo>
                      <a:pt x="27584" y="40270"/>
                      <a:pt x="11190" y="42287"/>
                      <a:pt x="0" y="33439"/>
                    </a:cubicBezTo>
                  </a:path>
                </a:pathLst>
              </a:custGeom>
              <a:noFill/>
              <a:ln w="19050" cap="sq">
                <a:solidFill>
                  <a:schemeClr val="accent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18" name="Forma livre: Forma 124">
                <a:extLst>
                  <a:ext uri="{FF2B5EF4-FFF2-40B4-BE49-F238E27FC236}">
                    <a16:creationId xmlns:a16="http://schemas.microsoft.com/office/drawing/2014/main" id="{CA1A16A6-6E9E-45B7-8402-A185EBE4466B}"/>
                  </a:ext>
                </a:extLst>
              </p:cNvPr>
              <p:cNvSpPr/>
              <p:nvPr/>
            </p:nvSpPr>
            <p:spPr>
              <a:xfrm>
                <a:off x="6081487" y="1460806"/>
                <a:ext cx="34217" cy="54474"/>
              </a:xfrm>
              <a:custGeom>
                <a:avLst/>
                <a:gdLst>
                  <a:gd name="connsiteX0" fmla="*/ 21076 w 34217"/>
                  <a:gd name="connsiteY0" fmla="*/ 54475 h 54474"/>
                  <a:gd name="connsiteX1" fmla="*/ 778 w 34217"/>
                  <a:gd name="connsiteY1" fmla="*/ 21035 h 54474"/>
                  <a:gd name="connsiteX2" fmla="*/ 34217 w 34217"/>
                  <a:gd name="connsiteY2" fmla="*/ 803 h 544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4217" h="54474">
                    <a:moveTo>
                      <a:pt x="21076" y="54475"/>
                    </a:moveTo>
                    <a:cubicBezTo>
                      <a:pt x="6308" y="50832"/>
                      <a:pt x="-2800" y="35803"/>
                      <a:pt x="778" y="21035"/>
                    </a:cubicBezTo>
                    <a:cubicBezTo>
                      <a:pt x="4421" y="6267"/>
                      <a:pt x="19449" y="-2841"/>
                      <a:pt x="34217" y="803"/>
                    </a:cubicBezTo>
                  </a:path>
                </a:pathLst>
              </a:custGeom>
              <a:noFill/>
              <a:ln w="19050" cap="sq">
                <a:solidFill>
                  <a:schemeClr val="accent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19" name="Forma livre: Forma 125">
                <a:extLst>
                  <a:ext uri="{FF2B5EF4-FFF2-40B4-BE49-F238E27FC236}">
                    <a16:creationId xmlns:a16="http://schemas.microsoft.com/office/drawing/2014/main" id="{F8F17F00-9541-4659-96D8-84E282BA5C68}"/>
                  </a:ext>
                </a:extLst>
              </p:cNvPr>
              <p:cNvSpPr/>
              <p:nvPr/>
            </p:nvSpPr>
            <p:spPr>
              <a:xfrm>
                <a:off x="6073547" y="1527543"/>
                <a:ext cx="114760" cy="72506"/>
              </a:xfrm>
              <a:custGeom>
                <a:avLst/>
                <a:gdLst>
                  <a:gd name="connsiteX0" fmla="*/ 114760 w 114760"/>
                  <a:gd name="connsiteY0" fmla="*/ 7254 h 72506"/>
                  <a:gd name="connsiteX1" fmla="*/ 73905 w 114760"/>
                  <a:gd name="connsiteY1" fmla="*/ 8881 h 72506"/>
                  <a:gd name="connsiteX2" fmla="*/ 0 w 114760"/>
                  <a:gd name="connsiteY2" fmla="*/ 72506 h 725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14760" h="72506">
                    <a:moveTo>
                      <a:pt x="114760" y="7254"/>
                    </a:moveTo>
                    <a:cubicBezTo>
                      <a:pt x="103375" y="-2830"/>
                      <a:pt x="83989" y="-2504"/>
                      <a:pt x="73905" y="8881"/>
                    </a:cubicBezTo>
                    <a:cubicBezTo>
                      <a:pt x="73905" y="8881"/>
                      <a:pt x="31488" y="72506"/>
                      <a:pt x="0" y="72506"/>
                    </a:cubicBezTo>
                  </a:path>
                </a:pathLst>
              </a:custGeom>
              <a:noFill/>
              <a:ln w="19050" cap="sq">
                <a:solidFill>
                  <a:schemeClr val="accent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20" name="Forma livre: Forma 126">
                <a:extLst>
                  <a:ext uri="{FF2B5EF4-FFF2-40B4-BE49-F238E27FC236}">
                    <a16:creationId xmlns:a16="http://schemas.microsoft.com/office/drawing/2014/main" id="{7C16BE7F-6B04-4E46-A768-6C058C5A1473}"/>
                  </a:ext>
                </a:extLst>
              </p:cNvPr>
              <p:cNvSpPr/>
              <p:nvPr/>
            </p:nvSpPr>
            <p:spPr>
              <a:xfrm>
                <a:off x="6079857" y="1646956"/>
                <a:ext cx="29405" cy="9823"/>
              </a:xfrm>
              <a:custGeom>
                <a:avLst/>
                <a:gdLst>
                  <a:gd name="connsiteX0" fmla="*/ 0 w 29405"/>
                  <a:gd name="connsiteY0" fmla="*/ 0 h 9823"/>
                  <a:gd name="connsiteX1" fmla="*/ 29406 w 29405"/>
                  <a:gd name="connsiteY1" fmla="*/ 9824 h 98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9405" h="9823">
                    <a:moveTo>
                      <a:pt x="0" y="0"/>
                    </a:moveTo>
                    <a:lnTo>
                      <a:pt x="29406" y="9824"/>
                    </a:lnTo>
                  </a:path>
                </a:pathLst>
              </a:custGeom>
              <a:ln w="19050" cap="sq">
                <a:solidFill>
                  <a:schemeClr val="accent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21" name="Forma livre: Forma 127">
                <a:extLst>
                  <a:ext uri="{FF2B5EF4-FFF2-40B4-BE49-F238E27FC236}">
                    <a16:creationId xmlns:a16="http://schemas.microsoft.com/office/drawing/2014/main" id="{97F1093A-7263-4D1E-8AC0-CD9E6623E7E7}"/>
                  </a:ext>
                </a:extLst>
              </p:cNvPr>
              <p:cNvSpPr/>
              <p:nvPr/>
            </p:nvSpPr>
            <p:spPr>
              <a:xfrm>
                <a:off x="6061121" y="1545272"/>
                <a:ext cx="47166" cy="34154"/>
              </a:xfrm>
              <a:custGeom>
                <a:avLst/>
                <a:gdLst>
                  <a:gd name="connsiteX0" fmla="*/ 0 w 47166"/>
                  <a:gd name="connsiteY0" fmla="*/ 0 h 34154"/>
                  <a:gd name="connsiteX1" fmla="*/ 47166 w 47166"/>
                  <a:gd name="connsiteY1" fmla="*/ 34155 h 341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166" h="34154">
                    <a:moveTo>
                      <a:pt x="0" y="0"/>
                    </a:moveTo>
                    <a:cubicBezTo>
                      <a:pt x="0" y="0"/>
                      <a:pt x="27649" y="13011"/>
                      <a:pt x="47166" y="34155"/>
                    </a:cubicBezTo>
                  </a:path>
                </a:pathLst>
              </a:custGeom>
              <a:noFill/>
              <a:ln w="19050" cap="sq">
                <a:solidFill>
                  <a:schemeClr val="accent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202" name="Gráfico 32">
              <a:extLst>
                <a:ext uri="{FF2B5EF4-FFF2-40B4-BE49-F238E27FC236}">
                  <a16:creationId xmlns:a16="http://schemas.microsoft.com/office/drawing/2014/main" id="{67FE6FFA-79FC-46F3-A2A1-002074DF34B7}"/>
                </a:ext>
              </a:extLst>
            </p:cNvPr>
            <p:cNvGrpSpPr/>
            <p:nvPr/>
          </p:nvGrpSpPr>
          <p:grpSpPr>
            <a:xfrm>
              <a:off x="6191625" y="1599725"/>
              <a:ext cx="173767" cy="157112"/>
              <a:chOff x="6191625" y="1599725"/>
              <a:chExt cx="173767" cy="157112"/>
            </a:xfrm>
            <a:noFill/>
          </p:grpSpPr>
          <p:sp>
            <p:nvSpPr>
              <p:cNvPr id="212" name="Forma livre: Forma 118">
                <a:extLst>
                  <a:ext uri="{FF2B5EF4-FFF2-40B4-BE49-F238E27FC236}">
                    <a16:creationId xmlns:a16="http://schemas.microsoft.com/office/drawing/2014/main" id="{D3B8E93D-3058-4983-AB04-2D9FCBFCEEA9}"/>
                  </a:ext>
                </a:extLst>
              </p:cNvPr>
              <p:cNvSpPr/>
              <p:nvPr/>
            </p:nvSpPr>
            <p:spPr>
              <a:xfrm>
                <a:off x="6310094" y="1621974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accent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13" name="Forma livre: Forma 119">
                <a:extLst>
                  <a:ext uri="{FF2B5EF4-FFF2-40B4-BE49-F238E27FC236}">
                    <a16:creationId xmlns:a16="http://schemas.microsoft.com/office/drawing/2014/main" id="{2025DA7C-2BC3-46B4-8816-D1A5D33AFB54}"/>
                  </a:ext>
                </a:extLst>
              </p:cNvPr>
              <p:cNvSpPr/>
              <p:nvPr/>
            </p:nvSpPr>
            <p:spPr>
              <a:xfrm>
                <a:off x="6191625" y="1599725"/>
                <a:ext cx="118078" cy="49898"/>
              </a:xfrm>
              <a:custGeom>
                <a:avLst/>
                <a:gdLst>
                  <a:gd name="connsiteX0" fmla="*/ 0 w 118078"/>
                  <a:gd name="connsiteY0" fmla="*/ 0 h 49898"/>
                  <a:gd name="connsiteX1" fmla="*/ 37343 w 118078"/>
                  <a:gd name="connsiteY1" fmla="*/ 0 h 49898"/>
                  <a:gd name="connsiteX2" fmla="*/ 87176 w 118078"/>
                  <a:gd name="connsiteY2" fmla="*/ 49899 h 49898"/>
                  <a:gd name="connsiteX3" fmla="*/ 118078 w 118078"/>
                  <a:gd name="connsiteY3" fmla="*/ 49899 h 49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8078" h="49898">
                    <a:moveTo>
                      <a:pt x="0" y="0"/>
                    </a:moveTo>
                    <a:lnTo>
                      <a:pt x="37343" y="0"/>
                    </a:lnTo>
                    <a:lnTo>
                      <a:pt x="87176" y="49899"/>
                    </a:lnTo>
                    <a:lnTo>
                      <a:pt x="118078" y="49899"/>
                    </a:lnTo>
                  </a:path>
                </a:pathLst>
              </a:custGeom>
              <a:noFill/>
              <a:ln w="19050" cap="sq">
                <a:solidFill>
                  <a:schemeClr val="accent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14" name="Forma livre: Forma 120">
                <a:extLst>
                  <a:ext uri="{FF2B5EF4-FFF2-40B4-BE49-F238E27FC236}">
                    <a16:creationId xmlns:a16="http://schemas.microsoft.com/office/drawing/2014/main" id="{4BDD842E-FDDB-4559-B0FC-ADCFDBE45411}"/>
                  </a:ext>
                </a:extLst>
              </p:cNvPr>
              <p:cNvSpPr/>
              <p:nvPr/>
            </p:nvSpPr>
            <p:spPr>
              <a:xfrm>
                <a:off x="6191625" y="1665367"/>
                <a:ext cx="81906" cy="44108"/>
              </a:xfrm>
              <a:custGeom>
                <a:avLst/>
                <a:gdLst>
                  <a:gd name="connsiteX0" fmla="*/ 0 w 81906"/>
                  <a:gd name="connsiteY0" fmla="*/ 0 h 44108"/>
                  <a:gd name="connsiteX1" fmla="*/ 37343 w 81906"/>
                  <a:gd name="connsiteY1" fmla="*/ 0 h 44108"/>
                  <a:gd name="connsiteX2" fmla="*/ 81907 w 81906"/>
                  <a:gd name="connsiteY2" fmla="*/ 44109 h 441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1906" h="44108">
                    <a:moveTo>
                      <a:pt x="0" y="0"/>
                    </a:moveTo>
                    <a:lnTo>
                      <a:pt x="37343" y="0"/>
                    </a:lnTo>
                    <a:lnTo>
                      <a:pt x="81907" y="44109"/>
                    </a:lnTo>
                  </a:path>
                </a:pathLst>
              </a:custGeom>
              <a:noFill/>
              <a:ln w="19050" cap="sq">
                <a:solidFill>
                  <a:schemeClr val="accent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15" name="Forma livre: Forma 121">
                <a:extLst>
                  <a:ext uri="{FF2B5EF4-FFF2-40B4-BE49-F238E27FC236}">
                    <a16:creationId xmlns:a16="http://schemas.microsoft.com/office/drawing/2014/main" id="{6C967444-05D3-4BB8-959F-F5A0823CDE7F}"/>
                  </a:ext>
                </a:extLst>
              </p:cNvPr>
              <p:cNvSpPr/>
              <p:nvPr/>
            </p:nvSpPr>
            <p:spPr>
              <a:xfrm>
                <a:off x="6265075" y="1701539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accent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203" name="Gráfico 32">
              <a:extLst>
                <a:ext uri="{FF2B5EF4-FFF2-40B4-BE49-F238E27FC236}">
                  <a16:creationId xmlns:a16="http://schemas.microsoft.com/office/drawing/2014/main" id="{7CA3DAC2-361A-425E-9BFD-8F8227A70DE5}"/>
                </a:ext>
              </a:extLst>
            </p:cNvPr>
            <p:cNvGrpSpPr/>
            <p:nvPr/>
          </p:nvGrpSpPr>
          <p:grpSpPr>
            <a:xfrm>
              <a:off x="6191625" y="1357908"/>
              <a:ext cx="173767" cy="157112"/>
              <a:chOff x="6191625" y="1357908"/>
              <a:chExt cx="173767" cy="157112"/>
            </a:xfrm>
            <a:noFill/>
          </p:grpSpPr>
          <p:sp>
            <p:nvSpPr>
              <p:cNvPr id="208" name="Forma livre: Forma 114">
                <a:extLst>
                  <a:ext uri="{FF2B5EF4-FFF2-40B4-BE49-F238E27FC236}">
                    <a16:creationId xmlns:a16="http://schemas.microsoft.com/office/drawing/2014/main" id="{0B62CE99-AFF6-49F8-9890-E67A8B9730EA}"/>
                  </a:ext>
                </a:extLst>
              </p:cNvPr>
              <p:cNvSpPr/>
              <p:nvPr/>
            </p:nvSpPr>
            <p:spPr>
              <a:xfrm>
                <a:off x="6310094" y="1437472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0 h 55298"/>
                  <a:gd name="connsiteX2" fmla="*/ 0 w 55298"/>
                  <a:gd name="connsiteY2" fmla="*/ 27649 h 55298"/>
                  <a:gd name="connsiteX3" fmla="*/ 27649 w 55298"/>
                  <a:gd name="connsiteY3" fmla="*/ 55298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12361"/>
                      <a:pt x="42938" y="0"/>
                      <a:pt x="27649" y="0"/>
                    </a:cubicBezTo>
                    <a:cubicBezTo>
                      <a:pt x="12361" y="0"/>
                      <a:pt x="0" y="12361"/>
                      <a:pt x="0" y="27649"/>
                    </a:cubicBezTo>
                    <a:cubicBezTo>
                      <a:pt x="0" y="42938"/>
                      <a:pt x="12361" y="55298"/>
                      <a:pt x="27649" y="55298"/>
                    </a:cubicBezTo>
                    <a:cubicBezTo>
                      <a:pt x="42938" y="55298"/>
                      <a:pt x="55298" y="42938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accent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09" name="Forma livre: Forma 115">
                <a:extLst>
                  <a:ext uri="{FF2B5EF4-FFF2-40B4-BE49-F238E27FC236}">
                    <a16:creationId xmlns:a16="http://schemas.microsoft.com/office/drawing/2014/main" id="{2D50F64F-7B7A-453B-ABA8-AEBAA6382FC5}"/>
                  </a:ext>
                </a:extLst>
              </p:cNvPr>
              <p:cNvSpPr/>
              <p:nvPr/>
            </p:nvSpPr>
            <p:spPr>
              <a:xfrm>
                <a:off x="6191625" y="1465122"/>
                <a:ext cx="118468" cy="49898"/>
              </a:xfrm>
              <a:custGeom>
                <a:avLst/>
                <a:gdLst>
                  <a:gd name="connsiteX0" fmla="*/ 0 w 118468"/>
                  <a:gd name="connsiteY0" fmla="*/ 49899 h 49898"/>
                  <a:gd name="connsiteX1" fmla="*/ 37343 w 118468"/>
                  <a:gd name="connsiteY1" fmla="*/ 49899 h 49898"/>
                  <a:gd name="connsiteX2" fmla="*/ 87176 w 118468"/>
                  <a:gd name="connsiteY2" fmla="*/ 0 h 49898"/>
                  <a:gd name="connsiteX3" fmla="*/ 118469 w 118468"/>
                  <a:gd name="connsiteY3" fmla="*/ 0 h 49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8468" h="49898">
                    <a:moveTo>
                      <a:pt x="0" y="49899"/>
                    </a:moveTo>
                    <a:lnTo>
                      <a:pt x="37343" y="49899"/>
                    </a:lnTo>
                    <a:lnTo>
                      <a:pt x="87176" y="0"/>
                    </a:lnTo>
                    <a:lnTo>
                      <a:pt x="118469" y="0"/>
                    </a:lnTo>
                  </a:path>
                </a:pathLst>
              </a:custGeom>
              <a:noFill/>
              <a:ln w="19050" cap="sq">
                <a:solidFill>
                  <a:schemeClr val="accent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10" name="Forma livre: Forma 116">
                <a:extLst>
                  <a:ext uri="{FF2B5EF4-FFF2-40B4-BE49-F238E27FC236}">
                    <a16:creationId xmlns:a16="http://schemas.microsoft.com/office/drawing/2014/main" id="{57AC7EA8-B074-455C-8FF3-7B02E0CB8B4F}"/>
                  </a:ext>
                </a:extLst>
              </p:cNvPr>
              <p:cNvSpPr/>
              <p:nvPr/>
            </p:nvSpPr>
            <p:spPr>
              <a:xfrm>
                <a:off x="6191625" y="1405269"/>
                <a:ext cx="81451" cy="44043"/>
              </a:xfrm>
              <a:custGeom>
                <a:avLst/>
                <a:gdLst>
                  <a:gd name="connsiteX0" fmla="*/ 0 w 81451"/>
                  <a:gd name="connsiteY0" fmla="*/ 44044 h 44043"/>
                  <a:gd name="connsiteX1" fmla="*/ 37343 w 81451"/>
                  <a:gd name="connsiteY1" fmla="*/ 44044 h 44043"/>
                  <a:gd name="connsiteX2" fmla="*/ 81451 w 81451"/>
                  <a:gd name="connsiteY2" fmla="*/ 0 h 440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1451" h="44043">
                    <a:moveTo>
                      <a:pt x="0" y="44044"/>
                    </a:moveTo>
                    <a:lnTo>
                      <a:pt x="37343" y="44044"/>
                    </a:lnTo>
                    <a:lnTo>
                      <a:pt x="81451" y="0"/>
                    </a:lnTo>
                  </a:path>
                </a:pathLst>
              </a:custGeom>
              <a:noFill/>
              <a:ln w="19050" cap="sq">
                <a:solidFill>
                  <a:schemeClr val="accent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11" name="Forma livre: Forma 117">
                <a:extLst>
                  <a:ext uri="{FF2B5EF4-FFF2-40B4-BE49-F238E27FC236}">
                    <a16:creationId xmlns:a16="http://schemas.microsoft.com/office/drawing/2014/main" id="{9DB7DC38-8571-4213-86F2-9196F3BAFF50}"/>
                  </a:ext>
                </a:extLst>
              </p:cNvPr>
              <p:cNvSpPr/>
              <p:nvPr/>
            </p:nvSpPr>
            <p:spPr>
              <a:xfrm>
                <a:off x="6265075" y="1357908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0 h 55298"/>
                  <a:gd name="connsiteX2" fmla="*/ 0 w 55298"/>
                  <a:gd name="connsiteY2" fmla="*/ 27649 h 55298"/>
                  <a:gd name="connsiteX3" fmla="*/ 27649 w 55298"/>
                  <a:gd name="connsiteY3" fmla="*/ 55298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12361"/>
                      <a:pt x="42938" y="0"/>
                      <a:pt x="27649" y="0"/>
                    </a:cubicBezTo>
                    <a:cubicBezTo>
                      <a:pt x="12361" y="0"/>
                      <a:pt x="0" y="12361"/>
                      <a:pt x="0" y="27649"/>
                    </a:cubicBezTo>
                    <a:cubicBezTo>
                      <a:pt x="0" y="42938"/>
                      <a:pt x="12361" y="55298"/>
                      <a:pt x="27649" y="55298"/>
                    </a:cubicBezTo>
                    <a:cubicBezTo>
                      <a:pt x="42938" y="55298"/>
                      <a:pt x="55298" y="42938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accent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204" name="Gráfico 32">
              <a:extLst>
                <a:ext uri="{FF2B5EF4-FFF2-40B4-BE49-F238E27FC236}">
                  <a16:creationId xmlns:a16="http://schemas.microsoft.com/office/drawing/2014/main" id="{E20D96CC-A9F6-4370-9AE8-7B42B68DA1DC}"/>
                </a:ext>
              </a:extLst>
            </p:cNvPr>
            <p:cNvGrpSpPr/>
            <p:nvPr/>
          </p:nvGrpSpPr>
          <p:grpSpPr>
            <a:xfrm>
              <a:off x="6190910" y="1529723"/>
              <a:ext cx="123673" cy="55298"/>
              <a:chOff x="6190910" y="1529723"/>
              <a:chExt cx="123673" cy="55298"/>
            </a:xfrm>
            <a:noFill/>
          </p:grpSpPr>
          <p:sp>
            <p:nvSpPr>
              <p:cNvPr id="206" name="Forma livre: Forma 112">
                <a:extLst>
                  <a:ext uri="{FF2B5EF4-FFF2-40B4-BE49-F238E27FC236}">
                    <a16:creationId xmlns:a16="http://schemas.microsoft.com/office/drawing/2014/main" id="{651A4729-560D-45B4-B88A-5F5E6BC0F665}"/>
                  </a:ext>
                </a:extLst>
              </p:cNvPr>
              <p:cNvSpPr/>
              <p:nvPr/>
            </p:nvSpPr>
            <p:spPr>
              <a:xfrm>
                <a:off x="6190910" y="1557372"/>
                <a:ext cx="68765" cy="6505"/>
              </a:xfrm>
              <a:custGeom>
                <a:avLst/>
                <a:gdLst>
                  <a:gd name="connsiteX0" fmla="*/ 0 w 68765"/>
                  <a:gd name="connsiteY0" fmla="*/ 0 h 6505"/>
                  <a:gd name="connsiteX1" fmla="*/ 68765 w 68765"/>
                  <a:gd name="connsiteY1" fmla="*/ 0 h 65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8765" h="6505">
                    <a:moveTo>
                      <a:pt x="0" y="0"/>
                    </a:moveTo>
                    <a:lnTo>
                      <a:pt x="68765" y="0"/>
                    </a:lnTo>
                  </a:path>
                </a:pathLst>
              </a:custGeom>
              <a:ln w="19050" cap="sq">
                <a:solidFill>
                  <a:schemeClr val="accent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07" name="Forma livre: Forma 113">
                <a:extLst>
                  <a:ext uri="{FF2B5EF4-FFF2-40B4-BE49-F238E27FC236}">
                    <a16:creationId xmlns:a16="http://schemas.microsoft.com/office/drawing/2014/main" id="{4AD79670-CF45-4501-82AE-ED6FABA099F2}"/>
                  </a:ext>
                </a:extLst>
              </p:cNvPr>
              <p:cNvSpPr/>
              <p:nvPr/>
            </p:nvSpPr>
            <p:spPr>
              <a:xfrm>
                <a:off x="6259285" y="1529723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accent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205" name="Forma livre: Forma 111">
              <a:extLst>
                <a:ext uri="{FF2B5EF4-FFF2-40B4-BE49-F238E27FC236}">
                  <a16:creationId xmlns:a16="http://schemas.microsoft.com/office/drawing/2014/main" id="{245117E0-8E30-43FF-927B-572A06D2518A}"/>
                </a:ext>
              </a:extLst>
            </p:cNvPr>
            <p:cNvSpPr/>
            <p:nvPr/>
          </p:nvSpPr>
          <p:spPr>
            <a:xfrm>
              <a:off x="6152201" y="1686285"/>
              <a:ext cx="37362" cy="20848"/>
            </a:xfrm>
            <a:custGeom>
              <a:avLst/>
              <a:gdLst>
                <a:gd name="connsiteX0" fmla="*/ 0 w 37362"/>
                <a:gd name="connsiteY0" fmla="*/ 10505 h 20848"/>
                <a:gd name="connsiteX1" fmla="*/ 27064 w 37362"/>
                <a:gd name="connsiteY1" fmla="*/ 2373 h 20848"/>
                <a:gd name="connsiteX2" fmla="*/ 37343 w 37362"/>
                <a:gd name="connsiteY2" fmla="*/ 20849 h 20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7362" h="20848">
                  <a:moveTo>
                    <a:pt x="0" y="10505"/>
                  </a:moveTo>
                  <a:cubicBezTo>
                    <a:pt x="5205" y="811"/>
                    <a:pt x="17435" y="-2832"/>
                    <a:pt x="27064" y="2373"/>
                  </a:cubicBezTo>
                  <a:cubicBezTo>
                    <a:pt x="34025" y="6081"/>
                    <a:pt x="37668" y="13432"/>
                    <a:pt x="37343" y="20849"/>
                  </a:cubicBezTo>
                </a:path>
              </a:pathLst>
            </a:custGeom>
            <a:noFill/>
            <a:ln w="19050" cap="sq">
              <a:solidFill>
                <a:schemeClr val="accent1"/>
              </a:solidFill>
              <a:prstDash val="solid"/>
              <a:miter lim="800000"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222" name="Agrupar 128">
            <a:extLst>
              <a:ext uri="{FF2B5EF4-FFF2-40B4-BE49-F238E27FC236}">
                <a16:creationId xmlns:a16="http://schemas.microsoft.com/office/drawing/2014/main" id="{827AA61D-28C8-40B7-A4DA-E9C3722250CA}"/>
              </a:ext>
            </a:extLst>
          </p:cNvPr>
          <p:cNvGrpSpPr/>
          <p:nvPr/>
        </p:nvGrpSpPr>
        <p:grpSpPr>
          <a:xfrm>
            <a:off x="9860033" y="5489767"/>
            <a:ext cx="307441" cy="335743"/>
            <a:chOff x="6000092" y="1357908"/>
            <a:chExt cx="365300" cy="398929"/>
          </a:xfrm>
        </p:grpSpPr>
        <p:sp>
          <p:nvSpPr>
            <p:cNvPr id="223" name="Forma livre: Forma 129">
              <a:extLst>
                <a:ext uri="{FF2B5EF4-FFF2-40B4-BE49-F238E27FC236}">
                  <a16:creationId xmlns:a16="http://schemas.microsoft.com/office/drawing/2014/main" id="{6E42EB4B-5DE5-48EA-9545-C199F74BAE39}"/>
                </a:ext>
              </a:extLst>
            </p:cNvPr>
            <p:cNvSpPr/>
            <p:nvPr/>
          </p:nvSpPr>
          <p:spPr>
            <a:xfrm>
              <a:off x="6000092" y="1418606"/>
              <a:ext cx="84058" cy="286120"/>
            </a:xfrm>
            <a:custGeom>
              <a:avLst/>
              <a:gdLst>
                <a:gd name="connsiteX0" fmla="*/ 51595 w 84058"/>
                <a:gd name="connsiteY0" fmla="*/ 0 h 286120"/>
                <a:gd name="connsiteX1" fmla="*/ 35266 w 84058"/>
                <a:gd name="connsiteY1" fmla="*/ 61674 h 286120"/>
                <a:gd name="connsiteX2" fmla="*/ 28760 w 84058"/>
                <a:gd name="connsiteY2" fmla="*/ 193415 h 286120"/>
                <a:gd name="connsiteX3" fmla="*/ 84059 w 84058"/>
                <a:gd name="connsiteY3" fmla="*/ 286121 h 2861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4058" h="286120">
                  <a:moveTo>
                    <a:pt x="51595" y="0"/>
                  </a:moveTo>
                  <a:cubicBezTo>
                    <a:pt x="37868" y="7872"/>
                    <a:pt x="26028" y="24852"/>
                    <a:pt x="35266" y="61674"/>
                  </a:cubicBezTo>
                  <a:cubicBezTo>
                    <a:pt x="35266" y="61674"/>
                    <a:pt x="-39549" y="126731"/>
                    <a:pt x="28760" y="193415"/>
                  </a:cubicBezTo>
                  <a:cubicBezTo>
                    <a:pt x="28760" y="193415"/>
                    <a:pt x="9243" y="281242"/>
                    <a:pt x="84059" y="286121"/>
                  </a:cubicBezTo>
                </a:path>
              </a:pathLst>
            </a:custGeom>
            <a:noFill/>
            <a:ln w="19050" cap="sq">
              <a:solidFill>
                <a:schemeClr val="accent1"/>
              </a:solidFill>
              <a:prstDash val="solid"/>
              <a:miter lim="800000"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224" name="Gráfico 32">
              <a:extLst>
                <a:ext uri="{FF2B5EF4-FFF2-40B4-BE49-F238E27FC236}">
                  <a16:creationId xmlns:a16="http://schemas.microsoft.com/office/drawing/2014/main" id="{C69C44E6-ADB1-4994-B565-1BA42FA7B8FF}"/>
                </a:ext>
              </a:extLst>
            </p:cNvPr>
            <p:cNvGrpSpPr/>
            <p:nvPr/>
          </p:nvGrpSpPr>
          <p:grpSpPr>
            <a:xfrm>
              <a:off x="6061121" y="1359924"/>
              <a:ext cx="128487" cy="396366"/>
              <a:chOff x="6061121" y="1359924"/>
              <a:chExt cx="128487" cy="396366"/>
            </a:xfrm>
            <a:noFill/>
          </p:grpSpPr>
          <p:sp>
            <p:nvSpPr>
              <p:cNvPr id="239" name="Forma livre: Forma 145">
                <a:extLst>
                  <a:ext uri="{FF2B5EF4-FFF2-40B4-BE49-F238E27FC236}">
                    <a16:creationId xmlns:a16="http://schemas.microsoft.com/office/drawing/2014/main" id="{42C26281-16FB-4696-B3DE-E558B333F671}"/>
                  </a:ext>
                </a:extLst>
              </p:cNvPr>
              <p:cNvSpPr/>
              <p:nvPr/>
            </p:nvSpPr>
            <p:spPr>
              <a:xfrm>
                <a:off x="6083891" y="1359924"/>
                <a:ext cx="105717" cy="396366"/>
              </a:xfrm>
              <a:custGeom>
                <a:avLst/>
                <a:gdLst>
                  <a:gd name="connsiteX0" fmla="*/ 52891 w 105717"/>
                  <a:gd name="connsiteY0" fmla="*/ 105718 h 396366"/>
                  <a:gd name="connsiteX1" fmla="*/ 0 w 105717"/>
                  <a:gd name="connsiteY1" fmla="*/ 52891 h 396366"/>
                  <a:gd name="connsiteX2" fmla="*/ 52891 w 105717"/>
                  <a:gd name="connsiteY2" fmla="*/ 0 h 396366"/>
                  <a:gd name="connsiteX3" fmla="*/ 105718 w 105717"/>
                  <a:gd name="connsiteY3" fmla="*/ 52826 h 396366"/>
                  <a:gd name="connsiteX4" fmla="*/ 105718 w 105717"/>
                  <a:gd name="connsiteY4" fmla="*/ 346884 h 396366"/>
                  <a:gd name="connsiteX5" fmla="*/ 80606 w 105717"/>
                  <a:gd name="connsiteY5" fmla="*/ 388911 h 396366"/>
                  <a:gd name="connsiteX6" fmla="*/ 9238 w 105717"/>
                  <a:gd name="connsiteY6" fmla="*/ 371150 h 396366"/>
                  <a:gd name="connsiteX7" fmla="*/ 15484 w 105717"/>
                  <a:gd name="connsiteY7" fmla="*/ 309216 h 396366"/>
                  <a:gd name="connsiteX8" fmla="*/ 45019 w 105717"/>
                  <a:gd name="connsiteY8" fmla="*/ 277078 h 3963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05717" h="396366">
                    <a:moveTo>
                      <a:pt x="52891" y="105718"/>
                    </a:moveTo>
                    <a:cubicBezTo>
                      <a:pt x="23681" y="105718"/>
                      <a:pt x="0" y="82037"/>
                      <a:pt x="0" y="52891"/>
                    </a:cubicBezTo>
                    <a:cubicBezTo>
                      <a:pt x="0" y="23746"/>
                      <a:pt x="23681" y="0"/>
                      <a:pt x="52891" y="0"/>
                    </a:cubicBezTo>
                    <a:cubicBezTo>
                      <a:pt x="82102" y="0"/>
                      <a:pt x="105718" y="23681"/>
                      <a:pt x="105718" y="52826"/>
                    </a:cubicBezTo>
                    <a:lnTo>
                      <a:pt x="105718" y="346884"/>
                    </a:lnTo>
                    <a:cubicBezTo>
                      <a:pt x="105718" y="364580"/>
                      <a:pt x="96414" y="379413"/>
                      <a:pt x="80606" y="388911"/>
                    </a:cubicBezTo>
                    <a:cubicBezTo>
                      <a:pt x="55949" y="403744"/>
                      <a:pt x="24006" y="395742"/>
                      <a:pt x="9238" y="371150"/>
                    </a:cubicBezTo>
                    <a:cubicBezTo>
                      <a:pt x="-2928" y="350918"/>
                      <a:pt x="260" y="325741"/>
                      <a:pt x="15484" y="309216"/>
                    </a:cubicBezTo>
                    <a:lnTo>
                      <a:pt x="45019" y="277078"/>
                    </a:lnTo>
                  </a:path>
                </a:pathLst>
              </a:custGeom>
              <a:noFill/>
              <a:ln w="19050" cap="sq">
                <a:solidFill>
                  <a:schemeClr val="accent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40" name="Forma livre: Forma 146">
                <a:extLst>
                  <a:ext uri="{FF2B5EF4-FFF2-40B4-BE49-F238E27FC236}">
                    <a16:creationId xmlns:a16="http://schemas.microsoft.com/office/drawing/2014/main" id="{44C74967-F142-4BB8-B565-D97B03ADBA7C}"/>
                  </a:ext>
                </a:extLst>
              </p:cNvPr>
              <p:cNvSpPr/>
              <p:nvPr/>
            </p:nvSpPr>
            <p:spPr>
              <a:xfrm>
                <a:off x="6144784" y="1383865"/>
                <a:ext cx="41563" cy="38963"/>
              </a:xfrm>
              <a:custGeom>
                <a:avLst/>
                <a:gdLst>
                  <a:gd name="connsiteX0" fmla="*/ 36172 w 41563"/>
                  <a:gd name="connsiteY0" fmla="*/ 0 h 38963"/>
                  <a:gd name="connsiteX1" fmla="*/ 39425 w 41563"/>
                  <a:gd name="connsiteY1" fmla="*/ 24266 h 38963"/>
                  <a:gd name="connsiteX2" fmla="*/ 36432 w 41563"/>
                  <a:gd name="connsiteY2" fmla="*/ 29080 h 38963"/>
                  <a:gd name="connsiteX3" fmla="*/ 0 w 41563"/>
                  <a:gd name="connsiteY3" fmla="*/ 33439 h 389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563" h="38963">
                    <a:moveTo>
                      <a:pt x="36172" y="0"/>
                    </a:moveTo>
                    <a:cubicBezTo>
                      <a:pt x="41571" y="7547"/>
                      <a:pt x="43393" y="16004"/>
                      <a:pt x="39425" y="24266"/>
                    </a:cubicBezTo>
                    <a:cubicBezTo>
                      <a:pt x="38644" y="25893"/>
                      <a:pt x="37603" y="27519"/>
                      <a:pt x="36432" y="29080"/>
                    </a:cubicBezTo>
                    <a:cubicBezTo>
                      <a:pt x="27584" y="40270"/>
                      <a:pt x="11190" y="42287"/>
                      <a:pt x="0" y="33439"/>
                    </a:cubicBezTo>
                  </a:path>
                </a:pathLst>
              </a:custGeom>
              <a:noFill/>
              <a:ln w="19050" cap="sq">
                <a:solidFill>
                  <a:schemeClr val="accent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41" name="Forma livre: Forma 147">
                <a:extLst>
                  <a:ext uri="{FF2B5EF4-FFF2-40B4-BE49-F238E27FC236}">
                    <a16:creationId xmlns:a16="http://schemas.microsoft.com/office/drawing/2014/main" id="{E8151C20-AD94-4310-B6CF-5DBBD6AB60D2}"/>
                  </a:ext>
                </a:extLst>
              </p:cNvPr>
              <p:cNvSpPr/>
              <p:nvPr/>
            </p:nvSpPr>
            <p:spPr>
              <a:xfrm>
                <a:off x="6081487" y="1460806"/>
                <a:ext cx="34217" cy="54474"/>
              </a:xfrm>
              <a:custGeom>
                <a:avLst/>
                <a:gdLst>
                  <a:gd name="connsiteX0" fmla="*/ 21076 w 34217"/>
                  <a:gd name="connsiteY0" fmla="*/ 54475 h 54474"/>
                  <a:gd name="connsiteX1" fmla="*/ 778 w 34217"/>
                  <a:gd name="connsiteY1" fmla="*/ 21035 h 54474"/>
                  <a:gd name="connsiteX2" fmla="*/ 34217 w 34217"/>
                  <a:gd name="connsiteY2" fmla="*/ 803 h 544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4217" h="54474">
                    <a:moveTo>
                      <a:pt x="21076" y="54475"/>
                    </a:moveTo>
                    <a:cubicBezTo>
                      <a:pt x="6308" y="50832"/>
                      <a:pt x="-2800" y="35803"/>
                      <a:pt x="778" y="21035"/>
                    </a:cubicBezTo>
                    <a:cubicBezTo>
                      <a:pt x="4421" y="6267"/>
                      <a:pt x="19449" y="-2841"/>
                      <a:pt x="34217" y="803"/>
                    </a:cubicBezTo>
                  </a:path>
                </a:pathLst>
              </a:custGeom>
              <a:noFill/>
              <a:ln w="19050" cap="sq">
                <a:solidFill>
                  <a:schemeClr val="accent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42" name="Forma livre: Forma 148">
                <a:extLst>
                  <a:ext uri="{FF2B5EF4-FFF2-40B4-BE49-F238E27FC236}">
                    <a16:creationId xmlns:a16="http://schemas.microsoft.com/office/drawing/2014/main" id="{890870DD-BB6B-4E39-8392-FA82023A4AAC}"/>
                  </a:ext>
                </a:extLst>
              </p:cNvPr>
              <p:cNvSpPr/>
              <p:nvPr/>
            </p:nvSpPr>
            <p:spPr>
              <a:xfrm>
                <a:off x="6073547" y="1527543"/>
                <a:ext cx="114760" cy="72506"/>
              </a:xfrm>
              <a:custGeom>
                <a:avLst/>
                <a:gdLst>
                  <a:gd name="connsiteX0" fmla="*/ 114760 w 114760"/>
                  <a:gd name="connsiteY0" fmla="*/ 7254 h 72506"/>
                  <a:gd name="connsiteX1" fmla="*/ 73905 w 114760"/>
                  <a:gd name="connsiteY1" fmla="*/ 8881 h 72506"/>
                  <a:gd name="connsiteX2" fmla="*/ 0 w 114760"/>
                  <a:gd name="connsiteY2" fmla="*/ 72506 h 725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14760" h="72506">
                    <a:moveTo>
                      <a:pt x="114760" y="7254"/>
                    </a:moveTo>
                    <a:cubicBezTo>
                      <a:pt x="103375" y="-2830"/>
                      <a:pt x="83989" y="-2504"/>
                      <a:pt x="73905" y="8881"/>
                    </a:cubicBezTo>
                    <a:cubicBezTo>
                      <a:pt x="73905" y="8881"/>
                      <a:pt x="31488" y="72506"/>
                      <a:pt x="0" y="72506"/>
                    </a:cubicBezTo>
                  </a:path>
                </a:pathLst>
              </a:custGeom>
              <a:noFill/>
              <a:ln w="19050" cap="sq">
                <a:solidFill>
                  <a:schemeClr val="accent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43" name="Forma livre: Forma 149">
                <a:extLst>
                  <a:ext uri="{FF2B5EF4-FFF2-40B4-BE49-F238E27FC236}">
                    <a16:creationId xmlns:a16="http://schemas.microsoft.com/office/drawing/2014/main" id="{BAC3203F-B7DB-4CA9-BE31-ED3FFA4B4F3C}"/>
                  </a:ext>
                </a:extLst>
              </p:cNvPr>
              <p:cNvSpPr/>
              <p:nvPr/>
            </p:nvSpPr>
            <p:spPr>
              <a:xfrm>
                <a:off x="6079857" y="1646956"/>
                <a:ext cx="29405" cy="9823"/>
              </a:xfrm>
              <a:custGeom>
                <a:avLst/>
                <a:gdLst>
                  <a:gd name="connsiteX0" fmla="*/ 0 w 29405"/>
                  <a:gd name="connsiteY0" fmla="*/ 0 h 9823"/>
                  <a:gd name="connsiteX1" fmla="*/ 29406 w 29405"/>
                  <a:gd name="connsiteY1" fmla="*/ 9824 h 98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9405" h="9823">
                    <a:moveTo>
                      <a:pt x="0" y="0"/>
                    </a:moveTo>
                    <a:lnTo>
                      <a:pt x="29406" y="9824"/>
                    </a:lnTo>
                  </a:path>
                </a:pathLst>
              </a:custGeom>
              <a:ln w="19050" cap="sq">
                <a:solidFill>
                  <a:schemeClr val="accent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44" name="Forma livre: Forma 150">
                <a:extLst>
                  <a:ext uri="{FF2B5EF4-FFF2-40B4-BE49-F238E27FC236}">
                    <a16:creationId xmlns:a16="http://schemas.microsoft.com/office/drawing/2014/main" id="{3AA4CD6B-6773-43AB-81EC-4B0EA0B15E36}"/>
                  </a:ext>
                </a:extLst>
              </p:cNvPr>
              <p:cNvSpPr/>
              <p:nvPr/>
            </p:nvSpPr>
            <p:spPr>
              <a:xfrm>
                <a:off x="6061121" y="1545272"/>
                <a:ext cx="47166" cy="34154"/>
              </a:xfrm>
              <a:custGeom>
                <a:avLst/>
                <a:gdLst>
                  <a:gd name="connsiteX0" fmla="*/ 0 w 47166"/>
                  <a:gd name="connsiteY0" fmla="*/ 0 h 34154"/>
                  <a:gd name="connsiteX1" fmla="*/ 47166 w 47166"/>
                  <a:gd name="connsiteY1" fmla="*/ 34155 h 341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166" h="34154">
                    <a:moveTo>
                      <a:pt x="0" y="0"/>
                    </a:moveTo>
                    <a:cubicBezTo>
                      <a:pt x="0" y="0"/>
                      <a:pt x="27649" y="13011"/>
                      <a:pt x="47166" y="34155"/>
                    </a:cubicBezTo>
                  </a:path>
                </a:pathLst>
              </a:custGeom>
              <a:noFill/>
              <a:ln w="19050" cap="sq">
                <a:solidFill>
                  <a:schemeClr val="accent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225" name="Gráfico 32">
              <a:extLst>
                <a:ext uri="{FF2B5EF4-FFF2-40B4-BE49-F238E27FC236}">
                  <a16:creationId xmlns:a16="http://schemas.microsoft.com/office/drawing/2014/main" id="{5420FC7B-1047-4981-A4D2-E02377F5AC9F}"/>
                </a:ext>
              </a:extLst>
            </p:cNvPr>
            <p:cNvGrpSpPr/>
            <p:nvPr/>
          </p:nvGrpSpPr>
          <p:grpSpPr>
            <a:xfrm>
              <a:off x="6191625" y="1599725"/>
              <a:ext cx="173767" cy="157112"/>
              <a:chOff x="6191625" y="1599725"/>
              <a:chExt cx="173767" cy="157112"/>
            </a:xfrm>
            <a:noFill/>
          </p:grpSpPr>
          <p:sp>
            <p:nvSpPr>
              <p:cNvPr id="235" name="Forma livre: Forma 141">
                <a:extLst>
                  <a:ext uri="{FF2B5EF4-FFF2-40B4-BE49-F238E27FC236}">
                    <a16:creationId xmlns:a16="http://schemas.microsoft.com/office/drawing/2014/main" id="{11A4450C-8669-4664-8D1F-4B57943199F1}"/>
                  </a:ext>
                </a:extLst>
              </p:cNvPr>
              <p:cNvSpPr/>
              <p:nvPr/>
            </p:nvSpPr>
            <p:spPr>
              <a:xfrm>
                <a:off x="6310094" y="1621974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accent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36" name="Forma livre: Forma 142">
                <a:extLst>
                  <a:ext uri="{FF2B5EF4-FFF2-40B4-BE49-F238E27FC236}">
                    <a16:creationId xmlns:a16="http://schemas.microsoft.com/office/drawing/2014/main" id="{BCFAC27E-25F9-4D19-863E-E4140BCA7A62}"/>
                  </a:ext>
                </a:extLst>
              </p:cNvPr>
              <p:cNvSpPr/>
              <p:nvPr/>
            </p:nvSpPr>
            <p:spPr>
              <a:xfrm>
                <a:off x="6191625" y="1599725"/>
                <a:ext cx="118078" cy="49898"/>
              </a:xfrm>
              <a:custGeom>
                <a:avLst/>
                <a:gdLst>
                  <a:gd name="connsiteX0" fmla="*/ 0 w 118078"/>
                  <a:gd name="connsiteY0" fmla="*/ 0 h 49898"/>
                  <a:gd name="connsiteX1" fmla="*/ 37343 w 118078"/>
                  <a:gd name="connsiteY1" fmla="*/ 0 h 49898"/>
                  <a:gd name="connsiteX2" fmla="*/ 87176 w 118078"/>
                  <a:gd name="connsiteY2" fmla="*/ 49899 h 49898"/>
                  <a:gd name="connsiteX3" fmla="*/ 118078 w 118078"/>
                  <a:gd name="connsiteY3" fmla="*/ 49899 h 49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8078" h="49898">
                    <a:moveTo>
                      <a:pt x="0" y="0"/>
                    </a:moveTo>
                    <a:lnTo>
                      <a:pt x="37343" y="0"/>
                    </a:lnTo>
                    <a:lnTo>
                      <a:pt x="87176" y="49899"/>
                    </a:lnTo>
                    <a:lnTo>
                      <a:pt x="118078" y="49899"/>
                    </a:lnTo>
                  </a:path>
                </a:pathLst>
              </a:custGeom>
              <a:noFill/>
              <a:ln w="19050" cap="sq">
                <a:solidFill>
                  <a:schemeClr val="accent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37" name="Forma livre: Forma 143">
                <a:extLst>
                  <a:ext uri="{FF2B5EF4-FFF2-40B4-BE49-F238E27FC236}">
                    <a16:creationId xmlns:a16="http://schemas.microsoft.com/office/drawing/2014/main" id="{9225497E-97B1-4721-84FA-A9DF66F5581F}"/>
                  </a:ext>
                </a:extLst>
              </p:cNvPr>
              <p:cNvSpPr/>
              <p:nvPr/>
            </p:nvSpPr>
            <p:spPr>
              <a:xfrm>
                <a:off x="6191625" y="1665367"/>
                <a:ext cx="81906" cy="44108"/>
              </a:xfrm>
              <a:custGeom>
                <a:avLst/>
                <a:gdLst>
                  <a:gd name="connsiteX0" fmla="*/ 0 w 81906"/>
                  <a:gd name="connsiteY0" fmla="*/ 0 h 44108"/>
                  <a:gd name="connsiteX1" fmla="*/ 37343 w 81906"/>
                  <a:gd name="connsiteY1" fmla="*/ 0 h 44108"/>
                  <a:gd name="connsiteX2" fmla="*/ 81907 w 81906"/>
                  <a:gd name="connsiteY2" fmla="*/ 44109 h 441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1906" h="44108">
                    <a:moveTo>
                      <a:pt x="0" y="0"/>
                    </a:moveTo>
                    <a:lnTo>
                      <a:pt x="37343" y="0"/>
                    </a:lnTo>
                    <a:lnTo>
                      <a:pt x="81907" y="44109"/>
                    </a:lnTo>
                  </a:path>
                </a:pathLst>
              </a:custGeom>
              <a:noFill/>
              <a:ln w="19050" cap="sq">
                <a:solidFill>
                  <a:schemeClr val="accent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38" name="Forma livre: Forma 144">
                <a:extLst>
                  <a:ext uri="{FF2B5EF4-FFF2-40B4-BE49-F238E27FC236}">
                    <a16:creationId xmlns:a16="http://schemas.microsoft.com/office/drawing/2014/main" id="{8E338C23-FAE5-4FF3-8162-52C0192833EB}"/>
                  </a:ext>
                </a:extLst>
              </p:cNvPr>
              <p:cNvSpPr/>
              <p:nvPr/>
            </p:nvSpPr>
            <p:spPr>
              <a:xfrm>
                <a:off x="6265075" y="1701539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accent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226" name="Gráfico 32">
              <a:extLst>
                <a:ext uri="{FF2B5EF4-FFF2-40B4-BE49-F238E27FC236}">
                  <a16:creationId xmlns:a16="http://schemas.microsoft.com/office/drawing/2014/main" id="{C0D11AF6-6BCE-418E-81B3-03B94A63EB28}"/>
                </a:ext>
              </a:extLst>
            </p:cNvPr>
            <p:cNvGrpSpPr/>
            <p:nvPr/>
          </p:nvGrpSpPr>
          <p:grpSpPr>
            <a:xfrm>
              <a:off x="6191625" y="1357908"/>
              <a:ext cx="173767" cy="157112"/>
              <a:chOff x="6191625" y="1357908"/>
              <a:chExt cx="173767" cy="157112"/>
            </a:xfrm>
            <a:noFill/>
          </p:grpSpPr>
          <p:sp>
            <p:nvSpPr>
              <p:cNvPr id="231" name="Forma livre: Forma 137">
                <a:extLst>
                  <a:ext uri="{FF2B5EF4-FFF2-40B4-BE49-F238E27FC236}">
                    <a16:creationId xmlns:a16="http://schemas.microsoft.com/office/drawing/2014/main" id="{4F7912F6-0A43-4C0D-8D5D-711E92963038}"/>
                  </a:ext>
                </a:extLst>
              </p:cNvPr>
              <p:cNvSpPr/>
              <p:nvPr/>
            </p:nvSpPr>
            <p:spPr>
              <a:xfrm>
                <a:off x="6310094" y="1437472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0 h 55298"/>
                  <a:gd name="connsiteX2" fmla="*/ 0 w 55298"/>
                  <a:gd name="connsiteY2" fmla="*/ 27649 h 55298"/>
                  <a:gd name="connsiteX3" fmla="*/ 27649 w 55298"/>
                  <a:gd name="connsiteY3" fmla="*/ 55298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12361"/>
                      <a:pt x="42938" y="0"/>
                      <a:pt x="27649" y="0"/>
                    </a:cubicBezTo>
                    <a:cubicBezTo>
                      <a:pt x="12361" y="0"/>
                      <a:pt x="0" y="12361"/>
                      <a:pt x="0" y="27649"/>
                    </a:cubicBezTo>
                    <a:cubicBezTo>
                      <a:pt x="0" y="42938"/>
                      <a:pt x="12361" y="55298"/>
                      <a:pt x="27649" y="55298"/>
                    </a:cubicBezTo>
                    <a:cubicBezTo>
                      <a:pt x="42938" y="55298"/>
                      <a:pt x="55298" y="42938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accent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32" name="Forma livre: Forma 138">
                <a:extLst>
                  <a:ext uri="{FF2B5EF4-FFF2-40B4-BE49-F238E27FC236}">
                    <a16:creationId xmlns:a16="http://schemas.microsoft.com/office/drawing/2014/main" id="{AE1D0D8C-1DAD-4B47-8BE0-F11BF68D1FDC}"/>
                  </a:ext>
                </a:extLst>
              </p:cNvPr>
              <p:cNvSpPr/>
              <p:nvPr/>
            </p:nvSpPr>
            <p:spPr>
              <a:xfrm>
                <a:off x="6191625" y="1465122"/>
                <a:ext cx="118468" cy="49898"/>
              </a:xfrm>
              <a:custGeom>
                <a:avLst/>
                <a:gdLst>
                  <a:gd name="connsiteX0" fmla="*/ 0 w 118468"/>
                  <a:gd name="connsiteY0" fmla="*/ 49899 h 49898"/>
                  <a:gd name="connsiteX1" fmla="*/ 37343 w 118468"/>
                  <a:gd name="connsiteY1" fmla="*/ 49899 h 49898"/>
                  <a:gd name="connsiteX2" fmla="*/ 87176 w 118468"/>
                  <a:gd name="connsiteY2" fmla="*/ 0 h 49898"/>
                  <a:gd name="connsiteX3" fmla="*/ 118469 w 118468"/>
                  <a:gd name="connsiteY3" fmla="*/ 0 h 49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8468" h="49898">
                    <a:moveTo>
                      <a:pt x="0" y="49899"/>
                    </a:moveTo>
                    <a:lnTo>
                      <a:pt x="37343" y="49899"/>
                    </a:lnTo>
                    <a:lnTo>
                      <a:pt x="87176" y="0"/>
                    </a:lnTo>
                    <a:lnTo>
                      <a:pt x="118469" y="0"/>
                    </a:lnTo>
                  </a:path>
                </a:pathLst>
              </a:custGeom>
              <a:noFill/>
              <a:ln w="19050" cap="sq">
                <a:solidFill>
                  <a:schemeClr val="accent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33" name="Forma livre: Forma 139">
                <a:extLst>
                  <a:ext uri="{FF2B5EF4-FFF2-40B4-BE49-F238E27FC236}">
                    <a16:creationId xmlns:a16="http://schemas.microsoft.com/office/drawing/2014/main" id="{7756BFD0-37EC-4F30-855E-2E3C70C920A2}"/>
                  </a:ext>
                </a:extLst>
              </p:cNvPr>
              <p:cNvSpPr/>
              <p:nvPr/>
            </p:nvSpPr>
            <p:spPr>
              <a:xfrm>
                <a:off x="6191625" y="1405269"/>
                <a:ext cx="81451" cy="44043"/>
              </a:xfrm>
              <a:custGeom>
                <a:avLst/>
                <a:gdLst>
                  <a:gd name="connsiteX0" fmla="*/ 0 w 81451"/>
                  <a:gd name="connsiteY0" fmla="*/ 44044 h 44043"/>
                  <a:gd name="connsiteX1" fmla="*/ 37343 w 81451"/>
                  <a:gd name="connsiteY1" fmla="*/ 44044 h 44043"/>
                  <a:gd name="connsiteX2" fmla="*/ 81451 w 81451"/>
                  <a:gd name="connsiteY2" fmla="*/ 0 h 440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1451" h="44043">
                    <a:moveTo>
                      <a:pt x="0" y="44044"/>
                    </a:moveTo>
                    <a:lnTo>
                      <a:pt x="37343" y="44044"/>
                    </a:lnTo>
                    <a:lnTo>
                      <a:pt x="81451" y="0"/>
                    </a:lnTo>
                  </a:path>
                </a:pathLst>
              </a:custGeom>
              <a:noFill/>
              <a:ln w="19050" cap="sq">
                <a:solidFill>
                  <a:schemeClr val="accent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34" name="Forma livre: Forma 140">
                <a:extLst>
                  <a:ext uri="{FF2B5EF4-FFF2-40B4-BE49-F238E27FC236}">
                    <a16:creationId xmlns:a16="http://schemas.microsoft.com/office/drawing/2014/main" id="{49D7BCE8-0192-458C-8F78-7D1BAE06B682}"/>
                  </a:ext>
                </a:extLst>
              </p:cNvPr>
              <p:cNvSpPr/>
              <p:nvPr/>
            </p:nvSpPr>
            <p:spPr>
              <a:xfrm>
                <a:off x="6265075" y="1357908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0 h 55298"/>
                  <a:gd name="connsiteX2" fmla="*/ 0 w 55298"/>
                  <a:gd name="connsiteY2" fmla="*/ 27649 h 55298"/>
                  <a:gd name="connsiteX3" fmla="*/ 27649 w 55298"/>
                  <a:gd name="connsiteY3" fmla="*/ 55298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12361"/>
                      <a:pt x="42938" y="0"/>
                      <a:pt x="27649" y="0"/>
                    </a:cubicBezTo>
                    <a:cubicBezTo>
                      <a:pt x="12361" y="0"/>
                      <a:pt x="0" y="12361"/>
                      <a:pt x="0" y="27649"/>
                    </a:cubicBezTo>
                    <a:cubicBezTo>
                      <a:pt x="0" y="42938"/>
                      <a:pt x="12361" y="55298"/>
                      <a:pt x="27649" y="55298"/>
                    </a:cubicBezTo>
                    <a:cubicBezTo>
                      <a:pt x="42938" y="55298"/>
                      <a:pt x="55298" y="42938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accent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227" name="Gráfico 32">
              <a:extLst>
                <a:ext uri="{FF2B5EF4-FFF2-40B4-BE49-F238E27FC236}">
                  <a16:creationId xmlns:a16="http://schemas.microsoft.com/office/drawing/2014/main" id="{3D977D79-2590-41DD-9D36-1388C2ABF444}"/>
                </a:ext>
              </a:extLst>
            </p:cNvPr>
            <p:cNvGrpSpPr/>
            <p:nvPr/>
          </p:nvGrpSpPr>
          <p:grpSpPr>
            <a:xfrm>
              <a:off x="6190910" y="1529723"/>
              <a:ext cx="123673" cy="55298"/>
              <a:chOff x="6190910" y="1529723"/>
              <a:chExt cx="123673" cy="55298"/>
            </a:xfrm>
            <a:noFill/>
          </p:grpSpPr>
          <p:sp>
            <p:nvSpPr>
              <p:cNvPr id="229" name="Forma livre: Forma 135">
                <a:extLst>
                  <a:ext uri="{FF2B5EF4-FFF2-40B4-BE49-F238E27FC236}">
                    <a16:creationId xmlns:a16="http://schemas.microsoft.com/office/drawing/2014/main" id="{F91B1DD4-E13B-42B4-ABB6-2B6D61EBE1C1}"/>
                  </a:ext>
                </a:extLst>
              </p:cNvPr>
              <p:cNvSpPr/>
              <p:nvPr/>
            </p:nvSpPr>
            <p:spPr>
              <a:xfrm>
                <a:off x="6190910" y="1557372"/>
                <a:ext cx="68765" cy="6505"/>
              </a:xfrm>
              <a:custGeom>
                <a:avLst/>
                <a:gdLst>
                  <a:gd name="connsiteX0" fmla="*/ 0 w 68765"/>
                  <a:gd name="connsiteY0" fmla="*/ 0 h 6505"/>
                  <a:gd name="connsiteX1" fmla="*/ 68765 w 68765"/>
                  <a:gd name="connsiteY1" fmla="*/ 0 h 65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8765" h="6505">
                    <a:moveTo>
                      <a:pt x="0" y="0"/>
                    </a:moveTo>
                    <a:lnTo>
                      <a:pt x="68765" y="0"/>
                    </a:lnTo>
                  </a:path>
                </a:pathLst>
              </a:custGeom>
              <a:ln w="19050" cap="sq">
                <a:solidFill>
                  <a:schemeClr val="accent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30" name="Forma livre: Forma 136">
                <a:extLst>
                  <a:ext uri="{FF2B5EF4-FFF2-40B4-BE49-F238E27FC236}">
                    <a16:creationId xmlns:a16="http://schemas.microsoft.com/office/drawing/2014/main" id="{E2A2DAE9-447C-42B4-8F13-E9465CD96D63}"/>
                  </a:ext>
                </a:extLst>
              </p:cNvPr>
              <p:cNvSpPr/>
              <p:nvPr/>
            </p:nvSpPr>
            <p:spPr>
              <a:xfrm>
                <a:off x="6259285" y="1529723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accent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228" name="Forma livre: Forma 134">
              <a:extLst>
                <a:ext uri="{FF2B5EF4-FFF2-40B4-BE49-F238E27FC236}">
                  <a16:creationId xmlns:a16="http://schemas.microsoft.com/office/drawing/2014/main" id="{4446173D-F149-456A-9637-A48178AC02AE}"/>
                </a:ext>
              </a:extLst>
            </p:cNvPr>
            <p:cNvSpPr/>
            <p:nvPr/>
          </p:nvSpPr>
          <p:spPr>
            <a:xfrm>
              <a:off x="6152201" y="1686285"/>
              <a:ext cx="37362" cy="20848"/>
            </a:xfrm>
            <a:custGeom>
              <a:avLst/>
              <a:gdLst>
                <a:gd name="connsiteX0" fmla="*/ 0 w 37362"/>
                <a:gd name="connsiteY0" fmla="*/ 10505 h 20848"/>
                <a:gd name="connsiteX1" fmla="*/ 27064 w 37362"/>
                <a:gd name="connsiteY1" fmla="*/ 2373 h 20848"/>
                <a:gd name="connsiteX2" fmla="*/ 37343 w 37362"/>
                <a:gd name="connsiteY2" fmla="*/ 20849 h 20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7362" h="20848">
                  <a:moveTo>
                    <a:pt x="0" y="10505"/>
                  </a:moveTo>
                  <a:cubicBezTo>
                    <a:pt x="5205" y="811"/>
                    <a:pt x="17435" y="-2832"/>
                    <a:pt x="27064" y="2373"/>
                  </a:cubicBezTo>
                  <a:cubicBezTo>
                    <a:pt x="34025" y="6081"/>
                    <a:pt x="37668" y="13432"/>
                    <a:pt x="37343" y="20849"/>
                  </a:cubicBezTo>
                </a:path>
              </a:pathLst>
            </a:custGeom>
            <a:noFill/>
            <a:ln w="19050" cap="sq">
              <a:solidFill>
                <a:schemeClr val="accent1"/>
              </a:solidFill>
              <a:prstDash val="solid"/>
              <a:miter lim="800000"/>
            </a:ln>
          </p:spPr>
          <p:txBody>
            <a:bodyPr rtlCol="0" anchor="ctr"/>
            <a:lstStyle/>
            <a:p>
              <a:endParaRPr lang="pt-PT"/>
            </a:p>
          </p:txBody>
        </p:sp>
      </p:grpSp>
    </p:spTree>
    <p:extLst>
      <p:ext uri="{BB962C8B-B14F-4D97-AF65-F5344CB8AC3E}">
        <p14:creationId xmlns:p14="http://schemas.microsoft.com/office/powerpoint/2010/main" val="14901158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9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2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9" grpId="0" animBg="1"/>
    </p:bldLst>
  </p:timing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D5E95BA6-0648-66CA-09E1-26851C57162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pt-PT" dirty="0"/>
              <a:t>Ejemplo de título de slide</a:t>
            </a:r>
          </a:p>
        </p:txBody>
      </p:sp>
      <p:sp>
        <p:nvSpPr>
          <p:cNvPr id="3" name="Marcador de Posição do Texto 2">
            <a:extLst>
              <a:ext uri="{FF2B5EF4-FFF2-40B4-BE49-F238E27FC236}">
                <a16:creationId xmlns:a16="http://schemas.microsoft.com/office/drawing/2014/main" id="{C37CF878-87DA-E917-C13C-CFEFF7396F4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>
            <a:noAutofit/>
          </a:bodyPr>
          <a:lstStyle/>
          <a:p>
            <a:r>
              <a:rPr lang="pt-PT" dirty="0"/>
              <a:t>Ejemplo de</a:t>
            </a:r>
            <a:br>
              <a:rPr lang="pt-PT" dirty="0"/>
            </a:br>
            <a:r>
              <a:rPr lang="pt-PT" dirty="0"/>
              <a:t>subtítulo de slide</a:t>
            </a:r>
          </a:p>
        </p:txBody>
      </p:sp>
      <p:sp>
        <p:nvSpPr>
          <p:cNvPr id="4" name="Marcador de Posição do Texto 3">
            <a:extLst>
              <a:ext uri="{FF2B5EF4-FFF2-40B4-BE49-F238E27FC236}">
                <a16:creationId xmlns:a16="http://schemas.microsoft.com/office/drawing/2014/main" id="{165C37A6-4831-7BF9-847B-1674275EEC01}"/>
              </a:ext>
            </a:extLst>
          </p:cNvPr>
          <p:cNvSpPr>
            <a:spLocks noGrp="1"/>
          </p:cNvSpPr>
          <p:nvPr>
            <p:ph type="body" sz="quarter" idx="80"/>
          </p:nvPr>
        </p:nvSpPr>
        <p:spPr/>
        <p:txBody>
          <a:bodyPr/>
          <a:lstStyle/>
          <a:p>
            <a:r>
              <a:rPr lang="pt-PT" dirty="0" err="1"/>
              <a:t>Lorem</a:t>
            </a:r>
            <a:r>
              <a:rPr lang="pt-PT" dirty="0"/>
              <a:t> </a:t>
            </a:r>
            <a:r>
              <a:rPr lang="pt-PT" dirty="0" err="1"/>
              <a:t>ipsum</a:t>
            </a:r>
            <a:r>
              <a:rPr lang="pt-PT" dirty="0"/>
              <a:t> </a:t>
            </a:r>
            <a:r>
              <a:rPr lang="pt-PT" dirty="0" err="1"/>
              <a:t>dolor</a:t>
            </a:r>
            <a:r>
              <a:rPr lang="pt-PT" dirty="0"/>
              <a:t>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r>
              <a:rPr lang="pt-PT" dirty="0"/>
              <a:t>, </a:t>
            </a:r>
            <a:r>
              <a:rPr lang="pt-PT" dirty="0" err="1"/>
              <a:t>consectetuer</a:t>
            </a:r>
            <a:r>
              <a:rPr lang="pt-PT" dirty="0"/>
              <a:t> </a:t>
            </a:r>
            <a:r>
              <a:rPr lang="pt-PT" dirty="0" err="1"/>
              <a:t>adipiscing</a:t>
            </a:r>
            <a:r>
              <a:rPr lang="pt-PT" dirty="0"/>
              <a:t> </a:t>
            </a:r>
            <a:r>
              <a:rPr lang="pt-PT" dirty="0" err="1"/>
              <a:t>elit</a:t>
            </a:r>
            <a:r>
              <a:rPr lang="pt-PT" dirty="0"/>
              <a:t>. </a:t>
            </a:r>
            <a:r>
              <a:rPr lang="pt-PT" dirty="0" err="1"/>
              <a:t>Maecenas</a:t>
            </a:r>
            <a:r>
              <a:rPr lang="pt-PT" dirty="0"/>
              <a:t> </a:t>
            </a:r>
            <a:r>
              <a:rPr lang="pt-PT" dirty="0" err="1"/>
              <a:t>porttitor</a:t>
            </a:r>
            <a:r>
              <a:rPr lang="pt-PT" dirty="0"/>
              <a:t> </a:t>
            </a:r>
            <a:r>
              <a:rPr lang="pt-PT" dirty="0" err="1"/>
              <a:t>congue</a:t>
            </a:r>
            <a:r>
              <a:rPr lang="pt-PT" dirty="0"/>
              <a:t> massa. </a:t>
            </a:r>
            <a:r>
              <a:rPr lang="pt-PT" dirty="0" err="1"/>
              <a:t>Fusce</a:t>
            </a:r>
            <a:r>
              <a:rPr lang="pt-PT" dirty="0"/>
              <a:t> </a:t>
            </a:r>
            <a:r>
              <a:rPr lang="pt-PT" dirty="0" err="1"/>
              <a:t>posuere</a:t>
            </a:r>
            <a:r>
              <a:rPr lang="pt-PT" dirty="0"/>
              <a:t>, magna </a:t>
            </a:r>
            <a:r>
              <a:rPr lang="pt-PT" dirty="0" err="1"/>
              <a:t>sed</a:t>
            </a:r>
            <a:r>
              <a:rPr lang="pt-PT" dirty="0"/>
              <a:t> pulvinar </a:t>
            </a:r>
            <a:r>
              <a:rPr lang="pt-PT" dirty="0" err="1"/>
              <a:t>ultricies</a:t>
            </a:r>
            <a:r>
              <a:rPr lang="pt-PT" dirty="0"/>
              <a:t>, purus</a:t>
            </a:r>
            <a:br>
              <a:rPr lang="pt-PT" dirty="0"/>
            </a:br>
            <a:r>
              <a:rPr lang="pt-PT" dirty="0" err="1"/>
              <a:t>lectus</a:t>
            </a:r>
            <a:r>
              <a:rPr lang="pt-PT" dirty="0"/>
              <a:t> </a:t>
            </a:r>
            <a:r>
              <a:rPr lang="pt-PT" dirty="0" err="1"/>
              <a:t>malesuada</a:t>
            </a:r>
            <a:r>
              <a:rPr lang="pt-PT" dirty="0"/>
              <a:t> libero, </a:t>
            </a:r>
            <a:r>
              <a:rPr lang="pt-PT" dirty="0" err="1"/>
              <a:t>sit</a:t>
            </a:r>
            <a:br>
              <a:rPr lang="pt-PT" dirty="0"/>
            </a:br>
            <a:r>
              <a:rPr lang="pt-PT" dirty="0" err="1"/>
              <a:t>amet</a:t>
            </a:r>
            <a:r>
              <a:rPr lang="pt-PT" dirty="0"/>
              <a:t> </a:t>
            </a:r>
            <a:r>
              <a:rPr lang="pt-PT" dirty="0" err="1"/>
              <a:t>commodo</a:t>
            </a:r>
            <a:r>
              <a:rPr lang="pt-PT" dirty="0"/>
              <a:t> magna eros</a:t>
            </a:r>
            <a:br>
              <a:rPr lang="pt-PT" dirty="0"/>
            </a:br>
            <a:r>
              <a:rPr lang="pt-PT" dirty="0"/>
              <a:t>quis urna.</a:t>
            </a:r>
          </a:p>
          <a:p>
            <a:r>
              <a:rPr lang="pt-PT" dirty="0" err="1"/>
              <a:t>Lorem</a:t>
            </a:r>
            <a:r>
              <a:rPr lang="pt-PT" dirty="0"/>
              <a:t> </a:t>
            </a:r>
            <a:r>
              <a:rPr lang="pt-PT" dirty="0" err="1"/>
              <a:t>ipsum</a:t>
            </a:r>
            <a:r>
              <a:rPr lang="pt-PT" dirty="0"/>
              <a:t> </a:t>
            </a:r>
            <a:r>
              <a:rPr lang="pt-PT" dirty="0" err="1"/>
              <a:t>dolor</a:t>
            </a:r>
            <a:r>
              <a:rPr lang="pt-PT" dirty="0"/>
              <a:t>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r>
              <a:rPr lang="pt-PT" dirty="0"/>
              <a:t>, </a:t>
            </a:r>
            <a:r>
              <a:rPr lang="pt-PT" dirty="0" err="1"/>
              <a:t>consectetuer</a:t>
            </a:r>
            <a:r>
              <a:rPr lang="pt-PT" dirty="0"/>
              <a:t> </a:t>
            </a:r>
            <a:r>
              <a:rPr lang="pt-PT" dirty="0" err="1"/>
              <a:t>adipiscing</a:t>
            </a:r>
            <a:r>
              <a:rPr lang="pt-PT" dirty="0"/>
              <a:t> </a:t>
            </a:r>
            <a:r>
              <a:rPr lang="pt-PT" dirty="0" err="1"/>
              <a:t>elit</a:t>
            </a:r>
            <a:r>
              <a:rPr lang="pt-PT" dirty="0"/>
              <a:t>. </a:t>
            </a:r>
          </a:p>
        </p:txBody>
      </p:sp>
      <p:sp>
        <p:nvSpPr>
          <p:cNvPr id="5" name="Marcador de Posição do Texto 4">
            <a:extLst>
              <a:ext uri="{FF2B5EF4-FFF2-40B4-BE49-F238E27FC236}">
                <a16:creationId xmlns:a16="http://schemas.microsoft.com/office/drawing/2014/main" id="{EC0DAA20-3758-DB37-A7AC-D05B418AE72F}"/>
              </a:ext>
            </a:extLst>
          </p:cNvPr>
          <p:cNvSpPr>
            <a:spLocks noGrp="1"/>
          </p:cNvSpPr>
          <p:nvPr>
            <p:ph type="body" sz="quarter" idx="81"/>
          </p:nvPr>
        </p:nvSpPr>
        <p:spPr/>
        <p:txBody>
          <a:bodyPr/>
          <a:lstStyle/>
          <a:p>
            <a:r>
              <a:rPr lang="pt-PT" dirty="0"/>
              <a:t>Texto destacado</a:t>
            </a:r>
          </a:p>
        </p:txBody>
      </p:sp>
      <p:sp>
        <p:nvSpPr>
          <p:cNvPr id="6" name="Marcador de Posição do Texto 5">
            <a:extLst>
              <a:ext uri="{FF2B5EF4-FFF2-40B4-BE49-F238E27FC236}">
                <a16:creationId xmlns:a16="http://schemas.microsoft.com/office/drawing/2014/main" id="{D3767E89-34C2-449E-9E83-78C7CA36E031}"/>
              </a:ext>
            </a:extLst>
          </p:cNvPr>
          <p:cNvSpPr>
            <a:spLocks noGrp="1"/>
          </p:cNvSpPr>
          <p:nvPr>
            <p:ph type="body" sz="quarter" idx="82"/>
          </p:nvPr>
        </p:nvSpPr>
        <p:spPr/>
        <p:txBody>
          <a:bodyPr/>
          <a:lstStyle/>
          <a:p>
            <a:r>
              <a:rPr lang="pt-PT" dirty="0" err="1"/>
              <a:t>Testing</a:t>
            </a:r>
            <a:r>
              <a:rPr lang="pt-PT" dirty="0"/>
              <a:t> &amp; </a:t>
            </a:r>
            <a:r>
              <a:rPr lang="pt-PT" dirty="0" err="1"/>
              <a:t>support</a:t>
            </a:r>
            <a:endParaRPr lang="pt-PT" dirty="0"/>
          </a:p>
        </p:txBody>
      </p:sp>
      <p:sp>
        <p:nvSpPr>
          <p:cNvPr id="7" name="Marcador de Posição do Texto 6">
            <a:extLst>
              <a:ext uri="{FF2B5EF4-FFF2-40B4-BE49-F238E27FC236}">
                <a16:creationId xmlns:a16="http://schemas.microsoft.com/office/drawing/2014/main" id="{93440C68-CD0F-F84F-0475-D94470526738}"/>
              </a:ext>
            </a:extLst>
          </p:cNvPr>
          <p:cNvSpPr>
            <a:spLocks noGrp="1"/>
          </p:cNvSpPr>
          <p:nvPr>
            <p:ph type="body" sz="quarter" idx="83"/>
          </p:nvPr>
        </p:nvSpPr>
        <p:spPr/>
        <p:txBody>
          <a:bodyPr/>
          <a:lstStyle/>
          <a:p>
            <a:r>
              <a:rPr lang="pt-PT" dirty="0" err="1"/>
              <a:t>SERVICE</a:t>
            </a:r>
            <a:r>
              <a:rPr lang="pt-PT" dirty="0"/>
              <a:t> MANAGEMENT</a:t>
            </a:r>
          </a:p>
        </p:txBody>
      </p:sp>
      <p:sp>
        <p:nvSpPr>
          <p:cNvPr id="8" name="Marcador de Posição do Texto 7">
            <a:extLst>
              <a:ext uri="{FF2B5EF4-FFF2-40B4-BE49-F238E27FC236}">
                <a16:creationId xmlns:a16="http://schemas.microsoft.com/office/drawing/2014/main" id="{9FF23EA7-2FA9-D788-FC22-4E045DA734FD}"/>
              </a:ext>
            </a:extLst>
          </p:cNvPr>
          <p:cNvSpPr>
            <a:spLocks noGrp="1"/>
          </p:cNvSpPr>
          <p:nvPr>
            <p:ph type="body" sz="quarter" idx="84"/>
          </p:nvPr>
        </p:nvSpPr>
        <p:spPr/>
        <p:txBody>
          <a:bodyPr/>
          <a:lstStyle/>
          <a:p>
            <a:r>
              <a:rPr lang="pt-PT" dirty="0" err="1"/>
              <a:t>ASSESSMENT</a:t>
            </a:r>
            <a:br>
              <a:rPr lang="pt-PT" dirty="0"/>
            </a:br>
            <a:r>
              <a:rPr lang="pt-PT" dirty="0"/>
              <a:t>&amp; </a:t>
            </a:r>
            <a:r>
              <a:rPr lang="pt-PT" dirty="0" err="1"/>
              <a:t>ADVISORY</a:t>
            </a:r>
            <a:endParaRPr lang="pt-PT" dirty="0"/>
          </a:p>
        </p:txBody>
      </p:sp>
      <p:sp>
        <p:nvSpPr>
          <p:cNvPr id="9" name="Marcador de Posição do Texto 8">
            <a:extLst>
              <a:ext uri="{FF2B5EF4-FFF2-40B4-BE49-F238E27FC236}">
                <a16:creationId xmlns:a16="http://schemas.microsoft.com/office/drawing/2014/main" id="{DE47A7D5-6505-0AE1-07FB-E4534F3A6E26}"/>
              </a:ext>
            </a:extLst>
          </p:cNvPr>
          <p:cNvSpPr>
            <a:spLocks noGrp="1"/>
          </p:cNvSpPr>
          <p:nvPr>
            <p:ph type="body" sz="quarter" idx="85"/>
          </p:nvPr>
        </p:nvSpPr>
        <p:spPr/>
        <p:txBody>
          <a:bodyPr/>
          <a:lstStyle/>
          <a:p>
            <a:r>
              <a:rPr lang="pt-PT" dirty="0" err="1"/>
              <a:t>DEVELOPMENT</a:t>
            </a:r>
            <a:br>
              <a:rPr lang="pt-PT" dirty="0"/>
            </a:br>
            <a:r>
              <a:rPr lang="pt-PT" dirty="0"/>
              <a:t>&amp; </a:t>
            </a:r>
            <a:r>
              <a:rPr lang="pt-PT" dirty="0" err="1"/>
              <a:t>MAINTENANCE</a:t>
            </a:r>
            <a:endParaRPr lang="pt-PT" dirty="0"/>
          </a:p>
        </p:txBody>
      </p:sp>
      <p:sp>
        <p:nvSpPr>
          <p:cNvPr id="10" name="Marcador de Posição do Texto 9">
            <a:extLst>
              <a:ext uri="{FF2B5EF4-FFF2-40B4-BE49-F238E27FC236}">
                <a16:creationId xmlns:a16="http://schemas.microsoft.com/office/drawing/2014/main" id="{8BA9E68E-3090-03F6-2649-09E2979A91EB}"/>
              </a:ext>
            </a:extLst>
          </p:cNvPr>
          <p:cNvSpPr>
            <a:spLocks noGrp="1"/>
          </p:cNvSpPr>
          <p:nvPr>
            <p:ph type="body" sz="quarter" idx="86"/>
          </p:nvPr>
        </p:nvSpPr>
        <p:spPr/>
        <p:txBody>
          <a:bodyPr/>
          <a:lstStyle/>
          <a:p>
            <a:r>
              <a:rPr lang="pt-PT" dirty="0" err="1"/>
              <a:t>sERVICE</a:t>
            </a:r>
            <a:br>
              <a:rPr lang="pt-PT" dirty="0"/>
            </a:br>
            <a:r>
              <a:rPr lang="pt-PT" dirty="0" err="1"/>
              <a:t>DELIVERY</a:t>
            </a:r>
            <a:endParaRPr lang="pt-PT" dirty="0"/>
          </a:p>
        </p:txBody>
      </p:sp>
      <p:sp>
        <p:nvSpPr>
          <p:cNvPr id="11" name="Marcador de Posição do Texto 10">
            <a:extLst>
              <a:ext uri="{FF2B5EF4-FFF2-40B4-BE49-F238E27FC236}">
                <a16:creationId xmlns:a16="http://schemas.microsoft.com/office/drawing/2014/main" id="{DBCAB395-58DB-0532-4CDD-28DFAE7AE02D}"/>
              </a:ext>
            </a:extLst>
          </p:cNvPr>
          <p:cNvSpPr>
            <a:spLocks noGrp="1"/>
          </p:cNvSpPr>
          <p:nvPr>
            <p:ph type="body" sz="quarter" idx="87"/>
          </p:nvPr>
        </p:nvSpPr>
        <p:spPr/>
        <p:txBody>
          <a:bodyPr/>
          <a:lstStyle/>
          <a:p>
            <a:r>
              <a:rPr lang="en-US" dirty="0"/>
              <a:t>CUSTOMER CARE</a:t>
            </a:r>
            <a:br>
              <a:rPr lang="en-US" dirty="0"/>
            </a:br>
            <a:r>
              <a:rPr lang="en-US" dirty="0"/>
              <a:t>&amp; SPECIALIZED TECHNICAL SUPPORT</a:t>
            </a:r>
          </a:p>
        </p:txBody>
      </p:sp>
      <p:sp>
        <p:nvSpPr>
          <p:cNvPr id="12" name="Marcador de Posição do Texto 11">
            <a:extLst>
              <a:ext uri="{FF2B5EF4-FFF2-40B4-BE49-F238E27FC236}">
                <a16:creationId xmlns:a16="http://schemas.microsoft.com/office/drawing/2014/main" id="{E9CBA584-5E1B-1F25-C7B3-E26F3CCBE923}"/>
              </a:ext>
            </a:extLst>
          </p:cNvPr>
          <p:cNvSpPr>
            <a:spLocks noGrp="1"/>
          </p:cNvSpPr>
          <p:nvPr>
            <p:ph type="body" sz="quarter" idx="88"/>
          </p:nvPr>
        </p:nvSpPr>
        <p:spPr/>
        <p:txBody>
          <a:bodyPr/>
          <a:lstStyle/>
          <a:p>
            <a:r>
              <a:rPr lang="pt-PT" dirty="0"/>
              <a:t>portfolio</a:t>
            </a:r>
          </a:p>
        </p:txBody>
      </p:sp>
      <p:sp>
        <p:nvSpPr>
          <p:cNvPr id="13" name="Marcador de Posição do Texto 12">
            <a:extLst>
              <a:ext uri="{FF2B5EF4-FFF2-40B4-BE49-F238E27FC236}">
                <a16:creationId xmlns:a16="http://schemas.microsoft.com/office/drawing/2014/main" id="{E2DA7ACA-BFDA-39D4-BEBF-A18F87320118}"/>
              </a:ext>
            </a:extLst>
          </p:cNvPr>
          <p:cNvSpPr>
            <a:spLocks noGrp="1"/>
          </p:cNvSpPr>
          <p:nvPr>
            <p:ph type="body" sz="quarter" idx="89"/>
          </p:nvPr>
        </p:nvSpPr>
        <p:spPr>
          <a:xfrm rot="2641635">
            <a:off x="7034902" y="2470273"/>
            <a:ext cx="1712480" cy="1011049"/>
          </a:xfrm>
        </p:spPr>
        <p:txBody>
          <a:bodyPr/>
          <a:lstStyle/>
          <a:p>
            <a:r>
              <a:rPr lang="pt-PT" dirty="0" err="1"/>
              <a:t>architecture</a:t>
            </a:r>
            <a:endParaRPr lang="pt-PT" dirty="0"/>
          </a:p>
        </p:txBody>
      </p:sp>
      <p:sp>
        <p:nvSpPr>
          <p:cNvPr id="14" name="Marcador de Posição do Texto 13">
            <a:extLst>
              <a:ext uri="{FF2B5EF4-FFF2-40B4-BE49-F238E27FC236}">
                <a16:creationId xmlns:a16="http://schemas.microsoft.com/office/drawing/2014/main" id="{190B0227-60E6-6CE5-62C5-390021D2F516}"/>
              </a:ext>
            </a:extLst>
          </p:cNvPr>
          <p:cNvSpPr>
            <a:spLocks noGrp="1"/>
          </p:cNvSpPr>
          <p:nvPr>
            <p:ph type="body" sz="quarter" idx="90"/>
          </p:nvPr>
        </p:nvSpPr>
        <p:spPr>
          <a:xfrm rot="18900000">
            <a:off x="5711035" y="2429349"/>
            <a:ext cx="1712480" cy="1011049"/>
          </a:xfrm>
        </p:spPr>
        <p:txBody>
          <a:bodyPr/>
          <a:lstStyle/>
          <a:p>
            <a:r>
              <a:rPr lang="pt-PT" dirty="0" err="1"/>
              <a:t>analysis</a:t>
            </a:r>
            <a:endParaRPr lang="pt-PT" dirty="0"/>
          </a:p>
        </p:txBody>
      </p:sp>
      <p:sp>
        <p:nvSpPr>
          <p:cNvPr id="15" name="Marcador de Posição do Texto 14">
            <a:extLst>
              <a:ext uri="{FF2B5EF4-FFF2-40B4-BE49-F238E27FC236}">
                <a16:creationId xmlns:a16="http://schemas.microsoft.com/office/drawing/2014/main" id="{39FAD2D9-04AC-A780-749A-EC55A4111D52}"/>
              </a:ext>
            </a:extLst>
          </p:cNvPr>
          <p:cNvSpPr>
            <a:spLocks noGrp="1"/>
          </p:cNvSpPr>
          <p:nvPr>
            <p:ph type="body" sz="quarter" idx="91"/>
          </p:nvPr>
        </p:nvSpPr>
        <p:spPr>
          <a:xfrm rot="18900000">
            <a:off x="6857636" y="3515877"/>
            <a:ext cx="1712480" cy="1011049"/>
          </a:xfrm>
        </p:spPr>
        <p:txBody>
          <a:bodyPr/>
          <a:lstStyle/>
          <a:p>
            <a:r>
              <a:rPr lang="pt-PT" dirty="0" err="1"/>
              <a:t>Application</a:t>
            </a:r>
            <a:br>
              <a:rPr lang="pt-PT" dirty="0"/>
            </a:br>
            <a:r>
              <a:rPr lang="pt-PT" dirty="0" err="1"/>
              <a:t>development</a:t>
            </a:r>
            <a:br>
              <a:rPr lang="pt-PT" dirty="0"/>
            </a:br>
            <a:r>
              <a:rPr lang="pt-PT" dirty="0"/>
              <a:t>(</a:t>
            </a:r>
            <a:r>
              <a:rPr lang="pt-PT" dirty="0" err="1"/>
              <a:t>agile</a:t>
            </a:r>
            <a:r>
              <a:rPr lang="pt-PT" dirty="0"/>
              <a:t> </a:t>
            </a:r>
            <a:r>
              <a:rPr lang="pt-PT" dirty="0" err="1"/>
              <a:t>scrum</a:t>
            </a:r>
            <a:r>
              <a:rPr lang="pt-PT" dirty="0"/>
              <a:t>)</a:t>
            </a:r>
          </a:p>
        </p:txBody>
      </p:sp>
      <p:sp>
        <p:nvSpPr>
          <p:cNvPr id="16" name="Marcador de Posição do Texto 15">
            <a:extLst>
              <a:ext uri="{FF2B5EF4-FFF2-40B4-BE49-F238E27FC236}">
                <a16:creationId xmlns:a16="http://schemas.microsoft.com/office/drawing/2014/main" id="{21D328CE-086F-74F3-132D-7A4305837701}"/>
              </a:ext>
            </a:extLst>
          </p:cNvPr>
          <p:cNvSpPr>
            <a:spLocks noGrp="1"/>
          </p:cNvSpPr>
          <p:nvPr>
            <p:ph type="body" sz="quarter" idx="92"/>
          </p:nvPr>
        </p:nvSpPr>
        <p:spPr>
          <a:xfrm rot="2641635">
            <a:off x="5704627" y="3674804"/>
            <a:ext cx="1712480" cy="1011049"/>
          </a:xfrm>
        </p:spPr>
        <p:txBody>
          <a:bodyPr/>
          <a:lstStyle/>
          <a:p>
            <a:r>
              <a:rPr lang="pt-PT" dirty="0" err="1"/>
              <a:t>Devops</a:t>
            </a:r>
            <a:r>
              <a:rPr lang="pt-PT" dirty="0"/>
              <a:t> &amp; </a:t>
            </a:r>
            <a:r>
              <a:rPr lang="pt-PT" dirty="0" err="1"/>
              <a:t>release</a:t>
            </a:r>
            <a:br>
              <a:rPr lang="pt-PT" dirty="0"/>
            </a:br>
            <a:r>
              <a:rPr lang="pt-PT" dirty="0"/>
              <a:t>management</a:t>
            </a:r>
          </a:p>
        </p:txBody>
      </p:sp>
      <p:grpSp>
        <p:nvGrpSpPr>
          <p:cNvPr id="17" name="Agrupar 16">
            <a:extLst>
              <a:ext uri="{FF2B5EF4-FFF2-40B4-BE49-F238E27FC236}">
                <a16:creationId xmlns:a16="http://schemas.microsoft.com/office/drawing/2014/main" id="{C324606B-3DC9-DCAA-10A0-DBDAA7E334A0}"/>
              </a:ext>
            </a:extLst>
          </p:cNvPr>
          <p:cNvGrpSpPr/>
          <p:nvPr/>
        </p:nvGrpSpPr>
        <p:grpSpPr>
          <a:xfrm>
            <a:off x="6903827" y="3296939"/>
            <a:ext cx="560747" cy="612367"/>
            <a:chOff x="6000092" y="1357908"/>
            <a:chExt cx="365300" cy="398929"/>
          </a:xfrm>
        </p:grpSpPr>
        <p:sp>
          <p:nvSpPr>
            <p:cNvPr id="18" name="Forma livre: Forma 17">
              <a:extLst>
                <a:ext uri="{FF2B5EF4-FFF2-40B4-BE49-F238E27FC236}">
                  <a16:creationId xmlns:a16="http://schemas.microsoft.com/office/drawing/2014/main" id="{8D1E56A3-0BDD-C32D-AD67-D220AE29839D}"/>
                </a:ext>
              </a:extLst>
            </p:cNvPr>
            <p:cNvSpPr/>
            <p:nvPr/>
          </p:nvSpPr>
          <p:spPr>
            <a:xfrm>
              <a:off x="6000092" y="1418606"/>
              <a:ext cx="84058" cy="286120"/>
            </a:xfrm>
            <a:custGeom>
              <a:avLst/>
              <a:gdLst>
                <a:gd name="connsiteX0" fmla="*/ 51595 w 84058"/>
                <a:gd name="connsiteY0" fmla="*/ 0 h 286120"/>
                <a:gd name="connsiteX1" fmla="*/ 35266 w 84058"/>
                <a:gd name="connsiteY1" fmla="*/ 61674 h 286120"/>
                <a:gd name="connsiteX2" fmla="*/ 28760 w 84058"/>
                <a:gd name="connsiteY2" fmla="*/ 193415 h 286120"/>
                <a:gd name="connsiteX3" fmla="*/ 84059 w 84058"/>
                <a:gd name="connsiteY3" fmla="*/ 286121 h 2861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4058" h="286120">
                  <a:moveTo>
                    <a:pt x="51595" y="0"/>
                  </a:moveTo>
                  <a:cubicBezTo>
                    <a:pt x="37868" y="7872"/>
                    <a:pt x="26028" y="24852"/>
                    <a:pt x="35266" y="61674"/>
                  </a:cubicBezTo>
                  <a:cubicBezTo>
                    <a:pt x="35266" y="61674"/>
                    <a:pt x="-39549" y="126731"/>
                    <a:pt x="28760" y="193415"/>
                  </a:cubicBezTo>
                  <a:cubicBezTo>
                    <a:pt x="28760" y="193415"/>
                    <a:pt x="9243" y="281242"/>
                    <a:pt x="84059" y="286121"/>
                  </a:cubicBezTo>
                </a:path>
              </a:pathLst>
            </a:custGeom>
            <a:noFill/>
            <a:ln w="19050" cap="sq">
              <a:solidFill>
                <a:schemeClr val="tx1"/>
              </a:solidFill>
              <a:prstDash val="solid"/>
              <a:miter lim="800000"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9" name="Gráfico 32">
              <a:extLst>
                <a:ext uri="{FF2B5EF4-FFF2-40B4-BE49-F238E27FC236}">
                  <a16:creationId xmlns:a16="http://schemas.microsoft.com/office/drawing/2014/main" id="{B2072035-2C9B-0C19-2FA8-3456E83D26FE}"/>
                </a:ext>
              </a:extLst>
            </p:cNvPr>
            <p:cNvGrpSpPr/>
            <p:nvPr/>
          </p:nvGrpSpPr>
          <p:grpSpPr>
            <a:xfrm>
              <a:off x="6061121" y="1359924"/>
              <a:ext cx="128487" cy="396366"/>
              <a:chOff x="6061121" y="1359924"/>
              <a:chExt cx="128487" cy="396366"/>
            </a:xfrm>
            <a:noFill/>
          </p:grpSpPr>
          <p:sp>
            <p:nvSpPr>
              <p:cNvPr id="34" name="Forma livre: Forma 33">
                <a:extLst>
                  <a:ext uri="{FF2B5EF4-FFF2-40B4-BE49-F238E27FC236}">
                    <a16:creationId xmlns:a16="http://schemas.microsoft.com/office/drawing/2014/main" id="{E15959D4-3DDE-0254-F4AD-FA90F6502D40}"/>
                  </a:ext>
                </a:extLst>
              </p:cNvPr>
              <p:cNvSpPr/>
              <p:nvPr/>
            </p:nvSpPr>
            <p:spPr>
              <a:xfrm>
                <a:off x="6083891" y="1359924"/>
                <a:ext cx="105717" cy="396366"/>
              </a:xfrm>
              <a:custGeom>
                <a:avLst/>
                <a:gdLst>
                  <a:gd name="connsiteX0" fmla="*/ 52891 w 105717"/>
                  <a:gd name="connsiteY0" fmla="*/ 105718 h 396366"/>
                  <a:gd name="connsiteX1" fmla="*/ 0 w 105717"/>
                  <a:gd name="connsiteY1" fmla="*/ 52891 h 396366"/>
                  <a:gd name="connsiteX2" fmla="*/ 52891 w 105717"/>
                  <a:gd name="connsiteY2" fmla="*/ 0 h 396366"/>
                  <a:gd name="connsiteX3" fmla="*/ 105718 w 105717"/>
                  <a:gd name="connsiteY3" fmla="*/ 52826 h 396366"/>
                  <a:gd name="connsiteX4" fmla="*/ 105718 w 105717"/>
                  <a:gd name="connsiteY4" fmla="*/ 346884 h 396366"/>
                  <a:gd name="connsiteX5" fmla="*/ 80606 w 105717"/>
                  <a:gd name="connsiteY5" fmla="*/ 388911 h 396366"/>
                  <a:gd name="connsiteX6" fmla="*/ 9238 w 105717"/>
                  <a:gd name="connsiteY6" fmla="*/ 371150 h 396366"/>
                  <a:gd name="connsiteX7" fmla="*/ 15484 w 105717"/>
                  <a:gd name="connsiteY7" fmla="*/ 309216 h 396366"/>
                  <a:gd name="connsiteX8" fmla="*/ 45019 w 105717"/>
                  <a:gd name="connsiteY8" fmla="*/ 277078 h 3963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05717" h="396366">
                    <a:moveTo>
                      <a:pt x="52891" y="105718"/>
                    </a:moveTo>
                    <a:cubicBezTo>
                      <a:pt x="23681" y="105718"/>
                      <a:pt x="0" y="82037"/>
                      <a:pt x="0" y="52891"/>
                    </a:cubicBezTo>
                    <a:cubicBezTo>
                      <a:pt x="0" y="23746"/>
                      <a:pt x="23681" y="0"/>
                      <a:pt x="52891" y="0"/>
                    </a:cubicBezTo>
                    <a:cubicBezTo>
                      <a:pt x="82102" y="0"/>
                      <a:pt x="105718" y="23681"/>
                      <a:pt x="105718" y="52826"/>
                    </a:cubicBezTo>
                    <a:lnTo>
                      <a:pt x="105718" y="346884"/>
                    </a:lnTo>
                    <a:cubicBezTo>
                      <a:pt x="105718" y="364580"/>
                      <a:pt x="96414" y="379413"/>
                      <a:pt x="80606" y="388911"/>
                    </a:cubicBezTo>
                    <a:cubicBezTo>
                      <a:pt x="55949" y="403744"/>
                      <a:pt x="24006" y="395742"/>
                      <a:pt x="9238" y="371150"/>
                    </a:cubicBezTo>
                    <a:cubicBezTo>
                      <a:pt x="-2928" y="350918"/>
                      <a:pt x="260" y="325741"/>
                      <a:pt x="15484" y="309216"/>
                    </a:cubicBezTo>
                    <a:lnTo>
                      <a:pt x="45019" y="277078"/>
                    </a:lnTo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5" name="Forma livre: Forma 34">
                <a:extLst>
                  <a:ext uri="{FF2B5EF4-FFF2-40B4-BE49-F238E27FC236}">
                    <a16:creationId xmlns:a16="http://schemas.microsoft.com/office/drawing/2014/main" id="{49B0563B-8123-6281-5035-ED5389F1279C}"/>
                  </a:ext>
                </a:extLst>
              </p:cNvPr>
              <p:cNvSpPr/>
              <p:nvPr/>
            </p:nvSpPr>
            <p:spPr>
              <a:xfrm>
                <a:off x="6144784" y="1383865"/>
                <a:ext cx="41563" cy="38963"/>
              </a:xfrm>
              <a:custGeom>
                <a:avLst/>
                <a:gdLst>
                  <a:gd name="connsiteX0" fmla="*/ 36172 w 41563"/>
                  <a:gd name="connsiteY0" fmla="*/ 0 h 38963"/>
                  <a:gd name="connsiteX1" fmla="*/ 39425 w 41563"/>
                  <a:gd name="connsiteY1" fmla="*/ 24266 h 38963"/>
                  <a:gd name="connsiteX2" fmla="*/ 36432 w 41563"/>
                  <a:gd name="connsiteY2" fmla="*/ 29080 h 38963"/>
                  <a:gd name="connsiteX3" fmla="*/ 0 w 41563"/>
                  <a:gd name="connsiteY3" fmla="*/ 33439 h 389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563" h="38963">
                    <a:moveTo>
                      <a:pt x="36172" y="0"/>
                    </a:moveTo>
                    <a:cubicBezTo>
                      <a:pt x="41571" y="7547"/>
                      <a:pt x="43393" y="16004"/>
                      <a:pt x="39425" y="24266"/>
                    </a:cubicBezTo>
                    <a:cubicBezTo>
                      <a:pt x="38644" y="25893"/>
                      <a:pt x="37603" y="27519"/>
                      <a:pt x="36432" y="29080"/>
                    </a:cubicBezTo>
                    <a:cubicBezTo>
                      <a:pt x="27584" y="40270"/>
                      <a:pt x="11190" y="42287"/>
                      <a:pt x="0" y="33439"/>
                    </a:cubicBezTo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6" name="Forma livre: Forma 35">
                <a:extLst>
                  <a:ext uri="{FF2B5EF4-FFF2-40B4-BE49-F238E27FC236}">
                    <a16:creationId xmlns:a16="http://schemas.microsoft.com/office/drawing/2014/main" id="{3F8470D7-78A8-86EF-FADA-69CE67429D09}"/>
                  </a:ext>
                </a:extLst>
              </p:cNvPr>
              <p:cNvSpPr/>
              <p:nvPr/>
            </p:nvSpPr>
            <p:spPr>
              <a:xfrm>
                <a:off x="6081487" y="1460806"/>
                <a:ext cx="34217" cy="54474"/>
              </a:xfrm>
              <a:custGeom>
                <a:avLst/>
                <a:gdLst>
                  <a:gd name="connsiteX0" fmla="*/ 21076 w 34217"/>
                  <a:gd name="connsiteY0" fmla="*/ 54475 h 54474"/>
                  <a:gd name="connsiteX1" fmla="*/ 778 w 34217"/>
                  <a:gd name="connsiteY1" fmla="*/ 21035 h 54474"/>
                  <a:gd name="connsiteX2" fmla="*/ 34217 w 34217"/>
                  <a:gd name="connsiteY2" fmla="*/ 803 h 544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4217" h="54474">
                    <a:moveTo>
                      <a:pt x="21076" y="54475"/>
                    </a:moveTo>
                    <a:cubicBezTo>
                      <a:pt x="6308" y="50832"/>
                      <a:pt x="-2800" y="35803"/>
                      <a:pt x="778" y="21035"/>
                    </a:cubicBezTo>
                    <a:cubicBezTo>
                      <a:pt x="4421" y="6267"/>
                      <a:pt x="19449" y="-2841"/>
                      <a:pt x="34217" y="803"/>
                    </a:cubicBezTo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7" name="Forma livre: Forma 36">
                <a:extLst>
                  <a:ext uri="{FF2B5EF4-FFF2-40B4-BE49-F238E27FC236}">
                    <a16:creationId xmlns:a16="http://schemas.microsoft.com/office/drawing/2014/main" id="{823AF0D5-AAD8-4195-ED7A-6AA6A2A46F00}"/>
                  </a:ext>
                </a:extLst>
              </p:cNvPr>
              <p:cNvSpPr/>
              <p:nvPr/>
            </p:nvSpPr>
            <p:spPr>
              <a:xfrm>
                <a:off x="6073547" y="1527543"/>
                <a:ext cx="114760" cy="72506"/>
              </a:xfrm>
              <a:custGeom>
                <a:avLst/>
                <a:gdLst>
                  <a:gd name="connsiteX0" fmla="*/ 114760 w 114760"/>
                  <a:gd name="connsiteY0" fmla="*/ 7254 h 72506"/>
                  <a:gd name="connsiteX1" fmla="*/ 73905 w 114760"/>
                  <a:gd name="connsiteY1" fmla="*/ 8881 h 72506"/>
                  <a:gd name="connsiteX2" fmla="*/ 0 w 114760"/>
                  <a:gd name="connsiteY2" fmla="*/ 72506 h 725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14760" h="72506">
                    <a:moveTo>
                      <a:pt x="114760" y="7254"/>
                    </a:moveTo>
                    <a:cubicBezTo>
                      <a:pt x="103375" y="-2830"/>
                      <a:pt x="83989" y="-2504"/>
                      <a:pt x="73905" y="8881"/>
                    </a:cubicBezTo>
                    <a:cubicBezTo>
                      <a:pt x="73905" y="8881"/>
                      <a:pt x="31488" y="72506"/>
                      <a:pt x="0" y="72506"/>
                    </a:cubicBezTo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8" name="Forma livre: Forma 37">
                <a:extLst>
                  <a:ext uri="{FF2B5EF4-FFF2-40B4-BE49-F238E27FC236}">
                    <a16:creationId xmlns:a16="http://schemas.microsoft.com/office/drawing/2014/main" id="{E6C01C36-2B76-1496-C3C3-DF334F90743C}"/>
                  </a:ext>
                </a:extLst>
              </p:cNvPr>
              <p:cNvSpPr/>
              <p:nvPr/>
            </p:nvSpPr>
            <p:spPr>
              <a:xfrm>
                <a:off x="6079857" y="1646956"/>
                <a:ext cx="29405" cy="9823"/>
              </a:xfrm>
              <a:custGeom>
                <a:avLst/>
                <a:gdLst>
                  <a:gd name="connsiteX0" fmla="*/ 0 w 29405"/>
                  <a:gd name="connsiteY0" fmla="*/ 0 h 9823"/>
                  <a:gd name="connsiteX1" fmla="*/ 29406 w 29405"/>
                  <a:gd name="connsiteY1" fmla="*/ 9824 h 98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9405" h="9823">
                    <a:moveTo>
                      <a:pt x="0" y="0"/>
                    </a:moveTo>
                    <a:lnTo>
                      <a:pt x="29406" y="9824"/>
                    </a:lnTo>
                  </a:path>
                </a:pathLst>
              </a:custGeom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9" name="Forma livre: Forma 38">
                <a:extLst>
                  <a:ext uri="{FF2B5EF4-FFF2-40B4-BE49-F238E27FC236}">
                    <a16:creationId xmlns:a16="http://schemas.microsoft.com/office/drawing/2014/main" id="{0B485E85-B30D-6608-37A4-DA2F4983653B}"/>
                  </a:ext>
                </a:extLst>
              </p:cNvPr>
              <p:cNvSpPr/>
              <p:nvPr/>
            </p:nvSpPr>
            <p:spPr>
              <a:xfrm>
                <a:off x="6061121" y="1545272"/>
                <a:ext cx="47166" cy="34154"/>
              </a:xfrm>
              <a:custGeom>
                <a:avLst/>
                <a:gdLst>
                  <a:gd name="connsiteX0" fmla="*/ 0 w 47166"/>
                  <a:gd name="connsiteY0" fmla="*/ 0 h 34154"/>
                  <a:gd name="connsiteX1" fmla="*/ 47166 w 47166"/>
                  <a:gd name="connsiteY1" fmla="*/ 34155 h 341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166" h="34154">
                    <a:moveTo>
                      <a:pt x="0" y="0"/>
                    </a:moveTo>
                    <a:cubicBezTo>
                      <a:pt x="0" y="0"/>
                      <a:pt x="27649" y="13011"/>
                      <a:pt x="47166" y="34155"/>
                    </a:cubicBezTo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20" name="Gráfico 32">
              <a:extLst>
                <a:ext uri="{FF2B5EF4-FFF2-40B4-BE49-F238E27FC236}">
                  <a16:creationId xmlns:a16="http://schemas.microsoft.com/office/drawing/2014/main" id="{52D18FAF-B76B-CC59-EB72-F419AA7DB435}"/>
                </a:ext>
              </a:extLst>
            </p:cNvPr>
            <p:cNvGrpSpPr/>
            <p:nvPr/>
          </p:nvGrpSpPr>
          <p:grpSpPr>
            <a:xfrm>
              <a:off x="6191625" y="1599725"/>
              <a:ext cx="173767" cy="157112"/>
              <a:chOff x="6191625" y="1599725"/>
              <a:chExt cx="173767" cy="157112"/>
            </a:xfrm>
            <a:noFill/>
          </p:grpSpPr>
          <p:sp>
            <p:nvSpPr>
              <p:cNvPr id="30" name="Forma livre: Forma 29">
                <a:extLst>
                  <a:ext uri="{FF2B5EF4-FFF2-40B4-BE49-F238E27FC236}">
                    <a16:creationId xmlns:a16="http://schemas.microsoft.com/office/drawing/2014/main" id="{DDE56708-C33D-384F-A9DE-1CB3C7B04116}"/>
                  </a:ext>
                </a:extLst>
              </p:cNvPr>
              <p:cNvSpPr/>
              <p:nvPr/>
            </p:nvSpPr>
            <p:spPr>
              <a:xfrm>
                <a:off x="6310094" y="1621974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1" name="Forma livre: Forma 30">
                <a:extLst>
                  <a:ext uri="{FF2B5EF4-FFF2-40B4-BE49-F238E27FC236}">
                    <a16:creationId xmlns:a16="http://schemas.microsoft.com/office/drawing/2014/main" id="{916E3478-4406-9291-FF77-1A246801220C}"/>
                  </a:ext>
                </a:extLst>
              </p:cNvPr>
              <p:cNvSpPr/>
              <p:nvPr/>
            </p:nvSpPr>
            <p:spPr>
              <a:xfrm>
                <a:off x="6191625" y="1599725"/>
                <a:ext cx="118078" cy="49898"/>
              </a:xfrm>
              <a:custGeom>
                <a:avLst/>
                <a:gdLst>
                  <a:gd name="connsiteX0" fmla="*/ 0 w 118078"/>
                  <a:gd name="connsiteY0" fmla="*/ 0 h 49898"/>
                  <a:gd name="connsiteX1" fmla="*/ 37343 w 118078"/>
                  <a:gd name="connsiteY1" fmla="*/ 0 h 49898"/>
                  <a:gd name="connsiteX2" fmla="*/ 87176 w 118078"/>
                  <a:gd name="connsiteY2" fmla="*/ 49899 h 49898"/>
                  <a:gd name="connsiteX3" fmla="*/ 118078 w 118078"/>
                  <a:gd name="connsiteY3" fmla="*/ 49899 h 49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8078" h="49898">
                    <a:moveTo>
                      <a:pt x="0" y="0"/>
                    </a:moveTo>
                    <a:lnTo>
                      <a:pt x="37343" y="0"/>
                    </a:lnTo>
                    <a:lnTo>
                      <a:pt x="87176" y="49899"/>
                    </a:lnTo>
                    <a:lnTo>
                      <a:pt x="118078" y="49899"/>
                    </a:lnTo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2" name="Forma livre: Forma 31">
                <a:extLst>
                  <a:ext uri="{FF2B5EF4-FFF2-40B4-BE49-F238E27FC236}">
                    <a16:creationId xmlns:a16="http://schemas.microsoft.com/office/drawing/2014/main" id="{3A2BD59B-8100-D56B-50F3-016CC69F39E8}"/>
                  </a:ext>
                </a:extLst>
              </p:cNvPr>
              <p:cNvSpPr/>
              <p:nvPr/>
            </p:nvSpPr>
            <p:spPr>
              <a:xfrm>
                <a:off x="6191625" y="1665367"/>
                <a:ext cx="81906" cy="44108"/>
              </a:xfrm>
              <a:custGeom>
                <a:avLst/>
                <a:gdLst>
                  <a:gd name="connsiteX0" fmla="*/ 0 w 81906"/>
                  <a:gd name="connsiteY0" fmla="*/ 0 h 44108"/>
                  <a:gd name="connsiteX1" fmla="*/ 37343 w 81906"/>
                  <a:gd name="connsiteY1" fmla="*/ 0 h 44108"/>
                  <a:gd name="connsiteX2" fmla="*/ 81907 w 81906"/>
                  <a:gd name="connsiteY2" fmla="*/ 44109 h 441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1906" h="44108">
                    <a:moveTo>
                      <a:pt x="0" y="0"/>
                    </a:moveTo>
                    <a:lnTo>
                      <a:pt x="37343" y="0"/>
                    </a:lnTo>
                    <a:lnTo>
                      <a:pt x="81907" y="44109"/>
                    </a:lnTo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3" name="Forma livre: Forma 32">
                <a:extLst>
                  <a:ext uri="{FF2B5EF4-FFF2-40B4-BE49-F238E27FC236}">
                    <a16:creationId xmlns:a16="http://schemas.microsoft.com/office/drawing/2014/main" id="{73D79401-D7B3-5893-9862-A283C4EDBD51}"/>
                  </a:ext>
                </a:extLst>
              </p:cNvPr>
              <p:cNvSpPr/>
              <p:nvPr/>
            </p:nvSpPr>
            <p:spPr>
              <a:xfrm>
                <a:off x="6265075" y="1701539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21" name="Gráfico 32">
              <a:extLst>
                <a:ext uri="{FF2B5EF4-FFF2-40B4-BE49-F238E27FC236}">
                  <a16:creationId xmlns:a16="http://schemas.microsoft.com/office/drawing/2014/main" id="{265D4EB5-B768-C657-5B5D-E808C474BBB9}"/>
                </a:ext>
              </a:extLst>
            </p:cNvPr>
            <p:cNvGrpSpPr/>
            <p:nvPr/>
          </p:nvGrpSpPr>
          <p:grpSpPr>
            <a:xfrm>
              <a:off x="6191625" y="1357908"/>
              <a:ext cx="173767" cy="157112"/>
              <a:chOff x="6191625" y="1357908"/>
              <a:chExt cx="173767" cy="157112"/>
            </a:xfrm>
            <a:noFill/>
          </p:grpSpPr>
          <p:sp>
            <p:nvSpPr>
              <p:cNvPr id="26" name="Forma livre: Forma 25">
                <a:extLst>
                  <a:ext uri="{FF2B5EF4-FFF2-40B4-BE49-F238E27FC236}">
                    <a16:creationId xmlns:a16="http://schemas.microsoft.com/office/drawing/2014/main" id="{CD83F71E-AA8E-02A9-DBBC-BD86A47BF8F1}"/>
                  </a:ext>
                </a:extLst>
              </p:cNvPr>
              <p:cNvSpPr/>
              <p:nvPr/>
            </p:nvSpPr>
            <p:spPr>
              <a:xfrm>
                <a:off x="6310094" y="1437472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0 h 55298"/>
                  <a:gd name="connsiteX2" fmla="*/ 0 w 55298"/>
                  <a:gd name="connsiteY2" fmla="*/ 27649 h 55298"/>
                  <a:gd name="connsiteX3" fmla="*/ 27649 w 55298"/>
                  <a:gd name="connsiteY3" fmla="*/ 55298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12361"/>
                      <a:pt x="42938" y="0"/>
                      <a:pt x="27649" y="0"/>
                    </a:cubicBezTo>
                    <a:cubicBezTo>
                      <a:pt x="12361" y="0"/>
                      <a:pt x="0" y="12361"/>
                      <a:pt x="0" y="27649"/>
                    </a:cubicBezTo>
                    <a:cubicBezTo>
                      <a:pt x="0" y="42938"/>
                      <a:pt x="12361" y="55298"/>
                      <a:pt x="27649" y="55298"/>
                    </a:cubicBezTo>
                    <a:cubicBezTo>
                      <a:pt x="42938" y="55298"/>
                      <a:pt x="55298" y="42938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7" name="Forma livre: Forma 26">
                <a:extLst>
                  <a:ext uri="{FF2B5EF4-FFF2-40B4-BE49-F238E27FC236}">
                    <a16:creationId xmlns:a16="http://schemas.microsoft.com/office/drawing/2014/main" id="{3AE4CFAC-6A48-08E7-0882-FA62DF4D7B0B}"/>
                  </a:ext>
                </a:extLst>
              </p:cNvPr>
              <p:cNvSpPr/>
              <p:nvPr/>
            </p:nvSpPr>
            <p:spPr>
              <a:xfrm>
                <a:off x="6191625" y="1465122"/>
                <a:ext cx="118468" cy="49898"/>
              </a:xfrm>
              <a:custGeom>
                <a:avLst/>
                <a:gdLst>
                  <a:gd name="connsiteX0" fmla="*/ 0 w 118468"/>
                  <a:gd name="connsiteY0" fmla="*/ 49899 h 49898"/>
                  <a:gd name="connsiteX1" fmla="*/ 37343 w 118468"/>
                  <a:gd name="connsiteY1" fmla="*/ 49899 h 49898"/>
                  <a:gd name="connsiteX2" fmla="*/ 87176 w 118468"/>
                  <a:gd name="connsiteY2" fmla="*/ 0 h 49898"/>
                  <a:gd name="connsiteX3" fmla="*/ 118469 w 118468"/>
                  <a:gd name="connsiteY3" fmla="*/ 0 h 49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8468" h="49898">
                    <a:moveTo>
                      <a:pt x="0" y="49899"/>
                    </a:moveTo>
                    <a:lnTo>
                      <a:pt x="37343" y="49899"/>
                    </a:lnTo>
                    <a:lnTo>
                      <a:pt x="87176" y="0"/>
                    </a:lnTo>
                    <a:lnTo>
                      <a:pt x="118469" y="0"/>
                    </a:lnTo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8" name="Forma livre: Forma 27">
                <a:extLst>
                  <a:ext uri="{FF2B5EF4-FFF2-40B4-BE49-F238E27FC236}">
                    <a16:creationId xmlns:a16="http://schemas.microsoft.com/office/drawing/2014/main" id="{7D7670B7-0A49-A956-CA18-C6C6C1CDD70D}"/>
                  </a:ext>
                </a:extLst>
              </p:cNvPr>
              <p:cNvSpPr/>
              <p:nvPr/>
            </p:nvSpPr>
            <p:spPr>
              <a:xfrm>
                <a:off x="6191625" y="1405269"/>
                <a:ext cx="81451" cy="44043"/>
              </a:xfrm>
              <a:custGeom>
                <a:avLst/>
                <a:gdLst>
                  <a:gd name="connsiteX0" fmla="*/ 0 w 81451"/>
                  <a:gd name="connsiteY0" fmla="*/ 44044 h 44043"/>
                  <a:gd name="connsiteX1" fmla="*/ 37343 w 81451"/>
                  <a:gd name="connsiteY1" fmla="*/ 44044 h 44043"/>
                  <a:gd name="connsiteX2" fmla="*/ 81451 w 81451"/>
                  <a:gd name="connsiteY2" fmla="*/ 0 h 440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1451" h="44043">
                    <a:moveTo>
                      <a:pt x="0" y="44044"/>
                    </a:moveTo>
                    <a:lnTo>
                      <a:pt x="37343" y="44044"/>
                    </a:lnTo>
                    <a:lnTo>
                      <a:pt x="81451" y="0"/>
                    </a:lnTo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9" name="Forma livre: Forma 28">
                <a:extLst>
                  <a:ext uri="{FF2B5EF4-FFF2-40B4-BE49-F238E27FC236}">
                    <a16:creationId xmlns:a16="http://schemas.microsoft.com/office/drawing/2014/main" id="{9CA37CE1-080C-3E41-4C57-A48ECA5F7316}"/>
                  </a:ext>
                </a:extLst>
              </p:cNvPr>
              <p:cNvSpPr/>
              <p:nvPr/>
            </p:nvSpPr>
            <p:spPr>
              <a:xfrm>
                <a:off x="6265075" y="1357908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0 h 55298"/>
                  <a:gd name="connsiteX2" fmla="*/ 0 w 55298"/>
                  <a:gd name="connsiteY2" fmla="*/ 27649 h 55298"/>
                  <a:gd name="connsiteX3" fmla="*/ 27649 w 55298"/>
                  <a:gd name="connsiteY3" fmla="*/ 55298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12361"/>
                      <a:pt x="42938" y="0"/>
                      <a:pt x="27649" y="0"/>
                    </a:cubicBezTo>
                    <a:cubicBezTo>
                      <a:pt x="12361" y="0"/>
                      <a:pt x="0" y="12361"/>
                      <a:pt x="0" y="27649"/>
                    </a:cubicBezTo>
                    <a:cubicBezTo>
                      <a:pt x="0" y="42938"/>
                      <a:pt x="12361" y="55298"/>
                      <a:pt x="27649" y="55298"/>
                    </a:cubicBezTo>
                    <a:cubicBezTo>
                      <a:pt x="42938" y="55298"/>
                      <a:pt x="55298" y="42938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22" name="Gráfico 32">
              <a:extLst>
                <a:ext uri="{FF2B5EF4-FFF2-40B4-BE49-F238E27FC236}">
                  <a16:creationId xmlns:a16="http://schemas.microsoft.com/office/drawing/2014/main" id="{79159D9B-EB32-4864-25FF-4E3FC8A13F76}"/>
                </a:ext>
              </a:extLst>
            </p:cNvPr>
            <p:cNvGrpSpPr/>
            <p:nvPr/>
          </p:nvGrpSpPr>
          <p:grpSpPr>
            <a:xfrm>
              <a:off x="6190910" y="1529723"/>
              <a:ext cx="123673" cy="55298"/>
              <a:chOff x="6190910" y="1529723"/>
              <a:chExt cx="123673" cy="55298"/>
            </a:xfrm>
            <a:noFill/>
          </p:grpSpPr>
          <p:sp>
            <p:nvSpPr>
              <p:cNvPr id="24" name="Forma livre: Forma 23">
                <a:extLst>
                  <a:ext uri="{FF2B5EF4-FFF2-40B4-BE49-F238E27FC236}">
                    <a16:creationId xmlns:a16="http://schemas.microsoft.com/office/drawing/2014/main" id="{28BB551B-AD6F-4D04-1194-0EE3AE6C1395}"/>
                  </a:ext>
                </a:extLst>
              </p:cNvPr>
              <p:cNvSpPr/>
              <p:nvPr/>
            </p:nvSpPr>
            <p:spPr>
              <a:xfrm>
                <a:off x="6190910" y="1557372"/>
                <a:ext cx="68765" cy="6505"/>
              </a:xfrm>
              <a:custGeom>
                <a:avLst/>
                <a:gdLst>
                  <a:gd name="connsiteX0" fmla="*/ 0 w 68765"/>
                  <a:gd name="connsiteY0" fmla="*/ 0 h 6505"/>
                  <a:gd name="connsiteX1" fmla="*/ 68765 w 68765"/>
                  <a:gd name="connsiteY1" fmla="*/ 0 h 65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8765" h="6505">
                    <a:moveTo>
                      <a:pt x="0" y="0"/>
                    </a:moveTo>
                    <a:lnTo>
                      <a:pt x="68765" y="0"/>
                    </a:lnTo>
                  </a:path>
                </a:pathLst>
              </a:custGeom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5" name="Forma livre: Forma 24">
                <a:extLst>
                  <a:ext uri="{FF2B5EF4-FFF2-40B4-BE49-F238E27FC236}">
                    <a16:creationId xmlns:a16="http://schemas.microsoft.com/office/drawing/2014/main" id="{AB247860-B510-AA7F-5CBB-6CD519802359}"/>
                  </a:ext>
                </a:extLst>
              </p:cNvPr>
              <p:cNvSpPr/>
              <p:nvPr/>
            </p:nvSpPr>
            <p:spPr>
              <a:xfrm>
                <a:off x="6259285" y="1529723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23" name="Forma livre: Forma 22">
              <a:extLst>
                <a:ext uri="{FF2B5EF4-FFF2-40B4-BE49-F238E27FC236}">
                  <a16:creationId xmlns:a16="http://schemas.microsoft.com/office/drawing/2014/main" id="{AF0E9A82-0851-E259-2CDB-BE7524004DAB}"/>
                </a:ext>
              </a:extLst>
            </p:cNvPr>
            <p:cNvSpPr/>
            <p:nvPr/>
          </p:nvSpPr>
          <p:spPr>
            <a:xfrm>
              <a:off x="6152201" y="1686285"/>
              <a:ext cx="37362" cy="20848"/>
            </a:xfrm>
            <a:custGeom>
              <a:avLst/>
              <a:gdLst>
                <a:gd name="connsiteX0" fmla="*/ 0 w 37362"/>
                <a:gd name="connsiteY0" fmla="*/ 10505 h 20848"/>
                <a:gd name="connsiteX1" fmla="*/ 27064 w 37362"/>
                <a:gd name="connsiteY1" fmla="*/ 2373 h 20848"/>
                <a:gd name="connsiteX2" fmla="*/ 37343 w 37362"/>
                <a:gd name="connsiteY2" fmla="*/ 20849 h 20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7362" h="20848">
                  <a:moveTo>
                    <a:pt x="0" y="10505"/>
                  </a:moveTo>
                  <a:cubicBezTo>
                    <a:pt x="5205" y="811"/>
                    <a:pt x="17435" y="-2832"/>
                    <a:pt x="27064" y="2373"/>
                  </a:cubicBezTo>
                  <a:cubicBezTo>
                    <a:pt x="34025" y="6081"/>
                    <a:pt x="37668" y="13432"/>
                    <a:pt x="37343" y="20849"/>
                  </a:cubicBezTo>
                </a:path>
              </a:pathLst>
            </a:custGeom>
            <a:noFill/>
            <a:ln w="19050" cap="sq">
              <a:solidFill>
                <a:schemeClr val="tx1"/>
              </a:solidFill>
              <a:prstDash val="solid"/>
              <a:miter lim="800000"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cxnSp>
        <p:nvCxnSpPr>
          <p:cNvPr id="41" name="Conexão reta 40">
            <a:extLst>
              <a:ext uri="{FF2B5EF4-FFF2-40B4-BE49-F238E27FC236}">
                <a16:creationId xmlns:a16="http://schemas.microsoft.com/office/drawing/2014/main" id="{C4916906-917C-9009-08E0-EDE687650734}"/>
              </a:ext>
            </a:extLst>
          </p:cNvPr>
          <p:cNvCxnSpPr/>
          <p:nvPr/>
        </p:nvCxnSpPr>
        <p:spPr>
          <a:xfrm flipV="1">
            <a:off x="7196739" y="1671484"/>
            <a:ext cx="0" cy="907600"/>
          </a:xfrm>
          <a:prstGeom prst="line">
            <a:avLst/>
          </a:prstGeom>
          <a:ln w="9525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2" name="Conexão reta 41">
            <a:extLst>
              <a:ext uri="{FF2B5EF4-FFF2-40B4-BE49-F238E27FC236}">
                <a16:creationId xmlns:a16="http://schemas.microsoft.com/office/drawing/2014/main" id="{2DC5193B-12FD-20A0-CC3A-6A73254C5050}"/>
              </a:ext>
            </a:extLst>
          </p:cNvPr>
          <p:cNvCxnSpPr/>
          <p:nvPr/>
        </p:nvCxnSpPr>
        <p:spPr>
          <a:xfrm flipV="1">
            <a:off x="7196739" y="4527947"/>
            <a:ext cx="0" cy="907600"/>
          </a:xfrm>
          <a:prstGeom prst="line">
            <a:avLst/>
          </a:prstGeom>
          <a:ln w="9525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4" name="Conexão reta 43">
            <a:extLst>
              <a:ext uri="{FF2B5EF4-FFF2-40B4-BE49-F238E27FC236}">
                <a16:creationId xmlns:a16="http://schemas.microsoft.com/office/drawing/2014/main" id="{6762374E-94A7-670B-125E-2FFC272EFDBA}"/>
              </a:ext>
            </a:extLst>
          </p:cNvPr>
          <p:cNvCxnSpPr/>
          <p:nvPr/>
        </p:nvCxnSpPr>
        <p:spPr>
          <a:xfrm>
            <a:off x="8150942" y="3557334"/>
            <a:ext cx="973393" cy="0"/>
          </a:xfrm>
          <a:prstGeom prst="line">
            <a:avLst/>
          </a:prstGeom>
          <a:ln w="9525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5" name="Conexão reta 44">
            <a:extLst>
              <a:ext uri="{FF2B5EF4-FFF2-40B4-BE49-F238E27FC236}">
                <a16:creationId xmlns:a16="http://schemas.microsoft.com/office/drawing/2014/main" id="{0EB52891-2C0E-D007-2E24-9601668B20C3}"/>
              </a:ext>
            </a:extLst>
          </p:cNvPr>
          <p:cNvCxnSpPr/>
          <p:nvPr/>
        </p:nvCxnSpPr>
        <p:spPr>
          <a:xfrm>
            <a:off x="5338916" y="3557334"/>
            <a:ext cx="973393" cy="0"/>
          </a:xfrm>
          <a:prstGeom prst="line">
            <a:avLst/>
          </a:prstGeom>
          <a:ln w="9525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0" name="Marcador de pie de página 39">
            <a:extLst>
              <a:ext uri="{FF2B5EF4-FFF2-40B4-BE49-F238E27FC236}">
                <a16:creationId xmlns:a16="http://schemas.microsoft.com/office/drawing/2014/main" id="{76A8028E-19F3-4916-B6FF-498636E1112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pt-PT"/>
              <a:t>Título de la presentación</a:t>
            </a:r>
            <a:endParaRPr lang="pt-PT" dirty="0"/>
          </a:p>
        </p:txBody>
      </p:sp>
      <p:sp>
        <p:nvSpPr>
          <p:cNvPr id="43" name="Marcador de número de diapositiva 42">
            <a:extLst>
              <a:ext uri="{FF2B5EF4-FFF2-40B4-BE49-F238E27FC236}">
                <a16:creationId xmlns:a16="http://schemas.microsoft.com/office/drawing/2014/main" id="{9A991E59-EC9C-47F4-9B27-DA9E01A32BE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4A347C2-D68E-473A-8C76-1D063E4EB6E0}" type="slidenum">
              <a:rPr lang="es-ES" smtClean="0"/>
              <a:pPr/>
              <a:t>53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4959064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2F13B911-897F-D182-2B80-72E4E4E218B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PT" dirty="0"/>
              <a:t>Ejemplo de título de slide</a:t>
            </a:r>
          </a:p>
        </p:txBody>
      </p:sp>
      <p:sp>
        <p:nvSpPr>
          <p:cNvPr id="3" name="Marcador de Posição do Texto 2">
            <a:extLst>
              <a:ext uri="{FF2B5EF4-FFF2-40B4-BE49-F238E27FC236}">
                <a16:creationId xmlns:a16="http://schemas.microsoft.com/office/drawing/2014/main" id="{1168FA8B-3CC7-D792-34E9-4AED2CA895D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>
            <a:normAutofit lnSpcReduction="10000"/>
          </a:bodyPr>
          <a:lstStyle/>
          <a:p>
            <a:r>
              <a:rPr lang="pt-PT" dirty="0"/>
              <a:t>Ejemplo de subtítulo de slide</a:t>
            </a:r>
          </a:p>
        </p:txBody>
      </p:sp>
      <p:sp>
        <p:nvSpPr>
          <p:cNvPr id="4" name="Marcador de Posição do Texto 3">
            <a:extLst>
              <a:ext uri="{FF2B5EF4-FFF2-40B4-BE49-F238E27FC236}">
                <a16:creationId xmlns:a16="http://schemas.microsoft.com/office/drawing/2014/main" id="{D32E818E-606E-14D2-F962-5AADFA650A60}"/>
              </a:ext>
            </a:extLst>
          </p:cNvPr>
          <p:cNvSpPr>
            <a:spLocks noGrp="1"/>
          </p:cNvSpPr>
          <p:nvPr>
            <p:ph type="body" sz="quarter" idx="80"/>
          </p:nvPr>
        </p:nvSpPr>
        <p:spPr/>
        <p:txBody>
          <a:bodyPr/>
          <a:lstStyle/>
          <a:p>
            <a:r>
              <a:rPr lang="pt-PT" dirty="0" err="1"/>
              <a:t>Lorem</a:t>
            </a:r>
            <a:r>
              <a:rPr lang="pt-PT" dirty="0"/>
              <a:t> </a:t>
            </a:r>
            <a:r>
              <a:rPr lang="pt-PT" dirty="0" err="1"/>
              <a:t>ipsum</a:t>
            </a:r>
            <a:r>
              <a:rPr lang="pt-PT" dirty="0"/>
              <a:t> </a:t>
            </a:r>
            <a:r>
              <a:rPr lang="pt-PT" dirty="0" err="1"/>
              <a:t>dolor</a:t>
            </a:r>
            <a:r>
              <a:rPr lang="pt-PT" dirty="0"/>
              <a:t>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r>
              <a:rPr lang="pt-PT" dirty="0"/>
              <a:t>, </a:t>
            </a:r>
            <a:r>
              <a:rPr lang="pt-PT" dirty="0" err="1"/>
              <a:t>consectetuer</a:t>
            </a:r>
            <a:r>
              <a:rPr lang="pt-PT" dirty="0"/>
              <a:t> </a:t>
            </a:r>
            <a:r>
              <a:rPr lang="pt-PT" dirty="0" err="1"/>
              <a:t>adipiscing</a:t>
            </a:r>
            <a:r>
              <a:rPr lang="pt-PT" dirty="0"/>
              <a:t> </a:t>
            </a:r>
            <a:r>
              <a:rPr lang="pt-PT" dirty="0" err="1"/>
              <a:t>elit</a:t>
            </a:r>
            <a:r>
              <a:rPr lang="pt-PT" dirty="0"/>
              <a:t>. </a:t>
            </a:r>
            <a:r>
              <a:rPr lang="pt-PT" dirty="0" err="1"/>
              <a:t>Maecenas</a:t>
            </a:r>
            <a:r>
              <a:rPr lang="pt-PT" dirty="0"/>
              <a:t> </a:t>
            </a:r>
            <a:r>
              <a:rPr lang="pt-PT" dirty="0" err="1"/>
              <a:t>porttitor</a:t>
            </a:r>
            <a:r>
              <a:rPr lang="pt-PT" dirty="0"/>
              <a:t> </a:t>
            </a:r>
            <a:r>
              <a:rPr lang="pt-PT" dirty="0" err="1"/>
              <a:t>congue</a:t>
            </a:r>
            <a:r>
              <a:rPr lang="pt-PT" dirty="0"/>
              <a:t> massa. </a:t>
            </a:r>
            <a:r>
              <a:rPr lang="pt-PT" dirty="0" err="1"/>
              <a:t>Fusce</a:t>
            </a:r>
            <a:r>
              <a:rPr lang="pt-PT" dirty="0"/>
              <a:t> </a:t>
            </a:r>
            <a:r>
              <a:rPr lang="pt-PT" dirty="0" err="1"/>
              <a:t>posuere</a:t>
            </a:r>
            <a:r>
              <a:rPr lang="pt-PT" dirty="0"/>
              <a:t>, magna </a:t>
            </a:r>
            <a:r>
              <a:rPr lang="pt-PT" dirty="0" err="1"/>
              <a:t>sed</a:t>
            </a:r>
            <a:r>
              <a:rPr lang="pt-PT" dirty="0"/>
              <a:t> pulvinar </a:t>
            </a:r>
            <a:r>
              <a:rPr lang="pt-PT" dirty="0" err="1"/>
              <a:t>ultricies</a:t>
            </a:r>
            <a:r>
              <a:rPr lang="pt-PT" dirty="0"/>
              <a:t>, purus </a:t>
            </a:r>
            <a:r>
              <a:rPr lang="pt-PT" dirty="0" err="1"/>
              <a:t>lectus</a:t>
            </a:r>
            <a:r>
              <a:rPr lang="pt-PT" dirty="0"/>
              <a:t> </a:t>
            </a:r>
            <a:r>
              <a:rPr lang="pt-PT" dirty="0" err="1"/>
              <a:t>malesuada</a:t>
            </a:r>
            <a:r>
              <a:rPr lang="pt-PT" dirty="0"/>
              <a:t> libero,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r>
              <a:rPr lang="pt-PT" dirty="0"/>
              <a:t> </a:t>
            </a:r>
            <a:r>
              <a:rPr lang="pt-PT" dirty="0" err="1"/>
              <a:t>commodo</a:t>
            </a:r>
            <a:r>
              <a:rPr lang="pt-PT" dirty="0"/>
              <a:t> magna eros quis urna.</a:t>
            </a:r>
          </a:p>
          <a:p>
            <a:r>
              <a:rPr lang="pt-PT" dirty="0" err="1"/>
              <a:t>Lorem</a:t>
            </a:r>
            <a:r>
              <a:rPr lang="pt-PT" dirty="0"/>
              <a:t> </a:t>
            </a:r>
            <a:r>
              <a:rPr lang="pt-PT" dirty="0" err="1"/>
              <a:t>ipsum</a:t>
            </a:r>
            <a:r>
              <a:rPr lang="pt-PT" dirty="0"/>
              <a:t> </a:t>
            </a:r>
            <a:r>
              <a:rPr lang="pt-PT" dirty="0" err="1"/>
              <a:t>dolor</a:t>
            </a:r>
            <a:r>
              <a:rPr lang="pt-PT" dirty="0"/>
              <a:t>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r>
              <a:rPr lang="pt-PT" dirty="0"/>
              <a:t>, </a:t>
            </a:r>
            <a:r>
              <a:rPr lang="pt-PT" dirty="0" err="1"/>
              <a:t>consectetuer</a:t>
            </a:r>
            <a:r>
              <a:rPr lang="pt-PT" dirty="0"/>
              <a:t> </a:t>
            </a:r>
            <a:r>
              <a:rPr lang="pt-PT" dirty="0" err="1"/>
              <a:t>adipiscing</a:t>
            </a:r>
            <a:r>
              <a:rPr lang="pt-PT" dirty="0"/>
              <a:t> </a:t>
            </a:r>
            <a:r>
              <a:rPr lang="pt-PT" dirty="0" err="1"/>
              <a:t>elit</a:t>
            </a:r>
            <a:r>
              <a:rPr lang="pt-PT" dirty="0"/>
              <a:t>. </a:t>
            </a:r>
          </a:p>
        </p:txBody>
      </p:sp>
      <p:sp>
        <p:nvSpPr>
          <p:cNvPr id="5" name="Marcador de Posição do Texto 4">
            <a:extLst>
              <a:ext uri="{FF2B5EF4-FFF2-40B4-BE49-F238E27FC236}">
                <a16:creationId xmlns:a16="http://schemas.microsoft.com/office/drawing/2014/main" id="{CAA2E976-F5CC-313D-632D-ADA3B483C927}"/>
              </a:ext>
            </a:extLst>
          </p:cNvPr>
          <p:cNvSpPr>
            <a:spLocks noGrp="1"/>
          </p:cNvSpPr>
          <p:nvPr>
            <p:ph type="body" sz="quarter" idx="81"/>
          </p:nvPr>
        </p:nvSpPr>
        <p:spPr/>
        <p:txBody>
          <a:bodyPr/>
          <a:lstStyle/>
          <a:p>
            <a:r>
              <a:rPr lang="pt-PT" dirty="0"/>
              <a:t>Texto Destacado</a:t>
            </a:r>
          </a:p>
        </p:txBody>
      </p:sp>
      <p:sp>
        <p:nvSpPr>
          <p:cNvPr id="6" name="Marcador de Posição do Texto 5">
            <a:extLst>
              <a:ext uri="{FF2B5EF4-FFF2-40B4-BE49-F238E27FC236}">
                <a16:creationId xmlns:a16="http://schemas.microsoft.com/office/drawing/2014/main" id="{3D9773DE-F368-B8F3-E821-CE115EA900E8}"/>
              </a:ext>
            </a:extLst>
          </p:cNvPr>
          <p:cNvSpPr>
            <a:spLocks noGrp="1"/>
          </p:cNvSpPr>
          <p:nvPr>
            <p:ph type="body" sz="quarter" idx="82"/>
          </p:nvPr>
        </p:nvSpPr>
        <p:spPr/>
        <p:txBody>
          <a:bodyPr/>
          <a:lstStyle/>
          <a:p>
            <a:r>
              <a:rPr lang="pt-PT" dirty="0" err="1"/>
              <a:t>Engagement</a:t>
            </a:r>
            <a:r>
              <a:rPr lang="pt-PT" dirty="0"/>
              <a:t> Manager </a:t>
            </a:r>
          </a:p>
        </p:txBody>
      </p:sp>
      <p:sp>
        <p:nvSpPr>
          <p:cNvPr id="7" name="Marcador de Posição do Texto 6">
            <a:extLst>
              <a:ext uri="{FF2B5EF4-FFF2-40B4-BE49-F238E27FC236}">
                <a16:creationId xmlns:a16="http://schemas.microsoft.com/office/drawing/2014/main" id="{8A56301E-4BB6-77AB-8ED2-58A74D4CF9A2}"/>
              </a:ext>
            </a:extLst>
          </p:cNvPr>
          <p:cNvSpPr>
            <a:spLocks noGrp="1"/>
          </p:cNvSpPr>
          <p:nvPr>
            <p:ph type="body" sz="quarter" idx="83"/>
          </p:nvPr>
        </p:nvSpPr>
        <p:spPr/>
        <p:txBody>
          <a:bodyPr/>
          <a:lstStyle/>
          <a:p>
            <a:r>
              <a:rPr lang="pt-PT" dirty="0" err="1"/>
              <a:t>Architect</a:t>
            </a:r>
            <a:endParaRPr lang="pt-PT" dirty="0"/>
          </a:p>
        </p:txBody>
      </p:sp>
      <p:sp>
        <p:nvSpPr>
          <p:cNvPr id="8" name="Marcador de Posição do Texto 7">
            <a:extLst>
              <a:ext uri="{FF2B5EF4-FFF2-40B4-BE49-F238E27FC236}">
                <a16:creationId xmlns:a16="http://schemas.microsoft.com/office/drawing/2014/main" id="{973E3221-4AC7-D835-EE65-0B2E7839F017}"/>
              </a:ext>
            </a:extLst>
          </p:cNvPr>
          <p:cNvSpPr>
            <a:spLocks noGrp="1"/>
          </p:cNvSpPr>
          <p:nvPr>
            <p:ph type="body" sz="quarter" idx="84"/>
          </p:nvPr>
        </p:nvSpPr>
        <p:spPr/>
        <p:txBody>
          <a:bodyPr/>
          <a:lstStyle/>
          <a:p>
            <a:r>
              <a:rPr lang="pt-PT" dirty="0" err="1"/>
              <a:t>Tech</a:t>
            </a:r>
            <a:r>
              <a:rPr lang="pt-PT" dirty="0"/>
              <a:t> Lead</a:t>
            </a:r>
          </a:p>
        </p:txBody>
      </p:sp>
      <p:sp>
        <p:nvSpPr>
          <p:cNvPr id="9" name="Marcador de Posição do Texto 8">
            <a:extLst>
              <a:ext uri="{FF2B5EF4-FFF2-40B4-BE49-F238E27FC236}">
                <a16:creationId xmlns:a16="http://schemas.microsoft.com/office/drawing/2014/main" id="{9AAC4B2C-A6A8-7E7A-CDD2-5632590B280A}"/>
              </a:ext>
            </a:extLst>
          </p:cNvPr>
          <p:cNvSpPr>
            <a:spLocks noGrp="1"/>
          </p:cNvSpPr>
          <p:nvPr>
            <p:ph type="body" sz="quarter" idx="85"/>
          </p:nvPr>
        </p:nvSpPr>
        <p:spPr/>
        <p:txBody>
          <a:bodyPr/>
          <a:lstStyle/>
          <a:p>
            <a:r>
              <a:rPr lang="pt-PT" dirty="0" err="1"/>
              <a:t>UX</a:t>
            </a:r>
            <a:r>
              <a:rPr lang="pt-PT" dirty="0"/>
              <a:t>/UI</a:t>
            </a:r>
          </a:p>
        </p:txBody>
      </p:sp>
      <p:sp>
        <p:nvSpPr>
          <p:cNvPr id="10" name="Marcador de Posição do Texto 9">
            <a:extLst>
              <a:ext uri="{FF2B5EF4-FFF2-40B4-BE49-F238E27FC236}">
                <a16:creationId xmlns:a16="http://schemas.microsoft.com/office/drawing/2014/main" id="{CDC4F880-7FEB-441E-0AF7-3EA101811EFF}"/>
              </a:ext>
            </a:extLst>
          </p:cNvPr>
          <p:cNvSpPr>
            <a:spLocks noGrp="1"/>
          </p:cNvSpPr>
          <p:nvPr>
            <p:ph type="body" sz="quarter" idx="86"/>
          </p:nvPr>
        </p:nvSpPr>
        <p:spPr/>
        <p:txBody>
          <a:bodyPr/>
          <a:lstStyle/>
          <a:p>
            <a:r>
              <a:rPr lang="pt-PT" dirty="0" err="1"/>
              <a:t>Tester</a:t>
            </a:r>
            <a:endParaRPr lang="pt-PT" dirty="0"/>
          </a:p>
        </p:txBody>
      </p:sp>
      <p:sp>
        <p:nvSpPr>
          <p:cNvPr id="11" name="Marcador de Posição do Texto 10">
            <a:extLst>
              <a:ext uri="{FF2B5EF4-FFF2-40B4-BE49-F238E27FC236}">
                <a16:creationId xmlns:a16="http://schemas.microsoft.com/office/drawing/2014/main" id="{81DDE629-8326-B577-C104-33E667A8DEC9}"/>
              </a:ext>
            </a:extLst>
          </p:cNvPr>
          <p:cNvSpPr>
            <a:spLocks noGrp="1"/>
          </p:cNvSpPr>
          <p:nvPr>
            <p:ph type="body" sz="quarter" idx="87"/>
          </p:nvPr>
        </p:nvSpPr>
        <p:spPr/>
        <p:txBody>
          <a:bodyPr/>
          <a:lstStyle/>
          <a:p>
            <a:r>
              <a:rPr lang="pt-PT" dirty="0" err="1"/>
              <a:t>Developers</a:t>
            </a:r>
            <a:endParaRPr lang="pt-PT" dirty="0"/>
          </a:p>
        </p:txBody>
      </p:sp>
      <p:sp>
        <p:nvSpPr>
          <p:cNvPr id="12" name="Marcador de Posição do Texto 11">
            <a:extLst>
              <a:ext uri="{FF2B5EF4-FFF2-40B4-BE49-F238E27FC236}">
                <a16:creationId xmlns:a16="http://schemas.microsoft.com/office/drawing/2014/main" id="{200D2002-9230-71CE-D083-7A39044CD873}"/>
              </a:ext>
            </a:extLst>
          </p:cNvPr>
          <p:cNvSpPr>
            <a:spLocks noGrp="1"/>
          </p:cNvSpPr>
          <p:nvPr>
            <p:ph type="body" sz="quarter" idx="88"/>
          </p:nvPr>
        </p:nvSpPr>
        <p:spPr/>
        <p:txBody>
          <a:bodyPr/>
          <a:lstStyle/>
          <a:p>
            <a:r>
              <a:rPr lang="en-US" dirty="0"/>
              <a:t>Pool of developers to expand the baseline capacity of all the teams</a:t>
            </a:r>
          </a:p>
        </p:txBody>
      </p:sp>
      <p:sp>
        <p:nvSpPr>
          <p:cNvPr id="13" name="Marcador de Posição do Texto 12">
            <a:extLst>
              <a:ext uri="{FF2B5EF4-FFF2-40B4-BE49-F238E27FC236}">
                <a16:creationId xmlns:a16="http://schemas.microsoft.com/office/drawing/2014/main" id="{3AA5E7AB-5795-797E-C777-625858E296BC}"/>
              </a:ext>
            </a:extLst>
          </p:cNvPr>
          <p:cNvSpPr>
            <a:spLocks noGrp="1"/>
          </p:cNvSpPr>
          <p:nvPr>
            <p:ph type="body" sz="quarter" idx="89"/>
          </p:nvPr>
        </p:nvSpPr>
        <p:spPr>
          <a:xfrm>
            <a:off x="4456507" y="4463686"/>
            <a:ext cx="3124520" cy="480897"/>
          </a:xfrm>
        </p:spPr>
        <p:txBody>
          <a:bodyPr/>
          <a:lstStyle/>
          <a:p>
            <a:r>
              <a:rPr lang="en-US" dirty="0"/>
              <a:t>Service capacity and expertise </a:t>
            </a:r>
            <a:br>
              <a:rPr lang="en-US" dirty="0"/>
            </a:br>
            <a:r>
              <a:rPr lang="en-US" dirty="0"/>
              <a:t>can be complemented with </a:t>
            </a:r>
            <a:br>
              <a:rPr lang="en-US" dirty="0"/>
            </a:br>
            <a:r>
              <a:rPr lang="en-US" dirty="0"/>
              <a:t>other Noesis expert services</a:t>
            </a:r>
          </a:p>
        </p:txBody>
      </p:sp>
      <p:sp>
        <p:nvSpPr>
          <p:cNvPr id="14" name="Marcador de Posição do Texto 13">
            <a:extLst>
              <a:ext uri="{FF2B5EF4-FFF2-40B4-BE49-F238E27FC236}">
                <a16:creationId xmlns:a16="http://schemas.microsoft.com/office/drawing/2014/main" id="{31D1BA0B-2B92-67FC-760A-0A425CCFB668}"/>
              </a:ext>
            </a:extLst>
          </p:cNvPr>
          <p:cNvSpPr>
            <a:spLocks noGrp="1"/>
          </p:cNvSpPr>
          <p:nvPr>
            <p:ph type="body" sz="quarter" idx="90"/>
          </p:nvPr>
        </p:nvSpPr>
        <p:spPr>
          <a:xfrm>
            <a:off x="4456507" y="5181633"/>
            <a:ext cx="3124520" cy="1272865"/>
          </a:xfrm>
        </p:spPr>
        <p:txBody>
          <a:bodyPr/>
          <a:lstStyle/>
          <a:p>
            <a:r>
              <a:rPr lang="pt-PT" dirty="0" err="1"/>
              <a:t>Infrastructure</a:t>
            </a:r>
            <a:r>
              <a:rPr lang="pt-PT" dirty="0"/>
              <a:t> </a:t>
            </a:r>
            <a:r>
              <a:rPr lang="pt-PT" dirty="0" err="1"/>
              <a:t>Services</a:t>
            </a:r>
            <a:endParaRPr lang="pt-PT" dirty="0"/>
          </a:p>
          <a:p>
            <a:r>
              <a:rPr lang="pt-PT" dirty="0" err="1"/>
              <a:t>DevOps</a:t>
            </a:r>
            <a:endParaRPr lang="pt-PT" dirty="0"/>
          </a:p>
          <a:p>
            <a:r>
              <a:rPr lang="pt-PT" dirty="0"/>
              <a:t>Data </a:t>
            </a:r>
            <a:r>
              <a:rPr lang="pt-PT" dirty="0" err="1"/>
              <a:t>Analytics</a:t>
            </a:r>
            <a:endParaRPr lang="pt-PT" dirty="0"/>
          </a:p>
          <a:p>
            <a:r>
              <a:rPr lang="pt-PT" dirty="0" err="1"/>
              <a:t>Quality</a:t>
            </a:r>
            <a:r>
              <a:rPr lang="pt-PT" dirty="0"/>
              <a:t> Management</a:t>
            </a:r>
          </a:p>
        </p:txBody>
      </p:sp>
      <p:pic>
        <p:nvPicPr>
          <p:cNvPr id="22" name="Marcador de Posição da Imagem 21" descr="Uma imagem com vestuário, pessoa, Cara humana, homem&#10;&#10;Os conteúdos gerados por IA podem estar incorretos.">
            <a:extLst>
              <a:ext uri="{FF2B5EF4-FFF2-40B4-BE49-F238E27FC236}">
                <a16:creationId xmlns:a16="http://schemas.microsoft.com/office/drawing/2014/main" id="{5662D97E-060C-997B-9036-82935F7912B1}"/>
              </a:ext>
            </a:extLst>
          </p:cNvPr>
          <p:cNvPicPr>
            <a:picLocks noGrp="1" noChangeAspect="1"/>
          </p:cNvPicPr>
          <p:nvPr>
            <p:ph type="pic" sz="quarter" idx="91"/>
          </p:nvPr>
        </p:nvPicPr>
        <p:blipFill>
          <a:blip r:embed="rId2"/>
          <a:srcRect l="30375" t="10582" r="42446" b="51765"/>
          <a:stretch>
            <a:fillRect/>
          </a:stretch>
        </p:blipFill>
        <p:spPr>
          <a:xfrm>
            <a:off x="3398028" y="1462444"/>
            <a:ext cx="768527" cy="710845"/>
          </a:xfrm>
        </p:spPr>
      </p:pic>
      <p:pic>
        <p:nvPicPr>
          <p:cNvPr id="23" name="Marcador de Posição da Imagem 21" descr="Uma imagem com vestuário, pessoa, Cara humana, homem&#10;&#10;Os conteúdos gerados por IA podem estar incorretos.">
            <a:extLst>
              <a:ext uri="{FF2B5EF4-FFF2-40B4-BE49-F238E27FC236}">
                <a16:creationId xmlns:a16="http://schemas.microsoft.com/office/drawing/2014/main" id="{6585CBFD-A3A4-F736-A214-F366124EDC01}"/>
              </a:ext>
            </a:extLst>
          </p:cNvPr>
          <p:cNvPicPr>
            <a:picLocks noGrp="1" noChangeAspect="1"/>
          </p:cNvPicPr>
          <p:nvPr>
            <p:ph type="pic" sz="quarter" idx="92"/>
          </p:nvPr>
        </p:nvPicPr>
        <p:blipFill>
          <a:blip r:embed="rId2"/>
          <a:srcRect l="31251" t="10522" r="44362" b="55699"/>
          <a:stretch>
            <a:fillRect/>
          </a:stretch>
        </p:blipFill>
        <p:spPr>
          <a:xfrm>
            <a:off x="1770063" y="2806700"/>
            <a:ext cx="768350" cy="709613"/>
          </a:xfrm>
        </p:spPr>
      </p:pic>
      <p:pic>
        <p:nvPicPr>
          <p:cNvPr id="24" name="Marcador de Posição da Imagem 21" descr="Uma imagem com vestuário, pessoa, Cara humana, homem&#10;&#10;Os conteúdos gerados por IA podem estar incorretos.">
            <a:extLst>
              <a:ext uri="{FF2B5EF4-FFF2-40B4-BE49-F238E27FC236}">
                <a16:creationId xmlns:a16="http://schemas.microsoft.com/office/drawing/2014/main" id="{5B694EFF-1BC9-314D-AD06-04565B201995}"/>
              </a:ext>
            </a:extLst>
          </p:cNvPr>
          <p:cNvPicPr>
            <a:picLocks noGrp="1" noChangeAspect="1"/>
          </p:cNvPicPr>
          <p:nvPr>
            <p:ph type="pic" sz="quarter" idx="93"/>
          </p:nvPr>
        </p:nvPicPr>
        <p:blipFill>
          <a:blip r:embed="rId2"/>
          <a:srcRect l="31816" t="10386" r="44114" b="56274"/>
          <a:stretch>
            <a:fillRect/>
          </a:stretch>
        </p:blipFill>
        <p:spPr>
          <a:xfrm>
            <a:off x="4867275" y="2806700"/>
            <a:ext cx="768350" cy="709613"/>
          </a:xfrm>
        </p:spPr>
      </p:pic>
      <p:pic>
        <p:nvPicPr>
          <p:cNvPr id="25" name="Marcador de Posição da Imagem 21" descr="Uma imagem com vestuário, pessoa, Cara humana, homem&#10;&#10;Os conteúdos gerados por IA podem estar incorretos.">
            <a:extLst>
              <a:ext uri="{FF2B5EF4-FFF2-40B4-BE49-F238E27FC236}">
                <a16:creationId xmlns:a16="http://schemas.microsoft.com/office/drawing/2014/main" id="{49DD7179-F3DE-F52E-30D7-4F8968AD8ABC}"/>
              </a:ext>
            </a:extLst>
          </p:cNvPr>
          <p:cNvPicPr>
            <a:picLocks noGrp="1" noChangeAspect="1"/>
          </p:cNvPicPr>
          <p:nvPr>
            <p:ph type="pic" sz="quarter" idx="94"/>
          </p:nvPr>
        </p:nvPicPr>
        <p:blipFill>
          <a:blip r:embed="rId2"/>
          <a:srcRect l="30244" t="12157" r="48185" b="57964"/>
          <a:stretch>
            <a:fillRect/>
          </a:stretch>
        </p:blipFill>
        <p:spPr>
          <a:xfrm>
            <a:off x="6472238" y="2806700"/>
            <a:ext cx="768350" cy="709613"/>
          </a:xfrm>
        </p:spPr>
      </p:pic>
      <p:pic>
        <p:nvPicPr>
          <p:cNvPr id="26" name="Marcador de Posição da Imagem 21" descr="Uma imagem com vestuário, pessoa, Cara humana, homem&#10;&#10;Os conteúdos gerados por IA podem estar incorretos.">
            <a:extLst>
              <a:ext uri="{FF2B5EF4-FFF2-40B4-BE49-F238E27FC236}">
                <a16:creationId xmlns:a16="http://schemas.microsoft.com/office/drawing/2014/main" id="{EB94B561-E5C1-4D89-0C0A-6D2FD428CF01}"/>
              </a:ext>
            </a:extLst>
          </p:cNvPr>
          <p:cNvPicPr>
            <a:picLocks noGrp="1" noChangeAspect="1"/>
          </p:cNvPicPr>
          <p:nvPr>
            <p:ph type="pic" sz="quarter" idx="95"/>
          </p:nvPr>
        </p:nvPicPr>
        <p:blipFill>
          <a:blip r:embed="rId2"/>
          <a:srcRect l="32055" t="11604" r="45247" b="56958"/>
          <a:stretch>
            <a:fillRect/>
          </a:stretch>
        </p:blipFill>
        <p:spPr>
          <a:xfrm>
            <a:off x="947738" y="4197350"/>
            <a:ext cx="768350" cy="709613"/>
          </a:xfrm>
        </p:spPr>
      </p:pic>
      <p:pic>
        <p:nvPicPr>
          <p:cNvPr id="27" name="Marcador de Posição da Imagem 21" descr="Uma imagem com vestuário, pessoa, Cara humana, homem&#10;&#10;Os conteúdos gerados por IA podem estar incorretos.">
            <a:extLst>
              <a:ext uri="{FF2B5EF4-FFF2-40B4-BE49-F238E27FC236}">
                <a16:creationId xmlns:a16="http://schemas.microsoft.com/office/drawing/2014/main" id="{9D69E3CB-BD9D-2005-1C38-F9BC57597134}"/>
              </a:ext>
            </a:extLst>
          </p:cNvPr>
          <p:cNvPicPr>
            <a:picLocks noGrp="1" noChangeAspect="1"/>
          </p:cNvPicPr>
          <p:nvPr>
            <p:ph type="pic" sz="quarter" idx="96"/>
          </p:nvPr>
        </p:nvPicPr>
        <p:blipFill>
          <a:blip r:embed="rId2"/>
          <a:srcRect l="29758" t="12080" r="44190" b="51909"/>
          <a:stretch>
            <a:fillRect/>
          </a:stretch>
        </p:blipFill>
        <p:spPr>
          <a:xfrm>
            <a:off x="2649538" y="4197350"/>
            <a:ext cx="769937" cy="709613"/>
          </a:xfrm>
        </p:spPr>
      </p:pic>
      <p:grpSp>
        <p:nvGrpSpPr>
          <p:cNvPr id="52" name="Agrupar 51">
            <a:extLst>
              <a:ext uri="{FF2B5EF4-FFF2-40B4-BE49-F238E27FC236}">
                <a16:creationId xmlns:a16="http://schemas.microsoft.com/office/drawing/2014/main" id="{DC36A612-82D1-9CF1-FA6D-359C35B90DA9}"/>
              </a:ext>
            </a:extLst>
          </p:cNvPr>
          <p:cNvGrpSpPr/>
          <p:nvPr/>
        </p:nvGrpSpPr>
        <p:grpSpPr>
          <a:xfrm>
            <a:off x="2134531" y="2517975"/>
            <a:ext cx="4727218" cy="213342"/>
            <a:chOff x="2134531" y="2517975"/>
            <a:chExt cx="4727218" cy="213342"/>
          </a:xfrm>
        </p:grpSpPr>
        <p:cxnSp>
          <p:nvCxnSpPr>
            <p:cNvPr id="28" name="Conexão reta 27">
              <a:extLst>
                <a:ext uri="{FF2B5EF4-FFF2-40B4-BE49-F238E27FC236}">
                  <a16:creationId xmlns:a16="http://schemas.microsoft.com/office/drawing/2014/main" id="{ED07A9FA-7254-0564-47F0-90E8D8081A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2134531" y="2590800"/>
              <a:ext cx="0" cy="140517"/>
            </a:xfrm>
            <a:prstGeom prst="line">
              <a:avLst/>
            </a:prstGeom>
            <a:ln w="6350">
              <a:solidFill>
                <a:schemeClr val="tx1"/>
              </a:solidFill>
              <a:headEnd type="arrow"/>
              <a:tailEnd type="non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Conexão reta 31">
              <a:extLst>
                <a:ext uri="{FF2B5EF4-FFF2-40B4-BE49-F238E27FC236}">
                  <a16:creationId xmlns:a16="http://schemas.microsoft.com/office/drawing/2014/main" id="{B86A67DA-0318-78BD-4C69-BF55AD67D3FC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252024" y="2590800"/>
              <a:ext cx="0" cy="140517"/>
            </a:xfrm>
            <a:prstGeom prst="line">
              <a:avLst/>
            </a:prstGeom>
            <a:ln w="6350">
              <a:solidFill>
                <a:schemeClr val="tx1"/>
              </a:solidFill>
              <a:headEnd type="arrow"/>
              <a:tailEnd type="non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Conexão reta 32">
              <a:extLst>
                <a:ext uri="{FF2B5EF4-FFF2-40B4-BE49-F238E27FC236}">
                  <a16:creationId xmlns:a16="http://schemas.microsoft.com/office/drawing/2014/main" id="{963FB3D3-C87A-B1AB-DDD2-9CF73FAA942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861749" y="2590800"/>
              <a:ext cx="0" cy="140517"/>
            </a:xfrm>
            <a:prstGeom prst="line">
              <a:avLst/>
            </a:prstGeom>
            <a:ln w="6350">
              <a:solidFill>
                <a:schemeClr val="tx1"/>
              </a:solidFill>
              <a:headEnd type="arrow"/>
              <a:tailEnd type="non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Conexão reta 34">
              <a:extLst>
                <a:ext uri="{FF2B5EF4-FFF2-40B4-BE49-F238E27FC236}">
                  <a16:creationId xmlns:a16="http://schemas.microsoft.com/office/drawing/2014/main" id="{19D8D7FB-6984-9A28-C5E5-F5D652B066EA}"/>
                </a:ext>
              </a:extLst>
            </p:cNvPr>
            <p:cNvCxnSpPr/>
            <p:nvPr/>
          </p:nvCxnSpPr>
          <p:spPr>
            <a:xfrm>
              <a:off x="2134531" y="2590800"/>
              <a:ext cx="4723469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Conexão reta 36">
              <a:extLst>
                <a:ext uri="{FF2B5EF4-FFF2-40B4-BE49-F238E27FC236}">
                  <a16:creationId xmlns:a16="http://schemas.microsoft.com/office/drawing/2014/main" id="{1CCFCAC7-8C2C-49E0-186A-CF1D4223CA61}"/>
                </a:ext>
              </a:extLst>
            </p:cNvPr>
            <p:cNvCxnSpPr>
              <a:cxnSpLocks/>
              <a:endCxn id="6" idx="2"/>
            </p:cNvCxnSpPr>
            <p:nvPr/>
          </p:nvCxnSpPr>
          <p:spPr>
            <a:xfrm flipV="1">
              <a:off x="3825863" y="2517975"/>
              <a:ext cx="0" cy="72825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3" name="Agrupar 52">
            <a:extLst>
              <a:ext uri="{FF2B5EF4-FFF2-40B4-BE49-F238E27FC236}">
                <a16:creationId xmlns:a16="http://schemas.microsoft.com/office/drawing/2014/main" id="{02BAAB73-9AB7-C55B-BB49-4832FA9A6A1C}"/>
              </a:ext>
            </a:extLst>
          </p:cNvPr>
          <p:cNvGrpSpPr/>
          <p:nvPr/>
        </p:nvGrpSpPr>
        <p:grpSpPr>
          <a:xfrm>
            <a:off x="1305856" y="3861000"/>
            <a:ext cx="1730375" cy="234750"/>
            <a:chOff x="1305856" y="3861000"/>
            <a:chExt cx="1730375" cy="234750"/>
          </a:xfrm>
        </p:grpSpPr>
        <p:cxnSp>
          <p:nvCxnSpPr>
            <p:cNvPr id="40" name="Conexão reta 39">
              <a:extLst>
                <a:ext uri="{FF2B5EF4-FFF2-40B4-BE49-F238E27FC236}">
                  <a16:creationId xmlns:a16="http://schemas.microsoft.com/office/drawing/2014/main" id="{9A6B3B3E-0DD8-290B-7B3A-809B7F84F421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305856" y="3933825"/>
              <a:ext cx="0" cy="161925"/>
            </a:xfrm>
            <a:prstGeom prst="line">
              <a:avLst/>
            </a:prstGeom>
            <a:ln w="6350">
              <a:solidFill>
                <a:schemeClr val="tx1"/>
              </a:solidFill>
              <a:headEnd type="arrow"/>
              <a:tailEnd type="non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Conexão reta 40">
              <a:extLst>
                <a:ext uri="{FF2B5EF4-FFF2-40B4-BE49-F238E27FC236}">
                  <a16:creationId xmlns:a16="http://schemas.microsoft.com/office/drawing/2014/main" id="{274AB2F2-BF7F-0744-67B5-B26B31402B87}"/>
                </a:ext>
              </a:extLst>
            </p:cNvPr>
            <p:cNvCxnSpPr>
              <a:cxnSpLocks/>
            </p:cNvCxnSpPr>
            <p:nvPr/>
          </p:nvCxnSpPr>
          <p:spPr>
            <a:xfrm>
              <a:off x="1305856" y="3933825"/>
              <a:ext cx="1730375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Conexão reta 41">
              <a:extLst>
                <a:ext uri="{FF2B5EF4-FFF2-40B4-BE49-F238E27FC236}">
                  <a16:creationId xmlns:a16="http://schemas.microsoft.com/office/drawing/2014/main" id="{893C57BF-367A-3F00-6518-0B9755EAA31A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2120888" y="3861000"/>
              <a:ext cx="0" cy="72825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Conexão reta 43">
              <a:extLst>
                <a:ext uri="{FF2B5EF4-FFF2-40B4-BE49-F238E27FC236}">
                  <a16:creationId xmlns:a16="http://schemas.microsoft.com/office/drawing/2014/main" id="{B0D11592-808D-EBCC-E761-3119B961E71D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3036231" y="3933825"/>
              <a:ext cx="0" cy="161925"/>
            </a:xfrm>
            <a:prstGeom prst="line">
              <a:avLst/>
            </a:prstGeom>
            <a:ln w="6350">
              <a:solidFill>
                <a:schemeClr val="tx1"/>
              </a:solidFill>
              <a:headEnd type="arrow"/>
              <a:tailEnd type="non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4" name="Agrupar 53">
            <a:extLst>
              <a:ext uri="{FF2B5EF4-FFF2-40B4-BE49-F238E27FC236}">
                <a16:creationId xmlns:a16="http://schemas.microsoft.com/office/drawing/2014/main" id="{ABB2CBC0-4008-8210-B31C-1A605ACC22F2}"/>
              </a:ext>
            </a:extLst>
          </p:cNvPr>
          <p:cNvGrpSpPr/>
          <p:nvPr/>
        </p:nvGrpSpPr>
        <p:grpSpPr>
          <a:xfrm>
            <a:off x="1305856" y="5344047"/>
            <a:ext cx="1730375" cy="476250"/>
            <a:chOff x="1305856" y="5381625"/>
            <a:chExt cx="1730375" cy="476250"/>
          </a:xfrm>
        </p:grpSpPr>
        <p:cxnSp>
          <p:nvCxnSpPr>
            <p:cNvPr id="47" name="Conexão reta 46">
              <a:extLst>
                <a:ext uri="{FF2B5EF4-FFF2-40B4-BE49-F238E27FC236}">
                  <a16:creationId xmlns:a16="http://schemas.microsoft.com/office/drawing/2014/main" id="{C109338D-EF1D-0AC0-A846-21D59BBFA8E8}"/>
                </a:ext>
              </a:extLst>
            </p:cNvPr>
            <p:cNvCxnSpPr>
              <a:cxnSpLocks/>
            </p:cNvCxnSpPr>
            <p:nvPr/>
          </p:nvCxnSpPr>
          <p:spPr>
            <a:xfrm>
              <a:off x="1305856" y="5381625"/>
              <a:ext cx="1730375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Conexão reta 48">
              <a:extLst>
                <a:ext uri="{FF2B5EF4-FFF2-40B4-BE49-F238E27FC236}">
                  <a16:creationId xmlns:a16="http://schemas.microsoft.com/office/drawing/2014/main" id="{95A40CEB-E5F9-2427-0B39-F69F422300E1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2134531" y="5381625"/>
              <a:ext cx="0" cy="476250"/>
            </a:xfrm>
            <a:prstGeom prst="line">
              <a:avLst/>
            </a:prstGeom>
            <a:ln w="6350">
              <a:solidFill>
                <a:schemeClr val="tx1"/>
              </a:solidFill>
              <a:headEnd type="arrow"/>
              <a:tailEnd type="non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51" name="Conexão reta 50">
            <a:extLst>
              <a:ext uri="{FF2B5EF4-FFF2-40B4-BE49-F238E27FC236}">
                <a16:creationId xmlns:a16="http://schemas.microsoft.com/office/drawing/2014/main" id="{809CC7B7-959F-B6FE-44EB-7F55F0328232}"/>
              </a:ext>
            </a:extLst>
          </p:cNvPr>
          <p:cNvCxnSpPr>
            <a:cxnSpLocks/>
          </p:cNvCxnSpPr>
          <p:nvPr/>
        </p:nvCxnSpPr>
        <p:spPr>
          <a:xfrm flipV="1">
            <a:off x="6018767" y="5041116"/>
            <a:ext cx="0" cy="140517"/>
          </a:xfrm>
          <a:prstGeom prst="line">
            <a:avLst/>
          </a:prstGeom>
          <a:ln w="6350">
            <a:solidFill>
              <a:schemeClr val="tx1"/>
            </a:solidFill>
            <a:headEnd type="arrow"/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5" name="Marcador de pie de página 14">
            <a:extLst>
              <a:ext uri="{FF2B5EF4-FFF2-40B4-BE49-F238E27FC236}">
                <a16:creationId xmlns:a16="http://schemas.microsoft.com/office/drawing/2014/main" id="{0542FB24-CC7D-4621-A768-3C8A61E2BDF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pt-PT"/>
              <a:t>Título de la presentación</a:t>
            </a:r>
            <a:endParaRPr lang="pt-PT" dirty="0"/>
          </a:p>
        </p:txBody>
      </p:sp>
      <p:sp>
        <p:nvSpPr>
          <p:cNvPr id="16" name="Marcador de número de diapositiva 15">
            <a:extLst>
              <a:ext uri="{FF2B5EF4-FFF2-40B4-BE49-F238E27FC236}">
                <a16:creationId xmlns:a16="http://schemas.microsoft.com/office/drawing/2014/main" id="{5975DAEE-AABF-4CE4-BA33-917509D8404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4A347C2-D68E-473A-8C76-1D063E4EB6E0}" type="slidenum">
              <a:rPr lang="es-ES" smtClean="0"/>
              <a:pPr/>
              <a:t>54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4297598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C6E48EC2-34C9-E457-31F1-664C75BDD7D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PT" dirty="0"/>
              <a:t>Ejemplo de título de slide</a:t>
            </a:r>
          </a:p>
        </p:txBody>
      </p:sp>
      <p:sp>
        <p:nvSpPr>
          <p:cNvPr id="3" name="Marcador de Posição do Texto 2">
            <a:extLst>
              <a:ext uri="{FF2B5EF4-FFF2-40B4-BE49-F238E27FC236}">
                <a16:creationId xmlns:a16="http://schemas.microsoft.com/office/drawing/2014/main" id="{11847742-CAB8-C8F1-90BE-56F162819DE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>
            <a:normAutofit lnSpcReduction="10000"/>
          </a:bodyPr>
          <a:lstStyle/>
          <a:p>
            <a:r>
              <a:rPr lang="pt-PT" dirty="0"/>
              <a:t>Ejemplo de subtítulo de slide</a:t>
            </a:r>
          </a:p>
          <a:p>
            <a:endParaRPr lang="pt-PT" dirty="0"/>
          </a:p>
        </p:txBody>
      </p:sp>
      <p:sp>
        <p:nvSpPr>
          <p:cNvPr id="5" name="Marcador de Posição do Texto 4">
            <a:extLst>
              <a:ext uri="{FF2B5EF4-FFF2-40B4-BE49-F238E27FC236}">
                <a16:creationId xmlns:a16="http://schemas.microsoft.com/office/drawing/2014/main" id="{24C12DF6-104B-8ADA-DA99-8F225E90A00B}"/>
              </a:ext>
            </a:extLst>
          </p:cNvPr>
          <p:cNvSpPr>
            <a:spLocks noGrp="1"/>
          </p:cNvSpPr>
          <p:nvPr>
            <p:ph type="body" sz="quarter" idx="83"/>
          </p:nvPr>
        </p:nvSpPr>
        <p:spPr/>
        <p:txBody>
          <a:bodyPr/>
          <a:lstStyle/>
          <a:p>
            <a:r>
              <a:rPr lang="pt-PT" dirty="0"/>
              <a:t>Cargo</a:t>
            </a:r>
          </a:p>
        </p:txBody>
      </p:sp>
      <p:sp>
        <p:nvSpPr>
          <p:cNvPr id="6" name="Marcador de Posição do Texto 5">
            <a:extLst>
              <a:ext uri="{FF2B5EF4-FFF2-40B4-BE49-F238E27FC236}">
                <a16:creationId xmlns:a16="http://schemas.microsoft.com/office/drawing/2014/main" id="{C85C6FDC-FAA6-A76F-ED8F-C55559AB89B9}"/>
              </a:ext>
            </a:extLst>
          </p:cNvPr>
          <p:cNvSpPr>
            <a:spLocks noGrp="1"/>
          </p:cNvSpPr>
          <p:nvPr>
            <p:ph type="body" sz="quarter" idx="89"/>
          </p:nvPr>
        </p:nvSpPr>
        <p:spPr/>
        <p:txBody>
          <a:bodyPr/>
          <a:lstStyle/>
          <a:p>
            <a:r>
              <a:rPr lang="pt-PT" dirty="0" err="1"/>
              <a:t>Lorem</a:t>
            </a:r>
            <a:r>
              <a:rPr lang="pt-PT" dirty="0"/>
              <a:t> </a:t>
            </a:r>
            <a:r>
              <a:rPr lang="pt-PT" dirty="0" err="1"/>
              <a:t>Ipsum</a:t>
            </a:r>
            <a:endParaRPr lang="pt-PT" dirty="0"/>
          </a:p>
        </p:txBody>
      </p:sp>
      <p:sp>
        <p:nvSpPr>
          <p:cNvPr id="7" name="Marcador de Posição do Texto 6">
            <a:extLst>
              <a:ext uri="{FF2B5EF4-FFF2-40B4-BE49-F238E27FC236}">
                <a16:creationId xmlns:a16="http://schemas.microsoft.com/office/drawing/2014/main" id="{4C87CF86-2939-3AF2-1AE4-9FC9C43278E2}"/>
              </a:ext>
            </a:extLst>
          </p:cNvPr>
          <p:cNvSpPr>
            <a:spLocks noGrp="1"/>
          </p:cNvSpPr>
          <p:nvPr>
            <p:ph type="body" sz="quarter" idx="90"/>
          </p:nvPr>
        </p:nvSpPr>
        <p:spPr/>
        <p:txBody>
          <a:bodyPr/>
          <a:lstStyle/>
          <a:p>
            <a:r>
              <a:rPr lang="pt-PT" dirty="0"/>
              <a:t>Cargo</a:t>
            </a:r>
          </a:p>
        </p:txBody>
      </p:sp>
      <p:sp>
        <p:nvSpPr>
          <p:cNvPr id="8" name="Marcador de Posição do Texto 7">
            <a:extLst>
              <a:ext uri="{FF2B5EF4-FFF2-40B4-BE49-F238E27FC236}">
                <a16:creationId xmlns:a16="http://schemas.microsoft.com/office/drawing/2014/main" id="{0BAF20E0-5DA7-EDF7-2D19-44972777C261}"/>
              </a:ext>
            </a:extLst>
          </p:cNvPr>
          <p:cNvSpPr>
            <a:spLocks noGrp="1"/>
          </p:cNvSpPr>
          <p:nvPr>
            <p:ph type="body" sz="quarter" idx="91"/>
          </p:nvPr>
        </p:nvSpPr>
        <p:spPr/>
        <p:txBody>
          <a:bodyPr/>
          <a:lstStyle/>
          <a:p>
            <a:r>
              <a:rPr lang="pt-PT" dirty="0" err="1"/>
              <a:t>Lorem</a:t>
            </a:r>
            <a:r>
              <a:rPr lang="pt-PT" dirty="0"/>
              <a:t> </a:t>
            </a:r>
            <a:r>
              <a:rPr lang="pt-PT" dirty="0" err="1"/>
              <a:t>Ipsum</a:t>
            </a:r>
            <a:endParaRPr lang="pt-PT" dirty="0"/>
          </a:p>
        </p:txBody>
      </p:sp>
      <p:sp>
        <p:nvSpPr>
          <p:cNvPr id="9" name="Marcador de Posição do Texto 8">
            <a:extLst>
              <a:ext uri="{FF2B5EF4-FFF2-40B4-BE49-F238E27FC236}">
                <a16:creationId xmlns:a16="http://schemas.microsoft.com/office/drawing/2014/main" id="{C27F79EC-0F50-0C6F-458D-15F30F15D455}"/>
              </a:ext>
            </a:extLst>
          </p:cNvPr>
          <p:cNvSpPr>
            <a:spLocks noGrp="1"/>
          </p:cNvSpPr>
          <p:nvPr>
            <p:ph type="body" sz="quarter" idx="92"/>
          </p:nvPr>
        </p:nvSpPr>
        <p:spPr/>
        <p:txBody>
          <a:bodyPr/>
          <a:lstStyle/>
          <a:p>
            <a:r>
              <a:rPr lang="pt-PT" dirty="0"/>
              <a:t>Cargo</a:t>
            </a:r>
          </a:p>
        </p:txBody>
      </p:sp>
      <p:sp>
        <p:nvSpPr>
          <p:cNvPr id="10" name="Marcador de Posição do Texto 9">
            <a:extLst>
              <a:ext uri="{FF2B5EF4-FFF2-40B4-BE49-F238E27FC236}">
                <a16:creationId xmlns:a16="http://schemas.microsoft.com/office/drawing/2014/main" id="{66E8A114-5778-7EF6-C498-39AAB7AE6F08}"/>
              </a:ext>
            </a:extLst>
          </p:cNvPr>
          <p:cNvSpPr>
            <a:spLocks noGrp="1"/>
          </p:cNvSpPr>
          <p:nvPr>
            <p:ph type="body" sz="quarter" idx="93"/>
          </p:nvPr>
        </p:nvSpPr>
        <p:spPr/>
        <p:txBody>
          <a:bodyPr/>
          <a:lstStyle/>
          <a:p>
            <a:r>
              <a:rPr lang="pt-PT" dirty="0" err="1"/>
              <a:t>Lorem</a:t>
            </a:r>
            <a:r>
              <a:rPr lang="pt-PT" dirty="0"/>
              <a:t> </a:t>
            </a:r>
            <a:r>
              <a:rPr lang="pt-PT" dirty="0" err="1"/>
              <a:t>Ipsum</a:t>
            </a:r>
            <a:endParaRPr lang="pt-PT" dirty="0"/>
          </a:p>
        </p:txBody>
      </p:sp>
      <p:sp>
        <p:nvSpPr>
          <p:cNvPr id="11" name="Marcador de Posição do Texto 10">
            <a:extLst>
              <a:ext uri="{FF2B5EF4-FFF2-40B4-BE49-F238E27FC236}">
                <a16:creationId xmlns:a16="http://schemas.microsoft.com/office/drawing/2014/main" id="{4FB8BBDD-69E5-5BF3-4607-CBD76C392CEA}"/>
              </a:ext>
            </a:extLst>
          </p:cNvPr>
          <p:cNvSpPr>
            <a:spLocks noGrp="1"/>
          </p:cNvSpPr>
          <p:nvPr>
            <p:ph type="body" sz="quarter" idx="94"/>
          </p:nvPr>
        </p:nvSpPr>
        <p:spPr/>
        <p:txBody>
          <a:bodyPr/>
          <a:lstStyle/>
          <a:p>
            <a:r>
              <a:rPr lang="pt-PT" dirty="0"/>
              <a:t>Cargo</a:t>
            </a:r>
          </a:p>
        </p:txBody>
      </p:sp>
      <p:sp>
        <p:nvSpPr>
          <p:cNvPr id="12" name="Marcador de Posição do Texto 11">
            <a:extLst>
              <a:ext uri="{FF2B5EF4-FFF2-40B4-BE49-F238E27FC236}">
                <a16:creationId xmlns:a16="http://schemas.microsoft.com/office/drawing/2014/main" id="{D71DBF79-2B22-72DB-A75D-476FE3F3D866}"/>
              </a:ext>
            </a:extLst>
          </p:cNvPr>
          <p:cNvSpPr>
            <a:spLocks noGrp="1"/>
          </p:cNvSpPr>
          <p:nvPr>
            <p:ph type="body" sz="quarter" idx="95"/>
          </p:nvPr>
        </p:nvSpPr>
        <p:spPr/>
        <p:txBody>
          <a:bodyPr/>
          <a:lstStyle/>
          <a:p>
            <a:r>
              <a:rPr lang="pt-PT" dirty="0" err="1"/>
              <a:t>Lorem</a:t>
            </a:r>
            <a:r>
              <a:rPr lang="pt-PT" dirty="0"/>
              <a:t> </a:t>
            </a:r>
            <a:r>
              <a:rPr lang="pt-PT" dirty="0" err="1"/>
              <a:t>Ipsum</a:t>
            </a:r>
            <a:endParaRPr lang="pt-PT" dirty="0"/>
          </a:p>
        </p:txBody>
      </p:sp>
      <p:sp>
        <p:nvSpPr>
          <p:cNvPr id="4" name="Marcador de Posição do Texto 3">
            <a:extLst>
              <a:ext uri="{FF2B5EF4-FFF2-40B4-BE49-F238E27FC236}">
                <a16:creationId xmlns:a16="http://schemas.microsoft.com/office/drawing/2014/main" id="{DD3DE151-5913-7297-83E5-6013B286ADFB}"/>
              </a:ext>
            </a:extLst>
          </p:cNvPr>
          <p:cNvSpPr>
            <a:spLocks noGrp="1"/>
          </p:cNvSpPr>
          <p:nvPr>
            <p:ph type="body" sz="quarter" idx="81"/>
          </p:nvPr>
        </p:nvSpPr>
        <p:spPr/>
        <p:txBody>
          <a:bodyPr/>
          <a:lstStyle/>
          <a:p>
            <a:r>
              <a:rPr lang="pt-PT" dirty="0" err="1"/>
              <a:t>Mkt</a:t>
            </a:r>
            <a:r>
              <a:rPr lang="pt-PT" dirty="0"/>
              <a:t> </a:t>
            </a:r>
            <a:r>
              <a:rPr lang="pt-PT" dirty="0" err="1"/>
              <a:t>ops</a:t>
            </a:r>
            <a:r>
              <a:rPr lang="pt-PT" dirty="0"/>
              <a:t>, design &amp; </a:t>
            </a:r>
            <a:r>
              <a:rPr lang="pt-PT" dirty="0" err="1"/>
              <a:t>multimedia</a:t>
            </a:r>
            <a:r>
              <a:rPr lang="pt-PT" dirty="0"/>
              <a:t> </a:t>
            </a:r>
          </a:p>
        </p:txBody>
      </p:sp>
      <p:sp>
        <p:nvSpPr>
          <p:cNvPr id="13" name="Marcador de Posição do Texto 12">
            <a:extLst>
              <a:ext uri="{FF2B5EF4-FFF2-40B4-BE49-F238E27FC236}">
                <a16:creationId xmlns:a16="http://schemas.microsoft.com/office/drawing/2014/main" id="{DBD79745-398B-0AFF-ADC2-24E1D78E65E1}"/>
              </a:ext>
            </a:extLst>
          </p:cNvPr>
          <p:cNvSpPr>
            <a:spLocks noGrp="1"/>
          </p:cNvSpPr>
          <p:nvPr>
            <p:ph type="body" sz="quarter" idx="96"/>
          </p:nvPr>
        </p:nvSpPr>
        <p:spPr/>
        <p:txBody>
          <a:bodyPr/>
          <a:lstStyle/>
          <a:p>
            <a:r>
              <a:rPr lang="pt-PT" dirty="0"/>
              <a:t>Cargo</a:t>
            </a:r>
          </a:p>
        </p:txBody>
      </p:sp>
      <p:sp>
        <p:nvSpPr>
          <p:cNvPr id="14" name="Marcador de Posição do Texto 13">
            <a:extLst>
              <a:ext uri="{FF2B5EF4-FFF2-40B4-BE49-F238E27FC236}">
                <a16:creationId xmlns:a16="http://schemas.microsoft.com/office/drawing/2014/main" id="{2030C03D-71D0-95B3-ED2C-14B1CC590E39}"/>
              </a:ext>
            </a:extLst>
          </p:cNvPr>
          <p:cNvSpPr>
            <a:spLocks noGrp="1"/>
          </p:cNvSpPr>
          <p:nvPr>
            <p:ph type="body" sz="quarter" idx="97"/>
          </p:nvPr>
        </p:nvSpPr>
        <p:spPr/>
        <p:txBody>
          <a:bodyPr/>
          <a:lstStyle/>
          <a:p>
            <a:r>
              <a:rPr lang="pt-PT" dirty="0" err="1"/>
              <a:t>Lorem</a:t>
            </a:r>
            <a:r>
              <a:rPr lang="pt-PT" dirty="0"/>
              <a:t> </a:t>
            </a:r>
            <a:r>
              <a:rPr lang="pt-PT" dirty="0" err="1"/>
              <a:t>Ipsum</a:t>
            </a:r>
            <a:endParaRPr lang="pt-PT" dirty="0"/>
          </a:p>
        </p:txBody>
      </p:sp>
      <p:sp>
        <p:nvSpPr>
          <p:cNvPr id="15" name="Marcador de Posição do Texto 14">
            <a:extLst>
              <a:ext uri="{FF2B5EF4-FFF2-40B4-BE49-F238E27FC236}">
                <a16:creationId xmlns:a16="http://schemas.microsoft.com/office/drawing/2014/main" id="{C9B1022E-4B73-E74A-8478-AC06171DB516}"/>
              </a:ext>
            </a:extLst>
          </p:cNvPr>
          <p:cNvSpPr>
            <a:spLocks noGrp="1"/>
          </p:cNvSpPr>
          <p:nvPr>
            <p:ph type="body" sz="quarter" idx="98"/>
          </p:nvPr>
        </p:nvSpPr>
        <p:spPr/>
        <p:txBody>
          <a:bodyPr/>
          <a:lstStyle/>
          <a:p>
            <a:r>
              <a:rPr lang="pt-PT" dirty="0"/>
              <a:t>Cargo</a:t>
            </a:r>
          </a:p>
        </p:txBody>
      </p:sp>
      <p:sp>
        <p:nvSpPr>
          <p:cNvPr id="16" name="Marcador de Posição do Texto 15">
            <a:extLst>
              <a:ext uri="{FF2B5EF4-FFF2-40B4-BE49-F238E27FC236}">
                <a16:creationId xmlns:a16="http://schemas.microsoft.com/office/drawing/2014/main" id="{074214CF-8043-627A-76E9-D0227A2A4ED0}"/>
              </a:ext>
            </a:extLst>
          </p:cNvPr>
          <p:cNvSpPr>
            <a:spLocks noGrp="1"/>
          </p:cNvSpPr>
          <p:nvPr>
            <p:ph type="body" sz="quarter" idx="99"/>
          </p:nvPr>
        </p:nvSpPr>
        <p:spPr/>
        <p:txBody>
          <a:bodyPr/>
          <a:lstStyle/>
          <a:p>
            <a:r>
              <a:rPr lang="pt-PT" dirty="0" err="1"/>
              <a:t>Lorem</a:t>
            </a:r>
            <a:r>
              <a:rPr lang="pt-PT" dirty="0"/>
              <a:t> </a:t>
            </a:r>
            <a:r>
              <a:rPr lang="pt-PT" dirty="0" err="1"/>
              <a:t>Ipsum</a:t>
            </a:r>
            <a:endParaRPr lang="pt-PT" dirty="0"/>
          </a:p>
        </p:txBody>
      </p:sp>
      <p:sp>
        <p:nvSpPr>
          <p:cNvPr id="17" name="Marcador de Posição do Texto 16">
            <a:extLst>
              <a:ext uri="{FF2B5EF4-FFF2-40B4-BE49-F238E27FC236}">
                <a16:creationId xmlns:a16="http://schemas.microsoft.com/office/drawing/2014/main" id="{8E551994-5129-7F2A-E04F-DFAF235CF4D3}"/>
              </a:ext>
            </a:extLst>
          </p:cNvPr>
          <p:cNvSpPr>
            <a:spLocks noGrp="1"/>
          </p:cNvSpPr>
          <p:nvPr>
            <p:ph type="body" sz="quarter" idx="100"/>
          </p:nvPr>
        </p:nvSpPr>
        <p:spPr/>
        <p:txBody>
          <a:bodyPr/>
          <a:lstStyle/>
          <a:p>
            <a:r>
              <a:rPr lang="pt-PT" dirty="0"/>
              <a:t>Cargo</a:t>
            </a:r>
          </a:p>
        </p:txBody>
      </p:sp>
      <p:sp>
        <p:nvSpPr>
          <p:cNvPr id="18" name="Marcador de Posição do Texto 17">
            <a:extLst>
              <a:ext uri="{FF2B5EF4-FFF2-40B4-BE49-F238E27FC236}">
                <a16:creationId xmlns:a16="http://schemas.microsoft.com/office/drawing/2014/main" id="{37615FE6-25BA-8D54-D722-C4657284BFE6}"/>
              </a:ext>
            </a:extLst>
          </p:cNvPr>
          <p:cNvSpPr>
            <a:spLocks noGrp="1"/>
          </p:cNvSpPr>
          <p:nvPr>
            <p:ph type="body" sz="quarter" idx="101"/>
          </p:nvPr>
        </p:nvSpPr>
        <p:spPr/>
        <p:txBody>
          <a:bodyPr/>
          <a:lstStyle/>
          <a:p>
            <a:r>
              <a:rPr lang="pt-PT" dirty="0" err="1"/>
              <a:t>Lorem</a:t>
            </a:r>
            <a:r>
              <a:rPr lang="pt-PT" dirty="0"/>
              <a:t> </a:t>
            </a:r>
            <a:r>
              <a:rPr lang="pt-PT" dirty="0" err="1"/>
              <a:t>Ipsum</a:t>
            </a:r>
            <a:endParaRPr lang="pt-PT" dirty="0"/>
          </a:p>
        </p:txBody>
      </p:sp>
      <p:sp>
        <p:nvSpPr>
          <p:cNvPr id="19" name="Marcador de Posição do Texto 18">
            <a:extLst>
              <a:ext uri="{FF2B5EF4-FFF2-40B4-BE49-F238E27FC236}">
                <a16:creationId xmlns:a16="http://schemas.microsoft.com/office/drawing/2014/main" id="{1CD848E1-5B5D-F15C-90AD-805E16AC50F4}"/>
              </a:ext>
            </a:extLst>
          </p:cNvPr>
          <p:cNvSpPr>
            <a:spLocks noGrp="1"/>
          </p:cNvSpPr>
          <p:nvPr>
            <p:ph type="body" sz="quarter" idx="102"/>
          </p:nvPr>
        </p:nvSpPr>
        <p:spPr/>
        <p:txBody>
          <a:bodyPr/>
          <a:lstStyle/>
          <a:p>
            <a:r>
              <a:rPr lang="pt-PT" dirty="0"/>
              <a:t>Cargo</a:t>
            </a:r>
          </a:p>
        </p:txBody>
      </p:sp>
      <p:sp>
        <p:nvSpPr>
          <p:cNvPr id="20" name="Marcador de Posição do Texto 19">
            <a:extLst>
              <a:ext uri="{FF2B5EF4-FFF2-40B4-BE49-F238E27FC236}">
                <a16:creationId xmlns:a16="http://schemas.microsoft.com/office/drawing/2014/main" id="{1F4A622F-405B-4F52-608D-D0FF0491AFD5}"/>
              </a:ext>
            </a:extLst>
          </p:cNvPr>
          <p:cNvSpPr>
            <a:spLocks noGrp="1"/>
          </p:cNvSpPr>
          <p:nvPr>
            <p:ph type="body" sz="quarter" idx="103"/>
          </p:nvPr>
        </p:nvSpPr>
        <p:spPr/>
        <p:txBody>
          <a:bodyPr/>
          <a:lstStyle/>
          <a:p>
            <a:r>
              <a:rPr lang="pt-PT" dirty="0" err="1"/>
              <a:t>Lorem</a:t>
            </a:r>
            <a:r>
              <a:rPr lang="pt-PT" dirty="0"/>
              <a:t> </a:t>
            </a:r>
            <a:r>
              <a:rPr lang="pt-PT" dirty="0" err="1"/>
              <a:t>Ipsum</a:t>
            </a:r>
            <a:endParaRPr lang="pt-PT" dirty="0"/>
          </a:p>
        </p:txBody>
      </p:sp>
      <p:sp>
        <p:nvSpPr>
          <p:cNvPr id="21" name="Marcador de Posição do Texto 20">
            <a:extLst>
              <a:ext uri="{FF2B5EF4-FFF2-40B4-BE49-F238E27FC236}">
                <a16:creationId xmlns:a16="http://schemas.microsoft.com/office/drawing/2014/main" id="{8CF62127-7EFE-ADC9-ED1F-20478E3C7BA5}"/>
              </a:ext>
            </a:extLst>
          </p:cNvPr>
          <p:cNvSpPr>
            <a:spLocks noGrp="1"/>
          </p:cNvSpPr>
          <p:nvPr>
            <p:ph type="body" sz="quarter" idx="104"/>
          </p:nvPr>
        </p:nvSpPr>
        <p:spPr/>
        <p:txBody>
          <a:bodyPr/>
          <a:lstStyle/>
          <a:p>
            <a:r>
              <a:rPr lang="pt-PT" dirty="0"/>
              <a:t>Cargo</a:t>
            </a:r>
          </a:p>
        </p:txBody>
      </p:sp>
      <p:sp>
        <p:nvSpPr>
          <p:cNvPr id="22" name="Marcador de Posição do Texto 21">
            <a:extLst>
              <a:ext uri="{FF2B5EF4-FFF2-40B4-BE49-F238E27FC236}">
                <a16:creationId xmlns:a16="http://schemas.microsoft.com/office/drawing/2014/main" id="{85835131-2E69-81A9-5CB8-4401379C21FD}"/>
              </a:ext>
            </a:extLst>
          </p:cNvPr>
          <p:cNvSpPr>
            <a:spLocks noGrp="1"/>
          </p:cNvSpPr>
          <p:nvPr>
            <p:ph type="body" sz="quarter" idx="105"/>
          </p:nvPr>
        </p:nvSpPr>
        <p:spPr/>
        <p:txBody>
          <a:bodyPr/>
          <a:lstStyle/>
          <a:p>
            <a:r>
              <a:rPr lang="pt-PT" dirty="0" err="1"/>
              <a:t>Lorem</a:t>
            </a:r>
            <a:r>
              <a:rPr lang="pt-PT" dirty="0"/>
              <a:t> </a:t>
            </a:r>
            <a:r>
              <a:rPr lang="pt-PT" dirty="0" err="1"/>
              <a:t>Ipsum</a:t>
            </a:r>
            <a:endParaRPr lang="pt-PT" dirty="0"/>
          </a:p>
        </p:txBody>
      </p:sp>
      <p:sp>
        <p:nvSpPr>
          <p:cNvPr id="23" name="Marcador de Posição do Texto 22">
            <a:extLst>
              <a:ext uri="{FF2B5EF4-FFF2-40B4-BE49-F238E27FC236}">
                <a16:creationId xmlns:a16="http://schemas.microsoft.com/office/drawing/2014/main" id="{383C6FE9-D197-DE2E-B9DF-F3205B9CD618}"/>
              </a:ext>
            </a:extLst>
          </p:cNvPr>
          <p:cNvSpPr>
            <a:spLocks noGrp="1"/>
          </p:cNvSpPr>
          <p:nvPr>
            <p:ph type="body" sz="quarter" idx="106"/>
          </p:nvPr>
        </p:nvSpPr>
        <p:spPr/>
        <p:txBody>
          <a:bodyPr/>
          <a:lstStyle/>
          <a:p>
            <a:r>
              <a:rPr lang="pt-PT" dirty="0"/>
              <a:t>business</a:t>
            </a:r>
          </a:p>
        </p:txBody>
      </p:sp>
      <p:sp>
        <p:nvSpPr>
          <p:cNvPr id="24" name="Marcador de Posição do Texto 23">
            <a:extLst>
              <a:ext uri="{FF2B5EF4-FFF2-40B4-BE49-F238E27FC236}">
                <a16:creationId xmlns:a16="http://schemas.microsoft.com/office/drawing/2014/main" id="{D609A2E3-9593-D0F4-9296-796F21C75FD7}"/>
              </a:ext>
            </a:extLst>
          </p:cNvPr>
          <p:cNvSpPr>
            <a:spLocks noGrp="1"/>
          </p:cNvSpPr>
          <p:nvPr>
            <p:ph type="body" sz="quarter" idx="107"/>
          </p:nvPr>
        </p:nvSpPr>
        <p:spPr/>
        <p:txBody>
          <a:bodyPr/>
          <a:lstStyle/>
          <a:p>
            <a:r>
              <a:rPr lang="pt-PT" dirty="0" err="1"/>
              <a:t>People</a:t>
            </a:r>
            <a:r>
              <a:rPr lang="pt-PT" dirty="0"/>
              <a:t> &amp; </a:t>
            </a:r>
            <a:r>
              <a:rPr lang="pt-PT" dirty="0" err="1"/>
              <a:t>culture</a:t>
            </a:r>
            <a:endParaRPr lang="pt-PT" dirty="0"/>
          </a:p>
        </p:txBody>
      </p:sp>
      <p:sp>
        <p:nvSpPr>
          <p:cNvPr id="25" name="Marcador de Posição do Texto 24">
            <a:extLst>
              <a:ext uri="{FF2B5EF4-FFF2-40B4-BE49-F238E27FC236}">
                <a16:creationId xmlns:a16="http://schemas.microsoft.com/office/drawing/2014/main" id="{A7F207FA-E008-9C2F-2668-4A9A8A0F82EE}"/>
              </a:ext>
            </a:extLst>
          </p:cNvPr>
          <p:cNvSpPr>
            <a:spLocks noGrp="1"/>
          </p:cNvSpPr>
          <p:nvPr>
            <p:ph type="body" sz="quarter" idx="108"/>
          </p:nvPr>
        </p:nvSpPr>
        <p:spPr/>
        <p:txBody>
          <a:bodyPr/>
          <a:lstStyle/>
          <a:p>
            <a:r>
              <a:rPr lang="pt-PT" dirty="0"/>
              <a:t>BRAND</a:t>
            </a:r>
          </a:p>
        </p:txBody>
      </p:sp>
      <p:sp>
        <p:nvSpPr>
          <p:cNvPr id="26" name="Marcador de Posição do Texto 25">
            <a:extLst>
              <a:ext uri="{FF2B5EF4-FFF2-40B4-BE49-F238E27FC236}">
                <a16:creationId xmlns:a16="http://schemas.microsoft.com/office/drawing/2014/main" id="{FDB4E015-51A7-822F-B1F7-4A07402E8DE0}"/>
              </a:ext>
            </a:extLst>
          </p:cNvPr>
          <p:cNvSpPr>
            <a:spLocks noGrp="1"/>
          </p:cNvSpPr>
          <p:nvPr>
            <p:ph type="body" sz="quarter" idx="109"/>
          </p:nvPr>
        </p:nvSpPr>
        <p:spPr/>
        <p:txBody>
          <a:bodyPr/>
          <a:lstStyle/>
          <a:p>
            <a:r>
              <a:rPr lang="pt-PT" dirty="0"/>
              <a:t>Cargo</a:t>
            </a:r>
          </a:p>
        </p:txBody>
      </p:sp>
      <p:sp>
        <p:nvSpPr>
          <p:cNvPr id="27" name="Marcador de Posição do Texto 26">
            <a:extLst>
              <a:ext uri="{FF2B5EF4-FFF2-40B4-BE49-F238E27FC236}">
                <a16:creationId xmlns:a16="http://schemas.microsoft.com/office/drawing/2014/main" id="{F176C360-636F-A7C7-3F45-4A191D4499F5}"/>
              </a:ext>
            </a:extLst>
          </p:cNvPr>
          <p:cNvSpPr>
            <a:spLocks noGrp="1"/>
          </p:cNvSpPr>
          <p:nvPr>
            <p:ph type="body" sz="quarter" idx="110"/>
          </p:nvPr>
        </p:nvSpPr>
        <p:spPr/>
        <p:txBody>
          <a:bodyPr/>
          <a:lstStyle/>
          <a:p>
            <a:r>
              <a:rPr lang="pt-PT" dirty="0" err="1"/>
              <a:t>Lorem</a:t>
            </a:r>
            <a:r>
              <a:rPr lang="pt-PT" dirty="0"/>
              <a:t> </a:t>
            </a:r>
            <a:r>
              <a:rPr lang="pt-PT" dirty="0" err="1"/>
              <a:t>Ipsum</a:t>
            </a:r>
            <a:endParaRPr lang="pt-PT" dirty="0"/>
          </a:p>
        </p:txBody>
      </p:sp>
      <p:sp>
        <p:nvSpPr>
          <p:cNvPr id="32" name="Marcador de Posição do Texto 31">
            <a:extLst>
              <a:ext uri="{FF2B5EF4-FFF2-40B4-BE49-F238E27FC236}">
                <a16:creationId xmlns:a16="http://schemas.microsoft.com/office/drawing/2014/main" id="{5A583FD0-B67F-A182-B8AB-ECB0200F8523}"/>
              </a:ext>
            </a:extLst>
          </p:cNvPr>
          <p:cNvSpPr>
            <a:spLocks noGrp="1"/>
          </p:cNvSpPr>
          <p:nvPr>
            <p:ph type="body" sz="quarter" idx="111"/>
          </p:nvPr>
        </p:nvSpPr>
        <p:spPr/>
        <p:txBody>
          <a:bodyPr/>
          <a:lstStyle/>
          <a:p>
            <a:r>
              <a:rPr lang="pt-PT" dirty="0"/>
              <a:t>Cargo</a:t>
            </a:r>
          </a:p>
        </p:txBody>
      </p:sp>
      <p:sp>
        <p:nvSpPr>
          <p:cNvPr id="33" name="Marcador de Posição do Texto 32">
            <a:extLst>
              <a:ext uri="{FF2B5EF4-FFF2-40B4-BE49-F238E27FC236}">
                <a16:creationId xmlns:a16="http://schemas.microsoft.com/office/drawing/2014/main" id="{E303C014-FBFB-D9DE-C6DB-4A5264C01CA1}"/>
              </a:ext>
            </a:extLst>
          </p:cNvPr>
          <p:cNvSpPr>
            <a:spLocks noGrp="1"/>
          </p:cNvSpPr>
          <p:nvPr>
            <p:ph type="body" sz="quarter" idx="112"/>
          </p:nvPr>
        </p:nvSpPr>
        <p:spPr/>
        <p:txBody>
          <a:bodyPr/>
          <a:lstStyle/>
          <a:p>
            <a:r>
              <a:rPr lang="pt-PT" dirty="0" err="1"/>
              <a:t>Lorem</a:t>
            </a:r>
            <a:r>
              <a:rPr lang="pt-PT" dirty="0"/>
              <a:t> </a:t>
            </a:r>
            <a:r>
              <a:rPr lang="pt-PT" dirty="0" err="1"/>
              <a:t>Ipsum</a:t>
            </a:r>
            <a:endParaRPr lang="pt-PT" dirty="0"/>
          </a:p>
        </p:txBody>
      </p:sp>
      <p:sp>
        <p:nvSpPr>
          <p:cNvPr id="34" name="Marcador de Posição do Texto 33">
            <a:extLst>
              <a:ext uri="{FF2B5EF4-FFF2-40B4-BE49-F238E27FC236}">
                <a16:creationId xmlns:a16="http://schemas.microsoft.com/office/drawing/2014/main" id="{60CFF0F5-A7D2-F3CE-23AB-5DFBF441C220}"/>
              </a:ext>
            </a:extLst>
          </p:cNvPr>
          <p:cNvSpPr>
            <a:spLocks noGrp="1"/>
          </p:cNvSpPr>
          <p:nvPr>
            <p:ph type="body" sz="quarter" idx="113"/>
          </p:nvPr>
        </p:nvSpPr>
        <p:spPr/>
        <p:txBody>
          <a:bodyPr/>
          <a:lstStyle/>
          <a:p>
            <a:r>
              <a:rPr lang="pt-PT" dirty="0"/>
              <a:t>Cargo</a:t>
            </a:r>
          </a:p>
        </p:txBody>
      </p:sp>
      <p:sp>
        <p:nvSpPr>
          <p:cNvPr id="35" name="Marcador de Posição do Texto 34">
            <a:extLst>
              <a:ext uri="{FF2B5EF4-FFF2-40B4-BE49-F238E27FC236}">
                <a16:creationId xmlns:a16="http://schemas.microsoft.com/office/drawing/2014/main" id="{F0BDCDB5-8000-0B9E-E951-959119B8419A}"/>
              </a:ext>
            </a:extLst>
          </p:cNvPr>
          <p:cNvSpPr>
            <a:spLocks noGrp="1"/>
          </p:cNvSpPr>
          <p:nvPr>
            <p:ph type="body" sz="quarter" idx="114"/>
          </p:nvPr>
        </p:nvSpPr>
        <p:spPr/>
        <p:txBody>
          <a:bodyPr/>
          <a:lstStyle/>
          <a:p>
            <a:r>
              <a:rPr lang="pt-PT" dirty="0" err="1"/>
              <a:t>Lorem</a:t>
            </a:r>
            <a:r>
              <a:rPr lang="pt-PT" dirty="0"/>
              <a:t> </a:t>
            </a:r>
            <a:r>
              <a:rPr lang="pt-PT" dirty="0" err="1"/>
              <a:t>Ipsum</a:t>
            </a:r>
            <a:endParaRPr lang="pt-PT" dirty="0"/>
          </a:p>
        </p:txBody>
      </p:sp>
      <p:sp>
        <p:nvSpPr>
          <p:cNvPr id="36" name="Marcador de Posição do Texto 35">
            <a:extLst>
              <a:ext uri="{FF2B5EF4-FFF2-40B4-BE49-F238E27FC236}">
                <a16:creationId xmlns:a16="http://schemas.microsoft.com/office/drawing/2014/main" id="{B91C56C0-A5F6-6CA9-1945-7236B8EA5C73}"/>
              </a:ext>
            </a:extLst>
          </p:cNvPr>
          <p:cNvSpPr>
            <a:spLocks noGrp="1"/>
          </p:cNvSpPr>
          <p:nvPr>
            <p:ph type="body" sz="quarter" idx="115"/>
          </p:nvPr>
        </p:nvSpPr>
        <p:spPr/>
        <p:txBody>
          <a:bodyPr/>
          <a:lstStyle/>
          <a:p>
            <a:r>
              <a:rPr lang="pt-PT" dirty="0"/>
              <a:t>Cargo</a:t>
            </a:r>
          </a:p>
        </p:txBody>
      </p:sp>
      <p:sp>
        <p:nvSpPr>
          <p:cNvPr id="37" name="Marcador de Posição do Texto 36">
            <a:extLst>
              <a:ext uri="{FF2B5EF4-FFF2-40B4-BE49-F238E27FC236}">
                <a16:creationId xmlns:a16="http://schemas.microsoft.com/office/drawing/2014/main" id="{980ABDE4-8F34-B300-02D7-3A018322B613}"/>
              </a:ext>
            </a:extLst>
          </p:cNvPr>
          <p:cNvSpPr>
            <a:spLocks noGrp="1"/>
          </p:cNvSpPr>
          <p:nvPr>
            <p:ph type="body" sz="quarter" idx="116"/>
          </p:nvPr>
        </p:nvSpPr>
        <p:spPr/>
        <p:txBody>
          <a:bodyPr/>
          <a:lstStyle/>
          <a:p>
            <a:r>
              <a:rPr lang="pt-PT" dirty="0" err="1"/>
              <a:t>Lorem</a:t>
            </a:r>
            <a:r>
              <a:rPr lang="pt-PT" dirty="0"/>
              <a:t> </a:t>
            </a:r>
            <a:r>
              <a:rPr lang="pt-PT" dirty="0" err="1"/>
              <a:t>Ipsum</a:t>
            </a:r>
            <a:endParaRPr lang="pt-PT" dirty="0"/>
          </a:p>
        </p:txBody>
      </p:sp>
      <p:sp>
        <p:nvSpPr>
          <p:cNvPr id="38" name="Marcador de Posição do Texto 37">
            <a:extLst>
              <a:ext uri="{FF2B5EF4-FFF2-40B4-BE49-F238E27FC236}">
                <a16:creationId xmlns:a16="http://schemas.microsoft.com/office/drawing/2014/main" id="{BE67D7D3-EA65-535B-1247-8818C3591ECF}"/>
              </a:ext>
            </a:extLst>
          </p:cNvPr>
          <p:cNvSpPr>
            <a:spLocks noGrp="1"/>
          </p:cNvSpPr>
          <p:nvPr>
            <p:ph type="body" sz="quarter" idx="117"/>
          </p:nvPr>
        </p:nvSpPr>
        <p:spPr/>
        <p:txBody>
          <a:bodyPr/>
          <a:lstStyle/>
          <a:p>
            <a:r>
              <a:rPr lang="pt-PT" dirty="0"/>
              <a:t>Cargo</a:t>
            </a:r>
          </a:p>
        </p:txBody>
      </p:sp>
      <p:sp>
        <p:nvSpPr>
          <p:cNvPr id="39" name="Marcador de Posição do Texto 38">
            <a:extLst>
              <a:ext uri="{FF2B5EF4-FFF2-40B4-BE49-F238E27FC236}">
                <a16:creationId xmlns:a16="http://schemas.microsoft.com/office/drawing/2014/main" id="{F2FD0025-28E8-E97F-2BE1-C1349AC71F02}"/>
              </a:ext>
            </a:extLst>
          </p:cNvPr>
          <p:cNvSpPr>
            <a:spLocks noGrp="1"/>
          </p:cNvSpPr>
          <p:nvPr>
            <p:ph type="body" sz="quarter" idx="118"/>
          </p:nvPr>
        </p:nvSpPr>
        <p:spPr/>
        <p:txBody>
          <a:bodyPr/>
          <a:lstStyle/>
          <a:p>
            <a:r>
              <a:rPr lang="pt-PT" dirty="0" err="1"/>
              <a:t>Lorem</a:t>
            </a:r>
            <a:r>
              <a:rPr lang="pt-PT" dirty="0"/>
              <a:t> </a:t>
            </a:r>
            <a:r>
              <a:rPr lang="pt-PT" dirty="0" err="1"/>
              <a:t>Ipsum</a:t>
            </a:r>
            <a:endParaRPr lang="pt-PT" dirty="0"/>
          </a:p>
        </p:txBody>
      </p:sp>
      <p:cxnSp>
        <p:nvCxnSpPr>
          <p:cNvPr id="28" name="Conexão reta 27">
            <a:extLst>
              <a:ext uri="{FF2B5EF4-FFF2-40B4-BE49-F238E27FC236}">
                <a16:creationId xmlns:a16="http://schemas.microsoft.com/office/drawing/2014/main" id="{A7B21B45-8503-17F8-722E-800330E5CE7E}"/>
              </a:ext>
            </a:extLst>
          </p:cNvPr>
          <p:cNvCxnSpPr>
            <a:cxnSpLocks/>
          </p:cNvCxnSpPr>
          <p:nvPr/>
        </p:nvCxnSpPr>
        <p:spPr>
          <a:xfrm>
            <a:off x="1981200" y="5310458"/>
            <a:ext cx="0" cy="366416"/>
          </a:xfrm>
          <a:prstGeom prst="line">
            <a:avLst/>
          </a:prstGeom>
          <a:noFill/>
          <a:ln w="6350" cap="sq"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9" name="Conexão reta 28">
            <a:extLst>
              <a:ext uri="{FF2B5EF4-FFF2-40B4-BE49-F238E27FC236}">
                <a16:creationId xmlns:a16="http://schemas.microsoft.com/office/drawing/2014/main" id="{F6B382D6-9C09-D875-E061-858828AADA12}"/>
              </a:ext>
            </a:extLst>
          </p:cNvPr>
          <p:cNvCxnSpPr>
            <a:cxnSpLocks/>
          </p:cNvCxnSpPr>
          <p:nvPr/>
        </p:nvCxnSpPr>
        <p:spPr>
          <a:xfrm>
            <a:off x="3619500" y="5310458"/>
            <a:ext cx="0" cy="366416"/>
          </a:xfrm>
          <a:prstGeom prst="line">
            <a:avLst/>
          </a:prstGeom>
          <a:noFill/>
          <a:ln w="6350" cap="sq"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30" name="Conexão reta 29">
            <a:extLst>
              <a:ext uri="{FF2B5EF4-FFF2-40B4-BE49-F238E27FC236}">
                <a16:creationId xmlns:a16="http://schemas.microsoft.com/office/drawing/2014/main" id="{D1CB8C61-A160-9565-2037-3819CDDFBAB4}"/>
              </a:ext>
            </a:extLst>
          </p:cNvPr>
          <p:cNvCxnSpPr>
            <a:cxnSpLocks/>
          </p:cNvCxnSpPr>
          <p:nvPr/>
        </p:nvCxnSpPr>
        <p:spPr>
          <a:xfrm>
            <a:off x="5221254" y="5310458"/>
            <a:ext cx="0" cy="366416"/>
          </a:xfrm>
          <a:prstGeom prst="line">
            <a:avLst/>
          </a:prstGeom>
          <a:noFill/>
          <a:ln w="6350" cap="sq"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31" name="Conexão reta 30">
            <a:extLst>
              <a:ext uri="{FF2B5EF4-FFF2-40B4-BE49-F238E27FC236}">
                <a16:creationId xmlns:a16="http://schemas.microsoft.com/office/drawing/2014/main" id="{336F5048-95A7-A61C-EBED-04DA72C276C3}"/>
              </a:ext>
            </a:extLst>
          </p:cNvPr>
          <p:cNvCxnSpPr>
            <a:cxnSpLocks/>
          </p:cNvCxnSpPr>
          <p:nvPr/>
        </p:nvCxnSpPr>
        <p:spPr>
          <a:xfrm>
            <a:off x="6888129" y="5310458"/>
            <a:ext cx="0" cy="366416"/>
          </a:xfrm>
          <a:prstGeom prst="line">
            <a:avLst/>
          </a:prstGeom>
          <a:noFill/>
          <a:ln w="6350" cap="sq"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43" name="Conexão reta 42">
            <a:extLst>
              <a:ext uri="{FF2B5EF4-FFF2-40B4-BE49-F238E27FC236}">
                <a16:creationId xmlns:a16="http://schemas.microsoft.com/office/drawing/2014/main" id="{916AD5F6-B100-8F06-9DED-6C5254561A20}"/>
              </a:ext>
            </a:extLst>
          </p:cNvPr>
          <p:cNvCxnSpPr>
            <a:cxnSpLocks/>
          </p:cNvCxnSpPr>
          <p:nvPr/>
        </p:nvCxnSpPr>
        <p:spPr>
          <a:xfrm flipH="1">
            <a:off x="4082659" y="4250194"/>
            <a:ext cx="357768" cy="0"/>
          </a:xfrm>
          <a:prstGeom prst="line">
            <a:avLst/>
          </a:prstGeom>
          <a:noFill/>
          <a:ln w="6350" cap="sq"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44" name="Conexão reta 43">
            <a:extLst>
              <a:ext uri="{FF2B5EF4-FFF2-40B4-BE49-F238E27FC236}">
                <a16:creationId xmlns:a16="http://schemas.microsoft.com/office/drawing/2014/main" id="{F367F13F-01EA-3093-1686-BF1AA5A77183}"/>
              </a:ext>
            </a:extLst>
          </p:cNvPr>
          <p:cNvCxnSpPr>
            <a:cxnSpLocks/>
          </p:cNvCxnSpPr>
          <p:nvPr/>
        </p:nvCxnSpPr>
        <p:spPr>
          <a:xfrm flipH="1">
            <a:off x="5646609" y="4250194"/>
            <a:ext cx="357768" cy="0"/>
          </a:xfrm>
          <a:prstGeom prst="line">
            <a:avLst/>
          </a:prstGeom>
          <a:noFill/>
          <a:ln w="6350" cap="sq"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46" name="Conexão reta 45">
            <a:extLst>
              <a:ext uri="{FF2B5EF4-FFF2-40B4-BE49-F238E27FC236}">
                <a16:creationId xmlns:a16="http://schemas.microsoft.com/office/drawing/2014/main" id="{0A717329-50A0-2AA8-B15B-649DE17AE786}"/>
              </a:ext>
            </a:extLst>
          </p:cNvPr>
          <p:cNvCxnSpPr>
            <a:cxnSpLocks/>
          </p:cNvCxnSpPr>
          <p:nvPr/>
        </p:nvCxnSpPr>
        <p:spPr>
          <a:xfrm flipH="1">
            <a:off x="8804125" y="4250194"/>
            <a:ext cx="165520" cy="0"/>
          </a:xfrm>
          <a:prstGeom prst="line">
            <a:avLst/>
          </a:prstGeom>
          <a:noFill/>
          <a:ln w="6350" cap="sq"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48" name="Conexão reta 47">
            <a:extLst>
              <a:ext uri="{FF2B5EF4-FFF2-40B4-BE49-F238E27FC236}">
                <a16:creationId xmlns:a16="http://schemas.microsoft.com/office/drawing/2014/main" id="{3B66AE59-06A4-5D53-0C11-B69DEC1018D7}"/>
              </a:ext>
            </a:extLst>
          </p:cNvPr>
          <p:cNvCxnSpPr>
            <a:cxnSpLocks/>
          </p:cNvCxnSpPr>
          <p:nvPr/>
        </p:nvCxnSpPr>
        <p:spPr>
          <a:xfrm flipH="1">
            <a:off x="10129165" y="4250194"/>
            <a:ext cx="165520" cy="0"/>
          </a:xfrm>
          <a:prstGeom prst="line">
            <a:avLst/>
          </a:prstGeom>
          <a:noFill/>
          <a:ln w="6350" cap="sq"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40" name="Marcador de pie de página 39">
            <a:extLst>
              <a:ext uri="{FF2B5EF4-FFF2-40B4-BE49-F238E27FC236}">
                <a16:creationId xmlns:a16="http://schemas.microsoft.com/office/drawing/2014/main" id="{FB55D549-490D-44BF-AD88-FF796DE69B6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pt-PT"/>
              <a:t>Título de la presentación</a:t>
            </a:r>
            <a:endParaRPr lang="pt-PT" dirty="0"/>
          </a:p>
        </p:txBody>
      </p:sp>
      <p:sp>
        <p:nvSpPr>
          <p:cNvPr id="41" name="Marcador de número de diapositiva 40">
            <a:extLst>
              <a:ext uri="{FF2B5EF4-FFF2-40B4-BE49-F238E27FC236}">
                <a16:creationId xmlns:a16="http://schemas.microsoft.com/office/drawing/2014/main" id="{C3F85258-3F47-4A2B-8B91-F074CD196A7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4A347C2-D68E-473A-8C76-1D063E4EB6E0}" type="slidenum">
              <a:rPr lang="es-ES" smtClean="0"/>
              <a:pPr/>
              <a:t>55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02780438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4" name="Título 233">
            <a:extLst>
              <a:ext uri="{FF2B5EF4-FFF2-40B4-BE49-F238E27FC236}">
                <a16:creationId xmlns:a16="http://schemas.microsoft.com/office/drawing/2014/main" id="{59C252E2-E2D4-AD79-185D-1C36F803619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PT" dirty="0"/>
              <a:t>Ejemplo de título de slide</a:t>
            </a:r>
          </a:p>
        </p:txBody>
      </p:sp>
      <p:sp>
        <p:nvSpPr>
          <p:cNvPr id="235" name="Marcador de Posição do Texto 234">
            <a:extLst>
              <a:ext uri="{FF2B5EF4-FFF2-40B4-BE49-F238E27FC236}">
                <a16:creationId xmlns:a16="http://schemas.microsoft.com/office/drawing/2014/main" id="{F938D09F-069E-B5AB-89A9-A8CE1C6FE9C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>
            <a:normAutofit lnSpcReduction="10000"/>
          </a:bodyPr>
          <a:lstStyle/>
          <a:p>
            <a:r>
              <a:rPr lang="pt-PT" dirty="0"/>
              <a:t>Ejemplo de subtítulo de slide</a:t>
            </a:r>
          </a:p>
        </p:txBody>
      </p:sp>
      <p:sp>
        <p:nvSpPr>
          <p:cNvPr id="4" name="Marcador de Posição do Texto 3">
            <a:extLst>
              <a:ext uri="{FF2B5EF4-FFF2-40B4-BE49-F238E27FC236}">
                <a16:creationId xmlns:a16="http://schemas.microsoft.com/office/drawing/2014/main" id="{255AD88C-8389-923B-A945-CBF70D41CCAE}"/>
              </a:ext>
            </a:extLst>
          </p:cNvPr>
          <p:cNvSpPr>
            <a:spLocks noGrp="1"/>
          </p:cNvSpPr>
          <p:nvPr>
            <p:ph type="body" sz="quarter" idx="87"/>
          </p:nvPr>
        </p:nvSpPr>
        <p:spPr/>
        <p:txBody>
          <a:bodyPr/>
          <a:lstStyle/>
          <a:p>
            <a:r>
              <a:rPr lang="en-US" dirty="0"/>
              <a:t>Launching innovative and disruptive applications into</a:t>
            </a:r>
            <a:br>
              <a:rPr lang="en-US" dirty="0"/>
            </a:br>
            <a:r>
              <a:rPr lang="en-US" dirty="0"/>
              <a:t>the industry landscape </a:t>
            </a:r>
          </a:p>
        </p:txBody>
      </p:sp>
      <p:sp>
        <p:nvSpPr>
          <p:cNvPr id="5" name="Marcador de Posição do Texto 4">
            <a:extLst>
              <a:ext uri="{FF2B5EF4-FFF2-40B4-BE49-F238E27FC236}">
                <a16:creationId xmlns:a16="http://schemas.microsoft.com/office/drawing/2014/main" id="{98F24C41-7660-0C1A-E7B4-E5D66253F14C}"/>
              </a:ext>
            </a:extLst>
          </p:cNvPr>
          <p:cNvSpPr>
            <a:spLocks noGrp="1"/>
          </p:cNvSpPr>
          <p:nvPr>
            <p:ph type="body" sz="quarter" idx="88"/>
          </p:nvPr>
        </p:nvSpPr>
        <p:spPr/>
        <p:txBody>
          <a:bodyPr/>
          <a:lstStyle/>
          <a:p>
            <a:r>
              <a:rPr lang="pt-PT" dirty="0"/>
              <a:t>UI / </a:t>
            </a:r>
            <a:r>
              <a:rPr lang="pt-PT" dirty="0" err="1"/>
              <a:t>UX</a:t>
            </a:r>
            <a:r>
              <a:rPr lang="pt-PT" dirty="0"/>
              <a:t> </a:t>
            </a:r>
            <a:r>
              <a:rPr lang="pt-PT" dirty="0" err="1"/>
              <a:t>concerns</a:t>
            </a:r>
            <a:endParaRPr lang="pt-PT" dirty="0"/>
          </a:p>
        </p:txBody>
      </p:sp>
      <p:sp>
        <p:nvSpPr>
          <p:cNvPr id="6" name="Marcador de Posição do Texto 5">
            <a:extLst>
              <a:ext uri="{FF2B5EF4-FFF2-40B4-BE49-F238E27FC236}">
                <a16:creationId xmlns:a16="http://schemas.microsoft.com/office/drawing/2014/main" id="{7446DA8E-B5C2-46F2-5CED-1ABE1EA88E78}"/>
              </a:ext>
            </a:extLst>
          </p:cNvPr>
          <p:cNvSpPr>
            <a:spLocks noGrp="1"/>
          </p:cNvSpPr>
          <p:nvPr>
            <p:ph type="body" sz="quarter" idx="89"/>
          </p:nvPr>
        </p:nvSpPr>
        <p:spPr/>
        <p:txBody>
          <a:bodyPr/>
          <a:lstStyle/>
          <a:p>
            <a:pPr>
              <a:buClr>
                <a:schemeClr val="tx1"/>
              </a:buClr>
            </a:pPr>
            <a:r>
              <a:rPr lang="en-US" b="1" dirty="0"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Replacing Legacy Systems</a:t>
            </a:r>
          </a:p>
          <a:p>
            <a:pPr marL="285750" indent="-285750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dirty="0"/>
              <a:t>Developing new and modernized core systems</a:t>
            </a:r>
          </a:p>
          <a:p>
            <a:pPr marL="285750" indent="-285750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dirty="0"/>
              <a:t>Field Operations applications</a:t>
            </a:r>
          </a:p>
        </p:txBody>
      </p:sp>
      <p:sp>
        <p:nvSpPr>
          <p:cNvPr id="7" name="Marcador de Posição do Texto 6">
            <a:extLst>
              <a:ext uri="{FF2B5EF4-FFF2-40B4-BE49-F238E27FC236}">
                <a16:creationId xmlns:a16="http://schemas.microsoft.com/office/drawing/2014/main" id="{495C2A65-4491-FC87-5685-95D2D2A6DC51}"/>
              </a:ext>
            </a:extLst>
          </p:cNvPr>
          <p:cNvSpPr>
            <a:spLocks noGrp="1"/>
          </p:cNvSpPr>
          <p:nvPr>
            <p:ph type="body" sz="quarter" idx="90"/>
          </p:nvPr>
        </p:nvSpPr>
        <p:spPr/>
        <p:txBody>
          <a:bodyPr/>
          <a:lstStyle/>
          <a:p>
            <a:pPr marL="174625" indent="-174625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dirty="0"/>
              <a:t>Requirement analysis</a:t>
            </a:r>
          </a:p>
          <a:p>
            <a:pPr marL="174625" indent="-174625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dirty="0"/>
              <a:t>Custom estimation</a:t>
            </a:r>
          </a:p>
          <a:p>
            <a:pPr marL="174625" indent="-174625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dirty="0"/>
              <a:t>Solution design</a:t>
            </a:r>
          </a:p>
          <a:p>
            <a:pPr marL="171450" indent="-171450">
              <a:buClr>
                <a:schemeClr val="tx1"/>
              </a:buClr>
              <a:buFont typeface="Arial" panose="020B0604020202020204" pitchFamily="34" charset="0"/>
              <a:buChar char="•"/>
            </a:pPr>
            <a:endParaRPr lang="pt-PT" dirty="0"/>
          </a:p>
        </p:txBody>
      </p:sp>
      <p:sp>
        <p:nvSpPr>
          <p:cNvPr id="10" name="Marcador de Posição do Texto 9">
            <a:extLst>
              <a:ext uri="{FF2B5EF4-FFF2-40B4-BE49-F238E27FC236}">
                <a16:creationId xmlns:a16="http://schemas.microsoft.com/office/drawing/2014/main" id="{DCFE4E34-FA6F-A47E-2CD6-F9CD41FD14B2}"/>
              </a:ext>
            </a:extLst>
          </p:cNvPr>
          <p:cNvSpPr>
            <a:spLocks noGrp="1"/>
          </p:cNvSpPr>
          <p:nvPr>
            <p:ph type="body" sz="quarter" idx="93"/>
          </p:nvPr>
        </p:nvSpPr>
        <p:spPr/>
        <p:txBody>
          <a:bodyPr/>
          <a:lstStyle/>
          <a:p>
            <a:r>
              <a:rPr lang="pt-PT" dirty="0" err="1"/>
              <a:t>Visibility</a:t>
            </a:r>
            <a:endParaRPr lang="pt-PT" dirty="0"/>
          </a:p>
        </p:txBody>
      </p:sp>
      <p:sp>
        <p:nvSpPr>
          <p:cNvPr id="11" name="Marcador de Posição do Texto 10">
            <a:extLst>
              <a:ext uri="{FF2B5EF4-FFF2-40B4-BE49-F238E27FC236}">
                <a16:creationId xmlns:a16="http://schemas.microsoft.com/office/drawing/2014/main" id="{83CD2AE8-8068-267E-A9A3-C15F255B6BD9}"/>
              </a:ext>
            </a:extLst>
          </p:cNvPr>
          <p:cNvSpPr>
            <a:spLocks noGrp="1"/>
          </p:cNvSpPr>
          <p:nvPr>
            <p:ph type="body" sz="quarter" idx="94"/>
          </p:nvPr>
        </p:nvSpPr>
        <p:spPr/>
        <p:txBody>
          <a:bodyPr/>
          <a:lstStyle/>
          <a:p>
            <a:r>
              <a:rPr lang="pt-PT" dirty="0"/>
              <a:t>Feedback</a:t>
            </a:r>
          </a:p>
        </p:txBody>
      </p:sp>
      <p:sp>
        <p:nvSpPr>
          <p:cNvPr id="12" name="Marcador de Posição do Texto 11">
            <a:extLst>
              <a:ext uri="{FF2B5EF4-FFF2-40B4-BE49-F238E27FC236}">
                <a16:creationId xmlns:a16="http://schemas.microsoft.com/office/drawing/2014/main" id="{555C354B-7595-A7AC-43C6-390B929E1E25}"/>
              </a:ext>
            </a:extLst>
          </p:cNvPr>
          <p:cNvSpPr>
            <a:spLocks noGrp="1"/>
          </p:cNvSpPr>
          <p:nvPr>
            <p:ph type="body" sz="quarter" idx="95"/>
          </p:nvPr>
        </p:nvSpPr>
        <p:spPr/>
        <p:txBody>
          <a:bodyPr/>
          <a:lstStyle/>
          <a:p>
            <a:r>
              <a:rPr lang="pt-PT" dirty="0" err="1"/>
              <a:t>Affordance</a:t>
            </a:r>
            <a:endParaRPr lang="pt-PT" dirty="0"/>
          </a:p>
        </p:txBody>
      </p:sp>
      <p:sp>
        <p:nvSpPr>
          <p:cNvPr id="13" name="Marcador de Posição do Texto 12">
            <a:extLst>
              <a:ext uri="{FF2B5EF4-FFF2-40B4-BE49-F238E27FC236}">
                <a16:creationId xmlns:a16="http://schemas.microsoft.com/office/drawing/2014/main" id="{5FD68D23-5ABD-350D-1EF9-4ADE5116C68A}"/>
              </a:ext>
            </a:extLst>
          </p:cNvPr>
          <p:cNvSpPr>
            <a:spLocks noGrp="1"/>
          </p:cNvSpPr>
          <p:nvPr>
            <p:ph type="body" sz="quarter" idx="96"/>
          </p:nvPr>
        </p:nvSpPr>
        <p:spPr/>
        <p:txBody>
          <a:bodyPr/>
          <a:lstStyle/>
          <a:p>
            <a:r>
              <a:rPr lang="pt-PT" dirty="0" err="1"/>
              <a:t>Mapping</a:t>
            </a:r>
            <a:endParaRPr lang="pt-PT" dirty="0"/>
          </a:p>
        </p:txBody>
      </p:sp>
      <p:sp>
        <p:nvSpPr>
          <p:cNvPr id="14" name="Marcador de Posição do Texto 13">
            <a:extLst>
              <a:ext uri="{FF2B5EF4-FFF2-40B4-BE49-F238E27FC236}">
                <a16:creationId xmlns:a16="http://schemas.microsoft.com/office/drawing/2014/main" id="{C903B5AB-4B36-9C28-4716-9D2E9E818002}"/>
              </a:ext>
            </a:extLst>
          </p:cNvPr>
          <p:cNvSpPr>
            <a:spLocks noGrp="1"/>
          </p:cNvSpPr>
          <p:nvPr>
            <p:ph type="body" sz="quarter" idx="97"/>
          </p:nvPr>
        </p:nvSpPr>
        <p:spPr/>
        <p:txBody>
          <a:bodyPr/>
          <a:lstStyle/>
          <a:p>
            <a:r>
              <a:rPr lang="pt-PT" dirty="0" err="1"/>
              <a:t>Constraint</a:t>
            </a:r>
            <a:endParaRPr lang="pt-PT" dirty="0"/>
          </a:p>
        </p:txBody>
      </p:sp>
      <p:sp>
        <p:nvSpPr>
          <p:cNvPr id="15" name="Marcador de Posição do Texto 14">
            <a:extLst>
              <a:ext uri="{FF2B5EF4-FFF2-40B4-BE49-F238E27FC236}">
                <a16:creationId xmlns:a16="http://schemas.microsoft.com/office/drawing/2014/main" id="{749DA7EE-5ABC-607D-0B59-FEBE87D37C59}"/>
              </a:ext>
            </a:extLst>
          </p:cNvPr>
          <p:cNvSpPr>
            <a:spLocks noGrp="1"/>
          </p:cNvSpPr>
          <p:nvPr>
            <p:ph type="body" sz="quarter" idx="98"/>
          </p:nvPr>
        </p:nvSpPr>
        <p:spPr/>
        <p:txBody>
          <a:bodyPr/>
          <a:lstStyle/>
          <a:p>
            <a:r>
              <a:rPr lang="pt-PT" dirty="0" err="1"/>
              <a:t>Consistency</a:t>
            </a:r>
            <a:endParaRPr lang="pt-PT" dirty="0"/>
          </a:p>
        </p:txBody>
      </p:sp>
      <p:sp>
        <p:nvSpPr>
          <p:cNvPr id="226" name="Marcador de Posição do Texto 225">
            <a:extLst>
              <a:ext uri="{FF2B5EF4-FFF2-40B4-BE49-F238E27FC236}">
                <a16:creationId xmlns:a16="http://schemas.microsoft.com/office/drawing/2014/main" id="{F33BC61E-DFBC-AFC5-8096-D30FED78751F}"/>
              </a:ext>
            </a:extLst>
          </p:cNvPr>
          <p:cNvSpPr>
            <a:spLocks noGrp="1"/>
          </p:cNvSpPr>
          <p:nvPr>
            <p:ph type="body" sz="quarter" idx="99"/>
          </p:nvPr>
        </p:nvSpPr>
        <p:spPr/>
        <p:txBody>
          <a:bodyPr/>
          <a:lstStyle/>
          <a:p>
            <a:pPr marL="174625" indent="-174625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dirty="0"/>
              <a:t>Development</a:t>
            </a:r>
          </a:p>
          <a:p>
            <a:pPr marL="174625" indent="-174625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dirty="0"/>
              <a:t>Testing</a:t>
            </a:r>
          </a:p>
          <a:p>
            <a:pPr marL="174625" indent="-174625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dirty="0"/>
              <a:t>Deployment</a:t>
            </a:r>
          </a:p>
          <a:p>
            <a:pPr marL="174625" indent="-174625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dirty="0"/>
              <a:t>Project Management</a:t>
            </a:r>
            <a:endParaRPr lang="pt-PT" dirty="0"/>
          </a:p>
        </p:txBody>
      </p:sp>
      <p:sp>
        <p:nvSpPr>
          <p:cNvPr id="227" name="Marcador de Posição do Texto 226">
            <a:extLst>
              <a:ext uri="{FF2B5EF4-FFF2-40B4-BE49-F238E27FC236}">
                <a16:creationId xmlns:a16="http://schemas.microsoft.com/office/drawing/2014/main" id="{8E61F19E-2C04-8CC4-B4B0-302DE7C0A30B}"/>
              </a:ext>
            </a:extLst>
          </p:cNvPr>
          <p:cNvSpPr>
            <a:spLocks noGrp="1"/>
          </p:cNvSpPr>
          <p:nvPr>
            <p:ph type="body" sz="quarter" idx="100"/>
          </p:nvPr>
        </p:nvSpPr>
        <p:spPr>
          <a:xfrm>
            <a:off x="7867808" y="3466592"/>
            <a:ext cx="1890103" cy="1237682"/>
          </a:xfrm>
        </p:spPr>
        <p:txBody>
          <a:bodyPr/>
          <a:lstStyle/>
          <a:p>
            <a:pPr marL="174625" indent="-174625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dirty="0"/>
              <a:t>Extended Capacity Factory Model</a:t>
            </a:r>
          </a:p>
          <a:p>
            <a:pPr marL="174625" indent="-174625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dirty="0"/>
              <a:t>Minimum baseline (ex. 1 Cell of 1 Tech Lead and 2-3 </a:t>
            </a:r>
            <a:r>
              <a:rPr lang="en-US" dirty="0" err="1"/>
              <a:t>DEVs</a:t>
            </a:r>
            <a:r>
              <a:rPr lang="en-US" dirty="0"/>
              <a:t>)</a:t>
            </a:r>
          </a:p>
        </p:txBody>
      </p:sp>
      <p:sp>
        <p:nvSpPr>
          <p:cNvPr id="228" name="Marcador de Posição do Texto 227">
            <a:extLst>
              <a:ext uri="{FF2B5EF4-FFF2-40B4-BE49-F238E27FC236}">
                <a16:creationId xmlns:a16="http://schemas.microsoft.com/office/drawing/2014/main" id="{15E43CBF-5ADF-29D9-DD8B-43158A5D0272}"/>
              </a:ext>
            </a:extLst>
          </p:cNvPr>
          <p:cNvSpPr>
            <a:spLocks noGrp="1"/>
          </p:cNvSpPr>
          <p:nvPr>
            <p:ph type="body" sz="quarter" idx="101"/>
          </p:nvPr>
        </p:nvSpPr>
        <p:spPr>
          <a:xfrm>
            <a:off x="9869723" y="3466592"/>
            <a:ext cx="2175158" cy="1237682"/>
          </a:xfrm>
        </p:spPr>
        <p:txBody>
          <a:bodyPr/>
          <a:lstStyle/>
          <a:p>
            <a:pPr marL="171450" indent="-171450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dirty="0"/>
              <a:t>The baseline can</a:t>
            </a:r>
            <a:br>
              <a:rPr lang="en-US" dirty="0"/>
            </a:br>
            <a:r>
              <a:rPr lang="en-US" dirty="0"/>
              <a:t>grow according to Customer/Project needs</a:t>
            </a:r>
          </a:p>
          <a:p>
            <a:pPr marL="171450" indent="-171450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dirty="0"/>
              <a:t>Can be extended with other specific services (ex., Architecture analysis, UI/</a:t>
            </a:r>
            <a:r>
              <a:rPr lang="en-US" dirty="0" err="1"/>
              <a:t>UX</a:t>
            </a:r>
            <a:r>
              <a:rPr lang="en-US" dirty="0"/>
              <a:t>) </a:t>
            </a:r>
            <a:endParaRPr lang="pt-PT" dirty="0"/>
          </a:p>
        </p:txBody>
      </p:sp>
      <p:sp>
        <p:nvSpPr>
          <p:cNvPr id="229" name="Marcador de Posição do Texto 228">
            <a:extLst>
              <a:ext uri="{FF2B5EF4-FFF2-40B4-BE49-F238E27FC236}">
                <a16:creationId xmlns:a16="http://schemas.microsoft.com/office/drawing/2014/main" id="{46BFD55E-6733-CE59-19B1-984B77C0ECC1}"/>
              </a:ext>
            </a:extLst>
          </p:cNvPr>
          <p:cNvSpPr>
            <a:spLocks noGrp="1"/>
          </p:cNvSpPr>
          <p:nvPr>
            <p:ph type="body" sz="quarter" idx="102"/>
          </p:nvPr>
        </p:nvSpPr>
        <p:spPr>
          <a:xfrm>
            <a:off x="7867809" y="5003980"/>
            <a:ext cx="3766092" cy="1237682"/>
          </a:xfrm>
        </p:spPr>
        <p:txBody>
          <a:bodyPr/>
          <a:lstStyle/>
          <a:p>
            <a:pPr marL="171450" indent="-171450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dirty="0"/>
              <a:t>Replacing Legacy Systems</a:t>
            </a:r>
          </a:p>
          <a:p>
            <a:pPr marL="171450" indent="-171450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dirty="0"/>
              <a:t>Developing new and modernized core systems</a:t>
            </a:r>
          </a:p>
          <a:p>
            <a:pPr marL="171450" indent="-171450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dirty="0"/>
              <a:t>Field Operations applications</a:t>
            </a:r>
          </a:p>
        </p:txBody>
      </p:sp>
      <p:sp>
        <p:nvSpPr>
          <p:cNvPr id="225" name="Marcador de Posição do Texto 224">
            <a:extLst>
              <a:ext uri="{FF2B5EF4-FFF2-40B4-BE49-F238E27FC236}">
                <a16:creationId xmlns:a16="http://schemas.microsoft.com/office/drawing/2014/main" id="{D51E162E-0E07-18F3-6097-58282C5D0C8F}"/>
              </a:ext>
            </a:extLst>
          </p:cNvPr>
          <p:cNvSpPr>
            <a:spLocks noGrp="1"/>
          </p:cNvSpPr>
          <p:nvPr>
            <p:ph type="body" sz="quarter" idx="81"/>
          </p:nvPr>
        </p:nvSpPr>
        <p:spPr/>
        <p:txBody>
          <a:bodyPr/>
          <a:lstStyle/>
          <a:p>
            <a:r>
              <a:rPr lang="pt-PT" dirty="0" err="1"/>
              <a:t>Fixed</a:t>
            </a:r>
            <a:r>
              <a:rPr lang="pt-PT" dirty="0"/>
              <a:t> Budget </a:t>
            </a:r>
            <a:r>
              <a:rPr lang="pt-PT" dirty="0" err="1"/>
              <a:t>Projects</a:t>
            </a:r>
            <a:endParaRPr lang="pt-PT" dirty="0"/>
          </a:p>
        </p:txBody>
      </p:sp>
      <p:grpSp>
        <p:nvGrpSpPr>
          <p:cNvPr id="16" name="Agrupar 15">
            <a:extLst>
              <a:ext uri="{FF2B5EF4-FFF2-40B4-BE49-F238E27FC236}">
                <a16:creationId xmlns:a16="http://schemas.microsoft.com/office/drawing/2014/main" id="{0ECA14BC-AC85-14A3-342B-6B85576D287B}"/>
              </a:ext>
            </a:extLst>
          </p:cNvPr>
          <p:cNvGrpSpPr/>
          <p:nvPr/>
        </p:nvGrpSpPr>
        <p:grpSpPr>
          <a:xfrm>
            <a:off x="1926490" y="2107576"/>
            <a:ext cx="481138" cy="525430"/>
            <a:chOff x="6000092" y="1357908"/>
            <a:chExt cx="365300" cy="398929"/>
          </a:xfrm>
        </p:grpSpPr>
        <p:sp>
          <p:nvSpPr>
            <p:cNvPr id="17" name="Forma livre: Forma 16">
              <a:extLst>
                <a:ext uri="{FF2B5EF4-FFF2-40B4-BE49-F238E27FC236}">
                  <a16:creationId xmlns:a16="http://schemas.microsoft.com/office/drawing/2014/main" id="{D09A13E3-E385-D2A7-A7A5-8B3E2C44A0D5}"/>
                </a:ext>
              </a:extLst>
            </p:cNvPr>
            <p:cNvSpPr/>
            <p:nvPr/>
          </p:nvSpPr>
          <p:spPr>
            <a:xfrm>
              <a:off x="6000092" y="1418606"/>
              <a:ext cx="84058" cy="286120"/>
            </a:xfrm>
            <a:custGeom>
              <a:avLst/>
              <a:gdLst>
                <a:gd name="connsiteX0" fmla="*/ 51595 w 84058"/>
                <a:gd name="connsiteY0" fmla="*/ 0 h 286120"/>
                <a:gd name="connsiteX1" fmla="*/ 35266 w 84058"/>
                <a:gd name="connsiteY1" fmla="*/ 61674 h 286120"/>
                <a:gd name="connsiteX2" fmla="*/ 28760 w 84058"/>
                <a:gd name="connsiteY2" fmla="*/ 193415 h 286120"/>
                <a:gd name="connsiteX3" fmla="*/ 84059 w 84058"/>
                <a:gd name="connsiteY3" fmla="*/ 286121 h 2861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4058" h="286120">
                  <a:moveTo>
                    <a:pt x="51595" y="0"/>
                  </a:moveTo>
                  <a:cubicBezTo>
                    <a:pt x="37868" y="7872"/>
                    <a:pt x="26028" y="24852"/>
                    <a:pt x="35266" y="61674"/>
                  </a:cubicBezTo>
                  <a:cubicBezTo>
                    <a:pt x="35266" y="61674"/>
                    <a:pt x="-39549" y="126731"/>
                    <a:pt x="28760" y="193415"/>
                  </a:cubicBezTo>
                  <a:cubicBezTo>
                    <a:pt x="28760" y="193415"/>
                    <a:pt x="9243" y="281242"/>
                    <a:pt x="84059" y="286121"/>
                  </a:cubicBezTo>
                </a:path>
              </a:pathLst>
            </a:custGeom>
            <a:noFill/>
            <a:ln w="19050" cap="sq">
              <a:solidFill>
                <a:schemeClr val="accent1"/>
              </a:solidFill>
              <a:prstDash val="solid"/>
              <a:miter lim="800000"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8" name="Gráfico 32">
              <a:extLst>
                <a:ext uri="{FF2B5EF4-FFF2-40B4-BE49-F238E27FC236}">
                  <a16:creationId xmlns:a16="http://schemas.microsoft.com/office/drawing/2014/main" id="{4472469F-49C2-BE15-4890-339E37857760}"/>
                </a:ext>
              </a:extLst>
            </p:cNvPr>
            <p:cNvGrpSpPr/>
            <p:nvPr/>
          </p:nvGrpSpPr>
          <p:grpSpPr>
            <a:xfrm>
              <a:off x="6061121" y="1359924"/>
              <a:ext cx="128487" cy="396366"/>
              <a:chOff x="6061121" y="1359924"/>
              <a:chExt cx="128487" cy="396366"/>
            </a:xfrm>
            <a:noFill/>
          </p:grpSpPr>
          <p:sp>
            <p:nvSpPr>
              <p:cNvPr id="33" name="Forma livre: Forma 32">
                <a:extLst>
                  <a:ext uri="{FF2B5EF4-FFF2-40B4-BE49-F238E27FC236}">
                    <a16:creationId xmlns:a16="http://schemas.microsoft.com/office/drawing/2014/main" id="{0C3A23C5-2E0F-4BCE-37B7-5702DA861066}"/>
                  </a:ext>
                </a:extLst>
              </p:cNvPr>
              <p:cNvSpPr/>
              <p:nvPr/>
            </p:nvSpPr>
            <p:spPr>
              <a:xfrm>
                <a:off x="6083891" y="1359924"/>
                <a:ext cx="105717" cy="396366"/>
              </a:xfrm>
              <a:custGeom>
                <a:avLst/>
                <a:gdLst>
                  <a:gd name="connsiteX0" fmla="*/ 52891 w 105717"/>
                  <a:gd name="connsiteY0" fmla="*/ 105718 h 396366"/>
                  <a:gd name="connsiteX1" fmla="*/ 0 w 105717"/>
                  <a:gd name="connsiteY1" fmla="*/ 52891 h 396366"/>
                  <a:gd name="connsiteX2" fmla="*/ 52891 w 105717"/>
                  <a:gd name="connsiteY2" fmla="*/ 0 h 396366"/>
                  <a:gd name="connsiteX3" fmla="*/ 105718 w 105717"/>
                  <a:gd name="connsiteY3" fmla="*/ 52826 h 396366"/>
                  <a:gd name="connsiteX4" fmla="*/ 105718 w 105717"/>
                  <a:gd name="connsiteY4" fmla="*/ 346884 h 396366"/>
                  <a:gd name="connsiteX5" fmla="*/ 80606 w 105717"/>
                  <a:gd name="connsiteY5" fmla="*/ 388911 h 396366"/>
                  <a:gd name="connsiteX6" fmla="*/ 9238 w 105717"/>
                  <a:gd name="connsiteY6" fmla="*/ 371150 h 396366"/>
                  <a:gd name="connsiteX7" fmla="*/ 15484 w 105717"/>
                  <a:gd name="connsiteY7" fmla="*/ 309216 h 396366"/>
                  <a:gd name="connsiteX8" fmla="*/ 45019 w 105717"/>
                  <a:gd name="connsiteY8" fmla="*/ 277078 h 3963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05717" h="396366">
                    <a:moveTo>
                      <a:pt x="52891" y="105718"/>
                    </a:moveTo>
                    <a:cubicBezTo>
                      <a:pt x="23681" y="105718"/>
                      <a:pt x="0" y="82037"/>
                      <a:pt x="0" y="52891"/>
                    </a:cubicBezTo>
                    <a:cubicBezTo>
                      <a:pt x="0" y="23746"/>
                      <a:pt x="23681" y="0"/>
                      <a:pt x="52891" y="0"/>
                    </a:cubicBezTo>
                    <a:cubicBezTo>
                      <a:pt x="82102" y="0"/>
                      <a:pt x="105718" y="23681"/>
                      <a:pt x="105718" y="52826"/>
                    </a:cubicBezTo>
                    <a:lnTo>
                      <a:pt x="105718" y="346884"/>
                    </a:lnTo>
                    <a:cubicBezTo>
                      <a:pt x="105718" y="364580"/>
                      <a:pt x="96414" y="379413"/>
                      <a:pt x="80606" y="388911"/>
                    </a:cubicBezTo>
                    <a:cubicBezTo>
                      <a:pt x="55949" y="403744"/>
                      <a:pt x="24006" y="395742"/>
                      <a:pt x="9238" y="371150"/>
                    </a:cubicBezTo>
                    <a:cubicBezTo>
                      <a:pt x="-2928" y="350918"/>
                      <a:pt x="260" y="325741"/>
                      <a:pt x="15484" y="309216"/>
                    </a:cubicBezTo>
                    <a:lnTo>
                      <a:pt x="45019" y="277078"/>
                    </a:lnTo>
                  </a:path>
                </a:pathLst>
              </a:custGeom>
              <a:noFill/>
              <a:ln w="19050" cap="sq">
                <a:solidFill>
                  <a:schemeClr val="accent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4" name="Forma livre: Forma 33">
                <a:extLst>
                  <a:ext uri="{FF2B5EF4-FFF2-40B4-BE49-F238E27FC236}">
                    <a16:creationId xmlns:a16="http://schemas.microsoft.com/office/drawing/2014/main" id="{058AE1BC-CA3D-6BC2-C469-8BD14D54B85B}"/>
                  </a:ext>
                </a:extLst>
              </p:cNvPr>
              <p:cNvSpPr/>
              <p:nvPr/>
            </p:nvSpPr>
            <p:spPr>
              <a:xfrm>
                <a:off x="6144784" y="1383865"/>
                <a:ext cx="41563" cy="38963"/>
              </a:xfrm>
              <a:custGeom>
                <a:avLst/>
                <a:gdLst>
                  <a:gd name="connsiteX0" fmla="*/ 36172 w 41563"/>
                  <a:gd name="connsiteY0" fmla="*/ 0 h 38963"/>
                  <a:gd name="connsiteX1" fmla="*/ 39425 w 41563"/>
                  <a:gd name="connsiteY1" fmla="*/ 24266 h 38963"/>
                  <a:gd name="connsiteX2" fmla="*/ 36432 w 41563"/>
                  <a:gd name="connsiteY2" fmla="*/ 29080 h 38963"/>
                  <a:gd name="connsiteX3" fmla="*/ 0 w 41563"/>
                  <a:gd name="connsiteY3" fmla="*/ 33439 h 389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563" h="38963">
                    <a:moveTo>
                      <a:pt x="36172" y="0"/>
                    </a:moveTo>
                    <a:cubicBezTo>
                      <a:pt x="41571" y="7547"/>
                      <a:pt x="43393" y="16004"/>
                      <a:pt x="39425" y="24266"/>
                    </a:cubicBezTo>
                    <a:cubicBezTo>
                      <a:pt x="38644" y="25893"/>
                      <a:pt x="37603" y="27519"/>
                      <a:pt x="36432" y="29080"/>
                    </a:cubicBezTo>
                    <a:cubicBezTo>
                      <a:pt x="27584" y="40270"/>
                      <a:pt x="11190" y="42287"/>
                      <a:pt x="0" y="33439"/>
                    </a:cubicBezTo>
                  </a:path>
                </a:pathLst>
              </a:custGeom>
              <a:noFill/>
              <a:ln w="19050" cap="sq">
                <a:solidFill>
                  <a:schemeClr val="accent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5" name="Forma livre: Forma 34">
                <a:extLst>
                  <a:ext uri="{FF2B5EF4-FFF2-40B4-BE49-F238E27FC236}">
                    <a16:creationId xmlns:a16="http://schemas.microsoft.com/office/drawing/2014/main" id="{46002EE2-326D-79E7-6B3B-3578FC25E72A}"/>
                  </a:ext>
                </a:extLst>
              </p:cNvPr>
              <p:cNvSpPr/>
              <p:nvPr/>
            </p:nvSpPr>
            <p:spPr>
              <a:xfrm>
                <a:off x="6081487" y="1460806"/>
                <a:ext cx="34217" cy="54474"/>
              </a:xfrm>
              <a:custGeom>
                <a:avLst/>
                <a:gdLst>
                  <a:gd name="connsiteX0" fmla="*/ 21076 w 34217"/>
                  <a:gd name="connsiteY0" fmla="*/ 54475 h 54474"/>
                  <a:gd name="connsiteX1" fmla="*/ 778 w 34217"/>
                  <a:gd name="connsiteY1" fmla="*/ 21035 h 54474"/>
                  <a:gd name="connsiteX2" fmla="*/ 34217 w 34217"/>
                  <a:gd name="connsiteY2" fmla="*/ 803 h 544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4217" h="54474">
                    <a:moveTo>
                      <a:pt x="21076" y="54475"/>
                    </a:moveTo>
                    <a:cubicBezTo>
                      <a:pt x="6308" y="50832"/>
                      <a:pt x="-2800" y="35803"/>
                      <a:pt x="778" y="21035"/>
                    </a:cubicBezTo>
                    <a:cubicBezTo>
                      <a:pt x="4421" y="6267"/>
                      <a:pt x="19449" y="-2841"/>
                      <a:pt x="34217" y="803"/>
                    </a:cubicBezTo>
                  </a:path>
                </a:pathLst>
              </a:custGeom>
              <a:noFill/>
              <a:ln w="19050" cap="sq">
                <a:solidFill>
                  <a:schemeClr val="accent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6" name="Forma livre: Forma 35">
                <a:extLst>
                  <a:ext uri="{FF2B5EF4-FFF2-40B4-BE49-F238E27FC236}">
                    <a16:creationId xmlns:a16="http://schemas.microsoft.com/office/drawing/2014/main" id="{25664CAE-E656-DF0E-18C1-C3A3851F1416}"/>
                  </a:ext>
                </a:extLst>
              </p:cNvPr>
              <p:cNvSpPr/>
              <p:nvPr/>
            </p:nvSpPr>
            <p:spPr>
              <a:xfrm>
                <a:off x="6073547" y="1527543"/>
                <a:ext cx="114760" cy="72506"/>
              </a:xfrm>
              <a:custGeom>
                <a:avLst/>
                <a:gdLst>
                  <a:gd name="connsiteX0" fmla="*/ 114760 w 114760"/>
                  <a:gd name="connsiteY0" fmla="*/ 7254 h 72506"/>
                  <a:gd name="connsiteX1" fmla="*/ 73905 w 114760"/>
                  <a:gd name="connsiteY1" fmla="*/ 8881 h 72506"/>
                  <a:gd name="connsiteX2" fmla="*/ 0 w 114760"/>
                  <a:gd name="connsiteY2" fmla="*/ 72506 h 725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14760" h="72506">
                    <a:moveTo>
                      <a:pt x="114760" y="7254"/>
                    </a:moveTo>
                    <a:cubicBezTo>
                      <a:pt x="103375" y="-2830"/>
                      <a:pt x="83989" y="-2504"/>
                      <a:pt x="73905" y="8881"/>
                    </a:cubicBezTo>
                    <a:cubicBezTo>
                      <a:pt x="73905" y="8881"/>
                      <a:pt x="31488" y="72506"/>
                      <a:pt x="0" y="72506"/>
                    </a:cubicBezTo>
                  </a:path>
                </a:pathLst>
              </a:custGeom>
              <a:noFill/>
              <a:ln w="19050" cap="sq">
                <a:solidFill>
                  <a:schemeClr val="accent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7" name="Forma livre: Forma 36">
                <a:extLst>
                  <a:ext uri="{FF2B5EF4-FFF2-40B4-BE49-F238E27FC236}">
                    <a16:creationId xmlns:a16="http://schemas.microsoft.com/office/drawing/2014/main" id="{51EBF7E9-AE08-1BF4-2B23-CB42287ECA75}"/>
                  </a:ext>
                </a:extLst>
              </p:cNvPr>
              <p:cNvSpPr/>
              <p:nvPr/>
            </p:nvSpPr>
            <p:spPr>
              <a:xfrm>
                <a:off x="6079857" y="1646956"/>
                <a:ext cx="29405" cy="9823"/>
              </a:xfrm>
              <a:custGeom>
                <a:avLst/>
                <a:gdLst>
                  <a:gd name="connsiteX0" fmla="*/ 0 w 29405"/>
                  <a:gd name="connsiteY0" fmla="*/ 0 h 9823"/>
                  <a:gd name="connsiteX1" fmla="*/ 29406 w 29405"/>
                  <a:gd name="connsiteY1" fmla="*/ 9824 h 98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9405" h="9823">
                    <a:moveTo>
                      <a:pt x="0" y="0"/>
                    </a:moveTo>
                    <a:lnTo>
                      <a:pt x="29406" y="9824"/>
                    </a:lnTo>
                  </a:path>
                </a:pathLst>
              </a:custGeom>
              <a:ln w="19050" cap="sq">
                <a:solidFill>
                  <a:schemeClr val="accent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8" name="Forma livre: Forma 37">
                <a:extLst>
                  <a:ext uri="{FF2B5EF4-FFF2-40B4-BE49-F238E27FC236}">
                    <a16:creationId xmlns:a16="http://schemas.microsoft.com/office/drawing/2014/main" id="{5AE40B12-258B-4FC3-FEFB-935F781B13A2}"/>
                  </a:ext>
                </a:extLst>
              </p:cNvPr>
              <p:cNvSpPr/>
              <p:nvPr/>
            </p:nvSpPr>
            <p:spPr>
              <a:xfrm>
                <a:off x="6061121" y="1545272"/>
                <a:ext cx="47166" cy="34154"/>
              </a:xfrm>
              <a:custGeom>
                <a:avLst/>
                <a:gdLst>
                  <a:gd name="connsiteX0" fmla="*/ 0 w 47166"/>
                  <a:gd name="connsiteY0" fmla="*/ 0 h 34154"/>
                  <a:gd name="connsiteX1" fmla="*/ 47166 w 47166"/>
                  <a:gd name="connsiteY1" fmla="*/ 34155 h 341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166" h="34154">
                    <a:moveTo>
                      <a:pt x="0" y="0"/>
                    </a:moveTo>
                    <a:cubicBezTo>
                      <a:pt x="0" y="0"/>
                      <a:pt x="27649" y="13011"/>
                      <a:pt x="47166" y="34155"/>
                    </a:cubicBezTo>
                  </a:path>
                </a:pathLst>
              </a:custGeom>
              <a:noFill/>
              <a:ln w="19050" cap="sq">
                <a:solidFill>
                  <a:schemeClr val="accent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9" name="Gráfico 32">
              <a:extLst>
                <a:ext uri="{FF2B5EF4-FFF2-40B4-BE49-F238E27FC236}">
                  <a16:creationId xmlns:a16="http://schemas.microsoft.com/office/drawing/2014/main" id="{6E224CE2-9A45-F77E-76D2-3F75325C5653}"/>
                </a:ext>
              </a:extLst>
            </p:cNvPr>
            <p:cNvGrpSpPr/>
            <p:nvPr/>
          </p:nvGrpSpPr>
          <p:grpSpPr>
            <a:xfrm>
              <a:off x="6191625" y="1599725"/>
              <a:ext cx="173767" cy="157112"/>
              <a:chOff x="6191625" y="1599725"/>
              <a:chExt cx="173767" cy="157112"/>
            </a:xfrm>
            <a:noFill/>
          </p:grpSpPr>
          <p:sp>
            <p:nvSpPr>
              <p:cNvPr id="29" name="Forma livre: Forma 28">
                <a:extLst>
                  <a:ext uri="{FF2B5EF4-FFF2-40B4-BE49-F238E27FC236}">
                    <a16:creationId xmlns:a16="http://schemas.microsoft.com/office/drawing/2014/main" id="{8002505E-2533-3AD4-6570-9ACFD3F5F9AA}"/>
                  </a:ext>
                </a:extLst>
              </p:cNvPr>
              <p:cNvSpPr/>
              <p:nvPr/>
            </p:nvSpPr>
            <p:spPr>
              <a:xfrm>
                <a:off x="6310094" y="1621974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accent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0" name="Forma livre: Forma 29">
                <a:extLst>
                  <a:ext uri="{FF2B5EF4-FFF2-40B4-BE49-F238E27FC236}">
                    <a16:creationId xmlns:a16="http://schemas.microsoft.com/office/drawing/2014/main" id="{C3CBE110-959F-DFFF-8761-44D606E2980E}"/>
                  </a:ext>
                </a:extLst>
              </p:cNvPr>
              <p:cNvSpPr/>
              <p:nvPr/>
            </p:nvSpPr>
            <p:spPr>
              <a:xfrm>
                <a:off x="6191625" y="1599725"/>
                <a:ext cx="118078" cy="49898"/>
              </a:xfrm>
              <a:custGeom>
                <a:avLst/>
                <a:gdLst>
                  <a:gd name="connsiteX0" fmla="*/ 0 w 118078"/>
                  <a:gd name="connsiteY0" fmla="*/ 0 h 49898"/>
                  <a:gd name="connsiteX1" fmla="*/ 37343 w 118078"/>
                  <a:gd name="connsiteY1" fmla="*/ 0 h 49898"/>
                  <a:gd name="connsiteX2" fmla="*/ 87176 w 118078"/>
                  <a:gd name="connsiteY2" fmla="*/ 49899 h 49898"/>
                  <a:gd name="connsiteX3" fmla="*/ 118078 w 118078"/>
                  <a:gd name="connsiteY3" fmla="*/ 49899 h 49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8078" h="49898">
                    <a:moveTo>
                      <a:pt x="0" y="0"/>
                    </a:moveTo>
                    <a:lnTo>
                      <a:pt x="37343" y="0"/>
                    </a:lnTo>
                    <a:lnTo>
                      <a:pt x="87176" y="49899"/>
                    </a:lnTo>
                    <a:lnTo>
                      <a:pt x="118078" y="49899"/>
                    </a:lnTo>
                  </a:path>
                </a:pathLst>
              </a:custGeom>
              <a:noFill/>
              <a:ln w="19050" cap="sq">
                <a:solidFill>
                  <a:schemeClr val="accent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1" name="Forma livre: Forma 30">
                <a:extLst>
                  <a:ext uri="{FF2B5EF4-FFF2-40B4-BE49-F238E27FC236}">
                    <a16:creationId xmlns:a16="http://schemas.microsoft.com/office/drawing/2014/main" id="{2279F74F-B34D-A2A5-CA17-859767A2230A}"/>
                  </a:ext>
                </a:extLst>
              </p:cNvPr>
              <p:cNvSpPr/>
              <p:nvPr/>
            </p:nvSpPr>
            <p:spPr>
              <a:xfrm>
                <a:off x="6191625" y="1665367"/>
                <a:ext cx="81906" cy="44108"/>
              </a:xfrm>
              <a:custGeom>
                <a:avLst/>
                <a:gdLst>
                  <a:gd name="connsiteX0" fmla="*/ 0 w 81906"/>
                  <a:gd name="connsiteY0" fmla="*/ 0 h 44108"/>
                  <a:gd name="connsiteX1" fmla="*/ 37343 w 81906"/>
                  <a:gd name="connsiteY1" fmla="*/ 0 h 44108"/>
                  <a:gd name="connsiteX2" fmla="*/ 81907 w 81906"/>
                  <a:gd name="connsiteY2" fmla="*/ 44109 h 441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1906" h="44108">
                    <a:moveTo>
                      <a:pt x="0" y="0"/>
                    </a:moveTo>
                    <a:lnTo>
                      <a:pt x="37343" y="0"/>
                    </a:lnTo>
                    <a:lnTo>
                      <a:pt x="81907" y="44109"/>
                    </a:lnTo>
                  </a:path>
                </a:pathLst>
              </a:custGeom>
              <a:noFill/>
              <a:ln w="19050" cap="sq">
                <a:solidFill>
                  <a:schemeClr val="accent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2" name="Forma livre: Forma 31">
                <a:extLst>
                  <a:ext uri="{FF2B5EF4-FFF2-40B4-BE49-F238E27FC236}">
                    <a16:creationId xmlns:a16="http://schemas.microsoft.com/office/drawing/2014/main" id="{00B44C20-EA6D-27FB-9495-DD59E9AAE587}"/>
                  </a:ext>
                </a:extLst>
              </p:cNvPr>
              <p:cNvSpPr/>
              <p:nvPr/>
            </p:nvSpPr>
            <p:spPr>
              <a:xfrm>
                <a:off x="6265075" y="1701539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accent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20" name="Gráfico 32">
              <a:extLst>
                <a:ext uri="{FF2B5EF4-FFF2-40B4-BE49-F238E27FC236}">
                  <a16:creationId xmlns:a16="http://schemas.microsoft.com/office/drawing/2014/main" id="{055244EB-0381-8A62-CAB0-C7B272A66EA3}"/>
                </a:ext>
              </a:extLst>
            </p:cNvPr>
            <p:cNvGrpSpPr/>
            <p:nvPr/>
          </p:nvGrpSpPr>
          <p:grpSpPr>
            <a:xfrm>
              <a:off x="6191625" y="1357908"/>
              <a:ext cx="173767" cy="157112"/>
              <a:chOff x="6191625" y="1357908"/>
              <a:chExt cx="173767" cy="157112"/>
            </a:xfrm>
            <a:noFill/>
          </p:grpSpPr>
          <p:sp>
            <p:nvSpPr>
              <p:cNvPr id="25" name="Forma livre: Forma 24">
                <a:extLst>
                  <a:ext uri="{FF2B5EF4-FFF2-40B4-BE49-F238E27FC236}">
                    <a16:creationId xmlns:a16="http://schemas.microsoft.com/office/drawing/2014/main" id="{0918C4A3-65E6-A166-A469-99346F5D3A59}"/>
                  </a:ext>
                </a:extLst>
              </p:cNvPr>
              <p:cNvSpPr/>
              <p:nvPr/>
            </p:nvSpPr>
            <p:spPr>
              <a:xfrm>
                <a:off x="6310094" y="1437472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0 h 55298"/>
                  <a:gd name="connsiteX2" fmla="*/ 0 w 55298"/>
                  <a:gd name="connsiteY2" fmla="*/ 27649 h 55298"/>
                  <a:gd name="connsiteX3" fmla="*/ 27649 w 55298"/>
                  <a:gd name="connsiteY3" fmla="*/ 55298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12361"/>
                      <a:pt x="42938" y="0"/>
                      <a:pt x="27649" y="0"/>
                    </a:cubicBezTo>
                    <a:cubicBezTo>
                      <a:pt x="12361" y="0"/>
                      <a:pt x="0" y="12361"/>
                      <a:pt x="0" y="27649"/>
                    </a:cubicBezTo>
                    <a:cubicBezTo>
                      <a:pt x="0" y="42938"/>
                      <a:pt x="12361" y="55298"/>
                      <a:pt x="27649" y="55298"/>
                    </a:cubicBezTo>
                    <a:cubicBezTo>
                      <a:pt x="42938" y="55298"/>
                      <a:pt x="55298" y="42938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accent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6" name="Forma livre: Forma 25">
                <a:extLst>
                  <a:ext uri="{FF2B5EF4-FFF2-40B4-BE49-F238E27FC236}">
                    <a16:creationId xmlns:a16="http://schemas.microsoft.com/office/drawing/2014/main" id="{C59C1DE5-E0F1-5D83-B869-A87BA0191644}"/>
                  </a:ext>
                </a:extLst>
              </p:cNvPr>
              <p:cNvSpPr/>
              <p:nvPr/>
            </p:nvSpPr>
            <p:spPr>
              <a:xfrm>
                <a:off x="6191625" y="1465122"/>
                <a:ext cx="118468" cy="49898"/>
              </a:xfrm>
              <a:custGeom>
                <a:avLst/>
                <a:gdLst>
                  <a:gd name="connsiteX0" fmla="*/ 0 w 118468"/>
                  <a:gd name="connsiteY0" fmla="*/ 49899 h 49898"/>
                  <a:gd name="connsiteX1" fmla="*/ 37343 w 118468"/>
                  <a:gd name="connsiteY1" fmla="*/ 49899 h 49898"/>
                  <a:gd name="connsiteX2" fmla="*/ 87176 w 118468"/>
                  <a:gd name="connsiteY2" fmla="*/ 0 h 49898"/>
                  <a:gd name="connsiteX3" fmla="*/ 118469 w 118468"/>
                  <a:gd name="connsiteY3" fmla="*/ 0 h 49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8468" h="49898">
                    <a:moveTo>
                      <a:pt x="0" y="49899"/>
                    </a:moveTo>
                    <a:lnTo>
                      <a:pt x="37343" y="49899"/>
                    </a:lnTo>
                    <a:lnTo>
                      <a:pt x="87176" y="0"/>
                    </a:lnTo>
                    <a:lnTo>
                      <a:pt x="118469" y="0"/>
                    </a:lnTo>
                  </a:path>
                </a:pathLst>
              </a:custGeom>
              <a:noFill/>
              <a:ln w="19050" cap="sq">
                <a:solidFill>
                  <a:schemeClr val="accent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7" name="Forma livre: Forma 26">
                <a:extLst>
                  <a:ext uri="{FF2B5EF4-FFF2-40B4-BE49-F238E27FC236}">
                    <a16:creationId xmlns:a16="http://schemas.microsoft.com/office/drawing/2014/main" id="{36496713-BE83-2AC1-292A-8C859A1FF89E}"/>
                  </a:ext>
                </a:extLst>
              </p:cNvPr>
              <p:cNvSpPr/>
              <p:nvPr/>
            </p:nvSpPr>
            <p:spPr>
              <a:xfrm>
                <a:off x="6191625" y="1405269"/>
                <a:ext cx="81451" cy="44043"/>
              </a:xfrm>
              <a:custGeom>
                <a:avLst/>
                <a:gdLst>
                  <a:gd name="connsiteX0" fmla="*/ 0 w 81451"/>
                  <a:gd name="connsiteY0" fmla="*/ 44044 h 44043"/>
                  <a:gd name="connsiteX1" fmla="*/ 37343 w 81451"/>
                  <a:gd name="connsiteY1" fmla="*/ 44044 h 44043"/>
                  <a:gd name="connsiteX2" fmla="*/ 81451 w 81451"/>
                  <a:gd name="connsiteY2" fmla="*/ 0 h 440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1451" h="44043">
                    <a:moveTo>
                      <a:pt x="0" y="44044"/>
                    </a:moveTo>
                    <a:lnTo>
                      <a:pt x="37343" y="44044"/>
                    </a:lnTo>
                    <a:lnTo>
                      <a:pt x="81451" y="0"/>
                    </a:lnTo>
                  </a:path>
                </a:pathLst>
              </a:custGeom>
              <a:noFill/>
              <a:ln w="19050" cap="sq">
                <a:solidFill>
                  <a:schemeClr val="accent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8" name="Forma livre: Forma 27">
                <a:extLst>
                  <a:ext uri="{FF2B5EF4-FFF2-40B4-BE49-F238E27FC236}">
                    <a16:creationId xmlns:a16="http://schemas.microsoft.com/office/drawing/2014/main" id="{F36CA982-19DF-9B97-C8DD-7DC703313B22}"/>
                  </a:ext>
                </a:extLst>
              </p:cNvPr>
              <p:cNvSpPr/>
              <p:nvPr/>
            </p:nvSpPr>
            <p:spPr>
              <a:xfrm>
                <a:off x="6265075" y="1357908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0 h 55298"/>
                  <a:gd name="connsiteX2" fmla="*/ 0 w 55298"/>
                  <a:gd name="connsiteY2" fmla="*/ 27649 h 55298"/>
                  <a:gd name="connsiteX3" fmla="*/ 27649 w 55298"/>
                  <a:gd name="connsiteY3" fmla="*/ 55298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12361"/>
                      <a:pt x="42938" y="0"/>
                      <a:pt x="27649" y="0"/>
                    </a:cubicBezTo>
                    <a:cubicBezTo>
                      <a:pt x="12361" y="0"/>
                      <a:pt x="0" y="12361"/>
                      <a:pt x="0" y="27649"/>
                    </a:cubicBezTo>
                    <a:cubicBezTo>
                      <a:pt x="0" y="42938"/>
                      <a:pt x="12361" y="55298"/>
                      <a:pt x="27649" y="55298"/>
                    </a:cubicBezTo>
                    <a:cubicBezTo>
                      <a:pt x="42938" y="55298"/>
                      <a:pt x="55298" y="42938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accent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21" name="Gráfico 32">
              <a:extLst>
                <a:ext uri="{FF2B5EF4-FFF2-40B4-BE49-F238E27FC236}">
                  <a16:creationId xmlns:a16="http://schemas.microsoft.com/office/drawing/2014/main" id="{05EFB112-692A-59A2-9D32-5547AEE686BF}"/>
                </a:ext>
              </a:extLst>
            </p:cNvPr>
            <p:cNvGrpSpPr/>
            <p:nvPr/>
          </p:nvGrpSpPr>
          <p:grpSpPr>
            <a:xfrm>
              <a:off x="6190910" y="1529723"/>
              <a:ext cx="123673" cy="55298"/>
              <a:chOff x="6190910" y="1529723"/>
              <a:chExt cx="123673" cy="55298"/>
            </a:xfrm>
            <a:noFill/>
          </p:grpSpPr>
          <p:sp>
            <p:nvSpPr>
              <p:cNvPr id="23" name="Forma livre: Forma 22">
                <a:extLst>
                  <a:ext uri="{FF2B5EF4-FFF2-40B4-BE49-F238E27FC236}">
                    <a16:creationId xmlns:a16="http://schemas.microsoft.com/office/drawing/2014/main" id="{A07E3C4E-0F67-0208-736F-AA18F34736B5}"/>
                  </a:ext>
                </a:extLst>
              </p:cNvPr>
              <p:cNvSpPr/>
              <p:nvPr/>
            </p:nvSpPr>
            <p:spPr>
              <a:xfrm>
                <a:off x="6190910" y="1557372"/>
                <a:ext cx="68765" cy="6505"/>
              </a:xfrm>
              <a:custGeom>
                <a:avLst/>
                <a:gdLst>
                  <a:gd name="connsiteX0" fmla="*/ 0 w 68765"/>
                  <a:gd name="connsiteY0" fmla="*/ 0 h 6505"/>
                  <a:gd name="connsiteX1" fmla="*/ 68765 w 68765"/>
                  <a:gd name="connsiteY1" fmla="*/ 0 h 65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8765" h="6505">
                    <a:moveTo>
                      <a:pt x="0" y="0"/>
                    </a:moveTo>
                    <a:lnTo>
                      <a:pt x="68765" y="0"/>
                    </a:lnTo>
                  </a:path>
                </a:pathLst>
              </a:custGeom>
              <a:ln w="19050" cap="sq">
                <a:solidFill>
                  <a:schemeClr val="accent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4" name="Forma livre: Forma 23">
                <a:extLst>
                  <a:ext uri="{FF2B5EF4-FFF2-40B4-BE49-F238E27FC236}">
                    <a16:creationId xmlns:a16="http://schemas.microsoft.com/office/drawing/2014/main" id="{0876EA39-D5E3-A9C6-C0F0-AC7E3918D5A2}"/>
                  </a:ext>
                </a:extLst>
              </p:cNvPr>
              <p:cNvSpPr/>
              <p:nvPr/>
            </p:nvSpPr>
            <p:spPr>
              <a:xfrm>
                <a:off x="6259285" y="1529723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accent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22" name="Forma livre: Forma 21">
              <a:extLst>
                <a:ext uri="{FF2B5EF4-FFF2-40B4-BE49-F238E27FC236}">
                  <a16:creationId xmlns:a16="http://schemas.microsoft.com/office/drawing/2014/main" id="{D2724253-E991-0BB9-5391-FFFA346D6E49}"/>
                </a:ext>
              </a:extLst>
            </p:cNvPr>
            <p:cNvSpPr/>
            <p:nvPr/>
          </p:nvSpPr>
          <p:spPr>
            <a:xfrm>
              <a:off x="6152201" y="1686285"/>
              <a:ext cx="37362" cy="20848"/>
            </a:xfrm>
            <a:custGeom>
              <a:avLst/>
              <a:gdLst>
                <a:gd name="connsiteX0" fmla="*/ 0 w 37362"/>
                <a:gd name="connsiteY0" fmla="*/ 10505 h 20848"/>
                <a:gd name="connsiteX1" fmla="*/ 27064 w 37362"/>
                <a:gd name="connsiteY1" fmla="*/ 2373 h 20848"/>
                <a:gd name="connsiteX2" fmla="*/ 37343 w 37362"/>
                <a:gd name="connsiteY2" fmla="*/ 20849 h 20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7362" h="20848">
                  <a:moveTo>
                    <a:pt x="0" y="10505"/>
                  </a:moveTo>
                  <a:cubicBezTo>
                    <a:pt x="5205" y="811"/>
                    <a:pt x="17435" y="-2832"/>
                    <a:pt x="27064" y="2373"/>
                  </a:cubicBezTo>
                  <a:cubicBezTo>
                    <a:pt x="34025" y="6081"/>
                    <a:pt x="37668" y="13432"/>
                    <a:pt x="37343" y="20849"/>
                  </a:cubicBezTo>
                </a:path>
              </a:pathLst>
            </a:custGeom>
            <a:noFill/>
            <a:ln w="19050" cap="sq">
              <a:solidFill>
                <a:schemeClr val="accent1"/>
              </a:solidFill>
              <a:prstDash val="solid"/>
              <a:miter lim="800000"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39" name="Agrupar 38">
            <a:extLst>
              <a:ext uri="{FF2B5EF4-FFF2-40B4-BE49-F238E27FC236}">
                <a16:creationId xmlns:a16="http://schemas.microsoft.com/office/drawing/2014/main" id="{FBA57D91-1737-72BD-12A3-2188A1C68625}"/>
              </a:ext>
            </a:extLst>
          </p:cNvPr>
          <p:cNvGrpSpPr/>
          <p:nvPr/>
        </p:nvGrpSpPr>
        <p:grpSpPr>
          <a:xfrm>
            <a:off x="1926490" y="3593244"/>
            <a:ext cx="481138" cy="525430"/>
            <a:chOff x="6000092" y="1357908"/>
            <a:chExt cx="365300" cy="398929"/>
          </a:xfrm>
        </p:grpSpPr>
        <p:sp>
          <p:nvSpPr>
            <p:cNvPr id="40" name="Forma livre: Forma 39">
              <a:extLst>
                <a:ext uri="{FF2B5EF4-FFF2-40B4-BE49-F238E27FC236}">
                  <a16:creationId xmlns:a16="http://schemas.microsoft.com/office/drawing/2014/main" id="{D30FDADB-8876-6FC5-477D-6191F9ED2BEB}"/>
                </a:ext>
              </a:extLst>
            </p:cNvPr>
            <p:cNvSpPr/>
            <p:nvPr/>
          </p:nvSpPr>
          <p:spPr>
            <a:xfrm>
              <a:off x="6000092" y="1418606"/>
              <a:ext cx="84058" cy="286120"/>
            </a:xfrm>
            <a:custGeom>
              <a:avLst/>
              <a:gdLst>
                <a:gd name="connsiteX0" fmla="*/ 51595 w 84058"/>
                <a:gd name="connsiteY0" fmla="*/ 0 h 286120"/>
                <a:gd name="connsiteX1" fmla="*/ 35266 w 84058"/>
                <a:gd name="connsiteY1" fmla="*/ 61674 h 286120"/>
                <a:gd name="connsiteX2" fmla="*/ 28760 w 84058"/>
                <a:gd name="connsiteY2" fmla="*/ 193415 h 286120"/>
                <a:gd name="connsiteX3" fmla="*/ 84059 w 84058"/>
                <a:gd name="connsiteY3" fmla="*/ 286121 h 2861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4058" h="286120">
                  <a:moveTo>
                    <a:pt x="51595" y="0"/>
                  </a:moveTo>
                  <a:cubicBezTo>
                    <a:pt x="37868" y="7872"/>
                    <a:pt x="26028" y="24852"/>
                    <a:pt x="35266" y="61674"/>
                  </a:cubicBezTo>
                  <a:cubicBezTo>
                    <a:pt x="35266" y="61674"/>
                    <a:pt x="-39549" y="126731"/>
                    <a:pt x="28760" y="193415"/>
                  </a:cubicBezTo>
                  <a:cubicBezTo>
                    <a:pt x="28760" y="193415"/>
                    <a:pt x="9243" y="281242"/>
                    <a:pt x="84059" y="286121"/>
                  </a:cubicBezTo>
                </a:path>
              </a:pathLst>
            </a:custGeom>
            <a:noFill/>
            <a:ln w="19050" cap="sq">
              <a:solidFill>
                <a:schemeClr val="accent1"/>
              </a:solidFill>
              <a:prstDash val="solid"/>
              <a:miter lim="800000"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41" name="Gráfico 32">
              <a:extLst>
                <a:ext uri="{FF2B5EF4-FFF2-40B4-BE49-F238E27FC236}">
                  <a16:creationId xmlns:a16="http://schemas.microsoft.com/office/drawing/2014/main" id="{C7CC766B-96E5-230B-F16C-C1BF29A4483B}"/>
                </a:ext>
              </a:extLst>
            </p:cNvPr>
            <p:cNvGrpSpPr/>
            <p:nvPr/>
          </p:nvGrpSpPr>
          <p:grpSpPr>
            <a:xfrm>
              <a:off x="6061121" y="1359924"/>
              <a:ext cx="128487" cy="396366"/>
              <a:chOff x="6061121" y="1359924"/>
              <a:chExt cx="128487" cy="396366"/>
            </a:xfrm>
            <a:noFill/>
          </p:grpSpPr>
          <p:sp>
            <p:nvSpPr>
              <p:cNvPr id="56" name="Forma livre: Forma 55">
                <a:extLst>
                  <a:ext uri="{FF2B5EF4-FFF2-40B4-BE49-F238E27FC236}">
                    <a16:creationId xmlns:a16="http://schemas.microsoft.com/office/drawing/2014/main" id="{CC57F381-0D66-905E-6965-FF015A7A3CD2}"/>
                  </a:ext>
                </a:extLst>
              </p:cNvPr>
              <p:cNvSpPr/>
              <p:nvPr/>
            </p:nvSpPr>
            <p:spPr>
              <a:xfrm>
                <a:off x="6083891" y="1359924"/>
                <a:ext cx="105717" cy="396366"/>
              </a:xfrm>
              <a:custGeom>
                <a:avLst/>
                <a:gdLst>
                  <a:gd name="connsiteX0" fmla="*/ 52891 w 105717"/>
                  <a:gd name="connsiteY0" fmla="*/ 105718 h 396366"/>
                  <a:gd name="connsiteX1" fmla="*/ 0 w 105717"/>
                  <a:gd name="connsiteY1" fmla="*/ 52891 h 396366"/>
                  <a:gd name="connsiteX2" fmla="*/ 52891 w 105717"/>
                  <a:gd name="connsiteY2" fmla="*/ 0 h 396366"/>
                  <a:gd name="connsiteX3" fmla="*/ 105718 w 105717"/>
                  <a:gd name="connsiteY3" fmla="*/ 52826 h 396366"/>
                  <a:gd name="connsiteX4" fmla="*/ 105718 w 105717"/>
                  <a:gd name="connsiteY4" fmla="*/ 346884 h 396366"/>
                  <a:gd name="connsiteX5" fmla="*/ 80606 w 105717"/>
                  <a:gd name="connsiteY5" fmla="*/ 388911 h 396366"/>
                  <a:gd name="connsiteX6" fmla="*/ 9238 w 105717"/>
                  <a:gd name="connsiteY6" fmla="*/ 371150 h 396366"/>
                  <a:gd name="connsiteX7" fmla="*/ 15484 w 105717"/>
                  <a:gd name="connsiteY7" fmla="*/ 309216 h 396366"/>
                  <a:gd name="connsiteX8" fmla="*/ 45019 w 105717"/>
                  <a:gd name="connsiteY8" fmla="*/ 277078 h 3963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05717" h="396366">
                    <a:moveTo>
                      <a:pt x="52891" y="105718"/>
                    </a:moveTo>
                    <a:cubicBezTo>
                      <a:pt x="23681" y="105718"/>
                      <a:pt x="0" y="82037"/>
                      <a:pt x="0" y="52891"/>
                    </a:cubicBezTo>
                    <a:cubicBezTo>
                      <a:pt x="0" y="23746"/>
                      <a:pt x="23681" y="0"/>
                      <a:pt x="52891" y="0"/>
                    </a:cubicBezTo>
                    <a:cubicBezTo>
                      <a:pt x="82102" y="0"/>
                      <a:pt x="105718" y="23681"/>
                      <a:pt x="105718" y="52826"/>
                    </a:cubicBezTo>
                    <a:lnTo>
                      <a:pt x="105718" y="346884"/>
                    </a:lnTo>
                    <a:cubicBezTo>
                      <a:pt x="105718" y="364580"/>
                      <a:pt x="96414" y="379413"/>
                      <a:pt x="80606" y="388911"/>
                    </a:cubicBezTo>
                    <a:cubicBezTo>
                      <a:pt x="55949" y="403744"/>
                      <a:pt x="24006" y="395742"/>
                      <a:pt x="9238" y="371150"/>
                    </a:cubicBezTo>
                    <a:cubicBezTo>
                      <a:pt x="-2928" y="350918"/>
                      <a:pt x="260" y="325741"/>
                      <a:pt x="15484" y="309216"/>
                    </a:cubicBezTo>
                    <a:lnTo>
                      <a:pt x="45019" y="277078"/>
                    </a:lnTo>
                  </a:path>
                </a:pathLst>
              </a:custGeom>
              <a:noFill/>
              <a:ln w="19050" cap="sq">
                <a:solidFill>
                  <a:schemeClr val="accent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7" name="Forma livre: Forma 56">
                <a:extLst>
                  <a:ext uri="{FF2B5EF4-FFF2-40B4-BE49-F238E27FC236}">
                    <a16:creationId xmlns:a16="http://schemas.microsoft.com/office/drawing/2014/main" id="{C1C1B73C-79FB-D617-3B01-2502C4181744}"/>
                  </a:ext>
                </a:extLst>
              </p:cNvPr>
              <p:cNvSpPr/>
              <p:nvPr/>
            </p:nvSpPr>
            <p:spPr>
              <a:xfrm>
                <a:off x="6144784" y="1383865"/>
                <a:ext cx="41563" cy="38963"/>
              </a:xfrm>
              <a:custGeom>
                <a:avLst/>
                <a:gdLst>
                  <a:gd name="connsiteX0" fmla="*/ 36172 w 41563"/>
                  <a:gd name="connsiteY0" fmla="*/ 0 h 38963"/>
                  <a:gd name="connsiteX1" fmla="*/ 39425 w 41563"/>
                  <a:gd name="connsiteY1" fmla="*/ 24266 h 38963"/>
                  <a:gd name="connsiteX2" fmla="*/ 36432 w 41563"/>
                  <a:gd name="connsiteY2" fmla="*/ 29080 h 38963"/>
                  <a:gd name="connsiteX3" fmla="*/ 0 w 41563"/>
                  <a:gd name="connsiteY3" fmla="*/ 33439 h 389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563" h="38963">
                    <a:moveTo>
                      <a:pt x="36172" y="0"/>
                    </a:moveTo>
                    <a:cubicBezTo>
                      <a:pt x="41571" y="7547"/>
                      <a:pt x="43393" y="16004"/>
                      <a:pt x="39425" y="24266"/>
                    </a:cubicBezTo>
                    <a:cubicBezTo>
                      <a:pt x="38644" y="25893"/>
                      <a:pt x="37603" y="27519"/>
                      <a:pt x="36432" y="29080"/>
                    </a:cubicBezTo>
                    <a:cubicBezTo>
                      <a:pt x="27584" y="40270"/>
                      <a:pt x="11190" y="42287"/>
                      <a:pt x="0" y="33439"/>
                    </a:cubicBezTo>
                  </a:path>
                </a:pathLst>
              </a:custGeom>
              <a:noFill/>
              <a:ln w="19050" cap="sq">
                <a:solidFill>
                  <a:schemeClr val="accent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8" name="Forma livre: Forma 57">
                <a:extLst>
                  <a:ext uri="{FF2B5EF4-FFF2-40B4-BE49-F238E27FC236}">
                    <a16:creationId xmlns:a16="http://schemas.microsoft.com/office/drawing/2014/main" id="{2F9EFCA8-44EF-C870-E8CD-E93DAAC61642}"/>
                  </a:ext>
                </a:extLst>
              </p:cNvPr>
              <p:cNvSpPr/>
              <p:nvPr/>
            </p:nvSpPr>
            <p:spPr>
              <a:xfrm>
                <a:off x="6081487" y="1460806"/>
                <a:ext cx="34217" cy="54474"/>
              </a:xfrm>
              <a:custGeom>
                <a:avLst/>
                <a:gdLst>
                  <a:gd name="connsiteX0" fmla="*/ 21076 w 34217"/>
                  <a:gd name="connsiteY0" fmla="*/ 54475 h 54474"/>
                  <a:gd name="connsiteX1" fmla="*/ 778 w 34217"/>
                  <a:gd name="connsiteY1" fmla="*/ 21035 h 54474"/>
                  <a:gd name="connsiteX2" fmla="*/ 34217 w 34217"/>
                  <a:gd name="connsiteY2" fmla="*/ 803 h 544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4217" h="54474">
                    <a:moveTo>
                      <a:pt x="21076" y="54475"/>
                    </a:moveTo>
                    <a:cubicBezTo>
                      <a:pt x="6308" y="50832"/>
                      <a:pt x="-2800" y="35803"/>
                      <a:pt x="778" y="21035"/>
                    </a:cubicBezTo>
                    <a:cubicBezTo>
                      <a:pt x="4421" y="6267"/>
                      <a:pt x="19449" y="-2841"/>
                      <a:pt x="34217" y="803"/>
                    </a:cubicBezTo>
                  </a:path>
                </a:pathLst>
              </a:custGeom>
              <a:noFill/>
              <a:ln w="19050" cap="sq">
                <a:solidFill>
                  <a:schemeClr val="accent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9" name="Forma livre: Forma 58">
                <a:extLst>
                  <a:ext uri="{FF2B5EF4-FFF2-40B4-BE49-F238E27FC236}">
                    <a16:creationId xmlns:a16="http://schemas.microsoft.com/office/drawing/2014/main" id="{86A4AE84-6105-F492-E3ED-9B881892A5CE}"/>
                  </a:ext>
                </a:extLst>
              </p:cNvPr>
              <p:cNvSpPr/>
              <p:nvPr/>
            </p:nvSpPr>
            <p:spPr>
              <a:xfrm>
                <a:off x="6073547" y="1527543"/>
                <a:ext cx="114760" cy="72506"/>
              </a:xfrm>
              <a:custGeom>
                <a:avLst/>
                <a:gdLst>
                  <a:gd name="connsiteX0" fmla="*/ 114760 w 114760"/>
                  <a:gd name="connsiteY0" fmla="*/ 7254 h 72506"/>
                  <a:gd name="connsiteX1" fmla="*/ 73905 w 114760"/>
                  <a:gd name="connsiteY1" fmla="*/ 8881 h 72506"/>
                  <a:gd name="connsiteX2" fmla="*/ 0 w 114760"/>
                  <a:gd name="connsiteY2" fmla="*/ 72506 h 725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14760" h="72506">
                    <a:moveTo>
                      <a:pt x="114760" y="7254"/>
                    </a:moveTo>
                    <a:cubicBezTo>
                      <a:pt x="103375" y="-2830"/>
                      <a:pt x="83989" y="-2504"/>
                      <a:pt x="73905" y="8881"/>
                    </a:cubicBezTo>
                    <a:cubicBezTo>
                      <a:pt x="73905" y="8881"/>
                      <a:pt x="31488" y="72506"/>
                      <a:pt x="0" y="72506"/>
                    </a:cubicBezTo>
                  </a:path>
                </a:pathLst>
              </a:custGeom>
              <a:noFill/>
              <a:ln w="19050" cap="sq">
                <a:solidFill>
                  <a:schemeClr val="accent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60" name="Forma livre: Forma 59">
                <a:extLst>
                  <a:ext uri="{FF2B5EF4-FFF2-40B4-BE49-F238E27FC236}">
                    <a16:creationId xmlns:a16="http://schemas.microsoft.com/office/drawing/2014/main" id="{2249AEF0-7255-C30A-02C1-37AA79025BEF}"/>
                  </a:ext>
                </a:extLst>
              </p:cNvPr>
              <p:cNvSpPr/>
              <p:nvPr/>
            </p:nvSpPr>
            <p:spPr>
              <a:xfrm>
                <a:off x="6079857" y="1646956"/>
                <a:ext cx="29405" cy="9823"/>
              </a:xfrm>
              <a:custGeom>
                <a:avLst/>
                <a:gdLst>
                  <a:gd name="connsiteX0" fmla="*/ 0 w 29405"/>
                  <a:gd name="connsiteY0" fmla="*/ 0 h 9823"/>
                  <a:gd name="connsiteX1" fmla="*/ 29406 w 29405"/>
                  <a:gd name="connsiteY1" fmla="*/ 9824 h 98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9405" h="9823">
                    <a:moveTo>
                      <a:pt x="0" y="0"/>
                    </a:moveTo>
                    <a:lnTo>
                      <a:pt x="29406" y="9824"/>
                    </a:lnTo>
                  </a:path>
                </a:pathLst>
              </a:custGeom>
              <a:ln w="19050" cap="sq">
                <a:solidFill>
                  <a:schemeClr val="accent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61" name="Forma livre: Forma 60">
                <a:extLst>
                  <a:ext uri="{FF2B5EF4-FFF2-40B4-BE49-F238E27FC236}">
                    <a16:creationId xmlns:a16="http://schemas.microsoft.com/office/drawing/2014/main" id="{F881AB6F-1F63-F556-669E-37B772B439B3}"/>
                  </a:ext>
                </a:extLst>
              </p:cNvPr>
              <p:cNvSpPr/>
              <p:nvPr/>
            </p:nvSpPr>
            <p:spPr>
              <a:xfrm>
                <a:off x="6061121" y="1545272"/>
                <a:ext cx="47166" cy="34154"/>
              </a:xfrm>
              <a:custGeom>
                <a:avLst/>
                <a:gdLst>
                  <a:gd name="connsiteX0" fmla="*/ 0 w 47166"/>
                  <a:gd name="connsiteY0" fmla="*/ 0 h 34154"/>
                  <a:gd name="connsiteX1" fmla="*/ 47166 w 47166"/>
                  <a:gd name="connsiteY1" fmla="*/ 34155 h 341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166" h="34154">
                    <a:moveTo>
                      <a:pt x="0" y="0"/>
                    </a:moveTo>
                    <a:cubicBezTo>
                      <a:pt x="0" y="0"/>
                      <a:pt x="27649" y="13011"/>
                      <a:pt x="47166" y="34155"/>
                    </a:cubicBezTo>
                  </a:path>
                </a:pathLst>
              </a:custGeom>
              <a:noFill/>
              <a:ln w="19050" cap="sq">
                <a:solidFill>
                  <a:schemeClr val="accent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42" name="Gráfico 32">
              <a:extLst>
                <a:ext uri="{FF2B5EF4-FFF2-40B4-BE49-F238E27FC236}">
                  <a16:creationId xmlns:a16="http://schemas.microsoft.com/office/drawing/2014/main" id="{4E2D7F39-F054-86FC-3DE6-5086ED814B3E}"/>
                </a:ext>
              </a:extLst>
            </p:cNvPr>
            <p:cNvGrpSpPr/>
            <p:nvPr/>
          </p:nvGrpSpPr>
          <p:grpSpPr>
            <a:xfrm>
              <a:off x="6191625" y="1599725"/>
              <a:ext cx="173767" cy="157112"/>
              <a:chOff x="6191625" y="1599725"/>
              <a:chExt cx="173767" cy="157112"/>
            </a:xfrm>
            <a:noFill/>
          </p:grpSpPr>
          <p:sp>
            <p:nvSpPr>
              <p:cNvPr id="52" name="Forma livre: Forma 51">
                <a:extLst>
                  <a:ext uri="{FF2B5EF4-FFF2-40B4-BE49-F238E27FC236}">
                    <a16:creationId xmlns:a16="http://schemas.microsoft.com/office/drawing/2014/main" id="{EF446370-8A9E-78EE-C9A4-9B87C08548AA}"/>
                  </a:ext>
                </a:extLst>
              </p:cNvPr>
              <p:cNvSpPr/>
              <p:nvPr/>
            </p:nvSpPr>
            <p:spPr>
              <a:xfrm>
                <a:off x="6310094" y="1621974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accent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3" name="Forma livre: Forma 52">
                <a:extLst>
                  <a:ext uri="{FF2B5EF4-FFF2-40B4-BE49-F238E27FC236}">
                    <a16:creationId xmlns:a16="http://schemas.microsoft.com/office/drawing/2014/main" id="{49C9E23B-D425-4C38-371B-1B239014C77E}"/>
                  </a:ext>
                </a:extLst>
              </p:cNvPr>
              <p:cNvSpPr/>
              <p:nvPr/>
            </p:nvSpPr>
            <p:spPr>
              <a:xfrm>
                <a:off x="6191625" y="1599725"/>
                <a:ext cx="118078" cy="49898"/>
              </a:xfrm>
              <a:custGeom>
                <a:avLst/>
                <a:gdLst>
                  <a:gd name="connsiteX0" fmla="*/ 0 w 118078"/>
                  <a:gd name="connsiteY0" fmla="*/ 0 h 49898"/>
                  <a:gd name="connsiteX1" fmla="*/ 37343 w 118078"/>
                  <a:gd name="connsiteY1" fmla="*/ 0 h 49898"/>
                  <a:gd name="connsiteX2" fmla="*/ 87176 w 118078"/>
                  <a:gd name="connsiteY2" fmla="*/ 49899 h 49898"/>
                  <a:gd name="connsiteX3" fmla="*/ 118078 w 118078"/>
                  <a:gd name="connsiteY3" fmla="*/ 49899 h 49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8078" h="49898">
                    <a:moveTo>
                      <a:pt x="0" y="0"/>
                    </a:moveTo>
                    <a:lnTo>
                      <a:pt x="37343" y="0"/>
                    </a:lnTo>
                    <a:lnTo>
                      <a:pt x="87176" y="49899"/>
                    </a:lnTo>
                    <a:lnTo>
                      <a:pt x="118078" y="49899"/>
                    </a:lnTo>
                  </a:path>
                </a:pathLst>
              </a:custGeom>
              <a:noFill/>
              <a:ln w="19050" cap="sq">
                <a:solidFill>
                  <a:schemeClr val="accent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4" name="Forma livre: Forma 53">
                <a:extLst>
                  <a:ext uri="{FF2B5EF4-FFF2-40B4-BE49-F238E27FC236}">
                    <a16:creationId xmlns:a16="http://schemas.microsoft.com/office/drawing/2014/main" id="{7901D3E3-A9D6-F5F8-F4DD-B17F96E0D806}"/>
                  </a:ext>
                </a:extLst>
              </p:cNvPr>
              <p:cNvSpPr/>
              <p:nvPr/>
            </p:nvSpPr>
            <p:spPr>
              <a:xfrm>
                <a:off x="6191625" y="1665367"/>
                <a:ext cx="81906" cy="44108"/>
              </a:xfrm>
              <a:custGeom>
                <a:avLst/>
                <a:gdLst>
                  <a:gd name="connsiteX0" fmla="*/ 0 w 81906"/>
                  <a:gd name="connsiteY0" fmla="*/ 0 h 44108"/>
                  <a:gd name="connsiteX1" fmla="*/ 37343 w 81906"/>
                  <a:gd name="connsiteY1" fmla="*/ 0 h 44108"/>
                  <a:gd name="connsiteX2" fmla="*/ 81907 w 81906"/>
                  <a:gd name="connsiteY2" fmla="*/ 44109 h 441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1906" h="44108">
                    <a:moveTo>
                      <a:pt x="0" y="0"/>
                    </a:moveTo>
                    <a:lnTo>
                      <a:pt x="37343" y="0"/>
                    </a:lnTo>
                    <a:lnTo>
                      <a:pt x="81907" y="44109"/>
                    </a:lnTo>
                  </a:path>
                </a:pathLst>
              </a:custGeom>
              <a:noFill/>
              <a:ln w="19050" cap="sq">
                <a:solidFill>
                  <a:schemeClr val="accent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5" name="Forma livre: Forma 54">
                <a:extLst>
                  <a:ext uri="{FF2B5EF4-FFF2-40B4-BE49-F238E27FC236}">
                    <a16:creationId xmlns:a16="http://schemas.microsoft.com/office/drawing/2014/main" id="{8D1AE316-D879-27BE-A5E7-FC17F511DD90}"/>
                  </a:ext>
                </a:extLst>
              </p:cNvPr>
              <p:cNvSpPr/>
              <p:nvPr/>
            </p:nvSpPr>
            <p:spPr>
              <a:xfrm>
                <a:off x="6265075" y="1701539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accent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43" name="Gráfico 32">
              <a:extLst>
                <a:ext uri="{FF2B5EF4-FFF2-40B4-BE49-F238E27FC236}">
                  <a16:creationId xmlns:a16="http://schemas.microsoft.com/office/drawing/2014/main" id="{CF10EE41-AC68-BB00-48A8-0DA3280CB4DF}"/>
                </a:ext>
              </a:extLst>
            </p:cNvPr>
            <p:cNvGrpSpPr/>
            <p:nvPr/>
          </p:nvGrpSpPr>
          <p:grpSpPr>
            <a:xfrm>
              <a:off x="6191625" y="1357908"/>
              <a:ext cx="173767" cy="157112"/>
              <a:chOff x="6191625" y="1357908"/>
              <a:chExt cx="173767" cy="157112"/>
            </a:xfrm>
            <a:noFill/>
          </p:grpSpPr>
          <p:sp>
            <p:nvSpPr>
              <p:cNvPr id="48" name="Forma livre: Forma 47">
                <a:extLst>
                  <a:ext uri="{FF2B5EF4-FFF2-40B4-BE49-F238E27FC236}">
                    <a16:creationId xmlns:a16="http://schemas.microsoft.com/office/drawing/2014/main" id="{7042A8B1-0441-E750-301F-A4332D50F4A0}"/>
                  </a:ext>
                </a:extLst>
              </p:cNvPr>
              <p:cNvSpPr/>
              <p:nvPr/>
            </p:nvSpPr>
            <p:spPr>
              <a:xfrm>
                <a:off x="6310094" y="1437472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0 h 55298"/>
                  <a:gd name="connsiteX2" fmla="*/ 0 w 55298"/>
                  <a:gd name="connsiteY2" fmla="*/ 27649 h 55298"/>
                  <a:gd name="connsiteX3" fmla="*/ 27649 w 55298"/>
                  <a:gd name="connsiteY3" fmla="*/ 55298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12361"/>
                      <a:pt x="42938" y="0"/>
                      <a:pt x="27649" y="0"/>
                    </a:cubicBezTo>
                    <a:cubicBezTo>
                      <a:pt x="12361" y="0"/>
                      <a:pt x="0" y="12361"/>
                      <a:pt x="0" y="27649"/>
                    </a:cubicBezTo>
                    <a:cubicBezTo>
                      <a:pt x="0" y="42938"/>
                      <a:pt x="12361" y="55298"/>
                      <a:pt x="27649" y="55298"/>
                    </a:cubicBezTo>
                    <a:cubicBezTo>
                      <a:pt x="42938" y="55298"/>
                      <a:pt x="55298" y="42938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accent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9" name="Forma livre: Forma 48">
                <a:extLst>
                  <a:ext uri="{FF2B5EF4-FFF2-40B4-BE49-F238E27FC236}">
                    <a16:creationId xmlns:a16="http://schemas.microsoft.com/office/drawing/2014/main" id="{C5C2F4F1-C2D8-4167-4D87-44764AF6075E}"/>
                  </a:ext>
                </a:extLst>
              </p:cNvPr>
              <p:cNvSpPr/>
              <p:nvPr/>
            </p:nvSpPr>
            <p:spPr>
              <a:xfrm>
                <a:off x="6191625" y="1465122"/>
                <a:ext cx="118468" cy="49898"/>
              </a:xfrm>
              <a:custGeom>
                <a:avLst/>
                <a:gdLst>
                  <a:gd name="connsiteX0" fmla="*/ 0 w 118468"/>
                  <a:gd name="connsiteY0" fmla="*/ 49899 h 49898"/>
                  <a:gd name="connsiteX1" fmla="*/ 37343 w 118468"/>
                  <a:gd name="connsiteY1" fmla="*/ 49899 h 49898"/>
                  <a:gd name="connsiteX2" fmla="*/ 87176 w 118468"/>
                  <a:gd name="connsiteY2" fmla="*/ 0 h 49898"/>
                  <a:gd name="connsiteX3" fmla="*/ 118469 w 118468"/>
                  <a:gd name="connsiteY3" fmla="*/ 0 h 49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8468" h="49898">
                    <a:moveTo>
                      <a:pt x="0" y="49899"/>
                    </a:moveTo>
                    <a:lnTo>
                      <a:pt x="37343" y="49899"/>
                    </a:lnTo>
                    <a:lnTo>
                      <a:pt x="87176" y="0"/>
                    </a:lnTo>
                    <a:lnTo>
                      <a:pt x="118469" y="0"/>
                    </a:lnTo>
                  </a:path>
                </a:pathLst>
              </a:custGeom>
              <a:noFill/>
              <a:ln w="19050" cap="sq">
                <a:solidFill>
                  <a:schemeClr val="accent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0" name="Forma livre: Forma 49">
                <a:extLst>
                  <a:ext uri="{FF2B5EF4-FFF2-40B4-BE49-F238E27FC236}">
                    <a16:creationId xmlns:a16="http://schemas.microsoft.com/office/drawing/2014/main" id="{D1A69121-2AF2-69C8-EAD7-635F8E7F27A6}"/>
                  </a:ext>
                </a:extLst>
              </p:cNvPr>
              <p:cNvSpPr/>
              <p:nvPr/>
            </p:nvSpPr>
            <p:spPr>
              <a:xfrm>
                <a:off x="6191625" y="1405269"/>
                <a:ext cx="81451" cy="44043"/>
              </a:xfrm>
              <a:custGeom>
                <a:avLst/>
                <a:gdLst>
                  <a:gd name="connsiteX0" fmla="*/ 0 w 81451"/>
                  <a:gd name="connsiteY0" fmla="*/ 44044 h 44043"/>
                  <a:gd name="connsiteX1" fmla="*/ 37343 w 81451"/>
                  <a:gd name="connsiteY1" fmla="*/ 44044 h 44043"/>
                  <a:gd name="connsiteX2" fmla="*/ 81451 w 81451"/>
                  <a:gd name="connsiteY2" fmla="*/ 0 h 440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1451" h="44043">
                    <a:moveTo>
                      <a:pt x="0" y="44044"/>
                    </a:moveTo>
                    <a:lnTo>
                      <a:pt x="37343" y="44044"/>
                    </a:lnTo>
                    <a:lnTo>
                      <a:pt x="81451" y="0"/>
                    </a:lnTo>
                  </a:path>
                </a:pathLst>
              </a:custGeom>
              <a:noFill/>
              <a:ln w="19050" cap="sq">
                <a:solidFill>
                  <a:schemeClr val="accent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1" name="Forma livre: Forma 50">
                <a:extLst>
                  <a:ext uri="{FF2B5EF4-FFF2-40B4-BE49-F238E27FC236}">
                    <a16:creationId xmlns:a16="http://schemas.microsoft.com/office/drawing/2014/main" id="{44D0C239-A06A-64D3-7ED6-273785AE3238}"/>
                  </a:ext>
                </a:extLst>
              </p:cNvPr>
              <p:cNvSpPr/>
              <p:nvPr/>
            </p:nvSpPr>
            <p:spPr>
              <a:xfrm>
                <a:off x="6265075" y="1357908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0 h 55298"/>
                  <a:gd name="connsiteX2" fmla="*/ 0 w 55298"/>
                  <a:gd name="connsiteY2" fmla="*/ 27649 h 55298"/>
                  <a:gd name="connsiteX3" fmla="*/ 27649 w 55298"/>
                  <a:gd name="connsiteY3" fmla="*/ 55298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12361"/>
                      <a:pt x="42938" y="0"/>
                      <a:pt x="27649" y="0"/>
                    </a:cubicBezTo>
                    <a:cubicBezTo>
                      <a:pt x="12361" y="0"/>
                      <a:pt x="0" y="12361"/>
                      <a:pt x="0" y="27649"/>
                    </a:cubicBezTo>
                    <a:cubicBezTo>
                      <a:pt x="0" y="42938"/>
                      <a:pt x="12361" y="55298"/>
                      <a:pt x="27649" y="55298"/>
                    </a:cubicBezTo>
                    <a:cubicBezTo>
                      <a:pt x="42938" y="55298"/>
                      <a:pt x="55298" y="42938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accent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44" name="Gráfico 32">
              <a:extLst>
                <a:ext uri="{FF2B5EF4-FFF2-40B4-BE49-F238E27FC236}">
                  <a16:creationId xmlns:a16="http://schemas.microsoft.com/office/drawing/2014/main" id="{DDB4ED1F-E106-23CE-0DD4-E029F5B3C70E}"/>
                </a:ext>
              </a:extLst>
            </p:cNvPr>
            <p:cNvGrpSpPr/>
            <p:nvPr/>
          </p:nvGrpSpPr>
          <p:grpSpPr>
            <a:xfrm>
              <a:off x="6190910" y="1529723"/>
              <a:ext cx="123673" cy="55298"/>
              <a:chOff x="6190910" y="1529723"/>
              <a:chExt cx="123673" cy="55298"/>
            </a:xfrm>
            <a:noFill/>
          </p:grpSpPr>
          <p:sp>
            <p:nvSpPr>
              <p:cNvPr id="46" name="Forma livre: Forma 45">
                <a:extLst>
                  <a:ext uri="{FF2B5EF4-FFF2-40B4-BE49-F238E27FC236}">
                    <a16:creationId xmlns:a16="http://schemas.microsoft.com/office/drawing/2014/main" id="{D3D902C1-54CF-C81A-46DD-33A5A2E47777}"/>
                  </a:ext>
                </a:extLst>
              </p:cNvPr>
              <p:cNvSpPr/>
              <p:nvPr/>
            </p:nvSpPr>
            <p:spPr>
              <a:xfrm>
                <a:off x="6190910" y="1557372"/>
                <a:ext cx="68765" cy="6505"/>
              </a:xfrm>
              <a:custGeom>
                <a:avLst/>
                <a:gdLst>
                  <a:gd name="connsiteX0" fmla="*/ 0 w 68765"/>
                  <a:gd name="connsiteY0" fmla="*/ 0 h 6505"/>
                  <a:gd name="connsiteX1" fmla="*/ 68765 w 68765"/>
                  <a:gd name="connsiteY1" fmla="*/ 0 h 65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8765" h="6505">
                    <a:moveTo>
                      <a:pt x="0" y="0"/>
                    </a:moveTo>
                    <a:lnTo>
                      <a:pt x="68765" y="0"/>
                    </a:lnTo>
                  </a:path>
                </a:pathLst>
              </a:custGeom>
              <a:ln w="19050" cap="sq">
                <a:solidFill>
                  <a:schemeClr val="accent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7" name="Forma livre: Forma 46">
                <a:extLst>
                  <a:ext uri="{FF2B5EF4-FFF2-40B4-BE49-F238E27FC236}">
                    <a16:creationId xmlns:a16="http://schemas.microsoft.com/office/drawing/2014/main" id="{DB3BF7A8-C50C-3FB8-5F96-17AF5492E553}"/>
                  </a:ext>
                </a:extLst>
              </p:cNvPr>
              <p:cNvSpPr/>
              <p:nvPr/>
            </p:nvSpPr>
            <p:spPr>
              <a:xfrm>
                <a:off x="6259285" y="1529723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accent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45" name="Forma livre: Forma 44">
              <a:extLst>
                <a:ext uri="{FF2B5EF4-FFF2-40B4-BE49-F238E27FC236}">
                  <a16:creationId xmlns:a16="http://schemas.microsoft.com/office/drawing/2014/main" id="{E1ADF33C-29BC-554A-18BF-F319F1C8A3D0}"/>
                </a:ext>
              </a:extLst>
            </p:cNvPr>
            <p:cNvSpPr/>
            <p:nvPr/>
          </p:nvSpPr>
          <p:spPr>
            <a:xfrm>
              <a:off x="6152201" y="1686285"/>
              <a:ext cx="37362" cy="20848"/>
            </a:xfrm>
            <a:custGeom>
              <a:avLst/>
              <a:gdLst>
                <a:gd name="connsiteX0" fmla="*/ 0 w 37362"/>
                <a:gd name="connsiteY0" fmla="*/ 10505 h 20848"/>
                <a:gd name="connsiteX1" fmla="*/ 27064 w 37362"/>
                <a:gd name="connsiteY1" fmla="*/ 2373 h 20848"/>
                <a:gd name="connsiteX2" fmla="*/ 37343 w 37362"/>
                <a:gd name="connsiteY2" fmla="*/ 20849 h 20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7362" h="20848">
                  <a:moveTo>
                    <a:pt x="0" y="10505"/>
                  </a:moveTo>
                  <a:cubicBezTo>
                    <a:pt x="5205" y="811"/>
                    <a:pt x="17435" y="-2832"/>
                    <a:pt x="27064" y="2373"/>
                  </a:cubicBezTo>
                  <a:cubicBezTo>
                    <a:pt x="34025" y="6081"/>
                    <a:pt x="37668" y="13432"/>
                    <a:pt x="37343" y="20849"/>
                  </a:cubicBezTo>
                </a:path>
              </a:pathLst>
            </a:custGeom>
            <a:noFill/>
            <a:ln w="19050" cap="sq">
              <a:solidFill>
                <a:schemeClr val="accent1"/>
              </a:solidFill>
              <a:prstDash val="solid"/>
              <a:miter lim="800000"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62" name="Agrupar 61">
            <a:extLst>
              <a:ext uri="{FF2B5EF4-FFF2-40B4-BE49-F238E27FC236}">
                <a16:creationId xmlns:a16="http://schemas.microsoft.com/office/drawing/2014/main" id="{E541C4CF-DF69-3D8B-FCB3-06FB5C8F3A14}"/>
              </a:ext>
            </a:extLst>
          </p:cNvPr>
          <p:cNvGrpSpPr/>
          <p:nvPr/>
        </p:nvGrpSpPr>
        <p:grpSpPr>
          <a:xfrm>
            <a:off x="1926490" y="5056386"/>
            <a:ext cx="481138" cy="525430"/>
            <a:chOff x="6000092" y="1357908"/>
            <a:chExt cx="365300" cy="398929"/>
          </a:xfrm>
        </p:grpSpPr>
        <p:sp>
          <p:nvSpPr>
            <p:cNvPr id="63" name="Forma livre: Forma 62">
              <a:extLst>
                <a:ext uri="{FF2B5EF4-FFF2-40B4-BE49-F238E27FC236}">
                  <a16:creationId xmlns:a16="http://schemas.microsoft.com/office/drawing/2014/main" id="{769759E2-0722-7E8A-4C4E-4359897E6C5A}"/>
                </a:ext>
              </a:extLst>
            </p:cNvPr>
            <p:cNvSpPr/>
            <p:nvPr/>
          </p:nvSpPr>
          <p:spPr>
            <a:xfrm>
              <a:off x="6000092" y="1418606"/>
              <a:ext cx="84058" cy="286120"/>
            </a:xfrm>
            <a:custGeom>
              <a:avLst/>
              <a:gdLst>
                <a:gd name="connsiteX0" fmla="*/ 51595 w 84058"/>
                <a:gd name="connsiteY0" fmla="*/ 0 h 286120"/>
                <a:gd name="connsiteX1" fmla="*/ 35266 w 84058"/>
                <a:gd name="connsiteY1" fmla="*/ 61674 h 286120"/>
                <a:gd name="connsiteX2" fmla="*/ 28760 w 84058"/>
                <a:gd name="connsiteY2" fmla="*/ 193415 h 286120"/>
                <a:gd name="connsiteX3" fmla="*/ 84059 w 84058"/>
                <a:gd name="connsiteY3" fmla="*/ 286121 h 2861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4058" h="286120">
                  <a:moveTo>
                    <a:pt x="51595" y="0"/>
                  </a:moveTo>
                  <a:cubicBezTo>
                    <a:pt x="37868" y="7872"/>
                    <a:pt x="26028" y="24852"/>
                    <a:pt x="35266" y="61674"/>
                  </a:cubicBezTo>
                  <a:cubicBezTo>
                    <a:pt x="35266" y="61674"/>
                    <a:pt x="-39549" y="126731"/>
                    <a:pt x="28760" y="193415"/>
                  </a:cubicBezTo>
                  <a:cubicBezTo>
                    <a:pt x="28760" y="193415"/>
                    <a:pt x="9243" y="281242"/>
                    <a:pt x="84059" y="286121"/>
                  </a:cubicBezTo>
                </a:path>
              </a:pathLst>
            </a:custGeom>
            <a:noFill/>
            <a:ln w="19050" cap="sq">
              <a:solidFill>
                <a:schemeClr val="accent1"/>
              </a:solidFill>
              <a:prstDash val="solid"/>
              <a:miter lim="800000"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64" name="Gráfico 32">
              <a:extLst>
                <a:ext uri="{FF2B5EF4-FFF2-40B4-BE49-F238E27FC236}">
                  <a16:creationId xmlns:a16="http://schemas.microsoft.com/office/drawing/2014/main" id="{A7EE2615-D925-A074-A0C6-F71BC9482A99}"/>
                </a:ext>
              </a:extLst>
            </p:cNvPr>
            <p:cNvGrpSpPr/>
            <p:nvPr/>
          </p:nvGrpSpPr>
          <p:grpSpPr>
            <a:xfrm>
              <a:off x="6061121" y="1359924"/>
              <a:ext cx="128487" cy="396366"/>
              <a:chOff x="6061121" y="1359924"/>
              <a:chExt cx="128487" cy="396366"/>
            </a:xfrm>
            <a:noFill/>
          </p:grpSpPr>
          <p:sp>
            <p:nvSpPr>
              <p:cNvPr id="79" name="Forma livre: Forma 78">
                <a:extLst>
                  <a:ext uri="{FF2B5EF4-FFF2-40B4-BE49-F238E27FC236}">
                    <a16:creationId xmlns:a16="http://schemas.microsoft.com/office/drawing/2014/main" id="{A217EBE9-8555-2484-787F-ED51C35E3831}"/>
                  </a:ext>
                </a:extLst>
              </p:cNvPr>
              <p:cNvSpPr/>
              <p:nvPr/>
            </p:nvSpPr>
            <p:spPr>
              <a:xfrm>
                <a:off x="6083891" y="1359924"/>
                <a:ext cx="105717" cy="396366"/>
              </a:xfrm>
              <a:custGeom>
                <a:avLst/>
                <a:gdLst>
                  <a:gd name="connsiteX0" fmla="*/ 52891 w 105717"/>
                  <a:gd name="connsiteY0" fmla="*/ 105718 h 396366"/>
                  <a:gd name="connsiteX1" fmla="*/ 0 w 105717"/>
                  <a:gd name="connsiteY1" fmla="*/ 52891 h 396366"/>
                  <a:gd name="connsiteX2" fmla="*/ 52891 w 105717"/>
                  <a:gd name="connsiteY2" fmla="*/ 0 h 396366"/>
                  <a:gd name="connsiteX3" fmla="*/ 105718 w 105717"/>
                  <a:gd name="connsiteY3" fmla="*/ 52826 h 396366"/>
                  <a:gd name="connsiteX4" fmla="*/ 105718 w 105717"/>
                  <a:gd name="connsiteY4" fmla="*/ 346884 h 396366"/>
                  <a:gd name="connsiteX5" fmla="*/ 80606 w 105717"/>
                  <a:gd name="connsiteY5" fmla="*/ 388911 h 396366"/>
                  <a:gd name="connsiteX6" fmla="*/ 9238 w 105717"/>
                  <a:gd name="connsiteY6" fmla="*/ 371150 h 396366"/>
                  <a:gd name="connsiteX7" fmla="*/ 15484 w 105717"/>
                  <a:gd name="connsiteY7" fmla="*/ 309216 h 396366"/>
                  <a:gd name="connsiteX8" fmla="*/ 45019 w 105717"/>
                  <a:gd name="connsiteY8" fmla="*/ 277078 h 3963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05717" h="396366">
                    <a:moveTo>
                      <a:pt x="52891" y="105718"/>
                    </a:moveTo>
                    <a:cubicBezTo>
                      <a:pt x="23681" y="105718"/>
                      <a:pt x="0" y="82037"/>
                      <a:pt x="0" y="52891"/>
                    </a:cubicBezTo>
                    <a:cubicBezTo>
                      <a:pt x="0" y="23746"/>
                      <a:pt x="23681" y="0"/>
                      <a:pt x="52891" y="0"/>
                    </a:cubicBezTo>
                    <a:cubicBezTo>
                      <a:pt x="82102" y="0"/>
                      <a:pt x="105718" y="23681"/>
                      <a:pt x="105718" y="52826"/>
                    </a:cubicBezTo>
                    <a:lnTo>
                      <a:pt x="105718" y="346884"/>
                    </a:lnTo>
                    <a:cubicBezTo>
                      <a:pt x="105718" y="364580"/>
                      <a:pt x="96414" y="379413"/>
                      <a:pt x="80606" y="388911"/>
                    </a:cubicBezTo>
                    <a:cubicBezTo>
                      <a:pt x="55949" y="403744"/>
                      <a:pt x="24006" y="395742"/>
                      <a:pt x="9238" y="371150"/>
                    </a:cubicBezTo>
                    <a:cubicBezTo>
                      <a:pt x="-2928" y="350918"/>
                      <a:pt x="260" y="325741"/>
                      <a:pt x="15484" y="309216"/>
                    </a:cubicBezTo>
                    <a:lnTo>
                      <a:pt x="45019" y="277078"/>
                    </a:lnTo>
                  </a:path>
                </a:pathLst>
              </a:custGeom>
              <a:noFill/>
              <a:ln w="19050" cap="sq">
                <a:solidFill>
                  <a:schemeClr val="accent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80" name="Forma livre: Forma 79">
                <a:extLst>
                  <a:ext uri="{FF2B5EF4-FFF2-40B4-BE49-F238E27FC236}">
                    <a16:creationId xmlns:a16="http://schemas.microsoft.com/office/drawing/2014/main" id="{CA368DF4-98E4-22D0-E468-DA5EAF178253}"/>
                  </a:ext>
                </a:extLst>
              </p:cNvPr>
              <p:cNvSpPr/>
              <p:nvPr/>
            </p:nvSpPr>
            <p:spPr>
              <a:xfrm>
                <a:off x="6144784" y="1383865"/>
                <a:ext cx="41563" cy="38963"/>
              </a:xfrm>
              <a:custGeom>
                <a:avLst/>
                <a:gdLst>
                  <a:gd name="connsiteX0" fmla="*/ 36172 w 41563"/>
                  <a:gd name="connsiteY0" fmla="*/ 0 h 38963"/>
                  <a:gd name="connsiteX1" fmla="*/ 39425 w 41563"/>
                  <a:gd name="connsiteY1" fmla="*/ 24266 h 38963"/>
                  <a:gd name="connsiteX2" fmla="*/ 36432 w 41563"/>
                  <a:gd name="connsiteY2" fmla="*/ 29080 h 38963"/>
                  <a:gd name="connsiteX3" fmla="*/ 0 w 41563"/>
                  <a:gd name="connsiteY3" fmla="*/ 33439 h 389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563" h="38963">
                    <a:moveTo>
                      <a:pt x="36172" y="0"/>
                    </a:moveTo>
                    <a:cubicBezTo>
                      <a:pt x="41571" y="7547"/>
                      <a:pt x="43393" y="16004"/>
                      <a:pt x="39425" y="24266"/>
                    </a:cubicBezTo>
                    <a:cubicBezTo>
                      <a:pt x="38644" y="25893"/>
                      <a:pt x="37603" y="27519"/>
                      <a:pt x="36432" y="29080"/>
                    </a:cubicBezTo>
                    <a:cubicBezTo>
                      <a:pt x="27584" y="40270"/>
                      <a:pt x="11190" y="42287"/>
                      <a:pt x="0" y="33439"/>
                    </a:cubicBezTo>
                  </a:path>
                </a:pathLst>
              </a:custGeom>
              <a:noFill/>
              <a:ln w="19050" cap="sq">
                <a:solidFill>
                  <a:schemeClr val="accent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81" name="Forma livre: Forma 80">
                <a:extLst>
                  <a:ext uri="{FF2B5EF4-FFF2-40B4-BE49-F238E27FC236}">
                    <a16:creationId xmlns:a16="http://schemas.microsoft.com/office/drawing/2014/main" id="{B379FE12-23A3-BFA9-9234-34C5CD6072B9}"/>
                  </a:ext>
                </a:extLst>
              </p:cNvPr>
              <p:cNvSpPr/>
              <p:nvPr/>
            </p:nvSpPr>
            <p:spPr>
              <a:xfrm>
                <a:off x="6081487" y="1460806"/>
                <a:ext cx="34217" cy="54474"/>
              </a:xfrm>
              <a:custGeom>
                <a:avLst/>
                <a:gdLst>
                  <a:gd name="connsiteX0" fmla="*/ 21076 w 34217"/>
                  <a:gd name="connsiteY0" fmla="*/ 54475 h 54474"/>
                  <a:gd name="connsiteX1" fmla="*/ 778 w 34217"/>
                  <a:gd name="connsiteY1" fmla="*/ 21035 h 54474"/>
                  <a:gd name="connsiteX2" fmla="*/ 34217 w 34217"/>
                  <a:gd name="connsiteY2" fmla="*/ 803 h 544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4217" h="54474">
                    <a:moveTo>
                      <a:pt x="21076" y="54475"/>
                    </a:moveTo>
                    <a:cubicBezTo>
                      <a:pt x="6308" y="50832"/>
                      <a:pt x="-2800" y="35803"/>
                      <a:pt x="778" y="21035"/>
                    </a:cubicBezTo>
                    <a:cubicBezTo>
                      <a:pt x="4421" y="6267"/>
                      <a:pt x="19449" y="-2841"/>
                      <a:pt x="34217" y="803"/>
                    </a:cubicBezTo>
                  </a:path>
                </a:pathLst>
              </a:custGeom>
              <a:noFill/>
              <a:ln w="19050" cap="sq">
                <a:solidFill>
                  <a:schemeClr val="accent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82" name="Forma livre: Forma 81">
                <a:extLst>
                  <a:ext uri="{FF2B5EF4-FFF2-40B4-BE49-F238E27FC236}">
                    <a16:creationId xmlns:a16="http://schemas.microsoft.com/office/drawing/2014/main" id="{DBF3BA09-3432-0545-67CA-2BEF5454623B}"/>
                  </a:ext>
                </a:extLst>
              </p:cNvPr>
              <p:cNvSpPr/>
              <p:nvPr/>
            </p:nvSpPr>
            <p:spPr>
              <a:xfrm>
                <a:off x="6073547" y="1527543"/>
                <a:ext cx="114760" cy="72506"/>
              </a:xfrm>
              <a:custGeom>
                <a:avLst/>
                <a:gdLst>
                  <a:gd name="connsiteX0" fmla="*/ 114760 w 114760"/>
                  <a:gd name="connsiteY0" fmla="*/ 7254 h 72506"/>
                  <a:gd name="connsiteX1" fmla="*/ 73905 w 114760"/>
                  <a:gd name="connsiteY1" fmla="*/ 8881 h 72506"/>
                  <a:gd name="connsiteX2" fmla="*/ 0 w 114760"/>
                  <a:gd name="connsiteY2" fmla="*/ 72506 h 725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14760" h="72506">
                    <a:moveTo>
                      <a:pt x="114760" y="7254"/>
                    </a:moveTo>
                    <a:cubicBezTo>
                      <a:pt x="103375" y="-2830"/>
                      <a:pt x="83989" y="-2504"/>
                      <a:pt x="73905" y="8881"/>
                    </a:cubicBezTo>
                    <a:cubicBezTo>
                      <a:pt x="73905" y="8881"/>
                      <a:pt x="31488" y="72506"/>
                      <a:pt x="0" y="72506"/>
                    </a:cubicBezTo>
                  </a:path>
                </a:pathLst>
              </a:custGeom>
              <a:noFill/>
              <a:ln w="19050" cap="sq">
                <a:solidFill>
                  <a:schemeClr val="accent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83" name="Forma livre: Forma 82">
                <a:extLst>
                  <a:ext uri="{FF2B5EF4-FFF2-40B4-BE49-F238E27FC236}">
                    <a16:creationId xmlns:a16="http://schemas.microsoft.com/office/drawing/2014/main" id="{155BAC0C-D6E8-75E8-27F1-34DDC00A8F16}"/>
                  </a:ext>
                </a:extLst>
              </p:cNvPr>
              <p:cNvSpPr/>
              <p:nvPr/>
            </p:nvSpPr>
            <p:spPr>
              <a:xfrm>
                <a:off x="6079857" y="1646956"/>
                <a:ext cx="29405" cy="9823"/>
              </a:xfrm>
              <a:custGeom>
                <a:avLst/>
                <a:gdLst>
                  <a:gd name="connsiteX0" fmla="*/ 0 w 29405"/>
                  <a:gd name="connsiteY0" fmla="*/ 0 h 9823"/>
                  <a:gd name="connsiteX1" fmla="*/ 29406 w 29405"/>
                  <a:gd name="connsiteY1" fmla="*/ 9824 h 98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9405" h="9823">
                    <a:moveTo>
                      <a:pt x="0" y="0"/>
                    </a:moveTo>
                    <a:lnTo>
                      <a:pt x="29406" y="9824"/>
                    </a:lnTo>
                  </a:path>
                </a:pathLst>
              </a:custGeom>
              <a:ln w="19050" cap="sq">
                <a:solidFill>
                  <a:schemeClr val="accent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84" name="Forma livre: Forma 83">
                <a:extLst>
                  <a:ext uri="{FF2B5EF4-FFF2-40B4-BE49-F238E27FC236}">
                    <a16:creationId xmlns:a16="http://schemas.microsoft.com/office/drawing/2014/main" id="{A160D843-3F58-9593-4BFD-03BBA5B7D6EE}"/>
                  </a:ext>
                </a:extLst>
              </p:cNvPr>
              <p:cNvSpPr/>
              <p:nvPr/>
            </p:nvSpPr>
            <p:spPr>
              <a:xfrm>
                <a:off x="6061121" y="1545272"/>
                <a:ext cx="47166" cy="34154"/>
              </a:xfrm>
              <a:custGeom>
                <a:avLst/>
                <a:gdLst>
                  <a:gd name="connsiteX0" fmla="*/ 0 w 47166"/>
                  <a:gd name="connsiteY0" fmla="*/ 0 h 34154"/>
                  <a:gd name="connsiteX1" fmla="*/ 47166 w 47166"/>
                  <a:gd name="connsiteY1" fmla="*/ 34155 h 341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166" h="34154">
                    <a:moveTo>
                      <a:pt x="0" y="0"/>
                    </a:moveTo>
                    <a:cubicBezTo>
                      <a:pt x="0" y="0"/>
                      <a:pt x="27649" y="13011"/>
                      <a:pt x="47166" y="34155"/>
                    </a:cubicBezTo>
                  </a:path>
                </a:pathLst>
              </a:custGeom>
              <a:noFill/>
              <a:ln w="19050" cap="sq">
                <a:solidFill>
                  <a:schemeClr val="accent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65" name="Gráfico 32">
              <a:extLst>
                <a:ext uri="{FF2B5EF4-FFF2-40B4-BE49-F238E27FC236}">
                  <a16:creationId xmlns:a16="http://schemas.microsoft.com/office/drawing/2014/main" id="{0AF0BBD1-2A74-A639-176F-E2418DBB5725}"/>
                </a:ext>
              </a:extLst>
            </p:cNvPr>
            <p:cNvGrpSpPr/>
            <p:nvPr/>
          </p:nvGrpSpPr>
          <p:grpSpPr>
            <a:xfrm>
              <a:off x="6191625" y="1599725"/>
              <a:ext cx="173767" cy="157112"/>
              <a:chOff x="6191625" y="1599725"/>
              <a:chExt cx="173767" cy="157112"/>
            </a:xfrm>
            <a:noFill/>
          </p:grpSpPr>
          <p:sp>
            <p:nvSpPr>
              <p:cNvPr id="75" name="Forma livre: Forma 74">
                <a:extLst>
                  <a:ext uri="{FF2B5EF4-FFF2-40B4-BE49-F238E27FC236}">
                    <a16:creationId xmlns:a16="http://schemas.microsoft.com/office/drawing/2014/main" id="{EA6B9FB9-DE4C-040A-AEFA-5F62471FC37D}"/>
                  </a:ext>
                </a:extLst>
              </p:cNvPr>
              <p:cNvSpPr/>
              <p:nvPr/>
            </p:nvSpPr>
            <p:spPr>
              <a:xfrm>
                <a:off x="6310094" y="1621974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accent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6" name="Forma livre: Forma 75">
                <a:extLst>
                  <a:ext uri="{FF2B5EF4-FFF2-40B4-BE49-F238E27FC236}">
                    <a16:creationId xmlns:a16="http://schemas.microsoft.com/office/drawing/2014/main" id="{551DB3A6-C4E1-F164-EB48-E23B333D7439}"/>
                  </a:ext>
                </a:extLst>
              </p:cNvPr>
              <p:cNvSpPr/>
              <p:nvPr/>
            </p:nvSpPr>
            <p:spPr>
              <a:xfrm>
                <a:off x="6191625" y="1599725"/>
                <a:ext cx="118078" cy="49898"/>
              </a:xfrm>
              <a:custGeom>
                <a:avLst/>
                <a:gdLst>
                  <a:gd name="connsiteX0" fmla="*/ 0 w 118078"/>
                  <a:gd name="connsiteY0" fmla="*/ 0 h 49898"/>
                  <a:gd name="connsiteX1" fmla="*/ 37343 w 118078"/>
                  <a:gd name="connsiteY1" fmla="*/ 0 h 49898"/>
                  <a:gd name="connsiteX2" fmla="*/ 87176 w 118078"/>
                  <a:gd name="connsiteY2" fmla="*/ 49899 h 49898"/>
                  <a:gd name="connsiteX3" fmla="*/ 118078 w 118078"/>
                  <a:gd name="connsiteY3" fmla="*/ 49899 h 49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8078" h="49898">
                    <a:moveTo>
                      <a:pt x="0" y="0"/>
                    </a:moveTo>
                    <a:lnTo>
                      <a:pt x="37343" y="0"/>
                    </a:lnTo>
                    <a:lnTo>
                      <a:pt x="87176" y="49899"/>
                    </a:lnTo>
                    <a:lnTo>
                      <a:pt x="118078" y="49899"/>
                    </a:lnTo>
                  </a:path>
                </a:pathLst>
              </a:custGeom>
              <a:noFill/>
              <a:ln w="19050" cap="sq">
                <a:solidFill>
                  <a:schemeClr val="accent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7" name="Forma livre: Forma 76">
                <a:extLst>
                  <a:ext uri="{FF2B5EF4-FFF2-40B4-BE49-F238E27FC236}">
                    <a16:creationId xmlns:a16="http://schemas.microsoft.com/office/drawing/2014/main" id="{644073EA-42B3-133A-4BE5-F09C0D608F46}"/>
                  </a:ext>
                </a:extLst>
              </p:cNvPr>
              <p:cNvSpPr/>
              <p:nvPr/>
            </p:nvSpPr>
            <p:spPr>
              <a:xfrm>
                <a:off x="6191625" y="1665367"/>
                <a:ext cx="81906" cy="44108"/>
              </a:xfrm>
              <a:custGeom>
                <a:avLst/>
                <a:gdLst>
                  <a:gd name="connsiteX0" fmla="*/ 0 w 81906"/>
                  <a:gd name="connsiteY0" fmla="*/ 0 h 44108"/>
                  <a:gd name="connsiteX1" fmla="*/ 37343 w 81906"/>
                  <a:gd name="connsiteY1" fmla="*/ 0 h 44108"/>
                  <a:gd name="connsiteX2" fmla="*/ 81907 w 81906"/>
                  <a:gd name="connsiteY2" fmla="*/ 44109 h 441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1906" h="44108">
                    <a:moveTo>
                      <a:pt x="0" y="0"/>
                    </a:moveTo>
                    <a:lnTo>
                      <a:pt x="37343" y="0"/>
                    </a:lnTo>
                    <a:lnTo>
                      <a:pt x="81907" y="44109"/>
                    </a:lnTo>
                  </a:path>
                </a:pathLst>
              </a:custGeom>
              <a:noFill/>
              <a:ln w="19050" cap="sq">
                <a:solidFill>
                  <a:schemeClr val="accent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8" name="Forma livre: Forma 77">
                <a:extLst>
                  <a:ext uri="{FF2B5EF4-FFF2-40B4-BE49-F238E27FC236}">
                    <a16:creationId xmlns:a16="http://schemas.microsoft.com/office/drawing/2014/main" id="{A2F4BD2F-CCDB-ECC7-C553-B21D3FF09608}"/>
                  </a:ext>
                </a:extLst>
              </p:cNvPr>
              <p:cNvSpPr/>
              <p:nvPr/>
            </p:nvSpPr>
            <p:spPr>
              <a:xfrm>
                <a:off x="6265075" y="1701539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accent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66" name="Gráfico 32">
              <a:extLst>
                <a:ext uri="{FF2B5EF4-FFF2-40B4-BE49-F238E27FC236}">
                  <a16:creationId xmlns:a16="http://schemas.microsoft.com/office/drawing/2014/main" id="{02F66D9D-05AD-8115-4A2F-4DC0789658F6}"/>
                </a:ext>
              </a:extLst>
            </p:cNvPr>
            <p:cNvGrpSpPr/>
            <p:nvPr/>
          </p:nvGrpSpPr>
          <p:grpSpPr>
            <a:xfrm>
              <a:off x="6191625" y="1357908"/>
              <a:ext cx="173767" cy="157112"/>
              <a:chOff x="6191625" y="1357908"/>
              <a:chExt cx="173767" cy="157112"/>
            </a:xfrm>
            <a:noFill/>
          </p:grpSpPr>
          <p:sp>
            <p:nvSpPr>
              <p:cNvPr id="71" name="Forma livre: Forma 70">
                <a:extLst>
                  <a:ext uri="{FF2B5EF4-FFF2-40B4-BE49-F238E27FC236}">
                    <a16:creationId xmlns:a16="http://schemas.microsoft.com/office/drawing/2014/main" id="{B480BC0F-8B2C-C9A5-AA5D-90BDA741DBBD}"/>
                  </a:ext>
                </a:extLst>
              </p:cNvPr>
              <p:cNvSpPr/>
              <p:nvPr/>
            </p:nvSpPr>
            <p:spPr>
              <a:xfrm>
                <a:off x="6310094" y="1437472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0 h 55298"/>
                  <a:gd name="connsiteX2" fmla="*/ 0 w 55298"/>
                  <a:gd name="connsiteY2" fmla="*/ 27649 h 55298"/>
                  <a:gd name="connsiteX3" fmla="*/ 27649 w 55298"/>
                  <a:gd name="connsiteY3" fmla="*/ 55298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12361"/>
                      <a:pt x="42938" y="0"/>
                      <a:pt x="27649" y="0"/>
                    </a:cubicBezTo>
                    <a:cubicBezTo>
                      <a:pt x="12361" y="0"/>
                      <a:pt x="0" y="12361"/>
                      <a:pt x="0" y="27649"/>
                    </a:cubicBezTo>
                    <a:cubicBezTo>
                      <a:pt x="0" y="42938"/>
                      <a:pt x="12361" y="55298"/>
                      <a:pt x="27649" y="55298"/>
                    </a:cubicBezTo>
                    <a:cubicBezTo>
                      <a:pt x="42938" y="55298"/>
                      <a:pt x="55298" y="42938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accent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2" name="Forma livre: Forma 71">
                <a:extLst>
                  <a:ext uri="{FF2B5EF4-FFF2-40B4-BE49-F238E27FC236}">
                    <a16:creationId xmlns:a16="http://schemas.microsoft.com/office/drawing/2014/main" id="{8C9A005D-3777-6071-AB84-31E321F60A91}"/>
                  </a:ext>
                </a:extLst>
              </p:cNvPr>
              <p:cNvSpPr/>
              <p:nvPr/>
            </p:nvSpPr>
            <p:spPr>
              <a:xfrm>
                <a:off x="6191625" y="1465122"/>
                <a:ext cx="118468" cy="49898"/>
              </a:xfrm>
              <a:custGeom>
                <a:avLst/>
                <a:gdLst>
                  <a:gd name="connsiteX0" fmla="*/ 0 w 118468"/>
                  <a:gd name="connsiteY0" fmla="*/ 49899 h 49898"/>
                  <a:gd name="connsiteX1" fmla="*/ 37343 w 118468"/>
                  <a:gd name="connsiteY1" fmla="*/ 49899 h 49898"/>
                  <a:gd name="connsiteX2" fmla="*/ 87176 w 118468"/>
                  <a:gd name="connsiteY2" fmla="*/ 0 h 49898"/>
                  <a:gd name="connsiteX3" fmla="*/ 118469 w 118468"/>
                  <a:gd name="connsiteY3" fmla="*/ 0 h 49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8468" h="49898">
                    <a:moveTo>
                      <a:pt x="0" y="49899"/>
                    </a:moveTo>
                    <a:lnTo>
                      <a:pt x="37343" y="49899"/>
                    </a:lnTo>
                    <a:lnTo>
                      <a:pt x="87176" y="0"/>
                    </a:lnTo>
                    <a:lnTo>
                      <a:pt x="118469" y="0"/>
                    </a:lnTo>
                  </a:path>
                </a:pathLst>
              </a:custGeom>
              <a:noFill/>
              <a:ln w="19050" cap="sq">
                <a:solidFill>
                  <a:schemeClr val="accent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3" name="Forma livre: Forma 72">
                <a:extLst>
                  <a:ext uri="{FF2B5EF4-FFF2-40B4-BE49-F238E27FC236}">
                    <a16:creationId xmlns:a16="http://schemas.microsoft.com/office/drawing/2014/main" id="{C2D903AA-6910-1C8D-1605-3BD1A85766D5}"/>
                  </a:ext>
                </a:extLst>
              </p:cNvPr>
              <p:cNvSpPr/>
              <p:nvPr/>
            </p:nvSpPr>
            <p:spPr>
              <a:xfrm>
                <a:off x="6191625" y="1405269"/>
                <a:ext cx="81451" cy="44043"/>
              </a:xfrm>
              <a:custGeom>
                <a:avLst/>
                <a:gdLst>
                  <a:gd name="connsiteX0" fmla="*/ 0 w 81451"/>
                  <a:gd name="connsiteY0" fmla="*/ 44044 h 44043"/>
                  <a:gd name="connsiteX1" fmla="*/ 37343 w 81451"/>
                  <a:gd name="connsiteY1" fmla="*/ 44044 h 44043"/>
                  <a:gd name="connsiteX2" fmla="*/ 81451 w 81451"/>
                  <a:gd name="connsiteY2" fmla="*/ 0 h 440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1451" h="44043">
                    <a:moveTo>
                      <a:pt x="0" y="44044"/>
                    </a:moveTo>
                    <a:lnTo>
                      <a:pt x="37343" y="44044"/>
                    </a:lnTo>
                    <a:lnTo>
                      <a:pt x="81451" y="0"/>
                    </a:lnTo>
                  </a:path>
                </a:pathLst>
              </a:custGeom>
              <a:noFill/>
              <a:ln w="19050" cap="sq">
                <a:solidFill>
                  <a:schemeClr val="accent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4" name="Forma livre: Forma 73">
                <a:extLst>
                  <a:ext uri="{FF2B5EF4-FFF2-40B4-BE49-F238E27FC236}">
                    <a16:creationId xmlns:a16="http://schemas.microsoft.com/office/drawing/2014/main" id="{3633E743-55AA-AAF7-D733-7B964F9AA3F3}"/>
                  </a:ext>
                </a:extLst>
              </p:cNvPr>
              <p:cNvSpPr/>
              <p:nvPr/>
            </p:nvSpPr>
            <p:spPr>
              <a:xfrm>
                <a:off x="6265075" y="1357908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0 h 55298"/>
                  <a:gd name="connsiteX2" fmla="*/ 0 w 55298"/>
                  <a:gd name="connsiteY2" fmla="*/ 27649 h 55298"/>
                  <a:gd name="connsiteX3" fmla="*/ 27649 w 55298"/>
                  <a:gd name="connsiteY3" fmla="*/ 55298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12361"/>
                      <a:pt x="42938" y="0"/>
                      <a:pt x="27649" y="0"/>
                    </a:cubicBezTo>
                    <a:cubicBezTo>
                      <a:pt x="12361" y="0"/>
                      <a:pt x="0" y="12361"/>
                      <a:pt x="0" y="27649"/>
                    </a:cubicBezTo>
                    <a:cubicBezTo>
                      <a:pt x="0" y="42938"/>
                      <a:pt x="12361" y="55298"/>
                      <a:pt x="27649" y="55298"/>
                    </a:cubicBezTo>
                    <a:cubicBezTo>
                      <a:pt x="42938" y="55298"/>
                      <a:pt x="55298" y="42938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accent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67" name="Gráfico 32">
              <a:extLst>
                <a:ext uri="{FF2B5EF4-FFF2-40B4-BE49-F238E27FC236}">
                  <a16:creationId xmlns:a16="http://schemas.microsoft.com/office/drawing/2014/main" id="{2D8688D5-1A4F-BAF7-306A-0441133EC6FA}"/>
                </a:ext>
              </a:extLst>
            </p:cNvPr>
            <p:cNvGrpSpPr/>
            <p:nvPr/>
          </p:nvGrpSpPr>
          <p:grpSpPr>
            <a:xfrm>
              <a:off x="6190910" y="1529723"/>
              <a:ext cx="123673" cy="55298"/>
              <a:chOff x="6190910" y="1529723"/>
              <a:chExt cx="123673" cy="55298"/>
            </a:xfrm>
            <a:noFill/>
          </p:grpSpPr>
          <p:sp>
            <p:nvSpPr>
              <p:cNvPr id="69" name="Forma livre: Forma 68">
                <a:extLst>
                  <a:ext uri="{FF2B5EF4-FFF2-40B4-BE49-F238E27FC236}">
                    <a16:creationId xmlns:a16="http://schemas.microsoft.com/office/drawing/2014/main" id="{1622AC92-020E-42EF-CCDE-E28511236017}"/>
                  </a:ext>
                </a:extLst>
              </p:cNvPr>
              <p:cNvSpPr/>
              <p:nvPr/>
            </p:nvSpPr>
            <p:spPr>
              <a:xfrm>
                <a:off x="6190910" y="1557372"/>
                <a:ext cx="68765" cy="6505"/>
              </a:xfrm>
              <a:custGeom>
                <a:avLst/>
                <a:gdLst>
                  <a:gd name="connsiteX0" fmla="*/ 0 w 68765"/>
                  <a:gd name="connsiteY0" fmla="*/ 0 h 6505"/>
                  <a:gd name="connsiteX1" fmla="*/ 68765 w 68765"/>
                  <a:gd name="connsiteY1" fmla="*/ 0 h 65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8765" h="6505">
                    <a:moveTo>
                      <a:pt x="0" y="0"/>
                    </a:moveTo>
                    <a:lnTo>
                      <a:pt x="68765" y="0"/>
                    </a:lnTo>
                  </a:path>
                </a:pathLst>
              </a:custGeom>
              <a:ln w="19050" cap="sq">
                <a:solidFill>
                  <a:schemeClr val="accent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0" name="Forma livre: Forma 69">
                <a:extLst>
                  <a:ext uri="{FF2B5EF4-FFF2-40B4-BE49-F238E27FC236}">
                    <a16:creationId xmlns:a16="http://schemas.microsoft.com/office/drawing/2014/main" id="{2A38A25E-9334-5074-236E-F5BFC96DEC83}"/>
                  </a:ext>
                </a:extLst>
              </p:cNvPr>
              <p:cNvSpPr/>
              <p:nvPr/>
            </p:nvSpPr>
            <p:spPr>
              <a:xfrm>
                <a:off x="6259285" y="1529723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accent1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68" name="Forma livre: Forma 67">
              <a:extLst>
                <a:ext uri="{FF2B5EF4-FFF2-40B4-BE49-F238E27FC236}">
                  <a16:creationId xmlns:a16="http://schemas.microsoft.com/office/drawing/2014/main" id="{43893FF0-74D4-B7AE-92B6-721B400E71C4}"/>
                </a:ext>
              </a:extLst>
            </p:cNvPr>
            <p:cNvSpPr/>
            <p:nvPr/>
          </p:nvSpPr>
          <p:spPr>
            <a:xfrm>
              <a:off x="6152201" y="1686285"/>
              <a:ext cx="37362" cy="20848"/>
            </a:xfrm>
            <a:custGeom>
              <a:avLst/>
              <a:gdLst>
                <a:gd name="connsiteX0" fmla="*/ 0 w 37362"/>
                <a:gd name="connsiteY0" fmla="*/ 10505 h 20848"/>
                <a:gd name="connsiteX1" fmla="*/ 27064 w 37362"/>
                <a:gd name="connsiteY1" fmla="*/ 2373 h 20848"/>
                <a:gd name="connsiteX2" fmla="*/ 37343 w 37362"/>
                <a:gd name="connsiteY2" fmla="*/ 20849 h 20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7362" h="20848">
                  <a:moveTo>
                    <a:pt x="0" y="10505"/>
                  </a:moveTo>
                  <a:cubicBezTo>
                    <a:pt x="5205" y="811"/>
                    <a:pt x="17435" y="-2832"/>
                    <a:pt x="27064" y="2373"/>
                  </a:cubicBezTo>
                  <a:cubicBezTo>
                    <a:pt x="34025" y="6081"/>
                    <a:pt x="37668" y="13432"/>
                    <a:pt x="37343" y="20849"/>
                  </a:cubicBezTo>
                </a:path>
              </a:pathLst>
            </a:custGeom>
            <a:noFill/>
            <a:ln w="19050" cap="sq">
              <a:solidFill>
                <a:schemeClr val="accent1"/>
              </a:solidFill>
              <a:prstDash val="solid"/>
              <a:miter lim="800000"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85" name="Agrupar 84">
            <a:extLst>
              <a:ext uri="{FF2B5EF4-FFF2-40B4-BE49-F238E27FC236}">
                <a16:creationId xmlns:a16="http://schemas.microsoft.com/office/drawing/2014/main" id="{B4D77EF1-6CA4-7F94-980F-74296AEB1CA9}"/>
              </a:ext>
            </a:extLst>
          </p:cNvPr>
          <p:cNvGrpSpPr/>
          <p:nvPr/>
        </p:nvGrpSpPr>
        <p:grpSpPr>
          <a:xfrm>
            <a:off x="3132985" y="3976845"/>
            <a:ext cx="387471" cy="423140"/>
            <a:chOff x="6000092" y="1357908"/>
            <a:chExt cx="365300" cy="398929"/>
          </a:xfrm>
        </p:grpSpPr>
        <p:sp>
          <p:nvSpPr>
            <p:cNvPr id="86" name="Forma livre: Forma 85">
              <a:extLst>
                <a:ext uri="{FF2B5EF4-FFF2-40B4-BE49-F238E27FC236}">
                  <a16:creationId xmlns:a16="http://schemas.microsoft.com/office/drawing/2014/main" id="{041D796A-7295-EDCC-74D2-29832C045D90}"/>
                </a:ext>
              </a:extLst>
            </p:cNvPr>
            <p:cNvSpPr/>
            <p:nvPr/>
          </p:nvSpPr>
          <p:spPr>
            <a:xfrm>
              <a:off x="6000092" y="1418606"/>
              <a:ext cx="84058" cy="286120"/>
            </a:xfrm>
            <a:custGeom>
              <a:avLst/>
              <a:gdLst>
                <a:gd name="connsiteX0" fmla="*/ 51595 w 84058"/>
                <a:gd name="connsiteY0" fmla="*/ 0 h 286120"/>
                <a:gd name="connsiteX1" fmla="*/ 35266 w 84058"/>
                <a:gd name="connsiteY1" fmla="*/ 61674 h 286120"/>
                <a:gd name="connsiteX2" fmla="*/ 28760 w 84058"/>
                <a:gd name="connsiteY2" fmla="*/ 193415 h 286120"/>
                <a:gd name="connsiteX3" fmla="*/ 84059 w 84058"/>
                <a:gd name="connsiteY3" fmla="*/ 286121 h 2861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4058" h="286120">
                  <a:moveTo>
                    <a:pt x="51595" y="0"/>
                  </a:moveTo>
                  <a:cubicBezTo>
                    <a:pt x="37868" y="7872"/>
                    <a:pt x="26028" y="24852"/>
                    <a:pt x="35266" y="61674"/>
                  </a:cubicBezTo>
                  <a:cubicBezTo>
                    <a:pt x="35266" y="61674"/>
                    <a:pt x="-39549" y="126731"/>
                    <a:pt x="28760" y="193415"/>
                  </a:cubicBezTo>
                  <a:cubicBezTo>
                    <a:pt x="28760" y="193415"/>
                    <a:pt x="9243" y="281242"/>
                    <a:pt x="84059" y="286121"/>
                  </a:cubicBezTo>
                </a:path>
              </a:pathLst>
            </a:custGeom>
            <a:noFill/>
            <a:ln w="19050" cap="sq">
              <a:solidFill>
                <a:schemeClr val="accent2"/>
              </a:solidFill>
              <a:prstDash val="solid"/>
              <a:miter lim="800000"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87" name="Gráfico 32">
              <a:extLst>
                <a:ext uri="{FF2B5EF4-FFF2-40B4-BE49-F238E27FC236}">
                  <a16:creationId xmlns:a16="http://schemas.microsoft.com/office/drawing/2014/main" id="{ED6E8AF6-45E0-EC75-E1F3-FE3A2C72B26F}"/>
                </a:ext>
              </a:extLst>
            </p:cNvPr>
            <p:cNvGrpSpPr/>
            <p:nvPr/>
          </p:nvGrpSpPr>
          <p:grpSpPr>
            <a:xfrm>
              <a:off x="6061121" y="1359924"/>
              <a:ext cx="128487" cy="396366"/>
              <a:chOff x="6061121" y="1359924"/>
              <a:chExt cx="128487" cy="396366"/>
            </a:xfrm>
            <a:noFill/>
          </p:grpSpPr>
          <p:sp>
            <p:nvSpPr>
              <p:cNvPr id="102" name="Forma livre: Forma 101">
                <a:extLst>
                  <a:ext uri="{FF2B5EF4-FFF2-40B4-BE49-F238E27FC236}">
                    <a16:creationId xmlns:a16="http://schemas.microsoft.com/office/drawing/2014/main" id="{7DEE8357-DD10-BFAB-04B2-EB112008334D}"/>
                  </a:ext>
                </a:extLst>
              </p:cNvPr>
              <p:cNvSpPr/>
              <p:nvPr/>
            </p:nvSpPr>
            <p:spPr>
              <a:xfrm>
                <a:off x="6083891" y="1359924"/>
                <a:ext cx="105717" cy="396366"/>
              </a:xfrm>
              <a:custGeom>
                <a:avLst/>
                <a:gdLst>
                  <a:gd name="connsiteX0" fmla="*/ 52891 w 105717"/>
                  <a:gd name="connsiteY0" fmla="*/ 105718 h 396366"/>
                  <a:gd name="connsiteX1" fmla="*/ 0 w 105717"/>
                  <a:gd name="connsiteY1" fmla="*/ 52891 h 396366"/>
                  <a:gd name="connsiteX2" fmla="*/ 52891 w 105717"/>
                  <a:gd name="connsiteY2" fmla="*/ 0 h 396366"/>
                  <a:gd name="connsiteX3" fmla="*/ 105718 w 105717"/>
                  <a:gd name="connsiteY3" fmla="*/ 52826 h 396366"/>
                  <a:gd name="connsiteX4" fmla="*/ 105718 w 105717"/>
                  <a:gd name="connsiteY4" fmla="*/ 346884 h 396366"/>
                  <a:gd name="connsiteX5" fmla="*/ 80606 w 105717"/>
                  <a:gd name="connsiteY5" fmla="*/ 388911 h 396366"/>
                  <a:gd name="connsiteX6" fmla="*/ 9238 w 105717"/>
                  <a:gd name="connsiteY6" fmla="*/ 371150 h 396366"/>
                  <a:gd name="connsiteX7" fmla="*/ 15484 w 105717"/>
                  <a:gd name="connsiteY7" fmla="*/ 309216 h 396366"/>
                  <a:gd name="connsiteX8" fmla="*/ 45019 w 105717"/>
                  <a:gd name="connsiteY8" fmla="*/ 277078 h 3963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05717" h="396366">
                    <a:moveTo>
                      <a:pt x="52891" y="105718"/>
                    </a:moveTo>
                    <a:cubicBezTo>
                      <a:pt x="23681" y="105718"/>
                      <a:pt x="0" y="82037"/>
                      <a:pt x="0" y="52891"/>
                    </a:cubicBezTo>
                    <a:cubicBezTo>
                      <a:pt x="0" y="23746"/>
                      <a:pt x="23681" y="0"/>
                      <a:pt x="52891" y="0"/>
                    </a:cubicBezTo>
                    <a:cubicBezTo>
                      <a:pt x="82102" y="0"/>
                      <a:pt x="105718" y="23681"/>
                      <a:pt x="105718" y="52826"/>
                    </a:cubicBezTo>
                    <a:lnTo>
                      <a:pt x="105718" y="346884"/>
                    </a:lnTo>
                    <a:cubicBezTo>
                      <a:pt x="105718" y="364580"/>
                      <a:pt x="96414" y="379413"/>
                      <a:pt x="80606" y="388911"/>
                    </a:cubicBezTo>
                    <a:cubicBezTo>
                      <a:pt x="55949" y="403744"/>
                      <a:pt x="24006" y="395742"/>
                      <a:pt x="9238" y="371150"/>
                    </a:cubicBezTo>
                    <a:cubicBezTo>
                      <a:pt x="-2928" y="350918"/>
                      <a:pt x="260" y="325741"/>
                      <a:pt x="15484" y="309216"/>
                    </a:cubicBezTo>
                    <a:lnTo>
                      <a:pt x="45019" y="277078"/>
                    </a:lnTo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03" name="Forma livre: Forma 102">
                <a:extLst>
                  <a:ext uri="{FF2B5EF4-FFF2-40B4-BE49-F238E27FC236}">
                    <a16:creationId xmlns:a16="http://schemas.microsoft.com/office/drawing/2014/main" id="{527E99BF-326D-F844-5C9A-F6978123877A}"/>
                  </a:ext>
                </a:extLst>
              </p:cNvPr>
              <p:cNvSpPr/>
              <p:nvPr/>
            </p:nvSpPr>
            <p:spPr>
              <a:xfrm>
                <a:off x="6144784" y="1383865"/>
                <a:ext cx="41563" cy="38963"/>
              </a:xfrm>
              <a:custGeom>
                <a:avLst/>
                <a:gdLst>
                  <a:gd name="connsiteX0" fmla="*/ 36172 w 41563"/>
                  <a:gd name="connsiteY0" fmla="*/ 0 h 38963"/>
                  <a:gd name="connsiteX1" fmla="*/ 39425 w 41563"/>
                  <a:gd name="connsiteY1" fmla="*/ 24266 h 38963"/>
                  <a:gd name="connsiteX2" fmla="*/ 36432 w 41563"/>
                  <a:gd name="connsiteY2" fmla="*/ 29080 h 38963"/>
                  <a:gd name="connsiteX3" fmla="*/ 0 w 41563"/>
                  <a:gd name="connsiteY3" fmla="*/ 33439 h 389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563" h="38963">
                    <a:moveTo>
                      <a:pt x="36172" y="0"/>
                    </a:moveTo>
                    <a:cubicBezTo>
                      <a:pt x="41571" y="7547"/>
                      <a:pt x="43393" y="16004"/>
                      <a:pt x="39425" y="24266"/>
                    </a:cubicBezTo>
                    <a:cubicBezTo>
                      <a:pt x="38644" y="25893"/>
                      <a:pt x="37603" y="27519"/>
                      <a:pt x="36432" y="29080"/>
                    </a:cubicBezTo>
                    <a:cubicBezTo>
                      <a:pt x="27584" y="40270"/>
                      <a:pt x="11190" y="42287"/>
                      <a:pt x="0" y="33439"/>
                    </a:cubicBezTo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04" name="Forma livre: Forma 103">
                <a:extLst>
                  <a:ext uri="{FF2B5EF4-FFF2-40B4-BE49-F238E27FC236}">
                    <a16:creationId xmlns:a16="http://schemas.microsoft.com/office/drawing/2014/main" id="{93B445F4-4D93-1108-BC0D-4A43F690369B}"/>
                  </a:ext>
                </a:extLst>
              </p:cNvPr>
              <p:cNvSpPr/>
              <p:nvPr/>
            </p:nvSpPr>
            <p:spPr>
              <a:xfrm>
                <a:off x="6081487" y="1460806"/>
                <a:ext cx="34217" cy="54474"/>
              </a:xfrm>
              <a:custGeom>
                <a:avLst/>
                <a:gdLst>
                  <a:gd name="connsiteX0" fmla="*/ 21076 w 34217"/>
                  <a:gd name="connsiteY0" fmla="*/ 54475 h 54474"/>
                  <a:gd name="connsiteX1" fmla="*/ 778 w 34217"/>
                  <a:gd name="connsiteY1" fmla="*/ 21035 h 54474"/>
                  <a:gd name="connsiteX2" fmla="*/ 34217 w 34217"/>
                  <a:gd name="connsiteY2" fmla="*/ 803 h 544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4217" h="54474">
                    <a:moveTo>
                      <a:pt x="21076" y="54475"/>
                    </a:moveTo>
                    <a:cubicBezTo>
                      <a:pt x="6308" y="50832"/>
                      <a:pt x="-2800" y="35803"/>
                      <a:pt x="778" y="21035"/>
                    </a:cubicBezTo>
                    <a:cubicBezTo>
                      <a:pt x="4421" y="6267"/>
                      <a:pt x="19449" y="-2841"/>
                      <a:pt x="34217" y="803"/>
                    </a:cubicBezTo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05" name="Forma livre: Forma 104">
                <a:extLst>
                  <a:ext uri="{FF2B5EF4-FFF2-40B4-BE49-F238E27FC236}">
                    <a16:creationId xmlns:a16="http://schemas.microsoft.com/office/drawing/2014/main" id="{73F30CD1-8F80-B11E-432C-7D0AE1EB90CC}"/>
                  </a:ext>
                </a:extLst>
              </p:cNvPr>
              <p:cNvSpPr/>
              <p:nvPr/>
            </p:nvSpPr>
            <p:spPr>
              <a:xfrm>
                <a:off x="6073547" y="1527543"/>
                <a:ext cx="114760" cy="72506"/>
              </a:xfrm>
              <a:custGeom>
                <a:avLst/>
                <a:gdLst>
                  <a:gd name="connsiteX0" fmla="*/ 114760 w 114760"/>
                  <a:gd name="connsiteY0" fmla="*/ 7254 h 72506"/>
                  <a:gd name="connsiteX1" fmla="*/ 73905 w 114760"/>
                  <a:gd name="connsiteY1" fmla="*/ 8881 h 72506"/>
                  <a:gd name="connsiteX2" fmla="*/ 0 w 114760"/>
                  <a:gd name="connsiteY2" fmla="*/ 72506 h 725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14760" h="72506">
                    <a:moveTo>
                      <a:pt x="114760" y="7254"/>
                    </a:moveTo>
                    <a:cubicBezTo>
                      <a:pt x="103375" y="-2830"/>
                      <a:pt x="83989" y="-2504"/>
                      <a:pt x="73905" y="8881"/>
                    </a:cubicBezTo>
                    <a:cubicBezTo>
                      <a:pt x="73905" y="8881"/>
                      <a:pt x="31488" y="72506"/>
                      <a:pt x="0" y="72506"/>
                    </a:cubicBezTo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06" name="Forma livre: Forma 105">
                <a:extLst>
                  <a:ext uri="{FF2B5EF4-FFF2-40B4-BE49-F238E27FC236}">
                    <a16:creationId xmlns:a16="http://schemas.microsoft.com/office/drawing/2014/main" id="{4333AB43-09F9-45AC-5858-D623AD945F40}"/>
                  </a:ext>
                </a:extLst>
              </p:cNvPr>
              <p:cNvSpPr/>
              <p:nvPr/>
            </p:nvSpPr>
            <p:spPr>
              <a:xfrm>
                <a:off x="6079857" y="1646956"/>
                <a:ext cx="29405" cy="9823"/>
              </a:xfrm>
              <a:custGeom>
                <a:avLst/>
                <a:gdLst>
                  <a:gd name="connsiteX0" fmla="*/ 0 w 29405"/>
                  <a:gd name="connsiteY0" fmla="*/ 0 h 9823"/>
                  <a:gd name="connsiteX1" fmla="*/ 29406 w 29405"/>
                  <a:gd name="connsiteY1" fmla="*/ 9824 h 98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9405" h="9823">
                    <a:moveTo>
                      <a:pt x="0" y="0"/>
                    </a:moveTo>
                    <a:lnTo>
                      <a:pt x="29406" y="9824"/>
                    </a:lnTo>
                  </a:path>
                </a:pathLst>
              </a:custGeom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07" name="Forma livre: Forma 106">
                <a:extLst>
                  <a:ext uri="{FF2B5EF4-FFF2-40B4-BE49-F238E27FC236}">
                    <a16:creationId xmlns:a16="http://schemas.microsoft.com/office/drawing/2014/main" id="{4F9D71CD-A53E-90AE-E4BF-B4FB075EFFC2}"/>
                  </a:ext>
                </a:extLst>
              </p:cNvPr>
              <p:cNvSpPr/>
              <p:nvPr/>
            </p:nvSpPr>
            <p:spPr>
              <a:xfrm>
                <a:off x="6061121" y="1545272"/>
                <a:ext cx="47166" cy="34154"/>
              </a:xfrm>
              <a:custGeom>
                <a:avLst/>
                <a:gdLst>
                  <a:gd name="connsiteX0" fmla="*/ 0 w 47166"/>
                  <a:gd name="connsiteY0" fmla="*/ 0 h 34154"/>
                  <a:gd name="connsiteX1" fmla="*/ 47166 w 47166"/>
                  <a:gd name="connsiteY1" fmla="*/ 34155 h 341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166" h="34154">
                    <a:moveTo>
                      <a:pt x="0" y="0"/>
                    </a:moveTo>
                    <a:cubicBezTo>
                      <a:pt x="0" y="0"/>
                      <a:pt x="27649" y="13011"/>
                      <a:pt x="47166" y="34155"/>
                    </a:cubicBezTo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88" name="Gráfico 32">
              <a:extLst>
                <a:ext uri="{FF2B5EF4-FFF2-40B4-BE49-F238E27FC236}">
                  <a16:creationId xmlns:a16="http://schemas.microsoft.com/office/drawing/2014/main" id="{BADF8111-1619-377A-E81B-99871BA96E44}"/>
                </a:ext>
              </a:extLst>
            </p:cNvPr>
            <p:cNvGrpSpPr/>
            <p:nvPr/>
          </p:nvGrpSpPr>
          <p:grpSpPr>
            <a:xfrm>
              <a:off x="6191625" y="1599725"/>
              <a:ext cx="173767" cy="157112"/>
              <a:chOff x="6191625" y="1599725"/>
              <a:chExt cx="173767" cy="157112"/>
            </a:xfrm>
            <a:noFill/>
          </p:grpSpPr>
          <p:sp>
            <p:nvSpPr>
              <p:cNvPr id="98" name="Forma livre: Forma 97">
                <a:extLst>
                  <a:ext uri="{FF2B5EF4-FFF2-40B4-BE49-F238E27FC236}">
                    <a16:creationId xmlns:a16="http://schemas.microsoft.com/office/drawing/2014/main" id="{D0322C21-2642-86B8-0886-E27F048FAC04}"/>
                  </a:ext>
                </a:extLst>
              </p:cNvPr>
              <p:cNvSpPr/>
              <p:nvPr/>
            </p:nvSpPr>
            <p:spPr>
              <a:xfrm>
                <a:off x="6310094" y="1621974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9" name="Forma livre: Forma 98">
                <a:extLst>
                  <a:ext uri="{FF2B5EF4-FFF2-40B4-BE49-F238E27FC236}">
                    <a16:creationId xmlns:a16="http://schemas.microsoft.com/office/drawing/2014/main" id="{0A76F271-5EE0-9476-64AB-F1FE857781BA}"/>
                  </a:ext>
                </a:extLst>
              </p:cNvPr>
              <p:cNvSpPr/>
              <p:nvPr/>
            </p:nvSpPr>
            <p:spPr>
              <a:xfrm>
                <a:off x="6191625" y="1599725"/>
                <a:ext cx="118078" cy="49898"/>
              </a:xfrm>
              <a:custGeom>
                <a:avLst/>
                <a:gdLst>
                  <a:gd name="connsiteX0" fmla="*/ 0 w 118078"/>
                  <a:gd name="connsiteY0" fmla="*/ 0 h 49898"/>
                  <a:gd name="connsiteX1" fmla="*/ 37343 w 118078"/>
                  <a:gd name="connsiteY1" fmla="*/ 0 h 49898"/>
                  <a:gd name="connsiteX2" fmla="*/ 87176 w 118078"/>
                  <a:gd name="connsiteY2" fmla="*/ 49899 h 49898"/>
                  <a:gd name="connsiteX3" fmla="*/ 118078 w 118078"/>
                  <a:gd name="connsiteY3" fmla="*/ 49899 h 49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8078" h="49898">
                    <a:moveTo>
                      <a:pt x="0" y="0"/>
                    </a:moveTo>
                    <a:lnTo>
                      <a:pt x="37343" y="0"/>
                    </a:lnTo>
                    <a:lnTo>
                      <a:pt x="87176" y="49899"/>
                    </a:lnTo>
                    <a:lnTo>
                      <a:pt x="118078" y="49899"/>
                    </a:lnTo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00" name="Forma livre: Forma 99">
                <a:extLst>
                  <a:ext uri="{FF2B5EF4-FFF2-40B4-BE49-F238E27FC236}">
                    <a16:creationId xmlns:a16="http://schemas.microsoft.com/office/drawing/2014/main" id="{B321CA8D-8ED6-CAB0-8BA3-B29655374DE5}"/>
                  </a:ext>
                </a:extLst>
              </p:cNvPr>
              <p:cNvSpPr/>
              <p:nvPr/>
            </p:nvSpPr>
            <p:spPr>
              <a:xfrm>
                <a:off x="6191625" y="1665367"/>
                <a:ext cx="81906" cy="44108"/>
              </a:xfrm>
              <a:custGeom>
                <a:avLst/>
                <a:gdLst>
                  <a:gd name="connsiteX0" fmla="*/ 0 w 81906"/>
                  <a:gd name="connsiteY0" fmla="*/ 0 h 44108"/>
                  <a:gd name="connsiteX1" fmla="*/ 37343 w 81906"/>
                  <a:gd name="connsiteY1" fmla="*/ 0 h 44108"/>
                  <a:gd name="connsiteX2" fmla="*/ 81907 w 81906"/>
                  <a:gd name="connsiteY2" fmla="*/ 44109 h 441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1906" h="44108">
                    <a:moveTo>
                      <a:pt x="0" y="0"/>
                    </a:moveTo>
                    <a:lnTo>
                      <a:pt x="37343" y="0"/>
                    </a:lnTo>
                    <a:lnTo>
                      <a:pt x="81907" y="44109"/>
                    </a:lnTo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01" name="Forma livre: Forma 100">
                <a:extLst>
                  <a:ext uri="{FF2B5EF4-FFF2-40B4-BE49-F238E27FC236}">
                    <a16:creationId xmlns:a16="http://schemas.microsoft.com/office/drawing/2014/main" id="{DCEC051D-2577-EF07-E05E-7FAAA54CC1AF}"/>
                  </a:ext>
                </a:extLst>
              </p:cNvPr>
              <p:cNvSpPr/>
              <p:nvPr/>
            </p:nvSpPr>
            <p:spPr>
              <a:xfrm>
                <a:off x="6265075" y="1701539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89" name="Gráfico 32">
              <a:extLst>
                <a:ext uri="{FF2B5EF4-FFF2-40B4-BE49-F238E27FC236}">
                  <a16:creationId xmlns:a16="http://schemas.microsoft.com/office/drawing/2014/main" id="{50854A3F-88A8-5C0E-2177-623AEFBAFE61}"/>
                </a:ext>
              </a:extLst>
            </p:cNvPr>
            <p:cNvGrpSpPr/>
            <p:nvPr/>
          </p:nvGrpSpPr>
          <p:grpSpPr>
            <a:xfrm>
              <a:off x="6191625" y="1357908"/>
              <a:ext cx="173767" cy="157112"/>
              <a:chOff x="6191625" y="1357908"/>
              <a:chExt cx="173767" cy="157112"/>
            </a:xfrm>
            <a:noFill/>
          </p:grpSpPr>
          <p:sp>
            <p:nvSpPr>
              <p:cNvPr id="94" name="Forma livre: Forma 93">
                <a:extLst>
                  <a:ext uri="{FF2B5EF4-FFF2-40B4-BE49-F238E27FC236}">
                    <a16:creationId xmlns:a16="http://schemas.microsoft.com/office/drawing/2014/main" id="{8D84EEC7-D840-908C-E74C-B22A01A10353}"/>
                  </a:ext>
                </a:extLst>
              </p:cNvPr>
              <p:cNvSpPr/>
              <p:nvPr/>
            </p:nvSpPr>
            <p:spPr>
              <a:xfrm>
                <a:off x="6310094" y="1437472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0 h 55298"/>
                  <a:gd name="connsiteX2" fmla="*/ 0 w 55298"/>
                  <a:gd name="connsiteY2" fmla="*/ 27649 h 55298"/>
                  <a:gd name="connsiteX3" fmla="*/ 27649 w 55298"/>
                  <a:gd name="connsiteY3" fmla="*/ 55298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12361"/>
                      <a:pt x="42938" y="0"/>
                      <a:pt x="27649" y="0"/>
                    </a:cubicBezTo>
                    <a:cubicBezTo>
                      <a:pt x="12361" y="0"/>
                      <a:pt x="0" y="12361"/>
                      <a:pt x="0" y="27649"/>
                    </a:cubicBezTo>
                    <a:cubicBezTo>
                      <a:pt x="0" y="42938"/>
                      <a:pt x="12361" y="55298"/>
                      <a:pt x="27649" y="55298"/>
                    </a:cubicBezTo>
                    <a:cubicBezTo>
                      <a:pt x="42938" y="55298"/>
                      <a:pt x="55298" y="42938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5" name="Forma livre: Forma 94">
                <a:extLst>
                  <a:ext uri="{FF2B5EF4-FFF2-40B4-BE49-F238E27FC236}">
                    <a16:creationId xmlns:a16="http://schemas.microsoft.com/office/drawing/2014/main" id="{29FE8664-C766-1C89-DE87-05A90BEA2733}"/>
                  </a:ext>
                </a:extLst>
              </p:cNvPr>
              <p:cNvSpPr/>
              <p:nvPr/>
            </p:nvSpPr>
            <p:spPr>
              <a:xfrm>
                <a:off x="6191625" y="1465122"/>
                <a:ext cx="118468" cy="49898"/>
              </a:xfrm>
              <a:custGeom>
                <a:avLst/>
                <a:gdLst>
                  <a:gd name="connsiteX0" fmla="*/ 0 w 118468"/>
                  <a:gd name="connsiteY0" fmla="*/ 49899 h 49898"/>
                  <a:gd name="connsiteX1" fmla="*/ 37343 w 118468"/>
                  <a:gd name="connsiteY1" fmla="*/ 49899 h 49898"/>
                  <a:gd name="connsiteX2" fmla="*/ 87176 w 118468"/>
                  <a:gd name="connsiteY2" fmla="*/ 0 h 49898"/>
                  <a:gd name="connsiteX3" fmla="*/ 118469 w 118468"/>
                  <a:gd name="connsiteY3" fmla="*/ 0 h 49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8468" h="49898">
                    <a:moveTo>
                      <a:pt x="0" y="49899"/>
                    </a:moveTo>
                    <a:lnTo>
                      <a:pt x="37343" y="49899"/>
                    </a:lnTo>
                    <a:lnTo>
                      <a:pt x="87176" y="0"/>
                    </a:lnTo>
                    <a:lnTo>
                      <a:pt x="118469" y="0"/>
                    </a:lnTo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6" name="Forma livre: Forma 95">
                <a:extLst>
                  <a:ext uri="{FF2B5EF4-FFF2-40B4-BE49-F238E27FC236}">
                    <a16:creationId xmlns:a16="http://schemas.microsoft.com/office/drawing/2014/main" id="{99220368-A497-BCFD-1063-CE5CE47F9EEA}"/>
                  </a:ext>
                </a:extLst>
              </p:cNvPr>
              <p:cNvSpPr/>
              <p:nvPr/>
            </p:nvSpPr>
            <p:spPr>
              <a:xfrm>
                <a:off x="6191625" y="1405269"/>
                <a:ext cx="81451" cy="44043"/>
              </a:xfrm>
              <a:custGeom>
                <a:avLst/>
                <a:gdLst>
                  <a:gd name="connsiteX0" fmla="*/ 0 w 81451"/>
                  <a:gd name="connsiteY0" fmla="*/ 44044 h 44043"/>
                  <a:gd name="connsiteX1" fmla="*/ 37343 w 81451"/>
                  <a:gd name="connsiteY1" fmla="*/ 44044 h 44043"/>
                  <a:gd name="connsiteX2" fmla="*/ 81451 w 81451"/>
                  <a:gd name="connsiteY2" fmla="*/ 0 h 440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1451" h="44043">
                    <a:moveTo>
                      <a:pt x="0" y="44044"/>
                    </a:moveTo>
                    <a:lnTo>
                      <a:pt x="37343" y="44044"/>
                    </a:lnTo>
                    <a:lnTo>
                      <a:pt x="81451" y="0"/>
                    </a:lnTo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7" name="Forma livre: Forma 96">
                <a:extLst>
                  <a:ext uri="{FF2B5EF4-FFF2-40B4-BE49-F238E27FC236}">
                    <a16:creationId xmlns:a16="http://schemas.microsoft.com/office/drawing/2014/main" id="{53DC825B-CD8E-3989-8922-9152F03944A1}"/>
                  </a:ext>
                </a:extLst>
              </p:cNvPr>
              <p:cNvSpPr/>
              <p:nvPr/>
            </p:nvSpPr>
            <p:spPr>
              <a:xfrm>
                <a:off x="6265075" y="1357908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0 h 55298"/>
                  <a:gd name="connsiteX2" fmla="*/ 0 w 55298"/>
                  <a:gd name="connsiteY2" fmla="*/ 27649 h 55298"/>
                  <a:gd name="connsiteX3" fmla="*/ 27649 w 55298"/>
                  <a:gd name="connsiteY3" fmla="*/ 55298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12361"/>
                      <a:pt x="42938" y="0"/>
                      <a:pt x="27649" y="0"/>
                    </a:cubicBezTo>
                    <a:cubicBezTo>
                      <a:pt x="12361" y="0"/>
                      <a:pt x="0" y="12361"/>
                      <a:pt x="0" y="27649"/>
                    </a:cubicBezTo>
                    <a:cubicBezTo>
                      <a:pt x="0" y="42938"/>
                      <a:pt x="12361" y="55298"/>
                      <a:pt x="27649" y="55298"/>
                    </a:cubicBezTo>
                    <a:cubicBezTo>
                      <a:pt x="42938" y="55298"/>
                      <a:pt x="55298" y="42938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90" name="Gráfico 32">
              <a:extLst>
                <a:ext uri="{FF2B5EF4-FFF2-40B4-BE49-F238E27FC236}">
                  <a16:creationId xmlns:a16="http://schemas.microsoft.com/office/drawing/2014/main" id="{A4607910-9324-585B-69E6-28E129B52DE9}"/>
                </a:ext>
              </a:extLst>
            </p:cNvPr>
            <p:cNvGrpSpPr/>
            <p:nvPr/>
          </p:nvGrpSpPr>
          <p:grpSpPr>
            <a:xfrm>
              <a:off x="6190910" y="1529723"/>
              <a:ext cx="123673" cy="55298"/>
              <a:chOff x="6190910" y="1529723"/>
              <a:chExt cx="123673" cy="55298"/>
            </a:xfrm>
            <a:noFill/>
          </p:grpSpPr>
          <p:sp>
            <p:nvSpPr>
              <p:cNvPr id="92" name="Forma livre: Forma 91">
                <a:extLst>
                  <a:ext uri="{FF2B5EF4-FFF2-40B4-BE49-F238E27FC236}">
                    <a16:creationId xmlns:a16="http://schemas.microsoft.com/office/drawing/2014/main" id="{3010E900-FFB7-4754-B389-C4270867C4CA}"/>
                  </a:ext>
                </a:extLst>
              </p:cNvPr>
              <p:cNvSpPr/>
              <p:nvPr/>
            </p:nvSpPr>
            <p:spPr>
              <a:xfrm>
                <a:off x="6190910" y="1557372"/>
                <a:ext cx="68765" cy="6505"/>
              </a:xfrm>
              <a:custGeom>
                <a:avLst/>
                <a:gdLst>
                  <a:gd name="connsiteX0" fmla="*/ 0 w 68765"/>
                  <a:gd name="connsiteY0" fmla="*/ 0 h 6505"/>
                  <a:gd name="connsiteX1" fmla="*/ 68765 w 68765"/>
                  <a:gd name="connsiteY1" fmla="*/ 0 h 65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8765" h="6505">
                    <a:moveTo>
                      <a:pt x="0" y="0"/>
                    </a:moveTo>
                    <a:lnTo>
                      <a:pt x="68765" y="0"/>
                    </a:lnTo>
                  </a:path>
                </a:pathLst>
              </a:custGeom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3" name="Forma livre: Forma 92">
                <a:extLst>
                  <a:ext uri="{FF2B5EF4-FFF2-40B4-BE49-F238E27FC236}">
                    <a16:creationId xmlns:a16="http://schemas.microsoft.com/office/drawing/2014/main" id="{F3876EB8-2341-BA16-3430-8CB9FDF7D733}"/>
                  </a:ext>
                </a:extLst>
              </p:cNvPr>
              <p:cNvSpPr/>
              <p:nvPr/>
            </p:nvSpPr>
            <p:spPr>
              <a:xfrm>
                <a:off x="6259285" y="1529723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91" name="Forma livre: Forma 90">
              <a:extLst>
                <a:ext uri="{FF2B5EF4-FFF2-40B4-BE49-F238E27FC236}">
                  <a16:creationId xmlns:a16="http://schemas.microsoft.com/office/drawing/2014/main" id="{2314092E-B2DF-72F6-602E-6AC8B03BDF82}"/>
                </a:ext>
              </a:extLst>
            </p:cNvPr>
            <p:cNvSpPr/>
            <p:nvPr/>
          </p:nvSpPr>
          <p:spPr>
            <a:xfrm>
              <a:off x="6152201" y="1686285"/>
              <a:ext cx="37362" cy="20848"/>
            </a:xfrm>
            <a:custGeom>
              <a:avLst/>
              <a:gdLst>
                <a:gd name="connsiteX0" fmla="*/ 0 w 37362"/>
                <a:gd name="connsiteY0" fmla="*/ 10505 h 20848"/>
                <a:gd name="connsiteX1" fmla="*/ 27064 w 37362"/>
                <a:gd name="connsiteY1" fmla="*/ 2373 h 20848"/>
                <a:gd name="connsiteX2" fmla="*/ 37343 w 37362"/>
                <a:gd name="connsiteY2" fmla="*/ 20849 h 20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7362" h="20848">
                  <a:moveTo>
                    <a:pt x="0" y="10505"/>
                  </a:moveTo>
                  <a:cubicBezTo>
                    <a:pt x="5205" y="811"/>
                    <a:pt x="17435" y="-2832"/>
                    <a:pt x="27064" y="2373"/>
                  </a:cubicBezTo>
                  <a:cubicBezTo>
                    <a:pt x="34025" y="6081"/>
                    <a:pt x="37668" y="13432"/>
                    <a:pt x="37343" y="20849"/>
                  </a:cubicBezTo>
                </a:path>
              </a:pathLst>
            </a:custGeom>
            <a:noFill/>
            <a:ln w="19050" cap="sq">
              <a:solidFill>
                <a:schemeClr val="accent2"/>
              </a:solidFill>
              <a:prstDash val="solid"/>
              <a:miter lim="800000"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08" name="Agrupar 107">
            <a:extLst>
              <a:ext uri="{FF2B5EF4-FFF2-40B4-BE49-F238E27FC236}">
                <a16:creationId xmlns:a16="http://schemas.microsoft.com/office/drawing/2014/main" id="{96F892DC-0E80-DFF7-99A0-BA24B3A8F04A}"/>
              </a:ext>
            </a:extLst>
          </p:cNvPr>
          <p:cNvGrpSpPr/>
          <p:nvPr/>
        </p:nvGrpSpPr>
        <p:grpSpPr>
          <a:xfrm>
            <a:off x="3913551" y="3976845"/>
            <a:ext cx="387471" cy="423140"/>
            <a:chOff x="6000092" y="1357908"/>
            <a:chExt cx="365300" cy="398929"/>
          </a:xfrm>
        </p:grpSpPr>
        <p:sp>
          <p:nvSpPr>
            <p:cNvPr id="109" name="Forma livre: Forma 108">
              <a:extLst>
                <a:ext uri="{FF2B5EF4-FFF2-40B4-BE49-F238E27FC236}">
                  <a16:creationId xmlns:a16="http://schemas.microsoft.com/office/drawing/2014/main" id="{B5782ECC-447C-7BEF-2792-E71270384B92}"/>
                </a:ext>
              </a:extLst>
            </p:cNvPr>
            <p:cNvSpPr/>
            <p:nvPr/>
          </p:nvSpPr>
          <p:spPr>
            <a:xfrm>
              <a:off x="6000092" y="1418606"/>
              <a:ext cx="84058" cy="286120"/>
            </a:xfrm>
            <a:custGeom>
              <a:avLst/>
              <a:gdLst>
                <a:gd name="connsiteX0" fmla="*/ 51595 w 84058"/>
                <a:gd name="connsiteY0" fmla="*/ 0 h 286120"/>
                <a:gd name="connsiteX1" fmla="*/ 35266 w 84058"/>
                <a:gd name="connsiteY1" fmla="*/ 61674 h 286120"/>
                <a:gd name="connsiteX2" fmla="*/ 28760 w 84058"/>
                <a:gd name="connsiteY2" fmla="*/ 193415 h 286120"/>
                <a:gd name="connsiteX3" fmla="*/ 84059 w 84058"/>
                <a:gd name="connsiteY3" fmla="*/ 286121 h 2861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4058" h="286120">
                  <a:moveTo>
                    <a:pt x="51595" y="0"/>
                  </a:moveTo>
                  <a:cubicBezTo>
                    <a:pt x="37868" y="7872"/>
                    <a:pt x="26028" y="24852"/>
                    <a:pt x="35266" y="61674"/>
                  </a:cubicBezTo>
                  <a:cubicBezTo>
                    <a:pt x="35266" y="61674"/>
                    <a:pt x="-39549" y="126731"/>
                    <a:pt x="28760" y="193415"/>
                  </a:cubicBezTo>
                  <a:cubicBezTo>
                    <a:pt x="28760" y="193415"/>
                    <a:pt x="9243" y="281242"/>
                    <a:pt x="84059" y="286121"/>
                  </a:cubicBezTo>
                </a:path>
              </a:pathLst>
            </a:custGeom>
            <a:noFill/>
            <a:ln w="19050" cap="sq">
              <a:solidFill>
                <a:schemeClr val="accent2"/>
              </a:solidFill>
              <a:prstDash val="solid"/>
              <a:miter lim="800000"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10" name="Gráfico 32">
              <a:extLst>
                <a:ext uri="{FF2B5EF4-FFF2-40B4-BE49-F238E27FC236}">
                  <a16:creationId xmlns:a16="http://schemas.microsoft.com/office/drawing/2014/main" id="{86074D31-CBE0-F721-4565-2374B14B86B9}"/>
                </a:ext>
              </a:extLst>
            </p:cNvPr>
            <p:cNvGrpSpPr/>
            <p:nvPr/>
          </p:nvGrpSpPr>
          <p:grpSpPr>
            <a:xfrm>
              <a:off x="6061121" y="1359924"/>
              <a:ext cx="128487" cy="396366"/>
              <a:chOff x="6061121" y="1359924"/>
              <a:chExt cx="128487" cy="396366"/>
            </a:xfrm>
            <a:noFill/>
          </p:grpSpPr>
          <p:sp>
            <p:nvSpPr>
              <p:cNvPr id="125" name="Forma livre: Forma 124">
                <a:extLst>
                  <a:ext uri="{FF2B5EF4-FFF2-40B4-BE49-F238E27FC236}">
                    <a16:creationId xmlns:a16="http://schemas.microsoft.com/office/drawing/2014/main" id="{864DDAFF-1870-C599-CA41-8AED57AB4370}"/>
                  </a:ext>
                </a:extLst>
              </p:cNvPr>
              <p:cNvSpPr/>
              <p:nvPr/>
            </p:nvSpPr>
            <p:spPr>
              <a:xfrm>
                <a:off x="6083891" y="1359924"/>
                <a:ext cx="105717" cy="396366"/>
              </a:xfrm>
              <a:custGeom>
                <a:avLst/>
                <a:gdLst>
                  <a:gd name="connsiteX0" fmla="*/ 52891 w 105717"/>
                  <a:gd name="connsiteY0" fmla="*/ 105718 h 396366"/>
                  <a:gd name="connsiteX1" fmla="*/ 0 w 105717"/>
                  <a:gd name="connsiteY1" fmla="*/ 52891 h 396366"/>
                  <a:gd name="connsiteX2" fmla="*/ 52891 w 105717"/>
                  <a:gd name="connsiteY2" fmla="*/ 0 h 396366"/>
                  <a:gd name="connsiteX3" fmla="*/ 105718 w 105717"/>
                  <a:gd name="connsiteY3" fmla="*/ 52826 h 396366"/>
                  <a:gd name="connsiteX4" fmla="*/ 105718 w 105717"/>
                  <a:gd name="connsiteY4" fmla="*/ 346884 h 396366"/>
                  <a:gd name="connsiteX5" fmla="*/ 80606 w 105717"/>
                  <a:gd name="connsiteY5" fmla="*/ 388911 h 396366"/>
                  <a:gd name="connsiteX6" fmla="*/ 9238 w 105717"/>
                  <a:gd name="connsiteY6" fmla="*/ 371150 h 396366"/>
                  <a:gd name="connsiteX7" fmla="*/ 15484 w 105717"/>
                  <a:gd name="connsiteY7" fmla="*/ 309216 h 396366"/>
                  <a:gd name="connsiteX8" fmla="*/ 45019 w 105717"/>
                  <a:gd name="connsiteY8" fmla="*/ 277078 h 3963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05717" h="396366">
                    <a:moveTo>
                      <a:pt x="52891" y="105718"/>
                    </a:moveTo>
                    <a:cubicBezTo>
                      <a:pt x="23681" y="105718"/>
                      <a:pt x="0" y="82037"/>
                      <a:pt x="0" y="52891"/>
                    </a:cubicBezTo>
                    <a:cubicBezTo>
                      <a:pt x="0" y="23746"/>
                      <a:pt x="23681" y="0"/>
                      <a:pt x="52891" y="0"/>
                    </a:cubicBezTo>
                    <a:cubicBezTo>
                      <a:pt x="82102" y="0"/>
                      <a:pt x="105718" y="23681"/>
                      <a:pt x="105718" y="52826"/>
                    </a:cubicBezTo>
                    <a:lnTo>
                      <a:pt x="105718" y="346884"/>
                    </a:lnTo>
                    <a:cubicBezTo>
                      <a:pt x="105718" y="364580"/>
                      <a:pt x="96414" y="379413"/>
                      <a:pt x="80606" y="388911"/>
                    </a:cubicBezTo>
                    <a:cubicBezTo>
                      <a:pt x="55949" y="403744"/>
                      <a:pt x="24006" y="395742"/>
                      <a:pt x="9238" y="371150"/>
                    </a:cubicBezTo>
                    <a:cubicBezTo>
                      <a:pt x="-2928" y="350918"/>
                      <a:pt x="260" y="325741"/>
                      <a:pt x="15484" y="309216"/>
                    </a:cubicBezTo>
                    <a:lnTo>
                      <a:pt x="45019" y="277078"/>
                    </a:lnTo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6" name="Forma livre: Forma 125">
                <a:extLst>
                  <a:ext uri="{FF2B5EF4-FFF2-40B4-BE49-F238E27FC236}">
                    <a16:creationId xmlns:a16="http://schemas.microsoft.com/office/drawing/2014/main" id="{5BF3A41A-6B1F-84B5-FDAB-613A1A17A77D}"/>
                  </a:ext>
                </a:extLst>
              </p:cNvPr>
              <p:cNvSpPr/>
              <p:nvPr/>
            </p:nvSpPr>
            <p:spPr>
              <a:xfrm>
                <a:off x="6144784" y="1383865"/>
                <a:ext cx="41563" cy="38963"/>
              </a:xfrm>
              <a:custGeom>
                <a:avLst/>
                <a:gdLst>
                  <a:gd name="connsiteX0" fmla="*/ 36172 w 41563"/>
                  <a:gd name="connsiteY0" fmla="*/ 0 h 38963"/>
                  <a:gd name="connsiteX1" fmla="*/ 39425 w 41563"/>
                  <a:gd name="connsiteY1" fmla="*/ 24266 h 38963"/>
                  <a:gd name="connsiteX2" fmla="*/ 36432 w 41563"/>
                  <a:gd name="connsiteY2" fmla="*/ 29080 h 38963"/>
                  <a:gd name="connsiteX3" fmla="*/ 0 w 41563"/>
                  <a:gd name="connsiteY3" fmla="*/ 33439 h 389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563" h="38963">
                    <a:moveTo>
                      <a:pt x="36172" y="0"/>
                    </a:moveTo>
                    <a:cubicBezTo>
                      <a:pt x="41571" y="7547"/>
                      <a:pt x="43393" y="16004"/>
                      <a:pt x="39425" y="24266"/>
                    </a:cubicBezTo>
                    <a:cubicBezTo>
                      <a:pt x="38644" y="25893"/>
                      <a:pt x="37603" y="27519"/>
                      <a:pt x="36432" y="29080"/>
                    </a:cubicBezTo>
                    <a:cubicBezTo>
                      <a:pt x="27584" y="40270"/>
                      <a:pt x="11190" y="42287"/>
                      <a:pt x="0" y="33439"/>
                    </a:cubicBezTo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7" name="Forma livre: Forma 126">
                <a:extLst>
                  <a:ext uri="{FF2B5EF4-FFF2-40B4-BE49-F238E27FC236}">
                    <a16:creationId xmlns:a16="http://schemas.microsoft.com/office/drawing/2014/main" id="{384C57F8-47F1-7299-B9F4-19298BBB7F87}"/>
                  </a:ext>
                </a:extLst>
              </p:cNvPr>
              <p:cNvSpPr/>
              <p:nvPr/>
            </p:nvSpPr>
            <p:spPr>
              <a:xfrm>
                <a:off x="6081487" y="1460806"/>
                <a:ext cx="34217" cy="54474"/>
              </a:xfrm>
              <a:custGeom>
                <a:avLst/>
                <a:gdLst>
                  <a:gd name="connsiteX0" fmla="*/ 21076 w 34217"/>
                  <a:gd name="connsiteY0" fmla="*/ 54475 h 54474"/>
                  <a:gd name="connsiteX1" fmla="*/ 778 w 34217"/>
                  <a:gd name="connsiteY1" fmla="*/ 21035 h 54474"/>
                  <a:gd name="connsiteX2" fmla="*/ 34217 w 34217"/>
                  <a:gd name="connsiteY2" fmla="*/ 803 h 544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4217" h="54474">
                    <a:moveTo>
                      <a:pt x="21076" y="54475"/>
                    </a:moveTo>
                    <a:cubicBezTo>
                      <a:pt x="6308" y="50832"/>
                      <a:pt x="-2800" y="35803"/>
                      <a:pt x="778" y="21035"/>
                    </a:cubicBezTo>
                    <a:cubicBezTo>
                      <a:pt x="4421" y="6267"/>
                      <a:pt x="19449" y="-2841"/>
                      <a:pt x="34217" y="803"/>
                    </a:cubicBezTo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8" name="Forma livre: Forma 127">
                <a:extLst>
                  <a:ext uri="{FF2B5EF4-FFF2-40B4-BE49-F238E27FC236}">
                    <a16:creationId xmlns:a16="http://schemas.microsoft.com/office/drawing/2014/main" id="{0F88F22D-9375-0C82-F05E-340B6DD18150}"/>
                  </a:ext>
                </a:extLst>
              </p:cNvPr>
              <p:cNvSpPr/>
              <p:nvPr/>
            </p:nvSpPr>
            <p:spPr>
              <a:xfrm>
                <a:off x="6073547" y="1527543"/>
                <a:ext cx="114760" cy="72506"/>
              </a:xfrm>
              <a:custGeom>
                <a:avLst/>
                <a:gdLst>
                  <a:gd name="connsiteX0" fmla="*/ 114760 w 114760"/>
                  <a:gd name="connsiteY0" fmla="*/ 7254 h 72506"/>
                  <a:gd name="connsiteX1" fmla="*/ 73905 w 114760"/>
                  <a:gd name="connsiteY1" fmla="*/ 8881 h 72506"/>
                  <a:gd name="connsiteX2" fmla="*/ 0 w 114760"/>
                  <a:gd name="connsiteY2" fmla="*/ 72506 h 725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14760" h="72506">
                    <a:moveTo>
                      <a:pt x="114760" y="7254"/>
                    </a:moveTo>
                    <a:cubicBezTo>
                      <a:pt x="103375" y="-2830"/>
                      <a:pt x="83989" y="-2504"/>
                      <a:pt x="73905" y="8881"/>
                    </a:cubicBezTo>
                    <a:cubicBezTo>
                      <a:pt x="73905" y="8881"/>
                      <a:pt x="31488" y="72506"/>
                      <a:pt x="0" y="72506"/>
                    </a:cubicBezTo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9" name="Forma livre: Forma 128">
                <a:extLst>
                  <a:ext uri="{FF2B5EF4-FFF2-40B4-BE49-F238E27FC236}">
                    <a16:creationId xmlns:a16="http://schemas.microsoft.com/office/drawing/2014/main" id="{6A784521-0F95-97BB-9CF9-CAED742CF724}"/>
                  </a:ext>
                </a:extLst>
              </p:cNvPr>
              <p:cNvSpPr/>
              <p:nvPr/>
            </p:nvSpPr>
            <p:spPr>
              <a:xfrm>
                <a:off x="6079857" y="1646956"/>
                <a:ext cx="29405" cy="9823"/>
              </a:xfrm>
              <a:custGeom>
                <a:avLst/>
                <a:gdLst>
                  <a:gd name="connsiteX0" fmla="*/ 0 w 29405"/>
                  <a:gd name="connsiteY0" fmla="*/ 0 h 9823"/>
                  <a:gd name="connsiteX1" fmla="*/ 29406 w 29405"/>
                  <a:gd name="connsiteY1" fmla="*/ 9824 h 98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9405" h="9823">
                    <a:moveTo>
                      <a:pt x="0" y="0"/>
                    </a:moveTo>
                    <a:lnTo>
                      <a:pt x="29406" y="9824"/>
                    </a:lnTo>
                  </a:path>
                </a:pathLst>
              </a:custGeom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30" name="Forma livre: Forma 129">
                <a:extLst>
                  <a:ext uri="{FF2B5EF4-FFF2-40B4-BE49-F238E27FC236}">
                    <a16:creationId xmlns:a16="http://schemas.microsoft.com/office/drawing/2014/main" id="{FDC5A51F-4474-4C61-A263-5491522838C3}"/>
                  </a:ext>
                </a:extLst>
              </p:cNvPr>
              <p:cNvSpPr/>
              <p:nvPr/>
            </p:nvSpPr>
            <p:spPr>
              <a:xfrm>
                <a:off x="6061121" y="1545272"/>
                <a:ext cx="47166" cy="34154"/>
              </a:xfrm>
              <a:custGeom>
                <a:avLst/>
                <a:gdLst>
                  <a:gd name="connsiteX0" fmla="*/ 0 w 47166"/>
                  <a:gd name="connsiteY0" fmla="*/ 0 h 34154"/>
                  <a:gd name="connsiteX1" fmla="*/ 47166 w 47166"/>
                  <a:gd name="connsiteY1" fmla="*/ 34155 h 341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166" h="34154">
                    <a:moveTo>
                      <a:pt x="0" y="0"/>
                    </a:moveTo>
                    <a:cubicBezTo>
                      <a:pt x="0" y="0"/>
                      <a:pt x="27649" y="13011"/>
                      <a:pt x="47166" y="34155"/>
                    </a:cubicBezTo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11" name="Gráfico 32">
              <a:extLst>
                <a:ext uri="{FF2B5EF4-FFF2-40B4-BE49-F238E27FC236}">
                  <a16:creationId xmlns:a16="http://schemas.microsoft.com/office/drawing/2014/main" id="{D329DB84-1CA9-9D3F-E98C-7637784BD0FF}"/>
                </a:ext>
              </a:extLst>
            </p:cNvPr>
            <p:cNvGrpSpPr/>
            <p:nvPr/>
          </p:nvGrpSpPr>
          <p:grpSpPr>
            <a:xfrm>
              <a:off x="6191625" y="1599725"/>
              <a:ext cx="173767" cy="157112"/>
              <a:chOff x="6191625" y="1599725"/>
              <a:chExt cx="173767" cy="157112"/>
            </a:xfrm>
            <a:noFill/>
          </p:grpSpPr>
          <p:sp>
            <p:nvSpPr>
              <p:cNvPr id="121" name="Forma livre: Forma 120">
                <a:extLst>
                  <a:ext uri="{FF2B5EF4-FFF2-40B4-BE49-F238E27FC236}">
                    <a16:creationId xmlns:a16="http://schemas.microsoft.com/office/drawing/2014/main" id="{54301B5D-0AFF-922D-E15F-357C6DB76C0F}"/>
                  </a:ext>
                </a:extLst>
              </p:cNvPr>
              <p:cNvSpPr/>
              <p:nvPr/>
            </p:nvSpPr>
            <p:spPr>
              <a:xfrm>
                <a:off x="6310094" y="1621974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2" name="Forma livre: Forma 121">
                <a:extLst>
                  <a:ext uri="{FF2B5EF4-FFF2-40B4-BE49-F238E27FC236}">
                    <a16:creationId xmlns:a16="http://schemas.microsoft.com/office/drawing/2014/main" id="{6F194A50-4316-8C12-8625-45FBFB70D63D}"/>
                  </a:ext>
                </a:extLst>
              </p:cNvPr>
              <p:cNvSpPr/>
              <p:nvPr/>
            </p:nvSpPr>
            <p:spPr>
              <a:xfrm>
                <a:off x="6191625" y="1599725"/>
                <a:ext cx="118078" cy="49898"/>
              </a:xfrm>
              <a:custGeom>
                <a:avLst/>
                <a:gdLst>
                  <a:gd name="connsiteX0" fmla="*/ 0 w 118078"/>
                  <a:gd name="connsiteY0" fmla="*/ 0 h 49898"/>
                  <a:gd name="connsiteX1" fmla="*/ 37343 w 118078"/>
                  <a:gd name="connsiteY1" fmla="*/ 0 h 49898"/>
                  <a:gd name="connsiteX2" fmla="*/ 87176 w 118078"/>
                  <a:gd name="connsiteY2" fmla="*/ 49899 h 49898"/>
                  <a:gd name="connsiteX3" fmla="*/ 118078 w 118078"/>
                  <a:gd name="connsiteY3" fmla="*/ 49899 h 49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8078" h="49898">
                    <a:moveTo>
                      <a:pt x="0" y="0"/>
                    </a:moveTo>
                    <a:lnTo>
                      <a:pt x="37343" y="0"/>
                    </a:lnTo>
                    <a:lnTo>
                      <a:pt x="87176" y="49899"/>
                    </a:lnTo>
                    <a:lnTo>
                      <a:pt x="118078" y="49899"/>
                    </a:lnTo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3" name="Forma livre: Forma 122">
                <a:extLst>
                  <a:ext uri="{FF2B5EF4-FFF2-40B4-BE49-F238E27FC236}">
                    <a16:creationId xmlns:a16="http://schemas.microsoft.com/office/drawing/2014/main" id="{78389677-02A9-955F-68A2-3AD181BE5752}"/>
                  </a:ext>
                </a:extLst>
              </p:cNvPr>
              <p:cNvSpPr/>
              <p:nvPr/>
            </p:nvSpPr>
            <p:spPr>
              <a:xfrm>
                <a:off x="6191625" y="1665367"/>
                <a:ext cx="81906" cy="44108"/>
              </a:xfrm>
              <a:custGeom>
                <a:avLst/>
                <a:gdLst>
                  <a:gd name="connsiteX0" fmla="*/ 0 w 81906"/>
                  <a:gd name="connsiteY0" fmla="*/ 0 h 44108"/>
                  <a:gd name="connsiteX1" fmla="*/ 37343 w 81906"/>
                  <a:gd name="connsiteY1" fmla="*/ 0 h 44108"/>
                  <a:gd name="connsiteX2" fmla="*/ 81907 w 81906"/>
                  <a:gd name="connsiteY2" fmla="*/ 44109 h 441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1906" h="44108">
                    <a:moveTo>
                      <a:pt x="0" y="0"/>
                    </a:moveTo>
                    <a:lnTo>
                      <a:pt x="37343" y="0"/>
                    </a:lnTo>
                    <a:lnTo>
                      <a:pt x="81907" y="44109"/>
                    </a:lnTo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4" name="Forma livre: Forma 123">
                <a:extLst>
                  <a:ext uri="{FF2B5EF4-FFF2-40B4-BE49-F238E27FC236}">
                    <a16:creationId xmlns:a16="http://schemas.microsoft.com/office/drawing/2014/main" id="{D36C6CF3-2CF1-5895-615B-A09F1171C8DC}"/>
                  </a:ext>
                </a:extLst>
              </p:cNvPr>
              <p:cNvSpPr/>
              <p:nvPr/>
            </p:nvSpPr>
            <p:spPr>
              <a:xfrm>
                <a:off x="6265075" y="1701539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12" name="Gráfico 32">
              <a:extLst>
                <a:ext uri="{FF2B5EF4-FFF2-40B4-BE49-F238E27FC236}">
                  <a16:creationId xmlns:a16="http://schemas.microsoft.com/office/drawing/2014/main" id="{C2BD39E9-D76A-00B9-57D5-5D87CF7507E7}"/>
                </a:ext>
              </a:extLst>
            </p:cNvPr>
            <p:cNvGrpSpPr/>
            <p:nvPr/>
          </p:nvGrpSpPr>
          <p:grpSpPr>
            <a:xfrm>
              <a:off x="6191625" y="1357908"/>
              <a:ext cx="173767" cy="157112"/>
              <a:chOff x="6191625" y="1357908"/>
              <a:chExt cx="173767" cy="157112"/>
            </a:xfrm>
            <a:noFill/>
          </p:grpSpPr>
          <p:sp>
            <p:nvSpPr>
              <p:cNvPr id="117" name="Forma livre: Forma 116">
                <a:extLst>
                  <a:ext uri="{FF2B5EF4-FFF2-40B4-BE49-F238E27FC236}">
                    <a16:creationId xmlns:a16="http://schemas.microsoft.com/office/drawing/2014/main" id="{D4A75984-041C-B554-2864-307FC220297F}"/>
                  </a:ext>
                </a:extLst>
              </p:cNvPr>
              <p:cNvSpPr/>
              <p:nvPr/>
            </p:nvSpPr>
            <p:spPr>
              <a:xfrm>
                <a:off x="6310094" y="1437472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0 h 55298"/>
                  <a:gd name="connsiteX2" fmla="*/ 0 w 55298"/>
                  <a:gd name="connsiteY2" fmla="*/ 27649 h 55298"/>
                  <a:gd name="connsiteX3" fmla="*/ 27649 w 55298"/>
                  <a:gd name="connsiteY3" fmla="*/ 55298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12361"/>
                      <a:pt x="42938" y="0"/>
                      <a:pt x="27649" y="0"/>
                    </a:cubicBezTo>
                    <a:cubicBezTo>
                      <a:pt x="12361" y="0"/>
                      <a:pt x="0" y="12361"/>
                      <a:pt x="0" y="27649"/>
                    </a:cubicBezTo>
                    <a:cubicBezTo>
                      <a:pt x="0" y="42938"/>
                      <a:pt x="12361" y="55298"/>
                      <a:pt x="27649" y="55298"/>
                    </a:cubicBezTo>
                    <a:cubicBezTo>
                      <a:pt x="42938" y="55298"/>
                      <a:pt x="55298" y="42938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18" name="Forma livre: Forma 117">
                <a:extLst>
                  <a:ext uri="{FF2B5EF4-FFF2-40B4-BE49-F238E27FC236}">
                    <a16:creationId xmlns:a16="http://schemas.microsoft.com/office/drawing/2014/main" id="{12AF0A56-3DB5-08AE-06AA-B9FFD4B934BB}"/>
                  </a:ext>
                </a:extLst>
              </p:cNvPr>
              <p:cNvSpPr/>
              <p:nvPr/>
            </p:nvSpPr>
            <p:spPr>
              <a:xfrm>
                <a:off x="6191625" y="1465122"/>
                <a:ext cx="118468" cy="49898"/>
              </a:xfrm>
              <a:custGeom>
                <a:avLst/>
                <a:gdLst>
                  <a:gd name="connsiteX0" fmla="*/ 0 w 118468"/>
                  <a:gd name="connsiteY0" fmla="*/ 49899 h 49898"/>
                  <a:gd name="connsiteX1" fmla="*/ 37343 w 118468"/>
                  <a:gd name="connsiteY1" fmla="*/ 49899 h 49898"/>
                  <a:gd name="connsiteX2" fmla="*/ 87176 w 118468"/>
                  <a:gd name="connsiteY2" fmla="*/ 0 h 49898"/>
                  <a:gd name="connsiteX3" fmla="*/ 118469 w 118468"/>
                  <a:gd name="connsiteY3" fmla="*/ 0 h 49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8468" h="49898">
                    <a:moveTo>
                      <a:pt x="0" y="49899"/>
                    </a:moveTo>
                    <a:lnTo>
                      <a:pt x="37343" y="49899"/>
                    </a:lnTo>
                    <a:lnTo>
                      <a:pt x="87176" y="0"/>
                    </a:lnTo>
                    <a:lnTo>
                      <a:pt x="118469" y="0"/>
                    </a:lnTo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19" name="Forma livre: Forma 118">
                <a:extLst>
                  <a:ext uri="{FF2B5EF4-FFF2-40B4-BE49-F238E27FC236}">
                    <a16:creationId xmlns:a16="http://schemas.microsoft.com/office/drawing/2014/main" id="{28D2040E-21D0-F0EA-A4F4-DF3070153FF8}"/>
                  </a:ext>
                </a:extLst>
              </p:cNvPr>
              <p:cNvSpPr/>
              <p:nvPr/>
            </p:nvSpPr>
            <p:spPr>
              <a:xfrm>
                <a:off x="6191625" y="1405269"/>
                <a:ext cx="81451" cy="44043"/>
              </a:xfrm>
              <a:custGeom>
                <a:avLst/>
                <a:gdLst>
                  <a:gd name="connsiteX0" fmla="*/ 0 w 81451"/>
                  <a:gd name="connsiteY0" fmla="*/ 44044 h 44043"/>
                  <a:gd name="connsiteX1" fmla="*/ 37343 w 81451"/>
                  <a:gd name="connsiteY1" fmla="*/ 44044 h 44043"/>
                  <a:gd name="connsiteX2" fmla="*/ 81451 w 81451"/>
                  <a:gd name="connsiteY2" fmla="*/ 0 h 440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1451" h="44043">
                    <a:moveTo>
                      <a:pt x="0" y="44044"/>
                    </a:moveTo>
                    <a:lnTo>
                      <a:pt x="37343" y="44044"/>
                    </a:lnTo>
                    <a:lnTo>
                      <a:pt x="81451" y="0"/>
                    </a:lnTo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0" name="Forma livre: Forma 119">
                <a:extLst>
                  <a:ext uri="{FF2B5EF4-FFF2-40B4-BE49-F238E27FC236}">
                    <a16:creationId xmlns:a16="http://schemas.microsoft.com/office/drawing/2014/main" id="{13FFF106-BC91-66C2-2E59-860B2B6568BF}"/>
                  </a:ext>
                </a:extLst>
              </p:cNvPr>
              <p:cNvSpPr/>
              <p:nvPr/>
            </p:nvSpPr>
            <p:spPr>
              <a:xfrm>
                <a:off x="6265075" y="1357908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0 h 55298"/>
                  <a:gd name="connsiteX2" fmla="*/ 0 w 55298"/>
                  <a:gd name="connsiteY2" fmla="*/ 27649 h 55298"/>
                  <a:gd name="connsiteX3" fmla="*/ 27649 w 55298"/>
                  <a:gd name="connsiteY3" fmla="*/ 55298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12361"/>
                      <a:pt x="42938" y="0"/>
                      <a:pt x="27649" y="0"/>
                    </a:cubicBezTo>
                    <a:cubicBezTo>
                      <a:pt x="12361" y="0"/>
                      <a:pt x="0" y="12361"/>
                      <a:pt x="0" y="27649"/>
                    </a:cubicBezTo>
                    <a:cubicBezTo>
                      <a:pt x="0" y="42938"/>
                      <a:pt x="12361" y="55298"/>
                      <a:pt x="27649" y="55298"/>
                    </a:cubicBezTo>
                    <a:cubicBezTo>
                      <a:pt x="42938" y="55298"/>
                      <a:pt x="55298" y="42938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13" name="Gráfico 32">
              <a:extLst>
                <a:ext uri="{FF2B5EF4-FFF2-40B4-BE49-F238E27FC236}">
                  <a16:creationId xmlns:a16="http://schemas.microsoft.com/office/drawing/2014/main" id="{B1CC61B0-D215-1802-3124-FBF23FB32435}"/>
                </a:ext>
              </a:extLst>
            </p:cNvPr>
            <p:cNvGrpSpPr/>
            <p:nvPr/>
          </p:nvGrpSpPr>
          <p:grpSpPr>
            <a:xfrm>
              <a:off x="6190910" y="1529723"/>
              <a:ext cx="123673" cy="55298"/>
              <a:chOff x="6190910" y="1529723"/>
              <a:chExt cx="123673" cy="55298"/>
            </a:xfrm>
            <a:noFill/>
          </p:grpSpPr>
          <p:sp>
            <p:nvSpPr>
              <p:cNvPr id="115" name="Forma livre: Forma 114">
                <a:extLst>
                  <a:ext uri="{FF2B5EF4-FFF2-40B4-BE49-F238E27FC236}">
                    <a16:creationId xmlns:a16="http://schemas.microsoft.com/office/drawing/2014/main" id="{B552AB3E-1811-3190-744C-FDE2237731BB}"/>
                  </a:ext>
                </a:extLst>
              </p:cNvPr>
              <p:cNvSpPr/>
              <p:nvPr/>
            </p:nvSpPr>
            <p:spPr>
              <a:xfrm>
                <a:off x="6190910" y="1557372"/>
                <a:ext cx="68765" cy="6505"/>
              </a:xfrm>
              <a:custGeom>
                <a:avLst/>
                <a:gdLst>
                  <a:gd name="connsiteX0" fmla="*/ 0 w 68765"/>
                  <a:gd name="connsiteY0" fmla="*/ 0 h 6505"/>
                  <a:gd name="connsiteX1" fmla="*/ 68765 w 68765"/>
                  <a:gd name="connsiteY1" fmla="*/ 0 h 65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8765" h="6505">
                    <a:moveTo>
                      <a:pt x="0" y="0"/>
                    </a:moveTo>
                    <a:lnTo>
                      <a:pt x="68765" y="0"/>
                    </a:lnTo>
                  </a:path>
                </a:pathLst>
              </a:custGeom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16" name="Forma livre: Forma 115">
                <a:extLst>
                  <a:ext uri="{FF2B5EF4-FFF2-40B4-BE49-F238E27FC236}">
                    <a16:creationId xmlns:a16="http://schemas.microsoft.com/office/drawing/2014/main" id="{C2435078-479F-4515-E7E3-6A0722AEF8A5}"/>
                  </a:ext>
                </a:extLst>
              </p:cNvPr>
              <p:cNvSpPr/>
              <p:nvPr/>
            </p:nvSpPr>
            <p:spPr>
              <a:xfrm>
                <a:off x="6259285" y="1529723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14" name="Forma livre: Forma 113">
              <a:extLst>
                <a:ext uri="{FF2B5EF4-FFF2-40B4-BE49-F238E27FC236}">
                  <a16:creationId xmlns:a16="http://schemas.microsoft.com/office/drawing/2014/main" id="{73F08A21-EB2E-3331-2A9A-F9B1B26F10CB}"/>
                </a:ext>
              </a:extLst>
            </p:cNvPr>
            <p:cNvSpPr/>
            <p:nvPr/>
          </p:nvSpPr>
          <p:spPr>
            <a:xfrm>
              <a:off x="6152201" y="1686285"/>
              <a:ext cx="37362" cy="20848"/>
            </a:xfrm>
            <a:custGeom>
              <a:avLst/>
              <a:gdLst>
                <a:gd name="connsiteX0" fmla="*/ 0 w 37362"/>
                <a:gd name="connsiteY0" fmla="*/ 10505 h 20848"/>
                <a:gd name="connsiteX1" fmla="*/ 27064 w 37362"/>
                <a:gd name="connsiteY1" fmla="*/ 2373 h 20848"/>
                <a:gd name="connsiteX2" fmla="*/ 37343 w 37362"/>
                <a:gd name="connsiteY2" fmla="*/ 20849 h 20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7362" h="20848">
                  <a:moveTo>
                    <a:pt x="0" y="10505"/>
                  </a:moveTo>
                  <a:cubicBezTo>
                    <a:pt x="5205" y="811"/>
                    <a:pt x="17435" y="-2832"/>
                    <a:pt x="27064" y="2373"/>
                  </a:cubicBezTo>
                  <a:cubicBezTo>
                    <a:pt x="34025" y="6081"/>
                    <a:pt x="37668" y="13432"/>
                    <a:pt x="37343" y="20849"/>
                  </a:cubicBezTo>
                </a:path>
              </a:pathLst>
            </a:custGeom>
            <a:noFill/>
            <a:ln w="19050" cap="sq">
              <a:solidFill>
                <a:schemeClr val="accent2"/>
              </a:solidFill>
              <a:prstDash val="solid"/>
              <a:miter lim="800000"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31" name="Agrupar 130">
            <a:extLst>
              <a:ext uri="{FF2B5EF4-FFF2-40B4-BE49-F238E27FC236}">
                <a16:creationId xmlns:a16="http://schemas.microsoft.com/office/drawing/2014/main" id="{F3BE10EA-1CAF-5778-E99F-8F9CA10CFC7F}"/>
              </a:ext>
            </a:extLst>
          </p:cNvPr>
          <p:cNvGrpSpPr/>
          <p:nvPr/>
        </p:nvGrpSpPr>
        <p:grpSpPr>
          <a:xfrm>
            <a:off x="4704443" y="3976845"/>
            <a:ext cx="387471" cy="423140"/>
            <a:chOff x="6000092" y="1357908"/>
            <a:chExt cx="365300" cy="398929"/>
          </a:xfrm>
        </p:grpSpPr>
        <p:sp>
          <p:nvSpPr>
            <p:cNvPr id="132" name="Forma livre: Forma 131">
              <a:extLst>
                <a:ext uri="{FF2B5EF4-FFF2-40B4-BE49-F238E27FC236}">
                  <a16:creationId xmlns:a16="http://schemas.microsoft.com/office/drawing/2014/main" id="{01E83351-D0D6-8AC8-1C3C-B27B6FEEC8F2}"/>
                </a:ext>
              </a:extLst>
            </p:cNvPr>
            <p:cNvSpPr/>
            <p:nvPr/>
          </p:nvSpPr>
          <p:spPr>
            <a:xfrm>
              <a:off x="6000092" y="1418606"/>
              <a:ext cx="84058" cy="286120"/>
            </a:xfrm>
            <a:custGeom>
              <a:avLst/>
              <a:gdLst>
                <a:gd name="connsiteX0" fmla="*/ 51595 w 84058"/>
                <a:gd name="connsiteY0" fmla="*/ 0 h 286120"/>
                <a:gd name="connsiteX1" fmla="*/ 35266 w 84058"/>
                <a:gd name="connsiteY1" fmla="*/ 61674 h 286120"/>
                <a:gd name="connsiteX2" fmla="*/ 28760 w 84058"/>
                <a:gd name="connsiteY2" fmla="*/ 193415 h 286120"/>
                <a:gd name="connsiteX3" fmla="*/ 84059 w 84058"/>
                <a:gd name="connsiteY3" fmla="*/ 286121 h 2861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4058" h="286120">
                  <a:moveTo>
                    <a:pt x="51595" y="0"/>
                  </a:moveTo>
                  <a:cubicBezTo>
                    <a:pt x="37868" y="7872"/>
                    <a:pt x="26028" y="24852"/>
                    <a:pt x="35266" y="61674"/>
                  </a:cubicBezTo>
                  <a:cubicBezTo>
                    <a:pt x="35266" y="61674"/>
                    <a:pt x="-39549" y="126731"/>
                    <a:pt x="28760" y="193415"/>
                  </a:cubicBezTo>
                  <a:cubicBezTo>
                    <a:pt x="28760" y="193415"/>
                    <a:pt x="9243" y="281242"/>
                    <a:pt x="84059" y="286121"/>
                  </a:cubicBezTo>
                </a:path>
              </a:pathLst>
            </a:custGeom>
            <a:noFill/>
            <a:ln w="19050" cap="sq">
              <a:solidFill>
                <a:schemeClr val="accent2"/>
              </a:solidFill>
              <a:prstDash val="solid"/>
              <a:miter lim="800000"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33" name="Gráfico 32">
              <a:extLst>
                <a:ext uri="{FF2B5EF4-FFF2-40B4-BE49-F238E27FC236}">
                  <a16:creationId xmlns:a16="http://schemas.microsoft.com/office/drawing/2014/main" id="{13BF835A-90A4-98A9-B704-855099048B16}"/>
                </a:ext>
              </a:extLst>
            </p:cNvPr>
            <p:cNvGrpSpPr/>
            <p:nvPr/>
          </p:nvGrpSpPr>
          <p:grpSpPr>
            <a:xfrm>
              <a:off x="6061121" y="1359924"/>
              <a:ext cx="128487" cy="396366"/>
              <a:chOff x="6061121" y="1359924"/>
              <a:chExt cx="128487" cy="396366"/>
            </a:xfrm>
            <a:noFill/>
          </p:grpSpPr>
          <p:sp>
            <p:nvSpPr>
              <p:cNvPr id="148" name="Forma livre: Forma 147">
                <a:extLst>
                  <a:ext uri="{FF2B5EF4-FFF2-40B4-BE49-F238E27FC236}">
                    <a16:creationId xmlns:a16="http://schemas.microsoft.com/office/drawing/2014/main" id="{7B428F84-ADD3-CA9A-98E5-73149A54209D}"/>
                  </a:ext>
                </a:extLst>
              </p:cNvPr>
              <p:cNvSpPr/>
              <p:nvPr/>
            </p:nvSpPr>
            <p:spPr>
              <a:xfrm>
                <a:off x="6083891" y="1359924"/>
                <a:ext cx="105717" cy="396366"/>
              </a:xfrm>
              <a:custGeom>
                <a:avLst/>
                <a:gdLst>
                  <a:gd name="connsiteX0" fmla="*/ 52891 w 105717"/>
                  <a:gd name="connsiteY0" fmla="*/ 105718 h 396366"/>
                  <a:gd name="connsiteX1" fmla="*/ 0 w 105717"/>
                  <a:gd name="connsiteY1" fmla="*/ 52891 h 396366"/>
                  <a:gd name="connsiteX2" fmla="*/ 52891 w 105717"/>
                  <a:gd name="connsiteY2" fmla="*/ 0 h 396366"/>
                  <a:gd name="connsiteX3" fmla="*/ 105718 w 105717"/>
                  <a:gd name="connsiteY3" fmla="*/ 52826 h 396366"/>
                  <a:gd name="connsiteX4" fmla="*/ 105718 w 105717"/>
                  <a:gd name="connsiteY4" fmla="*/ 346884 h 396366"/>
                  <a:gd name="connsiteX5" fmla="*/ 80606 w 105717"/>
                  <a:gd name="connsiteY5" fmla="*/ 388911 h 396366"/>
                  <a:gd name="connsiteX6" fmla="*/ 9238 w 105717"/>
                  <a:gd name="connsiteY6" fmla="*/ 371150 h 396366"/>
                  <a:gd name="connsiteX7" fmla="*/ 15484 w 105717"/>
                  <a:gd name="connsiteY7" fmla="*/ 309216 h 396366"/>
                  <a:gd name="connsiteX8" fmla="*/ 45019 w 105717"/>
                  <a:gd name="connsiteY8" fmla="*/ 277078 h 3963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05717" h="396366">
                    <a:moveTo>
                      <a:pt x="52891" y="105718"/>
                    </a:moveTo>
                    <a:cubicBezTo>
                      <a:pt x="23681" y="105718"/>
                      <a:pt x="0" y="82037"/>
                      <a:pt x="0" y="52891"/>
                    </a:cubicBezTo>
                    <a:cubicBezTo>
                      <a:pt x="0" y="23746"/>
                      <a:pt x="23681" y="0"/>
                      <a:pt x="52891" y="0"/>
                    </a:cubicBezTo>
                    <a:cubicBezTo>
                      <a:pt x="82102" y="0"/>
                      <a:pt x="105718" y="23681"/>
                      <a:pt x="105718" y="52826"/>
                    </a:cubicBezTo>
                    <a:lnTo>
                      <a:pt x="105718" y="346884"/>
                    </a:lnTo>
                    <a:cubicBezTo>
                      <a:pt x="105718" y="364580"/>
                      <a:pt x="96414" y="379413"/>
                      <a:pt x="80606" y="388911"/>
                    </a:cubicBezTo>
                    <a:cubicBezTo>
                      <a:pt x="55949" y="403744"/>
                      <a:pt x="24006" y="395742"/>
                      <a:pt x="9238" y="371150"/>
                    </a:cubicBezTo>
                    <a:cubicBezTo>
                      <a:pt x="-2928" y="350918"/>
                      <a:pt x="260" y="325741"/>
                      <a:pt x="15484" y="309216"/>
                    </a:cubicBezTo>
                    <a:lnTo>
                      <a:pt x="45019" y="277078"/>
                    </a:lnTo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49" name="Forma livre: Forma 148">
                <a:extLst>
                  <a:ext uri="{FF2B5EF4-FFF2-40B4-BE49-F238E27FC236}">
                    <a16:creationId xmlns:a16="http://schemas.microsoft.com/office/drawing/2014/main" id="{BFB570E2-C706-7037-DBEB-ED041372CB02}"/>
                  </a:ext>
                </a:extLst>
              </p:cNvPr>
              <p:cNvSpPr/>
              <p:nvPr/>
            </p:nvSpPr>
            <p:spPr>
              <a:xfrm>
                <a:off x="6144784" y="1383865"/>
                <a:ext cx="41563" cy="38963"/>
              </a:xfrm>
              <a:custGeom>
                <a:avLst/>
                <a:gdLst>
                  <a:gd name="connsiteX0" fmla="*/ 36172 w 41563"/>
                  <a:gd name="connsiteY0" fmla="*/ 0 h 38963"/>
                  <a:gd name="connsiteX1" fmla="*/ 39425 w 41563"/>
                  <a:gd name="connsiteY1" fmla="*/ 24266 h 38963"/>
                  <a:gd name="connsiteX2" fmla="*/ 36432 w 41563"/>
                  <a:gd name="connsiteY2" fmla="*/ 29080 h 38963"/>
                  <a:gd name="connsiteX3" fmla="*/ 0 w 41563"/>
                  <a:gd name="connsiteY3" fmla="*/ 33439 h 389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563" h="38963">
                    <a:moveTo>
                      <a:pt x="36172" y="0"/>
                    </a:moveTo>
                    <a:cubicBezTo>
                      <a:pt x="41571" y="7547"/>
                      <a:pt x="43393" y="16004"/>
                      <a:pt x="39425" y="24266"/>
                    </a:cubicBezTo>
                    <a:cubicBezTo>
                      <a:pt x="38644" y="25893"/>
                      <a:pt x="37603" y="27519"/>
                      <a:pt x="36432" y="29080"/>
                    </a:cubicBezTo>
                    <a:cubicBezTo>
                      <a:pt x="27584" y="40270"/>
                      <a:pt x="11190" y="42287"/>
                      <a:pt x="0" y="33439"/>
                    </a:cubicBezTo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50" name="Forma livre: Forma 149">
                <a:extLst>
                  <a:ext uri="{FF2B5EF4-FFF2-40B4-BE49-F238E27FC236}">
                    <a16:creationId xmlns:a16="http://schemas.microsoft.com/office/drawing/2014/main" id="{94278067-C779-4171-2DDC-A9A6CB9CB384}"/>
                  </a:ext>
                </a:extLst>
              </p:cNvPr>
              <p:cNvSpPr/>
              <p:nvPr/>
            </p:nvSpPr>
            <p:spPr>
              <a:xfrm>
                <a:off x="6081487" y="1460806"/>
                <a:ext cx="34217" cy="54474"/>
              </a:xfrm>
              <a:custGeom>
                <a:avLst/>
                <a:gdLst>
                  <a:gd name="connsiteX0" fmla="*/ 21076 w 34217"/>
                  <a:gd name="connsiteY0" fmla="*/ 54475 h 54474"/>
                  <a:gd name="connsiteX1" fmla="*/ 778 w 34217"/>
                  <a:gd name="connsiteY1" fmla="*/ 21035 h 54474"/>
                  <a:gd name="connsiteX2" fmla="*/ 34217 w 34217"/>
                  <a:gd name="connsiteY2" fmla="*/ 803 h 544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4217" h="54474">
                    <a:moveTo>
                      <a:pt x="21076" y="54475"/>
                    </a:moveTo>
                    <a:cubicBezTo>
                      <a:pt x="6308" y="50832"/>
                      <a:pt x="-2800" y="35803"/>
                      <a:pt x="778" y="21035"/>
                    </a:cubicBezTo>
                    <a:cubicBezTo>
                      <a:pt x="4421" y="6267"/>
                      <a:pt x="19449" y="-2841"/>
                      <a:pt x="34217" y="803"/>
                    </a:cubicBezTo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51" name="Forma livre: Forma 150">
                <a:extLst>
                  <a:ext uri="{FF2B5EF4-FFF2-40B4-BE49-F238E27FC236}">
                    <a16:creationId xmlns:a16="http://schemas.microsoft.com/office/drawing/2014/main" id="{A036C0BE-B0F3-596B-892F-EFA570C60B07}"/>
                  </a:ext>
                </a:extLst>
              </p:cNvPr>
              <p:cNvSpPr/>
              <p:nvPr/>
            </p:nvSpPr>
            <p:spPr>
              <a:xfrm>
                <a:off x="6073547" y="1527543"/>
                <a:ext cx="114760" cy="72506"/>
              </a:xfrm>
              <a:custGeom>
                <a:avLst/>
                <a:gdLst>
                  <a:gd name="connsiteX0" fmla="*/ 114760 w 114760"/>
                  <a:gd name="connsiteY0" fmla="*/ 7254 h 72506"/>
                  <a:gd name="connsiteX1" fmla="*/ 73905 w 114760"/>
                  <a:gd name="connsiteY1" fmla="*/ 8881 h 72506"/>
                  <a:gd name="connsiteX2" fmla="*/ 0 w 114760"/>
                  <a:gd name="connsiteY2" fmla="*/ 72506 h 725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14760" h="72506">
                    <a:moveTo>
                      <a:pt x="114760" y="7254"/>
                    </a:moveTo>
                    <a:cubicBezTo>
                      <a:pt x="103375" y="-2830"/>
                      <a:pt x="83989" y="-2504"/>
                      <a:pt x="73905" y="8881"/>
                    </a:cubicBezTo>
                    <a:cubicBezTo>
                      <a:pt x="73905" y="8881"/>
                      <a:pt x="31488" y="72506"/>
                      <a:pt x="0" y="72506"/>
                    </a:cubicBezTo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52" name="Forma livre: Forma 151">
                <a:extLst>
                  <a:ext uri="{FF2B5EF4-FFF2-40B4-BE49-F238E27FC236}">
                    <a16:creationId xmlns:a16="http://schemas.microsoft.com/office/drawing/2014/main" id="{596227B3-FE75-0EA5-6CE1-031A46CDF402}"/>
                  </a:ext>
                </a:extLst>
              </p:cNvPr>
              <p:cNvSpPr/>
              <p:nvPr/>
            </p:nvSpPr>
            <p:spPr>
              <a:xfrm>
                <a:off x="6079857" y="1646956"/>
                <a:ext cx="29405" cy="9823"/>
              </a:xfrm>
              <a:custGeom>
                <a:avLst/>
                <a:gdLst>
                  <a:gd name="connsiteX0" fmla="*/ 0 w 29405"/>
                  <a:gd name="connsiteY0" fmla="*/ 0 h 9823"/>
                  <a:gd name="connsiteX1" fmla="*/ 29406 w 29405"/>
                  <a:gd name="connsiteY1" fmla="*/ 9824 h 98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9405" h="9823">
                    <a:moveTo>
                      <a:pt x="0" y="0"/>
                    </a:moveTo>
                    <a:lnTo>
                      <a:pt x="29406" y="9824"/>
                    </a:lnTo>
                  </a:path>
                </a:pathLst>
              </a:custGeom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53" name="Forma livre: Forma 152">
                <a:extLst>
                  <a:ext uri="{FF2B5EF4-FFF2-40B4-BE49-F238E27FC236}">
                    <a16:creationId xmlns:a16="http://schemas.microsoft.com/office/drawing/2014/main" id="{83955A57-122D-E1A4-B500-4C7525D7A35D}"/>
                  </a:ext>
                </a:extLst>
              </p:cNvPr>
              <p:cNvSpPr/>
              <p:nvPr/>
            </p:nvSpPr>
            <p:spPr>
              <a:xfrm>
                <a:off x="6061121" y="1545272"/>
                <a:ext cx="47166" cy="34154"/>
              </a:xfrm>
              <a:custGeom>
                <a:avLst/>
                <a:gdLst>
                  <a:gd name="connsiteX0" fmla="*/ 0 w 47166"/>
                  <a:gd name="connsiteY0" fmla="*/ 0 h 34154"/>
                  <a:gd name="connsiteX1" fmla="*/ 47166 w 47166"/>
                  <a:gd name="connsiteY1" fmla="*/ 34155 h 341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166" h="34154">
                    <a:moveTo>
                      <a:pt x="0" y="0"/>
                    </a:moveTo>
                    <a:cubicBezTo>
                      <a:pt x="0" y="0"/>
                      <a:pt x="27649" y="13011"/>
                      <a:pt x="47166" y="34155"/>
                    </a:cubicBezTo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34" name="Gráfico 32">
              <a:extLst>
                <a:ext uri="{FF2B5EF4-FFF2-40B4-BE49-F238E27FC236}">
                  <a16:creationId xmlns:a16="http://schemas.microsoft.com/office/drawing/2014/main" id="{BDA52E10-8F6A-DEB2-2900-3C477835FBED}"/>
                </a:ext>
              </a:extLst>
            </p:cNvPr>
            <p:cNvGrpSpPr/>
            <p:nvPr/>
          </p:nvGrpSpPr>
          <p:grpSpPr>
            <a:xfrm>
              <a:off x="6191625" y="1599725"/>
              <a:ext cx="173767" cy="157112"/>
              <a:chOff x="6191625" y="1599725"/>
              <a:chExt cx="173767" cy="157112"/>
            </a:xfrm>
            <a:noFill/>
          </p:grpSpPr>
          <p:sp>
            <p:nvSpPr>
              <p:cNvPr id="144" name="Forma livre: Forma 143">
                <a:extLst>
                  <a:ext uri="{FF2B5EF4-FFF2-40B4-BE49-F238E27FC236}">
                    <a16:creationId xmlns:a16="http://schemas.microsoft.com/office/drawing/2014/main" id="{70638080-38AE-33DD-3A26-5B64674B88AB}"/>
                  </a:ext>
                </a:extLst>
              </p:cNvPr>
              <p:cNvSpPr/>
              <p:nvPr/>
            </p:nvSpPr>
            <p:spPr>
              <a:xfrm>
                <a:off x="6310094" y="1621974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45" name="Forma livre: Forma 144">
                <a:extLst>
                  <a:ext uri="{FF2B5EF4-FFF2-40B4-BE49-F238E27FC236}">
                    <a16:creationId xmlns:a16="http://schemas.microsoft.com/office/drawing/2014/main" id="{B79EBBB0-0547-033F-07D7-192F2B0AF5FA}"/>
                  </a:ext>
                </a:extLst>
              </p:cNvPr>
              <p:cNvSpPr/>
              <p:nvPr/>
            </p:nvSpPr>
            <p:spPr>
              <a:xfrm>
                <a:off x="6191625" y="1599725"/>
                <a:ext cx="118078" cy="49898"/>
              </a:xfrm>
              <a:custGeom>
                <a:avLst/>
                <a:gdLst>
                  <a:gd name="connsiteX0" fmla="*/ 0 w 118078"/>
                  <a:gd name="connsiteY0" fmla="*/ 0 h 49898"/>
                  <a:gd name="connsiteX1" fmla="*/ 37343 w 118078"/>
                  <a:gd name="connsiteY1" fmla="*/ 0 h 49898"/>
                  <a:gd name="connsiteX2" fmla="*/ 87176 w 118078"/>
                  <a:gd name="connsiteY2" fmla="*/ 49899 h 49898"/>
                  <a:gd name="connsiteX3" fmla="*/ 118078 w 118078"/>
                  <a:gd name="connsiteY3" fmla="*/ 49899 h 49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8078" h="49898">
                    <a:moveTo>
                      <a:pt x="0" y="0"/>
                    </a:moveTo>
                    <a:lnTo>
                      <a:pt x="37343" y="0"/>
                    </a:lnTo>
                    <a:lnTo>
                      <a:pt x="87176" y="49899"/>
                    </a:lnTo>
                    <a:lnTo>
                      <a:pt x="118078" y="49899"/>
                    </a:lnTo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46" name="Forma livre: Forma 145">
                <a:extLst>
                  <a:ext uri="{FF2B5EF4-FFF2-40B4-BE49-F238E27FC236}">
                    <a16:creationId xmlns:a16="http://schemas.microsoft.com/office/drawing/2014/main" id="{146C62EF-A0C1-5859-766F-70ADE607A108}"/>
                  </a:ext>
                </a:extLst>
              </p:cNvPr>
              <p:cNvSpPr/>
              <p:nvPr/>
            </p:nvSpPr>
            <p:spPr>
              <a:xfrm>
                <a:off x="6191625" y="1665367"/>
                <a:ext cx="81906" cy="44108"/>
              </a:xfrm>
              <a:custGeom>
                <a:avLst/>
                <a:gdLst>
                  <a:gd name="connsiteX0" fmla="*/ 0 w 81906"/>
                  <a:gd name="connsiteY0" fmla="*/ 0 h 44108"/>
                  <a:gd name="connsiteX1" fmla="*/ 37343 w 81906"/>
                  <a:gd name="connsiteY1" fmla="*/ 0 h 44108"/>
                  <a:gd name="connsiteX2" fmla="*/ 81907 w 81906"/>
                  <a:gd name="connsiteY2" fmla="*/ 44109 h 441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1906" h="44108">
                    <a:moveTo>
                      <a:pt x="0" y="0"/>
                    </a:moveTo>
                    <a:lnTo>
                      <a:pt x="37343" y="0"/>
                    </a:lnTo>
                    <a:lnTo>
                      <a:pt x="81907" y="44109"/>
                    </a:lnTo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47" name="Forma livre: Forma 146">
                <a:extLst>
                  <a:ext uri="{FF2B5EF4-FFF2-40B4-BE49-F238E27FC236}">
                    <a16:creationId xmlns:a16="http://schemas.microsoft.com/office/drawing/2014/main" id="{C64D2CAF-9A0C-5A3E-274F-4520A21B66F9}"/>
                  </a:ext>
                </a:extLst>
              </p:cNvPr>
              <p:cNvSpPr/>
              <p:nvPr/>
            </p:nvSpPr>
            <p:spPr>
              <a:xfrm>
                <a:off x="6265075" y="1701539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35" name="Gráfico 32">
              <a:extLst>
                <a:ext uri="{FF2B5EF4-FFF2-40B4-BE49-F238E27FC236}">
                  <a16:creationId xmlns:a16="http://schemas.microsoft.com/office/drawing/2014/main" id="{E805693E-8528-4502-CCFF-5CF3086D99C1}"/>
                </a:ext>
              </a:extLst>
            </p:cNvPr>
            <p:cNvGrpSpPr/>
            <p:nvPr/>
          </p:nvGrpSpPr>
          <p:grpSpPr>
            <a:xfrm>
              <a:off x="6191625" y="1357908"/>
              <a:ext cx="173767" cy="157112"/>
              <a:chOff x="6191625" y="1357908"/>
              <a:chExt cx="173767" cy="157112"/>
            </a:xfrm>
            <a:noFill/>
          </p:grpSpPr>
          <p:sp>
            <p:nvSpPr>
              <p:cNvPr id="140" name="Forma livre: Forma 139">
                <a:extLst>
                  <a:ext uri="{FF2B5EF4-FFF2-40B4-BE49-F238E27FC236}">
                    <a16:creationId xmlns:a16="http://schemas.microsoft.com/office/drawing/2014/main" id="{183FCD2B-C67C-A01C-8238-6A1A2B7DD8D0}"/>
                  </a:ext>
                </a:extLst>
              </p:cNvPr>
              <p:cNvSpPr/>
              <p:nvPr/>
            </p:nvSpPr>
            <p:spPr>
              <a:xfrm>
                <a:off x="6310094" y="1437472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0 h 55298"/>
                  <a:gd name="connsiteX2" fmla="*/ 0 w 55298"/>
                  <a:gd name="connsiteY2" fmla="*/ 27649 h 55298"/>
                  <a:gd name="connsiteX3" fmla="*/ 27649 w 55298"/>
                  <a:gd name="connsiteY3" fmla="*/ 55298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12361"/>
                      <a:pt x="42938" y="0"/>
                      <a:pt x="27649" y="0"/>
                    </a:cubicBezTo>
                    <a:cubicBezTo>
                      <a:pt x="12361" y="0"/>
                      <a:pt x="0" y="12361"/>
                      <a:pt x="0" y="27649"/>
                    </a:cubicBezTo>
                    <a:cubicBezTo>
                      <a:pt x="0" y="42938"/>
                      <a:pt x="12361" y="55298"/>
                      <a:pt x="27649" y="55298"/>
                    </a:cubicBezTo>
                    <a:cubicBezTo>
                      <a:pt x="42938" y="55298"/>
                      <a:pt x="55298" y="42938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41" name="Forma livre: Forma 140">
                <a:extLst>
                  <a:ext uri="{FF2B5EF4-FFF2-40B4-BE49-F238E27FC236}">
                    <a16:creationId xmlns:a16="http://schemas.microsoft.com/office/drawing/2014/main" id="{3381FCD3-225D-28A4-99E4-CB747C7A826F}"/>
                  </a:ext>
                </a:extLst>
              </p:cNvPr>
              <p:cNvSpPr/>
              <p:nvPr/>
            </p:nvSpPr>
            <p:spPr>
              <a:xfrm>
                <a:off x="6191625" y="1465122"/>
                <a:ext cx="118468" cy="49898"/>
              </a:xfrm>
              <a:custGeom>
                <a:avLst/>
                <a:gdLst>
                  <a:gd name="connsiteX0" fmla="*/ 0 w 118468"/>
                  <a:gd name="connsiteY0" fmla="*/ 49899 h 49898"/>
                  <a:gd name="connsiteX1" fmla="*/ 37343 w 118468"/>
                  <a:gd name="connsiteY1" fmla="*/ 49899 h 49898"/>
                  <a:gd name="connsiteX2" fmla="*/ 87176 w 118468"/>
                  <a:gd name="connsiteY2" fmla="*/ 0 h 49898"/>
                  <a:gd name="connsiteX3" fmla="*/ 118469 w 118468"/>
                  <a:gd name="connsiteY3" fmla="*/ 0 h 49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8468" h="49898">
                    <a:moveTo>
                      <a:pt x="0" y="49899"/>
                    </a:moveTo>
                    <a:lnTo>
                      <a:pt x="37343" y="49899"/>
                    </a:lnTo>
                    <a:lnTo>
                      <a:pt x="87176" y="0"/>
                    </a:lnTo>
                    <a:lnTo>
                      <a:pt x="118469" y="0"/>
                    </a:lnTo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42" name="Forma livre: Forma 141">
                <a:extLst>
                  <a:ext uri="{FF2B5EF4-FFF2-40B4-BE49-F238E27FC236}">
                    <a16:creationId xmlns:a16="http://schemas.microsoft.com/office/drawing/2014/main" id="{3B9AC4C9-ED48-8B47-1743-C502156DFF3F}"/>
                  </a:ext>
                </a:extLst>
              </p:cNvPr>
              <p:cNvSpPr/>
              <p:nvPr/>
            </p:nvSpPr>
            <p:spPr>
              <a:xfrm>
                <a:off x="6191625" y="1405269"/>
                <a:ext cx="81451" cy="44043"/>
              </a:xfrm>
              <a:custGeom>
                <a:avLst/>
                <a:gdLst>
                  <a:gd name="connsiteX0" fmla="*/ 0 w 81451"/>
                  <a:gd name="connsiteY0" fmla="*/ 44044 h 44043"/>
                  <a:gd name="connsiteX1" fmla="*/ 37343 w 81451"/>
                  <a:gd name="connsiteY1" fmla="*/ 44044 h 44043"/>
                  <a:gd name="connsiteX2" fmla="*/ 81451 w 81451"/>
                  <a:gd name="connsiteY2" fmla="*/ 0 h 440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1451" h="44043">
                    <a:moveTo>
                      <a:pt x="0" y="44044"/>
                    </a:moveTo>
                    <a:lnTo>
                      <a:pt x="37343" y="44044"/>
                    </a:lnTo>
                    <a:lnTo>
                      <a:pt x="81451" y="0"/>
                    </a:lnTo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43" name="Forma livre: Forma 142">
                <a:extLst>
                  <a:ext uri="{FF2B5EF4-FFF2-40B4-BE49-F238E27FC236}">
                    <a16:creationId xmlns:a16="http://schemas.microsoft.com/office/drawing/2014/main" id="{6F8FE21C-4FDA-8F59-36A2-9AA6064DE8A2}"/>
                  </a:ext>
                </a:extLst>
              </p:cNvPr>
              <p:cNvSpPr/>
              <p:nvPr/>
            </p:nvSpPr>
            <p:spPr>
              <a:xfrm>
                <a:off x="6265075" y="1357908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0 h 55298"/>
                  <a:gd name="connsiteX2" fmla="*/ 0 w 55298"/>
                  <a:gd name="connsiteY2" fmla="*/ 27649 h 55298"/>
                  <a:gd name="connsiteX3" fmla="*/ 27649 w 55298"/>
                  <a:gd name="connsiteY3" fmla="*/ 55298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12361"/>
                      <a:pt x="42938" y="0"/>
                      <a:pt x="27649" y="0"/>
                    </a:cubicBezTo>
                    <a:cubicBezTo>
                      <a:pt x="12361" y="0"/>
                      <a:pt x="0" y="12361"/>
                      <a:pt x="0" y="27649"/>
                    </a:cubicBezTo>
                    <a:cubicBezTo>
                      <a:pt x="0" y="42938"/>
                      <a:pt x="12361" y="55298"/>
                      <a:pt x="27649" y="55298"/>
                    </a:cubicBezTo>
                    <a:cubicBezTo>
                      <a:pt x="42938" y="55298"/>
                      <a:pt x="55298" y="42938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36" name="Gráfico 32">
              <a:extLst>
                <a:ext uri="{FF2B5EF4-FFF2-40B4-BE49-F238E27FC236}">
                  <a16:creationId xmlns:a16="http://schemas.microsoft.com/office/drawing/2014/main" id="{608ECAD2-3C88-CE3C-80F6-A57A45875953}"/>
                </a:ext>
              </a:extLst>
            </p:cNvPr>
            <p:cNvGrpSpPr/>
            <p:nvPr/>
          </p:nvGrpSpPr>
          <p:grpSpPr>
            <a:xfrm>
              <a:off x="6190910" y="1529723"/>
              <a:ext cx="123673" cy="55298"/>
              <a:chOff x="6190910" y="1529723"/>
              <a:chExt cx="123673" cy="55298"/>
            </a:xfrm>
            <a:noFill/>
          </p:grpSpPr>
          <p:sp>
            <p:nvSpPr>
              <p:cNvPr id="138" name="Forma livre: Forma 137">
                <a:extLst>
                  <a:ext uri="{FF2B5EF4-FFF2-40B4-BE49-F238E27FC236}">
                    <a16:creationId xmlns:a16="http://schemas.microsoft.com/office/drawing/2014/main" id="{58E63515-9E91-72D9-728F-D731991B06AF}"/>
                  </a:ext>
                </a:extLst>
              </p:cNvPr>
              <p:cNvSpPr/>
              <p:nvPr/>
            </p:nvSpPr>
            <p:spPr>
              <a:xfrm>
                <a:off x="6190910" y="1557372"/>
                <a:ext cx="68765" cy="6505"/>
              </a:xfrm>
              <a:custGeom>
                <a:avLst/>
                <a:gdLst>
                  <a:gd name="connsiteX0" fmla="*/ 0 w 68765"/>
                  <a:gd name="connsiteY0" fmla="*/ 0 h 6505"/>
                  <a:gd name="connsiteX1" fmla="*/ 68765 w 68765"/>
                  <a:gd name="connsiteY1" fmla="*/ 0 h 65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8765" h="6505">
                    <a:moveTo>
                      <a:pt x="0" y="0"/>
                    </a:moveTo>
                    <a:lnTo>
                      <a:pt x="68765" y="0"/>
                    </a:lnTo>
                  </a:path>
                </a:pathLst>
              </a:custGeom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39" name="Forma livre: Forma 138">
                <a:extLst>
                  <a:ext uri="{FF2B5EF4-FFF2-40B4-BE49-F238E27FC236}">
                    <a16:creationId xmlns:a16="http://schemas.microsoft.com/office/drawing/2014/main" id="{3388F0A3-AA01-84B3-7AB4-37925D633245}"/>
                  </a:ext>
                </a:extLst>
              </p:cNvPr>
              <p:cNvSpPr/>
              <p:nvPr/>
            </p:nvSpPr>
            <p:spPr>
              <a:xfrm>
                <a:off x="6259285" y="1529723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37" name="Forma livre: Forma 136">
              <a:extLst>
                <a:ext uri="{FF2B5EF4-FFF2-40B4-BE49-F238E27FC236}">
                  <a16:creationId xmlns:a16="http://schemas.microsoft.com/office/drawing/2014/main" id="{9AFF9461-9EE4-60C8-E2C3-7816646A60C4}"/>
                </a:ext>
              </a:extLst>
            </p:cNvPr>
            <p:cNvSpPr/>
            <p:nvPr/>
          </p:nvSpPr>
          <p:spPr>
            <a:xfrm>
              <a:off x="6152201" y="1686285"/>
              <a:ext cx="37362" cy="20848"/>
            </a:xfrm>
            <a:custGeom>
              <a:avLst/>
              <a:gdLst>
                <a:gd name="connsiteX0" fmla="*/ 0 w 37362"/>
                <a:gd name="connsiteY0" fmla="*/ 10505 h 20848"/>
                <a:gd name="connsiteX1" fmla="*/ 27064 w 37362"/>
                <a:gd name="connsiteY1" fmla="*/ 2373 h 20848"/>
                <a:gd name="connsiteX2" fmla="*/ 37343 w 37362"/>
                <a:gd name="connsiteY2" fmla="*/ 20849 h 20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7362" h="20848">
                  <a:moveTo>
                    <a:pt x="0" y="10505"/>
                  </a:moveTo>
                  <a:cubicBezTo>
                    <a:pt x="5205" y="811"/>
                    <a:pt x="17435" y="-2832"/>
                    <a:pt x="27064" y="2373"/>
                  </a:cubicBezTo>
                  <a:cubicBezTo>
                    <a:pt x="34025" y="6081"/>
                    <a:pt x="37668" y="13432"/>
                    <a:pt x="37343" y="20849"/>
                  </a:cubicBezTo>
                </a:path>
              </a:pathLst>
            </a:custGeom>
            <a:noFill/>
            <a:ln w="19050" cap="sq">
              <a:solidFill>
                <a:schemeClr val="accent2"/>
              </a:solidFill>
              <a:prstDash val="solid"/>
              <a:miter lim="800000"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54" name="Agrupar 153">
            <a:extLst>
              <a:ext uri="{FF2B5EF4-FFF2-40B4-BE49-F238E27FC236}">
                <a16:creationId xmlns:a16="http://schemas.microsoft.com/office/drawing/2014/main" id="{B784247C-E0F1-CF2A-69F6-0E2AFD4414DD}"/>
              </a:ext>
            </a:extLst>
          </p:cNvPr>
          <p:cNvGrpSpPr/>
          <p:nvPr/>
        </p:nvGrpSpPr>
        <p:grpSpPr>
          <a:xfrm>
            <a:off x="5486568" y="3976845"/>
            <a:ext cx="387471" cy="423140"/>
            <a:chOff x="6000092" y="1357908"/>
            <a:chExt cx="365300" cy="398929"/>
          </a:xfrm>
        </p:grpSpPr>
        <p:sp>
          <p:nvSpPr>
            <p:cNvPr id="155" name="Forma livre: Forma 154">
              <a:extLst>
                <a:ext uri="{FF2B5EF4-FFF2-40B4-BE49-F238E27FC236}">
                  <a16:creationId xmlns:a16="http://schemas.microsoft.com/office/drawing/2014/main" id="{BD35D939-9B9C-3193-77F0-3414836D0592}"/>
                </a:ext>
              </a:extLst>
            </p:cNvPr>
            <p:cNvSpPr/>
            <p:nvPr/>
          </p:nvSpPr>
          <p:spPr>
            <a:xfrm>
              <a:off x="6000092" y="1418606"/>
              <a:ext cx="84058" cy="286120"/>
            </a:xfrm>
            <a:custGeom>
              <a:avLst/>
              <a:gdLst>
                <a:gd name="connsiteX0" fmla="*/ 51595 w 84058"/>
                <a:gd name="connsiteY0" fmla="*/ 0 h 286120"/>
                <a:gd name="connsiteX1" fmla="*/ 35266 w 84058"/>
                <a:gd name="connsiteY1" fmla="*/ 61674 h 286120"/>
                <a:gd name="connsiteX2" fmla="*/ 28760 w 84058"/>
                <a:gd name="connsiteY2" fmla="*/ 193415 h 286120"/>
                <a:gd name="connsiteX3" fmla="*/ 84059 w 84058"/>
                <a:gd name="connsiteY3" fmla="*/ 286121 h 2861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4058" h="286120">
                  <a:moveTo>
                    <a:pt x="51595" y="0"/>
                  </a:moveTo>
                  <a:cubicBezTo>
                    <a:pt x="37868" y="7872"/>
                    <a:pt x="26028" y="24852"/>
                    <a:pt x="35266" y="61674"/>
                  </a:cubicBezTo>
                  <a:cubicBezTo>
                    <a:pt x="35266" y="61674"/>
                    <a:pt x="-39549" y="126731"/>
                    <a:pt x="28760" y="193415"/>
                  </a:cubicBezTo>
                  <a:cubicBezTo>
                    <a:pt x="28760" y="193415"/>
                    <a:pt x="9243" y="281242"/>
                    <a:pt x="84059" y="286121"/>
                  </a:cubicBezTo>
                </a:path>
              </a:pathLst>
            </a:custGeom>
            <a:noFill/>
            <a:ln w="19050" cap="sq">
              <a:solidFill>
                <a:schemeClr val="accent2"/>
              </a:solidFill>
              <a:prstDash val="solid"/>
              <a:miter lim="800000"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56" name="Gráfico 32">
              <a:extLst>
                <a:ext uri="{FF2B5EF4-FFF2-40B4-BE49-F238E27FC236}">
                  <a16:creationId xmlns:a16="http://schemas.microsoft.com/office/drawing/2014/main" id="{86042807-8868-BE43-80F1-1857BC758FF5}"/>
                </a:ext>
              </a:extLst>
            </p:cNvPr>
            <p:cNvGrpSpPr/>
            <p:nvPr/>
          </p:nvGrpSpPr>
          <p:grpSpPr>
            <a:xfrm>
              <a:off x="6061121" y="1359924"/>
              <a:ext cx="128487" cy="396366"/>
              <a:chOff x="6061121" y="1359924"/>
              <a:chExt cx="128487" cy="396366"/>
            </a:xfrm>
            <a:noFill/>
          </p:grpSpPr>
          <p:sp>
            <p:nvSpPr>
              <p:cNvPr id="171" name="Forma livre: Forma 170">
                <a:extLst>
                  <a:ext uri="{FF2B5EF4-FFF2-40B4-BE49-F238E27FC236}">
                    <a16:creationId xmlns:a16="http://schemas.microsoft.com/office/drawing/2014/main" id="{E804DC60-7C9C-E1EA-5ED2-BFEA65E833A4}"/>
                  </a:ext>
                </a:extLst>
              </p:cNvPr>
              <p:cNvSpPr/>
              <p:nvPr/>
            </p:nvSpPr>
            <p:spPr>
              <a:xfrm>
                <a:off x="6083891" y="1359924"/>
                <a:ext cx="105717" cy="396366"/>
              </a:xfrm>
              <a:custGeom>
                <a:avLst/>
                <a:gdLst>
                  <a:gd name="connsiteX0" fmla="*/ 52891 w 105717"/>
                  <a:gd name="connsiteY0" fmla="*/ 105718 h 396366"/>
                  <a:gd name="connsiteX1" fmla="*/ 0 w 105717"/>
                  <a:gd name="connsiteY1" fmla="*/ 52891 h 396366"/>
                  <a:gd name="connsiteX2" fmla="*/ 52891 w 105717"/>
                  <a:gd name="connsiteY2" fmla="*/ 0 h 396366"/>
                  <a:gd name="connsiteX3" fmla="*/ 105718 w 105717"/>
                  <a:gd name="connsiteY3" fmla="*/ 52826 h 396366"/>
                  <a:gd name="connsiteX4" fmla="*/ 105718 w 105717"/>
                  <a:gd name="connsiteY4" fmla="*/ 346884 h 396366"/>
                  <a:gd name="connsiteX5" fmla="*/ 80606 w 105717"/>
                  <a:gd name="connsiteY5" fmla="*/ 388911 h 396366"/>
                  <a:gd name="connsiteX6" fmla="*/ 9238 w 105717"/>
                  <a:gd name="connsiteY6" fmla="*/ 371150 h 396366"/>
                  <a:gd name="connsiteX7" fmla="*/ 15484 w 105717"/>
                  <a:gd name="connsiteY7" fmla="*/ 309216 h 396366"/>
                  <a:gd name="connsiteX8" fmla="*/ 45019 w 105717"/>
                  <a:gd name="connsiteY8" fmla="*/ 277078 h 3963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05717" h="396366">
                    <a:moveTo>
                      <a:pt x="52891" y="105718"/>
                    </a:moveTo>
                    <a:cubicBezTo>
                      <a:pt x="23681" y="105718"/>
                      <a:pt x="0" y="82037"/>
                      <a:pt x="0" y="52891"/>
                    </a:cubicBezTo>
                    <a:cubicBezTo>
                      <a:pt x="0" y="23746"/>
                      <a:pt x="23681" y="0"/>
                      <a:pt x="52891" y="0"/>
                    </a:cubicBezTo>
                    <a:cubicBezTo>
                      <a:pt x="82102" y="0"/>
                      <a:pt x="105718" y="23681"/>
                      <a:pt x="105718" y="52826"/>
                    </a:cubicBezTo>
                    <a:lnTo>
                      <a:pt x="105718" y="346884"/>
                    </a:lnTo>
                    <a:cubicBezTo>
                      <a:pt x="105718" y="364580"/>
                      <a:pt x="96414" y="379413"/>
                      <a:pt x="80606" y="388911"/>
                    </a:cubicBezTo>
                    <a:cubicBezTo>
                      <a:pt x="55949" y="403744"/>
                      <a:pt x="24006" y="395742"/>
                      <a:pt x="9238" y="371150"/>
                    </a:cubicBezTo>
                    <a:cubicBezTo>
                      <a:pt x="-2928" y="350918"/>
                      <a:pt x="260" y="325741"/>
                      <a:pt x="15484" y="309216"/>
                    </a:cubicBezTo>
                    <a:lnTo>
                      <a:pt x="45019" y="277078"/>
                    </a:lnTo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72" name="Forma livre: Forma 171">
                <a:extLst>
                  <a:ext uri="{FF2B5EF4-FFF2-40B4-BE49-F238E27FC236}">
                    <a16:creationId xmlns:a16="http://schemas.microsoft.com/office/drawing/2014/main" id="{E7C54E5E-CD93-6757-7AD4-6236578B88AC}"/>
                  </a:ext>
                </a:extLst>
              </p:cNvPr>
              <p:cNvSpPr/>
              <p:nvPr/>
            </p:nvSpPr>
            <p:spPr>
              <a:xfrm>
                <a:off x="6144784" y="1383865"/>
                <a:ext cx="41563" cy="38963"/>
              </a:xfrm>
              <a:custGeom>
                <a:avLst/>
                <a:gdLst>
                  <a:gd name="connsiteX0" fmla="*/ 36172 w 41563"/>
                  <a:gd name="connsiteY0" fmla="*/ 0 h 38963"/>
                  <a:gd name="connsiteX1" fmla="*/ 39425 w 41563"/>
                  <a:gd name="connsiteY1" fmla="*/ 24266 h 38963"/>
                  <a:gd name="connsiteX2" fmla="*/ 36432 w 41563"/>
                  <a:gd name="connsiteY2" fmla="*/ 29080 h 38963"/>
                  <a:gd name="connsiteX3" fmla="*/ 0 w 41563"/>
                  <a:gd name="connsiteY3" fmla="*/ 33439 h 389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563" h="38963">
                    <a:moveTo>
                      <a:pt x="36172" y="0"/>
                    </a:moveTo>
                    <a:cubicBezTo>
                      <a:pt x="41571" y="7547"/>
                      <a:pt x="43393" y="16004"/>
                      <a:pt x="39425" y="24266"/>
                    </a:cubicBezTo>
                    <a:cubicBezTo>
                      <a:pt x="38644" y="25893"/>
                      <a:pt x="37603" y="27519"/>
                      <a:pt x="36432" y="29080"/>
                    </a:cubicBezTo>
                    <a:cubicBezTo>
                      <a:pt x="27584" y="40270"/>
                      <a:pt x="11190" y="42287"/>
                      <a:pt x="0" y="33439"/>
                    </a:cubicBezTo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73" name="Forma livre: Forma 172">
                <a:extLst>
                  <a:ext uri="{FF2B5EF4-FFF2-40B4-BE49-F238E27FC236}">
                    <a16:creationId xmlns:a16="http://schemas.microsoft.com/office/drawing/2014/main" id="{B7E5C3A6-7F5C-BCFE-EC12-981ACF475730}"/>
                  </a:ext>
                </a:extLst>
              </p:cNvPr>
              <p:cNvSpPr/>
              <p:nvPr/>
            </p:nvSpPr>
            <p:spPr>
              <a:xfrm>
                <a:off x="6081487" y="1460806"/>
                <a:ext cx="34217" cy="54474"/>
              </a:xfrm>
              <a:custGeom>
                <a:avLst/>
                <a:gdLst>
                  <a:gd name="connsiteX0" fmla="*/ 21076 w 34217"/>
                  <a:gd name="connsiteY0" fmla="*/ 54475 h 54474"/>
                  <a:gd name="connsiteX1" fmla="*/ 778 w 34217"/>
                  <a:gd name="connsiteY1" fmla="*/ 21035 h 54474"/>
                  <a:gd name="connsiteX2" fmla="*/ 34217 w 34217"/>
                  <a:gd name="connsiteY2" fmla="*/ 803 h 544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4217" h="54474">
                    <a:moveTo>
                      <a:pt x="21076" y="54475"/>
                    </a:moveTo>
                    <a:cubicBezTo>
                      <a:pt x="6308" y="50832"/>
                      <a:pt x="-2800" y="35803"/>
                      <a:pt x="778" y="21035"/>
                    </a:cubicBezTo>
                    <a:cubicBezTo>
                      <a:pt x="4421" y="6267"/>
                      <a:pt x="19449" y="-2841"/>
                      <a:pt x="34217" y="803"/>
                    </a:cubicBezTo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74" name="Forma livre: Forma 173">
                <a:extLst>
                  <a:ext uri="{FF2B5EF4-FFF2-40B4-BE49-F238E27FC236}">
                    <a16:creationId xmlns:a16="http://schemas.microsoft.com/office/drawing/2014/main" id="{D498960D-BBF5-ED80-1405-1B9C406B7EF9}"/>
                  </a:ext>
                </a:extLst>
              </p:cNvPr>
              <p:cNvSpPr/>
              <p:nvPr/>
            </p:nvSpPr>
            <p:spPr>
              <a:xfrm>
                <a:off x="6073547" y="1527543"/>
                <a:ext cx="114760" cy="72506"/>
              </a:xfrm>
              <a:custGeom>
                <a:avLst/>
                <a:gdLst>
                  <a:gd name="connsiteX0" fmla="*/ 114760 w 114760"/>
                  <a:gd name="connsiteY0" fmla="*/ 7254 h 72506"/>
                  <a:gd name="connsiteX1" fmla="*/ 73905 w 114760"/>
                  <a:gd name="connsiteY1" fmla="*/ 8881 h 72506"/>
                  <a:gd name="connsiteX2" fmla="*/ 0 w 114760"/>
                  <a:gd name="connsiteY2" fmla="*/ 72506 h 725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14760" h="72506">
                    <a:moveTo>
                      <a:pt x="114760" y="7254"/>
                    </a:moveTo>
                    <a:cubicBezTo>
                      <a:pt x="103375" y="-2830"/>
                      <a:pt x="83989" y="-2504"/>
                      <a:pt x="73905" y="8881"/>
                    </a:cubicBezTo>
                    <a:cubicBezTo>
                      <a:pt x="73905" y="8881"/>
                      <a:pt x="31488" y="72506"/>
                      <a:pt x="0" y="72506"/>
                    </a:cubicBezTo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75" name="Forma livre: Forma 174">
                <a:extLst>
                  <a:ext uri="{FF2B5EF4-FFF2-40B4-BE49-F238E27FC236}">
                    <a16:creationId xmlns:a16="http://schemas.microsoft.com/office/drawing/2014/main" id="{8DEC5CB7-546F-B556-CCDE-E21EEC8312F7}"/>
                  </a:ext>
                </a:extLst>
              </p:cNvPr>
              <p:cNvSpPr/>
              <p:nvPr/>
            </p:nvSpPr>
            <p:spPr>
              <a:xfrm>
                <a:off x="6079857" y="1646956"/>
                <a:ext cx="29405" cy="9823"/>
              </a:xfrm>
              <a:custGeom>
                <a:avLst/>
                <a:gdLst>
                  <a:gd name="connsiteX0" fmla="*/ 0 w 29405"/>
                  <a:gd name="connsiteY0" fmla="*/ 0 h 9823"/>
                  <a:gd name="connsiteX1" fmla="*/ 29406 w 29405"/>
                  <a:gd name="connsiteY1" fmla="*/ 9824 h 98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9405" h="9823">
                    <a:moveTo>
                      <a:pt x="0" y="0"/>
                    </a:moveTo>
                    <a:lnTo>
                      <a:pt x="29406" y="9824"/>
                    </a:lnTo>
                  </a:path>
                </a:pathLst>
              </a:custGeom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76" name="Forma livre: Forma 175">
                <a:extLst>
                  <a:ext uri="{FF2B5EF4-FFF2-40B4-BE49-F238E27FC236}">
                    <a16:creationId xmlns:a16="http://schemas.microsoft.com/office/drawing/2014/main" id="{08828CE4-063F-1C77-705F-655377B0193C}"/>
                  </a:ext>
                </a:extLst>
              </p:cNvPr>
              <p:cNvSpPr/>
              <p:nvPr/>
            </p:nvSpPr>
            <p:spPr>
              <a:xfrm>
                <a:off x="6061121" y="1545272"/>
                <a:ext cx="47166" cy="34154"/>
              </a:xfrm>
              <a:custGeom>
                <a:avLst/>
                <a:gdLst>
                  <a:gd name="connsiteX0" fmla="*/ 0 w 47166"/>
                  <a:gd name="connsiteY0" fmla="*/ 0 h 34154"/>
                  <a:gd name="connsiteX1" fmla="*/ 47166 w 47166"/>
                  <a:gd name="connsiteY1" fmla="*/ 34155 h 341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166" h="34154">
                    <a:moveTo>
                      <a:pt x="0" y="0"/>
                    </a:moveTo>
                    <a:cubicBezTo>
                      <a:pt x="0" y="0"/>
                      <a:pt x="27649" y="13011"/>
                      <a:pt x="47166" y="34155"/>
                    </a:cubicBezTo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57" name="Gráfico 32">
              <a:extLst>
                <a:ext uri="{FF2B5EF4-FFF2-40B4-BE49-F238E27FC236}">
                  <a16:creationId xmlns:a16="http://schemas.microsoft.com/office/drawing/2014/main" id="{0E03F77A-C608-B55D-A4FC-C866162EDF81}"/>
                </a:ext>
              </a:extLst>
            </p:cNvPr>
            <p:cNvGrpSpPr/>
            <p:nvPr/>
          </p:nvGrpSpPr>
          <p:grpSpPr>
            <a:xfrm>
              <a:off x="6191625" y="1599725"/>
              <a:ext cx="173767" cy="157112"/>
              <a:chOff x="6191625" y="1599725"/>
              <a:chExt cx="173767" cy="157112"/>
            </a:xfrm>
            <a:noFill/>
          </p:grpSpPr>
          <p:sp>
            <p:nvSpPr>
              <p:cNvPr id="167" name="Forma livre: Forma 166">
                <a:extLst>
                  <a:ext uri="{FF2B5EF4-FFF2-40B4-BE49-F238E27FC236}">
                    <a16:creationId xmlns:a16="http://schemas.microsoft.com/office/drawing/2014/main" id="{FDBA16B6-36E5-AB08-B48C-8D00AB6872D1}"/>
                  </a:ext>
                </a:extLst>
              </p:cNvPr>
              <p:cNvSpPr/>
              <p:nvPr/>
            </p:nvSpPr>
            <p:spPr>
              <a:xfrm>
                <a:off x="6310094" y="1621974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68" name="Forma livre: Forma 167">
                <a:extLst>
                  <a:ext uri="{FF2B5EF4-FFF2-40B4-BE49-F238E27FC236}">
                    <a16:creationId xmlns:a16="http://schemas.microsoft.com/office/drawing/2014/main" id="{890B5AFC-7171-CDD3-0403-4C8AE0FE564C}"/>
                  </a:ext>
                </a:extLst>
              </p:cNvPr>
              <p:cNvSpPr/>
              <p:nvPr/>
            </p:nvSpPr>
            <p:spPr>
              <a:xfrm>
                <a:off x="6191625" y="1599725"/>
                <a:ext cx="118078" cy="49898"/>
              </a:xfrm>
              <a:custGeom>
                <a:avLst/>
                <a:gdLst>
                  <a:gd name="connsiteX0" fmla="*/ 0 w 118078"/>
                  <a:gd name="connsiteY0" fmla="*/ 0 h 49898"/>
                  <a:gd name="connsiteX1" fmla="*/ 37343 w 118078"/>
                  <a:gd name="connsiteY1" fmla="*/ 0 h 49898"/>
                  <a:gd name="connsiteX2" fmla="*/ 87176 w 118078"/>
                  <a:gd name="connsiteY2" fmla="*/ 49899 h 49898"/>
                  <a:gd name="connsiteX3" fmla="*/ 118078 w 118078"/>
                  <a:gd name="connsiteY3" fmla="*/ 49899 h 49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8078" h="49898">
                    <a:moveTo>
                      <a:pt x="0" y="0"/>
                    </a:moveTo>
                    <a:lnTo>
                      <a:pt x="37343" y="0"/>
                    </a:lnTo>
                    <a:lnTo>
                      <a:pt x="87176" y="49899"/>
                    </a:lnTo>
                    <a:lnTo>
                      <a:pt x="118078" y="49899"/>
                    </a:lnTo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69" name="Forma livre: Forma 168">
                <a:extLst>
                  <a:ext uri="{FF2B5EF4-FFF2-40B4-BE49-F238E27FC236}">
                    <a16:creationId xmlns:a16="http://schemas.microsoft.com/office/drawing/2014/main" id="{EF592FF8-7769-2B77-B443-1256440EE263}"/>
                  </a:ext>
                </a:extLst>
              </p:cNvPr>
              <p:cNvSpPr/>
              <p:nvPr/>
            </p:nvSpPr>
            <p:spPr>
              <a:xfrm>
                <a:off x="6191625" y="1665367"/>
                <a:ext cx="81906" cy="44108"/>
              </a:xfrm>
              <a:custGeom>
                <a:avLst/>
                <a:gdLst>
                  <a:gd name="connsiteX0" fmla="*/ 0 w 81906"/>
                  <a:gd name="connsiteY0" fmla="*/ 0 h 44108"/>
                  <a:gd name="connsiteX1" fmla="*/ 37343 w 81906"/>
                  <a:gd name="connsiteY1" fmla="*/ 0 h 44108"/>
                  <a:gd name="connsiteX2" fmla="*/ 81907 w 81906"/>
                  <a:gd name="connsiteY2" fmla="*/ 44109 h 441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1906" h="44108">
                    <a:moveTo>
                      <a:pt x="0" y="0"/>
                    </a:moveTo>
                    <a:lnTo>
                      <a:pt x="37343" y="0"/>
                    </a:lnTo>
                    <a:lnTo>
                      <a:pt x="81907" y="44109"/>
                    </a:lnTo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70" name="Forma livre: Forma 169">
                <a:extLst>
                  <a:ext uri="{FF2B5EF4-FFF2-40B4-BE49-F238E27FC236}">
                    <a16:creationId xmlns:a16="http://schemas.microsoft.com/office/drawing/2014/main" id="{2EE1D2DD-F0D1-C862-6F53-3DF7556A9FBD}"/>
                  </a:ext>
                </a:extLst>
              </p:cNvPr>
              <p:cNvSpPr/>
              <p:nvPr/>
            </p:nvSpPr>
            <p:spPr>
              <a:xfrm>
                <a:off x="6265075" y="1701539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58" name="Gráfico 32">
              <a:extLst>
                <a:ext uri="{FF2B5EF4-FFF2-40B4-BE49-F238E27FC236}">
                  <a16:creationId xmlns:a16="http://schemas.microsoft.com/office/drawing/2014/main" id="{100EAC1F-EB1D-D00F-A144-CCED758B4AD1}"/>
                </a:ext>
              </a:extLst>
            </p:cNvPr>
            <p:cNvGrpSpPr/>
            <p:nvPr/>
          </p:nvGrpSpPr>
          <p:grpSpPr>
            <a:xfrm>
              <a:off x="6191625" y="1357908"/>
              <a:ext cx="173767" cy="157112"/>
              <a:chOff x="6191625" y="1357908"/>
              <a:chExt cx="173767" cy="157112"/>
            </a:xfrm>
            <a:noFill/>
          </p:grpSpPr>
          <p:sp>
            <p:nvSpPr>
              <p:cNvPr id="163" name="Forma livre: Forma 162">
                <a:extLst>
                  <a:ext uri="{FF2B5EF4-FFF2-40B4-BE49-F238E27FC236}">
                    <a16:creationId xmlns:a16="http://schemas.microsoft.com/office/drawing/2014/main" id="{D38F8951-EF65-48C3-7AF4-565CF03D98EA}"/>
                  </a:ext>
                </a:extLst>
              </p:cNvPr>
              <p:cNvSpPr/>
              <p:nvPr/>
            </p:nvSpPr>
            <p:spPr>
              <a:xfrm>
                <a:off x="6310094" y="1437472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0 h 55298"/>
                  <a:gd name="connsiteX2" fmla="*/ 0 w 55298"/>
                  <a:gd name="connsiteY2" fmla="*/ 27649 h 55298"/>
                  <a:gd name="connsiteX3" fmla="*/ 27649 w 55298"/>
                  <a:gd name="connsiteY3" fmla="*/ 55298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12361"/>
                      <a:pt x="42938" y="0"/>
                      <a:pt x="27649" y="0"/>
                    </a:cubicBezTo>
                    <a:cubicBezTo>
                      <a:pt x="12361" y="0"/>
                      <a:pt x="0" y="12361"/>
                      <a:pt x="0" y="27649"/>
                    </a:cubicBezTo>
                    <a:cubicBezTo>
                      <a:pt x="0" y="42938"/>
                      <a:pt x="12361" y="55298"/>
                      <a:pt x="27649" y="55298"/>
                    </a:cubicBezTo>
                    <a:cubicBezTo>
                      <a:pt x="42938" y="55298"/>
                      <a:pt x="55298" y="42938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64" name="Forma livre: Forma 163">
                <a:extLst>
                  <a:ext uri="{FF2B5EF4-FFF2-40B4-BE49-F238E27FC236}">
                    <a16:creationId xmlns:a16="http://schemas.microsoft.com/office/drawing/2014/main" id="{036ADA17-2E5C-FCF1-CCB2-D68528B48E85}"/>
                  </a:ext>
                </a:extLst>
              </p:cNvPr>
              <p:cNvSpPr/>
              <p:nvPr/>
            </p:nvSpPr>
            <p:spPr>
              <a:xfrm>
                <a:off x="6191625" y="1465122"/>
                <a:ext cx="118468" cy="49898"/>
              </a:xfrm>
              <a:custGeom>
                <a:avLst/>
                <a:gdLst>
                  <a:gd name="connsiteX0" fmla="*/ 0 w 118468"/>
                  <a:gd name="connsiteY0" fmla="*/ 49899 h 49898"/>
                  <a:gd name="connsiteX1" fmla="*/ 37343 w 118468"/>
                  <a:gd name="connsiteY1" fmla="*/ 49899 h 49898"/>
                  <a:gd name="connsiteX2" fmla="*/ 87176 w 118468"/>
                  <a:gd name="connsiteY2" fmla="*/ 0 h 49898"/>
                  <a:gd name="connsiteX3" fmla="*/ 118469 w 118468"/>
                  <a:gd name="connsiteY3" fmla="*/ 0 h 49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8468" h="49898">
                    <a:moveTo>
                      <a:pt x="0" y="49899"/>
                    </a:moveTo>
                    <a:lnTo>
                      <a:pt x="37343" y="49899"/>
                    </a:lnTo>
                    <a:lnTo>
                      <a:pt x="87176" y="0"/>
                    </a:lnTo>
                    <a:lnTo>
                      <a:pt x="118469" y="0"/>
                    </a:lnTo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65" name="Forma livre: Forma 164">
                <a:extLst>
                  <a:ext uri="{FF2B5EF4-FFF2-40B4-BE49-F238E27FC236}">
                    <a16:creationId xmlns:a16="http://schemas.microsoft.com/office/drawing/2014/main" id="{8A2472D1-CD84-2621-661D-CBA5A6E03355}"/>
                  </a:ext>
                </a:extLst>
              </p:cNvPr>
              <p:cNvSpPr/>
              <p:nvPr/>
            </p:nvSpPr>
            <p:spPr>
              <a:xfrm>
                <a:off x="6191625" y="1405269"/>
                <a:ext cx="81451" cy="44043"/>
              </a:xfrm>
              <a:custGeom>
                <a:avLst/>
                <a:gdLst>
                  <a:gd name="connsiteX0" fmla="*/ 0 w 81451"/>
                  <a:gd name="connsiteY0" fmla="*/ 44044 h 44043"/>
                  <a:gd name="connsiteX1" fmla="*/ 37343 w 81451"/>
                  <a:gd name="connsiteY1" fmla="*/ 44044 h 44043"/>
                  <a:gd name="connsiteX2" fmla="*/ 81451 w 81451"/>
                  <a:gd name="connsiteY2" fmla="*/ 0 h 440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1451" h="44043">
                    <a:moveTo>
                      <a:pt x="0" y="44044"/>
                    </a:moveTo>
                    <a:lnTo>
                      <a:pt x="37343" y="44044"/>
                    </a:lnTo>
                    <a:lnTo>
                      <a:pt x="81451" y="0"/>
                    </a:lnTo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66" name="Forma livre: Forma 165">
                <a:extLst>
                  <a:ext uri="{FF2B5EF4-FFF2-40B4-BE49-F238E27FC236}">
                    <a16:creationId xmlns:a16="http://schemas.microsoft.com/office/drawing/2014/main" id="{C5F662DF-28B6-A212-000B-AF410A91FB54}"/>
                  </a:ext>
                </a:extLst>
              </p:cNvPr>
              <p:cNvSpPr/>
              <p:nvPr/>
            </p:nvSpPr>
            <p:spPr>
              <a:xfrm>
                <a:off x="6265075" y="1357908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0 h 55298"/>
                  <a:gd name="connsiteX2" fmla="*/ 0 w 55298"/>
                  <a:gd name="connsiteY2" fmla="*/ 27649 h 55298"/>
                  <a:gd name="connsiteX3" fmla="*/ 27649 w 55298"/>
                  <a:gd name="connsiteY3" fmla="*/ 55298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12361"/>
                      <a:pt x="42938" y="0"/>
                      <a:pt x="27649" y="0"/>
                    </a:cubicBezTo>
                    <a:cubicBezTo>
                      <a:pt x="12361" y="0"/>
                      <a:pt x="0" y="12361"/>
                      <a:pt x="0" y="27649"/>
                    </a:cubicBezTo>
                    <a:cubicBezTo>
                      <a:pt x="0" y="42938"/>
                      <a:pt x="12361" y="55298"/>
                      <a:pt x="27649" y="55298"/>
                    </a:cubicBezTo>
                    <a:cubicBezTo>
                      <a:pt x="42938" y="55298"/>
                      <a:pt x="55298" y="42938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59" name="Gráfico 32">
              <a:extLst>
                <a:ext uri="{FF2B5EF4-FFF2-40B4-BE49-F238E27FC236}">
                  <a16:creationId xmlns:a16="http://schemas.microsoft.com/office/drawing/2014/main" id="{FE018BD3-B9BB-5E87-4574-4815A4595563}"/>
                </a:ext>
              </a:extLst>
            </p:cNvPr>
            <p:cNvGrpSpPr/>
            <p:nvPr/>
          </p:nvGrpSpPr>
          <p:grpSpPr>
            <a:xfrm>
              <a:off x="6190910" y="1529723"/>
              <a:ext cx="123673" cy="55298"/>
              <a:chOff x="6190910" y="1529723"/>
              <a:chExt cx="123673" cy="55298"/>
            </a:xfrm>
            <a:noFill/>
          </p:grpSpPr>
          <p:sp>
            <p:nvSpPr>
              <p:cNvPr id="161" name="Forma livre: Forma 160">
                <a:extLst>
                  <a:ext uri="{FF2B5EF4-FFF2-40B4-BE49-F238E27FC236}">
                    <a16:creationId xmlns:a16="http://schemas.microsoft.com/office/drawing/2014/main" id="{B3A88829-A1EB-7854-94B7-64B280D9725D}"/>
                  </a:ext>
                </a:extLst>
              </p:cNvPr>
              <p:cNvSpPr/>
              <p:nvPr/>
            </p:nvSpPr>
            <p:spPr>
              <a:xfrm>
                <a:off x="6190910" y="1557372"/>
                <a:ext cx="68765" cy="6505"/>
              </a:xfrm>
              <a:custGeom>
                <a:avLst/>
                <a:gdLst>
                  <a:gd name="connsiteX0" fmla="*/ 0 w 68765"/>
                  <a:gd name="connsiteY0" fmla="*/ 0 h 6505"/>
                  <a:gd name="connsiteX1" fmla="*/ 68765 w 68765"/>
                  <a:gd name="connsiteY1" fmla="*/ 0 h 65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8765" h="6505">
                    <a:moveTo>
                      <a:pt x="0" y="0"/>
                    </a:moveTo>
                    <a:lnTo>
                      <a:pt x="68765" y="0"/>
                    </a:lnTo>
                  </a:path>
                </a:pathLst>
              </a:custGeom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62" name="Forma livre: Forma 161">
                <a:extLst>
                  <a:ext uri="{FF2B5EF4-FFF2-40B4-BE49-F238E27FC236}">
                    <a16:creationId xmlns:a16="http://schemas.microsoft.com/office/drawing/2014/main" id="{D8417B81-D396-DB4F-5E25-446D9C6C3D8F}"/>
                  </a:ext>
                </a:extLst>
              </p:cNvPr>
              <p:cNvSpPr/>
              <p:nvPr/>
            </p:nvSpPr>
            <p:spPr>
              <a:xfrm>
                <a:off x="6259285" y="1529723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60" name="Forma livre: Forma 159">
              <a:extLst>
                <a:ext uri="{FF2B5EF4-FFF2-40B4-BE49-F238E27FC236}">
                  <a16:creationId xmlns:a16="http://schemas.microsoft.com/office/drawing/2014/main" id="{E990CE21-9E5F-203D-B23B-3F212D50A1D7}"/>
                </a:ext>
              </a:extLst>
            </p:cNvPr>
            <p:cNvSpPr/>
            <p:nvPr/>
          </p:nvSpPr>
          <p:spPr>
            <a:xfrm>
              <a:off x="6152201" y="1686285"/>
              <a:ext cx="37362" cy="20848"/>
            </a:xfrm>
            <a:custGeom>
              <a:avLst/>
              <a:gdLst>
                <a:gd name="connsiteX0" fmla="*/ 0 w 37362"/>
                <a:gd name="connsiteY0" fmla="*/ 10505 h 20848"/>
                <a:gd name="connsiteX1" fmla="*/ 27064 w 37362"/>
                <a:gd name="connsiteY1" fmla="*/ 2373 h 20848"/>
                <a:gd name="connsiteX2" fmla="*/ 37343 w 37362"/>
                <a:gd name="connsiteY2" fmla="*/ 20849 h 20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7362" h="20848">
                  <a:moveTo>
                    <a:pt x="0" y="10505"/>
                  </a:moveTo>
                  <a:cubicBezTo>
                    <a:pt x="5205" y="811"/>
                    <a:pt x="17435" y="-2832"/>
                    <a:pt x="27064" y="2373"/>
                  </a:cubicBezTo>
                  <a:cubicBezTo>
                    <a:pt x="34025" y="6081"/>
                    <a:pt x="37668" y="13432"/>
                    <a:pt x="37343" y="20849"/>
                  </a:cubicBezTo>
                </a:path>
              </a:pathLst>
            </a:custGeom>
            <a:noFill/>
            <a:ln w="19050" cap="sq">
              <a:solidFill>
                <a:schemeClr val="accent2"/>
              </a:solidFill>
              <a:prstDash val="solid"/>
              <a:miter lim="800000"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77" name="Agrupar 176">
            <a:extLst>
              <a:ext uri="{FF2B5EF4-FFF2-40B4-BE49-F238E27FC236}">
                <a16:creationId xmlns:a16="http://schemas.microsoft.com/office/drawing/2014/main" id="{A1ED0A3C-9FF8-EF15-8E32-65AA1395ECEE}"/>
              </a:ext>
            </a:extLst>
          </p:cNvPr>
          <p:cNvGrpSpPr/>
          <p:nvPr/>
        </p:nvGrpSpPr>
        <p:grpSpPr>
          <a:xfrm>
            <a:off x="6263956" y="3976845"/>
            <a:ext cx="387471" cy="423140"/>
            <a:chOff x="6000092" y="1357908"/>
            <a:chExt cx="365300" cy="398929"/>
          </a:xfrm>
        </p:grpSpPr>
        <p:sp>
          <p:nvSpPr>
            <p:cNvPr id="178" name="Forma livre: Forma 177">
              <a:extLst>
                <a:ext uri="{FF2B5EF4-FFF2-40B4-BE49-F238E27FC236}">
                  <a16:creationId xmlns:a16="http://schemas.microsoft.com/office/drawing/2014/main" id="{38C14566-83E6-4083-E0A0-14BCB5368026}"/>
                </a:ext>
              </a:extLst>
            </p:cNvPr>
            <p:cNvSpPr/>
            <p:nvPr/>
          </p:nvSpPr>
          <p:spPr>
            <a:xfrm>
              <a:off x="6000092" y="1418606"/>
              <a:ext cx="84058" cy="286120"/>
            </a:xfrm>
            <a:custGeom>
              <a:avLst/>
              <a:gdLst>
                <a:gd name="connsiteX0" fmla="*/ 51595 w 84058"/>
                <a:gd name="connsiteY0" fmla="*/ 0 h 286120"/>
                <a:gd name="connsiteX1" fmla="*/ 35266 w 84058"/>
                <a:gd name="connsiteY1" fmla="*/ 61674 h 286120"/>
                <a:gd name="connsiteX2" fmla="*/ 28760 w 84058"/>
                <a:gd name="connsiteY2" fmla="*/ 193415 h 286120"/>
                <a:gd name="connsiteX3" fmla="*/ 84059 w 84058"/>
                <a:gd name="connsiteY3" fmla="*/ 286121 h 2861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4058" h="286120">
                  <a:moveTo>
                    <a:pt x="51595" y="0"/>
                  </a:moveTo>
                  <a:cubicBezTo>
                    <a:pt x="37868" y="7872"/>
                    <a:pt x="26028" y="24852"/>
                    <a:pt x="35266" y="61674"/>
                  </a:cubicBezTo>
                  <a:cubicBezTo>
                    <a:pt x="35266" y="61674"/>
                    <a:pt x="-39549" y="126731"/>
                    <a:pt x="28760" y="193415"/>
                  </a:cubicBezTo>
                  <a:cubicBezTo>
                    <a:pt x="28760" y="193415"/>
                    <a:pt x="9243" y="281242"/>
                    <a:pt x="84059" y="286121"/>
                  </a:cubicBezTo>
                </a:path>
              </a:pathLst>
            </a:custGeom>
            <a:noFill/>
            <a:ln w="19050" cap="sq">
              <a:solidFill>
                <a:schemeClr val="accent2"/>
              </a:solidFill>
              <a:prstDash val="solid"/>
              <a:miter lim="800000"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79" name="Gráfico 32">
              <a:extLst>
                <a:ext uri="{FF2B5EF4-FFF2-40B4-BE49-F238E27FC236}">
                  <a16:creationId xmlns:a16="http://schemas.microsoft.com/office/drawing/2014/main" id="{ACEFA4A4-EECE-4FF1-217F-C96EFB45706C}"/>
                </a:ext>
              </a:extLst>
            </p:cNvPr>
            <p:cNvGrpSpPr/>
            <p:nvPr/>
          </p:nvGrpSpPr>
          <p:grpSpPr>
            <a:xfrm>
              <a:off x="6061121" y="1359924"/>
              <a:ext cx="128487" cy="396366"/>
              <a:chOff x="6061121" y="1359924"/>
              <a:chExt cx="128487" cy="396366"/>
            </a:xfrm>
            <a:noFill/>
          </p:grpSpPr>
          <p:sp>
            <p:nvSpPr>
              <p:cNvPr id="194" name="Forma livre: Forma 193">
                <a:extLst>
                  <a:ext uri="{FF2B5EF4-FFF2-40B4-BE49-F238E27FC236}">
                    <a16:creationId xmlns:a16="http://schemas.microsoft.com/office/drawing/2014/main" id="{36F942B0-57AF-2877-573D-939EF50AEA40}"/>
                  </a:ext>
                </a:extLst>
              </p:cNvPr>
              <p:cNvSpPr/>
              <p:nvPr/>
            </p:nvSpPr>
            <p:spPr>
              <a:xfrm>
                <a:off x="6083891" y="1359924"/>
                <a:ext cx="105717" cy="396366"/>
              </a:xfrm>
              <a:custGeom>
                <a:avLst/>
                <a:gdLst>
                  <a:gd name="connsiteX0" fmla="*/ 52891 w 105717"/>
                  <a:gd name="connsiteY0" fmla="*/ 105718 h 396366"/>
                  <a:gd name="connsiteX1" fmla="*/ 0 w 105717"/>
                  <a:gd name="connsiteY1" fmla="*/ 52891 h 396366"/>
                  <a:gd name="connsiteX2" fmla="*/ 52891 w 105717"/>
                  <a:gd name="connsiteY2" fmla="*/ 0 h 396366"/>
                  <a:gd name="connsiteX3" fmla="*/ 105718 w 105717"/>
                  <a:gd name="connsiteY3" fmla="*/ 52826 h 396366"/>
                  <a:gd name="connsiteX4" fmla="*/ 105718 w 105717"/>
                  <a:gd name="connsiteY4" fmla="*/ 346884 h 396366"/>
                  <a:gd name="connsiteX5" fmla="*/ 80606 w 105717"/>
                  <a:gd name="connsiteY5" fmla="*/ 388911 h 396366"/>
                  <a:gd name="connsiteX6" fmla="*/ 9238 w 105717"/>
                  <a:gd name="connsiteY6" fmla="*/ 371150 h 396366"/>
                  <a:gd name="connsiteX7" fmla="*/ 15484 w 105717"/>
                  <a:gd name="connsiteY7" fmla="*/ 309216 h 396366"/>
                  <a:gd name="connsiteX8" fmla="*/ 45019 w 105717"/>
                  <a:gd name="connsiteY8" fmla="*/ 277078 h 3963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05717" h="396366">
                    <a:moveTo>
                      <a:pt x="52891" y="105718"/>
                    </a:moveTo>
                    <a:cubicBezTo>
                      <a:pt x="23681" y="105718"/>
                      <a:pt x="0" y="82037"/>
                      <a:pt x="0" y="52891"/>
                    </a:cubicBezTo>
                    <a:cubicBezTo>
                      <a:pt x="0" y="23746"/>
                      <a:pt x="23681" y="0"/>
                      <a:pt x="52891" y="0"/>
                    </a:cubicBezTo>
                    <a:cubicBezTo>
                      <a:pt x="82102" y="0"/>
                      <a:pt x="105718" y="23681"/>
                      <a:pt x="105718" y="52826"/>
                    </a:cubicBezTo>
                    <a:lnTo>
                      <a:pt x="105718" y="346884"/>
                    </a:lnTo>
                    <a:cubicBezTo>
                      <a:pt x="105718" y="364580"/>
                      <a:pt x="96414" y="379413"/>
                      <a:pt x="80606" y="388911"/>
                    </a:cubicBezTo>
                    <a:cubicBezTo>
                      <a:pt x="55949" y="403744"/>
                      <a:pt x="24006" y="395742"/>
                      <a:pt x="9238" y="371150"/>
                    </a:cubicBezTo>
                    <a:cubicBezTo>
                      <a:pt x="-2928" y="350918"/>
                      <a:pt x="260" y="325741"/>
                      <a:pt x="15484" y="309216"/>
                    </a:cubicBezTo>
                    <a:lnTo>
                      <a:pt x="45019" y="277078"/>
                    </a:lnTo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95" name="Forma livre: Forma 194">
                <a:extLst>
                  <a:ext uri="{FF2B5EF4-FFF2-40B4-BE49-F238E27FC236}">
                    <a16:creationId xmlns:a16="http://schemas.microsoft.com/office/drawing/2014/main" id="{3973EC5E-16E1-0F78-DD8B-1FBD9EB397A1}"/>
                  </a:ext>
                </a:extLst>
              </p:cNvPr>
              <p:cNvSpPr/>
              <p:nvPr/>
            </p:nvSpPr>
            <p:spPr>
              <a:xfrm>
                <a:off x="6144784" y="1383865"/>
                <a:ext cx="41563" cy="38963"/>
              </a:xfrm>
              <a:custGeom>
                <a:avLst/>
                <a:gdLst>
                  <a:gd name="connsiteX0" fmla="*/ 36172 w 41563"/>
                  <a:gd name="connsiteY0" fmla="*/ 0 h 38963"/>
                  <a:gd name="connsiteX1" fmla="*/ 39425 w 41563"/>
                  <a:gd name="connsiteY1" fmla="*/ 24266 h 38963"/>
                  <a:gd name="connsiteX2" fmla="*/ 36432 w 41563"/>
                  <a:gd name="connsiteY2" fmla="*/ 29080 h 38963"/>
                  <a:gd name="connsiteX3" fmla="*/ 0 w 41563"/>
                  <a:gd name="connsiteY3" fmla="*/ 33439 h 389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563" h="38963">
                    <a:moveTo>
                      <a:pt x="36172" y="0"/>
                    </a:moveTo>
                    <a:cubicBezTo>
                      <a:pt x="41571" y="7547"/>
                      <a:pt x="43393" y="16004"/>
                      <a:pt x="39425" y="24266"/>
                    </a:cubicBezTo>
                    <a:cubicBezTo>
                      <a:pt x="38644" y="25893"/>
                      <a:pt x="37603" y="27519"/>
                      <a:pt x="36432" y="29080"/>
                    </a:cubicBezTo>
                    <a:cubicBezTo>
                      <a:pt x="27584" y="40270"/>
                      <a:pt x="11190" y="42287"/>
                      <a:pt x="0" y="33439"/>
                    </a:cubicBezTo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96" name="Forma livre: Forma 195">
                <a:extLst>
                  <a:ext uri="{FF2B5EF4-FFF2-40B4-BE49-F238E27FC236}">
                    <a16:creationId xmlns:a16="http://schemas.microsoft.com/office/drawing/2014/main" id="{FE219EEA-6ABA-8DBE-B82D-7649A02047D2}"/>
                  </a:ext>
                </a:extLst>
              </p:cNvPr>
              <p:cNvSpPr/>
              <p:nvPr/>
            </p:nvSpPr>
            <p:spPr>
              <a:xfrm>
                <a:off x="6081487" y="1460806"/>
                <a:ext cx="34217" cy="54474"/>
              </a:xfrm>
              <a:custGeom>
                <a:avLst/>
                <a:gdLst>
                  <a:gd name="connsiteX0" fmla="*/ 21076 w 34217"/>
                  <a:gd name="connsiteY0" fmla="*/ 54475 h 54474"/>
                  <a:gd name="connsiteX1" fmla="*/ 778 w 34217"/>
                  <a:gd name="connsiteY1" fmla="*/ 21035 h 54474"/>
                  <a:gd name="connsiteX2" fmla="*/ 34217 w 34217"/>
                  <a:gd name="connsiteY2" fmla="*/ 803 h 544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4217" h="54474">
                    <a:moveTo>
                      <a:pt x="21076" y="54475"/>
                    </a:moveTo>
                    <a:cubicBezTo>
                      <a:pt x="6308" y="50832"/>
                      <a:pt x="-2800" y="35803"/>
                      <a:pt x="778" y="21035"/>
                    </a:cubicBezTo>
                    <a:cubicBezTo>
                      <a:pt x="4421" y="6267"/>
                      <a:pt x="19449" y="-2841"/>
                      <a:pt x="34217" y="803"/>
                    </a:cubicBezTo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97" name="Forma livre: Forma 196">
                <a:extLst>
                  <a:ext uri="{FF2B5EF4-FFF2-40B4-BE49-F238E27FC236}">
                    <a16:creationId xmlns:a16="http://schemas.microsoft.com/office/drawing/2014/main" id="{F888859F-2AA5-ADB2-C07A-645264D90B30}"/>
                  </a:ext>
                </a:extLst>
              </p:cNvPr>
              <p:cNvSpPr/>
              <p:nvPr/>
            </p:nvSpPr>
            <p:spPr>
              <a:xfrm>
                <a:off x="6073547" y="1527543"/>
                <a:ext cx="114760" cy="72506"/>
              </a:xfrm>
              <a:custGeom>
                <a:avLst/>
                <a:gdLst>
                  <a:gd name="connsiteX0" fmla="*/ 114760 w 114760"/>
                  <a:gd name="connsiteY0" fmla="*/ 7254 h 72506"/>
                  <a:gd name="connsiteX1" fmla="*/ 73905 w 114760"/>
                  <a:gd name="connsiteY1" fmla="*/ 8881 h 72506"/>
                  <a:gd name="connsiteX2" fmla="*/ 0 w 114760"/>
                  <a:gd name="connsiteY2" fmla="*/ 72506 h 725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14760" h="72506">
                    <a:moveTo>
                      <a:pt x="114760" y="7254"/>
                    </a:moveTo>
                    <a:cubicBezTo>
                      <a:pt x="103375" y="-2830"/>
                      <a:pt x="83989" y="-2504"/>
                      <a:pt x="73905" y="8881"/>
                    </a:cubicBezTo>
                    <a:cubicBezTo>
                      <a:pt x="73905" y="8881"/>
                      <a:pt x="31488" y="72506"/>
                      <a:pt x="0" y="72506"/>
                    </a:cubicBezTo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98" name="Forma livre: Forma 197">
                <a:extLst>
                  <a:ext uri="{FF2B5EF4-FFF2-40B4-BE49-F238E27FC236}">
                    <a16:creationId xmlns:a16="http://schemas.microsoft.com/office/drawing/2014/main" id="{35B93F25-761A-9C96-56CC-A78C5E905F71}"/>
                  </a:ext>
                </a:extLst>
              </p:cNvPr>
              <p:cNvSpPr/>
              <p:nvPr/>
            </p:nvSpPr>
            <p:spPr>
              <a:xfrm>
                <a:off x="6079857" y="1646956"/>
                <a:ext cx="29405" cy="9823"/>
              </a:xfrm>
              <a:custGeom>
                <a:avLst/>
                <a:gdLst>
                  <a:gd name="connsiteX0" fmla="*/ 0 w 29405"/>
                  <a:gd name="connsiteY0" fmla="*/ 0 h 9823"/>
                  <a:gd name="connsiteX1" fmla="*/ 29406 w 29405"/>
                  <a:gd name="connsiteY1" fmla="*/ 9824 h 98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9405" h="9823">
                    <a:moveTo>
                      <a:pt x="0" y="0"/>
                    </a:moveTo>
                    <a:lnTo>
                      <a:pt x="29406" y="9824"/>
                    </a:lnTo>
                  </a:path>
                </a:pathLst>
              </a:custGeom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99" name="Forma livre: Forma 198">
                <a:extLst>
                  <a:ext uri="{FF2B5EF4-FFF2-40B4-BE49-F238E27FC236}">
                    <a16:creationId xmlns:a16="http://schemas.microsoft.com/office/drawing/2014/main" id="{7736E4A0-C9D3-45B0-BD37-8ACA14F85A80}"/>
                  </a:ext>
                </a:extLst>
              </p:cNvPr>
              <p:cNvSpPr/>
              <p:nvPr/>
            </p:nvSpPr>
            <p:spPr>
              <a:xfrm>
                <a:off x="6061121" y="1545272"/>
                <a:ext cx="47166" cy="34154"/>
              </a:xfrm>
              <a:custGeom>
                <a:avLst/>
                <a:gdLst>
                  <a:gd name="connsiteX0" fmla="*/ 0 w 47166"/>
                  <a:gd name="connsiteY0" fmla="*/ 0 h 34154"/>
                  <a:gd name="connsiteX1" fmla="*/ 47166 w 47166"/>
                  <a:gd name="connsiteY1" fmla="*/ 34155 h 341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166" h="34154">
                    <a:moveTo>
                      <a:pt x="0" y="0"/>
                    </a:moveTo>
                    <a:cubicBezTo>
                      <a:pt x="0" y="0"/>
                      <a:pt x="27649" y="13011"/>
                      <a:pt x="47166" y="34155"/>
                    </a:cubicBezTo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80" name="Gráfico 32">
              <a:extLst>
                <a:ext uri="{FF2B5EF4-FFF2-40B4-BE49-F238E27FC236}">
                  <a16:creationId xmlns:a16="http://schemas.microsoft.com/office/drawing/2014/main" id="{5DDD17BF-A519-FA82-BB5D-FA775A79BBEE}"/>
                </a:ext>
              </a:extLst>
            </p:cNvPr>
            <p:cNvGrpSpPr/>
            <p:nvPr/>
          </p:nvGrpSpPr>
          <p:grpSpPr>
            <a:xfrm>
              <a:off x="6191625" y="1599725"/>
              <a:ext cx="173767" cy="157112"/>
              <a:chOff x="6191625" y="1599725"/>
              <a:chExt cx="173767" cy="157112"/>
            </a:xfrm>
            <a:noFill/>
          </p:grpSpPr>
          <p:sp>
            <p:nvSpPr>
              <p:cNvPr id="190" name="Forma livre: Forma 189">
                <a:extLst>
                  <a:ext uri="{FF2B5EF4-FFF2-40B4-BE49-F238E27FC236}">
                    <a16:creationId xmlns:a16="http://schemas.microsoft.com/office/drawing/2014/main" id="{F7EF2919-97A5-EACE-2378-ADD058B9D3B2}"/>
                  </a:ext>
                </a:extLst>
              </p:cNvPr>
              <p:cNvSpPr/>
              <p:nvPr/>
            </p:nvSpPr>
            <p:spPr>
              <a:xfrm>
                <a:off x="6310094" y="1621974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91" name="Forma livre: Forma 190">
                <a:extLst>
                  <a:ext uri="{FF2B5EF4-FFF2-40B4-BE49-F238E27FC236}">
                    <a16:creationId xmlns:a16="http://schemas.microsoft.com/office/drawing/2014/main" id="{2BE05E4A-6522-E4BD-35FE-1A91B7B1976C}"/>
                  </a:ext>
                </a:extLst>
              </p:cNvPr>
              <p:cNvSpPr/>
              <p:nvPr/>
            </p:nvSpPr>
            <p:spPr>
              <a:xfrm>
                <a:off x="6191625" y="1599725"/>
                <a:ext cx="118078" cy="49898"/>
              </a:xfrm>
              <a:custGeom>
                <a:avLst/>
                <a:gdLst>
                  <a:gd name="connsiteX0" fmla="*/ 0 w 118078"/>
                  <a:gd name="connsiteY0" fmla="*/ 0 h 49898"/>
                  <a:gd name="connsiteX1" fmla="*/ 37343 w 118078"/>
                  <a:gd name="connsiteY1" fmla="*/ 0 h 49898"/>
                  <a:gd name="connsiteX2" fmla="*/ 87176 w 118078"/>
                  <a:gd name="connsiteY2" fmla="*/ 49899 h 49898"/>
                  <a:gd name="connsiteX3" fmla="*/ 118078 w 118078"/>
                  <a:gd name="connsiteY3" fmla="*/ 49899 h 49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8078" h="49898">
                    <a:moveTo>
                      <a:pt x="0" y="0"/>
                    </a:moveTo>
                    <a:lnTo>
                      <a:pt x="37343" y="0"/>
                    </a:lnTo>
                    <a:lnTo>
                      <a:pt x="87176" y="49899"/>
                    </a:lnTo>
                    <a:lnTo>
                      <a:pt x="118078" y="49899"/>
                    </a:lnTo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92" name="Forma livre: Forma 191">
                <a:extLst>
                  <a:ext uri="{FF2B5EF4-FFF2-40B4-BE49-F238E27FC236}">
                    <a16:creationId xmlns:a16="http://schemas.microsoft.com/office/drawing/2014/main" id="{67000869-2732-C728-BC45-08CD6C560E32}"/>
                  </a:ext>
                </a:extLst>
              </p:cNvPr>
              <p:cNvSpPr/>
              <p:nvPr/>
            </p:nvSpPr>
            <p:spPr>
              <a:xfrm>
                <a:off x="6191625" y="1665367"/>
                <a:ext cx="81906" cy="44108"/>
              </a:xfrm>
              <a:custGeom>
                <a:avLst/>
                <a:gdLst>
                  <a:gd name="connsiteX0" fmla="*/ 0 w 81906"/>
                  <a:gd name="connsiteY0" fmla="*/ 0 h 44108"/>
                  <a:gd name="connsiteX1" fmla="*/ 37343 w 81906"/>
                  <a:gd name="connsiteY1" fmla="*/ 0 h 44108"/>
                  <a:gd name="connsiteX2" fmla="*/ 81907 w 81906"/>
                  <a:gd name="connsiteY2" fmla="*/ 44109 h 441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1906" h="44108">
                    <a:moveTo>
                      <a:pt x="0" y="0"/>
                    </a:moveTo>
                    <a:lnTo>
                      <a:pt x="37343" y="0"/>
                    </a:lnTo>
                    <a:lnTo>
                      <a:pt x="81907" y="44109"/>
                    </a:lnTo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93" name="Forma livre: Forma 192">
                <a:extLst>
                  <a:ext uri="{FF2B5EF4-FFF2-40B4-BE49-F238E27FC236}">
                    <a16:creationId xmlns:a16="http://schemas.microsoft.com/office/drawing/2014/main" id="{3FAF75D8-6019-02E8-7CC6-67CA93462382}"/>
                  </a:ext>
                </a:extLst>
              </p:cNvPr>
              <p:cNvSpPr/>
              <p:nvPr/>
            </p:nvSpPr>
            <p:spPr>
              <a:xfrm>
                <a:off x="6265075" y="1701539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81" name="Gráfico 32">
              <a:extLst>
                <a:ext uri="{FF2B5EF4-FFF2-40B4-BE49-F238E27FC236}">
                  <a16:creationId xmlns:a16="http://schemas.microsoft.com/office/drawing/2014/main" id="{1386C9B9-125E-8BF8-2B1A-45E6A444F10F}"/>
                </a:ext>
              </a:extLst>
            </p:cNvPr>
            <p:cNvGrpSpPr/>
            <p:nvPr/>
          </p:nvGrpSpPr>
          <p:grpSpPr>
            <a:xfrm>
              <a:off x="6191625" y="1357908"/>
              <a:ext cx="173767" cy="157112"/>
              <a:chOff x="6191625" y="1357908"/>
              <a:chExt cx="173767" cy="157112"/>
            </a:xfrm>
            <a:noFill/>
          </p:grpSpPr>
          <p:sp>
            <p:nvSpPr>
              <p:cNvPr id="186" name="Forma livre: Forma 185">
                <a:extLst>
                  <a:ext uri="{FF2B5EF4-FFF2-40B4-BE49-F238E27FC236}">
                    <a16:creationId xmlns:a16="http://schemas.microsoft.com/office/drawing/2014/main" id="{8F71FAF9-841B-36A3-0614-3DA073FFA978}"/>
                  </a:ext>
                </a:extLst>
              </p:cNvPr>
              <p:cNvSpPr/>
              <p:nvPr/>
            </p:nvSpPr>
            <p:spPr>
              <a:xfrm>
                <a:off x="6310094" y="1437472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0 h 55298"/>
                  <a:gd name="connsiteX2" fmla="*/ 0 w 55298"/>
                  <a:gd name="connsiteY2" fmla="*/ 27649 h 55298"/>
                  <a:gd name="connsiteX3" fmla="*/ 27649 w 55298"/>
                  <a:gd name="connsiteY3" fmla="*/ 55298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12361"/>
                      <a:pt x="42938" y="0"/>
                      <a:pt x="27649" y="0"/>
                    </a:cubicBezTo>
                    <a:cubicBezTo>
                      <a:pt x="12361" y="0"/>
                      <a:pt x="0" y="12361"/>
                      <a:pt x="0" y="27649"/>
                    </a:cubicBezTo>
                    <a:cubicBezTo>
                      <a:pt x="0" y="42938"/>
                      <a:pt x="12361" y="55298"/>
                      <a:pt x="27649" y="55298"/>
                    </a:cubicBezTo>
                    <a:cubicBezTo>
                      <a:pt x="42938" y="55298"/>
                      <a:pt x="55298" y="42938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87" name="Forma livre: Forma 186">
                <a:extLst>
                  <a:ext uri="{FF2B5EF4-FFF2-40B4-BE49-F238E27FC236}">
                    <a16:creationId xmlns:a16="http://schemas.microsoft.com/office/drawing/2014/main" id="{4E881C5A-E616-D77F-549B-74EAF2576082}"/>
                  </a:ext>
                </a:extLst>
              </p:cNvPr>
              <p:cNvSpPr/>
              <p:nvPr/>
            </p:nvSpPr>
            <p:spPr>
              <a:xfrm>
                <a:off x="6191625" y="1465122"/>
                <a:ext cx="118468" cy="49898"/>
              </a:xfrm>
              <a:custGeom>
                <a:avLst/>
                <a:gdLst>
                  <a:gd name="connsiteX0" fmla="*/ 0 w 118468"/>
                  <a:gd name="connsiteY0" fmla="*/ 49899 h 49898"/>
                  <a:gd name="connsiteX1" fmla="*/ 37343 w 118468"/>
                  <a:gd name="connsiteY1" fmla="*/ 49899 h 49898"/>
                  <a:gd name="connsiteX2" fmla="*/ 87176 w 118468"/>
                  <a:gd name="connsiteY2" fmla="*/ 0 h 49898"/>
                  <a:gd name="connsiteX3" fmla="*/ 118469 w 118468"/>
                  <a:gd name="connsiteY3" fmla="*/ 0 h 49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8468" h="49898">
                    <a:moveTo>
                      <a:pt x="0" y="49899"/>
                    </a:moveTo>
                    <a:lnTo>
                      <a:pt x="37343" y="49899"/>
                    </a:lnTo>
                    <a:lnTo>
                      <a:pt x="87176" y="0"/>
                    </a:lnTo>
                    <a:lnTo>
                      <a:pt x="118469" y="0"/>
                    </a:lnTo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88" name="Forma livre: Forma 187">
                <a:extLst>
                  <a:ext uri="{FF2B5EF4-FFF2-40B4-BE49-F238E27FC236}">
                    <a16:creationId xmlns:a16="http://schemas.microsoft.com/office/drawing/2014/main" id="{399AEDA9-BDDD-291C-5CA7-23FED1FA2A46}"/>
                  </a:ext>
                </a:extLst>
              </p:cNvPr>
              <p:cNvSpPr/>
              <p:nvPr/>
            </p:nvSpPr>
            <p:spPr>
              <a:xfrm>
                <a:off x="6191625" y="1405269"/>
                <a:ext cx="81451" cy="44043"/>
              </a:xfrm>
              <a:custGeom>
                <a:avLst/>
                <a:gdLst>
                  <a:gd name="connsiteX0" fmla="*/ 0 w 81451"/>
                  <a:gd name="connsiteY0" fmla="*/ 44044 h 44043"/>
                  <a:gd name="connsiteX1" fmla="*/ 37343 w 81451"/>
                  <a:gd name="connsiteY1" fmla="*/ 44044 h 44043"/>
                  <a:gd name="connsiteX2" fmla="*/ 81451 w 81451"/>
                  <a:gd name="connsiteY2" fmla="*/ 0 h 440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1451" h="44043">
                    <a:moveTo>
                      <a:pt x="0" y="44044"/>
                    </a:moveTo>
                    <a:lnTo>
                      <a:pt x="37343" y="44044"/>
                    </a:lnTo>
                    <a:lnTo>
                      <a:pt x="81451" y="0"/>
                    </a:lnTo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89" name="Forma livre: Forma 188">
                <a:extLst>
                  <a:ext uri="{FF2B5EF4-FFF2-40B4-BE49-F238E27FC236}">
                    <a16:creationId xmlns:a16="http://schemas.microsoft.com/office/drawing/2014/main" id="{F92BE078-ADE2-26FD-7F43-AF3857AA876B}"/>
                  </a:ext>
                </a:extLst>
              </p:cNvPr>
              <p:cNvSpPr/>
              <p:nvPr/>
            </p:nvSpPr>
            <p:spPr>
              <a:xfrm>
                <a:off x="6265075" y="1357908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0 h 55298"/>
                  <a:gd name="connsiteX2" fmla="*/ 0 w 55298"/>
                  <a:gd name="connsiteY2" fmla="*/ 27649 h 55298"/>
                  <a:gd name="connsiteX3" fmla="*/ 27649 w 55298"/>
                  <a:gd name="connsiteY3" fmla="*/ 55298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12361"/>
                      <a:pt x="42938" y="0"/>
                      <a:pt x="27649" y="0"/>
                    </a:cubicBezTo>
                    <a:cubicBezTo>
                      <a:pt x="12361" y="0"/>
                      <a:pt x="0" y="12361"/>
                      <a:pt x="0" y="27649"/>
                    </a:cubicBezTo>
                    <a:cubicBezTo>
                      <a:pt x="0" y="42938"/>
                      <a:pt x="12361" y="55298"/>
                      <a:pt x="27649" y="55298"/>
                    </a:cubicBezTo>
                    <a:cubicBezTo>
                      <a:pt x="42938" y="55298"/>
                      <a:pt x="55298" y="42938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82" name="Gráfico 32">
              <a:extLst>
                <a:ext uri="{FF2B5EF4-FFF2-40B4-BE49-F238E27FC236}">
                  <a16:creationId xmlns:a16="http://schemas.microsoft.com/office/drawing/2014/main" id="{5644988F-A5C7-1BC7-A2A1-6BD6A9B99DE9}"/>
                </a:ext>
              </a:extLst>
            </p:cNvPr>
            <p:cNvGrpSpPr/>
            <p:nvPr/>
          </p:nvGrpSpPr>
          <p:grpSpPr>
            <a:xfrm>
              <a:off x="6190910" y="1529723"/>
              <a:ext cx="123673" cy="55298"/>
              <a:chOff x="6190910" y="1529723"/>
              <a:chExt cx="123673" cy="55298"/>
            </a:xfrm>
            <a:noFill/>
          </p:grpSpPr>
          <p:sp>
            <p:nvSpPr>
              <p:cNvPr id="184" name="Forma livre: Forma 183">
                <a:extLst>
                  <a:ext uri="{FF2B5EF4-FFF2-40B4-BE49-F238E27FC236}">
                    <a16:creationId xmlns:a16="http://schemas.microsoft.com/office/drawing/2014/main" id="{93241C46-FB4F-5C61-547C-5BB65FD099CF}"/>
                  </a:ext>
                </a:extLst>
              </p:cNvPr>
              <p:cNvSpPr/>
              <p:nvPr/>
            </p:nvSpPr>
            <p:spPr>
              <a:xfrm>
                <a:off x="6190910" y="1557372"/>
                <a:ext cx="68765" cy="6505"/>
              </a:xfrm>
              <a:custGeom>
                <a:avLst/>
                <a:gdLst>
                  <a:gd name="connsiteX0" fmla="*/ 0 w 68765"/>
                  <a:gd name="connsiteY0" fmla="*/ 0 h 6505"/>
                  <a:gd name="connsiteX1" fmla="*/ 68765 w 68765"/>
                  <a:gd name="connsiteY1" fmla="*/ 0 h 65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8765" h="6505">
                    <a:moveTo>
                      <a:pt x="0" y="0"/>
                    </a:moveTo>
                    <a:lnTo>
                      <a:pt x="68765" y="0"/>
                    </a:lnTo>
                  </a:path>
                </a:pathLst>
              </a:custGeom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85" name="Forma livre: Forma 184">
                <a:extLst>
                  <a:ext uri="{FF2B5EF4-FFF2-40B4-BE49-F238E27FC236}">
                    <a16:creationId xmlns:a16="http://schemas.microsoft.com/office/drawing/2014/main" id="{FBFD12D3-2AE5-5C8B-8CD2-AAF75D4B6CEC}"/>
                  </a:ext>
                </a:extLst>
              </p:cNvPr>
              <p:cNvSpPr/>
              <p:nvPr/>
            </p:nvSpPr>
            <p:spPr>
              <a:xfrm>
                <a:off x="6259285" y="1529723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83" name="Forma livre: Forma 182">
              <a:extLst>
                <a:ext uri="{FF2B5EF4-FFF2-40B4-BE49-F238E27FC236}">
                  <a16:creationId xmlns:a16="http://schemas.microsoft.com/office/drawing/2014/main" id="{9A07C9E8-8D08-EB69-0F7D-7CA32EB497C8}"/>
                </a:ext>
              </a:extLst>
            </p:cNvPr>
            <p:cNvSpPr/>
            <p:nvPr/>
          </p:nvSpPr>
          <p:spPr>
            <a:xfrm>
              <a:off x="6152201" y="1686285"/>
              <a:ext cx="37362" cy="20848"/>
            </a:xfrm>
            <a:custGeom>
              <a:avLst/>
              <a:gdLst>
                <a:gd name="connsiteX0" fmla="*/ 0 w 37362"/>
                <a:gd name="connsiteY0" fmla="*/ 10505 h 20848"/>
                <a:gd name="connsiteX1" fmla="*/ 27064 w 37362"/>
                <a:gd name="connsiteY1" fmla="*/ 2373 h 20848"/>
                <a:gd name="connsiteX2" fmla="*/ 37343 w 37362"/>
                <a:gd name="connsiteY2" fmla="*/ 20849 h 20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7362" h="20848">
                  <a:moveTo>
                    <a:pt x="0" y="10505"/>
                  </a:moveTo>
                  <a:cubicBezTo>
                    <a:pt x="5205" y="811"/>
                    <a:pt x="17435" y="-2832"/>
                    <a:pt x="27064" y="2373"/>
                  </a:cubicBezTo>
                  <a:cubicBezTo>
                    <a:pt x="34025" y="6081"/>
                    <a:pt x="37668" y="13432"/>
                    <a:pt x="37343" y="20849"/>
                  </a:cubicBezTo>
                </a:path>
              </a:pathLst>
            </a:custGeom>
            <a:noFill/>
            <a:ln w="19050" cap="sq">
              <a:solidFill>
                <a:schemeClr val="accent2"/>
              </a:solidFill>
              <a:prstDash val="solid"/>
              <a:miter lim="800000"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200" name="Agrupar 199">
            <a:extLst>
              <a:ext uri="{FF2B5EF4-FFF2-40B4-BE49-F238E27FC236}">
                <a16:creationId xmlns:a16="http://schemas.microsoft.com/office/drawing/2014/main" id="{A27B005A-67B9-B3CD-177F-0E92D4D57E3A}"/>
              </a:ext>
            </a:extLst>
          </p:cNvPr>
          <p:cNvGrpSpPr/>
          <p:nvPr/>
        </p:nvGrpSpPr>
        <p:grpSpPr>
          <a:xfrm>
            <a:off x="7062265" y="3976845"/>
            <a:ext cx="387471" cy="423140"/>
            <a:chOff x="6000092" y="1357908"/>
            <a:chExt cx="365300" cy="398929"/>
          </a:xfrm>
        </p:grpSpPr>
        <p:sp>
          <p:nvSpPr>
            <p:cNvPr id="201" name="Forma livre: Forma 200">
              <a:extLst>
                <a:ext uri="{FF2B5EF4-FFF2-40B4-BE49-F238E27FC236}">
                  <a16:creationId xmlns:a16="http://schemas.microsoft.com/office/drawing/2014/main" id="{BC2878B8-8FF7-71B8-9EDB-B1EE45E76993}"/>
                </a:ext>
              </a:extLst>
            </p:cNvPr>
            <p:cNvSpPr/>
            <p:nvPr/>
          </p:nvSpPr>
          <p:spPr>
            <a:xfrm>
              <a:off x="6000092" y="1418606"/>
              <a:ext cx="84058" cy="286120"/>
            </a:xfrm>
            <a:custGeom>
              <a:avLst/>
              <a:gdLst>
                <a:gd name="connsiteX0" fmla="*/ 51595 w 84058"/>
                <a:gd name="connsiteY0" fmla="*/ 0 h 286120"/>
                <a:gd name="connsiteX1" fmla="*/ 35266 w 84058"/>
                <a:gd name="connsiteY1" fmla="*/ 61674 h 286120"/>
                <a:gd name="connsiteX2" fmla="*/ 28760 w 84058"/>
                <a:gd name="connsiteY2" fmla="*/ 193415 h 286120"/>
                <a:gd name="connsiteX3" fmla="*/ 84059 w 84058"/>
                <a:gd name="connsiteY3" fmla="*/ 286121 h 2861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4058" h="286120">
                  <a:moveTo>
                    <a:pt x="51595" y="0"/>
                  </a:moveTo>
                  <a:cubicBezTo>
                    <a:pt x="37868" y="7872"/>
                    <a:pt x="26028" y="24852"/>
                    <a:pt x="35266" y="61674"/>
                  </a:cubicBezTo>
                  <a:cubicBezTo>
                    <a:pt x="35266" y="61674"/>
                    <a:pt x="-39549" y="126731"/>
                    <a:pt x="28760" y="193415"/>
                  </a:cubicBezTo>
                  <a:cubicBezTo>
                    <a:pt x="28760" y="193415"/>
                    <a:pt x="9243" y="281242"/>
                    <a:pt x="84059" y="286121"/>
                  </a:cubicBezTo>
                </a:path>
              </a:pathLst>
            </a:custGeom>
            <a:noFill/>
            <a:ln w="19050" cap="sq">
              <a:solidFill>
                <a:schemeClr val="accent2"/>
              </a:solidFill>
              <a:prstDash val="solid"/>
              <a:miter lim="800000"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202" name="Gráfico 32">
              <a:extLst>
                <a:ext uri="{FF2B5EF4-FFF2-40B4-BE49-F238E27FC236}">
                  <a16:creationId xmlns:a16="http://schemas.microsoft.com/office/drawing/2014/main" id="{5E43AC23-0D16-5262-694D-F865C3F5E48A}"/>
                </a:ext>
              </a:extLst>
            </p:cNvPr>
            <p:cNvGrpSpPr/>
            <p:nvPr/>
          </p:nvGrpSpPr>
          <p:grpSpPr>
            <a:xfrm>
              <a:off x="6061121" y="1359924"/>
              <a:ext cx="128487" cy="396366"/>
              <a:chOff x="6061121" y="1359924"/>
              <a:chExt cx="128487" cy="396366"/>
            </a:xfrm>
            <a:noFill/>
          </p:grpSpPr>
          <p:sp>
            <p:nvSpPr>
              <p:cNvPr id="217" name="Forma livre: Forma 216">
                <a:extLst>
                  <a:ext uri="{FF2B5EF4-FFF2-40B4-BE49-F238E27FC236}">
                    <a16:creationId xmlns:a16="http://schemas.microsoft.com/office/drawing/2014/main" id="{7181CF7C-0D3F-6F31-0151-DAB387A15A19}"/>
                  </a:ext>
                </a:extLst>
              </p:cNvPr>
              <p:cNvSpPr/>
              <p:nvPr/>
            </p:nvSpPr>
            <p:spPr>
              <a:xfrm>
                <a:off x="6083891" y="1359924"/>
                <a:ext cx="105717" cy="396366"/>
              </a:xfrm>
              <a:custGeom>
                <a:avLst/>
                <a:gdLst>
                  <a:gd name="connsiteX0" fmla="*/ 52891 w 105717"/>
                  <a:gd name="connsiteY0" fmla="*/ 105718 h 396366"/>
                  <a:gd name="connsiteX1" fmla="*/ 0 w 105717"/>
                  <a:gd name="connsiteY1" fmla="*/ 52891 h 396366"/>
                  <a:gd name="connsiteX2" fmla="*/ 52891 w 105717"/>
                  <a:gd name="connsiteY2" fmla="*/ 0 h 396366"/>
                  <a:gd name="connsiteX3" fmla="*/ 105718 w 105717"/>
                  <a:gd name="connsiteY3" fmla="*/ 52826 h 396366"/>
                  <a:gd name="connsiteX4" fmla="*/ 105718 w 105717"/>
                  <a:gd name="connsiteY4" fmla="*/ 346884 h 396366"/>
                  <a:gd name="connsiteX5" fmla="*/ 80606 w 105717"/>
                  <a:gd name="connsiteY5" fmla="*/ 388911 h 396366"/>
                  <a:gd name="connsiteX6" fmla="*/ 9238 w 105717"/>
                  <a:gd name="connsiteY6" fmla="*/ 371150 h 396366"/>
                  <a:gd name="connsiteX7" fmla="*/ 15484 w 105717"/>
                  <a:gd name="connsiteY7" fmla="*/ 309216 h 396366"/>
                  <a:gd name="connsiteX8" fmla="*/ 45019 w 105717"/>
                  <a:gd name="connsiteY8" fmla="*/ 277078 h 3963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05717" h="396366">
                    <a:moveTo>
                      <a:pt x="52891" y="105718"/>
                    </a:moveTo>
                    <a:cubicBezTo>
                      <a:pt x="23681" y="105718"/>
                      <a:pt x="0" y="82037"/>
                      <a:pt x="0" y="52891"/>
                    </a:cubicBezTo>
                    <a:cubicBezTo>
                      <a:pt x="0" y="23746"/>
                      <a:pt x="23681" y="0"/>
                      <a:pt x="52891" y="0"/>
                    </a:cubicBezTo>
                    <a:cubicBezTo>
                      <a:pt x="82102" y="0"/>
                      <a:pt x="105718" y="23681"/>
                      <a:pt x="105718" y="52826"/>
                    </a:cubicBezTo>
                    <a:lnTo>
                      <a:pt x="105718" y="346884"/>
                    </a:lnTo>
                    <a:cubicBezTo>
                      <a:pt x="105718" y="364580"/>
                      <a:pt x="96414" y="379413"/>
                      <a:pt x="80606" y="388911"/>
                    </a:cubicBezTo>
                    <a:cubicBezTo>
                      <a:pt x="55949" y="403744"/>
                      <a:pt x="24006" y="395742"/>
                      <a:pt x="9238" y="371150"/>
                    </a:cubicBezTo>
                    <a:cubicBezTo>
                      <a:pt x="-2928" y="350918"/>
                      <a:pt x="260" y="325741"/>
                      <a:pt x="15484" y="309216"/>
                    </a:cubicBezTo>
                    <a:lnTo>
                      <a:pt x="45019" y="277078"/>
                    </a:lnTo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18" name="Forma livre: Forma 217">
                <a:extLst>
                  <a:ext uri="{FF2B5EF4-FFF2-40B4-BE49-F238E27FC236}">
                    <a16:creationId xmlns:a16="http://schemas.microsoft.com/office/drawing/2014/main" id="{A5264F92-DE51-A2BC-219F-412DF67A313F}"/>
                  </a:ext>
                </a:extLst>
              </p:cNvPr>
              <p:cNvSpPr/>
              <p:nvPr/>
            </p:nvSpPr>
            <p:spPr>
              <a:xfrm>
                <a:off x="6144784" y="1383865"/>
                <a:ext cx="41563" cy="38963"/>
              </a:xfrm>
              <a:custGeom>
                <a:avLst/>
                <a:gdLst>
                  <a:gd name="connsiteX0" fmla="*/ 36172 w 41563"/>
                  <a:gd name="connsiteY0" fmla="*/ 0 h 38963"/>
                  <a:gd name="connsiteX1" fmla="*/ 39425 w 41563"/>
                  <a:gd name="connsiteY1" fmla="*/ 24266 h 38963"/>
                  <a:gd name="connsiteX2" fmla="*/ 36432 w 41563"/>
                  <a:gd name="connsiteY2" fmla="*/ 29080 h 38963"/>
                  <a:gd name="connsiteX3" fmla="*/ 0 w 41563"/>
                  <a:gd name="connsiteY3" fmla="*/ 33439 h 389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563" h="38963">
                    <a:moveTo>
                      <a:pt x="36172" y="0"/>
                    </a:moveTo>
                    <a:cubicBezTo>
                      <a:pt x="41571" y="7547"/>
                      <a:pt x="43393" y="16004"/>
                      <a:pt x="39425" y="24266"/>
                    </a:cubicBezTo>
                    <a:cubicBezTo>
                      <a:pt x="38644" y="25893"/>
                      <a:pt x="37603" y="27519"/>
                      <a:pt x="36432" y="29080"/>
                    </a:cubicBezTo>
                    <a:cubicBezTo>
                      <a:pt x="27584" y="40270"/>
                      <a:pt x="11190" y="42287"/>
                      <a:pt x="0" y="33439"/>
                    </a:cubicBezTo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19" name="Forma livre: Forma 218">
                <a:extLst>
                  <a:ext uri="{FF2B5EF4-FFF2-40B4-BE49-F238E27FC236}">
                    <a16:creationId xmlns:a16="http://schemas.microsoft.com/office/drawing/2014/main" id="{A9741C33-896C-E0A3-FE14-782354D9E5F9}"/>
                  </a:ext>
                </a:extLst>
              </p:cNvPr>
              <p:cNvSpPr/>
              <p:nvPr/>
            </p:nvSpPr>
            <p:spPr>
              <a:xfrm>
                <a:off x="6081487" y="1460806"/>
                <a:ext cx="34217" cy="54474"/>
              </a:xfrm>
              <a:custGeom>
                <a:avLst/>
                <a:gdLst>
                  <a:gd name="connsiteX0" fmla="*/ 21076 w 34217"/>
                  <a:gd name="connsiteY0" fmla="*/ 54475 h 54474"/>
                  <a:gd name="connsiteX1" fmla="*/ 778 w 34217"/>
                  <a:gd name="connsiteY1" fmla="*/ 21035 h 54474"/>
                  <a:gd name="connsiteX2" fmla="*/ 34217 w 34217"/>
                  <a:gd name="connsiteY2" fmla="*/ 803 h 544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4217" h="54474">
                    <a:moveTo>
                      <a:pt x="21076" y="54475"/>
                    </a:moveTo>
                    <a:cubicBezTo>
                      <a:pt x="6308" y="50832"/>
                      <a:pt x="-2800" y="35803"/>
                      <a:pt x="778" y="21035"/>
                    </a:cubicBezTo>
                    <a:cubicBezTo>
                      <a:pt x="4421" y="6267"/>
                      <a:pt x="19449" y="-2841"/>
                      <a:pt x="34217" y="803"/>
                    </a:cubicBezTo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20" name="Forma livre: Forma 219">
                <a:extLst>
                  <a:ext uri="{FF2B5EF4-FFF2-40B4-BE49-F238E27FC236}">
                    <a16:creationId xmlns:a16="http://schemas.microsoft.com/office/drawing/2014/main" id="{9A8AEFC7-964C-5B68-3B7E-78D411904AFD}"/>
                  </a:ext>
                </a:extLst>
              </p:cNvPr>
              <p:cNvSpPr/>
              <p:nvPr/>
            </p:nvSpPr>
            <p:spPr>
              <a:xfrm>
                <a:off x="6073547" y="1527543"/>
                <a:ext cx="114760" cy="72506"/>
              </a:xfrm>
              <a:custGeom>
                <a:avLst/>
                <a:gdLst>
                  <a:gd name="connsiteX0" fmla="*/ 114760 w 114760"/>
                  <a:gd name="connsiteY0" fmla="*/ 7254 h 72506"/>
                  <a:gd name="connsiteX1" fmla="*/ 73905 w 114760"/>
                  <a:gd name="connsiteY1" fmla="*/ 8881 h 72506"/>
                  <a:gd name="connsiteX2" fmla="*/ 0 w 114760"/>
                  <a:gd name="connsiteY2" fmla="*/ 72506 h 725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14760" h="72506">
                    <a:moveTo>
                      <a:pt x="114760" y="7254"/>
                    </a:moveTo>
                    <a:cubicBezTo>
                      <a:pt x="103375" y="-2830"/>
                      <a:pt x="83989" y="-2504"/>
                      <a:pt x="73905" y="8881"/>
                    </a:cubicBezTo>
                    <a:cubicBezTo>
                      <a:pt x="73905" y="8881"/>
                      <a:pt x="31488" y="72506"/>
                      <a:pt x="0" y="72506"/>
                    </a:cubicBezTo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21" name="Forma livre: Forma 220">
                <a:extLst>
                  <a:ext uri="{FF2B5EF4-FFF2-40B4-BE49-F238E27FC236}">
                    <a16:creationId xmlns:a16="http://schemas.microsoft.com/office/drawing/2014/main" id="{F2538DC1-E839-1EAE-BC86-FE106090DF74}"/>
                  </a:ext>
                </a:extLst>
              </p:cNvPr>
              <p:cNvSpPr/>
              <p:nvPr/>
            </p:nvSpPr>
            <p:spPr>
              <a:xfrm>
                <a:off x="6079857" y="1646956"/>
                <a:ext cx="29405" cy="9823"/>
              </a:xfrm>
              <a:custGeom>
                <a:avLst/>
                <a:gdLst>
                  <a:gd name="connsiteX0" fmla="*/ 0 w 29405"/>
                  <a:gd name="connsiteY0" fmla="*/ 0 h 9823"/>
                  <a:gd name="connsiteX1" fmla="*/ 29406 w 29405"/>
                  <a:gd name="connsiteY1" fmla="*/ 9824 h 98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9405" h="9823">
                    <a:moveTo>
                      <a:pt x="0" y="0"/>
                    </a:moveTo>
                    <a:lnTo>
                      <a:pt x="29406" y="9824"/>
                    </a:lnTo>
                  </a:path>
                </a:pathLst>
              </a:custGeom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22" name="Forma livre: Forma 221">
                <a:extLst>
                  <a:ext uri="{FF2B5EF4-FFF2-40B4-BE49-F238E27FC236}">
                    <a16:creationId xmlns:a16="http://schemas.microsoft.com/office/drawing/2014/main" id="{E5184EF4-BC11-21A0-58BB-F5ADB3E8EB9B}"/>
                  </a:ext>
                </a:extLst>
              </p:cNvPr>
              <p:cNvSpPr/>
              <p:nvPr/>
            </p:nvSpPr>
            <p:spPr>
              <a:xfrm>
                <a:off x="6061121" y="1545272"/>
                <a:ext cx="47166" cy="34154"/>
              </a:xfrm>
              <a:custGeom>
                <a:avLst/>
                <a:gdLst>
                  <a:gd name="connsiteX0" fmla="*/ 0 w 47166"/>
                  <a:gd name="connsiteY0" fmla="*/ 0 h 34154"/>
                  <a:gd name="connsiteX1" fmla="*/ 47166 w 47166"/>
                  <a:gd name="connsiteY1" fmla="*/ 34155 h 341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166" h="34154">
                    <a:moveTo>
                      <a:pt x="0" y="0"/>
                    </a:moveTo>
                    <a:cubicBezTo>
                      <a:pt x="0" y="0"/>
                      <a:pt x="27649" y="13011"/>
                      <a:pt x="47166" y="34155"/>
                    </a:cubicBezTo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203" name="Gráfico 32">
              <a:extLst>
                <a:ext uri="{FF2B5EF4-FFF2-40B4-BE49-F238E27FC236}">
                  <a16:creationId xmlns:a16="http://schemas.microsoft.com/office/drawing/2014/main" id="{8BF5B545-A874-C529-8546-B966649B6988}"/>
                </a:ext>
              </a:extLst>
            </p:cNvPr>
            <p:cNvGrpSpPr/>
            <p:nvPr/>
          </p:nvGrpSpPr>
          <p:grpSpPr>
            <a:xfrm>
              <a:off x="6191625" y="1599725"/>
              <a:ext cx="173767" cy="157112"/>
              <a:chOff x="6191625" y="1599725"/>
              <a:chExt cx="173767" cy="157112"/>
            </a:xfrm>
            <a:noFill/>
          </p:grpSpPr>
          <p:sp>
            <p:nvSpPr>
              <p:cNvPr id="213" name="Forma livre: Forma 212">
                <a:extLst>
                  <a:ext uri="{FF2B5EF4-FFF2-40B4-BE49-F238E27FC236}">
                    <a16:creationId xmlns:a16="http://schemas.microsoft.com/office/drawing/2014/main" id="{D19482EC-C90A-EB28-A6E3-8608D82E0630}"/>
                  </a:ext>
                </a:extLst>
              </p:cNvPr>
              <p:cNvSpPr/>
              <p:nvPr/>
            </p:nvSpPr>
            <p:spPr>
              <a:xfrm>
                <a:off x="6310094" y="1621974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14" name="Forma livre: Forma 213">
                <a:extLst>
                  <a:ext uri="{FF2B5EF4-FFF2-40B4-BE49-F238E27FC236}">
                    <a16:creationId xmlns:a16="http://schemas.microsoft.com/office/drawing/2014/main" id="{D01BE927-6C3C-2C81-AC68-45DC0101405B}"/>
                  </a:ext>
                </a:extLst>
              </p:cNvPr>
              <p:cNvSpPr/>
              <p:nvPr/>
            </p:nvSpPr>
            <p:spPr>
              <a:xfrm>
                <a:off x="6191625" y="1599725"/>
                <a:ext cx="118078" cy="49898"/>
              </a:xfrm>
              <a:custGeom>
                <a:avLst/>
                <a:gdLst>
                  <a:gd name="connsiteX0" fmla="*/ 0 w 118078"/>
                  <a:gd name="connsiteY0" fmla="*/ 0 h 49898"/>
                  <a:gd name="connsiteX1" fmla="*/ 37343 w 118078"/>
                  <a:gd name="connsiteY1" fmla="*/ 0 h 49898"/>
                  <a:gd name="connsiteX2" fmla="*/ 87176 w 118078"/>
                  <a:gd name="connsiteY2" fmla="*/ 49899 h 49898"/>
                  <a:gd name="connsiteX3" fmla="*/ 118078 w 118078"/>
                  <a:gd name="connsiteY3" fmla="*/ 49899 h 49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8078" h="49898">
                    <a:moveTo>
                      <a:pt x="0" y="0"/>
                    </a:moveTo>
                    <a:lnTo>
                      <a:pt x="37343" y="0"/>
                    </a:lnTo>
                    <a:lnTo>
                      <a:pt x="87176" y="49899"/>
                    </a:lnTo>
                    <a:lnTo>
                      <a:pt x="118078" y="49899"/>
                    </a:lnTo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15" name="Forma livre: Forma 214">
                <a:extLst>
                  <a:ext uri="{FF2B5EF4-FFF2-40B4-BE49-F238E27FC236}">
                    <a16:creationId xmlns:a16="http://schemas.microsoft.com/office/drawing/2014/main" id="{1C0140B5-F233-927F-5769-5A6DB7326B20}"/>
                  </a:ext>
                </a:extLst>
              </p:cNvPr>
              <p:cNvSpPr/>
              <p:nvPr/>
            </p:nvSpPr>
            <p:spPr>
              <a:xfrm>
                <a:off x="6191625" y="1665367"/>
                <a:ext cx="81906" cy="44108"/>
              </a:xfrm>
              <a:custGeom>
                <a:avLst/>
                <a:gdLst>
                  <a:gd name="connsiteX0" fmla="*/ 0 w 81906"/>
                  <a:gd name="connsiteY0" fmla="*/ 0 h 44108"/>
                  <a:gd name="connsiteX1" fmla="*/ 37343 w 81906"/>
                  <a:gd name="connsiteY1" fmla="*/ 0 h 44108"/>
                  <a:gd name="connsiteX2" fmla="*/ 81907 w 81906"/>
                  <a:gd name="connsiteY2" fmla="*/ 44109 h 441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1906" h="44108">
                    <a:moveTo>
                      <a:pt x="0" y="0"/>
                    </a:moveTo>
                    <a:lnTo>
                      <a:pt x="37343" y="0"/>
                    </a:lnTo>
                    <a:lnTo>
                      <a:pt x="81907" y="44109"/>
                    </a:lnTo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16" name="Forma livre: Forma 215">
                <a:extLst>
                  <a:ext uri="{FF2B5EF4-FFF2-40B4-BE49-F238E27FC236}">
                    <a16:creationId xmlns:a16="http://schemas.microsoft.com/office/drawing/2014/main" id="{08B4E79E-7261-4633-15B4-661525B8250D}"/>
                  </a:ext>
                </a:extLst>
              </p:cNvPr>
              <p:cNvSpPr/>
              <p:nvPr/>
            </p:nvSpPr>
            <p:spPr>
              <a:xfrm>
                <a:off x="6265075" y="1701539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204" name="Gráfico 32">
              <a:extLst>
                <a:ext uri="{FF2B5EF4-FFF2-40B4-BE49-F238E27FC236}">
                  <a16:creationId xmlns:a16="http://schemas.microsoft.com/office/drawing/2014/main" id="{ACB44795-83EA-5B66-A29E-D405FF982123}"/>
                </a:ext>
              </a:extLst>
            </p:cNvPr>
            <p:cNvGrpSpPr/>
            <p:nvPr/>
          </p:nvGrpSpPr>
          <p:grpSpPr>
            <a:xfrm>
              <a:off x="6191625" y="1357908"/>
              <a:ext cx="173767" cy="157112"/>
              <a:chOff x="6191625" y="1357908"/>
              <a:chExt cx="173767" cy="157112"/>
            </a:xfrm>
            <a:noFill/>
          </p:grpSpPr>
          <p:sp>
            <p:nvSpPr>
              <p:cNvPr id="209" name="Forma livre: Forma 208">
                <a:extLst>
                  <a:ext uri="{FF2B5EF4-FFF2-40B4-BE49-F238E27FC236}">
                    <a16:creationId xmlns:a16="http://schemas.microsoft.com/office/drawing/2014/main" id="{6FF24D3A-F2B0-8268-07CC-2CA24632BFA6}"/>
                  </a:ext>
                </a:extLst>
              </p:cNvPr>
              <p:cNvSpPr/>
              <p:nvPr/>
            </p:nvSpPr>
            <p:spPr>
              <a:xfrm>
                <a:off x="6310094" y="1437472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0 h 55298"/>
                  <a:gd name="connsiteX2" fmla="*/ 0 w 55298"/>
                  <a:gd name="connsiteY2" fmla="*/ 27649 h 55298"/>
                  <a:gd name="connsiteX3" fmla="*/ 27649 w 55298"/>
                  <a:gd name="connsiteY3" fmla="*/ 55298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12361"/>
                      <a:pt x="42938" y="0"/>
                      <a:pt x="27649" y="0"/>
                    </a:cubicBezTo>
                    <a:cubicBezTo>
                      <a:pt x="12361" y="0"/>
                      <a:pt x="0" y="12361"/>
                      <a:pt x="0" y="27649"/>
                    </a:cubicBezTo>
                    <a:cubicBezTo>
                      <a:pt x="0" y="42938"/>
                      <a:pt x="12361" y="55298"/>
                      <a:pt x="27649" y="55298"/>
                    </a:cubicBezTo>
                    <a:cubicBezTo>
                      <a:pt x="42938" y="55298"/>
                      <a:pt x="55298" y="42938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10" name="Forma livre: Forma 209">
                <a:extLst>
                  <a:ext uri="{FF2B5EF4-FFF2-40B4-BE49-F238E27FC236}">
                    <a16:creationId xmlns:a16="http://schemas.microsoft.com/office/drawing/2014/main" id="{D93E69AD-D09F-5811-2463-1AF4A9BE4F00}"/>
                  </a:ext>
                </a:extLst>
              </p:cNvPr>
              <p:cNvSpPr/>
              <p:nvPr/>
            </p:nvSpPr>
            <p:spPr>
              <a:xfrm>
                <a:off x="6191625" y="1465122"/>
                <a:ext cx="118468" cy="49898"/>
              </a:xfrm>
              <a:custGeom>
                <a:avLst/>
                <a:gdLst>
                  <a:gd name="connsiteX0" fmla="*/ 0 w 118468"/>
                  <a:gd name="connsiteY0" fmla="*/ 49899 h 49898"/>
                  <a:gd name="connsiteX1" fmla="*/ 37343 w 118468"/>
                  <a:gd name="connsiteY1" fmla="*/ 49899 h 49898"/>
                  <a:gd name="connsiteX2" fmla="*/ 87176 w 118468"/>
                  <a:gd name="connsiteY2" fmla="*/ 0 h 49898"/>
                  <a:gd name="connsiteX3" fmla="*/ 118469 w 118468"/>
                  <a:gd name="connsiteY3" fmla="*/ 0 h 49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8468" h="49898">
                    <a:moveTo>
                      <a:pt x="0" y="49899"/>
                    </a:moveTo>
                    <a:lnTo>
                      <a:pt x="37343" y="49899"/>
                    </a:lnTo>
                    <a:lnTo>
                      <a:pt x="87176" y="0"/>
                    </a:lnTo>
                    <a:lnTo>
                      <a:pt x="118469" y="0"/>
                    </a:lnTo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11" name="Forma livre: Forma 210">
                <a:extLst>
                  <a:ext uri="{FF2B5EF4-FFF2-40B4-BE49-F238E27FC236}">
                    <a16:creationId xmlns:a16="http://schemas.microsoft.com/office/drawing/2014/main" id="{AF09A14B-85EA-11ED-3FC5-ACFE108932B4}"/>
                  </a:ext>
                </a:extLst>
              </p:cNvPr>
              <p:cNvSpPr/>
              <p:nvPr/>
            </p:nvSpPr>
            <p:spPr>
              <a:xfrm>
                <a:off x="6191625" y="1405269"/>
                <a:ext cx="81451" cy="44043"/>
              </a:xfrm>
              <a:custGeom>
                <a:avLst/>
                <a:gdLst>
                  <a:gd name="connsiteX0" fmla="*/ 0 w 81451"/>
                  <a:gd name="connsiteY0" fmla="*/ 44044 h 44043"/>
                  <a:gd name="connsiteX1" fmla="*/ 37343 w 81451"/>
                  <a:gd name="connsiteY1" fmla="*/ 44044 h 44043"/>
                  <a:gd name="connsiteX2" fmla="*/ 81451 w 81451"/>
                  <a:gd name="connsiteY2" fmla="*/ 0 h 440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1451" h="44043">
                    <a:moveTo>
                      <a:pt x="0" y="44044"/>
                    </a:moveTo>
                    <a:lnTo>
                      <a:pt x="37343" y="44044"/>
                    </a:lnTo>
                    <a:lnTo>
                      <a:pt x="81451" y="0"/>
                    </a:lnTo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12" name="Forma livre: Forma 211">
                <a:extLst>
                  <a:ext uri="{FF2B5EF4-FFF2-40B4-BE49-F238E27FC236}">
                    <a16:creationId xmlns:a16="http://schemas.microsoft.com/office/drawing/2014/main" id="{9D1B32BC-535E-E023-FF20-5B5D12993C2D}"/>
                  </a:ext>
                </a:extLst>
              </p:cNvPr>
              <p:cNvSpPr/>
              <p:nvPr/>
            </p:nvSpPr>
            <p:spPr>
              <a:xfrm>
                <a:off x="6265075" y="1357908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0 h 55298"/>
                  <a:gd name="connsiteX2" fmla="*/ 0 w 55298"/>
                  <a:gd name="connsiteY2" fmla="*/ 27649 h 55298"/>
                  <a:gd name="connsiteX3" fmla="*/ 27649 w 55298"/>
                  <a:gd name="connsiteY3" fmla="*/ 55298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12361"/>
                      <a:pt x="42938" y="0"/>
                      <a:pt x="27649" y="0"/>
                    </a:cubicBezTo>
                    <a:cubicBezTo>
                      <a:pt x="12361" y="0"/>
                      <a:pt x="0" y="12361"/>
                      <a:pt x="0" y="27649"/>
                    </a:cubicBezTo>
                    <a:cubicBezTo>
                      <a:pt x="0" y="42938"/>
                      <a:pt x="12361" y="55298"/>
                      <a:pt x="27649" y="55298"/>
                    </a:cubicBezTo>
                    <a:cubicBezTo>
                      <a:pt x="42938" y="55298"/>
                      <a:pt x="55298" y="42938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205" name="Gráfico 32">
              <a:extLst>
                <a:ext uri="{FF2B5EF4-FFF2-40B4-BE49-F238E27FC236}">
                  <a16:creationId xmlns:a16="http://schemas.microsoft.com/office/drawing/2014/main" id="{15EC2939-D094-0928-C9B7-F848CD67570F}"/>
                </a:ext>
              </a:extLst>
            </p:cNvPr>
            <p:cNvGrpSpPr/>
            <p:nvPr/>
          </p:nvGrpSpPr>
          <p:grpSpPr>
            <a:xfrm>
              <a:off x="6190910" y="1529723"/>
              <a:ext cx="123673" cy="55298"/>
              <a:chOff x="6190910" y="1529723"/>
              <a:chExt cx="123673" cy="55298"/>
            </a:xfrm>
            <a:noFill/>
          </p:grpSpPr>
          <p:sp>
            <p:nvSpPr>
              <p:cNvPr id="207" name="Forma livre: Forma 206">
                <a:extLst>
                  <a:ext uri="{FF2B5EF4-FFF2-40B4-BE49-F238E27FC236}">
                    <a16:creationId xmlns:a16="http://schemas.microsoft.com/office/drawing/2014/main" id="{609B1283-4BD7-F8D6-7967-DA59B28852E8}"/>
                  </a:ext>
                </a:extLst>
              </p:cNvPr>
              <p:cNvSpPr/>
              <p:nvPr/>
            </p:nvSpPr>
            <p:spPr>
              <a:xfrm>
                <a:off x="6190910" y="1557372"/>
                <a:ext cx="68765" cy="6505"/>
              </a:xfrm>
              <a:custGeom>
                <a:avLst/>
                <a:gdLst>
                  <a:gd name="connsiteX0" fmla="*/ 0 w 68765"/>
                  <a:gd name="connsiteY0" fmla="*/ 0 h 6505"/>
                  <a:gd name="connsiteX1" fmla="*/ 68765 w 68765"/>
                  <a:gd name="connsiteY1" fmla="*/ 0 h 65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8765" h="6505">
                    <a:moveTo>
                      <a:pt x="0" y="0"/>
                    </a:moveTo>
                    <a:lnTo>
                      <a:pt x="68765" y="0"/>
                    </a:lnTo>
                  </a:path>
                </a:pathLst>
              </a:custGeom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08" name="Forma livre: Forma 207">
                <a:extLst>
                  <a:ext uri="{FF2B5EF4-FFF2-40B4-BE49-F238E27FC236}">
                    <a16:creationId xmlns:a16="http://schemas.microsoft.com/office/drawing/2014/main" id="{E70CB6CB-E5D2-5B52-4AA7-4014BB8BA7DC}"/>
                  </a:ext>
                </a:extLst>
              </p:cNvPr>
              <p:cNvSpPr/>
              <p:nvPr/>
            </p:nvSpPr>
            <p:spPr>
              <a:xfrm>
                <a:off x="6259285" y="1529723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206" name="Forma livre: Forma 205">
              <a:extLst>
                <a:ext uri="{FF2B5EF4-FFF2-40B4-BE49-F238E27FC236}">
                  <a16:creationId xmlns:a16="http://schemas.microsoft.com/office/drawing/2014/main" id="{0D1EEFD6-5EF8-6A1A-6DD7-7DEC5BDFF513}"/>
                </a:ext>
              </a:extLst>
            </p:cNvPr>
            <p:cNvSpPr/>
            <p:nvPr/>
          </p:nvSpPr>
          <p:spPr>
            <a:xfrm>
              <a:off x="6152201" y="1686285"/>
              <a:ext cx="37362" cy="20848"/>
            </a:xfrm>
            <a:custGeom>
              <a:avLst/>
              <a:gdLst>
                <a:gd name="connsiteX0" fmla="*/ 0 w 37362"/>
                <a:gd name="connsiteY0" fmla="*/ 10505 h 20848"/>
                <a:gd name="connsiteX1" fmla="*/ 27064 w 37362"/>
                <a:gd name="connsiteY1" fmla="*/ 2373 h 20848"/>
                <a:gd name="connsiteX2" fmla="*/ 37343 w 37362"/>
                <a:gd name="connsiteY2" fmla="*/ 20849 h 20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7362" h="20848">
                  <a:moveTo>
                    <a:pt x="0" y="10505"/>
                  </a:moveTo>
                  <a:cubicBezTo>
                    <a:pt x="5205" y="811"/>
                    <a:pt x="17435" y="-2832"/>
                    <a:pt x="27064" y="2373"/>
                  </a:cubicBezTo>
                  <a:cubicBezTo>
                    <a:pt x="34025" y="6081"/>
                    <a:pt x="37668" y="13432"/>
                    <a:pt x="37343" y="20849"/>
                  </a:cubicBezTo>
                </a:path>
              </a:pathLst>
            </a:custGeom>
            <a:noFill/>
            <a:ln w="19050" cap="sq">
              <a:solidFill>
                <a:schemeClr val="accent2"/>
              </a:solidFill>
              <a:prstDash val="solid"/>
              <a:miter lim="800000"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cxnSp>
        <p:nvCxnSpPr>
          <p:cNvPr id="232" name="Conexão reta 231">
            <a:extLst>
              <a:ext uri="{FF2B5EF4-FFF2-40B4-BE49-F238E27FC236}">
                <a16:creationId xmlns:a16="http://schemas.microsoft.com/office/drawing/2014/main" id="{829DBB55-C930-C733-5910-AECD7AB22D27}"/>
              </a:ext>
            </a:extLst>
          </p:cNvPr>
          <p:cNvCxnSpPr/>
          <p:nvPr/>
        </p:nvCxnSpPr>
        <p:spPr>
          <a:xfrm>
            <a:off x="3132985" y="3193142"/>
            <a:ext cx="8500916" cy="0"/>
          </a:xfrm>
          <a:prstGeom prst="line">
            <a:avLst/>
          </a:prstGeom>
          <a:ln w="6350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33" name="Conexão reta 232">
            <a:extLst>
              <a:ext uri="{FF2B5EF4-FFF2-40B4-BE49-F238E27FC236}">
                <a16:creationId xmlns:a16="http://schemas.microsoft.com/office/drawing/2014/main" id="{E358A057-8FD1-DB8E-F2E4-6EB0FD906787}"/>
              </a:ext>
            </a:extLst>
          </p:cNvPr>
          <p:cNvCxnSpPr/>
          <p:nvPr/>
        </p:nvCxnSpPr>
        <p:spPr>
          <a:xfrm>
            <a:off x="3132985" y="4912364"/>
            <a:ext cx="8500916" cy="0"/>
          </a:xfrm>
          <a:prstGeom prst="line">
            <a:avLst/>
          </a:prstGeom>
          <a:ln w="6350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" name="Marcador de pie de página 1">
            <a:extLst>
              <a:ext uri="{FF2B5EF4-FFF2-40B4-BE49-F238E27FC236}">
                <a16:creationId xmlns:a16="http://schemas.microsoft.com/office/drawing/2014/main" id="{D6BA920B-E066-486D-AD9B-9CFCA1193AD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pt-PT"/>
              <a:t>Título de la presentación</a:t>
            </a:r>
            <a:endParaRPr lang="pt-PT" dirty="0"/>
          </a:p>
        </p:txBody>
      </p:sp>
      <p:sp>
        <p:nvSpPr>
          <p:cNvPr id="3" name="Marcador de número de diapositiva 2">
            <a:extLst>
              <a:ext uri="{FF2B5EF4-FFF2-40B4-BE49-F238E27FC236}">
                <a16:creationId xmlns:a16="http://schemas.microsoft.com/office/drawing/2014/main" id="{C4116388-1975-4D72-97EE-EB7D0F01578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4A347C2-D68E-473A-8C76-1D063E4EB6E0}" type="slidenum">
              <a:rPr lang="es-ES" smtClean="0"/>
              <a:pPr/>
              <a:t>56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521163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8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10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1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1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20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2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2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Marcador de Posição do Texto 6">
            <a:extLst>
              <a:ext uri="{FF2B5EF4-FFF2-40B4-BE49-F238E27FC236}">
                <a16:creationId xmlns:a16="http://schemas.microsoft.com/office/drawing/2014/main" id="{FA2EB065-7D16-5D06-008C-1E5E94E9944D}"/>
              </a:ext>
            </a:extLst>
          </p:cNvPr>
          <p:cNvSpPr>
            <a:spLocks noGrp="1"/>
          </p:cNvSpPr>
          <p:nvPr>
            <p:ph type="body" sz="quarter" idx="94"/>
          </p:nvPr>
        </p:nvSpPr>
        <p:spPr/>
        <p:txBody>
          <a:bodyPr/>
          <a:lstStyle/>
          <a:p>
            <a:r>
              <a:rPr lang="pt-PT" dirty="0" err="1"/>
              <a:t>DELIVERY</a:t>
            </a:r>
            <a:br>
              <a:rPr lang="pt-PT" dirty="0"/>
            </a:br>
            <a:r>
              <a:rPr lang="pt-PT" dirty="0" err="1"/>
              <a:t>WORKFLOW</a:t>
            </a:r>
            <a:endParaRPr lang="pt-PT" dirty="0"/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8C1C86AB-DDCC-3FED-5C1C-4E1E2AB75A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PT" dirty="0"/>
              <a:t>Ejemplo de título de slide</a:t>
            </a:r>
          </a:p>
        </p:txBody>
      </p:sp>
      <p:pic>
        <p:nvPicPr>
          <p:cNvPr id="52" name="Marcador de Posição da Imagem 51" descr="Uma imagem com vestuário, pessoa, Cara humana, interior&#10;&#10;Os conteúdos gerados por IA podem estar incorretos.">
            <a:extLst>
              <a:ext uri="{FF2B5EF4-FFF2-40B4-BE49-F238E27FC236}">
                <a16:creationId xmlns:a16="http://schemas.microsoft.com/office/drawing/2014/main" id="{289ABA4E-0A9F-64CC-03D1-F91EA365FFE4}"/>
              </a:ext>
            </a:extLst>
          </p:cNvPr>
          <p:cNvPicPr>
            <a:picLocks noGrp="1" noChangeAspect="1"/>
          </p:cNvPicPr>
          <p:nvPr>
            <p:ph type="pic" sz="quarter" idx="93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/>
      </p:pic>
      <p:sp>
        <p:nvSpPr>
          <p:cNvPr id="4" name="Marcador de Posição do Texto 3">
            <a:extLst>
              <a:ext uri="{FF2B5EF4-FFF2-40B4-BE49-F238E27FC236}">
                <a16:creationId xmlns:a16="http://schemas.microsoft.com/office/drawing/2014/main" id="{75A35371-B1DC-9F7D-FECF-76C9D4F11E5A}"/>
              </a:ext>
            </a:extLst>
          </p:cNvPr>
          <p:cNvSpPr>
            <a:spLocks noGrp="1"/>
          </p:cNvSpPr>
          <p:nvPr>
            <p:ph type="body" sz="quarter" idx="87"/>
          </p:nvPr>
        </p:nvSpPr>
        <p:spPr/>
        <p:txBody>
          <a:bodyPr/>
          <a:lstStyle/>
          <a:p>
            <a:r>
              <a:rPr lang="pt-PT" dirty="0" err="1"/>
              <a:t>AUTOMATION</a:t>
            </a:r>
            <a:endParaRPr lang="pt-PT" dirty="0"/>
          </a:p>
        </p:txBody>
      </p:sp>
      <p:sp>
        <p:nvSpPr>
          <p:cNvPr id="3" name="Marcador de Posição do Texto 2">
            <a:extLst>
              <a:ext uri="{FF2B5EF4-FFF2-40B4-BE49-F238E27FC236}">
                <a16:creationId xmlns:a16="http://schemas.microsoft.com/office/drawing/2014/main" id="{3A339933-8837-60A8-A5F4-86FC2559EFC0}"/>
              </a:ext>
            </a:extLst>
          </p:cNvPr>
          <p:cNvSpPr>
            <a:spLocks noGrp="1"/>
          </p:cNvSpPr>
          <p:nvPr>
            <p:ph type="body" sz="quarter" idx="81"/>
          </p:nvPr>
        </p:nvSpPr>
        <p:spPr/>
        <p:txBody>
          <a:bodyPr/>
          <a:lstStyle/>
          <a:p>
            <a:r>
              <a:rPr lang="pt-PT" dirty="0" err="1"/>
              <a:t>MONITORING</a:t>
            </a:r>
            <a:r>
              <a:rPr lang="pt-PT" dirty="0"/>
              <a:t> NON-</a:t>
            </a:r>
            <a:r>
              <a:rPr lang="pt-PT" dirty="0" err="1"/>
              <a:t>PRODUCTION</a:t>
            </a:r>
            <a:r>
              <a:rPr lang="pt-PT" dirty="0"/>
              <a:t> </a:t>
            </a:r>
            <a:r>
              <a:rPr lang="pt-PT" dirty="0" err="1"/>
              <a:t>ECOSYSTEM</a:t>
            </a:r>
            <a:endParaRPr lang="pt-PT" dirty="0"/>
          </a:p>
        </p:txBody>
      </p:sp>
      <p:sp>
        <p:nvSpPr>
          <p:cNvPr id="5" name="Marcador de Posição do Texto 4">
            <a:extLst>
              <a:ext uri="{FF2B5EF4-FFF2-40B4-BE49-F238E27FC236}">
                <a16:creationId xmlns:a16="http://schemas.microsoft.com/office/drawing/2014/main" id="{DE31078D-476C-4736-7E67-6F30378492A6}"/>
              </a:ext>
            </a:extLst>
          </p:cNvPr>
          <p:cNvSpPr>
            <a:spLocks noGrp="1"/>
          </p:cNvSpPr>
          <p:nvPr>
            <p:ph type="body" sz="quarter" idx="88"/>
          </p:nvPr>
        </p:nvSpPr>
        <p:spPr/>
        <p:txBody>
          <a:bodyPr/>
          <a:lstStyle/>
          <a:p>
            <a:r>
              <a:rPr lang="en-US" dirty="0"/>
              <a:t>Decision making based</a:t>
            </a:r>
            <a:br>
              <a:rPr lang="en-US" dirty="0"/>
            </a:br>
            <a:r>
              <a:rPr lang="en-US" dirty="0"/>
              <a:t>on credible information</a:t>
            </a:r>
          </a:p>
        </p:txBody>
      </p:sp>
      <p:sp>
        <p:nvSpPr>
          <p:cNvPr id="8" name="Marcador de Posição do Texto 7">
            <a:extLst>
              <a:ext uri="{FF2B5EF4-FFF2-40B4-BE49-F238E27FC236}">
                <a16:creationId xmlns:a16="http://schemas.microsoft.com/office/drawing/2014/main" id="{18276CB4-E09F-5FFA-DE0B-2E8A5FCD599C}"/>
              </a:ext>
            </a:extLst>
          </p:cNvPr>
          <p:cNvSpPr>
            <a:spLocks noGrp="1"/>
          </p:cNvSpPr>
          <p:nvPr>
            <p:ph type="body" sz="quarter" idx="95"/>
          </p:nvPr>
        </p:nvSpPr>
        <p:spPr/>
        <p:txBody>
          <a:bodyPr/>
          <a:lstStyle/>
          <a:p>
            <a:r>
              <a:rPr lang="pt-PT" dirty="0" err="1"/>
              <a:t>RELEASE</a:t>
            </a:r>
            <a:r>
              <a:rPr lang="pt-PT" dirty="0"/>
              <a:t> MANAGEMENT</a:t>
            </a:r>
          </a:p>
        </p:txBody>
      </p:sp>
      <p:sp>
        <p:nvSpPr>
          <p:cNvPr id="9" name="Marcador de Posição do Texto 8">
            <a:extLst>
              <a:ext uri="{FF2B5EF4-FFF2-40B4-BE49-F238E27FC236}">
                <a16:creationId xmlns:a16="http://schemas.microsoft.com/office/drawing/2014/main" id="{E86A09AF-994C-4DAE-1A65-A7215C741A94}"/>
              </a:ext>
            </a:extLst>
          </p:cNvPr>
          <p:cNvSpPr>
            <a:spLocks noGrp="1"/>
          </p:cNvSpPr>
          <p:nvPr>
            <p:ph type="body" sz="quarter" idx="96"/>
          </p:nvPr>
        </p:nvSpPr>
        <p:spPr/>
        <p:txBody>
          <a:bodyPr/>
          <a:lstStyle/>
          <a:p>
            <a:r>
              <a:rPr lang="pt-PT" dirty="0" err="1"/>
              <a:t>Plan</a:t>
            </a:r>
            <a:r>
              <a:rPr lang="pt-PT" dirty="0"/>
              <a:t> </a:t>
            </a:r>
            <a:r>
              <a:rPr lang="pt-PT" dirty="0" err="1"/>
              <a:t>releases</a:t>
            </a:r>
            <a:endParaRPr lang="pt-PT" dirty="0"/>
          </a:p>
        </p:txBody>
      </p:sp>
      <p:sp>
        <p:nvSpPr>
          <p:cNvPr id="10" name="Marcador de Posição do Texto 9">
            <a:extLst>
              <a:ext uri="{FF2B5EF4-FFF2-40B4-BE49-F238E27FC236}">
                <a16:creationId xmlns:a16="http://schemas.microsoft.com/office/drawing/2014/main" id="{F12DE6A6-AABE-75E7-C2D3-F3047286408B}"/>
              </a:ext>
            </a:extLst>
          </p:cNvPr>
          <p:cNvSpPr>
            <a:spLocks noGrp="1"/>
          </p:cNvSpPr>
          <p:nvPr>
            <p:ph type="body" sz="quarter" idx="97"/>
          </p:nvPr>
        </p:nvSpPr>
        <p:spPr/>
        <p:txBody>
          <a:bodyPr/>
          <a:lstStyle/>
          <a:p>
            <a:r>
              <a:rPr lang="pt-PT" dirty="0" err="1"/>
              <a:t>Plan</a:t>
            </a:r>
            <a:r>
              <a:rPr lang="pt-PT" dirty="0"/>
              <a:t> </a:t>
            </a:r>
            <a:r>
              <a:rPr lang="pt-PT" dirty="0" err="1"/>
              <a:t>release</a:t>
            </a:r>
            <a:r>
              <a:rPr lang="pt-PT" dirty="0"/>
              <a:t> </a:t>
            </a:r>
            <a:r>
              <a:rPr lang="pt-PT" dirty="0" err="1"/>
              <a:t>trains</a:t>
            </a:r>
            <a:endParaRPr lang="pt-PT" dirty="0"/>
          </a:p>
        </p:txBody>
      </p:sp>
      <p:sp>
        <p:nvSpPr>
          <p:cNvPr id="11" name="Marcador de Posição do Texto 10">
            <a:extLst>
              <a:ext uri="{FF2B5EF4-FFF2-40B4-BE49-F238E27FC236}">
                <a16:creationId xmlns:a16="http://schemas.microsoft.com/office/drawing/2014/main" id="{8860434B-5020-5A59-E99F-E21B103D3C3D}"/>
              </a:ext>
            </a:extLst>
          </p:cNvPr>
          <p:cNvSpPr>
            <a:spLocks noGrp="1"/>
          </p:cNvSpPr>
          <p:nvPr>
            <p:ph type="body" sz="quarter" idx="98"/>
          </p:nvPr>
        </p:nvSpPr>
        <p:spPr/>
        <p:txBody>
          <a:bodyPr/>
          <a:lstStyle/>
          <a:p>
            <a:r>
              <a:rPr lang="pt-PT" dirty="0" err="1"/>
              <a:t>Promote</a:t>
            </a:r>
            <a:endParaRPr lang="pt-PT" dirty="0"/>
          </a:p>
        </p:txBody>
      </p:sp>
      <p:sp>
        <p:nvSpPr>
          <p:cNvPr id="12" name="Marcador de Posição do Texto 11">
            <a:extLst>
              <a:ext uri="{FF2B5EF4-FFF2-40B4-BE49-F238E27FC236}">
                <a16:creationId xmlns:a16="http://schemas.microsoft.com/office/drawing/2014/main" id="{7D10A608-EC92-B7B7-371B-B2DF7FFDF40D}"/>
              </a:ext>
            </a:extLst>
          </p:cNvPr>
          <p:cNvSpPr>
            <a:spLocks noGrp="1"/>
          </p:cNvSpPr>
          <p:nvPr>
            <p:ph type="body" sz="quarter" idx="99"/>
          </p:nvPr>
        </p:nvSpPr>
        <p:spPr/>
        <p:txBody>
          <a:bodyPr/>
          <a:lstStyle/>
          <a:p>
            <a:r>
              <a:rPr lang="en-US" dirty="0"/>
              <a:t>Define release workflow, gates &amp; environments</a:t>
            </a:r>
          </a:p>
        </p:txBody>
      </p:sp>
      <p:pic>
        <p:nvPicPr>
          <p:cNvPr id="54" name="Marcador de Posição da Imagem 53" descr="Uma imagem com pessoa, Cara humana, vestuário, edifício&#10;&#10;Os conteúdos gerados por IA podem estar incorretos.">
            <a:extLst>
              <a:ext uri="{FF2B5EF4-FFF2-40B4-BE49-F238E27FC236}">
                <a16:creationId xmlns:a16="http://schemas.microsoft.com/office/drawing/2014/main" id="{11C42784-A653-8DA9-143E-F95388D2E752}"/>
              </a:ext>
            </a:extLst>
          </p:cNvPr>
          <p:cNvPicPr>
            <a:picLocks noGrp="1" noChangeAspect="1"/>
          </p:cNvPicPr>
          <p:nvPr>
            <p:ph type="pic" sz="quarter" idx="100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/>
      </p:pic>
      <p:pic>
        <p:nvPicPr>
          <p:cNvPr id="164" name="Marcador de Posição da Imagem 163" descr="Uma imagem com mobília, interior, vestuário, Edifício de escritórios&#10;&#10;Os conteúdos gerados por IA podem estar incorretos.">
            <a:extLst>
              <a:ext uri="{FF2B5EF4-FFF2-40B4-BE49-F238E27FC236}">
                <a16:creationId xmlns:a16="http://schemas.microsoft.com/office/drawing/2014/main" id="{AF24164D-5643-BDEF-EC86-2C3865D77337}"/>
              </a:ext>
            </a:extLst>
          </p:cNvPr>
          <p:cNvPicPr>
            <a:picLocks noGrp="1" noChangeAspect="1"/>
          </p:cNvPicPr>
          <p:nvPr>
            <p:ph type="pic" sz="quarter" idx="101"/>
          </p:nvPr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/>
      </p:pic>
      <p:sp>
        <p:nvSpPr>
          <p:cNvPr id="15" name="Marcador de Posição do Texto 14">
            <a:extLst>
              <a:ext uri="{FF2B5EF4-FFF2-40B4-BE49-F238E27FC236}">
                <a16:creationId xmlns:a16="http://schemas.microsoft.com/office/drawing/2014/main" id="{833D1232-63ED-5343-7140-BAAD2C19479A}"/>
              </a:ext>
            </a:extLst>
          </p:cNvPr>
          <p:cNvSpPr>
            <a:spLocks noGrp="1"/>
          </p:cNvSpPr>
          <p:nvPr>
            <p:ph type="body" sz="quarter" idx="102"/>
          </p:nvPr>
        </p:nvSpPr>
        <p:spPr/>
        <p:txBody>
          <a:bodyPr/>
          <a:lstStyle/>
          <a:p>
            <a:r>
              <a:rPr lang="en-US" dirty="0"/>
              <a:t>Build / deployment / promotion dashboard and reports</a:t>
            </a:r>
          </a:p>
        </p:txBody>
      </p:sp>
      <p:sp>
        <p:nvSpPr>
          <p:cNvPr id="16" name="Marcador de Posição do Texto 15">
            <a:extLst>
              <a:ext uri="{FF2B5EF4-FFF2-40B4-BE49-F238E27FC236}">
                <a16:creationId xmlns:a16="http://schemas.microsoft.com/office/drawing/2014/main" id="{5A43E60F-1DC0-95DA-A0D4-CE01D96FD02B}"/>
              </a:ext>
            </a:extLst>
          </p:cNvPr>
          <p:cNvSpPr>
            <a:spLocks noGrp="1"/>
          </p:cNvSpPr>
          <p:nvPr>
            <p:ph type="body" sz="quarter" idx="103"/>
          </p:nvPr>
        </p:nvSpPr>
        <p:spPr/>
        <p:txBody>
          <a:bodyPr/>
          <a:lstStyle/>
          <a:p>
            <a:r>
              <a:rPr lang="en-US" dirty="0"/>
              <a:t>Automated &amp; manual</a:t>
            </a:r>
            <a:br>
              <a:rPr lang="en-US" dirty="0"/>
            </a:br>
            <a:r>
              <a:rPr lang="en-US" dirty="0"/>
              <a:t>testing &amp; test data</a:t>
            </a:r>
          </a:p>
        </p:txBody>
      </p:sp>
      <p:sp>
        <p:nvSpPr>
          <p:cNvPr id="17" name="Marcador de Posição do Texto 16">
            <a:extLst>
              <a:ext uri="{FF2B5EF4-FFF2-40B4-BE49-F238E27FC236}">
                <a16:creationId xmlns:a16="http://schemas.microsoft.com/office/drawing/2014/main" id="{BF2224FD-03D7-79AC-3843-FB2836C0027B}"/>
              </a:ext>
            </a:extLst>
          </p:cNvPr>
          <p:cNvSpPr>
            <a:spLocks noGrp="1"/>
          </p:cNvSpPr>
          <p:nvPr>
            <p:ph type="body" sz="quarter" idx="107"/>
          </p:nvPr>
        </p:nvSpPr>
        <p:spPr/>
        <p:txBody>
          <a:bodyPr/>
          <a:lstStyle/>
          <a:p>
            <a:r>
              <a:rPr lang="pt-PT" dirty="0" err="1"/>
              <a:t>Continuous</a:t>
            </a:r>
            <a:r>
              <a:rPr lang="pt-PT" dirty="0"/>
              <a:t>  </a:t>
            </a:r>
            <a:r>
              <a:rPr lang="pt-PT" dirty="0" err="1"/>
              <a:t>monitoring</a:t>
            </a:r>
            <a:endParaRPr lang="pt-PT" dirty="0"/>
          </a:p>
        </p:txBody>
      </p:sp>
      <p:sp>
        <p:nvSpPr>
          <p:cNvPr id="18" name="Marcador de Posição do Texto 17">
            <a:extLst>
              <a:ext uri="{FF2B5EF4-FFF2-40B4-BE49-F238E27FC236}">
                <a16:creationId xmlns:a16="http://schemas.microsoft.com/office/drawing/2014/main" id="{E2A7A630-0BCB-AC58-B7BC-4F01B5085314}"/>
              </a:ext>
            </a:extLst>
          </p:cNvPr>
          <p:cNvSpPr>
            <a:spLocks noGrp="1"/>
          </p:cNvSpPr>
          <p:nvPr>
            <p:ph type="body" sz="quarter" idx="108"/>
          </p:nvPr>
        </p:nvSpPr>
        <p:spPr/>
        <p:txBody>
          <a:bodyPr/>
          <a:lstStyle/>
          <a:p>
            <a:r>
              <a:rPr lang="pt-PT" dirty="0" err="1"/>
              <a:t>Continuous</a:t>
            </a:r>
            <a:r>
              <a:rPr lang="pt-PT" dirty="0"/>
              <a:t>  </a:t>
            </a:r>
            <a:r>
              <a:rPr lang="pt-PT" dirty="0" err="1"/>
              <a:t>testing</a:t>
            </a:r>
            <a:endParaRPr lang="pt-PT" dirty="0"/>
          </a:p>
        </p:txBody>
      </p:sp>
      <p:sp>
        <p:nvSpPr>
          <p:cNvPr id="19" name="Marcador de Posição do Texto 18">
            <a:extLst>
              <a:ext uri="{FF2B5EF4-FFF2-40B4-BE49-F238E27FC236}">
                <a16:creationId xmlns:a16="http://schemas.microsoft.com/office/drawing/2014/main" id="{9C9C7A68-5F1A-8AC9-3071-158E0BA4CED4}"/>
              </a:ext>
            </a:extLst>
          </p:cNvPr>
          <p:cNvSpPr>
            <a:spLocks noGrp="1"/>
          </p:cNvSpPr>
          <p:nvPr>
            <p:ph type="body" sz="quarter" idx="109"/>
          </p:nvPr>
        </p:nvSpPr>
        <p:spPr/>
        <p:txBody>
          <a:bodyPr/>
          <a:lstStyle/>
          <a:p>
            <a:r>
              <a:rPr lang="pt-PT" dirty="0" err="1"/>
              <a:t>CONTINUOUS</a:t>
            </a:r>
            <a:r>
              <a:rPr lang="pt-PT" dirty="0"/>
              <a:t>  FEEDBACK</a:t>
            </a:r>
          </a:p>
        </p:txBody>
      </p:sp>
      <p:sp>
        <p:nvSpPr>
          <p:cNvPr id="20" name="Marcador de Posição do Texto 19">
            <a:extLst>
              <a:ext uri="{FF2B5EF4-FFF2-40B4-BE49-F238E27FC236}">
                <a16:creationId xmlns:a16="http://schemas.microsoft.com/office/drawing/2014/main" id="{A522C2F2-1684-45DC-85F4-6D32B24BF3CA}"/>
              </a:ext>
            </a:extLst>
          </p:cNvPr>
          <p:cNvSpPr>
            <a:spLocks noGrp="1"/>
          </p:cNvSpPr>
          <p:nvPr>
            <p:ph type="body" sz="quarter" idx="110"/>
          </p:nvPr>
        </p:nvSpPr>
        <p:spPr/>
        <p:txBody>
          <a:bodyPr/>
          <a:lstStyle/>
          <a:p>
            <a:r>
              <a:rPr lang="en-US" dirty="0"/>
              <a:t>Deployment workflow,</a:t>
            </a:r>
            <a:br>
              <a:rPr lang="en-US" dirty="0"/>
            </a:br>
            <a:r>
              <a:rPr lang="en-US" dirty="0"/>
              <a:t>rollback, pre/pos tasks</a:t>
            </a:r>
          </a:p>
        </p:txBody>
      </p:sp>
      <p:sp>
        <p:nvSpPr>
          <p:cNvPr id="21" name="Marcador de Posição do Texto 20">
            <a:extLst>
              <a:ext uri="{FF2B5EF4-FFF2-40B4-BE49-F238E27FC236}">
                <a16:creationId xmlns:a16="http://schemas.microsoft.com/office/drawing/2014/main" id="{9FF22072-E262-A14F-497B-16FB1FC3D967}"/>
              </a:ext>
            </a:extLst>
          </p:cNvPr>
          <p:cNvSpPr>
            <a:spLocks noGrp="1"/>
          </p:cNvSpPr>
          <p:nvPr>
            <p:ph type="body" sz="quarter" idx="111"/>
          </p:nvPr>
        </p:nvSpPr>
        <p:spPr/>
        <p:txBody>
          <a:bodyPr/>
          <a:lstStyle/>
          <a:p>
            <a:r>
              <a:rPr lang="pt-PT" dirty="0" err="1"/>
              <a:t>Adaptative</a:t>
            </a:r>
            <a:r>
              <a:rPr lang="pt-PT" dirty="0"/>
              <a:t>, </a:t>
            </a:r>
            <a:r>
              <a:rPr lang="pt-PT" dirty="0" err="1"/>
              <a:t>dinamic</a:t>
            </a:r>
            <a:r>
              <a:rPr lang="pt-PT" dirty="0"/>
              <a:t> </a:t>
            </a:r>
            <a:r>
              <a:rPr lang="pt-PT" dirty="0" err="1"/>
              <a:t>releases</a:t>
            </a:r>
            <a:endParaRPr lang="pt-PT" dirty="0"/>
          </a:p>
        </p:txBody>
      </p:sp>
      <p:sp>
        <p:nvSpPr>
          <p:cNvPr id="22" name="Marcador de Posição do Texto 21">
            <a:extLst>
              <a:ext uri="{FF2B5EF4-FFF2-40B4-BE49-F238E27FC236}">
                <a16:creationId xmlns:a16="http://schemas.microsoft.com/office/drawing/2014/main" id="{29AF78F7-64A7-76F5-377C-DFCCE0E36BBC}"/>
              </a:ext>
            </a:extLst>
          </p:cNvPr>
          <p:cNvSpPr>
            <a:spLocks noGrp="1"/>
          </p:cNvSpPr>
          <p:nvPr>
            <p:ph type="body" sz="quarter" idx="112"/>
          </p:nvPr>
        </p:nvSpPr>
        <p:spPr/>
        <p:txBody>
          <a:bodyPr/>
          <a:lstStyle/>
          <a:p>
            <a:r>
              <a:rPr lang="pt-PT" dirty="0" err="1"/>
              <a:t>Application</a:t>
            </a:r>
            <a:r>
              <a:rPr lang="pt-PT" dirty="0"/>
              <a:t> </a:t>
            </a:r>
            <a:r>
              <a:rPr lang="pt-PT" dirty="0" err="1"/>
              <a:t>Knowledge</a:t>
            </a:r>
            <a:endParaRPr lang="pt-PT" dirty="0"/>
          </a:p>
        </p:txBody>
      </p:sp>
      <p:sp>
        <p:nvSpPr>
          <p:cNvPr id="198" name="Marcador de Posição do Texto 197">
            <a:extLst>
              <a:ext uri="{FF2B5EF4-FFF2-40B4-BE49-F238E27FC236}">
                <a16:creationId xmlns:a16="http://schemas.microsoft.com/office/drawing/2014/main" id="{8C9F401C-29F1-0A8F-BF86-C542341EA2CB}"/>
              </a:ext>
            </a:extLst>
          </p:cNvPr>
          <p:cNvSpPr>
            <a:spLocks noGrp="1"/>
          </p:cNvSpPr>
          <p:nvPr>
            <p:ph type="body" sz="quarter" idx="113"/>
          </p:nvPr>
        </p:nvSpPr>
        <p:spPr/>
        <p:txBody>
          <a:bodyPr/>
          <a:lstStyle/>
          <a:p>
            <a:endParaRPr lang="pt-PT"/>
          </a:p>
        </p:txBody>
      </p:sp>
      <p:sp>
        <p:nvSpPr>
          <p:cNvPr id="199" name="Marcador de Posição do Texto 198">
            <a:extLst>
              <a:ext uri="{FF2B5EF4-FFF2-40B4-BE49-F238E27FC236}">
                <a16:creationId xmlns:a16="http://schemas.microsoft.com/office/drawing/2014/main" id="{3E3C6A5B-3B66-6483-81EE-9B0765A4B518}"/>
              </a:ext>
            </a:extLst>
          </p:cNvPr>
          <p:cNvSpPr>
            <a:spLocks noGrp="1"/>
          </p:cNvSpPr>
          <p:nvPr>
            <p:ph type="body" sz="quarter" idx="114"/>
          </p:nvPr>
        </p:nvSpPr>
        <p:spPr/>
        <p:txBody>
          <a:bodyPr/>
          <a:lstStyle/>
          <a:p>
            <a:endParaRPr lang="pt-PT"/>
          </a:p>
        </p:txBody>
      </p:sp>
      <p:sp>
        <p:nvSpPr>
          <p:cNvPr id="25" name="Marcador de Posição do Texto 24">
            <a:extLst>
              <a:ext uri="{FF2B5EF4-FFF2-40B4-BE49-F238E27FC236}">
                <a16:creationId xmlns:a16="http://schemas.microsoft.com/office/drawing/2014/main" id="{1F37A9C9-6608-8407-4EE7-A2C838D75C57}"/>
              </a:ext>
            </a:extLst>
          </p:cNvPr>
          <p:cNvSpPr>
            <a:spLocks noGrp="1"/>
          </p:cNvSpPr>
          <p:nvPr>
            <p:ph type="body" sz="quarter" idx="115"/>
          </p:nvPr>
        </p:nvSpPr>
        <p:spPr/>
        <p:txBody>
          <a:bodyPr/>
          <a:lstStyle/>
          <a:p>
            <a:r>
              <a:rPr lang="pt-PT" dirty="0" err="1"/>
              <a:t>DEVELOPMENT</a:t>
            </a:r>
            <a:r>
              <a:rPr lang="pt-PT" dirty="0"/>
              <a:t> /</a:t>
            </a:r>
            <a:br>
              <a:rPr lang="pt-PT" dirty="0"/>
            </a:br>
            <a:r>
              <a:rPr lang="pt-PT" dirty="0" err="1"/>
              <a:t>ITERATIVE</a:t>
            </a:r>
            <a:r>
              <a:rPr lang="pt-PT" dirty="0"/>
              <a:t> </a:t>
            </a:r>
            <a:r>
              <a:rPr lang="pt-PT" dirty="0" err="1"/>
              <a:t>PROCESS</a:t>
            </a:r>
            <a:endParaRPr lang="pt-PT" dirty="0"/>
          </a:p>
        </p:txBody>
      </p:sp>
      <p:sp>
        <p:nvSpPr>
          <p:cNvPr id="26" name="Marcador de Posição do Texto 25">
            <a:extLst>
              <a:ext uri="{FF2B5EF4-FFF2-40B4-BE49-F238E27FC236}">
                <a16:creationId xmlns:a16="http://schemas.microsoft.com/office/drawing/2014/main" id="{142944C5-9177-0F92-6F98-F59E52875C58}"/>
              </a:ext>
            </a:extLst>
          </p:cNvPr>
          <p:cNvSpPr>
            <a:spLocks noGrp="1"/>
          </p:cNvSpPr>
          <p:nvPr>
            <p:ph type="body" sz="quarter" idx="116"/>
          </p:nvPr>
        </p:nvSpPr>
        <p:spPr/>
        <p:txBody>
          <a:bodyPr/>
          <a:lstStyle/>
          <a:p>
            <a:r>
              <a:rPr lang="pt-PT" dirty="0" err="1"/>
              <a:t>Audit</a:t>
            </a:r>
            <a:endParaRPr lang="pt-PT" dirty="0"/>
          </a:p>
        </p:txBody>
      </p:sp>
      <p:sp>
        <p:nvSpPr>
          <p:cNvPr id="27" name="Marcador de Posição do Texto 26">
            <a:extLst>
              <a:ext uri="{FF2B5EF4-FFF2-40B4-BE49-F238E27FC236}">
                <a16:creationId xmlns:a16="http://schemas.microsoft.com/office/drawing/2014/main" id="{F7FE61B7-EA4B-7F4E-6EAB-4CD5AB44169C}"/>
              </a:ext>
            </a:extLst>
          </p:cNvPr>
          <p:cNvSpPr>
            <a:spLocks noGrp="1"/>
          </p:cNvSpPr>
          <p:nvPr>
            <p:ph type="body" sz="quarter" idx="117"/>
          </p:nvPr>
        </p:nvSpPr>
        <p:spPr/>
        <p:txBody>
          <a:bodyPr/>
          <a:lstStyle/>
          <a:p>
            <a:r>
              <a:rPr lang="pt-PT" dirty="0" err="1"/>
              <a:t>Build</a:t>
            </a:r>
            <a:endParaRPr lang="pt-PT" dirty="0"/>
          </a:p>
        </p:txBody>
      </p:sp>
      <p:sp>
        <p:nvSpPr>
          <p:cNvPr id="28" name="Marcador de Posição do Texto 27">
            <a:extLst>
              <a:ext uri="{FF2B5EF4-FFF2-40B4-BE49-F238E27FC236}">
                <a16:creationId xmlns:a16="http://schemas.microsoft.com/office/drawing/2014/main" id="{20B6C024-D52E-C145-10E2-7D5F6864D5B7}"/>
              </a:ext>
            </a:extLst>
          </p:cNvPr>
          <p:cNvSpPr>
            <a:spLocks noGrp="1"/>
          </p:cNvSpPr>
          <p:nvPr>
            <p:ph type="body" sz="quarter" idx="118"/>
          </p:nvPr>
        </p:nvSpPr>
        <p:spPr/>
        <p:txBody>
          <a:bodyPr/>
          <a:lstStyle/>
          <a:p>
            <a:r>
              <a:rPr lang="pt-PT" dirty="0" err="1"/>
              <a:t>Deploy</a:t>
            </a:r>
            <a:endParaRPr lang="pt-PT" dirty="0"/>
          </a:p>
        </p:txBody>
      </p:sp>
      <p:sp>
        <p:nvSpPr>
          <p:cNvPr id="29" name="Marcador de Posição do Texto 28">
            <a:extLst>
              <a:ext uri="{FF2B5EF4-FFF2-40B4-BE49-F238E27FC236}">
                <a16:creationId xmlns:a16="http://schemas.microsoft.com/office/drawing/2014/main" id="{C548050D-D838-0C0A-2A29-882A6222CDD4}"/>
              </a:ext>
            </a:extLst>
          </p:cNvPr>
          <p:cNvSpPr>
            <a:spLocks noGrp="1"/>
          </p:cNvSpPr>
          <p:nvPr>
            <p:ph type="body" sz="quarter" idx="119"/>
          </p:nvPr>
        </p:nvSpPr>
        <p:spPr/>
        <p:txBody>
          <a:bodyPr/>
          <a:lstStyle/>
          <a:p>
            <a:r>
              <a:rPr lang="pt-PT" dirty="0" err="1"/>
              <a:t>Test</a:t>
            </a:r>
            <a:endParaRPr lang="pt-PT" dirty="0"/>
          </a:p>
        </p:txBody>
      </p:sp>
      <p:pic>
        <p:nvPicPr>
          <p:cNvPr id="58" name="Marcador de Posição da Imagem 57" descr="Uma imagem com Cara humana, vestuário, pessoa, interior&#10;&#10;Os conteúdos gerados por IA podem estar incorretos.">
            <a:extLst>
              <a:ext uri="{FF2B5EF4-FFF2-40B4-BE49-F238E27FC236}">
                <a16:creationId xmlns:a16="http://schemas.microsoft.com/office/drawing/2014/main" id="{13139747-76B8-ACCE-3088-B34FEAFF2954}"/>
              </a:ext>
            </a:extLst>
          </p:cNvPr>
          <p:cNvPicPr>
            <a:picLocks noGrp="1" noChangeAspect="1"/>
          </p:cNvPicPr>
          <p:nvPr>
            <p:ph type="pic" sz="quarter" idx="120"/>
          </p:nvPr>
        </p:nvPicPr>
        <p:blipFill>
          <a:blip r:embed="rId5"/>
          <a:srcRect l="13912" r="13912"/>
          <a:stretch/>
        </p:blipFill>
        <p:spPr/>
      </p:pic>
      <p:sp>
        <p:nvSpPr>
          <p:cNvPr id="31" name="Marcador de Posição do Texto 30">
            <a:extLst>
              <a:ext uri="{FF2B5EF4-FFF2-40B4-BE49-F238E27FC236}">
                <a16:creationId xmlns:a16="http://schemas.microsoft.com/office/drawing/2014/main" id="{7395360A-5D69-B06E-1F86-A8ECEC853E21}"/>
              </a:ext>
            </a:extLst>
          </p:cNvPr>
          <p:cNvSpPr>
            <a:spLocks noGrp="1"/>
          </p:cNvSpPr>
          <p:nvPr>
            <p:ph type="body" sz="quarter" idx="121"/>
          </p:nvPr>
        </p:nvSpPr>
        <p:spPr/>
        <p:txBody>
          <a:bodyPr/>
          <a:lstStyle/>
          <a:p>
            <a:r>
              <a:rPr lang="pt-PT" dirty="0" err="1"/>
              <a:t>CONTINUOUS</a:t>
            </a:r>
            <a:r>
              <a:rPr lang="pt-PT" dirty="0"/>
              <a:t> INTEGRATION</a:t>
            </a:r>
          </a:p>
        </p:txBody>
      </p:sp>
      <p:sp>
        <p:nvSpPr>
          <p:cNvPr id="32" name="Marcador de Posição do Texto 31">
            <a:extLst>
              <a:ext uri="{FF2B5EF4-FFF2-40B4-BE49-F238E27FC236}">
                <a16:creationId xmlns:a16="http://schemas.microsoft.com/office/drawing/2014/main" id="{377F3EF8-E7D6-F4A2-3ED4-784856D45566}"/>
              </a:ext>
            </a:extLst>
          </p:cNvPr>
          <p:cNvSpPr>
            <a:spLocks noGrp="1"/>
          </p:cNvSpPr>
          <p:nvPr>
            <p:ph type="body" sz="quarter" idx="122"/>
          </p:nvPr>
        </p:nvSpPr>
        <p:spPr/>
        <p:txBody>
          <a:bodyPr/>
          <a:lstStyle/>
          <a:p>
            <a:r>
              <a:rPr lang="pt-PT" dirty="0" err="1"/>
              <a:t>SCA</a:t>
            </a:r>
            <a:r>
              <a:rPr lang="pt-PT" dirty="0"/>
              <a:t> | </a:t>
            </a:r>
            <a:r>
              <a:rPr lang="pt-PT" dirty="0" err="1"/>
              <a:t>SAST</a:t>
            </a:r>
            <a:endParaRPr lang="pt-PT" dirty="0"/>
          </a:p>
        </p:txBody>
      </p:sp>
      <p:sp>
        <p:nvSpPr>
          <p:cNvPr id="33" name="Marcador de Posição do Texto 32">
            <a:extLst>
              <a:ext uri="{FF2B5EF4-FFF2-40B4-BE49-F238E27FC236}">
                <a16:creationId xmlns:a16="http://schemas.microsoft.com/office/drawing/2014/main" id="{2E3FDF2E-EA5A-70D5-784F-AE133E6C5649}"/>
              </a:ext>
            </a:extLst>
          </p:cNvPr>
          <p:cNvSpPr>
            <a:spLocks noGrp="1"/>
          </p:cNvSpPr>
          <p:nvPr>
            <p:ph type="body" sz="quarter" idx="123"/>
          </p:nvPr>
        </p:nvSpPr>
        <p:spPr/>
        <p:txBody>
          <a:bodyPr/>
          <a:lstStyle/>
          <a:p>
            <a:r>
              <a:rPr lang="pt-PT" dirty="0" err="1"/>
              <a:t>Developers</a:t>
            </a:r>
            <a:endParaRPr lang="pt-PT" dirty="0"/>
          </a:p>
        </p:txBody>
      </p:sp>
      <p:sp>
        <p:nvSpPr>
          <p:cNvPr id="34" name="Marcador de Posição do Texto 33">
            <a:extLst>
              <a:ext uri="{FF2B5EF4-FFF2-40B4-BE49-F238E27FC236}">
                <a16:creationId xmlns:a16="http://schemas.microsoft.com/office/drawing/2014/main" id="{0C744169-C527-7710-7D42-E98553BA8B22}"/>
              </a:ext>
            </a:extLst>
          </p:cNvPr>
          <p:cNvSpPr>
            <a:spLocks noGrp="1"/>
          </p:cNvSpPr>
          <p:nvPr>
            <p:ph type="body" sz="quarter" idx="124"/>
          </p:nvPr>
        </p:nvSpPr>
        <p:spPr/>
        <p:txBody>
          <a:bodyPr/>
          <a:lstStyle/>
          <a:p>
            <a:r>
              <a:rPr lang="pt-PT" dirty="0" err="1"/>
              <a:t>Implement</a:t>
            </a:r>
            <a:r>
              <a:rPr lang="pt-PT" dirty="0"/>
              <a:t> </a:t>
            </a:r>
            <a:r>
              <a:rPr lang="pt-PT" dirty="0" err="1"/>
              <a:t>components</a:t>
            </a:r>
            <a:endParaRPr lang="pt-PT" dirty="0"/>
          </a:p>
        </p:txBody>
      </p:sp>
      <p:sp>
        <p:nvSpPr>
          <p:cNvPr id="200" name="Marcador de Posição do Texto 199">
            <a:extLst>
              <a:ext uri="{FF2B5EF4-FFF2-40B4-BE49-F238E27FC236}">
                <a16:creationId xmlns:a16="http://schemas.microsoft.com/office/drawing/2014/main" id="{C5946F1F-7B87-1EE4-2FC9-5E7B59F3A4DE}"/>
              </a:ext>
            </a:extLst>
          </p:cNvPr>
          <p:cNvSpPr>
            <a:spLocks noGrp="1"/>
          </p:cNvSpPr>
          <p:nvPr>
            <p:ph type="body" sz="quarter" idx="125"/>
          </p:nvPr>
        </p:nvSpPr>
        <p:spPr/>
        <p:txBody>
          <a:bodyPr/>
          <a:lstStyle/>
          <a:p>
            <a:r>
              <a:rPr lang="pt-PT" dirty="0" err="1"/>
              <a:t>Right</a:t>
            </a:r>
            <a:r>
              <a:rPr lang="pt-PT" dirty="0"/>
              <a:t> </a:t>
            </a:r>
            <a:r>
              <a:rPr lang="pt-PT" dirty="0" err="1"/>
              <a:t>test</a:t>
            </a:r>
            <a:r>
              <a:rPr lang="pt-PT" dirty="0"/>
              <a:t> data</a:t>
            </a:r>
          </a:p>
        </p:txBody>
      </p:sp>
      <p:sp>
        <p:nvSpPr>
          <p:cNvPr id="201" name="Marcador de Posição do Texto 200">
            <a:extLst>
              <a:ext uri="{FF2B5EF4-FFF2-40B4-BE49-F238E27FC236}">
                <a16:creationId xmlns:a16="http://schemas.microsoft.com/office/drawing/2014/main" id="{4D266C6F-D4C2-6674-E160-5E6A69EC165A}"/>
              </a:ext>
            </a:extLst>
          </p:cNvPr>
          <p:cNvSpPr>
            <a:spLocks noGrp="1"/>
          </p:cNvSpPr>
          <p:nvPr>
            <p:ph type="body" sz="quarter" idx="126"/>
          </p:nvPr>
        </p:nvSpPr>
        <p:spPr/>
        <p:txBody>
          <a:bodyPr/>
          <a:lstStyle/>
          <a:p>
            <a:r>
              <a:rPr lang="pt-PT" dirty="0"/>
              <a:t>Manual &amp; </a:t>
            </a:r>
            <a:r>
              <a:rPr lang="pt-PT" dirty="0" err="1"/>
              <a:t>automated</a:t>
            </a:r>
            <a:r>
              <a:rPr lang="pt-PT" dirty="0"/>
              <a:t> </a:t>
            </a:r>
            <a:r>
              <a:rPr lang="pt-PT" dirty="0" err="1"/>
              <a:t>testing</a:t>
            </a:r>
            <a:endParaRPr lang="pt-PT" dirty="0"/>
          </a:p>
        </p:txBody>
      </p:sp>
      <p:sp>
        <p:nvSpPr>
          <p:cNvPr id="202" name="Marcador de Posição do Texto 201">
            <a:extLst>
              <a:ext uri="{FF2B5EF4-FFF2-40B4-BE49-F238E27FC236}">
                <a16:creationId xmlns:a16="http://schemas.microsoft.com/office/drawing/2014/main" id="{7F2ECA04-B199-BA4C-6FB2-0AD409637A89}"/>
              </a:ext>
            </a:extLst>
          </p:cNvPr>
          <p:cNvSpPr>
            <a:spLocks noGrp="1"/>
          </p:cNvSpPr>
          <p:nvPr>
            <p:ph type="body" sz="quarter" idx="127"/>
          </p:nvPr>
        </p:nvSpPr>
        <p:spPr/>
        <p:txBody>
          <a:bodyPr/>
          <a:lstStyle/>
          <a:p>
            <a:r>
              <a:rPr lang="pt-PT" dirty="0" err="1"/>
              <a:t>Continuous</a:t>
            </a:r>
            <a:r>
              <a:rPr lang="pt-PT" dirty="0"/>
              <a:t> feedback</a:t>
            </a:r>
          </a:p>
        </p:txBody>
      </p:sp>
      <p:sp>
        <p:nvSpPr>
          <p:cNvPr id="203" name="Marcador de Posição do Texto 202">
            <a:extLst>
              <a:ext uri="{FF2B5EF4-FFF2-40B4-BE49-F238E27FC236}">
                <a16:creationId xmlns:a16="http://schemas.microsoft.com/office/drawing/2014/main" id="{C34BC421-00E3-E7A5-B10B-E39610317BCC}"/>
              </a:ext>
            </a:extLst>
          </p:cNvPr>
          <p:cNvSpPr>
            <a:spLocks noGrp="1"/>
          </p:cNvSpPr>
          <p:nvPr>
            <p:ph type="body" sz="quarter" idx="128"/>
          </p:nvPr>
        </p:nvSpPr>
        <p:spPr/>
        <p:txBody>
          <a:bodyPr/>
          <a:lstStyle/>
          <a:p>
            <a:r>
              <a:rPr lang="pt-PT" dirty="0" err="1"/>
              <a:t>TEST</a:t>
            </a:r>
            <a:r>
              <a:rPr lang="pt-PT" dirty="0"/>
              <a:t> | </a:t>
            </a:r>
            <a:r>
              <a:rPr lang="pt-PT" dirty="0" err="1"/>
              <a:t>QA</a:t>
            </a:r>
            <a:endParaRPr lang="pt-PT" dirty="0"/>
          </a:p>
        </p:txBody>
      </p:sp>
      <p:pic>
        <p:nvPicPr>
          <p:cNvPr id="60" name="Marcador de Posição da Imagem 59" descr="Uma imagem com vestuário, pessoa, Cara humana, homem&#10;&#10;Os conteúdos gerados por IA podem estar incorretos.">
            <a:extLst>
              <a:ext uri="{FF2B5EF4-FFF2-40B4-BE49-F238E27FC236}">
                <a16:creationId xmlns:a16="http://schemas.microsoft.com/office/drawing/2014/main" id="{619A4644-C891-D29F-80D9-9E7F90DD9037}"/>
              </a:ext>
            </a:extLst>
          </p:cNvPr>
          <p:cNvPicPr>
            <a:picLocks noGrp="1" noChangeAspect="1"/>
          </p:cNvPicPr>
          <p:nvPr>
            <p:ph type="pic" sz="quarter" idx="129"/>
          </p:nvPr>
        </p:nvPicPr>
        <p:blipFill>
          <a:blip r:embed="rId6"/>
          <a:srcRect l="17761" r="17761"/>
          <a:stretch/>
        </p:blipFill>
        <p:spPr/>
      </p:pic>
      <p:pic>
        <p:nvPicPr>
          <p:cNvPr id="62" name="Marcador de Posição da Imagem 61" descr="Uma imagem com pessoa, Cara humana, computador portátil, interior&#10;&#10;Os conteúdos gerados por IA podem estar incorretos.">
            <a:extLst>
              <a:ext uri="{FF2B5EF4-FFF2-40B4-BE49-F238E27FC236}">
                <a16:creationId xmlns:a16="http://schemas.microsoft.com/office/drawing/2014/main" id="{A9E9E9D5-8C01-77FC-96B7-B10D9BC9A509}"/>
              </a:ext>
            </a:extLst>
          </p:cNvPr>
          <p:cNvPicPr>
            <a:picLocks noGrp="1" noChangeAspect="1"/>
          </p:cNvPicPr>
          <p:nvPr>
            <p:ph type="pic" sz="quarter" idx="130"/>
          </p:nvPr>
        </p:nvPicPr>
        <p:blipFill>
          <a:blip r:embed="rId7"/>
          <a:srcRect l="17722" r="17722"/>
          <a:stretch/>
        </p:blipFill>
        <p:spPr/>
      </p:pic>
      <p:sp>
        <p:nvSpPr>
          <p:cNvPr id="204" name="Marcador de Posição do Texto 203">
            <a:extLst>
              <a:ext uri="{FF2B5EF4-FFF2-40B4-BE49-F238E27FC236}">
                <a16:creationId xmlns:a16="http://schemas.microsoft.com/office/drawing/2014/main" id="{2790F126-0B31-F4A4-1CC9-A99707AC88A7}"/>
              </a:ext>
            </a:extLst>
          </p:cNvPr>
          <p:cNvSpPr>
            <a:spLocks noGrp="1"/>
          </p:cNvSpPr>
          <p:nvPr>
            <p:ph type="body" sz="quarter" idx="131"/>
          </p:nvPr>
        </p:nvSpPr>
        <p:spPr>
          <a:xfrm>
            <a:off x="7299547" y="5155830"/>
            <a:ext cx="1827594" cy="247210"/>
          </a:xfrm>
        </p:spPr>
        <p:txBody>
          <a:bodyPr/>
          <a:lstStyle/>
          <a:p>
            <a:r>
              <a:rPr lang="pt-PT" dirty="0" err="1"/>
              <a:t>DEPLOYMENT</a:t>
            </a:r>
            <a:r>
              <a:rPr lang="pt-PT" dirty="0"/>
              <a:t> MANAGER</a:t>
            </a:r>
          </a:p>
        </p:txBody>
      </p:sp>
      <p:sp>
        <p:nvSpPr>
          <p:cNvPr id="205" name="Marcador de Posição do Texto 204">
            <a:extLst>
              <a:ext uri="{FF2B5EF4-FFF2-40B4-BE49-F238E27FC236}">
                <a16:creationId xmlns:a16="http://schemas.microsoft.com/office/drawing/2014/main" id="{C3AE2325-501D-0521-0168-4909AF123BEC}"/>
              </a:ext>
            </a:extLst>
          </p:cNvPr>
          <p:cNvSpPr>
            <a:spLocks noGrp="1"/>
          </p:cNvSpPr>
          <p:nvPr>
            <p:ph type="body" sz="quarter" idx="132"/>
          </p:nvPr>
        </p:nvSpPr>
        <p:spPr/>
        <p:txBody>
          <a:bodyPr/>
          <a:lstStyle/>
          <a:p>
            <a:r>
              <a:rPr lang="pt-PT" dirty="0" err="1"/>
              <a:t>Authorize</a:t>
            </a:r>
            <a:endParaRPr lang="pt-PT" dirty="0"/>
          </a:p>
        </p:txBody>
      </p:sp>
      <p:sp>
        <p:nvSpPr>
          <p:cNvPr id="206" name="Marcador de Posição do Texto 205">
            <a:extLst>
              <a:ext uri="{FF2B5EF4-FFF2-40B4-BE49-F238E27FC236}">
                <a16:creationId xmlns:a16="http://schemas.microsoft.com/office/drawing/2014/main" id="{A8651637-A6A8-6F5E-30A0-72027F1D6255}"/>
              </a:ext>
            </a:extLst>
          </p:cNvPr>
          <p:cNvSpPr>
            <a:spLocks noGrp="1"/>
          </p:cNvSpPr>
          <p:nvPr>
            <p:ph type="body" sz="quarter" idx="133"/>
          </p:nvPr>
        </p:nvSpPr>
        <p:spPr/>
        <p:txBody>
          <a:bodyPr/>
          <a:lstStyle/>
          <a:p>
            <a:r>
              <a:rPr lang="pt-PT" dirty="0" err="1"/>
              <a:t>CONTINUOUS</a:t>
            </a:r>
            <a:r>
              <a:rPr lang="pt-PT" dirty="0"/>
              <a:t> </a:t>
            </a:r>
            <a:r>
              <a:rPr lang="pt-PT" dirty="0" err="1"/>
              <a:t>DEPLOYMENT</a:t>
            </a:r>
            <a:endParaRPr lang="pt-PT" dirty="0"/>
          </a:p>
        </p:txBody>
      </p:sp>
      <p:sp>
        <p:nvSpPr>
          <p:cNvPr id="207" name="Marcador de Posição do Texto 206">
            <a:extLst>
              <a:ext uri="{FF2B5EF4-FFF2-40B4-BE49-F238E27FC236}">
                <a16:creationId xmlns:a16="http://schemas.microsoft.com/office/drawing/2014/main" id="{26519287-5E61-00ED-2099-5CA7AE2DC1AB}"/>
              </a:ext>
            </a:extLst>
          </p:cNvPr>
          <p:cNvSpPr>
            <a:spLocks noGrp="1"/>
          </p:cNvSpPr>
          <p:nvPr>
            <p:ph type="body" sz="quarter" idx="134"/>
          </p:nvPr>
        </p:nvSpPr>
        <p:spPr/>
        <p:txBody>
          <a:bodyPr/>
          <a:lstStyle/>
          <a:p>
            <a:r>
              <a:rPr lang="pt-PT" dirty="0" err="1"/>
              <a:t>Manage</a:t>
            </a:r>
            <a:endParaRPr lang="pt-PT" dirty="0"/>
          </a:p>
        </p:txBody>
      </p:sp>
      <p:sp>
        <p:nvSpPr>
          <p:cNvPr id="208" name="Marcador de Posição do Texto 207">
            <a:extLst>
              <a:ext uri="{FF2B5EF4-FFF2-40B4-BE49-F238E27FC236}">
                <a16:creationId xmlns:a16="http://schemas.microsoft.com/office/drawing/2014/main" id="{12B2DC63-0877-EB4D-970D-E97453845F91}"/>
              </a:ext>
            </a:extLst>
          </p:cNvPr>
          <p:cNvSpPr>
            <a:spLocks noGrp="1"/>
          </p:cNvSpPr>
          <p:nvPr>
            <p:ph type="body" sz="quarter" idx="135"/>
          </p:nvPr>
        </p:nvSpPr>
        <p:spPr>
          <a:xfrm>
            <a:off x="10542865" y="4433534"/>
            <a:ext cx="944285" cy="233235"/>
          </a:xfrm>
        </p:spPr>
        <p:txBody>
          <a:bodyPr/>
          <a:lstStyle/>
          <a:p>
            <a:r>
              <a:rPr lang="pt-PT" dirty="0" err="1"/>
              <a:t>Trigger</a:t>
            </a:r>
            <a:r>
              <a:rPr lang="pt-PT" dirty="0"/>
              <a:t> </a:t>
            </a:r>
            <a:r>
              <a:rPr lang="pt-PT" dirty="0" err="1"/>
              <a:t>release</a:t>
            </a:r>
            <a:r>
              <a:rPr lang="pt-PT" dirty="0"/>
              <a:t> </a:t>
            </a:r>
            <a:r>
              <a:rPr lang="pt-PT" dirty="0" err="1"/>
              <a:t>Deployment</a:t>
            </a:r>
            <a:endParaRPr lang="pt-PT" dirty="0"/>
          </a:p>
        </p:txBody>
      </p:sp>
      <p:sp>
        <p:nvSpPr>
          <p:cNvPr id="209" name="Marcador de Posição do Texto 208">
            <a:extLst>
              <a:ext uri="{FF2B5EF4-FFF2-40B4-BE49-F238E27FC236}">
                <a16:creationId xmlns:a16="http://schemas.microsoft.com/office/drawing/2014/main" id="{F39F35E4-CA10-3716-35A0-C3261EC9956A}"/>
              </a:ext>
            </a:extLst>
          </p:cNvPr>
          <p:cNvSpPr>
            <a:spLocks noGrp="1"/>
          </p:cNvSpPr>
          <p:nvPr>
            <p:ph type="body" sz="quarter" idx="136"/>
          </p:nvPr>
        </p:nvSpPr>
        <p:spPr>
          <a:xfrm>
            <a:off x="9019654" y="5052494"/>
            <a:ext cx="1655886" cy="233235"/>
          </a:xfrm>
        </p:spPr>
        <p:txBody>
          <a:bodyPr/>
          <a:lstStyle/>
          <a:p>
            <a:r>
              <a:rPr lang="en-US" dirty="0"/>
              <a:t>Release &amp; artifact tracking | environment management | Baselining</a:t>
            </a:r>
          </a:p>
        </p:txBody>
      </p:sp>
      <p:sp>
        <p:nvSpPr>
          <p:cNvPr id="210" name="Marcador de Posição do Texto 209">
            <a:extLst>
              <a:ext uri="{FF2B5EF4-FFF2-40B4-BE49-F238E27FC236}">
                <a16:creationId xmlns:a16="http://schemas.microsoft.com/office/drawing/2014/main" id="{44781717-1ED4-2234-A1F4-25E5718EB5BD}"/>
              </a:ext>
            </a:extLst>
          </p:cNvPr>
          <p:cNvSpPr>
            <a:spLocks noGrp="1"/>
          </p:cNvSpPr>
          <p:nvPr>
            <p:ph type="body" sz="quarter" idx="137"/>
          </p:nvPr>
        </p:nvSpPr>
        <p:spPr>
          <a:xfrm>
            <a:off x="10749788" y="5052494"/>
            <a:ext cx="650313" cy="233235"/>
          </a:xfrm>
        </p:spPr>
        <p:txBody>
          <a:bodyPr/>
          <a:lstStyle/>
          <a:p>
            <a:r>
              <a:rPr lang="pt-PT" dirty="0" err="1"/>
              <a:t>Runbook</a:t>
            </a:r>
            <a:endParaRPr lang="pt-PT" dirty="0"/>
          </a:p>
        </p:txBody>
      </p:sp>
      <p:sp>
        <p:nvSpPr>
          <p:cNvPr id="189" name="Marcador de Posição do Texto 188">
            <a:extLst>
              <a:ext uri="{FF2B5EF4-FFF2-40B4-BE49-F238E27FC236}">
                <a16:creationId xmlns:a16="http://schemas.microsoft.com/office/drawing/2014/main" id="{E3B1F465-59A2-544B-EC0B-319EA9B87BEC}"/>
              </a:ext>
            </a:extLst>
          </p:cNvPr>
          <p:cNvSpPr>
            <a:spLocks noGrp="1"/>
          </p:cNvSpPr>
          <p:nvPr>
            <p:ph type="body" sz="quarter" idx="138"/>
          </p:nvPr>
        </p:nvSpPr>
        <p:spPr/>
        <p:txBody>
          <a:bodyPr/>
          <a:lstStyle/>
          <a:p>
            <a:r>
              <a:rPr lang="pt-PT" dirty="0" err="1"/>
              <a:t>ENVIRONMENT</a:t>
            </a:r>
            <a:br>
              <a:rPr lang="pt-PT" dirty="0"/>
            </a:br>
            <a:r>
              <a:rPr lang="pt-PT" dirty="0"/>
              <a:t>MANAGEMENT</a:t>
            </a:r>
          </a:p>
        </p:txBody>
      </p:sp>
      <p:sp>
        <p:nvSpPr>
          <p:cNvPr id="211" name="Marcador de Posição do Texto 210">
            <a:extLst>
              <a:ext uri="{FF2B5EF4-FFF2-40B4-BE49-F238E27FC236}">
                <a16:creationId xmlns:a16="http://schemas.microsoft.com/office/drawing/2014/main" id="{2F2F238C-9809-6EA5-F36D-E70D96921291}"/>
              </a:ext>
            </a:extLst>
          </p:cNvPr>
          <p:cNvSpPr>
            <a:spLocks noGrp="1"/>
          </p:cNvSpPr>
          <p:nvPr>
            <p:ph type="body" sz="quarter" idx="139"/>
          </p:nvPr>
        </p:nvSpPr>
        <p:spPr>
          <a:xfrm>
            <a:off x="6638925" y="6057463"/>
            <a:ext cx="4686928" cy="233235"/>
          </a:xfrm>
        </p:spPr>
        <p:txBody>
          <a:bodyPr/>
          <a:lstStyle/>
          <a:p>
            <a:r>
              <a:rPr lang="pt-PT" dirty="0"/>
              <a:t>Infra </a:t>
            </a:r>
            <a:r>
              <a:rPr lang="pt-PT" dirty="0" err="1"/>
              <a:t>provisioning</a:t>
            </a:r>
            <a:r>
              <a:rPr lang="pt-PT" dirty="0"/>
              <a:t> / </a:t>
            </a:r>
            <a:r>
              <a:rPr lang="pt-PT" dirty="0" err="1"/>
              <a:t>paas</a:t>
            </a:r>
            <a:r>
              <a:rPr lang="pt-PT" dirty="0"/>
              <a:t> / </a:t>
            </a:r>
            <a:r>
              <a:rPr lang="pt-PT" dirty="0" err="1"/>
              <a:t>iaac</a:t>
            </a:r>
            <a:r>
              <a:rPr lang="pt-PT" dirty="0"/>
              <a:t> / </a:t>
            </a:r>
            <a:r>
              <a:rPr lang="pt-PT" dirty="0" err="1"/>
              <a:t>containerization</a:t>
            </a:r>
            <a:r>
              <a:rPr lang="pt-PT" dirty="0"/>
              <a:t> / </a:t>
            </a:r>
            <a:r>
              <a:rPr lang="pt-PT" dirty="0" err="1"/>
              <a:t>configuration</a:t>
            </a:r>
            <a:r>
              <a:rPr lang="pt-PT" dirty="0"/>
              <a:t> management</a:t>
            </a:r>
          </a:p>
        </p:txBody>
      </p:sp>
      <p:sp>
        <p:nvSpPr>
          <p:cNvPr id="50" name="Marcador de Posição do Texto 49">
            <a:extLst>
              <a:ext uri="{FF2B5EF4-FFF2-40B4-BE49-F238E27FC236}">
                <a16:creationId xmlns:a16="http://schemas.microsoft.com/office/drawing/2014/main" id="{27E9F8B8-047B-E20A-36B5-030F3FF2FC4B}"/>
              </a:ext>
            </a:extLst>
          </p:cNvPr>
          <p:cNvSpPr>
            <a:spLocks noGrp="1"/>
          </p:cNvSpPr>
          <p:nvPr>
            <p:ph type="body" sz="quarter" idx="140"/>
          </p:nvPr>
        </p:nvSpPr>
        <p:spPr/>
        <p:txBody>
          <a:bodyPr/>
          <a:lstStyle/>
          <a:p>
            <a:r>
              <a:rPr lang="pt-PT" dirty="0" err="1"/>
              <a:t>VALUE</a:t>
            </a:r>
            <a:r>
              <a:rPr lang="pt-PT" dirty="0"/>
              <a:t> </a:t>
            </a:r>
            <a:r>
              <a:rPr lang="pt-PT" dirty="0" err="1"/>
              <a:t>STREAM</a:t>
            </a:r>
            <a:r>
              <a:rPr lang="pt-PT" dirty="0"/>
              <a:t> MANAGEMENT</a:t>
            </a:r>
          </a:p>
        </p:txBody>
      </p:sp>
      <p:sp>
        <p:nvSpPr>
          <p:cNvPr id="191" name="Marcador de Posição do Texto 190">
            <a:extLst>
              <a:ext uri="{FF2B5EF4-FFF2-40B4-BE49-F238E27FC236}">
                <a16:creationId xmlns:a16="http://schemas.microsoft.com/office/drawing/2014/main" id="{8CB4DA57-8122-BB7D-5926-71E9B1AF8502}"/>
              </a:ext>
            </a:extLst>
          </p:cNvPr>
          <p:cNvSpPr>
            <a:spLocks noGrp="1"/>
          </p:cNvSpPr>
          <p:nvPr>
            <p:ph type="body" sz="quarter" idx="141"/>
          </p:nvPr>
        </p:nvSpPr>
        <p:spPr/>
        <p:txBody>
          <a:bodyPr/>
          <a:lstStyle/>
          <a:p>
            <a:r>
              <a:rPr lang="pt-PT" dirty="0" err="1"/>
              <a:t>System</a:t>
            </a:r>
            <a:r>
              <a:rPr lang="pt-PT" dirty="0"/>
              <a:t> </a:t>
            </a:r>
            <a:r>
              <a:rPr lang="pt-PT" dirty="0" err="1"/>
              <a:t>definition</a:t>
            </a:r>
            <a:endParaRPr lang="pt-PT" dirty="0"/>
          </a:p>
        </p:txBody>
      </p:sp>
      <p:sp>
        <p:nvSpPr>
          <p:cNvPr id="192" name="Marcador de Posição do Texto 191">
            <a:extLst>
              <a:ext uri="{FF2B5EF4-FFF2-40B4-BE49-F238E27FC236}">
                <a16:creationId xmlns:a16="http://schemas.microsoft.com/office/drawing/2014/main" id="{A0485C78-1FEE-7B5F-955A-81FDBD4DE2D3}"/>
              </a:ext>
            </a:extLst>
          </p:cNvPr>
          <p:cNvSpPr>
            <a:spLocks noGrp="1"/>
          </p:cNvSpPr>
          <p:nvPr>
            <p:ph type="body" sz="quarter" idx="142"/>
          </p:nvPr>
        </p:nvSpPr>
        <p:spPr/>
        <p:txBody>
          <a:bodyPr/>
          <a:lstStyle/>
          <a:p>
            <a:r>
              <a:rPr lang="en-US" dirty="0"/>
              <a:t>Release package with build/deploy status</a:t>
            </a:r>
          </a:p>
        </p:txBody>
      </p:sp>
      <p:sp>
        <p:nvSpPr>
          <p:cNvPr id="212" name="Marcador de Posição do Texto 211">
            <a:extLst>
              <a:ext uri="{FF2B5EF4-FFF2-40B4-BE49-F238E27FC236}">
                <a16:creationId xmlns:a16="http://schemas.microsoft.com/office/drawing/2014/main" id="{0421B0A9-E487-A4AB-E41F-A3F48E793BED}"/>
              </a:ext>
            </a:extLst>
          </p:cNvPr>
          <p:cNvSpPr>
            <a:spLocks noGrp="1"/>
          </p:cNvSpPr>
          <p:nvPr>
            <p:ph type="body" sz="quarter" idx="143"/>
          </p:nvPr>
        </p:nvSpPr>
        <p:spPr/>
        <p:txBody>
          <a:bodyPr/>
          <a:lstStyle/>
          <a:p>
            <a:r>
              <a:rPr lang="pt-PT" dirty="0" err="1"/>
              <a:t>Dev</a:t>
            </a:r>
            <a:endParaRPr lang="pt-PT" dirty="0"/>
          </a:p>
        </p:txBody>
      </p:sp>
      <p:sp>
        <p:nvSpPr>
          <p:cNvPr id="213" name="Marcador de Posição do Texto 212">
            <a:extLst>
              <a:ext uri="{FF2B5EF4-FFF2-40B4-BE49-F238E27FC236}">
                <a16:creationId xmlns:a16="http://schemas.microsoft.com/office/drawing/2014/main" id="{AABCF820-8D31-5028-6FC5-E4A18CEA7C7C}"/>
              </a:ext>
            </a:extLst>
          </p:cNvPr>
          <p:cNvSpPr>
            <a:spLocks noGrp="1"/>
          </p:cNvSpPr>
          <p:nvPr>
            <p:ph type="body" sz="quarter" idx="144"/>
          </p:nvPr>
        </p:nvSpPr>
        <p:spPr/>
        <p:txBody>
          <a:bodyPr/>
          <a:lstStyle/>
          <a:p>
            <a:r>
              <a:rPr lang="pt-PT" dirty="0" err="1"/>
              <a:t>Test</a:t>
            </a:r>
            <a:endParaRPr lang="pt-PT" dirty="0"/>
          </a:p>
        </p:txBody>
      </p:sp>
      <p:sp>
        <p:nvSpPr>
          <p:cNvPr id="214" name="Marcador de Posição do Texto 213">
            <a:extLst>
              <a:ext uri="{FF2B5EF4-FFF2-40B4-BE49-F238E27FC236}">
                <a16:creationId xmlns:a16="http://schemas.microsoft.com/office/drawing/2014/main" id="{F41E4162-1FE7-8839-5BE7-9BD6F2FC018C}"/>
              </a:ext>
            </a:extLst>
          </p:cNvPr>
          <p:cNvSpPr>
            <a:spLocks noGrp="1"/>
          </p:cNvSpPr>
          <p:nvPr>
            <p:ph type="body" sz="quarter" idx="145"/>
          </p:nvPr>
        </p:nvSpPr>
        <p:spPr/>
        <p:txBody>
          <a:bodyPr/>
          <a:lstStyle/>
          <a:p>
            <a:r>
              <a:rPr lang="pt-PT" dirty="0" err="1"/>
              <a:t>Pre-prd</a:t>
            </a:r>
            <a:endParaRPr lang="pt-PT" dirty="0"/>
          </a:p>
        </p:txBody>
      </p:sp>
      <p:sp>
        <p:nvSpPr>
          <p:cNvPr id="215" name="Marcador de Posição do Texto 214">
            <a:extLst>
              <a:ext uri="{FF2B5EF4-FFF2-40B4-BE49-F238E27FC236}">
                <a16:creationId xmlns:a16="http://schemas.microsoft.com/office/drawing/2014/main" id="{306C1C9B-981D-1F2E-B248-A123BBD5D43D}"/>
              </a:ext>
            </a:extLst>
          </p:cNvPr>
          <p:cNvSpPr>
            <a:spLocks noGrp="1"/>
          </p:cNvSpPr>
          <p:nvPr>
            <p:ph type="body" sz="quarter" idx="146"/>
          </p:nvPr>
        </p:nvSpPr>
        <p:spPr/>
        <p:txBody>
          <a:bodyPr/>
          <a:lstStyle/>
          <a:p>
            <a:r>
              <a:rPr lang="pt-PT" dirty="0" err="1"/>
              <a:t>Prd</a:t>
            </a:r>
            <a:endParaRPr lang="pt-PT" dirty="0"/>
          </a:p>
        </p:txBody>
      </p:sp>
      <p:grpSp>
        <p:nvGrpSpPr>
          <p:cNvPr id="63" name="Agrupar 62">
            <a:extLst>
              <a:ext uri="{FF2B5EF4-FFF2-40B4-BE49-F238E27FC236}">
                <a16:creationId xmlns:a16="http://schemas.microsoft.com/office/drawing/2014/main" id="{9E3740D7-B99A-0CAD-7962-E83189A7D70A}"/>
              </a:ext>
            </a:extLst>
          </p:cNvPr>
          <p:cNvGrpSpPr/>
          <p:nvPr/>
        </p:nvGrpSpPr>
        <p:grpSpPr>
          <a:xfrm>
            <a:off x="7763193" y="1814709"/>
            <a:ext cx="301308" cy="329044"/>
            <a:chOff x="6000092" y="1357908"/>
            <a:chExt cx="365300" cy="398929"/>
          </a:xfrm>
        </p:grpSpPr>
        <p:sp>
          <p:nvSpPr>
            <p:cNvPr id="64" name="Forma livre: Forma 63">
              <a:extLst>
                <a:ext uri="{FF2B5EF4-FFF2-40B4-BE49-F238E27FC236}">
                  <a16:creationId xmlns:a16="http://schemas.microsoft.com/office/drawing/2014/main" id="{B634E15C-6686-E30F-BA63-212FDA158E9E}"/>
                </a:ext>
              </a:extLst>
            </p:cNvPr>
            <p:cNvSpPr/>
            <p:nvPr/>
          </p:nvSpPr>
          <p:spPr>
            <a:xfrm>
              <a:off x="6000092" y="1418606"/>
              <a:ext cx="84058" cy="286120"/>
            </a:xfrm>
            <a:custGeom>
              <a:avLst/>
              <a:gdLst>
                <a:gd name="connsiteX0" fmla="*/ 51595 w 84058"/>
                <a:gd name="connsiteY0" fmla="*/ 0 h 286120"/>
                <a:gd name="connsiteX1" fmla="*/ 35266 w 84058"/>
                <a:gd name="connsiteY1" fmla="*/ 61674 h 286120"/>
                <a:gd name="connsiteX2" fmla="*/ 28760 w 84058"/>
                <a:gd name="connsiteY2" fmla="*/ 193415 h 286120"/>
                <a:gd name="connsiteX3" fmla="*/ 84059 w 84058"/>
                <a:gd name="connsiteY3" fmla="*/ 286121 h 2861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4058" h="286120">
                  <a:moveTo>
                    <a:pt x="51595" y="0"/>
                  </a:moveTo>
                  <a:cubicBezTo>
                    <a:pt x="37868" y="7872"/>
                    <a:pt x="26028" y="24852"/>
                    <a:pt x="35266" y="61674"/>
                  </a:cubicBezTo>
                  <a:cubicBezTo>
                    <a:pt x="35266" y="61674"/>
                    <a:pt x="-39549" y="126731"/>
                    <a:pt x="28760" y="193415"/>
                  </a:cubicBezTo>
                  <a:cubicBezTo>
                    <a:pt x="28760" y="193415"/>
                    <a:pt x="9243" y="281242"/>
                    <a:pt x="84059" y="286121"/>
                  </a:cubicBezTo>
                </a:path>
              </a:pathLst>
            </a:custGeom>
            <a:noFill/>
            <a:ln w="19050" cap="sq">
              <a:solidFill>
                <a:schemeClr val="accent2"/>
              </a:solidFill>
              <a:prstDash val="solid"/>
              <a:miter lim="800000"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65" name="Gráfico 32">
              <a:extLst>
                <a:ext uri="{FF2B5EF4-FFF2-40B4-BE49-F238E27FC236}">
                  <a16:creationId xmlns:a16="http://schemas.microsoft.com/office/drawing/2014/main" id="{62345AE5-D795-FC02-C568-A3513683C0C6}"/>
                </a:ext>
              </a:extLst>
            </p:cNvPr>
            <p:cNvGrpSpPr/>
            <p:nvPr/>
          </p:nvGrpSpPr>
          <p:grpSpPr>
            <a:xfrm>
              <a:off x="6061121" y="1359924"/>
              <a:ext cx="128487" cy="396366"/>
              <a:chOff x="6061121" y="1359924"/>
              <a:chExt cx="128487" cy="396366"/>
            </a:xfrm>
            <a:noFill/>
          </p:grpSpPr>
          <p:sp>
            <p:nvSpPr>
              <p:cNvPr id="80" name="Forma livre: Forma 79">
                <a:extLst>
                  <a:ext uri="{FF2B5EF4-FFF2-40B4-BE49-F238E27FC236}">
                    <a16:creationId xmlns:a16="http://schemas.microsoft.com/office/drawing/2014/main" id="{3828A4C0-6194-DD32-B0FC-08CC989CDE16}"/>
                  </a:ext>
                </a:extLst>
              </p:cNvPr>
              <p:cNvSpPr/>
              <p:nvPr/>
            </p:nvSpPr>
            <p:spPr>
              <a:xfrm>
                <a:off x="6083891" y="1359924"/>
                <a:ext cx="105717" cy="396366"/>
              </a:xfrm>
              <a:custGeom>
                <a:avLst/>
                <a:gdLst>
                  <a:gd name="connsiteX0" fmla="*/ 52891 w 105717"/>
                  <a:gd name="connsiteY0" fmla="*/ 105718 h 396366"/>
                  <a:gd name="connsiteX1" fmla="*/ 0 w 105717"/>
                  <a:gd name="connsiteY1" fmla="*/ 52891 h 396366"/>
                  <a:gd name="connsiteX2" fmla="*/ 52891 w 105717"/>
                  <a:gd name="connsiteY2" fmla="*/ 0 h 396366"/>
                  <a:gd name="connsiteX3" fmla="*/ 105718 w 105717"/>
                  <a:gd name="connsiteY3" fmla="*/ 52826 h 396366"/>
                  <a:gd name="connsiteX4" fmla="*/ 105718 w 105717"/>
                  <a:gd name="connsiteY4" fmla="*/ 346884 h 396366"/>
                  <a:gd name="connsiteX5" fmla="*/ 80606 w 105717"/>
                  <a:gd name="connsiteY5" fmla="*/ 388911 h 396366"/>
                  <a:gd name="connsiteX6" fmla="*/ 9238 w 105717"/>
                  <a:gd name="connsiteY6" fmla="*/ 371150 h 396366"/>
                  <a:gd name="connsiteX7" fmla="*/ 15484 w 105717"/>
                  <a:gd name="connsiteY7" fmla="*/ 309216 h 396366"/>
                  <a:gd name="connsiteX8" fmla="*/ 45019 w 105717"/>
                  <a:gd name="connsiteY8" fmla="*/ 277078 h 3963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05717" h="396366">
                    <a:moveTo>
                      <a:pt x="52891" y="105718"/>
                    </a:moveTo>
                    <a:cubicBezTo>
                      <a:pt x="23681" y="105718"/>
                      <a:pt x="0" y="82037"/>
                      <a:pt x="0" y="52891"/>
                    </a:cubicBezTo>
                    <a:cubicBezTo>
                      <a:pt x="0" y="23746"/>
                      <a:pt x="23681" y="0"/>
                      <a:pt x="52891" y="0"/>
                    </a:cubicBezTo>
                    <a:cubicBezTo>
                      <a:pt x="82102" y="0"/>
                      <a:pt x="105718" y="23681"/>
                      <a:pt x="105718" y="52826"/>
                    </a:cubicBezTo>
                    <a:lnTo>
                      <a:pt x="105718" y="346884"/>
                    </a:lnTo>
                    <a:cubicBezTo>
                      <a:pt x="105718" y="364580"/>
                      <a:pt x="96414" y="379413"/>
                      <a:pt x="80606" y="388911"/>
                    </a:cubicBezTo>
                    <a:cubicBezTo>
                      <a:pt x="55949" y="403744"/>
                      <a:pt x="24006" y="395742"/>
                      <a:pt x="9238" y="371150"/>
                    </a:cubicBezTo>
                    <a:cubicBezTo>
                      <a:pt x="-2928" y="350918"/>
                      <a:pt x="260" y="325741"/>
                      <a:pt x="15484" y="309216"/>
                    </a:cubicBezTo>
                    <a:lnTo>
                      <a:pt x="45019" y="277078"/>
                    </a:lnTo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81" name="Forma livre: Forma 80">
                <a:extLst>
                  <a:ext uri="{FF2B5EF4-FFF2-40B4-BE49-F238E27FC236}">
                    <a16:creationId xmlns:a16="http://schemas.microsoft.com/office/drawing/2014/main" id="{0BCA5793-061E-1D39-87BA-8ADDE22C1908}"/>
                  </a:ext>
                </a:extLst>
              </p:cNvPr>
              <p:cNvSpPr/>
              <p:nvPr/>
            </p:nvSpPr>
            <p:spPr>
              <a:xfrm>
                <a:off x="6144784" y="1383865"/>
                <a:ext cx="41563" cy="38963"/>
              </a:xfrm>
              <a:custGeom>
                <a:avLst/>
                <a:gdLst>
                  <a:gd name="connsiteX0" fmla="*/ 36172 w 41563"/>
                  <a:gd name="connsiteY0" fmla="*/ 0 h 38963"/>
                  <a:gd name="connsiteX1" fmla="*/ 39425 w 41563"/>
                  <a:gd name="connsiteY1" fmla="*/ 24266 h 38963"/>
                  <a:gd name="connsiteX2" fmla="*/ 36432 w 41563"/>
                  <a:gd name="connsiteY2" fmla="*/ 29080 h 38963"/>
                  <a:gd name="connsiteX3" fmla="*/ 0 w 41563"/>
                  <a:gd name="connsiteY3" fmla="*/ 33439 h 389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563" h="38963">
                    <a:moveTo>
                      <a:pt x="36172" y="0"/>
                    </a:moveTo>
                    <a:cubicBezTo>
                      <a:pt x="41571" y="7547"/>
                      <a:pt x="43393" y="16004"/>
                      <a:pt x="39425" y="24266"/>
                    </a:cubicBezTo>
                    <a:cubicBezTo>
                      <a:pt x="38644" y="25893"/>
                      <a:pt x="37603" y="27519"/>
                      <a:pt x="36432" y="29080"/>
                    </a:cubicBezTo>
                    <a:cubicBezTo>
                      <a:pt x="27584" y="40270"/>
                      <a:pt x="11190" y="42287"/>
                      <a:pt x="0" y="33439"/>
                    </a:cubicBezTo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82" name="Forma livre: Forma 81">
                <a:extLst>
                  <a:ext uri="{FF2B5EF4-FFF2-40B4-BE49-F238E27FC236}">
                    <a16:creationId xmlns:a16="http://schemas.microsoft.com/office/drawing/2014/main" id="{A7664F9F-8634-AE37-FCFF-B6A28A060063}"/>
                  </a:ext>
                </a:extLst>
              </p:cNvPr>
              <p:cNvSpPr/>
              <p:nvPr/>
            </p:nvSpPr>
            <p:spPr>
              <a:xfrm>
                <a:off x="6081487" y="1460806"/>
                <a:ext cx="34217" cy="54474"/>
              </a:xfrm>
              <a:custGeom>
                <a:avLst/>
                <a:gdLst>
                  <a:gd name="connsiteX0" fmla="*/ 21076 w 34217"/>
                  <a:gd name="connsiteY0" fmla="*/ 54475 h 54474"/>
                  <a:gd name="connsiteX1" fmla="*/ 778 w 34217"/>
                  <a:gd name="connsiteY1" fmla="*/ 21035 h 54474"/>
                  <a:gd name="connsiteX2" fmla="*/ 34217 w 34217"/>
                  <a:gd name="connsiteY2" fmla="*/ 803 h 544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4217" h="54474">
                    <a:moveTo>
                      <a:pt x="21076" y="54475"/>
                    </a:moveTo>
                    <a:cubicBezTo>
                      <a:pt x="6308" y="50832"/>
                      <a:pt x="-2800" y="35803"/>
                      <a:pt x="778" y="21035"/>
                    </a:cubicBezTo>
                    <a:cubicBezTo>
                      <a:pt x="4421" y="6267"/>
                      <a:pt x="19449" y="-2841"/>
                      <a:pt x="34217" y="803"/>
                    </a:cubicBezTo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83" name="Forma livre: Forma 82">
                <a:extLst>
                  <a:ext uri="{FF2B5EF4-FFF2-40B4-BE49-F238E27FC236}">
                    <a16:creationId xmlns:a16="http://schemas.microsoft.com/office/drawing/2014/main" id="{FD8A3C36-450F-9D3E-6DFC-D540E14365BB}"/>
                  </a:ext>
                </a:extLst>
              </p:cNvPr>
              <p:cNvSpPr/>
              <p:nvPr/>
            </p:nvSpPr>
            <p:spPr>
              <a:xfrm>
                <a:off x="6073547" y="1527543"/>
                <a:ext cx="114760" cy="72506"/>
              </a:xfrm>
              <a:custGeom>
                <a:avLst/>
                <a:gdLst>
                  <a:gd name="connsiteX0" fmla="*/ 114760 w 114760"/>
                  <a:gd name="connsiteY0" fmla="*/ 7254 h 72506"/>
                  <a:gd name="connsiteX1" fmla="*/ 73905 w 114760"/>
                  <a:gd name="connsiteY1" fmla="*/ 8881 h 72506"/>
                  <a:gd name="connsiteX2" fmla="*/ 0 w 114760"/>
                  <a:gd name="connsiteY2" fmla="*/ 72506 h 725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14760" h="72506">
                    <a:moveTo>
                      <a:pt x="114760" y="7254"/>
                    </a:moveTo>
                    <a:cubicBezTo>
                      <a:pt x="103375" y="-2830"/>
                      <a:pt x="83989" y="-2504"/>
                      <a:pt x="73905" y="8881"/>
                    </a:cubicBezTo>
                    <a:cubicBezTo>
                      <a:pt x="73905" y="8881"/>
                      <a:pt x="31488" y="72506"/>
                      <a:pt x="0" y="72506"/>
                    </a:cubicBezTo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84" name="Forma livre: Forma 83">
                <a:extLst>
                  <a:ext uri="{FF2B5EF4-FFF2-40B4-BE49-F238E27FC236}">
                    <a16:creationId xmlns:a16="http://schemas.microsoft.com/office/drawing/2014/main" id="{61CB8890-D2E5-BFEA-B4FD-DFB62763982A}"/>
                  </a:ext>
                </a:extLst>
              </p:cNvPr>
              <p:cNvSpPr/>
              <p:nvPr/>
            </p:nvSpPr>
            <p:spPr>
              <a:xfrm>
                <a:off x="6079857" y="1646956"/>
                <a:ext cx="29405" cy="9823"/>
              </a:xfrm>
              <a:custGeom>
                <a:avLst/>
                <a:gdLst>
                  <a:gd name="connsiteX0" fmla="*/ 0 w 29405"/>
                  <a:gd name="connsiteY0" fmla="*/ 0 h 9823"/>
                  <a:gd name="connsiteX1" fmla="*/ 29406 w 29405"/>
                  <a:gd name="connsiteY1" fmla="*/ 9824 h 98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9405" h="9823">
                    <a:moveTo>
                      <a:pt x="0" y="0"/>
                    </a:moveTo>
                    <a:lnTo>
                      <a:pt x="29406" y="9824"/>
                    </a:lnTo>
                  </a:path>
                </a:pathLst>
              </a:custGeom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85" name="Forma livre: Forma 84">
                <a:extLst>
                  <a:ext uri="{FF2B5EF4-FFF2-40B4-BE49-F238E27FC236}">
                    <a16:creationId xmlns:a16="http://schemas.microsoft.com/office/drawing/2014/main" id="{16F616CF-8254-2411-87F4-6BAAD9359D64}"/>
                  </a:ext>
                </a:extLst>
              </p:cNvPr>
              <p:cNvSpPr/>
              <p:nvPr/>
            </p:nvSpPr>
            <p:spPr>
              <a:xfrm>
                <a:off x="6061121" y="1545272"/>
                <a:ext cx="47166" cy="34154"/>
              </a:xfrm>
              <a:custGeom>
                <a:avLst/>
                <a:gdLst>
                  <a:gd name="connsiteX0" fmla="*/ 0 w 47166"/>
                  <a:gd name="connsiteY0" fmla="*/ 0 h 34154"/>
                  <a:gd name="connsiteX1" fmla="*/ 47166 w 47166"/>
                  <a:gd name="connsiteY1" fmla="*/ 34155 h 341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166" h="34154">
                    <a:moveTo>
                      <a:pt x="0" y="0"/>
                    </a:moveTo>
                    <a:cubicBezTo>
                      <a:pt x="0" y="0"/>
                      <a:pt x="27649" y="13011"/>
                      <a:pt x="47166" y="34155"/>
                    </a:cubicBezTo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66" name="Gráfico 32">
              <a:extLst>
                <a:ext uri="{FF2B5EF4-FFF2-40B4-BE49-F238E27FC236}">
                  <a16:creationId xmlns:a16="http://schemas.microsoft.com/office/drawing/2014/main" id="{3BBD0F4F-790E-1F32-8D55-A2A5F775C31F}"/>
                </a:ext>
              </a:extLst>
            </p:cNvPr>
            <p:cNvGrpSpPr/>
            <p:nvPr/>
          </p:nvGrpSpPr>
          <p:grpSpPr>
            <a:xfrm>
              <a:off x="6191625" y="1599725"/>
              <a:ext cx="173767" cy="157112"/>
              <a:chOff x="6191625" y="1599725"/>
              <a:chExt cx="173767" cy="157112"/>
            </a:xfrm>
            <a:noFill/>
          </p:grpSpPr>
          <p:sp>
            <p:nvSpPr>
              <p:cNvPr id="76" name="Forma livre: Forma 75">
                <a:extLst>
                  <a:ext uri="{FF2B5EF4-FFF2-40B4-BE49-F238E27FC236}">
                    <a16:creationId xmlns:a16="http://schemas.microsoft.com/office/drawing/2014/main" id="{21967B86-4ADE-3CE4-E6DD-C6252867F6F4}"/>
                  </a:ext>
                </a:extLst>
              </p:cNvPr>
              <p:cNvSpPr/>
              <p:nvPr/>
            </p:nvSpPr>
            <p:spPr>
              <a:xfrm>
                <a:off x="6310094" y="1621974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7" name="Forma livre: Forma 76">
                <a:extLst>
                  <a:ext uri="{FF2B5EF4-FFF2-40B4-BE49-F238E27FC236}">
                    <a16:creationId xmlns:a16="http://schemas.microsoft.com/office/drawing/2014/main" id="{A3EF08CB-1E54-4D14-BD2B-825DEAEF77B2}"/>
                  </a:ext>
                </a:extLst>
              </p:cNvPr>
              <p:cNvSpPr/>
              <p:nvPr/>
            </p:nvSpPr>
            <p:spPr>
              <a:xfrm>
                <a:off x="6191625" y="1599725"/>
                <a:ext cx="118078" cy="49898"/>
              </a:xfrm>
              <a:custGeom>
                <a:avLst/>
                <a:gdLst>
                  <a:gd name="connsiteX0" fmla="*/ 0 w 118078"/>
                  <a:gd name="connsiteY0" fmla="*/ 0 h 49898"/>
                  <a:gd name="connsiteX1" fmla="*/ 37343 w 118078"/>
                  <a:gd name="connsiteY1" fmla="*/ 0 h 49898"/>
                  <a:gd name="connsiteX2" fmla="*/ 87176 w 118078"/>
                  <a:gd name="connsiteY2" fmla="*/ 49899 h 49898"/>
                  <a:gd name="connsiteX3" fmla="*/ 118078 w 118078"/>
                  <a:gd name="connsiteY3" fmla="*/ 49899 h 49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8078" h="49898">
                    <a:moveTo>
                      <a:pt x="0" y="0"/>
                    </a:moveTo>
                    <a:lnTo>
                      <a:pt x="37343" y="0"/>
                    </a:lnTo>
                    <a:lnTo>
                      <a:pt x="87176" y="49899"/>
                    </a:lnTo>
                    <a:lnTo>
                      <a:pt x="118078" y="49899"/>
                    </a:lnTo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8" name="Forma livre: Forma 77">
                <a:extLst>
                  <a:ext uri="{FF2B5EF4-FFF2-40B4-BE49-F238E27FC236}">
                    <a16:creationId xmlns:a16="http://schemas.microsoft.com/office/drawing/2014/main" id="{E76FE467-DC4A-3BE3-A6DD-296F129EBAD8}"/>
                  </a:ext>
                </a:extLst>
              </p:cNvPr>
              <p:cNvSpPr/>
              <p:nvPr/>
            </p:nvSpPr>
            <p:spPr>
              <a:xfrm>
                <a:off x="6191625" y="1665367"/>
                <a:ext cx="81906" cy="44108"/>
              </a:xfrm>
              <a:custGeom>
                <a:avLst/>
                <a:gdLst>
                  <a:gd name="connsiteX0" fmla="*/ 0 w 81906"/>
                  <a:gd name="connsiteY0" fmla="*/ 0 h 44108"/>
                  <a:gd name="connsiteX1" fmla="*/ 37343 w 81906"/>
                  <a:gd name="connsiteY1" fmla="*/ 0 h 44108"/>
                  <a:gd name="connsiteX2" fmla="*/ 81907 w 81906"/>
                  <a:gd name="connsiteY2" fmla="*/ 44109 h 441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1906" h="44108">
                    <a:moveTo>
                      <a:pt x="0" y="0"/>
                    </a:moveTo>
                    <a:lnTo>
                      <a:pt x="37343" y="0"/>
                    </a:lnTo>
                    <a:lnTo>
                      <a:pt x="81907" y="44109"/>
                    </a:lnTo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9" name="Forma livre: Forma 78">
                <a:extLst>
                  <a:ext uri="{FF2B5EF4-FFF2-40B4-BE49-F238E27FC236}">
                    <a16:creationId xmlns:a16="http://schemas.microsoft.com/office/drawing/2014/main" id="{CEA76DE5-D40D-4A6A-A28C-6DEC619FADC0}"/>
                  </a:ext>
                </a:extLst>
              </p:cNvPr>
              <p:cNvSpPr/>
              <p:nvPr/>
            </p:nvSpPr>
            <p:spPr>
              <a:xfrm>
                <a:off x="6265075" y="1701539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67" name="Gráfico 32">
              <a:extLst>
                <a:ext uri="{FF2B5EF4-FFF2-40B4-BE49-F238E27FC236}">
                  <a16:creationId xmlns:a16="http://schemas.microsoft.com/office/drawing/2014/main" id="{4D188B6D-7F29-F669-E43E-231BBF3B1EE4}"/>
                </a:ext>
              </a:extLst>
            </p:cNvPr>
            <p:cNvGrpSpPr/>
            <p:nvPr/>
          </p:nvGrpSpPr>
          <p:grpSpPr>
            <a:xfrm>
              <a:off x="6191625" y="1357908"/>
              <a:ext cx="173767" cy="157112"/>
              <a:chOff x="6191625" y="1357908"/>
              <a:chExt cx="173767" cy="157112"/>
            </a:xfrm>
            <a:noFill/>
          </p:grpSpPr>
          <p:sp>
            <p:nvSpPr>
              <p:cNvPr id="72" name="Forma livre: Forma 71">
                <a:extLst>
                  <a:ext uri="{FF2B5EF4-FFF2-40B4-BE49-F238E27FC236}">
                    <a16:creationId xmlns:a16="http://schemas.microsoft.com/office/drawing/2014/main" id="{BE86F6B1-A1E5-428F-9E56-2BB223E24398}"/>
                  </a:ext>
                </a:extLst>
              </p:cNvPr>
              <p:cNvSpPr/>
              <p:nvPr/>
            </p:nvSpPr>
            <p:spPr>
              <a:xfrm>
                <a:off x="6310094" y="1437472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0 h 55298"/>
                  <a:gd name="connsiteX2" fmla="*/ 0 w 55298"/>
                  <a:gd name="connsiteY2" fmla="*/ 27649 h 55298"/>
                  <a:gd name="connsiteX3" fmla="*/ 27649 w 55298"/>
                  <a:gd name="connsiteY3" fmla="*/ 55298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12361"/>
                      <a:pt x="42938" y="0"/>
                      <a:pt x="27649" y="0"/>
                    </a:cubicBezTo>
                    <a:cubicBezTo>
                      <a:pt x="12361" y="0"/>
                      <a:pt x="0" y="12361"/>
                      <a:pt x="0" y="27649"/>
                    </a:cubicBezTo>
                    <a:cubicBezTo>
                      <a:pt x="0" y="42938"/>
                      <a:pt x="12361" y="55298"/>
                      <a:pt x="27649" y="55298"/>
                    </a:cubicBezTo>
                    <a:cubicBezTo>
                      <a:pt x="42938" y="55298"/>
                      <a:pt x="55298" y="42938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3" name="Forma livre: Forma 72">
                <a:extLst>
                  <a:ext uri="{FF2B5EF4-FFF2-40B4-BE49-F238E27FC236}">
                    <a16:creationId xmlns:a16="http://schemas.microsoft.com/office/drawing/2014/main" id="{85CCDAFA-9B4A-5253-FC29-68CED280229B}"/>
                  </a:ext>
                </a:extLst>
              </p:cNvPr>
              <p:cNvSpPr/>
              <p:nvPr/>
            </p:nvSpPr>
            <p:spPr>
              <a:xfrm>
                <a:off x="6191625" y="1465122"/>
                <a:ext cx="118468" cy="49898"/>
              </a:xfrm>
              <a:custGeom>
                <a:avLst/>
                <a:gdLst>
                  <a:gd name="connsiteX0" fmla="*/ 0 w 118468"/>
                  <a:gd name="connsiteY0" fmla="*/ 49899 h 49898"/>
                  <a:gd name="connsiteX1" fmla="*/ 37343 w 118468"/>
                  <a:gd name="connsiteY1" fmla="*/ 49899 h 49898"/>
                  <a:gd name="connsiteX2" fmla="*/ 87176 w 118468"/>
                  <a:gd name="connsiteY2" fmla="*/ 0 h 49898"/>
                  <a:gd name="connsiteX3" fmla="*/ 118469 w 118468"/>
                  <a:gd name="connsiteY3" fmla="*/ 0 h 49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8468" h="49898">
                    <a:moveTo>
                      <a:pt x="0" y="49899"/>
                    </a:moveTo>
                    <a:lnTo>
                      <a:pt x="37343" y="49899"/>
                    </a:lnTo>
                    <a:lnTo>
                      <a:pt x="87176" y="0"/>
                    </a:lnTo>
                    <a:lnTo>
                      <a:pt x="118469" y="0"/>
                    </a:lnTo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4" name="Forma livre: Forma 73">
                <a:extLst>
                  <a:ext uri="{FF2B5EF4-FFF2-40B4-BE49-F238E27FC236}">
                    <a16:creationId xmlns:a16="http://schemas.microsoft.com/office/drawing/2014/main" id="{488C83DA-186F-F365-EE34-3F3D12CBB9E5}"/>
                  </a:ext>
                </a:extLst>
              </p:cNvPr>
              <p:cNvSpPr/>
              <p:nvPr/>
            </p:nvSpPr>
            <p:spPr>
              <a:xfrm>
                <a:off x="6191625" y="1405269"/>
                <a:ext cx="81451" cy="44043"/>
              </a:xfrm>
              <a:custGeom>
                <a:avLst/>
                <a:gdLst>
                  <a:gd name="connsiteX0" fmla="*/ 0 w 81451"/>
                  <a:gd name="connsiteY0" fmla="*/ 44044 h 44043"/>
                  <a:gd name="connsiteX1" fmla="*/ 37343 w 81451"/>
                  <a:gd name="connsiteY1" fmla="*/ 44044 h 44043"/>
                  <a:gd name="connsiteX2" fmla="*/ 81451 w 81451"/>
                  <a:gd name="connsiteY2" fmla="*/ 0 h 440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1451" h="44043">
                    <a:moveTo>
                      <a:pt x="0" y="44044"/>
                    </a:moveTo>
                    <a:lnTo>
                      <a:pt x="37343" y="44044"/>
                    </a:lnTo>
                    <a:lnTo>
                      <a:pt x="81451" y="0"/>
                    </a:lnTo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5" name="Forma livre: Forma 74">
                <a:extLst>
                  <a:ext uri="{FF2B5EF4-FFF2-40B4-BE49-F238E27FC236}">
                    <a16:creationId xmlns:a16="http://schemas.microsoft.com/office/drawing/2014/main" id="{DECC59DD-DAC8-BDAE-6D8C-EC7FD54C3C29}"/>
                  </a:ext>
                </a:extLst>
              </p:cNvPr>
              <p:cNvSpPr/>
              <p:nvPr/>
            </p:nvSpPr>
            <p:spPr>
              <a:xfrm>
                <a:off x="6265075" y="1357908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0 h 55298"/>
                  <a:gd name="connsiteX2" fmla="*/ 0 w 55298"/>
                  <a:gd name="connsiteY2" fmla="*/ 27649 h 55298"/>
                  <a:gd name="connsiteX3" fmla="*/ 27649 w 55298"/>
                  <a:gd name="connsiteY3" fmla="*/ 55298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12361"/>
                      <a:pt x="42938" y="0"/>
                      <a:pt x="27649" y="0"/>
                    </a:cubicBezTo>
                    <a:cubicBezTo>
                      <a:pt x="12361" y="0"/>
                      <a:pt x="0" y="12361"/>
                      <a:pt x="0" y="27649"/>
                    </a:cubicBezTo>
                    <a:cubicBezTo>
                      <a:pt x="0" y="42938"/>
                      <a:pt x="12361" y="55298"/>
                      <a:pt x="27649" y="55298"/>
                    </a:cubicBezTo>
                    <a:cubicBezTo>
                      <a:pt x="42938" y="55298"/>
                      <a:pt x="55298" y="42938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68" name="Gráfico 32">
              <a:extLst>
                <a:ext uri="{FF2B5EF4-FFF2-40B4-BE49-F238E27FC236}">
                  <a16:creationId xmlns:a16="http://schemas.microsoft.com/office/drawing/2014/main" id="{FD67E688-B598-0F5C-BD3A-BAE7BE5F234B}"/>
                </a:ext>
              </a:extLst>
            </p:cNvPr>
            <p:cNvGrpSpPr/>
            <p:nvPr/>
          </p:nvGrpSpPr>
          <p:grpSpPr>
            <a:xfrm>
              <a:off x="6190910" y="1529723"/>
              <a:ext cx="123673" cy="55298"/>
              <a:chOff x="6190910" y="1529723"/>
              <a:chExt cx="123673" cy="55298"/>
            </a:xfrm>
            <a:noFill/>
          </p:grpSpPr>
          <p:sp>
            <p:nvSpPr>
              <p:cNvPr id="70" name="Forma livre: Forma 69">
                <a:extLst>
                  <a:ext uri="{FF2B5EF4-FFF2-40B4-BE49-F238E27FC236}">
                    <a16:creationId xmlns:a16="http://schemas.microsoft.com/office/drawing/2014/main" id="{FE1AD3CB-203C-B19A-B9C8-E59BE127F281}"/>
                  </a:ext>
                </a:extLst>
              </p:cNvPr>
              <p:cNvSpPr/>
              <p:nvPr/>
            </p:nvSpPr>
            <p:spPr>
              <a:xfrm>
                <a:off x="6190910" y="1557372"/>
                <a:ext cx="68765" cy="6505"/>
              </a:xfrm>
              <a:custGeom>
                <a:avLst/>
                <a:gdLst>
                  <a:gd name="connsiteX0" fmla="*/ 0 w 68765"/>
                  <a:gd name="connsiteY0" fmla="*/ 0 h 6505"/>
                  <a:gd name="connsiteX1" fmla="*/ 68765 w 68765"/>
                  <a:gd name="connsiteY1" fmla="*/ 0 h 65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8765" h="6505">
                    <a:moveTo>
                      <a:pt x="0" y="0"/>
                    </a:moveTo>
                    <a:lnTo>
                      <a:pt x="68765" y="0"/>
                    </a:lnTo>
                  </a:path>
                </a:pathLst>
              </a:custGeom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1" name="Forma livre: Forma 70">
                <a:extLst>
                  <a:ext uri="{FF2B5EF4-FFF2-40B4-BE49-F238E27FC236}">
                    <a16:creationId xmlns:a16="http://schemas.microsoft.com/office/drawing/2014/main" id="{0F84ED67-5459-B5B7-D477-1812BE83D03A}"/>
                  </a:ext>
                </a:extLst>
              </p:cNvPr>
              <p:cNvSpPr/>
              <p:nvPr/>
            </p:nvSpPr>
            <p:spPr>
              <a:xfrm>
                <a:off x="6259285" y="1529723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69" name="Forma livre: Forma 68">
              <a:extLst>
                <a:ext uri="{FF2B5EF4-FFF2-40B4-BE49-F238E27FC236}">
                  <a16:creationId xmlns:a16="http://schemas.microsoft.com/office/drawing/2014/main" id="{3C943023-B7A5-FEA0-D3AF-89F5816A6284}"/>
                </a:ext>
              </a:extLst>
            </p:cNvPr>
            <p:cNvSpPr/>
            <p:nvPr/>
          </p:nvSpPr>
          <p:spPr>
            <a:xfrm>
              <a:off x="6152201" y="1686285"/>
              <a:ext cx="37362" cy="20848"/>
            </a:xfrm>
            <a:custGeom>
              <a:avLst/>
              <a:gdLst>
                <a:gd name="connsiteX0" fmla="*/ 0 w 37362"/>
                <a:gd name="connsiteY0" fmla="*/ 10505 h 20848"/>
                <a:gd name="connsiteX1" fmla="*/ 27064 w 37362"/>
                <a:gd name="connsiteY1" fmla="*/ 2373 h 20848"/>
                <a:gd name="connsiteX2" fmla="*/ 37343 w 37362"/>
                <a:gd name="connsiteY2" fmla="*/ 20849 h 20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7362" h="20848">
                  <a:moveTo>
                    <a:pt x="0" y="10505"/>
                  </a:moveTo>
                  <a:cubicBezTo>
                    <a:pt x="5205" y="811"/>
                    <a:pt x="17435" y="-2832"/>
                    <a:pt x="27064" y="2373"/>
                  </a:cubicBezTo>
                  <a:cubicBezTo>
                    <a:pt x="34025" y="6081"/>
                    <a:pt x="37668" y="13432"/>
                    <a:pt x="37343" y="20849"/>
                  </a:cubicBezTo>
                </a:path>
              </a:pathLst>
            </a:custGeom>
            <a:noFill/>
            <a:ln w="19050" cap="sq">
              <a:solidFill>
                <a:schemeClr val="accent2"/>
              </a:solidFill>
              <a:prstDash val="solid"/>
              <a:miter lim="800000"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09" name="Agrupar 108">
            <a:extLst>
              <a:ext uri="{FF2B5EF4-FFF2-40B4-BE49-F238E27FC236}">
                <a16:creationId xmlns:a16="http://schemas.microsoft.com/office/drawing/2014/main" id="{6C83D685-1707-79CD-80FE-C5E39F418647}"/>
              </a:ext>
            </a:extLst>
          </p:cNvPr>
          <p:cNvGrpSpPr/>
          <p:nvPr/>
        </p:nvGrpSpPr>
        <p:grpSpPr>
          <a:xfrm>
            <a:off x="8696508" y="1814709"/>
            <a:ext cx="301308" cy="329044"/>
            <a:chOff x="6000092" y="1357908"/>
            <a:chExt cx="365300" cy="398929"/>
          </a:xfrm>
        </p:grpSpPr>
        <p:sp>
          <p:nvSpPr>
            <p:cNvPr id="110" name="Forma livre: Forma 109">
              <a:extLst>
                <a:ext uri="{FF2B5EF4-FFF2-40B4-BE49-F238E27FC236}">
                  <a16:creationId xmlns:a16="http://schemas.microsoft.com/office/drawing/2014/main" id="{8EE71FFA-5104-BD37-9DE7-0B027CE16DB5}"/>
                </a:ext>
              </a:extLst>
            </p:cNvPr>
            <p:cNvSpPr/>
            <p:nvPr/>
          </p:nvSpPr>
          <p:spPr>
            <a:xfrm>
              <a:off x="6000092" y="1418606"/>
              <a:ext cx="84058" cy="286120"/>
            </a:xfrm>
            <a:custGeom>
              <a:avLst/>
              <a:gdLst>
                <a:gd name="connsiteX0" fmla="*/ 51595 w 84058"/>
                <a:gd name="connsiteY0" fmla="*/ 0 h 286120"/>
                <a:gd name="connsiteX1" fmla="*/ 35266 w 84058"/>
                <a:gd name="connsiteY1" fmla="*/ 61674 h 286120"/>
                <a:gd name="connsiteX2" fmla="*/ 28760 w 84058"/>
                <a:gd name="connsiteY2" fmla="*/ 193415 h 286120"/>
                <a:gd name="connsiteX3" fmla="*/ 84059 w 84058"/>
                <a:gd name="connsiteY3" fmla="*/ 286121 h 2861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4058" h="286120">
                  <a:moveTo>
                    <a:pt x="51595" y="0"/>
                  </a:moveTo>
                  <a:cubicBezTo>
                    <a:pt x="37868" y="7872"/>
                    <a:pt x="26028" y="24852"/>
                    <a:pt x="35266" y="61674"/>
                  </a:cubicBezTo>
                  <a:cubicBezTo>
                    <a:pt x="35266" y="61674"/>
                    <a:pt x="-39549" y="126731"/>
                    <a:pt x="28760" y="193415"/>
                  </a:cubicBezTo>
                  <a:cubicBezTo>
                    <a:pt x="28760" y="193415"/>
                    <a:pt x="9243" y="281242"/>
                    <a:pt x="84059" y="286121"/>
                  </a:cubicBezTo>
                </a:path>
              </a:pathLst>
            </a:custGeom>
            <a:noFill/>
            <a:ln w="19050" cap="sq">
              <a:solidFill>
                <a:schemeClr val="accent2"/>
              </a:solidFill>
              <a:prstDash val="solid"/>
              <a:miter lim="800000"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11" name="Gráfico 32">
              <a:extLst>
                <a:ext uri="{FF2B5EF4-FFF2-40B4-BE49-F238E27FC236}">
                  <a16:creationId xmlns:a16="http://schemas.microsoft.com/office/drawing/2014/main" id="{426DAEC3-0EF6-D43B-4AB7-1581EBE1B9F1}"/>
                </a:ext>
              </a:extLst>
            </p:cNvPr>
            <p:cNvGrpSpPr/>
            <p:nvPr/>
          </p:nvGrpSpPr>
          <p:grpSpPr>
            <a:xfrm>
              <a:off x="6061121" y="1359924"/>
              <a:ext cx="128487" cy="396366"/>
              <a:chOff x="6061121" y="1359924"/>
              <a:chExt cx="128487" cy="396366"/>
            </a:xfrm>
            <a:noFill/>
          </p:grpSpPr>
          <p:sp>
            <p:nvSpPr>
              <p:cNvPr id="126" name="Forma livre: Forma 125">
                <a:extLst>
                  <a:ext uri="{FF2B5EF4-FFF2-40B4-BE49-F238E27FC236}">
                    <a16:creationId xmlns:a16="http://schemas.microsoft.com/office/drawing/2014/main" id="{09663067-CA43-316E-5B15-D64BDD9E5F70}"/>
                  </a:ext>
                </a:extLst>
              </p:cNvPr>
              <p:cNvSpPr/>
              <p:nvPr/>
            </p:nvSpPr>
            <p:spPr>
              <a:xfrm>
                <a:off x="6083891" y="1359924"/>
                <a:ext cx="105717" cy="396366"/>
              </a:xfrm>
              <a:custGeom>
                <a:avLst/>
                <a:gdLst>
                  <a:gd name="connsiteX0" fmla="*/ 52891 w 105717"/>
                  <a:gd name="connsiteY0" fmla="*/ 105718 h 396366"/>
                  <a:gd name="connsiteX1" fmla="*/ 0 w 105717"/>
                  <a:gd name="connsiteY1" fmla="*/ 52891 h 396366"/>
                  <a:gd name="connsiteX2" fmla="*/ 52891 w 105717"/>
                  <a:gd name="connsiteY2" fmla="*/ 0 h 396366"/>
                  <a:gd name="connsiteX3" fmla="*/ 105718 w 105717"/>
                  <a:gd name="connsiteY3" fmla="*/ 52826 h 396366"/>
                  <a:gd name="connsiteX4" fmla="*/ 105718 w 105717"/>
                  <a:gd name="connsiteY4" fmla="*/ 346884 h 396366"/>
                  <a:gd name="connsiteX5" fmla="*/ 80606 w 105717"/>
                  <a:gd name="connsiteY5" fmla="*/ 388911 h 396366"/>
                  <a:gd name="connsiteX6" fmla="*/ 9238 w 105717"/>
                  <a:gd name="connsiteY6" fmla="*/ 371150 h 396366"/>
                  <a:gd name="connsiteX7" fmla="*/ 15484 w 105717"/>
                  <a:gd name="connsiteY7" fmla="*/ 309216 h 396366"/>
                  <a:gd name="connsiteX8" fmla="*/ 45019 w 105717"/>
                  <a:gd name="connsiteY8" fmla="*/ 277078 h 3963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05717" h="396366">
                    <a:moveTo>
                      <a:pt x="52891" y="105718"/>
                    </a:moveTo>
                    <a:cubicBezTo>
                      <a:pt x="23681" y="105718"/>
                      <a:pt x="0" y="82037"/>
                      <a:pt x="0" y="52891"/>
                    </a:cubicBezTo>
                    <a:cubicBezTo>
                      <a:pt x="0" y="23746"/>
                      <a:pt x="23681" y="0"/>
                      <a:pt x="52891" y="0"/>
                    </a:cubicBezTo>
                    <a:cubicBezTo>
                      <a:pt x="82102" y="0"/>
                      <a:pt x="105718" y="23681"/>
                      <a:pt x="105718" y="52826"/>
                    </a:cubicBezTo>
                    <a:lnTo>
                      <a:pt x="105718" y="346884"/>
                    </a:lnTo>
                    <a:cubicBezTo>
                      <a:pt x="105718" y="364580"/>
                      <a:pt x="96414" y="379413"/>
                      <a:pt x="80606" y="388911"/>
                    </a:cubicBezTo>
                    <a:cubicBezTo>
                      <a:pt x="55949" y="403744"/>
                      <a:pt x="24006" y="395742"/>
                      <a:pt x="9238" y="371150"/>
                    </a:cubicBezTo>
                    <a:cubicBezTo>
                      <a:pt x="-2928" y="350918"/>
                      <a:pt x="260" y="325741"/>
                      <a:pt x="15484" y="309216"/>
                    </a:cubicBezTo>
                    <a:lnTo>
                      <a:pt x="45019" y="277078"/>
                    </a:lnTo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7" name="Forma livre: Forma 126">
                <a:extLst>
                  <a:ext uri="{FF2B5EF4-FFF2-40B4-BE49-F238E27FC236}">
                    <a16:creationId xmlns:a16="http://schemas.microsoft.com/office/drawing/2014/main" id="{9EA529B7-D0D8-02A5-2713-FC4349557B65}"/>
                  </a:ext>
                </a:extLst>
              </p:cNvPr>
              <p:cNvSpPr/>
              <p:nvPr/>
            </p:nvSpPr>
            <p:spPr>
              <a:xfrm>
                <a:off x="6144784" y="1383865"/>
                <a:ext cx="41563" cy="38963"/>
              </a:xfrm>
              <a:custGeom>
                <a:avLst/>
                <a:gdLst>
                  <a:gd name="connsiteX0" fmla="*/ 36172 w 41563"/>
                  <a:gd name="connsiteY0" fmla="*/ 0 h 38963"/>
                  <a:gd name="connsiteX1" fmla="*/ 39425 w 41563"/>
                  <a:gd name="connsiteY1" fmla="*/ 24266 h 38963"/>
                  <a:gd name="connsiteX2" fmla="*/ 36432 w 41563"/>
                  <a:gd name="connsiteY2" fmla="*/ 29080 h 38963"/>
                  <a:gd name="connsiteX3" fmla="*/ 0 w 41563"/>
                  <a:gd name="connsiteY3" fmla="*/ 33439 h 389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563" h="38963">
                    <a:moveTo>
                      <a:pt x="36172" y="0"/>
                    </a:moveTo>
                    <a:cubicBezTo>
                      <a:pt x="41571" y="7547"/>
                      <a:pt x="43393" y="16004"/>
                      <a:pt x="39425" y="24266"/>
                    </a:cubicBezTo>
                    <a:cubicBezTo>
                      <a:pt x="38644" y="25893"/>
                      <a:pt x="37603" y="27519"/>
                      <a:pt x="36432" y="29080"/>
                    </a:cubicBezTo>
                    <a:cubicBezTo>
                      <a:pt x="27584" y="40270"/>
                      <a:pt x="11190" y="42287"/>
                      <a:pt x="0" y="33439"/>
                    </a:cubicBezTo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8" name="Forma livre: Forma 127">
                <a:extLst>
                  <a:ext uri="{FF2B5EF4-FFF2-40B4-BE49-F238E27FC236}">
                    <a16:creationId xmlns:a16="http://schemas.microsoft.com/office/drawing/2014/main" id="{6649623A-BB30-E858-E2AD-771A16D931D4}"/>
                  </a:ext>
                </a:extLst>
              </p:cNvPr>
              <p:cNvSpPr/>
              <p:nvPr/>
            </p:nvSpPr>
            <p:spPr>
              <a:xfrm>
                <a:off x="6081487" y="1460806"/>
                <a:ext cx="34217" cy="54474"/>
              </a:xfrm>
              <a:custGeom>
                <a:avLst/>
                <a:gdLst>
                  <a:gd name="connsiteX0" fmla="*/ 21076 w 34217"/>
                  <a:gd name="connsiteY0" fmla="*/ 54475 h 54474"/>
                  <a:gd name="connsiteX1" fmla="*/ 778 w 34217"/>
                  <a:gd name="connsiteY1" fmla="*/ 21035 h 54474"/>
                  <a:gd name="connsiteX2" fmla="*/ 34217 w 34217"/>
                  <a:gd name="connsiteY2" fmla="*/ 803 h 544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4217" h="54474">
                    <a:moveTo>
                      <a:pt x="21076" y="54475"/>
                    </a:moveTo>
                    <a:cubicBezTo>
                      <a:pt x="6308" y="50832"/>
                      <a:pt x="-2800" y="35803"/>
                      <a:pt x="778" y="21035"/>
                    </a:cubicBezTo>
                    <a:cubicBezTo>
                      <a:pt x="4421" y="6267"/>
                      <a:pt x="19449" y="-2841"/>
                      <a:pt x="34217" y="803"/>
                    </a:cubicBezTo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9" name="Forma livre: Forma 128">
                <a:extLst>
                  <a:ext uri="{FF2B5EF4-FFF2-40B4-BE49-F238E27FC236}">
                    <a16:creationId xmlns:a16="http://schemas.microsoft.com/office/drawing/2014/main" id="{E6F0C857-646E-80A5-5F26-51A85DF0D1D3}"/>
                  </a:ext>
                </a:extLst>
              </p:cNvPr>
              <p:cNvSpPr/>
              <p:nvPr/>
            </p:nvSpPr>
            <p:spPr>
              <a:xfrm>
                <a:off x="6073547" y="1527543"/>
                <a:ext cx="114760" cy="72506"/>
              </a:xfrm>
              <a:custGeom>
                <a:avLst/>
                <a:gdLst>
                  <a:gd name="connsiteX0" fmla="*/ 114760 w 114760"/>
                  <a:gd name="connsiteY0" fmla="*/ 7254 h 72506"/>
                  <a:gd name="connsiteX1" fmla="*/ 73905 w 114760"/>
                  <a:gd name="connsiteY1" fmla="*/ 8881 h 72506"/>
                  <a:gd name="connsiteX2" fmla="*/ 0 w 114760"/>
                  <a:gd name="connsiteY2" fmla="*/ 72506 h 725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14760" h="72506">
                    <a:moveTo>
                      <a:pt x="114760" y="7254"/>
                    </a:moveTo>
                    <a:cubicBezTo>
                      <a:pt x="103375" y="-2830"/>
                      <a:pt x="83989" y="-2504"/>
                      <a:pt x="73905" y="8881"/>
                    </a:cubicBezTo>
                    <a:cubicBezTo>
                      <a:pt x="73905" y="8881"/>
                      <a:pt x="31488" y="72506"/>
                      <a:pt x="0" y="72506"/>
                    </a:cubicBezTo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30" name="Forma livre: Forma 129">
                <a:extLst>
                  <a:ext uri="{FF2B5EF4-FFF2-40B4-BE49-F238E27FC236}">
                    <a16:creationId xmlns:a16="http://schemas.microsoft.com/office/drawing/2014/main" id="{4A6ABF81-E37D-C672-570B-9B6C3D8ED816}"/>
                  </a:ext>
                </a:extLst>
              </p:cNvPr>
              <p:cNvSpPr/>
              <p:nvPr/>
            </p:nvSpPr>
            <p:spPr>
              <a:xfrm>
                <a:off x="6079857" y="1646956"/>
                <a:ext cx="29405" cy="9823"/>
              </a:xfrm>
              <a:custGeom>
                <a:avLst/>
                <a:gdLst>
                  <a:gd name="connsiteX0" fmla="*/ 0 w 29405"/>
                  <a:gd name="connsiteY0" fmla="*/ 0 h 9823"/>
                  <a:gd name="connsiteX1" fmla="*/ 29406 w 29405"/>
                  <a:gd name="connsiteY1" fmla="*/ 9824 h 98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9405" h="9823">
                    <a:moveTo>
                      <a:pt x="0" y="0"/>
                    </a:moveTo>
                    <a:lnTo>
                      <a:pt x="29406" y="9824"/>
                    </a:lnTo>
                  </a:path>
                </a:pathLst>
              </a:custGeom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31" name="Forma livre: Forma 130">
                <a:extLst>
                  <a:ext uri="{FF2B5EF4-FFF2-40B4-BE49-F238E27FC236}">
                    <a16:creationId xmlns:a16="http://schemas.microsoft.com/office/drawing/2014/main" id="{D3049671-0ACF-A346-4B71-D9B4C2A52F10}"/>
                  </a:ext>
                </a:extLst>
              </p:cNvPr>
              <p:cNvSpPr/>
              <p:nvPr/>
            </p:nvSpPr>
            <p:spPr>
              <a:xfrm>
                <a:off x="6061121" y="1545272"/>
                <a:ext cx="47166" cy="34154"/>
              </a:xfrm>
              <a:custGeom>
                <a:avLst/>
                <a:gdLst>
                  <a:gd name="connsiteX0" fmla="*/ 0 w 47166"/>
                  <a:gd name="connsiteY0" fmla="*/ 0 h 34154"/>
                  <a:gd name="connsiteX1" fmla="*/ 47166 w 47166"/>
                  <a:gd name="connsiteY1" fmla="*/ 34155 h 341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166" h="34154">
                    <a:moveTo>
                      <a:pt x="0" y="0"/>
                    </a:moveTo>
                    <a:cubicBezTo>
                      <a:pt x="0" y="0"/>
                      <a:pt x="27649" y="13011"/>
                      <a:pt x="47166" y="34155"/>
                    </a:cubicBezTo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12" name="Gráfico 32">
              <a:extLst>
                <a:ext uri="{FF2B5EF4-FFF2-40B4-BE49-F238E27FC236}">
                  <a16:creationId xmlns:a16="http://schemas.microsoft.com/office/drawing/2014/main" id="{E2DF291C-2435-7F82-7C6A-410D45B29EDD}"/>
                </a:ext>
              </a:extLst>
            </p:cNvPr>
            <p:cNvGrpSpPr/>
            <p:nvPr/>
          </p:nvGrpSpPr>
          <p:grpSpPr>
            <a:xfrm>
              <a:off x="6191625" y="1599725"/>
              <a:ext cx="173767" cy="157112"/>
              <a:chOff x="6191625" y="1599725"/>
              <a:chExt cx="173767" cy="157112"/>
            </a:xfrm>
            <a:noFill/>
          </p:grpSpPr>
          <p:sp>
            <p:nvSpPr>
              <p:cNvPr id="122" name="Forma livre: Forma 121">
                <a:extLst>
                  <a:ext uri="{FF2B5EF4-FFF2-40B4-BE49-F238E27FC236}">
                    <a16:creationId xmlns:a16="http://schemas.microsoft.com/office/drawing/2014/main" id="{27D1C0FB-6D9C-DD18-FDA4-8D7D9D643F28}"/>
                  </a:ext>
                </a:extLst>
              </p:cNvPr>
              <p:cNvSpPr/>
              <p:nvPr/>
            </p:nvSpPr>
            <p:spPr>
              <a:xfrm>
                <a:off x="6310094" y="1621974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3" name="Forma livre: Forma 122">
                <a:extLst>
                  <a:ext uri="{FF2B5EF4-FFF2-40B4-BE49-F238E27FC236}">
                    <a16:creationId xmlns:a16="http://schemas.microsoft.com/office/drawing/2014/main" id="{BA924B9F-13A4-2C8C-7907-8D11F776750D}"/>
                  </a:ext>
                </a:extLst>
              </p:cNvPr>
              <p:cNvSpPr/>
              <p:nvPr/>
            </p:nvSpPr>
            <p:spPr>
              <a:xfrm>
                <a:off x="6191625" y="1599725"/>
                <a:ext cx="118078" cy="49898"/>
              </a:xfrm>
              <a:custGeom>
                <a:avLst/>
                <a:gdLst>
                  <a:gd name="connsiteX0" fmla="*/ 0 w 118078"/>
                  <a:gd name="connsiteY0" fmla="*/ 0 h 49898"/>
                  <a:gd name="connsiteX1" fmla="*/ 37343 w 118078"/>
                  <a:gd name="connsiteY1" fmla="*/ 0 h 49898"/>
                  <a:gd name="connsiteX2" fmla="*/ 87176 w 118078"/>
                  <a:gd name="connsiteY2" fmla="*/ 49899 h 49898"/>
                  <a:gd name="connsiteX3" fmla="*/ 118078 w 118078"/>
                  <a:gd name="connsiteY3" fmla="*/ 49899 h 49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8078" h="49898">
                    <a:moveTo>
                      <a:pt x="0" y="0"/>
                    </a:moveTo>
                    <a:lnTo>
                      <a:pt x="37343" y="0"/>
                    </a:lnTo>
                    <a:lnTo>
                      <a:pt x="87176" y="49899"/>
                    </a:lnTo>
                    <a:lnTo>
                      <a:pt x="118078" y="49899"/>
                    </a:lnTo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4" name="Forma livre: Forma 123">
                <a:extLst>
                  <a:ext uri="{FF2B5EF4-FFF2-40B4-BE49-F238E27FC236}">
                    <a16:creationId xmlns:a16="http://schemas.microsoft.com/office/drawing/2014/main" id="{9C4F5C7E-1320-729C-8599-623186AEDDBA}"/>
                  </a:ext>
                </a:extLst>
              </p:cNvPr>
              <p:cNvSpPr/>
              <p:nvPr/>
            </p:nvSpPr>
            <p:spPr>
              <a:xfrm>
                <a:off x="6191625" y="1665367"/>
                <a:ext cx="81906" cy="44108"/>
              </a:xfrm>
              <a:custGeom>
                <a:avLst/>
                <a:gdLst>
                  <a:gd name="connsiteX0" fmla="*/ 0 w 81906"/>
                  <a:gd name="connsiteY0" fmla="*/ 0 h 44108"/>
                  <a:gd name="connsiteX1" fmla="*/ 37343 w 81906"/>
                  <a:gd name="connsiteY1" fmla="*/ 0 h 44108"/>
                  <a:gd name="connsiteX2" fmla="*/ 81907 w 81906"/>
                  <a:gd name="connsiteY2" fmla="*/ 44109 h 441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1906" h="44108">
                    <a:moveTo>
                      <a:pt x="0" y="0"/>
                    </a:moveTo>
                    <a:lnTo>
                      <a:pt x="37343" y="0"/>
                    </a:lnTo>
                    <a:lnTo>
                      <a:pt x="81907" y="44109"/>
                    </a:lnTo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5" name="Forma livre: Forma 124">
                <a:extLst>
                  <a:ext uri="{FF2B5EF4-FFF2-40B4-BE49-F238E27FC236}">
                    <a16:creationId xmlns:a16="http://schemas.microsoft.com/office/drawing/2014/main" id="{4E9766D5-B909-83EB-4922-2889194D3A01}"/>
                  </a:ext>
                </a:extLst>
              </p:cNvPr>
              <p:cNvSpPr/>
              <p:nvPr/>
            </p:nvSpPr>
            <p:spPr>
              <a:xfrm>
                <a:off x="6265075" y="1701539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13" name="Gráfico 32">
              <a:extLst>
                <a:ext uri="{FF2B5EF4-FFF2-40B4-BE49-F238E27FC236}">
                  <a16:creationId xmlns:a16="http://schemas.microsoft.com/office/drawing/2014/main" id="{406C1FA6-51B8-DB9B-673A-A67B54D5ADDC}"/>
                </a:ext>
              </a:extLst>
            </p:cNvPr>
            <p:cNvGrpSpPr/>
            <p:nvPr/>
          </p:nvGrpSpPr>
          <p:grpSpPr>
            <a:xfrm>
              <a:off x="6191625" y="1357908"/>
              <a:ext cx="173767" cy="157112"/>
              <a:chOff x="6191625" y="1357908"/>
              <a:chExt cx="173767" cy="157112"/>
            </a:xfrm>
            <a:noFill/>
          </p:grpSpPr>
          <p:sp>
            <p:nvSpPr>
              <p:cNvPr id="118" name="Forma livre: Forma 117">
                <a:extLst>
                  <a:ext uri="{FF2B5EF4-FFF2-40B4-BE49-F238E27FC236}">
                    <a16:creationId xmlns:a16="http://schemas.microsoft.com/office/drawing/2014/main" id="{B2EAFE6C-7931-9656-0605-C4A05BA024CE}"/>
                  </a:ext>
                </a:extLst>
              </p:cNvPr>
              <p:cNvSpPr/>
              <p:nvPr/>
            </p:nvSpPr>
            <p:spPr>
              <a:xfrm>
                <a:off x="6310094" y="1437472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0 h 55298"/>
                  <a:gd name="connsiteX2" fmla="*/ 0 w 55298"/>
                  <a:gd name="connsiteY2" fmla="*/ 27649 h 55298"/>
                  <a:gd name="connsiteX3" fmla="*/ 27649 w 55298"/>
                  <a:gd name="connsiteY3" fmla="*/ 55298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12361"/>
                      <a:pt x="42938" y="0"/>
                      <a:pt x="27649" y="0"/>
                    </a:cubicBezTo>
                    <a:cubicBezTo>
                      <a:pt x="12361" y="0"/>
                      <a:pt x="0" y="12361"/>
                      <a:pt x="0" y="27649"/>
                    </a:cubicBezTo>
                    <a:cubicBezTo>
                      <a:pt x="0" y="42938"/>
                      <a:pt x="12361" y="55298"/>
                      <a:pt x="27649" y="55298"/>
                    </a:cubicBezTo>
                    <a:cubicBezTo>
                      <a:pt x="42938" y="55298"/>
                      <a:pt x="55298" y="42938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19" name="Forma livre: Forma 118">
                <a:extLst>
                  <a:ext uri="{FF2B5EF4-FFF2-40B4-BE49-F238E27FC236}">
                    <a16:creationId xmlns:a16="http://schemas.microsoft.com/office/drawing/2014/main" id="{ABD8B0C1-0E86-0184-38BE-93BE9391EFC8}"/>
                  </a:ext>
                </a:extLst>
              </p:cNvPr>
              <p:cNvSpPr/>
              <p:nvPr/>
            </p:nvSpPr>
            <p:spPr>
              <a:xfrm>
                <a:off x="6191625" y="1465122"/>
                <a:ext cx="118468" cy="49898"/>
              </a:xfrm>
              <a:custGeom>
                <a:avLst/>
                <a:gdLst>
                  <a:gd name="connsiteX0" fmla="*/ 0 w 118468"/>
                  <a:gd name="connsiteY0" fmla="*/ 49899 h 49898"/>
                  <a:gd name="connsiteX1" fmla="*/ 37343 w 118468"/>
                  <a:gd name="connsiteY1" fmla="*/ 49899 h 49898"/>
                  <a:gd name="connsiteX2" fmla="*/ 87176 w 118468"/>
                  <a:gd name="connsiteY2" fmla="*/ 0 h 49898"/>
                  <a:gd name="connsiteX3" fmla="*/ 118469 w 118468"/>
                  <a:gd name="connsiteY3" fmla="*/ 0 h 49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8468" h="49898">
                    <a:moveTo>
                      <a:pt x="0" y="49899"/>
                    </a:moveTo>
                    <a:lnTo>
                      <a:pt x="37343" y="49899"/>
                    </a:lnTo>
                    <a:lnTo>
                      <a:pt x="87176" y="0"/>
                    </a:lnTo>
                    <a:lnTo>
                      <a:pt x="118469" y="0"/>
                    </a:lnTo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0" name="Forma livre: Forma 119">
                <a:extLst>
                  <a:ext uri="{FF2B5EF4-FFF2-40B4-BE49-F238E27FC236}">
                    <a16:creationId xmlns:a16="http://schemas.microsoft.com/office/drawing/2014/main" id="{E9234CEE-789C-F774-DE7D-090960D5B431}"/>
                  </a:ext>
                </a:extLst>
              </p:cNvPr>
              <p:cNvSpPr/>
              <p:nvPr/>
            </p:nvSpPr>
            <p:spPr>
              <a:xfrm>
                <a:off x="6191625" y="1405269"/>
                <a:ext cx="81451" cy="44043"/>
              </a:xfrm>
              <a:custGeom>
                <a:avLst/>
                <a:gdLst>
                  <a:gd name="connsiteX0" fmla="*/ 0 w 81451"/>
                  <a:gd name="connsiteY0" fmla="*/ 44044 h 44043"/>
                  <a:gd name="connsiteX1" fmla="*/ 37343 w 81451"/>
                  <a:gd name="connsiteY1" fmla="*/ 44044 h 44043"/>
                  <a:gd name="connsiteX2" fmla="*/ 81451 w 81451"/>
                  <a:gd name="connsiteY2" fmla="*/ 0 h 440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1451" h="44043">
                    <a:moveTo>
                      <a:pt x="0" y="44044"/>
                    </a:moveTo>
                    <a:lnTo>
                      <a:pt x="37343" y="44044"/>
                    </a:lnTo>
                    <a:lnTo>
                      <a:pt x="81451" y="0"/>
                    </a:lnTo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1" name="Forma livre: Forma 120">
                <a:extLst>
                  <a:ext uri="{FF2B5EF4-FFF2-40B4-BE49-F238E27FC236}">
                    <a16:creationId xmlns:a16="http://schemas.microsoft.com/office/drawing/2014/main" id="{3D964E1A-DD36-64E3-9B10-84EDED094A97}"/>
                  </a:ext>
                </a:extLst>
              </p:cNvPr>
              <p:cNvSpPr/>
              <p:nvPr/>
            </p:nvSpPr>
            <p:spPr>
              <a:xfrm>
                <a:off x="6265075" y="1357908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0 h 55298"/>
                  <a:gd name="connsiteX2" fmla="*/ 0 w 55298"/>
                  <a:gd name="connsiteY2" fmla="*/ 27649 h 55298"/>
                  <a:gd name="connsiteX3" fmla="*/ 27649 w 55298"/>
                  <a:gd name="connsiteY3" fmla="*/ 55298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12361"/>
                      <a:pt x="42938" y="0"/>
                      <a:pt x="27649" y="0"/>
                    </a:cubicBezTo>
                    <a:cubicBezTo>
                      <a:pt x="12361" y="0"/>
                      <a:pt x="0" y="12361"/>
                      <a:pt x="0" y="27649"/>
                    </a:cubicBezTo>
                    <a:cubicBezTo>
                      <a:pt x="0" y="42938"/>
                      <a:pt x="12361" y="55298"/>
                      <a:pt x="27649" y="55298"/>
                    </a:cubicBezTo>
                    <a:cubicBezTo>
                      <a:pt x="42938" y="55298"/>
                      <a:pt x="55298" y="42938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14" name="Gráfico 32">
              <a:extLst>
                <a:ext uri="{FF2B5EF4-FFF2-40B4-BE49-F238E27FC236}">
                  <a16:creationId xmlns:a16="http://schemas.microsoft.com/office/drawing/2014/main" id="{03169A3B-EB10-1B91-4933-4B6C6C32F947}"/>
                </a:ext>
              </a:extLst>
            </p:cNvPr>
            <p:cNvGrpSpPr/>
            <p:nvPr/>
          </p:nvGrpSpPr>
          <p:grpSpPr>
            <a:xfrm>
              <a:off x="6190910" y="1529723"/>
              <a:ext cx="123673" cy="55298"/>
              <a:chOff x="6190910" y="1529723"/>
              <a:chExt cx="123673" cy="55298"/>
            </a:xfrm>
            <a:noFill/>
          </p:grpSpPr>
          <p:sp>
            <p:nvSpPr>
              <p:cNvPr id="116" name="Forma livre: Forma 115">
                <a:extLst>
                  <a:ext uri="{FF2B5EF4-FFF2-40B4-BE49-F238E27FC236}">
                    <a16:creationId xmlns:a16="http://schemas.microsoft.com/office/drawing/2014/main" id="{829759AC-9219-CFCC-DB4E-CF22CEBF666C}"/>
                  </a:ext>
                </a:extLst>
              </p:cNvPr>
              <p:cNvSpPr/>
              <p:nvPr/>
            </p:nvSpPr>
            <p:spPr>
              <a:xfrm>
                <a:off x="6190910" y="1557372"/>
                <a:ext cx="68765" cy="6505"/>
              </a:xfrm>
              <a:custGeom>
                <a:avLst/>
                <a:gdLst>
                  <a:gd name="connsiteX0" fmla="*/ 0 w 68765"/>
                  <a:gd name="connsiteY0" fmla="*/ 0 h 6505"/>
                  <a:gd name="connsiteX1" fmla="*/ 68765 w 68765"/>
                  <a:gd name="connsiteY1" fmla="*/ 0 h 65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8765" h="6505">
                    <a:moveTo>
                      <a:pt x="0" y="0"/>
                    </a:moveTo>
                    <a:lnTo>
                      <a:pt x="68765" y="0"/>
                    </a:lnTo>
                  </a:path>
                </a:pathLst>
              </a:custGeom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17" name="Forma livre: Forma 116">
                <a:extLst>
                  <a:ext uri="{FF2B5EF4-FFF2-40B4-BE49-F238E27FC236}">
                    <a16:creationId xmlns:a16="http://schemas.microsoft.com/office/drawing/2014/main" id="{9CBD0BC3-83C7-2B14-E100-E07D41F48AC3}"/>
                  </a:ext>
                </a:extLst>
              </p:cNvPr>
              <p:cNvSpPr/>
              <p:nvPr/>
            </p:nvSpPr>
            <p:spPr>
              <a:xfrm>
                <a:off x="6259285" y="1529723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15" name="Forma livre: Forma 114">
              <a:extLst>
                <a:ext uri="{FF2B5EF4-FFF2-40B4-BE49-F238E27FC236}">
                  <a16:creationId xmlns:a16="http://schemas.microsoft.com/office/drawing/2014/main" id="{BF0AB05B-D11F-2F6A-E724-656BC6627552}"/>
                </a:ext>
              </a:extLst>
            </p:cNvPr>
            <p:cNvSpPr/>
            <p:nvPr/>
          </p:nvSpPr>
          <p:spPr>
            <a:xfrm>
              <a:off x="6152201" y="1686285"/>
              <a:ext cx="37362" cy="20848"/>
            </a:xfrm>
            <a:custGeom>
              <a:avLst/>
              <a:gdLst>
                <a:gd name="connsiteX0" fmla="*/ 0 w 37362"/>
                <a:gd name="connsiteY0" fmla="*/ 10505 h 20848"/>
                <a:gd name="connsiteX1" fmla="*/ 27064 w 37362"/>
                <a:gd name="connsiteY1" fmla="*/ 2373 h 20848"/>
                <a:gd name="connsiteX2" fmla="*/ 37343 w 37362"/>
                <a:gd name="connsiteY2" fmla="*/ 20849 h 20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7362" h="20848">
                  <a:moveTo>
                    <a:pt x="0" y="10505"/>
                  </a:moveTo>
                  <a:cubicBezTo>
                    <a:pt x="5205" y="811"/>
                    <a:pt x="17435" y="-2832"/>
                    <a:pt x="27064" y="2373"/>
                  </a:cubicBezTo>
                  <a:cubicBezTo>
                    <a:pt x="34025" y="6081"/>
                    <a:pt x="37668" y="13432"/>
                    <a:pt x="37343" y="20849"/>
                  </a:cubicBezTo>
                </a:path>
              </a:pathLst>
            </a:custGeom>
            <a:noFill/>
            <a:ln w="19050" cap="sq">
              <a:solidFill>
                <a:schemeClr val="accent2"/>
              </a:solidFill>
              <a:prstDash val="solid"/>
              <a:miter lim="800000"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32" name="Agrupar 131">
            <a:extLst>
              <a:ext uri="{FF2B5EF4-FFF2-40B4-BE49-F238E27FC236}">
                <a16:creationId xmlns:a16="http://schemas.microsoft.com/office/drawing/2014/main" id="{8F387F0D-35C9-1FE7-79BD-CE5AFC5D2E9A}"/>
              </a:ext>
            </a:extLst>
          </p:cNvPr>
          <p:cNvGrpSpPr/>
          <p:nvPr/>
        </p:nvGrpSpPr>
        <p:grpSpPr>
          <a:xfrm>
            <a:off x="9621834" y="1814709"/>
            <a:ext cx="301308" cy="329044"/>
            <a:chOff x="6000092" y="1357908"/>
            <a:chExt cx="365300" cy="398929"/>
          </a:xfrm>
        </p:grpSpPr>
        <p:sp>
          <p:nvSpPr>
            <p:cNvPr id="133" name="Forma livre: Forma 132">
              <a:extLst>
                <a:ext uri="{FF2B5EF4-FFF2-40B4-BE49-F238E27FC236}">
                  <a16:creationId xmlns:a16="http://schemas.microsoft.com/office/drawing/2014/main" id="{8C74CD55-F2D8-9A20-C6EA-885F623EDF6B}"/>
                </a:ext>
              </a:extLst>
            </p:cNvPr>
            <p:cNvSpPr/>
            <p:nvPr/>
          </p:nvSpPr>
          <p:spPr>
            <a:xfrm>
              <a:off x="6000092" y="1418606"/>
              <a:ext cx="84058" cy="286120"/>
            </a:xfrm>
            <a:custGeom>
              <a:avLst/>
              <a:gdLst>
                <a:gd name="connsiteX0" fmla="*/ 51595 w 84058"/>
                <a:gd name="connsiteY0" fmla="*/ 0 h 286120"/>
                <a:gd name="connsiteX1" fmla="*/ 35266 w 84058"/>
                <a:gd name="connsiteY1" fmla="*/ 61674 h 286120"/>
                <a:gd name="connsiteX2" fmla="*/ 28760 w 84058"/>
                <a:gd name="connsiteY2" fmla="*/ 193415 h 286120"/>
                <a:gd name="connsiteX3" fmla="*/ 84059 w 84058"/>
                <a:gd name="connsiteY3" fmla="*/ 286121 h 2861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4058" h="286120">
                  <a:moveTo>
                    <a:pt x="51595" y="0"/>
                  </a:moveTo>
                  <a:cubicBezTo>
                    <a:pt x="37868" y="7872"/>
                    <a:pt x="26028" y="24852"/>
                    <a:pt x="35266" y="61674"/>
                  </a:cubicBezTo>
                  <a:cubicBezTo>
                    <a:pt x="35266" y="61674"/>
                    <a:pt x="-39549" y="126731"/>
                    <a:pt x="28760" y="193415"/>
                  </a:cubicBezTo>
                  <a:cubicBezTo>
                    <a:pt x="28760" y="193415"/>
                    <a:pt x="9243" y="281242"/>
                    <a:pt x="84059" y="286121"/>
                  </a:cubicBezTo>
                </a:path>
              </a:pathLst>
            </a:custGeom>
            <a:noFill/>
            <a:ln w="19050" cap="sq">
              <a:solidFill>
                <a:schemeClr val="accent2"/>
              </a:solidFill>
              <a:prstDash val="solid"/>
              <a:miter lim="800000"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34" name="Gráfico 32">
              <a:extLst>
                <a:ext uri="{FF2B5EF4-FFF2-40B4-BE49-F238E27FC236}">
                  <a16:creationId xmlns:a16="http://schemas.microsoft.com/office/drawing/2014/main" id="{D929689D-AC88-A28F-1D2A-AEC532B0B215}"/>
                </a:ext>
              </a:extLst>
            </p:cNvPr>
            <p:cNvGrpSpPr/>
            <p:nvPr/>
          </p:nvGrpSpPr>
          <p:grpSpPr>
            <a:xfrm>
              <a:off x="6061121" y="1359924"/>
              <a:ext cx="128487" cy="396366"/>
              <a:chOff x="6061121" y="1359924"/>
              <a:chExt cx="128487" cy="396366"/>
            </a:xfrm>
            <a:noFill/>
          </p:grpSpPr>
          <p:sp>
            <p:nvSpPr>
              <p:cNvPr id="149" name="Forma livre: Forma 148">
                <a:extLst>
                  <a:ext uri="{FF2B5EF4-FFF2-40B4-BE49-F238E27FC236}">
                    <a16:creationId xmlns:a16="http://schemas.microsoft.com/office/drawing/2014/main" id="{3CA10429-8687-DF2D-1E85-774C77EF769B}"/>
                  </a:ext>
                </a:extLst>
              </p:cNvPr>
              <p:cNvSpPr/>
              <p:nvPr/>
            </p:nvSpPr>
            <p:spPr>
              <a:xfrm>
                <a:off x="6083891" y="1359924"/>
                <a:ext cx="105717" cy="396366"/>
              </a:xfrm>
              <a:custGeom>
                <a:avLst/>
                <a:gdLst>
                  <a:gd name="connsiteX0" fmla="*/ 52891 w 105717"/>
                  <a:gd name="connsiteY0" fmla="*/ 105718 h 396366"/>
                  <a:gd name="connsiteX1" fmla="*/ 0 w 105717"/>
                  <a:gd name="connsiteY1" fmla="*/ 52891 h 396366"/>
                  <a:gd name="connsiteX2" fmla="*/ 52891 w 105717"/>
                  <a:gd name="connsiteY2" fmla="*/ 0 h 396366"/>
                  <a:gd name="connsiteX3" fmla="*/ 105718 w 105717"/>
                  <a:gd name="connsiteY3" fmla="*/ 52826 h 396366"/>
                  <a:gd name="connsiteX4" fmla="*/ 105718 w 105717"/>
                  <a:gd name="connsiteY4" fmla="*/ 346884 h 396366"/>
                  <a:gd name="connsiteX5" fmla="*/ 80606 w 105717"/>
                  <a:gd name="connsiteY5" fmla="*/ 388911 h 396366"/>
                  <a:gd name="connsiteX6" fmla="*/ 9238 w 105717"/>
                  <a:gd name="connsiteY6" fmla="*/ 371150 h 396366"/>
                  <a:gd name="connsiteX7" fmla="*/ 15484 w 105717"/>
                  <a:gd name="connsiteY7" fmla="*/ 309216 h 396366"/>
                  <a:gd name="connsiteX8" fmla="*/ 45019 w 105717"/>
                  <a:gd name="connsiteY8" fmla="*/ 277078 h 3963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05717" h="396366">
                    <a:moveTo>
                      <a:pt x="52891" y="105718"/>
                    </a:moveTo>
                    <a:cubicBezTo>
                      <a:pt x="23681" y="105718"/>
                      <a:pt x="0" y="82037"/>
                      <a:pt x="0" y="52891"/>
                    </a:cubicBezTo>
                    <a:cubicBezTo>
                      <a:pt x="0" y="23746"/>
                      <a:pt x="23681" y="0"/>
                      <a:pt x="52891" y="0"/>
                    </a:cubicBezTo>
                    <a:cubicBezTo>
                      <a:pt x="82102" y="0"/>
                      <a:pt x="105718" y="23681"/>
                      <a:pt x="105718" y="52826"/>
                    </a:cubicBezTo>
                    <a:lnTo>
                      <a:pt x="105718" y="346884"/>
                    </a:lnTo>
                    <a:cubicBezTo>
                      <a:pt x="105718" y="364580"/>
                      <a:pt x="96414" y="379413"/>
                      <a:pt x="80606" y="388911"/>
                    </a:cubicBezTo>
                    <a:cubicBezTo>
                      <a:pt x="55949" y="403744"/>
                      <a:pt x="24006" y="395742"/>
                      <a:pt x="9238" y="371150"/>
                    </a:cubicBezTo>
                    <a:cubicBezTo>
                      <a:pt x="-2928" y="350918"/>
                      <a:pt x="260" y="325741"/>
                      <a:pt x="15484" y="309216"/>
                    </a:cubicBezTo>
                    <a:lnTo>
                      <a:pt x="45019" y="277078"/>
                    </a:lnTo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50" name="Forma livre: Forma 149">
                <a:extLst>
                  <a:ext uri="{FF2B5EF4-FFF2-40B4-BE49-F238E27FC236}">
                    <a16:creationId xmlns:a16="http://schemas.microsoft.com/office/drawing/2014/main" id="{087EB423-6BC3-83AA-4DDA-1AEBEF66C4F6}"/>
                  </a:ext>
                </a:extLst>
              </p:cNvPr>
              <p:cNvSpPr/>
              <p:nvPr/>
            </p:nvSpPr>
            <p:spPr>
              <a:xfrm>
                <a:off x="6144784" y="1383865"/>
                <a:ext cx="41563" cy="38963"/>
              </a:xfrm>
              <a:custGeom>
                <a:avLst/>
                <a:gdLst>
                  <a:gd name="connsiteX0" fmla="*/ 36172 w 41563"/>
                  <a:gd name="connsiteY0" fmla="*/ 0 h 38963"/>
                  <a:gd name="connsiteX1" fmla="*/ 39425 w 41563"/>
                  <a:gd name="connsiteY1" fmla="*/ 24266 h 38963"/>
                  <a:gd name="connsiteX2" fmla="*/ 36432 w 41563"/>
                  <a:gd name="connsiteY2" fmla="*/ 29080 h 38963"/>
                  <a:gd name="connsiteX3" fmla="*/ 0 w 41563"/>
                  <a:gd name="connsiteY3" fmla="*/ 33439 h 389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563" h="38963">
                    <a:moveTo>
                      <a:pt x="36172" y="0"/>
                    </a:moveTo>
                    <a:cubicBezTo>
                      <a:pt x="41571" y="7547"/>
                      <a:pt x="43393" y="16004"/>
                      <a:pt x="39425" y="24266"/>
                    </a:cubicBezTo>
                    <a:cubicBezTo>
                      <a:pt x="38644" y="25893"/>
                      <a:pt x="37603" y="27519"/>
                      <a:pt x="36432" y="29080"/>
                    </a:cubicBezTo>
                    <a:cubicBezTo>
                      <a:pt x="27584" y="40270"/>
                      <a:pt x="11190" y="42287"/>
                      <a:pt x="0" y="33439"/>
                    </a:cubicBezTo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51" name="Forma livre: Forma 150">
                <a:extLst>
                  <a:ext uri="{FF2B5EF4-FFF2-40B4-BE49-F238E27FC236}">
                    <a16:creationId xmlns:a16="http://schemas.microsoft.com/office/drawing/2014/main" id="{9554970F-7349-5E5F-C6C5-8C0D0EC6B7C0}"/>
                  </a:ext>
                </a:extLst>
              </p:cNvPr>
              <p:cNvSpPr/>
              <p:nvPr/>
            </p:nvSpPr>
            <p:spPr>
              <a:xfrm>
                <a:off x="6081487" y="1460806"/>
                <a:ext cx="34217" cy="54474"/>
              </a:xfrm>
              <a:custGeom>
                <a:avLst/>
                <a:gdLst>
                  <a:gd name="connsiteX0" fmla="*/ 21076 w 34217"/>
                  <a:gd name="connsiteY0" fmla="*/ 54475 h 54474"/>
                  <a:gd name="connsiteX1" fmla="*/ 778 w 34217"/>
                  <a:gd name="connsiteY1" fmla="*/ 21035 h 54474"/>
                  <a:gd name="connsiteX2" fmla="*/ 34217 w 34217"/>
                  <a:gd name="connsiteY2" fmla="*/ 803 h 544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4217" h="54474">
                    <a:moveTo>
                      <a:pt x="21076" y="54475"/>
                    </a:moveTo>
                    <a:cubicBezTo>
                      <a:pt x="6308" y="50832"/>
                      <a:pt x="-2800" y="35803"/>
                      <a:pt x="778" y="21035"/>
                    </a:cubicBezTo>
                    <a:cubicBezTo>
                      <a:pt x="4421" y="6267"/>
                      <a:pt x="19449" y="-2841"/>
                      <a:pt x="34217" y="803"/>
                    </a:cubicBezTo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52" name="Forma livre: Forma 151">
                <a:extLst>
                  <a:ext uri="{FF2B5EF4-FFF2-40B4-BE49-F238E27FC236}">
                    <a16:creationId xmlns:a16="http://schemas.microsoft.com/office/drawing/2014/main" id="{6910C1A6-091B-138C-5764-D84E41DDC846}"/>
                  </a:ext>
                </a:extLst>
              </p:cNvPr>
              <p:cNvSpPr/>
              <p:nvPr/>
            </p:nvSpPr>
            <p:spPr>
              <a:xfrm>
                <a:off x="6073547" y="1527543"/>
                <a:ext cx="114760" cy="72506"/>
              </a:xfrm>
              <a:custGeom>
                <a:avLst/>
                <a:gdLst>
                  <a:gd name="connsiteX0" fmla="*/ 114760 w 114760"/>
                  <a:gd name="connsiteY0" fmla="*/ 7254 h 72506"/>
                  <a:gd name="connsiteX1" fmla="*/ 73905 w 114760"/>
                  <a:gd name="connsiteY1" fmla="*/ 8881 h 72506"/>
                  <a:gd name="connsiteX2" fmla="*/ 0 w 114760"/>
                  <a:gd name="connsiteY2" fmla="*/ 72506 h 725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14760" h="72506">
                    <a:moveTo>
                      <a:pt x="114760" y="7254"/>
                    </a:moveTo>
                    <a:cubicBezTo>
                      <a:pt x="103375" y="-2830"/>
                      <a:pt x="83989" y="-2504"/>
                      <a:pt x="73905" y="8881"/>
                    </a:cubicBezTo>
                    <a:cubicBezTo>
                      <a:pt x="73905" y="8881"/>
                      <a:pt x="31488" y="72506"/>
                      <a:pt x="0" y="72506"/>
                    </a:cubicBezTo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53" name="Forma livre: Forma 152">
                <a:extLst>
                  <a:ext uri="{FF2B5EF4-FFF2-40B4-BE49-F238E27FC236}">
                    <a16:creationId xmlns:a16="http://schemas.microsoft.com/office/drawing/2014/main" id="{8BE0E26F-13AE-F26D-A67B-DFF92E85FB45}"/>
                  </a:ext>
                </a:extLst>
              </p:cNvPr>
              <p:cNvSpPr/>
              <p:nvPr/>
            </p:nvSpPr>
            <p:spPr>
              <a:xfrm>
                <a:off x="6079857" y="1646956"/>
                <a:ext cx="29405" cy="9823"/>
              </a:xfrm>
              <a:custGeom>
                <a:avLst/>
                <a:gdLst>
                  <a:gd name="connsiteX0" fmla="*/ 0 w 29405"/>
                  <a:gd name="connsiteY0" fmla="*/ 0 h 9823"/>
                  <a:gd name="connsiteX1" fmla="*/ 29406 w 29405"/>
                  <a:gd name="connsiteY1" fmla="*/ 9824 h 98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9405" h="9823">
                    <a:moveTo>
                      <a:pt x="0" y="0"/>
                    </a:moveTo>
                    <a:lnTo>
                      <a:pt x="29406" y="9824"/>
                    </a:lnTo>
                  </a:path>
                </a:pathLst>
              </a:custGeom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54" name="Forma livre: Forma 153">
                <a:extLst>
                  <a:ext uri="{FF2B5EF4-FFF2-40B4-BE49-F238E27FC236}">
                    <a16:creationId xmlns:a16="http://schemas.microsoft.com/office/drawing/2014/main" id="{CDA418ED-C977-55DA-5B74-EB88244C994C}"/>
                  </a:ext>
                </a:extLst>
              </p:cNvPr>
              <p:cNvSpPr/>
              <p:nvPr/>
            </p:nvSpPr>
            <p:spPr>
              <a:xfrm>
                <a:off x="6061121" y="1545272"/>
                <a:ext cx="47166" cy="34154"/>
              </a:xfrm>
              <a:custGeom>
                <a:avLst/>
                <a:gdLst>
                  <a:gd name="connsiteX0" fmla="*/ 0 w 47166"/>
                  <a:gd name="connsiteY0" fmla="*/ 0 h 34154"/>
                  <a:gd name="connsiteX1" fmla="*/ 47166 w 47166"/>
                  <a:gd name="connsiteY1" fmla="*/ 34155 h 341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166" h="34154">
                    <a:moveTo>
                      <a:pt x="0" y="0"/>
                    </a:moveTo>
                    <a:cubicBezTo>
                      <a:pt x="0" y="0"/>
                      <a:pt x="27649" y="13011"/>
                      <a:pt x="47166" y="34155"/>
                    </a:cubicBezTo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35" name="Gráfico 32">
              <a:extLst>
                <a:ext uri="{FF2B5EF4-FFF2-40B4-BE49-F238E27FC236}">
                  <a16:creationId xmlns:a16="http://schemas.microsoft.com/office/drawing/2014/main" id="{AB4405D4-AD1C-372B-CA2C-7475C3C63B2F}"/>
                </a:ext>
              </a:extLst>
            </p:cNvPr>
            <p:cNvGrpSpPr/>
            <p:nvPr/>
          </p:nvGrpSpPr>
          <p:grpSpPr>
            <a:xfrm>
              <a:off x="6191625" y="1599725"/>
              <a:ext cx="173767" cy="157112"/>
              <a:chOff x="6191625" y="1599725"/>
              <a:chExt cx="173767" cy="157112"/>
            </a:xfrm>
            <a:noFill/>
          </p:grpSpPr>
          <p:sp>
            <p:nvSpPr>
              <p:cNvPr id="145" name="Forma livre: Forma 144">
                <a:extLst>
                  <a:ext uri="{FF2B5EF4-FFF2-40B4-BE49-F238E27FC236}">
                    <a16:creationId xmlns:a16="http://schemas.microsoft.com/office/drawing/2014/main" id="{2081C5E6-4655-4D21-35CA-D29BD25FACD7}"/>
                  </a:ext>
                </a:extLst>
              </p:cNvPr>
              <p:cNvSpPr/>
              <p:nvPr/>
            </p:nvSpPr>
            <p:spPr>
              <a:xfrm>
                <a:off x="6310094" y="1621974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46" name="Forma livre: Forma 145">
                <a:extLst>
                  <a:ext uri="{FF2B5EF4-FFF2-40B4-BE49-F238E27FC236}">
                    <a16:creationId xmlns:a16="http://schemas.microsoft.com/office/drawing/2014/main" id="{47047B93-289A-4AEE-BD17-82D3A6F071FC}"/>
                  </a:ext>
                </a:extLst>
              </p:cNvPr>
              <p:cNvSpPr/>
              <p:nvPr/>
            </p:nvSpPr>
            <p:spPr>
              <a:xfrm>
                <a:off x="6191625" y="1599725"/>
                <a:ext cx="118078" cy="49898"/>
              </a:xfrm>
              <a:custGeom>
                <a:avLst/>
                <a:gdLst>
                  <a:gd name="connsiteX0" fmla="*/ 0 w 118078"/>
                  <a:gd name="connsiteY0" fmla="*/ 0 h 49898"/>
                  <a:gd name="connsiteX1" fmla="*/ 37343 w 118078"/>
                  <a:gd name="connsiteY1" fmla="*/ 0 h 49898"/>
                  <a:gd name="connsiteX2" fmla="*/ 87176 w 118078"/>
                  <a:gd name="connsiteY2" fmla="*/ 49899 h 49898"/>
                  <a:gd name="connsiteX3" fmla="*/ 118078 w 118078"/>
                  <a:gd name="connsiteY3" fmla="*/ 49899 h 49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8078" h="49898">
                    <a:moveTo>
                      <a:pt x="0" y="0"/>
                    </a:moveTo>
                    <a:lnTo>
                      <a:pt x="37343" y="0"/>
                    </a:lnTo>
                    <a:lnTo>
                      <a:pt x="87176" y="49899"/>
                    </a:lnTo>
                    <a:lnTo>
                      <a:pt x="118078" y="49899"/>
                    </a:lnTo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47" name="Forma livre: Forma 146">
                <a:extLst>
                  <a:ext uri="{FF2B5EF4-FFF2-40B4-BE49-F238E27FC236}">
                    <a16:creationId xmlns:a16="http://schemas.microsoft.com/office/drawing/2014/main" id="{87D9190F-2B9E-14BC-6B6A-B09B9F3EEF52}"/>
                  </a:ext>
                </a:extLst>
              </p:cNvPr>
              <p:cNvSpPr/>
              <p:nvPr/>
            </p:nvSpPr>
            <p:spPr>
              <a:xfrm>
                <a:off x="6191625" y="1665367"/>
                <a:ext cx="81906" cy="44108"/>
              </a:xfrm>
              <a:custGeom>
                <a:avLst/>
                <a:gdLst>
                  <a:gd name="connsiteX0" fmla="*/ 0 w 81906"/>
                  <a:gd name="connsiteY0" fmla="*/ 0 h 44108"/>
                  <a:gd name="connsiteX1" fmla="*/ 37343 w 81906"/>
                  <a:gd name="connsiteY1" fmla="*/ 0 h 44108"/>
                  <a:gd name="connsiteX2" fmla="*/ 81907 w 81906"/>
                  <a:gd name="connsiteY2" fmla="*/ 44109 h 441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1906" h="44108">
                    <a:moveTo>
                      <a:pt x="0" y="0"/>
                    </a:moveTo>
                    <a:lnTo>
                      <a:pt x="37343" y="0"/>
                    </a:lnTo>
                    <a:lnTo>
                      <a:pt x="81907" y="44109"/>
                    </a:lnTo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48" name="Forma livre: Forma 147">
                <a:extLst>
                  <a:ext uri="{FF2B5EF4-FFF2-40B4-BE49-F238E27FC236}">
                    <a16:creationId xmlns:a16="http://schemas.microsoft.com/office/drawing/2014/main" id="{9D11A5A7-E626-DE29-7955-B99C2447AC29}"/>
                  </a:ext>
                </a:extLst>
              </p:cNvPr>
              <p:cNvSpPr/>
              <p:nvPr/>
            </p:nvSpPr>
            <p:spPr>
              <a:xfrm>
                <a:off x="6265075" y="1701539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36" name="Gráfico 32">
              <a:extLst>
                <a:ext uri="{FF2B5EF4-FFF2-40B4-BE49-F238E27FC236}">
                  <a16:creationId xmlns:a16="http://schemas.microsoft.com/office/drawing/2014/main" id="{732F1233-AFDC-5308-B6B5-E2F4FA271CD0}"/>
                </a:ext>
              </a:extLst>
            </p:cNvPr>
            <p:cNvGrpSpPr/>
            <p:nvPr/>
          </p:nvGrpSpPr>
          <p:grpSpPr>
            <a:xfrm>
              <a:off x="6191625" y="1357908"/>
              <a:ext cx="173767" cy="157112"/>
              <a:chOff x="6191625" y="1357908"/>
              <a:chExt cx="173767" cy="157112"/>
            </a:xfrm>
            <a:noFill/>
          </p:grpSpPr>
          <p:sp>
            <p:nvSpPr>
              <p:cNvPr id="141" name="Forma livre: Forma 140">
                <a:extLst>
                  <a:ext uri="{FF2B5EF4-FFF2-40B4-BE49-F238E27FC236}">
                    <a16:creationId xmlns:a16="http://schemas.microsoft.com/office/drawing/2014/main" id="{2ABE4F79-3409-3999-1992-5E36A6CFAAC2}"/>
                  </a:ext>
                </a:extLst>
              </p:cNvPr>
              <p:cNvSpPr/>
              <p:nvPr/>
            </p:nvSpPr>
            <p:spPr>
              <a:xfrm>
                <a:off x="6310094" y="1437472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0 h 55298"/>
                  <a:gd name="connsiteX2" fmla="*/ 0 w 55298"/>
                  <a:gd name="connsiteY2" fmla="*/ 27649 h 55298"/>
                  <a:gd name="connsiteX3" fmla="*/ 27649 w 55298"/>
                  <a:gd name="connsiteY3" fmla="*/ 55298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12361"/>
                      <a:pt x="42938" y="0"/>
                      <a:pt x="27649" y="0"/>
                    </a:cubicBezTo>
                    <a:cubicBezTo>
                      <a:pt x="12361" y="0"/>
                      <a:pt x="0" y="12361"/>
                      <a:pt x="0" y="27649"/>
                    </a:cubicBezTo>
                    <a:cubicBezTo>
                      <a:pt x="0" y="42938"/>
                      <a:pt x="12361" y="55298"/>
                      <a:pt x="27649" y="55298"/>
                    </a:cubicBezTo>
                    <a:cubicBezTo>
                      <a:pt x="42938" y="55298"/>
                      <a:pt x="55298" y="42938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42" name="Forma livre: Forma 141">
                <a:extLst>
                  <a:ext uri="{FF2B5EF4-FFF2-40B4-BE49-F238E27FC236}">
                    <a16:creationId xmlns:a16="http://schemas.microsoft.com/office/drawing/2014/main" id="{0ADADEAE-50AC-097E-C48A-F0154C3B72A7}"/>
                  </a:ext>
                </a:extLst>
              </p:cNvPr>
              <p:cNvSpPr/>
              <p:nvPr/>
            </p:nvSpPr>
            <p:spPr>
              <a:xfrm>
                <a:off x="6191625" y="1465122"/>
                <a:ext cx="118468" cy="49898"/>
              </a:xfrm>
              <a:custGeom>
                <a:avLst/>
                <a:gdLst>
                  <a:gd name="connsiteX0" fmla="*/ 0 w 118468"/>
                  <a:gd name="connsiteY0" fmla="*/ 49899 h 49898"/>
                  <a:gd name="connsiteX1" fmla="*/ 37343 w 118468"/>
                  <a:gd name="connsiteY1" fmla="*/ 49899 h 49898"/>
                  <a:gd name="connsiteX2" fmla="*/ 87176 w 118468"/>
                  <a:gd name="connsiteY2" fmla="*/ 0 h 49898"/>
                  <a:gd name="connsiteX3" fmla="*/ 118469 w 118468"/>
                  <a:gd name="connsiteY3" fmla="*/ 0 h 49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8468" h="49898">
                    <a:moveTo>
                      <a:pt x="0" y="49899"/>
                    </a:moveTo>
                    <a:lnTo>
                      <a:pt x="37343" y="49899"/>
                    </a:lnTo>
                    <a:lnTo>
                      <a:pt x="87176" y="0"/>
                    </a:lnTo>
                    <a:lnTo>
                      <a:pt x="118469" y="0"/>
                    </a:lnTo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43" name="Forma livre: Forma 142">
                <a:extLst>
                  <a:ext uri="{FF2B5EF4-FFF2-40B4-BE49-F238E27FC236}">
                    <a16:creationId xmlns:a16="http://schemas.microsoft.com/office/drawing/2014/main" id="{C6109AD4-28B3-19A3-16FD-E35E673805C1}"/>
                  </a:ext>
                </a:extLst>
              </p:cNvPr>
              <p:cNvSpPr/>
              <p:nvPr/>
            </p:nvSpPr>
            <p:spPr>
              <a:xfrm>
                <a:off x="6191625" y="1405269"/>
                <a:ext cx="81451" cy="44043"/>
              </a:xfrm>
              <a:custGeom>
                <a:avLst/>
                <a:gdLst>
                  <a:gd name="connsiteX0" fmla="*/ 0 w 81451"/>
                  <a:gd name="connsiteY0" fmla="*/ 44044 h 44043"/>
                  <a:gd name="connsiteX1" fmla="*/ 37343 w 81451"/>
                  <a:gd name="connsiteY1" fmla="*/ 44044 h 44043"/>
                  <a:gd name="connsiteX2" fmla="*/ 81451 w 81451"/>
                  <a:gd name="connsiteY2" fmla="*/ 0 h 440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1451" h="44043">
                    <a:moveTo>
                      <a:pt x="0" y="44044"/>
                    </a:moveTo>
                    <a:lnTo>
                      <a:pt x="37343" y="44044"/>
                    </a:lnTo>
                    <a:lnTo>
                      <a:pt x="81451" y="0"/>
                    </a:lnTo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44" name="Forma livre: Forma 143">
                <a:extLst>
                  <a:ext uri="{FF2B5EF4-FFF2-40B4-BE49-F238E27FC236}">
                    <a16:creationId xmlns:a16="http://schemas.microsoft.com/office/drawing/2014/main" id="{62CF2B91-09A5-0C13-C9DE-E720F7433ABE}"/>
                  </a:ext>
                </a:extLst>
              </p:cNvPr>
              <p:cNvSpPr/>
              <p:nvPr/>
            </p:nvSpPr>
            <p:spPr>
              <a:xfrm>
                <a:off x="6265075" y="1357908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0 h 55298"/>
                  <a:gd name="connsiteX2" fmla="*/ 0 w 55298"/>
                  <a:gd name="connsiteY2" fmla="*/ 27649 h 55298"/>
                  <a:gd name="connsiteX3" fmla="*/ 27649 w 55298"/>
                  <a:gd name="connsiteY3" fmla="*/ 55298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12361"/>
                      <a:pt x="42938" y="0"/>
                      <a:pt x="27649" y="0"/>
                    </a:cubicBezTo>
                    <a:cubicBezTo>
                      <a:pt x="12361" y="0"/>
                      <a:pt x="0" y="12361"/>
                      <a:pt x="0" y="27649"/>
                    </a:cubicBezTo>
                    <a:cubicBezTo>
                      <a:pt x="0" y="42938"/>
                      <a:pt x="12361" y="55298"/>
                      <a:pt x="27649" y="55298"/>
                    </a:cubicBezTo>
                    <a:cubicBezTo>
                      <a:pt x="42938" y="55298"/>
                      <a:pt x="55298" y="42938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37" name="Gráfico 32">
              <a:extLst>
                <a:ext uri="{FF2B5EF4-FFF2-40B4-BE49-F238E27FC236}">
                  <a16:creationId xmlns:a16="http://schemas.microsoft.com/office/drawing/2014/main" id="{81FCA36B-BB4E-E384-D0B4-222C7128D316}"/>
                </a:ext>
              </a:extLst>
            </p:cNvPr>
            <p:cNvGrpSpPr/>
            <p:nvPr/>
          </p:nvGrpSpPr>
          <p:grpSpPr>
            <a:xfrm>
              <a:off x="6190910" y="1529723"/>
              <a:ext cx="123673" cy="55298"/>
              <a:chOff x="6190910" y="1529723"/>
              <a:chExt cx="123673" cy="55298"/>
            </a:xfrm>
            <a:noFill/>
          </p:grpSpPr>
          <p:sp>
            <p:nvSpPr>
              <p:cNvPr id="139" name="Forma livre: Forma 138">
                <a:extLst>
                  <a:ext uri="{FF2B5EF4-FFF2-40B4-BE49-F238E27FC236}">
                    <a16:creationId xmlns:a16="http://schemas.microsoft.com/office/drawing/2014/main" id="{B3BC334E-4319-EEEE-47C8-9E698DE9C5B6}"/>
                  </a:ext>
                </a:extLst>
              </p:cNvPr>
              <p:cNvSpPr/>
              <p:nvPr/>
            </p:nvSpPr>
            <p:spPr>
              <a:xfrm>
                <a:off x="6190910" y="1557372"/>
                <a:ext cx="68765" cy="6505"/>
              </a:xfrm>
              <a:custGeom>
                <a:avLst/>
                <a:gdLst>
                  <a:gd name="connsiteX0" fmla="*/ 0 w 68765"/>
                  <a:gd name="connsiteY0" fmla="*/ 0 h 6505"/>
                  <a:gd name="connsiteX1" fmla="*/ 68765 w 68765"/>
                  <a:gd name="connsiteY1" fmla="*/ 0 h 65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8765" h="6505">
                    <a:moveTo>
                      <a:pt x="0" y="0"/>
                    </a:moveTo>
                    <a:lnTo>
                      <a:pt x="68765" y="0"/>
                    </a:lnTo>
                  </a:path>
                </a:pathLst>
              </a:custGeom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40" name="Forma livre: Forma 139">
                <a:extLst>
                  <a:ext uri="{FF2B5EF4-FFF2-40B4-BE49-F238E27FC236}">
                    <a16:creationId xmlns:a16="http://schemas.microsoft.com/office/drawing/2014/main" id="{52EE9426-9EDA-C0F1-EA9D-689C557F0A1A}"/>
                  </a:ext>
                </a:extLst>
              </p:cNvPr>
              <p:cNvSpPr/>
              <p:nvPr/>
            </p:nvSpPr>
            <p:spPr>
              <a:xfrm>
                <a:off x="6259285" y="1529723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38" name="Forma livre: Forma 137">
              <a:extLst>
                <a:ext uri="{FF2B5EF4-FFF2-40B4-BE49-F238E27FC236}">
                  <a16:creationId xmlns:a16="http://schemas.microsoft.com/office/drawing/2014/main" id="{2600E8D7-C53F-9440-26EF-6DA91DDAB975}"/>
                </a:ext>
              </a:extLst>
            </p:cNvPr>
            <p:cNvSpPr/>
            <p:nvPr/>
          </p:nvSpPr>
          <p:spPr>
            <a:xfrm>
              <a:off x="6152201" y="1686285"/>
              <a:ext cx="37362" cy="20848"/>
            </a:xfrm>
            <a:custGeom>
              <a:avLst/>
              <a:gdLst>
                <a:gd name="connsiteX0" fmla="*/ 0 w 37362"/>
                <a:gd name="connsiteY0" fmla="*/ 10505 h 20848"/>
                <a:gd name="connsiteX1" fmla="*/ 27064 w 37362"/>
                <a:gd name="connsiteY1" fmla="*/ 2373 h 20848"/>
                <a:gd name="connsiteX2" fmla="*/ 37343 w 37362"/>
                <a:gd name="connsiteY2" fmla="*/ 20849 h 20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7362" h="20848">
                  <a:moveTo>
                    <a:pt x="0" y="10505"/>
                  </a:moveTo>
                  <a:cubicBezTo>
                    <a:pt x="5205" y="811"/>
                    <a:pt x="17435" y="-2832"/>
                    <a:pt x="27064" y="2373"/>
                  </a:cubicBezTo>
                  <a:cubicBezTo>
                    <a:pt x="34025" y="6081"/>
                    <a:pt x="37668" y="13432"/>
                    <a:pt x="37343" y="20849"/>
                  </a:cubicBezTo>
                </a:path>
              </a:pathLst>
            </a:custGeom>
            <a:noFill/>
            <a:ln w="19050" cap="sq">
              <a:solidFill>
                <a:schemeClr val="accent2"/>
              </a:solidFill>
              <a:prstDash val="solid"/>
              <a:miter lim="800000"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cxnSp>
        <p:nvCxnSpPr>
          <p:cNvPr id="155" name="Conexão reta 154">
            <a:extLst>
              <a:ext uri="{FF2B5EF4-FFF2-40B4-BE49-F238E27FC236}">
                <a16:creationId xmlns:a16="http://schemas.microsoft.com/office/drawing/2014/main" id="{AE139140-EBC6-8C3D-510C-938FA5AB8C97}"/>
              </a:ext>
            </a:extLst>
          </p:cNvPr>
          <p:cNvCxnSpPr>
            <a:cxnSpLocks/>
          </p:cNvCxnSpPr>
          <p:nvPr/>
        </p:nvCxnSpPr>
        <p:spPr>
          <a:xfrm flipH="1">
            <a:off x="3232260" y="3564755"/>
            <a:ext cx="267148" cy="0"/>
          </a:xfrm>
          <a:prstGeom prst="line">
            <a:avLst/>
          </a:prstGeom>
          <a:ln w="6350">
            <a:solidFill>
              <a:schemeClr val="tx1"/>
            </a:solidFill>
            <a:headEnd type="arrow"/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58" name="Conexão reta 157">
            <a:extLst>
              <a:ext uri="{FF2B5EF4-FFF2-40B4-BE49-F238E27FC236}">
                <a16:creationId xmlns:a16="http://schemas.microsoft.com/office/drawing/2014/main" id="{63471C81-54E2-74D0-5A79-FF24579139F2}"/>
              </a:ext>
            </a:extLst>
          </p:cNvPr>
          <p:cNvCxnSpPr>
            <a:cxnSpLocks/>
          </p:cNvCxnSpPr>
          <p:nvPr/>
        </p:nvCxnSpPr>
        <p:spPr>
          <a:xfrm flipH="1">
            <a:off x="5546143" y="3564755"/>
            <a:ext cx="267148" cy="0"/>
          </a:xfrm>
          <a:prstGeom prst="line">
            <a:avLst/>
          </a:prstGeom>
          <a:ln w="6350">
            <a:solidFill>
              <a:schemeClr val="tx1"/>
            </a:solidFill>
            <a:headEnd type="arrow"/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59" name="Conexão reta 158">
            <a:extLst>
              <a:ext uri="{FF2B5EF4-FFF2-40B4-BE49-F238E27FC236}">
                <a16:creationId xmlns:a16="http://schemas.microsoft.com/office/drawing/2014/main" id="{E88F610A-8429-A4B1-07D4-D62CB612BF05}"/>
              </a:ext>
            </a:extLst>
          </p:cNvPr>
          <p:cNvCxnSpPr>
            <a:cxnSpLocks/>
          </p:cNvCxnSpPr>
          <p:nvPr/>
        </p:nvCxnSpPr>
        <p:spPr>
          <a:xfrm flipH="1">
            <a:off x="7565378" y="3564755"/>
            <a:ext cx="267148" cy="0"/>
          </a:xfrm>
          <a:prstGeom prst="line">
            <a:avLst/>
          </a:prstGeom>
          <a:ln w="6350">
            <a:solidFill>
              <a:schemeClr val="tx1"/>
            </a:solidFill>
            <a:headEnd type="arrow"/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60" name="Conexão reta 159">
            <a:extLst>
              <a:ext uri="{FF2B5EF4-FFF2-40B4-BE49-F238E27FC236}">
                <a16:creationId xmlns:a16="http://schemas.microsoft.com/office/drawing/2014/main" id="{C9FB7A1A-8EAD-DAB5-0C3E-18DD83A8623D}"/>
              </a:ext>
            </a:extLst>
          </p:cNvPr>
          <p:cNvCxnSpPr>
            <a:cxnSpLocks/>
          </p:cNvCxnSpPr>
          <p:nvPr/>
        </p:nvCxnSpPr>
        <p:spPr>
          <a:xfrm flipH="1">
            <a:off x="9691167" y="3564755"/>
            <a:ext cx="267148" cy="0"/>
          </a:xfrm>
          <a:prstGeom prst="line">
            <a:avLst/>
          </a:prstGeom>
          <a:ln w="6350">
            <a:solidFill>
              <a:schemeClr val="tx1"/>
            </a:solidFill>
            <a:headEnd type="arrow"/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65" name="Conexão reta 164">
            <a:extLst>
              <a:ext uri="{FF2B5EF4-FFF2-40B4-BE49-F238E27FC236}">
                <a16:creationId xmlns:a16="http://schemas.microsoft.com/office/drawing/2014/main" id="{8F83323D-F29B-5832-7282-E5E3231EF279}"/>
              </a:ext>
            </a:extLst>
          </p:cNvPr>
          <p:cNvCxnSpPr>
            <a:cxnSpLocks/>
          </p:cNvCxnSpPr>
          <p:nvPr/>
        </p:nvCxnSpPr>
        <p:spPr>
          <a:xfrm flipH="1">
            <a:off x="2155150" y="5620721"/>
            <a:ext cx="133574" cy="0"/>
          </a:xfrm>
          <a:prstGeom prst="line">
            <a:avLst/>
          </a:prstGeom>
          <a:ln w="6350">
            <a:solidFill>
              <a:schemeClr val="tx1"/>
            </a:solidFill>
            <a:headEnd type="arrow"/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67" name="Conexão reta 166">
            <a:extLst>
              <a:ext uri="{FF2B5EF4-FFF2-40B4-BE49-F238E27FC236}">
                <a16:creationId xmlns:a16="http://schemas.microsoft.com/office/drawing/2014/main" id="{5BCA6D08-DD9F-EC6C-C39E-DA8600F6F8B8}"/>
              </a:ext>
            </a:extLst>
          </p:cNvPr>
          <p:cNvCxnSpPr>
            <a:cxnSpLocks/>
          </p:cNvCxnSpPr>
          <p:nvPr/>
        </p:nvCxnSpPr>
        <p:spPr>
          <a:xfrm flipH="1">
            <a:off x="2818726" y="5620721"/>
            <a:ext cx="133574" cy="0"/>
          </a:xfrm>
          <a:prstGeom prst="line">
            <a:avLst/>
          </a:prstGeom>
          <a:ln w="6350">
            <a:solidFill>
              <a:schemeClr val="tx1"/>
            </a:solidFill>
            <a:headEnd type="arrow"/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68" name="Conexão reta 167">
            <a:extLst>
              <a:ext uri="{FF2B5EF4-FFF2-40B4-BE49-F238E27FC236}">
                <a16:creationId xmlns:a16="http://schemas.microsoft.com/office/drawing/2014/main" id="{98D09C2F-C6E5-B978-85C3-1EE913166A0D}"/>
              </a:ext>
            </a:extLst>
          </p:cNvPr>
          <p:cNvCxnSpPr>
            <a:cxnSpLocks/>
          </p:cNvCxnSpPr>
          <p:nvPr/>
        </p:nvCxnSpPr>
        <p:spPr>
          <a:xfrm flipH="1">
            <a:off x="3568139" y="5620721"/>
            <a:ext cx="133574" cy="0"/>
          </a:xfrm>
          <a:prstGeom prst="line">
            <a:avLst/>
          </a:prstGeom>
          <a:ln w="6350">
            <a:solidFill>
              <a:schemeClr val="tx1"/>
            </a:solidFill>
            <a:headEnd type="arrow"/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69" name="Conexão reta 168">
            <a:extLst>
              <a:ext uri="{FF2B5EF4-FFF2-40B4-BE49-F238E27FC236}">
                <a16:creationId xmlns:a16="http://schemas.microsoft.com/office/drawing/2014/main" id="{BDC0B3D8-D06B-AB66-7CC6-D09BCD7A7F20}"/>
              </a:ext>
            </a:extLst>
          </p:cNvPr>
          <p:cNvCxnSpPr>
            <a:cxnSpLocks/>
          </p:cNvCxnSpPr>
          <p:nvPr/>
        </p:nvCxnSpPr>
        <p:spPr>
          <a:xfrm flipH="1">
            <a:off x="1485787" y="5620721"/>
            <a:ext cx="133574" cy="0"/>
          </a:xfrm>
          <a:prstGeom prst="line">
            <a:avLst/>
          </a:prstGeom>
          <a:ln w="6350">
            <a:solidFill>
              <a:schemeClr val="tx1"/>
            </a:solidFill>
            <a:headEnd type="arrow"/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174" name="Agrupar 173">
            <a:extLst>
              <a:ext uri="{FF2B5EF4-FFF2-40B4-BE49-F238E27FC236}">
                <a16:creationId xmlns:a16="http://schemas.microsoft.com/office/drawing/2014/main" id="{F10E5A49-BABC-20C6-2AB1-1C287C8A8160}"/>
              </a:ext>
            </a:extLst>
          </p:cNvPr>
          <p:cNvGrpSpPr/>
          <p:nvPr/>
        </p:nvGrpSpPr>
        <p:grpSpPr>
          <a:xfrm>
            <a:off x="971550" y="5725909"/>
            <a:ext cx="873687" cy="256613"/>
            <a:chOff x="971550" y="5725909"/>
            <a:chExt cx="873687" cy="256613"/>
          </a:xfrm>
        </p:grpSpPr>
        <p:cxnSp>
          <p:nvCxnSpPr>
            <p:cNvPr id="170" name="Conexão reta 169">
              <a:extLst>
                <a:ext uri="{FF2B5EF4-FFF2-40B4-BE49-F238E27FC236}">
                  <a16:creationId xmlns:a16="http://schemas.microsoft.com/office/drawing/2014/main" id="{F7F6D180-747A-9B6F-7914-77AE43B541B0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971550" y="5982522"/>
              <a:ext cx="873687" cy="0"/>
            </a:xfrm>
            <a:prstGeom prst="line">
              <a:avLst/>
            </a:prstGeom>
            <a:ln w="6350">
              <a:solidFill>
                <a:schemeClr val="tx1"/>
              </a:solidFill>
              <a:headEnd type="arrow"/>
              <a:tailEnd type="non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3" name="Conexão reta 172">
              <a:extLst>
                <a:ext uri="{FF2B5EF4-FFF2-40B4-BE49-F238E27FC236}">
                  <a16:creationId xmlns:a16="http://schemas.microsoft.com/office/drawing/2014/main" id="{1450F32A-9470-A587-BA7A-36772CC1FB56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971550" y="5725909"/>
              <a:ext cx="0" cy="249292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93" name="Conexão reta 192">
            <a:extLst>
              <a:ext uri="{FF2B5EF4-FFF2-40B4-BE49-F238E27FC236}">
                <a16:creationId xmlns:a16="http://schemas.microsoft.com/office/drawing/2014/main" id="{E360D2CF-0166-5932-1825-CE414A5678D5}"/>
              </a:ext>
            </a:extLst>
          </p:cNvPr>
          <p:cNvCxnSpPr>
            <a:cxnSpLocks/>
          </p:cNvCxnSpPr>
          <p:nvPr/>
        </p:nvCxnSpPr>
        <p:spPr>
          <a:xfrm>
            <a:off x="2654187" y="4017782"/>
            <a:ext cx="0" cy="350725"/>
          </a:xfrm>
          <a:prstGeom prst="line">
            <a:avLst/>
          </a:prstGeom>
          <a:ln w="6350">
            <a:solidFill>
              <a:schemeClr val="tx1"/>
            </a:solidFill>
            <a:headEnd type="arrow"/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95" name="Conexão reta 194">
            <a:extLst>
              <a:ext uri="{FF2B5EF4-FFF2-40B4-BE49-F238E27FC236}">
                <a16:creationId xmlns:a16="http://schemas.microsoft.com/office/drawing/2014/main" id="{0B4FB91E-8047-09AC-0BEA-DD066B41D6E9}"/>
              </a:ext>
            </a:extLst>
          </p:cNvPr>
          <p:cNvCxnSpPr>
            <a:cxnSpLocks/>
          </p:cNvCxnSpPr>
          <p:nvPr/>
        </p:nvCxnSpPr>
        <p:spPr>
          <a:xfrm>
            <a:off x="3707950" y="4017782"/>
            <a:ext cx="0" cy="224018"/>
          </a:xfrm>
          <a:prstGeom prst="line">
            <a:avLst/>
          </a:prstGeom>
          <a:ln w="6350">
            <a:solidFill>
              <a:schemeClr val="tx1"/>
            </a:solidFill>
            <a:headEnd type="arrow"/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96" name="Conexão reta 195">
            <a:extLst>
              <a:ext uri="{FF2B5EF4-FFF2-40B4-BE49-F238E27FC236}">
                <a16:creationId xmlns:a16="http://schemas.microsoft.com/office/drawing/2014/main" id="{33DA61F5-A344-C977-68ED-0F529C6C86AA}"/>
              </a:ext>
            </a:extLst>
          </p:cNvPr>
          <p:cNvCxnSpPr>
            <a:cxnSpLocks/>
          </p:cNvCxnSpPr>
          <p:nvPr/>
        </p:nvCxnSpPr>
        <p:spPr>
          <a:xfrm flipH="1">
            <a:off x="4518995" y="5620721"/>
            <a:ext cx="2119930" cy="0"/>
          </a:xfrm>
          <a:prstGeom prst="line">
            <a:avLst/>
          </a:prstGeom>
          <a:ln w="6350">
            <a:solidFill>
              <a:schemeClr val="tx1"/>
            </a:solidFill>
            <a:headEnd type="arrow"/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218" name="Agrupar 217">
            <a:extLst>
              <a:ext uri="{FF2B5EF4-FFF2-40B4-BE49-F238E27FC236}">
                <a16:creationId xmlns:a16="http://schemas.microsoft.com/office/drawing/2014/main" id="{F2C70362-724E-C29B-AED9-D8F9B828B65D}"/>
              </a:ext>
            </a:extLst>
          </p:cNvPr>
          <p:cNvGrpSpPr/>
          <p:nvPr/>
        </p:nvGrpSpPr>
        <p:grpSpPr>
          <a:xfrm>
            <a:off x="8850025" y="4087030"/>
            <a:ext cx="244336" cy="266828"/>
            <a:chOff x="6000092" y="1357908"/>
            <a:chExt cx="365300" cy="398929"/>
          </a:xfrm>
        </p:grpSpPr>
        <p:sp>
          <p:nvSpPr>
            <p:cNvPr id="219" name="Forma livre: Forma 218">
              <a:extLst>
                <a:ext uri="{FF2B5EF4-FFF2-40B4-BE49-F238E27FC236}">
                  <a16:creationId xmlns:a16="http://schemas.microsoft.com/office/drawing/2014/main" id="{EC6942C8-18C1-939E-18E0-0CCDEA6D83C2}"/>
                </a:ext>
              </a:extLst>
            </p:cNvPr>
            <p:cNvSpPr/>
            <p:nvPr/>
          </p:nvSpPr>
          <p:spPr>
            <a:xfrm>
              <a:off x="6000092" y="1418606"/>
              <a:ext cx="84058" cy="286120"/>
            </a:xfrm>
            <a:custGeom>
              <a:avLst/>
              <a:gdLst>
                <a:gd name="connsiteX0" fmla="*/ 51595 w 84058"/>
                <a:gd name="connsiteY0" fmla="*/ 0 h 286120"/>
                <a:gd name="connsiteX1" fmla="*/ 35266 w 84058"/>
                <a:gd name="connsiteY1" fmla="*/ 61674 h 286120"/>
                <a:gd name="connsiteX2" fmla="*/ 28760 w 84058"/>
                <a:gd name="connsiteY2" fmla="*/ 193415 h 286120"/>
                <a:gd name="connsiteX3" fmla="*/ 84059 w 84058"/>
                <a:gd name="connsiteY3" fmla="*/ 286121 h 2861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4058" h="286120">
                  <a:moveTo>
                    <a:pt x="51595" y="0"/>
                  </a:moveTo>
                  <a:cubicBezTo>
                    <a:pt x="37868" y="7872"/>
                    <a:pt x="26028" y="24852"/>
                    <a:pt x="35266" y="61674"/>
                  </a:cubicBezTo>
                  <a:cubicBezTo>
                    <a:pt x="35266" y="61674"/>
                    <a:pt x="-39549" y="126731"/>
                    <a:pt x="28760" y="193415"/>
                  </a:cubicBezTo>
                  <a:cubicBezTo>
                    <a:pt x="28760" y="193415"/>
                    <a:pt x="9243" y="281242"/>
                    <a:pt x="84059" y="286121"/>
                  </a:cubicBezTo>
                </a:path>
              </a:pathLst>
            </a:custGeom>
            <a:noFill/>
            <a:ln w="19050" cap="sq">
              <a:solidFill>
                <a:schemeClr val="accent2"/>
              </a:solidFill>
              <a:prstDash val="solid"/>
              <a:miter lim="800000"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220" name="Gráfico 32">
              <a:extLst>
                <a:ext uri="{FF2B5EF4-FFF2-40B4-BE49-F238E27FC236}">
                  <a16:creationId xmlns:a16="http://schemas.microsoft.com/office/drawing/2014/main" id="{8648893B-D5FD-0B17-5D19-A48920982EC7}"/>
                </a:ext>
              </a:extLst>
            </p:cNvPr>
            <p:cNvGrpSpPr/>
            <p:nvPr/>
          </p:nvGrpSpPr>
          <p:grpSpPr>
            <a:xfrm>
              <a:off x="6061121" y="1359924"/>
              <a:ext cx="128487" cy="396366"/>
              <a:chOff x="6061121" y="1359924"/>
              <a:chExt cx="128487" cy="396366"/>
            </a:xfrm>
            <a:noFill/>
          </p:grpSpPr>
          <p:sp>
            <p:nvSpPr>
              <p:cNvPr id="235" name="Forma livre: Forma 234">
                <a:extLst>
                  <a:ext uri="{FF2B5EF4-FFF2-40B4-BE49-F238E27FC236}">
                    <a16:creationId xmlns:a16="http://schemas.microsoft.com/office/drawing/2014/main" id="{E77D11AD-430C-C58A-A50C-FB919F468984}"/>
                  </a:ext>
                </a:extLst>
              </p:cNvPr>
              <p:cNvSpPr/>
              <p:nvPr/>
            </p:nvSpPr>
            <p:spPr>
              <a:xfrm>
                <a:off x="6083891" y="1359924"/>
                <a:ext cx="105717" cy="396366"/>
              </a:xfrm>
              <a:custGeom>
                <a:avLst/>
                <a:gdLst>
                  <a:gd name="connsiteX0" fmla="*/ 52891 w 105717"/>
                  <a:gd name="connsiteY0" fmla="*/ 105718 h 396366"/>
                  <a:gd name="connsiteX1" fmla="*/ 0 w 105717"/>
                  <a:gd name="connsiteY1" fmla="*/ 52891 h 396366"/>
                  <a:gd name="connsiteX2" fmla="*/ 52891 w 105717"/>
                  <a:gd name="connsiteY2" fmla="*/ 0 h 396366"/>
                  <a:gd name="connsiteX3" fmla="*/ 105718 w 105717"/>
                  <a:gd name="connsiteY3" fmla="*/ 52826 h 396366"/>
                  <a:gd name="connsiteX4" fmla="*/ 105718 w 105717"/>
                  <a:gd name="connsiteY4" fmla="*/ 346884 h 396366"/>
                  <a:gd name="connsiteX5" fmla="*/ 80606 w 105717"/>
                  <a:gd name="connsiteY5" fmla="*/ 388911 h 396366"/>
                  <a:gd name="connsiteX6" fmla="*/ 9238 w 105717"/>
                  <a:gd name="connsiteY6" fmla="*/ 371150 h 396366"/>
                  <a:gd name="connsiteX7" fmla="*/ 15484 w 105717"/>
                  <a:gd name="connsiteY7" fmla="*/ 309216 h 396366"/>
                  <a:gd name="connsiteX8" fmla="*/ 45019 w 105717"/>
                  <a:gd name="connsiteY8" fmla="*/ 277078 h 3963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05717" h="396366">
                    <a:moveTo>
                      <a:pt x="52891" y="105718"/>
                    </a:moveTo>
                    <a:cubicBezTo>
                      <a:pt x="23681" y="105718"/>
                      <a:pt x="0" y="82037"/>
                      <a:pt x="0" y="52891"/>
                    </a:cubicBezTo>
                    <a:cubicBezTo>
                      <a:pt x="0" y="23746"/>
                      <a:pt x="23681" y="0"/>
                      <a:pt x="52891" y="0"/>
                    </a:cubicBezTo>
                    <a:cubicBezTo>
                      <a:pt x="82102" y="0"/>
                      <a:pt x="105718" y="23681"/>
                      <a:pt x="105718" y="52826"/>
                    </a:cubicBezTo>
                    <a:lnTo>
                      <a:pt x="105718" y="346884"/>
                    </a:lnTo>
                    <a:cubicBezTo>
                      <a:pt x="105718" y="364580"/>
                      <a:pt x="96414" y="379413"/>
                      <a:pt x="80606" y="388911"/>
                    </a:cubicBezTo>
                    <a:cubicBezTo>
                      <a:pt x="55949" y="403744"/>
                      <a:pt x="24006" y="395742"/>
                      <a:pt x="9238" y="371150"/>
                    </a:cubicBezTo>
                    <a:cubicBezTo>
                      <a:pt x="-2928" y="350918"/>
                      <a:pt x="260" y="325741"/>
                      <a:pt x="15484" y="309216"/>
                    </a:cubicBezTo>
                    <a:lnTo>
                      <a:pt x="45019" y="277078"/>
                    </a:lnTo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36" name="Forma livre: Forma 235">
                <a:extLst>
                  <a:ext uri="{FF2B5EF4-FFF2-40B4-BE49-F238E27FC236}">
                    <a16:creationId xmlns:a16="http://schemas.microsoft.com/office/drawing/2014/main" id="{875E1546-D853-646E-9E93-01E8C360D8CB}"/>
                  </a:ext>
                </a:extLst>
              </p:cNvPr>
              <p:cNvSpPr/>
              <p:nvPr/>
            </p:nvSpPr>
            <p:spPr>
              <a:xfrm>
                <a:off x="6144784" y="1383865"/>
                <a:ext cx="41563" cy="38963"/>
              </a:xfrm>
              <a:custGeom>
                <a:avLst/>
                <a:gdLst>
                  <a:gd name="connsiteX0" fmla="*/ 36172 w 41563"/>
                  <a:gd name="connsiteY0" fmla="*/ 0 h 38963"/>
                  <a:gd name="connsiteX1" fmla="*/ 39425 w 41563"/>
                  <a:gd name="connsiteY1" fmla="*/ 24266 h 38963"/>
                  <a:gd name="connsiteX2" fmla="*/ 36432 w 41563"/>
                  <a:gd name="connsiteY2" fmla="*/ 29080 h 38963"/>
                  <a:gd name="connsiteX3" fmla="*/ 0 w 41563"/>
                  <a:gd name="connsiteY3" fmla="*/ 33439 h 389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563" h="38963">
                    <a:moveTo>
                      <a:pt x="36172" y="0"/>
                    </a:moveTo>
                    <a:cubicBezTo>
                      <a:pt x="41571" y="7547"/>
                      <a:pt x="43393" y="16004"/>
                      <a:pt x="39425" y="24266"/>
                    </a:cubicBezTo>
                    <a:cubicBezTo>
                      <a:pt x="38644" y="25893"/>
                      <a:pt x="37603" y="27519"/>
                      <a:pt x="36432" y="29080"/>
                    </a:cubicBezTo>
                    <a:cubicBezTo>
                      <a:pt x="27584" y="40270"/>
                      <a:pt x="11190" y="42287"/>
                      <a:pt x="0" y="33439"/>
                    </a:cubicBezTo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37" name="Forma livre: Forma 236">
                <a:extLst>
                  <a:ext uri="{FF2B5EF4-FFF2-40B4-BE49-F238E27FC236}">
                    <a16:creationId xmlns:a16="http://schemas.microsoft.com/office/drawing/2014/main" id="{09435789-70B8-C754-4EEB-3F30EF597856}"/>
                  </a:ext>
                </a:extLst>
              </p:cNvPr>
              <p:cNvSpPr/>
              <p:nvPr/>
            </p:nvSpPr>
            <p:spPr>
              <a:xfrm>
                <a:off x="6081487" y="1460806"/>
                <a:ext cx="34217" cy="54474"/>
              </a:xfrm>
              <a:custGeom>
                <a:avLst/>
                <a:gdLst>
                  <a:gd name="connsiteX0" fmla="*/ 21076 w 34217"/>
                  <a:gd name="connsiteY0" fmla="*/ 54475 h 54474"/>
                  <a:gd name="connsiteX1" fmla="*/ 778 w 34217"/>
                  <a:gd name="connsiteY1" fmla="*/ 21035 h 54474"/>
                  <a:gd name="connsiteX2" fmla="*/ 34217 w 34217"/>
                  <a:gd name="connsiteY2" fmla="*/ 803 h 544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4217" h="54474">
                    <a:moveTo>
                      <a:pt x="21076" y="54475"/>
                    </a:moveTo>
                    <a:cubicBezTo>
                      <a:pt x="6308" y="50832"/>
                      <a:pt x="-2800" y="35803"/>
                      <a:pt x="778" y="21035"/>
                    </a:cubicBezTo>
                    <a:cubicBezTo>
                      <a:pt x="4421" y="6267"/>
                      <a:pt x="19449" y="-2841"/>
                      <a:pt x="34217" y="803"/>
                    </a:cubicBezTo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38" name="Forma livre: Forma 237">
                <a:extLst>
                  <a:ext uri="{FF2B5EF4-FFF2-40B4-BE49-F238E27FC236}">
                    <a16:creationId xmlns:a16="http://schemas.microsoft.com/office/drawing/2014/main" id="{DDE293F2-2C9B-7E43-12B3-B90B087C30E5}"/>
                  </a:ext>
                </a:extLst>
              </p:cNvPr>
              <p:cNvSpPr/>
              <p:nvPr/>
            </p:nvSpPr>
            <p:spPr>
              <a:xfrm>
                <a:off x="6073547" y="1527543"/>
                <a:ext cx="114760" cy="72506"/>
              </a:xfrm>
              <a:custGeom>
                <a:avLst/>
                <a:gdLst>
                  <a:gd name="connsiteX0" fmla="*/ 114760 w 114760"/>
                  <a:gd name="connsiteY0" fmla="*/ 7254 h 72506"/>
                  <a:gd name="connsiteX1" fmla="*/ 73905 w 114760"/>
                  <a:gd name="connsiteY1" fmla="*/ 8881 h 72506"/>
                  <a:gd name="connsiteX2" fmla="*/ 0 w 114760"/>
                  <a:gd name="connsiteY2" fmla="*/ 72506 h 725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14760" h="72506">
                    <a:moveTo>
                      <a:pt x="114760" y="7254"/>
                    </a:moveTo>
                    <a:cubicBezTo>
                      <a:pt x="103375" y="-2830"/>
                      <a:pt x="83989" y="-2504"/>
                      <a:pt x="73905" y="8881"/>
                    </a:cubicBezTo>
                    <a:cubicBezTo>
                      <a:pt x="73905" y="8881"/>
                      <a:pt x="31488" y="72506"/>
                      <a:pt x="0" y="72506"/>
                    </a:cubicBezTo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39" name="Forma livre: Forma 238">
                <a:extLst>
                  <a:ext uri="{FF2B5EF4-FFF2-40B4-BE49-F238E27FC236}">
                    <a16:creationId xmlns:a16="http://schemas.microsoft.com/office/drawing/2014/main" id="{D07A22FE-F3AC-2509-C2D8-80A4E40C9A36}"/>
                  </a:ext>
                </a:extLst>
              </p:cNvPr>
              <p:cNvSpPr/>
              <p:nvPr/>
            </p:nvSpPr>
            <p:spPr>
              <a:xfrm>
                <a:off x="6079857" y="1646956"/>
                <a:ext cx="29405" cy="9823"/>
              </a:xfrm>
              <a:custGeom>
                <a:avLst/>
                <a:gdLst>
                  <a:gd name="connsiteX0" fmla="*/ 0 w 29405"/>
                  <a:gd name="connsiteY0" fmla="*/ 0 h 9823"/>
                  <a:gd name="connsiteX1" fmla="*/ 29406 w 29405"/>
                  <a:gd name="connsiteY1" fmla="*/ 9824 h 98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9405" h="9823">
                    <a:moveTo>
                      <a:pt x="0" y="0"/>
                    </a:moveTo>
                    <a:lnTo>
                      <a:pt x="29406" y="9824"/>
                    </a:lnTo>
                  </a:path>
                </a:pathLst>
              </a:custGeom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40" name="Forma livre: Forma 239">
                <a:extLst>
                  <a:ext uri="{FF2B5EF4-FFF2-40B4-BE49-F238E27FC236}">
                    <a16:creationId xmlns:a16="http://schemas.microsoft.com/office/drawing/2014/main" id="{EDFFF0EA-FF9A-A9D5-404A-E9A7E0C26111}"/>
                  </a:ext>
                </a:extLst>
              </p:cNvPr>
              <p:cNvSpPr/>
              <p:nvPr/>
            </p:nvSpPr>
            <p:spPr>
              <a:xfrm>
                <a:off x="6061121" y="1545272"/>
                <a:ext cx="47166" cy="34154"/>
              </a:xfrm>
              <a:custGeom>
                <a:avLst/>
                <a:gdLst>
                  <a:gd name="connsiteX0" fmla="*/ 0 w 47166"/>
                  <a:gd name="connsiteY0" fmla="*/ 0 h 34154"/>
                  <a:gd name="connsiteX1" fmla="*/ 47166 w 47166"/>
                  <a:gd name="connsiteY1" fmla="*/ 34155 h 341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166" h="34154">
                    <a:moveTo>
                      <a:pt x="0" y="0"/>
                    </a:moveTo>
                    <a:cubicBezTo>
                      <a:pt x="0" y="0"/>
                      <a:pt x="27649" y="13011"/>
                      <a:pt x="47166" y="34155"/>
                    </a:cubicBezTo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221" name="Gráfico 32">
              <a:extLst>
                <a:ext uri="{FF2B5EF4-FFF2-40B4-BE49-F238E27FC236}">
                  <a16:creationId xmlns:a16="http://schemas.microsoft.com/office/drawing/2014/main" id="{B42DBE89-DADA-E9EC-C227-FBE86088F145}"/>
                </a:ext>
              </a:extLst>
            </p:cNvPr>
            <p:cNvGrpSpPr/>
            <p:nvPr/>
          </p:nvGrpSpPr>
          <p:grpSpPr>
            <a:xfrm>
              <a:off x="6191625" y="1599725"/>
              <a:ext cx="173767" cy="157112"/>
              <a:chOff x="6191625" y="1599725"/>
              <a:chExt cx="173767" cy="157112"/>
            </a:xfrm>
            <a:noFill/>
          </p:grpSpPr>
          <p:sp>
            <p:nvSpPr>
              <p:cNvPr id="231" name="Forma livre: Forma 230">
                <a:extLst>
                  <a:ext uri="{FF2B5EF4-FFF2-40B4-BE49-F238E27FC236}">
                    <a16:creationId xmlns:a16="http://schemas.microsoft.com/office/drawing/2014/main" id="{17C6A615-2DB6-6A93-2333-6CCAC58C0926}"/>
                  </a:ext>
                </a:extLst>
              </p:cNvPr>
              <p:cNvSpPr/>
              <p:nvPr/>
            </p:nvSpPr>
            <p:spPr>
              <a:xfrm>
                <a:off x="6310094" y="1621974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32" name="Forma livre: Forma 231">
                <a:extLst>
                  <a:ext uri="{FF2B5EF4-FFF2-40B4-BE49-F238E27FC236}">
                    <a16:creationId xmlns:a16="http://schemas.microsoft.com/office/drawing/2014/main" id="{036D7005-BBE6-E806-2D10-0FBF98544D25}"/>
                  </a:ext>
                </a:extLst>
              </p:cNvPr>
              <p:cNvSpPr/>
              <p:nvPr/>
            </p:nvSpPr>
            <p:spPr>
              <a:xfrm>
                <a:off x="6191625" y="1599725"/>
                <a:ext cx="118078" cy="49898"/>
              </a:xfrm>
              <a:custGeom>
                <a:avLst/>
                <a:gdLst>
                  <a:gd name="connsiteX0" fmla="*/ 0 w 118078"/>
                  <a:gd name="connsiteY0" fmla="*/ 0 h 49898"/>
                  <a:gd name="connsiteX1" fmla="*/ 37343 w 118078"/>
                  <a:gd name="connsiteY1" fmla="*/ 0 h 49898"/>
                  <a:gd name="connsiteX2" fmla="*/ 87176 w 118078"/>
                  <a:gd name="connsiteY2" fmla="*/ 49899 h 49898"/>
                  <a:gd name="connsiteX3" fmla="*/ 118078 w 118078"/>
                  <a:gd name="connsiteY3" fmla="*/ 49899 h 49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8078" h="49898">
                    <a:moveTo>
                      <a:pt x="0" y="0"/>
                    </a:moveTo>
                    <a:lnTo>
                      <a:pt x="37343" y="0"/>
                    </a:lnTo>
                    <a:lnTo>
                      <a:pt x="87176" y="49899"/>
                    </a:lnTo>
                    <a:lnTo>
                      <a:pt x="118078" y="49899"/>
                    </a:lnTo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33" name="Forma livre: Forma 232">
                <a:extLst>
                  <a:ext uri="{FF2B5EF4-FFF2-40B4-BE49-F238E27FC236}">
                    <a16:creationId xmlns:a16="http://schemas.microsoft.com/office/drawing/2014/main" id="{E737EFFB-CBA6-4541-70C2-9CB83169593B}"/>
                  </a:ext>
                </a:extLst>
              </p:cNvPr>
              <p:cNvSpPr/>
              <p:nvPr/>
            </p:nvSpPr>
            <p:spPr>
              <a:xfrm>
                <a:off x="6191625" y="1665367"/>
                <a:ext cx="81906" cy="44108"/>
              </a:xfrm>
              <a:custGeom>
                <a:avLst/>
                <a:gdLst>
                  <a:gd name="connsiteX0" fmla="*/ 0 w 81906"/>
                  <a:gd name="connsiteY0" fmla="*/ 0 h 44108"/>
                  <a:gd name="connsiteX1" fmla="*/ 37343 w 81906"/>
                  <a:gd name="connsiteY1" fmla="*/ 0 h 44108"/>
                  <a:gd name="connsiteX2" fmla="*/ 81907 w 81906"/>
                  <a:gd name="connsiteY2" fmla="*/ 44109 h 441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1906" h="44108">
                    <a:moveTo>
                      <a:pt x="0" y="0"/>
                    </a:moveTo>
                    <a:lnTo>
                      <a:pt x="37343" y="0"/>
                    </a:lnTo>
                    <a:lnTo>
                      <a:pt x="81907" y="44109"/>
                    </a:lnTo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34" name="Forma livre: Forma 233">
                <a:extLst>
                  <a:ext uri="{FF2B5EF4-FFF2-40B4-BE49-F238E27FC236}">
                    <a16:creationId xmlns:a16="http://schemas.microsoft.com/office/drawing/2014/main" id="{0EBB8541-FAB1-5F32-8948-21C6D4AC4DA2}"/>
                  </a:ext>
                </a:extLst>
              </p:cNvPr>
              <p:cNvSpPr/>
              <p:nvPr/>
            </p:nvSpPr>
            <p:spPr>
              <a:xfrm>
                <a:off x="6265075" y="1701539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222" name="Gráfico 32">
              <a:extLst>
                <a:ext uri="{FF2B5EF4-FFF2-40B4-BE49-F238E27FC236}">
                  <a16:creationId xmlns:a16="http://schemas.microsoft.com/office/drawing/2014/main" id="{ABE60739-A161-BCFB-44EF-FF977683CAB0}"/>
                </a:ext>
              </a:extLst>
            </p:cNvPr>
            <p:cNvGrpSpPr/>
            <p:nvPr/>
          </p:nvGrpSpPr>
          <p:grpSpPr>
            <a:xfrm>
              <a:off x="6191625" y="1357908"/>
              <a:ext cx="173767" cy="157112"/>
              <a:chOff x="6191625" y="1357908"/>
              <a:chExt cx="173767" cy="157112"/>
            </a:xfrm>
            <a:noFill/>
          </p:grpSpPr>
          <p:sp>
            <p:nvSpPr>
              <p:cNvPr id="227" name="Forma livre: Forma 226">
                <a:extLst>
                  <a:ext uri="{FF2B5EF4-FFF2-40B4-BE49-F238E27FC236}">
                    <a16:creationId xmlns:a16="http://schemas.microsoft.com/office/drawing/2014/main" id="{F073BFA4-4A92-EFB7-F062-E5FB1408EB63}"/>
                  </a:ext>
                </a:extLst>
              </p:cNvPr>
              <p:cNvSpPr/>
              <p:nvPr/>
            </p:nvSpPr>
            <p:spPr>
              <a:xfrm>
                <a:off x="6310094" y="1437472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0 h 55298"/>
                  <a:gd name="connsiteX2" fmla="*/ 0 w 55298"/>
                  <a:gd name="connsiteY2" fmla="*/ 27649 h 55298"/>
                  <a:gd name="connsiteX3" fmla="*/ 27649 w 55298"/>
                  <a:gd name="connsiteY3" fmla="*/ 55298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12361"/>
                      <a:pt x="42938" y="0"/>
                      <a:pt x="27649" y="0"/>
                    </a:cubicBezTo>
                    <a:cubicBezTo>
                      <a:pt x="12361" y="0"/>
                      <a:pt x="0" y="12361"/>
                      <a:pt x="0" y="27649"/>
                    </a:cubicBezTo>
                    <a:cubicBezTo>
                      <a:pt x="0" y="42938"/>
                      <a:pt x="12361" y="55298"/>
                      <a:pt x="27649" y="55298"/>
                    </a:cubicBezTo>
                    <a:cubicBezTo>
                      <a:pt x="42938" y="55298"/>
                      <a:pt x="55298" y="42938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28" name="Forma livre: Forma 227">
                <a:extLst>
                  <a:ext uri="{FF2B5EF4-FFF2-40B4-BE49-F238E27FC236}">
                    <a16:creationId xmlns:a16="http://schemas.microsoft.com/office/drawing/2014/main" id="{5E6E0DB2-4244-9A36-CA33-9F00399FAD7D}"/>
                  </a:ext>
                </a:extLst>
              </p:cNvPr>
              <p:cNvSpPr/>
              <p:nvPr/>
            </p:nvSpPr>
            <p:spPr>
              <a:xfrm>
                <a:off x="6191625" y="1465122"/>
                <a:ext cx="118468" cy="49898"/>
              </a:xfrm>
              <a:custGeom>
                <a:avLst/>
                <a:gdLst>
                  <a:gd name="connsiteX0" fmla="*/ 0 w 118468"/>
                  <a:gd name="connsiteY0" fmla="*/ 49899 h 49898"/>
                  <a:gd name="connsiteX1" fmla="*/ 37343 w 118468"/>
                  <a:gd name="connsiteY1" fmla="*/ 49899 h 49898"/>
                  <a:gd name="connsiteX2" fmla="*/ 87176 w 118468"/>
                  <a:gd name="connsiteY2" fmla="*/ 0 h 49898"/>
                  <a:gd name="connsiteX3" fmla="*/ 118469 w 118468"/>
                  <a:gd name="connsiteY3" fmla="*/ 0 h 49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8468" h="49898">
                    <a:moveTo>
                      <a:pt x="0" y="49899"/>
                    </a:moveTo>
                    <a:lnTo>
                      <a:pt x="37343" y="49899"/>
                    </a:lnTo>
                    <a:lnTo>
                      <a:pt x="87176" y="0"/>
                    </a:lnTo>
                    <a:lnTo>
                      <a:pt x="118469" y="0"/>
                    </a:lnTo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29" name="Forma livre: Forma 228">
                <a:extLst>
                  <a:ext uri="{FF2B5EF4-FFF2-40B4-BE49-F238E27FC236}">
                    <a16:creationId xmlns:a16="http://schemas.microsoft.com/office/drawing/2014/main" id="{51C42AE0-1372-2351-3515-DF3A8E5FE95B}"/>
                  </a:ext>
                </a:extLst>
              </p:cNvPr>
              <p:cNvSpPr/>
              <p:nvPr/>
            </p:nvSpPr>
            <p:spPr>
              <a:xfrm>
                <a:off x="6191625" y="1405269"/>
                <a:ext cx="81451" cy="44043"/>
              </a:xfrm>
              <a:custGeom>
                <a:avLst/>
                <a:gdLst>
                  <a:gd name="connsiteX0" fmla="*/ 0 w 81451"/>
                  <a:gd name="connsiteY0" fmla="*/ 44044 h 44043"/>
                  <a:gd name="connsiteX1" fmla="*/ 37343 w 81451"/>
                  <a:gd name="connsiteY1" fmla="*/ 44044 h 44043"/>
                  <a:gd name="connsiteX2" fmla="*/ 81451 w 81451"/>
                  <a:gd name="connsiteY2" fmla="*/ 0 h 440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1451" h="44043">
                    <a:moveTo>
                      <a:pt x="0" y="44044"/>
                    </a:moveTo>
                    <a:lnTo>
                      <a:pt x="37343" y="44044"/>
                    </a:lnTo>
                    <a:lnTo>
                      <a:pt x="81451" y="0"/>
                    </a:lnTo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30" name="Forma livre: Forma 229">
                <a:extLst>
                  <a:ext uri="{FF2B5EF4-FFF2-40B4-BE49-F238E27FC236}">
                    <a16:creationId xmlns:a16="http://schemas.microsoft.com/office/drawing/2014/main" id="{42DAEAFD-50EA-C1B2-EF05-363EBBBE2C6E}"/>
                  </a:ext>
                </a:extLst>
              </p:cNvPr>
              <p:cNvSpPr/>
              <p:nvPr/>
            </p:nvSpPr>
            <p:spPr>
              <a:xfrm>
                <a:off x="6265075" y="1357908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0 h 55298"/>
                  <a:gd name="connsiteX2" fmla="*/ 0 w 55298"/>
                  <a:gd name="connsiteY2" fmla="*/ 27649 h 55298"/>
                  <a:gd name="connsiteX3" fmla="*/ 27649 w 55298"/>
                  <a:gd name="connsiteY3" fmla="*/ 55298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12361"/>
                      <a:pt x="42938" y="0"/>
                      <a:pt x="27649" y="0"/>
                    </a:cubicBezTo>
                    <a:cubicBezTo>
                      <a:pt x="12361" y="0"/>
                      <a:pt x="0" y="12361"/>
                      <a:pt x="0" y="27649"/>
                    </a:cubicBezTo>
                    <a:cubicBezTo>
                      <a:pt x="0" y="42938"/>
                      <a:pt x="12361" y="55298"/>
                      <a:pt x="27649" y="55298"/>
                    </a:cubicBezTo>
                    <a:cubicBezTo>
                      <a:pt x="42938" y="55298"/>
                      <a:pt x="55298" y="42938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223" name="Gráfico 32">
              <a:extLst>
                <a:ext uri="{FF2B5EF4-FFF2-40B4-BE49-F238E27FC236}">
                  <a16:creationId xmlns:a16="http://schemas.microsoft.com/office/drawing/2014/main" id="{98BB230C-B54A-B1D0-0A58-360E8AAF6682}"/>
                </a:ext>
              </a:extLst>
            </p:cNvPr>
            <p:cNvGrpSpPr/>
            <p:nvPr/>
          </p:nvGrpSpPr>
          <p:grpSpPr>
            <a:xfrm>
              <a:off x="6190910" y="1529723"/>
              <a:ext cx="123673" cy="55298"/>
              <a:chOff x="6190910" y="1529723"/>
              <a:chExt cx="123673" cy="55298"/>
            </a:xfrm>
            <a:noFill/>
          </p:grpSpPr>
          <p:sp>
            <p:nvSpPr>
              <p:cNvPr id="225" name="Forma livre: Forma 224">
                <a:extLst>
                  <a:ext uri="{FF2B5EF4-FFF2-40B4-BE49-F238E27FC236}">
                    <a16:creationId xmlns:a16="http://schemas.microsoft.com/office/drawing/2014/main" id="{8D7EB7BD-CB92-8070-75F9-4C6F43D226E8}"/>
                  </a:ext>
                </a:extLst>
              </p:cNvPr>
              <p:cNvSpPr/>
              <p:nvPr/>
            </p:nvSpPr>
            <p:spPr>
              <a:xfrm>
                <a:off x="6190910" y="1557372"/>
                <a:ext cx="68765" cy="6505"/>
              </a:xfrm>
              <a:custGeom>
                <a:avLst/>
                <a:gdLst>
                  <a:gd name="connsiteX0" fmla="*/ 0 w 68765"/>
                  <a:gd name="connsiteY0" fmla="*/ 0 h 6505"/>
                  <a:gd name="connsiteX1" fmla="*/ 68765 w 68765"/>
                  <a:gd name="connsiteY1" fmla="*/ 0 h 65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8765" h="6505">
                    <a:moveTo>
                      <a:pt x="0" y="0"/>
                    </a:moveTo>
                    <a:lnTo>
                      <a:pt x="68765" y="0"/>
                    </a:lnTo>
                  </a:path>
                </a:pathLst>
              </a:custGeom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26" name="Forma livre: Forma 225">
                <a:extLst>
                  <a:ext uri="{FF2B5EF4-FFF2-40B4-BE49-F238E27FC236}">
                    <a16:creationId xmlns:a16="http://schemas.microsoft.com/office/drawing/2014/main" id="{F3D2D248-A2BB-0693-09E2-BC2DAFDBA80F}"/>
                  </a:ext>
                </a:extLst>
              </p:cNvPr>
              <p:cNvSpPr/>
              <p:nvPr/>
            </p:nvSpPr>
            <p:spPr>
              <a:xfrm>
                <a:off x="6259285" y="1529723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224" name="Forma livre: Forma 223">
              <a:extLst>
                <a:ext uri="{FF2B5EF4-FFF2-40B4-BE49-F238E27FC236}">
                  <a16:creationId xmlns:a16="http://schemas.microsoft.com/office/drawing/2014/main" id="{D6643AF4-6567-F424-272E-19BC4730770E}"/>
                </a:ext>
              </a:extLst>
            </p:cNvPr>
            <p:cNvSpPr/>
            <p:nvPr/>
          </p:nvSpPr>
          <p:spPr>
            <a:xfrm>
              <a:off x="6152201" y="1686285"/>
              <a:ext cx="37362" cy="20848"/>
            </a:xfrm>
            <a:custGeom>
              <a:avLst/>
              <a:gdLst>
                <a:gd name="connsiteX0" fmla="*/ 0 w 37362"/>
                <a:gd name="connsiteY0" fmla="*/ 10505 h 20848"/>
                <a:gd name="connsiteX1" fmla="*/ 27064 w 37362"/>
                <a:gd name="connsiteY1" fmla="*/ 2373 h 20848"/>
                <a:gd name="connsiteX2" fmla="*/ 37343 w 37362"/>
                <a:gd name="connsiteY2" fmla="*/ 20849 h 20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7362" h="20848">
                  <a:moveTo>
                    <a:pt x="0" y="10505"/>
                  </a:moveTo>
                  <a:cubicBezTo>
                    <a:pt x="5205" y="811"/>
                    <a:pt x="17435" y="-2832"/>
                    <a:pt x="27064" y="2373"/>
                  </a:cubicBezTo>
                  <a:cubicBezTo>
                    <a:pt x="34025" y="6081"/>
                    <a:pt x="37668" y="13432"/>
                    <a:pt x="37343" y="20849"/>
                  </a:cubicBezTo>
                </a:path>
              </a:pathLst>
            </a:custGeom>
            <a:noFill/>
            <a:ln w="19050" cap="sq">
              <a:solidFill>
                <a:schemeClr val="accent2"/>
              </a:solidFill>
              <a:prstDash val="solid"/>
              <a:miter lim="800000"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241" name="Agrupar 240">
            <a:extLst>
              <a:ext uri="{FF2B5EF4-FFF2-40B4-BE49-F238E27FC236}">
                <a16:creationId xmlns:a16="http://schemas.microsoft.com/office/drawing/2014/main" id="{D9B88DC5-94DF-4629-AB87-F6BAE5DD26CD}"/>
              </a:ext>
            </a:extLst>
          </p:cNvPr>
          <p:cNvGrpSpPr/>
          <p:nvPr/>
        </p:nvGrpSpPr>
        <p:grpSpPr>
          <a:xfrm>
            <a:off x="9783827" y="4087030"/>
            <a:ext cx="244336" cy="266828"/>
            <a:chOff x="6000092" y="1357908"/>
            <a:chExt cx="365300" cy="398929"/>
          </a:xfrm>
        </p:grpSpPr>
        <p:sp>
          <p:nvSpPr>
            <p:cNvPr id="242" name="Forma livre: Forma 241">
              <a:extLst>
                <a:ext uri="{FF2B5EF4-FFF2-40B4-BE49-F238E27FC236}">
                  <a16:creationId xmlns:a16="http://schemas.microsoft.com/office/drawing/2014/main" id="{67A09D69-4C77-6D42-9038-32B464470AB8}"/>
                </a:ext>
              </a:extLst>
            </p:cNvPr>
            <p:cNvSpPr/>
            <p:nvPr/>
          </p:nvSpPr>
          <p:spPr>
            <a:xfrm>
              <a:off x="6000092" y="1418606"/>
              <a:ext cx="84058" cy="286120"/>
            </a:xfrm>
            <a:custGeom>
              <a:avLst/>
              <a:gdLst>
                <a:gd name="connsiteX0" fmla="*/ 51595 w 84058"/>
                <a:gd name="connsiteY0" fmla="*/ 0 h 286120"/>
                <a:gd name="connsiteX1" fmla="*/ 35266 w 84058"/>
                <a:gd name="connsiteY1" fmla="*/ 61674 h 286120"/>
                <a:gd name="connsiteX2" fmla="*/ 28760 w 84058"/>
                <a:gd name="connsiteY2" fmla="*/ 193415 h 286120"/>
                <a:gd name="connsiteX3" fmla="*/ 84059 w 84058"/>
                <a:gd name="connsiteY3" fmla="*/ 286121 h 2861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4058" h="286120">
                  <a:moveTo>
                    <a:pt x="51595" y="0"/>
                  </a:moveTo>
                  <a:cubicBezTo>
                    <a:pt x="37868" y="7872"/>
                    <a:pt x="26028" y="24852"/>
                    <a:pt x="35266" y="61674"/>
                  </a:cubicBezTo>
                  <a:cubicBezTo>
                    <a:pt x="35266" y="61674"/>
                    <a:pt x="-39549" y="126731"/>
                    <a:pt x="28760" y="193415"/>
                  </a:cubicBezTo>
                  <a:cubicBezTo>
                    <a:pt x="28760" y="193415"/>
                    <a:pt x="9243" y="281242"/>
                    <a:pt x="84059" y="286121"/>
                  </a:cubicBezTo>
                </a:path>
              </a:pathLst>
            </a:custGeom>
            <a:noFill/>
            <a:ln w="19050" cap="sq">
              <a:solidFill>
                <a:schemeClr val="accent2"/>
              </a:solidFill>
              <a:prstDash val="solid"/>
              <a:miter lim="800000"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243" name="Gráfico 32">
              <a:extLst>
                <a:ext uri="{FF2B5EF4-FFF2-40B4-BE49-F238E27FC236}">
                  <a16:creationId xmlns:a16="http://schemas.microsoft.com/office/drawing/2014/main" id="{72138812-93A7-BDBF-E3EE-24B415371E70}"/>
                </a:ext>
              </a:extLst>
            </p:cNvPr>
            <p:cNvGrpSpPr/>
            <p:nvPr/>
          </p:nvGrpSpPr>
          <p:grpSpPr>
            <a:xfrm>
              <a:off x="6061121" y="1359924"/>
              <a:ext cx="128487" cy="396366"/>
              <a:chOff x="6061121" y="1359924"/>
              <a:chExt cx="128487" cy="396366"/>
            </a:xfrm>
            <a:noFill/>
          </p:grpSpPr>
          <p:sp>
            <p:nvSpPr>
              <p:cNvPr id="258" name="Forma livre: Forma 257">
                <a:extLst>
                  <a:ext uri="{FF2B5EF4-FFF2-40B4-BE49-F238E27FC236}">
                    <a16:creationId xmlns:a16="http://schemas.microsoft.com/office/drawing/2014/main" id="{15562E08-F41A-1978-878B-F6956E9359B2}"/>
                  </a:ext>
                </a:extLst>
              </p:cNvPr>
              <p:cNvSpPr/>
              <p:nvPr/>
            </p:nvSpPr>
            <p:spPr>
              <a:xfrm>
                <a:off x="6083891" y="1359924"/>
                <a:ext cx="105717" cy="396366"/>
              </a:xfrm>
              <a:custGeom>
                <a:avLst/>
                <a:gdLst>
                  <a:gd name="connsiteX0" fmla="*/ 52891 w 105717"/>
                  <a:gd name="connsiteY0" fmla="*/ 105718 h 396366"/>
                  <a:gd name="connsiteX1" fmla="*/ 0 w 105717"/>
                  <a:gd name="connsiteY1" fmla="*/ 52891 h 396366"/>
                  <a:gd name="connsiteX2" fmla="*/ 52891 w 105717"/>
                  <a:gd name="connsiteY2" fmla="*/ 0 h 396366"/>
                  <a:gd name="connsiteX3" fmla="*/ 105718 w 105717"/>
                  <a:gd name="connsiteY3" fmla="*/ 52826 h 396366"/>
                  <a:gd name="connsiteX4" fmla="*/ 105718 w 105717"/>
                  <a:gd name="connsiteY4" fmla="*/ 346884 h 396366"/>
                  <a:gd name="connsiteX5" fmla="*/ 80606 w 105717"/>
                  <a:gd name="connsiteY5" fmla="*/ 388911 h 396366"/>
                  <a:gd name="connsiteX6" fmla="*/ 9238 w 105717"/>
                  <a:gd name="connsiteY6" fmla="*/ 371150 h 396366"/>
                  <a:gd name="connsiteX7" fmla="*/ 15484 w 105717"/>
                  <a:gd name="connsiteY7" fmla="*/ 309216 h 396366"/>
                  <a:gd name="connsiteX8" fmla="*/ 45019 w 105717"/>
                  <a:gd name="connsiteY8" fmla="*/ 277078 h 3963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05717" h="396366">
                    <a:moveTo>
                      <a:pt x="52891" y="105718"/>
                    </a:moveTo>
                    <a:cubicBezTo>
                      <a:pt x="23681" y="105718"/>
                      <a:pt x="0" y="82037"/>
                      <a:pt x="0" y="52891"/>
                    </a:cubicBezTo>
                    <a:cubicBezTo>
                      <a:pt x="0" y="23746"/>
                      <a:pt x="23681" y="0"/>
                      <a:pt x="52891" y="0"/>
                    </a:cubicBezTo>
                    <a:cubicBezTo>
                      <a:pt x="82102" y="0"/>
                      <a:pt x="105718" y="23681"/>
                      <a:pt x="105718" y="52826"/>
                    </a:cubicBezTo>
                    <a:lnTo>
                      <a:pt x="105718" y="346884"/>
                    </a:lnTo>
                    <a:cubicBezTo>
                      <a:pt x="105718" y="364580"/>
                      <a:pt x="96414" y="379413"/>
                      <a:pt x="80606" y="388911"/>
                    </a:cubicBezTo>
                    <a:cubicBezTo>
                      <a:pt x="55949" y="403744"/>
                      <a:pt x="24006" y="395742"/>
                      <a:pt x="9238" y="371150"/>
                    </a:cubicBezTo>
                    <a:cubicBezTo>
                      <a:pt x="-2928" y="350918"/>
                      <a:pt x="260" y="325741"/>
                      <a:pt x="15484" y="309216"/>
                    </a:cubicBezTo>
                    <a:lnTo>
                      <a:pt x="45019" y="277078"/>
                    </a:lnTo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59" name="Forma livre: Forma 258">
                <a:extLst>
                  <a:ext uri="{FF2B5EF4-FFF2-40B4-BE49-F238E27FC236}">
                    <a16:creationId xmlns:a16="http://schemas.microsoft.com/office/drawing/2014/main" id="{8C68293B-B1FC-28BD-EAD2-4C425B1EF2D8}"/>
                  </a:ext>
                </a:extLst>
              </p:cNvPr>
              <p:cNvSpPr/>
              <p:nvPr/>
            </p:nvSpPr>
            <p:spPr>
              <a:xfrm>
                <a:off x="6144784" y="1383865"/>
                <a:ext cx="41563" cy="38963"/>
              </a:xfrm>
              <a:custGeom>
                <a:avLst/>
                <a:gdLst>
                  <a:gd name="connsiteX0" fmla="*/ 36172 w 41563"/>
                  <a:gd name="connsiteY0" fmla="*/ 0 h 38963"/>
                  <a:gd name="connsiteX1" fmla="*/ 39425 w 41563"/>
                  <a:gd name="connsiteY1" fmla="*/ 24266 h 38963"/>
                  <a:gd name="connsiteX2" fmla="*/ 36432 w 41563"/>
                  <a:gd name="connsiteY2" fmla="*/ 29080 h 38963"/>
                  <a:gd name="connsiteX3" fmla="*/ 0 w 41563"/>
                  <a:gd name="connsiteY3" fmla="*/ 33439 h 389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563" h="38963">
                    <a:moveTo>
                      <a:pt x="36172" y="0"/>
                    </a:moveTo>
                    <a:cubicBezTo>
                      <a:pt x="41571" y="7547"/>
                      <a:pt x="43393" y="16004"/>
                      <a:pt x="39425" y="24266"/>
                    </a:cubicBezTo>
                    <a:cubicBezTo>
                      <a:pt x="38644" y="25893"/>
                      <a:pt x="37603" y="27519"/>
                      <a:pt x="36432" y="29080"/>
                    </a:cubicBezTo>
                    <a:cubicBezTo>
                      <a:pt x="27584" y="40270"/>
                      <a:pt x="11190" y="42287"/>
                      <a:pt x="0" y="33439"/>
                    </a:cubicBezTo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60" name="Forma livre: Forma 259">
                <a:extLst>
                  <a:ext uri="{FF2B5EF4-FFF2-40B4-BE49-F238E27FC236}">
                    <a16:creationId xmlns:a16="http://schemas.microsoft.com/office/drawing/2014/main" id="{185773EC-F6DC-9A69-7662-333C0E616ECB}"/>
                  </a:ext>
                </a:extLst>
              </p:cNvPr>
              <p:cNvSpPr/>
              <p:nvPr/>
            </p:nvSpPr>
            <p:spPr>
              <a:xfrm>
                <a:off x="6081487" y="1460806"/>
                <a:ext cx="34217" cy="54474"/>
              </a:xfrm>
              <a:custGeom>
                <a:avLst/>
                <a:gdLst>
                  <a:gd name="connsiteX0" fmla="*/ 21076 w 34217"/>
                  <a:gd name="connsiteY0" fmla="*/ 54475 h 54474"/>
                  <a:gd name="connsiteX1" fmla="*/ 778 w 34217"/>
                  <a:gd name="connsiteY1" fmla="*/ 21035 h 54474"/>
                  <a:gd name="connsiteX2" fmla="*/ 34217 w 34217"/>
                  <a:gd name="connsiteY2" fmla="*/ 803 h 544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4217" h="54474">
                    <a:moveTo>
                      <a:pt x="21076" y="54475"/>
                    </a:moveTo>
                    <a:cubicBezTo>
                      <a:pt x="6308" y="50832"/>
                      <a:pt x="-2800" y="35803"/>
                      <a:pt x="778" y="21035"/>
                    </a:cubicBezTo>
                    <a:cubicBezTo>
                      <a:pt x="4421" y="6267"/>
                      <a:pt x="19449" y="-2841"/>
                      <a:pt x="34217" y="803"/>
                    </a:cubicBezTo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61" name="Forma livre: Forma 260">
                <a:extLst>
                  <a:ext uri="{FF2B5EF4-FFF2-40B4-BE49-F238E27FC236}">
                    <a16:creationId xmlns:a16="http://schemas.microsoft.com/office/drawing/2014/main" id="{EDD54FF3-7759-5439-AA94-0BD02F5DCD86}"/>
                  </a:ext>
                </a:extLst>
              </p:cNvPr>
              <p:cNvSpPr/>
              <p:nvPr/>
            </p:nvSpPr>
            <p:spPr>
              <a:xfrm>
                <a:off x="6073547" y="1527543"/>
                <a:ext cx="114760" cy="72506"/>
              </a:xfrm>
              <a:custGeom>
                <a:avLst/>
                <a:gdLst>
                  <a:gd name="connsiteX0" fmla="*/ 114760 w 114760"/>
                  <a:gd name="connsiteY0" fmla="*/ 7254 h 72506"/>
                  <a:gd name="connsiteX1" fmla="*/ 73905 w 114760"/>
                  <a:gd name="connsiteY1" fmla="*/ 8881 h 72506"/>
                  <a:gd name="connsiteX2" fmla="*/ 0 w 114760"/>
                  <a:gd name="connsiteY2" fmla="*/ 72506 h 725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14760" h="72506">
                    <a:moveTo>
                      <a:pt x="114760" y="7254"/>
                    </a:moveTo>
                    <a:cubicBezTo>
                      <a:pt x="103375" y="-2830"/>
                      <a:pt x="83989" y="-2504"/>
                      <a:pt x="73905" y="8881"/>
                    </a:cubicBezTo>
                    <a:cubicBezTo>
                      <a:pt x="73905" y="8881"/>
                      <a:pt x="31488" y="72506"/>
                      <a:pt x="0" y="72506"/>
                    </a:cubicBezTo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62" name="Forma livre: Forma 261">
                <a:extLst>
                  <a:ext uri="{FF2B5EF4-FFF2-40B4-BE49-F238E27FC236}">
                    <a16:creationId xmlns:a16="http://schemas.microsoft.com/office/drawing/2014/main" id="{402EEDAC-B022-30BA-390B-9C621AF70F50}"/>
                  </a:ext>
                </a:extLst>
              </p:cNvPr>
              <p:cNvSpPr/>
              <p:nvPr/>
            </p:nvSpPr>
            <p:spPr>
              <a:xfrm>
                <a:off x="6079857" y="1646956"/>
                <a:ext cx="29405" cy="9823"/>
              </a:xfrm>
              <a:custGeom>
                <a:avLst/>
                <a:gdLst>
                  <a:gd name="connsiteX0" fmla="*/ 0 w 29405"/>
                  <a:gd name="connsiteY0" fmla="*/ 0 h 9823"/>
                  <a:gd name="connsiteX1" fmla="*/ 29406 w 29405"/>
                  <a:gd name="connsiteY1" fmla="*/ 9824 h 98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9405" h="9823">
                    <a:moveTo>
                      <a:pt x="0" y="0"/>
                    </a:moveTo>
                    <a:lnTo>
                      <a:pt x="29406" y="9824"/>
                    </a:lnTo>
                  </a:path>
                </a:pathLst>
              </a:custGeom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63" name="Forma livre: Forma 262">
                <a:extLst>
                  <a:ext uri="{FF2B5EF4-FFF2-40B4-BE49-F238E27FC236}">
                    <a16:creationId xmlns:a16="http://schemas.microsoft.com/office/drawing/2014/main" id="{668226E1-4D7C-E65A-B8C2-420AF3C2BFC5}"/>
                  </a:ext>
                </a:extLst>
              </p:cNvPr>
              <p:cNvSpPr/>
              <p:nvPr/>
            </p:nvSpPr>
            <p:spPr>
              <a:xfrm>
                <a:off x="6061121" y="1545272"/>
                <a:ext cx="47166" cy="34154"/>
              </a:xfrm>
              <a:custGeom>
                <a:avLst/>
                <a:gdLst>
                  <a:gd name="connsiteX0" fmla="*/ 0 w 47166"/>
                  <a:gd name="connsiteY0" fmla="*/ 0 h 34154"/>
                  <a:gd name="connsiteX1" fmla="*/ 47166 w 47166"/>
                  <a:gd name="connsiteY1" fmla="*/ 34155 h 341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166" h="34154">
                    <a:moveTo>
                      <a:pt x="0" y="0"/>
                    </a:moveTo>
                    <a:cubicBezTo>
                      <a:pt x="0" y="0"/>
                      <a:pt x="27649" y="13011"/>
                      <a:pt x="47166" y="34155"/>
                    </a:cubicBezTo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244" name="Gráfico 32">
              <a:extLst>
                <a:ext uri="{FF2B5EF4-FFF2-40B4-BE49-F238E27FC236}">
                  <a16:creationId xmlns:a16="http://schemas.microsoft.com/office/drawing/2014/main" id="{384BEB53-2DBC-D626-5043-7E7DFACCB433}"/>
                </a:ext>
              </a:extLst>
            </p:cNvPr>
            <p:cNvGrpSpPr/>
            <p:nvPr/>
          </p:nvGrpSpPr>
          <p:grpSpPr>
            <a:xfrm>
              <a:off x="6191625" y="1599725"/>
              <a:ext cx="173767" cy="157112"/>
              <a:chOff x="6191625" y="1599725"/>
              <a:chExt cx="173767" cy="157112"/>
            </a:xfrm>
            <a:noFill/>
          </p:grpSpPr>
          <p:sp>
            <p:nvSpPr>
              <p:cNvPr id="254" name="Forma livre: Forma 253">
                <a:extLst>
                  <a:ext uri="{FF2B5EF4-FFF2-40B4-BE49-F238E27FC236}">
                    <a16:creationId xmlns:a16="http://schemas.microsoft.com/office/drawing/2014/main" id="{3A4FA091-8022-1870-CD3C-37E77C1A473F}"/>
                  </a:ext>
                </a:extLst>
              </p:cNvPr>
              <p:cNvSpPr/>
              <p:nvPr/>
            </p:nvSpPr>
            <p:spPr>
              <a:xfrm>
                <a:off x="6310094" y="1621974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55" name="Forma livre: Forma 254">
                <a:extLst>
                  <a:ext uri="{FF2B5EF4-FFF2-40B4-BE49-F238E27FC236}">
                    <a16:creationId xmlns:a16="http://schemas.microsoft.com/office/drawing/2014/main" id="{2549D2F6-D9E8-2BFF-99AE-A2657F454362}"/>
                  </a:ext>
                </a:extLst>
              </p:cNvPr>
              <p:cNvSpPr/>
              <p:nvPr/>
            </p:nvSpPr>
            <p:spPr>
              <a:xfrm>
                <a:off x="6191625" y="1599725"/>
                <a:ext cx="118078" cy="49898"/>
              </a:xfrm>
              <a:custGeom>
                <a:avLst/>
                <a:gdLst>
                  <a:gd name="connsiteX0" fmla="*/ 0 w 118078"/>
                  <a:gd name="connsiteY0" fmla="*/ 0 h 49898"/>
                  <a:gd name="connsiteX1" fmla="*/ 37343 w 118078"/>
                  <a:gd name="connsiteY1" fmla="*/ 0 h 49898"/>
                  <a:gd name="connsiteX2" fmla="*/ 87176 w 118078"/>
                  <a:gd name="connsiteY2" fmla="*/ 49899 h 49898"/>
                  <a:gd name="connsiteX3" fmla="*/ 118078 w 118078"/>
                  <a:gd name="connsiteY3" fmla="*/ 49899 h 49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8078" h="49898">
                    <a:moveTo>
                      <a:pt x="0" y="0"/>
                    </a:moveTo>
                    <a:lnTo>
                      <a:pt x="37343" y="0"/>
                    </a:lnTo>
                    <a:lnTo>
                      <a:pt x="87176" y="49899"/>
                    </a:lnTo>
                    <a:lnTo>
                      <a:pt x="118078" y="49899"/>
                    </a:lnTo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56" name="Forma livre: Forma 255">
                <a:extLst>
                  <a:ext uri="{FF2B5EF4-FFF2-40B4-BE49-F238E27FC236}">
                    <a16:creationId xmlns:a16="http://schemas.microsoft.com/office/drawing/2014/main" id="{A574D2AA-3C68-2C86-DF88-06356D0EB0CC}"/>
                  </a:ext>
                </a:extLst>
              </p:cNvPr>
              <p:cNvSpPr/>
              <p:nvPr/>
            </p:nvSpPr>
            <p:spPr>
              <a:xfrm>
                <a:off x="6191625" y="1665367"/>
                <a:ext cx="81906" cy="44108"/>
              </a:xfrm>
              <a:custGeom>
                <a:avLst/>
                <a:gdLst>
                  <a:gd name="connsiteX0" fmla="*/ 0 w 81906"/>
                  <a:gd name="connsiteY0" fmla="*/ 0 h 44108"/>
                  <a:gd name="connsiteX1" fmla="*/ 37343 w 81906"/>
                  <a:gd name="connsiteY1" fmla="*/ 0 h 44108"/>
                  <a:gd name="connsiteX2" fmla="*/ 81907 w 81906"/>
                  <a:gd name="connsiteY2" fmla="*/ 44109 h 441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1906" h="44108">
                    <a:moveTo>
                      <a:pt x="0" y="0"/>
                    </a:moveTo>
                    <a:lnTo>
                      <a:pt x="37343" y="0"/>
                    </a:lnTo>
                    <a:lnTo>
                      <a:pt x="81907" y="44109"/>
                    </a:lnTo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57" name="Forma livre: Forma 256">
                <a:extLst>
                  <a:ext uri="{FF2B5EF4-FFF2-40B4-BE49-F238E27FC236}">
                    <a16:creationId xmlns:a16="http://schemas.microsoft.com/office/drawing/2014/main" id="{210C45E7-AB10-37A5-1D8A-3FB95DA1349D}"/>
                  </a:ext>
                </a:extLst>
              </p:cNvPr>
              <p:cNvSpPr/>
              <p:nvPr/>
            </p:nvSpPr>
            <p:spPr>
              <a:xfrm>
                <a:off x="6265075" y="1701539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245" name="Gráfico 32">
              <a:extLst>
                <a:ext uri="{FF2B5EF4-FFF2-40B4-BE49-F238E27FC236}">
                  <a16:creationId xmlns:a16="http://schemas.microsoft.com/office/drawing/2014/main" id="{E8F4E899-1DAE-1D0C-B587-FB308885EDD8}"/>
                </a:ext>
              </a:extLst>
            </p:cNvPr>
            <p:cNvGrpSpPr/>
            <p:nvPr/>
          </p:nvGrpSpPr>
          <p:grpSpPr>
            <a:xfrm>
              <a:off x="6191625" y="1357908"/>
              <a:ext cx="173767" cy="157112"/>
              <a:chOff x="6191625" y="1357908"/>
              <a:chExt cx="173767" cy="157112"/>
            </a:xfrm>
            <a:noFill/>
          </p:grpSpPr>
          <p:sp>
            <p:nvSpPr>
              <p:cNvPr id="250" name="Forma livre: Forma 249">
                <a:extLst>
                  <a:ext uri="{FF2B5EF4-FFF2-40B4-BE49-F238E27FC236}">
                    <a16:creationId xmlns:a16="http://schemas.microsoft.com/office/drawing/2014/main" id="{A73B6419-B3C2-E2E2-9ED4-CD9F96252526}"/>
                  </a:ext>
                </a:extLst>
              </p:cNvPr>
              <p:cNvSpPr/>
              <p:nvPr/>
            </p:nvSpPr>
            <p:spPr>
              <a:xfrm>
                <a:off x="6310094" y="1437472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0 h 55298"/>
                  <a:gd name="connsiteX2" fmla="*/ 0 w 55298"/>
                  <a:gd name="connsiteY2" fmla="*/ 27649 h 55298"/>
                  <a:gd name="connsiteX3" fmla="*/ 27649 w 55298"/>
                  <a:gd name="connsiteY3" fmla="*/ 55298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12361"/>
                      <a:pt x="42938" y="0"/>
                      <a:pt x="27649" y="0"/>
                    </a:cubicBezTo>
                    <a:cubicBezTo>
                      <a:pt x="12361" y="0"/>
                      <a:pt x="0" y="12361"/>
                      <a:pt x="0" y="27649"/>
                    </a:cubicBezTo>
                    <a:cubicBezTo>
                      <a:pt x="0" y="42938"/>
                      <a:pt x="12361" y="55298"/>
                      <a:pt x="27649" y="55298"/>
                    </a:cubicBezTo>
                    <a:cubicBezTo>
                      <a:pt x="42938" y="55298"/>
                      <a:pt x="55298" y="42938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51" name="Forma livre: Forma 250">
                <a:extLst>
                  <a:ext uri="{FF2B5EF4-FFF2-40B4-BE49-F238E27FC236}">
                    <a16:creationId xmlns:a16="http://schemas.microsoft.com/office/drawing/2014/main" id="{D03A900B-EE7A-A825-8618-5131B5F0D41A}"/>
                  </a:ext>
                </a:extLst>
              </p:cNvPr>
              <p:cNvSpPr/>
              <p:nvPr/>
            </p:nvSpPr>
            <p:spPr>
              <a:xfrm>
                <a:off x="6191625" y="1465122"/>
                <a:ext cx="118468" cy="49898"/>
              </a:xfrm>
              <a:custGeom>
                <a:avLst/>
                <a:gdLst>
                  <a:gd name="connsiteX0" fmla="*/ 0 w 118468"/>
                  <a:gd name="connsiteY0" fmla="*/ 49899 h 49898"/>
                  <a:gd name="connsiteX1" fmla="*/ 37343 w 118468"/>
                  <a:gd name="connsiteY1" fmla="*/ 49899 h 49898"/>
                  <a:gd name="connsiteX2" fmla="*/ 87176 w 118468"/>
                  <a:gd name="connsiteY2" fmla="*/ 0 h 49898"/>
                  <a:gd name="connsiteX3" fmla="*/ 118469 w 118468"/>
                  <a:gd name="connsiteY3" fmla="*/ 0 h 49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8468" h="49898">
                    <a:moveTo>
                      <a:pt x="0" y="49899"/>
                    </a:moveTo>
                    <a:lnTo>
                      <a:pt x="37343" y="49899"/>
                    </a:lnTo>
                    <a:lnTo>
                      <a:pt x="87176" y="0"/>
                    </a:lnTo>
                    <a:lnTo>
                      <a:pt x="118469" y="0"/>
                    </a:lnTo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52" name="Forma livre: Forma 251">
                <a:extLst>
                  <a:ext uri="{FF2B5EF4-FFF2-40B4-BE49-F238E27FC236}">
                    <a16:creationId xmlns:a16="http://schemas.microsoft.com/office/drawing/2014/main" id="{45EF5DD7-6A27-E99B-1131-FA775A4C65C2}"/>
                  </a:ext>
                </a:extLst>
              </p:cNvPr>
              <p:cNvSpPr/>
              <p:nvPr/>
            </p:nvSpPr>
            <p:spPr>
              <a:xfrm>
                <a:off x="6191625" y="1405269"/>
                <a:ext cx="81451" cy="44043"/>
              </a:xfrm>
              <a:custGeom>
                <a:avLst/>
                <a:gdLst>
                  <a:gd name="connsiteX0" fmla="*/ 0 w 81451"/>
                  <a:gd name="connsiteY0" fmla="*/ 44044 h 44043"/>
                  <a:gd name="connsiteX1" fmla="*/ 37343 w 81451"/>
                  <a:gd name="connsiteY1" fmla="*/ 44044 h 44043"/>
                  <a:gd name="connsiteX2" fmla="*/ 81451 w 81451"/>
                  <a:gd name="connsiteY2" fmla="*/ 0 h 440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1451" h="44043">
                    <a:moveTo>
                      <a:pt x="0" y="44044"/>
                    </a:moveTo>
                    <a:lnTo>
                      <a:pt x="37343" y="44044"/>
                    </a:lnTo>
                    <a:lnTo>
                      <a:pt x="81451" y="0"/>
                    </a:lnTo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53" name="Forma livre: Forma 252">
                <a:extLst>
                  <a:ext uri="{FF2B5EF4-FFF2-40B4-BE49-F238E27FC236}">
                    <a16:creationId xmlns:a16="http://schemas.microsoft.com/office/drawing/2014/main" id="{97B7AC23-B8CC-0272-2AE3-2ADCECDF3F6F}"/>
                  </a:ext>
                </a:extLst>
              </p:cNvPr>
              <p:cNvSpPr/>
              <p:nvPr/>
            </p:nvSpPr>
            <p:spPr>
              <a:xfrm>
                <a:off x="6265075" y="1357908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0 h 55298"/>
                  <a:gd name="connsiteX2" fmla="*/ 0 w 55298"/>
                  <a:gd name="connsiteY2" fmla="*/ 27649 h 55298"/>
                  <a:gd name="connsiteX3" fmla="*/ 27649 w 55298"/>
                  <a:gd name="connsiteY3" fmla="*/ 55298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12361"/>
                      <a:pt x="42938" y="0"/>
                      <a:pt x="27649" y="0"/>
                    </a:cubicBezTo>
                    <a:cubicBezTo>
                      <a:pt x="12361" y="0"/>
                      <a:pt x="0" y="12361"/>
                      <a:pt x="0" y="27649"/>
                    </a:cubicBezTo>
                    <a:cubicBezTo>
                      <a:pt x="0" y="42938"/>
                      <a:pt x="12361" y="55298"/>
                      <a:pt x="27649" y="55298"/>
                    </a:cubicBezTo>
                    <a:cubicBezTo>
                      <a:pt x="42938" y="55298"/>
                      <a:pt x="55298" y="42938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246" name="Gráfico 32">
              <a:extLst>
                <a:ext uri="{FF2B5EF4-FFF2-40B4-BE49-F238E27FC236}">
                  <a16:creationId xmlns:a16="http://schemas.microsoft.com/office/drawing/2014/main" id="{EBEE3707-A6FF-7279-1E8E-820B310D7F4D}"/>
                </a:ext>
              </a:extLst>
            </p:cNvPr>
            <p:cNvGrpSpPr/>
            <p:nvPr/>
          </p:nvGrpSpPr>
          <p:grpSpPr>
            <a:xfrm>
              <a:off x="6190910" y="1529723"/>
              <a:ext cx="123673" cy="55298"/>
              <a:chOff x="6190910" y="1529723"/>
              <a:chExt cx="123673" cy="55298"/>
            </a:xfrm>
            <a:noFill/>
          </p:grpSpPr>
          <p:sp>
            <p:nvSpPr>
              <p:cNvPr id="248" name="Forma livre: Forma 247">
                <a:extLst>
                  <a:ext uri="{FF2B5EF4-FFF2-40B4-BE49-F238E27FC236}">
                    <a16:creationId xmlns:a16="http://schemas.microsoft.com/office/drawing/2014/main" id="{49FDC7AD-8985-072A-F036-947D1DBCED86}"/>
                  </a:ext>
                </a:extLst>
              </p:cNvPr>
              <p:cNvSpPr/>
              <p:nvPr/>
            </p:nvSpPr>
            <p:spPr>
              <a:xfrm>
                <a:off x="6190910" y="1557372"/>
                <a:ext cx="68765" cy="6505"/>
              </a:xfrm>
              <a:custGeom>
                <a:avLst/>
                <a:gdLst>
                  <a:gd name="connsiteX0" fmla="*/ 0 w 68765"/>
                  <a:gd name="connsiteY0" fmla="*/ 0 h 6505"/>
                  <a:gd name="connsiteX1" fmla="*/ 68765 w 68765"/>
                  <a:gd name="connsiteY1" fmla="*/ 0 h 65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8765" h="6505">
                    <a:moveTo>
                      <a:pt x="0" y="0"/>
                    </a:moveTo>
                    <a:lnTo>
                      <a:pt x="68765" y="0"/>
                    </a:lnTo>
                  </a:path>
                </a:pathLst>
              </a:custGeom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49" name="Forma livre: Forma 248">
                <a:extLst>
                  <a:ext uri="{FF2B5EF4-FFF2-40B4-BE49-F238E27FC236}">
                    <a16:creationId xmlns:a16="http://schemas.microsoft.com/office/drawing/2014/main" id="{A6960D5C-AF8E-F2E8-B6D8-DF0F9D27B10E}"/>
                  </a:ext>
                </a:extLst>
              </p:cNvPr>
              <p:cNvSpPr/>
              <p:nvPr/>
            </p:nvSpPr>
            <p:spPr>
              <a:xfrm>
                <a:off x="6259285" y="1529723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247" name="Forma livre: Forma 246">
              <a:extLst>
                <a:ext uri="{FF2B5EF4-FFF2-40B4-BE49-F238E27FC236}">
                  <a16:creationId xmlns:a16="http://schemas.microsoft.com/office/drawing/2014/main" id="{313EBB09-8A03-1D1A-DE01-50AD9B84C67A}"/>
                </a:ext>
              </a:extLst>
            </p:cNvPr>
            <p:cNvSpPr/>
            <p:nvPr/>
          </p:nvSpPr>
          <p:spPr>
            <a:xfrm>
              <a:off x="6152201" y="1686285"/>
              <a:ext cx="37362" cy="20848"/>
            </a:xfrm>
            <a:custGeom>
              <a:avLst/>
              <a:gdLst>
                <a:gd name="connsiteX0" fmla="*/ 0 w 37362"/>
                <a:gd name="connsiteY0" fmla="*/ 10505 h 20848"/>
                <a:gd name="connsiteX1" fmla="*/ 27064 w 37362"/>
                <a:gd name="connsiteY1" fmla="*/ 2373 h 20848"/>
                <a:gd name="connsiteX2" fmla="*/ 37343 w 37362"/>
                <a:gd name="connsiteY2" fmla="*/ 20849 h 20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7362" h="20848">
                  <a:moveTo>
                    <a:pt x="0" y="10505"/>
                  </a:moveTo>
                  <a:cubicBezTo>
                    <a:pt x="5205" y="811"/>
                    <a:pt x="17435" y="-2832"/>
                    <a:pt x="27064" y="2373"/>
                  </a:cubicBezTo>
                  <a:cubicBezTo>
                    <a:pt x="34025" y="6081"/>
                    <a:pt x="37668" y="13432"/>
                    <a:pt x="37343" y="20849"/>
                  </a:cubicBezTo>
                </a:path>
              </a:pathLst>
            </a:custGeom>
            <a:noFill/>
            <a:ln w="19050" cap="sq">
              <a:solidFill>
                <a:schemeClr val="accent2"/>
              </a:solidFill>
              <a:prstDash val="solid"/>
              <a:miter lim="800000"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264" name="Agrupar 263">
            <a:extLst>
              <a:ext uri="{FF2B5EF4-FFF2-40B4-BE49-F238E27FC236}">
                <a16:creationId xmlns:a16="http://schemas.microsoft.com/office/drawing/2014/main" id="{E8789740-3D63-BF9E-2D1F-4BCBF83481F7}"/>
              </a:ext>
            </a:extLst>
          </p:cNvPr>
          <p:cNvGrpSpPr/>
          <p:nvPr/>
        </p:nvGrpSpPr>
        <p:grpSpPr>
          <a:xfrm>
            <a:off x="10866800" y="4087030"/>
            <a:ext cx="244336" cy="266828"/>
            <a:chOff x="6000092" y="1357908"/>
            <a:chExt cx="365300" cy="398929"/>
          </a:xfrm>
        </p:grpSpPr>
        <p:sp>
          <p:nvSpPr>
            <p:cNvPr id="265" name="Forma livre: Forma 264">
              <a:extLst>
                <a:ext uri="{FF2B5EF4-FFF2-40B4-BE49-F238E27FC236}">
                  <a16:creationId xmlns:a16="http://schemas.microsoft.com/office/drawing/2014/main" id="{39FC93C4-5C26-797E-87F7-E661D32AE5E9}"/>
                </a:ext>
              </a:extLst>
            </p:cNvPr>
            <p:cNvSpPr/>
            <p:nvPr/>
          </p:nvSpPr>
          <p:spPr>
            <a:xfrm>
              <a:off x="6000092" y="1418606"/>
              <a:ext cx="84058" cy="286120"/>
            </a:xfrm>
            <a:custGeom>
              <a:avLst/>
              <a:gdLst>
                <a:gd name="connsiteX0" fmla="*/ 51595 w 84058"/>
                <a:gd name="connsiteY0" fmla="*/ 0 h 286120"/>
                <a:gd name="connsiteX1" fmla="*/ 35266 w 84058"/>
                <a:gd name="connsiteY1" fmla="*/ 61674 h 286120"/>
                <a:gd name="connsiteX2" fmla="*/ 28760 w 84058"/>
                <a:gd name="connsiteY2" fmla="*/ 193415 h 286120"/>
                <a:gd name="connsiteX3" fmla="*/ 84059 w 84058"/>
                <a:gd name="connsiteY3" fmla="*/ 286121 h 2861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4058" h="286120">
                  <a:moveTo>
                    <a:pt x="51595" y="0"/>
                  </a:moveTo>
                  <a:cubicBezTo>
                    <a:pt x="37868" y="7872"/>
                    <a:pt x="26028" y="24852"/>
                    <a:pt x="35266" y="61674"/>
                  </a:cubicBezTo>
                  <a:cubicBezTo>
                    <a:pt x="35266" y="61674"/>
                    <a:pt x="-39549" y="126731"/>
                    <a:pt x="28760" y="193415"/>
                  </a:cubicBezTo>
                  <a:cubicBezTo>
                    <a:pt x="28760" y="193415"/>
                    <a:pt x="9243" y="281242"/>
                    <a:pt x="84059" y="286121"/>
                  </a:cubicBezTo>
                </a:path>
              </a:pathLst>
            </a:custGeom>
            <a:noFill/>
            <a:ln w="19050" cap="sq">
              <a:solidFill>
                <a:schemeClr val="accent2"/>
              </a:solidFill>
              <a:prstDash val="solid"/>
              <a:miter lim="800000"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266" name="Gráfico 32">
              <a:extLst>
                <a:ext uri="{FF2B5EF4-FFF2-40B4-BE49-F238E27FC236}">
                  <a16:creationId xmlns:a16="http://schemas.microsoft.com/office/drawing/2014/main" id="{CCC17029-9104-7857-A670-1FFCD3041BFB}"/>
                </a:ext>
              </a:extLst>
            </p:cNvPr>
            <p:cNvGrpSpPr/>
            <p:nvPr/>
          </p:nvGrpSpPr>
          <p:grpSpPr>
            <a:xfrm>
              <a:off x="6061121" y="1359924"/>
              <a:ext cx="128487" cy="396366"/>
              <a:chOff x="6061121" y="1359924"/>
              <a:chExt cx="128487" cy="396366"/>
            </a:xfrm>
            <a:noFill/>
          </p:grpSpPr>
          <p:sp>
            <p:nvSpPr>
              <p:cNvPr id="281" name="Forma livre: Forma 280">
                <a:extLst>
                  <a:ext uri="{FF2B5EF4-FFF2-40B4-BE49-F238E27FC236}">
                    <a16:creationId xmlns:a16="http://schemas.microsoft.com/office/drawing/2014/main" id="{35087D92-A4F3-A290-A222-DE69C264831E}"/>
                  </a:ext>
                </a:extLst>
              </p:cNvPr>
              <p:cNvSpPr/>
              <p:nvPr/>
            </p:nvSpPr>
            <p:spPr>
              <a:xfrm>
                <a:off x="6083891" y="1359924"/>
                <a:ext cx="105717" cy="396366"/>
              </a:xfrm>
              <a:custGeom>
                <a:avLst/>
                <a:gdLst>
                  <a:gd name="connsiteX0" fmla="*/ 52891 w 105717"/>
                  <a:gd name="connsiteY0" fmla="*/ 105718 h 396366"/>
                  <a:gd name="connsiteX1" fmla="*/ 0 w 105717"/>
                  <a:gd name="connsiteY1" fmla="*/ 52891 h 396366"/>
                  <a:gd name="connsiteX2" fmla="*/ 52891 w 105717"/>
                  <a:gd name="connsiteY2" fmla="*/ 0 h 396366"/>
                  <a:gd name="connsiteX3" fmla="*/ 105718 w 105717"/>
                  <a:gd name="connsiteY3" fmla="*/ 52826 h 396366"/>
                  <a:gd name="connsiteX4" fmla="*/ 105718 w 105717"/>
                  <a:gd name="connsiteY4" fmla="*/ 346884 h 396366"/>
                  <a:gd name="connsiteX5" fmla="*/ 80606 w 105717"/>
                  <a:gd name="connsiteY5" fmla="*/ 388911 h 396366"/>
                  <a:gd name="connsiteX6" fmla="*/ 9238 w 105717"/>
                  <a:gd name="connsiteY6" fmla="*/ 371150 h 396366"/>
                  <a:gd name="connsiteX7" fmla="*/ 15484 w 105717"/>
                  <a:gd name="connsiteY7" fmla="*/ 309216 h 396366"/>
                  <a:gd name="connsiteX8" fmla="*/ 45019 w 105717"/>
                  <a:gd name="connsiteY8" fmla="*/ 277078 h 3963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05717" h="396366">
                    <a:moveTo>
                      <a:pt x="52891" y="105718"/>
                    </a:moveTo>
                    <a:cubicBezTo>
                      <a:pt x="23681" y="105718"/>
                      <a:pt x="0" y="82037"/>
                      <a:pt x="0" y="52891"/>
                    </a:cubicBezTo>
                    <a:cubicBezTo>
                      <a:pt x="0" y="23746"/>
                      <a:pt x="23681" y="0"/>
                      <a:pt x="52891" y="0"/>
                    </a:cubicBezTo>
                    <a:cubicBezTo>
                      <a:pt x="82102" y="0"/>
                      <a:pt x="105718" y="23681"/>
                      <a:pt x="105718" y="52826"/>
                    </a:cubicBezTo>
                    <a:lnTo>
                      <a:pt x="105718" y="346884"/>
                    </a:lnTo>
                    <a:cubicBezTo>
                      <a:pt x="105718" y="364580"/>
                      <a:pt x="96414" y="379413"/>
                      <a:pt x="80606" y="388911"/>
                    </a:cubicBezTo>
                    <a:cubicBezTo>
                      <a:pt x="55949" y="403744"/>
                      <a:pt x="24006" y="395742"/>
                      <a:pt x="9238" y="371150"/>
                    </a:cubicBezTo>
                    <a:cubicBezTo>
                      <a:pt x="-2928" y="350918"/>
                      <a:pt x="260" y="325741"/>
                      <a:pt x="15484" y="309216"/>
                    </a:cubicBezTo>
                    <a:lnTo>
                      <a:pt x="45019" y="277078"/>
                    </a:lnTo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82" name="Forma livre: Forma 281">
                <a:extLst>
                  <a:ext uri="{FF2B5EF4-FFF2-40B4-BE49-F238E27FC236}">
                    <a16:creationId xmlns:a16="http://schemas.microsoft.com/office/drawing/2014/main" id="{16B0D0D4-7EE3-5F94-601E-09DE6140304A}"/>
                  </a:ext>
                </a:extLst>
              </p:cNvPr>
              <p:cNvSpPr/>
              <p:nvPr/>
            </p:nvSpPr>
            <p:spPr>
              <a:xfrm>
                <a:off x="6144784" y="1383865"/>
                <a:ext cx="41563" cy="38963"/>
              </a:xfrm>
              <a:custGeom>
                <a:avLst/>
                <a:gdLst>
                  <a:gd name="connsiteX0" fmla="*/ 36172 w 41563"/>
                  <a:gd name="connsiteY0" fmla="*/ 0 h 38963"/>
                  <a:gd name="connsiteX1" fmla="*/ 39425 w 41563"/>
                  <a:gd name="connsiteY1" fmla="*/ 24266 h 38963"/>
                  <a:gd name="connsiteX2" fmla="*/ 36432 w 41563"/>
                  <a:gd name="connsiteY2" fmla="*/ 29080 h 38963"/>
                  <a:gd name="connsiteX3" fmla="*/ 0 w 41563"/>
                  <a:gd name="connsiteY3" fmla="*/ 33439 h 389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563" h="38963">
                    <a:moveTo>
                      <a:pt x="36172" y="0"/>
                    </a:moveTo>
                    <a:cubicBezTo>
                      <a:pt x="41571" y="7547"/>
                      <a:pt x="43393" y="16004"/>
                      <a:pt x="39425" y="24266"/>
                    </a:cubicBezTo>
                    <a:cubicBezTo>
                      <a:pt x="38644" y="25893"/>
                      <a:pt x="37603" y="27519"/>
                      <a:pt x="36432" y="29080"/>
                    </a:cubicBezTo>
                    <a:cubicBezTo>
                      <a:pt x="27584" y="40270"/>
                      <a:pt x="11190" y="42287"/>
                      <a:pt x="0" y="33439"/>
                    </a:cubicBezTo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83" name="Forma livre: Forma 282">
                <a:extLst>
                  <a:ext uri="{FF2B5EF4-FFF2-40B4-BE49-F238E27FC236}">
                    <a16:creationId xmlns:a16="http://schemas.microsoft.com/office/drawing/2014/main" id="{71E09099-9287-B3B9-7A15-3954E9EBDDD3}"/>
                  </a:ext>
                </a:extLst>
              </p:cNvPr>
              <p:cNvSpPr/>
              <p:nvPr/>
            </p:nvSpPr>
            <p:spPr>
              <a:xfrm>
                <a:off x="6081487" y="1460806"/>
                <a:ext cx="34217" cy="54474"/>
              </a:xfrm>
              <a:custGeom>
                <a:avLst/>
                <a:gdLst>
                  <a:gd name="connsiteX0" fmla="*/ 21076 w 34217"/>
                  <a:gd name="connsiteY0" fmla="*/ 54475 h 54474"/>
                  <a:gd name="connsiteX1" fmla="*/ 778 w 34217"/>
                  <a:gd name="connsiteY1" fmla="*/ 21035 h 54474"/>
                  <a:gd name="connsiteX2" fmla="*/ 34217 w 34217"/>
                  <a:gd name="connsiteY2" fmla="*/ 803 h 544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4217" h="54474">
                    <a:moveTo>
                      <a:pt x="21076" y="54475"/>
                    </a:moveTo>
                    <a:cubicBezTo>
                      <a:pt x="6308" y="50832"/>
                      <a:pt x="-2800" y="35803"/>
                      <a:pt x="778" y="21035"/>
                    </a:cubicBezTo>
                    <a:cubicBezTo>
                      <a:pt x="4421" y="6267"/>
                      <a:pt x="19449" y="-2841"/>
                      <a:pt x="34217" y="803"/>
                    </a:cubicBezTo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84" name="Forma livre: Forma 283">
                <a:extLst>
                  <a:ext uri="{FF2B5EF4-FFF2-40B4-BE49-F238E27FC236}">
                    <a16:creationId xmlns:a16="http://schemas.microsoft.com/office/drawing/2014/main" id="{0EB49AB0-28FD-5CDD-99C5-58643ED5B4AD}"/>
                  </a:ext>
                </a:extLst>
              </p:cNvPr>
              <p:cNvSpPr/>
              <p:nvPr/>
            </p:nvSpPr>
            <p:spPr>
              <a:xfrm>
                <a:off x="6073547" y="1527543"/>
                <a:ext cx="114760" cy="72506"/>
              </a:xfrm>
              <a:custGeom>
                <a:avLst/>
                <a:gdLst>
                  <a:gd name="connsiteX0" fmla="*/ 114760 w 114760"/>
                  <a:gd name="connsiteY0" fmla="*/ 7254 h 72506"/>
                  <a:gd name="connsiteX1" fmla="*/ 73905 w 114760"/>
                  <a:gd name="connsiteY1" fmla="*/ 8881 h 72506"/>
                  <a:gd name="connsiteX2" fmla="*/ 0 w 114760"/>
                  <a:gd name="connsiteY2" fmla="*/ 72506 h 725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14760" h="72506">
                    <a:moveTo>
                      <a:pt x="114760" y="7254"/>
                    </a:moveTo>
                    <a:cubicBezTo>
                      <a:pt x="103375" y="-2830"/>
                      <a:pt x="83989" y="-2504"/>
                      <a:pt x="73905" y="8881"/>
                    </a:cubicBezTo>
                    <a:cubicBezTo>
                      <a:pt x="73905" y="8881"/>
                      <a:pt x="31488" y="72506"/>
                      <a:pt x="0" y="72506"/>
                    </a:cubicBezTo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85" name="Forma livre: Forma 284">
                <a:extLst>
                  <a:ext uri="{FF2B5EF4-FFF2-40B4-BE49-F238E27FC236}">
                    <a16:creationId xmlns:a16="http://schemas.microsoft.com/office/drawing/2014/main" id="{F7BD2D81-F59C-245B-1569-54442CEFBE4E}"/>
                  </a:ext>
                </a:extLst>
              </p:cNvPr>
              <p:cNvSpPr/>
              <p:nvPr/>
            </p:nvSpPr>
            <p:spPr>
              <a:xfrm>
                <a:off x="6079857" y="1646956"/>
                <a:ext cx="29405" cy="9823"/>
              </a:xfrm>
              <a:custGeom>
                <a:avLst/>
                <a:gdLst>
                  <a:gd name="connsiteX0" fmla="*/ 0 w 29405"/>
                  <a:gd name="connsiteY0" fmla="*/ 0 h 9823"/>
                  <a:gd name="connsiteX1" fmla="*/ 29406 w 29405"/>
                  <a:gd name="connsiteY1" fmla="*/ 9824 h 98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9405" h="9823">
                    <a:moveTo>
                      <a:pt x="0" y="0"/>
                    </a:moveTo>
                    <a:lnTo>
                      <a:pt x="29406" y="9824"/>
                    </a:lnTo>
                  </a:path>
                </a:pathLst>
              </a:custGeom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86" name="Forma livre: Forma 285">
                <a:extLst>
                  <a:ext uri="{FF2B5EF4-FFF2-40B4-BE49-F238E27FC236}">
                    <a16:creationId xmlns:a16="http://schemas.microsoft.com/office/drawing/2014/main" id="{2F513FC3-3C90-3F13-F8E5-6966BCDF11AD}"/>
                  </a:ext>
                </a:extLst>
              </p:cNvPr>
              <p:cNvSpPr/>
              <p:nvPr/>
            </p:nvSpPr>
            <p:spPr>
              <a:xfrm>
                <a:off x="6061121" y="1545272"/>
                <a:ext cx="47166" cy="34154"/>
              </a:xfrm>
              <a:custGeom>
                <a:avLst/>
                <a:gdLst>
                  <a:gd name="connsiteX0" fmla="*/ 0 w 47166"/>
                  <a:gd name="connsiteY0" fmla="*/ 0 h 34154"/>
                  <a:gd name="connsiteX1" fmla="*/ 47166 w 47166"/>
                  <a:gd name="connsiteY1" fmla="*/ 34155 h 341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166" h="34154">
                    <a:moveTo>
                      <a:pt x="0" y="0"/>
                    </a:moveTo>
                    <a:cubicBezTo>
                      <a:pt x="0" y="0"/>
                      <a:pt x="27649" y="13011"/>
                      <a:pt x="47166" y="34155"/>
                    </a:cubicBezTo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267" name="Gráfico 32">
              <a:extLst>
                <a:ext uri="{FF2B5EF4-FFF2-40B4-BE49-F238E27FC236}">
                  <a16:creationId xmlns:a16="http://schemas.microsoft.com/office/drawing/2014/main" id="{F18EEC49-3BC6-2C6F-8772-92780F66A211}"/>
                </a:ext>
              </a:extLst>
            </p:cNvPr>
            <p:cNvGrpSpPr/>
            <p:nvPr/>
          </p:nvGrpSpPr>
          <p:grpSpPr>
            <a:xfrm>
              <a:off x="6191625" y="1599725"/>
              <a:ext cx="173767" cy="157112"/>
              <a:chOff x="6191625" y="1599725"/>
              <a:chExt cx="173767" cy="157112"/>
            </a:xfrm>
            <a:noFill/>
          </p:grpSpPr>
          <p:sp>
            <p:nvSpPr>
              <p:cNvPr id="277" name="Forma livre: Forma 276">
                <a:extLst>
                  <a:ext uri="{FF2B5EF4-FFF2-40B4-BE49-F238E27FC236}">
                    <a16:creationId xmlns:a16="http://schemas.microsoft.com/office/drawing/2014/main" id="{41D80251-1113-4240-4D18-71D330D78D24}"/>
                  </a:ext>
                </a:extLst>
              </p:cNvPr>
              <p:cNvSpPr/>
              <p:nvPr/>
            </p:nvSpPr>
            <p:spPr>
              <a:xfrm>
                <a:off x="6310094" y="1621974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78" name="Forma livre: Forma 277">
                <a:extLst>
                  <a:ext uri="{FF2B5EF4-FFF2-40B4-BE49-F238E27FC236}">
                    <a16:creationId xmlns:a16="http://schemas.microsoft.com/office/drawing/2014/main" id="{F9F24D19-6A09-C5AF-3214-D8AF5CDBDD3E}"/>
                  </a:ext>
                </a:extLst>
              </p:cNvPr>
              <p:cNvSpPr/>
              <p:nvPr/>
            </p:nvSpPr>
            <p:spPr>
              <a:xfrm>
                <a:off x="6191625" y="1599725"/>
                <a:ext cx="118078" cy="49898"/>
              </a:xfrm>
              <a:custGeom>
                <a:avLst/>
                <a:gdLst>
                  <a:gd name="connsiteX0" fmla="*/ 0 w 118078"/>
                  <a:gd name="connsiteY0" fmla="*/ 0 h 49898"/>
                  <a:gd name="connsiteX1" fmla="*/ 37343 w 118078"/>
                  <a:gd name="connsiteY1" fmla="*/ 0 h 49898"/>
                  <a:gd name="connsiteX2" fmla="*/ 87176 w 118078"/>
                  <a:gd name="connsiteY2" fmla="*/ 49899 h 49898"/>
                  <a:gd name="connsiteX3" fmla="*/ 118078 w 118078"/>
                  <a:gd name="connsiteY3" fmla="*/ 49899 h 49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8078" h="49898">
                    <a:moveTo>
                      <a:pt x="0" y="0"/>
                    </a:moveTo>
                    <a:lnTo>
                      <a:pt x="37343" y="0"/>
                    </a:lnTo>
                    <a:lnTo>
                      <a:pt x="87176" y="49899"/>
                    </a:lnTo>
                    <a:lnTo>
                      <a:pt x="118078" y="49899"/>
                    </a:lnTo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79" name="Forma livre: Forma 278">
                <a:extLst>
                  <a:ext uri="{FF2B5EF4-FFF2-40B4-BE49-F238E27FC236}">
                    <a16:creationId xmlns:a16="http://schemas.microsoft.com/office/drawing/2014/main" id="{7D32E925-4839-B726-98ED-E48DD7F219AE}"/>
                  </a:ext>
                </a:extLst>
              </p:cNvPr>
              <p:cNvSpPr/>
              <p:nvPr/>
            </p:nvSpPr>
            <p:spPr>
              <a:xfrm>
                <a:off x="6191625" y="1665367"/>
                <a:ext cx="81906" cy="44108"/>
              </a:xfrm>
              <a:custGeom>
                <a:avLst/>
                <a:gdLst>
                  <a:gd name="connsiteX0" fmla="*/ 0 w 81906"/>
                  <a:gd name="connsiteY0" fmla="*/ 0 h 44108"/>
                  <a:gd name="connsiteX1" fmla="*/ 37343 w 81906"/>
                  <a:gd name="connsiteY1" fmla="*/ 0 h 44108"/>
                  <a:gd name="connsiteX2" fmla="*/ 81907 w 81906"/>
                  <a:gd name="connsiteY2" fmla="*/ 44109 h 441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1906" h="44108">
                    <a:moveTo>
                      <a:pt x="0" y="0"/>
                    </a:moveTo>
                    <a:lnTo>
                      <a:pt x="37343" y="0"/>
                    </a:lnTo>
                    <a:lnTo>
                      <a:pt x="81907" y="44109"/>
                    </a:lnTo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80" name="Forma livre: Forma 279">
                <a:extLst>
                  <a:ext uri="{FF2B5EF4-FFF2-40B4-BE49-F238E27FC236}">
                    <a16:creationId xmlns:a16="http://schemas.microsoft.com/office/drawing/2014/main" id="{029265A8-BFA3-85B4-2230-BE28C0C175E9}"/>
                  </a:ext>
                </a:extLst>
              </p:cNvPr>
              <p:cNvSpPr/>
              <p:nvPr/>
            </p:nvSpPr>
            <p:spPr>
              <a:xfrm>
                <a:off x="6265075" y="1701539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268" name="Gráfico 32">
              <a:extLst>
                <a:ext uri="{FF2B5EF4-FFF2-40B4-BE49-F238E27FC236}">
                  <a16:creationId xmlns:a16="http://schemas.microsoft.com/office/drawing/2014/main" id="{B96E1CEA-121C-6949-0671-83BE27810C6F}"/>
                </a:ext>
              </a:extLst>
            </p:cNvPr>
            <p:cNvGrpSpPr/>
            <p:nvPr/>
          </p:nvGrpSpPr>
          <p:grpSpPr>
            <a:xfrm>
              <a:off x="6191625" y="1357908"/>
              <a:ext cx="173767" cy="157112"/>
              <a:chOff x="6191625" y="1357908"/>
              <a:chExt cx="173767" cy="157112"/>
            </a:xfrm>
            <a:noFill/>
          </p:grpSpPr>
          <p:sp>
            <p:nvSpPr>
              <p:cNvPr id="273" name="Forma livre: Forma 272">
                <a:extLst>
                  <a:ext uri="{FF2B5EF4-FFF2-40B4-BE49-F238E27FC236}">
                    <a16:creationId xmlns:a16="http://schemas.microsoft.com/office/drawing/2014/main" id="{4FEE2922-5A0B-AD5B-78A6-4B08FB18CD74}"/>
                  </a:ext>
                </a:extLst>
              </p:cNvPr>
              <p:cNvSpPr/>
              <p:nvPr/>
            </p:nvSpPr>
            <p:spPr>
              <a:xfrm>
                <a:off x="6310094" y="1437472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0 h 55298"/>
                  <a:gd name="connsiteX2" fmla="*/ 0 w 55298"/>
                  <a:gd name="connsiteY2" fmla="*/ 27649 h 55298"/>
                  <a:gd name="connsiteX3" fmla="*/ 27649 w 55298"/>
                  <a:gd name="connsiteY3" fmla="*/ 55298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12361"/>
                      <a:pt x="42938" y="0"/>
                      <a:pt x="27649" y="0"/>
                    </a:cubicBezTo>
                    <a:cubicBezTo>
                      <a:pt x="12361" y="0"/>
                      <a:pt x="0" y="12361"/>
                      <a:pt x="0" y="27649"/>
                    </a:cubicBezTo>
                    <a:cubicBezTo>
                      <a:pt x="0" y="42938"/>
                      <a:pt x="12361" y="55298"/>
                      <a:pt x="27649" y="55298"/>
                    </a:cubicBezTo>
                    <a:cubicBezTo>
                      <a:pt x="42938" y="55298"/>
                      <a:pt x="55298" y="42938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74" name="Forma livre: Forma 273">
                <a:extLst>
                  <a:ext uri="{FF2B5EF4-FFF2-40B4-BE49-F238E27FC236}">
                    <a16:creationId xmlns:a16="http://schemas.microsoft.com/office/drawing/2014/main" id="{B69003D0-49F6-2F93-7B68-FAC20D3F77A3}"/>
                  </a:ext>
                </a:extLst>
              </p:cNvPr>
              <p:cNvSpPr/>
              <p:nvPr/>
            </p:nvSpPr>
            <p:spPr>
              <a:xfrm>
                <a:off x="6191625" y="1465122"/>
                <a:ext cx="118468" cy="49898"/>
              </a:xfrm>
              <a:custGeom>
                <a:avLst/>
                <a:gdLst>
                  <a:gd name="connsiteX0" fmla="*/ 0 w 118468"/>
                  <a:gd name="connsiteY0" fmla="*/ 49899 h 49898"/>
                  <a:gd name="connsiteX1" fmla="*/ 37343 w 118468"/>
                  <a:gd name="connsiteY1" fmla="*/ 49899 h 49898"/>
                  <a:gd name="connsiteX2" fmla="*/ 87176 w 118468"/>
                  <a:gd name="connsiteY2" fmla="*/ 0 h 49898"/>
                  <a:gd name="connsiteX3" fmla="*/ 118469 w 118468"/>
                  <a:gd name="connsiteY3" fmla="*/ 0 h 49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8468" h="49898">
                    <a:moveTo>
                      <a:pt x="0" y="49899"/>
                    </a:moveTo>
                    <a:lnTo>
                      <a:pt x="37343" y="49899"/>
                    </a:lnTo>
                    <a:lnTo>
                      <a:pt x="87176" y="0"/>
                    </a:lnTo>
                    <a:lnTo>
                      <a:pt x="118469" y="0"/>
                    </a:lnTo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75" name="Forma livre: Forma 274">
                <a:extLst>
                  <a:ext uri="{FF2B5EF4-FFF2-40B4-BE49-F238E27FC236}">
                    <a16:creationId xmlns:a16="http://schemas.microsoft.com/office/drawing/2014/main" id="{2B9FCF93-6569-B063-215A-0AA372B171B8}"/>
                  </a:ext>
                </a:extLst>
              </p:cNvPr>
              <p:cNvSpPr/>
              <p:nvPr/>
            </p:nvSpPr>
            <p:spPr>
              <a:xfrm>
                <a:off x="6191625" y="1405269"/>
                <a:ext cx="81451" cy="44043"/>
              </a:xfrm>
              <a:custGeom>
                <a:avLst/>
                <a:gdLst>
                  <a:gd name="connsiteX0" fmla="*/ 0 w 81451"/>
                  <a:gd name="connsiteY0" fmla="*/ 44044 h 44043"/>
                  <a:gd name="connsiteX1" fmla="*/ 37343 w 81451"/>
                  <a:gd name="connsiteY1" fmla="*/ 44044 h 44043"/>
                  <a:gd name="connsiteX2" fmla="*/ 81451 w 81451"/>
                  <a:gd name="connsiteY2" fmla="*/ 0 h 440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1451" h="44043">
                    <a:moveTo>
                      <a:pt x="0" y="44044"/>
                    </a:moveTo>
                    <a:lnTo>
                      <a:pt x="37343" y="44044"/>
                    </a:lnTo>
                    <a:lnTo>
                      <a:pt x="81451" y="0"/>
                    </a:lnTo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76" name="Forma livre: Forma 275">
                <a:extLst>
                  <a:ext uri="{FF2B5EF4-FFF2-40B4-BE49-F238E27FC236}">
                    <a16:creationId xmlns:a16="http://schemas.microsoft.com/office/drawing/2014/main" id="{271B3AB8-AE38-6365-E447-46897864DE8A}"/>
                  </a:ext>
                </a:extLst>
              </p:cNvPr>
              <p:cNvSpPr/>
              <p:nvPr/>
            </p:nvSpPr>
            <p:spPr>
              <a:xfrm>
                <a:off x="6265075" y="1357908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0 h 55298"/>
                  <a:gd name="connsiteX2" fmla="*/ 0 w 55298"/>
                  <a:gd name="connsiteY2" fmla="*/ 27649 h 55298"/>
                  <a:gd name="connsiteX3" fmla="*/ 27649 w 55298"/>
                  <a:gd name="connsiteY3" fmla="*/ 55298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12361"/>
                      <a:pt x="42938" y="0"/>
                      <a:pt x="27649" y="0"/>
                    </a:cubicBezTo>
                    <a:cubicBezTo>
                      <a:pt x="12361" y="0"/>
                      <a:pt x="0" y="12361"/>
                      <a:pt x="0" y="27649"/>
                    </a:cubicBezTo>
                    <a:cubicBezTo>
                      <a:pt x="0" y="42938"/>
                      <a:pt x="12361" y="55298"/>
                      <a:pt x="27649" y="55298"/>
                    </a:cubicBezTo>
                    <a:cubicBezTo>
                      <a:pt x="42938" y="55298"/>
                      <a:pt x="55298" y="42938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269" name="Gráfico 32">
              <a:extLst>
                <a:ext uri="{FF2B5EF4-FFF2-40B4-BE49-F238E27FC236}">
                  <a16:creationId xmlns:a16="http://schemas.microsoft.com/office/drawing/2014/main" id="{7F8A7D2F-F10A-24FF-DA0D-537781E10864}"/>
                </a:ext>
              </a:extLst>
            </p:cNvPr>
            <p:cNvGrpSpPr/>
            <p:nvPr/>
          </p:nvGrpSpPr>
          <p:grpSpPr>
            <a:xfrm>
              <a:off x="6190910" y="1529723"/>
              <a:ext cx="123673" cy="55298"/>
              <a:chOff x="6190910" y="1529723"/>
              <a:chExt cx="123673" cy="55298"/>
            </a:xfrm>
            <a:noFill/>
          </p:grpSpPr>
          <p:sp>
            <p:nvSpPr>
              <p:cNvPr id="271" name="Forma livre: Forma 270">
                <a:extLst>
                  <a:ext uri="{FF2B5EF4-FFF2-40B4-BE49-F238E27FC236}">
                    <a16:creationId xmlns:a16="http://schemas.microsoft.com/office/drawing/2014/main" id="{DE4EC167-80BD-CA25-E2EF-9DEB1066F5B0}"/>
                  </a:ext>
                </a:extLst>
              </p:cNvPr>
              <p:cNvSpPr/>
              <p:nvPr/>
            </p:nvSpPr>
            <p:spPr>
              <a:xfrm>
                <a:off x="6190910" y="1557372"/>
                <a:ext cx="68765" cy="6505"/>
              </a:xfrm>
              <a:custGeom>
                <a:avLst/>
                <a:gdLst>
                  <a:gd name="connsiteX0" fmla="*/ 0 w 68765"/>
                  <a:gd name="connsiteY0" fmla="*/ 0 h 6505"/>
                  <a:gd name="connsiteX1" fmla="*/ 68765 w 68765"/>
                  <a:gd name="connsiteY1" fmla="*/ 0 h 65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8765" h="6505">
                    <a:moveTo>
                      <a:pt x="0" y="0"/>
                    </a:moveTo>
                    <a:lnTo>
                      <a:pt x="68765" y="0"/>
                    </a:lnTo>
                  </a:path>
                </a:pathLst>
              </a:custGeom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72" name="Forma livre: Forma 271">
                <a:extLst>
                  <a:ext uri="{FF2B5EF4-FFF2-40B4-BE49-F238E27FC236}">
                    <a16:creationId xmlns:a16="http://schemas.microsoft.com/office/drawing/2014/main" id="{0B74A23A-8280-8F0D-31FA-35922FA319EB}"/>
                  </a:ext>
                </a:extLst>
              </p:cNvPr>
              <p:cNvSpPr/>
              <p:nvPr/>
            </p:nvSpPr>
            <p:spPr>
              <a:xfrm>
                <a:off x="6259285" y="1529723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chemeClr val="accent2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270" name="Forma livre: Forma 269">
              <a:extLst>
                <a:ext uri="{FF2B5EF4-FFF2-40B4-BE49-F238E27FC236}">
                  <a16:creationId xmlns:a16="http://schemas.microsoft.com/office/drawing/2014/main" id="{F9DDFFA8-9E8A-F3ED-9B62-8752748446ED}"/>
                </a:ext>
              </a:extLst>
            </p:cNvPr>
            <p:cNvSpPr/>
            <p:nvPr/>
          </p:nvSpPr>
          <p:spPr>
            <a:xfrm>
              <a:off x="6152201" y="1686285"/>
              <a:ext cx="37362" cy="20848"/>
            </a:xfrm>
            <a:custGeom>
              <a:avLst/>
              <a:gdLst>
                <a:gd name="connsiteX0" fmla="*/ 0 w 37362"/>
                <a:gd name="connsiteY0" fmla="*/ 10505 h 20848"/>
                <a:gd name="connsiteX1" fmla="*/ 27064 w 37362"/>
                <a:gd name="connsiteY1" fmla="*/ 2373 h 20848"/>
                <a:gd name="connsiteX2" fmla="*/ 37343 w 37362"/>
                <a:gd name="connsiteY2" fmla="*/ 20849 h 20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7362" h="20848">
                  <a:moveTo>
                    <a:pt x="0" y="10505"/>
                  </a:moveTo>
                  <a:cubicBezTo>
                    <a:pt x="5205" y="811"/>
                    <a:pt x="17435" y="-2832"/>
                    <a:pt x="27064" y="2373"/>
                  </a:cubicBezTo>
                  <a:cubicBezTo>
                    <a:pt x="34025" y="6081"/>
                    <a:pt x="37668" y="13432"/>
                    <a:pt x="37343" y="20849"/>
                  </a:cubicBezTo>
                </a:path>
              </a:pathLst>
            </a:custGeom>
            <a:noFill/>
            <a:ln w="19050" cap="sq">
              <a:solidFill>
                <a:schemeClr val="accent2"/>
              </a:solidFill>
              <a:prstDash val="solid"/>
              <a:miter lim="800000"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323" name="Agrupar 322">
            <a:extLst>
              <a:ext uri="{FF2B5EF4-FFF2-40B4-BE49-F238E27FC236}">
                <a16:creationId xmlns:a16="http://schemas.microsoft.com/office/drawing/2014/main" id="{36E53294-2EE5-3AED-88F5-7AB1A6124E50}"/>
              </a:ext>
            </a:extLst>
          </p:cNvPr>
          <p:cNvGrpSpPr/>
          <p:nvPr/>
        </p:nvGrpSpPr>
        <p:grpSpPr>
          <a:xfrm>
            <a:off x="7294397" y="5403040"/>
            <a:ext cx="3699942" cy="149264"/>
            <a:chOff x="7294397" y="5403040"/>
            <a:chExt cx="3699942" cy="149264"/>
          </a:xfrm>
        </p:grpSpPr>
        <p:cxnSp>
          <p:nvCxnSpPr>
            <p:cNvPr id="287" name="Conexão reta 286">
              <a:extLst>
                <a:ext uri="{FF2B5EF4-FFF2-40B4-BE49-F238E27FC236}">
                  <a16:creationId xmlns:a16="http://schemas.microsoft.com/office/drawing/2014/main" id="{13983B92-B523-033E-2FB5-C1C4504633BB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7294397" y="5454774"/>
              <a:ext cx="0" cy="97530"/>
            </a:xfrm>
            <a:prstGeom prst="line">
              <a:avLst/>
            </a:prstGeom>
            <a:ln w="6350">
              <a:solidFill>
                <a:schemeClr val="tx1"/>
              </a:solidFill>
              <a:headEnd type="arrow"/>
              <a:tailEnd type="non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0" name="Conexão reta 289">
              <a:extLst>
                <a:ext uri="{FF2B5EF4-FFF2-40B4-BE49-F238E27FC236}">
                  <a16:creationId xmlns:a16="http://schemas.microsoft.com/office/drawing/2014/main" id="{01185C74-E41D-81E0-4F9A-C57FD2246FFC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527885" y="5454774"/>
              <a:ext cx="0" cy="97530"/>
            </a:xfrm>
            <a:prstGeom prst="line">
              <a:avLst/>
            </a:prstGeom>
            <a:ln w="6350">
              <a:solidFill>
                <a:schemeClr val="tx1"/>
              </a:solidFill>
              <a:headEnd type="arrow"/>
              <a:tailEnd type="non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1" name="Conexão reta 290">
              <a:extLst>
                <a:ext uri="{FF2B5EF4-FFF2-40B4-BE49-F238E27FC236}">
                  <a16:creationId xmlns:a16="http://schemas.microsoft.com/office/drawing/2014/main" id="{C98DC41F-FD0C-8620-3706-B2A6DFA59BB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9698939" y="5454774"/>
              <a:ext cx="0" cy="97530"/>
            </a:xfrm>
            <a:prstGeom prst="line">
              <a:avLst/>
            </a:prstGeom>
            <a:ln w="6350">
              <a:solidFill>
                <a:schemeClr val="tx1"/>
              </a:solidFill>
              <a:headEnd type="arrow"/>
              <a:tailEnd type="non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2" name="Conexão reta 291">
              <a:extLst>
                <a:ext uri="{FF2B5EF4-FFF2-40B4-BE49-F238E27FC236}">
                  <a16:creationId xmlns:a16="http://schemas.microsoft.com/office/drawing/2014/main" id="{25028142-4CC2-9638-67C1-9AD41CA8200C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0994339" y="5454774"/>
              <a:ext cx="0" cy="97530"/>
            </a:xfrm>
            <a:prstGeom prst="line">
              <a:avLst/>
            </a:prstGeom>
            <a:ln w="6350">
              <a:solidFill>
                <a:schemeClr val="tx1"/>
              </a:solidFill>
              <a:headEnd type="arrow"/>
              <a:tailEnd type="non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4" name="Conexão reta 293">
              <a:extLst>
                <a:ext uri="{FF2B5EF4-FFF2-40B4-BE49-F238E27FC236}">
                  <a16:creationId xmlns:a16="http://schemas.microsoft.com/office/drawing/2014/main" id="{E5DE984C-0F84-0F22-391A-9F947BF51CA2}"/>
                </a:ext>
              </a:extLst>
            </p:cNvPr>
            <p:cNvCxnSpPr>
              <a:cxnSpLocks/>
            </p:cNvCxnSpPr>
            <p:nvPr/>
          </p:nvCxnSpPr>
          <p:spPr>
            <a:xfrm>
              <a:off x="7294397" y="5454774"/>
              <a:ext cx="3699942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6" name="Conexão reta 295">
              <a:extLst>
                <a:ext uri="{FF2B5EF4-FFF2-40B4-BE49-F238E27FC236}">
                  <a16:creationId xmlns:a16="http://schemas.microsoft.com/office/drawing/2014/main" id="{DE977634-5839-4162-34C3-573589C67CCE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9877425" y="5403040"/>
              <a:ext cx="0" cy="51734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07" name="Agrupar 306">
            <a:extLst>
              <a:ext uri="{FF2B5EF4-FFF2-40B4-BE49-F238E27FC236}">
                <a16:creationId xmlns:a16="http://schemas.microsoft.com/office/drawing/2014/main" id="{A69D500D-54F0-BABE-3713-4C9637D19E0B}"/>
              </a:ext>
            </a:extLst>
          </p:cNvPr>
          <p:cNvGrpSpPr/>
          <p:nvPr/>
        </p:nvGrpSpPr>
        <p:grpSpPr>
          <a:xfrm>
            <a:off x="11591926" y="3261360"/>
            <a:ext cx="217361" cy="2464549"/>
            <a:chOff x="11591926" y="3261360"/>
            <a:chExt cx="217361" cy="2464549"/>
          </a:xfrm>
        </p:grpSpPr>
        <p:cxnSp>
          <p:nvCxnSpPr>
            <p:cNvPr id="299" name="Conexão reta 298">
              <a:extLst>
                <a:ext uri="{FF2B5EF4-FFF2-40B4-BE49-F238E27FC236}">
                  <a16:creationId xmlns:a16="http://schemas.microsoft.com/office/drawing/2014/main" id="{611920DF-D481-71E6-66EB-8B41B2BAE5F1}"/>
                </a:ext>
              </a:extLst>
            </p:cNvPr>
            <p:cNvCxnSpPr>
              <a:cxnSpLocks/>
            </p:cNvCxnSpPr>
            <p:nvPr/>
          </p:nvCxnSpPr>
          <p:spPr>
            <a:xfrm>
              <a:off x="11591926" y="5725909"/>
              <a:ext cx="216616" cy="0"/>
            </a:xfrm>
            <a:prstGeom prst="line">
              <a:avLst/>
            </a:prstGeom>
            <a:ln w="6350">
              <a:solidFill>
                <a:schemeClr val="tx1"/>
              </a:solidFill>
              <a:headEnd type="arrow"/>
              <a:tailEnd type="non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2" name="Conexão reta 301">
              <a:extLst>
                <a:ext uri="{FF2B5EF4-FFF2-40B4-BE49-F238E27FC236}">
                  <a16:creationId xmlns:a16="http://schemas.microsoft.com/office/drawing/2014/main" id="{4283D561-2804-5185-0F0E-001E4259B1D4}"/>
                </a:ext>
              </a:extLst>
            </p:cNvPr>
            <p:cNvCxnSpPr>
              <a:cxnSpLocks/>
            </p:cNvCxnSpPr>
            <p:nvPr/>
          </p:nvCxnSpPr>
          <p:spPr>
            <a:xfrm>
              <a:off x="11809287" y="3261360"/>
              <a:ext cx="0" cy="2464549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6" name="Conexão reta 305">
              <a:extLst>
                <a:ext uri="{FF2B5EF4-FFF2-40B4-BE49-F238E27FC236}">
                  <a16:creationId xmlns:a16="http://schemas.microsoft.com/office/drawing/2014/main" id="{2FCA63D7-AC41-8229-EC1F-E5113B93918B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1645900" y="3261360"/>
              <a:ext cx="162642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310" name="Conexão reta 309">
            <a:extLst>
              <a:ext uri="{FF2B5EF4-FFF2-40B4-BE49-F238E27FC236}">
                <a16:creationId xmlns:a16="http://schemas.microsoft.com/office/drawing/2014/main" id="{79317286-67AB-67C4-A37F-30B15AAE70FB}"/>
              </a:ext>
            </a:extLst>
          </p:cNvPr>
          <p:cNvCxnSpPr>
            <a:cxnSpLocks/>
          </p:cNvCxnSpPr>
          <p:nvPr/>
        </p:nvCxnSpPr>
        <p:spPr>
          <a:xfrm>
            <a:off x="4986402" y="3721958"/>
            <a:ext cx="0" cy="224018"/>
          </a:xfrm>
          <a:prstGeom prst="line">
            <a:avLst/>
          </a:prstGeom>
          <a:ln w="6350">
            <a:solidFill>
              <a:schemeClr val="tx1"/>
            </a:solidFill>
            <a:headEnd type="arrow"/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11" name="Conexão reta 310">
            <a:extLst>
              <a:ext uri="{FF2B5EF4-FFF2-40B4-BE49-F238E27FC236}">
                <a16:creationId xmlns:a16="http://schemas.microsoft.com/office/drawing/2014/main" id="{5B893B91-9056-E3EA-4EEA-BCAC45932DF0}"/>
              </a:ext>
            </a:extLst>
          </p:cNvPr>
          <p:cNvCxnSpPr>
            <a:cxnSpLocks/>
          </p:cNvCxnSpPr>
          <p:nvPr/>
        </p:nvCxnSpPr>
        <p:spPr>
          <a:xfrm>
            <a:off x="8863077" y="2634695"/>
            <a:ext cx="0" cy="218085"/>
          </a:xfrm>
          <a:prstGeom prst="line">
            <a:avLst/>
          </a:prstGeom>
          <a:ln w="6350">
            <a:solidFill>
              <a:schemeClr val="tx1"/>
            </a:solidFill>
            <a:headEnd type="none"/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322" name="Agrupar 321">
            <a:extLst>
              <a:ext uri="{FF2B5EF4-FFF2-40B4-BE49-F238E27FC236}">
                <a16:creationId xmlns:a16="http://schemas.microsoft.com/office/drawing/2014/main" id="{A7C754A5-9AE6-12B5-8D20-FAB70E28CEE8}"/>
              </a:ext>
            </a:extLst>
          </p:cNvPr>
          <p:cNvGrpSpPr/>
          <p:nvPr/>
        </p:nvGrpSpPr>
        <p:grpSpPr>
          <a:xfrm>
            <a:off x="8387332" y="2952410"/>
            <a:ext cx="1860967" cy="1532715"/>
            <a:chOff x="8387332" y="2952410"/>
            <a:chExt cx="1860967" cy="1532715"/>
          </a:xfrm>
        </p:grpSpPr>
        <p:cxnSp>
          <p:nvCxnSpPr>
            <p:cNvPr id="315" name="Conexão reta 314">
              <a:extLst>
                <a:ext uri="{FF2B5EF4-FFF2-40B4-BE49-F238E27FC236}">
                  <a16:creationId xmlns:a16="http://schemas.microsoft.com/office/drawing/2014/main" id="{D0E50662-7D99-BD08-A472-F16226CCACF2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8387332" y="2952410"/>
              <a:ext cx="1860967" cy="0"/>
            </a:xfrm>
            <a:prstGeom prst="line">
              <a:avLst/>
            </a:prstGeom>
            <a:ln w="6350">
              <a:solidFill>
                <a:schemeClr val="tx1"/>
              </a:solidFill>
              <a:headEnd type="none"/>
              <a:tailEnd type="arrow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9" name="Conexão reta 318">
              <a:extLst>
                <a:ext uri="{FF2B5EF4-FFF2-40B4-BE49-F238E27FC236}">
                  <a16:creationId xmlns:a16="http://schemas.microsoft.com/office/drawing/2014/main" id="{FC5D4933-5516-AA63-1ACC-967687644F41}"/>
                </a:ext>
              </a:extLst>
            </p:cNvPr>
            <p:cNvCxnSpPr>
              <a:cxnSpLocks/>
              <a:endCxn id="207" idx="3"/>
            </p:cNvCxnSpPr>
            <p:nvPr/>
          </p:nvCxnSpPr>
          <p:spPr>
            <a:xfrm>
              <a:off x="10248299" y="2962410"/>
              <a:ext cx="0" cy="1522715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" name="Marcador de pie de página 5">
            <a:extLst>
              <a:ext uri="{FF2B5EF4-FFF2-40B4-BE49-F238E27FC236}">
                <a16:creationId xmlns:a16="http://schemas.microsoft.com/office/drawing/2014/main" id="{0FE7CFB9-9409-4A01-8377-C3680EDC99A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pt-PT"/>
              <a:t>Título de la presentación</a:t>
            </a:r>
            <a:endParaRPr lang="pt-PT" dirty="0"/>
          </a:p>
        </p:txBody>
      </p:sp>
      <p:sp>
        <p:nvSpPr>
          <p:cNvPr id="13" name="Marcador de número de diapositiva 12">
            <a:extLst>
              <a:ext uri="{FF2B5EF4-FFF2-40B4-BE49-F238E27FC236}">
                <a16:creationId xmlns:a16="http://schemas.microsoft.com/office/drawing/2014/main" id="{6CBC352C-5B69-45AE-B488-877ED5D22A5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4A347C2-D68E-473A-8C76-1D063E4EB6E0}" type="slidenum">
              <a:rPr lang="es-ES" smtClean="0"/>
              <a:pPr/>
              <a:t>57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1645594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3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30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15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1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19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19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3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16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16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16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500"/>
                                        <p:tgtEl>
                                          <p:spTgt spid="16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7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1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19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500"/>
                                        <p:tgtEl>
                                          <p:spTgt spid="3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6" presetID="10" presetClass="entr" presetSubtype="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8" dur="500"/>
                                        <p:tgtEl>
                                          <p:spTgt spid="6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9" presetID="6" presetClass="emph" presetSubtype="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animScale>
                                      <p:cBhvr>
                                        <p:cTn id="60" dur="10" fill="hold"/>
                                        <p:tgtEl>
                                          <p:spTgt spid="63"/>
                                        </p:tgtEl>
                                      </p:cBhvr>
                                      <p:by x="125000" y="125000"/>
                                    </p:animScale>
                                  </p:childTnLst>
                                </p:cTn>
                              </p:par>
                              <p:par>
                                <p:cTn id="61" presetID="6" presetClass="emph" presetSubtype="0" decel="10000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animScale>
                                      <p:cBhvr>
                                        <p:cTn id="62" dur="750" fill="hold"/>
                                        <p:tgtEl>
                                          <p:spTgt spid="63"/>
                                        </p:tgtEl>
                                      </p:cBhvr>
                                      <p:by x="80000" y="80000"/>
                                    </p:animScale>
                                  </p:childTnLst>
                                </p:cTn>
                              </p:par>
                              <p:par>
                                <p:cTn id="63" presetID="10" presetClass="entr" presetSubtype="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5" dur="500"/>
                                        <p:tgtEl>
                                          <p:spTgt spid="10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6" presetID="6" presetClass="emph" presetSubtype="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animScale>
                                      <p:cBhvr>
                                        <p:cTn id="67" dur="10" fill="hold"/>
                                        <p:tgtEl>
                                          <p:spTgt spid="109"/>
                                        </p:tgtEl>
                                      </p:cBhvr>
                                      <p:by x="125000" y="125000"/>
                                    </p:animScale>
                                  </p:childTnLst>
                                </p:cTn>
                              </p:par>
                              <p:par>
                                <p:cTn id="68" presetID="6" presetClass="emph" presetSubtype="0" decel="10000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animScale>
                                      <p:cBhvr>
                                        <p:cTn id="69" dur="750" fill="hold"/>
                                        <p:tgtEl>
                                          <p:spTgt spid="109"/>
                                        </p:tgtEl>
                                      </p:cBhvr>
                                      <p:by x="80000" y="80000"/>
                                    </p:animScale>
                                  </p:childTnLst>
                                </p:cTn>
                              </p:par>
                              <p:par>
                                <p:cTn id="70" presetID="10" presetClass="entr" presetSubtype="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2" dur="500"/>
                                        <p:tgtEl>
                                          <p:spTgt spid="1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3" presetID="6" presetClass="emph" presetSubtype="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animScale>
                                      <p:cBhvr>
                                        <p:cTn id="74" dur="10" fill="hold"/>
                                        <p:tgtEl>
                                          <p:spTgt spid="132"/>
                                        </p:tgtEl>
                                      </p:cBhvr>
                                      <p:by x="125000" y="125000"/>
                                    </p:animScale>
                                  </p:childTnLst>
                                </p:cTn>
                              </p:par>
                              <p:par>
                                <p:cTn id="75" presetID="6" presetClass="emph" presetSubtype="0" decel="10000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animScale>
                                      <p:cBhvr>
                                        <p:cTn id="76" dur="750" fill="hold"/>
                                        <p:tgtEl>
                                          <p:spTgt spid="132"/>
                                        </p:tgtEl>
                                      </p:cBhvr>
                                      <p:by x="80000" y="80000"/>
                                    </p:animScale>
                                  </p:childTnLst>
                                </p:cTn>
                              </p:par>
                              <p:par>
                                <p:cTn id="77" presetID="10" presetClass="entr" presetSubtype="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9" dur="500"/>
                                        <p:tgtEl>
                                          <p:spTgt spid="2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0" presetID="6" presetClass="emph" presetSubtype="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animScale>
                                      <p:cBhvr>
                                        <p:cTn id="81" dur="10" fill="hold"/>
                                        <p:tgtEl>
                                          <p:spTgt spid="218"/>
                                        </p:tgtEl>
                                      </p:cBhvr>
                                      <p:by x="125000" y="125000"/>
                                    </p:animScale>
                                  </p:childTnLst>
                                </p:cTn>
                              </p:par>
                              <p:par>
                                <p:cTn id="82" presetID="6" presetClass="emph" presetSubtype="0" decel="10000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animScale>
                                      <p:cBhvr>
                                        <p:cTn id="83" dur="750" fill="hold"/>
                                        <p:tgtEl>
                                          <p:spTgt spid="218"/>
                                        </p:tgtEl>
                                      </p:cBhvr>
                                      <p:by x="80000" y="80000"/>
                                    </p:animScale>
                                  </p:childTnLst>
                                </p:cTn>
                              </p:par>
                              <p:par>
                                <p:cTn id="84" presetID="10" presetClass="entr" presetSubtype="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8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6" dur="500"/>
                                        <p:tgtEl>
                                          <p:spTgt spid="2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7" presetID="6" presetClass="emph" presetSubtype="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animScale>
                                      <p:cBhvr>
                                        <p:cTn id="88" dur="10" fill="hold"/>
                                        <p:tgtEl>
                                          <p:spTgt spid="241"/>
                                        </p:tgtEl>
                                      </p:cBhvr>
                                      <p:by x="125000" y="125000"/>
                                    </p:animScale>
                                  </p:childTnLst>
                                </p:cTn>
                              </p:par>
                              <p:par>
                                <p:cTn id="89" presetID="6" presetClass="emph" presetSubtype="0" decel="10000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animScale>
                                      <p:cBhvr>
                                        <p:cTn id="90" dur="750" fill="hold"/>
                                        <p:tgtEl>
                                          <p:spTgt spid="241"/>
                                        </p:tgtEl>
                                      </p:cBhvr>
                                      <p:by x="80000" y="80000"/>
                                    </p:animScale>
                                  </p:childTnLst>
                                </p:cTn>
                              </p:par>
                              <p:par>
                                <p:cTn id="91" presetID="10" presetClass="entr" presetSubtype="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3" dur="500"/>
                                        <p:tgtEl>
                                          <p:spTgt spid="26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4" presetID="6" presetClass="emph" presetSubtype="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animScale>
                                      <p:cBhvr>
                                        <p:cTn id="95" dur="10" fill="hold"/>
                                        <p:tgtEl>
                                          <p:spTgt spid="264"/>
                                        </p:tgtEl>
                                      </p:cBhvr>
                                      <p:by x="125000" y="125000"/>
                                    </p:animScale>
                                  </p:childTnLst>
                                </p:cTn>
                              </p:par>
                              <p:par>
                                <p:cTn id="96" presetID="6" presetClass="emph" presetSubtype="0" decel="10000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animScale>
                                      <p:cBhvr>
                                        <p:cTn id="97" dur="750" fill="hold"/>
                                        <p:tgtEl>
                                          <p:spTgt spid="264"/>
                                        </p:tgtEl>
                                      </p:cBhvr>
                                      <p:by x="80000" y="8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2">
            <a:extLst>
              <a:ext uri="{FF2B5EF4-FFF2-40B4-BE49-F238E27FC236}">
                <a16:creationId xmlns:a16="http://schemas.microsoft.com/office/drawing/2014/main" id="{FC5EB918-B0D9-157C-4E94-6A66562CC24D}"/>
              </a:ext>
            </a:extLst>
          </p:cNvPr>
          <p:cNvSpPr txBox="1"/>
          <p:nvPr/>
        </p:nvSpPr>
        <p:spPr>
          <a:xfrm>
            <a:off x="1110454" y="2420807"/>
            <a:ext cx="6485696" cy="2016386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>
            <a:defPPr>
              <a:defRPr lang="pt-PT"/>
            </a:defPPr>
            <a:lvl1pPr>
              <a:lnSpc>
                <a:spcPct val="78000"/>
              </a:lnSpc>
              <a:defRPr sz="11500">
                <a:solidFill>
                  <a:schemeClr val="bg1"/>
                </a:solidFill>
                <a:latin typeface="SB Pakenham" panose="02000608020000020004" pitchFamily="50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7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PT" sz="8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 panose="020B0604030504040204" pitchFamily="34" charset="0"/>
                <a:ea typeface="Open Sans Light" panose="020B0306030504020204" pitchFamily="34" charset="0"/>
                <a:cs typeface="Arial" panose="020B0604020202020204" pitchFamily="34" charset="0"/>
              </a:rPr>
              <a:t>PALETA DE COLORE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6623962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28">
            <a:extLst>
              <a:ext uri="{FF2B5EF4-FFF2-40B4-BE49-F238E27FC236}">
                <a16:creationId xmlns:a16="http://schemas.microsoft.com/office/drawing/2014/main" id="{A4431D82-41DC-8EF7-388B-1E750836DAC4}"/>
              </a:ext>
            </a:extLst>
          </p:cNvPr>
          <p:cNvSpPr txBox="1"/>
          <p:nvPr/>
        </p:nvSpPr>
        <p:spPr>
          <a:xfrm>
            <a:off x="322233" y="224830"/>
            <a:ext cx="234391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pt-PT"/>
            </a:defPPr>
            <a:lvl1pPr>
              <a:defRPr sz="1000">
                <a:solidFill>
                  <a:srgbClr val="0D0D0D">
                    <a:alpha val="60000"/>
                  </a:srgbClr>
                </a:solidFill>
                <a:latin typeface="Graphik Regular" panose="020B0503030202060203" pitchFamily="34" charset="0"/>
                <a:cs typeface="Segoe UI" panose="020B0502040204020203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300" normalizeH="0" baseline="0" noProof="0" dirty="0">
                <a:ln>
                  <a:noFill/>
                </a:ln>
                <a:solidFill>
                  <a:srgbClr val="132153"/>
                </a:solidFill>
                <a:effectLst/>
                <a:uLnTx/>
                <a:uFillTx/>
                <a:latin typeface="ALTIA Eddi Light" panose="020B0000000000020000" pitchFamily="34" charset="0"/>
                <a:ea typeface="ALTIA Eddi Light" panose="020B0000000000020000" pitchFamily="34" charset="0"/>
                <a:cs typeface="ALTIA Eddi Light" panose="020B0000000000020000" pitchFamily="34" charset="0"/>
              </a:rPr>
              <a:t>PALETA DE COLORES</a:t>
            </a:r>
          </a:p>
        </p:txBody>
      </p:sp>
      <p:sp>
        <p:nvSpPr>
          <p:cNvPr id="3" name="Retângulo: Cantos Diagonais Arredondados 2">
            <a:extLst>
              <a:ext uri="{FF2B5EF4-FFF2-40B4-BE49-F238E27FC236}">
                <a16:creationId xmlns:a16="http://schemas.microsoft.com/office/drawing/2014/main" id="{946CA374-FC70-742F-8E96-A814145ED9E4}"/>
              </a:ext>
            </a:extLst>
          </p:cNvPr>
          <p:cNvSpPr/>
          <p:nvPr/>
        </p:nvSpPr>
        <p:spPr>
          <a:xfrm flipH="1">
            <a:off x="2841546" y="1138493"/>
            <a:ext cx="1896367" cy="1896367"/>
          </a:xfrm>
          <a:prstGeom prst="round2DiagRect">
            <a:avLst/>
          </a:prstGeom>
          <a:solidFill>
            <a:srgbClr val="184BF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PT" sz="1800" b="0" i="0" u="none" strike="noStrike" kern="1200" cap="none" spc="30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LTIA Eddi Light" panose="020B0000000000020000" pitchFamily="34" charset="0"/>
                <a:ea typeface="ALTIA Eddi Light" panose="020B0000000000020000" pitchFamily="34" charset="0"/>
                <a:cs typeface="ALTIA Eddi Light" panose="020B0000000000020000" pitchFamily="34" charset="0"/>
              </a:rPr>
              <a:t># 184BFF</a:t>
            </a:r>
          </a:p>
        </p:txBody>
      </p:sp>
      <p:sp>
        <p:nvSpPr>
          <p:cNvPr id="6" name="Retângulo: Cantos Diagonais Arredondados 5">
            <a:extLst>
              <a:ext uri="{FF2B5EF4-FFF2-40B4-BE49-F238E27FC236}">
                <a16:creationId xmlns:a16="http://schemas.microsoft.com/office/drawing/2014/main" id="{9F6CA50F-568B-676C-EF19-EA2308EB52ED}"/>
              </a:ext>
            </a:extLst>
          </p:cNvPr>
          <p:cNvSpPr/>
          <p:nvPr/>
        </p:nvSpPr>
        <p:spPr>
          <a:xfrm flipH="1">
            <a:off x="5147816" y="1138493"/>
            <a:ext cx="1896367" cy="1896367"/>
          </a:xfrm>
          <a:prstGeom prst="round2DiagRect">
            <a:avLst/>
          </a:prstGeom>
          <a:solidFill>
            <a:srgbClr val="00FF9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PT" sz="1800" b="0" i="0" u="none" strike="noStrike" kern="1200" cap="none" spc="300" normalizeH="0" baseline="0" noProof="0" dirty="0">
                <a:ln>
                  <a:noFill/>
                </a:ln>
                <a:solidFill>
                  <a:srgbClr val="184BFF"/>
                </a:solidFill>
                <a:effectLst/>
                <a:uLnTx/>
                <a:uFillTx/>
                <a:latin typeface="ALTIA Eddi Light" panose="020B0000000000020000" pitchFamily="34" charset="0"/>
                <a:ea typeface="ALTIA Eddi Light" panose="020B0000000000020000" pitchFamily="34" charset="0"/>
                <a:cs typeface="ALTIA Eddi Light" panose="020B0000000000020000" pitchFamily="34" charset="0"/>
              </a:rPr>
              <a:t># 00FF94</a:t>
            </a:r>
          </a:p>
        </p:txBody>
      </p:sp>
      <p:sp>
        <p:nvSpPr>
          <p:cNvPr id="7" name="Retângulo: Cantos Diagonais Arredondados 6">
            <a:extLst>
              <a:ext uri="{FF2B5EF4-FFF2-40B4-BE49-F238E27FC236}">
                <a16:creationId xmlns:a16="http://schemas.microsoft.com/office/drawing/2014/main" id="{4588CFB8-8EAC-E4BA-76FD-E7DF700E5884}"/>
              </a:ext>
            </a:extLst>
          </p:cNvPr>
          <p:cNvSpPr/>
          <p:nvPr/>
        </p:nvSpPr>
        <p:spPr>
          <a:xfrm flipH="1">
            <a:off x="7454086" y="1138493"/>
            <a:ext cx="1896367" cy="1896367"/>
          </a:xfrm>
          <a:prstGeom prst="round2DiagRect">
            <a:avLst/>
          </a:prstGeom>
          <a:solidFill>
            <a:schemeClr val="bg1"/>
          </a:solidFill>
          <a:ln w="9525">
            <a:solidFill>
              <a:srgbClr val="E5E5E5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PT" sz="1800" b="0" i="0" u="none" strike="noStrike" kern="1200" cap="none" spc="300" normalizeH="0" baseline="0" noProof="0" dirty="0">
                <a:ln>
                  <a:noFill/>
                </a:ln>
                <a:solidFill>
                  <a:srgbClr val="184BFF"/>
                </a:solidFill>
                <a:effectLst/>
                <a:uLnTx/>
                <a:uFillTx/>
                <a:latin typeface="ALTIA Eddi Light" panose="020B0000000000020000" pitchFamily="34" charset="0"/>
                <a:ea typeface="ALTIA Eddi Light" panose="020B0000000000020000" pitchFamily="34" charset="0"/>
                <a:cs typeface="ALTIA Eddi Light" panose="020B0000000000020000" pitchFamily="34" charset="0"/>
              </a:rPr>
              <a:t># FFFFFF</a:t>
            </a:r>
          </a:p>
        </p:txBody>
      </p:sp>
      <p:sp>
        <p:nvSpPr>
          <p:cNvPr id="8" name="Retângulo: Cantos Diagonais Arredondados 7">
            <a:extLst>
              <a:ext uri="{FF2B5EF4-FFF2-40B4-BE49-F238E27FC236}">
                <a16:creationId xmlns:a16="http://schemas.microsoft.com/office/drawing/2014/main" id="{D82ED1CD-23C5-F9E3-E90D-73F9AFB81593}"/>
              </a:ext>
            </a:extLst>
          </p:cNvPr>
          <p:cNvSpPr/>
          <p:nvPr/>
        </p:nvSpPr>
        <p:spPr>
          <a:xfrm flipH="1">
            <a:off x="2841546" y="3466251"/>
            <a:ext cx="1896367" cy="1070450"/>
          </a:xfrm>
          <a:prstGeom prst="round2DiagRect">
            <a:avLst/>
          </a:prstGeom>
          <a:solidFill>
            <a:srgbClr val="1D3EB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PT" sz="1800" b="0" i="0" u="none" strike="noStrike" kern="1200" cap="none" spc="30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LTIA Eddi Light" panose="020B0000000000020000" pitchFamily="34" charset="0"/>
                <a:ea typeface="ALTIA Eddi Light" panose="020B0000000000020000" pitchFamily="34" charset="0"/>
                <a:cs typeface="ALTIA Eddi Light" panose="020B0000000000020000" pitchFamily="34" charset="0"/>
              </a:rPr>
              <a:t># 1D3EB6</a:t>
            </a:r>
          </a:p>
        </p:txBody>
      </p:sp>
      <p:sp>
        <p:nvSpPr>
          <p:cNvPr id="9" name="Retângulo: Cantos Diagonais Arredondados 8">
            <a:extLst>
              <a:ext uri="{FF2B5EF4-FFF2-40B4-BE49-F238E27FC236}">
                <a16:creationId xmlns:a16="http://schemas.microsoft.com/office/drawing/2014/main" id="{FB16320A-D16F-688C-4398-F7EEE4B7E060}"/>
              </a:ext>
            </a:extLst>
          </p:cNvPr>
          <p:cNvSpPr/>
          <p:nvPr/>
        </p:nvSpPr>
        <p:spPr>
          <a:xfrm flipH="1">
            <a:off x="2841546" y="4649057"/>
            <a:ext cx="1896367" cy="1070450"/>
          </a:xfrm>
          <a:prstGeom prst="round2DiagRect">
            <a:avLst/>
          </a:prstGeom>
          <a:solidFill>
            <a:srgbClr val="13215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PT" sz="1800" b="0" i="0" u="none" strike="noStrike" kern="1200" cap="none" spc="30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LTIA Eddi Light" panose="020B0000000000020000" pitchFamily="34" charset="0"/>
                <a:ea typeface="ALTIA Eddi Light" panose="020B0000000000020000" pitchFamily="34" charset="0"/>
                <a:cs typeface="ALTIA Eddi Light" panose="020B0000000000020000" pitchFamily="34" charset="0"/>
              </a:rPr>
              <a:t># 132153</a:t>
            </a:r>
          </a:p>
        </p:txBody>
      </p:sp>
      <p:sp>
        <p:nvSpPr>
          <p:cNvPr id="10" name="Retângulo: Cantos Diagonais Arredondados 9">
            <a:extLst>
              <a:ext uri="{FF2B5EF4-FFF2-40B4-BE49-F238E27FC236}">
                <a16:creationId xmlns:a16="http://schemas.microsoft.com/office/drawing/2014/main" id="{209CBFCC-E409-464B-ACD0-FEA2BEF80111}"/>
              </a:ext>
            </a:extLst>
          </p:cNvPr>
          <p:cNvSpPr/>
          <p:nvPr/>
        </p:nvSpPr>
        <p:spPr>
          <a:xfrm flipH="1">
            <a:off x="5147816" y="3466251"/>
            <a:ext cx="1896367" cy="1070450"/>
          </a:xfrm>
          <a:prstGeom prst="round2DiagRect">
            <a:avLst/>
          </a:prstGeom>
          <a:solidFill>
            <a:srgbClr val="81FFC9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PT" sz="1800" b="0" i="0" u="none" strike="noStrike" kern="1200" cap="none" spc="300" normalizeH="0" baseline="0" noProof="0" dirty="0">
                <a:ln>
                  <a:noFill/>
                </a:ln>
                <a:solidFill>
                  <a:srgbClr val="184BFF"/>
                </a:solidFill>
                <a:effectLst/>
                <a:uLnTx/>
                <a:uFillTx/>
                <a:latin typeface="ALTIA Eddi Light" panose="020B0000000000020000" pitchFamily="34" charset="0"/>
                <a:ea typeface="ALTIA Eddi Light" panose="020B0000000000020000" pitchFamily="34" charset="0"/>
                <a:cs typeface="ALTIA Eddi Light" panose="020B0000000000020000" pitchFamily="34" charset="0"/>
              </a:rPr>
              <a:t># 81FFC9</a:t>
            </a:r>
          </a:p>
        </p:txBody>
      </p:sp>
      <p:sp>
        <p:nvSpPr>
          <p:cNvPr id="11" name="Retângulo: Cantos Diagonais Arredondados 10">
            <a:extLst>
              <a:ext uri="{FF2B5EF4-FFF2-40B4-BE49-F238E27FC236}">
                <a16:creationId xmlns:a16="http://schemas.microsoft.com/office/drawing/2014/main" id="{E42CF02E-3CFB-1B8D-A1BA-46AA5C400332}"/>
              </a:ext>
            </a:extLst>
          </p:cNvPr>
          <p:cNvSpPr/>
          <p:nvPr/>
        </p:nvSpPr>
        <p:spPr>
          <a:xfrm flipH="1">
            <a:off x="5147816" y="4649057"/>
            <a:ext cx="1896367" cy="1070450"/>
          </a:xfrm>
          <a:prstGeom prst="round2DiagRect">
            <a:avLst/>
          </a:prstGeom>
          <a:solidFill>
            <a:srgbClr val="C0FFE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PT" sz="1800" b="0" i="0" u="none" strike="noStrike" kern="1200" cap="none" spc="300" normalizeH="0" baseline="0" noProof="0" dirty="0">
                <a:ln>
                  <a:noFill/>
                </a:ln>
                <a:solidFill>
                  <a:srgbClr val="184BFF"/>
                </a:solidFill>
                <a:effectLst/>
                <a:uLnTx/>
                <a:uFillTx/>
                <a:latin typeface="ALTIA Eddi Light" panose="020B0000000000020000" pitchFamily="34" charset="0"/>
                <a:ea typeface="ALTIA Eddi Light" panose="020B0000000000020000" pitchFamily="34" charset="0"/>
                <a:cs typeface="ALTIA Eddi Light" panose="020B0000000000020000" pitchFamily="34" charset="0"/>
              </a:rPr>
              <a:t># C0FFE4</a:t>
            </a:r>
          </a:p>
        </p:txBody>
      </p:sp>
      <p:sp>
        <p:nvSpPr>
          <p:cNvPr id="12" name="Retângulo: Cantos Diagonais Arredondados 11">
            <a:extLst>
              <a:ext uri="{FF2B5EF4-FFF2-40B4-BE49-F238E27FC236}">
                <a16:creationId xmlns:a16="http://schemas.microsoft.com/office/drawing/2014/main" id="{665EC6F6-B51C-EBF5-4917-F1554078D021}"/>
              </a:ext>
            </a:extLst>
          </p:cNvPr>
          <p:cNvSpPr/>
          <p:nvPr/>
        </p:nvSpPr>
        <p:spPr>
          <a:xfrm flipH="1">
            <a:off x="7454086" y="3466251"/>
            <a:ext cx="1896367" cy="1070450"/>
          </a:xfrm>
          <a:prstGeom prst="round2Diag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PT" sz="1800" b="0" i="0" u="none" strike="noStrike" kern="1200" cap="none" spc="300" normalizeH="0" baseline="0" noProof="0" dirty="0">
                <a:ln>
                  <a:noFill/>
                </a:ln>
                <a:solidFill>
                  <a:srgbClr val="184BFF"/>
                </a:solidFill>
                <a:effectLst/>
                <a:uLnTx/>
                <a:uFillTx/>
                <a:latin typeface="ALTIA Eddi Light" panose="020B0000000000020000" pitchFamily="34" charset="0"/>
                <a:ea typeface="ALTIA Eddi Light" panose="020B0000000000020000" pitchFamily="34" charset="0"/>
                <a:cs typeface="ALTIA Eddi Light" panose="020B0000000000020000" pitchFamily="34" charset="0"/>
              </a:rPr>
              <a:t># E5E5E5</a:t>
            </a:r>
          </a:p>
        </p:txBody>
      </p:sp>
      <p:grpSp>
        <p:nvGrpSpPr>
          <p:cNvPr id="22" name="C O R E S" hidden="1">
            <a:extLst>
              <a:ext uri="{FF2B5EF4-FFF2-40B4-BE49-F238E27FC236}">
                <a16:creationId xmlns:a16="http://schemas.microsoft.com/office/drawing/2014/main" id="{5DB5E7E9-9814-2437-F5CE-C709089E427B}"/>
              </a:ext>
            </a:extLst>
          </p:cNvPr>
          <p:cNvGrpSpPr/>
          <p:nvPr/>
        </p:nvGrpSpPr>
        <p:grpSpPr>
          <a:xfrm>
            <a:off x="12495685" y="0"/>
            <a:ext cx="1268015" cy="892438"/>
            <a:chOff x="13708468" y="1138493"/>
            <a:chExt cx="6508907" cy="4581014"/>
          </a:xfrm>
        </p:grpSpPr>
        <p:sp>
          <p:nvSpPr>
            <p:cNvPr id="14" name="Retângulo: Cantos Diagonais Arredondados 13">
              <a:extLst>
                <a:ext uri="{FF2B5EF4-FFF2-40B4-BE49-F238E27FC236}">
                  <a16:creationId xmlns:a16="http://schemas.microsoft.com/office/drawing/2014/main" id="{D268E940-DFBB-71F2-AE60-58A15214C5BB}"/>
                </a:ext>
              </a:extLst>
            </p:cNvPr>
            <p:cNvSpPr/>
            <p:nvPr/>
          </p:nvSpPr>
          <p:spPr>
            <a:xfrm flipH="1">
              <a:off x="13708468" y="1138493"/>
              <a:ext cx="1896367" cy="1896367"/>
            </a:xfrm>
            <a:prstGeom prst="round2DiagRect">
              <a:avLst/>
            </a:prstGeom>
            <a:solidFill>
              <a:srgbClr val="184BFF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30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LTIA Eddi Light" panose="020B0000000000020000" pitchFamily="34" charset="0"/>
                <a:ea typeface="ALTIA Eddi Light" panose="020B0000000000020000" pitchFamily="34" charset="0"/>
                <a:cs typeface="ALTIA Eddi Light" panose="020B0000000000020000" pitchFamily="34" charset="0"/>
              </a:endParaRPr>
            </a:p>
          </p:txBody>
        </p:sp>
        <p:sp>
          <p:nvSpPr>
            <p:cNvPr id="15" name="Retângulo: Cantos Diagonais Arredondados 14">
              <a:extLst>
                <a:ext uri="{FF2B5EF4-FFF2-40B4-BE49-F238E27FC236}">
                  <a16:creationId xmlns:a16="http://schemas.microsoft.com/office/drawing/2014/main" id="{89E70A69-F2E7-F473-9039-7C2E5D02489C}"/>
                </a:ext>
              </a:extLst>
            </p:cNvPr>
            <p:cNvSpPr/>
            <p:nvPr/>
          </p:nvSpPr>
          <p:spPr>
            <a:xfrm flipH="1">
              <a:off x="16014738" y="1138493"/>
              <a:ext cx="1896367" cy="1896367"/>
            </a:xfrm>
            <a:prstGeom prst="round2DiagRect">
              <a:avLst/>
            </a:prstGeom>
            <a:solidFill>
              <a:srgbClr val="00FF94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300" normalizeH="0" baseline="0" noProof="0" dirty="0">
                <a:ln>
                  <a:noFill/>
                </a:ln>
                <a:solidFill>
                  <a:srgbClr val="184BFF"/>
                </a:solidFill>
                <a:effectLst/>
                <a:uLnTx/>
                <a:uFillTx/>
                <a:latin typeface="ALTIA Eddi Light" panose="020B0000000000020000" pitchFamily="34" charset="0"/>
                <a:ea typeface="ALTIA Eddi Light" panose="020B0000000000020000" pitchFamily="34" charset="0"/>
                <a:cs typeface="ALTIA Eddi Light" panose="020B0000000000020000" pitchFamily="34" charset="0"/>
              </a:endParaRPr>
            </a:p>
          </p:txBody>
        </p:sp>
        <p:sp>
          <p:nvSpPr>
            <p:cNvPr id="16" name="Retângulo: Cantos Diagonais Arredondados 15">
              <a:extLst>
                <a:ext uri="{FF2B5EF4-FFF2-40B4-BE49-F238E27FC236}">
                  <a16:creationId xmlns:a16="http://schemas.microsoft.com/office/drawing/2014/main" id="{6F7E3FB3-A097-BFB5-C524-37819062D55F}"/>
                </a:ext>
              </a:extLst>
            </p:cNvPr>
            <p:cNvSpPr/>
            <p:nvPr/>
          </p:nvSpPr>
          <p:spPr>
            <a:xfrm flipH="1">
              <a:off x="18321008" y="1138493"/>
              <a:ext cx="1896367" cy="1896367"/>
            </a:xfrm>
            <a:prstGeom prst="round2DiagRect">
              <a:avLst/>
            </a:prstGeom>
            <a:solidFill>
              <a:schemeClr val="bg1"/>
            </a:solidFill>
            <a:ln w="9525">
              <a:solidFill>
                <a:srgbClr val="E5E5E5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300" normalizeH="0" baseline="0" noProof="0" dirty="0">
                <a:ln>
                  <a:noFill/>
                </a:ln>
                <a:solidFill>
                  <a:srgbClr val="184BFF"/>
                </a:solidFill>
                <a:effectLst/>
                <a:uLnTx/>
                <a:uFillTx/>
                <a:latin typeface="ALTIA Eddi Light" panose="020B0000000000020000" pitchFamily="34" charset="0"/>
                <a:ea typeface="ALTIA Eddi Light" panose="020B0000000000020000" pitchFamily="34" charset="0"/>
                <a:cs typeface="ALTIA Eddi Light" panose="020B0000000000020000" pitchFamily="34" charset="0"/>
              </a:endParaRPr>
            </a:p>
          </p:txBody>
        </p:sp>
        <p:sp>
          <p:nvSpPr>
            <p:cNvPr id="17" name="Retângulo: Cantos Diagonais Arredondados 16">
              <a:extLst>
                <a:ext uri="{FF2B5EF4-FFF2-40B4-BE49-F238E27FC236}">
                  <a16:creationId xmlns:a16="http://schemas.microsoft.com/office/drawing/2014/main" id="{8EEA1426-4022-872E-B922-96A997C3B44F}"/>
                </a:ext>
              </a:extLst>
            </p:cNvPr>
            <p:cNvSpPr/>
            <p:nvPr/>
          </p:nvSpPr>
          <p:spPr>
            <a:xfrm flipH="1">
              <a:off x="13708468" y="3466251"/>
              <a:ext cx="1896367" cy="1070450"/>
            </a:xfrm>
            <a:prstGeom prst="round2DiagRect">
              <a:avLst/>
            </a:prstGeom>
            <a:solidFill>
              <a:srgbClr val="1D3EB6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30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LTIA Eddi Light" panose="020B0000000000020000" pitchFamily="34" charset="0"/>
                <a:ea typeface="ALTIA Eddi Light" panose="020B0000000000020000" pitchFamily="34" charset="0"/>
                <a:cs typeface="ALTIA Eddi Light" panose="020B0000000000020000" pitchFamily="34" charset="0"/>
              </a:endParaRPr>
            </a:p>
          </p:txBody>
        </p:sp>
        <p:sp>
          <p:nvSpPr>
            <p:cNvPr id="18" name="Retângulo: Cantos Diagonais Arredondados 17">
              <a:extLst>
                <a:ext uri="{FF2B5EF4-FFF2-40B4-BE49-F238E27FC236}">
                  <a16:creationId xmlns:a16="http://schemas.microsoft.com/office/drawing/2014/main" id="{E42BBE8F-EF62-BAF3-5689-BEE684A40862}"/>
                </a:ext>
              </a:extLst>
            </p:cNvPr>
            <p:cNvSpPr/>
            <p:nvPr/>
          </p:nvSpPr>
          <p:spPr>
            <a:xfrm flipH="1">
              <a:off x="13708468" y="4649057"/>
              <a:ext cx="1896367" cy="1070450"/>
            </a:xfrm>
            <a:prstGeom prst="round2DiagRect">
              <a:avLst/>
            </a:prstGeom>
            <a:solidFill>
              <a:srgbClr val="132153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30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LTIA Eddi Light" panose="020B0000000000020000" pitchFamily="34" charset="0"/>
                <a:ea typeface="ALTIA Eddi Light" panose="020B0000000000020000" pitchFamily="34" charset="0"/>
                <a:cs typeface="ALTIA Eddi Light" panose="020B0000000000020000" pitchFamily="34" charset="0"/>
              </a:endParaRPr>
            </a:p>
          </p:txBody>
        </p:sp>
        <p:sp>
          <p:nvSpPr>
            <p:cNvPr id="19" name="Retângulo: Cantos Diagonais Arredondados 18">
              <a:extLst>
                <a:ext uri="{FF2B5EF4-FFF2-40B4-BE49-F238E27FC236}">
                  <a16:creationId xmlns:a16="http://schemas.microsoft.com/office/drawing/2014/main" id="{6D23F94F-075B-B46F-6598-005626BF4045}"/>
                </a:ext>
              </a:extLst>
            </p:cNvPr>
            <p:cNvSpPr/>
            <p:nvPr/>
          </p:nvSpPr>
          <p:spPr>
            <a:xfrm flipH="1">
              <a:off x="16014738" y="3466251"/>
              <a:ext cx="1896367" cy="1070450"/>
            </a:xfrm>
            <a:prstGeom prst="round2DiagRect">
              <a:avLst/>
            </a:prstGeom>
            <a:solidFill>
              <a:srgbClr val="81FFC9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300" normalizeH="0" baseline="0" noProof="0" dirty="0">
                <a:ln>
                  <a:noFill/>
                </a:ln>
                <a:solidFill>
                  <a:srgbClr val="184BFF"/>
                </a:solidFill>
                <a:effectLst/>
                <a:uLnTx/>
                <a:uFillTx/>
                <a:latin typeface="ALTIA Eddi Light" panose="020B0000000000020000" pitchFamily="34" charset="0"/>
                <a:ea typeface="ALTIA Eddi Light" panose="020B0000000000020000" pitchFamily="34" charset="0"/>
                <a:cs typeface="ALTIA Eddi Light" panose="020B0000000000020000" pitchFamily="34" charset="0"/>
              </a:endParaRPr>
            </a:p>
          </p:txBody>
        </p:sp>
        <p:sp>
          <p:nvSpPr>
            <p:cNvPr id="20" name="Retângulo: Cantos Diagonais Arredondados 19">
              <a:extLst>
                <a:ext uri="{FF2B5EF4-FFF2-40B4-BE49-F238E27FC236}">
                  <a16:creationId xmlns:a16="http://schemas.microsoft.com/office/drawing/2014/main" id="{F0096FE5-1B69-8C97-33B5-034ABC57F122}"/>
                </a:ext>
              </a:extLst>
            </p:cNvPr>
            <p:cNvSpPr/>
            <p:nvPr/>
          </p:nvSpPr>
          <p:spPr>
            <a:xfrm flipH="1">
              <a:off x="16014738" y="4649057"/>
              <a:ext cx="1896367" cy="1070450"/>
            </a:xfrm>
            <a:prstGeom prst="round2DiagRect">
              <a:avLst/>
            </a:prstGeom>
            <a:solidFill>
              <a:srgbClr val="C0FFE4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300" normalizeH="0" baseline="0" noProof="0" dirty="0">
                <a:ln>
                  <a:noFill/>
                </a:ln>
                <a:solidFill>
                  <a:srgbClr val="184BFF"/>
                </a:solidFill>
                <a:effectLst/>
                <a:uLnTx/>
                <a:uFillTx/>
                <a:latin typeface="ALTIA Eddi Light" panose="020B0000000000020000" pitchFamily="34" charset="0"/>
                <a:ea typeface="ALTIA Eddi Light" panose="020B0000000000020000" pitchFamily="34" charset="0"/>
                <a:cs typeface="ALTIA Eddi Light" panose="020B0000000000020000" pitchFamily="34" charset="0"/>
              </a:endParaRPr>
            </a:p>
          </p:txBody>
        </p:sp>
        <p:sp>
          <p:nvSpPr>
            <p:cNvPr id="21" name="Retângulo: Cantos Diagonais Arredondados 20">
              <a:extLst>
                <a:ext uri="{FF2B5EF4-FFF2-40B4-BE49-F238E27FC236}">
                  <a16:creationId xmlns:a16="http://schemas.microsoft.com/office/drawing/2014/main" id="{2B40CA9E-70FE-829B-8783-103F6652DA7E}"/>
                </a:ext>
              </a:extLst>
            </p:cNvPr>
            <p:cNvSpPr/>
            <p:nvPr/>
          </p:nvSpPr>
          <p:spPr>
            <a:xfrm flipH="1">
              <a:off x="18321008" y="3466251"/>
              <a:ext cx="1896367" cy="1070450"/>
            </a:xfrm>
            <a:prstGeom prst="round2DiagRect">
              <a:avLst/>
            </a:prstGeom>
            <a:solidFill>
              <a:srgbClr val="E5E5E5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300" normalizeH="0" baseline="0" noProof="0" dirty="0">
                <a:ln>
                  <a:noFill/>
                </a:ln>
                <a:solidFill>
                  <a:srgbClr val="184BFF"/>
                </a:solidFill>
                <a:effectLst/>
                <a:uLnTx/>
                <a:uFillTx/>
                <a:latin typeface="ALTIA Eddi Light" panose="020B0000000000020000" pitchFamily="34" charset="0"/>
                <a:ea typeface="ALTIA Eddi Light" panose="020B0000000000020000" pitchFamily="34" charset="0"/>
                <a:cs typeface="ALTIA Eddi Light" panose="020B0000000000020000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1613610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ítulo 5">
            <a:extLst>
              <a:ext uri="{FF2B5EF4-FFF2-40B4-BE49-F238E27FC236}">
                <a16:creationId xmlns:a16="http://schemas.microsoft.com/office/drawing/2014/main" id="{A9811712-DC5E-15D1-2E64-56A6252F014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84846" y="3293706"/>
            <a:ext cx="5992780" cy="1325563"/>
          </a:xfrm>
        </p:spPr>
        <p:txBody>
          <a:bodyPr/>
          <a:lstStyle/>
          <a:p>
            <a:r>
              <a:rPr lang="es-ES" dirty="0"/>
              <a:t>Ejemplo de título de la presentación</a:t>
            </a:r>
            <a:endParaRPr lang="pt-PT" dirty="0"/>
          </a:p>
        </p:txBody>
      </p:sp>
      <p:sp>
        <p:nvSpPr>
          <p:cNvPr id="7" name="Marcador de Posição do Texto 6">
            <a:extLst>
              <a:ext uri="{FF2B5EF4-FFF2-40B4-BE49-F238E27FC236}">
                <a16:creationId xmlns:a16="http://schemas.microsoft.com/office/drawing/2014/main" id="{EC8A4EC4-51EC-6BD9-5173-F6A50B402484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5484845" y="4809252"/>
            <a:ext cx="5992781" cy="560515"/>
          </a:xfrm>
        </p:spPr>
        <p:txBody>
          <a:bodyPr/>
          <a:lstStyle/>
          <a:p>
            <a:r>
              <a:rPr lang="es-ES" dirty="0"/>
              <a:t>Ejemplo de subtítulo de la presentación</a:t>
            </a:r>
            <a:endParaRPr lang="pt-PT" dirty="0"/>
          </a:p>
        </p:txBody>
      </p:sp>
      <p:sp>
        <p:nvSpPr>
          <p:cNvPr id="8" name="Marcador de Posição do Texto 7">
            <a:extLst>
              <a:ext uri="{FF2B5EF4-FFF2-40B4-BE49-F238E27FC236}">
                <a16:creationId xmlns:a16="http://schemas.microsoft.com/office/drawing/2014/main" id="{BE0F72C0-5CFA-1DC2-CB5E-F61B7DFA6553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5484845" y="6050902"/>
            <a:ext cx="2866053" cy="261256"/>
          </a:xfrm>
        </p:spPr>
        <p:txBody>
          <a:bodyPr>
            <a:normAutofit fontScale="92500" lnSpcReduction="10000"/>
          </a:bodyPr>
          <a:lstStyle/>
          <a:p>
            <a:r>
              <a:rPr lang="pt-PT" dirty="0"/>
              <a:t>Insertar info</a:t>
            </a:r>
          </a:p>
        </p:txBody>
      </p:sp>
      <p:sp>
        <p:nvSpPr>
          <p:cNvPr id="9" name="Marcador de Posição do Texto 8">
            <a:extLst>
              <a:ext uri="{FF2B5EF4-FFF2-40B4-BE49-F238E27FC236}">
                <a16:creationId xmlns:a16="http://schemas.microsoft.com/office/drawing/2014/main" id="{B36E8946-731F-CDCD-1018-49D70F647881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8611573" y="6050902"/>
            <a:ext cx="2866053" cy="261256"/>
          </a:xfrm>
        </p:spPr>
        <p:txBody>
          <a:bodyPr>
            <a:normAutofit fontScale="92500" lnSpcReduction="10000"/>
          </a:bodyPr>
          <a:lstStyle/>
          <a:p>
            <a:r>
              <a:rPr lang="pt-PT" dirty="0"/>
              <a:t>Insertar fecha</a:t>
            </a:r>
          </a:p>
        </p:txBody>
      </p:sp>
    </p:spTree>
    <p:extLst>
      <p:ext uri="{BB962C8B-B14F-4D97-AF65-F5344CB8AC3E}">
        <p14:creationId xmlns:p14="http://schemas.microsoft.com/office/powerpoint/2010/main" val="3557994093"/>
      </p:ext>
    </p:extLst>
  </p:cSld>
  <p:clrMapOvr>
    <a:masterClrMapping/>
  </p:clrMapOvr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22">
            <a:extLst>
              <a:ext uri="{FF2B5EF4-FFF2-40B4-BE49-F238E27FC236}">
                <a16:creationId xmlns:a16="http://schemas.microsoft.com/office/drawing/2014/main" id="{28FC6255-0809-7407-EB21-552D296F1890}"/>
              </a:ext>
            </a:extLst>
          </p:cNvPr>
          <p:cNvSpPr txBox="1"/>
          <p:nvPr/>
        </p:nvSpPr>
        <p:spPr>
          <a:xfrm>
            <a:off x="1110453" y="2845635"/>
            <a:ext cx="8080681" cy="116673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78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PT" sz="8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 panose="020B0604030504040204" pitchFamily="34" charset="0"/>
                <a:ea typeface="Open Sans Light" panose="020B0306030504020204" pitchFamily="34" charset="0"/>
                <a:cs typeface="Arial" panose="020B0604020202020204" pitchFamily="34" charset="0"/>
              </a:rPr>
              <a:t>TIPOGRAFÍA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5679973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632C0A5-4E8F-86FC-25B9-F618D36D469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28">
            <a:extLst>
              <a:ext uri="{FF2B5EF4-FFF2-40B4-BE49-F238E27FC236}">
                <a16:creationId xmlns:a16="http://schemas.microsoft.com/office/drawing/2014/main" id="{2E6E27FD-6811-F81C-4D56-1CD24062A709}"/>
              </a:ext>
            </a:extLst>
          </p:cNvPr>
          <p:cNvSpPr txBox="1"/>
          <p:nvPr/>
        </p:nvSpPr>
        <p:spPr>
          <a:xfrm>
            <a:off x="322233" y="224830"/>
            <a:ext cx="144943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pt-PT"/>
            </a:defPPr>
            <a:lvl1pPr>
              <a:defRPr sz="1000">
                <a:solidFill>
                  <a:srgbClr val="0D0D0D">
                    <a:alpha val="60000"/>
                  </a:srgbClr>
                </a:solidFill>
                <a:latin typeface="Graphik Regular" panose="020B0503030202060203" pitchFamily="34" charset="0"/>
                <a:cs typeface="Segoe UI" panose="020B0502040204020203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300" normalizeH="0" baseline="0" noProof="0" dirty="0">
                <a:ln>
                  <a:noFill/>
                </a:ln>
                <a:solidFill>
                  <a:srgbClr val="132153"/>
                </a:solidFill>
                <a:effectLst/>
                <a:uLnTx/>
                <a:uFillTx/>
                <a:latin typeface="ALTIA Eddi Light" panose="020B0000000000020000" pitchFamily="34" charset="0"/>
                <a:ea typeface="ALTIA Eddi Light" panose="020B0000000000020000" pitchFamily="34" charset="0"/>
                <a:cs typeface="ALTIA Eddi Light" panose="020B0000000000020000" pitchFamily="34" charset="0"/>
              </a:rPr>
              <a:t>TIPOGRAFÍA</a:t>
            </a:r>
          </a:p>
        </p:txBody>
      </p:sp>
      <p:sp>
        <p:nvSpPr>
          <p:cNvPr id="3" name="TextBox 11">
            <a:extLst>
              <a:ext uri="{FF2B5EF4-FFF2-40B4-BE49-F238E27FC236}">
                <a16:creationId xmlns:a16="http://schemas.microsoft.com/office/drawing/2014/main" id="{52F04E5C-132D-86CB-AF98-2584B0691ABC}"/>
              </a:ext>
            </a:extLst>
          </p:cNvPr>
          <p:cNvSpPr txBox="1"/>
          <p:nvPr/>
        </p:nvSpPr>
        <p:spPr>
          <a:xfrm>
            <a:off x="322232" y="6379254"/>
            <a:ext cx="5158295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PT" sz="1050" b="0" i="0" u="none" strike="noStrike" kern="1200" cap="none" spc="300" normalizeH="0" baseline="0" noProof="0" dirty="0">
                <a:ln>
                  <a:noFill/>
                </a:ln>
                <a:solidFill>
                  <a:srgbClr val="132153"/>
                </a:solidFill>
                <a:effectLst/>
                <a:uLnTx/>
                <a:uFillTx/>
                <a:latin typeface="ALTIA Eddi Light" panose="020B0000000000020000" pitchFamily="34" charset="0"/>
                <a:ea typeface="ALTIA Eddi Light" panose="020B0000000000020000" pitchFamily="34" charset="0"/>
                <a:cs typeface="ALTIA Eddi Light" panose="020B0000000000020000" pitchFamily="34" charset="0"/>
              </a:rPr>
              <a:t>FUENTE: </a:t>
            </a:r>
            <a:r>
              <a:rPr kumimoji="0" lang="pt-PT" sz="1050" b="0" i="0" u="none" strike="noStrike" kern="1200" cap="none" spc="0" normalizeH="0" baseline="0" noProof="0" dirty="0">
                <a:ln>
                  <a:noFill/>
                </a:ln>
                <a:solidFill>
                  <a:srgbClr val="132153"/>
                </a:solidFill>
                <a:effectLst/>
                <a:uLnTx/>
                <a:uFillTx/>
                <a:latin typeface="ALTIA Eddi Light" panose="020B0000000000020000" pitchFamily="34" charset="0"/>
                <a:ea typeface="ALTIA Eddi Light" panose="020B0000000000020000" pitchFamily="34" charset="0"/>
                <a:cs typeface="ALTIA Eddi Light" panose="020B0000000000020000" pitchFamily="34" charset="0"/>
              </a:rPr>
              <a:t>ALTIA EDDI </a:t>
            </a:r>
            <a:endParaRPr kumimoji="0" lang="pt-PT" sz="1050" b="0" i="0" u="none" strike="noStrike" kern="1200" cap="none" spc="300" normalizeH="0" baseline="0" noProof="0" dirty="0">
              <a:ln>
                <a:noFill/>
              </a:ln>
              <a:solidFill>
                <a:srgbClr val="132153"/>
              </a:solidFill>
              <a:effectLst/>
              <a:uLnTx/>
              <a:uFillTx/>
              <a:latin typeface="ALTIA Eddi Light" panose="020B0000000000020000" pitchFamily="34" charset="0"/>
              <a:ea typeface="ALTIA Eddi Light" panose="020B0000000000020000" pitchFamily="34" charset="0"/>
              <a:cs typeface="ALTIA Eddi Light" panose="020B0000000000020000" pitchFamily="34" charset="0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3AA0EE1-F1D7-B4E7-D82C-35135E4DCB48}"/>
              </a:ext>
            </a:extLst>
          </p:cNvPr>
          <p:cNvSpPr txBox="1"/>
          <p:nvPr/>
        </p:nvSpPr>
        <p:spPr>
          <a:xfrm>
            <a:off x="5873015" y="1577893"/>
            <a:ext cx="493214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PT" sz="1600" b="1" i="0" u="none" strike="noStrike" kern="1200" cap="none" spc="0" normalizeH="0" baseline="0" noProof="0" dirty="0">
                <a:ln>
                  <a:noFill/>
                </a:ln>
                <a:solidFill>
                  <a:srgbClr val="132153"/>
                </a:solidFill>
                <a:effectLst/>
                <a:uLnTx/>
                <a:uFillTx/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Destaque de texto – ALTIA Eddi con negrita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PT" sz="1600" b="0" i="0" u="none" strike="noStrike" kern="1200" cap="none" spc="0" normalizeH="0" baseline="0" noProof="0" dirty="0">
                <a:ln>
                  <a:noFill/>
                </a:ln>
                <a:solidFill>
                  <a:srgbClr val="132153"/>
                </a:solidFill>
                <a:effectLst/>
                <a:uLnTx/>
                <a:uFillTx/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El resto de contenido se usa ALTIA Eddi.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132153"/>
              </a:solidFill>
              <a:effectLst/>
              <a:uLnTx/>
              <a:uFillTx/>
              <a:latin typeface="ALTIA Eddi" panose="020B0000000000020000" pitchFamily="34" charset="0"/>
              <a:ea typeface="ALTIA Eddi" panose="020B0000000000020000" pitchFamily="34" charset="0"/>
              <a:cs typeface="ALTIA Eddi" panose="020B0000000000020000" pitchFamily="34" charset="0"/>
            </a:endParaRPr>
          </a:p>
        </p:txBody>
      </p:sp>
      <p:sp>
        <p:nvSpPr>
          <p:cNvPr id="5" name="TextBox 5">
            <a:extLst>
              <a:ext uri="{FF2B5EF4-FFF2-40B4-BE49-F238E27FC236}">
                <a16:creationId xmlns:a16="http://schemas.microsoft.com/office/drawing/2014/main" id="{59F99E77-93A6-B38F-C481-3EE9DEF1F806}"/>
              </a:ext>
            </a:extLst>
          </p:cNvPr>
          <p:cNvSpPr txBox="1"/>
          <p:nvPr/>
        </p:nvSpPr>
        <p:spPr>
          <a:xfrm>
            <a:off x="8541623" y="4544395"/>
            <a:ext cx="1747998" cy="816249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pt-PT"/>
            </a:defPPr>
            <a:lvl1pPr marL="180018" indent="-180018">
              <a:lnSpc>
                <a:spcPct val="90000"/>
              </a:lnSpc>
              <a:spcBef>
                <a:spcPts val="1200"/>
              </a:spcBef>
              <a:buFont typeface="Cambria" panose="02040503050406030204" pitchFamily="18" charset="0"/>
              <a:buChar char="/"/>
              <a:defRPr sz="1600" b="1">
                <a:solidFill>
                  <a:srgbClr val="0D1427"/>
                </a:solidFill>
                <a:latin typeface="Ubuntu" panose="020B0504030602030204" pitchFamily="34" charset="0"/>
                <a:ea typeface="Roboto" panose="02000000000000000000" pitchFamily="2" charset="0"/>
                <a:cs typeface="Segoe UI" panose="020B0502040204020203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rgbClr val="0092D0"/>
              </a:buClr>
              <a:buSzPct val="100000"/>
              <a:buFont typeface="Cambria" panose="02040503050406030204" pitchFamily="18" charset="0"/>
              <a:buNone/>
              <a:tabLst/>
              <a:defRPr/>
            </a:pPr>
            <a:r>
              <a:rPr kumimoji="0" lang="pt-PT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132153"/>
                </a:solidFill>
                <a:effectLst/>
                <a:uLnTx/>
                <a:uFillTx/>
                <a:latin typeface="ALTIA Eddi Light" panose="020B0000000000020000" pitchFamily="34" charset="0"/>
                <a:ea typeface="ALTIA Eddi Light" panose="020B0000000000020000" pitchFamily="34" charset="0"/>
                <a:cs typeface="ALTIA Eddi Light" panose="020B0000000000020000" pitchFamily="34" charset="0"/>
              </a:rPr>
              <a:t>Lorem</a:t>
            </a:r>
            <a:r>
              <a:rPr kumimoji="0" lang="pt-PT" sz="1000" b="0" i="0" u="none" strike="noStrike" kern="1200" cap="none" spc="0" normalizeH="0" baseline="0" noProof="0" dirty="0">
                <a:ln>
                  <a:noFill/>
                </a:ln>
                <a:solidFill>
                  <a:srgbClr val="132153"/>
                </a:solidFill>
                <a:effectLst/>
                <a:uLnTx/>
                <a:uFillTx/>
                <a:latin typeface="ALTIA Eddi Light" panose="020B0000000000020000" pitchFamily="34" charset="0"/>
                <a:ea typeface="ALTIA Eddi Light" panose="020B0000000000020000" pitchFamily="34" charset="0"/>
                <a:cs typeface="ALTIA Eddi Light" panose="020B0000000000020000" pitchFamily="34" charset="0"/>
              </a:rPr>
              <a:t> </a:t>
            </a:r>
            <a:r>
              <a:rPr kumimoji="0" lang="pt-PT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132153"/>
                </a:solidFill>
                <a:effectLst/>
                <a:uLnTx/>
                <a:uFillTx/>
                <a:latin typeface="ALTIA Eddi Light" panose="020B0000000000020000" pitchFamily="34" charset="0"/>
                <a:ea typeface="ALTIA Eddi Light" panose="020B0000000000020000" pitchFamily="34" charset="0"/>
                <a:cs typeface="ALTIA Eddi Light" panose="020B0000000000020000" pitchFamily="34" charset="0"/>
              </a:rPr>
              <a:t>ipsum</a:t>
            </a:r>
            <a:r>
              <a:rPr kumimoji="0" lang="pt-PT" sz="1000" b="0" i="0" u="none" strike="noStrike" kern="1200" cap="none" spc="0" normalizeH="0" baseline="0" noProof="0" dirty="0">
                <a:ln>
                  <a:noFill/>
                </a:ln>
                <a:solidFill>
                  <a:srgbClr val="132153"/>
                </a:solidFill>
                <a:effectLst/>
                <a:uLnTx/>
                <a:uFillTx/>
                <a:latin typeface="ALTIA Eddi Light" panose="020B0000000000020000" pitchFamily="34" charset="0"/>
                <a:ea typeface="ALTIA Eddi Light" panose="020B0000000000020000" pitchFamily="34" charset="0"/>
                <a:cs typeface="ALTIA Eddi Light" panose="020B0000000000020000" pitchFamily="34" charset="0"/>
              </a:rPr>
              <a:t> </a:t>
            </a:r>
            <a:r>
              <a:rPr kumimoji="0" lang="pt-PT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132153"/>
                </a:solidFill>
                <a:effectLst/>
                <a:uLnTx/>
                <a:uFillTx/>
                <a:latin typeface="ALTIA Eddi Light" panose="020B0000000000020000" pitchFamily="34" charset="0"/>
                <a:ea typeface="ALTIA Eddi Light" panose="020B0000000000020000" pitchFamily="34" charset="0"/>
                <a:cs typeface="ALTIA Eddi Light" panose="020B0000000000020000" pitchFamily="34" charset="0"/>
              </a:rPr>
              <a:t>dolor</a:t>
            </a:r>
            <a:endParaRPr kumimoji="0" lang="pt-PT" sz="1000" b="0" i="0" u="none" strike="noStrike" kern="1200" cap="none" spc="0" normalizeH="0" baseline="0" noProof="0" dirty="0">
              <a:ln>
                <a:noFill/>
              </a:ln>
              <a:solidFill>
                <a:srgbClr val="132153"/>
              </a:solidFill>
              <a:effectLst/>
              <a:uLnTx/>
              <a:uFillTx/>
              <a:latin typeface="ALTIA Eddi Light" panose="020B0000000000020000" pitchFamily="34" charset="0"/>
              <a:ea typeface="ALTIA Eddi Light" panose="020B0000000000020000" pitchFamily="34" charset="0"/>
              <a:cs typeface="ALTIA Eddi Light" panose="020B0000000000020000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rgbClr val="0092D0"/>
              </a:buClr>
              <a:buSzPct val="100000"/>
              <a:buFont typeface="Cambria" panose="02040503050406030204" pitchFamily="18" charset="0"/>
              <a:buNone/>
              <a:tabLst/>
              <a:defRPr/>
            </a:pPr>
            <a:r>
              <a:rPr kumimoji="0" lang="pt-PT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132153"/>
                </a:solidFill>
                <a:effectLst/>
                <a:uLnTx/>
                <a:uFillTx/>
                <a:latin typeface="ALTIA Eddi Light" panose="020B0000000000020000" pitchFamily="34" charset="0"/>
                <a:ea typeface="ALTIA Eddi Light" panose="020B0000000000020000" pitchFamily="34" charset="0"/>
                <a:cs typeface="ALTIA Eddi Light" panose="020B0000000000020000" pitchFamily="34" charset="0"/>
              </a:rPr>
              <a:t>Lorem</a:t>
            </a:r>
            <a:r>
              <a:rPr kumimoji="0" lang="pt-PT" sz="1000" b="0" i="0" u="none" strike="noStrike" kern="1200" cap="none" spc="0" normalizeH="0" baseline="0" noProof="0" dirty="0">
                <a:ln>
                  <a:noFill/>
                </a:ln>
                <a:solidFill>
                  <a:srgbClr val="132153"/>
                </a:solidFill>
                <a:effectLst/>
                <a:uLnTx/>
                <a:uFillTx/>
                <a:latin typeface="ALTIA Eddi Light" panose="020B0000000000020000" pitchFamily="34" charset="0"/>
                <a:ea typeface="ALTIA Eddi Light" panose="020B0000000000020000" pitchFamily="34" charset="0"/>
                <a:cs typeface="ALTIA Eddi Light" panose="020B0000000000020000" pitchFamily="34" charset="0"/>
              </a:rPr>
              <a:t> </a:t>
            </a:r>
            <a:r>
              <a:rPr kumimoji="0" lang="pt-PT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132153"/>
                </a:solidFill>
                <a:effectLst/>
                <a:uLnTx/>
                <a:uFillTx/>
                <a:latin typeface="ALTIA Eddi Light" panose="020B0000000000020000" pitchFamily="34" charset="0"/>
                <a:ea typeface="ALTIA Eddi Light" panose="020B0000000000020000" pitchFamily="34" charset="0"/>
                <a:cs typeface="ALTIA Eddi Light" panose="020B0000000000020000" pitchFamily="34" charset="0"/>
              </a:rPr>
              <a:t>ipsum</a:t>
            </a:r>
            <a:r>
              <a:rPr kumimoji="0" lang="pt-PT" sz="1000" b="0" i="0" u="none" strike="noStrike" kern="1200" cap="none" spc="0" normalizeH="0" baseline="0" noProof="0" dirty="0">
                <a:ln>
                  <a:noFill/>
                </a:ln>
                <a:solidFill>
                  <a:srgbClr val="132153"/>
                </a:solidFill>
                <a:effectLst/>
                <a:uLnTx/>
                <a:uFillTx/>
                <a:latin typeface="ALTIA Eddi Light" panose="020B0000000000020000" pitchFamily="34" charset="0"/>
                <a:ea typeface="ALTIA Eddi Light" panose="020B0000000000020000" pitchFamily="34" charset="0"/>
                <a:cs typeface="ALTIA Eddi Light" panose="020B0000000000020000" pitchFamily="34" charset="0"/>
              </a:rPr>
              <a:t> </a:t>
            </a:r>
            <a:r>
              <a:rPr kumimoji="0" lang="pt-PT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132153"/>
                </a:solidFill>
                <a:effectLst/>
                <a:uLnTx/>
                <a:uFillTx/>
                <a:latin typeface="ALTIA Eddi Light" panose="020B0000000000020000" pitchFamily="34" charset="0"/>
                <a:ea typeface="ALTIA Eddi Light" panose="020B0000000000020000" pitchFamily="34" charset="0"/>
                <a:cs typeface="ALTIA Eddi Light" panose="020B0000000000020000" pitchFamily="34" charset="0"/>
              </a:rPr>
              <a:t>dolor</a:t>
            </a:r>
            <a:r>
              <a:rPr kumimoji="0" lang="pt-PT" sz="1000" b="0" i="0" u="none" strike="noStrike" kern="1200" cap="none" spc="0" normalizeH="0" baseline="0" noProof="0" dirty="0">
                <a:ln>
                  <a:noFill/>
                </a:ln>
                <a:solidFill>
                  <a:srgbClr val="132153"/>
                </a:solidFill>
                <a:effectLst/>
                <a:uLnTx/>
                <a:uFillTx/>
                <a:latin typeface="ALTIA Eddi Light" panose="020B0000000000020000" pitchFamily="34" charset="0"/>
                <a:ea typeface="ALTIA Eddi Light" panose="020B0000000000020000" pitchFamily="34" charset="0"/>
                <a:cs typeface="ALTIA Eddi Light" panose="020B0000000000020000" pitchFamily="34" charset="0"/>
              </a:rPr>
              <a:t> 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132153"/>
              </a:solidFill>
              <a:effectLst/>
              <a:uLnTx/>
              <a:uFillTx/>
              <a:latin typeface="ALTIA Eddi Light" panose="020B0000000000020000" pitchFamily="34" charset="0"/>
              <a:ea typeface="ALTIA Eddi Light" panose="020B0000000000020000" pitchFamily="34" charset="0"/>
              <a:cs typeface="ALTIA Eddi Light" panose="020B0000000000020000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rgbClr val="0092D0"/>
              </a:buClr>
              <a:buSzPct val="100000"/>
              <a:buFont typeface="Cambria" panose="02040503050406030204" pitchFamily="18" charset="0"/>
              <a:buNone/>
              <a:tabLst/>
              <a:defRPr/>
            </a:pPr>
            <a:r>
              <a:rPr kumimoji="0" lang="pt-PT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132153"/>
                </a:solidFill>
                <a:effectLst/>
                <a:uLnTx/>
                <a:uFillTx/>
                <a:latin typeface="ALTIA Eddi Light" panose="020B0000000000020000" pitchFamily="34" charset="0"/>
                <a:ea typeface="ALTIA Eddi Light" panose="020B0000000000020000" pitchFamily="34" charset="0"/>
                <a:cs typeface="ALTIA Eddi Light" panose="020B0000000000020000" pitchFamily="34" charset="0"/>
              </a:rPr>
              <a:t>Lorem</a:t>
            </a:r>
            <a:r>
              <a:rPr kumimoji="0" lang="pt-PT" sz="1000" b="0" i="0" u="none" strike="noStrike" kern="1200" cap="none" spc="0" normalizeH="0" baseline="0" noProof="0" dirty="0">
                <a:ln>
                  <a:noFill/>
                </a:ln>
                <a:solidFill>
                  <a:srgbClr val="132153"/>
                </a:solidFill>
                <a:effectLst/>
                <a:uLnTx/>
                <a:uFillTx/>
                <a:latin typeface="ALTIA Eddi Light" panose="020B0000000000020000" pitchFamily="34" charset="0"/>
                <a:ea typeface="ALTIA Eddi Light" panose="020B0000000000020000" pitchFamily="34" charset="0"/>
                <a:cs typeface="ALTIA Eddi Light" panose="020B0000000000020000" pitchFamily="34" charset="0"/>
              </a:rPr>
              <a:t> </a:t>
            </a:r>
            <a:r>
              <a:rPr kumimoji="0" lang="pt-PT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132153"/>
                </a:solidFill>
                <a:effectLst/>
                <a:uLnTx/>
                <a:uFillTx/>
                <a:latin typeface="ALTIA Eddi Light" panose="020B0000000000020000" pitchFamily="34" charset="0"/>
                <a:ea typeface="ALTIA Eddi Light" panose="020B0000000000020000" pitchFamily="34" charset="0"/>
                <a:cs typeface="ALTIA Eddi Light" panose="020B0000000000020000" pitchFamily="34" charset="0"/>
              </a:rPr>
              <a:t>ipsum</a:t>
            </a:r>
            <a:r>
              <a:rPr kumimoji="0" lang="pt-PT" sz="1000" b="0" i="0" u="none" strike="noStrike" kern="1200" cap="none" spc="0" normalizeH="0" baseline="0" noProof="0" dirty="0">
                <a:ln>
                  <a:noFill/>
                </a:ln>
                <a:solidFill>
                  <a:srgbClr val="132153"/>
                </a:solidFill>
                <a:effectLst/>
                <a:uLnTx/>
                <a:uFillTx/>
                <a:latin typeface="ALTIA Eddi Light" panose="020B0000000000020000" pitchFamily="34" charset="0"/>
                <a:ea typeface="ALTIA Eddi Light" panose="020B0000000000020000" pitchFamily="34" charset="0"/>
                <a:cs typeface="ALTIA Eddi Light" panose="020B0000000000020000" pitchFamily="34" charset="0"/>
              </a:rPr>
              <a:t> </a:t>
            </a:r>
            <a:r>
              <a:rPr kumimoji="0" lang="pt-PT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132153"/>
                </a:solidFill>
                <a:effectLst/>
                <a:uLnTx/>
                <a:uFillTx/>
                <a:latin typeface="ALTIA Eddi Light" panose="020B0000000000020000" pitchFamily="34" charset="0"/>
                <a:ea typeface="ALTIA Eddi Light" panose="020B0000000000020000" pitchFamily="34" charset="0"/>
                <a:cs typeface="ALTIA Eddi Light" panose="020B0000000000020000" pitchFamily="34" charset="0"/>
              </a:rPr>
              <a:t>dolor</a:t>
            </a:r>
            <a:r>
              <a:rPr kumimoji="0" lang="pt-PT" sz="1000" b="0" i="0" u="none" strike="noStrike" kern="1200" cap="none" spc="0" normalizeH="0" baseline="0" noProof="0" dirty="0">
                <a:ln>
                  <a:noFill/>
                </a:ln>
                <a:solidFill>
                  <a:srgbClr val="132153"/>
                </a:solidFill>
                <a:effectLst/>
                <a:uLnTx/>
                <a:uFillTx/>
                <a:latin typeface="ALTIA Eddi Light" panose="020B0000000000020000" pitchFamily="34" charset="0"/>
                <a:ea typeface="ALTIA Eddi Light" panose="020B0000000000020000" pitchFamily="34" charset="0"/>
                <a:cs typeface="ALTIA Eddi Light" panose="020B0000000000020000" pitchFamily="34" charset="0"/>
              </a:rPr>
              <a:t>  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132153"/>
              </a:solidFill>
              <a:effectLst/>
              <a:uLnTx/>
              <a:uFillTx/>
              <a:latin typeface="ALTIA Eddi Light" panose="020B0000000000020000" pitchFamily="34" charset="0"/>
              <a:ea typeface="ALTIA Eddi Light" panose="020B0000000000020000" pitchFamily="34" charset="0"/>
              <a:cs typeface="ALTIA Eddi Light" panose="020B0000000000020000" pitchFamily="34" charset="0"/>
            </a:endParaRPr>
          </a:p>
        </p:txBody>
      </p:sp>
      <p:sp>
        <p:nvSpPr>
          <p:cNvPr id="6" name="TextBox 8">
            <a:extLst>
              <a:ext uri="{FF2B5EF4-FFF2-40B4-BE49-F238E27FC236}">
                <a16:creationId xmlns:a16="http://schemas.microsoft.com/office/drawing/2014/main" id="{C8B5E72D-7913-0A3B-C5B5-2C0EF2F2AD04}"/>
              </a:ext>
            </a:extLst>
          </p:cNvPr>
          <p:cNvSpPr txBox="1"/>
          <p:nvPr/>
        </p:nvSpPr>
        <p:spPr>
          <a:xfrm>
            <a:off x="5873016" y="2872301"/>
            <a:ext cx="4973660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pt-PT"/>
            </a:defPPr>
            <a:lvl1pPr>
              <a:lnSpc>
                <a:spcPct val="90000"/>
              </a:lnSpc>
              <a:defRPr sz="1400" b="1">
                <a:solidFill>
                  <a:srgbClr val="2E2E2E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PT" sz="1200" b="1" i="0" u="none" strike="noStrike" kern="1200" cap="none" spc="0" normalizeH="0" baseline="0" noProof="0" dirty="0">
                <a:ln>
                  <a:noFill/>
                </a:ln>
                <a:solidFill>
                  <a:srgbClr val="132153"/>
                </a:solidFill>
                <a:effectLst/>
                <a:uLnTx/>
                <a:uFillTx/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Cuerpo de texto y destaque de texto </a:t>
            </a:r>
            <a:r>
              <a:rPr kumimoji="0" lang="pt-PT" sz="1200" b="0" i="0" u="none" strike="noStrike" kern="1200" cap="none" spc="0" normalizeH="0" baseline="0" noProof="0" dirty="0">
                <a:ln>
                  <a:noFill/>
                </a:ln>
                <a:solidFill>
                  <a:srgbClr val="132153"/>
                </a:solidFill>
                <a:effectLst/>
                <a:uLnTx/>
                <a:uFillTx/>
                <a:latin typeface="ALTIA Eddi Light" panose="020B0000000000020000" pitchFamily="34" charset="0"/>
                <a:ea typeface="ALTIA Eddi Light" panose="020B0000000000020000" pitchFamily="34" charset="0"/>
                <a:cs typeface="ALTIA Eddi Light" panose="020B0000000000020000" pitchFamily="34" charset="0"/>
              </a:rPr>
              <a:t>Lorem ipsum dolor sit amet, consectetur adipiscing elit. </a:t>
            </a:r>
            <a:r>
              <a:rPr kumimoji="0" lang="pt-PT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132153"/>
                </a:solidFill>
                <a:effectLst/>
                <a:uLnTx/>
                <a:uFillTx/>
                <a:latin typeface="ALTIA Eddi Light" panose="020B0000000000020000" pitchFamily="34" charset="0"/>
                <a:ea typeface="ALTIA Eddi Light" panose="020B0000000000020000" pitchFamily="34" charset="0"/>
                <a:cs typeface="ALTIA Eddi Light" panose="020B0000000000020000" pitchFamily="34" charset="0"/>
              </a:rPr>
              <a:t>Pellentesque</a:t>
            </a:r>
            <a:r>
              <a:rPr kumimoji="0" lang="pt-PT" sz="1200" b="0" i="0" u="none" strike="noStrike" kern="1200" cap="none" spc="0" normalizeH="0" baseline="0" noProof="0" dirty="0">
                <a:ln>
                  <a:noFill/>
                </a:ln>
                <a:solidFill>
                  <a:srgbClr val="132153"/>
                </a:solidFill>
                <a:effectLst/>
                <a:uLnTx/>
                <a:uFillTx/>
                <a:latin typeface="ALTIA Eddi Light" panose="020B0000000000020000" pitchFamily="34" charset="0"/>
                <a:ea typeface="ALTIA Eddi Light" panose="020B0000000000020000" pitchFamily="34" charset="0"/>
                <a:cs typeface="ALTIA Eddi Light" panose="020B0000000000020000" pitchFamily="34" charset="0"/>
              </a:rPr>
              <a:t> non justo </a:t>
            </a:r>
            <a:r>
              <a:rPr kumimoji="0" lang="pt-PT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132153"/>
                </a:solidFill>
                <a:effectLst/>
                <a:uLnTx/>
                <a:uFillTx/>
                <a:latin typeface="ALTIA Eddi Light" panose="020B0000000000020000" pitchFamily="34" charset="0"/>
                <a:ea typeface="ALTIA Eddi Light" panose="020B0000000000020000" pitchFamily="34" charset="0"/>
                <a:cs typeface="ALTIA Eddi Light" panose="020B0000000000020000" pitchFamily="34" charset="0"/>
              </a:rPr>
              <a:t>mollis</a:t>
            </a:r>
            <a:r>
              <a:rPr kumimoji="0" lang="pt-PT" sz="1200" b="0" i="0" u="none" strike="noStrike" kern="1200" cap="none" spc="0" normalizeH="0" baseline="0" noProof="0" dirty="0">
                <a:ln>
                  <a:noFill/>
                </a:ln>
                <a:solidFill>
                  <a:srgbClr val="132153"/>
                </a:solidFill>
                <a:effectLst/>
                <a:uLnTx/>
                <a:uFillTx/>
                <a:latin typeface="ALTIA Eddi Light" panose="020B0000000000020000" pitchFamily="34" charset="0"/>
                <a:ea typeface="ALTIA Eddi Light" panose="020B0000000000020000" pitchFamily="34" charset="0"/>
                <a:cs typeface="ALTIA Eddi Light" panose="020B0000000000020000" pitchFamily="34" charset="0"/>
              </a:rPr>
              <a:t>, </a:t>
            </a:r>
            <a:r>
              <a:rPr kumimoji="0" lang="pt-PT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132153"/>
                </a:solidFill>
                <a:effectLst/>
                <a:uLnTx/>
                <a:uFillTx/>
                <a:latin typeface="ALTIA Eddi Light" panose="020B0000000000020000" pitchFamily="34" charset="0"/>
                <a:ea typeface="ALTIA Eddi Light" panose="020B0000000000020000" pitchFamily="34" charset="0"/>
                <a:cs typeface="ALTIA Eddi Light" panose="020B0000000000020000" pitchFamily="34" charset="0"/>
              </a:rPr>
              <a:t>varius</a:t>
            </a:r>
            <a:r>
              <a:rPr kumimoji="0" lang="pt-PT" sz="1200" b="0" i="0" u="none" strike="noStrike" kern="1200" cap="none" spc="0" normalizeH="0" baseline="0" noProof="0" dirty="0">
                <a:ln>
                  <a:noFill/>
                </a:ln>
                <a:solidFill>
                  <a:srgbClr val="132153"/>
                </a:solidFill>
                <a:effectLst/>
                <a:uLnTx/>
                <a:uFillTx/>
                <a:latin typeface="ALTIA Eddi Light" panose="020B0000000000020000" pitchFamily="34" charset="0"/>
                <a:ea typeface="ALTIA Eddi Light" panose="020B0000000000020000" pitchFamily="34" charset="0"/>
                <a:cs typeface="ALTIA Eddi Light" panose="020B0000000000020000" pitchFamily="34" charset="0"/>
              </a:rPr>
              <a:t> </a:t>
            </a:r>
            <a:r>
              <a:rPr kumimoji="0" lang="pt-PT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132153"/>
                </a:solidFill>
                <a:effectLst/>
                <a:uLnTx/>
                <a:uFillTx/>
                <a:latin typeface="ALTIA Eddi Light" panose="020B0000000000020000" pitchFamily="34" charset="0"/>
                <a:ea typeface="ALTIA Eddi Light" panose="020B0000000000020000" pitchFamily="34" charset="0"/>
                <a:cs typeface="ALTIA Eddi Light" panose="020B0000000000020000" pitchFamily="34" charset="0"/>
              </a:rPr>
              <a:t>orci</a:t>
            </a:r>
            <a:r>
              <a:rPr kumimoji="0" lang="pt-PT" sz="1200" b="0" i="0" u="none" strike="noStrike" kern="1200" cap="none" spc="0" normalizeH="0" baseline="0" noProof="0" dirty="0">
                <a:ln>
                  <a:noFill/>
                </a:ln>
                <a:solidFill>
                  <a:srgbClr val="132153"/>
                </a:solidFill>
                <a:effectLst/>
                <a:uLnTx/>
                <a:uFillTx/>
                <a:latin typeface="ALTIA Eddi Light" panose="020B0000000000020000" pitchFamily="34" charset="0"/>
                <a:ea typeface="ALTIA Eddi Light" panose="020B0000000000020000" pitchFamily="34" charset="0"/>
                <a:cs typeface="ALTIA Eddi Light" panose="020B0000000000020000" pitchFamily="34" charset="0"/>
              </a:rPr>
              <a:t> non, </a:t>
            </a:r>
            <a:r>
              <a:rPr kumimoji="0" lang="pt-PT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132153"/>
                </a:solidFill>
                <a:effectLst/>
                <a:uLnTx/>
                <a:uFillTx/>
                <a:latin typeface="ALTIA Eddi Light" panose="020B0000000000020000" pitchFamily="34" charset="0"/>
                <a:ea typeface="ALTIA Eddi Light" panose="020B0000000000020000" pitchFamily="34" charset="0"/>
                <a:cs typeface="ALTIA Eddi Light" panose="020B0000000000020000" pitchFamily="34" charset="0"/>
              </a:rPr>
              <a:t>auctor</a:t>
            </a:r>
            <a:r>
              <a:rPr kumimoji="0" lang="pt-PT" sz="1200" b="0" i="0" u="none" strike="noStrike" kern="1200" cap="none" spc="0" normalizeH="0" baseline="0" noProof="0" dirty="0">
                <a:ln>
                  <a:noFill/>
                </a:ln>
                <a:solidFill>
                  <a:srgbClr val="132153"/>
                </a:solidFill>
                <a:effectLst/>
                <a:uLnTx/>
                <a:uFillTx/>
                <a:latin typeface="ALTIA Eddi Light" panose="020B0000000000020000" pitchFamily="34" charset="0"/>
                <a:ea typeface="ALTIA Eddi Light" panose="020B0000000000020000" pitchFamily="34" charset="0"/>
                <a:cs typeface="ALTIA Eddi Light" panose="020B0000000000020000" pitchFamily="34" charset="0"/>
              </a:rPr>
              <a:t> </a:t>
            </a:r>
            <a:r>
              <a:rPr kumimoji="0" lang="pt-PT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132153"/>
                </a:solidFill>
                <a:effectLst/>
                <a:uLnTx/>
                <a:uFillTx/>
                <a:latin typeface="ALTIA Eddi Light" panose="020B0000000000020000" pitchFamily="34" charset="0"/>
                <a:ea typeface="ALTIA Eddi Light" panose="020B0000000000020000" pitchFamily="34" charset="0"/>
                <a:cs typeface="ALTIA Eddi Light" panose="020B0000000000020000" pitchFamily="34" charset="0"/>
              </a:rPr>
              <a:t>dolor</a:t>
            </a:r>
            <a:r>
              <a:rPr kumimoji="0" lang="pt-PT" sz="1200" b="0" i="0" u="none" strike="noStrike" kern="1200" cap="none" spc="0" normalizeH="0" baseline="0" noProof="0" dirty="0">
                <a:ln>
                  <a:noFill/>
                </a:ln>
                <a:solidFill>
                  <a:srgbClr val="132153"/>
                </a:solidFill>
                <a:effectLst/>
                <a:uLnTx/>
                <a:uFillTx/>
                <a:latin typeface="ALTIA Eddi Light" panose="020B0000000000020000" pitchFamily="34" charset="0"/>
                <a:ea typeface="ALTIA Eddi Light" panose="020B0000000000020000" pitchFamily="34" charset="0"/>
                <a:cs typeface="ALTIA Eddi Light" panose="020B0000000000020000" pitchFamily="34" charset="0"/>
              </a:rPr>
              <a:t>. </a:t>
            </a:r>
            <a:r>
              <a:rPr kumimoji="0" lang="pt-PT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132153"/>
                </a:solidFill>
                <a:effectLst/>
                <a:uLnTx/>
                <a:uFillTx/>
                <a:latin typeface="ALTIA Eddi Light" panose="020B0000000000020000" pitchFamily="34" charset="0"/>
                <a:ea typeface="ALTIA Eddi Light" panose="020B0000000000020000" pitchFamily="34" charset="0"/>
                <a:cs typeface="ALTIA Eddi Light" panose="020B0000000000020000" pitchFamily="34" charset="0"/>
              </a:rPr>
              <a:t>Donec</a:t>
            </a:r>
            <a:r>
              <a:rPr kumimoji="0" lang="pt-PT" sz="1200" b="0" i="0" u="none" strike="noStrike" kern="1200" cap="none" spc="0" normalizeH="0" baseline="0" noProof="0" dirty="0">
                <a:ln>
                  <a:noFill/>
                </a:ln>
                <a:solidFill>
                  <a:srgbClr val="132153"/>
                </a:solidFill>
                <a:effectLst/>
                <a:uLnTx/>
                <a:uFillTx/>
                <a:latin typeface="ALTIA Eddi Light" panose="020B0000000000020000" pitchFamily="34" charset="0"/>
                <a:ea typeface="ALTIA Eddi Light" panose="020B0000000000020000" pitchFamily="34" charset="0"/>
                <a:cs typeface="ALTIA Eddi Light" panose="020B0000000000020000" pitchFamily="34" charset="0"/>
              </a:rPr>
              <a:t> quis </a:t>
            </a:r>
            <a:r>
              <a:rPr kumimoji="0" lang="pt-PT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132153"/>
                </a:solidFill>
                <a:effectLst/>
                <a:uLnTx/>
                <a:uFillTx/>
                <a:latin typeface="ALTIA Eddi Light" panose="020B0000000000020000" pitchFamily="34" charset="0"/>
                <a:ea typeface="ALTIA Eddi Light" panose="020B0000000000020000" pitchFamily="34" charset="0"/>
                <a:cs typeface="ALTIA Eddi Light" panose="020B0000000000020000" pitchFamily="34" charset="0"/>
              </a:rPr>
              <a:t>volutpat</a:t>
            </a:r>
            <a:r>
              <a:rPr kumimoji="0" lang="pt-PT" sz="1200" b="0" i="0" u="none" strike="noStrike" kern="1200" cap="none" spc="0" normalizeH="0" baseline="0" noProof="0" dirty="0">
                <a:ln>
                  <a:noFill/>
                </a:ln>
                <a:solidFill>
                  <a:srgbClr val="132153"/>
                </a:solidFill>
                <a:effectLst/>
                <a:uLnTx/>
                <a:uFillTx/>
                <a:latin typeface="ALTIA Eddi Light" panose="020B0000000000020000" pitchFamily="34" charset="0"/>
                <a:ea typeface="ALTIA Eddi Light" panose="020B0000000000020000" pitchFamily="34" charset="0"/>
                <a:cs typeface="ALTIA Eddi Light" panose="020B0000000000020000" pitchFamily="34" charset="0"/>
              </a:rPr>
              <a:t> </a:t>
            </a:r>
            <a:r>
              <a:rPr kumimoji="0" lang="pt-PT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132153"/>
                </a:solidFill>
                <a:effectLst/>
                <a:uLnTx/>
                <a:uFillTx/>
                <a:latin typeface="ALTIA Eddi Light" panose="020B0000000000020000" pitchFamily="34" charset="0"/>
                <a:ea typeface="ALTIA Eddi Light" panose="020B0000000000020000" pitchFamily="34" charset="0"/>
                <a:cs typeface="ALTIA Eddi Light" panose="020B0000000000020000" pitchFamily="34" charset="0"/>
              </a:rPr>
              <a:t>felis</a:t>
            </a:r>
            <a:r>
              <a:rPr kumimoji="0" lang="pt-PT" sz="1200" b="0" i="0" u="none" strike="noStrike" kern="1200" cap="none" spc="0" normalizeH="0" baseline="0" noProof="0" dirty="0">
                <a:ln>
                  <a:noFill/>
                </a:ln>
                <a:solidFill>
                  <a:srgbClr val="132153"/>
                </a:solidFill>
                <a:effectLst/>
                <a:uLnTx/>
                <a:uFillTx/>
                <a:latin typeface="ALTIA Eddi Light" panose="020B0000000000020000" pitchFamily="34" charset="0"/>
                <a:ea typeface="ALTIA Eddi Light" panose="020B0000000000020000" pitchFamily="34" charset="0"/>
                <a:cs typeface="ALTIA Eddi Light" panose="020B0000000000020000" pitchFamily="34" charset="0"/>
              </a:rPr>
              <a:t>. </a:t>
            </a:r>
            <a:r>
              <a:rPr kumimoji="0" lang="pt-PT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132153"/>
                </a:solidFill>
                <a:effectLst/>
                <a:uLnTx/>
                <a:uFillTx/>
                <a:latin typeface="ALTIA Eddi Light" panose="020B0000000000020000" pitchFamily="34" charset="0"/>
                <a:ea typeface="ALTIA Eddi Light" panose="020B0000000000020000" pitchFamily="34" charset="0"/>
                <a:cs typeface="ALTIA Eddi Light" panose="020B0000000000020000" pitchFamily="34" charset="0"/>
              </a:rPr>
              <a:t>Donec</a:t>
            </a:r>
            <a:r>
              <a:rPr kumimoji="0" lang="pt-PT" sz="1200" b="0" i="0" u="none" strike="noStrike" kern="1200" cap="none" spc="0" normalizeH="0" baseline="0" noProof="0" dirty="0">
                <a:ln>
                  <a:noFill/>
                </a:ln>
                <a:solidFill>
                  <a:srgbClr val="132153"/>
                </a:solidFill>
                <a:effectLst/>
                <a:uLnTx/>
                <a:uFillTx/>
                <a:latin typeface="ALTIA Eddi Light" panose="020B0000000000020000" pitchFamily="34" charset="0"/>
                <a:ea typeface="ALTIA Eddi Light" panose="020B0000000000020000" pitchFamily="34" charset="0"/>
                <a:cs typeface="ALTIA Eddi Light" panose="020B0000000000020000" pitchFamily="34" charset="0"/>
              </a:rPr>
              <a:t> vitae odio </a:t>
            </a:r>
            <a:r>
              <a:rPr kumimoji="0" lang="pt-PT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132153"/>
                </a:solidFill>
                <a:effectLst/>
                <a:uLnTx/>
                <a:uFillTx/>
                <a:latin typeface="ALTIA Eddi Light" panose="020B0000000000020000" pitchFamily="34" charset="0"/>
                <a:ea typeface="ALTIA Eddi Light" panose="020B0000000000020000" pitchFamily="34" charset="0"/>
                <a:cs typeface="ALTIA Eddi Light" panose="020B0000000000020000" pitchFamily="34" charset="0"/>
              </a:rPr>
              <a:t>vel</a:t>
            </a:r>
            <a:r>
              <a:rPr kumimoji="0" lang="pt-PT" sz="1200" b="0" i="0" u="none" strike="noStrike" kern="1200" cap="none" spc="0" normalizeH="0" baseline="0" noProof="0" dirty="0">
                <a:ln>
                  <a:noFill/>
                </a:ln>
                <a:solidFill>
                  <a:srgbClr val="132153"/>
                </a:solidFill>
                <a:effectLst/>
                <a:uLnTx/>
                <a:uFillTx/>
                <a:latin typeface="ALTIA Eddi Light" panose="020B0000000000020000" pitchFamily="34" charset="0"/>
                <a:ea typeface="ALTIA Eddi Light" panose="020B0000000000020000" pitchFamily="34" charset="0"/>
                <a:cs typeface="ALTIA Eddi Light" panose="020B0000000000020000" pitchFamily="34" charset="0"/>
              </a:rPr>
              <a:t> </a:t>
            </a:r>
            <a:r>
              <a:rPr kumimoji="0" lang="pt-PT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132153"/>
                </a:solidFill>
                <a:effectLst/>
                <a:uLnTx/>
                <a:uFillTx/>
                <a:latin typeface="ALTIA Eddi Light" panose="020B0000000000020000" pitchFamily="34" charset="0"/>
                <a:ea typeface="ALTIA Eddi Light" panose="020B0000000000020000" pitchFamily="34" charset="0"/>
                <a:cs typeface="ALTIA Eddi Light" panose="020B0000000000020000" pitchFamily="34" charset="0"/>
              </a:rPr>
              <a:t>blandit</a:t>
            </a:r>
            <a:r>
              <a:rPr kumimoji="0" lang="pt-PT" sz="1200" b="0" i="0" u="none" strike="noStrike" kern="1200" cap="none" spc="0" normalizeH="0" baseline="0" noProof="0" dirty="0">
                <a:ln>
                  <a:noFill/>
                </a:ln>
                <a:solidFill>
                  <a:srgbClr val="132153"/>
                </a:solidFill>
                <a:effectLst/>
                <a:uLnTx/>
                <a:uFillTx/>
                <a:latin typeface="ALTIA Eddi Light" panose="020B0000000000020000" pitchFamily="34" charset="0"/>
                <a:ea typeface="ALTIA Eddi Light" panose="020B0000000000020000" pitchFamily="34" charset="0"/>
                <a:cs typeface="ALTIA Eddi Light" panose="020B0000000000020000" pitchFamily="34" charset="0"/>
              </a:rPr>
              <a:t> porta. </a:t>
            </a:r>
            <a:r>
              <a:rPr kumimoji="0" lang="pt-PT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132153"/>
                </a:solidFill>
                <a:effectLst/>
                <a:uLnTx/>
                <a:uFillTx/>
                <a:latin typeface="ALTIA Eddi Light" panose="020B0000000000020000" pitchFamily="34" charset="0"/>
                <a:ea typeface="ALTIA Eddi Light" panose="020B0000000000020000" pitchFamily="34" charset="0"/>
                <a:cs typeface="ALTIA Eddi Light" panose="020B0000000000020000" pitchFamily="34" charset="0"/>
              </a:rPr>
              <a:t>Donec</a:t>
            </a:r>
            <a:r>
              <a:rPr kumimoji="0" lang="pt-PT" sz="1200" b="0" i="0" u="none" strike="noStrike" kern="1200" cap="none" spc="0" normalizeH="0" baseline="0" noProof="0" dirty="0">
                <a:ln>
                  <a:noFill/>
                </a:ln>
                <a:solidFill>
                  <a:srgbClr val="132153"/>
                </a:solidFill>
                <a:effectLst/>
                <a:uLnTx/>
                <a:uFillTx/>
                <a:latin typeface="ALTIA Eddi Light" panose="020B0000000000020000" pitchFamily="34" charset="0"/>
                <a:ea typeface="ALTIA Eddi Light" panose="020B0000000000020000" pitchFamily="34" charset="0"/>
                <a:cs typeface="ALTIA Eddi Light" panose="020B0000000000020000" pitchFamily="34" charset="0"/>
              </a:rPr>
              <a:t> id </a:t>
            </a:r>
            <a:r>
              <a:rPr kumimoji="0" lang="pt-PT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132153"/>
                </a:solidFill>
                <a:effectLst/>
                <a:uLnTx/>
                <a:uFillTx/>
                <a:latin typeface="ALTIA Eddi Light" panose="020B0000000000020000" pitchFamily="34" charset="0"/>
                <a:ea typeface="ALTIA Eddi Light" panose="020B0000000000020000" pitchFamily="34" charset="0"/>
                <a:cs typeface="ALTIA Eddi Light" panose="020B0000000000020000" pitchFamily="34" charset="0"/>
              </a:rPr>
              <a:t>nulla</a:t>
            </a:r>
            <a:r>
              <a:rPr kumimoji="0" lang="pt-PT" sz="1200" b="0" i="0" u="none" strike="noStrike" kern="1200" cap="none" spc="0" normalizeH="0" baseline="0" noProof="0" dirty="0">
                <a:ln>
                  <a:noFill/>
                </a:ln>
                <a:solidFill>
                  <a:srgbClr val="132153"/>
                </a:solidFill>
                <a:effectLst/>
                <a:uLnTx/>
                <a:uFillTx/>
                <a:latin typeface="ALTIA Eddi Light" panose="020B0000000000020000" pitchFamily="34" charset="0"/>
                <a:ea typeface="ALTIA Eddi Light" panose="020B0000000000020000" pitchFamily="34" charset="0"/>
                <a:cs typeface="ALTIA Eddi Light" panose="020B0000000000020000" pitchFamily="34" charset="0"/>
              </a:rPr>
              <a:t> </a:t>
            </a:r>
            <a:r>
              <a:rPr kumimoji="0" lang="pt-PT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132153"/>
                </a:solidFill>
                <a:effectLst/>
                <a:uLnTx/>
                <a:uFillTx/>
                <a:latin typeface="ALTIA Eddi Light" panose="020B0000000000020000" pitchFamily="34" charset="0"/>
                <a:ea typeface="ALTIA Eddi Light" panose="020B0000000000020000" pitchFamily="34" charset="0"/>
                <a:cs typeface="ALTIA Eddi Light" panose="020B0000000000020000" pitchFamily="34" charset="0"/>
              </a:rPr>
              <a:t>vel</a:t>
            </a:r>
            <a:r>
              <a:rPr kumimoji="0" lang="pt-PT" sz="1200" b="0" i="0" u="none" strike="noStrike" kern="1200" cap="none" spc="0" normalizeH="0" baseline="0" noProof="0" dirty="0">
                <a:ln>
                  <a:noFill/>
                </a:ln>
                <a:solidFill>
                  <a:srgbClr val="132153"/>
                </a:solidFill>
                <a:effectLst/>
                <a:uLnTx/>
                <a:uFillTx/>
                <a:latin typeface="ALTIA Eddi Light" panose="020B0000000000020000" pitchFamily="34" charset="0"/>
                <a:ea typeface="ALTIA Eddi Light" panose="020B0000000000020000" pitchFamily="34" charset="0"/>
                <a:cs typeface="ALTIA Eddi Light" panose="020B0000000000020000" pitchFamily="34" charset="0"/>
              </a:rPr>
              <a:t> libero </a:t>
            </a:r>
            <a:r>
              <a:rPr kumimoji="0" lang="pt-PT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132153"/>
                </a:solidFill>
                <a:effectLst/>
                <a:uLnTx/>
                <a:uFillTx/>
                <a:latin typeface="ALTIA Eddi Light" panose="020B0000000000020000" pitchFamily="34" charset="0"/>
                <a:ea typeface="ALTIA Eddi Light" panose="020B0000000000020000" pitchFamily="34" charset="0"/>
                <a:cs typeface="ALTIA Eddi Light" panose="020B0000000000020000" pitchFamily="34" charset="0"/>
              </a:rPr>
              <a:t>suscipit</a:t>
            </a:r>
            <a:r>
              <a:rPr kumimoji="0" lang="pt-PT" sz="1200" b="0" i="0" u="none" strike="noStrike" kern="1200" cap="none" spc="0" normalizeH="0" baseline="0" noProof="0" dirty="0">
                <a:ln>
                  <a:noFill/>
                </a:ln>
                <a:solidFill>
                  <a:srgbClr val="132153"/>
                </a:solidFill>
                <a:effectLst/>
                <a:uLnTx/>
                <a:uFillTx/>
                <a:latin typeface="ALTIA Eddi Light" panose="020B0000000000020000" pitchFamily="34" charset="0"/>
                <a:ea typeface="ALTIA Eddi Light" panose="020B0000000000020000" pitchFamily="34" charset="0"/>
                <a:cs typeface="ALTIA Eddi Light" panose="020B0000000000020000" pitchFamily="34" charset="0"/>
              </a:rPr>
              <a:t> </a:t>
            </a:r>
            <a:r>
              <a:rPr kumimoji="0" lang="pt-PT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132153"/>
                </a:solidFill>
                <a:effectLst/>
                <a:uLnTx/>
                <a:uFillTx/>
                <a:latin typeface="ALTIA Eddi Light" panose="020B0000000000020000" pitchFamily="34" charset="0"/>
                <a:ea typeface="ALTIA Eddi Light" panose="020B0000000000020000" pitchFamily="34" charset="0"/>
                <a:cs typeface="ALTIA Eddi Light" panose="020B0000000000020000" pitchFamily="34" charset="0"/>
              </a:rPr>
              <a:t>venenatis</a:t>
            </a:r>
            <a:r>
              <a:rPr kumimoji="0" lang="pt-PT" sz="1200" b="0" i="0" u="none" strike="noStrike" kern="1200" cap="none" spc="0" normalizeH="0" baseline="0" noProof="0" dirty="0">
                <a:ln>
                  <a:noFill/>
                </a:ln>
                <a:solidFill>
                  <a:srgbClr val="132153"/>
                </a:solidFill>
                <a:effectLst/>
                <a:uLnTx/>
                <a:uFillTx/>
                <a:latin typeface="ALTIA Eddi Light" panose="020B0000000000020000" pitchFamily="34" charset="0"/>
                <a:ea typeface="ALTIA Eddi Light" panose="020B0000000000020000" pitchFamily="34" charset="0"/>
                <a:cs typeface="ALTIA Eddi Light" panose="020B0000000000020000" pitchFamily="34" charset="0"/>
              </a:rPr>
              <a:t>. </a:t>
            </a:r>
            <a:r>
              <a:rPr kumimoji="0" lang="pt-PT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132153"/>
                </a:solidFill>
                <a:effectLst/>
                <a:uLnTx/>
                <a:uFillTx/>
                <a:latin typeface="ALTIA Eddi Light" panose="020B0000000000020000" pitchFamily="34" charset="0"/>
                <a:ea typeface="ALTIA Eddi Light" panose="020B0000000000020000" pitchFamily="34" charset="0"/>
                <a:cs typeface="ALTIA Eddi Light" panose="020B0000000000020000" pitchFamily="34" charset="0"/>
              </a:rPr>
              <a:t>Sed</a:t>
            </a:r>
            <a:r>
              <a:rPr kumimoji="0" lang="pt-PT" sz="1200" b="0" i="0" u="none" strike="noStrike" kern="1200" cap="none" spc="0" normalizeH="0" baseline="0" noProof="0" dirty="0">
                <a:ln>
                  <a:noFill/>
                </a:ln>
                <a:solidFill>
                  <a:srgbClr val="132153"/>
                </a:solidFill>
                <a:effectLst/>
                <a:uLnTx/>
                <a:uFillTx/>
                <a:latin typeface="ALTIA Eddi Light" panose="020B0000000000020000" pitchFamily="34" charset="0"/>
                <a:ea typeface="ALTIA Eddi Light" panose="020B0000000000020000" pitchFamily="34" charset="0"/>
                <a:cs typeface="ALTIA Eddi Light" panose="020B0000000000020000" pitchFamily="34" charset="0"/>
              </a:rPr>
              <a:t> in </a:t>
            </a:r>
            <a:r>
              <a:rPr kumimoji="0" lang="pt-PT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132153"/>
                </a:solidFill>
                <a:effectLst/>
                <a:uLnTx/>
                <a:uFillTx/>
                <a:latin typeface="ALTIA Eddi Light" panose="020B0000000000020000" pitchFamily="34" charset="0"/>
                <a:ea typeface="ALTIA Eddi Light" panose="020B0000000000020000" pitchFamily="34" charset="0"/>
                <a:cs typeface="ALTIA Eddi Light" panose="020B0000000000020000" pitchFamily="34" charset="0"/>
              </a:rPr>
              <a:t>ultricies</a:t>
            </a:r>
            <a:r>
              <a:rPr kumimoji="0" lang="pt-PT" sz="1200" b="0" i="0" u="none" strike="noStrike" kern="1200" cap="none" spc="0" normalizeH="0" baseline="0" noProof="0" dirty="0">
                <a:ln>
                  <a:noFill/>
                </a:ln>
                <a:solidFill>
                  <a:srgbClr val="132153"/>
                </a:solidFill>
                <a:effectLst/>
                <a:uLnTx/>
                <a:uFillTx/>
                <a:latin typeface="ALTIA Eddi Light" panose="020B0000000000020000" pitchFamily="34" charset="0"/>
                <a:ea typeface="ALTIA Eddi Light" panose="020B0000000000020000" pitchFamily="34" charset="0"/>
                <a:cs typeface="ALTIA Eddi Light" panose="020B0000000000020000" pitchFamily="34" charset="0"/>
              </a:rPr>
              <a:t> </a:t>
            </a:r>
            <a:r>
              <a:rPr kumimoji="0" lang="pt-PT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132153"/>
                </a:solidFill>
                <a:effectLst/>
                <a:uLnTx/>
                <a:uFillTx/>
                <a:latin typeface="ALTIA Eddi Light" panose="020B0000000000020000" pitchFamily="34" charset="0"/>
                <a:ea typeface="ALTIA Eddi Light" panose="020B0000000000020000" pitchFamily="34" charset="0"/>
                <a:cs typeface="ALTIA Eddi Light" panose="020B0000000000020000" pitchFamily="34" charset="0"/>
              </a:rPr>
              <a:t>nibh</a:t>
            </a:r>
            <a:r>
              <a:rPr kumimoji="0" lang="pt-PT" sz="1200" b="0" i="0" u="none" strike="noStrike" kern="1200" cap="none" spc="0" normalizeH="0" baseline="0" noProof="0" dirty="0">
                <a:ln>
                  <a:noFill/>
                </a:ln>
                <a:solidFill>
                  <a:srgbClr val="132153"/>
                </a:solidFill>
                <a:effectLst/>
                <a:uLnTx/>
                <a:uFillTx/>
                <a:latin typeface="ALTIA Eddi Light" panose="020B0000000000020000" pitchFamily="34" charset="0"/>
                <a:ea typeface="ALTIA Eddi Light" panose="020B0000000000020000" pitchFamily="34" charset="0"/>
                <a:cs typeface="ALTIA Eddi Light" panose="020B0000000000020000" pitchFamily="34" charset="0"/>
              </a:rPr>
              <a:t>, vitae porta libero. </a:t>
            </a:r>
            <a:r>
              <a:rPr kumimoji="0" lang="pt-PT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132153"/>
                </a:solidFill>
                <a:effectLst/>
                <a:uLnTx/>
                <a:uFillTx/>
                <a:latin typeface="ALTIA Eddi Light" panose="020B0000000000020000" pitchFamily="34" charset="0"/>
                <a:ea typeface="ALTIA Eddi Light" panose="020B0000000000020000" pitchFamily="34" charset="0"/>
                <a:cs typeface="ALTIA Eddi Light" panose="020B0000000000020000" pitchFamily="34" charset="0"/>
              </a:rPr>
              <a:t>Etiam</a:t>
            </a:r>
            <a:r>
              <a:rPr kumimoji="0" lang="pt-PT" sz="1200" b="0" i="0" u="none" strike="noStrike" kern="1200" cap="none" spc="0" normalizeH="0" baseline="0" noProof="0" dirty="0">
                <a:ln>
                  <a:noFill/>
                </a:ln>
                <a:solidFill>
                  <a:srgbClr val="132153"/>
                </a:solidFill>
                <a:effectLst/>
                <a:uLnTx/>
                <a:uFillTx/>
                <a:latin typeface="ALTIA Eddi Light" panose="020B0000000000020000" pitchFamily="34" charset="0"/>
                <a:ea typeface="ALTIA Eddi Light" panose="020B0000000000020000" pitchFamily="34" charset="0"/>
                <a:cs typeface="ALTIA Eddi Light" panose="020B0000000000020000" pitchFamily="34" charset="0"/>
              </a:rPr>
              <a:t> </a:t>
            </a:r>
            <a:r>
              <a:rPr kumimoji="0" lang="pt-PT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132153"/>
                </a:solidFill>
                <a:effectLst/>
                <a:uLnTx/>
                <a:uFillTx/>
                <a:latin typeface="ALTIA Eddi Light" panose="020B0000000000020000" pitchFamily="34" charset="0"/>
                <a:ea typeface="ALTIA Eddi Light" panose="020B0000000000020000" pitchFamily="34" charset="0"/>
                <a:cs typeface="ALTIA Eddi Light" panose="020B0000000000020000" pitchFamily="34" charset="0"/>
              </a:rPr>
              <a:t>finibus</a:t>
            </a:r>
            <a:r>
              <a:rPr kumimoji="0" lang="pt-PT" sz="1200" b="0" i="0" u="none" strike="noStrike" kern="1200" cap="none" spc="0" normalizeH="0" baseline="0" noProof="0" dirty="0">
                <a:ln>
                  <a:noFill/>
                </a:ln>
                <a:solidFill>
                  <a:srgbClr val="132153"/>
                </a:solidFill>
                <a:effectLst/>
                <a:uLnTx/>
                <a:uFillTx/>
                <a:latin typeface="ALTIA Eddi Light" panose="020B0000000000020000" pitchFamily="34" charset="0"/>
                <a:ea typeface="ALTIA Eddi Light" panose="020B0000000000020000" pitchFamily="34" charset="0"/>
                <a:cs typeface="ALTIA Eddi Light" panose="020B0000000000020000" pitchFamily="34" charset="0"/>
              </a:rPr>
              <a:t> </a:t>
            </a:r>
            <a:r>
              <a:rPr kumimoji="0" lang="pt-PT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132153"/>
                </a:solidFill>
                <a:effectLst/>
                <a:uLnTx/>
                <a:uFillTx/>
                <a:latin typeface="ALTIA Eddi Light" panose="020B0000000000020000" pitchFamily="34" charset="0"/>
                <a:ea typeface="ALTIA Eddi Light" panose="020B0000000000020000" pitchFamily="34" charset="0"/>
                <a:cs typeface="ALTIA Eddi Light" panose="020B0000000000020000" pitchFamily="34" charset="0"/>
              </a:rPr>
              <a:t>vel</a:t>
            </a:r>
            <a:r>
              <a:rPr kumimoji="0" lang="pt-PT" sz="1200" b="0" i="0" u="none" strike="noStrike" kern="1200" cap="none" spc="0" normalizeH="0" baseline="0" noProof="0" dirty="0">
                <a:ln>
                  <a:noFill/>
                </a:ln>
                <a:solidFill>
                  <a:srgbClr val="132153"/>
                </a:solidFill>
                <a:effectLst/>
                <a:uLnTx/>
                <a:uFillTx/>
                <a:latin typeface="ALTIA Eddi Light" panose="020B0000000000020000" pitchFamily="34" charset="0"/>
                <a:ea typeface="ALTIA Eddi Light" panose="020B0000000000020000" pitchFamily="34" charset="0"/>
                <a:cs typeface="ALTIA Eddi Light" panose="020B0000000000020000" pitchFamily="34" charset="0"/>
              </a:rPr>
              <a:t> augue id.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132153"/>
              </a:solidFill>
              <a:effectLst/>
              <a:uLnTx/>
              <a:uFillTx/>
              <a:latin typeface="ALTIA Eddi Light" panose="020B0000000000020000" pitchFamily="34" charset="0"/>
              <a:ea typeface="ALTIA Eddi Light" panose="020B0000000000020000" pitchFamily="34" charset="0"/>
              <a:cs typeface="ALTIA Eddi Light" panose="020B0000000000020000" pitchFamily="34" charset="0"/>
            </a:endParaRPr>
          </a:p>
        </p:txBody>
      </p:sp>
      <p:sp>
        <p:nvSpPr>
          <p:cNvPr id="7" name="TextBox 9">
            <a:extLst>
              <a:ext uri="{FF2B5EF4-FFF2-40B4-BE49-F238E27FC236}">
                <a16:creationId xmlns:a16="http://schemas.microsoft.com/office/drawing/2014/main" id="{91718AD5-D758-11AB-6ACE-96162FE294A8}"/>
              </a:ext>
            </a:extLst>
          </p:cNvPr>
          <p:cNvSpPr txBox="1"/>
          <p:nvPr/>
        </p:nvSpPr>
        <p:spPr>
          <a:xfrm>
            <a:off x="5840183" y="4684095"/>
            <a:ext cx="2417992" cy="105240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pt-PT"/>
            </a:defPPr>
            <a:lvl1pPr>
              <a:lnSpc>
                <a:spcPct val="85000"/>
              </a:lnSpc>
              <a:defRPr sz="6000" b="1">
                <a:gradFill flip="none" rotWithShape="1">
                  <a:gsLst>
                    <a:gs pos="0">
                      <a:srgbClr val="00F0FB"/>
                    </a:gs>
                    <a:gs pos="44000">
                      <a:srgbClr val="0087B0"/>
                    </a:gs>
                    <a:gs pos="100000">
                      <a:srgbClr val="00275E"/>
                    </a:gs>
                  </a:gsLst>
                  <a:lin ang="5400000" scaled="1"/>
                  <a:tileRect/>
                </a:gra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PT" sz="7200" b="0" i="0" u="none" strike="noStrike" kern="1200" cap="none" spc="0" normalizeH="0" baseline="0" noProof="0" dirty="0">
                <a:ln>
                  <a:noFill/>
                </a:ln>
                <a:solidFill>
                  <a:srgbClr val="184BFF"/>
                </a:solidFill>
                <a:effectLst/>
                <a:uLnTx/>
                <a:uFillTx/>
                <a:latin typeface="ALTIA Eddi Medium" panose="020B0000000000020000" pitchFamily="34" charset="0"/>
                <a:ea typeface="ALTIA Eddi Medium" panose="020B0000000000020000" pitchFamily="34" charset="0"/>
                <a:cs typeface="ALTIA Eddi Medium" panose="020B0000000000020000" pitchFamily="34" charset="0"/>
              </a:rPr>
              <a:t>74</a:t>
            </a:r>
            <a:r>
              <a:rPr kumimoji="0" lang="pt-PT" sz="7200" b="0" i="0" u="none" strike="noStrike" kern="1200" cap="none" spc="0" normalizeH="0" baseline="30000" noProof="0" dirty="0">
                <a:ln>
                  <a:noFill/>
                </a:ln>
                <a:solidFill>
                  <a:srgbClr val="184BF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LTIA Eddi" panose="020B0000000000020000" pitchFamily="34" charset="0"/>
              </a:rPr>
              <a:t>%</a:t>
            </a:r>
            <a:endParaRPr kumimoji="0" lang="en-US" sz="7200" b="0" i="0" u="none" strike="noStrike" kern="1200" cap="none" spc="0" normalizeH="0" baseline="30000" noProof="0" dirty="0">
              <a:ln>
                <a:noFill/>
              </a:ln>
              <a:solidFill>
                <a:srgbClr val="184BFF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ALTIA Eddi" panose="020B0000000000020000" pitchFamily="34" charset="0"/>
            </a:endParaRPr>
          </a:p>
        </p:txBody>
      </p:sp>
      <p:sp>
        <p:nvSpPr>
          <p:cNvPr id="8" name="TextBox 13">
            <a:extLst>
              <a:ext uri="{FF2B5EF4-FFF2-40B4-BE49-F238E27FC236}">
                <a16:creationId xmlns:a16="http://schemas.microsoft.com/office/drawing/2014/main" id="{3B6FCCB8-FB05-4C2B-8FE7-F95A865C20DA}"/>
              </a:ext>
            </a:extLst>
          </p:cNvPr>
          <p:cNvSpPr txBox="1"/>
          <p:nvPr/>
        </p:nvSpPr>
        <p:spPr>
          <a:xfrm>
            <a:off x="5873015" y="5659258"/>
            <a:ext cx="174799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PT" sz="1000" b="0" i="0" u="none" strike="noStrike" kern="1200" cap="none" spc="0" normalizeH="0" baseline="0" noProof="0" dirty="0">
                <a:ln>
                  <a:noFill/>
                </a:ln>
                <a:solidFill>
                  <a:srgbClr val="132153">
                    <a:alpha val="50000"/>
                  </a:srgbClr>
                </a:solidFill>
                <a:effectLst/>
                <a:uLnTx/>
                <a:uFillTx/>
                <a:latin typeface="ALTIA Eddi Light" panose="020B0000000000020000" pitchFamily="34" charset="0"/>
                <a:ea typeface="ALTIA Eddi Light" panose="020B0000000000020000" pitchFamily="34" charset="0"/>
                <a:cs typeface="ALTIA Eddi Light" panose="020B0000000000020000" pitchFamily="34" charset="0"/>
              </a:rPr>
              <a:t>Números destacados</a:t>
            </a:r>
          </a:p>
        </p:txBody>
      </p:sp>
      <p:sp>
        <p:nvSpPr>
          <p:cNvPr id="9" name="TextBox 14">
            <a:extLst>
              <a:ext uri="{FF2B5EF4-FFF2-40B4-BE49-F238E27FC236}">
                <a16:creationId xmlns:a16="http://schemas.microsoft.com/office/drawing/2014/main" id="{65A0432E-4DE7-503A-EC41-DE8433C08AD1}"/>
              </a:ext>
            </a:extLst>
          </p:cNvPr>
          <p:cNvSpPr txBox="1"/>
          <p:nvPr/>
        </p:nvSpPr>
        <p:spPr>
          <a:xfrm>
            <a:off x="8541623" y="5659258"/>
            <a:ext cx="1171583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pt-PT"/>
            </a:defPPr>
            <a:lvl1pPr>
              <a:defRPr sz="1000">
                <a:solidFill>
                  <a:srgbClr val="55ABB9"/>
                </a:solidFill>
                <a:latin typeface="Graphik Medium" panose="020B0603030202060203" pitchFamily="34" charset="0"/>
                <a:cs typeface="Segoe UI" panose="020B0502040204020203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PT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132153">
                    <a:alpha val="50000"/>
                  </a:srgbClr>
                </a:solidFill>
                <a:effectLst/>
                <a:uLnTx/>
                <a:uFillTx/>
                <a:latin typeface="ALTIA Eddi Light" panose="020B0000000000020000" pitchFamily="34" charset="0"/>
                <a:ea typeface="ALTIA Eddi Light" panose="020B0000000000020000" pitchFamily="34" charset="0"/>
                <a:cs typeface="ALTIA Eddi Light" panose="020B0000000000020000" pitchFamily="34" charset="0"/>
              </a:rPr>
              <a:t>Bullet</a:t>
            </a:r>
            <a:r>
              <a:rPr kumimoji="0" lang="pt-PT" sz="1000" b="0" i="0" u="none" strike="noStrike" kern="1200" cap="none" spc="0" normalizeH="0" baseline="0" noProof="0" dirty="0">
                <a:ln>
                  <a:noFill/>
                </a:ln>
                <a:solidFill>
                  <a:srgbClr val="132153">
                    <a:alpha val="50000"/>
                  </a:srgbClr>
                </a:solidFill>
                <a:effectLst/>
                <a:uLnTx/>
                <a:uFillTx/>
                <a:latin typeface="ALTIA Eddi Light" panose="020B0000000000020000" pitchFamily="34" charset="0"/>
                <a:ea typeface="ALTIA Eddi Light" panose="020B0000000000020000" pitchFamily="34" charset="0"/>
                <a:cs typeface="ALTIA Eddi Light" panose="020B0000000000020000" pitchFamily="34" charset="0"/>
              </a:rPr>
              <a:t> </a:t>
            </a:r>
            <a:r>
              <a:rPr kumimoji="0" lang="pt-PT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132153">
                    <a:alpha val="50000"/>
                  </a:srgbClr>
                </a:solidFill>
                <a:effectLst/>
                <a:uLnTx/>
                <a:uFillTx/>
                <a:latin typeface="ALTIA Eddi Light" panose="020B0000000000020000" pitchFamily="34" charset="0"/>
                <a:ea typeface="ALTIA Eddi Light" panose="020B0000000000020000" pitchFamily="34" charset="0"/>
                <a:cs typeface="ALTIA Eddi Light" panose="020B0000000000020000" pitchFamily="34" charset="0"/>
              </a:rPr>
              <a:t>points</a:t>
            </a:r>
            <a:r>
              <a:rPr kumimoji="0" lang="pt-PT" sz="1000" b="0" i="0" u="none" strike="noStrike" kern="1200" cap="none" spc="0" normalizeH="0" baseline="0" noProof="0" dirty="0">
                <a:ln>
                  <a:noFill/>
                </a:ln>
                <a:solidFill>
                  <a:srgbClr val="132153">
                    <a:alpha val="50000"/>
                  </a:srgbClr>
                </a:solidFill>
                <a:effectLst/>
                <a:uLnTx/>
                <a:uFillTx/>
                <a:latin typeface="ALTIA Eddi Light" panose="020B0000000000020000" pitchFamily="34" charset="0"/>
                <a:ea typeface="ALTIA Eddi Light" panose="020B0000000000020000" pitchFamily="34" charset="0"/>
                <a:cs typeface="ALTIA Eddi Light" panose="020B0000000000020000" pitchFamily="34" charset="0"/>
              </a:rPr>
              <a:t> </a:t>
            </a:r>
          </a:p>
        </p:txBody>
      </p:sp>
      <p:sp>
        <p:nvSpPr>
          <p:cNvPr id="10" name="TextBox 20">
            <a:extLst>
              <a:ext uri="{FF2B5EF4-FFF2-40B4-BE49-F238E27FC236}">
                <a16:creationId xmlns:a16="http://schemas.microsoft.com/office/drawing/2014/main" id="{5EC3FCAA-4A94-A568-0D34-C98C5B63D0BB}"/>
              </a:ext>
            </a:extLst>
          </p:cNvPr>
          <p:cNvSpPr txBox="1"/>
          <p:nvPr/>
        </p:nvSpPr>
        <p:spPr>
          <a:xfrm>
            <a:off x="5873015" y="1285851"/>
            <a:ext cx="2452916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pt-PT"/>
            </a:defPPr>
            <a:lvl1pPr>
              <a:defRPr sz="1000">
                <a:latin typeface="Graphik Regular" panose="020B0503030202060203" pitchFamily="34" charset="0"/>
                <a:cs typeface="Segoe UI" panose="020B0502040204020203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PT" sz="1000" b="0" i="0" u="none" strike="noStrike" kern="1200" cap="none" spc="0" normalizeH="0" baseline="0" noProof="0" dirty="0">
                <a:ln>
                  <a:noFill/>
                </a:ln>
                <a:solidFill>
                  <a:srgbClr val="132153">
                    <a:alpha val="50000"/>
                  </a:srgbClr>
                </a:solidFill>
                <a:effectLst/>
                <a:uLnTx/>
                <a:uFillTx/>
                <a:latin typeface="ALTIA Eddi Light" panose="020B0000000000020000" pitchFamily="34" charset="0"/>
                <a:ea typeface="ALTIA Eddi Light" panose="020B0000000000020000" pitchFamily="34" charset="0"/>
                <a:cs typeface="ALTIA Eddi Light" panose="020B0000000000020000" pitchFamily="34" charset="0"/>
              </a:rPr>
              <a:t>ALTIA </a:t>
            </a:r>
            <a:r>
              <a:rPr kumimoji="0" lang="pt-PT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132153">
                    <a:alpha val="50000"/>
                  </a:srgbClr>
                </a:solidFill>
                <a:effectLst/>
                <a:uLnTx/>
                <a:uFillTx/>
                <a:latin typeface="ALTIA Eddi Light" panose="020B0000000000020000" pitchFamily="34" charset="0"/>
                <a:ea typeface="ALTIA Eddi Light" panose="020B0000000000020000" pitchFamily="34" charset="0"/>
                <a:cs typeface="ALTIA Eddi Light" panose="020B0000000000020000" pitchFamily="34" charset="0"/>
              </a:rPr>
              <a:t>Eddi</a:t>
            </a:r>
            <a:r>
              <a:rPr kumimoji="0" lang="pt-PT" sz="1000" b="0" i="0" u="none" strike="noStrike" kern="1200" cap="none" spc="0" normalizeH="0" baseline="0" noProof="0" dirty="0">
                <a:ln>
                  <a:noFill/>
                </a:ln>
                <a:solidFill>
                  <a:srgbClr val="132153">
                    <a:alpha val="50000"/>
                  </a:srgbClr>
                </a:solidFill>
                <a:effectLst/>
                <a:uLnTx/>
                <a:uFillTx/>
                <a:latin typeface="ALTIA Eddi Light" panose="020B0000000000020000" pitchFamily="34" charset="0"/>
                <a:ea typeface="ALTIA Eddi Light" panose="020B0000000000020000" pitchFamily="34" charset="0"/>
                <a:cs typeface="ALTIA Eddi Light" panose="020B0000000000020000" pitchFamily="34" charset="0"/>
              </a:rPr>
              <a:t>  &amp;  ALTIA </a:t>
            </a:r>
            <a:r>
              <a:rPr kumimoji="0" lang="pt-PT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132153">
                    <a:alpha val="50000"/>
                  </a:srgbClr>
                </a:solidFill>
                <a:effectLst/>
                <a:uLnTx/>
                <a:uFillTx/>
                <a:latin typeface="ALTIA Eddi Light" panose="020B0000000000020000" pitchFamily="34" charset="0"/>
                <a:ea typeface="ALTIA Eddi Light" panose="020B0000000000020000" pitchFamily="34" charset="0"/>
                <a:cs typeface="ALTIA Eddi Light" panose="020B0000000000020000" pitchFamily="34" charset="0"/>
              </a:rPr>
              <a:t>Eddi</a:t>
            </a:r>
            <a:r>
              <a:rPr kumimoji="0" lang="pt-PT" sz="1000" b="0" i="0" u="none" strike="noStrike" kern="1200" cap="none" spc="0" normalizeH="0" baseline="0" noProof="0" dirty="0">
                <a:ln>
                  <a:noFill/>
                </a:ln>
                <a:solidFill>
                  <a:srgbClr val="132153">
                    <a:alpha val="50000"/>
                  </a:srgbClr>
                </a:solidFill>
                <a:effectLst/>
                <a:uLnTx/>
                <a:uFillTx/>
                <a:latin typeface="ALTIA Eddi Light" panose="020B0000000000020000" pitchFamily="34" charset="0"/>
                <a:ea typeface="ALTIA Eddi Light" panose="020B0000000000020000" pitchFamily="34" charset="0"/>
                <a:cs typeface="ALTIA Eddi Light" panose="020B0000000000020000" pitchFamily="34" charset="0"/>
              </a:rPr>
              <a:t> com negrito</a:t>
            </a:r>
          </a:p>
        </p:txBody>
      </p:sp>
      <p:sp>
        <p:nvSpPr>
          <p:cNvPr id="11" name="TextBox 22">
            <a:extLst>
              <a:ext uri="{FF2B5EF4-FFF2-40B4-BE49-F238E27FC236}">
                <a16:creationId xmlns:a16="http://schemas.microsoft.com/office/drawing/2014/main" id="{1DA61036-3509-E583-3C7E-842A1A3C166C}"/>
              </a:ext>
            </a:extLst>
          </p:cNvPr>
          <p:cNvSpPr txBox="1"/>
          <p:nvPr/>
        </p:nvSpPr>
        <p:spPr>
          <a:xfrm>
            <a:off x="2113670" y="1285851"/>
            <a:ext cx="2966330" cy="8772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78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PT" sz="3200" b="0" i="0" u="none" strike="noStrike" kern="1200" cap="none" spc="0" normalizeH="0" baseline="0" noProof="0" dirty="0">
                <a:ln>
                  <a:noFill/>
                </a:ln>
                <a:solidFill>
                  <a:srgbClr val="184BFF"/>
                </a:solidFill>
                <a:effectLst/>
                <a:uLnTx/>
                <a:uFillTx/>
                <a:latin typeface="ALTIA Eddi Medium" panose="020B0000000000020000" pitchFamily="34" charset="0"/>
                <a:ea typeface="ALTIA Eddi Medium" panose="020B0000000000020000" pitchFamily="34" charset="0"/>
                <a:cs typeface="ALTIA Eddi Medium" panose="020B0000000000020000" pitchFamily="34" charset="0"/>
              </a:rPr>
              <a:t>TÍTULO </a:t>
            </a:r>
            <a:r>
              <a:rPr lang="pt-PT" sz="3200" dirty="0">
                <a:solidFill>
                  <a:srgbClr val="184BFF"/>
                </a:solidFill>
                <a:latin typeface="ALTIA Eddi Medium" panose="020B0000000000020000" pitchFamily="34" charset="0"/>
                <a:ea typeface="ALTIA Eddi Medium" panose="020B0000000000020000" pitchFamily="34" charset="0"/>
                <a:cs typeface="ALTIA Eddi Medium" panose="020B0000000000020000" pitchFamily="34" charset="0"/>
              </a:rPr>
              <a:t>DESTACADO</a:t>
            </a:r>
            <a:endParaRPr kumimoji="0" lang="pt-PT" sz="3200" b="0" i="0" u="none" strike="noStrike" kern="1200" cap="none" spc="0" normalizeH="0" baseline="0" noProof="0" dirty="0">
              <a:ln>
                <a:noFill/>
              </a:ln>
              <a:solidFill>
                <a:srgbClr val="184BFF"/>
              </a:solidFill>
              <a:effectLst/>
              <a:uLnTx/>
              <a:uFillTx/>
              <a:latin typeface="ALTIA Eddi Medium" panose="020B0000000000020000" pitchFamily="34" charset="0"/>
              <a:ea typeface="ALTIA Eddi Medium" panose="020B0000000000020000" pitchFamily="34" charset="0"/>
              <a:cs typeface="ALTIA Eddi Medium" panose="020B0000000000020000" pitchFamily="34" charset="0"/>
            </a:endParaRPr>
          </a:p>
        </p:txBody>
      </p:sp>
      <p:sp>
        <p:nvSpPr>
          <p:cNvPr id="12" name="TextBox 25">
            <a:extLst>
              <a:ext uri="{FF2B5EF4-FFF2-40B4-BE49-F238E27FC236}">
                <a16:creationId xmlns:a16="http://schemas.microsoft.com/office/drawing/2014/main" id="{29ED94BD-DD49-3EBD-E489-6954319E152E}"/>
              </a:ext>
            </a:extLst>
          </p:cNvPr>
          <p:cNvSpPr txBox="1"/>
          <p:nvPr/>
        </p:nvSpPr>
        <p:spPr>
          <a:xfrm>
            <a:off x="2113667" y="2637331"/>
            <a:ext cx="1909693" cy="832216"/>
          </a:xfrm>
          <a:prstGeom prst="rect">
            <a:avLst/>
          </a:prstGeom>
          <a:noFill/>
          <a:ln>
            <a:noFill/>
          </a:ln>
        </p:spPr>
        <p:txBody>
          <a:bodyPr wrap="square" lIns="72000" tIns="0" rIns="7200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PT" sz="2000" b="0" i="0" u="none" strike="noStrike" kern="1200" cap="none" spc="0" normalizeH="0" baseline="0" noProof="0" dirty="0">
                <a:ln>
                  <a:noFill/>
                </a:ln>
                <a:solidFill>
                  <a:srgbClr val="184BFF"/>
                </a:solidFill>
                <a:effectLst/>
                <a:uLnTx/>
                <a:uFillTx/>
                <a:latin typeface="ALTIA Eddi Light" panose="020B0000000000020000" pitchFamily="34" charset="0"/>
                <a:ea typeface="ALTIA Eddi Light" panose="020B0000000000020000" pitchFamily="34" charset="0"/>
                <a:cs typeface="ALTIA Eddi Light" panose="020B0000000000020000" pitchFamily="34" charset="0"/>
              </a:rPr>
              <a:t>Subtítulos 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PT" sz="2000" b="0" i="0" u="none" strike="noStrike" kern="1200" cap="none" spc="0" normalizeH="0" baseline="0" noProof="0" dirty="0">
                <a:ln>
                  <a:noFill/>
                </a:ln>
                <a:solidFill>
                  <a:srgbClr val="184BFF"/>
                </a:solidFill>
                <a:effectLst/>
                <a:uLnTx/>
                <a:uFillTx/>
                <a:latin typeface="ALTIA Eddi Light" panose="020B0000000000020000" pitchFamily="34" charset="0"/>
                <a:ea typeface="ALTIA Eddi Light" panose="020B0000000000020000" pitchFamily="34" charset="0"/>
                <a:cs typeface="ALTIA Eddi Light" panose="020B0000000000020000" pitchFamily="34" charset="0"/>
              </a:rPr>
              <a:t>&amp; Segundo nível</a:t>
            </a: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rgbClr val="184BFF"/>
              </a:solidFill>
              <a:effectLst/>
              <a:uLnTx/>
              <a:uFillTx/>
              <a:latin typeface="ALTIA Eddi Light" panose="020B0000000000020000" pitchFamily="34" charset="0"/>
              <a:ea typeface="ALTIA Eddi Light" panose="020B0000000000020000" pitchFamily="34" charset="0"/>
              <a:cs typeface="ALTIA Eddi Light" panose="020B0000000000020000" pitchFamily="34" charset="0"/>
            </a:endParaRPr>
          </a:p>
        </p:txBody>
      </p:sp>
      <p:sp>
        <p:nvSpPr>
          <p:cNvPr id="13" name="TextBox 2">
            <a:extLst>
              <a:ext uri="{FF2B5EF4-FFF2-40B4-BE49-F238E27FC236}">
                <a16:creationId xmlns:a16="http://schemas.microsoft.com/office/drawing/2014/main" id="{7879FD3D-0C53-E7FE-B0D8-320208168674}"/>
              </a:ext>
            </a:extLst>
          </p:cNvPr>
          <p:cNvSpPr txBox="1"/>
          <p:nvPr/>
        </p:nvSpPr>
        <p:spPr>
          <a:xfrm>
            <a:off x="865002" y="1285851"/>
            <a:ext cx="990825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PT" sz="1000" b="0" i="0" u="none" strike="noStrike" kern="1200" cap="none" spc="0" normalizeH="0" baseline="0" noProof="0" dirty="0">
                <a:ln>
                  <a:noFill/>
                </a:ln>
                <a:solidFill>
                  <a:srgbClr val="132153">
                    <a:alpha val="50000"/>
                  </a:srgbClr>
                </a:solidFill>
                <a:effectLst/>
                <a:uLnTx/>
                <a:uFillTx/>
                <a:latin typeface="ALTIA Eddi Light" panose="020B0000000000020000" pitchFamily="34" charset="0"/>
                <a:ea typeface="ALTIA Eddi Light" panose="020B0000000000020000" pitchFamily="34" charset="0"/>
                <a:cs typeface="ALTIA Eddi Light" panose="020B0000000000020000" pitchFamily="34" charset="0"/>
              </a:rPr>
              <a:t>ALTIA </a:t>
            </a:r>
            <a:r>
              <a:rPr kumimoji="0" lang="pt-PT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132153">
                    <a:alpha val="50000"/>
                  </a:srgbClr>
                </a:solidFill>
                <a:effectLst/>
                <a:uLnTx/>
                <a:uFillTx/>
                <a:latin typeface="ALTIA Eddi Light" panose="020B0000000000020000" pitchFamily="34" charset="0"/>
                <a:ea typeface="ALTIA Eddi Light" panose="020B0000000000020000" pitchFamily="34" charset="0"/>
                <a:cs typeface="ALTIA Eddi Light" panose="020B0000000000020000" pitchFamily="34" charset="0"/>
              </a:rPr>
              <a:t>Eddi</a:t>
            </a:r>
            <a:r>
              <a:rPr kumimoji="0" lang="pt-PT" sz="1000" b="0" i="0" u="none" strike="noStrike" kern="1200" cap="none" spc="0" normalizeH="0" baseline="0" noProof="0" dirty="0">
                <a:ln>
                  <a:noFill/>
                </a:ln>
                <a:solidFill>
                  <a:srgbClr val="132153">
                    <a:alpha val="50000"/>
                  </a:srgbClr>
                </a:solidFill>
                <a:effectLst/>
                <a:uLnTx/>
                <a:uFillTx/>
                <a:latin typeface="ALTIA Eddi Light" panose="020B0000000000020000" pitchFamily="34" charset="0"/>
                <a:ea typeface="ALTIA Eddi Light" panose="020B0000000000020000" pitchFamily="34" charset="0"/>
                <a:cs typeface="ALTIA Eddi Light" panose="020B0000000000020000" pitchFamily="34" charset="0"/>
              </a:rPr>
              <a:t>  &amp; ALTIA </a:t>
            </a:r>
            <a:r>
              <a:rPr kumimoji="0" lang="pt-PT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132153">
                    <a:alpha val="50000"/>
                  </a:srgbClr>
                </a:solidFill>
                <a:effectLst/>
                <a:uLnTx/>
                <a:uFillTx/>
                <a:latin typeface="ALTIA Eddi Light" panose="020B0000000000020000" pitchFamily="34" charset="0"/>
                <a:ea typeface="ALTIA Eddi Light" panose="020B0000000000020000" pitchFamily="34" charset="0"/>
                <a:cs typeface="ALTIA Eddi Light" panose="020B0000000000020000" pitchFamily="34" charset="0"/>
              </a:rPr>
              <a:t>Eddi</a:t>
            </a:r>
            <a:r>
              <a:rPr kumimoji="0" lang="pt-PT" sz="1000" b="0" i="0" u="none" strike="noStrike" kern="1200" cap="none" spc="0" normalizeH="0" baseline="0" noProof="0" dirty="0">
                <a:ln>
                  <a:noFill/>
                </a:ln>
                <a:solidFill>
                  <a:srgbClr val="132153">
                    <a:alpha val="50000"/>
                  </a:srgbClr>
                </a:solidFill>
                <a:effectLst/>
                <a:uLnTx/>
                <a:uFillTx/>
                <a:latin typeface="ALTIA Eddi Light" panose="020B0000000000020000" pitchFamily="34" charset="0"/>
                <a:ea typeface="ALTIA Eddi Light" panose="020B0000000000020000" pitchFamily="34" charset="0"/>
                <a:cs typeface="ALTIA Eddi Light" panose="020B0000000000020000" pitchFamily="34" charset="0"/>
              </a:rPr>
              <a:t> </a:t>
            </a:r>
            <a:r>
              <a:rPr kumimoji="0" lang="pt-PT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132153">
                    <a:alpha val="50000"/>
                  </a:srgbClr>
                </a:solidFill>
                <a:effectLst/>
                <a:uLnTx/>
                <a:uFillTx/>
                <a:latin typeface="ALTIA Eddi Light" panose="020B0000000000020000" pitchFamily="34" charset="0"/>
                <a:ea typeface="ALTIA Eddi Light" panose="020B0000000000020000" pitchFamily="34" charset="0"/>
                <a:cs typeface="ALTIA Eddi Light" panose="020B0000000000020000" pitchFamily="34" charset="0"/>
              </a:rPr>
              <a:t>Medium</a:t>
            </a:r>
            <a:endParaRPr kumimoji="0" lang="pt-PT" sz="1000" b="0" i="0" u="none" strike="noStrike" kern="1200" cap="none" spc="0" normalizeH="0" baseline="0" noProof="0" dirty="0">
              <a:ln>
                <a:noFill/>
              </a:ln>
              <a:solidFill>
                <a:srgbClr val="132153">
                  <a:alpha val="50000"/>
                </a:srgbClr>
              </a:solidFill>
              <a:effectLst/>
              <a:uLnTx/>
              <a:uFillTx/>
              <a:latin typeface="ALTIA Eddi Light" panose="020B0000000000020000" pitchFamily="34" charset="0"/>
              <a:ea typeface="ALTIA Eddi Light" panose="020B0000000000020000" pitchFamily="34" charset="0"/>
              <a:cs typeface="ALTIA Eddi Light" panose="020B0000000000020000" pitchFamily="34" charset="0"/>
            </a:endParaRPr>
          </a:p>
        </p:txBody>
      </p:sp>
      <p:grpSp>
        <p:nvGrpSpPr>
          <p:cNvPr id="33" name="Agrupar 32">
            <a:extLst>
              <a:ext uri="{FF2B5EF4-FFF2-40B4-BE49-F238E27FC236}">
                <a16:creationId xmlns:a16="http://schemas.microsoft.com/office/drawing/2014/main" id="{95CDF703-6C94-52E8-6DFE-CBAC8021D2A9}"/>
              </a:ext>
            </a:extLst>
          </p:cNvPr>
          <p:cNvGrpSpPr/>
          <p:nvPr/>
        </p:nvGrpSpPr>
        <p:grpSpPr>
          <a:xfrm flipH="1" flipV="1">
            <a:off x="2117724" y="4299017"/>
            <a:ext cx="1628775" cy="357064"/>
            <a:chOff x="2280590" y="5085271"/>
            <a:chExt cx="1838792" cy="524539"/>
          </a:xfrm>
          <a:solidFill>
            <a:srgbClr val="132153"/>
          </a:solidFill>
        </p:grpSpPr>
        <p:sp>
          <p:nvSpPr>
            <p:cNvPr id="19" name="Forma livre: Forma 18">
              <a:extLst>
                <a:ext uri="{FF2B5EF4-FFF2-40B4-BE49-F238E27FC236}">
                  <a16:creationId xmlns:a16="http://schemas.microsoft.com/office/drawing/2014/main" id="{924CAEAA-340E-4BA5-41CB-68E557FCB5D1}"/>
                </a:ext>
              </a:extLst>
            </p:cNvPr>
            <p:cNvSpPr/>
            <p:nvPr/>
          </p:nvSpPr>
          <p:spPr>
            <a:xfrm>
              <a:off x="2982904" y="5085291"/>
              <a:ext cx="1136478" cy="524519"/>
            </a:xfrm>
            <a:custGeom>
              <a:avLst/>
              <a:gdLst>
                <a:gd name="connsiteX0" fmla="*/ 2220906 w 2220906"/>
                <a:gd name="connsiteY0" fmla="*/ 0 h 524519"/>
                <a:gd name="connsiteX1" fmla="*/ 2220906 w 2220906"/>
                <a:gd name="connsiteY1" fmla="*/ 524457 h 524519"/>
                <a:gd name="connsiteX2" fmla="*/ 0 w 2220906"/>
                <a:gd name="connsiteY2" fmla="*/ 524519 h 524519"/>
                <a:gd name="connsiteX3" fmla="*/ 0 w 2220906"/>
                <a:gd name="connsiteY3" fmla="*/ 62 h 5245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220906" h="524519">
                  <a:moveTo>
                    <a:pt x="2220906" y="0"/>
                  </a:moveTo>
                  <a:lnTo>
                    <a:pt x="2220906" y="524457"/>
                  </a:lnTo>
                  <a:lnTo>
                    <a:pt x="0" y="524519"/>
                  </a:lnTo>
                  <a:lnTo>
                    <a:pt x="0" y="62"/>
                  </a:lnTo>
                  <a:close/>
                </a:path>
              </a:pathLst>
            </a:custGeom>
            <a:grpFill/>
            <a:ln w="4244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2" name="Forma livre: Forma 31">
              <a:extLst>
                <a:ext uri="{FF2B5EF4-FFF2-40B4-BE49-F238E27FC236}">
                  <a16:creationId xmlns:a16="http://schemas.microsoft.com/office/drawing/2014/main" id="{7EFD0649-D80A-A6B7-C0AA-37A4D9C1FBFB}"/>
                </a:ext>
              </a:extLst>
            </p:cNvPr>
            <p:cNvSpPr/>
            <p:nvPr/>
          </p:nvSpPr>
          <p:spPr>
            <a:xfrm flipV="1">
              <a:off x="2280590" y="5085271"/>
              <a:ext cx="1136476" cy="524519"/>
            </a:xfrm>
            <a:custGeom>
              <a:avLst/>
              <a:gdLst>
                <a:gd name="connsiteX0" fmla="*/ 103570 w 224310"/>
                <a:gd name="connsiteY0" fmla="*/ 103528 h 103527"/>
                <a:gd name="connsiteX1" fmla="*/ 189801 w 224310"/>
                <a:gd name="connsiteY1" fmla="*/ 103528 h 103527"/>
                <a:gd name="connsiteX2" fmla="*/ 224310 w 224310"/>
                <a:gd name="connsiteY2" fmla="*/ 0 h 103527"/>
                <a:gd name="connsiteX3" fmla="*/ 0 w 224310"/>
                <a:gd name="connsiteY3" fmla="*/ 0 h 103527"/>
                <a:gd name="connsiteX4" fmla="*/ 103528 w 224310"/>
                <a:gd name="connsiteY4" fmla="*/ 103528 h 1035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24310" h="103527">
                  <a:moveTo>
                    <a:pt x="103570" y="103528"/>
                  </a:moveTo>
                  <a:lnTo>
                    <a:pt x="189801" y="103528"/>
                  </a:lnTo>
                  <a:lnTo>
                    <a:pt x="224310" y="0"/>
                  </a:lnTo>
                  <a:lnTo>
                    <a:pt x="0" y="0"/>
                  </a:lnTo>
                  <a:cubicBezTo>
                    <a:pt x="0" y="57204"/>
                    <a:pt x="46367" y="103528"/>
                    <a:pt x="103528" y="103528"/>
                  </a:cubicBezTo>
                  <a:close/>
                </a:path>
              </a:pathLst>
            </a:custGeom>
            <a:grpFill/>
            <a:ln w="424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14" name="TextBox 29">
            <a:extLst>
              <a:ext uri="{FF2B5EF4-FFF2-40B4-BE49-F238E27FC236}">
                <a16:creationId xmlns:a16="http://schemas.microsoft.com/office/drawing/2014/main" id="{540C1652-73BF-1AC0-C74F-F5EABC6641E7}"/>
              </a:ext>
            </a:extLst>
          </p:cNvPr>
          <p:cNvSpPr txBox="1"/>
          <p:nvPr/>
        </p:nvSpPr>
        <p:spPr>
          <a:xfrm>
            <a:off x="2113667" y="4346603"/>
            <a:ext cx="1667758" cy="259302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>
            <a:defPPr>
              <a:defRPr lang="pt-PT"/>
            </a:defPPr>
            <a:lvl1pPr>
              <a:defRPr sz="1100" b="1" spc="300">
                <a:solidFill>
                  <a:srgbClr val="0D1427"/>
                </a:solidFill>
                <a:latin typeface="Ubuntu" panose="020B0504030602030204" pitchFamily="34" charset="0"/>
                <a:ea typeface="Roboto" panose="02000000000000000000" pitchFamily="2" charset="0"/>
                <a:cs typeface="Segoe UI" panose="020B0502040204020203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PT" sz="1200" b="0" i="0" u="none" strike="noStrike" kern="1200" cap="none" spc="0" normalizeH="0" baseline="0" noProof="0" dirty="0">
                <a:ln>
                  <a:noFill/>
                </a:ln>
                <a:solidFill>
                  <a:srgbClr val="00FF94"/>
                </a:solidFill>
                <a:effectLst/>
                <a:uLnTx/>
                <a:uFillTx/>
                <a:latin typeface="ALTIA Eddi Medium" panose="020B0000000000020000" pitchFamily="34" charset="0"/>
                <a:ea typeface="ALTIA Eddi Medium" panose="020B0000000000020000" pitchFamily="34" charset="0"/>
                <a:cs typeface="ALTIA Eddi Medium" panose="020B0000000000020000" pitchFamily="34" charset="0"/>
              </a:rPr>
              <a:t>TERCER NIVEL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FF94"/>
              </a:solidFill>
              <a:effectLst/>
              <a:uLnTx/>
              <a:uFillTx/>
              <a:latin typeface="ALTIA Eddi Medium" panose="020B0000000000020000" pitchFamily="34" charset="0"/>
              <a:ea typeface="ALTIA Eddi Medium" panose="020B0000000000020000" pitchFamily="34" charset="0"/>
              <a:cs typeface="ALTIA Eddi Medium" panose="020B0000000000020000" pitchFamily="34" charset="0"/>
            </a:endParaRPr>
          </a:p>
        </p:txBody>
      </p:sp>
      <p:sp>
        <p:nvSpPr>
          <p:cNvPr id="15" name="TextBox 31">
            <a:extLst>
              <a:ext uri="{FF2B5EF4-FFF2-40B4-BE49-F238E27FC236}">
                <a16:creationId xmlns:a16="http://schemas.microsoft.com/office/drawing/2014/main" id="{40F4BC05-4992-6574-4F01-1C10D3550B78}"/>
              </a:ext>
            </a:extLst>
          </p:cNvPr>
          <p:cNvSpPr txBox="1"/>
          <p:nvPr/>
        </p:nvSpPr>
        <p:spPr>
          <a:xfrm>
            <a:off x="865002" y="2637331"/>
            <a:ext cx="104952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PT" sz="1000" b="0" i="0" u="none" strike="noStrike" kern="1200" cap="none" spc="0" normalizeH="0" baseline="0" noProof="0" dirty="0">
                <a:ln>
                  <a:noFill/>
                </a:ln>
                <a:solidFill>
                  <a:srgbClr val="132153">
                    <a:alpha val="50000"/>
                  </a:srgbClr>
                </a:solidFill>
                <a:effectLst/>
                <a:uLnTx/>
                <a:uFillTx/>
                <a:latin typeface="ALTIA Eddi Light" panose="020B0000000000020000" pitchFamily="34" charset="0"/>
                <a:ea typeface="ALTIA Eddi Light" panose="020B0000000000020000" pitchFamily="34" charset="0"/>
                <a:cs typeface="ALTIA Eddi Light" panose="020B0000000000020000" pitchFamily="34" charset="0"/>
              </a:rPr>
              <a:t>ALTIA </a:t>
            </a:r>
            <a:r>
              <a:rPr kumimoji="0" lang="pt-PT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132153">
                    <a:alpha val="50000"/>
                  </a:srgbClr>
                </a:solidFill>
                <a:effectLst/>
                <a:uLnTx/>
                <a:uFillTx/>
                <a:latin typeface="ALTIA Eddi Light" panose="020B0000000000020000" pitchFamily="34" charset="0"/>
                <a:ea typeface="ALTIA Eddi Light" panose="020B0000000000020000" pitchFamily="34" charset="0"/>
                <a:cs typeface="ALTIA Eddi Light" panose="020B0000000000020000" pitchFamily="34" charset="0"/>
              </a:rPr>
              <a:t>Eddi</a:t>
            </a:r>
            <a:r>
              <a:rPr kumimoji="0" lang="pt-PT" sz="1000" b="0" i="0" u="none" strike="noStrike" kern="1200" cap="none" spc="0" normalizeH="0" baseline="0" noProof="0" dirty="0">
                <a:ln>
                  <a:noFill/>
                </a:ln>
                <a:solidFill>
                  <a:srgbClr val="132153">
                    <a:alpha val="50000"/>
                  </a:srgbClr>
                </a:solidFill>
                <a:effectLst/>
                <a:uLnTx/>
                <a:uFillTx/>
                <a:latin typeface="ALTIA Eddi Light" panose="020B0000000000020000" pitchFamily="34" charset="0"/>
                <a:ea typeface="ALTIA Eddi Light" panose="020B0000000000020000" pitchFamily="34" charset="0"/>
                <a:cs typeface="ALTIA Eddi Light" panose="020B0000000000020000" pitchFamily="34" charset="0"/>
              </a:rPr>
              <a:t> Light</a:t>
            </a:r>
          </a:p>
        </p:txBody>
      </p:sp>
      <p:sp>
        <p:nvSpPr>
          <p:cNvPr id="16" name="TextBox 34">
            <a:extLst>
              <a:ext uri="{FF2B5EF4-FFF2-40B4-BE49-F238E27FC236}">
                <a16:creationId xmlns:a16="http://schemas.microsoft.com/office/drawing/2014/main" id="{4298EECD-A29F-1DA3-C54D-18BAD5ABDECD}"/>
              </a:ext>
            </a:extLst>
          </p:cNvPr>
          <p:cNvSpPr txBox="1"/>
          <p:nvPr/>
        </p:nvSpPr>
        <p:spPr>
          <a:xfrm>
            <a:off x="865002" y="4328487"/>
            <a:ext cx="906667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PT" sz="1000" b="0" i="0" u="none" strike="noStrike" kern="1200" cap="none" spc="0" normalizeH="0" baseline="0" noProof="0" dirty="0">
                <a:ln>
                  <a:noFill/>
                </a:ln>
                <a:solidFill>
                  <a:srgbClr val="132153">
                    <a:alpha val="50000"/>
                  </a:srgbClr>
                </a:solidFill>
                <a:effectLst/>
                <a:uLnTx/>
                <a:uFillTx/>
                <a:latin typeface="ALTIA Eddi Light" panose="020B0000000000020000" pitchFamily="34" charset="0"/>
                <a:ea typeface="ALTIA Eddi Light" panose="020B0000000000020000" pitchFamily="34" charset="0"/>
                <a:cs typeface="ALTIA Eddi Light" panose="020B0000000000020000" pitchFamily="34" charset="0"/>
              </a:rPr>
              <a:t>ALTIA </a:t>
            </a:r>
            <a:r>
              <a:rPr kumimoji="0" lang="pt-PT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132153">
                    <a:alpha val="50000"/>
                  </a:srgbClr>
                </a:solidFill>
                <a:effectLst/>
                <a:uLnTx/>
                <a:uFillTx/>
                <a:latin typeface="ALTIA Eddi Light" panose="020B0000000000020000" pitchFamily="34" charset="0"/>
                <a:ea typeface="ALTIA Eddi Light" panose="020B0000000000020000" pitchFamily="34" charset="0"/>
                <a:cs typeface="ALTIA Eddi Light" panose="020B0000000000020000" pitchFamily="34" charset="0"/>
              </a:rPr>
              <a:t>Eddi</a:t>
            </a:r>
            <a:endParaRPr kumimoji="0" lang="pt-PT" sz="1000" b="0" i="0" u="none" strike="noStrike" kern="1200" cap="none" spc="0" normalizeH="0" baseline="0" noProof="0" dirty="0">
              <a:ln>
                <a:noFill/>
              </a:ln>
              <a:solidFill>
                <a:srgbClr val="132153">
                  <a:alpha val="50000"/>
                </a:srgbClr>
              </a:solidFill>
              <a:effectLst/>
              <a:uLnTx/>
              <a:uFillTx/>
              <a:latin typeface="ALTIA Eddi Light" panose="020B0000000000020000" pitchFamily="34" charset="0"/>
              <a:ea typeface="ALTIA Eddi Light" panose="020B0000000000020000" pitchFamily="34" charset="0"/>
              <a:cs typeface="ALTIA Eddi Light" panose="020B0000000000020000" pitchFamily="34" charset="0"/>
            </a:endParaRPr>
          </a:p>
        </p:txBody>
      </p:sp>
      <p:sp>
        <p:nvSpPr>
          <p:cNvPr id="17" name="TextBox 35">
            <a:extLst>
              <a:ext uri="{FF2B5EF4-FFF2-40B4-BE49-F238E27FC236}">
                <a16:creationId xmlns:a16="http://schemas.microsoft.com/office/drawing/2014/main" id="{E09D5606-418D-0EAF-DE33-9D8B9130A100}"/>
              </a:ext>
            </a:extLst>
          </p:cNvPr>
          <p:cNvSpPr txBox="1"/>
          <p:nvPr/>
        </p:nvSpPr>
        <p:spPr>
          <a:xfrm>
            <a:off x="5829263" y="4328487"/>
            <a:ext cx="1747997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PT" sz="1000" b="0" i="0" u="none" strike="noStrike" kern="1200" cap="none" spc="0" normalizeH="0" baseline="0" noProof="0" dirty="0">
                <a:ln>
                  <a:noFill/>
                </a:ln>
                <a:solidFill>
                  <a:srgbClr val="132153">
                    <a:alpha val="50000"/>
                  </a:srgbClr>
                </a:solidFill>
                <a:effectLst/>
                <a:uLnTx/>
                <a:uFillTx/>
                <a:latin typeface="ALTIA Eddi Light" panose="020B0000000000020000" pitchFamily="34" charset="0"/>
                <a:ea typeface="ALTIA Eddi Light" panose="020B0000000000020000" pitchFamily="34" charset="0"/>
                <a:cs typeface="ALTIA Eddi Light" panose="020B0000000000020000" pitchFamily="34" charset="0"/>
              </a:rPr>
              <a:t>ALTIA </a:t>
            </a:r>
            <a:r>
              <a:rPr kumimoji="0" lang="pt-PT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132153">
                    <a:alpha val="50000"/>
                  </a:srgbClr>
                </a:solidFill>
                <a:effectLst/>
                <a:uLnTx/>
                <a:uFillTx/>
                <a:latin typeface="ALTIA Eddi Light" panose="020B0000000000020000" pitchFamily="34" charset="0"/>
                <a:ea typeface="ALTIA Eddi Light" panose="020B0000000000020000" pitchFamily="34" charset="0"/>
                <a:cs typeface="ALTIA Eddi Light" panose="020B0000000000020000" pitchFamily="34" charset="0"/>
              </a:rPr>
              <a:t>Eddi</a:t>
            </a:r>
            <a:r>
              <a:rPr kumimoji="0" lang="pt-PT" sz="1000" b="0" i="0" u="none" strike="noStrike" kern="1200" cap="none" spc="0" normalizeH="0" baseline="0" noProof="0" dirty="0">
                <a:ln>
                  <a:noFill/>
                </a:ln>
                <a:solidFill>
                  <a:srgbClr val="132153">
                    <a:alpha val="50000"/>
                  </a:srgbClr>
                </a:solidFill>
                <a:effectLst/>
                <a:uLnTx/>
                <a:uFillTx/>
                <a:latin typeface="ALTIA Eddi Light" panose="020B0000000000020000" pitchFamily="34" charset="0"/>
                <a:ea typeface="ALTIA Eddi Light" panose="020B0000000000020000" pitchFamily="34" charset="0"/>
                <a:cs typeface="ALTIA Eddi Light" panose="020B0000000000020000" pitchFamily="34" charset="0"/>
              </a:rPr>
              <a:t> </a:t>
            </a:r>
            <a:r>
              <a:rPr kumimoji="0" lang="pt-PT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132153">
                    <a:alpha val="50000"/>
                  </a:srgbClr>
                </a:solidFill>
                <a:effectLst/>
                <a:uLnTx/>
                <a:uFillTx/>
                <a:latin typeface="ALTIA Eddi Light" panose="020B0000000000020000" pitchFamily="34" charset="0"/>
                <a:ea typeface="ALTIA Eddi Light" panose="020B0000000000020000" pitchFamily="34" charset="0"/>
                <a:cs typeface="ALTIA Eddi Light" panose="020B0000000000020000" pitchFamily="34" charset="0"/>
              </a:rPr>
              <a:t>Medium</a:t>
            </a:r>
            <a:endParaRPr kumimoji="0" lang="pt-PT" sz="1000" b="0" i="0" u="none" strike="noStrike" kern="1200" cap="none" spc="0" normalizeH="0" baseline="0" noProof="0" dirty="0">
              <a:ln>
                <a:noFill/>
              </a:ln>
              <a:solidFill>
                <a:srgbClr val="132153">
                  <a:alpha val="50000"/>
                </a:srgbClr>
              </a:solidFill>
              <a:effectLst/>
              <a:uLnTx/>
              <a:uFillTx/>
              <a:latin typeface="ALTIA Eddi Light" panose="020B0000000000020000" pitchFamily="34" charset="0"/>
              <a:ea typeface="ALTIA Eddi Light" panose="020B0000000000020000" pitchFamily="34" charset="0"/>
              <a:cs typeface="ALTIA Eddi Light" panose="020B0000000000020000" pitchFamily="34" charset="0"/>
            </a:endParaRPr>
          </a:p>
        </p:txBody>
      </p:sp>
      <p:sp>
        <p:nvSpPr>
          <p:cNvPr id="18" name="TextBox 20">
            <a:extLst>
              <a:ext uri="{FF2B5EF4-FFF2-40B4-BE49-F238E27FC236}">
                <a16:creationId xmlns:a16="http://schemas.microsoft.com/office/drawing/2014/main" id="{425C63B2-E6C6-18F3-0771-94524C34F19D}"/>
              </a:ext>
            </a:extLst>
          </p:cNvPr>
          <p:cNvSpPr txBox="1"/>
          <p:nvPr/>
        </p:nvSpPr>
        <p:spPr>
          <a:xfrm>
            <a:off x="5873015" y="2637331"/>
            <a:ext cx="2752677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pt-PT"/>
            </a:defPPr>
            <a:lvl1pPr>
              <a:defRPr sz="1000">
                <a:latin typeface="Graphik Regular" panose="020B0503030202060203" pitchFamily="34" charset="0"/>
                <a:cs typeface="Segoe UI" panose="020B0502040204020203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PT" sz="1000" b="0" i="0" u="none" strike="noStrike" kern="1200" cap="none" spc="0" normalizeH="0" baseline="0" noProof="0" dirty="0">
                <a:ln>
                  <a:noFill/>
                </a:ln>
                <a:solidFill>
                  <a:srgbClr val="132153">
                    <a:alpha val="50000"/>
                  </a:srgbClr>
                </a:solidFill>
                <a:effectLst/>
                <a:uLnTx/>
                <a:uFillTx/>
                <a:latin typeface="ALTIA Eddi Light" panose="020B0000000000020000" pitchFamily="34" charset="0"/>
                <a:ea typeface="ALTIA Eddi Light" panose="020B0000000000020000" pitchFamily="34" charset="0"/>
                <a:cs typeface="ALTIA Eddi Light" panose="020B0000000000020000" pitchFamily="34" charset="0"/>
              </a:rPr>
              <a:t>ALTIA </a:t>
            </a:r>
            <a:r>
              <a:rPr kumimoji="0" lang="pt-PT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132153">
                    <a:alpha val="50000"/>
                  </a:srgbClr>
                </a:solidFill>
                <a:effectLst/>
                <a:uLnTx/>
                <a:uFillTx/>
                <a:latin typeface="ALTIA Eddi Light" panose="020B0000000000020000" pitchFamily="34" charset="0"/>
                <a:ea typeface="ALTIA Eddi Light" panose="020B0000000000020000" pitchFamily="34" charset="0"/>
                <a:cs typeface="ALTIA Eddi Light" panose="020B0000000000020000" pitchFamily="34" charset="0"/>
              </a:rPr>
              <a:t>Eddi</a:t>
            </a:r>
            <a:r>
              <a:rPr kumimoji="0" lang="pt-PT" sz="1000" b="0" i="0" u="none" strike="noStrike" kern="1200" cap="none" spc="0" normalizeH="0" baseline="0" noProof="0" dirty="0">
                <a:ln>
                  <a:noFill/>
                </a:ln>
                <a:solidFill>
                  <a:srgbClr val="132153">
                    <a:alpha val="50000"/>
                  </a:srgbClr>
                </a:solidFill>
                <a:effectLst/>
                <a:uLnTx/>
                <a:uFillTx/>
                <a:latin typeface="ALTIA Eddi Light" panose="020B0000000000020000" pitchFamily="34" charset="0"/>
                <a:ea typeface="ALTIA Eddi Light" panose="020B0000000000020000" pitchFamily="34" charset="0"/>
                <a:cs typeface="ALTIA Eddi Light" panose="020B0000000000020000" pitchFamily="34" charset="0"/>
              </a:rPr>
              <a:t> Light  &amp; ALTIA </a:t>
            </a:r>
            <a:r>
              <a:rPr kumimoji="0" lang="pt-PT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132153">
                    <a:alpha val="50000"/>
                  </a:srgbClr>
                </a:solidFill>
                <a:effectLst/>
                <a:uLnTx/>
                <a:uFillTx/>
                <a:latin typeface="ALTIA Eddi Light" panose="020B0000000000020000" pitchFamily="34" charset="0"/>
                <a:ea typeface="ALTIA Eddi Light" panose="020B0000000000020000" pitchFamily="34" charset="0"/>
                <a:cs typeface="ALTIA Eddi Light" panose="020B0000000000020000" pitchFamily="34" charset="0"/>
              </a:rPr>
              <a:t>Eddi</a:t>
            </a:r>
            <a:r>
              <a:rPr kumimoji="0" lang="pt-PT" sz="1000" b="0" i="0" u="none" strike="noStrike" kern="1200" cap="none" spc="0" normalizeH="0" baseline="0" noProof="0" dirty="0">
                <a:ln>
                  <a:noFill/>
                </a:ln>
                <a:solidFill>
                  <a:srgbClr val="132153">
                    <a:alpha val="50000"/>
                  </a:srgbClr>
                </a:solidFill>
                <a:effectLst/>
                <a:uLnTx/>
                <a:uFillTx/>
                <a:latin typeface="ALTIA Eddi Light" panose="020B0000000000020000" pitchFamily="34" charset="0"/>
                <a:ea typeface="ALTIA Eddi Light" panose="020B0000000000020000" pitchFamily="34" charset="0"/>
                <a:cs typeface="ALTIA Eddi Light" panose="020B0000000000020000" pitchFamily="34" charset="0"/>
              </a:rPr>
              <a:t> com negrito</a:t>
            </a:r>
          </a:p>
        </p:txBody>
      </p:sp>
    </p:spTree>
    <p:extLst>
      <p:ext uri="{BB962C8B-B14F-4D97-AF65-F5344CB8AC3E}">
        <p14:creationId xmlns:p14="http://schemas.microsoft.com/office/powerpoint/2010/main" val="40725595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22">
            <a:extLst>
              <a:ext uri="{FF2B5EF4-FFF2-40B4-BE49-F238E27FC236}">
                <a16:creationId xmlns:a16="http://schemas.microsoft.com/office/drawing/2014/main" id="{878493D6-1ADE-2F42-539A-D9FBDB1A6007}"/>
              </a:ext>
            </a:extLst>
          </p:cNvPr>
          <p:cNvSpPr txBox="1"/>
          <p:nvPr/>
        </p:nvSpPr>
        <p:spPr>
          <a:xfrm>
            <a:off x="1110453" y="1930417"/>
            <a:ext cx="7944030" cy="2997167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>
            <a:defPPr>
              <a:defRPr lang="pt-PT"/>
            </a:defPPr>
            <a:lvl1pPr>
              <a:lnSpc>
                <a:spcPct val="78000"/>
              </a:lnSpc>
              <a:defRPr sz="11500">
                <a:solidFill>
                  <a:schemeClr val="bg1"/>
                </a:solidFill>
                <a:latin typeface="SB Pakenham" panose="02000608020000020004" pitchFamily="50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7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PT" sz="8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 panose="020B0604030504040204" pitchFamily="34" charset="0"/>
                <a:ea typeface="Open Sans Light" panose="020B0306030504020204" pitchFamily="34" charset="0"/>
                <a:cs typeface="Arial" panose="020B0604020202020204" pitchFamily="34" charset="0"/>
              </a:rPr>
              <a:t>ELEMENTOS GRÁFICOS </a:t>
            </a:r>
            <a:br>
              <a:rPr kumimoji="0" lang="pt-PT" sz="8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 panose="020B0604030504040204" pitchFamily="34" charset="0"/>
                <a:ea typeface="Open Sans Light" panose="020B0306030504020204" pitchFamily="34" charset="0"/>
                <a:cs typeface="Arial" panose="020B0604020202020204" pitchFamily="34" charset="0"/>
              </a:rPr>
            </a:br>
            <a:r>
              <a:rPr kumimoji="0" lang="pt-PT" sz="8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anose="00000500000000000000" pitchFamily="2" charset="0"/>
                <a:ea typeface="Open Sans Light" panose="020B0306030504020204" pitchFamily="34" charset="0"/>
                <a:cs typeface="Arial" panose="020B0604020202020204" pitchFamily="34" charset="0"/>
              </a:rPr>
              <a:t>&amp;</a:t>
            </a:r>
            <a:r>
              <a:rPr kumimoji="0" lang="pt-PT" sz="8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 panose="020B0604030504040204" pitchFamily="34" charset="0"/>
                <a:ea typeface="Open Sans Light" panose="020B0306030504020204" pitchFamily="34" charset="0"/>
                <a:cs typeface="Arial" panose="020B0604020202020204" pitchFamily="34" charset="0"/>
              </a:rPr>
              <a:t> IMÁGENE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6973879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Retângulo 24">
            <a:extLst>
              <a:ext uri="{FF2B5EF4-FFF2-40B4-BE49-F238E27FC236}">
                <a16:creationId xmlns:a16="http://schemas.microsoft.com/office/drawing/2014/main" id="{2AD5977A-77C8-E4F3-D5BC-9A0423DCE0A3}"/>
              </a:ext>
            </a:extLst>
          </p:cNvPr>
          <p:cNvSpPr/>
          <p:nvPr/>
        </p:nvSpPr>
        <p:spPr>
          <a:xfrm>
            <a:off x="0" y="0"/>
            <a:ext cx="2743200" cy="6858000"/>
          </a:xfrm>
          <a:prstGeom prst="rect">
            <a:avLst/>
          </a:prstGeom>
          <a:solidFill>
            <a:srgbClr val="184BF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PT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!!_Green Light">
            <a:extLst>
              <a:ext uri="{FF2B5EF4-FFF2-40B4-BE49-F238E27FC236}">
                <a16:creationId xmlns:a16="http://schemas.microsoft.com/office/drawing/2014/main" id="{8308FD55-F53E-2BC3-7216-C26C4AAF1658}"/>
              </a:ext>
            </a:extLst>
          </p:cNvPr>
          <p:cNvSpPr/>
          <p:nvPr/>
        </p:nvSpPr>
        <p:spPr>
          <a:xfrm>
            <a:off x="-4370872" y="1983043"/>
            <a:ext cx="9000203" cy="9000203"/>
          </a:xfrm>
          <a:prstGeom prst="ellipse">
            <a:avLst/>
          </a:prstGeom>
          <a:gradFill flip="none" rotWithShape="1">
            <a:gsLst>
              <a:gs pos="5000">
                <a:srgbClr val="00FF94"/>
              </a:gs>
              <a:gs pos="56000">
                <a:srgbClr val="00FF94">
                  <a:alpha val="0"/>
                </a:srgb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  <a:effectLst>
            <a:softEdge rad="1270000"/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PT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200" name="Agrupar 199">
            <a:extLst>
              <a:ext uri="{FF2B5EF4-FFF2-40B4-BE49-F238E27FC236}">
                <a16:creationId xmlns:a16="http://schemas.microsoft.com/office/drawing/2014/main" id="{62F7D7B3-ED13-97F1-4CE0-F4F6BCDCFD53}"/>
              </a:ext>
            </a:extLst>
          </p:cNvPr>
          <p:cNvGrpSpPr/>
          <p:nvPr/>
        </p:nvGrpSpPr>
        <p:grpSpPr>
          <a:xfrm>
            <a:off x="3934186" y="4644415"/>
            <a:ext cx="2026883" cy="524540"/>
            <a:chOff x="1040323" y="1557978"/>
            <a:chExt cx="2026883" cy="524540"/>
          </a:xfrm>
          <a:solidFill>
            <a:srgbClr val="E5E5E5"/>
          </a:solidFill>
        </p:grpSpPr>
        <p:sp>
          <p:nvSpPr>
            <p:cNvPr id="201" name="Forma livre: Forma 200">
              <a:extLst>
                <a:ext uri="{FF2B5EF4-FFF2-40B4-BE49-F238E27FC236}">
                  <a16:creationId xmlns:a16="http://schemas.microsoft.com/office/drawing/2014/main" id="{240ABFAB-6DF4-EE4C-7CA3-ABA3D804A619}"/>
                </a:ext>
              </a:extLst>
            </p:cNvPr>
            <p:cNvSpPr/>
            <p:nvPr/>
          </p:nvSpPr>
          <p:spPr>
            <a:xfrm>
              <a:off x="1742635" y="1557999"/>
              <a:ext cx="1324571" cy="524519"/>
            </a:xfrm>
            <a:custGeom>
              <a:avLst/>
              <a:gdLst>
                <a:gd name="connsiteX0" fmla="*/ 2220906 w 2220906"/>
                <a:gd name="connsiteY0" fmla="*/ 0 h 524519"/>
                <a:gd name="connsiteX1" fmla="*/ 2220906 w 2220906"/>
                <a:gd name="connsiteY1" fmla="*/ 524457 h 524519"/>
                <a:gd name="connsiteX2" fmla="*/ 0 w 2220906"/>
                <a:gd name="connsiteY2" fmla="*/ 524519 h 524519"/>
                <a:gd name="connsiteX3" fmla="*/ 0 w 2220906"/>
                <a:gd name="connsiteY3" fmla="*/ 62 h 5245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220906" h="524519">
                  <a:moveTo>
                    <a:pt x="2220906" y="0"/>
                  </a:moveTo>
                  <a:lnTo>
                    <a:pt x="2220906" y="524457"/>
                  </a:lnTo>
                  <a:lnTo>
                    <a:pt x="0" y="524519"/>
                  </a:lnTo>
                  <a:lnTo>
                    <a:pt x="0" y="62"/>
                  </a:lnTo>
                  <a:close/>
                </a:path>
              </a:pathLst>
            </a:custGeom>
            <a:grpFill/>
            <a:ln w="4244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2" name="Forma livre: Forma 201">
              <a:extLst>
                <a:ext uri="{FF2B5EF4-FFF2-40B4-BE49-F238E27FC236}">
                  <a16:creationId xmlns:a16="http://schemas.microsoft.com/office/drawing/2014/main" id="{88ACBBA8-A0E3-F668-D861-978E5A645FDA}"/>
                </a:ext>
              </a:extLst>
            </p:cNvPr>
            <p:cNvSpPr/>
            <p:nvPr/>
          </p:nvSpPr>
          <p:spPr>
            <a:xfrm flipV="1">
              <a:off x="1040323" y="1557978"/>
              <a:ext cx="1136476" cy="524519"/>
            </a:xfrm>
            <a:custGeom>
              <a:avLst/>
              <a:gdLst>
                <a:gd name="connsiteX0" fmla="*/ 103570 w 224310"/>
                <a:gd name="connsiteY0" fmla="*/ 103528 h 103527"/>
                <a:gd name="connsiteX1" fmla="*/ 189801 w 224310"/>
                <a:gd name="connsiteY1" fmla="*/ 103528 h 103527"/>
                <a:gd name="connsiteX2" fmla="*/ 224310 w 224310"/>
                <a:gd name="connsiteY2" fmla="*/ 0 h 103527"/>
                <a:gd name="connsiteX3" fmla="*/ 0 w 224310"/>
                <a:gd name="connsiteY3" fmla="*/ 0 h 103527"/>
                <a:gd name="connsiteX4" fmla="*/ 103528 w 224310"/>
                <a:gd name="connsiteY4" fmla="*/ 103528 h 1035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24310" h="103527">
                  <a:moveTo>
                    <a:pt x="103570" y="103528"/>
                  </a:moveTo>
                  <a:lnTo>
                    <a:pt x="189801" y="103528"/>
                  </a:lnTo>
                  <a:lnTo>
                    <a:pt x="224310" y="0"/>
                  </a:lnTo>
                  <a:lnTo>
                    <a:pt x="0" y="0"/>
                  </a:lnTo>
                  <a:cubicBezTo>
                    <a:pt x="0" y="57204"/>
                    <a:pt x="46367" y="103528"/>
                    <a:pt x="103528" y="103528"/>
                  </a:cubicBezTo>
                  <a:close/>
                </a:path>
              </a:pathLst>
            </a:custGeom>
            <a:grpFill/>
            <a:ln w="424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196" name="Agrupar 195">
            <a:extLst>
              <a:ext uri="{FF2B5EF4-FFF2-40B4-BE49-F238E27FC236}">
                <a16:creationId xmlns:a16="http://schemas.microsoft.com/office/drawing/2014/main" id="{F9125BC0-C359-3783-8A41-36D51F0619BF}"/>
              </a:ext>
            </a:extLst>
          </p:cNvPr>
          <p:cNvGrpSpPr/>
          <p:nvPr/>
        </p:nvGrpSpPr>
        <p:grpSpPr>
          <a:xfrm flipV="1">
            <a:off x="3549058" y="3982119"/>
            <a:ext cx="2026883" cy="524540"/>
            <a:chOff x="1040323" y="1557978"/>
            <a:chExt cx="2026883" cy="524540"/>
          </a:xfrm>
          <a:solidFill>
            <a:srgbClr val="E5E5E5"/>
          </a:solidFill>
        </p:grpSpPr>
        <p:sp>
          <p:nvSpPr>
            <p:cNvPr id="197" name="Forma livre: Forma 196">
              <a:extLst>
                <a:ext uri="{FF2B5EF4-FFF2-40B4-BE49-F238E27FC236}">
                  <a16:creationId xmlns:a16="http://schemas.microsoft.com/office/drawing/2014/main" id="{16792B65-502B-DA8D-1BCA-E625F3FAEE4C}"/>
                </a:ext>
              </a:extLst>
            </p:cNvPr>
            <p:cNvSpPr/>
            <p:nvPr/>
          </p:nvSpPr>
          <p:spPr>
            <a:xfrm>
              <a:off x="1742635" y="1557999"/>
              <a:ext cx="1324571" cy="524519"/>
            </a:xfrm>
            <a:custGeom>
              <a:avLst/>
              <a:gdLst>
                <a:gd name="connsiteX0" fmla="*/ 2220906 w 2220906"/>
                <a:gd name="connsiteY0" fmla="*/ 0 h 524519"/>
                <a:gd name="connsiteX1" fmla="*/ 2220906 w 2220906"/>
                <a:gd name="connsiteY1" fmla="*/ 524457 h 524519"/>
                <a:gd name="connsiteX2" fmla="*/ 0 w 2220906"/>
                <a:gd name="connsiteY2" fmla="*/ 524519 h 524519"/>
                <a:gd name="connsiteX3" fmla="*/ 0 w 2220906"/>
                <a:gd name="connsiteY3" fmla="*/ 62 h 5245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220906" h="524519">
                  <a:moveTo>
                    <a:pt x="2220906" y="0"/>
                  </a:moveTo>
                  <a:lnTo>
                    <a:pt x="2220906" y="524457"/>
                  </a:lnTo>
                  <a:lnTo>
                    <a:pt x="0" y="524519"/>
                  </a:lnTo>
                  <a:lnTo>
                    <a:pt x="0" y="62"/>
                  </a:lnTo>
                  <a:close/>
                </a:path>
              </a:pathLst>
            </a:custGeom>
            <a:grpFill/>
            <a:ln w="4244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8" name="Forma livre: Forma 197">
              <a:extLst>
                <a:ext uri="{FF2B5EF4-FFF2-40B4-BE49-F238E27FC236}">
                  <a16:creationId xmlns:a16="http://schemas.microsoft.com/office/drawing/2014/main" id="{656594AC-B4B7-243F-7999-B01AFB4AD5FC}"/>
                </a:ext>
              </a:extLst>
            </p:cNvPr>
            <p:cNvSpPr/>
            <p:nvPr/>
          </p:nvSpPr>
          <p:spPr>
            <a:xfrm flipV="1">
              <a:off x="1040323" y="1557978"/>
              <a:ext cx="1136476" cy="524519"/>
            </a:xfrm>
            <a:custGeom>
              <a:avLst/>
              <a:gdLst>
                <a:gd name="connsiteX0" fmla="*/ 103570 w 224310"/>
                <a:gd name="connsiteY0" fmla="*/ 103528 h 103527"/>
                <a:gd name="connsiteX1" fmla="*/ 189801 w 224310"/>
                <a:gd name="connsiteY1" fmla="*/ 103528 h 103527"/>
                <a:gd name="connsiteX2" fmla="*/ 224310 w 224310"/>
                <a:gd name="connsiteY2" fmla="*/ 0 h 103527"/>
                <a:gd name="connsiteX3" fmla="*/ 0 w 224310"/>
                <a:gd name="connsiteY3" fmla="*/ 0 h 103527"/>
                <a:gd name="connsiteX4" fmla="*/ 103528 w 224310"/>
                <a:gd name="connsiteY4" fmla="*/ 103528 h 1035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24310" h="103527">
                  <a:moveTo>
                    <a:pt x="103570" y="103528"/>
                  </a:moveTo>
                  <a:lnTo>
                    <a:pt x="189801" y="103528"/>
                  </a:lnTo>
                  <a:lnTo>
                    <a:pt x="224310" y="0"/>
                  </a:lnTo>
                  <a:lnTo>
                    <a:pt x="0" y="0"/>
                  </a:lnTo>
                  <a:cubicBezTo>
                    <a:pt x="0" y="57204"/>
                    <a:pt x="46367" y="103528"/>
                    <a:pt x="103528" y="103528"/>
                  </a:cubicBezTo>
                  <a:close/>
                </a:path>
              </a:pathLst>
            </a:custGeom>
            <a:grpFill/>
            <a:ln w="424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21" name="Agrupar 20">
            <a:extLst>
              <a:ext uri="{FF2B5EF4-FFF2-40B4-BE49-F238E27FC236}">
                <a16:creationId xmlns:a16="http://schemas.microsoft.com/office/drawing/2014/main" id="{C2377CC2-0949-A47E-C51D-2E43F8C4A9B5}"/>
              </a:ext>
            </a:extLst>
          </p:cNvPr>
          <p:cNvGrpSpPr/>
          <p:nvPr/>
        </p:nvGrpSpPr>
        <p:grpSpPr>
          <a:xfrm>
            <a:off x="8815076" y="2736209"/>
            <a:ext cx="1995896" cy="4121791"/>
            <a:chOff x="9155781" y="1557976"/>
            <a:chExt cx="1995896" cy="4121791"/>
          </a:xfrm>
          <a:solidFill>
            <a:srgbClr val="E5E5E5"/>
          </a:solidFill>
        </p:grpSpPr>
        <p:sp>
          <p:nvSpPr>
            <p:cNvPr id="41" name="Forma livre: Forma 40">
              <a:extLst>
                <a:ext uri="{FF2B5EF4-FFF2-40B4-BE49-F238E27FC236}">
                  <a16:creationId xmlns:a16="http://schemas.microsoft.com/office/drawing/2014/main" id="{1FAB0A0E-EE7B-4EC8-BF34-57177DB95A10}"/>
                </a:ext>
              </a:extLst>
            </p:cNvPr>
            <p:cNvSpPr/>
            <p:nvPr/>
          </p:nvSpPr>
          <p:spPr>
            <a:xfrm flipV="1">
              <a:off x="9155781" y="1557976"/>
              <a:ext cx="1289159" cy="524519"/>
            </a:xfrm>
            <a:custGeom>
              <a:avLst/>
              <a:gdLst>
                <a:gd name="connsiteX0" fmla="*/ 2220906 w 2220906"/>
                <a:gd name="connsiteY0" fmla="*/ 0 h 524519"/>
                <a:gd name="connsiteX1" fmla="*/ 2220906 w 2220906"/>
                <a:gd name="connsiteY1" fmla="*/ 524457 h 524519"/>
                <a:gd name="connsiteX2" fmla="*/ 0 w 2220906"/>
                <a:gd name="connsiteY2" fmla="*/ 524519 h 524519"/>
                <a:gd name="connsiteX3" fmla="*/ 0 w 2220906"/>
                <a:gd name="connsiteY3" fmla="*/ 62 h 5245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220906" h="524519">
                  <a:moveTo>
                    <a:pt x="2220906" y="0"/>
                  </a:moveTo>
                  <a:lnTo>
                    <a:pt x="2220906" y="524457"/>
                  </a:lnTo>
                  <a:lnTo>
                    <a:pt x="0" y="524519"/>
                  </a:lnTo>
                  <a:lnTo>
                    <a:pt x="0" y="62"/>
                  </a:lnTo>
                  <a:close/>
                </a:path>
              </a:pathLst>
            </a:custGeom>
            <a:grpFill/>
            <a:ln w="4244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" name="Retângulo 15">
              <a:extLst>
                <a:ext uri="{FF2B5EF4-FFF2-40B4-BE49-F238E27FC236}">
                  <a16:creationId xmlns:a16="http://schemas.microsoft.com/office/drawing/2014/main" id="{A2CBED34-4907-F270-6D49-F338C57A09D8}"/>
                </a:ext>
              </a:extLst>
            </p:cNvPr>
            <p:cNvSpPr/>
            <p:nvPr/>
          </p:nvSpPr>
          <p:spPr>
            <a:xfrm>
              <a:off x="9155782" y="2082455"/>
              <a:ext cx="1995895" cy="3597312"/>
            </a:xfrm>
            <a:prstGeom prst="rect">
              <a:avLst/>
            </a:prstGeom>
            <a:grpFill/>
            <a:ln w="4244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8" name="Forma livre: Forma 17">
              <a:extLst>
                <a:ext uri="{FF2B5EF4-FFF2-40B4-BE49-F238E27FC236}">
                  <a16:creationId xmlns:a16="http://schemas.microsoft.com/office/drawing/2014/main" id="{36B4EE54-E1CB-F6DD-859D-EE4BAE5AAE3A}"/>
                </a:ext>
              </a:extLst>
            </p:cNvPr>
            <p:cNvSpPr/>
            <p:nvPr/>
          </p:nvSpPr>
          <p:spPr>
            <a:xfrm flipH="1" flipV="1">
              <a:off x="10015201" y="1557978"/>
              <a:ext cx="1136476" cy="524519"/>
            </a:xfrm>
            <a:custGeom>
              <a:avLst/>
              <a:gdLst>
                <a:gd name="connsiteX0" fmla="*/ 103570 w 224310"/>
                <a:gd name="connsiteY0" fmla="*/ 103528 h 103527"/>
                <a:gd name="connsiteX1" fmla="*/ 189801 w 224310"/>
                <a:gd name="connsiteY1" fmla="*/ 103528 h 103527"/>
                <a:gd name="connsiteX2" fmla="*/ 224310 w 224310"/>
                <a:gd name="connsiteY2" fmla="*/ 0 h 103527"/>
                <a:gd name="connsiteX3" fmla="*/ 0 w 224310"/>
                <a:gd name="connsiteY3" fmla="*/ 0 h 103527"/>
                <a:gd name="connsiteX4" fmla="*/ 103528 w 224310"/>
                <a:gd name="connsiteY4" fmla="*/ 103528 h 1035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24310" h="103527">
                  <a:moveTo>
                    <a:pt x="103570" y="103528"/>
                  </a:moveTo>
                  <a:lnTo>
                    <a:pt x="189801" y="103528"/>
                  </a:lnTo>
                  <a:lnTo>
                    <a:pt x="224310" y="0"/>
                  </a:lnTo>
                  <a:lnTo>
                    <a:pt x="0" y="0"/>
                  </a:lnTo>
                  <a:cubicBezTo>
                    <a:pt x="0" y="57204"/>
                    <a:pt x="46367" y="103528"/>
                    <a:pt x="103528" y="103528"/>
                  </a:cubicBezTo>
                  <a:close/>
                </a:path>
              </a:pathLst>
            </a:custGeom>
            <a:grpFill/>
            <a:ln w="424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2" name="TextBox 28">
            <a:extLst>
              <a:ext uri="{FF2B5EF4-FFF2-40B4-BE49-F238E27FC236}">
                <a16:creationId xmlns:a16="http://schemas.microsoft.com/office/drawing/2014/main" id="{3BD7C1CD-A6A2-2ED2-8CED-C7E80F85E252}"/>
              </a:ext>
            </a:extLst>
          </p:cNvPr>
          <p:cNvSpPr txBox="1"/>
          <p:nvPr/>
        </p:nvSpPr>
        <p:spPr>
          <a:xfrm>
            <a:off x="322233" y="224830"/>
            <a:ext cx="517000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pt-PT"/>
            </a:defPPr>
            <a:lvl1pPr>
              <a:defRPr sz="1000">
                <a:solidFill>
                  <a:srgbClr val="0D0D0D">
                    <a:alpha val="60000"/>
                  </a:srgbClr>
                </a:solidFill>
                <a:latin typeface="Graphik Regular" panose="020B0503030202060203" pitchFamily="34" charset="0"/>
                <a:cs typeface="Segoe UI" panose="020B0502040204020203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30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LTIA Eddi Light" panose="020B0000000000020000" pitchFamily="34" charset="0"/>
                <a:ea typeface="ALTIA Eddi Light" panose="020B0000000000020000" pitchFamily="34" charset="0"/>
                <a:cs typeface="ALTIA Eddi Light" panose="020B0000000000020000" pitchFamily="34" charset="0"/>
              </a:rPr>
              <a:t>ELEMENTOS GRÁFICOS </a:t>
            </a:r>
            <a:r>
              <a:rPr kumimoji="0" lang="en-GB" sz="1200" b="1" i="0" u="none" strike="noStrike" kern="1200" cap="none" spc="300" normalizeH="0" baseline="0" noProof="0" dirty="0">
                <a:ln>
                  <a:noFill/>
                </a:ln>
                <a:solidFill>
                  <a:srgbClr val="132153"/>
                </a:solidFill>
                <a:effectLst/>
                <a:uLnTx/>
                <a:uFillTx/>
                <a:latin typeface="ALTIA Eddi" panose="020B0000000000020000" pitchFamily="34" charset="0"/>
                <a:ea typeface="ALTIA Eddi" panose="020B0000000000020000" pitchFamily="34" charset="0"/>
                <a:cs typeface="ALTIA Eddi" panose="020B0000000000020000" pitchFamily="34" charset="0"/>
              </a:rPr>
              <a:t>EN COMPOSICIÓN LIBRE</a:t>
            </a:r>
          </a:p>
        </p:txBody>
      </p:sp>
      <p:sp>
        <p:nvSpPr>
          <p:cNvPr id="4" name="!!_Blue Light">
            <a:extLst>
              <a:ext uri="{FF2B5EF4-FFF2-40B4-BE49-F238E27FC236}">
                <a16:creationId xmlns:a16="http://schemas.microsoft.com/office/drawing/2014/main" id="{25FCA882-6348-0D4C-A9FA-BC14457A2AD4}"/>
              </a:ext>
            </a:extLst>
          </p:cNvPr>
          <p:cNvSpPr/>
          <p:nvPr/>
        </p:nvSpPr>
        <p:spPr>
          <a:xfrm>
            <a:off x="7847200" y="-3942358"/>
            <a:ext cx="9000203" cy="9000203"/>
          </a:xfrm>
          <a:prstGeom prst="ellipse">
            <a:avLst/>
          </a:prstGeom>
          <a:gradFill flip="none" rotWithShape="1">
            <a:gsLst>
              <a:gs pos="5000">
                <a:srgbClr val="184BFF"/>
              </a:gs>
              <a:gs pos="56000">
                <a:srgbClr val="184BFF">
                  <a:alpha val="0"/>
                </a:srgb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  <a:effectLst>
            <a:softEdge rad="1270000"/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PT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8" name="Forma livre: Forma 67">
            <a:extLst>
              <a:ext uri="{FF2B5EF4-FFF2-40B4-BE49-F238E27FC236}">
                <a16:creationId xmlns:a16="http://schemas.microsoft.com/office/drawing/2014/main" id="{F1521DD9-3B99-E78D-8E0F-8CA3CB15AFC7}"/>
              </a:ext>
            </a:extLst>
          </p:cNvPr>
          <p:cNvSpPr/>
          <p:nvPr/>
        </p:nvSpPr>
        <p:spPr>
          <a:xfrm>
            <a:off x="5531638" y="2736211"/>
            <a:ext cx="2105314" cy="3186890"/>
          </a:xfrm>
          <a:custGeom>
            <a:avLst/>
            <a:gdLst>
              <a:gd name="connsiteX0" fmla="*/ 2220906 w 2220906"/>
              <a:gd name="connsiteY0" fmla="*/ 0 h 524519"/>
              <a:gd name="connsiteX1" fmla="*/ 2220906 w 2220906"/>
              <a:gd name="connsiteY1" fmla="*/ 524457 h 524519"/>
              <a:gd name="connsiteX2" fmla="*/ 0 w 2220906"/>
              <a:gd name="connsiteY2" fmla="*/ 524519 h 524519"/>
              <a:gd name="connsiteX3" fmla="*/ 0 w 2220906"/>
              <a:gd name="connsiteY3" fmla="*/ 62 h 5245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220906" h="524519">
                <a:moveTo>
                  <a:pt x="2220906" y="0"/>
                </a:moveTo>
                <a:lnTo>
                  <a:pt x="2220906" y="524457"/>
                </a:lnTo>
                <a:lnTo>
                  <a:pt x="0" y="524519"/>
                </a:lnTo>
                <a:lnTo>
                  <a:pt x="0" y="62"/>
                </a:lnTo>
                <a:close/>
              </a:path>
            </a:pathLst>
          </a:custGeom>
          <a:solidFill>
            <a:schemeClr val="bg1"/>
          </a:solidFill>
          <a:ln w="4244" cap="flat">
            <a:noFill/>
            <a:prstDash val="solid"/>
            <a:miter/>
          </a:ln>
          <a:effectLst>
            <a:outerShdw blurRad="254000" algn="ctr" rotWithShape="0">
              <a:srgbClr val="132153">
                <a:alpha val="5000"/>
              </a:srgb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PT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23" name="Agrupar 22">
            <a:extLst>
              <a:ext uri="{FF2B5EF4-FFF2-40B4-BE49-F238E27FC236}">
                <a16:creationId xmlns:a16="http://schemas.microsoft.com/office/drawing/2014/main" id="{FF4AF14D-0ACA-D8E2-6706-90F32C11B4E5}"/>
              </a:ext>
            </a:extLst>
          </p:cNvPr>
          <p:cNvGrpSpPr/>
          <p:nvPr/>
        </p:nvGrpSpPr>
        <p:grpSpPr>
          <a:xfrm flipH="1">
            <a:off x="3504755" y="2736211"/>
            <a:ext cx="1910183" cy="524519"/>
            <a:chOff x="6144819" y="1557978"/>
            <a:chExt cx="1910183" cy="524519"/>
          </a:xfrm>
        </p:grpSpPr>
        <p:sp>
          <p:nvSpPr>
            <p:cNvPr id="52" name="Forma livre: Forma 51">
              <a:extLst>
                <a:ext uri="{FF2B5EF4-FFF2-40B4-BE49-F238E27FC236}">
                  <a16:creationId xmlns:a16="http://schemas.microsoft.com/office/drawing/2014/main" id="{44B618EA-8928-73A3-AE7A-9908A98C5087}"/>
                </a:ext>
              </a:extLst>
            </p:cNvPr>
            <p:cNvSpPr/>
            <p:nvPr/>
          </p:nvSpPr>
          <p:spPr>
            <a:xfrm flipV="1">
              <a:off x="6391198" y="1557978"/>
              <a:ext cx="957067" cy="524519"/>
            </a:xfrm>
            <a:custGeom>
              <a:avLst/>
              <a:gdLst>
                <a:gd name="connsiteX0" fmla="*/ 2220906 w 2220906"/>
                <a:gd name="connsiteY0" fmla="*/ 0 h 524519"/>
                <a:gd name="connsiteX1" fmla="*/ 2220906 w 2220906"/>
                <a:gd name="connsiteY1" fmla="*/ 524457 h 524519"/>
                <a:gd name="connsiteX2" fmla="*/ 0 w 2220906"/>
                <a:gd name="connsiteY2" fmla="*/ 524519 h 524519"/>
                <a:gd name="connsiteX3" fmla="*/ 0 w 2220906"/>
                <a:gd name="connsiteY3" fmla="*/ 62 h 5245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220906" h="524519">
                  <a:moveTo>
                    <a:pt x="2220906" y="0"/>
                  </a:moveTo>
                  <a:lnTo>
                    <a:pt x="2220906" y="524457"/>
                  </a:lnTo>
                  <a:lnTo>
                    <a:pt x="0" y="524519"/>
                  </a:lnTo>
                  <a:lnTo>
                    <a:pt x="0" y="62"/>
                  </a:lnTo>
                  <a:close/>
                </a:path>
              </a:pathLst>
            </a:custGeom>
            <a:solidFill>
              <a:srgbClr val="184BFF"/>
            </a:solidFill>
            <a:ln w="4244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0" name="Forma livre: Forma 49">
              <a:extLst>
                <a:ext uri="{FF2B5EF4-FFF2-40B4-BE49-F238E27FC236}">
                  <a16:creationId xmlns:a16="http://schemas.microsoft.com/office/drawing/2014/main" id="{32D6D4C4-9FD1-7D31-626C-AD287CFB081B}"/>
                </a:ext>
              </a:extLst>
            </p:cNvPr>
            <p:cNvSpPr/>
            <p:nvPr/>
          </p:nvSpPr>
          <p:spPr>
            <a:xfrm>
              <a:off x="6144819" y="1557978"/>
              <a:ext cx="300344" cy="524477"/>
            </a:xfrm>
            <a:custGeom>
              <a:avLst/>
              <a:gdLst>
                <a:gd name="connsiteX0" fmla="*/ 176678 w 303531"/>
                <a:gd name="connsiteY0" fmla="*/ 0 h 530042"/>
                <a:gd name="connsiteX1" fmla="*/ 303531 w 303531"/>
                <a:gd name="connsiteY1" fmla="*/ 0 h 530042"/>
                <a:gd name="connsiteX2" fmla="*/ 303531 w 303531"/>
                <a:gd name="connsiteY2" fmla="*/ 530042 h 530042"/>
                <a:gd name="connsiteX3" fmla="*/ 0 w 303531"/>
                <a:gd name="connsiteY3" fmla="*/ 530042 h 5300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03531" h="530042">
                  <a:moveTo>
                    <a:pt x="176678" y="0"/>
                  </a:moveTo>
                  <a:lnTo>
                    <a:pt x="303531" y="0"/>
                  </a:lnTo>
                  <a:lnTo>
                    <a:pt x="303531" y="530042"/>
                  </a:lnTo>
                  <a:lnTo>
                    <a:pt x="0" y="530042"/>
                  </a:lnTo>
                  <a:close/>
                </a:path>
              </a:pathLst>
            </a:custGeom>
            <a:solidFill>
              <a:srgbClr val="184BFF"/>
            </a:solidFill>
            <a:ln w="4244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" name="Forma livre: Forma 16">
              <a:extLst>
                <a:ext uri="{FF2B5EF4-FFF2-40B4-BE49-F238E27FC236}">
                  <a16:creationId xmlns:a16="http://schemas.microsoft.com/office/drawing/2014/main" id="{6433982F-2702-A505-AA1A-024728860672}"/>
                </a:ext>
              </a:extLst>
            </p:cNvPr>
            <p:cNvSpPr/>
            <p:nvPr/>
          </p:nvSpPr>
          <p:spPr>
            <a:xfrm flipH="1" flipV="1">
              <a:off x="6918526" y="1557978"/>
              <a:ext cx="1136476" cy="524519"/>
            </a:xfrm>
            <a:custGeom>
              <a:avLst/>
              <a:gdLst>
                <a:gd name="connsiteX0" fmla="*/ 103570 w 224310"/>
                <a:gd name="connsiteY0" fmla="*/ 103528 h 103527"/>
                <a:gd name="connsiteX1" fmla="*/ 189801 w 224310"/>
                <a:gd name="connsiteY1" fmla="*/ 103528 h 103527"/>
                <a:gd name="connsiteX2" fmla="*/ 224310 w 224310"/>
                <a:gd name="connsiteY2" fmla="*/ 0 h 103527"/>
                <a:gd name="connsiteX3" fmla="*/ 0 w 224310"/>
                <a:gd name="connsiteY3" fmla="*/ 0 h 103527"/>
                <a:gd name="connsiteX4" fmla="*/ 103528 w 224310"/>
                <a:gd name="connsiteY4" fmla="*/ 103528 h 1035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24310" h="103527">
                  <a:moveTo>
                    <a:pt x="103570" y="103528"/>
                  </a:moveTo>
                  <a:lnTo>
                    <a:pt x="189801" y="103528"/>
                  </a:lnTo>
                  <a:lnTo>
                    <a:pt x="224310" y="0"/>
                  </a:lnTo>
                  <a:lnTo>
                    <a:pt x="0" y="0"/>
                  </a:lnTo>
                  <a:cubicBezTo>
                    <a:pt x="0" y="57204"/>
                    <a:pt x="46367" y="103528"/>
                    <a:pt x="103528" y="103528"/>
                  </a:cubicBezTo>
                  <a:close/>
                </a:path>
              </a:pathLst>
            </a:custGeom>
            <a:solidFill>
              <a:srgbClr val="184BFF"/>
            </a:solidFill>
            <a:ln w="424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27" name="Agrupar 26">
            <a:extLst>
              <a:ext uri="{FF2B5EF4-FFF2-40B4-BE49-F238E27FC236}">
                <a16:creationId xmlns:a16="http://schemas.microsoft.com/office/drawing/2014/main" id="{3E62AD5B-86E9-6964-C54B-1A08D72AF06D}"/>
              </a:ext>
            </a:extLst>
          </p:cNvPr>
          <p:cNvGrpSpPr/>
          <p:nvPr/>
        </p:nvGrpSpPr>
        <p:grpSpPr>
          <a:xfrm flipH="1">
            <a:off x="6546670" y="1557978"/>
            <a:ext cx="4264505" cy="524539"/>
            <a:chOff x="1040323" y="1557978"/>
            <a:chExt cx="4264505" cy="524539"/>
          </a:xfrm>
          <a:solidFill>
            <a:srgbClr val="132153"/>
          </a:solidFill>
        </p:grpSpPr>
        <p:sp>
          <p:nvSpPr>
            <p:cNvPr id="28" name="Forma livre: Forma 27">
              <a:extLst>
                <a:ext uri="{FF2B5EF4-FFF2-40B4-BE49-F238E27FC236}">
                  <a16:creationId xmlns:a16="http://schemas.microsoft.com/office/drawing/2014/main" id="{157FC123-4ECC-467F-2B6A-12396D8E039E}"/>
                </a:ext>
              </a:extLst>
            </p:cNvPr>
            <p:cNvSpPr/>
            <p:nvPr/>
          </p:nvSpPr>
          <p:spPr>
            <a:xfrm>
              <a:off x="1742635" y="1557998"/>
              <a:ext cx="2627333" cy="524519"/>
            </a:xfrm>
            <a:custGeom>
              <a:avLst/>
              <a:gdLst>
                <a:gd name="connsiteX0" fmla="*/ 2220906 w 2220906"/>
                <a:gd name="connsiteY0" fmla="*/ 0 h 524519"/>
                <a:gd name="connsiteX1" fmla="*/ 2220906 w 2220906"/>
                <a:gd name="connsiteY1" fmla="*/ 524457 h 524519"/>
                <a:gd name="connsiteX2" fmla="*/ 0 w 2220906"/>
                <a:gd name="connsiteY2" fmla="*/ 524519 h 524519"/>
                <a:gd name="connsiteX3" fmla="*/ 0 w 2220906"/>
                <a:gd name="connsiteY3" fmla="*/ 62 h 5245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220906" h="524519">
                  <a:moveTo>
                    <a:pt x="2220906" y="0"/>
                  </a:moveTo>
                  <a:lnTo>
                    <a:pt x="2220906" y="524457"/>
                  </a:lnTo>
                  <a:lnTo>
                    <a:pt x="0" y="524519"/>
                  </a:lnTo>
                  <a:lnTo>
                    <a:pt x="0" y="62"/>
                  </a:lnTo>
                  <a:close/>
                </a:path>
              </a:pathLst>
            </a:custGeom>
            <a:grpFill/>
            <a:ln w="4244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9" name="Forma livre: Forma 28">
              <a:extLst>
                <a:ext uri="{FF2B5EF4-FFF2-40B4-BE49-F238E27FC236}">
                  <a16:creationId xmlns:a16="http://schemas.microsoft.com/office/drawing/2014/main" id="{72B4CFA9-763C-D27F-596D-F688219FE019}"/>
                </a:ext>
              </a:extLst>
            </p:cNvPr>
            <p:cNvSpPr/>
            <p:nvPr/>
          </p:nvSpPr>
          <p:spPr>
            <a:xfrm flipV="1">
              <a:off x="1040323" y="1557978"/>
              <a:ext cx="1136476" cy="524519"/>
            </a:xfrm>
            <a:custGeom>
              <a:avLst/>
              <a:gdLst>
                <a:gd name="connsiteX0" fmla="*/ 103570 w 224310"/>
                <a:gd name="connsiteY0" fmla="*/ 103528 h 103527"/>
                <a:gd name="connsiteX1" fmla="*/ 189801 w 224310"/>
                <a:gd name="connsiteY1" fmla="*/ 103528 h 103527"/>
                <a:gd name="connsiteX2" fmla="*/ 224310 w 224310"/>
                <a:gd name="connsiteY2" fmla="*/ 0 h 103527"/>
                <a:gd name="connsiteX3" fmla="*/ 0 w 224310"/>
                <a:gd name="connsiteY3" fmla="*/ 0 h 103527"/>
                <a:gd name="connsiteX4" fmla="*/ 103528 w 224310"/>
                <a:gd name="connsiteY4" fmla="*/ 103528 h 1035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24310" h="103527">
                  <a:moveTo>
                    <a:pt x="103570" y="103528"/>
                  </a:moveTo>
                  <a:lnTo>
                    <a:pt x="189801" y="103528"/>
                  </a:lnTo>
                  <a:lnTo>
                    <a:pt x="224310" y="0"/>
                  </a:lnTo>
                  <a:lnTo>
                    <a:pt x="0" y="0"/>
                  </a:lnTo>
                  <a:cubicBezTo>
                    <a:pt x="0" y="57204"/>
                    <a:pt x="46367" y="103528"/>
                    <a:pt x="103528" y="103528"/>
                  </a:cubicBezTo>
                  <a:close/>
                </a:path>
              </a:pathLst>
            </a:custGeom>
            <a:grpFill/>
            <a:ln w="424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0" name="Forma livre: Forma 29">
              <a:extLst>
                <a:ext uri="{FF2B5EF4-FFF2-40B4-BE49-F238E27FC236}">
                  <a16:creationId xmlns:a16="http://schemas.microsoft.com/office/drawing/2014/main" id="{A160C3B9-AB34-852F-C852-8744519666A4}"/>
                </a:ext>
              </a:extLst>
            </p:cNvPr>
            <p:cNvSpPr/>
            <p:nvPr/>
          </p:nvSpPr>
          <p:spPr>
            <a:xfrm flipH="1">
              <a:off x="4168352" y="1557978"/>
              <a:ext cx="1136476" cy="524519"/>
            </a:xfrm>
            <a:custGeom>
              <a:avLst/>
              <a:gdLst>
                <a:gd name="connsiteX0" fmla="*/ 103570 w 224310"/>
                <a:gd name="connsiteY0" fmla="*/ 103528 h 103527"/>
                <a:gd name="connsiteX1" fmla="*/ 189801 w 224310"/>
                <a:gd name="connsiteY1" fmla="*/ 103528 h 103527"/>
                <a:gd name="connsiteX2" fmla="*/ 224310 w 224310"/>
                <a:gd name="connsiteY2" fmla="*/ 0 h 103527"/>
                <a:gd name="connsiteX3" fmla="*/ 0 w 224310"/>
                <a:gd name="connsiteY3" fmla="*/ 0 h 103527"/>
                <a:gd name="connsiteX4" fmla="*/ 103528 w 224310"/>
                <a:gd name="connsiteY4" fmla="*/ 103528 h 1035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24310" h="103527">
                  <a:moveTo>
                    <a:pt x="103570" y="103528"/>
                  </a:moveTo>
                  <a:lnTo>
                    <a:pt x="189801" y="103528"/>
                  </a:lnTo>
                  <a:lnTo>
                    <a:pt x="224310" y="0"/>
                  </a:lnTo>
                  <a:lnTo>
                    <a:pt x="0" y="0"/>
                  </a:lnTo>
                  <a:cubicBezTo>
                    <a:pt x="0" y="57204"/>
                    <a:pt x="46367" y="103528"/>
                    <a:pt x="103528" y="103528"/>
                  </a:cubicBezTo>
                  <a:close/>
                </a:path>
              </a:pathLst>
            </a:custGeom>
            <a:grpFill/>
            <a:ln w="424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31" name="Oval 30">
            <a:extLst>
              <a:ext uri="{FF2B5EF4-FFF2-40B4-BE49-F238E27FC236}">
                <a16:creationId xmlns:a16="http://schemas.microsoft.com/office/drawing/2014/main" id="{E1759315-12AD-8406-26E4-E8466DC07674}"/>
              </a:ext>
            </a:extLst>
          </p:cNvPr>
          <p:cNvSpPr/>
          <p:nvPr/>
        </p:nvSpPr>
        <p:spPr>
          <a:xfrm>
            <a:off x="9974937" y="1737804"/>
            <a:ext cx="675774" cy="675774"/>
          </a:xfrm>
          <a:prstGeom prst="ellipse">
            <a:avLst/>
          </a:prstGeom>
          <a:solidFill>
            <a:srgbClr val="00FF94"/>
          </a:solidFill>
          <a:ln w="4244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PT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22" name="Agrupar 21">
            <a:extLst>
              <a:ext uri="{FF2B5EF4-FFF2-40B4-BE49-F238E27FC236}">
                <a16:creationId xmlns:a16="http://schemas.microsoft.com/office/drawing/2014/main" id="{D50E1589-26FB-CA98-3462-DD13BA90AF7B}"/>
              </a:ext>
            </a:extLst>
          </p:cNvPr>
          <p:cNvGrpSpPr/>
          <p:nvPr/>
        </p:nvGrpSpPr>
        <p:grpSpPr>
          <a:xfrm flipH="1">
            <a:off x="3504755" y="1557978"/>
            <a:ext cx="3629954" cy="524539"/>
            <a:chOff x="1040323" y="1557978"/>
            <a:chExt cx="3629954" cy="524539"/>
          </a:xfrm>
        </p:grpSpPr>
        <p:sp>
          <p:nvSpPr>
            <p:cNvPr id="38" name="Forma livre: Forma 37">
              <a:extLst>
                <a:ext uri="{FF2B5EF4-FFF2-40B4-BE49-F238E27FC236}">
                  <a16:creationId xmlns:a16="http://schemas.microsoft.com/office/drawing/2014/main" id="{D69E5248-E8E6-2C0B-3652-E607CDE49C71}"/>
                </a:ext>
              </a:extLst>
            </p:cNvPr>
            <p:cNvSpPr/>
            <p:nvPr/>
          </p:nvSpPr>
          <p:spPr>
            <a:xfrm>
              <a:off x="1742635" y="1557998"/>
              <a:ext cx="2220906" cy="524519"/>
            </a:xfrm>
            <a:custGeom>
              <a:avLst/>
              <a:gdLst>
                <a:gd name="connsiteX0" fmla="*/ 2220906 w 2220906"/>
                <a:gd name="connsiteY0" fmla="*/ 0 h 524519"/>
                <a:gd name="connsiteX1" fmla="*/ 2220906 w 2220906"/>
                <a:gd name="connsiteY1" fmla="*/ 524457 h 524519"/>
                <a:gd name="connsiteX2" fmla="*/ 0 w 2220906"/>
                <a:gd name="connsiteY2" fmla="*/ 524519 h 524519"/>
                <a:gd name="connsiteX3" fmla="*/ 0 w 2220906"/>
                <a:gd name="connsiteY3" fmla="*/ 62 h 5245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220906" h="524519">
                  <a:moveTo>
                    <a:pt x="2220906" y="0"/>
                  </a:moveTo>
                  <a:lnTo>
                    <a:pt x="2220906" y="524457"/>
                  </a:lnTo>
                  <a:lnTo>
                    <a:pt x="0" y="524519"/>
                  </a:lnTo>
                  <a:lnTo>
                    <a:pt x="0" y="62"/>
                  </a:lnTo>
                  <a:close/>
                </a:path>
              </a:pathLst>
            </a:custGeom>
            <a:solidFill>
              <a:srgbClr val="184BFF"/>
            </a:solidFill>
            <a:ln w="4244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" name="Forma livre: Forma 18">
              <a:extLst>
                <a:ext uri="{FF2B5EF4-FFF2-40B4-BE49-F238E27FC236}">
                  <a16:creationId xmlns:a16="http://schemas.microsoft.com/office/drawing/2014/main" id="{B5593314-BA16-48E1-DA89-D302C1DC9716}"/>
                </a:ext>
              </a:extLst>
            </p:cNvPr>
            <p:cNvSpPr/>
            <p:nvPr/>
          </p:nvSpPr>
          <p:spPr>
            <a:xfrm flipV="1">
              <a:off x="1040323" y="1557978"/>
              <a:ext cx="1136476" cy="524519"/>
            </a:xfrm>
            <a:custGeom>
              <a:avLst/>
              <a:gdLst>
                <a:gd name="connsiteX0" fmla="*/ 103570 w 224310"/>
                <a:gd name="connsiteY0" fmla="*/ 103528 h 103527"/>
                <a:gd name="connsiteX1" fmla="*/ 189801 w 224310"/>
                <a:gd name="connsiteY1" fmla="*/ 103528 h 103527"/>
                <a:gd name="connsiteX2" fmla="*/ 224310 w 224310"/>
                <a:gd name="connsiteY2" fmla="*/ 0 h 103527"/>
                <a:gd name="connsiteX3" fmla="*/ 0 w 224310"/>
                <a:gd name="connsiteY3" fmla="*/ 0 h 103527"/>
                <a:gd name="connsiteX4" fmla="*/ 103528 w 224310"/>
                <a:gd name="connsiteY4" fmla="*/ 103528 h 1035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24310" h="103527">
                  <a:moveTo>
                    <a:pt x="103570" y="103528"/>
                  </a:moveTo>
                  <a:lnTo>
                    <a:pt x="189801" y="103528"/>
                  </a:lnTo>
                  <a:lnTo>
                    <a:pt x="224310" y="0"/>
                  </a:lnTo>
                  <a:lnTo>
                    <a:pt x="0" y="0"/>
                  </a:lnTo>
                  <a:cubicBezTo>
                    <a:pt x="0" y="57204"/>
                    <a:pt x="46367" y="103528"/>
                    <a:pt x="103528" y="103528"/>
                  </a:cubicBezTo>
                  <a:close/>
                </a:path>
              </a:pathLst>
            </a:custGeom>
            <a:solidFill>
              <a:srgbClr val="184BFF"/>
            </a:solidFill>
            <a:ln w="424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" name="Forma livre: Forma 19">
              <a:extLst>
                <a:ext uri="{FF2B5EF4-FFF2-40B4-BE49-F238E27FC236}">
                  <a16:creationId xmlns:a16="http://schemas.microsoft.com/office/drawing/2014/main" id="{DFAA4CAC-0CBA-BEEC-946E-94CCF090B095}"/>
                </a:ext>
              </a:extLst>
            </p:cNvPr>
            <p:cNvSpPr/>
            <p:nvPr/>
          </p:nvSpPr>
          <p:spPr>
            <a:xfrm flipH="1">
              <a:off x="3533801" y="1557978"/>
              <a:ext cx="1136476" cy="524519"/>
            </a:xfrm>
            <a:custGeom>
              <a:avLst/>
              <a:gdLst>
                <a:gd name="connsiteX0" fmla="*/ 103570 w 224310"/>
                <a:gd name="connsiteY0" fmla="*/ 103528 h 103527"/>
                <a:gd name="connsiteX1" fmla="*/ 189801 w 224310"/>
                <a:gd name="connsiteY1" fmla="*/ 103528 h 103527"/>
                <a:gd name="connsiteX2" fmla="*/ 224310 w 224310"/>
                <a:gd name="connsiteY2" fmla="*/ 0 h 103527"/>
                <a:gd name="connsiteX3" fmla="*/ 0 w 224310"/>
                <a:gd name="connsiteY3" fmla="*/ 0 h 103527"/>
                <a:gd name="connsiteX4" fmla="*/ 103528 w 224310"/>
                <a:gd name="connsiteY4" fmla="*/ 103528 h 1035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24310" h="103527">
                  <a:moveTo>
                    <a:pt x="103570" y="103528"/>
                  </a:moveTo>
                  <a:lnTo>
                    <a:pt x="189801" y="103528"/>
                  </a:lnTo>
                  <a:lnTo>
                    <a:pt x="224310" y="0"/>
                  </a:lnTo>
                  <a:lnTo>
                    <a:pt x="0" y="0"/>
                  </a:lnTo>
                  <a:cubicBezTo>
                    <a:pt x="0" y="57204"/>
                    <a:pt x="46367" y="103528"/>
                    <a:pt x="103528" y="103528"/>
                  </a:cubicBezTo>
                  <a:close/>
                </a:path>
              </a:pathLst>
            </a:custGeom>
            <a:solidFill>
              <a:srgbClr val="184BFF"/>
            </a:solidFill>
            <a:ln w="424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26" name="Oval 25">
            <a:extLst>
              <a:ext uri="{FF2B5EF4-FFF2-40B4-BE49-F238E27FC236}">
                <a16:creationId xmlns:a16="http://schemas.microsoft.com/office/drawing/2014/main" id="{6807B105-EB36-CA9C-7BCA-5F0C3D19565B}"/>
              </a:ext>
            </a:extLst>
          </p:cNvPr>
          <p:cNvSpPr/>
          <p:nvPr/>
        </p:nvSpPr>
        <p:spPr>
          <a:xfrm>
            <a:off x="3695968" y="1220071"/>
            <a:ext cx="675774" cy="675774"/>
          </a:xfrm>
          <a:prstGeom prst="ellipse">
            <a:avLst/>
          </a:prstGeom>
          <a:solidFill>
            <a:srgbClr val="132153"/>
          </a:solidFill>
          <a:ln w="4244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PT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70" name="Agrupar 69">
            <a:extLst>
              <a:ext uri="{FF2B5EF4-FFF2-40B4-BE49-F238E27FC236}">
                <a16:creationId xmlns:a16="http://schemas.microsoft.com/office/drawing/2014/main" id="{7B4CCC41-E5FE-1C85-06E9-955EDA1CFA64}"/>
              </a:ext>
            </a:extLst>
          </p:cNvPr>
          <p:cNvGrpSpPr/>
          <p:nvPr/>
        </p:nvGrpSpPr>
        <p:grpSpPr>
          <a:xfrm>
            <a:off x="3850128" y="1357908"/>
            <a:ext cx="365300" cy="398929"/>
            <a:chOff x="6000092" y="1357908"/>
            <a:chExt cx="365300" cy="398929"/>
          </a:xfrm>
        </p:grpSpPr>
        <p:sp>
          <p:nvSpPr>
            <p:cNvPr id="37" name="Forma livre: Forma 36">
              <a:extLst>
                <a:ext uri="{FF2B5EF4-FFF2-40B4-BE49-F238E27FC236}">
                  <a16:creationId xmlns:a16="http://schemas.microsoft.com/office/drawing/2014/main" id="{C70A5869-50CD-00B2-37B3-6D329C4316FE}"/>
                </a:ext>
              </a:extLst>
            </p:cNvPr>
            <p:cNvSpPr/>
            <p:nvPr/>
          </p:nvSpPr>
          <p:spPr>
            <a:xfrm>
              <a:off x="6000092" y="1418606"/>
              <a:ext cx="84058" cy="286120"/>
            </a:xfrm>
            <a:custGeom>
              <a:avLst/>
              <a:gdLst>
                <a:gd name="connsiteX0" fmla="*/ 51595 w 84058"/>
                <a:gd name="connsiteY0" fmla="*/ 0 h 286120"/>
                <a:gd name="connsiteX1" fmla="*/ 35266 w 84058"/>
                <a:gd name="connsiteY1" fmla="*/ 61674 h 286120"/>
                <a:gd name="connsiteX2" fmla="*/ 28760 w 84058"/>
                <a:gd name="connsiteY2" fmla="*/ 193415 h 286120"/>
                <a:gd name="connsiteX3" fmla="*/ 84059 w 84058"/>
                <a:gd name="connsiteY3" fmla="*/ 286121 h 2861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4058" h="286120">
                  <a:moveTo>
                    <a:pt x="51595" y="0"/>
                  </a:moveTo>
                  <a:cubicBezTo>
                    <a:pt x="37868" y="7872"/>
                    <a:pt x="26028" y="24852"/>
                    <a:pt x="35266" y="61674"/>
                  </a:cubicBezTo>
                  <a:cubicBezTo>
                    <a:pt x="35266" y="61674"/>
                    <a:pt x="-39549" y="126731"/>
                    <a:pt x="28760" y="193415"/>
                  </a:cubicBezTo>
                  <a:cubicBezTo>
                    <a:pt x="28760" y="193415"/>
                    <a:pt x="9243" y="281242"/>
                    <a:pt x="84059" y="286121"/>
                  </a:cubicBezTo>
                </a:path>
              </a:pathLst>
            </a:custGeom>
            <a:noFill/>
            <a:ln w="19050" cap="sq">
              <a:solidFill>
                <a:srgbClr val="00FF94"/>
              </a:solidFill>
              <a:prstDash val="solid"/>
              <a:miter lim="800000"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grpSp>
          <p:nvGrpSpPr>
            <p:cNvPr id="43" name="Gráfico 32">
              <a:extLst>
                <a:ext uri="{FF2B5EF4-FFF2-40B4-BE49-F238E27FC236}">
                  <a16:creationId xmlns:a16="http://schemas.microsoft.com/office/drawing/2014/main" id="{A0C9CEB4-4E10-54E6-6733-A70C27EEAE2C}"/>
                </a:ext>
              </a:extLst>
            </p:cNvPr>
            <p:cNvGrpSpPr/>
            <p:nvPr/>
          </p:nvGrpSpPr>
          <p:grpSpPr>
            <a:xfrm>
              <a:off x="6061121" y="1359924"/>
              <a:ext cx="128487" cy="396366"/>
              <a:chOff x="6061121" y="1359924"/>
              <a:chExt cx="128487" cy="396366"/>
            </a:xfrm>
            <a:noFill/>
          </p:grpSpPr>
          <p:sp>
            <p:nvSpPr>
              <p:cNvPr id="44" name="Forma livre: Forma 43">
                <a:extLst>
                  <a:ext uri="{FF2B5EF4-FFF2-40B4-BE49-F238E27FC236}">
                    <a16:creationId xmlns:a16="http://schemas.microsoft.com/office/drawing/2014/main" id="{BC8AD440-5B52-7DF8-2642-C9310EEDF8DD}"/>
                  </a:ext>
                </a:extLst>
              </p:cNvPr>
              <p:cNvSpPr/>
              <p:nvPr/>
            </p:nvSpPr>
            <p:spPr>
              <a:xfrm>
                <a:off x="6083891" y="1359924"/>
                <a:ext cx="105717" cy="396366"/>
              </a:xfrm>
              <a:custGeom>
                <a:avLst/>
                <a:gdLst>
                  <a:gd name="connsiteX0" fmla="*/ 52891 w 105717"/>
                  <a:gd name="connsiteY0" fmla="*/ 105718 h 396366"/>
                  <a:gd name="connsiteX1" fmla="*/ 0 w 105717"/>
                  <a:gd name="connsiteY1" fmla="*/ 52891 h 396366"/>
                  <a:gd name="connsiteX2" fmla="*/ 52891 w 105717"/>
                  <a:gd name="connsiteY2" fmla="*/ 0 h 396366"/>
                  <a:gd name="connsiteX3" fmla="*/ 105718 w 105717"/>
                  <a:gd name="connsiteY3" fmla="*/ 52826 h 396366"/>
                  <a:gd name="connsiteX4" fmla="*/ 105718 w 105717"/>
                  <a:gd name="connsiteY4" fmla="*/ 346884 h 396366"/>
                  <a:gd name="connsiteX5" fmla="*/ 80606 w 105717"/>
                  <a:gd name="connsiteY5" fmla="*/ 388911 h 396366"/>
                  <a:gd name="connsiteX6" fmla="*/ 9238 w 105717"/>
                  <a:gd name="connsiteY6" fmla="*/ 371150 h 396366"/>
                  <a:gd name="connsiteX7" fmla="*/ 15484 w 105717"/>
                  <a:gd name="connsiteY7" fmla="*/ 309216 h 396366"/>
                  <a:gd name="connsiteX8" fmla="*/ 45019 w 105717"/>
                  <a:gd name="connsiteY8" fmla="*/ 277078 h 3963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05717" h="396366">
                    <a:moveTo>
                      <a:pt x="52891" y="105718"/>
                    </a:moveTo>
                    <a:cubicBezTo>
                      <a:pt x="23681" y="105718"/>
                      <a:pt x="0" y="82037"/>
                      <a:pt x="0" y="52891"/>
                    </a:cubicBezTo>
                    <a:cubicBezTo>
                      <a:pt x="0" y="23746"/>
                      <a:pt x="23681" y="0"/>
                      <a:pt x="52891" y="0"/>
                    </a:cubicBezTo>
                    <a:cubicBezTo>
                      <a:pt x="82102" y="0"/>
                      <a:pt x="105718" y="23681"/>
                      <a:pt x="105718" y="52826"/>
                    </a:cubicBezTo>
                    <a:lnTo>
                      <a:pt x="105718" y="346884"/>
                    </a:lnTo>
                    <a:cubicBezTo>
                      <a:pt x="105718" y="364580"/>
                      <a:pt x="96414" y="379413"/>
                      <a:pt x="80606" y="388911"/>
                    </a:cubicBezTo>
                    <a:cubicBezTo>
                      <a:pt x="55949" y="403744"/>
                      <a:pt x="24006" y="395742"/>
                      <a:pt x="9238" y="371150"/>
                    </a:cubicBezTo>
                    <a:cubicBezTo>
                      <a:pt x="-2928" y="350918"/>
                      <a:pt x="260" y="325741"/>
                      <a:pt x="15484" y="309216"/>
                    </a:cubicBezTo>
                    <a:lnTo>
                      <a:pt x="45019" y="277078"/>
                    </a:lnTo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PT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45" name="Forma livre: Forma 44">
                <a:extLst>
                  <a:ext uri="{FF2B5EF4-FFF2-40B4-BE49-F238E27FC236}">
                    <a16:creationId xmlns:a16="http://schemas.microsoft.com/office/drawing/2014/main" id="{A1873284-443B-6336-1F30-FC3B4B370AB0}"/>
                  </a:ext>
                </a:extLst>
              </p:cNvPr>
              <p:cNvSpPr/>
              <p:nvPr/>
            </p:nvSpPr>
            <p:spPr>
              <a:xfrm>
                <a:off x="6144784" y="1383865"/>
                <a:ext cx="41563" cy="38963"/>
              </a:xfrm>
              <a:custGeom>
                <a:avLst/>
                <a:gdLst>
                  <a:gd name="connsiteX0" fmla="*/ 36172 w 41563"/>
                  <a:gd name="connsiteY0" fmla="*/ 0 h 38963"/>
                  <a:gd name="connsiteX1" fmla="*/ 39425 w 41563"/>
                  <a:gd name="connsiteY1" fmla="*/ 24266 h 38963"/>
                  <a:gd name="connsiteX2" fmla="*/ 36432 w 41563"/>
                  <a:gd name="connsiteY2" fmla="*/ 29080 h 38963"/>
                  <a:gd name="connsiteX3" fmla="*/ 0 w 41563"/>
                  <a:gd name="connsiteY3" fmla="*/ 33439 h 389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563" h="38963">
                    <a:moveTo>
                      <a:pt x="36172" y="0"/>
                    </a:moveTo>
                    <a:cubicBezTo>
                      <a:pt x="41571" y="7547"/>
                      <a:pt x="43393" y="16004"/>
                      <a:pt x="39425" y="24266"/>
                    </a:cubicBezTo>
                    <a:cubicBezTo>
                      <a:pt x="38644" y="25893"/>
                      <a:pt x="37603" y="27519"/>
                      <a:pt x="36432" y="29080"/>
                    </a:cubicBezTo>
                    <a:cubicBezTo>
                      <a:pt x="27584" y="40270"/>
                      <a:pt x="11190" y="42287"/>
                      <a:pt x="0" y="33439"/>
                    </a:cubicBezTo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PT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47" name="Forma livre: Forma 46">
                <a:extLst>
                  <a:ext uri="{FF2B5EF4-FFF2-40B4-BE49-F238E27FC236}">
                    <a16:creationId xmlns:a16="http://schemas.microsoft.com/office/drawing/2014/main" id="{E1719D51-DF5D-51C7-5E52-40DBE0174BDB}"/>
                  </a:ext>
                </a:extLst>
              </p:cNvPr>
              <p:cNvSpPr/>
              <p:nvPr/>
            </p:nvSpPr>
            <p:spPr>
              <a:xfrm>
                <a:off x="6081487" y="1460806"/>
                <a:ext cx="34217" cy="54474"/>
              </a:xfrm>
              <a:custGeom>
                <a:avLst/>
                <a:gdLst>
                  <a:gd name="connsiteX0" fmla="*/ 21076 w 34217"/>
                  <a:gd name="connsiteY0" fmla="*/ 54475 h 54474"/>
                  <a:gd name="connsiteX1" fmla="*/ 778 w 34217"/>
                  <a:gd name="connsiteY1" fmla="*/ 21035 h 54474"/>
                  <a:gd name="connsiteX2" fmla="*/ 34217 w 34217"/>
                  <a:gd name="connsiteY2" fmla="*/ 803 h 544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4217" h="54474">
                    <a:moveTo>
                      <a:pt x="21076" y="54475"/>
                    </a:moveTo>
                    <a:cubicBezTo>
                      <a:pt x="6308" y="50832"/>
                      <a:pt x="-2800" y="35803"/>
                      <a:pt x="778" y="21035"/>
                    </a:cubicBezTo>
                    <a:cubicBezTo>
                      <a:pt x="4421" y="6267"/>
                      <a:pt x="19449" y="-2841"/>
                      <a:pt x="34217" y="803"/>
                    </a:cubicBezTo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PT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48" name="Forma livre: Forma 47">
                <a:extLst>
                  <a:ext uri="{FF2B5EF4-FFF2-40B4-BE49-F238E27FC236}">
                    <a16:creationId xmlns:a16="http://schemas.microsoft.com/office/drawing/2014/main" id="{3AFDDECE-27F4-CED4-32CD-F1CF2217CBD9}"/>
                  </a:ext>
                </a:extLst>
              </p:cNvPr>
              <p:cNvSpPr/>
              <p:nvPr/>
            </p:nvSpPr>
            <p:spPr>
              <a:xfrm>
                <a:off x="6073547" y="1527543"/>
                <a:ext cx="114760" cy="72506"/>
              </a:xfrm>
              <a:custGeom>
                <a:avLst/>
                <a:gdLst>
                  <a:gd name="connsiteX0" fmla="*/ 114760 w 114760"/>
                  <a:gd name="connsiteY0" fmla="*/ 7254 h 72506"/>
                  <a:gd name="connsiteX1" fmla="*/ 73905 w 114760"/>
                  <a:gd name="connsiteY1" fmla="*/ 8881 h 72506"/>
                  <a:gd name="connsiteX2" fmla="*/ 0 w 114760"/>
                  <a:gd name="connsiteY2" fmla="*/ 72506 h 725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14760" h="72506">
                    <a:moveTo>
                      <a:pt x="114760" y="7254"/>
                    </a:moveTo>
                    <a:cubicBezTo>
                      <a:pt x="103375" y="-2830"/>
                      <a:pt x="83989" y="-2504"/>
                      <a:pt x="73905" y="8881"/>
                    </a:cubicBezTo>
                    <a:cubicBezTo>
                      <a:pt x="73905" y="8881"/>
                      <a:pt x="31488" y="72506"/>
                      <a:pt x="0" y="72506"/>
                    </a:cubicBezTo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PT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49" name="Forma livre: Forma 48">
                <a:extLst>
                  <a:ext uri="{FF2B5EF4-FFF2-40B4-BE49-F238E27FC236}">
                    <a16:creationId xmlns:a16="http://schemas.microsoft.com/office/drawing/2014/main" id="{854A401E-62E0-539F-3361-0200EA7A811E}"/>
                  </a:ext>
                </a:extLst>
              </p:cNvPr>
              <p:cNvSpPr/>
              <p:nvPr/>
            </p:nvSpPr>
            <p:spPr>
              <a:xfrm>
                <a:off x="6079857" y="1646956"/>
                <a:ext cx="29405" cy="9823"/>
              </a:xfrm>
              <a:custGeom>
                <a:avLst/>
                <a:gdLst>
                  <a:gd name="connsiteX0" fmla="*/ 0 w 29405"/>
                  <a:gd name="connsiteY0" fmla="*/ 0 h 9823"/>
                  <a:gd name="connsiteX1" fmla="*/ 29406 w 29405"/>
                  <a:gd name="connsiteY1" fmla="*/ 9824 h 98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9405" h="9823">
                    <a:moveTo>
                      <a:pt x="0" y="0"/>
                    </a:moveTo>
                    <a:lnTo>
                      <a:pt x="29406" y="9824"/>
                    </a:lnTo>
                  </a:path>
                </a:pathLst>
              </a:custGeom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PT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51" name="Forma livre: Forma 50">
                <a:extLst>
                  <a:ext uri="{FF2B5EF4-FFF2-40B4-BE49-F238E27FC236}">
                    <a16:creationId xmlns:a16="http://schemas.microsoft.com/office/drawing/2014/main" id="{B77AB77E-B14A-1D9E-C66E-10C761362FC5}"/>
                  </a:ext>
                </a:extLst>
              </p:cNvPr>
              <p:cNvSpPr/>
              <p:nvPr/>
            </p:nvSpPr>
            <p:spPr>
              <a:xfrm>
                <a:off x="6061121" y="1545272"/>
                <a:ext cx="47166" cy="34154"/>
              </a:xfrm>
              <a:custGeom>
                <a:avLst/>
                <a:gdLst>
                  <a:gd name="connsiteX0" fmla="*/ 0 w 47166"/>
                  <a:gd name="connsiteY0" fmla="*/ 0 h 34154"/>
                  <a:gd name="connsiteX1" fmla="*/ 47166 w 47166"/>
                  <a:gd name="connsiteY1" fmla="*/ 34155 h 341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166" h="34154">
                    <a:moveTo>
                      <a:pt x="0" y="0"/>
                    </a:moveTo>
                    <a:cubicBezTo>
                      <a:pt x="0" y="0"/>
                      <a:pt x="27649" y="13011"/>
                      <a:pt x="47166" y="34155"/>
                    </a:cubicBezTo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PT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  <p:grpSp>
          <p:nvGrpSpPr>
            <p:cNvPr id="55" name="Gráfico 32">
              <a:extLst>
                <a:ext uri="{FF2B5EF4-FFF2-40B4-BE49-F238E27FC236}">
                  <a16:creationId xmlns:a16="http://schemas.microsoft.com/office/drawing/2014/main" id="{69D5E427-F110-6544-9DBF-4DA2866CADEC}"/>
                </a:ext>
              </a:extLst>
            </p:cNvPr>
            <p:cNvGrpSpPr/>
            <p:nvPr/>
          </p:nvGrpSpPr>
          <p:grpSpPr>
            <a:xfrm>
              <a:off x="6191625" y="1599725"/>
              <a:ext cx="173767" cy="157112"/>
              <a:chOff x="6191625" y="1599725"/>
              <a:chExt cx="173767" cy="157112"/>
            </a:xfrm>
            <a:noFill/>
          </p:grpSpPr>
          <p:sp>
            <p:nvSpPr>
              <p:cNvPr id="56" name="Forma livre: Forma 55">
                <a:extLst>
                  <a:ext uri="{FF2B5EF4-FFF2-40B4-BE49-F238E27FC236}">
                    <a16:creationId xmlns:a16="http://schemas.microsoft.com/office/drawing/2014/main" id="{45D8A8D5-5F0F-1142-B8D5-6BB390EBCB29}"/>
                  </a:ext>
                </a:extLst>
              </p:cNvPr>
              <p:cNvSpPr/>
              <p:nvPr/>
            </p:nvSpPr>
            <p:spPr>
              <a:xfrm>
                <a:off x="6310094" y="1621974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PT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57" name="Forma livre: Forma 56">
                <a:extLst>
                  <a:ext uri="{FF2B5EF4-FFF2-40B4-BE49-F238E27FC236}">
                    <a16:creationId xmlns:a16="http://schemas.microsoft.com/office/drawing/2014/main" id="{207A4B48-1BD7-F161-BB17-ACA447723111}"/>
                  </a:ext>
                </a:extLst>
              </p:cNvPr>
              <p:cNvSpPr/>
              <p:nvPr/>
            </p:nvSpPr>
            <p:spPr>
              <a:xfrm>
                <a:off x="6191625" y="1599725"/>
                <a:ext cx="118078" cy="49898"/>
              </a:xfrm>
              <a:custGeom>
                <a:avLst/>
                <a:gdLst>
                  <a:gd name="connsiteX0" fmla="*/ 0 w 118078"/>
                  <a:gd name="connsiteY0" fmla="*/ 0 h 49898"/>
                  <a:gd name="connsiteX1" fmla="*/ 37343 w 118078"/>
                  <a:gd name="connsiteY1" fmla="*/ 0 h 49898"/>
                  <a:gd name="connsiteX2" fmla="*/ 87176 w 118078"/>
                  <a:gd name="connsiteY2" fmla="*/ 49899 h 49898"/>
                  <a:gd name="connsiteX3" fmla="*/ 118078 w 118078"/>
                  <a:gd name="connsiteY3" fmla="*/ 49899 h 49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8078" h="49898">
                    <a:moveTo>
                      <a:pt x="0" y="0"/>
                    </a:moveTo>
                    <a:lnTo>
                      <a:pt x="37343" y="0"/>
                    </a:lnTo>
                    <a:lnTo>
                      <a:pt x="87176" y="49899"/>
                    </a:lnTo>
                    <a:lnTo>
                      <a:pt x="118078" y="49899"/>
                    </a:lnTo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PT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58" name="Forma livre: Forma 57">
                <a:extLst>
                  <a:ext uri="{FF2B5EF4-FFF2-40B4-BE49-F238E27FC236}">
                    <a16:creationId xmlns:a16="http://schemas.microsoft.com/office/drawing/2014/main" id="{F74FAEB5-E2EE-8C77-2721-FA537CE02E17}"/>
                  </a:ext>
                </a:extLst>
              </p:cNvPr>
              <p:cNvSpPr/>
              <p:nvPr/>
            </p:nvSpPr>
            <p:spPr>
              <a:xfrm>
                <a:off x="6191625" y="1665367"/>
                <a:ext cx="81906" cy="44108"/>
              </a:xfrm>
              <a:custGeom>
                <a:avLst/>
                <a:gdLst>
                  <a:gd name="connsiteX0" fmla="*/ 0 w 81906"/>
                  <a:gd name="connsiteY0" fmla="*/ 0 h 44108"/>
                  <a:gd name="connsiteX1" fmla="*/ 37343 w 81906"/>
                  <a:gd name="connsiteY1" fmla="*/ 0 h 44108"/>
                  <a:gd name="connsiteX2" fmla="*/ 81907 w 81906"/>
                  <a:gd name="connsiteY2" fmla="*/ 44109 h 441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1906" h="44108">
                    <a:moveTo>
                      <a:pt x="0" y="0"/>
                    </a:moveTo>
                    <a:lnTo>
                      <a:pt x="37343" y="0"/>
                    </a:lnTo>
                    <a:lnTo>
                      <a:pt x="81907" y="44109"/>
                    </a:lnTo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PT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59" name="Forma livre: Forma 58">
                <a:extLst>
                  <a:ext uri="{FF2B5EF4-FFF2-40B4-BE49-F238E27FC236}">
                    <a16:creationId xmlns:a16="http://schemas.microsoft.com/office/drawing/2014/main" id="{734ADBA4-CED7-97B6-8C81-CD711224E3F8}"/>
                  </a:ext>
                </a:extLst>
              </p:cNvPr>
              <p:cNvSpPr/>
              <p:nvPr/>
            </p:nvSpPr>
            <p:spPr>
              <a:xfrm>
                <a:off x="6265075" y="1701539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PT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  <p:grpSp>
          <p:nvGrpSpPr>
            <p:cNvPr id="60" name="Gráfico 32">
              <a:extLst>
                <a:ext uri="{FF2B5EF4-FFF2-40B4-BE49-F238E27FC236}">
                  <a16:creationId xmlns:a16="http://schemas.microsoft.com/office/drawing/2014/main" id="{09F6C1B3-5BA8-C26A-CC53-49A6EB060F1A}"/>
                </a:ext>
              </a:extLst>
            </p:cNvPr>
            <p:cNvGrpSpPr/>
            <p:nvPr/>
          </p:nvGrpSpPr>
          <p:grpSpPr>
            <a:xfrm>
              <a:off x="6191625" y="1357908"/>
              <a:ext cx="173767" cy="157112"/>
              <a:chOff x="6191625" y="1357908"/>
              <a:chExt cx="173767" cy="157112"/>
            </a:xfrm>
            <a:noFill/>
          </p:grpSpPr>
          <p:sp>
            <p:nvSpPr>
              <p:cNvPr id="61" name="Forma livre: Forma 60">
                <a:extLst>
                  <a:ext uri="{FF2B5EF4-FFF2-40B4-BE49-F238E27FC236}">
                    <a16:creationId xmlns:a16="http://schemas.microsoft.com/office/drawing/2014/main" id="{4B715FFA-A089-2094-5470-53DBDFB1ADEB}"/>
                  </a:ext>
                </a:extLst>
              </p:cNvPr>
              <p:cNvSpPr/>
              <p:nvPr/>
            </p:nvSpPr>
            <p:spPr>
              <a:xfrm>
                <a:off x="6310094" y="1437472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0 h 55298"/>
                  <a:gd name="connsiteX2" fmla="*/ 0 w 55298"/>
                  <a:gd name="connsiteY2" fmla="*/ 27649 h 55298"/>
                  <a:gd name="connsiteX3" fmla="*/ 27649 w 55298"/>
                  <a:gd name="connsiteY3" fmla="*/ 55298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12361"/>
                      <a:pt x="42938" y="0"/>
                      <a:pt x="27649" y="0"/>
                    </a:cubicBezTo>
                    <a:cubicBezTo>
                      <a:pt x="12361" y="0"/>
                      <a:pt x="0" y="12361"/>
                      <a:pt x="0" y="27649"/>
                    </a:cubicBezTo>
                    <a:cubicBezTo>
                      <a:pt x="0" y="42938"/>
                      <a:pt x="12361" y="55298"/>
                      <a:pt x="27649" y="55298"/>
                    </a:cubicBezTo>
                    <a:cubicBezTo>
                      <a:pt x="42938" y="55298"/>
                      <a:pt x="55298" y="42938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PT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62" name="Forma livre: Forma 61">
                <a:extLst>
                  <a:ext uri="{FF2B5EF4-FFF2-40B4-BE49-F238E27FC236}">
                    <a16:creationId xmlns:a16="http://schemas.microsoft.com/office/drawing/2014/main" id="{0DA21DA0-4B95-35F1-40C9-95C738111C95}"/>
                  </a:ext>
                </a:extLst>
              </p:cNvPr>
              <p:cNvSpPr/>
              <p:nvPr/>
            </p:nvSpPr>
            <p:spPr>
              <a:xfrm>
                <a:off x="6191625" y="1465122"/>
                <a:ext cx="118468" cy="49898"/>
              </a:xfrm>
              <a:custGeom>
                <a:avLst/>
                <a:gdLst>
                  <a:gd name="connsiteX0" fmla="*/ 0 w 118468"/>
                  <a:gd name="connsiteY0" fmla="*/ 49899 h 49898"/>
                  <a:gd name="connsiteX1" fmla="*/ 37343 w 118468"/>
                  <a:gd name="connsiteY1" fmla="*/ 49899 h 49898"/>
                  <a:gd name="connsiteX2" fmla="*/ 87176 w 118468"/>
                  <a:gd name="connsiteY2" fmla="*/ 0 h 49898"/>
                  <a:gd name="connsiteX3" fmla="*/ 118469 w 118468"/>
                  <a:gd name="connsiteY3" fmla="*/ 0 h 49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8468" h="49898">
                    <a:moveTo>
                      <a:pt x="0" y="49899"/>
                    </a:moveTo>
                    <a:lnTo>
                      <a:pt x="37343" y="49899"/>
                    </a:lnTo>
                    <a:lnTo>
                      <a:pt x="87176" y="0"/>
                    </a:lnTo>
                    <a:lnTo>
                      <a:pt x="118469" y="0"/>
                    </a:lnTo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PT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63" name="Forma livre: Forma 62">
                <a:extLst>
                  <a:ext uri="{FF2B5EF4-FFF2-40B4-BE49-F238E27FC236}">
                    <a16:creationId xmlns:a16="http://schemas.microsoft.com/office/drawing/2014/main" id="{297F9384-EB0D-C904-5C5E-C93E1072C9FE}"/>
                  </a:ext>
                </a:extLst>
              </p:cNvPr>
              <p:cNvSpPr/>
              <p:nvPr/>
            </p:nvSpPr>
            <p:spPr>
              <a:xfrm>
                <a:off x="6191625" y="1405269"/>
                <a:ext cx="81451" cy="44043"/>
              </a:xfrm>
              <a:custGeom>
                <a:avLst/>
                <a:gdLst>
                  <a:gd name="connsiteX0" fmla="*/ 0 w 81451"/>
                  <a:gd name="connsiteY0" fmla="*/ 44044 h 44043"/>
                  <a:gd name="connsiteX1" fmla="*/ 37343 w 81451"/>
                  <a:gd name="connsiteY1" fmla="*/ 44044 h 44043"/>
                  <a:gd name="connsiteX2" fmla="*/ 81451 w 81451"/>
                  <a:gd name="connsiteY2" fmla="*/ 0 h 440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1451" h="44043">
                    <a:moveTo>
                      <a:pt x="0" y="44044"/>
                    </a:moveTo>
                    <a:lnTo>
                      <a:pt x="37343" y="44044"/>
                    </a:lnTo>
                    <a:lnTo>
                      <a:pt x="81451" y="0"/>
                    </a:lnTo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PT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64" name="Forma livre: Forma 63">
                <a:extLst>
                  <a:ext uri="{FF2B5EF4-FFF2-40B4-BE49-F238E27FC236}">
                    <a16:creationId xmlns:a16="http://schemas.microsoft.com/office/drawing/2014/main" id="{E02FDC69-9D4F-5B24-3E0B-A0AB8C21C709}"/>
                  </a:ext>
                </a:extLst>
              </p:cNvPr>
              <p:cNvSpPr/>
              <p:nvPr/>
            </p:nvSpPr>
            <p:spPr>
              <a:xfrm>
                <a:off x="6265075" y="1357908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0 h 55298"/>
                  <a:gd name="connsiteX2" fmla="*/ 0 w 55298"/>
                  <a:gd name="connsiteY2" fmla="*/ 27649 h 55298"/>
                  <a:gd name="connsiteX3" fmla="*/ 27649 w 55298"/>
                  <a:gd name="connsiteY3" fmla="*/ 55298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12361"/>
                      <a:pt x="42938" y="0"/>
                      <a:pt x="27649" y="0"/>
                    </a:cubicBezTo>
                    <a:cubicBezTo>
                      <a:pt x="12361" y="0"/>
                      <a:pt x="0" y="12361"/>
                      <a:pt x="0" y="27649"/>
                    </a:cubicBezTo>
                    <a:cubicBezTo>
                      <a:pt x="0" y="42938"/>
                      <a:pt x="12361" y="55298"/>
                      <a:pt x="27649" y="55298"/>
                    </a:cubicBezTo>
                    <a:cubicBezTo>
                      <a:pt x="42938" y="55298"/>
                      <a:pt x="55298" y="42938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PT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  <p:grpSp>
          <p:nvGrpSpPr>
            <p:cNvPr id="65" name="Gráfico 32">
              <a:extLst>
                <a:ext uri="{FF2B5EF4-FFF2-40B4-BE49-F238E27FC236}">
                  <a16:creationId xmlns:a16="http://schemas.microsoft.com/office/drawing/2014/main" id="{36C6743E-938B-440E-BEB6-F22C52D986AC}"/>
                </a:ext>
              </a:extLst>
            </p:cNvPr>
            <p:cNvGrpSpPr/>
            <p:nvPr/>
          </p:nvGrpSpPr>
          <p:grpSpPr>
            <a:xfrm>
              <a:off x="6190910" y="1529723"/>
              <a:ext cx="123673" cy="55298"/>
              <a:chOff x="6190910" y="1529723"/>
              <a:chExt cx="123673" cy="55298"/>
            </a:xfrm>
            <a:noFill/>
          </p:grpSpPr>
          <p:sp>
            <p:nvSpPr>
              <p:cNvPr id="66" name="Forma livre: Forma 65">
                <a:extLst>
                  <a:ext uri="{FF2B5EF4-FFF2-40B4-BE49-F238E27FC236}">
                    <a16:creationId xmlns:a16="http://schemas.microsoft.com/office/drawing/2014/main" id="{6DC50AC6-010F-8569-BF66-972861DB48D4}"/>
                  </a:ext>
                </a:extLst>
              </p:cNvPr>
              <p:cNvSpPr/>
              <p:nvPr/>
            </p:nvSpPr>
            <p:spPr>
              <a:xfrm>
                <a:off x="6190910" y="1557372"/>
                <a:ext cx="68765" cy="6505"/>
              </a:xfrm>
              <a:custGeom>
                <a:avLst/>
                <a:gdLst>
                  <a:gd name="connsiteX0" fmla="*/ 0 w 68765"/>
                  <a:gd name="connsiteY0" fmla="*/ 0 h 6505"/>
                  <a:gd name="connsiteX1" fmla="*/ 68765 w 68765"/>
                  <a:gd name="connsiteY1" fmla="*/ 0 h 65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8765" h="6505">
                    <a:moveTo>
                      <a:pt x="0" y="0"/>
                    </a:moveTo>
                    <a:lnTo>
                      <a:pt x="68765" y="0"/>
                    </a:lnTo>
                  </a:path>
                </a:pathLst>
              </a:custGeom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PT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67" name="Forma livre: Forma 66">
                <a:extLst>
                  <a:ext uri="{FF2B5EF4-FFF2-40B4-BE49-F238E27FC236}">
                    <a16:creationId xmlns:a16="http://schemas.microsoft.com/office/drawing/2014/main" id="{07B202CC-6553-2599-7EAA-9F893AF095D1}"/>
                  </a:ext>
                </a:extLst>
              </p:cNvPr>
              <p:cNvSpPr/>
              <p:nvPr/>
            </p:nvSpPr>
            <p:spPr>
              <a:xfrm>
                <a:off x="6259285" y="1529723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PT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  <p:sp>
          <p:nvSpPr>
            <p:cNvPr id="69" name="Forma livre: Forma 68">
              <a:extLst>
                <a:ext uri="{FF2B5EF4-FFF2-40B4-BE49-F238E27FC236}">
                  <a16:creationId xmlns:a16="http://schemas.microsoft.com/office/drawing/2014/main" id="{537CAB5B-73FF-BF37-E447-F30B9BDB1909}"/>
                </a:ext>
              </a:extLst>
            </p:cNvPr>
            <p:cNvSpPr/>
            <p:nvPr/>
          </p:nvSpPr>
          <p:spPr>
            <a:xfrm>
              <a:off x="6152201" y="1686285"/>
              <a:ext cx="37362" cy="20848"/>
            </a:xfrm>
            <a:custGeom>
              <a:avLst/>
              <a:gdLst>
                <a:gd name="connsiteX0" fmla="*/ 0 w 37362"/>
                <a:gd name="connsiteY0" fmla="*/ 10505 h 20848"/>
                <a:gd name="connsiteX1" fmla="*/ 27064 w 37362"/>
                <a:gd name="connsiteY1" fmla="*/ 2373 h 20848"/>
                <a:gd name="connsiteX2" fmla="*/ 37343 w 37362"/>
                <a:gd name="connsiteY2" fmla="*/ 20849 h 20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7362" h="20848">
                  <a:moveTo>
                    <a:pt x="0" y="10505"/>
                  </a:moveTo>
                  <a:cubicBezTo>
                    <a:pt x="5205" y="811"/>
                    <a:pt x="17435" y="-2832"/>
                    <a:pt x="27064" y="2373"/>
                  </a:cubicBezTo>
                  <a:cubicBezTo>
                    <a:pt x="34025" y="6081"/>
                    <a:pt x="37668" y="13432"/>
                    <a:pt x="37343" y="20849"/>
                  </a:cubicBezTo>
                </a:path>
              </a:pathLst>
            </a:custGeom>
            <a:noFill/>
            <a:ln w="19050" cap="sq">
              <a:solidFill>
                <a:srgbClr val="00FF94"/>
              </a:solidFill>
              <a:prstDash val="solid"/>
              <a:miter lim="800000"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126" name="Forma livre: Forma 125">
            <a:extLst>
              <a:ext uri="{FF2B5EF4-FFF2-40B4-BE49-F238E27FC236}">
                <a16:creationId xmlns:a16="http://schemas.microsoft.com/office/drawing/2014/main" id="{E14C4428-2628-7334-AEE2-C2FE15706296}"/>
              </a:ext>
            </a:extLst>
          </p:cNvPr>
          <p:cNvSpPr/>
          <p:nvPr/>
        </p:nvSpPr>
        <p:spPr>
          <a:xfrm flipH="1">
            <a:off x="5355943" y="2736211"/>
            <a:ext cx="846073" cy="524524"/>
          </a:xfrm>
          <a:custGeom>
            <a:avLst/>
            <a:gdLst>
              <a:gd name="connsiteX0" fmla="*/ 671826 w 846073"/>
              <a:gd name="connsiteY0" fmla="*/ 524524 h 524524"/>
              <a:gd name="connsiteX1" fmla="*/ 524742 w 846073"/>
              <a:gd name="connsiteY1" fmla="*/ 524524 h 524524"/>
              <a:gd name="connsiteX2" fmla="*/ 524529 w 846073"/>
              <a:gd name="connsiteY2" fmla="*/ 524524 h 524524"/>
              <a:gd name="connsiteX3" fmla="*/ 0 w 846073"/>
              <a:gd name="connsiteY3" fmla="*/ 0 h 524524"/>
              <a:gd name="connsiteX4" fmla="*/ 846073 w 846073"/>
              <a:gd name="connsiteY4" fmla="*/ 0 h 5245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46073" h="524524">
                <a:moveTo>
                  <a:pt x="671826" y="524524"/>
                </a:moveTo>
                <a:lnTo>
                  <a:pt x="524742" y="524524"/>
                </a:lnTo>
                <a:lnTo>
                  <a:pt x="524529" y="524524"/>
                </a:lnTo>
                <a:cubicBezTo>
                  <a:pt x="234920" y="524524"/>
                  <a:pt x="0" y="289824"/>
                  <a:pt x="0" y="0"/>
                </a:cubicBezTo>
                <a:lnTo>
                  <a:pt x="846073" y="0"/>
                </a:lnTo>
                <a:close/>
              </a:path>
            </a:pathLst>
          </a:custGeom>
          <a:solidFill>
            <a:srgbClr val="132153"/>
          </a:solidFill>
          <a:ln w="4244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PT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5" name="Forma livre: Forma 124">
            <a:extLst>
              <a:ext uri="{FF2B5EF4-FFF2-40B4-BE49-F238E27FC236}">
                <a16:creationId xmlns:a16="http://schemas.microsoft.com/office/drawing/2014/main" id="{69DEC168-D324-82A2-05CD-DCBD2E6AB004}"/>
              </a:ext>
            </a:extLst>
          </p:cNvPr>
          <p:cNvSpPr/>
          <p:nvPr/>
        </p:nvSpPr>
        <p:spPr>
          <a:xfrm flipH="1">
            <a:off x="10635638" y="3260688"/>
            <a:ext cx="846074" cy="524524"/>
          </a:xfrm>
          <a:custGeom>
            <a:avLst/>
            <a:gdLst>
              <a:gd name="connsiteX0" fmla="*/ 671828 w 846074"/>
              <a:gd name="connsiteY0" fmla="*/ 0 h 524524"/>
              <a:gd name="connsiteX1" fmla="*/ 0 w 846074"/>
              <a:gd name="connsiteY1" fmla="*/ 0 h 524524"/>
              <a:gd name="connsiteX2" fmla="*/ 524529 w 846074"/>
              <a:gd name="connsiteY2" fmla="*/ 524524 h 524524"/>
              <a:gd name="connsiteX3" fmla="*/ 524742 w 846074"/>
              <a:gd name="connsiteY3" fmla="*/ 524524 h 524524"/>
              <a:gd name="connsiteX4" fmla="*/ 846074 w 846074"/>
              <a:gd name="connsiteY4" fmla="*/ 524524 h 5245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46074" h="524524">
                <a:moveTo>
                  <a:pt x="671828" y="0"/>
                </a:moveTo>
                <a:lnTo>
                  <a:pt x="0" y="0"/>
                </a:lnTo>
                <a:cubicBezTo>
                  <a:pt x="0" y="289824"/>
                  <a:pt x="234920" y="524524"/>
                  <a:pt x="524529" y="524524"/>
                </a:cubicBezTo>
                <a:lnTo>
                  <a:pt x="524742" y="524524"/>
                </a:lnTo>
                <a:lnTo>
                  <a:pt x="846074" y="524524"/>
                </a:lnTo>
                <a:close/>
              </a:path>
            </a:pathLst>
          </a:custGeom>
          <a:solidFill>
            <a:srgbClr val="1D3EB6"/>
          </a:solidFill>
          <a:ln w="4244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PT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127" name="Agrupar 126">
            <a:extLst>
              <a:ext uri="{FF2B5EF4-FFF2-40B4-BE49-F238E27FC236}">
                <a16:creationId xmlns:a16="http://schemas.microsoft.com/office/drawing/2014/main" id="{6D66D9EC-2816-C5BF-4346-EB375C1E2EC5}"/>
              </a:ext>
            </a:extLst>
          </p:cNvPr>
          <p:cNvGrpSpPr/>
          <p:nvPr/>
        </p:nvGrpSpPr>
        <p:grpSpPr>
          <a:xfrm>
            <a:off x="10896923" y="3345179"/>
            <a:ext cx="274455" cy="299722"/>
            <a:chOff x="6000092" y="1357908"/>
            <a:chExt cx="365300" cy="398929"/>
          </a:xfrm>
        </p:grpSpPr>
        <p:sp>
          <p:nvSpPr>
            <p:cNvPr id="128" name="Forma livre: Forma 127">
              <a:extLst>
                <a:ext uri="{FF2B5EF4-FFF2-40B4-BE49-F238E27FC236}">
                  <a16:creationId xmlns:a16="http://schemas.microsoft.com/office/drawing/2014/main" id="{E99B2F77-B5BE-1D9D-6633-D060FA2677D0}"/>
                </a:ext>
              </a:extLst>
            </p:cNvPr>
            <p:cNvSpPr/>
            <p:nvPr/>
          </p:nvSpPr>
          <p:spPr>
            <a:xfrm>
              <a:off x="6000092" y="1418606"/>
              <a:ext cx="84058" cy="286120"/>
            </a:xfrm>
            <a:custGeom>
              <a:avLst/>
              <a:gdLst>
                <a:gd name="connsiteX0" fmla="*/ 51595 w 84058"/>
                <a:gd name="connsiteY0" fmla="*/ 0 h 286120"/>
                <a:gd name="connsiteX1" fmla="*/ 35266 w 84058"/>
                <a:gd name="connsiteY1" fmla="*/ 61674 h 286120"/>
                <a:gd name="connsiteX2" fmla="*/ 28760 w 84058"/>
                <a:gd name="connsiteY2" fmla="*/ 193415 h 286120"/>
                <a:gd name="connsiteX3" fmla="*/ 84059 w 84058"/>
                <a:gd name="connsiteY3" fmla="*/ 286121 h 2861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4058" h="286120">
                  <a:moveTo>
                    <a:pt x="51595" y="0"/>
                  </a:moveTo>
                  <a:cubicBezTo>
                    <a:pt x="37868" y="7872"/>
                    <a:pt x="26028" y="24852"/>
                    <a:pt x="35266" y="61674"/>
                  </a:cubicBezTo>
                  <a:cubicBezTo>
                    <a:pt x="35266" y="61674"/>
                    <a:pt x="-39549" y="126731"/>
                    <a:pt x="28760" y="193415"/>
                  </a:cubicBezTo>
                  <a:cubicBezTo>
                    <a:pt x="28760" y="193415"/>
                    <a:pt x="9243" y="281242"/>
                    <a:pt x="84059" y="286121"/>
                  </a:cubicBezTo>
                </a:path>
              </a:pathLst>
            </a:custGeom>
            <a:noFill/>
            <a:ln w="12700" cap="sq">
              <a:solidFill>
                <a:srgbClr val="00FF94"/>
              </a:solidFill>
              <a:prstDash val="solid"/>
              <a:miter lim="800000"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grpSp>
          <p:nvGrpSpPr>
            <p:cNvPr id="129" name="Gráfico 32">
              <a:extLst>
                <a:ext uri="{FF2B5EF4-FFF2-40B4-BE49-F238E27FC236}">
                  <a16:creationId xmlns:a16="http://schemas.microsoft.com/office/drawing/2014/main" id="{EB8C72EA-E614-9EBB-2732-724E6A14FEAB}"/>
                </a:ext>
              </a:extLst>
            </p:cNvPr>
            <p:cNvGrpSpPr/>
            <p:nvPr/>
          </p:nvGrpSpPr>
          <p:grpSpPr>
            <a:xfrm>
              <a:off x="6061121" y="1359924"/>
              <a:ext cx="128487" cy="396366"/>
              <a:chOff x="6061121" y="1359924"/>
              <a:chExt cx="128487" cy="396366"/>
            </a:xfrm>
            <a:noFill/>
          </p:grpSpPr>
          <p:sp>
            <p:nvSpPr>
              <p:cNvPr id="144" name="Forma livre: Forma 143">
                <a:extLst>
                  <a:ext uri="{FF2B5EF4-FFF2-40B4-BE49-F238E27FC236}">
                    <a16:creationId xmlns:a16="http://schemas.microsoft.com/office/drawing/2014/main" id="{635FE86E-8011-475D-60DD-4F8CEBDD550E}"/>
                  </a:ext>
                </a:extLst>
              </p:cNvPr>
              <p:cNvSpPr/>
              <p:nvPr/>
            </p:nvSpPr>
            <p:spPr>
              <a:xfrm>
                <a:off x="6083891" y="1359924"/>
                <a:ext cx="105717" cy="396366"/>
              </a:xfrm>
              <a:custGeom>
                <a:avLst/>
                <a:gdLst>
                  <a:gd name="connsiteX0" fmla="*/ 52891 w 105717"/>
                  <a:gd name="connsiteY0" fmla="*/ 105718 h 396366"/>
                  <a:gd name="connsiteX1" fmla="*/ 0 w 105717"/>
                  <a:gd name="connsiteY1" fmla="*/ 52891 h 396366"/>
                  <a:gd name="connsiteX2" fmla="*/ 52891 w 105717"/>
                  <a:gd name="connsiteY2" fmla="*/ 0 h 396366"/>
                  <a:gd name="connsiteX3" fmla="*/ 105718 w 105717"/>
                  <a:gd name="connsiteY3" fmla="*/ 52826 h 396366"/>
                  <a:gd name="connsiteX4" fmla="*/ 105718 w 105717"/>
                  <a:gd name="connsiteY4" fmla="*/ 346884 h 396366"/>
                  <a:gd name="connsiteX5" fmla="*/ 80606 w 105717"/>
                  <a:gd name="connsiteY5" fmla="*/ 388911 h 396366"/>
                  <a:gd name="connsiteX6" fmla="*/ 9238 w 105717"/>
                  <a:gd name="connsiteY6" fmla="*/ 371150 h 396366"/>
                  <a:gd name="connsiteX7" fmla="*/ 15484 w 105717"/>
                  <a:gd name="connsiteY7" fmla="*/ 309216 h 396366"/>
                  <a:gd name="connsiteX8" fmla="*/ 45019 w 105717"/>
                  <a:gd name="connsiteY8" fmla="*/ 277078 h 3963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05717" h="396366">
                    <a:moveTo>
                      <a:pt x="52891" y="105718"/>
                    </a:moveTo>
                    <a:cubicBezTo>
                      <a:pt x="23681" y="105718"/>
                      <a:pt x="0" y="82037"/>
                      <a:pt x="0" y="52891"/>
                    </a:cubicBezTo>
                    <a:cubicBezTo>
                      <a:pt x="0" y="23746"/>
                      <a:pt x="23681" y="0"/>
                      <a:pt x="52891" y="0"/>
                    </a:cubicBezTo>
                    <a:cubicBezTo>
                      <a:pt x="82102" y="0"/>
                      <a:pt x="105718" y="23681"/>
                      <a:pt x="105718" y="52826"/>
                    </a:cubicBezTo>
                    <a:lnTo>
                      <a:pt x="105718" y="346884"/>
                    </a:lnTo>
                    <a:cubicBezTo>
                      <a:pt x="105718" y="364580"/>
                      <a:pt x="96414" y="379413"/>
                      <a:pt x="80606" y="388911"/>
                    </a:cubicBezTo>
                    <a:cubicBezTo>
                      <a:pt x="55949" y="403744"/>
                      <a:pt x="24006" y="395742"/>
                      <a:pt x="9238" y="371150"/>
                    </a:cubicBezTo>
                    <a:cubicBezTo>
                      <a:pt x="-2928" y="350918"/>
                      <a:pt x="260" y="325741"/>
                      <a:pt x="15484" y="309216"/>
                    </a:cubicBezTo>
                    <a:lnTo>
                      <a:pt x="45019" y="277078"/>
                    </a:lnTo>
                  </a:path>
                </a:pathLst>
              </a:custGeom>
              <a:noFill/>
              <a:ln w="1270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PT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45" name="Forma livre: Forma 144">
                <a:extLst>
                  <a:ext uri="{FF2B5EF4-FFF2-40B4-BE49-F238E27FC236}">
                    <a16:creationId xmlns:a16="http://schemas.microsoft.com/office/drawing/2014/main" id="{9F2D156E-A145-99AA-A3CF-1184973001E1}"/>
                  </a:ext>
                </a:extLst>
              </p:cNvPr>
              <p:cNvSpPr/>
              <p:nvPr/>
            </p:nvSpPr>
            <p:spPr>
              <a:xfrm>
                <a:off x="6144784" y="1383865"/>
                <a:ext cx="41563" cy="38963"/>
              </a:xfrm>
              <a:custGeom>
                <a:avLst/>
                <a:gdLst>
                  <a:gd name="connsiteX0" fmla="*/ 36172 w 41563"/>
                  <a:gd name="connsiteY0" fmla="*/ 0 h 38963"/>
                  <a:gd name="connsiteX1" fmla="*/ 39425 w 41563"/>
                  <a:gd name="connsiteY1" fmla="*/ 24266 h 38963"/>
                  <a:gd name="connsiteX2" fmla="*/ 36432 w 41563"/>
                  <a:gd name="connsiteY2" fmla="*/ 29080 h 38963"/>
                  <a:gd name="connsiteX3" fmla="*/ 0 w 41563"/>
                  <a:gd name="connsiteY3" fmla="*/ 33439 h 389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563" h="38963">
                    <a:moveTo>
                      <a:pt x="36172" y="0"/>
                    </a:moveTo>
                    <a:cubicBezTo>
                      <a:pt x="41571" y="7547"/>
                      <a:pt x="43393" y="16004"/>
                      <a:pt x="39425" y="24266"/>
                    </a:cubicBezTo>
                    <a:cubicBezTo>
                      <a:pt x="38644" y="25893"/>
                      <a:pt x="37603" y="27519"/>
                      <a:pt x="36432" y="29080"/>
                    </a:cubicBezTo>
                    <a:cubicBezTo>
                      <a:pt x="27584" y="40270"/>
                      <a:pt x="11190" y="42287"/>
                      <a:pt x="0" y="33439"/>
                    </a:cubicBezTo>
                  </a:path>
                </a:pathLst>
              </a:custGeom>
              <a:noFill/>
              <a:ln w="1270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PT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46" name="Forma livre: Forma 145">
                <a:extLst>
                  <a:ext uri="{FF2B5EF4-FFF2-40B4-BE49-F238E27FC236}">
                    <a16:creationId xmlns:a16="http://schemas.microsoft.com/office/drawing/2014/main" id="{40CB6546-0EDA-AB59-52BD-B4EC7D669922}"/>
                  </a:ext>
                </a:extLst>
              </p:cNvPr>
              <p:cNvSpPr/>
              <p:nvPr/>
            </p:nvSpPr>
            <p:spPr>
              <a:xfrm>
                <a:off x="6081487" y="1460806"/>
                <a:ext cx="34217" cy="54474"/>
              </a:xfrm>
              <a:custGeom>
                <a:avLst/>
                <a:gdLst>
                  <a:gd name="connsiteX0" fmla="*/ 21076 w 34217"/>
                  <a:gd name="connsiteY0" fmla="*/ 54475 h 54474"/>
                  <a:gd name="connsiteX1" fmla="*/ 778 w 34217"/>
                  <a:gd name="connsiteY1" fmla="*/ 21035 h 54474"/>
                  <a:gd name="connsiteX2" fmla="*/ 34217 w 34217"/>
                  <a:gd name="connsiteY2" fmla="*/ 803 h 544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4217" h="54474">
                    <a:moveTo>
                      <a:pt x="21076" y="54475"/>
                    </a:moveTo>
                    <a:cubicBezTo>
                      <a:pt x="6308" y="50832"/>
                      <a:pt x="-2800" y="35803"/>
                      <a:pt x="778" y="21035"/>
                    </a:cubicBezTo>
                    <a:cubicBezTo>
                      <a:pt x="4421" y="6267"/>
                      <a:pt x="19449" y="-2841"/>
                      <a:pt x="34217" y="803"/>
                    </a:cubicBezTo>
                  </a:path>
                </a:pathLst>
              </a:custGeom>
              <a:noFill/>
              <a:ln w="1270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PT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47" name="Forma livre: Forma 146">
                <a:extLst>
                  <a:ext uri="{FF2B5EF4-FFF2-40B4-BE49-F238E27FC236}">
                    <a16:creationId xmlns:a16="http://schemas.microsoft.com/office/drawing/2014/main" id="{492B35C4-E282-6896-23EC-C825FEB0153F}"/>
                  </a:ext>
                </a:extLst>
              </p:cNvPr>
              <p:cNvSpPr/>
              <p:nvPr/>
            </p:nvSpPr>
            <p:spPr>
              <a:xfrm>
                <a:off x="6073547" y="1527543"/>
                <a:ext cx="114760" cy="72506"/>
              </a:xfrm>
              <a:custGeom>
                <a:avLst/>
                <a:gdLst>
                  <a:gd name="connsiteX0" fmla="*/ 114760 w 114760"/>
                  <a:gd name="connsiteY0" fmla="*/ 7254 h 72506"/>
                  <a:gd name="connsiteX1" fmla="*/ 73905 w 114760"/>
                  <a:gd name="connsiteY1" fmla="*/ 8881 h 72506"/>
                  <a:gd name="connsiteX2" fmla="*/ 0 w 114760"/>
                  <a:gd name="connsiteY2" fmla="*/ 72506 h 725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14760" h="72506">
                    <a:moveTo>
                      <a:pt x="114760" y="7254"/>
                    </a:moveTo>
                    <a:cubicBezTo>
                      <a:pt x="103375" y="-2830"/>
                      <a:pt x="83989" y="-2504"/>
                      <a:pt x="73905" y="8881"/>
                    </a:cubicBezTo>
                    <a:cubicBezTo>
                      <a:pt x="73905" y="8881"/>
                      <a:pt x="31488" y="72506"/>
                      <a:pt x="0" y="72506"/>
                    </a:cubicBezTo>
                  </a:path>
                </a:pathLst>
              </a:custGeom>
              <a:noFill/>
              <a:ln w="1270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PT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48" name="Forma livre: Forma 147">
                <a:extLst>
                  <a:ext uri="{FF2B5EF4-FFF2-40B4-BE49-F238E27FC236}">
                    <a16:creationId xmlns:a16="http://schemas.microsoft.com/office/drawing/2014/main" id="{6CEC71CB-11F8-95CE-AC34-75909A048208}"/>
                  </a:ext>
                </a:extLst>
              </p:cNvPr>
              <p:cNvSpPr/>
              <p:nvPr/>
            </p:nvSpPr>
            <p:spPr>
              <a:xfrm>
                <a:off x="6079857" y="1646956"/>
                <a:ext cx="29405" cy="9823"/>
              </a:xfrm>
              <a:custGeom>
                <a:avLst/>
                <a:gdLst>
                  <a:gd name="connsiteX0" fmla="*/ 0 w 29405"/>
                  <a:gd name="connsiteY0" fmla="*/ 0 h 9823"/>
                  <a:gd name="connsiteX1" fmla="*/ 29406 w 29405"/>
                  <a:gd name="connsiteY1" fmla="*/ 9824 h 98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9405" h="9823">
                    <a:moveTo>
                      <a:pt x="0" y="0"/>
                    </a:moveTo>
                    <a:lnTo>
                      <a:pt x="29406" y="9824"/>
                    </a:lnTo>
                  </a:path>
                </a:pathLst>
              </a:custGeom>
              <a:ln w="1270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PT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49" name="Forma livre: Forma 148">
                <a:extLst>
                  <a:ext uri="{FF2B5EF4-FFF2-40B4-BE49-F238E27FC236}">
                    <a16:creationId xmlns:a16="http://schemas.microsoft.com/office/drawing/2014/main" id="{EFA3AFD7-0819-6E2B-A9B2-07BDB67741BB}"/>
                  </a:ext>
                </a:extLst>
              </p:cNvPr>
              <p:cNvSpPr/>
              <p:nvPr/>
            </p:nvSpPr>
            <p:spPr>
              <a:xfrm>
                <a:off x="6061121" y="1545272"/>
                <a:ext cx="47166" cy="34154"/>
              </a:xfrm>
              <a:custGeom>
                <a:avLst/>
                <a:gdLst>
                  <a:gd name="connsiteX0" fmla="*/ 0 w 47166"/>
                  <a:gd name="connsiteY0" fmla="*/ 0 h 34154"/>
                  <a:gd name="connsiteX1" fmla="*/ 47166 w 47166"/>
                  <a:gd name="connsiteY1" fmla="*/ 34155 h 341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166" h="34154">
                    <a:moveTo>
                      <a:pt x="0" y="0"/>
                    </a:moveTo>
                    <a:cubicBezTo>
                      <a:pt x="0" y="0"/>
                      <a:pt x="27649" y="13011"/>
                      <a:pt x="47166" y="34155"/>
                    </a:cubicBezTo>
                  </a:path>
                </a:pathLst>
              </a:custGeom>
              <a:noFill/>
              <a:ln w="1270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PT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  <p:grpSp>
          <p:nvGrpSpPr>
            <p:cNvPr id="130" name="Gráfico 32">
              <a:extLst>
                <a:ext uri="{FF2B5EF4-FFF2-40B4-BE49-F238E27FC236}">
                  <a16:creationId xmlns:a16="http://schemas.microsoft.com/office/drawing/2014/main" id="{5FB20EBD-9BB5-EA03-0E57-9C484EF04157}"/>
                </a:ext>
              </a:extLst>
            </p:cNvPr>
            <p:cNvGrpSpPr/>
            <p:nvPr/>
          </p:nvGrpSpPr>
          <p:grpSpPr>
            <a:xfrm>
              <a:off x="6191625" y="1599725"/>
              <a:ext cx="173767" cy="157112"/>
              <a:chOff x="6191625" y="1599725"/>
              <a:chExt cx="173767" cy="157112"/>
            </a:xfrm>
            <a:noFill/>
          </p:grpSpPr>
          <p:sp>
            <p:nvSpPr>
              <p:cNvPr id="140" name="Forma livre: Forma 139">
                <a:extLst>
                  <a:ext uri="{FF2B5EF4-FFF2-40B4-BE49-F238E27FC236}">
                    <a16:creationId xmlns:a16="http://schemas.microsoft.com/office/drawing/2014/main" id="{FDAC95BF-2876-B55E-A413-8129AA0ED12B}"/>
                  </a:ext>
                </a:extLst>
              </p:cNvPr>
              <p:cNvSpPr/>
              <p:nvPr/>
            </p:nvSpPr>
            <p:spPr>
              <a:xfrm>
                <a:off x="6310094" y="1621974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270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PT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41" name="Forma livre: Forma 140">
                <a:extLst>
                  <a:ext uri="{FF2B5EF4-FFF2-40B4-BE49-F238E27FC236}">
                    <a16:creationId xmlns:a16="http://schemas.microsoft.com/office/drawing/2014/main" id="{C7843BAA-3037-C909-DD7B-72C89356A9CE}"/>
                  </a:ext>
                </a:extLst>
              </p:cNvPr>
              <p:cNvSpPr/>
              <p:nvPr/>
            </p:nvSpPr>
            <p:spPr>
              <a:xfrm>
                <a:off x="6191625" y="1599725"/>
                <a:ext cx="118078" cy="49898"/>
              </a:xfrm>
              <a:custGeom>
                <a:avLst/>
                <a:gdLst>
                  <a:gd name="connsiteX0" fmla="*/ 0 w 118078"/>
                  <a:gd name="connsiteY0" fmla="*/ 0 h 49898"/>
                  <a:gd name="connsiteX1" fmla="*/ 37343 w 118078"/>
                  <a:gd name="connsiteY1" fmla="*/ 0 h 49898"/>
                  <a:gd name="connsiteX2" fmla="*/ 87176 w 118078"/>
                  <a:gd name="connsiteY2" fmla="*/ 49899 h 49898"/>
                  <a:gd name="connsiteX3" fmla="*/ 118078 w 118078"/>
                  <a:gd name="connsiteY3" fmla="*/ 49899 h 49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8078" h="49898">
                    <a:moveTo>
                      <a:pt x="0" y="0"/>
                    </a:moveTo>
                    <a:lnTo>
                      <a:pt x="37343" y="0"/>
                    </a:lnTo>
                    <a:lnTo>
                      <a:pt x="87176" y="49899"/>
                    </a:lnTo>
                    <a:lnTo>
                      <a:pt x="118078" y="49899"/>
                    </a:lnTo>
                  </a:path>
                </a:pathLst>
              </a:custGeom>
              <a:noFill/>
              <a:ln w="1270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PT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42" name="Forma livre: Forma 141">
                <a:extLst>
                  <a:ext uri="{FF2B5EF4-FFF2-40B4-BE49-F238E27FC236}">
                    <a16:creationId xmlns:a16="http://schemas.microsoft.com/office/drawing/2014/main" id="{B6359C49-6793-BBB3-506D-00F79AD9E63A}"/>
                  </a:ext>
                </a:extLst>
              </p:cNvPr>
              <p:cNvSpPr/>
              <p:nvPr/>
            </p:nvSpPr>
            <p:spPr>
              <a:xfrm>
                <a:off x="6191625" y="1665367"/>
                <a:ext cx="81906" cy="44108"/>
              </a:xfrm>
              <a:custGeom>
                <a:avLst/>
                <a:gdLst>
                  <a:gd name="connsiteX0" fmla="*/ 0 w 81906"/>
                  <a:gd name="connsiteY0" fmla="*/ 0 h 44108"/>
                  <a:gd name="connsiteX1" fmla="*/ 37343 w 81906"/>
                  <a:gd name="connsiteY1" fmla="*/ 0 h 44108"/>
                  <a:gd name="connsiteX2" fmla="*/ 81907 w 81906"/>
                  <a:gd name="connsiteY2" fmla="*/ 44109 h 441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1906" h="44108">
                    <a:moveTo>
                      <a:pt x="0" y="0"/>
                    </a:moveTo>
                    <a:lnTo>
                      <a:pt x="37343" y="0"/>
                    </a:lnTo>
                    <a:lnTo>
                      <a:pt x="81907" y="44109"/>
                    </a:lnTo>
                  </a:path>
                </a:pathLst>
              </a:custGeom>
              <a:noFill/>
              <a:ln w="1270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PT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43" name="Forma livre: Forma 142">
                <a:extLst>
                  <a:ext uri="{FF2B5EF4-FFF2-40B4-BE49-F238E27FC236}">
                    <a16:creationId xmlns:a16="http://schemas.microsoft.com/office/drawing/2014/main" id="{321447FA-9380-644B-798D-7090FEBE140A}"/>
                  </a:ext>
                </a:extLst>
              </p:cNvPr>
              <p:cNvSpPr/>
              <p:nvPr/>
            </p:nvSpPr>
            <p:spPr>
              <a:xfrm>
                <a:off x="6265075" y="1701539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270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PT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  <p:grpSp>
          <p:nvGrpSpPr>
            <p:cNvPr id="131" name="Gráfico 32">
              <a:extLst>
                <a:ext uri="{FF2B5EF4-FFF2-40B4-BE49-F238E27FC236}">
                  <a16:creationId xmlns:a16="http://schemas.microsoft.com/office/drawing/2014/main" id="{B31AB4AA-22F5-5BF7-C5FE-1F7FE3F8FAF5}"/>
                </a:ext>
              </a:extLst>
            </p:cNvPr>
            <p:cNvGrpSpPr/>
            <p:nvPr/>
          </p:nvGrpSpPr>
          <p:grpSpPr>
            <a:xfrm>
              <a:off x="6191625" y="1357908"/>
              <a:ext cx="173767" cy="157112"/>
              <a:chOff x="6191625" y="1357908"/>
              <a:chExt cx="173767" cy="157112"/>
            </a:xfrm>
            <a:noFill/>
          </p:grpSpPr>
          <p:sp>
            <p:nvSpPr>
              <p:cNvPr id="136" name="Forma livre: Forma 135">
                <a:extLst>
                  <a:ext uri="{FF2B5EF4-FFF2-40B4-BE49-F238E27FC236}">
                    <a16:creationId xmlns:a16="http://schemas.microsoft.com/office/drawing/2014/main" id="{DEBD5D81-BFA1-1584-B919-9249F29D2B25}"/>
                  </a:ext>
                </a:extLst>
              </p:cNvPr>
              <p:cNvSpPr/>
              <p:nvPr/>
            </p:nvSpPr>
            <p:spPr>
              <a:xfrm>
                <a:off x="6310094" y="1437472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0 h 55298"/>
                  <a:gd name="connsiteX2" fmla="*/ 0 w 55298"/>
                  <a:gd name="connsiteY2" fmla="*/ 27649 h 55298"/>
                  <a:gd name="connsiteX3" fmla="*/ 27649 w 55298"/>
                  <a:gd name="connsiteY3" fmla="*/ 55298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12361"/>
                      <a:pt x="42938" y="0"/>
                      <a:pt x="27649" y="0"/>
                    </a:cubicBezTo>
                    <a:cubicBezTo>
                      <a:pt x="12361" y="0"/>
                      <a:pt x="0" y="12361"/>
                      <a:pt x="0" y="27649"/>
                    </a:cubicBezTo>
                    <a:cubicBezTo>
                      <a:pt x="0" y="42938"/>
                      <a:pt x="12361" y="55298"/>
                      <a:pt x="27649" y="55298"/>
                    </a:cubicBezTo>
                    <a:cubicBezTo>
                      <a:pt x="42938" y="55298"/>
                      <a:pt x="55298" y="42938"/>
                      <a:pt x="55298" y="27649"/>
                    </a:cubicBezTo>
                    <a:close/>
                  </a:path>
                </a:pathLst>
              </a:custGeom>
              <a:noFill/>
              <a:ln w="1270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PT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37" name="Forma livre: Forma 136">
                <a:extLst>
                  <a:ext uri="{FF2B5EF4-FFF2-40B4-BE49-F238E27FC236}">
                    <a16:creationId xmlns:a16="http://schemas.microsoft.com/office/drawing/2014/main" id="{3B784B13-1B07-704A-C1CE-6D3B1B3CD14C}"/>
                  </a:ext>
                </a:extLst>
              </p:cNvPr>
              <p:cNvSpPr/>
              <p:nvPr/>
            </p:nvSpPr>
            <p:spPr>
              <a:xfrm>
                <a:off x="6191625" y="1465122"/>
                <a:ext cx="118468" cy="49898"/>
              </a:xfrm>
              <a:custGeom>
                <a:avLst/>
                <a:gdLst>
                  <a:gd name="connsiteX0" fmla="*/ 0 w 118468"/>
                  <a:gd name="connsiteY0" fmla="*/ 49899 h 49898"/>
                  <a:gd name="connsiteX1" fmla="*/ 37343 w 118468"/>
                  <a:gd name="connsiteY1" fmla="*/ 49899 h 49898"/>
                  <a:gd name="connsiteX2" fmla="*/ 87176 w 118468"/>
                  <a:gd name="connsiteY2" fmla="*/ 0 h 49898"/>
                  <a:gd name="connsiteX3" fmla="*/ 118469 w 118468"/>
                  <a:gd name="connsiteY3" fmla="*/ 0 h 49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8468" h="49898">
                    <a:moveTo>
                      <a:pt x="0" y="49899"/>
                    </a:moveTo>
                    <a:lnTo>
                      <a:pt x="37343" y="49899"/>
                    </a:lnTo>
                    <a:lnTo>
                      <a:pt x="87176" y="0"/>
                    </a:lnTo>
                    <a:lnTo>
                      <a:pt x="118469" y="0"/>
                    </a:lnTo>
                  </a:path>
                </a:pathLst>
              </a:custGeom>
              <a:noFill/>
              <a:ln w="1270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PT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38" name="Forma livre: Forma 137">
                <a:extLst>
                  <a:ext uri="{FF2B5EF4-FFF2-40B4-BE49-F238E27FC236}">
                    <a16:creationId xmlns:a16="http://schemas.microsoft.com/office/drawing/2014/main" id="{1C86B709-4B48-40E3-D799-76E6572FD74C}"/>
                  </a:ext>
                </a:extLst>
              </p:cNvPr>
              <p:cNvSpPr/>
              <p:nvPr/>
            </p:nvSpPr>
            <p:spPr>
              <a:xfrm>
                <a:off x="6191625" y="1405269"/>
                <a:ext cx="81451" cy="44043"/>
              </a:xfrm>
              <a:custGeom>
                <a:avLst/>
                <a:gdLst>
                  <a:gd name="connsiteX0" fmla="*/ 0 w 81451"/>
                  <a:gd name="connsiteY0" fmla="*/ 44044 h 44043"/>
                  <a:gd name="connsiteX1" fmla="*/ 37343 w 81451"/>
                  <a:gd name="connsiteY1" fmla="*/ 44044 h 44043"/>
                  <a:gd name="connsiteX2" fmla="*/ 81451 w 81451"/>
                  <a:gd name="connsiteY2" fmla="*/ 0 h 440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1451" h="44043">
                    <a:moveTo>
                      <a:pt x="0" y="44044"/>
                    </a:moveTo>
                    <a:lnTo>
                      <a:pt x="37343" y="44044"/>
                    </a:lnTo>
                    <a:lnTo>
                      <a:pt x="81451" y="0"/>
                    </a:lnTo>
                  </a:path>
                </a:pathLst>
              </a:custGeom>
              <a:noFill/>
              <a:ln w="1270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PT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39" name="Forma livre: Forma 138">
                <a:extLst>
                  <a:ext uri="{FF2B5EF4-FFF2-40B4-BE49-F238E27FC236}">
                    <a16:creationId xmlns:a16="http://schemas.microsoft.com/office/drawing/2014/main" id="{44B1181D-FBA2-8542-98A8-760E709B8B7A}"/>
                  </a:ext>
                </a:extLst>
              </p:cNvPr>
              <p:cNvSpPr/>
              <p:nvPr/>
            </p:nvSpPr>
            <p:spPr>
              <a:xfrm>
                <a:off x="6265075" y="1357908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0 h 55298"/>
                  <a:gd name="connsiteX2" fmla="*/ 0 w 55298"/>
                  <a:gd name="connsiteY2" fmla="*/ 27649 h 55298"/>
                  <a:gd name="connsiteX3" fmla="*/ 27649 w 55298"/>
                  <a:gd name="connsiteY3" fmla="*/ 55298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12361"/>
                      <a:pt x="42938" y="0"/>
                      <a:pt x="27649" y="0"/>
                    </a:cubicBezTo>
                    <a:cubicBezTo>
                      <a:pt x="12361" y="0"/>
                      <a:pt x="0" y="12361"/>
                      <a:pt x="0" y="27649"/>
                    </a:cubicBezTo>
                    <a:cubicBezTo>
                      <a:pt x="0" y="42938"/>
                      <a:pt x="12361" y="55298"/>
                      <a:pt x="27649" y="55298"/>
                    </a:cubicBezTo>
                    <a:cubicBezTo>
                      <a:pt x="42938" y="55298"/>
                      <a:pt x="55298" y="42938"/>
                      <a:pt x="55298" y="27649"/>
                    </a:cubicBezTo>
                    <a:close/>
                  </a:path>
                </a:pathLst>
              </a:custGeom>
              <a:noFill/>
              <a:ln w="1270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PT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  <p:grpSp>
          <p:nvGrpSpPr>
            <p:cNvPr id="132" name="Gráfico 32">
              <a:extLst>
                <a:ext uri="{FF2B5EF4-FFF2-40B4-BE49-F238E27FC236}">
                  <a16:creationId xmlns:a16="http://schemas.microsoft.com/office/drawing/2014/main" id="{C2929E31-2EB1-316B-31C8-5EF2ACBCC13F}"/>
                </a:ext>
              </a:extLst>
            </p:cNvPr>
            <p:cNvGrpSpPr/>
            <p:nvPr/>
          </p:nvGrpSpPr>
          <p:grpSpPr>
            <a:xfrm>
              <a:off x="6190910" y="1529723"/>
              <a:ext cx="123673" cy="55298"/>
              <a:chOff x="6190910" y="1529723"/>
              <a:chExt cx="123673" cy="55298"/>
            </a:xfrm>
            <a:noFill/>
          </p:grpSpPr>
          <p:sp>
            <p:nvSpPr>
              <p:cNvPr id="134" name="Forma livre: Forma 133">
                <a:extLst>
                  <a:ext uri="{FF2B5EF4-FFF2-40B4-BE49-F238E27FC236}">
                    <a16:creationId xmlns:a16="http://schemas.microsoft.com/office/drawing/2014/main" id="{D7B89FA1-0C6A-16B8-A11E-814FBE2A2031}"/>
                  </a:ext>
                </a:extLst>
              </p:cNvPr>
              <p:cNvSpPr/>
              <p:nvPr/>
            </p:nvSpPr>
            <p:spPr>
              <a:xfrm>
                <a:off x="6190910" y="1557372"/>
                <a:ext cx="68765" cy="6505"/>
              </a:xfrm>
              <a:custGeom>
                <a:avLst/>
                <a:gdLst>
                  <a:gd name="connsiteX0" fmla="*/ 0 w 68765"/>
                  <a:gd name="connsiteY0" fmla="*/ 0 h 6505"/>
                  <a:gd name="connsiteX1" fmla="*/ 68765 w 68765"/>
                  <a:gd name="connsiteY1" fmla="*/ 0 h 65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8765" h="6505">
                    <a:moveTo>
                      <a:pt x="0" y="0"/>
                    </a:moveTo>
                    <a:lnTo>
                      <a:pt x="68765" y="0"/>
                    </a:lnTo>
                  </a:path>
                </a:pathLst>
              </a:custGeom>
              <a:ln w="1270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PT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35" name="Forma livre: Forma 134">
                <a:extLst>
                  <a:ext uri="{FF2B5EF4-FFF2-40B4-BE49-F238E27FC236}">
                    <a16:creationId xmlns:a16="http://schemas.microsoft.com/office/drawing/2014/main" id="{CD07D407-E3A4-18FB-92DD-3CCBF20C6D6D}"/>
                  </a:ext>
                </a:extLst>
              </p:cNvPr>
              <p:cNvSpPr/>
              <p:nvPr/>
            </p:nvSpPr>
            <p:spPr>
              <a:xfrm>
                <a:off x="6259285" y="1529723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270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PT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  <p:sp>
          <p:nvSpPr>
            <p:cNvPr id="133" name="Forma livre: Forma 132">
              <a:extLst>
                <a:ext uri="{FF2B5EF4-FFF2-40B4-BE49-F238E27FC236}">
                  <a16:creationId xmlns:a16="http://schemas.microsoft.com/office/drawing/2014/main" id="{D77D71AD-314D-B671-4C2F-67C5C6DAB3F7}"/>
                </a:ext>
              </a:extLst>
            </p:cNvPr>
            <p:cNvSpPr/>
            <p:nvPr/>
          </p:nvSpPr>
          <p:spPr>
            <a:xfrm>
              <a:off x="6152201" y="1686285"/>
              <a:ext cx="37362" cy="20848"/>
            </a:xfrm>
            <a:custGeom>
              <a:avLst/>
              <a:gdLst>
                <a:gd name="connsiteX0" fmla="*/ 0 w 37362"/>
                <a:gd name="connsiteY0" fmla="*/ 10505 h 20848"/>
                <a:gd name="connsiteX1" fmla="*/ 27064 w 37362"/>
                <a:gd name="connsiteY1" fmla="*/ 2373 h 20848"/>
                <a:gd name="connsiteX2" fmla="*/ 37343 w 37362"/>
                <a:gd name="connsiteY2" fmla="*/ 20849 h 20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7362" h="20848">
                  <a:moveTo>
                    <a:pt x="0" y="10505"/>
                  </a:moveTo>
                  <a:cubicBezTo>
                    <a:pt x="5205" y="811"/>
                    <a:pt x="17435" y="-2832"/>
                    <a:pt x="27064" y="2373"/>
                  </a:cubicBezTo>
                  <a:cubicBezTo>
                    <a:pt x="34025" y="6081"/>
                    <a:pt x="37668" y="13432"/>
                    <a:pt x="37343" y="20849"/>
                  </a:cubicBezTo>
                </a:path>
              </a:pathLst>
            </a:custGeom>
            <a:noFill/>
            <a:ln w="12700" cap="sq">
              <a:solidFill>
                <a:srgbClr val="00FF94"/>
              </a:solidFill>
              <a:prstDash val="solid"/>
              <a:miter lim="800000"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150" name="Agrupar 149">
            <a:extLst>
              <a:ext uri="{FF2B5EF4-FFF2-40B4-BE49-F238E27FC236}">
                <a16:creationId xmlns:a16="http://schemas.microsoft.com/office/drawing/2014/main" id="{ECAB1010-925E-F780-950D-6BD1CF36C941}"/>
              </a:ext>
            </a:extLst>
          </p:cNvPr>
          <p:cNvGrpSpPr/>
          <p:nvPr/>
        </p:nvGrpSpPr>
        <p:grpSpPr>
          <a:xfrm>
            <a:off x="5621736" y="2838964"/>
            <a:ext cx="274455" cy="299722"/>
            <a:chOff x="6000092" y="1357908"/>
            <a:chExt cx="365300" cy="398929"/>
          </a:xfrm>
        </p:grpSpPr>
        <p:sp>
          <p:nvSpPr>
            <p:cNvPr id="151" name="Forma livre: Forma 150">
              <a:extLst>
                <a:ext uri="{FF2B5EF4-FFF2-40B4-BE49-F238E27FC236}">
                  <a16:creationId xmlns:a16="http://schemas.microsoft.com/office/drawing/2014/main" id="{090AEB9F-8DE3-F823-D228-B2ECD7AD5A34}"/>
                </a:ext>
              </a:extLst>
            </p:cNvPr>
            <p:cNvSpPr/>
            <p:nvPr/>
          </p:nvSpPr>
          <p:spPr>
            <a:xfrm>
              <a:off x="6000092" y="1418606"/>
              <a:ext cx="84058" cy="286120"/>
            </a:xfrm>
            <a:custGeom>
              <a:avLst/>
              <a:gdLst>
                <a:gd name="connsiteX0" fmla="*/ 51595 w 84058"/>
                <a:gd name="connsiteY0" fmla="*/ 0 h 286120"/>
                <a:gd name="connsiteX1" fmla="*/ 35266 w 84058"/>
                <a:gd name="connsiteY1" fmla="*/ 61674 h 286120"/>
                <a:gd name="connsiteX2" fmla="*/ 28760 w 84058"/>
                <a:gd name="connsiteY2" fmla="*/ 193415 h 286120"/>
                <a:gd name="connsiteX3" fmla="*/ 84059 w 84058"/>
                <a:gd name="connsiteY3" fmla="*/ 286121 h 2861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4058" h="286120">
                  <a:moveTo>
                    <a:pt x="51595" y="0"/>
                  </a:moveTo>
                  <a:cubicBezTo>
                    <a:pt x="37868" y="7872"/>
                    <a:pt x="26028" y="24852"/>
                    <a:pt x="35266" y="61674"/>
                  </a:cubicBezTo>
                  <a:cubicBezTo>
                    <a:pt x="35266" y="61674"/>
                    <a:pt x="-39549" y="126731"/>
                    <a:pt x="28760" y="193415"/>
                  </a:cubicBezTo>
                  <a:cubicBezTo>
                    <a:pt x="28760" y="193415"/>
                    <a:pt x="9243" y="281242"/>
                    <a:pt x="84059" y="286121"/>
                  </a:cubicBezTo>
                </a:path>
              </a:pathLst>
            </a:custGeom>
            <a:noFill/>
            <a:ln w="12700" cap="sq">
              <a:solidFill>
                <a:srgbClr val="00FF94"/>
              </a:solidFill>
              <a:prstDash val="solid"/>
              <a:miter lim="800000"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grpSp>
          <p:nvGrpSpPr>
            <p:cNvPr id="152" name="Gráfico 32">
              <a:extLst>
                <a:ext uri="{FF2B5EF4-FFF2-40B4-BE49-F238E27FC236}">
                  <a16:creationId xmlns:a16="http://schemas.microsoft.com/office/drawing/2014/main" id="{C496C3A2-2CBA-2485-D09C-45FC11A21E49}"/>
                </a:ext>
              </a:extLst>
            </p:cNvPr>
            <p:cNvGrpSpPr/>
            <p:nvPr/>
          </p:nvGrpSpPr>
          <p:grpSpPr>
            <a:xfrm>
              <a:off x="6061121" y="1359924"/>
              <a:ext cx="128487" cy="396366"/>
              <a:chOff x="6061121" y="1359924"/>
              <a:chExt cx="128487" cy="396366"/>
            </a:xfrm>
            <a:noFill/>
          </p:grpSpPr>
          <p:sp>
            <p:nvSpPr>
              <p:cNvPr id="167" name="Forma livre: Forma 166">
                <a:extLst>
                  <a:ext uri="{FF2B5EF4-FFF2-40B4-BE49-F238E27FC236}">
                    <a16:creationId xmlns:a16="http://schemas.microsoft.com/office/drawing/2014/main" id="{467434A6-F9CE-F2BA-288F-C1C7FE5398AC}"/>
                  </a:ext>
                </a:extLst>
              </p:cNvPr>
              <p:cNvSpPr/>
              <p:nvPr/>
            </p:nvSpPr>
            <p:spPr>
              <a:xfrm>
                <a:off x="6083891" y="1359924"/>
                <a:ext cx="105717" cy="396366"/>
              </a:xfrm>
              <a:custGeom>
                <a:avLst/>
                <a:gdLst>
                  <a:gd name="connsiteX0" fmla="*/ 52891 w 105717"/>
                  <a:gd name="connsiteY0" fmla="*/ 105718 h 396366"/>
                  <a:gd name="connsiteX1" fmla="*/ 0 w 105717"/>
                  <a:gd name="connsiteY1" fmla="*/ 52891 h 396366"/>
                  <a:gd name="connsiteX2" fmla="*/ 52891 w 105717"/>
                  <a:gd name="connsiteY2" fmla="*/ 0 h 396366"/>
                  <a:gd name="connsiteX3" fmla="*/ 105718 w 105717"/>
                  <a:gd name="connsiteY3" fmla="*/ 52826 h 396366"/>
                  <a:gd name="connsiteX4" fmla="*/ 105718 w 105717"/>
                  <a:gd name="connsiteY4" fmla="*/ 346884 h 396366"/>
                  <a:gd name="connsiteX5" fmla="*/ 80606 w 105717"/>
                  <a:gd name="connsiteY5" fmla="*/ 388911 h 396366"/>
                  <a:gd name="connsiteX6" fmla="*/ 9238 w 105717"/>
                  <a:gd name="connsiteY6" fmla="*/ 371150 h 396366"/>
                  <a:gd name="connsiteX7" fmla="*/ 15484 w 105717"/>
                  <a:gd name="connsiteY7" fmla="*/ 309216 h 396366"/>
                  <a:gd name="connsiteX8" fmla="*/ 45019 w 105717"/>
                  <a:gd name="connsiteY8" fmla="*/ 277078 h 3963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05717" h="396366">
                    <a:moveTo>
                      <a:pt x="52891" y="105718"/>
                    </a:moveTo>
                    <a:cubicBezTo>
                      <a:pt x="23681" y="105718"/>
                      <a:pt x="0" y="82037"/>
                      <a:pt x="0" y="52891"/>
                    </a:cubicBezTo>
                    <a:cubicBezTo>
                      <a:pt x="0" y="23746"/>
                      <a:pt x="23681" y="0"/>
                      <a:pt x="52891" y="0"/>
                    </a:cubicBezTo>
                    <a:cubicBezTo>
                      <a:pt x="82102" y="0"/>
                      <a:pt x="105718" y="23681"/>
                      <a:pt x="105718" y="52826"/>
                    </a:cubicBezTo>
                    <a:lnTo>
                      <a:pt x="105718" y="346884"/>
                    </a:lnTo>
                    <a:cubicBezTo>
                      <a:pt x="105718" y="364580"/>
                      <a:pt x="96414" y="379413"/>
                      <a:pt x="80606" y="388911"/>
                    </a:cubicBezTo>
                    <a:cubicBezTo>
                      <a:pt x="55949" y="403744"/>
                      <a:pt x="24006" y="395742"/>
                      <a:pt x="9238" y="371150"/>
                    </a:cubicBezTo>
                    <a:cubicBezTo>
                      <a:pt x="-2928" y="350918"/>
                      <a:pt x="260" y="325741"/>
                      <a:pt x="15484" y="309216"/>
                    </a:cubicBezTo>
                    <a:lnTo>
                      <a:pt x="45019" y="277078"/>
                    </a:lnTo>
                  </a:path>
                </a:pathLst>
              </a:custGeom>
              <a:noFill/>
              <a:ln w="1270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PT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68" name="Forma livre: Forma 167">
                <a:extLst>
                  <a:ext uri="{FF2B5EF4-FFF2-40B4-BE49-F238E27FC236}">
                    <a16:creationId xmlns:a16="http://schemas.microsoft.com/office/drawing/2014/main" id="{15E0B6D9-6CD0-C960-6398-526FE5D518F5}"/>
                  </a:ext>
                </a:extLst>
              </p:cNvPr>
              <p:cNvSpPr/>
              <p:nvPr/>
            </p:nvSpPr>
            <p:spPr>
              <a:xfrm>
                <a:off x="6144784" y="1383865"/>
                <a:ext cx="41563" cy="38963"/>
              </a:xfrm>
              <a:custGeom>
                <a:avLst/>
                <a:gdLst>
                  <a:gd name="connsiteX0" fmla="*/ 36172 w 41563"/>
                  <a:gd name="connsiteY0" fmla="*/ 0 h 38963"/>
                  <a:gd name="connsiteX1" fmla="*/ 39425 w 41563"/>
                  <a:gd name="connsiteY1" fmla="*/ 24266 h 38963"/>
                  <a:gd name="connsiteX2" fmla="*/ 36432 w 41563"/>
                  <a:gd name="connsiteY2" fmla="*/ 29080 h 38963"/>
                  <a:gd name="connsiteX3" fmla="*/ 0 w 41563"/>
                  <a:gd name="connsiteY3" fmla="*/ 33439 h 389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563" h="38963">
                    <a:moveTo>
                      <a:pt x="36172" y="0"/>
                    </a:moveTo>
                    <a:cubicBezTo>
                      <a:pt x="41571" y="7547"/>
                      <a:pt x="43393" y="16004"/>
                      <a:pt x="39425" y="24266"/>
                    </a:cubicBezTo>
                    <a:cubicBezTo>
                      <a:pt x="38644" y="25893"/>
                      <a:pt x="37603" y="27519"/>
                      <a:pt x="36432" y="29080"/>
                    </a:cubicBezTo>
                    <a:cubicBezTo>
                      <a:pt x="27584" y="40270"/>
                      <a:pt x="11190" y="42287"/>
                      <a:pt x="0" y="33439"/>
                    </a:cubicBezTo>
                  </a:path>
                </a:pathLst>
              </a:custGeom>
              <a:noFill/>
              <a:ln w="1270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PT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69" name="Forma livre: Forma 168">
                <a:extLst>
                  <a:ext uri="{FF2B5EF4-FFF2-40B4-BE49-F238E27FC236}">
                    <a16:creationId xmlns:a16="http://schemas.microsoft.com/office/drawing/2014/main" id="{705792D0-D974-2EAE-C608-80108C721698}"/>
                  </a:ext>
                </a:extLst>
              </p:cNvPr>
              <p:cNvSpPr/>
              <p:nvPr/>
            </p:nvSpPr>
            <p:spPr>
              <a:xfrm>
                <a:off x="6081487" y="1460806"/>
                <a:ext cx="34217" cy="54474"/>
              </a:xfrm>
              <a:custGeom>
                <a:avLst/>
                <a:gdLst>
                  <a:gd name="connsiteX0" fmla="*/ 21076 w 34217"/>
                  <a:gd name="connsiteY0" fmla="*/ 54475 h 54474"/>
                  <a:gd name="connsiteX1" fmla="*/ 778 w 34217"/>
                  <a:gd name="connsiteY1" fmla="*/ 21035 h 54474"/>
                  <a:gd name="connsiteX2" fmla="*/ 34217 w 34217"/>
                  <a:gd name="connsiteY2" fmla="*/ 803 h 544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4217" h="54474">
                    <a:moveTo>
                      <a:pt x="21076" y="54475"/>
                    </a:moveTo>
                    <a:cubicBezTo>
                      <a:pt x="6308" y="50832"/>
                      <a:pt x="-2800" y="35803"/>
                      <a:pt x="778" y="21035"/>
                    </a:cubicBezTo>
                    <a:cubicBezTo>
                      <a:pt x="4421" y="6267"/>
                      <a:pt x="19449" y="-2841"/>
                      <a:pt x="34217" y="803"/>
                    </a:cubicBezTo>
                  </a:path>
                </a:pathLst>
              </a:custGeom>
              <a:noFill/>
              <a:ln w="1270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PT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70" name="Forma livre: Forma 169">
                <a:extLst>
                  <a:ext uri="{FF2B5EF4-FFF2-40B4-BE49-F238E27FC236}">
                    <a16:creationId xmlns:a16="http://schemas.microsoft.com/office/drawing/2014/main" id="{14B88651-A7EC-7485-AA93-9A3CEEBF12CE}"/>
                  </a:ext>
                </a:extLst>
              </p:cNvPr>
              <p:cNvSpPr/>
              <p:nvPr/>
            </p:nvSpPr>
            <p:spPr>
              <a:xfrm>
                <a:off x="6073547" y="1527543"/>
                <a:ext cx="114760" cy="72506"/>
              </a:xfrm>
              <a:custGeom>
                <a:avLst/>
                <a:gdLst>
                  <a:gd name="connsiteX0" fmla="*/ 114760 w 114760"/>
                  <a:gd name="connsiteY0" fmla="*/ 7254 h 72506"/>
                  <a:gd name="connsiteX1" fmla="*/ 73905 w 114760"/>
                  <a:gd name="connsiteY1" fmla="*/ 8881 h 72506"/>
                  <a:gd name="connsiteX2" fmla="*/ 0 w 114760"/>
                  <a:gd name="connsiteY2" fmla="*/ 72506 h 725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14760" h="72506">
                    <a:moveTo>
                      <a:pt x="114760" y="7254"/>
                    </a:moveTo>
                    <a:cubicBezTo>
                      <a:pt x="103375" y="-2830"/>
                      <a:pt x="83989" y="-2504"/>
                      <a:pt x="73905" y="8881"/>
                    </a:cubicBezTo>
                    <a:cubicBezTo>
                      <a:pt x="73905" y="8881"/>
                      <a:pt x="31488" y="72506"/>
                      <a:pt x="0" y="72506"/>
                    </a:cubicBezTo>
                  </a:path>
                </a:pathLst>
              </a:custGeom>
              <a:noFill/>
              <a:ln w="1270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PT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71" name="Forma livre: Forma 170">
                <a:extLst>
                  <a:ext uri="{FF2B5EF4-FFF2-40B4-BE49-F238E27FC236}">
                    <a16:creationId xmlns:a16="http://schemas.microsoft.com/office/drawing/2014/main" id="{AB981CC6-6C84-8E88-B512-C29DB1BB2832}"/>
                  </a:ext>
                </a:extLst>
              </p:cNvPr>
              <p:cNvSpPr/>
              <p:nvPr/>
            </p:nvSpPr>
            <p:spPr>
              <a:xfrm>
                <a:off x="6079857" y="1646956"/>
                <a:ext cx="29405" cy="9823"/>
              </a:xfrm>
              <a:custGeom>
                <a:avLst/>
                <a:gdLst>
                  <a:gd name="connsiteX0" fmla="*/ 0 w 29405"/>
                  <a:gd name="connsiteY0" fmla="*/ 0 h 9823"/>
                  <a:gd name="connsiteX1" fmla="*/ 29406 w 29405"/>
                  <a:gd name="connsiteY1" fmla="*/ 9824 h 98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9405" h="9823">
                    <a:moveTo>
                      <a:pt x="0" y="0"/>
                    </a:moveTo>
                    <a:lnTo>
                      <a:pt x="29406" y="9824"/>
                    </a:lnTo>
                  </a:path>
                </a:pathLst>
              </a:custGeom>
              <a:ln w="1270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PT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72" name="Forma livre: Forma 171">
                <a:extLst>
                  <a:ext uri="{FF2B5EF4-FFF2-40B4-BE49-F238E27FC236}">
                    <a16:creationId xmlns:a16="http://schemas.microsoft.com/office/drawing/2014/main" id="{5167B769-90A4-AF2B-1BB6-84F4DD33C8A1}"/>
                  </a:ext>
                </a:extLst>
              </p:cNvPr>
              <p:cNvSpPr/>
              <p:nvPr/>
            </p:nvSpPr>
            <p:spPr>
              <a:xfrm>
                <a:off x="6061121" y="1545272"/>
                <a:ext cx="47166" cy="34154"/>
              </a:xfrm>
              <a:custGeom>
                <a:avLst/>
                <a:gdLst>
                  <a:gd name="connsiteX0" fmla="*/ 0 w 47166"/>
                  <a:gd name="connsiteY0" fmla="*/ 0 h 34154"/>
                  <a:gd name="connsiteX1" fmla="*/ 47166 w 47166"/>
                  <a:gd name="connsiteY1" fmla="*/ 34155 h 341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166" h="34154">
                    <a:moveTo>
                      <a:pt x="0" y="0"/>
                    </a:moveTo>
                    <a:cubicBezTo>
                      <a:pt x="0" y="0"/>
                      <a:pt x="27649" y="13011"/>
                      <a:pt x="47166" y="34155"/>
                    </a:cubicBezTo>
                  </a:path>
                </a:pathLst>
              </a:custGeom>
              <a:noFill/>
              <a:ln w="1270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PT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  <p:grpSp>
          <p:nvGrpSpPr>
            <p:cNvPr id="153" name="Gráfico 32">
              <a:extLst>
                <a:ext uri="{FF2B5EF4-FFF2-40B4-BE49-F238E27FC236}">
                  <a16:creationId xmlns:a16="http://schemas.microsoft.com/office/drawing/2014/main" id="{17DAAD3B-C3A9-6331-B77E-25C68F10D30C}"/>
                </a:ext>
              </a:extLst>
            </p:cNvPr>
            <p:cNvGrpSpPr/>
            <p:nvPr/>
          </p:nvGrpSpPr>
          <p:grpSpPr>
            <a:xfrm>
              <a:off x="6191625" y="1599725"/>
              <a:ext cx="173767" cy="157112"/>
              <a:chOff x="6191625" y="1599725"/>
              <a:chExt cx="173767" cy="157112"/>
            </a:xfrm>
            <a:noFill/>
          </p:grpSpPr>
          <p:sp>
            <p:nvSpPr>
              <p:cNvPr id="163" name="Forma livre: Forma 162">
                <a:extLst>
                  <a:ext uri="{FF2B5EF4-FFF2-40B4-BE49-F238E27FC236}">
                    <a16:creationId xmlns:a16="http://schemas.microsoft.com/office/drawing/2014/main" id="{B55E44B4-D8F8-11F2-2373-773EDA65B88C}"/>
                  </a:ext>
                </a:extLst>
              </p:cNvPr>
              <p:cNvSpPr/>
              <p:nvPr/>
            </p:nvSpPr>
            <p:spPr>
              <a:xfrm>
                <a:off x="6310094" y="1621974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270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PT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64" name="Forma livre: Forma 163">
                <a:extLst>
                  <a:ext uri="{FF2B5EF4-FFF2-40B4-BE49-F238E27FC236}">
                    <a16:creationId xmlns:a16="http://schemas.microsoft.com/office/drawing/2014/main" id="{B88B22A8-BD34-F9F5-1D44-59D18481B508}"/>
                  </a:ext>
                </a:extLst>
              </p:cNvPr>
              <p:cNvSpPr/>
              <p:nvPr/>
            </p:nvSpPr>
            <p:spPr>
              <a:xfrm>
                <a:off x="6191625" y="1599725"/>
                <a:ext cx="118078" cy="49898"/>
              </a:xfrm>
              <a:custGeom>
                <a:avLst/>
                <a:gdLst>
                  <a:gd name="connsiteX0" fmla="*/ 0 w 118078"/>
                  <a:gd name="connsiteY0" fmla="*/ 0 h 49898"/>
                  <a:gd name="connsiteX1" fmla="*/ 37343 w 118078"/>
                  <a:gd name="connsiteY1" fmla="*/ 0 h 49898"/>
                  <a:gd name="connsiteX2" fmla="*/ 87176 w 118078"/>
                  <a:gd name="connsiteY2" fmla="*/ 49899 h 49898"/>
                  <a:gd name="connsiteX3" fmla="*/ 118078 w 118078"/>
                  <a:gd name="connsiteY3" fmla="*/ 49899 h 49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8078" h="49898">
                    <a:moveTo>
                      <a:pt x="0" y="0"/>
                    </a:moveTo>
                    <a:lnTo>
                      <a:pt x="37343" y="0"/>
                    </a:lnTo>
                    <a:lnTo>
                      <a:pt x="87176" y="49899"/>
                    </a:lnTo>
                    <a:lnTo>
                      <a:pt x="118078" y="49899"/>
                    </a:lnTo>
                  </a:path>
                </a:pathLst>
              </a:custGeom>
              <a:noFill/>
              <a:ln w="1270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PT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65" name="Forma livre: Forma 164">
                <a:extLst>
                  <a:ext uri="{FF2B5EF4-FFF2-40B4-BE49-F238E27FC236}">
                    <a16:creationId xmlns:a16="http://schemas.microsoft.com/office/drawing/2014/main" id="{8C595572-53A5-4087-BD5C-E004D7FFC152}"/>
                  </a:ext>
                </a:extLst>
              </p:cNvPr>
              <p:cNvSpPr/>
              <p:nvPr/>
            </p:nvSpPr>
            <p:spPr>
              <a:xfrm>
                <a:off x="6191625" y="1665367"/>
                <a:ext cx="81906" cy="44108"/>
              </a:xfrm>
              <a:custGeom>
                <a:avLst/>
                <a:gdLst>
                  <a:gd name="connsiteX0" fmla="*/ 0 w 81906"/>
                  <a:gd name="connsiteY0" fmla="*/ 0 h 44108"/>
                  <a:gd name="connsiteX1" fmla="*/ 37343 w 81906"/>
                  <a:gd name="connsiteY1" fmla="*/ 0 h 44108"/>
                  <a:gd name="connsiteX2" fmla="*/ 81907 w 81906"/>
                  <a:gd name="connsiteY2" fmla="*/ 44109 h 441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1906" h="44108">
                    <a:moveTo>
                      <a:pt x="0" y="0"/>
                    </a:moveTo>
                    <a:lnTo>
                      <a:pt x="37343" y="0"/>
                    </a:lnTo>
                    <a:lnTo>
                      <a:pt x="81907" y="44109"/>
                    </a:lnTo>
                  </a:path>
                </a:pathLst>
              </a:custGeom>
              <a:noFill/>
              <a:ln w="1270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PT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66" name="Forma livre: Forma 165">
                <a:extLst>
                  <a:ext uri="{FF2B5EF4-FFF2-40B4-BE49-F238E27FC236}">
                    <a16:creationId xmlns:a16="http://schemas.microsoft.com/office/drawing/2014/main" id="{09FB5367-909C-B01E-5940-F832FD3EB00B}"/>
                  </a:ext>
                </a:extLst>
              </p:cNvPr>
              <p:cNvSpPr/>
              <p:nvPr/>
            </p:nvSpPr>
            <p:spPr>
              <a:xfrm>
                <a:off x="6265075" y="1701539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270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PT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  <p:grpSp>
          <p:nvGrpSpPr>
            <p:cNvPr id="154" name="Gráfico 32">
              <a:extLst>
                <a:ext uri="{FF2B5EF4-FFF2-40B4-BE49-F238E27FC236}">
                  <a16:creationId xmlns:a16="http://schemas.microsoft.com/office/drawing/2014/main" id="{BB06107C-8909-0209-8320-395BD3FE61A5}"/>
                </a:ext>
              </a:extLst>
            </p:cNvPr>
            <p:cNvGrpSpPr/>
            <p:nvPr/>
          </p:nvGrpSpPr>
          <p:grpSpPr>
            <a:xfrm>
              <a:off x="6191625" y="1357908"/>
              <a:ext cx="173767" cy="157112"/>
              <a:chOff x="6191625" y="1357908"/>
              <a:chExt cx="173767" cy="157112"/>
            </a:xfrm>
            <a:noFill/>
          </p:grpSpPr>
          <p:sp>
            <p:nvSpPr>
              <p:cNvPr id="159" name="Forma livre: Forma 158">
                <a:extLst>
                  <a:ext uri="{FF2B5EF4-FFF2-40B4-BE49-F238E27FC236}">
                    <a16:creationId xmlns:a16="http://schemas.microsoft.com/office/drawing/2014/main" id="{6084D828-294A-C537-EB89-AE762783D91C}"/>
                  </a:ext>
                </a:extLst>
              </p:cNvPr>
              <p:cNvSpPr/>
              <p:nvPr/>
            </p:nvSpPr>
            <p:spPr>
              <a:xfrm>
                <a:off x="6310094" y="1437472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0 h 55298"/>
                  <a:gd name="connsiteX2" fmla="*/ 0 w 55298"/>
                  <a:gd name="connsiteY2" fmla="*/ 27649 h 55298"/>
                  <a:gd name="connsiteX3" fmla="*/ 27649 w 55298"/>
                  <a:gd name="connsiteY3" fmla="*/ 55298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12361"/>
                      <a:pt x="42938" y="0"/>
                      <a:pt x="27649" y="0"/>
                    </a:cubicBezTo>
                    <a:cubicBezTo>
                      <a:pt x="12361" y="0"/>
                      <a:pt x="0" y="12361"/>
                      <a:pt x="0" y="27649"/>
                    </a:cubicBezTo>
                    <a:cubicBezTo>
                      <a:pt x="0" y="42938"/>
                      <a:pt x="12361" y="55298"/>
                      <a:pt x="27649" y="55298"/>
                    </a:cubicBezTo>
                    <a:cubicBezTo>
                      <a:pt x="42938" y="55298"/>
                      <a:pt x="55298" y="42938"/>
                      <a:pt x="55298" y="27649"/>
                    </a:cubicBezTo>
                    <a:close/>
                  </a:path>
                </a:pathLst>
              </a:custGeom>
              <a:noFill/>
              <a:ln w="1270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PT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60" name="Forma livre: Forma 159">
                <a:extLst>
                  <a:ext uri="{FF2B5EF4-FFF2-40B4-BE49-F238E27FC236}">
                    <a16:creationId xmlns:a16="http://schemas.microsoft.com/office/drawing/2014/main" id="{9F6AC90D-0375-3432-9DE4-8A8A8C902788}"/>
                  </a:ext>
                </a:extLst>
              </p:cNvPr>
              <p:cNvSpPr/>
              <p:nvPr/>
            </p:nvSpPr>
            <p:spPr>
              <a:xfrm>
                <a:off x="6191625" y="1465122"/>
                <a:ext cx="118468" cy="49898"/>
              </a:xfrm>
              <a:custGeom>
                <a:avLst/>
                <a:gdLst>
                  <a:gd name="connsiteX0" fmla="*/ 0 w 118468"/>
                  <a:gd name="connsiteY0" fmla="*/ 49899 h 49898"/>
                  <a:gd name="connsiteX1" fmla="*/ 37343 w 118468"/>
                  <a:gd name="connsiteY1" fmla="*/ 49899 h 49898"/>
                  <a:gd name="connsiteX2" fmla="*/ 87176 w 118468"/>
                  <a:gd name="connsiteY2" fmla="*/ 0 h 49898"/>
                  <a:gd name="connsiteX3" fmla="*/ 118469 w 118468"/>
                  <a:gd name="connsiteY3" fmla="*/ 0 h 49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8468" h="49898">
                    <a:moveTo>
                      <a:pt x="0" y="49899"/>
                    </a:moveTo>
                    <a:lnTo>
                      <a:pt x="37343" y="49899"/>
                    </a:lnTo>
                    <a:lnTo>
                      <a:pt x="87176" y="0"/>
                    </a:lnTo>
                    <a:lnTo>
                      <a:pt x="118469" y="0"/>
                    </a:lnTo>
                  </a:path>
                </a:pathLst>
              </a:custGeom>
              <a:noFill/>
              <a:ln w="1270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PT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61" name="Forma livre: Forma 160">
                <a:extLst>
                  <a:ext uri="{FF2B5EF4-FFF2-40B4-BE49-F238E27FC236}">
                    <a16:creationId xmlns:a16="http://schemas.microsoft.com/office/drawing/2014/main" id="{CAAB2DAB-D8EC-84B3-D45E-1285AE72867C}"/>
                  </a:ext>
                </a:extLst>
              </p:cNvPr>
              <p:cNvSpPr/>
              <p:nvPr/>
            </p:nvSpPr>
            <p:spPr>
              <a:xfrm>
                <a:off x="6191625" y="1405269"/>
                <a:ext cx="81451" cy="44043"/>
              </a:xfrm>
              <a:custGeom>
                <a:avLst/>
                <a:gdLst>
                  <a:gd name="connsiteX0" fmla="*/ 0 w 81451"/>
                  <a:gd name="connsiteY0" fmla="*/ 44044 h 44043"/>
                  <a:gd name="connsiteX1" fmla="*/ 37343 w 81451"/>
                  <a:gd name="connsiteY1" fmla="*/ 44044 h 44043"/>
                  <a:gd name="connsiteX2" fmla="*/ 81451 w 81451"/>
                  <a:gd name="connsiteY2" fmla="*/ 0 h 440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1451" h="44043">
                    <a:moveTo>
                      <a:pt x="0" y="44044"/>
                    </a:moveTo>
                    <a:lnTo>
                      <a:pt x="37343" y="44044"/>
                    </a:lnTo>
                    <a:lnTo>
                      <a:pt x="81451" y="0"/>
                    </a:lnTo>
                  </a:path>
                </a:pathLst>
              </a:custGeom>
              <a:noFill/>
              <a:ln w="1270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PT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62" name="Forma livre: Forma 161">
                <a:extLst>
                  <a:ext uri="{FF2B5EF4-FFF2-40B4-BE49-F238E27FC236}">
                    <a16:creationId xmlns:a16="http://schemas.microsoft.com/office/drawing/2014/main" id="{E608CBA7-7CAF-22FC-1E95-2B54D2E67177}"/>
                  </a:ext>
                </a:extLst>
              </p:cNvPr>
              <p:cNvSpPr/>
              <p:nvPr/>
            </p:nvSpPr>
            <p:spPr>
              <a:xfrm>
                <a:off x="6265075" y="1357908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0 h 55298"/>
                  <a:gd name="connsiteX2" fmla="*/ 0 w 55298"/>
                  <a:gd name="connsiteY2" fmla="*/ 27649 h 55298"/>
                  <a:gd name="connsiteX3" fmla="*/ 27649 w 55298"/>
                  <a:gd name="connsiteY3" fmla="*/ 55298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12361"/>
                      <a:pt x="42938" y="0"/>
                      <a:pt x="27649" y="0"/>
                    </a:cubicBezTo>
                    <a:cubicBezTo>
                      <a:pt x="12361" y="0"/>
                      <a:pt x="0" y="12361"/>
                      <a:pt x="0" y="27649"/>
                    </a:cubicBezTo>
                    <a:cubicBezTo>
                      <a:pt x="0" y="42938"/>
                      <a:pt x="12361" y="55298"/>
                      <a:pt x="27649" y="55298"/>
                    </a:cubicBezTo>
                    <a:cubicBezTo>
                      <a:pt x="42938" y="55298"/>
                      <a:pt x="55298" y="42938"/>
                      <a:pt x="55298" y="27649"/>
                    </a:cubicBezTo>
                    <a:close/>
                  </a:path>
                </a:pathLst>
              </a:custGeom>
              <a:noFill/>
              <a:ln w="1270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PT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  <p:grpSp>
          <p:nvGrpSpPr>
            <p:cNvPr id="155" name="Gráfico 32">
              <a:extLst>
                <a:ext uri="{FF2B5EF4-FFF2-40B4-BE49-F238E27FC236}">
                  <a16:creationId xmlns:a16="http://schemas.microsoft.com/office/drawing/2014/main" id="{F3144439-8443-F1C3-6CBF-746A70F9A473}"/>
                </a:ext>
              </a:extLst>
            </p:cNvPr>
            <p:cNvGrpSpPr/>
            <p:nvPr/>
          </p:nvGrpSpPr>
          <p:grpSpPr>
            <a:xfrm>
              <a:off x="6190910" y="1529723"/>
              <a:ext cx="123673" cy="55298"/>
              <a:chOff x="6190910" y="1529723"/>
              <a:chExt cx="123673" cy="55298"/>
            </a:xfrm>
            <a:noFill/>
          </p:grpSpPr>
          <p:sp>
            <p:nvSpPr>
              <p:cNvPr id="157" name="Forma livre: Forma 156">
                <a:extLst>
                  <a:ext uri="{FF2B5EF4-FFF2-40B4-BE49-F238E27FC236}">
                    <a16:creationId xmlns:a16="http://schemas.microsoft.com/office/drawing/2014/main" id="{B411EC9E-7B03-F40F-4F75-55972C319128}"/>
                  </a:ext>
                </a:extLst>
              </p:cNvPr>
              <p:cNvSpPr/>
              <p:nvPr/>
            </p:nvSpPr>
            <p:spPr>
              <a:xfrm>
                <a:off x="6190910" y="1557372"/>
                <a:ext cx="68765" cy="6505"/>
              </a:xfrm>
              <a:custGeom>
                <a:avLst/>
                <a:gdLst>
                  <a:gd name="connsiteX0" fmla="*/ 0 w 68765"/>
                  <a:gd name="connsiteY0" fmla="*/ 0 h 6505"/>
                  <a:gd name="connsiteX1" fmla="*/ 68765 w 68765"/>
                  <a:gd name="connsiteY1" fmla="*/ 0 h 65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8765" h="6505">
                    <a:moveTo>
                      <a:pt x="0" y="0"/>
                    </a:moveTo>
                    <a:lnTo>
                      <a:pt x="68765" y="0"/>
                    </a:lnTo>
                  </a:path>
                </a:pathLst>
              </a:custGeom>
              <a:ln w="1270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PT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58" name="Forma livre: Forma 157">
                <a:extLst>
                  <a:ext uri="{FF2B5EF4-FFF2-40B4-BE49-F238E27FC236}">
                    <a16:creationId xmlns:a16="http://schemas.microsoft.com/office/drawing/2014/main" id="{AA15EB42-81D9-0BB8-68BE-228B2FA1F64C}"/>
                  </a:ext>
                </a:extLst>
              </p:cNvPr>
              <p:cNvSpPr/>
              <p:nvPr/>
            </p:nvSpPr>
            <p:spPr>
              <a:xfrm>
                <a:off x="6259285" y="1529723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2700" cap="sq">
                <a:solidFill>
                  <a:srgbClr val="00FF94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PT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  <p:sp>
          <p:nvSpPr>
            <p:cNvPr id="156" name="Forma livre: Forma 155">
              <a:extLst>
                <a:ext uri="{FF2B5EF4-FFF2-40B4-BE49-F238E27FC236}">
                  <a16:creationId xmlns:a16="http://schemas.microsoft.com/office/drawing/2014/main" id="{F9DD75AE-1A63-ABD0-DA3D-BD7262ADC522}"/>
                </a:ext>
              </a:extLst>
            </p:cNvPr>
            <p:cNvSpPr/>
            <p:nvPr/>
          </p:nvSpPr>
          <p:spPr>
            <a:xfrm>
              <a:off x="6152201" y="1686285"/>
              <a:ext cx="37362" cy="20848"/>
            </a:xfrm>
            <a:custGeom>
              <a:avLst/>
              <a:gdLst>
                <a:gd name="connsiteX0" fmla="*/ 0 w 37362"/>
                <a:gd name="connsiteY0" fmla="*/ 10505 h 20848"/>
                <a:gd name="connsiteX1" fmla="*/ 27064 w 37362"/>
                <a:gd name="connsiteY1" fmla="*/ 2373 h 20848"/>
                <a:gd name="connsiteX2" fmla="*/ 37343 w 37362"/>
                <a:gd name="connsiteY2" fmla="*/ 20849 h 20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7362" h="20848">
                  <a:moveTo>
                    <a:pt x="0" y="10505"/>
                  </a:moveTo>
                  <a:cubicBezTo>
                    <a:pt x="5205" y="811"/>
                    <a:pt x="17435" y="-2832"/>
                    <a:pt x="27064" y="2373"/>
                  </a:cubicBezTo>
                  <a:cubicBezTo>
                    <a:pt x="34025" y="6081"/>
                    <a:pt x="37668" y="13432"/>
                    <a:pt x="37343" y="20849"/>
                  </a:cubicBezTo>
                </a:path>
              </a:pathLst>
            </a:custGeom>
            <a:noFill/>
            <a:ln w="12700" cap="sq">
              <a:solidFill>
                <a:srgbClr val="00FF94"/>
              </a:solidFill>
              <a:prstDash val="solid"/>
              <a:miter lim="800000"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173" name="Agrupar 172">
            <a:extLst>
              <a:ext uri="{FF2B5EF4-FFF2-40B4-BE49-F238E27FC236}">
                <a16:creationId xmlns:a16="http://schemas.microsoft.com/office/drawing/2014/main" id="{F6FB88E4-DE9C-6D8D-2842-97D0938FD84D}"/>
              </a:ext>
            </a:extLst>
          </p:cNvPr>
          <p:cNvGrpSpPr/>
          <p:nvPr/>
        </p:nvGrpSpPr>
        <p:grpSpPr>
          <a:xfrm>
            <a:off x="10130174" y="1875641"/>
            <a:ext cx="365300" cy="398929"/>
            <a:chOff x="6000092" y="1357908"/>
            <a:chExt cx="365300" cy="398929"/>
          </a:xfrm>
        </p:grpSpPr>
        <p:sp>
          <p:nvSpPr>
            <p:cNvPr id="174" name="Forma livre: Forma 173">
              <a:extLst>
                <a:ext uri="{FF2B5EF4-FFF2-40B4-BE49-F238E27FC236}">
                  <a16:creationId xmlns:a16="http://schemas.microsoft.com/office/drawing/2014/main" id="{F41344DD-62D6-3FBE-73CC-577BBEAC4140}"/>
                </a:ext>
              </a:extLst>
            </p:cNvPr>
            <p:cNvSpPr/>
            <p:nvPr/>
          </p:nvSpPr>
          <p:spPr>
            <a:xfrm>
              <a:off x="6000092" y="1418606"/>
              <a:ext cx="84058" cy="286120"/>
            </a:xfrm>
            <a:custGeom>
              <a:avLst/>
              <a:gdLst>
                <a:gd name="connsiteX0" fmla="*/ 51595 w 84058"/>
                <a:gd name="connsiteY0" fmla="*/ 0 h 286120"/>
                <a:gd name="connsiteX1" fmla="*/ 35266 w 84058"/>
                <a:gd name="connsiteY1" fmla="*/ 61674 h 286120"/>
                <a:gd name="connsiteX2" fmla="*/ 28760 w 84058"/>
                <a:gd name="connsiteY2" fmla="*/ 193415 h 286120"/>
                <a:gd name="connsiteX3" fmla="*/ 84059 w 84058"/>
                <a:gd name="connsiteY3" fmla="*/ 286121 h 2861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4058" h="286120">
                  <a:moveTo>
                    <a:pt x="51595" y="0"/>
                  </a:moveTo>
                  <a:cubicBezTo>
                    <a:pt x="37868" y="7872"/>
                    <a:pt x="26028" y="24852"/>
                    <a:pt x="35266" y="61674"/>
                  </a:cubicBezTo>
                  <a:cubicBezTo>
                    <a:pt x="35266" y="61674"/>
                    <a:pt x="-39549" y="126731"/>
                    <a:pt x="28760" y="193415"/>
                  </a:cubicBezTo>
                  <a:cubicBezTo>
                    <a:pt x="28760" y="193415"/>
                    <a:pt x="9243" y="281242"/>
                    <a:pt x="84059" y="286121"/>
                  </a:cubicBezTo>
                </a:path>
              </a:pathLst>
            </a:custGeom>
            <a:noFill/>
            <a:ln w="19050" cap="sq">
              <a:solidFill>
                <a:srgbClr val="1D3EB6"/>
              </a:solidFill>
              <a:prstDash val="solid"/>
              <a:miter lim="800000"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grpSp>
          <p:nvGrpSpPr>
            <p:cNvPr id="175" name="Gráfico 32">
              <a:extLst>
                <a:ext uri="{FF2B5EF4-FFF2-40B4-BE49-F238E27FC236}">
                  <a16:creationId xmlns:a16="http://schemas.microsoft.com/office/drawing/2014/main" id="{BADD12E4-037F-2FB6-150A-C3B9AE0EB42B}"/>
                </a:ext>
              </a:extLst>
            </p:cNvPr>
            <p:cNvGrpSpPr/>
            <p:nvPr/>
          </p:nvGrpSpPr>
          <p:grpSpPr>
            <a:xfrm>
              <a:off x="6061121" y="1359924"/>
              <a:ext cx="128487" cy="396366"/>
              <a:chOff x="6061121" y="1359924"/>
              <a:chExt cx="128487" cy="396366"/>
            </a:xfrm>
            <a:noFill/>
          </p:grpSpPr>
          <p:sp>
            <p:nvSpPr>
              <p:cNvPr id="190" name="Forma livre: Forma 189">
                <a:extLst>
                  <a:ext uri="{FF2B5EF4-FFF2-40B4-BE49-F238E27FC236}">
                    <a16:creationId xmlns:a16="http://schemas.microsoft.com/office/drawing/2014/main" id="{0B237580-DF23-3328-3CA0-0992A3D01F85}"/>
                  </a:ext>
                </a:extLst>
              </p:cNvPr>
              <p:cNvSpPr/>
              <p:nvPr/>
            </p:nvSpPr>
            <p:spPr>
              <a:xfrm>
                <a:off x="6083891" y="1359924"/>
                <a:ext cx="105717" cy="396366"/>
              </a:xfrm>
              <a:custGeom>
                <a:avLst/>
                <a:gdLst>
                  <a:gd name="connsiteX0" fmla="*/ 52891 w 105717"/>
                  <a:gd name="connsiteY0" fmla="*/ 105718 h 396366"/>
                  <a:gd name="connsiteX1" fmla="*/ 0 w 105717"/>
                  <a:gd name="connsiteY1" fmla="*/ 52891 h 396366"/>
                  <a:gd name="connsiteX2" fmla="*/ 52891 w 105717"/>
                  <a:gd name="connsiteY2" fmla="*/ 0 h 396366"/>
                  <a:gd name="connsiteX3" fmla="*/ 105718 w 105717"/>
                  <a:gd name="connsiteY3" fmla="*/ 52826 h 396366"/>
                  <a:gd name="connsiteX4" fmla="*/ 105718 w 105717"/>
                  <a:gd name="connsiteY4" fmla="*/ 346884 h 396366"/>
                  <a:gd name="connsiteX5" fmla="*/ 80606 w 105717"/>
                  <a:gd name="connsiteY5" fmla="*/ 388911 h 396366"/>
                  <a:gd name="connsiteX6" fmla="*/ 9238 w 105717"/>
                  <a:gd name="connsiteY6" fmla="*/ 371150 h 396366"/>
                  <a:gd name="connsiteX7" fmla="*/ 15484 w 105717"/>
                  <a:gd name="connsiteY7" fmla="*/ 309216 h 396366"/>
                  <a:gd name="connsiteX8" fmla="*/ 45019 w 105717"/>
                  <a:gd name="connsiteY8" fmla="*/ 277078 h 3963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05717" h="396366">
                    <a:moveTo>
                      <a:pt x="52891" y="105718"/>
                    </a:moveTo>
                    <a:cubicBezTo>
                      <a:pt x="23681" y="105718"/>
                      <a:pt x="0" y="82037"/>
                      <a:pt x="0" y="52891"/>
                    </a:cubicBezTo>
                    <a:cubicBezTo>
                      <a:pt x="0" y="23746"/>
                      <a:pt x="23681" y="0"/>
                      <a:pt x="52891" y="0"/>
                    </a:cubicBezTo>
                    <a:cubicBezTo>
                      <a:pt x="82102" y="0"/>
                      <a:pt x="105718" y="23681"/>
                      <a:pt x="105718" y="52826"/>
                    </a:cubicBezTo>
                    <a:lnTo>
                      <a:pt x="105718" y="346884"/>
                    </a:lnTo>
                    <a:cubicBezTo>
                      <a:pt x="105718" y="364580"/>
                      <a:pt x="96414" y="379413"/>
                      <a:pt x="80606" y="388911"/>
                    </a:cubicBezTo>
                    <a:cubicBezTo>
                      <a:pt x="55949" y="403744"/>
                      <a:pt x="24006" y="395742"/>
                      <a:pt x="9238" y="371150"/>
                    </a:cubicBezTo>
                    <a:cubicBezTo>
                      <a:pt x="-2928" y="350918"/>
                      <a:pt x="260" y="325741"/>
                      <a:pt x="15484" y="309216"/>
                    </a:cubicBezTo>
                    <a:lnTo>
                      <a:pt x="45019" y="277078"/>
                    </a:lnTo>
                  </a:path>
                </a:pathLst>
              </a:custGeom>
              <a:noFill/>
              <a:ln w="19050" cap="sq">
                <a:solidFill>
                  <a:srgbClr val="1D3EB6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PT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91" name="Forma livre: Forma 190">
                <a:extLst>
                  <a:ext uri="{FF2B5EF4-FFF2-40B4-BE49-F238E27FC236}">
                    <a16:creationId xmlns:a16="http://schemas.microsoft.com/office/drawing/2014/main" id="{84732819-F485-DD65-2963-78C42E7F13E2}"/>
                  </a:ext>
                </a:extLst>
              </p:cNvPr>
              <p:cNvSpPr/>
              <p:nvPr/>
            </p:nvSpPr>
            <p:spPr>
              <a:xfrm>
                <a:off x="6144784" y="1383865"/>
                <a:ext cx="41563" cy="38963"/>
              </a:xfrm>
              <a:custGeom>
                <a:avLst/>
                <a:gdLst>
                  <a:gd name="connsiteX0" fmla="*/ 36172 w 41563"/>
                  <a:gd name="connsiteY0" fmla="*/ 0 h 38963"/>
                  <a:gd name="connsiteX1" fmla="*/ 39425 w 41563"/>
                  <a:gd name="connsiteY1" fmla="*/ 24266 h 38963"/>
                  <a:gd name="connsiteX2" fmla="*/ 36432 w 41563"/>
                  <a:gd name="connsiteY2" fmla="*/ 29080 h 38963"/>
                  <a:gd name="connsiteX3" fmla="*/ 0 w 41563"/>
                  <a:gd name="connsiteY3" fmla="*/ 33439 h 389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563" h="38963">
                    <a:moveTo>
                      <a:pt x="36172" y="0"/>
                    </a:moveTo>
                    <a:cubicBezTo>
                      <a:pt x="41571" y="7547"/>
                      <a:pt x="43393" y="16004"/>
                      <a:pt x="39425" y="24266"/>
                    </a:cubicBezTo>
                    <a:cubicBezTo>
                      <a:pt x="38644" y="25893"/>
                      <a:pt x="37603" y="27519"/>
                      <a:pt x="36432" y="29080"/>
                    </a:cubicBezTo>
                    <a:cubicBezTo>
                      <a:pt x="27584" y="40270"/>
                      <a:pt x="11190" y="42287"/>
                      <a:pt x="0" y="33439"/>
                    </a:cubicBezTo>
                  </a:path>
                </a:pathLst>
              </a:custGeom>
              <a:noFill/>
              <a:ln w="19050" cap="sq">
                <a:solidFill>
                  <a:srgbClr val="1D3EB6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PT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92" name="Forma livre: Forma 191">
                <a:extLst>
                  <a:ext uri="{FF2B5EF4-FFF2-40B4-BE49-F238E27FC236}">
                    <a16:creationId xmlns:a16="http://schemas.microsoft.com/office/drawing/2014/main" id="{CE48D13D-8EC5-508D-1228-FA7958709C7F}"/>
                  </a:ext>
                </a:extLst>
              </p:cNvPr>
              <p:cNvSpPr/>
              <p:nvPr/>
            </p:nvSpPr>
            <p:spPr>
              <a:xfrm>
                <a:off x="6081487" y="1460806"/>
                <a:ext cx="34217" cy="54474"/>
              </a:xfrm>
              <a:custGeom>
                <a:avLst/>
                <a:gdLst>
                  <a:gd name="connsiteX0" fmla="*/ 21076 w 34217"/>
                  <a:gd name="connsiteY0" fmla="*/ 54475 h 54474"/>
                  <a:gd name="connsiteX1" fmla="*/ 778 w 34217"/>
                  <a:gd name="connsiteY1" fmla="*/ 21035 h 54474"/>
                  <a:gd name="connsiteX2" fmla="*/ 34217 w 34217"/>
                  <a:gd name="connsiteY2" fmla="*/ 803 h 544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4217" h="54474">
                    <a:moveTo>
                      <a:pt x="21076" y="54475"/>
                    </a:moveTo>
                    <a:cubicBezTo>
                      <a:pt x="6308" y="50832"/>
                      <a:pt x="-2800" y="35803"/>
                      <a:pt x="778" y="21035"/>
                    </a:cubicBezTo>
                    <a:cubicBezTo>
                      <a:pt x="4421" y="6267"/>
                      <a:pt x="19449" y="-2841"/>
                      <a:pt x="34217" y="803"/>
                    </a:cubicBezTo>
                  </a:path>
                </a:pathLst>
              </a:custGeom>
              <a:noFill/>
              <a:ln w="19050" cap="sq">
                <a:solidFill>
                  <a:srgbClr val="1D3EB6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PT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93" name="Forma livre: Forma 192">
                <a:extLst>
                  <a:ext uri="{FF2B5EF4-FFF2-40B4-BE49-F238E27FC236}">
                    <a16:creationId xmlns:a16="http://schemas.microsoft.com/office/drawing/2014/main" id="{1A249598-DA94-C080-C1A7-3FBB11D97FCB}"/>
                  </a:ext>
                </a:extLst>
              </p:cNvPr>
              <p:cNvSpPr/>
              <p:nvPr/>
            </p:nvSpPr>
            <p:spPr>
              <a:xfrm>
                <a:off x="6073547" y="1527543"/>
                <a:ext cx="114760" cy="72506"/>
              </a:xfrm>
              <a:custGeom>
                <a:avLst/>
                <a:gdLst>
                  <a:gd name="connsiteX0" fmla="*/ 114760 w 114760"/>
                  <a:gd name="connsiteY0" fmla="*/ 7254 h 72506"/>
                  <a:gd name="connsiteX1" fmla="*/ 73905 w 114760"/>
                  <a:gd name="connsiteY1" fmla="*/ 8881 h 72506"/>
                  <a:gd name="connsiteX2" fmla="*/ 0 w 114760"/>
                  <a:gd name="connsiteY2" fmla="*/ 72506 h 725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14760" h="72506">
                    <a:moveTo>
                      <a:pt x="114760" y="7254"/>
                    </a:moveTo>
                    <a:cubicBezTo>
                      <a:pt x="103375" y="-2830"/>
                      <a:pt x="83989" y="-2504"/>
                      <a:pt x="73905" y="8881"/>
                    </a:cubicBezTo>
                    <a:cubicBezTo>
                      <a:pt x="73905" y="8881"/>
                      <a:pt x="31488" y="72506"/>
                      <a:pt x="0" y="72506"/>
                    </a:cubicBezTo>
                  </a:path>
                </a:pathLst>
              </a:custGeom>
              <a:noFill/>
              <a:ln w="19050" cap="sq">
                <a:solidFill>
                  <a:srgbClr val="1D3EB6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PT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94" name="Forma livre: Forma 193">
                <a:extLst>
                  <a:ext uri="{FF2B5EF4-FFF2-40B4-BE49-F238E27FC236}">
                    <a16:creationId xmlns:a16="http://schemas.microsoft.com/office/drawing/2014/main" id="{81C855C5-1193-197C-A4D4-777142B02A0B}"/>
                  </a:ext>
                </a:extLst>
              </p:cNvPr>
              <p:cNvSpPr/>
              <p:nvPr/>
            </p:nvSpPr>
            <p:spPr>
              <a:xfrm>
                <a:off x="6079857" y="1646956"/>
                <a:ext cx="29405" cy="9823"/>
              </a:xfrm>
              <a:custGeom>
                <a:avLst/>
                <a:gdLst>
                  <a:gd name="connsiteX0" fmla="*/ 0 w 29405"/>
                  <a:gd name="connsiteY0" fmla="*/ 0 h 9823"/>
                  <a:gd name="connsiteX1" fmla="*/ 29406 w 29405"/>
                  <a:gd name="connsiteY1" fmla="*/ 9824 h 98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9405" h="9823">
                    <a:moveTo>
                      <a:pt x="0" y="0"/>
                    </a:moveTo>
                    <a:lnTo>
                      <a:pt x="29406" y="9824"/>
                    </a:lnTo>
                  </a:path>
                </a:pathLst>
              </a:custGeom>
              <a:ln w="19050" cap="sq">
                <a:solidFill>
                  <a:srgbClr val="1D3EB6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PT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95" name="Forma livre: Forma 194">
                <a:extLst>
                  <a:ext uri="{FF2B5EF4-FFF2-40B4-BE49-F238E27FC236}">
                    <a16:creationId xmlns:a16="http://schemas.microsoft.com/office/drawing/2014/main" id="{9AFDC44C-6676-8562-4A3C-C264E2C5C1AB}"/>
                  </a:ext>
                </a:extLst>
              </p:cNvPr>
              <p:cNvSpPr/>
              <p:nvPr/>
            </p:nvSpPr>
            <p:spPr>
              <a:xfrm>
                <a:off x="6061121" y="1545272"/>
                <a:ext cx="47166" cy="34154"/>
              </a:xfrm>
              <a:custGeom>
                <a:avLst/>
                <a:gdLst>
                  <a:gd name="connsiteX0" fmla="*/ 0 w 47166"/>
                  <a:gd name="connsiteY0" fmla="*/ 0 h 34154"/>
                  <a:gd name="connsiteX1" fmla="*/ 47166 w 47166"/>
                  <a:gd name="connsiteY1" fmla="*/ 34155 h 341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166" h="34154">
                    <a:moveTo>
                      <a:pt x="0" y="0"/>
                    </a:moveTo>
                    <a:cubicBezTo>
                      <a:pt x="0" y="0"/>
                      <a:pt x="27649" y="13011"/>
                      <a:pt x="47166" y="34155"/>
                    </a:cubicBezTo>
                  </a:path>
                </a:pathLst>
              </a:custGeom>
              <a:noFill/>
              <a:ln w="19050" cap="sq">
                <a:solidFill>
                  <a:srgbClr val="1D3EB6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PT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  <p:grpSp>
          <p:nvGrpSpPr>
            <p:cNvPr id="176" name="Gráfico 32">
              <a:extLst>
                <a:ext uri="{FF2B5EF4-FFF2-40B4-BE49-F238E27FC236}">
                  <a16:creationId xmlns:a16="http://schemas.microsoft.com/office/drawing/2014/main" id="{14A463B1-247C-7049-F081-06C20F376648}"/>
                </a:ext>
              </a:extLst>
            </p:cNvPr>
            <p:cNvGrpSpPr/>
            <p:nvPr/>
          </p:nvGrpSpPr>
          <p:grpSpPr>
            <a:xfrm>
              <a:off x="6191625" y="1599725"/>
              <a:ext cx="173767" cy="157112"/>
              <a:chOff x="6191625" y="1599725"/>
              <a:chExt cx="173767" cy="157112"/>
            </a:xfrm>
            <a:noFill/>
          </p:grpSpPr>
          <p:sp>
            <p:nvSpPr>
              <p:cNvPr id="186" name="Forma livre: Forma 185">
                <a:extLst>
                  <a:ext uri="{FF2B5EF4-FFF2-40B4-BE49-F238E27FC236}">
                    <a16:creationId xmlns:a16="http://schemas.microsoft.com/office/drawing/2014/main" id="{3681F013-8D0C-BB4C-7FB7-9C456E7B9F79}"/>
                  </a:ext>
                </a:extLst>
              </p:cNvPr>
              <p:cNvSpPr/>
              <p:nvPr/>
            </p:nvSpPr>
            <p:spPr>
              <a:xfrm>
                <a:off x="6310094" y="1621974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rgbClr val="1D3EB6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PT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87" name="Forma livre: Forma 186">
                <a:extLst>
                  <a:ext uri="{FF2B5EF4-FFF2-40B4-BE49-F238E27FC236}">
                    <a16:creationId xmlns:a16="http://schemas.microsoft.com/office/drawing/2014/main" id="{543CD665-58B0-B1D8-9978-BD071443FEA7}"/>
                  </a:ext>
                </a:extLst>
              </p:cNvPr>
              <p:cNvSpPr/>
              <p:nvPr/>
            </p:nvSpPr>
            <p:spPr>
              <a:xfrm>
                <a:off x="6191625" y="1599725"/>
                <a:ext cx="118078" cy="49898"/>
              </a:xfrm>
              <a:custGeom>
                <a:avLst/>
                <a:gdLst>
                  <a:gd name="connsiteX0" fmla="*/ 0 w 118078"/>
                  <a:gd name="connsiteY0" fmla="*/ 0 h 49898"/>
                  <a:gd name="connsiteX1" fmla="*/ 37343 w 118078"/>
                  <a:gd name="connsiteY1" fmla="*/ 0 h 49898"/>
                  <a:gd name="connsiteX2" fmla="*/ 87176 w 118078"/>
                  <a:gd name="connsiteY2" fmla="*/ 49899 h 49898"/>
                  <a:gd name="connsiteX3" fmla="*/ 118078 w 118078"/>
                  <a:gd name="connsiteY3" fmla="*/ 49899 h 49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8078" h="49898">
                    <a:moveTo>
                      <a:pt x="0" y="0"/>
                    </a:moveTo>
                    <a:lnTo>
                      <a:pt x="37343" y="0"/>
                    </a:lnTo>
                    <a:lnTo>
                      <a:pt x="87176" y="49899"/>
                    </a:lnTo>
                    <a:lnTo>
                      <a:pt x="118078" y="49899"/>
                    </a:lnTo>
                  </a:path>
                </a:pathLst>
              </a:custGeom>
              <a:noFill/>
              <a:ln w="19050" cap="sq">
                <a:solidFill>
                  <a:srgbClr val="1D3EB6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PT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88" name="Forma livre: Forma 187">
                <a:extLst>
                  <a:ext uri="{FF2B5EF4-FFF2-40B4-BE49-F238E27FC236}">
                    <a16:creationId xmlns:a16="http://schemas.microsoft.com/office/drawing/2014/main" id="{B9A82C65-A2EC-58CD-C141-37765B89094B}"/>
                  </a:ext>
                </a:extLst>
              </p:cNvPr>
              <p:cNvSpPr/>
              <p:nvPr/>
            </p:nvSpPr>
            <p:spPr>
              <a:xfrm>
                <a:off x="6191625" y="1665367"/>
                <a:ext cx="81906" cy="44108"/>
              </a:xfrm>
              <a:custGeom>
                <a:avLst/>
                <a:gdLst>
                  <a:gd name="connsiteX0" fmla="*/ 0 w 81906"/>
                  <a:gd name="connsiteY0" fmla="*/ 0 h 44108"/>
                  <a:gd name="connsiteX1" fmla="*/ 37343 w 81906"/>
                  <a:gd name="connsiteY1" fmla="*/ 0 h 44108"/>
                  <a:gd name="connsiteX2" fmla="*/ 81907 w 81906"/>
                  <a:gd name="connsiteY2" fmla="*/ 44109 h 441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1906" h="44108">
                    <a:moveTo>
                      <a:pt x="0" y="0"/>
                    </a:moveTo>
                    <a:lnTo>
                      <a:pt x="37343" y="0"/>
                    </a:lnTo>
                    <a:lnTo>
                      <a:pt x="81907" y="44109"/>
                    </a:lnTo>
                  </a:path>
                </a:pathLst>
              </a:custGeom>
              <a:noFill/>
              <a:ln w="19050" cap="sq">
                <a:solidFill>
                  <a:srgbClr val="1D3EB6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PT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89" name="Forma livre: Forma 188">
                <a:extLst>
                  <a:ext uri="{FF2B5EF4-FFF2-40B4-BE49-F238E27FC236}">
                    <a16:creationId xmlns:a16="http://schemas.microsoft.com/office/drawing/2014/main" id="{89E36F4F-CA6F-4539-5DE8-34A59F9ACA0C}"/>
                  </a:ext>
                </a:extLst>
              </p:cNvPr>
              <p:cNvSpPr/>
              <p:nvPr/>
            </p:nvSpPr>
            <p:spPr>
              <a:xfrm>
                <a:off x="6265075" y="1701539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rgbClr val="1D3EB6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PT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  <p:grpSp>
          <p:nvGrpSpPr>
            <p:cNvPr id="177" name="Gráfico 32">
              <a:extLst>
                <a:ext uri="{FF2B5EF4-FFF2-40B4-BE49-F238E27FC236}">
                  <a16:creationId xmlns:a16="http://schemas.microsoft.com/office/drawing/2014/main" id="{FBD1F6E6-609A-BAF5-0E3E-257781BB5B9E}"/>
                </a:ext>
              </a:extLst>
            </p:cNvPr>
            <p:cNvGrpSpPr/>
            <p:nvPr/>
          </p:nvGrpSpPr>
          <p:grpSpPr>
            <a:xfrm>
              <a:off x="6191625" y="1357908"/>
              <a:ext cx="173767" cy="157112"/>
              <a:chOff x="6191625" y="1357908"/>
              <a:chExt cx="173767" cy="157112"/>
            </a:xfrm>
            <a:noFill/>
          </p:grpSpPr>
          <p:sp>
            <p:nvSpPr>
              <p:cNvPr id="182" name="Forma livre: Forma 181">
                <a:extLst>
                  <a:ext uri="{FF2B5EF4-FFF2-40B4-BE49-F238E27FC236}">
                    <a16:creationId xmlns:a16="http://schemas.microsoft.com/office/drawing/2014/main" id="{F2B2A36C-033E-43D3-68D2-FB2ACD6CA459}"/>
                  </a:ext>
                </a:extLst>
              </p:cNvPr>
              <p:cNvSpPr/>
              <p:nvPr/>
            </p:nvSpPr>
            <p:spPr>
              <a:xfrm>
                <a:off x="6310094" y="1437472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0 h 55298"/>
                  <a:gd name="connsiteX2" fmla="*/ 0 w 55298"/>
                  <a:gd name="connsiteY2" fmla="*/ 27649 h 55298"/>
                  <a:gd name="connsiteX3" fmla="*/ 27649 w 55298"/>
                  <a:gd name="connsiteY3" fmla="*/ 55298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12361"/>
                      <a:pt x="42938" y="0"/>
                      <a:pt x="27649" y="0"/>
                    </a:cubicBezTo>
                    <a:cubicBezTo>
                      <a:pt x="12361" y="0"/>
                      <a:pt x="0" y="12361"/>
                      <a:pt x="0" y="27649"/>
                    </a:cubicBezTo>
                    <a:cubicBezTo>
                      <a:pt x="0" y="42938"/>
                      <a:pt x="12361" y="55298"/>
                      <a:pt x="27649" y="55298"/>
                    </a:cubicBezTo>
                    <a:cubicBezTo>
                      <a:pt x="42938" y="55298"/>
                      <a:pt x="55298" y="42938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rgbClr val="1D3EB6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PT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83" name="Forma livre: Forma 182">
                <a:extLst>
                  <a:ext uri="{FF2B5EF4-FFF2-40B4-BE49-F238E27FC236}">
                    <a16:creationId xmlns:a16="http://schemas.microsoft.com/office/drawing/2014/main" id="{DE21ED7B-25FF-CE36-56A9-49ECB7589771}"/>
                  </a:ext>
                </a:extLst>
              </p:cNvPr>
              <p:cNvSpPr/>
              <p:nvPr/>
            </p:nvSpPr>
            <p:spPr>
              <a:xfrm>
                <a:off x="6191625" y="1465122"/>
                <a:ext cx="118468" cy="49898"/>
              </a:xfrm>
              <a:custGeom>
                <a:avLst/>
                <a:gdLst>
                  <a:gd name="connsiteX0" fmla="*/ 0 w 118468"/>
                  <a:gd name="connsiteY0" fmla="*/ 49899 h 49898"/>
                  <a:gd name="connsiteX1" fmla="*/ 37343 w 118468"/>
                  <a:gd name="connsiteY1" fmla="*/ 49899 h 49898"/>
                  <a:gd name="connsiteX2" fmla="*/ 87176 w 118468"/>
                  <a:gd name="connsiteY2" fmla="*/ 0 h 49898"/>
                  <a:gd name="connsiteX3" fmla="*/ 118469 w 118468"/>
                  <a:gd name="connsiteY3" fmla="*/ 0 h 49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8468" h="49898">
                    <a:moveTo>
                      <a:pt x="0" y="49899"/>
                    </a:moveTo>
                    <a:lnTo>
                      <a:pt x="37343" y="49899"/>
                    </a:lnTo>
                    <a:lnTo>
                      <a:pt x="87176" y="0"/>
                    </a:lnTo>
                    <a:lnTo>
                      <a:pt x="118469" y="0"/>
                    </a:lnTo>
                  </a:path>
                </a:pathLst>
              </a:custGeom>
              <a:noFill/>
              <a:ln w="19050" cap="sq">
                <a:solidFill>
                  <a:srgbClr val="1D3EB6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PT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84" name="Forma livre: Forma 183">
                <a:extLst>
                  <a:ext uri="{FF2B5EF4-FFF2-40B4-BE49-F238E27FC236}">
                    <a16:creationId xmlns:a16="http://schemas.microsoft.com/office/drawing/2014/main" id="{422ECA83-B738-C5F5-790F-610EE2DDD6B5}"/>
                  </a:ext>
                </a:extLst>
              </p:cNvPr>
              <p:cNvSpPr/>
              <p:nvPr/>
            </p:nvSpPr>
            <p:spPr>
              <a:xfrm>
                <a:off x="6191625" y="1405269"/>
                <a:ext cx="81451" cy="44043"/>
              </a:xfrm>
              <a:custGeom>
                <a:avLst/>
                <a:gdLst>
                  <a:gd name="connsiteX0" fmla="*/ 0 w 81451"/>
                  <a:gd name="connsiteY0" fmla="*/ 44044 h 44043"/>
                  <a:gd name="connsiteX1" fmla="*/ 37343 w 81451"/>
                  <a:gd name="connsiteY1" fmla="*/ 44044 h 44043"/>
                  <a:gd name="connsiteX2" fmla="*/ 81451 w 81451"/>
                  <a:gd name="connsiteY2" fmla="*/ 0 h 440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1451" h="44043">
                    <a:moveTo>
                      <a:pt x="0" y="44044"/>
                    </a:moveTo>
                    <a:lnTo>
                      <a:pt x="37343" y="44044"/>
                    </a:lnTo>
                    <a:lnTo>
                      <a:pt x="81451" y="0"/>
                    </a:lnTo>
                  </a:path>
                </a:pathLst>
              </a:custGeom>
              <a:noFill/>
              <a:ln w="19050" cap="sq">
                <a:solidFill>
                  <a:srgbClr val="1D3EB6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PT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85" name="Forma livre: Forma 184">
                <a:extLst>
                  <a:ext uri="{FF2B5EF4-FFF2-40B4-BE49-F238E27FC236}">
                    <a16:creationId xmlns:a16="http://schemas.microsoft.com/office/drawing/2014/main" id="{5AC22DFA-BDC9-1160-0889-607F87932F4C}"/>
                  </a:ext>
                </a:extLst>
              </p:cNvPr>
              <p:cNvSpPr/>
              <p:nvPr/>
            </p:nvSpPr>
            <p:spPr>
              <a:xfrm>
                <a:off x="6265075" y="1357908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0 h 55298"/>
                  <a:gd name="connsiteX2" fmla="*/ 0 w 55298"/>
                  <a:gd name="connsiteY2" fmla="*/ 27649 h 55298"/>
                  <a:gd name="connsiteX3" fmla="*/ 27649 w 55298"/>
                  <a:gd name="connsiteY3" fmla="*/ 55298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12361"/>
                      <a:pt x="42938" y="0"/>
                      <a:pt x="27649" y="0"/>
                    </a:cubicBezTo>
                    <a:cubicBezTo>
                      <a:pt x="12361" y="0"/>
                      <a:pt x="0" y="12361"/>
                      <a:pt x="0" y="27649"/>
                    </a:cubicBezTo>
                    <a:cubicBezTo>
                      <a:pt x="0" y="42938"/>
                      <a:pt x="12361" y="55298"/>
                      <a:pt x="27649" y="55298"/>
                    </a:cubicBezTo>
                    <a:cubicBezTo>
                      <a:pt x="42938" y="55298"/>
                      <a:pt x="55298" y="42938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rgbClr val="1D3EB6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PT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  <p:grpSp>
          <p:nvGrpSpPr>
            <p:cNvPr id="178" name="Gráfico 32">
              <a:extLst>
                <a:ext uri="{FF2B5EF4-FFF2-40B4-BE49-F238E27FC236}">
                  <a16:creationId xmlns:a16="http://schemas.microsoft.com/office/drawing/2014/main" id="{8008962C-463F-F350-FCD2-C50B0715080A}"/>
                </a:ext>
              </a:extLst>
            </p:cNvPr>
            <p:cNvGrpSpPr/>
            <p:nvPr/>
          </p:nvGrpSpPr>
          <p:grpSpPr>
            <a:xfrm>
              <a:off x="6190910" y="1529723"/>
              <a:ext cx="123673" cy="55298"/>
              <a:chOff x="6190910" y="1529723"/>
              <a:chExt cx="123673" cy="55298"/>
            </a:xfrm>
            <a:noFill/>
          </p:grpSpPr>
          <p:sp>
            <p:nvSpPr>
              <p:cNvPr id="180" name="Forma livre: Forma 179">
                <a:extLst>
                  <a:ext uri="{FF2B5EF4-FFF2-40B4-BE49-F238E27FC236}">
                    <a16:creationId xmlns:a16="http://schemas.microsoft.com/office/drawing/2014/main" id="{64FE6C24-E04F-21FB-5403-90F890852297}"/>
                  </a:ext>
                </a:extLst>
              </p:cNvPr>
              <p:cNvSpPr/>
              <p:nvPr/>
            </p:nvSpPr>
            <p:spPr>
              <a:xfrm>
                <a:off x="6190910" y="1557372"/>
                <a:ext cx="68765" cy="6505"/>
              </a:xfrm>
              <a:custGeom>
                <a:avLst/>
                <a:gdLst>
                  <a:gd name="connsiteX0" fmla="*/ 0 w 68765"/>
                  <a:gd name="connsiteY0" fmla="*/ 0 h 6505"/>
                  <a:gd name="connsiteX1" fmla="*/ 68765 w 68765"/>
                  <a:gd name="connsiteY1" fmla="*/ 0 h 65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8765" h="6505">
                    <a:moveTo>
                      <a:pt x="0" y="0"/>
                    </a:moveTo>
                    <a:lnTo>
                      <a:pt x="68765" y="0"/>
                    </a:lnTo>
                  </a:path>
                </a:pathLst>
              </a:custGeom>
              <a:ln w="19050" cap="sq">
                <a:solidFill>
                  <a:srgbClr val="1D3EB6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PT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81" name="Forma livre: Forma 180">
                <a:extLst>
                  <a:ext uri="{FF2B5EF4-FFF2-40B4-BE49-F238E27FC236}">
                    <a16:creationId xmlns:a16="http://schemas.microsoft.com/office/drawing/2014/main" id="{31B74A3C-DF2D-9DAA-45B4-659D0C999646}"/>
                  </a:ext>
                </a:extLst>
              </p:cNvPr>
              <p:cNvSpPr/>
              <p:nvPr/>
            </p:nvSpPr>
            <p:spPr>
              <a:xfrm>
                <a:off x="6259285" y="1529723"/>
                <a:ext cx="55298" cy="55298"/>
              </a:xfrm>
              <a:custGeom>
                <a:avLst/>
                <a:gdLst>
                  <a:gd name="connsiteX0" fmla="*/ 55298 w 55298"/>
                  <a:gd name="connsiteY0" fmla="*/ 27649 h 55298"/>
                  <a:gd name="connsiteX1" fmla="*/ 27649 w 55298"/>
                  <a:gd name="connsiteY1" fmla="*/ 55298 h 55298"/>
                  <a:gd name="connsiteX2" fmla="*/ 0 w 55298"/>
                  <a:gd name="connsiteY2" fmla="*/ 27649 h 55298"/>
                  <a:gd name="connsiteX3" fmla="*/ 27649 w 55298"/>
                  <a:gd name="connsiteY3" fmla="*/ 0 h 55298"/>
                  <a:gd name="connsiteX4" fmla="*/ 55298 w 55298"/>
                  <a:gd name="connsiteY4" fmla="*/ 27649 h 5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98" h="55298">
                    <a:moveTo>
                      <a:pt x="55298" y="27649"/>
                    </a:moveTo>
                    <a:cubicBezTo>
                      <a:pt x="55298" y="42938"/>
                      <a:pt x="42938" y="55298"/>
                      <a:pt x="27649" y="55298"/>
                    </a:cubicBezTo>
                    <a:cubicBezTo>
                      <a:pt x="12361" y="55298"/>
                      <a:pt x="0" y="42938"/>
                      <a:pt x="0" y="27649"/>
                    </a:cubicBezTo>
                    <a:cubicBezTo>
                      <a:pt x="0" y="12361"/>
                      <a:pt x="12361" y="0"/>
                      <a:pt x="27649" y="0"/>
                    </a:cubicBezTo>
                    <a:cubicBezTo>
                      <a:pt x="42938" y="0"/>
                      <a:pt x="55298" y="12361"/>
                      <a:pt x="55298" y="27649"/>
                    </a:cubicBezTo>
                    <a:close/>
                  </a:path>
                </a:pathLst>
              </a:custGeom>
              <a:noFill/>
              <a:ln w="19050" cap="sq">
                <a:solidFill>
                  <a:srgbClr val="1D3EB6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PT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  <p:sp>
          <p:nvSpPr>
            <p:cNvPr id="179" name="Forma livre: Forma 178">
              <a:extLst>
                <a:ext uri="{FF2B5EF4-FFF2-40B4-BE49-F238E27FC236}">
                  <a16:creationId xmlns:a16="http://schemas.microsoft.com/office/drawing/2014/main" id="{340F2976-190C-0999-F0B4-53A3CE1C4CE2}"/>
                </a:ext>
              </a:extLst>
            </p:cNvPr>
            <p:cNvSpPr/>
            <p:nvPr/>
          </p:nvSpPr>
          <p:spPr>
            <a:xfrm>
              <a:off x="6152201" y="1686285"/>
              <a:ext cx="37362" cy="20848"/>
            </a:xfrm>
            <a:custGeom>
              <a:avLst/>
              <a:gdLst>
                <a:gd name="connsiteX0" fmla="*/ 0 w 37362"/>
                <a:gd name="connsiteY0" fmla="*/ 10505 h 20848"/>
                <a:gd name="connsiteX1" fmla="*/ 27064 w 37362"/>
                <a:gd name="connsiteY1" fmla="*/ 2373 h 20848"/>
                <a:gd name="connsiteX2" fmla="*/ 37343 w 37362"/>
                <a:gd name="connsiteY2" fmla="*/ 20849 h 20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7362" h="20848">
                  <a:moveTo>
                    <a:pt x="0" y="10505"/>
                  </a:moveTo>
                  <a:cubicBezTo>
                    <a:pt x="5205" y="811"/>
                    <a:pt x="17435" y="-2832"/>
                    <a:pt x="27064" y="2373"/>
                  </a:cubicBezTo>
                  <a:cubicBezTo>
                    <a:pt x="34025" y="6081"/>
                    <a:pt x="37668" y="13432"/>
                    <a:pt x="37343" y="20849"/>
                  </a:cubicBezTo>
                </a:path>
              </a:pathLst>
            </a:custGeom>
            <a:noFill/>
            <a:ln w="19050" cap="sq">
              <a:solidFill>
                <a:srgbClr val="1D3EB6"/>
              </a:solidFill>
              <a:prstDash val="solid"/>
              <a:miter lim="800000"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203" name="Agrupar 202">
            <a:extLst>
              <a:ext uri="{FF2B5EF4-FFF2-40B4-BE49-F238E27FC236}">
                <a16:creationId xmlns:a16="http://schemas.microsoft.com/office/drawing/2014/main" id="{B6E84A93-734C-E5E7-C119-093F08FECE89}"/>
              </a:ext>
            </a:extLst>
          </p:cNvPr>
          <p:cNvGrpSpPr/>
          <p:nvPr/>
        </p:nvGrpSpPr>
        <p:grpSpPr>
          <a:xfrm flipH="1" flipV="1">
            <a:off x="5531638" y="5306710"/>
            <a:ext cx="2026883" cy="524540"/>
            <a:chOff x="1040323" y="1557978"/>
            <a:chExt cx="2026883" cy="524540"/>
          </a:xfrm>
          <a:solidFill>
            <a:srgbClr val="1D3EB6"/>
          </a:solidFill>
        </p:grpSpPr>
        <p:sp>
          <p:nvSpPr>
            <p:cNvPr id="204" name="Forma livre: Forma 203">
              <a:extLst>
                <a:ext uri="{FF2B5EF4-FFF2-40B4-BE49-F238E27FC236}">
                  <a16:creationId xmlns:a16="http://schemas.microsoft.com/office/drawing/2014/main" id="{255830DC-2956-7A40-53B0-19D67ED190A2}"/>
                </a:ext>
              </a:extLst>
            </p:cNvPr>
            <p:cNvSpPr/>
            <p:nvPr/>
          </p:nvSpPr>
          <p:spPr>
            <a:xfrm>
              <a:off x="1742635" y="1557999"/>
              <a:ext cx="1324571" cy="524519"/>
            </a:xfrm>
            <a:custGeom>
              <a:avLst/>
              <a:gdLst>
                <a:gd name="connsiteX0" fmla="*/ 2220906 w 2220906"/>
                <a:gd name="connsiteY0" fmla="*/ 0 h 524519"/>
                <a:gd name="connsiteX1" fmla="*/ 2220906 w 2220906"/>
                <a:gd name="connsiteY1" fmla="*/ 524457 h 524519"/>
                <a:gd name="connsiteX2" fmla="*/ 0 w 2220906"/>
                <a:gd name="connsiteY2" fmla="*/ 524519 h 524519"/>
                <a:gd name="connsiteX3" fmla="*/ 0 w 2220906"/>
                <a:gd name="connsiteY3" fmla="*/ 62 h 5245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220906" h="524519">
                  <a:moveTo>
                    <a:pt x="2220906" y="0"/>
                  </a:moveTo>
                  <a:lnTo>
                    <a:pt x="2220906" y="524457"/>
                  </a:lnTo>
                  <a:lnTo>
                    <a:pt x="0" y="524519"/>
                  </a:lnTo>
                  <a:lnTo>
                    <a:pt x="0" y="62"/>
                  </a:lnTo>
                  <a:close/>
                </a:path>
              </a:pathLst>
            </a:custGeom>
            <a:grpFill/>
            <a:ln w="4244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5" name="Forma livre: Forma 204">
              <a:extLst>
                <a:ext uri="{FF2B5EF4-FFF2-40B4-BE49-F238E27FC236}">
                  <a16:creationId xmlns:a16="http://schemas.microsoft.com/office/drawing/2014/main" id="{DF0B347B-8E07-8F71-45E0-B52C66ABD751}"/>
                </a:ext>
              </a:extLst>
            </p:cNvPr>
            <p:cNvSpPr/>
            <p:nvPr/>
          </p:nvSpPr>
          <p:spPr>
            <a:xfrm flipV="1">
              <a:off x="1040323" y="1557978"/>
              <a:ext cx="1136476" cy="524519"/>
            </a:xfrm>
            <a:custGeom>
              <a:avLst/>
              <a:gdLst>
                <a:gd name="connsiteX0" fmla="*/ 103570 w 224310"/>
                <a:gd name="connsiteY0" fmla="*/ 103528 h 103527"/>
                <a:gd name="connsiteX1" fmla="*/ 189801 w 224310"/>
                <a:gd name="connsiteY1" fmla="*/ 103528 h 103527"/>
                <a:gd name="connsiteX2" fmla="*/ 224310 w 224310"/>
                <a:gd name="connsiteY2" fmla="*/ 0 h 103527"/>
                <a:gd name="connsiteX3" fmla="*/ 0 w 224310"/>
                <a:gd name="connsiteY3" fmla="*/ 0 h 103527"/>
                <a:gd name="connsiteX4" fmla="*/ 103528 w 224310"/>
                <a:gd name="connsiteY4" fmla="*/ 103528 h 1035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24310" h="103527">
                  <a:moveTo>
                    <a:pt x="103570" y="103528"/>
                  </a:moveTo>
                  <a:lnTo>
                    <a:pt x="189801" y="103528"/>
                  </a:lnTo>
                  <a:lnTo>
                    <a:pt x="224310" y="0"/>
                  </a:lnTo>
                  <a:lnTo>
                    <a:pt x="0" y="0"/>
                  </a:lnTo>
                  <a:cubicBezTo>
                    <a:pt x="0" y="57204"/>
                    <a:pt x="46367" y="103528"/>
                    <a:pt x="103528" y="103528"/>
                  </a:cubicBezTo>
                  <a:close/>
                </a:path>
              </a:pathLst>
            </a:custGeom>
            <a:grpFill/>
            <a:ln w="424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206" name="Retângulo 205">
            <a:extLst>
              <a:ext uri="{FF2B5EF4-FFF2-40B4-BE49-F238E27FC236}">
                <a16:creationId xmlns:a16="http://schemas.microsoft.com/office/drawing/2014/main" id="{3165DD41-F296-7BD6-0296-5284AC1E5B23}"/>
              </a:ext>
            </a:extLst>
          </p:cNvPr>
          <p:cNvSpPr/>
          <p:nvPr/>
        </p:nvSpPr>
        <p:spPr>
          <a:xfrm flipH="1">
            <a:off x="7812647" y="3149600"/>
            <a:ext cx="422172" cy="2396673"/>
          </a:xfrm>
          <a:custGeom>
            <a:avLst/>
            <a:gdLst>
              <a:gd name="connsiteX0" fmla="*/ 0 w 1635417"/>
              <a:gd name="connsiteY0" fmla="*/ 0 h 1179213"/>
              <a:gd name="connsiteX1" fmla="*/ 1635417 w 1635417"/>
              <a:gd name="connsiteY1" fmla="*/ 0 h 1179213"/>
              <a:gd name="connsiteX2" fmla="*/ 1635417 w 1635417"/>
              <a:gd name="connsiteY2" fmla="*/ 1179213 h 1179213"/>
              <a:gd name="connsiteX3" fmla="*/ 0 w 1635417"/>
              <a:gd name="connsiteY3" fmla="*/ 1179213 h 1179213"/>
              <a:gd name="connsiteX4" fmla="*/ 0 w 1635417"/>
              <a:gd name="connsiteY4" fmla="*/ 0 h 1179213"/>
              <a:gd name="connsiteX0" fmla="*/ 1635417 w 1726857"/>
              <a:gd name="connsiteY0" fmla="*/ 0 h 1179213"/>
              <a:gd name="connsiteX1" fmla="*/ 1635417 w 1726857"/>
              <a:gd name="connsiteY1" fmla="*/ 1179213 h 1179213"/>
              <a:gd name="connsiteX2" fmla="*/ 0 w 1726857"/>
              <a:gd name="connsiteY2" fmla="*/ 1179213 h 1179213"/>
              <a:gd name="connsiteX3" fmla="*/ 0 w 1726857"/>
              <a:gd name="connsiteY3" fmla="*/ 0 h 1179213"/>
              <a:gd name="connsiteX4" fmla="*/ 1726857 w 1726857"/>
              <a:gd name="connsiteY4" fmla="*/ 91440 h 1179213"/>
              <a:gd name="connsiteX0" fmla="*/ 1635417 w 1635417"/>
              <a:gd name="connsiteY0" fmla="*/ 0 h 1179213"/>
              <a:gd name="connsiteX1" fmla="*/ 1635417 w 1635417"/>
              <a:gd name="connsiteY1" fmla="*/ 1179213 h 1179213"/>
              <a:gd name="connsiteX2" fmla="*/ 0 w 1635417"/>
              <a:gd name="connsiteY2" fmla="*/ 1179213 h 1179213"/>
              <a:gd name="connsiteX3" fmla="*/ 0 w 1635417"/>
              <a:gd name="connsiteY3" fmla="*/ 0 h 1179213"/>
              <a:gd name="connsiteX0" fmla="*/ 1635417 w 1635417"/>
              <a:gd name="connsiteY0" fmla="*/ 1179213 h 1179213"/>
              <a:gd name="connsiteX1" fmla="*/ 0 w 1635417"/>
              <a:gd name="connsiteY1" fmla="*/ 1179213 h 1179213"/>
              <a:gd name="connsiteX2" fmla="*/ 0 w 1635417"/>
              <a:gd name="connsiteY2" fmla="*/ 0 h 11792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635417" h="1179213">
                <a:moveTo>
                  <a:pt x="1635417" y="1179213"/>
                </a:moveTo>
                <a:lnTo>
                  <a:pt x="0" y="1179213"/>
                </a:lnTo>
                <a:lnTo>
                  <a:pt x="0" y="0"/>
                </a:lnTo>
              </a:path>
            </a:pathLst>
          </a:custGeom>
          <a:noFill/>
          <a:ln w="6350" cap="sq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PT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238" name="Agrupar 237">
            <a:extLst>
              <a:ext uri="{FF2B5EF4-FFF2-40B4-BE49-F238E27FC236}">
                <a16:creationId xmlns:a16="http://schemas.microsoft.com/office/drawing/2014/main" id="{C8509216-5701-FCC4-BD9C-B522EAC35312}"/>
              </a:ext>
            </a:extLst>
          </p:cNvPr>
          <p:cNvGrpSpPr/>
          <p:nvPr/>
        </p:nvGrpSpPr>
        <p:grpSpPr>
          <a:xfrm>
            <a:off x="7993693" y="2537276"/>
            <a:ext cx="474083" cy="397866"/>
            <a:chOff x="7527643" y="2537276"/>
            <a:chExt cx="474083" cy="397866"/>
          </a:xfrm>
        </p:grpSpPr>
        <p:grpSp>
          <p:nvGrpSpPr>
            <p:cNvPr id="218" name="Gráfico 215">
              <a:extLst>
                <a:ext uri="{FF2B5EF4-FFF2-40B4-BE49-F238E27FC236}">
                  <a16:creationId xmlns:a16="http://schemas.microsoft.com/office/drawing/2014/main" id="{F6A682A8-6E58-BC4E-0A17-8E0A219E933C}"/>
                </a:ext>
              </a:extLst>
            </p:cNvPr>
            <p:cNvGrpSpPr/>
            <p:nvPr/>
          </p:nvGrpSpPr>
          <p:grpSpPr>
            <a:xfrm>
              <a:off x="7572418" y="2635250"/>
              <a:ext cx="384534" cy="261020"/>
              <a:chOff x="3947140" y="1487919"/>
              <a:chExt cx="552164" cy="374808"/>
            </a:xfrm>
            <a:noFill/>
          </p:grpSpPr>
          <p:sp>
            <p:nvSpPr>
              <p:cNvPr id="219" name="Forma livre: Forma 218">
                <a:extLst>
                  <a:ext uri="{FF2B5EF4-FFF2-40B4-BE49-F238E27FC236}">
                    <a16:creationId xmlns:a16="http://schemas.microsoft.com/office/drawing/2014/main" id="{9DDC16E2-C153-5ECC-C3CB-6CE54DEF81ED}"/>
                  </a:ext>
                </a:extLst>
              </p:cNvPr>
              <p:cNvSpPr/>
              <p:nvPr/>
            </p:nvSpPr>
            <p:spPr>
              <a:xfrm>
                <a:off x="4333093" y="1487919"/>
                <a:ext cx="166211" cy="374808"/>
              </a:xfrm>
              <a:custGeom>
                <a:avLst/>
                <a:gdLst>
                  <a:gd name="connsiteX0" fmla="*/ 0 w 166211"/>
                  <a:gd name="connsiteY0" fmla="*/ 0 h 374808"/>
                  <a:gd name="connsiteX1" fmla="*/ 125921 w 166211"/>
                  <a:gd name="connsiteY1" fmla="*/ 0 h 374808"/>
                  <a:gd name="connsiteX2" fmla="*/ 166211 w 166211"/>
                  <a:gd name="connsiteY2" fmla="*/ 40291 h 374808"/>
                  <a:gd name="connsiteX3" fmla="*/ 166211 w 166211"/>
                  <a:gd name="connsiteY3" fmla="*/ 374809 h 3748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66211" h="374808">
                    <a:moveTo>
                      <a:pt x="0" y="0"/>
                    </a:moveTo>
                    <a:lnTo>
                      <a:pt x="125921" y="0"/>
                    </a:lnTo>
                    <a:cubicBezTo>
                      <a:pt x="148114" y="0"/>
                      <a:pt x="166211" y="18097"/>
                      <a:pt x="166211" y="40291"/>
                    </a:cubicBezTo>
                    <a:lnTo>
                      <a:pt x="166211" y="374809"/>
                    </a:lnTo>
                  </a:path>
                </a:pathLst>
              </a:custGeom>
              <a:noFill/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PT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20" name="Forma livre: Forma 219">
                <a:extLst>
                  <a:ext uri="{FF2B5EF4-FFF2-40B4-BE49-F238E27FC236}">
                    <a16:creationId xmlns:a16="http://schemas.microsoft.com/office/drawing/2014/main" id="{A6E71FEB-3981-29A7-C791-C90A14A936C9}"/>
                  </a:ext>
                </a:extLst>
              </p:cNvPr>
              <p:cNvSpPr/>
              <p:nvPr/>
            </p:nvSpPr>
            <p:spPr>
              <a:xfrm>
                <a:off x="3947140" y="1487919"/>
                <a:ext cx="166020" cy="331851"/>
              </a:xfrm>
              <a:custGeom>
                <a:avLst/>
                <a:gdLst>
                  <a:gd name="connsiteX0" fmla="*/ 0 w 166020"/>
                  <a:gd name="connsiteY0" fmla="*/ 331851 h 331851"/>
                  <a:gd name="connsiteX1" fmla="*/ 0 w 166020"/>
                  <a:gd name="connsiteY1" fmla="*/ 40291 h 331851"/>
                  <a:gd name="connsiteX2" fmla="*/ 40291 w 166020"/>
                  <a:gd name="connsiteY2" fmla="*/ 0 h 331851"/>
                  <a:gd name="connsiteX3" fmla="*/ 166021 w 166020"/>
                  <a:gd name="connsiteY3" fmla="*/ 0 h 3318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66020" h="331851">
                    <a:moveTo>
                      <a:pt x="0" y="331851"/>
                    </a:moveTo>
                    <a:lnTo>
                      <a:pt x="0" y="40291"/>
                    </a:lnTo>
                    <a:cubicBezTo>
                      <a:pt x="0" y="18097"/>
                      <a:pt x="18097" y="0"/>
                      <a:pt x="40291" y="0"/>
                    </a:cubicBezTo>
                    <a:lnTo>
                      <a:pt x="166021" y="0"/>
                    </a:lnTo>
                  </a:path>
                </a:pathLst>
              </a:custGeom>
              <a:noFill/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PT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  <p:sp>
          <p:nvSpPr>
            <p:cNvPr id="221" name="Forma livre: Forma 220">
              <a:extLst>
                <a:ext uri="{FF2B5EF4-FFF2-40B4-BE49-F238E27FC236}">
                  <a16:creationId xmlns:a16="http://schemas.microsoft.com/office/drawing/2014/main" id="{65A40EF2-068C-D352-CCE0-092B9D93C61C}"/>
                </a:ext>
              </a:extLst>
            </p:cNvPr>
            <p:cNvSpPr/>
            <p:nvPr/>
          </p:nvSpPr>
          <p:spPr>
            <a:xfrm>
              <a:off x="7527643" y="2897332"/>
              <a:ext cx="474083" cy="37810"/>
            </a:xfrm>
            <a:custGeom>
              <a:avLst/>
              <a:gdLst>
                <a:gd name="connsiteX0" fmla="*/ 0 w 680751"/>
                <a:gd name="connsiteY0" fmla="*/ 0 h 54292"/>
                <a:gd name="connsiteX1" fmla="*/ 48863 w 680751"/>
                <a:gd name="connsiteY1" fmla="*/ 54293 h 54292"/>
                <a:gd name="connsiteX2" fmla="*/ 631888 w 680751"/>
                <a:gd name="connsiteY2" fmla="*/ 54293 h 54292"/>
                <a:gd name="connsiteX3" fmla="*/ 680752 w 680751"/>
                <a:gd name="connsiteY3" fmla="*/ 0 h 54292"/>
                <a:gd name="connsiteX4" fmla="*/ 0 w 680751"/>
                <a:gd name="connsiteY4" fmla="*/ 0 h 542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80751" h="54292">
                  <a:moveTo>
                    <a:pt x="0" y="0"/>
                  </a:moveTo>
                  <a:cubicBezTo>
                    <a:pt x="0" y="0"/>
                    <a:pt x="9906" y="54293"/>
                    <a:pt x="48863" y="54293"/>
                  </a:cubicBezTo>
                  <a:lnTo>
                    <a:pt x="631888" y="54293"/>
                  </a:lnTo>
                  <a:cubicBezTo>
                    <a:pt x="670941" y="54293"/>
                    <a:pt x="680752" y="0"/>
                    <a:pt x="680752" y="0"/>
                  </a:cubicBezTo>
                  <a:lnTo>
                    <a:pt x="0" y="0"/>
                  </a:lnTo>
                  <a:close/>
                </a:path>
              </a:pathLst>
            </a:custGeom>
            <a:noFill/>
            <a:ln w="19050" cap="sq">
              <a:solidFill>
                <a:srgbClr val="184BFF"/>
              </a:solidFill>
              <a:prstDash val="solid"/>
              <a:miter lim="800000"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grpSp>
          <p:nvGrpSpPr>
            <p:cNvPr id="222" name="Gráfico 215">
              <a:extLst>
                <a:ext uri="{FF2B5EF4-FFF2-40B4-BE49-F238E27FC236}">
                  <a16:creationId xmlns:a16="http://schemas.microsoft.com/office/drawing/2014/main" id="{357CF246-F08E-A755-0FE8-9B3F1FB5B3CC}"/>
                </a:ext>
              </a:extLst>
            </p:cNvPr>
            <p:cNvGrpSpPr/>
            <p:nvPr/>
          </p:nvGrpSpPr>
          <p:grpSpPr>
            <a:xfrm>
              <a:off x="7661835" y="2537276"/>
              <a:ext cx="205699" cy="245499"/>
              <a:chOff x="4075536" y="1347235"/>
              <a:chExt cx="295370" cy="352520"/>
            </a:xfrm>
            <a:noFill/>
          </p:grpSpPr>
          <p:sp>
            <p:nvSpPr>
              <p:cNvPr id="223" name="Forma livre: Forma 222">
                <a:extLst>
                  <a:ext uri="{FF2B5EF4-FFF2-40B4-BE49-F238E27FC236}">
                    <a16:creationId xmlns:a16="http://schemas.microsoft.com/office/drawing/2014/main" id="{47AEDA9D-0F41-22D5-D003-BB473995A9E9}"/>
                  </a:ext>
                </a:extLst>
              </p:cNvPr>
              <p:cNvSpPr/>
              <p:nvPr/>
            </p:nvSpPr>
            <p:spPr>
              <a:xfrm>
                <a:off x="4156880" y="1347235"/>
                <a:ext cx="132778" cy="352520"/>
              </a:xfrm>
              <a:custGeom>
                <a:avLst/>
                <a:gdLst>
                  <a:gd name="connsiteX0" fmla="*/ 66389 w 132778"/>
                  <a:gd name="connsiteY0" fmla="*/ 0 h 352520"/>
                  <a:gd name="connsiteX1" fmla="*/ 0 w 132778"/>
                  <a:gd name="connsiteY1" fmla="*/ 99536 h 352520"/>
                  <a:gd name="connsiteX2" fmla="*/ 0 w 132778"/>
                  <a:gd name="connsiteY2" fmla="*/ 352520 h 352520"/>
                  <a:gd name="connsiteX3" fmla="*/ 132778 w 132778"/>
                  <a:gd name="connsiteY3" fmla="*/ 352520 h 352520"/>
                  <a:gd name="connsiteX4" fmla="*/ 132778 w 132778"/>
                  <a:gd name="connsiteY4" fmla="*/ 99536 h 352520"/>
                  <a:gd name="connsiteX5" fmla="*/ 66389 w 132778"/>
                  <a:gd name="connsiteY5" fmla="*/ 0 h 3525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32778" h="352520">
                    <a:moveTo>
                      <a:pt x="66389" y="0"/>
                    </a:moveTo>
                    <a:cubicBezTo>
                      <a:pt x="66389" y="0"/>
                      <a:pt x="0" y="70009"/>
                      <a:pt x="0" y="99536"/>
                    </a:cubicBezTo>
                    <a:lnTo>
                      <a:pt x="0" y="352520"/>
                    </a:lnTo>
                    <a:lnTo>
                      <a:pt x="132778" y="352520"/>
                    </a:lnTo>
                    <a:lnTo>
                      <a:pt x="132778" y="99536"/>
                    </a:lnTo>
                    <a:cubicBezTo>
                      <a:pt x="132778" y="69914"/>
                      <a:pt x="66389" y="0"/>
                      <a:pt x="66389" y="0"/>
                    </a:cubicBezTo>
                    <a:close/>
                  </a:path>
                </a:pathLst>
              </a:custGeom>
              <a:noFill/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PT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grpSp>
            <p:nvGrpSpPr>
              <p:cNvPr id="224" name="Gráfico 215">
                <a:extLst>
                  <a:ext uri="{FF2B5EF4-FFF2-40B4-BE49-F238E27FC236}">
                    <a16:creationId xmlns:a16="http://schemas.microsoft.com/office/drawing/2014/main" id="{90EDEDB5-CB6D-6907-DB75-FE463B06DD6F}"/>
                  </a:ext>
                </a:extLst>
              </p:cNvPr>
              <p:cNvGrpSpPr/>
              <p:nvPr/>
            </p:nvGrpSpPr>
            <p:grpSpPr>
              <a:xfrm>
                <a:off x="4075536" y="1507636"/>
                <a:ext cx="295370" cy="174783"/>
                <a:chOff x="4075536" y="1507636"/>
                <a:chExt cx="295370" cy="174783"/>
              </a:xfrm>
              <a:noFill/>
            </p:grpSpPr>
            <p:sp>
              <p:nvSpPr>
                <p:cNvPr id="225" name="Forma livre: Forma 224">
                  <a:extLst>
                    <a:ext uri="{FF2B5EF4-FFF2-40B4-BE49-F238E27FC236}">
                      <a16:creationId xmlns:a16="http://schemas.microsoft.com/office/drawing/2014/main" id="{D6A96EF0-9A52-1A81-4C12-C8029E688EFB}"/>
                    </a:ext>
                  </a:extLst>
                </p:cNvPr>
                <p:cNvSpPr/>
                <p:nvPr/>
              </p:nvSpPr>
              <p:spPr>
                <a:xfrm>
                  <a:off x="4075536" y="1507636"/>
                  <a:ext cx="81248" cy="174783"/>
                </a:xfrm>
                <a:custGeom>
                  <a:avLst/>
                  <a:gdLst>
                    <a:gd name="connsiteX0" fmla="*/ 81248 w 81248"/>
                    <a:gd name="connsiteY0" fmla="*/ 0 h 174783"/>
                    <a:gd name="connsiteX1" fmla="*/ 24860 w 81248"/>
                    <a:gd name="connsiteY1" fmla="*/ 83630 h 174783"/>
                    <a:gd name="connsiteX2" fmla="*/ 4858 w 81248"/>
                    <a:gd name="connsiteY2" fmla="*/ 103823 h 174783"/>
                    <a:gd name="connsiteX3" fmla="*/ 0 w 81248"/>
                    <a:gd name="connsiteY3" fmla="*/ 130302 h 174783"/>
                    <a:gd name="connsiteX4" fmla="*/ 0 w 81248"/>
                    <a:gd name="connsiteY4" fmla="*/ 174784 h 174783"/>
                    <a:gd name="connsiteX5" fmla="*/ 76581 w 81248"/>
                    <a:gd name="connsiteY5" fmla="*/ 174784 h 17478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81248" h="174783">
                      <a:moveTo>
                        <a:pt x="81248" y="0"/>
                      </a:moveTo>
                      <a:cubicBezTo>
                        <a:pt x="81248" y="18002"/>
                        <a:pt x="62865" y="53054"/>
                        <a:pt x="24860" y="83630"/>
                      </a:cubicBezTo>
                      <a:cubicBezTo>
                        <a:pt x="17431" y="89630"/>
                        <a:pt x="9716" y="95917"/>
                        <a:pt x="4858" y="103823"/>
                      </a:cubicBezTo>
                      <a:cubicBezTo>
                        <a:pt x="381" y="111252"/>
                        <a:pt x="0" y="121444"/>
                        <a:pt x="0" y="130302"/>
                      </a:cubicBezTo>
                      <a:lnTo>
                        <a:pt x="0" y="174784"/>
                      </a:lnTo>
                      <a:lnTo>
                        <a:pt x="76581" y="174784"/>
                      </a:lnTo>
                    </a:path>
                  </a:pathLst>
                </a:custGeom>
                <a:noFill/>
                <a:ln w="19050" cap="sq">
                  <a:solidFill>
                    <a:srgbClr val="184BFF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pt-PT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26" name="Forma livre: Forma 225">
                  <a:extLst>
                    <a:ext uri="{FF2B5EF4-FFF2-40B4-BE49-F238E27FC236}">
                      <a16:creationId xmlns:a16="http://schemas.microsoft.com/office/drawing/2014/main" id="{345366C5-2E7D-6447-CE15-EB3C8FF44298}"/>
                    </a:ext>
                  </a:extLst>
                </p:cNvPr>
                <p:cNvSpPr/>
                <p:nvPr/>
              </p:nvSpPr>
              <p:spPr>
                <a:xfrm>
                  <a:off x="4289658" y="1507636"/>
                  <a:ext cx="81248" cy="174783"/>
                </a:xfrm>
                <a:custGeom>
                  <a:avLst/>
                  <a:gdLst>
                    <a:gd name="connsiteX0" fmla="*/ 0 w 81248"/>
                    <a:gd name="connsiteY0" fmla="*/ 0 h 174783"/>
                    <a:gd name="connsiteX1" fmla="*/ 56388 w 81248"/>
                    <a:gd name="connsiteY1" fmla="*/ 83630 h 174783"/>
                    <a:gd name="connsiteX2" fmla="*/ 76391 w 81248"/>
                    <a:gd name="connsiteY2" fmla="*/ 103823 h 174783"/>
                    <a:gd name="connsiteX3" fmla="*/ 81248 w 81248"/>
                    <a:gd name="connsiteY3" fmla="*/ 130302 h 174783"/>
                    <a:gd name="connsiteX4" fmla="*/ 81248 w 81248"/>
                    <a:gd name="connsiteY4" fmla="*/ 174784 h 174783"/>
                    <a:gd name="connsiteX5" fmla="*/ 4667 w 81248"/>
                    <a:gd name="connsiteY5" fmla="*/ 174784 h 17478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81248" h="174783">
                      <a:moveTo>
                        <a:pt x="0" y="0"/>
                      </a:moveTo>
                      <a:cubicBezTo>
                        <a:pt x="0" y="18002"/>
                        <a:pt x="18383" y="53054"/>
                        <a:pt x="56388" y="83630"/>
                      </a:cubicBezTo>
                      <a:cubicBezTo>
                        <a:pt x="63818" y="89630"/>
                        <a:pt x="71533" y="95917"/>
                        <a:pt x="76391" y="103823"/>
                      </a:cubicBezTo>
                      <a:cubicBezTo>
                        <a:pt x="80867" y="111252"/>
                        <a:pt x="81248" y="121444"/>
                        <a:pt x="81248" y="130302"/>
                      </a:cubicBezTo>
                      <a:lnTo>
                        <a:pt x="81248" y="174784"/>
                      </a:lnTo>
                      <a:lnTo>
                        <a:pt x="4667" y="174784"/>
                      </a:lnTo>
                    </a:path>
                  </a:pathLst>
                </a:custGeom>
                <a:noFill/>
                <a:ln w="19050" cap="sq">
                  <a:solidFill>
                    <a:srgbClr val="184BFF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pt-PT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227" name="Forma livre: Forma 226">
                <a:extLst>
                  <a:ext uri="{FF2B5EF4-FFF2-40B4-BE49-F238E27FC236}">
                    <a16:creationId xmlns:a16="http://schemas.microsoft.com/office/drawing/2014/main" id="{8B054BF7-AD91-00B7-3067-4FB61020090B}"/>
                  </a:ext>
                </a:extLst>
              </p:cNvPr>
              <p:cNvSpPr/>
              <p:nvPr/>
            </p:nvSpPr>
            <p:spPr>
              <a:xfrm>
                <a:off x="4198980" y="1457820"/>
                <a:ext cx="48577" cy="11239"/>
              </a:xfrm>
              <a:custGeom>
                <a:avLst/>
                <a:gdLst>
                  <a:gd name="connsiteX0" fmla="*/ 48578 w 48577"/>
                  <a:gd name="connsiteY0" fmla="*/ 11240 h 11239"/>
                  <a:gd name="connsiteX1" fmla="*/ 24289 w 48577"/>
                  <a:gd name="connsiteY1" fmla="*/ 0 h 11239"/>
                  <a:gd name="connsiteX2" fmla="*/ 0 w 48577"/>
                  <a:gd name="connsiteY2" fmla="*/ 11240 h 112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48577" h="11239">
                    <a:moveTo>
                      <a:pt x="48578" y="11240"/>
                    </a:moveTo>
                    <a:cubicBezTo>
                      <a:pt x="44577" y="4667"/>
                      <a:pt x="35243" y="0"/>
                      <a:pt x="24289" y="0"/>
                    </a:cubicBezTo>
                    <a:cubicBezTo>
                      <a:pt x="13335" y="0"/>
                      <a:pt x="4001" y="4667"/>
                      <a:pt x="0" y="11240"/>
                    </a:cubicBezTo>
                  </a:path>
                </a:pathLst>
              </a:custGeom>
              <a:noFill/>
              <a:ln w="19050" cap="sq">
                <a:solidFill>
                  <a:srgbClr val="184BFF"/>
                </a:solidFill>
                <a:prstDash val="solid"/>
                <a:miter lim="800000"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PT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  <p:grpSp>
          <p:nvGrpSpPr>
            <p:cNvPr id="228" name="Gráfico 215">
              <a:extLst>
                <a:ext uri="{FF2B5EF4-FFF2-40B4-BE49-F238E27FC236}">
                  <a16:creationId xmlns:a16="http://schemas.microsoft.com/office/drawing/2014/main" id="{BFB3ECEE-78BD-5DF5-F0BF-8F9C8575FB0D}"/>
                </a:ext>
              </a:extLst>
            </p:cNvPr>
            <p:cNvGrpSpPr/>
            <p:nvPr/>
          </p:nvGrpSpPr>
          <p:grpSpPr>
            <a:xfrm>
              <a:off x="7617192" y="2785627"/>
              <a:ext cx="294983" cy="73961"/>
              <a:chOff x="4011433" y="1703851"/>
              <a:chExt cx="423576" cy="106203"/>
            </a:xfrm>
            <a:noFill/>
          </p:grpSpPr>
          <p:grpSp>
            <p:nvGrpSpPr>
              <p:cNvPr id="229" name="Gráfico 215">
                <a:extLst>
                  <a:ext uri="{FF2B5EF4-FFF2-40B4-BE49-F238E27FC236}">
                    <a16:creationId xmlns:a16="http://schemas.microsoft.com/office/drawing/2014/main" id="{5187E499-E839-E5A8-C81E-EED05A1C9946}"/>
                  </a:ext>
                </a:extLst>
              </p:cNvPr>
              <p:cNvGrpSpPr/>
              <p:nvPr/>
            </p:nvGrpSpPr>
            <p:grpSpPr>
              <a:xfrm>
                <a:off x="4249939" y="1703851"/>
                <a:ext cx="185070" cy="106203"/>
                <a:chOff x="4249939" y="1703851"/>
                <a:chExt cx="185070" cy="106203"/>
              </a:xfrm>
              <a:noFill/>
            </p:grpSpPr>
            <p:sp>
              <p:nvSpPr>
                <p:cNvPr id="230" name="Forma livre: Forma 229">
                  <a:extLst>
                    <a:ext uri="{FF2B5EF4-FFF2-40B4-BE49-F238E27FC236}">
                      <a16:creationId xmlns:a16="http://schemas.microsoft.com/office/drawing/2014/main" id="{637B5DBA-DD2D-143D-B91F-AAC9E9EA306D}"/>
                    </a:ext>
                  </a:extLst>
                </p:cNvPr>
                <p:cNvSpPr/>
                <p:nvPr/>
              </p:nvSpPr>
              <p:spPr>
                <a:xfrm>
                  <a:off x="4249939" y="1703851"/>
                  <a:ext cx="42195" cy="106203"/>
                </a:xfrm>
                <a:custGeom>
                  <a:avLst/>
                  <a:gdLst>
                    <a:gd name="connsiteX0" fmla="*/ 0 w 42195"/>
                    <a:gd name="connsiteY0" fmla="*/ 0 h 106203"/>
                    <a:gd name="connsiteX1" fmla="*/ 42196 w 42195"/>
                    <a:gd name="connsiteY1" fmla="*/ 106204 h 1062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2195" h="106203">
                      <a:moveTo>
                        <a:pt x="0" y="0"/>
                      </a:moveTo>
                      <a:cubicBezTo>
                        <a:pt x="0" y="0"/>
                        <a:pt x="1715" y="89535"/>
                        <a:pt x="42196" y="106204"/>
                      </a:cubicBezTo>
                    </a:path>
                  </a:pathLst>
                </a:custGeom>
                <a:noFill/>
                <a:ln w="19050" cap="sq">
                  <a:solidFill>
                    <a:srgbClr val="184BFF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pt-PT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31" name="Forma livre: Forma 230">
                  <a:extLst>
                    <a:ext uri="{FF2B5EF4-FFF2-40B4-BE49-F238E27FC236}">
                      <a16:creationId xmlns:a16="http://schemas.microsoft.com/office/drawing/2014/main" id="{1179F6F8-0EE0-C05D-1F20-1E03A4A3F1DE}"/>
                    </a:ext>
                  </a:extLst>
                </p:cNvPr>
                <p:cNvSpPr/>
                <p:nvPr/>
              </p:nvSpPr>
              <p:spPr>
                <a:xfrm>
                  <a:off x="4335283" y="1736480"/>
                  <a:ext cx="99726" cy="48809"/>
                </a:xfrm>
                <a:custGeom>
                  <a:avLst/>
                  <a:gdLst>
                    <a:gd name="connsiteX0" fmla="*/ 99727 w 99726"/>
                    <a:gd name="connsiteY0" fmla="*/ 48810 h 48809"/>
                    <a:gd name="connsiteX1" fmla="*/ 83820 w 99726"/>
                    <a:gd name="connsiteY1" fmla="*/ 13948 h 48809"/>
                    <a:gd name="connsiteX2" fmla="*/ 46673 w 99726"/>
                    <a:gd name="connsiteY2" fmla="*/ 42 h 48809"/>
                    <a:gd name="connsiteX3" fmla="*/ 0 w 99726"/>
                    <a:gd name="connsiteY3" fmla="*/ 36427 h 4880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9726" h="48809">
                      <a:moveTo>
                        <a:pt x="99727" y="48810"/>
                      </a:moveTo>
                      <a:cubicBezTo>
                        <a:pt x="99155" y="34998"/>
                        <a:pt x="93154" y="22711"/>
                        <a:pt x="83820" y="13948"/>
                      </a:cubicBezTo>
                      <a:cubicBezTo>
                        <a:pt x="74200" y="4804"/>
                        <a:pt x="60960" y="-530"/>
                        <a:pt x="46673" y="42"/>
                      </a:cubicBezTo>
                      <a:cubicBezTo>
                        <a:pt x="24384" y="994"/>
                        <a:pt x="6001" y="16139"/>
                        <a:pt x="0" y="36427"/>
                      </a:cubicBezTo>
                    </a:path>
                  </a:pathLst>
                </a:custGeom>
                <a:noFill/>
                <a:ln w="19050" cap="sq">
                  <a:solidFill>
                    <a:srgbClr val="184BFF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pt-PT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32" name="Forma livre: Forma 231">
                  <a:extLst>
                    <a:ext uri="{FF2B5EF4-FFF2-40B4-BE49-F238E27FC236}">
                      <a16:creationId xmlns:a16="http://schemas.microsoft.com/office/drawing/2014/main" id="{B9A2F0AC-B75D-A596-275F-044DCF839781}"/>
                    </a:ext>
                  </a:extLst>
                </p:cNvPr>
                <p:cNvSpPr/>
                <p:nvPr/>
              </p:nvSpPr>
              <p:spPr>
                <a:xfrm>
                  <a:off x="4290650" y="1770143"/>
                  <a:ext cx="60349" cy="39816"/>
                </a:xfrm>
                <a:custGeom>
                  <a:avLst/>
                  <a:gdLst>
                    <a:gd name="connsiteX0" fmla="*/ 60349 w 60349"/>
                    <a:gd name="connsiteY0" fmla="*/ 21814 h 39816"/>
                    <a:gd name="connsiteX1" fmla="*/ 45681 w 60349"/>
                    <a:gd name="connsiteY1" fmla="*/ 3812 h 39816"/>
                    <a:gd name="connsiteX2" fmla="*/ 21773 w 60349"/>
                    <a:gd name="connsiteY2" fmla="*/ 1336 h 39816"/>
                    <a:gd name="connsiteX3" fmla="*/ 1389 w 60349"/>
                    <a:gd name="connsiteY3" fmla="*/ 39817 h 3981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60349" h="39816">
                      <a:moveTo>
                        <a:pt x="60349" y="21814"/>
                      </a:moveTo>
                      <a:cubicBezTo>
                        <a:pt x="57873" y="13813"/>
                        <a:pt x="52539" y="7527"/>
                        <a:pt x="45681" y="3812"/>
                      </a:cubicBezTo>
                      <a:cubicBezTo>
                        <a:pt x="38632" y="-93"/>
                        <a:pt x="30060" y="-1141"/>
                        <a:pt x="21773" y="1336"/>
                      </a:cubicBezTo>
                      <a:cubicBezTo>
                        <a:pt x="5485" y="6289"/>
                        <a:pt x="-3659" y="23529"/>
                        <a:pt x="1389" y="39817"/>
                      </a:cubicBezTo>
                    </a:path>
                  </a:pathLst>
                </a:custGeom>
                <a:noFill/>
                <a:ln w="19050" cap="sq">
                  <a:solidFill>
                    <a:srgbClr val="184BFF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pt-PT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233" name="Gráfico 215">
                <a:extLst>
                  <a:ext uri="{FF2B5EF4-FFF2-40B4-BE49-F238E27FC236}">
                    <a16:creationId xmlns:a16="http://schemas.microsoft.com/office/drawing/2014/main" id="{D022527F-3D5D-FF6C-73C0-CC933ED780A8}"/>
                  </a:ext>
                </a:extLst>
              </p:cNvPr>
              <p:cNvGrpSpPr/>
              <p:nvPr/>
            </p:nvGrpSpPr>
            <p:grpSpPr>
              <a:xfrm>
                <a:off x="4011433" y="1703851"/>
                <a:ext cx="185070" cy="106203"/>
                <a:chOff x="4011433" y="1703851"/>
                <a:chExt cx="185070" cy="106203"/>
              </a:xfrm>
              <a:noFill/>
            </p:grpSpPr>
            <p:sp>
              <p:nvSpPr>
                <p:cNvPr id="234" name="Forma livre: Forma 233">
                  <a:extLst>
                    <a:ext uri="{FF2B5EF4-FFF2-40B4-BE49-F238E27FC236}">
                      <a16:creationId xmlns:a16="http://schemas.microsoft.com/office/drawing/2014/main" id="{2AEDBFC3-2978-2C94-F397-65AE235DF8FB}"/>
                    </a:ext>
                  </a:extLst>
                </p:cNvPr>
                <p:cNvSpPr/>
                <p:nvPr/>
              </p:nvSpPr>
              <p:spPr>
                <a:xfrm>
                  <a:off x="4154308" y="1703851"/>
                  <a:ext cx="42195" cy="106203"/>
                </a:xfrm>
                <a:custGeom>
                  <a:avLst/>
                  <a:gdLst>
                    <a:gd name="connsiteX0" fmla="*/ 42196 w 42195"/>
                    <a:gd name="connsiteY0" fmla="*/ 0 h 106203"/>
                    <a:gd name="connsiteX1" fmla="*/ 0 w 42195"/>
                    <a:gd name="connsiteY1" fmla="*/ 106204 h 1062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2195" h="106203">
                      <a:moveTo>
                        <a:pt x="42196" y="0"/>
                      </a:moveTo>
                      <a:cubicBezTo>
                        <a:pt x="42196" y="0"/>
                        <a:pt x="41243" y="93440"/>
                        <a:pt x="0" y="106204"/>
                      </a:cubicBezTo>
                    </a:path>
                  </a:pathLst>
                </a:custGeom>
                <a:noFill/>
                <a:ln w="19050" cap="sq">
                  <a:solidFill>
                    <a:srgbClr val="184BFF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pt-PT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35" name="Forma livre: Forma 234">
                  <a:extLst>
                    <a:ext uri="{FF2B5EF4-FFF2-40B4-BE49-F238E27FC236}">
                      <a16:creationId xmlns:a16="http://schemas.microsoft.com/office/drawing/2014/main" id="{E7B1D3BF-315C-D2AD-BE14-82623EBFD8D0}"/>
                    </a:ext>
                  </a:extLst>
                </p:cNvPr>
                <p:cNvSpPr/>
                <p:nvPr/>
              </p:nvSpPr>
              <p:spPr>
                <a:xfrm>
                  <a:off x="4011433" y="1736480"/>
                  <a:ext cx="69627" cy="48809"/>
                </a:xfrm>
                <a:custGeom>
                  <a:avLst/>
                  <a:gdLst>
                    <a:gd name="connsiteX0" fmla="*/ 0 w 69627"/>
                    <a:gd name="connsiteY0" fmla="*/ 48810 h 48809"/>
                    <a:gd name="connsiteX1" fmla="*/ 15907 w 69627"/>
                    <a:gd name="connsiteY1" fmla="*/ 13948 h 48809"/>
                    <a:gd name="connsiteX2" fmla="*/ 53054 w 69627"/>
                    <a:gd name="connsiteY2" fmla="*/ 42 h 48809"/>
                    <a:gd name="connsiteX3" fmla="*/ 69628 w 69627"/>
                    <a:gd name="connsiteY3" fmla="*/ 3566 h 4880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69627" h="48809">
                      <a:moveTo>
                        <a:pt x="0" y="48810"/>
                      </a:moveTo>
                      <a:cubicBezTo>
                        <a:pt x="572" y="34998"/>
                        <a:pt x="6572" y="22711"/>
                        <a:pt x="15907" y="13948"/>
                      </a:cubicBezTo>
                      <a:cubicBezTo>
                        <a:pt x="25527" y="4804"/>
                        <a:pt x="38767" y="-530"/>
                        <a:pt x="53054" y="42"/>
                      </a:cubicBezTo>
                      <a:cubicBezTo>
                        <a:pt x="58960" y="327"/>
                        <a:pt x="64484" y="1566"/>
                        <a:pt x="69628" y="3566"/>
                      </a:cubicBezTo>
                    </a:path>
                  </a:pathLst>
                </a:custGeom>
                <a:noFill/>
                <a:ln w="19050" cap="sq">
                  <a:solidFill>
                    <a:srgbClr val="184BFF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pt-PT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36" name="Forma livre: Forma 235">
                  <a:extLst>
                    <a:ext uri="{FF2B5EF4-FFF2-40B4-BE49-F238E27FC236}">
                      <a16:creationId xmlns:a16="http://schemas.microsoft.com/office/drawing/2014/main" id="{5158DDD4-7F0C-AAEA-2183-56CC11645EFC}"/>
                    </a:ext>
                  </a:extLst>
                </p:cNvPr>
                <p:cNvSpPr/>
                <p:nvPr/>
              </p:nvSpPr>
              <p:spPr>
                <a:xfrm>
                  <a:off x="4095444" y="1770143"/>
                  <a:ext cx="60349" cy="39816"/>
                </a:xfrm>
                <a:custGeom>
                  <a:avLst/>
                  <a:gdLst>
                    <a:gd name="connsiteX0" fmla="*/ 0 w 60349"/>
                    <a:gd name="connsiteY0" fmla="*/ 21814 h 39816"/>
                    <a:gd name="connsiteX1" fmla="*/ 14669 w 60349"/>
                    <a:gd name="connsiteY1" fmla="*/ 3812 h 39816"/>
                    <a:gd name="connsiteX2" fmla="*/ 38576 w 60349"/>
                    <a:gd name="connsiteY2" fmla="*/ 1336 h 39816"/>
                    <a:gd name="connsiteX3" fmla="*/ 58960 w 60349"/>
                    <a:gd name="connsiteY3" fmla="*/ 39817 h 3981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60349" h="39816">
                      <a:moveTo>
                        <a:pt x="0" y="21814"/>
                      </a:moveTo>
                      <a:cubicBezTo>
                        <a:pt x="2477" y="13813"/>
                        <a:pt x="7810" y="7527"/>
                        <a:pt x="14669" y="3812"/>
                      </a:cubicBezTo>
                      <a:cubicBezTo>
                        <a:pt x="21717" y="-93"/>
                        <a:pt x="30290" y="-1141"/>
                        <a:pt x="38576" y="1336"/>
                      </a:cubicBezTo>
                      <a:cubicBezTo>
                        <a:pt x="54864" y="6289"/>
                        <a:pt x="64008" y="23529"/>
                        <a:pt x="58960" y="39817"/>
                      </a:cubicBezTo>
                    </a:path>
                  </a:pathLst>
                </a:custGeom>
                <a:noFill/>
                <a:ln w="19050" cap="sq">
                  <a:solidFill>
                    <a:srgbClr val="184BFF"/>
                  </a:solidFill>
                  <a:prstDash val="solid"/>
                  <a:miter lim="800000"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pt-PT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</p:grpSp>
        </p:grpSp>
      </p:grpSp>
    </p:spTree>
    <p:custDataLst>
      <p:tags r:id="rId1"/>
    </p:custDataLst>
    <p:extLst>
      <p:ext uri="{BB962C8B-B14F-4D97-AF65-F5344CB8AC3E}">
        <p14:creationId xmlns:p14="http://schemas.microsoft.com/office/powerpoint/2010/main" val="26262267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84A425E-AD7B-827B-DC1A-1F564AE46F7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22">
            <a:extLst>
              <a:ext uri="{FF2B5EF4-FFF2-40B4-BE49-F238E27FC236}">
                <a16:creationId xmlns:a16="http://schemas.microsoft.com/office/drawing/2014/main" id="{5F13C540-EB6C-06CF-3EA5-96C28013E726}"/>
              </a:ext>
            </a:extLst>
          </p:cNvPr>
          <p:cNvSpPr txBox="1"/>
          <p:nvPr/>
        </p:nvSpPr>
        <p:spPr>
          <a:xfrm>
            <a:off x="1110453" y="2413946"/>
            <a:ext cx="7436747" cy="2030108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>
            <a:defPPr>
              <a:defRPr lang="pt-PT"/>
            </a:defPPr>
            <a:lvl1pPr>
              <a:lnSpc>
                <a:spcPct val="78000"/>
              </a:lnSpc>
              <a:defRPr sz="11500">
                <a:solidFill>
                  <a:schemeClr val="bg1"/>
                </a:solidFill>
                <a:latin typeface="SB Pakenham" panose="02000608020000020004" pitchFamily="50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7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PT" sz="8800" dirty="0">
                <a:solidFill>
                  <a:prstClr val="white"/>
                </a:solidFill>
                <a:latin typeface="Verdana" panose="020B0604030504040204" pitchFamily="34" charset="0"/>
                <a:cs typeface="Arial" panose="020B0604020202020204" pitchFamily="34" charset="0"/>
              </a:rPr>
              <a:t>BANCO DE IMÁGENES</a:t>
            </a:r>
            <a:endParaRPr kumimoji="0" lang="pt-PT" sz="8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 panose="020B0604030504040204" pitchFamily="34" charset="0"/>
              <a:ea typeface="Open Sans Light" panose="020B0306030504020204" pitchFamily="34" charset="0"/>
              <a:cs typeface="Arial" panose="020B0604020202020204" pitchFamily="34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9495956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m 2" descr="Uma imagem com Cara humana, óculos, vestuário, texto&#10;&#10;Os conteúdos gerados por IA podem estar incorretos.">
            <a:extLst>
              <a:ext uri="{FF2B5EF4-FFF2-40B4-BE49-F238E27FC236}">
                <a16:creationId xmlns:a16="http://schemas.microsoft.com/office/drawing/2014/main" id="{2BE64829-A162-82C0-4220-08CA44AEC5DD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t="1588" b="12475"/>
          <a:stretch>
            <a:fillRect/>
          </a:stretch>
        </p:blipFill>
        <p:spPr>
          <a:xfrm>
            <a:off x="0" y="-130629"/>
            <a:ext cx="12192000" cy="69886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808422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m 2" descr="Uma imagem com nuvem, céu, edifício, ar livre&#10;&#10;Os conteúdos gerados por IA podem estar incorretos.">
            <a:extLst>
              <a:ext uri="{FF2B5EF4-FFF2-40B4-BE49-F238E27FC236}">
                <a16:creationId xmlns:a16="http://schemas.microsoft.com/office/drawing/2014/main" id="{75143F64-DA86-D796-CE54-86F659EF81A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589824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m 2" descr="Uma imagem com Torre de apartamentos, Metrópole, Área metropolitana, céu&#10;&#10;Os conteúdos gerados por IA podem estar incorretos.">
            <a:extLst>
              <a:ext uri="{FF2B5EF4-FFF2-40B4-BE49-F238E27FC236}">
                <a16:creationId xmlns:a16="http://schemas.microsoft.com/office/drawing/2014/main" id="{3E496102-06C8-250B-2979-A823EA50D3A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696066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m 2" descr="Uma imagem com vestuário, pessoa, Cara humana, edifício&#10;&#10;Os conteúdos gerados por IA podem estar incorretos.">
            <a:extLst>
              <a:ext uri="{FF2B5EF4-FFF2-40B4-BE49-F238E27FC236}">
                <a16:creationId xmlns:a16="http://schemas.microsoft.com/office/drawing/2014/main" id="{8E3D23C1-7D4C-77CB-D8E3-AC6BA8D948EF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t="7812" b="781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439435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m 2" descr="Uma imagem com vestuário, pessoa, Cara humana, homem&#10;&#10;Os conteúdos gerados por IA podem estar incorretos.">
            <a:extLst>
              <a:ext uri="{FF2B5EF4-FFF2-40B4-BE49-F238E27FC236}">
                <a16:creationId xmlns:a16="http://schemas.microsoft.com/office/drawing/2014/main" id="{FB7C7800-3E8B-6370-B96C-E9066A97FB69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t="7819" b="7819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945123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F9DC3100-CE5F-6B7A-1199-B611B7FA1BB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pt-PT" dirty="0"/>
              <a:t>Ejemplo de título de separador</a:t>
            </a:r>
          </a:p>
        </p:txBody>
      </p:sp>
      <p:sp>
        <p:nvSpPr>
          <p:cNvPr id="3" name="Marcador de Posição do Texto 2">
            <a:extLst>
              <a:ext uri="{FF2B5EF4-FFF2-40B4-BE49-F238E27FC236}">
                <a16:creationId xmlns:a16="http://schemas.microsoft.com/office/drawing/2014/main" id="{F7247B64-01CC-6194-A8C7-8EAFBC267E5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pt-PT" dirty="0"/>
              <a:t>Ejemplo de subtítulo</a:t>
            </a:r>
          </a:p>
        </p:txBody>
      </p:sp>
      <p:sp>
        <p:nvSpPr>
          <p:cNvPr id="4" name="Marcador de Posição do Texto 3">
            <a:extLst>
              <a:ext uri="{FF2B5EF4-FFF2-40B4-BE49-F238E27FC236}">
                <a16:creationId xmlns:a16="http://schemas.microsoft.com/office/drawing/2014/main" id="{C6DE3612-EFFF-28A3-2615-E512A3CB13C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pt-PT" dirty="0"/>
              <a:t>01</a:t>
            </a:r>
          </a:p>
        </p:txBody>
      </p:sp>
    </p:spTree>
    <p:extLst>
      <p:ext uri="{BB962C8B-B14F-4D97-AF65-F5344CB8AC3E}">
        <p14:creationId xmlns:p14="http://schemas.microsoft.com/office/powerpoint/2010/main" val="40972080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m 2" descr="Uma imagem com vestuário, pessoa, Cara humana, interior&#10;&#10;Os conteúdos gerados por IA podem estar incorretos.">
            <a:extLst>
              <a:ext uri="{FF2B5EF4-FFF2-40B4-BE49-F238E27FC236}">
                <a16:creationId xmlns:a16="http://schemas.microsoft.com/office/drawing/2014/main" id="{78719461-B1E9-65E8-46D8-6A094EF80BD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928914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m 2" descr="Uma imagem com interior, computador, mobília, secretária&#10;&#10;Os conteúdos gerados por IA podem estar incorretos.">
            <a:extLst>
              <a:ext uri="{FF2B5EF4-FFF2-40B4-BE49-F238E27FC236}">
                <a16:creationId xmlns:a16="http://schemas.microsoft.com/office/drawing/2014/main" id="{2395E4D4-B3A3-35CA-1599-580560E792B8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t="7816" b="7816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391169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m 2" descr="Uma imagem com fábrica, interior, pessoa, pessoas&#10;&#10;Os conteúdos gerados por IA podem estar incorretos.">
            <a:extLst>
              <a:ext uri="{FF2B5EF4-FFF2-40B4-BE49-F238E27FC236}">
                <a16:creationId xmlns:a16="http://schemas.microsoft.com/office/drawing/2014/main" id="{EFCECC0B-5AA8-2D06-4D06-0973C6FE00B9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t="7836" b="7834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718288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0ADDEE4-0920-09B8-39BC-AD6B39A3002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22">
            <a:extLst>
              <a:ext uri="{FF2B5EF4-FFF2-40B4-BE49-F238E27FC236}">
                <a16:creationId xmlns:a16="http://schemas.microsoft.com/office/drawing/2014/main" id="{03E85BD4-F7A7-C7F7-74F4-BD7B43E7E397}"/>
              </a:ext>
            </a:extLst>
          </p:cNvPr>
          <p:cNvSpPr txBox="1"/>
          <p:nvPr/>
        </p:nvSpPr>
        <p:spPr>
          <a:xfrm>
            <a:off x="1110453" y="2908857"/>
            <a:ext cx="7436747" cy="104028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>
            <a:defPPr>
              <a:defRPr lang="pt-PT"/>
            </a:defPPr>
            <a:lvl1pPr>
              <a:lnSpc>
                <a:spcPct val="78000"/>
              </a:lnSpc>
              <a:defRPr sz="11500">
                <a:solidFill>
                  <a:schemeClr val="bg1"/>
                </a:solidFill>
                <a:latin typeface="SB Pakenham" panose="02000608020000020004" pitchFamily="50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7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PT" sz="8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 panose="020B0604030504040204" pitchFamily="34" charset="0"/>
                <a:ea typeface="Open Sans Light" panose="020B0306030504020204" pitchFamily="34" charset="0"/>
                <a:cs typeface="Arial" panose="020B0604020202020204" pitchFamily="34" charset="0"/>
              </a:rPr>
              <a:t>ICONO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1974877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28">
            <a:extLst>
              <a:ext uri="{FF2B5EF4-FFF2-40B4-BE49-F238E27FC236}">
                <a16:creationId xmlns:a16="http://schemas.microsoft.com/office/drawing/2014/main" id="{C7186308-E67D-D59D-8DCB-9A6E029150AB}"/>
              </a:ext>
            </a:extLst>
          </p:cNvPr>
          <p:cNvSpPr txBox="1"/>
          <p:nvPr/>
        </p:nvSpPr>
        <p:spPr>
          <a:xfrm>
            <a:off x="322233" y="319537"/>
            <a:ext cx="973343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pt-PT"/>
            </a:defPPr>
            <a:lvl1pPr>
              <a:defRPr sz="1000">
                <a:solidFill>
                  <a:srgbClr val="0D0D0D">
                    <a:alpha val="60000"/>
                  </a:srgbClr>
                </a:solidFill>
                <a:latin typeface="Graphik Regular" panose="020B0503030202060203" pitchFamily="34" charset="0"/>
                <a:cs typeface="Segoe UI" panose="020B0502040204020203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0" i="0" u="none" strike="noStrike" kern="1200" cap="none" spc="30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Urbanist Light" panose="020B0A04040200000203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ICONS</a:t>
            </a:r>
          </a:p>
        </p:txBody>
      </p:sp>
      <p:grpSp>
        <p:nvGrpSpPr>
          <p:cNvPr id="29" name="Gráfico 3">
            <a:extLst>
              <a:ext uri="{FF2B5EF4-FFF2-40B4-BE49-F238E27FC236}">
                <a16:creationId xmlns:a16="http://schemas.microsoft.com/office/drawing/2014/main" id="{FDFA3062-C4AF-CE49-137B-6FF601F0E4C4}"/>
              </a:ext>
            </a:extLst>
          </p:cNvPr>
          <p:cNvGrpSpPr/>
          <p:nvPr/>
        </p:nvGrpSpPr>
        <p:grpSpPr>
          <a:xfrm>
            <a:off x="2026939" y="989686"/>
            <a:ext cx="259613" cy="259317"/>
            <a:chOff x="2026939" y="989686"/>
            <a:chExt cx="259613" cy="259317"/>
          </a:xfrm>
          <a:noFill/>
        </p:grpSpPr>
        <p:sp>
          <p:nvSpPr>
            <p:cNvPr id="30" name="Forma livre: Forma 29">
              <a:extLst>
                <a:ext uri="{FF2B5EF4-FFF2-40B4-BE49-F238E27FC236}">
                  <a16:creationId xmlns:a16="http://schemas.microsoft.com/office/drawing/2014/main" id="{66276567-564D-0C91-25B3-43A6508E3C1D}"/>
                </a:ext>
              </a:extLst>
            </p:cNvPr>
            <p:cNvSpPr/>
            <p:nvPr/>
          </p:nvSpPr>
          <p:spPr>
            <a:xfrm>
              <a:off x="2044211" y="1204128"/>
              <a:ext cx="27900" cy="27850"/>
            </a:xfrm>
            <a:custGeom>
              <a:avLst/>
              <a:gdLst>
                <a:gd name="connsiteX0" fmla="*/ 27900 w 27900"/>
                <a:gd name="connsiteY0" fmla="*/ 27851 h 27850"/>
                <a:gd name="connsiteX1" fmla="*/ 0 w 27900"/>
                <a:gd name="connsiteY1" fmla="*/ 0 h 278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7900" h="27850">
                  <a:moveTo>
                    <a:pt x="27900" y="27851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1" name="Forma livre: Forma 30">
              <a:extLst>
                <a:ext uri="{FF2B5EF4-FFF2-40B4-BE49-F238E27FC236}">
                  <a16:creationId xmlns:a16="http://schemas.microsoft.com/office/drawing/2014/main" id="{0AF4C46A-1B62-015C-F8D8-9730CC661A9E}"/>
                </a:ext>
              </a:extLst>
            </p:cNvPr>
            <p:cNvSpPr/>
            <p:nvPr/>
          </p:nvSpPr>
          <p:spPr>
            <a:xfrm>
              <a:off x="2204919" y="989686"/>
              <a:ext cx="81633" cy="81633"/>
            </a:xfrm>
            <a:custGeom>
              <a:avLst/>
              <a:gdLst>
                <a:gd name="connsiteX0" fmla="*/ 75876 w 81633"/>
                <a:gd name="connsiteY0" fmla="*/ 37741 h 81633"/>
                <a:gd name="connsiteX1" fmla="*/ 43892 w 81633"/>
                <a:gd name="connsiteY1" fmla="*/ 5757 h 81633"/>
                <a:gd name="connsiteX2" fmla="*/ 16041 w 81633"/>
                <a:gd name="connsiteY2" fmla="*/ 5757 h 81633"/>
                <a:gd name="connsiteX3" fmla="*/ 0 w 81633"/>
                <a:gd name="connsiteY3" fmla="*/ 21798 h 81633"/>
                <a:gd name="connsiteX4" fmla="*/ 59835 w 81633"/>
                <a:gd name="connsiteY4" fmla="*/ 81633 h 81633"/>
                <a:gd name="connsiteX5" fmla="*/ 75876 w 81633"/>
                <a:gd name="connsiteY5" fmla="*/ 65592 h 81633"/>
                <a:gd name="connsiteX6" fmla="*/ 75876 w 81633"/>
                <a:gd name="connsiteY6" fmla="*/ 37741 h 816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1633" h="81633">
                  <a:moveTo>
                    <a:pt x="75876" y="37741"/>
                  </a:moveTo>
                  <a:lnTo>
                    <a:pt x="43892" y="5757"/>
                  </a:lnTo>
                  <a:cubicBezTo>
                    <a:pt x="36216" y="-1919"/>
                    <a:pt x="23718" y="-1919"/>
                    <a:pt x="16041" y="5757"/>
                  </a:cubicBezTo>
                  <a:lnTo>
                    <a:pt x="0" y="21798"/>
                  </a:lnTo>
                  <a:lnTo>
                    <a:pt x="59835" y="81633"/>
                  </a:lnTo>
                  <a:lnTo>
                    <a:pt x="75876" y="65592"/>
                  </a:lnTo>
                  <a:cubicBezTo>
                    <a:pt x="83553" y="57916"/>
                    <a:pt x="83553" y="45418"/>
                    <a:pt x="75876" y="37741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2" name="Forma livre: Forma 31">
              <a:extLst>
                <a:ext uri="{FF2B5EF4-FFF2-40B4-BE49-F238E27FC236}">
                  <a16:creationId xmlns:a16="http://schemas.microsoft.com/office/drawing/2014/main" id="{793512A8-58C2-93DA-5B3C-F80A6BD63481}"/>
                </a:ext>
              </a:extLst>
            </p:cNvPr>
            <p:cNvSpPr/>
            <p:nvPr/>
          </p:nvSpPr>
          <p:spPr>
            <a:xfrm>
              <a:off x="2026939" y="1029248"/>
              <a:ext cx="219214" cy="219755"/>
            </a:xfrm>
            <a:custGeom>
              <a:avLst/>
              <a:gdLst>
                <a:gd name="connsiteX0" fmla="*/ 219215 w 219214"/>
                <a:gd name="connsiteY0" fmla="*/ 60376 h 219755"/>
                <a:gd name="connsiteX1" fmla="*/ 93591 w 219214"/>
                <a:gd name="connsiteY1" fmla="*/ 185951 h 219755"/>
                <a:gd name="connsiteX2" fmla="*/ 0 w 219214"/>
                <a:gd name="connsiteY2" fmla="*/ 219756 h 219755"/>
                <a:gd name="connsiteX3" fmla="*/ 34002 w 219214"/>
                <a:gd name="connsiteY3" fmla="*/ 126510 h 219755"/>
                <a:gd name="connsiteX4" fmla="*/ 160511 w 219214"/>
                <a:gd name="connsiteY4" fmla="*/ 0 h 2197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19214" h="219755">
                  <a:moveTo>
                    <a:pt x="219215" y="60376"/>
                  </a:moveTo>
                  <a:lnTo>
                    <a:pt x="93591" y="185951"/>
                  </a:lnTo>
                  <a:lnTo>
                    <a:pt x="0" y="219756"/>
                  </a:lnTo>
                  <a:lnTo>
                    <a:pt x="34002" y="126510"/>
                  </a:lnTo>
                  <a:lnTo>
                    <a:pt x="160511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3" name="Forma livre: Forma 32">
              <a:extLst>
                <a:ext uri="{FF2B5EF4-FFF2-40B4-BE49-F238E27FC236}">
                  <a16:creationId xmlns:a16="http://schemas.microsoft.com/office/drawing/2014/main" id="{0E571EFE-43E8-8A40-1BAC-6AA4182FBC38}"/>
                </a:ext>
              </a:extLst>
            </p:cNvPr>
            <p:cNvSpPr/>
            <p:nvPr/>
          </p:nvSpPr>
          <p:spPr>
            <a:xfrm>
              <a:off x="2094500" y="1059018"/>
              <a:ext cx="122720" cy="122720"/>
            </a:xfrm>
            <a:custGeom>
              <a:avLst/>
              <a:gdLst>
                <a:gd name="connsiteX0" fmla="*/ 0 w 122720"/>
                <a:gd name="connsiteY0" fmla="*/ 122721 h 122720"/>
                <a:gd name="connsiteX1" fmla="*/ 122721 w 122720"/>
                <a:gd name="connsiteY1" fmla="*/ 0 h 1227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2720" h="122720">
                  <a:moveTo>
                    <a:pt x="0" y="122721"/>
                  </a:moveTo>
                  <a:lnTo>
                    <a:pt x="122721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4" name="Forma livre: Forma 33">
              <a:extLst>
                <a:ext uri="{FF2B5EF4-FFF2-40B4-BE49-F238E27FC236}">
                  <a16:creationId xmlns:a16="http://schemas.microsoft.com/office/drawing/2014/main" id="{049E9E0A-6992-DE8F-BFFE-94FD1C7D2C71}"/>
                </a:ext>
              </a:extLst>
            </p:cNvPr>
            <p:cNvSpPr/>
            <p:nvPr/>
          </p:nvSpPr>
          <p:spPr>
            <a:xfrm>
              <a:off x="2065074" y="1152314"/>
              <a:ext cx="58801" cy="58850"/>
            </a:xfrm>
            <a:custGeom>
              <a:avLst/>
              <a:gdLst>
                <a:gd name="connsiteX0" fmla="*/ 58802 w 58801"/>
                <a:gd name="connsiteY0" fmla="*/ 58851 h 58850"/>
                <a:gd name="connsiteX1" fmla="*/ 0 w 58801"/>
                <a:gd name="connsiteY1" fmla="*/ 0 h 588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8801" h="58850">
                  <a:moveTo>
                    <a:pt x="58802" y="58851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47" name="Gráfico 3">
            <a:extLst>
              <a:ext uri="{FF2B5EF4-FFF2-40B4-BE49-F238E27FC236}">
                <a16:creationId xmlns:a16="http://schemas.microsoft.com/office/drawing/2014/main" id="{42A6EFB5-D2E9-D966-CD1F-C6D1B448CAC1}"/>
              </a:ext>
            </a:extLst>
          </p:cNvPr>
          <p:cNvGrpSpPr/>
          <p:nvPr/>
        </p:nvGrpSpPr>
        <p:grpSpPr>
          <a:xfrm>
            <a:off x="2012276" y="2078871"/>
            <a:ext cx="288989" cy="307589"/>
            <a:chOff x="2012276" y="2078871"/>
            <a:chExt cx="288989" cy="307589"/>
          </a:xfrm>
        </p:grpSpPr>
        <p:grpSp>
          <p:nvGrpSpPr>
            <p:cNvPr id="48" name="Gráfico 3">
              <a:extLst>
                <a:ext uri="{FF2B5EF4-FFF2-40B4-BE49-F238E27FC236}">
                  <a16:creationId xmlns:a16="http://schemas.microsoft.com/office/drawing/2014/main" id="{8707ADA6-16F1-6174-5EF6-7B9A23112865}"/>
                </a:ext>
              </a:extLst>
            </p:cNvPr>
            <p:cNvGrpSpPr/>
            <p:nvPr/>
          </p:nvGrpSpPr>
          <p:grpSpPr>
            <a:xfrm>
              <a:off x="2012276" y="2078871"/>
              <a:ext cx="288989" cy="225808"/>
              <a:chOff x="2012276" y="2078871"/>
              <a:chExt cx="288989" cy="225808"/>
            </a:xfrm>
          </p:grpSpPr>
          <p:sp>
            <p:nvSpPr>
              <p:cNvPr id="49" name="Forma livre: Forma 48">
                <a:extLst>
                  <a:ext uri="{FF2B5EF4-FFF2-40B4-BE49-F238E27FC236}">
                    <a16:creationId xmlns:a16="http://schemas.microsoft.com/office/drawing/2014/main" id="{0E0381C9-D2A5-60BA-F4CE-12A019853D6C}"/>
                  </a:ext>
                </a:extLst>
              </p:cNvPr>
              <p:cNvSpPr/>
              <p:nvPr/>
            </p:nvSpPr>
            <p:spPr>
              <a:xfrm>
                <a:off x="2051739" y="2252274"/>
                <a:ext cx="210013" cy="4920"/>
              </a:xfrm>
              <a:custGeom>
                <a:avLst/>
                <a:gdLst>
                  <a:gd name="connsiteX0" fmla="*/ 210013 w 210013"/>
                  <a:gd name="connsiteY0" fmla="*/ 0 h 4920"/>
                  <a:gd name="connsiteX1" fmla="*/ 0 w 210013"/>
                  <a:gd name="connsiteY1" fmla="*/ 0 h 49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10013" h="4920">
                    <a:moveTo>
                      <a:pt x="210013" y="0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0" name="Forma livre: Forma 49">
                <a:extLst>
                  <a:ext uri="{FF2B5EF4-FFF2-40B4-BE49-F238E27FC236}">
                    <a16:creationId xmlns:a16="http://schemas.microsoft.com/office/drawing/2014/main" id="{8D81A193-1979-EB6A-A12B-769B93186B36}"/>
                  </a:ext>
                </a:extLst>
              </p:cNvPr>
              <p:cNvSpPr/>
              <p:nvPr/>
            </p:nvSpPr>
            <p:spPr>
              <a:xfrm>
                <a:off x="2012276" y="2154993"/>
                <a:ext cx="288989" cy="149685"/>
              </a:xfrm>
              <a:custGeom>
                <a:avLst/>
                <a:gdLst>
                  <a:gd name="connsiteX0" fmla="*/ 43794 w 288989"/>
                  <a:gd name="connsiteY0" fmla="*/ 149686 h 149685"/>
                  <a:gd name="connsiteX1" fmla="*/ 14762 w 288989"/>
                  <a:gd name="connsiteY1" fmla="*/ 149686 h 149685"/>
                  <a:gd name="connsiteX2" fmla="*/ 0 w 288989"/>
                  <a:gd name="connsiteY2" fmla="*/ 134924 h 149685"/>
                  <a:gd name="connsiteX3" fmla="*/ 0 w 288989"/>
                  <a:gd name="connsiteY3" fmla="*/ 14762 h 149685"/>
                  <a:gd name="connsiteX4" fmla="*/ 14762 w 288989"/>
                  <a:gd name="connsiteY4" fmla="*/ 0 h 149685"/>
                  <a:gd name="connsiteX5" fmla="*/ 274228 w 288989"/>
                  <a:gd name="connsiteY5" fmla="*/ 0 h 149685"/>
                  <a:gd name="connsiteX6" fmla="*/ 288990 w 288989"/>
                  <a:gd name="connsiteY6" fmla="*/ 14762 h 149685"/>
                  <a:gd name="connsiteX7" fmla="*/ 288990 w 288989"/>
                  <a:gd name="connsiteY7" fmla="*/ 134924 h 149685"/>
                  <a:gd name="connsiteX8" fmla="*/ 274228 w 288989"/>
                  <a:gd name="connsiteY8" fmla="*/ 149686 h 149685"/>
                  <a:gd name="connsiteX9" fmla="*/ 244654 w 288989"/>
                  <a:gd name="connsiteY9" fmla="*/ 149686 h 1496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88989" h="149685">
                    <a:moveTo>
                      <a:pt x="43794" y="149686"/>
                    </a:moveTo>
                    <a:lnTo>
                      <a:pt x="14762" y="149686"/>
                    </a:lnTo>
                    <a:cubicBezTo>
                      <a:pt x="6643" y="149686"/>
                      <a:pt x="0" y="143043"/>
                      <a:pt x="0" y="134924"/>
                    </a:cubicBezTo>
                    <a:lnTo>
                      <a:pt x="0" y="14762"/>
                    </a:lnTo>
                    <a:cubicBezTo>
                      <a:pt x="0" y="6643"/>
                      <a:pt x="6643" y="0"/>
                      <a:pt x="14762" y="0"/>
                    </a:cubicBezTo>
                    <a:lnTo>
                      <a:pt x="274228" y="0"/>
                    </a:lnTo>
                    <a:cubicBezTo>
                      <a:pt x="282347" y="0"/>
                      <a:pt x="288990" y="6643"/>
                      <a:pt x="288990" y="14762"/>
                    </a:cubicBezTo>
                    <a:lnTo>
                      <a:pt x="288990" y="134924"/>
                    </a:lnTo>
                    <a:cubicBezTo>
                      <a:pt x="288990" y="143043"/>
                      <a:pt x="282347" y="149686"/>
                      <a:pt x="274228" y="149686"/>
                    </a:cubicBezTo>
                    <a:lnTo>
                      <a:pt x="244654" y="149686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1" name="Forma livre: Forma 50">
                <a:extLst>
                  <a:ext uri="{FF2B5EF4-FFF2-40B4-BE49-F238E27FC236}">
                    <a16:creationId xmlns:a16="http://schemas.microsoft.com/office/drawing/2014/main" id="{DE33ABCB-DB29-F177-93BC-0BF3BF1C2230}"/>
                  </a:ext>
                </a:extLst>
              </p:cNvPr>
              <p:cNvSpPr/>
              <p:nvPr/>
            </p:nvSpPr>
            <p:spPr>
              <a:xfrm>
                <a:off x="2081755" y="2078871"/>
                <a:ext cx="149981" cy="75433"/>
              </a:xfrm>
              <a:custGeom>
                <a:avLst/>
                <a:gdLst>
                  <a:gd name="connsiteX0" fmla="*/ 0 w 149981"/>
                  <a:gd name="connsiteY0" fmla="*/ 75433 h 75433"/>
                  <a:gd name="connsiteX1" fmla="*/ 0 w 149981"/>
                  <a:gd name="connsiteY1" fmla="*/ 0 h 75433"/>
                  <a:gd name="connsiteX2" fmla="*/ 149981 w 149981"/>
                  <a:gd name="connsiteY2" fmla="*/ 0 h 75433"/>
                  <a:gd name="connsiteX3" fmla="*/ 149981 w 149981"/>
                  <a:gd name="connsiteY3" fmla="*/ 75433 h 754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49981" h="75433">
                    <a:moveTo>
                      <a:pt x="0" y="75433"/>
                    </a:moveTo>
                    <a:lnTo>
                      <a:pt x="0" y="0"/>
                    </a:lnTo>
                    <a:lnTo>
                      <a:pt x="149981" y="0"/>
                    </a:lnTo>
                    <a:lnTo>
                      <a:pt x="149981" y="75433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2" name="Forma livre: Forma 51">
                <a:extLst>
                  <a:ext uri="{FF2B5EF4-FFF2-40B4-BE49-F238E27FC236}">
                    <a16:creationId xmlns:a16="http://schemas.microsoft.com/office/drawing/2014/main" id="{2022A486-287F-BDA5-BD74-F013AEC042D2}"/>
                  </a:ext>
                </a:extLst>
              </p:cNvPr>
              <p:cNvSpPr/>
              <p:nvPr/>
            </p:nvSpPr>
            <p:spPr>
              <a:xfrm>
                <a:off x="2053363" y="2193325"/>
                <a:ext cx="7676" cy="7676"/>
              </a:xfrm>
              <a:custGeom>
                <a:avLst/>
                <a:gdLst>
                  <a:gd name="connsiteX0" fmla="*/ 7676 w 7676"/>
                  <a:gd name="connsiteY0" fmla="*/ 3838 h 7676"/>
                  <a:gd name="connsiteX1" fmla="*/ 3838 w 7676"/>
                  <a:gd name="connsiteY1" fmla="*/ 7676 h 7676"/>
                  <a:gd name="connsiteX2" fmla="*/ 0 w 7676"/>
                  <a:gd name="connsiteY2" fmla="*/ 3838 h 7676"/>
                  <a:gd name="connsiteX3" fmla="*/ 3838 w 7676"/>
                  <a:gd name="connsiteY3" fmla="*/ 0 h 7676"/>
                  <a:gd name="connsiteX4" fmla="*/ 7676 w 7676"/>
                  <a:gd name="connsiteY4" fmla="*/ 3838 h 76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676" h="7676">
                    <a:moveTo>
                      <a:pt x="7676" y="3838"/>
                    </a:moveTo>
                    <a:cubicBezTo>
                      <a:pt x="7676" y="5954"/>
                      <a:pt x="5954" y="7676"/>
                      <a:pt x="3838" y="7676"/>
                    </a:cubicBezTo>
                    <a:cubicBezTo>
                      <a:pt x="1722" y="7676"/>
                      <a:pt x="0" y="5954"/>
                      <a:pt x="0" y="3838"/>
                    </a:cubicBezTo>
                    <a:cubicBezTo>
                      <a:pt x="0" y="1722"/>
                      <a:pt x="1722" y="0"/>
                      <a:pt x="3838" y="0"/>
                    </a:cubicBezTo>
                    <a:cubicBezTo>
                      <a:pt x="5954" y="0"/>
                      <a:pt x="7676" y="1722"/>
                      <a:pt x="7676" y="3838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53" name="Gráfico 3">
              <a:extLst>
                <a:ext uri="{FF2B5EF4-FFF2-40B4-BE49-F238E27FC236}">
                  <a16:creationId xmlns:a16="http://schemas.microsoft.com/office/drawing/2014/main" id="{203A9DDC-EEA3-B41E-FD40-4741C665BF00}"/>
                </a:ext>
              </a:extLst>
            </p:cNvPr>
            <p:cNvGrpSpPr/>
            <p:nvPr/>
          </p:nvGrpSpPr>
          <p:grpSpPr>
            <a:xfrm>
              <a:off x="2083084" y="2253603"/>
              <a:ext cx="147324" cy="132857"/>
              <a:chOff x="2083084" y="2253603"/>
              <a:chExt cx="147324" cy="132857"/>
            </a:xfrm>
          </p:grpSpPr>
          <p:sp>
            <p:nvSpPr>
              <p:cNvPr id="54" name="Forma livre: Forma 53">
                <a:extLst>
                  <a:ext uri="{FF2B5EF4-FFF2-40B4-BE49-F238E27FC236}">
                    <a16:creationId xmlns:a16="http://schemas.microsoft.com/office/drawing/2014/main" id="{EF002FFE-0FB3-3434-C547-2588F776D3A4}"/>
                  </a:ext>
                </a:extLst>
              </p:cNvPr>
              <p:cNvSpPr/>
              <p:nvPr/>
            </p:nvSpPr>
            <p:spPr>
              <a:xfrm>
                <a:off x="2083084" y="2253603"/>
                <a:ext cx="4920" cy="108450"/>
              </a:xfrm>
              <a:custGeom>
                <a:avLst/>
                <a:gdLst>
                  <a:gd name="connsiteX0" fmla="*/ 0 w 4920"/>
                  <a:gd name="connsiteY0" fmla="*/ 0 h 108450"/>
                  <a:gd name="connsiteX1" fmla="*/ 0 w 4920"/>
                  <a:gd name="connsiteY1" fmla="*/ 108451 h 1084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920" h="108450">
                    <a:moveTo>
                      <a:pt x="0" y="0"/>
                    </a:moveTo>
                    <a:lnTo>
                      <a:pt x="0" y="108451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5" name="Forma livre: Forma 54">
                <a:extLst>
                  <a:ext uri="{FF2B5EF4-FFF2-40B4-BE49-F238E27FC236}">
                    <a16:creationId xmlns:a16="http://schemas.microsoft.com/office/drawing/2014/main" id="{36E2AD05-C254-8C31-8ED3-78471A7E815B}"/>
                  </a:ext>
                </a:extLst>
              </p:cNvPr>
              <p:cNvSpPr/>
              <p:nvPr/>
            </p:nvSpPr>
            <p:spPr>
              <a:xfrm>
                <a:off x="2119890" y="2253603"/>
                <a:ext cx="4920" cy="89801"/>
              </a:xfrm>
              <a:custGeom>
                <a:avLst/>
                <a:gdLst>
                  <a:gd name="connsiteX0" fmla="*/ 0 w 4920"/>
                  <a:gd name="connsiteY0" fmla="*/ 0 h 89801"/>
                  <a:gd name="connsiteX1" fmla="*/ 0 w 4920"/>
                  <a:gd name="connsiteY1" fmla="*/ 89802 h 898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920" h="89801">
                    <a:moveTo>
                      <a:pt x="0" y="0"/>
                    </a:moveTo>
                    <a:lnTo>
                      <a:pt x="0" y="89802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6" name="Forma livre: Forma 55">
                <a:extLst>
                  <a:ext uri="{FF2B5EF4-FFF2-40B4-BE49-F238E27FC236}">
                    <a16:creationId xmlns:a16="http://schemas.microsoft.com/office/drawing/2014/main" id="{028B3CCC-3ACD-15A5-7850-0DC1835663E9}"/>
                  </a:ext>
                </a:extLst>
              </p:cNvPr>
              <p:cNvSpPr/>
              <p:nvPr/>
            </p:nvSpPr>
            <p:spPr>
              <a:xfrm>
                <a:off x="2156746" y="2253603"/>
                <a:ext cx="4920" cy="132857"/>
              </a:xfrm>
              <a:custGeom>
                <a:avLst/>
                <a:gdLst>
                  <a:gd name="connsiteX0" fmla="*/ 0 w 4920"/>
                  <a:gd name="connsiteY0" fmla="*/ 0 h 132857"/>
                  <a:gd name="connsiteX1" fmla="*/ 0 w 4920"/>
                  <a:gd name="connsiteY1" fmla="*/ 132857 h 1328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920" h="132857">
                    <a:moveTo>
                      <a:pt x="0" y="0"/>
                    </a:moveTo>
                    <a:lnTo>
                      <a:pt x="0" y="132857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7" name="Forma livre: Forma 56">
                <a:extLst>
                  <a:ext uri="{FF2B5EF4-FFF2-40B4-BE49-F238E27FC236}">
                    <a16:creationId xmlns:a16="http://schemas.microsoft.com/office/drawing/2014/main" id="{F83F76DB-51AF-D258-AAB8-7640538632F0}"/>
                  </a:ext>
                </a:extLst>
              </p:cNvPr>
              <p:cNvSpPr/>
              <p:nvPr/>
            </p:nvSpPr>
            <p:spPr>
              <a:xfrm>
                <a:off x="2193601" y="2253603"/>
                <a:ext cx="4920" cy="78730"/>
              </a:xfrm>
              <a:custGeom>
                <a:avLst/>
                <a:gdLst>
                  <a:gd name="connsiteX0" fmla="*/ 0 w 4920"/>
                  <a:gd name="connsiteY0" fmla="*/ 0 h 78730"/>
                  <a:gd name="connsiteX1" fmla="*/ 0 w 4920"/>
                  <a:gd name="connsiteY1" fmla="*/ 78730 h 787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920" h="78730">
                    <a:moveTo>
                      <a:pt x="0" y="0"/>
                    </a:moveTo>
                    <a:lnTo>
                      <a:pt x="0" y="7873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8" name="Forma livre: Forma 57">
                <a:extLst>
                  <a:ext uri="{FF2B5EF4-FFF2-40B4-BE49-F238E27FC236}">
                    <a16:creationId xmlns:a16="http://schemas.microsoft.com/office/drawing/2014/main" id="{5EAADDD3-145F-79B7-C4E4-0AA520B1F308}"/>
                  </a:ext>
                </a:extLst>
              </p:cNvPr>
              <p:cNvSpPr/>
              <p:nvPr/>
            </p:nvSpPr>
            <p:spPr>
              <a:xfrm>
                <a:off x="2230408" y="2253603"/>
                <a:ext cx="4920" cy="109484"/>
              </a:xfrm>
              <a:custGeom>
                <a:avLst/>
                <a:gdLst>
                  <a:gd name="connsiteX0" fmla="*/ 0 w 4920"/>
                  <a:gd name="connsiteY0" fmla="*/ 0 h 109484"/>
                  <a:gd name="connsiteX1" fmla="*/ 0 w 4920"/>
                  <a:gd name="connsiteY1" fmla="*/ 109484 h 1094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920" h="109484">
                    <a:moveTo>
                      <a:pt x="0" y="0"/>
                    </a:moveTo>
                    <a:lnTo>
                      <a:pt x="0" y="109484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59" name="Gráfico 3">
            <a:extLst>
              <a:ext uri="{FF2B5EF4-FFF2-40B4-BE49-F238E27FC236}">
                <a16:creationId xmlns:a16="http://schemas.microsoft.com/office/drawing/2014/main" id="{8FBED2C2-0923-1136-C557-47362799B0C2}"/>
              </a:ext>
            </a:extLst>
          </p:cNvPr>
          <p:cNvGrpSpPr/>
          <p:nvPr/>
        </p:nvGrpSpPr>
        <p:grpSpPr>
          <a:xfrm>
            <a:off x="2021772" y="3247966"/>
            <a:ext cx="269946" cy="196038"/>
            <a:chOff x="2021772" y="3247966"/>
            <a:chExt cx="269946" cy="196038"/>
          </a:xfrm>
          <a:noFill/>
        </p:grpSpPr>
        <p:sp>
          <p:nvSpPr>
            <p:cNvPr id="60" name="Forma livre: Forma 59">
              <a:extLst>
                <a:ext uri="{FF2B5EF4-FFF2-40B4-BE49-F238E27FC236}">
                  <a16:creationId xmlns:a16="http://schemas.microsoft.com/office/drawing/2014/main" id="{F7424FCE-B94D-DC5A-02C6-9775270CA51B}"/>
                </a:ext>
              </a:extLst>
            </p:cNvPr>
            <p:cNvSpPr/>
            <p:nvPr/>
          </p:nvSpPr>
          <p:spPr>
            <a:xfrm>
              <a:off x="2021772" y="3247966"/>
              <a:ext cx="269946" cy="196038"/>
            </a:xfrm>
            <a:custGeom>
              <a:avLst/>
              <a:gdLst>
                <a:gd name="connsiteX0" fmla="*/ 255185 w 269946"/>
                <a:gd name="connsiteY0" fmla="*/ 0 h 196038"/>
                <a:gd name="connsiteX1" fmla="*/ 269947 w 269946"/>
                <a:gd name="connsiteY1" fmla="*/ 14762 h 196038"/>
                <a:gd name="connsiteX2" fmla="*/ 269947 w 269946"/>
                <a:gd name="connsiteY2" fmla="*/ 181276 h 196038"/>
                <a:gd name="connsiteX3" fmla="*/ 255185 w 269946"/>
                <a:gd name="connsiteY3" fmla="*/ 196038 h 196038"/>
                <a:gd name="connsiteX4" fmla="*/ 14762 w 269946"/>
                <a:gd name="connsiteY4" fmla="*/ 196038 h 196038"/>
                <a:gd name="connsiteX5" fmla="*/ 0 w 269946"/>
                <a:gd name="connsiteY5" fmla="*/ 181276 h 196038"/>
                <a:gd name="connsiteX6" fmla="*/ 0 w 269946"/>
                <a:gd name="connsiteY6" fmla="*/ 14762 h 196038"/>
                <a:gd name="connsiteX7" fmla="*/ 14762 w 269946"/>
                <a:gd name="connsiteY7" fmla="*/ 0 h 1960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69946" h="196038">
                  <a:moveTo>
                    <a:pt x="255185" y="0"/>
                  </a:moveTo>
                  <a:cubicBezTo>
                    <a:pt x="263338" y="0"/>
                    <a:pt x="269947" y="6609"/>
                    <a:pt x="269947" y="14762"/>
                  </a:cubicBezTo>
                  <a:lnTo>
                    <a:pt x="269947" y="181276"/>
                  </a:lnTo>
                  <a:cubicBezTo>
                    <a:pt x="269947" y="189429"/>
                    <a:pt x="263338" y="196038"/>
                    <a:pt x="255185" y="196038"/>
                  </a:cubicBezTo>
                  <a:lnTo>
                    <a:pt x="14762" y="196038"/>
                  </a:lnTo>
                  <a:cubicBezTo>
                    <a:pt x="6609" y="196038"/>
                    <a:pt x="0" y="189429"/>
                    <a:pt x="0" y="181276"/>
                  </a:cubicBezTo>
                  <a:lnTo>
                    <a:pt x="0" y="14762"/>
                  </a:lnTo>
                  <a:cubicBezTo>
                    <a:pt x="0" y="6609"/>
                    <a:pt x="6609" y="0"/>
                    <a:pt x="14762" y="0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61" name="Gráfico 3">
              <a:extLst>
                <a:ext uri="{FF2B5EF4-FFF2-40B4-BE49-F238E27FC236}">
                  <a16:creationId xmlns:a16="http://schemas.microsoft.com/office/drawing/2014/main" id="{305F3E9B-AC52-5E47-0682-C10A45EAFF2C}"/>
                </a:ext>
              </a:extLst>
            </p:cNvPr>
            <p:cNvGrpSpPr/>
            <p:nvPr/>
          </p:nvGrpSpPr>
          <p:grpSpPr>
            <a:xfrm>
              <a:off x="2030285" y="3363700"/>
              <a:ext cx="252921" cy="72973"/>
              <a:chOff x="2030285" y="3363700"/>
              <a:chExt cx="252921" cy="72973"/>
            </a:xfrm>
          </p:grpSpPr>
          <p:sp>
            <p:nvSpPr>
              <p:cNvPr id="62" name="Forma livre: Forma 61">
                <a:extLst>
                  <a:ext uri="{FF2B5EF4-FFF2-40B4-BE49-F238E27FC236}">
                    <a16:creationId xmlns:a16="http://schemas.microsoft.com/office/drawing/2014/main" id="{AD3CBE10-DE9D-0D9E-7E37-E598FB79DC26}"/>
                  </a:ext>
                </a:extLst>
              </p:cNvPr>
              <p:cNvSpPr/>
              <p:nvPr/>
            </p:nvSpPr>
            <p:spPr>
              <a:xfrm>
                <a:off x="2030285" y="3363700"/>
                <a:ext cx="61015" cy="72973"/>
              </a:xfrm>
              <a:custGeom>
                <a:avLst/>
                <a:gdLst>
                  <a:gd name="connsiteX0" fmla="*/ 61016 w 61015"/>
                  <a:gd name="connsiteY0" fmla="*/ 0 h 72973"/>
                  <a:gd name="connsiteX1" fmla="*/ 0 w 61015"/>
                  <a:gd name="connsiteY1" fmla="*/ 72973 h 729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1015" h="72973">
                    <a:moveTo>
                      <a:pt x="61016" y="0"/>
                    </a:moveTo>
                    <a:lnTo>
                      <a:pt x="0" y="72973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63" name="Forma livre: Forma 62">
                <a:extLst>
                  <a:ext uri="{FF2B5EF4-FFF2-40B4-BE49-F238E27FC236}">
                    <a16:creationId xmlns:a16="http://schemas.microsoft.com/office/drawing/2014/main" id="{3E27886B-9B98-0338-A448-E911C012469D}"/>
                  </a:ext>
                </a:extLst>
              </p:cNvPr>
              <p:cNvSpPr/>
              <p:nvPr/>
            </p:nvSpPr>
            <p:spPr>
              <a:xfrm>
                <a:off x="2222190" y="3363700"/>
                <a:ext cx="61015" cy="72973"/>
              </a:xfrm>
              <a:custGeom>
                <a:avLst/>
                <a:gdLst>
                  <a:gd name="connsiteX0" fmla="*/ 0 w 61015"/>
                  <a:gd name="connsiteY0" fmla="*/ 0 h 72973"/>
                  <a:gd name="connsiteX1" fmla="*/ 61016 w 61015"/>
                  <a:gd name="connsiteY1" fmla="*/ 72973 h 729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1015" h="72973">
                    <a:moveTo>
                      <a:pt x="0" y="0"/>
                    </a:moveTo>
                    <a:lnTo>
                      <a:pt x="61016" y="72973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64" name="Forma livre: Forma 63">
              <a:extLst>
                <a:ext uri="{FF2B5EF4-FFF2-40B4-BE49-F238E27FC236}">
                  <a16:creationId xmlns:a16="http://schemas.microsoft.com/office/drawing/2014/main" id="{6BE46760-51C9-04C7-DCB3-F0E80E8CBED2}"/>
                </a:ext>
              </a:extLst>
            </p:cNvPr>
            <p:cNvSpPr/>
            <p:nvPr/>
          </p:nvSpPr>
          <p:spPr>
            <a:xfrm>
              <a:off x="2027038" y="3252444"/>
              <a:ext cx="259121" cy="101266"/>
            </a:xfrm>
            <a:custGeom>
              <a:avLst/>
              <a:gdLst>
                <a:gd name="connsiteX0" fmla="*/ 0 w 259121"/>
                <a:gd name="connsiteY0" fmla="*/ 787 h 101266"/>
                <a:gd name="connsiteX1" fmla="*/ 130102 w 259121"/>
                <a:gd name="connsiteY1" fmla="*/ 101267 h 101266"/>
                <a:gd name="connsiteX2" fmla="*/ 259121 w 259121"/>
                <a:gd name="connsiteY2" fmla="*/ 0 h 1012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59121" h="101266">
                  <a:moveTo>
                    <a:pt x="0" y="787"/>
                  </a:moveTo>
                  <a:lnTo>
                    <a:pt x="130102" y="101267"/>
                  </a:lnTo>
                  <a:lnTo>
                    <a:pt x="259121" y="0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65" name="Gráfico 3">
            <a:extLst>
              <a:ext uri="{FF2B5EF4-FFF2-40B4-BE49-F238E27FC236}">
                <a16:creationId xmlns:a16="http://schemas.microsoft.com/office/drawing/2014/main" id="{0D8B0C20-F65C-621A-5677-BCEDA4B28BF2}"/>
              </a:ext>
            </a:extLst>
          </p:cNvPr>
          <p:cNvGrpSpPr/>
          <p:nvPr/>
        </p:nvGrpSpPr>
        <p:grpSpPr>
          <a:xfrm>
            <a:off x="2020592" y="2653159"/>
            <a:ext cx="272357" cy="272308"/>
            <a:chOff x="2020592" y="2653159"/>
            <a:chExt cx="272357" cy="272308"/>
          </a:xfrm>
          <a:noFill/>
        </p:grpSpPr>
        <p:grpSp>
          <p:nvGrpSpPr>
            <p:cNvPr id="66" name="Gráfico 3">
              <a:extLst>
                <a:ext uri="{FF2B5EF4-FFF2-40B4-BE49-F238E27FC236}">
                  <a16:creationId xmlns:a16="http://schemas.microsoft.com/office/drawing/2014/main" id="{127E15FE-F531-442A-6C02-B49F5980BA79}"/>
                </a:ext>
              </a:extLst>
            </p:cNvPr>
            <p:cNvGrpSpPr/>
            <p:nvPr/>
          </p:nvGrpSpPr>
          <p:grpSpPr>
            <a:xfrm>
              <a:off x="2156746" y="2657243"/>
              <a:ext cx="4920" cy="264189"/>
              <a:chOff x="2156746" y="2657243"/>
              <a:chExt cx="4920" cy="264189"/>
            </a:xfrm>
          </p:grpSpPr>
          <p:sp>
            <p:nvSpPr>
              <p:cNvPr id="67" name="Forma livre: Forma 66">
                <a:extLst>
                  <a:ext uri="{FF2B5EF4-FFF2-40B4-BE49-F238E27FC236}">
                    <a16:creationId xmlns:a16="http://schemas.microsoft.com/office/drawing/2014/main" id="{A8E8B495-8973-FC06-986F-737CFC73E4D4}"/>
                  </a:ext>
                </a:extLst>
              </p:cNvPr>
              <p:cNvSpPr/>
              <p:nvPr/>
            </p:nvSpPr>
            <p:spPr>
              <a:xfrm>
                <a:off x="2156746" y="2657243"/>
                <a:ext cx="4920" cy="33706"/>
              </a:xfrm>
              <a:custGeom>
                <a:avLst/>
                <a:gdLst>
                  <a:gd name="connsiteX0" fmla="*/ 0 w 4920"/>
                  <a:gd name="connsiteY0" fmla="*/ 0 h 33706"/>
                  <a:gd name="connsiteX1" fmla="*/ 0 w 4920"/>
                  <a:gd name="connsiteY1" fmla="*/ 33706 h 337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920" h="33706">
                    <a:moveTo>
                      <a:pt x="0" y="0"/>
                    </a:moveTo>
                    <a:lnTo>
                      <a:pt x="0" y="33706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68" name="Forma livre: Forma 67">
                <a:extLst>
                  <a:ext uri="{FF2B5EF4-FFF2-40B4-BE49-F238E27FC236}">
                    <a16:creationId xmlns:a16="http://schemas.microsoft.com/office/drawing/2014/main" id="{F2754CF3-B5CA-0A0B-A1B4-9B9248463C5C}"/>
                  </a:ext>
                </a:extLst>
              </p:cNvPr>
              <p:cNvSpPr/>
              <p:nvPr/>
            </p:nvSpPr>
            <p:spPr>
              <a:xfrm>
                <a:off x="2156746" y="2887677"/>
                <a:ext cx="4920" cy="33755"/>
              </a:xfrm>
              <a:custGeom>
                <a:avLst/>
                <a:gdLst>
                  <a:gd name="connsiteX0" fmla="*/ 0 w 4920"/>
                  <a:gd name="connsiteY0" fmla="*/ 0 h 33755"/>
                  <a:gd name="connsiteX1" fmla="*/ 0 w 4920"/>
                  <a:gd name="connsiteY1" fmla="*/ 33756 h 337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920" h="33755">
                    <a:moveTo>
                      <a:pt x="0" y="0"/>
                    </a:moveTo>
                    <a:lnTo>
                      <a:pt x="0" y="33756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69" name="Gráfico 3">
              <a:extLst>
                <a:ext uri="{FF2B5EF4-FFF2-40B4-BE49-F238E27FC236}">
                  <a16:creationId xmlns:a16="http://schemas.microsoft.com/office/drawing/2014/main" id="{44ABD412-A0F3-3A2A-7FFE-B797BD7F4482}"/>
                </a:ext>
              </a:extLst>
            </p:cNvPr>
            <p:cNvGrpSpPr/>
            <p:nvPr/>
          </p:nvGrpSpPr>
          <p:grpSpPr>
            <a:xfrm>
              <a:off x="2020592" y="2653159"/>
              <a:ext cx="272357" cy="272308"/>
              <a:chOff x="2020592" y="2653159"/>
              <a:chExt cx="272357" cy="272308"/>
            </a:xfrm>
            <a:noFill/>
          </p:grpSpPr>
          <p:sp>
            <p:nvSpPr>
              <p:cNvPr id="70" name="Forma livre: Forma 69">
                <a:extLst>
                  <a:ext uri="{FF2B5EF4-FFF2-40B4-BE49-F238E27FC236}">
                    <a16:creationId xmlns:a16="http://schemas.microsoft.com/office/drawing/2014/main" id="{4C6AAAC5-A723-DD69-884A-D17034AFE332}"/>
                  </a:ext>
                </a:extLst>
              </p:cNvPr>
              <p:cNvSpPr/>
              <p:nvPr/>
            </p:nvSpPr>
            <p:spPr>
              <a:xfrm>
                <a:off x="2254371" y="2789313"/>
                <a:ext cx="33755" cy="4920"/>
              </a:xfrm>
              <a:custGeom>
                <a:avLst/>
                <a:gdLst>
                  <a:gd name="connsiteX0" fmla="*/ 33756 w 33755"/>
                  <a:gd name="connsiteY0" fmla="*/ 0 h 4920"/>
                  <a:gd name="connsiteX1" fmla="*/ 0 w 33755"/>
                  <a:gd name="connsiteY1" fmla="*/ 0 h 49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3755" h="4920">
                    <a:moveTo>
                      <a:pt x="33756" y="0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1" name="Forma livre: Forma 70">
                <a:extLst>
                  <a:ext uri="{FF2B5EF4-FFF2-40B4-BE49-F238E27FC236}">
                    <a16:creationId xmlns:a16="http://schemas.microsoft.com/office/drawing/2014/main" id="{64CA7C55-5A35-ECAC-BCC8-AFA9E3A8212D}"/>
                  </a:ext>
                </a:extLst>
              </p:cNvPr>
              <p:cNvSpPr/>
              <p:nvPr/>
            </p:nvSpPr>
            <p:spPr>
              <a:xfrm>
                <a:off x="2023938" y="2789313"/>
                <a:ext cx="33706" cy="4920"/>
              </a:xfrm>
              <a:custGeom>
                <a:avLst/>
                <a:gdLst>
                  <a:gd name="connsiteX0" fmla="*/ 33706 w 33706"/>
                  <a:gd name="connsiteY0" fmla="*/ 0 h 4920"/>
                  <a:gd name="connsiteX1" fmla="*/ 0 w 33706"/>
                  <a:gd name="connsiteY1" fmla="*/ 0 h 49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3706" h="4920">
                    <a:moveTo>
                      <a:pt x="33706" y="0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2" name="Forma livre: Forma 71">
                <a:extLst>
                  <a:ext uri="{FF2B5EF4-FFF2-40B4-BE49-F238E27FC236}">
                    <a16:creationId xmlns:a16="http://schemas.microsoft.com/office/drawing/2014/main" id="{B2333EA8-C05C-8367-B6A3-B105D17AAD3A}"/>
                  </a:ext>
                </a:extLst>
              </p:cNvPr>
              <p:cNvSpPr/>
              <p:nvPr/>
            </p:nvSpPr>
            <p:spPr>
              <a:xfrm>
                <a:off x="2020592" y="2653159"/>
                <a:ext cx="272357" cy="272308"/>
              </a:xfrm>
              <a:custGeom>
                <a:avLst/>
                <a:gdLst>
                  <a:gd name="connsiteX0" fmla="*/ 272358 w 272357"/>
                  <a:gd name="connsiteY0" fmla="*/ 136154 h 272308"/>
                  <a:gd name="connsiteX1" fmla="*/ 136154 w 272357"/>
                  <a:gd name="connsiteY1" fmla="*/ 272308 h 272308"/>
                  <a:gd name="connsiteX2" fmla="*/ 0 w 272357"/>
                  <a:gd name="connsiteY2" fmla="*/ 136154 h 272308"/>
                  <a:gd name="connsiteX3" fmla="*/ 136154 w 272357"/>
                  <a:gd name="connsiteY3" fmla="*/ 0 h 272308"/>
                  <a:gd name="connsiteX4" fmla="*/ 272358 w 272357"/>
                  <a:gd name="connsiteY4" fmla="*/ 136154 h 2723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72357" h="272308">
                    <a:moveTo>
                      <a:pt x="272358" y="136154"/>
                    </a:moveTo>
                    <a:cubicBezTo>
                      <a:pt x="272358" y="211342"/>
                      <a:pt x="211391" y="272308"/>
                      <a:pt x="136154" y="272308"/>
                    </a:cubicBezTo>
                    <a:cubicBezTo>
                      <a:pt x="60918" y="272308"/>
                      <a:pt x="0" y="211342"/>
                      <a:pt x="0" y="136154"/>
                    </a:cubicBezTo>
                    <a:cubicBezTo>
                      <a:pt x="0" y="60967"/>
                      <a:pt x="60967" y="0"/>
                      <a:pt x="136154" y="0"/>
                    </a:cubicBezTo>
                    <a:cubicBezTo>
                      <a:pt x="211342" y="0"/>
                      <a:pt x="272358" y="60967"/>
                      <a:pt x="272358" y="136154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73" name="Forma livre: Forma 72">
              <a:extLst>
                <a:ext uri="{FF2B5EF4-FFF2-40B4-BE49-F238E27FC236}">
                  <a16:creationId xmlns:a16="http://schemas.microsoft.com/office/drawing/2014/main" id="{9661C8DD-11AE-D9FC-ED80-B594FE855905}"/>
                </a:ext>
              </a:extLst>
            </p:cNvPr>
            <p:cNvSpPr/>
            <p:nvPr/>
          </p:nvSpPr>
          <p:spPr>
            <a:xfrm>
              <a:off x="2111279" y="2732135"/>
              <a:ext cx="116028" cy="70217"/>
            </a:xfrm>
            <a:custGeom>
              <a:avLst/>
              <a:gdLst>
                <a:gd name="connsiteX0" fmla="*/ 116029 w 116028"/>
                <a:gd name="connsiteY0" fmla="*/ 0 h 70217"/>
                <a:gd name="connsiteX1" fmla="*/ 45811 w 116028"/>
                <a:gd name="connsiteY1" fmla="*/ 70218 h 70217"/>
                <a:gd name="connsiteX2" fmla="*/ 0 w 116028"/>
                <a:gd name="connsiteY2" fmla="*/ 26965 h 702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16028" h="70217">
                  <a:moveTo>
                    <a:pt x="116029" y="0"/>
                  </a:moveTo>
                  <a:lnTo>
                    <a:pt x="45811" y="70218"/>
                  </a:lnTo>
                  <a:lnTo>
                    <a:pt x="0" y="26965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74" name="Gráfico 3">
            <a:extLst>
              <a:ext uri="{FF2B5EF4-FFF2-40B4-BE49-F238E27FC236}">
                <a16:creationId xmlns:a16="http://schemas.microsoft.com/office/drawing/2014/main" id="{C27016EC-027F-632D-B1D9-874D31B9DCA6}"/>
              </a:ext>
            </a:extLst>
          </p:cNvPr>
          <p:cNvGrpSpPr/>
          <p:nvPr/>
        </p:nvGrpSpPr>
        <p:grpSpPr>
          <a:xfrm>
            <a:off x="720606" y="1000856"/>
            <a:ext cx="309164" cy="236978"/>
            <a:chOff x="720606" y="1000856"/>
            <a:chExt cx="309164" cy="236978"/>
          </a:xfrm>
          <a:noFill/>
        </p:grpSpPr>
        <p:sp>
          <p:nvSpPr>
            <p:cNvPr id="75" name="Forma livre: Forma 74">
              <a:extLst>
                <a:ext uri="{FF2B5EF4-FFF2-40B4-BE49-F238E27FC236}">
                  <a16:creationId xmlns:a16="http://schemas.microsoft.com/office/drawing/2014/main" id="{96251768-AEEC-EA95-258F-23C623CA3610}"/>
                </a:ext>
              </a:extLst>
            </p:cNvPr>
            <p:cNvSpPr/>
            <p:nvPr/>
          </p:nvSpPr>
          <p:spPr>
            <a:xfrm>
              <a:off x="720606" y="1237834"/>
              <a:ext cx="309164" cy="4920"/>
            </a:xfrm>
            <a:custGeom>
              <a:avLst/>
              <a:gdLst>
                <a:gd name="connsiteX0" fmla="*/ 0 w 309164"/>
                <a:gd name="connsiteY0" fmla="*/ 0 h 4920"/>
                <a:gd name="connsiteX1" fmla="*/ 309164 w 309164"/>
                <a:gd name="connsiteY1" fmla="*/ 0 h 49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09164" h="4920">
                  <a:moveTo>
                    <a:pt x="0" y="0"/>
                  </a:moveTo>
                  <a:lnTo>
                    <a:pt x="309164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76" name="Forma livre: Forma 75">
              <a:extLst>
                <a:ext uri="{FF2B5EF4-FFF2-40B4-BE49-F238E27FC236}">
                  <a16:creationId xmlns:a16="http://schemas.microsoft.com/office/drawing/2014/main" id="{78D7145A-E334-57B2-42BE-2557D000FE8D}"/>
                </a:ext>
              </a:extLst>
            </p:cNvPr>
            <p:cNvSpPr/>
            <p:nvPr/>
          </p:nvSpPr>
          <p:spPr>
            <a:xfrm>
              <a:off x="728676" y="1000856"/>
              <a:ext cx="293024" cy="200811"/>
            </a:xfrm>
            <a:custGeom>
              <a:avLst/>
              <a:gdLst>
                <a:gd name="connsiteX0" fmla="*/ 258580 w 293024"/>
                <a:gd name="connsiteY0" fmla="*/ 0 h 200811"/>
                <a:gd name="connsiteX1" fmla="*/ 293024 w 293024"/>
                <a:gd name="connsiteY1" fmla="*/ 34445 h 200811"/>
                <a:gd name="connsiteX2" fmla="*/ 293024 w 293024"/>
                <a:gd name="connsiteY2" fmla="*/ 166367 h 200811"/>
                <a:gd name="connsiteX3" fmla="*/ 258580 w 293024"/>
                <a:gd name="connsiteY3" fmla="*/ 200811 h 200811"/>
                <a:gd name="connsiteX4" fmla="*/ 34445 w 293024"/>
                <a:gd name="connsiteY4" fmla="*/ 200811 h 200811"/>
                <a:gd name="connsiteX5" fmla="*/ 0 w 293024"/>
                <a:gd name="connsiteY5" fmla="*/ 166367 h 200811"/>
                <a:gd name="connsiteX6" fmla="*/ 0 w 293024"/>
                <a:gd name="connsiteY6" fmla="*/ 34444 h 200811"/>
                <a:gd name="connsiteX7" fmla="*/ 34445 w 293024"/>
                <a:gd name="connsiteY7" fmla="*/ 0 h 2008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93024" h="200811">
                  <a:moveTo>
                    <a:pt x="258580" y="0"/>
                  </a:moveTo>
                  <a:cubicBezTo>
                    <a:pt x="277603" y="0"/>
                    <a:pt x="293024" y="15421"/>
                    <a:pt x="293024" y="34445"/>
                  </a:cubicBezTo>
                  <a:lnTo>
                    <a:pt x="293024" y="166367"/>
                  </a:lnTo>
                  <a:cubicBezTo>
                    <a:pt x="293024" y="185390"/>
                    <a:pt x="277603" y="200811"/>
                    <a:pt x="258580" y="200811"/>
                  </a:cubicBezTo>
                  <a:lnTo>
                    <a:pt x="34445" y="200811"/>
                  </a:lnTo>
                  <a:cubicBezTo>
                    <a:pt x="15421" y="200811"/>
                    <a:pt x="0" y="185390"/>
                    <a:pt x="0" y="166367"/>
                  </a:cubicBezTo>
                  <a:lnTo>
                    <a:pt x="0" y="34444"/>
                  </a:lnTo>
                  <a:cubicBezTo>
                    <a:pt x="0" y="15421"/>
                    <a:pt x="15421" y="0"/>
                    <a:pt x="34445" y="0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77" name="Gráfico 3">
            <a:extLst>
              <a:ext uri="{FF2B5EF4-FFF2-40B4-BE49-F238E27FC236}">
                <a16:creationId xmlns:a16="http://schemas.microsoft.com/office/drawing/2014/main" id="{A6158868-DC10-A4ED-B998-CA8FEF76EAFE}"/>
              </a:ext>
            </a:extLst>
          </p:cNvPr>
          <p:cNvGrpSpPr/>
          <p:nvPr/>
        </p:nvGrpSpPr>
        <p:grpSpPr>
          <a:xfrm>
            <a:off x="730694" y="1519049"/>
            <a:ext cx="288989" cy="313937"/>
            <a:chOff x="730694" y="1519049"/>
            <a:chExt cx="288989" cy="313937"/>
          </a:xfrm>
        </p:grpSpPr>
        <p:sp>
          <p:nvSpPr>
            <p:cNvPr id="78" name="Forma livre: Forma 77">
              <a:extLst>
                <a:ext uri="{FF2B5EF4-FFF2-40B4-BE49-F238E27FC236}">
                  <a16:creationId xmlns:a16="http://schemas.microsoft.com/office/drawing/2014/main" id="{7C7A7D43-E261-1D46-CC70-19D72629DF32}"/>
                </a:ext>
              </a:extLst>
            </p:cNvPr>
            <p:cNvSpPr/>
            <p:nvPr/>
          </p:nvSpPr>
          <p:spPr>
            <a:xfrm>
              <a:off x="839883" y="1744119"/>
              <a:ext cx="70611" cy="4920"/>
            </a:xfrm>
            <a:custGeom>
              <a:avLst/>
              <a:gdLst>
                <a:gd name="connsiteX0" fmla="*/ 0 w 70611"/>
                <a:gd name="connsiteY0" fmla="*/ 0 h 4920"/>
                <a:gd name="connsiteX1" fmla="*/ 70611 w 70611"/>
                <a:gd name="connsiteY1" fmla="*/ 0 h 49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0611" h="4920">
                  <a:moveTo>
                    <a:pt x="0" y="0"/>
                  </a:moveTo>
                  <a:lnTo>
                    <a:pt x="70611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79" name="Forma livre: Forma 78">
              <a:extLst>
                <a:ext uri="{FF2B5EF4-FFF2-40B4-BE49-F238E27FC236}">
                  <a16:creationId xmlns:a16="http://schemas.microsoft.com/office/drawing/2014/main" id="{7E045B59-4D9A-0478-B00C-80E004241572}"/>
                </a:ext>
              </a:extLst>
            </p:cNvPr>
            <p:cNvSpPr/>
            <p:nvPr/>
          </p:nvSpPr>
          <p:spPr>
            <a:xfrm>
              <a:off x="770206" y="1692453"/>
              <a:ext cx="210013" cy="4920"/>
            </a:xfrm>
            <a:custGeom>
              <a:avLst/>
              <a:gdLst>
                <a:gd name="connsiteX0" fmla="*/ 210013 w 210013"/>
                <a:gd name="connsiteY0" fmla="*/ 0 h 4920"/>
                <a:gd name="connsiteX1" fmla="*/ 0 w 210013"/>
                <a:gd name="connsiteY1" fmla="*/ 0 h 49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10013" h="4920">
                  <a:moveTo>
                    <a:pt x="210013" y="0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0" name="Forma livre: Forma 79">
              <a:extLst>
                <a:ext uri="{FF2B5EF4-FFF2-40B4-BE49-F238E27FC236}">
                  <a16:creationId xmlns:a16="http://schemas.microsoft.com/office/drawing/2014/main" id="{AAE68635-D630-4985-9972-EFD68C412FAC}"/>
                </a:ext>
              </a:extLst>
            </p:cNvPr>
            <p:cNvSpPr/>
            <p:nvPr/>
          </p:nvSpPr>
          <p:spPr>
            <a:xfrm>
              <a:off x="839341" y="1743480"/>
              <a:ext cx="71693" cy="4920"/>
            </a:xfrm>
            <a:custGeom>
              <a:avLst/>
              <a:gdLst>
                <a:gd name="connsiteX0" fmla="*/ 0 w 71693"/>
                <a:gd name="connsiteY0" fmla="*/ 0 h 4920"/>
                <a:gd name="connsiteX1" fmla="*/ 71694 w 71693"/>
                <a:gd name="connsiteY1" fmla="*/ 0 h 49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1693" h="4920">
                  <a:moveTo>
                    <a:pt x="0" y="0"/>
                  </a:moveTo>
                  <a:lnTo>
                    <a:pt x="71694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1" name="Forma livre: Forma 80">
              <a:extLst>
                <a:ext uri="{FF2B5EF4-FFF2-40B4-BE49-F238E27FC236}">
                  <a16:creationId xmlns:a16="http://schemas.microsoft.com/office/drawing/2014/main" id="{AD06B92A-E816-5ED1-567F-F8E2F3944CC1}"/>
                </a:ext>
              </a:extLst>
            </p:cNvPr>
            <p:cNvSpPr/>
            <p:nvPr/>
          </p:nvSpPr>
          <p:spPr>
            <a:xfrm>
              <a:off x="839341" y="1782156"/>
              <a:ext cx="71693" cy="4920"/>
            </a:xfrm>
            <a:custGeom>
              <a:avLst/>
              <a:gdLst>
                <a:gd name="connsiteX0" fmla="*/ 0 w 71693"/>
                <a:gd name="connsiteY0" fmla="*/ 0 h 4920"/>
                <a:gd name="connsiteX1" fmla="*/ 71694 w 71693"/>
                <a:gd name="connsiteY1" fmla="*/ 0 h 49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1693" h="4920">
                  <a:moveTo>
                    <a:pt x="0" y="0"/>
                  </a:moveTo>
                  <a:lnTo>
                    <a:pt x="71694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2" name="Forma livre: Forma 81">
              <a:extLst>
                <a:ext uri="{FF2B5EF4-FFF2-40B4-BE49-F238E27FC236}">
                  <a16:creationId xmlns:a16="http://schemas.microsoft.com/office/drawing/2014/main" id="{F779F6E4-5333-DCCE-B578-694B81B3AF25}"/>
                </a:ext>
              </a:extLst>
            </p:cNvPr>
            <p:cNvSpPr/>
            <p:nvPr/>
          </p:nvSpPr>
          <p:spPr>
            <a:xfrm>
              <a:off x="730694" y="1595171"/>
              <a:ext cx="288989" cy="149685"/>
            </a:xfrm>
            <a:custGeom>
              <a:avLst/>
              <a:gdLst>
                <a:gd name="connsiteX0" fmla="*/ 45221 w 288989"/>
                <a:gd name="connsiteY0" fmla="*/ 149686 h 149685"/>
                <a:gd name="connsiteX1" fmla="*/ 14762 w 288989"/>
                <a:gd name="connsiteY1" fmla="*/ 149686 h 149685"/>
                <a:gd name="connsiteX2" fmla="*/ 0 w 288989"/>
                <a:gd name="connsiteY2" fmla="*/ 134924 h 149685"/>
                <a:gd name="connsiteX3" fmla="*/ 0 w 288989"/>
                <a:gd name="connsiteY3" fmla="*/ 14762 h 149685"/>
                <a:gd name="connsiteX4" fmla="*/ 14762 w 288989"/>
                <a:gd name="connsiteY4" fmla="*/ 0 h 149685"/>
                <a:gd name="connsiteX5" fmla="*/ 274228 w 288989"/>
                <a:gd name="connsiteY5" fmla="*/ 0 h 149685"/>
                <a:gd name="connsiteX6" fmla="*/ 288989 w 288989"/>
                <a:gd name="connsiteY6" fmla="*/ 14762 h 149685"/>
                <a:gd name="connsiteX7" fmla="*/ 288989 w 288989"/>
                <a:gd name="connsiteY7" fmla="*/ 134924 h 149685"/>
                <a:gd name="connsiteX8" fmla="*/ 274228 w 288989"/>
                <a:gd name="connsiteY8" fmla="*/ 149686 h 149685"/>
                <a:gd name="connsiteX9" fmla="*/ 243277 w 288989"/>
                <a:gd name="connsiteY9" fmla="*/ 149686 h 1496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88989" h="149685">
                  <a:moveTo>
                    <a:pt x="45221" y="149686"/>
                  </a:moveTo>
                  <a:lnTo>
                    <a:pt x="14762" y="149686"/>
                  </a:lnTo>
                  <a:cubicBezTo>
                    <a:pt x="6643" y="149686"/>
                    <a:pt x="0" y="143043"/>
                    <a:pt x="0" y="134924"/>
                  </a:cubicBezTo>
                  <a:lnTo>
                    <a:pt x="0" y="14762"/>
                  </a:lnTo>
                  <a:cubicBezTo>
                    <a:pt x="0" y="6643"/>
                    <a:pt x="6643" y="0"/>
                    <a:pt x="14762" y="0"/>
                  </a:cubicBezTo>
                  <a:lnTo>
                    <a:pt x="274228" y="0"/>
                  </a:lnTo>
                  <a:cubicBezTo>
                    <a:pt x="282347" y="0"/>
                    <a:pt x="288989" y="6643"/>
                    <a:pt x="288989" y="14762"/>
                  </a:cubicBezTo>
                  <a:lnTo>
                    <a:pt x="288989" y="134924"/>
                  </a:lnTo>
                  <a:cubicBezTo>
                    <a:pt x="288989" y="143043"/>
                    <a:pt x="282347" y="149686"/>
                    <a:pt x="274228" y="149686"/>
                  </a:cubicBezTo>
                  <a:lnTo>
                    <a:pt x="243277" y="149686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3" name="Forma livre: Forma 82">
              <a:extLst>
                <a:ext uri="{FF2B5EF4-FFF2-40B4-BE49-F238E27FC236}">
                  <a16:creationId xmlns:a16="http://schemas.microsoft.com/office/drawing/2014/main" id="{AEFBD210-B888-7059-9DE5-A559AEDBF3E4}"/>
                </a:ext>
              </a:extLst>
            </p:cNvPr>
            <p:cNvSpPr/>
            <p:nvPr/>
          </p:nvSpPr>
          <p:spPr>
            <a:xfrm>
              <a:off x="800222" y="1692649"/>
              <a:ext cx="149932" cy="140336"/>
            </a:xfrm>
            <a:custGeom>
              <a:avLst/>
              <a:gdLst>
                <a:gd name="connsiteX0" fmla="*/ 149932 w 149932"/>
                <a:gd name="connsiteY0" fmla="*/ 0 h 140336"/>
                <a:gd name="connsiteX1" fmla="*/ 149932 w 149932"/>
                <a:gd name="connsiteY1" fmla="*/ 140337 h 140336"/>
                <a:gd name="connsiteX2" fmla="*/ 0 w 149932"/>
                <a:gd name="connsiteY2" fmla="*/ 140337 h 140336"/>
                <a:gd name="connsiteX3" fmla="*/ 0 w 149932"/>
                <a:gd name="connsiteY3" fmla="*/ 0 h 1403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9932" h="140336">
                  <a:moveTo>
                    <a:pt x="149932" y="0"/>
                  </a:moveTo>
                  <a:lnTo>
                    <a:pt x="149932" y="140337"/>
                  </a:lnTo>
                  <a:lnTo>
                    <a:pt x="0" y="140337"/>
                  </a:lnTo>
                  <a:lnTo>
                    <a:pt x="0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4" name="Forma livre: Forma 83">
              <a:extLst>
                <a:ext uri="{FF2B5EF4-FFF2-40B4-BE49-F238E27FC236}">
                  <a16:creationId xmlns:a16="http://schemas.microsoft.com/office/drawing/2014/main" id="{5385AC23-B7A1-E480-DF1A-8BA4944AF1F4}"/>
                </a:ext>
              </a:extLst>
            </p:cNvPr>
            <p:cNvSpPr/>
            <p:nvPr/>
          </p:nvSpPr>
          <p:spPr>
            <a:xfrm>
              <a:off x="800222" y="1519049"/>
              <a:ext cx="149932" cy="75433"/>
            </a:xfrm>
            <a:custGeom>
              <a:avLst/>
              <a:gdLst>
                <a:gd name="connsiteX0" fmla="*/ 0 w 149932"/>
                <a:gd name="connsiteY0" fmla="*/ 75433 h 75433"/>
                <a:gd name="connsiteX1" fmla="*/ 0 w 149932"/>
                <a:gd name="connsiteY1" fmla="*/ 0 h 75433"/>
                <a:gd name="connsiteX2" fmla="*/ 149932 w 149932"/>
                <a:gd name="connsiteY2" fmla="*/ 0 h 75433"/>
                <a:gd name="connsiteX3" fmla="*/ 149932 w 149932"/>
                <a:gd name="connsiteY3" fmla="*/ 75433 h 754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9932" h="75433">
                  <a:moveTo>
                    <a:pt x="0" y="75433"/>
                  </a:moveTo>
                  <a:lnTo>
                    <a:pt x="0" y="0"/>
                  </a:lnTo>
                  <a:lnTo>
                    <a:pt x="149932" y="0"/>
                  </a:lnTo>
                  <a:lnTo>
                    <a:pt x="149932" y="75433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5" name="Forma livre: Forma 84">
              <a:extLst>
                <a:ext uri="{FF2B5EF4-FFF2-40B4-BE49-F238E27FC236}">
                  <a16:creationId xmlns:a16="http://schemas.microsoft.com/office/drawing/2014/main" id="{E111907B-6386-085C-9549-063E86A11FCB}"/>
                </a:ext>
              </a:extLst>
            </p:cNvPr>
            <p:cNvSpPr/>
            <p:nvPr/>
          </p:nvSpPr>
          <p:spPr>
            <a:xfrm>
              <a:off x="771781" y="1633503"/>
              <a:ext cx="7676" cy="7676"/>
            </a:xfrm>
            <a:custGeom>
              <a:avLst/>
              <a:gdLst>
                <a:gd name="connsiteX0" fmla="*/ 7676 w 7676"/>
                <a:gd name="connsiteY0" fmla="*/ 3838 h 7676"/>
                <a:gd name="connsiteX1" fmla="*/ 3838 w 7676"/>
                <a:gd name="connsiteY1" fmla="*/ 7676 h 7676"/>
                <a:gd name="connsiteX2" fmla="*/ 0 w 7676"/>
                <a:gd name="connsiteY2" fmla="*/ 3838 h 7676"/>
                <a:gd name="connsiteX3" fmla="*/ 3838 w 7676"/>
                <a:gd name="connsiteY3" fmla="*/ 0 h 7676"/>
                <a:gd name="connsiteX4" fmla="*/ 7676 w 7676"/>
                <a:gd name="connsiteY4" fmla="*/ 3838 h 76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76" h="7676">
                  <a:moveTo>
                    <a:pt x="7676" y="3838"/>
                  </a:moveTo>
                  <a:cubicBezTo>
                    <a:pt x="7676" y="5954"/>
                    <a:pt x="5954" y="7676"/>
                    <a:pt x="3838" y="7676"/>
                  </a:cubicBezTo>
                  <a:cubicBezTo>
                    <a:pt x="1722" y="7676"/>
                    <a:pt x="0" y="5954"/>
                    <a:pt x="0" y="3838"/>
                  </a:cubicBezTo>
                  <a:cubicBezTo>
                    <a:pt x="0" y="1722"/>
                    <a:pt x="1722" y="0"/>
                    <a:pt x="3838" y="0"/>
                  </a:cubicBezTo>
                  <a:cubicBezTo>
                    <a:pt x="5954" y="0"/>
                    <a:pt x="7676" y="1722"/>
                    <a:pt x="7676" y="3838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86" name="Gráfico 3">
            <a:extLst>
              <a:ext uri="{FF2B5EF4-FFF2-40B4-BE49-F238E27FC236}">
                <a16:creationId xmlns:a16="http://schemas.microsoft.com/office/drawing/2014/main" id="{52996FCB-2D30-2958-7DD7-BF1565017BF0}"/>
              </a:ext>
            </a:extLst>
          </p:cNvPr>
          <p:cNvGrpSpPr/>
          <p:nvPr/>
        </p:nvGrpSpPr>
        <p:grpSpPr>
          <a:xfrm>
            <a:off x="808904" y="2057663"/>
            <a:ext cx="126390" cy="357888"/>
            <a:chOff x="813410" y="2057663"/>
            <a:chExt cx="123606" cy="350005"/>
          </a:xfrm>
          <a:noFill/>
        </p:grpSpPr>
        <p:sp>
          <p:nvSpPr>
            <p:cNvPr id="87" name="Forma livre: Forma 86">
              <a:extLst>
                <a:ext uri="{FF2B5EF4-FFF2-40B4-BE49-F238E27FC236}">
                  <a16:creationId xmlns:a16="http://schemas.microsoft.com/office/drawing/2014/main" id="{3B241117-EE21-E34F-37EE-B694C7CE1075}"/>
                </a:ext>
              </a:extLst>
            </p:cNvPr>
            <p:cNvSpPr/>
            <p:nvPr/>
          </p:nvSpPr>
          <p:spPr>
            <a:xfrm>
              <a:off x="813410" y="2171723"/>
              <a:ext cx="123606" cy="235944"/>
            </a:xfrm>
            <a:custGeom>
              <a:avLst/>
              <a:gdLst>
                <a:gd name="connsiteX0" fmla="*/ 92459 w 123606"/>
                <a:gd name="connsiteY0" fmla="*/ 235945 h 235944"/>
                <a:gd name="connsiteX1" fmla="*/ 92459 w 123606"/>
                <a:gd name="connsiteY1" fmla="*/ 140730 h 235944"/>
                <a:gd name="connsiteX2" fmla="*/ 99003 w 123606"/>
                <a:gd name="connsiteY2" fmla="*/ 140730 h 235944"/>
                <a:gd name="connsiteX3" fmla="*/ 123607 w 123606"/>
                <a:gd name="connsiteY3" fmla="*/ 116127 h 235944"/>
                <a:gd name="connsiteX4" fmla="*/ 123607 w 123606"/>
                <a:gd name="connsiteY4" fmla="*/ 24603 h 235944"/>
                <a:gd name="connsiteX5" fmla="*/ 99003 w 123606"/>
                <a:gd name="connsiteY5" fmla="*/ 0 h 235944"/>
                <a:gd name="connsiteX6" fmla="*/ 24603 w 123606"/>
                <a:gd name="connsiteY6" fmla="*/ 0 h 235944"/>
                <a:gd name="connsiteX7" fmla="*/ 0 w 123606"/>
                <a:gd name="connsiteY7" fmla="*/ 24603 h 235944"/>
                <a:gd name="connsiteX8" fmla="*/ 0 w 123606"/>
                <a:gd name="connsiteY8" fmla="*/ 116127 h 235944"/>
                <a:gd name="connsiteX9" fmla="*/ 24603 w 123606"/>
                <a:gd name="connsiteY9" fmla="*/ 140730 h 235944"/>
                <a:gd name="connsiteX10" fmla="*/ 31148 w 123606"/>
                <a:gd name="connsiteY10" fmla="*/ 140730 h 235944"/>
                <a:gd name="connsiteX11" fmla="*/ 31148 w 123606"/>
                <a:gd name="connsiteY11" fmla="*/ 235945 h 235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23606" h="235944">
                  <a:moveTo>
                    <a:pt x="92459" y="235945"/>
                  </a:moveTo>
                  <a:lnTo>
                    <a:pt x="92459" y="140730"/>
                  </a:lnTo>
                  <a:lnTo>
                    <a:pt x="99003" y="140730"/>
                  </a:lnTo>
                  <a:cubicBezTo>
                    <a:pt x="112535" y="140730"/>
                    <a:pt x="123607" y="129659"/>
                    <a:pt x="123607" y="116127"/>
                  </a:cubicBezTo>
                  <a:lnTo>
                    <a:pt x="123607" y="24603"/>
                  </a:lnTo>
                  <a:cubicBezTo>
                    <a:pt x="123607" y="11071"/>
                    <a:pt x="112535" y="0"/>
                    <a:pt x="99003" y="0"/>
                  </a:cubicBezTo>
                  <a:lnTo>
                    <a:pt x="24603" y="0"/>
                  </a:lnTo>
                  <a:cubicBezTo>
                    <a:pt x="11071" y="0"/>
                    <a:pt x="0" y="11071"/>
                    <a:pt x="0" y="24603"/>
                  </a:cubicBezTo>
                  <a:lnTo>
                    <a:pt x="0" y="116127"/>
                  </a:lnTo>
                  <a:cubicBezTo>
                    <a:pt x="0" y="129659"/>
                    <a:pt x="11071" y="140730"/>
                    <a:pt x="24603" y="140730"/>
                  </a:cubicBezTo>
                  <a:lnTo>
                    <a:pt x="31148" y="140730"/>
                  </a:lnTo>
                  <a:lnTo>
                    <a:pt x="31148" y="235945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8" name="Forma livre: Forma 87">
              <a:extLst>
                <a:ext uri="{FF2B5EF4-FFF2-40B4-BE49-F238E27FC236}">
                  <a16:creationId xmlns:a16="http://schemas.microsoft.com/office/drawing/2014/main" id="{39BE3F0E-6D65-ADDC-CA2B-0D47FE472C1F}"/>
                </a:ext>
              </a:extLst>
            </p:cNvPr>
            <p:cNvSpPr/>
            <p:nvPr/>
          </p:nvSpPr>
          <p:spPr>
            <a:xfrm>
              <a:off x="836537" y="2057663"/>
              <a:ext cx="77352" cy="77352"/>
            </a:xfrm>
            <a:custGeom>
              <a:avLst/>
              <a:gdLst>
                <a:gd name="connsiteX0" fmla="*/ 77353 w 77352"/>
                <a:gd name="connsiteY0" fmla="*/ 38676 h 77352"/>
                <a:gd name="connsiteX1" fmla="*/ 38676 w 77352"/>
                <a:gd name="connsiteY1" fmla="*/ 77353 h 77352"/>
                <a:gd name="connsiteX2" fmla="*/ 0 w 77352"/>
                <a:gd name="connsiteY2" fmla="*/ 38676 h 77352"/>
                <a:gd name="connsiteX3" fmla="*/ 38676 w 77352"/>
                <a:gd name="connsiteY3" fmla="*/ 0 h 77352"/>
                <a:gd name="connsiteX4" fmla="*/ 77353 w 77352"/>
                <a:gd name="connsiteY4" fmla="*/ 38676 h 773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7352" h="77352">
                  <a:moveTo>
                    <a:pt x="77353" y="38676"/>
                  </a:moveTo>
                  <a:cubicBezTo>
                    <a:pt x="77353" y="60032"/>
                    <a:pt x="60032" y="77353"/>
                    <a:pt x="38676" y="77353"/>
                  </a:cubicBezTo>
                  <a:cubicBezTo>
                    <a:pt x="17321" y="77353"/>
                    <a:pt x="0" y="60032"/>
                    <a:pt x="0" y="38676"/>
                  </a:cubicBezTo>
                  <a:cubicBezTo>
                    <a:pt x="0" y="17321"/>
                    <a:pt x="17321" y="0"/>
                    <a:pt x="38676" y="0"/>
                  </a:cubicBezTo>
                  <a:cubicBezTo>
                    <a:pt x="60032" y="0"/>
                    <a:pt x="77353" y="17321"/>
                    <a:pt x="77353" y="38676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89" name="Gráfico 3">
            <a:extLst>
              <a:ext uri="{FF2B5EF4-FFF2-40B4-BE49-F238E27FC236}">
                <a16:creationId xmlns:a16="http://schemas.microsoft.com/office/drawing/2014/main" id="{EE179407-78A5-4268-9039-00B19D1D1B6B}"/>
              </a:ext>
            </a:extLst>
          </p:cNvPr>
          <p:cNvGrpSpPr/>
          <p:nvPr/>
        </p:nvGrpSpPr>
        <p:grpSpPr>
          <a:xfrm>
            <a:off x="768583" y="3203828"/>
            <a:ext cx="213211" cy="284265"/>
            <a:chOff x="768583" y="3203828"/>
            <a:chExt cx="213211" cy="284265"/>
          </a:xfrm>
          <a:noFill/>
        </p:grpSpPr>
        <p:grpSp>
          <p:nvGrpSpPr>
            <p:cNvPr id="90" name="Gráfico 3">
              <a:extLst>
                <a:ext uri="{FF2B5EF4-FFF2-40B4-BE49-F238E27FC236}">
                  <a16:creationId xmlns:a16="http://schemas.microsoft.com/office/drawing/2014/main" id="{EC4CE579-5B34-29D2-8DA3-4C3AB806ED2F}"/>
                </a:ext>
              </a:extLst>
            </p:cNvPr>
            <p:cNvGrpSpPr/>
            <p:nvPr/>
          </p:nvGrpSpPr>
          <p:grpSpPr>
            <a:xfrm>
              <a:off x="818626" y="3344411"/>
              <a:ext cx="113174" cy="83454"/>
              <a:chOff x="818626" y="3344411"/>
              <a:chExt cx="113174" cy="83454"/>
            </a:xfrm>
          </p:grpSpPr>
          <p:sp>
            <p:nvSpPr>
              <p:cNvPr id="91" name="Forma livre: Forma 90">
                <a:extLst>
                  <a:ext uri="{FF2B5EF4-FFF2-40B4-BE49-F238E27FC236}">
                    <a16:creationId xmlns:a16="http://schemas.microsoft.com/office/drawing/2014/main" id="{DF18459B-C68A-14F4-CE4C-290A314AFBAA}"/>
                  </a:ext>
                </a:extLst>
              </p:cNvPr>
              <p:cNvSpPr/>
              <p:nvPr/>
            </p:nvSpPr>
            <p:spPr>
              <a:xfrm>
                <a:off x="818626" y="3344411"/>
                <a:ext cx="113174" cy="4920"/>
              </a:xfrm>
              <a:custGeom>
                <a:avLst/>
                <a:gdLst>
                  <a:gd name="connsiteX0" fmla="*/ 0 w 113174"/>
                  <a:gd name="connsiteY0" fmla="*/ 0 h 4920"/>
                  <a:gd name="connsiteX1" fmla="*/ 113175 w 113174"/>
                  <a:gd name="connsiteY1" fmla="*/ 0 h 49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3174" h="4920">
                    <a:moveTo>
                      <a:pt x="0" y="0"/>
                    </a:moveTo>
                    <a:lnTo>
                      <a:pt x="113175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2" name="Forma livre: Forma 91">
                <a:extLst>
                  <a:ext uri="{FF2B5EF4-FFF2-40B4-BE49-F238E27FC236}">
                    <a16:creationId xmlns:a16="http://schemas.microsoft.com/office/drawing/2014/main" id="{C101E561-5DBB-AFE6-8A33-9DCD1B58D6C8}"/>
                  </a:ext>
                </a:extLst>
              </p:cNvPr>
              <p:cNvSpPr/>
              <p:nvPr/>
            </p:nvSpPr>
            <p:spPr>
              <a:xfrm>
                <a:off x="818626" y="3386138"/>
                <a:ext cx="113174" cy="4920"/>
              </a:xfrm>
              <a:custGeom>
                <a:avLst/>
                <a:gdLst>
                  <a:gd name="connsiteX0" fmla="*/ 0 w 113174"/>
                  <a:gd name="connsiteY0" fmla="*/ 0 h 4920"/>
                  <a:gd name="connsiteX1" fmla="*/ 113175 w 113174"/>
                  <a:gd name="connsiteY1" fmla="*/ 0 h 49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3174" h="4920">
                    <a:moveTo>
                      <a:pt x="0" y="0"/>
                    </a:moveTo>
                    <a:lnTo>
                      <a:pt x="113175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3" name="Forma livre: Forma 92">
                <a:extLst>
                  <a:ext uri="{FF2B5EF4-FFF2-40B4-BE49-F238E27FC236}">
                    <a16:creationId xmlns:a16="http://schemas.microsoft.com/office/drawing/2014/main" id="{6F27E959-651A-0413-7F49-32DB44193933}"/>
                  </a:ext>
                </a:extLst>
              </p:cNvPr>
              <p:cNvSpPr/>
              <p:nvPr/>
            </p:nvSpPr>
            <p:spPr>
              <a:xfrm>
                <a:off x="818626" y="3427865"/>
                <a:ext cx="113174" cy="4920"/>
              </a:xfrm>
              <a:custGeom>
                <a:avLst/>
                <a:gdLst>
                  <a:gd name="connsiteX0" fmla="*/ 0 w 113174"/>
                  <a:gd name="connsiteY0" fmla="*/ 0 h 4920"/>
                  <a:gd name="connsiteX1" fmla="*/ 113175 w 113174"/>
                  <a:gd name="connsiteY1" fmla="*/ 0 h 49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3174" h="4920">
                    <a:moveTo>
                      <a:pt x="0" y="0"/>
                    </a:moveTo>
                    <a:lnTo>
                      <a:pt x="113175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94" name="Forma livre: Forma 93">
              <a:extLst>
                <a:ext uri="{FF2B5EF4-FFF2-40B4-BE49-F238E27FC236}">
                  <a16:creationId xmlns:a16="http://schemas.microsoft.com/office/drawing/2014/main" id="{17D19206-DD68-DCBE-84C6-40C8DC977DE2}"/>
                </a:ext>
              </a:extLst>
            </p:cNvPr>
            <p:cNvSpPr/>
            <p:nvPr/>
          </p:nvSpPr>
          <p:spPr>
            <a:xfrm>
              <a:off x="768583" y="3203828"/>
              <a:ext cx="213211" cy="284265"/>
            </a:xfrm>
            <a:custGeom>
              <a:avLst/>
              <a:gdLst>
                <a:gd name="connsiteX0" fmla="*/ 193529 w 213211"/>
                <a:gd name="connsiteY0" fmla="*/ 0 h 284265"/>
                <a:gd name="connsiteX1" fmla="*/ 54914 w 213211"/>
                <a:gd name="connsiteY1" fmla="*/ 0 h 284265"/>
                <a:gd name="connsiteX2" fmla="*/ 0 w 213211"/>
                <a:gd name="connsiteY2" fmla="*/ 47681 h 284265"/>
                <a:gd name="connsiteX3" fmla="*/ 0 w 213211"/>
                <a:gd name="connsiteY3" fmla="*/ 264583 h 284265"/>
                <a:gd name="connsiteX4" fmla="*/ 19683 w 213211"/>
                <a:gd name="connsiteY4" fmla="*/ 284266 h 284265"/>
                <a:gd name="connsiteX5" fmla="*/ 193529 w 213211"/>
                <a:gd name="connsiteY5" fmla="*/ 284266 h 284265"/>
                <a:gd name="connsiteX6" fmla="*/ 213212 w 213211"/>
                <a:gd name="connsiteY6" fmla="*/ 264583 h 284265"/>
                <a:gd name="connsiteX7" fmla="*/ 213212 w 213211"/>
                <a:gd name="connsiteY7" fmla="*/ 19683 h 284265"/>
                <a:gd name="connsiteX8" fmla="*/ 193529 w 213211"/>
                <a:gd name="connsiteY8" fmla="*/ 0 h 2842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3211" h="284265">
                  <a:moveTo>
                    <a:pt x="193529" y="0"/>
                  </a:moveTo>
                  <a:lnTo>
                    <a:pt x="54914" y="0"/>
                  </a:lnTo>
                  <a:lnTo>
                    <a:pt x="0" y="47681"/>
                  </a:lnTo>
                  <a:lnTo>
                    <a:pt x="0" y="264583"/>
                  </a:lnTo>
                  <a:cubicBezTo>
                    <a:pt x="0" y="275408"/>
                    <a:pt x="8857" y="284266"/>
                    <a:pt x="19683" y="284266"/>
                  </a:cubicBezTo>
                  <a:lnTo>
                    <a:pt x="193529" y="284266"/>
                  </a:lnTo>
                  <a:cubicBezTo>
                    <a:pt x="204354" y="284266"/>
                    <a:pt x="213212" y="275408"/>
                    <a:pt x="213212" y="264583"/>
                  </a:cubicBezTo>
                  <a:lnTo>
                    <a:pt x="213212" y="19683"/>
                  </a:lnTo>
                  <a:cubicBezTo>
                    <a:pt x="213212" y="8857"/>
                    <a:pt x="204354" y="0"/>
                    <a:pt x="193529" y="0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5" name="Forma livre: Forma 94">
              <a:extLst>
                <a:ext uri="{FF2B5EF4-FFF2-40B4-BE49-F238E27FC236}">
                  <a16:creationId xmlns:a16="http://schemas.microsoft.com/office/drawing/2014/main" id="{AC8DF716-ACBE-2C22-4C49-83A43999979C}"/>
                </a:ext>
              </a:extLst>
            </p:cNvPr>
            <p:cNvSpPr/>
            <p:nvPr/>
          </p:nvSpPr>
          <p:spPr>
            <a:xfrm>
              <a:off x="804306" y="3207666"/>
              <a:ext cx="37003" cy="60573"/>
            </a:xfrm>
            <a:custGeom>
              <a:avLst/>
              <a:gdLst>
                <a:gd name="connsiteX0" fmla="*/ 37003 w 37003"/>
                <a:gd name="connsiteY0" fmla="*/ 0 h 60573"/>
                <a:gd name="connsiteX1" fmla="*/ 37003 w 37003"/>
                <a:gd name="connsiteY1" fmla="*/ 60573 h 60573"/>
                <a:gd name="connsiteX2" fmla="*/ 0 w 37003"/>
                <a:gd name="connsiteY2" fmla="*/ 60573 h 605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7003" h="60573">
                  <a:moveTo>
                    <a:pt x="37003" y="0"/>
                  </a:moveTo>
                  <a:lnTo>
                    <a:pt x="37003" y="60573"/>
                  </a:lnTo>
                  <a:lnTo>
                    <a:pt x="0" y="60573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96" name="Gráfico 3">
            <a:extLst>
              <a:ext uri="{FF2B5EF4-FFF2-40B4-BE49-F238E27FC236}">
                <a16:creationId xmlns:a16="http://schemas.microsoft.com/office/drawing/2014/main" id="{B952AE6D-8D0E-1A8D-A816-6FCC664D4992}"/>
              </a:ext>
            </a:extLst>
          </p:cNvPr>
          <p:cNvGrpSpPr/>
          <p:nvPr/>
        </p:nvGrpSpPr>
        <p:grpSpPr>
          <a:xfrm>
            <a:off x="741224" y="2639234"/>
            <a:ext cx="276835" cy="300208"/>
            <a:chOff x="741224" y="2639234"/>
            <a:chExt cx="276835" cy="300208"/>
          </a:xfrm>
          <a:noFill/>
        </p:grpSpPr>
        <p:sp>
          <p:nvSpPr>
            <p:cNvPr id="97" name="Forma livre: Forma 96">
              <a:extLst>
                <a:ext uri="{FF2B5EF4-FFF2-40B4-BE49-F238E27FC236}">
                  <a16:creationId xmlns:a16="http://schemas.microsoft.com/office/drawing/2014/main" id="{50C6F095-9239-93CF-2A8D-C6B1E0016BA5}"/>
                </a:ext>
              </a:extLst>
            </p:cNvPr>
            <p:cNvSpPr/>
            <p:nvPr/>
          </p:nvSpPr>
          <p:spPr>
            <a:xfrm>
              <a:off x="959651" y="2767515"/>
              <a:ext cx="58408" cy="78041"/>
            </a:xfrm>
            <a:custGeom>
              <a:avLst/>
              <a:gdLst>
                <a:gd name="connsiteX0" fmla="*/ 0 w 58408"/>
                <a:gd name="connsiteY0" fmla="*/ 3297 h 78041"/>
                <a:gd name="connsiteX1" fmla="*/ 16730 w 58408"/>
                <a:gd name="connsiteY1" fmla="*/ 0 h 78041"/>
                <a:gd name="connsiteX2" fmla="*/ 58408 w 58408"/>
                <a:gd name="connsiteY2" fmla="*/ 39021 h 78041"/>
                <a:gd name="connsiteX3" fmla="*/ 16730 w 58408"/>
                <a:gd name="connsiteY3" fmla="*/ 78041 h 78041"/>
                <a:gd name="connsiteX4" fmla="*/ 837 w 58408"/>
                <a:gd name="connsiteY4" fmla="*/ 75089 h 780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8408" h="78041">
                  <a:moveTo>
                    <a:pt x="0" y="3297"/>
                  </a:moveTo>
                  <a:cubicBezTo>
                    <a:pt x="5117" y="1181"/>
                    <a:pt x="10776" y="0"/>
                    <a:pt x="16730" y="0"/>
                  </a:cubicBezTo>
                  <a:cubicBezTo>
                    <a:pt x="39759" y="0"/>
                    <a:pt x="58408" y="17468"/>
                    <a:pt x="58408" y="39021"/>
                  </a:cubicBezTo>
                  <a:cubicBezTo>
                    <a:pt x="58408" y="60573"/>
                    <a:pt x="39759" y="78041"/>
                    <a:pt x="16730" y="78041"/>
                  </a:cubicBezTo>
                  <a:cubicBezTo>
                    <a:pt x="11121" y="78041"/>
                    <a:pt x="5708" y="77008"/>
                    <a:pt x="837" y="75089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8" name="Forma livre: Forma 97">
              <a:extLst>
                <a:ext uri="{FF2B5EF4-FFF2-40B4-BE49-F238E27FC236}">
                  <a16:creationId xmlns:a16="http://schemas.microsoft.com/office/drawing/2014/main" id="{1742AEA5-374A-89BB-B871-0DADF0D45F28}"/>
                </a:ext>
              </a:extLst>
            </p:cNvPr>
            <p:cNvSpPr/>
            <p:nvPr/>
          </p:nvSpPr>
          <p:spPr>
            <a:xfrm>
              <a:off x="741224" y="2939442"/>
              <a:ext cx="233238" cy="4920"/>
            </a:xfrm>
            <a:custGeom>
              <a:avLst/>
              <a:gdLst>
                <a:gd name="connsiteX0" fmla="*/ 0 w 233238"/>
                <a:gd name="connsiteY0" fmla="*/ 0 h 4920"/>
                <a:gd name="connsiteX1" fmla="*/ 233239 w 233238"/>
                <a:gd name="connsiteY1" fmla="*/ 0 h 49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33238" h="4920">
                  <a:moveTo>
                    <a:pt x="0" y="0"/>
                  </a:moveTo>
                  <a:lnTo>
                    <a:pt x="233239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9" name="Forma livre: Forma 98">
              <a:extLst>
                <a:ext uri="{FF2B5EF4-FFF2-40B4-BE49-F238E27FC236}">
                  <a16:creationId xmlns:a16="http://schemas.microsoft.com/office/drawing/2014/main" id="{F6C71B5D-01DB-47D1-49DD-AB7078DDA99A}"/>
                </a:ext>
              </a:extLst>
            </p:cNvPr>
            <p:cNvSpPr/>
            <p:nvPr/>
          </p:nvSpPr>
          <p:spPr>
            <a:xfrm>
              <a:off x="757068" y="2736219"/>
              <a:ext cx="201549" cy="171927"/>
            </a:xfrm>
            <a:custGeom>
              <a:avLst/>
              <a:gdLst>
                <a:gd name="connsiteX0" fmla="*/ 201550 w 201549"/>
                <a:gd name="connsiteY0" fmla="*/ 127641 h 171927"/>
                <a:gd name="connsiteX1" fmla="*/ 157264 w 201549"/>
                <a:gd name="connsiteY1" fmla="*/ 171927 h 171927"/>
                <a:gd name="connsiteX2" fmla="*/ 44286 w 201549"/>
                <a:gd name="connsiteY2" fmla="*/ 171927 h 171927"/>
                <a:gd name="connsiteX3" fmla="*/ 0 w 201549"/>
                <a:gd name="connsiteY3" fmla="*/ 127641 h 171927"/>
                <a:gd name="connsiteX4" fmla="*/ 0 w 201549"/>
                <a:gd name="connsiteY4" fmla="*/ 0 h 171927"/>
                <a:gd name="connsiteX5" fmla="*/ 201550 w 201549"/>
                <a:gd name="connsiteY5" fmla="*/ 0 h 171927"/>
                <a:gd name="connsiteX6" fmla="*/ 201550 w 201549"/>
                <a:gd name="connsiteY6" fmla="*/ 127641 h 1719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1549" h="171927">
                  <a:moveTo>
                    <a:pt x="201550" y="127641"/>
                  </a:moveTo>
                  <a:cubicBezTo>
                    <a:pt x="201550" y="151999"/>
                    <a:pt x="181621" y="171927"/>
                    <a:pt x="157264" y="171927"/>
                  </a:cubicBezTo>
                  <a:lnTo>
                    <a:pt x="44286" y="171927"/>
                  </a:lnTo>
                  <a:cubicBezTo>
                    <a:pt x="19929" y="171927"/>
                    <a:pt x="0" y="151999"/>
                    <a:pt x="0" y="127641"/>
                  </a:cubicBezTo>
                  <a:lnTo>
                    <a:pt x="0" y="0"/>
                  </a:lnTo>
                  <a:lnTo>
                    <a:pt x="201550" y="0"/>
                  </a:lnTo>
                  <a:lnTo>
                    <a:pt x="201550" y="127641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0" name="Forma livre: Forma 99">
              <a:extLst>
                <a:ext uri="{FF2B5EF4-FFF2-40B4-BE49-F238E27FC236}">
                  <a16:creationId xmlns:a16="http://schemas.microsoft.com/office/drawing/2014/main" id="{C85E9AFE-0693-53A7-4A6D-CCB1973535E8}"/>
                </a:ext>
              </a:extLst>
            </p:cNvPr>
            <p:cNvSpPr/>
            <p:nvPr/>
          </p:nvSpPr>
          <p:spPr>
            <a:xfrm>
              <a:off x="820842" y="2639234"/>
              <a:ext cx="13737" cy="65690"/>
            </a:xfrm>
            <a:custGeom>
              <a:avLst/>
              <a:gdLst>
                <a:gd name="connsiteX0" fmla="*/ 9052 w 13737"/>
                <a:gd name="connsiteY0" fmla="*/ 0 h 65690"/>
                <a:gd name="connsiteX1" fmla="*/ 7231 w 13737"/>
                <a:gd name="connsiteY1" fmla="*/ 33657 h 65690"/>
                <a:gd name="connsiteX2" fmla="*/ 3590 w 13737"/>
                <a:gd name="connsiteY2" fmla="*/ 65690 h 656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3737" h="65690">
                  <a:moveTo>
                    <a:pt x="9052" y="0"/>
                  </a:moveTo>
                  <a:cubicBezTo>
                    <a:pt x="9052" y="0"/>
                    <a:pt x="-10040" y="15648"/>
                    <a:pt x="7231" y="33657"/>
                  </a:cubicBezTo>
                  <a:cubicBezTo>
                    <a:pt x="12693" y="39365"/>
                    <a:pt x="20172" y="50240"/>
                    <a:pt x="3590" y="6569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1" name="Forma livre: Forma 100">
              <a:extLst>
                <a:ext uri="{FF2B5EF4-FFF2-40B4-BE49-F238E27FC236}">
                  <a16:creationId xmlns:a16="http://schemas.microsoft.com/office/drawing/2014/main" id="{6E5C0AB0-CFAA-D1E3-135C-428289C81FCA}"/>
                </a:ext>
              </a:extLst>
            </p:cNvPr>
            <p:cNvSpPr/>
            <p:nvPr/>
          </p:nvSpPr>
          <p:spPr>
            <a:xfrm>
              <a:off x="881071" y="2639234"/>
              <a:ext cx="13737" cy="65690"/>
            </a:xfrm>
            <a:custGeom>
              <a:avLst/>
              <a:gdLst>
                <a:gd name="connsiteX0" fmla="*/ 9052 w 13737"/>
                <a:gd name="connsiteY0" fmla="*/ 0 h 65690"/>
                <a:gd name="connsiteX1" fmla="*/ 7231 w 13737"/>
                <a:gd name="connsiteY1" fmla="*/ 33657 h 65690"/>
                <a:gd name="connsiteX2" fmla="*/ 3590 w 13737"/>
                <a:gd name="connsiteY2" fmla="*/ 65690 h 656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3737" h="65690">
                  <a:moveTo>
                    <a:pt x="9052" y="0"/>
                  </a:moveTo>
                  <a:cubicBezTo>
                    <a:pt x="9052" y="0"/>
                    <a:pt x="-10040" y="15648"/>
                    <a:pt x="7231" y="33657"/>
                  </a:cubicBezTo>
                  <a:cubicBezTo>
                    <a:pt x="12693" y="39365"/>
                    <a:pt x="20172" y="50240"/>
                    <a:pt x="3590" y="6569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02" name="Gráfico 3">
            <a:extLst>
              <a:ext uri="{FF2B5EF4-FFF2-40B4-BE49-F238E27FC236}">
                <a16:creationId xmlns:a16="http://schemas.microsoft.com/office/drawing/2014/main" id="{6D71DD5A-1A6F-B6F8-0848-FE3E481AA88E}"/>
              </a:ext>
            </a:extLst>
          </p:cNvPr>
          <p:cNvGrpSpPr/>
          <p:nvPr/>
        </p:nvGrpSpPr>
        <p:grpSpPr>
          <a:xfrm>
            <a:off x="1374511" y="999970"/>
            <a:ext cx="292679" cy="238798"/>
            <a:chOff x="1374511" y="999970"/>
            <a:chExt cx="292679" cy="238798"/>
          </a:xfrm>
          <a:noFill/>
        </p:grpSpPr>
        <p:sp>
          <p:nvSpPr>
            <p:cNvPr id="103" name="Forma livre: Forma 102">
              <a:extLst>
                <a:ext uri="{FF2B5EF4-FFF2-40B4-BE49-F238E27FC236}">
                  <a16:creationId xmlns:a16="http://schemas.microsoft.com/office/drawing/2014/main" id="{E331258A-FB9B-A351-2C06-4810EB463AC8}"/>
                </a:ext>
              </a:extLst>
            </p:cNvPr>
            <p:cNvSpPr/>
            <p:nvPr/>
          </p:nvSpPr>
          <p:spPr>
            <a:xfrm>
              <a:off x="1462836" y="1238769"/>
              <a:ext cx="116520" cy="4920"/>
            </a:xfrm>
            <a:custGeom>
              <a:avLst/>
              <a:gdLst>
                <a:gd name="connsiteX0" fmla="*/ 0 w 116520"/>
                <a:gd name="connsiteY0" fmla="*/ 0 h 4920"/>
                <a:gd name="connsiteX1" fmla="*/ 116521 w 116520"/>
                <a:gd name="connsiteY1" fmla="*/ 0 h 49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6520" h="4920">
                  <a:moveTo>
                    <a:pt x="0" y="0"/>
                  </a:moveTo>
                  <a:lnTo>
                    <a:pt x="116521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4" name="Forma livre: Forma 103">
              <a:extLst>
                <a:ext uri="{FF2B5EF4-FFF2-40B4-BE49-F238E27FC236}">
                  <a16:creationId xmlns:a16="http://schemas.microsoft.com/office/drawing/2014/main" id="{1E43AA37-A1D2-D1DD-7F9B-8AFE0264C19A}"/>
                </a:ext>
              </a:extLst>
            </p:cNvPr>
            <p:cNvSpPr/>
            <p:nvPr/>
          </p:nvSpPr>
          <p:spPr>
            <a:xfrm>
              <a:off x="1565087" y="1048045"/>
              <a:ext cx="54274" cy="54520"/>
            </a:xfrm>
            <a:custGeom>
              <a:avLst/>
              <a:gdLst>
                <a:gd name="connsiteX0" fmla="*/ 54275 w 54274"/>
                <a:gd name="connsiteY0" fmla="*/ 0 h 54520"/>
                <a:gd name="connsiteX1" fmla="*/ 0 w 54274"/>
                <a:gd name="connsiteY1" fmla="*/ 54521 h 545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4274" h="54520">
                  <a:moveTo>
                    <a:pt x="54275" y="0"/>
                  </a:moveTo>
                  <a:lnTo>
                    <a:pt x="0" y="54521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5" name="Forma livre: Forma 104">
              <a:extLst>
                <a:ext uri="{FF2B5EF4-FFF2-40B4-BE49-F238E27FC236}">
                  <a16:creationId xmlns:a16="http://schemas.microsoft.com/office/drawing/2014/main" id="{BCC8E8DE-7789-295D-5670-777DB14BBCDA}"/>
                </a:ext>
              </a:extLst>
            </p:cNvPr>
            <p:cNvSpPr/>
            <p:nvPr/>
          </p:nvSpPr>
          <p:spPr>
            <a:xfrm>
              <a:off x="1580735" y="1047504"/>
              <a:ext cx="39168" cy="39217"/>
            </a:xfrm>
            <a:custGeom>
              <a:avLst/>
              <a:gdLst>
                <a:gd name="connsiteX0" fmla="*/ 0 w 39168"/>
                <a:gd name="connsiteY0" fmla="*/ 0 h 39217"/>
                <a:gd name="connsiteX1" fmla="*/ 39021 w 39168"/>
                <a:gd name="connsiteY1" fmla="*/ 0 h 39217"/>
                <a:gd name="connsiteX2" fmla="*/ 39168 w 39168"/>
                <a:gd name="connsiteY2" fmla="*/ 148 h 39217"/>
                <a:gd name="connsiteX3" fmla="*/ 39168 w 39168"/>
                <a:gd name="connsiteY3" fmla="*/ 39218 h 392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168" h="39217">
                  <a:moveTo>
                    <a:pt x="0" y="0"/>
                  </a:moveTo>
                  <a:lnTo>
                    <a:pt x="39021" y="0"/>
                  </a:lnTo>
                  <a:lnTo>
                    <a:pt x="39168" y="148"/>
                  </a:lnTo>
                  <a:lnTo>
                    <a:pt x="39168" y="39218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6" name="Forma livre: Forma 105">
              <a:extLst>
                <a:ext uri="{FF2B5EF4-FFF2-40B4-BE49-F238E27FC236}">
                  <a16:creationId xmlns:a16="http://schemas.microsoft.com/office/drawing/2014/main" id="{591A6425-5C04-C89D-42A2-F4416ED8442D}"/>
                </a:ext>
              </a:extLst>
            </p:cNvPr>
            <p:cNvSpPr/>
            <p:nvPr/>
          </p:nvSpPr>
          <p:spPr>
            <a:xfrm>
              <a:off x="1374511" y="999970"/>
              <a:ext cx="292679" cy="201697"/>
            </a:xfrm>
            <a:custGeom>
              <a:avLst/>
              <a:gdLst>
                <a:gd name="connsiteX0" fmla="*/ 258235 w 292679"/>
                <a:gd name="connsiteY0" fmla="*/ 0 h 201697"/>
                <a:gd name="connsiteX1" fmla="*/ 292680 w 292679"/>
                <a:gd name="connsiteY1" fmla="*/ 34445 h 201697"/>
                <a:gd name="connsiteX2" fmla="*/ 292680 w 292679"/>
                <a:gd name="connsiteY2" fmla="*/ 167253 h 201697"/>
                <a:gd name="connsiteX3" fmla="*/ 258235 w 292679"/>
                <a:gd name="connsiteY3" fmla="*/ 201697 h 201697"/>
                <a:gd name="connsiteX4" fmla="*/ 34445 w 292679"/>
                <a:gd name="connsiteY4" fmla="*/ 201697 h 201697"/>
                <a:gd name="connsiteX5" fmla="*/ 0 w 292679"/>
                <a:gd name="connsiteY5" fmla="*/ 167253 h 201697"/>
                <a:gd name="connsiteX6" fmla="*/ 0 w 292679"/>
                <a:gd name="connsiteY6" fmla="*/ 34445 h 201697"/>
                <a:gd name="connsiteX7" fmla="*/ 34445 w 292679"/>
                <a:gd name="connsiteY7" fmla="*/ 0 h 2016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92679" h="201697">
                  <a:moveTo>
                    <a:pt x="258235" y="0"/>
                  </a:moveTo>
                  <a:cubicBezTo>
                    <a:pt x="277259" y="0"/>
                    <a:pt x="292680" y="15421"/>
                    <a:pt x="292680" y="34445"/>
                  </a:cubicBezTo>
                  <a:lnTo>
                    <a:pt x="292680" y="167253"/>
                  </a:lnTo>
                  <a:cubicBezTo>
                    <a:pt x="292680" y="186276"/>
                    <a:pt x="277259" y="201697"/>
                    <a:pt x="258235" y="201697"/>
                  </a:cubicBezTo>
                  <a:lnTo>
                    <a:pt x="34445" y="201697"/>
                  </a:lnTo>
                  <a:cubicBezTo>
                    <a:pt x="15421" y="201697"/>
                    <a:pt x="0" y="186276"/>
                    <a:pt x="0" y="167253"/>
                  </a:cubicBezTo>
                  <a:lnTo>
                    <a:pt x="0" y="34445"/>
                  </a:lnTo>
                  <a:cubicBezTo>
                    <a:pt x="0" y="15421"/>
                    <a:pt x="15421" y="0"/>
                    <a:pt x="34445" y="0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07" name="Gráfico 3">
            <a:extLst>
              <a:ext uri="{FF2B5EF4-FFF2-40B4-BE49-F238E27FC236}">
                <a16:creationId xmlns:a16="http://schemas.microsoft.com/office/drawing/2014/main" id="{0D406E09-1B62-E0A1-5979-415B2E6311C7}"/>
              </a:ext>
            </a:extLst>
          </p:cNvPr>
          <p:cNvGrpSpPr/>
          <p:nvPr/>
        </p:nvGrpSpPr>
        <p:grpSpPr>
          <a:xfrm>
            <a:off x="1392668" y="1546555"/>
            <a:ext cx="256414" cy="258875"/>
            <a:chOff x="1392668" y="1546555"/>
            <a:chExt cx="256414" cy="258875"/>
          </a:xfrm>
          <a:noFill/>
        </p:grpSpPr>
        <p:sp>
          <p:nvSpPr>
            <p:cNvPr id="108" name="Forma livre: Forma 107">
              <a:extLst>
                <a:ext uri="{FF2B5EF4-FFF2-40B4-BE49-F238E27FC236}">
                  <a16:creationId xmlns:a16="http://schemas.microsoft.com/office/drawing/2014/main" id="{485C1CFB-C6F2-4FF4-3F85-86D25EE9D116}"/>
                </a:ext>
              </a:extLst>
            </p:cNvPr>
            <p:cNvSpPr/>
            <p:nvPr/>
          </p:nvSpPr>
          <p:spPr>
            <a:xfrm>
              <a:off x="1393258" y="1643148"/>
              <a:ext cx="255184" cy="4920"/>
            </a:xfrm>
            <a:custGeom>
              <a:avLst/>
              <a:gdLst>
                <a:gd name="connsiteX0" fmla="*/ 0 w 255184"/>
                <a:gd name="connsiteY0" fmla="*/ 0 h 4920"/>
                <a:gd name="connsiteX1" fmla="*/ 255185 w 255184"/>
                <a:gd name="connsiteY1" fmla="*/ 0 h 49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55184" h="4920">
                  <a:moveTo>
                    <a:pt x="0" y="0"/>
                  </a:moveTo>
                  <a:lnTo>
                    <a:pt x="255185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9" name="Forma livre: Forma 108">
              <a:extLst>
                <a:ext uri="{FF2B5EF4-FFF2-40B4-BE49-F238E27FC236}">
                  <a16:creationId xmlns:a16="http://schemas.microsoft.com/office/drawing/2014/main" id="{CF12CBF9-AB89-733C-DABD-F560FD317B06}"/>
                </a:ext>
              </a:extLst>
            </p:cNvPr>
            <p:cNvSpPr/>
            <p:nvPr/>
          </p:nvSpPr>
          <p:spPr>
            <a:xfrm>
              <a:off x="1449009" y="1546555"/>
              <a:ext cx="4920" cy="57276"/>
            </a:xfrm>
            <a:custGeom>
              <a:avLst/>
              <a:gdLst>
                <a:gd name="connsiteX0" fmla="*/ 0 w 4920"/>
                <a:gd name="connsiteY0" fmla="*/ 0 h 57276"/>
                <a:gd name="connsiteX1" fmla="*/ 0 w 4920"/>
                <a:gd name="connsiteY1" fmla="*/ 57276 h 572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920" h="57276">
                  <a:moveTo>
                    <a:pt x="0" y="0"/>
                  </a:moveTo>
                  <a:lnTo>
                    <a:pt x="0" y="57276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0" name="Forma livre: Forma 109">
              <a:extLst>
                <a:ext uri="{FF2B5EF4-FFF2-40B4-BE49-F238E27FC236}">
                  <a16:creationId xmlns:a16="http://schemas.microsoft.com/office/drawing/2014/main" id="{1212CE23-D82F-896E-C6F5-FFD4C199B1C3}"/>
                </a:ext>
              </a:extLst>
            </p:cNvPr>
            <p:cNvSpPr/>
            <p:nvPr/>
          </p:nvSpPr>
          <p:spPr>
            <a:xfrm>
              <a:off x="1578176" y="1546555"/>
              <a:ext cx="4920" cy="57276"/>
            </a:xfrm>
            <a:custGeom>
              <a:avLst/>
              <a:gdLst>
                <a:gd name="connsiteX0" fmla="*/ 0 w 4920"/>
                <a:gd name="connsiteY0" fmla="*/ 0 h 57276"/>
                <a:gd name="connsiteX1" fmla="*/ 0 w 4920"/>
                <a:gd name="connsiteY1" fmla="*/ 57276 h 572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920" h="57276">
                  <a:moveTo>
                    <a:pt x="0" y="0"/>
                  </a:moveTo>
                  <a:lnTo>
                    <a:pt x="0" y="57276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1" name="Forma livre: Forma 110">
              <a:extLst>
                <a:ext uri="{FF2B5EF4-FFF2-40B4-BE49-F238E27FC236}">
                  <a16:creationId xmlns:a16="http://schemas.microsoft.com/office/drawing/2014/main" id="{E799B292-D2AB-B3AD-9502-1C8076CDB28D}"/>
                </a:ext>
              </a:extLst>
            </p:cNvPr>
            <p:cNvSpPr/>
            <p:nvPr/>
          </p:nvSpPr>
          <p:spPr>
            <a:xfrm>
              <a:off x="1513617" y="1546555"/>
              <a:ext cx="4920" cy="57276"/>
            </a:xfrm>
            <a:custGeom>
              <a:avLst/>
              <a:gdLst>
                <a:gd name="connsiteX0" fmla="*/ 0 w 4920"/>
                <a:gd name="connsiteY0" fmla="*/ 0 h 57276"/>
                <a:gd name="connsiteX1" fmla="*/ 0 w 4920"/>
                <a:gd name="connsiteY1" fmla="*/ 57276 h 572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920" h="57276">
                  <a:moveTo>
                    <a:pt x="0" y="0"/>
                  </a:moveTo>
                  <a:lnTo>
                    <a:pt x="0" y="57276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2" name="Forma livre: Forma 111">
              <a:extLst>
                <a:ext uri="{FF2B5EF4-FFF2-40B4-BE49-F238E27FC236}">
                  <a16:creationId xmlns:a16="http://schemas.microsoft.com/office/drawing/2014/main" id="{F39CA890-D642-F6DA-4392-590820881BB9}"/>
                </a:ext>
              </a:extLst>
            </p:cNvPr>
            <p:cNvSpPr/>
            <p:nvPr/>
          </p:nvSpPr>
          <p:spPr>
            <a:xfrm>
              <a:off x="1452749" y="1687827"/>
              <a:ext cx="57965" cy="72628"/>
            </a:xfrm>
            <a:custGeom>
              <a:avLst/>
              <a:gdLst>
                <a:gd name="connsiteX0" fmla="*/ 0 w 57965"/>
                <a:gd name="connsiteY0" fmla="*/ 0 h 72628"/>
                <a:gd name="connsiteX1" fmla="*/ 49403 w 57965"/>
                <a:gd name="connsiteY1" fmla="*/ 0 h 72628"/>
                <a:gd name="connsiteX2" fmla="*/ 49403 w 57965"/>
                <a:gd name="connsiteY2" fmla="*/ 36265 h 72628"/>
                <a:gd name="connsiteX3" fmla="*/ 8513 w 57965"/>
                <a:gd name="connsiteY3" fmla="*/ 36265 h 72628"/>
                <a:gd name="connsiteX4" fmla="*/ 8513 w 57965"/>
                <a:gd name="connsiteY4" fmla="*/ 72629 h 72628"/>
                <a:gd name="connsiteX5" fmla="*/ 57965 w 57965"/>
                <a:gd name="connsiteY5" fmla="*/ 72629 h 726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7965" h="72628">
                  <a:moveTo>
                    <a:pt x="0" y="0"/>
                  </a:moveTo>
                  <a:lnTo>
                    <a:pt x="49403" y="0"/>
                  </a:lnTo>
                  <a:lnTo>
                    <a:pt x="49403" y="36265"/>
                  </a:lnTo>
                  <a:lnTo>
                    <a:pt x="8513" y="36265"/>
                  </a:lnTo>
                  <a:lnTo>
                    <a:pt x="8513" y="72629"/>
                  </a:lnTo>
                  <a:lnTo>
                    <a:pt x="57965" y="72629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3" name="Forma livre: Forma 112">
              <a:extLst>
                <a:ext uri="{FF2B5EF4-FFF2-40B4-BE49-F238E27FC236}">
                  <a16:creationId xmlns:a16="http://schemas.microsoft.com/office/drawing/2014/main" id="{148530F2-20AC-865E-DA7E-4CBFD3892003}"/>
                </a:ext>
              </a:extLst>
            </p:cNvPr>
            <p:cNvSpPr/>
            <p:nvPr/>
          </p:nvSpPr>
          <p:spPr>
            <a:xfrm>
              <a:off x="1530200" y="1687827"/>
              <a:ext cx="49600" cy="72628"/>
            </a:xfrm>
            <a:custGeom>
              <a:avLst/>
              <a:gdLst>
                <a:gd name="connsiteX0" fmla="*/ 49 w 49600"/>
                <a:gd name="connsiteY0" fmla="*/ 0 h 72628"/>
                <a:gd name="connsiteX1" fmla="*/ 49600 w 49600"/>
                <a:gd name="connsiteY1" fmla="*/ 0 h 72628"/>
                <a:gd name="connsiteX2" fmla="*/ 49600 w 49600"/>
                <a:gd name="connsiteY2" fmla="*/ 72629 h 72628"/>
                <a:gd name="connsiteX3" fmla="*/ 0 w 49600"/>
                <a:gd name="connsiteY3" fmla="*/ 72629 h 726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9600" h="72628">
                  <a:moveTo>
                    <a:pt x="49" y="0"/>
                  </a:moveTo>
                  <a:lnTo>
                    <a:pt x="49600" y="0"/>
                  </a:lnTo>
                  <a:lnTo>
                    <a:pt x="49600" y="72629"/>
                  </a:lnTo>
                  <a:lnTo>
                    <a:pt x="0" y="72629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4" name="Forma livre: Forma 113">
              <a:extLst>
                <a:ext uri="{FF2B5EF4-FFF2-40B4-BE49-F238E27FC236}">
                  <a16:creationId xmlns:a16="http://schemas.microsoft.com/office/drawing/2014/main" id="{1279EB04-8D5B-8459-E497-911DB66865B0}"/>
                </a:ext>
              </a:extLst>
            </p:cNvPr>
            <p:cNvSpPr/>
            <p:nvPr/>
          </p:nvSpPr>
          <p:spPr>
            <a:xfrm>
              <a:off x="1530249" y="1724141"/>
              <a:ext cx="49255" cy="4920"/>
            </a:xfrm>
            <a:custGeom>
              <a:avLst/>
              <a:gdLst>
                <a:gd name="connsiteX0" fmla="*/ 0 w 49255"/>
                <a:gd name="connsiteY0" fmla="*/ 0 h 4920"/>
                <a:gd name="connsiteX1" fmla="*/ 49256 w 49255"/>
                <a:gd name="connsiteY1" fmla="*/ 0 h 49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9255" h="4920">
                  <a:moveTo>
                    <a:pt x="0" y="0"/>
                  </a:moveTo>
                  <a:lnTo>
                    <a:pt x="49256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5" name="Forma livre: Forma 114">
              <a:extLst>
                <a:ext uri="{FF2B5EF4-FFF2-40B4-BE49-F238E27FC236}">
                  <a16:creationId xmlns:a16="http://schemas.microsoft.com/office/drawing/2014/main" id="{CE592DFA-1910-8CBB-7948-624A1ABAF408}"/>
                </a:ext>
              </a:extLst>
            </p:cNvPr>
            <p:cNvSpPr/>
            <p:nvPr/>
          </p:nvSpPr>
          <p:spPr>
            <a:xfrm>
              <a:off x="1392668" y="1573176"/>
              <a:ext cx="256414" cy="232254"/>
            </a:xfrm>
            <a:custGeom>
              <a:avLst/>
              <a:gdLst>
                <a:gd name="connsiteX0" fmla="*/ 211588 w 256414"/>
                <a:gd name="connsiteY0" fmla="*/ 0 h 232254"/>
                <a:gd name="connsiteX1" fmla="*/ 231812 w 256414"/>
                <a:gd name="connsiteY1" fmla="*/ 0 h 232254"/>
                <a:gd name="connsiteX2" fmla="*/ 256415 w 256414"/>
                <a:gd name="connsiteY2" fmla="*/ 24603 h 232254"/>
                <a:gd name="connsiteX3" fmla="*/ 256415 w 256414"/>
                <a:gd name="connsiteY3" fmla="*/ 207651 h 232254"/>
                <a:gd name="connsiteX4" fmla="*/ 231812 w 256414"/>
                <a:gd name="connsiteY4" fmla="*/ 232254 h 232254"/>
                <a:gd name="connsiteX5" fmla="*/ 24603 w 256414"/>
                <a:gd name="connsiteY5" fmla="*/ 232254 h 232254"/>
                <a:gd name="connsiteX6" fmla="*/ 0 w 256414"/>
                <a:gd name="connsiteY6" fmla="*/ 207651 h 232254"/>
                <a:gd name="connsiteX7" fmla="*/ 0 w 256414"/>
                <a:gd name="connsiteY7" fmla="*/ 24603 h 232254"/>
                <a:gd name="connsiteX8" fmla="*/ 24603 w 256414"/>
                <a:gd name="connsiteY8" fmla="*/ 0 h 232254"/>
                <a:gd name="connsiteX9" fmla="*/ 55948 w 256414"/>
                <a:gd name="connsiteY9" fmla="*/ 0 h 2322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56414" h="232254">
                  <a:moveTo>
                    <a:pt x="211588" y="0"/>
                  </a:moveTo>
                  <a:lnTo>
                    <a:pt x="231812" y="0"/>
                  </a:lnTo>
                  <a:cubicBezTo>
                    <a:pt x="245343" y="0"/>
                    <a:pt x="256415" y="11071"/>
                    <a:pt x="256415" y="24603"/>
                  </a:cubicBezTo>
                  <a:lnTo>
                    <a:pt x="256415" y="207651"/>
                  </a:lnTo>
                  <a:cubicBezTo>
                    <a:pt x="256415" y="221183"/>
                    <a:pt x="245343" y="232254"/>
                    <a:pt x="231812" y="232254"/>
                  </a:cubicBezTo>
                  <a:lnTo>
                    <a:pt x="24603" y="232254"/>
                  </a:lnTo>
                  <a:cubicBezTo>
                    <a:pt x="11071" y="232254"/>
                    <a:pt x="0" y="221183"/>
                    <a:pt x="0" y="207651"/>
                  </a:cubicBezTo>
                  <a:lnTo>
                    <a:pt x="0" y="24603"/>
                  </a:lnTo>
                  <a:cubicBezTo>
                    <a:pt x="0" y="11071"/>
                    <a:pt x="11071" y="0"/>
                    <a:pt x="24603" y="0"/>
                  </a:cubicBezTo>
                  <a:lnTo>
                    <a:pt x="55948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6" name="Forma livre: Forma 115">
              <a:extLst>
                <a:ext uri="{FF2B5EF4-FFF2-40B4-BE49-F238E27FC236}">
                  <a16:creationId xmlns:a16="http://schemas.microsoft.com/office/drawing/2014/main" id="{2270E297-FEC4-DD7A-6006-8C5A017727CA}"/>
                </a:ext>
              </a:extLst>
            </p:cNvPr>
            <p:cNvSpPr/>
            <p:nvPr/>
          </p:nvSpPr>
          <p:spPr>
            <a:xfrm>
              <a:off x="1539845" y="1573176"/>
              <a:ext cx="37642" cy="4920"/>
            </a:xfrm>
            <a:custGeom>
              <a:avLst/>
              <a:gdLst>
                <a:gd name="connsiteX0" fmla="*/ 0 w 37642"/>
                <a:gd name="connsiteY0" fmla="*/ 0 h 4920"/>
                <a:gd name="connsiteX1" fmla="*/ 37643 w 37642"/>
                <a:gd name="connsiteY1" fmla="*/ 0 h 49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7642" h="4920">
                  <a:moveTo>
                    <a:pt x="0" y="0"/>
                  </a:moveTo>
                  <a:lnTo>
                    <a:pt x="37643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7" name="Forma livre: Forma 116">
              <a:extLst>
                <a:ext uri="{FF2B5EF4-FFF2-40B4-BE49-F238E27FC236}">
                  <a16:creationId xmlns:a16="http://schemas.microsoft.com/office/drawing/2014/main" id="{EA4B801F-D882-CC3A-DB5E-3D02605D689D}"/>
                </a:ext>
              </a:extLst>
            </p:cNvPr>
            <p:cNvSpPr/>
            <p:nvPr/>
          </p:nvSpPr>
          <p:spPr>
            <a:xfrm>
              <a:off x="1475187" y="1573176"/>
              <a:ext cx="38134" cy="4920"/>
            </a:xfrm>
            <a:custGeom>
              <a:avLst/>
              <a:gdLst>
                <a:gd name="connsiteX0" fmla="*/ 0 w 38134"/>
                <a:gd name="connsiteY0" fmla="*/ 0 h 4920"/>
                <a:gd name="connsiteX1" fmla="*/ 38135 w 38134"/>
                <a:gd name="connsiteY1" fmla="*/ 0 h 49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8134" h="4920">
                  <a:moveTo>
                    <a:pt x="0" y="0"/>
                  </a:moveTo>
                  <a:lnTo>
                    <a:pt x="38135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21" name="Gráfico 3">
            <a:extLst>
              <a:ext uri="{FF2B5EF4-FFF2-40B4-BE49-F238E27FC236}">
                <a16:creationId xmlns:a16="http://schemas.microsoft.com/office/drawing/2014/main" id="{9B0BAF4C-831D-67E5-9C6F-3D0824175643}"/>
              </a:ext>
            </a:extLst>
          </p:cNvPr>
          <p:cNvGrpSpPr/>
          <p:nvPr/>
        </p:nvGrpSpPr>
        <p:grpSpPr>
          <a:xfrm>
            <a:off x="1414220" y="3203828"/>
            <a:ext cx="213211" cy="284265"/>
            <a:chOff x="1414220" y="3203828"/>
            <a:chExt cx="213211" cy="284265"/>
          </a:xfrm>
          <a:noFill/>
        </p:grpSpPr>
        <p:grpSp>
          <p:nvGrpSpPr>
            <p:cNvPr id="122" name="Gráfico 3">
              <a:extLst>
                <a:ext uri="{FF2B5EF4-FFF2-40B4-BE49-F238E27FC236}">
                  <a16:creationId xmlns:a16="http://schemas.microsoft.com/office/drawing/2014/main" id="{7F16DA06-1EB3-5C62-EA83-F7DC855A97F3}"/>
                </a:ext>
              </a:extLst>
            </p:cNvPr>
            <p:cNvGrpSpPr/>
            <p:nvPr/>
          </p:nvGrpSpPr>
          <p:grpSpPr>
            <a:xfrm>
              <a:off x="1459638" y="3352432"/>
              <a:ext cx="126017" cy="66920"/>
              <a:chOff x="1459638" y="3352432"/>
              <a:chExt cx="126017" cy="66920"/>
            </a:xfrm>
            <a:noFill/>
          </p:grpSpPr>
          <p:sp>
            <p:nvSpPr>
              <p:cNvPr id="123" name="Forma livre: Forma 122">
                <a:extLst>
                  <a:ext uri="{FF2B5EF4-FFF2-40B4-BE49-F238E27FC236}">
                    <a16:creationId xmlns:a16="http://schemas.microsoft.com/office/drawing/2014/main" id="{1657627D-7A61-CF55-FC62-60F9D145A1A7}"/>
                  </a:ext>
                </a:extLst>
              </p:cNvPr>
              <p:cNvSpPr/>
              <p:nvPr/>
            </p:nvSpPr>
            <p:spPr>
              <a:xfrm>
                <a:off x="1460474" y="3352727"/>
                <a:ext cx="38381" cy="4920"/>
              </a:xfrm>
              <a:custGeom>
                <a:avLst/>
                <a:gdLst>
                  <a:gd name="connsiteX0" fmla="*/ 38381 w 38381"/>
                  <a:gd name="connsiteY0" fmla="*/ 0 h 4920"/>
                  <a:gd name="connsiteX1" fmla="*/ 0 w 38381"/>
                  <a:gd name="connsiteY1" fmla="*/ 0 h 49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8381" h="4920">
                    <a:moveTo>
                      <a:pt x="38381" y="0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4" name="Forma livre: Forma 123">
                <a:extLst>
                  <a:ext uri="{FF2B5EF4-FFF2-40B4-BE49-F238E27FC236}">
                    <a16:creationId xmlns:a16="http://schemas.microsoft.com/office/drawing/2014/main" id="{EC102040-C16A-0C55-927B-22721CC28D19}"/>
                  </a:ext>
                </a:extLst>
              </p:cNvPr>
              <p:cNvSpPr/>
              <p:nvPr/>
            </p:nvSpPr>
            <p:spPr>
              <a:xfrm>
                <a:off x="1460474" y="3419254"/>
                <a:ext cx="38381" cy="4920"/>
              </a:xfrm>
              <a:custGeom>
                <a:avLst/>
                <a:gdLst>
                  <a:gd name="connsiteX0" fmla="*/ 38381 w 38381"/>
                  <a:gd name="connsiteY0" fmla="*/ 0 h 4920"/>
                  <a:gd name="connsiteX1" fmla="*/ 0 w 38381"/>
                  <a:gd name="connsiteY1" fmla="*/ 0 h 49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8381" h="4920">
                    <a:moveTo>
                      <a:pt x="38381" y="0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5" name="Forma livre: Forma 124">
                <a:extLst>
                  <a:ext uri="{FF2B5EF4-FFF2-40B4-BE49-F238E27FC236}">
                    <a16:creationId xmlns:a16="http://schemas.microsoft.com/office/drawing/2014/main" id="{00C59023-FA71-A464-F6D8-764643063FDB}"/>
                  </a:ext>
                </a:extLst>
              </p:cNvPr>
              <p:cNvSpPr/>
              <p:nvPr/>
            </p:nvSpPr>
            <p:spPr>
              <a:xfrm>
                <a:off x="1459638" y="3352825"/>
                <a:ext cx="4920" cy="66527"/>
              </a:xfrm>
              <a:custGeom>
                <a:avLst/>
                <a:gdLst>
                  <a:gd name="connsiteX0" fmla="*/ 0 w 4920"/>
                  <a:gd name="connsiteY0" fmla="*/ 66527 h 66527"/>
                  <a:gd name="connsiteX1" fmla="*/ 0 w 4920"/>
                  <a:gd name="connsiteY1" fmla="*/ 0 h 665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920" h="66527">
                    <a:moveTo>
                      <a:pt x="0" y="66527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6" name="Forma livre: Forma 125">
                <a:extLst>
                  <a:ext uri="{FF2B5EF4-FFF2-40B4-BE49-F238E27FC236}">
                    <a16:creationId xmlns:a16="http://schemas.microsoft.com/office/drawing/2014/main" id="{A78091D9-2EBF-8060-19F5-0ABE4393B9DE}"/>
                  </a:ext>
                </a:extLst>
              </p:cNvPr>
              <p:cNvSpPr/>
              <p:nvPr/>
            </p:nvSpPr>
            <p:spPr>
              <a:xfrm>
                <a:off x="1536252" y="3352432"/>
                <a:ext cx="49403" cy="66822"/>
              </a:xfrm>
              <a:custGeom>
                <a:avLst/>
                <a:gdLst>
                  <a:gd name="connsiteX0" fmla="*/ 49403 w 49403"/>
                  <a:gd name="connsiteY0" fmla="*/ 0 h 66822"/>
                  <a:gd name="connsiteX1" fmla="*/ 25735 w 49403"/>
                  <a:gd name="connsiteY1" fmla="*/ 66822 h 66822"/>
                  <a:gd name="connsiteX2" fmla="*/ 0 w 49403"/>
                  <a:gd name="connsiteY2" fmla="*/ 246 h 668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49403" h="66822">
                    <a:moveTo>
                      <a:pt x="49403" y="0"/>
                    </a:moveTo>
                    <a:lnTo>
                      <a:pt x="25735" y="66822"/>
                    </a:lnTo>
                    <a:lnTo>
                      <a:pt x="0" y="246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27" name="Forma livre: Forma 126">
              <a:extLst>
                <a:ext uri="{FF2B5EF4-FFF2-40B4-BE49-F238E27FC236}">
                  <a16:creationId xmlns:a16="http://schemas.microsoft.com/office/drawing/2014/main" id="{C264E442-9A5F-FAD6-AEB9-D8F3834E3E98}"/>
                </a:ext>
              </a:extLst>
            </p:cNvPr>
            <p:cNvSpPr/>
            <p:nvPr/>
          </p:nvSpPr>
          <p:spPr>
            <a:xfrm>
              <a:off x="1414220" y="3203828"/>
              <a:ext cx="213211" cy="284265"/>
            </a:xfrm>
            <a:custGeom>
              <a:avLst/>
              <a:gdLst>
                <a:gd name="connsiteX0" fmla="*/ 193529 w 213211"/>
                <a:gd name="connsiteY0" fmla="*/ 0 h 284265"/>
                <a:gd name="connsiteX1" fmla="*/ 54914 w 213211"/>
                <a:gd name="connsiteY1" fmla="*/ 0 h 284265"/>
                <a:gd name="connsiteX2" fmla="*/ 0 w 213211"/>
                <a:gd name="connsiteY2" fmla="*/ 47681 h 284265"/>
                <a:gd name="connsiteX3" fmla="*/ 0 w 213211"/>
                <a:gd name="connsiteY3" fmla="*/ 264583 h 284265"/>
                <a:gd name="connsiteX4" fmla="*/ 19683 w 213211"/>
                <a:gd name="connsiteY4" fmla="*/ 284266 h 284265"/>
                <a:gd name="connsiteX5" fmla="*/ 193529 w 213211"/>
                <a:gd name="connsiteY5" fmla="*/ 284266 h 284265"/>
                <a:gd name="connsiteX6" fmla="*/ 213211 w 213211"/>
                <a:gd name="connsiteY6" fmla="*/ 264583 h 284265"/>
                <a:gd name="connsiteX7" fmla="*/ 213211 w 213211"/>
                <a:gd name="connsiteY7" fmla="*/ 19683 h 284265"/>
                <a:gd name="connsiteX8" fmla="*/ 193529 w 213211"/>
                <a:gd name="connsiteY8" fmla="*/ 0 h 2842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3211" h="284265">
                  <a:moveTo>
                    <a:pt x="193529" y="0"/>
                  </a:moveTo>
                  <a:lnTo>
                    <a:pt x="54914" y="0"/>
                  </a:lnTo>
                  <a:lnTo>
                    <a:pt x="0" y="47681"/>
                  </a:lnTo>
                  <a:lnTo>
                    <a:pt x="0" y="264583"/>
                  </a:lnTo>
                  <a:cubicBezTo>
                    <a:pt x="0" y="275408"/>
                    <a:pt x="8857" y="284266"/>
                    <a:pt x="19683" y="284266"/>
                  </a:cubicBezTo>
                  <a:lnTo>
                    <a:pt x="193529" y="284266"/>
                  </a:lnTo>
                  <a:cubicBezTo>
                    <a:pt x="204354" y="284266"/>
                    <a:pt x="213211" y="275408"/>
                    <a:pt x="213211" y="264583"/>
                  </a:cubicBezTo>
                  <a:lnTo>
                    <a:pt x="213211" y="19683"/>
                  </a:lnTo>
                  <a:cubicBezTo>
                    <a:pt x="213211" y="8857"/>
                    <a:pt x="204354" y="0"/>
                    <a:pt x="193529" y="0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8" name="Forma livre: Forma 127">
              <a:extLst>
                <a:ext uri="{FF2B5EF4-FFF2-40B4-BE49-F238E27FC236}">
                  <a16:creationId xmlns:a16="http://schemas.microsoft.com/office/drawing/2014/main" id="{EC2CBF5F-C775-7BC5-EBCB-E5EC54D3007E}"/>
                </a:ext>
              </a:extLst>
            </p:cNvPr>
            <p:cNvSpPr/>
            <p:nvPr/>
          </p:nvSpPr>
          <p:spPr>
            <a:xfrm>
              <a:off x="1449157" y="3207666"/>
              <a:ext cx="36954" cy="60573"/>
            </a:xfrm>
            <a:custGeom>
              <a:avLst/>
              <a:gdLst>
                <a:gd name="connsiteX0" fmla="*/ 36954 w 36954"/>
                <a:gd name="connsiteY0" fmla="*/ 0 h 60573"/>
                <a:gd name="connsiteX1" fmla="*/ 36954 w 36954"/>
                <a:gd name="connsiteY1" fmla="*/ 60573 h 60573"/>
                <a:gd name="connsiteX2" fmla="*/ 0 w 36954"/>
                <a:gd name="connsiteY2" fmla="*/ 60573 h 605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6954" h="60573">
                  <a:moveTo>
                    <a:pt x="36954" y="0"/>
                  </a:moveTo>
                  <a:lnTo>
                    <a:pt x="36954" y="60573"/>
                  </a:lnTo>
                  <a:lnTo>
                    <a:pt x="0" y="60573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29" name="Gráfico 3">
            <a:extLst>
              <a:ext uri="{FF2B5EF4-FFF2-40B4-BE49-F238E27FC236}">
                <a16:creationId xmlns:a16="http://schemas.microsoft.com/office/drawing/2014/main" id="{FCFC97A3-2135-80E1-CCD8-B9850CE23A22}"/>
              </a:ext>
            </a:extLst>
          </p:cNvPr>
          <p:cNvGrpSpPr/>
          <p:nvPr/>
        </p:nvGrpSpPr>
        <p:grpSpPr>
          <a:xfrm>
            <a:off x="1381400" y="2627375"/>
            <a:ext cx="278902" cy="323876"/>
            <a:chOff x="1381400" y="2627375"/>
            <a:chExt cx="278902" cy="323876"/>
          </a:xfrm>
        </p:grpSpPr>
        <p:grpSp>
          <p:nvGrpSpPr>
            <p:cNvPr id="130" name="Gráfico 3">
              <a:extLst>
                <a:ext uri="{FF2B5EF4-FFF2-40B4-BE49-F238E27FC236}">
                  <a16:creationId xmlns:a16="http://schemas.microsoft.com/office/drawing/2014/main" id="{A11FD762-B3FD-AC05-85E8-3E57283D949B}"/>
                </a:ext>
              </a:extLst>
            </p:cNvPr>
            <p:cNvGrpSpPr/>
            <p:nvPr/>
          </p:nvGrpSpPr>
          <p:grpSpPr>
            <a:xfrm>
              <a:off x="1499840" y="2702956"/>
              <a:ext cx="41628" cy="4231"/>
              <a:chOff x="1499840" y="2702956"/>
              <a:chExt cx="41628" cy="4231"/>
            </a:xfrm>
            <a:solidFill>
              <a:srgbClr val="394553"/>
            </a:solidFill>
          </p:grpSpPr>
          <p:sp>
            <p:nvSpPr>
              <p:cNvPr id="131" name="Forma livre: Forma 130">
                <a:extLst>
                  <a:ext uri="{FF2B5EF4-FFF2-40B4-BE49-F238E27FC236}">
                    <a16:creationId xmlns:a16="http://schemas.microsoft.com/office/drawing/2014/main" id="{FAB6482F-0242-9079-E426-CC72A0B0F7FB}"/>
                  </a:ext>
                </a:extLst>
              </p:cNvPr>
              <p:cNvSpPr/>
              <p:nvPr/>
            </p:nvSpPr>
            <p:spPr>
              <a:xfrm>
                <a:off x="1499840" y="2702956"/>
                <a:ext cx="4231" cy="4231"/>
              </a:xfrm>
              <a:custGeom>
                <a:avLst/>
                <a:gdLst>
                  <a:gd name="connsiteX0" fmla="*/ 0 w 4231"/>
                  <a:gd name="connsiteY0" fmla="*/ 0 h 4231"/>
                  <a:gd name="connsiteX1" fmla="*/ 4232 w 4231"/>
                  <a:gd name="connsiteY1" fmla="*/ 0 h 4231"/>
                  <a:gd name="connsiteX2" fmla="*/ 4232 w 4231"/>
                  <a:gd name="connsiteY2" fmla="*/ 4232 h 4231"/>
                  <a:gd name="connsiteX3" fmla="*/ 0 w 4231"/>
                  <a:gd name="connsiteY3" fmla="*/ 4232 h 42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231" h="4231">
                    <a:moveTo>
                      <a:pt x="0" y="0"/>
                    </a:moveTo>
                    <a:lnTo>
                      <a:pt x="4232" y="0"/>
                    </a:lnTo>
                    <a:lnTo>
                      <a:pt x="4232" y="4232"/>
                    </a:lnTo>
                    <a:lnTo>
                      <a:pt x="0" y="4232"/>
                    </a:ln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32" name="Forma livre: Forma 131">
                <a:extLst>
                  <a:ext uri="{FF2B5EF4-FFF2-40B4-BE49-F238E27FC236}">
                    <a16:creationId xmlns:a16="http://schemas.microsoft.com/office/drawing/2014/main" id="{AE3D4DD2-4226-4DB4-F126-2FE328FBEBA8}"/>
                  </a:ext>
                </a:extLst>
              </p:cNvPr>
              <p:cNvSpPr/>
              <p:nvPr/>
            </p:nvSpPr>
            <p:spPr>
              <a:xfrm>
                <a:off x="1537237" y="2702956"/>
                <a:ext cx="4231" cy="4231"/>
              </a:xfrm>
              <a:custGeom>
                <a:avLst/>
                <a:gdLst>
                  <a:gd name="connsiteX0" fmla="*/ 0 w 4231"/>
                  <a:gd name="connsiteY0" fmla="*/ 0 h 4231"/>
                  <a:gd name="connsiteX1" fmla="*/ 4232 w 4231"/>
                  <a:gd name="connsiteY1" fmla="*/ 0 h 4231"/>
                  <a:gd name="connsiteX2" fmla="*/ 4232 w 4231"/>
                  <a:gd name="connsiteY2" fmla="*/ 4232 h 4231"/>
                  <a:gd name="connsiteX3" fmla="*/ 0 w 4231"/>
                  <a:gd name="connsiteY3" fmla="*/ 4232 h 42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231" h="4231">
                    <a:moveTo>
                      <a:pt x="0" y="0"/>
                    </a:moveTo>
                    <a:lnTo>
                      <a:pt x="4232" y="0"/>
                    </a:lnTo>
                    <a:lnTo>
                      <a:pt x="4232" y="4232"/>
                    </a:lnTo>
                    <a:lnTo>
                      <a:pt x="0" y="4232"/>
                    </a:ln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33" name="Gráfico 3">
              <a:extLst>
                <a:ext uri="{FF2B5EF4-FFF2-40B4-BE49-F238E27FC236}">
                  <a16:creationId xmlns:a16="http://schemas.microsoft.com/office/drawing/2014/main" id="{8BF94EB4-4BF2-1CE2-95D5-57B8D6B2542A}"/>
                </a:ext>
              </a:extLst>
            </p:cNvPr>
            <p:cNvGrpSpPr/>
            <p:nvPr/>
          </p:nvGrpSpPr>
          <p:grpSpPr>
            <a:xfrm>
              <a:off x="1499840" y="2742173"/>
              <a:ext cx="41628" cy="4231"/>
              <a:chOff x="1499840" y="2742173"/>
              <a:chExt cx="41628" cy="4231"/>
            </a:xfrm>
            <a:solidFill>
              <a:srgbClr val="394553"/>
            </a:solidFill>
          </p:grpSpPr>
          <p:sp>
            <p:nvSpPr>
              <p:cNvPr id="134" name="Forma livre: Forma 133">
                <a:extLst>
                  <a:ext uri="{FF2B5EF4-FFF2-40B4-BE49-F238E27FC236}">
                    <a16:creationId xmlns:a16="http://schemas.microsoft.com/office/drawing/2014/main" id="{4356837D-7C6D-5EC5-D7E9-CEEFF2A5C748}"/>
                  </a:ext>
                </a:extLst>
              </p:cNvPr>
              <p:cNvSpPr/>
              <p:nvPr/>
            </p:nvSpPr>
            <p:spPr>
              <a:xfrm>
                <a:off x="1499840" y="2742173"/>
                <a:ext cx="4231" cy="4231"/>
              </a:xfrm>
              <a:custGeom>
                <a:avLst/>
                <a:gdLst>
                  <a:gd name="connsiteX0" fmla="*/ 0 w 4231"/>
                  <a:gd name="connsiteY0" fmla="*/ 0 h 4231"/>
                  <a:gd name="connsiteX1" fmla="*/ 4232 w 4231"/>
                  <a:gd name="connsiteY1" fmla="*/ 0 h 4231"/>
                  <a:gd name="connsiteX2" fmla="*/ 4232 w 4231"/>
                  <a:gd name="connsiteY2" fmla="*/ 4232 h 4231"/>
                  <a:gd name="connsiteX3" fmla="*/ 0 w 4231"/>
                  <a:gd name="connsiteY3" fmla="*/ 4232 h 42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231" h="4231">
                    <a:moveTo>
                      <a:pt x="0" y="0"/>
                    </a:moveTo>
                    <a:lnTo>
                      <a:pt x="4232" y="0"/>
                    </a:lnTo>
                    <a:lnTo>
                      <a:pt x="4232" y="4232"/>
                    </a:lnTo>
                    <a:lnTo>
                      <a:pt x="0" y="4232"/>
                    </a:ln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35" name="Forma livre: Forma 134">
                <a:extLst>
                  <a:ext uri="{FF2B5EF4-FFF2-40B4-BE49-F238E27FC236}">
                    <a16:creationId xmlns:a16="http://schemas.microsoft.com/office/drawing/2014/main" id="{C7AE06F8-2B41-35F7-0EB9-41FA8F8E300E}"/>
                  </a:ext>
                </a:extLst>
              </p:cNvPr>
              <p:cNvSpPr/>
              <p:nvPr/>
            </p:nvSpPr>
            <p:spPr>
              <a:xfrm>
                <a:off x="1537237" y="2742173"/>
                <a:ext cx="4231" cy="4231"/>
              </a:xfrm>
              <a:custGeom>
                <a:avLst/>
                <a:gdLst>
                  <a:gd name="connsiteX0" fmla="*/ 0 w 4231"/>
                  <a:gd name="connsiteY0" fmla="*/ 0 h 4231"/>
                  <a:gd name="connsiteX1" fmla="*/ 4232 w 4231"/>
                  <a:gd name="connsiteY1" fmla="*/ 0 h 4231"/>
                  <a:gd name="connsiteX2" fmla="*/ 4232 w 4231"/>
                  <a:gd name="connsiteY2" fmla="*/ 4232 h 4231"/>
                  <a:gd name="connsiteX3" fmla="*/ 0 w 4231"/>
                  <a:gd name="connsiteY3" fmla="*/ 4232 h 42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231" h="4231">
                    <a:moveTo>
                      <a:pt x="0" y="0"/>
                    </a:moveTo>
                    <a:lnTo>
                      <a:pt x="4232" y="0"/>
                    </a:lnTo>
                    <a:lnTo>
                      <a:pt x="4232" y="4232"/>
                    </a:lnTo>
                    <a:lnTo>
                      <a:pt x="0" y="4232"/>
                    </a:ln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36" name="Gráfico 3">
              <a:extLst>
                <a:ext uri="{FF2B5EF4-FFF2-40B4-BE49-F238E27FC236}">
                  <a16:creationId xmlns:a16="http://schemas.microsoft.com/office/drawing/2014/main" id="{F5A03E2E-47C5-0226-6F7A-3767DA3F0756}"/>
                </a:ext>
              </a:extLst>
            </p:cNvPr>
            <p:cNvGrpSpPr/>
            <p:nvPr/>
          </p:nvGrpSpPr>
          <p:grpSpPr>
            <a:xfrm>
              <a:off x="1499840" y="2781391"/>
              <a:ext cx="41628" cy="4231"/>
              <a:chOff x="1499840" y="2781391"/>
              <a:chExt cx="41628" cy="4231"/>
            </a:xfrm>
            <a:solidFill>
              <a:srgbClr val="394553"/>
            </a:solidFill>
          </p:grpSpPr>
          <p:sp>
            <p:nvSpPr>
              <p:cNvPr id="137" name="Forma livre: Forma 136">
                <a:extLst>
                  <a:ext uri="{FF2B5EF4-FFF2-40B4-BE49-F238E27FC236}">
                    <a16:creationId xmlns:a16="http://schemas.microsoft.com/office/drawing/2014/main" id="{EB6E32E2-0466-50E8-DBE6-3E8B7772E345}"/>
                  </a:ext>
                </a:extLst>
              </p:cNvPr>
              <p:cNvSpPr/>
              <p:nvPr/>
            </p:nvSpPr>
            <p:spPr>
              <a:xfrm>
                <a:off x="1499840" y="2781391"/>
                <a:ext cx="4231" cy="4231"/>
              </a:xfrm>
              <a:custGeom>
                <a:avLst/>
                <a:gdLst>
                  <a:gd name="connsiteX0" fmla="*/ 0 w 4231"/>
                  <a:gd name="connsiteY0" fmla="*/ 0 h 4231"/>
                  <a:gd name="connsiteX1" fmla="*/ 4232 w 4231"/>
                  <a:gd name="connsiteY1" fmla="*/ 0 h 4231"/>
                  <a:gd name="connsiteX2" fmla="*/ 4232 w 4231"/>
                  <a:gd name="connsiteY2" fmla="*/ 4232 h 4231"/>
                  <a:gd name="connsiteX3" fmla="*/ 0 w 4231"/>
                  <a:gd name="connsiteY3" fmla="*/ 4232 h 42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231" h="4231">
                    <a:moveTo>
                      <a:pt x="0" y="0"/>
                    </a:moveTo>
                    <a:lnTo>
                      <a:pt x="4232" y="0"/>
                    </a:lnTo>
                    <a:lnTo>
                      <a:pt x="4232" y="4232"/>
                    </a:lnTo>
                    <a:lnTo>
                      <a:pt x="0" y="4232"/>
                    </a:ln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38" name="Forma livre: Forma 137">
                <a:extLst>
                  <a:ext uri="{FF2B5EF4-FFF2-40B4-BE49-F238E27FC236}">
                    <a16:creationId xmlns:a16="http://schemas.microsoft.com/office/drawing/2014/main" id="{78CA23E1-CBDC-8E49-A1A8-A0C18DD397DC}"/>
                  </a:ext>
                </a:extLst>
              </p:cNvPr>
              <p:cNvSpPr/>
              <p:nvPr/>
            </p:nvSpPr>
            <p:spPr>
              <a:xfrm>
                <a:off x="1537237" y="2781391"/>
                <a:ext cx="4231" cy="4231"/>
              </a:xfrm>
              <a:custGeom>
                <a:avLst/>
                <a:gdLst>
                  <a:gd name="connsiteX0" fmla="*/ 0 w 4231"/>
                  <a:gd name="connsiteY0" fmla="*/ 0 h 4231"/>
                  <a:gd name="connsiteX1" fmla="*/ 4232 w 4231"/>
                  <a:gd name="connsiteY1" fmla="*/ 0 h 4231"/>
                  <a:gd name="connsiteX2" fmla="*/ 4232 w 4231"/>
                  <a:gd name="connsiteY2" fmla="*/ 4232 h 4231"/>
                  <a:gd name="connsiteX3" fmla="*/ 0 w 4231"/>
                  <a:gd name="connsiteY3" fmla="*/ 4232 h 42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231" h="4231">
                    <a:moveTo>
                      <a:pt x="0" y="0"/>
                    </a:moveTo>
                    <a:lnTo>
                      <a:pt x="4232" y="0"/>
                    </a:lnTo>
                    <a:lnTo>
                      <a:pt x="4232" y="4232"/>
                    </a:lnTo>
                    <a:lnTo>
                      <a:pt x="0" y="4232"/>
                    </a:ln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39" name="Gráfico 3">
              <a:extLst>
                <a:ext uri="{FF2B5EF4-FFF2-40B4-BE49-F238E27FC236}">
                  <a16:creationId xmlns:a16="http://schemas.microsoft.com/office/drawing/2014/main" id="{A424DBB0-F804-1C90-0A7B-AEED93A4A288}"/>
                </a:ext>
              </a:extLst>
            </p:cNvPr>
            <p:cNvGrpSpPr/>
            <p:nvPr/>
          </p:nvGrpSpPr>
          <p:grpSpPr>
            <a:xfrm>
              <a:off x="1499840" y="2820559"/>
              <a:ext cx="41628" cy="4231"/>
              <a:chOff x="1499840" y="2820559"/>
              <a:chExt cx="41628" cy="4231"/>
            </a:xfrm>
            <a:solidFill>
              <a:srgbClr val="394553"/>
            </a:solidFill>
          </p:grpSpPr>
          <p:sp>
            <p:nvSpPr>
              <p:cNvPr id="140" name="Forma livre: Forma 139">
                <a:extLst>
                  <a:ext uri="{FF2B5EF4-FFF2-40B4-BE49-F238E27FC236}">
                    <a16:creationId xmlns:a16="http://schemas.microsoft.com/office/drawing/2014/main" id="{37CF79DF-B10C-9FB9-015B-F218DACA426D}"/>
                  </a:ext>
                </a:extLst>
              </p:cNvPr>
              <p:cNvSpPr/>
              <p:nvPr/>
            </p:nvSpPr>
            <p:spPr>
              <a:xfrm>
                <a:off x="1499840" y="2820559"/>
                <a:ext cx="4231" cy="4231"/>
              </a:xfrm>
              <a:custGeom>
                <a:avLst/>
                <a:gdLst>
                  <a:gd name="connsiteX0" fmla="*/ 0 w 4231"/>
                  <a:gd name="connsiteY0" fmla="*/ 0 h 4231"/>
                  <a:gd name="connsiteX1" fmla="*/ 4232 w 4231"/>
                  <a:gd name="connsiteY1" fmla="*/ 0 h 4231"/>
                  <a:gd name="connsiteX2" fmla="*/ 4232 w 4231"/>
                  <a:gd name="connsiteY2" fmla="*/ 4232 h 4231"/>
                  <a:gd name="connsiteX3" fmla="*/ 0 w 4231"/>
                  <a:gd name="connsiteY3" fmla="*/ 4232 h 42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231" h="4231">
                    <a:moveTo>
                      <a:pt x="0" y="0"/>
                    </a:moveTo>
                    <a:lnTo>
                      <a:pt x="4232" y="0"/>
                    </a:lnTo>
                    <a:lnTo>
                      <a:pt x="4232" y="4232"/>
                    </a:lnTo>
                    <a:lnTo>
                      <a:pt x="0" y="4232"/>
                    </a:ln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41" name="Forma livre: Forma 140">
                <a:extLst>
                  <a:ext uri="{FF2B5EF4-FFF2-40B4-BE49-F238E27FC236}">
                    <a16:creationId xmlns:a16="http://schemas.microsoft.com/office/drawing/2014/main" id="{8243BE31-EBCD-B2E0-05F5-2581D134D862}"/>
                  </a:ext>
                </a:extLst>
              </p:cNvPr>
              <p:cNvSpPr/>
              <p:nvPr/>
            </p:nvSpPr>
            <p:spPr>
              <a:xfrm>
                <a:off x="1537237" y="2820559"/>
                <a:ext cx="4231" cy="4231"/>
              </a:xfrm>
              <a:custGeom>
                <a:avLst/>
                <a:gdLst>
                  <a:gd name="connsiteX0" fmla="*/ 0 w 4231"/>
                  <a:gd name="connsiteY0" fmla="*/ 0 h 4231"/>
                  <a:gd name="connsiteX1" fmla="*/ 4232 w 4231"/>
                  <a:gd name="connsiteY1" fmla="*/ 0 h 4231"/>
                  <a:gd name="connsiteX2" fmla="*/ 4232 w 4231"/>
                  <a:gd name="connsiteY2" fmla="*/ 4232 h 4231"/>
                  <a:gd name="connsiteX3" fmla="*/ 0 w 4231"/>
                  <a:gd name="connsiteY3" fmla="*/ 4232 h 42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231" h="4231">
                    <a:moveTo>
                      <a:pt x="0" y="0"/>
                    </a:moveTo>
                    <a:lnTo>
                      <a:pt x="4232" y="0"/>
                    </a:lnTo>
                    <a:lnTo>
                      <a:pt x="4232" y="4232"/>
                    </a:lnTo>
                    <a:lnTo>
                      <a:pt x="0" y="4232"/>
                    </a:ln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42" name="Gráfico 3">
              <a:extLst>
                <a:ext uri="{FF2B5EF4-FFF2-40B4-BE49-F238E27FC236}">
                  <a16:creationId xmlns:a16="http://schemas.microsoft.com/office/drawing/2014/main" id="{C90ACD5D-68E0-E146-C0D0-5D3BAFBA58F3}"/>
                </a:ext>
              </a:extLst>
            </p:cNvPr>
            <p:cNvGrpSpPr/>
            <p:nvPr/>
          </p:nvGrpSpPr>
          <p:grpSpPr>
            <a:xfrm>
              <a:off x="1499840" y="2859777"/>
              <a:ext cx="41628" cy="4231"/>
              <a:chOff x="1499840" y="2859777"/>
              <a:chExt cx="41628" cy="4231"/>
            </a:xfrm>
            <a:solidFill>
              <a:srgbClr val="394553"/>
            </a:solidFill>
          </p:grpSpPr>
          <p:sp>
            <p:nvSpPr>
              <p:cNvPr id="143" name="Forma livre: Forma 142">
                <a:extLst>
                  <a:ext uri="{FF2B5EF4-FFF2-40B4-BE49-F238E27FC236}">
                    <a16:creationId xmlns:a16="http://schemas.microsoft.com/office/drawing/2014/main" id="{EAE28F24-AF9C-0351-A140-4849E5410FDB}"/>
                  </a:ext>
                </a:extLst>
              </p:cNvPr>
              <p:cNvSpPr/>
              <p:nvPr/>
            </p:nvSpPr>
            <p:spPr>
              <a:xfrm>
                <a:off x="1499840" y="2859777"/>
                <a:ext cx="4231" cy="4231"/>
              </a:xfrm>
              <a:custGeom>
                <a:avLst/>
                <a:gdLst>
                  <a:gd name="connsiteX0" fmla="*/ 0 w 4231"/>
                  <a:gd name="connsiteY0" fmla="*/ 0 h 4231"/>
                  <a:gd name="connsiteX1" fmla="*/ 4232 w 4231"/>
                  <a:gd name="connsiteY1" fmla="*/ 0 h 4231"/>
                  <a:gd name="connsiteX2" fmla="*/ 4232 w 4231"/>
                  <a:gd name="connsiteY2" fmla="*/ 4232 h 4231"/>
                  <a:gd name="connsiteX3" fmla="*/ 0 w 4231"/>
                  <a:gd name="connsiteY3" fmla="*/ 4232 h 42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231" h="4231">
                    <a:moveTo>
                      <a:pt x="0" y="0"/>
                    </a:moveTo>
                    <a:lnTo>
                      <a:pt x="4232" y="0"/>
                    </a:lnTo>
                    <a:lnTo>
                      <a:pt x="4232" y="4232"/>
                    </a:lnTo>
                    <a:lnTo>
                      <a:pt x="0" y="4232"/>
                    </a:ln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44" name="Forma livre: Forma 143">
                <a:extLst>
                  <a:ext uri="{FF2B5EF4-FFF2-40B4-BE49-F238E27FC236}">
                    <a16:creationId xmlns:a16="http://schemas.microsoft.com/office/drawing/2014/main" id="{0209AE9A-D3AA-84AA-C6E2-377881841077}"/>
                  </a:ext>
                </a:extLst>
              </p:cNvPr>
              <p:cNvSpPr/>
              <p:nvPr/>
            </p:nvSpPr>
            <p:spPr>
              <a:xfrm>
                <a:off x="1537237" y="2859777"/>
                <a:ext cx="4231" cy="4231"/>
              </a:xfrm>
              <a:custGeom>
                <a:avLst/>
                <a:gdLst>
                  <a:gd name="connsiteX0" fmla="*/ 0 w 4231"/>
                  <a:gd name="connsiteY0" fmla="*/ 0 h 4231"/>
                  <a:gd name="connsiteX1" fmla="*/ 4232 w 4231"/>
                  <a:gd name="connsiteY1" fmla="*/ 0 h 4231"/>
                  <a:gd name="connsiteX2" fmla="*/ 4232 w 4231"/>
                  <a:gd name="connsiteY2" fmla="*/ 4232 h 4231"/>
                  <a:gd name="connsiteX3" fmla="*/ 0 w 4231"/>
                  <a:gd name="connsiteY3" fmla="*/ 4232 h 42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231" h="4231">
                    <a:moveTo>
                      <a:pt x="0" y="0"/>
                    </a:moveTo>
                    <a:lnTo>
                      <a:pt x="4232" y="0"/>
                    </a:lnTo>
                    <a:lnTo>
                      <a:pt x="4232" y="4232"/>
                    </a:lnTo>
                    <a:lnTo>
                      <a:pt x="0" y="4232"/>
                    </a:ln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45" name="Gráfico 3">
              <a:extLst>
                <a:ext uri="{FF2B5EF4-FFF2-40B4-BE49-F238E27FC236}">
                  <a16:creationId xmlns:a16="http://schemas.microsoft.com/office/drawing/2014/main" id="{85A83C57-DAD3-3E2B-DBBB-A0377B95FD3B}"/>
                </a:ext>
              </a:extLst>
            </p:cNvPr>
            <p:cNvGrpSpPr/>
            <p:nvPr/>
          </p:nvGrpSpPr>
          <p:grpSpPr>
            <a:xfrm>
              <a:off x="1499840" y="2898994"/>
              <a:ext cx="41628" cy="4231"/>
              <a:chOff x="1499840" y="2898994"/>
              <a:chExt cx="41628" cy="4231"/>
            </a:xfrm>
            <a:solidFill>
              <a:srgbClr val="394553"/>
            </a:solidFill>
          </p:grpSpPr>
          <p:sp>
            <p:nvSpPr>
              <p:cNvPr id="146" name="Forma livre: Forma 145">
                <a:extLst>
                  <a:ext uri="{FF2B5EF4-FFF2-40B4-BE49-F238E27FC236}">
                    <a16:creationId xmlns:a16="http://schemas.microsoft.com/office/drawing/2014/main" id="{A7138B57-50A8-86DF-08D8-BB1305F356A3}"/>
                  </a:ext>
                </a:extLst>
              </p:cNvPr>
              <p:cNvSpPr/>
              <p:nvPr/>
            </p:nvSpPr>
            <p:spPr>
              <a:xfrm>
                <a:off x="1499840" y="2898994"/>
                <a:ext cx="4231" cy="4231"/>
              </a:xfrm>
              <a:custGeom>
                <a:avLst/>
                <a:gdLst>
                  <a:gd name="connsiteX0" fmla="*/ 0 w 4231"/>
                  <a:gd name="connsiteY0" fmla="*/ 0 h 4231"/>
                  <a:gd name="connsiteX1" fmla="*/ 4232 w 4231"/>
                  <a:gd name="connsiteY1" fmla="*/ 0 h 4231"/>
                  <a:gd name="connsiteX2" fmla="*/ 4232 w 4231"/>
                  <a:gd name="connsiteY2" fmla="*/ 4232 h 4231"/>
                  <a:gd name="connsiteX3" fmla="*/ 0 w 4231"/>
                  <a:gd name="connsiteY3" fmla="*/ 4232 h 42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231" h="4231">
                    <a:moveTo>
                      <a:pt x="0" y="0"/>
                    </a:moveTo>
                    <a:lnTo>
                      <a:pt x="4232" y="0"/>
                    </a:lnTo>
                    <a:lnTo>
                      <a:pt x="4232" y="4232"/>
                    </a:lnTo>
                    <a:lnTo>
                      <a:pt x="0" y="4232"/>
                    </a:ln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47" name="Forma livre: Forma 146">
                <a:extLst>
                  <a:ext uri="{FF2B5EF4-FFF2-40B4-BE49-F238E27FC236}">
                    <a16:creationId xmlns:a16="http://schemas.microsoft.com/office/drawing/2014/main" id="{1AA18D7B-7550-EFCB-B6C2-7A27F4AF2D9B}"/>
                  </a:ext>
                </a:extLst>
              </p:cNvPr>
              <p:cNvSpPr/>
              <p:nvPr/>
            </p:nvSpPr>
            <p:spPr>
              <a:xfrm>
                <a:off x="1537237" y="2898994"/>
                <a:ext cx="4231" cy="4231"/>
              </a:xfrm>
              <a:custGeom>
                <a:avLst/>
                <a:gdLst>
                  <a:gd name="connsiteX0" fmla="*/ 0 w 4231"/>
                  <a:gd name="connsiteY0" fmla="*/ 0 h 4231"/>
                  <a:gd name="connsiteX1" fmla="*/ 4232 w 4231"/>
                  <a:gd name="connsiteY1" fmla="*/ 0 h 4231"/>
                  <a:gd name="connsiteX2" fmla="*/ 4232 w 4231"/>
                  <a:gd name="connsiteY2" fmla="*/ 4232 h 4231"/>
                  <a:gd name="connsiteX3" fmla="*/ 0 w 4231"/>
                  <a:gd name="connsiteY3" fmla="*/ 4232 h 42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231" h="4231">
                    <a:moveTo>
                      <a:pt x="0" y="0"/>
                    </a:moveTo>
                    <a:lnTo>
                      <a:pt x="4232" y="0"/>
                    </a:lnTo>
                    <a:lnTo>
                      <a:pt x="4232" y="4232"/>
                    </a:lnTo>
                    <a:lnTo>
                      <a:pt x="0" y="4232"/>
                    </a:ln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48" name="Gráfico 3">
              <a:extLst>
                <a:ext uri="{FF2B5EF4-FFF2-40B4-BE49-F238E27FC236}">
                  <a16:creationId xmlns:a16="http://schemas.microsoft.com/office/drawing/2014/main" id="{96752D02-A12F-9649-E387-D6A6E36BBBC6}"/>
                </a:ext>
              </a:extLst>
            </p:cNvPr>
            <p:cNvGrpSpPr/>
            <p:nvPr/>
          </p:nvGrpSpPr>
          <p:grpSpPr>
            <a:xfrm>
              <a:off x="1499840" y="2938212"/>
              <a:ext cx="41628" cy="4231"/>
              <a:chOff x="1499840" y="2938212"/>
              <a:chExt cx="41628" cy="4231"/>
            </a:xfrm>
            <a:solidFill>
              <a:srgbClr val="394553"/>
            </a:solidFill>
          </p:grpSpPr>
          <p:sp>
            <p:nvSpPr>
              <p:cNvPr id="149" name="Forma livre: Forma 148">
                <a:extLst>
                  <a:ext uri="{FF2B5EF4-FFF2-40B4-BE49-F238E27FC236}">
                    <a16:creationId xmlns:a16="http://schemas.microsoft.com/office/drawing/2014/main" id="{C6C67814-2E8B-B8AD-3CB4-0090445CF5D3}"/>
                  </a:ext>
                </a:extLst>
              </p:cNvPr>
              <p:cNvSpPr/>
              <p:nvPr/>
            </p:nvSpPr>
            <p:spPr>
              <a:xfrm>
                <a:off x="1499840" y="2938212"/>
                <a:ext cx="4231" cy="4231"/>
              </a:xfrm>
              <a:custGeom>
                <a:avLst/>
                <a:gdLst>
                  <a:gd name="connsiteX0" fmla="*/ 0 w 4231"/>
                  <a:gd name="connsiteY0" fmla="*/ 0 h 4231"/>
                  <a:gd name="connsiteX1" fmla="*/ 4232 w 4231"/>
                  <a:gd name="connsiteY1" fmla="*/ 0 h 4231"/>
                  <a:gd name="connsiteX2" fmla="*/ 4232 w 4231"/>
                  <a:gd name="connsiteY2" fmla="*/ 4232 h 4231"/>
                  <a:gd name="connsiteX3" fmla="*/ 0 w 4231"/>
                  <a:gd name="connsiteY3" fmla="*/ 4232 h 42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231" h="4231">
                    <a:moveTo>
                      <a:pt x="0" y="0"/>
                    </a:moveTo>
                    <a:lnTo>
                      <a:pt x="4232" y="0"/>
                    </a:lnTo>
                    <a:lnTo>
                      <a:pt x="4232" y="4232"/>
                    </a:lnTo>
                    <a:lnTo>
                      <a:pt x="0" y="4232"/>
                    </a:ln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50" name="Forma livre: Forma 149">
                <a:extLst>
                  <a:ext uri="{FF2B5EF4-FFF2-40B4-BE49-F238E27FC236}">
                    <a16:creationId xmlns:a16="http://schemas.microsoft.com/office/drawing/2014/main" id="{ABD0CA05-32AE-84EC-39BD-4505C47D36A8}"/>
                  </a:ext>
                </a:extLst>
              </p:cNvPr>
              <p:cNvSpPr/>
              <p:nvPr/>
            </p:nvSpPr>
            <p:spPr>
              <a:xfrm>
                <a:off x="1537237" y="2938212"/>
                <a:ext cx="4231" cy="4231"/>
              </a:xfrm>
              <a:custGeom>
                <a:avLst/>
                <a:gdLst>
                  <a:gd name="connsiteX0" fmla="*/ 0 w 4231"/>
                  <a:gd name="connsiteY0" fmla="*/ 0 h 4231"/>
                  <a:gd name="connsiteX1" fmla="*/ 4232 w 4231"/>
                  <a:gd name="connsiteY1" fmla="*/ 0 h 4231"/>
                  <a:gd name="connsiteX2" fmla="*/ 4232 w 4231"/>
                  <a:gd name="connsiteY2" fmla="*/ 4232 h 4231"/>
                  <a:gd name="connsiteX3" fmla="*/ 0 w 4231"/>
                  <a:gd name="connsiteY3" fmla="*/ 4232 h 42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231" h="4231">
                    <a:moveTo>
                      <a:pt x="0" y="0"/>
                    </a:moveTo>
                    <a:lnTo>
                      <a:pt x="4232" y="0"/>
                    </a:lnTo>
                    <a:lnTo>
                      <a:pt x="4232" y="4232"/>
                    </a:lnTo>
                    <a:lnTo>
                      <a:pt x="0" y="4232"/>
                    </a:ln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51" name="Forma livre: Forma 150">
              <a:extLst>
                <a:ext uri="{FF2B5EF4-FFF2-40B4-BE49-F238E27FC236}">
                  <a16:creationId xmlns:a16="http://schemas.microsoft.com/office/drawing/2014/main" id="{9667FE8A-055E-9CC9-C106-33A8E6CD4A73}"/>
                </a:ext>
              </a:extLst>
            </p:cNvPr>
            <p:cNvSpPr/>
            <p:nvPr/>
          </p:nvSpPr>
          <p:spPr>
            <a:xfrm>
              <a:off x="1520654" y="2627375"/>
              <a:ext cx="4920" cy="37790"/>
            </a:xfrm>
            <a:custGeom>
              <a:avLst/>
              <a:gdLst>
                <a:gd name="connsiteX0" fmla="*/ 0 w 4920"/>
                <a:gd name="connsiteY0" fmla="*/ 0 h 37790"/>
                <a:gd name="connsiteX1" fmla="*/ 0 w 4920"/>
                <a:gd name="connsiteY1" fmla="*/ 37791 h 377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920" h="37790">
                  <a:moveTo>
                    <a:pt x="0" y="0"/>
                  </a:moveTo>
                  <a:lnTo>
                    <a:pt x="0" y="37791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2" name="Forma livre: Forma 151">
              <a:extLst>
                <a:ext uri="{FF2B5EF4-FFF2-40B4-BE49-F238E27FC236}">
                  <a16:creationId xmlns:a16="http://schemas.microsoft.com/office/drawing/2014/main" id="{E491079B-A4C7-0DDD-4C83-9D36A14C21A0}"/>
                </a:ext>
              </a:extLst>
            </p:cNvPr>
            <p:cNvSpPr/>
            <p:nvPr/>
          </p:nvSpPr>
          <p:spPr>
            <a:xfrm>
              <a:off x="1458654" y="2666986"/>
              <a:ext cx="124000" cy="284265"/>
            </a:xfrm>
            <a:custGeom>
              <a:avLst/>
              <a:gdLst>
                <a:gd name="connsiteX0" fmla="*/ 0 w 124000"/>
                <a:gd name="connsiteY0" fmla="*/ 284266 h 284265"/>
                <a:gd name="connsiteX1" fmla="*/ 0 w 124000"/>
                <a:gd name="connsiteY1" fmla="*/ 14762 h 284265"/>
                <a:gd name="connsiteX2" fmla="*/ 14762 w 124000"/>
                <a:gd name="connsiteY2" fmla="*/ 0 h 284265"/>
                <a:gd name="connsiteX3" fmla="*/ 109238 w 124000"/>
                <a:gd name="connsiteY3" fmla="*/ 0 h 284265"/>
                <a:gd name="connsiteX4" fmla="*/ 124000 w 124000"/>
                <a:gd name="connsiteY4" fmla="*/ 14762 h 284265"/>
                <a:gd name="connsiteX5" fmla="*/ 124000 w 124000"/>
                <a:gd name="connsiteY5" fmla="*/ 284266 h 2842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24000" h="284265">
                  <a:moveTo>
                    <a:pt x="0" y="284266"/>
                  </a:moveTo>
                  <a:lnTo>
                    <a:pt x="0" y="14762"/>
                  </a:lnTo>
                  <a:cubicBezTo>
                    <a:pt x="0" y="6643"/>
                    <a:pt x="6643" y="0"/>
                    <a:pt x="14762" y="0"/>
                  </a:cubicBezTo>
                  <a:lnTo>
                    <a:pt x="109238" y="0"/>
                  </a:lnTo>
                  <a:cubicBezTo>
                    <a:pt x="117357" y="0"/>
                    <a:pt x="124000" y="6643"/>
                    <a:pt x="124000" y="14762"/>
                  </a:cubicBezTo>
                  <a:lnTo>
                    <a:pt x="124000" y="284266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3" name="Forma livre: Forma 152">
              <a:extLst>
                <a:ext uri="{FF2B5EF4-FFF2-40B4-BE49-F238E27FC236}">
                  <a16:creationId xmlns:a16="http://schemas.microsoft.com/office/drawing/2014/main" id="{7B60F3C5-29DC-C1CA-243B-A3AE1C7BB0F5}"/>
                </a:ext>
              </a:extLst>
            </p:cNvPr>
            <p:cNvSpPr/>
            <p:nvPr/>
          </p:nvSpPr>
          <p:spPr>
            <a:xfrm>
              <a:off x="1381400" y="2783310"/>
              <a:ext cx="77450" cy="167941"/>
            </a:xfrm>
            <a:custGeom>
              <a:avLst/>
              <a:gdLst>
                <a:gd name="connsiteX0" fmla="*/ 0 w 77450"/>
                <a:gd name="connsiteY0" fmla="*/ 167942 h 167941"/>
                <a:gd name="connsiteX1" fmla="*/ 0 w 77450"/>
                <a:gd name="connsiteY1" fmla="*/ 14762 h 167941"/>
                <a:gd name="connsiteX2" fmla="*/ 14762 w 77450"/>
                <a:gd name="connsiteY2" fmla="*/ 0 h 167941"/>
                <a:gd name="connsiteX3" fmla="*/ 77451 w 77450"/>
                <a:gd name="connsiteY3" fmla="*/ 0 h 1679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7450" h="167941">
                  <a:moveTo>
                    <a:pt x="0" y="167942"/>
                  </a:moveTo>
                  <a:lnTo>
                    <a:pt x="0" y="14762"/>
                  </a:lnTo>
                  <a:cubicBezTo>
                    <a:pt x="0" y="6643"/>
                    <a:pt x="6643" y="0"/>
                    <a:pt x="14762" y="0"/>
                  </a:cubicBezTo>
                  <a:lnTo>
                    <a:pt x="77451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4" name="Forma livre: Forma 153">
              <a:extLst>
                <a:ext uri="{FF2B5EF4-FFF2-40B4-BE49-F238E27FC236}">
                  <a16:creationId xmlns:a16="http://schemas.microsoft.com/office/drawing/2014/main" id="{2BC1E297-8788-B17E-8717-5945D6B08348}"/>
                </a:ext>
              </a:extLst>
            </p:cNvPr>
            <p:cNvSpPr/>
            <p:nvPr/>
          </p:nvSpPr>
          <p:spPr>
            <a:xfrm>
              <a:off x="1582851" y="2823069"/>
              <a:ext cx="77450" cy="128182"/>
            </a:xfrm>
            <a:custGeom>
              <a:avLst/>
              <a:gdLst>
                <a:gd name="connsiteX0" fmla="*/ 77451 w 77450"/>
                <a:gd name="connsiteY0" fmla="*/ 128183 h 128182"/>
                <a:gd name="connsiteX1" fmla="*/ 77451 w 77450"/>
                <a:gd name="connsiteY1" fmla="*/ 14762 h 128182"/>
                <a:gd name="connsiteX2" fmla="*/ 62689 w 77450"/>
                <a:gd name="connsiteY2" fmla="*/ 0 h 128182"/>
                <a:gd name="connsiteX3" fmla="*/ 0 w 77450"/>
                <a:gd name="connsiteY3" fmla="*/ 0 h 1281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7450" h="128182">
                  <a:moveTo>
                    <a:pt x="77451" y="128183"/>
                  </a:moveTo>
                  <a:lnTo>
                    <a:pt x="77451" y="14762"/>
                  </a:lnTo>
                  <a:cubicBezTo>
                    <a:pt x="77451" y="6643"/>
                    <a:pt x="70808" y="0"/>
                    <a:pt x="62689" y="0"/>
                  </a:cubicBezTo>
                  <a:lnTo>
                    <a:pt x="0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5" name="Forma livre: Forma 154">
              <a:extLst>
                <a:ext uri="{FF2B5EF4-FFF2-40B4-BE49-F238E27FC236}">
                  <a16:creationId xmlns:a16="http://schemas.microsoft.com/office/drawing/2014/main" id="{53BA7AC0-EE4B-DB2D-AD86-226DD3606661}"/>
                </a:ext>
              </a:extLst>
            </p:cNvPr>
            <p:cNvSpPr/>
            <p:nvPr/>
          </p:nvSpPr>
          <p:spPr>
            <a:xfrm>
              <a:off x="1417960" y="2820559"/>
              <a:ext cx="4231" cy="4231"/>
            </a:xfrm>
            <a:custGeom>
              <a:avLst/>
              <a:gdLst>
                <a:gd name="connsiteX0" fmla="*/ 0 w 4231"/>
                <a:gd name="connsiteY0" fmla="*/ 0 h 4231"/>
                <a:gd name="connsiteX1" fmla="*/ 4232 w 4231"/>
                <a:gd name="connsiteY1" fmla="*/ 0 h 4231"/>
                <a:gd name="connsiteX2" fmla="*/ 4232 w 4231"/>
                <a:gd name="connsiteY2" fmla="*/ 4232 h 4231"/>
                <a:gd name="connsiteX3" fmla="*/ 0 w 4231"/>
                <a:gd name="connsiteY3" fmla="*/ 4232 h 42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231" h="4231">
                  <a:moveTo>
                    <a:pt x="0" y="0"/>
                  </a:moveTo>
                  <a:lnTo>
                    <a:pt x="4232" y="0"/>
                  </a:lnTo>
                  <a:lnTo>
                    <a:pt x="4232" y="4232"/>
                  </a:lnTo>
                  <a:lnTo>
                    <a:pt x="0" y="4232"/>
                  </a:ln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6" name="Forma livre: Forma 155">
              <a:extLst>
                <a:ext uri="{FF2B5EF4-FFF2-40B4-BE49-F238E27FC236}">
                  <a16:creationId xmlns:a16="http://schemas.microsoft.com/office/drawing/2014/main" id="{B98FF05F-E2BD-38B8-FBC2-292E35352328}"/>
                </a:ext>
              </a:extLst>
            </p:cNvPr>
            <p:cNvSpPr/>
            <p:nvPr/>
          </p:nvSpPr>
          <p:spPr>
            <a:xfrm>
              <a:off x="1417960" y="2859777"/>
              <a:ext cx="4231" cy="4231"/>
            </a:xfrm>
            <a:custGeom>
              <a:avLst/>
              <a:gdLst>
                <a:gd name="connsiteX0" fmla="*/ 0 w 4231"/>
                <a:gd name="connsiteY0" fmla="*/ 0 h 4231"/>
                <a:gd name="connsiteX1" fmla="*/ 4232 w 4231"/>
                <a:gd name="connsiteY1" fmla="*/ 0 h 4231"/>
                <a:gd name="connsiteX2" fmla="*/ 4232 w 4231"/>
                <a:gd name="connsiteY2" fmla="*/ 4232 h 4231"/>
                <a:gd name="connsiteX3" fmla="*/ 0 w 4231"/>
                <a:gd name="connsiteY3" fmla="*/ 4232 h 42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231" h="4231">
                  <a:moveTo>
                    <a:pt x="0" y="0"/>
                  </a:moveTo>
                  <a:lnTo>
                    <a:pt x="4232" y="0"/>
                  </a:lnTo>
                  <a:lnTo>
                    <a:pt x="4232" y="4232"/>
                  </a:lnTo>
                  <a:lnTo>
                    <a:pt x="0" y="4232"/>
                  </a:ln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7" name="Forma livre: Forma 156">
              <a:extLst>
                <a:ext uri="{FF2B5EF4-FFF2-40B4-BE49-F238E27FC236}">
                  <a16:creationId xmlns:a16="http://schemas.microsoft.com/office/drawing/2014/main" id="{CEFCC165-3018-53A4-E848-929F2B58D264}"/>
                </a:ext>
              </a:extLst>
            </p:cNvPr>
            <p:cNvSpPr/>
            <p:nvPr/>
          </p:nvSpPr>
          <p:spPr>
            <a:xfrm>
              <a:off x="1417960" y="2898994"/>
              <a:ext cx="4231" cy="4231"/>
            </a:xfrm>
            <a:custGeom>
              <a:avLst/>
              <a:gdLst>
                <a:gd name="connsiteX0" fmla="*/ 0 w 4231"/>
                <a:gd name="connsiteY0" fmla="*/ 0 h 4231"/>
                <a:gd name="connsiteX1" fmla="*/ 4232 w 4231"/>
                <a:gd name="connsiteY1" fmla="*/ 0 h 4231"/>
                <a:gd name="connsiteX2" fmla="*/ 4232 w 4231"/>
                <a:gd name="connsiteY2" fmla="*/ 4232 h 4231"/>
                <a:gd name="connsiteX3" fmla="*/ 0 w 4231"/>
                <a:gd name="connsiteY3" fmla="*/ 4232 h 42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231" h="4231">
                  <a:moveTo>
                    <a:pt x="0" y="0"/>
                  </a:moveTo>
                  <a:lnTo>
                    <a:pt x="4232" y="0"/>
                  </a:lnTo>
                  <a:lnTo>
                    <a:pt x="4232" y="4232"/>
                  </a:lnTo>
                  <a:lnTo>
                    <a:pt x="0" y="4232"/>
                  </a:ln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8" name="Forma livre: Forma 157">
              <a:extLst>
                <a:ext uri="{FF2B5EF4-FFF2-40B4-BE49-F238E27FC236}">
                  <a16:creationId xmlns:a16="http://schemas.microsoft.com/office/drawing/2014/main" id="{9DCB9D95-CB8B-2077-FBA2-EB5C592D7670}"/>
                </a:ext>
              </a:extLst>
            </p:cNvPr>
            <p:cNvSpPr/>
            <p:nvPr/>
          </p:nvSpPr>
          <p:spPr>
            <a:xfrm>
              <a:off x="1417960" y="2938212"/>
              <a:ext cx="4231" cy="4231"/>
            </a:xfrm>
            <a:custGeom>
              <a:avLst/>
              <a:gdLst>
                <a:gd name="connsiteX0" fmla="*/ 0 w 4231"/>
                <a:gd name="connsiteY0" fmla="*/ 0 h 4231"/>
                <a:gd name="connsiteX1" fmla="*/ 4232 w 4231"/>
                <a:gd name="connsiteY1" fmla="*/ 0 h 4231"/>
                <a:gd name="connsiteX2" fmla="*/ 4232 w 4231"/>
                <a:gd name="connsiteY2" fmla="*/ 4232 h 4231"/>
                <a:gd name="connsiteX3" fmla="*/ 0 w 4231"/>
                <a:gd name="connsiteY3" fmla="*/ 4232 h 42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231" h="4231">
                  <a:moveTo>
                    <a:pt x="0" y="0"/>
                  </a:moveTo>
                  <a:lnTo>
                    <a:pt x="4232" y="0"/>
                  </a:lnTo>
                  <a:lnTo>
                    <a:pt x="4232" y="4232"/>
                  </a:lnTo>
                  <a:lnTo>
                    <a:pt x="0" y="4232"/>
                  </a:ln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9" name="Forma livre: Forma 158">
              <a:extLst>
                <a:ext uri="{FF2B5EF4-FFF2-40B4-BE49-F238E27FC236}">
                  <a16:creationId xmlns:a16="http://schemas.microsoft.com/office/drawing/2014/main" id="{3BCA06E6-6694-8179-CF23-4B6CC77EEE11}"/>
                </a:ext>
              </a:extLst>
            </p:cNvPr>
            <p:cNvSpPr/>
            <p:nvPr/>
          </p:nvSpPr>
          <p:spPr>
            <a:xfrm>
              <a:off x="1619116" y="2859777"/>
              <a:ext cx="4231" cy="4231"/>
            </a:xfrm>
            <a:custGeom>
              <a:avLst/>
              <a:gdLst>
                <a:gd name="connsiteX0" fmla="*/ 0 w 4231"/>
                <a:gd name="connsiteY0" fmla="*/ 0 h 4231"/>
                <a:gd name="connsiteX1" fmla="*/ 4232 w 4231"/>
                <a:gd name="connsiteY1" fmla="*/ 0 h 4231"/>
                <a:gd name="connsiteX2" fmla="*/ 4232 w 4231"/>
                <a:gd name="connsiteY2" fmla="*/ 4232 h 4231"/>
                <a:gd name="connsiteX3" fmla="*/ 0 w 4231"/>
                <a:gd name="connsiteY3" fmla="*/ 4232 h 42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231" h="4231">
                  <a:moveTo>
                    <a:pt x="0" y="0"/>
                  </a:moveTo>
                  <a:lnTo>
                    <a:pt x="4232" y="0"/>
                  </a:lnTo>
                  <a:lnTo>
                    <a:pt x="4232" y="4232"/>
                  </a:lnTo>
                  <a:lnTo>
                    <a:pt x="0" y="4232"/>
                  </a:ln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0" name="Forma livre: Forma 159">
              <a:extLst>
                <a:ext uri="{FF2B5EF4-FFF2-40B4-BE49-F238E27FC236}">
                  <a16:creationId xmlns:a16="http://schemas.microsoft.com/office/drawing/2014/main" id="{8B31AED6-4B0C-8849-9111-89BD3FA77DBB}"/>
                </a:ext>
              </a:extLst>
            </p:cNvPr>
            <p:cNvSpPr/>
            <p:nvPr/>
          </p:nvSpPr>
          <p:spPr>
            <a:xfrm>
              <a:off x="1619116" y="2898994"/>
              <a:ext cx="4231" cy="4231"/>
            </a:xfrm>
            <a:custGeom>
              <a:avLst/>
              <a:gdLst>
                <a:gd name="connsiteX0" fmla="*/ 0 w 4231"/>
                <a:gd name="connsiteY0" fmla="*/ 0 h 4231"/>
                <a:gd name="connsiteX1" fmla="*/ 4232 w 4231"/>
                <a:gd name="connsiteY1" fmla="*/ 0 h 4231"/>
                <a:gd name="connsiteX2" fmla="*/ 4232 w 4231"/>
                <a:gd name="connsiteY2" fmla="*/ 4232 h 4231"/>
                <a:gd name="connsiteX3" fmla="*/ 0 w 4231"/>
                <a:gd name="connsiteY3" fmla="*/ 4232 h 42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231" h="4231">
                  <a:moveTo>
                    <a:pt x="0" y="0"/>
                  </a:moveTo>
                  <a:lnTo>
                    <a:pt x="4232" y="0"/>
                  </a:lnTo>
                  <a:lnTo>
                    <a:pt x="4232" y="4232"/>
                  </a:lnTo>
                  <a:lnTo>
                    <a:pt x="0" y="4232"/>
                  </a:ln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1" name="Forma livre: Forma 160">
              <a:extLst>
                <a:ext uri="{FF2B5EF4-FFF2-40B4-BE49-F238E27FC236}">
                  <a16:creationId xmlns:a16="http://schemas.microsoft.com/office/drawing/2014/main" id="{AB557F32-FC1F-DD76-C0B1-A67CF1E81384}"/>
                </a:ext>
              </a:extLst>
            </p:cNvPr>
            <p:cNvSpPr/>
            <p:nvPr/>
          </p:nvSpPr>
          <p:spPr>
            <a:xfrm>
              <a:off x="1619116" y="2938212"/>
              <a:ext cx="4231" cy="4231"/>
            </a:xfrm>
            <a:custGeom>
              <a:avLst/>
              <a:gdLst>
                <a:gd name="connsiteX0" fmla="*/ 0 w 4231"/>
                <a:gd name="connsiteY0" fmla="*/ 0 h 4231"/>
                <a:gd name="connsiteX1" fmla="*/ 4232 w 4231"/>
                <a:gd name="connsiteY1" fmla="*/ 0 h 4231"/>
                <a:gd name="connsiteX2" fmla="*/ 4232 w 4231"/>
                <a:gd name="connsiteY2" fmla="*/ 4232 h 4231"/>
                <a:gd name="connsiteX3" fmla="*/ 0 w 4231"/>
                <a:gd name="connsiteY3" fmla="*/ 4232 h 42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231" h="4231">
                  <a:moveTo>
                    <a:pt x="0" y="0"/>
                  </a:moveTo>
                  <a:lnTo>
                    <a:pt x="4232" y="0"/>
                  </a:lnTo>
                  <a:lnTo>
                    <a:pt x="4232" y="4232"/>
                  </a:lnTo>
                  <a:lnTo>
                    <a:pt x="0" y="4232"/>
                  </a:ln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81" name="Gráfico 5">
            <a:extLst>
              <a:ext uri="{FF2B5EF4-FFF2-40B4-BE49-F238E27FC236}">
                <a16:creationId xmlns:a16="http://schemas.microsoft.com/office/drawing/2014/main" id="{17E81766-7F3F-D6D8-3553-FA1157497D8F}"/>
              </a:ext>
            </a:extLst>
          </p:cNvPr>
          <p:cNvGrpSpPr/>
          <p:nvPr/>
        </p:nvGrpSpPr>
        <p:grpSpPr>
          <a:xfrm>
            <a:off x="2598832" y="2090237"/>
            <a:ext cx="297354" cy="284265"/>
            <a:chOff x="2598832" y="2090237"/>
            <a:chExt cx="297354" cy="284265"/>
          </a:xfrm>
        </p:grpSpPr>
        <p:sp>
          <p:nvSpPr>
            <p:cNvPr id="182" name="Forma livre: Forma 181">
              <a:extLst>
                <a:ext uri="{FF2B5EF4-FFF2-40B4-BE49-F238E27FC236}">
                  <a16:creationId xmlns:a16="http://schemas.microsoft.com/office/drawing/2014/main" id="{EABB725F-F131-D09A-F815-1166468987A2}"/>
                </a:ext>
              </a:extLst>
            </p:cNvPr>
            <p:cNvSpPr/>
            <p:nvPr/>
          </p:nvSpPr>
          <p:spPr>
            <a:xfrm>
              <a:off x="2598832" y="2090237"/>
              <a:ext cx="213211" cy="284265"/>
            </a:xfrm>
            <a:custGeom>
              <a:avLst/>
              <a:gdLst>
                <a:gd name="connsiteX0" fmla="*/ 213212 w 213211"/>
                <a:gd name="connsiteY0" fmla="*/ 72087 h 284265"/>
                <a:gd name="connsiteX1" fmla="*/ 213212 w 213211"/>
                <a:gd name="connsiteY1" fmla="*/ 19683 h 284265"/>
                <a:gd name="connsiteX2" fmla="*/ 193529 w 213211"/>
                <a:gd name="connsiteY2" fmla="*/ 0 h 284265"/>
                <a:gd name="connsiteX3" fmla="*/ 54914 w 213211"/>
                <a:gd name="connsiteY3" fmla="*/ 0 h 284265"/>
                <a:gd name="connsiteX4" fmla="*/ 0 w 213211"/>
                <a:gd name="connsiteY4" fmla="*/ 47681 h 284265"/>
                <a:gd name="connsiteX5" fmla="*/ 0 w 213211"/>
                <a:gd name="connsiteY5" fmla="*/ 264583 h 284265"/>
                <a:gd name="connsiteX6" fmla="*/ 19683 w 213211"/>
                <a:gd name="connsiteY6" fmla="*/ 284266 h 284265"/>
                <a:gd name="connsiteX7" fmla="*/ 193529 w 213211"/>
                <a:gd name="connsiteY7" fmla="*/ 284266 h 284265"/>
                <a:gd name="connsiteX8" fmla="*/ 213212 w 213211"/>
                <a:gd name="connsiteY8" fmla="*/ 264583 h 284265"/>
                <a:gd name="connsiteX9" fmla="*/ 213212 w 213211"/>
                <a:gd name="connsiteY9" fmla="*/ 252478 h 2842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13211" h="284265">
                  <a:moveTo>
                    <a:pt x="213212" y="72087"/>
                  </a:moveTo>
                  <a:lnTo>
                    <a:pt x="213212" y="19683"/>
                  </a:lnTo>
                  <a:cubicBezTo>
                    <a:pt x="213212" y="8857"/>
                    <a:pt x="204354" y="0"/>
                    <a:pt x="193529" y="0"/>
                  </a:cubicBezTo>
                  <a:lnTo>
                    <a:pt x="54914" y="0"/>
                  </a:lnTo>
                  <a:lnTo>
                    <a:pt x="0" y="47681"/>
                  </a:lnTo>
                  <a:lnTo>
                    <a:pt x="0" y="264583"/>
                  </a:lnTo>
                  <a:cubicBezTo>
                    <a:pt x="0" y="275408"/>
                    <a:pt x="8857" y="284266"/>
                    <a:pt x="19683" y="284266"/>
                  </a:cubicBezTo>
                  <a:lnTo>
                    <a:pt x="193529" y="284266"/>
                  </a:lnTo>
                  <a:cubicBezTo>
                    <a:pt x="204354" y="284266"/>
                    <a:pt x="213212" y="275408"/>
                    <a:pt x="213212" y="264583"/>
                  </a:cubicBezTo>
                  <a:lnTo>
                    <a:pt x="213212" y="252478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3" name="Forma livre: Forma 182">
              <a:extLst>
                <a:ext uri="{FF2B5EF4-FFF2-40B4-BE49-F238E27FC236}">
                  <a16:creationId xmlns:a16="http://schemas.microsoft.com/office/drawing/2014/main" id="{0D87C9AB-80C4-09A4-28F7-C2BDA8710303}"/>
                </a:ext>
              </a:extLst>
            </p:cNvPr>
            <p:cNvSpPr/>
            <p:nvPr/>
          </p:nvSpPr>
          <p:spPr>
            <a:xfrm>
              <a:off x="2634556" y="2094026"/>
              <a:ext cx="37003" cy="60573"/>
            </a:xfrm>
            <a:custGeom>
              <a:avLst/>
              <a:gdLst>
                <a:gd name="connsiteX0" fmla="*/ 37003 w 37003"/>
                <a:gd name="connsiteY0" fmla="*/ 0 h 60573"/>
                <a:gd name="connsiteX1" fmla="*/ 37003 w 37003"/>
                <a:gd name="connsiteY1" fmla="*/ 60573 h 60573"/>
                <a:gd name="connsiteX2" fmla="*/ 0 w 37003"/>
                <a:gd name="connsiteY2" fmla="*/ 60573 h 605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7003" h="60573">
                  <a:moveTo>
                    <a:pt x="37003" y="0"/>
                  </a:moveTo>
                  <a:lnTo>
                    <a:pt x="37003" y="60573"/>
                  </a:lnTo>
                  <a:lnTo>
                    <a:pt x="0" y="60573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4" name="Forma livre: Forma 183">
              <a:extLst>
                <a:ext uri="{FF2B5EF4-FFF2-40B4-BE49-F238E27FC236}">
                  <a16:creationId xmlns:a16="http://schemas.microsoft.com/office/drawing/2014/main" id="{E7AA6ADE-D24C-CCF6-7A11-231BED4EFC1B}"/>
                </a:ext>
              </a:extLst>
            </p:cNvPr>
            <p:cNvSpPr/>
            <p:nvPr/>
          </p:nvSpPr>
          <p:spPr>
            <a:xfrm>
              <a:off x="2760082" y="2184713"/>
              <a:ext cx="136105" cy="136105"/>
            </a:xfrm>
            <a:custGeom>
              <a:avLst/>
              <a:gdLst>
                <a:gd name="connsiteX0" fmla="*/ 136105 w 136105"/>
                <a:gd name="connsiteY0" fmla="*/ 68053 h 136105"/>
                <a:gd name="connsiteX1" fmla="*/ 68053 w 136105"/>
                <a:gd name="connsiteY1" fmla="*/ 136105 h 136105"/>
                <a:gd name="connsiteX2" fmla="*/ 0 w 136105"/>
                <a:gd name="connsiteY2" fmla="*/ 68053 h 136105"/>
                <a:gd name="connsiteX3" fmla="*/ 68053 w 136105"/>
                <a:gd name="connsiteY3" fmla="*/ 0 h 136105"/>
                <a:gd name="connsiteX4" fmla="*/ 136105 w 136105"/>
                <a:gd name="connsiteY4" fmla="*/ 68053 h 1361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6105" h="136105">
                  <a:moveTo>
                    <a:pt x="136105" y="68053"/>
                  </a:moveTo>
                  <a:cubicBezTo>
                    <a:pt x="136105" y="105637"/>
                    <a:pt x="105637" y="136105"/>
                    <a:pt x="68053" y="136105"/>
                  </a:cubicBezTo>
                  <a:cubicBezTo>
                    <a:pt x="30468" y="136105"/>
                    <a:pt x="0" y="105637"/>
                    <a:pt x="0" y="68053"/>
                  </a:cubicBezTo>
                  <a:cubicBezTo>
                    <a:pt x="0" y="30468"/>
                    <a:pt x="30468" y="0"/>
                    <a:pt x="68053" y="0"/>
                  </a:cubicBezTo>
                  <a:cubicBezTo>
                    <a:pt x="105637" y="0"/>
                    <a:pt x="136105" y="30468"/>
                    <a:pt x="136105" y="68053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5" name="Forma livre: Forma 184">
              <a:extLst>
                <a:ext uri="{FF2B5EF4-FFF2-40B4-BE49-F238E27FC236}">
                  <a16:creationId xmlns:a16="http://schemas.microsoft.com/office/drawing/2014/main" id="{1943A1BA-D6EF-4143-CC3F-E6D2DF02B8F5}"/>
                </a:ext>
              </a:extLst>
            </p:cNvPr>
            <p:cNvSpPr/>
            <p:nvPr/>
          </p:nvSpPr>
          <p:spPr>
            <a:xfrm>
              <a:off x="2796987" y="2226735"/>
              <a:ext cx="63181" cy="45860"/>
            </a:xfrm>
            <a:custGeom>
              <a:avLst/>
              <a:gdLst>
                <a:gd name="connsiteX0" fmla="*/ 0 w 63181"/>
                <a:gd name="connsiteY0" fmla="*/ 23373 h 45860"/>
                <a:gd name="connsiteX1" fmla="*/ 27703 w 63181"/>
                <a:gd name="connsiteY1" fmla="*/ 45860 h 45860"/>
                <a:gd name="connsiteX2" fmla="*/ 63181 w 63181"/>
                <a:gd name="connsiteY2" fmla="*/ 0 h 458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3181" h="45860">
                  <a:moveTo>
                    <a:pt x="0" y="23373"/>
                  </a:moveTo>
                  <a:lnTo>
                    <a:pt x="27703" y="45860"/>
                  </a:lnTo>
                  <a:lnTo>
                    <a:pt x="63181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86" name="Gráfico 5">
              <a:extLst>
                <a:ext uri="{FF2B5EF4-FFF2-40B4-BE49-F238E27FC236}">
                  <a16:creationId xmlns:a16="http://schemas.microsoft.com/office/drawing/2014/main" id="{DE1FFE71-E4CF-3807-4391-919B78A49693}"/>
                </a:ext>
              </a:extLst>
            </p:cNvPr>
            <p:cNvGrpSpPr/>
            <p:nvPr/>
          </p:nvGrpSpPr>
          <p:grpSpPr>
            <a:xfrm>
              <a:off x="2642282" y="2230524"/>
              <a:ext cx="98954" cy="4231"/>
              <a:chOff x="2642282" y="2230524"/>
              <a:chExt cx="98954" cy="4231"/>
            </a:xfrm>
            <a:solidFill>
              <a:srgbClr val="394553"/>
            </a:solidFill>
          </p:grpSpPr>
          <p:sp>
            <p:nvSpPr>
              <p:cNvPr id="187" name="Forma livre: Forma 186">
                <a:extLst>
                  <a:ext uri="{FF2B5EF4-FFF2-40B4-BE49-F238E27FC236}">
                    <a16:creationId xmlns:a16="http://schemas.microsoft.com/office/drawing/2014/main" id="{2C04C52C-66CC-EC74-B7F2-C4772ECEB22D}"/>
                  </a:ext>
                </a:extLst>
              </p:cNvPr>
              <p:cNvSpPr/>
              <p:nvPr/>
            </p:nvSpPr>
            <p:spPr>
              <a:xfrm>
                <a:off x="2642282" y="2230524"/>
                <a:ext cx="4231" cy="4231"/>
              </a:xfrm>
              <a:custGeom>
                <a:avLst/>
                <a:gdLst>
                  <a:gd name="connsiteX0" fmla="*/ 0 w 4231"/>
                  <a:gd name="connsiteY0" fmla="*/ 0 h 4231"/>
                  <a:gd name="connsiteX1" fmla="*/ 4232 w 4231"/>
                  <a:gd name="connsiteY1" fmla="*/ 0 h 4231"/>
                  <a:gd name="connsiteX2" fmla="*/ 4232 w 4231"/>
                  <a:gd name="connsiteY2" fmla="*/ 4232 h 4231"/>
                  <a:gd name="connsiteX3" fmla="*/ 0 w 4231"/>
                  <a:gd name="connsiteY3" fmla="*/ 4232 h 42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231" h="4231">
                    <a:moveTo>
                      <a:pt x="0" y="0"/>
                    </a:moveTo>
                    <a:lnTo>
                      <a:pt x="4232" y="0"/>
                    </a:lnTo>
                    <a:lnTo>
                      <a:pt x="4232" y="4232"/>
                    </a:lnTo>
                    <a:lnTo>
                      <a:pt x="0" y="4232"/>
                    </a:ln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88" name="Forma livre: Forma 187">
                <a:extLst>
                  <a:ext uri="{FF2B5EF4-FFF2-40B4-BE49-F238E27FC236}">
                    <a16:creationId xmlns:a16="http://schemas.microsoft.com/office/drawing/2014/main" id="{AF1B5D90-0DFC-0941-D70D-77CE78D8193D}"/>
                  </a:ext>
                </a:extLst>
              </p:cNvPr>
              <p:cNvSpPr/>
              <p:nvPr/>
            </p:nvSpPr>
            <p:spPr>
              <a:xfrm>
                <a:off x="2673872" y="2232640"/>
                <a:ext cx="67363" cy="4920"/>
              </a:xfrm>
              <a:custGeom>
                <a:avLst/>
                <a:gdLst>
                  <a:gd name="connsiteX0" fmla="*/ 0 w 67363"/>
                  <a:gd name="connsiteY0" fmla="*/ 0 h 4920"/>
                  <a:gd name="connsiteX1" fmla="*/ 67364 w 67363"/>
                  <a:gd name="connsiteY1" fmla="*/ 0 h 49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7363" h="4920">
                    <a:moveTo>
                      <a:pt x="0" y="0"/>
                    </a:moveTo>
                    <a:lnTo>
                      <a:pt x="67364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89" name="Gráfico 5">
              <a:extLst>
                <a:ext uri="{FF2B5EF4-FFF2-40B4-BE49-F238E27FC236}">
                  <a16:creationId xmlns:a16="http://schemas.microsoft.com/office/drawing/2014/main" id="{E11C3106-29A2-23FC-D646-C87E86738124}"/>
                </a:ext>
              </a:extLst>
            </p:cNvPr>
            <p:cNvGrpSpPr/>
            <p:nvPr/>
          </p:nvGrpSpPr>
          <p:grpSpPr>
            <a:xfrm>
              <a:off x="2642282" y="2270086"/>
              <a:ext cx="99298" cy="4231"/>
              <a:chOff x="2642282" y="2270086"/>
              <a:chExt cx="99298" cy="4231"/>
            </a:xfrm>
            <a:solidFill>
              <a:srgbClr val="394553"/>
            </a:solidFill>
          </p:grpSpPr>
          <p:sp>
            <p:nvSpPr>
              <p:cNvPr id="190" name="Forma livre: Forma 189">
                <a:extLst>
                  <a:ext uri="{FF2B5EF4-FFF2-40B4-BE49-F238E27FC236}">
                    <a16:creationId xmlns:a16="http://schemas.microsoft.com/office/drawing/2014/main" id="{B111AFE7-286A-BDAE-3999-CE847BEB622F}"/>
                  </a:ext>
                </a:extLst>
              </p:cNvPr>
              <p:cNvSpPr/>
              <p:nvPr/>
            </p:nvSpPr>
            <p:spPr>
              <a:xfrm>
                <a:off x="2642282" y="2270086"/>
                <a:ext cx="4231" cy="4231"/>
              </a:xfrm>
              <a:custGeom>
                <a:avLst/>
                <a:gdLst>
                  <a:gd name="connsiteX0" fmla="*/ 0 w 4231"/>
                  <a:gd name="connsiteY0" fmla="*/ 0 h 4231"/>
                  <a:gd name="connsiteX1" fmla="*/ 4232 w 4231"/>
                  <a:gd name="connsiteY1" fmla="*/ 0 h 4231"/>
                  <a:gd name="connsiteX2" fmla="*/ 4232 w 4231"/>
                  <a:gd name="connsiteY2" fmla="*/ 4232 h 4231"/>
                  <a:gd name="connsiteX3" fmla="*/ 0 w 4231"/>
                  <a:gd name="connsiteY3" fmla="*/ 4232 h 42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231" h="4231">
                    <a:moveTo>
                      <a:pt x="0" y="0"/>
                    </a:moveTo>
                    <a:lnTo>
                      <a:pt x="4232" y="0"/>
                    </a:lnTo>
                    <a:lnTo>
                      <a:pt x="4232" y="4232"/>
                    </a:lnTo>
                    <a:lnTo>
                      <a:pt x="0" y="4232"/>
                    </a:ln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91" name="Forma livre: Forma 190">
                <a:extLst>
                  <a:ext uri="{FF2B5EF4-FFF2-40B4-BE49-F238E27FC236}">
                    <a16:creationId xmlns:a16="http://schemas.microsoft.com/office/drawing/2014/main" id="{B04E7F64-B025-D64F-0728-230F6EFD5328}"/>
                  </a:ext>
                </a:extLst>
              </p:cNvPr>
              <p:cNvSpPr/>
              <p:nvPr/>
            </p:nvSpPr>
            <p:spPr>
              <a:xfrm>
                <a:off x="2673872" y="2272202"/>
                <a:ext cx="67708" cy="4920"/>
              </a:xfrm>
              <a:custGeom>
                <a:avLst/>
                <a:gdLst>
                  <a:gd name="connsiteX0" fmla="*/ 0 w 67708"/>
                  <a:gd name="connsiteY0" fmla="*/ 0 h 4920"/>
                  <a:gd name="connsiteX1" fmla="*/ 67708 w 67708"/>
                  <a:gd name="connsiteY1" fmla="*/ 0 h 49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7708" h="4920">
                    <a:moveTo>
                      <a:pt x="0" y="0"/>
                    </a:moveTo>
                    <a:lnTo>
                      <a:pt x="67708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92" name="Gráfico 5">
              <a:extLst>
                <a:ext uri="{FF2B5EF4-FFF2-40B4-BE49-F238E27FC236}">
                  <a16:creationId xmlns:a16="http://schemas.microsoft.com/office/drawing/2014/main" id="{1E607453-EDCE-6565-6E97-02CB3C9B9E1A}"/>
                </a:ext>
              </a:extLst>
            </p:cNvPr>
            <p:cNvGrpSpPr/>
            <p:nvPr/>
          </p:nvGrpSpPr>
          <p:grpSpPr>
            <a:xfrm>
              <a:off x="2642282" y="2309648"/>
              <a:ext cx="117898" cy="4231"/>
              <a:chOff x="2642282" y="2309648"/>
              <a:chExt cx="117898" cy="4231"/>
            </a:xfrm>
            <a:solidFill>
              <a:srgbClr val="394553"/>
            </a:solidFill>
          </p:grpSpPr>
          <p:sp>
            <p:nvSpPr>
              <p:cNvPr id="193" name="Forma livre: Forma 192">
                <a:extLst>
                  <a:ext uri="{FF2B5EF4-FFF2-40B4-BE49-F238E27FC236}">
                    <a16:creationId xmlns:a16="http://schemas.microsoft.com/office/drawing/2014/main" id="{CF7F0733-04A6-09E9-31F5-66E11F41F0B9}"/>
                  </a:ext>
                </a:extLst>
              </p:cNvPr>
              <p:cNvSpPr/>
              <p:nvPr/>
            </p:nvSpPr>
            <p:spPr>
              <a:xfrm>
                <a:off x="2642282" y="2309648"/>
                <a:ext cx="4231" cy="4231"/>
              </a:xfrm>
              <a:custGeom>
                <a:avLst/>
                <a:gdLst>
                  <a:gd name="connsiteX0" fmla="*/ 0 w 4231"/>
                  <a:gd name="connsiteY0" fmla="*/ 0 h 4231"/>
                  <a:gd name="connsiteX1" fmla="*/ 4232 w 4231"/>
                  <a:gd name="connsiteY1" fmla="*/ 0 h 4231"/>
                  <a:gd name="connsiteX2" fmla="*/ 4232 w 4231"/>
                  <a:gd name="connsiteY2" fmla="*/ 4232 h 4231"/>
                  <a:gd name="connsiteX3" fmla="*/ 0 w 4231"/>
                  <a:gd name="connsiteY3" fmla="*/ 4232 h 42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231" h="4231">
                    <a:moveTo>
                      <a:pt x="0" y="0"/>
                    </a:moveTo>
                    <a:lnTo>
                      <a:pt x="4232" y="0"/>
                    </a:lnTo>
                    <a:lnTo>
                      <a:pt x="4232" y="4232"/>
                    </a:lnTo>
                    <a:lnTo>
                      <a:pt x="0" y="4232"/>
                    </a:ln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94" name="Forma livre: Forma 193">
                <a:extLst>
                  <a:ext uri="{FF2B5EF4-FFF2-40B4-BE49-F238E27FC236}">
                    <a16:creationId xmlns:a16="http://schemas.microsoft.com/office/drawing/2014/main" id="{F505785F-03B2-B119-4B32-AF6898BB7025}"/>
                  </a:ext>
                </a:extLst>
              </p:cNvPr>
              <p:cNvSpPr/>
              <p:nvPr/>
            </p:nvSpPr>
            <p:spPr>
              <a:xfrm>
                <a:off x="2673872" y="2311764"/>
                <a:ext cx="86308" cy="4920"/>
              </a:xfrm>
              <a:custGeom>
                <a:avLst/>
                <a:gdLst>
                  <a:gd name="connsiteX0" fmla="*/ 0 w 86308"/>
                  <a:gd name="connsiteY0" fmla="*/ 0 h 4920"/>
                  <a:gd name="connsiteX1" fmla="*/ 86308 w 86308"/>
                  <a:gd name="connsiteY1" fmla="*/ 0 h 49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86308" h="4920">
                    <a:moveTo>
                      <a:pt x="0" y="0"/>
                    </a:moveTo>
                    <a:lnTo>
                      <a:pt x="86308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95" name="Gráfico 5">
            <a:extLst>
              <a:ext uri="{FF2B5EF4-FFF2-40B4-BE49-F238E27FC236}">
                <a16:creationId xmlns:a16="http://schemas.microsoft.com/office/drawing/2014/main" id="{E8BAB76F-4371-8FE5-EC70-73D713B97537}"/>
              </a:ext>
            </a:extLst>
          </p:cNvPr>
          <p:cNvGrpSpPr/>
          <p:nvPr/>
        </p:nvGrpSpPr>
        <p:grpSpPr>
          <a:xfrm>
            <a:off x="2625748" y="1568993"/>
            <a:ext cx="243522" cy="243571"/>
            <a:chOff x="2625748" y="1568993"/>
            <a:chExt cx="243522" cy="243571"/>
          </a:xfrm>
          <a:noFill/>
        </p:grpSpPr>
        <p:sp>
          <p:nvSpPr>
            <p:cNvPr id="196" name="Forma livre: Forma 195">
              <a:extLst>
                <a:ext uri="{FF2B5EF4-FFF2-40B4-BE49-F238E27FC236}">
                  <a16:creationId xmlns:a16="http://schemas.microsoft.com/office/drawing/2014/main" id="{1285016E-2DDA-F6A5-78BD-705898E4BC44}"/>
                </a:ext>
              </a:extLst>
            </p:cNvPr>
            <p:cNvSpPr/>
            <p:nvPr/>
          </p:nvSpPr>
          <p:spPr>
            <a:xfrm>
              <a:off x="2625748" y="1569042"/>
              <a:ext cx="138417" cy="243522"/>
            </a:xfrm>
            <a:custGeom>
              <a:avLst/>
              <a:gdLst>
                <a:gd name="connsiteX0" fmla="*/ 80305 w 138417"/>
                <a:gd name="connsiteY0" fmla="*/ 243523 h 243522"/>
                <a:gd name="connsiteX1" fmla="*/ 24603 w 138417"/>
                <a:gd name="connsiteY1" fmla="*/ 243523 h 243522"/>
                <a:gd name="connsiteX2" fmla="*/ 0 w 138417"/>
                <a:gd name="connsiteY2" fmla="*/ 218919 h 243522"/>
                <a:gd name="connsiteX3" fmla="*/ 0 w 138417"/>
                <a:gd name="connsiteY3" fmla="*/ 24603 h 243522"/>
                <a:gd name="connsiteX4" fmla="*/ 24603 w 138417"/>
                <a:gd name="connsiteY4" fmla="*/ 0 h 243522"/>
                <a:gd name="connsiteX5" fmla="*/ 138418 w 138417"/>
                <a:gd name="connsiteY5" fmla="*/ 0 h 2435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38417" h="243522">
                  <a:moveTo>
                    <a:pt x="80305" y="243523"/>
                  </a:moveTo>
                  <a:lnTo>
                    <a:pt x="24603" y="243523"/>
                  </a:lnTo>
                  <a:cubicBezTo>
                    <a:pt x="11071" y="243523"/>
                    <a:pt x="0" y="232451"/>
                    <a:pt x="0" y="218919"/>
                  </a:cubicBezTo>
                  <a:lnTo>
                    <a:pt x="0" y="24603"/>
                  </a:lnTo>
                  <a:cubicBezTo>
                    <a:pt x="0" y="11071"/>
                    <a:pt x="11071" y="0"/>
                    <a:pt x="24603" y="0"/>
                  </a:cubicBezTo>
                  <a:lnTo>
                    <a:pt x="138418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7" name="Forma livre: Forma 196">
              <a:extLst>
                <a:ext uri="{FF2B5EF4-FFF2-40B4-BE49-F238E27FC236}">
                  <a16:creationId xmlns:a16="http://schemas.microsoft.com/office/drawing/2014/main" id="{FC96FE34-D05E-C971-447D-93DB653A6EFA}"/>
                </a:ext>
              </a:extLst>
            </p:cNvPr>
            <p:cNvSpPr/>
            <p:nvPr/>
          </p:nvSpPr>
          <p:spPr>
            <a:xfrm>
              <a:off x="2730017" y="1568993"/>
              <a:ext cx="139254" cy="243522"/>
            </a:xfrm>
            <a:custGeom>
              <a:avLst/>
              <a:gdLst>
                <a:gd name="connsiteX0" fmla="*/ 58359 w 139254"/>
                <a:gd name="connsiteY0" fmla="*/ 0 h 243522"/>
                <a:gd name="connsiteX1" fmla="*/ 114651 w 139254"/>
                <a:gd name="connsiteY1" fmla="*/ 0 h 243522"/>
                <a:gd name="connsiteX2" fmla="*/ 139254 w 139254"/>
                <a:gd name="connsiteY2" fmla="*/ 24603 h 243522"/>
                <a:gd name="connsiteX3" fmla="*/ 139254 w 139254"/>
                <a:gd name="connsiteY3" fmla="*/ 218919 h 243522"/>
                <a:gd name="connsiteX4" fmla="*/ 114651 w 139254"/>
                <a:gd name="connsiteY4" fmla="*/ 243523 h 243522"/>
                <a:gd name="connsiteX5" fmla="*/ 0 w 139254"/>
                <a:gd name="connsiteY5" fmla="*/ 243523 h 2435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39254" h="243522">
                  <a:moveTo>
                    <a:pt x="58359" y="0"/>
                  </a:moveTo>
                  <a:lnTo>
                    <a:pt x="114651" y="0"/>
                  </a:lnTo>
                  <a:cubicBezTo>
                    <a:pt x="128183" y="0"/>
                    <a:pt x="139254" y="11071"/>
                    <a:pt x="139254" y="24603"/>
                  </a:cubicBezTo>
                  <a:lnTo>
                    <a:pt x="139254" y="218919"/>
                  </a:lnTo>
                  <a:cubicBezTo>
                    <a:pt x="139254" y="232451"/>
                    <a:pt x="128183" y="243523"/>
                    <a:pt x="114651" y="243523"/>
                  </a:cubicBezTo>
                  <a:lnTo>
                    <a:pt x="0" y="243523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8" name="Forma livre: Forma 197">
              <a:extLst>
                <a:ext uri="{FF2B5EF4-FFF2-40B4-BE49-F238E27FC236}">
                  <a16:creationId xmlns:a16="http://schemas.microsoft.com/office/drawing/2014/main" id="{00AEB19F-6B39-4F46-14B0-424C28AC7829}"/>
                </a:ext>
              </a:extLst>
            </p:cNvPr>
            <p:cNvSpPr/>
            <p:nvPr/>
          </p:nvSpPr>
          <p:spPr>
            <a:xfrm>
              <a:off x="2778879" y="1650380"/>
              <a:ext cx="58162" cy="4920"/>
            </a:xfrm>
            <a:custGeom>
              <a:avLst/>
              <a:gdLst>
                <a:gd name="connsiteX0" fmla="*/ 0 w 58162"/>
                <a:gd name="connsiteY0" fmla="*/ 0 h 4920"/>
                <a:gd name="connsiteX1" fmla="*/ 58162 w 58162"/>
                <a:gd name="connsiteY1" fmla="*/ 0 h 49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8162" h="4920">
                  <a:moveTo>
                    <a:pt x="0" y="0"/>
                  </a:moveTo>
                  <a:lnTo>
                    <a:pt x="58162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9" name="Forma livre: Forma 198">
              <a:extLst>
                <a:ext uri="{FF2B5EF4-FFF2-40B4-BE49-F238E27FC236}">
                  <a16:creationId xmlns:a16="http://schemas.microsoft.com/office/drawing/2014/main" id="{3A306E81-D955-1A66-5713-C71F39C8A80C}"/>
                </a:ext>
              </a:extLst>
            </p:cNvPr>
            <p:cNvSpPr/>
            <p:nvPr/>
          </p:nvSpPr>
          <p:spPr>
            <a:xfrm>
              <a:off x="2787883" y="1690730"/>
              <a:ext cx="79616" cy="80354"/>
            </a:xfrm>
            <a:custGeom>
              <a:avLst/>
              <a:gdLst>
                <a:gd name="connsiteX0" fmla="*/ 79616 w 79616"/>
                <a:gd name="connsiteY0" fmla="*/ 0 h 80354"/>
                <a:gd name="connsiteX1" fmla="*/ 0 w 79616"/>
                <a:gd name="connsiteY1" fmla="*/ 0 h 80354"/>
                <a:gd name="connsiteX2" fmla="*/ 0 w 79616"/>
                <a:gd name="connsiteY2" fmla="*/ 80354 h 803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79616" h="80354">
                  <a:moveTo>
                    <a:pt x="79616" y="0"/>
                  </a:moveTo>
                  <a:lnTo>
                    <a:pt x="0" y="0"/>
                  </a:lnTo>
                  <a:lnTo>
                    <a:pt x="0" y="80354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0" name="Forma livre: Forma 199">
              <a:extLst>
                <a:ext uri="{FF2B5EF4-FFF2-40B4-BE49-F238E27FC236}">
                  <a16:creationId xmlns:a16="http://schemas.microsoft.com/office/drawing/2014/main" id="{C265DA25-E3F2-BB75-856D-D3530C16B733}"/>
                </a:ext>
              </a:extLst>
            </p:cNvPr>
            <p:cNvSpPr/>
            <p:nvPr/>
          </p:nvSpPr>
          <p:spPr>
            <a:xfrm>
              <a:off x="2666589" y="1571650"/>
              <a:ext cx="162086" cy="86947"/>
            </a:xfrm>
            <a:custGeom>
              <a:avLst/>
              <a:gdLst>
                <a:gd name="connsiteX0" fmla="*/ 0 w 162086"/>
                <a:gd name="connsiteY0" fmla="*/ 86948 h 86947"/>
                <a:gd name="connsiteX1" fmla="*/ 0 w 162086"/>
                <a:gd name="connsiteY1" fmla="*/ 38430 h 86947"/>
                <a:gd name="connsiteX2" fmla="*/ 162086 w 162086"/>
                <a:gd name="connsiteY2" fmla="*/ 38430 h 86947"/>
                <a:gd name="connsiteX3" fmla="*/ 162086 w 162086"/>
                <a:gd name="connsiteY3" fmla="*/ 0 h 869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62086" h="86947">
                  <a:moveTo>
                    <a:pt x="0" y="86948"/>
                  </a:moveTo>
                  <a:lnTo>
                    <a:pt x="0" y="38430"/>
                  </a:lnTo>
                  <a:lnTo>
                    <a:pt x="162086" y="38430"/>
                  </a:lnTo>
                  <a:lnTo>
                    <a:pt x="162086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1" name="Forma livre: Forma 200">
              <a:extLst>
                <a:ext uri="{FF2B5EF4-FFF2-40B4-BE49-F238E27FC236}">
                  <a16:creationId xmlns:a16="http://schemas.microsoft.com/office/drawing/2014/main" id="{FAD69A46-7E66-AF0D-03D5-9C34B0D92FFD}"/>
                </a:ext>
              </a:extLst>
            </p:cNvPr>
            <p:cNvSpPr/>
            <p:nvPr/>
          </p:nvSpPr>
          <p:spPr>
            <a:xfrm>
              <a:off x="2658077" y="1610523"/>
              <a:ext cx="89358" cy="120703"/>
            </a:xfrm>
            <a:custGeom>
              <a:avLst/>
              <a:gdLst>
                <a:gd name="connsiteX0" fmla="*/ 89359 w 89358"/>
                <a:gd name="connsiteY0" fmla="*/ 0 h 120703"/>
                <a:gd name="connsiteX1" fmla="*/ 89359 w 89358"/>
                <a:gd name="connsiteY1" fmla="*/ 120703 h 120703"/>
                <a:gd name="connsiteX2" fmla="*/ 0 w 89358"/>
                <a:gd name="connsiteY2" fmla="*/ 120703 h 1207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89358" h="120703">
                  <a:moveTo>
                    <a:pt x="89359" y="0"/>
                  </a:moveTo>
                  <a:lnTo>
                    <a:pt x="89359" y="120703"/>
                  </a:lnTo>
                  <a:lnTo>
                    <a:pt x="0" y="120703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2" name="Forma livre: Forma 201">
              <a:extLst>
                <a:ext uri="{FF2B5EF4-FFF2-40B4-BE49-F238E27FC236}">
                  <a16:creationId xmlns:a16="http://schemas.microsoft.com/office/drawing/2014/main" id="{FF7753C7-7415-F26C-4863-7A2A507AE0A6}"/>
                </a:ext>
              </a:extLst>
            </p:cNvPr>
            <p:cNvSpPr/>
            <p:nvPr/>
          </p:nvSpPr>
          <p:spPr>
            <a:xfrm>
              <a:off x="2627913" y="1641917"/>
              <a:ext cx="79025" cy="48615"/>
            </a:xfrm>
            <a:custGeom>
              <a:avLst/>
              <a:gdLst>
                <a:gd name="connsiteX0" fmla="*/ 0 w 79025"/>
                <a:gd name="connsiteY0" fmla="*/ 48616 h 48615"/>
                <a:gd name="connsiteX1" fmla="*/ 79026 w 79025"/>
                <a:gd name="connsiteY1" fmla="*/ 48616 h 48615"/>
                <a:gd name="connsiteX2" fmla="*/ 79026 w 79025"/>
                <a:gd name="connsiteY2" fmla="*/ 0 h 486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79025" h="48615">
                  <a:moveTo>
                    <a:pt x="0" y="48616"/>
                  </a:moveTo>
                  <a:lnTo>
                    <a:pt x="79026" y="48616"/>
                  </a:lnTo>
                  <a:lnTo>
                    <a:pt x="79026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3" name="Forma livre: Forma 202">
              <a:extLst>
                <a:ext uri="{FF2B5EF4-FFF2-40B4-BE49-F238E27FC236}">
                  <a16:creationId xmlns:a16="http://schemas.microsoft.com/office/drawing/2014/main" id="{52BF197E-B872-789A-664A-54611D804C6A}"/>
                </a:ext>
              </a:extLst>
            </p:cNvPr>
            <p:cNvSpPr/>
            <p:nvPr/>
          </p:nvSpPr>
          <p:spPr>
            <a:xfrm>
              <a:off x="2658077" y="1722173"/>
              <a:ext cx="170401" cy="49206"/>
            </a:xfrm>
            <a:custGeom>
              <a:avLst/>
              <a:gdLst>
                <a:gd name="connsiteX0" fmla="*/ 0 w 170401"/>
                <a:gd name="connsiteY0" fmla="*/ 49206 h 49206"/>
                <a:gd name="connsiteX1" fmla="*/ 170402 w 170401"/>
                <a:gd name="connsiteY1" fmla="*/ 49206 h 49206"/>
                <a:gd name="connsiteX2" fmla="*/ 170402 w 170401"/>
                <a:gd name="connsiteY2" fmla="*/ 0 h 492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70401" h="49206">
                  <a:moveTo>
                    <a:pt x="0" y="49206"/>
                  </a:moveTo>
                  <a:lnTo>
                    <a:pt x="170402" y="49206"/>
                  </a:lnTo>
                  <a:lnTo>
                    <a:pt x="170402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204" name="Gráfico 5">
            <a:extLst>
              <a:ext uri="{FF2B5EF4-FFF2-40B4-BE49-F238E27FC236}">
                <a16:creationId xmlns:a16="http://schemas.microsoft.com/office/drawing/2014/main" id="{3E8E69F9-640C-B273-C48E-1B11E3458C04}"/>
              </a:ext>
            </a:extLst>
          </p:cNvPr>
          <p:cNvGrpSpPr/>
          <p:nvPr/>
        </p:nvGrpSpPr>
        <p:grpSpPr>
          <a:xfrm>
            <a:off x="2622402" y="3144239"/>
            <a:ext cx="250264" cy="342722"/>
            <a:chOff x="2622402" y="3144239"/>
            <a:chExt cx="250264" cy="342722"/>
          </a:xfrm>
          <a:noFill/>
        </p:grpSpPr>
        <p:sp>
          <p:nvSpPr>
            <p:cNvPr id="205" name="Forma livre: Forma 204">
              <a:extLst>
                <a:ext uri="{FF2B5EF4-FFF2-40B4-BE49-F238E27FC236}">
                  <a16:creationId xmlns:a16="http://schemas.microsoft.com/office/drawing/2014/main" id="{53AF7D1D-D960-0BF9-C27A-3BD1A4C8C600}"/>
                </a:ext>
              </a:extLst>
            </p:cNvPr>
            <p:cNvSpPr/>
            <p:nvPr/>
          </p:nvSpPr>
          <p:spPr>
            <a:xfrm>
              <a:off x="2622402" y="3373984"/>
              <a:ext cx="250264" cy="112978"/>
            </a:xfrm>
            <a:custGeom>
              <a:avLst/>
              <a:gdLst>
                <a:gd name="connsiteX0" fmla="*/ 174781 w 250264"/>
                <a:gd name="connsiteY0" fmla="*/ 148 h 112978"/>
                <a:gd name="connsiteX1" fmla="*/ 250264 w 250264"/>
                <a:gd name="connsiteY1" fmla="*/ 54324 h 112978"/>
                <a:gd name="connsiteX2" fmla="*/ 125132 w 250264"/>
                <a:gd name="connsiteY2" fmla="*/ 112978 h 112978"/>
                <a:gd name="connsiteX3" fmla="*/ 0 w 250264"/>
                <a:gd name="connsiteY3" fmla="*/ 54324 h 112978"/>
                <a:gd name="connsiteX4" fmla="*/ 74154 w 250264"/>
                <a:gd name="connsiteY4" fmla="*/ 0 h 1129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0264" h="112978">
                  <a:moveTo>
                    <a:pt x="174781" y="148"/>
                  </a:moveTo>
                  <a:cubicBezTo>
                    <a:pt x="214097" y="7381"/>
                    <a:pt x="250264" y="24062"/>
                    <a:pt x="250264" y="54324"/>
                  </a:cubicBezTo>
                  <a:cubicBezTo>
                    <a:pt x="250264" y="97576"/>
                    <a:pt x="185656" y="112978"/>
                    <a:pt x="125132" y="112978"/>
                  </a:cubicBezTo>
                  <a:cubicBezTo>
                    <a:pt x="64608" y="112978"/>
                    <a:pt x="0" y="97576"/>
                    <a:pt x="0" y="54324"/>
                  </a:cubicBezTo>
                  <a:cubicBezTo>
                    <a:pt x="0" y="23816"/>
                    <a:pt x="34149" y="7135"/>
                    <a:pt x="74154" y="0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6" name="Forma livre: Forma 205">
              <a:extLst>
                <a:ext uri="{FF2B5EF4-FFF2-40B4-BE49-F238E27FC236}">
                  <a16:creationId xmlns:a16="http://schemas.microsoft.com/office/drawing/2014/main" id="{342F2D04-379F-F0FA-BC49-EDA11A939F14}"/>
                </a:ext>
              </a:extLst>
            </p:cNvPr>
            <p:cNvSpPr/>
            <p:nvPr/>
          </p:nvSpPr>
          <p:spPr>
            <a:xfrm>
              <a:off x="2661521" y="3403606"/>
              <a:ext cx="172025" cy="52060"/>
            </a:xfrm>
            <a:custGeom>
              <a:avLst/>
              <a:gdLst>
                <a:gd name="connsiteX0" fmla="*/ 135761 w 172025"/>
                <a:gd name="connsiteY0" fmla="*/ 0 h 52060"/>
                <a:gd name="connsiteX1" fmla="*/ 172026 w 172025"/>
                <a:gd name="connsiteY1" fmla="*/ 23373 h 52060"/>
                <a:gd name="connsiteX2" fmla="*/ 86013 w 172025"/>
                <a:gd name="connsiteY2" fmla="*/ 52060 h 52060"/>
                <a:gd name="connsiteX3" fmla="*/ 0 w 172025"/>
                <a:gd name="connsiteY3" fmla="*/ 23373 h 52060"/>
                <a:gd name="connsiteX4" fmla="*/ 34494 w 172025"/>
                <a:gd name="connsiteY4" fmla="*/ 394 h 520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2025" h="52060">
                  <a:moveTo>
                    <a:pt x="135761" y="0"/>
                  </a:moveTo>
                  <a:cubicBezTo>
                    <a:pt x="157707" y="5216"/>
                    <a:pt x="172026" y="13728"/>
                    <a:pt x="172026" y="23373"/>
                  </a:cubicBezTo>
                  <a:cubicBezTo>
                    <a:pt x="172026" y="39218"/>
                    <a:pt x="133497" y="52060"/>
                    <a:pt x="86013" y="52060"/>
                  </a:cubicBezTo>
                  <a:cubicBezTo>
                    <a:pt x="38529" y="52060"/>
                    <a:pt x="0" y="39218"/>
                    <a:pt x="0" y="23373"/>
                  </a:cubicBezTo>
                  <a:cubicBezTo>
                    <a:pt x="0" y="13975"/>
                    <a:pt x="13532" y="5659"/>
                    <a:pt x="34494" y="394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207" name="Gráfico 5">
              <a:extLst>
                <a:ext uri="{FF2B5EF4-FFF2-40B4-BE49-F238E27FC236}">
                  <a16:creationId xmlns:a16="http://schemas.microsoft.com/office/drawing/2014/main" id="{FA5C67F3-6801-855E-0FE8-F3AFD018105C}"/>
                </a:ext>
              </a:extLst>
            </p:cNvPr>
            <p:cNvGrpSpPr/>
            <p:nvPr/>
          </p:nvGrpSpPr>
          <p:grpSpPr>
            <a:xfrm>
              <a:off x="2698180" y="3144239"/>
              <a:ext cx="98216" cy="281706"/>
              <a:chOff x="2698180" y="3144239"/>
              <a:chExt cx="98216" cy="281706"/>
            </a:xfrm>
            <a:noFill/>
          </p:grpSpPr>
          <p:sp>
            <p:nvSpPr>
              <p:cNvPr id="208" name="Forma livre: Forma 207">
                <a:extLst>
                  <a:ext uri="{FF2B5EF4-FFF2-40B4-BE49-F238E27FC236}">
                    <a16:creationId xmlns:a16="http://schemas.microsoft.com/office/drawing/2014/main" id="{2E8AC50E-F987-0006-46AA-1A9013B6059A}"/>
                  </a:ext>
                </a:extLst>
              </p:cNvPr>
              <p:cNvSpPr/>
              <p:nvPr/>
            </p:nvSpPr>
            <p:spPr>
              <a:xfrm>
                <a:off x="2698180" y="3234877"/>
                <a:ext cx="98216" cy="191068"/>
              </a:xfrm>
              <a:custGeom>
                <a:avLst/>
                <a:gdLst>
                  <a:gd name="connsiteX0" fmla="*/ 73514 w 98216"/>
                  <a:gd name="connsiteY0" fmla="*/ 191069 h 191068"/>
                  <a:gd name="connsiteX1" fmla="*/ 73514 w 98216"/>
                  <a:gd name="connsiteY1" fmla="*/ 111797 h 191068"/>
                  <a:gd name="connsiteX2" fmla="*/ 78681 w 98216"/>
                  <a:gd name="connsiteY2" fmla="*/ 111797 h 191068"/>
                  <a:gd name="connsiteX3" fmla="*/ 98216 w 98216"/>
                  <a:gd name="connsiteY3" fmla="*/ 92262 h 191068"/>
                  <a:gd name="connsiteX4" fmla="*/ 98216 w 98216"/>
                  <a:gd name="connsiteY4" fmla="*/ 19535 h 191068"/>
                  <a:gd name="connsiteX5" fmla="*/ 78681 w 98216"/>
                  <a:gd name="connsiteY5" fmla="*/ 0 h 191068"/>
                  <a:gd name="connsiteX6" fmla="*/ 19535 w 98216"/>
                  <a:gd name="connsiteY6" fmla="*/ 0 h 191068"/>
                  <a:gd name="connsiteX7" fmla="*/ 0 w 98216"/>
                  <a:gd name="connsiteY7" fmla="*/ 19535 h 191068"/>
                  <a:gd name="connsiteX8" fmla="*/ 0 w 98216"/>
                  <a:gd name="connsiteY8" fmla="*/ 92262 h 191068"/>
                  <a:gd name="connsiteX9" fmla="*/ 19535 w 98216"/>
                  <a:gd name="connsiteY9" fmla="*/ 111797 h 191068"/>
                  <a:gd name="connsiteX10" fmla="*/ 24702 w 98216"/>
                  <a:gd name="connsiteY10" fmla="*/ 111797 h 191068"/>
                  <a:gd name="connsiteX11" fmla="*/ 24702 w 98216"/>
                  <a:gd name="connsiteY11" fmla="*/ 191069 h 1910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98216" h="191068">
                    <a:moveTo>
                      <a:pt x="73514" y="191069"/>
                    </a:moveTo>
                    <a:lnTo>
                      <a:pt x="73514" y="111797"/>
                    </a:lnTo>
                    <a:lnTo>
                      <a:pt x="78681" y="111797"/>
                    </a:lnTo>
                    <a:cubicBezTo>
                      <a:pt x="89457" y="111797"/>
                      <a:pt x="98216" y="102989"/>
                      <a:pt x="98216" y="92262"/>
                    </a:cubicBezTo>
                    <a:lnTo>
                      <a:pt x="98216" y="19535"/>
                    </a:lnTo>
                    <a:cubicBezTo>
                      <a:pt x="98216" y="8759"/>
                      <a:pt x="89408" y="0"/>
                      <a:pt x="78681" y="0"/>
                    </a:cubicBezTo>
                    <a:lnTo>
                      <a:pt x="19535" y="0"/>
                    </a:lnTo>
                    <a:cubicBezTo>
                      <a:pt x="8759" y="0"/>
                      <a:pt x="0" y="8808"/>
                      <a:pt x="0" y="19535"/>
                    </a:cubicBezTo>
                    <a:lnTo>
                      <a:pt x="0" y="92262"/>
                    </a:lnTo>
                    <a:cubicBezTo>
                      <a:pt x="0" y="102989"/>
                      <a:pt x="8808" y="111797"/>
                      <a:pt x="19535" y="111797"/>
                    </a:cubicBezTo>
                    <a:lnTo>
                      <a:pt x="24702" y="111797"/>
                    </a:lnTo>
                    <a:lnTo>
                      <a:pt x="24702" y="191069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09" name="Forma livre: Forma 208">
                <a:extLst>
                  <a:ext uri="{FF2B5EF4-FFF2-40B4-BE49-F238E27FC236}">
                    <a16:creationId xmlns:a16="http://schemas.microsoft.com/office/drawing/2014/main" id="{BB6485D6-FE91-65B7-8DF7-9ED5667226FF}"/>
                  </a:ext>
                </a:extLst>
              </p:cNvPr>
              <p:cNvSpPr/>
              <p:nvPr/>
            </p:nvSpPr>
            <p:spPr>
              <a:xfrm>
                <a:off x="2716583" y="3144239"/>
                <a:ext cx="61508" cy="61409"/>
              </a:xfrm>
              <a:custGeom>
                <a:avLst/>
                <a:gdLst>
                  <a:gd name="connsiteX0" fmla="*/ 61508 w 61508"/>
                  <a:gd name="connsiteY0" fmla="*/ 30705 h 61409"/>
                  <a:gd name="connsiteX1" fmla="*/ 30754 w 61508"/>
                  <a:gd name="connsiteY1" fmla="*/ 61410 h 61409"/>
                  <a:gd name="connsiteX2" fmla="*/ 0 w 61508"/>
                  <a:gd name="connsiteY2" fmla="*/ 30705 h 61409"/>
                  <a:gd name="connsiteX3" fmla="*/ 30754 w 61508"/>
                  <a:gd name="connsiteY3" fmla="*/ 0 h 61409"/>
                  <a:gd name="connsiteX4" fmla="*/ 61508 w 61508"/>
                  <a:gd name="connsiteY4" fmla="*/ 30705 h 614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1508" h="61409">
                    <a:moveTo>
                      <a:pt x="61508" y="30705"/>
                    </a:moveTo>
                    <a:cubicBezTo>
                      <a:pt x="61508" y="47681"/>
                      <a:pt x="47779" y="61410"/>
                      <a:pt x="30754" y="61410"/>
                    </a:cubicBezTo>
                    <a:cubicBezTo>
                      <a:pt x="13729" y="61410"/>
                      <a:pt x="0" y="47681"/>
                      <a:pt x="0" y="30705"/>
                    </a:cubicBezTo>
                    <a:cubicBezTo>
                      <a:pt x="0" y="13729"/>
                      <a:pt x="13729" y="0"/>
                      <a:pt x="30754" y="0"/>
                    </a:cubicBezTo>
                    <a:cubicBezTo>
                      <a:pt x="47779" y="0"/>
                      <a:pt x="61508" y="13778"/>
                      <a:pt x="61508" y="30705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221" name="Gráfico 5">
            <a:extLst>
              <a:ext uri="{FF2B5EF4-FFF2-40B4-BE49-F238E27FC236}">
                <a16:creationId xmlns:a16="http://schemas.microsoft.com/office/drawing/2014/main" id="{F7B619B2-ECB9-7C83-C760-30CF87358C03}"/>
              </a:ext>
            </a:extLst>
          </p:cNvPr>
          <p:cNvGrpSpPr/>
          <p:nvPr/>
        </p:nvGrpSpPr>
        <p:grpSpPr>
          <a:xfrm>
            <a:off x="3270599" y="2623290"/>
            <a:ext cx="240717" cy="301389"/>
            <a:chOff x="3270599" y="2623290"/>
            <a:chExt cx="240717" cy="301389"/>
          </a:xfrm>
        </p:grpSpPr>
        <p:grpSp>
          <p:nvGrpSpPr>
            <p:cNvPr id="222" name="Gráfico 5">
              <a:extLst>
                <a:ext uri="{FF2B5EF4-FFF2-40B4-BE49-F238E27FC236}">
                  <a16:creationId xmlns:a16="http://schemas.microsoft.com/office/drawing/2014/main" id="{3A51F028-3A38-D108-B2B9-2DACC513853B}"/>
                </a:ext>
              </a:extLst>
            </p:cNvPr>
            <p:cNvGrpSpPr/>
            <p:nvPr/>
          </p:nvGrpSpPr>
          <p:grpSpPr>
            <a:xfrm>
              <a:off x="3270599" y="2623290"/>
              <a:ext cx="127789" cy="151309"/>
              <a:chOff x="3270599" y="2623290"/>
              <a:chExt cx="127789" cy="151309"/>
            </a:xfrm>
          </p:grpSpPr>
          <p:sp>
            <p:nvSpPr>
              <p:cNvPr id="223" name="Forma livre: Forma 222">
                <a:extLst>
                  <a:ext uri="{FF2B5EF4-FFF2-40B4-BE49-F238E27FC236}">
                    <a16:creationId xmlns:a16="http://schemas.microsoft.com/office/drawing/2014/main" id="{19DD5746-A3BE-33BA-8046-2BCA5F3E8DF5}"/>
                  </a:ext>
                </a:extLst>
              </p:cNvPr>
              <p:cNvSpPr/>
              <p:nvPr/>
            </p:nvSpPr>
            <p:spPr>
              <a:xfrm>
                <a:off x="3300516" y="2623290"/>
                <a:ext cx="16730" cy="16730"/>
              </a:xfrm>
              <a:custGeom>
                <a:avLst/>
                <a:gdLst>
                  <a:gd name="connsiteX0" fmla="*/ 16730 w 16730"/>
                  <a:gd name="connsiteY0" fmla="*/ 8365 h 16730"/>
                  <a:gd name="connsiteX1" fmla="*/ 8365 w 16730"/>
                  <a:gd name="connsiteY1" fmla="*/ 16730 h 16730"/>
                  <a:gd name="connsiteX2" fmla="*/ 0 w 16730"/>
                  <a:gd name="connsiteY2" fmla="*/ 8365 h 16730"/>
                  <a:gd name="connsiteX3" fmla="*/ 8365 w 16730"/>
                  <a:gd name="connsiteY3" fmla="*/ 0 h 16730"/>
                  <a:gd name="connsiteX4" fmla="*/ 16730 w 16730"/>
                  <a:gd name="connsiteY4" fmla="*/ 8365 h 167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730" h="16730">
                    <a:moveTo>
                      <a:pt x="16730" y="8365"/>
                    </a:moveTo>
                    <a:cubicBezTo>
                      <a:pt x="16730" y="12991"/>
                      <a:pt x="12991" y="16730"/>
                      <a:pt x="8365" y="16730"/>
                    </a:cubicBezTo>
                    <a:cubicBezTo>
                      <a:pt x="3740" y="16730"/>
                      <a:pt x="0" y="12991"/>
                      <a:pt x="0" y="8365"/>
                    </a:cubicBezTo>
                    <a:cubicBezTo>
                      <a:pt x="0" y="3740"/>
                      <a:pt x="3740" y="0"/>
                      <a:pt x="8365" y="0"/>
                    </a:cubicBezTo>
                    <a:cubicBezTo>
                      <a:pt x="12991" y="0"/>
                      <a:pt x="16730" y="3740"/>
                      <a:pt x="16730" y="8365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24" name="Forma livre: Forma 223">
                <a:extLst>
                  <a:ext uri="{FF2B5EF4-FFF2-40B4-BE49-F238E27FC236}">
                    <a16:creationId xmlns:a16="http://schemas.microsoft.com/office/drawing/2014/main" id="{597438EB-18C3-B02F-AA83-10D5B027F60E}"/>
                  </a:ext>
                </a:extLst>
              </p:cNvPr>
              <p:cNvSpPr/>
              <p:nvPr/>
            </p:nvSpPr>
            <p:spPr>
              <a:xfrm>
                <a:off x="3270599" y="2643170"/>
                <a:ext cx="110222" cy="63427"/>
              </a:xfrm>
              <a:custGeom>
                <a:avLst/>
                <a:gdLst>
                  <a:gd name="connsiteX0" fmla="*/ 110222 w 110222"/>
                  <a:gd name="connsiteY0" fmla="*/ 0 h 63427"/>
                  <a:gd name="connsiteX1" fmla="*/ 51618 w 110222"/>
                  <a:gd name="connsiteY1" fmla="*/ 30459 h 63427"/>
                  <a:gd name="connsiteX2" fmla="*/ 0 w 110222"/>
                  <a:gd name="connsiteY2" fmla="*/ 63427 h 634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10222" h="63427">
                    <a:moveTo>
                      <a:pt x="110222" y="0"/>
                    </a:moveTo>
                    <a:cubicBezTo>
                      <a:pt x="110222" y="0"/>
                      <a:pt x="87341" y="31787"/>
                      <a:pt x="51618" y="30459"/>
                    </a:cubicBezTo>
                    <a:cubicBezTo>
                      <a:pt x="51618" y="30459"/>
                      <a:pt x="27162" y="22340"/>
                      <a:pt x="0" y="63427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25" name="Forma livre: Forma 224">
                <a:extLst>
                  <a:ext uri="{FF2B5EF4-FFF2-40B4-BE49-F238E27FC236}">
                    <a16:creationId xmlns:a16="http://schemas.microsoft.com/office/drawing/2014/main" id="{5E76A3B3-C943-E2F2-45BC-4771D30B7021}"/>
                  </a:ext>
                </a:extLst>
              </p:cNvPr>
              <p:cNvSpPr/>
              <p:nvPr/>
            </p:nvSpPr>
            <p:spPr>
              <a:xfrm>
                <a:off x="3273945" y="2675400"/>
                <a:ext cx="55470" cy="99200"/>
              </a:xfrm>
              <a:custGeom>
                <a:avLst/>
                <a:gdLst>
                  <a:gd name="connsiteX0" fmla="*/ 0 w 55470"/>
                  <a:gd name="connsiteY0" fmla="*/ 99200 h 99200"/>
                  <a:gd name="connsiteX1" fmla="*/ 45270 w 55470"/>
                  <a:gd name="connsiteY1" fmla="*/ 89556 h 99200"/>
                  <a:gd name="connsiteX2" fmla="*/ 49403 w 55470"/>
                  <a:gd name="connsiteY2" fmla="*/ 0 h 992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55470" h="99200">
                    <a:moveTo>
                      <a:pt x="0" y="99200"/>
                    </a:moveTo>
                    <a:cubicBezTo>
                      <a:pt x="0" y="99200"/>
                      <a:pt x="38725" y="95264"/>
                      <a:pt x="45270" y="89556"/>
                    </a:cubicBezTo>
                    <a:cubicBezTo>
                      <a:pt x="45270" y="89556"/>
                      <a:pt x="65149" y="33706"/>
                      <a:pt x="49403" y="0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26" name="Forma livre: Forma 225">
                <a:extLst>
                  <a:ext uri="{FF2B5EF4-FFF2-40B4-BE49-F238E27FC236}">
                    <a16:creationId xmlns:a16="http://schemas.microsoft.com/office/drawing/2014/main" id="{55E5CA08-4092-3501-E249-5E56FB155CC3}"/>
                  </a:ext>
                </a:extLst>
              </p:cNvPr>
              <p:cNvSpPr/>
              <p:nvPr/>
            </p:nvSpPr>
            <p:spPr>
              <a:xfrm>
                <a:off x="3329548" y="2717160"/>
                <a:ext cx="68839" cy="34164"/>
              </a:xfrm>
              <a:custGeom>
                <a:avLst/>
                <a:gdLst>
                  <a:gd name="connsiteX0" fmla="*/ 68840 w 68839"/>
                  <a:gd name="connsiteY0" fmla="*/ 34165 h 34164"/>
                  <a:gd name="connsiteX1" fmla="*/ 43941 w 68839"/>
                  <a:gd name="connsiteY1" fmla="*/ 65 h 34164"/>
                  <a:gd name="connsiteX2" fmla="*/ 0 w 68839"/>
                  <a:gd name="connsiteY2" fmla="*/ 7101 h 341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68839" h="34164">
                    <a:moveTo>
                      <a:pt x="68840" y="34165"/>
                    </a:moveTo>
                    <a:cubicBezTo>
                      <a:pt x="68840" y="34165"/>
                      <a:pt x="55554" y="5527"/>
                      <a:pt x="43941" y="65"/>
                    </a:cubicBezTo>
                    <a:cubicBezTo>
                      <a:pt x="43941" y="65"/>
                      <a:pt x="26522" y="-1165"/>
                      <a:pt x="0" y="7101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227" name="Gráfico 5">
              <a:extLst>
                <a:ext uri="{FF2B5EF4-FFF2-40B4-BE49-F238E27FC236}">
                  <a16:creationId xmlns:a16="http://schemas.microsoft.com/office/drawing/2014/main" id="{81C2BC64-25B7-595A-F758-381F85D46666}"/>
                </a:ext>
              </a:extLst>
            </p:cNvPr>
            <p:cNvGrpSpPr/>
            <p:nvPr/>
          </p:nvGrpSpPr>
          <p:grpSpPr>
            <a:xfrm>
              <a:off x="3281621" y="2718898"/>
              <a:ext cx="229695" cy="205781"/>
              <a:chOff x="3281621" y="2718898"/>
              <a:chExt cx="229695" cy="205781"/>
            </a:xfrm>
            <a:noFill/>
          </p:grpSpPr>
          <p:sp>
            <p:nvSpPr>
              <p:cNvPr id="228" name="Forma livre: Forma 227">
                <a:extLst>
                  <a:ext uri="{FF2B5EF4-FFF2-40B4-BE49-F238E27FC236}">
                    <a16:creationId xmlns:a16="http://schemas.microsoft.com/office/drawing/2014/main" id="{CC5307AF-48D3-F4E3-52C1-6BF29383E3DB}"/>
                  </a:ext>
                </a:extLst>
              </p:cNvPr>
              <p:cNvSpPr/>
              <p:nvPr/>
            </p:nvSpPr>
            <p:spPr>
              <a:xfrm>
                <a:off x="3281621" y="2849984"/>
                <a:ext cx="49157" cy="74695"/>
              </a:xfrm>
              <a:custGeom>
                <a:avLst/>
                <a:gdLst>
                  <a:gd name="connsiteX0" fmla="*/ 0 w 49157"/>
                  <a:gd name="connsiteY0" fmla="*/ 74695 h 74695"/>
                  <a:gd name="connsiteX1" fmla="*/ 0 w 49157"/>
                  <a:gd name="connsiteY1" fmla="*/ 14762 h 74695"/>
                  <a:gd name="connsiteX2" fmla="*/ 14762 w 49157"/>
                  <a:gd name="connsiteY2" fmla="*/ 0 h 74695"/>
                  <a:gd name="connsiteX3" fmla="*/ 34395 w 49157"/>
                  <a:gd name="connsiteY3" fmla="*/ 0 h 74695"/>
                  <a:gd name="connsiteX4" fmla="*/ 49157 w 49157"/>
                  <a:gd name="connsiteY4" fmla="*/ 14762 h 74695"/>
                  <a:gd name="connsiteX5" fmla="*/ 49157 w 49157"/>
                  <a:gd name="connsiteY5" fmla="*/ 74695 h 746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49157" h="74695">
                    <a:moveTo>
                      <a:pt x="0" y="74695"/>
                    </a:moveTo>
                    <a:lnTo>
                      <a:pt x="0" y="14762"/>
                    </a:lnTo>
                    <a:cubicBezTo>
                      <a:pt x="0" y="6643"/>
                      <a:pt x="6643" y="0"/>
                      <a:pt x="14762" y="0"/>
                    </a:cubicBezTo>
                    <a:lnTo>
                      <a:pt x="34395" y="0"/>
                    </a:lnTo>
                    <a:cubicBezTo>
                      <a:pt x="42514" y="0"/>
                      <a:pt x="49157" y="6643"/>
                      <a:pt x="49157" y="14762"/>
                    </a:cubicBezTo>
                    <a:lnTo>
                      <a:pt x="49157" y="74695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29" name="Forma livre: Forma 228">
                <a:extLst>
                  <a:ext uri="{FF2B5EF4-FFF2-40B4-BE49-F238E27FC236}">
                    <a16:creationId xmlns:a16="http://schemas.microsoft.com/office/drawing/2014/main" id="{819BDF01-1678-C738-1289-53B8D163D1DC}"/>
                  </a:ext>
                </a:extLst>
              </p:cNvPr>
              <p:cNvSpPr/>
              <p:nvPr/>
            </p:nvSpPr>
            <p:spPr>
              <a:xfrm>
                <a:off x="3371915" y="2795365"/>
                <a:ext cx="49058" cy="129314"/>
              </a:xfrm>
              <a:custGeom>
                <a:avLst/>
                <a:gdLst>
                  <a:gd name="connsiteX0" fmla="*/ 0 w 49058"/>
                  <a:gd name="connsiteY0" fmla="*/ 129315 h 129314"/>
                  <a:gd name="connsiteX1" fmla="*/ 0 w 49058"/>
                  <a:gd name="connsiteY1" fmla="*/ 14762 h 129314"/>
                  <a:gd name="connsiteX2" fmla="*/ 14762 w 49058"/>
                  <a:gd name="connsiteY2" fmla="*/ 0 h 129314"/>
                  <a:gd name="connsiteX3" fmla="*/ 34297 w 49058"/>
                  <a:gd name="connsiteY3" fmla="*/ 0 h 129314"/>
                  <a:gd name="connsiteX4" fmla="*/ 49059 w 49058"/>
                  <a:gd name="connsiteY4" fmla="*/ 14762 h 129314"/>
                  <a:gd name="connsiteX5" fmla="*/ 49059 w 49058"/>
                  <a:gd name="connsiteY5" fmla="*/ 129315 h 1293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49058" h="129314">
                    <a:moveTo>
                      <a:pt x="0" y="129315"/>
                    </a:moveTo>
                    <a:lnTo>
                      <a:pt x="0" y="14762"/>
                    </a:lnTo>
                    <a:cubicBezTo>
                      <a:pt x="0" y="6643"/>
                      <a:pt x="6643" y="0"/>
                      <a:pt x="14762" y="0"/>
                    </a:cubicBezTo>
                    <a:lnTo>
                      <a:pt x="34297" y="0"/>
                    </a:lnTo>
                    <a:cubicBezTo>
                      <a:pt x="42416" y="0"/>
                      <a:pt x="49059" y="6643"/>
                      <a:pt x="49059" y="14762"/>
                    </a:cubicBezTo>
                    <a:lnTo>
                      <a:pt x="49059" y="129315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30" name="Forma livre: Forma 229">
                <a:extLst>
                  <a:ext uri="{FF2B5EF4-FFF2-40B4-BE49-F238E27FC236}">
                    <a16:creationId xmlns:a16="http://schemas.microsoft.com/office/drawing/2014/main" id="{F7B890D6-5BF7-4FF9-3258-6DF7398FE4AF}"/>
                  </a:ext>
                </a:extLst>
              </p:cNvPr>
              <p:cNvSpPr/>
              <p:nvPr/>
            </p:nvSpPr>
            <p:spPr>
              <a:xfrm>
                <a:off x="3462258" y="2718898"/>
                <a:ext cx="49058" cy="205781"/>
              </a:xfrm>
              <a:custGeom>
                <a:avLst/>
                <a:gdLst>
                  <a:gd name="connsiteX0" fmla="*/ 0 w 49058"/>
                  <a:gd name="connsiteY0" fmla="*/ 205781 h 205781"/>
                  <a:gd name="connsiteX1" fmla="*/ 0 w 49058"/>
                  <a:gd name="connsiteY1" fmla="*/ 14762 h 205781"/>
                  <a:gd name="connsiteX2" fmla="*/ 14762 w 49058"/>
                  <a:gd name="connsiteY2" fmla="*/ 0 h 205781"/>
                  <a:gd name="connsiteX3" fmla="*/ 34297 w 49058"/>
                  <a:gd name="connsiteY3" fmla="*/ 0 h 205781"/>
                  <a:gd name="connsiteX4" fmla="*/ 49059 w 49058"/>
                  <a:gd name="connsiteY4" fmla="*/ 14762 h 205781"/>
                  <a:gd name="connsiteX5" fmla="*/ 49059 w 49058"/>
                  <a:gd name="connsiteY5" fmla="*/ 205781 h 205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49058" h="205781">
                    <a:moveTo>
                      <a:pt x="0" y="205781"/>
                    </a:moveTo>
                    <a:lnTo>
                      <a:pt x="0" y="14762"/>
                    </a:lnTo>
                    <a:cubicBezTo>
                      <a:pt x="0" y="6643"/>
                      <a:pt x="6643" y="0"/>
                      <a:pt x="14762" y="0"/>
                    </a:cubicBezTo>
                    <a:lnTo>
                      <a:pt x="34297" y="0"/>
                    </a:lnTo>
                    <a:cubicBezTo>
                      <a:pt x="42416" y="0"/>
                      <a:pt x="49059" y="6643"/>
                      <a:pt x="49059" y="14762"/>
                    </a:cubicBezTo>
                    <a:lnTo>
                      <a:pt x="49059" y="205781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231" name="Gráfico 5">
            <a:extLst>
              <a:ext uri="{FF2B5EF4-FFF2-40B4-BE49-F238E27FC236}">
                <a16:creationId xmlns:a16="http://schemas.microsoft.com/office/drawing/2014/main" id="{9D39F203-296A-C3E8-A7EF-0C3A22953543}"/>
              </a:ext>
            </a:extLst>
          </p:cNvPr>
          <p:cNvGrpSpPr/>
          <p:nvPr/>
        </p:nvGrpSpPr>
        <p:grpSpPr>
          <a:xfrm>
            <a:off x="3278521" y="2083791"/>
            <a:ext cx="224873" cy="297108"/>
            <a:chOff x="3278521" y="2083791"/>
            <a:chExt cx="224873" cy="297108"/>
          </a:xfrm>
          <a:noFill/>
        </p:grpSpPr>
        <p:sp>
          <p:nvSpPr>
            <p:cNvPr id="232" name="Forma livre: Forma 231">
              <a:extLst>
                <a:ext uri="{FF2B5EF4-FFF2-40B4-BE49-F238E27FC236}">
                  <a16:creationId xmlns:a16="http://schemas.microsoft.com/office/drawing/2014/main" id="{79B70FA2-6BED-05DB-8D44-B103604B31C4}"/>
                </a:ext>
              </a:extLst>
            </p:cNvPr>
            <p:cNvSpPr/>
            <p:nvPr/>
          </p:nvSpPr>
          <p:spPr>
            <a:xfrm>
              <a:off x="3282162" y="2315504"/>
              <a:ext cx="158986" cy="4920"/>
            </a:xfrm>
            <a:custGeom>
              <a:avLst/>
              <a:gdLst>
                <a:gd name="connsiteX0" fmla="*/ 0 w 158986"/>
                <a:gd name="connsiteY0" fmla="*/ 0 h 4920"/>
                <a:gd name="connsiteX1" fmla="*/ 158986 w 158986"/>
                <a:gd name="connsiteY1" fmla="*/ 0 h 49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8986" h="4920">
                  <a:moveTo>
                    <a:pt x="0" y="0"/>
                  </a:moveTo>
                  <a:lnTo>
                    <a:pt x="158986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33" name="Forma livre: Forma 232">
              <a:extLst>
                <a:ext uri="{FF2B5EF4-FFF2-40B4-BE49-F238E27FC236}">
                  <a16:creationId xmlns:a16="http://schemas.microsoft.com/office/drawing/2014/main" id="{00E65C57-C4DC-E55E-2B36-D91EB23256CD}"/>
                </a:ext>
              </a:extLst>
            </p:cNvPr>
            <p:cNvSpPr/>
            <p:nvPr/>
          </p:nvSpPr>
          <p:spPr>
            <a:xfrm>
              <a:off x="3383331" y="2137524"/>
              <a:ext cx="120063" cy="120063"/>
            </a:xfrm>
            <a:custGeom>
              <a:avLst/>
              <a:gdLst>
                <a:gd name="connsiteX0" fmla="*/ 120064 w 120063"/>
                <a:gd name="connsiteY0" fmla="*/ 60032 h 120063"/>
                <a:gd name="connsiteX1" fmla="*/ 60032 w 120063"/>
                <a:gd name="connsiteY1" fmla="*/ 120064 h 120063"/>
                <a:gd name="connsiteX2" fmla="*/ 0 w 120063"/>
                <a:gd name="connsiteY2" fmla="*/ 60032 h 120063"/>
                <a:gd name="connsiteX3" fmla="*/ 60032 w 120063"/>
                <a:gd name="connsiteY3" fmla="*/ 0 h 120063"/>
                <a:gd name="connsiteX4" fmla="*/ 120064 w 120063"/>
                <a:gd name="connsiteY4" fmla="*/ 60032 h 1200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0063" h="120063">
                  <a:moveTo>
                    <a:pt x="120064" y="60032"/>
                  </a:moveTo>
                  <a:cubicBezTo>
                    <a:pt x="120064" y="93197"/>
                    <a:pt x="93197" y="120064"/>
                    <a:pt x="60032" y="120064"/>
                  </a:cubicBezTo>
                  <a:cubicBezTo>
                    <a:pt x="26867" y="120064"/>
                    <a:pt x="0" y="93197"/>
                    <a:pt x="0" y="60032"/>
                  </a:cubicBezTo>
                  <a:cubicBezTo>
                    <a:pt x="0" y="26867"/>
                    <a:pt x="26867" y="0"/>
                    <a:pt x="60032" y="0"/>
                  </a:cubicBezTo>
                  <a:cubicBezTo>
                    <a:pt x="93197" y="0"/>
                    <a:pt x="120064" y="26867"/>
                    <a:pt x="120064" y="60032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34" name="Forma livre: Forma 233">
              <a:extLst>
                <a:ext uri="{FF2B5EF4-FFF2-40B4-BE49-F238E27FC236}">
                  <a16:creationId xmlns:a16="http://schemas.microsoft.com/office/drawing/2014/main" id="{776A5569-9C40-40D3-7FD6-6BFCC090C396}"/>
                </a:ext>
              </a:extLst>
            </p:cNvPr>
            <p:cNvSpPr/>
            <p:nvPr/>
          </p:nvSpPr>
          <p:spPr>
            <a:xfrm>
              <a:off x="3414282" y="2176693"/>
              <a:ext cx="54077" cy="39414"/>
            </a:xfrm>
            <a:custGeom>
              <a:avLst/>
              <a:gdLst>
                <a:gd name="connsiteX0" fmla="*/ 0 w 54077"/>
                <a:gd name="connsiteY0" fmla="*/ 19879 h 39414"/>
                <a:gd name="connsiteX1" fmla="*/ 24406 w 54077"/>
                <a:gd name="connsiteY1" fmla="*/ 39414 h 39414"/>
                <a:gd name="connsiteX2" fmla="*/ 54078 w 54077"/>
                <a:gd name="connsiteY2" fmla="*/ 0 h 394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54077" h="39414">
                  <a:moveTo>
                    <a:pt x="0" y="19879"/>
                  </a:moveTo>
                  <a:lnTo>
                    <a:pt x="24406" y="39414"/>
                  </a:lnTo>
                  <a:lnTo>
                    <a:pt x="54078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35" name="Forma livre: Forma 234">
              <a:extLst>
                <a:ext uri="{FF2B5EF4-FFF2-40B4-BE49-F238E27FC236}">
                  <a16:creationId xmlns:a16="http://schemas.microsoft.com/office/drawing/2014/main" id="{EE2A8428-72F7-6F28-2E37-F668B51AFAFB}"/>
                </a:ext>
              </a:extLst>
            </p:cNvPr>
            <p:cNvSpPr/>
            <p:nvPr/>
          </p:nvSpPr>
          <p:spPr>
            <a:xfrm>
              <a:off x="3278521" y="2083791"/>
              <a:ext cx="166268" cy="297108"/>
            </a:xfrm>
            <a:custGeom>
              <a:avLst/>
              <a:gdLst>
                <a:gd name="connsiteX0" fmla="*/ 166269 w 166268"/>
                <a:gd name="connsiteY0" fmla="*/ 194710 h 297108"/>
                <a:gd name="connsiteX1" fmla="*/ 166269 w 166268"/>
                <a:gd name="connsiteY1" fmla="*/ 277426 h 297108"/>
                <a:gd name="connsiteX2" fmla="*/ 146586 w 166268"/>
                <a:gd name="connsiteY2" fmla="*/ 297109 h 297108"/>
                <a:gd name="connsiteX3" fmla="*/ 19683 w 166268"/>
                <a:gd name="connsiteY3" fmla="*/ 297109 h 297108"/>
                <a:gd name="connsiteX4" fmla="*/ 0 w 166268"/>
                <a:gd name="connsiteY4" fmla="*/ 277426 h 297108"/>
                <a:gd name="connsiteX5" fmla="*/ 0 w 166268"/>
                <a:gd name="connsiteY5" fmla="*/ 19683 h 297108"/>
                <a:gd name="connsiteX6" fmla="*/ 19683 w 166268"/>
                <a:gd name="connsiteY6" fmla="*/ 0 h 297108"/>
                <a:gd name="connsiteX7" fmla="*/ 146586 w 166268"/>
                <a:gd name="connsiteY7" fmla="*/ 0 h 297108"/>
                <a:gd name="connsiteX8" fmla="*/ 166269 w 166268"/>
                <a:gd name="connsiteY8" fmla="*/ 19683 h 297108"/>
                <a:gd name="connsiteX9" fmla="*/ 166269 w 166268"/>
                <a:gd name="connsiteY9" fmla="*/ 33067 h 2971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66268" h="297108">
                  <a:moveTo>
                    <a:pt x="166269" y="194710"/>
                  </a:moveTo>
                  <a:lnTo>
                    <a:pt x="166269" y="277426"/>
                  </a:lnTo>
                  <a:cubicBezTo>
                    <a:pt x="166269" y="288251"/>
                    <a:pt x="157411" y="297109"/>
                    <a:pt x="146586" y="297109"/>
                  </a:cubicBezTo>
                  <a:lnTo>
                    <a:pt x="19683" y="297109"/>
                  </a:lnTo>
                  <a:cubicBezTo>
                    <a:pt x="8857" y="297109"/>
                    <a:pt x="0" y="288251"/>
                    <a:pt x="0" y="277426"/>
                  </a:cubicBezTo>
                  <a:lnTo>
                    <a:pt x="0" y="19683"/>
                  </a:lnTo>
                  <a:cubicBezTo>
                    <a:pt x="0" y="8857"/>
                    <a:pt x="8857" y="0"/>
                    <a:pt x="19683" y="0"/>
                  </a:cubicBezTo>
                  <a:lnTo>
                    <a:pt x="146586" y="0"/>
                  </a:lnTo>
                  <a:cubicBezTo>
                    <a:pt x="157411" y="0"/>
                    <a:pt x="166269" y="8857"/>
                    <a:pt x="166269" y="19683"/>
                  </a:cubicBezTo>
                  <a:lnTo>
                    <a:pt x="166269" y="33067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36" name="Forma livre: Forma 235">
              <a:extLst>
                <a:ext uri="{FF2B5EF4-FFF2-40B4-BE49-F238E27FC236}">
                  <a16:creationId xmlns:a16="http://schemas.microsoft.com/office/drawing/2014/main" id="{455E9903-264C-1DAE-3A67-DFDB91617A54}"/>
                </a:ext>
              </a:extLst>
            </p:cNvPr>
            <p:cNvSpPr/>
            <p:nvPr/>
          </p:nvSpPr>
          <p:spPr>
            <a:xfrm>
              <a:off x="3350756" y="2346553"/>
              <a:ext cx="21798" cy="4920"/>
            </a:xfrm>
            <a:custGeom>
              <a:avLst/>
              <a:gdLst>
                <a:gd name="connsiteX0" fmla="*/ 0 w 21798"/>
                <a:gd name="connsiteY0" fmla="*/ 0 h 4920"/>
                <a:gd name="connsiteX1" fmla="*/ 21798 w 21798"/>
                <a:gd name="connsiteY1" fmla="*/ 0 h 49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1798" h="4920">
                  <a:moveTo>
                    <a:pt x="0" y="0"/>
                  </a:moveTo>
                  <a:lnTo>
                    <a:pt x="21798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265" name="Gráfico 5">
            <a:extLst>
              <a:ext uri="{FF2B5EF4-FFF2-40B4-BE49-F238E27FC236}">
                <a16:creationId xmlns:a16="http://schemas.microsoft.com/office/drawing/2014/main" id="{1C82E705-BE48-1287-2CBC-AEA008A7381E}"/>
              </a:ext>
            </a:extLst>
          </p:cNvPr>
          <p:cNvGrpSpPr/>
          <p:nvPr/>
        </p:nvGrpSpPr>
        <p:grpSpPr>
          <a:xfrm>
            <a:off x="3928095" y="994065"/>
            <a:ext cx="212621" cy="310197"/>
            <a:chOff x="3928095" y="994065"/>
            <a:chExt cx="212621" cy="310197"/>
          </a:xfrm>
          <a:noFill/>
        </p:grpSpPr>
        <p:sp>
          <p:nvSpPr>
            <p:cNvPr id="266" name="Forma livre: Forma 265">
              <a:extLst>
                <a:ext uri="{FF2B5EF4-FFF2-40B4-BE49-F238E27FC236}">
                  <a16:creationId xmlns:a16="http://schemas.microsoft.com/office/drawing/2014/main" id="{207C73B0-BF54-3607-FD7C-8B029CA44425}"/>
                </a:ext>
              </a:extLst>
            </p:cNvPr>
            <p:cNvSpPr/>
            <p:nvPr/>
          </p:nvSpPr>
          <p:spPr>
            <a:xfrm>
              <a:off x="3938281" y="1069892"/>
              <a:ext cx="16927" cy="8020"/>
            </a:xfrm>
            <a:custGeom>
              <a:avLst/>
              <a:gdLst>
                <a:gd name="connsiteX0" fmla="*/ 16927 w 16927"/>
                <a:gd name="connsiteY0" fmla="*/ 8021 h 8020"/>
                <a:gd name="connsiteX1" fmla="*/ 0 w 16927"/>
                <a:gd name="connsiteY1" fmla="*/ 0 h 80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6927" h="8020">
                  <a:moveTo>
                    <a:pt x="16927" y="8021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67" name="Forma livre: Forma 266">
              <a:extLst>
                <a:ext uri="{FF2B5EF4-FFF2-40B4-BE49-F238E27FC236}">
                  <a16:creationId xmlns:a16="http://schemas.microsoft.com/office/drawing/2014/main" id="{AFB9BC06-1269-F1F1-A3E6-245CE79E0503}"/>
                </a:ext>
              </a:extLst>
            </p:cNvPr>
            <p:cNvSpPr/>
            <p:nvPr/>
          </p:nvSpPr>
          <p:spPr>
            <a:xfrm>
              <a:off x="3954273" y="1040171"/>
              <a:ext cx="15007" cy="11169"/>
            </a:xfrm>
            <a:custGeom>
              <a:avLst/>
              <a:gdLst>
                <a:gd name="connsiteX0" fmla="*/ 15008 w 15007"/>
                <a:gd name="connsiteY0" fmla="*/ 11170 h 11169"/>
                <a:gd name="connsiteX1" fmla="*/ 0 w 15007"/>
                <a:gd name="connsiteY1" fmla="*/ 0 h 111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007" h="11169">
                  <a:moveTo>
                    <a:pt x="15008" y="11170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68" name="Forma livre: Forma 267">
              <a:extLst>
                <a:ext uri="{FF2B5EF4-FFF2-40B4-BE49-F238E27FC236}">
                  <a16:creationId xmlns:a16="http://schemas.microsoft.com/office/drawing/2014/main" id="{125DCE36-0A93-B6FF-1CFC-C3BB5C671F94}"/>
                </a:ext>
              </a:extLst>
            </p:cNvPr>
            <p:cNvSpPr/>
            <p:nvPr/>
          </p:nvSpPr>
          <p:spPr>
            <a:xfrm>
              <a:off x="3928095" y="1100892"/>
              <a:ext cx="19042" cy="5707"/>
            </a:xfrm>
            <a:custGeom>
              <a:avLst/>
              <a:gdLst>
                <a:gd name="connsiteX0" fmla="*/ 19043 w 19042"/>
                <a:gd name="connsiteY0" fmla="*/ 5708 h 5707"/>
                <a:gd name="connsiteX1" fmla="*/ 0 w 19042"/>
                <a:gd name="connsiteY1" fmla="*/ 0 h 57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9042" h="5707">
                  <a:moveTo>
                    <a:pt x="19043" y="5708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69" name="Forma livre: Forma 268">
              <a:extLst>
                <a:ext uri="{FF2B5EF4-FFF2-40B4-BE49-F238E27FC236}">
                  <a16:creationId xmlns:a16="http://schemas.microsoft.com/office/drawing/2014/main" id="{5ADA4023-E268-D828-63E6-F3929BB593F9}"/>
                </a:ext>
              </a:extLst>
            </p:cNvPr>
            <p:cNvSpPr/>
            <p:nvPr/>
          </p:nvSpPr>
          <p:spPr>
            <a:xfrm>
              <a:off x="3934893" y="994065"/>
              <a:ext cx="200873" cy="236387"/>
            </a:xfrm>
            <a:custGeom>
              <a:avLst/>
              <a:gdLst>
                <a:gd name="connsiteX0" fmla="*/ 28090 w 200873"/>
                <a:gd name="connsiteY0" fmla="*/ 50092 h 236387"/>
                <a:gd name="connsiteX1" fmla="*/ 62928 w 200873"/>
                <a:gd name="connsiteY1" fmla="*/ 29130 h 236387"/>
                <a:gd name="connsiteX2" fmla="*/ 103868 w 200873"/>
                <a:gd name="connsiteY2" fmla="*/ 0 h 236387"/>
                <a:gd name="connsiteX3" fmla="*/ 103868 w 200873"/>
                <a:gd name="connsiteY3" fmla="*/ 30016 h 236387"/>
                <a:gd name="connsiteX4" fmla="*/ 132260 w 200873"/>
                <a:gd name="connsiteY4" fmla="*/ 34887 h 236387"/>
                <a:gd name="connsiteX5" fmla="*/ 138755 w 200873"/>
                <a:gd name="connsiteY5" fmla="*/ 46402 h 236387"/>
                <a:gd name="connsiteX6" fmla="*/ 199377 w 200873"/>
                <a:gd name="connsiteY6" fmla="*/ 97773 h 236387"/>
                <a:gd name="connsiteX7" fmla="*/ 182204 w 200873"/>
                <a:gd name="connsiteY7" fmla="*/ 127592 h 236387"/>
                <a:gd name="connsiteX8" fmla="*/ 103376 w 200873"/>
                <a:gd name="connsiteY8" fmla="*/ 125329 h 236387"/>
                <a:gd name="connsiteX9" fmla="*/ 170493 w 200873"/>
                <a:gd name="connsiteY9" fmla="*/ 236388 h 236387"/>
                <a:gd name="connsiteX10" fmla="*/ 48806 w 200873"/>
                <a:gd name="connsiteY10" fmla="*/ 236388 h 236387"/>
                <a:gd name="connsiteX11" fmla="*/ 28336 w 200873"/>
                <a:gd name="connsiteY11" fmla="*/ 188608 h 236387"/>
                <a:gd name="connsiteX12" fmla="*/ 1666 w 200873"/>
                <a:gd name="connsiteY12" fmla="*/ 111895 h 2363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00873" h="236387">
                  <a:moveTo>
                    <a:pt x="28090" y="50092"/>
                  </a:moveTo>
                  <a:cubicBezTo>
                    <a:pt x="42507" y="29967"/>
                    <a:pt x="62928" y="29130"/>
                    <a:pt x="62928" y="29130"/>
                  </a:cubicBezTo>
                  <a:cubicBezTo>
                    <a:pt x="62928" y="29130"/>
                    <a:pt x="71883" y="4724"/>
                    <a:pt x="103868" y="0"/>
                  </a:cubicBezTo>
                  <a:lnTo>
                    <a:pt x="103868" y="30016"/>
                  </a:lnTo>
                  <a:cubicBezTo>
                    <a:pt x="103868" y="30016"/>
                    <a:pt x="132260" y="34887"/>
                    <a:pt x="132260" y="34887"/>
                  </a:cubicBezTo>
                  <a:lnTo>
                    <a:pt x="138755" y="46402"/>
                  </a:lnTo>
                  <a:cubicBezTo>
                    <a:pt x="138755" y="46402"/>
                    <a:pt x="188552" y="83307"/>
                    <a:pt x="199377" y="97773"/>
                  </a:cubicBezTo>
                  <a:cubicBezTo>
                    <a:pt x="199377" y="97773"/>
                    <a:pt x="208382" y="132119"/>
                    <a:pt x="182204" y="127592"/>
                  </a:cubicBezTo>
                  <a:cubicBezTo>
                    <a:pt x="182204" y="127592"/>
                    <a:pt x="102244" y="100922"/>
                    <a:pt x="103376" y="125329"/>
                  </a:cubicBezTo>
                  <a:cubicBezTo>
                    <a:pt x="103376" y="125329"/>
                    <a:pt x="173199" y="168630"/>
                    <a:pt x="170493" y="236388"/>
                  </a:cubicBezTo>
                  <a:lnTo>
                    <a:pt x="48806" y="236388"/>
                  </a:lnTo>
                  <a:cubicBezTo>
                    <a:pt x="48806" y="236388"/>
                    <a:pt x="50134" y="202386"/>
                    <a:pt x="28336" y="188608"/>
                  </a:cubicBezTo>
                  <a:cubicBezTo>
                    <a:pt x="534" y="170992"/>
                    <a:pt x="-2861" y="149391"/>
                    <a:pt x="1666" y="111895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70" name="Forma livre: Forma 269">
              <a:extLst>
                <a:ext uri="{FF2B5EF4-FFF2-40B4-BE49-F238E27FC236}">
                  <a16:creationId xmlns:a16="http://schemas.microsoft.com/office/drawing/2014/main" id="{D707011F-FFB1-8BFB-2B03-3BCA71D0405A}"/>
                </a:ext>
              </a:extLst>
            </p:cNvPr>
            <p:cNvSpPr/>
            <p:nvPr/>
          </p:nvSpPr>
          <p:spPr>
            <a:xfrm>
              <a:off x="3946597" y="1262929"/>
              <a:ext cx="194119" cy="41333"/>
            </a:xfrm>
            <a:custGeom>
              <a:avLst/>
              <a:gdLst>
                <a:gd name="connsiteX0" fmla="*/ 169369 w 194119"/>
                <a:gd name="connsiteY0" fmla="*/ 0 h 41333"/>
                <a:gd name="connsiteX1" fmla="*/ 194120 w 194119"/>
                <a:gd name="connsiteY1" fmla="*/ 41333 h 41333"/>
                <a:gd name="connsiteX2" fmla="*/ 0 w 194119"/>
                <a:gd name="connsiteY2" fmla="*/ 41333 h 41333"/>
                <a:gd name="connsiteX3" fmla="*/ 24751 w 194119"/>
                <a:gd name="connsiteY3" fmla="*/ 0 h 41333"/>
                <a:gd name="connsiteX4" fmla="*/ 169418 w 194119"/>
                <a:gd name="connsiteY4" fmla="*/ 0 h 413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4119" h="41333">
                  <a:moveTo>
                    <a:pt x="169369" y="0"/>
                  </a:moveTo>
                  <a:cubicBezTo>
                    <a:pt x="183835" y="8119"/>
                    <a:pt x="194120" y="41333"/>
                    <a:pt x="194120" y="41333"/>
                  </a:cubicBezTo>
                  <a:lnTo>
                    <a:pt x="0" y="41333"/>
                  </a:lnTo>
                  <a:cubicBezTo>
                    <a:pt x="0" y="41333"/>
                    <a:pt x="10284" y="8119"/>
                    <a:pt x="24751" y="0"/>
                  </a:cubicBezTo>
                  <a:lnTo>
                    <a:pt x="169418" y="0"/>
                  </a:ln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271" name="Gráfico 5">
            <a:extLst>
              <a:ext uri="{FF2B5EF4-FFF2-40B4-BE49-F238E27FC236}">
                <a16:creationId xmlns:a16="http://schemas.microsoft.com/office/drawing/2014/main" id="{C7111A50-2778-7DFB-704A-4AF842FA8CD6}"/>
              </a:ext>
            </a:extLst>
          </p:cNvPr>
          <p:cNvGrpSpPr/>
          <p:nvPr/>
        </p:nvGrpSpPr>
        <p:grpSpPr>
          <a:xfrm>
            <a:off x="3906051" y="2623093"/>
            <a:ext cx="256710" cy="301783"/>
            <a:chOff x="3906051" y="2623093"/>
            <a:chExt cx="256710" cy="301783"/>
          </a:xfrm>
        </p:grpSpPr>
        <p:grpSp>
          <p:nvGrpSpPr>
            <p:cNvPr id="272" name="Gráfico 5">
              <a:extLst>
                <a:ext uri="{FF2B5EF4-FFF2-40B4-BE49-F238E27FC236}">
                  <a16:creationId xmlns:a16="http://schemas.microsoft.com/office/drawing/2014/main" id="{F06F5DFC-6C13-D6B9-142B-7797FA74EFB3}"/>
                </a:ext>
              </a:extLst>
            </p:cNvPr>
            <p:cNvGrpSpPr/>
            <p:nvPr/>
          </p:nvGrpSpPr>
          <p:grpSpPr>
            <a:xfrm>
              <a:off x="3906051" y="2719095"/>
              <a:ext cx="229695" cy="205781"/>
              <a:chOff x="3906051" y="2719095"/>
              <a:chExt cx="229695" cy="205781"/>
            </a:xfrm>
            <a:noFill/>
          </p:grpSpPr>
          <p:sp>
            <p:nvSpPr>
              <p:cNvPr id="273" name="Forma livre: Forma 272">
                <a:extLst>
                  <a:ext uri="{FF2B5EF4-FFF2-40B4-BE49-F238E27FC236}">
                    <a16:creationId xmlns:a16="http://schemas.microsoft.com/office/drawing/2014/main" id="{8EFBD7F3-579C-00C2-E9A1-5027CD4F4AB7}"/>
                  </a:ext>
                </a:extLst>
              </p:cNvPr>
              <p:cNvSpPr/>
              <p:nvPr/>
            </p:nvSpPr>
            <p:spPr>
              <a:xfrm>
                <a:off x="4086589" y="2850181"/>
                <a:ext cx="49157" cy="74695"/>
              </a:xfrm>
              <a:custGeom>
                <a:avLst/>
                <a:gdLst>
                  <a:gd name="connsiteX0" fmla="*/ 49157 w 49157"/>
                  <a:gd name="connsiteY0" fmla="*/ 74695 h 74695"/>
                  <a:gd name="connsiteX1" fmla="*/ 49157 w 49157"/>
                  <a:gd name="connsiteY1" fmla="*/ 14762 h 74695"/>
                  <a:gd name="connsiteX2" fmla="*/ 34395 w 49157"/>
                  <a:gd name="connsiteY2" fmla="*/ 0 h 74695"/>
                  <a:gd name="connsiteX3" fmla="*/ 14762 w 49157"/>
                  <a:gd name="connsiteY3" fmla="*/ 0 h 74695"/>
                  <a:gd name="connsiteX4" fmla="*/ 0 w 49157"/>
                  <a:gd name="connsiteY4" fmla="*/ 14762 h 74695"/>
                  <a:gd name="connsiteX5" fmla="*/ 0 w 49157"/>
                  <a:gd name="connsiteY5" fmla="*/ 74695 h 746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49157" h="74695">
                    <a:moveTo>
                      <a:pt x="49157" y="74695"/>
                    </a:moveTo>
                    <a:lnTo>
                      <a:pt x="49157" y="14762"/>
                    </a:lnTo>
                    <a:cubicBezTo>
                      <a:pt x="49157" y="6643"/>
                      <a:pt x="42514" y="0"/>
                      <a:pt x="34395" y="0"/>
                    </a:cubicBezTo>
                    <a:lnTo>
                      <a:pt x="14762" y="0"/>
                    </a:lnTo>
                    <a:cubicBezTo>
                      <a:pt x="6643" y="0"/>
                      <a:pt x="0" y="6643"/>
                      <a:pt x="0" y="14762"/>
                    </a:cubicBezTo>
                    <a:lnTo>
                      <a:pt x="0" y="74695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74" name="Forma livre: Forma 273">
                <a:extLst>
                  <a:ext uri="{FF2B5EF4-FFF2-40B4-BE49-F238E27FC236}">
                    <a16:creationId xmlns:a16="http://schemas.microsoft.com/office/drawing/2014/main" id="{D6F61097-4B51-4DB8-B19F-3ECECBAA6E20}"/>
                  </a:ext>
                </a:extLst>
              </p:cNvPr>
              <p:cNvSpPr/>
              <p:nvPr/>
            </p:nvSpPr>
            <p:spPr>
              <a:xfrm>
                <a:off x="3996394" y="2795562"/>
                <a:ext cx="49058" cy="129314"/>
              </a:xfrm>
              <a:custGeom>
                <a:avLst/>
                <a:gdLst>
                  <a:gd name="connsiteX0" fmla="*/ 49059 w 49058"/>
                  <a:gd name="connsiteY0" fmla="*/ 129315 h 129314"/>
                  <a:gd name="connsiteX1" fmla="*/ 49059 w 49058"/>
                  <a:gd name="connsiteY1" fmla="*/ 14762 h 129314"/>
                  <a:gd name="connsiteX2" fmla="*/ 34297 w 49058"/>
                  <a:gd name="connsiteY2" fmla="*/ 0 h 129314"/>
                  <a:gd name="connsiteX3" fmla="*/ 14762 w 49058"/>
                  <a:gd name="connsiteY3" fmla="*/ 0 h 129314"/>
                  <a:gd name="connsiteX4" fmla="*/ 0 w 49058"/>
                  <a:gd name="connsiteY4" fmla="*/ 14762 h 129314"/>
                  <a:gd name="connsiteX5" fmla="*/ 0 w 49058"/>
                  <a:gd name="connsiteY5" fmla="*/ 129315 h 1293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49058" h="129314">
                    <a:moveTo>
                      <a:pt x="49059" y="129315"/>
                    </a:moveTo>
                    <a:lnTo>
                      <a:pt x="49059" y="14762"/>
                    </a:lnTo>
                    <a:cubicBezTo>
                      <a:pt x="49059" y="6643"/>
                      <a:pt x="42416" y="0"/>
                      <a:pt x="34297" y="0"/>
                    </a:cubicBezTo>
                    <a:lnTo>
                      <a:pt x="14762" y="0"/>
                    </a:lnTo>
                    <a:cubicBezTo>
                      <a:pt x="6643" y="0"/>
                      <a:pt x="0" y="6643"/>
                      <a:pt x="0" y="14762"/>
                    </a:cubicBezTo>
                    <a:lnTo>
                      <a:pt x="0" y="129315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75" name="Forma livre: Forma 274">
                <a:extLst>
                  <a:ext uri="{FF2B5EF4-FFF2-40B4-BE49-F238E27FC236}">
                    <a16:creationId xmlns:a16="http://schemas.microsoft.com/office/drawing/2014/main" id="{ACB469E8-FC95-AF54-B346-56540466F893}"/>
                  </a:ext>
                </a:extLst>
              </p:cNvPr>
              <p:cNvSpPr/>
              <p:nvPr/>
            </p:nvSpPr>
            <p:spPr>
              <a:xfrm>
                <a:off x="3906051" y="2719095"/>
                <a:ext cx="49058" cy="205781"/>
              </a:xfrm>
              <a:custGeom>
                <a:avLst/>
                <a:gdLst>
                  <a:gd name="connsiteX0" fmla="*/ 49059 w 49058"/>
                  <a:gd name="connsiteY0" fmla="*/ 205781 h 205781"/>
                  <a:gd name="connsiteX1" fmla="*/ 49059 w 49058"/>
                  <a:gd name="connsiteY1" fmla="*/ 14762 h 205781"/>
                  <a:gd name="connsiteX2" fmla="*/ 34297 w 49058"/>
                  <a:gd name="connsiteY2" fmla="*/ 0 h 205781"/>
                  <a:gd name="connsiteX3" fmla="*/ 14762 w 49058"/>
                  <a:gd name="connsiteY3" fmla="*/ 0 h 205781"/>
                  <a:gd name="connsiteX4" fmla="*/ 0 w 49058"/>
                  <a:gd name="connsiteY4" fmla="*/ 14762 h 205781"/>
                  <a:gd name="connsiteX5" fmla="*/ 0 w 49058"/>
                  <a:gd name="connsiteY5" fmla="*/ 205781 h 205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49058" h="205781">
                    <a:moveTo>
                      <a:pt x="49059" y="205781"/>
                    </a:moveTo>
                    <a:lnTo>
                      <a:pt x="49059" y="14762"/>
                    </a:lnTo>
                    <a:cubicBezTo>
                      <a:pt x="49059" y="6643"/>
                      <a:pt x="42416" y="0"/>
                      <a:pt x="34297" y="0"/>
                    </a:cubicBezTo>
                    <a:lnTo>
                      <a:pt x="14762" y="0"/>
                    </a:lnTo>
                    <a:cubicBezTo>
                      <a:pt x="6643" y="0"/>
                      <a:pt x="0" y="6643"/>
                      <a:pt x="0" y="14762"/>
                    </a:cubicBezTo>
                    <a:lnTo>
                      <a:pt x="0" y="205781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276" name="Gráfico 5">
              <a:extLst>
                <a:ext uri="{FF2B5EF4-FFF2-40B4-BE49-F238E27FC236}">
                  <a16:creationId xmlns:a16="http://schemas.microsoft.com/office/drawing/2014/main" id="{06618BFA-8E48-AAF1-6003-C7848AA23BC1}"/>
                </a:ext>
              </a:extLst>
            </p:cNvPr>
            <p:cNvGrpSpPr/>
            <p:nvPr/>
          </p:nvGrpSpPr>
          <p:grpSpPr>
            <a:xfrm>
              <a:off x="3993442" y="2623093"/>
              <a:ext cx="169319" cy="152146"/>
              <a:chOff x="3993442" y="2623093"/>
              <a:chExt cx="169319" cy="152146"/>
            </a:xfrm>
          </p:grpSpPr>
          <p:sp>
            <p:nvSpPr>
              <p:cNvPr id="277" name="Forma livre: Forma 276">
                <a:extLst>
                  <a:ext uri="{FF2B5EF4-FFF2-40B4-BE49-F238E27FC236}">
                    <a16:creationId xmlns:a16="http://schemas.microsoft.com/office/drawing/2014/main" id="{5A1DD344-F075-CF0C-C0FF-B44CC720B67F}"/>
                  </a:ext>
                </a:extLst>
              </p:cNvPr>
              <p:cNvSpPr/>
              <p:nvPr/>
            </p:nvSpPr>
            <p:spPr>
              <a:xfrm>
                <a:off x="4119853" y="2758510"/>
                <a:ext cx="16779" cy="16729"/>
              </a:xfrm>
              <a:custGeom>
                <a:avLst/>
                <a:gdLst>
                  <a:gd name="connsiteX0" fmla="*/ 13433 w 16779"/>
                  <a:gd name="connsiteY0" fmla="*/ 1722 h 16729"/>
                  <a:gd name="connsiteX1" fmla="*/ 1722 w 16779"/>
                  <a:gd name="connsiteY1" fmla="*/ 3297 h 16729"/>
                  <a:gd name="connsiteX2" fmla="*/ 3297 w 16779"/>
                  <a:gd name="connsiteY2" fmla="*/ 15008 h 16729"/>
                  <a:gd name="connsiteX3" fmla="*/ 15057 w 16779"/>
                  <a:gd name="connsiteY3" fmla="*/ 13433 h 16729"/>
                  <a:gd name="connsiteX4" fmla="*/ 13482 w 16779"/>
                  <a:gd name="connsiteY4" fmla="*/ 1722 h 167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779" h="16729">
                    <a:moveTo>
                      <a:pt x="13433" y="1722"/>
                    </a:moveTo>
                    <a:cubicBezTo>
                      <a:pt x="9743" y="-1083"/>
                      <a:pt x="4527" y="-394"/>
                      <a:pt x="1722" y="3297"/>
                    </a:cubicBezTo>
                    <a:cubicBezTo>
                      <a:pt x="-1083" y="6987"/>
                      <a:pt x="-394" y="12203"/>
                      <a:pt x="3297" y="15008"/>
                    </a:cubicBezTo>
                    <a:cubicBezTo>
                      <a:pt x="6987" y="17812"/>
                      <a:pt x="12252" y="17124"/>
                      <a:pt x="15057" y="13433"/>
                    </a:cubicBezTo>
                    <a:cubicBezTo>
                      <a:pt x="17862" y="9743"/>
                      <a:pt x="17173" y="4527"/>
                      <a:pt x="13482" y="1722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78" name="Forma livre: Forma 277">
                <a:extLst>
                  <a:ext uri="{FF2B5EF4-FFF2-40B4-BE49-F238E27FC236}">
                    <a16:creationId xmlns:a16="http://schemas.microsoft.com/office/drawing/2014/main" id="{F0E3301C-EC3D-B305-71B5-59EFC0E4B372}"/>
                  </a:ext>
                </a:extLst>
              </p:cNvPr>
              <p:cNvSpPr/>
              <p:nvPr/>
            </p:nvSpPr>
            <p:spPr>
              <a:xfrm>
                <a:off x="4045453" y="2702704"/>
                <a:ext cx="117308" cy="49379"/>
              </a:xfrm>
              <a:custGeom>
                <a:avLst/>
                <a:gdLst>
                  <a:gd name="connsiteX0" fmla="*/ 117308 w 117308"/>
                  <a:gd name="connsiteY0" fmla="*/ 5 h 49379"/>
                  <a:gd name="connsiteX1" fmla="*/ 57522 w 117308"/>
                  <a:gd name="connsiteY1" fmla="*/ 28053 h 49379"/>
                  <a:gd name="connsiteX2" fmla="*/ 0 w 117308"/>
                  <a:gd name="connsiteY2" fmla="*/ 49064 h 493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17308" h="49379">
                    <a:moveTo>
                      <a:pt x="117308" y="5"/>
                    </a:moveTo>
                    <a:cubicBezTo>
                      <a:pt x="117308" y="5"/>
                      <a:pt x="78140" y="-1077"/>
                      <a:pt x="57522" y="28053"/>
                    </a:cubicBezTo>
                    <a:cubicBezTo>
                      <a:pt x="57522" y="28053"/>
                      <a:pt x="49108" y="52410"/>
                      <a:pt x="0" y="49064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79" name="Forma livre: Forma 278">
                <a:extLst>
                  <a:ext uri="{FF2B5EF4-FFF2-40B4-BE49-F238E27FC236}">
                    <a16:creationId xmlns:a16="http://schemas.microsoft.com/office/drawing/2014/main" id="{32231CDC-1673-3AD9-A7AC-F2A349EB6F6E}"/>
                  </a:ext>
                </a:extLst>
              </p:cNvPr>
              <p:cNvSpPr/>
              <p:nvPr/>
            </p:nvSpPr>
            <p:spPr>
              <a:xfrm>
                <a:off x="3993442" y="2677712"/>
                <a:ext cx="108844" cy="51125"/>
              </a:xfrm>
              <a:custGeom>
                <a:avLst/>
                <a:gdLst>
                  <a:gd name="connsiteX0" fmla="*/ 0 w 108844"/>
                  <a:gd name="connsiteY0" fmla="*/ 30114 h 51125"/>
                  <a:gd name="connsiteX1" fmla="*/ 35183 w 108844"/>
                  <a:gd name="connsiteY1" fmla="*/ 0 h 51125"/>
                  <a:gd name="connsiteX2" fmla="*/ 108845 w 108844"/>
                  <a:gd name="connsiteY2" fmla="*/ 51126 h 511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08844" h="51125">
                    <a:moveTo>
                      <a:pt x="0" y="30114"/>
                    </a:moveTo>
                    <a:cubicBezTo>
                      <a:pt x="0" y="30114"/>
                      <a:pt x="26621" y="1722"/>
                      <a:pt x="35183" y="0"/>
                    </a:cubicBezTo>
                    <a:cubicBezTo>
                      <a:pt x="35183" y="0"/>
                      <a:pt x="91622" y="18157"/>
                      <a:pt x="108845" y="51126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80" name="Forma livre: Forma 279">
                <a:extLst>
                  <a:ext uri="{FF2B5EF4-FFF2-40B4-BE49-F238E27FC236}">
                    <a16:creationId xmlns:a16="http://schemas.microsoft.com/office/drawing/2014/main" id="{94ED0B63-CB01-A052-7490-27D3590E2E2B}"/>
                  </a:ext>
                </a:extLst>
              </p:cNvPr>
              <p:cNvSpPr/>
              <p:nvPr/>
            </p:nvSpPr>
            <p:spPr>
              <a:xfrm>
                <a:off x="4067202" y="2623093"/>
                <a:ext cx="32601" cy="71103"/>
              </a:xfrm>
              <a:custGeom>
                <a:avLst/>
                <a:gdLst>
                  <a:gd name="connsiteX0" fmla="*/ 20273 w 32601"/>
                  <a:gd name="connsiteY0" fmla="*/ 0 h 71103"/>
                  <a:gd name="connsiteX1" fmla="*/ 32279 w 32601"/>
                  <a:gd name="connsiteY1" fmla="*/ 40497 h 71103"/>
                  <a:gd name="connsiteX2" fmla="*/ 0 w 32601"/>
                  <a:gd name="connsiteY2" fmla="*/ 71103 h 711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2601" h="71103">
                    <a:moveTo>
                      <a:pt x="20273" y="0"/>
                    </a:moveTo>
                    <a:cubicBezTo>
                      <a:pt x="20273" y="0"/>
                      <a:pt x="34937" y="27949"/>
                      <a:pt x="32279" y="40497"/>
                    </a:cubicBezTo>
                    <a:cubicBezTo>
                      <a:pt x="32279" y="40497"/>
                      <a:pt x="22684" y="55062"/>
                      <a:pt x="0" y="71103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281" name="Gráfico 5">
            <a:extLst>
              <a:ext uri="{FF2B5EF4-FFF2-40B4-BE49-F238E27FC236}">
                <a16:creationId xmlns:a16="http://schemas.microsoft.com/office/drawing/2014/main" id="{6440F037-BB69-7DDD-075C-42270FBD56F4}"/>
              </a:ext>
            </a:extLst>
          </p:cNvPr>
          <p:cNvGrpSpPr/>
          <p:nvPr/>
        </p:nvGrpSpPr>
        <p:grpSpPr>
          <a:xfrm>
            <a:off x="3885679" y="2083545"/>
            <a:ext cx="297453" cy="297649"/>
            <a:chOff x="3885679" y="2083545"/>
            <a:chExt cx="297453" cy="297649"/>
          </a:xfrm>
          <a:noFill/>
        </p:grpSpPr>
        <p:grpSp>
          <p:nvGrpSpPr>
            <p:cNvPr id="282" name="Gráfico 5">
              <a:extLst>
                <a:ext uri="{FF2B5EF4-FFF2-40B4-BE49-F238E27FC236}">
                  <a16:creationId xmlns:a16="http://schemas.microsoft.com/office/drawing/2014/main" id="{07F17232-4ED0-9FBB-490D-37593E91154B}"/>
                </a:ext>
              </a:extLst>
            </p:cNvPr>
            <p:cNvGrpSpPr/>
            <p:nvPr/>
          </p:nvGrpSpPr>
          <p:grpSpPr>
            <a:xfrm>
              <a:off x="3982469" y="2083545"/>
              <a:ext cx="103825" cy="297649"/>
              <a:chOff x="3982469" y="2083545"/>
              <a:chExt cx="103825" cy="297649"/>
            </a:xfrm>
            <a:noFill/>
          </p:grpSpPr>
          <p:sp>
            <p:nvSpPr>
              <p:cNvPr id="283" name="Forma livre: Forma 282">
                <a:extLst>
                  <a:ext uri="{FF2B5EF4-FFF2-40B4-BE49-F238E27FC236}">
                    <a16:creationId xmlns:a16="http://schemas.microsoft.com/office/drawing/2014/main" id="{0DE3FE33-9FD8-DAA2-996B-6123DABB6E16}"/>
                  </a:ext>
                </a:extLst>
              </p:cNvPr>
              <p:cNvSpPr/>
              <p:nvPr/>
            </p:nvSpPr>
            <p:spPr>
              <a:xfrm>
                <a:off x="3982469" y="2179300"/>
                <a:ext cx="103825" cy="201894"/>
              </a:xfrm>
              <a:custGeom>
                <a:avLst/>
                <a:gdLst>
                  <a:gd name="connsiteX0" fmla="*/ 77697 w 103825"/>
                  <a:gd name="connsiteY0" fmla="*/ 201894 h 201894"/>
                  <a:gd name="connsiteX1" fmla="*/ 77697 w 103825"/>
                  <a:gd name="connsiteY1" fmla="*/ 118145 h 201894"/>
                  <a:gd name="connsiteX2" fmla="*/ 83159 w 103825"/>
                  <a:gd name="connsiteY2" fmla="*/ 118145 h 201894"/>
                  <a:gd name="connsiteX3" fmla="*/ 103826 w 103825"/>
                  <a:gd name="connsiteY3" fmla="*/ 97478 h 201894"/>
                  <a:gd name="connsiteX4" fmla="*/ 103826 w 103825"/>
                  <a:gd name="connsiteY4" fmla="*/ 20667 h 201894"/>
                  <a:gd name="connsiteX5" fmla="*/ 83159 w 103825"/>
                  <a:gd name="connsiteY5" fmla="*/ 0 h 201894"/>
                  <a:gd name="connsiteX6" fmla="*/ 20667 w 103825"/>
                  <a:gd name="connsiteY6" fmla="*/ 0 h 201894"/>
                  <a:gd name="connsiteX7" fmla="*/ 0 w 103825"/>
                  <a:gd name="connsiteY7" fmla="*/ 20667 h 201894"/>
                  <a:gd name="connsiteX8" fmla="*/ 0 w 103825"/>
                  <a:gd name="connsiteY8" fmla="*/ 97478 h 201894"/>
                  <a:gd name="connsiteX9" fmla="*/ 20667 w 103825"/>
                  <a:gd name="connsiteY9" fmla="*/ 118145 h 201894"/>
                  <a:gd name="connsiteX10" fmla="*/ 26129 w 103825"/>
                  <a:gd name="connsiteY10" fmla="*/ 118145 h 201894"/>
                  <a:gd name="connsiteX11" fmla="*/ 26129 w 103825"/>
                  <a:gd name="connsiteY11" fmla="*/ 201894 h 2018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03825" h="201894">
                    <a:moveTo>
                      <a:pt x="77697" y="201894"/>
                    </a:moveTo>
                    <a:lnTo>
                      <a:pt x="77697" y="118145"/>
                    </a:lnTo>
                    <a:lnTo>
                      <a:pt x="83159" y="118145"/>
                    </a:lnTo>
                    <a:cubicBezTo>
                      <a:pt x="94526" y="118145"/>
                      <a:pt x="103826" y="108845"/>
                      <a:pt x="103826" y="97478"/>
                    </a:cubicBezTo>
                    <a:lnTo>
                      <a:pt x="103826" y="20667"/>
                    </a:lnTo>
                    <a:cubicBezTo>
                      <a:pt x="103826" y="9300"/>
                      <a:pt x="94526" y="0"/>
                      <a:pt x="83159" y="0"/>
                    </a:cubicBezTo>
                    <a:lnTo>
                      <a:pt x="20667" y="0"/>
                    </a:lnTo>
                    <a:cubicBezTo>
                      <a:pt x="9300" y="0"/>
                      <a:pt x="0" y="9300"/>
                      <a:pt x="0" y="20667"/>
                    </a:cubicBezTo>
                    <a:lnTo>
                      <a:pt x="0" y="97478"/>
                    </a:lnTo>
                    <a:cubicBezTo>
                      <a:pt x="0" y="108845"/>
                      <a:pt x="9300" y="118145"/>
                      <a:pt x="20667" y="118145"/>
                    </a:cubicBezTo>
                    <a:lnTo>
                      <a:pt x="26129" y="118145"/>
                    </a:lnTo>
                    <a:lnTo>
                      <a:pt x="26129" y="201894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84" name="Forma livre: Forma 283">
                <a:extLst>
                  <a:ext uri="{FF2B5EF4-FFF2-40B4-BE49-F238E27FC236}">
                    <a16:creationId xmlns:a16="http://schemas.microsoft.com/office/drawing/2014/main" id="{F627F809-CF19-476E-AA1F-5039F7A2A4F0}"/>
                  </a:ext>
                </a:extLst>
              </p:cNvPr>
              <p:cNvSpPr/>
              <p:nvPr/>
            </p:nvSpPr>
            <p:spPr>
              <a:xfrm>
                <a:off x="4001954" y="2083545"/>
                <a:ext cx="64952" cy="64903"/>
              </a:xfrm>
              <a:custGeom>
                <a:avLst/>
                <a:gdLst>
                  <a:gd name="connsiteX0" fmla="*/ 64953 w 64952"/>
                  <a:gd name="connsiteY0" fmla="*/ 32476 h 64903"/>
                  <a:gd name="connsiteX1" fmla="*/ 32476 w 64952"/>
                  <a:gd name="connsiteY1" fmla="*/ 64903 h 64903"/>
                  <a:gd name="connsiteX2" fmla="*/ 0 w 64952"/>
                  <a:gd name="connsiteY2" fmla="*/ 32476 h 64903"/>
                  <a:gd name="connsiteX3" fmla="*/ 32476 w 64952"/>
                  <a:gd name="connsiteY3" fmla="*/ 0 h 64903"/>
                  <a:gd name="connsiteX4" fmla="*/ 64953 w 64952"/>
                  <a:gd name="connsiteY4" fmla="*/ 32476 h 649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4952" h="64903">
                    <a:moveTo>
                      <a:pt x="64953" y="32476"/>
                    </a:moveTo>
                    <a:cubicBezTo>
                      <a:pt x="64953" y="50387"/>
                      <a:pt x="50437" y="64903"/>
                      <a:pt x="32476" y="64903"/>
                    </a:cubicBezTo>
                    <a:cubicBezTo>
                      <a:pt x="14516" y="64903"/>
                      <a:pt x="0" y="50387"/>
                      <a:pt x="0" y="32476"/>
                    </a:cubicBezTo>
                    <a:cubicBezTo>
                      <a:pt x="0" y="14565"/>
                      <a:pt x="14516" y="0"/>
                      <a:pt x="32476" y="0"/>
                    </a:cubicBezTo>
                    <a:cubicBezTo>
                      <a:pt x="50437" y="0"/>
                      <a:pt x="64953" y="14516"/>
                      <a:pt x="64953" y="32476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285" name="Gráfico 5">
              <a:extLst>
                <a:ext uri="{FF2B5EF4-FFF2-40B4-BE49-F238E27FC236}">
                  <a16:creationId xmlns:a16="http://schemas.microsoft.com/office/drawing/2014/main" id="{D79FFA75-AAB4-D177-63B0-B8EC90AFC8C1}"/>
                </a:ext>
              </a:extLst>
            </p:cNvPr>
            <p:cNvGrpSpPr/>
            <p:nvPr/>
          </p:nvGrpSpPr>
          <p:grpSpPr>
            <a:xfrm>
              <a:off x="3885679" y="2205970"/>
              <a:ext cx="297453" cy="56981"/>
              <a:chOff x="3885679" y="2205970"/>
              <a:chExt cx="297453" cy="56981"/>
            </a:xfrm>
          </p:grpSpPr>
          <p:grpSp>
            <p:nvGrpSpPr>
              <p:cNvPr id="286" name="Gráfico 5">
                <a:extLst>
                  <a:ext uri="{FF2B5EF4-FFF2-40B4-BE49-F238E27FC236}">
                    <a16:creationId xmlns:a16="http://schemas.microsoft.com/office/drawing/2014/main" id="{6BA640C2-F033-7C7F-D548-E89C7143EFC5}"/>
                  </a:ext>
                </a:extLst>
              </p:cNvPr>
              <p:cNvGrpSpPr/>
              <p:nvPr/>
            </p:nvGrpSpPr>
            <p:grpSpPr>
              <a:xfrm>
                <a:off x="3885679" y="2205970"/>
                <a:ext cx="58211" cy="56981"/>
                <a:chOff x="3885679" y="2205970"/>
                <a:chExt cx="58211" cy="56981"/>
              </a:xfrm>
            </p:grpSpPr>
            <p:sp>
              <p:nvSpPr>
                <p:cNvPr id="287" name="Forma livre: Forma 286">
                  <a:extLst>
                    <a:ext uri="{FF2B5EF4-FFF2-40B4-BE49-F238E27FC236}">
                      <a16:creationId xmlns:a16="http://schemas.microsoft.com/office/drawing/2014/main" id="{4992345A-09B5-ADD8-9819-6FCB65ED4C9F}"/>
                    </a:ext>
                  </a:extLst>
                </p:cNvPr>
                <p:cNvSpPr/>
                <p:nvPr/>
              </p:nvSpPr>
              <p:spPr>
                <a:xfrm>
                  <a:off x="3885876" y="2234412"/>
                  <a:ext cx="58014" cy="4920"/>
                </a:xfrm>
                <a:custGeom>
                  <a:avLst/>
                  <a:gdLst>
                    <a:gd name="connsiteX0" fmla="*/ 0 w 58014"/>
                    <a:gd name="connsiteY0" fmla="*/ 0 h 4920"/>
                    <a:gd name="connsiteX1" fmla="*/ 58014 w 58014"/>
                    <a:gd name="connsiteY1" fmla="*/ 0 h 492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58014" h="4920">
                      <a:moveTo>
                        <a:pt x="0" y="0"/>
                      </a:moveTo>
                      <a:lnTo>
                        <a:pt x="58014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88" name="Forma livre: Forma 287">
                  <a:extLst>
                    <a:ext uri="{FF2B5EF4-FFF2-40B4-BE49-F238E27FC236}">
                      <a16:creationId xmlns:a16="http://schemas.microsoft.com/office/drawing/2014/main" id="{2C2578A3-BD2D-BABC-7895-406419C713C9}"/>
                    </a:ext>
                  </a:extLst>
                </p:cNvPr>
                <p:cNvSpPr/>
                <p:nvPr/>
              </p:nvSpPr>
              <p:spPr>
                <a:xfrm>
                  <a:off x="3885679" y="2205970"/>
                  <a:ext cx="28441" cy="28441"/>
                </a:xfrm>
                <a:custGeom>
                  <a:avLst/>
                  <a:gdLst>
                    <a:gd name="connsiteX0" fmla="*/ 28441 w 28441"/>
                    <a:gd name="connsiteY0" fmla="*/ 0 h 28441"/>
                    <a:gd name="connsiteX1" fmla="*/ 0 w 28441"/>
                    <a:gd name="connsiteY1" fmla="*/ 28441 h 2844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8441" h="28441">
                      <a:moveTo>
                        <a:pt x="28441" y="0"/>
                      </a:moveTo>
                      <a:lnTo>
                        <a:pt x="0" y="28441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89" name="Forma livre: Forma 288">
                  <a:extLst>
                    <a:ext uri="{FF2B5EF4-FFF2-40B4-BE49-F238E27FC236}">
                      <a16:creationId xmlns:a16="http://schemas.microsoft.com/office/drawing/2014/main" id="{2676376A-FF36-E8F5-434E-AAF733B9D8CB}"/>
                    </a:ext>
                  </a:extLst>
                </p:cNvPr>
                <p:cNvSpPr/>
                <p:nvPr/>
              </p:nvSpPr>
              <p:spPr>
                <a:xfrm>
                  <a:off x="3885679" y="2234510"/>
                  <a:ext cx="28441" cy="28441"/>
                </a:xfrm>
                <a:custGeom>
                  <a:avLst/>
                  <a:gdLst>
                    <a:gd name="connsiteX0" fmla="*/ 0 w 28441"/>
                    <a:gd name="connsiteY0" fmla="*/ 0 h 28441"/>
                    <a:gd name="connsiteX1" fmla="*/ 28441 w 28441"/>
                    <a:gd name="connsiteY1" fmla="*/ 28441 h 2844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8441" h="28441">
                      <a:moveTo>
                        <a:pt x="0" y="0"/>
                      </a:moveTo>
                      <a:lnTo>
                        <a:pt x="28441" y="28441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290" name="Gráfico 5">
                <a:extLst>
                  <a:ext uri="{FF2B5EF4-FFF2-40B4-BE49-F238E27FC236}">
                    <a16:creationId xmlns:a16="http://schemas.microsoft.com/office/drawing/2014/main" id="{C3A2CF2E-5326-50AC-8975-08906F8A212E}"/>
                  </a:ext>
                </a:extLst>
              </p:cNvPr>
              <p:cNvGrpSpPr/>
              <p:nvPr/>
            </p:nvGrpSpPr>
            <p:grpSpPr>
              <a:xfrm>
                <a:off x="4124921" y="2205970"/>
                <a:ext cx="58211" cy="56981"/>
                <a:chOff x="4124921" y="2205970"/>
                <a:chExt cx="58211" cy="56981"/>
              </a:xfrm>
            </p:grpSpPr>
            <p:sp>
              <p:nvSpPr>
                <p:cNvPr id="291" name="Forma livre: Forma 290">
                  <a:extLst>
                    <a:ext uri="{FF2B5EF4-FFF2-40B4-BE49-F238E27FC236}">
                      <a16:creationId xmlns:a16="http://schemas.microsoft.com/office/drawing/2014/main" id="{F1D4F8EE-564C-12EA-9E10-8CF57D5396E3}"/>
                    </a:ext>
                  </a:extLst>
                </p:cNvPr>
                <p:cNvSpPr/>
                <p:nvPr/>
              </p:nvSpPr>
              <p:spPr>
                <a:xfrm>
                  <a:off x="4124921" y="2234461"/>
                  <a:ext cx="58014" cy="49"/>
                </a:xfrm>
                <a:custGeom>
                  <a:avLst/>
                  <a:gdLst>
                    <a:gd name="connsiteX0" fmla="*/ 58014 w 58014"/>
                    <a:gd name="connsiteY0" fmla="*/ 0 h 49"/>
                    <a:gd name="connsiteX1" fmla="*/ 0 w 58014"/>
                    <a:gd name="connsiteY1" fmla="*/ 49 h 4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58014" h="49">
                      <a:moveTo>
                        <a:pt x="58014" y="0"/>
                      </a:moveTo>
                      <a:lnTo>
                        <a:pt x="0" y="49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92" name="Forma livre: Forma 291">
                  <a:extLst>
                    <a:ext uri="{FF2B5EF4-FFF2-40B4-BE49-F238E27FC236}">
                      <a16:creationId xmlns:a16="http://schemas.microsoft.com/office/drawing/2014/main" id="{859E5276-52F6-DCFB-20C4-50499D42449D}"/>
                    </a:ext>
                  </a:extLst>
                </p:cNvPr>
                <p:cNvSpPr/>
                <p:nvPr/>
              </p:nvSpPr>
              <p:spPr>
                <a:xfrm>
                  <a:off x="4154691" y="2234510"/>
                  <a:ext cx="28441" cy="28441"/>
                </a:xfrm>
                <a:custGeom>
                  <a:avLst/>
                  <a:gdLst>
                    <a:gd name="connsiteX0" fmla="*/ 0 w 28441"/>
                    <a:gd name="connsiteY0" fmla="*/ 28441 h 28441"/>
                    <a:gd name="connsiteX1" fmla="*/ 28441 w 28441"/>
                    <a:gd name="connsiteY1" fmla="*/ 0 h 2844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8441" h="28441">
                      <a:moveTo>
                        <a:pt x="0" y="28441"/>
                      </a:moveTo>
                      <a:lnTo>
                        <a:pt x="28441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93" name="Forma livre: Forma 292">
                  <a:extLst>
                    <a:ext uri="{FF2B5EF4-FFF2-40B4-BE49-F238E27FC236}">
                      <a16:creationId xmlns:a16="http://schemas.microsoft.com/office/drawing/2014/main" id="{A7BE039C-2B06-DB9E-406B-E84A61E36120}"/>
                    </a:ext>
                  </a:extLst>
                </p:cNvPr>
                <p:cNvSpPr/>
                <p:nvPr/>
              </p:nvSpPr>
              <p:spPr>
                <a:xfrm>
                  <a:off x="4154691" y="2205970"/>
                  <a:ext cx="28441" cy="28441"/>
                </a:xfrm>
                <a:custGeom>
                  <a:avLst/>
                  <a:gdLst>
                    <a:gd name="connsiteX0" fmla="*/ 28441 w 28441"/>
                    <a:gd name="connsiteY0" fmla="*/ 28441 h 28441"/>
                    <a:gd name="connsiteX1" fmla="*/ 0 w 28441"/>
                    <a:gd name="connsiteY1" fmla="*/ 0 h 2844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8441" h="28441">
                      <a:moveTo>
                        <a:pt x="28441" y="28441"/>
                      </a:moveTo>
                      <a:lnTo>
                        <a:pt x="0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</p:grpSp>
      <p:grpSp>
        <p:nvGrpSpPr>
          <p:cNvPr id="294" name="Gráfico 5">
            <a:extLst>
              <a:ext uri="{FF2B5EF4-FFF2-40B4-BE49-F238E27FC236}">
                <a16:creationId xmlns:a16="http://schemas.microsoft.com/office/drawing/2014/main" id="{6D5E2FE3-BC36-5335-F47B-0793E16AA362}"/>
              </a:ext>
            </a:extLst>
          </p:cNvPr>
          <p:cNvGrpSpPr/>
          <p:nvPr/>
        </p:nvGrpSpPr>
        <p:grpSpPr>
          <a:xfrm>
            <a:off x="3855270" y="1582722"/>
            <a:ext cx="358272" cy="216090"/>
            <a:chOff x="3855270" y="1582722"/>
            <a:chExt cx="358272" cy="216090"/>
          </a:xfrm>
        </p:grpSpPr>
        <p:sp>
          <p:nvSpPr>
            <p:cNvPr id="295" name="Forma livre: Forma 294">
              <a:extLst>
                <a:ext uri="{FF2B5EF4-FFF2-40B4-BE49-F238E27FC236}">
                  <a16:creationId xmlns:a16="http://schemas.microsoft.com/office/drawing/2014/main" id="{C1E03DCF-31ED-94E3-FCEF-EA3F765365D3}"/>
                </a:ext>
              </a:extLst>
            </p:cNvPr>
            <p:cNvSpPr/>
            <p:nvPr/>
          </p:nvSpPr>
          <p:spPr>
            <a:xfrm>
              <a:off x="4120345" y="1745349"/>
              <a:ext cx="42120" cy="4920"/>
            </a:xfrm>
            <a:custGeom>
              <a:avLst/>
              <a:gdLst>
                <a:gd name="connsiteX0" fmla="*/ 0 w 42120"/>
                <a:gd name="connsiteY0" fmla="*/ 0 h 4920"/>
                <a:gd name="connsiteX1" fmla="*/ 42121 w 42120"/>
                <a:gd name="connsiteY1" fmla="*/ 0 h 49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2120" h="4920">
                  <a:moveTo>
                    <a:pt x="0" y="0"/>
                  </a:moveTo>
                  <a:lnTo>
                    <a:pt x="42121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96" name="Forma livre: Forma 295">
              <a:extLst>
                <a:ext uri="{FF2B5EF4-FFF2-40B4-BE49-F238E27FC236}">
                  <a16:creationId xmlns:a16="http://schemas.microsoft.com/office/drawing/2014/main" id="{4153D7C6-078C-0461-AC81-2C5CF320F335}"/>
                </a:ext>
              </a:extLst>
            </p:cNvPr>
            <p:cNvSpPr/>
            <p:nvPr/>
          </p:nvSpPr>
          <p:spPr>
            <a:xfrm>
              <a:off x="3907429" y="1725617"/>
              <a:ext cx="84044" cy="73195"/>
            </a:xfrm>
            <a:custGeom>
              <a:avLst/>
              <a:gdLst>
                <a:gd name="connsiteX0" fmla="*/ 84045 w 84044"/>
                <a:gd name="connsiteY0" fmla="*/ 72580 h 73195"/>
                <a:gd name="connsiteX1" fmla="*/ 56587 w 84044"/>
                <a:gd name="connsiteY1" fmla="*/ 60475 h 73195"/>
                <a:gd name="connsiteX2" fmla="*/ 21356 w 84044"/>
                <a:gd name="connsiteY2" fmla="*/ 0 h 73195"/>
                <a:gd name="connsiteX3" fmla="*/ 0 w 84044"/>
                <a:gd name="connsiteY3" fmla="*/ 0 h 731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4044" h="73195">
                  <a:moveTo>
                    <a:pt x="84045" y="72580"/>
                  </a:moveTo>
                  <a:cubicBezTo>
                    <a:pt x="78042" y="73810"/>
                    <a:pt x="64903" y="74597"/>
                    <a:pt x="56587" y="60475"/>
                  </a:cubicBezTo>
                  <a:lnTo>
                    <a:pt x="21356" y="0"/>
                  </a:lnTo>
                  <a:lnTo>
                    <a:pt x="0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97" name="Forma livre: Forma 296">
              <a:extLst>
                <a:ext uri="{FF2B5EF4-FFF2-40B4-BE49-F238E27FC236}">
                  <a16:creationId xmlns:a16="http://schemas.microsoft.com/office/drawing/2014/main" id="{0C7C2E68-EE99-3CB1-4E31-6326AF25A053}"/>
                </a:ext>
              </a:extLst>
            </p:cNvPr>
            <p:cNvSpPr/>
            <p:nvPr/>
          </p:nvSpPr>
          <p:spPr>
            <a:xfrm>
              <a:off x="4025918" y="1735557"/>
              <a:ext cx="21109" cy="38036"/>
            </a:xfrm>
            <a:custGeom>
              <a:avLst/>
              <a:gdLst>
                <a:gd name="connsiteX0" fmla="*/ 0 w 21109"/>
                <a:gd name="connsiteY0" fmla="*/ 0 h 38036"/>
                <a:gd name="connsiteX1" fmla="*/ 21110 w 21109"/>
                <a:gd name="connsiteY1" fmla="*/ 38037 h 380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1109" h="38036">
                  <a:moveTo>
                    <a:pt x="0" y="0"/>
                  </a:moveTo>
                  <a:lnTo>
                    <a:pt x="21110" y="38037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98" name="Forma livre: Forma 297">
              <a:extLst>
                <a:ext uri="{FF2B5EF4-FFF2-40B4-BE49-F238E27FC236}">
                  <a16:creationId xmlns:a16="http://schemas.microsoft.com/office/drawing/2014/main" id="{FA0705C1-7517-396A-494F-2B96BEDA05D3}"/>
                </a:ext>
              </a:extLst>
            </p:cNvPr>
            <p:cNvSpPr/>
            <p:nvPr/>
          </p:nvSpPr>
          <p:spPr>
            <a:xfrm>
              <a:off x="3995410" y="1760406"/>
              <a:ext cx="13679" cy="23815"/>
            </a:xfrm>
            <a:custGeom>
              <a:avLst/>
              <a:gdLst>
                <a:gd name="connsiteX0" fmla="*/ 0 w 13679"/>
                <a:gd name="connsiteY0" fmla="*/ 0 h 23815"/>
                <a:gd name="connsiteX1" fmla="*/ 13679 w 13679"/>
                <a:gd name="connsiteY1" fmla="*/ 23816 h 238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3679" h="23815">
                  <a:moveTo>
                    <a:pt x="0" y="0"/>
                  </a:moveTo>
                  <a:lnTo>
                    <a:pt x="13679" y="23816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99" name="Forma livre: Forma 298">
              <a:extLst>
                <a:ext uri="{FF2B5EF4-FFF2-40B4-BE49-F238E27FC236}">
                  <a16:creationId xmlns:a16="http://schemas.microsoft.com/office/drawing/2014/main" id="{8EF59F79-72E8-4773-FAE6-9FDEE57A8957}"/>
                </a:ext>
              </a:extLst>
            </p:cNvPr>
            <p:cNvSpPr/>
            <p:nvPr/>
          </p:nvSpPr>
          <p:spPr>
            <a:xfrm>
              <a:off x="4046880" y="1773446"/>
              <a:ext cx="27358" cy="11570"/>
            </a:xfrm>
            <a:custGeom>
              <a:avLst/>
              <a:gdLst>
                <a:gd name="connsiteX0" fmla="*/ 27359 w 27358"/>
                <a:gd name="connsiteY0" fmla="*/ 8808 h 11570"/>
                <a:gd name="connsiteX1" fmla="*/ 0 w 27358"/>
                <a:gd name="connsiteY1" fmla="*/ 0 h 115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7358" h="11570">
                  <a:moveTo>
                    <a:pt x="27359" y="8808"/>
                  </a:moveTo>
                  <a:cubicBezTo>
                    <a:pt x="21208" y="11416"/>
                    <a:pt x="9448" y="16287"/>
                    <a:pt x="0" y="0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00" name="Forma livre: Forma 299">
              <a:extLst>
                <a:ext uri="{FF2B5EF4-FFF2-40B4-BE49-F238E27FC236}">
                  <a16:creationId xmlns:a16="http://schemas.microsoft.com/office/drawing/2014/main" id="{4E35E17C-7086-07F4-7DEF-159B1AD76861}"/>
                </a:ext>
              </a:extLst>
            </p:cNvPr>
            <p:cNvSpPr/>
            <p:nvPr/>
          </p:nvSpPr>
          <p:spPr>
            <a:xfrm>
              <a:off x="4009139" y="1784222"/>
              <a:ext cx="22192" cy="10513"/>
            </a:xfrm>
            <a:custGeom>
              <a:avLst/>
              <a:gdLst>
                <a:gd name="connsiteX0" fmla="*/ 22192 w 22192"/>
                <a:gd name="connsiteY0" fmla="*/ 8217 h 10513"/>
                <a:gd name="connsiteX1" fmla="*/ 0 w 22192"/>
                <a:gd name="connsiteY1" fmla="*/ 0 h 105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2192" h="10513">
                  <a:moveTo>
                    <a:pt x="22192" y="8217"/>
                  </a:moveTo>
                  <a:cubicBezTo>
                    <a:pt x="22192" y="8217"/>
                    <a:pt x="9349" y="17075"/>
                    <a:pt x="0" y="0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01" name="Forma livre: Forma 300">
              <a:extLst>
                <a:ext uri="{FF2B5EF4-FFF2-40B4-BE49-F238E27FC236}">
                  <a16:creationId xmlns:a16="http://schemas.microsoft.com/office/drawing/2014/main" id="{FB7EC83C-2D93-251A-B53D-EEC5A10BBA18}"/>
                </a:ext>
              </a:extLst>
            </p:cNvPr>
            <p:cNvSpPr/>
            <p:nvPr/>
          </p:nvSpPr>
          <p:spPr>
            <a:xfrm>
              <a:off x="3907330" y="1602847"/>
              <a:ext cx="69528" cy="4920"/>
            </a:xfrm>
            <a:custGeom>
              <a:avLst/>
              <a:gdLst>
                <a:gd name="connsiteX0" fmla="*/ 0 w 69528"/>
                <a:gd name="connsiteY0" fmla="*/ 0 h 4920"/>
                <a:gd name="connsiteX1" fmla="*/ 69529 w 69528"/>
                <a:gd name="connsiteY1" fmla="*/ 0 h 49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9528" h="4920">
                  <a:moveTo>
                    <a:pt x="0" y="0"/>
                  </a:moveTo>
                  <a:lnTo>
                    <a:pt x="69529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02" name="Forma livre: Forma 301">
              <a:extLst>
                <a:ext uri="{FF2B5EF4-FFF2-40B4-BE49-F238E27FC236}">
                  <a16:creationId xmlns:a16="http://schemas.microsoft.com/office/drawing/2014/main" id="{EDF77882-E8AE-3EFA-0923-2DFCA35435F9}"/>
                </a:ext>
              </a:extLst>
            </p:cNvPr>
            <p:cNvSpPr/>
            <p:nvPr/>
          </p:nvSpPr>
          <p:spPr>
            <a:xfrm>
              <a:off x="3855270" y="1582722"/>
              <a:ext cx="50633" cy="165087"/>
            </a:xfrm>
            <a:custGeom>
              <a:avLst/>
              <a:gdLst>
                <a:gd name="connsiteX0" fmla="*/ 344 w 50633"/>
                <a:gd name="connsiteY0" fmla="*/ 0 h 165087"/>
                <a:gd name="connsiteX1" fmla="*/ 50633 w 50633"/>
                <a:gd name="connsiteY1" fmla="*/ 0 h 165087"/>
                <a:gd name="connsiteX2" fmla="*/ 50633 w 50633"/>
                <a:gd name="connsiteY2" fmla="*/ 165088 h 165087"/>
                <a:gd name="connsiteX3" fmla="*/ 0 w 50633"/>
                <a:gd name="connsiteY3" fmla="*/ 165088 h 1650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0633" h="165087">
                  <a:moveTo>
                    <a:pt x="344" y="0"/>
                  </a:moveTo>
                  <a:lnTo>
                    <a:pt x="50633" y="0"/>
                  </a:lnTo>
                  <a:lnTo>
                    <a:pt x="50633" y="165088"/>
                  </a:lnTo>
                  <a:lnTo>
                    <a:pt x="0" y="165088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03" name="Forma livre: Forma 302">
              <a:extLst>
                <a:ext uri="{FF2B5EF4-FFF2-40B4-BE49-F238E27FC236}">
                  <a16:creationId xmlns:a16="http://schemas.microsoft.com/office/drawing/2014/main" id="{6A79711E-B57A-73DF-D076-DEB34828D0F7}"/>
                </a:ext>
              </a:extLst>
            </p:cNvPr>
            <p:cNvSpPr/>
            <p:nvPr/>
          </p:nvSpPr>
          <p:spPr>
            <a:xfrm>
              <a:off x="4162909" y="1596942"/>
              <a:ext cx="50633" cy="165087"/>
            </a:xfrm>
            <a:custGeom>
              <a:avLst/>
              <a:gdLst>
                <a:gd name="connsiteX0" fmla="*/ 50289 w 50633"/>
                <a:gd name="connsiteY0" fmla="*/ 0 h 165087"/>
                <a:gd name="connsiteX1" fmla="*/ 0 w 50633"/>
                <a:gd name="connsiteY1" fmla="*/ 0 h 165087"/>
                <a:gd name="connsiteX2" fmla="*/ 0 w 50633"/>
                <a:gd name="connsiteY2" fmla="*/ 165088 h 165087"/>
                <a:gd name="connsiteX3" fmla="*/ 50633 w 50633"/>
                <a:gd name="connsiteY3" fmla="*/ 165088 h 1650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0633" h="165087">
                  <a:moveTo>
                    <a:pt x="50289" y="0"/>
                  </a:moveTo>
                  <a:lnTo>
                    <a:pt x="0" y="0"/>
                  </a:lnTo>
                  <a:lnTo>
                    <a:pt x="0" y="165088"/>
                  </a:lnTo>
                  <a:lnTo>
                    <a:pt x="50633" y="165088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04" name="Forma livre: Forma 303">
              <a:extLst>
                <a:ext uri="{FF2B5EF4-FFF2-40B4-BE49-F238E27FC236}">
                  <a16:creationId xmlns:a16="http://schemas.microsoft.com/office/drawing/2014/main" id="{2208A116-59DA-567D-1A7F-3FE6A90446B9}"/>
                </a:ext>
              </a:extLst>
            </p:cNvPr>
            <p:cNvSpPr/>
            <p:nvPr/>
          </p:nvSpPr>
          <p:spPr>
            <a:xfrm>
              <a:off x="3961359" y="1590398"/>
              <a:ext cx="200713" cy="161593"/>
            </a:xfrm>
            <a:custGeom>
              <a:avLst/>
              <a:gdLst>
                <a:gd name="connsiteX0" fmla="*/ 163169 w 200713"/>
                <a:gd name="connsiteY0" fmla="*/ 161594 h 161593"/>
                <a:gd name="connsiteX1" fmla="*/ 106286 w 200713"/>
                <a:gd name="connsiteY1" fmla="*/ 53192 h 161593"/>
                <a:gd name="connsiteX2" fmla="*/ 76959 w 200713"/>
                <a:gd name="connsiteY2" fmla="*/ 50683 h 161593"/>
                <a:gd name="connsiteX3" fmla="*/ 43351 w 200713"/>
                <a:gd name="connsiteY3" fmla="*/ 84783 h 161593"/>
                <a:gd name="connsiteX4" fmla="*/ 0 w 200713"/>
                <a:gd name="connsiteY4" fmla="*/ 74646 h 161593"/>
                <a:gd name="connsiteX5" fmla="*/ 43154 w 200713"/>
                <a:gd name="connsiteY5" fmla="*/ 18403 h 161593"/>
                <a:gd name="connsiteX6" fmla="*/ 72186 w 200713"/>
                <a:gd name="connsiteY6" fmla="*/ 0 h 161593"/>
                <a:gd name="connsiteX7" fmla="*/ 137139 w 200713"/>
                <a:gd name="connsiteY7" fmla="*/ 98 h 161593"/>
                <a:gd name="connsiteX8" fmla="*/ 200713 w 200713"/>
                <a:gd name="connsiteY8" fmla="*/ 27752 h 1615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00713" h="161593">
                  <a:moveTo>
                    <a:pt x="163169" y="161594"/>
                  </a:moveTo>
                  <a:lnTo>
                    <a:pt x="106286" y="53192"/>
                  </a:lnTo>
                  <a:cubicBezTo>
                    <a:pt x="101464" y="52897"/>
                    <a:pt x="76959" y="50683"/>
                    <a:pt x="76959" y="50683"/>
                  </a:cubicBezTo>
                  <a:lnTo>
                    <a:pt x="43351" y="84783"/>
                  </a:lnTo>
                  <a:cubicBezTo>
                    <a:pt x="15303" y="106188"/>
                    <a:pt x="0" y="74646"/>
                    <a:pt x="0" y="74646"/>
                  </a:cubicBezTo>
                  <a:lnTo>
                    <a:pt x="43154" y="18403"/>
                  </a:lnTo>
                  <a:cubicBezTo>
                    <a:pt x="57621" y="197"/>
                    <a:pt x="72186" y="0"/>
                    <a:pt x="72186" y="0"/>
                  </a:cubicBezTo>
                  <a:lnTo>
                    <a:pt x="137139" y="98"/>
                  </a:lnTo>
                  <a:lnTo>
                    <a:pt x="200713" y="27752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05" name="Forma livre: Forma 304">
              <a:extLst>
                <a:ext uri="{FF2B5EF4-FFF2-40B4-BE49-F238E27FC236}">
                  <a16:creationId xmlns:a16="http://schemas.microsoft.com/office/drawing/2014/main" id="{1C783EC9-B83F-D455-513C-90D33C5FE181}"/>
                </a:ext>
              </a:extLst>
            </p:cNvPr>
            <p:cNvSpPr/>
            <p:nvPr/>
          </p:nvSpPr>
          <p:spPr>
            <a:xfrm>
              <a:off x="4057951" y="1713660"/>
              <a:ext cx="70266" cy="61774"/>
            </a:xfrm>
            <a:custGeom>
              <a:avLst/>
              <a:gdLst>
                <a:gd name="connsiteX0" fmla="*/ 70267 w 70266"/>
                <a:gd name="connsiteY0" fmla="*/ 34051 h 61774"/>
                <a:gd name="connsiteX1" fmla="*/ 29770 w 70266"/>
                <a:gd name="connsiteY1" fmla="*/ 46648 h 61774"/>
                <a:gd name="connsiteX2" fmla="*/ 0 w 70266"/>
                <a:gd name="connsiteY2" fmla="*/ 0 h 617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70266" h="61774">
                  <a:moveTo>
                    <a:pt x="70267" y="34051"/>
                  </a:moveTo>
                  <a:cubicBezTo>
                    <a:pt x="67708" y="41333"/>
                    <a:pt x="51126" y="83995"/>
                    <a:pt x="29770" y="46648"/>
                  </a:cubicBezTo>
                  <a:lnTo>
                    <a:pt x="0" y="0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06" name="Forma livre: Forma 305">
              <a:extLst>
                <a:ext uri="{FF2B5EF4-FFF2-40B4-BE49-F238E27FC236}">
                  <a16:creationId xmlns:a16="http://schemas.microsoft.com/office/drawing/2014/main" id="{12A85B67-4EE3-1C98-7B27-6E8341693A10}"/>
                </a:ext>
              </a:extLst>
            </p:cNvPr>
            <p:cNvSpPr/>
            <p:nvPr/>
          </p:nvSpPr>
          <p:spPr>
            <a:xfrm>
              <a:off x="4198682" y="1717006"/>
              <a:ext cx="7676" cy="7676"/>
            </a:xfrm>
            <a:custGeom>
              <a:avLst/>
              <a:gdLst>
                <a:gd name="connsiteX0" fmla="*/ 7676 w 7676"/>
                <a:gd name="connsiteY0" fmla="*/ 3838 h 7676"/>
                <a:gd name="connsiteX1" fmla="*/ 3838 w 7676"/>
                <a:gd name="connsiteY1" fmla="*/ 7676 h 7676"/>
                <a:gd name="connsiteX2" fmla="*/ 0 w 7676"/>
                <a:gd name="connsiteY2" fmla="*/ 3838 h 7676"/>
                <a:gd name="connsiteX3" fmla="*/ 3838 w 7676"/>
                <a:gd name="connsiteY3" fmla="*/ 0 h 7676"/>
                <a:gd name="connsiteX4" fmla="*/ 7676 w 7676"/>
                <a:gd name="connsiteY4" fmla="*/ 3838 h 76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76" h="7676">
                  <a:moveTo>
                    <a:pt x="7676" y="3838"/>
                  </a:moveTo>
                  <a:cubicBezTo>
                    <a:pt x="7676" y="5954"/>
                    <a:pt x="5954" y="7676"/>
                    <a:pt x="3838" y="7676"/>
                  </a:cubicBezTo>
                  <a:cubicBezTo>
                    <a:pt x="1722" y="7676"/>
                    <a:pt x="0" y="5954"/>
                    <a:pt x="0" y="3838"/>
                  </a:cubicBezTo>
                  <a:cubicBezTo>
                    <a:pt x="0" y="1722"/>
                    <a:pt x="1722" y="0"/>
                    <a:pt x="3838" y="0"/>
                  </a:cubicBezTo>
                  <a:cubicBezTo>
                    <a:pt x="5954" y="0"/>
                    <a:pt x="7676" y="1722"/>
                    <a:pt x="7676" y="3838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07" name="Forma livre: Forma 306">
              <a:extLst>
                <a:ext uri="{FF2B5EF4-FFF2-40B4-BE49-F238E27FC236}">
                  <a16:creationId xmlns:a16="http://schemas.microsoft.com/office/drawing/2014/main" id="{33303A9C-E164-D9B9-0B13-291E5BA035CA}"/>
                </a:ext>
              </a:extLst>
            </p:cNvPr>
            <p:cNvSpPr/>
            <p:nvPr/>
          </p:nvSpPr>
          <p:spPr>
            <a:xfrm>
              <a:off x="3862306" y="1702342"/>
              <a:ext cx="7676" cy="7676"/>
            </a:xfrm>
            <a:custGeom>
              <a:avLst/>
              <a:gdLst>
                <a:gd name="connsiteX0" fmla="*/ 7676 w 7676"/>
                <a:gd name="connsiteY0" fmla="*/ 3838 h 7676"/>
                <a:gd name="connsiteX1" fmla="*/ 3838 w 7676"/>
                <a:gd name="connsiteY1" fmla="*/ 7676 h 7676"/>
                <a:gd name="connsiteX2" fmla="*/ 0 w 7676"/>
                <a:gd name="connsiteY2" fmla="*/ 3838 h 7676"/>
                <a:gd name="connsiteX3" fmla="*/ 3838 w 7676"/>
                <a:gd name="connsiteY3" fmla="*/ 0 h 7676"/>
                <a:gd name="connsiteX4" fmla="*/ 7676 w 7676"/>
                <a:gd name="connsiteY4" fmla="*/ 3838 h 76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76" h="7676">
                  <a:moveTo>
                    <a:pt x="7676" y="3838"/>
                  </a:moveTo>
                  <a:cubicBezTo>
                    <a:pt x="7676" y="5954"/>
                    <a:pt x="5954" y="7676"/>
                    <a:pt x="3838" y="7676"/>
                  </a:cubicBezTo>
                  <a:cubicBezTo>
                    <a:pt x="1722" y="7676"/>
                    <a:pt x="0" y="5954"/>
                    <a:pt x="0" y="3838"/>
                  </a:cubicBezTo>
                  <a:cubicBezTo>
                    <a:pt x="0" y="1722"/>
                    <a:pt x="1722" y="0"/>
                    <a:pt x="3838" y="0"/>
                  </a:cubicBezTo>
                  <a:cubicBezTo>
                    <a:pt x="5954" y="0"/>
                    <a:pt x="7676" y="1722"/>
                    <a:pt x="7676" y="3838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322" name="Gráfico 7">
            <a:extLst>
              <a:ext uri="{FF2B5EF4-FFF2-40B4-BE49-F238E27FC236}">
                <a16:creationId xmlns:a16="http://schemas.microsoft.com/office/drawing/2014/main" id="{D11BCB1D-5FD2-B5BD-98CA-16596562307F}"/>
              </a:ext>
            </a:extLst>
          </p:cNvPr>
          <p:cNvGrpSpPr/>
          <p:nvPr/>
        </p:nvGrpSpPr>
        <p:grpSpPr>
          <a:xfrm>
            <a:off x="5154309" y="987210"/>
            <a:ext cx="273019" cy="297369"/>
            <a:chOff x="5154309" y="987210"/>
            <a:chExt cx="273019" cy="297369"/>
          </a:xfrm>
          <a:noFill/>
        </p:grpSpPr>
        <p:sp>
          <p:nvSpPr>
            <p:cNvPr id="323" name="Forma livre: Forma 322">
              <a:extLst>
                <a:ext uri="{FF2B5EF4-FFF2-40B4-BE49-F238E27FC236}">
                  <a16:creationId xmlns:a16="http://schemas.microsoft.com/office/drawing/2014/main" id="{89283E7A-EDC3-1DF1-747F-8B5F51B1CC33}"/>
                </a:ext>
              </a:extLst>
            </p:cNvPr>
            <p:cNvSpPr/>
            <p:nvPr/>
          </p:nvSpPr>
          <p:spPr>
            <a:xfrm>
              <a:off x="5262098" y="1058476"/>
              <a:ext cx="81731" cy="93443"/>
            </a:xfrm>
            <a:custGeom>
              <a:avLst/>
              <a:gdLst>
                <a:gd name="connsiteX0" fmla="*/ 40891 w 81731"/>
                <a:gd name="connsiteY0" fmla="*/ 0 h 93443"/>
                <a:gd name="connsiteX1" fmla="*/ 0 w 81731"/>
                <a:gd name="connsiteY1" fmla="*/ 42121 h 93443"/>
                <a:gd name="connsiteX2" fmla="*/ 7578 w 81731"/>
                <a:gd name="connsiteY2" fmla="*/ 66576 h 93443"/>
                <a:gd name="connsiteX3" fmla="*/ 30311 w 81731"/>
                <a:gd name="connsiteY3" fmla="*/ 93443 h 93443"/>
                <a:gd name="connsiteX4" fmla="*/ 51421 w 81731"/>
                <a:gd name="connsiteY4" fmla="*/ 93443 h 93443"/>
                <a:gd name="connsiteX5" fmla="*/ 74154 w 81731"/>
                <a:gd name="connsiteY5" fmla="*/ 66576 h 93443"/>
                <a:gd name="connsiteX6" fmla="*/ 81732 w 81731"/>
                <a:gd name="connsiteY6" fmla="*/ 42121 h 93443"/>
                <a:gd name="connsiteX7" fmla="*/ 40841 w 81731"/>
                <a:gd name="connsiteY7" fmla="*/ 0 h 934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1731" h="93443">
                  <a:moveTo>
                    <a:pt x="40891" y="0"/>
                  </a:moveTo>
                  <a:cubicBezTo>
                    <a:pt x="18305" y="0"/>
                    <a:pt x="0" y="18846"/>
                    <a:pt x="0" y="42121"/>
                  </a:cubicBezTo>
                  <a:cubicBezTo>
                    <a:pt x="0" y="53143"/>
                    <a:pt x="3248" y="60918"/>
                    <a:pt x="7578" y="66576"/>
                  </a:cubicBezTo>
                  <a:cubicBezTo>
                    <a:pt x="15106" y="75089"/>
                    <a:pt x="25095" y="79124"/>
                    <a:pt x="30311" y="93443"/>
                  </a:cubicBezTo>
                  <a:lnTo>
                    <a:pt x="51421" y="93443"/>
                  </a:lnTo>
                  <a:cubicBezTo>
                    <a:pt x="55111" y="79124"/>
                    <a:pt x="66626" y="75089"/>
                    <a:pt x="74154" y="66576"/>
                  </a:cubicBezTo>
                  <a:cubicBezTo>
                    <a:pt x="79222" y="60278"/>
                    <a:pt x="81732" y="53143"/>
                    <a:pt x="81732" y="42121"/>
                  </a:cubicBezTo>
                  <a:cubicBezTo>
                    <a:pt x="81732" y="18846"/>
                    <a:pt x="63427" y="0"/>
                    <a:pt x="40841" y="0"/>
                  </a:cubicBez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24" name="Forma livre: Forma 323">
              <a:extLst>
                <a:ext uri="{FF2B5EF4-FFF2-40B4-BE49-F238E27FC236}">
                  <a16:creationId xmlns:a16="http://schemas.microsoft.com/office/drawing/2014/main" id="{16F3B352-1A84-6029-58E6-2A2CF13C1C8D}"/>
                </a:ext>
              </a:extLst>
            </p:cNvPr>
            <p:cNvSpPr/>
            <p:nvPr/>
          </p:nvSpPr>
          <p:spPr>
            <a:xfrm>
              <a:off x="5302890" y="1024425"/>
              <a:ext cx="4920" cy="8857"/>
            </a:xfrm>
            <a:custGeom>
              <a:avLst/>
              <a:gdLst>
                <a:gd name="connsiteX0" fmla="*/ 0 w 4920"/>
                <a:gd name="connsiteY0" fmla="*/ 8857 h 8857"/>
                <a:gd name="connsiteX1" fmla="*/ 0 w 4920"/>
                <a:gd name="connsiteY1" fmla="*/ 0 h 8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920" h="8857">
                  <a:moveTo>
                    <a:pt x="0" y="8857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25" name="Forma livre: Forma 324">
              <a:extLst>
                <a:ext uri="{FF2B5EF4-FFF2-40B4-BE49-F238E27FC236}">
                  <a16:creationId xmlns:a16="http://schemas.microsoft.com/office/drawing/2014/main" id="{26A23350-5733-412D-5710-FC58B63F1FFB}"/>
                </a:ext>
              </a:extLst>
            </p:cNvPr>
            <p:cNvSpPr/>
            <p:nvPr/>
          </p:nvSpPr>
          <p:spPr>
            <a:xfrm>
              <a:off x="5244384" y="1049422"/>
              <a:ext cx="6839" cy="6938"/>
            </a:xfrm>
            <a:custGeom>
              <a:avLst/>
              <a:gdLst>
                <a:gd name="connsiteX0" fmla="*/ 6840 w 6839"/>
                <a:gd name="connsiteY0" fmla="*/ 6938 h 6938"/>
                <a:gd name="connsiteX1" fmla="*/ 0 w 6839"/>
                <a:gd name="connsiteY1" fmla="*/ 0 h 69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839" h="6938">
                  <a:moveTo>
                    <a:pt x="6840" y="6938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26" name="Forma livre: Forma 325">
              <a:extLst>
                <a:ext uri="{FF2B5EF4-FFF2-40B4-BE49-F238E27FC236}">
                  <a16:creationId xmlns:a16="http://schemas.microsoft.com/office/drawing/2014/main" id="{BD3520D3-B1AE-0A38-A39E-096711CBF49E}"/>
                </a:ext>
              </a:extLst>
            </p:cNvPr>
            <p:cNvSpPr/>
            <p:nvPr/>
          </p:nvSpPr>
          <p:spPr>
            <a:xfrm>
              <a:off x="5354754" y="1049964"/>
              <a:ext cx="6839" cy="6888"/>
            </a:xfrm>
            <a:custGeom>
              <a:avLst/>
              <a:gdLst>
                <a:gd name="connsiteX0" fmla="*/ 0 w 6839"/>
                <a:gd name="connsiteY0" fmla="*/ 6889 h 6888"/>
                <a:gd name="connsiteX1" fmla="*/ 6840 w 6839"/>
                <a:gd name="connsiteY1" fmla="*/ 0 h 68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839" h="6888">
                  <a:moveTo>
                    <a:pt x="0" y="6889"/>
                  </a:moveTo>
                  <a:lnTo>
                    <a:pt x="684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27" name="Forma livre: Forma 326">
              <a:extLst>
                <a:ext uri="{FF2B5EF4-FFF2-40B4-BE49-F238E27FC236}">
                  <a16:creationId xmlns:a16="http://schemas.microsoft.com/office/drawing/2014/main" id="{82417AA8-88CD-DCE0-0E5F-2E265C94BEA5}"/>
                </a:ext>
              </a:extLst>
            </p:cNvPr>
            <p:cNvSpPr/>
            <p:nvPr/>
          </p:nvSpPr>
          <p:spPr>
            <a:xfrm>
              <a:off x="5302988" y="1110930"/>
              <a:ext cx="4920" cy="39365"/>
            </a:xfrm>
            <a:custGeom>
              <a:avLst/>
              <a:gdLst>
                <a:gd name="connsiteX0" fmla="*/ 0 w 4920"/>
                <a:gd name="connsiteY0" fmla="*/ 39365 h 39365"/>
                <a:gd name="connsiteX1" fmla="*/ 0 w 4920"/>
                <a:gd name="connsiteY1" fmla="*/ 0 h 393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920" h="39365">
                  <a:moveTo>
                    <a:pt x="0" y="39365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328" name="Gráfico 7">
              <a:extLst>
                <a:ext uri="{FF2B5EF4-FFF2-40B4-BE49-F238E27FC236}">
                  <a16:creationId xmlns:a16="http://schemas.microsoft.com/office/drawing/2014/main" id="{C89C148F-ACAC-734E-65F3-AB9E1B73C5A0}"/>
                </a:ext>
              </a:extLst>
            </p:cNvPr>
            <p:cNvGrpSpPr/>
            <p:nvPr/>
          </p:nvGrpSpPr>
          <p:grpSpPr>
            <a:xfrm>
              <a:off x="5289703" y="1097645"/>
              <a:ext cx="26571" cy="13285"/>
              <a:chOff x="5289703" y="1097645"/>
              <a:chExt cx="26571" cy="13285"/>
            </a:xfrm>
          </p:grpSpPr>
          <p:sp>
            <p:nvSpPr>
              <p:cNvPr id="329" name="Forma livre: Forma 328">
                <a:extLst>
                  <a:ext uri="{FF2B5EF4-FFF2-40B4-BE49-F238E27FC236}">
                    <a16:creationId xmlns:a16="http://schemas.microsoft.com/office/drawing/2014/main" id="{5D8D3814-53F0-BD49-41A6-4462A7ADB89D}"/>
                  </a:ext>
                </a:extLst>
              </p:cNvPr>
              <p:cNvSpPr/>
              <p:nvPr/>
            </p:nvSpPr>
            <p:spPr>
              <a:xfrm>
                <a:off x="5289703" y="1097645"/>
                <a:ext cx="13138" cy="13285"/>
              </a:xfrm>
              <a:custGeom>
                <a:avLst/>
                <a:gdLst>
                  <a:gd name="connsiteX0" fmla="*/ 13138 w 13138"/>
                  <a:gd name="connsiteY0" fmla="*/ 13286 h 13285"/>
                  <a:gd name="connsiteX1" fmla="*/ 0 w 13138"/>
                  <a:gd name="connsiteY1" fmla="*/ 0 h 132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3138" h="13285">
                    <a:moveTo>
                      <a:pt x="13138" y="13286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30" name="Forma livre: Forma 329">
                <a:extLst>
                  <a:ext uri="{FF2B5EF4-FFF2-40B4-BE49-F238E27FC236}">
                    <a16:creationId xmlns:a16="http://schemas.microsoft.com/office/drawing/2014/main" id="{72F661E8-E3C5-41D4-E433-5AAE85271EF4}"/>
                  </a:ext>
                </a:extLst>
              </p:cNvPr>
              <p:cNvSpPr/>
              <p:nvPr/>
            </p:nvSpPr>
            <p:spPr>
              <a:xfrm>
                <a:off x="5303136" y="1097645"/>
                <a:ext cx="13138" cy="13285"/>
              </a:xfrm>
              <a:custGeom>
                <a:avLst/>
                <a:gdLst>
                  <a:gd name="connsiteX0" fmla="*/ 0 w 13138"/>
                  <a:gd name="connsiteY0" fmla="*/ 13286 h 13285"/>
                  <a:gd name="connsiteX1" fmla="*/ 13138 w 13138"/>
                  <a:gd name="connsiteY1" fmla="*/ 0 h 132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3138" h="13285">
                    <a:moveTo>
                      <a:pt x="0" y="13286"/>
                    </a:moveTo>
                    <a:lnTo>
                      <a:pt x="13138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331" name="Gráfico 7">
              <a:extLst>
                <a:ext uri="{FF2B5EF4-FFF2-40B4-BE49-F238E27FC236}">
                  <a16:creationId xmlns:a16="http://schemas.microsoft.com/office/drawing/2014/main" id="{67451E5D-8095-AA9E-A120-3A3CBE90EC24}"/>
                </a:ext>
              </a:extLst>
            </p:cNvPr>
            <p:cNvGrpSpPr/>
            <p:nvPr/>
          </p:nvGrpSpPr>
          <p:grpSpPr>
            <a:xfrm>
              <a:off x="5154309" y="987210"/>
              <a:ext cx="273019" cy="297369"/>
              <a:chOff x="5154309" y="987210"/>
              <a:chExt cx="273019" cy="297369"/>
            </a:xfrm>
            <a:noFill/>
          </p:grpSpPr>
          <p:sp>
            <p:nvSpPr>
              <p:cNvPr id="332" name="Forma livre: Forma 331">
                <a:extLst>
                  <a:ext uri="{FF2B5EF4-FFF2-40B4-BE49-F238E27FC236}">
                    <a16:creationId xmlns:a16="http://schemas.microsoft.com/office/drawing/2014/main" id="{6435AF2E-49D1-8396-4CF9-7CC8E0206EFC}"/>
                  </a:ext>
                </a:extLst>
              </p:cNvPr>
              <p:cNvSpPr/>
              <p:nvPr/>
            </p:nvSpPr>
            <p:spPr>
              <a:xfrm>
                <a:off x="5154309" y="987210"/>
                <a:ext cx="273019" cy="297369"/>
              </a:xfrm>
              <a:custGeom>
                <a:avLst/>
                <a:gdLst>
                  <a:gd name="connsiteX0" fmla="*/ 234987 w 273019"/>
                  <a:gd name="connsiteY0" fmla="*/ 297370 h 297369"/>
                  <a:gd name="connsiteX1" fmla="*/ 230313 w 273019"/>
                  <a:gd name="connsiteY1" fmla="*/ 236206 h 297369"/>
                  <a:gd name="connsiteX2" fmla="*/ 255457 w 273019"/>
                  <a:gd name="connsiteY2" fmla="*/ 174354 h 297369"/>
                  <a:gd name="connsiteX3" fmla="*/ 229230 w 273019"/>
                  <a:gd name="connsiteY3" fmla="*/ 24422 h 297369"/>
                  <a:gd name="connsiteX4" fmla="*/ 73442 w 273019"/>
                  <a:gd name="connsiteY4" fmla="*/ 20534 h 297369"/>
                  <a:gd name="connsiteX5" fmla="*/ 35947 w 273019"/>
                  <a:gd name="connsiteY5" fmla="*/ 106941 h 297369"/>
                  <a:gd name="connsiteX6" fmla="*/ 32158 w 273019"/>
                  <a:gd name="connsiteY6" fmla="*/ 133955 h 297369"/>
                  <a:gd name="connsiteX7" fmla="*/ 666 w 273019"/>
                  <a:gd name="connsiteY7" fmla="*/ 171008 h 297369"/>
                  <a:gd name="connsiteX8" fmla="*/ 9080 w 273019"/>
                  <a:gd name="connsiteY8" fmla="*/ 183063 h 297369"/>
                  <a:gd name="connsiteX9" fmla="*/ 28271 w 273019"/>
                  <a:gd name="connsiteY9" fmla="*/ 187000 h 297369"/>
                  <a:gd name="connsiteX10" fmla="*/ 37079 w 273019"/>
                  <a:gd name="connsiteY10" fmla="*/ 214703 h 297369"/>
                  <a:gd name="connsiteX11" fmla="*/ 35061 w 273019"/>
                  <a:gd name="connsiteY11" fmla="*/ 241619 h 297369"/>
                  <a:gd name="connsiteX12" fmla="*/ 38949 w 273019"/>
                  <a:gd name="connsiteY12" fmla="*/ 267649 h 297369"/>
                  <a:gd name="connsiteX13" fmla="*/ 105033 w 273019"/>
                  <a:gd name="connsiteY13" fmla="*/ 265041 h 297369"/>
                  <a:gd name="connsiteX14" fmla="*/ 113890 w 273019"/>
                  <a:gd name="connsiteY14" fmla="*/ 296927 h 2973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273019" h="297369">
                    <a:moveTo>
                      <a:pt x="234987" y="297370"/>
                    </a:moveTo>
                    <a:cubicBezTo>
                      <a:pt x="232478" y="282854"/>
                      <a:pt x="228886" y="259235"/>
                      <a:pt x="230313" y="236206"/>
                    </a:cubicBezTo>
                    <a:cubicBezTo>
                      <a:pt x="230313" y="236206"/>
                      <a:pt x="238678" y="198465"/>
                      <a:pt x="255457" y="174354"/>
                    </a:cubicBezTo>
                    <a:cubicBezTo>
                      <a:pt x="255457" y="174354"/>
                      <a:pt x="308944" y="83125"/>
                      <a:pt x="229230" y="24422"/>
                    </a:cubicBezTo>
                    <a:cubicBezTo>
                      <a:pt x="229230" y="24422"/>
                      <a:pt x="158717" y="-27836"/>
                      <a:pt x="73442" y="20534"/>
                    </a:cubicBezTo>
                    <a:cubicBezTo>
                      <a:pt x="73442" y="20534"/>
                      <a:pt x="25860" y="41103"/>
                      <a:pt x="35947" y="106941"/>
                    </a:cubicBezTo>
                    <a:cubicBezTo>
                      <a:pt x="35947" y="106941"/>
                      <a:pt x="37965" y="125344"/>
                      <a:pt x="32158" y="133955"/>
                    </a:cubicBezTo>
                    <a:lnTo>
                      <a:pt x="666" y="171008"/>
                    </a:lnTo>
                    <a:cubicBezTo>
                      <a:pt x="666" y="171008"/>
                      <a:pt x="-3516" y="182030"/>
                      <a:pt x="9080" y="183063"/>
                    </a:cubicBezTo>
                    <a:lnTo>
                      <a:pt x="28271" y="187000"/>
                    </a:lnTo>
                    <a:cubicBezTo>
                      <a:pt x="28271" y="187000"/>
                      <a:pt x="36292" y="202647"/>
                      <a:pt x="37079" y="214703"/>
                    </a:cubicBezTo>
                    <a:cubicBezTo>
                      <a:pt x="37866" y="226758"/>
                      <a:pt x="35061" y="241619"/>
                      <a:pt x="35061" y="241619"/>
                    </a:cubicBezTo>
                    <a:cubicBezTo>
                      <a:pt x="35061" y="241619"/>
                      <a:pt x="28222" y="259678"/>
                      <a:pt x="38949" y="267649"/>
                    </a:cubicBezTo>
                    <a:cubicBezTo>
                      <a:pt x="41065" y="268190"/>
                      <a:pt x="48938" y="277097"/>
                      <a:pt x="105033" y="265041"/>
                    </a:cubicBezTo>
                    <a:cubicBezTo>
                      <a:pt x="105033" y="265041"/>
                      <a:pt x="110446" y="267600"/>
                      <a:pt x="113890" y="296927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33" name="Forma livre: Forma 332">
                <a:extLst>
                  <a:ext uri="{FF2B5EF4-FFF2-40B4-BE49-F238E27FC236}">
                    <a16:creationId xmlns:a16="http://schemas.microsoft.com/office/drawing/2014/main" id="{52925E20-5048-D7E3-7FD3-D9A1E0053541}"/>
                  </a:ext>
                </a:extLst>
              </p:cNvPr>
              <p:cNvSpPr/>
              <p:nvPr/>
            </p:nvSpPr>
            <p:spPr>
              <a:xfrm>
                <a:off x="5193799" y="1202799"/>
                <a:ext cx="24061" cy="393"/>
              </a:xfrm>
              <a:custGeom>
                <a:avLst/>
                <a:gdLst>
                  <a:gd name="connsiteX0" fmla="*/ 0 w 24061"/>
                  <a:gd name="connsiteY0" fmla="*/ 0 h 393"/>
                  <a:gd name="connsiteX1" fmla="*/ 24062 w 24061"/>
                  <a:gd name="connsiteY1" fmla="*/ 394 h 3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4061" h="393">
                    <a:moveTo>
                      <a:pt x="0" y="0"/>
                    </a:moveTo>
                    <a:lnTo>
                      <a:pt x="24062" y="394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334" name="Forma livre: Forma 333">
              <a:extLst>
                <a:ext uri="{FF2B5EF4-FFF2-40B4-BE49-F238E27FC236}">
                  <a16:creationId xmlns:a16="http://schemas.microsoft.com/office/drawing/2014/main" id="{FD4EA505-C278-7132-B10B-DEA0FF8038A3}"/>
                </a:ext>
              </a:extLst>
            </p:cNvPr>
            <p:cNvSpPr/>
            <p:nvPr/>
          </p:nvSpPr>
          <p:spPr>
            <a:xfrm>
              <a:off x="5296050" y="1175637"/>
              <a:ext cx="14417" cy="4920"/>
            </a:xfrm>
            <a:custGeom>
              <a:avLst/>
              <a:gdLst>
                <a:gd name="connsiteX0" fmla="*/ 0 w 14417"/>
                <a:gd name="connsiteY0" fmla="*/ 0 h 4920"/>
                <a:gd name="connsiteX1" fmla="*/ 14417 w 14417"/>
                <a:gd name="connsiteY1" fmla="*/ 0 h 49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4417" h="4920">
                  <a:moveTo>
                    <a:pt x="0" y="0"/>
                  </a:moveTo>
                  <a:lnTo>
                    <a:pt x="14417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335" name="Gráfico 7">
            <a:extLst>
              <a:ext uri="{FF2B5EF4-FFF2-40B4-BE49-F238E27FC236}">
                <a16:creationId xmlns:a16="http://schemas.microsoft.com/office/drawing/2014/main" id="{52AED71E-5E0E-29AD-E7FB-C8C5C9F510C0}"/>
              </a:ext>
            </a:extLst>
          </p:cNvPr>
          <p:cNvGrpSpPr/>
          <p:nvPr/>
        </p:nvGrpSpPr>
        <p:grpSpPr>
          <a:xfrm>
            <a:off x="5136228" y="2106967"/>
            <a:ext cx="309164" cy="236929"/>
            <a:chOff x="5136228" y="2106967"/>
            <a:chExt cx="309164" cy="236929"/>
          </a:xfrm>
          <a:noFill/>
        </p:grpSpPr>
        <p:sp>
          <p:nvSpPr>
            <p:cNvPr id="336" name="Forma livre: Forma 335">
              <a:extLst>
                <a:ext uri="{FF2B5EF4-FFF2-40B4-BE49-F238E27FC236}">
                  <a16:creationId xmlns:a16="http://schemas.microsoft.com/office/drawing/2014/main" id="{73AA11AE-38BE-DE04-581C-29DE4CAE466D}"/>
                </a:ext>
              </a:extLst>
            </p:cNvPr>
            <p:cNvSpPr/>
            <p:nvPr/>
          </p:nvSpPr>
          <p:spPr>
            <a:xfrm>
              <a:off x="5204329" y="2144807"/>
              <a:ext cx="172960" cy="124541"/>
            </a:xfrm>
            <a:custGeom>
              <a:avLst/>
              <a:gdLst>
                <a:gd name="connsiteX0" fmla="*/ 0 w 172960"/>
                <a:gd name="connsiteY0" fmla="*/ 124541 h 124541"/>
                <a:gd name="connsiteX1" fmla="*/ 38037 w 172960"/>
                <a:gd name="connsiteY1" fmla="*/ 64214 h 124541"/>
                <a:gd name="connsiteX2" fmla="*/ 67118 w 172960"/>
                <a:gd name="connsiteY2" fmla="*/ 105843 h 124541"/>
                <a:gd name="connsiteX3" fmla="*/ 105007 w 172960"/>
                <a:gd name="connsiteY3" fmla="*/ 69332 h 124541"/>
                <a:gd name="connsiteX4" fmla="*/ 134186 w 172960"/>
                <a:gd name="connsiteY4" fmla="*/ 96838 h 124541"/>
                <a:gd name="connsiteX5" fmla="*/ 172961 w 172960"/>
                <a:gd name="connsiteY5" fmla="*/ 0 h 1245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72960" h="124541">
                  <a:moveTo>
                    <a:pt x="0" y="124541"/>
                  </a:moveTo>
                  <a:lnTo>
                    <a:pt x="38037" y="64214"/>
                  </a:lnTo>
                  <a:lnTo>
                    <a:pt x="67118" y="105843"/>
                  </a:lnTo>
                  <a:lnTo>
                    <a:pt x="105007" y="69332"/>
                  </a:lnTo>
                  <a:lnTo>
                    <a:pt x="134186" y="96838"/>
                  </a:lnTo>
                  <a:lnTo>
                    <a:pt x="172961" y="0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37" name="Forma livre: Forma 336">
              <a:extLst>
                <a:ext uri="{FF2B5EF4-FFF2-40B4-BE49-F238E27FC236}">
                  <a16:creationId xmlns:a16="http://schemas.microsoft.com/office/drawing/2014/main" id="{E334DA56-D7F8-63DD-73AA-D3D672A32210}"/>
                </a:ext>
              </a:extLst>
            </p:cNvPr>
            <p:cNvSpPr/>
            <p:nvPr/>
          </p:nvSpPr>
          <p:spPr>
            <a:xfrm>
              <a:off x="5136228" y="2343896"/>
              <a:ext cx="309164" cy="4920"/>
            </a:xfrm>
            <a:custGeom>
              <a:avLst/>
              <a:gdLst>
                <a:gd name="connsiteX0" fmla="*/ 0 w 309164"/>
                <a:gd name="connsiteY0" fmla="*/ 0 h 4920"/>
                <a:gd name="connsiteX1" fmla="*/ 309164 w 309164"/>
                <a:gd name="connsiteY1" fmla="*/ 0 h 49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09164" h="4920">
                  <a:moveTo>
                    <a:pt x="0" y="0"/>
                  </a:moveTo>
                  <a:lnTo>
                    <a:pt x="309164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38" name="Forma livre: Forma 337">
              <a:extLst>
                <a:ext uri="{FF2B5EF4-FFF2-40B4-BE49-F238E27FC236}">
                  <a16:creationId xmlns:a16="http://schemas.microsoft.com/office/drawing/2014/main" id="{236E85F5-6BF4-30B5-5AC1-C0162E995D61}"/>
                </a:ext>
              </a:extLst>
            </p:cNvPr>
            <p:cNvSpPr/>
            <p:nvPr/>
          </p:nvSpPr>
          <p:spPr>
            <a:xfrm>
              <a:off x="5144298" y="2106967"/>
              <a:ext cx="293024" cy="200811"/>
            </a:xfrm>
            <a:custGeom>
              <a:avLst/>
              <a:gdLst>
                <a:gd name="connsiteX0" fmla="*/ 258580 w 293024"/>
                <a:gd name="connsiteY0" fmla="*/ 0 h 200811"/>
                <a:gd name="connsiteX1" fmla="*/ 293024 w 293024"/>
                <a:gd name="connsiteY1" fmla="*/ 34444 h 200811"/>
                <a:gd name="connsiteX2" fmla="*/ 293024 w 293024"/>
                <a:gd name="connsiteY2" fmla="*/ 166367 h 200811"/>
                <a:gd name="connsiteX3" fmla="*/ 258580 w 293024"/>
                <a:gd name="connsiteY3" fmla="*/ 200811 h 200811"/>
                <a:gd name="connsiteX4" fmla="*/ 34444 w 293024"/>
                <a:gd name="connsiteY4" fmla="*/ 200811 h 200811"/>
                <a:gd name="connsiteX5" fmla="*/ 0 w 293024"/>
                <a:gd name="connsiteY5" fmla="*/ 166367 h 200811"/>
                <a:gd name="connsiteX6" fmla="*/ 0 w 293024"/>
                <a:gd name="connsiteY6" fmla="*/ 34444 h 200811"/>
                <a:gd name="connsiteX7" fmla="*/ 34444 w 293024"/>
                <a:gd name="connsiteY7" fmla="*/ 0 h 2008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93024" h="200811">
                  <a:moveTo>
                    <a:pt x="258580" y="0"/>
                  </a:moveTo>
                  <a:cubicBezTo>
                    <a:pt x="277603" y="0"/>
                    <a:pt x="293024" y="15421"/>
                    <a:pt x="293024" y="34444"/>
                  </a:cubicBezTo>
                  <a:lnTo>
                    <a:pt x="293024" y="166367"/>
                  </a:lnTo>
                  <a:cubicBezTo>
                    <a:pt x="293024" y="185390"/>
                    <a:pt x="277603" y="200811"/>
                    <a:pt x="258580" y="200811"/>
                  </a:cubicBezTo>
                  <a:lnTo>
                    <a:pt x="34444" y="200811"/>
                  </a:lnTo>
                  <a:cubicBezTo>
                    <a:pt x="15421" y="200811"/>
                    <a:pt x="0" y="185390"/>
                    <a:pt x="0" y="166367"/>
                  </a:cubicBezTo>
                  <a:lnTo>
                    <a:pt x="0" y="34444"/>
                  </a:lnTo>
                  <a:cubicBezTo>
                    <a:pt x="0" y="15421"/>
                    <a:pt x="15421" y="0"/>
                    <a:pt x="34444" y="0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339" name="Gráfico 7">
            <a:extLst>
              <a:ext uri="{FF2B5EF4-FFF2-40B4-BE49-F238E27FC236}">
                <a16:creationId xmlns:a16="http://schemas.microsoft.com/office/drawing/2014/main" id="{C2375E12-EAAB-7230-416C-BBF6C943CE6D}"/>
              </a:ext>
            </a:extLst>
          </p:cNvPr>
          <p:cNvGrpSpPr/>
          <p:nvPr/>
        </p:nvGrpSpPr>
        <p:grpSpPr>
          <a:xfrm>
            <a:off x="5158912" y="1532039"/>
            <a:ext cx="263795" cy="297256"/>
            <a:chOff x="5158912" y="1532039"/>
            <a:chExt cx="263795" cy="297256"/>
          </a:xfrm>
          <a:noFill/>
        </p:grpSpPr>
        <p:grpSp>
          <p:nvGrpSpPr>
            <p:cNvPr id="340" name="Gráfico 7">
              <a:extLst>
                <a:ext uri="{FF2B5EF4-FFF2-40B4-BE49-F238E27FC236}">
                  <a16:creationId xmlns:a16="http://schemas.microsoft.com/office/drawing/2014/main" id="{28CFBD72-A3B1-BC73-FB0B-AF59211514DD}"/>
                </a:ext>
              </a:extLst>
            </p:cNvPr>
            <p:cNvGrpSpPr/>
            <p:nvPr/>
          </p:nvGrpSpPr>
          <p:grpSpPr>
            <a:xfrm>
              <a:off x="5239512" y="1532039"/>
              <a:ext cx="102595" cy="297256"/>
              <a:chOff x="5239512" y="1532039"/>
              <a:chExt cx="102595" cy="297256"/>
            </a:xfrm>
            <a:noFill/>
          </p:grpSpPr>
          <p:sp>
            <p:nvSpPr>
              <p:cNvPr id="341" name="Forma livre: Forma 340">
                <a:extLst>
                  <a:ext uri="{FF2B5EF4-FFF2-40B4-BE49-F238E27FC236}">
                    <a16:creationId xmlns:a16="http://schemas.microsoft.com/office/drawing/2014/main" id="{19F3605B-D3AE-84FF-91B9-8F37F3C4E92E}"/>
                  </a:ext>
                </a:extLst>
              </p:cNvPr>
              <p:cNvSpPr/>
              <p:nvPr/>
            </p:nvSpPr>
            <p:spPr>
              <a:xfrm>
                <a:off x="5258653" y="1532039"/>
                <a:ext cx="64558" cy="64558"/>
              </a:xfrm>
              <a:custGeom>
                <a:avLst/>
                <a:gdLst>
                  <a:gd name="connsiteX0" fmla="*/ 64559 w 64558"/>
                  <a:gd name="connsiteY0" fmla="*/ 32279 h 64558"/>
                  <a:gd name="connsiteX1" fmla="*/ 32279 w 64558"/>
                  <a:gd name="connsiteY1" fmla="*/ 64559 h 64558"/>
                  <a:gd name="connsiteX2" fmla="*/ 0 w 64558"/>
                  <a:gd name="connsiteY2" fmla="*/ 32279 h 64558"/>
                  <a:gd name="connsiteX3" fmla="*/ 32279 w 64558"/>
                  <a:gd name="connsiteY3" fmla="*/ 0 h 64558"/>
                  <a:gd name="connsiteX4" fmla="*/ 64559 w 64558"/>
                  <a:gd name="connsiteY4" fmla="*/ 32279 h 645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4558" h="64558">
                    <a:moveTo>
                      <a:pt x="64559" y="32279"/>
                    </a:moveTo>
                    <a:cubicBezTo>
                      <a:pt x="64559" y="50092"/>
                      <a:pt x="50092" y="64559"/>
                      <a:pt x="32279" y="64559"/>
                    </a:cubicBezTo>
                    <a:cubicBezTo>
                      <a:pt x="14467" y="64559"/>
                      <a:pt x="0" y="50092"/>
                      <a:pt x="0" y="32279"/>
                    </a:cubicBezTo>
                    <a:cubicBezTo>
                      <a:pt x="0" y="14467"/>
                      <a:pt x="14467" y="0"/>
                      <a:pt x="32279" y="0"/>
                    </a:cubicBezTo>
                    <a:cubicBezTo>
                      <a:pt x="50092" y="0"/>
                      <a:pt x="64559" y="14467"/>
                      <a:pt x="64559" y="32279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42" name="Forma livre: Forma 341">
                <a:extLst>
                  <a:ext uri="{FF2B5EF4-FFF2-40B4-BE49-F238E27FC236}">
                    <a16:creationId xmlns:a16="http://schemas.microsoft.com/office/drawing/2014/main" id="{823040A1-ECC8-B1F4-C779-16AE1C8BE509}"/>
                  </a:ext>
                </a:extLst>
              </p:cNvPr>
              <p:cNvSpPr/>
              <p:nvPr/>
            </p:nvSpPr>
            <p:spPr>
              <a:xfrm>
                <a:off x="5239512" y="1626368"/>
                <a:ext cx="102595" cy="202927"/>
              </a:xfrm>
              <a:custGeom>
                <a:avLst/>
                <a:gdLst>
                  <a:gd name="connsiteX0" fmla="*/ 77451 w 102595"/>
                  <a:gd name="connsiteY0" fmla="*/ 202927 h 202927"/>
                  <a:gd name="connsiteX1" fmla="*/ 77353 w 102595"/>
                  <a:gd name="connsiteY1" fmla="*/ 120457 h 202927"/>
                  <a:gd name="connsiteX2" fmla="*/ 102595 w 102595"/>
                  <a:gd name="connsiteY2" fmla="*/ 95067 h 202927"/>
                  <a:gd name="connsiteX3" fmla="*/ 102595 w 102595"/>
                  <a:gd name="connsiteY3" fmla="*/ 25341 h 202927"/>
                  <a:gd name="connsiteX4" fmla="*/ 77205 w 102595"/>
                  <a:gd name="connsiteY4" fmla="*/ 0 h 202927"/>
                  <a:gd name="connsiteX5" fmla="*/ 25341 w 102595"/>
                  <a:gd name="connsiteY5" fmla="*/ 0 h 202927"/>
                  <a:gd name="connsiteX6" fmla="*/ 0 w 102595"/>
                  <a:gd name="connsiteY6" fmla="*/ 25440 h 202927"/>
                  <a:gd name="connsiteX7" fmla="*/ 0 w 102595"/>
                  <a:gd name="connsiteY7" fmla="*/ 95165 h 202927"/>
                  <a:gd name="connsiteX8" fmla="*/ 25489 w 102595"/>
                  <a:gd name="connsiteY8" fmla="*/ 120507 h 202927"/>
                  <a:gd name="connsiteX9" fmla="*/ 25587 w 102595"/>
                  <a:gd name="connsiteY9" fmla="*/ 202927 h 2029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02595" h="202927">
                    <a:moveTo>
                      <a:pt x="77451" y="202927"/>
                    </a:moveTo>
                    <a:lnTo>
                      <a:pt x="77353" y="120457"/>
                    </a:lnTo>
                    <a:cubicBezTo>
                      <a:pt x="91278" y="120457"/>
                      <a:pt x="102645" y="108992"/>
                      <a:pt x="102595" y="95067"/>
                    </a:cubicBezTo>
                    <a:lnTo>
                      <a:pt x="102595" y="25341"/>
                    </a:lnTo>
                    <a:cubicBezTo>
                      <a:pt x="102595" y="11367"/>
                      <a:pt x="91130" y="0"/>
                      <a:pt x="77205" y="0"/>
                    </a:cubicBezTo>
                    <a:lnTo>
                      <a:pt x="25341" y="0"/>
                    </a:lnTo>
                    <a:cubicBezTo>
                      <a:pt x="11367" y="0"/>
                      <a:pt x="0" y="11514"/>
                      <a:pt x="0" y="25440"/>
                    </a:cubicBezTo>
                    <a:lnTo>
                      <a:pt x="0" y="95165"/>
                    </a:lnTo>
                    <a:cubicBezTo>
                      <a:pt x="0" y="109140"/>
                      <a:pt x="11514" y="120507"/>
                      <a:pt x="25489" y="120507"/>
                    </a:cubicBezTo>
                    <a:lnTo>
                      <a:pt x="25587" y="202927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343" name="Gráfico 7">
              <a:extLst>
                <a:ext uri="{FF2B5EF4-FFF2-40B4-BE49-F238E27FC236}">
                  <a16:creationId xmlns:a16="http://schemas.microsoft.com/office/drawing/2014/main" id="{C4CAE309-2CEC-516B-E341-E9BEAEF5B1A9}"/>
                </a:ext>
              </a:extLst>
            </p:cNvPr>
            <p:cNvGrpSpPr/>
            <p:nvPr/>
          </p:nvGrpSpPr>
          <p:grpSpPr>
            <a:xfrm>
              <a:off x="5352146" y="1565057"/>
              <a:ext cx="70562" cy="264238"/>
              <a:chOff x="5352146" y="1565057"/>
              <a:chExt cx="70562" cy="264238"/>
            </a:xfrm>
            <a:noFill/>
          </p:grpSpPr>
          <p:sp>
            <p:nvSpPr>
              <p:cNvPr id="344" name="Forma livre: Forma 343">
                <a:extLst>
                  <a:ext uri="{FF2B5EF4-FFF2-40B4-BE49-F238E27FC236}">
                    <a16:creationId xmlns:a16="http://schemas.microsoft.com/office/drawing/2014/main" id="{E3B02DAB-CEF0-584E-DACD-B7F029FD31FB}"/>
                  </a:ext>
                </a:extLst>
              </p:cNvPr>
              <p:cNvSpPr/>
              <p:nvPr/>
            </p:nvSpPr>
            <p:spPr>
              <a:xfrm>
                <a:off x="5352146" y="1565057"/>
                <a:ext cx="64558" cy="64558"/>
              </a:xfrm>
              <a:custGeom>
                <a:avLst/>
                <a:gdLst>
                  <a:gd name="connsiteX0" fmla="*/ 64559 w 64558"/>
                  <a:gd name="connsiteY0" fmla="*/ 32279 h 64558"/>
                  <a:gd name="connsiteX1" fmla="*/ 32279 w 64558"/>
                  <a:gd name="connsiteY1" fmla="*/ 64559 h 64558"/>
                  <a:gd name="connsiteX2" fmla="*/ 0 w 64558"/>
                  <a:gd name="connsiteY2" fmla="*/ 32279 h 64558"/>
                  <a:gd name="connsiteX3" fmla="*/ 32279 w 64558"/>
                  <a:gd name="connsiteY3" fmla="*/ 0 h 64558"/>
                  <a:gd name="connsiteX4" fmla="*/ 64559 w 64558"/>
                  <a:gd name="connsiteY4" fmla="*/ 32279 h 645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4558" h="64558">
                    <a:moveTo>
                      <a:pt x="64559" y="32279"/>
                    </a:moveTo>
                    <a:cubicBezTo>
                      <a:pt x="64559" y="50092"/>
                      <a:pt x="50092" y="64559"/>
                      <a:pt x="32279" y="64559"/>
                    </a:cubicBezTo>
                    <a:cubicBezTo>
                      <a:pt x="14467" y="64559"/>
                      <a:pt x="0" y="50092"/>
                      <a:pt x="0" y="32279"/>
                    </a:cubicBezTo>
                    <a:cubicBezTo>
                      <a:pt x="0" y="14467"/>
                      <a:pt x="14467" y="0"/>
                      <a:pt x="32279" y="0"/>
                    </a:cubicBezTo>
                    <a:cubicBezTo>
                      <a:pt x="50092" y="0"/>
                      <a:pt x="64559" y="14467"/>
                      <a:pt x="64559" y="32279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45" name="Forma livre: Forma 344">
                <a:extLst>
                  <a:ext uri="{FF2B5EF4-FFF2-40B4-BE49-F238E27FC236}">
                    <a16:creationId xmlns:a16="http://schemas.microsoft.com/office/drawing/2014/main" id="{8AC11BAB-38D3-9F96-62F3-A3D845FD42C2}"/>
                  </a:ext>
                </a:extLst>
              </p:cNvPr>
              <p:cNvSpPr/>
              <p:nvPr/>
            </p:nvSpPr>
            <p:spPr>
              <a:xfrm>
                <a:off x="5366416" y="1660025"/>
                <a:ext cx="56292" cy="169270"/>
              </a:xfrm>
              <a:custGeom>
                <a:avLst/>
                <a:gdLst>
                  <a:gd name="connsiteX0" fmla="*/ 31049 w 56292"/>
                  <a:gd name="connsiteY0" fmla="*/ 169270 h 169270"/>
                  <a:gd name="connsiteX1" fmla="*/ 30951 w 56292"/>
                  <a:gd name="connsiteY1" fmla="*/ 102399 h 169270"/>
                  <a:gd name="connsiteX2" fmla="*/ 56292 w 56292"/>
                  <a:gd name="connsiteY2" fmla="*/ 77008 h 169270"/>
                  <a:gd name="connsiteX3" fmla="*/ 56194 w 56292"/>
                  <a:gd name="connsiteY3" fmla="*/ 25341 h 169270"/>
                  <a:gd name="connsiteX4" fmla="*/ 30803 w 56292"/>
                  <a:gd name="connsiteY4" fmla="*/ 0 h 169270"/>
                  <a:gd name="connsiteX5" fmla="*/ 0 w 56292"/>
                  <a:gd name="connsiteY5" fmla="*/ 0 h 1692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56292" h="169270">
                    <a:moveTo>
                      <a:pt x="31049" y="169270"/>
                    </a:moveTo>
                    <a:lnTo>
                      <a:pt x="30951" y="102399"/>
                    </a:lnTo>
                    <a:cubicBezTo>
                      <a:pt x="44926" y="102399"/>
                      <a:pt x="56292" y="90934"/>
                      <a:pt x="56292" y="77008"/>
                    </a:cubicBezTo>
                    <a:lnTo>
                      <a:pt x="56194" y="25341"/>
                    </a:lnTo>
                    <a:cubicBezTo>
                      <a:pt x="56194" y="11367"/>
                      <a:pt x="44729" y="0"/>
                      <a:pt x="30803" y="0"/>
                    </a:cubicBezTo>
                    <a:lnTo>
                      <a:pt x="0" y="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346" name="Gráfico 7">
              <a:extLst>
                <a:ext uri="{FF2B5EF4-FFF2-40B4-BE49-F238E27FC236}">
                  <a16:creationId xmlns:a16="http://schemas.microsoft.com/office/drawing/2014/main" id="{B17F7BF6-6A4C-2619-A5C7-011A4173E8CE}"/>
                </a:ext>
              </a:extLst>
            </p:cNvPr>
            <p:cNvGrpSpPr/>
            <p:nvPr/>
          </p:nvGrpSpPr>
          <p:grpSpPr>
            <a:xfrm>
              <a:off x="5158912" y="1565057"/>
              <a:ext cx="70562" cy="264238"/>
              <a:chOff x="5158912" y="1565057"/>
              <a:chExt cx="70562" cy="264238"/>
            </a:xfrm>
            <a:noFill/>
          </p:grpSpPr>
          <p:sp>
            <p:nvSpPr>
              <p:cNvPr id="347" name="Forma livre: Forma 346">
                <a:extLst>
                  <a:ext uri="{FF2B5EF4-FFF2-40B4-BE49-F238E27FC236}">
                    <a16:creationId xmlns:a16="http://schemas.microsoft.com/office/drawing/2014/main" id="{CB9E5E0F-969A-F129-ABD6-9A92635DEA7C}"/>
                  </a:ext>
                </a:extLst>
              </p:cNvPr>
              <p:cNvSpPr/>
              <p:nvPr/>
            </p:nvSpPr>
            <p:spPr>
              <a:xfrm>
                <a:off x="5164915" y="1565057"/>
                <a:ext cx="64558" cy="64558"/>
              </a:xfrm>
              <a:custGeom>
                <a:avLst/>
                <a:gdLst>
                  <a:gd name="connsiteX0" fmla="*/ 0 w 64558"/>
                  <a:gd name="connsiteY0" fmla="*/ 32279 h 64558"/>
                  <a:gd name="connsiteX1" fmla="*/ 32279 w 64558"/>
                  <a:gd name="connsiteY1" fmla="*/ 64559 h 64558"/>
                  <a:gd name="connsiteX2" fmla="*/ 64559 w 64558"/>
                  <a:gd name="connsiteY2" fmla="*/ 32279 h 64558"/>
                  <a:gd name="connsiteX3" fmla="*/ 32279 w 64558"/>
                  <a:gd name="connsiteY3" fmla="*/ 0 h 64558"/>
                  <a:gd name="connsiteX4" fmla="*/ 0 w 64558"/>
                  <a:gd name="connsiteY4" fmla="*/ 32279 h 645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4558" h="64558">
                    <a:moveTo>
                      <a:pt x="0" y="32279"/>
                    </a:moveTo>
                    <a:cubicBezTo>
                      <a:pt x="0" y="50092"/>
                      <a:pt x="14467" y="64559"/>
                      <a:pt x="32279" y="64559"/>
                    </a:cubicBezTo>
                    <a:cubicBezTo>
                      <a:pt x="50092" y="64559"/>
                      <a:pt x="64559" y="50092"/>
                      <a:pt x="64559" y="32279"/>
                    </a:cubicBezTo>
                    <a:cubicBezTo>
                      <a:pt x="64559" y="14467"/>
                      <a:pt x="50092" y="0"/>
                      <a:pt x="32279" y="0"/>
                    </a:cubicBezTo>
                    <a:cubicBezTo>
                      <a:pt x="14467" y="0"/>
                      <a:pt x="0" y="14467"/>
                      <a:pt x="0" y="32279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48" name="Forma livre: Forma 347">
                <a:extLst>
                  <a:ext uri="{FF2B5EF4-FFF2-40B4-BE49-F238E27FC236}">
                    <a16:creationId xmlns:a16="http://schemas.microsoft.com/office/drawing/2014/main" id="{4A190C88-C55D-FCE3-5CF2-A247057C7997}"/>
                  </a:ext>
                </a:extLst>
              </p:cNvPr>
              <p:cNvSpPr/>
              <p:nvPr/>
            </p:nvSpPr>
            <p:spPr>
              <a:xfrm>
                <a:off x="5158912" y="1660025"/>
                <a:ext cx="56292" cy="169270"/>
              </a:xfrm>
              <a:custGeom>
                <a:avLst/>
                <a:gdLst>
                  <a:gd name="connsiteX0" fmla="*/ 25243 w 56292"/>
                  <a:gd name="connsiteY0" fmla="*/ 169270 h 169270"/>
                  <a:gd name="connsiteX1" fmla="*/ 25341 w 56292"/>
                  <a:gd name="connsiteY1" fmla="*/ 102399 h 169270"/>
                  <a:gd name="connsiteX2" fmla="*/ 0 w 56292"/>
                  <a:gd name="connsiteY2" fmla="*/ 77008 h 169270"/>
                  <a:gd name="connsiteX3" fmla="*/ 98 w 56292"/>
                  <a:gd name="connsiteY3" fmla="*/ 25341 h 169270"/>
                  <a:gd name="connsiteX4" fmla="*/ 25489 w 56292"/>
                  <a:gd name="connsiteY4" fmla="*/ 0 h 169270"/>
                  <a:gd name="connsiteX5" fmla="*/ 56292 w 56292"/>
                  <a:gd name="connsiteY5" fmla="*/ 0 h 1692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56292" h="169270">
                    <a:moveTo>
                      <a:pt x="25243" y="169270"/>
                    </a:moveTo>
                    <a:lnTo>
                      <a:pt x="25341" y="102399"/>
                    </a:lnTo>
                    <a:cubicBezTo>
                      <a:pt x="11416" y="102399"/>
                      <a:pt x="0" y="90934"/>
                      <a:pt x="0" y="77008"/>
                    </a:cubicBezTo>
                    <a:lnTo>
                      <a:pt x="98" y="25341"/>
                    </a:lnTo>
                    <a:cubicBezTo>
                      <a:pt x="98" y="11367"/>
                      <a:pt x="11564" y="0"/>
                      <a:pt x="25489" y="0"/>
                    </a:cubicBezTo>
                    <a:lnTo>
                      <a:pt x="56292" y="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349" name="Gráfico 7">
            <a:extLst>
              <a:ext uri="{FF2B5EF4-FFF2-40B4-BE49-F238E27FC236}">
                <a16:creationId xmlns:a16="http://schemas.microsoft.com/office/drawing/2014/main" id="{57FF70D7-D0C9-5FD2-D766-9534F04F7B1A}"/>
              </a:ext>
            </a:extLst>
          </p:cNvPr>
          <p:cNvGrpSpPr/>
          <p:nvPr/>
        </p:nvGrpSpPr>
        <p:grpSpPr>
          <a:xfrm>
            <a:off x="5184204" y="2628014"/>
            <a:ext cx="213211" cy="284265"/>
            <a:chOff x="5184204" y="2628014"/>
            <a:chExt cx="213211" cy="284265"/>
          </a:xfrm>
        </p:grpSpPr>
        <p:sp>
          <p:nvSpPr>
            <p:cNvPr id="350" name="Forma livre: Forma 349">
              <a:extLst>
                <a:ext uri="{FF2B5EF4-FFF2-40B4-BE49-F238E27FC236}">
                  <a16:creationId xmlns:a16="http://schemas.microsoft.com/office/drawing/2014/main" id="{A41861E1-3774-B26A-B8DE-C31C9A27243E}"/>
                </a:ext>
              </a:extLst>
            </p:cNvPr>
            <p:cNvSpPr/>
            <p:nvPr/>
          </p:nvSpPr>
          <p:spPr>
            <a:xfrm>
              <a:off x="5284339" y="2659457"/>
              <a:ext cx="62246" cy="62197"/>
            </a:xfrm>
            <a:custGeom>
              <a:avLst/>
              <a:gdLst>
                <a:gd name="connsiteX0" fmla="*/ 31148 w 62246"/>
                <a:gd name="connsiteY0" fmla="*/ 12302 h 62197"/>
                <a:gd name="connsiteX1" fmla="*/ 49945 w 62246"/>
                <a:gd name="connsiteY1" fmla="*/ 31099 h 62197"/>
                <a:gd name="connsiteX2" fmla="*/ 31148 w 62246"/>
                <a:gd name="connsiteY2" fmla="*/ 49895 h 62197"/>
                <a:gd name="connsiteX3" fmla="*/ 12302 w 62246"/>
                <a:gd name="connsiteY3" fmla="*/ 31099 h 62197"/>
                <a:gd name="connsiteX4" fmla="*/ 31148 w 62246"/>
                <a:gd name="connsiteY4" fmla="*/ 12302 h 62197"/>
                <a:gd name="connsiteX5" fmla="*/ 31148 w 62246"/>
                <a:gd name="connsiteY5" fmla="*/ 0 h 62197"/>
                <a:gd name="connsiteX6" fmla="*/ 0 w 62246"/>
                <a:gd name="connsiteY6" fmla="*/ 31099 h 62197"/>
                <a:gd name="connsiteX7" fmla="*/ 31148 w 62246"/>
                <a:gd name="connsiteY7" fmla="*/ 62197 h 62197"/>
                <a:gd name="connsiteX8" fmla="*/ 62246 w 62246"/>
                <a:gd name="connsiteY8" fmla="*/ 31099 h 62197"/>
                <a:gd name="connsiteX9" fmla="*/ 31148 w 62246"/>
                <a:gd name="connsiteY9" fmla="*/ 0 h 62197"/>
                <a:gd name="connsiteX10" fmla="*/ 31148 w 62246"/>
                <a:gd name="connsiteY10" fmla="*/ 0 h 621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62246" h="62197">
                  <a:moveTo>
                    <a:pt x="31148" y="12302"/>
                  </a:moveTo>
                  <a:cubicBezTo>
                    <a:pt x="41481" y="12302"/>
                    <a:pt x="49945" y="20765"/>
                    <a:pt x="49945" y="31099"/>
                  </a:cubicBezTo>
                  <a:cubicBezTo>
                    <a:pt x="49945" y="41432"/>
                    <a:pt x="41530" y="49895"/>
                    <a:pt x="31148" y="49895"/>
                  </a:cubicBezTo>
                  <a:cubicBezTo>
                    <a:pt x="20765" y="49895"/>
                    <a:pt x="12302" y="41432"/>
                    <a:pt x="12302" y="31099"/>
                  </a:cubicBezTo>
                  <a:cubicBezTo>
                    <a:pt x="12302" y="20765"/>
                    <a:pt x="20765" y="12302"/>
                    <a:pt x="31148" y="12302"/>
                  </a:cubicBezTo>
                  <a:moveTo>
                    <a:pt x="31148" y="0"/>
                  </a:moveTo>
                  <a:cubicBezTo>
                    <a:pt x="13975" y="0"/>
                    <a:pt x="0" y="13926"/>
                    <a:pt x="0" y="31099"/>
                  </a:cubicBezTo>
                  <a:cubicBezTo>
                    <a:pt x="0" y="48272"/>
                    <a:pt x="13925" y="62197"/>
                    <a:pt x="31148" y="62197"/>
                  </a:cubicBezTo>
                  <a:cubicBezTo>
                    <a:pt x="48370" y="62197"/>
                    <a:pt x="62246" y="48272"/>
                    <a:pt x="62246" y="31099"/>
                  </a:cubicBezTo>
                  <a:cubicBezTo>
                    <a:pt x="62246" y="13926"/>
                    <a:pt x="48321" y="0"/>
                    <a:pt x="31148" y="0"/>
                  </a:cubicBezTo>
                  <a:lnTo>
                    <a:pt x="31148" y="0"/>
                  </a:ln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351" name="Gráfico 7">
              <a:extLst>
                <a:ext uri="{FF2B5EF4-FFF2-40B4-BE49-F238E27FC236}">
                  <a16:creationId xmlns:a16="http://schemas.microsoft.com/office/drawing/2014/main" id="{68A05673-AF3B-F24F-389B-7A73A61BC039}"/>
                </a:ext>
              </a:extLst>
            </p:cNvPr>
            <p:cNvGrpSpPr/>
            <p:nvPr/>
          </p:nvGrpSpPr>
          <p:grpSpPr>
            <a:xfrm>
              <a:off x="5184204" y="2628014"/>
              <a:ext cx="213211" cy="284265"/>
              <a:chOff x="5184204" y="2628014"/>
              <a:chExt cx="213211" cy="284265"/>
            </a:xfrm>
            <a:noFill/>
          </p:grpSpPr>
          <p:grpSp>
            <p:nvGrpSpPr>
              <p:cNvPr id="352" name="Gráfico 7">
                <a:extLst>
                  <a:ext uri="{FF2B5EF4-FFF2-40B4-BE49-F238E27FC236}">
                    <a16:creationId xmlns:a16="http://schemas.microsoft.com/office/drawing/2014/main" id="{1319DA53-CCC0-E6EF-CC0D-C3F3B1831652}"/>
                  </a:ext>
                </a:extLst>
              </p:cNvPr>
              <p:cNvGrpSpPr/>
              <p:nvPr/>
            </p:nvGrpSpPr>
            <p:grpSpPr>
              <a:xfrm>
                <a:off x="5226226" y="2815835"/>
                <a:ext cx="129166" cy="41727"/>
                <a:chOff x="5226226" y="2815835"/>
                <a:chExt cx="129166" cy="41727"/>
              </a:xfrm>
            </p:grpSpPr>
            <p:sp>
              <p:nvSpPr>
                <p:cNvPr id="353" name="Forma livre: Forma 352">
                  <a:extLst>
                    <a:ext uri="{FF2B5EF4-FFF2-40B4-BE49-F238E27FC236}">
                      <a16:creationId xmlns:a16="http://schemas.microsoft.com/office/drawing/2014/main" id="{EA69B728-E6B1-AF83-7697-6F5AC9D8498A}"/>
                    </a:ext>
                  </a:extLst>
                </p:cNvPr>
                <p:cNvSpPr/>
                <p:nvPr/>
              </p:nvSpPr>
              <p:spPr>
                <a:xfrm>
                  <a:off x="5226226" y="2815835"/>
                  <a:ext cx="129166" cy="4920"/>
                </a:xfrm>
                <a:custGeom>
                  <a:avLst/>
                  <a:gdLst>
                    <a:gd name="connsiteX0" fmla="*/ 0 w 129166"/>
                    <a:gd name="connsiteY0" fmla="*/ 0 h 4920"/>
                    <a:gd name="connsiteX1" fmla="*/ 129167 w 129166"/>
                    <a:gd name="connsiteY1" fmla="*/ 0 h 492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29166" h="4920">
                      <a:moveTo>
                        <a:pt x="0" y="0"/>
                      </a:moveTo>
                      <a:lnTo>
                        <a:pt x="129167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354" name="Forma livre: Forma 353">
                  <a:extLst>
                    <a:ext uri="{FF2B5EF4-FFF2-40B4-BE49-F238E27FC236}">
                      <a16:creationId xmlns:a16="http://schemas.microsoft.com/office/drawing/2014/main" id="{C3E4851F-F62D-773D-992E-C951C10B1F59}"/>
                    </a:ext>
                  </a:extLst>
                </p:cNvPr>
                <p:cNvSpPr/>
                <p:nvPr/>
              </p:nvSpPr>
              <p:spPr>
                <a:xfrm>
                  <a:off x="5226226" y="2857562"/>
                  <a:ext cx="129166" cy="4920"/>
                </a:xfrm>
                <a:custGeom>
                  <a:avLst/>
                  <a:gdLst>
                    <a:gd name="connsiteX0" fmla="*/ 0 w 129166"/>
                    <a:gd name="connsiteY0" fmla="*/ 0 h 4920"/>
                    <a:gd name="connsiteX1" fmla="*/ 129167 w 129166"/>
                    <a:gd name="connsiteY1" fmla="*/ 0 h 492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29166" h="4920">
                      <a:moveTo>
                        <a:pt x="0" y="0"/>
                      </a:moveTo>
                      <a:lnTo>
                        <a:pt x="129167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355" name="Forma livre: Forma 354">
                <a:extLst>
                  <a:ext uri="{FF2B5EF4-FFF2-40B4-BE49-F238E27FC236}">
                    <a16:creationId xmlns:a16="http://schemas.microsoft.com/office/drawing/2014/main" id="{E3B56D59-8E60-8AB8-91D1-8C2F8D4771C5}"/>
                  </a:ext>
                </a:extLst>
              </p:cNvPr>
              <p:cNvSpPr/>
              <p:nvPr/>
            </p:nvSpPr>
            <p:spPr>
              <a:xfrm>
                <a:off x="5184204" y="2628014"/>
                <a:ext cx="213211" cy="284265"/>
              </a:xfrm>
              <a:custGeom>
                <a:avLst/>
                <a:gdLst>
                  <a:gd name="connsiteX0" fmla="*/ 193529 w 213211"/>
                  <a:gd name="connsiteY0" fmla="*/ 0 h 284265"/>
                  <a:gd name="connsiteX1" fmla="*/ 54914 w 213211"/>
                  <a:gd name="connsiteY1" fmla="*/ 0 h 284265"/>
                  <a:gd name="connsiteX2" fmla="*/ 0 w 213211"/>
                  <a:gd name="connsiteY2" fmla="*/ 47681 h 284265"/>
                  <a:gd name="connsiteX3" fmla="*/ 0 w 213211"/>
                  <a:gd name="connsiteY3" fmla="*/ 264583 h 284265"/>
                  <a:gd name="connsiteX4" fmla="*/ 19683 w 213211"/>
                  <a:gd name="connsiteY4" fmla="*/ 284266 h 284265"/>
                  <a:gd name="connsiteX5" fmla="*/ 193529 w 213211"/>
                  <a:gd name="connsiteY5" fmla="*/ 284266 h 284265"/>
                  <a:gd name="connsiteX6" fmla="*/ 213212 w 213211"/>
                  <a:gd name="connsiteY6" fmla="*/ 264583 h 284265"/>
                  <a:gd name="connsiteX7" fmla="*/ 213212 w 213211"/>
                  <a:gd name="connsiteY7" fmla="*/ 19683 h 284265"/>
                  <a:gd name="connsiteX8" fmla="*/ 193529 w 213211"/>
                  <a:gd name="connsiteY8" fmla="*/ 0 h 2842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13211" h="284265">
                    <a:moveTo>
                      <a:pt x="193529" y="0"/>
                    </a:moveTo>
                    <a:lnTo>
                      <a:pt x="54914" y="0"/>
                    </a:lnTo>
                    <a:lnTo>
                      <a:pt x="0" y="47681"/>
                    </a:lnTo>
                    <a:lnTo>
                      <a:pt x="0" y="264583"/>
                    </a:lnTo>
                    <a:cubicBezTo>
                      <a:pt x="0" y="275408"/>
                      <a:pt x="8857" y="284266"/>
                      <a:pt x="19683" y="284266"/>
                    </a:cubicBezTo>
                    <a:lnTo>
                      <a:pt x="193529" y="284266"/>
                    </a:lnTo>
                    <a:cubicBezTo>
                      <a:pt x="204354" y="284266"/>
                      <a:pt x="213212" y="275408"/>
                      <a:pt x="213212" y="264583"/>
                    </a:cubicBezTo>
                    <a:lnTo>
                      <a:pt x="213212" y="19683"/>
                    </a:lnTo>
                    <a:cubicBezTo>
                      <a:pt x="213212" y="8857"/>
                      <a:pt x="204354" y="0"/>
                      <a:pt x="193529" y="0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56" name="Forma livre: Forma 355">
                <a:extLst>
                  <a:ext uri="{FF2B5EF4-FFF2-40B4-BE49-F238E27FC236}">
                    <a16:creationId xmlns:a16="http://schemas.microsoft.com/office/drawing/2014/main" id="{4D4C177C-55AA-74F3-2107-7A5250F7741D}"/>
                  </a:ext>
                </a:extLst>
              </p:cNvPr>
              <p:cNvSpPr/>
              <p:nvPr/>
            </p:nvSpPr>
            <p:spPr>
              <a:xfrm>
                <a:off x="5211464" y="2631852"/>
                <a:ext cx="36560" cy="60573"/>
              </a:xfrm>
              <a:custGeom>
                <a:avLst/>
                <a:gdLst>
                  <a:gd name="connsiteX0" fmla="*/ 36560 w 36560"/>
                  <a:gd name="connsiteY0" fmla="*/ 0 h 60573"/>
                  <a:gd name="connsiteX1" fmla="*/ 36560 w 36560"/>
                  <a:gd name="connsiteY1" fmla="*/ 60573 h 60573"/>
                  <a:gd name="connsiteX2" fmla="*/ 0 w 36560"/>
                  <a:gd name="connsiteY2" fmla="*/ 60573 h 605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6560" h="60573">
                    <a:moveTo>
                      <a:pt x="36560" y="0"/>
                    </a:moveTo>
                    <a:lnTo>
                      <a:pt x="36560" y="60573"/>
                    </a:lnTo>
                    <a:lnTo>
                      <a:pt x="0" y="60573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357" name="Forma livre: Forma 356">
              <a:extLst>
                <a:ext uri="{FF2B5EF4-FFF2-40B4-BE49-F238E27FC236}">
                  <a16:creationId xmlns:a16="http://schemas.microsoft.com/office/drawing/2014/main" id="{483B35E1-CE25-2253-C1B3-D61087FE2DDE}"/>
                </a:ext>
              </a:extLst>
            </p:cNvPr>
            <p:cNvSpPr/>
            <p:nvPr/>
          </p:nvSpPr>
          <p:spPr>
            <a:xfrm>
              <a:off x="5279369" y="2742862"/>
              <a:ext cx="72185" cy="42268"/>
            </a:xfrm>
            <a:custGeom>
              <a:avLst/>
              <a:gdLst>
                <a:gd name="connsiteX0" fmla="*/ 0 w 72185"/>
                <a:gd name="connsiteY0" fmla="*/ 42268 h 42268"/>
                <a:gd name="connsiteX1" fmla="*/ 0 w 72185"/>
                <a:gd name="connsiteY1" fmla="*/ 15992 h 42268"/>
                <a:gd name="connsiteX2" fmla="*/ 15992 w 72185"/>
                <a:gd name="connsiteY2" fmla="*/ 0 h 42268"/>
                <a:gd name="connsiteX3" fmla="*/ 56194 w 72185"/>
                <a:gd name="connsiteY3" fmla="*/ 0 h 42268"/>
                <a:gd name="connsiteX4" fmla="*/ 72186 w 72185"/>
                <a:gd name="connsiteY4" fmla="*/ 15992 h 42268"/>
                <a:gd name="connsiteX5" fmla="*/ 72186 w 72185"/>
                <a:gd name="connsiteY5" fmla="*/ 42268 h 422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2185" h="42268">
                  <a:moveTo>
                    <a:pt x="0" y="42268"/>
                  </a:moveTo>
                  <a:lnTo>
                    <a:pt x="0" y="15992"/>
                  </a:lnTo>
                  <a:cubicBezTo>
                    <a:pt x="0" y="7184"/>
                    <a:pt x="7184" y="0"/>
                    <a:pt x="15992" y="0"/>
                  </a:cubicBezTo>
                  <a:lnTo>
                    <a:pt x="56194" y="0"/>
                  </a:lnTo>
                  <a:cubicBezTo>
                    <a:pt x="65002" y="0"/>
                    <a:pt x="72186" y="7184"/>
                    <a:pt x="72186" y="15992"/>
                  </a:cubicBezTo>
                  <a:lnTo>
                    <a:pt x="72186" y="42268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358" name="Gráfico 7">
            <a:extLst>
              <a:ext uri="{FF2B5EF4-FFF2-40B4-BE49-F238E27FC236}">
                <a16:creationId xmlns:a16="http://schemas.microsoft.com/office/drawing/2014/main" id="{FDAAD65C-AF00-8A86-4D17-E0BD9A50A1D6}"/>
              </a:ext>
            </a:extLst>
          </p:cNvPr>
          <p:cNvGrpSpPr/>
          <p:nvPr/>
        </p:nvGrpSpPr>
        <p:grpSpPr>
          <a:xfrm>
            <a:off x="5158469" y="3179126"/>
            <a:ext cx="264681" cy="271619"/>
            <a:chOff x="5158469" y="3179126"/>
            <a:chExt cx="264681" cy="271619"/>
          </a:xfrm>
          <a:noFill/>
        </p:grpSpPr>
        <p:grpSp>
          <p:nvGrpSpPr>
            <p:cNvPr id="359" name="Gráfico 7">
              <a:extLst>
                <a:ext uri="{FF2B5EF4-FFF2-40B4-BE49-F238E27FC236}">
                  <a16:creationId xmlns:a16="http://schemas.microsoft.com/office/drawing/2014/main" id="{B28E1816-045F-BA51-37C9-11D117DC9D73}"/>
                </a:ext>
              </a:extLst>
            </p:cNvPr>
            <p:cNvGrpSpPr/>
            <p:nvPr/>
          </p:nvGrpSpPr>
          <p:grpSpPr>
            <a:xfrm>
              <a:off x="5158469" y="3273258"/>
              <a:ext cx="64115" cy="64165"/>
              <a:chOff x="5158469" y="3273258"/>
              <a:chExt cx="64115" cy="64165"/>
            </a:xfrm>
          </p:grpSpPr>
          <p:sp>
            <p:nvSpPr>
              <p:cNvPr id="360" name="Forma livre: Forma 359">
                <a:extLst>
                  <a:ext uri="{FF2B5EF4-FFF2-40B4-BE49-F238E27FC236}">
                    <a16:creationId xmlns:a16="http://schemas.microsoft.com/office/drawing/2014/main" id="{3D0AC571-EA3D-934A-1DC1-6847D1B61EFE}"/>
                  </a:ext>
                </a:extLst>
              </p:cNvPr>
              <p:cNvSpPr/>
              <p:nvPr/>
            </p:nvSpPr>
            <p:spPr>
              <a:xfrm>
                <a:off x="5158469" y="3273258"/>
                <a:ext cx="64115" cy="64165"/>
              </a:xfrm>
              <a:custGeom>
                <a:avLst/>
                <a:gdLst>
                  <a:gd name="connsiteX0" fmla="*/ 64116 w 64115"/>
                  <a:gd name="connsiteY0" fmla="*/ 0 h 64165"/>
                  <a:gd name="connsiteX1" fmla="*/ 0 w 64115"/>
                  <a:gd name="connsiteY1" fmla="*/ 64165 h 641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4115" h="64165">
                    <a:moveTo>
                      <a:pt x="64116" y="0"/>
                    </a:moveTo>
                    <a:lnTo>
                      <a:pt x="0" y="64165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61" name="Forma livre: Forma 360">
                <a:extLst>
                  <a:ext uri="{FF2B5EF4-FFF2-40B4-BE49-F238E27FC236}">
                    <a16:creationId xmlns:a16="http://schemas.microsoft.com/office/drawing/2014/main" id="{E9C8442E-EDCE-954E-2B5D-73C66CFF4BE9}"/>
                  </a:ext>
                </a:extLst>
              </p:cNvPr>
              <p:cNvSpPr/>
              <p:nvPr/>
            </p:nvSpPr>
            <p:spPr>
              <a:xfrm>
                <a:off x="5158469" y="3273258"/>
                <a:ext cx="64115" cy="64165"/>
              </a:xfrm>
              <a:custGeom>
                <a:avLst/>
                <a:gdLst>
                  <a:gd name="connsiteX0" fmla="*/ 64116 w 64115"/>
                  <a:gd name="connsiteY0" fmla="*/ 64165 h 64165"/>
                  <a:gd name="connsiteX1" fmla="*/ 0 w 64115"/>
                  <a:gd name="connsiteY1" fmla="*/ 0 h 641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4115" h="64165">
                    <a:moveTo>
                      <a:pt x="64116" y="64165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362" name="Gráfico 7">
              <a:extLst>
                <a:ext uri="{FF2B5EF4-FFF2-40B4-BE49-F238E27FC236}">
                  <a16:creationId xmlns:a16="http://schemas.microsoft.com/office/drawing/2014/main" id="{C00971AE-5F91-2250-3793-1842BB568839}"/>
                </a:ext>
              </a:extLst>
            </p:cNvPr>
            <p:cNvGrpSpPr/>
            <p:nvPr/>
          </p:nvGrpSpPr>
          <p:grpSpPr>
            <a:xfrm>
              <a:off x="5309090" y="3386630"/>
              <a:ext cx="64115" cy="64115"/>
              <a:chOff x="5309090" y="3386630"/>
              <a:chExt cx="64115" cy="64115"/>
            </a:xfrm>
          </p:grpSpPr>
          <p:sp>
            <p:nvSpPr>
              <p:cNvPr id="363" name="Forma livre: Forma 362">
                <a:extLst>
                  <a:ext uri="{FF2B5EF4-FFF2-40B4-BE49-F238E27FC236}">
                    <a16:creationId xmlns:a16="http://schemas.microsoft.com/office/drawing/2014/main" id="{27BF1A53-20C8-EF6B-A754-B1650397B5E9}"/>
                  </a:ext>
                </a:extLst>
              </p:cNvPr>
              <p:cNvSpPr/>
              <p:nvPr/>
            </p:nvSpPr>
            <p:spPr>
              <a:xfrm>
                <a:off x="5309090" y="3386630"/>
                <a:ext cx="64115" cy="64115"/>
              </a:xfrm>
              <a:custGeom>
                <a:avLst/>
                <a:gdLst>
                  <a:gd name="connsiteX0" fmla="*/ 64116 w 64115"/>
                  <a:gd name="connsiteY0" fmla="*/ 0 h 64115"/>
                  <a:gd name="connsiteX1" fmla="*/ 0 w 64115"/>
                  <a:gd name="connsiteY1" fmla="*/ 64116 h 641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4115" h="64115">
                    <a:moveTo>
                      <a:pt x="64116" y="0"/>
                    </a:moveTo>
                    <a:lnTo>
                      <a:pt x="0" y="64116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64" name="Forma livre: Forma 363">
                <a:extLst>
                  <a:ext uri="{FF2B5EF4-FFF2-40B4-BE49-F238E27FC236}">
                    <a16:creationId xmlns:a16="http://schemas.microsoft.com/office/drawing/2014/main" id="{B16B28A7-5909-DBE1-01A5-F33F74E388D7}"/>
                  </a:ext>
                </a:extLst>
              </p:cNvPr>
              <p:cNvSpPr/>
              <p:nvPr/>
            </p:nvSpPr>
            <p:spPr>
              <a:xfrm>
                <a:off x="5309090" y="3386630"/>
                <a:ext cx="64115" cy="64115"/>
              </a:xfrm>
              <a:custGeom>
                <a:avLst/>
                <a:gdLst>
                  <a:gd name="connsiteX0" fmla="*/ 64116 w 64115"/>
                  <a:gd name="connsiteY0" fmla="*/ 64116 h 64115"/>
                  <a:gd name="connsiteX1" fmla="*/ 0 w 64115"/>
                  <a:gd name="connsiteY1" fmla="*/ 0 h 641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4115" h="64115">
                    <a:moveTo>
                      <a:pt x="64116" y="64116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365" name="Forma livre: Forma 364">
              <a:extLst>
                <a:ext uri="{FF2B5EF4-FFF2-40B4-BE49-F238E27FC236}">
                  <a16:creationId xmlns:a16="http://schemas.microsoft.com/office/drawing/2014/main" id="{1EABC056-D6C0-F976-B26D-FCC905DAB8BA}"/>
                </a:ext>
              </a:extLst>
            </p:cNvPr>
            <p:cNvSpPr/>
            <p:nvPr/>
          </p:nvSpPr>
          <p:spPr>
            <a:xfrm>
              <a:off x="5339992" y="3245260"/>
              <a:ext cx="83158" cy="83158"/>
            </a:xfrm>
            <a:custGeom>
              <a:avLst/>
              <a:gdLst>
                <a:gd name="connsiteX0" fmla="*/ 83159 w 83158"/>
                <a:gd name="connsiteY0" fmla="*/ 41579 h 83158"/>
                <a:gd name="connsiteX1" fmla="*/ 41579 w 83158"/>
                <a:gd name="connsiteY1" fmla="*/ 83159 h 83158"/>
                <a:gd name="connsiteX2" fmla="*/ 0 w 83158"/>
                <a:gd name="connsiteY2" fmla="*/ 41579 h 83158"/>
                <a:gd name="connsiteX3" fmla="*/ 41579 w 83158"/>
                <a:gd name="connsiteY3" fmla="*/ 0 h 83158"/>
                <a:gd name="connsiteX4" fmla="*/ 83159 w 83158"/>
                <a:gd name="connsiteY4" fmla="*/ 41579 h 831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3158" h="83158">
                  <a:moveTo>
                    <a:pt x="83159" y="41579"/>
                  </a:moveTo>
                  <a:cubicBezTo>
                    <a:pt x="83159" y="64559"/>
                    <a:pt x="64559" y="83159"/>
                    <a:pt x="41579" y="83159"/>
                  </a:cubicBezTo>
                  <a:cubicBezTo>
                    <a:pt x="18600" y="83159"/>
                    <a:pt x="0" y="64559"/>
                    <a:pt x="0" y="41579"/>
                  </a:cubicBezTo>
                  <a:cubicBezTo>
                    <a:pt x="0" y="18600"/>
                    <a:pt x="18600" y="0"/>
                    <a:pt x="41579" y="0"/>
                  </a:cubicBezTo>
                  <a:cubicBezTo>
                    <a:pt x="64559" y="0"/>
                    <a:pt x="83159" y="18600"/>
                    <a:pt x="83159" y="41579"/>
                  </a:cubicBez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66" name="Forma livre: Forma 365">
              <a:extLst>
                <a:ext uri="{FF2B5EF4-FFF2-40B4-BE49-F238E27FC236}">
                  <a16:creationId xmlns:a16="http://schemas.microsoft.com/office/drawing/2014/main" id="{FB332E76-521C-D11A-A08B-BA06D5F283FB}"/>
                </a:ext>
              </a:extLst>
            </p:cNvPr>
            <p:cNvSpPr/>
            <p:nvPr/>
          </p:nvSpPr>
          <p:spPr>
            <a:xfrm>
              <a:off x="5192274" y="3180652"/>
              <a:ext cx="97533" cy="260744"/>
            </a:xfrm>
            <a:custGeom>
              <a:avLst/>
              <a:gdLst>
                <a:gd name="connsiteX0" fmla="*/ 82175 w 97533"/>
                <a:gd name="connsiteY0" fmla="*/ 0 h 260744"/>
                <a:gd name="connsiteX1" fmla="*/ 0 w 97533"/>
                <a:gd name="connsiteY1" fmla="*/ 260745 h 2607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7533" h="260744">
                  <a:moveTo>
                    <a:pt x="82175" y="0"/>
                  </a:moveTo>
                  <a:cubicBezTo>
                    <a:pt x="82175" y="0"/>
                    <a:pt x="150178" y="164399"/>
                    <a:pt x="0" y="260745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67" name="Forma livre: Forma 366">
              <a:extLst>
                <a:ext uri="{FF2B5EF4-FFF2-40B4-BE49-F238E27FC236}">
                  <a16:creationId xmlns:a16="http://schemas.microsoft.com/office/drawing/2014/main" id="{C110081B-D9EB-1431-E47C-13EDE6A7B411}"/>
                </a:ext>
              </a:extLst>
            </p:cNvPr>
            <p:cNvSpPr/>
            <p:nvPr/>
          </p:nvSpPr>
          <p:spPr>
            <a:xfrm>
              <a:off x="5251223" y="3179175"/>
              <a:ext cx="22684" cy="45368"/>
            </a:xfrm>
            <a:custGeom>
              <a:avLst/>
              <a:gdLst>
                <a:gd name="connsiteX0" fmla="*/ 22684 w 22684"/>
                <a:gd name="connsiteY0" fmla="*/ 0 h 45368"/>
                <a:gd name="connsiteX1" fmla="*/ 0 w 22684"/>
                <a:gd name="connsiteY1" fmla="*/ 45368 h 453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2684" h="45368">
                  <a:moveTo>
                    <a:pt x="22684" y="0"/>
                  </a:moveTo>
                  <a:lnTo>
                    <a:pt x="0" y="45368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68" name="Forma livre: Forma 367">
              <a:extLst>
                <a:ext uri="{FF2B5EF4-FFF2-40B4-BE49-F238E27FC236}">
                  <a16:creationId xmlns:a16="http://schemas.microsoft.com/office/drawing/2014/main" id="{B8A1FA15-90F8-731F-9416-785B2A8C9FAB}"/>
                </a:ext>
              </a:extLst>
            </p:cNvPr>
            <p:cNvSpPr/>
            <p:nvPr/>
          </p:nvSpPr>
          <p:spPr>
            <a:xfrm>
              <a:off x="5274055" y="3179126"/>
              <a:ext cx="43547" cy="25980"/>
            </a:xfrm>
            <a:custGeom>
              <a:avLst/>
              <a:gdLst>
                <a:gd name="connsiteX0" fmla="*/ 0 w 43547"/>
                <a:gd name="connsiteY0" fmla="*/ 0 h 25980"/>
                <a:gd name="connsiteX1" fmla="*/ 43548 w 43547"/>
                <a:gd name="connsiteY1" fmla="*/ 25981 h 259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3547" h="25980">
                  <a:moveTo>
                    <a:pt x="0" y="0"/>
                  </a:moveTo>
                  <a:lnTo>
                    <a:pt x="43548" y="25981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369" name="Gráfico 7">
            <a:extLst>
              <a:ext uri="{FF2B5EF4-FFF2-40B4-BE49-F238E27FC236}">
                <a16:creationId xmlns:a16="http://schemas.microsoft.com/office/drawing/2014/main" id="{7B3FF704-D8AE-4F97-F289-BA27513EE577}"/>
              </a:ext>
            </a:extLst>
          </p:cNvPr>
          <p:cNvGrpSpPr/>
          <p:nvPr/>
        </p:nvGrpSpPr>
        <p:grpSpPr>
          <a:xfrm>
            <a:off x="5795125" y="987210"/>
            <a:ext cx="273019" cy="297369"/>
            <a:chOff x="5795125" y="987210"/>
            <a:chExt cx="273019" cy="297369"/>
          </a:xfrm>
        </p:grpSpPr>
        <p:grpSp>
          <p:nvGrpSpPr>
            <p:cNvPr id="370" name="Gráfico 7">
              <a:extLst>
                <a:ext uri="{FF2B5EF4-FFF2-40B4-BE49-F238E27FC236}">
                  <a16:creationId xmlns:a16="http://schemas.microsoft.com/office/drawing/2014/main" id="{B27D312E-C89E-3EF8-80E2-651178E773B6}"/>
                </a:ext>
              </a:extLst>
            </p:cNvPr>
            <p:cNvGrpSpPr/>
            <p:nvPr/>
          </p:nvGrpSpPr>
          <p:grpSpPr>
            <a:xfrm>
              <a:off x="5795125" y="987210"/>
              <a:ext cx="273019" cy="297369"/>
              <a:chOff x="5795125" y="987210"/>
              <a:chExt cx="273019" cy="297369"/>
            </a:xfrm>
            <a:noFill/>
          </p:grpSpPr>
          <p:sp>
            <p:nvSpPr>
              <p:cNvPr id="371" name="Forma livre: Forma 370">
                <a:extLst>
                  <a:ext uri="{FF2B5EF4-FFF2-40B4-BE49-F238E27FC236}">
                    <a16:creationId xmlns:a16="http://schemas.microsoft.com/office/drawing/2014/main" id="{FC8EA7BE-411A-DE3B-DB2D-1AC866C78BFA}"/>
                  </a:ext>
                </a:extLst>
              </p:cNvPr>
              <p:cNvSpPr/>
              <p:nvPr/>
            </p:nvSpPr>
            <p:spPr>
              <a:xfrm>
                <a:off x="5795125" y="987210"/>
                <a:ext cx="273019" cy="297369"/>
              </a:xfrm>
              <a:custGeom>
                <a:avLst/>
                <a:gdLst>
                  <a:gd name="connsiteX0" fmla="*/ 234987 w 273019"/>
                  <a:gd name="connsiteY0" fmla="*/ 297370 h 297369"/>
                  <a:gd name="connsiteX1" fmla="*/ 230313 w 273019"/>
                  <a:gd name="connsiteY1" fmla="*/ 236206 h 297369"/>
                  <a:gd name="connsiteX2" fmla="*/ 255457 w 273019"/>
                  <a:gd name="connsiteY2" fmla="*/ 174354 h 297369"/>
                  <a:gd name="connsiteX3" fmla="*/ 229230 w 273019"/>
                  <a:gd name="connsiteY3" fmla="*/ 24422 h 297369"/>
                  <a:gd name="connsiteX4" fmla="*/ 73442 w 273019"/>
                  <a:gd name="connsiteY4" fmla="*/ 20534 h 297369"/>
                  <a:gd name="connsiteX5" fmla="*/ 35947 w 273019"/>
                  <a:gd name="connsiteY5" fmla="*/ 106941 h 297369"/>
                  <a:gd name="connsiteX6" fmla="*/ 32158 w 273019"/>
                  <a:gd name="connsiteY6" fmla="*/ 133955 h 297369"/>
                  <a:gd name="connsiteX7" fmla="*/ 666 w 273019"/>
                  <a:gd name="connsiteY7" fmla="*/ 171008 h 297369"/>
                  <a:gd name="connsiteX8" fmla="*/ 9080 w 273019"/>
                  <a:gd name="connsiteY8" fmla="*/ 183063 h 297369"/>
                  <a:gd name="connsiteX9" fmla="*/ 28271 w 273019"/>
                  <a:gd name="connsiteY9" fmla="*/ 187000 h 297369"/>
                  <a:gd name="connsiteX10" fmla="*/ 37079 w 273019"/>
                  <a:gd name="connsiteY10" fmla="*/ 214703 h 297369"/>
                  <a:gd name="connsiteX11" fmla="*/ 35061 w 273019"/>
                  <a:gd name="connsiteY11" fmla="*/ 241619 h 297369"/>
                  <a:gd name="connsiteX12" fmla="*/ 38949 w 273019"/>
                  <a:gd name="connsiteY12" fmla="*/ 267649 h 297369"/>
                  <a:gd name="connsiteX13" fmla="*/ 105033 w 273019"/>
                  <a:gd name="connsiteY13" fmla="*/ 265041 h 297369"/>
                  <a:gd name="connsiteX14" fmla="*/ 113890 w 273019"/>
                  <a:gd name="connsiteY14" fmla="*/ 296927 h 2973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273019" h="297369">
                    <a:moveTo>
                      <a:pt x="234987" y="297370"/>
                    </a:moveTo>
                    <a:cubicBezTo>
                      <a:pt x="232478" y="282854"/>
                      <a:pt x="228886" y="259235"/>
                      <a:pt x="230313" y="236206"/>
                    </a:cubicBezTo>
                    <a:cubicBezTo>
                      <a:pt x="230313" y="236206"/>
                      <a:pt x="238678" y="198465"/>
                      <a:pt x="255457" y="174354"/>
                    </a:cubicBezTo>
                    <a:cubicBezTo>
                      <a:pt x="255457" y="174354"/>
                      <a:pt x="308945" y="83125"/>
                      <a:pt x="229230" y="24422"/>
                    </a:cubicBezTo>
                    <a:cubicBezTo>
                      <a:pt x="229230" y="24422"/>
                      <a:pt x="158717" y="-27836"/>
                      <a:pt x="73442" y="20534"/>
                    </a:cubicBezTo>
                    <a:cubicBezTo>
                      <a:pt x="73442" y="20534"/>
                      <a:pt x="25860" y="41103"/>
                      <a:pt x="35947" y="106941"/>
                    </a:cubicBezTo>
                    <a:cubicBezTo>
                      <a:pt x="35947" y="106941"/>
                      <a:pt x="37965" y="125344"/>
                      <a:pt x="32158" y="133955"/>
                    </a:cubicBezTo>
                    <a:lnTo>
                      <a:pt x="666" y="171008"/>
                    </a:lnTo>
                    <a:cubicBezTo>
                      <a:pt x="666" y="171008"/>
                      <a:pt x="-3516" y="182030"/>
                      <a:pt x="9080" y="183063"/>
                    </a:cubicBezTo>
                    <a:lnTo>
                      <a:pt x="28271" y="187000"/>
                    </a:lnTo>
                    <a:cubicBezTo>
                      <a:pt x="28271" y="187000"/>
                      <a:pt x="36292" y="202647"/>
                      <a:pt x="37079" y="214703"/>
                    </a:cubicBezTo>
                    <a:cubicBezTo>
                      <a:pt x="37866" y="226758"/>
                      <a:pt x="35061" y="241619"/>
                      <a:pt x="35061" y="241619"/>
                    </a:cubicBezTo>
                    <a:cubicBezTo>
                      <a:pt x="35061" y="241619"/>
                      <a:pt x="28222" y="259678"/>
                      <a:pt x="38949" y="267649"/>
                    </a:cubicBezTo>
                    <a:cubicBezTo>
                      <a:pt x="41065" y="268190"/>
                      <a:pt x="48938" y="277097"/>
                      <a:pt x="105033" y="265041"/>
                    </a:cubicBezTo>
                    <a:cubicBezTo>
                      <a:pt x="105033" y="265041"/>
                      <a:pt x="110446" y="267600"/>
                      <a:pt x="113890" y="296927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72" name="Forma livre: Forma 371">
                <a:extLst>
                  <a:ext uri="{FF2B5EF4-FFF2-40B4-BE49-F238E27FC236}">
                    <a16:creationId xmlns:a16="http://schemas.microsoft.com/office/drawing/2014/main" id="{53219609-9C7F-6CBE-2A20-45972138F183}"/>
                  </a:ext>
                </a:extLst>
              </p:cNvPr>
              <p:cNvSpPr/>
              <p:nvPr/>
            </p:nvSpPr>
            <p:spPr>
              <a:xfrm>
                <a:off x="5834615" y="1202799"/>
                <a:ext cx="24111" cy="393"/>
              </a:xfrm>
              <a:custGeom>
                <a:avLst/>
                <a:gdLst>
                  <a:gd name="connsiteX0" fmla="*/ 0 w 24111"/>
                  <a:gd name="connsiteY0" fmla="*/ 0 h 393"/>
                  <a:gd name="connsiteX1" fmla="*/ 24111 w 24111"/>
                  <a:gd name="connsiteY1" fmla="*/ 394 h 3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4111" h="393">
                    <a:moveTo>
                      <a:pt x="0" y="0"/>
                    </a:moveTo>
                    <a:lnTo>
                      <a:pt x="24111" y="394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373" name="Forma livre: Forma 372">
              <a:extLst>
                <a:ext uri="{FF2B5EF4-FFF2-40B4-BE49-F238E27FC236}">
                  <a16:creationId xmlns:a16="http://schemas.microsoft.com/office/drawing/2014/main" id="{5E64DEEE-83D0-CDEB-58D6-DEF6E7F987EC}"/>
                </a:ext>
              </a:extLst>
            </p:cNvPr>
            <p:cNvSpPr/>
            <p:nvPr/>
          </p:nvSpPr>
          <p:spPr>
            <a:xfrm>
              <a:off x="5911721" y="1034906"/>
              <a:ext cx="63972" cy="89654"/>
            </a:xfrm>
            <a:custGeom>
              <a:avLst/>
              <a:gdLst>
                <a:gd name="connsiteX0" fmla="*/ 0 w 63972"/>
                <a:gd name="connsiteY0" fmla="*/ 27998 h 89654"/>
                <a:gd name="connsiteX1" fmla="*/ 31984 w 63972"/>
                <a:gd name="connsiteY1" fmla="*/ 0 h 89654"/>
                <a:gd name="connsiteX2" fmla="*/ 63968 w 63972"/>
                <a:gd name="connsiteY2" fmla="*/ 27998 h 89654"/>
                <a:gd name="connsiteX3" fmla="*/ 48075 w 63972"/>
                <a:gd name="connsiteY3" fmla="*/ 52159 h 89654"/>
                <a:gd name="connsiteX4" fmla="*/ 28392 w 63972"/>
                <a:gd name="connsiteY4" fmla="*/ 89654 h 896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972" h="89654">
                  <a:moveTo>
                    <a:pt x="0" y="27998"/>
                  </a:moveTo>
                  <a:cubicBezTo>
                    <a:pt x="0" y="12548"/>
                    <a:pt x="14319" y="0"/>
                    <a:pt x="31984" y="0"/>
                  </a:cubicBezTo>
                  <a:cubicBezTo>
                    <a:pt x="49649" y="0"/>
                    <a:pt x="63968" y="12548"/>
                    <a:pt x="63968" y="27998"/>
                  </a:cubicBezTo>
                  <a:cubicBezTo>
                    <a:pt x="63968" y="27998"/>
                    <a:pt x="64657" y="40743"/>
                    <a:pt x="48075" y="52159"/>
                  </a:cubicBezTo>
                  <a:cubicBezTo>
                    <a:pt x="37003" y="60770"/>
                    <a:pt x="28392" y="74302"/>
                    <a:pt x="28392" y="89654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74" name="Forma livre: Forma 373">
              <a:extLst>
                <a:ext uri="{FF2B5EF4-FFF2-40B4-BE49-F238E27FC236}">
                  <a16:creationId xmlns:a16="http://schemas.microsoft.com/office/drawing/2014/main" id="{3971AFB8-9C39-63A1-7972-1C2D4960658F}"/>
                </a:ext>
              </a:extLst>
            </p:cNvPr>
            <p:cNvSpPr/>
            <p:nvPr/>
          </p:nvSpPr>
          <p:spPr>
            <a:xfrm>
              <a:off x="5937555" y="1144292"/>
              <a:ext cx="7676" cy="7676"/>
            </a:xfrm>
            <a:custGeom>
              <a:avLst/>
              <a:gdLst>
                <a:gd name="connsiteX0" fmla="*/ 7676 w 7676"/>
                <a:gd name="connsiteY0" fmla="*/ 3838 h 7676"/>
                <a:gd name="connsiteX1" fmla="*/ 3838 w 7676"/>
                <a:gd name="connsiteY1" fmla="*/ 7676 h 7676"/>
                <a:gd name="connsiteX2" fmla="*/ 0 w 7676"/>
                <a:gd name="connsiteY2" fmla="*/ 3838 h 7676"/>
                <a:gd name="connsiteX3" fmla="*/ 3838 w 7676"/>
                <a:gd name="connsiteY3" fmla="*/ 0 h 7676"/>
                <a:gd name="connsiteX4" fmla="*/ 7676 w 7676"/>
                <a:gd name="connsiteY4" fmla="*/ 3838 h 76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76" h="7676">
                  <a:moveTo>
                    <a:pt x="7676" y="3838"/>
                  </a:moveTo>
                  <a:cubicBezTo>
                    <a:pt x="7676" y="5954"/>
                    <a:pt x="5954" y="7676"/>
                    <a:pt x="3838" y="7676"/>
                  </a:cubicBezTo>
                  <a:cubicBezTo>
                    <a:pt x="1722" y="7676"/>
                    <a:pt x="0" y="5954"/>
                    <a:pt x="0" y="3838"/>
                  </a:cubicBezTo>
                  <a:cubicBezTo>
                    <a:pt x="0" y="1722"/>
                    <a:pt x="1722" y="0"/>
                    <a:pt x="3838" y="0"/>
                  </a:cubicBezTo>
                  <a:cubicBezTo>
                    <a:pt x="5954" y="0"/>
                    <a:pt x="7676" y="1722"/>
                    <a:pt x="7676" y="3838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375" name="Gráfico 7">
            <a:extLst>
              <a:ext uri="{FF2B5EF4-FFF2-40B4-BE49-F238E27FC236}">
                <a16:creationId xmlns:a16="http://schemas.microsoft.com/office/drawing/2014/main" id="{7ACA9371-20BE-BFF8-09F9-32D8448AC7EA}"/>
              </a:ext>
            </a:extLst>
          </p:cNvPr>
          <p:cNvGrpSpPr/>
          <p:nvPr/>
        </p:nvGrpSpPr>
        <p:grpSpPr>
          <a:xfrm>
            <a:off x="5775321" y="2081429"/>
            <a:ext cx="312608" cy="288005"/>
            <a:chOff x="5775321" y="2081429"/>
            <a:chExt cx="312608" cy="288005"/>
          </a:xfrm>
          <a:noFill/>
        </p:grpSpPr>
        <p:sp>
          <p:nvSpPr>
            <p:cNvPr id="376" name="Forma livre: Forma 375">
              <a:extLst>
                <a:ext uri="{FF2B5EF4-FFF2-40B4-BE49-F238E27FC236}">
                  <a16:creationId xmlns:a16="http://schemas.microsoft.com/office/drawing/2014/main" id="{80728270-C8E0-23AE-A499-F17ABC79E8E8}"/>
                </a:ext>
              </a:extLst>
            </p:cNvPr>
            <p:cNvSpPr/>
            <p:nvPr/>
          </p:nvSpPr>
          <p:spPr>
            <a:xfrm>
              <a:off x="5914329" y="2128470"/>
              <a:ext cx="119374" cy="97527"/>
            </a:xfrm>
            <a:custGeom>
              <a:avLst/>
              <a:gdLst>
                <a:gd name="connsiteX0" fmla="*/ 0 w 119374"/>
                <a:gd name="connsiteY0" fmla="*/ 97527 h 97527"/>
                <a:gd name="connsiteX1" fmla="*/ 30164 w 119374"/>
                <a:gd name="connsiteY1" fmla="*/ 48124 h 97527"/>
                <a:gd name="connsiteX2" fmla="*/ 49157 w 119374"/>
                <a:gd name="connsiteY2" fmla="*/ 77795 h 97527"/>
                <a:gd name="connsiteX3" fmla="*/ 74007 w 119374"/>
                <a:gd name="connsiteY3" fmla="*/ 51667 h 97527"/>
                <a:gd name="connsiteX4" fmla="*/ 93099 w 119374"/>
                <a:gd name="connsiteY4" fmla="*/ 68151 h 97527"/>
                <a:gd name="connsiteX5" fmla="*/ 119375 w 119374"/>
                <a:gd name="connsiteY5" fmla="*/ 0 h 975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9374" h="97527">
                  <a:moveTo>
                    <a:pt x="0" y="97527"/>
                  </a:moveTo>
                  <a:lnTo>
                    <a:pt x="30164" y="48124"/>
                  </a:lnTo>
                  <a:lnTo>
                    <a:pt x="49157" y="77795"/>
                  </a:lnTo>
                  <a:lnTo>
                    <a:pt x="74007" y="51667"/>
                  </a:lnTo>
                  <a:lnTo>
                    <a:pt x="93099" y="68151"/>
                  </a:lnTo>
                  <a:lnTo>
                    <a:pt x="119375" y="0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77" name="Forma livre: Forma 376">
              <a:extLst>
                <a:ext uri="{FF2B5EF4-FFF2-40B4-BE49-F238E27FC236}">
                  <a16:creationId xmlns:a16="http://schemas.microsoft.com/office/drawing/2014/main" id="{CC1919A0-FCF7-A72A-AA72-497E624D9EA5}"/>
                </a:ext>
              </a:extLst>
            </p:cNvPr>
            <p:cNvSpPr/>
            <p:nvPr/>
          </p:nvSpPr>
          <p:spPr>
            <a:xfrm>
              <a:off x="5899666" y="2089745"/>
              <a:ext cx="171976" cy="177832"/>
            </a:xfrm>
            <a:custGeom>
              <a:avLst/>
              <a:gdLst>
                <a:gd name="connsiteX0" fmla="*/ 0 w 171976"/>
                <a:gd name="connsiteY0" fmla="*/ 177832 h 177832"/>
                <a:gd name="connsiteX1" fmla="*/ 147373 w 171976"/>
                <a:gd name="connsiteY1" fmla="*/ 177832 h 177832"/>
                <a:gd name="connsiteX2" fmla="*/ 171976 w 171976"/>
                <a:gd name="connsiteY2" fmla="*/ 153229 h 177832"/>
                <a:gd name="connsiteX3" fmla="*/ 171976 w 171976"/>
                <a:gd name="connsiteY3" fmla="*/ 0 h 1778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1976" h="177832">
                  <a:moveTo>
                    <a:pt x="0" y="177832"/>
                  </a:moveTo>
                  <a:lnTo>
                    <a:pt x="147373" y="177832"/>
                  </a:lnTo>
                  <a:cubicBezTo>
                    <a:pt x="160905" y="177832"/>
                    <a:pt x="171976" y="166761"/>
                    <a:pt x="171976" y="153229"/>
                  </a:cubicBezTo>
                  <a:lnTo>
                    <a:pt x="171976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78" name="Forma livre: Forma 377">
              <a:extLst>
                <a:ext uri="{FF2B5EF4-FFF2-40B4-BE49-F238E27FC236}">
                  <a16:creationId xmlns:a16="http://schemas.microsoft.com/office/drawing/2014/main" id="{5FD1C0F4-6FE2-CD52-3EE7-212E4504D845}"/>
                </a:ext>
              </a:extLst>
            </p:cNvPr>
            <p:cNvSpPr/>
            <p:nvPr/>
          </p:nvSpPr>
          <p:spPr>
            <a:xfrm>
              <a:off x="5881361" y="2089499"/>
              <a:ext cx="206568" cy="4920"/>
            </a:xfrm>
            <a:custGeom>
              <a:avLst/>
              <a:gdLst>
                <a:gd name="connsiteX0" fmla="*/ 0 w 206568"/>
                <a:gd name="connsiteY0" fmla="*/ 0 h 4920"/>
                <a:gd name="connsiteX1" fmla="*/ 206569 w 206568"/>
                <a:gd name="connsiteY1" fmla="*/ 0 h 49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06568" h="4920">
                  <a:moveTo>
                    <a:pt x="0" y="0"/>
                  </a:moveTo>
                  <a:lnTo>
                    <a:pt x="206569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79" name="Forma livre: Forma 378">
              <a:extLst>
                <a:ext uri="{FF2B5EF4-FFF2-40B4-BE49-F238E27FC236}">
                  <a16:creationId xmlns:a16="http://schemas.microsoft.com/office/drawing/2014/main" id="{3B64C756-49BD-5CF1-A966-E302E39C6E46}"/>
                </a:ext>
              </a:extLst>
            </p:cNvPr>
            <p:cNvSpPr/>
            <p:nvPr/>
          </p:nvSpPr>
          <p:spPr>
            <a:xfrm>
              <a:off x="5793823" y="2081429"/>
              <a:ext cx="62590" cy="62590"/>
            </a:xfrm>
            <a:custGeom>
              <a:avLst/>
              <a:gdLst>
                <a:gd name="connsiteX0" fmla="*/ 62591 w 62590"/>
                <a:gd name="connsiteY0" fmla="*/ 31295 h 62590"/>
                <a:gd name="connsiteX1" fmla="*/ 31295 w 62590"/>
                <a:gd name="connsiteY1" fmla="*/ 62591 h 62590"/>
                <a:gd name="connsiteX2" fmla="*/ 0 w 62590"/>
                <a:gd name="connsiteY2" fmla="*/ 31295 h 62590"/>
                <a:gd name="connsiteX3" fmla="*/ 31295 w 62590"/>
                <a:gd name="connsiteY3" fmla="*/ 0 h 62590"/>
                <a:gd name="connsiteX4" fmla="*/ 62591 w 62590"/>
                <a:gd name="connsiteY4" fmla="*/ 31295 h 625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2590" h="62590">
                  <a:moveTo>
                    <a:pt x="62591" y="31295"/>
                  </a:moveTo>
                  <a:cubicBezTo>
                    <a:pt x="62591" y="48567"/>
                    <a:pt x="48567" y="62591"/>
                    <a:pt x="31295" y="62591"/>
                  </a:cubicBezTo>
                  <a:cubicBezTo>
                    <a:pt x="14024" y="62591"/>
                    <a:pt x="0" y="48567"/>
                    <a:pt x="0" y="31295"/>
                  </a:cubicBezTo>
                  <a:cubicBezTo>
                    <a:pt x="0" y="14024"/>
                    <a:pt x="14024" y="0"/>
                    <a:pt x="31295" y="0"/>
                  </a:cubicBezTo>
                  <a:cubicBezTo>
                    <a:pt x="48567" y="0"/>
                    <a:pt x="62591" y="14024"/>
                    <a:pt x="62591" y="31295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80" name="Forma livre: Forma 379">
              <a:extLst>
                <a:ext uri="{FF2B5EF4-FFF2-40B4-BE49-F238E27FC236}">
                  <a16:creationId xmlns:a16="http://schemas.microsoft.com/office/drawing/2014/main" id="{29A30790-09B7-B571-D224-73B740F51BDB}"/>
                </a:ext>
              </a:extLst>
            </p:cNvPr>
            <p:cNvSpPr/>
            <p:nvPr/>
          </p:nvSpPr>
          <p:spPr>
            <a:xfrm>
              <a:off x="5775321" y="2172805"/>
              <a:ext cx="99495" cy="196628"/>
            </a:xfrm>
            <a:custGeom>
              <a:avLst/>
              <a:gdLst>
                <a:gd name="connsiteX0" fmla="*/ 75040 w 99495"/>
                <a:gd name="connsiteY0" fmla="*/ 196580 h 196628"/>
                <a:gd name="connsiteX1" fmla="*/ 74941 w 99495"/>
                <a:gd name="connsiteY1" fmla="*/ 116718 h 196628"/>
                <a:gd name="connsiteX2" fmla="*/ 99495 w 99495"/>
                <a:gd name="connsiteY2" fmla="*/ 92114 h 196628"/>
                <a:gd name="connsiteX3" fmla="*/ 99397 w 99495"/>
                <a:gd name="connsiteY3" fmla="*/ 24554 h 196628"/>
                <a:gd name="connsiteX4" fmla="*/ 74794 w 99495"/>
                <a:gd name="connsiteY4" fmla="*/ 0 h 196628"/>
                <a:gd name="connsiteX5" fmla="*/ 24554 w 99495"/>
                <a:gd name="connsiteY5" fmla="*/ 0 h 196628"/>
                <a:gd name="connsiteX6" fmla="*/ 0 w 99495"/>
                <a:gd name="connsiteY6" fmla="*/ 24652 h 196628"/>
                <a:gd name="connsiteX7" fmla="*/ 99 w 99495"/>
                <a:gd name="connsiteY7" fmla="*/ 92213 h 196628"/>
                <a:gd name="connsiteX8" fmla="*/ 24702 w 99495"/>
                <a:gd name="connsiteY8" fmla="*/ 116767 h 196628"/>
                <a:gd name="connsiteX9" fmla="*/ 24800 w 99495"/>
                <a:gd name="connsiteY9" fmla="*/ 196629 h 1966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99495" h="196628">
                  <a:moveTo>
                    <a:pt x="75040" y="196580"/>
                  </a:moveTo>
                  <a:lnTo>
                    <a:pt x="74941" y="116718"/>
                  </a:lnTo>
                  <a:cubicBezTo>
                    <a:pt x="88473" y="116718"/>
                    <a:pt x="99495" y="105646"/>
                    <a:pt x="99495" y="92114"/>
                  </a:cubicBezTo>
                  <a:lnTo>
                    <a:pt x="99397" y="24554"/>
                  </a:lnTo>
                  <a:cubicBezTo>
                    <a:pt x="99397" y="11022"/>
                    <a:pt x="88326" y="0"/>
                    <a:pt x="74794" y="0"/>
                  </a:cubicBezTo>
                  <a:lnTo>
                    <a:pt x="24554" y="0"/>
                  </a:lnTo>
                  <a:cubicBezTo>
                    <a:pt x="11022" y="98"/>
                    <a:pt x="0" y="11170"/>
                    <a:pt x="0" y="24652"/>
                  </a:cubicBezTo>
                  <a:lnTo>
                    <a:pt x="99" y="92213"/>
                  </a:lnTo>
                  <a:cubicBezTo>
                    <a:pt x="99" y="105745"/>
                    <a:pt x="11170" y="116767"/>
                    <a:pt x="24702" y="116767"/>
                  </a:cubicBezTo>
                  <a:lnTo>
                    <a:pt x="24800" y="196629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381" name="Gráfico 7">
            <a:extLst>
              <a:ext uri="{FF2B5EF4-FFF2-40B4-BE49-F238E27FC236}">
                <a16:creationId xmlns:a16="http://schemas.microsoft.com/office/drawing/2014/main" id="{78DF86E9-9342-C42B-27BE-CD565E939343}"/>
              </a:ext>
            </a:extLst>
          </p:cNvPr>
          <p:cNvGrpSpPr/>
          <p:nvPr/>
        </p:nvGrpSpPr>
        <p:grpSpPr>
          <a:xfrm>
            <a:off x="5785064" y="1529431"/>
            <a:ext cx="293172" cy="302521"/>
            <a:chOff x="5785064" y="1529431"/>
            <a:chExt cx="293172" cy="302521"/>
          </a:xfrm>
          <a:noFill/>
        </p:grpSpPr>
        <p:sp>
          <p:nvSpPr>
            <p:cNvPr id="382" name="Forma livre: Forma 381">
              <a:extLst>
                <a:ext uri="{FF2B5EF4-FFF2-40B4-BE49-F238E27FC236}">
                  <a16:creationId xmlns:a16="http://schemas.microsoft.com/office/drawing/2014/main" id="{AF035998-9D59-D78A-B03C-5997B6D7469E}"/>
                </a:ext>
              </a:extLst>
            </p:cNvPr>
            <p:cNvSpPr/>
            <p:nvPr/>
          </p:nvSpPr>
          <p:spPr>
            <a:xfrm>
              <a:off x="5904045" y="1529431"/>
              <a:ext cx="53290" cy="53241"/>
            </a:xfrm>
            <a:custGeom>
              <a:avLst/>
              <a:gdLst>
                <a:gd name="connsiteX0" fmla="*/ 53291 w 53290"/>
                <a:gd name="connsiteY0" fmla="*/ 26621 h 53241"/>
                <a:gd name="connsiteX1" fmla="*/ 26621 w 53290"/>
                <a:gd name="connsiteY1" fmla="*/ 53241 h 53241"/>
                <a:gd name="connsiteX2" fmla="*/ 0 w 53290"/>
                <a:gd name="connsiteY2" fmla="*/ 26621 h 53241"/>
                <a:gd name="connsiteX3" fmla="*/ 26621 w 53290"/>
                <a:gd name="connsiteY3" fmla="*/ 0 h 53241"/>
                <a:gd name="connsiteX4" fmla="*/ 53291 w 53290"/>
                <a:gd name="connsiteY4" fmla="*/ 26621 h 532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3290" h="53241">
                  <a:moveTo>
                    <a:pt x="53291" y="26621"/>
                  </a:moveTo>
                  <a:cubicBezTo>
                    <a:pt x="53291" y="41333"/>
                    <a:pt x="41383" y="53241"/>
                    <a:pt x="26621" y="53241"/>
                  </a:cubicBezTo>
                  <a:cubicBezTo>
                    <a:pt x="11859" y="53241"/>
                    <a:pt x="0" y="41333"/>
                    <a:pt x="0" y="26621"/>
                  </a:cubicBezTo>
                  <a:cubicBezTo>
                    <a:pt x="0" y="11908"/>
                    <a:pt x="11908" y="0"/>
                    <a:pt x="26621" y="0"/>
                  </a:cubicBezTo>
                  <a:cubicBezTo>
                    <a:pt x="41334" y="0"/>
                    <a:pt x="53291" y="11908"/>
                    <a:pt x="53291" y="26621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83" name="Forma livre: Forma 382">
              <a:extLst>
                <a:ext uri="{FF2B5EF4-FFF2-40B4-BE49-F238E27FC236}">
                  <a16:creationId xmlns:a16="http://schemas.microsoft.com/office/drawing/2014/main" id="{4DD216E7-D1FD-6C5E-CF91-0893528CA195}"/>
                </a:ext>
              </a:extLst>
            </p:cNvPr>
            <p:cNvSpPr/>
            <p:nvPr/>
          </p:nvSpPr>
          <p:spPr>
            <a:xfrm>
              <a:off x="5878605" y="1615296"/>
              <a:ext cx="106089" cy="45122"/>
            </a:xfrm>
            <a:custGeom>
              <a:avLst/>
              <a:gdLst>
                <a:gd name="connsiteX0" fmla="*/ 106089 w 106089"/>
                <a:gd name="connsiteY0" fmla="*/ 44975 h 45122"/>
                <a:gd name="connsiteX1" fmla="*/ 106089 w 106089"/>
                <a:gd name="connsiteY1" fmla="*/ 20913 h 45122"/>
                <a:gd name="connsiteX2" fmla="*/ 85127 w 106089"/>
                <a:gd name="connsiteY2" fmla="*/ 0 h 45122"/>
                <a:gd name="connsiteX3" fmla="*/ 20913 w 106089"/>
                <a:gd name="connsiteY3" fmla="*/ 0 h 45122"/>
                <a:gd name="connsiteX4" fmla="*/ 0 w 106089"/>
                <a:gd name="connsiteY4" fmla="*/ 21011 h 45122"/>
                <a:gd name="connsiteX5" fmla="*/ 0 w 106089"/>
                <a:gd name="connsiteY5" fmla="*/ 45122 h 451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06089" h="45122">
                  <a:moveTo>
                    <a:pt x="106089" y="44975"/>
                  </a:moveTo>
                  <a:lnTo>
                    <a:pt x="106089" y="20913"/>
                  </a:lnTo>
                  <a:cubicBezTo>
                    <a:pt x="106089" y="9398"/>
                    <a:pt x="96641" y="0"/>
                    <a:pt x="85127" y="0"/>
                  </a:cubicBezTo>
                  <a:lnTo>
                    <a:pt x="20913" y="0"/>
                  </a:lnTo>
                  <a:cubicBezTo>
                    <a:pt x="9398" y="0"/>
                    <a:pt x="0" y="9497"/>
                    <a:pt x="0" y="21011"/>
                  </a:cubicBezTo>
                  <a:lnTo>
                    <a:pt x="0" y="45122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384" name="Gráfico 7">
              <a:extLst>
                <a:ext uri="{FF2B5EF4-FFF2-40B4-BE49-F238E27FC236}">
                  <a16:creationId xmlns:a16="http://schemas.microsoft.com/office/drawing/2014/main" id="{B1496BE9-47EF-2F54-BBB2-CB1287DFAE66}"/>
                </a:ext>
              </a:extLst>
            </p:cNvPr>
            <p:cNvGrpSpPr/>
            <p:nvPr/>
          </p:nvGrpSpPr>
          <p:grpSpPr>
            <a:xfrm>
              <a:off x="5972147" y="1701014"/>
              <a:ext cx="106089" cy="130938"/>
              <a:chOff x="5972147" y="1701014"/>
              <a:chExt cx="106089" cy="130938"/>
            </a:xfrm>
            <a:noFill/>
          </p:grpSpPr>
          <p:sp>
            <p:nvSpPr>
              <p:cNvPr id="385" name="Forma livre: Forma 384">
                <a:extLst>
                  <a:ext uri="{FF2B5EF4-FFF2-40B4-BE49-F238E27FC236}">
                    <a16:creationId xmlns:a16="http://schemas.microsoft.com/office/drawing/2014/main" id="{103B5AD4-03DA-E776-73CC-7D424375E8F4}"/>
                  </a:ext>
                </a:extLst>
              </p:cNvPr>
              <p:cNvSpPr/>
              <p:nvPr/>
            </p:nvSpPr>
            <p:spPr>
              <a:xfrm>
                <a:off x="5997636" y="1701014"/>
                <a:ext cx="53241" cy="53290"/>
              </a:xfrm>
              <a:custGeom>
                <a:avLst/>
                <a:gdLst>
                  <a:gd name="connsiteX0" fmla="*/ 53241 w 53241"/>
                  <a:gd name="connsiteY0" fmla="*/ 26621 h 53290"/>
                  <a:gd name="connsiteX1" fmla="*/ 26621 w 53241"/>
                  <a:gd name="connsiteY1" fmla="*/ 53291 h 53290"/>
                  <a:gd name="connsiteX2" fmla="*/ 0 w 53241"/>
                  <a:gd name="connsiteY2" fmla="*/ 26621 h 53290"/>
                  <a:gd name="connsiteX3" fmla="*/ 26621 w 53241"/>
                  <a:gd name="connsiteY3" fmla="*/ 0 h 53290"/>
                  <a:gd name="connsiteX4" fmla="*/ 53241 w 53241"/>
                  <a:gd name="connsiteY4" fmla="*/ 26621 h 532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3241" h="53290">
                    <a:moveTo>
                      <a:pt x="53241" y="26621"/>
                    </a:moveTo>
                    <a:cubicBezTo>
                      <a:pt x="53241" y="41333"/>
                      <a:pt x="41333" y="53291"/>
                      <a:pt x="26621" y="53291"/>
                    </a:cubicBezTo>
                    <a:cubicBezTo>
                      <a:pt x="11908" y="53291"/>
                      <a:pt x="0" y="41383"/>
                      <a:pt x="0" y="26621"/>
                    </a:cubicBezTo>
                    <a:cubicBezTo>
                      <a:pt x="0" y="11859"/>
                      <a:pt x="11908" y="0"/>
                      <a:pt x="26621" y="0"/>
                    </a:cubicBezTo>
                    <a:cubicBezTo>
                      <a:pt x="41333" y="0"/>
                      <a:pt x="53241" y="11908"/>
                      <a:pt x="53241" y="26621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86" name="Forma livre: Forma 385">
                <a:extLst>
                  <a:ext uri="{FF2B5EF4-FFF2-40B4-BE49-F238E27FC236}">
                    <a16:creationId xmlns:a16="http://schemas.microsoft.com/office/drawing/2014/main" id="{E059FAE5-2B18-06DD-CBFC-A85062DB9523}"/>
                  </a:ext>
                </a:extLst>
              </p:cNvPr>
              <p:cNvSpPr/>
              <p:nvPr/>
            </p:nvSpPr>
            <p:spPr>
              <a:xfrm>
                <a:off x="5972147" y="1786830"/>
                <a:ext cx="106089" cy="45122"/>
              </a:xfrm>
              <a:custGeom>
                <a:avLst/>
                <a:gdLst>
                  <a:gd name="connsiteX0" fmla="*/ 106089 w 106089"/>
                  <a:gd name="connsiteY0" fmla="*/ 44975 h 45122"/>
                  <a:gd name="connsiteX1" fmla="*/ 106089 w 106089"/>
                  <a:gd name="connsiteY1" fmla="*/ 20913 h 45122"/>
                  <a:gd name="connsiteX2" fmla="*/ 85127 w 106089"/>
                  <a:gd name="connsiteY2" fmla="*/ 0 h 45122"/>
                  <a:gd name="connsiteX3" fmla="*/ 20913 w 106089"/>
                  <a:gd name="connsiteY3" fmla="*/ 0 h 45122"/>
                  <a:gd name="connsiteX4" fmla="*/ 0 w 106089"/>
                  <a:gd name="connsiteY4" fmla="*/ 21011 h 45122"/>
                  <a:gd name="connsiteX5" fmla="*/ 0 w 106089"/>
                  <a:gd name="connsiteY5" fmla="*/ 45122 h 451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06089" h="45122">
                    <a:moveTo>
                      <a:pt x="106089" y="44975"/>
                    </a:moveTo>
                    <a:lnTo>
                      <a:pt x="106089" y="20913"/>
                    </a:lnTo>
                    <a:cubicBezTo>
                      <a:pt x="106089" y="9398"/>
                      <a:pt x="96642" y="0"/>
                      <a:pt x="85127" y="0"/>
                    </a:cubicBezTo>
                    <a:lnTo>
                      <a:pt x="20913" y="0"/>
                    </a:lnTo>
                    <a:cubicBezTo>
                      <a:pt x="9398" y="0"/>
                      <a:pt x="0" y="9497"/>
                      <a:pt x="0" y="21011"/>
                    </a:cubicBezTo>
                    <a:lnTo>
                      <a:pt x="0" y="45122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387" name="Gráfico 7">
              <a:extLst>
                <a:ext uri="{FF2B5EF4-FFF2-40B4-BE49-F238E27FC236}">
                  <a16:creationId xmlns:a16="http://schemas.microsoft.com/office/drawing/2014/main" id="{0A0B8281-1319-0CCB-5E34-EFDABA5261BC}"/>
                </a:ext>
              </a:extLst>
            </p:cNvPr>
            <p:cNvGrpSpPr/>
            <p:nvPr/>
          </p:nvGrpSpPr>
          <p:grpSpPr>
            <a:xfrm>
              <a:off x="5785064" y="1701014"/>
              <a:ext cx="106089" cy="130938"/>
              <a:chOff x="5785064" y="1701014"/>
              <a:chExt cx="106089" cy="130938"/>
            </a:xfrm>
            <a:noFill/>
          </p:grpSpPr>
          <p:sp>
            <p:nvSpPr>
              <p:cNvPr id="388" name="Forma livre: Forma 387">
                <a:extLst>
                  <a:ext uri="{FF2B5EF4-FFF2-40B4-BE49-F238E27FC236}">
                    <a16:creationId xmlns:a16="http://schemas.microsoft.com/office/drawing/2014/main" id="{53F7A919-8527-0106-B182-2E5FBB707F79}"/>
                  </a:ext>
                </a:extLst>
              </p:cNvPr>
              <p:cNvSpPr/>
              <p:nvPr/>
            </p:nvSpPr>
            <p:spPr>
              <a:xfrm>
                <a:off x="5810504" y="1701014"/>
                <a:ext cx="53290" cy="53290"/>
              </a:xfrm>
              <a:custGeom>
                <a:avLst/>
                <a:gdLst>
                  <a:gd name="connsiteX0" fmla="*/ 53291 w 53290"/>
                  <a:gd name="connsiteY0" fmla="*/ 26621 h 53290"/>
                  <a:gd name="connsiteX1" fmla="*/ 26621 w 53290"/>
                  <a:gd name="connsiteY1" fmla="*/ 53291 h 53290"/>
                  <a:gd name="connsiteX2" fmla="*/ 0 w 53290"/>
                  <a:gd name="connsiteY2" fmla="*/ 26621 h 53290"/>
                  <a:gd name="connsiteX3" fmla="*/ 26621 w 53290"/>
                  <a:gd name="connsiteY3" fmla="*/ 0 h 53290"/>
                  <a:gd name="connsiteX4" fmla="*/ 53291 w 53290"/>
                  <a:gd name="connsiteY4" fmla="*/ 26621 h 532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3290" h="53290">
                    <a:moveTo>
                      <a:pt x="53291" y="26621"/>
                    </a:moveTo>
                    <a:cubicBezTo>
                      <a:pt x="53291" y="41333"/>
                      <a:pt x="41383" y="53291"/>
                      <a:pt x="26621" y="53291"/>
                    </a:cubicBezTo>
                    <a:cubicBezTo>
                      <a:pt x="11859" y="53291"/>
                      <a:pt x="0" y="41383"/>
                      <a:pt x="0" y="26621"/>
                    </a:cubicBezTo>
                    <a:cubicBezTo>
                      <a:pt x="0" y="11859"/>
                      <a:pt x="11908" y="0"/>
                      <a:pt x="26621" y="0"/>
                    </a:cubicBezTo>
                    <a:cubicBezTo>
                      <a:pt x="41333" y="0"/>
                      <a:pt x="53291" y="11908"/>
                      <a:pt x="53291" y="26621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89" name="Forma livre: Forma 388">
                <a:extLst>
                  <a:ext uri="{FF2B5EF4-FFF2-40B4-BE49-F238E27FC236}">
                    <a16:creationId xmlns:a16="http://schemas.microsoft.com/office/drawing/2014/main" id="{38802F1E-E2C9-128E-0856-31808443978D}"/>
                  </a:ext>
                </a:extLst>
              </p:cNvPr>
              <p:cNvSpPr/>
              <p:nvPr/>
            </p:nvSpPr>
            <p:spPr>
              <a:xfrm>
                <a:off x="5785064" y="1786830"/>
                <a:ext cx="106089" cy="45122"/>
              </a:xfrm>
              <a:custGeom>
                <a:avLst/>
                <a:gdLst>
                  <a:gd name="connsiteX0" fmla="*/ 106089 w 106089"/>
                  <a:gd name="connsiteY0" fmla="*/ 44975 h 45122"/>
                  <a:gd name="connsiteX1" fmla="*/ 106089 w 106089"/>
                  <a:gd name="connsiteY1" fmla="*/ 20913 h 45122"/>
                  <a:gd name="connsiteX2" fmla="*/ 85127 w 106089"/>
                  <a:gd name="connsiteY2" fmla="*/ 0 h 45122"/>
                  <a:gd name="connsiteX3" fmla="*/ 20913 w 106089"/>
                  <a:gd name="connsiteY3" fmla="*/ 0 h 45122"/>
                  <a:gd name="connsiteX4" fmla="*/ 0 w 106089"/>
                  <a:gd name="connsiteY4" fmla="*/ 21011 h 45122"/>
                  <a:gd name="connsiteX5" fmla="*/ 0 w 106089"/>
                  <a:gd name="connsiteY5" fmla="*/ 45122 h 451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06089" h="45122">
                    <a:moveTo>
                      <a:pt x="106089" y="44975"/>
                    </a:moveTo>
                    <a:lnTo>
                      <a:pt x="106089" y="20913"/>
                    </a:lnTo>
                    <a:cubicBezTo>
                      <a:pt x="106089" y="9398"/>
                      <a:pt x="96642" y="0"/>
                      <a:pt x="85127" y="0"/>
                    </a:cubicBezTo>
                    <a:lnTo>
                      <a:pt x="20913" y="0"/>
                    </a:lnTo>
                    <a:cubicBezTo>
                      <a:pt x="9398" y="0"/>
                      <a:pt x="0" y="9497"/>
                      <a:pt x="0" y="21011"/>
                    </a:cubicBezTo>
                    <a:lnTo>
                      <a:pt x="0" y="45122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390" name="Forma livre: Forma 389">
              <a:extLst>
                <a:ext uri="{FF2B5EF4-FFF2-40B4-BE49-F238E27FC236}">
                  <a16:creationId xmlns:a16="http://schemas.microsoft.com/office/drawing/2014/main" id="{7A35E3A6-8BD1-0046-F5D9-300C36179F1C}"/>
                </a:ext>
              </a:extLst>
            </p:cNvPr>
            <p:cNvSpPr/>
            <p:nvPr/>
          </p:nvSpPr>
          <p:spPr>
            <a:xfrm>
              <a:off x="5931748" y="1666914"/>
              <a:ext cx="4920" cy="37544"/>
            </a:xfrm>
            <a:custGeom>
              <a:avLst/>
              <a:gdLst>
                <a:gd name="connsiteX0" fmla="*/ 0 w 4920"/>
                <a:gd name="connsiteY0" fmla="*/ 0 h 37544"/>
                <a:gd name="connsiteX1" fmla="*/ 0 w 4920"/>
                <a:gd name="connsiteY1" fmla="*/ 37544 h 375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920" h="37544">
                  <a:moveTo>
                    <a:pt x="0" y="0"/>
                  </a:moveTo>
                  <a:lnTo>
                    <a:pt x="0" y="37544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91" name="Forma livre: Forma 390">
              <a:extLst>
                <a:ext uri="{FF2B5EF4-FFF2-40B4-BE49-F238E27FC236}">
                  <a16:creationId xmlns:a16="http://schemas.microsoft.com/office/drawing/2014/main" id="{70069CF7-C402-8525-ABFE-308A797EBCB3}"/>
                </a:ext>
              </a:extLst>
            </p:cNvPr>
            <p:cNvSpPr/>
            <p:nvPr/>
          </p:nvSpPr>
          <p:spPr>
            <a:xfrm>
              <a:off x="5901142" y="1704458"/>
              <a:ext cx="30458" cy="21896"/>
            </a:xfrm>
            <a:custGeom>
              <a:avLst/>
              <a:gdLst>
                <a:gd name="connsiteX0" fmla="*/ 0 w 30458"/>
                <a:gd name="connsiteY0" fmla="*/ 21897 h 21896"/>
                <a:gd name="connsiteX1" fmla="*/ 30459 w 30458"/>
                <a:gd name="connsiteY1" fmla="*/ 0 h 218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0458" h="21896">
                  <a:moveTo>
                    <a:pt x="0" y="21897"/>
                  </a:moveTo>
                  <a:lnTo>
                    <a:pt x="30459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92" name="Forma livre: Forma 391">
              <a:extLst>
                <a:ext uri="{FF2B5EF4-FFF2-40B4-BE49-F238E27FC236}">
                  <a16:creationId xmlns:a16="http://schemas.microsoft.com/office/drawing/2014/main" id="{161AA973-52E2-2C10-B2E2-E78BF73DF239}"/>
                </a:ext>
              </a:extLst>
            </p:cNvPr>
            <p:cNvSpPr/>
            <p:nvPr/>
          </p:nvSpPr>
          <p:spPr>
            <a:xfrm>
              <a:off x="5931699" y="1704458"/>
              <a:ext cx="30458" cy="21896"/>
            </a:xfrm>
            <a:custGeom>
              <a:avLst/>
              <a:gdLst>
                <a:gd name="connsiteX0" fmla="*/ 30459 w 30458"/>
                <a:gd name="connsiteY0" fmla="*/ 21897 h 21896"/>
                <a:gd name="connsiteX1" fmla="*/ 0 w 30458"/>
                <a:gd name="connsiteY1" fmla="*/ 0 h 218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0458" h="21896">
                  <a:moveTo>
                    <a:pt x="30459" y="21897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393" name="Gráfico 7">
            <a:extLst>
              <a:ext uri="{FF2B5EF4-FFF2-40B4-BE49-F238E27FC236}">
                <a16:creationId xmlns:a16="http://schemas.microsoft.com/office/drawing/2014/main" id="{E635ACD1-9F7E-2EFE-88B7-D4F5EEFAAF57}"/>
              </a:ext>
            </a:extLst>
          </p:cNvPr>
          <p:cNvGrpSpPr/>
          <p:nvPr/>
        </p:nvGrpSpPr>
        <p:grpSpPr>
          <a:xfrm>
            <a:off x="5781301" y="2638323"/>
            <a:ext cx="300669" cy="263672"/>
            <a:chOff x="5781301" y="2638323"/>
            <a:chExt cx="300669" cy="263672"/>
          </a:xfrm>
          <a:noFill/>
        </p:grpSpPr>
        <p:grpSp>
          <p:nvGrpSpPr>
            <p:cNvPr id="394" name="Gráfico 7">
              <a:extLst>
                <a:ext uri="{FF2B5EF4-FFF2-40B4-BE49-F238E27FC236}">
                  <a16:creationId xmlns:a16="http://schemas.microsoft.com/office/drawing/2014/main" id="{2469E371-79B2-8145-C4A4-1C2BB1D301F0}"/>
                </a:ext>
              </a:extLst>
            </p:cNvPr>
            <p:cNvGrpSpPr/>
            <p:nvPr/>
          </p:nvGrpSpPr>
          <p:grpSpPr>
            <a:xfrm>
              <a:off x="5819459" y="2821887"/>
              <a:ext cx="224381" cy="4920"/>
              <a:chOff x="5819459" y="2821887"/>
              <a:chExt cx="224381" cy="4920"/>
            </a:xfrm>
          </p:grpSpPr>
          <p:sp>
            <p:nvSpPr>
              <p:cNvPr id="395" name="Forma livre: Forma 394">
                <a:extLst>
                  <a:ext uri="{FF2B5EF4-FFF2-40B4-BE49-F238E27FC236}">
                    <a16:creationId xmlns:a16="http://schemas.microsoft.com/office/drawing/2014/main" id="{65017276-A57B-4E74-DD98-4E325556E7B7}"/>
                  </a:ext>
                </a:extLst>
              </p:cNvPr>
              <p:cNvSpPr/>
              <p:nvPr/>
            </p:nvSpPr>
            <p:spPr>
              <a:xfrm>
                <a:off x="5819459" y="2821887"/>
                <a:ext cx="86898" cy="4920"/>
              </a:xfrm>
              <a:custGeom>
                <a:avLst/>
                <a:gdLst>
                  <a:gd name="connsiteX0" fmla="*/ 0 w 86898"/>
                  <a:gd name="connsiteY0" fmla="*/ 0 h 4920"/>
                  <a:gd name="connsiteX1" fmla="*/ 86899 w 86898"/>
                  <a:gd name="connsiteY1" fmla="*/ 0 h 49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86898" h="4920">
                    <a:moveTo>
                      <a:pt x="0" y="0"/>
                    </a:moveTo>
                    <a:lnTo>
                      <a:pt x="86899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96" name="Forma livre: Forma 395">
                <a:extLst>
                  <a:ext uri="{FF2B5EF4-FFF2-40B4-BE49-F238E27FC236}">
                    <a16:creationId xmlns:a16="http://schemas.microsoft.com/office/drawing/2014/main" id="{3683629B-10E7-19F0-AB97-309322CC1FCF}"/>
                  </a:ext>
                </a:extLst>
              </p:cNvPr>
              <p:cNvSpPr/>
              <p:nvPr/>
            </p:nvSpPr>
            <p:spPr>
              <a:xfrm>
                <a:off x="5956942" y="2821887"/>
                <a:ext cx="86898" cy="4920"/>
              </a:xfrm>
              <a:custGeom>
                <a:avLst/>
                <a:gdLst>
                  <a:gd name="connsiteX0" fmla="*/ 86899 w 86898"/>
                  <a:gd name="connsiteY0" fmla="*/ 0 h 4920"/>
                  <a:gd name="connsiteX1" fmla="*/ 0 w 86898"/>
                  <a:gd name="connsiteY1" fmla="*/ 0 h 49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86898" h="4920">
                    <a:moveTo>
                      <a:pt x="86899" y="0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397" name="Forma livre: Forma 396">
              <a:extLst>
                <a:ext uri="{FF2B5EF4-FFF2-40B4-BE49-F238E27FC236}">
                  <a16:creationId xmlns:a16="http://schemas.microsoft.com/office/drawing/2014/main" id="{F71498BC-D9AA-B450-1117-FFD685CBF94E}"/>
                </a:ext>
              </a:extLst>
            </p:cNvPr>
            <p:cNvSpPr/>
            <p:nvPr/>
          </p:nvSpPr>
          <p:spPr>
            <a:xfrm>
              <a:off x="5931650" y="2765152"/>
              <a:ext cx="4920" cy="134874"/>
            </a:xfrm>
            <a:custGeom>
              <a:avLst/>
              <a:gdLst>
                <a:gd name="connsiteX0" fmla="*/ 0 w 4920"/>
                <a:gd name="connsiteY0" fmla="*/ 0 h 134874"/>
                <a:gd name="connsiteX1" fmla="*/ 0 w 4920"/>
                <a:gd name="connsiteY1" fmla="*/ 134875 h 1348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920" h="134874">
                  <a:moveTo>
                    <a:pt x="0" y="0"/>
                  </a:moveTo>
                  <a:lnTo>
                    <a:pt x="0" y="134875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98" name="Forma livre: Forma 397">
              <a:extLst>
                <a:ext uri="{FF2B5EF4-FFF2-40B4-BE49-F238E27FC236}">
                  <a16:creationId xmlns:a16="http://schemas.microsoft.com/office/drawing/2014/main" id="{A3DDABBF-42DF-CEBB-5C97-C17AB6D3BAC5}"/>
                </a:ext>
              </a:extLst>
            </p:cNvPr>
            <p:cNvSpPr/>
            <p:nvPr/>
          </p:nvSpPr>
          <p:spPr>
            <a:xfrm>
              <a:off x="5781301" y="2638323"/>
              <a:ext cx="300669" cy="263672"/>
            </a:xfrm>
            <a:custGeom>
              <a:avLst/>
              <a:gdLst>
                <a:gd name="connsiteX0" fmla="*/ 15178 w 300669"/>
                <a:gd name="connsiteY0" fmla="*/ 263673 h 263672"/>
                <a:gd name="connsiteX1" fmla="*/ 2877 w 300669"/>
                <a:gd name="connsiteY1" fmla="*/ 242366 h 263672"/>
                <a:gd name="connsiteX2" fmla="*/ 138096 w 300669"/>
                <a:gd name="connsiteY2" fmla="*/ 8783 h 263672"/>
                <a:gd name="connsiteX3" fmla="*/ 162749 w 300669"/>
                <a:gd name="connsiteY3" fmla="*/ 8783 h 263672"/>
                <a:gd name="connsiteX4" fmla="*/ 297771 w 300669"/>
                <a:gd name="connsiteY4" fmla="*/ 242366 h 263672"/>
                <a:gd name="connsiteX5" fmla="*/ 285469 w 300669"/>
                <a:gd name="connsiteY5" fmla="*/ 263673 h 263672"/>
                <a:gd name="connsiteX6" fmla="*/ 15178 w 300669"/>
                <a:gd name="connsiteY6" fmla="*/ 263673 h 2636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00669" h="263672">
                  <a:moveTo>
                    <a:pt x="15178" y="263673"/>
                  </a:moveTo>
                  <a:cubicBezTo>
                    <a:pt x="1647" y="263673"/>
                    <a:pt x="-3864" y="254077"/>
                    <a:pt x="2877" y="242366"/>
                  </a:cubicBezTo>
                  <a:lnTo>
                    <a:pt x="138096" y="8783"/>
                  </a:lnTo>
                  <a:cubicBezTo>
                    <a:pt x="144887" y="-2928"/>
                    <a:pt x="155958" y="-2928"/>
                    <a:pt x="162749" y="8783"/>
                  </a:cubicBezTo>
                  <a:lnTo>
                    <a:pt x="297771" y="242366"/>
                  </a:lnTo>
                  <a:cubicBezTo>
                    <a:pt x="304562" y="254077"/>
                    <a:pt x="299001" y="263673"/>
                    <a:pt x="285469" y="263673"/>
                  </a:cubicBezTo>
                  <a:lnTo>
                    <a:pt x="15178" y="263673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99" name="Forma livre: Forma 398">
              <a:extLst>
                <a:ext uri="{FF2B5EF4-FFF2-40B4-BE49-F238E27FC236}">
                  <a16:creationId xmlns:a16="http://schemas.microsoft.com/office/drawing/2014/main" id="{6DF009E7-9DE9-7EE2-4666-A5657DD678A2}"/>
                </a:ext>
              </a:extLst>
            </p:cNvPr>
            <p:cNvSpPr/>
            <p:nvPr/>
          </p:nvSpPr>
          <p:spPr>
            <a:xfrm>
              <a:off x="5870339" y="2734300"/>
              <a:ext cx="122622" cy="4920"/>
            </a:xfrm>
            <a:custGeom>
              <a:avLst/>
              <a:gdLst>
                <a:gd name="connsiteX0" fmla="*/ 0 w 122622"/>
                <a:gd name="connsiteY0" fmla="*/ 0 h 4920"/>
                <a:gd name="connsiteX1" fmla="*/ 122622 w 122622"/>
                <a:gd name="connsiteY1" fmla="*/ 0 h 49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2622" h="4920">
                  <a:moveTo>
                    <a:pt x="0" y="0"/>
                  </a:moveTo>
                  <a:lnTo>
                    <a:pt x="122622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400" name="Gráfico 7">
              <a:extLst>
                <a:ext uri="{FF2B5EF4-FFF2-40B4-BE49-F238E27FC236}">
                  <a16:creationId xmlns:a16="http://schemas.microsoft.com/office/drawing/2014/main" id="{569321A8-A63F-9DAF-9D27-DDEEA39DB068}"/>
                </a:ext>
              </a:extLst>
            </p:cNvPr>
            <p:cNvGrpSpPr/>
            <p:nvPr/>
          </p:nvGrpSpPr>
          <p:grpSpPr>
            <a:xfrm>
              <a:off x="5903258" y="2765005"/>
              <a:ext cx="56784" cy="28342"/>
              <a:chOff x="5903258" y="2765005"/>
              <a:chExt cx="56784" cy="28342"/>
            </a:xfrm>
          </p:grpSpPr>
          <p:sp>
            <p:nvSpPr>
              <p:cNvPr id="401" name="Forma livre: Forma 400">
                <a:extLst>
                  <a:ext uri="{FF2B5EF4-FFF2-40B4-BE49-F238E27FC236}">
                    <a16:creationId xmlns:a16="http://schemas.microsoft.com/office/drawing/2014/main" id="{164FB3F9-3C90-E3B1-ED80-DAC47DB62571}"/>
                  </a:ext>
                </a:extLst>
              </p:cNvPr>
              <p:cNvSpPr/>
              <p:nvPr/>
            </p:nvSpPr>
            <p:spPr>
              <a:xfrm>
                <a:off x="5903258" y="2765005"/>
                <a:ext cx="28293" cy="28342"/>
              </a:xfrm>
              <a:custGeom>
                <a:avLst/>
                <a:gdLst>
                  <a:gd name="connsiteX0" fmla="*/ 28294 w 28293"/>
                  <a:gd name="connsiteY0" fmla="*/ 0 h 28342"/>
                  <a:gd name="connsiteX1" fmla="*/ 0 w 28293"/>
                  <a:gd name="connsiteY1" fmla="*/ 28343 h 283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8293" h="28342">
                    <a:moveTo>
                      <a:pt x="28294" y="0"/>
                    </a:moveTo>
                    <a:lnTo>
                      <a:pt x="0" y="28343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02" name="Forma livre: Forma 401">
                <a:extLst>
                  <a:ext uri="{FF2B5EF4-FFF2-40B4-BE49-F238E27FC236}">
                    <a16:creationId xmlns:a16="http://schemas.microsoft.com/office/drawing/2014/main" id="{D71C9B04-77F9-BF80-66D8-BCBCDDF15250}"/>
                  </a:ext>
                </a:extLst>
              </p:cNvPr>
              <p:cNvSpPr/>
              <p:nvPr/>
            </p:nvSpPr>
            <p:spPr>
              <a:xfrm>
                <a:off x="5931748" y="2765005"/>
                <a:ext cx="28293" cy="28342"/>
              </a:xfrm>
              <a:custGeom>
                <a:avLst/>
                <a:gdLst>
                  <a:gd name="connsiteX0" fmla="*/ 0 w 28293"/>
                  <a:gd name="connsiteY0" fmla="*/ 0 h 28342"/>
                  <a:gd name="connsiteX1" fmla="*/ 28294 w 28293"/>
                  <a:gd name="connsiteY1" fmla="*/ 28343 h 283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8293" h="28342">
                    <a:moveTo>
                      <a:pt x="0" y="0"/>
                    </a:moveTo>
                    <a:lnTo>
                      <a:pt x="28294" y="28343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417" name="Gráfico 7">
            <a:extLst>
              <a:ext uri="{FF2B5EF4-FFF2-40B4-BE49-F238E27FC236}">
                <a16:creationId xmlns:a16="http://schemas.microsoft.com/office/drawing/2014/main" id="{C07E48A6-F254-7D9C-AB27-77313B881525}"/>
              </a:ext>
            </a:extLst>
          </p:cNvPr>
          <p:cNvGrpSpPr/>
          <p:nvPr/>
        </p:nvGrpSpPr>
        <p:grpSpPr>
          <a:xfrm>
            <a:off x="4513445" y="987210"/>
            <a:ext cx="273019" cy="297369"/>
            <a:chOff x="4513445" y="987210"/>
            <a:chExt cx="273019" cy="297369"/>
          </a:xfrm>
          <a:noFill/>
        </p:grpSpPr>
        <p:sp>
          <p:nvSpPr>
            <p:cNvPr id="418" name="Forma livre: Forma 417">
              <a:extLst>
                <a:ext uri="{FF2B5EF4-FFF2-40B4-BE49-F238E27FC236}">
                  <a16:creationId xmlns:a16="http://schemas.microsoft.com/office/drawing/2014/main" id="{5746D837-03F0-932C-8812-BB9217244A72}"/>
                </a:ext>
              </a:extLst>
            </p:cNvPr>
            <p:cNvSpPr/>
            <p:nvPr/>
          </p:nvSpPr>
          <p:spPr>
            <a:xfrm>
              <a:off x="4678313" y="1030576"/>
              <a:ext cx="13334" cy="13334"/>
            </a:xfrm>
            <a:custGeom>
              <a:avLst/>
              <a:gdLst>
                <a:gd name="connsiteX0" fmla="*/ 0 w 13334"/>
                <a:gd name="connsiteY0" fmla="*/ 13335 h 13334"/>
                <a:gd name="connsiteX1" fmla="*/ 13335 w 13334"/>
                <a:gd name="connsiteY1" fmla="*/ 0 h 133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3334" h="13334">
                  <a:moveTo>
                    <a:pt x="0" y="13335"/>
                  </a:moveTo>
                  <a:lnTo>
                    <a:pt x="13335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19" name="Forma livre: Forma 418">
              <a:extLst>
                <a:ext uri="{FF2B5EF4-FFF2-40B4-BE49-F238E27FC236}">
                  <a16:creationId xmlns:a16="http://schemas.microsoft.com/office/drawing/2014/main" id="{F39314F3-81F7-3846-6C7D-E3CBA52E738C}"/>
                </a:ext>
              </a:extLst>
            </p:cNvPr>
            <p:cNvSpPr/>
            <p:nvPr/>
          </p:nvSpPr>
          <p:spPr>
            <a:xfrm>
              <a:off x="4619265" y="1089624"/>
              <a:ext cx="13285" cy="13285"/>
            </a:xfrm>
            <a:custGeom>
              <a:avLst/>
              <a:gdLst>
                <a:gd name="connsiteX0" fmla="*/ 0 w 13285"/>
                <a:gd name="connsiteY0" fmla="*/ 13286 h 13285"/>
                <a:gd name="connsiteX1" fmla="*/ 13286 w 13285"/>
                <a:gd name="connsiteY1" fmla="*/ 0 h 132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3285" h="13285">
                  <a:moveTo>
                    <a:pt x="0" y="13286"/>
                  </a:moveTo>
                  <a:lnTo>
                    <a:pt x="13286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20" name="Forma livre: Forma 419">
              <a:extLst>
                <a:ext uri="{FF2B5EF4-FFF2-40B4-BE49-F238E27FC236}">
                  <a16:creationId xmlns:a16="http://schemas.microsoft.com/office/drawing/2014/main" id="{012D5C7E-8663-474A-0B8B-9DB2BFAE0477}"/>
                </a:ext>
              </a:extLst>
            </p:cNvPr>
            <p:cNvSpPr/>
            <p:nvPr/>
          </p:nvSpPr>
          <p:spPr>
            <a:xfrm>
              <a:off x="4623595" y="1034906"/>
              <a:ext cx="63673" cy="63673"/>
            </a:xfrm>
            <a:custGeom>
              <a:avLst/>
              <a:gdLst>
                <a:gd name="connsiteX0" fmla="*/ 63673 w 63673"/>
                <a:gd name="connsiteY0" fmla="*/ 31837 h 63673"/>
                <a:gd name="connsiteX1" fmla="*/ 31837 w 63673"/>
                <a:gd name="connsiteY1" fmla="*/ 63673 h 63673"/>
                <a:gd name="connsiteX2" fmla="*/ 0 w 63673"/>
                <a:gd name="connsiteY2" fmla="*/ 31837 h 63673"/>
                <a:gd name="connsiteX3" fmla="*/ 31837 w 63673"/>
                <a:gd name="connsiteY3" fmla="*/ 0 h 63673"/>
                <a:gd name="connsiteX4" fmla="*/ 63673 w 63673"/>
                <a:gd name="connsiteY4" fmla="*/ 31837 h 636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673" h="63673">
                  <a:moveTo>
                    <a:pt x="63673" y="31837"/>
                  </a:moveTo>
                  <a:cubicBezTo>
                    <a:pt x="63673" y="49403"/>
                    <a:pt x="49452" y="63673"/>
                    <a:pt x="31837" y="63673"/>
                  </a:cubicBezTo>
                  <a:cubicBezTo>
                    <a:pt x="14221" y="63673"/>
                    <a:pt x="0" y="49403"/>
                    <a:pt x="0" y="31837"/>
                  </a:cubicBezTo>
                  <a:cubicBezTo>
                    <a:pt x="0" y="14270"/>
                    <a:pt x="14270" y="0"/>
                    <a:pt x="31837" y="0"/>
                  </a:cubicBezTo>
                  <a:cubicBezTo>
                    <a:pt x="49403" y="0"/>
                    <a:pt x="63673" y="14270"/>
                    <a:pt x="63673" y="31837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21" name="Forma livre: Forma 420">
              <a:extLst>
                <a:ext uri="{FF2B5EF4-FFF2-40B4-BE49-F238E27FC236}">
                  <a16:creationId xmlns:a16="http://schemas.microsoft.com/office/drawing/2014/main" id="{F2DE0567-FD54-8E1D-DE14-9106C1824530}"/>
                </a:ext>
              </a:extLst>
            </p:cNvPr>
            <p:cNvSpPr/>
            <p:nvPr/>
          </p:nvSpPr>
          <p:spPr>
            <a:xfrm>
              <a:off x="4677919" y="1173816"/>
              <a:ext cx="6052" cy="15303"/>
            </a:xfrm>
            <a:custGeom>
              <a:avLst/>
              <a:gdLst>
                <a:gd name="connsiteX0" fmla="*/ 6052 w 6052"/>
                <a:gd name="connsiteY0" fmla="*/ 0 h 15303"/>
                <a:gd name="connsiteX1" fmla="*/ 0 w 6052"/>
                <a:gd name="connsiteY1" fmla="*/ 15303 h 153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52" h="15303">
                  <a:moveTo>
                    <a:pt x="6052" y="0"/>
                  </a:moveTo>
                  <a:lnTo>
                    <a:pt x="0" y="15303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22" name="Forma livre: Forma 421">
              <a:extLst>
                <a:ext uri="{FF2B5EF4-FFF2-40B4-BE49-F238E27FC236}">
                  <a16:creationId xmlns:a16="http://schemas.microsoft.com/office/drawing/2014/main" id="{71703910-FF5C-9232-A9F8-5761D9A990CF}"/>
                </a:ext>
              </a:extLst>
            </p:cNvPr>
            <p:cNvSpPr/>
            <p:nvPr/>
          </p:nvSpPr>
          <p:spPr>
            <a:xfrm>
              <a:off x="4700652" y="1116392"/>
              <a:ext cx="6003" cy="15253"/>
            </a:xfrm>
            <a:custGeom>
              <a:avLst/>
              <a:gdLst>
                <a:gd name="connsiteX0" fmla="*/ 6003 w 6003"/>
                <a:gd name="connsiteY0" fmla="*/ 0 h 15253"/>
                <a:gd name="connsiteX1" fmla="*/ 0 w 6003"/>
                <a:gd name="connsiteY1" fmla="*/ 15254 h 152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03" h="15253">
                  <a:moveTo>
                    <a:pt x="6003" y="0"/>
                  </a:moveTo>
                  <a:lnTo>
                    <a:pt x="0" y="15254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23" name="Forma livre: Forma 422">
              <a:extLst>
                <a:ext uri="{FF2B5EF4-FFF2-40B4-BE49-F238E27FC236}">
                  <a16:creationId xmlns:a16="http://schemas.microsoft.com/office/drawing/2014/main" id="{B867A871-8928-6E5A-5E92-9F9A9EABF27E}"/>
                </a:ext>
              </a:extLst>
            </p:cNvPr>
            <p:cNvSpPr/>
            <p:nvPr/>
          </p:nvSpPr>
          <p:spPr>
            <a:xfrm>
              <a:off x="4656416" y="1161761"/>
              <a:ext cx="15106" cy="6544"/>
            </a:xfrm>
            <a:custGeom>
              <a:avLst/>
              <a:gdLst>
                <a:gd name="connsiteX0" fmla="*/ 15106 w 15106"/>
                <a:gd name="connsiteY0" fmla="*/ 0 h 6544"/>
                <a:gd name="connsiteX1" fmla="*/ 0 w 15106"/>
                <a:gd name="connsiteY1" fmla="*/ 6544 h 65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6" h="6544">
                  <a:moveTo>
                    <a:pt x="15106" y="0"/>
                  </a:moveTo>
                  <a:lnTo>
                    <a:pt x="0" y="6544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24" name="Forma livre: Forma 423">
              <a:extLst>
                <a:ext uri="{FF2B5EF4-FFF2-40B4-BE49-F238E27FC236}">
                  <a16:creationId xmlns:a16="http://schemas.microsoft.com/office/drawing/2014/main" id="{20521DEA-EDE2-5833-1B1E-D2CE4FAE6BBA}"/>
                </a:ext>
              </a:extLst>
            </p:cNvPr>
            <p:cNvSpPr/>
            <p:nvPr/>
          </p:nvSpPr>
          <p:spPr>
            <a:xfrm>
              <a:off x="4713151" y="1137207"/>
              <a:ext cx="15007" cy="6495"/>
            </a:xfrm>
            <a:custGeom>
              <a:avLst/>
              <a:gdLst>
                <a:gd name="connsiteX0" fmla="*/ 15008 w 15007"/>
                <a:gd name="connsiteY0" fmla="*/ 0 h 6495"/>
                <a:gd name="connsiteX1" fmla="*/ 0 w 15007"/>
                <a:gd name="connsiteY1" fmla="*/ 6495 h 64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007" h="6495">
                  <a:moveTo>
                    <a:pt x="15008" y="0"/>
                  </a:moveTo>
                  <a:lnTo>
                    <a:pt x="0" y="6495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25" name="Forma livre: Forma 424">
              <a:extLst>
                <a:ext uri="{FF2B5EF4-FFF2-40B4-BE49-F238E27FC236}">
                  <a16:creationId xmlns:a16="http://schemas.microsoft.com/office/drawing/2014/main" id="{925B495B-D06F-35AD-5FD3-6D4FCD19250A}"/>
                </a:ext>
              </a:extLst>
            </p:cNvPr>
            <p:cNvSpPr/>
            <p:nvPr/>
          </p:nvSpPr>
          <p:spPr>
            <a:xfrm>
              <a:off x="4713348" y="1161072"/>
              <a:ext cx="15303" cy="6052"/>
            </a:xfrm>
            <a:custGeom>
              <a:avLst/>
              <a:gdLst>
                <a:gd name="connsiteX0" fmla="*/ 0 w 15303"/>
                <a:gd name="connsiteY0" fmla="*/ 0 h 6052"/>
                <a:gd name="connsiteX1" fmla="*/ 15303 w 15303"/>
                <a:gd name="connsiteY1" fmla="*/ 6052 h 60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303" h="6052">
                  <a:moveTo>
                    <a:pt x="0" y="0"/>
                  </a:moveTo>
                  <a:lnTo>
                    <a:pt x="15303" y="6052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26" name="Forma livre: Forma 425">
              <a:extLst>
                <a:ext uri="{FF2B5EF4-FFF2-40B4-BE49-F238E27FC236}">
                  <a16:creationId xmlns:a16="http://schemas.microsoft.com/office/drawing/2014/main" id="{0290175F-442A-DDC2-8332-E5F4BE0686DD}"/>
                </a:ext>
              </a:extLst>
            </p:cNvPr>
            <p:cNvSpPr/>
            <p:nvPr/>
          </p:nvSpPr>
          <p:spPr>
            <a:xfrm>
              <a:off x="4655924" y="1138387"/>
              <a:ext cx="15253" cy="6052"/>
            </a:xfrm>
            <a:custGeom>
              <a:avLst/>
              <a:gdLst>
                <a:gd name="connsiteX0" fmla="*/ 0 w 15253"/>
                <a:gd name="connsiteY0" fmla="*/ 0 h 6052"/>
                <a:gd name="connsiteX1" fmla="*/ 15254 w 15253"/>
                <a:gd name="connsiteY1" fmla="*/ 6052 h 60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253" h="6052">
                  <a:moveTo>
                    <a:pt x="0" y="0"/>
                  </a:moveTo>
                  <a:lnTo>
                    <a:pt x="15254" y="6052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27" name="Forma livre: Forma 426">
              <a:extLst>
                <a:ext uri="{FF2B5EF4-FFF2-40B4-BE49-F238E27FC236}">
                  <a16:creationId xmlns:a16="http://schemas.microsoft.com/office/drawing/2014/main" id="{E7396A8E-5052-CB6B-F13B-63FB784ED4FD}"/>
                </a:ext>
              </a:extLst>
            </p:cNvPr>
            <p:cNvSpPr/>
            <p:nvPr/>
          </p:nvSpPr>
          <p:spPr>
            <a:xfrm>
              <a:off x="4670030" y="1130471"/>
              <a:ext cx="44514" cy="44519"/>
            </a:xfrm>
            <a:custGeom>
              <a:avLst/>
              <a:gdLst>
                <a:gd name="connsiteX0" fmla="*/ 42973 w 44514"/>
                <a:gd name="connsiteY0" fmla="*/ 30453 h 44519"/>
                <a:gd name="connsiteX1" fmla="*/ 14089 w 44514"/>
                <a:gd name="connsiteY1" fmla="*/ 42951 h 44519"/>
                <a:gd name="connsiteX2" fmla="*/ 1541 w 44514"/>
                <a:gd name="connsiteY2" fmla="*/ 14067 h 44519"/>
                <a:gd name="connsiteX3" fmla="*/ 30425 w 44514"/>
                <a:gd name="connsiteY3" fmla="*/ 1568 h 44519"/>
                <a:gd name="connsiteX4" fmla="*/ 42973 w 44514"/>
                <a:gd name="connsiteY4" fmla="*/ 30453 h 445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514" h="44519">
                  <a:moveTo>
                    <a:pt x="42973" y="30453"/>
                  </a:moveTo>
                  <a:cubicBezTo>
                    <a:pt x="38446" y="41868"/>
                    <a:pt x="25505" y="47478"/>
                    <a:pt x="14089" y="42951"/>
                  </a:cubicBezTo>
                  <a:cubicBezTo>
                    <a:pt x="2673" y="38424"/>
                    <a:pt x="-2937" y="25483"/>
                    <a:pt x="1541" y="14067"/>
                  </a:cubicBezTo>
                  <a:cubicBezTo>
                    <a:pt x="6068" y="2651"/>
                    <a:pt x="19010" y="-2959"/>
                    <a:pt x="30425" y="1568"/>
                  </a:cubicBezTo>
                  <a:cubicBezTo>
                    <a:pt x="41841" y="6095"/>
                    <a:pt x="47451" y="19037"/>
                    <a:pt x="42973" y="30453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428" name="Gráfico 7">
              <a:extLst>
                <a:ext uri="{FF2B5EF4-FFF2-40B4-BE49-F238E27FC236}">
                  <a16:creationId xmlns:a16="http://schemas.microsoft.com/office/drawing/2014/main" id="{4E51B53E-BDD7-9E65-1B28-12B1339678E4}"/>
                </a:ext>
              </a:extLst>
            </p:cNvPr>
            <p:cNvGrpSpPr/>
            <p:nvPr/>
          </p:nvGrpSpPr>
          <p:grpSpPr>
            <a:xfrm>
              <a:off x="4513445" y="987210"/>
              <a:ext cx="273019" cy="297369"/>
              <a:chOff x="4513445" y="987210"/>
              <a:chExt cx="273019" cy="297369"/>
            </a:xfrm>
            <a:noFill/>
          </p:grpSpPr>
          <p:sp>
            <p:nvSpPr>
              <p:cNvPr id="429" name="Forma livre: Forma 428">
                <a:extLst>
                  <a:ext uri="{FF2B5EF4-FFF2-40B4-BE49-F238E27FC236}">
                    <a16:creationId xmlns:a16="http://schemas.microsoft.com/office/drawing/2014/main" id="{AEAE6410-E754-F5EF-C91F-5B8C16D47567}"/>
                  </a:ext>
                </a:extLst>
              </p:cNvPr>
              <p:cNvSpPr/>
              <p:nvPr/>
            </p:nvSpPr>
            <p:spPr>
              <a:xfrm>
                <a:off x="4513445" y="987210"/>
                <a:ext cx="273019" cy="297369"/>
              </a:xfrm>
              <a:custGeom>
                <a:avLst/>
                <a:gdLst>
                  <a:gd name="connsiteX0" fmla="*/ 234987 w 273019"/>
                  <a:gd name="connsiteY0" fmla="*/ 297370 h 297369"/>
                  <a:gd name="connsiteX1" fmla="*/ 230313 w 273019"/>
                  <a:gd name="connsiteY1" fmla="*/ 236206 h 297369"/>
                  <a:gd name="connsiteX2" fmla="*/ 255457 w 273019"/>
                  <a:gd name="connsiteY2" fmla="*/ 174354 h 297369"/>
                  <a:gd name="connsiteX3" fmla="*/ 229230 w 273019"/>
                  <a:gd name="connsiteY3" fmla="*/ 24422 h 297369"/>
                  <a:gd name="connsiteX4" fmla="*/ 73442 w 273019"/>
                  <a:gd name="connsiteY4" fmla="*/ 20534 h 297369"/>
                  <a:gd name="connsiteX5" fmla="*/ 35947 w 273019"/>
                  <a:gd name="connsiteY5" fmla="*/ 106941 h 297369"/>
                  <a:gd name="connsiteX6" fmla="*/ 32158 w 273019"/>
                  <a:gd name="connsiteY6" fmla="*/ 133955 h 297369"/>
                  <a:gd name="connsiteX7" fmla="*/ 666 w 273019"/>
                  <a:gd name="connsiteY7" fmla="*/ 171008 h 297369"/>
                  <a:gd name="connsiteX8" fmla="*/ 9080 w 273019"/>
                  <a:gd name="connsiteY8" fmla="*/ 183063 h 297369"/>
                  <a:gd name="connsiteX9" fmla="*/ 28271 w 273019"/>
                  <a:gd name="connsiteY9" fmla="*/ 187000 h 297369"/>
                  <a:gd name="connsiteX10" fmla="*/ 37079 w 273019"/>
                  <a:gd name="connsiteY10" fmla="*/ 214703 h 297369"/>
                  <a:gd name="connsiteX11" fmla="*/ 35061 w 273019"/>
                  <a:gd name="connsiteY11" fmla="*/ 241619 h 297369"/>
                  <a:gd name="connsiteX12" fmla="*/ 38949 w 273019"/>
                  <a:gd name="connsiteY12" fmla="*/ 267649 h 297369"/>
                  <a:gd name="connsiteX13" fmla="*/ 105033 w 273019"/>
                  <a:gd name="connsiteY13" fmla="*/ 265041 h 297369"/>
                  <a:gd name="connsiteX14" fmla="*/ 113890 w 273019"/>
                  <a:gd name="connsiteY14" fmla="*/ 296927 h 2973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273019" h="297369">
                    <a:moveTo>
                      <a:pt x="234987" y="297370"/>
                    </a:moveTo>
                    <a:cubicBezTo>
                      <a:pt x="232478" y="282854"/>
                      <a:pt x="228886" y="259235"/>
                      <a:pt x="230313" y="236206"/>
                    </a:cubicBezTo>
                    <a:cubicBezTo>
                      <a:pt x="230313" y="236206"/>
                      <a:pt x="238678" y="198465"/>
                      <a:pt x="255457" y="174354"/>
                    </a:cubicBezTo>
                    <a:cubicBezTo>
                      <a:pt x="255457" y="174354"/>
                      <a:pt x="308944" y="83125"/>
                      <a:pt x="229230" y="24422"/>
                    </a:cubicBezTo>
                    <a:cubicBezTo>
                      <a:pt x="229230" y="24422"/>
                      <a:pt x="158717" y="-27836"/>
                      <a:pt x="73442" y="20534"/>
                    </a:cubicBezTo>
                    <a:cubicBezTo>
                      <a:pt x="73442" y="20534"/>
                      <a:pt x="25860" y="41103"/>
                      <a:pt x="35947" y="106941"/>
                    </a:cubicBezTo>
                    <a:cubicBezTo>
                      <a:pt x="35947" y="106941"/>
                      <a:pt x="37965" y="125344"/>
                      <a:pt x="32158" y="133955"/>
                    </a:cubicBezTo>
                    <a:lnTo>
                      <a:pt x="666" y="171008"/>
                    </a:lnTo>
                    <a:cubicBezTo>
                      <a:pt x="666" y="171008"/>
                      <a:pt x="-3516" y="182030"/>
                      <a:pt x="9080" y="183063"/>
                    </a:cubicBezTo>
                    <a:lnTo>
                      <a:pt x="28271" y="187000"/>
                    </a:lnTo>
                    <a:cubicBezTo>
                      <a:pt x="28271" y="187000"/>
                      <a:pt x="36292" y="202647"/>
                      <a:pt x="37079" y="214703"/>
                    </a:cubicBezTo>
                    <a:cubicBezTo>
                      <a:pt x="37866" y="226758"/>
                      <a:pt x="35061" y="241619"/>
                      <a:pt x="35061" y="241619"/>
                    </a:cubicBezTo>
                    <a:cubicBezTo>
                      <a:pt x="35061" y="241619"/>
                      <a:pt x="28222" y="259678"/>
                      <a:pt x="38949" y="267649"/>
                    </a:cubicBezTo>
                    <a:cubicBezTo>
                      <a:pt x="41065" y="268190"/>
                      <a:pt x="48938" y="277097"/>
                      <a:pt x="105033" y="265041"/>
                    </a:cubicBezTo>
                    <a:cubicBezTo>
                      <a:pt x="105033" y="265041"/>
                      <a:pt x="110446" y="267600"/>
                      <a:pt x="113890" y="296927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30" name="Forma livre: Forma 429">
                <a:extLst>
                  <a:ext uri="{FF2B5EF4-FFF2-40B4-BE49-F238E27FC236}">
                    <a16:creationId xmlns:a16="http://schemas.microsoft.com/office/drawing/2014/main" id="{09C75560-75E2-0320-63C0-943D438E31B3}"/>
                  </a:ext>
                </a:extLst>
              </p:cNvPr>
              <p:cNvSpPr/>
              <p:nvPr/>
            </p:nvSpPr>
            <p:spPr>
              <a:xfrm>
                <a:off x="4552935" y="1202799"/>
                <a:ext cx="24111" cy="393"/>
              </a:xfrm>
              <a:custGeom>
                <a:avLst/>
                <a:gdLst>
                  <a:gd name="connsiteX0" fmla="*/ 0 w 24111"/>
                  <a:gd name="connsiteY0" fmla="*/ 0 h 393"/>
                  <a:gd name="connsiteX1" fmla="*/ 24111 w 24111"/>
                  <a:gd name="connsiteY1" fmla="*/ 394 h 3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4111" h="393">
                    <a:moveTo>
                      <a:pt x="0" y="0"/>
                    </a:moveTo>
                    <a:lnTo>
                      <a:pt x="24111" y="394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431" name="Forma livre: Forma 430">
              <a:extLst>
                <a:ext uri="{FF2B5EF4-FFF2-40B4-BE49-F238E27FC236}">
                  <a16:creationId xmlns:a16="http://schemas.microsoft.com/office/drawing/2014/main" id="{DB756C72-E569-5470-5AB1-ECCC1DA044D8}"/>
                </a:ext>
              </a:extLst>
            </p:cNvPr>
            <p:cNvSpPr/>
            <p:nvPr/>
          </p:nvSpPr>
          <p:spPr>
            <a:xfrm>
              <a:off x="4655481" y="1015617"/>
              <a:ext cx="4920" cy="18796"/>
            </a:xfrm>
            <a:custGeom>
              <a:avLst/>
              <a:gdLst>
                <a:gd name="connsiteX0" fmla="*/ 0 w 4920"/>
                <a:gd name="connsiteY0" fmla="*/ 18797 h 18796"/>
                <a:gd name="connsiteX1" fmla="*/ 0 w 4920"/>
                <a:gd name="connsiteY1" fmla="*/ 0 h 187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920" h="18796">
                  <a:moveTo>
                    <a:pt x="0" y="18797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32" name="Forma livre: Forma 431">
              <a:extLst>
                <a:ext uri="{FF2B5EF4-FFF2-40B4-BE49-F238E27FC236}">
                  <a16:creationId xmlns:a16="http://schemas.microsoft.com/office/drawing/2014/main" id="{25C81C60-D872-9580-0B26-7DBEFF39B80E}"/>
                </a:ext>
              </a:extLst>
            </p:cNvPr>
            <p:cNvSpPr/>
            <p:nvPr/>
          </p:nvSpPr>
          <p:spPr>
            <a:xfrm>
              <a:off x="4655432" y="1099121"/>
              <a:ext cx="49" cy="18796"/>
            </a:xfrm>
            <a:custGeom>
              <a:avLst/>
              <a:gdLst>
                <a:gd name="connsiteX0" fmla="*/ 0 w 49"/>
                <a:gd name="connsiteY0" fmla="*/ 18797 h 18796"/>
                <a:gd name="connsiteX1" fmla="*/ 49 w 49"/>
                <a:gd name="connsiteY1" fmla="*/ 0 h 187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9" h="18796">
                  <a:moveTo>
                    <a:pt x="0" y="18797"/>
                  </a:moveTo>
                  <a:lnTo>
                    <a:pt x="49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33" name="Forma livre: Forma 432">
              <a:extLst>
                <a:ext uri="{FF2B5EF4-FFF2-40B4-BE49-F238E27FC236}">
                  <a16:creationId xmlns:a16="http://schemas.microsoft.com/office/drawing/2014/main" id="{CD766ABB-0B52-BD16-A7ED-458DCD8E458A}"/>
                </a:ext>
              </a:extLst>
            </p:cNvPr>
            <p:cNvSpPr/>
            <p:nvPr/>
          </p:nvSpPr>
          <p:spPr>
            <a:xfrm>
              <a:off x="4687760" y="1066743"/>
              <a:ext cx="18846" cy="4920"/>
            </a:xfrm>
            <a:custGeom>
              <a:avLst/>
              <a:gdLst>
                <a:gd name="connsiteX0" fmla="*/ 0 w 18846"/>
                <a:gd name="connsiteY0" fmla="*/ 0 h 4920"/>
                <a:gd name="connsiteX1" fmla="*/ 18846 w 18846"/>
                <a:gd name="connsiteY1" fmla="*/ 0 h 49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846" h="4920">
                  <a:moveTo>
                    <a:pt x="0" y="0"/>
                  </a:moveTo>
                  <a:lnTo>
                    <a:pt x="18846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34" name="Forma livre: Forma 433">
              <a:extLst>
                <a:ext uri="{FF2B5EF4-FFF2-40B4-BE49-F238E27FC236}">
                  <a16:creationId xmlns:a16="http://schemas.microsoft.com/office/drawing/2014/main" id="{1A1B0C09-7CFA-ACEF-AC33-92E63B3BDC36}"/>
                </a:ext>
              </a:extLst>
            </p:cNvPr>
            <p:cNvSpPr/>
            <p:nvPr/>
          </p:nvSpPr>
          <p:spPr>
            <a:xfrm>
              <a:off x="4604306" y="1066743"/>
              <a:ext cx="18796" cy="4920"/>
            </a:xfrm>
            <a:custGeom>
              <a:avLst/>
              <a:gdLst>
                <a:gd name="connsiteX0" fmla="*/ 0 w 18796"/>
                <a:gd name="connsiteY0" fmla="*/ 0 h 4920"/>
                <a:gd name="connsiteX1" fmla="*/ 18797 w 18796"/>
                <a:gd name="connsiteY1" fmla="*/ 0 h 49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796" h="4920">
                  <a:moveTo>
                    <a:pt x="0" y="0"/>
                  </a:moveTo>
                  <a:lnTo>
                    <a:pt x="18797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35" name="Forma livre: Forma 434">
              <a:extLst>
                <a:ext uri="{FF2B5EF4-FFF2-40B4-BE49-F238E27FC236}">
                  <a16:creationId xmlns:a16="http://schemas.microsoft.com/office/drawing/2014/main" id="{631F7DCE-DD2D-2996-FDB1-2F23E86A6656}"/>
                </a:ext>
              </a:extLst>
            </p:cNvPr>
            <p:cNvSpPr/>
            <p:nvPr/>
          </p:nvSpPr>
          <p:spPr>
            <a:xfrm>
              <a:off x="4619314" y="1030576"/>
              <a:ext cx="13285" cy="13334"/>
            </a:xfrm>
            <a:custGeom>
              <a:avLst/>
              <a:gdLst>
                <a:gd name="connsiteX0" fmla="*/ 13286 w 13285"/>
                <a:gd name="connsiteY0" fmla="*/ 13335 h 13334"/>
                <a:gd name="connsiteX1" fmla="*/ 0 w 13285"/>
                <a:gd name="connsiteY1" fmla="*/ 0 h 133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3285" h="13334">
                  <a:moveTo>
                    <a:pt x="13286" y="13335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36" name="Forma livre: Forma 435">
              <a:extLst>
                <a:ext uri="{FF2B5EF4-FFF2-40B4-BE49-F238E27FC236}">
                  <a16:creationId xmlns:a16="http://schemas.microsoft.com/office/drawing/2014/main" id="{91B01FAB-E579-5899-6756-497E74783514}"/>
                </a:ext>
              </a:extLst>
            </p:cNvPr>
            <p:cNvSpPr/>
            <p:nvPr/>
          </p:nvSpPr>
          <p:spPr>
            <a:xfrm>
              <a:off x="4678362" y="1089624"/>
              <a:ext cx="13285" cy="13285"/>
            </a:xfrm>
            <a:custGeom>
              <a:avLst/>
              <a:gdLst>
                <a:gd name="connsiteX0" fmla="*/ 13286 w 13285"/>
                <a:gd name="connsiteY0" fmla="*/ 13286 h 13285"/>
                <a:gd name="connsiteX1" fmla="*/ 0 w 13285"/>
                <a:gd name="connsiteY1" fmla="*/ 0 h 132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3285" h="13285">
                  <a:moveTo>
                    <a:pt x="13286" y="13286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37" name="Forma livre: Forma 436">
              <a:extLst>
                <a:ext uri="{FF2B5EF4-FFF2-40B4-BE49-F238E27FC236}">
                  <a16:creationId xmlns:a16="http://schemas.microsoft.com/office/drawing/2014/main" id="{81FACDBD-83C1-445B-4D97-4948CAC4E1A9}"/>
                </a:ext>
              </a:extLst>
            </p:cNvPr>
            <p:cNvSpPr/>
            <p:nvPr/>
          </p:nvSpPr>
          <p:spPr>
            <a:xfrm>
              <a:off x="4701292" y="1173521"/>
              <a:ext cx="6544" cy="15106"/>
            </a:xfrm>
            <a:custGeom>
              <a:avLst/>
              <a:gdLst>
                <a:gd name="connsiteX0" fmla="*/ 0 w 6544"/>
                <a:gd name="connsiteY0" fmla="*/ 0 h 15106"/>
                <a:gd name="connsiteX1" fmla="*/ 6544 w 6544"/>
                <a:gd name="connsiteY1" fmla="*/ 15106 h 151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544" h="15106">
                  <a:moveTo>
                    <a:pt x="0" y="0"/>
                  </a:moveTo>
                  <a:lnTo>
                    <a:pt x="6544" y="15106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38" name="Forma livre: Forma 437">
              <a:extLst>
                <a:ext uri="{FF2B5EF4-FFF2-40B4-BE49-F238E27FC236}">
                  <a16:creationId xmlns:a16="http://schemas.microsoft.com/office/drawing/2014/main" id="{7DECA906-5772-2C71-0082-B5BD6C582A85}"/>
                </a:ext>
              </a:extLst>
            </p:cNvPr>
            <p:cNvSpPr/>
            <p:nvPr/>
          </p:nvSpPr>
          <p:spPr>
            <a:xfrm>
              <a:off x="4676738" y="1116884"/>
              <a:ext cx="6544" cy="15057"/>
            </a:xfrm>
            <a:custGeom>
              <a:avLst/>
              <a:gdLst>
                <a:gd name="connsiteX0" fmla="*/ 0 w 6544"/>
                <a:gd name="connsiteY0" fmla="*/ 0 h 15057"/>
                <a:gd name="connsiteX1" fmla="*/ 6544 w 6544"/>
                <a:gd name="connsiteY1" fmla="*/ 15057 h 15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544" h="15057">
                  <a:moveTo>
                    <a:pt x="0" y="0"/>
                  </a:moveTo>
                  <a:lnTo>
                    <a:pt x="6544" y="15057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445" name="Gráfico 7">
            <a:extLst>
              <a:ext uri="{FF2B5EF4-FFF2-40B4-BE49-F238E27FC236}">
                <a16:creationId xmlns:a16="http://schemas.microsoft.com/office/drawing/2014/main" id="{0840B801-BE0D-3F01-1B7A-25EDC54BAFC3}"/>
              </a:ext>
            </a:extLst>
          </p:cNvPr>
          <p:cNvGrpSpPr/>
          <p:nvPr/>
        </p:nvGrpSpPr>
        <p:grpSpPr>
          <a:xfrm>
            <a:off x="4528528" y="1529776"/>
            <a:ext cx="242833" cy="301783"/>
            <a:chOff x="4528528" y="1529776"/>
            <a:chExt cx="242833" cy="301783"/>
          </a:xfrm>
        </p:grpSpPr>
        <p:sp>
          <p:nvSpPr>
            <p:cNvPr id="446" name="Forma livre: Forma 445">
              <a:extLst>
                <a:ext uri="{FF2B5EF4-FFF2-40B4-BE49-F238E27FC236}">
                  <a16:creationId xmlns:a16="http://schemas.microsoft.com/office/drawing/2014/main" id="{3CFB9AE7-BABA-502C-E583-B794734B7026}"/>
                </a:ext>
              </a:extLst>
            </p:cNvPr>
            <p:cNvSpPr/>
            <p:nvPr/>
          </p:nvSpPr>
          <p:spPr>
            <a:xfrm>
              <a:off x="4692336" y="1569042"/>
              <a:ext cx="26620" cy="217000"/>
            </a:xfrm>
            <a:custGeom>
              <a:avLst/>
              <a:gdLst>
                <a:gd name="connsiteX0" fmla="*/ 26621 w 26620"/>
                <a:gd name="connsiteY0" fmla="*/ 0 h 217000"/>
                <a:gd name="connsiteX1" fmla="*/ 0 w 26620"/>
                <a:gd name="connsiteY1" fmla="*/ 0 h 217000"/>
                <a:gd name="connsiteX2" fmla="*/ 0 w 26620"/>
                <a:gd name="connsiteY2" fmla="*/ 217000 h 217000"/>
                <a:gd name="connsiteX3" fmla="*/ 26424 w 26620"/>
                <a:gd name="connsiteY3" fmla="*/ 217000 h 217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6620" h="217000">
                  <a:moveTo>
                    <a:pt x="26621" y="0"/>
                  </a:moveTo>
                  <a:lnTo>
                    <a:pt x="0" y="0"/>
                  </a:lnTo>
                  <a:lnTo>
                    <a:pt x="0" y="217000"/>
                  </a:lnTo>
                  <a:lnTo>
                    <a:pt x="26424" y="217000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47" name="Forma livre: Forma 446">
              <a:extLst>
                <a:ext uri="{FF2B5EF4-FFF2-40B4-BE49-F238E27FC236}">
                  <a16:creationId xmlns:a16="http://schemas.microsoft.com/office/drawing/2014/main" id="{64AE2030-0393-8007-16A7-A8702DBCDC3F}"/>
                </a:ext>
              </a:extLst>
            </p:cNvPr>
            <p:cNvSpPr/>
            <p:nvPr/>
          </p:nvSpPr>
          <p:spPr>
            <a:xfrm>
              <a:off x="4667438" y="1677641"/>
              <a:ext cx="51568" cy="4920"/>
            </a:xfrm>
            <a:custGeom>
              <a:avLst/>
              <a:gdLst>
                <a:gd name="connsiteX0" fmla="*/ 0 w 51568"/>
                <a:gd name="connsiteY0" fmla="*/ 0 h 4920"/>
                <a:gd name="connsiteX1" fmla="*/ 51568 w 51568"/>
                <a:gd name="connsiteY1" fmla="*/ 0 h 49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1568" h="4920">
                  <a:moveTo>
                    <a:pt x="0" y="0"/>
                  </a:moveTo>
                  <a:lnTo>
                    <a:pt x="51568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48" name="Forma livre: Forma 447">
              <a:extLst>
                <a:ext uri="{FF2B5EF4-FFF2-40B4-BE49-F238E27FC236}">
                  <a16:creationId xmlns:a16="http://schemas.microsoft.com/office/drawing/2014/main" id="{9A147857-F63E-C1AE-2072-D7C145368D50}"/>
                </a:ext>
              </a:extLst>
            </p:cNvPr>
            <p:cNvSpPr/>
            <p:nvPr/>
          </p:nvSpPr>
          <p:spPr>
            <a:xfrm>
              <a:off x="4757092" y="1561563"/>
              <a:ext cx="14269" cy="14269"/>
            </a:xfrm>
            <a:custGeom>
              <a:avLst/>
              <a:gdLst>
                <a:gd name="connsiteX0" fmla="*/ 14270 w 14269"/>
                <a:gd name="connsiteY0" fmla="*/ 7135 h 14269"/>
                <a:gd name="connsiteX1" fmla="*/ 7135 w 14269"/>
                <a:gd name="connsiteY1" fmla="*/ 14270 h 14269"/>
                <a:gd name="connsiteX2" fmla="*/ 0 w 14269"/>
                <a:gd name="connsiteY2" fmla="*/ 7135 h 14269"/>
                <a:gd name="connsiteX3" fmla="*/ 7135 w 14269"/>
                <a:gd name="connsiteY3" fmla="*/ 0 h 14269"/>
                <a:gd name="connsiteX4" fmla="*/ 14270 w 14269"/>
                <a:gd name="connsiteY4" fmla="*/ 7135 h 142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269" h="14269">
                  <a:moveTo>
                    <a:pt x="14270" y="7135"/>
                  </a:moveTo>
                  <a:cubicBezTo>
                    <a:pt x="14270" y="11071"/>
                    <a:pt x="11071" y="14270"/>
                    <a:pt x="7135" y="14270"/>
                  </a:cubicBezTo>
                  <a:cubicBezTo>
                    <a:pt x="3198" y="14270"/>
                    <a:pt x="0" y="11071"/>
                    <a:pt x="0" y="7135"/>
                  </a:cubicBezTo>
                  <a:cubicBezTo>
                    <a:pt x="0" y="3198"/>
                    <a:pt x="3198" y="0"/>
                    <a:pt x="7135" y="0"/>
                  </a:cubicBezTo>
                  <a:cubicBezTo>
                    <a:pt x="11071" y="0"/>
                    <a:pt x="14270" y="3198"/>
                    <a:pt x="14270" y="7135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49" name="Forma livre: Forma 448">
              <a:extLst>
                <a:ext uri="{FF2B5EF4-FFF2-40B4-BE49-F238E27FC236}">
                  <a16:creationId xmlns:a16="http://schemas.microsoft.com/office/drawing/2014/main" id="{07CB13AE-8097-3B87-0CF4-A82BE697E487}"/>
                </a:ext>
              </a:extLst>
            </p:cNvPr>
            <p:cNvSpPr/>
            <p:nvPr/>
          </p:nvSpPr>
          <p:spPr>
            <a:xfrm>
              <a:off x="4757092" y="1670703"/>
              <a:ext cx="14269" cy="14269"/>
            </a:xfrm>
            <a:custGeom>
              <a:avLst/>
              <a:gdLst>
                <a:gd name="connsiteX0" fmla="*/ 14270 w 14269"/>
                <a:gd name="connsiteY0" fmla="*/ 7135 h 14269"/>
                <a:gd name="connsiteX1" fmla="*/ 7135 w 14269"/>
                <a:gd name="connsiteY1" fmla="*/ 14270 h 14269"/>
                <a:gd name="connsiteX2" fmla="*/ 0 w 14269"/>
                <a:gd name="connsiteY2" fmla="*/ 7135 h 14269"/>
                <a:gd name="connsiteX3" fmla="*/ 7135 w 14269"/>
                <a:gd name="connsiteY3" fmla="*/ 0 h 14269"/>
                <a:gd name="connsiteX4" fmla="*/ 14270 w 14269"/>
                <a:gd name="connsiteY4" fmla="*/ 7135 h 142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269" h="14269">
                  <a:moveTo>
                    <a:pt x="14270" y="7135"/>
                  </a:moveTo>
                  <a:cubicBezTo>
                    <a:pt x="14270" y="11071"/>
                    <a:pt x="11071" y="14270"/>
                    <a:pt x="7135" y="14270"/>
                  </a:cubicBezTo>
                  <a:cubicBezTo>
                    <a:pt x="3198" y="14270"/>
                    <a:pt x="0" y="11071"/>
                    <a:pt x="0" y="7135"/>
                  </a:cubicBezTo>
                  <a:cubicBezTo>
                    <a:pt x="0" y="3198"/>
                    <a:pt x="3198" y="0"/>
                    <a:pt x="7135" y="0"/>
                  </a:cubicBezTo>
                  <a:cubicBezTo>
                    <a:pt x="11071" y="0"/>
                    <a:pt x="14270" y="3198"/>
                    <a:pt x="14270" y="7135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50" name="Forma livre: Forma 449">
              <a:extLst>
                <a:ext uri="{FF2B5EF4-FFF2-40B4-BE49-F238E27FC236}">
                  <a16:creationId xmlns:a16="http://schemas.microsoft.com/office/drawing/2014/main" id="{CCE49ADA-CD7B-757F-55A3-F27B7D82ED27}"/>
                </a:ext>
              </a:extLst>
            </p:cNvPr>
            <p:cNvSpPr/>
            <p:nvPr/>
          </p:nvSpPr>
          <p:spPr>
            <a:xfrm>
              <a:off x="4757092" y="1778957"/>
              <a:ext cx="14269" cy="14269"/>
            </a:xfrm>
            <a:custGeom>
              <a:avLst/>
              <a:gdLst>
                <a:gd name="connsiteX0" fmla="*/ 14270 w 14269"/>
                <a:gd name="connsiteY0" fmla="*/ 7135 h 14269"/>
                <a:gd name="connsiteX1" fmla="*/ 7135 w 14269"/>
                <a:gd name="connsiteY1" fmla="*/ 14270 h 14269"/>
                <a:gd name="connsiteX2" fmla="*/ 0 w 14269"/>
                <a:gd name="connsiteY2" fmla="*/ 7135 h 14269"/>
                <a:gd name="connsiteX3" fmla="*/ 7135 w 14269"/>
                <a:gd name="connsiteY3" fmla="*/ 0 h 14269"/>
                <a:gd name="connsiteX4" fmla="*/ 14270 w 14269"/>
                <a:gd name="connsiteY4" fmla="*/ 7135 h 142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269" h="14269">
                  <a:moveTo>
                    <a:pt x="14270" y="7135"/>
                  </a:moveTo>
                  <a:cubicBezTo>
                    <a:pt x="14270" y="11071"/>
                    <a:pt x="11071" y="14270"/>
                    <a:pt x="7135" y="14270"/>
                  </a:cubicBezTo>
                  <a:cubicBezTo>
                    <a:pt x="3198" y="14270"/>
                    <a:pt x="0" y="11071"/>
                    <a:pt x="0" y="7135"/>
                  </a:cubicBezTo>
                  <a:cubicBezTo>
                    <a:pt x="0" y="3198"/>
                    <a:pt x="3198" y="0"/>
                    <a:pt x="7135" y="0"/>
                  </a:cubicBezTo>
                  <a:cubicBezTo>
                    <a:pt x="11071" y="0"/>
                    <a:pt x="14270" y="3198"/>
                    <a:pt x="14270" y="7135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51" name="Forma livre: Forma 450">
              <a:extLst>
                <a:ext uri="{FF2B5EF4-FFF2-40B4-BE49-F238E27FC236}">
                  <a16:creationId xmlns:a16="http://schemas.microsoft.com/office/drawing/2014/main" id="{8F64243E-5440-DAFB-47E3-E1450163A501}"/>
                </a:ext>
              </a:extLst>
            </p:cNvPr>
            <p:cNvSpPr/>
            <p:nvPr/>
          </p:nvSpPr>
          <p:spPr>
            <a:xfrm>
              <a:off x="4547965" y="1529776"/>
              <a:ext cx="65542" cy="65542"/>
            </a:xfrm>
            <a:custGeom>
              <a:avLst/>
              <a:gdLst>
                <a:gd name="connsiteX0" fmla="*/ 65543 w 65542"/>
                <a:gd name="connsiteY0" fmla="*/ 32771 h 65542"/>
                <a:gd name="connsiteX1" fmla="*/ 32771 w 65542"/>
                <a:gd name="connsiteY1" fmla="*/ 65543 h 65542"/>
                <a:gd name="connsiteX2" fmla="*/ 0 w 65542"/>
                <a:gd name="connsiteY2" fmla="*/ 32771 h 65542"/>
                <a:gd name="connsiteX3" fmla="*/ 32771 w 65542"/>
                <a:gd name="connsiteY3" fmla="*/ 0 h 65542"/>
                <a:gd name="connsiteX4" fmla="*/ 65543 w 65542"/>
                <a:gd name="connsiteY4" fmla="*/ 32771 h 655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5542" h="65542">
                  <a:moveTo>
                    <a:pt x="65543" y="32771"/>
                  </a:moveTo>
                  <a:cubicBezTo>
                    <a:pt x="65543" y="50879"/>
                    <a:pt x="50879" y="65543"/>
                    <a:pt x="32771" y="65543"/>
                  </a:cubicBezTo>
                  <a:cubicBezTo>
                    <a:pt x="14664" y="65543"/>
                    <a:pt x="0" y="50879"/>
                    <a:pt x="0" y="32771"/>
                  </a:cubicBezTo>
                  <a:cubicBezTo>
                    <a:pt x="0" y="14663"/>
                    <a:pt x="14664" y="0"/>
                    <a:pt x="32771" y="0"/>
                  </a:cubicBezTo>
                  <a:cubicBezTo>
                    <a:pt x="50879" y="0"/>
                    <a:pt x="65543" y="14663"/>
                    <a:pt x="65543" y="32771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52" name="Forma livre: Forma 451">
              <a:extLst>
                <a:ext uri="{FF2B5EF4-FFF2-40B4-BE49-F238E27FC236}">
                  <a16:creationId xmlns:a16="http://schemas.microsoft.com/office/drawing/2014/main" id="{CF3D09BE-A58E-2126-8FCA-AC92B1524AC5}"/>
                </a:ext>
              </a:extLst>
            </p:cNvPr>
            <p:cNvSpPr/>
            <p:nvPr/>
          </p:nvSpPr>
          <p:spPr>
            <a:xfrm>
              <a:off x="4528528" y="1625531"/>
              <a:ext cx="104268" cy="206027"/>
            </a:xfrm>
            <a:custGeom>
              <a:avLst/>
              <a:gdLst>
                <a:gd name="connsiteX0" fmla="*/ 78632 w 104268"/>
                <a:gd name="connsiteY0" fmla="*/ 205978 h 206027"/>
                <a:gd name="connsiteX1" fmla="*/ 78533 w 104268"/>
                <a:gd name="connsiteY1" fmla="*/ 122327 h 206027"/>
                <a:gd name="connsiteX2" fmla="*/ 104268 w 104268"/>
                <a:gd name="connsiteY2" fmla="*/ 96543 h 206027"/>
                <a:gd name="connsiteX3" fmla="*/ 104170 w 104268"/>
                <a:gd name="connsiteY3" fmla="*/ 25735 h 206027"/>
                <a:gd name="connsiteX4" fmla="*/ 78386 w 104268"/>
                <a:gd name="connsiteY4" fmla="*/ 0 h 206027"/>
                <a:gd name="connsiteX5" fmla="*/ 25735 w 104268"/>
                <a:gd name="connsiteY5" fmla="*/ 0 h 206027"/>
                <a:gd name="connsiteX6" fmla="*/ 0 w 104268"/>
                <a:gd name="connsiteY6" fmla="*/ 25833 h 206027"/>
                <a:gd name="connsiteX7" fmla="*/ 98 w 104268"/>
                <a:gd name="connsiteY7" fmla="*/ 96641 h 206027"/>
                <a:gd name="connsiteX8" fmla="*/ 25883 w 104268"/>
                <a:gd name="connsiteY8" fmla="*/ 122376 h 206027"/>
                <a:gd name="connsiteX9" fmla="*/ 25981 w 104268"/>
                <a:gd name="connsiteY9" fmla="*/ 206027 h 2060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04268" h="206027">
                  <a:moveTo>
                    <a:pt x="78632" y="205978"/>
                  </a:moveTo>
                  <a:lnTo>
                    <a:pt x="78533" y="122327"/>
                  </a:lnTo>
                  <a:cubicBezTo>
                    <a:pt x="92705" y="122327"/>
                    <a:pt x="104268" y="110714"/>
                    <a:pt x="104268" y="96543"/>
                  </a:cubicBezTo>
                  <a:lnTo>
                    <a:pt x="104170" y="25735"/>
                  </a:lnTo>
                  <a:cubicBezTo>
                    <a:pt x="104170" y="11564"/>
                    <a:pt x="92557" y="0"/>
                    <a:pt x="78386" y="0"/>
                  </a:cubicBezTo>
                  <a:lnTo>
                    <a:pt x="25735" y="0"/>
                  </a:lnTo>
                  <a:cubicBezTo>
                    <a:pt x="11564" y="98"/>
                    <a:pt x="0" y="11662"/>
                    <a:pt x="0" y="25833"/>
                  </a:cubicBezTo>
                  <a:lnTo>
                    <a:pt x="98" y="96641"/>
                  </a:lnTo>
                  <a:cubicBezTo>
                    <a:pt x="98" y="110813"/>
                    <a:pt x="11711" y="122376"/>
                    <a:pt x="25883" y="122376"/>
                  </a:cubicBezTo>
                  <a:lnTo>
                    <a:pt x="25981" y="206027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453" name="Gráfico 7">
            <a:extLst>
              <a:ext uri="{FF2B5EF4-FFF2-40B4-BE49-F238E27FC236}">
                <a16:creationId xmlns:a16="http://schemas.microsoft.com/office/drawing/2014/main" id="{C539024E-AE51-7E5C-9784-E3750BEF8003}"/>
              </a:ext>
            </a:extLst>
          </p:cNvPr>
          <p:cNvGrpSpPr/>
          <p:nvPr/>
        </p:nvGrpSpPr>
        <p:grpSpPr>
          <a:xfrm>
            <a:off x="4483258" y="2635936"/>
            <a:ext cx="333422" cy="268470"/>
            <a:chOff x="4483258" y="2635936"/>
            <a:chExt cx="333422" cy="268470"/>
          </a:xfrm>
          <a:noFill/>
        </p:grpSpPr>
        <p:sp>
          <p:nvSpPr>
            <p:cNvPr id="454" name="Forma livre: Forma 453">
              <a:extLst>
                <a:ext uri="{FF2B5EF4-FFF2-40B4-BE49-F238E27FC236}">
                  <a16:creationId xmlns:a16="http://schemas.microsoft.com/office/drawing/2014/main" id="{DB8DBD8E-DE5D-D280-6390-019C382B1350}"/>
                </a:ext>
              </a:extLst>
            </p:cNvPr>
            <p:cNvSpPr/>
            <p:nvPr/>
          </p:nvSpPr>
          <p:spPr>
            <a:xfrm>
              <a:off x="4483258" y="2635936"/>
              <a:ext cx="246524" cy="248492"/>
            </a:xfrm>
            <a:custGeom>
              <a:avLst/>
              <a:gdLst>
                <a:gd name="connsiteX0" fmla="*/ 246524 w 246524"/>
                <a:gd name="connsiteY0" fmla="*/ 146438 h 248492"/>
                <a:gd name="connsiteX1" fmla="*/ 124246 w 246524"/>
                <a:gd name="connsiteY1" fmla="*/ 248493 h 248492"/>
                <a:gd name="connsiteX2" fmla="*/ 0 w 246524"/>
                <a:gd name="connsiteY2" fmla="*/ 124246 h 248492"/>
                <a:gd name="connsiteX3" fmla="*/ 124246 w 246524"/>
                <a:gd name="connsiteY3" fmla="*/ 0 h 248492"/>
                <a:gd name="connsiteX4" fmla="*/ 246426 w 246524"/>
                <a:gd name="connsiteY4" fmla="*/ 101710 h 2484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6524" h="248492">
                  <a:moveTo>
                    <a:pt x="246524" y="146438"/>
                  </a:moveTo>
                  <a:cubicBezTo>
                    <a:pt x="236043" y="204453"/>
                    <a:pt x="185311" y="248493"/>
                    <a:pt x="124246" y="248493"/>
                  </a:cubicBezTo>
                  <a:cubicBezTo>
                    <a:pt x="55652" y="248493"/>
                    <a:pt x="0" y="192889"/>
                    <a:pt x="0" y="124246"/>
                  </a:cubicBezTo>
                  <a:cubicBezTo>
                    <a:pt x="0" y="55603"/>
                    <a:pt x="55603" y="0"/>
                    <a:pt x="124246" y="0"/>
                  </a:cubicBezTo>
                  <a:cubicBezTo>
                    <a:pt x="185164" y="0"/>
                    <a:pt x="235846" y="43843"/>
                    <a:pt x="246426" y="101710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55" name="Forma livre: Forma 454">
              <a:extLst>
                <a:ext uri="{FF2B5EF4-FFF2-40B4-BE49-F238E27FC236}">
                  <a16:creationId xmlns:a16="http://schemas.microsoft.com/office/drawing/2014/main" id="{C8472A82-B382-C230-9DA9-87D5F21871F8}"/>
                </a:ext>
              </a:extLst>
            </p:cNvPr>
            <p:cNvSpPr/>
            <p:nvPr/>
          </p:nvSpPr>
          <p:spPr>
            <a:xfrm>
              <a:off x="4532711" y="2684749"/>
              <a:ext cx="147619" cy="150866"/>
            </a:xfrm>
            <a:custGeom>
              <a:avLst/>
              <a:gdLst>
                <a:gd name="connsiteX0" fmla="*/ 147619 w 147619"/>
                <a:gd name="connsiteY0" fmla="*/ 97379 h 150866"/>
                <a:gd name="connsiteX1" fmla="*/ 75433 w 147619"/>
                <a:gd name="connsiteY1" fmla="*/ 150867 h 150866"/>
                <a:gd name="connsiteX2" fmla="*/ 0 w 147619"/>
                <a:gd name="connsiteY2" fmla="*/ 75433 h 150866"/>
                <a:gd name="connsiteX3" fmla="*/ 75433 w 147619"/>
                <a:gd name="connsiteY3" fmla="*/ 0 h 150866"/>
                <a:gd name="connsiteX4" fmla="*/ 147472 w 147619"/>
                <a:gd name="connsiteY4" fmla="*/ 52946 h 1508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7619" h="150866">
                  <a:moveTo>
                    <a:pt x="147619" y="97379"/>
                  </a:moveTo>
                  <a:cubicBezTo>
                    <a:pt x="138221" y="128330"/>
                    <a:pt x="109435" y="150867"/>
                    <a:pt x="75433" y="150867"/>
                  </a:cubicBezTo>
                  <a:cubicBezTo>
                    <a:pt x="33756" y="150867"/>
                    <a:pt x="0" y="117111"/>
                    <a:pt x="0" y="75433"/>
                  </a:cubicBezTo>
                  <a:cubicBezTo>
                    <a:pt x="0" y="33756"/>
                    <a:pt x="33756" y="0"/>
                    <a:pt x="75433" y="0"/>
                  </a:cubicBezTo>
                  <a:cubicBezTo>
                    <a:pt x="109288" y="0"/>
                    <a:pt x="137876" y="22291"/>
                    <a:pt x="147472" y="52946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56" name="Forma livre: Forma 455">
              <a:extLst>
                <a:ext uri="{FF2B5EF4-FFF2-40B4-BE49-F238E27FC236}">
                  <a16:creationId xmlns:a16="http://schemas.microsoft.com/office/drawing/2014/main" id="{8924F186-5199-E318-D0FA-C8AA0365A264}"/>
                </a:ext>
              </a:extLst>
            </p:cNvPr>
            <p:cNvSpPr/>
            <p:nvPr/>
          </p:nvSpPr>
          <p:spPr>
            <a:xfrm>
              <a:off x="4577390" y="2729428"/>
              <a:ext cx="52503" cy="61508"/>
            </a:xfrm>
            <a:custGeom>
              <a:avLst/>
              <a:gdLst>
                <a:gd name="connsiteX0" fmla="*/ 52503 w 52503"/>
                <a:gd name="connsiteY0" fmla="*/ 52503 h 61508"/>
                <a:gd name="connsiteX1" fmla="*/ 30754 w 52503"/>
                <a:gd name="connsiteY1" fmla="*/ 61508 h 61508"/>
                <a:gd name="connsiteX2" fmla="*/ 0 w 52503"/>
                <a:gd name="connsiteY2" fmla="*/ 30754 h 61508"/>
                <a:gd name="connsiteX3" fmla="*/ 30754 w 52503"/>
                <a:gd name="connsiteY3" fmla="*/ 0 h 61508"/>
                <a:gd name="connsiteX4" fmla="*/ 51814 w 52503"/>
                <a:gd name="connsiteY4" fmla="*/ 8365 h 615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2503" h="61508">
                  <a:moveTo>
                    <a:pt x="52503" y="52503"/>
                  </a:moveTo>
                  <a:cubicBezTo>
                    <a:pt x="46943" y="58064"/>
                    <a:pt x="39267" y="61508"/>
                    <a:pt x="30754" y="61508"/>
                  </a:cubicBezTo>
                  <a:cubicBezTo>
                    <a:pt x="13778" y="61508"/>
                    <a:pt x="0" y="47730"/>
                    <a:pt x="0" y="30754"/>
                  </a:cubicBezTo>
                  <a:cubicBezTo>
                    <a:pt x="0" y="13778"/>
                    <a:pt x="13778" y="0"/>
                    <a:pt x="30754" y="0"/>
                  </a:cubicBezTo>
                  <a:cubicBezTo>
                    <a:pt x="38922" y="0"/>
                    <a:pt x="46303" y="3198"/>
                    <a:pt x="51814" y="8365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57" name="Forma livre: Forma 456">
              <a:extLst>
                <a:ext uri="{FF2B5EF4-FFF2-40B4-BE49-F238E27FC236}">
                  <a16:creationId xmlns:a16="http://schemas.microsoft.com/office/drawing/2014/main" id="{F5E2AF2D-AE61-27C7-71EC-9431C6785EAA}"/>
                </a:ext>
              </a:extLst>
            </p:cNvPr>
            <p:cNvSpPr/>
            <p:nvPr/>
          </p:nvSpPr>
          <p:spPr>
            <a:xfrm>
              <a:off x="4608686" y="2759838"/>
              <a:ext cx="185016" cy="4920"/>
            </a:xfrm>
            <a:custGeom>
              <a:avLst/>
              <a:gdLst>
                <a:gd name="connsiteX0" fmla="*/ 0 w 185016"/>
                <a:gd name="connsiteY0" fmla="*/ 0 h 4920"/>
                <a:gd name="connsiteX1" fmla="*/ 185016 w 185016"/>
                <a:gd name="connsiteY1" fmla="*/ 0 h 49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5016" h="4920">
                  <a:moveTo>
                    <a:pt x="0" y="0"/>
                  </a:moveTo>
                  <a:lnTo>
                    <a:pt x="185016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58" name="Forma livre: Forma 457">
              <a:extLst>
                <a:ext uri="{FF2B5EF4-FFF2-40B4-BE49-F238E27FC236}">
                  <a16:creationId xmlns:a16="http://schemas.microsoft.com/office/drawing/2014/main" id="{EF3E8FBC-CF4C-E94B-F244-2B73843B9EDB}"/>
                </a:ext>
              </a:extLst>
            </p:cNvPr>
            <p:cNvSpPr/>
            <p:nvPr/>
          </p:nvSpPr>
          <p:spPr>
            <a:xfrm>
              <a:off x="4793702" y="2731298"/>
              <a:ext cx="22979" cy="28539"/>
            </a:xfrm>
            <a:custGeom>
              <a:avLst/>
              <a:gdLst>
                <a:gd name="connsiteX0" fmla="*/ 0 w 22979"/>
                <a:gd name="connsiteY0" fmla="*/ 28540 h 28539"/>
                <a:gd name="connsiteX1" fmla="*/ 22979 w 22979"/>
                <a:gd name="connsiteY1" fmla="*/ 0 h 285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2979" h="28539">
                  <a:moveTo>
                    <a:pt x="0" y="28540"/>
                  </a:moveTo>
                  <a:lnTo>
                    <a:pt x="22979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59" name="Forma livre: Forma 458">
              <a:extLst>
                <a:ext uri="{FF2B5EF4-FFF2-40B4-BE49-F238E27FC236}">
                  <a16:creationId xmlns:a16="http://schemas.microsoft.com/office/drawing/2014/main" id="{6C610AAA-30BB-D336-5603-B53B97715C25}"/>
                </a:ext>
              </a:extLst>
            </p:cNvPr>
            <p:cNvSpPr/>
            <p:nvPr/>
          </p:nvSpPr>
          <p:spPr>
            <a:xfrm>
              <a:off x="4793702" y="2759740"/>
              <a:ext cx="22979" cy="28539"/>
            </a:xfrm>
            <a:custGeom>
              <a:avLst/>
              <a:gdLst>
                <a:gd name="connsiteX0" fmla="*/ 22979 w 22979"/>
                <a:gd name="connsiteY0" fmla="*/ 28540 h 28539"/>
                <a:gd name="connsiteX1" fmla="*/ 0 w 22979"/>
                <a:gd name="connsiteY1" fmla="*/ 0 h 285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2979" h="28539">
                  <a:moveTo>
                    <a:pt x="22979" y="28540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60" name="Forma livre: Forma 459">
              <a:extLst>
                <a:ext uri="{FF2B5EF4-FFF2-40B4-BE49-F238E27FC236}">
                  <a16:creationId xmlns:a16="http://schemas.microsoft.com/office/drawing/2014/main" id="{562A8F5C-DEF4-0216-B283-7029F24817DE}"/>
                </a:ext>
              </a:extLst>
            </p:cNvPr>
            <p:cNvSpPr/>
            <p:nvPr/>
          </p:nvSpPr>
          <p:spPr>
            <a:xfrm>
              <a:off x="4750499" y="2731298"/>
              <a:ext cx="22979" cy="28539"/>
            </a:xfrm>
            <a:custGeom>
              <a:avLst/>
              <a:gdLst>
                <a:gd name="connsiteX0" fmla="*/ 0 w 22979"/>
                <a:gd name="connsiteY0" fmla="*/ 28540 h 28539"/>
                <a:gd name="connsiteX1" fmla="*/ 22979 w 22979"/>
                <a:gd name="connsiteY1" fmla="*/ 0 h 285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2979" h="28539">
                  <a:moveTo>
                    <a:pt x="0" y="28540"/>
                  </a:moveTo>
                  <a:lnTo>
                    <a:pt x="22979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61" name="Forma livre: Forma 460">
              <a:extLst>
                <a:ext uri="{FF2B5EF4-FFF2-40B4-BE49-F238E27FC236}">
                  <a16:creationId xmlns:a16="http://schemas.microsoft.com/office/drawing/2014/main" id="{49A45402-37A8-C7D0-EDF4-17A3A7FB03E9}"/>
                </a:ext>
              </a:extLst>
            </p:cNvPr>
            <p:cNvSpPr/>
            <p:nvPr/>
          </p:nvSpPr>
          <p:spPr>
            <a:xfrm>
              <a:off x="4750499" y="2759740"/>
              <a:ext cx="22979" cy="28539"/>
            </a:xfrm>
            <a:custGeom>
              <a:avLst/>
              <a:gdLst>
                <a:gd name="connsiteX0" fmla="*/ 22979 w 22979"/>
                <a:gd name="connsiteY0" fmla="*/ 28540 h 28539"/>
                <a:gd name="connsiteX1" fmla="*/ 0 w 22979"/>
                <a:gd name="connsiteY1" fmla="*/ 0 h 285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2979" h="28539">
                  <a:moveTo>
                    <a:pt x="22979" y="28540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462" name="Gráfico 7">
              <a:extLst>
                <a:ext uri="{FF2B5EF4-FFF2-40B4-BE49-F238E27FC236}">
                  <a16:creationId xmlns:a16="http://schemas.microsoft.com/office/drawing/2014/main" id="{C98182D9-F4C3-0F9E-6C12-23775E2DCC4D}"/>
                </a:ext>
              </a:extLst>
            </p:cNvPr>
            <p:cNvGrpSpPr/>
            <p:nvPr/>
          </p:nvGrpSpPr>
          <p:grpSpPr>
            <a:xfrm>
              <a:off x="4501366" y="2878180"/>
              <a:ext cx="210259" cy="26227"/>
              <a:chOff x="4501366" y="2878180"/>
              <a:chExt cx="210259" cy="26227"/>
            </a:xfrm>
          </p:grpSpPr>
          <p:grpSp>
            <p:nvGrpSpPr>
              <p:cNvPr id="463" name="Gráfico 7">
                <a:extLst>
                  <a:ext uri="{FF2B5EF4-FFF2-40B4-BE49-F238E27FC236}">
                    <a16:creationId xmlns:a16="http://schemas.microsoft.com/office/drawing/2014/main" id="{6A690FEE-BBA7-3E51-94C9-638152318053}"/>
                  </a:ext>
                </a:extLst>
              </p:cNvPr>
              <p:cNvGrpSpPr/>
              <p:nvPr/>
            </p:nvGrpSpPr>
            <p:grpSpPr>
              <a:xfrm>
                <a:off x="4501366" y="2878180"/>
                <a:ext cx="14761" cy="26227"/>
                <a:chOff x="4501366" y="2878180"/>
                <a:chExt cx="14761" cy="26227"/>
              </a:xfrm>
            </p:grpSpPr>
            <p:sp>
              <p:nvSpPr>
                <p:cNvPr id="464" name="Forma livre: Forma 463">
                  <a:extLst>
                    <a:ext uri="{FF2B5EF4-FFF2-40B4-BE49-F238E27FC236}">
                      <a16:creationId xmlns:a16="http://schemas.microsoft.com/office/drawing/2014/main" id="{E50CF947-CA04-17C9-43B3-E677A3A414BB}"/>
                    </a:ext>
                  </a:extLst>
                </p:cNvPr>
                <p:cNvSpPr/>
                <p:nvPr/>
              </p:nvSpPr>
              <p:spPr>
                <a:xfrm>
                  <a:off x="4501366" y="2892449"/>
                  <a:ext cx="6741" cy="11957"/>
                </a:xfrm>
                <a:custGeom>
                  <a:avLst/>
                  <a:gdLst>
                    <a:gd name="connsiteX0" fmla="*/ 0 w 6741"/>
                    <a:gd name="connsiteY0" fmla="*/ 11957 h 11957"/>
                    <a:gd name="connsiteX1" fmla="*/ 6741 w 6741"/>
                    <a:gd name="connsiteY1" fmla="*/ 0 h 1195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6741" h="11957">
                      <a:moveTo>
                        <a:pt x="0" y="11957"/>
                      </a:moveTo>
                      <a:lnTo>
                        <a:pt x="6741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465" name="Forma livre: Forma 464">
                  <a:extLst>
                    <a:ext uri="{FF2B5EF4-FFF2-40B4-BE49-F238E27FC236}">
                      <a16:creationId xmlns:a16="http://schemas.microsoft.com/office/drawing/2014/main" id="{B3D29A7A-6BE1-3D5E-9294-37B31B8669E9}"/>
                    </a:ext>
                  </a:extLst>
                </p:cNvPr>
                <p:cNvSpPr/>
                <p:nvPr/>
              </p:nvSpPr>
              <p:spPr>
                <a:xfrm>
                  <a:off x="4506435" y="2878180"/>
                  <a:ext cx="9693" cy="17173"/>
                </a:xfrm>
                <a:custGeom>
                  <a:avLst/>
                  <a:gdLst>
                    <a:gd name="connsiteX0" fmla="*/ 0 w 9693"/>
                    <a:gd name="connsiteY0" fmla="*/ 17173 h 17173"/>
                    <a:gd name="connsiteX1" fmla="*/ 9694 w 9693"/>
                    <a:gd name="connsiteY1" fmla="*/ 0 h 1717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9693" h="17173">
                      <a:moveTo>
                        <a:pt x="0" y="17173"/>
                      </a:moveTo>
                      <a:lnTo>
                        <a:pt x="9694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466" name="Gráfico 7">
                <a:extLst>
                  <a:ext uri="{FF2B5EF4-FFF2-40B4-BE49-F238E27FC236}">
                    <a16:creationId xmlns:a16="http://schemas.microsoft.com/office/drawing/2014/main" id="{17A87724-7024-36CF-E9A2-E686D7DAA619}"/>
                  </a:ext>
                </a:extLst>
              </p:cNvPr>
              <p:cNvGrpSpPr/>
              <p:nvPr/>
            </p:nvGrpSpPr>
            <p:grpSpPr>
              <a:xfrm>
                <a:off x="4696863" y="2878180"/>
                <a:ext cx="14761" cy="26227"/>
                <a:chOff x="4696863" y="2878180"/>
                <a:chExt cx="14761" cy="26227"/>
              </a:xfrm>
            </p:grpSpPr>
            <p:sp>
              <p:nvSpPr>
                <p:cNvPr id="467" name="Forma livre: Forma 466">
                  <a:extLst>
                    <a:ext uri="{FF2B5EF4-FFF2-40B4-BE49-F238E27FC236}">
                      <a16:creationId xmlns:a16="http://schemas.microsoft.com/office/drawing/2014/main" id="{4268D799-7B38-DBA6-011E-337562DDA041}"/>
                    </a:ext>
                  </a:extLst>
                </p:cNvPr>
                <p:cNvSpPr/>
                <p:nvPr/>
              </p:nvSpPr>
              <p:spPr>
                <a:xfrm>
                  <a:off x="4704933" y="2892449"/>
                  <a:ext cx="6692" cy="11957"/>
                </a:xfrm>
                <a:custGeom>
                  <a:avLst/>
                  <a:gdLst>
                    <a:gd name="connsiteX0" fmla="*/ 6692 w 6692"/>
                    <a:gd name="connsiteY0" fmla="*/ 11957 h 11957"/>
                    <a:gd name="connsiteX1" fmla="*/ 0 w 6692"/>
                    <a:gd name="connsiteY1" fmla="*/ 0 h 1195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6692" h="11957">
                      <a:moveTo>
                        <a:pt x="6692" y="11957"/>
                      </a:moveTo>
                      <a:lnTo>
                        <a:pt x="0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468" name="Forma livre: Forma 467">
                  <a:extLst>
                    <a:ext uri="{FF2B5EF4-FFF2-40B4-BE49-F238E27FC236}">
                      <a16:creationId xmlns:a16="http://schemas.microsoft.com/office/drawing/2014/main" id="{91417CF3-2903-695F-A66E-5373558552B8}"/>
                    </a:ext>
                  </a:extLst>
                </p:cNvPr>
                <p:cNvSpPr/>
                <p:nvPr/>
              </p:nvSpPr>
              <p:spPr>
                <a:xfrm>
                  <a:off x="4696863" y="2878180"/>
                  <a:ext cx="9693" cy="17173"/>
                </a:xfrm>
                <a:custGeom>
                  <a:avLst/>
                  <a:gdLst>
                    <a:gd name="connsiteX0" fmla="*/ 9694 w 9693"/>
                    <a:gd name="connsiteY0" fmla="*/ 17173 h 17173"/>
                    <a:gd name="connsiteX1" fmla="*/ 0 w 9693"/>
                    <a:gd name="connsiteY1" fmla="*/ 0 h 1717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9693" h="17173">
                      <a:moveTo>
                        <a:pt x="9694" y="17173"/>
                      </a:moveTo>
                      <a:lnTo>
                        <a:pt x="0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</p:grpSp>
      <p:grpSp>
        <p:nvGrpSpPr>
          <p:cNvPr id="476" name="Gráfico 14">
            <a:extLst>
              <a:ext uri="{FF2B5EF4-FFF2-40B4-BE49-F238E27FC236}">
                <a16:creationId xmlns:a16="http://schemas.microsoft.com/office/drawing/2014/main" id="{B9227D8E-2C24-D5DE-0E96-DE8B4BDBC0BF}"/>
              </a:ext>
            </a:extLst>
          </p:cNvPr>
          <p:cNvGrpSpPr/>
          <p:nvPr/>
        </p:nvGrpSpPr>
        <p:grpSpPr>
          <a:xfrm>
            <a:off x="6437467" y="993960"/>
            <a:ext cx="231718" cy="346903"/>
            <a:chOff x="6437467" y="993960"/>
            <a:chExt cx="231718" cy="346903"/>
          </a:xfrm>
          <a:noFill/>
        </p:grpSpPr>
        <p:grpSp>
          <p:nvGrpSpPr>
            <p:cNvPr id="477" name="Gráfico 14">
              <a:extLst>
                <a:ext uri="{FF2B5EF4-FFF2-40B4-BE49-F238E27FC236}">
                  <a16:creationId xmlns:a16="http://schemas.microsoft.com/office/drawing/2014/main" id="{E6FDE585-C8A1-0811-6E9C-E9457AA4AE05}"/>
                </a:ext>
              </a:extLst>
            </p:cNvPr>
            <p:cNvGrpSpPr/>
            <p:nvPr/>
          </p:nvGrpSpPr>
          <p:grpSpPr>
            <a:xfrm>
              <a:off x="6437515" y="1173433"/>
              <a:ext cx="231670" cy="167430"/>
              <a:chOff x="6437515" y="1173433"/>
              <a:chExt cx="231670" cy="167430"/>
            </a:xfrm>
            <a:noFill/>
          </p:grpSpPr>
          <p:sp>
            <p:nvSpPr>
              <p:cNvPr id="478" name="Forma livre: Forma 477">
                <a:extLst>
                  <a:ext uri="{FF2B5EF4-FFF2-40B4-BE49-F238E27FC236}">
                    <a16:creationId xmlns:a16="http://schemas.microsoft.com/office/drawing/2014/main" id="{39A50314-21FD-0F68-ABC3-8EEFCC6566E6}"/>
                  </a:ext>
                </a:extLst>
              </p:cNvPr>
              <p:cNvSpPr/>
              <p:nvPr/>
            </p:nvSpPr>
            <p:spPr>
              <a:xfrm>
                <a:off x="6437515" y="1173433"/>
                <a:ext cx="115427" cy="83906"/>
              </a:xfrm>
              <a:custGeom>
                <a:avLst/>
                <a:gdLst>
                  <a:gd name="connsiteX0" fmla="*/ 57703 w 115427"/>
                  <a:gd name="connsiteY0" fmla="*/ 83907 h 83906"/>
                  <a:gd name="connsiteX1" fmla="*/ 11427 w 115427"/>
                  <a:gd name="connsiteY1" fmla="*/ 55547 h 83906"/>
                  <a:gd name="connsiteX2" fmla="*/ 3523 w 115427"/>
                  <a:gd name="connsiteY2" fmla="*/ 22589 h 83906"/>
                  <a:gd name="connsiteX3" fmla="*/ 10373 w 115427"/>
                  <a:gd name="connsiteY3" fmla="*/ 11427 h 83906"/>
                  <a:gd name="connsiteX4" fmla="*/ 43332 w 115427"/>
                  <a:gd name="connsiteY4" fmla="*/ 3523 h 83906"/>
                  <a:gd name="connsiteX5" fmla="*/ 115428 w 115427"/>
                  <a:gd name="connsiteY5" fmla="*/ 47643 h 839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15427" h="83906">
                    <a:moveTo>
                      <a:pt x="57703" y="83907"/>
                    </a:moveTo>
                    <a:lnTo>
                      <a:pt x="11427" y="55547"/>
                    </a:lnTo>
                    <a:cubicBezTo>
                      <a:pt x="170" y="48649"/>
                      <a:pt x="-3375" y="33846"/>
                      <a:pt x="3523" y="22589"/>
                    </a:cubicBezTo>
                    <a:lnTo>
                      <a:pt x="10373" y="11427"/>
                    </a:lnTo>
                    <a:cubicBezTo>
                      <a:pt x="17271" y="170"/>
                      <a:pt x="32074" y="-3375"/>
                      <a:pt x="43332" y="3523"/>
                    </a:cubicBezTo>
                    <a:lnTo>
                      <a:pt x="115428" y="47643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79" name="Forma livre: Forma 478">
                <a:extLst>
                  <a:ext uri="{FF2B5EF4-FFF2-40B4-BE49-F238E27FC236}">
                    <a16:creationId xmlns:a16="http://schemas.microsoft.com/office/drawing/2014/main" id="{F08F9333-909E-CC66-06F8-24345149204A}"/>
                  </a:ext>
                </a:extLst>
              </p:cNvPr>
              <p:cNvSpPr/>
              <p:nvPr/>
            </p:nvSpPr>
            <p:spPr>
              <a:xfrm>
                <a:off x="6553709" y="1257387"/>
                <a:ext cx="115475" cy="83475"/>
              </a:xfrm>
              <a:custGeom>
                <a:avLst/>
                <a:gdLst>
                  <a:gd name="connsiteX0" fmla="*/ 58491 w 115475"/>
                  <a:gd name="connsiteY0" fmla="*/ 0 h 83475"/>
                  <a:gd name="connsiteX1" fmla="*/ 104049 w 115475"/>
                  <a:gd name="connsiteY1" fmla="*/ 27880 h 83475"/>
                  <a:gd name="connsiteX2" fmla="*/ 111953 w 115475"/>
                  <a:gd name="connsiteY2" fmla="*/ 60839 h 83475"/>
                  <a:gd name="connsiteX3" fmla="*/ 105103 w 115475"/>
                  <a:gd name="connsiteY3" fmla="*/ 72049 h 83475"/>
                  <a:gd name="connsiteX4" fmla="*/ 72144 w 115475"/>
                  <a:gd name="connsiteY4" fmla="*/ 79953 h 83475"/>
                  <a:gd name="connsiteX5" fmla="*/ 0 w 115475"/>
                  <a:gd name="connsiteY5" fmla="*/ 35785 h 834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15475" h="83475">
                    <a:moveTo>
                      <a:pt x="58491" y="0"/>
                    </a:moveTo>
                    <a:lnTo>
                      <a:pt x="104049" y="27880"/>
                    </a:lnTo>
                    <a:cubicBezTo>
                      <a:pt x="115306" y="34779"/>
                      <a:pt x="118851" y="49581"/>
                      <a:pt x="111953" y="60839"/>
                    </a:cubicBezTo>
                    <a:lnTo>
                      <a:pt x="105103" y="72049"/>
                    </a:lnTo>
                    <a:cubicBezTo>
                      <a:pt x="98204" y="83306"/>
                      <a:pt x="83402" y="86851"/>
                      <a:pt x="72144" y="79953"/>
                    </a:cubicBezTo>
                    <a:lnTo>
                      <a:pt x="0" y="35785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80" name="Forma livre: Forma 479">
                <a:extLst>
                  <a:ext uri="{FF2B5EF4-FFF2-40B4-BE49-F238E27FC236}">
                    <a16:creationId xmlns:a16="http://schemas.microsoft.com/office/drawing/2014/main" id="{AA7978E8-7299-BB69-8B04-AB307AF34DA0}"/>
                  </a:ext>
                </a:extLst>
              </p:cNvPr>
              <p:cNvSpPr/>
              <p:nvPr/>
            </p:nvSpPr>
            <p:spPr>
              <a:xfrm>
                <a:off x="6446307" y="1191662"/>
                <a:ext cx="51641" cy="31569"/>
              </a:xfrm>
              <a:custGeom>
                <a:avLst/>
                <a:gdLst>
                  <a:gd name="connsiteX0" fmla="*/ 51641 w 51641"/>
                  <a:gd name="connsiteY0" fmla="*/ 31569 h 31569"/>
                  <a:gd name="connsiteX1" fmla="*/ 0 w 51641"/>
                  <a:gd name="connsiteY1" fmla="*/ 0 h 315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1641" h="31569">
                    <a:moveTo>
                      <a:pt x="51641" y="31569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81" name="Forma livre: Forma 480">
                <a:extLst>
                  <a:ext uri="{FF2B5EF4-FFF2-40B4-BE49-F238E27FC236}">
                    <a16:creationId xmlns:a16="http://schemas.microsoft.com/office/drawing/2014/main" id="{6AF23959-8E0B-B80E-43E2-CF6533A079A8}"/>
                  </a:ext>
                </a:extLst>
              </p:cNvPr>
              <p:cNvSpPr/>
              <p:nvPr/>
            </p:nvSpPr>
            <p:spPr>
              <a:xfrm>
                <a:off x="6610955" y="1292405"/>
                <a:ext cx="25581" cy="15664"/>
              </a:xfrm>
              <a:custGeom>
                <a:avLst/>
                <a:gdLst>
                  <a:gd name="connsiteX0" fmla="*/ 25581 w 25581"/>
                  <a:gd name="connsiteY0" fmla="*/ 15665 h 15664"/>
                  <a:gd name="connsiteX1" fmla="*/ 0 w 25581"/>
                  <a:gd name="connsiteY1" fmla="*/ 0 h 156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5581" h="15664">
                    <a:moveTo>
                      <a:pt x="25581" y="15665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482" name="Gráfico 14">
              <a:extLst>
                <a:ext uri="{FF2B5EF4-FFF2-40B4-BE49-F238E27FC236}">
                  <a16:creationId xmlns:a16="http://schemas.microsoft.com/office/drawing/2014/main" id="{6481DAE4-61DF-675B-CD51-D4AD5C09EEF7}"/>
                </a:ext>
              </a:extLst>
            </p:cNvPr>
            <p:cNvGrpSpPr/>
            <p:nvPr/>
          </p:nvGrpSpPr>
          <p:grpSpPr>
            <a:xfrm>
              <a:off x="6437467" y="1173433"/>
              <a:ext cx="231718" cy="167382"/>
              <a:chOff x="6437467" y="1173433"/>
              <a:chExt cx="231718" cy="167382"/>
            </a:xfrm>
            <a:noFill/>
          </p:grpSpPr>
          <p:sp>
            <p:nvSpPr>
              <p:cNvPr id="483" name="Forma livre: Forma 482">
                <a:extLst>
                  <a:ext uri="{FF2B5EF4-FFF2-40B4-BE49-F238E27FC236}">
                    <a16:creationId xmlns:a16="http://schemas.microsoft.com/office/drawing/2014/main" id="{9B3C82D9-6AAC-9D95-2F93-454FECC050EC}"/>
                  </a:ext>
                </a:extLst>
              </p:cNvPr>
              <p:cNvSpPr/>
              <p:nvPr/>
            </p:nvSpPr>
            <p:spPr>
              <a:xfrm>
                <a:off x="6437467" y="1173433"/>
                <a:ext cx="231718" cy="167382"/>
              </a:xfrm>
              <a:custGeom>
                <a:avLst/>
                <a:gdLst>
                  <a:gd name="connsiteX0" fmla="*/ 221345 w 231718"/>
                  <a:gd name="connsiteY0" fmla="*/ 11427 h 167382"/>
                  <a:gd name="connsiteX1" fmla="*/ 188387 w 231718"/>
                  <a:gd name="connsiteY1" fmla="*/ 3523 h 167382"/>
                  <a:gd name="connsiteX2" fmla="*/ 11427 w 231718"/>
                  <a:gd name="connsiteY2" fmla="*/ 111835 h 167382"/>
                  <a:gd name="connsiteX3" fmla="*/ 3523 w 231718"/>
                  <a:gd name="connsiteY3" fmla="*/ 144794 h 167382"/>
                  <a:gd name="connsiteX4" fmla="*/ 10373 w 231718"/>
                  <a:gd name="connsiteY4" fmla="*/ 155955 h 167382"/>
                  <a:gd name="connsiteX5" fmla="*/ 43332 w 231718"/>
                  <a:gd name="connsiteY5" fmla="*/ 163860 h 167382"/>
                  <a:gd name="connsiteX6" fmla="*/ 220291 w 231718"/>
                  <a:gd name="connsiteY6" fmla="*/ 55547 h 167382"/>
                  <a:gd name="connsiteX7" fmla="*/ 228195 w 231718"/>
                  <a:gd name="connsiteY7" fmla="*/ 22589 h 167382"/>
                  <a:gd name="connsiteX8" fmla="*/ 221345 w 231718"/>
                  <a:gd name="connsiteY8" fmla="*/ 11379 h 1673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31718" h="167382">
                    <a:moveTo>
                      <a:pt x="221345" y="11427"/>
                    </a:moveTo>
                    <a:cubicBezTo>
                      <a:pt x="214447" y="170"/>
                      <a:pt x="199644" y="-3375"/>
                      <a:pt x="188387" y="3523"/>
                    </a:cubicBezTo>
                    <a:lnTo>
                      <a:pt x="11427" y="111835"/>
                    </a:lnTo>
                    <a:cubicBezTo>
                      <a:pt x="170" y="118733"/>
                      <a:pt x="-3375" y="133536"/>
                      <a:pt x="3523" y="144794"/>
                    </a:cubicBezTo>
                    <a:lnTo>
                      <a:pt x="10373" y="155955"/>
                    </a:lnTo>
                    <a:cubicBezTo>
                      <a:pt x="17271" y="167213"/>
                      <a:pt x="32074" y="170758"/>
                      <a:pt x="43332" y="163860"/>
                    </a:cubicBezTo>
                    <a:lnTo>
                      <a:pt x="220291" y="55547"/>
                    </a:lnTo>
                    <a:cubicBezTo>
                      <a:pt x="231549" y="48649"/>
                      <a:pt x="235094" y="33846"/>
                      <a:pt x="228195" y="22589"/>
                    </a:cubicBezTo>
                    <a:lnTo>
                      <a:pt x="221345" y="11379"/>
                    </a:ln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84" name="Forma livre: Forma 483">
                <a:extLst>
                  <a:ext uri="{FF2B5EF4-FFF2-40B4-BE49-F238E27FC236}">
                    <a16:creationId xmlns:a16="http://schemas.microsoft.com/office/drawing/2014/main" id="{5E9D2BC3-EDB3-2324-1CE7-2DA2AAEC06D3}"/>
                  </a:ext>
                </a:extLst>
              </p:cNvPr>
              <p:cNvSpPr/>
              <p:nvPr/>
            </p:nvSpPr>
            <p:spPr>
              <a:xfrm>
                <a:off x="6582548" y="1206225"/>
                <a:ext cx="53988" cy="33006"/>
              </a:xfrm>
              <a:custGeom>
                <a:avLst/>
                <a:gdLst>
                  <a:gd name="connsiteX0" fmla="*/ 53988 w 53988"/>
                  <a:gd name="connsiteY0" fmla="*/ 0 h 33006"/>
                  <a:gd name="connsiteX1" fmla="*/ 0 w 53988"/>
                  <a:gd name="connsiteY1" fmla="*/ 33006 h 330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3988" h="33006">
                    <a:moveTo>
                      <a:pt x="53988" y="0"/>
                    </a:moveTo>
                    <a:lnTo>
                      <a:pt x="0" y="33006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85" name="Forma livre: Forma 484">
                <a:extLst>
                  <a:ext uri="{FF2B5EF4-FFF2-40B4-BE49-F238E27FC236}">
                    <a16:creationId xmlns:a16="http://schemas.microsoft.com/office/drawing/2014/main" id="{152B4E34-3455-FCE9-9672-2E5240A30526}"/>
                  </a:ext>
                </a:extLst>
              </p:cNvPr>
              <p:cNvSpPr/>
              <p:nvPr/>
            </p:nvSpPr>
            <p:spPr>
              <a:xfrm>
                <a:off x="6446307" y="1254178"/>
                <a:ext cx="111809" cy="68455"/>
              </a:xfrm>
              <a:custGeom>
                <a:avLst/>
                <a:gdLst>
                  <a:gd name="connsiteX0" fmla="*/ 111809 w 111809"/>
                  <a:gd name="connsiteY0" fmla="*/ 0 h 68455"/>
                  <a:gd name="connsiteX1" fmla="*/ 0 w 111809"/>
                  <a:gd name="connsiteY1" fmla="*/ 68456 h 684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1809" h="68455">
                    <a:moveTo>
                      <a:pt x="111809" y="0"/>
                    </a:moveTo>
                    <a:lnTo>
                      <a:pt x="0" y="68456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486" name="Forma livre: Forma 485">
              <a:extLst>
                <a:ext uri="{FF2B5EF4-FFF2-40B4-BE49-F238E27FC236}">
                  <a16:creationId xmlns:a16="http://schemas.microsoft.com/office/drawing/2014/main" id="{E21CF7C0-FB18-2A1C-46CA-8E9EDAA052BC}"/>
                </a:ext>
              </a:extLst>
            </p:cNvPr>
            <p:cNvSpPr/>
            <p:nvPr/>
          </p:nvSpPr>
          <p:spPr>
            <a:xfrm>
              <a:off x="6494200" y="993960"/>
              <a:ext cx="118108" cy="179747"/>
            </a:xfrm>
            <a:custGeom>
              <a:avLst/>
              <a:gdLst>
                <a:gd name="connsiteX0" fmla="*/ 56348 w 118108"/>
                <a:gd name="connsiteY0" fmla="*/ 118947 h 179747"/>
                <a:gd name="connsiteX1" fmla="*/ 24204 w 118108"/>
                <a:gd name="connsiteY1" fmla="*/ 49150 h 179747"/>
                <a:gd name="connsiteX2" fmla="*/ 13138 w 118108"/>
                <a:gd name="connsiteY2" fmla="*/ 95330 h 179747"/>
                <a:gd name="connsiteX3" fmla="*/ 5090 w 118108"/>
                <a:gd name="connsiteY3" fmla="*/ 148552 h 179747"/>
                <a:gd name="connsiteX4" fmla="*/ 59797 w 118108"/>
                <a:gd name="connsiteY4" fmla="*/ 179690 h 179747"/>
                <a:gd name="connsiteX5" fmla="*/ 118049 w 118108"/>
                <a:gd name="connsiteY5" fmla="*/ 121438 h 179747"/>
                <a:gd name="connsiteX6" fmla="*/ 91893 w 118108"/>
                <a:gd name="connsiteY6" fmla="*/ 65294 h 179747"/>
                <a:gd name="connsiteX7" fmla="*/ 73881 w 118108"/>
                <a:gd name="connsiteY7" fmla="*/ 0 h 179747"/>
                <a:gd name="connsiteX8" fmla="*/ 49449 w 118108"/>
                <a:gd name="connsiteY8" fmla="*/ 36743 h 179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8108" h="179747">
                  <a:moveTo>
                    <a:pt x="56348" y="118947"/>
                  </a:moveTo>
                  <a:cubicBezTo>
                    <a:pt x="58360" y="77797"/>
                    <a:pt x="24204" y="49150"/>
                    <a:pt x="24204" y="49150"/>
                  </a:cubicBezTo>
                  <a:cubicBezTo>
                    <a:pt x="24204" y="49150"/>
                    <a:pt x="33258" y="70228"/>
                    <a:pt x="13138" y="95330"/>
                  </a:cubicBezTo>
                  <a:cubicBezTo>
                    <a:pt x="13138" y="95330"/>
                    <a:pt x="-9952" y="120432"/>
                    <a:pt x="5090" y="148552"/>
                  </a:cubicBezTo>
                  <a:cubicBezTo>
                    <a:pt x="5090" y="148552"/>
                    <a:pt x="20132" y="179690"/>
                    <a:pt x="59797" y="179690"/>
                  </a:cubicBezTo>
                  <a:cubicBezTo>
                    <a:pt x="59797" y="179690"/>
                    <a:pt x="118049" y="183858"/>
                    <a:pt x="118049" y="121438"/>
                  </a:cubicBezTo>
                  <a:cubicBezTo>
                    <a:pt x="118049" y="121438"/>
                    <a:pt x="120636" y="90444"/>
                    <a:pt x="91893" y="65294"/>
                  </a:cubicBezTo>
                  <a:cubicBezTo>
                    <a:pt x="78863" y="53893"/>
                    <a:pt x="65545" y="38036"/>
                    <a:pt x="73881" y="0"/>
                  </a:cubicBezTo>
                  <a:cubicBezTo>
                    <a:pt x="73881" y="0"/>
                    <a:pt x="58168" y="13557"/>
                    <a:pt x="49449" y="36743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487" name="Gráfico 14">
            <a:extLst>
              <a:ext uri="{FF2B5EF4-FFF2-40B4-BE49-F238E27FC236}">
                <a16:creationId xmlns:a16="http://schemas.microsoft.com/office/drawing/2014/main" id="{1F849973-0DEA-EBCB-9F4A-76878C5A662D}"/>
              </a:ext>
            </a:extLst>
          </p:cNvPr>
          <p:cNvGrpSpPr/>
          <p:nvPr/>
        </p:nvGrpSpPr>
        <p:grpSpPr>
          <a:xfrm>
            <a:off x="7622796" y="1048475"/>
            <a:ext cx="351907" cy="237798"/>
            <a:chOff x="7622796" y="1048475"/>
            <a:chExt cx="351907" cy="237798"/>
          </a:xfrm>
        </p:grpSpPr>
        <p:sp>
          <p:nvSpPr>
            <p:cNvPr id="488" name="Forma livre: Forma 487">
              <a:extLst>
                <a:ext uri="{FF2B5EF4-FFF2-40B4-BE49-F238E27FC236}">
                  <a16:creationId xmlns:a16="http://schemas.microsoft.com/office/drawing/2014/main" id="{38715FBD-A362-4DA9-6E05-0D25361073E2}"/>
                </a:ext>
              </a:extLst>
            </p:cNvPr>
            <p:cNvSpPr/>
            <p:nvPr/>
          </p:nvSpPr>
          <p:spPr>
            <a:xfrm>
              <a:off x="7622796" y="1048475"/>
              <a:ext cx="314411" cy="214852"/>
            </a:xfrm>
            <a:custGeom>
              <a:avLst/>
              <a:gdLst>
                <a:gd name="connsiteX0" fmla="*/ 82731 w 314411"/>
                <a:gd name="connsiteY0" fmla="*/ 214613 h 214852"/>
                <a:gd name="connsiteX1" fmla="*/ 78036 w 314411"/>
                <a:gd name="connsiteY1" fmla="*/ 214852 h 214852"/>
                <a:gd name="connsiteX2" fmla="*/ 0 w 314411"/>
                <a:gd name="connsiteY2" fmla="*/ 107450 h 214852"/>
                <a:gd name="connsiteX3" fmla="*/ 117845 w 314411"/>
                <a:gd name="connsiteY3" fmla="*/ 0 h 214852"/>
                <a:gd name="connsiteX4" fmla="*/ 189989 w 314411"/>
                <a:gd name="connsiteY4" fmla="*/ 0 h 214852"/>
                <a:gd name="connsiteX5" fmla="*/ 309559 w 314411"/>
                <a:gd name="connsiteY5" fmla="*/ 107450 h 214852"/>
                <a:gd name="connsiteX6" fmla="*/ 279427 w 314411"/>
                <a:gd name="connsiteY6" fmla="*/ 214852 h 214852"/>
                <a:gd name="connsiteX7" fmla="*/ 183714 w 314411"/>
                <a:gd name="connsiteY7" fmla="*/ 214852 h 214852"/>
                <a:gd name="connsiteX8" fmla="*/ 178636 w 314411"/>
                <a:gd name="connsiteY8" fmla="*/ 214613 h 214852"/>
                <a:gd name="connsiteX9" fmla="*/ 130684 w 314411"/>
                <a:gd name="connsiteY9" fmla="*/ 166660 h 214852"/>
                <a:gd name="connsiteX10" fmla="*/ 82731 w 314411"/>
                <a:gd name="connsiteY10" fmla="*/ 214613 h 2148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14411" h="214852">
                  <a:moveTo>
                    <a:pt x="82731" y="214613"/>
                  </a:moveTo>
                  <a:lnTo>
                    <a:pt x="78036" y="214852"/>
                  </a:lnTo>
                  <a:cubicBezTo>
                    <a:pt x="4168" y="214852"/>
                    <a:pt x="0" y="166516"/>
                    <a:pt x="0" y="107450"/>
                  </a:cubicBezTo>
                  <a:cubicBezTo>
                    <a:pt x="0" y="48384"/>
                    <a:pt x="53126" y="0"/>
                    <a:pt x="117845" y="0"/>
                  </a:cubicBezTo>
                  <a:lnTo>
                    <a:pt x="189989" y="0"/>
                  </a:lnTo>
                  <a:cubicBezTo>
                    <a:pt x="254709" y="0"/>
                    <a:pt x="305583" y="48479"/>
                    <a:pt x="309559" y="107450"/>
                  </a:cubicBezTo>
                  <a:cubicBezTo>
                    <a:pt x="314733" y="185487"/>
                    <a:pt x="325320" y="214852"/>
                    <a:pt x="279427" y="214852"/>
                  </a:cubicBezTo>
                  <a:lnTo>
                    <a:pt x="183714" y="214852"/>
                  </a:lnTo>
                  <a:lnTo>
                    <a:pt x="178636" y="214613"/>
                  </a:lnTo>
                  <a:cubicBezTo>
                    <a:pt x="178636" y="188121"/>
                    <a:pt x="157175" y="166660"/>
                    <a:pt x="130684" y="166660"/>
                  </a:cubicBezTo>
                  <a:cubicBezTo>
                    <a:pt x="104192" y="166660"/>
                    <a:pt x="82731" y="188121"/>
                    <a:pt x="82731" y="214613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89" name="Forma livre: Forma 488">
              <a:extLst>
                <a:ext uri="{FF2B5EF4-FFF2-40B4-BE49-F238E27FC236}">
                  <a16:creationId xmlns:a16="http://schemas.microsoft.com/office/drawing/2014/main" id="{BBA356B5-95B6-EDDE-C33C-8E25E6803C0E}"/>
                </a:ext>
              </a:extLst>
            </p:cNvPr>
            <p:cNvSpPr/>
            <p:nvPr/>
          </p:nvSpPr>
          <p:spPr>
            <a:xfrm>
              <a:off x="7937817" y="1218153"/>
              <a:ext cx="36886" cy="15521"/>
            </a:xfrm>
            <a:custGeom>
              <a:avLst/>
              <a:gdLst>
                <a:gd name="connsiteX0" fmla="*/ 0 w 36886"/>
                <a:gd name="connsiteY0" fmla="*/ 15521 h 15521"/>
                <a:gd name="connsiteX1" fmla="*/ 36887 w 36886"/>
                <a:gd name="connsiteY1" fmla="*/ 15521 h 15521"/>
                <a:gd name="connsiteX2" fmla="*/ 36887 w 36886"/>
                <a:gd name="connsiteY2" fmla="*/ 0 h 155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6886" h="15521">
                  <a:moveTo>
                    <a:pt x="0" y="15521"/>
                  </a:moveTo>
                  <a:lnTo>
                    <a:pt x="36887" y="15521"/>
                  </a:lnTo>
                  <a:lnTo>
                    <a:pt x="36887" y="0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90" name="Forma livre: Forma 489">
              <a:extLst>
                <a:ext uri="{FF2B5EF4-FFF2-40B4-BE49-F238E27FC236}">
                  <a16:creationId xmlns:a16="http://schemas.microsoft.com/office/drawing/2014/main" id="{8ED5DB6C-E16C-2C61-FE52-4B84DFD160C7}"/>
                </a:ext>
              </a:extLst>
            </p:cNvPr>
            <p:cNvSpPr/>
            <p:nvPr/>
          </p:nvSpPr>
          <p:spPr>
            <a:xfrm>
              <a:off x="7731779" y="1242776"/>
              <a:ext cx="43497" cy="43497"/>
            </a:xfrm>
            <a:custGeom>
              <a:avLst/>
              <a:gdLst>
                <a:gd name="connsiteX0" fmla="*/ 0 w 43497"/>
                <a:gd name="connsiteY0" fmla="*/ 21749 h 43497"/>
                <a:gd name="connsiteX1" fmla="*/ 21749 w 43497"/>
                <a:gd name="connsiteY1" fmla="*/ 43497 h 43497"/>
                <a:gd name="connsiteX2" fmla="*/ 43497 w 43497"/>
                <a:gd name="connsiteY2" fmla="*/ 21749 h 43497"/>
                <a:gd name="connsiteX3" fmla="*/ 21749 w 43497"/>
                <a:gd name="connsiteY3" fmla="*/ 0 h 43497"/>
                <a:gd name="connsiteX4" fmla="*/ 0 w 43497"/>
                <a:gd name="connsiteY4" fmla="*/ 21749 h 434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3497" h="43497">
                  <a:moveTo>
                    <a:pt x="0" y="21749"/>
                  </a:moveTo>
                  <a:cubicBezTo>
                    <a:pt x="0" y="33773"/>
                    <a:pt x="9772" y="43497"/>
                    <a:pt x="21749" y="43497"/>
                  </a:cubicBezTo>
                  <a:cubicBezTo>
                    <a:pt x="33725" y="43497"/>
                    <a:pt x="43497" y="33773"/>
                    <a:pt x="43497" y="21749"/>
                  </a:cubicBezTo>
                  <a:cubicBezTo>
                    <a:pt x="43497" y="9725"/>
                    <a:pt x="33773" y="0"/>
                    <a:pt x="21749" y="0"/>
                  </a:cubicBezTo>
                  <a:cubicBezTo>
                    <a:pt x="9725" y="0"/>
                    <a:pt x="0" y="9725"/>
                    <a:pt x="0" y="21749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91" name="Forma livre: Forma 490">
              <a:extLst>
                <a:ext uri="{FF2B5EF4-FFF2-40B4-BE49-F238E27FC236}">
                  <a16:creationId xmlns:a16="http://schemas.microsoft.com/office/drawing/2014/main" id="{90EEB30F-34EC-DA1C-A53E-212C5D1C4AD4}"/>
                </a:ext>
              </a:extLst>
            </p:cNvPr>
            <p:cNvSpPr/>
            <p:nvPr/>
          </p:nvSpPr>
          <p:spPr>
            <a:xfrm>
              <a:off x="7828115" y="1109554"/>
              <a:ext cx="61317" cy="130875"/>
            </a:xfrm>
            <a:custGeom>
              <a:avLst/>
              <a:gdLst>
                <a:gd name="connsiteX0" fmla="*/ 0 w 61317"/>
                <a:gd name="connsiteY0" fmla="*/ 130875 h 130875"/>
                <a:gd name="connsiteX1" fmla="*/ 0 w 61317"/>
                <a:gd name="connsiteY1" fmla="*/ 17341 h 130875"/>
                <a:gd name="connsiteX2" fmla="*/ 17341 w 61317"/>
                <a:gd name="connsiteY2" fmla="*/ 0 h 130875"/>
                <a:gd name="connsiteX3" fmla="*/ 43976 w 61317"/>
                <a:gd name="connsiteY3" fmla="*/ 0 h 130875"/>
                <a:gd name="connsiteX4" fmla="*/ 61318 w 61317"/>
                <a:gd name="connsiteY4" fmla="*/ 17341 h 130875"/>
                <a:gd name="connsiteX5" fmla="*/ 61318 w 61317"/>
                <a:gd name="connsiteY5" fmla="*/ 130875 h 130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1317" h="130875">
                  <a:moveTo>
                    <a:pt x="0" y="130875"/>
                  </a:moveTo>
                  <a:lnTo>
                    <a:pt x="0" y="17341"/>
                  </a:lnTo>
                  <a:cubicBezTo>
                    <a:pt x="0" y="7808"/>
                    <a:pt x="7761" y="0"/>
                    <a:pt x="17341" y="0"/>
                  </a:cubicBezTo>
                  <a:lnTo>
                    <a:pt x="43976" y="0"/>
                  </a:lnTo>
                  <a:cubicBezTo>
                    <a:pt x="53509" y="0"/>
                    <a:pt x="61318" y="7808"/>
                    <a:pt x="61318" y="17341"/>
                  </a:cubicBezTo>
                  <a:lnTo>
                    <a:pt x="61318" y="130875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92" name="Forma livre: Forma 491">
              <a:extLst>
                <a:ext uri="{FF2B5EF4-FFF2-40B4-BE49-F238E27FC236}">
                  <a16:creationId xmlns:a16="http://schemas.microsoft.com/office/drawing/2014/main" id="{7F2609C6-9F7D-739D-F953-91C30CBE553A}"/>
                </a:ext>
              </a:extLst>
            </p:cNvPr>
            <p:cNvSpPr/>
            <p:nvPr/>
          </p:nvSpPr>
          <p:spPr>
            <a:xfrm>
              <a:off x="7682725" y="1109554"/>
              <a:ext cx="93749" cy="57102"/>
            </a:xfrm>
            <a:custGeom>
              <a:avLst/>
              <a:gdLst>
                <a:gd name="connsiteX0" fmla="*/ 17341 w 93749"/>
                <a:gd name="connsiteY0" fmla="*/ 0 h 57102"/>
                <a:gd name="connsiteX1" fmla="*/ 76408 w 93749"/>
                <a:gd name="connsiteY1" fmla="*/ 0 h 57102"/>
                <a:gd name="connsiteX2" fmla="*/ 93749 w 93749"/>
                <a:gd name="connsiteY2" fmla="*/ 17341 h 57102"/>
                <a:gd name="connsiteX3" fmla="*/ 93749 w 93749"/>
                <a:gd name="connsiteY3" fmla="*/ 39761 h 57102"/>
                <a:gd name="connsiteX4" fmla="*/ 76408 w 93749"/>
                <a:gd name="connsiteY4" fmla="*/ 57102 h 57102"/>
                <a:gd name="connsiteX5" fmla="*/ 17341 w 93749"/>
                <a:gd name="connsiteY5" fmla="*/ 57102 h 57102"/>
                <a:gd name="connsiteX6" fmla="*/ 0 w 93749"/>
                <a:gd name="connsiteY6" fmla="*/ 39761 h 57102"/>
                <a:gd name="connsiteX7" fmla="*/ 0 w 93749"/>
                <a:gd name="connsiteY7" fmla="*/ 17341 h 57102"/>
                <a:gd name="connsiteX8" fmla="*/ 17341 w 93749"/>
                <a:gd name="connsiteY8" fmla="*/ 0 h 571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93749" h="57102">
                  <a:moveTo>
                    <a:pt x="17341" y="0"/>
                  </a:moveTo>
                  <a:lnTo>
                    <a:pt x="76408" y="0"/>
                  </a:lnTo>
                  <a:cubicBezTo>
                    <a:pt x="85989" y="0"/>
                    <a:pt x="93749" y="7761"/>
                    <a:pt x="93749" y="17341"/>
                  </a:cubicBezTo>
                  <a:lnTo>
                    <a:pt x="93749" y="39761"/>
                  </a:lnTo>
                  <a:cubicBezTo>
                    <a:pt x="93749" y="49342"/>
                    <a:pt x="85989" y="57102"/>
                    <a:pt x="76408" y="57102"/>
                  </a:cubicBezTo>
                  <a:lnTo>
                    <a:pt x="17341" y="57102"/>
                  </a:lnTo>
                  <a:cubicBezTo>
                    <a:pt x="7761" y="57102"/>
                    <a:pt x="0" y="49342"/>
                    <a:pt x="0" y="39761"/>
                  </a:cubicBezTo>
                  <a:lnTo>
                    <a:pt x="0" y="17341"/>
                  </a:lnTo>
                  <a:cubicBezTo>
                    <a:pt x="0" y="7761"/>
                    <a:pt x="7761" y="0"/>
                    <a:pt x="17341" y="0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93" name="Forma livre: Forma 492">
              <a:extLst>
                <a:ext uri="{FF2B5EF4-FFF2-40B4-BE49-F238E27FC236}">
                  <a16:creationId xmlns:a16="http://schemas.microsoft.com/office/drawing/2014/main" id="{F34C77DA-3B76-5B44-F344-C76B666B0D8B}"/>
                </a:ext>
              </a:extLst>
            </p:cNvPr>
            <p:cNvSpPr/>
            <p:nvPr/>
          </p:nvSpPr>
          <p:spPr>
            <a:xfrm>
              <a:off x="7859253" y="1183518"/>
              <a:ext cx="7473" cy="7473"/>
            </a:xfrm>
            <a:custGeom>
              <a:avLst/>
              <a:gdLst>
                <a:gd name="connsiteX0" fmla="*/ 7473 w 7473"/>
                <a:gd name="connsiteY0" fmla="*/ 3737 h 7473"/>
                <a:gd name="connsiteX1" fmla="*/ 3737 w 7473"/>
                <a:gd name="connsiteY1" fmla="*/ 7473 h 7473"/>
                <a:gd name="connsiteX2" fmla="*/ 0 w 7473"/>
                <a:gd name="connsiteY2" fmla="*/ 3737 h 7473"/>
                <a:gd name="connsiteX3" fmla="*/ 3737 w 7473"/>
                <a:gd name="connsiteY3" fmla="*/ 0 h 7473"/>
                <a:gd name="connsiteX4" fmla="*/ 7473 w 7473"/>
                <a:gd name="connsiteY4" fmla="*/ 3737 h 74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473" h="7473">
                  <a:moveTo>
                    <a:pt x="7473" y="3737"/>
                  </a:moveTo>
                  <a:cubicBezTo>
                    <a:pt x="7473" y="5796"/>
                    <a:pt x="5796" y="7473"/>
                    <a:pt x="3737" y="7473"/>
                  </a:cubicBezTo>
                  <a:cubicBezTo>
                    <a:pt x="1677" y="7473"/>
                    <a:pt x="0" y="5796"/>
                    <a:pt x="0" y="3737"/>
                  </a:cubicBezTo>
                  <a:cubicBezTo>
                    <a:pt x="0" y="1677"/>
                    <a:pt x="1677" y="0"/>
                    <a:pt x="3737" y="0"/>
                  </a:cubicBezTo>
                  <a:cubicBezTo>
                    <a:pt x="5796" y="0"/>
                    <a:pt x="7473" y="1677"/>
                    <a:pt x="7473" y="3737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494" name="Gráfico 14">
            <a:extLst>
              <a:ext uri="{FF2B5EF4-FFF2-40B4-BE49-F238E27FC236}">
                <a16:creationId xmlns:a16="http://schemas.microsoft.com/office/drawing/2014/main" id="{B2A7E7BF-2586-C125-E651-BFD5331D2F25}"/>
              </a:ext>
            </a:extLst>
          </p:cNvPr>
          <p:cNvGrpSpPr/>
          <p:nvPr/>
        </p:nvGrpSpPr>
        <p:grpSpPr>
          <a:xfrm>
            <a:off x="7041761" y="987062"/>
            <a:ext cx="268553" cy="360625"/>
            <a:chOff x="7041761" y="987062"/>
            <a:chExt cx="268553" cy="360625"/>
          </a:xfrm>
          <a:noFill/>
        </p:grpSpPr>
        <p:sp>
          <p:nvSpPr>
            <p:cNvPr id="495" name="Forma livre: Forma 494">
              <a:extLst>
                <a:ext uri="{FF2B5EF4-FFF2-40B4-BE49-F238E27FC236}">
                  <a16:creationId xmlns:a16="http://schemas.microsoft.com/office/drawing/2014/main" id="{1270945A-E8DF-947E-DA7C-04E08A2427A5}"/>
                </a:ext>
              </a:extLst>
            </p:cNvPr>
            <p:cNvSpPr/>
            <p:nvPr/>
          </p:nvSpPr>
          <p:spPr>
            <a:xfrm>
              <a:off x="7095271" y="1243207"/>
              <a:ext cx="39329" cy="104479"/>
            </a:xfrm>
            <a:custGeom>
              <a:avLst/>
              <a:gdLst>
                <a:gd name="connsiteX0" fmla="*/ 39330 w 39329"/>
                <a:gd name="connsiteY0" fmla="*/ 0 h 104479"/>
                <a:gd name="connsiteX1" fmla="*/ 0 w 39329"/>
                <a:gd name="connsiteY1" fmla="*/ 104480 h 1044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9329" h="104479">
                  <a:moveTo>
                    <a:pt x="39330" y="0"/>
                  </a:moveTo>
                  <a:lnTo>
                    <a:pt x="0" y="10448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96" name="Forma livre: Forma 495">
              <a:extLst>
                <a:ext uri="{FF2B5EF4-FFF2-40B4-BE49-F238E27FC236}">
                  <a16:creationId xmlns:a16="http://schemas.microsoft.com/office/drawing/2014/main" id="{22304A6D-E246-C2CC-F94B-DE32BD319923}"/>
                </a:ext>
              </a:extLst>
            </p:cNvPr>
            <p:cNvSpPr/>
            <p:nvPr/>
          </p:nvSpPr>
          <p:spPr>
            <a:xfrm>
              <a:off x="7095271" y="1261699"/>
              <a:ext cx="32383" cy="85988"/>
            </a:xfrm>
            <a:custGeom>
              <a:avLst/>
              <a:gdLst>
                <a:gd name="connsiteX0" fmla="*/ 32383 w 32383"/>
                <a:gd name="connsiteY0" fmla="*/ 0 h 85988"/>
                <a:gd name="connsiteX1" fmla="*/ 0 w 32383"/>
                <a:gd name="connsiteY1" fmla="*/ 85989 h 859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2383" h="85988">
                  <a:moveTo>
                    <a:pt x="32383" y="0"/>
                  </a:moveTo>
                  <a:lnTo>
                    <a:pt x="0" y="85989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97" name="Forma livre: Forma 496">
              <a:extLst>
                <a:ext uri="{FF2B5EF4-FFF2-40B4-BE49-F238E27FC236}">
                  <a16:creationId xmlns:a16="http://schemas.microsoft.com/office/drawing/2014/main" id="{3BA5EC69-E543-4599-443E-4FBD17CEF12C}"/>
                </a:ext>
              </a:extLst>
            </p:cNvPr>
            <p:cNvSpPr/>
            <p:nvPr/>
          </p:nvSpPr>
          <p:spPr>
            <a:xfrm>
              <a:off x="7244158" y="1242872"/>
              <a:ext cx="18155" cy="46994"/>
            </a:xfrm>
            <a:custGeom>
              <a:avLst/>
              <a:gdLst>
                <a:gd name="connsiteX0" fmla="*/ 18156 w 18155"/>
                <a:gd name="connsiteY0" fmla="*/ 46994 h 46994"/>
                <a:gd name="connsiteX1" fmla="*/ 0 w 18155"/>
                <a:gd name="connsiteY1" fmla="*/ 0 h 469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155" h="46994">
                  <a:moveTo>
                    <a:pt x="18156" y="46994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98" name="Forma livre: Forma 497">
              <a:extLst>
                <a:ext uri="{FF2B5EF4-FFF2-40B4-BE49-F238E27FC236}">
                  <a16:creationId xmlns:a16="http://schemas.microsoft.com/office/drawing/2014/main" id="{91CFBCD0-862D-4FA1-F43E-B5E56B9FFEE6}"/>
                </a:ext>
              </a:extLst>
            </p:cNvPr>
            <p:cNvSpPr/>
            <p:nvPr/>
          </p:nvSpPr>
          <p:spPr>
            <a:xfrm>
              <a:off x="7107678" y="1314921"/>
              <a:ext cx="135713" cy="4790"/>
            </a:xfrm>
            <a:custGeom>
              <a:avLst/>
              <a:gdLst>
                <a:gd name="connsiteX0" fmla="*/ 0 w 135713"/>
                <a:gd name="connsiteY0" fmla="*/ 0 h 4790"/>
                <a:gd name="connsiteX1" fmla="*/ 135714 w 135713"/>
                <a:gd name="connsiteY1" fmla="*/ 0 h 47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35713" h="4790">
                  <a:moveTo>
                    <a:pt x="0" y="0"/>
                  </a:moveTo>
                  <a:lnTo>
                    <a:pt x="135714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99" name="Forma livre: Forma 498">
              <a:extLst>
                <a:ext uri="{FF2B5EF4-FFF2-40B4-BE49-F238E27FC236}">
                  <a16:creationId xmlns:a16="http://schemas.microsoft.com/office/drawing/2014/main" id="{320EAED6-3CF6-FAA9-4CBA-E3C5F9D77ACF}"/>
                </a:ext>
              </a:extLst>
            </p:cNvPr>
            <p:cNvSpPr/>
            <p:nvPr/>
          </p:nvSpPr>
          <p:spPr>
            <a:xfrm>
              <a:off x="7243056" y="1287807"/>
              <a:ext cx="59832" cy="59880"/>
            </a:xfrm>
            <a:custGeom>
              <a:avLst/>
              <a:gdLst>
                <a:gd name="connsiteX0" fmla="*/ 59833 w 59832"/>
                <a:gd name="connsiteY0" fmla="*/ 29940 h 59880"/>
                <a:gd name="connsiteX1" fmla="*/ 29940 w 59832"/>
                <a:gd name="connsiteY1" fmla="*/ 59881 h 59880"/>
                <a:gd name="connsiteX2" fmla="*/ 0 w 59832"/>
                <a:gd name="connsiteY2" fmla="*/ 29940 h 59880"/>
                <a:gd name="connsiteX3" fmla="*/ 29940 w 59832"/>
                <a:gd name="connsiteY3" fmla="*/ 0 h 59880"/>
                <a:gd name="connsiteX4" fmla="*/ 59833 w 59832"/>
                <a:gd name="connsiteY4" fmla="*/ 29940 h 598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9832" h="59880">
                  <a:moveTo>
                    <a:pt x="59833" y="29940"/>
                  </a:moveTo>
                  <a:cubicBezTo>
                    <a:pt x="59833" y="46467"/>
                    <a:pt x="46468" y="59881"/>
                    <a:pt x="29940" y="59881"/>
                  </a:cubicBezTo>
                  <a:cubicBezTo>
                    <a:pt x="13413" y="59881"/>
                    <a:pt x="0" y="46467"/>
                    <a:pt x="0" y="29940"/>
                  </a:cubicBezTo>
                  <a:cubicBezTo>
                    <a:pt x="0" y="13413"/>
                    <a:pt x="13413" y="0"/>
                    <a:pt x="29940" y="0"/>
                  </a:cubicBezTo>
                  <a:cubicBezTo>
                    <a:pt x="46468" y="0"/>
                    <a:pt x="59833" y="13413"/>
                    <a:pt x="59833" y="29940"/>
                  </a:cubicBez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500" name="Forma livre: Forma 499">
              <a:extLst>
                <a:ext uri="{FF2B5EF4-FFF2-40B4-BE49-F238E27FC236}">
                  <a16:creationId xmlns:a16="http://schemas.microsoft.com/office/drawing/2014/main" id="{2B1D9F54-4CCF-073D-7991-E7F18B4BCE94}"/>
                </a:ext>
              </a:extLst>
            </p:cNvPr>
            <p:cNvSpPr/>
            <p:nvPr/>
          </p:nvSpPr>
          <p:spPr>
            <a:xfrm>
              <a:off x="7118169" y="1150704"/>
              <a:ext cx="18922" cy="27497"/>
            </a:xfrm>
            <a:custGeom>
              <a:avLst/>
              <a:gdLst>
                <a:gd name="connsiteX0" fmla="*/ 18922 w 18922"/>
                <a:gd name="connsiteY0" fmla="*/ 27497 h 27497"/>
                <a:gd name="connsiteX1" fmla="*/ 0 w 18922"/>
                <a:gd name="connsiteY1" fmla="*/ 0 h 274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922" h="27497">
                  <a:moveTo>
                    <a:pt x="18922" y="27497"/>
                  </a:moveTo>
                  <a:cubicBezTo>
                    <a:pt x="10683" y="19976"/>
                    <a:pt x="4120" y="10587"/>
                    <a:pt x="0" y="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501" name="Forma livre: Forma 500">
              <a:extLst>
                <a:ext uri="{FF2B5EF4-FFF2-40B4-BE49-F238E27FC236}">
                  <a16:creationId xmlns:a16="http://schemas.microsoft.com/office/drawing/2014/main" id="{DDE2FCDD-0A8D-71E1-0C74-EB376F13E439}"/>
                </a:ext>
              </a:extLst>
            </p:cNvPr>
            <p:cNvSpPr/>
            <p:nvPr/>
          </p:nvSpPr>
          <p:spPr>
            <a:xfrm>
              <a:off x="7067103" y="1116883"/>
              <a:ext cx="243211" cy="4790"/>
            </a:xfrm>
            <a:custGeom>
              <a:avLst/>
              <a:gdLst>
                <a:gd name="connsiteX0" fmla="*/ 0 w 243211"/>
                <a:gd name="connsiteY0" fmla="*/ 0 h 4790"/>
                <a:gd name="connsiteX1" fmla="*/ 243212 w 243211"/>
                <a:gd name="connsiteY1" fmla="*/ 0 h 47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43211" h="4790">
                  <a:moveTo>
                    <a:pt x="0" y="0"/>
                  </a:moveTo>
                  <a:lnTo>
                    <a:pt x="243212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502" name="Forma livre: Forma 501">
              <a:extLst>
                <a:ext uri="{FF2B5EF4-FFF2-40B4-BE49-F238E27FC236}">
                  <a16:creationId xmlns:a16="http://schemas.microsoft.com/office/drawing/2014/main" id="{04B9BFEF-7C3B-3A09-67DB-ED784A997C48}"/>
                </a:ext>
              </a:extLst>
            </p:cNvPr>
            <p:cNvSpPr/>
            <p:nvPr/>
          </p:nvSpPr>
          <p:spPr>
            <a:xfrm>
              <a:off x="7078792" y="1117075"/>
              <a:ext cx="219786" cy="117030"/>
            </a:xfrm>
            <a:custGeom>
              <a:avLst/>
              <a:gdLst>
                <a:gd name="connsiteX0" fmla="*/ 0 w 219786"/>
                <a:gd name="connsiteY0" fmla="*/ 0 h 117030"/>
                <a:gd name="connsiteX1" fmla="*/ 0 w 219786"/>
                <a:gd name="connsiteY1" fmla="*/ 7138 h 117030"/>
                <a:gd name="connsiteX2" fmla="*/ 109893 w 219786"/>
                <a:gd name="connsiteY2" fmla="*/ 117031 h 117030"/>
                <a:gd name="connsiteX3" fmla="*/ 219786 w 219786"/>
                <a:gd name="connsiteY3" fmla="*/ 7138 h 117030"/>
                <a:gd name="connsiteX4" fmla="*/ 219786 w 219786"/>
                <a:gd name="connsiteY4" fmla="*/ 0 h 1170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19786" h="117030">
                  <a:moveTo>
                    <a:pt x="0" y="0"/>
                  </a:moveTo>
                  <a:lnTo>
                    <a:pt x="0" y="7138"/>
                  </a:lnTo>
                  <a:cubicBezTo>
                    <a:pt x="0" y="67833"/>
                    <a:pt x="49198" y="117031"/>
                    <a:pt x="109893" y="117031"/>
                  </a:cubicBezTo>
                  <a:cubicBezTo>
                    <a:pt x="170588" y="117031"/>
                    <a:pt x="219786" y="67833"/>
                    <a:pt x="219786" y="7138"/>
                  </a:cubicBezTo>
                  <a:lnTo>
                    <a:pt x="219786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503" name="Forma livre: Forma 502">
              <a:extLst>
                <a:ext uri="{FF2B5EF4-FFF2-40B4-BE49-F238E27FC236}">
                  <a16:creationId xmlns:a16="http://schemas.microsoft.com/office/drawing/2014/main" id="{9EBEE37C-D0C3-6C84-9753-65D7A666D83D}"/>
                </a:ext>
              </a:extLst>
            </p:cNvPr>
            <p:cNvSpPr/>
            <p:nvPr/>
          </p:nvSpPr>
          <p:spPr>
            <a:xfrm>
              <a:off x="7041761" y="1145290"/>
              <a:ext cx="38850" cy="4790"/>
            </a:xfrm>
            <a:custGeom>
              <a:avLst/>
              <a:gdLst>
                <a:gd name="connsiteX0" fmla="*/ 38851 w 38850"/>
                <a:gd name="connsiteY0" fmla="*/ 0 h 4790"/>
                <a:gd name="connsiteX1" fmla="*/ 0 w 38850"/>
                <a:gd name="connsiteY1" fmla="*/ 0 h 47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8850" h="4790">
                  <a:moveTo>
                    <a:pt x="38851" y="0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504" name="Gráfico 14">
              <a:extLst>
                <a:ext uri="{FF2B5EF4-FFF2-40B4-BE49-F238E27FC236}">
                  <a16:creationId xmlns:a16="http://schemas.microsoft.com/office/drawing/2014/main" id="{798E612F-01FA-057B-BAD0-E7822E03EC68}"/>
                </a:ext>
              </a:extLst>
            </p:cNvPr>
            <p:cNvGrpSpPr/>
            <p:nvPr/>
          </p:nvGrpSpPr>
          <p:grpSpPr>
            <a:xfrm>
              <a:off x="7126320" y="987062"/>
              <a:ext cx="125497" cy="100599"/>
              <a:chOff x="7126320" y="987062"/>
              <a:chExt cx="125497" cy="100599"/>
            </a:xfrm>
            <a:noFill/>
          </p:grpSpPr>
          <p:sp>
            <p:nvSpPr>
              <p:cNvPr id="505" name="Forma livre: Forma 504">
                <a:extLst>
                  <a:ext uri="{FF2B5EF4-FFF2-40B4-BE49-F238E27FC236}">
                    <a16:creationId xmlns:a16="http://schemas.microsoft.com/office/drawing/2014/main" id="{6C370A38-7010-9664-111E-686A0850B32F}"/>
                  </a:ext>
                </a:extLst>
              </p:cNvPr>
              <p:cNvSpPr/>
              <p:nvPr/>
            </p:nvSpPr>
            <p:spPr>
              <a:xfrm>
                <a:off x="7126320" y="1015661"/>
                <a:ext cx="15029" cy="71952"/>
              </a:xfrm>
              <a:custGeom>
                <a:avLst/>
                <a:gdLst>
                  <a:gd name="connsiteX0" fmla="*/ 9909 w 15029"/>
                  <a:gd name="connsiteY0" fmla="*/ 0 h 71952"/>
                  <a:gd name="connsiteX1" fmla="*/ 7897 w 15029"/>
                  <a:gd name="connsiteY1" fmla="*/ 36839 h 71952"/>
                  <a:gd name="connsiteX2" fmla="*/ 3921 w 15029"/>
                  <a:gd name="connsiteY2" fmla="*/ 71953 h 719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5029" h="71952">
                    <a:moveTo>
                      <a:pt x="9909" y="0"/>
                    </a:moveTo>
                    <a:cubicBezTo>
                      <a:pt x="9909" y="0"/>
                      <a:pt x="-10977" y="17150"/>
                      <a:pt x="7897" y="36839"/>
                    </a:cubicBezTo>
                    <a:cubicBezTo>
                      <a:pt x="13885" y="43066"/>
                      <a:pt x="22077" y="55042"/>
                      <a:pt x="3921" y="71953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06" name="Forma livre: Forma 505">
                <a:extLst>
                  <a:ext uri="{FF2B5EF4-FFF2-40B4-BE49-F238E27FC236}">
                    <a16:creationId xmlns:a16="http://schemas.microsoft.com/office/drawing/2014/main" id="{684E8F04-7555-6890-2D39-D6CD3822931F}"/>
                  </a:ext>
                </a:extLst>
              </p:cNvPr>
              <p:cNvSpPr/>
              <p:nvPr/>
            </p:nvSpPr>
            <p:spPr>
              <a:xfrm>
                <a:off x="7236788" y="1015661"/>
                <a:ext cx="15029" cy="71952"/>
              </a:xfrm>
              <a:custGeom>
                <a:avLst/>
                <a:gdLst>
                  <a:gd name="connsiteX0" fmla="*/ 9909 w 15029"/>
                  <a:gd name="connsiteY0" fmla="*/ 0 h 71952"/>
                  <a:gd name="connsiteX1" fmla="*/ 7897 w 15029"/>
                  <a:gd name="connsiteY1" fmla="*/ 36839 h 71952"/>
                  <a:gd name="connsiteX2" fmla="*/ 3921 w 15029"/>
                  <a:gd name="connsiteY2" fmla="*/ 71953 h 719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5029" h="71952">
                    <a:moveTo>
                      <a:pt x="9909" y="0"/>
                    </a:moveTo>
                    <a:cubicBezTo>
                      <a:pt x="9909" y="0"/>
                      <a:pt x="-10977" y="17150"/>
                      <a:pt x="7897" y="36839"/>
                    </a:cubicBezTo>
                    <a:cubicBezTo>
                      <a:pt x="13885" y="43066"/>
                      <a:pt x="22077" y="55042"/>
                      <a:pt x="3921" y="71953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07" name="Forma livre: Forma 506">
                <a:extLst>
                  <a:ext uri="{FF2B5EF4-FFF2-40B4-BE49-F238E27FC236}">
                    <a16:creationId xmlns:a16="http://schemas.microsoft.com/office/drawing/2014/main" id="{9B5FDF3F-8E6F-F535-6CE6-F1FDEBDE5EC1}"/>
                  </a:ext>
                </a:extLst>
              </p:cNvPr>
              <p:cNvSpPr/>
              <p:nvPr/>
            </p:nvSpPr>
            <p:spPr>
              <a:xfrm>
                <a:off x="7181554" y="987062"/>
                <a:ext cx="15029" cy="100599"/>
              </a:xfrm>
              <a:custGeom>
                <a:avLst/>
                <a:gdLst>
                  <a:gd name="connsiteX0" fmla="*/ 9909 w 15029"/>
                  <a:gd name="connsiteY0" fmla="*/ 0 h 100599"/>
                  <a:gd name="connsiteX1" fmla="*/ 7897 w 15029"/>
                  <a:gd name="connsiteY1" fmla="*/ 51497 h 100599"/>
                  <a:gd name="connsiteX2" fmla="*/ 3921 w 15029"/>
                  <a:gd name="connsiteY2" fmla="*/ 100600 h 1005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5029" h="100599">
                    <a:moveTo>
                      <a:pt x="9909" y="0"/>
                    </a:moveTo>
                    <a:cubicBezTo>
                      <a:pt x="9909" y="0"/>
                      <a:pt x="-10977" y="24000"/>
                      <a:pt x="7897" y="51497"/>
                    </a:cubicBezTo>
                    <a:cubicBezTo>
                      <a:pt x="13885" y="60216"/>
                      <a:pt x="22077" y="76935"/>
                      <a:pt x="3921" y="100600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508" name="Gráfico 14">
            <a:extLst>
              <a:ext uri="{FF2B5EF4-FFF2-40B4-BE49-F238E27FC236}">
                <a16:creationId xmlns:a16="http://schemas.microsoft.com/office/drawing/2014/main" id="{8686E704-9F02-4C02-52BF-E29201BAEAF5}"/>
              </a:ext>
            </a:extLst>
          </p:cNvPr>
          <p:cNvGrpSpPr/>
          <p:nvPr/>
        </p:nvGrpSpPr>
        <p:grpSpPr>
          <a:xfrm>
            <a:off x="6404487" y="1576863"/>
            <a:ext cx="297679" cy="230181"/>
            <a:chOff x="6404487" y="1576863"/>
            <a:chExt cx="297679" cy="230181"/>
          </a:xfrm>
        </p:grpSpPr>
        <p:sp>
          <p:nvSpPr>
            <p:cNvPr id="509" name="Forma livre: Forma 508">
              <a:extLst>
                <a:ext uri="{FF2B5EF4-FFF2-40B4-BE49-F238E27FC236}">
                  <a16:creationId xmlns:a16="http://schemas.microsoft.com/office/drawing/2014/main" id="{29C589EB-8DD6-E9A8-FFC2-D6EEDCCF549B}"/>
                </a:ext>
              </a:extLst>
            </p:cNvPr>
            <p:cNvSpPr/>
            <p:nvPr/>
          </p:nvSpPr>
          <p:spPr>
            <a:xfrm>
              <a:off x="6487601" y="1634828"/>
              <a:ext cx="171977" cy="172217"/>
            </a:xfrm>
            <a:custGeom>
              <a:avLst/>
              <a:gdLst>
                <a:gd name="connsiteX0" fmla="*/ 171977 w 171977"/>
                <a:gd name="connsiteY0" fmla="*/ 86037 h 172217"/>
                <a:gd name="connsiteX1" fmla="*/ 85989 w 171977"/>
                <a:gd name="connsiteY1" fmla="*/ 172217 h 172217"/>
                <a:gd name="connsiteX2" fmla="*/ 0 w 171977"/>
                <a:gd name="connsiteY2" fmla="*/ 86037 h 172217"/>
                <a:gd name="connsiteX3" fmla="*/ 85989 w 171977"/>
                <a:gd name="connsiteY3" fmla="*/ 0 h 172217"/>
                <a:gd name="connsiteX4" fmla="*/ 171977 w 171977"/>
                <a:gd name="connsiteY4" fmla="*/ 86037 h 1722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1977" h="172217">
                  <a:moveTo>
                    <a:pt x="171977" y="86037"/>
                  </a:moveTo>
                  <a:cubicBezTo>
                    <a:pt x="171977" y="133702"/>
                    <a:pt x="133462" y="172217"/>
                    <a:pt x="85989" y="172217"/>
                  </a:cubicBezTo>
                  <a:cubicBezTo>
                    <a:pt x="38515" y="172217"/>
                    <a:pt x="0" y="133702"/>
                    <a:pt x="0" y="86037"/>
                  </a:cubicBezTo>
                  <a:cubicBezTo>
                    <a:pt x="0" y="38372"/>
                    <a:pt x="38515" y="0"/>
                    <a:pt x="85989" y="0"/>
                  </a:cubicBezTo>
                  <a:cubicBezTo>
                    <a:pt x="133462" y="0"/>
                    <a:pt x="171977" y="38515"/>
                    <a:pt x="171977" y="86037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510" name="Forma livre: Forma 509">
              <a:extLst>
                <a:ext uri="{FF2B5EF4-FFF2-40B4-BE49-F238E27FC236}">
                  <a16:creationId xmlns:a16="http://schemas.microsoft.com/office/drawing/2014/main" id="{DDB11D2A-77E5-62A0-039E-89412EFDB800}"/>
                </a:ext>
              </a:extLst>
            </p:cNvPr>
            <p:cNvSpPr/>
            <p:nvPr/>
          </p:nvSpPr>
          <p:spPr>
            <a:xfrm>
              <a:off x="6520368" y="1667642"/>
              <a:ext cx="106396" cy="106587"/>
            </a:xfrm>
            <a:custGeom>
              <a:avLst/>
              <a:gdLst>
                <a:gd name="connsiteX0" fmla="*/ 106396 w 106396"/>
                <a:gd name="connsiteY0" fmla="*/ 53222 h 106587"/>
                <a:gd name="connsiteX1" fmla="*/ 53174 w 106396"/>
                <a:gd name="connsiteY1" fmla="*/ 106588 h 106587"/>
                <a:gd name="connsiteX2" fmla="*/ 0 w 106396"/>
                <a:gd name="connsiteY2" fmla="*/ 53222 h 106587"/>
                <a:gd name="connsiteX3" fmla="*/ 53174 w 106396"/>
                <a:gd name="connsiteY3" fmla="*/ 0 h 106587"/>
                <a:gd name="connsiteX4" fmla="*/ 106396 w 106396"/>
                <a:gd name="connsiteY4" fmla="*/ 53222 h 1065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6396" h="106587">
                  <a:moveTo>
                    <a:pt x="106396" y="53222"/>
                  </a:moveTo>
                  <a:cubicBezTo>
                    <a:pt x="106396" y="82731"/>
                    <a:pt x="82587" y="106588"/>
                    <a:pt x="53174" y="106588"/>
                  </a:cubicBezTo>
                  <a:cubicBezTo>
                    <a:pt x="23761" y="106588"/>
                    <a:pt x="0" y="82731"/>
                    <a:pt x="0" y="53222"/>
                  </a:cubicBezTo>
                  <a:cubicBezTo>
                    <a:pt x="0" y="23713"/>
                    <a:pt x="23809" y="0"/>
                    <a:pt x="53174" y="0"/>
                  </a:cubicBezTo>
                  <a:cubicBezTo>
                    <a:pt x="82540" y="0"/>
                    <a:pt x="106396" y="23809"/>
                    <a:pt x="106396" y="53222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511" name="Forma livre: Forma 510">
              <a:extLst>
                <a:ext uri="{FF2B5EF4-FFF2-40B4-BE49-F238E27FC236}">
                  <a16:creationId xmlns:a16="http://schemas.microsoft.com/office/drawing/2014/main" id="{2CD7606C-BCA7-98C2-699B-F5CE1C864007}"/>
                </a:ext>
              </a:extLst>
            </p:cNvPr>
            <p:cNvSpPr/>
            <p:nvPr/>
          </p:nvSpPr>
          <p:spPr>
            <a:xfrm>
              <a:off x="6431984" y="1585534"/>
              <a:ext cx="26826" cy="4790"/>
            </a:xfrm>
            <a:custGeom>
              <a:avLst/>
              <a:gdLst>
                <a:gd name="connsiteX0" fmla="*/ 0 w 26826"/>
                <a:gd name="connsiteY0" fmla="*/ 0 h 4790"/>
                <a:gd name="connsiteX1" fmla="*/ 26827 w 26826"/>
                <a:gd name="connsiteY1" fmla="*/ 0 h 47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6826" h="4790">
                  <a:moveTo>
                    <a:pt x="0" y="0"/>
                  </a:moveTo>
                  <a:lnTo>
                    <a:pt x="26827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512" name="Forma livre: Forma 511">
              <a:extLst>
                <a:ext uri="{FF2B5EF4-FFF2-40B4-BE49-F238E27FC236}">
                  <a16:creationId xmlns:a16="http://schemas.microsoft.com/office/drawing/2014/main" id="{1CAE0470-3EC8-43D3-5623-FC8FB66EEC95}"/>
                </a:ext>
              </a:extLst>
            </p:cNvPr>
            <p:cNvSpPr/>
            <p:nvPr/>
          </p:nvSpPr>
          <p:spPr>
            <a:xfrm>
              <a:off x="6404487" y="1576863"/>
              <a:ext cx="297679" cy="206708"/>
            </a:xfrm>
            <a:custGeom>
              <a:avLst/>
              <a:gdLst>
                <a:gd name="connsiteX0" fmla="*/ 78564 w 297679"/>
                <a:gd name="connsiteY0" fmla="*/ 206708 h 206708"/>
                <a:gd name="connsiteX1" fmla="*/ 14371 w 297679"/>
                <a:gd name="connsiteY1" fmla="*/ 206708 h 206708"/>
                <a:gd name="connsiteX2" fmla="*/ 0 w 297679"/>
                <a:gd name="connsiteY2" fmla="*/ 192337 h 206708"/>
                <a:gd name="connsiteX3" fmla="*/ 0 w 297679"/>
                <a:gd name="connsiteY3" fmla="*/ 52551 h 206708"/>
                <a:gd name="connsiteX4" fmla="*/ 14371 w 297679"/>
                <a:gd name="connsiteY4" fmla="*/ 38180 h 206708"/>
                <a:gd name="connsiteX5" fmla="*/ 91354 w 297679"/>
                <a:gd name="connsiteY5" fmla="*/ 38180 h 206708"/>
                <a:gd name="connsiteX6" fmla="*/ 129007 w 297679"/>
                <a:gd name="connsiteY6" fmla="*/ 0 h 206708"/>
                <a:gd name="connsiteX7" fmla="*/ 212313 w 297679"/>
                <a:gd name="connsiteY7" fmla="*/ 0 h 206708"/>
                <a:gd name="connsiteX8" fmla="*/ 249056 w 297679"/>
                <a:gd name="connsiteY8" fmla="*/ 38180 h 206708"/>
                <a:gd name="connsiteX9" fmla="*/ 283308 w 297679"/>
                <a:gd name="connsiteY9" fmla="*/ 38180 h 206708"/>
                <a:gd name="connsiteX10" fmla="*/ 297679 w 297679"/>
                <a:gd name="connsiteY10" fmla="*/ 52551 h 206708"/>
                <a:gd name="connsiteX11" fmla="*/ 297679 w 297679"/>
                <a:gd name="connsiteY11" fmla="*/ 192337 h 206708"/>
                <a:gd name="connsiteX12" fmla="*/ 283308 w 297679"/>
                <a:gd name="connsiteY12" fmla="*/ 206708 h 206708"/>
                <a:gd name="connsiteX13" fmla="*/ 259212 w 297679"/>
                <a:gd name="connsiteY13" fmla="*/ 206708 h 2067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97679" h="206708">
                  <a:moveTo>
                    <a:pt x="78564" y="206708"/>
                  </a:moveTo>
                  <a:lnTo>
                    <a:pt x="14371" y="206708"/>
                  </a:lnTo>
                  <a:cubicBezTo>
                    <a:pt x="6467" y="206708"/>
                    <a:pt x="0" y="200241"/>
                    <a:pt x="0" y="192337"/>
                  </a:cubicBezTo>
                  <a:lnTo>
                    <a:pt x="0" y="52551"/>
                  </a:lnTo>
                  <a:cubicBezTo>
                    <a:pt x="0" y="44647"/>
                    <a:pt x="6467" y="38180"/>
                    <a:pt x="14371" y="38180"/>
                  </a:cubicBezTo>
                  <a:lnTo>
                    <a:pt x="91354" y="38180"/>
                  </a:lnTo>
                  <a:lnTo>
                    <a:pt x="129007" y="0"/>
                  </a:lnTo>
                  <a:lnTo>
                    <a:pt x="212313" y="0"/>
                  </a:lnTo>
                  <a:lnTo>
                    <a:pt x="249056" y="38180"/>
                  </a:lnTo>
                  <a:lnTo>
                    <a:pt x="283308" y="38180"/>
                  </a:lnTo>
                  <a:cubicBezTo>
                    <a:pt x="291212" y="38180"/>
                    <a:pt x="297679" y="44647"/>
                    <a:pt x="297679" y="52551"/>
                  </a:cubicBezTo>
                  <a:lnTo>
                    <a:pt x="297679" y="192337"/>
                  </a:lnTo>
                  <a:cubicBezTo>
                    <a:pt x="297679" y="200241"/>
                    <a:pt x="291212" y="206708"/>
                    <a:pt x="283308" y="206708"/>
                  </a:cubicBezTo>
                  <a:lnTo>
                    <a:pt x="259212" y="206708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513" name="Forma livre: Forma 512">
              <a:extLst>
                <a:ext uri="{FF2B5EF4-FFF2-40B4-BE49-F238E27FC236}">
                  <a16:creationId xmlns:a16="http://schemas.microsoft.com/office/drawing/2014/main" id="{DC47A3EA-44AE-A0E6-0230-5C632D01E405}"/>
                </a:ext>
              </a:extLst>
            </p:cNvPr>
            <p:cNvSpPr/>
            <p:nvPr/>
          </p:nvSpPr>
          <p:spPr>
            <a:xfrm>
              <a:off x="6441661" y="1647426"/>
              <a:ext cx="7473" cy="7473"/>
            </a:xfrm>
            <a:custGeom>
              <a:avLst/>
              <a:gdLst>
                <a:gd name="connsiteX0" fmla="*/ 7473 w 7473"/>
                <a:gd name="connsiteY0" fmla="*/ 3737 h 7473"/>
                <a:gd name="connsiteX1" fmla="*/ 3737 w 7473"/>
                <a:gd name="connsiteY1" fmla="*/ 7473 h 7473"/>
                <a:gd name="connsiteX2" fmla="*/ 0 w 7473"/>
                <a:gd name="connsiteY2" fmla="*/ 3737 h 7473"/>
                <a:gd name="connsiteX3" fmla="*/ 3737 w 7473"/>
                <a:gd name="connsiteY3" fmla="*/ 0 h 7473"/>
                <a:gd name="connsiteX4" fmla="*/ 7473 w 7473"/>
                <a:gd name="connsiteY4" fmla="*/ 3737 h 74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473" h="7473">
                  <a:moveTo>
                    <a:pt x="7473" y="3737"/>
                  </a:moveTo>
                  <a:cubicBezTo>
                    <a:pt x="7473" y="5796"/>
                    <a:pt x="5796" y="7473"/>
                    <a:pt x="3737" y="7473"/>
                  </a:cubicBezTo>
                  <a:cubicBezTo>
                    <a:pt x="1677" y="7473"/>
                    <a:pt x="0" y="5796"/>
                    <a:pt x="0" y="3737"/>
                  </a:cubicBezTo>
                  <a:cubicBezTo>
                    <a:pt x="0" y="1677"/>
                    <a:pt x="1677" y="0"/>
                    <a:pt x="3737" y="0"/>
                  </a:cubicBezTo>
                  <a:cubicBezTo>
                    <a:pt x="5796" y="0"/>
                    <a:pt x="7473" y="1677"/>
                    <a:pt x="7473" y="3737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514" name="Gráfico 14">
            <a:extLst>
              <a:ext uri="{FF2B5EF4-FFF2-40B4-BE49-F238E27FC236}">
                <a16:creationId xmlns:a16="http://schemas.microsoft.com/office/drawing/2014/main" id="{981F8811-E470-F282-9E60-67285ED346A6}"/>
              </a:ext>
            </a:extLst>
          </p:cNvPr>
          <p:cNvGrpSpPr/>
          <p:nvPr/>
        </p:nvGrpSpPr>
        <p:grpSpPr>
          <a:xfrm>
            <a:off x="7700258" y="1520245"/>
            <a:ext cx="197031" cy="343422"/>
            <a:chOff x="7700258" y="1520245"/>
            <a:chExt cx="197031" cy="343422"/>
          </a:xfrm>
        </p:grpSpPr>
        <p:sp>
          <p:nvSpPr>
            <p:cNvPr id="515" name="Forma livre: Forma 514">
              <a:extLst>
                <a:ext uri="{FF2B5EF4-FFF2-40B4-BE49-F238E27FC236}">
                  <a16:creationId xmlns:a16="http://schemas.microsoft.com/office/drawing/2014/main" id="{C0838E02-2D4F-823E-525E-726A1D74E17C}"/>
                </a:ext>
              </a:extLst>
            </p:cNvPr>
            <p:cNvSpPr/>
            <p:nvPr/>
          </p:nvSpPr>
          <p:spPr>
            <a:xfrm>
              <a:off x="7737528" y="1581031"/>
              <a:ext cx="122492" cy="44311"/>
            </a:xfrm>
            <a:custGeom>
              <a:avLst/>
              <a:gdLst>
                <a:gd name="connsiteX0" fmla="*/ 0 w 122492"/>
                <a:gd name="connsiteY0" fmla="*/ 44312 h 44311"/>
                <a:gd name="connsiteX1" fmla="*/ 0 w 122492"/>
                <a:gd name="connsiteY1" fmla="*/ 0 h 44311"/>
                <a:gd name="connsiteX2" fmla="*/ 122492 w 122492"/>
                <a:gd name="connsiteY2" fmla="*/ 0 h 44311"/>
                <a:gd name="connsiteX3" fmla="*/ 122492 w 122492"/>
                <a:gd name="connsiteY3" fmla="*/ 44312 h 443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2492" h="44311">
                  <a:moveTo>
                    <a:pt x="0" y="44312"/>
                  </a:moveTo>
                  <a:lnTo>
                    <a:pt x="0" y="0"/>
                  </a:lnTo>
                  <a:lnTo>
                    <a:pt x="122492" y="0"/>
                  </a:lnTo>
                  <a:lnTo>
                    <a:pt x="122492" y="44312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516" name="Forma livre: Forma 515">
              <a:extLst>
                <a:ext uri="{FF2B5EF4-FFF2-40B4-BE49-F238E27FC236}">
                  <a16:creationId xmlns:a16="http://schemas.microsoft.com/office/drawing/2014/main" id="{7FF638AC-FAF0-A62C-536F-0869AEC106A1}"/>
                </a:ext>
              </a:extLst>
            </p:cNvPr>
            <p:cNvSpPr/>
            <p:nvPr/>
          </p:nvSpPr>
          <p:spPr>
            <a:xfrm>
              <a:off x="7723635" y="1764122"/>
              <a:ext cx="150276" cy="68838"/>
            </a:xfrm>
            <a:custGeom>
              <a:avLst/>
              <a:gdLst>
                <a:gd name="connsiteX0" fmla="*/ 150277 w 150276"/>
                <a:gd name="connsiteY0" fmla="*/ 68839 h 68838"/>
                <a:gd name="connsiteX1" fmla="*/ 150277 w 150276"/>
                <a:gd name="connsiteY1" fmla="*/ 32958 h 68838"/>
                <a:gd name="connsiteX2" fmla="*/ 117318 w 150276"/>
                <a:gd name="connsiteY2" fmla="*/ 0 h 68838"/>
                <a:gd name="connsiteX3" fmla="*/ 32958 w 150276"/>
                <a:gd name="connsiteY3" fmla="*/ 0 h 68838"/>
                <a:gd name="connsiteX4" fmla="*/ 0 w 150276"/>
                <a:gd name="connsiteY4" fmla="*/ 32958 h 68838"/>
                <a:gd name="connsiteX5" fmla="*/ 0 w 150276"/>
                <a:gd name="connsiteY5" fmla="*/ 68839 h 688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50276" h="68838">
                  <a:moveTo>
                    <a:pt x="150277" y="68839"/>
                  </a:moveTo>
                  <a:lnTo>
                    <a:pt x="150277" y="32958"/>
                  </a:lnTo>
                  <a:cubicBezTo>
                    <a:pt x="150277" y="14850"/>
                    <a:pt x="135426" y="0"/>
                    <a:pt x="117318" y="0"/>
                  </a:cubicBezTo>
                  <a:lnTo>
                    <a:pt x="32958" y="0"/>
                  </a:lnTo>
                  <a:cubicBezTo>
                    <a:pt x="14802" y="0"/>
                    <a:pt x="0" y="14850"/>
                    <a:pt x="0" y="32958"/>
                  </a:cubicBezTo>
                  <a:lnTo>
                    <a:pt x="0" y="68839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517" name="Forma livre: Forma 516">
              <a:extLst>
                <a:ext uri="{FF2B5EF4-FFF2-40B4-BE49-F238E27FC236}">
                  <a16:creationId xmlns:a16="http://schemas.microsoft.com/office/drawing/2014/main" id="{EF795682-0952-52CE-8BF6-34AE308C9B7F}"/>
                </a:ext>
              </a:extLst>
            </p:cNvPr>
            <p:cNvSpPr/>
            <p:nvPr/>
          </p:nvSpPr>
          <p:spPr>
            <a:xfrm>
              <a:off x="7716354" y="1834638"/>
              <a:ext cx="164839" cy="29030"/>
            </a:xfrm>
            <a:custGeom>
              <a:avLst/>
              <a:gdLst>
                <a:gd name="connsiteX0" fmla="*/ 0 w 164839"/>
                <a:gd name="connsiteY0" fmla="*/ 0 h 29030"/>
                <a:gd name="connsiteX1" fmla="*/ 164840 w 164839"/>
                <a:gd name="connsiteY1" fmla="*/ 0 h 29030"/>
                <a:gd name="connsiteX2" fmla="*/ 164840 w 164839"/>
                <a:gd name="connsiteY2" fmla="*/ 29030 h 29030"/>
                <a:gd name="connsiteX3" fmla="*/ 0 w 164839"/>
                <a:gd name="connsiteY3" fmla="*/ 29030 h 290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64839" h="29030">
                  <a:moveTo>
                    <a:pt x="0" y="0"/>
                  </a:moveTo>
                  <a:lnTo>
                    <a:pt x="164840" y="0"/>
                  </a:lnTo>
                  <a:lnTo>
                    <a:pt x="164840" y="29030"/>
                  </a:lnTo>
                  <a:lnTo>
                    <a:pt x="0" y="29030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518" name="Forma livre: Forma 517">
              <a:extLst>
                <a:ext uri="{FF2B5EF4-FFF2-40B4-BE49-F238E27FC236}">
                  <a16:creationId xmlns:a16="http://schemas.microsoft.com/office/drawing/2014/main" id="{E80A1FBE-10D0-2C65-2B7D-84FDDEDF2DED}"/>
                </a:ext>
              </a:extLst>
            </p:cNvPr>
            <p:cNvSpPr/>
            <p:nvPr/>
          </p:nvSpPr>
          <p:spPr>
            <a:xfrm>
              <a:off x="7715587" y="1520245"/>
              <a:ext cx="166372" cy="80139"/>
            </a:xfrm>
            <a:custGeom>
              <a:avLst/>
              <a:gdLst>
                <a:gd name="connsiteX0" fmla="*/ 20982 w 166372"/>
                <a:gd name="connsiteY0" fmla="*/ 80139 h 80139"/>
                <a:gd name="connsiteX1" fmla="*/ 0 w 166372"/>
                <a:gd name="connsiteY1" fmla="*/ 80139 h 80139"/>
                <a:gd name="connsiteX2" fmla="*/ 0 w 166372"/>
                <a:gd name="connsiteY2" fmla="*/ 19204 h 80139"/>
                <a:gd name="connsiteX3" fmla="*/ 166373 w 166372"/>
                <a:gd name="connsiteY3" fmla="*/ 19204 h 80139"/>
                <a:gd name="connsiteX4" fmla="*/ 166373 w 166372"/>
                <a:gd name="connsiteY4" fmla="*/ 80139 h 80139"/>
                <a:gd name="connsiteX5" fmla="*/ 145151 w 166372"/>
                <a:gd name="connsiteY5" fmla="*/ 80139 h 801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66372" h="80139">
                  <a:moveTo>
                    <a:pt x="20982" y="80139"/>
                  </a:moveTo>
                  <a:lnTo>
                    <a:pt x="0" y="80139"/>
                  </a:lnTo>
                  <a:lnTo>
                    <a:pt x="0" y="19204"/>
                  </a:lnTo>
                  <a:cubicBezTo>
                    <a:pt x="0" y="19204"/>
                    <a:pt x="83546" y="-24006"/>
                    <a:pt x="166373" y="19204"/>
                  </a:cubicBezTo>
                  <a:lnTo>
                    <a:pt x="166373" y="80139"/>
                  </a:lnTo>
                  <a:lnTo>
                    <a:pt x="145151" y="80139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519" name="Forma livre: Forma 518">
              <a:extLst>
                <a:ext uri="{FF2B5EF4-FFF2-40B4-BE49-F238E27FC236}">
                  <a16:creationId xmlns:a16="http://schemas.microsoft.com/office/drawing/2014/main" id="{8151C6EC-580E-0125-A2A6-122851572146}"/>
                </a:ext>
              </a:extLst>
            </p:cNvPr>
            <p:cNvSpPr/>
            <p:nvPr/>
          </p:nvSpPr>
          <p:spPr>
            <a:xfrm>
              <a:off x="7700258" y="1625390"/>
              <a:ext cx="197031" cy="26682"/>
            </a:xfrm>
            <a:custGeom>
              <a:avLst/>
              <a:gdLst>
                <a:gd name="connsiteX0" fmla="*/ 159953 w 197031"/>
                <a:gd name="connsiteY0" fmla="*/ 0 h 26682"/>
                <a:gd name="connsiteX1" fmla="*/ 197032 w 197031"/>
                <a:gd name="connsiteY1" fmla="*/ 26683 h 26682"/>
                <a:gd name="connsiteX2" fmla="*/ 0 w 197031"/>
                <a:gd name="connsiteY2" fmla="*/ 26683 h 26682"/>
                <a:gd name="connsiteX3" fmla="*/ 37078 w 197031"/>
                <a:gd name="connsiteY3" fmla="*/ 0 h 26682"/>
                <a:gd name="connsiteX4" fmla="*/ 159953 w 197031"/>
                <a:gd name="connsiteY4" fmla="*/ 0 h 266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7031" h="26682">
                  <a:moveTo>
                    <a:pt x="159953" y="0"/>
                  </a:moveTo>
                  <a:lnTo>
                    <a:pt x="197032" y="26683"/>
                  </a:lnTo>
                  <a:lnTo>
                    <a:pt x="0" y="26683"/>
                  </a:lnTo>
                  <a:lnTo>
                    <a:pt x="37078" y="0"/>
                  </a:lnTo>
                  <a:lnTo>
                    <a:pt x="159953" y="0"/>
                  </a:ln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520" name="Forma livre: Forma 519">
              <a:extLst>
                <a:ext uri="{FF2B5EF4-FFF2-40B4-BE49-F238E27FC236}">
                  <a16:creationId xmlns:a16="http://schemas.microsoft.com/office/drawing/2014/main" id="{9D13F7CB-EA61-B35A-7912-7A38592F77EB}"/>
                </a:ext>
              </a:extLst>
            </p:cNvPr>
            <p:cNvSpPr/>
            <p:nvPr/>
          </p:nvSpPr>
          <p:spPr>
            <a:xfrm>
              <a:off x="7795013" y="1796122"/>
              <a:ext cx="7473" cy="7473"/>
            </a:xfrm>
            <a:custGeom>
              <a:avLst/>
              <a:gdLst>
                <a:gd name="connsiteX0" fmla="*/ 7473 w 7473"/>
                <a:gd name="connsiteY0" fmla="*/ 3737 h 7473"/>
                <a:gd name="connsiteX1" fmla="*/ 3737 w 7473"/>
                <a:gd name="connsiteY1" fmla="*/ 7473 h 7473"/>
                <a:gd name="connsiteX2" fmla="*/ 0 w 7473"/>
                <a:gd name="connsiteY2" fmla="*/ 3737 h 7473"/>
                <a:gd name="connsiteX3" fmla="*/ 3737 w 7473"/>
                <a:gd name="connsiteY3" fmla="*/ 0 h 7473"/>
                <a:gd name="connsiteX4" fmla="*/ 7473 w 7473"/>
                <a:gd name="connsiteY4" fmla="*/ 3737 h 74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473" h="7473">
                  <a:moveTo>
                    <a:pt x="7473" y="3737"/>
                  </a:moveTo>
                  <a:cubicBezTo>
                    <a:pt x="7473" y="5796"/>
                    <a:pt x="5796" y="7473"/>
                    <a:pt x="3737" y="7473"/>
                  </a:cubicBezTo>
                  <a:cubicBezTo>
                    <a:pt x="1677" y="7473"/>
                    <a:pt x="0" y="5796"/>
                    <a:pt x="0" y="3737"/>
                  </a:cubicBezTo>
                  <a:cubicBezTo>
                    <a:pt x="0" y="1677"/>
                    <a:pt x="1677" y="0"/>
                    <a:pt x="3737" y="0"/>
                  </a:cubicBezTo>
                  <a:cubicBezTo>
                    <a:pt x="5796" y="0"/>
                    <a:pt x="7473" y="1677"/>
                    <a:pt x="7473" y="3737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521" name="Gráfico 14">
              <a:extLst>
                <a:ext uri="{FF2B5EF4-FFF2-40B4-BE49-F238E27FC236}">
                  <a16:creationId xmlns:a16="http://schemas.microsoft.com/office/drawing/2014/main" id="{3DA97F47-77B9-9E2B-5054-D2B1C7AD3F4E}"/>
                </a:ext>
              </a:extLst>
            </p:cNvPr>
            <p:cNvGrpSpPr/>
            <p:nvPr/>
          </p:nvGrpSpPr>
          <p:grpSpPr>
            <a:xfrm>
              <a:off x="7751180" y="1675163"/>
              <a:ext cx="95186" cy="88240"/>
              <a:chOff x="7751180" y="1675163"/>
              <a:chExt cx="95186" cy="88240"/>
            </a:xfrm>
          </p:grpSpPr>
          <p:sp>
            <p:nvSpPr>
              <p:cNvPr id="522" name="Forma livre: Forma 521">
                <a:extLst>
                  <a:ext uri="{FF2B5EF4-FFF2-40B4-BE49-F238E27FC236}">
                    <a16:creationId xmlns:a16="http://schemas.microsoft.com/office/drawing/2014/main" id="{524C47E2-3ABF-04D1-D311-3BC319A86AEF}"/>
                  </a:ext>
                </a:extLst>
              </p:cNvPr>
              <p:cNvSpPr/>
              <p:nvPr/>
            </p:nvSpPr>
            <p:spPr>
              <a:xfrm>
                <a:off x="7751180" y="1675163"/>
                <a:ext cx="4790" cy="88240"/>
              </a:xfrm>
              <a:custGeom>
                <a:avLst/>
                <a:gdLst>
                  <a:gd name="connsiteX0" fmla="*/ 0 w 4790"/>
                  <a:gd name="connsiteY0" fmla="*/ 88240 h 88240"/>
                  <a:gd name="connsiteX1" fmla="*/ 0 w 4790"/>
                  <a:gd name="connsiteY1" fmla="*/ 0 h 882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90" h="88240">
                    <a:moveTo>
                      <a:pt x="0" y="88240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23" name="Forma livre: Forma 522">
                <a:extLst>
                  <a:ext uri="{FF2B5EF4-FFF2-40B4-BE49-F238E27FC236}">
                    <a16:creationId xmlns:a16="http://schemas.microsoft.com/office/drawing/2014/main" id="{433AD2D2-8316-DACB-D6F1-8EAA9F6C412F}"/>
                  </a:ext>
                </a:extLst>
              </p:cNvPr>
              <p:cNvSpPr/>
              <p:nvPr/>
            </p:nvSpPr>
            <p:spPr>
              <a:xfrm>
                <a:off x="7846367" y="1675163"/>
                <a:ext cx="4790" cy="88240"/>
              </a:xfrm>
              <a:custGeom>
                <a:avLst/>
                <a:gdLst>
                  <a:gd name="connsiteX0" fmla="*/ 0 w 4790"/>
                  <a:gd name="connsiteY0" fmla="*/ 88240 h 88240"/>
                  <a:gd name="connsiteX1" fmla="*/ 0 w 4790"/>
                  <a:gd name="connsiteY1" fmla="*/ 0 h 882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90" h="88240">
                    <a:moveTo>
                      <a:pt x="0" y="88240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524" name="Gráfico 14">
            <a:extLst>
              <a:ext uri="{FF2B5EF4-FFF2-40B4-BE49-F238E27FC236}">
                <a16:creationId xmlns:a16="http://schemas.microsoft.com/office/drawing/2014/main" id="{BBE675E4-6503-2387-D263-330D3FC2494D}"/>
              </a:ext>
            </a:extLst>
          </p:cNvPr>
          <p:cNvGrpSpPr/>
          <p:nvPr/>
        </p:nvGrpSpPr>
        <p:grpSpPr>
          <a:xfrm>
            <a:off x="7015845" y="1513294"/>
            <a:ext cx="320385" cy="357320"/>
            <a:chOff x="7015845" y="1513294"/>
            <a:chExt cx="320385" cy="357320"/>
          </a:xfrm>
          <a:noFill/>
        </p:grpSpPr>
        <p:grpSp>
          <p:nvGrpSpPr>
            <p:cNvPr id="525" name="Gráfico 14">
              <a:extLst>
                <a:ext uri="{FF2B5EF4-FFF2-40B4-BE49-F238E27FC236}">
                  <a16:creationId xmlns:a16="http://schemas.microsoft.com/office/drawing/2014/main" id="{BB58CF0E-71E6-2E1C-E633-B4063E8F4DC7}"/>
                </a:ext>
              </a:extLst>
            </p:cNvPr>
            <p:cNvGrpSpPr/>
            <p:nvPr/>
          </p:nvGrpSpPr>
          <p:grpSpPr>
            <a:xfrm>
              <a:off x="7015845" y="1615241"/>
              <a:ext cx="320385" cy="116270"/>
              <a:chOff x="7015845" y="1615241"/>
              <a:chExt cx="320385" cy="116270"/>
            </a:xfrm>
            <a:noFill/>
          </p:grpSpPr>
          <p:sp>
            <p:nvSpPr>
              <p:cNvPr id="526" name="Forma livre: Forma 525">
                <a:extLst>
                  <a:ext uri="{FF2B5EF4-FFF2-40B4-BE49-F238E27FC236}">
                    <a16:creationId xmlns:a16="http://schemas.microsoft.com/office/drawing/2014/main" id="{41A6943C-8805-A381-EF5A-D78B70085AD4}"/>
                  </a:ext>
                </a:extLst>
              </p:cNvPr>
              <p:cNvSpPr/>
              <p:nvPr/>
            </p:nvSpPr>
            <p:spPr>
              <a:xfrm>
                <a:off x="7043283" y="1615241"/>
                <a:ext cx="265559" cy="116270"/>
              </a:xfrm>
              <a:custGeom>
                <a:avLst/>
                <a:gdLst>
                  <a:gd name="connsiteX0" fmla="*/ 256972 w 265559"/>
                  <a:gd name="connsiteY0" fmla="*/ 18916 h 116270"/>
                  <a:gd name="connsiteX1" fmla="*/ 258649 w 265559"/>
                  <a:gd name="connsiteY1" fmla="*/ 21407 h 116270"/>
                  <a:gd name="connsiteX2" fmla="*/ 244133 w 265559"/>
                  <a:gd name="connsiteY2" fmla="*/ 84018 h 116270"/>
                  <a:gd name="connsiteX3" fmla="*/ 21521 w 265559"/>
                  <a:gd name="connsiteY3" fmla="*/ 86461 h 116270"/>
                  <a:gd name="connsiteX4" fmla="*/ 6814 w 265559"/>
                  <a:gd name="connsiteY4" fmla="*/ 23898 h 116270"/>
                  <a:gd name="connsiteX5" fmla="*/ 69090 w 265559"/>
                  <a:gd name="connsiteY5" fmla="*/ 9000 h 116270"/>
                  <a:gd name="connsiteX6" fmla="*/ 195989 w 265559"/>
                  <a:gd name="connsiteY6" fmla="*/ 6892 h 116270"/>
                  <a:gd name="connsiteX7" fmla="*/ 256924 w 265559"/>
                  <a:gd name="connsiteY7" fmla="*/ 18868 h 1162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65559" h="116270">
                    <a:moveTo>
                      <a:pt x="256972" y="18916"/>
                    </a:moveTo>
                    <a:cubicBezTo>
                      <a:pt x="257547" y="19730"/>
                      <a:pt x="258074" y="20545"/>
                      <a:pt x="258649" y="21407"/>
                    </a:cubicBezTo>
                    <a:cubicBezTo>
                      <a:pt x="271966" y="42725"/>
                      <a:pt x="265451" y="70749"/>
                      <a:pt x="244133" y="84018"/>
                    </a:cubicBezTo>
                    <a:cubicBezTo>
                      <a:pt x="132564" y="153672"/>
                      <a:pt x="25976" y="89240"/>
                      <a:pt x="21521" y="86461"/>
                    </a:cubicBezTo>
                    <a:cubicBezTo>
                      <a:pt x="203" y="73240"/>
                      <a:pt x="-6408" y="45216"/>
                      <a:pt x="6814" y="23898"/>
                    </a:cubicBezTo>
                    <a:cubicBezTo>
                      <a:pt x="19988" y="2628"/>
                      <a:pt x="47773" y="-3982"/>
                      <a:pt x="69090" y="9000"/>
                    </a:cubicBezTo>
                    <a:cubicBezTo>
                      <a:pt x="72300" y="10916"/>
                      <a:pt x="133426" y="45934"/>
                      <a:pt x="195989" y="6892"/>
                    </a:cubicBezTo>
                    <a:cubicBezTo>
                      <a:pt x="216445" y="-5851"/>
                      <a:pt x="243080" y="-390"/>
                      <a:pt x="256924" y="18868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527" name="Gráfico 14">
                <a:extLst>
                  <a:ext uri="{FF2B5EF4-FFF2-40B4-BE49-F238E27FC236}">
                    <a16:creationId xmlns:a16="http://schemas.microsoft.com/office/drawing/2014/main" id="{EBB50CDE-8733-8695-FBD7-72DF05B19910}"/>
                  </a:ext>
                </a:extLst>
              </p:cNvPr>
              <p:cNvGrpSpPr/>
              <p:nvPr/>
            </p:nvGrpSpPr>
            <p:grpSpPr>
              <a:xfrm>
                <a:off x="7015845" y="1620600"/>
                <a:ext cx="30611" cy="29125"/>
                <a:chOff x="7015845" y="1620600"/>
                <a:chExt cx="30611" cy="29125"/>
              </a:xfrm>
            </p:grpSpPr>
            <p:sp>
              <p:nvSpPr>
                <p:cNvPr id="528" name="Forma livre: Forma 527">
                  <a:extLst>
                    <a:ext uri="{FF2B5EF4-FFF2-40B4-BE49-F238E27FC236}">
                      <a16:creationId xmlns:a16="http://schemas.microsoft.com/office/drawing/2014/main" id="{7681FD32-9E0E-248C-68A4-CCE327697B2A}"/>
                    </a:ext>
                  </a:extLst>
                </p:cNvPr>
                <p:cNvSpPr/>
                <p:nvPr/>
              </p:nvSpPr>
              <p:spPr>
                <a:xfrm>
                  <a:off x="7015845" y="1646947"/>
                  <a:ext cx="30227" cy="2778"/>
                </a:xfrm>
                <a:custGeom>
                  <a:avLst/>
                  <a:gdLst>
                    <a:gd name="connsiteX0" fmla="*/ 30228 w 30227"/>
                    <a:gd name="connsiteY0" fmla="*/ 0 h 2778"/>
                    <a:gd name="connsiteX1" fmla="*/ 0 w 30227"/>
                    <a:gd name="connsiteY1" fmla="*/ 2778 h 27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30227" h="2778">
                      <a:moveTo>
                        <a:pt x="30228" y="0"/>
                      </a:moveTo>
                      <a:lnTo>
                        <a:pt x="0" y="2778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529" name="Forma livre: Forma 528">
                  <a:extLst>
                    <a:ext uri="{FF2B5EF4-FFF2-40B4-BE49-F238E27FC236}">
                      <a16:creationId xmlns:a16="http://schemas.microsoft.com/office/drawing/2014/main" id="{0F1E904A-2D95-D129-470E-E0D48038429C}"/>
                    </a:ext>
                  </a:extLst>
                </p:cNvPr>
                <p:cNvSpPr/>
                <p:nvPr/>
              </p:nvSpPr>
              <p:spPr>
                <a:xfrm>
                  <a:off x="7029977" y="1620600"/>
                  <a:ext cx="16479" cy="26060"/>
                </a:xfrm>
                <a:custGeom>
                  <a:avLst/>
                  <a:gdLst>
                    <a:gd name="connsiteX0" fmla="*/ 0 w 16479"/>
                    <a:gd name="connsiteY0" fmla="*/ 0 h 26060"/>
                    <a:gd name="connsiteX1" fmla="*/ 16479 w 16479"/>
                    <a:gd name="connsiteY1" fmla="*/ 26060 h 2606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6479" h="26060">
                      <a:moveTo>
                        <a:pt x="0" y="0"/>
                      </a:moveTo>
                      <a:lnTo>
                        <a:pt x="16479" y="2606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530" name="Gráfico 14">
                <a:extLst>
                  <a:ext uri="{FF2B5EF4-FFF2-40B4-BE49-F238E27FC236}">
                    <a16:creationId xmlns:a16="http://schemas.microsoft.com/office/drawing/2014/main" id="{73BE80D8-E47D-DC29-2D0C-FD28CCE625D6}"/>
                  </a:ext>
                </a:extLst>
              </p:cNvPr>
              <p:cNvGrpSpPr/>
              <p:nvPr/>
            </p:nvGrpSpPr>
            <p:grpSpPr>
              <a:xfrm>
                <a:off x="7305716" y="1618205"/>
                <a:ext cx="30515" cy="32431"/>
                <a:chOff x="7305716" y="1618205"/>
                <a:chExt cx="30515" cy="32431"/>
              </a:xfrm>
            </p:grpSpPr>
            <p:sp>
              <p:nvSpPr>
                <p:cNvPr id="531" name="Forma livre: Forma 530">
                  <a:extLst>
                    <a:ext uri="{FF2B5EF4-FFF2-40B4-BE49-F238E27FC236}">
                      <a16:creationId xmlns:a16="http://schemas.microsoft.com/office/drawing/2014/main" id="{53F3A456-82F4-C925-9FA5-723590D64D4C}"/>
                    </a:ext>
                  </a:extLst>
                </p:cNvPr>
                <p:cNvSpPr/>
                <p:nvPr/>
              </p:nvSpPr>
              <p:spPr>
                <a:xfrm>
                  <a:off x="7305716" y="1618205"/>
                  <a:ext cx="17437" cy="25820"/>
                </a:xfrm>
                <a:custGeom>
                  <a:avLst/>
                  <a:gdLst>
                    <a:gd name="connsiteX0" fmla="*/ 0 w 17437"/>
                    <a:gd name="connsiteY0" fmla="*/ 25821 h 25820"/>
                    <a:gd name="connsiteX1" fmla="*/ 17437 w 17437"/>
                    <a:gd name="connsiteY1" fmla="*/ 0 h 2582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7437" h="25820">
                      <a:moveTo>
                        <a:pt x="0" y="25821"/>
                      </a:moveTo>
                      <a:lnTo>
                        <a:pt x="17437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532" name="Forma livre: Forma 531">
                  <a:extLst>
                    <a:ext uri="{FF2B5EF4-FFF2-40B4-BE49-F238E27FC236}">
                      <a16:creationId xmlns:a16="http://schemas.microsoft.com/office/drawing/2014/main" id="{6BA48D68-E529-BA30-C9A0-9D43F5A801B3}"/>
                    </a:ext>
                  </a:extLst>
                </p:cNvPr>
                <p:cNvSpPr/>
                <p:nvPr/>
              </p:nvSpPr>
              <p:spPr>
                <a:xfrm>
                  <a:off x="7305764" y="1644217"/>
                  <a:ext cx="30467" cy="6419"/>
                </a:xfrm>
                <a:custGeom>
                  <a:avLst/>
                  <a:gdLst>
                    <a:gd name="connsiteX0" fmla="*/ 30467 w 30467"/>
                    <a:gd name="connsiteY0" fmla="*/ 6419 h 6419"/>
                    <a:gd name="connsiteX1" fmla="*/ 0 w 30467"/>
                    <a:gd name="connsiteY1" fmla="*/ 0 h 641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30467" h="6419">
                      <a:moveTo>
                        <a:pt x="30467" y="6419"/>
                      </a:moveTo>
                      <a:lnTo>
                        <a:pt x="0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grpSp>
          <p:nvGrpSpPr>
            <p:cNvPr id="533" name="Gráfico 14">
              <a:extLst>
                <a:ext uri="{FF2B5EF4-FFF2-40B4-BE49-F238E27FC236}">
                  <a16:creationId xmlns:a16="http://schemas.microsoft.com/office/drawing/2014/main" id="{E4E591AA-DBE2-873C-5E1D-50C117CFE68E}"/>
                </a:ext>
              </a:extLst>
            </p:cNvPr>
            <p:cNvGrpSpPr/>
            <p:nvPr/>
          </p:nvGrpSpPr>
          <p:grpSpPr>
            <a:xfrm>
              <a:off x="7090049" y="1623857"/>
              <a:ext cx="171977" cy="58156"/>
              <a:chOff x="7090049" y="1623857"/>
              <a:chExt cx="171977" cy="58156"/>
            </a:xfrm>
            <a:noFill/>
          </p:grpSpPr>
          <p:sp>
            <p:nvSpPr>
              <p:cNvPr id="534" name="Forma livre: Forma 533">
                <a:extLst>
                  <a:ext uri="{FF2B5EF4-FFF2-40B4-BE49-F238E27FC236}">
                    <a16:creationId xmlns:a16="http://schemas.microsoft.com/office/drawing/2014/main" id="{1F3274BE-9C80-8F49-90D4-7A5979F73860}"/>
                  </a:ext>
                </a:extLst>
              </p:cNvPr>
              <p:cNvSpPr/>
              <p:nvPr/>
            </p:nvSpPr>
            <p:spPr>
              <a:xfrm>
                <a:off x="7176038" y="1640624"/>
                <a:ext cx="4790" cy="41389"/>
              </a:xfrm>
              <a:custGeom>
                <a:avLst/>
                <a:gdLst>
                  <a:gd name="connsiteX0" fmla="*/ 0 w 4790"/>
                  <a:gd name="connsiteY0" fmla="*/ 0 h 41389"/>
                  <a:gd name="connsiteX1" fmla="*/ 0 w 4790"/>
                  <a:gd name="connsiteY1" fmla="*/ 41390 h 413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90" h="41389">
                    <a:moveTo>
                      <a:pt x="0" y="0"/>
                    </a:moveTo>
                    <a:lnTo>
                      <a:pt x="0" y="4139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35" name="Forma livre: Forma 534">
                <a:extLst>
                  <a:ext uri="{FF2B5EF4-FFF2-40B4-BE49-F238E27FC236}">
                    <a16:creationId xmlns:a16="http://schemas.microsoft.com/office/drawing/2014/main" id="{D7045876-0A31-821C-6E56-959D656057B8}"/>
                  </a:ext>
                </a:extLst>
              </p:cNvPr>
              <p:cNvSpPr/>
              <p:nvPr/>
            </p:nvSpPr>
            <p:spPr>
              <a:xfrm>
                <a:off x="7208086" y="1636408"/>
                <a:ext cx="10778" cy="41916"/>
              </a:xfrm>
              <a:custGeom>
                <a:avLst/>
                <a:gdLst>
                  <a:gd name="connsiteX0" fmla="*/ 0 w 10778"/>
                  <a:gd name="connsiteY0" fmla="*/ 0 h 41916"/>
                  <a:gd name="connsiteX1" fmla="*/ 10779 w 10778"/>
                  <a:gd name="connsiteY1" fmla="*/ 41917 h 419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0778" h="41916">
                    <a:moveTo>
                      <a:pt x="0" y="0"/>
                    </a:moveTo>
                    <a:cubicBezTo>
                      <a:pt x="0" y="0"/>
                      <a:pt x="9581" y="17246"/>
                      <a:pt x="10779" y="41917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36" name="Forma livre: Forma 535">
                <a:extLst>
                  <a:ext uri="{FF2B5EF4-FFF2-40B4-BE49-F238E27FC236}">
                    <a16:creationId xmlns:a16="http://schemas.microsoft.com/office/drawing/2014/main" id="{2E09FEC1-4D42-EC75-1351-E2B7B2F21116}"/>
                  </a:ext>
                </a:extLst>
              </p:cNvPr>
              <p:cNvSpPr/>
              <p:nvPr/>
            </p:nvSpPr>
            <p:spPr>
              <a:xfrm>
                <a:off x="7237404" y="1623857"/>
                <a:ext cx="24622" cy="40527"/>
              </a:xfrm>
              <a:custGeom>
                <a:avLst/>
                <a:gdLst>
                  <a:gd name="connsiteX0" fmla="*/ 0 w 24622"/>
                  <a:gd name="connsiteY0" fmla="*/ 0 h 40527"/>
                  <a:gd name="connsiteX1" fmla="*/ 24623 w 24622"/>
                  <a:gd name="connsiteY1" fmla="*/ 40527 h 405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4622" h="40527">
                    <a:moveTo>
                      <a:pt x="0" y="0"/>
                    </a:moveTo>
                    <a:cubicBezTo>
                      <a:pt x="0" y="0"/>
                      <a:pt x="16575" y="17150"/>
                      <a:pt x="24623" y="40527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37" name="Forma livre: Forma 536">
                <a:extLst>
                  <a:ext uri="{FF2B5EF4-FFF2-40B4-BE49-F238E27FC236}">
                    <a16:creationId xmlns:a16="http://schemas.microsoft.com/office/drawing/2014/main" id="{9872BC82-0CA7-C476-0CF8-22519C2E9372}"/>
                  </a:ext>
                </a:extLst>
              </p:cNvPr>
              <p:cNvSpPr/>
              <p:nvPr/>
            </p:nvSpPr>
            <p:spPr>
              <a:xfrm>
                <a:off x="7133211" y="1636648"/>
                <a:ext cx="10970" cy="41724"/>
              </a:xfrm>
              <a:custGeom>
                <a:avLst/>
                <a:gdLst>
                  <a:gd name="connsiteX0" fmla="*/ 10970 w 10970"/>
                  <a:gd name="connsiteY0" fmla="*/ 0 h 41724"/>
                  <a:gd name="connsiteX1" fmla="*/ 0 w 10970"/>
                  <a:gd name="connsiteY1" fmla="*/ 41725 h 417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0970" h="41724">
                    <a:moveTo>
                      <a:pt x="10970" y="0"/>
                    </a:moveTo>
                    <a:cubicBezTo>
                      <a:pt x="10970" y="0"/>
                      <a:pt x="1245" y="17054"/>
                      <a:pt x="0" y="41725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38" name="Forma livre: Forma 537">
                <a:extLst>
                  <a:ext uri="{FF2B5EF4-FFF2-40B4-BE49-F238E27FC236}">
                    <a16:creationId xmlns:a16="http://schemas.microsoft.com/office/drawing/2014/main" id="{FE409433-EDA8-E488-264B-B237217DCBC2}"/>
                  </a:ext>
                </a:extLst>
              </p:cNvPr>
              <p:cNvSpPr/>
              <p:nvPr/>
            </p:nvSpPr>
            <p:spPr>
              <a:xfrm>
                <a:off x="7090049" y="1625055"/>
                <a:ext cx="23185" cy="39329"/>
              </a:xfrm>
              <a:custGeom>
                <a:avLst/>
                <a:gdLst>
                  <a:gd name="connsiteX0" fmla="*/ 23186 w 23185"/>
                  <a:gd name="connsiteY0" fmla="*/ 0 h 39329"/>
                  <a:gd name="connsiteX1" fmla="*/ 0 w 23185"/>
                  <a:gd name="connsiteY1" fmla="*/ 39330 h 393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3185" h="39329">
                    <a:moveTo>
                      <a:pt x="23186" y="0"/>
                    </a:moveTo>
                    <a:cubicBezTo>
                      <a:pt x="23186" y="0"/>
                      <a:pt x="8048" y="15952"/>
                      <a:pt x="0" y="39330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539" name="Gráfico 14">
              <a:extLst>
                <a:ext uri="{FF2B5EF4-FFF2-40B4-BE49-F238E27FC236}">
                  <a16:creationId xmlns:a16="http://schemas.microsoft.com/office/drawing/2014/main" id="{B79C7240-02A6-2447-A8ED-6CDD72A64185}"/>
                </a:ext>
              </a:extLst>
            </p:cNvPr>
            <p:cNvGrpSpPr/>
            <p:nvPr/>
          </p:nvGrpSpPr>
          <p:grpSpPr>
            <a:xfrm>
              <a:off x="7125747" y="1513294"/>
              <a:ext cx="100595" cy="80671"/>
              <a:chOff x="7125747" y="1513294"/>
              <a:chExt cx="100595" cy="80671"/>
            </a:xfrm>
            <a:noFill/>
          </p:grpSpPr>
          <p:sp>
            <p:nvSpPr>
              <p:cNvPr id="540" name="Forma livre: Forma 539">
                <a:extLst>
                  <a:ext uri="{FF2B5EF4-FFF2-40B4-BE49-F238E27FC236}">
                    <a16:creationId xmlns:a16="http://schemas.microsoft.com/office/drawing/2014/main" id="{39682155-4EBE-78A7-1CBD-BE730AB75543}"/>
                  </a:ext>
                </a:extLst>
              </p:cNvPr>
              <p:cNvSpPr/>
              <p:nvPr/>
            </p:nvSpPr>
            <p:spPr>
              <a:xfrm>
                <a:off x="7125747" y="1536240"/>
                <a:ext cx="12067" cy="57725"/>
              </a:xfrm>
              <a:custGeom>
                <a:avLst/>
                <a:gdLst>
                  <a:gd name="connsiteX0" fmla="*/ 7943 w 12067"/>
                  <a:gd name="connsiteY0" fmla="*/ 0 h 57725"/>
                  <a:gd name="connsiteX1" fmla="*/ 6362 w 12067"/>
                  <a:gd name="connsiteY1" fmla="*/ 29557 h 57725"/>
                  <a:gd name="connsiteX2" fmla="*/ 3153 w 12067"/>
                  <a:gd name="connsiteY2" fmla="*/ 57725 h 577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2067" h="57725">
                    <a:moveTo>
                      <a:pt x="7943" y="0"/>
                    </a:moveTo>
                    <a:cubicBezTo>
                      <a:pt x="7943" y="0"/>
                      <a:pt x="-8823" y="13749"/>
                      <a:pt x="6362" y="29557"/>
                    </a:cubicBezTo>
                    <a:cubicBezTo>
                      <a:pt x="11153" y="34539"/>
                      <a:pt x="17716" y="44120"/>
                      <a:pt x="3153" y="57725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41" name="Forma livre: Forma 540">
                <a:extLst>
                  <a:ext uri="{FF2B5EF4-FFF2-40B4-BE49-F238E27FC236}">
                    <a16:creationId xmlns:a16="http://schemas.microsoft.com/office/drawing/2014/main" id="{90F5A36D-381A-99C4-811E-898298D8377A}"/>
                  </a:ext>
                </a:extLst>
              </p:cNvPr>
              <p:cNvSpPr/>
              <p:nvPr/>
            </p:nvSpPr>
            <p:spPr>
              <a:xfrm>
                <a:off x="7214275" y="1536240"/>
                <a:ext cx="12067" cy="57725"/>
              </a:xfrm>
              <a:custGeom>
                <a:avLst/>
                <a:gdLst>
                  <a:gd name="connsiteX0" fmla="*/ 7943 w 12067"/>
                  <a:gd name="connsiteY0" fmla="*/ 0 h 57725"/>
                  <a:gd name="connsiteX1" fmla="*/ 6362 w 12067"/>
                  <a:gd name="connsiteY1" fmla="*/ 29557 h 57725"/>
                  <a:gd name="connsiteX2" fmla="*/ 3153 w 12067"/>
                  <a:gd name="connsiteY2" fmla="*/ 57725 h 577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2067" h="57725">
                    <a:moveTo>
                      <a:pt x="7943" y="0"/>
                    </a:moveTo>
                    <a:cubicBezTo>
                      <a:pt x="7943" y="0"/>
                      <a:pt x="-8823" y="13749"/>
                      <a:pt x="6362" y="29557"/>
                    </a:cubicBezTo>
                    <a:cubicBezTo>
                      <a:pt x="11153" y="34539"/>
                      <a:pt x="17716" y="44120"/>
                      <a:pt x="3153" y="57725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42" name="Forma livre: Forma 541">
                <a:extLst>
                  <a:ext uri="{FF2B5EF4-FFF2-40B4-BE49-F238E27FC236}">
                    <a16:creationId xmlns:a16="http://schemas.microsoft.com/office/drawing/2014/main" id="{6E435DCB-3207-B9D4-FF7B-DFF33C58D9F4}"/>
                  </a:ext>
                </a:extLst>
              </p:cNvPr>
              <p:cNvSpPr/>
              <p:nvPr/>
            </p:nvSpPr>
            <p:spPr>
              <a:xfrm>
                <a:off x="7170011" y="1513294"/>
                <a:ext cx="12087" cy="80623"/>
              </a:xfrm>
              <a:custGeom>
                <a:avLst/>
                <a:gdLst>
                  <a:gd name="connsiteX0" fmla="*/ 7943 w 12087"/>
                  <a:gd name="connsiteY0" fmla="*/ 0 h 80623"/>
                  <a:gd name="connsiteX1" fmla="*/ 6362 w 12087"/>
                  <a:gd name="connsiteY1" fmla="*/ 41294 h 80623"/>
                  <a:gd name="connsiteX2" fmla="*/ 3153 w 12087"/>
                  <a:gd name="connsiteY2" fmla="*/ 80623 h 806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2087" h="80623">
                    <a:moveTo>
                      <a:pt x="7943" y="0"/>
                    </a:moveTo>
                    <a:cubicBezTo>
                      <a:pt x="7943" y="0"/>
                      <a:pt x="-8823" y="19210"/>
                      <a:pt x="6362" y="41294"/>
                    </a:cubicBezTo>
                    <a:cubicBezTo>
                      <a:pt x="11153" y="48288"/>
                      <a:pt x="17764" y="61653"/>
                      <a:pt x="3153" y="80623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543" name="Gráfico 14">
              <a:extLst>
                <a:ext uri="{FF2B5EF4-FFF2-40B4-BE49-F238E27FC236}">
                  <a16:creationId xmlns:a16="http://schemas.microsoft.com/office/drawing/2014/main" id="{636EDC86-85E3-E4A5-C420-EFC9A073B97A}"/>
                </a:ext>
              </a:extLst>
            </p:cNvPr>
            <p:cNvGrpSpPr/>
            <p:nvPr/>
          </p:nvGrpSpPr>
          <p:grpSpPr>
            <a:xfrm>
              <a:off x="7159702" y="1730637"/>
              <a:ext cx="32670" cy="51305"/>
              <a:chOff x="7159702" y="1730637"/>
              <a:chExt cx="32670" cy="51305"/>
            </a:xfrm>
          </p:grpSpPr>
          <p:sp>
            <p:nvSpPr>
              <p:cNvPr id="544" name="Forma livre: Forma 543">
                <a:extLst>
                  <a:ext uri="{FF2B5EF4-FFF2-40B4-BE49-F238E27FC236}">
                    <a16:creationId xmlns:a16="http://schemas.microsoft.com/office/drawing/2014/main" id="{263D307C-EB89-14B6-A327-83CAAAD4F12D}"/>
                  </a:ext>
                </a:extLst>
              </p:cNvPr>
              <p:cNvSpPr/>
              <p:nvPr/>
            </p:nvSpPr>
            <p:spPr>
              <a:xfrm>
                <a:off x="7159702" y="1730637"/>
                <a:ext cx="4790" cy="51305"/>
              </a:xfrm>
              <a:custGeom>
                <a:avLst/>
                <a:gdLst>
                  <a:gd name="connsiteX0" fmla="*/ 0 w 4790"/>
                  <a:gd name="connsiteY0" fmla="*/ 0 h 51305"/>
                  <a:gd name="connsiteX1" fmla="*/ 0 w 4790"/>
                  <a:gd name="connsiteY1" fmla="*/ 51306 h 513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90" h="51305">
                    <a:moveTo>
                      <a:pt x="0" y="0"/>
                    </a:moveTo>
                    <a:lnTo>
                      <a:pt x="0" y="51306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45" name="Forma livre: Forma 544">
                <a:extLst>
                  <a:ext uri="{FF2B5EF4-FFF2-40B4-BE49-F238E27FC236}">
                    <a16:creationId xmlns:a16="http://schemas.microsoft.com/office/drawing/2014/main" id="{109D61A5-3519-0429-6F6A-3ABA52A62800}"/>
                  </a:ext>
                </a:extLst>
              </p:cNvPr>
              <p:cNvSpPr/>
              <p:nvPr/>
            </p:nvSpPr>
            <p:spPr>
              <a:xfrm>
                <a:off x="7192373" y="1730637"/>
                <a:ext cx="4790" cy="51305"/>
              </a:xfrm>
              <a:custGeom>
                <a:avLst/>
                <a:gdLst>
                  <a:gd name="connsiteX0" fmla="*/ 0 w 4790"/>
                  <a:gd name="connsiteY0" fmla="*/ 0 h 51305"/>
                  <a:gd name="connsiteX1" fmla="*/ 0 w 4790"/>
                  <a:gd name="connsiteY1" fmla="*/ 51306 h 513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90" h="51305">
                    <a:moveTo>
                      <a:pt x="0" y="0"/>
                    </a:moveTo>
                    <a:lnTo>
                      <a:pt x="0" y="51306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546" name="Gráfico 14">
              <a:extLst>
                <a:ext uri="{FF2B5EF4-FFF2-40B4-BE49-F238E27FC236}">
                  <a16:creationId xmlns:a16="http://schemas.microsoft.com/office/drawing/2014/main" id="{525F959A-88FF-D9DF-C2C9-2EFF3BC7A612}"/>
                </a:ext>
              </a:extLst>
            </p:cNvPr>
            <p:cNvGrpSpPr/>
            <p:nvPr/>
          </p:nvGrpSpPr>
          <p:grpSpPr>
            <a:xfrm>
              <a:off x="7127654" y="1726086"/>
              <a:ext cx="96767" cy="144528"/>
              <a:chOff x="7127654" y="1726086"/>
              <a:chExt cx="96767" cy="144528"/>
            </a:xfrm>
            <a:noFill/>
          </p:grpSpPr>
          <p:sp>
            <p:nvSpPr>
              <p:cNvPr id="547" name="Forma livre: Forma 546">
                <a:extLst>
                  <a:ext uri="{FF2B5EF4-FFF2-40B4-BE49-F238E27FC236}">
                    <a16:creationId xmlns:a16="http://schemas.microsoft.com/office/drawing/2014/main" id="{58939E10-8D93-C563-85EC-2DBA96E6BFDD}"/>
                  </a:ext>
                </a:extLst>
              </p:cNvPr>
              <p:cNvSpPr/>
              <p:nvPr/>
            </p:nvSpPr>
            <p:spPr>
              <a:xfrm>
                <a:off x="7127654" y="1747403"/>
                <a:ext cx="32048" cy="123210"/>
              </a:xfrm>
              <a:custGeom>
                <a:avLst/>
                <a:gdLst>
                  <a:gd name="connsiteX0" fmla="*/ 0 w 32048"/>
                  <a:gd name="connsiteY0" fmla="*/ 0 h 123210"/>
                  <a:gd name="connsiteX1" fmla="*/ 0 w 32048"/>
                  <a:gd name="connsiteY1" fmla="*/ 48863 h 123210"/>
                  <a:gd name="connsiteX2" fmla="*/ 19353 w 32048"/>
                  <a:gd name="connsiteY2" fmla="*/ 78372 h 123210"/>
                  <a:gd name="connsiteX3" fmla="*/ 19353 w 32048"/>
                  <a:gd name="connsiteY3" fmla="*/ 78372 h 123210"/>
                  <a:gd name="connsiteX4" fmla="*/ 32048 w 32048"/>
                  <a:gd name="connsiteY4" fmla="*/ 102995 h 123210"/>
                  <a:gd name="connsiteX5" fmla="*/ 32048 w 32048"/>
                  <a:gd name="connsiteY5" fmla="*/ 123211 h 1232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32048" h="123210">
                    <a:moveTo>
                      <a:pt x="0" y="0"/>
                    </a:moveTo>
                    <a:lnTo>
                      <a:pt x="0" y="48863"/>
                    </a:lnTo>
                    <a:cubicBezTo>
                      <a:pt x="0" y="62372"/>
                      <a:pt x="8096" y="73869"/>
                      <a:pt x="19353" y="78372"/>
                    </a:cubicBezTo>
                    <a:lnTo>
                      <a:pt x="19353" y="78372"/>
                    </a:lnTo>
                    <a:cubicBezTo>
                      <a:pt x="19353" y="78372"/>
                      <a:pt x="32048" y="82444"/>
                      <a:pt x="32048" y="102995"/>
                    </a:cubicBezTo>
                    <a:lnTo>
                      <a:pt x="32048" y="123211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48" name="Forma livre: Forma 547">
                <a:extLst>
                  <a:ext uri="{FF2B5EF4-FFF2-40B4-BE49-F238E27FC236}">
                    <a16:creationId xmlns:a16="http://schemas.microsoft.com/office/drawing/2014/main" id="{483037A9-B0FD-EB99-D6CB-CE1726D8EDD8}"/>
                  </a:ext>
                </a:extLst>
              </p:cNvPr>
              <p:cNvSpPr/>
              <p:nvPr/>
            </p:nvSpPr>
            <p:spPr>
              <a:xfrm>
                <a:off x="7192373" y="1726086"/>
                <a:ext cx="32048" cy="144528"/>
              </a:xfrm>
              <a:custGeom>
                <a:avLst/>
                <a:gdLst>
                  <a:gd name="connsiteX0" fmla="*/ 32048 w 32048"/>
                  <a:gd name="connsiteY0" fmla="*/ 0 h 144528"/>
                  <a:gd name="connsiteX1" fmla="*/ 32048 w 32048"/>
                  <a:gd name="connsiteY1" fmla="*/ 70180 h 144528"/>
                  <a:gd name="connsiteX2" fmla="*/ 12695 w 32048"/>
                  <a:gd name="connsiteY2" fmla="*/ 99689 h 144528"/>
                  <a:gd name="connsiteX3" fmla="*/ 12695 w 32048"/>
                  <a:gd name="connsiteY3" fmla="*/ 99689 h 144528"/>
                  <a:gd name="connsiteX4" fmla="*/ 0 w 32048"/>
                  <a:gd name="connsiteY4" fmla="*/ 124312 h 144528"/>
                  <a:gd name="connsiteX5" fmla="*/ 0 w 32048"/>
                  <a:gd name="connsiteY5" fmla="*/ 144528 h 1445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32048" h="144528">
                    <a:moveTo>
                      <a:pt x="32048" y="0"/>
                    </a:moveTo>
                    <a:lnTo>
                      <a:pt x="32048" y="70180"/>
                    </a:lnTo>
                    <a:cubicBezTo>
                      <a:pt x="32048" y="83689"/>
                      <a:pt x="23952" y="95186"/>
                      <a:pt x="12695" y="99689"/>
                    </a:cubicBezTo>
                    <a:lnTo>
                      <a:pt x="12695" y="99689"/>
                    </a:lnTo>
                    <a:cubicBezTo>
                      <a:pt x="12695" y="99689"/>
                      <a:pt x="0" y="103761"/>
                      <a:pt x="0" y="124312"/>
                    </a:cubicBezTo>
                    <a:lnTo>
                      <a:pt x="0" y="144528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549" name="Gráfico 14">
            <a:extLst>
              <a:ext uri="{FF2B5EF4-FFF2-40B4-BE49-F238E27FC236}">
                <a16:creationId xmlns:a16="http://schemas.microsoft.com/office/drawing/2014/main" id="{62183A15-1B3D-7B78-C7CE-0E0EFB82DAAD}"/>
              </a:ext>
            </a:extLst>
          </p:cNvPr>
          <p:cNvGrpSpPr/>
          <p:nvPr/>
        </p:nvGrpSpPr>
        <p:grpSpPr>
          <a:xfrm>
            <a:off x="6366882" y="2099023"/>
            <a:ext cx="372889" cy="234924"/>
            <a:chOff x="6366882" y="2099023"/>
            <a:chExt cx="372889" cy="234924"/>
          </a:xfrm>
          <a:noFill/>
        </p:grpSpPr>
        <p:sp>
          <p:nvSpPr>
            <p:cNvPr id="550" name="Forma livre: Forma 549">
              <a:extLst>
                <a:ext uri="{FF2B5EF4-FFF2-40B4-BE49-F238E27FC236}">
                  <a16:creationId xmlns:a16="http://schemas.microsoft.com/office/drawing/2014/main" id="{42141A58-B104-0943-A602-69F2D97D8A17}"/>
                </a:ext>
              </a:extLst>
            </p:cNvPr>
            <p:cNvSpPr/>
            <p:nvPr/>
          </p:nvSpPr>
          <p:spPr>
            <a:xfrm>
              <a:off x="6389732" y="2136820"/>
              <a:ext cx="115737" cy="143474"/>
            </a:xfrm>
            <a:custGeom>
              <a:avLst/>
              <a:gdLst>
                <a:gd name="connsiteX0" fmla="*/ 0 w 115737"/>
                <a:gd name="connsiteY0" fmla="*/ 143474 h 143474"/>
                <a:gd name="connsiteX1" fmla="*/ 82827 w 115737"/>
                <a:gd name="connsiteY1" fmla="*/ 0 h 143474"/>
                <a:gd name="connsiteX2" fmla="*/ 115737 w 115737"/>
                <a:gd name="connsiteY2" fmla="*/ 56432 h 1434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15737" h="143474">
                  <a:moveTo>
                    <a:pt x="0" y="143474"/>
                  </a:moveTo>
                  <a:lnTo>
                    <a:pt x="82827" y="0"/>
                  </a:lnTo>
                  <a:lnTo>
                    <a:pt x="115737" y="56432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551" name="Forma livre: Forma 550">
              <a:extLst>
                <a:ext uri="{FF2B5EF4-FFF2-40B4-BE49-F238E27FC236}">
                  <a16:creationId xmlns:a16="http://schemas.microsoft.com/office/drawing/2014/main" id="{EA7C0BCE-D1EF-30BE-59F5-14DC9E4DCFB2}"/>
                </a:ext>
              </a:extLst>
            </p:cNvPr>
            <p:cNvSpPr/>
            <p:nvPr/>
          </p:nvSpPr>
          <p:spPr>
            <a:xfrm>
              <a:off x="6437253" y="2199862"/>
              <a:ext cx="46754" cy="42156"/>
            </a:xfrm>
            <a:custGeom>
              <a:avLst/>
              <a:gdLst>
                <a:gd name="connsiteX0" fmla="*/ 0 w 46754"/>
                <a:gd name="connsiteY0" fmla="*/ 0 h 42156"/>
                <a:gd name="connsiteX1" fmla="*/ 12407 w 46754"/>
                <a:gd name="connsiteY1" fmla="*/ 42156 h 42156"/>
                <a:gd name="connsiteX2" fmla="*/ 38755 w 46754"/>
                <a:gd name="connsiteY2" fmla="*/ 2635 h 42156"/>
                <a:gd name="connsiteX3" fmla="*/ 46755 w 46754"/>
                <a:gd name="connsiteY3" fmla="*/ 28839 h 421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6754" h="42156">
                  <a:moveTo>
                    <a:pt x="0" y="0"/>
                  </a:moveTo>
                  <a:lnTo>
                    <a:pt x="12407" y="42156"/>
                  </a:lnTo>
                  <a:lnTo>
                    <a:pt x="38755" y="2635"/>
                  </a:lnTo>
                  <a:lnTo>
                    <a:pt x="46755" y="28839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552" name="Forma livre: Forma 551">
              <a:extLst>
                <a:ext uri="{FF2B5EF4-FFF2-40B4-BE49-F238E27FC236}">
                  <a16:creationId xmlns:a16="http://schemas.microsoft.com/office/drawing/2014/main" id="{ACDB77BA-1BEB-EB18-72A2-4BADB30E8F8F}"/>
                </a:ext>
              </a:extLst>
            </p:cNvPr>
            <p:cNvSpPr/>
            <p:nvPr/>
          </p:nvSpPr>
          <p:spPr>
            <a:xfrm>
              <a:off x="6633854" y="2130475"/>
              <a:ext cx="81457" cy="99231"/>
            </a:xfrm>
            <a:custGeom>
              <a:avLst/>
              <a:gdLst>
                <a:gd name="connsiteX0" fmla="*/ 0 w 81457"/>
                <a:gd name="connsiteY0" fmla="*/ 8453 h 99231"/>
                <a:gd name="connsiteX1" fmla="*/ 21844 w 81457"/>
                <a:gd name="connsiteY1" fmla="*/ 453 h 99231"/>
                <a:gd name="connsiteX2" fmla="*/ 81007 w 81457"/>
                <a:gd name="connsiteY2" fmla="*/ 45866 h 99231"/>
                <a:gd name="connsiteX3" fmla="*/ 53653 w 81457"/>
                <a:gd name="connsiteY3" fmla="*/ 99232 h 992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1457" h="99231">
                  <a:moveTo>
                    <a:pt x="0" y="8453"/>
                  </a:moveTo>
                  <a:cubicBezTo>
                    <a:pt x="6371" y="4285"/>
                    <a:pt x="13797" y="1507"/>
                    <a:pt x="21844" y="453"/>
                  </a:cubicBezTo>
                  <a:cubicBezTo>
                    <a:pt x="50731" y="-3332"/>
                    <a:pt x="77222" y="17028"/>
                    <a:pt x="81007" y="45866"/>
                  </a:cubicBezTo>
                  <a:cubicBezTo>
                    <a:pt x="83929" y="68238"/>
                    <a:pt x="72384" y="89172"/>
                    <a:pt x="53653" y="99232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553" name="Forma livre: Forma 552">
              <a:extLst>
                <a:ext uri="{FF2B5EF4-FFF2-40B4-BE49-F238E27FC236}">
                  <a16:creationId xmlns:a16="http://schemas.microsoft.com/office/drawing/2014/main" id="{8E5C340D-B741-E76E-6CDB-12B854D51797}"/>
                </a:ext>
              </a:extLst>
            </p:cNvPr>
            <p:cNvSpPr/>
            <p:nvPr/>
          </p:nvSpPr>
          <p:spPr>
            <a:xfrm>
              <a:off x="6603530" y="2099071"/>
              <a:ext cx="132216" cy="228648"/>
            </a:xfrm>
            <a:custGeom>
              <a:avLst/>
              <a:gdLst>
                <a:gd name="connsiteX0" fmla="*/ 132217 w 132216"/>
                <a:gd name="connsiteY0" fmla="*/ 228649 h 228648"/>
                <a:gd name="connsiteX1" fmla="*/ 0 w 132216"/>
                <a:gd name="connsiteY1" fmla="*/ 0 h 2286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32216" h="228648">
                  <a:moveTo>
                    <a:pt x="132217" y="228649"/>
                  </a:moveTo>
                  <a:lnTo>
                    <a:pt x="0" y="0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554" name="Forma livre: Forma 553">
              <a:extLst>
                <a:ext uri="{FF2B5EF4-FFF2-40B4-BE49-F238E27FC236}">
                  <a16:creationId xmlns:a16="http://schemas.microsoft.com/office/drawing/2014/main" id="{277C7F68-5E44-1579-AE35-AFA89DEC5EA2}"/>
                </a:ext>
              </a:extLst>
            </p:cNvPr>
            <p:cNvSpPr/>
            <p:nvPr/>
          </p:nvSpPr>
          <p:spPr>
            <a:xfrm>
              <a:off x="6453685" y="2099071"/>
              <a:ext cx="114348" cy="196265"/>
            </a:xfrm>
            <a:custGeom>
              <a:avLst/>
              <a:gdLst>
                <a:gd name="connsiteX0" fmla="*/ 114348 w 114348"/>
                <a:gd name="connsiteY0" fmla="*/ 0 h 196265"/>
                <a:gd name="connsiteX1" fmla="*/ 0 w 114348"/>
                <a:gd name="connsiteY1" fmla="*/ 196265 h 1962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4348" h="196265">
                  <a:moveTo>
                    <a:pt x="114348" y="0"/>
                  </a:moveTo>
                  <a:lnTo>
                    <a:pt x="0" y="196265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555" name="Forma livre: Forma 554">
              <a:extLst>
                <a:ext uri="{FF2B5EF4-FFF2-40B4-BE49-F238E27FC236}">
                  <a16:creationId xmlns:a16="http://schemas.microsoft.com/office/drawing/2014/main" id="{7D2103DE-78A5-7AB4-5062-269C957C1A90}"/>
                </a:ext>
              </a:extLst>
            </p:cNvPr>
            <p:cNvSpPr/>
            <p:nvPr/>
          </p:nvSpPr>
          <p:spPr>
            <a:xfrm>
              <a:off x="6716250" y="2172892"/>
              <a:ext cx="23521" cy="3113"/>
            </a:xfrm>
            <a:custGeom>
              <a:avLst/>
              <a:gdLst>
                <a:gd name="connsiteX0" fmla="*/ 0 w 23521"/>
                <a:gd name="connsiteY0" fmla="*/ 3114 h 3113"/>
                <a:gd name="connsiteX1" fmla="*/ 23521 w 23521"/>
                <a:gd name="connsiteY1" fmla="*/ 0 h 31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3521" h="3113">
                  <a:moveTo>
                    <a:pt x="0" y="3114"/>
                  </a:moveTo>
                  <a:lnTo>
                    <a:pt x="23521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556" name="Forma livre: Forma 555">
              <a:extLst>
                <a:ext uri="{FF2B5EF4-FFF2-40B4-BE49-F238E27FC236}">
                  <a16:creationId xmlns:a16="http://schemas.microsoft.com/office/drawing/2014/main" id="{B54662A0-E318-A750-4D21-1ED9F950D767}"/>
                </a:ext>
              </a:extLst>
            </p:cNvPr>
            <p:cNvSpPr/>
            <p:nvPr/>
          </p:nvSpPr>
          <p:spPr>
            <a:xfrm>
              <a:off x="6653207" y="2106161"/>
              <a:ext cx="3065" cy="23473"/>
            </a:xfrm>
            <a:custGeom>
              <a:avLst/>
              <a:gdLst>
                <a:gd name="connsiteX0" fmla="*/ 3066 w 3065"/>
                <a:gd name="connsiteY0" fmla="*/ 23473 h 23473"/>
                <a:gd name="connsiteX1" fmla="*/ 0 w 3065"/>
                <a:gd name="connsiteY1" fmla="*/ 0 h 234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065" h="23473">
                  <a:moveTo>
                    <a:pt x="3066" y="23473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557" name="Forma livre: Forma 556">
              <a:extLst>
                <a:ext uri="{FF2B5EF4-FFF2-40B4-BE49-F238E27FC236}">
                  <a16:creationId xmlns:a16="http://schemas.microsoft.com/office/drawing/2014/main" id="{2D9E79DC-4EDA-F34B-C97E-D5BCFDE27D1F}"/>
                </a:ext>
              </a:extLst>
            </p:cNvPr>
            <p:cNvSpPr/>
            <p:nvPr/>
          </p:nvSpPr>
          <p:spPr>
            <a:xfrm>
              <a:off x="6696657" y="2122784"/>
              <a:ext cx="14419" cy="18778"/>
            </a:xfrm>
            <a:custGeom>
              <a:avLst/>
              <a:gdLst>
                <a:gd name="connsiteX0" fmla="*/ 0 w 14419"/>
                <a:gd name="connsiteY0" fmla="*/ 18779 h 18778"/>
                <a:gd name="connsiteX1" fmla="*/ 14419 w 14419"/>
                <a:gd name="connsiteY1" fmla="*/ 0 h 187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4419" h="18778">
                  <a:moveTo>
                    <a:pt x="0" y="18779"/>
                  </a:moveTo>
                  <a:lnTo>
                    <a:pt x="14419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558" name="Forma livre: Forma 557">
              <a:extLst>
                <a:ext uri="{FF2B5EF4-FFF2-40B4-BE49-F238E27FC236}">
                  <a16:creationId xmlns:a16="http://schemas.microsoft.com/office/drawing/2014/main" id="{695409ED-5F19-8F06-327A-1F1B0111487C}"/>
                </a:ext>
              </a:extLst>
            </p:cNvPr>
            <p:cNvSpPr/>
            <p:nvPr/>
          </p:nvSpPr>
          <p:spPr>
            <a:xfrm>
              <a:off x="6703268" y="2218976"/>
              <a:ext cx="18778" cy="14419"/>
            </a:xfrm>
            <a:custGeom>
              <a:avLst/>
              <a:gdLst>
                <a:gd name="connsiteX0" fmla="*/ 0 w 18778"/>
                <a:gd name="connsiteY0" fmla="*/ 0 h 14419"/>
                <a:gd name="connsiteX1" fmla="*/ 18779 w 18778"/>
                <a:gd name="connsiteY1" fmla="*/ 14419 h 144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778" h="14419">
                  <a:moveTo>
                    <a:pt x="0" y="0"/>
                  </a:moveTo>
                  <a:lnTo>
                    <a:pt x="18779" y="14419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559" name="Forma livre: Forma 558">
              <a:extLst>
                <a:ext uri="{FF2B5EF4-FFF2-40B4-BE49-F238E27FC236}">
                  <a16:creationId xmlns:a16="http://schemas.microsoft.com/office/drawing/2014/main" id="{B240EB86-0A36-B465-354D-240817B5162E}"/>
                </a:ext>
              </a:extLst>
            </p:cNvPr>
            <p:cNvSpPr/>
            <p:nvPr/>
          </p:nvSpPr>
          <p:spPr>
            <a:xfrm>
              <a:off x="6475050" y="2099023"/>
              <a:ext cx="229606" cy="205798"/>
            </a:xfrm>
            <a:custGeom>
              <a:avLst/>
              <a:gdLst>
                <a:gd name="connsiteX0" fmla="*/ 0 w 229606"/>
                <a:gd name="connsiteY0" fmla="*/ 191235 h 205798"/>
                <a:gd name="connsiteX1" fmla="*/ 110707 w 229606"/>
                <a:gd name="connsiteY1" fmla="*/ 0 h 205798"/>
                <a:gd name="connsiteX2" fmla="*/ 229607 w 229606"/>
                <a:gd name="connsiteY2" fmla="*/ 205798 h 2057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29606" h="205798">
                  <a:moveTo>
                    <a:pt x="0" y="191235"/>
                  </a:moveTo>
                  <a:lnTo>
                    <a:pt x="110707" y="0"/>
                  </a:lnTo>
                  <a:lnTo>
                    <a:pt x="229607" y="205798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560" name="Forma livre: Forma 559">
              <a:extLst>
                <a:ext uri="{FF2B5EF4-FFF2-40B4-BE49-F238E27FC236}">
                  <a16:creationId xmlns:a16="http://schemas.microsoft.com/office/drawing/2014/main" id="{15A00E80-B614-9832-EA9E-BBA857F90A52}"/>
                </a:ext>
              </a:extLst>
            </p:cNvPr>
            <p:cNvSpPr/>
            <p:nvPr/>
          </p:nvSpPr>
          <p:spPr>
            <a:xfrm>
              <a:off x="6517685" y="2183335"/>
              <a:ext cx="139785" cy="52695"/>
            </a:xfrm>
            <a:custGeom>
              <a:avLst/>
              <a:gdLst>
                <a:gd name="connsiteX0" fmla="*/ 0 w 139785"/>
                <a:gd name="connsiteY0" fmla="*/ 34875 h 52695"/>
                <a:gd name="connsiteX1" fmla="*/ 49150 w 139785"/>
                <a:gd name="connsiteY1" fmla="*/ 0 h 52695"/>
                <a:gd name="connsiteX2" fmla="*/ 66875 w 139785"/>
                <a:gd name="connsiteY2" fmla="*/ 52695 h 52695"/>
                <a:gd name="connsiteX3" fmla="*/ 89534 w 139785"/>
                <a:gd name="connsiteY3" fmla="*/ 9533 h 52695"/>
                <a:gd name="connsiteX4" fmla="*/ 139786 w 139785"/>
                <a:gd name="connsiteY4" fmla="*/ 41437 h 526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9785" h="52695">
                  <a:moveTo>
                    <a:pt x="0" y="34875"/>
                  </a:moveTo>
                  <a:lnTo>
                    <a:pt x="49150" y="0"/>
                  </a:lnTo>
                  <a:lnTo>
                    <a:pt x="66875" y="52695"/>
                  </a:lnTo>
                  <a:lnTo>
                    <a:pt x="89534" y="9533"/>
                  </a:lnTo>
                  <a:lnTo>
                    <a:pt x="139786" y="41437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561" name="Forma livre: Forma 560">
              <a:extLst>
                <a:ext uri="{FF2B5EF4-FFF2-40B4-BE49-F238E27FC236}">
                  <a16:creationId xmlns:a16="http://schemas.microsoft.com/office/drawing/2014/main" id="{B551B5BB-4E90-D5E1-4E02-72BD22B8709F}"/>
                </a:ext>
              </a:extLst>
            </p:cNvPr>
            <p:cNvSpPr/>
            <p:nvPr/>
          </p:nvSpPr>
          <p:spPr>
            <a:xfrm>
              <a:off x="6473373" y="2303331"/>
              <a:ext cx="258636" cy="30615"/>
            </a:xfrm>
            <a:custGeom>
              <a:avLst/>
              <a:gdLst>
                <a:gd name="connsiteX0" fmla="*/ 0 w 258636"/>
                <a:gd name="connsiteY0" fmla="*/ 30616 h 30615"/>
                <a:gd name="connsiteX1" fmla="*/ 258637 w 258636"/>
                <a:gd name="connsiteY1" fmla="*/ 6712 h 306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58636" h="30615">
                  <a:moveTo>
                    <a:pt x="0" y="30616"/>
                  </a:moveTo>
                  <a:cubicBezTo>
                    <a:pt x="0" y="30616"/>
                    <a:pt x="131498" y="-17241"/>
                    <a:pt x="258637" y="6712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562" name="Forma livre: Forma 561">
              <a:extLst>
                <a:ext uri="{FF2B5EF4-FFF2-40B4-BE49-F238E27FC236}">
                  <a16:creationId xmlns:a16="http://schemas.microsoft.com/office/drawing/2014/main" id="{2A6003F0-5BEC-F925-0BD8-53C2A6913451}"/>
                </a:ext>
              </a:extLst>
            </p:cNvPr>
            <p:cNvSpPr/>
            <p:nvPr/>
          </p:nvSpPr>
          <p:spPr>
            <a:xfrm>
              <a:off x="6366882" y="2281052"/>
              <a:ext cx="171163" cy="33781"/>
            </a:xfrm>
            <a:custGeom>
              <a:avLst/>
              <a:gdLst>
                <a:gd name="connsiteX0" fmla="*/ 0 w 171163"/>
                <a:gd name="connsiteY0" fmla="*/ 1686 h 33781"/>
                <a:gd name="connsiteX1" fmla="*/ 171163 w 171163"/>
                <a:gd name="connsiteY1" fmla="*/ 33782 h 337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71163" h="33781">
                  <a:moveTo>
                    <a:pt x="0" y="1686"/>
                  </a:moveTo>
                  <a:cubicBezTo>
                    <a:pt x="0" y="1686"/>
                    <a:pt x="75114" y="-11105"/>
                    <a:pt x="171163" y="33782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563" name="Gráfico 14">
            <a:extLst>
              <a:ext uri="{FF2B5EF4-FFF2-40B4-BE49-F238E27FC236}">
                <a16:creationId xmlns:a16="http://schemas.microsoft.com/office/drawing/2014/main" id="{7BF98CC6-D63B-0FDA-6A1A-5C1C855FA617}"/>
              </a:ext>
            </a:extLst>
          </p:cNvPr>
          <p:cNvGrpSpPr/>
          <p:nvPr/>
        </p:nvGrpSpPr>
        <p:grpSpPr>
          <a:xfrm>
            <a:off x="7642581" y="2060364"/>
            <a:ext cx="312433" cy="312242"/>
            <a:chOff x="7642581" y="2060364"/>
            <a:chExt cx="312433" cy="312242"/>
          </a:xfrm>
        </p:grpSpPr>
        <p:sp>
          <p:nvSpPr>
            <p:cNvPr id="564" name="Forma livre: Forma 563">
              <a:extLst>
                <a:ext uri="{FF2B5EF4-FFF2-40B4-BE49-F238E27FC236}">
                  <a16:creationId xmlns:a16="http://schemas.microsoft.com/office/drawing/2014/main" id="{87CDA356-9E9F-5578-CBD9-9EEC97FBC9E0}"/>
                </a:ext>
              </a:extLst>
            </p:cNvPr>
            <p:cNvSpPr/>
            <p:nvPr/>
          </p:nvSpPr>
          <p:spPr>
            <a:xfrm>
              <a:off x="7739779" y="2208868"/>
              <a:ext cx="117701" cy="67449"/>
            </a:xfrm>
            <a:custGeom>
              <a:avLst/>
              <a:gdLst>
                <a:gd name="connsiteX0" fmla="*/ 117702 w 117701"/>
                <a:gd name="connsiteY0" fmla="*/ 0 h 67449"/>
                <a:gd name="connsiteX1" fmla="*/ 50252 w 117701"/>
                <a:gd name="connsiteY1" fmla="*/ 67450 h 67449"/>
                <a:gd name="connsiteX2" fmla="*/ 0 w 117701"/>
                <a:gd name="connsiteY2" fmla="*/ 17150 h 674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17701" h="67449">
                  <a:moveTo>
                    <a:pt x="117702" y="0"/>
                  </a:moveTo>
                  <a:lnTo>
                    <a:pt x="50252" y="67450"/>
                  </a:lnTo>
                  <a:lnTo>
                    <a:pt x="0" y="17150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565" name="Gráfico 14">
              <a:extLst>
                <a:ext uri="{FF2B5EF4-FFF2-40B4-BE49-F238E27FC236}">
                  <a16:creationId xmlns:a16="http://schemas.microsoft.com/office/drawing/2014/main" id="{1256FCC4-706D-8540-D0B4-9F05402675F7}"/>
                </a:ext>
              </a:extLst>
            </p:cNvPr>
            <p:cNvGrpSpPr/>
            <p:nvPr/>
          </p:nvGrpSpPr>
          <p:grpSpPr>
            <a:xfrm>
              <a:off x="7691348" y="2109083"/>
              <a:ext cx="214851" cy="214852"/>
              <a:chOff x="7691348" y="2109083"/>
              <a:chExt cx="214851" cy="214852"/>
            </a:xfrm>
            <a:solidFill>
              <a:srgbClr val="394553"/>
            </a:solidFill>
          </p:grpSpPr>
          <p:grpSp>
            <p:nvGrpSpPr>
              <p:cNvPr id="566" name="Gráfico 14">
                <a:extLst>
                  <a:ext uri="{FF2B5EF4-FFF2-40B4-BE49-F238E27FC236}">
                    <a16:creationId xmlns:a16="http://schemas.microsoft.com/office/drawing/2014/main" id="{C4318A2E-006A-1A67-3415-BC7C234DA8F7}"/>
                  </a:ext>
                </a:extLst>
              </p:cNvPr>
              <p:cNvGrpSpPr/>
              <p:nvPr/>
            </p:nvGrpSpPr>
            <p:grpSpPr>
              <a:xfrm>
                <a:off x="7691348" y="2256581"/>
                <a:ext cx="67305" cy="67353"/>
                <a:chOff x="7691348" y="2256581"/>
                <a:chExt cx="67305" cy="67353"/>
              </a:xfrm>
              <a:solidFill>
                <a:srgbClr val="394553"/>
              </a:solidFill>
            </p:grpSpPr>
            <p:grpSp>
              <p:nvGrpSpPr>
                <p:cNvPr id="567" name="Gráfico 14">
                  <a:extLst>
                    <a:ext uri="{FF2B5EF4-FFF2-40B4-BE49-F238E27FC236}">
                      <a16:creationId xmlns:a16="http://schemas.microsoft.com/office/drawing/2014/main" id="{81C8F84E-1165-5842-A395-4E68643E6F9A}"/>
                    </a:ext>
                  </a:extLst>
                </p:cNvPr>
                <p:cNvGrpSpPr/>
                <p:nvPr/>
              </p:nvGrpSpPr>
              <p:grpSpPr>
                <a:xfrm>
                  <a:off x="7705000" y="2256581"/>
                  <a:ext cx="53653" cy="53701"/>
                  <a:chOff x="7705000" y="2256581"/>
                  <a:chExt cx="53653" cy="53701"/>
                </a:xfrm>
                <a:solidFill>
                  <a:srgbClr val="394553"/>
                </a:solidFill>
              </p:grpSpPr>
              <p:sp>
                <p:nvSpPr>
                  <p:cNvPr id="568" name="Forma livre: Forma 567">
                    <a:extLst>
                      <a:ext uri="{FF2B5EF4-FFF2-40B4-BE49-F238E27FC236}">
                        <a16:creationId xmlns:a16="http://schemas.microsoft.com/office/drawing/2014/main" id="{352E887C-CB20-9DA3-6467-461CF958D120}"/>
                      </a:ext>
                    </a:extLst>
                  </p:cNvPr>
                  <p:cNvSpPr/>
                  <p:nvPr/>
                </p:nvSpPr>
                <p:spPr>
                  <a:xfrm>
                    <a:off x="7705000" y="2256581"/>
                    <a:ext cx="7473" cy="7473"/>
                  </a:xfrm>
                  <a:custGeom>
                    <a:avLst/>
                    <a:gdLst>
                      <a:gd name="connsiteX0" fmla="*/ 7473 w 7473"/>
                      <a:gd name="connsiteY0" fmla="*/ 3737 h 7473"/>
                      <a:gd name="connsiteX1" fmla="*/ 3737 w 7473"/>
                      <a:gd name="connsiteY1" fmla="*/ 7473 h 7473"/>
                      <a:gd name="connsiteX2" fmla="*/ 0 w 7473"/>
                      <a:gd name="connsiteY2" fmla="*/ 3737 h 7473"/>
                      <a:gd name="connsiteX3" fmla="*/ 3737 w 7473"/>
                      <a:gd name="connsiteY3" fmla="*/ 0 h 7473"/>
                      <a:gd name="connsiteX4" fmla="*/ 7473 w 7473"/>
                      <a:gd name="connsiteY4" fmla="*/ 3737 h 747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7473" h="7473">
                        <a:moveTo>
                          <a:pt x="7473" y="3737"/>
                        </a:moveTo>
                        <a:cubicBezTo>
                          <a:pt x="7473" y="5796"/>
                          <a:pt x="5797" y="7473"/>
                          <a:pt x="3737" y="7473"/>
                        </a:cubicBezTo>
                        <a:cubicBezTo>
                          <a:pt x="1677" y="7473"/>
                          <a:pt x="0" y="5796"/>
                          <a:pt x="0" y="3737"/>
                        </a:cubicBezTo>
                        <a:cubicBezTo>
                          <a:pt x="0" y="1677"/>
                          <a:pt x="1677" y="0"/>
                          <a:pt x="3737" y="0"/>
                        </a:cubicBezTo>
                        <a:cubicBezTo>
                          <a:pt x="5797" y="0"/>
                          <a:pt x="7473" y="1677"/>
                          <a:pt x="7473" y="3737"/>
                        </a:cubicBezTo>
                        <a:close/>
                      </a:path>
                    </a:pathLst>
                  </a:custGeom>
                  <a:solidFill>
                    <a:srgbClr val="394553"/>
                  </a:solidFill>
                  <a:ln w="6350" cap="flat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569" name="Forma livre: Forma 568">
                    <a:extLst>
                      <a:ext uri="{FF2B5EF4-FFF2-40B4-BE49-F238E27FC236}">
                        <a16:creationId xmlns:a16="http://schemas.microsoft.com/office/drawing/2014/main" id="{D6591D08-F60A-361B-D786-C28619442DEB}"/>
                      </a:ext>
                    </a:extLst>
                  </p:cNvPr>
                  <p:cNvSpPr/>
                  <p:nvPr/>
                </p:nvSpPr>
                <p:spPr>
                  <a:xfrm>
                    <a:off x="7728090" y="2279719"/>
                    <a:ext cx="7473" cy="7473"/>
                  </a:xfrm>
                  <a:custGeom>
                    <a:avLst/>
                    <a:gdLst>
                      <a:gd name="connsiteX0" fmla="*/ 7473 w 7473"/>
                      <a:gd name="connsiteY0" fmla="*/ 3737 h 7473"/>
                      <a:gd name="connsiteX1" fmla="*/ 3737 w 7473"/>
                      <a:gd name="connsiteY1" fmla="*/ 7473 h 7473"/>
                      <a:gd name="connsiteX2" fmla="*/ 0 w 7473"/>
                      <a:gd name="connsiteY2" fmla="*/ 3737 h 7473"/>
                      <a:gd name="connsiteX3" fmla="*/ 3737 w 7473"/>
                      <a:gd name="connsiteY3" fmla="*/ 0 h 7473"/>
                      <a:gd name="connsiteX4" fmla="*/ 7473 w 7473"/>
                      <a:gd name="connsiteY4" fmla="*/ 3737 h 747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7473" h="7473">
                        <a:moveTo>
                          <a:pt x="7473" y="3737"/>
                        </a:moveTo>
                        <a:cubicBezTo>
                          <a:pt x="7473" y="5796"/>
                          <a:pt x="5796" y="7473"/>
                          <a:pt x="3737" y="7473"/>
                        </a:cubicBezTo>
                        <a:cubicBezTo>
                          <a:pt x="1677" y="7473"/>
                          <a:pt x="0" y="5796"/>
                          <a:pt x="0" y="3737"/>
                        </a:cubicBezTo>
                        <a:cubicBezTo>
                          <a:pt x="0" y="1677"/>
                          <a:pt x="1677" y="0"/>
                          <a:pt x="3737" y="0"/>
                        </a:cubicBezTo>
                        <a:cubicBezTo>
                          <a:pt x="5796" y="0"/>
                          <a:pt x="7473" y="1677"/>
                          <a:pt x="7473" y="3737"/>
                        </a:cubicBezTo>
                        <a:close/>
                      </a:path>
                    </a:pathLst>
                  </a:custGeom>
                  <a:solidFill>
                    <a:srgbClr val="394553"/>
                  </a:solidFill>
                  <a:ln w="6350" cap="flat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570" name="Forma livre: Forma 569">
                    <a:extLst>
                      <a:ext uri="{FF2B5EF4-FFF2-40B4-BE49-F238E27FC236}">
                        <a16:creationId xmlns:a16="http://schemas.microsoft.com/office/drawing/2014/main" id="{116283D9-8C86-785E-1E6B-D5302B1F31EF}"/>
                      </a:ext>
                    </a:extLst>
                  </p:cNvPr>
                  <p:cNvSpPr/>
                  <p:nvPr/>
                </p:nvSpPr>
                <p:spPr>
                  <a:xfrm>
                    <a:off x="7751180" y="2302809"/>
                    <a:ext cx="7473" cy="7473"/>
                  </a:xfrm>
                  <a:custGeom>
                    <a:avLst/>
                    <a:gdLst>
                      <a:gd name="connsiteX0" fmla="*/ 7473 w 7473"/>
                      <a:gd name="connsiteY0" fmla="*/ 3737 h 7473"/>
                      <a:gd name="connsiteX1" fmla="*/ 3737 w 7473"/>
                      <a:gd name="connsiteY1" fmla="*/ 7473 h 7473"/>
                      <a:gd name="connsiteX2" fmla="*/ 0 w 7473"/>
                      <a:gd name="connsiteY2" fmla="*/ 3737 h 7473"/>
                      <a:gd name="connsiteX3" fmla="*/ 3737 w 7473"/>
                      <a:gd name="connsiteY3" fmla="*/ 0 h 7473"/>
                      <a:gd name="connsiteX4" fmla="*/ 7473 w 7473"/>
                      <a:gd name="connsiteY4" fmla="*/ 3737 h 747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7473" h="7473">
                        <a:moveTo>
                          <a:pt x="7473" y="3737"/>
                        </a:moveTo>
                        <a:cubicBezTo>
                          <a:pt x="7473" y="5796"/>
                          <a:pt x="5796" y="7473"/>
                          <a:pt x="3737" y="7473"/>
                        </a:cubicBezTo>
                        <a:cubicBezTo>
                          <a:pt x="1677" y="7473"/>
                          <a:pt x="0" y="5796"/>
                          <a:pt x="0" y="3737"/>
                        </a:cubicBezTo>
                        <a:cubicBezTo>
                          <a:pt x="0" y="1677"/>
                          <a:pt x="1677" y="0"/>
                          <a:pt x="3737" y="0"/>
                        </a:cubicBezTo>
                        <a:cubicBezTo>
                          <a:pt x="5796" y="0"/>
                          <a:pt x="7473" y="1677"/>
                          <a:pt x="7473" y="3737"/>
                        </a:cubicBezTo>
                        <a:close/>
                      </a:path>
                    </a:pathLst>
                  </a:custGeom>
                  <a:solidFill>
                    <a:srgbClr val="394553"/>
                  </a:solidFill>
                  <a:ln w="6350" cap="flat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  <p:grpSp>
              <p:nvGrpSpPr>
                <p:cNvPr id="571" name="Gráfico 14">
                  <a:extLst>
                    <a:ext uri="{FF2B5EF4-FFF2-40B4-BE49-F238E27FC236}">
                      <a16:creationId xmlns:a16="http://schemas.microsoft.com/office/drawing/2014/main" id="{DE9389DC-28B1-8504-D249-960336541931}"/>
                    </a:ext>
                  </a:extLst>
                </p:cNvPr>
                <p:cNvGrpSpPr/>
                <p:nvPr/>
              </p:nvGrpSpPr>
              <p:grpSpPr>
                <a:xfrm>
                  <a:off x="7691348" y="2293324"/>
                  <a:ext cx="30563" cy="30611"/>
                  <a:chOff x="7691348" y="2293324"/>
                  <a:chExt cx="30563" cy="30611"/>
                </a:xfrm>
                <a:solidFill>
                  <a:srgbClr val="394553"/>
                </a:solidFill>
              </p:grpSpPr>
              <p:sp>
                <p:nvSpPr>
                  <p:cNvPr id="572" name="Forma livre: Forma 571">
                    <a:extLst>
                      <a:ext uri="{FF2B5EF4-FFF2-40B4-BE49-F238E27FC236}">
                        <a16:creationId xmlns:a16="http://schemas.microsoft.com/office/drawing/2014/main" id="{D0B4A956-D2DD-8A2E-BBA3-0668E8530E37}"/>
                      </a:ext>
                    </a:extLst>
                  </p:cNvPr>
                  <p:cNvSpPr/>
                  <p:nvPr/>
                </p:nvSpPr>
                <p:spPr>
                  <a:xfrm>
                    <a:off x="7691348" y="2293324"/>
                    <a:ext cx="7473" cy="7473"/>
                  </a:xfrm>
                  <a:custGeom>
                    <a:avLst/>
                    <a:gdLst>
                      <a:gd name="connsiteX0" fmla="*/ 7473 w 7473"/>
                      <a:gd name="connsiteY0" fmla="*/ 3737 h 7473"/>
                      <a:gd name="connsiteX1" fmla="*/ 3737 w 7473"/>
                      <a:gd name="connsiteY1" fmla="*/ 7473 h 7473"/>
                      <a:gd name="connsiteX2" fmla="*/ 0 w 7473"/>
                      <a:gd name="connsiteY2" fmla="*/ 3737 h 7473"/>
                      <a:gd name="connsiteX3" fmla="*/ 3737 w 7473"/>
                      <a:gd name="connsiteY3" fmla="*/ 0 h 7473"/>
                      <a:gd name="connsiteX4" fmla="*/ 7473 w 7473"/>
                      <a:gd name="connsiteY4" fmla="*/ 3737 h 747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7473" h="7473">
                        <a:moveTo>
                          <a:pt x="7473" y="3737"/>
                        </a:moveTo>
                        <a:cubicBezTo>
                          <a:pt x="7473" y="5797"/>
                          <a:pt x="5796" y="7473"/>
                          <a:pt x="3737" y="7473"/>
                        </a:cubicBezTo>
                        <a:cubicBezTo>
                          <a:pt x="1677" y="7473"/>
                          <a:pt x="0" y="5797"/>
                          <a:pt x="0" y="3737"/>
                        </a:cubicBezTo>
                        <a:cubicBezTo>
                          <a:pt x="0" y="1677"/>
                          <a:pt x="1677" y="0"/>
                          <a:pt x="3737" y="0"/>
                        </a:cubicBezTo>
                        <a:cubicBezTo>
                          <a:pt x="5796" y="0"/>
                          <a:pt x="7473" y="1677"/>
                          <a:pt x="7473" y="3737"/>
                        </a:cubicBezTo>
                        <a:close/>
                      </a:path>
                    </a:pathLst>
                  </a:custGeom>
                  <a:solidFill>
                    <a:srgbClr val="394553"/>
                  </a:solidFill>
                  <a:ln w="6350" cap="flat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573" name="Forma livre: Forma 572">
                    <a:extLst>
                      <a:ext uri="{FF2B5EF4-FFF2-40B4-BE49-F238E27FC236}">
                        <a16:creationId xmlns:a16="http://schemas.microsoft.com/office/drawing/2014/main" id="{CE697D24-7AAB-3F6D-01A9-36E1A7A96922}"/>
                      </a:ext>
                    </a:extLst>
                  </p:cNvPr>
                  <p:cNvSpPr/>
                  <p:nvPr/>
                </p:nvSpPr>
                <p:spPr>
                  <a:xfrm>
                    <a:off x="7714438" y="2316462"/>
                    <a:ext cx="7473" cy="7473"/>
                  </a:xfrm>
                  <a:custGeom>
                    <a:avLst/>
                    <a:gdLst>
                      <a:gd name="connsiteX0" fmla="*/ 7473 w 7473"/>
                      <a:gd name="connsiteY0" fmla="*/ 3737 h 7473"/>
                      <a:gd name="connsiteX1" fmla="*/ 3737 w 7473"/>
                      <a:gd name="connsiteY1" fmla="*/ 7473 h 7473"/>
                      <a:gd name="connsiteX2" fmla="*/ 0 w 7473"/>
                      <a:gd name="connsiteY2" fmla="*/ 3737 h 7473"/>
                      <a:gd name="connsiteX3" fmla="*/ 3737 w 7473"/>
                      <a:gd name="connsiteY3" fmla="*/ 0 h 7473"/>
                      <a:gd name="connsiteX4" fmla="*/ 7473 w 7473"/>
                      <a:gd name="connsiteY4" fmla="*/ 3737 h 747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7473" h="7473">
                        <a:moveTo>
                          <a:pt x="7473" y="3737"/>
                        </a:moveTo>
                        <a:cubicBezTo>
                          <a:pt x="7473" y="5796"/>
                          <a:pt x="5797" y="7473"/>
                          <a:pt x="3737" y="7473"/>
                        </a:cubicBezTo>
                        <a:cubicBezTo>
                          <a:pt x="1677" y="7473"/>
                          <a:pt x="0" y="5796"/>
                          <a:pt x="0" y="3737"/>
                        </a:cubicBezTo>
                        <a:cubicBezTo>
                          <a:pt x="0" y="1677"/>
                          <a:pt x="1677" y="0"/>
                          <a:pt x="3737" y="0"/>
                        </a:cubicBezTo>
                        <a:cubicBezTo>
                          <a:pt x="5797" y="0"/>
                          <a:pt x="7473" y="1677"/>
                          <a:pt x="7473" y="3737"/>
                        </a:cubicBezTo>
                        <a:close/>
                      </a:path>
                    </a:pathLst>
                  </a:custGeom>
                  <a:solidFill>
                    <a:srgbClr val="394553"/>
                  </a:solidFill>
                  <a:ln w="6350" cap="flat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</p:grpSp>
          <p:grpSp>
            <p:nvGrpSpPr>
              <p:cNvPr id="574" name="Gráfico 14">
                <a:extLst>
                  <a:ext uri="{FF2B5EF4-FFF2-40B4-BE49-F238E27FC236}">
                    <a16:creationId xmlns:a16="http://schemas.microsoft.com/office/drawing/2014/main" id="{96D7C83F-DD24-3B98-59B6-70DB5F3301C2}"/>
                  </a:ext>
                </a:extLst>
              </p:cNvPr>
              <p:cNvGrpSpPr/>
              <p:nvPr/>
            </p:nvGrpSpPr>
            <p:grpSpPr>
              <a:xfrm>
                <a:off x="7838846" y="2109083"/>
                <a:ext cx="67353" cy="67353"/>
                <a:chOff x="7838846" y="2109083"/>
                <a:chExt cx="67353" cy="67353"/>
              </a:xfrm>
              <a:solidFill>
                <a:srgbClr val="394553"/>
              </a:solidFill>
            </p:grpSpPr>
            <p:grpSp>
              <p:nvGrpSpPr>
                <p:cNvPr id="575" name="Gráfico 14">
                  <a:extLst>
                    <a:ext uri="{FF2B5EF4-FFF2-40B4-BE49-F238E27FC236}">
                      <a16:creationId xmlns:a16="http://schemas.microsoft.com/office/drawing/2014/main" id="{2D86BE70-EBDC-8A38-3FCF-47E976D756B2}"/>
                    </a:ext>
                  </a:extLst>
                </p:cNvPr>
                <p:cNvGrpSpPr/>
                <p:nvPr/>
              </p:nvGrpSpPr>
              <p:grpSpPr>
                <a:xfrm>
                  <a:off x="7838846" y="2122736"/>
                  <a:ext cx="53701" cy="53701"/>
                  <a:chOff x="7838846" y="2122736"/>
                  <a:chExt cx="53701" cy="53701"/>
                </a:xfrm>
                <a:solidFill>
                  <a:srgbClr val="394553"/>
                </a:solidFill>
              </p:grpSpPr>
              <p:sp>
                <p:nvSpPr>
                  <p:cNvPr id="576" name="Forma livre: Forma 575">
                    <a:extLst>
                      <a:ext uri="{FF2B5EF4-FFF2-40B4-BE49-F238E27FC236}">
                        <a16:creationId xmlns:a16="http://schemas.microsoft.com/office/drawing/2014/main" id="{691BA2CD-1182-0A9A-E11A-0037AA98A7C6}"/>
                      </a:ext>
                    </a:extLst>
                  </p:cNvPr>
                  <p:cNvSpPr/>
                  <p:nvPr/>
                </p:nvSpPr>
                <p:spPr>
                  <a:xfrm>
                    <a:off x="7885074" y="2168964"/>
                    <a:ext cx="7473" cy="7473"/>
                  </a:xfrm>
                  <a:custGeom>
                    <a:avLst/>
                    <a:gdLst>
                      <a:gd name="connsiteX0" fmla="*/ 0 w 7473"/>
                      <a:gd name="connsiteY0" fmla="*/ 3737 h 7473"/>
                      <a:gd name="connsiteX1" fmla="*/ 3737 w 7473"/>
                      <a:gd name="connsiteY1" fmla="*/ 0 h 7473"/>
                      <a:gd name="connsiteX2" fmla="*/ 7473 w 7473"/>
                      <a:gd name="connsiteY2" fmla="*/ 3737 h 7473"/>
                      <a:gd name="connsiteX3" fmla="*/ 3737 w 7473"/>
                      <a:gd name="connsiteY3" fmla="*/ 7473 h 7473"/>
                      <a:gd name="connsiteX4" fmla="*/ 0 w 7473"/>
                      <a:gd name="connsiteY4" fmla="*/ 3737 h 747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7473" h="7473">
                        <a:moveTo>
                          <a:pt x="0" y="3737"/>
                        </a:moveTo>
                        <a:cubicBezTo>
                          <a:pt x="0" y="1677"/>
                          <a:pt x="1677" y="0"/>
                          <a:pt x="3737" y="0"/>
                        </a:cubicBezTo>
                        <a:cubicBezTo>
                          <a:pt x="5796" y="0"/>
                          <a:pt x="7473" y="1677"/>
                          <a:pt x="7473" y="3737"/>
                        </a:cubicBezTo>
                        <a:cubicBezTo>
                          <a:pt x="7473" y="5796"/>
                          <a:pt x="5796" y="7473"/>
                          <a:pt x="3737" y="7473"/>
                        </a:cubicBezTo>
                        <a:cubicBezTo>
                          <a:pt x="1677" y="7473"/>
                          <a:pt x="0" y="5796"/>
                          <a:pt x="0" y="3737"/>
                        </a:cubicBezTo>
                        <a:close/>
                      </a:path>
                    </a:pathLst>
                  </a:custGeom>
                  <a:solidFill>
                    <a:srgbClr val="394553"/>
                  </a:solidFill>
                  <a:ln w="6350" cap="flat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577" name="Forma livre: Forma 576">
                    <a:extLst>
                      <a:ext uri="{FF2B5EF4-FFF2-40B4-BE49-F238E27FC236}">
                        <a16:creationId xmlns:a16="http://schemas.microsoft.com/office/drawing/2014/main" id="{3DE1D7B2-5919-0CE4-95B4-1E65D4D7FC80}"/>
                      </a:ext>
                    </a:extLst>
                  </p:cNvPr>
                  <p:cNvSpPr/>
                  <p:nvPr/>
                </p:nvSpPr>
                <p:spPr>
                  <a:xfrm>
                    <a:off x="7861984" y="2145826"/>
                    <a:ext cx="7473" cy="7473"/>
                  </a:xfrm>
                  <a:custGeom>
                    <a:avLst/>
                    <a:gdLst>
                      <a:gd name="connsiteX0" fmla="*/ 0 w 7473"/>
                      <a:gd name="connsiteY0" fmla="*/ 3737 h 7473"/>
                      <a:gd name="connsiteX1" fmla="*/ 3737 w 7473"/>
                      <a:gd name="connsiteY1" fmla="*/ 0 h 7473"/>
                      <a:gd name="connsiteX2" fmla="*/ 7473 w 7473"/>
                      <a:gd name="connsiteY2" fmla="*/ 3737 h 7473"/>
                      <a:gd name="connsiteX3" fmla="*/ 3737 w 7473"/>
                      <a:gd name="connsiteY3" fmla="*/ 7473 h 7473"/>
                      <a:gd name="connsiteX4" fmla="*/ 0 w 7473"/>
                      <a:gd name="connsiteY4" fmla="*/ 3737 h 747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7473" h="7473">
                        <a:moveTo>
                          <a:pt x="0" y="3737"/>
                        </a:moveTo>
                        <a:cubicBezTo>
                          <a:pt x="0" y="1677"/>
                          <a:pt x="1677" y="0"/>
                          <a:pt x="3737" y="0"/>
                        </a:cubicBezTo>
                        <a:cubicBezTo>
                          <a:pt x="5796" y="0"/>
                          <a:pt x="7473" y="1677"/>
                          <a:pt x="7473" y="3737"/>
                        </a:cubicBezTo>
                        <a:cubicBezTo>
                          <a:pt x="7473" y="5796"/>
                          <a:pt x="5796" y="7473"/>
                          <a:pt x="3737" y="7473"/>
                        </a:cubicBezTo>
                        <a:cubicBezTo>
                          <a:pt x="1677" y="7473"/>
                          <a:pt x="0" y="5796"/>
                          <a:pt x="0" y="3737"/>
                        </a:cubicBezTo>
                        <a:close/>
                      </a:path>
                    </a:pathLst>
                  </a:custGeom>
                  <a:solidFill>
                    <a:srgbClr val="394553"/>
                  </a:solidFill>
                  <a:ln w="6350" cap="flat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578" name="Forma livre: Forma 577">
                    <a:extLst>
                      <a:ext uri="{FF2B5EF4-FFF2-40B4-BE49-F238E27FC236}">
                        <a16:creationId xmlns:a16="http://schemas.microsoft.com/office/drawing/2014/main" id="{93168CB9-B4C1-C451-EFA3-8F0C2CB8CF99}"/>
                      </a:ext>
                    </a:extLst>
                  </p:cNvPr>
                  <p:cNvSpPr/>
                  <p:nvPr/>
                </p:nvSpPr>
                <p:spPr>
                  <a:xfrm>
                    <a:off x="7838846" y="2122736"/>
                    <a:ext cx="7473" cy="7473"/>
                  </a:xfrm>
                  <a:custGeom>
                    <a:avLst/>
                    <a:gdLst>
                      <a:gd name="connsiteX0" fmla="*/ 0 w 7473"/>
                      <a:gd name="connsiteY0" fmla="*/ 3737 h 7473"/>
                      <a:gd name="connsiteX1" fmla="*/ 3737 w 7473"/>
                      <a:gd name="connsiteY1" fmla="*/ 0 h 7473"/>
                      <a:gd name="connsiteX2" fmla="*/ 7473 w 7473"/>
                      <a:gd name="connsiteY2" fmla="*/ 3737 h 7473"/>
                      <a:gd name="connsiteX3" fmla="*/ 3737 w 7473"/>
                      <a:gd name="connsiteY3" fmla="*/ 7473 h 7473"/>
                      <a:gd name="connsiteX4" fmla="*/ 0 w 7473"/>
                      <a:gd name="connsiteY4" fmla="*/ 3737 h 747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7473" h="7473">
                        <a:moveTo>
                          <a:pt x="0" y="3737"/>
                        </a:moveTo>
                        <a:cubicBezTo>
                          <a:pt x="0" y="1677"/>
                          <a:pt x="1677" y="0"/>
                          <a:pt x="3737" y="0"/>
                        </a:cubicBezTo>
                        <a:cubicBezTo>
                          <a:pt x="5797" y="0"/>
                          <a:pt x="7473" y="1677"/>
                          <a:pt x="7473" y="3737"/>
                        </a:cubicBezTo>
                        <a:cubicBezTo>
                          <a:pt x="7473" y="5796"/>
                          <a:pt x="5797" y="7473"/>
                          <a:pt x="3737" y="7473"/>
                        </a:cubicBezTo>
                        <a:cubicBezTo>
                          <a:pt x="1677" y="7473"/>
                          <a:pt x="0" y="5796"/>
                          <a:pt x="0" y="3737"/>
                        </a:cubicBezTo>
                        <a:close/>
                      </a:path>
                    </a:pathLst>
                  </a:custGeom>
                  <a:solidFill>
                    <a:srgbClr val="394553"/>
                  </a:solidFill>
                  <a:ln w="6350" cap="flat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  <p:grpSp>
              <p:nvGrpSpPr>
                <p:cNvPr id="579" name="Gráfico 14">
                  <a:extLst>
                    <a:ext uri="{FF2B5EF4-FFF2-40B4-BE49-F238E27FC236}">
                      <a16:creationId xmlns:a16="http://schemas.microsoft.com/office/drawing/2014/main" id="{D2260AB9-4D47-1774-253F-F901198D1706}"/>
                    </a:ext>
                  </a:extLst>
                </p:cNvPr>
                <p:cNvGrpSpPr/>
                <p:nvPr/>
              </p:nvGrpSpPr>
              <p:grpSpPr>
                <a:xfrm>
                  <a:off x="7875637" y="2109083"/>
                  <a:ext cx="30563" cy="30563"/>
                  <a:chOff x="7875637" y="2109083"/>
                  <a:chExt cx="30563" cy="30563"/>
                </a:xfrm>
                <a:solidFill>
                  <a:srgbClr val="394553"/>
                </a:solidFill>
              </p:grpSpPr>
              <p:sp>
                <p:nvSpPr>
                  <p:cNvPr id="580" name="Forma livre: Forma 579">
                    <a:extLst>
                      <a:ext uri="{FF2B5EF4-FFF2-40B4-BE49-F238E27FC236}">
                        <a16:creationId xmlns:a16="http://schemas.microsoft.com/office/drawing/2014/main" id="{983D166D-C6D9-5CCD-422E-9A7BCF76F7CA}"/>
                      </a:ext>
                    </a:extLst>
                  </p:cNvPr>
                  <p:cNvSpPr/>
                  <p:nvPr/>
                </p:nvSpPr>
                <p:spPr>
                  <a:xfrm>
                    <a:off x="7898726" y="2132173"/>
                    <a:ext cx="7473" cy="7473"/>
                  </a:xfrm>
                  <a:custGeom>
                    <a:avLst/>
                    <a:gdLst>
                      <a:gd name="connsiteX0" fmla="*/ 0 w 7473"/>
                      <a:gd name="connsiteY0" fmla="*/ 3737 h 7473"/>
                      <a:gd name="connsiteX1" fmla="*/ 3737 w 7473"/>
                      <a:gd name="connsiteY1" fmla="*/ 0 h 7473"/>
                      <a:gd name="connsiteX2" fmla="*/ 7473 w 7473"/>
                      <a:gd name="connsiteY2" fmla="*/ 3737 h 7473"/>
                      <a:gd name="connsiteX3" fmla="*/ 3737 w 7473"/>
                      <a:gd name="connsiteY3" fmla="*/ 7473 h 7473"/>
                      <a:gd name="connsiteX4" fmla="*/ 0 w 7473"/>
                      <a:gd name="connsiteY4" fmla="*/ 3737 h 747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7473" h="7473">
                        <a:moveTo>
                          <a:pt x="0" y="3737"/>
                        </a:moveTo>
                        <a:cubicBezTo>
                          <a:pt x="0" y="1677"/>
                          <a:pt x="1677" y="0"/>
                          <a:pt x="3737" y="0"/>
                        </a:cubicBezTo>
                        <a:cubicBezTo>
                          <a:pt x="5797" y="0"/>
                          <a:pt x="7473" y="1677"/>
                          <a:pt x="7473" y="3737"/>
                        </a:cubicBezTo>
                        <a:cubicBezTo>
                          <a:pt x="7473" y="5796"/>
                          <a:pt x="5797" y="7473"/>
                          <a:pt x="3737" y="7473"/>
                        </a:cubicBezTo>
                        <a:cubicBezTo>
                          <a:pt x="1677" y="7473"/>
                          <a:pt x="0" y="5796"/>
                          <a:pt x="0" y="3737"/>
                        </a:cubicBezTo>
                        <a:close/>
                      </a:path>
                    </a:pathLst>
                  </a:custGeom>
                  <a:solidFill>
                    <a:srgbClr val="394553"/>
                  </a:solidFill>
                  <a:ln w="6350" cap="flat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581" name="Forma livre: Forma 580">
                    <a:extLst>
                      <a:ext uri="{FF2B5EF4-FFF2-40B4-BE49-F238E27FC236}">
                        <a16:creationId xmlns:a16="http://schemas.microsoft.com/office/drawing/2014/main" id="{D66589C4-13B9-EE12-A521-0E59934E8F6A}"/>
                      </a:ext>
                    </a:extLst>
                  </p:cNvPr>
                  <p:cNvSpPr/>
                  <p:nvPr/>
                </p:nvSpPr>
                <p:spPr>
                  <a:xfrm>
                    <a:off x="7875637" y="2109083"/>
                    <a:ext cx="7473" cy="7473"/>
                  </a:xfrm>
                  <a:custGeom>
                    <a:avLst/>
                    <a:gdLst>
                      <a:gd name="connsiteX0" fmla="*/ 0 w 7473"/>
                      <a:gd name="connsiteY0" fmla="*/ 3737 h 7473"/>
                      <a:gd name="connsiteX1" fmla="*/ 3737 w 7473"/>
                      <a:gd name="connsiteY1" fmla="*/ 0 h 7473"/>
                      <a:gd name="connsiteX2" fmla="*/ 7473 w 7473"/>
                      <a:gd name="connsiteY2" fmla="*/ 3737 h 7473"/>
                      <a:gd name="connsiteX3" fmla="*/ 3737 w 7473"/>
                      <a:gd name="connsiteY3" fmla="*/ 7473 h 7473"/>
                      <a:gd name="connsiteX4" fmla="*/ 0 w 7473"/>
                      <a:gd name="connsiteY4" fmla="*/ 3737 h 747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7473" h="7473">
                        <a:moveTo>
                          <a:pt x="0" y="3737"/>
                        </a:moveTo>
                        <a:cubicBezTo>
                          <a:pt x="0" y="1677"/>
                          <a:pt x="1677" y="0"/>
                          <a:pt x="3737" y="0"/>
                        </a:cubicBezTo>
                        <a:cubicBezTo>
                          <a:pt x="5796" y="0"/>
                          <a:pt x="7473" y="1677"/>
                          <a:pt x="7473" y="3737"/>
                        </a:cubicBezTo>
                        <a:cubicBezTo>
                          <a:pt x="7473" y="5796"/>
                          <a:pt x="5796" y="7473"/>
                          <a:pt x="3737" y="7473"/>
                        </a:cubicBezTo>
                        <a:cubicBezTo>
                          <a:pt x="1677" y="7473"/>
                          <a:pt x="0" y="5796"/>
                          <a:pt x="0" y="3737"/>
                        </a:cubicBezTo>
                        <a:close/>
                      </a:path>
                    </a:pathLst>
                  </a:custGeom>
                  <a:solidFill>
                    <a:srgbClr val="394553"/>
                  </a:solidFill>
                  <a:ln w="6350" cap="flat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</p:grpSp>
        </p:grpSp>
        <p:sp>
          <p:nvSpPr>
            <p:cNvPr id="582" name="Forma livre: Forma 581">
              <a:extLst>
                <a:ext uri="{FF2B5EF4-FFF2-40B4-BE49-F238E27FC236}">
                  <a16:creationId xmlns:a16="http://schemas.microsoft.com/office/drawing/2014/main" id="{28CDC767-40CA-47C5-5C00-D7500AE13998}"/>
                </a:ext>
              </a:extLst>
            </p:cNvPr>
            <p:cNvSpPr/>
            <p:nvPr/>
          </p:nvSpPr>
          <p:spPr>
            <a:xfrm>
              <a:off x="7642581" y="2060364"/>
              <a:ext cx="312433" cy="312242"/>
            </a:xfrm>
            <a:custGeom>
              <a:avLst/>
              <a:gdLst>
                <a:gd name="connsiteX0" fmla="*/ 100791 w 312433"/>
                <a:gd name="connsiteY0" fmla="*/ 312242 h 312242"/>
                <a:gd name="connsiteX1" fmla="*/ 34875 w 312433"/>
                <a:gd name="connsiteY1" fmla="*/ 277320 h 312242"/>
                <a:gd name="connsiteX2" fmla="*/ 0 w 312433"/>
                <a:gd name="connsiteY2" fmla="*/ 211643 h 312242"/>
                <a:gd name="connsiteX3" fmla="*/ 211643 w 312433"/>
                <a:gd name="connsiteY3" fmla="*/ 0 h 312242"/>
                <a:gd name="connsiteX4" fmla="*/ 277559 w 312433"/>
                <a:gd name="connsiteY4" fmla="*/ 34922 h 312242"/>
                <a:gd name="connsiteX5" fmla="*/ 312434 w 312433"/>
                <a:gd name="connsiteY5" fmla="*/ 100600 h 312242"/>
                <a:gd name="connsiteX6" fmla="*/ 100791 w 312433"/>
                <a:gd name="connsiteY6" fmla="*/ 312242 h 3122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12433" h="312242">
                  <a:moveTo>
                    <a:pt x="100791" y="312242"/>
                  </a:moveTo>
                  <a:cubicBezTo>
                    <a:pt x="76552" y="307595"/>
                    <a:pt x="53509" y="295955"/>
                    <a:pt x="34875" y="277320"/>
                  </a:cubicBezTo>
                  <a:cubicBezTo>
                    <a:pt x="16288" y="258733"/>
                    <a:pt x="4695" y="235786"/>
                    <a:pt x="0" y="211643"/>
                  </a:cubicBezTo>
                  <a:lnTo>
                    <a:pt x="211643" y="0"/>
                  </a:lnTo>
                  <a:cubicBezTo>
                    <a:pt x="235882" y="4647"/>
                    <a:pt x="258924" y="16288"/>
                    <a:pt x="277559" y="34922"/>
                  </a:cubicBezTo>
                  <a:cubicBezTo>
                    <a:pt x="296146" y="53509"/>
                    <a:pt x="307739" y="76456"/>
                    <a:pt x="312434" y="100600"/>
                  </a:cubicBezTo>
                  <a:lnTo>
                    <a:pt x="100791" y="312242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583" name="Gráfico 14">
            <a:extLst>
              <a:ext uri="{FF2B5EF4-FFF2-40B4-BE49-F238E27FC236}">
                <a16:creationId xmlns:a16="http://schemas.microsoft.com/office/drawing/2014/main" id="{088733B4-FF2D-DAA4-B27F-14916A884784}"/>
              </a:ext>
            </a:extLst>
          </p:cNvPr>
          <p:cNvGrpSpPr/>
          <p:nvPr/>
        </p:nvGrpSpPr>
        <p:grpSpPr>
          <a:xfrm>
            <a:off x="7014976" y="2085131"/>
            <a:ext cx="322116" cy="262795"/>
            <a:chOff x="7014976" y="2085131"/>
            <a:chExt cx="322116" cy="262795"/>
          </a:xfrm>
          <a:noFill/>
        </p:grpSpPr>
        <p:sp>
          <p:nvSpPr>
            <p:cNvPr id="584" name="Forma livre: Forma 583">
              <a:extLst>
                <a:ext uri="{FF2B5EF4-FFF2-40B4-BE49-F238E27FC236}">
                  <a16:creationId xmlns:a16="http://schemas.microsoft.com/office/drawing/2014/main" id="{43E443D6-945A-67BE-57C3-79AA7ECFE1C4}"/>
                </a:ext>
              </a:extLst>
            </p:cNvPr>
            <p:cNvSpPr/>
            <p:nvPr/>
          </p:nvSpPr>
          <p:spPr>
            <a:xfrm>
              <a:off x="7069929" y="2085131"/>
              <a:ext cx="88011" cy="172169"/>
            </a:xfrm>
            <a:custGeom>
              <a:avLst/>
              <a:gdLst>
                <a:gd name="connsiteX0" fmla="*/ 87665 w 88011"/>
                <a:gd name="connsiteY0" fmla="*/ 172169 h 172169"/>
                <a:gd name="connsiteX1" fmla="*/ 55521 w 88011"/>
                <a:gd name="connsiteY1" fmla="*/ 91833 h 172169"/>
                <a:gd name="connsiteX2" fmla="*/ 33006 w 88011"/>
                <a:gd name="connsiteY2" fmla="*/ 0 h 172169"/>
                <a:gd name="connsiteX3" fmla="*/ 0 w 88011"/>
                <a:gd name="connsiteY3" fmla="*/ 66013 h 1721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8011" h="172169">
                  <a:moveTo>
                    <a:pt x="87665" y="172169"/>
                  </a:moveTo>
                  <a:cubicBezTo>
                    <a:pt x="88911" y="159810"/>
                    <a:pt x="88528" y="126564"/>
                    <a:pt x="55521" y="91833"/>
                  </a:cubicBezTo>
                  <a:cubicBezTo>
                    <a:pt x="55521" y="91833"/>
                    <a:pt x="22324" y="63090"/>
                    <a:pt x="33006" y="0"/>
                  </a:cubicBezTo>
                  <a:cubicBezTo>
                    <a:pt x="33006" y="0"/>
                    <a:pt x="8575" y="24671"/>
                    <a:pt x="0" y="66013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585" name="Forma livre: Forma 584">
              <a:extLst>
                <a:ext uri="{FF2B5EF4-FFF2-40B4-BE49-F238E27FC236}">
                  <a16:creationId xmlns:a16="http://schemas.microsoft.com/office/drawing/2014/main" id="{ACBBE74C-32E9-5D90-EB06-383DCBF49A57}"/>
                </a:ext>
              </a:extLst>
            </p:cNvPr>
            <p:cNvSpPr/>
            <p:nvPr/>
          </p:nvSpPr>
          <p:spPr>
            <a:xfrm>
              <a:off x="7014976" y="2153539"/>
              <a:ext cx="67126" cy="177007"/>
            </a:xfrm>
            <a:custGeom>
              <a:avLst/>
              <a:gdLst>
                <a:gd name="connsiteX0" fmla="*/ 67025 w 67126"/>
                <a:gd name="connsiteY0" fmla="*/ 97198 h 177007"/>
                <a:gd name="connsiteX1" fmla="*/ 28797 w 67126"/>
                <a:gd name="connsiteY1" fmla="*/ 0 h 177007"/>
                <a:gd name="connsiteX2" fmla="*/ 15623 w 67126"/>
                <a:gd name="connsiteY2" fmla="*/ 64288 h 177007"/>
                <a:gd name="connsiteX3" fmla="*/ 6090 w 67126"/>
                <a:gd name="connsiteY3" fmla="*/ 138396 h 177007"/>
                <a:gd name="connsiteX4" fmla="*/ 45755 w 67126"/>
                <a:gd name="connsiteY4" fmla="*/ 177008 h 1770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7126" h="177007">
                  <a:moveTo>
                    <a:pt x="67025" y="97198"/>
                  </a:moveTo>
                  <a:cubicBezTo>
                    <a:pt x="69420" y="39857"/>
                    <a:pt x="28797" y="0"/>
                    <a:pt x="28797" y="0"/>
                  </a:cubicBezTo>
                  <a:cubicBezTo>
                    <a:pt x="28797" y="0"/>
                    <a:pt x="39576" y="29366"/>
                    <a:pt x="15623" y="64288"/>
                  </a:cubicBezTo>
                  <a:cubicBezTo>
                    <a:pt x="15623" y="64288"/>
                    <a:pt x="-11874" y="99258"/>
                    <a:pt x="6090" y="138396"/>
                  </a:cubicBezTo>
                  <a:cubicBezTo>
                    <a:pt x="6090" y="138396"/>
                    <a:pt x="17396" y="165750"/>
                    <a:pt x="45755" y="177008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586" name="Forma livre: Forma 585">
              <a:extLst>
                <a:ext uri="{FF2B5EF4-FFF2-40B4-BE49-F238E27FC236}">
                  <a16:creationId xmlns:a16="http://schemas.microsoft.com/office/drawing/2014/main" id="{D3BAC5E3-355E-20E4-C336-138C5183CE0E}"/>
                </a:ext>
              </a:extLst>
            </p:cNvPr>
            <p:cNvSpPr/>
            <p:nvPr/>
          </p:nvSpPr>
          <p:spPr>
            <a:xfrm>
              <a:off x="7138145" y="2192150"/>
              <a:ext cx="198947" cy="122252"/>
            </a:xfrm>
            <a:custGeom>
              <a:avLst/>
              <a:gdLst>
                <a:gd name="connsiteX0" fmla="*/ 0 w 198947"/>
                <a:gd name="connsiteY0" fmla="*/ 98156 h 122252"/>
                <a:gd name="connsiteX1" fmla="*/ 186157 w 198947"/>
                <a:gd name="connsiteY1" fmla="*/ 0 h 122252"/>
                <a:gd name="connsiteX2" fmla="*/ 198948 w 198947"/>
                <a:gd name="connsiteY2" fmla="*/ 24288 h 122252"/>
                <a:gd name="connsiteX3" fmla="*/ 13222 w 198947"/>
                <a:gd name="connsiteY3" fmla="*/ 122252 h 1222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8947" h="122252">
                  <a:moveTo>
                    <a:pt x="0" y="98156"/>
                  </a:moveTo>
                  <a:lnTo>
                    <a:pt x="186157" y="0"/>
                  </a:lnTo>
                  <a:lnTo>
                    <a:pt x="198948" y="24288"/>
                  </a:lnTo>
                  <a:lnTo>
                    <a:pt x="13222" y="122252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587" name="Forma livre: Forma 586">
              <a:extLst>
                <a:ext uri="{FF2B5EF4-FFF2-40B4-BE49-F238E27FC236}">
                  <a16:creationId xmlns:a16="http://schemas.microsoft.com/office/drawing/2014/main" id="{4B1D2477-9540-736F-9899-CC2E47557B2C}"/>
                </a:ext>
              </a:extLst>
            </p:cNvPr>
            <p:cNvSpPr/>
            <p:nvPr/>
          </p:nvSpPr>
          <p:spPr>
            <a:xfrm>
              <a:off x="7080548" y="2287199"/>
              <a:ext cx="70672" cy="60727"/>
            </a:xfrm>
            <a:custGeom>
              <a:avLst/>
              <a:gdLst>
                <a:gd name="connsiteX0" fmla="*/ 68137 w 70672"/>
                <a:gd name="connsiteY0" fmla="*/ 13072 h 60727"/>
                <a:gd name="connsiteX1" fmla="*/ 48496 w 70672"/>
                <a:gd name="connsiteY1" fmla="*/ 55323 h 60727"/>
                <a:gd name="connsiteX2" fmla="*/ 2555 w 70672"/>
                <a:gd name="connsiteY2" fmla="*/ 47659 h 60727"/>
                <a:gd name="connsiteX3" fmla="*/ 22196 w 70672"/>
                <a:gd name="connsiteY3" fmla="*/ 5407 h 60727"/>
                <a:gd name="connsiteX4" fmla="*/ 68137 w 70672"/>
                <a:gd name="connsiteY4" fmla="*/ 13024 h 607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0672" h="60727">
                  <a:moveTo>
                    <a:pt x="68137" y="13072"/>
                  </a:moveTo>
                  <a:cubicBezTo>
                    <a:pt x="75370" y="26868"/>
                    <a:pt x="66604" y="45743"/>
                    <a:pt x="48496" y="55323"/>
                  </a:cubicBezTo>
                  <a:cubicBezTo>
                    <a:pt x="30388" y="64856"/>
                    <a:pt x="9789" y="61455"/>
                    <a:pt x="2555" y="47659"/>
                  </a:cubicBezTo>
                  <a:cubicBezTo>
                    <a:pt x="-4726" y="33862"/>
                    <a:pt x="4088" y="14988"/>
                    <a:pt x="22196" y="5407"/>
                  </a:cubicBezTo>
                  <a:cubicBezTo>
                    <a:pt x="40304" y="-4126"/>
                    <a:pt x="60903" y="-725"/>
                    <a:pt x="68137" y="13024"/>
                  </a:cubicBez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588" name="Gráfico 14">
            <a:extLst>
              <a:ext uri="{FF2B5EF4-FFF2-40B4-BE49-F238E27FC236}">
                <a16:creationId xmlns:a16="http://schemas.microsoft.com/office/drawing/2014/main" id="{45B71C71-DCEF-5DD7-3373-BA214210F210}"/>
              </a:ext>
            </a:extLst>
          </p:cNvPr>
          <p:cNvGrpSpPr/>
          <p:nvPr/>
        </p:nvGrpSpPr>
        <p:grpSpPr>
          <a:xfrm>
            <a:off x="6414403" y="2573518"/>
            <a:ext cx="277798" cy="335140"/>
            <a:chOff x="6414403" y="2573518"/>
            <a:chExt cx="277798" cy="335140"/>
          </a:xfrm>
          <a:noFill/>
        </p:grpSpPr>
        <p:sp>
          <p:nvSpPr>
            <p:cNvPr id="589" name="Forma livre: Forma 588">
              <a:extLst>
                <a:ext uri="{FF2B5EF4-FFF2-40B4-BE49-F238E27FC236}">
                  <a16:creationId xmlns:a16="http://schemas.microsoft.com/office/drawing/2014/main" id="{7C6373B5-0237-4A8C-53FF-AAC3F845FF03}"/>
                </a:ext>
              </a:extLst>
            </p:cNvPr>
            <p:cNvSpPr/>
            <p:nvPr/>
          </p:nvSpPr>
          <p:spPr>
            <a:xfrm>
              <a:off x="6448703" y="2573518"/>
              <a:ext cx="129342" cy="334948"/>
            </a:xfrm>
            <a:custGeom>
              <a:avLst/>
              <a:gdLst>
                <a:gd name="connsiteX0" fmla="*/ 107642 w 129342"/>
                <a:gd name="connsiteY0" fmla="*/ 334949 h 334948"/>
                <a:gd name="connsiteX1" fmla="*/ 0 w 129342"/>
                <a:gd name="connsiteY1" fmla="*/ 334949 h 334948"/>
                <a:gd name="connsiteX2" fmla="*/ 0 w 129342"/>
                <a:gd name="connsiteY2" fmla="*/ 47905 h 334948"/>
                <a:gd name="connsiteX3" fmla="*/ 47905 w 129342"/>
                <a:gd name="connsiteY3" fmla="*/ 0 h 334948"/>
                <a:gd name="connsiteX4" fmla="*/ 81438 w 129342"/>
                <a:gd name="connsiteY4" fmla="*/ 0 h 334948"/>
                <a:gd name="connsiteX5" fmla="*/ 129342 w 129342"/>
                <a:gd name="connsiteY5" fmla="*/ 47905 h 334948"/>
                <a:gd name="connsiteX6" fmla="*/ 129342 w 129342"/>
                <a:gd name="connsiteY6" fmla="*/ 215427 h 3349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29342" h="334948">
                  <a:moveTo>
                    <a:pt x="107642" y="334949"/>
                  </a:moveTo>
                  <a:lnTo>
                    <a:pt x="0" y="334949"/>
                  </a:lnTo>
                  <a:lnTo>
                    <a:pt x="0" y="47905"/>
                  </a:lnTo>
                  <a:cubicBezTo>
                    <a:pt x="0" y="21557"/>
                    <a:pt x="21557" y="0"/>
                    <a:pt x="47905" y="0"/>
                  </a:cubicBezTo>
                  <a:lnTo>
                    <a:pt x="81438" y="0"/>
                  </a:lnTo>
                  <a:cubicBezTo>
                    <a:pt x="107785" y="0"/>
                    <a:pt x="129342" y="21557"/>
                    <a:pt x="129342" y="47905"/>
                  </a:cubicBezTo>
                  <a:lnTo>
                    <a:pt x="129342" y="215427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590" name="Forma livre: Forma 589">
              <a:extLst>
                <a:ext uri="{FF2B5EF4-FFF2-40B4-BE49-F238E27FC236}">
                  <a16:creationId xmlns:a16="http://schemas.microsoft.com/office/drawing/2014/main" id="{E9F2FA46-DFFF-4A1B-7B0D-30CD51B2D801}"/>
                </a:ext>
              </a:extLst>
            </p:cNvPr>
            <p:cNvSpPr/>
            <p:nvPr/>
          </p:nvSpPr>
          <p:spPr>
            <a:xfrm>
              <a:off x="6449373" y="2822622"/>
              <a:ext cx="91354" cy="4790"/>
            </a:xfrm>
            <a:custGeom>
              <a:avLst/>
              <a:gdLst>
                <a:gd name="connsiteX0" fmla="*/ 0 w 91354"/>
                <a:gd name="connsiteY0" fmla="*/ 0 h 4790"/>
                <a:gd name="connsiteX1" fmla="*/ 91354 w 91354"/>
                <a:gd name="connsiteY1" fmla="*/ 0 h 47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1354" h="4790">
                  <a:moveTo>
                    <a:pt x="0" y="0"/>
                  </a:moveTo>
                  <a:lnTo>
                    <a:pt x="91354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591" name="Forma livre: Forma 590">
              <a:extLst>
                <a:ext uri="{FF2B5EF4-FFF2-40B4-BE49-F238E27FC236}">
                  <a16:creationId xmlns:a16="http://schemas.microsoft.com/office/drawing/2014/main" id="{DA65CBA2-E3E3-19BA-BD28-656F7EE77832}"/>
                </a:ext>
              </a:extLst>
            </p:cNvPr>
            <p:cNvSpPr/>
            <p:nvPr/>
          </p:nvSpPr>
          <p:spPr>
            <a:xfrm>
              <a:off x="6448990" y="2850407"/>
              <a:ext cx="91737" cy="4790"/>
            </a:xfrm>
            <a:custGeom>
              <a:avLst/>
              <a:gdLst>
                <a:gd name="connsiteX0" fmla="*/ 0 w 91737"/>
                <a:gd name="connsiteY0" fmla="*/ 0 h 4790"/>
                <a:gd name="connsiteX1" fmla="*/ 91737 w 91737"/>
                <a:gd name="connsiteY1" fmla="*/ 0 h 47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1737" h="4790">
                  <a:moveTo>
                    <a:pt x="0" y="0"/>
                  </a:moveTo>
                  <a:lnTo>
                    <a:pt x="91737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592" name="Forma livre: Forma 591">
              <a:extLst>
                <a:ext uri="{FF2B5EF4-FFF2-40B4-BE49-F238E27FC236}">
                  <a16:creationId xmlns:a16="http://schemas.microsoft.com/office/drawing/2014/main" id="{F38E8086-813C-2EB1-020B-E2CB6E83B821}"/>
                </a:ext>
              </a:extLst>
            </p:cNvPr>
            <p:cNvSpPr/>
            <p:nvPr/>
          </p:nvSpPr>
          <p:spPr>
            <a:xfrm>
              <a:off x="6450475" y="2650980"/>
              <a:ext cx="125797" cy="4790"/>
            </a:xfrm>
            <a:custGeom>
              <a:avLst/>
              <a:gdLst>
                <a:gd name="connsiteX0" fmla="*/ 0 w 125797"/>
                <a:gd name="connsiteY0" fmla="*/ 0 h 4790"/>
                <a:gd name="connsiteX1" fmla="*/ 125797 w 125797"/>
                <a:gd name="connsiteY1" fmla="*/ 0 h 47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797" h="4790">
                  <a:moveTo>
                    <a:pt x="0" y="0"/>
                  </a:moveTo>
                  <a:lnTo>
                    <a:pt x="125797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593" name="Forma livre: Forma 592">
              <a:extLst>
                <a:ext uri="{FF2B5EF4-FFF2-40B4-BE49-F238E27FC236}">
                  <a16:creationId xmlns:a16="http://schemas.microsoft.com/office/drawing/2014/main" id="{E4800286-6AB3-E312-BB23-836494DF4683}"/>
                </a:ext>
              </a:extLst>
            </p:cNvPr>
            <p:cNvSpPr/>
            <p:nvPr/>
          </p:nvSpPr>
          <p:spPr>
            <a:xfrm>
              <a:off x="6414403" y="2704298"/>
              <a:ext cx="4790" cy="129725"/>
            </a:xfrm>
            <a:custGeom>
              <a:avLst/>
              <a:gdLst>
                <a:gd name="connsiteX0" fmla="*/ 0 w 4790"/>
                <a:gd name="connsiteY0" fmla="*/ 0 h 129725"/>
                <a:gd name="connsiteX1" fmla="*/ 0 w 4790"/>
                <a:gd name="connsiteY1" fmla="*/ 129726 h 1297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790" h="129725">
                  <a:moveTo>
                    <a:pt x="0" y="0"/>
                  </a:moveTo>
                  <a:lnTo>
                    <a:pt x="0" y="129726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594" name="Forma livre: Forma 593">
              <a:extLst>
                <a:ext uri="{FF2B5EF4-FFF2-40B4-BE49-F238E27FC236}">
                  <a16:creationId xmlns:a16="http://schemas.microsoft.com/office/drawing/2014/main" id="{80E81B99-6D83-3F6F-0221-3BA8E3449977}"/>
                </a:ext>
              </a:extLst>
            </p:cNvPr>
            <p:cNvSpPr/>
            <p:nvPr/>
          </p:nvSpPr>
          <p:spPr>
            <a:xfrm>
              <a:off x="6562859" y="2811269"/>
              <a:ext cx="129342" cy="97390"/>
            </a:xfrm>
            <a:custGeom>
              <a:avLst/>
              <a:gdLst>
                <a:gd name="connsiteX0" fmla="*/ 47905 w 129342"/>
                <a:gd name="connsiteY0" fmla="*/ 97390 h 97390"/>
                <a:gd name="connsiteX1" fmla="*/ 81438 w 129342"/>
                <a:gd name="connsiteY1" fmla="*/ 97390 h 97390"/>
                <a:gd name="connsiteX2" fmla="*/ 129342 w 129342"/>
                <a:gd name="connsiteY2" fmla="*/ 49486 h 97390"/>
                <a:gd name="connsiteX3" fmla="*/ 129342 w 129342"/>
                <a:gd name="connsiteY3" fmla="*/ 0 h 97390"/>
                <a:gd name="connsiteX4" fmla="*/ 0 w 129342"/>
                <a:gd name="connsiteY4" fmla="*/ 0 h 97390"/>
                <a:gd name="connsiteX5" fmla="*/ 0 w 129342"/>
                <a:gd name="connsiteY5" fmla="*/ 49486 h 97390"/>
                <a:gd name="connsiteX6" fmla="*/ 47905 w 129342"/>
                <a:gd name="connsiteY6" fmla="*/ 97390 h 973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29342" h="97390">
                  <a:moveTo>
                    <a:pt x="47905" y="97390"/>
                  </a:moveTo>
                  <a:lnTo>
                    <a:pt x="81438" y="97390"/>
                  </a:lnTo>
                  <a:cubicBezTo>
                    <a:pt x="107785" y="97390"/>
                    <a:pt x="129342" y="75833"/>
                    <a:pt x="129342" y="49486"/>
                  </a:cubicBezTo>
                  <a:lnTo>
                    <a:pt x="129342" y="0"/>
                  </a:lnTo>
                  <a:lnTo>
                    <a:pt x="0" y="0"/>
                  </a:lnTo>
                  <a:lnTo>
                    <a:pt x="0" y="49486"/>
                  </a:lnTo>
                  <a:cubicBezTo>
                    <a:pt x="0" y="75833"/>
                    <a:pt x="21557" y="97390"/>
                    <a:pt x="47905" y="97390"/>
                  </a:cubicBez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595" name="Forma livre: Forma 594">
              <a:extLst>
                <a:ext uri="{FF2B5EF4-FFF2-40B4-BE49-F238E27FC236}">
                  <a16:creationId xmlns:a16="http://schemas.microsoft.com/office/drawing/2014/main" id="{35AA481E-5268-D55F-43A2-85D260A0EDE8}"/>
                </a:ext>
              </a:extLst>
            </p:cNvPr>
            <p:cNvSpPr/>
            <p:nvPr/>
          </p:nvSpPr>
          <p:spPr>
            <a:xfrm>
              <a:off x="6449373" y="2690501"/>
              <a:ext cx="128001" cy="4790"/>
            </a:xfrm>
            <a:custGeom>
              <a:avLst/>
              <a:gdLst>
                <a:gd name="connsiteX0" fmla="*/ 0 w 128001"/>
                <a:gd name="connsiteY0" fmla="*/ 0 h 4790"/>
                <a:gd name="connsiteX1" fmla="*/ 128001 w 128001"/>
                <a:gd name="connsiteY1" fmla="*/ 0 h 47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001" h="4790">
                  <a:moveTo>
                    <a:pt x="0" y="0"/>
                  </a:moveTo>
                  <a:lnTo>
                    <a:pt x="128001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596" name="Forma livre: Forma 595">
              <a:extLst>
                <a:ext uri="{FF2B5EF4-FFF2-40B4-BE49-F238E27FC236}">
                  <a16:creationId xmlns:a16="http://schemas.microsoft.com/office/drawing/2014/main" id="{D8C7759D-CEA9-CB95-736B-7C99254D5C58}"/>
                </a:ext>
              </a:extLst>
            </p:cNvPr>
            <p:cNvSpPr/>
            <p:nvPr/>
          </p:nvSpPr>
          <p:spPr>
            <a:xfrm>
              <a:off x="6449373" y="2718286"/>
              <a:ext cx="128001" cy="4790"/>
            </a:xfrm>
            <a:custGeom>
              <a:avLst/>
              <a:gdLst>
                <a:gd name="connsiteX0" fmla="*/ 0 w 128001"/>
                <a:gd name="connsiteY0" fmla="*/ 0 h 4790"/>
                <a:gd name="connsiteX1" fmla="*/ 128001 w 128001"/>
                <a:gd name="connsiteY1" fmla="*/ 0 h 47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001" h="4790">
                  <a:moveTo>
                    <a:pt x="0" y="0"/>
                  </a:moveTo>
                  <a:lnTo>
                    <a:pt x="128001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597" name="Gráfico 14">
              <a:extLst>
                <a:ext uri="{FF2B5EF4-FFF2-40B4-BE49-F238E27FC236}">
                  <a16:creationId xmlns:a16="http://schemas.microsoft.com/office/drawing/2014/main" id="{5E7245A4-5BF9-C4B2-1DF8-FB0D3BB78336}"/>
                </a:ext>
              </a:extLst>
            </p:cNvPr>
            <p:cNvGrpSpPr/>
            <p:nvPr/>
          </p:nvGrpSpPr>
          <p:grpSpPr>
            <a:xfrm>
              <a:off x="6414978" y="2700753"/>
              <a:ext cx="33149" cy="136863"/>
              <a:chOff x="6414978" y="2700753"/>
              <a:chExt cx="33149" cy="136863"/>
            </a:xfrm>
          </p:grpSpPr>
          <p:sp>
            <p:nvSpPr>
              <p:cNvPr id="598" name="Forma livre: Forma 597">
                <a:extLst>
                  <a:ext uri="{FF2B5EF4-FFF2-40B4-BE49-F238E27FC236}">
                    <a16:creationId xmlns:a16="http://schemas.microsoft.com/office/drawing/2014/main" id="{C2416336-D6C0-C7D8-78FE-6B3BE4D564FC}"/>
                  </a:ext>
                </a:extLst>
              </p:cNvPr>
              <p:cNvSpPr/>
              <p:nvPr/>
            </p:nvSpPr>
            <p:spPr>
              <a:xfrm>
                <a:off x="6414978" y="2700753"/>
                <a:ext cx="33149" cy="18299"/>
              </a:xfrm>
              <a:custGeom>
                <a:avLst/>
                <a:gdLst>
                  <a:gd name="connsiteX0" fmla="*/ 0 w 33149"/>
                  <a:gd name="connsiteY0" fmla="*/ 18299 h 18299"/>
                  <a:gd name="connsiteX1" fmla="*/ 33150 w 33149"/>
                  <a:gd name="connsiteY1" fmla="*/ 0 h 182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3149" h="18299">
                    <a:moveTo>
                      <a:pt x="0" y="18299"/>
                    </a:moveTo>
                    <a:lnTo>
                      <a:pt x="3315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99" name="Forma livre: Forma 598">
                <a:extLst>
                  <a:ext uri="{FF2B5EF4-FFF2-40B4-BE49-F238E27FC236}">
                    <a16:creationId xmlns:a16="http://schemas.microsoft.com/office/drawing/2014/main" id="{95CBDB2E-BCCA-D965-6E9D-75E29916C24A}"/>
                  </a:ext>
                </a:extLst>
              </p:cNvPr>
              <p:cNvSpPr/>
              <p:nvPr/>
            </p:nvSpPr>
            <p:spPr>
              <a:xfrm>
                <a:off x="6414978" y="2819317"/>
                <a:ext cx="33149" cy="18299"/>
              </a:xfrm>
              <a:custGeom>
                <a:avLst/>
                <a:gdLst>
                  <a:gd name="connsiteX0" fmla="*/ 33150 w 33149"/>
                  <a:gd name="connsiteY0" fmla="*/ 18299 h 18299"/>
                  <a:gd name="connsiteX1" fmla="*/ 0 w 33149"/>
                  <a:gd name="connsiteY1" fmla="*/ 0 h 182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3149" h="18299">
                    <a:moveTo>
                      <a:pt x="33150" y="18299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600" name="Gráfico 14">
              <a:extLst>
                <a:ext uri="{FF2B5EF4-FFF2-40B4-BE49-F238E27FC236}">
                  <a16:creationId xmlns:a16="http://schemas.microsoft.com/office/drawing/2014/main" id="{E5F5EC8D-E542-C917-F468-DB0ADADB65DD}"/>
                </a:ext>
              </a:extLst>
            </p:cNvPr>
            <p:cNvGrpSpPr/>
            <p:nvPr/>
          </p:nvGrpSpPr>
          <p:grpSpPr>
            <a:xfrm>
              <a:off x="6608909" y="2725711"/>
              <a:ext cx="51515" cy="55186"/>
              <a:chOff x="6608909" y="2725711"/>
              <a:chExt cx="51515" cy="55186"/>
            </a:xfrm>
            <a:noFill/>
          </p:grpSpPr>
          <p:sp>
            <p:nvSpPr>
              <p:cNvPr id="601" name="Forma livre: Forma 600">
                <a:extLst>
                  <a:ext uri="{FF2B5EF4-FFF2-40B4-BE49-F238E27FC236}">
                    <a16:creationId xmlns:a16="http://schemas.microsoft.com/office/drawing/2014/main" id="{9672836D-34D3-C919-C71A-6B2E18B19AD6}"/>
                  </a:ext>
                </a:extLst>
              </p:cNvPr>
              <p:cNvSpPr/>
              <p:nvPr/>
            </p:nvSpPr>
            <p:spPr>
              <a:xfrm>
                <a:off x="6608909" y="2725711"/>
                <a:ext cx="11994" cy="55186"/>
              </a:xfrm>
              <a:custGeom>
                <a:avLst/>
                <a:gdLst>
                  <a:gd name="connsiteX0" fmla="*/ 3580 w 11994"/>
                  <a:gd name="connsiteY0" fmla="*/ 55186 h 55186"/>
                  <a:gd name="connsiteX1" fmla="*/ 5879 w 11994"/>
                  <a:gd name="connsiteY1" fmla="*/ 27353 h 55186"/>
                  <a:gd name="connsiteX2" fmla="*/ 5879 w 11994"/>
                  <a:gd name="connsiteY2" fmla="*/ 27353 h 55186"/>
                  <a:gd name="connsiteX3" fmla="*/ 8466 w 11994"/>
                  <a:gd name="connsiteY3" fmla="*/ 0 h 551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994" h="55186">
                    <a:moveTo>
                      <a:pt x="3580" y="55186"/>
                    </a:moveTo>
                    <a:cubicBezTo>
                      <a:pt x="14023" y="46899"/>
                      <a:pt x="14694" y="35976"/>
                      <a:pt x="5879" y="27353"/>
                    </a:cubicBezTo>
                    <a:lnTo>
                      <a:pt x="5879" y="27353"/>
                    </a:lnTo>
                    <a:cubicBezTo>
                      <a:pt x="-2744" y="18779"/>
                      <a:pt x="-1881" y="8192"/>
                      <a:pt x="8466" y="0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602" name="Forma livre: Forma 601">
                <a:extLst>
                  <a:ext uri="{FF2B5EF4-FFF2-40B4-BE49-F238E27FC236}">
                    <a16:creationId xmlns:a16="http://schemas.microsoft.com/office/drawing/2014/main" id="{60CFBB03-BAB1-4131-EB2A-1187B971F283}"/>
                  </a:ext>
                </a:extLst>
              </p:cNvPr>
              <p:cNvSpPr/>
              <p:nvPr/>
            </p:nvSpPr>
            <p:spPr>
              <a:xfrm>
                <a:off x="6648430" y="2725711"/>
                <a:ext cx="11994" cy="55186"/>
              </a:xfrm>
              <a:custGeom>
                <a:avLst/>
                <a:gdLst>
                  <a:gd name="connsiteX0" fmla="*/ 3580 w 11994"/>
                  <a:gd name="connsiteY0" fmla="*/ 55186 h 55186"/>
                  <a:gd name="connsiteX1" fmla="*/ 5879 w 11994"/>
                  <a:gd name="connsiteY1" fmla="*/ 27353 h 55186"/>
                  <a:gd name="connsiteX2" fmla="*/ 5879 w 11994"/>
                  <a:gd name="connsiteY2" fmla="*/ 27353 h 55186"/>
                  <a:gd name="connsiteX3" fmla="*/ 8466 w 11994"/>
                  <a:gd name="connsiteY3" fmla="*/ 0 h 551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994" h="55186">
                    <a:moveTo>
                      <a:pt x="3580" y="55186"/>
                    </a:moveTo>
                    <a:cubicBezTo>
                      <a:pt x="14023" y="46899"/>
                      <a:pt x="14694" y="35976"/>
                      <a:pt x="5879" y="27353"/>
                    </a:cubicBezTo>
                    <a:lnTo>
                      <a:pt x="5879" y="27353"/>
                    </a:lnTo>
                    <a:cubicBezTo>
                      <a:pt x="-2744" y="18779"/>
                      <a:pt x="-1881" y="8192"/>
                      <a:pt x="8466" y="0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603" name="Gráfico 14">
            <a:extLst>
              <a:ext uri="{FF2B5EF4-FFF2-40B4-BE49-F238E27FC236}">
                <a16:creationId xmlns:a16="http://schemas.microsoft.com/office/drawing/2014/main" id="{35D44CBF-435E-B267-1483-FCCBEB6BB4DF}"/>
              </a:ext>
            </a:extLst>
          </p:cNvPr>
          <p:cNvGrpSpPr/>
          <p:nvPr/>
        </p:nvGrpSpPr>
        <p:grpSpPr>
          <a:xfrm>
            <a:off x="7648665" y="2583080"/>
            <a:ext cx="300217" cy="315949"/>
            <a:chOff x="7648665" y="2583080"/>
            <a:chExt cx="300217" cy="315949"/>
          </a:xfrm>
        </p:grpSpPr>
        <p:sp>
          <p:nvSpPr>
            <p:cNvPr id="604" name="Forma livre: Forma 603">
              <a:extLst>
                <a:ext uri="{FF2B5EF4-FFF2-40B4-BE49-F238E27FC236}">
                  <a16:creationId xmlns:a16="http://schemas.microsoft.com/office/drawing/2014/main" id="{4DF1714A-8ED0-EF4D-DD35-49932EF16A63}"/>
                </a:ext>
              </a:extLst>
            </p:cNvPr>
            <p:cNvSpPr/>
            <p:nvPr/>
          </p:nvSpPr>
          <p:spPr>
            <a:xfrm>
              <a:off x="7648665" y="2610959"/>
              <a:ext cx="69078" cy="93818"/>
            </a:xfrm>
            <a:custGeom>
              <a:avLst/>
              <a:gdLst>
                <a:gd name="connsiteX0" fmla="*/ 16623 w 69078"/>
                <a:gd name="connsiteY0" fmla="*/ 81363 h 93818"/>
                <a:gd name="connsiteX1" fmla="*/ 0 w 69078"/>
                <a:gd name="connsiteY1" fmla="*/ 2752 h 93818"/>
                <a:gd name="connsiteX2" fmla="*/ 54899 w 69078"/>
                <a:gd name="connsiteY2" fmla="*/ 23686 h 93818"/>
                <a:gd name="connsiteX3" fmla="*/ 31473 w 69078"/>
                <a:gd name="connsiteY3" fmla="*/ 27710 h 93818"/>
                <a:gd name="connsiteX4" fmla="*/ 40048 w 69078"/>
                <a:gd name="connsiteY4" fmla="*/ 67231 h 93818"/>
                <a:gd name="connsiteX5" fmla="*/ 60360 w 69078"/>
                <a:gd name="connsiteY5" fmla="*/ 53291 h 93818"/>
                <a:gd name="connsiteX6" fmla="*/ 69078 w 69078"/>
                <a:gd name="connsiteY6" fmla="*/ 93818 h 93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9078" h="93818">
                  <a:moveTo>
                    <a:pt x="16623" y="81363"/>
                  </a:moveTo>
                  <a:lnTo>
                    <a:pt x="0" y="2752"/>
                  </a:lnTo>
                  <a:cubicBezTo>
                    <a:pt x="0" y="2752"/>
                    <a:pt x="46467" y="-11189"/>
                    <a:pt x="54899" y="23686"/>
                  </a:cubicBezTo>
                  <a:lnTo>
                    <a:pt x="31473" y="27710"/>
                  </a:lnTo>
                  <a:lnTo>
                    <a:pt x="40048" y="67231"/>
                  </a:lnTo>
                  <a:cubicBezTo>
                    <a:pt x="40048" y="67231"/>
                    <a:pt x="52695" y="64069"/>
                    <a:pt x="60360" y="53291"/>
                  </a:cubicBezTo>
                  <a:lnTo>
                    <a:pt x="69078" y="93818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05" name="Forma livre: Forma 604">
              <a:extLst>
                <a:ext uri="{FF2B5EF4-FFF2-40B4-BE49-F238E27FC236}">
                  <a16:creationId xmlns:a16="http://schemas.microsoft.com/office/drawing/2014/main" id="{5DC8CF0E-4EE7-272F-4F63-3FCB7B9420AD}"/>
                </a:ext>
              </a:extLst>
            </p:cNvPr>
            <p:cNvSpPr/>
            <p:nvPr/>
          </p:nvSpPr>
          <p:spPr>
            <a:xfrm>
              <a:off x="7742079" y="2583080"/>
              <a:ext cx="183330" cy="124954"/>
            </a:xfrm>
            <a:custGeom>
              <a:avLst/>
              <a:gdLst>
                <a:gd name="connsiteX0" fmla="*/ 75402 w 183330"/>
                <a:gd name="connsiteY0" fmla="*/ 99804 h 124954"/>
                <a:gd name="connsiteX1" fmla="*/ 17533 w 183330"/>
                <a:gd name="connsiteY1" fmla="*/ 43660 h 124954"/>
                <a:gd name="connsiteX2" fmla="*/ 0 w 183330"/>
                <a:gd name="connsiteY2" fmla="*/ 2318 h 124954"/>
                <a:gd name="connsiteX3" fmla="*/ 75737 w 183330"/>
                <a:gd name="connsiteY3" fmla="*/ 19564 h 124954"/>
                <a:gd name="connsiteX4" fmla="*/ 183331 w 183330"/>
                <a:gd name="connsiteY4" fmla="*/ 124954 h 1249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3330" h="124954">
                  <a:moveTo>
                    <a:pt x="75402" y="99804"/>
                  </a:moveTo>
                  <a:cubicBezTo>
                    <a:pt x="49773" y="74942"/>
                    <a:pt x="24862" y="50750"/>
                    <a:pt x="17533" y="43660"/>
                  </a:cubicBezTo>
                  <a:cubicBezTo>
                    <a:pt x="862" y="27468"/>
                    <a:pt x="0" y="2318"/>
                    <a:pt x="0" y="2318"/>
                  </a:cubicBezTo>
                  <a:cubicBezTo>
                    <a:pt x="0" y="2318"/>
                    <a:pt x="45940" y="-9322"/>
                    <a:pt x="75737" y="19564"/>
                  </a:cubicBezTo>
                  <a:cubicBezTo>
                    <a:pt x="91546" y="34941"/>
                    <a:pt x="183331" y="124954"/>
                    <a:pt x="183331" y="124954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06" name="Forma livre: Forma 605">
              <a:extLst>
                <a:ext uri="{FF2B5EF4-FFF2-40B4-BE49-F238E27FC236}">
                  <a16:creationId xmlns:a16="http://schemas.microsoft.com/office/drawing/2014/main" id="{C9246DA2-B1CF-E062-1190-BFCC8645146D}"/>
                </a:ext>
              </a:extLst>
            </p:cNvPr>
            <p:cNvSpPr/>
            <p:nvPr/>
          </p:nvSpPr>
          <p:spPr>
            <a:xfrm>
              <a:off x="7810390" y="2630764"/>
              <a:ext cx="27497" cy="26682"/>
            </a:xfrm>
            <a:custGeom>
              <a:avLst/>
              <a:gdLst>
                <a:gd name="connsiteX0" fmla="*/ 27497 w 27497"/>
                <a:gd name="connsiteY0" fmla="*/ 26683 h 26682"/>
                <a:gd name="connsiteX1" fmla="*/ 0 w 27497"/>
                <a:gd name="connsiteY1" fmla="*/ 0 h 266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7497" h="26682">
                  <a:moveTo>
                    <a:pt x="27497" y="26683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07" name="Forma livre: Forma 606">
              <a:extLst>
                <a:ext uri="{FF2B5EF4-FFF2-40B4-BE49-F238E27FC236}">
                  <a16:creationId xmlns:a16="http://schemas.microsoft.com/office/drawing/2014/main" id="{B88A6623-1760-76D7-E083-7C67E61494D4}"/>
                </a:ext>
              </a:extLst>
            </p:cNvPr>
            <p:cNvSpPr/>
            <p:nvPr/>
          </p:nvSpPr>
          <p:spPr>
            <a:xfrm>
              <a:off x="7844690" y="2779029"/>
              <a:ext cx="60311" cy="35161"/>
            </a:xfrm>
            <a:custGeom>
              <a:avLst/>
              <a:gdLst>
                <a:gd name="connsiteX0" fmla="*/ 10012 w 60311"/>
                <a:gd name="connsiteY0" fmla="*/ 0 h 35161"/>
                <a:gd name="connsiteX1" fmla="*/ 0 w 60311"/>
                <a:gd name="connsiteY1" fmla="*/ 9964 h 35161"/>
                <a:gd name="connsiteX2" fmla="*/ 25198 w 60311"/>
                <a:gd name="connsiteY2" fmla="*/ 35162 h 35161"/>
                <a:gd name="connsiteX3" fmla="*/ 60312 w 60311"/>
                <a:gd name="connsiteY3" fmla="*/ 48 h 351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0311" h="35161">
                  <a:moveTo>
                    <a:pt x="10012" y="0"/>
                  </a:moveTo>
                  <a:lnTo>
                    <a:pt x="0" y="9964"/>
                  </a:lnTo>
                  <a:lnTo>
                    <a:pt x="25198" y="35162"/>
                  </a:lnTo>
                  <a:lnTo>
                    <a:pt x="60312" y="48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08" name="Forma livre: Forma 607">
              <a:extLst>
                <a:ext uri="{FF2B5EF4-FFF2-40B4-BE49-F238E27FC236}">
                  <a16:creationId xmlns:a16="http://schemas.microsoft.com/office/drawing/2014/main" id="{AA5EBBFF-7FD4-9671-AB5D-EA7CC3AEDCCE}"/>
                </a:ext>
              </a:extLst>
            </p:cNvPr>
            <p:cNvSpPr/>
            <p:nvPr/>
          </p:nvSpPr>
          <p:spPr>
            <a:xfrm>
              <a:off x="7657719" y="2705926"/>
              <a:ext cx="291164" cy="72815"/>
            </a:xfrm>
            <a:custGeom>
              <a:avLst/>
              <a:gdLst>
                <a:gd name="connsiteX0" fmla="*/ 291164 w 291164"/>
                <a:gd name="connsiteY0" fmla="*/ 36408 h 72815"/>
                <a:gd name="connsiteX1" fmla="*/ 253990 w 291164"/>
                <a:gd name="connsiteY1" fmla="*/ 72815 h 72815"/>
                <a:gd name="connsiteX2" fmla="*/ 37174 w 291164"/>
                <a:gd name="connsiteY2" fmla="*/ 72815 h 72815"/>
                <a:gd name="connsiteX3" fmla="*/ 0 w 291164"/>
                <a:gd name="connsiteY3" fmla="*/ 36408 h 72815"/>
                <a:gd name="connsiteX4" fmla="*/ 37174 w 291164"/>
                <a:gd name="connsiteY4" fmla="*/ 0 h 72815"/>
                <a:gd name="connsiteX5" fmla="*/ 253990 w 291164"/>
                <a:gd name="connsiteY5" fmla="*/ 0 h 72815"/>
                <a:gd name="connsiteX6" fmla="*/ 291164 w 291164"/>
                <a:gd name="connsiteY6" fmla="*/ 36408 h 728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91164" h="72815">
                  <a:moveTo>
                    <a:pt x="291164" y="36408"/>
                  </a:moveTo>
                  <a:cubicBezTo>
                    <a:pt x="291164" y="56432"/>
                    <a:pt x="274445" y="72815"/>
                    <a:pt x="253990" y="72815"/>
                  </a:cubicBezTo>
                  <a:lnTo>
                    <a:pt x="37174" y="72815"/>
                  </a:lnTo>
                  <a:cubicBezTo>
                    <a:pt x="16719" y="72815"/>
                    <a:pt x="0" y="56432"/>
                    <a:pt x="0" y="36408"/>
                  </a:cubicBezTo>
                  <a:cubicBezTo>
                    <a:pt x="0" y="16383"/>
                    <a:pt x="16719" y="0"/>
                    <a:pt x="37174" y="0"/>
                  </a:cubicBezTo>
                  <a:lnTo>
                    <a:pt x="253990" y="0"/>
                  </a:lnTo>
                  <a:cubicBezTo>
                    <a:pt x="274445" y="0"/>
                    <a:pt x="291164" y="16383"/>
                    <a:pt x="291164" y="36408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609" name="Gráfico 14">
              <a:extLst>
                <a:ext uri="{FF2B5EF4-FFF2-40B4-BE49-F238E27FC236}">
                  <a16:creationId xmlns:a16="http://schemas.microsoft.com/office/drawing/2014/main" id="{A6A9F673-1E0B-B949-653C-977BA77832B5}"/>
                </a:ext>
              </a:extLst>
            </p:cNvPr>
            <p:cNvGrpSpPr/>
            <p:nvPr/>
          </p:nvGrpSpPr>
          <p:grpSpPr>
            <a:xfrm>
              <a:off x="7697054" y="2738603"/>
              <a:ext cx="212426" cy="7461"/>
              <a:chOff x="7697054" y="2738603"/>
              <a:chExt cx="212426" cy="7461"/>
            </a:xfrm>
            <a:solidFill>
              <a:srgbClr val="394553"/>
            </a:solidFill>
          </p:grpSpPr>
          <p:sp>
            <p:nvSpPr>
              <p:cNvPr id="610" name="Forma livre: Forma 609">
                <a:extLst>
                  <a:ext uri="{FF2B5EF4-FFF2-40B4-BE49-F238E27FC236}">
                    <a16:creationId xmlns:a16="http://schemas.microsoft.com/office/drawing/2014/main" id="{50B7021E-C85E-576F-8C4E-92622E96D38E}"/>
                  </a:ext>
                </a:extLst>
              </p:cNvPr>
              <p:cNvSpPr/>
              <p:nvPr/>
            </p:nvSpPr>
            <p:spPr>
              <a:xfrm>
                <a:off x="7902038" y="2738603"/>
                <a:ext cx="7443" cy="7461"/>
              </a:xfrm>
              <a:custGeom>
                <a:avLst/>
                <a:gdLst>
                  <a:gd name="connsiteX0" fmla="*/ 6365 w 7443"/>
                  <a:gd name="connsiteY0" fmla="*/ 6365 h 7461"/>
                  <a:gd name="connsiteX1" fmla="*/ 1096 w 7443"/>
                  <a:gd name="connsiteY1" fmla="*/ 6365 h 7461"/>
                  <a:gd name="connsiteX2" fmla="*/ 1096 w 7443"/>
                  <a:gd name="connsiteY2" fmla="*/ 1096 h 7461"/>
                  <a:gd name="connsiteX3" fmla="*/ 6365 w 7443"/>
                  <a:gd name="connsiteY3" fmla="*/ 1096 h 7461"/>
                  <a:gd name="connsiteX4" fmla="*/ 6365 w 7443"/>
                  <a:gd name="connsiteY4" fmla="*/ 6365 h 74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443" h="7461">
                    <a:moveTo>
                      <a:pt x="6365" y="6365"/>
                    </a:moveTo>
                    <a:cubicBezTo>
                      <a:pt x="4928" y="7803"/>
                      <a:pt x="2581" y="7850"/>
                      <a:pt x="1096" y="6365"/>
                    </a:cubicBezTo>
                    <a:cubicBezTo>
                      <a:pt x="-341" y="4928"/>
                      <a:pt x="-389" y="2533"/>
                      <a:pt x="1096" y="1096"/>
                    </a:cubicBezTo>
                    <a:cubicBezTo>
                      <a:pt x="2581" y="-389"/>
                      <a:pt x="4928" y="-341"/>
                      <a:pt x="6365" y="1096"/>
                    </a:cubicBezTo>
                    <a:cubicBezTo>
                      <a:pt x="7802" y="2581"/>
                      <a:pt x="7802" y="4928"/>
                      <a:pt x="6365" y="6365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611" name="Forma livre: Forma 610">
                <a:extLst>
                  <a:ext uri="{FF2B5EF4-FFF2-40B4-BE49-F238E27FC236}">
                    <a16:creationId xmlns:a16="http://schemas.microsoft.com/office/drawing/2014/main" id="{8BA88079-1E35-F987-7764-849D075EB2E2}"/>
                  </a:ext>
                </a:extLst>
              </p:cNvPr>
              <p:cNvSpPr/>
              <p:nvPr/>
            </p:nvSpPr>
            <p:spPr>
              <a:xfrm>
                <a:off x="7697054" y="2738603"/>
                <a:ext cx="7443" cy="7461"/>
              </a:xfrm>
              <a:custGeom>
                <a:avLst/>
                <a:gdLst>
                  <a:gd name="connsiteX0" fmla="*/ 6365 w 7443"/>
                  <a:gd name="connsiteY0" fmla="*/ 6365 h 7461"/>
                  <a:gd name="connsiteX1" fmla="*/ 1096 w 7443"/>
                  <a:gd name="connsiteY1" fmla="*/ 6365 h 7461"/>
                  <a:gd name="connsiteX2" fmla="*/ 1096 w 7443"/>
                  <a:gd name="connsiteY2" fmla="*/ 1096 h 7461"/>
                  <a:gd name="connsiteX3" fmla="*/ 6365 w 7443"/>
                  <a:gd name="connsiteY3" fmla="*/ 1096 h 7461"/>
                  <a:gd name="connsiteX4" fmla="*/ 6365 w 7443"/>
                  <a:gd name="connsiteY4" fmla="*/ 6365 h 74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443" h="7461">
                    <a:moveTo>
                      <a:pt x="6365" y="6365"/>
                    </a:moveTo>
                    <a:cubicBezTo>
                      <a:pt x="4928" y="7803"/>
                      <a:pt x="2581" y="7850"/>
                      <a:pt x="1096" y="6365"/>
                    </a:cubicBezTo>
                    <a:cubicBezTo>
                      <a:pt x="-341" y="4928"/>
                      <a:pt x="-389" y="2533"/>
                      <a:pt x="1096" y="1096"/>
                    </a:cubicBezTo>
                    <a:cubicBezTo>
                      <a:pt x="2533" y="-389"/>
                      <a:pt x="4928" y="-341"/>
                      <a:pt x="6365" y="1096"/>
                    </a:cubicBezTo>
                    <a:cubicBezTo>
                      <a:pt x="7802" y="2581"/>
                      <a:pt x="7802" y="4928"/>
                      <a:pt x="6365" y="6365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612" name="Forma livre: Forma 611">
              <a:extLst>
                <a:ext uri="{FF2B5EF4-FFF2-40B4-BE49-F238E27FC236}">
                  <a16:creationId xmlns:a16="http://schemas.microsoft.com/office/drawing/2014/main" id="{89804E96-1279-FA94-BABF-26D67FAE0FB9}"/>
                </a:ext>
              </a:extLst>
            </p:cNvPr>
            <p:cNvSpPr/>
            <p:nvPr/>
          </p:nvSpPr>
          <p:spPr>
            <a:xfrm>
              <a:off x="7754246" y="2800346"/>
              <a:ext cx="101414" cy="98683"/>
            </a:xfrm>
            <a:custGeom>
              <a:avLst/>
              <a:gdLst>
                <a:gd name="connsiteX0" fmla="*/ 0 w 101414"/>
                <a:gd name="connsiteY0" fmla="*/ 98684 h 98683"/>
                <a:gd name="connsiteX1" fmla="*/ 15090 w 101414"/>
                <a:gd name="connsiteY1" fmla="*/ 83594 h 98683"/>
                <a:gd name="connsiteX2" fmla="*/ 40671 w 101414"/>
                <a:gd name="connsiteY2" fmla="*/ 88528 h 98683"/>
                <a:gd name="connsiteX3" fmla="*/ 40767 w 101414"/>
                <a:gd name="connsiteY3" fmla="*/ 88480 h 98683"/>
                <a:gd name="connsiteX4" fmla="*/ 29845 w 101414"/>
                <a:gd name="connsiteY4" fmla="*/ 52839 h 98683"/>
                <a:gd name="connsiteX5" fmla="*/ 29940 w 101414"/>
                <a:gd name="connsiteY5" fmla="*/ 52839 h 98683"/>
                <a:gd name="connsiteX6" fmla="*/ 64767 w 101414"/>
                <a:gd name="connsiteY6" fmla="*/ 64480 h 98683"/>
                <a:gd name="connsiteX7" fmla="*/ 64767 w 101414"/>
                <a:gd name="connsiteY7" fmla="*/ 64480 h 98683"/>
                <a:gd name="connsiteX8" fmla="*/ 52887 w 101414"/>
                <a:gd name="connsiteY8" fmla="*/ 29797 h 98683"/>
                <a:gd name="connsiteX9" fmla="*/ 53030 w 101414"/>
                <a:gd name="connsiteY9" fmla="*/ 29797 h 98683"/>
                <a:gd name="connsiteX10" fmla="*/ 88767 w 101414"/>
                <a:gd name="connsiteY10" fmla="*/ 40479 h 98683"/>
                <a:gd name="connsiteX11" fmla="*/ 83594 w 101414"/>
                <a:gd name="connsiteY11" fmla="*/ 17821 h 98683"/>
                <a:gd name="connsiteX12" fmla="*/ 101414 w 101414"/>
                <a:gd name="connsiteY12" fmla="*/ 0 h 986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01414" h="98683">
                  <a:moveTo>
                    <a:pt x="0" y="98684"/>
                  </a:moveTo>
                  <a:lnTo>
                    <a:pt x="15090" y="83594"/>
                  </a:lnTo>
                  <a:lnTo>
                    <a:pt x="40671" y="88528"/>
                  </a:lnTo>
                  <a:lnTo>
                    <a:pt x="40767" y="88480"/>
                  </a:lnTo>
                  <a:lnTo>
                    <a:pt x="29845" y="52839"/>
                  </a:lnTo>
                  <a:lnTo>
                    <a:pt x="29940" y="52839"/>
                  </a:lnTo>
                  <a:lnTo>
                    <a:pt x="64767" y="64480"/>
                  </a:lnTo>
                  <a:lnTo>
                    <a:pt x="64767" y="64480"/>
                  </a:lnTo>
                  <a:lnTo>
                    <a:pt x="52887" y="29797"/>
                  </a:lnTo>
                  <a:lnTo>
                    <a:pt x="53030" y="29797"/>
                  </a:lnTo>
                  <a:lnTo>
                    <a:pt x="88767" y="40479"/>
                  </a:lnTo>
                  <a:lnTo>
                    <a:pt x="83594" y="17821"/>
                  </a:lnTo>
                  <a:lnTo>
                    <a:pt x="101414" y="0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613" name="Gráfico 14">
            <a:extLst>
              <a:ext uri="{FF2B5EF4-FFF2-40B4-BE49-F238E27FC236}">
                <a16:creationId xmlns:a16="http://schemas.microsoft.com/office/drawing/2014/main" id="{280C43FE-0C89-BD51-2A30-4CF0F4D7A3EC}"/>
              </a:ext>
            </a:extLst>
          </p:cNvPr>
          <p:cNvGrpSpPr/>
          <p:nvPr/>
        </p:nvGrpSpPr>
        <p:grpSpPr>
          <a:xfrm>
            <a:off x="7038073" y="2615147"/>
            <a:ext cx="275978" cy="251834"/>
            <a:chOff x="7038073" y="2615147"/>
            <a:chExt cx="275978" cy="251834"/>
          </a:xfrm>
        </p:grpSpPr>
        <p:sp>
          <p:nvSpPr>
            <p:cNvPr id="614" name="Forma livre: Forma 613">
              <a:extLst>
                <a:ext uri="{FF2B5EF4-FFF2-40B4-BE49-F238E27FC236}">
                  <a16:creationId xmlns:a16="http://schemas.microsoft.com/office/drawing/2014/main" id="{BE89EEBD-726B-4803-4B33-0032F48A0F8F}"/>
                </a:ext>
              </a:extLst>
            </p:cNvPr>
            <p:cNvSpPr/>
            <p:nvPr/>
          </p:nvSpPr>
          <p:spPr>
            <a:xfrm>
              <a:off x="7131630" y="2615147"/>
              <a:ext cx="182420" cy="213798"/>
            </a:xfrm>
            <a:custGeom>
              <a:avLst/>
              <a:gdLst>
                <a:gd name="connsiteX0" fmla="*/ 111570 w 182420"/>
                <a:gd name="connsiteY0" fmla="*/ 213798 h 213798"/>
                <a:gd name="connsiteX1" fmla="*/ 182421 w 182420"/>
                <a:gd name="connsiteY1" fmla="*/ 213798 h 213798"/>
                <a:gd name="connsiteX2" fmla="*/ 182421 w 182420"/>
                <a:gd name="connsiteY2" fmla="*/ 0 h 213798"/>
                <a:gd name="connsiteX3" fmla="*/ 0 w 182420"/>
                <a:gd name="connsiteY3" fmla="*/ 0 h 2137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2420" h="213798">
                  <a:moveTo>
                    <a:pt x="111570" y="213798"/>
                  </a:moveTo>
                  <a:lnTo>
                    <a:pt x="182421" y="213798"/>
                  </a:lnTo>
                  <a:lnTo>
                    <a:pt x="182421" y="0"/>
                  </a:lnTo>
                  <a:lnTo>
                    <a:pt x="0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15" name="Forma livre: Forma 614">
              <a:extLst>
                <a:ext uri="{FF2B5EF4-FFF2-40B4-BE49-F238E27FC236}">
                  <a16:creationId xmlns:a16="http://schemas.microsoft.com/office/drawing/2014/main" id="{56411E27-391A-5E90-0088-D2B81C196C24}"/>
                </a:ext>
              </a:extLst>
            </p:cNvPr>
            <p:cNvSpPr/>
            <p:nvPr/>
          </p:nvSpPr>
          <p:spPr>
            <a:xfrm>
              <a:off x="7038073" y="2615195"/>
              <a:ext cx="181941" cy="76072"/>
            </a:xfrm>
            <a:custGeom>
              <a:avLst/>
              <a:gdLst>
                <a:gd name="connsiteX0" fmla="*/ 181942 w 181941"/>
                <a:gd name="connsiteY0" fmla="*/ 38036 h 76072"/>
                <a:gd name="connsiteX1" fmla="*/ 90971 w 181941"/>
                <a:gd name="connsiteY1" fmla="*/ 0 h 76072"/>
                <a:gd name="connsiteX2" fmla="*/ 0 w 181941"/>
                <a:gd name="connsiteY2" fmla="*/ 38036 h 76072"/>
                <a:gd name="connsiteX3" fmla="*/ 90971 w 181941"/>
                <a:gd name="connsiteY3" fmla="*/ 76073 h 76072"/>
                <a:gd name="connsiteX4" fmla="*/ 181942 w 181941"/>
                <a:gd name="connsiteY4" fmla="*/ 38036 h 760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1941" h="76072">
                  <a:moveTo>
                    <a:pt x="181942" y="38036"/>
                  </a:moveTo>
                  <a:cubicBezTo>
                    <a:pt x="181942" y="17006"/>
                    <a:pt x="141223" y="0"/>
                    <a:pt x="90971" y="0"/>
                  </a:cubicBezTo>
                  <a:cubicBezTo>
                    <a:pt x="40719" y="0"/>
                    <a:pt x="0" y="17054"/>
                    <a:pt x="0" y="38036"/>
                  </a:cubicBezTo>
                  <a:cubicBezTo>
                    <a:pt x="0" y="59019"/>
                    <a:pt x="40719" y="76073"/>
                    <a:pt x="90971" y="76073"/>
                  </a:cubicBezTo>
                  <a:cubicBezTo>
                    <a:pt x="141223" y="76073"/>
                    <a:pt x="181942" y="59066"/>
                    <a:pt x="181942" y="38036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16" name="Forma livre: Forma 615">
              <a:extLst>
                <a:ext uri="{FF2B5EF4-FFF2-40B4-BE49-F238E27FC236}">
                  <a16:creationId xmlns:a16="http://schemas.microsoft.com/office/drawing/2014/main" id="{71477AEB-4CE5-0925-14AA-96992E39781F}"/>
                </a:ext>
              </a:extLst>
            </p:cNvPr>
            <p:cNvSpPr/>
            <p:nvPr/>
          </p:nvSpPr>
          <p:spPr>
            <a:xfrm>
              <a:off x="7038073" y="2653231"/>
              <a:ext cx="181941" cy="213127"/>
            </a:xfrm>
            <a:custGeom>
              <a:avLst/>
              <a:gdLst>
                <a:gd name="connsiteX0" fmla="*/ 0 w 181941"/>
                <a:gd name="connsiteY0" fmla="*/ 0 h 213127"/>
                <a:gd name="connsiteX1" fmla="*/ 0 w 181941"/>
                <a:gd name="connsiteY1" fmla="*/ 175091 h 213127"/>
                <a:gd name="connsiteX2" fmla="*/ 90971 w 181941"/>
                <a:gd name="connsiteY2" fmla="*/ 213128 h 213127"/>
                <a:gd name="connsiteX3" fmla="*/ 181942 w 181941"/>
                <a:gd name="connsiteY3" fmla="*/ 175091 h 213127"/>
                <a:gd name="connsiteX4" fmla="*/ 181942 w 181941"/>
                <a:gd name="connsiteY4" fmla="*/ 0 h 2131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1941" h="213127">
                  <a:moveTo>
                    <a:pt x="0" y="0"/>
                  </a:moveTo>
                  <a:lnTo>
                    <a:pt x="0" y="175091"/>
                  </a:lnTo>
                  <a:cubicBezTo>
                    <a:pt x="0" y="196073"/>
                    <a:pt x="40719" y="213128"/>
                    <a:pt x="90971" y="213128"/>
                  </a:cubicBezTo>
                  <a:cubicBezTo>
                    <a:pt x="141223" y="213128"/>
                    <a:pt x="181942" y="196073"/>
                    <a:pt x="181942" y="175091"/>
                  </a:cubicBezTo>
                  <a:lnTo>
                    <a:pt x="181942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17" name="Forma livre: Forma 616">
              <a:extLst>
                <a:ext uri="{FF2B5EF4-FFF2-40B4-BE49-F238E27FC236}">
                  <a16:creationId xmlns:a16="http://schemas.microsoft.com/office/drawing/2014/main" id="{8EDBE248-2527-9930-D558-596DC0708911}"/>
                </a:ext>
              </a:extLst>
            </p:cNvPr>
            <p:cNvSpPr/>
            <p:nvPr/>
          </p:nvSpPr>
          <p:spPr>
            <a:xfrm>
              <a:off x="7109594" y="2647722"/>
              <a:ext cx="38898" cy="7377"/>
            </a:xfrm>
            <a:custGeom>
              <a:avLst/>
              <a:gdLst>
                <a:gd name="connsiteX0" fmla="*/ 19449 w 38898"/>
                <a:gd name="connsiteY0" fmla="*/ 7377 h 7377"/>
                <a:gd name="connsiteX1" fmla="*/ 0 w 38898"/>
                <a:gd name="connsiteY1" fmla="*/ 3689 h 7377"/>
                <a:gd name="connsiteX2" fmla="*/ 19449 w 38898"/>
                <a:gd name="connsiteY2" fmla="*/ 0 h 7377"/>
                <a:gd name="connsiteX3" fmla="*/ 38899 w 38898"/>
                <a:gd name="connsiteY3" fmla="*/ 3689 h 7377"/>
                <a:gd name="connsiteX4" fmla="*/ 19449 w 38898"/>
                <a:gd name="connsiteY4" fmla="*/ 7377 h 73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8898" h="7377">
                  <a:moveTo>
                    <a:pt x="19449" y="7377"/>
                  </a:moveTo>
                  <a:cubicBezTo>
                    <a:pt x="9916" y="7377"/>
                    <a:pt x="3114" y="5365"/>
                    <a:pt x="0" y="3689"/>
                  </a:cubicBezTo>
                  <a:cubicBezTo>
                    <a:pt x="3114" y="2012"/>
                    <a:pt x="9916" y="0"/>
                    <a:pt x="19449" y="0"/>
                  </a:cubicBezTo>
                  <a:cubicBezTo>
                    <a:pt x="28982" y="0"/>
                    <a:pt x="35833" y="2012"/>
                    <a:pt x="38899" y="3689"/>
                  </a:cubicBezTo>
                  <a:cubicBezTo>
                    <a:pt x="35785" y="5365"/>
                    <a:pt x="28982" y="7377"/>
                    <a:pt x="19449" y="7377"/>
                  </a:cubicBezTo>
                  <a:close/>
                </a:path>
              </a:pathLst>
            </a:custGeom>
            <a:solidFill>
              <a:srgbClr val="39434E"/>
            </a:solidFill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18" name="Forma livre: Forma 617">
              <a:extLst>
                <a:ext uri="{FF2B5EF4-FFF2-40B4-BE49-F238E27FC236}">
                  <a16:creationId xmlns:a16="http://schemas.microsoft.com/office/drawing/2014/main" id="{7F255BAE-08B2-0C27-624A-B71292259EF2}"/>
                </a:ext>
              </a:extLst>
            </p:cNvPr>
            <p:cNvSpPr/>
            <p:nvPr/>
          </p:nvSpPr>
          <p:spPr>
            <a:xfrm>
              <a:off x="7153379" y="2730933"/>
              <a:ext cx="4790" cy="22802"/>
            </a:xfrm>
            <a:custGeom>
              <a:avLst/>
              <a:gdLst>
                <a:gd name="connsiteX0" fmla="*/ 0 w 4790"/>
                <a:gd name="connsiteY0" fmla="*/ 22803 h 22802"/>
                <a:gd name="connsiteX1" fmla="*/ 0 w 4790"/>
                <a:gd name="connsiteY1" fmla="*/ 0 h 22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790" h="22802">
                  <a:moveTo>
                    <a:pt x="0" y="22803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custDash>
                <a:ds d="375000" sp="225000"/>
              </a:custDash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19" name="Forma livre: Forma 618">
              <a:extLst>
                <a:ext uri="{FF2B5EF4-FFF2-40B4-BE49-F238E27FC236}">
                  <a16:creationId xmlns:a16="http://schemas.microsoft.com/office/drawing/2014/main" id="{7D382483-D283-025F-D620-4FE30E9113A2}"/>
                </a:ext>
              </a:extLst>
            </p:cNvPr>
            <p:cNvSpPr/>
            <p:nvPr/>
          </p:nvSpPr>
          <p:spPr>
            <a:xfrm>
              <a:off x="7153379" y="2767196"/>
              <a:ext cx="4790" cy="22754"/>
            </a:xfrm>
            <a:custGeom>
              <a:avLst/>
              <a:gdLst>
                <a:gd name="connsiteX0" fmla="*/ 0 w 4790"/>
                <a:gd name="connsiteY0" fmla="*/ 22755 h 22754"/>
                <a:gd name="connsiteX1" fmla="*/ 0 w 4790"/>
                <a:gd name="connsiteY1" fmla="*/ 0 h 227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790" h="22754">
                  <a:moveTo>
                    <a:pt x="0" y="22755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custDash>
                <a:ds d="375000" sp="225000"/>
              </a:custDash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20" name="Forma livre: Forma 619">
              <a:extLst>
                <a:ext uri="{FF2B5EF4-FFF2-40B4-BE49-F238E27FC236}">
                  <a16:creationId xmlns:a16="http://schemas.microsoft.com/office/drawing/2014/main" id="{214AC9F8-B7A7-1AD6-6A65-184736FEFAF0}"/>
                </a:ext>
              </a:extLst>
            </p:cNvPr>
            <p:cNvSpPr/>
            <p:nvPr/>
          </p:nvSpPr>
          <p:spPr>
            <a:xfrm>
              <a:off x="7153379" y="2803412"/>
              <a:ext cx="4790" cy="22754"/>
            </a:xfrm>
            <a:custGeom>
              <a:avLst/>
              <a:gdLst>
                <a:gd name="connsiteX0" fmla="*/ 0 w 4790"/>
                <a:gd name="connsiteY0" fmla="*/ 22755 h 22754"/>
                <a:gd name="connsiteX1" fmla="*/ 0 w 4790"/>
                <a:gd name="connsiteY1" fmla="*/ 0 h 227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790" h="22754">
                  <a:moveTo>
                    <a:pt x="0" y="22755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custDash>
                <a:ds d="375000" sp="225000"/>
              </a:custDash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21" name="Forma livre: Forma 620">
              <a:extLst>
                <a:ext uri="{FF2B5EF4-FFF2-40B4-BE49-F238E27FC236}">
                  <a16:creationId xmlns:a16="http://schemas.microsoft.com/office/drawing/2014/main" id="{E2656F93-5630-EFDB-B3C5-BF2777C762D3}"/>
                </a:ext>
              </a:extLst>
            </p:cNvPr>
            <p:cNvSpPr/>
            <p:nvPr/>
          </p:nvSpPr>
          <p:spPr>
            <a:xfrm>
              <a:off x="7153379" y="2691316"/>
              <a:ext cx="4790" cy="22754"/>
            </a:xfrm>
            <a:custGeom>
              <a:avLst/>
              <a:gdLst>
                <a:gd name="connsiteX0" fmla="*/ 0 w 4790"/>
                <a:gd name="connsiteY0" fmla="*/ 22755 h 22754"/>
                <a:gd name="connsiteX1" fmla="*/ 0 w 4790"/>
                <a:gd name="connsiteY1" fmla="*/ 0 h 227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790" h="22754">
                  <a:moveTo>
                    <a:pt x="0" y="22755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custDash>
                <a:ds d="375000" sp="225000"/>
              </a:custDash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22" name="Forma livre: Forma 621">
              <a:extLst>
                <a:ext uri="{FF2B5EF4-FFF2-40B4-BE49-F238E27FC236}">
                  <a16:creationId xmlns:a16="http://schemas.microsoft.com/office/drawing/2014/main" id="{CF07675A-1995-8DD6-9D4F-906E266CF8C4}"/>
                </a:ext>
              </a:extLst>
            </p:cNvPr>
            <p:cNvSpPr/>
            <p:nvPr/>
          </p:nvSpPr>
          <p:spPr>
            <a:xfrm>
              <a:off x="7153379" y="2839389"/>
              <a:ext cx="4790" cy="27593"/>
            </a:xfrm>
            <a:custGeom>
              <a:avLst/>
              <a:gdLst>
                <a:gd name="connsiteX0" fmla="*/ 0 w 4790"/>
                <a:gd name="connsiteY0" fmla="*/ 27593 h 27593"/>
                <a:gd name="connsiteX1" fmla="*/ 0 w 4790"/>
                <a:gd name="connsiteY1" fmla="*/ 0 h 275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790" h="27593">
                  <a:moveTo>
                    <a:pt x="0" y="27593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custDash>
                <a:ds d="375000" sp="225000"/>
              </a:custDash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623" name="Gráfico 14">
            <a:extLst>
              <a:ext uri="{FF2B5EF4-FFF2-40B4-BE49-F238E27FC236}">
                <a16:creationId xmlns:a16="http://schemas.microsoft.com/office/drawing/2014/main" id="{D585D1E6-D68B-D7BC-81E5-76B424BAB1DF}"/>
              </a:ext>
            </a:extLst>
          </p:cNvPr>
          <p:cNvGrpSpPr/>
          <p:nvPr/>
        </p:nvGrpSpPr>
        <p:grpSpPr>
          <a:xfrm>
            <a:off x="6381061" y="3144349"/>
            <a:ext cx="344481" cy="242588"/>
            <a:chOff x="6381061" y="3144349"/>
            <a:chExt cx="344481" cy="242588"/>
          </a:xfrm>
          <a:noFill/>
        </p:grpSpPr>
        <p:sp>
          <p:nvSpPr>
            <p:cNvPr id="624" name="Forma livre: Forma 623">
              <a:extLst>
                <a:ext uri="{FF2B5EF4-FFF2-40B4-BE49-F238E27FC236}">
                  <a16:creationId xmlns:a16="http://schemas.microsoft.com/office/drawing/2014/main" id="{AC0FF70C-B2FE-2326-2D69-CFFCDEA2B9C7}"/>
                </a:ext>
              </a:extLst>
            </p:cNvPr>
            <p:cNvSpPr/>
            <p:nvPr/>
          </p:nvSpPr>
          <p:spPr>
            <a:xfrm>
              <a:off x="6436104" y="3259225"/>
              <a:ext cx="234397" cy="4790"/>
            </a:xfrm>
            <a:custGeom>
              <a:avLst/>
              <a:gdLst>
                <a:gd name="connsiteX0" fmla="*/ 0 w 234397"/>
                <a:gd name="connsiteY0" fmla="*/ 0 h 4790"/>
                <a:gd name="connsiteX1" fmla="*/ 234397 w 234397"/>
                <a:gd name="connsiteY1" fmla="*/ 0 h 47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34397" h="4790">
                  <a:moveTo>
                    <a:pt x="0" y="0"/>
                  </a:moveTo>
                  <a:lnTo>
                    <a:pt x="234397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25" name="Forma livre: Forma 624">
              <a:extLst>
                <a:ext uri="{FF2B5EF4-FFF2-40B4-BE49-F238E27FC236}">
                  <a16:creationId xmlns:a16="http://schemas.microsoft.com/office/drawing/2014/main" id="{84C3DB9A-AE4E-34F1-80BF-C53CDF5553FA}"/>
                </a:ext>
              </a:extLst>
            </p:cNvPr>
            <p:cNvSpPr/>
            <p:nvPr/>
          </p:nvSpPr>
          <p:spPr>
            <a:xfrm>
              <a:off x="6483050" y="3220422"/>
              <a:ext cx="140504" cy="4790"/>
            </a:xfrm>
            <a:custGeom>
              <a:avLst/>
              <a:gdLst>
                <a:gd name="connsiteX0" fmla="*/ 0 w 140504"/>
                <a:gd name="connsiteY0" fmla="*/ 0 h 4790"/>
                <a:gd name="connsiteX1" fmla="*/ 140504 w 140504"/>
                <a:gd name="connsiteY1" fmla="*/ 0 h 47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40504" h="4790">
                  <a:moveTo>
                    <a:pt x="0" y="0"/>
                  </a:moveTo>
                  <a:lnTo>
                    <a:pt x="140504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626" name="Gráfico 14">
              <a:extLst>
                <a:ext uri="{FF2B5EF4-FFF2-40B4-BE49-F238E27FC236}">
                  <a16:creationId xmlns:a16="http://schemas.microsoft.com/office/drawing/2014/main" id="{D9C53525-D633-75E1-DBEA-DD13141B51AD}"/>
                </a:ext>
              </a:extLst>
            </p:cNvPr>
            <p:cNvGrpSpPr/>
            <p:nvPr/>
          </p:nvGrpSpPr>
          <p:grpSpPr>
            <a:xfrm>
              <a:off x="6470355" y="3302962"/>
              <a:ext cx="165941" cy="42730"/>
              <a:chOff x="6470355" y="3302962"/>
              <a:chExt cx="165941" cy="42730"/>
            </a:xfrm>
          </p:grpSpPr>
          <p:sp>
            <p:nvSpPr>
              <p:cNvPr id="627" name="Forma livre: Forma 626">
                <a:extLst>
                  <a:ext uri="{FF2B5EF4-FFF2-40B4-BE49-F238E27FC236}">
                    <a16:creationId xmlns:a16="http://schemas.microsoft.com/office/drawing/2014/main" id="{149BD0F5-97F1-814C-1155-4482FC5F0EB8}"/>
                  </a:ext>
                </a:extLst>
              </p:cNvPr>
              <p:cNvSpPr/>
              <p:nvPr/>
            </p:nvSpPr>
            <p:spPr>
              <a:xfrm>
                <a:off x="6470355" y="3302962"/>
                <a:ext cx="51784" cy="4790"/>
              </a:xfrm>
              <a:custGeom>
                <a:avLst/>
                <a:gdLst>
                  <a:gd name="connsiteX0" fmla="*/ 0 w 51784"/>
                  <a:gd name="connsiteY0" fmla="*/ 0 h 4790"/>
                  <a:gd name="connsiteX1" fmla="*/ 51785 w 51784"/>
                  <a:gd name="connsiteY1" fmla="*/ 0 h 47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1784" h="4790">
                    <a:moveTo>
                      <a:pt x="0" y="0"/>
                    </a:moveTo>
                    <a:lnTo>
                      <a:pt x="51785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628" name="Forma livre: Forma 627">
                <a:extLst>
                  <a:ext uri="{FF2B5EF4-FFF2-40B4-BE49-F238E27FC236}">
                    <a16:creationId xmlns:a16="http://schemas.microsoft.com/office/drawing/2014/main" id="{F46FCD66-7076-597A-71F9-29FAB54639F6}"/>
                  </a:ext>
                </a:extLst>
              </p:cNvPr>
              <p:cNvSpPr/>
              <p:nvPr/>
            </p:nvSpPr>
            <p:spPr>
              <a:xfrm>
                <a:off x="6470355" y="3345692"/>
                <a:ext cx="51784" cy="4790"/>
              </a:xfrm>
              <a:custGeom>
                <a:avLst/>
                <a:gdLst>
                  <a:gd name="connsiteX0" fmla="*/ 0 w 51784"/>
                  <a:gd name="connsiteY0" fmla="*/ 0 h 4790"/>
                  <a:gd name="connsiteX1" fmla="*/ 51785 w 51784"/>
                  <a:gd name="connsiteY1" fmla="*/ 0 h 47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1784" h="4790">
                    <a:moveTo>
                      <a:pt x="0" y="0"/>
                    </a:moveTo>
                    <a:lnTo>
                      <a:pt x="51785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629" name="Forma livre: Forma 628">
                <a:extLst>
                  <a:ext uri="{FF2B5EF4-FFF2-40B4-BE49-F238E27FC236}">
                    <a16:creationId xmlns:a16="http://schemas.microsoft.com/office/drawing/2014/main" id="{522120CB-2335-D42E-210E-E2444AF21B3A}"/>
                  </a:ext>
                </a:extLst>
              </p:cNvPr>
              <p:cNvSpPr/>
              <p:nvPr/>
            </p:nvSpPr>
            <p:spPr>
              <a:xfrm>
                <a:off x="6584512" y="3302962"/>
                <a:ext cx="51784" cy="4790"/>
              </a:xfrm>
              <a:custGeom>
                <a:avLst/>
                <a:gdLst>
                  <a:gd name="connsiteX0" fmla="*/ 0 w 51784"/>
                  <a:gd name="connsiteY0" fmla="*/ 0 h 4790"/>
                  <a:gd name="connsiteX1" fmla="*/ 51785 w 51784"/>
                  <a:gd name="connsiteY1" fmla="*/ 0 h 47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1784" h="4790">
                    <a:moveTo>
                      <a:pt x="0" y="0"/>
                    </a:moveTo>
                    <a:lnTo>
                      <a:pt x="51785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630" name="Forma livre: Forma 629">
                <a:extLst>
                  <a:ext uri="{FF2B5EF4-FFF2-40B4-BE49-F238E27FC236}">
                    <a16:creationId xmlns:a16="http://schemas.microsoft.com/office/drawing/2014/main" id="{D752C50B-2923-3926-CDB7-336BE6CD7408}"/>
                  </a:ext>
                </a:extLst>
              </p:cNvPr>
              <p:cNvSpPr/>
              <p:nvPr/>
            </p:nvSpPr>
            <p:spPr>
              <a:xfrm>
                <a:off x="6584512" y="3345692"/>
                <a:ext cx="51784" cy="4790"/>
              </a:xfrm>
              <a:custGeom>
                <a:avLst/>
                <a:gdLst>
                  <a:gd name="connsiteX0" fmla="*/ 0 w 51784"/>
                  <a:gd name="connsiteY0" fmla="*/ 0 h 4790"/>
                  <a:gd name="connsiteX1" fmla="*/ 51785 w 51784"/>
                  <a:gd name="connsiteY1" fmla="*/ 0 h 47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1784" h="4790">
                    <a:moveTo>
                      <a:pt x="0" y="0"/>
                    </a:moveTo>
                    <a:lnTo>
                      <a:pt x="51785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631" name="Gráfico 14">
              <a:extLst>
                <a:ext uri="{FF2B5EF4-FFF2-40B4-BE49-F238E27FC236}">
                  <a16:creationId xmlns:a16="http://schemas.microsoft.com/office/drawing/2014/main" id="{9DF79C04-4FEA-44F6-CB36-9C18FB8CD45C}"/>
                </a:ext>
              </a:extLst>
            </p:cNvPr>
            <p:cNvGrpSpPr/>
            <p:nvPr/>
          </p:nvGrpSpPr>
          <p:grpSpPr>
            <a:xfrm>
              <a:off x="6412774" y="3262578"/>
              <a:ext cx="281104" cy="124360"/>
              <a:chOff x="6412774" y="3262578"/>
              <a:chExt cx="281104" cy="124360"/>
            </a:xfrm>
            <a:noFill/>
          </p:grpSpPr>
          <p:grpSp>
            <p:nvGrpSpPr>
              <p:cNvPr id="632" name="Gráfico 14">
                <a:extLst>
                  <a:ext uri="{FF2B5EF4-FFF2-40B4-BE49-F238E27FC236}">
                    <a16:creationId xmlns:a16="http://schemas.microsoft.com/office/drawing/2014/main" id="{493FEB09-B1AE-5C9A-90C9-CB1D975A338A}"/>
                  </a:ext>
                </a:extLst>
              </p:cNvPr>
              <p:cNvGrpSpPr/>
              <p:nvPr/>
            </p:nvGrpSpPr>
            <p:grpSpPr>
              <a:xfrm>
                <a:off x="6412774" y="3262578"/>
                <a:ext cx="40431" cy="124360"/>
                <a:chOff x="6412774" y="3262578"/>
                <a:chExt cx="40431" cy="124360"/>
              </a:xfrm>
              <a:noFill/>
            </p:grpSpPr>
            <p:sp>
              <p:nvSpPr>
                <p:cNvPr id="633" name="Forma livre: Forma 632">
                  <a:extLst>
                    <a:ext uri="{FF2B5EF4-FFF2-40B4-BE49-F238E27FC236}">
                      <a16:creationId xmlns:a16="http://schemas.microsoft.com/office/drawing/2014/main" id="{9FE51BDF-E485-4006-799B-0B569C1547CD}"/>
                    </a:ext>
                  </a:extLst>
                </p:cNvPr>
                <p:cNvSpPr/>
                <p:nvPr/>
              </p:nvSpPr>
              <p:spPr>
                <a:xfrm>
                  <a:off x="6412774" y="3262578"/>
                  <a:ext cx="40431" cy="40431"/>
                </a:xfrm>
                <a:custGeom>
                  <a:avLst/>
                  <a:gdLst>
                    <a:gd name="connsiteX0" fmla="*/ 40431 w 40431"/>
                    <a:gd name="connsiteY0" fmla="*/ 20216 h 40431"/>
                    <a:gd name="connsiteX1" fmla="*/ 20216 w 40431"/>
                    <a:gd name="connsiteY1" fmla="*/ 40431 h 40431"/>
                    <a:gd name="connsiteX2" fmla="*/ 0 w 40431"/>
                    <a:gd name="connsiteY2" fmla="*/ 20216 h 40431"/>
                    <a:gd name="connsiteX3" fmla="*/ 20216 w 40431"/>
                    <a:gd name="connsiteY3" fmla="*/ 0 h 40431"/>
                    <a:gd name="connsiteX4" fmla="*/ 40431 w 40431"/>
                    <a:gd name="connsiteY4" fmla="*/ 20216 h 4043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40431" h="40431">
                      <a:moveTo>
                        <a:pt x="40431" y="20216"/>
                      </a:moveTo>
                      <a:cubicBezTo>
                        <a:pt x="40431" y="31377"/>
                        <a:pt x="31378" y="40431"/>
                        <a:pt x="20216" y="40431"/>
                      </a:cubicBezTo>
                      <a:cubicBezTo>
                        <a:pt x="9054" y="40431"/>
                        <a:pt x="0" y="31377"/>
                        <a:pt x="0" y="20216"/>
                      </a:cubicBezTo>
                      <a:cubicBezTo>
                        <a:pt x="0" y="9054"/>
                        <a:pt x="9054" y="0"/>
                        <a:pt x="20216" y="0"/>
                      </a:cubicBezTo>
                      <a:cubicBezTo>
                        <a:pt x="31378" y="0"/>
                        <a:pt x="40431" y="9054"/>
                        <a:pt x="40431" y="20216"/>
                      </a:cubicBezTo>
                      <a:close/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634" name="Forma livre: Forma 633">
                  <a:extLst>
                    <a:ext uri="{FF2B5EF4-FFF2-40B4-BE49-F238E27FC236}">
                      <a16:creationId xmlns:a16="http://schemas.microsoft.com/office/drawing/2014/main" id="{E073A395-DA99-CFB9-7E46-8DECAD70CE0E}"/>
                    </a:ext>
                  </a:extLst>
                </p:cNvPr>
                <p:cNvSpPr/>
                <p:nvPr/>
              </p:nvSpPr>
              <p:spPr>
                <a:xfrm>
                  <a:off x="6412774" y="3304111"/>
                  <a:ext cx="40431" cy="40431"/>
                </a:xfrm>
                <a:custGeom>
                  <a:avLst/>
                  <a:gdLst>
                    <a:gd name="connsiteX0" fmla="*/ 40431 w 40431"/>
                    <a:gd name="connsiteY0" fmla="*/ 20216 h 40431"/>
                    <a:gd name="connsiteX1" fmla="*/ 20216 w 40431"/>
                    <a:gd name="connsiteY1" fmla="*/ 40431 h 40431"/>
                    <a:gd name="connsiteX2" fmla="*/ 0 w 40431"/>
                    <a:gd name="connsiteY2" fmla="*/ 20216 h 40431"/>
                    <a:gd name="connsiteX3" fmla="*/ 20216 w 40431"/>
                    <a:gd name="connsiteY3" fmla="*/ 0 h 40431"/>
                    <a:gd name="connsiteX4" fmla="*/ 40431 w 40431"/>
                    <a:gd name="connsiteY4" fmla="*/ 20216 h 4043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40431" h="40431">
                      <a:moveTo>
                        <a:pt x="40431" y="20216"/>
                      </a:moveTo>
                      <a:cubicBezTo>
                        <a:pt x="40431" y="31378"/>
                        <a:pt x="31378" y="40431"/>
                        <a:pt x="20216" y="40431"/>
                      </a:cubicBezTo>
                      <a:cubicBezTo>
                        <a:pt x="9054" y="40431"/>
                        <a:pt x="0" y="31378"/>
                        <a:pt x="0" y="20216"/>
                      </a:cubicBezTo>
                      <a:cubicBezTo>
                        <a:pt x="0" y="9054"/>
                        <a:pt x="9054" y="0"/>
                        <a:pt x="20216" y="0"/>
                      </a:cubicBezTo>
                      <a:cubicBezTo>
                        <a:pt x="31378" y="0"/>
                        <a:pt x="40431" y="9054"/>
                        <a:pt x="40431" y="20216"/>
                      </a:cubicBezTo>
                      <a:close/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635" name="Forma livre: Forma 634">
                  <a:extLst>
                    <a:ext uri="{FF2B5EF4-FFF2-40B4-BE49-F238E27FC236}">
                      <a16:creationId xmlns:a16="http://schemas.microsoft.com/office/drawing/2014/main" id="{D25E5630-678A-B7A0-C460-A5CCA6ED4A29}"/>
                    </a:ext>
                  </a:extLst>
                </p:cNvPr>
                <p:cNvSpPr/>
                <p:nvPr/>
              </p:nvSpPr>
              <p:spPr>
                <a:xfrm>
                  <a:off x="6412774" y="3346507"/>
                  <a:ext cx="40431" cy="40431"/>
                </a:xfrm>
                <a:custGeom>
                  <a:avLst/>
                  <a:gdLst>
                    <a:gd name="connsiteX0" fmla="*/ 40431 w 40431"/>
                    <a:gd name="connsiteY0" fmla="*/ 20216 h 40431"/>
                    <a:gd name="connsiteX1" fmla="*/ 20216 w 40431"/>
                    <a:gd name="connsiteY1" fmla="*/ 40431 h 40431"/>
                    <a:gd name="connsiteX2" fmla="*/ 0 w 40431"/>
                    <a:gd name="connsiteY2" fmla="*/ 20216 h 40431"/>
                    <a:gd name="connsiteX3" fmla="*/ 20216 w 40431"/>
                    <a:gd name="connsiteY3" fmla="*/ 0 h 40431"/>
                    <a:gd name="connsiteX4" fmla="*/ 40431 w 40431"/>
                    <a:gd name="connsiteY4" fmla="*/ 20216 h 4043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40431" h="40431">
                      <a:moveTo>
                        <a:pt x="40431" y="20216"/>
                      </a:moveTo>
                      <a:cubicBezTo>
                        <a:pt x="40431" y="31377"/>
                        <a:pt x="31378" y="40431"/>
                        <a:pt x="20216" y="40431"/>
                      </a:cubicBezTo>
                      <a:cubicBezTo>
                        <a:pt x="9054" y="40431"/>
                        <a:pt x="0" y="31377"/>
                        <a:pt x="0" y="20216"/>
                      </a:cubicBezTo>
                      <a:cubicBezTo>
                        <a:pt x="0" y="9054"/>
                        <a:pt x="9054" y="0"/>
                        <a:pt x="20216" y="0"/>
                      </a:cubicBezTo>
                      <a:cubicBezTo>
                        <a:pt x="31378" y="0"/>
                        <a:pt x="40431" y="9054"/>
                        <a:pt x="40431" y="20216"/>
                      </a:cubicBezTo>
                      <a:close/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636" name="Gráfico 14">
                <a:extLst>
                  <a:ext uri="{FF2B5EF4-FFF2-40B4-BE49-F238E27FC236}">
                    <a16:creationId xmlns:a16="http://schemas.microsoft.com/office/drawing/2014/main" id="{F907BFCD-21F4-25A0-8721-FB6ADD26D01E}"/>
                  </a:ext>
                </a:extLst>
              </p:cNvPr>
              <p:cNvGrpSpPr/>
              <p:nvPr/>
            </p:nvGrpSpPr>
            <p:grpSpPr>
              <a:xfrm>
                <a:off x="6653447" y="3262578"/>
                <a:ext cx="40431" cy="124360"/>
                <a:chOff x="6653447" y="3262578"/>
                <a:chExt cx="40431" cy="124360"/>
              </a:xfrm>
              <a:noFill/>
            </p:grpSpPr>
            <p:sp>
              <p:nvSpPr>
                <p:cNvPr id="637" name="Forma livre: Forma 636">
                  <a:extLst>
                    <a:ext uri="{FF2B5EF4-FFF2-40B4-BE49-F238E27FC236}">
                      <a16:creationId xmlns:a16="http://schemas.microsoft.com/office/drawing/2014/main" id="{7BEBB928-740A-685F-E49E-4C2D07E2C19B}"/>
                    </a:ext>
                  </a:extLst>
                </p:cNvPr>
                <p:cNvSpPr/>
                <p:nvPr/>
              </p:nvSpPr>
              <p:spPr>
                <a:xfrm>
                  <a:off x="6653447" y="3262578"/>
                  <a:ext cx="40431" cy="40431"/>
                </a:xfrm>
                <a:custGeom>
                  <a:avLst/>
                  <a:gdLst>
                    <a:gd name="connsiteX0" fmla="*/ 40431 w 40431"/>
                    <a:gd name="connsiteY0" fmla="*/ 20216 h 40431"/>
                    <a:gd name="connsiteX1" fmla="*/ 20216 w 40431"/>
                    <a:gd name="connsiteY1" fmla="*/ 40431 h 40431"/>
                    <a:gd name="connsiteX2" fmla="*/ 0 w 40431"/>
                    <a:gd name="connsiteY2" fmla="*/ 20216 h 40431"/>
                    <a:gd name="connsiteX3" fmla="*/ 20216 w 40431"/>
                    <a:gd name="connsiteY3" fmla="*/ 0 h 40431"/>
                    <a:gd name="connsiteX4" fmla="*/ 40431 w 40431"/>
                    <a:gd name="connsiteY4" fmla="*/ 20216 h 4043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40431" h="40431">
                      <a:moveTo>
                        <a:pt x="40431" y="20216"/>
                      </a:moveTo>
                      <a:cubicBezTo>
                        <a:pt x="40431" y="31377"/>
                        <a:pt x="31378" y="40431"/>
                        <a:pt x="20216" y="40431"/>
                      </a:cubicBezTo>
                      <a:cubicBezTo>
                        <a:pt x="9054" y="40431"/>
                        <a:pt x="0" y="31377"/>
                        <a:pt x="0" y="20216"/>
                      </a:cubicBezTo>
                      <a:cubicBezTo>
                        <a:pt x="0" y="9054"/>
                        <a:pt x="9054" y="0"/>
                        <a:pt x="20216" y="0"/>
                      </a:cubicBezTo>
                      <a:cubicBezTo>
                        <a:pt x="31378" y="0"/>
                        <a:pt x="40431" y="9054"/>
                        <a:pt x="40431" y="20216"/>
                      </a:cubicBezTo>
                      <a:close/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638" name="Forma livre: Forma 637">
                  <a:extLst>
                    <a:ext uri="{FF2B5EF4-FFF2-40B4-BE49-F238E27FC236}">
                      <a16:creationId xmlns:a16="http://schemas.microsoft.com/office/drawing/2014/main" id="{5241B094-824C-23FD-7A3F-0B63E2FFA34A}"/>
                    </a:ext>
                  </a:extLst>
                </p:cNvPr>
                <p:cNvSpPr/>
                <p:nvPr/>
              </p:nvSpPr>
              <p:spPr>
                <a:xfrm>
                  <a:off x="6653447" y="3304590"/>
                  <a:ext cx="40431" cy="40431"/>
                </a:xfrm>
                <a:custGeom>
                  <a:avLst/>
                  <a:gdLst>
                    <a:gd name="connsiteX0" fmla="*/ 40431 w 40431"/>
                    <a:gd name="connsiteY0" fmla="*/ 20216 h 40431"/>
                    <a:gd name="connsiteX1" fmla="*/ 20216 w 40431"/>
                    <a:gd name="connsiteY1" fmla="*/ 40431 h 40431"/>
                    <a:gd name="connsiteX2" fmla="*/ 0 w 40431"/>
                    <a:gd name="connsiteY2" fmla="*/ 20216 h 40431"/>
                    <a:gd name="connsiteX3" fmla="*/ 20216 w 40431"/>
                    <a:gd name="connsiteY3" fmla="*/ 0 h 40431"/>
                    <a:gd name="connsiteX4" fmla="*/ 40431 w 40431"/>
                    <a:gd name="connsiteY4" fmla="*/ 20216 h 4043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40431" h="40431">
                      <a:moveTo>
                        <a:pt x="40431" y="20216"/>
                      </a:moveTo>
                      <a:cubicBezTo>
                        <a:pt x="40431" y="31377"/>
                        <a:pt x="31378" y="40431"/>
                        <a:pt x="20216" y="40431"/>
                      </a:cubicBezTo>
                      <a:cubicBezTo>
                        <a:pt x="9054" y="40431"/>
                        <a:pt x="0" y="31377"/>
                        <a:pt x="0" y="20216"/>
                      </a:cubicBezTo>
                      <a:cubicBezTo>
                        <a:pt x="0" y="9054"/>
                        <a:pt x="9054" y="0"/>
                        <a:pt x="20216" y="0"/>
                      </a:cubicBezTo>
                      <a:cubicBezTo>
                        <a:pt x="31378" y="0"/>
                        <a:pt x="40431" y="9054"/>
                        <a:pt x="40431" y="20216"/>
                      </a:cubicBezTo>
                      <a:close/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639" name="Forma livre: Forma 638">
                  <a:extLst>
                    <a:ext uri="{FF2B5EF4-FFF2-40B4-BE49-F238E27FC236}">
                      <a16:creationId xmlns:a16="http://schemas.microsoft.com/office/drawing/2014/main" id="{0DE83465-69A9-1BC0-FE71-E725113A26D5}"/>
                    </a:ext>
                  </a:extLst>
                </p:cNvPr>
                <p:cNvSpPr/>
                <p:nvPr/>
              </p:nvSpPr>
              <p:spPr>
                <a:xfrm>
                  <a:off x="6653447" y="3346507"/>
                  <a:ext cx="40431" cy="40431"/>
                </a:xfrm>
                <a:custGeom>
                  <a:avLst/>
                  <a:gdLst>
                    <a:gd name="connsiteX0" fmla="*/ 40431 w 40431"/>
                    <a:gd name="connsiteY0" fmla="*/ 20216 h 40431"/>
                    <a:gd name="connsiteX1" fmla="*/ 20216 w 40431"/>
                    <a:gd name="connsiteY1" fmla="*/ 40431 h 40431"/>
                    <a:gd name="connsiteX2" fmla="*/ 0 w 40431"/>
                    <a:gd name="connsiteY2" fmla="*/ 20216 h 40431"/>
                    <a:gd name="connsiteX3" fmla="*/ 20216 w 40431"/>
                    <a:gd name="connsiteY3" fmla="*/ 0 h 40431"/>
                    <a:gd name="connsiteX4" fmla="*/ 40431 w 40431"/>
                    <a:gd name="connsiteY4" fmla="*/ 20216 h 4043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40431" h="40431">
                      <a:moveTo>
                        <a:pt x="40431" y="20216"/>
                      </a:moveTo>
                      <a:cubicBezTo>
                        <a:pt x="40431" y="31377"/>
                        <a:pt x="31378" y="40431"/>
                        <a:pt x="20216" y="40431"/>
                      </a:cubicBezTo>
                      <a:cubicBezTo>
                        <a:pt x="9054" y="40431"/>
                        <a:pt x="0" y="31377"/>
                        <a:pt x="0" y="20216"/>
                      </a:cubicBezTo>
                      <a:cubicBezTo>
                        <a:pt x="0" y="9054"/>
                        <a:pt x="9054" y="0"/>
                        <a:pt x="20216" y="0"/>
                      </a:cubicBezTo>
                      <a:cubicBezTo>
                        <a:pt x="31378" y="0"/>
                        <a:pt x="40431" y="9054"/>
                        <a:pt x="40431" y="20216"/>
                      </a:cubicBezTo>
                      <a:close/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sp>
          <p:nvSpPr>
            <p:cNvPr id="640" name="Forma livre: Forma 639">
              <a:extLst>
                <a:ext uri="{FF2B5EF4-FFF2-40B4-BE49-F238E27FC236}">
                  <a16:creationId xmlns:a16="http://schemas.microsoft.com/office/drawing/2014/main" id="{E76F596F-5353-D278-007A-857AF0B1067B}"/>
                </a:ext>
              </a:extLst>
            </p:cNvPr>
            <p:cNvSpPr/>
            <p:nvPr/>
          </p:nvSpPr>
          <p:spPr>
            <a:xfrm>
              <a:off x="6469972" y="3287680"/>
              <a:ext cx="166707" cy="97677"/>
            </a:xfrm>
            <a:custGeom>
              <a:avLst/>
              <a:gdLst>
                <a:gd name="connsiteX0" fmla="*/ 166708 w 166707"/>
                <a:gd name="connsiteY0" fmla="*/ 97678 h 97677"/>
                <a:gd name="connsiteX1" fmla="*/ 113390 w 166707"/>
                <a:gd name="connsiteY1" fmla="*/ 97678 h 97677"/>
                <a:gd name="connsiteX2" fmla="*/ 113390 w 166707"/>
                <a:gd name="connsiteY2" fmla="*/ 0 h 97677"/>
                <a:gd name="connsiteX3" fmla="*/ 53318 w 166707"/>
                <a:gd name="connsiteY3" fmla="*/ 0 h 97677"/>
                <a:gd name="connsiteX4" fmla="*/ 53318 w 166707"/>
                <a:gd name="connsiteY4" fmla="*/ 97678 h 97677"/>
                <a:gd name="connsiteX5" fmla="*/ 0 w 166707"/>
                <a:gd name="connsiteY5" fmla="*/ 97678 h 976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66707" h="97677">
                  <a:moveTo>
                    <a:pt x="166708" y="97678"/>
                  </a:moveTo>
                  <a:lnTo>
                    <a:pt x="113390" y="97678"/>
                  </a:lnTo>
                  <a:lnTo>
                    <a:pt x="113390" y="0"/>
                  </a:lnTo>
                  <a:lnTo>
                    <a:pt x="53318" y="0"/>
                  </a:lnTo>
                  <a:lnTo>
                    <a:pt x="53318" y="97678"/>
                  </a:lnTo>
                  <a:lnTo>
                    <a:pt x="0" y="97678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41" name="Forma livre: Forma 640">
              <a:extLst>
                <a:ext uri="{FF2B5EF4-FFF2-40B4-BE49-F238E27FC236}">
                  <a16:creationId xmlns:a16="http://schemas.microsoft.com/office/drawing/2014/main" id="{F9FDFE06-22B9-3D0F-CDFD-4A3C3D9DEBC7}"/>
                </a:ext>
              </a:extLst>
            </p:cNvPr>
            <p:cNvSpPr/>
            <p:nvPr/>
          </p:nvSpPr>
          <p:spPr>
            <a:xfrm>
              <a:off x="6432702" y="3151535"/>
              <a:ext cx="36072" cy="40766"/>
            </a:xfrm>
            <a:custGeom>
              <a:avLst/>
              <a:gdLst>
                <a:gd name="connsiteX0" fmla="*/ 36072 w 36072"/>
                <a:gd name="connsiteY0" fmla="*/ 18443 h 40766"/>
                <a:gd name="connsiteX1" fmla="*/ 36072 w 36072"/>
                <a:gd name="connsiteY1" fmla="*/ 0 h 40766"/>
                <a:gd name="connsiteX2" fmla="*/ 0 w 36072"/>
                <a:gd name="connsiteY2" fmla="*/ 0 h 40766"/>
                <a:gd name="connsiteX3" fmla="*/ 0 w 36072"/>
                <a:gd name="connsiteY3" fmla="*/ 40767 h 407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72" h="40766">
                  <a:moveTo>
                    <a:pt x="36072" y="18443"/>
                  </a:moveTo>
                  <a:lnTo>
                    <a:pt x="36072" y="0"/>
                  </a:lnTo>
                  <a:lnTo>
                    <a:pt x="0" y="0"/>
                  </a:lnTo>
                  <a:lnTo>
                    <a:pt x="0" y="40767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42" name="Forma livre: Forma 641">
              <a:extLst>
                <a:ext uri="{FF2B5EF4-FFF2-40B4-BE49-F238E27FC236}">
                  <a16:creationId xmlns:a16="http://schemas.microsoft.com/office/drawing/2014/main" id="{6011A306-EC3D-1E5C-B8E5-74FB0DBAA64B}"/>
                </a:ext>
              </a:extLst>
            </p:cNvPr>
            <p:cNvSpPr/>
            <p:nvPr/>
          </p:nvSpPr>
          <p:spPr>
            <a:xfrm>
              <a:off x="6381061" y="3144349"/>
              <a:ext cx="344481" cy="129821"/>
            </a:xfrm>
            <a:custGeom>
              <a:avLst/>
              <a:gdLst>
                <a:gd name="connsiteX0" fmla="*/ 344482 w 344481"/>
                <a:gd name="connsiteY0" fmla="*/ 106588 h 129821"/>
                <a:gd name="connsiteX1" fmla="*/ 172265 w 344481"/>
                <a:gd name="connsiteY1" fmla="*/ 0 h 129821"/>
                <a:gd name="connsiteX2" fmla="*/ 0 w 344481"/>
                <a:gd name="connsiteY2" fmla="*/ 106588 h 129821"/>
                <a:gd name="connsiteX3" fmla="*/ 14371 w 344481"/>
                <a:gd name="connsiteY3" fmla="*/ 129821 h 129821"/>
                <a:gd name="connsiteX4" fmla="*/ 172265 w 344481"/>
                <a:gd name="connsiteY4" fmla="*/ 32096 h 129821"/>
                <a:gd name="connsiteX5" fmla="*/ 330158 w 344481"/>
                <a:gd name="connsiteY5" fmla="*/ 129821 h 129821"/>
                <a:gd name="connsiteX6" fmla="*/ 344482 w 344481"/>
                <a:gd name="connsiteY6" fmla="*/ 106588 h 1298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44481" h="129821">
                  <a:moveTo>
                    <a:pt x="344482" y="106588"/>
                  </a:moveTo>
                  <a:lnTo>
                    <a:pt x="172265" y="0"/>
                  </a:lnTo>
                  <a:lnTo>
                    <a:pt x="0" y="106588"/>
                  </a:lnTo>
                  <a:lnTo>
                    <a:pt x="14371" y="129821"/>
                  </a:lnTo>
                  <a:lnTo>
                    <a:pt x="172265" y="32096"/>
                  </a:lnTo>
                  <a:lnTo>
                    <a:pt x="330158" y="129821"/>
                  </a:lnTo>
                  <a:lnTo>
                    <a:pt x="344482" y="106588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643" name="Gráfico 14">
            <a:extLst>
              <a:ext uri="{FF2B5EF4-FFF2-40B4-BE49-F238E27FC236}">
                <a16:creationId xmlns:a16="http://schemas.microsoft.com/office/drawing/2014/main" id="{9D0176C9-6C4A-EC33-A2B3-229C4C806C6F}"/>
              </a:ext>
            </a:extLst>
          </p:cNvPr>
          <p:cNvGrpSpPr/>
          <p:nvPr/>
        </p:nvGrpSpPr>
        <p:grpSpPr>
          <a:xfrm>
            <a:off x="7662796" y="3122313"/>
            <a:ext cx="271954" cy="286661"/>
            <a:chOff x="7662796" y="3122313"/>
            <a:chExt cx="271954" cy="286661"/>
          </a:xfrm>
          <a:noFill/>
        </p:grpSpPr>
        <p:sp>
          <p:nvSpPr>
            <p:cNvPr id="644" name="Forma livre: Forma 643">
              <a:extLst>
                <a:ext uri="{FF2B5EF4-FFF2-40B4-BE49-F238E27FC236}">
                  <a16:creationId xmlns:a16="http://schemas.microsoft.com/office/drawing/2014/main" id="{F1BB1E7B-02F8-2108-68D2-AE2E494A1BC9}"/>
                </a:ext>
              </a:extLst>
            </p:cNvPr>
            <p:cNvSpPr/>
            <p:nvPr/>
          </p:nvSpPr>
          <p:spPr>
            <a:xfrm>
              <a:off x="7680377" y="3165092"/>
              <a:ext cx="236744" cy="57964"/>
            </a:xfrm>
            <a:custGeom>
              <a:avLst/>
              <a:gdLst>
                <a:gd name="connsiteX0" fmla="*/ 0 w 236744"/>
                <a:gd name="connsiteY0" fmla="*/ 57677 h 57964"/>
                <a:gd name="connsiteX1" fmla="*/ 0 w 236744"/>
                <a:gd name="connsiteY1" fmla="*/ 42875 h 57964"/>
                <a:gd name="connsiteX2" fmla="*/ 42875 w 236744"/>
                <a:gd name="connsiteY2" fmla="*/ 0 h 57964"/>
                <a:gd name="connsiteX3" fmla="*/ 193870 w 236744"/>
                <a:gd name="connsiteY3" fmla="*/ 0 h 57964"/>
                <a:gd name="connsiteX4" fmla="*/ 236744 w 236744"/>
                <a:gd name="connsiteY4" fmla="*/ 42875 h 57964"/>
                <a:gd name="connsiteX5" fmla="*/ 236744 w 236744"/>
                <a:gd name="connsiteY5" fmla="*/ 57965 h 57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36744" h="57964">
                  <a:moveTo>
                    <a:pt x="0" y="57677"/>
                  </a:moveTo>
                  <a:lnTo>
                    <a:pt x="0" y="42875"/>
                  </a:lnTo>
                  <a:cubicBezTo>
                    <a:pt x="0" y="19306"/>
                    <a:pt x="19306" y="0"/>
                    <a:pt x="42875" y="0"/>
                  </a:cubicBezTo>
                  <a:lnTo>
                    <a:pt x="193870" y="0"/>
                  </a:lnTo>
                  <a:cubicBezTo>
                    <a:pt x="217439" y="0"/>
                    <a:pt x="236744" y="19306"/>
                    <a:pt x="236744" y="42875"/>
                  </a:cubicBezTo>
                  <a:lnTo>
                    <a:pt x="236744" y="57965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45" name="Forma livre: Forma 644">
              <a:extLst>
                <a:ext uri="{FF2B5EF4-FFF2-40B4-BE49-F238E27FC236}">
                  <a16:creationId xmlns:a16="http://schemas.microsoft.com/office/drawing/2014/main" id="{7BF4DA18-1EA6-B9BF-E241-E20D6E414620}"/>
                </a:ext>
              </a:extLst>
            </p:cNvPr>
            <p:cNvSpPr/>
            <p:nvPr/>
          </p:nvSpPr>
          <p:spPr>
            <a:xfrm>
              <a:off x="7662796" y="3224206"/>
              <a:ext cx="271954" cy="32670"/>
            </a:xfrm>
            <a:custGeom>
              <a:avLst/>
              <a:gdLst>
                <a:gd name="connsiteX0" fmla="*/ 0 w 271954"/>
                <a:gd name="connsiteY0" fmla="*/ 0 h 32670"/>
                <a:gd name="connsiteX1" fmla="*/ 271954 w 271954"/>
                <a:gd name="connsiteY1" fmla="*/ 0 h 32670"/>
                <a:gd name="connsiteX2" fmla="*/ 271954 w 271954"/>
                <a:gd name="connsiteY2" fmla="*/ 32671 h 32670"/>
                <a:gd name="connsiteX3" fmla="*/ 0 w 271954"/>
                <a:gd name="connsiteY3" fmla="*/ 32671 h 326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71954" h="32670">
                  <a:moveTo>
                    <a:pt x="0" y="0"/>
                  </a:moveTo>
                  <a:lnTo>
                    <a:pt x="271954" y="0"/>
                  </a:lnTo>
                  <a:lnTo>
                    <a:pt x="271954" y="32671"/>
                  </a:lnTo>
                  <a:lnTo>
                    <a:pt x="0" y="32671"/>
                  </a:ln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46" name="Forma livre: Forma 645">
              <a:extLst>
                <a:ext uri="{FF2B5EF4-FFF2-40B4-BE49-F238E27FC236}">
                  <a16:creationId xmlns:a16="http://schemas.microsoft.com/office/drawing/2014/main" id="{C0E8F013-3424-6715-43FD-640A0B5ECF72}"/>
                </a:ext>
              </a:extLst>
            </p:cNvPr>
            <p:cNvSpPr/>
            <p:nvPr/>
          </p:nvSpPr>
          <p:spPr>
            <a:xfrm>
              <a:off x="7671323" y="3122313"/>
              <a:ext cx="254852" cy="100839"/>
            </a:xfrm>
            <a:custGeom>
              <a:avLst/>
              <a:gdLst>
                <a:gd name="connsiteX0" fmla="*/ 0 w 254852"/>
                <a:gd name="connsiteY0" fmla="*/ 100695 h 100839"/>
                <a:gd name="connsiteX1" fmla="*/ 0 w 254852"/>
                <a:gd name="connsiteY1" fmla="*/ 38324 h 100839"/>
                <a:gd name="connsiteX2" fmla="*/ 38324 w 254852"/>
                <a:gd name="connsiteY2" fmla="*/ 0 h 100839"/>
                <a:gd name="connsiteX3" fmla="*/ 216529 w 254852"/>
                <a:gd name="connsiteY3" fmla="*/ 0 h 100839"/>
                <a:gd name="connsiteX4" fmla="*/ 254852 w 254852"/>
                <a:gd name="connsiteY4" fmla="*/ 38324 h 100839"/>
                <a:gd name="connsiteX5" fmla="*/ 254852 w 254852"/>
                <a:gd name="connsiteY5" fmla="*/ 100839 h 1008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54852" h="100839">
                  <a:moveTo>
                    <a:pt x="0" y="100695"/>
                  </a:moveTo>
                  <a:lnTo>
                    <a:pt x="0" y="38324"/>
                  </a:lnTo>
                  <a:cubicBezTo>
                    <a:pt x="0" y="17246"/>
                    <a:pt x="17246" y="0"/>
                    <a:pt x="38324" y="0"/>
                  </a:cubicBezTo>
                  <a:lnTo>
                    <a:pt x="216529" y="0"/>
                  </a:lnTo>
                  <a:cubicBezTo>
                    <a:pt x="237607" y="0"/>
                    <a:pt x="254852" y="17246"/>
                    <a:pt x="254852" y="38324"/>
                  </a:cubicBezTo>
                  <a:lnTo>
                    <a:pt x="254852" y="100839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47" name="Forma livre: Forma 646">
              <a:extLst>
                <a:ext uri="{FF2B5EF4-FFF2-40B4-BE49-F238E27FC236}">
                  <a16:creationId xmlns:a16="http://schemas.microsoft.com/office/drawing/2014/main" id="{EE474AD4-98AB-03DC-F934-8B8D3C803866}"/>
                </a:ext>
              </a:extLst>
            </p:cNvPr>
            <p:cNvSpPr/>
            <p:nvPr/>
          </p:nvSpPr>
          <p:spPr>
            <a:xfrm>
              <a:off x="7676066" y="3279392"/>
              <a:ext cx="245558" cy="129582"/>
            </a:xfrm>
            <a:custGeom>
              <a:avLst/>
              <a:gdLst>
                <a:gd name="connsiteX0" fmla="*/ 245559 w 245558"/>
                <a:gd name="connsiteY0" fmla="*/ 0 h 129582"/>
                <a:gd name="connsiteX1" fmla="*/ 245559 w 245558"/>
                <a:gd name="connsiteY1" fmla="*/ 115211 h 129582"/>
                <a:gd name="connsiteX2" fmla="*/ 231187 w 245558"/>
                <a:gd name="connsiteY2" fmla="*/ 129582 h 129582"/>
                <a:gd name="connsiteX3" fmla="*/ 14371 w 245558"/>
                <a:gd name="connsiteY3" fmla="*/ 129582 h 129582"/>
                <a:gd name="connsiteX4" fmla="*/ 0 w 245558"/>
                <a:gd name="connsiteY4" fmla="*/ 115211 h 129582"/>
                <a:gd name="connsiteX5" fmla="*/ 0 w 245558"/>
                <a:gd name="connsiteY5" fmla="*/ 0 h 1295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45558" h="129582">
                  <a:moveTo>
                    <a:pt x="245559" y="0"/>
                  </a:moveTo>
                  <a:lnTo>
                    <a:pt x="245559" y="115211"/>
                  </a:lnTo>
                  <a:cubicBezTo>
                    <a:pt x="245559" y="123115"/>
                    <a:pt x="239092" y="129582"/>
                    <a:pt x="231187" y="129582"/>
                  </a:cubicBezTo>
                  <a:lnTo>
                    <a:pt x="14371" y="129582"/>
                  </a:lnTo>
                  <a:cubicBezTo>
                    <a:pt x="6467" y="129582"/>
                    <a:pt x="0" y="123115"/>
                    <a:pt x="0" y="115211"/>
                  </a:cubicBezTo>
                  <a:lnTo>
                    <a:pt x="0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648" name="Gráfico 14">
              <a:extLst>
                <a:ext uri="{FF2B5EF4-FFF2-40B4-BE49-F238E27FC236}">
                  <a16:creationId xmlns:a16="http://schemas.microsoft.com/office/drawing/2014/main" id="{5136DBD5-BC9F-CF58-976F-BBA39A4003AB}"/>
                </a:ext>
              </a:extLst>
            </p:cNvPr>
            <p:cNvGrpSpPr/>
            <p:nvPr/>
          </p:nvGrpSpPr>
          <p:grpSpPr>
            <a:xfrm>
              <a:off x="7778151" y="3289069"/>
              <a:ext cx="40766" cy="88000"/>
              <a:chOff x="7778151" y="3289069"/>
              <a:chExt cx="40766" cy="88000"/>
            </a:xfrm>
          </p:grpSpPr>
          <p:sp>
            <p:nvSpPr>
              <p:cNvPr id="649" name="Forma livre: Forma 648">
                <a:extLst>
                  <a:ext uri="{FF2B5EF4-FFF2-40B4-BE49-F238E27FC236}">
                    <a16:creationId xmlns:a16="http://schemas.microsoft.com/office/drawing/2014/main" id="{210C6658-48C6-DACD-B77B-F5CBD90D82FB}"/>
                  </a:ext>
                </a:extLst>
              </p:cNvPr>
              <p:cNvSpPr/>
              <p:nvPr/>
            </p:nvSpPr>
            <p:spPr>
              <a:xfrm>
                <a:off x="7798606" y="3289069"/>
                <a:ext cx="4790" cy="88000"/>
              </a:xfrm>
              <a:custGeom>
                <a:avLst/>
                <a:gdLst>
                  <a:gd name="connsiteX0" fmla="*/ 0 w 4790"/>
                  <a:gd name="connsiteY0" fmla="*/ 0 h 88000"/>
                  <a:gd name="connsiteX1" fmla="*/ 0 w 4790"/>
                  <a:gd name="connsiteY1" fmla="*/ 88001 h 88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90" h="88000">
                    <a:moveTo>
                      <a:pt x="0" y="0"/>
                    </a:moveTo>
                    <a:lnTo>
                      <a:pt x="0" y="88001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650" name="Gráfico 14">
                <a:extLst>
                  <a:ext uri="{FF2B5EF4-FFF2-40B4-BE49-F238E27FC236}">
                    <a16:creationId xmlns:a16="http://schemas.microsoft.com/office/drawing/2014/main" id="{81A62649-2387-E1F2-AC5B-4EB31268A6D1}"/>
                  </a:ext>
                </a:extLst>
              </p:cNvPr>
              <p:cNvGrpSpPr/>
              <p:nvPr/>
            </p:nvGrpSpPr>
            <p:grpSpPr>
              <a:xfrm>
                <a:off x="7778151" y="3293812"/>
                <a:ext cx="40766" cy="78515"/>
                <a:chOff x="7778151" y="3293812"/>
                <a:chExt cx="40766" cy="78515"/>
              </a:xfrm>
            </p:grpSpPr>
            <p:grpSp>
              <p:nvGrpSpPr>
                <p:cNvPr id="651" name="Gráfico 14">
                  <a:extLst>
                    <a:ext uri="{FF2B5EF4-FFF2-40B4-BE49-F238E27FC236}">
                      <a16:creationId xmlns:a16="http://schemas.microsoft.com/office/drawing/2014/main" id="{CD423B56-CA35-C7FF-1F47-A337AF17D77C}"/>
                    </a:ext>
                  </a:extLst>
                </p:cNvPr>
                <p:cNvGrpSpPr/>
                <p:nvPr/>
              </p:nvGrpSpPr>
              <p:grpSpPr>
                <a:xfrm>
                  <a:off x="7778151" y="3293812"/>
                  <a:ext cx="40766" cy="20119"/>
                  <a:chOff x="7778151" y="3293812"/>
                  <a:chExt cx="40766" cy="20119"/>
                </a:xfrm>
              </p:grpSpPr>
              <p:sp>
                <p:nvSpPr>
                  <p:cNvPr id="652" name="Forma livre: Forma 651">
                    <a:extLst>
                      <a:ext uri="{FF2B5EF4-FFF2-40B4-BE49-F238E27FC236}">
                        <a16:creationId xmlns:a16="http://schemas.microsoft.com/office/drawing/2014/main" id="{50E269AE-4474-4AF6-89A9-89C2C6AED131}"/>
                      </a:ext>
                    </a:extLst>
                  </p:cNvPr>
                  <p:cNvSpPr/>
                  <p:nvPr/>
                </p:nvSpPr>
                <p:spPr>
                  <a:xfrm>
                    <a:off x="7778151" y="3293812"/>
                    <a:ext cx="20119" cy="20119"/>
                  </a:xfrm>
                  <a:custGeom>
                    <a:avLst/>
                    <a:gdLst>
                      <a:gd name="connsiteX0" fmla="*/ 20120 w 20119"/>
                      <a:gd name="connsiteY0" fmla="*/ 20120 h 20119"/>
                      <a:gd name="connsiteX1" fmla="*/ 0 w 20119"/>
                      <a:gd name="connsiteY1" fmla="*/ 0 h 2011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20119" h="20119">
                        <a:moveTo>
                          <a:pt x="20120" y="20120"/>
                        </a:moveTo>
                        <a:lnTo>
                          <a:pt x="0" y="0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653" name="Forma livre: Forma 652">
                    <a:extLst>
                      <a:ext uri="{FF2B5EF4-FFF2-40B4-BE49-F238E27FC236}">
                        <a16:creationId xmlns:a16="http://schemas.microsoft.com/office/drawing/2014/main" id="{C2F5B121-5134-2201-F651-00564F6BE179}"/>
                      </a:ext>
                    </a:extLst>
                  </p:cNvPr>
                  <p:cNvSpPr/>
                  <p:nvPr/>
                </p:nvSpPr>
                <p:spPr>
                  <a:xfrm>
                    <a:off x="7798798" y="3293812"/>
                    <a:ext cx="20119" cy="20119"/>
                  </a:xfrm>
                  <a:custGeom>
                    <a:avLst/>
                    <a:gdLst>
                      <a:gd name="connsiteX0" fmla="*/ 0 w 20119"/>
                      <a:gd name="connsiteY0" fmla="*/ 20120 h 20119"/>
                      <a:gd name="connsiteX1" fmla="*/ 20120 w 20119"/>
                      <a:gd name="connsiteY1" fmla="*/ 0 h 2011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20119" h="20119">
                        <a:moveTo>
                          <a:pt x="0" y="20120"/>
                        </a:moveTo>
                        <a:lnTo>
                          <a:pt x="20120" y="0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  <p:grpSp>
              <p:nvGrpSpPr>
                <p:cNvPr id="654" name="Gráfico 14">
                  <a:extLst>
                    <a:ext uri="{FF2B5EF4-FFF2-40B4-BE49-F238E27FC236}">
                      <a16:creationId xmlns:a16="http://schemas.microsoft.com/office/drawing/2014/main" id="{8AC12EC7-058D-6283-B37E-71072A2D8EF2}"/>
                    </a:ext>
                  </a:extLst>
                </p:cNvPr>
                <p:cNvGrpSpPr/>
                <p:nvPr/>
              </p:nvGrpSpPr>
              <p:grpSpPr>
                <a:xfrm>
                  <a:off x="7778151" y="3352207"/>
                  <a:ext cx="40766" cy="20119"/>
                  <a:chOff x="7778151" y="3352207"/>
                  <a:chExt cx="40766" cy="20119"/>
                </a:xfrm>
              </p:grpSpPr>
              <p:sp>
                <p:nvSpPr>
                  <p:cNvPr id="655" name="Forma livre: Forma 654">
                    <a:extLst>
                      <a:ext uri="{FF2B5EF4-FFF2-40B4-BE49-F238E27FC236}">
                        <a16:creationId xmlns:a16="http://schemas.microsoft.com/office/drawing/2014/main" id="{551AAEF2-5E13-A982-4A12-E5A0D5E96A6A}"/>
                      </a:ext>
                    </a:extLst>
                  </p:cNvPr>
                  <p:cNvSpPr/>
                  <p:nvPr/>
                </p:nvSpPr>
                <p:spPr>
                  <a:xfrm>
                    <a:off x="7778151" y="3352207"/>
                    <a:ext cx="20119" cy="20119"/>
                  </a:xfrm>
                  <a:custGeom>
                    <a:avLst/>
                    <a:gdLst>
                      <a:gd name="connsiteX0" fmla="*/ 20120 w 20119"/>
                      <a:gd name="connsiteY0" fmla="*/ 0 h 20119"/>
                      <a:gd name="connsiteX1" fmla="*/ 0 w 20119"/>
                      <a:gd name="connsiteY1" fmla="*/ 20120 h 2011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20119" h="20119">
                        <a:moveTo>
                          <a:pt x="20120" y="0"/>
                        </a:moveTo>
                        <a:lnTo>
                          <a:pt x="0" y="20120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656" name="Forma livre: Forma 655">
                    <a:extLst>
                      <a:ext uri="{FF2B5EF4-FFF2-40B4-BE49-F238E27FC236}">
                        <a16:creationId xmlns:a16="http://schemas.microsoft.com/office/drawing/2014/main" id="{E04ED066-11B2-F51A-4EE4-FCB3B6CB557C}"/>
                      </a:ext>
                    </a:extLst>
                  </p:cNvPr>
                  <p:cNvSpPr/>
                  <p:nvPr/>
                </p:nvSpPr>
                <p:spPr>
                  <a:xfrm>
                    <a:off x="7798798" y="3352207"/>
                    <a:ext cx="20119" cy="20119"/>
                  </a:xfrm>
                  <a:custGeom>
                    <a:avLst/>
                    <a:gdLst>
                      <a:gd name="connsiteX0" fmla="*/ 0 w 20119"/>
                      <a:gd name="connsiteY0" fmla="*/ 0 h 20119"/>
                      <a:gd name="connsiteX1" fmla="*/ 20120 w 20119"/>
                      <a:gd name="connsiteY1" fmla="*/ 20120 h 2011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20119" h="20119">
                        <a:moveTo>
                          <a:pt x="0" y="0"/>
                        </a:moveTo>
                        <a:lnTo>
                          <a:pt x="20120" y="20120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</p:grpSp>
        </p:grpSp>
        <p:grpSp>
          <p:nvGrpSpPr>
            <p:cNvPr id="657" name="Gráfico 14">
              <a:extLst>
                <a:ext uri="{FF2B5EF4-FFF2-40B4-BE49-F238E27FC236}">
                  <a16:creationId xmlns:a16="http://schemas.microsoft.com/office/drawing/2014/main" id="{DA59D247-B292-F064-4D53-0972BF454910}"/>
                </a:ext>
              </a:extLst>
            </p:cNvPr>
            <p:cNvGrpSpPr/>
            <p:nvPr/>
          </p:nvGrpSpPr>
          <p:grpSpPr>
            <a:xfrm>
              <a:off x="7754534" y="3312686"/>
              <a:ext cx="88000" cy="40766"/>
              <a:chOff x="7754534" y="3312686"/>
              <a:chExt cx="88000" cy="40766"/>
            </a:xfrm>
          </p:grpSpPr>
          <p:sp>
            <p:nvSpPr>
              <p:cNvPr id="658" name="Forma livre: Forma 657">
                <a:extLst>
                  <a:ext uri="{FF2B5EF4-FFF2-40B4-BE49-F238E27FC236}">
                    <a16:creationId xmlns:a16="http://schemas.microsoft.com/office/drawing/2014/main" id="{FD8BCAD9-6A7F-507B-42E1-244B9D4C7FDC}"/>
                  </a:ext>
                </a:extLst>
              </p:cNvPr>
              <p:cNvSpPr/>
              <p:nvPr/>
            </p:nvSpPr>
            <p:spPr>
              <a:xfrm>
                <a:off x="7754534" y="3333093"/>
                <a:ext cx="88000" cy="4790"/>
              </a:xfrm>
              <a:custGeom>
                <a:avLst/>
                <a:gdLst>
                  <a:gd name="connsiteX0" fmla="*/ 88001 w 88000"/>
                  <a:gd name="connsiteY0" fmla="*/ 0 h 4790"/>
                  <a:gd name="connsiteX1" fmla="*/ 0 w 88000"/>
                  <a:gd name="connsiteY1" fmla="*/ 0 h 47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88000" h="4790">
                    <a:moveTo>
                      <a:pt x="88001" y="0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659" name="Gráfico 14">
                <a:extLst>
                  <a:ext uri="{FF2B5EF4-FFF2-40B4-BE49-F238E27FC236}">
                    <a16:creationId xmlns:a16="http://schemas.microsoft.com/office/drawing/2014/main" id="{89D4BE8F-7CBC-5E70-EADD-A2772739851E}"/>
                  </a:ext>
                </a:extLst>
              </p:cNvPr>
              <p:cNvGrpSpPr/>
              <p:nvPr/>
            </p:nvGrpSpPr>
            <p:grpSpPr>
              <a:xfrm>
                <a:off x="7759276" y="3312686"/>
                <a:ext cx="78515" cy="40766"/>
                <a:chOff x="7759276" y="3312686"/>
                <a:chExt cx="78515" cy="40766"/>
              </a:xfrm>
            </p:grpSpPr>
            <p:grpSp>
              <p:nvGrpSpPr>
                <p:cNvPr id="660" name="Gráfico 14">
                  <a:extLst>
                    <a:ext uri="{FF2B5EF4-FFF2-40B4-BE49-F238E27FC236}">
                      <a16:creationId xmlns:a16="http://schemas.microsoft.com/office/drawing/2014/main" id="{B48EC3B1-841D-6802-7F3B-DBC3AA72C1C8}"/>
                    </a:ext>
                  </a:extLst>
                </p:cNvPr>
                <p:cNvGrpSpPr/>
                <p:nvPr/>
              </p:nvGrpSpPr>
              <p:grpSpPr>
                <a:xfrm>
                  <a:off x="7817672" y="3312686"/>
                  <a:ext cx="20119" cy="40766"/>
                  <a:chOff x="7817672" y="3312686"/>
                  <a:chExt cx="20119" cy="40766"/>
                </a:xfrm>
              </p:grpSpPr>
              <p:sp>
                <p:nvSpPr>
                  <p:cNvPr id="661" name="Forma livre: Forma 660">
                    <a:extLst>
                      <a:ext uri="{FF2B5EF4-FFF2-40B4-BE49-F238E27FC236}">
                        <a16:creationId xmlns:a16="http://schemas.microsoft.com/office/drawing/2014/main" id="{0BC2D57B-5C0D-38BC-C42B-37CFAB081235}"/>
                      </a:ext>
                    </a:extLst>
                  </p:cNvPr>
                  <p:cNvSpPr/>
                  <p:nvPr/>
                </p:nvSpPr>
                <p:spPr>
                  <a:xfrm>
                    <a:off x="7817672" y="3312686"/>
                    <a:ext cx="20119" cy="20072"/>
                  </a:xfrm>
                  <a:custGeom>
                    <a:avLst/>
                    <a:gdLst>
                      <a:gd name="connsiteX0" fmla="*/ 0 w 20119"/>
                      <a:gd name="connsiteY0" fmla="*/ 20072 h 20072"/>
                      <a:gd name="connsiteX1" fmla="*/ 20120 w 20119"/>
                      <a:gd name="connsiteY1" fmla="*/ 0 h 2007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20119" h="20072">
                        <a:moveTo>
                          <a:pt x="0" y="20072"/>
                        </a:moveTo>
                        <a:lnTo>
                          <a:pt x="20120" y="0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662" name="Forma livre: Forma 661">
                    <a:extLst>
                      <a:ext uri="{FF2B5EF4-FFF2-40B4-BE49-F238E27FC236}">
                        <a16:creationId xmlns:a16="http://schemas.microsoft.com/office/drawing/2014/main" id="{CF4DF1DA-A76B-D5F8-9F31-85D9429F57A9}"/>
                      </a:ext>
                    </a:extLst>
                  </p:cNvPr>
                  <p:cNvSpPr/>
                  <p:nvPr/>
                </p:nvSpPr>
                <p:spPr>
                  <a:xfrm>
                    <a:off x="7817672" y="3333333"/>
                    <a:ext cx="20119" cy="20119"/>
                  </a:xfrm>
                  <a:custGeom>
                    <a:avLst/>
                    <a:gdLst>
                      <a:gd name="connsiteX0" fmla="*/ 0 w 20119"/>
                      <a:gd name="connsiteY0" fmla="*/ 0 h 20119"/>
                      <a:gd name="connsiteX1" fmla="*/ 20120 w 20119"/>
                      <a:gd name="connsiteY1" fmla="*/ 20120 h 2011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20119" h="20119">
                        <a:moveTo>
                          <a:pt x="0" y="0"/>
                        </a:moveTo>
                        <a:lnTo>
                          <a:pt x="20120" y="20120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  <p:grpSp>
              <p:nvGrpSpPr>
                <p:cNvPr id="663" name="Gráfico 14">
                  <a:extLst>
                    <a:ext uri="{FF2B5EF4-FFF2-40B4-BE49-F238E27FC236}">
                      <a16:creationId xmlns:a16="http://schemas.microsoft.com/office/drawing/2014/main" id="{9FDF8558-9323-2621-21FC-4BCA4B4D4A96}"/>
                    </a:ext>
                  </a:extLst>
                </p:cNvPr>
                <p:cNvGrpSpPr/>
                <p:nvPr/>
              </p:nvGrpSpPr>
              <p:grpSpPr>
                <a:xfrm>
                  <a:off x="7759276" y="3312686"/>
                  <a:ext cx="20119" cy="40766"/>
                  <a:chOff x="7759276" y="3312686"/>
                  <a:chExt cx="20119" cy="40766"/>
                </a:xfrm>
              </p:grpSpPr>
              <p:sp>
                <p:nvSpPr>
                  <p:cNvPr id="664" name="Forma livre: Forma 663">
                    <a:extLst>
                      <a:ext uri="{FF2B5EF4-FFF2-40B4-BE49-F238E27FC236}">
                        <a16:creationId xmlns:a16="http://schemas.microsoft.com/office/drawing/2014/main" id="{C57CDC8E-368B-381F-4A47-46872281F872}"/>
                      </a:ext>
                    </a:extLst>
                  </p:cNvPr>
                  <p:cNvSpPr/>
                  <p:nvPr/>
                </p:nvSpPr>
                <p:spPr>
                  <a:xfrm>
                    <a:off x="7759276" y="3312686"/>
                    <a:ext cx="20119" cy="20072"/>
                  </a:xfrm>
                  <a:custGeom>
                    <a:avLst/>
                    <a:gdLst>
                      <a:gd name="connsiteX0" fmla="*/ 20120 w 20119"/>
                      <a:gd name="connsiteY0" fmla="*/ 20072 h 20072"/>
                      <a:gd name="connsiteX1" fmla="*/ 0 w 20119"/>
                      <a:gd name="connsiteY1" fmla="*/ 0 h 2007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20119" h="20072">
                        <a:moveTo>
                          <a:pt x="20120" y="20072"/>
                        </a:moveTo>
                        <a:lnTo>
                          <a:pt x="0" y="0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665" name="Forma livre: Forma 664">
                    <a:extLst>
                      <a:ext uri="{FF2B5EF4-FFF2-40B4-BE49-F238E27FC236}">
                        <a16:creationId xmlns:a16="http://schemas.microsoft.com/office/drawing/2014/main" id="{DF8404CB-F285-AF56-DC95-76C724DD7883}"/>
                      </a:ext>
                    </a:extLst>
                  </p:cNvPr>
                  <p:cNvSpPr/>
                  <p:nvPr/>
                </p:nvSpPr>
                <p:spPr>
                  <a:xfrm>
                    <a:off x="7759276" y="3333333"/>
                    <a:ext cx="20119" cy="20119"/>
                  </a:xfrm>
                  <a:custGeom>
                    <a:avLst/>
                    <a:gdLst>
                      <a:gd name="connsiteX0" fmla="*/ 20120 w 20119"/>
                      <a:gd name="connsiteY0" fmla="*/ 0 h 20119"/>
                      <a:gd name="connsiteX1" fmla="*/ 0 w 20119"/>
                      <a:gd name="connsiteY1" fmla="*/ 20120 h 2011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20119" h="20119">
                        <a:moveTo>
                          <a:pt x="20120" y="0"/>
                        </a:moveTo>
                        <a:lnTo>
                          <a:pt x="0" y="20120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</p:grpSp>
        </p:grpSp>
      </p:grpSp>
      <p:grpSp>
        <p:nvGrpSpPr>
          <p:cNvPr id="666" name="Gráfico 14">
            <a:extLst>
              <a:ext uri="{FF2B5EF4-FFF2-40B4-BE49-F238E27FC236}">
                <a16:creationId xmlns:a16="http://schemas.microsoft.com/office/drawing/2014/main" id="{3E2BA5C2-1D47-DF6D-DF1C-ACCCBA1303C9}"/>
              </a:ext>
            </a:extLst>
          </p:cNvPr>
          <p:cNvGrpSpPr/>
          <p:nvPr/>
        </p:nvGrpSpPr>
        <p:grpSpPr>
          <a:xfrm>
            <a:off x="7028875" y="3110136"/>
            <a:ext cx="294325" cy="310974"/>
            <a:chOff x="7028875" y="3110136"/>
            <a:chExt cx="294325" cy="310974"/>
          </a:xfrm>
        </p:grpSpPr>
        <p:sp>
          <p:nvSpPr>
            <p:cNvPr id="667" name="Forma livre: Forma 666">
              <a:extLst>
                <a:ext uri="{FF2B5EF4-FFF2-40B4-BE49-F238E27FC236}">
                  <a16:creationId xmlns:a16="http://schemas.microsoft.com/office/drawing/2014/main" id="{58F68081-5700-42A1-B56C-24144B6C9729}"/>
                </a:ext>
              </a:extLst>
            </p:cNvPr>
            <p:cNvSpPr/>
            <p:nvPr/>
          </p:nvSpPr>
          <p:spPr>
            <a:xfrm>
              <a:off x="7183942" y="3110136"/>
              <a:ext cx="34875" cy="78620"/>
            </a:xfrm>
            <a:custGeom>
              <a:avLst/>
              <a:gdLst>
                <a:gd name="connsiteX0" fmla="*/ 0 w 34875"/>
                <a:gd name="connsiteY0" fmla="*/ 74501 h 78620"/>
                <a:gd name="connsiteX1" fmla="*/ 4168 w 34875"/>
                <a:gd name="connsiteY1" fmla="*/ 12368 h 78620"/>
                <a:gd name="connsiteX2" fmla="*/ 19353 w 34875"/>
                <a:gd name="connsiteY2" fmla="*/ 153 h 78620"/>
                <a:gd name="connsiteX3" fmla="*/ 23282 w 34875"/>
                <a:gd name="connsiteY3" fmla="*/ 728 h 78620"/>
                <a:gd name="connsiteX4" fmla="*/ 34587 w 34875"/>
                <a:gd name="connsiteY4" fmla="*/ 16919 h 78620"/>
                <a:gd name="connsiteX5" fmla="*/ 21892 w 34875"/>
                <a:gd name="connsiteY5" fmla="*/ 78621 h 786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4875" h="78620">
                  <a:moveTo>
                    <a:pt x="0" y="74501"/>
                  </a:moveTo>
                  <a:lnTo>
                    <a:pt x="4168" y="12368"/>
                  </a:lnTo>
                  <a:cubicBezTo>
                    <a:pt x="4695" y="4464"/>
                    <a:pt x="11545" y="-997"/>
                    <a:pt x="19353" y="153"/>
                  </a:cubicBezTo>
                  <a:lnTo>
                    <a:pt x="23282" y="728"/>
                  </a:lnTo>
                  <a:cubicBezTo>
                    <a:pt x="31090" y="1877"/>
                    <a:pt x="36168" y="9207"/>
                    <a:pt x="34587" y="16919"/>
                  </a:cubicBezTo>
                  <a:lnTo>
                    <a:pt x="21892" y="78621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68" name="Forma livre: Forma 667">
              <a:extLst>
                <a:ext uri="{FF2B5EF4-FFF2-40B4-BE49-F238E27FC236}">
                  <a16:creationId xmlns:a16="http://schemas.microsoft.com/office/drawing/2014/main" id="{0BE08EAE-D4FA-E3F9-0D1C-B87FC34E4E20}"/>
                </a:ext>
              </a:extLst>
            </p:cNvPr>
            <p:cNvSpPr/>
            <p:nvPr/>
          </p:nvSpPr>
          <p:spPr>
            <a:xfrm>
              <a:off x="7059247" y="3125954"/>
              <a:ext cx="115354" cy="58347"/>
            </a:xfrm>
            <a:custGeom>
              <a:avLst/>
              <a:gdLst>
                <a:gd name="connsiteX0" fmla="*/ 115354 w 115354"/>
                <a:gd name="connsiteY0" fmla="*/ 58348 h 58347"/>
                <a:gd name="connsiteX1" fmla="*/ 63809 w 115354"/>
                <a:gd name="connsiteY1" fmla="*/ 13892 h 58347"/>
                <a:gd name="connsiteX2" fmla="*/ 0 w 115354"/>
                <a:gd name="connsiteY2" fmla="*/ 0 h 583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15354" h="58347">
                  <a:moveTo>
                    <a:pt x="115354" y="58348"/>
                  </a:moveTo>
                  <a:cubicBezTo>
                    <a:pt x="115354" y="58348"/>
                    <a:pt x="101031" y="3880"/>
                    <a:pt x="63809" y="13892"/>
                  </a:cubicBezTo>
                  <a:cubicBezTo>
                    <a:pt x="35354" y="21557"/>
                    <a:pt x="18587" y="23952"/>
                    <a:pt x="0" y="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69" name="Forma livre: Forma 668">
              <a:extLst>
                <a:ext uri="{FF2B5EF4-FFF2-40B4-BE49-F238E27FC236}">
                  <a16:creationId xmlns:a16="http://schemas.microsoft.com/office/drawing/2014/main" id="{0E15682C-1EFA-7B97-163F-5B3736091A71}"/>
                </a:ext>
              </a:extLst>
            </p:cNvPr>
            <p:cNvSpPr/>
            <p:nvPr/>
          </p:nvSpPr>
          <p:spPr>
            <a:xfrm>
              <a:off x="7118025" y="3185481"/>
              <a:ext cx="129053" cy="95827"/>
            </a:xfrm>
            <a:custGeom>
              <a:avLst/>
              <a:gdLst>
                <a:gd name="connsiteX0" fmla="*/ 122013 w 129053"/>
                <a:gd name="connsiteY0" fmla="*/ 93576 h 95827"/>
                <a:gd name="connsiteX1" fmla="*/ 128145 w 129053"/>
                <a:gd name="connsiteY1" fmla="*/ 62054 h 95827"/>
                <a:gd name="connsiteX2" fmla="*/ 85941 w 129053"/>
                <a:gd name="connsiteY2" fmla="*/ 4329 h 95827"/>
                <a:gd name="connsiteX3" fmla="*/ 61797 w 129053"/>
                <a:gd name="connsiteY3" fmla="*/ 593 h 95827"/>
                <a:gd name="connsiteX4" fmla="*/ 4072 w 129053"/>
                <a:gd name="connsiteY4" fmla="*/ 42797 h 95827"/>
                <a:gd name="connsiteX5" fmla="*/ 0 w 129053"/>
                <a:gd name="connsiteY5" fmla="*/ 95827 h 958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29053" h="95827">
                  <a:moveTo>
                    <a:pt x="122013" y="93576"/>
                  </a:moveTo>
                  <a:lnTo>
                    <a:pt x="128145" y="62054"/>
                  </a:lnTo>
                  <a:cubicBezTo>
                    <a:pt x="133654" y="33264"/>
                    <a:pt x="113438" y="8593"/>
                    <a:pt x="85941" y="4329"/>
                  </a:cubicBezTo>
                  <a:lnTo>
                    <a:pt x="61797" y="593"/>
                  </a:lnTo>
                  <a:cubicBezTo>
                    <a:pt x="34300" y="-3671"/>
                    <a:pt x="7329" y="15539"/>
                    <a:pt x="4072" y="42797"/>
                  </a:cubicBezTo>
                  <a:lnTo>
                    <a:pt x="0" y="95827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70" name="Forma livre: Forma 669">
              <a:extLst>
                <a:ext uri="{FF2B5EF4-FFF2-40B4-BE49-F238E27FC236}">
                  <a16:creationId xmlns:a16="http://schemas.microsoft.com/office/drawing/2014/main" id="{1A980E92-1841-7651-406A-1E91E3A307AA}"/>
                </a:ext>
              </a:extLst>
            </p:cNvPr>
            <p:cNvSpPr/>
            <p:nvPr/>
          </p:nvSpPr>
          <p:spPr>
            <a:xfrm>
              <a:off x="7028875" y="3358754"/>
              <a:ext cx="123737" cy="62356"/>
            </a:xfrm>
            <a:custGeom>
              <a:avLst/>
              <a:gdLst>
                <a:gd name="connsiteX0" fmla="*/ 0 w 123737"/>
                <a:gd name="connsiteY0" fmla="*/ 3657 h 62356"/>
                <a:gd name="connsiteX1" fmla="*/ 100695 w 123737"/>
                <a:gd name="connsiteY1" fmla="*/ 61670 h 62356"/>
                <a:gd name="connsiteX2" fmla="*/ 123642 w 123737"/>
                <a:gd name="connsiteY2" fmla="*/ 30867 h 62356"/>
                <a:gd name="connsiteX3" fmla="*/ 123738 w 123737"/>
                <a:gd name="connsiteY3" fmla="*/ 28184 h 62356"/>
                <a:gd name="connsiteX4" fmla="*/ 100935 w 123737"/>
                <a:gd name="connsiteY4" fmla="*/ 687 h 62356"/>
                <a:gd name="connsiteX5" fmla="*/ 240 w 123737"/>
                <a:gd name="connsiteY5" fmla="*/ 58700 h 623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23737" h="62356">
                  <a:moveTo>
                    <a:pt x="0" y="3657"/>
                  </a:moveTo>
                  <a:cubicBezTo>
                    <a:pt x="0" y="3657"/>
                    <a:pt x="48815" y="69766"/>
                    <a:pt x="100695" y="61670"/>
                  </a:cubicBezTo>
                  <a:cubicBezTo>
                    <a:pt x="100695" y="61670"/>
                    <a:pt x="123211" y="60712"/>
                    <a:pt x="123642" y="30867"/>
                  </a:cubicBezTo>
                  <a:lnTo>
                    <a:pt x="123738" y="28184"/>
                  </a:lnTo>
                  <a:cubicBezTo>
                    <a:pt x="121773" y="1549"/>
                    <a:pt x="100935" y="687"/>
                    <a:pt x="100935" y="687"/>
                  </a:cubicBezTo>
                  <a:cubicBezTo>
                    <a:pt x="49054" y="-7409"/>
                    <a:pt x="240" y="58700"/>
                    <a:pt x="240" y="58700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71" name="Forma livre: Forma 670">
              <a:extLst>
                <a:ext uri="{FF2B5EF4-FFF2-40B4-BE49-F238E27FC236}">
                  <a16:creationId xmlns:a16="http://schemas.microsoft.com/office/drawing/2014/main" id="{C82E1B56-0BC1-9669-9B69-357513B9755B}"/>
                </a:ext>
              </a:extLst>
            </p:cNvPr>
            <p:cNvSpPr/>
            <p:nvPr/>
          </p:nvSpPr>
          <p:spPr>
            <a:xfrm>
              <a:off x="7199463" y="3337724"/>
              <a:ext cx="123737" cy="62357"/>
            </a:xfrm>
            <a:custGeom>
              <a:avLst/>
              <a:gdLst>
                <a:gd name="connsiteX0" fmla="*/ 123738 w 123737"/>
                <a:gd name="connsiteY0" fmla="*/ 3657 h 62357"/>
                <a:gd name="connsiteX1" fmla="*/ 23042 w 123737"/>
                <a:gd name="connsiteY1" fmla="*/ 61670 h 62357"/>
                <a:gd name="connsiteX2" fmla="*/ 96 w 123737"/>
                <a:gd name="connsiteY2" fmla="*/ 30867 h 62357"/>
                <a:gd name="connsiteX3" fmla="*/ 0 w 123737"/>
                <a:gd name="connsiteY3" fmla="*/ 28184 h 62357"/>
                <a:gd name="connsiteX4" fmla="*/ 22803 w 123737"/>
                <a:gd name="connsiteY4" fmla="*/ 687 h 62357"/>
                <a:gd name="connsiteX5" fmla="*/ 123498 w 123737"/>
                <a:gd name="connsiteY5" fmla="*/ 58700 h 62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23737" h="62357">
                  <a:moveTo>
                    <a:pt x="123738" y="3657"/>
                  </a:moveTo>
                  <a:cubicBezTo>
                    <a:pt x="123738" y="3657"/>
                    <a:pt x="74923" y="69766"/>
                    <a:pt x="23042" y="61670"/>
                  </a:cubicBezTo>
                  <a:cubicBezTo>
                    <a:pt x="23042" y="61670"/>
                    <a:pt x="527" y="60712"/>
                    <a:pt x="96" y="30867"/>
                  </a:cubicBezTo>
                  <a:lnTo>
                    <a:pt x="0" y="28184"/>
                  </a:lnTo>
                  <a:cubicBezTo>
                    <a:pt x="1964" y="1549"/>
                    <a:pt x="22803" y="687"/>
                    <a:pt x="22803" y="687"/>
                  </a:cubicBezTo>
                  <a:cubicBezTo>
                    <a:pt x="74683" y="-7409"/>
                    <a:pt x="123498" y="58700"/>
                    <a:pt x="123498" y="58700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72" name="Forma livre: Forma 671">
              <a:extLst>
                <a:ext uri="{FF2B5EF4-FFF2-40B4-BE49-F238E27FC236}">
                  <a16:creationId xmlns:a16="http://schemas.microsoft.com/office/drawing/2014/main" id="{88547834-0F35-598C-70C9-0711AD1B6741}"/>
                </a:ext>
              </a:extLst>
            </p:cNvPr>
            <p:cNvSpPr/>
            <p:nvPr/>
          </p:nvSpPr>
          <p:spPr>
            <a:xfrm>
              <a:off x="7123055" y="3227799"/>
              <a:ext cx="122635" cy="18778"/>
            </a:xfrm>
            <a:custGeom>
              <a:avLst/>
              <a:gdLst>
                <a:gd name="connsiteX0" fmla="*/ 0 w 122635"/>
                <a:gd name="connsiteY0" fmla="*/ 0 h 18778"/>
                <a:gd name="connsiteX1" fmla="*/ 122636 w 122635"/>
                <a:gd name="connsiteY1" fmla="*/ 18779 h 187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2635" h="18778">
                  <a:moveTo>
                    <a:pt x="0" y="0"/>
                  </a:moveTo>
                  <a:lnTo>
                    <a:pt x="122636" y="18779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673" name="Gráfico 14">
              <a:extLst>
                <a:ext uri="{FF2B5EF4-FFF2-40B4-BE49-F238E27FC236}">
                  <a16:creationId xmlns:a16="http://schemas.microsoft.com/office/drawing/2014/main" id="{2412AD33-927D-B26D-2C79-7CE1C3F5A589}"/>
                </a:ext>
              </a:extLst>
            </p:cNvPr>
            <p:cNvGrpSpPr/>
            <p:nvPr/>
          </p:nvGrpSpPr>
          <p:grpSpPr>
            <a:xfrm>
              <a:off x="7035773" y="3280063"/>
              <a:ext cx="281247" cy="23185"/>
              <a:chOff x="7035773" y="3280063"/>
              <a:chExt cx="281247" cy="23185"/>
            </a:xfrm>
            <a:noFill/>
          </p:grpSpPr>
          <p:sp>
            <p:nvSpPr>
              <p:cNvPr id="674" name="Forma livre: Forma 673">
                <a:extLst>
                  <a:ext uri="{FF2B5EF4-FFF2-40B4-BE49-F238E27FC236}">
                    <a16:creationId xmlns:a16="http://schemas.microsoft.com/office/drawing/2014/main" id="{072E4253-07CC-0A6D-D921-F7F72B4954A6}"/>
                  </a:ext>
                </a:extLst>
              </p:cNvPr>
              <p:cNvSpPr/>
              <p:nvPr/>
            </p:nvSpPr>
            <p:spPr>
              <a:xfrm>
                <a:off x="7260685" y="3280063"/>
                <a:ext cx="56335" cy="11640"/>
              </a:xfrm>
              <a:custGeom>
                <a:avLst/>
                <a:gdLst>
                  <a:gd name="connsiteX0" fmla="*/ 0 w 56335"/>
                  <a:gd name="connsiteY0" fmla="*/ 11641 h 11640"/>
                  <a:gd name="connsiteX1" fmla="*/ 28168 w 56335"/>
                  <a:gd name="connsiteY1" fmla="*/ 0 h 11640"/>
                  <a:gd name="connsiteX2" fmla="*/ 56336 w 56335"/>
                  <a:gd name="connsiteY2" fmla="*/ 11641 h 116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56335" h="11640">
                    <a:moveTo>
                      <a:pt x="0" y="11641"/>
                    </a:moveTo>
                    <a:cubicBezTo>
                      <a:pt x="6994" y="4503"/>
                      <a:pt x="17006" y="0"/>
                      <a:pt x="28168" y="0"/>
                    </a:cubicBezTo>
                    <a:cubicBezTo>
                      <a:pt x="39330" y="0"/>
                      <a:pt x="49342" y="4503"/>
                      <a:pt x="56336" y="11641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675" name="Forma livre: Forma 674">
                <a:extLst>
                  <a:ext uri="{FF2B5EF4-FFF2-40B4-BE49-F238E27FC236}">
                    <a16:creationId xmlns:a16="http://schemas.microsoft.com/office/drawing/2014/main" id="{446D0F27-95E2-E50B-2CCC-AB1B7E64BF60}"/>
                  </a:ext>
                </a:extLst>
              </p:cNvPr>
              <p:cNvSpPr/>
              <p:nvPr/>
            </p:nvSpPr>
            <p:spPr>
              <a:xfrm>
                <a:off x="7035773" y="3280063"/>
                <a:ext cx="56335" cy="11640"/>
              </a:xfrm>
              <a:custGeom>
                <a:avLst/>
                <a:gdLst>
                  <a:gd name="connsiteX0" fmla="*/ 0 w 56335"/>
                  <a:gd name="connsiteY0" fmla="*/ 11641 h 11640"/>
                  <a:gd name="connsiteX1" fmla="*/ 28168 w 56335"/>
                  <a:gd name="connsiteY1" fmla="*/ 0 h 11640"/>
                  <a:gd name="connsiteX2" fmla="*/ 56336 w 56335"/>
                  <a:gd name="connsiteY2" fmla="*/ 11641 h 116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56335" h="11640">
                    <a:moveTo>
                      <a:pt x="0" y="11641"/>
                    </a:moveTo>
                    <a:cubicBezTo>
                      <a:pt x="6994" y="4503"/>
                      <a:pt x="17006" y="0"/>
                      <a:pt x="28168" y="0"/>
                    </a:cubicBezTo>
                    <a:cubicBezTo>
                      <a:pt x="39330" y="0"/>
                      <a:pt x="49342" y="4503"/>
                      <a:pt x="56336" y="11641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676" name="Forma livre: Forma 675">
                <a:extLst>
                  <a:ext uri="{FF2B5EF4-FFF2-40B4-BE49-F238E27FC236}">
                    <a16:creationId xmlns:a16="http://schemas.microsoft.com/office/drawing/2014/main" id="{776B2543-7E72-5C71-E142-0059163957BF}"/>
                  </a:ext>
                </a:extLst>
              </p:cNvPr>
              <p:cNvSpPr/>
              <p:nvPr/>
            </p:nvSpPr>
            <p:spPr>
              <a:xfrm>
                <a:off x="7204445" y="3291608"/>
                <a:ext cx="56335" cy="11640"/>
              </a:xfrm>
              <a:custGeom>
                <a:avLst/>
                <a:gdLst>
                  <a:gd name="connsiteX0" fmla="*/ 56336 w 56335"/>
                  <a:gd name="connsiteY0" fmla="*/ 0 h 11640"/>
                  <a:gd name="connsiteX1" fmla="*/ 28168 w 56335"/>
                  <a:gd name="connsiteY1" fmla="*/ 11641 h 11640"/>
                  <a:gd name="connsiteX2" fmla="*/ 0 w 56335"/>
                  <a:gd name="connsiteY2" fmla="*/ 0 h 116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56335" h="11640">
                    <a:moveTo>
                      <a:pt x="56336" y="0"/>
                    </a:moveTo>
                    <a:cubicBezTo>
                      <a:pt x="49342" y="7138"/>
                      <a:pt x="39330" y="11641"/>
                      <a:pt x="28168" y="11641"/>
                    </a:cubicBezTo>
                    <a:cubicBezTo>
                      <a:pt x="17006" y="11641"/>
                      <a:pt x="6994" y="7138"/>
                      <a:pt x="0" y="0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677" name="Forma livre: Forma 676">
                <a:extLst>
                  <a:ext uri="{FF2B5EF4-FFF2-40B4-BE49-F238E27FC236}">
                    <a16:creationId xmlns:a16="http://schemas.microsoft.com/office/drawing/2014/main" id="{6948395E-56C9-61FB-7B78-A6396D73A2BA}"/>
                  </a:ext>
                </a:extLst>
              </p:cNvPr>
              <p:cNvSpPr/>
              <p:nvPr/>
            </p:nvSpPr>
            <p:spPr>
              <a:xfrm>
                <a:off x="7148253" y="3280063"/>
                <a:ext cx="56335" cy="11640"/>
              </a:xfrm>
              <a:custGeom>
                <a:avLst/>
                <a:gdLst>
                  <a:gd name="connsiteX0" fmla="*/ 0 w 56335"/>
                  <a:gd name="connsiteY0" fmla="*/ 11641 h 11640"/>
                  <a:gd name="connsiteX1" fmla="*/ 28168 w 56335"/>
                  <a:gd name="connsiteY1" fmla="*/ 0 h 11640"/>
                  <a:gd name="connsiteX2" fmla="*/ 56336 w 56335"/>
                  <a:gd name="connsiteY2" fmla="*/ 11641 h 116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56335" h="11640">
                    <a:moveTo>
                      <a:pt x="0" y="11641"/>
                    </a:moveTo>
                    <a:cubicBezTo>
                      <a:pt x="6994" y="4503"/>
                      <a:pt x="17006" y="0"/>
                      <a:pt x="28168" y="0"/>
                    </a:cubicBezTo>
                    <a:cubicBezTo>
                      <a:pt x="39330" y="0"/>
                      <a:pt x="49342" y="4503"/>
                      <a:pt x="56336" y="11641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678" name="Forma livre: Forma 677">
                <a:extLst>
                  <a:ext uri="{FF2B5EF4-FFF2-40B4-BE49-F238E27FC236}">
                    <a16:creationId xmlns:a16="http://schemas.microsoft.com/office/drawing/2014/main" id="{C3FB220E-4ED5-3B1C-8D07-028AAE884F3E}"/>
                  </a:ext>
                </a:extLst>
              </p:cNvPr>
              <p:cNvSpPr/>
              <p:nvPr/>
            </p:nvSpPr>
            <p:spPr>
              <a:xfrm>
                <a:off x="7091965" y="3291608"/>
                <a:ext cx="56335" cy="11640"/>
              </a:xfrm>
              <a:custGeom>
                <a:avLst/>
                <a:gdLst>
                  <a:gd name="connsiteX0" fmla="*/ 56336 w 56335"/>
                  <a:gd name="connsiteY0" fmla="*/ 0 h 11640"/>
                  <a:gd name="connsiteX1" fmla="*/ 28168 w 56335"/>
                  <a:gd name="connsiteY1" fmla="*/ 11641 h 11640"/>
                  <a:gd name="connsiteX2" fmla="*/ 0 w 56335"/>
                  <a:gd name="connsiteY2" fmla="*/ 0 h 116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56335" h="11640">
                    <a:moveTo>
                      <a:pt x="56336" y="0"/>
                    </a:moveTo>
                    <a:cubicBezTo>
                      <a:pt x="49342" y="7138"/>
                      <a:pt x="39330" y="11641"/>
                      <a:pt x="28168" y="11641"/>
                    </a:cubicBezTo>
                    <a:cubicBezTo>
                      <a:pt x="17006" y="11641"/>
                      <a:pt x="6994" y="7138"/>
                      <a:pt x="0" y="0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679" name="Forma livre: Forma 678">
              <a:extLst>
                <a:ext uri="{FF2B5EF4-FFF2-40B4-BE49-F238E27FC236}">
                  <a16:creationId xmlns:a16="http://schemas.microsoft.com/office/drawing/2014/main" id="{863CA72D-EEC7-CA22-D283-AD56C47A296C}"/>
                </a:ext>
              </a:extLst>
            </p:cNvPr>
            <p:cNvSpPr/>
            <p:nvPr/>
          </p:nvSpPr>
          <p:spPr>
            <a:xfrm>
              <a:off x="7116259" y="3385411"/>
              <a:ext cx="7461" cy="7461"/>
            </a:xfrm>
            <a:custGeom>
              <a:avLst/>
              <a:gdLst>
                <a:gd name="connsiteX0" fmla="*/ 6365 w 7461"/>
                <a:gd name="connsiteY0" fmla="*/ 6365 h 7461"/>
                <a:gd name="connsiteX1" fmla="*/ 1096 w 7461"/>
                <a:gd name="connsiteY1" fmla="*/ 6365 h 7461"/>
                <a:gd name="connsiteX2" fmla="*/ 1096 w 7461"/>
                <a:gd name="connsiteY2" fmla="*/ 1096 h 7461"/>
                <a:gd name="connsiteX3" fmla="*/ 6365 w 7461"/>
                <a:gd name="connsiteY3" fmla="*/ 1096 h 7461"/>
                <a:gd name="connsiteX4" fmla="*/ 6365 w 7461"/>
                <a:gd name="connsiteY4" fmla="*/ 6365 h 74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461" h="7461">
                  <a:moveTo>
                    <a:pt x="6365" y="6365"/>
                  </a:moveTo>
                  <a:cubicBezTo>
                    <a:pt x="4928" y="7803"/>
                    <a:pt x="2533" y="7850"/>
                    <a:pt x="1096" y="6365"/>
                  </a:cubicBezTo>
                  <a:cubicBezTo>
                    <a:pt x="-341" y="4928"/>
                    <a:pt x="-389" y="2533"/>
                    <a:pt x="1096" y="1096"/>
                  </a:cubicBezTo>
                  <a:cubicBezTo>
                    <a:pt x="2581" y="-389"/>
                    <a:pt x="4928" y="-341"/>
                    <a:pt x="6365" y="1096"/>
                  </a:cubicBezTo>
                  <a:cubicBezTo>
                    <a:pt x="7850" y="2581"/>
                    <a:pt x="7803" y="4928"/>
                    <a:pt x="6365" y="6365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80" name="Forma livre: Forma 679">
              <a:extLst>
                <a:ext uri="{FF2B5EF4-FFF2-40B4-BE49-F238E27FC236}">
                  <a16:creationId xmlns:a16="http://schemas.microsoft.com/office/drawing/2014/main" id="{EFADC1A0-F4D0-80DC-DED2-963DCD698018}"/>
                </a:ext>
              </a:extLst>
            </p:cNvPr>
            <p:cNvSpPr/>
            <p:nvPr/>
          </p:nvSpPr>
          <p:spPr>
            <a:xfrm>
              <a:off x="7228404" y="3364333"/>
              <a:ext cx="7461" cy="7461"/>
            </a:xfrm>
            <a:custGeom>
              <a:avLst/>
              <a:gdLst>
                <a:gd name="connsiteX0" fmla="*/ 6365 w 7461"/>
                <a:gd name="connsiteY0" fmla="*/ 6365 h 7461"/>
                <a:gd name="connsiteX1" fmla="*/ 1096 w 7461"/>
                <a:gd name="connsiteY1" fmla="*/ 6365 h 7461"/>
                <a:gd name="connsiteX2" fmla="*/ 1096 w 7461"/>
                <a:gd name="connsiteY2" fmla="*/ 1096 h 7461"/>
                <a:gd name="connsiteX3" fmla="*/ 6365 w 7461"/>
                <a:gd name="connsiteY3" fmla="*/ 1096 h 7461"/>
                <a:gd name="connsiteX4" fmla="*/ 6365 w 7461"/>
                <a:gd name="connsiteY4" fmla="*/ 6365 h 74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461" h="7461">
                  <a:moveTo>
                    <a:pt x="6365" y="6365"/>
                  </a:moveTo>
                  <a:cubicBezTo>
                    <a:pt x="4928" y="7803"/>
                    <a:pt x="2533" y="7850"/>
                    <a:pt x="1096" y="6365"/>
                  </a:cubicBezTo>
                  <a:cubicBezTo>
                    <a:pt x="-341" y="4880"/>
                    <a:pt x="-389" y="2533"/>
                    <a:pt x="1096" y="1096"/>
                  </a:cubicBezTo>
                  <a:cubicBezTo>
                    <a:pt x="2581" y="-389"/>
                    <a:pt x="4928" y="-341"/>
                    <a:pt x="6365" y="1096"/>
                  </a:cubicBezTo>
                  <a:cubicBezTo>
                    <a:pt x="7850" y="2581"/>
                    <a:pt x="7803" y="4928"/>
                    <a:pt x="6365" y="6365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682" name="Gráfico 15">
            <a:extLst>
              <a:ext uri="{FF2B5EF4-FFF2-40B4-BE49-F238E27FC236}">
                <a16:creationId xmlns:a16="http://schemas.microsoft.com/office/drawing/2014/main" id="{405A144F-751B-339D-2D48-E3288868BE58}"/>
              </a:ext>
            </a:extLst>
          </p:cNvPr>
          <p:cNvGrpSpPr/>
          <p:nvPr/>
        </p:nvGrpSpPr>
        <p:grpSpPr>
          <a:xfrm>
            <a:off x="8164901" y="1016139"/>
            <a:ext cx="345295" cy="230373"/>
            <a:chOff x="8164901" y="1016139"/>
            <a:chExt cx="345295" cy="230373"/>
          </a:xfrm>
          <a:noFill/>
        </p:grpSpPr>
        <p:sp>
          <p:nvSpPr>
            <p:cNvPr id="683" name="Forma livre: Forma 682">
              <a:extLst>
                <a:ext uri="{FF2B5EF4-FFF2-40B4-BE49-F238E27FC236}">
                  <a16:creationId xmlns:a16="http://schemas.microsoft.com/office/drawing/2014/main" id="{FCC0B2FA-4EF2-88CA-4EC6-A8960D760E41}"/>
                </a:ext>
              </a:extLst>
            </p:cNvPr>
            <p:cNvSpPr/>
            <p:nvPr/>
          </p:nvSpPr>
          <p:spPr>
            <a:xfrm>
              <a:off x="8180374" y="1211542"/>
              <a:ext cx="329823" cy="34970"/>
            </a:xfrm>
            <a:custGeom>
              <a:avLst/>
              <a:gdLst>
                <a:gd name="connsiteX0" fmla="*/ 308553 w 329823"/>
                <a:gd name="connsiteY0" fmla="*/ 34970 h 34970"/>
                <a:gd name="connsiteX1" fmla="*/ 308410 w 329823"/>
                <a:gd name="connsiteY1" fmla="*/ 34970 h 34970"/>
                <a:gd name="connsiteX2" fmla="*/ 288050 w 329823"/>
                <a:gd name="connsiteY2" fmla="*/ 22419 h 34970"/>
                <a:gd name="connsiteX3" fmla="*/ 287954 w 329823"/>
                <a:gd name="connsiteY3" fmla="*/ 22419 h 34970"/>
                <a:gd name="connsiteX4" fmla="*/ 267595 w 329823"/>
                <a:gd name="connsiteY4" fmla="*/ 34970 h 34970"/>
                <a:gd name="connsiteX5" fmla="*/ 267451 w 329823"/>
                <a:gd name="connsiteY5" fmla="*/ 34970 h 34970"/>
                <a:gd name="connsiteX6" fmla="*/ 247092 w 329823"/>
                <a:gd name="connsiteY6" fmla="*/ 22419 h 34970"/>
                <a:gd name="connsiteX7" fmla="*/ 246852 w 329823"/>
                <a:gd name="connsiteY7" fmla="*/ 22419 h 34970"/>
                <a:gd name="connsiteX8" fmla="*/ 226493 w 329823"/>
                <a:gd name="connsiteY8" fmla="*/ 34970 h 34970"/>
                <a:gd name="connsiteX9" fmla="*/ 226397 w 329823"/>
                <a:gd name="connsiteY9" fmla="*/ 34970 h 34970"/>
                <a:gd name="connsiteX10" fmla="*/ 205990 w 329823"/>
                <a:gd name="connsiteY10" fmla="*/ 22419 h 34970"/>
                <a:gd name="connsiteX11" fmla="*/ 205894 w 329823"/>
                <a:gd name="connsiteY11" fmla="*/ 22419 h 34970"/>
                <a:gd name="connsiteX12" fmla="*/ 185534 w 329823"/>
                <a:gd name="connsiteY12" fmla="*/ 34970 h 34970"/>
                <a:gd name="connsiteX13" fmla="*/ 185391 w 329823"/>
                <a:gd name="connsiteY13" fmla="*/ 34970 h 34970"/>
                <a:gd name="connsiteX14" fmla="*/ 165031 w 329823"/>
                <a:gd name="connsiteY14" fmla="*/ 22419 h 34970"/>
                <a:gd name="connsiteX15" fmla="*/ 164935 w 329823"/>
                <a:gd name="connsiteY15" fmla="*/ 22419 h 34970"/>
                <a:gd name="connsiteX16" fmla="*/ 144576 w 329823"/>
                <a:gd name="connsiteY16" fmla="*/ 34970 h 34970"/>
                <a:gd name="connsiteX17" fmla="*/ 144480 w 329823"/>
                <a:gd name="connsiteY17" fmla="*/ 34970 h 34970"/>
                <a:gd name="connsiteX18" fmla="*/ 124121 w 329823"/>
                <a:gd name="connsiteY18" fmla="*/ 22419 h 34970"/>
                <a:gd name="connsiteX19" fmla="*/ 123977 w 329823"/>
                <a:gd name="connsiteY19" fmla="*/ 22419 h 34970"/>
                <a:gd name="connsiteX20" fmla="*/ 103618 w 329823"/>
                <a:gd name="connsiteY20" fmla="*/ 34970 h 34970"/>
                <a:gd name="connsiteX21" fmla="*/ 103522 w 329823"/>
                <a:gd name="connsiteY21" fmla="*/ 34970 h 34970"/>
                <a:gd name="connsiteX22" fmla="*/ 83114 w 329823"/>
                <a:gd name="connsiteY22" fmla="*/ 22419 h 34970"/>
                <a:gd name="connsiteX23" fmla="*/ 82923 w 329823"/>
                <a:gd name="connsiteY23" fmla="*/ 22419 h 34970"/>
                <a:gd name="connsiteX24" fmla="*/ 62563 w 329823"/>
                <a:gd name="connsiteY24" fmla="*/ 34970 h 34970"/>
                <a:gd name="connsiteX25" fmla="*/ 62420 w 329823"/>
                <a:gd name="connsiteY25" fmla="*/ 34970 h 34970"/>
                <a:gd name="connsiteX26" fmla="*/ 42060 w 329823"/>
                <a:gd name="connsiteY26" fmla="*/ 22419 h 34970"/>
                <a:gd name="connsiteX27" fmla="*/ 41964 w 329823"/>
                <a:gd name="connsiteY27" fmla="*/ 22419 h 34970"/>
                <a:gd name="connsiteX28" fmla="*/ 21557 w 329823"/>
                <a:gd name="connsiteY28" fmla="*/ 34970 h 34970"/>
                <a:gd name="connsiteX29" fmla="*/ 21461 w 329823"/>
                <a:gd name="connsiteY29" fmla="*/ 34970 h 34970"/>
                <a:gd name="connsiteX30" fmla="*/ 0 w 329823"/>
                <a:gd name="connsiteY30" fmla="*/ 22419 h 34970"/>
                <a:gd name="connsiteX31" fmla="*/ 0 w 329823"/>
                <a:gd name="connsiteY31" fmla="*/ 0 h 34970"/>
                <a:gd name="connsiteX32" fmla="*/ 329823 w 329823"/>
                <a:gd name="connsiteY32" fmla="*/ 0 h 34970"/>
                <a:gd name="connsiteX33" fmla="*/ 329823 w 329823"/>
                <a:gd name="connsiteY33" fmla="*/ 20455 h 34970"/>
                <a:gd name="connsiteX34" fmla="*/ 308553 w 329823"/>
                <a:gd name="connsiteY34" fmla="*/ 34970 h 349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329823" h="34970">
                  <a:moveTo>
                    <a:pt x="308553" y="34970"/>
                  </a:moveTo>
                  <a:lnTo>
                    <a:pt x="308410" y="34970"/>
                  </a:lnTo>
                  <a:lnTo>
                    <a:pt x="288050" y="22419"/>
                  </a:lnTo>
                  <a:lnTo>
                    <a:pt x="287954" y="22419"/>
                  </a:lnTo>
                  <a:lnTo>
                    <a:pt x="267595" y="34970"/>
                  </a:lnTo>
                  <a:lnTo>
                    <a:pt x="267451" y="34970"/>
                  </a:lnTo>
                  <a:lnTo>
                    <a:pt x="247092" y="22419"/>
                  </a:lnTo>
                  <a:lnTo>
                    <a:pt x="246852" y="22419"/>
                  </a:lnTo>
                  <a:lnTo>
                    <a:pt x="226493" y="34970"/>
                  </a:lnTo>
                  <a:lnTo>
                    <a:pt x="226397" y="34970"/>
                  </a:lnTo>
                  <a:lnTo>
                    <a:pt x="205990" y="22419"/>
                  </a:lnTo>
                  <a:lnTo>
                    <a:pt x="205894" y="22419"/>
                  </a:lnTo>
                  <a:lnTo>
                    <a:pt x="185534" y="34970"/>
                  </a:lnTo>
                  <a:lnTo>
                    <a:pt x="185391" y="34970"/>
                  </a:lnTo>
                  <a:lnTo>
                    <a:pt x="165031" y="22419"/>
                  </a:lnTo>
                  <a:lnTo>
                    <a:pt x="164935" y="22419"/>
                  </a:lnTo>
                  <a:lnTo>
                    <a:pt x="144576" y="34970"/>
                  </a:lnTo>
                  <a:lnTo>
                    <a:pt x="144480" y="34970"/>
                  </a:lnTo>
                  <a:lnTo>
                    <a:pt x="124121" y="22419"/>
                  </a:lnTo>
                  <a:lnTo>
                    <a:pt x="123977" y="22419"/>
                  </a:lnTo>
                  <a:lnTo>
                    <a:pt x="103618" y="34970"/>
                  </a:lnTo>
                  <a:lnTo>
                    <a:pt x="103522" y="34970"/>
                  </a:lnTo>
                  <a:lnTo>
                    <a:pt x="83114" y="22419"/>
                  </a:lnTo>
                  <a:lnTo>
                    <a:pt x="82923" y="22419"/>
                  </a:lnTo>
                  <a:lnTo>
                    <a:pt x="62563" y="34970"/>
                  </a:lnTo>
                  <a:lnTo>
                    <a:pt x="62420" y="34970"/>
                  </a:lnTo>
                  <a:lnTo>
                    <a:pt x="42060" y="22419"/>
                  </a:lnTo>
                  <a:lnTo>
                    <a:pt x="41964" y="22419"/>
                  </a:lnTo>
                  <a:lnTo>
                    <a:pt x="21557" y="34970"/>
                  </a:lnTo>
                  <a:lnTo>
                    <a:pt x="21461" y="34970"/>
                  </a:lnTo>
                  <a:lnTo>
                    <a:pt x="0" y="22419"/>
                  </a:lnTo>
                  <a:lnTo>
                    <a:pt x="0" y="0"/>
                  </a:lnTo>
                  <a:lnTo>
                    <a:pt x="329823" y="0"/>
                  </a:lnTo>
                  <a:lnTo>
                    <a:pt x="329823" y="20455"/>
                  </a:lnTo>
                  <a:lnTo>
                    <a:pt x="308553" y="34970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84" name="Forma livre: Forma 683">
              <a:extLst>
                <a:ext uri="{FF2B5EF4-FFF2-40B4-BE49-F238E27FC236}">
                  <a16:creationId xmlns:a16="http://schemas.microsoft.com/office/drawing/2014/main" id="{6BDD318D-12BE-16F0-5D0A-E2FD6CF6DEDE}"/>
                </a:ext>
              </a:extLst>
            </p:cNvPr>
            <p:cNvSpPr/>
            <p:nvPr/>
          </p:nvSpPr>
          <p:spPr>
            <a:xfrm>
              <a:off x="8164901" y="1016139"/>
              <a:ext cx="123210" cy="65198"/>
            </a:xfrm>
            <a:custGeom>
              <a:avLst/>
              <a:gdLst>
                <a:gd name="connsiteX0" fmla="*/ 109126 w 123210"/>
                <a:gd name="connsiteY0" fmla="*/ 46707 h 65198"/>
                <a:gd name="connsiteX1" fmla="*/ 9197 w 123210"/>
                <a:gd name="connsiteY1" fmla="*/ 46707 h 65198"/>
                <a:gd name="connsiteX2" fmla="*/ 10826 w 123210"/>
                <a:gd name="connsiteY2" fmla="*/ 0 h 65198"/>
                <a:gd name="connsiteX3" fmla="*/ 104096 w 123210"/>
                <a:gd name="connsiteY3" fmla="*/ 0 h 65198"/>
                <a:gd name="connsiteX4" fmla="*/ 123210 w 123210"/>
                <a:gd name="connsiteY4" fmla="*/ 65198 h 651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3210" h="65198">
                  <a:moveTo>
                    <a:pt x="109126" y="46707"/>
                  </a:moveTo>
                  <a:lnTo>
                    <a:pt x="9197" y="46707"/>
                  </a:lnTo>
                  <a:cubicBezTo>
                    <a:pt x="-12408" y="18683"/>
                    <a:pt x="10826" y="0"/>
                    <a:pt x="10826" y="0"/>
                  </a:cubicBezTo>
                  <a:lnTo>
                    <a:pt x="104096" y="0"/>
                  </a:lnTo>
                  <a:cubicBezTo>
                    <a:pt x="104096" y="0"/>
                    <a:pt x="100504" y="35641"/>
                    <a:pt x="123210" y="65198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85" name="Forma livre: Forma 684">
              <a:extLst>
                <a:ext uri="{FF2B5EF4-FFF2-40B4-BE49-F238E27FC236}">
                  <a16:creationId xmlns:a16="http://schemas.microsoft.com/office/drawing/2014/main" id="{A0DC8614-921A-32EC-AD4D-C77570CF02ED}"/>
                </a:ext>
              </a:extLst>
            </p:cNvPr>
            <p:cNvSpPr/>
            <p:nvPr/>
          </p:nvSpPr>
          <p:spPr>
            <a:xfrm>
              <a:off x="8402843" y="1126895"/>
              <a:ext cx="106708" cy="61461"/>
            </a:xfrm>
            <a:custGeom>
              <a:avLst/>
              <a:gdLst>
                <a:gd name="connsiteX0" fmla="*/ 0 w 106708"/>
                <a:gd name="connsiteY0" fmla="*/ 0 h 61461"/>
                <a:gd name="connsiteX1" fmla="*/ 90971 w 106708"/>
                <a:gd name="connsiteY1" fmla="*/ 18922 h 61461"/>
                <a:gd name="connsiteX2" fmla="*/ 106061 w 106708"/>
                <a:gd name="connsiteY2" fmla="*/ 61462 h 614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06708" h="61461">
                  <a:moveTo>
                    <a:pt x="0" y="0"/>
                  </a:moveTo>
                  <a:cubicBezTo>
                    <a:pt x="0" y="0"/>
                    <a:pt x="73198" y="3401"/>
                    <a:pt x="90971" y="18922"/>
                  </a:cubicBezTo>
                  <a:cubicBezTo>
                    <a:pt x="94564" y="22515"/>
                    <a:pt x="110037" y="30563"/>
                    <a:pt x="106061" y="61462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86" name="Forma livre: Forma 685">
              <a:extLst>
                <a:ext uri="{FF2B5EF4-FFF2-40B4-BE49-F238E27FC236}">
                  <a16:creationId xmlns:a16="http://schemas.microsoft.com/office/drawing/2014/main" id="{EFDE602C-E435-2A84-1EEF-F596DE5E3594}"/>
                </a:ext>
              </a:extLst>
            </p:cNvPr>
            <p:cNvSpPr/>
            <p:nvPr/>
          </p:nvSpPr>
          <p:spPr>
            <a:xfrm>
              <a:off x="8183344" y="1104859"/>
              <a:ext cx="84743" cy="83210"/>
            </a:xfrm>
            <a:custGeom>
              <a:avLst/>
              <a:gdLst>
                <a:gd name="connsiteX0" fmla="*/ 0 w 84743"/>
                <a:gd name="connsiteY0" fmla="*/ 0 h 83210"/>
                <a:gd name="connsiteX1" fmla="*/ 84743 w 84743"/>
                <a:gd name="connsiteY1" fmla="*/ 83210 h 832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4743" h="83210">
                  <a:moveTo>
                    <a:pt x="0" y="0"/>
                  </a:moveTo>
                  <a:cubicBezTo>
                    <a:pt x="0" y="0"/>
                    <a:pt x="71617" y="26012"/>
                    <a:pt x="84743" y="83210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87" name="Forma livre: Forma 686">
              <a:extLst>
                <a:ext uri="{FF2B5EF4-FFF2-40B4-BE49-F238E27FC236}">
                  <a16:creationId xmlns:a16="http://schemas.microsoft.com/office/drawing/2014/main" id="{AFE18FCF-DE3D-013C-714B-664168D01CBA}"/>
                </a:ext>
              </a:extLst>
            </p:cNvPr>
            <p:cNvSpPr/>
            <p:nvPr/>
          </p:nvSpPr>
          <p:spPr>
            <a:xfrm>
              <a:off x="8262482" y="1016139"/>
              <a:ext cx="140935" cy="142085"/>
            </a:xfrm>
            <a:custGeom>
              <a:avLst/>
              <a:gdLst>
                <a:gd name="connsiteX0" fmla="*/ 0 w 140935"/>
                <a:gd name="connsiteY0" fmla="*/ 0 h 142085"/>
                <a:gd name="connsiteX1" fmla="*/ 48623 w 140935"/>
                <a:gd name="connsiteY1" fmla="*/ 0 h 142085"/>
                <a:gd name="connsiteX2" fmla="*/ 140935 w 140935"/>
                <a:gd name="connsiteY2" fmla="*/ 100743 h 142085"/>
                <a:gd name="connsiteX3" fmla="*/ 127618 w 140935"/>
                <a:gd name="connsiteY3" fmla="*/ 142085 h 1420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0935" h="142085">
                  <a:moveTo>
                    <a:pt x="0" y="0"/>
                  </a:moveTo>
                  <a:lnTo>
                    <a:pt x="48623" y="0"/>
                  </a:lnTo>
                  <a:cubicBezTo>
                    <a:pt x="48623" y="0"/>
                    <a:pt x="56719" y="90731"/>
                    <a:pt x="140935" y="100743"/>
                  </a:cubicBezTo>
                  <a:lnTo>
                    <a:pt x="127618" y="142085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88" name="Forma livre: Forma 687">
              <a:extLst>
                <a:ext uri="{FF2B5EF4-FFF2-40B4-BE49-F238E27FC236}">
                  <a16:creationId xmlns:a16="http://schemas.microsoft.com/office/drawing/2014/main" id="{8954B56B-83FA-F4F5-3862-F9F566BCE312}"/>
                </a:ext>
              </a:extLst>
            </p:cNvPr>
            <p:cNvSpPr/>
            <p:nvPr/>
          </p:nvSpPr>
          <p:spPr>
            <a:xfrm>
              <a:off x="8182865" y="1063948"/>
              <a:ext cx="4790" cy="125126"/>
            </a:xfrm>
            <a:custGeom>
              <a:avLst/>
              <a:gdLst>
                <a:gd name="connsiteX0" fmla="*/ 0 w 4790"/>
                <a:gd name="connsiteY0" fmla="*/ 0 h 125126"/>
                <a:gd name="connsiteX1" fmla="*/ 0 w 4790"/>
                <a:gd name="connsiteY1" fmla="*/ 125127 h 1251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790" h="125126">
                  <a:moveTo>
                    <a:pt x="0" y="0"/>
                  </a:moveTo>
                  <a:lnTo>
                    <a:pt x="0" y="125127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89" name="Forma livre: Forma 688">
              <a:extLst>
                <a:ext uri="{FF2B5EF4-FFF2-40B4-BE49-F238E27FC236}">
                  <a16:creationId xmlns:a16="http://schemas.microsoft.com/office/drawing/2014/main" id="{0E19AF66-1073-77F9-5854-6105C7F34FD6}"/>
                </a:ext>
              </a:extLst>
            </p:cNvPr>
            <p:cNvSpPr/>
            <p:nvPr/>
          </p:nvSpPr>
          <p:spPr>
            <a:xfrm>
              <a:off x="8305261" y="1041433"/>
              <a:ext cx="20215" cy="9293"/>
            </a:xfrm>
            <a:custGeom>
              <a:avLst/>
              <a:gdLst>
                <a:gd name="connsiteX0" fmla="*/ 20216 w 20215"/>
                <a:gd name="connsiteY0" fmla="*/ 0 h 9293"/>
                <a:gd name="connsiteX1" fmla="*/ 0 w 20215"/>
                <a:gd name="connsiteY1" fmla="*/ 9293 h 92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0215" h="9293">
                  <a:moveTo>
                    <a:pt x="20216" y="0"/>
                  </a:moveTo>
                  <a:lnTo>
                    <a:pt x="0" y="9293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90" name="Forma livre: Forma 689">
              <a:extLst>
                <a:ext uri="{FF2B5EF4-FFF2-40B4-BE49-F238E27FC236}">
                  <a16:creationId xmlns:a16="http://schemas.microsoft.com/office/drawing/2014/main" id="{A1C86093-CF6F-7464-4D78-2EC014011B02}"/>
                </a:ext>
              </a:extLst>
            </p:cNvPr>
            <p:cNvSpPr/>
            <p:nvPr/>
          </p:nvSpPr>
          <p:spPr>
            <a:xfrm>
              <a:off x="8320111" y="1066966"/>
              <a:ext cx="19209" cy="11257"/>
            </a:xfrm>
            <a:custGeom>
              <a:avLst/>
              <a:gdLst>
                <a:gd name="connsiteX0" fmla="*/ 19210 w 19209"/>
                <a:gd name="connsiteY0" fmla="*/ 0 h 11257"/>
                <a:gd name="connsiteX1" fmla="*/ 0 w 19209"/>
                <a:gd name="connsiteY1" fmla="*/ 11258 h 112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9209" h="11257">
                  <a:moveTo>
                    <a:pt x="19210" y="0"/>
                  </a:moveTo>
                  <a:lnTo>
                    <a:pt x="0" y="11258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91" name="Forma livre: Forma 690">
              <a:extLst>
                <a:ext uri="{FF2B5EF4-FFF2-40B4-BE49-F238E27FC236}">
                  <a16:creationId xmlns:a16="http://schemas.microsoft.com/office/drawing/2014/main" id="{73EC3DCB-6561-F943-F03C-21C80EB4B2D1}"/>
                </a:ext>
              </a:extLst>
            </p:cNvPr>
            <p:cNvSpPr/>
            <p:nvPr/>
          </p:nvSpPr>
          <p:spPr>
            <a:xfrm>
              <a:off x="8340615" y="1086895"/>
              <a:ext cx="15760" cy="15664"/>
            </a:xfrm>
            <a:custGeom>
              <a:avLst/>
              <a:gdLst>
                <a:gd name="connsiteX0" fmla="*/ 15761 w 15760"/>
                <a:gd name="connsiteY0" fmla="*/ 0 h 15664"/>
                <a:gd name="connsiteX1" fmla="*/ 0 w 15760"/>
                <a:gd name="connsiteY1" fmla="*/ 15665 h 156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760" h="15664">
                  <a:moveTo>
                    <a:pt x="15761" y="0"/>
                  </a:moveTo>
                  <a:lnTo>
                    <a:pt x="0" y="15665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92" name="Forma livre: Forma 691">
              <a:extLst>
                <a:ext uri="{FF2B5EF4-FFF2-40B4-BE49-F238E27FC236}">
                  <a16:creationId xmlns:a16="http://schemas.microsoft.com/office/drawing/2014/main" id="{254771D4-AC05-187F-8183-2DE88FCF9751}"/>
                </a:ext>
              </a:extLst>
            </p:cNvPr>
            <p:cNvSpPr/>
            <p:nvPr/>
          </p:nvSpPr>
          <p:spPr>
            <a:xfrm>
              <a:off x="8367489" y="1100404"/>
              <a:ext cx="12263" cy="18586"/>
            </a:xfrm>
            <a:custGeom>
              <a:avLst/>
              <a:gdLst>
                <a:gd name="connsiteX0" fmla="*/ 12264 w 12263"/>
                <a:gd name="connsiteY0" fmla="*/ 0 h 18586"/>
                <a:gd name="connsiteX1" fmla="*/ 0 w 12263"/>
                <a:gd name="connsiteY1" fmla="*/ 18587 h 185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263" h="18586">
                  <a:moveTo>
                    <a:pt x="12264" y="0"/>
                  </a:moveTo>
                  <a:lnTo>
                    <a:pt x="0" y="18587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693" name="Gráfico 15">
            <a:extLst>
              <a:ext uri="{FF2B5EF4-FFF2-40B4-BE49-F238E27FC236}">
                <a16:creationId xmlns:a16="http://schemas.microsoft.com/office/drawing/2014/main" id="{41205DBC-3BC2-F5EF-2FEC-E00D6937A166}"/>
              </a:ext>
            </a:extLst>
          </p:cNvPr>
          <p:cNvGrpSpPr/>
          <p:nvPr/>
        </p:nvGrpSpPr>
        <p:grpSpPr>
          <a:xfrm>
            <a:off x="8165212" y="1496814"/>
            <a:ext cx="333583" cy="333583"/>
            <a:chOff x="8165212" y="1496814"/>
            <a:chExt cx="333583" cy="333583"/>
          </a:xfrm>
          <a:noFill/>
        </p:grpSpPr>
        <p:sp>
          <p:nvSpPr>
            <p:cNvPr id="694" name="Forma livre: Forma 693">
              <a:extLst>
                <a:ext uri="{FF2B5EF4-FFF2-40B4-BE49-F238E27FC236}">
                  <a16:creationId xmlns:a16="http://schemas.microsoft.com/office/drawing/2014/main" id="{0B09CFE9-4EF4-1B81-0278-D6622D0E4B26}"/>
                </a:ext>
              </a:extLst>
            </p:cNvPr>
            <p:cNvSpPr/>
            <p:nvPr/>
          </p:nvSpPr>
          <p:spPr>
            <a:xfrm>
              <a:off x="8165212" y="1668600"/>
              <a:ext cx="180911" cy="161797"/>
            </a:xfrm>
            <a:custGeom>
              <a:avLst/>
              <a:gdLst>
                <a:gd name="connsiteX0" fmla="*/ 180912 w 180911"/>
                <a:gd name="connsiteY0" fmla="*/ 43306 h 161797"/>
                <a:gd name="connsiteX1" fmla="*/ 69438 w 180911"/>
                <a:gd name="connsiteY1" fmla="*/ 154828 h 161797"/>
                <a:gd name="connsiteX2" fmla="*/ 35569 w 180911"/>
                <a:gd name="connsiteY2" fmla="*/ 154828 h 161797"/>
                <a:gd name="connsiteX3" fmla="*/ 6970 w 180911"/>
                <a:gd name="connsiteY3" fmla="*/ 126229 h 161797"/>
                <a:gd name="connsiteX4" fmla="*/ 6970 w 180911"/>
                <a:gd name="connsiteY4" fmla="*/ 92360 h 161797"/>
                <a:gd name="connsiteX5" fmla="*/ 99330 w 180911"/>
                <a:gd name="connsiteY5" fmla="*/ 0 h 161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0911" h="161797">
                  <a:moveTo>
                    <a:pt x="180912" y="43306"/>
                  </a:moveTo>
                  <a:lnTo>
                    <a:pt x="69438" y="154828"/>
                  </a:lnTo>
                  <a:cubicBezTo>
                    <a:pt x="60144" y="164121"/>
                    <a:pt x="44863" y="164121"/>
                    <a:pt x="35569" y="154828"/>
                  </a:cubicBezTo>
                  <a:lnTo>
                    <a:pt x="6970" y="126229"/>
                  </a:lnTo>
                  <a:cubicBezTo>
                    <a:pt x="-2323" y="116935"/>
                    <a:pt x="-2323" y="101654"/>
                    <a:pt x="6970" y="92360"/>
                  </a:cubicBezTo>
                  <a:lnTo>
                    <a:pt x="99330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95" name="Forma livre: Forma 694">
              <a:extLst>
                <a:ext uri="{FF2B5EF4-FFF2-40B4-BE49-F238E27FC236}">
                  <a16:creationId xmlns:a16="http://schemas.microsoft.com/office/drawing/2014/main" id="{D1D37DDC-65D5-EF2C-A7A0-16F326998F8D}"/>
                </a:ext>
              </a:extLst>
            </p:cNvPr>
            <p:cNvSpPr/>
            <p:nvPr/>
          </p:nvSpPr>
          <p:spPr>
            <a:xfrm>
              <a:off x="8425933" y="1534180"/>
              <a:ext cx="35497" cy="35449"/>
            </a:xfrm>
            <a:custGeom>
              <a:avLst/>
              <a:gdLst>
                <a:gd name="connsiteX0" fmla="*/ 0 w 35497"/>
                <a:gd name="connsiteY0" fmla="*/ 35449 h 35449"/>
                <a:gd name="connsiteX1" fmla="*/ 35497 w 35497"/>
                <a:gd name="connsiteY1" fmla="*/ 0 h 354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5497" h="35449">
                  <a:moveTo>
                    <a:pt x="0" y="35449"/>
                  </a:moveTo>
                  <a:lnTo>
                    <a:pt x="35497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696" name="Gráfico 15">
              <a:extLst>
                <a:ext uri="{FF2B5EF4-FFF2-40B4-BE49-F238E27FC236}">
                  <a16:creationId xmlns:a16="http://schemas.microsoft.com/office/drawing/2014/main" id="{BD3034D3-8862-8291-0105-3244FD6EB7BB}"/>
                </a:ext>
              </a:extLst>
            </p:cNvPr>
            <p:cNvGrpSpPr/>
            <p:nvPr/>
          </p:nvGrpSpPr>
          <p:grpSpPr>
            <a:xfrm>
              <a:off x="8399873" y="1496814"/>
              <a:ext cx="98922" cy="98875"/>
              <a:chOff x="8399873" y="1496814"/>
              <a:chExt cx="98922" cy="98875"/>
            </a:xfrm>
          </p:grpSpPr>
          <p:sp>
            <p:nvSpPr>
              <p:cNvPr id="697" name="Forma livre: Forma 696">
                <a:extLst>
                  <a:ext uri="{FF2B5EF4-FFF2-40B4-BE49-F238E27FC236}">
                    <a16:creationId xmlns:a16="http://schemas.microsoft.com/office/drawing/2014/main" id="{48A134B9-670E-3223-C4B3-E6DB9F206485}"/>
                  </a:ext>
                </a:extLst>
              </p:cNvPr>
              <p:cNvSpPr/>
              <p:nvPr/>
            </p:nvSpPr>
            <p:spPr>
              <a:xfrm>
                <a:off x="8451945" y="1592336"/>
                <a:ext cx="46850" cy="3353"/>
              </a:xfrm>
              <a:custGeom>
                <a:avLst/>
                <a:gdLst>
                  <a:gd name="connsiteX0" fmla="*/ 0 w 46850"/>
                  <a:gd name="connsiteY0" fmla="*/ 3353 h 3353"/>
                  <a:gd name="connsiteX1" fmla="*/ 46851 w 46850"/>
                  <a:gd name="connsiteY1" fmla="*/ 0 h 33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6850" h="3353">
                    <a:moveTo>
                      <a:pt x="0" y="3353"/>
                    </a:moveTo>
                    <a:lnTo>
                      <a:pt x="46851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698" name="Forma livre: Forma 697">
                <a:extLst>
                  <a:ext uri="{FF2B5EF4-FFF2-40B4-BE49-F238E27FC236}">
                    <a16:creationId xmlns:a16="http://schemas.microsoft.com/office/drawing/2014/main" id="{921B5CA0-DFD0-2AFE-0EB9-B22A87651A0D}"/>
                  </a:ext>
                </a:extLst>
              </p:cNvPr>
              <p:cNvSpPr/>
              <p:nvPr/>
            </p:nvSpPr>
            <p:spPr>
              <a:xfrm>
                <a:off x="8399873" y="1496814"/>
                <a:ext cx="3353" cy="46802"/>
              </a:xfrm>
              <a:custGeom>
                <a:avLst/>
                <a:gdLst>
                  <a:gd name="connsiteX0" fmla="*/ 0 w 3353"/>
                  <a:gd name="connsiteY0" fmla="*/ 46803 h 46802"/>
                  <a:gd name="connsiteX1" fmla="*/ 3353 w 3353"/>
                  <a:gd name="connsiteY1" fmla="*/ 0 h 468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353" h="46802">
                    <a:moveTo>
                      <a:pt x="0" y="46803"/>
                    </a:moveTo>
                    <a:lnTo>
                      <a:pt x="3353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699" name="Forma livre: Forma 698">
              <a:extLst>
                <a:ext uri="{FF2B5EF4-FFF2-40B4-BE49-F238E27FC236}">
                  <a16:creationId xmlns:a16="http://schemas.microsoft.com/office/drawing/2014/main" id="{D0F507B5-1592-F7CF-3DDF-78E2F10F705A}"/>
                </a:ext>
              </a:extLst>
            </p:cNvPr>
            <p:cNvSpPr/>
            <p:nvPr/>
          </p:nvSpPr>
          <p:spPr>
            <a:xfrm rot="-2702399">
              <a:off x="8232276" y="1718487"/>
              <a:ext cx="58874" cy="30802"/>
            </a:xfrm>
            <a:custGeom>
              <a:avLst/>
              <a:gdLst>
                <a:gd name="connsiteX0" fmla="*/ 0 w 58874"/>
                <a:gd name="connsiteY0" fmla="*/ 0 h 30802"/>
                <a:gd name="connsiteX1" fmla="*/ 58875 w 58874"/>
                <a:gd name="connsiteY1" fmla="*/ 0 h 30802"/>
                <a:gd name="connsiteX2" fmla="*/ 58875 w 58874"/>
                <a:gd name="connsiteY2" fmla="*/ 30803 h 30802"/>
                <a:gd name="connsiteX3" fmla="*/ 0 w 58874"/>
                <a:gd name="connsiteY3" fmla="*/ 30803 h 30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8874" h="30802">
                  <a:moveTo>
                    <a:pt x="0" y="0"/>
                  </a:moveTo>
                  <a:lnTo>
                    <a:pt x="58875" y="0"/>
                  </a:lnTo>
                  <a:lnTo>
                    <a:pt x="58875" y="30803"/>
                  </a:lnTo>
                  <a:lnTo>
                    <a:pt x="0" y="30803"/>
                  </a:ln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700" name="Forma livre: Forma 699">
              <a:extLst>
                <a:ext uri="{FF2B5EF4-FFF2-40B4-BE49-F238E27FC236}">
                  <a16:creationId xmlns:a16="http://schemas.microsoft.com/office/drawing/2014/main" id="{01C6B4F8-69A9-5B69-0135-26DDF4417768}"/>
                </a:ext>
              </a:extLst>
            </p:cNvPr>
            <p:cNvSpPr/>
            <p:nvPr/>
          </p:nvSpPr>
          <p:spPr>
            <a:xfrm>
              <a:off x="8256063" y="1723499"/>
              <a:ext cx="16000" cy="16000"/>
            </a:xfrm>
            <a:custGeom>
              <a:avLst/>
              <a:gdLst>
                <a:gd name="connsiteX0" fmla="*/ 0 w 16000"/>
                <a:gd name="connsiteY0" fmla="*/ 0 h 16000"/>
                <a:gd name="connsiteX1" fmla="*/ 16000 w 16000"/>
                <a:gd name="connsiteY1" fmla="*/ 16000 h 1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6000" h="16000">
                  <a:moveTo>
                    <a:pt x="0" y="0"/>
                  </a:moveTo>
                  <a:lnTo>
                    <a:pt x="16000" y="1600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701" name="Forma livre: Forma 700">
              <a:extLst>
                <a:ext uri="{FF2B5EF4-FFF2-40B4-BE49-F238E27FC236}">
                  <a16:creationId xmlns:a16="http://schemas.microsoft.com/office/drawing/2014/main" id="{727C61D6-A680-6F03-50EF-701AA554FD68}"/>
                </a:ext>
              </a:extLst>
            </p:cNvPr>
            <p:cNvSpPr/>
            <p:nvPr/>
          </p:nvSpPr>
          <p:spPr>
            <a:xfrm>
              <a:off x="8280632" y="1537102"/>
              <a:ext cx="177827" cy="177875"/>
            </a:xfrm>
            <a:custGeom>
              <a:avLst/>
              <a:gdLst>
                <a:gd name="connsiteX0" fmla="*/ 64150 w 177827"/>
                <a:gd name="connsiteY0" fmla="*/ 0 h 177875"/>
                <a:gd name="connsiteX1" fmla="*/ 20605 w 177827"/>
                <a:gd name="connsiteY1" fmla="*/ 43545 h 177875"/>
                <a:gd name="connsiteX2" fmla="*/ 20605 w 177827"/>
                <a:gd name="connsiteY2" fmla="*/ 143426 h 177875"/>
                <a:gd name="connsiteX3" fmla="*/ 34401 w 177827"/>
                <a:gd name="connsiteY3" fmla="*/ 157271 h 177875"/>
                <a:gd name="connsiteX4" fmla="*/ 134283 w 177827"/>
                <a:gd name="connsiteY4" fmla="*/ 157271 h 177875"/>
                <a:gd name="connsiteX5" fmla="*/ 177828 w 177827"/>
                <a:gd name="connsiteY5" fmla="*/ 113726 h 177875"/>
                <a:gd name="connsiteX6" fmla="*/ 64150 w 177827"/>
                <a:gd name="connsiteY6" fmla="*/ 48 h 177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77827" h="177875">
                  <a:moveTo>
                    <a:pt x="64150" y="0"/>
                  </a:moveTo>
                  <a:lnTo>
                    <a:pt x="20605" y="43545"/>
                  </a:lnTo>
                  <a:cubicBezTo>
                    <a:pt x="-6844" y="71043"/>
                    <a:pt x="-6892" y="115977"/>
                    <a:pt x="20605" y="143426"/>
                  </a:cubicBezTo>
                  <a:lnTo>
                    <a:pt x="34401" y="157271"/>
                  </a:lnTo>
                  <a:cubicBezTo>
                    <a:pt x="61851" y="184768"/>
                    <a:pt x="106833" y="184720"/>
                    <a:pt x="134283" y="157271"/>
                  </a:cubicBezTo>
                  <a:lnTo>
                    <a:pt x="177828" y="113726"/>
                  </a:lnTo>
                  <a:lnTo>
                    <a:pt x="64150" y="48"/>
                  </a:ln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702" name="Forma livre: Forma 701">
              <a:extLst>
                <a:ext uri="{FF2B5EF4-FFF2-40B4-BE49-F238E27FC236}">
                  <a16:creationId xmlns:a16="http://schemas.microsoft.com/office/drawing/2014/main" id="{B9B33475-F0DD-5AA1-3B2F-E6662A351A53}"/>
                </a:ext>
              </a:extLst>
            </p:cNvPr>
            <p:cNvSpPr/>
            <p:nvPr/>
          </p:nvSpPr>
          <p:spPr>
            <a:xfrm>
              <a:off x="8322028" y="1561246"/>
              <a:ext cx="112288" cy="112288"/>
            </a:xfrm>
            <a:custGeom>
              <a:avLst/>
              <a:gdLst>
                <a:gd name="connsiteX0" fmla="*/ 0 w 112288"/>
                <a:gd name="connsiteY0" fmla="*/ 0 h 112288"/>
                <a:gd name="connsiteX1" fmla="*/ 112288 w 112288"/>
                <a:gd name="connsiteY1" fmla="*/ 112288 h 1122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288" h="112288">
                  <a:moveTo>
                    <a:pt x="0" y="0"/>
                  </a:moveTo>
                  <a:lnTo>
                    <a:pt x="112288" y="112288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703" name="Gráfico 15">
            <a:extLst>
              <a:ext uri="{FF2B5EF4-FFF2-40B4-BE49-F238E27FC236}">
                <a16:creationId xmlns:a16="http://schemas.microsoft.com/office/drawing/2014/main" id="{4CEE96D9-DB5A-BB1A-4679-697A261C3616}"/>
              </a:ext>
            </a:extLst>
          </p:cNvPr>
          <p:cNvGrpSpPr/>
          <p:nvPr/>
        </p:nvGrpSpPr>
        <p:grpSpPr>
          <a:xfrm>
            <a:off x="8217345" y="2047669"/>
            <a:ext cx="229292" cy="296433"/>
            <a:chOff x="8217345" y="2047669"/>
            <a:chExt cx="229292" cy="296433"/>
          </a:xfrm>
        </p:grpSpPr>
        <p:sp>
          <p:nvSpPr>
            <p:cNvPr id="704" name="Forma livre: Forma 703">
              <a:extLst>
                <a:ext uri="{FF2B5EF4-FFF2-40B4-BE49-F238E27FC236}">
                  <a16:creationId xmlns:a16="http://schemas.microsoft.com/office/drawing/2014/main" id="{191C3958-3820-8DE8-4AF3-A5125C000507}"/>
                </a:ext>
              </a:extLst>
            </p:cNvPr>
            <p:cNvSpPr/>
            <p:nvPr/>
          </p:nvSpPr>
          <p:spPr>
            <a:xfrm>
              <a:off x="8217793" y="2047669"/>
              <a:ext cx="228447" cy="47042"/>
            </a:xfrm>
            <a:custGeom>
              <a:avLst/>
              <a:gdLst>
                <a:gd name="connsiteX0" fmla="*/ 212691 w 228447"/>
                <a:gd name="connsiteY0" fmla="*/ 47042 h 47042"/>
                <a:gd name="connsiteX1" fmla="*/ 228212 w 228447"/>
                <a:gd name="connsiteY1" fmla="*/ 0 h 47042"/>
                <a:gd name="connsiteX2" fmla="*/ 181026 w 228447"/>
                <a:gd name="connsiteY2" fmla="*/ 22084 h 47042"/>
                <a:gd name="connsiteX3" fmla="*/ 47420 w 228447"/>
                <a:gd name="connsiteY3" fmla="*/ 22084 h 47042"/>
                <a:gd name="connsiteX4" fmla="*/ 234 w 228447"/>
                <a:gd name="connsiteY4" fmla="*/ 0 h 47042"/>
                <a:gd name="connsiteX5" fmla="*/ 15132 w 228447"/>
                <a:gd name="connsiteY5" fmla="*/ 46276 h 470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28447" h="47042">
                  <a:moveTo>
                    <a:pt x="212691" y="47042"/>
                  </a:moveTo>
                  <a:cubicBezTo>
                    <a:pt x="221457" y="36647"/>
                    <a:pt x="229984" y="19880"/>
                    <a:pt x="228212" y="0"/>
                  </a:cubicBezTo>
                  <a:cubicBezTo>
                    <a:pt x="228212" y="0"/>
                    <a:pt x="214894" y="22084"/>
                    <a:pt x="181026" y="22084"/>
                  </a:cubicBezTo>
                  <a:lnTo>
                    <a:pt x="47420" y="22084"/>
                  </a:lnTo>
                  <a:cubicBezTo>
                    <a:pt x="13551" y="22084"/>
                    <a:pt x="234" y="0"/>
                    <a:pt x="234" y="0"/>
                  </a:cubicBezTo>
                  <a:cubicBezTo>
                    <a:pt x="-1491" y="19449"/>
                    <a:pt x="6605" y="35881"/>
                    <a:pt x="15132" y="46276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705" name="Forma livre: Forma 704">
              <a:extLst>
                <a:ext uri="{FF2B5EF4-FFF2-40B4-BE49-F238E27FC236}">
                  <a16:creationId xmlns:a16="http://schemas.microsoft.com/office/drawing/2014/main" id="{CAF01A2D-3A30-FB6C-2C61-4B3BEEE10CBB}"/>
                </a:ext>
              </a:extLst>
            </p:cNvPr>
            <p:cNvSpPr/>
            <p:nvPr/>
          </p:nvSpPr>
          <p:spPr>
            <a:xfrm>
              <a:off x="8303536" y="2169539"/>
              <a:ext cx="56862" cy="37126"/>
            </a:xfrm>
            <a:custGeom>
              <a:avLst/>
              <a:gdLst>
                <a:gd name="connsiteX0" fmla="*/ 56863 w 56862"/>
                <a:gd name="connsiteY0" fmla="*/ 0 h 37126"/>
                <a:gd name="connsiteX1" fmla="*/ 28551 w 56862"/>
                <a:gd name="connsiteY1" fmla="*/ 37126 h 37126"/>
                <a:gd name="connsiteX2" fmla="*/ 28312 w 56862"/>
                <a:gd name="connsiteY2" fmla="*/ 37126 h 37126"/>
                <a:gd name="connsiteX3" fmla="*/ 0 w 56862"/>
                <a:gd name="connsiteY3" fmla="*/ 0 h 371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6862" h="37126">
                  <a:moveTo>
                    <a:pt x="56863" y="0"/>
                  </a:moveTo>
                  <a:lnTo>
                    <a:pt x="28551" y="37126"/>
                  </a:lnTo>
                  <a:lnTo>
                    <a:pt x="28312" y="37126"/>
                  </a:lnTo>
                  <a:lnTo>
                    <a:pt x="0" y="0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706" name="Gráfico 15">
              <a:extLst>
                <a:ext uri="{FF2B5EF4-FFF2-40B4-BE49-F238E27FC236}">
                  <a16:creationId xmlns:a16="http://schemas.microsoft.com/office/drawing/2014/main" id="{A4333FD0-83B5-A885-A4BB-027CE527B4E8}"/>
                </a:ext>
              </a:extLst>
            </p:cNvPr>
            <p:cNvGrpSpPr/>
            <p:nvPr/>
          </p:nvGrpSpPr>
          <p:grpSpPr>
            <a:xfrm>
              <a:off x="8281931" y="2301468"/>
              <a:ext cx="100120" cy="42635"/>
              <a:chOff x="8281931" y="2301468"/>
              <a:chExt cx="100120" cy="42635"/>
            </a:xfrm>
            <a:noFill/>
          </p:grpSpPr>
          <p:sp>
            <p:nvSpPr>
              <p:cNvPr id="707" name="Forma livre: Forma 706">
                <a:extLst>
                  <a:ext uri="{FF2B5EF4-FFF2-40B4-BE49-F238E27FC236}">
                    <a16:creationId xmlns:a16="http://schemas.microsoft.com/office/drawing/2014/main" id="{5AB31FD3-E7AF-D022-B865-71761EE39F96}"/>
                  </a:ext>
                </a:extLst>
              </p:cNvPr>
              <p:cNvSpPr/>
              <p:nvPr/>
            </p:nvSpPr>
            <p:spPr>
              <a:xfrm>
                <a:off x="8281931" y="2301468"/>
                <a:ext cx="38515" cy="42635"/>
              </a:xfrm>
              <a:custGeom>
                <a:avLst/>
                <a:gdLst>
                  <a:gd name="connsiteX0" fmla="*/ 38515 w 38515"/>
                  <a:gd name="connsiteY0" fmla="*/ 21317 h 42635"/>
                  <a:gd name="connsiteX1" fmla="*/ 19258 w 38515"/>
                  <a:gd name="connsiteY1" fmla="*/ 42635 h 42635"/>
                  <a:gd name="connsiteX2" fmla="*/ 0 w 38515"/>
                  <a:gd name="connsiteY2" fmla="*/ 21317 h 42635"/>
                  <a:gd name="connsiteX3" fmla="*/ 19258 w 38515"/>
                  <a:gd name="connsiteY3" fmla="*/ 0 h 42635"/>
                  <a:gd name="connsiteX4" fmla="*/ 38515 w 38515"/>
                  <a:gd name="connsiteY4" fmla="*/ 21317 h 426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8515" h="42635">
                    <a:moveTo>
                      <a:pt x="38515" y="21317"/>
                    </a:moveTo>
                    <a:cubicBezTo>
                      <a:pt x="38515" y="33102"/>
                      <a:pt x="29892" y="42635"/>
                      <a:pt x="19258" y="42635"/>
                    </a:cubicBezTo>
                    <a:cubicBezTo>
                      <a:pt x="8623" y="42635"/>
                      <a:pt x="0" y="33102"/>
                      <a:pt x="0" y="21317"/>
                    </a:cubicBezTo>
                    <a:cubicBezTo>
                      <a:pt x="0" y="9533"/>
                      <a:pt x="8623" y="0"/>
                      <a:pt x="19258" y="0"/>
                    </a:cubicBezTo>
                    <a:cubicBezTo>
                      <a:pt x="29892" y="0"/>
                      <a:pt x="38515" y="9533"/>
                      <a:pt x="38515" y="21317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08" name="Forma livre: Forma 707">
                <a:extLst>
                  <a:ext uri="{FF2B5EF4-FFF2-40B4-BE49-F238E27FC236}">
                    <a16:creationId xmlns:a16="http://schemas.microsoft.com/office/drawing/2014/main" id="{1B442BF8-F3BA-369F-CC8A-CFCB76171BB7}"/>
                  </a:ext>
                </a:extLst>
              </p:cNvPr>
              <p:cNvSpPr/>
              <p:nvPr/>
            </p:nvSpPr>
            <p:spPr>
              <a:xfrm>
                <a:off x="8343537" y="2301468"/>
                <a:ext cx="38515" cy="42635"/>
              </a:xfrm>
              <a:custGeom>
                <a:avLst/>
                <a:gdLst>
                  <a:gd name="connsiteX0" fmla="*/ 38515 w 38515"/>
                  <a:gd name="connsiteY0" fmla="*/ 21317 h 42635"/>
                  <a:gd name="connsiteX1" fmla="*/ 19258 w 38515"/>
                  <a:gd name="connsiteY1" fmla="*/ 42635 h 42635"/>
                  <a:gd name="connsiteX2" fmla="*/ 0 w 38515"/>
                  <a:gd name="connsiteY2" fmla="*/ 21317 h 42635"/>
                  <a:gd name="connsiteX3" fmla="*/ 19258 w 38515"/>
                  <a:gd name="connsiteY3" fmla="*/ 0 h 42635"/>
                  <a:gd name="connsiteX4" fmla="*/ 38515 w 38515"/>
                  <a:gd name="connsiteY4" fmla="*/ 21317 h 426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8515" h="42635">
                    <a:moveTo>
                      <a:pt x="38515" y="21317"/>
                    </a:moveTo>
                    <a:cubicBezTo>
                      <a:pt x="38515" y="33102"/>
                      <a:pt x="29892" y="42635"/>
                      <a:pt x="19258" y="42635"/>
                    </a:cubicBezTo>
                    <a:cubicBezTo>
                      <a:pt x="8623" y="42635"/>
                      <a:pt x="0" y="33102"/>
                      <a:pt x="0" y="21317"/>
                    </a:cubicBezTo>
                    <a:cubicBezTo>
                      <a:pt x="0" y="9533"/>
                      <a:pt x="8623" y="0"/>
                      <a:pt x="19258" y="0"/>
                    </a:cubicBezTo>
                    <a:cubicBezTo>
                      <a:pt x="29892" y="0"/>
                      <a:pt x="38515" y="9533"/>
                      <a:pt x="38515" y="21317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709" name="Forma livre: Forma 708">
              <a:extLst>
                <a:ext uri="{FF2B5EF4-FFF2-40B4-BE49-F238E27FC236}">
                  <a16:creationId xmlns:a16="http://schemas.microsoft.com/office/drawing/2014/main" id="{37486213-463B-1BDF-B704-9EE893A8DF3D}"/>
                </a:ext>
              </a:extLst>
            </p:cNvPr>
            <p:cNvSpPr/>
            <p:nvPr/>
          </p:nvSpPr>
          <p:spPr>
            <a:xfrm>
              <a:off x="8310722" y="2153210"/>
              <a:ext cx="42491" cy="6987"/>
            </a:xfrm>
            <a:custGeom>
              <a:avLst/>
              <a:gdLst>
                <a:gd name="connsiteX0" fmla="*/ 0 w 42491"/>
                <a:gd name="connsiteY0" fmla="*/ 6891 h 6987"/>
                <a:gd name="connsiteX1" fmla="*/ 42491 w 42491"/>
                <a:gd name="connsiteY1" fmla="*/ 6987 h 69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2491" h="6987">
                  <a:moveTo>
                    <a:pt x="0" y="6891"/>
                  </a:moveTo>
                  <a:cubicBezTo>
                    <a:pt x="0" y="6891"/>
                    <a:pt x="22132" y="-8678"/>
                    <a:pt x="42491" y="6987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710" name="Forma livre: Forma 709">
              <a:extLst>
                <a:ext uri="{FF2B5EF4-FFF2-40B4-BE49-F238E27FC236}">
                  <a16:creationId xmlns:a16="http://schemas.microsoft.com/office/drawing/2014/main" id="{76D69236-C7B6-1799-FF16-14B5C1F6E1C1}"/>
                </a:ext>
              </a:extLst>
            </p:cNvPr>
            <p:cNvSpPr/>
            <p:nvPr/>
          </p:nvSpPr>
          <p:spPr>
            <a:xfrm>
              <a:off x="8321070" y="2325085"/>
              <a:ext cx="21844" cy="4790"/>
            </a:xfrm>
            <a:custGeom>
              <a:avLst/>
              <a:gdLst>
                <a:gd name="connsiteX0" fmla="*/ 0 w 21844"/>
                <a:gd name="connsiteY0" fmla="*/ 0 h 4790"/>
                <a:gd name="connsiteX1" fmla="*/ 21844 w 21844"/>
                <a:gd name="connsiteY1" fmla="*/ 0 h 47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1844" h="4790">
                  <a:moveTo>
                    <a:pt x="0" y="0"/>
                  </a:moveTo>
                  <a:lnTo>
                    <a:pt x="21844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711" name="Gráfico 15">
              <a:extLst>
                <a:ext uri="{FF2B5EF4-FFF2-40B4-BE49-F238E27FC236}">
                  <a16:creationId xmlns:a16="http://schemas.microsoft.com/office/drawing/2014/main" id="{D976BEB7-D315-E76D-DF7C-D66A8DBBB10A}"/>
                </a:ext>
              </a:extLst>
            </p:cNvPr>
            <p:cNvGrpSpPr/>
            <p:nvPr/>
          </p:nvGrpSpPr>
          <p:grpSpPr>
            <a:xfrm>
              <a:off x="8217345" y="2186066"/>
              <a:ext cx="229292" cy="129821"/>
              <a:chOff x="8217345" y="2186066"/>
              <a:chExt cx="229292" cy="129821"/>
            </a:xfrm>
            <a:noFill/>
          </p:grpSpPr>
          <p:sp>
            <p:nvSpPr>
              <p:cNvPr id="712" name="Forma livre: Forma 711">
                <a:extLst>
                  <a:ext uri="{FF2B5EF4-FFF2-40B4-BE49-F238E27FC236}">
                    <a16:creationId xmlns:a16="http://schemas.microsoft.com/office/drawing/2014/main" id="{6AD369BE-07BE-90D6-FAEB-0087BC0D7D26}"/>
                  </a:ext>
                </a:extLst>
              </p:cNvPr>
              <p:cNvSpPr/>
              <p:nvPr/>
            </p:nvSpPr>
            <p:spPr>
              <a:xfrm>
                <a:off x="8217345" y="2186066"/>
                <a:ext cx="64538" cy="129821"/>
              </a:xfrm>
              <a:custGeom>
                <a:avLst/>
                <a:gdLst>
                  <a:gd name="connsiteX0" fmla="*/ 45041 w 64538"/>
                  <a:gd name="connsiteY0" fmla="*/ 71857 h 129821"/>
                  <a:gd name="connsiteX1" fmla="*/ 4801 w 64538"/>
                  <a:gd name="connsiteY1" fmla="*/ 0 h 129821"/>
                  <a:gd name="connsiteX2" fmla="*/ 4322 w 64538"/>
                  <a:gd name="connsiteY2" fmla="*/ 1533 h 129821"/>
                  <a:gd name="connsiteX3" fmla="*/ 64538 w 64538"/>
                  <a:gd name="connsiteY3" fmla="*/ 129822 h 1298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4538" h="129821">
                    <a:moveTo>
                      <a:pt x="45041" y="71857"/>
                    </a:moveTo>
                    <a:cubicBezTo>
                      <a:pt x="40298" y="16192"/>
                      <a:pt x="4801" y="0"/>
                      <a:pt x="4801" y="0"/>
                    </a:cubicBezTo>
                    <a:lnTo>
                      <a:pt x="4322" y="1533"/>
                    </a:lnTo>
                    <a:cubicBezTo>
                      <a:pt x="-5259" y="37318"/>
                      <a:pt x="-4253" y="91115"/>
                      <a:pt x="64538" y="129822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13" name="Forma livre: Forma 712">
                <a:extLst>
                  <a:ext uri="{FF2B5EF4-FFF2-40B4-BE49-F238E27FC236}">
                    <a16:creationId xmlns:a16="http://schemas.microsoft.com/office/drawing/2014/main" id="{71497ED8-2B53-4C44-4ECB-C189A39292BD}"/>
                  </a:ext>
                </a:extLst>
              </p:cNvPr>
              <p:cNvSpPr/>
              <p:nvPr/>
            </p:nvSpPr>
            <p:spPr>
              <a:xfrm>
                <a:off x="8382100" y="2186066"/>
                <a:ext cx="64538" cy="129821"/>
              </a:xfrm>
              <a:custGeom>
                <a:avLst/>
                <a:gdLst>
                  <a:gd name="connsiteX0" fmla="*/ 19497 w 64538"/>
                  <a:gd name="connsiteY0" fmla="*/ 71857 h 129821"/>
                  <a:gd name="connsiteX1" fmla="*/ 59737 w 64538"/>
                  <a:gd name="connsiteY1" fmla="*/ 0 h 129821"/>
                  <a:gd name="connsiteX2" fmla="*/ 60216 w 64538"/>
                  <a:gd name="connsiteY2" fmla="*/ 1533 h 129821"/>
                  <a:gd name="connsiteX3" fmla="*/ 0 w 64538"/>
                  <a:gd name="connsiteY3" fmla="*/ 129822 h 1298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4538" h="129821">
                    <a:moveTo>
                      <a:pt x="19497" y="71857"/>
                    </a:moveTo>
                    <a:cubicBezTo>
                      <a:pt x="24240" y="16192"/>
                      <a:pt x="59737" y="0"/>
                      <a:pt x="59737" y="0"/>
                    </a:cubicBezTo>
                    <a:lnTo>
                      <a:pt x="60216" y="1533"/>
                    </a:lnTo>
                    <a:cubicBezTo>
                      <a:pt x="69797" y="37318"/>
                      <a:pt x="68791" y="91115"/>
                      <a:pt x="0" y="129822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714" name="Gráfico 15">
              <a:extLst>
                <a:ext uri="{FF2B5EF4-FFF2-40B4-BE49-F238E27FC236}">
                  <a16:creationId xmlns:a16="http://schemas.microsoft.com/office/drawing/2014/main" id="{C9C720B8-E236-3824-2B21-1DAB03A0F8E5}"/>
                </a:ext>
              </a:extLst>
            </p:cNvPr>
            <p:cNvGrpSpPr/>
            <p:nvPr/>
          </p:nvGrpSpPr>
          <p:grpSpPr>
            <a:xfrm>
              <a:off x="8310004" y="2265971"/>
              <a:ext cx="43928" cy="7473"/>
              <a:chOff x="8310004" y="2265971"/>
              <a:chExt cx="43928" cy="7473"/>
            </a:xfrm>
            <a:solidFill>
              <a:srgbClr val="394553"/>
            </a:solidFill>
          </p:grpSpPr>
          <p:sp>
            <p:nvSpPr>
              <p:cNvPr id="715" name="Forma livre: Forma 714">
                <a:extLst>
                  <a:ext uri="{FF2B5EF4-FFF2-40B4-BE49-F238E27FC236}">
                    <a16:creationId xmlns:a16="http://schemas.microsoft.com/office/drawing/2014/main" id="{1B6BFC45-B17E-4553-467A-CC294FFA141F}"/>
                  </a:ext>
                </a:extLst>
              </p:cNvPr>
              <p:cNvSpPr/>
              <p:nvPr/>
            </p:nvSpPr>
            <p:spPr>
              <a:xfrm>
                <a:off x="8310004" y="2265971"/>
                <a:ext cx="7473" cy="7473"/>
              </a:xfrm>
              <a:custGeom>
                <a:avLst/>
                <a:gdLst>
                  <a:gd name="connsiteX0" fmla="*/ 7473 w 7473"/>
                  <a:gd name="connsiteY0" fmla="*/ 3737 h 7473"/>
                  <a:gd name="connsiteX1" fmla="*/ 3737 w 7473"/>
                  <a:gd name="connsiteY1" fmla="*/ 7473 h 7473"/>
                  <a:gd name="connsiteX2" fmla="*/ 0 w 7473"/>
                  <a:gd name="connsiteY2" fmla="*/ 3737 h 7473"/>
                  <a:gd name="connsiteX3" fmla="*/ 3737 w 7473"/>
                  <a:gd name="connsiteY3" fmla="*/ 0 h 7473"/>
                  <a:gd name="connsiteX4" fmla="*/ 7473 w 7473"/>
                  <a:gd name="connsiteY4" fmla="*/ 3737 h 74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473" h="7473">
                    <a:moveTo>
                      <a:pt x="7473" y="3737"/>
                    </a:moveTo>
                    <a:cubicBezTo>
                      <a:pt x="7473" y="5796"/>
                      <a:pt x="5796" y="7473"/>
                      <a:pt x="3737" y="7473"/>
                    </a:cubicBezTo>
                    <a:cubicBezTo>
                      <a:pt x="1677" y="7473"/>
                      <a:pt x="0" y="5796"/>
                      <a:pt x="0" y="3737"/>
                    </a:cubicBezTo>
                    <a:cubicBezTo>
                      <a:pt x="0" y="1677"/>
                      <a:pt x="1677" y="0"/>
                      <a:pt x="3737" y="0"/>
                    </a:cubicBezTo>
                    <a:cubicBezTo>
                      <a:pt x="5796" y="0"/>
                      <a:pt x="7473" y="1677"/>
                      <a:pt x="7473" y="3737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16" name="Forma livre: Forma 715">
                <a:extLst>
                  <a:ext uri="{FF2B5EF4-FFF2-40B4-BE49-F238E27FC236}">
                    <a16:creationId xmlns:a16="http://schemas.microsoft.com/office/drawing/2014/main" id="{49276E6B-19C2-339F-C6C7-29B19896C913}"/>
                  </a:ext>
                </a:extLst>
              </p:cNvPr>
              <p:cNvSpPr/>
              <p:nvPr/>
            </p:nvSpPr>
            <p:spPr>
              <a:xfrm>
                <a:off x="8346459" y="2265971"/>
                <a:ext cx="7473" cy="7473"/>
              </a:xfrm>
              <a:custGeom>
                <a:avLst/>
                <a:gdLst>
                  <a:gd name="connsiteX0" fmla="*/ 7473 w 7473"/>
                  <a:gd name="connsiteY0" fmla="*/ 3737 h 7473"/>
                  <a:gd name="connsiteX1" fmla="*/ 3737 w 7473"/>
                  <a:gd name="connsiteY1" fmla="*/ 7473 h 7473"/>
                  <a:gd name="connsiteX2" fmla="*/ 0 w 7473"/>
                  <a:gd name="connsiteY2" fmla="*/ 3737 h 7473"/>
                  <a:gd name="connsiteX3" fmla="*/ 3737 w 7473"/>
                  <a:gd name="connsiteY3" fmla="*/ 0 h 7473"/>
                  <a:gd name="connsiteX4" fmla="*/ 7473 w 7473"/>
                  <a:gd name="connsiteY4" fmla="*/ 3737 h 74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473" h="7473">
                    <a:moveTo>
                      <a:pt x="7473" y="3737"/>
                    </a:moveTo>
                    <a:cubicBezTo>
                      <a:pt x="7473" y="5796"/>
                      <a:pt x="5796" y="7473"/>
                      <a:pt x="3737" y="7473"/>
                    </a:cubicBezTo>
                    <a:cubicBezTo>
                      <a:pt x="1677" y="7473"/>
                      <a:pt x="0" y="5796"/>
                      <a:pt x="0" y="3737"/>
                    </a:cubicBezTo>
                    <a:cubicBezTo>
                      <a:pt x="0" y="1677"/>
                      <a:pt x="1677" y="0"/>
                      <a:pt x="3737" y="0"/>
                    </a:cubicBezTo>
                    <a:cubicBezTo>
                      <a:pt x="5796" y="0"/>
                      <a:pt x="7473" y="1677"/>
                      <a:pt x="7473" y="3737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717" name="Gráfico 15">
              <a:extLst>
                <a:ext uri="{FF2B5EF4-FFF2-40B4-BE49-F238E27FC236}">
                  <a16:creationId xmlns:a16="http://schemas.microsoft.com/office/drawing/2014/main" id="{3A8F1FAC-F08C-FA23-9883-1B5632CA8DFF}"/>
                </a:ext>
              </a:extLst>
            </p:cNvPr>
            <p:cNvGrpSpPr/>
            <p:nvPr/>
          </p:nvGrpSpPr>
          <p:grpSpPr>
            <a:xfrm>
              <a:off x="8236087" y="2098688"/>
              <a:ext cx="191762" cy="80575"/>
              <a:chOff x="8236087" y="2098688"/>
              <a:chExt cx="191762" cy="80575"/>
            </a:xfrm>
          </p:grpSpPr>
          <p:grpSp>
            <p:nvGrpSpPr>
              <p:cNvPr id="718" name="Gráfico 15">
                <a:extLst>
                  <a:ext uri="{FF2B5EF4-FFF2-40B4-BE49-F238E27FC236}">
                    <a16:creationId xmlns:a16="http://schemas.microsoft.com/office/drawing/2014/main" id="{CEC2619D-3C5F-EE92-E8DB-A13EE4FC263C}"/>
                  </a:ext>
                </a:extLst>
              </p:cNvPr>
              <p:cNvGrpSpPr/>
              <p:nvPr/>
            </p:nvGrpSpPr>
            <p:grpSpPr>
              <a:xfrm>
                <a:off x="8347273" y="2098688"/>
                <a:ext cx="80575" cy="80575"/>
                <a:chOff x="8347273" y="2098688"/>
                <a:chExt cx="80575" cy="80575"/>
              </a:xfrm>
            </p:grpSpPr>
            <p:sp>
              <p:nvSpPr>
                <p:cNvPr id="719" name="Forma livre: Forma 718">
                  <a:extLst>
                    <a:ext uri="{FF2B5EF4-FFF2-40B4-BE49-F238E27FC236}">
                      <a16:creationId xmlns:a16="http://schemas.microsoft.com/office/drawing/2014/main" id="{4BDF137B-2C80-2C36-3636-B179B8606568}"/>
                    </a:ext>
                  </a:extLst>
                </p:cNvPr>
                <p:cNvSpPr/>
                <p:nvPr/>
              </p:nvSpPr>
              <p:spPr>
                <a:xfrm>
                  <a:off x="8347273" y="2098688"/>
                  <a:ext cx="80575" cy="80575"/>
                </a:xfrm>
                <a:custGeom>
                  <a:avLst/>
                  <a:gdLst>
                    <a:gd name="connsiteX0" fmla="*/ 80576 w 80575"/>
                    <a:gd name="connsiteY0" fmla="*/ 40288 h 80575"/>
                    <a:gd name="connsiteX1" fmla="*/ 40288 w 80575"/>
                    <a:gd name="connsiteY1" fmla="*/ 80576 h 80575"/>
                    <a:gd name="connsiteX2" fmla="*/ 0 w 80575"/>
                    <a:gd name="connsiteY2" fmla="*/ 40288 h 80575"/>
                    <a:gd name="connsiteX3" fmla="*/ 40288 w 80575"/>
                    <a:gd name="connsiteY3" fmla="*/ 0 h 80575"/>
                    <a:gd name="connsiteX4" fmla="*/ 80576 w 80575"/>
                    <a:gd name="connsiteY4" fmla="*/ 40288 h 805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80575" h="80575">
                      <a:moveTo>
                        <a:pt x="80576" y="40288"/>
                      </a:moveTo>
                      <a:cubicBezTo>
                        <a:pt x="80576" y="62538"/>
                        <a:pt x="62538" y="80576"/>
                        <a:pt x="40288" y="80576"/>
                      </a:cubicBezTo>
                      <a:cubicBezTo>
                        <a:pt x="18037" y="80576"/>
                        <a:pt x="0" y="62538"/>
                        <a:pt x="0" y="40288"/>
                      </a:cubicBezTo>
                      <a:cubicBezTo>
                        <a:pt x="0" y="18037"/>
                        <a:pt x="18037" y="0"/>
                        <a:pt x="40288" y="0"/>
                      </a:cubicBezTo>
                      <a:cubicBezTo>
                        <a:pt x="62538" y="0"/>
                        <a:pt x="80576" y="18037"/>
                        <a:pt x="80576" y="40288"/>
                      </a:cubicBezTo>
                      <a:close/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720" name="Forma livre: Forma 719">
                  <a:extLst>
                    <a:ext uri="{FF2B5EF4-FFF2-40B4-BE49-F238E27FC236}">
                      <a16:creationId xmlns:a16="http://schemas.microsoft.com/office/drawing/2014/main" id="{1455B44D-27AA-C630-2CCD-1C3CBBF4EABD}"/>
                    </a:ext>
                  </a:extLst>
                </p:cNvPr>
                <p:cNvSpPr/>
                <p:nvPr/>
              </p:nvSpPr>
              <p:spPr>
                <a:xfrm>
                  <a:off x="8383825" y="2135239"/>
                  <a:ext cx="7473" cy="7473"/>
                </a:xfrm>
                <a:custGeom>
                  <a:avLst/>
                  <a:gdLst>
                    <a:gd name="connsiteX0" fmla="*/ 7473 w 7473"/>
                    <a:gd name="connsiteY0" fmla="*/ 3737 h 7473"/>
                    <a:gd name="connsiteX1" fmla="*/ 3737 w 7473"/>
                    <a:gd name="connsiteY1" fmla="*/ 7473 h 7473"/>
                    <a:gd name="connsiteX2" fmla="*/ 0 w 7473"/>
                    <a:gd name="connsiteY2" fmla="*/ 3737 h 7473"/>
                    <a:gd name="connsiteX3" fmla="*/ 3737 w 7473"/>
                    <a:gd name="connsiteY3" fmla="*/ 0 h 7473"/>
                    <a:gd name="connsiteX4" fmla="*/ 7473 w 7473"/>
                    <a:gd name="connsiteY4" fmla="*/ 3737 h 747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7473" h="7473">
                      <a:moveTo>
                        <a:pt x="7473" y="3737"/>
                      </a:moveTo>
                      <a:cubicBezTo>
                        <a:pt x="7473" y="5796"/>
                        <a:pt x="5796" y="7473"/>
                        <a:pt x="3737" y="7473"/>
                      </a:cubicBezTo>
                      <a:cubicBezTo>
                        <a:pt x="1677" y="7473"/>
                        <a:pt x="0" y="5796"/>
                        <a:pt x="0" y="3737"/>
                      </a:cubicBezTo>
                      <a:cubicBezTo>
                        <a:pt x="0" y="1677"/>
                        <a:pt x="1677" y="0"/>
                        <a:pt x="3737" y="0"/>
                      </a:cubicBezTo>
                      <a:cubicBezTo>
                        <a:pt x="5796" y="0"/>
                        <a:pt x="7473" y="1677"/>
                        <a:pt x="7473" y="3737"/>
                      </a:cubicBezTo>
                      <a:close/>
                    </a:path>
                  </a:pathLst>
                </a:custGeom>
                <a:solidFill>
                  <a:srgbClr val="394553"/>
                </a:solidFill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721" name="Gráfico 15">
                <a:extLst>
                  <a:ext uri="{FF2B5EF4-FFF2-40B4-BE49-F238E27FC236}">
                    <a16:creationId xmlns:a16="http://schemas.microsoft.com/office/drawing/2014/main" id="{4B5B21DA-F286-DEE2-6B04-66BDBF6FA86D}"/>
                  </a:ext>
                </a:extLst>
              </p:cNvPr>
              <p:cNvGrpSpPr/>
              <p:nvPr/>
            </p:nvGrpSpPr>
            <p:grpSpPr>
              <a:xfrm>
                <a:off x="8236087" y="2098688"/>
                <a:ext cx="80575" cy="80575"/>
                <a:chOff x="8236087" y="2098688"/>
                <a:chExt cx="80575" cy="80575"/>
              </a:xfrm>
            </p:grpSpPr>
            <p:sp>
              <p:nvSpPr>
                <p:cNvPr id="722" name="Forma livre: Forma 721">
                  <a:extLst>
                    <a:ext uri="{FF2B5EF4-FFF2-40B4-BE49-F238E27FC236}">
                      <a16:creationId xmlns:a16="http://schemas.microsoft.com/office/drawing/2014/main" id="{B6992EE7-2B74-DC38-95E9-9243D9823D5A}"/>
                    </a:ext>
                  </a:extLst>
                </p:cNvPr>
                <p:cNvSpPr/>
                <p:nvPr/>
              </p:nvSpPr>
              <p:spPr>
                <a:xfrm>
                  <a:off x="8236087" y="2098688"/>
                  <a:ext cx="80575" cy="80575"/>
                </a:xfrm>
                <a:custGeom>
                  <a:avLst/>
                  <a:gdLst>
                    <a:gd name="connsiteX0" fmla="*/ 80576 w 80575"/>
                    <a:gd name="connsiteY0" fmla="*/ 40288 h 80575"/>
                    <a:gd name="connsiteX1" fmla="*/ 40288 w 80575"/>
                    <a:gd name="connsiteY1" fmla="*/ 80576 h 80575"/>
                    <a:gd name="connsiteX2" fmla="*/ 0 w 80575"/>
                    <a:gd name="connsiteY2" fmla="*/ 40288 h 80575"/>
                    <a:gd name="connsiteX3" fmla="*/ 40288 w 80575"/>
                    <a:gd name="connsiteY3" fmla="*/ 0 h 80575"/>
                    <a:gd name="connsiteX4" fmla="*/ 80576 w 80575"/>
                    <a:gd name="connsiteY4" fmla="*/ 40288 h 805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80575" h="80575">
                      <a:moveTo>
                        <a:pt x="80576" y="40288"/>
                      </a:moveTo>
                      <a:cubicBezTo>
                        <a:pt x="80576" y="62538"/>
                        <a:pt x="62538" y="80576"/>
                        <a:pt x="40288" y="80576"/>
                      </a:cubicBezTo>
                      <a:cubicBezTo>
                        <a:pt x="18037" y="80576"/>
                        <a:pt x="0" y="62538"/>
                        <a:pt x="0" y="40288"/>
                      </a:cubicBezTo>
                      <a:cubicBezTo>
                        <a:pt x="0" y="18037"/>
                        <a:pt x="18037" y="0"/>
                        <a:pt x="40288" y="0"/>
                      </a:cubicBezTo>
                      <a:cubicBezTo>
                        <a:pt x="62538" y="0"/>
                        <a:pt x="80576" y="18037"/>
                        <a:pt x="80576" y="40288"/>
                      </a:cubicBezTo>
                      <a:close/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723" name="Forma livre: Forma 722">
                  <a:extLst>
                    <a:ext uri="{FF2B5EF4-FFF2-40B4-BE49-F238E27FC236}">
                      <a16:creationId xmlns:a16="http://schemas.microsoft.com/office/drawing/2014/main" id="{228A74D0-5382-BC37-F5AA-FA40F3A00D64}"/>
                    </a:ext>
                  </a:extLst>
                </p:cNvPr>
                <p:cNvSpPr/>
                <p:nvPr/>
              </p:nvSpPr>
              <p:spPr>
                <a:xfrm>
                  <a:off x="8272638" y="2135239"/>
                  <a:ext cx="7473" cy="7473"/>
                </a:xfrm>
                <a:custGeom>
                  <a:avLst/>
                  <a:gdLst>
                    <a:gd name="connsiteX0" fmla="*/ 7473 w 7473"/>
                    <a:gd name="connsiteY0" fmla="*/ 3737 h 7473"/>
                    <a:gd name="connsiteX1" fmla="*/ 3737 w 7473"/>
                    <a:gd name="connsiteY1" fmla="*/ 7473 h 7473"/>
                    <a:gd name="connsiteX2" fmla="*/ 0 w 7473"/>
                    <a:gd name="connsiteY2" fmla="*/ 3737 h 7473"/>
                    <a:gd name="connsiteX3" fmla="*/ 3737 w 7473"/>
                    <a:gd name="connsiteY3" fmla="*/ 0 h 7473"/>
                    <a:gd name="connsiteX4" fmla="*/ 7473 w 7473"/>
                    <a:gd name="connsiteY4" fmla="*/ 3737 h 747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7473" h="7473">
                      <a:moveTo>
                        <a:pt x="7473" y="3737"/>
                      </a:moveTo>
                      <a:cubicBezTo>
                        <a:pt x="7473" y="5796"/>
                        <a:pt x="5796" y="7473"/>
                        <a:pt x="3737" y="7473"/>
                      </a:cubicBezTo>
                      <a:cubicBezTo>
                        <a:pt x="1677" y="7473"/>
                        <a:pt x="0" y="5796"/>
                        <a:pt x="0" y="3737"/>
                      </a:cubicBezTo>
                      <a:cubicBezTo>
                        <a:pt x="0" y="1677"/>
                        <a:pt x="1677" y="0"/>
                        <a:pt x="3737" y="0"/>
                      </a:cubicBezTo>
                      <a:cubicBezTo>
                        <a:pt x="5796" y="0"/>
                        <a:pt x="7473" y="1677"/>
                        <a:pt x="7473" y="3737"/>
                      </a:cubicBezTo>
                      <a:close/>
                    </a:path>
                  </a:pathLst>
                </a:custGeom>
                <a:solidFill>
                  <a:srgbClr val="394553"/>
                </a:solidFill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grpSp>
          <p:nvGrpSpPr>
            <p:cNvPr id="724" name="Gráfico 15">
              <a:extLst>
                <a:ext uri="{FF2B5EF4-FFF2-40B4-BE49-F238E27FC236}">
                  <a16:creationId xmlns:a16="http://schemas.microsoft.com/office/drawing/2014/main" id="{A2A18A6F-5345-210E-C595-15FEFD326CE2}"/>
                </a:ext>
              </a:extLst>
            </p:cNvPr>
            <p:cNvGrpSpPr/>
            <p:nvPr/>
          </p:nvGrpSpPr>
          <p:grpSpPr>
            <a:xfrm>
              <a:off x="8291752" y="2235647"/>
              <a:ext cx="80431" cy="7473"/>
              <a:chOff x="8291752" y="2235647"/>
              <a:chExt cx="80431" cy="7473"/>
            </a:xfrm>
            <a:solidFill>
              <a:srgbClr val="394553"/>
            </a:solidFill>
          </p:grpSpPr>
          <p:sp>
            <p:nvSpPr>
              <p:cNvPr id="725" name="Forma livre: Forma 724">
                <a:extLst>
                  <a:ext uri="{FF2B5EF4-FFF2-40B4-BE49-F238E27FC236}">
                    <a16:creationId xmlns:a16="http://schemas.microsoft.com/office/drawing/2014/main" id="{29DDF40D-17DB-BD1D-3E37-523C28BDF1F4}"/>
                  </a:ext>
                </a:extLst>
              </p:cNvPr>
              <p:cNvSpPr/>
              <p:nvPr/>
            </p:nvSpPr>
            <p:spPr>
              <a:xfrm>
                <a:off x="8291752" y="2235647"/>
                <a:ext cx="7473" cy="7473"/>
              </a:xfrm>
              <a:custGeom>
                <a:avLst/>
                <a:gdLst>
                  <a:gd name="connsiteX0" fmla="*/ 7473 w 7473"/>
                  <a:gd name="connsiteY0" fmla="*/ 3737 h 7473"/>
                  <a:gd name="connsiteX1" fmla="*/ 3737 w 7473"/>
                  <a:gd name="connsiteY1" fmla="*/ 7473 h 7473"/>
                  <a:gd name="connsiteX2" fmla="*/ 0 w 7473"/>
                  <a:gd name="connsiteY2" fmla="*/ 3737 h 7473"/>
                  <a:gd name="connsiteX3" fmla="*/ 3737 w 7473"/>
                  <a:gd name="connsiteY3" fmla="*/ 0 h 7473"/>
                  <a:gd name="connsiteX4" fmla="*/ 7473 w 7473"/>
                  <a:gd name="connsiteY4" fmla="*/ 3737 h 74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473" h="7473">
                    <a:moveTo>
                      <a:pt x="7473" y="3737"/>
                    </a:moveTo>
                    <a:cubicBezTo>
                      <a:pt x="7473" y="5796"/>
                      <a:pt x="5796" y="7473"/>
                      <a:pt x="3737" y="7473"/>
                    </a:cubicBezTo>
                    <a:cubicBezTo>
                      <a:pt x="1677" y="7473"/>
                      <a:pt x="0" y="5796"/>
                      <a:pt x="0" y="3737"/>
                    </a:cubicBezTo>
                    <a:cubicBezTo>
                      <a:pt x="0" y="1677"/>
                      <a:pt x="1677" y="0"/>
                      <a:pt x="3737" y="0"/>
                    </a:cubicBezTo>
                    <a:cubicBezTo>
                      <a:pt x="5796" y="0"/>
                      <a:pt x="7473" y="1677"/>
                      <a:pt x="7473" y="3737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26" name="Forma livre: Forma 725">
                <a:extLst>
                  <a:ext uri="{FF2B5EF4-FFF2-40B4-BE49-F238E27FC236}">
                    <a16:creationId xmlns:a16="http://schemas.microsoft.com/office/drawing/2014/main" id="{B094F7B1-F780-EF9D-C774-07639C265BBA}"/>
                  </a:ext>
                </a:extLst>
              </p:cNvPr>
              <p:cNvSpPr/>
              <p:nvPr/>
            </p:nvSpPr>
            <p:spPr>
              <a:xfrm>
                <a:off x="8328255" y="2235647"/>
                <a:ext cx="7473" cy="7473"/>
              </a:xfrm>
              <a:custGeom>
                <a:avLst/>
                <a:gdLst>
                  <a:gd name="connsiteX0" fmla="*/ 7473 w 7473"/>
                  <a:gd name="connsiteY0" fmla="*/ 3737 h 7473"/>
                  <a:gd name="connsiteX1" fmla="*/ 3737 w 7473"/>
                  <a:gd name="connsiteY1" fmla="*/ 7473 h 7473"/>
                  <a:gd name="connsiteX2" fmla="*/ 0 w 7473"/>
                  <a:gd name="connsiteY2" fmla="*/ 3737 h 7473"/>
                  <a:gd name="connsiteX3" fmla="*/ 3737 w 7473"/>
                  <a:gd name="connsiteY3" fmla="*/ 0 h 7473"/>
                  <a:gd name="connsiteX4" fmla="*/ 7473 w 7473"/>
                  <a:gd name="connsiteY4" fmla="*/ 3737 h 74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473" h="7473">
                    <a:moveTo>
                      <a:pt x="7473" y="3737"/>
                    </a:moveTo>
                    <a:cubicBezTo>
                      <a:pt x="7473" y="5796"/>
                      <a:pt x="5796" y="7473"/>
                      <a:pt x="3737" y="7473"/>
                    </a:cubicBezTo>
                    <a:cubicBezTo>
                      <a:pt x="1677" y="7473"/>
                      <a:pt x="0" y="5796"/>
                      <a:pt x="0" y="3737"/>
                    </a:cubicBezTo>
                    <a:cubicBezTo>
                      <a:pt x="0" y="1677"/>
                      <a:pt x="1677" y="0"/>
                      <a:pt x="3737" y="0"/>
                    </a:cubicBezTo>
                    <a:cubicBezTo>
                      <a:pt x="5796" y="0"/>
                      <a:pt x="7473" y="1677"/>
                      <a:pt x="7473" y="3737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27" name="Forma livre: Forma 726">
                <a:extLst>
                  <a:ext uri="{FF2B5EF4-FFF2-40B4-BE49-F238E27FC236}">
                    <a16:creationId xmlns:a16="http://schemas.microsoft.com/office/drawing/2014/main" id="{1B69EF38-57F4-70EB-032F-19C2A9A6D019}"/>
                  </a:ext>
                </a:extLst>
              </p:cNvPr>
              <p:cNvSpPr/>
              <p:nvPr/>
            </p:nvSpPr>
            <p:spPr>
              <a:xfrm>
                <a:off x="8364711" y="2235647"/>
                <a:ext cx="7473" cy="7473"/>
              </a:xfrm>
              <a:custGeom>
                <a:avLst/>
                <a:gdLst>
                  <a:gd name="connsiteX0" fmla="*/ 7473 w 7473"/>
                  <a:gd name="connsiteY0" fmla="*/ 3737 h 7473"/>
                  <a:gd name="connsiteX1" fmla="*/ 3737 w 7473"/>
                  <a:gd name="connsiteY1" fmla="*/ 7473 h 7473"/>
                  <a:gd name="connsiteX2" fmla="*/ 0 w 7473"/>
                  <a:gd name="connsiteY2" fmla="*/ 3737 h 7473"/>
                  <a:gd name="connsiteX3" fmla="*/ 3737 w 7473"/>
                  <a:gd name="connsiteY3" fmla="*/ 0 h 7473"/>
                  <a:gd name="connsiteX4" fmla="*/ 7473 w 7473"/>
                  <a:gd name="connsiteY4" fmla="*/ 3737 h 74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473" h="7473">
                    <a:moveTo>
                      <a:pt x="7473" y="3737"/>
                    </a:moveTo>
                    <a:cubicBezTo>
                      <a:pt x="7473" y="5796"/>
                      <a:pt x="5796" y="7473"/>
                      <a:pt x="3737" y="7473"/>
                    </a:cubicBezTo>
                    <a:cubicBezTo>
                      <a:pt x="1677" y="7473"/>
                      <a:pt x="0" y="5796"/>
                      <a:pt x="0" y="3737"/>
                    </a:cubicBezTo>
                    <a:cubicBezTo>
                      <a:pt x="0" y="1677"/>
                      <a:pt x="1677" y="0"/>
                      <a:pt x="3737" y="0"/>
                    </a:cubicBezTo>
                    <a:cubicBezTo>
                      <a:pt x="5796" y="0"/>
                      <a:pt x="7473" y="1677"/>
                      <a:pt x="7473" y="3737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728" name="Gráfico 15">
              <a:extLst>
                <a:ext uri="{FF2B5EF4-FFF2-40B4-BE49-F238E27FC236}">
                  <a16:creationId xmlns:a16="http://schemas.microsoft.com/office/drawing/2014/main" id="{AC39413B-07AE-A5B2-5796-5498C3A81734}"/>
                </a:ext>
              </a:extLst>
            </p:cNvPr>
            <p:cNvGrpSpPr/>
            <p:nvPr/>
          </p:nvGrpSpPr>
          <p:grpSpPr>
            <a:xfrm>
              <a:off x="8310004" y="2265971"/>
              <a:ext cx="43928" cy="7473"/>
              <a:chOff x="8310004" y="2265971"/>
              <a:chExt cx="43928" cy="7473"/>
            </a:xfrm>
            <a:solidFill>
              <a:srgbClr val="394553"/>
            </a:solidFill>
          </p:grpSpPr>
          <p:sp>
            <p:nvSpPr>
              <p:cNvPr id="729" name="Forma livre: Forma 728">
                <a:extLst>
                  <a:ext uri="{FF2B5EF4-FFF2-40B4-BE49-F238E27FC236}">
                    <a16:creationId xmlns:a16="http://schemas.microsoft.com/office/drawing/2014/main" id="{2C9D3EF8-4D35-A087-BE51-F6189DC86C68}"/>
                  </a:ext>
                </a:extLst>
              </p:cNvPr>
              <p:cNvSpPr/>
              <p:nvPr/>
            </p:nvSpPr>
            <p:spPr>
              <a:xfrm>
                <a:off x="8310004" y="2265971"/>
                <a:ext cx="7473" cy="7473"/>
              </a:xfrm>
              <a:custGeom>
                <a:avLst/>
                <a:gdLst>
                  <a:gd name="connsiteX0" fmla="*/ 7473 w 7473"/>
                  <a:gd name="connsiteY0" fmla="*/ 3737 h 7473"/>
                  <a:gd name="connsiteX1" fmla="*/ 3737 w 7473"/>
                  <a:gd name="connsiteY1" fmla="*/ 7473 h 7473"/>
                  <a:gd name="connsiteX2" fmla="*/ 0 w 7473"/>
                  <a:gd name="connsiteY2" fmla="*/ 3737 h 7473"/>
                  <a:gd name="connsiteX3" fmla="*/ 3737 w 7473"/>
                  <a:gd name="connsiteY3" fmla="*/ 0 h 7473"/>
                  <a:gd name="connsiteX4" fmla="*/ 7473 w 7473"/>
                  <a:gd name="connsiteY4" fmla="*/ 3737 h 74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473" h="7473">
                    <a:moveTo>
                      <a:pt x="7473" y="3737"/>
                    </a:moveTo>
                    <a:cubicBezTo>
                      <a:pt x="7473" y="5796"/>
                      <a:pt x="5796" y="7473"/>
                      <a:pt x="3737" y="7473"/>
                    </a:cubicBezTo>
                    <a:cubicBezTo>
                      <a:pt x="1677" y="7473"/>
                      <a:pt x="0" y="5796"/>
                      <a:pt x="0" y="3737"/>
                    </a:cubicBezTo>
                    <a:cubicBezTo>
                      <a:pt x="0" y="1677"/>
                      <a:pt x="1677" y="0"/>
                      <a:pt x="3737" y="0"/>
                    </a:cubicBezTo>
                    <a:cubicBezTo>
                      <a:pt x="5796" y="0"/>
                      <a:pt x="7473" y="1677"/>
                      <a:pt x="7473" y="3737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30" name="Forma livre: Forma 729">
                <a:extLst>
                  <a:ext uri="{FF2B5EF4-FFF2-40B4-BE49-F238E27FC236}">
                    <a16:creationId xmlns:a16="http://schemas.microsoft.com/office/drawing/2014/main" id="{7235F6D1-072C-715D-C1F5-C9A5500C51CA}"/>
                  </a:ext>
                </a:extLst>
              </p:cNvPr>
              <p:cNvSpPr/>
              <p:nvPr/>
            </p:nvSpPr>
            <p:spPr>
              <a:xfrm>
                <a:off x="8346459" y="2265971"/>
                <a:ext cx="7473" cy="7473"/>
              </a:xfrm>
              <a:custGeom>
                <a:avLst/>
                <a:gdLst>
                  <a:gd name="connsiteX0" fmla="*/ 7473 w 7473"/>
                  <a:gd name="connsiteY0" fmla="*/ 3737 h 7473"/>
                  <a:gd name="connsiteX1" fmla="*/ 3737 w 7473"/>
                  <a:gd name="connsiteY1" fmla="*/ 7473 h 7473"/>
                  <a:gd name="connsiteX2" fmla="*/ 0 w 7473"/>
                  <a:gd name="connsiteY2" fmla="*/ 3737 h 7473"/>
                  <a:gd name="connsiteX3" fmla="*/ 3737 w 7473"/>
                  <a:gd name="connsiteY3" fmla="*/ 0 h 7473"/>
                  <a:gd name="connsiteX4" fmla="*/ 7473 w 7473"/>
                  <a:gd name="connsiteY4" fmla="*/ 3737 h 74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473" h="7473">
                    <a:moveTo>
                      <a:pt x="7473" y="3737"/>
                    </a:moveTo>
                    <a:cubicBezTo>
                      <a:pt x="7473" y="5796"/>
                      <a:pt x="5796" y="7473"/>
                      <a:pt x="3737" y="7473"/>
                    </a:cubicBezTo>
                    <a:cubicBezTo>
                      <a:pt x="1677" y="7473"/>
                      <a:pt x="0" y="5796"/>
                      <a:pt x="0" y="3737"/>
                    </a:cubicBezTo>
                    <a:cubicBezTo>
                      <a:pt x="0" y="1677"/>
                      <a:pt x="1677" y="0"/>
                      <a:pt x="3737" y="0"/>
                    </a:cubicBezTo>
                    <a:cubicBezTo>
                      <a:pt x="5796" y="0"/>
                      <a:pt x="7473" y="1677"/>
                      <a:pt x="7473" y="3737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731" name="Gráfico 15">
            <a:extLst>
              <a:ext uri="{FF2B5EF4-FFF2-40B4-BE49-F238E27FC236}">
                <a16:creationId xmlns:a16="http://schemas.microsoft.com/office/drawing/2014/main" id="{7B06F037-C926-09A0-8754-31BC7130C48A}"/>
              </a:ext>
            </a:extLst>
          </p:cNvPr>
          <p:cNvGrpSpPr/>
          <p:nvPr/>
        </p:nvGrpSpPr>
        <p:grpSpPr>
          <a:xfrm>
            <a:off x="8171973" y="3101511"/>
            <a:ext cx="320031" cy="317828"/>
            <a:chOff x="8171973" y="3101511"/>
            <a:chExt cx="320031" cy="317828"/>
          </a:xfrm>
          <a:noFill/>
        </p:grpSpPr>
        <p:sp>
          <p:nvSpPr>
            <p:cNvPr id="732" name="Forma livre: Forma 731">
              <a:extLst>
                <a:ext uri="{FF2B5EF4-FFF2-40B4-BE49-F238E27FC236}">
                  <a16:creationId xmlns:a16="http://schemas.microsoft.com/office/drawing/2014/main" id="{2B6D569A-96AE-14C6-1A56-7D4B3686682C}"/>
                </a:ext>
              </a:extLst>
            </p:cNvPr>
            <p:cNvSpPr/>
            <p:nvPr/>
          </p:nvSpPr>
          <p:spPr>
            <a:xfrm>
              <a:off x="8326962" y="3101511"/>
              <a:ext cx="165043" cy="164995"/>
            </a:xfrm>
            <a:custGeom>
              <a:avLst/>
              <a:gdLst>
                <a:gd name="connsiteX0" fmla="*/ 18395 w 165043"/>
                <a:gd name="connsiteY0" fmla="*/ 164995 h 164995"/>
                <a:gd name="connsiteX1" fmla="*/ 71522 w 165043"/>
                <a:gd name="connsiteY1" fmla="*/ 111869 h 164995"/>
                <a:gd name="connsiteX2" fmla="*/ 75210 w 165043"/>
                <a:gd name="connsiteY2" fmla="*/ 113306 h 164995"/>
                <a:gd name="connsiteX3" fmla="*/ 101845 w 165043"/>
                <a:gd name="connsiteY3" fmla="*/ 123893 h 164995"/>
                <a:gd name="connsiteX4" fmla="*/ 139498 w 165043"/>
                <a:gd name="connsiteY4" fmla="*/ 116133 h 164995"/>
                <a:gd name="connsiteX5" fmla="*/ 157031 w 165043"/>
                <a:gd name="connsiteY5" fmla="*/ 98600 h 164995"/>
                <a:gd name="connsiteX6" fmla="*/ 157031 w 165043"/>
                <a:gd name="connsiteY6" fmla="*/ 59845 h 164995"/>
                <a:gd name="connsiteX7" fmla="*/ 105198 w 165043"/>
                <a:gd name="connsiteY7" fmla="*/ 8012 h 164995"/>
                <a:gd name="connsiteX8" fmla="*/ 66396 w 165043"/>
                <a:gd name="connsiteY8" fmla="*/ 8012 h 164995"/>
                <a:gd name="connsiteX9" fmla="*/ 48863 w 165043"/>
                <a:gd name="connsiteY9" fmla="*/ 25545 h 164995"/>
                <a:gd name="connsiteX10" fmla="*/ 40623 w 165043"/>
                <a:gd name="connsiteY10" fmla="*/ 63054 h 164995"/>
                <a:gd name="connsiteX11" fmla="*/ 49294 w 165043"/>
                <a:gd name="connsiteY11" fmla="*/ 86767 h 164995"/>
                <a:gd name="connsiteX12" fmla="*/ 52695 w 165043"/>
                <a:gd name="connsiteY12" fmla="*/ 93953 h 164995"/>
                <a:gd name="connsiteX13" fmla="*/ 0 w 165043"/>
                <a:gd name="connsiteY13" fmla="*/ 146648 h 164995"/>
                <a:gd name="connsiteX14" fmla="*/ 18395 w 165043"/>
                <a:gd name="connsiteY14" fmla="*/ 164995 h 1649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65043" h="164995">
                  <a:moveTo>
                    <a:pt x="18395" y="164995"/>
                  </a:moveTo>
                  <a:lnTo>
                    <a:pt x="71522" y="111869"/>
                  </a:lnTo>
                  <a:cubicBezTo>
                    <a:pt x="72911" y="112636"/>
                    <a:pt x="73677" y="112684"/>
                    <a:pt x="75210" y="113306"/>
                  </a:cubicBezTo>
                  <a:lnTo>
                    <a:pt x="101845" y="123893"/>
                  </a:lnTo>
                  <a:cubicBezTo>
                    <a:pt x="114061" y="128732"/>
                    <a:pt x="130205" y="125378"/>
                    <a:pt x="139498" y="116133"/>
                  </a:cubicBezTo>
                  <a:lnTo>
                    <a:pt x="157031" y="98600"/>
                  </a:lnTo>
                  <a:cubicBezTo>
                    <a:pt x="167714" y="87917"/>
                    <a:pt x="167714" y="70528"/>
                    <a:pt x="157031" y="59845"/>
                  </a:cubicBezTo>
                  <a:lnTo>
                    <a:pt x="105198" y="8012"/>
                  </a:lnTo>
                  <a:cubicBezTo>
                    <a:pt x="94516" y="-2671"/>
                    <a:pt x="77078" y="-2671"/>
                    <a:pt x="66396" y="8012"/>
                  </a:cubicBezTo>
                  <a:lnTo>
                    <a:pt x="48863" y="25545"/>
                  </a:lnTo>
                  <a:cubicBezTo>
                    <a:pt x="39665" y="34695"/>
                    <a:pt x="36120" y="50839"/>
                    <a:pt x="40623" y="63054"/>
                  </a:cubicBezTo>
                  <a:lnTo>
                    <a:pt x="49294" y="86767"/>
                  </a:lnTo>
                  <a:cubicBezTo>
                    <a:pt x="50252" y="89354"/>
                    <a:pt x="50970" y="91366"/>
                    <a:pt x="52695" y="93953"/>
                  </a:cubicBezTo>
                  <a:lnTo>
                    <a:pt x="0" y="146648"/>
                  </a:lnTo>
                  <a:lnTo>
                    <a:pt x="18395" y="164995"/>
                  </a:ln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733" name="Forma livre: Forma 732">
              <a:extLst>
                <a:ext uri="{FF2B5EF4-FFF2-40B4-BE49-F238E27FC236}">
                  <a16:creationId xmlns:a16="http://schemas.microsoft.com/office/drawing/2014/main" id="{58683CC1-816A-CD12-6C7E-097802A071C6}"/>
                </a:ext>
              </a:extLst>
            </p:cNvPr>
            <p:cNvSpPr/>
            <p:nvPr/>
          </p:nvSpPr>
          <p:spPr>
            <a:xfrm>
              <a:off x="8171973" y="3233069"/>
              <a:ext cx="186252" cy="186270"/>
            </a:xfrm>
            <a:custGeom>
              <a:avLst/>
              <a:gdLst>
                <a:gd name="connsiteX0" fmla="*/ 118725 w 186252"/>
                <a:gd name="connsiteY0" fmla="*/ 36360 h 186270"/>
                <a:gd name="connsiteX1" fmla="*/ 86964 w 186252"/>
                <a:gd name="connsiteY1" fmla="*/ 4599 h 186270"/>
                <a:gd name="connsiteX2" fmla="*/ 64689 w 186252"/>
                <a:gd name="connsiteY2" fmla="*/ 4599 h 186270"/>
                <a:gd name="connsiteX3" fmla="*/ 8784 w 186252"/>
                <a:gd name="connsiteY3" fmla="*/ 79043 h 186270"/>
                <a:gd name="connsiteX4" fmla="*/ 3850 w 186252"/>
                <a:gd name="connsiteY4" fmla="*/ 152720 h 186270"/>
                <a:gd name="connsiteX5" fmla="*/ 13335 w 186252"/>
                <a:gd name="connsiteY5" fmla="*/ 171786 h 186270"/>
                <a:gd name="connsiteX6" fmla="*/ 14532 w 186252"/>
                <a:gd name="connsiteY6" fmla="*/ 172936 h 186270"/>
                <a:gd name="connsiteX7" fmla="*/ 33599 w 186252"/>
                <a:gd name="connsiteY7" fmla="*/ 182421 h 186270"/>
                <a:gd name="connsiteX8" fmla="*/ 107228 w 186252"/>
                <a:gd name="connsiteY8" fmla="*/ 177487 h 186270"/>
                <a:gd name="connsiteX9" fmla="*/ 181672 w 186252"/>
                <a:gd name="connsiteY9" fmla="*/ 121582 h 186270"/>
                <a:gd name="connsiteX10" fmla="*/ 181672 w 186252"/>
                <a:gd name="connsiteY10" fmla="*/ 99306 h 186270"/>
                <a:gd name="connsiteX11" fmla="*/ 149001 w 186252"/>
                <a:gd name="connsiteY11" fmla="*/ 66635 h 186270"/>
                <a:gd name="connsiteX12" fmla="*/ 177648 w 186252"/>
                <a:gd name="connsiteY12" fmla="*/ 38228 h 1862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86252" h="186270">
                  <a:moveTo>
                    <a:pt x="118725" y="36360"/>
                  </a:moveTo>
                  <a:lnTo>
                    <a:pt x="86964" y="4599"/>
                  </a:lnTo>
                  <a:cubicBezTo>
                    <a:pt x="80832" y="-1533"/>
                    <a:pt x="70820" y="-1533"/>
                    <a:pt x="64689" y="4599"/>
                  </a:cubicBezTo>
                  <a:cubicBezTo>
                    <a:pt x="64689" y="4599"/>
                    <a:pt x="25071" y="40863"/>
                    <a:pt x="8784" y="79043"/>
                  </a:cubicBezTo>
                  <a:cubicBezTo>
                    <a:pt x="-7504" y="117270"/>
                    <a:pt x="3850" y="152720"/>
                    <a:pt x="3850" y="152720"/>
                  </a:cubicBezTo>
                  <a:cubicBezTo>
                    <a:pt x="6101" y="160049"/>
                    <a:pt x="11323" y="169774"/>
                    <a:pt x="13335" y="171786"/>
                  </a:cubicBezTo>
                  <a:lnTo>
                    <a:pt x="14532" y="172936"/>
                  </a:lnTo>
                  <a:cubicBezTo>
                    <a:pt x="16544" y="174948"/>
                    <a:pt x="26221" y="180169"/>
                    <a:pt x="33599" y="182421"/>
                  </a:cubicBezTo>
                  <a:cubicBezTo>
                    <a:pt x="33599" y="182421"/>
                    <a:pt x="69048" y="193774"/>
                    <a:pt x="107228" y="177487"/>
                  </a:cubicBezTo>
                  <a:cubicBezTo>
                    <a:pt x="145456" y="161247"/>
                    <a:pt x="181672" y="121582"/>
                    <a:pt x="181672" y="121582"/>
                  </a:cubicBezTo>
                  <a:cubicBezTo>
                    <a:pt x="187755" y="115450"/>
                    <a:pt x="187803" y="105438"/>
                    <a:pt x="181672" y="99306"/>
                  </a:cubicBezTo>
                  <a:lnTo>
                    <a:pt x="149001" y="66635"/>
                  </a:lnTo>
                  <a:lnTo>
                    <a:pt x="177648" y="38228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734" name="Forma livre: Forma 733">
              <a:extLst>
                <a:ext uri="{FF2B5EF4-FFF2-40B4-BE49-F238E27FC236}">
                  <a16:creationId xmlns:a16="http://schemas.microsoft.com/office/drawing/2014/main" id="{831F9E70-9967-89D6-61BA-7466C9F3EC77}"/>
                </a:ext>
              </a:extLst>
            </p:cNvPr>
            <p:cNvSpPr/>
            <p:nvPr/>
          </p:nvSpPr>
          <p:spPr>
            <a:xfrm>
              <a:off x="8255673" y="3260279"/>
              <a:ext cx="46091" cy="61940"/>
            </a:xfrm>
            <a:custGeom>
              <a:avLst/>
              <a:gdLst>
                <a:gd name="connsiteX0" fmla="*/ 4031 w 46091"/>
                <a:gd name="connsiteY0" fmla="*/ 61941 h 61940"/>
                <a:gd name="connsiteX1" fmla="*/ 4270 w 46091"/>
                <a:gd name="connsiteY1" fmla="*/ 41821 h 61940"/>
                <a:gd name="connsiteX2" fmla="*/ 46091 w 46091"/>
                <a:gd name="connsiteY2" fmla="*/ 0 h 619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6091" h="61940">
                  <a:moveTo>
                    <a:pt x="4031" y="61941"/>
                  </a:moveTo>
                  <a:cubicBezTo>
                    <a:pt x="-1430" y="56480"/>
                    <a:pt x="-1334" y="47426"/>
                    <a:pt x="4270" y="41821"/>
                  </a:cubicBezTo>
                  <a:lnTo>
                    <a:pt x="46091" y="0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735" name="Forma livre: Forma 734">
              <a:extLst>
                <a:ext uri="{FF2B5EF4-FFF2-40B4-BE49-F238E27FC236}">
                  <a16:creationId xmlns:a16="http://schemas.microsoft.com/office/drawing/2014/main" id="{D00AC3D2-EFCB-29C8-8587-4197FB2A1C1B}"/>
                </a:ext>
              </a:extLst>
            </p:cNvPr>
            <p:cNvSpPr/>
            <p:nvPr/>
          </p:nvSpPr>
          <p:spPr>
            <a:xfrm>
              <a:off x="8402268" y="3131511"/>
              <a:ext cx="59305" cy="64739"/>
            </a:xfrm>
            <a:custGeom>
              <a:avLst/>
              <a:gdLst>
                <a:gd name="connsiteX0" fmla="*/ 0 w 59305"/>
                <a:gd name="connsiteY0" fmla="*/ 10204 h 64739"/>
                <a:gd name="connsiteX1" fmla="*/ 10204 w 59305"/>
                <a:gd name="connsiteY1" fmla="*/ 0 h 64739"/>
                <a:gd name="connsiteX2" fmla="*/ 59306 w 59305"/>
                <a:gd name="connsiteY2" fmla="*/ 49869 h 64739"/>
                <a:gd name="connsiteX3" fmla="*/ 49485 w 59305"/>
                <a:gd name="connsiteY3" fmla="*/ 59689 h 64739"/>
                <a:gd name="connsiteX4" fmla="*/ 21365 w 59305"/>
                <a:gd name="connsiteY4" fmla="*/ 61414 h 647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9305" h="64739">
                  <a:moveTo>
                    <a:pt x="0" y="10204"/>
                  </a:moveTo>
                  <a:lnTo>
                    <a:pt x="10204" y="0"/>
                  </a:lnTo>
                  <a:cubicBezTo>
                    <a:pt x="21270" y="26156"/>
                    <a:pt x="33964" y="37174"/>
                    <a:pt x="59306" y="49869"/>
                  </a:cubicBezTo>
                  <a:lnTo>
                    <a:pt x="49485" y="59689"/>
                  </a:lnTo>
                  <a:cubicBezTo>
                    <a:pt x="49485" y="59689"/>
                    <a:pt x="36934" y="69797"/>
                    <a:pt x="21365" y="61414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736" name="Gráfico 15">
            <a:extLst>
              <a:ext uri="{FF2B5EF4-FFF2-40B4-BE49-F238E27FC236}">
                <a16:creationId xmlns:a16="http://schemas.microsoft.com/office/drawing/2014/main" id="{42860AF3-0794-3E33-BE27-F0928EA07536}"/>
              </a:ext>
            </a:extLst>
          </p:cNvPr>
          <p:cNvGrpSpPr/>
          <p:nvPr/>
        </p:nvGrpSpPr>
        <p:grpSpPr>
          <a:xfrm>
            <a:off x="8181667" y="2569255"/>
            <a:ext cx="300634" cy="317751"/>
            <a:chOff x="8181667" y="2569255"/>
            <a:chExt cx="300634" cy="317751"/>
          </a:xfrm>
          <a:noFill/>
        </p:grpSpPr>
        <p:sp>
          <p:nvSpPr>
            <p:cNvPr id="737" name="Forma livre: Forma 736">
              <a:extLst>
                <a:ext uri="{FF2B5EF4-FFF2-40B4-BE49-F238E27FC236}">
                  <a16:creationId xmlns:a16="http://schemas.microsoft.com/office/drawing/2014/main" id="{741CF65F-866B-7E7C-8C32-5CF714AC149E}"/>
                </a:ext>
              </a:extLst>
            </p:cNvPr>
            <p:cNvSpPr/>
            <p:nvPr/>
          </p:nvSpPr>
          <p:spPr>
            <a:xfrm>
              <a:off x="8258985" y="2569255"/>
              <a:ext cx="35066" cy="52072"/>
            </a:xfrm>
            <a:custGeom>
              <a:avLst/>
              <a:gdLst>
                <a:gd name="connsiteX0" fmla="*/ 0 w 35066"/>
                <a:gd name="connsiteY0" fmla="*/ 52072 h 52072"/>
                <a:gd name="connsiteX1" fmla="*/ 17533 w 35066"/>
                <a:gd name="connsiteY1" fmla="*/ 0 h 52072"/>
                <a:gd name="connsiteX2" fmla="*/ 35066 w 35066"/>
                <a:gd name="connsiteY2" fmla="*/ 52072 h 520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5066" h="52072">
                  <a:moveTo>
                    <a:pt x="0" y="52072"/>
                  </a:moveTo>
                  <a:cubicBezTo>
                    <a:pt x="0" y="39952"/>
                    <a:pt x="17533" y="0"/>
                    <a:pt x="17533" y="0"/>
                  </a:cubicBezTo>
                  <a:cubicBezTo>
                    <a:pt x="17533" y="0"/>
                    <a:pt x="35066" y="39952"/>
                    <a:pt x="35066" y="52072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738" name="Forma livre: Forma 737">
              <a:extLst>
                <a:ext uri="{FF2B5EF4-FFF2-40B4-BE49-F238E27FC236}">
                  <a16:creationId xmlns:a16="http://schemas.microsoft.com/office/drawing/2014/main" id="{1CC8BF67-E6B6-D0B6-14FA-DCD241D43954}"/>
                </a:ext>
              </a:extLst>
            </p:cNvPr>
            <p:cNvSpPr/>
            <p:nvPr/>
          </p:nvSpPr>
          <p:spPr>
            <a:xfrm>
              <a:off x="8241260" y="2641639"/>
              <a:ext cx="70611" cy="64000"/>
            </a:xfrm>
            <a:custGeom>
              <a:avLst/>
              <a:gdLst>
                <a:gd name="connsiteX0" fmla="*/ 0 w 70611"/>
                <a:gd name="connsiteY0" fmla="*/ 63809 h 64000"/>
                <a:gd name="connsiteX1" fmla="*/ 0 w 70611"/>
                <a:gd name="connsiteY1" fmla="*/ 0 h 64000"/>
                <a:gd name="connsiteX2" fmla="*/ 70611 w 70611"/>
                <a:gd name="connsiteY2" fmla="*/ 0 h 64000"/>
                <a:gd name="connsiteX3" fmla="*/ 70611 w 70611"/>
                <a:gd name="connsiteY3" fmla="*/ 64000 h 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0611" h="64000">
                  <a:moveTo>
                    <a:pt x="0" y="63809"/>
                  </a:moveTo>
                  <a:lnTo>
                    <a:pt x="0" y="0"/>
                  </a:lnTo>
                  <a:lnTo>
                    <a:pt x="70611" y="0"/>
                  </a:lnTo>
                  <a:lnTo>
                    <a:pt x="70611" y="6400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739" name="Forma livre: Forma 738">
              <a:extLst>
                <a:ext uri="{FF2B5EF4-FFF2-40B4-BE49-F238E27FC236}">
                  <a16:creationId xmlns:a16="http://schemas.microsoft.com/office/drawing/2014/main" id="{ED67D99A-6ABA-0BD7-24A0-746302B24F85}"/>
                </a:ext>
              </a:extLst>
            </p:cNvPr>
            <p:cNvSpPr/>
            <p:nvPr/>
          </p:nvSpPr>
          <p:spPr>
            <a:xfrm>
              <a:off x="8203320" y="2664393"/>
              <a:ext cx="36838" cy="36838"/>
            </a:xfrm>
            <a:custGeom>
              <a:avLst/>
              <a:gdLst>
                <a:gd name="connsiteX0" fmla="*/ 36839 w 36838"/>
                <a:gd name="connsiteY0" fmla="*/ 18443 h 36838"/>
                <a:gd name="connsiteX1" fmla="*/ 18443 w 36838"/>
                <a:gd name="connsiteY1" fmla="*/ 36839 h 36838"/>
                <a:gd name="connsiteX2" fmla="*/ 0 w 36838"/>
                <a:gd name="connsiteY2" fmla="*/ 18443 h 36838"/>
                <a:gd name="connsiteX3" fmla="*/ 18443 w 36838"/>
                <a:gd name="connsiteY3" fmla="*/ 0 h 36838"/>
                <a:gd name="connsiteX4" fmla="*/ 36839 w 36838"/>
                <a:gd name="connsiteY4" fmla="*/ 18443 h 368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6838" h="36838">
                  <a:moveTo>
                    <a:pt x="36839" y="18443"/>
                  </a:moveTo>
                  <a:cubicBezTo>
                    <a:pt x="36839" y="28599"/>
                    <a:pt x="28599" y="36839"/>
                    <a:pt x="18443" y="36839"/>
                  </a:cubicBezTo>
                  <a:cubicBezTo>
                    <a:pt x="8287" y="36839"/>
                    <a:pt x="0" y="28599"/>
                    <a:pt x="0" y="18443"/>
                  </a:cubicBezTo>
                  <a:cubicBezTo>
                    <a:pt x="0" y="8287"/>
                    <a:pt x="8240" y="0"/>
                    <a:pt x="18443" y="0"/>
                  </a:cubicBezTo>
                  <a:cubicBezTo>
                    <a:pt x="28647" y="0"/>
                    <a:pt x="36839" y="8239"/>
                    <a:pt x="36839" y="18443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740" name="Forma livre: Forma 739">
              <a:extLst>
                <a:ext uri="{FF2B5EF4-FFF2-40B4-BE49-F238E27FC236}">
                  <a16:creationId xmlns:a16="http://schemas.microsoft.com/office/drawing/2014/main" id="{5873D08D-B366-F8F4-0875-0436E8B1E5DE}"/>
                </a:ext>
              </a:extLst>
            </p:cNvPr>
            <p:cNvSpPr/>
            <p:nvPr/>
          </p:nvSpPr>
          <p:spPr>
            <a:xfrm>
              <a:off x="8192877" y="2705879"/>
              <a:ext cx="152144" cy="25245"/>
            </a:xfrm>
            <a:custGeom>
              <a:avLst/>
              <a:gdLst>
                <a:gd name="connsiteX0" fmla="*/ 0 w 152144"/>
                <a:gd name="connsiteY0" fmla="*/ 24863 h 25245"/>
                <a:gd name="connsiteX1" fmla="*/ 0 w 152144"/>
                <a:gd name="connsiteY1" fmla="*/ 0 h 25245"/>
                <a:gd name="connsiteX2" fmla="*/ 118995 w 152144"/>
                <a:gd name="connsiteY2" fmla="*/ 0 h 25245"/>
                <a:gd name="connsiteX3" fmla="*/ 152145 w 152144"/>
                <a:gd name="connsiteY3" fmla="*/ 25246 h 252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2144" h="25245">
                  <a:moveTo>
                    <a:pt x="0" y="24863"/>
                  </a:moveTo>
                  <a:lnTo>
                    <a:pt x="0" y="0"/>
                  </a:lnTo>
                  <a:lnTo>
                    <a:pt x="118995" y="0"/>
                  </a:lnTo>
                  <a:lnTo>
                    <a:pt x="152145" y="25246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741" name="Forma livre: Forma 740">
              <a:extLst>
                <a:ext uri="{FF2B5EF4-FFF2-40B4-BE49-F238E27FC236}">
                  <a16:creationId xmlns:a16="http://schemas.microsoft.com/office/drawing/2014/main" id="{2E3CF194-B838-C2C7-242A-E34F54940289}"/>
                </a:ext>
              </a:extLst>
            </p:cNvPr>
            <p:cNvSpPr/>
            <p:nvPr/>
          </p:nvSpPr>
          <p:spPr>
            <a:xfrm>
              <a:off x="8181667" y="2732418"/>
              <a:ext cx="172600" cy="154588"/>
            </a:xfrm>
            <a:custGeom>
              <a:avLst/>
              <a:gdLst>
                <a:gd name="connsiteX0" fmla="*/ 0 w 172600"/>
                <a:gd name="connsiteY0" fmla="*/ 0 h 154588"/>
                <a:gd name="connsiteX1" fmla="*/ 0 w 172600"/>
                <a:gd name="connsiteY1" fmla="*/ 136001 h 154588"/>
                <a:gd name="connsiteX2" fmla="*/ 18539 w 172600"/>
                <a:gd name="connsiteY2" fmla="*/ 154588 h 154588"/>
                <a:gd name="connsiteX3" fmla="*/ 154013 w 172600"/>
                <a:gd name="connsiteY3" fmla="*/ 154588 h 154588"/>
                <a:gd name="connsiteX4" fmla="*/ 172600 w 172600"/>
                <a:gd name="connsiteY4" fmla="*/ 136001 h 154588"/>
                <a:gd name="connsiteX5" fmla="*/ 172600 w 172600"/>
                <a:gd name="connsiteY5" fmla="*/ 0 h 154588"/>
                <a:gd name="connsiteX6" fmla="*/ 0 w 172600"/>
                <a:gd name="connsiteY6" fmla="*/ 0 h 1545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72600" h="154588">
                  <a:moveTo>
                    <a:pt x="0" y="0"/>
                  </a:moveTo>
                  <a:lnTo>
                    <a:pt x="0" y="136001"/>
                  </a:lnTo>
                  <a:cubicBezTo>
                    <a:pt x="0" y="146205"/>
                    <a:pt x="8335" y="154588"/>
                    <a:pt x="18539" y="154588"/>
                  </a:cubicBezTo>
                  <a:lnTo>
                    <a:pt x="154013" y="154588"/>
                  </a:lnTo>
                  <a:cubicBezTo>
                    <a:pt x="164217" y="154588"/>
                    <a:pt x="172600" y="146253"/>
                    <a:pt x="172600" y="136001"/>
                  </a:cubicBezTo>
                  <a:lnTo>
                    <a:pt x="17260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742" name="Forma livre: Forma 741">
              <a:extLst>
                <a:ext uri="{FF2B5EF4-FFF2-40B4-BE49-F238E27FC236}">
                  <a16:creationId xmlns:a16="http://schemas.microsoft.com/office/drawing/2014/main" id="{BA1B8BF0-EB62-27EB-CF57-A4FC1E781705}"/>
                </a:ext>
              </a:extLst>
            </p:cNvPr>
            <p:cNvSpPr/>
            <p:nvPr/>
          </p:nvSpPr>
          <p:spPr>
            <a:xfrm>
              <a:off x="8354076" y="2570500"/>
              <a:ext cx="128226" cy="184226"/>
            </a:xfrm>
            <a:custGeom>
              <a:avLst/>
              <a:gdLst>
                <a:gd name="connsiteX0" fmla="*/ 81390 w 128226"/>
                <a:gd name="connsiteY0" fmla="*/ 171978 h 184226"/>
                <a:gd name="connsiteX1" fmla="*/ 127139 w 128226"/>
                <a:gd name="connsiteY1" fmla="*/ 44455 h 184226"/>
                <a:gd name="connsiteX2" fmla="*/ 115929 w 128226"/>
                <a:gd name="connsiteY2" fmla="*/ 20695 h 184226"/>
                <a:gd name="connsiteX3" fmla="*/ 58300 w 128226"/>
                <a:gd name="connsiteY3" fmla="*/ 0 h 184226"/>
                <a:gd name="connsiteX4" fmla="*/ 0 w 128226"/>
                <a:gd name="connsiteY4" fmla="*/ 162445 h 184226"/>
                <a:gd name="connsiteX5" fmla="*/ 57677 w 128226"/>
                <a:gd name="connsiteY5" fmla="*/ 183139 h 184226"/>
                <a:gd name="connsiteX6" fmla="*/ 81390 w 128226"/>
                <a:gd name="connsiteY6" fmla="*/ 171930 h 1842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28226" h="184226">
                  <a:moveTo>
                    <a:pt x="81390" y="171978"/>
                  </a:moveTo>
                  <a:lnTo>
                    <a:pt x="127139" y="44455"/>
                  </a:lnTo>
                  <a:cubicBezTo>
                    <a:pt x="130588" y="34875"/>
                    <a:pt x="125558" y="24192"/>
                    <a:pt x="115929" y="20695"/>
                  </a:cubicBezTo>
                  <a:lnTo>
                    <a:pt x="58300" y="0"/>
                  </a:lnTo>
                  <a:lnTo>
                    <a:pt x="0" y="162445"/>
                  </a:lnTo>
                  <a:lnTo>
                    <a:pt x="57677" y="183139"/>
                  </a:lnTo>
                  <a:cubicBezTo>
                    <a:pt x="67258" y="186588"/>
                    <a:pt x="77941" y="181558"/>
                    <a:pt x="81390" y="171930"/>
                  </a:cubicBez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743" name="Gráfico 15">
            <a:extLst>
              <a:ext uri="{FF2B5EF4-FFF2-40B4-BE49-F238E27FC236}">
                <a16:creationId xmlns:a16="http://schemas.microsoft.com/office/drawing/2014/main" id="{666901E2-2819-29B1-7109-638FE5C7A49B}"/>
              </a:ext>
            </a:extLst>
          </p:cNvPr>
          <p:cNvGrpSpPr/>
          <p:nvPr/>
        </p:nvGrpSpPr>
        <p:grpSpPr>
          <a:xfrm>
            <a:off x="8801119" y="989444"/>
            <a:ext cx="310327" cy="283722"/>
            <a:chOff x="8801119" y="989444"/>
            <a:chExt cx="310327" cy="283722"/>
          </a:xfrm>
          <a:noFill/>
        </p:grpSpPr>
        <p:sp>
          <p:nvSpPr>
            <p:cNvPr id="744" name="Forma livre: Forma 743">
              <a:extLst>
                <a:ext uri="{FF2B5EF4-FFF2-40B4-BE49-F238E27FC236}">
                  <a16:creationId xmlns:a16="http://schemas.microsoft.com/office/drawing/2014/main" id="{69B8AC93-BB88-BC23-3912-4EB8E485F3B9}"/>
                </a:ext>
              </a:extLst>
            </p:cNvPr>
            <p:cNvSpPr/>
            <p:nvPr/>
          </p:nvSpPr>
          <p:spPr>
            <a:xfrm>
              <a:off x="8920548" y="989444"/>
              <a:ext cx="164075" cy="164804"/>
            </a:xfrm>
            <a:custGeom>
              <a:avLst/>
              <a:gdLst>
                <a:gd name="connsiteX0" fmla="*/ 0 w 164075"/>
                <a:gd name="connsiteY0" fmla="*/ 82456 h 164804"/>
                <a:gd name="connsiteX1" fmla="*/ 41006 w 164075"/>
                <a:gd name="connsiteY1" fmla="*/ 24635 h 164804"/>
                <a:gd name="connsiteX2" fmla="*/ 141702 w 164075"/>
                <a:gd name="connsiteY2" fmla="*/ 20563 h 164804"/>
                <a:gd name="connsiteX3" fmla="*/ 143474 w 164075"/>
                <a:gd name="connsiteY3" fmla="*/ 22336 h 164804"/>
                <a:gd name="connsiteX4" fmla="*/ 139594 w 164075"/>
                <a:gd name="connsiteY4" fmla="*/ 123271 h 164804"/>
                <a:gd name="connsiteX5" fmla="*/ 82396 w 164075"/>
                <a:gd name="connsiteY5" fmla="*/ 164804 h 1648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64075" h="164804">
                  <a:moveTo>
                    <a:pt x="0" y="82456"/>
                  </a:moveTo>
                  <a:lnTo>
                    <a:pt x="41006" y="24635"/>
                  </a:lnTo>
                  <a:cubicBezTo>
                    <a:pt x="67498" y="-6551"/>
                    <a:pt x="112767" y="-8371"/>
                    <a:pt x="141702" y="20563"/>
                  </a:cubicBezTo>
                  <a:lnTo>
                    <a:pt x="143474" y="22336"/>
                  </a:lnTo>
                  <a:cubicBezTo>
                    <a:pt x="172409" y="51270"/>
                    <a:pt x="170636" y="96684"/>
                    <a:pt x="139594" y="123271"/>
                  </a:cubicBezTo>
                  <a:lnTo>
                    <a:pt x="82396" y="164804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745" name="Forma livre: Forma 744">
              <a:extLst>
                <a:ext uri="{FF2B5EF4-FFF2-40B4-BE49-F238E27FC236}">
                  <a16:creationId xmlns:a16="http://schemas.microsoft.com/office/drawing/2014/main" id="{5A5EE6A7-EB44-3B8B-3FC0-AE9EBBA1396B}"/>
                </a:ext>
              </a:extLst>
            </p:cNvPr>
            <p:cNvSpPr/>
            <p:nvPr/>
          </p:nvSpPr>
          <p:spPr>
            <a:xfrm>
              <a:off x="8938703" y="1017303"/>
              <a:ext cx="118169" cy="119555"/>
            </a:xfrm>
            <a:custGeom>
              <a:avLst/>
              <a:gdLst>
                <a:gd name="connsiteX0" fmla="*/ 0 w 118169"/>
                <a:gd name="connsiteY0" fmla="*/ 69495 h 119555"/>
                <a:gd name="connsiteX1" fmla="*/ 42348 w 118169"/>
                <a:gd name="connsiteY1" fmla="*/ 15171 h 119555"/>
                <a:gd name="connsiteX2" fmla="*/ 104384 w 118169"/>
                <a:gd name="connsiteY2" fmla="*/ 12633 h 119555"/>
                <a:gd name="connsiteX3" fmla="*/ 105486 w 118169"/>
                <a:gd name="connsiteY3" fmla="*/ 13686 h 119555"/>
                <a:gd name="connsiteX4" fmla="*/ 103091 w 118169"/>
                <a:gd name="connsiteY4" fmla="*/ 75867 h 119555"/>
                <a:gd name="connsiteX5" fmla="*/ 48958 w 118169"/>
                <a:gd name="connsiteY5" fmla="*/ 119556 h 1195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8169" h="119555">
                  <a:moveTo>
                    <a:pt x="0" y="69495"/>
                  </a:moveTo>
                  <a:lnTo>
                    <a:pt x="42348" y="15171"/>
                  </a:lnTo>
                  <a:cubicBezTo>
                    <a:pt x="58635" y="-4038"/>
                    <a:pt x="86564" y="-5140"/>
                    <a:pt x="104384" y="12633"/>
                  </a:cubicBezTo>
                  <a:lnTo>
                    <a:pt x="105486" y="13686"/>
                  </a:lnTo>
                  <a:cubicBezTo>
                    <a:pt x="123306" y="31507"/>
                    <a:pt x="122205" y="59483"/>
                    <a:pt x="103091" y="75867"/>
                  </a:cubicBezTo>
                  <a:lnTo>
                    <a:pt x="48958" y="119556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746" name="Forma livre: Forma 745">
              <a:extLst>
                <a:ext uri="{FF2B5EF4-FFF2-40B4-BE49-F238E27FC236}">
                  <a16:creationId xmlns:a16="http://schemas.microsoft.com/office/drawing/2014/main" id="{B96C2DAD-E34B-F39B-BAA9-AA921621AC50}"/>
                </a:ext>
              </a:extLst>
            </p:cNvPr>
            <p:cNvSpPr/>
            <p:nvPr/>
          </p:nvSpPr>
          <p:spPr>
            <a:xfrm>
              <a:off x="8956620" y="1044186"/>
              <a:ext cx="73389" cy="74325"/>
            </a:xfrm>
            <a:custGeom>
              <a:avLst/>
              <a:gdLst>
                <a:gd name="connsiteX0" fmla="*/ 0 w 73389"/>
                <a:gd name="connsiteY0" fmla="*/ 58181 h 74325"/>
                <a:gd name="connsiteX1" fmla="*/ 43306 w 73389"/>
                <a:gd name="connsiteY1" fmla="*/ 6013 h 74325"/>
                <a:gd name="connsiteX2" fmla="*/ 67929 w 73389"/>
                <a:gd name="connsiteY2" fmla="*/ 5007 h 74325"/>
                <a:gd name="connsiteX3" fmla="*/ 68360 w 73389"/>
                <a:gd name="connsiteY3" fmla="*/ 5438 h 74325"/>
                <a:gd name="connsiteX4" fmla="*/ 67402 w 73389"/>
                <a:gd name="connsiteY4" fmla="*/ 30109 h 74325"/>
                <a:gd name="connsiteX5" fmla="*/ 15377 w 73389"/>
                <a:gd name="connsiteY5" fmla="*/ 74325 h 743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3389" h="74325">
                  <a:moveTo>
                    <a:pt x="0" y="58181"/>
                  </a:moveTo>
                  <a:lnTo>
                    <a:pt x="43306" y="6013"/>
                  </a:lnTo>
                  <a:cubicBezTo>
                    <a:pt x="49773" y="-1604"/>
                    <a:pt x="60839" y="-2035"/>
                    <a:pt x="67929" y="5007"/>
                  </a:cubicBezTo>
                  <a:lnTo>
                    <a:pt x="68360" y="5438"/>
                  </a:lnTo>
                  <a:cubicBezTo>
                    <a:pt x="75402" y="12528"/>
                    <a:pt x="75019" y="23594"/>
                    <a:pt x="67402" y="30109"/>
                  </a:cubicBezTo>
                  <a:lnTo>
                    <a:pt x="15377" y="74325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747" name="Forma livre: Forma 746">
              <a:extLst>
                <a:ext uri="{FF2B5EF4-FFF2-40B4-BE49-F238E27FC236}">
                  <a16:creationId xmlns:a16="http://schemas.microsoft.com/office/drawing/2014/main" id="{B37FA859-D5D3-31CF-4ABF-0FD80BCE3608}"/>
                </a:ext>
              </a:extLst>
            </p:cNvPr>
            <p:cNvSpPr/>
            <p:nvPr/>
          </p:nvSpPr>
          <p:spPr>
            <a:xfrm>
              <a:off x="8801119" y="1108404"/>
              <a:ext cx="164075" cy="164763"/>
            </a:xfrm>
            <a:custGeom>
              <a:avLst/>
              <a:gdLst>
                <a:gd name="connsiteX0" fmla="*/ 164075 w 164075"/>
                <a:gd name="connsiteY0" fmla="*/ 82300 h 164763"/>
                <a:gd name="connsiteX1" fmla="*/ 123069 w 164075"/>
                <a:gd name="connsiteY1" fmla="*/ 140121 h 164763"/>
                <a:gd name="connsiteX2" fmla="*/ 22373 w 164075"/>
                <a:gd name="connsiteY2" fmla="*/ 144241 h 164763"/>
                <a:gd name="connsiteX3" fmla="*/ 20601 w 164075"/>
                <a:gd name="connsiteY3" fmla="*/ 142468 h 164763"/>
                <a:gd name="connsiteX4" fmla="*/ 24481 w 164075"/>
                <a:gd name="connsiteY4" fmla="*/ 41533 h 164763"/>
                <a:gd name="connsiteX5" fmla="*/ 81679 w 164075"/>
                <a:gd name="connsiteY5" fmla="*/ 0 h 1647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64075" h="164763">
                  <a:moveTo>
                    <a:pt x="164075" y="82300"/>
                  </a:moveTo>
                  <a:lnTo>
                    <a:pt x="123069" y="140121"/>
                  </a:lnTo>
                  <a:cubicBezTo>
                    <a:pt x="96626" y="171307"/>
                    <a:pt x="51308" y="173127"/>
                    <a:pt x="22373" y="144241"/>
                  </a:cubicBezTo>
                  <a:lnTo>
                    <a:pt x="20601" y="142468"/>
                  </a:lnTo>
                  <a:cubicBezTo>
                    <a:pt x="-8333" y="113534"/>
                    <a:pt x="-6561" y="68120"/>
                    <a:pt x="24481" y="41533"/>
                  </a:cubicBezTo>
                  <a:lnTo>
                    <a:pt x="81679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748" name="Forma livre: Forma 747">
              <a:extLst>
                <a:ext uri="{FF2B5EF4-FFF2-40B4-BE49-F238E27FC236}">
                  <a16:creationId xmlns:a16="http://schemas.microsoft.com/office/drawing/2014/main" id="{2CDC2FCF-869A-CA20-4040-968990DEC428}"/>
                </a:ext>
              </a:extLst>
            </p:cNvPr>
            <p:cNvSpPr/>
            <p:nvPr/>
          </p:nvSpPr>
          <p:spPr>
            <a:xfrm>
              <a:off x="8828917" y="1125793"/>
              <a:ext cx="118169" cy="119555"/>
            </a:xfrm>
            <a:custGeom>
              <a:avLst/>
              <a:gdLst>
                <a:gd name="connsiteX0" fmla="*/ 118170 w 118169"/>
                <a:gd name="connsiteY0" fmla="*/ 50060 h 119555"/>
                <a:gd name="connsiteX1" fmla="*/ 75822 w 118169"/>
                <a:gd name="connsiteY1" fmla="*/ 104384 h 119555"/>
                <a:gd name="connsiteX2" fmla="*/ 13786 w 118169"/>
                <a:gd name="connsiteY2" fmla="*/ 106923 h 119555"/>
                <a:gd name="connsiteX3" fmla="*/ 12684 w 118169"/>
                <a:gd name="connsiteY3" fmla="*/ 105869 h 119555"/>
                <a:gd name="connsiteX4" fmla="*/ 15079 w 118169"/>
                <a:gd name="connsiteY4" fmla="*/ 43689 h 119555"/>
                <a:gd name="connsiteX5" fmla="*/ 69211 w 118169"/>
                <a:gd name="connsiteY5" fmla="*/ 0 h 1195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8169" h="119555">
                  <a:moveTo>
                    <a:pt x="118170" y="50060"/>
                  </a:moveTo>
                  <a:lnTo>
                    <a:pt x="75822" y="104384"/>
                  </a:lnTo>
                  <a:cubicBezTo>
                    <a:pt x="59487" y="123594"/>
                    <a:pt x="31606" y="124696"/>
                    <a:pt x="13786" y="106923"/>
                  </a:cubicBezTo>
                  <a:lnTo>
                    <a:pt x="12684" y="105869"/>
                  </a:lnTo>
                  <a:cubicBezTo>
                    <a:pt x="-5137" y="88049"/>
                    <a:pt x="-4035" y="60072"/>
                    <a:pt x="15079" y="43689"/>
                  </a:cubicBezTo>
                  <a:lnTo>
                    <a:pt x="69211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749" name="Forma livre: Forma 748">
              <a:extLst>
                <a:ext uri="{FF2B5EF4-FFF2-40B4-BE49-F238E27FC236}">
                  <a16:creationId xmlns:a16="http://schemas.microsoft.com/office/drawing/2014/main" id="{3244F55B-F8C0-CD27-21CF-B4E1C143897F}"/>
                </a:ext>
              </a:extLst>
            </p:cNvPr>
            <p:cNvSpPr/>
            <p:nvPr/>
          </p:nvSpPr>
          <p:spPr>
            <a:xfrm>
              <a:off x="8855781" y="1144093"/>
              <a:ext cx="73389" cy="74325"/>
            </a:xfrm>
            <a:custGeom>
              <a:avLst/>
              <a:gdLst>
                <a:gd name="connsiteX0" fmla="*/ 73389 w 73389"/>
                <a:gd name="connsiteY0" fmla="*/ 16144 h 74325"/>
                <a:gd name="connsiteX1" fmla="*/ 30084 w 73389"/>
                <a:gd name="connsiteY1" fmla="*/ 68312 h 74325"/>
                <a:gd name="connsiteX2" fmla="*/ 5461 w 73389"/>
                <a:gd name="connsiteY2" fmla="*/ 69318 h 74325"/>
                <a:gd name="connsiteX3" fmla="*/ 5030 w 73389"/>
                <a:gd name="connsiteY3" fmla="*/ 68887 h 74325"/>
                <a:gd name="connsiteX4" fmla="*/ 5988 w 73389"/>
                <a:gd name="connsiteY4" fmla="*/ 44216 h 74325"/>
                <a:gd name="connsiteX5" fmla="*/ 58012 w 73389"/>
                <a:gd name="connsiteY5" fmla="*/ 0 h 743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3389" h="74325">
                  <a:moveTo>
                    <a:pt x="73389" y="16144"/>
                  </a:moveTo>
                  <a:lnTo>
                    <a:pt x="30084" y="68312"/>
                  </a:lnTo>
                  <a:cubicBezTo>
                    <a:pt x="23616" y="75929"/>
                    <a:pt x="12550" y="76360"/>
                    <a:pt x="5461" y="69318"/>
                  </a:cubicBezTo>
                  <a:lnTo>
                    <a:pt x="5030" y="68887"/>
                  </a:lnTo>
                  <a:cubicBezTo>
                    <a:pt x="-2012" y="61797"/>
                    <a:pt x="-1629" y="50731"/>
                    <a:pt x="5988" y="44216"/>
                  </a:cubicBezTo>
                  <a:lnTo>
                    <a:pt x="58012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750" name="Forma livre: Forma 749">
              <a:extLst>
                <a:ext uri="{FF2B5EF4-FFF2-40B4-BE49-F238E27FC236}">
                  <a16:creationId xmlns:a16="http://schemas.microsoft.com/office/drawing/2014/main" id="{8DC52D7C-D2F6-3407-3080-4D25168FE44B}"/>
                </a:ext>
              </a:extLst>
            </p:cNvPr>
            <p:cNvSpPr/>
            <p:nvPr/>
          </p:nvSpPr>
          <p:spPr>
            <a:xfrm>
              <a:off x="8872787" y="1099637"/>
              <a:ext cx="103617" cy="103569"/>
            </a:xfrm>
            <a:custGeom>
              <a:avLst/>
              <a:gdLst>
                <a:gd name="connsiteX0" fmla="*/ 0 w 103617"/>
                <a:gd name="connsiteY0" fmla="*/ 0 h 103569"/>
                <a:gd name="connsiteX1" fmla="*/ 103618 w 103617"/>
                <a:gd name="connsiteY1" fmla="*/ 103570 h 1035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3617" h="103569">
                  <a:moveTo>
                    <a:pt x="0" y="0"/>
                  </a:moveTo>
                  <a:lnTo>
                    <a:pt x="103618" y="10357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751" name="Forma livre: Forma 750">
              <a:extLst>
                <a:ext uri="{FF2B5EF4-FFF2-40B4-BE49-F238E27FC236}">
                  <a16:creationId xmlns:a16="http://schemas.microsoft.com/office/drawing/2014/main" id="{31F538B3-D988-0601-CB15-A671EE34915D}"/>
                </a:ext>
              </a:extLst>
            </p:cNvPr>
            <p:cNvSpPr/>
            <p:nvPr/>
          </p:nvSpPr>
          <p:spPr>
            <a:xfrm>
              <a:off x="8891374" y="1081050"/>
              <a:ext cx="103617" cy="103617"/>
            </a:xfrm>
            <a:custGeom>
              <a:avLst/>
              <a:gdLst>
                <a:gd name="connsiteX0" fmla="*/ 0 w 103617"/>
                <a:gd name="connsiteY0" fmla="*/ 0 h 103617"/>
                <a:gd name="connsiteX1" fmla="*/ 103618 w 103617"/>
                <a:gd name="connsiteY1" fmla="*/ 103618 h 1036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3617" h="103617">
                  <a:moveTo>
                    <a:pt x="0" y="0"/>
                  </a:moveTo>
                  <a:lnTo>
                    <a:pt x="103618" y="103618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752" name="Forma livre: Forma 751">
              <a:extLst>
                <a:ext uri="{FF2B5EF4-FFF2-40B4-BE49-F238E27FC236}">
                  <a16:creationId xmlns:a16="http://schemas.microsoft.com/office/drawing/2014/main" id="{3265A3F1-D20A-0389-1FC3-D6DA3D77F334}"/>
                </a:ext>
              </a:extLst>
            </p:cNvPr>
            <p:cNvSpPr/>
            <p:nvPr/>
          </p:nvSpPr>
          <p:spPr>
            <a:xfrm>
              <a:off x="8910775" y="1061601"/>
              <a:ext cx="103617" cy="103617"/>
            </a:xfrm>
            <a:custGeom>
              <a:avLst/>
              <a:gdLst>
                <a:gd name="connsiteX0" fmla="*/ 0 w 103617"/>
                <a:gd name="connsiteY0" fmla="*/ 0 h 103617"/>
                <a:gd name="connsiteX1" fmla="*/ 103618 w 103617"/>
                <a:gd name="connsiteY1" fmla="*/ 103618 h 1036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3617" h="103617">
                  <a:moveTo>
                    <a:pt x="0" y="0"/>
                  </a:moveTo>
                  <a:lnTo>
                    <a:pt x="103618" y="103618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753" name="Forma livre: Forma 752">
              <a:extLst>
                <a:ext uri="{FF2B5EF4-FFF2-40B4-BE49-F238E27FC236}">
                  <a16:creationId xmlns:a16="http://schemas.microsoft.com/office/drawing/2014/main" id="{6DCF794B-8910-5E1C-F344-FCAE5EB56A83}"/>
                </a:ext>
              </a:extLst>
            </p:cNvPr>
            <p:cNvSpPr/>
            <p:nvPr/>
          </p:nvSpPr>
          <p:spPr>
            <a:xfrm>
              <a:off x="9003566" y="1135242"/>
              <a:ext cx="107881" cy="28395"/>
            </a:xfrm>
            <a:custGeom>
              <a:avLst/>
              <a:gdLst>
                <a:gd name="connsiteX0" fmla="*/ 0 w 107881"/>
                <a:gd name="connsiteY0" fmla="*/ 18958 h 28395"/>
                <a:gd name="connsiteX1" fmla="*/ 107881 w 107881"/>
                <a:gd name="connsiteY1" fmla="*/ 28396 h 283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7881" h="28395">
                  <a:moveTo>
                    <a:pt x="0" y="18958"/>
                  </a:moveTo>
                  <a:cubicBezTo>
                    <a:pt x="0" y="18958"/>
                    <a:pt x="50060" y="-29425"/>
                    <a:pt x="107881" y="28396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754" name="Gráfico 15">
            <a:extLst>
              <a:ext uri="{FF2B5EF4-FFF2-40B4-BE49-F238E27FC236}">
                <a16:creationId xmlns:a16="http://schemas.microsoft.com/office/drawing/2014/main" id="{8F981EBB-C60E-FA0C-D713-C5BCA00B84B4}"/>
              </a:ext>
            </a:extLst>
          </p:cNvPr>
          <p:cNvGrpSpPr/>
          <p:nvPr/>
        </p:nvGrpSpPr>
        <p:grpSpPr>
          <a:xfrm>
            <a:off x="8796523" y="1531833"/>
            <a:ext cx="319571" cy="263523"/>
            <a:chOff x="8796523" y="1531833"/>
            <a:chExt cx="319571" cy="263523"/>
          </a:xfrm>
          <a:noFill/>
        </p:grpSpPr>
        <p:grpSp>
          <p:nvGrpSpPr>
            <p:cNvPr id="755" name="Gráfico 15">
              <a:extLst>
                <a:ext uri="{FF2B5EF4-FFF2-40B4-BE49-F238E27FC236}">
                  <a16:creationId xmlns:a16="http://schemas.microsoft.com/office/drawing/2014/main" id="{90ABE711-4A2D-49CA-4ABE-2B2B03739DE0}"/>
                </a:ext>
              </a:extLst>
            </p:cNvPr>
            <p:cNvGrpSpPr/>
            <p:nvPr/>
          </p:nvGrpSpPr>
          <p:grpSpPr>
            <a:xfrm>
              <a:off x="8796523" y="1531833"/>
              <a:ext cx="319571" cy="180983"/>
              <a:chOff x="8796523" y="1531833"/>
              <a:chExt cx="319571" cy="180983"/>
            </a:xfrm>
            <a:noFill/>
          </p:grpSpPr>
          <p:sp>
            <p:nvSpPr>
              <p:cNvPr id="756" name="Forma livre: Forma 755">
                <a:extLst>
                  <a:ext uri="{FF2B5EF4-FFF2-40B4-BE49-F238E27FC236}">
                    <a16:creationId xmlns:a16="http://schemas.microsoft.com/office/drawing/2014/main" id="{CE2CC61C-1E38-9C95-286E-2A0BA6885B60}"/>
                  </a:ext>
                </a:extLst>
              </p:cNvPr>
              <p:cNvSpPr/>
              <p:nvPr/>
            </p:nvSpPr>
            <p:spPr>
              <a:xfrm>
                <a:off x="8796523" y="1531833"/>
                <a:ext cx="112144" cy="180983"/>
              </a:xfrm>
              <a:custGeom>
                <a:avLst/>
                <a:gdLst>
                  <a:gd name="connsiteX0" fmla="*/ 67498 w 112144"/>
                  <a:gd name="connsiteY0" fmla="*/ 180984 h 180983"/>
                  <a:gd name="connsiteX1" fmla="*/ 0 w 112144"/>
                  <a:gd name="connsiteY1" fmla="*/ 180984 h 180983"/>
                  <a:gd name="connsiteX2" fmla="*/ 60264 w 112144"/>
                  <a:gd name="connsiteY2" fmla="*/ 119187 h 180983"/>
                  <a:gd name="connsiteX3" fmla="*/ 14802 w 112144"/>
                  <a:gd name="connsiteY3" fmla="*/ 119187 h 180983"/>
                  <a:gd name="connsiteX4" fmla="*/ 63138 w 112144"/>
                  <a:gd name="connsiteY4" fmla="*/ 59977 h 180983"/>
                  <a:gd name="connsiteX5" fmla="*/ 30850 w 112144"/>
                  <a:gd name="connsiteY5" fmla="*/ 59977 h 180983"/>
                  <a:gd name="connsiteX6" fmla="*/ 82444 w 112144"/>
                  <a:gd name="connsiteY6" fmla="*/ 0 h 180983"/>
                  <a:gd name="connsiteX7" fmla="*/ 82971 w 112144"/>
                  <a:gd name="connsiteY7" fmla="*/ 0 h 180983"/>
                  <a:gd name="connsiteX8" fmla="*/ 112145 w 112144"/>
                  <a:gd name="connsiteY8" fmla="*/ 33916 h 1809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12144" h="180983">
                    <a:moveTo>
                      <a:pt x="67498" y="180984"/>
                    </a:moveTo>
                    <a:lnTo>
                      <a:pt x="0" y="180984"/>
                    </a:lnTo>
                    <a:lnTo>
                      <a:pt x="60264" y="119187"/>
                    </a:lnTo>
                    <a:lnTo>
                      <a:pt x="14802" y="119187"/>
                    </a:lnTo>
                    <a:lnTo>
                      <a:pt x="63138" y="59977"/>
                    </a:lnTo>
                    <a:lnTo>
                      <a:pt x="30850" y="59977"/>
                    </a:lnTo>
                    <a:lnTo>
                      <a:pt x="82444" y="0"/>
                    </a:lnTo>
                    <a:lnTo>
                      <a:pt x="82971" y="0"/>
                    </a:lnTo>
                    <a:lnTo>
                      <a:pt x="112145" y="33916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57" name="Forma livre: Forma 756">
                <a:extLst>
                  <a:ext uri="{FF2B5EF4-FFF2-40B4-BE49-F238E27FC236}">
                    <a16:creationId xmlns:a16="http://schemas.microsoft.com/office/drawing/2014/main" id="{56187358-673A-8CBE-742C-252A6EBAA842}"/>
                  </a:ext>
                </a:extLst>
              </p:cNvPr>
              <p:cNvSpPr/>
              <p:nvPr/>
            </p:nvSpPr>
            <p:spPr>
              <a:xfrm>
                <a:off x="9003949" y="1531833"/>
                <a:ext cx="112144" cy="180983"/>
              </a:xfrm>
              <a:custGeom>
                <a:avLst/>
                <a:gdLst>
                  <a:gd name="connsiteX0" fmla="*/ 44647 w 112144"/>
                  <a:gd name="connsiteY0" fmla="*/ 180984 h 180983"/>
                  <a:gd name="connsiteX1" fmla="*/ 112145 w 112144"/>
                  <a:gd name="connsiteY1" fmla="*/ 180984 h 180983"/>
                  <a:gd name="connsiteX2" fmla="*/ 51881 w 112144"/>
                  <a:gd name="connsiteY2" fmla="*/ 119187 h 180983"/>
                  <a:gd name="connsiteX3" fmla="*/ 97342 w 112144"/>
                  <a:gd name="connsiteY3" fmla="*/ 119187 h 180983"/>
                  <a:gd name="connsiteX4" fmla="*/ 48958 w 112144"/>
                  <a:gd name="connsiteY4" fmla="*/ 59977 h 180983"/>
                  <a:gd name="connsiteX5" fmla="*/ 81294 w 112144"/>
                  <a:gd name="connsiteY5" fmla="*/ 59977 h 180983"/>
                  <a:gd name="connsiteX6" fmla="*/ 29701 w 112144"/>
                  <a:gd name="connsiteY6" fmla="*/ 0 h 180983"/>
                  <a:gd name="connsiteX7" fmla="*/ 29174 w 112144"/>
                  <a:gd name="connsiteY7" fmla="*/ 0 h 180983"/>
                  <a:gd name="connsiteX8" fmla="*/ 0 w 112144"/>
                  <a:gd name="connsiteY8" fmla="*/ 33916 h 1809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12144" h="180983">
                    <a:moveTo>
                      <a:pt x="44647" y="180984"/>
                    </a:moveTo>
                    <a:lnTo>
                      <a:pt x="112145" y="180984"/>
                    </a:lnTo>
                    <a:lnTo>
                      <a:pt x="51881" y="119187"/>
                    </a:lnTo>
                    <a:lnTo>
                      <a:pt x="97342" y="119187"/>
                    </a:lnTo>
                    <a:lnTo>
                      <a:pt x="48958" y="59977"/>
                    </a:lnTo>
                    <a:lnTo>
                      <a:pt x="81294" y="59977"/>
                    </a:lnTo>
                    <a:lnTo>
                      <a:pt x="29701" y="0"/>
                    </a:lnTo>
                    <a:lnTo>
                      <a:pt x="29174" y="0"/>
                    </a:lnTo>
                    <a:lnTo>
                      <a:pt x="0" y="33916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758" name="Forma livre: Forma 757">
              <a:extLst>
                <a:ext uri="{FF2B5EF4-FFF2-40B4-BE49-F238E27FC236}">
                  <a16:creationId xmlns:a16="http://schemas.microsoft.com/office/drawing/2014/main" id="{68E9BBFB-7A17-8319-A9CC-647F6A9F9BC6}"/>
                </a:ext>
              </a:extLst>
            </p:cNvPr>
            <p:cNvSpPr/>
            <p:nvPr/>
          </p:nvSpPr>
          <p:spPr>
            <a:xfrm>
              <a:off x="8940476" y="1748553"/>
              <a:ext cx="31664" cy="46802"/>
            </a:xfrm>
            <a:custGeom>
              <a:avLst/>
              <a:gdLst>
                <a:gd name="connsiteX0" fmla="*/ 31665 w 31664"/>
                <a:gd name="connsiteY0" fmla="*/ 0 h 46802"/>
                <a:gd name="connsiteX1" fmla="*/ 31665 w 31664"/>
                <a:gd name="connsiteY1" fmla="*/ 46803 h 46802"/>
                <a:gd name="connsiteX2" fmla="*/ 0 w 31664"/>
                <a:gd name="connsiteY2" fmla="*/ 46803 h 46802"/>
                <a:gd name="connsiteX3" fmla="*/ 0 w 31664"/>
                <a:gd name="connsiteY3" fmla="*/ 0 h 46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1664" h="46802">
                  <a:moveTo>
                    <a:pt x="31665" y="0"/>
                  </a:moveTo>
                  <a:lnTo>
                    <a:pt x="31665" y="46803"/>
                  </a:lnTo>
                  <a:lnTo>
                    <a:pt x="0" y="46803"/>
                  </a:lnTo>
                  <a:lnTo>
                    <a:pt x="0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759" name="Forma livre: Forma 758">
              <a:extLst>
                <a:ext uri="{FF2B5EF4-FFF2-40B4-BE49-F238E27FC236}">
                  <a16:creationId xmlns:a16="http://schemas.microsoft.com/office/drawing/2014/main" id="{A83E690C-C356-DF29-F373-D69A595E23FE}"/>
                </a:ext>
              </a:extLst>
            </p:cNvPr>
            <p:cNvSpPr/>
            <p:nvPr/>
          </p:nvSpPr>
          <p:spPr>
            <a:xfrm>
              <a:off x="8863828" y="1546491"/>
              <a:ext cx="184959" cy="202109"/>
            </a:xfrm>
            <a:custGeom>
              <a:avLst/>
              <a:gdLst>
                <a:gd name="connsiteX0" fmla="*/ 0 w 184959"/>
                <a:gd name="connsiteY0" fmla="*/ 202110 h 202109"/>
                <a:gd name="connsiteX1" fmla="*/ 67258 w 184959"/>
                <a:gd name="connsiteY1" fmla="*/ 133127 h 202109"/>
                <a:gd name="connsiteX2" fmla="*/ 16527 w 184959"/>
                <a:gd name="connsiteY2" fmla="*/ 133127 h 202109"/>
                <a:gd name="connsiteX3" fmla="*/ 70372 w 184959"/>
                <a:gd name="connsiteY3" fmla="*/ 66971 h 202109"/>
                <a:gd name="connsiteX4" fmla="*/ 34443 w 184959"/>
                <a:gd name="connsiteY4" fmla="*/ 66971 h 202109"/>
                <a:gd name="connsiteX5" fmla="*/ 92216 w 184959"/>
                <a:gd name="connsiteY5" fmla="*/ 0 h 202109"/>
                <a:gd name="connsiteX6" fmla="*/ 92743 w 184959"/>
                <a:gd name="connsiteY6" fmla="*/ 0 h 202109"/>
                <a:gd name="connsiteX7" fmla="*/ 150516 w 184959"/>
                <a:gd name="connsiteY7" fmla="*/ 66971 h 202109"/>
                <a:gd name="connsiteX8" fmla="*/ 114636 w 184959"/>
                <a:gd name="connsiteY8" fmla="*/ 66971 h 202109"/>
                <a:gd name="connsiteX9" fmla="*/ 168433 w 184959"/>
                <a:gd name="connsiteY9" fmla="*/ 133127 h 202109"/>
                <a:gd name="connsiteX10" fmla="*/ 117702 w 184959"/>
                <a:gd name="connsiteY10" fmla="*/ 133127 h 202109"/>
                <a:gd name="connsiteX11" fmla="*/ 184960 w 184959"/>
                <a:gd name="connsiteY11" fmla="*/ 202110 h 202109"/>
                <a:gd name="connsiteX12" fmla="*/ 0 w 184959"/>
                <a:gd name="connsiteY12" fmla="*/ 202110 h 2021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84959" h="202109">
                  <a:moveTo>
                    <a:pt x="0" y="202110"/>
                  </a:moveTo>
                  <a:lnTo>
                    <a:pt x="67258" y="133127"/>
                  </a:lnTo>
                  <a:lnTo>
                    <a:pt x="16527" y="133127"/>
                  </a:lnTo>
                  <a:lnTo>
                    <a:pt x="70372" y="66971"/>
                  </a:lnTo>
                  <a:lnTo>
                    <a:pt x="34443" y="66971"/>
                  </a:lnTo>
                  <a:lnTo>
                    <a:pt x="92216" y="0"/>
                  </a:lnTo>
                  <a:lnTo>
                    <a:pt x="92743" y="0"/>
                  </a:lnTo>
                  <a:lnTo>
                    <a:pt x="150516" y="66971"/>
                  </a:lnTo>
                  <a:lnTo>
                    <a:pt x="114636" y="66971"/>
                  </a:lnTo>
                  <a:lnTo>
                    <a:pt x="168433" y="133127"/>
                  </a:lnTo>
                  <a:lnTo>
                    <a:pt x="117702" y="133127"/>
                  </a:lnTo>
                  <a:lnTo>
                    <a:pt x="184960" y="202110"/>
                  </a:lnTo>
                  <a:lnTo>
                    <a:pt x="0" y="202110"/>
                  </a:ln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760" name="Gráfico 15">
            <a:extLst>
              <a:ext uri="{FF2B5EF4-FFF2-40B4-BE49-F238E27FC236}">
                <a16:creationId xmlns:a16="http://schemas.microsoft.com/office/drawing/2014/main" id="{E5AAAA2B-B1CF-01F9-94BF-2C712311120F}"/>
              </a:ext>
            </a:extLst>
          </p:cNvPr>
          <p:cNvGrpSpPr/>
          <p:nvPr/>
        </p:nvGrpSpPr>
        <p:grpSpPr>
          <a:xfrm>
            <a:off x="8794606" y="2059214"/>
            <a:ext cx="323355" cy="273295"/>
            <a:chOff x="8794606" y="2059214"/>
            <a:chExt cx="323355" cy="273295"/>
          </a:xfrm>
          <a:noFill/>
        </p:grpSpPr>
        <p:sp>
          <p:nvSpPr>
            <p:cNvPr id="761" name="Forma livre: Forma 760">
              <a:extLst>
                <a:ext uri="{FF2B5EF4-FFF2-40B4-BE49-F238E27FC236}">
                  <a16:creationId xmlns:a16="http://schemas.microsoft.com/office/drawing/2014/main" id="{FB11CF0C-B1FD-2778-B768-3DD7A55CE5AE}"/>
                </a:ext>
              </a:extLst>
            </p:cNvPr>
            <p:cNvSpPr/>
            <p:nvPr/>
          </p:nvSpPr>
          <p:spPr>
            <a:xfrm>
              <a:off x="8794606" y="2198234"/>
              <a:ext cx="161677" cy="134276"/>
            </a:xfrm>
            <a:custGeom>
              <a:avLst/>
              <a:gdLst>
                <a:gd name="connsiteX0" fmla="*/ 101797 w 161677"/>
                <a:gd name="connsiteY0" fmla="*/ 0 h 134276"/>
                <a:gd name="connsiteX1" fmla="*/ 45366 w 161677"/>
                <a:gd name="connsiteY1" fmla="*/ 24958 h 134276"/>
                <a:gd name="connsiteX2" fmla="*/ 0 w 161677"/>
                <a:gd name="connsiteY2" fmla="*/ 124983 h 134276"/>
                <a:gd name="connsiteX3" fmla="*/ 81438 w 161677"/>
                <a:gd name="connsiteY3" fmla="*/ 88911 h 134276"/>
                <a:gd name="connsiteX4" fmla="*/ 161678 w 161677"/>
                <a:gd name="connsiteY4" fmla="*/ 134277 h 134276"/>
                <a:gd name="connsiteX5" fmla="*/ 161678 w 161677"/>
                <a:gd name="connsiteY5" fmla="*/ 85989 h 1342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61677" h="134276">
                  <a:moveTo>
                    <a:pt x="101797" y="0"/>
                  </a:moveTo>
                  <a:lnTo>
                    <a:pt x="45366" y="24958"/>
                  </a:lnTo>
                  <a:lnTo>
                    <a:pt x="0" y="124983"/>
                  </a:lnTo>
                  <a:lnTo>
                    <a:pt x="81438" y="88911"/>
                  </a:lnTo>
                  <a:lnTo>
                    <a:pt x="161678" y="134277"/>
                  </a:lnTo>
                  <a:lnTo>
                    <a:pt x="161678" y="85989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762" name="Forma livre: Forma 761">
              <a:extLst>
                <a:ext uri="{FF2B5EF4-FFF2-40B4-BE49-F238E27FC236}">
                  <a16:creationId xmlns:a16="http://schemas.microsoft.com/office/drawing/2014/main" id="{839FDA12-51FE-61CF-643B-99794D01AAD6}"/>
                </a:ext>
              </a:extLst>
            </p:cNvPr>
            <p:cNvSpPr/>
            <p:nvPr/>
          </p:nvSpPr>
          <p:spPr>
            <a:xfrm>
              <a:off x="8876044" y="2232485"/>
              <a:ext cx="20934" cy="54659"/>
            </a:xfrm>
            <a:custGeom>
              <a:avLst/>
              <a:gdLst>
                <a:gd name="connsiteX0" fmla="*/ 20934 w 20934"/>
                <a:gd name="connsiteY0" fmla="*/ 0 h 54659"/>
                <a:gd name="connsiteX1" fmla="*/ 0 w 20934"/>
                <a:gd name="connsiteY1" fmla="*/ 54659 h 546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0934" h="54659">
                  <a:moveTo>
                    <a:pt x="20934" y="0"/>
                  </a:moveTo>
                  <a:lnTo>
                    <a:pt x="0" y="54659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763" name="Forma livre: Forma 762">
              <a:extLst>
                <a:ext uri="{FF2B5EF4-FFF2-40B4-BE49-F238E27FC236}">
                  <a16:creationId xmlns:a16="http://schemas.microsoft.com/office/drawing/2014/main" id="{11AF795B-9BBF-7852-7026-A90EEEA5B691}"/>
                </a:ext>
              </a:extLst>
            </p:cNvPr>
            <p:cNvSpPr/>
            <p:nvPr/>
          </p:nvSpPr>
          <p:spPr>
            <a:xfrm>
              <a:off x="8956284" y="2197707"/>
              <a:ext cx="161677" cy="134803"/>
            </a:xfrm>
            <a:custGeom>
              <a:avLst/>
              <a:gdLst>
                <a:gd name="connsiteX0" fmla="*/ 60264 w 161677"/>
                <a:gd name="connsiteY0" fmla="*/ 0 h 134803"/>
                <a:gd name="connsiteX1" fmla="*/ 116360 w 161677"/>
                <a:gd name="connsiteY1" fmla="*/ 25485 h 134803"/>
                <a:gd name="connsiteX2" fmla="*/ 161678 w 161677"/>
                <a:gd name="connsiteY2" fmla="*/ 125510 h 134803"/>
                <a:gd name="connsiteX3" fmla="*/ 80288 w 161677"/>
                <a:gd name="connsiteY3" fmla="*/ 89438 h 134803"/>
                <a:gd name="connsiteX4" fmla="*/ 0 w 161677"/>
                <a:gd name="connsiteY4" fmla="*/ 134803 h 134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1677" h="134803">
                  <a:moveTo>
                    <a:pt x="60264" y="0"/>
                  </a:moveTo>
                  <a:lnTo>
                    <a:pt x="116360" y="25485"/>
                  </a:lnTo>
                  <a:lnTo>
                    <a:pt x="161678" y="125510"/>
                  </a:lnTo>
                  <a:lnTo>
                    <a:pt x="80288" y="89438"/>
                  </a:lnTo>
                  <a:lnTo>
                    <a:pt x="0" y="134803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764" name="Forma livre: Forma 763">
              <a:extLst>
                <a:ext uri="{FF2B5EF4-FFF2-40B4-BE49-F238E27FC236}">
                  <a16:creationId xmlns:a16="http://schemas.microsoft.com/office/drawing/2014/main" id="{F53D48CB-088B-CC4F-835E-3BA0588DE24D}"/>
                </a:ext>
              </a:extLst>
            </p:cNvPr>
            <p:cNvSpPr/>
            <p:nvPr/>
          </p:nvSpPr>
          <p:spPr>
            <a:xfrm>
              <a:off x="9015638" y="2232485"/>
              <a:ext cx="20934" cy="54659"/>
            </a:xfrm>
            <a:custGeom>
              <a:avLst/>
              <a:gdLst>
                <a:gd name="connsiteX0" fmla="*/ 0 w 20934"/>
                <a:gd name="connsiteY0" fmla="*/ 0 h 54659"/>
                <a:gd name="connsiteX1" fmla="*/ 20934 w 20934"/>
                <a:gd name="connsiteY1" fmla="*/ 54659 h 546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0934" h="54659">
                  <a:moveTo>
                    <a:pt x="0" y="0"/>
                  </a:moveTo>
                  <a:lnTo>
                    <a:pt x="20934" y="54659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765" name="Forma livre: Forma 764">
              <a:extLst>
                <a:ext uri="{FF2B5EF4-FFF2-40B4-BE49-F238E27FC236}">
                  <a16:creationId xmlns:a16="http://schemas.microsoft.com/office/drawing/2014/main" id="{817744B9-8DE4-9454-BF43-DF65C2843640}"/>
                </a:ext>
              </a:extLst>
            </p:cNvPr>
            <p:cNvSpPr/>
            <p:nvPr/>
          </p:nvSpPr>
          <p:spPr>
            <a:xfrm>
              <a:off x="8893865" y="2059214"/>
              <a:ext cx="124839" cy="202013"/>
            </a:xfrm>
            <a:custGeom>
              <a:avLst/>
              <a:gdLst>
                <a:gd name="connsiteX0" fmla="*/ 124839 w 124839"/>
                <a:gd name="connsiteY0" fmla="*/ 62420 h 202013"/>
                <a:gd name="connsiteX1" fmla="*/ 62420 w 124839"/>
                <a:gd name="connsiteY1" fmla="*/ 202014 h 202013"/>
                <a:gd name="connsiteX2" fmla="*/ 0 w 124839"/>
                <a:gd name="connsiteY2" fmla="*/ 62420 h 202013"/>
                <a:gd name="connsiteX3" fmla="*/ 62420 w 124839"/>
                <a:gd name="connsiteY3" fmla="*/ 0 h 202013"/>
                <a:gd name="connsiteX4" fmla="*/ 124839 w 124839"/>
                <a:gd name="connsiteY4" fmla="*/ 62420 h 2020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4839" h="202013">
                  <a:moveTo>
                    <a:pt x="124839" y="62420"/>
                  </a:moveTo>
                  <a:cubicBezTo>
                    <a:pt x="124839" y="96911"/>
                    <a:pt x="62420" y="202014"/>
                    <a:pt x="62420" y="202014"/>
                  </a:cubicBezTo>
                  <a:cubicBezTo>
                    <a:pt x="62420" y="202014"/>
                    <a:pt x="0" y="96863"/>
                    <a:pt x="0" y="62420"/>
                  </a:cubicBezTo>
                  <a:cubicBezTo>
                    <a:pt x="0" y="27976"/>
                    <a:pt x="27928" y="0"/>
                    <a:pt x="62420" y="0"/>
                  </a:cubicBezTo>
                  <a:cubicBezTo>
                    <a:pt x="96911" y="0"/>
                    <a:pt x="124839" y="27928"/>
                    <a:pt x="124839" y="62420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766" name="Forma livre: Forma 765">
              <a:extLst>
                <a:ext uri="{FF2B5EF4-FFF2-40B4-BE49-F238E27FC236}">
                  <a16:creationId xmlns:a16="http://schemas.microsoft.com/office/drawing/2014/main" id="{AC410840-50A9-9D04-1F1E-C6EF854D2C13}"/>
                </a:ext>
              </a:extLst>
            </p:cNvPr>
            <p:cNvSpPr/>
            <p:nvPr/>
          </p:nvSpPr>
          <p:spPr>
            <a:xfrm>
              <a:off x="8923997" y="2089346"/>
              <a:ext cx="64575" cy="64575"/>
            </a:xfrm>
            <a:custGeom>
              <a:avLst/>
              <a:gdLst>
                <a:gd name="connsiteX0" fmla="*/ 64575 w 64575"/>
                <a:gd name="connsiteY0" fmla="*/ 32288 h 64575"/>
                <a:gd name="connsiteX1" fmla="*/ 32288 w 64575"/>
                <a:gd name="connsiteY1" fmla="*/ 64575 h 64575"/>
                <a:gd name="connsiteX2" fmla="*/ 0 w 64575"/>
                <a:gd name="connsiteY2" fmla="*/ 32288 h 64575"/>
                <a:gd name="connsiteX3" fmla="*/ 32288 w 64575"/>
                <a:gd name="connsiteY3" fmla="*/ 0 h 64575"/>
                <a:gd name="connsiteX4" fmla="*/ 64575 w 64575"/>
                <a:gd name="connsiteY4" fmla="*/ 32288 h 645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4575" h="64575">
                  <a:moveTo>
                    <a:pt x="64575" y="32288"/>
                  </a:moveTo>
                  <a:cubicBezTo>
                    <a:pt x="64575" y="50108"/>
                    <a:pt x="50108" y="64575"/>
                    <a:pt x="32288" y="64575"/>
                  </a:cubicBezTo>
                  <a:cubicBezTo>
                    <a:pt x="14467" y="64575"/>
                    <a:pt x="0" y="50108"/>
                    <a:pt x="0" y="32288"/>
                  </a:cubicBezTo>
                  <a:cubicBezTo>
                    <a:pt x="0" y="14467"/>
                    <a:pt x="14467" y="0"/>
                    <a:pt x="32288" y="0"/>
                  </a:cubicBezTo>
                  <a:cubicBezTo>
                    <a:pt x="50108" y="0"/>
                    <a:pt x="64575" y="14467"/>
                    <a:pt x="64575" y="32288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767" name="Gráfico 15">
            <a:extLst>
              <a:ext uri="{FF2B5EF4-FFF2-40B4-BE49-F238E27FC236}">
                <a16:creationId xmlns:a16="http://schemas.microsoft.com/office/drawing/2014/main" id="{0DE4A143-920D-7EA6-A1D9-F213C411ADE5}"/>
              </a:ext>
            </a:extLst>
          </p:cNvPr>
          <p:cNvGrpSpPr/>
          <p:nvPr/>
        </p:nvGrpSpPr>
        <p:grpSpPr>
          <a:xfrm>
            <a:off x="8801692" y="3098912"/>
            <a:ext cx="309240" cy="323085"/>
            <a:chOff x="8801692" y="3098912"/>
            <a:chExt cx="309240" cy="323085"/>
          </a:xfrm>
          <a:noFill/>
        </p:grpSpPr>
        <p:sp>
          <p:nvSpPr>
            <p:cNvPr id="768" name="Forma livre: Forma 767">
              <a:extLst>
                <a:ext uri="{FF2B5EF4-FFF2-40B4-BE49-F238E27FC236}">
                  <a16:creationId xmlns:a16="http://schemas.microsoft.com/office/drawing/2014/main" id="{3773E492-1ABE-1EBB-93D1-899A19481ADA}"/>
                </a:ext>
              </a:extLst>
            </p:cNvPr>
            <p:cNvSpPr/>
            <p:nvPr/>
          </p:nvSpPr>
          <p:spPr>
            <a:xfrm>
              <a:off x="8976356" y="3098912"/>
              <a:ext cx="43680" cy="34036"/>
            </a:xfrm>
            <a:custGeom>
              <a:avLst/>
              <a:gdLst>
                <a:gd name="connsiteX0" fmla="*/ 41629 w 43680"/>
                <a:gd name="connsiteY0" fmla="*/ 34036 h 34036"/>
                <a:gd name="connsiteX1" fmla="*/ 31904 w 43680"/>
                <a:gd name="connsiteY1" fmla="*/ 4766 h 34036"/>
                <a:gd name="connsiteX2" fmla="*/ 0 w 43680"/>
                <a:gd name="connsiteY2" fmla="*/ 7449 h 340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3680" h="34036">
                  <a:moveTo>
                    <a:pt x="41629" y="34036"/>
                  </a:moveTo>
                  <a:cubicBezTo>
                    <a:pt x="47234" y="24647"/>
                    <a:pt x="40479" y="9892"/>
                    <a:pt x="31904" y="4766"/>
                  </a:cubicBezTo>
                  <a:cubicBezTo>
                    <a:pt x="22803" y="-695"/>
                    <a:pt x="6467" y="-3377"/>
                    <a:pt x="0" y="7449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769" name="Forma livre: Forma 768">
              <a:extLst>
                <a:ext uri="{FF2B5EF4-FFF2-40B4-BE49-F238E27FC236}">
                  <a16:creationId xmlns:a16="http://schemas.microsoft.com/office/drawing/2014/main" id="{CDB1B331-57D1-C6D2-0A44-FA7541DE67E3}"/>
                </a:ext>
              </a:extLst>
            </p:cNvPr>
            <p:cNvSpPr/>
            <p:nvPr/>
          </p:nvSpPr>
          <p:spPr>
            <a:xfrm>
              <a:off x="8801692" y="3206530"/>
              <a:ext cx="151957" cy="215467"/>
            </a:xfrm>
            <a:custGeom>
              <a:avLst/>
              <a:gdLst>
                <a:gd name="connsiteX0" fmla="*/ 108316 w 151957"/>
                <a:gd name="connsiteY0" fmla="*/ 0 h 215467"/>
                <a:gd name="connsiteX1" fmla="*/ 59262 w 151957"/>
                <a:gd name="connsiteY1" fmla="*/ 60551 h 215467"/>
                <a:gd name="connsiteX2" fmla="*/ 59022 w 151957"/>
                <a:gd name="connsiteY2" fmla="*/ 60695 h 215467"/>
                <a:gd name="connsiteX3" fmla="*/ 483 w 151957"/>
                <a:gd name="connsiteY3" fmla="*/ 198708 h 215467"/>
                <a:gd name="connsiteX4" fmla="*/ 8004 w 151957"/>
                <a:gd name="connsiteY4" fmla="*/ 212122 h 215467"/>
                <a:gd name="connsiteX5" fmla="*/ 19740 w 151957"/>
                <a:gd name="connsiteY5" fmla="*/ 215427 h 215467"/>
                <a:gd name="connsiteX6" fmla="*/ 36459 w 151957"/>
                <a:gd name="connsiteY6" fmla="*/ 196169 h 215467"/>
                <a:gd name="connsiteX7" fmla="*/ 79525 w 151957"/>
                <a:gd name="connsiteY7" fmla="*/ 90396 h 215467"/>
                <a:gd name="connsiteX8" fmla="*/ 151957 w 151957"/>
                <a:gd name="connsiteY8" fmla="*/ 25964 h 2154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51957" h="215467">
                  <a:moveTo>
                    <a:pt x="108316" y="0"/>
                  </a:moveTo>
                  <a:cubicBezTo>
                    <a:pt x="92747" y="22755"/>
                    <a:pt x="76603" y="48911"/>
                    <a:pt x="59262" y="60551"/>
                  </a:cubicBezTo>
                  <a:lnTo>
                    <a:pt x="59022" y="60695"/>
                  </a:lnTo>
                  <a:cubicBezTo>
                    <a:pt x="56387" y="62563"/>
                    <a:pt x="-6080" y="107067"/>
                    <a:pt x="483" y="198708"/>
                  </a:cubicBezTo>
                  <a:cubicBezTo>
                    <a:pt x="914" y="204265"/>
                    <a:pt x="3788" y="209104"/>
                    <a:pt x="8004" y="212122"/>
                  </a:cubicBezTo>
                  <a:cubicBezTo>
                    <a:pt x="11309" y="214469"/>
                    <a:pt x="15429" y="215714"/>
                    <a:pt x="19740" y="215427"/>
                  </a:cubicBezTo>
                  <a:cubicBezTo>
                    <a:pt x="29705" y="214708"/>
                    <a:pt x="37130" y="206086"/>
                    <a:pt x="36459" y="196169"/>
                  </a:cubicBezTo>
                  <a:cubicBezTo>
                    <a:pt x="31429" y="126181"/>
                    <a:pt x="76986" y="92264"/>
                    <a:pt x="79525" y="90396"/>
                  </a:cubicBezTo>
                  <a:cubicBezTo>
                    <a:pt x="101130" y="75881"/>
                    <a:pt x="131454" y="50587"/>
                    <a:pt x="151957" y="25964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770" name="Forma livre: Forma 769">
              <a:extLst>
                <a:ext uri="{FF2B5EF4-FFF2-40B4-BE49-F238E27FC236}">
                  <a16:creationId xmlns:a16="http://schemas.microsoft.com/office/drawing/2014/main" id="{494FBCE6-D10A-1D45-D95E-05A8051ECFCB}"/>
                </a:ext>
              </a:extLst>
            </p:cNvPr>
            <p:cNvSpPr/>
            <p:nvPr/>
          </p:nvSpPr>
          <p:spPr>
            <a:xfrm>
              <a:off x="8918130" y="3121812"/>
              <a:ext cx="192803" cy="177557"/>
            </a:xfrm>
            <a:custGeom>
              <a:avLst/>
              <a:gdLst>
                <a:gd name="connsiteX0" fmla="*/ 167640 w 192803"/>
                <a:gd name="connsiteY0" fmla="*/ 124000 h 177557"/>
                <a:gd name="connsiteX1" fmla="*/ 169940 w 192803"/>
                <a:gd name="connsiteY1" fmla="*/ 120742 h 177557"/>
                <a:gd name="connsiteX2" fmla="*/ 189293 w 192803"/>
                <a:gd name="connsiteY2" fmla="*/ 41987 h 177557"/>
                <a:gd name="connsiteX3" fmla="*/ 93580 w 192803"/>
                <a:gd name="connsiteY3" fmla="*/ 38873 h 177557"/>
                <a:gd name="connsiteX4" fmla="*/ 87688 w 192803"/>
                <a:gd name="connsiteY4" fmla="*/ 26945 h 177557"/>
                <a:gd name="connsiteX5" fmla="*/ 47544 w 192803"/>
                <a:gd name="connsiteY5" fmla="*/ 2322 h 177557"/>
                <a:gd name="connsiteX6" fmla="*/ 25747 w 192803"/>
                <a:gd name="connsiteY6" fmla="*/ 7543 h 177557"/>
                <a:gd name="connsiteX7" fmla="*/ 2322 w 192803"/>
                <a:gd name="connsiteY7" fmla="*/ 45723 h 177557"/>
                <a:gd name="connsiteX8" fmla="*/ 7543 w 192803"/>
                <a:gd name="connsiteY8" fmla="*/ 67568 h 177557"/>
                <a:gd name="connsiteX9" fmla="*/ 47687 w 192803"/>
                <a:gd name="connsiteY9" fmla="*/ 92191 h 177557"/>
                <a:gd name="connsiteX10" fmla="*/ 60478 w 192803"/>
                <a:gd name="connsiteY10" fmla="*/ 92095 h 177557"/>
                <a:gd name="connsiteX11" fmla="*/ 103975 w 192803"/>
                <a:gd name="connsiteY11" fmla="*/ 177557 h 177557"/>
                <a:gd name="connsiteX12" fmla="*/ 167688 w 192803"/>
                <a:gd name="connsiteY12" fmla="*/ 124000 h 1775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92803" h="177557">
                  <a:moveTo>
                    <a:pt x="167640" y="124000"/>
                  </a:moveTo>
                  <a:lnTo>
                    <a:pt x="169940" y="120742"/>
                  </a:lnTo>
                  <a:cubicBezTo>
                    <a:pt x="205006" y="64646"/>
                    <a:pt x="189293" y="41987"/>
                    <a:pt x="189293" y="41987"/>
                  </a:cubicBezTo>
                  <a:cubicBezTo>
                    <a:pt x="154275" y="74179"/>
                    <a:pt x="103400" y="43376"/>
                    <a:pt x="93580" y="38873"/>
                  </a:cubicBezTo>
                  <a:cubicBezTo>
                    <a:pt x="92622" y="34897"/>
                    <a:pt x="91424" y="29244"/>
                    <a:pt x="87688" y="26945"/>
                  </a:cubicBezTo>
                  <a:lnTo>
                    <a:pt x="47544" y="2322"/>
                  </a:lnTo>
                  <a:cubicBezTo>
                    <a:pt x="40118" y="-2229"/>
                    <a:pt x="30250" y="118"/>
                    <a:pt x="25747" y="7543"/>
                  </a:cubicBezTo>
                  <a:lnTo>
                    <a:pt x="2322" y="45723"/>
                  </a:lnTo>
                  <a:cubicBezTo>
                    <a:pt x="-2229" y="53149"/>
                    <a:pt x="118" y="62969"/>
                    <a:pt x="7543" y="67568"/>
                  </a:cubicBezTo>
                  <a:lnTo>
                    <a:pt x="47687" y="92191"/>
                  </a:lnTo>
                  <a:cubicBezTo>
                    <a:pt x="51280" y="94394"/>
                    <a:pt x="56646" y="92909"/>
                    <a:pt x="60478" y="92095"/>
                  </a:cubicBezTo>
                  <a:cubicBezTo>
                    <a:pt x="68718" y="99089"/>
                    <a:pt x="119353" y="135832"/>
                    <a:pt x="103975" y="177557"/>
                  </a:cubicBezTo>
                  <a:cubicBezTo>
                    <a:pt x="103975" y="177557"/>
                    <a:pt x="132287" y="178227"/>
                    <a:pt x="167688" y="124000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771" name="Gráfico 15">
            <a:extLst>
              <a:ext uri="{FF2B5EF4-FFF2-40B4-BE49-F238E27FC236}">
                <a16:creationId xmlns:a16="http://schemas.microsoft.com/office/drawing/2014/main" id="{C15B104C-0F13-48D6-2C10-0CE28B8531C3}"/>
              </a:ext>
            </a:extLst>
          </p:cNvPr>
          <p:cNvGrpSpPr/>
          <p:nvPr/>
        </p:nvGrpSpPr>
        <p:grpSpPr>
          <a:xfrm>
            <a:off x="8849697" y="2582812"/>
            <a:ext cx="213223" cy="290685"/>
            <a:chOff x="8849697" y="2582812"/>
            <a:chExt cx="213223" cy="290685"/>
          </a:xfrm>
          <a:noFill/>
        </p:grpSpPr>
        <p:sp>
          <p:nvSpPr>
            <p:cNvPr id="772" name="Forma livre: Forma 771">
              <a:extLst>
                <a:ext uri="{FF2B5EF4-FFF2-40B4-BE49-F238E27FC236}">
                  <a16:creationId xmlns:a16="http://schemas.microsoft.com/office/drawing/2014/main" id="{AB76B3C5-2EC4-DB6B-BE97-39BAA4DB87F3}"/>
                </a:ext>
              </a:extLst>
            </p:cNvPr>
            <p:cNvSpPr/>
            <p:nvPr/>
          </p:nvSpPr>
          <p:spPr>
            <a:xfrm>
              <a:off x="8855493" y="2730071"/>
              <a:ext cx="201678" cy="143426"/>
            </a:xfrm>
            <a:custGeom>
              <a:avLst/>
              <a:gdLst>
                <a:gd name="connsiteX0" fmla="*/ 120432 w 201678"/>
                <a:gd name="connsiteY0" fmla="*/ 0 h 143426"/>
                <a:gd name="connsiteX1" fmla="*/ 81198 w 201678"/>
                <a:gd name="connsiteY1" fmla="*/ 0 h 143426"/>
                <a:gd name="connsiteX2" fmla="*/ 0 w 201678"/>
                <a:gd name="connsiteY2" fmla="*/ 81246 h 143426"/>
                <a:gd name="connsiteX3" fmla="*/ 0 w 201678"/>
                <a:gd name="connsiteY3" fmla="*/ 143426 h 143426"/>
                <a:gd name="connsiteX4" fmla="*/ 201678 w 201678"/>
                <a:gd name="connsiteY4" fmla="*/ 143426 h 143426"/>
                <a:gd name="connsiteX5" fmla="*/ 201678 w 201678"/>
                <a:gd name="connsiteY5" fmla="*/ 81246 h 143426"/>
                <a:gd name="connsiteX6" fmla="*/ 120480 w 201678"/>
                <a:gd name="connsiteY6" fmla="*/ 0 h 1434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1678" h="143426">
                  <a:moveTo>
                    <a:pt x="120432" y="0"/>
                  </a:moveTo>
                  <a:lnTo>
                    <a:pt x="81198" y="0"/>
                  </a:lnTo>
                  <a:cubicBezTo>
                    <a:pt x="36551" y="0"/>
                    <a:pt x="0" y="36551"/>
                    <a:pt x="0" y="81246"/>
                  </a:cubicBezTo>
                  <a:lnTo>
                    <a:pt x="0" y="143426"/>
                  </a:lnTo>
                  <a:lnTo>
                    <a:pt x="201678" y="143426"/>
                  </a:lnTo>
                  <a:lnTo>
                    <a:pt x="201678" y="81246"/>
                  </a:lnTo>
                  <a:cubicBezTo>
                    <a:pt x="201678" y="36551"/>
                    <a:pt x="165127" y="0"/>
                    <a:pt x="120480" y="0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773" name="Gráfico 15">
              <a:extLst>
                <a:ext uri="{FF2B5EF4-FFF2-40B4-BE49-F238E27FC236}">
                  <a16:creationId xmlns:a16="http://schemas.microsoft.com/office/drawing/2014/main" id="{964CF7D4-FE14-08FA-B246-EB84AE32C04D}"/>
                </a:ext>
              </a:extLst>
            </p:cNvPr>
            <p:cNvGrpSpPr/>
            <p:nvPr/>
          </p:nvGrpSpPr>
          <p:grpSpPr>
            <a:xfrm>
              <a:off x="8849697" y="2582812"/>
              <a:ext cx="213223" cy="73821"/>
              <a:chOff x="8849697" y="2582812"/>
              <a:chExt cx="213223" cy="73821"/>
            </a:xfrm>
            <a:noFill/>
          </p:grpSpPr>
          <p:sp>
            <p:nvSpPr>
              <p:cNvPr id="774" name="Forma livre: Forma 773">
                <a:extLst>
                  <a:ext uri="{FF2B5EF4-FFF2-40B4-BE49-F238E27FC236}">
                    <a16:creationId xmlns:a16="http://schemas.microsoft.com/office/drawing/2014/main" id="{E316C5D6-5653-D7D3-0743-2AA570A0C9E9}"/>
                  </a:ext>
                </a:extLst>
              </p:cNvPr>
              <p:cNvSpPr/>
              <p:nvPr/>
            </p:nvSpPr>
            <p:spPr>
              <a:xfrm>
                <a:off x="8849697" y="2582812"/>
                <a:ext cx="80096" cy="73821"/>
              </a:xfrm>
              <a:custGeom>
                <a:avLst/>
                <a:gdLst>
                  <a:gd name="connsiteX0" fmla="*/ 75450 w 80096"/>
                  <a:gd name="connsiteY0" fmla="*/ 0 h 73821"/>
                  <a:gd name="connsiteX1" fmla="*/ 24336 w 80096"/>
                  <a:gd name="connsiteY1" fmla="*/ 0 h 73821"/>
                  <a:gd name="connsiteX2" fmla="*/ 0 w 80096"/>
                  <a:gd name="connsiteY2" fmla="*/ 18922 h 73821"/>
                  <a:gd name="connsiteX3" fmla="*/ 0 w 80096"/>
                  <a:gd name="connsiteY3" fmla="*/ 21078 h 73821"/>
                  <a:gd name="connsiteX4" fmla="*/ 24336 w 80096"/>
                  <a:gd name="connsiteY4" fmla="*/ 45653 h 73821"/>
                  <a:gd name="connsiteX5" fmla="*/ 80096 w 80096"/>
                  <a:gd name="connsiteY5" fmla="*/ 73821 h 738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80096" h="73821">
                    <a:moveTo>
                      <a:pt x="75450" y="0"/>
                    </a:moveTo>
                    <a:lnTo>
                      <a:pt x="24336" y="0"/>
                    </a:lnTo>
                    <a:cubicBezTo>
                      <a:pt x="11210" y="0"/>
                      <a:pt x="0" y="6707"/>
                      <a:pt x="0" y="18922"/>
                    </a:cubicBezTo>
                    <a:lnTo>
                      <a:pt x="0" y="21078"/>
                    </a:lnTo>
                    <a:cubicBezTo>
                      <a:pt x="0" y="33246"/>
                      <a:pt x="12168" y="39569"/>
                      <a:pt x="24336" y="45653"/>
                    </a:cubicBezTo>
                    <a:lnTo>
                      <a:pt x="80096" y="73821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75" name="Forma livre: Forma 774">
                <a:extLst>
                  <a:ext uri="{FF2B5EF4-FFF2-40B4-BE49-F238E27FC236}">
                    <a16:creationId xmlns:a16="http://schemas.microsoft.com/office/drawing/2014/main" id="{E9C42408-432C-94DE-157A-24AAFC17682F}"/>
                  </a:ext>
                </a:extLst>
              </p:cNvPr>
              <p:cNvSpPr/>
              <p:nvPr/>
            </p:nvSpPr>
            <p:spPr>
              <a:xfrm>
                <a:off x="8982871" y="2582812"/>
                <a:ext cx="80048" cy="73821"/>
              </a:xfrm>
              <a:custGeom>
                <a:avLst/>
                <a:gdLst>
                  <a:gd name="connsiteX0" fmla="*/ 4599 w 80048"/>
                  <a:gd name="connsiteY0" fmla="*/ 0 h 73821"/>
                  <a:gd name="connsiteX1" fmla="*/ 55713 w 80048"/>
                  <a:gd name="connsiteY1" fmla="*/ 0 h 73821"/>
                  <a:gd name="connsiteX2" fmla="*/ 80049 w 80048"/>
                  <a:gd name="connsiteY2" fmla="*/ 18922 h 73821"/>
                  <a:gd name="connsiteX3" fmla="*/ 80049 w 80048"/>
                  <a:gd name="connsiteY3" fmla="*/ 21078 h 73821"/>
                  <a:gd name="connsiteX4" fmla="*/ 55713 w 80048"/>
                  <a:gd name="connsiteY4" fmla="*/ 45653 h 73821"/>
                  <a:gd name="connsiteX5" fmla="*/ 0 w 80048"/>
                  <a:gd name="connsiteY5" fmla="*/ 73821 h 738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80048" h="73821">
                    <a:moveTo>
                      <a:pt x="4599" y="0"/>
                    </a:moveTo>
                    <a:lnTo>
                      <a:pt x="55713" y="0"/>
                    </a:lnTo>
                    <a:cubicBezTo>
                      <a:pt x="68839" y="0"/>
                      <a:pt x="80049" y="6707"/>
                      <a:pt x="80049" y="18922"/>
                    </a:cubicBezTo>
                    <a:lnTo>
                      <a:pt x="80049" y="21078"/>
                    </a:lnTo>
                    <a:cubicBezTo>
                      <a:pt x="80049" y="33246"/>
                      <a:pt x="67881" y="39569"/>
                      <a:pt x="55713" y="45653"/>
                    </a:cubicBezTo>
                    <a:lnTo>
                      <a:pt x="0" y="73821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776" name="Forma livre: Forma 775">
              <a:extLst>
                <a:ext uri="{FF2B5EF4-FFF2-40B4-BE49-F238E27FC236}">
                  <a16:creationId xmlns:a16="http://schemas.microsoft.com/office/drawing/2014/main" id="{ED32584A-D012-78C4-E16C-D74B5413EE05}"/>
                </a:ext>
              </a:extLst>
            </p:cNvPr>
            <p:cNvSpPr/>
            <p:nvPr/>
          </p:nvSpPr>
          <p:spPr>
            <a:xfrm>
              <a:off x="8931278" y="2655052"/>
              <a:ext cx="50060" cy="54036"/>
            </a:xfrm>
            <a:custGeom>
              <a:avLst/>
              <a:gdLst>
                <a:gd name="connsiteX0" fmla="*/ 0 w 50060"/>
                <a:gd name="connsiteY0" fmla="*/ 54036 h 54036"/>
                <a:gd name="connsiteX1" fmla="*/ 0 w 50060"/>
                <a:gd name="connsiteY1" fmla="*/ 0 h 54036"/>
                <a:gd name="connsiteX2" fmla="*/ 50060 w 50060"/>
                <a:gd name="connsiteY2" fmla="*/ 0 h 54036"/>
                <a:gd name="connsiteX3" fmla="*/ 50060 w 50060"/>
                <a:gd name="connsiteY3" fmla="*/ 54036 h 540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0060" h="54036">
                  <a:moveTo>
                    <a:pt x="0" y="54036"/>
                  </a:moveTo>
                  <a:lnTo>
                    <a:pt x="0" y="0"/>
                  </a:lnTo>
                  <a:lnTo>
                    <a:pt x="50060" y="0"/>
                  </a:lnTo>
                  <a:lnTo>
                    <a:pt x="50060" y="54036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777" name="Forma livre: Forma 776">
              <a:extLst>
                <a:ext uri="{FF2B5EF4-FFF2-40B4-BE49-F238E27FC236}">
                  <a16:creationId xmlns:a16="http://schemas.microsoft.com/office/drawing/2014/main" id="{69A6B2C4-AA33-629A-6201-AFECB41B6A19}"/>
                </a:ext>
              </a:extLst>
            </p:cNvPr>
            <p:cNvSpPr/>
            <p:nvPr/>
          </p:nvSpPr>
          <p:spPr>
            <a:xfrm>
              <a:off x="8927110" y="2624249"/>
              <a:ext cx="58395" cy="4790"/>
            </a:xfrm>
            <a:custGeom>
              <a:avLst/>
              <a:gdLst>
                <a:gd name="connsiteX0" fmla="*/ 0 w 58395"/>
                <a:gd name="connsiteY0" fmla="*/ 0 h 4790"/>
                <a:gd name="connsiteX1" fmla="*/ 58396 w 58395"/>
                <a:gd name="connsiteY1" fmla="*/ 0 h 47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8395" h="4790">
                  <a:moveTo>
                    <a:pt x="0" y="0"/>
                  </a:moveTo>
                  <a:lnTo>
                    <a:pt x="58396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778" name="Gráfico 15">
              <a:extLst>
                <a:ext uri="{FF2B5EF4-FFF2-40B4-BE49-F238E27FC236}">
                  <a16:creationId xmlns:a16="http://schemas.microsoft.com/office/drawing/2014/main" id="{D2F37DFB-B5D8-66F9-C80D-07E3A28A7586}"/>
                </a:ext>
              </a:extLst>
            </p:cNvPr>
            <p:cNvGrpSpPr/>
            <p:nvPr/>
          </p:nvGrpSpPr>
          <p:grpSpPr>
            <a:xfrm>
              <a:off x="8927063" y="2610549"/>
              <a:ext cx="58491" cy="13604"/>
              <a:chOff x="8927063" y="2610549"/>
              <a:chExt cx="58491" cy="13604"/>
            </a:xfrm>
          </p:grpSpPr>
          <p:sp>
            <p:nvSpPr>
              <p:cNvPr id="779" name="Forma livre: Forma 778">
                <a:extLst>
                  <a:ext uri="{FF2B5EF4-FFF2-40B4-BE49-F238E27FC236}">
                    <a16:creationId xmlns:a16="http://schemas.microsoft.com/office/drawing/2014/main" id="{1434A0B2-0925-A0E9-497E-061C72F73357}"/>
                  </a:ext>
                </a:extLst>
              </p:cNvPr>
              <p:cNvSpPr/>
              <p:nvPr/>
            </p:nvSpPr>
            <p:spPr>
              <a:xfrm>
                <a:off x="8927063" y="2610549"/>
                <a:ext cx="4790" cy="13604"/>
              </a:xfrm>
              <a:custGeom>
                <a:avLst/>
                <a:gdLst>
                  <a:gd name="connsiteX0" fmla="*/ 0 w 4790"/>
                  <a:gd name="connsiteY0" fmla="*/ 13605 h 13604"/>
                  <a:gd name="connsiteX1" fmla="*/ 0 w 4790"/>
                  <a:gd name="connsiteY1" fmla="*/ 0 h 136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90" h="13604">
                    <a:moveTo>
                      <a:pt x="0" y="13605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80" name="Forma livre: Forma 779">
                <a:extLst>
                  <a:ext uri="{FF2B5EF4-FFF2-40B4-BE49-F238E27FC236}">
                    <a16:creationId xmlns:a16="http://schemas.microsoft.com/office/drawing/2014/main" id="{B2D5BB85-3F66-F88E-5FEB-9304478ED613}"/>
                  </a:ext>
                </a:extLst>
              </p:cNvPr>
              <p:cNvSpPr/>
              <p:nvPr/>
            </p:nvSpPr>
            <p:spPr>
              <a:xfrm>
                <a:off x="8985554" y="2610549"/>
                <a:ext cx="4790" cy="13604"/>
              </a:xfrm>
              <a:custGeom>
                <a:avLst/>
                <a:gdLst>
                  <a:gd name="connsiteX0" fmla="*/ 0 w 4790"/>
                  <a:gd name="connsiteY0" fmla="*/ 13605 h 13604"/>
                  <a:gd name="connsiteX1" fmla="*/ 0 w 4790"/>
                  <a:gd name="connsiteY1" fmla="*/ 0 h 136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90" h="13604">
                    <a:moveTo>
                      <a:pt x="0" y="13605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781" name="Forma livre: Forma 780">
              <a:extLst>
                <a:ext uri="{FF2B5EF4-FFF2-40B4-BE49-F238E27FC236}">
                  <a16:creationId xmlns:a16="http://schemas.microsoft.com/office/drawing/2014/main" id="{B83A5224-371D-CE0B-0780-D905C653A53B}"/>
                </a:ext>
              </a:extLst>
            </p:cNvPr>
            <p:cNvSpPr/>
            <p:nvPr/>
          </p:nvSpPr>
          <p:spPr>
            <a:xfrm>
              <a:off x="8956284" y="2610549"/>
              <a:ext cx="4790" cy="43832"/>
            </a:xfrm>
            <a:custGeom>
              <a:avLst/>
              <a:gdLst>
                <a:gd name="connsiteX0" fmla="*/ 0 w 4790"/>
                <a:gd name="connsiteY0" fmla="*/ 43833 h 43832"/>
                <a:gd name="connsiteX1" fmla="*/ 0 w 4790"/>
                <a:gd name="connsiteY1" fmla="*/ 0 h 438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790" h="43832">
                  <a:moveTo>
                    <a:pt x="0" y="43833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782" name="Forma livre: Forma 781">
              <a:extLst>
                <a:ext uri="{FF2B5EF4-FFF2-40B4-BE49-F238E27FC236}">
                  <a16:creationId xmlns:a16="http://schemas.microsoft.com/office/drawing/2014/main" id="{936159E6-C1DD-737D-ED41-E8FD3AC28C9C}"/>
                </a:ext>
              </a:extLst>
            </p:cNvPr>
            <p:cNvSpPr/>
            <p:nvPr/>
          </p:nvSpPr>
          <p:spPr>
            <a:xfrm>
              <a:off x="8981817" y="2686573"/>
              <a:ext cx="29221" cy="4790"/>
            </a:xfrm>
            <a:custGeom>
              <a:avLst/>
              <a:gdLst>
                <a:gd name="connsiteX0" fmla="*/ 0 w 29221"/>
                <a:gd name="connsiteY0" fmla="*/ 0 h 4790"/>
                <a:gd name="connsiteX1" fmla="*/ 29222 w 29221"/>
                <a:gd name="connsiteY1" fmla="*/ 0 h 47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9221" h="4790">
                  <a:moveTo>
                    <a:pt x="0" y="0"/>
                  </a:moveTo>
                  <a:lnTo>
                    <a:pt x="29222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783" name="Forma livre: Forma 782">
              <a:extLst>
                <a:ext uri="{FF2B5EF4-FFF2-40B4-BE49-F238E27FC236}">
                  <a16:creationId xmlns:a16="http://schemas.microsoft.com/office/drawing/2014/main" id="{02B9CDA1-9A90-F1D4-BEEC-649AE0ACBB86}"/>
                </a:ext>
              </a:extLst>
            </p:cNvPr>
            <p:cNvSpPr/>
            <p:nvPr/>
          </p:nvSpPr>
          <p:spPr>
            <a:xfrm>
              <a:off x="9010991" y="2672298"/>
              <a:ext cx="29413" cy="28503"/>
            </a:xfrm>
            <a:custGeom>
              <a:avLst/>
              <a:gdLst>
                <a:gd name="connsiteX0" fmla="*/ 29413 w 29413"/>
                <a:gd name="connsiteY0" fmla="*/ 25821 h 28503"/>
                <a:gd name="connsiteX1" fmla="*/ 0 w 29413"/>
                <a:gd name="connsiteY1" fmla="*/ 28503 h 28503"/>
                <a:gd name="connsiteX2" fmla="*/ 0 w 29413"/>
                <a:gd name="connsiteY2" fmla="*/ 0 h 28503"/>
                <a:gd name="connsiteX3" fmla="*/ 29413 w 29413"/>
                <a:gd name="connsiteY3" fmla="*/ 2683 h 28503"/>
                <a:gd name="connsiteX4" fmla="*/ 29413 w 29413"/>
                <a:gd name="connsiteY4" fmla="*/ 25821 h 28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9413" h="28503">
                  <a:moveTo>
                    <a:pt x="29413" y="25821"/>
                  </a:moveTo>
                  <a:lnTo>
                    <a:pt x="0" y="28503"/>
                  </a:lnTo>
                  <a:lnTo>
                    <a:pt x="0" y="0"/>
                  </a:lnTo>
                  <a:lnTo>
                    <a:pt x="29413" y="2683"/>
                  </a:lnTo>
                  <a:lnTo>
                    <a:pt x="29413" y="25821"/>
                  </a:ln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784" name="Forma livre: Forma 783">
              <a:extLst>
                <a:ext uri="{FF2B5EF4-FFF2-40B4-BE49-F238E27FC236}">
                  <a16:creationId xmlns:a16="http://schemas.microsoft.com/office/drawing/2014/main" id="{74F09E4F-E85B-67A0-E96A-9CB1E3FBF5F8}"/>
                </a:ext>
              </a:extLst>
            </p:cNvPr>
            <p:cNvSpPr/>
            <p:nvPr/>
          </p:nvSpPr>
          <p:spPr>
            <a:xfrm>
              <a:off x="8862918" y="2778694"/>
              <a:ext cx="186779" cy="4790"/>
            </a:xfrm>
            <a:custGeom>
              <a:avLst/>
              <a:gdLst>
                <a:gd name="connsiteX0" fmla="*/ 0 w 186779"/>
                <a:gd name="connsiteY0" fmla="*/ 0 h 4790"/>
                <a:gd name="connsiteX1" fmla="*/ 186780 w 186779"/>
                <a:gd name="connsiteY1" fmla="*/ 0 h 47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6779" h="4790">
                  <a:moveTo>
                    <a:pt x="0" y="0"/>
                  </a:moveTo>
                  <a:lnTo>
                    <a:pt x="18678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785" name="Forma livre: Forma 784">
              <a:extLst>
                <a:ext uri="{FF2B5EF4-FFF2-40B4-BE49-F238E27FC236}">
                  <a16:creationId xmlns:a16="http://schemas.microsoft.com/office/drawing/2014/main" id="{B932F946-B085-BDB3-C8A5-E3FE2A97AC14}"/>
                </a:ext>
              </a:extLst>
            </p:cNvPr>
            <p:cNvSpPr/>
            <p:nvPr/>
          </p:nvSpPr>
          <p:spPr>
            <a:xfrm>
              <a:off x="8856116" y="2835556"/>
              <a:ext cx="200336" cy="4790"/>
            </a:xfrm>
            <a:custGeom>
              <a:avLst/>
              <a:gdLst>
                <a:gd name="connsiteX0" fmla="*/ 0 w 200336"/>
                <a:gd name="connsiteY0" fmla="*/ 0 h 4790"/>
                <a:gd name="connsiteX1" fmla="*/ 200337 w 200336"/>
                <a:gd name="connsiteY1" fmla="*/ 0 h 47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00336" h="4790">
                  <a:moveTo>
                    <a:pt x="0" y="0"/>
                  </a:moveTo>
                  <a:lnTo>
                    <a:pt x="200337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786" name="Gráfico 15">
            <a:extLst>
              <a:ext uri="{FF2B5EF4-FFF2-40B4-BE49-F238E27FC236}">
                <a16:creationId xmlns:a16="http://schemas.microsoft.com/office/drawing/2014/main" id="{62673456-90FB-7622-D15F-32532FBCF627}"/>
              </a:ext>
            </a:extLst>
          </p:cNvPr>
          <p:cNvGrpSpPr/>
          <p:nvPr/>
        </p:nvGrpSpPr>
        <p:grpSpPr>
          <a:xfrm>
            <a:off x="9389342" y="1010487"/>
            <a:ext cx="382566" cy="235163"/>
            <a:chOff x="9389342" y="1010487"/>
            <a:chExt cx="382566" cy="235163"/>
          </a:xfrm>
          <a:noFill/>
        </p:grpSpPr>
        <p:grpSp>
          <p:nvGrpSpPr>
            <p:cNvPr id="787" name="Gráfico 15">
              <a:extLst>
                <a:ext uri="{FF2B5EF4-FFF2-40B4-BE49-F238E27FC236}">
                  <a16:creationId xmlns:a16="http://schemas.microsoft.com/office/drawing/2014/main" id="{DF6AB79A-FCFF-D86F-F503-3E47895CDE1C}"/>
                </a:ext>
              </a:extLst>
            </p:cNvPr>
            <p:cNvGrpSpPr/>
            <p:nvPr/>
          </p:nvGrpSpPr>
          <p:grpSpPr>
            <a:xfrm>
              <a:off x="9398779" y="1010487"/>
              <a:ext cx="363787" cy="213558"/>
              <a:chOff x="9398779" y="1010487"/>
              <a:chExt cx="363787" cy="213558"/>
            </a:xfrm>
          </p:grpSpPr>
          <p:sp>
            <p:nvSpPr>
              <p:cNvPr id="788" name="Forma livre: Forma 787">
                <a:extLst>
                  <a:ext uri="{FF2B5EF4-FFF2-40B4-BE49-F238E27FC236}">
                    <a16:creationId xmlns:a16="http://schemas.microsoft.com/office/drawing/2014/main" id="{7574C362-17C8-C1D4-9FF4-AA62DF938DFC}"/>
                  </a:ext>
                </a:extLst>
              </p:cNvPr>
              <p:cNvSpPr/>
              <p:nvPr/>
            </p:nvSpPr>
            <p:spPr>
              <a:xfrm>
                <a:off x="9398779" y="1010487"/>
                <a:ext cx="181845" cy="213558"/>
              </a:xfrm>
              <a:custGeom>
                <a:avLst/>
                <a:gdLst>
                  <a:gd name="connsiteX0" fmla="*/ 0 w 181845"/>
                  <a:gd name="connsiteY0" fmla="*/ 213559 h 213558"/>
                  <a:gd name="connsiteX1" fmla="*/ 181846 w 181845"/>
                  <a:gd name="connsiteY1" fmla="*/ 0 h 2135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81845" h="213558">
                    <a:moveTo>
                      <a:pt x="0" y="213559"/>
                    </a:moveTo>
                    <a:lnTo>
                      <a:pt x="181846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89" name="Forma livre: Forma 788">
                <a:extLst>
                  <a:ext uri="{FF2B5EF4-FFF2-40B4-BE49-F238E27FC236}">
                    <a16:creationId xmlns:a16="http://schemas.microsoft.com/office/drawing/2014/main" id="{A78CDA5A-1436-5E47-C879-8DF6ED3AFA2C}"/>
                  </a:ext>
                </a:extLst>
              </p:cNvPr>
              <p:cNvSpPr/>
              <p:nvPr/>
            </p:nvSpPr>
            <p:spPr>
              <a:xfrm>
                <a:off x="9580625" y="1010487"/>
                <a:ext cx="181941" cy="213415"/>
              </a:xfrm>
              <a:custGeom>
                <a:avLst/>
                <a:gdLst>
                  <a:gd name="connsiteX0" fmla="*/ 181942 w 181941"/>
                  <a:gd name="connsiteY0" fmla="*/ 213415 h 213415"/>
                  <a:gd name="connsiteX1" fmla="*/ 0 w 181941"/>
                  <a:gd name="connsiteY1" fmla="*/ 0 h 2134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81941" h="213415">
                    <a:moveTo>
                      <a:pt x="181942" y="213415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790" name="Gráfico 15">
              <a:extLst>
                <a:ext uri="{FF2B5EF4-FFF2-40B4-BE49-F238E27FC236}">
                  <a16:creationId xmlns:a16="http://schemas.microsoft.com/office/drawing/2014/main" id="{5D15006F-B558-6B7F-6E65-AAAABF8CA621}"/>
                </a:ext>
              </a:extLst>
            </p:cNvPr>
            <p:cNvGrpSpPr/>
            <p:nvPr/>
          </p:nvGrpSpPr>
          <p:grpSpPr>
            <a:xfrm>
              <a:off x="9459905" y="1152428"/>
              <a:ext cx="241487" cy="91449"/>
              <a:chOff x="9459905" y="1152428"/>
              <a:chExt cx="241487" cy="91449"/>
            </a:xfrm>
            <a:noFill/>
          </p:grpSpPr>
          <p:sp>
            <p:nvSpPr>
              <p:cNvPr id="791" name="Forma livre: Forma 790">
                <a:extLst>
                  <a:ext uri="{FF2B5EF4-FFF2-40B4-BE49-F238E27FC236}">
                    <a16:creationId xmlns:a16="http://schemas.microsoft.com/office/drawing/2014/main" id="{0B2A213D-80E5-BED0-3CEC-883D1FE93D62}"/>
                  </a:ext>
                </a:extLst>
              </p:cNvPr>
              <p:cNvSpPr/>
              <p:nvPr/>
            </p:nvSpPr>
            <p:spPr>
              <a:xfrm>
                <a:off x="9580673" y="1154967"/>
                <a:ext cx="120719" cy="88910"/>
              </a:xfrm>
              <a:custGeom>
                <a:avLst/>
                <a:gdLst>
                  <a:gd name="connsiteX0" fmla="*/ 120719 w 120719"/>
                  <a:gd name="connsiteY0" fmla="*/ 0 h 88910"/>
                  <a:gd name="connsiteX1" fmla="*/ 120719 w 120719"/>
                  <a:gd name="connsiteY1" fmla="*/ 88911 h 88910"/>
                  <a:gd name="connsiteX2" fmla="*/ 0 w 120719"/>
                  <a:gd name="connsiteY2" fmla="*/ 88911 h 889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20719" h="88910">
                    <a:moveTo>
                      <a:pt x="120719" y="0"/>
                    </a:moveTo>
                    <a:lnTo>
                      <a:pt x="120719" y="88911"/>
                    </a:lnTo>
                    <a:lnTo>
                      <a:pt x="0" y="88911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92" name="Forma livre: Forma 791">
                <a:extLst>
                  <a:ext uri="{FF2B5EF4-FFF2-40B4-BE49-F238E27FC236}">
                    <a16:creationId xmlns:a16="http://schemas.microsoft.com/office/drawing/2014/main" id="{A5D74819-A211-447F-A794-0B465B0A2557}"/>
                  </a:ext>
                </a:extLst>
              </p:cNvPr>
              <p:cNvSpPr/>
              <p:nvPr/>
            </p:nvSpPr>
            <p:spPr>
              <a:xfrm>
                <a:off x="9459905" y="1152428"/>
                <a:ext cx="60264" cy="91449"/>
              </a:xfrm>
              <a:custGeom>
                <a:avLst/>
                <a:gdLst>
                  <a:gd name="connsiteX0" fmla="*/ 0 w 60264"/>
                  <a:gd name="connsiteY0" fmla="*/ 0 h 91449"/>
                  <a:gd name="connsiteX1" fmla="*/ 0 w 60264"/>
                  <a:gd name="connsiteY1" fmla="*/ 91450 h 91449"/>
                  <a:gd name="connsiteX2" fmla="*/ 60264 w 60264"/>
                  <a:gd name="connsiteY2" fmla="*/ 91450 h 914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60264" h="91449">
                    <a:moveTo>
                      <a:pt x="0" y="0"/>
                    </a:moveTo>
                    <a:lnTo>
                      <a:pt x="0" y="91450"/>
                    </a:lnTo>
                    <a:lnTo>
                      <a:pt x="60264" y="9145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793" name="Gráfico 15">
              <a:extLst>
                <a:ext uri="{FF2B5EF4-FFF2-40B4-BE49-F238E27FC236}">
                  <a16:creationId xmlns:a16="http://schemas.microsoft.com/office/drawing/2014/main" id="{8D6B0F94-28D5-A132-35A5-28D05FE68363}"/>
                </a:ext>
              </a:extLst>
            </p:cNvPr>
            <p:cNvGrpSpPr/>
            <p:nvPr/>
          </p:nvGrpSpPr>
          <p:grpSpPr>
            <a:xfrm>
              <a:off x="9389342" y="1206752"/>
              <a:ext cx="382566" cy="38898"/>
              <a:chOff x="9389342" y="1206752"/>
              <a:chExt cx="382566" cy="38898"/>
            </a:xfrm>
          </p:grpSpPr>
          <p:sp>
            <p:nvSpPr>
              <p:cNvPr id="794" name="Forma livre: Forma 793">
                <a:extLst>
                  <a:ext uri="{FF2B5EF4-FFF2-40B4-BE49-F238E27FC236}">
                    <a16:creationId xmlns:a16="http://schemas.microsoft.com/office/drawing/2014/main" id="{DAB8F25C-6D4D-0A9A-B675-58291F56CB11}"/>
                  </a:ext>
                </a:extLst>
              </p:cNvPr>
              <p:cNvSpPr/>
              <p:nvPr/>
            </p:nvSpPr>
            <p:spPr>
              <a:xfrm>
                <a:off x="9752123" y="1206752"/>
                <a:ext cx="19784" cy="38898"/>
              </a:xfrm>
              <a:custGeom>
                <a:avLst/>
                <a:gdLst>
                  <a:gd name="connsiteX0" fmla="*/ 19785 w 19784"/>
                  <a:gd name="connsiteY0" fmla="*/ 0 h 38898"/>
                  <a:gd name="connsiteX1" fmla="*/ 0 w 19784"/>
                  <a:gd name="connsiteY1" fmla="*/ 38899 h 38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9784" h="38898">
                    <a:moveTo>
                      <a:pt x="19785" y="0"/>
                    </a:moveTo>
                    <a:lnTo>
                      <a:pt x="0" y="38899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95" name="Forma livre: Forma 794">
                <a:extLst>
                  <a:ext uri="{FF2B5EF4-FFF2-40B4-BE49-F238E27FC236}">
                    <a16:creationId xmlns:a16="http://schemas.microsoft.com/office/drawing/2014/main" id="{B3BF420E-C714-4E48-9955-DEB3BC6FE99A}"/>
                  </a:ext>
                </a:extLst>
              </p:cNvPr>
              <p:cNvSpPr/>
              <p:nvPr/>
            </p:nvSpPr>
            <p:spPr>
              <a:xfrm>
                <a:off x="9389342" y="1206752"/>
                <a:ext cx="19832" cy="38898"/>
              </a:xfrm>
              <a:custGeom>
                <a:avLst/>
                <a:gdLst>
                  <a:gd name="connsiteX0" fmla="*/ 0 w 19832"/>
                  <a:gd name="connsiteY0" fmla="*/ 0 h 38898"/>
                  <a:gd name="connsiteX1" fmla="*/ 19832 w 19832"/>
                  <a:gd name="connsiteY1" fmla="*/ 38899 h 38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9832" h="38898">
                    <a:moveTo>
                      <a:pt x="0" y="0"/>
                    </a:moveTo>
                    <a:lnTo>
                      <a:pt x="19832" y="38899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796" name="Forma livre: Forma 795">
              <a:extLst>
                <a:ext uri="{FF2B5EF4-FFF2-40B4-BE49-F238E27FC236}">
                  <a16:creationId xmlns:a16="http://schemas.microsoft.com/office/drawing/2014/main" id="{567B235D-627F-5C61-4DC8-4416FD6E809B}"/>
                </a:ext>
              </a:extLst>
            </p:cNvPr>
            <p:cNvSpPr/>
            <p:nvPr/>
          </p:nvSpPr>
          <p:spPr>
            <a:xfrm>
              <a:off x="9496313" y="1084020"/>
              <a:ext cx="84407" cy="159809"/>
            </a:xfrm>
            <a:custGeom>
              <a:avLst/>
              <a:gdLst>
                <a:gd name="connsiteX0" fmla="*/ 84408 w 84407"/>
                <a:gd name="connsiteY0" fmla="*/ 0 h 159809"/>
                <a:gd name="connsiteX1" fmla="*/ 23904 w 84407"/>
                <a:gd name="connsiteY1" fmla="*/ 159810 h 159809"/>
                <a:gd name="connsiteX2" fmla="*/ 0 w 84407"/>
                <a:gd name="connsiteY2" fmla="*/ 91737 h 159809"/>
                <a:gd name="connsiteX3" fmla="*/ 84360 w 84407"/>
                <a:gd name="connsiteY3" fmla="*/ 0 h 159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4407" h="159809">
                  <a:moveTo>
                    <a:pt x="84408" y="0"/>
                  </a:moveTo>
                  <a:lnTo>
                    <a:pt x="23904" y="159810"/>
                  </a:lnTo>
                  <a:cubicBezTo>
                    <a:pt x="23904" y="159810"/>
                    <a:pt x="30228" y="109941"/>
                    <a:pt x="0" y="91737"/>
                  </a:cubicBezTo>
                  <a:lnTo>
                    <a:pt x="84360" y="0"/>
                  </a:ln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797" name="Forma livre: Forma 796">
              <a:extLst>
                <a:ext uri="{FF2B5EF4-FFF2-40B4-BE49-F238E27FC236}">
                  <a16:creationId xmlns:a16="http://schemas.microsoft.com/office/drawing/2014/main" id="{1C225F58-1DD5-2423-E0AF-857A6C6C069E}"/>
                </a:ext>
              </a:extLst>
            </p:cNvPr>
            <p:cNvSpPr/>
            <p:nvPr/>
          </p:nvSpPr>
          <p:spPr>
            <a:xfrm>
              <a:off x="9580625" y="1084020"/>
              <a:ext cx="4790" cy="159809"/>
            </a:xfrm>
            <a:custGeom>
              <a:avLst/>
              <a:gdLst>
                <a:gd name="connsiteX0" fmla="*/ 0 w 4790"/>
                <a:gd name="connsiteY0" fmla="*/ 0 h 159809"/>
                <a:gd name="connsiteX1" fmla="*/ 0 w 4790"/>
                <a:gd name="connsiteY1" fmla="*/ 159810 h 159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790" h="159809">
                  <a:moveTo>
                    <a:pt x="0" y="0"/>
                  </a:moveTo>
                  <a:lnTo>
                    <a:pt x="0" y="15981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798" name="Gráfico 15">
            <a:extLst>
              <a:ext uri="{FF2B5EF4-FFF2-40B4-BE49-F238E27FC236}">
                <a16:creationId xmlns:a16="http://schemas.microsoft.com/office/drawing/2014/main" id="{F5BB22F5-09C8-7CD6-ADDC-E4772DA33349}"/>
              </a:ext>
            </a:extLst>
          </p:cNvPr>
          <p:cNvGrpSpPr/>
          <p:nvPr/>
        </p:nvGrpSpPr>
        <p:grpSpPr>
          <a:xfrm>
            <a:off x="9458181" y="1496718"/>
            <a:ext cx="244936" cy="319092"/>
            <a:chOff x="9458181" y="1496718"/>
            <a:chExt cx="244936" cy="319092"/>
          </a:xfrm>
          <a:noFill/>
        </p:grpSpPr>
        <p:sp>
          <p:nvSpPr>
            <p:cNvPr id="799" name="Forma livre: Forma 798">
              <a:extLst>
                <a:ext uri="{FF2B5EF4-FFF2-40B4-BE49-F238E27FC236}">
                  <a16:creationId xmlns:a16="http://schemas.microsoft.com/office/drawing/2014/main" id="{2C12151E-7EB4-7E35-FB3D-A694939BF19B}"/>
                </a:ext>
              </a:extLst>
            </p:cNvPr>
            <p:cNvSpPr/>
            <p:nvPr/>
          </p:nvSpPr>
          <p:spPr>
            <a:xfrm>
              <a:off x="9545319" y="1496718"/>
              <a:ext cx="70611" cy="18634"/>
            </a:xfrm>
            <a:custGeom>
              <a:avLst/>
              <a:gdLst>
                <a:gd name="connsiteX0" fmla="*/ 0 w 70611"/>
                <a:gd name="connsiteY0" fmla="*/ 18635 h 18634"/>
                <a:gd name="connsiteX1" fmla="*/ 13078 w 70611"/>
                <a:gd name="connsiteY1" fmla="*/ 0 h 18634"/>
                <a:gd name="connsiteX2" fmla="*/ 57533 w 70611"/>
                <a:gd name="connsiteY2" fmla="*/ 0 h 18634"/>
                <a:gd name="connsiteX3" fmla="*/ 70611 w 70611"/>
                <a:gd name="connsiteY3" fmla="*/ 18635 h 186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0611" h="18634">
                  <a:moveTo>
                    <a:pt x="0" y="18635"/>
                  </a:moveTo>
                  <a:cubicBezTo>
                    <a:pt x="0" y="9437"/>
                    <a:pt x="5892" y="0"/>
                    <a:pt x="13078" y="0"/>
                  </a:cubicBezTo>
                  <a:lnTo>
                    <a:pt x="57533" y="0"/>
                  </a:lnTo>
                  <a:cubicBezTo>
                    <a:pt x="64719" y="0"/>
                    <a:pt x="70611" y="9437"/>
                    <a:pt x="70611" y="18635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00" name="Forma livre: Forma 799">
              <a:extLst>
                <a:ext uri="{FF2B5EF4-FFF2-40B4-BE49-F238E27FC236}">
                  <a16:creationId xmlns:a16="http://schemas.microsoft.com/office/drawing/2014/main" id="{62172570-400F-4245-281E-CC59CD25680E}"/>
                </a:ext>
              </a:extLst>
            </p:cNvPr>
            <p:cNvSpPr/>
            <p:nvPr/>
          </p:nvSpPr>
          <p:spPr>
            <a:xfrm>
              <a:off x="9490085" y="1535330"/>
              <a:ext cx="181079" cy="213462"/>
            </a:xfrm>
            <a:custGeom>
              <a:avLst/>
              <a:gdLst>
                <a:gd name="connsiteX0" fmla="*/ 181079 w 181079"/>
                <a:gd name="connsiteY0" fmla="*/ 211451 h 213462"/>
                <a:gd name="connsiteX1" fmla="*/ 181079 w 181079"/>
                <a:gd name="connsiteY1" fmla="*/ 59306 h 213462"/>
                <a:gd name="connsiteX2" fmla="*/ 121773 w 181079"/>
                <a:gd name="connsiteY2" fmla="*/ 0 h 213462"/>
                <a:gd name="connsiteX3" fmla="*/ 59306 w 181079"/>
                <a:gd name="connsiteY3" fmla="*/ 0 h 213462"/>
                <a:gd name="connsiteX4" fmla="*/ 0 w 181079"/>
                <a:gd name="connsiteY4" fmla="*/ 59306 h 213462"/>
                <a:gd name="connsiteX5" fmla="*/ 0 w 181079"/>
                <a:gd name="connsiteY5" fmla="*/ 213463 h 2134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1079" h="213462">
                  <a:moveTo>
                    <a:pt x="181079" y="211451"/>
                  </a:moveTo>
                  <a:lnTo>
                    <a:pt x="181079" y="59306"/>
                  </a:lnTo>
                  <a:cubicBezTo>
                    <a:pt x="181079" y="26683"/>
                    <a:pt x="154396" y="0"/>
                    <a:pt x="121773" y="0"/>
                  </a:cubicBezTo>
                  <a:lnTo>
                    <a:pt x="59306" y="0"/>
                  </a:lnTo>
                  <a:cubicBezTo>
                    <a:pt x="26683" y="0"/>
                    <a:pt x="0" y="26683"/>
                    <a:pt x="0" y="59306"/>
                  </a:cubicBezTo>
                  <a:lnTo>
                    <a:pt x="0" y="213463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801" name="Gráfico 15">
              <a:extLst>
                <a:ext uri="{FF2B5EF4-FFF2-40B4-BE49-F238E27FC236}">
                  <a16:creationId xmlns:a16="http://schemas.microsoft.com/office/drawing/2014/main" id="{E030D107-056C-50A2-A101-7C6F25F35897}"/>
                </a:ext>
              </a:extLst>
            </p:cNvPr>
            <p:cNvGrpSpPr/>
            <p:nvPr/>
          </p:nvGrpSpPr>
          <p:grpSpPr>
            <a:xfrm>
              <a:off x="9458181" y="1624911"/>
              <a:ext cx="244936" cy="92072"/>
              <a:chOff x="9458181" y="1624911"/>
              <a:chExt cx="244936" cy="92072"/>
            </a:xfrm>
            <a:noFill/>
          </p:grpSpPr>
          <p:sp>
            <p:nvSpPr>
              <p:cNvPr id="802" name="Forma livre: Forma 801">
                <a:extLst>
                  <a:ext uri="{FF2B5EF4-FFF2-40B4-BE49-F238E27FC236}">
                    <a16:creationId xmlns:a16="http://schemas.microsoft.com/office/drawing/2014/main" id="{C1442B35-06AA-B02E-DAB1-BE2E59CEFA29}"/>
                  </a:ext>
                </a:extLst>
              </p:cNvPr>
              <p:cNvSpPr/>
              <p:nvPr/>
            </p:nvSpPr>
            <p:spPr>
              <a:xfrm>
                <a:off x="9458181" y="1624911"/>
                <a:ext cx="29652" cy="92072"/>
              </a:xfrm>
              <a:custGeom>
                <a:avLst/>
                <a:gdLst>
                  <a:gd name="connsiteX0" fmla="*/ 29653 w 29652"/>
                  <a:gd name="connsiteY0" fmla="*/ 0 h 92072"/>
                  <a:gd name="connsiteX1" fmla="*/ 21174 w 29652"/>
                  <a:gd name="connsiteY1" fmla="*/ 0 h 92072"/>
                  <a:gd name="connsiteX2" fmla="*/ 0 w 29652"/>
                  <a:gd name="connsiteY2" fmla="*/ 19737 h 92072"/>
                  <a:gd name="connsiteX3" fmla="*/ 0 w 29652"/>
                  <a:gd name="connsiteY3" fmla="*/ 72336 h 92072"/>
                  <a:gd name="connsiteX4" fmla="*/ 21174 w 29652"/>
                  <a:gd name="connsiteY4" fmla="*/ 92073 h 92072"/>
                  <a:gd name="connsiteX5" fmla="*/ 29653 w 29652"/>
                  <a:gd name="connsiteY5" fmla="*/ 92073 h 920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9652" h="92072">
                    <a:moveTo>
                      <a:pt x="29653" y="0"/>
                    </a:moveTo>
                    <a:lnTo>
                      <a:pt x="21174" y="0"/>
                    </a:lnTo>
                    <a:cubicBezTo>
                      <a:pt x="9533" y="0"/>
                      <a:pt x="0" y="8862"/>
                      <a:pt x="0" y="19737"/>
                    </a:cubicBezTo>
                    <a:lnTo>
                      <a:pt x="0" y="72336"/>
                    </a:lnTo>
                    <a:cubicBezTo>
                      <a:pt x="0" y="83162"/>
                      <a:pt x="9533" y="92073"/>
                      <a:pt x="21174" y="92073"/>
                    </a:cubicBezTo>
                    <a:lnTo>
                      <a:pt x="29653" y="92073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803" name="Forma livre: Forma 802">
                <a:extLst>
                  <a:ext uri="{FF2B5EF4-FFF2-40B4-BE49-F238E27FC236}">
                    <a16:creationId xmlns:a16="http://schemas.microsoft.com/office/drawing/2014/main" id="{15963B70-9F9A-6603-E5CD-CC5D09F1CD42}"/>
                  </a:ext>
                </a:extLst>
              </p:cNvPr>
              <p:cNvSpPr/>
              <p:nvPr/>
            </p:nvSpPr>
            <p:spPr>
              <a:xfrm>
                <a:off x="9673464" y="1624911"/>
                <a:ext cx="29652" cy="92072"/>
              </a:xfrm>
              <a:custGeom>
                <a:avLst/>
                <a:gdLst>
                  <a:gd name="connsiteX0" fmla="*/ 0 w 29652"/>
                  <a:gd name="connsiteY0" fmla="*/ 0 h 92072"/>
                  <a:gd name="connsiteX1" fmla="*/ 8479 w 29652"/>
                  <a:gd name="connsiteY1" fmla="*/ 0 h 92072"/>
                  <a:gd name="connsiteX2" fmla="*/ 29653 w 29652"/>
                  <a:gd name="connsiteY2" fmla="*/ 19737 h 92072"/>
                  <a:gd name="connsiteX3" fmla="*/ 29653 w 29652"/>
                  <a:gd name="connsiteY3" fmla="*/ 72336 h 92072"/>
                  <a:gd name="connsiteX4" fmla="*/ 8479 w 29652"/>
                  <a:gd name="connsiteY4" fmla="*/ 92073 h 92072"/>
                  <a:gd name="connsiteX5" fmla="*/ 0 w 29652"/>
                  <a:gd name="connsiteY5" fmla="*/ 92073 h 920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9652" h="92072">
                    <a:moveTo>
                      <a:pt x="0" y="0"/>
                    </a:moveTo>
                    <a:lnTo>
                      <a:pt x="8479" y="0"/>
                    </a:lnTo>
                    <a:cubicBezTo>
                      <a:pt x="20120" y="0"/>
                      <a:pt x="29653" y="8862"/>
                      <a:pt x="29653" y="19737"/>
                    </a:cubicBezTo>
                    <a:lnTo>
                      <a:pt x="29653" y="72336"/>
                    </a:lnTo>
                    <a:cubicBezTo>
                      <a:pt x="29653" y="83162"/>
                      <a:pt x="20120" y="92073"/>
                      <a:pt x="8479" y="92073"/>
                    </a:cubicBezTo>
                    <a:lnTo>
                      <a:pt x="0" y="92073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804" name="Forma livre: Forma 803">
              <a:extLst>
                <a:ext uri="{FF2B5EF4-FFF2-40B4-BE49-F238E27FC236}">
                  <a16:creationId xmlns:a16="http://schemas.microsoft.com/office/drawing/2014/main" id="{7DF866B4-9F6C-B748-E968-90F09DCF5B0A}"/>
                </a:ext>
              </a:extLst>
            </p:cNvPr>
            <p:cNvSpPr/>
            <p:nvPr/>
          </p:nvSpPr>
          <p:spPr>
            <a:xfrm>
              <a:off x="9467857" y="1748361"/>
              <a:ext cx="225582" cy="67449"/>
            </a:xfrm>
            <a:custGeom>
              <a:avLst/>
              <a:gdLst>
                <a:gd name="connsiteX0" fmla="*/ 201630 w 225582"/>
                <a:gd name="connsiteY0" fmla="*/ 0 h 67449"/>
                <a:gd name="connsiteX1" fmla="*/ 225583 w 225582"/>
                <a:gd name="connsiteY1" fmla="*/ 23952 h 67449"/>
                <a:gd name="connsiteX2" fmla="*/ 225583 w 225582"/>
                <a:gd name="connsiteY2" fmla="*/ 43497 h 67449"/>
                <a:gd name="connsiteX3" fmla="*/ 201630 w 225582"/>
                <a:gd name="connsiteY3" fmla="*/ 67450 h 67449"/>
                <a:gd name="connsiteX4" fmla="*/ 23952 w 225582"/>
                <a:gd name="connsiteY4" fmla="*/ 67450 h 67449"/>
                <a:gd name="connsiteX5" fmla="*/ 0 w 225582"/>
                <a:gd name="connsiteY5" fmla="*/ 43497 h 67449"/>
                <a:gd name="connsiteX6" fmla="*/ 0 w 225582"/>
                <a:gd name="connsiteY6" fmla="*/ 23952 h 67449"/>
                <a:gd name="connsiteX7" fmla="*/ 23952 w 225582"/>
                <a:gd name="connsiteY7" fmla="*/ 0 h 674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25582" h="67449">
                  <a:moveTo>
                    <a:pt x="201630" y="0"/>
                  </a:moveTo>
                  <a:cubicBezTo>
                    <a:pt x="214859" y="0"/>
                    <a:pt x="225583" y="10724"/>
                    <a:pt x="225583" y="23952"/>
                  </a:cubicBezTo>
                  <a:lnTo>
                    <a:pt x="225583" y="43497"/>
                  </a:lnTo>
                  <a:cubicBezTo>
                    <a:pt x="225583" y="56726"/>
                    <a:pt x="214859" y="67450"/>
                    <a:pt x="201630" y="67450"/>
                  </a:cubicBezTo>
                  <a:lnTo>
                    <a:pt x="23952" y="67450"/>
                  </a:lnTo>
                  <a:cubicBezTo>
                    <a:pt x="10724" y="67450"/>
                    <a:pt x="0" y="56726"/>
                    <a:pt x="0" y="43497"/>
                  </a:cubicBezTo>
                  <a:lnTo>
                    <a:pt x="0" y="23952"/>
                  </a:lnTo>
                  <a:cubicBezTo>
                    <a:pt x="0" y="10724"/>
                    <a:pt x="10724" y="0"/>
                    <a:pt x="23952" y="0"/>
                  </a:cubicBez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805" name="Gráfico 15">
              <a:extLst>
                <a:ext uri="{FF2B5EF4-FFF2-40B4-BE49-F238E27FC236}">
                  <a16:creationId xmlns:a16="http://schemas.microsoft.com/office/drawing/2014/main" id="{E4CE769F-8471-BB97-FFE0-00D530BBFF6C}"/>
                </a:ext>
              </a:extLst>
            </p:cNvPr>
            <p:cNvGrpSpPr/>
            <p:nvPr/>
          </p:nvGrpSpPr>
          <p:grpSpPr>
            <a:xfrm>
              <a:off x="9525295" y="1749415"/>
              <a:ext cx="110707" cy="66060"/>
              <a:chOff x="9525295" y="1749415"/>
              <a:chExt cx="110707" cy="66060"/>
            </a:xfrm>
          </p:grpSpPr>
          <p:sp>
            <p:nvSpPr>
              <p:cNvPr id="806" name="Forma livre: Forma 805">
                <a:extLst>
                  <a:ext uri="{FF2B5EF4-FFF2-40B4-BE49-F238E27FC236}">
                    <a16:creationId xmlns:a16="http://schemas.microsoft.com/office/drawing/2014/main" id="{7CAAF1CF-E47F-520D-47FC-4C0C2A79B627}"/>
                  </a:ext>
                </a:extLst>
              </p:cNvPr>
              <p:cNvSpPr/>
              <p:nvPr/>
            </p:nvSpPr>
            <p:spPr>
              <a:xfrm>
                <a:off x="9525295" y="1749415"/>
                <a:ext cx="4790" cy="66060"/>
              </a:xfrm>
              <a:custGeom>
                <a:avLst/>
                <a:gdLst>
                  <a:gd name="connsiteX0" fmla="*/ 0 w 4790"/>
                  <a:gd name="connsiteY0" fmla="*/ 0 h 66060"/>
                  <a:gd name="connsiteX1" fmla="*/ 0 w 4790"/>
                  <a:gd name="connsiteY1" fmla="*/ 66060 h 660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90" h="66060">
                    <a:moveTo>
                      <a:pt x="0" y="0"/>
                    </a:moveTo>
                    <a:lnTo>
                      <a:pt x="0" y="6606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807" name="Forma livre: Forma 806">
                <a:extLst>
                  <a:ext uri="{FF2B5EF4-FFF2-40B4-BE49-F238E27FC236}">
                    <a16:creationId xmlns:a16="http://schemas.microsoft.com/office/drawing/2014/main" id="{3796E808-F11C-7C11-6555-2E26CED1FC93}"/>
                  </a:ext>
                </a:extLst>
              </p:cNvPr>
              <p:cNvSpPr/>
              <p:nvPr/>
            </p:nvSpPr>
            <p:spPr>
              <a:xfrm>
                <a:off x="9636002" y="1749415"/>
                <a:ext cx="4790" cy="66060"/>
              </a:xfrm>
              <a:custGeom>
                <a:avLst/>
                <a:gdLst>
                  <a:gd name="connsiteX0" fmla="*/ 0 w 4790"/>
                  <a:gd name="connsiteY0" fmla="*/ 0 h 66060"/>
                  <a:gd name="connsiteX1" fmla="*/ 0 w 4790"/>
                  <a:gd name="connsiteY1" fmla="*/ 66060 h 660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90" h="66060">
                    <a:moveTo>
                      <a:pt x="0" y="0"/>
                    </a:moveTo>
                    <a:lnTo>
                      <a:pt x="0" y="6606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808" name="Forma livre: Forma 807">
              <a:extLst>
                <a:ext uri="{FF2B5EF4-FFF2-40B4-BE49-F238E27FC236}">
                  <a16:creationId xmlns:a16="http://schemas.microsoft.com/office/drawing/2014/main" id="{D7B236E6-3090-B834-9412-796AE2B641FB}"/>
                </a:ext>
              </a:extLst>
            </p:cNvPr>
            <p:cNvSpPr/>
            <p:nvPr/>
          </p:nvSpPr>
          <p:spPr>
            <a:xfrm>
              <a:off x="9490516" y="1596025"/>
              <a:ext cx="180264" cy="11880"/>
            </a:xfrm>
            <a:custGeom>
              <a:avLst/>
              <a:gdLst>
                <a:gd name="connsiteX0" fmla="*/ 0 w 180264"/>
                <a:gd name="connsiteY0" fmla="*/ 0 h 11880"/>
                <a:gd name="connsiteX1" fmla="*/ 180265 w 180264"/>
                <a:gd name="connsiteY1" fmla="*/ 0 h 118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0264" h="11880">
                  <a:moveTo>
                    <a:pt x="0" y="0"/>
                  </a:moveTo>
                  <a:cubicBezTo>
                    <a:pt x="0" y="0"/>
                    <a:pt x="60504" y="26731"/>
                    <a:pt x="180265" y="0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809" name="Gráfico 15">
              <a:extLst>
                <a:ext uri="{FF2B5EF4-FFF2-40B4-BE49-F238E27FC236}">
                  <a16:creationId xmlns:a16="http://schemas.microsoft.com/office/drawing/2014/main" id="{174E1F34-76A9-9AED-28C0-F3B997765FC6}"/>
                </a:ext>
              </a:extLst>
            </p:cNvPr>
            <p:cNvGrpSpPr/>
            <p:nvPr/>
          </p:nvGrpSpPr>
          <p:grpSpPr>
            <a:xfrm>
              <a:off x="9531091" y="1605606"/>
              <a:ext cx="99114" cy="96911"/>
              <a:chOff x="9531091" y="1605606"/>
              <a:chExt cx="99114" cy="96911"/>
            </a:xfrm>
            <a:noFill/>
          </p:grpSpPr>
          <p:grpSp>
            <p:nvGrpSpPr>
              <p:cNvPr id="810" name="Gráfico 15">
                <a:extLst>
                  <a:ext uri="{FF2B5EF4-FFF2-40B4-BE49-F238E27FC236}">
                    <a16:creationId xmlns:a16="http://schemas.microsoft.com/office/drawing/2014/main" id="{B6F62065-7193-13C0-74E5-599487DDACC6}"/>
                  </a:ext>
                </a:extLst>
              </p:cNvPr>
              <p:cNvGrpSpPr/>
              <p:nvPr/>
            </p:nvGrpSpPr>
            <p:grpSpPr>
              <a:xfrm>
                <a:off x="9531091" y="1605606"/>
                <a:ext cx="25197" cy="96911"/>
                <a:chOff x="9531091" y="1605606"/>
                <a:chExt cx="25197" cy="96911"/>
              </a:xfrm>
              <a:noFill/>
            </p:grpSpPr>
            <p:sp>
              <p:nvSpPr>
                <p:cNvPr id="811" name="Forma livre: Forma 810">
                  <a:extLst>
                    <a:ext uri="{FF2B5EF4-FFF2-40B4-BE49-F238E27FC236}">
                      <a16:creationId xmlns:a16="http://schemas.microsoft.com/office/drawing/2014/main" id="{3739D7B8-C424-48B7-24CC-07C108E343F7}"/>
                    </a:ext>
                  </a:extLst>
                </p:cNvPr>
                <p:cNvSpPr/>
                <p:nvPr/>
              </p:nvSpPr>
              <p:spPr>
                <a:xfrm>
                  <a:off x="9543690" y="1666780"/>
                  <a:ext cx="4790" cy="35736"/>
                </a:xfrm>
                <a:custGeom>
                  <a:avLst/>
                  <a:gdLst>
                    <a:gd name="connsiteX0" fmla="*/ 0 w 4790"/>
                    <a:gd name="connsiteY0" fmla="*/ 0 h 35736"/>
                    <a:gd name="connsiteX1" fmla="*/ 0 w 4790"/>
                    <a:gd name="connsiteY1" fmla="*/ 35737 h 3573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790" h="35736">
                      <a:moveTo>
                        <a:pt x="0" y="0"/>
                      </a:moveTo>
                      <a:lnTo>
                        <a:pt x="0" y="35737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812" name="Forma livre: Forma 811">
                  <a:extLst>
                    <a:ext uri="{FF2B5EF4-FFF2-40B4-BE49-F238E27FC236}">
                      <a16:creationId xmlns:a16="http://schemas.microsoft.com/office/drawing/2014/main" id="{DA9EB4CF-F2ED-BFD0-7363-642C9E9C87E3}"/>
                    </a:ext>
                  </a:extLst>
                </p:cNvPr>
                <p:cNvSpPr/>
                <p:nvPr/>
              </p:nvSpPr>
              <p:spPr>
                <a:xfrm>
                  <a:off x="9543690" y="1605606"/>
                  <a:ext cx="4790" cy="33006"/>
                </a:xfrm>
                <a:custGeom>
                  <a:avLst/>
                  <a:gdLst>
                    <a:gd name="connsiteX0" fmla="*/ 0 w 4790"/>
                    <a:gd name="connsiteY0" fmla="*/ 0 h 33006"/>
                    <a:gd name="connsiteX1" fmla="*/ 0 w 4790"/>
                    <a:gd name="connsiteY1" fmla="*/ 33006 h 3300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790" h="33006">
                      <a:moveTo>
                        <a:pt x="0" y="0"/>
                      </a:moveTo>
                      <a:lnTo>
                        <a:pt x="0" y="33006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813" name="Forma livre: Forma 812">
                  <a:extLst>
                    <a:ext uri="{FF2B5EF4-FFF2-40B4-BE49-F238E27FC236}">
                      <a16:creationId xmlns:a16="http://schemas.microsoft.com/office/drawing/2014/main" id="{F4F8F264-1D2F-26E5-A16A-C7F053AC82A7}"/>
                    </a:ext>
                  </a:extLst>
                </p:cNvPr>
                <p:cNvSpPr/>
                <p:nvPr/>
              </p:nvSpPr>
              <p:spPr>
                <a:xfrm>
                  <a:off x="9531091" y="1638085"/>
                  <a:ext cx="25197" cy="28694"/>
                </a:xfrm>
                <a:custGeom>
                  <a:avLst/>
                  <a:gdLst>
                    <a:gd name="connsiteX0" fmla="*/ 0 w 25197"/>
                    <a:gd name="connsiteY0" fmla="*/ 0 h 28694"/>
                    <a:gd name="connsiteX1" fmla="*/ 25198 w 25197"/>
                    <a:gd name="connsiteY1" fmla="*/ 0 h 28694"/>
                    <a:gd name="connsiteX2" fmla="*/ 25198 w 25197"/>
                    <a:gd name="connsiteY2" fmla="*/ 28695 h 28694"/>
                    <a:gd name="connsiteX3" fmla="*/ 0 w 25197"/>
                    <a:gd name="connsiteY3" fmla="*/ 28695 h 2869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25197" h="28694">
                      <a:moveTo>
                        <a:pt x="0" y="0"/>
                      </a:moveTo>
                      <a:lnTo>
                        <a:pt x="25198" y="0"/>
                      </a:lnTo>
                      <a:lnTo>
                        <a:pt x="25198" y="28695"/>
                      </a:lnTo>
                      <a:lnTo>
                        <a:pt x="0" y="28695"/>
                      </a:lnTo>
                      <a:close/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814" name="Gráfico 15">
                <a:extLst>
                  <a:ext uri="{FF2B5EF4-FFF2-40B4-BE49-F238E27FC236}">
                    <a16:creationId xmlns:a16="http://schemas.microsoft.com/office/drawing/2014/main" id="{A6F4EE46-4626-1693-FF20-6E9388636791}"/>
                  </a:ext>
                </a:extLst>
              </p:cNvPr>
              <p:cNvGrpSpPr/>
              <p:nvPr/>
            </p:nvGrpSpPr>
            <p:grpSpPr>
              <a:xfrm>
                <a:off x="9605008" y="1605606"/>
                <a:ext cx="25197" cy="96911"/>
                <a:chOff x="9605008" y="1605606"/>
                <a:chExt cx="25197" cy="96911"/>
              </a:xfrm>
              <a:noFill/>
            </p:grpSpPr>
            <p:sp>
              <p:nvSpPr>
                <p:cNvPr id="815" name="Forma livre: Forma 814">
                  <a:extLst>
                    <a:ext uri="{FF2B5EF4-FFF2-40B4-BE49-F238E27FC236}">
                      <a16:creationId xmlns:a16="http://schemas.microsoft.com/office/drawing/2014/main" id="{4BAF2345-30F2-A879-992E-0BFF8BA82C34}"/>
                    </a:ext>
                  </a:extLst>
                </p:cNvPr>
                <p:cNvSpPr/>
                <p:nvPr/>
              </p:nvSpPr>
              <p:spPr>
                <a:xfrm>
                  <a:off x="9617607" y="1666780"/>
                  <a:ext cx="4790" cy="35736"/>
                </a:xfrm>
                <a:custGeom>
                  <a:avLst/>
                  <a:gdLst>
                    <a:gd name="connsiteX0" fmla="*/ 0 w 4790"/>
                    <a:gd name="connsiteY0" fmla="*/ 0 h 35736"/>
                    <a:gd name="connsiteX1" fmla="*/ 0 w 4790"/>
                    <a:gd name="connsiteY1" fmla="*/ 35737 h 3573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790" h="35736">
                      <a:moveTo>
                        <a:pt x="0" y="0"/>
                      </a:moveTo>
                      <a:lnTo>
                        <a:pt x="0" y="35737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816" name="Forma livre: Forma 815">
                  <a:extLst>
                    <a:ext uri="{FF2B5EF4-FFF2-40B4-BE49-F238E27FC236}">
                      <a16:creationId xmlns:a16="http://schemas.microsoft.com/office/drawing/2014/main" id="{24ED9332-28C0-ADD8-1041-052B47D43B77}"/>
                    </a:ext>
                  </a:extLst>
                </p:cNvPr>
                <p:cNvSpPr/>
                <p:nvPr/>
              </p:nvSpPr>
              <p:spPr>
                <a:xfrm>
                  <a:off x="9617607" y="1605606"/>
                  <a:ext cx="4790" cy="33006"/>
                </a:xfrm>
                <a:custGeom>
                  <a:avLst/>
                  <a:gdLst>
                    <a:gd name="connsiteX0" fmla="*/ 0 w 4790"/>
                    <a:gd name="connsiteY0" fmla="*/ 0 h 33006"/>
                    <a:gd name="connsiteX1" fmla="*/ 0 w 4790"/>
                    <a:gd name="connsiteY1" fmla="*/ 33006 h 3300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790" h="33006">
                      <a:moveTo>
                        <a:pt x="0" y="0"/>
                      </a:moveTo>
                      <a:lnTo>
                        <a:pt x="0" y="33006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817" name="Forma livre: Forma 816">
                  <a:extLst>
                    <a:ext uri="{FF2B5EF4-FFF2-40B4-BE49-F238E27FC236}">
                      <a16:creationId xmlns:a16="http://schemas.microsoft.com/office/drawing/2014/main" id="{A72C5915-A191-D04D-E202-2359AFE0DC18}"/>
                    </a:ext>
                  </a:extLst>
                </p:cNvPr>
                <p:cNvSpPr/>
                <p:nvPr/>
              </p:nvSpPr>
              <p:spPr>
                <a:xfrm>
                  <a:off x="9605008" y="1638085"/>
                  <a:ext cx="25197" cy="28694"/>
                </a:xfrm>
                <a:custGeom>
                  <a:avLst/>
                  <a:gdLst>
                    <a:gd name="connsiteX0" fmla="*/ 0 w 25197"/>
                    <a:gd name="connsiteY0" fmla="*/ 0 h 28694"/>
                    <a:gd name="connsiteX1" fmla="*/ 25198 w 25197"/>
                    <a:gd name="connsiteY1" fmla="*/ 0 h 28694"/>
                    <a:gd name="connsiteX2" fmla="*/ 25198 w 25197"/>
                    <a:gd name="connsiteY2" fmla="*/ 28695 h 28694"/>
                    <a:gd name="connsiteX3" fmla="*/ 0 w 25197"/>
                    <a:gd name="connsiteY3" fmla="*/ 28695 h 2869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25197" h="28694">
                      <a:moveTo>
                        <a:pt x="0" y="0"/>
                      </a:moveTo>
                      <a:lnTo>
                        <a:pt x="25198" y="0"/>
                      </a:lnTo>
                      <a:lnTo>
                        <a:pt x="25198" y="28695"/>
                      </a:lnTo>
                      <a:lnTo>
                        <a:pt x="0" y="28695"/>
                      </a:lnTo>
                      <a:close/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</p:grpSp>
      <p:grpSp>
        <p:nvGrpSpPr>
          <p:cNvPr id="818" name="Gráfico 15">
            <a:extLst>
              <a:ext uri="{FF2B5EF4-FFF2-40B4-BE49-F238E27FC236}">
                <a16:creationId xmlns:a16="http://schemas.microsoft.com/office/drawing/2014/main" id="{A38BDB5F-5FFF-737E-D1F5-7F1F62E16C04}"/>
              </a:ext>
            </a:extLst>
          </p:cNvPr>
          <p:cNvGrpSpPr/>
          <p:nvPr/>
        </p:nvGrpSpPr>
        <p:grpSpPr>
          <a:xfrm>
            <a:off x="9441701" y="2075119"/>
            <a:ext cx="277846" cy="241535"/>
            <a:chOff x="9441701" y="2075119"/>
            <a:chExt cx="277846" cy="241535"/>
          </a:xfrm>
          <a:noFill/>
        </p:grpSpPr>
        <p:sp>
          <p:nvSpPr>
            <p:cNvPr id="819" name="Forma livre: Forma 818">
              <a:extLst>
                <a:ext uri="{FF2B5EF4-FFF2-40B4-BE49-F238E27FC236}">
                  <a16:creationId xmlns:a16="http://schemas.microsoft.com/office/drawing/2014/main" id="{A4AE2540-E79F-2CDE-C1FD-05E7BFB319F5}"/>
                </a:ext>
              </a:extLst>
            </p:cNvPr>
            <p:cNvSpPr/>
            <p:nvPr/>
          </p:nvSpPr>
          <p:spPr>
            <a:xfrm>
              <a:off x="9534397" y="2075119"/>
              <a:ext cx="92455" cy="29605"/>
            </a:xfrm>
            <a:custGeom>
              <a:avLst/>
              <a:gdLst>
                <a:gd name="connsiteX0" fmla="*/ 0 w 92455"/>
                <a:gd name="connsiteY0" fmla="*/ 29605 h 29605"/>
                <a:gd name="connsiteX1" fmla="*/ 0 w 92455"/>
                <a:gd name="connsiteY1" fmla="*/ 14371 h 29605"/>
                <a:gd name="connsiteX2" fmla="*/ 14371 w 92455"/>
                <a:gd name="connsiteY2" fmla="*/ 0 h 29605"/>
                <a:gd name="connsiteX3" fmla="*/ 78084 w 92455"/>
                <a:gd name="connsiteY3" fmla="*/ 0 h 29605"/>
                <a:gd name="connsiteX4" fmla="*/ 92456 w 92455"/>
                <a:gd name="connsiteY4" fmla="*/ 14371 h 29605"/>
                <a:gd name="connsiteX5" fmla="*/ 92456 w 92455"/>
                <a:gd name="connsiteY5" fmla="*/ 29605 h 296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2455" h="29605">
                  <a:moveTo>
                    <a:pt x="0" y="29605"/>
                  </a:moveTo>
                  <a:lnTo>
                    <a:pt x="0" y="14371"/>
                  </a:lnTo>
                  <a:cubicBezTo>
                    <a:pt x="0" y="6467"/>
                    <a:pt x="6467" y="0"/>
                    <a:pt x="14371" y="0"/>
                  </a:cubicBezTo>
                  <a:lnTo>
                    <a:pt x="78084" y="0"/>
                  </a:lnTo>
                  <a:cubicBezTo>
                    <a:pt x="85989" y="0"/>
                    <a:pt x="92456" y="6467"/>
                    <a:pt x="92456" y="14371"/>
                  </a:cubicBezTo>
                  <a:lnTo>
                    <a:pt x="92456" y="29605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20" name="Forma livre: Forma 819">
              <a:extLst>
                <a:ext uri="{FF2B5EF4-FFF2-40B4-BE49-F238E27FC236}">
                  <a16:creationId xmlns:a16="http://schemas.microsoft.com/office/drawing/2014/main" id="{8157D7AC-76FA-BD3A-EAF0-EE1E7BC91822}"/>
                </a:ext>
              </a:extLst>
            </p:cNvPr>
            <p:cNvSpPr/>
            <p:nvPr/>
          </p:nvSpPr>
          <p:spPr>
            <a:xfrm>
              <a:off x="9441701" y="2126281"/>
              <a:ext cx="277846" cy="190372"/>
            </a:xfrm>
            <a:custGeom>
              <a:avLst/>
              <a:gdLst>
                <a:gd name="connsiteX0" fmla="*/ 253894 w 277846"/>
                <a:gd name="connsiteY0" fmla="*/ 0 h 190372"/>
                <a:gd name="connsiteX1" fmla="*/ 277847 w 277846"/>
                <a:gd name="connsiteY1" fmla="*/ 23952 h 190372"/>
                <a:gd name="connsiteX2" fmla="*/ 277847 w 277846"/>
                <a:gd name="connsiteY2" fmla="*/ 166421 h 190372"/>
                <a:gd name="connsiteX3" fmla="*/ 253894 w 277846"/>
                <a:gd name="connsiteY3" fmla="*/ 190373 h 190372"/>
                <a:gd name="connsiteX4" fmla="*/ 23952 w 277846"/>
                <a:gd name="connsiteY4" fmla="*/ 190373 h 190372"/>
                <a:gd name="connsiteX5" fmla="*/ 0 w 277846"/>
                <a:gd name="connsiteY5" fmla="*/ 166421 h 190372"/>
                <a:gd name="connsiteX6" fmla="*/ 0 w 277846"/>
                <a:gd name="connsiteY6" fmla="*/ 23952 h 190372"/>
                <a:gd name="connsiteX7" fmla="*/ 23952 w 277846"/>
                <a:gd name="connsiteY7" fmla="*/ 0 h 1903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77846" h="190372">
                  <a:moveTo>
                    <a:pt x="253894" y="0"/>
                  </a:moveTo>
                  <a:cubicBezTo>
                    <a:pt x="267123" y="0"/>
                    <a:pt x="277847" y="10724"/>
                    <a:pt x="277847" y="23952"/>
                  </a:cubicBezTo>
                  <a:lnTo>
                    <a:pt x="277847" y="166421"/>
                  </a:lnTo>
                  <a:cubicBezTo>
                    <a:pt x="277847" y="179649"/>
                    <a:pt x="267123" y="190373"/>
                    <a:pt x="253894" y="190373"/>
                  </a:cubicBezTo>
                  <a:lnTo>
                    <a:pt x="23952" y="190373"/>
                  </a:lnTo>
                  <a:cubicBezTo>
                    <a:pt x="10724" y="190373"/>
                    <a:pt x="0" y="179649"/>
                    <a:pt x="0" y="166421"/>
                  </a:cubicBezTo>
                  <a:lnTo>
                    <a:pt x="0" y="23952"/>
                  </a:lnTo>
                  <a:cubicBezTo>
                    <a:pt x="0" y="10724"/>
                    <a:pt x="10724" y="0"/>
                    <a:pt x="23952" y="0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21" name="Forma livre: Forma 820">
              <a:extLst>
                <a:ext uri="{FF2B5EF4-FFF2-40B4-BE49-F238E27FC236}">
                  <a16:creationId xmlns:a16="http://schemas.microsoft.com/office/drawing/2014/main" id="{B52FD789-8ECE-537A-DDC3-0C4527ECE608}"/>
                </a:ext>
              </a:extLst>
            </p:cNvPr>
            <p:cNvSpPr/>
            <p:nvPr/>
          </p:nvSpPr>
          <p:spPr>
            <a:xfrm>
              <a:off x="9527882" y="2168676"/>
              <a:ext cx="105533" cy="105533"/>
            </a:xfrm>
            <a:custGeom>
              <a:avLst/>
              <a:gdLst>
                <a:gd name="connsiteX0" fmla="*/ 105534 w 105533"/>
                <a:gd name="connsiteY0" fmla="*/ 34922 h 105533"/>
                <a:gd name="connsiteX1" fmla="*/ 70611 w 105533"/>
                <a:gd name="connsiteY1" fmla="*/ 34922 h 105533"/>
                <a:gd name="connsiteX2" fmla="*/ 70611 w 105533"/>
                <a:gd name="connsiteY2" fmla="*/ 0 h 105533"/>
                <a:gd name="connsiteX3" fmla="*/ 34922 w 105533"/>
                <a:gd name="connsiteY3" fmla="*/ 0 h 105533"/>
                <a:gd name="connsiteX4" fmla="*/ 34922 w 105533"/>
                <a:gd name="connsiteY4" fmla="*/ 34922 h 105533"/>
                <a:gd name="connsiteX5" fmla="*/ 0 w 105533"/>
                <a:gd name="connsiteY5" fmla="*/ 34922 h 105533"/>
                <a:gd name="connsiteX6" fmla="*/ 0 w 105533"/>
                <a:gd name="connsiteY6" fmla="*/ 70611 h 105533"/>
                <a:gd name="connsiteX7" fmla="*/ 34922 w 105533"/>
                <a:gd name="connsiteY7" fmla="*/ 70611 h 105533"/>
                <a:gd name="connsiteX8" fmla="*/ 34922 w 105533"/>
                <a:gd name="connsiteY8" fmla="*/ 105534 h 105533"/>
                <a:gd name="connsiteX9" fmla="*/ 70611 w 105533"/>
                <a:gd name="connsiteY9" fmla="*/ 105534 h 105533"/>
                <a:gd name="connsiteX10" fmla="*/ 70611 w 105533"/>
                <a:gd name="connsiteY10" fmla="*/ 70611 h 105533"/>
                <a:gd name="connsiteX11" fmla="*/ 105534 w 105533"/>
                <a:gd name="connsiteY11" fmla="*/ 70611 h 105533"/>
                <a:gd name="connsiteX12" fmla="*/ 105534 w 105533"/>
                <a:gd name="connsiteY12" fmla="*/ 34922 h 1055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05533" h="105533">
                  <a:moveTo>
                    <a:pt x="105534" y="34922"/>
                  </a:moveTo>
                  <a:lnTo>
                    <a:pt x="70611" y="34922"/>
                  </a:lnTo>
                  <a:lnTo>
                    <a:pt x="70611" y="0"/>
                  </a:lnTo>
                  <a:lnTo>
                    <a:pt x="34922" y="0"/>
                  </a:lnTo>
                  <a:lnTo>
                    <a:pt x="34922" y="34922"/>
                  </a:lnTo>
                  <a:lnTo>
                    <a:pt x="0" y="34922"/>
                  </a:lnTo>
                  <a:lnTo>
                    <a:pt x="0" y="70611"/>
                  </a:lnTo>
                  <a:lnTo>
                    <a:pt x="34922" y="70611"/>
                  </a:lnTo>
                  <a:lnTo>
                    <a:pt x="34922" y="105534"/>
                  </a:lnTo>
                  <a:lnTo>
                    <a:pt x="70611" y="105534"/>
                  </a:lnTo>
                  <a:lnTo>
                    <a:pt x="70611" y="70611"/>
                  </a:lnTo>
                  <a:lnTo>
                    <a:pt x="105534" y="70611"/>
                  </a:lnTo>
                  <a:lnTo>
                    <a:pt x="105534" y="34922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822" name="Gráfico 15">
              <a:extLst>
                <a:ext uri="{FF2B5EF4-FFF2-40B4-BE49-F238E27FC236}">
                  <a16:creationId xmlns:a16="http://schemas.microsoft.com/office/drawing/2014/main" id="{D4F8E87B-7DA7-25CB-5F73-2463B031CB78}"/>
                </a:ext>
              </a:extLst>
            </p:cNvPr>
            <p:cNvGrpSpPr/>
            <p:nvPr/>
          </p:nvGrpSpPr>
          <p:grpSpPr>
            <a:xfrm>
              <a:off x="9483235" y="2170353"/>
              <a:ext cx="194827" cy="102180"/>
              <a:chOff x="9483235" y="2170353"/>
              <a:chExt cx="194827" cy="102180"/>
            </a:xfrm>
          </p:grpSpPr>
          <p:sp>
            <p:nvSpPr>
              <p:cNvPr id="823" name="Forma livre: Forma 822">
                <a:extLst>
                  <a:ext uri="{FF2B5EF4-FFF2-40B4-BE49-F238E27FC236}">
                    <a16:creationId xmlns:a16="http://schemas.microsoft.com/office/drawing/2014/main" id="{5C170B5C-61F5-635A-5FA3-8EA03B424FC6}"/>
                  </a:ext>
                </a:extLst>
              </p:cNvPr>
              <p:cNvSpPr/>
              <p:nvPr/>
            </p:nvSpPr>
            <p:spPr>
              <a:xfrm>
                <a:off x="9483235" y="2170353"/>
                <a:ext cx="4790" cy="102180"/>
              </a:xfrm>
              <a:custGeom>
                <a:avLst/>
                <a:gdLst>
                  <a:gd name="connsiteX0" fmla="*/ 0 w 4790"/>
                  <a:gd name="connsiteY0" fmla="*/ 0 h 102180"/>
                  <a:gd name="connsiteX1" fmla="*/ 0 w 4790"/>
                  <a:gd name="connsiteY1" fmla="*/ 102181 h 1021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90" h="102180">
                    <a:moveTo>
                      <a:pt x="0" y="0"/>
                    </a:moveTo>
                    <a:lnTo>
                      <a:pt x="0" y="102181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824" name="Forma livre: Forma 823">
                <a:extLst>
                  <a:ext uri="{FF2B5EF4-FFF2-40B4-BE49-F238E27FC236}">
                    <a16:creationId xmlns:a16="http://schemas.microsoft.com/office/drawing/2014/main" id="{9150AFAF-2547-65E6-F511-0CA8A20F97ED}"/>
                  </a:ext>
                </a:extLst>
              </p:cNvPr>
              <p:cNvSpPr/>
              <p:nvPr/>
            </p:nvSpPr>
            <p:spPr>
              <a:xfrm>
                <a:off x="9678063" y="2170353"/>
                <a:ext cx="4790" cy="102180"/>
              </a:xfrm>
              <a:custGeom>
                <a:avLst/>
                <a:gdLst>
                  <a:gd name="connsiteX0" fmla="*/ 0 w 4790"/>
                  <a:gd name="connsiteY0" fmla="*/ 0 h 102180"/>
                  <a:gd name="connsiteX1" fmla="*/ 0 w 4790"/>
                  <a:gd name="connsiteY1" fmla="*/ 102181 h 1021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90" h="102180">
                    <a:moveTo>
                      <a:pt x="0" y="0"/>
                    </a:moveTo>
                    <a:lnTo>
                      <a:pt x="0" y="102181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825" name="Gráfico 15">
            <a:extLst>
              <a:ext uri="{FF2B5EF4-FFF2-40B4-BE49-F238E27FC236}">
                <a16:creationId xmlns:a16="http://schemas.microsoft.com/office/drawing/2014/main" id="{CA84B5A6-EA47-D2C5-8F21-F08F164A7393}"/>
              </a:ext>
            </a:extLst>
          </p:cNvPr>
          <p:cNvGrpSpPr/>
          <p:nvPr/>
        </p:nvGrpSpPr>
        <p:grpSpPr>
          <a:xfrm>
            <a:off x="9459522" y="3134290"/>
            <a:ext cx="242253" cy="252313"/>
            <a:chOff x="9459522" y="3134290"/>
            <a:chExt cx="242253" cy="252313"/>
          </a:xfrm>
          <a:noFill/>
        </p:grpSpPr>
        <p:sp>
          <p:nvSpPr>
            <p:cNvPr id="826" name="Forma livre: Forma 825">
              <a:extLst>
                <a:ext uri="{FF2B5EF4-FFF2-40B4-BE49-F238E27FC236}">
                  <a16:creationId xmlns:a16="http://schemas.microsoft.com/office/drawing/2014/main" id="{75EDF77D-0C2C-B3A7-8B21-CF16B7B9452E}"/>
                </a:ext>
              </a:extLst>
            </p:cNvPr>
            <p:cNvSpPr/>
            <p:nvPr/>
          </p:nvSpPr>
          <p:spPr>
            <a:xfrm>
              <a:off x="9538325" y="3238961"/>
              <a:ext cx="84647" cy="53509"/>
            </a:xfrm>
            <a:custGeom>
              <a:avLst/>
              <a:gdLst>
                <a:gd name="connsiteX0" fmla="*/ 0 w 84647"/>
                <a:gd name="connsiteY0" fmla="*/ 0 h 53509"/>
                <a:gd name="connsiteX1" fmla="*/ 84648 w 84647"/>
                <a:gd name="connsiteY1" fmla="*/ 0 h 53509"/>
                <a:gd name="connsiteX2" fmla="*/ 84648 w 84647"/>
                <a:gd name="connsiteY2" fmla="*/ 53509 h 53509"/>
                <a:gd name="connsiteX3" fmla="*/ 0 w 84647"/>
                <a:gd name="connsiteY3" fmla="*/ 53509 h 535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4647" h="53509">
                  <a:moveTo>
                    <a:pt x="0" y="0"/>
                  </a:moveTo>
                  <a:lnTo>
                    <a:pt x="84648" y="0"/>
                  </a:lnTo>
                  <a:lnTo>
                    <a:pt x="84648" y="53509"/>
                  </a:lnTo>
                  <a:lnTo>
                    <a:pt x="0" y="53509"/>
                  </a:ln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27" name="Forma livre: Forma 826">
              <a:extLst>
                <a:ext uri="{FF2B5EF4-FFF2-40B4-BE49-F238E27FC236}">
                  <a16:creationId xmlns:a16="http://schemas.microsoft.com/office/drawing/2014/main" id="{F2681FA6-C82D-A0C1-9C33-17D79BB1A0A4}"/>
                </a:ext>
              </a:extLst>
            </p:cNvPr>
            <p:cNvSpPr/>
            <p:nvPr/>
          </p:nvSpPr>
          <p:spPr>
            <a:xfrm>
              <a:off x="9569463" y="3265692"/>
              <a:ext cx="22371" cy="4790"/>
            </a:xfrm>
            <a:custGeom>
              <a:avLst/>
              <a:gdLst>
                <a:gd name="connsiteX0" fmla="*/ 0 w 22371"/>
                <a:gd name="connsiteY0" fmla="*/ 0 h 4790"/>
                <a:gd name="connsiteX1" fmla="*/ 22371 w 22371"/>
                <a:gd name="connsiteY1" fmla="*/ 0 h 47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2371" h="4790">
                  <a:moveTo>
                    <a:pt x="0" y="0"/>
                  </a:moveTo>
                  <a:lnTo>
                    <a:pt x="22371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828" name="Gráfico 15">
              <a:extLst>
                <a:ext uri="{FF2B5EF4-FFF2-40B4-BE49-F238E27FC236}">
                  <a16:creationId xmlns:a16="http://schemas.microsoft.com/office/drawing/2014/main" id="{A7363F8F-057B-2B5A-B411-E05F841474F8}"/>
                </a:ext>
              </a:extLst>
            </p:cNvPr>
            <p:cNvGrpSpPr/>
            <p:nvPr/>
          </p:nvGrpSpPr>
          <p:grpSpPr>
            <a:xfrm>
              <a:off x="9459522" y="3134290"/>
              <a:ext cx="96719" cy="252313"/>
              <a:chOff x="9459522" y="3134290"/>
              <a:chExt cx="96719" cy="252313"/>
            </a:xfrm>
            <a:noFill/>
          </p:grpSpPr>
          <p:sp>
            <p:nvSpPr>
              <p:cNvPr id="829" name="Forma livre: Forma 828">
                <a:extLst>
                  <a:ext uri="{FF2B5EF4-FFF2-40B4-BE49-F238E27FC236}">
                    <a16:creationId xmlns:a16="http://schemas.microsoft.com/office/drawing/2014/main" id="{F854296D-85B3-7795-02F2-D997EE1AAAFB}"/>
                  </a:ext>
                </a:extLst>
              </p:cNvPr>
              <p:cNvSpPr/>
              <p:nvPr/>
            </p:nvSpPr>
            <p:spPr>
              <a:xfrm>
                <a:off x="9459522" y="3134290"/>
                <a:ext cx="96719" cy="37126"/>
              </a:xfrm>
              <a:custGeom>
                <a:avLst/>
                <a:gdLst>
                  <a:gd name="connsiteX0" fmla="*/ 95426 w 96719"/>
                  <a:gd name="connsiteY0" fmla="*/ 37126 h 37126"/>
                  <a:gd name="connsiteX1" fmla="*/ 96719 w 96719"/>
                  <a:gd name="connsiteY1" fmla="*/ 0 h 37126"/>
                  <a:gd name="connsiteX2" fmla="*/ 0 w 96719"/>
                  <a:gd name="connsiteY2" fmla="*/ 0 h 37126"/>
                  <a:gd name="connsiteX3" fmla="*/ 1341 w 96719"/>
                  <a:gd name="connsiteY3" fmla="*/ 36934 h 371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6719" h="37126">
                    <a:moveTo>
                      <a:pt x="95426" y="37126"/>
                    </a:moveTo>
                    <a:lnTo>
                      <a:pt x="96719" y="0"/>
                    </a:lnTo>
                    <a:lnTo>
                      <a:pt x="0" y="0"/>
                    </a:lnTo>
                    <a:lnTo>
                      <a:pt x="1341" y="36934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830" name="Forma livre: Forma 829">
                <a:extLst>
                  <a:ext uri="{FF2B5EF4-FFF2-40B4-BE49-F238E27FC236}">
                    <a16:creationId xmlns:a16="http://schemas.microsoft.com/office/drawing/2014/main" id="{AB320D9B-E73B-5BC1-3C36-2C0A978E4C4B}"/>
                  </a:ext>
                </a:extLst>
              </p:cNvPr>
              <p:cNvSpPr/>
              <p:nvPr/>
            </p:nvSpPr>
            <p:spPr>
              <a:xfrm>
                <a:off x="9461965" y="3193356"/>
                <a:ext cx="92024" cy="142133"/>
              </a:xfrm>
              <a:custGeom>
                <a:avLst/>
                <a:gdLst>
                  <a:gd name="connsiteX0" fmla="*/ 90348 w 92024"/>
                  <a:gd name="connsiteY0" fmla="*/ 44695 h 142133"/>
                  <a:gd name="connsiteX1" fmla="*/ 92025 w 92024"/>
                  <a:gd name="connsiteY1" fmla="*/ 0 h 142133"/>
                  <a:gd name="connsiteX2" fmla="*/ 0 w 92024"/>
                  <a:gd name="connsiteY2" fmla="*/ 0 h 142133"/>
                  <a:gd name="connsiteX3" fmla="*/ 5174 w 92024"/>
                  <a:gd name="connsiteY3" fmla="*/ 142133 h 142133"/>
                  <a:gd name="connsiteX4" fmla="*/ 86659 w 92024"/>
                  <a:gd name="connsiteY4" fmla="*/ 142133 h 142133"/>
                  <a:gd name="connsiteX5" fmla="*/ 88096 w 92024"/>
                  <a:gd name="connsiteY5" fmla="*/ 100121 h 1421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92024" h="142133">
                    <a:moveTo>
                      <a:pt x="90348" y="44695"/>
                    </a:moveTo>
                    <a:lnTo>
                      <a:pt x="92025" y="0"/>
                    </a:lnTo>
                    <a:lnTo>
                      <a:pt x="0" y="0"/>
                    </a:lnTo>
                    <a:lnTo>
                      <a:pt x="5174" y="142133"/>
                    </a:lnTo>
                    <a:lnTo>
                      <a:pt x="86659" y="142133"/>
                    </a:lnTo>
                    <a:lnTo>
                      <a:pt x="88096" y="100121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831" name="Forma livre: Forma 830">
                <a:extLst>
                  <a:ext uri="{FF2B5EF4-FFF2-40B4-BE49-F238E27FC236}">
                    <a16:creationId xmlns:a16="http://schemas.microsoft.com/office/drawing/2014/main" id="{6ACE2DBD-248F-4C51-4BEF-AAEA94917E8A}"/>
                  </a:ext>
                </a:extLst>
              </p:cNvPr>
              <p:cNvSpPr/>
              <p:nvPr/>
            </p:nvSpPr>
            <p:spPr>
              <a:xfrm>
                <a:off x="9478971" y="3336591"/>
                <a:ext cx="55904" cy="50012"/>
              </a:xfrm>
              <a:custGeom>
                <a:avLst/>
                <a:gdLst>
                  <a:gd name="connsiteX0" fmla="*/ 55905 w 55904"/>
                  <a:gd name="connsiteY0" fmla="*/ 0 h 50012"/>
                  <a:gd name="connsiteX1" fmla="*/ 55905 w 55904"/>
                  <a:gd name="connsiteY1" fmla="*/ 50012 h 50012"/>
                  <a:gd name="connsiteX2" fmla="*/ 0 w 55904"/>
                  <a:gd name="connsiteY2" fmla="*/ 50012 h 50012"/>
                  <a:gd name="connsiteX3" fmla="*/ 0 w 55904"/>
                  <a:gd name="connsiteY3" fmla="*/ 0 h 500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5904" h="50012">
                    <a:moveTo>
                      <a:pt x="55905" y="0"/>
                    </a:moveTo>
                    <a:lnTo>
                      <a:pt x="55905" y="50012"/>
                    </a:lnTo>
                    <a:lnTo>
                      <a:pt x="0" y="50012"/>
                    </a:lnTo>
                    <a:lnTo>
                      <a:pt x="0" y="0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832" name="Forma livre: Forma 831">
              <a:extLst>
                <a:ext uri="{FF2B5EF4-FFF2-40B4-BE49-F238E27FC236}">
                  <a16:creationId xmlns:a16="http://schemas.microsoft.com/office/drawing/2014/main" id="{92B2D184-E4CB-B95F-9A8E-E818AFE440D6}"/>
                </a:ext>
              </a:extLst>
            </p:cNvPr>
            <p:cNvSpPr/>
            <p:nvPr/>
          </p:nvSpPr>
          <p:spPr>
            <a:xfrm>
              <a:off x="9605008" y="3134290"/>
              <a:ext cx="96767" cy="37126"/>
            </a:xfrm>
            <a:custGeom>
              <a:avLst/>
              <a:gdLst>
                <a:gd name="connsiteX0" fmla="*/ 1341 w 96767"/>
                <a:gd name="connsiteY0" fmla="*/ 37126 h 37126"/>
                <a:gd name="connsiteX1" fmla="*/ 0 w 96767"/>
                <a:gd name="connsiteY1" fmla="*/ 0 h 37126"/>
                <a:gd name="connsiteX2" fmla="*/ 96767 w 96767"/>
                <a:gd name="connsiteY2" fmla="*/ 0 h 37126"/>
                <a:gd name="connsiteX3" fmla="*/ 95426 w 96767"/>
                <a:gd name="connsiteY3" fmla="*/ 36934 h 371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6767" h="37126">
                  <a:moveTo>
                    <a:pt x="1341" y="37126"/>
                  </a:moveTo>
                  <a:lnTo>
                    <a:pt x="0" y="0"/>
                  </a:lnTo>
                  <a:lnTo>
                    <a:pt x="96767" y="0"/>
                  </a:lnTo>
                  <a:lnTo>
                    <a:pt x="95426" y="36934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833" name="Gráfico 15">
              <a:extLst>
                <a:ext uri="{FF2B5EF4-FFF2-40B4-BE49-F238E27FC236}">
                  <a16:creationId xmlns:a16="http://schemas.microsoft.com/office/drawing/2014/main" id="{A18DCA9B-B721-59DA-CCFA-D7FEDE107205}"/>
                </a:ext>
              </a:extLst>
            </p:cNvPr>
            <p:cNvGrpSpPr/>
            <p:nvPr/>
          </p:nvGrpSpPr>
          <p:grpSpPr>
            <a:xfrm>
              <a:off x="9605008" y="3134290"/>
              <a:ext cx="96767" cy="252313"/>
              <a:chOff x="9605008" y="3134290"/>
              <a:chExt cx="96767" cy="252313"/>
            </a:xfrm>
            <a:noFill/>
          </p:grpSpPr>
          <p:sp>
            <p:nvSpPr>
              <p:cNvPr id="834" name="Forma livre: Forma 833">
                <a:extLst>
                  <a:ext uri="{FF2B5EF4-FFF2-40B4-BE49-F238E27FC236}">
                    <a16:creationId xmlns:a16="http://schemas.microsoft.com/office/drawing/2014/main" id="{488A18BF-EAA6-A5BD-A576-C15ACF150ABB}"/>
                  </a:ext>
                </a:extLst>
              </p:cNvPr>
              <p:cNvSpPr/>
              <p:nvPr/>
            </p:nvSpPr>
            <p:spPr>
              <a:xfrm>
                <a:off x="9605008" y="3134290"/>
                <a:ext cx="96767" cy="37126"/>
              </a:xfrm>
              <a:custGeom>
                <a:avLst/>
                <a:gdLst>
                  <a:gd name="connsiteX0" fmla="*/ 1341 w 96767"/>
                  <a:gd name="connsiteY0" fmla="*/ 37126 h 37126"/>
                  <a:gd name="connsiteX1" fmla="*/ 0 w 96767"/>
                  <a:gd name="connsiteY1" fmla="*/ 0 h 37126"/>
                  <a:gd name="connsiteX2" fmla="*/ 96767 w 96767"/>
                  <a:gd name="connsiteY2" fmla="*/ 0 h 37126"/>
                  <a:gd name="connsiteX3" fmla="*/ 95426 w 96767"/>
                  <a:gd name="connsiteY3" fmla="*/ 36934 h 371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6767" h="37126">
                    <a:moveTo>
                      <a:pt x="1341" y="37126"/>
                    </a:moveTo>
                    <a:lnTo>
                      <a:pt x="0" y="0"/>
                    </a:lnTo>
                    <a:lnTo>
                      <a:pt x="96767" y="0"/>
                    </a:lnTo>
                    <a:lnTo>
                      <a:pt x="95426" y="36934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835" name="Forma livre: Forma 834">
                <a:extLst>
                  <a:ext uri="{FF2B5EF4-FFF2-40B4-BE49-F238E27FC236}">
                    <a16:creationId xmlns:a16="http://schemas.microsoft.com/office/drawing/2014/main" id="{D14197FA-8EF0-779F-773B-6541488E6BB4}"/>
                  </a:ext>
                </a:extLst>
              </p:cNvPr>
              <p:cNvSpPr/>
              <p:nvPr/>
            </p:nvSpPr>
            <p:spPr>
              <a:xfrm>
                <a:off x="9607308" y="3193356"/>
                <a:ext cx="91976" cy="142133"/>
              </a:xfrm>
              <a:custGeom>
                <a:avLst/>
                <a:gdLst>
                  <a:gd name="connsiteX0" fmla="*/ 1677 w 91976"/>
                  <a:gd name="connsiteY0" fmla="*/ 44695 h 142133"/>
                  <a:gd name="connsiteX1" fmla="*/ 0 w 91976"/>
                  <a:gd name="connsiteY1" fmla="*/ 0 h 142133"/>
                  <a:gd name="connsiteX2" fmla="*/ 91977 w 91976"/>
                  <a:gd name="connsiteY2" fmla="*/ 0 h 142133"/>
                  <a:gd name="connsiteX3" fmla="*/ 86851 w 91976"/>
                  <a:gd name="connsiteY3" fmla="*/ 142133 h 142133"/>
                  <a:gd name="connsiteX4" fmla="*/ 5365 w 91976"/>
                  <a:gd name="connsiteY4" fmla="*/ 142133 h 142133"/>
                  <a:gd name="connsiteX5" fmla="*/ 3928 w 91976"/>
                  <a:gd name="connsiteY5" fmla="*/ 100121 h 1421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91976" h="142133">
                    <a:moveTo>
                      <a:pt x="1677" y="44695"/>
                    </a:moveTo>
                    <a:lnTo>
                      <a:pt x="0" y="0"/>
                    </a:lnTo>
                    <a:lnTo>
                      <a:pt x="91977" y="0"/>
                    </a:lnTo>
                    <a:lnTo>
                      <a:pt x="86851" y="142133"/>
                    </a:lnTo>
                    <a:lnTo>
                      <a:pt x="5365" y="142133"/>
                    </a:lnTo>
                    <a:lnTo>
                      <a:pt x="3928" y="100121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836" name="Forma livre: Forma 835">
                <a:extLst>
                  <a:ext uri="{FF2B5EF4-FFF2-40B4-BE49-F238E27FC236}">
                    <a16:creationId xmlns:a16="http://schemas.microsoft.com/office/drawing/2014/main" id="{E2900DEA-3066-22C4-7674-5A49F6BF6BC8}"/>
                  </a:ext>
                </a:extLst>
              </p:cNvPr>
              <p:cNvSpPr/>
              <p:nvPr/>
            </p:nvSpPr>
            <p:spPr>
              <a:xfrm>
                <a:off x="9626422" y="3336591"/>
                <a:ext cx="55856" cy="50012"/>
              </a:xfrm>
              <a:custGeom>
                <a:avLst/>
                <a:gdLst>
                  <a:gd name="connsiteX0" fmla="*/ 0 w 55856"/>
                  <a:gd name="connsiteY0" fmla="*/ 0 h 50012"/>
                  <a:gd name="connsiteX1" fmla="*/ 0 w 55856"/>
                  <a:gd name="connsiteY1" fmla="*/ 50012 h 50012"/>
                  <a:gd name="connsiteX2" fmla="*/ 55857 w 55856"/>
                  <a:gd name="connsiteY2" fmla="*/ 50012 h 50012"/>
                  <a:gd name="connsiteX3" fmla="*/ 55857 w 55856"/>
                  <a:gd name="connsiteY3" fmla="*/ 0 h 500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5856" h="50012">
                    <a:moveTo>
                      <a:pt x="0" y="0"/>
                    </a:moveTo>
                    <a:lnTo>
                      <a:pt x="0" y="50012"/>
                    </a:lnTo>
                    <a:lnTo>
                      <a:pt x="55857" y="50012"/>
                    </a:lnTo>
                    <a:lnTo>
                      <a:pt x="55857" y="0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849" name="Gráfico 16">
            <a:extLst>
              <a:ext uri="{FF2B5EF4-FFF2-40B4-BE49-F238E27FC236}">
                <a16:creationId xmlns:a16="http://schemas.microsoft.com/office/drawing/2014/main" id="{0BEA824D-0B29-F5CC-1452-26623DB706E0}"/>
              </a:ext>
            </a:extLst>
          </p:cNvPr>
          <p:cNvGrpSpPr/>
          <p:nvPr/>
        </p:nvGrpSpPr>
        <p:grpSpPr>
          <a:xfrm>
            <a:off x="11218403" y="2087047"/>
            <a:ext cx="287523" cy="271523"/>
            <a:chOff x="11218403" y="2087047"/>
            <a:chExt cx="287523" cy="271523"/>
          </a:xfrm>
          <a:noFill/>
        </p:grpSpPr>
        <p:sp>
          <p:nvSpPr>
            <p:cNvPr id="850" name="Forma livre: Forma 849">
              <a:extLst>
                <a:ext uri="{FF2B5EF4-FFF2-40B4-BE49-F238E27FC236}">
                  <a16:creationId xmlns:a16="http://schemas.microsoft.com/office/drawing/2014/main" id="{09E32ECA-0D66-B2BC-B6CE-E2EA0589DEAD}"/>
                </a:ext>
              </a:extLst>
            </p:cNvPr>
            <p:cNvSpPr/>
            <p:nvPr/>
          </p:nvSpPr>
          <p:spPr>
            <a:xfrm>
              <a:off x="11277565" y="2087047"/>
              <a:ext cx="169294" cy="82587"/>
            </a:xfrm>
            <a:custGeom>
              <a:avLst/>
              <a:gdLst>
                <a:gd name="connsiteX0" fmla="*/ 0 w 169294"/>
                <a:gd name="connsiteY0" fmla="*/ 82540 h 82587"/>
                <a:gd name="connsiteX1" fmla="*/ 84647 w 169294"/>
                <a:gd name="connsiteY1" fmla="*/ 0 h 82587"/>
                <a:gd name="connsiteX2" fmla="*/ 169295 w 169294"/>
                <a:gd name="connsiteY2" fmla="*/ 82588 h 825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9294" h="82587">
                  <a:moveTo>
                    <a:pt x="0" y="82540"/>
                  </a:moveTo>
                  <a:cubicBezTo>
                    <a:pt x="1102" y="36743"/>
                    <a:pt x="38563" y="0"/>
                    <a:pt x="84647" y="0"/>
                  </a:cubicBezTo>
                  <a:cubicBezTo>
                    <a:pt x="130732" y="0"/>
                    <a:pt x="168193" y="36791"/>
                    <a:pt x="169295" y="82588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51" name="Forma livre: Forma 850">
              <a:extLst>
                <a:ext uri="{FF2B5EF4-FFF2-40B4-BE49-F238E27FC236}">
                  <a16:creationId xmlns:a16="http://schemas.microsoft.com/office/drawing/2014/main" id="{92B162C7-E163-D99A-0F7D-6EEFE81B3B59}"/>
                </a:ext>
              </a:extLst>
            </p:cNvPr>
            <p:cNvSpPr/>
            <p:nvPr/>
          </p:nvSpPr>
          <p:spPr>
            <a:xfrm>
              <a:off x="11280583" y="2193874"/>
              <a:ext cx="163306" cy="62419"/>
            </a:xfrm>
            <a:custGeom>
              <a:avLst/>
              <a:gdLst>
                <a:gd name="connsiteX0" fmla="*/ 163307 w 163306"/>
                <a:gd name="connsiteY0" fmla="*/ 0 h 62419"/>
                <a:gd name="connsiteX1" fmla="*/ 81582 w 163306"/>
                <a:gd name="connsiteY1" fmla="*/ 62420 h 62419"/>
                <a:gd name="connsiteX2" fmla="*/ 0 w 163306"/>
                <a:gd name="connsiteY2" fmla="*/ 431 h 624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3306" h="62419">
                  <a:moveTo>
                    <a:pt x="163307" y="0"/>
                  </a:moveTo>
                  <a:cubicBezTo>
                    <a:pt x="153534" y="35976"/>
                    <a:pt x="120672" y="62420"/>
                    <a:pt x="81582" y="62420"/>
                  </a:cubicBezTo>
                  <a:cubicBezTo>
                    <a:pt x="42491" y="62420"/>
                    <a:pt x="9916" y="36168"/>
                    <a:pt x="0" y="431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852" name="Gráfico 16">
              <a:extLst>
                <a:ext uri="{FF2B5EF4-FFF2-40B4-BE49-F238E27FC236}">
                  <a16:creationId xmlns:a16="http://schemas.microsoft.com/office/drawing/2014/main" id="{02441AA8-58C3-4681-611D-944C0CFD6C66}"/>
                </a:ext>
              </a:extLst>
            </p:cNvPr>
            <p:cNvGrpSpPr/>
            <p:nvPr/>
          </p:nvGrpSpPr>
          <p:grpSpPr>
            <a:xfrm>
              <a:off x="11218403" y="2189275"/>
              <a:ext cx="287523" cy="169294"/>
              <a:chOff x="11218403" y="2189275"/>
              <a:chExt cx="287523" cy="169294"/>
            </a:xfrm>
            <a:noFill/>
          </p:grpSpPr>
          <p:sp>
            <p:nvSpPr>
              <p:cNvPr id="853" name="Forma livre: Forma 852">
                <a:extLst>
                  <a:ext uri="{FF2B5EF4-FFF2-40B4-BE49-F238E27FC236}">
                    <a16:creationId xmlns:a16="http://schemas.microsoft.com/office/drawing/2014/main" id="{4D0B6202-FA20-AB8F-2C50-E42D73D0013A}"/>
                  </a:ext>
                </a:extLst>
              </p:cNvPr>
              <p:cNvSpPr/>
              <p:nvPr/>
            </p:nvSpPr>
            <p:spPr>
              <a:xfrm>
                <a:off x="11218403" y="2189275"/>
                <a:ext cx="169342" cy="169294"/>
              </a:xfrm>
              <a:custGeom>
                <a:avLst/>
                <a:gdLst>
                  <a:gd name="connsiteX0" fmla="*/ 169343 w 169342"/>
                  <a:gd name="connsiteY0" fmla="*/ 84647 h 169294"/>
                  <a:gd name="connsiteX1" fmla="*/ 84647 w 169342"/>
                  <a:gd name="connsiteY1" fmla="*/ 169295 h 169294"/>
                  <a:gd name="connsiteX2" fmla="*/ 0 w 169342"/>
                  <a:gd name="connsiteY2" fmla="*/ 84647 h 169294"/>
                  <a:gd name="connsiteX3" fmla="*/ 84647 w 169342"/>
                  <a:gd name="connsiteY3" fmla="*/ 0 h 169294"/>
                  <a:gd name="connsiteX4" fmla="*/ 169343 w 169342"/>
                  <a:gd name="connsiteY4" fmla="*/ 84647 h 1692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9342" h="169294">
                    <a:moveTo>
                      <a:pt x="169343" y="84647"/>
                    </a:moveTo>
                    <a:cubicBezTo>
                      <a:pt x="169343" y="131402"/>
                      <a:pt x="131450" y="169295"/>
                      <a:pt x="84647" y="169295"/>
                    </a:cubicBezTo>
                    <a:cubicBezTo>
                      <a:pt x="37845" y="169295"/>
                      <a:pt x="0" y="131402"/>
                      <a:pt x="0" y="84647"/>
                    </a:cubicBezTo>
                    <a:cubicBezTo>
                      <a:pt x="0" y="37892"/>
                      <a:pt x="37893" y="0"/>
                      <a:pt x="84647" y="0"/>
                    </a:cubicBezTo>
                    <a:cubicBezTo>
                      <a:pt x="131402" y="0"/>
                      <a:pt x="169343" y="37892"/>
                      <a:pt x="169343" y="84647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854" name="Forma livre: Forma 853">
                <a:extLst>
                  <a:ext uri="{FF2B5EF4-FFF2-40B4-BE49-F238E27FC236}">
                    <a16:creationId xmlns:a16="http://schemas.microsoft.com/office/drawing/2014/main" id="{271BF609-03F2-4F19-87FF-8090EBE36E73}"/>
                  </a:ext>
                </a:extLst>
              </p:cNvPr>
              <p:cNvSpPr/>
              <p:nvPr/>
            </p:nvSpPr>
            <p:spPr>
              <a:xfrm>
                <a:off x="11336584" y="2189275"/>
                <a:ext cx="169342" cy="169294"/>
              </a:xfrm>
              <a:custGeom>
                <a:avLst/>
                <a:gdLst>
                  <a:gd name="connsiteX0" fmla="*/ 23857 w 169342"/>
                  <a:gd name="connsiteY0" fmla="*/ 143522 h 169294"/>
                  <a:gd name="connsiteX1" fmla="*/ 0 w 169342"/>
                  <a:gd name="connsiteY1" fmla="*/ 84647 h 169294"/>
                  <a:gd name="connsiteX2" fmla="*/ 84647 w 169342"/>
                  <a:gd name="connsiteY2" fmla="*/ 0 h 169294"/>
                  <a:gd name="connsiteX3" fmla="*/ 169343 w 169342"/>
                  <a:gd name="connsiteY3" fmla="*/ 84647 h 169294"/>
                  <a:gd name="connsiteX4" fmla="*/ 84647 w 169342"/>
                  <a:gd name="connsiteY4" fmla="*/ 169295 h 169294"/>
                  <a:gd name="connsiteX5" fmla="*/ 44791 w 169342"/>
                  <a:gd name="connsiteY5" fmla="*/ 159331 h 1692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69342" h="169294">
                    <a:moveTo>
                      <a:pt x="23857" y="143522"/>
                    </a:moveTo>
                    <a:cubicBezTo>
                      <a:pt x="9102" y="128288"/>
                      <a:pt x="0" y="107546"/>
                      <a:pt x="0" y="84647"/>
                    </a:cubicBezTo>
                    <a:cubicBezTo>
                      <a:pt x="0" y="37892"/>
                      <a:pt x="37893" y="0"/>
                      <a:pt x="84647" y="0"/>
                    </a:cubicBezTo>
                    <a:cubicBezTo>
                      <a:pt x="131402" y="0"/>
                      <a:pt x="169343" y="37892"/>
                      <a:pt x="169343" y="84647"/>
                    </a:cubicBezTo>
                    <a:cubicBezTo>
                      <a:pt x="169343" y="131402"/>
                      <a:pt x="131450" y="169295"/>
                      <a:pt x="84647" y="169295"/>
                    </a:cubicBezTo>
                    <a:cubicBezTo>
                      <a:pt x="70228" y="169295"/>
                      <a:pt x="56671" y="165702"/>
                      <a:pt x="44791" y="159331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855" name="Gráfico 16">
            <a:extLst>
              <a:ext uri="{FF2B5EF4-FFF2-40B4-BE49-F238E27FC236}">
                <a16:creationId xmlns:a16="http://schemas.microsoft.com/office/drawing/2014/main" id="{BB0971EC-097F-E73A-23A8-B43165F4DE26}"/>
              </a:ext>
            </a:extLst>
          </p:cNvPr>
          <p:cNvGrpSpPr/>
          <p:nvPr/>
        </p:nvGrpSpPr>
        <p:grpSpPr>
          <a:xfrm>
            <a:off x="10579883" y="2091742"/>
            <a:ext cx="314302" cy="262133"/>
            <a:chOff x="10579883" y="2091742"/>
            <a:chExt cx="314302" cy="262133"/>
          </a:xfrm>
          <a:noFill/>
        </p:grpSpPr>
        <p:grpSp>
          <p:nvGrpSpPr>
            <p:cNvPr id="856" name="Gráfico 16">
              <a:extLst>
                <a:ext uri="{FF2B5EF4-FFF2-40B4-BE49-F238E27FC236}">
                  <a16:creationId xmlns:a16="http://schemas.microsoft.com/office/drawing/2014/main" id="{F7707E91-7D70-9682-4818-90883F9A5A2F}"/>
                </a:ext>
              </a:extLst>
            </p:cNvPr>
            <p:cNvGrpSpPr/>
            <p:nvPr/>
          </p:nvGrpSpPr>
          <p:grpSpPr>
            <a:xfrm>
              <a:off x="10618542" y="2091742"/>
              <a:ext cx="236936" cy="239810"/>
              <a:chOff x="10618542" y="2091742"/>
              <a:chExt cx="236936" cy="239810"/>
            </a:xfrm>
            <a:noFill/>
          </p:grpSpPr>
          <p:sp>
            <p:nvSpPr>
              <p:cNvPr id="857" name="Forma livre: Forma 856">
                <a:extLst>
                  <a:ext uri="{FF2B5EF4-FFF2-40B4-BE49-F238E27FC236}">
                    <a16:creationId xmlns:a16="http://schemas.microsoft.com/office/drawing/2014/main" id="{E7B6E505-CF9D-929F-8BF9-65BDA410653B}"/>
                  </a:ext>
                </a:extLst>
              </p:cNvPr>
              <p:cNvSpPr/>
              <p:nvPr/>
            </p:nvSpPr>
            <p:spPr>
              <a:xfrm>
                <a:off x="10618542" y="2231431"/>
                <a:ext cx="47042" cy="100120"/>
              </a:xfrm>
              <a:custGeom>
                <a:avLst/>
                <a:gdLst>
                  <a:gd name="connsiteX0" fmla="*/ 47042 w 47042"/>
                  <a:gd name="connsiteY0" fmla="*/ 0 h 100120"/>
                  <a:gd name="connsiteX1" fmla="*/ 0 w 47042"/>
                  <a:gd name="connsiteY1" fmla="*/ 0 h 100120"/>
                  <a:gd name="connsiteX2" fmla="*/ 0 w 47042"/>
                  <a:gd name="connsiteY2" fmla="*/ 100121 h 1001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47042" h="100120">
                    <a:moveTo>
                      <a:pt x="47042" y="0"/>
                    </a:moveTo>
                    <a:lnTo>
                      <a:pt x="0" y="0"/>
                    </a:lnTo>
                    <a:lnTo>
                      <a:pt x="0" y="100121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858" name="Forma livre: Forma 857">
                <a:extLst>
                  <a:ext uri="{FF2B5EF4-FFF2-40B4-BE49-F238E27FC236}">
                    <a16:creationId xmlns:a16="http://schemas.microsoft.com/office/drawing/2014/main" id="{05241B5C-C95D-31EB-41D0-A53033D48165}"/>
                  </a:ext>
                </a:extLst>
              </p:cNvPr>
              <p:cNvSpPr/>
              <p:nvPr/>
            </p:nvSpPr>
            <p:spPr>
              <a:xfrm>
                <a:off x="10665919" y="2139119"/>
                <a:ext cx="47042" cy="192432"/>
              </a:xfrm>
              <a:custGeom>
                <a:avLst/>
                <a:gdLst>
                  <a:gd name="connsiteX0" fmla="*/ 47042 w 47042"/>
                  <a:gd name="connsiteY0" fmla="*/ 192433 h 192432"/>
                  <a:gd name="connsiteX1" fmla="*/ 47042 w 47042"/>
                  <a:gd name="connsiteY1" fmla="*/ 0 h 192432"/>
                  <a:gd name="connsiteX2" fmla="*/ 0 w 47042"/>
                  <a:gd name="connsiteY2" fmla="*/ 0 h 192432"/>
                  <a:gd name="connsiteX3" fmla="*/ 0 w 47042"/>
                  <a:gd name="connsiteY3" fmla="*/ 192433 h 1924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7042" h="192432">
                    <a:moveTo>
                      <a:pt x="47042" y="192433"/>
                    </a:moveTo>
                    <a:lnTo>
                      <a:pt x="47042" y="0"/>
                    </a:lnTo>
                    <a:lnTo>
                      <a:pt x="0" y="0"/>
                    </a:lnTo>
                    <a:lnTo>
                      <a:pt x="0" y="192433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859" name="Forma livre: Forma 858">
                <a:extLst>
                  <a:ext uri="{FF2B5EF4-FFF2-40B4-BE49-F238E27FC236}">
                    <a16:creationId xmlns:a16="http://schemas.microsoft.com/office/drawing/2014/main" id="{64DB303A-81F4-E0EF-3A2B-3EA57FF17E86}"/>
                  </a:ext>
                </a:extLst>
              </p:cNvPr>
              <p:cNvSpPr/>
              <p:nvPr/>
            </p:nvSpPr>
            <p:spPr>
              <a:xfrm>
                <a:off x="10761489" y="2203168"/>
                <a:ext cx="47042" cy="128384"/>
              </a:xfrm>
              <a:custGeom>
                <a:avLst/>
                <a:gdLst>
                  <a:gd name="connsiteX0" fmla="*/ 47042 w 47042"/>
                  <a:gd name="connsiteY0" fmla="*/ 0 h 128384"/>
                  <a:gd name="connsiteX1" fmla="*/ 0 w 47042"/>
                  <a:gd name="connsiteY1" fmla="*/ 0 h 128384"/>
                  <a:gd name="connsiteX2" fmla="*/ 0 w 47042"/>
                  <a:gd name="connsiteY2" fmla="*/ 128384 h 1283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47042" h="128384">
                    <a:moveTo>
                      <a:pt x="47042" y="0"/>
                    </a:moveTo>
                    <a:lnTo>
                      <a:pt x="0" y="0"/>
                    </a:lnTo>
                    <a:lnTo>
                      <a:pt x="0" y="128384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860" name="Forma livre: Forma 859">
                <a:extLst>
                  <a:ext uri="{FF2B5EF4-FFF2-40B4-BE49-F238E27FC236}">
                    <a16:creationId xmlns:a16="http://schemas.microsoft.com/office/drawing/2014/main" id="{2FB064C8-B94D-5D3F-5EB1-A6B796E34990}"/>
                  </a:ext>
                </a:extLst>
              </p:cNvPr>
              <p:cNvSpPr/>
              <p:nvPr/>
            </p:nvSpPr>
            <p:spPr>
              <a:xfrm>
                <a:off x="10808436" y="2091742"/>
                <a:ext cx="47042" cy="239810"/>
              </a:xfrm>
              <a:custGeom>
                <a:avLst/>
                <a:gdLst>
                  <a:gd name="connsiteX0" fmla="*/ 47042 w 47042"/>
                  <a:gd name="connsiteY0" fmla="*/ 239810 h 239810"/>
                  <a:gd name="connsiteX1" fmla="*/ 47042 w 47042"/>
                  <a:gd name="connsiteY1" fmla="*/ 0 h 239810"/>
                  <a:gd name="connsiteX2" fmla="*/ 0 w 47042"/>
                  <a:gd name="connsiteY2" fmla="*/ 0 h 239810"/>
                  <a:gd name="connsiteX3" fmla="*/ 0 w 47042"/>
                  <a:gd name="connsiteY3" fmla="*/ 239810 h 2398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7042" h="239810">
                    <a:moveTo>
                      <a:pt x="47042" y="239810"/>
                    </a:moveTo>
                    <a:lnTo>
                      <a:pt x="47042" y="0"/>
                    </a:lnTo>
                    <a:lnTo>
                      <a:pt x="0" y="0"/>
                    </a:lnTo>
                    <a:lnTo>
                      <a:pt x="0" y="23981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861" name="Gráfico 16">
                <a:extLst>
                  <a:ext uri="{FF2B5EF4-FFF2-40B4-BE49-F238E27FC236}">
                    <a16:creationId xmlns:a16="http://schemas.microsoft.com/office/drawing/2014/main" id="{20DAB24B-A405-50EC-097F-77B68C4424CA}"/>
                  </a:ext>
                </a:extLst>
              </p:cNvPr>
              <p:cNvGrpSpPr/>
              <p:nvPr/>
            </p:nvGrpSpPr>
            <p:grpSpPr>
              <a:xfrm>
                <a:off x="10667740" y="2162545"/>
                <a:ext cx="43401" cy="149270"/>
                <a:chOff x="10667740" y="2162545"/>
                <a:chExt cx="43401" cy="149270"/>
              </a:xfrm>
            </p:grpSpPr>
            <p:sp>
              <p:nvSpPr>
                <p:cNvPr id="862" name="Forma livre: Forma 861">
                  <a:extLst>
                    <a:ext uri="{FF2B5EF4-FFF2-40B4-BE49-F238E27FC236}">
                      <a16:creationId xmlns:a16="http://schemas.microsoft.com/office/drawing/2014/main" id="{20063944-7A66-5C8C-9175-42CD0269F87A}"/>
                    </a:ext>
                  </a:extLst>
                </p:cNvPr>
                <p:cNvSpPr/>
                <p:nvPr/>
              </p:nvSpPr>
              <p:spPr>
                <a:xfrm>
                  <a:off x="10667740" y="2162545"/>
                  <a:ext cx="43401" cy="18299"/>
                </a:xfrm>
                <a:custGeom>
                  <a:avLst/>
                  <a:gdLst>
                    <a:gd name="connsiteX0" fmla="*/ 43402 w 43401"/>
                    <a:gd name="connsiteY0" fmla="*/ 0 h 18299"/>
                    <a:gd name="connsiteX1" fmla="*/ 0 w 43401"/>
                    <a:gd name="connsiteY1" fmla="*/ 18300 h 1829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3401" h="18299">
                      <a:moveTo>
                        <a:pt x="43402" y="0"/>
                      </a:moveTo>
                      <a:lnTo>
                        <a:pt x="0" y="1830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863" name="Forma livre: Forma 862">
                  <a:extLst>
                    <a:ext uri="{FF2B5EF4-FFF2-40B4-BE49-F238E27FC236}">
                      <a16:creationId xmlns:a16="http://schemas.microsoft.com/office/drawing/2014/main" id="{8133E8FA-16FF-FD98-1527-9338FE2913C6}"/>
                    </a:ext>
                  </a:extLst>
                </p:cNvPr>
                <p:cNvSpPr/>
                <p:nvPr/>
              </p:nvSpPr>
              <p:spPr>
                <a:xfrm>
                  <a:off x="10667740" y="2206234"/>
                  <a:ext cx="43401" cy="18299"/>
                </a:xfrm>
                <a:custGeom>
                  <a:avLst/>
                  <a:gdLst>
                    <a:gd name="connsiteX0" fmla="*/ 43402 w 43401"/>
                    <a:gd name="connsiteY0" fmla="*/ 0 h 18299"/>
                    <a:gd name="connsiteX1" fmla="*/ 0 w 43401"/>
                    <a:gd name="connsiteY1" fmla="*/ 18300 h 1829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3401" h="18299">
                      <a:moveTo>
                        <a:pt x="43402" y="0"/>
                      </a:moveTo>
                      <a:lnTo>
                        <a:pt x="0" y="1830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864" name="Forma livre: Forma 863">
                  <a:extLst>
                    <a:ext uri="{FF2B5EF4-FFF2-40B4-BE49-F238E27FC236}">
                      <a16:creationId xmlns:a16="http://schemas.microsoft.com/office/drawing/2014/main" id="{BD06BCB2-D132-94AB-0A7B-B21E70C1023B}"/>
                    </a:ext>
                  </a:extLst>
                </p:cNvPr>
                <p:cNvSpPr/>
                <p:nvPr/>
              </p:nvSpPr>
              <p:spPr>
                <a:xfrm>
                  <a:off x="10667740" y="2249875"/>
                  <a:ext cx="43401" cy="18299"/>
                </a:xfrm>
                <a:custGeom>
                  <a:avLst/>
                  <a:gdLst>
                    <a:gd name="connsiteX0" fmla="*/ 43402 w 43401"/>
                    <a:gd name="connsiteY0" fmla="*/ 0 h 18299"/>
                    <a:gd name="connsiteX1" fmla="*/ 0 w 43401"/>
                    <a:gd name="connsiteY1" fmla="*/ 18300 h 1829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3401" h="18299">
                      <a:moveTo>
                        <a:pt x="43402" y="0"/>
                      </a:moveTo>
                      <a:lnTo>
                        <a:pt x="0" y="1830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865" name="Forma livre: Forma 864">
                  <a:extLst>
                    <a:ext uri="{FF2B5EF4-FFF2-40B4-BE49-F238E27FC236}">
                      <a16:creationId xmlns:a16="http://schemas.microsoft.com/office/drawing/2014/main" id="{7368970A-4B5C-7177-B6AE-CFC05A06A3B6}"/>
                    </a:ext>
                  </a:extLst>
                </p:cNvPr>
                <p:cNvSpPr/>
                <p:nvPr/>
              </p:nvSpPr>
              <p:spPr>
                <a:xfrm>
                  <a:off x="10667740" y="2293516"/>
                  <a:ext cx="43401" cy="18299"/>
                </a:xfrm>
                <a:custGeom>
                  <a:avLst/>
                  <a:gdLst>
                    <a:gd name="connsiteX0" fmla="*/ 43402 w 43401"/>
                    <a:gd name="connsiteY0" fmla="*/ 0 h 18299"/>
                    <a:gd name="connsiteX1" fmla="*/ 0 w 43401"/>
                    <a:gd name="connsiteY1" fmla="*/ 18300 h 1829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3401" h="18299">
                      <a:moveTo>
                        <a:pt x="43402" y="0"/>
                      </a:moveTo>
                      <a:lnTo>
                        <a:pt x="0" y="1830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866" name="Gráfico 16">
                <a:extLst>
                  <a:ext uri="{FF2B5EF4-FFF2-40B4-BE49-F238E27FC236}">
                    <a16:creationId xmlns:a16="http://schemas.microsoft.com/office/drawing/2014/main" id="{DCE9B021-D7AC-A8AB-49B3-8F82547C6CF9}"/>
                  </a:ext>
                </a:extLst>
              </p:cNvPr>
              <p:cNvGrpSpPr/>
              <p:nvPr/>
            </p:nvGrpSpPr>
            <p:grpSpPr>
              <a:xfrm>
                <a:off x="10809825" y="2118329"/>
                <a:ext cx="44311" cy="192528"/>
                <a:chOff x="10809825" y="2118329"/>
                <a:chExt cx="44311" cy="192528"/>
              </a:xfrm>
            </p:grpSpPr>
            <p:sp>
              <p:nvSpPr>
                <p:cNvPr id="867" name="Forma livre: Forma 866">
                  <a:extLst>
                    <a:ext uri="{FF2B5EF4-FFF2-40B4-BE49-F238E27FC236}">
                      <a16:creationId xmlns:a16="http://schemas.microsoft.com/office/drawing/2014/main" id="{80B9C1A8-D611-594F-D7AB-CB613B66E7E9}"/>
                    </a:ext>
                  </a:extLst>
                </p:cNvPr>
                <p:cNvSpPr/>
                <p:nvPr/>
              </p:nvSpPr>
              <p:spPr>
                <a:xfrm>
                  <a:off x="10810735" y="2161874"/>
                  <a:ext cx="43401" cy="18299"/>
                </a:xfrm>
                <a:custGeom>
                  <a:avLst/>
                  <a:gdLst>
                    <a:gd name="connsiteX0" fmla="*/ 43402 w 43401"/>
                    <a:gd name="connsiteY0" fmla="*/ 0 h 18299"/>
                    <a:gd name="connsiteX1" fmla="*/ 0 w 43401"/>
                    <a:gd name="connsiteY1" fmla="*/ 18300 h 1829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3401" h="18299">
                      <a:moveTo>
                        <a:pt x="43402" y="0"/>
                      </a:moveTo>
                      <a:lnTo>
                        <a:pt x="0" y="1830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868" name="Forma livre: Forma 867">
                  <a:extLst>
                    <a:ext uri="{FF2B5EF4-FFF2-40B4-BE49-F238E27FC236}">
                      <a16:creationId xmlns:a16="http://schemas.microsoft.com/office/drawing/2014/main" id="{3F7B5B50-937E-119E-3A6D-1F5DD8A58BAB}"/>
                    </a:ext>
                  </a:extLst>
                </p:cNvPr>
                <p:cNvSpPr/>
                <p:nvPr/>
              </p:nvSpPr>
              <p:spPr>
                <a:xfrm>
                  <a:off x="10810735" y="2205419"/>
                  <a:ext cx="43401" cy="18299"/>
                </a:xfrm>
                <a:custGeom>
                  <a:avLst/>
                  <a:gdLst>
                    <a:gd name="connsiteX0" fmla="*/ 43402 w 43401"/>
                    <a:gd name="connsiteY0" fmla="*/ 0 h 18299"/>
                    <a:gd name="connsiteX1" fmla="*/ 0 w 43401"/>
                    <a:gd name="connsiteY1" fmla="*/ 18300 h 1829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3401" h="18299">
                      <a:moveTo>
                        <a:pt x="43402" y="0"/>
                      </a:moveTo>
                      <a:lnTo>
                        <a:pt x="0" y="1830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869" name="Forma livre: Forma 868">
                  <a:extLst>
                    <a:ext uri="{FF2B5EF4-FFF2-40B4-BE49-F238E27FC236}">
                      <a16:creationId xmlns:a16="http://schemas.microsoft.com/office/drawing/2014/main" id="{821285E6-012A-514E-D198-2CBAF9289336}"/>
                    </a:ext>
                  </a:extLst>
                </p:cNvPr>
                <p:cNvSpPr/>
                <p:nvPr/>
              </p:nvSpPr>
              <p:spPr>
                <a:xfrm>
                  <a:off x="10809825" y="2118329"/>
                  <a:ext cx="43401" cy="18299"/>
                </a:xfrm>
                <a:custGeom>
                  <a:avLst/>
                  <a:gdLst>
                    <a:gd name="connsiteX0" fmla="*/ 43402 w 43401"/>
                    <a:gd name="connsiteY0" fmla="*/ 0 h 18299"/>
                    <a:gd name="connsiteX1" fmla="*/ 0 w 43401"/>
                    <a:gd name="connsiteY1" fmla="*/ 18300 h 1829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3401" h="18299">
                      <a:moveTo>
                        <a:pt x="43402" y="0"/>
                      </a:moveTo>
                      <a:lnTo>
                        <a:pt x="0" y="1830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870" name="Forma livre: Forma 869">
                  <a:extLst>
                    <a:ext uri="{FF2B5EF4-FFF2-40B4-BE49-F238E27FC236}">
                      <a16:creationId xmlns:a16="http://schemas.microsoft.com/office/drawing/2014/main" id="{4BAE53CA-A9B1-4AB4-97A8-86438C5F1D2D}"/>
                    </a:ext>
                  </a:extLst>
                </p:cNvPr>
                <p:cNvSpPr/>
                <p:nvPr/>
              </p:nvSpPr>
              <p:spPr>
                <a:xfrm>
                  <a:off x="10810735" y="2249012"/>
                  <a:ext cx="43401" cy="18251"/>
                </a:xfrm>
                <a:custGeom>
                  <a:avLst/>
                  <a:gdLst>
                    <a:gd name="connsiteX0" fmla="*/ 43402 w 43401"/>
                    <a:gd name="connsiteY0" fmla="*/ 0 h 18251"/>
                    <a:gd name="connsiteX1" fmla="*/ 0 w 43401"/>
                    <a:gd name="connsiteY1" fmla="*/ 18252 h 1825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3401" h="18251">
                      <a:moveTo>
                        <a:pt x="43402" y="0"/>
                      </a:moveTo>
                      <a:lnTo>
                        <a:pt x="0" y="18252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871" name="Forma livre: Forma 870">
                  <a:extLst>
                    <a:ext uri="{FF2B5EF4-FFF2-40B4-BE49-F238E27FC236}">
                      <a16:creationId xmlns:a16="http://schemas.microsoft.com/office/drawing/2014/main" id="{1A9B8B2C-4AC8-1533-96E5-DBC8502EC520}"/>
                    </a:ext>
                  </a:extLst>
                </p:cNvPr>
                <p:cNvSpPr/>
                <p:nvPr/>
              </p:nvSpPr>
              <p:spPr>
                <a:xfrm>
                  <a:off x="10810735" y="2292558"/>
                  <a:ext cx="43401" cy="18299"/>
                </a:xfrm>
                <a:custGeom>
                  <a:avLst/>
                  <a:gdLst>
                    <a:gd name="connsiteX0" fmla="*/ 43402 w 43401"/>
                    <a:gd name="connsiteY0" fmla="*/ 0 h 18299"/>
                    <a:gd name="connsiteX1" fmla="*/ 0 w 43401"/>
                    <a:gd name="connsiteY1" fmla="*/ 18300 h 1829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3401" h="18299">
                      <a:moveTo>
                        <a:pt x="43402" y="0"/>
                      </a:moveTo>
                      <a:lnTo>
                        <a:pt x="0" y="1830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sp>
          <p:nvSpPr>
            <p:cNvPr id="872" name="Forma livre: Forma 871">
              <a:extLst>
                <a:ext uri="{FF2B5EF4-FFF2-40B4-BE49-F238E27FC236}">
                  <a16:creationId xmlns:a16="http://schemas.microsoft.com/office/drawing/2014/main" id="{D8180672-F4D7-197A-7C26-361FCF9C3233}"/>
                </a:ext>
              </a:extLst>
            </p:cNvPr>
            <p:cNvSpPr/>
            <p:nvPr/>
          </p:nvSpPr>
          <p:spPr>
            <a:xfrm>
              <a:off x="10579883" y="2353876"/>
              <a:ext cx="314302" cy="4790"/>
            </a:xfrm>
            <a:custGeom>
              <a:avLst/>
              <a:gdLst>
                <a:gd name="connsiteX0" fmla="*/ 0 w 314302"/>
                <a:gd name="connsiteY0" fmla="*/ 0 h 4790"/>
                <a:gd name="connsiteX1" fmla="*/ 314302 w 314302"/>
                <a:gd name="connsiteY1" fmla="*/ 0 h 47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14302" h="4790">
                  <a:moveTo>
                    <a:pt x="0" y="0"/>
                  </a:moveTo>
                  <a:lnTo>
                    <a:pt x="314302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873" name="Gráfico 16">
            <a:extLst>
              <a:ext uri="{FF2B5EF4-FFF2-40B4-BE49-F238E27FC236}">
                <a16:creationId xmlns:a16="http://schemas.microsoft.com/office/drawing/2014/main" id="{A9381E89-154D-527D-D9FF-DD9D8E362CED}"/>
              </a:ext>
            </a:extLst>
          </p:cNvPr>
          <p:cNvGrpSpPr/>
          <p:nvPr/>
        </p:nvGrpSpPr>
        <p:grpSpPr>
          <a:xfrm>
            <a:off x="9965267" y="2079861"/>
            <a:ext cx="293223" cy="285846"/>
            <a:chOff x="9965267" y="2079861"/>
            <a:chExt cx="293223" cy="285846"/>
          </a:xfrm>
          <a:noFill/>
        </p:grpSpPr>
        <p:grpSp>
          <p:nvGrpSpPr>
            <p:cNvPr id="874" name="Gráfico 16">
              <a:extLst>
                <a:ext uri="{FF2B5EF4-FFF2-40B4-BE49-F238E27FC236}">
                  <a16:creationId xmlns:a16="http://schemas.microsoft.com/office/drawing/2014/main" id="{C5434445-5611-2BFC-3EC0-801562B7A8E8}"/>
                </a:ext>
              </a:extLst>
            </p:cNvPr>
            <p:cNvGrpSpPr/>
            <p:nvPr/>
          </p:nvGrpSpPr>
          <p:grpSpPr>
            <a:xfrm>
              <a:off x="9989075" y="2112149"/>
              <a:ext cx="269415" cy="221271"/>
              <a:chOff x="9989075" y="2112149"/>
              <a:chExt cx="269415" cy="221271"/>
            </a:xfrm>
            <a:noFill/>
          </p:grpSpPr>
          <p:grpSp>
            <p:nvGrpSpPr>
              <p:cNvPr id="875" name="Gráfico 16">
                <a:extLst>
                  <a:ext uri="{FF2B5EF4-FFF2-40B4-BE49-F238E27FC236}">
                    <a16:creationId xmlns:a16="http://schemas.microsoft.com/office/drawing/2014/main" id="{6F710333-C91F-6272-314C-ED127A178B27}"/>
                  </a:ext>
                </a:extLst>
              </p:cNvPr>
              <p:cNvGrpSpPr/>
              <p:nvPr/>
            </p:nvGrpSpPr>
            <p:grpSpPr>
              <a:xfrm>
                <a:off x="9989075" y="2112149"/>
                <a:ext cx="167809" cy="49102"/>
                <a:chOff x="9989075" y="2112149"/>
                <a:chExt cx="167809" cy="49102"/>
              </a:xfrm>
              <a:noFill/>
            </p:grpSpPr>
            <p:sp>
              <p:nvSpPr>
                <p:cNvPr id="876" name="Forma livre: Forma 875">
                  <a:extLst>
                    <a:ext uri="{FF2B5EF4-FFF2-40B4-BE49-F238E27FC236}">
                      <a16:creationId xmlns:a16="http://schemas.microsoft.com/office/drawing/2014/main" id="{D5D9CACC-8CDB-8D60-3E13-7EA42843F38A}"/>
                    </a:ext>
                  </a:extLst>
                </p:cNvPr>
                <p:cNvSpPr/>
                <p:nvPr/>
              </p:nvSpPr>
              <p:spPr>
                <a:xfrm>
                  <a:off x="9989075" y="2112149"/>
                  <a:ext cx="167809" cy="49102"/>
                </a:xfrm>
                <a:custGeom>
                  <a:avLst/>
                  <a:gdLst>
                    <a:gd name="connsiteX0" fmla="*/ 0 w 167809"/>
                    <a:gd name="connsiteY0" fmla="*/ 0 h 49102"/>
                    <a:gd name="connsiteX1" fmla="*/ 167810 w 167809"/>
                    <a:gd name="connsiteY1" fmla="*/ 0 h 49102"/>
                    <a:gd name="connsiteX2" fmla="*/ 167810 w 167809"/>
                    <a:gd name="connsiteY2" fmla="*/ 49102 h 49102"/>
                    <a:gd name="connsiteX3" fmla="*/ 144 w 167809"/>
                    <a:gd name="connsiteY3" fmla="*/ 49102 h 4910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67809" h="49102">
                      <a:moveTo>
                        <a:pt x="0" y="0"/>
                      </a:moveTo>
                      <a:lnTo>
                        <a:pt x="167810" y="0"/>
                      </a:lnTo>
                      <a:lnTo>
                        <a:pt x="167810" y="49102"/>
                      </a:lnTo>
                      <a:lnTo>
                        <a:pt x="144" y="49102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877" name="Forma livre: Forma 876">
                  <a:extLst>
                    <a:ext uri="{FF2B5EF4-FFF2-40B4-BE49-F238E27FC236}">
                      <a16:creationId xmlns:a16="http://schemas.microsoft.com/office/drawing/2014/main" id="{C2C86DA3-D3BA-37A7-197A-D3390461B43A}"/>
                    </a:ext>
                  </a:extLst>
                </p:cNvPr>
                <p:cNvSpPr/>
                <p:nvPr/>
              </p:nvSpPr>
              <p:spPr>
                <a:xfrm>
                  <a:off x="10101795" y="2112197"/>
                  <a:ext cx="4790" cy="49006"/>
                </a:xfrm>
                <a:custGeom>
                  <a:avLst/>
                  <a:gdLst>
                    <a:gd name="connsiteX0" fmla="*/ 0 w 4790"/>
                    <a:gd name="connsiteY0" fmla="*/ 0 h 49006"/>
                    <a:gd name="connsiteX1" fmla="*/ 0 w 4790"/>
                    <a:gd name="connsiteY1" fmla="*/ 49006 h 4900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790" h="49006">
                      <a:moveTo>
                        <a:pt x="0" y="0"/>
                      </a:moveTo>
                      <a:lnTo>
                        <a:pt x="0" y="49006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878" name="Gráfico 16">
                <a:extLst>
                  <a:ext uri="{FF2B5EF4-FFF2-40B4-BE49-F238E27FC236}">
                    <a16:creationId xmlns:a16="http://schemas.microsoft.com/office/drawing/2014/main" id="{C834C6A9-B3F0-FDAA-0C17-4FADEBD7A9FB}"/>
                  </a:ext>
                </a:extLst>
              </p:cNvPr>
              <p:cNvGrpSpPr/>
              <p:nvPr/>
            </p:nvGrpSpPr>
            <p:grpSpPr>
              <a:xfrm>
                <a:off x="9989075" y="2198234"/>
                <a:ext cx="230708" cy="49102"/>
                <a:chOff x="9989075" y="2198234"/>
                <a:chExt cx="230708" cy="49102"/>
              </a:xfrm>
              <a:noFill/>
            </p:grpSpPr>
            <p:sp>
              <p:nvSpPr>
                <p:cNvPr id="879" name="Forma livre: Forma 878">
                  <a:extLst>
                    <a:ext uri="{FF2B5EF4-FFF2-40B4-BE49-F238E27FC236}">
                      <a16:creationId xmlns:a16="http://schemas.microsoft.com/office/drawing/2014/main" id="{EF9F8156-8548-9B50-87A2-EF37B39A0A4E}"/>
                    </a:ext>
                  </a:extLst>
                </p:cNvPr>
                <p:cNvSpPr/>
                <p:nvPr/>
              </p:nvSpPr>
              <p:spPr>
                <a:xfrm>
                  <a:off x="9989075" y="2198234"/>
                  <a:ext cx="230708" cy="49102"/>
                </a:xfrm>
                <a:custGeom>
                  <a:avLst/>
                  <a:gdLst>
                    <a:gd name="connsiteX0" fmla="*/ 0 w 230708"/>
                    <a:gd name="connsiteY0" fmla="*/ 0 h 49102"/>
                    <a:gd name="connsiteX1" fmla="*/ 230709 w 230708"/>
                    <a:gd name="connsiteY1" fmla="*/ 0 h 49102"/>
                    <a:gd name="connsiteX2" fmla="*/ 230709 w 230708"/>
                    <a:gd name="connsiteY2" fmla="*/ 49102 h 49102"/>
                    <a:gd name="connsiteX3" fmla="*/ 144 w 230708"/>
                    <a:gd name="connsiteY3" fmla="*/ 49102 h 4910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230708" h="49102">
                      <a:moveTo>
                        <a:pt x="0" y="0"/>
                      </a:moveTo>
                      <a:lnTo>
                        <a:pt x="230709" y="0"/>
                      </a:lnTo>
                      <a:lnTo>
                        <a:pt x="230709" y="49102"/>
                      </a:lnTo>
                      <a:lnTo>
                        <a:pt x="144" y="49102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880" name="Forma livre: Forma 879">
                  <a:extLst>
                    <a:ext uri="{FF2B5EF4-FFF2-40B4-BE49-F238E27FC236}">
                      <a16:creationId xmlns:a16="http://schemas.microsoft.com/office/drawing/2014/main" id="{2BE77A57-BC23-6CE4-6E3B-C2F9598A66F7}"/>
                    </a:ext>
                  </a:extLst>
                </p:cNvPr>
                <p:cNvSpPr/>
                <p:nvPr/>
              </p:nvSpPr>
              <p:spPr>
                <a:xfrm>
                  <a:off x="10130586" y="2198281"/>
                  <a:ext cx="4790" cy="49006"/>
                </a:xfrm>
                <a:custGeom>
                  <a:avLst/>
                  <a:gdLst>
                    <a:gd name="connsiteX0" fmla="*/ 0 w 4790"/>
                    <a:gd name="connsiteY0" fmla="*/ 0 h 49006"/>
                    <a:gd name="connsiteX1" fmla="*/ 0 w 4790"/>
                    <a:gd name="connsiteY1" fmla="*/ 49006 h 4900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790" h="49006">
                      <a:moveTo>
                        <a:pt x="0" y="0"/>
                      </a:moveTo>
                      <a:lnTo>
                        <a:pt x="0" y="49006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881" name="Gráfico 16">
                <a:extLst>
                  <a:ext uri="{FF2B5EF4-FFF2-40B4-BE49-F238E27FC236}">
                    <a16:creationId xmlns:a16="http://schemas.microsoft.com/office/drawing/2014/main" id="{16A3D826-0F4B-234D-14A9-4E87FCEFC1C0}"/>
                  </a:ext>
                </a:extLst>
              </p:cNvPr>
              <p:cNvGrpSpPr/>
              <p:nvPr/>
            </p:nvGrpSpPr>
            <p:grpSpPr>
              <a:xfrm>
                <a:off x="9989075" y="2284318"/>
                <a:ext cx="269415" cy="49102"/>
                <a:chOff x="9989075" y="2284318"/>
                <a:chExt cx="269415" cy="49102"/>
              </a:xfrm>
              <a:noFill/>
            </p:grpSpPr>
            <p:sp>
              <p:nvSpPr>
                <p:cNvPr id="882" name="Forma livre: Forma 881">
                  <a:extLst>
                    <a:ext uri="{FF2B5EF4-FFF2-40B4-BE49-F238E27FC236}">
                      <a16:creationId xmlns:a16="http://schemas.microsoft.com/office/drawing/2014/main" id="{8E9BFECD-8033-9C2F-5448-9DEACC47FC44}"/>
                    </a:ext>
                  </a:extLst>
                </p:cNvPr>
                <p:cNvSpPr/>
                <p:nvPr/>
              </p:nvSpPr>
              <p:spPr>
                <a:xfrm>
                  <a:off x="9989075" y="2284318"/>
                  <a:ext cx="269415" cy="49102"/>
                </a:xfrm>
                <a:custGeom>
                  <a:avLst/>
                  <a:gdLst>
                    <a:gd name="connsiteX0" fmla="*/ 0 w 269415"/>
                    <a:gd name="connsiteY0" fmla="*/ 0 h 49102"/>
                    <a:gd name="connsiteX1" fmla="*/ 269415 w 269415"/>
                    <a:gd name="connsiteY1" fmla="*/ 0 h 49102"/>
                    <a:gd name="connsiteX2" fmla="*/ 269415 w 269415"/>
                    <a:gd name="connsiteY2" fmla="*/ 49102 h 49102"/>
                    <a:gd name="connsiteX3" fmla="*/ 144 w 269415"/>
                    <a:gd name="connsiteY3" fmla="*/ 49102 h 4910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269415" h="49102">
                      <a:moveTo>
                        <a:pt x="0" y="0"/>
                      </a:moveTo>
                      <a:lnTo>
                        <a:pt x="269415" y="0"/>
                      </a:lnTo>
                      <a:lnTo>
                        <a:pt x="269415" y="49102"/>
                      </a:lnTo>
                      <a:lnTo>
                        <a:pt x="144" y="49102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883" name="Forma livre: Forma 882">
                  <a:extLst>
                    <a:ext uri="{FF2B5EF4-FFF2-40B4-BE49-F238E27FC236}">
                      <a16:creationId xmlns:a16="http://schemas.microsoft.com/office/drawing/2014/main" id="{85BD6BB7-A6BB-745E-B0A2-789AB3DACBA4}"/>
                    </a:ext>
                  </a:extLst>
                </p:cNvPr>
                <p:cNvSpPr/>
                <p:nvPr/>
              </p:nvSpPr>
              <p:spPr>
                <a:xfrm>
                  <a:off x="10165269" y="2284366"/>
                  <a:ext cx="4790" cy="49006"/>
                </a:xfrm>
                <a:custGeom>
                  <a:avLst/>
                  <a:gdLst>
                    <a:gd name="connsiteX0" fmla="*/ 0 w 4790"/>
                    <a:gd name="connsiteY0" fmla="*/ 0 h 49006"/>
                    <a:gd name="connsiteX1" fmla="*/ 0 w 4790"/>
                    <a:gd name="connsiteY1" fmla="*/ 49006 h 4900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790" h="49006">
                      <a:moveTo>
                        <a:pt x="0" y="0"/>
                      </a:moveTo>
                      <a:lnTo>
                        <a:pt x="0" y="49006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sp>
          <p:nvSpPr>
            <p:cNvPr id="884" name="Forma livre: Forma 883">
              <a:extLst>
                <a:ext uri="{FF2B5EF4-FFF2-40B4-BE49-F238E27FC236}">
                  <a16:creationId xmlns:a16="http://schemas.microsoft.com/office/drawing/2014/main" id="{A2FDDD9D-0771-3CBA-0718-E3083F7CF9EB}"/>
                </a:ext>
              </a:extLst>
            </p:cNvPr>
            <p:cNvSpPr/>
            <p:nvPr/>
          </p:nvSpPr>
          <p:spPr>
            <a:xfrm>
              <a:off x="9965267" y="2079861"/>
              <a:ext cx="4790" cy="285846"/>
            </a:xfrm>
            <a:custGeom>
              <a:avLst/>
              <a:gdLst>
                <a:gd name="connsiteX0" fmla="*/ 0 w 4790"/>
                <a:gd name="connsiteY0" fmla="*/ 0 h 285846"/>
                <a:gd name="connsiteX1" fmla="*/ 0 w 4790"/>
                <a:gd name="connsiteY1" fmla="*/ 285847 h 285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790" h="285846">
                  <a:moveTo>
                    <a:pt x="0" y="0"/>
                  </a:moveTo>
                  <a:lnTo>
                    <a:pt x="0" y="285847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885" name="Gráfico 16">
            <a:extLst>
              <a:ext uri="{FF2B5EF4-FFF2-40B4-BE49-F238E27FC236}">
                <a16:creationId xmlns:a16="http://schemas.microsoft.com/office/drawing/2014/main" id="{FE35806F-E10E-7F14-6AAB-67B8F33B1749}"/>
              </a:ext>
            </a:extLst>
          </p:cNvPr>
          <p:cNvGrpSpPr/>
          <p:nvPr/>
        </p:nvGrpSpPr>
        <p:grpSpPr>
          <a:xfrm>
            <a:off x="11205038" y="1565270"/>
            <a:ext cx="314302" cy="261128"/>
            <a:chOff x="11205038" y="1565270"/>
            <a:chExt cx="314302" cy="261128"/>
          </a:xfrm>
        </p:grpSpPr>
        <p:sp>
          <p:nvSpPr>
            <p:cNvPr id="886" name="Forma livre: Forma 885">
              <a:extLst>
                <a:ext uri="{FF2B5EF4-FFF2-40B4-BE49-F238E27FC236}">
                  <a16:creationId xmlns:a16="http://schemas.microsoft.com/office/drawing/2014/main" id="{8AF12D4D-FF19-C2F2-4732-3EAC5D7C29B1}"/>
                </a:ext>
              </a:extLst>
            </p:cNvPr>
            <p:cNvSpPr/>
            <p:nvPr/>
          </p:nvSpPr>
          <p:spPr>
            <a:xfrm>
              <a:off x="11205038" y="1826398"/>
              <a:ext cx="314302" cy="4790"/>
            </a:xfrm>
            <a:custGeom>
              <a:avLst/>
              <a:gdLst>
                <a:gd name="connsiteX0" fmla="*/ 0 w 314302"/>
                <a:gd name="connsiteY0" fmla="*/ 0 h 4790"/>
                <a:gd name="connsiteX1" fmla="*/ 314302 w 314302"/>
                <a:gd name="connsiteY1" fmla="*/ 0 h 47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14302" h="4790">
                  <a:moveTo>
                    <a:pt x="0" y="0"/>
                  </a:moveTo>
                  <a:lnTo>
                    <a:pt x="314302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887" name="Gráfico 16">
              <a:extLst>
                <a:ext uri="{FF2B5EF4-FFF2-40B4-BE49-F238E27FC236}">
                  <a16:creationId xmlns:a16="http://schemas.microsoft.com/office/drawing/2014/main" id="{5193FAC4-2C91-B5DC-5E0A-0F427253BF44}"/>
                </a:ext>
              </a:extLst>
            </p:cNvPr>
            <p:cNvGrpSpPr/>
            <p:nvPr/>
          </p:nvGrpSpPr>
          <p:grpSpPr>
            <a:xfrm>
              <a:off x="11232056" y="1565270"/>
              <a:ext cx="260265" cy="229079"/>
              <a:chOff x="11232056" y="1565270"/>
              <a:chExt cx="260265" cy="229079"/>
            </a:xfrm>
          </p:grpSpPr>
          <p:grpSp>
            <p:nvGrpSpPr>
              <p:cNvPr id="888" name="Gráfico 16">
                <a:extLst>
                  <a:ext uri="{FF2B5EF4-FFF2-40B4-BE49-F238E27FC236}">
                    <a16:creationId xmlns:a16="http://schemas.microsoft.com/office/drawing/2014/main" id="{0235467B-0AAA-8624-5F0A-1CCDEF9B5234}"/>
                  </a:ext>
                </a:extLst>
              </p:cNvPr>
              <p:cNvGrpSpPr/>
              <p:nvPr/>
            </p:nvGrpSpPr>
            <p:grpSpPr>
              <a:xfrm>
                <a:off x="11302859" y="1565270"/>
                <a:ext cx="47904" cy="229079"/>
                <a:chOff x="11302859" y="1565270"/>
                <a:chExt cx="47904" cy="229079"/>
              </a:xfrm>
            </p:grpSpPr>
            <p:sp>
              <p:nvSpPr>
                <p:cNvPr id="889" name="Forma livre: Forma 888">
                  <a:extLst>
                    <a:ext uri="{FF2B5EF4-FFF2-40B4-BE49-F238E27FC236}">
                      <a16:creationId xmlns:a16="http://schemas.microsoft.com/office/drawing/2014/main" id="{BCA71678-1C04-F01F-7ED5-93045B69C16F}"/>
                    </a:ext>
                  </a:extLst>
                </p:cNvPr>
                <p:cNvSpPr/>
                <p:nvPr/>
              </p:nvSpPr>
              <p:spPr>
                <a:xfrm>
                  <a:off x="11302859" y="1794350"/>
                  <a:ext cx="47904" cy="4790"/>
                </a:xfrm>
                <a:custGeom>
                  <a:avLst/>
                  <a:gdLst>
                    <a:gd name="connsiteX0" fmla="*/ 0 w 47904"/>
                    <a:gd name="connsiteY0" fmla="*/ 0 h 4790"/>
                    <a:gd name="connsiteX1" fmla="*/ 47905 w 47904"/>
                    <a:gd name="connsiteY1" fmla="*/ 0 h 47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7904" h="4790">
                      <a:moveTo>
                        <a:pt x="0" y="0"/>
                      </a:moveTo>
                      <a:lnTo>
                        <a:pt x="47905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890" name="Forma livre: Forma 889">
                  <a:extLst>
                    <a:ext uri="{FF2B5EF4-FFF2-40B4-BE49-F238E27FC236}">
                      <a16:creationId xmlns:a16="http://schemas.microsoft.com/office/drawing/2014/main" id="{161B2C7C-6EDD-737B-A63C-184A757B5E61}"/>
                    </a:ext>
                  </a:extLst>
                </p:cNvPr>
                <p:cNvSpPr/>
                <p:nvPr/>
              </p:nvSpPr>
              <p:spPr>
                <a:xfrm>
                  <a:off x="11302859" y="1761631"/>
                  <a:ext cx="47904" cy="4790"/>
                </a:xfrm>
                <a:custGeom>
                  <a:avLst/>
                  <a:gdLst>
                    <a:gd name="connsiteX0" fmla="*/ 0 w 47904"/>
                    <a:gd name="connsiteY0" fmla="*/ 0 h 4790"/>
                    <a:gd name="connsiteX1" fmla="*/ 47905 w 47904"/>
                    <a:gd name="connsiteY1" fmla="*/ 0 h 47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7904" h="4790">
                      <a:moveTo>
                        <a:pt x="0" y="0"/>
                      </a:moveTo>
                      <a:lnTo>
                        <a:pt x="47905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891" name="Forma livre: Forma 890">
                  <a:extLst>
                    <a:ext uri="{FF2B5EF4-FFF2-40B4-BE49-F238E27FC236}">
                      <a16:creationId xmlns:a16="http://schemas.microsoft.com/office/drawing/2014/main" id="{2C230711-EC77-5415-A198-3079648CB38D}"/>
                    </a:ext>
                  </a:extLst>
                </p:cNvPr>
                <p:cNvSpPr/>
                <p:nvPr/>
              </p:nvSpPr>
              <p:spPr>
                <a:xfrm>
                  <a:off x="11302859" y="1728912"/>
                  <a:ext cx="47904" cy="4790"/>
                </a:xfrm>
                <a:custGeom>
                  <a:avLst/>
                  <a:gdLst>
                    <a:gd name="connsiteX0" fmla="*/ 0 w 47904"/>
                    <a:gd name="connsiteY0" fmla="*/ 0 h 4790"/>
                    <a:gd name="connsiteX1" fmla="*/ 47905 w 47904"/>
                    <a:gd name="connsiteY1" fmla="*/ 0 h 47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7904" h="4790">
                      <a:moveTo>
                        <a:pt x="0" y="0"/>
                      </a:moveTo>
                      <a:lnTo>
                        <a:pt x="47905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892" name="Forma livre: Forma 891">
                  <a:extLst>
                    <a:ext uri="{FF2B5EF4-FFF2-40B4-BE49-F238E27FC236}">
                      <a16:creationId xmlns:a16="http://schemas.microsoft.com/office/drawing/2014/main" id="{D4617E73-F7C1-6720-D24D-103F2FEE2FEE}"/>
                    </a:ext>
                  </a:extLst>
                </p:cNvPr>
                <p:cNvSpPr/>
                <p:nvPr/>
              </p:nvSpPr>
              <p:spPr>
                <a:xfrm>
                  <a:off x="11302859" y="1696193"/>
                  <a:ext cx="47904" cy="4790"/>
                </a:xfrm>
                <a:custGeom>
                  <a:avLst/>
                  <a:gdLst>
                    <a:gd name="connsiteX0" fmla="*/ 0 w 47904"/>
                    <a:gd name="connsiteY0" fmla="*/ 0 h 4790"/>
                    <a:gd name="connsiteX1" fmla="*/ 47905 w 47904"/>
                    <a:gd name="connsiteY1" fmla="*/ 0 h 47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7904" h="4790">
                      <a:moveTo>
                        <a:pt x="0" y="0"/>
                      </a:moveTo>
                      <a:lnTo>
                        <a:pt x="47905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893" name="Forma livre: Forma 892">
                  <a:extLst>
                    <a:ext uri="{FF2B5EF4-FFF2-40B4-BE49-F238E27FC236}">
                      <a16:creationId xmlns:a16="http://schemas.microsoft.com/office/drawing/2014/main" id="{FA21434E-314C-B2A1-BED9-9C9368985829}"/>
                    </a:ext>
                  </a:extLst>
                </p:cNvPr>
                <p:cNvSpPr/>
                <p:nvPr/>
              </p:nvSpPr>
              <p:spPr>
                <a:xfrm>
                  <a:off x="11302859" y="1663427"/>
                  <a:ext cx="47904" cy="4790"/>
                </a:xfrm>
                <a:custGeom>
                  <a:avLst/>
                  <a:gdLst>
                    <a:gd name="connsiteX0" fmla="*/ 0 w 47904"/>
                    <a:gd name="connsiteY0" fmla="*/ 0 h 4790"/>
                    <a:gd name="connsiteX1" fmla="*/ 47905 w 47904"/>
                    <a:gd name="connsiteY1" fmla="*/ 0 h 47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7904" h="4790">
                      <a:moveTo>
                        <a:pt x="0" y="0"/>
                      </a:moveTo>
                      <a:lnTo>
                        <a:pt x="47905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894" name="Forma livre: Forma 893">
                  <a:extLst>
                    <a:ext uri="{FF2B5EF4-FFF2-40B4-BE49-F238E27FC236}">
                      <a16:creationId xmlns:a16="http://schemas.microsoft.com/office/drawing/2014/main" id="{D2A3533C-ECA0-FC12-D050-C80C3B81E6DA}"/>
                    </a:ext>
                  </a:extLst>
                </p:cNvPr>
                <p:cNvSpPr/>
                <p:nvPr/>
              </p:nvSpPr>
              <p:spPr>
                <a:xfrm>
                  <a:off x="11302859" y="1630708"/>
                  <a:ext cx="47904" cy="4790"/>
                </a:xfrm>
                <a:custGeom>
                  <a:avLst/>
                  <a:gdLst>
                    <a:gd name="connsiteX0" fmla="*/ 0 w 47904"/>
                    <a:gd name="connsiteY0" fmla="*/ 0 h 4790"/>
                    <a:gd name="connsiteX1" fmla="*/ 47905 w 47904"/>
                    <a:gd name="connsiteY1" fmla="*/ 0 h 47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7904" h="4790">
                      <a:moveTo>
                        <a:pt x="0" y="0"/>
                      </a:moveTo>
                      <a:lnTo>
                        <a:pt x="47905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895" name="Forma livre: Forma 894">
                  <a:extLst>
                    <a:ext uri="{FF2B5EF4-FFF2-40B4-BE49-F238E27FC236}">
                      <a16:creationId xmlns:a16="http://schemas.microsoft.com/office/drawing/2014/main" id="{D377F973-4E23-70F1-F14D-CA9B17229926}"/>
                    </a:ext>
                  </a:extLst>
                </p:cNvPr>
                <p:cNvSpPr/>
                <p:nvPr/>
              </p:nvSpPr>
              <p:spPr>
                <a:xfrm>
                  <a:off x="11302859" y="1597989"/>
                  <a:ext cx="47904" cy="4790"/>
                </a:xfrm>
                <a:custGeom>
                  <a:avLst/>
                  <a:gdLst>
                    <a:gd name="connsiteX0" fmla="*/ 0 w 47904"/>
                    <a:gd name="connsiteY0" fmla="*/ 0 h 4790"/>
                    <a:gd name="connsiteX1" fmla="*/ 47905 w 47904"/>
                    <a:gd name="connsiteY1" fmla="*/ 0 h 47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7904" h="4790">
                      <a:moveTo>
                        <a:pt x="0" y="0"/>
                      </a:moveTo>
                      <a:lnTo>
                        <a:pt x="47905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896" name="Forma livre: Forma 895">
                  <a:extLst>
                    <a:ext uri="{FF2B5EF4-FFF2-40B4-BE49-F238E27FC236}">
                      <a16:creationId xmlns:a16="http://schemas.microsoft.com/office/drawing/2014/main" id="{9D301D86-D32E-AD33-22F1-8924956AB194}"/>
                    </a:ext>
                  </a:extLst>
                </p:cNvPr>
                <p:cNvSpPr/>
                <p:nvPr/>
              </p:nvSpPr>
              <p:spPr>
                <a:xfrm>
                  <a:off x="11302859" y="1565270"/>
                  <a:ext cx="47904" cy="4790"/>
                </a:xfrm>
                <a:custGeom>
                  <a:avLst/>
                  <a:gdLst>
                    <a:gd name="connsiteX0" fmla="*/ 0 w 47904"/>
                    <a:gd name="connsiteY0" fmla="*/ 0 h 4790"/>
                    <a:gd name="connsiteX1" fmla="*/ 47905 w 47904"/>
                    <a:gd name="connsiteY1" fmla="*/ 0 h 47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7904" h="4790">
                      <a:moveTo>
                        <a:pt x="0" y="0"/>
                      </a:moveTo>
                      <a:lnTo>
                        <a:pt x="47905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897" name="Gráfico 16">
                <a:extLst>
                  <a:ext uri="{FF2B5EF4-FFF2-40B4-BE49-F238E27FC236}">
                    <a16:creationId xmlns:a16="http://schemas.microsoft.com/office/drawing/2014/main" id="{A3C75FF1-C89E-8706-DC04-23EFE37EACD6}"/>
                  </a:ext>
                </a:extLst>
              </p:cNvPr>
              <p:cNvGrpSpPr/>
              <p:nvPr/>
            </p:nvGrpSpPr>
            <p:grpSpPr>
              <a:xfrm>
                <a:off x="11444417" y="1630708"/>
                <a:ext cx="47904" cy="163642"/>
                <a:chOff x="11444417" y="1630708"/>
                <a:chExt cx="47904" cy="163642"/>
              </a:xfrm>
            </p:grpSpPr>
            <p:sp>
              <p:nvSpPr>
                <p:cNvPr id="898" name="Forma livre: Forma 897">
                  <a:extLst>
                    <a:ext uri="{FF2B5EF4-FFF2-40B4-BE49-F238E27FC236}">
                      <a16:creationId xmlns:a16="http://schemas.microsoft.com/office/drawing/2014/main" id="{C8AFD232-8714-D3C7-C90E-A4ED0D7B5357}"/>
                    </a:ext>
                  </a:extLst>
                </p:cNvPr>
                <p:cNvSpPr/>
                <p:nvPr/>
              </p:nvSpPr>
              <p:spPr>
                <a:xfrm>
                  <a:off x="11444417" y="1794350"/>
                  <a:ext cx="47904" cy="4790"/>
                </a:xfrm>
                <a:custGeom>
                  <a:avLst/>
                  <a:gdLst>
                    <a:gd name="connsiteX0" fmla="*/ 0 w 47904"/>
                    <a:gd name="connsiteY0" fmla="*/ 0 h 4790"/>
                    <a:gd name="connsiteX1" fmla="*/ 47905 w 47904"/>
                    <a:gd name="connsiteY1" fmla="*/ 0 h 47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7904" h="4790">
                      <a:moveTo>
                        <a:pt x="0" y="0"/>
                      </a:moveTo>
                      <a:lnTo>
                        <a:pt x="47905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899" name="Forma livre: Forma 898">
                  <a:extLst>
                    <a:ext uri="{FF2B5EF4-FFF2-40B4-BE49-F238E27FC236}">
                      <a16:creationId xmlns:a16="http://schemas.microsoft.com/office/drawing/2014/main" id="{5DE7A1CD-2B91-66D3-5496-CCEFC5BC49A7}"/>
                    </a:ext>
                  </a:extLst>
                </p:cNvPr>
                <p:cNvSpPr/>
                <p:nvPr/>
              </p:nvSpPr>
              <p:spPr>
                <a:xfrm>
                  <a:off x="11444417" y="1761631"/>
                  <a:ext cx="47904" cy="4790"/>
                </a:xfrm>
                <a:custGeom>
                  <a:avLst/>
                  <a:gdLst>
                    <a:gd name="connsiteX0" fmla="*/ 0 w 47904"/>
                    <a:gd name="connsiteY0" fmla="*/ 0 h 4790"/>
                    <a:gd name="connsiteX1" fmla="*/ 47905 w 47904"/>
                    <a:gd name="connsiteY1" fmla="*/ 0 h 47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7904" h="4790">
                      <a:moveTo>
                        <a:pt x="0" y="0"/>
                      </a:moveTo>
                      <a:lnTo>
                        <a:pt x="47905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900" name="Forma livre: Forma 899">
                  <a:extLst>
                    <a:ext uri="{FF2B5EF4-FFF2-40B4-BE49-F238E27FC236}">
                      <a16:creationId xmlns:a16="http://schemas.microsoft.com/office/drawing/2014/main" id="{80692A91-DDCA-82C4-07A4-1B25E10202F8}"/>
                    </a:ext>
                  </a:extLst>
                </p:cNvPr>
                <p:cNvSpPr/>
                <p:nvPr/>
              </p:nvSpPr>
              <p:spPr>
                <a:xfrm>
                  <a:off x="11444417" y="1728912"/>
                  <a:ext cx="47904" cy="4790"/>
                </a:xfrm>
                <a:custGeom>
                  <a:avLst/>
                  <a:gdLst>
                    <a:gd name="connsiteX0" fmla="*/ 0 w 47904"/>
                    <a:gd name="connsiteY0" fmla="*/ 0 h 4790"/>
                    <a:gd name="connsiteX1" fmla="*/ 47905 w 47904"/>
                    <a:gd name="connsiteY1" fmla="*/ 0 h 47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7904" h="4790">
                      <a:moveTo>
                        <a:pt x="0" y="0"/>
                      </a:moveTo>
                      <a:lnTo>
                        <a:pt x="47905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901" name="Forma livre: Forma 900">
                  <a:extLst>
                    <a:ext uri="{FF2B5EF4-FFF2-40B4-BE49-F238E27FC236}">
                      <a16:creationId xmlns:a16="http://schemas.microsoft.com/office/drawing/2014/main" id="{DDDE683D-0EB1-C512-29C0-D45414781EE9}"/>
                    </a:ext>
                  </a:extLst>
                </p:cNvPr>
                <p:cNvSpPr/>
                <p:nvPr/>
              </p:nvSpPr>
              <p:spPr>
                <a:xfrm>
                  <a:off x="11444417" y="1696193"/>
                  <a:ext cx="47904" cy="4790"/>
                </a:xfrm>
                <a:custGeom>
                  <a:avLst/>
                  <a:gdLst>
                    <a:gd name="connsiteX0" fmla="*/ 0 w 47904"/>
                    <a:gd name="connsiteY0" fmla="*/ 0 h 4790"/>
                    <a:gd name="connsiteX1" fmla="*/ 47905 w 47904"/>
                    <a:gd name="connsiteY1" fmla="*/ 0 h 47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7904" h="4790">
                      <a:moveTo>
                        <a:pt x="0" y="0"/>
                      </a:moveTo>
                      <a:lnTo>
                        <a:pt x="47905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902" name="Forma livre: Forma 901">
                  <a:extLst>
                    <a:ext uri="{FF2B5EF4-FFF2-40B4-BE49-F238E27FC236}">
                      <a16:creationId xmlns:a16="http://schemas.microsoft.com/office/drawing/2014/main" id="{CA4703C2-2C65-D949-5A4E-2F742C43E9D9}"/>
                    </a:ext>
                  </a:extLst>
                </p:cNvPr>
                <p:cNvSpPr/>
                <p:nvPr/>
              </p:nvSpPr>
              <p:spPr>
                <a:xfrm>
                  <a:off x="11444417" y="1663427"/>
                  <a:ext cx="47904" cy="4790"/>
                </a:xfrm>
                <a:custGeom>
                  <a:avLst/>
                  <a:gdLst>
                    <a:gd name="connsiteX0" fmla="*/ 0 w 47904"/>
                    <a:gd name="connsiteY0" fmla="*/ 0 h 4790"/>
                    <a:gd name="connsiteX1" fmla="*/ 47905 w 47904"/>
                    <a:gd name="connsiteY1" fmla="*/ 0 h 47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7904" h="4790">
                      <a:moveTo>
                        <a:pt x="0" y="0"/>
                      </a:moveTo>
                      <a:lnTo>
                        <a:pt x="47905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903" name="Forma livre: Forma 902">
                  <a:extLst>
                    <a:ext uri="{FF2B5EF4-FFF2-40B4-BE49-F238E27FC236}">
                      <a16:creationId xmlns:a16="http://schemas.microsoft.com/office/drawing/2014/main" id="{C02564CD-F2B5-822A-2EE0-5F271D63DA97}"/>
                    </a:ext>
                  </a:extLst>
                </p:cNvPr>
                <p:cNvSpPr/>
                <p:nvPr/>
              </p:nvSpPr>
              <p:spPr>
                <a:xfrm>
                  <a:off x="11444417" y="1630708"/>
                  <a:ext cx="47904" cy="4790"/>
                </a:xfrm>
                <a:custGeom>
                  <a:avLst/>
                  <a:gdLst>
                    <a:gd name="connsiteX0" fmla="*/ 0 w 47904"/>
                    <a:gd name="connsiteY0" fmla="*/ 0 h 4790"/>
                    <a:gd name="connsiteX1" fmla="*/ 47905 w 47904"/>
                    <a:gd name="connsiteY1" fmla="*/ 0 h 47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7904" h="4790">
                      <a:moveTo>
                        <a:pt x="0" y="0"/>
                      </a:moveTo>
                      <a:lnTo>
                        <a:pt x="47905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904" name="Gráfico 16">
                <a:extLst>
                  <a:ext uri="{FF2B5EF4-FFF2-40B4-BE49-F238E27FC236}">
                    <a16:creationId xmlns:a16="http://schemas.microsoft.com/office/drawing/2014/main" id="{61A88DFA-86FD-41CD-8717-256971429D4A}"/>
                  </a:ext>
                </a:extLst>
              </p:cNvPr>
              <p:cNvGrpSpPr/>
              <p:nvPr/>
            </p:nvGrpSpPr>
            <p:grpSpPr>
              <a:xfrm>
                <a:off x="11232056" y="1663427"/>
                <a:ext cx="47904" cy="130923"/>
                <a:chOff x="11232056" y="1663427"/>
                <a:chExt cx="47904" cy="130923"/>
              </a:xfrm>
            </p:grpSpPr>
            <p:sp>
              <p:nvSpPr>
                <p:cNvPr id="905" name="Forma livre: Forma 904">
                  <a:extLst>
                    <a:ext uri="{FF2B5EF4-FFF2-40B4-BE49-F238E27FC236}">
                      <a16:creationId xmlns:a16="http://schemas.microsoft.com/office/drawing/2014/main" id="{17CD77F1-9165-7DED-2B1F-01ADA93D91C2}"/>
                    </a:ext>
                  </a:extLst>
                </p:cNvPr>
                <p:cNvSpPr/>
                <p:nvPr/>
              </p:nvSpPr>
              <p:spPr>
                <a:xfrm>
                  <a:off x="11232056" y="1794350"/>
                  <a:ext cx="47904" cy="4790"/>
                </a:xfrm>
                <a:custGeom>
                  <a:avLst/>
                  <a:gdLst>
                    <a:gd name="connsiteX0" fmla="*/ 0 w 47904"/>
                    <a:gd name="connsiteY0" fmla="*/ 0 h 4790"/>
                    <a:gd name="connsiteX1" fmla="*/ 47905 w 47904"/>
                    <a:gd name="connsiteY1" fmla="*/ 0 h 47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7904" h="4790">
                      <a:moveTo>
                        <a:pt x="0" y="0"/>
                      </a:moveTo>
                      <a:lnTo>
                        <a:pt x="47905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906" name="Forma livre: Forma 905">
                  <a:extLst>
                    <a:ext uri="{FF2B5EF4-FFF2-40B4-BE49-F238E27FC236}">
                      <a16:creationId xmlns:a16="http://schemas.microsoft.com/office/drawing/2014/main" id="{D403F867-35FE-F762-40F1-49390B17D9BB}"/>
                    </a:ext>
                  </a:extLst>
                </p:cNvPr>
                <p:cNvSpPr/>
                <p:nvPr/>
              </p:nvSpPr>
              <p:spPr>
                <a:xfrm>
                  <a:off x="11232056" y="1761631"/>
                  <a:ext cx="47904" cy="4790"/>
                </a:xfrm>
                <a:custGeom>
                  <a:avLst/>
                  <a:gdLst>
                    <a:gd name="connsiteX0" fmla="*/ 0 w 47904"/>
                    <a:gd name="connsiteY0" fmla="*/ 0 h 4790"/>
                    <a:gd name="connsiteX1" fmla="*/ 47905 w 47904"/>
                    <a:gd name="connsiteY1" fmla="*/ 0 h 47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7904" h="4790">
                      <a:moveTo>
                        <a:pt x="0" y="0"/>
                      </a:moveTo>
                      <a:lnTo>
                        <a:pt x="47905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907" name="Forma livre: Forma 906">
                  <a:extLst>
                    <a:ext uri="{FF2B5EF4-FFF2-40B4-BE49-F238E27FC236}">
                      <a16:creationId xmlns:a16="http://schemas.microsoft.com/office/drawing/2014/main" id="{309F99C6-21F9-CBAE-07F4-166D0BD9A879}"/>
                    </a:ext>
                  </a:extLst>
                </p:cNvPr>
                <p:cNvSpPr/>
                <p:nvPr/>
              </p:nvSpPr>
              <p:spPr>
                <a:xfrm>
                  <a:off x="11232056" y="1728912"/>
                  <a:ext cx="47904" cy="4790"/>
                </a:xfrm>
                <a:custGeom>
                  <a:avLst/>
                  <a:gdLst>
                    <a:gd name="connsiteX0" fmla="*/ 0 w 47904"/>
                    <a:gd name="connsiteY0" fmla="*/ 0 h 4790"/>
                    <a:gd name="connsiteX1" fmla="*/ 47905 w 47904"/>
                    <a:gd name="connsiteY1" fmla="*/ 0 h 47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7904" h="4790">
                      <a:moveTo>
                        <a:pt x="0" y="0"/>
                      </a:moveTo>
                      <a:lnTo>
                        <a:pt x="47905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908" name="Forma livre: Forma 907">
                  <a:extLst>
                    <a:ext uri="{FF2B5EF4-FFF2-40B4-BE49-F238E27FC236}">
                      <a16:creationId xmlns:a16="http://schemas.microsoft.com/office/drawing/2014/main" id="{88A469B6-F4BF-493F-0C9C-833233599997}"/>
                    </a:ext>
                  </a:extLst>
                </p:cNvPr>
                <p:cNvSpPr/>
                <p:nvPr/>
              </p:nvSpPr>
              <p:spPr>
                <a:xfrm>
                  <a:off x="11232056" y="1696193"/>
                  <a:ext cx="47904" cy="4790"/>
                </a:xfrm>
                <a:custGeom>
                  <a:avLst/>
                  <a:gdLst>
                    <a:gd name="connsiteX0" fmla="*/ 0 w 47904"/>
                    <a:gd name="connsiteY0" fmla="*/ 0 h 4790"/>
                    <a:gd name="connsiteX1" fmla="*/ 47905 w 47904"/>
                    <a:gd name="connsiteY1" fmla="*/ 0 h 47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7904" h="4790">
                      <a:moveTo>
                        <a:pt x="0" y="0"/>
                      </a:moveTo>
                      <a:lnTo>
                        <a:pt x="47905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909" name="Forma livre: Forma 908">
                  <a:extLst>
                    <a:ext uri="{FF2B5EF4-FFF2-40B4-BE49-F238E27FC236}">
                      <a16:creationId xmlns:a16="http://schemas.microsoft.com/office/drawing/2014/main" id="{7500A778-4A87-6D3C-AE33-BC16D1B8C8DF}"/>
                    </a:ext>
                  </a:extLst>
                </p:cNvPr>
                <p:cNvSpPr/>
                <p:nvPr/>
              </p:nvSpPr>
              <p:spPr>
                <a:xfrm>
                  <a:off x="11232056" y="1663427"/>
                  <a:ext cx="47904" cy="4790"/>
                </a:xfrm>
                <a:custGeom>
                  <a:avLst/>
                  <a:gdLst>
                    <a:gd name="connsiteX0" fmla="*/ 0 w 47904"/>
                    <a:gd name="connsiteY0" fmla="*/ 0 h 4790"/>
                    <a:gd name="connsiteX1" fmla="*/ 47905 w 47904"/>
                    <a:gd name="connsiteY1" fmla="*/ 0 h 47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7904" h="4790">
                      <a:moveTo>
                        <a:pt x="0" y="0"/>
                      </a:moveTo>
                      <a:lnTo>
                        <a:pt x="47905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910" name="Gráfico 16">
                <a:extLst>
                  <a:ext uri="{FF2B5EF4-FFF2-40B4-BE49-F238E27FC236}">
                    <a16:creationId xmlns:a16="http://schemas.microsoft.com/office/drawing/2014/main" id="{4C5314B4-89A8-9F1A-6E9E-FA35D1F7707F}"/>
                  </a:ext>
                </a:extLst>
              </p:cNvPr>
              <p:cNvGrpSpPr/>
              <p:nvPr/>
            </p:nvGrpSpPr>
            <p:grpSpPr>
              <a:xfrm>
                <a:off x="11373614" y="1696193"/>
                <a:ext cx="47904" cy="98156"/>
                <a:chOff x="11373614" y="1696193"/>
                <a:chExt cx="47904" cy="98156"/>
              </a:xfrm>
            </p:grpSpPr>
            <p:sp>
              <p:nvSpPr>
                <p:cNvPr id="911" name="Forma livre: Forma 910">
                  <a:extLst>
                    <a:ext uri="{FF2B5EF4-FFF2-40B4-BE49-F238E27FC236}">
                      <a16:creationId xmlns:a16="http://schemas.microsoft.com/office/drawing/2014/main" id="{55FE8167-5D92-0D36-E0E7-D772290689F1}"/>
                    </a:ext>
                  </a:extLst>
                </p:cNvPr>
                <p:cNvSpPr/>
                <p:nvPr/>
              </p:nvSpPr>
              <p:spPr>
                <a:xfrm>
                  <a:off x="11373614" y="1794350"/>
                  <a:ext cx="47904" cy="4790"/>
                </a:xfrm>
                <a:custGeom>
                  <a:avLst/>
                  <a:gdLst>
                    <a:gd name="connsiteX0" fmla="*/ 0 w 47904"/>
                    <a:gd name="connsiteY0" fmla="*/ 0 h 4790"/>
                    <a:gd name="connsiteX1" fmla="*/ 47905 w 47904"/>
                    <a:gd name="connsiteY1" fmla="*/ 0 h 47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7904" h="4790">
                      <a:moveTo>
                        <a:pt x="0" y="0"/>
                      </a:moveTo>
                      <a:lnTo>
                        <a:pt x="47905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912" name="Forma livre: Forma 911">
                  <a:extLst>
                    <a:ext uri="{FF2B5EF4-FFF2-40B4-BE49-F238E27FC236}">
                      <a16:creationId xmlns:a16="http://schemas.microsoft.com/office/drawing/2014/main" id="{6127ED7C-FD3D-B323-120F-07C8D7F5E59C}"/>
                    </a:ext>
                  </a:extLst>
                </p:cNvPr>
                <p:cNvSpPr/>
                <p:nvPr/>
              </p:nvSpPr>
              <p:spPr>
                <a:xfrm>
                  <a:off x="11373614" y="1761631"/>
                  <a:ext cx="47904" cy="4790"/>
                </a:xfrm>
                <a:custGeom>
                  <a:avLst/>
                  <a:gdLst>
                    <a:gd name="connsiteX0" fmla="*/ 0 w 47904"/>
                    <a:gd name="connsiteY0" fmla="*/ 0 h 4790"/>
                    <a:gd name="connsiteX1" fmla="*/ 47905 w 47904"/>
                    <a:gd name="connsiteY1" fmla="*/ 0 h 47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7904" h="4790">
                      <a:moveTo>
                        <a:pt x="0" y="0"/>
                      </a:moveTo>
                      <a:lnTo>
                        <a:pt x="47905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913" name="Forma livre: Forma 912">
                  <a:extLst>
                    <a:ext uri="{FF2B5EF4-FFF2-40B4-BE49-F238E27FC236}">
                      <a16:creationId xmlns:a16="http://schemas.microsoft.com/office/drawing/2014/main" id="{40F1BD15-BF81-0414-D3F4-49C988279F89}"/>
                    </a:ext>
                  </a:extLst>
                </p:cNvPr>
                <p:cNvSpPr/>
                <p:nvPr/>
              </p:nvSpPr>
              <p:spPr>
                <a:xfrm>
                  <a:off x="11373614" y="1728912"/>
                  <a:ext cx="47904" cy="4790"/>
                </a:xfrm>
                <a:custGeom>
                  <a:avLst/>
                  <a:gdLst>
                    <a:gd name="connsiteX0" fmla="*/ 0 w 47904"/>
                    <a:gd name="connsiteY0" fmla="*/ 0 h 4790"/>
                    <a:gd name="connsiteX1" fmla="*/ 47905 w 47904"/>
                    <a:gd name="connsiteY1" fmla="*/ 0 h 47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7904" h="4790">
                      <a:moveTo>
                        <a:pt x="0" y="0"/>
                      </a:moveTo>
                      <a:lnTo>
                        <a:pt x="47905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914" name="Forma livre: Forma 913">
                  <a:extLst>
                    <a:ext uri="{FF2B5EF4-FFF2-40B4-BE49-F238E27FC236}">
                      <a16:creationId xmlns:a16="http://schemas.microsoft.com/office/drawing/2014/main" id="{F61FFE1F-17ED-4401-9EF5-62CC1F0FA7DF}"/>
                    </a:ext>
                  </a:extLst>
                </p:cNvPr>
                <p:cNvSpPr/>
                <p:nvPr/>
              </p:nvSpPr>
              <p:spPr>
                <a:xfrm>
                  <a:off x="11373614" y="1696193"/>
                  <a:ext cx="47904" cy="4790"/>
                </a:xfrm>
                <a:custGeom>
                  <a:avLst/>
                  <a:gdLst>
                    <a:gd name="connsiteX0" fmla="*/ 0 w 47904"/>
                    <a:gd name="connsiteY0" fmla="*/ 0 h 4790"/>
                    <a:gd name="connsiteX1" fmla="*/ 47905 w 47904"/>
                    <a:gd name="connsiteY1" fmla="*/ 0 h 47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7904" h="4790">
                      <a:moveTo>
                        <a:pt x="0" y="0"/>
                      </a:moveTo>
                      <a:lnTo>
                        <a:pt x="47905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</p:grpSp>
      <p:grpSp>
        <p:nvGrpSpPr>
          <p:cNvPr id="915" name="Gráfico 16">
            <a:extLst>
              <a:ext uri="{FF2B5EF4-FFF2-40B4-BE49-F238E27FC236}">
                <a16:creationId xmlns:a16="http://schemas.microsoft.com/office/drawing/2014/main" id="{D0595134-C920-091A-3C3C-190D464ADF9A}"/>
              </a:ext>
            </a:extLst>
          </p:cNvPr>
          <p:cNvGrpSpPr/>
          <p:nvPr/>
        </p:nvGrpSpPr>
        <p:grpSpPr>
          <a:xfrm>
            <a:off x="10589080" y="1568336"/>
            <a:ext cx="295906" cy="254948"/>
            <a:chOff x="10589080" y="1568336"/>
            <a:chExt cx="295906" cy="254948"/>
          </a:xfrm>
          <a:noFill/>
        </p:grpSpPr>
        <p:grpSp>
          <p:nvGrpSpPr>
            <p:cNvPr id="916" name="Gráfico 16">
              <a:extLst>
                <a:ext uri="{FF2B5EF4-FFF2-40B4-BE49-F238E27FC236}">
                  <a16:creationId xmlns:a16="http://schemas.microsoft.com/office/drawing/2014/main" id="{AA75E68E-D7B4-5F3D-C0A3-BFBC06931D1F}"/>
                </a:ext>
              </a:extLst>
            </p:cNvPr>
            <p:cNvGrpSpPr/>
            <p:nvPr/>
          </p:nvGrpSpPr>
          <p:grpSpPr>
            <a:xfrm>
              <a:off x="10665392" y="1605510"/>
              <a:ext cx="36551" cy="121246"/>
              <a:chOff x="10665392" y="1605510"/>
              <a:chExt cx="36551" cy="121246"/>
            </a:xfrm>
            <a:noFill/>
          </p:grpSpPr>
          <p:sp>
            <p:nvSpPr>
              <p:cNvPr id="917" name="Forma livre: Forma 916">
                <a:extLst>
                  <a:ext uri="{FF2B5EF4-FFF2-40B4-BE49-F238E27FC236}">
                    <a16:creationId xmlns:a16="http://schemas.microsoft.com/office/drawing/2014/main" id="{67A4C99F-48D7-4B47-8179-2734939E7C62}"/>
                  </a:ext>
                </a:extLst>
              </p:cNvPr>
              <p:cNvSpPr/>
              <p:nvPr/>
            </p:nvSpPr>
            <p:spPr>
              <a:xfrm>
                <a:off x="10665392" y="1629366"/>
                <a:ext cx="36551" cy="74252"/>
              </a:xfrm>
              <a:custGeom>
                <a:avLst/>
                <a:gdLst>
                  <a:gd name="connsiteX0" fmla="*/ 0 w 36551"/>
                  <a:gd name="connsiteY0" fmla="*/ 0 h 74252"/>
                  <a:gd name="connsiteX1" fmla="*/ 36551 w 36551"/>
                  <a:gd name="connsiteY1" fmla="*/ 0 h 74252"/>
                  <a:gd name="connsiteX2" fmla="*/ 36551 w 36551"/>
                  <a:gd name="connsiteY2" fmla="*/ 74252 h 74252"/>
                  <a:gd name="connsiteX3" fmla="*/ 0 w 36551"/>
                  <a:gd name="connsiteY3" fmla="*/ 74252 h 742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6551" h="74252">
                    <a:moveTo>
                      <a:pt x="0" y="0"/>
                    </a:moveTo>
                    <a:lnTo>
                      <a:pt x="36551" y="0"/>
                    </a:lnTo>
                    <a:lnTo>
                      <a:pt x="36551" y="74252"/>
                    </a:lnTo>
                    <a:lnTo>
                      <a:pt x="0" y="74252"/>
                    </a:ln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18" name="Forma livre: Forma 917">
                <a:extLst>
                  <a:ext uri="{FF2B5EF4-FFF2-40B4-BE49-F238E27FC236}">
                    <a16:creationId xmlns:a16="http://schemas.microsoft.com/office/drawing/2014/main" id="{3B142530-E3CF-4FAF-0C5A-AB1310BE36FB}"/>
                  </a:ext>
                </a:extLst>
              </p:cNvPr>
              <p:cNvSpPr/>
              <p:nvPr/>
            </p:nvSpPr>
            <p:spPr>
              <a:xfrm>
                <a:off x="10683692" y="1605510"/>
                <a:ext cx="4790" cy="23137"/>
              </a:xfrm>
              <a:custGeom>
                <a:avLst/>
                <a:gdLst>
                  <a:gd name="connsiteX0" fmla="*/ 0 w 4790"/>
                  <a:gd name="connsiteY0" fmla="*/ 23138 h 23137"/>
                  <a:gd name="connsiteX1" fmla="*/ 0 w 4790"/>
                  <a:gd name="connsiteY1" fmla="*/ 0 h 231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90" h="23137">
                    <a:moveTo>
                      <a:pt x="0" y="23138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19" name="Forma livre: Forma 918">
                <a:extLst>
                  <a:ext uri="{FF2B5EF4-FFF2-40B4-BE49-F238E27FC236}">
                    <a16:creationId xmlns:a16="http://schemas.microsoft.com/office/drawing/2014/main" id="{35A3187C-4BE4-842C-F2FE-EF7FEA454B8D}"/>
                  </a:ext>
                </a:extLst>
              </p:cNvPr>
              <p:cNvSpPr/>
              <p:nvPr/>
            </p:nvSpPr>
            <p:spPr>
              <a:xfrm>
                <a:off x="10683692" y="1705008"/>
                <a:ext cx="4790" cy="21748"/>
              </a:xfrm>
              <a:custGeom>
                <a:avLst/>
                <a:gdLst>
                  <a:gd name="connsiteX0" fmla="*/ 0 w 4790"/>
                  <a:gd name="connsiteY0" fmla="*/ 21749 h 21748"/>
                  <a:gd name="connsiteX1" fmla="*/ 0 w 4790"/>
                  <a:gd name="connsiteY1" fmla="*/ 0 h 217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90" h="21748">
                    <a:moveTo>
                      <a:pt x="0" y="21749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920" name="Gráfico 16">
              <a:extLst>
                <a:ext uri="{FF2B5EF4-FFF2-40B4-BE49-F238E27FC236}">
                  <a16:creationId xmlns:a16="http://schemas.microsoft.com/office/drawing/2014/main" id="{65CFED36-CBEB-19B3-7A7E-C108517A15A1}"/>
                </a:ext>
              </a:extLst>
            </p:cNvPr>
            <p:cNvGrpSpPr/>
            <p:nvPr/>
          </p:nvGrpSpPr>
          <p:grpSpPr>
            <a:xfrm>
              <a:off x="10748267" y="1637079"/>
              <a:ext cx="36551" cy="121198"/>
              <a:chOff x="10748267" y="1637079"/>
              <a:chExt cx="36551" cy="121198"/>
            </a:xfrm>
            <a:noFill/>
          </p:grpSpPr>
          <p:sp>
            <p:nvSpPr>
              <p:cNvPr id="921" name="Forma livre: Forma 920">
                <a:extLst>
                  <a:ext uri="{FF2B5EF4-FFF2-40B4-BE49-F238E27FC236}">
                    <a16:creationId xmlns:a16="http://schemas.microsoft.com/office/drawing/2014/main" id="{0A0D662C-9176-F17B-3DC5-3FE8D6D96D87}"/>
                  </a:ext>
                </a:extLst>
              </p:cNvPr>
              <p:cNvSpPr/>
              <p:nvPr/>
            </p:nvSpPr>
            <p:spPr>
              <a:xfrm>
                <a:off x="10748267" y="1660888"/>
                <a:ext cx="36551" cy="74252"/>
              </a:xfrm>
              <a:custGeom>
                <a:avLst/>
                <a:gdLst>
                  <a:gd name="connsiteX0" fmla="*/ 0 w 36551"/>
                  <a:gd name="connsiteY0" fmla="*/ 0 h 74252"/>
                  <a:gd name="connsiteX1" fmla="*/ 36551 w 36551"/>
                  <a:gd name="connsiteY1" fmla="*/ 0 h 74252"/>
                  <a:gd name="connsiteX2" fmla="*/ 36551 w 36551"/>
                  <a:gd name="connsiteY2" fmla="*/ 74252 h 74252"/>
                  <a:gd name="connsiteX3" fmla="*/ 0 w 36551"/>
                  <a:gd name="connsiteY3" fmla="*/ 74252 h 742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6551" h="74252">
                    <a:moveTo>
                      <a:pt x="0" y="0"/>
                    </a:moveTo>
                    <a:lnTo>
                      <a:pt x="36551" y="0"/>
                    </a:lnTo>
                    <a:lnTo>
                      <a:pt x="36551" y="74252"/>
                    </a:lnTo>
                    <a:lnTo>
                      <a:pt x="0" y="74252"/>
                    </a:ln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22" name="Forma livre: Forma 921">
                <a:extLst>
                  <a:ext uri="{FF2B5EF4-FFF2-40B4-BE49-F238E27FC236}">
                    <a16:creationId xmlns:a16="http://schemas.microsoft.com/office/drawing/2014/main" id="{FFA60055-716D-F166-8122-00EC3099925B}"/>
                  </a:ext>
                </a:extLst>
              </p:cNvPr>
              <p:cNvSpPr/>
              <p:nvPr/>
            </p:nvSpPr>
            <p:spPr>
              <a:xfrm>
                <a:off x="10766567" y="1637079"/>
                <a:ext cx="4790" cy="23090"/>
              </a:xfrm>
              <a:custGeom>
                <a:avLst/>
                <a:gdLst>
                  <a:gd name="connsiteX0" fmla="*/ 0 w 4790"/>
                  <a:gd name="connsiteY0" fmla="*/ 23090 h 23090"/>
                  <a:gd name="connsiteX1" fmla="*/ 0 w 4790"/>
                  <a:gd name="connsiteY1" fmla="*/ 0 h 230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90" h="23090">
                    <a:moveTo>
                      <a:pt x="0" y="23090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23" name="Forma livre: Forma 922">
                <a:extLst>
                  <a:ext uri="{FF2B5EF4-FFF2-40B4-BE49-F238E27FC236}">
                    <a16:creationId xmlns:a16="http://schemas.microsoft.com/office/drawing/2014/main" id="{D19ECCD0-7ECC-0027-2990-DE282939FEB3}"/>
                  </a:ext>
                </a:extLst>
              </p:cNvPr>
              <p:cNvSpPr/>
              <p:nvPr/>
            </p:nvSpPr>
            <p:spPr>
              <a:xfrm>
                <a:off x="10766567" y="1736529"/>
                <a:ext cx="4790" cy="21748"/>
              </a:xfrm>
              <a:custGeom>
                <a:avLst/>
                <a:gdLst>
                  <a:gd name="connsiteX0" fmla="*/ 0 w 4790"/>
                  <a:gd name="connsiteY0" fmla="*/ 21749 h 21748"/>
                  <a:gd name="connsiteX1" fmla="*/ 0 w 4790"/>
                  <a:gd name="connsiteY1" fmla="*/ 0 h 217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90" h="21748">
                    <a:moveTo>
                      <a:pt x="0" y="21749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924" name="Gráfico 16">
              <a:extLst>
                <a:ext uri="{FF2B5EF4-FFF2-40B4-BE49-F238E27FC236}">
                  <a16:creationId xmlns:a16="http://schemas.microsoft.com/office/drawing/2014/main" id="{50B41726-E652-E70D-7834-08476BEDA48E}"/>
                </a:ext>
              </a:extLst>
            </p:cNvPr>
            <p:cNvGrpSpPr/>
            <p:nvPr/>
          </p:nvGrpSpPr>
          <p:grpSpPr>
            <a:xfrm>
              <a:off x="10831190" y="1579593"/>
              <a:ext cx="36551" cy="121198"/>
              <a:chOff x="10831190" y="1579593"/>
              <a:chExt cx="36551" cy="121198"/>
            </a:xfrm>
            <a:noFill/>
          </p:grpSpPr>
          <p:sp>
            <p:nvSpPr>
              <p:cNvPr id="925" name="Forma livre: Forma 924">
                <a:extLst>
                  <a:ext uri="{FF2B5EF4-FFF2-40B4-BE49-F238E27FC236}">
                    <a16:creationId xmlns:a16="http://schemas.microsoft.com/office/drawing/2014/main" id="{12398E81-C51E-57C2-212B-78E977E5A28C}"/>
                  </a:ext>
                </a:extLst>
              </p:cNvPr>
              <p:cNvSpPr/>
              <p:nvPr/>
            </p:nvSpPr>
            <p:spPr>
              <a:xfrm>
                <a:off x="10831190" y="1603402"/>
                <a:ext cx="36551" cy="74252"/>
              </a:xfrm>
              <a:custGeom>
                <a:avLst/>
                <a:gdLst>
                  <a:gd name="connsiteX0" fmla="*/ 0 w 36551"/>
                  <a:gd name="connsiteY0" fmla="*/ 0 h 74252"/>
                  <a:gd name="connsiteX1" fmla="*/ 36551 w 36551"/>
                  <a:gd name="connsiteY1" fmla="*/ 0 h 74252"/>
                  <a:gd name="connsiteX2" fmla="*/ 36551 w 36551"/>
                  <a:gd name="connsiteY2" fmla="*/ 74252 h 74252"/>
                  <a:gd name="connsiteX3" fmla="*/ 0 w 36551"/>
                  <a:gd name="connsiteY3" fmla="*/ 74252 h 742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6551" h="74252">
                    <a:moveTo>
                      <a:pt x="0" y="0"/>
                    </a:moveTo>
                    <a:lnTo>
                      <a:pt x="36551" y="0"/>
                    </a:lnTo>
                    <a:lnTo>
                      <a:pt x="36551" y="74252"/>
                    </a:lnTo>
                    <a:lnTo>
                      <a:pt x="0" y="74252"/>
                    </a:ln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26" name="Forma livre: Forma 925">
                <a:extLst>
                  <a:ext uri="{FF2B5EF4-FFF2-40B4-BE49-F238E27FC236}">
                    <a16:creationId xmlns:a16="http://schemas.microsoft.com/office/drawing/2014/main" id="{62C101AB-5CD6-5A3C-8D7B-8DADF0D843C2}"/>
                  </a:ext>
                </a:extLst>
              </p:cNvPr>
              <p:cNvSpPr/>
              <p:nvPr/>
            </p:nvSpPr>
            <p:spPr>
              <a:xfrm>
                <a:off x="10849442" y="1579593"/>
                <a:ext cx="4790" cy="23090"/>
              </a:xfrm>
              <a:custGeom>
                <a:avLst/>
                <a:gdLst>
                  <a:gd name="connsiteX0" fmla="*/ 0 w 4790"/>
                  <a:gd name="connsiteY0" fmla="*/ 23090 h 23090"/>
                  <a:gd name="connsiteX1" fmla="*/ 0 w 4790"/>
                  <a:gd name="connsiteY1" fmla="*/ 0 h 230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90" h="23090">
                    <a:moveTo>
                      <a:pt x="0" y="23090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27" name="Forma livre: Forma 926">
                <a:extLst>
                  <a:ext uri="{FF2B5EF4-FFF2-40B4-BE49-F238E27FC236}">
                    <a16:creationId xmlns:a16="http://schemas.microsoft.com/office/drawing/2014/main" id="{2615373A-6557-C062-ABA5-160531926F51}"/>
                  </a:ext>
                </a:extLst>
              </p:cNvPr>
              <p:cNvSpPr/>
              <p:nvPr/>
            </p:nvSpPr>
            <p:spPr>
              <a:xfrm>
                <a:off x="10849442" y="1679043"/>
                <a:ext cx="4790" cy="21748"/>
              </a:xfrm>
              <a:custGeom>
                <a:avLst/>
                <a:gdLst>
                  <a:gd name="connsiteX0" fmla="*/ 0 w 4790"/>
                  <a:gd name="connsiteY0" fmla="*/ 21749 h 21748"/>
                  <a:gd name="connsiteX1" fmla="*/ 0 w 4790"/>
                  <a:gd name="connsiteY1" fmla="*/ 0 h 217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90" h="21748">
                    <a:moveTo>
                      <a:pt x="0" y="21749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928" name="Gráfico 16">
              <a:extLst>
                <a:ext uri="{FF2B5EF4-FFF2-40B4-BE49-F238E27FC236}">
                  <a16:creationId xmlns:a16="http://schemas.microsoft.com/office/drawing/2014/main" id="{4C0D332C-B19C-1593-8267-0F91186CCB0E}"/>
                </a:ext>
              </a:extLst>
            </p:cNvPr>
            <p:cNvGrpSpPr/>
            <p:nvPr/>
          </p:nvGrpSpPr>
          <p:grpSpPr>
            <a:xfrm>
              <a:off x="10589080" y="1568336"/>
              <a:ext cx="295906" cy="254948"/>
              <a:chOff x="10589080" y="1568336"/>
              <a:chExt cx="295906" cy="254948"/>
            </a:xfrm>
            <a:noFill/>
          </p:grpSpPr>
          <p:sp>
            <p:nvSpPr>
              <p:cNvPr id="929" name="Forma livre: Forma 928">
                <a:extLst>
                  <a:ext uri="{FF2B5EF4-FFF2-40B4-BE49-F238E27FC236}">
                    <a16:creationId xmlns:a16="http://schemas.microsoft.com/office/drawing/2014/main" id="{5459138F-1FD9-CF88-7193-B176019F1C1D}"/>
                  </a:ext>
                </a:extLst>
              </p:cNvPr>
              <p:cNvSpPr/>
              <p:nvPr/>
            </p:nvSpPr>
            <p:spPr>
              <a:xfrm>
                <a:off x="10619117" y="1568336"/>
                <a:ext cx="265870" cy="225487"/>
              </a:xfrm>
              <a:custGeom>
                <a:avLst/>
                <a:gdLst>
                  <a:gd name="connsiteX0" fmla="*/ 265870 w 265870"/>
                  <a:gd name="connsiteY0" fmla="*/ 225487 h 225487"/>
                  <a:gd name="connsiteX1" fmla="*/ 0 w 265870"/>
                  <a:gd name="connsiteY1" fmla="*/ 225487 h 225487"/>
                  <a:gd name="connsiteX2" fmla="*/ 0 w 265870"/>
                  <a:gd name="connsiteY2" fmla="*/ 0 h 2254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65870" h="225487">
                    <a:moveTo>
                      <a:pt x="265870" y="225487"/>
                    </a:moveTo>
                    <a:lnTo>
                      <a:pt x="0" y="225487"/>
                    </a:lnTo>
                    <a:lnTo>
                      <a:pt x="0" y="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30" name="Forma livre: Forma 929">
                <a:extLst>
                  <a:ext uri="{FF2B5EF4-FFF2-40B4-BE49-F238E27FC236}">
                    <a16:creationId xmlns:a16="http://schemas.microsoft.com/office/drawing/2014/main" id="{0EC978D0-B6B8-3582-BC0B-EECFE1FB5A04}"/>
                  </a:ext>
                </a:extLst>
              </p:cNvPr>
              <p:cNvSpPr/>
              <p:nvPr/>
            </p:nvSpPr>
            <p:spPr>
              <a:xfrm>
                <a:off x="10589080" y="1627546"/>
                <a:ext cx="29748" cy="4790"/>
              </a:xfrm>
              <a:custGeom>
                <a:avLst/>
                <a:gdLst>
                  <a:gd name="connsiteX0" fmla="*/ 0 w 29748"/>
                  <a:gd name="connsiteY0" fmla="*/ 0 h 4790"/>
                  <a:gd name="connsiteX1" fmla="*/ 29749 w 29748"/>
                  <a:gd name="connsiteY1" fmla="*/ 0 h 47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9748" h="4790">
                    <a:moveTo>
                      <a:pt x="0" y="0"/>
                    </a:moveTo>
                    <a:lnTo>
                      <a:pt x="29749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31" name="Forma livre: Forma 930">
                <a:extLst>
                  <a:ext uri="{FF2B5EF4-FFF2-40B4-BE49-F238E27FC236}">
                    <a16:creationId xmlns:a16="http://schemas.microsoft.com/office/drawing/2014/main" id="{4C4D31C1-B5E4-8023-2619-3AE70D11E82A}"/>
                  </a:ext>
                </a:extLst>
              </p:cNvPr>
              <p:cNvSpPr/>
              <p:nvPr/>
            </p:nvSpPr>
            <p:spPr>
              <a:xfrm>
                <a:off x="10589080" y="1695044"/>
                <a:ext cx="29748" cy="4790"/>
              </a:xfrm>
              <a:custGeom>
                <a:avLst/>
                <a:gdLst>
                  <a:gd name="connsiteX0" fmla="*/ 0 w 29748"/>
                  <a:gd name="connsiteY0" fmla="*/ 0 h 4790"/>
                  <a:gd name="connsiteX1" fmla="*/ 29749 w 29748"/>
                  <a:gd name="connsiteY1" fmla="*/ 0 h 47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9748" h="4790">
                    <a:moveTo>
                      <a:pt x="0" y="0"/>
                    </a:moveTo>
                    <a:lnTo>
                      <a:pt x="29749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32" name="Forma livre: Forma 931">
                <a:extLst>
                  <a:ext uri="{FF2B5EF4-FFF2-40B4-BE49-F238E27FC236}">
                    <a16:creationId xmlns:a16="http://schemas.microsoft.com/office/drawing/2014/main" id="{E6549C9E-0400-4F2E-CF68-FF4064857B73}"/>
                  </a:ext>
                </a:extLst>
              </p:cNvPr>
              <p:cNvSpPr/>
              <p:nvPr/>
            </p:nvSpPr>
            <p:spPr>
              <a:xfrm>
                <a:off x="10589080" y="1762589"/>
                <a:ext cx="29748" cy="4790"/>
              </a:xfrm>
              <a:custGeom>
                <a:avLst/>
                <a:gdLst>
                  <a:gd name="connsiteX0" fmla="*/ 0 w 29748"/>
                  <a:gd name="connsiteY0" fmla="*/ 0 h 4790"/>
                  <a:gd name="connsiteX1" fmla="*/ 29749 w 29748"/>
                  <a:gd name="connsiteY1" fmla="*/ 0 h 47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9748" h="4790">
                    <a:moveTo>
                      <a:pt x="0" y="0"/>
                    </a:moveTo>
                    <a:lnTo>
                      <a:pt x="29749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33" name="Forma livre: Forma 932">
                <a:extLst>
                  <a:ext uri="{FF2B5EF4-FFF2-40B4-BE49-F238E27FC236}">
                    <a16:creationId xmlns:a16="http://schemas.microsoft.com/office/drawing/2014/main" id="{EA99E3D4-6D4F-C2F0-E6C7-1C25E56242EA}"/>
                  </a:ext>
                </a:extLst>
              </p:cNvPr>
              <p:cNvSpPr/>
              <p:nvPr/>
            </p:nvSpPr>
            <p:spPr>
              <a:xfrm>
                <a:off x="10650494" y="1793535"/>
                <a:ext cx="4790" cy="29748"/>
              </a:xfrm>
              <a:custGeom>
                <a:avLst/>
                <a:gdLst>
                  <a:gd name="connsiteX0" fmla="*/ 0 w 4790"/>
                  <a:gd name="connsiteY0" fmla="*/ 29749 h 29748"/>
                  <a:gd name="connsiteX1" fmla="*/ 0 w 4790"/>
                  <a:gd name="connsiteY1" fmla="*/ 0 h 297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90" h="29748">
                    <a:moveTo>
                      <a:pt x="0" y="29749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34" name="Forma livre: Forma 933">
                <a:extLst>
                  <a:ext uri="{FF2B5EF4-FFF2-40B4-BE49-F238E27FC236}">
                    <a16:creationId xmlns:a16="http://schemas.microsoft.com/office/drawing/2014/main" id="{182E217D-FB34-0316-97D8-9476C501A4D8}"/>
                  </a:ext>
                </a:extLst>
              </p:cNvPr>
              <p:cNvSpPr/>
              <p:nvPr/>
            </p:nvSpPr>
            <p:spPr>
              <a:xfrm>
                <a:off x="10714686" y="1793535"/>
                <a:ext cx="4790" cy="29748"/>
              </a:xfrm>
              <a:custGeom>
                <a:avLst/>
                <a:gdLst>
                  <a:gd name="connsiteX0" fmla="*/ 0 w 4790"/>
                  <a:gd name="connsiteY0" fmla="*/ 29749 h 29748"/>
                  <a:gd name="connsiteX1" fmla="*/ 0 w 4790"/>
                  <a:gd name="connsiteY1" fmla="*/ 0 h 297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90" h="29748">
                    <a:moveTo>
                      <a:pt x="0" y="29749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35" name="Forma livre: Forma 934">
                <a:extLst>
                  <a:ext uri="{FF2B5EF4-FFF2-40B4-BE49-F238E27FC236}">
                    <a16:creationId xmlns:a16="http://schemas.microsoft.com/office/drawing/2014/main" id="{93D6DB64-4EB6-CA16-4917-C17DFA1111ED}"/>
                  </a:ext>
                </a:extLst>
              </p:cNvPr>
              <p:cNvSpPr/>
              <p:nvPr/>
            </p:nvSpPr>
            <p:spPr>
              <a:xfrm>
                <a:off x="10778878" y="1793535"/>
                <a:ext cx="4790" cy="29748"/>
              </a:xfrm>
              <a:custGeom>
                <a:avLst/>
                <a:gdLst>
                  <a:gd name="connsiteX0" fmla="*/ 0 w 4790"/>
                  <a:gd name="connsiteY0" fmla="*/ 29749 h 29748"/>
                  <a:gd name="connsiteX1" fmla="*/ 0 w 4790"/>
                  <a:gd name="connsiteY1" fmla="*/ 0 h 297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90" h="29748">
                    <a:moveTo>
                      <a:pt x="0" y="29749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36" name="Forma livre: Forma 935">
                <a:extLst>
                  <a:ext uri="{FF2B5EF4-FFF2-40B4-BE49-F238E27FC236}">
                    <a16:creationId xmlns:a16="http://schemas.microsoft.com/office/drawing/2014/main" id="{2E85DD13-7B2C-D5B0-45D5-64B84A8E2683}"/>
                  </a:ext>
                </a:extLst>
              </p:cNvPr>
              <p:cNvSpPr/>
              <p:nvPr/>
            </p:nvSpPr>
            <p:spPr>
              <a:xfrm>
                <a:off x="10843023" y="1793535"/>
                <a:ext cx="4790" cy="29748"/>
              </a:xfrm>
              <a:custGeom>
                <a:avLst/>
                <a:gdLst>
                  <a:gd name="connsiteX0" fmla="*/ 0 w 4790"/>
                  <a:gd name="connsiteY0" fmla="*/ 29749 h 29748"/>
                  <a:gd name="connsiteX1" fmla="*/ 0 w 4790"/>
                  <a:gd name="connsiteY1" fmla="*/ 0 h 297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90" h="29748">
                    <a:moveTo>
                      <a:pt x="0" y="29749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937" name="Gráfico 16">
            <a:extLst>
              <a:ext uri="{FF2B5EF4-FFF2-40B4-BE49-F238E27FC236}">
                <a16:creationId xmlns:a16="http://schemas.microsoft.com/office/drawing/2014/main" id="{6D62AD10-F0E3-8FB3-D420-442A6888AB05}"/>
              </a:ext>
            </a:extLst>
          </p:cNvPr>
          <p:cNvGrpSpPr/>
          <p:nvPr/>
        </p:nvGrpSpPr>
        <p:grpSpPr>
          <a:xfrm>
            <a:off x="9969243" y="1574563"/>
            <a:ext cx="285319" cy="242541"/>
            <a:chOff x="9969243" y="1574563"/>
            <a:chExt cx="285319" cy="242541"/>
          </a:xfrm>
          <a:noFill/>
        </p:grpSpPr>
        <p:sp>
          <p:nvSpPr>
            <p:cNvPr id="938" name="Forma livre: Forma 937">
              <a:extLst>
                <a:ext uri="{FF2B5EF4-FFF2-40B4-BE49-F238E27FC236}">
                  <a16:creationId xmlns:a16="http://schemas.microsoft.com/office/drawing/2014/main" id="{24CA1074-78F5-E3A4-DC05-8C97DE71B84C}"/>
                </a:ext>
              </a:extLst>
            </p:cNvPr>
            <p:cNvSpPr/>
            <p:nvPr/>
          </p:nvSpPr>
          <p:spPr>
            <a:xfrm>
              <a:off x="10139592" y="1594013"/>
              <a:ext cx="46180" cy="79713"/>
            </a:xfrm>
            <a:custGeom>
              <a:avLst/>
              <a:gdLst>
                <a:gd name="connsiteX0" fmla="*/ 0 w 46180"/>
                <a:gd name="connsiteY0" fmla="*/ 79713 h 79713"/>
                <a:gd name="connsiteX1" fmla="*/ 46180 w 46180"/>
                <a:gd name="connsiteY1" fmla="*/ 0 h 797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6180" h="79713">
                  <a:moveTo>
                    <a:pt x="0" y="79713"/>
                  </a:moveTo>
                  <a:lnTo>
                    <a:pt x="4618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39" name="Forma livre: Forma 938">
              <a:extLst>
                <a:ext uri="{FF2B5EF4-FFF2-40B4-BE49-F238E27FC236}">
                  <a16:creationId xmlns:a16="http://schemas.microsoft.com/office/drawing/2014/main" id="{0293AC5A-9FBD-D9B7-95C5-AFD61C3931BA}"/>
                </a:ext>
              </a:extLst>
            </p:cNvPr>
            <p:cNvSpPr/>
            <p:nvPr/>
          </p:nvSpPr>
          <p:spPr>
            <a:xfrm>
              <a:off x="9993243" y="1713966"/>
              <a:ext cx="123258" cy="56192"/>
            </a:xfrm>
            <a:custGeom>
              <a:avLst/>
              <a:gdLst>
                <a:gd name="connsiteX0" fmla="*/ 0 w 123258"/>
                <a:gd name="connsiteY0" fmla="*/ 56192 h 56192"/>
                <a:gd name="connsiteX1" fmla="*/ 57581 w 123258"/>
                <a:gd name="connsiteY1" fmla="*/ 11401 h 56192"/>
                <a:gd name="connsiteX2" fmla="*/ 95091 w 123258"/>
                <a:gd name="connsiteY2" fmla="*/ 49054 h 56192"/>
                <a:gd name="connsiteX3" fmla="*/ 123259 w 123258"/>
                <a:gd name="connsiteY3" fmla="*/ 0 h 561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3258" h="56192">
                  <a:moveTo>
                    <a:pt x="0" y="56192"/>
                  </a:moveTo>
                  <a:lnTo>
                    <a:pt x="57581" y="11401"/>
                  </a:lnTo>
                  <a:lnTo>
                    <a:pt x="95091" y="49054"/>
                  </a:lnTo>
                  <a:lnTo>
                    <a:pt x="123259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40" name="Forma livre: Forma 939">
              <a:extLst>
                <a:ext uri="{FF2B5EF4-FFF2-40B4-BE49-F238E27FC236}">
                  <a16:creationId xmlns:a16="http://schemas.microsoft.com/office/drawing/2014/main" id="{544D41BB-16B3-E157-BDD8-19892032AA70}"/>
                </a:ext>
              </a:extLst>
            </p:cNvPr>
            <p:cNvSpPr/>
            <p:nvPr/>
          </p:nvSpPr>
          <p:spPr>
            <a:xfrm>
              <a:off x="9993243" y="1647331"/>
              <a:ext cx="236600" cy="83593"/>
            </a:xfrm>
            <a:custGeom>
              <a:avLst/>
              <a:gdLst>
                <a:gd name="connsiteX0" fmla="*/ 0 w 236600"/>
                <a:gd name="connsiteY0" fmla="*/ 62563 h 83593"/>
                <a:gd name="connsiteX1" fmla="*/ 77558 w 236600"/>
                <a:gd name="connsiteY1" fmla="*/ 0 h 83593"/>
                <a:gd name="connsiteX2" fmla="*/ 179307 w 236600"/>
                <a:gd name="connsiteY2" fmla="*/ 83594 h 83593"/>
                <a:gd name="connsiteX3" fmla="*/ 236601 w 236600"/>
                <a:gd name="connsiteY3" fmla="*/ 25964 h 835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6600" h="83593">
                  <a:moveTo>
                    <a:pt x="0" y="62563"/>
                  </a:moveTo>
                  <a:lnTo>
                    <a:pt x="77558" y="0"/>
                  </a:lnTo>
                  <a:lnTo>
                    <a:pt x="179307" y="83594"/>
                  </a:lnTo>
                  <a:lnTo>
                    <a:pt x="236601" y="25964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41" name="Forma livre: Forma 940">
              <a:extLst>
                <a:ext uri="{FF2B5EF4-FFF2-40B4-BE49-F238E27FC236}">
                  <a16:creationId xmlns:a16="http://schemas.microsoft.com/office/drawing/2014/main" id="{9DB21F46-557D-354E-68B7-7ADB9354B05A}"/>
                </a:ext>
              </a:extLst>
            </p:cNvPr>
            <p:cNvSpPr/>
            <p:nvPr/>
          </p:nvSpPr>
          <p:spPr>
            <a:xfrm>
              <a:off x="10192957" y="1668409"/>
              <a:ext cx="41581" cy="41437"/>
            </a:xfrm>
            <a:custGeom>
              <a:avLst/>
              <a:gdLst>
                <a:gd name="connsiteX0" fmla="*/ 41581 w 41581"/>
                <a:gd name="connsiteY0" fmla="*/ 41438 h 41437"/>
                <a:gd name="connsiteX1" fmla="*/ 41581 w 41581"/>
                <a:gd name="connsiteY1" fmla="*/ 0 h 41437"/>
                <a:gd name="connsiteX2" fmla="*/ 0 w 41581"/>
                <a:gd name="connsiteY2" fmla="*/ 0 h 414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1581" h="41437">
                  <a:moveTo>
                    <a:pt x="41581" y="41438"/>
                  </a:moveTo>
                  <a:lnTo>
                    <a:pt x="41581" y="0"/>
                  </a:lnTo>
                  <a:lnTo>
                    <a:pt x="0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42" name="Forma livre: Forma 941">
              <a:extLst>
                <a:ext uri="{FF2B5EF4-FFF2-40B4-BE49-F238E27FC236}">
                  <a16:creationId xmlns:a16="http://schemas.microsoft.com/office/drawing/2014/main" id="{D7B75ADA-8DAE-13CC-B6AE-0588356D5B60}"/>
                </a:ext>
              </a:extLst>
            </p:cNvPr>
            <p:cNvSpPr/>
            <p:nvPr/>
          </p:nvSpPr>
          <p:spPr>
            <a:xfrm>
              <a:off x="10149221" y="1588120"/>
              <a:ext cx="51689" cy="39712"/>
            </a:xfrm>
            <a:custGeom>
              <a:avLst/>
              <a:gdLst>
                <a:gd name="connsiteX0" fmla="*/ 51689 w 51689"/>
                <a:gd name="connsiteY0" fmla="*/ 39713 h 39712"/>
                <a:gd name="connsiteX1" fmla="*/ 39809 w 51689"/>
                <a:gd name="connsiteY1" fmla="*/ 0 h 39712"/>
                <a:gd name="connsiteX2" fmla="*/ 0 w 51689"/>
                <a:gd name="connsiteY2" fmla="*/ 11928 h 397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51689" h="39712">
                  <a:moveTo>
                    <a:pt x="51689" y="39713"/>
                  </a:moveTo>
                  <a:lnTo>
                    <a:pt x="39809" y="0"/>
                  </a:lnTo>
                  <a:lnTo>
                    <a:pt x="0" y="11928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43" name="Forma livre: Forma 942">
              <a:extLst>
                <a:ext uri="{FF2B5EF4-FFF2-40B4-BE49-F238E27FC236}">
                  <a16:creationId xmlns:a16="http://schemas.microsoft.com/office/drawing/2014/main" id="{250F9A09-3445-1696-6322-E47C949E32D7}"/>
                </a:ext>
              </a:extLst>
            </p:cNvPr>
            <p:cNvSpPr/>
            <p:nvPr/>
          </p:nvSpPr>
          <p:spPr>
            <a:xfrm>
              <a:off x="9969243" y="1574563"/>
              <a:ext cx="285319" cy="242541"/>
            </a:xfrm>
            <a:custGeom>
              <a:avLst/>
              <a:gdLst>
                <a:gd name="connsiteX0" fmla="*/ 285320 w 285319"/>
                <a:gd name="connsiteY0" fmla="*/ 242541 h 242541"/>
                <a:gd name="connsiteX1" fmla="*/ 0 w 285319"/>
                <a:gd name="connsiteY1" fmla="*/ 242541 h 242541"/>
                <a:gd name="connsiteX2" fmla="*/ 0 w 285319"/>
                <a:gd name="connsiteY2" fmla="*/ 0 h 2425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85319" h="242541">
                  <a:moveTo>
                    <a:pt x="285320" y="242541"/>
                  </a:moveTo>
                  <a:lnTo>
                    <a:pt x="0" y="242541"/>
                  </a:lnTo>
                  <a:lnTo>
                    <a:pt x="0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944" name="Gráfico 16">
            <a:extLst>
              <a:ext uri="{FF2B5EF4-FFF2-40B4-BE49-F238E27FC236}">
                <a16:creationId xmlns:a16="http://schemas.microsoft.com/office/drawing/2014/main" id="{B9DFDF71-E26E-B713-81B4-2D57446A0A73}"/>
              </a:ext>
            </a:extLst>
          </p:cNvPr>
          <p:cNvGrpSpPr/>
          <p:nvPr/>
        </p:nvGrpSpPr>
        <p:grpSpPr>
          <a:xfrm>
            <a:off x="11211696" y="3161404"/>
            <a:ext cx="300984" cy="230660"/>
            <a:chOff x="11211696" y="3161404"/>
            <a:chExt cx="300984" cy="230660"/>
          </a:xfrm>
          <a:noFill/>
        </p:grpSpPr>
        <p:grpSp>
          <p:nvGrpSpPr>
            <p:cNvPr id="945" name="Gráfico 16">
              <a:extLst>
                <a:ext uri="{FF2B5EF4-FFF2-40B4-BE49-F238E27FC236}">
                  <a16:creationId xmlns:a16="http://schemas.microsoft.com/office/drawing/2014/main" id="{1EA2C6ED-4ABF-9E5D-15D8-F02FE78F1D11}"/>
                </a:ext>
              </a:extLst>
            </p:cNvPr>
            <p:cNvGrpSpPr/>
            <p:nvPr/>
          </p:nvGrpSpPr>
          <p:grpSpPr>
            <a:xfrm>
              <a:off x="11304727" y="3201452"/>
              <a:ext cx="114923" cy="114971"/>
              <a:chOff x="11304727" y="3201452"/>
              <a:chExt cx="114923" cy="114971"/>
            </a:xfrm>
            <a:noFill/>
          </p:grpSpPr>
          <p:sp>
            <p:nvSpPr>
              <p:cNvPr id="946" name="Forma livre: Forma 945">
                <a:extLst>
                  <a:ext uri="{FF2B5EF4-FFF2-40B4-BE49-F238E27FC236}">
                    <a16:creationId xmlns:a16="http://schemas.microsoft.com/office/drawing/2014/main" id="{92DDCD0E-A33C-2CAA-0444-62117863213B}"/>
                  </a:ext>
                </a:extLst>
              </p:cNvPr>
              <p:cNvSpPr/>
              <p:nvPr/>
            </p:nvSpPr>
            <p:spPr>
              <a:xfrm>
                <a:off x="11362356" y="3206578"/>
                <a:ext cx="57293" cy="69844"/>
              </a:xfrm>
              <a:custGeom>
                <a:avLst/>
                <a:gdLst>
                  <a:gd name="connsiteX0" fmla="*/ 54611 w 57293"/>
                  <a:gd name="connsiteY0" fmla="*/ 69845 h 69844"/>
                  <a:gd name="connsiteX1" fmla="*/ 57294 w 57293"/>
                  <a:gd name="connsiteY1" fmla="*/ 52312 h 69844"/>
                  <a:gd name="connsiteX2" fmla="*/ 23713 w 57293"/>
                  <a:gd name="connsiteY2" fmla="*/ 0 h 69844"/>
                  <a:gd name="connsiteX3" fmla="*/ 0 w 57293"/>
                  <a:gd name="connsiteY3" fmla="*/ 52264 h 69844"/>
                  <a:gd name="connsiteX4" fmla="*/ 54611 w 57293"/>
                  <a:gd name="connsiteY4" fmla="*/ 69845 h 69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7293" h="69844">
                    <a:moveTo>
                      <a:pt x="54611" y="69845"/>
                    </a:moveTo>
                    <a:cubicBezTo>
                      <a:pt x="56336" y="64336"/>
                      <a:pt x="57294" y="58348"/>
                      <a:pt x="57294" y="52312"/>
                    </a:cubicBezTo>
                    <a:cubicBezTo>
                      <a:pt x="57294" y="29078"/>
                      <a:pt x="43545" y="9102"/>
                      <a:pt x="23713" y="0"/>
                    </a:cubicBezTo>
                    <a:lnTo>
                      <a:pt x="0" y="52264"/>
                    </a:lnTo>
                    <a:lnTo>
                      <a:pt x="54611" y="69845"/>
                    </a:ln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47" name="Forma livre: Forma 946">
                <a:extLst>
                  <a:ext uri="{FF2B5EF4-FFF2-40B4-BE49-F238E27FC236}">
                    <a16:creationId xmlns:a16="http://schemas.microsoft.com/office/drawing/2014/main" id="{4F3F35A0-E689-1569-237B-C0968D059C68}"/>
                  </a:ext>
                </a:extLst>
              </p:cNvPr>
              <p:cNvSpPr/>
              <p:nvPr/>
            </p:nvSpPr>
            <p:spPr>
              <a:xfrm>
                <a:off x="11304727" y="3201452"/>
                <a:ext cx="100503" cy="114971"/>
              </a:xfrm>
              <a:custGeom>
                <a:avLst/>
                <a:gdLst>
                  <a:gd name="connsiteX0" fmla="*/ 58875 w 100503"/>
                  <a:gd name="connsiteY0" fmla="*/ 0 h 114971"/>
                  <a:gd name="connsiteX1" fmla="*/ 57486 w 100503"/>
                  <a:gd name="connsiteY1" fmla="*/ 0 h 114971"/>
                  <a:gd name="connsiteX2" fmla="*/ 0 w 100503"/>
                  <a:gd name="connsiteY2" fmla="*/ 57486 h 114971"/>
                  <a:gd name="connsiteX3" fmla="*/ 57486 w 100503"/>
                  <a:gd name="connsiteY3" fmla="*/ 114971 h 114971"/>
                  <a:gd name="connsiteX4" fmla="*/ 100504 w 100503"/>
                  <a:gd name="connsiteY4" fmla="*/ 95618 h 1149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00503" h="114971">
                    <a:moveTo>
                      <a:pt x="58875" y="0"/>
                    </a:moveTo>
                    <a:cubicBezTo>
                      <a:pt x="58396" y="0"/>
                      <a:pt x="57917" y="0"/>
                      <a:pt x="57486" y="0"/>
                    </a:cubicBezTo>
                    <a:cubicBezTo>
                      <a:pt x="25725" y="0"/>
                      <a:pt x="0" y="25725"/>
                      <a:pt x="0" y="57486"/>
                    </a:cubicBezTo>
                    <a:cubicBezTo>
                      <a:pt x="0" y="89246"/>
                      <a:pt x="25725" y="114971"/>
                      <a:pt x="57486" y="114971"/>
                    </a:cubicBezTo>
                    <a:cubicBezTo>
                      <a:pt x="74587" y="114971"/>
                      <a:pt x="89965" y="107498"/>
                      <a:pt x="100504" y="95618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948" name="Gráfico 16">
              <a:extLst>
                <a:ext uri="{FF2B5EF4-FFF2-40B4-BE49-F238E27FC236}">
                  <a16:creationId xmlns:a16="http://schemas.microsoft.com/office/drawing/2014/main" id="{F5B5F7A6-A163-D00B-C222-89E091BDE9DF}"/>
                </a:ext>
              </a:extLst>
            </p:cNvPr>
            <p:cNvGrpSpPr/>
            <p:nvPr/>
          </p:nvGrpSpPr>
          <p:grpSpPr>
            <a:xfrm>
              <a:off x="11211696" y="3161404"/>
              <a:ext cx="300984" cy="230660"/>
              <a:chOff x="11211696" y="3161404"/>
              <a:chExt cx="300984" cy="230660"/>
            </a:xfrm>
            <a:noFill/>
          </p:grpSpPr>
          <p:sp>
            <p:nvSpPr>
              <p:cNvPr id="949" name="Forma livre: Forma 948">
                <a:extLst>
                  <a:ext uri="{FF2B5EF4-FFF2-40B4-BE49-F238E27FC236}">
                    <a16:creationId xmlns:a16="http://schemas.microsoft.com/office/drawing/2014/main" id="{AF7AFD4E-BE27-92CF-C282-5028D2D22B45}"/>
                  </a:ext>
                </a:extLst>
              </p:cNvPr>
              <p:cNvSpPr/>
              <p:nvPr/>
            </p:nvSpPr>
            <p:spPr>
              <a:xfrm>
                <a:off x="11211696" y="3392064"/>
                <a:ext cx="300984" cy="4790"/>
              </a:xfrm>
              <a:custGeom>
                <a:avLst/>
                <a:gdLst>
                  <a:gd name="connsiteX0" fmla="*/ 0 w 300984"/>
                  <a:gd name="connsiteY0" fmla="*/ 0 h 4790"/>
                  <a:gd name="connsiteX1" fmla="*/ 300985 w 300984"/>
                  <a:gd name="connsiteY1" fmla="*/ 0 h 47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00984" h="4790">
                    <a:moveTo>
                      <a:pt x="0" y="0"/>
                    </a:moveTo>
                    <a:lnTo>
                      <a:pt x="300985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50" name="Forma livre: Forma 949">
                <a:extLst>
                  <a:ext uri="{FF2B5EF4-FFF2-40B4-BE49-F238E27FC236}">
                    <a16:creationId xmlns:a16="http://schemas.microsoft.com/office/drawing/2014/main" id="{DBCA9125-04A3-427D-8BBA-0410E4F2314B}"/>
                  </a:ext>
                </a:extLst>
              </p:cNvPr>
              <p:cNvSpPr/>
              <p:nvPr/>
            </p:nvSpPr>
            <p:spPr>
              <a:xfrm>
                <a:off x="11219553" y="3161404"/>
                <a:ext cx="285271" cy="195498"/>
              </a:xfrm>
              <a:custGeom>
                <a:avLst/>
                <a:gdLst>
                  <a:gd name="connsiteX0" fmla="*/ 251739 w 285271"/>
                  <a:gd name="connsiteY0" fmla="*/ 0 h 195498"/>
                  <a:gd name="connsiteX1" fmla="*/ 285272 w 285271"/>
                  <a:gd name="connsiteY1" fmla="*/ 33533 h 195498"/>
                  <a:gd name="connsiteX2" fmla="*/ 285272 w 285271"/>
                  <a:gd name="connsiteY2" fmla="*/ 161966 h 195498"/>
                  <a:gd name="connsiteX3" fmla="*/ 251739 w 285271"/>
                  <a:gd name="connsiteY3" fmla="*/ 195499 h 195498"/>
                  <a:gd name="connsiteX4" fmla="*/ 33533 w 285271"/>
                  <a:gd name="connsiteY4" fmla="*/ 195499 h 195498"/>
                  <a:gd name="connsiteX5" fmla="*/ 0 w 285271"/>
                  <a:gd name="connsiteY5" fmla="*/ 161966 h 195498"/>
                  <a:gd name="connsiteX6" fmla="*/ 0 w 285271"/>
                  <a:gd name="connsiteY6" fmla="*/ 33533 h 195498"/>
                  <a:gd name="connsiteX7" fmla="*/ 33533 w 285271"/>
                  <a:gd name="connsiteY7" fmla="*/ 0 h 1954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85271" h="195498">
                    <a:moveTo>
                      <a:pt x="251739" y="0"/>
                    </a:moveTo>
                    <a:cubicBezTo>
                      <a:pt x="270259" y="0"/>
                      <a:pt x="285272" y="15013"/>
                      <a:pt x="285272" y="33533"/>
                    </a:cubicBezTo>
                    <a:lnTo>
                      <a:pt x="285272" y="161966"/>
                    </a:lnTo>
                    <a:cubicBezTo>
                      <a:pt x="285272" y="180485"/>
                      <a:pt x="270259" y="195499"/>
                      <a:pt x="251739" y="195499"/>
                    </a:cubicBezTo>
                    <a:lnTo>
                      <a:pt x="33533" y="195499"/>
                    </a:lnTo>
                    <a:cubicBezTo>
                      <a:pt x="15013" y="195499"/>
                      <a:pt x="0" y="180485"/>
                      <a:pt x="0" y="161966"/>
                    </a:cubicBezTo>
                    <a:lnTo>
                      <a:pt x="0" y="33533"/>
                    </a:lnTo>
                    <a:cubicBezTo>
                      <a:pt x="0" y="15013"/>
                      <a:pt x="15013" y="0"/>
                      <a:pt x="33533" y="0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951" name="Gráfico 16">
            <a:extLst>
              <a:ext uri="{FF2B5EF4-FFF2-40B4-BE49-F238E27FC236}">
                <a16:creationId xmlns:a16="http://schemas.microsoft.com/office/drawing/2014/main" id="{C51E552F-68AD-40CD-2A5D-D2D55D5DDD42}"/>
              </a:ext>
            </a:extLst>
          </p:cNvPr>
          <p:cNvGrpSpPr/>
          <p:nvPr/>
        </p:nvGrpSpPr>
        <p:grpSpPr>
          <a:xfrm>
            <a:off x="10650111" y="3125954"/>
            <a:ext cx="173797" cy="301511"/>
            <a:chOff x="10650111" y="3125954"/>
            <a:chExt cx="173797" cy="301511"/>
          </a:xfrm>
        </p:grpSpPr>
        <p:sp>
          <p:nvSpPr>
            <p:cNvPr id="952" name="Forma livre: Forma 951">
              <a:extLst>
                <a:ext uri="{FF2B5EF4-FFF2-40B4-BE49-F238E27FC236}">
                  <a16:creationId xmlns:a16="http://schemas.microsoft.com/office/drawing/2014/main" id="{646265AA-C412-EFDA-669C-18B13EE0048C}"/>
                </a:ext>
              </a:extLst>
            </p:cNvPr>
            <p:cNvSpPr/>
            <p:nvPr/>
          </p:nvSpPr>
          <p:spPr>
            <a:xfrm>
              <a:off x="10689776" y="3188661"/>
              <a:ext cx="94515" cy="108504"/>
            </a:xfrm>
            <a:custGeom>
              <a:avLst/>
              <a:gdLst>
                <a:gd name="connsiteX0" fmla="*/ 0 w 94515"/>
                <a:gd name="connsiteY0" fmla="*/ 108504 h 108504"/>
                <a:gd name="connsiteX1" fmla="*/ 30419 w 94515"/>
                <a:gd name="connsiteY1" fmla="*/ 61797 h 108504"/>
                <a:gd name="connsiteX2" fmla="*/ 62036 w 94515"/>
                <a:gd name="connsiteY2" fmla="*/ 88240 h 108504"/>
                <a:gd name="connsiteX3" fmla="*/ 94516 w 94515"/>
                <a:gd name="connsiteY3" fmla="*/ 0 h 1085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4515" h="108504">
                  <a:moveTo>
                    <a:pt x="0" y="108504"/>
                  </a:moveTo>
                  <a:lnTo>
                    <a:pt x="30419" y="61797"/>
                  </a:lnTo>
                  <a:lnTo>
                    <a:pt x="62036" y="88240"/>
                  </a:lnTo>
                  <a:lnTo>
                    <a:pt x="94516" y="0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953" name="Gráfico 16">
              <a:extLst>
                <a:ext uri="{FF2B5EF4-FFF2-40B4-BE49-F238E27FC236}">
                  <a16:creationId xmlns:a16="http://schemas.microsoft.com/office/drawing/2014/main" id="{97A8CA45-FC6D-7913-C30F-0E1EC01E761D}"/>
                </a:ext>
              </a:extLst>
            </p:cNvPr>
            <p:cNvGrpSpPr/>
            <p:nvPr/>
          </p:nvGrpSpPr>
          <p:grpSpPr>
            <a:xfrm>
              <a:off x="10650111" y="3125954"/>
              <a:ext cx="173797" cy="301511"/>
              <a:chOff x="10650111" y="3125954"/>
              <a:chExt cx="173797" cy="301511"/>
            </a:xfrm>
            <a:solidFill>
              <a:srgbClr val="394553"/>
            </a:solidFill>
          </p:grpSpPr>
          <p:sp>
            <p:nvSpPr>
              <p:cNvPr id="954" name="Forma livre: Forma 953">
                <a:extLst>
                  <a:ext uri="{FF2B5EF4-FFF2-40B4-BE49-F238E27FC236}">
                    <a16:creationId xmlns:a16="http://schemas.microsoft.com/office/drawing/2014/main" id="{64476430-0E40-1801-3BD9-51003E71493B}"/>
                  </a:ext>
                </a:extLst>
              </p:cNvPr>
              <p:cNvSpPr/>
              <p:nvPr/>
            </p:nvSpPr>
            <p:spPr>
              <a:xfrm>
                <a:off x="10650111" y="3125954"/>
                <a:ext cx="173797" cy="301511"/>
              </a:xfrm>
              <a:custGeom>
                <a:avLst/>
                <a:gdLst>
                  <a:gd name="connsiteX0" fmla="*/ 149846 w 173797"/>
                  <a:gd name="connsiteY0" fmla="*/ 11976 h 301511"/>
                  <a:gd name="connsiteX1" fmla="*/ 161822 w 173797"/>
                  <a:gd name="connsiteY1" fmla="*/ 23952 h 301511"/>
                  <a:gd name="connsiteX2" fmla="*/ 161822 w 173797"/>
                  <a:gd name="connsiteY2" fmla="*/ 277559 h 301511"/>
                  <a:gd name="connsiteX3" fmla="*/ 149846 w 173797"/>
                  <a:gd name="connsiteY3" fmla="*/ 289535 h 301511"/>
                  <a:gd name="connsiteX4" fmla="*/ 23952 w 173797"/>
                  <a:gd name="connsiteY4" fmla="*/ 289535 h 301511"/>
                  <a:gd name="connsiteX5" fmla="*/ 11976 w 173797"/>
                  <a:gd name="connsiteY5" fmla="*/ 277559 h 301511"/>
                  <a:gd name="connsiteX6" fmla="*/ 11976 w 173797"/>
                  <a:gd name="connsiteY6" fmla="*/ 23952 h 301511"/>
                  <a:gd name="connsiteX7" fmla="*/ 23952 w 173797"/>
                  <a:gd name="connsiteY7" fmla="*/ 11976 h 301511"/>
                  <a:gd name="connsiteX8" fmla="*/ 149846 w 173797"/>
                  <a:gd name="connsiteY8" fmla="*/ 11976 h 301511"/>
                  <a:gd name="connsiteX9" fmla="*/ 149846 w 173797"/>
                  <a:gd name="connsiteY9" fmla="*/ 0 h 301511"/>
                  <a:gd name="connsiteX10" fmla="*/ 23952 w 173797"/>
                  <a:gd name="connsiteY10" fmla="*/ 0 h 301511"/>
                  <a:gd name="connsiteX11" fmla="*/ 0 w 173797"/>
                  <a:gd name="connsiteY11" fmla="*/ 23952 h 301511"/>
                  <a:gd name="connsiteX12" fmla="*/ 0 w 173797"/>
                  <a:gd name="connsiteY12" fmla="*/ 277559 h 301511"/>
                  <a:gd name="connsiteX13" fmla="*/ 23952 w 173797"/>
                  <a:gd name="connsiteY13" fmla="*/ 301512 h 301511"/>
                  <a:gd name="connsiteX14" fmla="*/ 149846 w 173797"/>
                  <a:gd name="connsiteY14" fmla="*/ 301512 h 301511"/>
                  <a:gd name="connsiteX15" fmla="*/ 173798 w 173797"/>
                  <a:gd name="connsiteY15" fmla="*/ 277559 h 301511"/>
                  <a:gd name="connsiteX16" fmla="*/ 173798 w 173797"/>
                  <a:gd name="connsiteY16" fmla="*/ 23952 h 301511"/>
                  <a:gd name="connsiteX17" fmla="*/ 149846 w 173797"/>
                  <a:gd name="connsiteY17" fmla="*/ 0 h 301511"/>
                  <a:gd name="connsiteX18" fmla="*/ 149846 w 173797"/>
                  <a:gd name="connsiteY18" fmla="*/ 0 h 3015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173797" h="301511">
                    <a:moveTo>
                      <a:pt x="149846" y="11976"/>
                    </a:moveTo>
                    <a:cubicBezTo>
                      <a:pt x="156456" y="11976"/>
                      <a:pt x="161822" y="17341"/>
                      <a:pt x="161822" y="23952"/>
                    </a:cubicBezTo>
                    <a:lnTo>
                      <a:pt x="161822" y="277559"/>
                    </a:lnTo>
                    <a:cubicBezTo>
                      <a:pt x="161822" y="284170"/>
                      <a:pt x="156456" y="289535"/>
                      <a:pt x="149846" y="289535"/>
                    </a:cubicBezTo>
                    <a:lnTo>
                      <a:pt x="23952" y="289535"/>
                    </a:lnTo>
                    <a:cubicBezTo>
                      <a:pt x="17342" y="289535"/>
                      <a:pt x="11976" y="284170"/>
                      <a:pt x="11976" y="277559"/>
                    </a:cubicBezTo>
                    <a:lnTo>
                      <a:pt x="11976" y="23952"/>
                    </a:lnTo>
                    <a:cubicBezTo>
                      <a:pt x="11976" y="17341"/>
                      <a:pt x="17342" y="11976"/>
                      <a:pt x="23952" y="11976"/>
                    </a:cubicBezTo>
                    <a:lnTo>
                      <a:pt x="149846" y="11976"/>
                    </a:lnTo>
                    <a:moveTo>
                      <a:pt x="149846" y="0"/>
                    </a:moveTo>
                    <a:lnTo>
                      <a:pt x="23952" y="0"/>
                    </a:lnTo>
                    <a:cubicBezTo>
                      <a:pt x="10779" y="0"/>
                      <a:pt x="0" y="10779"/>
                      <a:pt x="0" y="23952"/>
                    </a:cubicBezTo>
                    <a:lnTo>
                      <a:pt x="0" y="277559"/>
                    </a:lnTo>
                    <a:cubicBezTo>
                      <a:pt x="0" y="290733"/>
                      <a:pt x="10779" y="301512"/>
                      <a:pt x="23952" y="301512"/>
                    </a:cubicBezTo>
                    <a:lnTo>
                      <a:pt x="149846" y="301512"/>
                    </a:lnTo>
                    <a:cubicBezTo>
                      <a:pt x="163019" y="301512"/>
                      <a:pt x="173798" y="290733"/>
                      <a:pt x="173798" y="277559"/>
                    </a:cubicBezTo>
                    <a:lnTo>
                      <a:pt x="173798" y="23952"/>
                    </a:lnTo>
                    <a:cubicBezTo>
                      <a:pt x="173798" y="10779"/>
                      <a:pt x="163019" y="0"/>
                      <a:pt x="149846" y="0"/>
                    </a:cubicBezTo>
                    <a:lnTo>
                      <a:pt x="149846" y="0"/>
                    </a:ln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 dirty="0"/>
              </a:p>
            </p:txBody>
          </p:sp>
          <p:sp>
            <p:nvSpPr>
              <p:cNvPr id="955" name="Forma livre: Forma 954">
                <a:extLst>
                  <a:ext uri="{FF2B5EF4-FFF2-40B4-BE49-F238E27FC236}">
                    <a16:creationId xmlns:a16="http://schemas.microsoft.com/office/drawing/2014/main" id="{00C7448F-4BAB-8370-5AFD-AA637847599E}"/>
                  </a:ext>
                </a:extLst>
              </p:cNvPr>
              <p:cNvSpPr/>
              <p:nvPr/>
            </p:nvSpPr>
            <p:spPr>
              <a:xfrm>
                <a:off x="10659596" y="3357525"/>
                <a:ext cx="154827" cy="4790"/>
              </a:xfrm>
              <a:custGeom>
                <a:avLst/>
                <a:gdLst>
                  <a:gd name="connsiteX0" fmla="*/ 0 w 154827"/>
                  <a:gd name="connsiteY0" fmla="*/ 0 h 4790"/>
                  <a:gd name="connsiteX1" fmla="*/ 154828 w 154827"/>
                  <a:gd name="connsiteY1" fmla="*/ 0 h 47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54827" h="4790">
                    <a:moveTo>
                      <a:pt x="0" y="0"/>
                    </a:moveTo>
                    <a:lnTo>
                      <a:pt x="154828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56" name="Forma livre: Forma 955">
                <a:extLst>
                  <a:ext uri="{FF2B5EF4-FFF2-40B4-BE49-F238E27FC236}">
                    <a16:creationId xmlns:a16="http://schemas.microsoft.com/office/drawing/2014/main" id="{55E4E16E-673C-20FF-EE1A-52DCDF582A6E}"/>
                  </a:ext>
                </a:extLst>
              </p:cNvPr>
              <p:cNvSpPr/>
              <p:nvPr/>
            </p:nvSpPr>
            <p:spPr>
              <a:xfrm>
                <a:off x="10726423" y="3388328"/>
                <a:ext cx="21221" cy="4790"/>
              </a:xfrm>
              <a:custGeom>
                <a:avLst/>
                <a:gdLst>
                  <a:gd name="connsiteX0" fmla="*/ 0 w 21221"/>
                  <a:gd name="connsiteY0" fmla="*/ 0 h 4790"/>
                  <a:gd name="connsiteX1" fmla="*/ 21222 w 21221"/>
                  <a:gd name="connsiteY1" fmla="*/ 0 h 47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1221" h="4790">
                    <a:moveTo>
                      <a:pt x="0" y="0"/>
                    </a:moveTo>
                    <a:lnTo>
                      <a:pt x="21222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957" name="Gráfico 16">
            <a:extLst>
              <a:ext uri="{FF2B5EF4-FFF2-40B4-BE49-F238E27FC236}">
                <a16:creationId xmlns:a16="http://schemas.microsoft.com/office/drawing/2014/main" id="{09679BCB-65C5-BF55-D78B-D3A635F049BA}"/>
              </a:ext>
            </a:extLst>
          </p:cNvPr>
          <p:cNvGrpSpPr/>
          <p:nvPr/>
        </p:nvGrpSpPr>
        <p:grpSpPr>
          <a:xfrm>
            <a:off x="9962920" y="3168062"/>
            <a:ext cx="297918" cy="217295"/>
            <a:chOff x="9962920" y="3168062"/>
            <a:chExt cx="297918" cy="217295"/>
          </a:xfrm>
          <a:noFill/>
        </p:grpSpPr>
        <p:grpSp>
          <p:nvGrpSpPr>
            <p:cNvPr id="958" name="Gráfico 16">
              <a:extLst>
                <a:ext uri="{FF2B5EF4-FFF2-40B4-BE49-F238E27FC236}">
                  <a16:creationId xmlns:a16="http://schemas.microsoft.com/office/drawing/2014/main" id="{AF4688E9-9659-76F7-8DB9-899D6373B6AA}"/>
                </a:ext>
              </a:extLst>
            </p:cNvPr>
            <p:cNvGrpSpPr/>
            <p:nvPr/>
          </p:nvGrpSpPr>
          <p:grpSpPr>
            <a:xfrm>
              <a:off x="9962920" y="3168062"/>
              <a:ext cx="297918" cy="217295"/>
              <a:chOff x="9962920" y="3168062"/>
              <a:chExt cx="297918" cy="217295"/>
            </a:xfrm>
            <a:noFill/>
          </p:grpSpPr>
          <p:sp>
            <p:nvSpPr>
              <p:cNvPr id="959" name="Forma livre: Forma 958">
                <a:extLst>
                  <a:ext uri="{FF2B5EF4-FFF2-40B4-BE49-F238E27FC236}">
                    <a16:creationId xmlns:a16="http://schemas.microsoft.com/office/drawing/2014/main" id="{8F5BC61D-D0A3-FDDB-C6DD-90DF7EDA7732}"/>
                  </a:ext>
                </a:extLst>
              </p:cNvPr>
              <p:cNvSpPr/>
              <p:nvPr/>
            </p:nvSpPr>
            <p:spPr>
              <a:xfrm>
                <a:off x="9962920" y="3168062"/>
                <a:ext cx="297918" cy="217295"/>
              </a:xfrm>
              <a:custGeom>
                <a:avLst/>
                <a:gdLst>
                  <a:gd name="connsiteX0" fmla="*/ 283547 w 297918"/>
                  <a:gd name="connsiteY0" fmla="*/ 0 h 217295"/>
                  <a:gd name="connsiteX1" fmla="*/ 297919 w 297918"/>
                  <a:gd name="connsiteY1" fmla="*/ 14371 h 217295"/>
                  <a:gd name="connsiteX2" fmla="*/ 297919 w 297918"/>
                  <a:gd name="connsiteY2" fmla="*/ 202924 h 217295"/>
                  <a:gd name="connsiteX3" fmla="*/ 283547 w 297918"/>
                  <a:gd name="connsiteY3" fmla="*/ 217295 h 217295"/>
                  <a:gd name="connsiteX4" fmla="*/ 14371 w 297918"/>
                  <a:gd name="connsiteY4" fmla="*/ 217295 h 217295"/>
                  <a:gd name="connsiteX5" fmla="*/ 0 w 297918"/>
                  <a:gd name="connsiteY5" fmla="*/ 202924 h 217295"/>
                  <a:gd name="connsiteX6" fmla="*/ 0 w 297918"/>
                  <a:gd name="connsiteY6" fmla="*/ 14371 h 217295"/>
                  <a:gd name="connsiteX7" fmla="*/ 14371 w 297918"/>
                  <a:gd name="connsiteY7" fmla="*/ 0 h 2172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97918" h="217295">
                    <a:moveTo>
                      <a:pt x="283547" y="0"/>
                    </a:moveTo>
                    <a:cubicBezTo>
                      <a:pt x="291484" y="0"/>
                      <a:pt x="297919" y="6434"/>
                      <a:pt x="297919" y="14371"/>
                    </a:cubicBezTo>
                    <a:lnTo>
                      <a:pt x="297919" y="202924"/>
                    </a:lnTo>
                    <a:cubicBezTo>
                      <a:pt x="297919" y="210861"/>
                      <a:pt x="291484" y="217295"/>
                      <a:pt x="283547" y="217295"/>
                    </a:cubicBezTo>
                    <a:lnTo>
                      <a:pt x="14371" y="217295"/>
                    </a:lnTo>
                    <a:cubicBezTo>
                      <a:pt x="6434" y="217295"/>
                      <a:pt x="0" y="210861"/>
                      <a:pt x="0" y="202924"/>
                    </a:cubicBezTo>
                    <a:lnTo>
                      <a:pt x="0" y="14371"/>
                    </a:lnTo>
                    <a:cubicBezTo>
                      <a:pt x="0" y="6434"/>
                      <a:pt x="6434" y="0"/>
                      <a:pt x="14371" y="0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60" name="Forma livre: Forma 959">
                <a:extLst>
                  <a:ext uri="{FF2B5EF4-FFF2-40B4-BE49-F238E27FC236}">
                    <a16:creationId xmlns:a16="http://schemas.microsoft.com/office/drawing/2014/main" id="{2911324D-2E4E-5369-82E3-05C2ADF60C1B}"/>
                  </a:ext>
                </a:extLst>
              </p:cNvPr>
              <p:cNvSpPr/>
              <p:nvPr/>
            </p:nvSpPr>
            <p:spPr>
              <a:xfrm>
                <a:off x="10024764" y="3169356"/>
                <a:ext cx="4790" cy="214756"/>
              </a:xfrm>
              <a:custGeom>
                <a:avLst/>
                <a:gdLst>
                  <a:gd name="connsiteX0" fmla="*/ 0 w 4790"/>
                  <a:gd name="connsiteY0" fmla="*/ 0 h 214756"/>
                  <a:gd name="connsiteX1" fmla="*/ 0 w 4790"/>
                  <a:gd name="connsiteY1" fmla="*/ 214756 h 2147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90" h="214756">
                    <a:moveTo>
                      <a:pt x="0" y="0"/>
                    </a:moveTo>
                    <a:lnTo>
                      <a:pt x="0" y="214756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61" name="Forma livre: Forma 960">
                <a:extLst>
                  <a:ext uri="{FF2B5EF4-FFF2-40B4-BE49-F238E27FC236}">
                    <a16:creationId xmlns:a16="http://schemas.microsoft.com/office/drawing/2014/main" id="{FE419523-1A5D-B5DA-058A-1F5AE58470D4}"/>
                  </a:ext>
                </a:extLst>
              </p:cNvPr>
              <p:cNvSpPr/>
              <p:nvPr/>
            </p:nvSpPr>
            <p:spPr>
              <a:xfrm>
                <a:off x="10216910" y="3169356"/>
                <a:ext cx="4790" cy="214756"/>
              </a:xfrm>
              <a:custGeom>
                <a:avLst/>
                <a:gdLst>
                  <a:gd name="connsiteX0" fmla="*/ 0 w 4790"/>
                  <a:gd name="connsiteY0" fmla="*/ 0 h 214756"/>
                  <a:gd name="connsiteX1" fmla="*/ 0 w 4790"/>
                  <a:gd name="connsiteY1" fmla="*/ 214756 h 2147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90" h="214756">
                    <a:moveTo>
                      <a:pt x="0" y="0"/>
                    </a:moveTo>
                    <a:lnTo>
                      <a:pt x="0" y="214756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62" name="Forma livre: Forma 961">
                <a:extLst>
                  <a:ext uri="{FF2B5EF4-FFF2-40B4-BE49-F238E27FC236}">
                    <a16:creationId xmlns:a16="http://schemas.microsoft.com/office/drawing/2014/main" id="{65BAC788-397B-3995-ACC5-C06DD511310C}"/>
                  </a:ext>
                </a:extLst>
              </p:cNvPr>
              <p:cNvSpPr/>
              <p:nvPr/>
            </p:nvSpPr>
            <p:spPr>
              <a:xfrm>
                <a:off x="9993195" y="3266123"/>
                <a:ext cx="4790" cy="21221"/>
              </a:xfrm>
              <a:custGeom>
                <a:avLst/>
                <a:gdLst>
                  <a:gd name="connsiteX0" fmla="*/ 0 w 4790"/>
                  <a:gd name="connsiteY0" fmla="*/ 0 h 21221"/>
                  <a:gd name="connsiteX1" fmla="*/ 0 w 4790"/>
                  <a:gd name="connsiteY1" fmla="*/ 21222 h 212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90" h="21221">
                    <a:moveTo>
                      <a:pt x="0" y="0"/>
                    </a:moveTo>
                    <a:lnTo>
                      <a:pt x="0" y="21222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963" name="Forma livre: Forma 962">
              <a:extLst>
                <a:ext uri="{FF2B5EF4-FFF2-40B4-BE49-F238E27FC236}">
                  <a16:creationId xmlns:a16="http://schemas.microsoft.com/office/drawing/2014/main" id="{9C95E805-91DD-1FB4-1D1E-525449A1DEB5}"/>
                </a:ext>
              </a:extLst>
            </p:cNvPr>
            <p:cNvSpPr/>
            <p:nvPr/>
          </p:nvSpPr>
          <p:spPr>
            <a:xfrm>
              <a:off x="10069220" y="3315656"/>
              <a:ext cx="4790" cy="37940"/>
            </a:xfrm>
            <a:custGeom>
              <a:avLst/>
              <a:gdLst>
                <a:gd name="connsiteX0" fmla="*/ 0 w 4790"/>
                <a:gd name="connsiteY0" fmla="*/ 37940 h 37940"/>
                <a:gd name="connsiteX1" fmla="*/ 0 w 4790"/>
                <a:gd name="connsiteY1" fmla="*/ 0 h 379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790" h="37940">
                  <a:moveTo>
                    <a:pt x="0" y="37940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64" name="Forma livre: Forma 963">
              <a:extLst>
                <a:ext uri="{FF2B5EF4-FFF2-40B4-BE49-F238E27FC236}">
                  <a16:creationId xmlns:a16="http://schemas.microsoft.com/office/drawing/2014/main" id="{9BAE0727-4FAB-C81C-5C40-25A55F42790E}"/>
                </a:ext>
              </a:extLst>
            </p:cNvPr>
            <p:cNvSpPr/>
            <p:nvPr/>
          </p:nvSpPr>
          <p:spPr>
            <a:xfrm>
              <a:off x="10103472" y="3280590"/>
              <a:ext cx="4790" cy="73006"/>
            </a:xfrm>
            <a:custGeom>
              <a:avLst/>
              <a:gdLst>
                <a:gd name="connsiteX0" fmla="*/ 0 w 4790"/>
                <a:gd name="connsiteY0" fmla="*/ 73007 h 73006"/>
                <a:gd name="connsiteX1" fmla="*/ 0 w 4790"/>
                <a:gd name="connsiteY1" fmla="*/ 0 h 730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790" h="73006">
                  <a:moveTo>
                    <a:pt x="0" y="73007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65" name="Forma livre: Forma 964">
              <a:extLst>
                <a:ext uri="{FF2B5EF4-FFF2-40B4-BE49-F238E27FC236}">
                  <a16:creationId xmlns:a16="http://schemas.microsoft.com/office/drawing/2014/main" id="{0351E323-29B8-3622-AB50-1619FDF36BA6}"/>
                </a:ext>
              </a:extLst>
            </p:cNvPr>
            <p:cNvSpPr/>
            <p:nvPr/>
          </p:nvSpPr>
          <p:spPr>
            <a:xfrm>
              <a:off x="10137723" y="3211703"/>
              <a:ext cx="4790" cy="141893"/>
            </a:xfrm>
            <a:custGeom>
              <a:avLst/>
              <a:gdLst>
                <a:gd name="connsiteX0" fmla="*/ 0 w 4790"/>
                <a:gd name="connsiteY0" fmla="*/ 141894 h 141893"/>
                <a:gd name="connsiteX1" fmla="*/ 0 w 4790"/>
                <a:gd name="connsiteY1" fmla="*/ 0 h 1418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790" h="141893">
                  <a:moveTo>
                    <a:pt x="0" y="141894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66" name="Forma livre: Forma 965">
              <a:extLst>
                <a:ext uri="{FF2B5EF4-FFF2-40B4-BE49-F238E27FC236}">
                  <a16:creationId xmlns:a16="http://schemas.microsoft.com/office/drawing/2014/main" id="{B5CBF780-A1D0-6E88-3C0C-1E4E29F55F07}"/>
                </a:ext>
              </a:extLst>
            </p:cNvPr>
            <p:cNvSpPr/>
            <p:nvPr/>
          </p:nvSpPr>
          <p:spPr>
            <a:xfrm>
              <a:off x="10171927" y="3246434"/>
              <a:ext cx="4790" cy="107162"/>
            </a:xfrm>
            <a:custGeom>
              <a:avLst/>
              <a:gdLst>
                <a:gd name="connsiteX0" fmla="*/ 0 w 4790"/>
                <a:gd name="connsiteY0" fmla="*/ 107163 h 107162"/>
                <a:gd name="connsiteX1" fmla="*/ 0 w 4790"/>
                <a:gd name="connsiteY1" fmla="*/ 0 h 1071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790" h="107162">
                  <a:moveTo>
                    <a:pt x="0" y="107163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967" name="Gráfico 16">
            <a:extLst>
              <a:ext uri="{FF2B5EF4-FFF2-40B4-BE49-F238E27FC236}">
                <a16:creationId xmlns:a16="http://schemas.microsoft.com/office/drawing/2014/main" id="{E77747ED-9935-D5B6-D5DD-1095825896D1}"/>
              </a:ext>
            </a:extLst>
          </p:cNvPr>
          <p:cNvGrpSpPr/>
          <p:nvPr/>
        </p:nvGrpSpPr>
        <p:grpSpPr>
          <a:xfrm>
            <a:off x="11199050" y="2633255"/>
            <a:ext cx="326278" cy="233055"/>
            <a:chOff x="11199050" y="2633255"/>
            <a:chExt cx="326278" cy="233055"/>
          </a:xfrm>
          <a:noFill/>
        </p:grpSpPr>
        <p:sp>
          <p:nvSpPr>
            <p:cNvPr id="968" name="Forma livre: Forma 967">
              <a:extLst>
                <a:ext uri="{FF2B5EF4-FFF2-40B4-BE49-F238E27FC236}">
                  <a16:creationId xmlns:a16="http://schemas.microsoft.com/office/drawing/2014/main" id="{113A842A-95AF-1528-7D8A-57BEC0DC745D}"/>
                </a:ext>
              </a:extLst>
            </p:cNvPr>
            <p:cNvSpPr/>
            <p:nvPr/>
          </p:nvSpPr>
          <p:spPr>
            <a:xfrm>
              <a:off x="11284032" y="2866311"/>
              <a:ext cx="113725" cy="4790"/>
            </a:xfrm>
            <a:custGeom>
              <a:avLst/>
              <a:gdLst>
                <a:gd name="connsiteX0" fmla="*/ 0 w 113725"/>
                <a:gd name="connsiteY0" fmla="*/ 0 h 4790"/>
                <a:gd name="connsiteX1" fmla="*/ 113725 w 113725"/>
                <a:gd name="connsiteY1" fmla="*/ 0 h 47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3725" h="4790">
                  <a:moveTo>
                    <a:pt x="0" y="0"/>
                  </a:moveTo>
                  <a:lnTo>
                    <a:pt x="113725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969" name="Gráfico 16">
              <a:extLst>
                <a:ext uri="{FF2B5EF4-FFF2-40B4-BE49-F238E27FC236}">
                  <a16:creationId xmlns:a16="http://schemas.microsoft.com/office/drawing/2014/main" id="{BE81308F-E174-BFD4-D4A4-E30D0FD2970F}"/>
                </a:ext>
              </a:extLst>
            </p:cNvPr>
            <p:cNvGrpSpPr/>
            <p:nvPr/>
          </p:nvGrpSpPr>
          <p:grpSpPr>
            <a:xfrm>
              <a:off x="11315745" y="2830287"/>
              <a:ext cx="50299" cy="30994"/>
              <a:chOff x="11315745" y="2830287"/>
              <a:chExt cx="50299" cy="30994"/>
            </a:xfrm>
          </p:grpSpPr>
          <p:sp>
            <p:nvSpPr>
              <p:cNvPr id="970" name="Forma livre: Forma 969">
                <a:extLst>
                  <a:ext uri="{FF2B5EF4-FFF2-40B4-BE49-F238E27FC236}">
                    <a16:creationId xmlns:a16="http://schemas.microsoft.com/office/drawing/2014/main" id="{AE8274F3-BBDE-0C7E-BA1A-0194E8BE92F0}"/>
                  </a:ext>
                </a:extLst>
              </p:cNvPr>
              <p:cNvSpPr/>
              <p:nvPr/>
            </p:nvSpPr>
            <p:spPr>
              <a:xfrm>
                <a:off x="11366045" y="2830287"/>
                <a:ext cx="4790" cy="30994"/>
              </a:xfrm>
              <a:custGeom>
                <a:avLst/>
                <a:gdLst>
                  <a:gd name="connsiteX0" fmla="*/ 0 w 4790"/>
                  <a:gd name="connsiteY0" fmla="*/ 0 h 30994"/>
                  <a:gd name="connsiteX1" fmla="*/ 0 w 4790"/>
                  <a:gd name="connsiteY1" fmla="*/ 30994 h 309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90" h="30994">
                    <a:moveTo>
                      <a:pt x="0" y="0"/>
                    </a:moveTo>
                    <a:lnTo>
                      <a:pt x="0" y="30994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71" name="Forma livre: Forma 970">
                <a:extLst>
                  <a:ext uri="{FF2B5EF4-FFF2-40B4-BE49-F238E27FC236}">
                    <a16:creationId xmlns:a16="http://schemas.microsoft.com/office/drawing/2014/main" id="{CD434323-F0FA-CF4E-D041-169262CE5756}"/>
                  </a:ext>
                </a:extLst>
              </p:cNvPr>
              <p:cNvSpPr/>
              <p:nvPr/>
            </p:nvSpPr>
            <p:spPr>
              <a:xfrm>
                <a:off x="11315745" y="2830287"/>
                <a:ext cx="4790" cy="30994"/>
              </a:xfrm>
              <a:custGeom>
                <a:avLst/>
                <a:gdLst>
                  <a:gd name="connsiteX0" fmla="*/ 0 w 4790"/>
                  <a:gd name="connsiteY0" fmla="*/ 0 h 30994"/>
                  <a:gd name="connsiteX1" fmla="*/ 0 w 4790"/>
                  <a:gd name="connsiteY1" fmla="*/ 30994 h 309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90" h="30994">
                    <a:moveTo>
                      <a:pt x="0" y="0"/>
                    </a:moveTo>
                    <a:lnTo>
                      <a:pt x="0" y="30994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972" name="Forma livre: Forma 971">
              <a:extLst>
                <a:ext uri="{FF2B5EF4-FFF2-40B4-BE49-F238E27FC236}">
                  <a16:creationId xmlns:a16="http://schemas.microsoft.com/office/drawing/2014/main" id="{4F4A0F19-970A-BA7D-FA13-9957F6864ABF}"/>
                </a:ext>
              </a:extLst>
            </p:cNvPr>
            <p:cNvSpPr/>
            <p:nvPr/>
          </p:nvSpPr>
          <p:spPr>
            <a:xfrm>
              <a:off x="11199050" y="2633255"/>
              <a:ext cx="283690" cy="193774"/>
            </a:xfrm>
            <a:custGeom>
              <a:avLst/>
              <a:gdLst>
                <a:gd name="connsiteX0" fmla="*/ 213990 w 283690"/>
                <a:gd name="connsiteY0" fmla="*/ 193774 h 193774"/>
                <a:gd name="connsiteX1" fmla="*/ 13126 w 283690"/>
                <a:gd name="connsiteY1" fmla="*/ 193774 h 193774"/>
                <a:gd name="connsiteX2" fmla="*/ 0 w 283690"/>
                <a:gd name="connsiteY2" fmla="*/ 180648 h 193774"/>
                <a:gd name="connsiteX3" fmla="*/ 0 w 283690"/>
                <a:gd name="connsiteY3" fmla="*/ 13126 h 193774"/>
                <a:gd name="connsiteX4" fmla="*/ 13126 w 283690"/>
                <a:gd name="connsiteY4" fmla="*/ 0 h 193774"/>
                <a:gd name="connsiteX5" fmla="*/ 270565 w 283690"/>
                <a:gd name="connsiteY5" fmla="*/ 0 h 193774"/>
                <a:gd name="connsiteX6" fmla="*/ 283691 w 283690"/>
                <a:gd name="connsiteY6" fmla="*/ 13126 h 193774"/>
                <a:gd name="connsiteX7" fmla="*/ 283691 w 283690"/>
                <a:gd name="connsiteY7" fmla="*/ 91737 h 1937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3690" h="193774">
                  <a:moveTo>
                    <a:pt x="213990" y="193774"/>
                  </a:moveTo>
                  <a:lnTo>
                    <a:pt x="13126" y="193774"/>
                  </a:lnTo>
                  <a:cubicBezTo>
                    <a:pt x="5892" y="193774"/>
                    <a:pt x="0" y="187882"/>
                    <a:pt x="0" y="180648"/>
                  </a:cubicBezTo>
                  <a:lnTo>
                    <a:pt x="0" y="13126"/>
                  </a:lnTo>
                  <a:cubicBezTo>
                    <a:pt x="0" y="5892"/>
                    <a:pt x="5892" y="0"/>
                    <a:pt x="13126" y="0"/>
                  </a:cubicBezTo>
                  <a:lnTo>
                    <a:pt x="270565" y="0"/>
                  </a:lnTo>
                  <a:cubicBezTo>
                    <a:pt x="277799" y="0"/>
                    <a:pt x="283691" y="5892"/>
                    <a:pt x="283691" y="13126"/>
                  </a:cubicBezTo>
                  <a:lnTo>
                    <a:pt x="283691" y="91737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73" name="Forma livre: Forma 972">
              <a:extLst>
                <a:ext uri="{FF2B5EF4-FFF2-40B4-BE49-F238E27FC236}">
                  <a16:creationId xmlns:a16="http://schemas.microsoft.com/office/drawing/2014/main" id="{735BF7EC-890F-1B4E-1A83-D7335A6E3561}"/>
                </a:ext>
              </a:extLst>
            </p:cNvPr>
            <p:cNvSpPr/>
            <p:nvPr/>
          </p:nvSpPr>
          <p:spPr>
            <a:xfrm>
              <a:off x="11421854" y="2744011"/>
              <a:ext cx="85461" cy="85461"/>
            </a:xfrm>
            <a:custGeom>
              <a:avLst/>
              <a:gdLst>
                <a:gd name="connsiteX0" fmla="*/ 85462 w 85461"/>
                <a:gd name="connsiteY0" fmla="*/ 42731 h 85461"/>
                <a:gd name="connsiteX1" fmla="*/ 42731 w 85461"/>
                <a:gd name="connsiteY1" fmla="*/ 85462 h 85461"/>
                <a:gd name="connsiteX2" fmla="*/ 0 w 85461"/>
                <a:gd name="connsiteY2" fmla="*/ 42731 h 85461"/>
                <a:gd name="connsiteX3" fmla="*/ 42731 w 85461"/>
                <a:gd name="connsiteY3" fmla="*/ 0 h 85461"/>
                <a:gd name="connsiteX4" fmla="*/ 85462 w 85461"/>
                <a:gd name="connsiteY4" fmla="*/ 42731 h 854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5461" h="85461">
                  <a:moveTo>
                    <a:pt x="85462" y="42731"/>
                  </a:moveTo>
                  <a:cubicBezTo>
                    <a:pt x="85462" y="66331"/>
                    <a:pt x="66331" y="85462"/>
                    <a:pt x="42731" y="85462"/>
                  </a:cubicBezTo>
                  <a:cubicBezTo>
                    <a:pt x="19131" y="85462"/>
                    <a:pt x="0" y="66331"/>
                    <a:pt x="0" y="42731"/>
                  </a:cubicBezTo>
                  <a:cubicBezTo>
                    <a:pt x="0" y="19131"/>
                    <a:pt x="19131" y="0"/>
                    <a:pt x="42731" y="0"/>
                  </a:cubicBezTo>
                  <a:cubicBezTo>
                    <a:pt x="66331" y="0"/>
                    <a:pt x="85462" y="19131"/>
                    <a:pt x="85462" y="42731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74" name="Forma livre: Forma 973">
              <a:extLst>
                <a:ext uri="{FF2B5EF4-FFF2-40B4-BE49-F238E27FC236}">
                  <a16:creationId xmlns:a16="http://schemas.microsoft.com/office/drawing/2014/main" id="{F1737C46-B5FE-29C0-C4B1-5F0DB95BC074}"/>
                </a:ext>
              </a:extLst>
            </p:cNvPr>
            <p:cNvSpPr/>
            <p:nvPr/>
          </p:nvSpPr>
          <p:spPr>
            <a:xfrm>
              <a:off x="11495579" y="2816730"/>
              <a:ext cx="29748" cy="29700"/>
            </a:xfrm>
            <a:custGeom>
              <a:avLst/>
              <a:gdLst>
                <a:gd name="connsiteX0" fmla="*/ 0 w 29748"/>
                <a:gd name="connsiteY0" fmla="*/ 0 h 29700"/>
                <a:gd name="connsiteX1" fmla="*/ 29749 w 29748"/>
                <a:gd name="connsiteY1" fmla="*/ 29701 h 297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9748" h="29700">
                  <a:moveTo>
                    <a:pt x="0" y="0"/>
                  </a:moveTo>
                  <a:lnTo>
                    <a:pt x="29749" y="29701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75" name="Forma livre: Forma 974">
              <a:extLst>
                <a:ext uri="{FF2B5EF4-FFF2-40B4-BE49-F238E27FC236}">
                  <a16:creationId xmlns:a16="http://schemas.microsoft.com/office/drawing/2014/main" id="{63437EC2-3068-2109-36E5-5BACFFFEB6DB}"/>
                </a:ext>
              </a:extLst>
            </p:cNvPr>
            <p:cNvSpPr/>
            <p:nvPr/>
          </p:nvSpPr>
          <p:spPr>
            <a:xfrm>
              <a:off x="11248822" y="2766095"/>
              <a:ext cx="4790" cy="38371"/>
            </a:xfrm>
            <a:custGeom>
              <a:avLst/>
              <a:gdLst>
                <a:gd name="connsiteX0" fmla="*/ 0 w 4790"/>
                <a:gd name="connsiteY0" fmla="*/ 38372 h 38371"/>
                <a:gd name="connsiteX1" fmla="*/ 0 w 4790"/>
                <a:gd name="connsiteY1" fmla="*/ 0 h 383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790" h="38371">
                  <a:moveTo>
                    <a:pt x="0" y="38372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76" name="Forma livre: Forma 975">
              <a:extLst>
                <a:ext uri="{FF2B5EF4-FFF2-40B4-BE49-F238E27FC236}">
                  <a16:creationId xmlns:a16="http://schemas.microsoft.com/office/drawing/2014/main" id="{07347EC0-66E4-E444-F9ED-8C267C547B5A}"/>
                </a:ext>
              </a:extLst>
            </p:cNvPr>
            <p:cNvSpPr/>
            <p:nvPr/>
          </p:nvSpPr>
          <p:spPr>
            <a:xfrm>
              <a:off x="11283074" y="2731076"/>
              <a:ext cx="4790" cy="73389"/>
            </a:xfrm>
            <a:custGeom>
              <a:avLst/>
              <a:gdLst>
                <a:gd name="connsiteX0" fmla="*/ 0 w 4790"/>
                <a:gd name="connsiteY0" fmla="*/ 73390 h 73389"/>
                <a:gd name="connsiteX1" fmla="*/ 0 w 4790"/>
                <a:gd name="connsiteY1" fmla="*/ 0 h 733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790" h="73389">
                  <a:moveTo>
                    <a:pt x="0" y="73390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77" name="Forma livre: Forma 976">
              <a:extLst>
                <a:ext uri="{FF2B5EF4-FFF2-40B4-BE49-F238E27FC236}">
                  <a16:creationId xmlns:a16="http://schemas.microsoft.com/office/drawing/2014/main" id="{09292CC2-1AB4-2E84-C2A9-4552087C8668}"/>
                </a:ext>
              </a:extLst>
            </p:cNvPr>
            <p:cNvSpPr/>
            <p:nvPr/>
          </p:nvSpPr>
          <p:spPr>
            <a:xfrm>
              <a:off x="11317326" y="2666166"/>
              <a:ext cx="4790" cy="138300"/>
            </a:xfrm>
            <a:custGeom>
              <a:avLst/>
              <a:gdLst>
                <a:gd name="connsiteX0" fmla="*/ 0 w 4790"/>
                <a:gd name="connsiteY0" fmla="*/ 138301 h 138300"/>
                <a:gd name="connsiteX1" fmla="*/ 0 w 4790"/>
                <a:gd name="connsiteY1" fmla="*/ 0 h 138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790" h="138300">
                  <a:moveTo>
                    <a:pt x="0" y="138301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78" name="Forma livre: Forma 977">
              <a:extLst>
                <a:ext uri="{FF2B5EF4-FFF2-40B4-BE49-F238E27FC236}">
                  <a16:creationId xmlns:a16="http://schemas.microsoft.com/office/drawing/2014/main" id="{4ACD2646-DC40-EF2A-59ED-CD7EA61F1173}"/>
                </a:ext>
              </a:extLst>
            </p:cNvPr>
            <p:cNvSpPr/>
            <p:nvPr/>
          </p:nvSpPr>
          <p:spPr>
            <a:xfrm>
              <a:off x="11351578" y="2697831"/>
              <a:ext cx="4790" cy="106635"/>
            </a:xfrm>
            <a:custGeom>
              <a:avLst/>
              <a:gdLst>
                <a:gd name="connsiteX0" fmla="*/ 0 w 4790"/>
                <a:gd name="connsiteY0" fmla="*/ 106636 h 106635"/>
                <a:gd name="connsiteX1" fmla="*/ 0 w 4790"/>
                <a:gd name="connsiteY1" fmla="*/ 0 h 1066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790" h="106635">
                  <a:moveTo>
                    <a:pt x="0" y="106636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79" name="Forma livre: Forma 978">
              <a:extLst>
                <a:ext uri="{FF2B5EF4-FFF2-40B4-BE49-F238E27FC236}">
                  <a16:creationId xmlns:a16="http://schemas.microsoft.com/office/drawing/2014/main" id="{31E3880A-61BC-3C93-421E-55BF1E599D1E}"/>
                </a:ext>
              </a:extLst>
            </p:cNvPr>
            <p:cNvSpPr/>
            <p:nvPr/>
          </p:nvSpPr>
          <p:spPr>
            <a:xfrm>
              <a:off x="11385830" y="2730166"/>
              <a:ext cx="4790" cy="74443"/>
            </a:xfrm>
            <a:custGeom>
              <a:avLst/>
              <a:gdLst>
                <a:gd name="connsiteX0" fmla="*/ 0 w 4790"/>
                <a:gd name="connsiteY0" fmla="*/ 74444 h 74443"/>
                <a:gd name="connsiteX1" fmla="*/ 0 w 4790"/>
                <a:gd name="connsiteY1" fmla="*/ 0 h 744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790" h="74443">
                  <a:moveTo>
                    <a:pt x="0" y="74444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980" name="Gráfico 16">
            <a:extLst>
              <a:ext uri="{FF2B5EF4-FFF2-40B4-BE49-F238E27FC236}">
                <a16:creationId xmlns:a16="http://schemas.microsoft.com/office/drawing/2014/main" id="{3E8C6B30-5464-FD7B-DD75-06F755457997}"/>
              </a:ext>
            </a:extLst>
          </p:cNvPr>
          <p:cNvGrpSpPr/>
          <p:nvPr/>
        </p:nvGrpSpPr>
        <p:grpSpPr>
          <a:xfrm>
            <a:off x="10580553" y="2620561"/>
            <a:ext cx="312912" cy="258397"/>
            <a:chOff x="10580553" y="2620561"/>
            <a:chExt cx="312912" cy="258397"/>
          </a:xfrm>
          <a:noFill/>
        </p:grpSpPr>
        <p:sp>
          <p:nvSpPr>
            <p:cNvPr id="981" name="Forma livre: Forma 980">
              <a:extLst>
                <a:ext uri="{FF2B5EF4-FFF2-40B4-BE49-F238E27FC236}">
                  <a16:creationId xmlns:a16="http://schemas.microsoft.com/office/drawing/2014/main" id="{DD87DF9A-F54E-660A-0A48-66F3D956227C}"/>
                </a:ext>
              </a:extLst>
            </p:cNvPr>
            <p:cNvSpPr/>
            <p:nvPr/>
          </p:nvSpPr>
          <p:spPr>
            <a:xfrm>
              <a:off x="10658734" y="2691747"/>
              <a:ext cx="47042" cy="43401"/>
            </a:xfrm>
            <a:custGeom>
              <a:avLst/>
              <a:gdLst>
                <a:gd name="connsiteX0" fmla="*/ 47042 w 47042"/>
                <a:gd name="connsiteY0" fmla="*/ 43402 h 43401"/>
                <a:gd name="connsiteX1" fmla="*/ 47042 w 47042"/>
                <a:gd name="connsiteY1" fmla="*/ 0 h 43401"/>
                <a:gd name="connsiteX2" fmla="*/ 0 w 47042"/>
                <a:gd name="connsiteY2" fmla="*/ 0 h 43401"/>
                <a:gd name="connsiteX3" fmla="*/ 0 w 47042"/>
                <a:gd name="connsiteY3" fmla="*/ 43402 h 43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7042" h="43401">
                  <a:moveTo>
                    <a:pt x="47042" y="43402"/>
                  </a:moveTo>
                  <a:lnTo>
                    <a:pt x="47042" y="0"/>
                  </a:lnTo>
                  <a:lnTo>
                    <a:pt x="0" y="0"/>
                  </a:lnTo>
                  <a:lnTo>
                    <a:pt x="0" y="43402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82" name="Forma livre: Forma 981">
              <a:extLst>
                <a:ext uri="{FF2B5EF4-FFF2-40B4-BE49-F238E27FC236}">
                  <a16:creationId xmlns:a16="http://schemas.microsoft.com/office/drawing/2014/main" id="{49A358CC-8E6F-BFF4-8755-0F98110E84B0}"/>
                </a:ext>
              </a:extLst>
            </p:cNvPr>
            <p:cNvSpPr/>
            <p:nvPr/>
          </p:nvSpPr>
          <p:spPr>
            <a:xfrm>
              <a:off x="10705920" y="2777400"/>
              <a:ext cx="47090" cy="88144"/>
            </a:xfrm>
            <a:custGeom>
              <a:avLst/>
              <a:gdLst>
                <a:gd name="connsiteX0" fmla="*/ 0 w 47090"/>
                <a:gd name="connsiteY0" fmla="*/ 0 h 88144"/>
                <a:gd name="connsiteX1" fmla="*/ 0 w 47090"/>
                <a:gd name="connsiteY1" fmla="*/ 88144 h 88144"/>
                <a:gd name="connsiteX2" fmla="*/ 47090 w 47090"/>
                <a:gd name="connsiteY2" fmla="*/ 88144 h 88144"/>
                <a:gd name="connsiteX3" fmla="*/ 47090 w 47090"/>
                <a:gd name="connsiteY3" fmla="*/ 0 h 881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7090" h="88144">
                  <a:moveTo>
                    <a:pt x="0" y="0"/>
                  </a:moveTo>
                  <a:lnTo>
                    <a:pt x="0" y="88144"/>
                  </a:lnTo>
                  <a:lnTo>
                    <a:pt x="47090" y="88144"/>
                  </a:lnTo>
                  <a:lnTo>
                    <a:pt x="47090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83" name="Forma livre: Forma 982">
              <a:extLst>
                <a:ext uri="{FF2B5EF4-FFF2-40B4-BE49-F238E27FC236}">
                  <a16:creationId xmlns:a16="http://schemas.microsoft.com/office/drawing/2014/main" id="{2941FC65-9CF5-F937-1803-EC4EA4922725}"/>
                </a:ext>
              </a:extLst>
            </p:cNvPr>
            <p:cNvSpPr/>
            <p:nvPr/>
          </p:nvSpPr>
          <p:spPr>
            <a:xfrm>
              <a:off x="10607667" y="2633686"/>
              <a:ext cx="4790" cy="245271"/>
            </a:xfrm>
            <a:custGeom>
              <a:avLst/>
              <a:gdLst>
                <a:gd name="connsiteX0" fmla="*/ 0 w 4790"/>
                <a:gd name="connsiteY0" fmla="*/ 0 h 245271"/>
                <a:gd name="connsiteX1" fmla="*/ 0 w 4790"/>
                <a:gd name="connsiteY1" fmla="*/ 245272 h 2452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790" h="245271">
                  <a:moveTo>
                    <a:pt x="0" y="0"/>
                  </a:moveTo>
                  <a:lnTo>
                    <a:pt x="0" y="245272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84" name="Forma livre: Forma 983">
              <a:extLst>
                <a:ext uri="{FF2B5EF4-FFF2-40B4-BE49-F238E27FC236}">
                  <a16:creationId xmlns:a16="http://schemas.microsoft.com/office/drawing/2014/main" id="{26EA0680-E162-5BAA-D39A-6FCFA136333D}"/>
                </a:ext>
              </a:extLst>
            </p:cNvPr>
            <p:cNvSpPr/>
            <p:nvPr/>
          </p:nvSpPr>
          <p:spPr>
            <a:xfrm>
              <a:off x="10608003" y="2756370"/>
              <a:ext cx="285463" cy="4790"/>
            </a:xfrm>
            <a:custGeom>
              <a:avLst/>
              <a:gdLst>
                <a:gd name="connsiteX0" fmla="*/ 285463 w 285463"/>
                <a:gd name="connsiteY0" fmla="*/ 0 h 4790"/>
                <a:gd name="connsiteX1" fmla="*/ 0 w 285463"/>
                <a:gd name="connsiteY1" fmla="*/ 0 h 47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85463" h="4790">
                  <a:moveTo>
                    <a:pt x="285463" y="0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985" name="Gráfico 16">
              <a:extLst>
                <a:ext uri="{FF2B5EF4-FFF2-40B4-BE49-F238E27FC236}">
                  <a16:creationId xmlns:a16="http://schemas.microsoft.com/office/drawing/2014/main" id="{416BE2CB-58E3-20DA-E033-1ED9F28A1D50}"/>
                </a:ext>
              </a:extLst>
            </p:cNvPr>
            <p:cNvGrpSpPr/>
            <p:nvPr/>
          </p:nvGrpSpPr>
          <p:grpSpPr>
            <a:xfrm>
              <a:off x="10580553" y="2667411"/>
              <a:ext cx="25149" cy="177821"/>
              <a:chOff x="10580553" y="2667411"/>
              <a:chExt cx="25149" cy="177821"/>
            </a:xfrm>
          </p:grpSpPr>
          <p:grpSp>
            <p:nvGrpSpPr>
              <p:cNvPr id="986" name="Gráfico 16">
                <a:extLst>
                  <a:ext uri="{FF2B5EF4-FFF2-40B4-BE49-F238E27FC236}">
                    <a16:creationId xmlns:a16="http://schemas.microsoft.com/office/drawing/2014/main" id="{0F784A2B-BC5D-DFB9-BC14-405676490253}"/>
                  </a:ext>
                </a:extLst>
              </p:cNvPr>
              <p:cNvGrpSpPr/>
              <p:nvPr/>
            </p:nvGrpSpPr>
            <p:grpSpPr>
              <a:xfrm>
                <a:off x="10580553" y="2667411"/>
                <a:ext cx="25149" cy="51497"/>
                <a:chOff x="10580553" y="2667411"/>
                <a:chExt cx="25149" cy="51497"/>
              </a:xfrm>
            </p:grpSpPr>
            <p:sp>
              <p:nvSpPr>
                <p:cNvPr id="987" name="Forma livre: Forma 986">
                  <a:extLst>
                    <a:ext uri="{FF2B5EF4-FFF2-40B4-BE49-F238E27FC236}">
                      <a16:creationId xmlns:a16="http://schemas.microsoft.com/office/drawing/2014/main" id="{AD05FC34-AD33-6D5D-AB76-A982E6F22E40}"/>
                    </a:ext>
                  </a:extLst>
                </p:cNvPr>
                <p:cNvSpPr/>
                <p:nvPr/>
              </p:nvSpPr>
              <p:spPr>
                <a:xfrm>
                  <a:off x="10580553" y="2667411"/>
                  <a:ext cx="25149" cy="4790"/>
                </a:xfrm>
                <a:custGeom>
                  <a:avLst/>
                  <a:gdLst>
                    <a:gd name="connsiteX0" fmla="*/ 0 w 25149"/>
                    <a:gd name="connsiteY0" fmla="*/ 0 h 4790"/>
                    <a:gd name="connsiteX1" fmla="*/ 25150 w 25149"/>
                    <a:gd name="connsiteY1" fmla="*/ 0 h 47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5149" h="4790">
                      <a:moveTo>
                        <a:pt x="0" y="0"/>
                      </a:moveTo>
                      <a:lnTo>
                        <a:pt x="25150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988" name="Forma livre: Forma 987">
                  <a:extLst>
                    <a:ext uri="{FF2B5EF4-FFF2-40B4-BE49-F238E27FC236}">
                      <a16:creationId xmlns:a16="http://schemas.microsoft.com/office/drawing/2014/main" id="{4F8BAAEE-D86E-09D1-0EA4-3950DD284EF1}"/>
                    </a:ext>
                  </a:extLst>
                </p:cNvPr>
                <p:cNvSpPr/>
                <p:nvPr/>
              </p:nvSpPr>
              <p:spPr>
                <a:xfrm>
                  <a:off x="10580553" y="2718909"/>
                  <a:ext cx="25149" cy="4790"/>
                </a:xfrm>
                <a:custGeom>
                  <a:avLst/>
                  <a:gdLst>
                    <a:gd name="connsiteX0" fmla="*/ 0 w 25149"/>
                    <a:gd name="connsiteY0" fmla="*/ 0 h 4790"/>
                    <a:gd name="connsiteX1" fmla="*/ 25150 w 25149"/>
                    <a:gd name="connsiteY1" fmla="*/ 0 h 47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5149" h="4790">
                      <a:moveTo>
                        <a:pt x="0" y="0"/>
                      </a:moveTo>
                      <a:lnTo>
                        <a:pt x="25150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989" name="Gráfico 16">
                <a:extLst>
                  <a:ext uri="{FF2B5EF4-FFF2-40B4-BE49-F238E27FC236}">
                    <a16:creationId xmlns:a16="http://schemas.microsoft.com/office/drawing/2014/main" id="{E974FD1B-FABF-E376-2B40-61E6D51CE039}"/>
                  </a:ext>
                </a:extLst>
              </p:cNvPr>
              <p:cNvGrpSpPr/>
              <p:nvPr/>
            </p:nvGrpSpPr>
            <p:grpSpPr>
              <a:xfrm>
                <a:off x="10580553" y="2793688"/>
                <a:ext cx="25149" cy="51545"/>
                <a:chOff x="10580553" y="2793688"/>
                <a:chExt cx="25149" cy="51545"/>
              </a:xfrm>
            </p:grpSpPr>
            <p:sp>
              <p:nvSpPr>
                <p:cNvPr id="990" name="Forma livre: Forma 989">
                  <a:extLst>
                    <a:ext uri="{FF2B5EF4-FFF2-40B4-BE49-F238E27FC236}">
                      <a16:creationId xmlns:a16="http://schemas.microsoft.com/office/drawing/2014/main" id="{906D3889-BF75-7A69-E4FB-058030AA4F96}"/>
                    </a:ext>
                  </a:extLst>
                </p:cNvPr>
                <p:cNvSpPr/>
                <p:nvPr/>
              </p:nvSpPr>
              <p:spPr>
                <a:xfrm>
                  <a:off x="10580553" y="2793688"/>
                  <a:ext cx="25149" cy="4790"/>
                </a:xfrm>
                <a:custGeom>
                  <a:avLst/>
                  <a:gdLst>
                    <a:gd name="connsiteX0" fmla="*/ 0 w 25149"/>
                    <a:gd name="connsiteY0" fmla="*/ 0 h 4790"/>
                    <a:gd name="connsiteX1" fmla="*/ 25150 w 25149"/>
                    <a:gd name="connsiteY1" fmla="*/ 0 h 47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5149" h="4790">
                      <a:moveTo>
                        <a:pt x="0" y="0"/>
                      </a:moveTo>
                      <a:lnTo>
                        <a:pt x="25150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991" name="Forma livre: Forma 990">
                  <a:extLst>
                    <a:ext uri="{FF2B5EF4-FFF2-40B4-BE49-F238E27FC236}">
                      <a16:creationId xmlns:a16="http://schemas.microsoft.com/office/drawing/2014/main" id="{DE87FEB3-0145-EDF1-EDC2-A91F7013FDE1}"/>
                    </a:ext>
                  </a:extLst>
                </p:cNvPr>
                <p:cNvSpPr/>
                <p:nvPr/>
              </p:nvSpPr>
              <p:spPr>
                <a:xfrm>
                  <a:off x="10580553" y="2845233"/>
                  <a:ext cx="25149" cy="4790"/>
                </a:xfrm>
                <a:custGeom>
                  <a:avLst/>
                  <a:gdLst>
                    <a:gd name="connsiteX0" fmla="*/ 0 w 25149"/>
                    <a:gd name="connsiteY0" fmla="*/ 0 h 4790"/>
                    <a:gd name="connsiteX1" fmla="*/ 25150 w 25149"/>
                    <a:gd name="connsiteY1" fmla="*/ 0 h 47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5149" h="4790">
                      <a:moveTo>
                        <a:pt x="0" y="0"/>
                      </a:moveTo>
                      <a:lnTo>
                        <a:pt x="25150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sp>
          <p:nvSpPr>
            <p:cNvPr id="992" name="Forma livre: Forma 991">
              <a:extLst>
                <a:ext uri="{FF2B5EF4-FFF2-40B4-BE49-F238E27FC236}">
                  <a16:creationId xmlns:a16="http://schemas.microsoft.com/office/drawing/2014/main" id="{027E10A5-9F52-A180-25BF-6150C0EF1AC8}"/>
                </a:ext>
              </a:extLst>
            </p:cNvPr>
            <p:cNvSpPr/>
            <p:nvPr/>
          </p:nvSpPr>
          <p:spPr>
            <a:xfrm>
              <a:off x="10752914" y="2620561"/>
              <a:ext cx="47090" cy="114587"/>
            </a:xfrm>
            <a:custGeom>
              <a:avLst/>
              <a:gdLst>
                <a:gd name="connsiteX0" fmla="*/ 47090 w 47090"/>
                <a:gd name="connsiteY0" fmla="*/ 114588 h 114587"/>
                <a:gd name="connsiteX1" fmla="*/ 47090 w 47090"/>
                <a:gd name="connsiteY1" fmla="*/ 0 h 114587"/>
                <a:gd name="connsiteX2" fmla="*/ 0 w 47090"/>
                <a:gd name="connsiteY2" fmla="*/ 0 h 114587"/>
                <a:gd name="connsiteX3" fmla="*/ 0 w 47090"/>
                <a:gd name="connsiteY3" fmla="*/ 114588 h 1145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7090" h="114587">
                  <a:moveTo>
                    <a:pt x="47090" y="114588"/>
                  </a:moveTo>
                  <a:lnTo>
                    <a:pt x="47090" y="0"/>
                  </a:lnTo>
                  <a:lnTo>
                    <a:pt x="0" y="0"/>
                  </a:lnTo>
                  <a:lnTo>
                    <a:pt x="0" y="114588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93" name="Forma livre: Forma 992">
              <a:extLst>
                <a:ext uri="{FF2B5EF4-FFF2-40B4-BE49-F238E27FC236}">
                  <a16:creationId xmlns:a16="http://schemas.microsoft.com/office/drawing/2014/main" id="{FEA5568E-217D-A8FB-C716-AE57EE2A18D3}"/>
                </a:ext>
              </a:extLst>
            </p:cNvPr>
            <p:cNvSpPr/>
            <p:nvPr/>
          </p:nvSpPr>
          <p:spPr>
            <a:xfrm>
              <a:off x="10800004" y="2777400"/>
              <a:ext cx="47090" cy="54611"/>
            </a:xfrm>
            <a:custGeom>
              <a:avLst/>
              <a:gdLst>
                <a:gd name="connsiteX0" fmla="*/ 0 w 47090"/>
                <a:gd name="connsiteY0" fmla="*/ 0 h 54611"/>
                <a:gd name="connsiteX1" fmla="*/ 0 w 47090"/>
                <a:gd name="connsiteY1" fmla="*/ 54611 h 54611"/>
                <a:gd name="connsiteX2" fmla="*/ 47090 w 47090"/>
                <a:gd name="connsiteY2" fmla="*/ 54611 h 54611"/>
                <a:gd name="connsiteX3" fmla="*/ 47090 w 47090"/>
                <a:gd name="connsiteY3" fmla="*/ 0 h 546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7090" h="54611">
                  <a:moveTo>
                    <a:pt x="0" y="0"/>
                  </a:moveTo>
                  <a:lnTo>
                    <a:pt x="0" y="54611"/>
                  </a:lnTo>
                  <a:lnTo>
                    <a:pt x="47090" y="54611"/>
                  </a:lnTo>
                  <a:lnTo>
                    <a:pt x="47090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994" name="Gráfico 16">
            <a:extLst>
              <a:ext uri="{FF2B5EF4-FFF2-40B4-BE49-F238E27FC236}">
                <a16:creationId xmlns:a16="http://schemas.microsoft.com/office/drawing/2014/main" id="{5F69FE22-70CC-555C-4A8B-98D2F146DFF7}"/>
              </a:ext>
            </a:extLst>
          </p:cNvPr>
          <p:cNvGrpSpPr/>
          <p:nvPr/>
        </p:nvGrpSpPr>
        <p:grpSpPr>
          <a:xfrm>
            <a:off x="9975566" y="2611555"/>
            <a:ext cx="272625" cy="276409"/>
            <a:chOff x="9975566" y="2611555"/>
            <a:chExt cx="272625" cy="276409"/>
          </a:xfrm>
          <a:noFill/>
        </p:grpSpPr>
        <p:grpSp>
          <p:nvGrpSpPr>
            <p:cNvPr id="995" name="Gráfico 16">
              <a:extLst>
                <a:ext uri="{FF2B5EF4-FFF2-40B4-BE49-F238E27FC236}">
                  <a16:creationId xmlns:a16="http://schemas.microsoft.com/office/drawing/2014/main" id="{17591C56-AAB9-08C1-3F81-735EC555CD70}"/>
                </a:ext>
              </a:extLst>
            </p:cNvPr>
            <p:cNvGrpSpPr/>
            <p:nvPr/>
          </p:nvGrpSpPr>
          <p:grpSpPr>
            <a:xfrm>
              <a:off x="10052789" y="2842886"/>
              <a:ext cx="118180" cy="44934"/>
              <a:chOff x="10052789" y="2842886"/>
              <a:chExt cx="118180" cy="44934"/>
            </a:xfrm>
          </p:grpSpPr>
          <p:sp>
            <p:nvSpPr>
              <p:cNvPr id="996" name="Forma livre: Forma 995">
                <a:extLst>
                  <a:ext uri="{FF2B5EF4-FFF2-40B4-BE49-F238E27FC236}">
                    <a16:creationId xmlns:a16="http://schemas.microsoft.com/office/drawing/2014/main" id="{BC638B2F-624E-752C-8225-7C1740993CE6}"/>
                  </a:ext>
                </a:extLst>
              </p:cNvPr>
              <p:cNvSpPr/>
              <p:nvPr/>
            </p:nvSpPr>
            <p:spPr>
              <a:xfrm>
                <a:off x="10052789" y="2842886"/>
                <a:ext cx="58683" cy="44934"/>
              </a:xfrm>
              <a:custGeom>
                <a:avLst/>
                <a:gdLst>
                  <a:gd name="connsiteX0" fmla="*/ 58683 w 58683"/>
                  <a:gd name="connsiteY0" fmla="*/ 0 h 44934"/>
                  <a:gd name="connsiteX1" fmla="*/ 0 w 58683"/>
                  <a:gd name="connsiteY1" fmla="*/ 44935 h 449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8683" h="44934">
                    <a:moveTo>
                      <a:pt x="58683" y="0"/>
                    </a:moveTo>
                    <a:lnTo>
                      <a:pt x="0" y="44935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97" name="Forma livre: Forma 996">
                <a:extLst>
                  <a:ext uri="{FF2B5EF4-FFF2-40B4-BE49-F238E27FC236}">
                    <a16:creationId xmlns:a16="http://schemas.microsoft.com/office/drawing/2014/main" id="{37DF0A29-7242-C691-9B5B-DB8B4D17FACB}"/>
                  </a:ext>
                </a:extLst>
              </p:cNvPr>
              <p:cNvSpPr/>
              <p:nvPr/>
            </p:nvSpPr>
            <p:spPr>
              <a:xfrm>
                <a:off x="10112286" y="2842886"/>
                <a:ext cx="58683" cy="44934"/>
              </a:xfrm>
              <a:custGeom>
                <a:avLst/>
                <a:gdLst>
                  <a:gd name="connsiteX0" fmla="*/ 0 w 58683"/>
                  <a:gd name="connsiteY0" fmla="*/ 0 h 44934"/>
                  <a:gd name="connsiteX1" fmla="*/ 58683 w 58683"/>
                  <a:gd name="connsiteY1" fmla="*/ 44935 h 449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8683" h="44934">
                    <a:moveTo>
                      <a:pt x="0" y="0"/>
                    </a:moveTo>
                    <a:lnTo>
                      <a:pt x="58683" y="44935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998" name="Forma livre: Forma 997">
              <a:extLst>
                <a:ext uri="{FF2B5EF4-FFF2-40B4-BE49-F238E27FC236}">
                  <a16:creationId xmlns:a16="http://schemas.microsoft.com/office/drawing/2014/main" id="{D49F9216-3EEC-5742-2EEF-EA1A92602D0A}"/>
                </a:ext>
              </a:extLst>
            </p:cNvPr>
            <p:cNvSpPr/>
            <p:nvPr/>
          </p:nvSpPr>
          <p:spPr>
            <a:xfrm>
              <a:off x="9990608" y="2613135"/>
              <a:ext cx="242588" cy="179929"/>
            </a:xfrm>
            <a:custGeom>
              <a:avLst/>
              <a:gdLst>
                <a:gd name="connsiteX0" fmla="*/ 0 w 242588"/>
                <a:gd name="connsiteY0" fmla="*/ 0 h 179929"/>
                <a:gd name="connsiteX1" fmla="*/ 0 w 242588"/>
                <a:gd name="connsiteY1" fmla="*/ 155977 h 179929"/>
                <a:gd name="connsiteX2" fmla="*/ 23952 w 242588"/>
                <a:gd name="connsiteY2" fmla="*/ 179930 h 179929"/>
                <a:gd name="connsiteX3" fmla="*/ 218637 w 242588"/>
                <a:gd name="connsiteY3" fmla="*/ 179930 h 179929"/>
                <a:gd name="connsiteX4" fmla="*/ 242589 w 242588"/>
                <a:gd name="connsiteY4" fmla="*/ 155977 h 179929"/>
                <a:gd name="connsiteX5" fmla="*/ 242589 w 242588"/>
                <a:gd name="connsiteY5" fmla="*/ 0 h 1799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42588" h="179929">
                  <a:moveTo>
                    <a:pt x="0" y="0"/>
                  </a:moveTo>
                  <a:lnTo>
                    <a:pt x="0" y="155977"/>
                  </a:lnTo>
                  <a:cubicBezTo>
                    <a:pt x="0" y="169151"/>
                    <a:pt x="10779" y="179930"/>
                    <a:pt x="23952" y="179930"/>
                  </a:cubicBezTo>
                  <a:lnTo>
                    <a:pt x="218637" y="179930"/>
                  </a:lnTo>
                  <a:cubicBezTo>
                    <a:pt x="231810" y="179930"/>
                    <a:pt x="242589" y="169151"/>
                    <a:pt x="242589" y="155977"/>
                  </a:cubicBezTo>
                  <a:lnTo>
                    <a:pt x="242589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99" name="Forma livre: Forma 998">
              <a:extLst>
                <a:ext uri="{FF2B5EF4-FFF2-40B4-BE49-F238E27FC236}">
                  <a16:creationId xmlns:a16="http://schemas.microsoft.com/office/drawing/2014/main" id="{CB1E8160-C091-AE3E-64EE-A7070192E744}"/>
                </a:ext>
              </a:extLst>
            </p:cNvPr>
            <p:cNvSpPr/>
            <p:nvPr/>
          </p:nvSpPr>
          <p:spPr>
            <a:xfrm>
              <a:off x="9975566" y="2611555"/>
              <a:ext cx="272625" cy="4790"/>
            </a:xfrm>
            <a:custGeom>
              <a:avLst/>
              <a:gdLst>
                <a:gd name="connsiteX0" fmla="*/ 0 w 272625"/>
                <a:gd name="connsiteY0" fmla="*/ 0 h 4790"/>
                <a:gd name="connsiteX1" fmla="*/ 272625 w 272625"/>
                <a:gd name="connsiteY1" fmla="*/ 0 h 47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72625" h="4790">
                  <a:moveTo>
                    <a:pt x="0" y="0"/>
                  </a:moveTo>
                  <a:lnTo>
                    <a:pt x="272625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00" name="Forma livre: Forma 999">
              <a:extLst>
                <a:ext uri="{FF2B5EF4-FFF2-40B4-BE49-F238E27FC236}">
                  <a16:creationId xmlns:a16="http://schemas.microsoft.com/office/drawing/2014/main" id="{80811A4A-6393-C780-0E4F-F5E6795962B5}"/>
                </a:ext>
              </a:extLst>
            </p:cNvPr>
            <p:cNvSpPr/>
            <p:nvPr/>
          </p:nvSpPr>
          <p:spPr>
            <a:xfrm>
              <a:off x="10039567" y="2647339"/>
              <a:ext cx="146635" cy="109030"/>
            </a:xfrm>
            <a:custGeom>
              <a:avLst/>
              <a:gdLst>
                <a:gd name="connsiteX0" fmla="*/ 0 w 146635"/>
                <a:gd name="connsiteY0" fmla="*/ 109031 h 109030"/>
                <a:gd name="connsiteX1" fmla="*/ 32767 w 146635"/>
                <a:gd name="connsiteY1" fmla="*/ 54947 h 109030"/>
                <a:gd name="connsiteX2" fmla="*/ 57390 w 146635"/>
                <a:gd name="connsiteY2" fmla="*/ 90252 h 109030"/>
                <a:gd name="connsiteX3" fmla="*/ 87091 w 146635"/>
                <a:gd name="connsiteY3" fmla="*/ 59258 h 109030"/>
                <a:gd name="connsiteX4" fmla="*/ 114252 w 146635"/>
                <a:gd name="connsiteY4" fmla="*/ 82635 h 109030"/>
                <a:gd name="connsiteX5" fmla="*/ 146636 w 146635"/>
                <a:gd name="connsiteY5" fmla="*/ 0 h 1090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46635" h="109030">
                  <a:moveTo>
                    <a:pt x="0" y="109031"/>
                  </a:moveTo>
                  <a:lnTo>
                    <a:pt x="32767" y="54947"/>
                  </a:lnTo>
                  <a:lnTo>
                    <a:pt x="57390" y="90252"/>
                  </a:lnTo>
                  <a:lnTo>
                    <a:pt x="87091" y="59258"/>
                  </a:lnTo>
                  <a:lnTo>
                    <a:pt x="114252" y="82635"/>
                  </a:lnTo>
                  <a:lnTo>
                    <a:pt x="146636" y="0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001" name="Gráfico 16">
              <a:extLst>
                <a:ext uri="{FF2B5EF4-FFF2-40B4-BE49-F238E27FC236}">
                  <a16:creationId xmlns:a16="http://schemas.microsoft.com/office/drawing/2014/main" id="{B69C6D7A-91CC-13D3-880F-EABBA0888B08}"/>
                </a:ext>
              </a:extLst>
            </p:cNvPr>
            <p:cNvGrpSpPr/>
            <p:nvPr/>
          </p:nvGrpSpPr>
          <p:grpSpPr>
            <a:xfrm>
              <a:off x="10111903" y="2815197"/>
              <a:ext cx="4790" cy="72767"/>
              <a:chOff x="10111903" y="2815197"/>
              <a:chExt cx="4790" cy="72767"/>
            </a:xfrm>
          </p:grpSpPr>
          <p:sp>
            <p:nvSpPr>
              <p:cNvPr id="1002" name="Forma livre: Forma 1001">
                <a:extLst>
                  <a:ext uri="{FF2B5EF4-FFF2-40B4-BE49-F238E27FC236}">
                    <a16:creationId xmlns:a16="http://schemas.microsoft.com/office/drawing/2014/main" id="{6473334D-8A1C-5D51-B7AD-9658FA7B3601}"/>
                  </a:ext>
                </a:extLst>
              </p:cNvPr>
              <p:cNvSpPr/>
              <p:nvPr/>
            </p:nvSpPr>
            <p:spPr>
              <a:xfrm>
                <a:off x="10111903" y="2831341"/>
                <a:ext cx="4790" cy="56623"/>
              </a:xfrm>
              <a:custGeom>
                <a:avLst/>
                <a:gdLst>
                  <a:gd name="connsiteX0" fmla="*/ 0 w 4790"/>
                  <a:gd name="connsiteY0" fmla="*/ 56623 h 56623"/>
                  <a:gd name="connsiteX1" fmla="*/ 0 w 4790"/>
                  <a:gd name="connsiteY1" fmla="*/ 0 h 566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90" h="56623">
                    <a:moveTo>
                      <a:pt x="0" y="56623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003" name="Forma livre: Forma 1002">
                <a:extLst>
                  <a:ext uri="{FF2B5EF4-FFF2-40B4-BE49-F238E27FC236}">
                    <a16:creationId xmlns:a16="http://schemas.microsoft.com/office/drawing/2014/main" id="{6DEC4B81-2B72-091D-F98F-C2082665F9B7}"/>
                  </a:ext>
                </a:extLst>
              </p:cNvPr>
              <p:cNvSpPr/>
              <p:nvPr/>
            </p:nvSpPr>
            <p:spPr>
              <a:xfrm>
                <a:off x="10111903" y="2815197"/>
                <a:ext cx="4790" cy="56623"/>
              </a:xfrm>
              <a:custGeom>
                <a:avLst/>
                <a:gdLst>
                  <a:gd name="connsiteX0" fmla="*/ 0 w 4790"/>
                  <a:gd name="connsiteY0" fmla="*/ 56623 h 56623"/>
                  <a:gd name="connsiteX1" fmla="*/ 0 w 4790"/>
                  <a:gd name="connsiteY1" fmla="*/ 0 h 566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90" h="56623">
                    <a:moveTo>
                      <a:pt x="0" y="56623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004" name="Gráfico 16">
            <a:extLst>
              <a:ext uri="{FF2B5EF4-FFF2-40B4-BE49-F238E27FC236}">
                <a16:creationId xmlns:a16="http://schemas.microsoft.com/office/drawing/2014/main" id="{23E35F76-44F3-364D-7DF2-23162849E29C}"/>
              </a:ext>
            </a:extLst>
          </p:cNvPr>
          <p:cNvGrpSpPr/>
          <p:nvPr/>
        </p:nvGrpSpPr>
        <p:grpSpPr>
          <a:xfrm>
            <a:off x="11219265" y="1047325"/>
            <a:ext cx="285846" cy="243020"/>
            <a:chOff x="11219265" y="1047325"/>
            <a:chExt cx="285846" cy="243020"/>
          </a:xfrm>
          <a:noFill/>
        </p:grpSpPr>
        <p:sp>
          <p:nvSpPr>
            <p:cNvPr id="1005" name="Forma livre: Forma 1004">
              <a:extLst>
                <a:ext uri="{FF2B5EF4-FFF2-40B4-BE49-F238E27FC236}">
                  <a16:creationId xmlns:a16="http://schemas.microsoft.com/office/drawing/2014/main" id="{0CB0EC78-4E68-3777-3A11-E24561D88DC2}"/>
                </a:ext>
              </a:extLst>
            </p:cNvPr>
            <p:cNvSpPr/>
            <p:nvPr/>
          </p:nvSpPr>
          <p:spPr>
            <a:xfrm>
              <a:off x="11251984" y="1215566"/>
              <a:ext cx="4790" cy="47233"/>
            </a:xfrm>
            <a:custGeom>
              <a:avLst/>
              <a:gdLst>
                <a:gd name="connsiteX0" fmla="*/ 0 w 4790"/>
                <a:gd name="connsiteY0" fmla="*/ 47234 h 47233"/>
                <a:gd name="connsiteX1" fmla="*/ 0 w 4790"/>
                <a:gd name="connsiteY1" fmla="*/ 0 h 472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790" h="47233">
                  <a:moveTo>
                    <a:pt x="0" y="47234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06" name="Forma livre: Forma 1005">
              <a:extLst>
                <a:ext uri="{FF2B5EF4-FFF2-40B4-BE49-F238E27FC236}">
                  <a16:creationId xmlns:a16="http://schemas.microsoft.com/office/drawing/2014/main" id="{00EB6EAF-6087-521E-EB57-A17280190444}"/>
                </a:ext>
              </a:extLst>
            </p:cNvPr>
            <p:cNvSpPr/>
            <p:nvPr/>
          </p:nvSpPr>
          <p:spPr>
            <a:xfrm>
              <a:off x="11284559" y="1185003"/>
              <a:ext cx="4790" cy="77797"/>
            </a:xfrm>
            <a:custGeom>
              <a:avLst/>
              <a:gdLst>
                <a:gd name="connsiteX0" fmla="*/ 0 w 4790"/>
                <a:gd name="connsiteY0" fmla="*/ 77797 h 77797"/>
                <a:gd name="connsiteX1" fmla="*/ 0 w 4790"/>
                <a:gd name="connsiteY1" fmla="*/ 0 h 7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790" h="77797">
                  <a:moveTo>
                    <a:pt x="0" y="77797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07" name="Forma livre: Forma 1006">
              <a:extLst>
                <a:ext uri="{FF2B5EF4-FFF2-40B4-BE49-F238E27FC236}">
                  <a16:creationId xmlns:a16="http://schemas.microsoft.com/office/drawing/2014/main" id="{CA680E17-1F5B-90BC-89C7-2B4462756F02}"/>
                </a:ext>
              </a:extLst>
            </p:cNvPr>
            <p:cNvSpPr/>
            <p:nvPr/>
          </p:nvSpPr>
          <p:spPr>
            <a:xfrm>
              <a:off x="11317182" y="1155015"/>
              <a:ext cx="4790" cy="107785"/>
            </a:xfrm>
            <a:custGeom>
              <a:avLst/>
              <a:gdLst>
                <a:gd name="connsiteX0" fmla="*/ 0 w 4790"/>
                <a:gd name="connsiteY0" fmla="*/ 107785 h 107785"/>
                <a:gd name="connsiteX1" fmla="*/ 0 w 4790"/>
                <a:gd name="connsiteY1" fmla="*/ 0 h 1077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790" h="107785">
                  <a:moveTo>
                    <a:pt x="0" y="107785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08" name="Forma livre: Forma 1007">
              <a:extLst>
                <a:ext uri="{FF2B5EF4-FFF2-40B4-BE49-F238E27FC236}">
                  <a16:creationId xmlns:a16="http://schemas.microsoft.com/office/drawing/2014/main" id="{E3766E7F-0044-8096-E6D8-2B9477A06B2F}"/>
                </a:ext>
              </a:extLst>
            </p:cNvPr>
            <p:cNvSpPr/>
            <p:nvPr/>
          </p:nvSpPr>
          <p:spPr>
            <a:xfrm>
              <a:off x="11349757" y="1150560"/>
              <a:ext cx="4790" cy="112240"/>
            </a:xfrm>
            <a:custGeom>
              <a:avLst/>
              <a:gdLst>
                <a:gd name="connsiteX0" fmla="*/ 0 w 4790"/>
                <a:gd name="connsiteY0" fmla="*/ 112241 h 112240"/>
                <a:gd name="connsiteX1" fmla="*/ 0 w 4790"/>
                <a:gd name="connsiteY1" fmla="*/ 0 h 1122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790" h="112240">
                  <a:moveTo>
                    <a:pt x="0" y="112241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09" name="Forma livre: Forma 1008">
              <a:extLst>
                <a:ext uri="{FF2B5EF4-FFF2-40B4-BE49-F238E27FC236}">
                  <a16:creationId xmlns:a16="http://schemas.microsoft.com/office/drawing/2014/main" id="{CA00DC8C-FECB-A050-E653-C5A2C3F544F1}"/>
                </a:ext>
              </a:extLst>
            </p:cNvPr>
            <p:cNvSpPr/>
            <p:nvPr/>
          </p:nvSpPr>
          <p:spPr>
            <a:xfrm>
              <a:off x="11382380" y="1169195"/>
              <a:ext cx="4790" cy="93605"/>
            </a:xfrm>
            <a:custGeom>
              <a:avLst/>
              <a:gdLst>
                <a:gd name="connsiteX0" fmla="*/ 0 w 4790"/>
                <a:gd name="connsiteY0" fmla="*/ 93606 h 93605"/>
                <a:gd name="connsiteX1" fmla="*/ 0 w 4790"/>
                <a:gd name="connsiteY1" fmla="*/ 0 h 936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790" h="93605">
                  <a:moveTo>
                    <a:pt x="0" y="93606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10" name="Forma livre: Forma 1009">
              <a:extLst>
                <a:ext uri="{FF2B5EF4-FFF2-40B4-BE49-F238E27FC236}">
                  <a16:creationId xmlns:a16="http://schemas.microsoft.com/office/drawing/2014/main" id="{B0DC8263-9F3F-E379-6737-EDA24CED5096}"/>
                </a:ext>
              </a:extLst>
            </p:cNvPr>
            <p:cNvSpPr/>
            <p:nvPr/>
          </p:nvSpPr>
          <p:spPr>
            <a:xfrm>
              <a:off x="11414956" y="1166943"/>
              <a:ext cx="4790" cy="95857"/>
            </a:xfrm>
            <a:custGeom>
              <a:avLst/>
              <a:gdLst>
                <a:gd name="connsiteX0" fmla="*/ 0 w 4790"/>
                <a:gd name="connsiteY0" fmla="*/ 95857 h 95857"/>
                <a:gd name="connsiteX1" fmla="*/ 0 w 4790"/>
                <a:gd name="connsiteY1" fmla="*/ 0 h 95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790" h="95857">
                  <a:moveTo>
                    <a:pt x="0" y="95857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11" name="Forma livre: Forma 1010">
              <a:extLst>
                <a:ext uri="{FF2B5EF4-FFF2-40B4-BE49-F238E27FC236}">
                  <a16:creationId xmlns:a16="http://schemas.microsoft.com/office/drawing/2014/main" id="{A90B0A4B-5F8A-DD13-C196-FD210F62F913}"/>
                </a:ext>
              </a:extLst>
            </p:cNvPr>
            <p:cNvSpPr/>
            <p:nvPr/>
          </p:nvSpPr>
          <p:spPr>
            <a:xfrm>
              <a:off x="11447531" y="1137530"/>
              <a:ext cx="4790" cy="125270"/>
            </a:xfrm>
            <a:custGeom>
              <a:avLst/>
              <a:gdLst>
                <a:gd name="connsiteX0" fmla="*/ 0 w 4790"/>
                <a:gd name="connsiteY0" fmla="*/ 125271 h 125270"/>
                <a:gd name="connsiteX1" fmla="*/ 0 w 4790"/>
                <a:gd name="connsiteY1" fmla="*/ 0 h 1252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790" h="125270">
                  <a:moveTo>
                    <a:pt x="0" y="125271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12" name="Forma livre: Forma 1011">
              <a:extLst>
                <a:ext uri="{FF2B5EF4-FFF2-40B4-BE49-F238E27FC236}">
                  <a16:creationId xmlns:a16="http://schemas.microsoft.com/office/drawing/2014/main" id="{F612C47A-0AEE-EAA1-07CE-A40291F17A36}"/>
                </a:ext>
              </a:extLst>
            </p:cNvPr>
            <p:cNvSpPr/>
            <p:nvPr/>
          </p:nvSpPr>
          <p:spPr>
            <a:xfrm>
              <a:off x="11480154" y="1132404"/>
              <a:ext cx="4790" cy="130396"/>
            </a:xfrm>
            <a:custGeom>
              <a:avLst/>
              <a:gdLst>
                <a:gd name="connsiteX0" fmla="*/ 0 w 4790"/>
                <a:gd name="connsiteY0" fmla="*/ 130396 h 130396"/>
                <a:gd name="connsiteX1" fmla="*/ 0 w 4790"/>
                <a:gd name="connsiteY1" fmla="*/ 0 h 130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790" h="130396">
                  <a:moveTo>
                    <a:pt x="0" y="130396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13" name="Forma livre: Forma 1012">
              <a:extLst>
                <a:ext uri="{FF2B5EF4-FFF2-40B4-BE49-F238E27FC236}">
                  <a16:creationId xmlns:a16="http://schemas.microsoft.com/office/drawing/2014/main" id="{186C6BB3-ACCB-6894-CB77-2165F2531473}"/>
                </a:ext>
              </a:extLst>
            </p:cNvPr>
            <p:cNvSpPr/>
            <p:nvPr/>
          </p:nvSpPr>
          <p:spPr>
            <a:xfrm>
              <a:off x="11242403" y="1069074"/>
              <a:ext cx="238421" cy="125126"/>
            </a:xfrm>
            <a:custGeom>
              <a:avLst/>
              <a:gdLst>
                <a:gd name="connsiteX0" fmla="*/ 0 w 238421"/>
                <a:gd name="connsiteY0" fmla="*/ 125127 h 125126"/>
                <a:gd name="connsiteX1" fmla="*/ 86612 w 238421"/>
                <a:gd name="connsiteY1" fmla="*/ 38036 h 125126"/>
                <a:gd name="connsiteX2" fmla="*/ 154876 w 238421"/>
                <a:gd name="connsiteY2" fmla="*/ 80528 h 125126"/>
                <a:gd name="connsiteX3" fmla="*/ 238421 w 238421"/>
                <a:gd name="connsiteY3" fmla="*/ 0 h 1251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8421" h="125126">
                  <a:moveTo>
                    <a:pt x="0" y="125127"/>
                  </a:moveTo>
                  <a:lnTo>
                    <a:pt x="86612" y="38036"/>
                  </a:lnTo>
                  <a:lnTo>
                    <a:pt x="154876" y="80528"/>
                  </a:lnTo>
                  <a:lnTo>
                    <a:pt x="238421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14" name="Forma livre: Forma 1013">
              <a:extLst>
                <a:ext uri="{FF2B5EF4-FFF2-40B4-BE49-F238E27FC236}">
                  <a16:creationId xmlns:a16="http://schemas.microsoft.com/office/drawing/2014/main" id="{247EE021-00C0-E688-CB8D-24255BDFC526}"/>
                </a:ext>
              </a:extLst>
            </p:cNvPr>
            <p:cNvSpPr/>
            <p:nvPr/>
          </p:nvSpPr>
          <p:spPr>
            <a:xfrm>
              <a:off x="11439291" y="1069074"/>
              <a:ext cx="41533" cy="41485"/>
            </a:xfrm>
            <a:custGeom>
              <a:avLst/>
              <a:gdLst>
                <a:gd name="connsiteX0" fmla="*/ 41533 w 41533"/>
                <a:gd name="connsiteY0" fmla="*/ 41485 h 41485"/>
                <a:gd name="connsiteX1" fmla="*/ 41533 w 41533"/>
                <a:gd name="connsiteY1" fmla="*/ 0 h 41485"/>
                <a:gd name="connsiteX2" fmla="*/ 0 w 41533"/>
                <a:gd name="connsiteY2" fmla="*/ 0 h 414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1533" h="41485">
                  <a:moveTo>
                    <a:pt x="41533" y="41485"/>
                  </a:moveTo>
                  <a:lnTo>
                    <a:pt x="41533" y="0"/>
                  </a:lnTo>
                  <a:lnTo>
                    <a:pt x="0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15" name="Forma livre: Forma 1014">
              <a:extLst>
                <a:ext uri="{FF2B5EF4-FFF2-40B4-BE49-F238E27FC236}">
                  <a16:creationId xmlns:a16="http://schemas.microsoft.com/office/drawing/2014/main" id="{1DF22512-D056-9056-9007-D2BB9014EFCD}"/>
                </a:ext>
              </a:extLst>
            </p:cNvPr>
            <p:cNvSpPr/>
            <p:nvPr/>
          </p:nvSpPr>
          <p:spPr>
            <a:xfrm>
              <a:off x="11219265" y="1047325"/>
              <a:ext cx="285846" cy="243020"/>
            </a:xfrm>
            <a:custGeom>
              <a:avLst/>
              <a:gdLst>
                <a:gd name="connsiteX0" fmla="*/ 285847 w 285846"/>
                <a:gd name="connsiteY0" fmla="*/ 243020 h 243020"/>
                <a:gd name="connsiteX1" fmla="*/ 0 w 285846"/>
                <a:gd name="connsiteY1" fmla="*/ 243020 h 243020"/>
                <a:gd name="connsiteX2" fmla="*/ 0 w 285846"/>
                <a:gd name="connsiteY2" fmla="*/ 0 h 2430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85846" h="243020">
                  <a:moveTo>
                    <a:pt x="285847" y="243020"/>
                  </a:moveTo>
                  <a:lnTo>
                    <a:pt x="0" y="243020"/>
                  </a:lnTo>
                  <a:lnTo>
                    <a:pt x="0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016" name="Gráfico 16">
            <a:extLst>
              <a:ext uri="{FF2B5EF4-FFF2-40B4-BE49-F238E27FC236}">
                <a16:creationId xmlns:a16="http://schemas.microsoft.com/office/drawing/2014/main" id="{0E9FD670-4915-A9D6-1257-86CB1E075688}"/>
              </a:ext>
            </a:extLst>
          </p:cNvPr>
          <p:cNvGrpSpPr/>
          <p:nvPr/>
        </p:nvGrpSpPr>
        <p:grpSpPr>
          <a:xfrm>
            <a:off x="10607093" y="989457"/>
            <a:ext cx="259834" cy="358757"/>
            <a:chOff x="10607093" y="989457"/>
            <a:chExt cx="259834" cy="358757"/>
          </a:xfrm>
          <a:noFill/>
        </p:grpSpPr>
        <p:sp>
          <p:nvSpPr>
            <p:cNvPr id="1017" name="Forma livre: Forma 1016">
              <a:extLst>
                <a:ext uri="{FF2B5EF4-FFF2-40B4-BE49-F238E27FC236}">
                  <a16:creationId xmlns:a16="http://schemas.microsoft.com/office/drawing/2014/main" id="{FA432AED-C3F2-E3A0-3234-5BA443CF2FA2}"/>
                </a:ext>
              </a:extLst>
            </p:cNvPr>
            <p:cNvSpPr/>
            <p:nvPr/>
          </p:nvSpPr>
          <p:spPr>
            <a:xfrm>
              <a:off x="10607093" y="1223902"/>
              <a:ext cx="98539" cy="55521"/>
            </a:xfrm>
            <a:custGeom>
              <a:avLst/>
              <a:gdLst>
                <a:gd name="connsiteX0" fmla="*/ 98540 w 98539"/>
                <a:gd name="connsiteY0" fmla="*/ 26874 h 55521"/>
                <a:gd name="connsiteX1" fmla="*/ 49294 w 98539"/>
                <a:gd name="connsiteY1" fmla="*/ 55521 h 55521"/>
                <a:gd name="connsiteX2" fmla="*/ 0 w 98539"/>
                <a:gd name="connsiteY2" fmla="*/ 26874 h 55521"/>
                <a:gd name="connsiteX3" fmla="*/ 50156 w 98539"/>
                <a:gd name="connsiteY3" fmla="*/ 0 h 55521"/>
                <a:gd name="connsiteX4" fmla="*/ 98540 w 98539"/>
                <a:gd name="connsiteY4" fmla="*/ 26874 h 555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8539" h="55521">
                  <a:moveTo>
                    <a:pt x="98540" y="26874"/>
                  </a:moveTo>
                  <a:lnTo>
                    <a:pt x="49294" y="55521"/>
                  </a:lnTo>
                  <a:lnTo>
                    <a:pt x="0" y="26874"/>
                  </a:lnTo>
                  <a:lnTo>
                    <a:pt x="50156" y="0"/>
                  </a:lnTo>
                  <a:lnTo>
                    <a:pt x="98540" y="26874"/>
                  </a:ln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18" name="Forma livre: Forma 1017">
              <a:extLst>
                <a:ext uri="{FF2B5EF4-FFF2-40B4-BE49-F238E27FC236}">
                  <a16:creationId xmlns:a16="http://schemas.microsoft.com/office/drawing/2014/main" id="{89EAA137-8B51-36B0-D274-3C002DCF735D}"/>
                </a:ext>
              </a:extLst>
            </p:cNvPr>
            <p:cNvSpPr/>
            <p:nvPr/>
          </p:nvSpPr>
          <p:spPr>
            <a:xfrm>
              <a:off x="10607093" y="1317843"/>
              <a:ext cx="98539" cy="30371"/>
            </a:xfrm>
            <a:custGeom>
              <a:avLst/>
              <a:gdLst>
                <a:gd name="connsiteX0" fmla="*/ 98540 w 98539"/>
                <a:gd name="connsiteY0" fmla="*/ 0 h 30371"/>
                <a:gd name="connsiteX1" fmla="*/ 49294 w 98539"/>
                <a:gd name="connsiteY1" fmla="*/ 30372 h 30371"/>
                <a:gd name="connsiteX2" fmla="*/ 0 w 98539"/>
                <a:gd name="connsiteY2" fmla="*/ 1725 h 303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8539" h="30371">
                  <a:moveTo>
                    <a:pt x="98540" y="0"/>
                  </a:moveTo>
                  <a:lnTo>
                    <a:pt x="49294" y="30372"/>
                  </a:lnTo>
                  <a:lnTo>
                    <a:pt x="0" y="1725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19" name="Forma livre: Forma 1018">
              <a:extLst>
                <a:ext uri="{FF2B5EF4-FFF2-40B4-BE49-F238E27FC236}">
                  <a16:creationId xmlns:a16="http://schemas.microsoft.com/office/drawing/2014/main" id="{13B87CC2-96C7-6962-FD1F-04496FCF95AE}"/>
                </a:ext>
              </a:extLst>
            </p:cNvPr>
            <p:cNvSpPr/>
            <p:nvPr/>
          </p:nvSpPr>
          <p:spPr>
            <a:xfrm>
              <a:off x="10707980" y="1282776"/>
              <a:ext cx="28024" cy="16287"/>
            </a:xfrm>
            <a:custGeom>
              <a:avLst/>
              <a:gdLst>
                <a:gd name="connsiteX0" fmla="*/ 28024 w 28024"/>
                <a:gd name="connsiteY0" fmla="*/ 16288 h 16287"/>
                <a:gd name="connsiteX1" fmla="*/ 0 w 28024"/>
                <a:gd name="connsiteY1" fmla="*/ 0 h 162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8024" h="16287">
                  <a:moveTo>
                    <a:pt x="28024" y="16288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20" name="Forma livre: Forma 1019">
              <a:extLst>
                <a:ext uri="{FF2B5EF4-FFF2-40B4-BE49-F238E27FC236}">
                  <a16:creationId xmlns:a16="http://schemas.microsoft.com/office/drawing/2014/main" id="{77EAEE8E-A129-0F11-6D8D-C50C13CE8302}"/>
                </a:ext>
              </a:extLst>
            </p:cNvPr>
            <p:cNvSpPr/>
            <p:nvPr/>
          </p:nvSpPr>
          <p:spPr>
            <a:xfrm>
              <a:off x="10786112" y="1230081"/>
              <a:ext cx="31233" cy="18443"/>
            </a:xfrm>
            <a:custGeom>
              <a:avLst/>
              <a:gdLst>
                <a:gd name="connsiteX0" fmla="*/ 31234 w 31233"/>
                <a:gd name="connsiteY0" fmla="*/ 18443 h 18443"/>
                <a:gd name="connsiteX1" fmla="*/ 0 w 31233"/>
                <a:gd name="connsiteY1" fmla="*/ 0 h 184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1233" h="18443">
                  <a:moveTo>
                    <a:pt x="31234" y="18443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21" name="Forma livre: Forma 1020">
              <a:extLst>
                <a:ext uri="{FF2B5EF4-FFF2-40B4-BE49-F238E27FC236}">
                  <a16:creationId xmlns:a16="http://schemas.microsoft.com/office/drawing/2014/main" id="{3F7E8337-13FF-DC30-798E-FAC6836EF864}"/>
                </a:ext>
              </a:extLst>
            </p:cNvPr>
            <p:cNvSpPr/>
            <p:nvPr/>
          </p:nvSpPr>
          <p:spPr>
            <a:xfrm>
              <a:off x="10607093" y="1250537"/>
              <a:ext cx="4790" cy="68934"/>
            </a:xfrm>
            <a:custGeom>
              <a:avLst/>
              <a:gdLst>
                <a:gd name="connsiteX0" fmla="*/ 0 w 4790"/>
                <a:gd name="connsiteY0" fmla="*/ 0 h 68934"/>
                <a:gd name="connsiteX1" fmla="*/ 0 w 4790"/>
                <a:gd name="connsiteY1" fmla="*/ 68935 h 68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790" h="68934">
                  <a:moveTo>
                    <a:pt x="0" y="0"/>
                  </a:moveTo>
                  <a:lnTo>
                    <a:pt x="0" y="68935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22" name="Forma livre: Forma 1021">
              <a:extLst>
                <a:ext uri="{FF2B5EF4-FFF2-40B4-BE49-F238E27FC236}">
                  <a16:creationId xmlns:a16="http://schemas.microsoft.com/office/drawing/2014/main" id="{3E5F8011-7C68-1507-54E4-CA6166B0221A}"/>
                </a:ext>
              </a:extLst>
            </p:cNvPr>
            <p:cNvSpPr/>
            <p:nvPr/>
          </p:nvSpPr>
          <p:spPr>
            <a:xfrm>
              <a:off x="10705680" y="1250537"/>
              <a:ext cx="4790" cy="67305"/>
            </a:xfrm>
            <a:custGeom>
              <a:avLst/>
              <a:gdLst>
                <a:gd name="connsiteX0" fmla="*/ 0 w 4790"/>
                <a:gd name="connsiteY0" fmla="*/ 0 h 67305"/>
                <a:gd name="connsiteX1" fmla="*/ 0 w 4790"/>
                <a:gd name="connsiteY1" fmla="*/ 67306 h 673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790" h="67305">
                  <a:moveTo>
                    <a:pt x="0" y="0"/>
                  </a:moveTo>
                  <a:lnTo>
                    <a:pt x="0" y="67306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23" name="Forma livre: Forma 1022">
              <a:extLst>
                <a:ext uri="{FF2B5EF4-FFF2-40B4-BE49-F238E27FC236}">
                  <a16:creationId xmlns:a16="http://schemas.microsoft.com/office/drawing/2014/main" id="{7265E245-1DB6-0724-75BE-6F72013FF1B0}"/>
                </a:ext>
              </a:extLst>
            </p:cNvPr>
            <p:cNvSpPr/>
            <p:nvPr/>
          </p:nvSpPr>
          <p:spPr>
            <a:xfrm>
              <a:off x="10656578" y="1279423"/>
              <a:ext cx="4790" cy="68791"/>
            </a:xfrm>
            <a:custGeom>
              <a:avLst/>
              <a:gdLst>
                <a:gd name="connsiteX0" fmla="*/ 0 w 4790"/>
                <a:gd name="connsiteY0" fmla="*/ 0 h 68791"/>
                <a:gd name="connsiteX1" fmla="*/ 0 w 4790"/>
                <a:gd name="connsiteY1" fmla="*/ 68791 h 687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790" h="68791">
                  <a:moveTo>
                    <a:pt x="0" y="0"/>
                  </a:moveTo>
                  <a:lnTo>
                    <a:pt x="0" y="68791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24" name="Forma livre: Forma 1023">
              <a:extLst>
                <a:ext uri="{FF2B5EF4-FFF2-40B4-BE49-F238E27FC236}">
                  <a16:creationId xmlns:a16="http://schemas.microsoft.com/office/drawing/2014/main" id="{5EC9256E-5F35-41BA-9F87-137DB62006C2}"/>
                </a:ext>
              </a:extLst>
            </p:cNvPr>
            <p:cNvSpPr/>
            <p:nvPr/>
          </p:nvSpPr>
          <p:spPr>
            <a:xfrm>
              <a:off x="10687237" y="1101745"/>
              <a:ext cx="98491" cy="55521"/>
            </a:xfrm>
            <a:custGeom>
              <a:avLst/>
              <a:gdLst>
                <a:gd name="connsiteX0" fmla="*/ 98492 w 98491"/>
                <a:gd name="connsiteY0" fmla="*/ 26874 h 55521"/>
                <a:gd name="connsiteX1" fmla="*/ 49246 w 98491"/>
                <a:gd name="connsiteY1" fmla="*/ 55521 h 55521"/>
                <a:gd name="connsiteX2" fmla="*/ 0 w 98491"/>
                <a:gd name="connsiteY2" fmla="*/ 26874 h 55521"/>
                <a:gd name="connsiteX3" fmla="*/ 50156 w 98491"/>
                <a:gd name="connsiteY3" fmla="*/ 0 h 55521"/>
                <a:gd name="connsiteX4" fmla="*/ 98492 w 98491"/>
                <a:gd name="connsiteY4" fmla="*/ 26874 h 555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8491" h="55521">
                  <a:moveTo>
                    <a:pt x="98492" y="26874"/>
                  </a:moveTo>
                  <a:lnTo>
                    <a:pt x="49246" y="55521"/>
                  </a:lnTo>
                  <a:lnTo>
                    <a:pt x="0" y="26874"/>
                  </a:lnTo>
                  <a:lnTo>
                    <a:pt x="50156" y="0"/>
                  </a:lnTo>
                  <a:lnTo>
                    <a:pt x="98492" y="26874"/>
                  </a:ln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25" name="Forma livre: Forma 1024">
              <a:extLst>
                <a:ext uri="{FF2B5EF4-FFF2-40B4-BE49-F238E27FC236}">
                  <a16:creationId xmlns:a16="http://schemas.microsoft.com/office/drawing/2014/main" id="{295AD366-209D-C699-6516-4256E9F7E0DA}"/>
                </a:ext>
              </a:extLst>
            </p:cNvPr>
            <p:cNvSpPr/>
            <p:nvPr/>
          </p:nvSpPr>
          <p:spPr>
            <a:xfrm>
              <a:off x="10687237" y="1128619"/>
              <a:ext cx="4790" cy="84407"/>
            </a:xfrm>
            <a:custGeom>
              <a:avLst/>
              <a:gdLst>
                <a:gd name="connsiteX0" fmla="*/ 0 w 4790"/>
                <a:gd name="connsiteY0" fmla="*/ 0 h 84407"/>
                <a:gd name="connsiteX1" fmla="*/ 0 w 4790"/>
                <a:gd name="connsiteY1" fmla="*/ 84408 h 844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790" h="84407">
                  <a:moveTo>
                    <a:pt x="0" y="0"/>
                  </a:moveTo>
                  <a:lnTo>
                    <a:pt x="0" y="84408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26" name="Forma livre: Forma 1025">
              <a:extLst>
                <a:ext uri="{FF2B5EF4-FFF2-40B4-BE49-F238E27FC236}">
                  <a16:creationId xmlns:a16="http://schemas.microsoft.com/office/drawing/2014/main" id="{34508A54-8166-B427-1F7E-7FBD41683282}"/>
                </a:ext>
              </a:extLst>
            </p:cNvPr>
            <p:cNvSpPr/>
            <p:nvPr/>
          </p:nvSpPr>
          <p:spPr>
            <a:xfrm>
              <a:off x="10785729" y="1128619"/>
              <a:ext cx="4790" cy="139546"/>
            </a:xfrm>
            <a:custGeom>
              <a:avLst/>
              <a:gdLst>
                <a:gd name="connsiteX0" fmla="*/ 0 w 4790"/>
                <a:gd name="connsiteY0" fmla="*/ 0 h 139546"/>
                <a:gd name="connsiteX1" fmla="*/ 0 w 4790"/>
                <a:gd name="connsiteY1" fmla="*/ 139546 h 1395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790" h="139546">
                  <a:moveTo>
                    <a:pt x="0" y="0"/>
                  </a:moveTo>
                  <a:lnTo>
                    <a:pt x="0" y="139546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27" name="Forma livre: Forma 1026">
              <a:extLst>
                <a:ext uri="{FF2B5EF4-FFF2-40B4-BE49-F238E27FC236}">
                  <a16:creationId xmlns:a16="http://schemas.microsoft.com/office/drawing/2014/main" id="{FF3DAE72-7E0B-9FD0-478B-5482CA984E1B}"/>
                </a:ext>
              </a:extLst>
            </p:cNvPr>
            <p:cNvSpPr/>
            <p:nvPr/>
          </p:nvSpPr>
          <p:spPr>
            <a:xfrm>
              <a:off x="10736148" y="1157123"/>
              <a:ext cx="4790" cy="141797"/>
            </a:xfrm>
            <a:custGeom>
              <a:avLst/>
              <a:gdLst>
                <a:gd name="connsiteX0" fmla="*/ 0 w 4790"/>
                <a:gd name="connsiteY0" fmla="*/ 0 h 141797"/>
                <a:gd name="connsiteX1" fmla="*/ 0 w 4790"/>
                <a:gd name="connsiteY1" fmla="*/ 141798 h 141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790" h="141797">
                  <a:moveTo>
                    <a:pt x="0" y="0"/>
                  </a:moveTo>
                  <a:lnTo>
                    <a:pt x="0" y="141798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28" name="Forma livre: Forma 1027">
              <a:extLst>
                <a:ext uri="{FF2B5EF4-FFF2-40B4-BE49-F238E27FC236}">
                  <a16:creationId xmlns:a16="http://schemas.microsoft.com/office/drawing/2014/main" id="{83D95639-6ECC-93A8-CB13-0EB7CBB03E38}"/>
                </a:ext>
              </a:extLst>
            </p:cNvPr>
            <p:cNvSpPr/>
            <p:nvPr/>
          </p:nvSpPr>
          <p:spPr>
            <a:xfrm>
              <a:off x="10768435" y="989457"/>
              <a:ext cx="98491" cy="55521"/>
            </a:xfrm>
            <a:custGeom>
              <a:avLst/>
              <a:gdLst>
                <a:gd name="connsiteX0" fmla="*/ 98492 w 98491"/>
                <a:gd name="connsiteY0" fmla="*/ 26874 h 55521"/>
                <a:gd name="connsiteX1" fmla="*/ 49246 w 98491"/>
                <a:gd name="connsiteY1" fmla="*/ 55521 h 55521"/>
                <a:gd name="connsiteX2" fmla="*/ 0 w 98491"/>
                <a:gd name="connsiteY2" fmla="*/ 26874 h 55521"/>
                <a:gd name="connsiteX3" fmla="*/ 50156 w 98491"/>
                <a:gd name="connsiteY3" fmla="*/ 0 h 55521"/>
                <a:gd name="connsiteX4" fmla="*/ 98492 w 98491"/>
                <a:gd name="connsiteY4" fmla="*/ 26874 h 555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8491" h="55521">
                  <a:moveTo>
                    <a:pt x="98492" y="26874"/>
                  </a:moveTo>
                  <a:lnTo>
                    <a:pt x="49246" y="55521"/>
                  </a:lnTo>
                  <a:lnTo>
                    <a:pt x="0" y="26874"/>
                  </a:lnTo>
                  <a:lnTo>
                    <a:pt x="50156" y="0"/>
                  </a:lnTo>
                  <a:lnTo>
                    <a:pt x="98492" y="26874"/>
                  </a:ln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29" name="Forma livre: Forma 1028">
              <a:extLst>
                <a:ext uri="{FF2B5EF4-FFF2-40B4-BE49-F238E27FC236}">
                  <a16:creationId xmlns:a16="http://schemas.microsoft.com/office/drawing/2014/main" id="{E380F151-A991-7CF9-D0A3-56238DB887D4}"/>
                </a:ext>
              </a:extLst>
            </p:cNvPr>
            <p:cNvSpPr/>
            <p:nvPr/>
          </p:nvSpPr>
          <p:spPr>
            <a:xfrm>
              <a:off x="10768435" y="1016571"/>
              <a:ext cx="4790" cy="75162"/>
            </a:xfrm>
            <a:custGeom>
              <a:avLst/>
              <a:gdLst>
                <a:gd name="connsiteX0" fmla="*/ 0 w 4790"/>
                <a:gd name="connsiteY0" fmla="*/ 0 h 75162"/>
                <a:gd name="connsiteX1" fmla="*/ 0 w 4790"/>
                <a:gd name="connsiteY1" fmla="*/ 75162 h 751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790" h="75162">
                  <a:moveTo>
                    <a:pt x="0" y="0"/>
                  </a:moveTo>
                  <a:lnTo>
                    <a:pt x="0" y="75162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30" name="Forma livre: Forma 1029">
              <a:extLst>
                <a:ext uri="{FF2B5EF4-FFF2-40B4-BE49-F238E27FC236}">
                  <a16:creationId xmlns:a16="http://schemas.microsoft.com/office/drawing/2014/main" id="{CA53B02C-4FEC-52FE-9BB6-9A0A3F888D90}"/>
                </a:ext>
              </a:extLst>
            </p:cNvPr>
            <p:cNvSpPr/>
            <p:nvPr/>
          </p:nvSpPr>
          <p:spPr>
            <a:xfrm>
              <a:off x="10817298" y="1045553"/>
              <a:ext cx="4790" cy="201870"/>
            </a:xfrm>
            <a:custGeom>
              <a:avLst/>
              <a:gdLst>
                <a:gd name="connsiteX0" fmla="*/ 0 w 4790"/>
                <a:gd name="connsiteY0" fmla="*/ 0 h 201870"/>
                <a:gd name="connsiteX1" fmla="*/ 0 w 4790"/>
                <a:gd name="connsiteY1" fmla="*/ 201870 h 2018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790" h="201870">
                  <a:moveTo>
                    <a:pt x="0" y="0"/>
                  </a:moveTo>
                  <a:lnTo>
                    <a:pt x="0" y="20187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31" name="Forma livre: Forma 1030">
              <a:extLst>
                <a:ext uri="{FF2B5EF4-FFF2-40B4-BE49-F238E27FC236}">
                  <a16:creationId xmlns:a16="http://schemas.microsoft.com/office/drawing/2014/main" id="{19396AF0-DE98-3D33-BD6A-9DC592A66998}"/>
                </a:ext>
              </a:extLst>
            </p:cNvPr>
            <p:cNvSpPr/>
            <p:nvPr/>
          </p:nvSpPr>
          <p:spPr>
            <a:xfrm>
              <a:off x="10866927" y="1016092"/>
              <a:ext cx="4790" cy="202109"/>
            </a:xfrm>
            <a:custGeom>
              <a:avLst/>
              <a:gdLst>
                <a:gd name="connsiteX0" fmla="*/ 0 w 4790"/>
                <a:gd name="connsiteY0" fmla="*/ 0 h 202109"/>
                <a:gd name="connsiteX1" fmla="*/ 0 w 4790"/>
                <a:gd name="connsiteY1" fmla="*/ 202110 h 2021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790" h="202109">
                  <a:moveTo>
                    <a:pt x="0" y="0"/>
                  </a:moveTo>
                  <a:lnTo>
                    <a:pt x="0" y="20211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32" name="Forma livre: Forma 1031">
              <a:extLst>
                <a:ext uri="{FF2B5EF4-FFF2-40B4-BE49-F238E27FC236}">
                  <a16:creationId xmlns:a16="http://schemas.microsoft.com/office/drawing/2014/main" id="{17289EDD-912D-FA07-1298-647CA6C1D575}"/>
                </a:ext>
              </a:extLst>
            </p:cNvPr>
            <p:cNvSpPr/>
            <p:nvPr/>
          </p:nvSpPr>
          <p:spPr>
            <a:xfrm>
              <a:off x="10736243" y="1268501"/>
              <a:ext cx="49389" cy="30467"/>
            </a:xfrm>
            <a:custGeom>
              <a:avLst/>
              <a:gdLst>
                <a:gd name="connsiteX0" fmla="*/ 0 w 49389"/>
                <a:gd name="connsiteY0" fmla="*/ 30467 h 30467"/>
                <a:gd name="connsiteX1" fmla="*/ 49390 w 49389"/>
                <a:gd name="connsiteY1" fmla="*/ 0 h 304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9389" h="30467">
                  <a:moveTo>
                    <a:pt x="0" y="30467"/>
                  </a:moveTo>
                  <a:lnTo>
                    <a:pt x="4939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33" name="Forma livre: Forma 1032">
              <a:extLst>
                <a:ext uri="{FF2B5EF4-FFF2-40B4-BE49-F238E27FC236}">
                  <a16:creationId xmlns:a16="http://schemas.microsoft.com/office/drawing/2014/main" id="{18A83103-D958-CBD6-9A9A-E8A544AE08F7}"/>
                </a:ext>
              </a:extLst>
            </p:cNvPr>
            <p:cNvSpPr/>
            <p:nvPr/>
          </p:nvSpPr>
          <p:spPr>
            <a:xfrm>
              <a:off x="10817633" y="1218153"/>
              <a:ext cx="49245" cy="30467"/>
            </a:xfrm>
            <a:custGeom>
              <a:avLst/>
              <a:gdLst>
                <a:gd name="connsiteX0" fmla="*/ 0 w 49245"/>
                <a:gd name="connsiteY0" fmla="*/ 30467 h 30467"/>
                <a:gd name="connsiteX1" fmla="*/ 49246 w 49245"/>
                <a:gd name="connsiteY1" fmla="*/ 0 h 304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9245" h="30467">
                  <a:moveTo>
                    <a:pt x="0" y="30467"/>
                  </a:moveTo>
                  <a:lnTo>
                    <a:pt x="49246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049" name="Gráfico 18">
            <a:extLst>
              <a:ext uri="{FF2B5EF4-FFF2-40B4-BE49-F238E27FC236}">
                <a16:creationId xmlns:a16="http://schemas.microsoft.com/office/drawing/2014/main" id="{4DD415BB-9D1C-0387-9B8E-74066F9B6096}"/>
              </a:ext>
            </a:extLst>
          </p:cNvPr>
          <p:cNvGrpSpPr/>
          <p:nvPr/>
        </p:nvGrpSpPr>
        <p:grpSpPr>
          <a:xfrm>
            <a:off x="6435446" y="3643820"/>
            <a:ext cx="209238" cy="305515"/>
            <a:chOff x="6435446" y="3643820"/>
            <a:chExt cx="209238" cy="305515"/>
          </a:xfrm>
          <a:noFill/>
        </p:grpSpPr>
        <p:sp>
          <p:nvSpPr>
            <p:cNvPr id="1050" name="Forma livre: Forma 1049">
              <a:extLst>
                <a:ext uri="{FF2B5EF4-FFF2-40B4-BE49-F238E27FC236}">
                  <a16:creationId xmlns:a16="http://schemas.microsoft.com/office/drawing/2014/main" id="{4EDA2FC4-14DB-3CE8-A8D3-AD4F388405E5}"/>
                </a:ext>
              </a:extLst>
            </p:cNvPr>
            <p:cNvSpPr/>
            <p:nvPr/>
          </p:nvSpPr>
          <p:spPr>
            <a:xfrm>
              <a:off x="6485687" y="3643820"/>
              <a:ext cx="70624" cy="28379"/>
            </a:xfrm>
            <a:custGeom>
              <a:avLst/>
              <a:gdLst>
                <a:gd name="connsiteX0" fmla="*/ 0 w 70624"/>
                <a:gd name="connsiteY0" fmla="*/ 28379 h 28379"/>
                <a:gd name="connsiteX1" fmla="*/ 35451 w 70624"/>
                <a:gd name="connsiteY1" fmla="*/ 0 h 28379"/>
                <a:gd name="connsiteX2" fmla="*/ 70624 w 70624"/>
                <a:gd name="connsiteY2" fmla="*/ 26900 h 283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70624" h="28379">
                  <a:moveTo>
                    <a:pt x="0" y="28379"/>
                  </a:moveTo>
                  <a:cubicBezTo>
                    <a:pt x="2727" y="12295"/>
                    <a:pt x="17564" y="0"/>
                    <a:pt x="35451" y="0"/>
                  </a:cubicBezTo>
                  <a:cubicBezTo>
                    <a:pt x="53338" y="0"/>
                    <a:pt x="67250" y="11555"/>
                    <a:pt x="70624" y="2690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51" name="Forma livre: Forma 1050">
              <a:extLst>
                <a:ext uri="{FF2B5EF4-FFF2-40B4-BE49-F238E27FC236}">
                  <a16:creationId xmlns:a16="http://schemas.microsoft.com/office/drawing/2014/main" id="{8167C893-D165-75FB-7EC9-1F93A081AC57}"/>
                </a:ext>
              </a:extLst>
            </p:cNvPr>
            <p:cNvSpPr/>
            <p:nvPr/>
          </p:nvSpPr>
          <p:spPr>
            <a:xfrm>
              <a:off x="6443765" y="3672846"/>
              <a:ext cx="35913" cy="37854"/>
            </a:xfrm>
            <a:custGeom>
              <a:avLst/>
              <a:gdLst>
                <a:gd name="connsiteX0" fmla="*/ 277 w 35913"/>
                <a:gd name="connsiteY0" fmla="*/ 37854 h 37854"/>
                <a:gd name="connsiteX1" fmla="*/ 0 w 35913"/>
                <a:gd name="connsiteY1" fmla="*/ 33695 h 37854"/>
                <a:gd name="connsiteX2" fmla="*/ 35913 w 35913"/>
                <a:gd name="connsiteY2" fmla="*/ 0 h 378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5913" h="37854">
                  <a:moveTo>
                    <a:pt x="277" y="37854"/>
                  </a:moveTo>
                  <a:cubicBezTo>
                    <a:pt x="92" y="36514"/>
                    <a:pt x="0" y="35127"/>
                    <a:pt x="0" y="33695"/>
                  </a:cubicBezTo>
                  <a:cubicBezTo>
                    <a:pt x="0" y="15068"/>
                    <a:pt x="16085" y="0"/>
                    <a:pt x="35913" y="0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52" name="Forma livre: Forma 1051">
              <a:extLst>
                <a:ext uri="{FF2B5EF4-FFF2-40B4-BE49-F238E27FC236}">
                  <a16:creationId xmlns:a16="http://schemas.microsoft.com/office/drawing/2014/main" id="{96544000-495C-D733-357E-1C652757D274}"/>
                </a:ext>
              </a:extLst>
            </p:cNvPr>
            <p:cNvSpPr/>
            <p:nvPr/>
          </p:nvSpPr>
          <p:spPr>
            <a:xfrm>
              <a:off x="6562644" y="3672338"/>
              <a:ext cx="35913" cy="38362"/>
            </a:xfrm>
            <a:custGeom>
              <a:avLst/>
              <a:gdLst>
                <a:gd name="connsiteX0" fmla="*/ 0 w 35913"/>
                <a:gd name="connsiteY0" fmla="*/ 0 h 38362"/>
                <a:gd name="connsiteX1" fmla="*/ 35913 w 35913"/>
                <a:gd name="connsiteY1" fmla="*/ 34203 h 38362"/>
                <a:gd name="connsiteX2" fmla="*/ 35636 w 35913"/>
                <a:gd name="connsiteY2" fmla="*/ 38363 h 383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5913" h="38362">
                  <a:moveTo>
                    <a:pt x="0" y="0"/>
                  </a:moveTo>
                  <a:cubicBezTo>
                    <a:pt x="19828" y="0"/>
                    <a:pt x="35913" y="15622"/>
                    <a:pt x="35913" y="34203"/>
                  </a:cubicBezTo>
                  <a:cubicBezTo>
                    <a:pt x="35913" y="35590"/>
                    <a:pt x="35821" y="37022"/>
                    <a:pt x="35636" y="38363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53" name="Forma livre: Forma 1052">
              <a:extLst>
                <a:ext uri="{FF2B5EF4-FFF2-40B4-BE49-F238E27FC236}">
                  <a16:creationId xmlns:a16="http://schemas.microsoft.com/office/drawing/2014/main" id="{EB3ECE16-10E9-2FC7-6CE8-6EA3A2FB030E}"/>
                </a:ext>
              </a:extLst>
            </p:cNvPr>
            <p:cNvSpPr/>
            <p:nvPr/>
          </p:nvSpPr>
          <p:spPr>
            <a:xfrm>
              <a:off x="6604519" y="3766904"/>
              <a:ext cx="40165" cy="102516"/>
            </a:xfrm>
            <a:custGeom>
              <a:avLst/>
              <a:gdLst>
                <a:gd name="connsiteX0" fmla="*/ 0 w 40165"/>
                <a:gd name="connsiteY0" fmla="*/ 0 h 102516"/>
                <a:gd name="connsiteX1" fmla="*/ 17055 w 40165"/>
                <a:gd name="connsiteY1" fmla="*/ 0 h 102516"/>
                <a:gd name="connsiteX2" fmla="*/ 40165 w 40165"/>
                <a:gd name="connsiteY2" fmla="*/ 23110 h 102516"/>
                <a:gd name="connsiteX3" fmla="*/ 40165 w 40165"/>
                <a:gd name="connsiteY3" fmla="*/ 79406 h 102516"/>
                <a:gd name="connsiteX4" fmla="*/ 17055 w 40165"/>
                <a:gd name="connsiteY4" fmla="*/ 102516 h 102516"/>
                <a:gd name="connsiteX5" fmla="*/ 0 w 40165"/>
                <a:gd name="connsiteY5" fmla="*/ 102516 h 1025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0165" h="102516">
                  <a:moveTo>
                    <a:pt x="0" y="0"/>
                  </a:moveTo>
                  <a:lnTo>
                    <a:pt x="17055" y="0"/>
                  </a:lnTo>
                  <a:cubicBezTo>
                    <a:pt x="29766" y="0"/>
                    <a:pt x="40165" y="10400"/>
                    <a:pt x="40165" y="23110"/>
                  </a:cubicBezTo>
                  <a:lnTo>
                    <a:pt x="40165" y="79406"/>
                  </a:lnTo>
                  <a:cubicBezTo>
                    <a:pt x="40165" y="92117"/>
                    <a:pt x="29766" y="102516"/>
                    <a:pt x="17055" y="102516"/>
                  </a:cubicBezTo>
                  <a:lnTo>
                    <a:pt x="0" y="102516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54" name="Forma livre: Forma 1053">
              <a:extLst>
                <a:ext uri="{FF2B5EF4-FFF2-40B4-BE49-F238E27FC236}">
                  <a16:creationId xmlns:a16="http://schemas.microsoft.com/office/drawing/2014/main" id="{18F7A0E1-CF41-B67C-B372-489164675508}"/>
                </a:ext>
              </a:extLst>
            </p:cNvPr>
            <p:cNvSpPr/>
            <p:nvPr/>
          </p:nvSpPr>
          <p:spPr>
            <a:xfrm>
              <a:off x="6435446" y="3732655"/>
              <a:ext cx="168888" cy="216680"/>
            </a:xfrm>
            <a:custGeom>
              <a:avLst/>
              <a:gdLst>
                <a:gd name="connsiteX0" fmla="*/ 130249 w 168888"/>
                <a:gd name="connsiteY0" fmla="*/ 0 h 216680"/>
                <a:gd name="connsiteX1" fmla="*/ 168889 w 168888"/>
                <a:gd name="connsiteY1" fmla="*/ 0 h 216680"/>
                <a:gd name="connsiteX2" fmla="*/ 168889 w 168888"/>
                <a:gd name="connsiteY2" fmla="*/ 193570 h 216680"/>
                <a:gd name="connsiteX3" fmla="*/ 145779 w 168888"/>
                <a:gd name="connsiteY3" fmla="*/ 216680 h 216680"/>
                <a:gd name="connsiteX4" fmla="*/ 23110 w 168888"/>
                <a:gd name="connsiteY4" fmla="*/ 216680 h 216680"/>
                <a:gd name="connsiteX5" fmla="*/ 0 w 168888"/>
                <a:gd name="connsiteY5" fmla="*/ 193570 h 216680"/>
                <a:gd name="connsiteX6" fmla="*/ 0 w 168888"/>
                <a:gd name="connsiteY6" fmla="*/ 0 h 216680"/>
                <a:gd name="connsiteX7" fmla="*/ 79684 w 168888"/>
                <a:gd name="connsiteY7" fmla="*/ 0 h 2166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68888" h="216680">
                  <a:moveTo>
                    <a:pt x="130249" y="0"/>
                  </a:moveTo>
                  <a:lnTo>
                    <a:pt x="168889" y="0"/>
                  </a:lnTo>
                  <a:lnTo>
                    <a:pt x="168889" y="193570"/>
                  </a:lnTo>
                  <a:cubicBezTo>
                    <a:pt x="168889" y="206281"/>
                    <a:pt x="158489" y="216680"/>
                    <a:pt x="145779" y="216680"/>
                  </a:cubicBezTo>
                  <a:lnTo>
                    <a:pt x="23110" y="216680"/>
                  </a:lnTo>
                  <a:cubicBezTo>
                    <a:pt x="10400" y="216680"/>
                    <a:pt x="0" y="206281"/>
                    <a:pt x="0" y="193570"/>
                  </a:cubicBezTo>
                  <a:lnTo>
                    <a:pt x="0" y="0"/>
                  </a:lnTo>
                  <a:lnTo>
                    <a:pt x="79684" y="0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55" name="Forma livre: Forma 1054">
              <a:extLst>
                <a:ext uri="{FF2B5EF4-FFF2-40B4-BE49-F238E27FC236}">
                  <a16:creationId xmlns:a16="http://schemas.microsoft.com/office/drawing/2014/main" id="{4CCEB4B1-33EF-2517-146B-544784661B71}"/>
                </a:ext>
              </a:extLst>
            </p:cNvPr>
            <p:cNvSpPr/>
            <p:nvPr/>
          </p:nvSpPr>
          <p:spPr>
            <a:xfrm>
              <a:off x="6436463" y="3906489"/>
              <a:ext cx="166115" cy="4622"/>
            </a:xfrm>
            <a:custGeom>
              <a:avLst/>
              <a:gdLst>
                <a:gd name="connsiteX0" fmla="*/ 0 w 166115"/>
                <a:gd name="connsiteY0" fmla="*/ 0 h 4622"/>
                <a:gd name="connsiteX1" fmla="*/ 166115 w 166115"/>
                <a:gd name="connsiteY1" fmla="*/ 0 h 46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66115" h="4622">
                  <a:moveTo>
                    <a:pt x="0" y="0"/>
                  </a:moveTo>
                  <a:lnTo>
                    <a:pt x="166115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56" name="Forma livre: Forma 1055">
              <a:extLst>
                <a:ext uri="{FF2B5EF4-FFF2-40B4-BE49-F238E27FC236}">
                  <a16:creationId xmlns:a16="http://schemas.microsoft.com/office/drawing/2014/main" id="{448CC4FA-A36D-04A6-4E65-734ABA63A416}"/>
                </a:ext>
              </a:extLst>
            </p:cNvPr>
            <p:cNvSpPr/>
            <p:nvPr/>
          </p:nvSpPr>
          <p:spPr>
            <a:xfrm>
              <a:off x="6475888" y="3797641"/>
              <a:ext cx="4622" cy="107323"/>
            </a:xfrm>
            <a:custGeom>
              <a:avLst/>
              <a:gdLst>
                <a:gd name="connsiteX0" fmla="*/ 0 w 4622"/>
                <a:gd name="connsiteY0" fmla="*/ 107323 h 107323"/>
                <a:gd name="connsiteX1" fmla="*/ 0 w 4622"/>
                <a:gd name="connsiteY1" fmla="*/ 0 h 1073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622" h="107323">
                  <a:moveTo>
                    <a:pt x="0" y="107323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57" name="Forma livre: Forma 1056">
              <a:extLst>
                <a:ext uri="{FF2B5EF4-FFF2-40B4-BE49-F238E27FC236}">
                  <a16:creationId xmlns:a16="http://schemas.microsoft.com/office/drawing/2014/main" id="{CD1E3BF0-3C05-573C-75B2-ADF7746E5BBB}"/>
                </a:ext>
              </a:extLst>
            </p:cNvPr>
            <p:cNvSpPr/>
            <p:nvPr/>
          </p:nvSpPr>
          <p:spPr>
            <a:xfrm>
              <a:off x="6519151" y="3797641"/>
              <a:ext cx="4622" cy="107323"/>
            </a:xfrm>
            <a:custGeom>
              <a:avLst/>
              <a:gdLst>
                <a:gd name="connsiteX0" fmla="*/ 0 w 4622"/>
                <a:gd name="connsiteY0" fmla="*/ 107323 h 107323"/>
                <a:gd name="connsiteX1" fmla="*/ 0 w 4622"/>
                <a:gd name="connsiteY1" fmla="*/ 0 h 1073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622" h="107323">
                  <a:moveTo>
                    <a:pt x="0" y="107323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58" name="Forma livre: Forma 1057">
              <a:extLst>
                <a:ext uri="{FF2B5EF4-FFF2-40B4-BE49-F238E27FC236}">
                  <a16:creationId xmlns:a16="http://schemas.microsoft.com/office/drawing/2014/main" id="{25E18218-D8EB-45EB-1852-C819D2CA4C0E}"/>
                </a:ext>
              </a:extLst>
            </p:cNvPr>
            <p:cNvSpPr/>
            <p:nvPr/>
          </p:nvSpPr>
          <p:spPr>
            <a:xfrm>
              <a:off x="6562459" y="3797641"/>
              <a:ext cx="4622" cy="107323"/>
            </a:xfrm>
            <a:custGeom>
              <a:avLst/>
              <a:gdLst>
                <a:gd name="connsiteX0" fmla="*/ 0 w 4622"/>
                <a:gd name="connsiteY0" fmla="*/ 107323 h 107323"/>
                <a:gd name="connsiteX1" fmla="*/ 0 w 4622"/>
                <a:gd name="connsiteY1" fmla="*/ 0 h 1073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622" h="107323">
                  <a:moveTo>
                    <a:pt x="0" y="107323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59" name="Forma livre: Forma 1058">
              <a:extLst>
                <a:ext uri="{FF2B5EF4-FFF2-40B4-BE49-F238E27FC236}">
                  <a16:creationId xmlns:a16="http://schemas.microsoft.com/office/drawing/2014/main" id="{4FD26E91-1BE4-96A0-C10E-084E6FADDF5D}"/>
                </a:ext>
              </a:extLst>
            </p:cNvPr>
            <p:cNvSpPr/>
            <p:nvPr/>
          </p:nvSpPr>
          <p:spPr>
            <a:xfrm>
              <a:off x="6468262" y="3672745"/>
              <a:ext cx="32169" cy="8236"/>
            </a:xfrm>
            <a:custGeom>
              <a:avLst/>
              <a:gdLst>
                <a:gd name="connsiteX0" fmla="*/ 0 w 32169"/>
                <a:gd name="connsiteY0" fmla="*/ 1858 h 8236"/>
                <a:gd name="connsiteX1" fmla="*/ 32169 w 32169"/>
                <a:gd name="connsiteY1" fmla="*/ 8236 h 8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2169" h="8236">
                  <a:moveTo>
                    <a:pt x="0" y="1858"/>
                  </a:moveTo>
                  <a:cubicBezTo>
                    <a:pt x="0" y="1858"/>
                    <a:pt x="20938" y="-5214"/>
                    <a:pt x="32169" y="8236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60" name="Forma livre: Forma 1059">
              <a:extLst>
                <a:ext uri="{FF2B5EF4-FFF2-40B4-BE49-F238E27FC236}">
                  <a16:creationId xmlns:a16="http://schemas.microsoft.com/office/drawing/2014/main" id="{6E0EC7AD-AB4A-55C8-910B-9ACC8629DE97}"/>
                </a:ext>
              </a:extLst>
            </p:cNvPr>
            <p:cNvSpPr/>
            <p:nvPr/>
          </p:nvSpPr>
          <p:spPr>
            <a:xfrm>
              <a:off x="6538286" y="3672209"/>
              <a:ext cx="32169" cy="8772"/>
            </a:xfrm>
            <a:custGeom>
              <a:avLst/>
              <a:gdLst>
                <a:gd name="connsiteX0" fmla="*/ 32169 w 32169"/>
                <a:gd name="connsiteY0" fmla="*/ 1007 h 8772"/>
                <a:gd name="connsiteX1" fmla="*/ 0 w 32169"/>
                <a:gd name="connsiteY1" fmla="*/ 8772 h 87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2169" h="8772">
                  <a:moveTo>
                    <a:pt x="32169" y="1007"/>
                  </a:moveTo>
                  <a:cubicBezTo>
                    <a:pt x="32169" y="1007"/>
                    <a:pt x="11139" y="-4123"/>
                    <a:pt x="0" y="8772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61" name="Forma livre: Forma 1060">
              <a:extLst>
                <a:ext uri="{FF2B5EF4-FFF2-40B4-BE49-F238E27FC236}">
                  <a16:creationId xmlns:a16="http://schemas.microsoft.com/office/drawing/2014/main" id="{E52528C1-F5B9-5D49-951E-7445AE3E3A8F}"/>
                </a:ext>
              </a:extLst>
            </p:cNvPr>
            <p:cNvSpPr/>
            <p:nvPr/>
          </p:nvSpPr>
          <p:spPr>
            <a:xfrm>
              <a:off x="6505331" y="3711995"/>
              <a:ext cx="60548" cy="48788"/>
            </a:xfrm>
            <a:custGeom>
              <a:avLst/>
              <a:gdLst>
                <a:gd name="connsiteX0" fmla="*/ 0 w 60548"/>
                <a:gd name="connsiteY0" fmla="*/ 0 h 48788"/>
                <a:gd name="connsiteX1" fmla="*/ 12341 w 60548"/>
                <a:gd name="connsiteY1" fmla="*/ 29165 h 48788"/>
                <a:gd name="connsiteX2" fmla="*/ 38132 w 60548"/>
                <a:gd name="connsiteY2" fmla="*/ 48254 h 48788"/>
                <a:gd name="connsiteX3" fmla="*/ 60548 w 60548"/>
                <a:gd name="connsiteY3" fmla="*/ 11093 h 487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0548" h="48788">
                  <a:moveTo>
                    <a:pt x="0" y="0"/>
                  </a:moveTo>
                  <a:cubicBezTo>
                    <a:pt x="0" y="0"/>
                    <a:pt x="10076" y="10076"/>
                    <a:pt x="12341" y="29165"/>
                  </a:cubicBezTo>
                  <a:cubicBezTo>
                    <a:pt x="13635" y="40119"/>
                    <a:pt x="22787" y="51397"/>
                    <a:pt x="38132" y="48254"/>
                  </a:cubicBezTo>
                  <a:cubicBezTo>
                    <a:pt x="38132" y="48254"/>
                    <a:pt x="59162" y="46451"/>
                    <a:pt x="60548" y="11093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062" name="Gráfico 18">
            <a:extLst>
              <a:ext uri="{FF2B5EF4-FFF2-40B4-BE49-F238E27FC236}">
                <a16:creationId xmlns:a16="http://schemas.microsoft.com/office/drawing/2014/main" id="{0551139C-6B7D-B683-6756-9315BDF7C767}"/>
              </a:ext>
            </a:extLst>
          </p:cNvPr>
          <p:cNvGrpSpPr/>
          <p:nvPr/>
        </p:nvGrpSpPr>
        <p:grpSpPr>
          <a:xfrm>
            <a:off x="6366670" y="4181500"/>
            <a:ext cx="346829" cy="241177"/>
            <a:chOff x="6366670" y="4181500"/>
            <a:chExt cx="346829" cy="241177"/>
          </a:xfrm>
          <a:noFill/>
        </p:grpSpPr>
        <p:sp>
          <p:nvSpPr>
            <p:cNvPr id="1063" name="Forma livre: Forma 1062">
              <a:extLst>
                <a:ext uri="{FF2B5EF4-FFF2-40B4-BE49-F238E27FC236}">
                  <a16:creationId xmlns:a16="http://schemas.microsoft.com/office/drawing/2014/main" id="{B6AAC1DA-00A7-593E-4A06-1D8BBD2FC8B8}"/>
                </a:ext>
              </a:extLst>
            </p:cNvPr>
            <p:cNvSpPr/>
            <p:nvPr/>
          </p:nvSpPr>
          <p:spPr>
            <a:xfrm>
              <a:off x="6366670" y="4235623"/>
              <a:ext cx="77187" cy="137412"/>
            </a:xfrm>
            <a:custGeom>
              <a:avLst/>
              <a:gdLst>
                <a:gd name="connsiteX0" fmla="*/ 57868 w 77187"/>
                <a:gd name="connsiteY0" fmla="*/ 29766 h 137412"/>
                <a:gd name="connsiteX1" fmla="*/ 0 w 77187"/>
                <a:gd name="connsiteY1" fmla="*/ 0 h 137412"/>
                <a:gd name="connsiteX2" fmla="*/ 0 w 77187"/>
                <a:gd name="connsiteY2" fmla="*/ 35821 h 137412"/>
                <a:gd name="connsiteX3" fmla="*/ 29535 w 77187"/>
                <a:gd name="connsiteY3" fmla="*/ 75894 h 137412"/>
                <a:gd name="connsiteX4" fmla="*/ 72427 w 77187"/>
                <a:gd name="connsiteY4" fmla="*/ 136766 h 137412"/>
                <a:gd name="connsiteX5" fmla="*/ 77188 w 77187"/>
                <a:gd name="connsiteY5" fmla="*/ 137413 h 1374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7187" h="137412">
                  <a:moveTo>
                    <a:pt x="57868" y="29766"/>
                  </a:moveTo>
                  <a:cubicBezTo>
                    <a:pt x="33695" y="14652"/>
                    <a:pt x="0" y="0"/>
                    <a:pt x="0" y="0"/>
                  </a:cubicBezTo>
                  <a:lnTo>
                    <a:pt x="0" y="35821"/>
                  </a:lnTo>
                  <a:cubicBezTo>
                    <a:pt x="0" y="35821"/>
                    <a:pt x="26022" y="48485"/>
                    <a:pt x="29535" y="75894"/>
                  </a:cubicBezTo>
                  <a:cubicBezTo>
                    <a:pt x="29535" y="75894"/>
                    <a:pt x="29535" y="127938"/>
                    <a:pt x="72427" y="136766"/>
                  </a:cubicBezTo>
                  <a:lnTo>
                    <a:pt x="77188" y="137413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64" name="Forma livre: Forma 1063">
              <a:extLst>
                <a:ext uri="{FF2B5EF4-FFF2-40B4-BE49-F238E27FC236}">
                  <a16:creationId xmlns:a16="http://schemas.microsoft.com/office/drawing/2014/main" id="{6249853B-0591-26EE-BD64-3417F89C772C}"/>
                </a:ext>
              </a:extLst>
            </p:cNvPr>
            <p:cNvSpPr/>
            <p:nvPr/>
          </p:nvSpPr>
          <p:spPr>
            <a:xfrm>
              <a:off x="6623886" y="4264169"/>
              <a:ext cx="89613" cy="142423"/>
            </a:xfrm>
            <a:custGeom>
              <a:avLst/>
              <a:gdLst>
                <a:gd name="connsiteX0" fmla="*/ 20522 w 89613"/>
                <a:gd name="connsiteY0" fmla="*/ 5750 h 142423"/>
                <a:gd name="connsiteX1" fmla="*/ 79822 w 89613"/>
                <a:gd name="connsiteY1" fmla="*/ 15133 h 142423"/>
                <a:gd name="connsiteX2" fmla="*/ 67944 w 89613"/>
                <a:gd name="connsiteY2" fmla="*/ 87144 h 142423"/>
                <a:gd name="connsiteX3" fmla="*/ 10168 w 89613"/>
                <a:gd name="connsiteY3" fmla="*/ 135768 h 142423"/>
                <a:gd name="connsiteX4" fmla="*/ 0 w 89613"/>
                <a:gd name="connsiteY4" fmla="*/ 142424 h 1424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9613" h="142423">
                  <a:moveTo>
                    <a:pt x="20522" y="5750"/>
                  </a:moveTo>
                  <a:cubicBezTo>
                    <a:pt x="41737" y="-4326"/>
                    <a:pt x="66141" y="-1136"/>
                    <a:pt x="79822" y="15133"/>
                  </a:cubicBezTo>
                  <a:cubicBezTo>
                    <a:pt x="96600" y="35100"/>
                    <a:pt x="91285" y="67501"/>
                    <a:pt x="67944" y="87144"/>
                  </a:cubicBezTo>
                  <a:lnTo>
                    <a:pt x="10168" y="135768"/>
                  </a:lnTo>
                  <a:cubicBezTo>
                    <a:pt x="7118" y="138310"/>
                    <a:pt x="3282" y="140528"/>
                    <a:pt x="0" y="142424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65" name="Forma livre: Forma 1064">
              <a:extLst>
                <a:ext uri="{FF2B5EF4-FFF2-40B4-BE49-F238E27FC236}">
                  <a16:creationId xmlns:a16="http://schemas.microsoft.com/office/drawing/2014/main" id="{57A24A98-3323-BAC0-21E7-37D02D82238B}"/>
                </a:ext>
              </a:extLst>
            </p:cNvPr>
            <p:cNvSpPr/>
            <p:nvPr/>
          </p:nvSpPr>
          <p:spPr>
            <a:xfrm>
              <a:off x="6445152" y="4268810"/>
              <a:ext cx="197591" cy="4622"/>
            </a:xfrm>
            <a:custGeom>
              <a:avLst/>
              <a:gdLst>
                <a:gd name="connsiteX0" fmla="*/ 0 w 197591"/>
                <a:gd name="connsiteY0" fmla="*/ 0 h 4622"/>
                <a:gd name="connsiteX1" fmla="*/ 197591 w 197591"/>
                <a:gd name="connsiteY1" fmla="*/ 0 h 46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97591" h="4622">
                  <a:moveTo>
                    <a:pt x="0" y="0"/>
                  </a:moveTo>
                  <a:lnTo>
                    <a:pt x="197591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66" name="Forma livre: Forma 1065">
              <a:extLst>
                <a:ext uri="{FF2B5EF4-FFF2-40B4-BE49-F238E27FC236}">
                  <a16:creationId xmlns:a16="http://schemas.microsoft.com/office/drawing/2014/main" id="{CC4DF2C3-A2EA-C764-F4EF-8D2A358EAC2A}"/>
                </a:ext>
              </a:extLst>
            </p:cNvPr>
            <p:cNvSpPr/>
            <p:nvPr/>
          </p:nvSpPr>
          <p:spPr>
            <a:xfrm>
              <a:off x="6442425" y="4181500"/>
              <a:ext cx="202629" cy="241177"/>
            </a:xfrm>
            <a:custGeom>
              <a:avLst/>
              <a:gdLst>
                <a:gd name="connsiteX0" fmla="*/ 101500 w 202629"/>
                <a:gd name="connsiteY0" fmla="*/ 0 h 241177"/>
                <a:gd name="connsiteX1" fmla="*/ 81579 w 202629"/>
                <a:gd name="connsiteY1" fmla="*/ 17564 h 241177"/>
                <a:gd name="connsiteX2" fmla="*/ 84398 w 202629"/>
                <a:gd name="connsiteY2" fmla="*/ 28102 h 241177"/>
                <a:gd name="connsiteX3" fmla="*/ 84398 w 202629"/>
                <a:gd name="connsiteY3" fmla="*/ 28102 h 241177"/>
                <a:gd name="connsiteX4" fmla="*/ 76587 w 202629"/>
                <a:gd name="connsiteY4" fmla="*/ 38686 h 241177"/>
                <a:gd name="connsiteX5" fmla="*/ 63275 w 202629"/>
                <a:gd name="connsiteY5" fmla="*/ 38686 h 241177"/>
                <a:gd name="connsiteX6" fmla="*/ 0 w 202629"/>
                <a:gd name="connsiteY6" fmla="*/ 101962 h 241177"/>
                <a:gd name="connsiteX7" fmla="*/ 0 w 202629"/>
                <a:gd name="connsiteY7" fmla="*/ 177902 h 241177"/>
                <a:gd name="connsiteX8" fmla="*/ 63275 w 202629"/>
                <a:gd name="connsiteY8" fmla="*/ 241177 h 241177"/>
                <a:gd name="connsiteX9" fmla="*/ 139354 w 202629"/>
                <a:gd name="connsiteY9" fmla="*/ 241177 h 241177"/>
                <a:gd name="connsiteX10" fmla="*/ 202629 w 202629"/>
                <a:gd name="connsiteY10" fmla="*/ 177902 h 241177"/>
                <a:gd name="connsiteX11" fmla="*/ 202629 w 202629"/>
                <a:gd name="connsiteY11" fmla="*/ 101962 h 241177"/>
                <a:gd name="connsiteX12" fmla="*/ 139354 w 202629"/>
                <a:gd name="connsiteY12" fmla="*/ 38686 h 241177"/>
                <a:gd name="connsiteX13" fmla="*/ 126043 w 202629"/>
                <a:gd name="connsiteY13" fmla="*/ 38686 h 241177"/>
                <a:gd name="connsiteX14" fmla="*/ 118231 w 202629"/>
                <a:gd name="connsiteY14" fmla="*/ 28102 h 241177"/>
                <a:gd name="connsiteX15" fmla="*/ 118231 w 202629"/>
                <a:gd name="connsiteY15" fmla="*/ 28102 h 241177"/>
                <a:gd name="connsiteX16" fmla="*/ 121051 w 202629"/>
                <a:gd name="connsiteY16" fmla="*/ 17564 h 241177"/>
                <a:gd name="connsiteX17" fmla="*/ 101684 w 202629"/>
                <a:gd name="connsiteY17" fmla="*/ 0 h 241177"/>
                <a:gd name="connsiteX18" fmla="*/ 101500 w 202629"/>
                <a:gd name="connsiteY18" fmla="*/ 0 h 2411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202629" h="241177">
                  <a:moveTo>
                    <a:pt x="101500" y="0"/>
                  </a:moveTo>
                  <a:cubicBezTo>
                    <a:pt x="89852" y="0"/>
                    <a:pt x="81579" y="5916"/>
                    <a:pt x="81579" y="17564"/>
                  </a:cubicBezTo>
                  <a:cubicBezTo>
                    <a:pt x="81579" y="21400"/>
                    <a:pt x="82596" y="25005"/>
                    <a:pt x="84398" y="28102"/>
                  </a:cubicBezTo>
                  <a:lnTo>
                    <a:pt x="84398" y="28102"/>
                  </a:lnTo>
                  <a:cubicBezTo>
                    <a:pt x="88142" y="38224"/>
                    <a:pt x="76587" y="38686"/>
                    <a:pt x="76587" y="38686"/>
                  </a:cubicBezTo>
                  <a:lnTo>
                    <a:pt x="63275" y="38686"/>
                  </a:lnTo>
                  <a:cubicBezTo>
                    <a:pt x="28472" y="38686"/>
                    <a:pt x="0" y="67158"/>
                    <a:pt x="0" y="101962"/>
                  </a:cubicBezTo>
                  <a:lnTo>
                    <a:pt x="0" y="177902"/>
                  </a:lnTo>
                  <a:cubicBezTo>
                    <a:pt x="0" y="212705"/>
                    <a:pt x="28472" y="241177"/>
                    <a:pt x="63275" y="241177"/>
                  </a:cubicBezTo>
                  <a:lnTo>
                    <a:pt x="139354" y="241177"/>
                  </a:lnTo>
                  <a:cubicBezTo>
                    <a:pt x="174158" y="241177"/>
                    <a:pt x="202629" y="212705"/>
                    <a:pt x="202629" y="177902"/>
                  </a:cubicBezTo>
                  <a:lnTo>
                    <a:pt x="202629" y="101962"/>
                  </a:lnTo>
                  <a:cubicBezTo>
                    <a:pt x="202629" y="67158"/>
                    <a:pt x="174158" y="38686"/>
                    <a:pt x="139354" y="38686"/>
                  </a:cubicBezTo>
                  <a:lnTo>
                    <a:pt x="126043" y="38686"/>
                  </a:lnTo>
                  <a:cubicBezTo>
                    <a:pt x="126043" y="38686"/>
                    <a:pt x="114487" y="38224"/>
                    <a:pt x="118231" y="28102"/>
                  </a:cubicBezTo>
                  <a:lnTo>
                    <a:pt x="118231" y="28102"/>
                  </a:lnTo>
                  <a:cubicBezTo>
                    <a:pt x="120034" y="25005"/>
                    <a:pt x="121051" y="21400"/>
                    <a:pt x="121051" y="17564"/>
                  </a:cubicBezTo>
                  <a:cubicBezTo>
                    <a:pt x="121051" y="5916"/>
                    <a:pt x="113332" y="0"/>
                    <a:pt x="101684" y="0"/>
                  </a:cubicBezTo>
                  <a:lnTo>
                    <a:pt x="101500" y="0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067" name="Gráfico 18">
            <a:extLst>
              <a:ext uri="{FF2B5EF4-FFF2-40B4-BE49-F238E27FC236}">
                <a16:creationId xmlns:a16="http://schemas.microsoft.com/office/drawing/2014/main" id="{BB5B78F6-FB7F-F683-128B-EC5B5BE2E21A}"/>
              </a:ext>
            </a:extLst>
          </p:cNvPr>
          <p:cNvGrpSpPr/>
          <p:nvPr/>
        </p:nvGrpSpPr>
        <p:grpSpPr>
          <a:xfrm>
            <a:off x="6427357" y="5665307"/>
            <a:ext cx="225416" cy="306486"/>
            <a:chOff x="6427357" y="5665307"/>
            <a:chExt cx="225416" cy="306486"/>
          </a:xfrm>
        </p:grpSpPr>
        <p:sp>
          <p:nvSpPr>
            <p:cNvPr id="1068" name="Forma livre: Forma 1067">
              <a:extLst>
                <a:ext uri="{FF2B5EF4-FFF2-40B4-BE49-F238E27FC236}">
                  <a16:creationId xmlns:a16="http://schemas.microsoft.com/office/drawing/2014/main" id="{F1FB226F-E7B6-3646-6F27-CA786872C1FF}"/>
                </a:ext>
              </a:extLst>
            </p:cNvPr>
            <p:cNvSpPr/>
            <p:nvPr/>
          </p:nvSpPr>
          <p:spPr>
            <a:xfrm>
              <a:off x="6496179" y="5897610"/>
              <a:ext cx="6470" cy="6470"/>
            </a:xfrm>
            <a:custGeom>
              <a:avLst/>
              <a:gdLst>
                <a:gd name="connsiteX0" fmla="*/ 6471 w 6470"/>
                <a:gd name="connsiteY0" fmla="*/ 3235 h 6470"/>
                <a:gd name="connsiteX1" fmla="*/ 3235 w 6470"/>
                <a:gd name="connsiteY1" fmla="*/ 6471 h 6470"/>
                <a:gd name="connsiteX2" fmla="*/ 0 w 6470"/>
                <a:gd name="connsiteY2" fmla="*/ 3235 h 6470"/>
                <a:gd name="connsiteX3" fmla="*/ 3235 w 6470"/>
                <a:gd name="connsiteY3" fmla="*/ 0 h 6470"/>
                <a:gd name="connsiteX4" fmla="*/ 6471 w 6470"/>
                <a:gd name="connsiteY4" fmla="*/ 3235 h 6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470" h="6470">
                  <a:moveTo>
                    <a:pt x="6471" y="3235"/>
                  </a:moveTo>
                  <a:cubicBezTo>
                    <a:pt x="6471" y="5038"/>
                    <a:pt x="5038" y="6471"/>
                    <a:pt x="3235" y="6471"/>
                  </a:cubicBezTo>
                  <a:cubicBezTo>
                    <a:pt x="1433" y="6471"/>
                    <a:pt x="0" y="5038"/>
                    <a:pt x="0" y="3235"/>
                  </a:cubicBezTo>
                  <a:cubicBezTo>
                    <a:pt x="0" y="1433"/>
                    <a:pt x="1433" y="0"/>
                    <a:pt x="3235" y="0"/>
                  </a:cubicBezTo>
                  <a:cubicBezTo>
                    <a:pt x="5038" y="0"/>
                    <a:pt x="6471" y="1433"/>
                    <a:pt x="6471" y="3235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69" name="Forma livre: Forma 1068">
              <a:extLst>
                <a:ext uri="{FF2B5EF4-FFF2-40B4-BE49-F238E27FC236}">
                  <a16:creationId xmlns:a16="http://schemas.microsoft.com/office/drawing/2014/main" id="{22822B69-6028-ED53-A68A-157219CE6882}"/>
                </a:ext>
              </a:extLst>
            </p:cNvPr>
            <p:cNvSpPr/>
            <p:nvPr/>
          </p:nvSpPr>
          <p:spPr>
            <a:xfrm>
              <a:off x="6543139" y="5899551"/>
              <a:ext cx="6470" cy="6470"/>
            </a:xfrm>
            <a:custGeom>
              <a:avLst/>
              <a:gdLst>
                <a:gd name="connsiteX0" fmla="*/ 6471 w 6470"/>
                <a:gd name="connsiteY0" fmla="*/ 3235 h 6470"/>
                <a:gd name="connsiteX1" fmla="*/ 3235 w 6470"/>
                <a:gd name="connsiteY1" fmla="*/ 6471 h 6470"/>
                <a:gd name="connsiteX2" fmla="*/ 0 w 6470"/>
                <a:gd name="connsiteY2" fmla="*/ 3235 h 6470"/>
                <a:gd name="connsiteX3" fmla="*/ 3235 w 6470"/>
                <a:gd name="connsiteY3" fmla="*/ 0 h 6470"/>
                <a:gd name="connsiteX4" fmla="*/ 6471 w 6470"/>
                <a:gd name="connsiteY4" fmla="*/ 3235 h 6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470" h="6470">
                  <a:moveTo>
                    <a:pt x="6471" y="3235"/>
                  </a:moveTo>
                  <a:cubicBezTo>
                    <a:pt x="6471" y="5038"/>
                    <a:pt x="5038" y="6471"/>
                    <a:pt x="3235" y="6471"/>
                  </a:cubicBezTo>
                  <a:cubicBezTo>
                    <a:pt x="1433" y="6471"/>
                    <a:pt x="0" y="5038"/>
                    <a:pt x="0" y="3235"/>
                  </a:cubicBezTo>
                  <a:cubicBezTo>
                    <a:pt x="0" y="1433"/>
                    <a:pt x="1433" y="0"/>
                    <a:pt x="3235" y="0"/>
                  </a:cubicBezTo>
                  <a:cubicBezTo>
                    <a:pt x="5038" y="0"/>
                    <a:pt x="6471" y="1433"/>
                    <a:pt x="6471" y="3235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70" name="Forma livre: Forma 1069">
              <a:extLst>
                <a:ext uri="{FF2B5EF4-FFF2-40B4-BE49-F238E27FC236}">
                  <a16:creationId xmlns:a16="http://schemas.microsoft.com/office/drawing/2014/main" id="{CF2C2433-CB95-EE1C-1BEB-E92AD936B486}"/>
                </a:ext>
              </a:extLst>
            </p:cNvPr>
            <p:cNvSpPr/>
            <p:nvPr/>
          </p:nvSpPr>
          <p:spPr>
            <a:xfrm>
              <a:off x="6578359" y="5908795"/>
              <a:ext cx="6470" cy="6470"/>
            </a:xfrm>
            <a:custGeom>
              <a:avLst/>
              <a:gdLst>
                <a:gd name="connsiteX0" fmla="*/ 6471 w 6470"/>
                <a:gd name="connsiteY0" fmla="*/ 3235 h 6470"/>
                <a:gd name="connsiteX1" fmla="*/ 3235 w 6470"/>
                <a:gd name="connsiteY1" fmla="*/ 6471 h 6470"/>
                <a:gd name="connsiteX2" fmla="*/ 0 w 6470"/>
                <a:gd name="connsiteY2" fmla="*/ 3235 h 6470"/>
                <a:gd name="connsiteX3" fmla="*/ 3235 w 6470"/>
                <a:gd name="connsiteY3" fmla="*/ 0 h 6470"/>
                <a:gd name="connsiteX4" fmla="*/ 6471 w 6470"/>
                <a:gd name="connsiteY4" fmla="*/ 3235 h 6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470" h="6470">
                  <a:moveTo>
                    <a:pt x="6471" y="3235"/>
                  </a:moveTo>
                  <a:cubicBezTo>
                    <a:pt x="6471" y="5038"/>
                    <a:pt x="5038" y="6471"/>
                    <a:pt x="3235" y="6471"/>
                  </a:cubicBezTo>
                  <a:cubicBezTo>
                    <a:pt x="1433" y="6471"/>
                    <a:pt x="0" y="5038"/>
                    <a:pt x="0" y="3235"/>
                  </a:cubicBezTo>
                  <a:cubicBezTo>
                    <a:pt x="0" y="1433"/>
                    <a:pt x="1433" y="0"/>
                    <a:pt x="3235" y="0"/>
                  </a:cubicBezTo>
                  <a:cubicBezTo>
                    <a:pt x="5038" y="0"/>
                    <a:pt x="6471" y="1433"/>
                    <a:pt x="6471" y="3235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71" name="Forma livre: Forma 1070">
              <a:extLst>
                <a:ext uri="{FF2B5EF4-FFF2-40B4-BE49-F238E27FC236}">
                  <a16:creationId xmlns:a16="http://schemas.microsoft.com/office/drawing/2014/main" id="{E8024329-467D-27EA-C4F2-5DF0034FDDFF}"/>
                </a:ext>
              </a:extLst>
            </p:cNvPr>
            <p:cNvSpPr/>
            <p:nvPr/>
          </p:nvSpPr>
          <p:spPr>
            <a:xfrm>
              <a:off x="6569392" y="5942536"/>
              <a:ext cx="6470" cy="6470"/>
            </a:xfrm>
            <a:custGeom>
              <a:avLst/>
              <a:gdLst>
                <a:gd name="connsiteX0" fmla="*/ 6471 w 6470"/>
                <a:gd name="connsiteY0" fmla="*/ 3235 h 6470"/>
                <a:gd name="connsiteX1" fmla="*/ 3235 w 6470"/>
                <a:gd name="connsiteY1" fmla="*/ 6471 h 6470"/>
                <a:gd name="connsiteX2" fmla="*/ 0 w 6470"/>
                <a:gd name="connsiteY2" fmla="*/ 3235 h 6470"/>
                <a:gd name="connsiteX3" fmla="*/ 3235 w 6470"/>
                <a:gd name="connsiteY3" fmla="*/ 0 h 6470"/>
                <a:gd name="connsiteX4" fmla="*/ 6471 w 6470"/>
                <a:gd name="connsiteY4" fmla="*/ 3235 h 6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470" h="6470">
                  <a:moveTo>
                    <a:pt x="6471" y="3235"/>
                  </a:moveTo>
                  <a:cubicBezTo>
                    <a:pt x="6471" y="5038"/>
                    <a:pt x="5038" y="6471"/>
                    <a:pt x="3235" y="6471"/>
                  </a:cubicBezTo>
                  <a:cubicBezTo>
                    <a:pt x="1433" y="6471"/>
                    <a:pt x="0" y="5038"/>
                    <a:pt x="0" y="3235"/>
                  </a:cubicBezTo>
                  <a:cubicBezTo>
                    <a:pt x="0" y="1433"/>
                    <a:pt x="1433" y="0"/>
                    <a:pt x="3235" y="0"/>
                  </a:cubicBezTo>
                  <a:cubicBezTo>
                    <a:pt x="5038" y="0"/>
                    <a:pt x="6471" y="1433"/>
                    <a:pt x="6471" y="3235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72" name="Forma livre: Forma 1071">
              <a:extLst>
                <a:ext uri="{FF2B5EF4-FFF2-40B4-BE49-F238E27FC236}">
                  <a16:creationId xmlns:a16="http://schemas.microsoft.com/office/drawing/2014/main" id="{BE911A71-A43A-AE1A-3BE2-ABA6BF68AFC1}"/>
                </a:ext>
              </a:extLst>
            </p:cNvPr>
            <p:cNvSpPr/>
            <p:nvPr/>
          </p:nvSpPr>
          <p:spPr>
            <a:xfrm>
              <a:off x="6527701" y="5928624"/>
              <a:ext cx="6470" cy="6470"/>
            </a:xfrm>
            <a:custGeom>
              <a:avLst/>
              <a:gdLst>
                <a:gd name="connsiteX0" fmla="*/ 6471 w 6470"/>
                <a:gd name="connsiteY0" fmla="*/ 3235 h 6470"/>
                <a:gd name="connsiteX1" fmla="*/ 3235 w 6470"/>
                <a:gd name="connsiteY1" fmla="*/ 6471 h 6470"/>
                <a:gd name="connsiteX2" fmla="*/ 0 w 6470"/>
                <a:gd name="connsiteY2" fmla="*/ 3235 h 6470"/>
                <a:gd name="connsiteX3" fmla="*/ 3235 w 6470"/>
                <a:gd name="connsiteY3" fmla="*/ 0 h 6470"/>
                <a:gd name="connsiteX4" fmla="*/ 6471 w 6470"/>
                <a:gd name="connsiteY4" fmla="*/ 3235 h 6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470" h="6470">
                  <a:moveTo>
                    <a:pt x="6471" y="3235"/>
                  </a:moveTo>
                  <a:cubicBezTo>
                    <a:pt x="6471" y="5038"/>
                    <a:pt x="5038" y="6471"/>
                    <a:pt x="3235" y="6471"/>
                  </a:cubicBezTo>
                  <a:cubicBezTo>
                    <a:pt x="1433" y="6471"/>
                    <a:pt x="0" y="5038"/>
                    <a:pt x="0" y="3235"/>
                  </a:cubicBezTo>
                  <a:cubicBezTo>
                    <a:pt x="0" y="1433"/>
                    <a:pt x="1433" y="0"/>
                    <a:pt x="3235" y="0"/>
                  </a:cubicBezTo>
                  <a:cubicBezTo>
                    <a:pt x="5038" y="0"/>
                    <a:pt x="6471" y="1433"/>
                    <a:pt x="6471" y="3235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73" name="Forma livre: Forma 1072">
              <a:extLst>
                <a:ext uri="{FF2B5EF4-FFF2-40B4-BE49-F238E27FC236}">
                  <a16:creationId xmlns:a16="http://schemas.microsoft.com/office/drawing/2014/main" id="{1DBFC4A0-1844-0208-A9F8-A3750CDE0866}"/>
                </a:ext>
              </a:extLst>
            </p:cNvPr>
            <p:cNvSpPr/>
            <p:nvPr/>
          </p:nvSpPr>
          <p:spPr>
            <a:xfrm>
              <a:off x="6609973" y="5800409"/>
              <a:ext cx="42799" cy="126273"/>
            </a:xfrm>
            <a:custGeom>
              <a:avLst/>
              <a:gdLst>
                <a:gd name="connsiteX0" fmla="*/ 0 w 42799"/>
                <a:gd name="connsiteY0" fmla="*/ 0 h 126273"/>
                <a:gd name="connsiteX1" fmla="*/ 19690 w 42799"/>
                <a:gd name="connsiteY1" fmla="*/ 0 h 126273"/>
                <a:gd name="connsiteX2" fmla="*/ 42800 w 42799"/>
                <a:gd name="connsiteY2" fmla="*/ 23110 h 126273"/>
                <a:gd name="connsiteX3" fmla="*/ 42800 w 42799"/>
                <a:gd name="connsiteY3" fmla="*/ 103163 h 126273"/>
                <a:gd name="connsiteX4" fmla="*/ 19690 w 42799"/>
                <a:gd name="connsiteY4" fmla="*/ 126274 h 126273"/>
                <a:gd name="connsiteX5" fmla="*/ 786 w 42799"/>
                <a:gd name="connsiteY5" fmla="*/ 126274 h 1262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2799" h="126273">
                  <a:moveTo>
                    <a:pt x="0" y="0"/>
                  </a:moveTo>
                  <a:lnTo>
                    <a:pt x="19690" y="0"/>
                  </a:lnTo>
                  <a:cubicBezTo>
                    <a:pt x="32400" y="0"/>
                    <a:pt x="42800" y="10400"/>
                    <a:pt x="42800" y="23110"/>
                  </a:cubicBezTo>
                  <a:lnTo>
                    <a:pt x="42800" y="103163"/>
                  </a:lnTo>
                  <a:cubicBezTo>
                    <a:pt x="42800" y="115874"/>
                    <a:pt x="32400" y="126274"/>
                    <a:pt x="19690" y="126274"/>
                  </a:cubicBezTo>
                  <a:lnTo>
                    <a:pt x="786" y="126274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74" name="Forma livre: Forma 1073">
              <a:extLst>
                <a:ext uri="{FF2B5EF4-FFF2-40B4-BE49-F238E27FC236}">
                  <a16:creationId xmlns:a16="http://schemas.microsoft.com/office/drawing/2014/main" id="{C9C84412-389A-B046-169A-EB7E90DDCD9A}"/>
                </a:ext>
              </a:extLst>
            </p:cNvPr>
            <p:cNvSpPr/>
            <p:nvPr/>
          </p:nvSpPr>
          <p:spPr>
            <a:xfrm>
              <a:off x="6536714" y="5778593"/>
              <a:ext cx="4622" cy="94474"/>
            </a:xfrm>
            <a:custGeom>
              <a:avLst/>
              <a:gdLst>
                <a:gd name="connsiteX0" fmla="*/ 0 w 4622"/>
                <a:gd name="connsiteY0" fmla="*/ 0 h 94474"/>
                <a:gd name="connsiteX1" fmla="*/ 0 w 4622"/>
                <a:gd name="connsiteY1" fmla="*/ 94474 h 944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622" h="94474">
                  <a:moveTo>
                    <a:pt x="0" y="0"/>
                  </a:moveTo>
                  <a:lnTo>
                    <a:pt x="0" y="94474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75" name="Forma livre: Forma 1074">
              <a:extLst>
                <a:ext uri="{FF2B5EF4-FFF2-40B4-BE49-F238E27FC236}">
                  <a16:creationId xmlns:a16="http://schemas.microsoft.com/office/drawing/2014/main" id="{E59D1749-24BE-BE8D-E9DD-754CBED39499}"/>
                </a:ext>
              </a:extLst>
            </p:cNvPr>
            <p:cNvSpPr/>
            <p:nvPr/>
          </p:nvSpPr>
          <p:spPr>
            <a:xfrm>
              <a:off x="6427357" y="5778639"/>
              <a:ext cx="182107" cy="193154"/>
            </a:xfrm>
            <a:custGeom>
              <a:avLst/>
              <a:gdLst>
                <a:gd name="connsiteX0" fmla="*/ 38871 w 182107"/>
                <a:gd name="connsiteY0" fmla="*/ 8181 h 193154"/>
                <a:gd name="connsiteX1" fmla="*/ 0 w 182107"/>
                <a:gd name="connsiteY1" fmla="*/ 8181 h 193154"/>
                <a:gd name="connsiteX2" fmla="*/ 36606 w 182107"/>
                <a:gd name="connsiteY2" fmla="*/ 48531 h 193154"/>
                <a:gd name="connsiteX3" fmla="*/ 36606 w 182107"/>
                <a:gd name="connsiteY3" fmla="*/ 171754 h 193154"/>
                <a:gd name="connsiteX4" fmla="*/ 58006 w 182107"/>
                <a:gd name="connsiteY4" fmla="*/ 193154 h 193154"/>
                <a:gd name="connsiteX5" fmla="*/ 160708 w 182107"/>
                <a:gd name="connsiteY5" fmla="*/ 193154 h 193154"/>
                <a:gd name="connsiteX6" fmla="*/ 182108 w 182107"/>
                <a:gd name="connsiteY6" fmla="*/ 171754 h 193154"/>
                <a:gd name="connsiteX7" fmla="*/ 182108 w 182107"/>
                <a:gd name="connsiteY7" fmla="*/ 0 h 1931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82107" h="193154">
                  <a:moveTo>
                    <a:pt x="38871" y="8181"/>
                  </a:moveTo>
                  <a:lnTo>
                    <a:pt x="0" y="8181"/>
                  </a:lnTo>
                  <a:lnTo>
                    <a:pt x="36606" y="48531"/>
                  </a:lnTo>
                  <a:lnTo>
                    <a:pt x="36606" y="171754"/>
                  </a:lnTo>
                  <a:cubicBezTo>
                    <a:pt x="36606" y="183541"/>
                    <a:pt x="46220" y="193154"/>
                    <a:pt x="58006" y="193154"/>
                  </a:cubicBezTo>
                  <a:lnTo>
                    <a:pt x="160708" y="193154"/>
                  </a:lnTo>
                  <a:cubicBezTo>
                    <a:pt x="172494" y="193154"/>
                    <a:pt x="182108" y="183541"/>
                    <a:pt x="182108" y="171754"/>
                  </a:cubicBezTo>
                  <a:lnTo>
                    <a:pt x="182108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76" name="Forma livre: Forma 1075">
              <a:extLst>
                <a:ext uri="{FF2B5EF4-FFF2-40B4-BE49-F238E27FC236}">
                  <a16:creationId xmlns:a16="http://schemas.microsoft.com/office/drawing/2014/main" id="{833FA974-854F-C9EC-0BA8-9AD1D806EF92}"/>
                </a:ext>
              </a:extLst>
            </p:cNvPr>
            <p:cNvSpPr/>
            <p:nvPr/>
          </p:nvSpPr>
          <p:spPr>
            <a:xfrm>
              <a:off x="6489662" y="5872697"/>
              <a:ext cx="94150" cy="4622"/>
            </a:xfrm>
            <a:custGeom>
              <a:avLst/>
              <a:gdLst>
                <a:gd name="connsiteX0" fmla="*/ 0 w 94150"/>
                <a:gd name="connsiteY0" fmla="*/ 0 h 4622"/>
                <a:gd name="connsiteX1" fmla="*/ 94151 w 94150"/>
                <a:gd name="connsiteY1" fmla="*/ 0 h 46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4150" h="4622">
                  <a:moveTo>
                    <a:pt x="0" y="0"/>
                  </a:moveTo>
                  <a:lnTo>
                    <a:pt x="94151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77" name="Forma livre: Forma 1076">
              <a:extLst>
                <a:ext uri="{FF2B5EF4-FFF2-40B4-BE49-F238E27FC236}">
                  <a16:creationId xmlns:a16="http://schemas.microsoft.com/office/drawing/2014/main" id="{21B610E7-507E-B546-C1FB-F33E95C4CC9D}"/>
                </a:ext>
              </a:extLst>
            </p:cNvPr>
            <p:cNvSpPr/>
            <p:nvPr/>
          </p:nvSpPr>
          <p:spPr>
            <a:xfrm>
              <a:off x="6464380" y="5711666"/>
              <a:ext cx="144669" cy="47653"/>
            </a:xfrm>
            <a:custGeom>
              <a:avLst/>
              <a:gdLst>
                <a:gd name="connsiteX0" fmla="*/ 144669 w 144669"/>
                <a:gd name="connsiteY0" fmla="*/ 47653 h 47653"/>
                <a:gd name="connsiteX1" fmla="*/ 72335 w 144669"/>
                <a:gd name="connsiteY1" fmla="*/ 0 h 47653"/>
                <a:gd name="connsiteX2" fmla="*/ 0 w 144669"/>
                <a:gd name="connsiteY2" fmla="*/ 47653 h 47653"/>
                <a:gd name="connsiteX3" fmla="*/ 144669 w 144669"/>
                <a:gd name="connsiteY3" fmla="*/ 47653 h 4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4669" h="47653">
                  <a:moveTo>
                    <a:pt x="144669" y="47653"/>
                  </a:moveTo>
                  <a:cubicBezTo>
                    <a:pt x="143052" y="21816"/>
                    <a:pt x="111298" y="0"/>
                    <a:pt x="72335" y="0"/>
                  </a:cubicBezTo>
                  <a:cubicBezTo>
                    <a:pt x="33371" y="0"/>
                    <a:pt x="1479" y="21770"/>
                    <a:pt x="0" y="47653"/>
                  </a:cubicBezTo>
                  <a:lnTo>
                    <a:pt x="144669" y="47653"/>
                  </a:ln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78" name="Forma livre: Forma 1077">
              <a:extLst>
                <a:ext uri="{FF2B5EF4-FFF2-40B4-BE49-F238E27FC236}">
                  <a16:creationId xmlns:a16="http://schemas.microsoft.com/office/drawing/2014/main" id="{8E6D37B4-0203-EDD6-5D07-F2279AA1A315}"/>
                </a:ext>
              </a:extLst>
            </p:cNvPr>
            <p:cNvSpPr/>
            <p:nvPr/>
          </p:nvSpPr>
          <p:spPr>
            <a:xfrm>
              <a:off x="6494007" y="5941149"/>
              <a:ext cx="6470" cy="6470"/>
            </a:xfrm>
            <a:custGeom>
              <a:avLst/>
              <a:gdLst>
                <a:gd name="connsiteX0" fmla="*/ 6471 w 6470"/>
                <a:gd name="connsiteY0" fmla="*/ 3235 h 6470"/>
                <a:gd name="connsiteX1" fmla="*/ 3235 w 6470"/>
                <a:gd name="connsiteY1" fmla="*/ 6471 h 6470"/>
                <a:gd name="connsiteX2" fmla="*/ 0 w 6470"/>
                <a:gd name="connsiteY2" fmla="*/ 3235 h 6470"/>
                <a:gd name="connsiteX3" fmla="*/ 3235 w 6470"/>
                <a:gd name="connsiteY3" fmla="*/ 0 h 6470"/>
                <a:gd name="connsiteX4" fmla="*/ 6471 w 6470"/>
                <a:gd name="connsiteY4" fmla="*/ 3235 h 6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470" h="6470">
                  <a:moveTo>
                    <a:pt x="6471" y="3235"/>
                  </a:moveTo>
                  <a:cubicBezTo>
                    <a:pt x="6471" y="5038"/>
                    <a:pt x="5038" y="6471"/>
                    <a:pt x="3235" y="6471"/>
                  </a:cubicBezTo>
                  <a:cubicBezTo>
                    <a:pt x="1433" y="6471"/>
                    <a:pt x="0" y="5038"/>
                    <a:pt x="0" y="3235"/>
                  </a:cubicBezTo>
                  <a:cubicBezTo>
                    <a:pt x="0" y="1433"/>
                    <a:pt x="1433" y="0"/>
                    <a:pt x="3235" y="0"/>
                  </a:cubicBezTo>
                  <a:cubicBezTo>
                    <a:pt x="5038" y="0"/>
                    <a:pt x="6471" y="1433"/>
                    <a:pt x="6471" y="3235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79" name="Forma livre: Forma 1078">
              <a:extLst>
                <a:ext uri="{FF2B5EF4-FFF2-40B4-BE49-F238E27FC236}">
                  <a16:creationId xmlns:a16="http://schemas.microsoft.com/office/drawing/2014/main" id="{E6ED65C9-9753-4808-8504-FBB57BA13725}"/>
                </a:ext>
              </a:extLst>
            </p:cNvPr>
            <p:cNvSpPr/>
            <p:nvPr/>
          </p:nvSpPr>
          <p:spPr>
            <a:xfrm>
              <a:off x="6536714" y="5676862"/>
              <a:ext cx="4622" cy="34480"/>
            </a:xfrm>
            <a:custGeom>
              <a:avLst/>
              <a:gdLst>
                <a:gd name="connsiteX0" fmla="*/ 0 w 4622"/>
                <a:gd name="connsiteY0" fmla="*/ 34480 h 34480"/>
                <a:gd name="connsiteX1" fmla="*/ 0 w 4622"/>
                <a:gd name="connsiteY1" fmla="*/ 0 h 344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622" h="34480">
                  <a:moveTo>
                    <a:pt x="0" y="34480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80" name="Forma livre: Forma 1079">
              <a:extLst>
                <a:ext uri="{FF2B5EF4-FFF2-40B4-BE49-F238E27FC236}">
                  <a16:creationId xmlns:a16="http://schemas.microsoft.com/office/drawing/2014/main" id="{705EBB98-ADFD-2621-CAB0-D4C829D52E49}"/>
                </a:ext>
              </a:extLst>
            </p:cNvPr>
            <p:cNvSpPr/>
            <p:nvPr/>
          </p:nvSpPr>
          <p:spPr>
            <a:xfrm>
              <a:off x="6531353" y="5665307"/>
              <a:ext cx="10723" cy="10723"/>
            </a:xfrm>
            <a:custGeom>
              <a:avLst/>
              <a:gdLst>
                <a:gd name="connsiteX0" fmla="*/ 10723 w 10723"/>
                <a:gd name="connsiteY0" fmla="*/ 5362 h 10723"/>
                <a:gd name="connsiteX1" fmla="*/ 5362 w 10723"/>
                <a:gd name="connsiteY1" fmla="*/ 10723 h 10723"/>
                <a:gd name="connsiteX2" fmla="*/ 0 w 10723"/>
                <a:gd name="connsiteY2" fmla="*/ 5362 h 10723"/>
                <a:gd name="connsiteX3" fmla="*/ 5362 w 10723"/>
                <a:gd name="connsiteY3" fmla="*/ 0 h 10723"/>
                <a:gd name="connsiteX4" fmla="*/ 10723 w 10723"/>
                <a:gd name="connsiteY4" fmla="*/ 5362 h 107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723" h="10723">
                  <a:moveTo>
                    <a:pt x="10723" y="5362"/>
                  </a:moveTo>
                  <a:cubicBezTo>
                    <a:pt x="10723" y="8320"/>
                    <a:pt x="8320" y="10723"/>
                    <a:pt x="5362" y="10723"/>
                  </a:cubicBezTo>
                  <a:cubicBezTo>
                    <a:pt x="2403" y="10723"/>
                    <a:pt x="0" y="8320"/>
                    <a:pt x="0" y="5362"/>
                  </a:cubicBezTo>
                  <a:cubicBezTo>
                    <a:pt x="0" y="2403"/>
                    <a:pt x="2403" y="0"/>
                    <a:pt x="5362" y="0"/>
                  </a:cubicBezTo>
                  <a:cubicBezTo>
                    <a:pt x="8320" y="0"/>
                    <a:pt x="10723" y="2403"/>
                    <a:pt x="10723" y="5362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081" name="Gráfico 18">
            <a:extLst>
              <a:ext uri="{FF2B5EF4-FFF2-40B4-BE49-F238E27FC236}">
                <a16:creationId xmlns:a16="http://schemas.microsoft.com/office/drawing/2014/main" id="{9201C287-9751-EEE4-B5A7-B9E2EFB0094E}"/>
              </a:ext>
            </a:extLst>
          </p:cNvPr>
          <p:cNvGrpSpPr/>
          <p:nvPr/>
        </p:nvGrpSpPr>
        <p:grpSpPr>
          <a:xfrm>
            <a:off x="6440853" y="4652576"/>
            <a:ext cx="198515" cy="309998"/>
            <a:chOff x="6440853" y="4652576"/>
            <a:chExt cx="198515" cy="309998"/>
          </a:xfrm>
        </p:grpSpPr>
        <p:sp>
          <p:nvSpPr>
            <p:cNvPr id="1082" name="Forma livre: Forma 1081">
              <a:extLst>
                <a:ext uri="{FF2B5EF4-FFF2-40B4-BE49-F238E27FC236}">
                  <a16:creationId xmlns:a16="http://schemas.microsoft.com/office/drawing/2014/main" id="{6C55BF51-5E54-6465-3836-94DB0C003F8E}"/>
                </a:ext>
              </a:extLst>
            </p:cNvPr>
            <p:cNvSpPr/>
            <p:nvPr/>
          </p:nvSpPr>
          <p:spPr>
            <a:xfrm>
              <a:off x="6446770" y="4806166"/>
              <a:ext cx="76864" cy="4622"/>
            </a:xfrm>
            <a:custGeom>
              <a:avLst/>
              <a:gdLst>
                <a:gd name="connsiteX0" fmla="*/ 0 w 76864"/>
                <a:gd name="connsiteY0" fmla="*/ 0 h 4622"/>
                <a:gd name="connsiteX1" fmla="*/ 76864 w 76864"/>
                <a:gd name="connsiteY1" fmla="*/ 0 h 46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6864" h="4622">
                  <a:moveTo>
                    <a:pt x="0" y="0"/>
                  </a:moveTo>
                  <a:lnTo>
                    <a:pt x="76864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83" name="Forma livre: Forma 1082">
              <a:extLst>
                <a:ext uri="{FF2B5EF4-FFF2-40B4-BE49-F238E27FC236}">
                  <a16:creationId xmlns:a16="http://schemas.microsoft.com/office/drawing/2014/main" id="{79FC3E48-636B-CC6C-29A7-8D53E00AA8C2}"/>
                </a:ext>
              </a:extLst>
            </p:cNvPr>
            <p:cNvSpPr/>
            <p:nvPr/>
          </p:nvSpPr>
          <p:spPr>
            <a:xfrm>
              <a:off x="6545773" y="4806166"/>
              <a:ext cx="54031" cy="4622"/>
            </a:xfrm>
            <a:custGeom>
              <a:avLst/>
              <a:gdLst>
                <a:gd name="connsiteX0" fmla="*/ 0 w 54031"/>
                <a:gd name="connsiteY0" fmla="*/ 0 h 4622"/>
                <a:gd name="connsiteX1" fmla="*/ 54031 w 54031"/>
                <a:gd name="connsiteY1" fmla="*/ 0 h 46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4031" h="4622">
                  <a:moveTo>
                    <a:pt x="0" y="0"/>
                  </a:moveTo>
                  <a:lnTo>
                    <a:pt x="54031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84" name="Forma livre: Forma 1083">
              <a:extLst>
                <a:ext uri="{FF2B5EF4-FFF2-40B4-BE49-F238E27FC236}">
                  <a16:creationId xmlns:a16="http://schemas.microsoft.com/office/drawing/2014/main" id="{D1461195-A316-9D07-ACA2-4FBE7CA9808D}"/>
                </a:ext>
              </a:extLst>
            </p:cNvPr>
            <p:cNvSpPr/>
            <p:nvPr/>
          </p:nvSpPr>
          <p:spPr>
            <a:xfrm>
              <a:off x="6520121" y="4652576"/>
              <a:ext cx="119248" cy="260959"/>
            </a:xfrm>
            <a:custGeom>
              <a:avLst/>
              <a:gdLst>
                <a:gd name="connsiteX0" fmla="*/ 0 w 119248"/>
                <a:gd name="connsiteY0" fmla="*/ 260959 h 260959"/>
                <a:gd name="connsiteX1" fmla="*/ 57821 w 119248"/>
                <a:gd name="connsiteY1" fmla="*/ 21631 h 260959"/>
                <a:gd name="connsiteX2" fmla="*/ 119248 w 119248"/>
                <a:gd name="connsiteY2" fmla="*/ 0 h 2609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19248" h="260959">
                  <a:moveTo>
                    <a:pt x="0" y="260959"/>
                  </a:moveTo>
                  <a:lnTo>
                    <a:pt x="57821" y="21631"/>
                  </a:lnTo>
                  <a:lnTo>
                    <a:pt x="119248" y="0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85" name="Forma livre: Forma 1084">
              <a:extLst>
                <a:ext uri="{FF2B5EF4-FFF2-40B4-BE49-F238E27FC236}">
                  <a16:creationId xmlns:a16="http://schemas.microsoft.com/office/drawing/2014/main" id="{1EF50E27-A8FD-3BDA-47CB-ADAB05FD598B}"/>
                </a:ext>
              </a:extLst>
            </p:cNvPr>
            <p:cNvSpPr/>
            <p:nvPr/>
          </p:nvSpPr>
          <p:spPr>
            <a:xfrm>
              <a:off x="6440853" y="4734756"/>
              <a:ext cx="164359" cy="227819"/>
            </a:xfrm>
            <a:custGeom>
              <a:avLst/>
              <a:gdLst>
                <a:gd name="connsiteX0" fmla="*/ 150724 w 164359"/>
                <a:gd name="connsiteY0" fmla="*/ 204756 h 227819"/>
                <a:gd name="connsiteX1" fmla="*/ 126089 w 164359"/>
                <a:gd name="connsiteY1" fmla="*/ 227819 h 227819"/>
                <a:gd name="connsiteX2" fmla="*/ 38270 w 164359"/>
                <a:gd name="connsiteY2" fmla="*/ 227819 h 227819"/>
                <a:gd name="connsiteX3" fmla="*/ 13635 w 164359"/>
                <a:gd name="connsiteY3" fmla="*/ 204756 h 227819"/>
                <a:gd name="connsiteX4" fmla="*/ 0 w 164359"/>
                <a:gd name="connsiteY4" fmla="*/ 0 h 227819"/>
                <a:gd name="connsiteX5" fmla="*/ 164359 w 164359"/>
                <a:gd name="connsiteY5" fmla="*/ 0 h 227819"/>
                <a:gd name="connsiteX6" fmla="*/ 150724 w 164359"/>
                <a:gd name="connsiteY6" fmla="*/ 204756 h 2278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64359" h="227819">
                  <a:moveTo>
                    <a:pt x="150724" y="204756"/>
                  </a:moveTo>
                  <a:cubicBezTo>
                    <a:pt x="149892" y="217420"/>
                    <a:pt x="138799" y="227819"/>
                    <a:pt x="126089" y="227819"/>
                  </a:cubicBezTo>
                  <a:lnTo>
                    <a:pt x="38270" y="227819"/>
                  </a:lnTo>
                  <a:cubicBezTo>
                    <a:pt x="25560" y="227819"/>
                    <a:pt x="14467" y="217466"/>
                    <a:pt x="13635" y="204756"/>
                  </a:cubicBezTo>
                  <a:lnTo>
                    <a:pt x="0" y="0"/>
                  </a:lnTo>
                  <a:lnTo>
                    <a:pt x="164359" y="0"/>
                  </a:lnTo>
                  <a:lnTo>
                    <a:pt x="150724" y="204756"/>
                  </a:ln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86" name="Forma livre: Forma 1085">
              <a:extLst>
                <a:ext uri="{FF2B5EF4-FFF2-40B4-BE49-F238E27FC236}">
                  <a16:creationId xmlns:a16="http://schemas.microsoft.com/office/drawing/2014/main" id="{DFD5AF28-090B-3C9F-60B7-F4DC9055D37C}"/>
                </a:ext>
              </a:extLst>
            </p:cNvPr>
            <p:cNvSpPr/>
            <p:nvPr/>
          </p:nvSpPr>
          <p:spPr>
            <a:xfrm>
              <a:off x="6555064" y="4903690"/>
              <a:ext cx="7210" cy="7210"/>
            </a:xfrm>
            <a:custGeom>
              <a:avLst/>
              <a:gdLst>
                <a:gd name="connsiteX0" fmla="*/ 7210 w 7210"/>
                <a:gd name="connsiteY0" fmla="*/ 3605 h 7210"/>
                <a:gd name="connsiteX1" fmla="*/ 3605 w 7210"/>
                <a:gd name="connsiteY1" fmla="*/ 7210 h 7210"/>
                <a:gd name="connsiteX2" fmla="*/ 0 w 7210"/>
                <a:gd name="connsiteY2" fmla="*/ 3605 h 7210"/>
                <a:gd name="connsiteX3" fmla="*/ 3605 w 7210"/>
                <a:gd name="connsiteY3" fmla="*/ 0 h 7210"/>
                <a:gd name="connsiteX4" fmla="*/ 7210 w 7210"/>
                <a:gd name="connsiteY4" fmla="*/ 3605 h 72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210" h="7210">
                  <a:moveTo>
                    <a:pt x="7210" y="3605"/>
                  </a:moveTo>
                  <a:cubicBezTo>
                    <a:pt x="7210" y="5593"/>
                    <a:pt x="5593" y="7210"/>
                    <a:pt x="3605" y="7210"/>
                  </a:cubicBezTo>
                  <a:cubicBezTo>
                    <a:pt x="1618" y="7210"/>
                    <a:pt x="0" y="5593"/>
                    <a:pt x="0" y="3605"/>
                  </a:cubicBezTo>
                  <a:cubicBezTo>
                    <a:pt x="0" y="1618"/>
                    <a:pt x="1618" y="0"/>
                    <a:pt x="3605" y="0"/>
                  </a:cubicBezTo>
                  <a:cubicBezTo>
                    <a:pt x="5593" y="0"/>
                    <a:pt x="7210" y="1618"/>
                    <a:pt x="7210" y="3605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87" name="Forma livre: Forma 1086">
              <a:extLst>
                <a:ext uri="{FF2B5EF4-FFF2-40B4-BE49-F238E27FC236}">
                  <a16:creationId xmlns:a16="http://schemas.microsoft.com/office/drawing/2014/main" id="{2C4CB644-E580-6629-D108-5E770CE318D4}"/>
                </a:ext>
              </a:extLst>
            </p:cNvPr>
            <p:cNvSpPr/>
            <p:nvPr/>
          </p:nvSpPr>
          <p:spPr>
            <a:xfrm>
              <a:off x="6562782" y="4854004"/>
              <a:ext cx="7210" cy="7210"/>
            </a:xfrm>
            <a:custGeom>
              <a:avLst/>
              <a:gdLst>
                <a:gd name="connsiteX0" fmla="*/ 7210 w 7210"/>
                <a:gd name="connsiteY0" fmla="*/ 3605 h 7210"/>
                <a:gd name="connsiteX1" fmla="*/ 3605 w 7210"/>
                <a:gd name="connsiteY1" fmla="*/ 7210 h 7210"/>
                <a:gd name="connsiteX2" fmla="*/ 0 w 7210"/>
                <a:gd name="connsiteY2" fmla="*/ 3605 h 7210"/>
                <a:gd name="connsiteX3" fmla="*/ 3605 w 7210"/>
                <a:gd name="connsiteY3" fmla="*/ 0 h 7210"/>
                <a:gd name="connsiteX4" fmla="*/ 7210 w 7210"/>
                <a:gd name="connsiteY4" fmla="*/ 3605 h 72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210" h="7210">
                  <a:moveTo>
                    <a:pt x="7210" y="3605"/>
                  </a:moveTo>
                  <a:cubicBezTo>
                    <a:pt x="7210" y="5593"/>
                    <a:pt x="5593" y="7210"/>
                    <a:pt x="3605" y="7210"/>
                  </a:cubicBezTo>
                  <a:cubicBezTo>
                    <a:pt x="1618" y="7210"/>
                    <a:pt x="0" y="5593"/>
                    <a:pt x="0" y="3605"/>
                  </a:cubicBezTo>
                  <a:cubicBezTo>
                    <a:pt x="0" y="1618"/>
                    <a:pt x="1618" y="0"/>
                    <a:pt x="3605" y="0"/>
                  </a:cubicBezTo>
                  <a:cubicBezTo>
                    <a:pt x="5593" y="0"/>
                    <a:pt x="7210" y="1618"/>
                    <a:pt x="7210" y="3605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88" name="Forma livre: Forma 1087">
              <a:extLst>
                <a:ext uri="{FF2B5EF4-FFF2-40B4-BE49-F238E27FC236}">
                  <a16:creationId xmlns:a16="http://schemas.microsoft.com/office/drawing/2014/main" id="{1B13CB23-ADD2-DBC5-0F07-D9538EEE4B85}"/>
                </a:ext>
              </a:extLst>
            </p:cNvPr>
            <p:cNvSpPr/>
            <p:nvPr/>
          </p:nvSpPr>
          <p:spPr>
            <a:xfrm>
              <a:off x="6487675" y="4836070"/>
              <a:ext cx="7210" cy="7210"/>
            </a:xfrm>
            <a:custGeom>
              <a:avLst/>
              <a:gdLst>
                <a:gd name="connsiteX0" fmla="*/ 7210 w 7210"/>
                <a:gd name="connsiteY0" fmla="*/ 3605 h 7210"/>
                <a:gd name="connsiteX1" fmla="*/ 3605 w 7210"/>
                <a:gd name="connsiteY1" fmla="*/ 7210 h 7210"/>
                <a:gd name="connsiteX2" fmla="*/ 0 w 7210"/>
                <a:gd name="connsiteY2" fmla="*/ 3605 h 7210"/>
                <a:gd name="connsiteX3" fmla="*/ 3605 w 7210"/>
                <a:gd name="connsiteY3" fmla="*/ 0 h 7210"/>
                <a:gd name="connsiteX4" fmla="*/ 7210 w 7210"/>
                <a:gd name="connsiteY4" fmla="*/ 3605 h 72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210" h="7210">
                  <a:moveTo>
                    <a:pt x="7210" y="3605"/>
                  </a:moveTo>
                  <a:cubicBezTo>
                    <a:pt x="7210" y="5593"/>
                    <a:pt x="5593" y="7210"/>
                    <a:pt x="3605" y="7210"/>
                  </a:cubicBezTo>
                  <a:cubicBezTo>
                    <a:pt x="1618" y="7210"/>
                    <a:pt x="0" y="5593"/>
                    <a:pt x="0" y="3605"/>
                  </a:cubicBezTo>
                  <a:cubicBezTo>
                    <a:pt x="0" y="1618"/>
                    <a:pt x="1618" y="0"/>
                    <a:pt x="3605" y="0"/>
                  </a:cubicBezTo>
                  <a:cubicBezTo>
                    <a:pt x="5593" y="0"/>
                    <a:pt x="7210" y="1618"/>
                    <a:pt x="7210" y="3605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89" name="Forma livre: Forma 1088">
              <a:extLst>
                <a:ext uri="{FF2B5EF4-FFF2-40B4-BE49-F238E27FC236}">
                  <a16:creationId xmlns:a16="http://schemas.microsoft.com/office/drawing/2014/main" id="{90532622-182D-91E0-219D-6001A292B938}"/>
                </a:ext>
              </a:extLst>
            </p:cNvPr>
            <p:cNvSpPr/>
            <p:nvPr/>
          </p:nvSpPr>
          <p:spPr>
            <a:xfrm>
              <a:off x="6480742" y="4876513"/>
              <a:ext cx="7210" cy="7210"/>
            </a:xfrm>
            <a:custGeom>
              <a:avLst/>
              <a:gdLst>
                <a:gd name="connsiteX0" fmla="*/ 7210 w 7210"/>
                <a:gd name="connsiteY0" fmla="*/ 3605 h 7210"/>
                <a:gd name="connsiteX1" fmla="*/ 3605 w 7210"/>
                <a:gd name="connsiteY1" fmla="*/ 7210 h 7210"/>
                <a:gd name="connsiteX2" fmla="*/ 0 w 7210"/>
                <a:gd name="connsiteY2" fmla="*/ 3605 h 7210"/>
                <a:gd name="connsiteX3" fmla="*/ 3605 w 7210"/>
                <a:gd name="connsiteY3" fmla="*/ 0 h 7210"/>
                <a:gd name="connsiteX4" fmla="*/ 7210 w 7210"/>
                <a:gd name="connsiteY4" fmla="*/ 3605 h 72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210" h="7210">
                  <a:moveTo>
                    <a:pt x="7210" y="3605"/>
                  </a:moveTo>
                  <a:cubicBezTo>
                    <a:pt x="7210" y="5593"/>
                    <a:pt x="5593" y="7210"/>
                    <a:pt x="3605" y="7210"/>
                  </a:cubicBezTo>
                  <a:cubicBezTo>
                    <a:pt x="1618" y="7210"/>
                    <a:pt x="0" y="5593"/>
                    <a:pt x="0" y="3605"/>
                  </a:cubicBezTo>
                  <a:cubicBezTo>
                    <a:pt x="0" y="1618"/>
                    <a:pt x="1618" y="0"/>
                    <a:pt x="3605" y="0"/>
                  </a:cubicBezTo>
                  <a:cubicBezTo>
                    <a:pt x="5593" y="0"/>
                    <a:pt x="7210" y="1618"/>
                    <a:pt x="7210" y="3605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90" name="Forma livre: Forma 1089">
              <a:extLst>
                <a:ext uri="{FF2B5EF4-FFF2-40B4-BE49-F238E27FC236}">
                  <a16:creationId xmlns:a16="http://schemas.microsoft.com/office/drawing/2014/main" id="{D0211BD5-7728-A3AB-A71B-920CCE1863E5}"/>
                </a:ext>
              </a:extLst>
            </p:cNvPr>
            <p:cNvSpPr/>
            <p:nvPr/>
          </p:nvSpPr>
          <p:spPr>
            <a:xfrm>
              <a:off x="6487675" y="4925460"/>
              <a:ext cx="7210" cy="7210"/>
            </a:xfrm>
            <a:custGeom>
              <a:avLst/>
              <a:gdLst>
                <a:gd name="connsiteX0" fmla="*/ 7210 w 7210"/>
                <a:gd name="connsiteY0" fmla="*/ 3605 h 7210"/>
                <a:gd name="connsiteX1" fmla="*/ 3605 w 7210"/>
                <a:gd name="connsiteY1" fmla="*/ 7210 h 7210"/>
                <a:gd name="connsiteX2" fmla="*/ 0 w 7210"/>
                <a:gd name="connsiteY2" fmla="*/ 3605 h 7210"/>
                <a:gd name="connsiteX3" fmla="*/ 3605 w 7210"/>
                <a:gd name="connsiteY3" fmla="*/ 0 h 7210"/>
                <a:gd name="connsiteX4" fmla="*/ 7210 w 7210"/>
                <a:gd name="connsiteY4" fmla="*/ 3605 h 72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210" h="7210">
                  <a:moveTo>
                    <a:pt x="7210" y="3605"/>
                  </a:moveTo>
                  <a:cubicBezTo>
                    <a:pt x="7210" y="5593"/>
                    <a:pt x="5593" y="7210"/>
                    <a:pt x="3605" y="7210"/>
                  </a:cubicBezTo>
                  <a:cubicBezTo>
                    <a:pt x="1618" y="7210"/>
                    <a:pt x="0" y="5593"/>
                    <a:pt x="0" y="3605"/>
                  </a:cubicBezTo>
                  <a:cubicBezTo>
                    <a:pt x="0" y="1618"/>
                    <a:pt x="1618" y="0"/>
                    <a:pt x="3605" y="0"/>
                  </a:cubicBezTo>
                  <a:cubicBezTo>
                    <a:pt x="5593" y="0"/>
                    <a:pt x="7210" y="1618"/>
                    <a:pt x="7210" y="3605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091" name="Gráfico 18">
            <a:extLst>
              <a:ext uri="{FF2B5EF4-FFF2-40B4-BE49-F238E27FC236}">
                <a16:creationId xmlns:a16="http://schemas.microsoft.com/office/drawing/2014/main" id="{D3405977-C36F-A537-33E5-BDDD971DF90F}"/>
              </a:ext>
            </a:extLst>
          </p:cNvPr>
          <p:cNvGrpSpPr/>
          <p:nvPr/>
        </p:nvGrpSpPr>
        <p:grpSpPr>
          <a:xfrm>
            <a:off x="6438034" y="5222887"/>
            <a:ext cx="204154" cy="205217"/>
            <a:chOff x="6438034" y="5222887"/>
            <a:chExt cx="204154" cy="205217"/>
          </a:xfrm>
          <a:noFill/>
        </p:grpSpPr>
        <p:sp>
          <p:nvSpPr>
            <p:cNvPr id="1092" name="Forma livre: Forma 1091">
              <a:extLst>
                <a:ext uri="{FF2B5EF4-FFF2-40B4-BE49-F238E27FC236}">
                  <a16:creationId xmlns:a16="http://schemas.microsoft.com/office/drawing/2014/main" id="{BFF30C47-D287-F64B-419B-5C986693EB27}"/>
                </a:ext>
              </a:extLst>
            </p:cNvPr>
            <p:cNvSpPr/>
            <p:nvPr/>
          </p:nvSpPr>
          <p:spPr>
            <a:xfrm>
              <a:off x="6443026" y="5283990"/>
              <a:ext cx="80885" cy="4622"/>
            </a:xfrm>
            <a:custGeom>
              <a:avLst/>
              <a:gdLst>
                <a:gd name="connsiteX0" fmla="*/ 0 w 80885"/>
                <a:gd name="connsiteY0" fmla="*/ 0 h 4622"/>
                <a:gd name="connsiteX1" fmla="*/ 80885 w 80885"/>
                <a:gd name="connsiteY1" fmla="*/ 0 h 46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0885" h="4622">
                  <a:moveTo>
                    <a:pt x="0" y="0"/>
                  </a:moveTo>
                  <a:lnTo>
                    <a:pt x="80885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93" name="Forma livre: Forma 1092">
              <a:extLst>
                <a:ext uri="{FF2B5EF4-FFF2-40B4-BE49-F238E27FC236}">
                  <a16:creationId xmlns:a16="http://schemas.microsoft.com/office/drawing/2014/main" id="{94355C66-9A9C-1392-9DFA-A6FF4AE8DC73}"/>
                </a:ext>
              </a:extLst>
            </p:cNvPr>
            <p:cNvSpPr/>
            <p:nvPr/>
          </p:nvSpPr>
          <p:spPr>
            <a:xfrm>
              <a:off x="6592641" y="5283990"/>
              <a:ext cx="44648" cy="4622"/>
            </a:xfrm>
            <a:custGeom>
              <a:avLst/>
              <a:gdLst>
                <a:gd name="connsiteX0" fmla="*/ 0 w 44648"/>
                <a:gd name="connsiteY0" fmla="*/ 0 h 4622"/>
                <a:gd name="connsiteX1" fmla="*/ 44649 w 44648"/>
                <a:gd name="connsiteY1" fmla="*/ 0 h 46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4648" h="4622">
                  <a:moveTo>
                    <a:pt x="0" y="0"/>
                  </a:moveTo>
                  <a:lnTo>
                    <a:pt x="44649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94" name="Forma livre: Forma 1093">
              <a:extLst>
                <a:ext uri="{FF2B5EF4-FFF2-40B4-BE49-F238E27FC236}">
                  <a16:creationId xmlns:a16="http://schemas.microsoft.com/office/drawing/2014/main" id="{DC78A201-FD0D-C8C8-215E-864C61C15B17}"/>
                </a:ext>
              </a:extLst>
            </p:cNvPr>
            <p:cNvSpPr/>
            <p:nvPr/>
          </p:nvSpPr>
          <p:spPr>
            <a:xfrm rot="-1715400">
              <a:off x="6552125" y="5279322"/>
              <a:ext cx="46867" cy="46867"/>
            </a:xfrm>
            <a:custGeom>
              <a:avLst/>
              <a:gdLst>
                <a:gd name="connsiteX0" fmla="*/ 0 w 46867"/>
                <a:gd name="connsiteY0" fmla="*/ 0 h 46867"/>
                <a:gd name="connsiteX1" fmla="*/ 46867 w 46867"/>
                <a:gd name="connsiteY1" fmla="*/ 0 h 46867"/>
                <a:gd name="connsiteX2" fmla="*/ 46867 w 46867"/>
                <a:gd name="connsiteY2" fmla="*/ 46867 h 46867"/>
                <a:gd name="connsiteX3" fmla="*/ 0 w 46867"/>
                <a:gd name="connsiteY3" fmla="*/ 46867 h 468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6867" h="46867">
                  <a:moveTo>
                    <a:pt x="0" y="0"/>
                  </a:moveTo>
                  <a:lnTo>
                    <a:pt x="46867" y="0"/>
                  </a:lnTo>
                  <a:lnTo>
                    <a:pt x="46867" y="46867"/>
                  </a:lnTo>
                  <a:lnTo>
                    <a:pt x="0" y="46867"/>
                  </a:ln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95" name="Forma livre: Forma 1094">
              <a:extLst>
                <a:ext uri="{FF2B5EF4-FFF2-40B4-BE49-F238E27FC236}">
                  <a16:creationId xmlns:a16="http://schemas.microsoft.com/office/drawing/2014/main" id="{C4EE9C3B-AA58-4116-AFAE-B6DC630DCC8F}"/>
                </a:ext>
              </a:extLst>
            </p:cNvPr>
            <p:cNvSpPr/>
            <p:nvPr/>
          </p:nvSpPr>
          <p:spPr>
            <a:xfrm rot="-5010599">
              <a:off x="6505636" y="5311519"/>
              <a:ext cx="46867" cy="46867"/>
            </a:xfrm>
            <a:custGeom>
              <a:avLst/>
              <a:gdLst>
                <a:gd name="connsiteX0" fmla="*/ 0 w 46867"/>
                <a:gd name="connsiteY0" fmla="*/ 0 h 46867"/>
                <a:gd name="connsiteX1" fmla="*/ 46867 w 46867"/>
                <a:gd name="connsiteY1" fmla="*/ 0 h 46867"/>
                <a:gd name="connsiteX2" fmla="*/ 46867 w 46867"/>
                <a:gd name="connsiteY2" fmla="*/ 46867 h 46867"/>
                <a:gd name="connsiteX3" fmla="*/ 0 w 46867"/>
                <a:gd name="connsiteY3" fmla="*/ 46867 h 468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6867" h="46867">
                  <a:moveTo>
                    <a:pt x="0" y="0"/>
                  </a:moveTo>
                  <a:lnTo>
                    <a:pt x="46867" y="0"/>
                  </a:lnTo>
                  <a:lnTo>
                    <a:pt x="46867" y="46867"/>
                  </a:lnTo>
                  <a:lnTo>
                    <a:pt x="0" y="46867"/>
                  </a:ln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96" name="Forma livre: Forma 1095">
              <a:extLst>
                <a:ext uri="{FF2B5EF4-FFF2-40B4-BE49-F238E27FC236}">
                  <a16:creationId xmlns:a16="http://schemas.microsoft.com/office/drawing/2014/main" id="{CDB4F9C8-3AE8-7EC0-6925-50EA8C710EDA}"/>
                </a:ext>
              </a:extLst>
            </p:cNvPr>
            <p:cNvSpPr/>
            <p:nvPr/>
          </p:nvSpPr>
          <p:spPr>
            <a:xfrm>
              <a:off x="6438034" y="5222887"/>
              <a:ext cx="204154" cy="205217"/>
            </a:xfrm>
            <a:custGeom>
              <a:avLst/>
              <a:gdLst>
                <a:gd name="connsiteX0" fmla="*/ 191629 w 204154"/>
                <a:gd name="connsiteY0" fmla="*/ 205218 h 205217"/>
                <a:gd name="connsiteX1" fmla="*/ 12479 w 204154"/>
                <a:gd name="connsiteY1" fmla="*/ 205218 h 205217"/>
                <a:gd name="connsiteX2" fmla="*/ 0 w 204154"/>
                <a:gd name="connsiteY2" fmla="*/ 0 h 205217"/>
                <a:gd name="connsiteX3" fmla="*/ 204155 w 204154"/>
                <a:gd name="connsiteY3" fmla="*/ 0 h 205217"/>
                <a:gd name="connsiteX4" fmla="*/ 191629 w 204154"/>
                <a:gd name="connsiteY4" fmla="*/ 205218 h 2052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04154" h="205217">
                  <a:moveTo>
                    <a:pt x="191629" y="205218"/>
                  </a:moveTo>
                  <a:lnTo>
                    <a:pt x="12479" y="205218"/>
                  </a:lnTo>
                  <a:lnTo>
                    <a:pt x="0" y="0"/>
                  </a:lnTo>
                  <a:lnTo>
                    <a:pt x="204155" y="0"/>
                  </a:lnTo>
                  <a:lnTo>
                    <a:pt x="191629" y="205218"/>
                  </a:ln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97" name="Forma livre: Forma 1096">
              <a:extLst>
                <a:ext uri="{FF2B5EF4-FFF2-40B4-BE49-F238E27FC236}">
                  <a16:creationId xmlns:a16="http://schemas.microsoft.com/office/drawing/2014/main" id="{4FC993D6-1FF7-117A-704C-C5F171AA6C19}"/>
                </a:ext>
              </a:extLst>
            </p:cNvPr>
            <p:cNvSpPr/>
            <p:nvPr/>
          </p:nvSpPr>
          <p:spPr>
            <a:xfrm>
              <a:off x="6450606" y="5386738"/>
              <a:ext cx="178964" cy="4622"/>
            </a:xfrm>
            <a:custGeom>
              <a:avLst/>
              <a:gdLst>
                <a:gd name="connsiteX0" fmla="*/ 0 w 178964"/>
                <a:gd name="connsiteY0" fmla="*/ 0 h 4622"/>
                <a:gd name="connsiteX1" fmla="*/ 178965 w 178964"/>
                <a:gd name="connsiteY1" fmla="*/ 0 h 46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78964" h="4622">
                  <a:moveTo>
                    <a:pt x="0" y="0"/>
                  </a:moveTo>
                  <a:lnTo>
                    <a:pt x="178965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098" name="Gráfico 18">
            <a:extLst>
              <a:ext uri="{FF2B5EF4-FFF2-40B4-BE49-F238E27FC236}">
                <a16:creationId xmlns:a16="http://schemas.microsoft.com/office/drawing/2014/main" id="{7DE6077E-C020-8817-D066-EF6B685EDA0B}"/>
              </a:ext>
            </a:extLst>
          </p:cNvPr>
          <p:cNvGrpSpPr/>
          <p:nvPr/>
        </p:nvGrpSpPr>
        <p:grpSpPr>
          <a:xfrm>
            <a:off x="7644929" y="3634206"/>
            <a:ext cx="208876" cy="324743"/>
            <a:chOff x="7644929" y="3634206"/>
            <a:chExt cx="208876" cy="324743"/>
          </a:xfrm>
          <a:noFill/>
        </p:grpSpPr>
        <p:sp>
          <p:nvSpPr>
            <p:cNvPr id="1099" name="Forma livre: Forma 1098">
              <a:extLst>
                <a:ext uri="{FF2B5EF4-FFF2-40B4-BE49-F238E27FC236}">
                  <a16:creationId xmlns:a16="http://schemas.microsoft.com/office/drawing/2014/main" id="{E5269C3F-FB4A-F00A-1021-19FDCF045121}"/>
                </a:ext>
              </a:extLst>
            </p:cNvPr>
            <p:cNvSpPr/>
            <p:nvPr/>
          </p:nvSpPr>
          <p:spPr>
            <a:xfrm>
              <a:off x="7730490" y="3911620"/>
              <a:ext cx="4622" cy="45711"/>
            </a:xfrm>
            <a:custGeom>
              <a:avLst/>
              <a:gdLst>
                <a:gd name="connsiteX0" fmla="*/ 0 w 4622"/>
                <a:gd name="connsiteY0" fmla="*/ 0 h 45711"/>
                <a:gd name="connsiteX1" fmla="*/ 0 w 4622"/>
                <a:gd name="connsiteY1" fmla="*/ 45712 h 457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622" h="45711">
                  <a:moveTo>
                    <a:pt x="0" y="0"/>
                  </a:moveTo>
                  <a:lnTo>
                    <a:pt x="0" y="45712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00" name="Forma livre: Forma 1099">
              <a:extLst>
                <a:ext uri="{FF2B5EF4-FFF2-40B4-BE49-F238E27FC236}">
                  <a16:creationId xmlns:a16="http://schemas.microsoft.com/office/drawing/2014/main" id="{A0BD36AB-3086-51F3-8653-8D3C7CFC4558}"/>
                </a:ext>
              </a:extLst>
            </p:cNvPr>
            <p:cNvSpPr/>
            <p:nvPr/>
          </p:nvSpPr>
          <p:spPr>
            <a:xfrm>
              <a:off x="7674425" y="3958949"/>
              <a:ext cx="112130" cy="4622"/>
            </a:xfrm>
            <a:custGeom>
              <a:avLst/>
              <a:gdLst>
                <a:gd name="connsiteX0" fmla="*/ 0 w 112130"/>
                <a:gd name="connsiteY0" fmla="*/ 0 h 4622"/>
                <a:gd name="connsiteX1" fmla="*/ 112130 w 112130"/>
                <a:gd name="connsiteY1" fmla="*/ 0 h 46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130" h="4622">
                  <a:moveTo>
                    <a:pt x="0" y="0"/>
                  </a:moveTo>
                  <a:lnTo>
                    <a:pt x="11213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01" name="Forma livre: Forma 1100">
              <a:extLst>
                <a:ext uri="{FF2B5EF4-FFF2-40B4-BE49-F238E27FC236}">
                  <a16:creationId xmlns:a16="http://schemas.microsoft.com/office/drawing/2014/main" id="{2CDC4D44-3898-D991-0206-9DE9CCC69259}"/>
                </a:ext>
              </a:extLst>
            </p:cNvPr>
            <p:cNvSpPr/>
            <p:nvPr/>
          </p:nvSpPr>
          <p:spPr>
            <a:xfrm>
              <a:off x="7644929" y="3681073"/>
              <a:ext cx="171116" cy="207806"/>
            </a:xfrm>
            <a:custGeom>
              <a:avLst/>
              <a:gdLst>
                <a:gd name="connsiteX0" fmla="*/ 85930 w 171116"/>
                <a:gd name="connsiteY0" fmla="*/ 207806 h 207806"/>
                <a:gd name="connsiteX1" fmla="*/ 169034 w 171116"/>
                <a:gd name="connsiteY1" fmla="*/ 121143 h 207806"/>
                <a:gd name="connsiteX2" fmla="*/ 159051 w 171116"/>
                <a:gd name="connsiteY2" fmla="*/ 0 h 207806"/>
                <a:gd name="connsiteX3" fmla="*/ 12071 w 171116"/>
                <a:gd name="connsiteY3" fmla="*/ 0 h 207806"/>
                <a:gd name="connsiteX4" fmla="*/ 2087 w 171116"/>
                <a:gd name="connsiteY4" fmla="*/ 121143 h 207806"/>
                <a:gd name="connsiteX5" fmla="*/ 85052 w 171116"/>
                <a:gd name="connsiteY5" fmla="*/ 207806 h 207806"/>
                <a:gd name="connsiteX6" fmla="*/ 85930 w 171116"/>
                <a:gd name="connsiteY6" fmla="*/ 207806 h 207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71116" h="207806">
                  <a:moveTo>
                    <a:pt x="85930" y="207806"/>
                  </a:moveTo>
                  <a:cubicBezTo>
                    <a:pt x="131827" y="207806"/>
                    <a:pt x="182022" y="190474"/>
                    <a:pt x="169034" y="121143"/>
                  </a:cubicBezTo>
                  <a:cubicBezTo>
                    <a:pt x="159467" y="70162"/>
                    <a:pt x="159051" y="0"/>
                    <a:pt x="159051" y="0"/>
                  </a:cubicBezTo>
                  <a:lnTo>
                    <a:pt x="12071" y="0"/>
                  </a:lnTo>
                  <a:cubicBezTo>
                    <a:pt x="12071" y="0"/>
                    <a:pt x="11654" y="70162"/>
                    <a:pt x="2087" y="121143"/>
                  </a:cubicBezTo>
                  <a:cubicBezTo>
                    <a:pt x="-10901" y="190474"/>
                    <a:pt x="39156" y="207806"/>
                    <a:pt x="85052" y="207806"/>
                  </a:cubicBezTo>
                  <a:lnTo>
                    <a:pt x="85930" y="207806"/>
                  </a:ln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102" name="Gráfico 18">
              <a:extLst>
                <a:ext uri="{FF2B5EF4-FFF2-40B4-BE49-F238E27FC236}">
                  <a16:creationId xmlns:a16="http://schemas.microsoft.com/office/drawing/2014/main" id="{56CBA631-34F6-71F4-E143-91385DAE008C}"/>
                </a:ext>
              </a:extLst>
            </p:cNvPr>
            <p:cNvGrpSpPr/>
            <p:nvPr/>
          </p:nvGrpSpPr>
          <p:grpSpPr>
            <a:xfrm>
              <a:off x="7712741" y="3634206"/>
              <a:ext cx="141064" cy="115134"/>
              <a:chOff x="7712741" y="3634206"/>
              <a:chExt cx="141064" cy="115134"/>
            </a:xfrm>
            <a:noFill/>
          </p:grpSpPr>
          <p:sp>
            <p:nvSpPr>
              <p:cNvPr id="1103" name="Forma livre: Forma 1102">
                <a:extLst>
                  <a:ext uri="{FF2B5EF4-FFF2-40B4-BE49-F238E27FC236}">
                    <a16:creationId xmlns:a16="http://schemas.microsoft.com/office/drawing/2014/main" id="{3763F0B5-2CD6-3D91-3DAA-D17395D29B6E}"/>
                  </a:ext>
                </a:extLst>
              </p:cNvPr>
              <p:cNvSpPr/>
              <p:nvPr/>
            </p:nvSpPr>
            <p:spPr>
              <a:xfrm>
                <a:off x="7712741" y="3634206"/>
                <a:ext cx="141064" cy="70347"/>
              </a:xfrm>
              <a:custGeom>
                <a:avLst/>
                <a:gdLst>
                  <a:gd name="connsiteX0" fmla="*/ 0 w 141064"/>
                  <a:gd name="connsiteY0" fmla="*/ 3143 h 70347"/>
                  <a:gd name="connsiteX1" fmla="*/ 88096 w 141064"/>
                  <a:gd name="connsiteY1" fmla="*/ 0 h 70347"/>
                  <a:gd name="connsiteX2" fmla="*/ 141064 w 141064"/>
                  <a:gd name="connsiteY2" fmla="*/ 70347 h 70347"/>
                  <a:gd name="connsiteX3" fmla="*/ 0 w 141064"/>
                  <a:gd name="connsiteY3" fmla="*/ 3143 h 703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41064" h="70347">
                    <a:moveTo>
                      <a:pt x="0" y="3143"/>
                    </a:moveTo>
                    <a:lnTo>
                      <a:pt x="88096" y="0"/>
                    </a:lnTo>
                    <a:lnTo>
                      <a:pt x="141064" y="70347"/>
                    </a:lnTo>
                    <a:lnTo>
                      <a:pt x="0" y="3143"/>
                    </a:lnTo>
                    <a:close/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104" name="Forma livre: Forma 1103">
                <a:extLst>
                  <a:ext uri="{FF2B5EF4-FFF2-40B4-BE49-F238E27FC236}">
                    <a16:creationId xmlns:a16="http://schemas.microsoft.com/office/drawing/2014/main" id="{0A17B0C4-245D-AD60-053E-CB7B74286D8A}"/>
                  </a:ext>
                </a:extLst>
              </p:cNvPr>
              <p:cNvSpPr/>
              <p:nvPr/>
            </p:nvSpPr>
            <p:spPr>
              <a:xfrm>
                <a:off x="7745696" y="3671506"/>
                <a:ext cx="37669" cy="77834"/>
              </a:xfrm>
              <a:custGeom>
                <a:avLst/>
                <a:gdLst>
                  <a:gd name="connsiteX0" fmla="*/ 37670 w 37669"/>
                  <a:gd name="connsiteY0" fmla="*/ 0 h 77834"/>
                  <a:gd name="connsiteX1" fmla="*/ 0 w 37669"/>
                  <a:gd name="connsiteY1" fmla="*/ 77835 h 778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7669" h="77834">
                    <a:moveTo>
                      <a:pt x="37670" y="0"/>
                    </a:moveTo>
                    <a:lnTo>
                      <a:pt x="0" y="77835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105" name="Forma livre: Forma 1104">
              <a:extLst>
                <a:ext uri="{FF2B5EF4-FFF2-40B4-BE49-F238E27FC236}">
                  <a16:creationId xmlns:a16="http://schemas.microsoft.com/office/drawing/2014/main" id="{ED93964E-D1CC-27C4-ABE7-94D22835CBA9}"/>
                </a:ext>
              </a:extLst>
            </p:cNvPr>
            <p:cNvSpPr/>
            <p:nvPr/>
          </p:nvSpPr>
          <p:spPr>
            <a:xfrm>
              <a:off x="7674557" y="3750866"/>
              <a:ext cx="131133" cy="109588"/>
            </a:xfrm>
            <a:custGeom>
              <a:avLst/>
              <a:gdLst>
                <a:gd name="connsiteX0" fmla="*/ 49601 w 131133"/>
                <a:gd name="connsiteY0" fmla="*/ 109588 h 109588"/>
                <a:gd name="connsiteX1" fmla="*/ 1578 w 131133"/>
                <a:gd name="connsiteY1" fmla="*/ 56990 h 109588"/>
                <a:gd name="connsiteX2" fmla="*/ 8511 w 131133"/>
                <a:gd name="connsiteY2" fmla="*/ 0 h 109588"/>
                <a:gd name="connsiteX3" fmla="*/ 131133 w 131133"/>
                <a:gd name="connsiteY3" fmla="*/ 0 h 1095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1133" h="109588">
                  <a:moveTo>
                    <a:pt x="49601" y="109588"/>
                  </a:moveTo>
                  <a:cubicBezTo>
                    <a:pt x="-9330" y="106722"/>
                    <a:pt x="-225" y="66372"/>
                    <a:pt x="1578" y="56990"/>
                  </a:cubicBezTo>
                  <a:cubicBezTo>
                    <a:pt x="3381" y="47607"/>
                    <a:pt x="8511" y="0"/>
                    <a:pt x="8511" y="0"/>
                  </a:cubicBezTo>
                  <a:lnTo>
                    <a:pt x="131133" y="0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106" name="Gráfico 18">
            <a:extLst>
              <a:ext uri="{FF2B5EF4-FFF2-40B4-BE49-F238E27FC236}">
                <a16:creationId xmlns:a16="http://schemas.microsoft.com/office/drawing/2014/main" id="{4020F66C-B998-46B3-95AB-2E5356302768}"/>
              </a:ext>
            </a:extLst>
          </p:cNvPr>
          <p:cNvGrpSpPr/>
          <p:nvPr/>
        </p:nvGrpSpPr>
        <p:grpSpPr>
          <a:xfrm>
            <a:off x="7653441" y="4166062"/>
            <a:ext cx="191813" cy="272005"/>
            <a:chOff x="7653441" y="4166062"/>
            <a:chExt cx="191813" cy="272005"/>
          </a:xfrm>
          <a:noFill/>
        </p:grpSpPr>
        <p:sp>
          <p:nvSpPr>
            <p:cNvPr id="1107" name="Forma livre: Forma 1106">
              <a:extLst>
                <a:ext uri="{FF2B5EF4-FFF2-40B4-BE49-F238E27FC236}">
                  <a16:creationId xmlns:a16="http://schemas.microsoft.com/office/drawing/2014/main" id="{3D6890B8-5D30-AF9B-BAA1-39D5C46EA535}"/>
                </a:ext>
              </a:extLst>
            </p:cNvPr>
            <p:cNvSpPr/>
            <p:nvPr/>
          </p:nvSpPr>
          <p:spPr>
            <a:xfrm>
              <a:off x="7671652" y="4250922"/>
              <a:ext cx="79776" cy="187145"/>
            </a:xfrm>
            <a:custGeom>
              <a:avLst/>
              <a:gdLst>
                <a:gd name="connsiteX0" fmla="*/ 0 w 79776"/>
                <a:gd name="connsiteY0" fmla="*/ 0 h 187145"/>
                <a:gd name="connsiteX1" fmla="*/ 15206 w 79776"/>
                <a:gd name="connsiteY1" fmla="*/ 187146 h 187145"/>
                <a:gd name="connsiteX2" fmla="*/ 79776 w 79776"/>
                <a:gd name="connsiteY2" fmla="*/ 187146 h 1871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79776" h="187145">
                  <a:moveTo>
                    <a:pt x="0" y="0"/>
                  </a:moveTo>
                  <a:lnTo>
                    <a:pt x="15206" y="187146"/>
                  </a:lnTo>
                  <a:lnTo>
                    <a:pt x="79776" y="187146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08" name="Forma livre: Forma 1107">
              <a:extLst>
                <a:ext uri="{FF2B5EF4-FFF2-40B4-BE49-F238E27FC236}">
                  <a16:creationId xmlns:a16="http://schemas.microsoft.com/office/drawing/2014/main" id="{4760069E-DA1D-3BF6-C3D6-FB0FC6413A54}"/>
                </a:ext>
              </a:extLst>
            </p:cNvPr>
            <p:cNvSpPr/>
            <p:nvPr/>
          </p:nvSpPr>
          <p:spPr>
            <a:xfrm>
              <a:off x="7653441" y="4196521"/>
              <a:ext cx="191813" cy="32770"/>
            </a:xfrm>
            <a:custGeom>
              <a:avLst/>
              <a:gdLst>
                <a:gd name="connsiteX0" fmla="*/ 0 w 191813"/>
                <a:gd name="connsiteY0" fmla="*/ 0 h 32770"/>
                <a:gd name="connsiteX1" fmla="*/ 191814 w 191813"/>
                <a:gd name="connsiteY1" fmla="*/ 0 h 32770"/>
                <a:gd name="connsiteX2" fmla="*/ 191814 w 191813"/>
                <a:gd name="connsiteY2" fmla="*/ 32770 h 32770"/>
                <a:gd name="connsiteX3" fmla="*/ 0 w 191813"/>
                <a:gd name="connsiteY3" fmla="*/ 32770 h 327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1813" h="32770">
                  <a:moveTo>
                    <a:pt x="0" y="0"/>
                  </a:moveTo>
                  <a:lnTo>
                    <a:pt x="191814" y="0"/>
                  </a:lnTo>
                  <a:lnTo>
                    <a:pt x="191814" y="32770"/>
                  </a:lnTo>
                  <a:lnTo>
                    <a:pt x="0" y="32770"/>
                  </a:ln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09" name="Forma livre: Forma 1108">
              <a:extLst>
                <a:ext uri="{FF2B5EF4-FFF2-40B4-BE49-F238E27FC236}">
                  <a16:creationId xmlns:a16="http://schemas.microsoft.com/office/drawing/2014/main" id="{FC597385-30A5-49F7-F27E-37B70EF1ACA8}"/>
                </a:ext>
              </a:extLst>
            </p:cNvPr>
            <p:cNvSpPr/>
            <p:nvPr/>
          </p:nvSpPr>
          <p:spPr>
            <a:xfrm>
              <a:off x="7818355" y="4167772"/>
              <a:ext cx="8920" cy="24265"/>
            </a:xfrm>
            <a:custGeom>
              <a:avLst/>
              <a:gdLst>
                <a:gd name="connsiteX0" fmla="*/ 0 w 8920"/>
                <a:gd name="connsiteY0" fmla="*/ 0 h 24265"/>
                <a:gd name="connsiteX1" fmla="*/ 8921 w 8920"/>
                <a:gd name="connsiteY1" fmla="*/ 24266 h 242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920" h="24265">
                  <a:moveTo>
                    <a:pt x="0" y="0"/>
                  </a:moveTo>
                  <a:lnTo>
                    <a:pt x="8921" y="24266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10" name="Forma livre: Forma 1109">
              <a:extLst>
                <a:ext uri="{FF2B5EF4-FFF2-40B4-BE49-F238E27FC236}">
                  <a16:creationId xmlns:a16="http://schemas.microsoft.com/office/drawing/2014/main" id="{B84A9D6B-8A75-5C9F-BFF3-AAED780C068A}"/>
                </a:ext>
              </a:extLst>
            </p:cNvPr>
            <p:cNvSpPr/>
            <p:nvPr/>
          </p:nvSpPr>
          <p:spPr>
            <a:xfrm>
              <a:off x="7675164" y="4290903"/>
              <a:ext cx="149614" cy="4622"/>
            </a:xfrm>
            <a:custGeom>
              <a:avLst/>
              <a:gdLst>
                <a:gd name="connsiteX0" fmla="*/ 0 w 149614"/>
                <a:gd name="connsiteY0" fmla="*/ 0 h 4622"/>
                <a:gd name="connsiteX1" fmla="*/ 149615 w 149614"/>
                <a:gd name="connsiteY1" fmla="*/ 0 h 46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49614" h="4622">
                  <a:moveTo>
                    <a:pt x="0" y="0"/>
                  </a:moveTo>
                  <a:lnTo>
                    <a:pt x="149615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11" name="Forma livre: Forma 1110">
              <a:extLst>
                <a:ext uri="{FF2B5EF4-FFF2-40B4-BE49-F238E27FC236}">
                  <a16:creationId xmlns:a16="http://schemas.microsoft.com/office/drawing/2014/main" id="{BDEBF066-EF92-779D-224B-682463ACDAE3}"/>
                </a:ext>
              </a:extLst>
            </p:cNvPr>
            <p:cNvSpPr/>
            <p:nvPr/>
          </p:nvSpPr>
          <p:spPr>
            <a:xfrm>
              <a:off x="7683299" y="4383482"/>
              <a:ext cx="133345" cy="4622"/>
            </a:xfrm>
            <a:custGeom>
              <a:avLst/>
              <a:gdLst>
                <a:gd name="connsiteX0" fmla="*/ 0 w 133345"/>
                <a:gd name="connsiteY0" fmla="*/ 0 h 4622"/>
                <a:gd name="connsiteX1" fmla="*/ 133345 w 133345"/>
                <a:gd name="connsiteY1" fmla="*/ 0 h 46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33345" h="4622">
                  <a:moveTo>
                    <a:pt x="0" y="0"/>
                  </a:moveTo>
                  <a:lnTo>
                    <a:pt x="133345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12" name="Forma livre: Forma 1111">
              <a:extLst>
                <a:ext uri="{FF2B5EF4-FFF2-40B4-BE49-F238E27FC236}">
                  <a16:creationId xmlns:a16="http://schemas.microsoft.com/office/drawing/2014/main" id="{00DA9403-B40E-7BD4-C135-FA4C86F7DE74}"/>
                </a:ext>
              </a:extLst>
            </p:cNvPr>
            <p:cNvSpPr/>
            <p:nvPr/>
          </p:nvSpPr>
          <p:spPr>
            <a:xfrm>
              <a:off x="7668185" y="4166062"/>
              <a:ext cx="160522" cy="29765"/>
            </a:xfrm>
            <a:custGeom>
              <a:avLst/>
              <a:gdLst>
                <a:gd name="connsiteX0" fmla="*/ 160523 w 160522"/>
                <a:gd name="connsiteY0" fmla="*/ 29766 h 29765"/>
                <a:gd name="connsiteX1" fmla="*/ 149476 w 160522"/>
                <a:gd name="connsiteY1" fmla="*/ 0 h 29765"/>
                <a:gd name="connsiteX2" fmla="*/ 11047 w 160522"/>
                <a:gd name="connsiteY2" fmla="*/ 0 h 29765"/>
                <a:gd name="connsiteX3" fmla="*/ 0 w 160522"/>
                <a:gd name="connsiteY3" fmla="*/ 29766 h 297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60522" h="29765">
                  <a:moveTo>
                    <a:pt x="160523" y="29766"/>
                  </a:moveTo>
                  <a:lnTo>
                    <a:pt x="149476" y="0"/>
                  </a:lnTo>
                  <a:lnTo>
                    <a:pt x="11047" y="0"/>
                  </a:lnTo>
                  <a:lnTo>
                    <a:pt x="0" y="29766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13" name="Forma livre: Forma 1112">
              <a:extLst>
                <a:ext uri="{FF2B5EF4-FFF2-40B4-BE49-F238E27FC236}">
                  <a16:creationId xmlns:a16="http://schemas.microsoft.com/office/drawing/2014/main" id="{6C3EBA70-ECB1-F476-5B84-6C4373FC74F6}"/>
                </a:ext>
              </a:extLst>
            </p:cNvPr>
            <p:cNvSpPr/>
            <p:nvPr/>
          </p:nvSpPr>
          <p:spPr>
            <a:xfrm>
              <a:off x="7748331" y="4250922"/>
              <a:ext cx="79776" cy="187145"/>
            </a:xfrm>
            <a:custGeom>
              <a:avLst/>
              <a:gdLst>
                <a:gd name="connsiteX0" fmla="*/ 79776 w 79776"/>
                <a:gd name="connsiteY0" fmla="*/ 0 h 187145"/>
                <a:gd name="connsiteX1" fmla="*/ 64570 w 79776"/>
                <a:gd name="connsiteY1" fmla="*/ 187146 h 187145"/>
                <a:gd name="connsiteX2" fmla="*/ 0 w 79776"/>
                <a:gd name="connsiteY2" fmla="*/ 187146 h 1871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79776" h="187145">
                  <a:moveTo>
                    <a:pt x="79776" y="0"/>
                  </a:moveTo>
                  <a:lnTo>
                    <a:pt x="64570" y="187146"/>
                  </a:lnTo>
                  <a:lnTo>
                    <a:pt x="0" y="187146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114" name="Gráfico 18">
            <a:extLst>
              <a:ext uri="{FF2B5EF4-FFF2-40B4-BE49-F238E27FC236}">
                <a16:creationId xmlns:a16="http://schemas.microsoft.com/office/drawing/2014/main" id="{740C81B6-4FD2-0445-A4EC-B81C08A51417}"/>
              </a:ext>
            </a:extLst>
          </p:cNvPr>
          <p:cNvGrpSpPr/>
          <p:nvPr/>
        </p:nvGrpSpPr>
        <p:grpSpPr>
          <a:xfrm>
            <a:off x="7681127" y="5649726"/>
            <a:ext cx="136488" cy="337597"/>
            <a:chOff x="7681127" y="5649726"/>
            <a:chExt cx="136488" cy="337597"/>
          </a:xfrm>
          <a:noFill/>
        </p:grpSpPr>
        <p:sp>
          <p:nvSpPr>
            <p:cNvPr id="1115" name="Forma livre: Forma 1114">
              <a:extLst>
                <a:ext uri="{FF2B5EF4-FFF2-40B4-BE49-F238E27FC236}">
                  <a16:creationId xmlns:a16="http://schemas.microsoft.com/office/drawing/2014/main" id="{5C593CA5-2F7E-CC74-F0D4-18936C47DA8D}"/>
                </a:ext>
              </a:extLst>
            </p:cNvPr>
            <p:cNvSpPr/>
            <p:nvPr/>
          </p:nvSpPr>
          <p:spPr>
            <a:xfrm>
              <a:off x="7764046" y="5683749"/>
              <a:ext cx="31291" cy="120542"/>
            </a:xfrm>
            <a:custGeom>
              <a:avLst/>
              <a:gdLst>
                <a:gd name="connsiteX0" fmla="*/ 0 w 31291"/>
                <a:gd name="connsiteY0" fmla="*/ 120542 h 120542"/>
                <a:gd name="connsiteX1" fmla="*/ 31291 w 31291"/>
                <a:gd name="connsiteY1" fmla="*/ 0 h 1205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1291" h="120542">
                  <a:moveTo>
                    <a:pt x="0" y="120542"/>
                  </a:moveTo>
                  <a:lnTo>
                    <a:pt x="31291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16" name="Forma livre: Forma 1115">
              <a:extLst>
                <a:ext uri="{FF2B5EF4-FFF2-40B4-BE49-F238E27FC236}">
                  <a16:creationId xmlns:a16="http://schemas.microsoft.com/office/drawing/2014/main" id="{93E9000B-BAC1-6083-914E-4C34A0FAD824}"/>
                </a:ext>
              </a:extLst>
            </p:cNvPr>
            <p:cNvSpPr/>
            <p:nvPr/>
          </p:nvSpPr>
          <p:spPr>
            <a:xfrm>
              <a:off x="7723649" y="5913325"/>
              <a:ext cx="12017" cy="46220"/>
            </a:xfrm>
            <a:custGeom>
              <a:avLst/>
              <a:gdLst>
                <a:gd name="connsiteX0" fmla="*/ 0 w 12017"/>
                <a:gd name="connsiteY0" fmla="*/ 46220 h 46220"/>
                <a:gd name="connsiteX1" fmla="*/ 12017 w 12017"/>
                <a:gd name="connsiteY1" fmla="*/ 0 h 462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17" h="46220">
                  <a:moveTo>
                    <a:pt x="0" y="46220"/>
                  </a:moveTo>
                  <a:lnTo>
                    <a:pt x="12017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17" name="Forma livre: Forma 1116">
              <a:extLst>
                <a:ext uri="{FF2B5EF4-FFF2-40B4-BE49-F238E27FC236}">
                  <a16:creationId xmlns:a16="http://schemas.microsoft.com/office/drawing/2014/main" id="{399FCCE5-F6AB-E0FA-A569-1A133D75C076}"/>
                </a:ext>
              </a:extLst>
            </p:cNvPr>
            <p:cNvSpPr/>
            <p:nvPr/>
          </p:nvSpPr>
          <p:spPr>
            <a:xfrm>
              <a:off x="7681127" y="5730200"/>
              <a:ext cx="136488" cy="257122"/>
            </a:xfrm>
            <a:custGeom>
              <a:avLst/>
              <a:gdLst>
                <a:gd name="connsiteX0" fmla="*/ 136488 w 136488"/>
                <a:gd name="connsiteY0" fmla="*/ 224769 h 257122"/>
                <a:gd name="connsiteX1" fmla="*/ 104134 w 136488"/>
                <a:gd name="connsiteY1" fmla="*/ 257123 h 257122"/>
                <a:gd name="connsiteX2" fmla="*/ 32354 w 136488"/>
                <a:gd name="connsiteY2" fmla="*/ 257123 h 257122"/>
                <a:gd name="connsiteX3" fmla="*/ 0 w 136488"/>
                <a:gd name="connsiteY3" fmla="*/ 224769 h 257122"/>
                <a:gd name="connsiteX4" fmla="*/ 0 w 136488"/>
                <a:gd name="connsiteY4" fmla="*/ 0 h 257122"/>
                <a:gd name="connsiteX5" fmla="*/ 136488 w 136488"/>
                <a:gd name="connsiteY5" fmla="*/ 0 h 257122"/>
                <a:gd name="connsiteX6" fmla="*/ 136488 w 136488"/>
                <a:gd name="connsiteY6" fmla="*/ 224769 h 2571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36488" h="257122">
                  <a:moveTo>
                    <a:pt x="136488" y="224769"/>
                  </a:moveTo>
                  <a:cubicBezTo>
                    <a:pt x="136488" y="242564"/>
                    <a:pt x="121929" y="257123"/>
                    <a:pt x="104134" y="257123"/>
                  </a:cubicBezTo>
                  <a:lnTo>
                    <a:pt x="32354" y="257123"/>
                  </a:lnTo>
                  <a:cubicBezTo>
                    <a:pt x="14559" y="257123"/>
                    <a:pt x="0" y="242564"/>
                    <a:pt x="0" y="224769"/>
                  </a:cubicBezTo>
                  <a:lnTo>
                    <a:pt x="0" y="0"/>
                  </a:lnTo>
                  <a:lnTo>
                    <a:pt x="136488" y="0"/>
                  </a:lnTo>
                  <a:lnTo>
                    <a:pt x="136488" y="224769"/>
                  </a:ln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18" name="Forma livre: Forma 1117">
              <a:extLst>
                <a:ext uri="{FF2B5EF4-FFF2-40B4-BE49-F238E27FC236}">
                  <a16:creationId xmlns:a16="http://schemas.microsoft.com/office/drawing/2014/main" id="{20F73553-B8D0-6FEE-78E0-8891437D3155}"/>
                </a:ext>
              </a:extLst>
            </p:cNvPr>
            <p:cNvSpPr/>
            <p:nvPr/>
          </p:nvSpPr>
          <p:spPr>
            <a:xfrm>
              <a:off x="7787895" y="5809283"/>
              <a:ext cx="28795" cy="4622"/>
            </a:xfrm>
            <a:custGeom>
              <a:avLst/>
              <a:gdLst>
                <a:gd name="connsiteX0" fmla="*/ 0 w 28795"/>
                <a:gd name="connsiteY0" fmla="*/ 0 h 4622"/>
                <a:gd name="connsiteX1" fmla="*/ 28795 w 28795"/>
                <a:gd name="connsiteY1" fmla="*/ 0 h 46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8795" h="4622">
                  <a:moveTo>
                    <a:pt x="0" y="0"/>
                  </a:moveTo>
                  <a:lnTo>
                    <a:pt x="28795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19" name="Forma livre: Forma 1118">
              <a:extLst>
                <a:ext uri="{FF2B5EF4-FFF2-40B4-BE49-F238E27FC236}">
                  <a16:creationId xmlns:a16="http://schemas.microsoft.com/office/drawing/2014/main" id="{6325FD6A-076D-B007-7E0C-B4146C77167C}"/>
                </a:ext>
              </a:extLst>
            </p:cNvPr>
            <p:cNvSpPr/>
            <p:nvPr/>
          </p:nvSpPr>
          <p:spPr>
            <a:xfrm>
              <a:off x="7681543" y="5809283"/>
              <a:ext cx="35866" cy="4622"/>
            </a:xfrm>
            <a:custGeom>
              <a:avLst/>
              <a:gdLst>
                <a:gd name="connsiteX0" fmla="*/ 0 w 35866"/>
                <a:gd name="connsiteY0" fmla="*/ 0 h 4622"/>
                <a:gd name="connsiteX1" fmla="*/ 35867 w 35866"/>
                <a:gd name="connsiteY1" fmla="*/ 0 h 46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5866" h="4622">
                  <a:moveTo>
                    <a:pt x="0" y="0"/>
                  </a:moveTo>
                  <a:lnTo>
                    <a:pt x="35867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20" name="Forma livre: Forma 1119">
              <a:extLst>
                <a:ext uri="{FF2B5EF4-FFF2-40B4-BE49-F238E27FC236}">
                  <a16:creationId xmlns:a16="http://schemas.microsoft.com/office/drawing/2014/main" id="{18BA3E26-C927-652E-4735-6B5C3F51E71A}"/>
                </a:ext>
              </a:extLst>
            </p:cNvPr>
            <p:cNvSpPr/>
            <p:nvPr/>
          </p:nvSpPr>
          <p:spPr>
            <a:xfrm rot="-3648601">
              <a:off x="7725867" y="5866934"/>
              <a:ext cx="51997" cy="51997"/>
            </a:xfrm>
            <a:custGeom>
              <a:avLst/>
              <a:gdLst>
                <a:gd name="connsiteX0" fmla="*/ 0 w 51997"/>
                <a:gd name="connsiteY0" fmla="*/ 0 h 51997"/>
                <a:gd name="connsiteX1" fmla="*/ 51998 w 51997"/>
                <a:gd name="connsiteY1" fmla="*/ 0 h 51997"/>
                <a:gd name="connsiteX2" fmla="*/ 51998 w 51997"/>
                <a:gd name="connsiteY2" fmla="*/ 51998 h 51997"/>
                <a:gd name="connsiteX3" fmla="*/ 0 w 51997"/>
                <a:gd name="connsiteY3" fmla="*/ 51998 h 519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1997" h="51997">
                  <a:moveTo>
                    <a:pt x="0" y="0"/>
                  </a:moveTo>
                  <a:lnTo>
                    <a:pt x="51998" y="0"/>
                  </a:lnTo>
                  <a:lnTo>
                    <a:pt x="51998" y="51998"/>
                  </a:lnTo>
                  <a:lnTo>
                    <a:pt x="0" y="51998"/>
                  </a:ln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21" name="Forma livre: Forma 1120">
              <a:extLst>
                <a:ext uri="{FF2B5EF4-FFF2-40B4-BE49-F238E27FC236}">
                  <a16:creationId xmlns:a16="http://schemas.microsoft.com/office/drawing/2014/main" id="{990A98D7-AA7B-C86E-2110-B5740196DD96}"/>
                </a:ext>
              </a:extLst>
            </p:cNvPr>
            <p:cNvSpPr/>
            <p:nvPr/>
          </p:nvSpPr>
          <p:spPr>
            <a:xfrm>
              <a:off x="7781327" y="5649726"/>
              <a:ext cx="35460" cy="35460"/>
            </a:xfrm>
            <a:custGeom>
              <a:avLst/>
              <a:gdLst>
                <a:gd name="connsiteX0" fmla="*/ 35456 w 35460"/>
                <a:gd name="connsiteY0" fmla="*/ 17338 h 35460"/>
                <a:gd name="connsiteX1" fmla="*/ 18170 w 35460"/>
                <a:gd name="connsiteY1" fmla="*/ 35456 h 35460"/>
                <a:gd name="connsiteX2" fmla="*/ 5 w 35460"/>
                <a:gd name="connsiteY2" fmla="*/ 18170 h 35460"/>
                <a:gd name="connsiteX3" fmla="*/ 17291 w 35460"/>
                <a:gd name="connsiteY3" fmla="*/ 5 h 35460"/>
                <a:gd name="connsiteX4" fmla="*/ 35410 w 35460"/>
                <a:gd name="connsiteY4" fmla="*/ 17291 h 354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5460" h="35460">
                  <a:moveTo>
                    <a:pt x="35456" y="17338"/>
                  </a:moveTo>
                  <a:cubicBezTo>
                    <a:pt x="35687" y="27136"/>
                    <a:pt x="27968" y="35225"/>
                    <a:pt x="18170" y="35456"/>
                  </a:cubicBezTo>
                  <a:cubicBezTo>
                    <a:pt x="8371" y="35687"/>
                    <a:pt x="282" y="27968"/>
                    <a:pt x="5" y="18170"/>
                  </a:cubicBezTo>
                  <a:cubicBezTo>
                    <a:pt x="-226" y="8371"/>
                    <a:pt x="7493" y="236"/>
                    <a:pt x="17291" y="5"/>
                  </a:cubicBezTo>
                  <a:cubicBezTo>
                    <a:pt x="27090" y="-226"/>
                    <a:pt x="35179" y="7493"/>
                    <a:pt x="35410" y="17291"/>
                  </a:cubicBez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22" name="Forma livre: Forma 1121">
              <a:extLst>
                <a:ext uri="{FF2B5EF4-FFF2-40B4-BE49-F238E27FC236}">
                  <a16:creationId xmlns:a16="http://schemas.microsoft.com/office/drawing/2014/main" id="{3FC6FB7B-8D04-BB93-E6DA-AC3BF5D9D8FC}"/>
                </a:ext>
              </a:extLst>
            </p:cNvPr>
            <p:cNvSpPr/>
            <p:nvPr/>
          </p:nvSpPr>
          <p:spPr>
            <a:xfrm rot="-1715400">
              <a:off x="7743028" y="5805044"/>
              <a:ext cx="51997" cy="51997"/>
            </a:xfrm>
            <a:custGeom>
              <a:avLst/>
              <a:gdLst>
                <a:gd name="connsiteX0" fmla="*/ 0 w 51997"/>
                <a:gd name="connsiteY0" fmla="*/ 0 h 51997"/>
                <a:gd name="connsiteX1" fmla="*/ 51998 w 51997"/>
                <a:gd name="connsiteY1" fmla="*/ 0 h 51997"/>
                <a:gd name="connsiteX2" fmla="*/ 51998 w 51997"/>
                <a:gd name="connsiteY2" fmla="*/ 51998 h 51997"/>
                <a:gd name="connsiteX3" fmla="*/ 0 w 51997"/>
                <a:gd name="connsiteY3" fmla="*/ 51998 h 519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1997" h="51997">
                  <a:moveTo>
                    <a:pt x="0" y="0"/>
                  </a:moveTo>
                  <a:lnTo>
                    <a:pt x="51998" y="0"/>
                  </a:lnTo>
                  <a:lnTo>
                    <a:pt x="51998" y="51998"/>
                  </a:lnTo>
                  <a:lnTo>
                    <a:pt x="0" y="51998"/>
                  </a:ln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123" name="Gráfico 18">
            <a:extLst>
              <a:ext uri="{FF2B5EF4-FFF2-40B4-BE49-F238E27FC236}">
                <a16:creationId xmlns:a16="http://schemas.microsoft.com/office/drawing/2014/main" id="{B601F16D-6F4D-35A3-C6DB-EBA6EA077CC1}"/>
              </a:ext>
            </a:extLst>
          </p:cNvPr>
          <p:cNvGrpSpPr/>
          <p:nvPr/>
        </p:nvGrpSpPr>
        <p:grpSpPr>
          <a:xfrm>
            <a:off x="7644832" y="4679291"/>
            <a:ext cx="209076" cy="256522"/>
            <a:chOff x="7644832" y="4679291"/>
            <a:chExt cx="209076" cy="256522"/>
          </a:xfrm>
          <a:noFill/>
        </p:grpSpPr>
        <p:sp>
          <p:nvSpPr>
            <p:cNvPr id="1124" name="Forma livre: Forma 1123">
              <a:extLst>
                <a:ext uri="{FF2B5EF4-FFF2-40B4-BE49-F238E27FC236}">
                  <a16:creationId xmlns:a16="http://schemas.microsoft.com/office/drawing/2014/main" id="{D2E2B97D-E860-7902-DADC-2B8F509C158C}"/>
                </a:ext>
              </a:extLst>
            </p:cNvPr>
            <p:cNvSpPr/>
            <p:nvPr/>
          </p:nvSpPr>
          <p:spPr>
            <a:xfrm>
              <a:off x="7749348" y="4848873"/>
              <a:ext cx="4622" cy="85230"/>
            </a:xfrm>
            <a:custGeom>
              <a:avLst/>
              <a:gdLst>
                <a:gd name="connsiteX0" fmla="*/ 0 w 4622"/>
                <a:gd name="connsiteY0" fmla="*/ 0 h 85230"/>
                <a:gd name="connsiteX1" fmla="*/ 0 w 4622"/>
                <a:gd name="connsiteY1" fmla="*/ 85230 h 852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622" h="85230">
                  <a:moveTo>
                    <a:pt x="0" y="0"/>
                  </a:moveTo>
                  <a:lnTo>
                    <a:pt x="0" y="8523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25" name="Forma livre: Forma 1124">
              <a:extLst>
                <a:ext uri="{FF2B5EF4-FFF2-40B4-BE49-F238E27FC236}">
                  <a16:creationId xmlns:a16="http://schemas.microsoft.com/office/drawing/2014/main" id="{0D2FE0A3-12F7-8E50-0E5A-960E82514349}"/>
                </a:ext>
              </a:extLst>
            </p:cNvPr>
            <p:cNvSpPr/>
            <p:nvPr/>
          </p:nvSpPr>
          <p:spPr>
            <a:xfrm>
              <a:off x="7684547" y="4935813"/>
              <a:ext cx="129601" cy="4622"/>
            </a:xfrm>
            <a:custGeom>
              <a:avLst/>
              <a:gdLst>
                <a:gd name="connsiteX0" fmla="*/ 0 w 129601"/>
                <a:gd name="connsiteY0" fmla="*/ 0 h 4622"/>
                <a:gd name="connsiteX1" fmla="*/ 129602 w 129601"/>
                <a:gd name="connsiteY1" fmla="*/ 0 h 46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9601" h="4622">
                  <a:moveTo>
                    <a:pt x="0" y="0"/>
                  </a:moveTo>
                  <a:lnTo>
                    <a:pt x="129602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26" name="Forma livre: Forma 1125">
              <a:extLst>
                <a:ext uri="{FF2B5EF4-FFF2-40B4-BE49-F238E27FC236}">
                  <a16:creationId xmlns:a16="http://schemas.microsoft.com/office/drawing/2014/main" id="{09BEB642-D9EE-9355-CBDA-6D3192DDAD87}"/>
                </a:ext>
              </a:extLst>
            </p:cNvPr>
            <p:cNvSpPr/>
            <p:nvPr/>
          </p:nvSpPr>
          <p:spPr>
            <a:xfrm>
              <a:off x="7644832" y="4679291"/>
              <a:ext cx="209076" cy="146887"/>
            </a:xfrm>
            <a:custGeom>
              <a:avLst/>
              <a:gdLst>
                <a:gd name="connsiteX0" fmla="*/ 104885 w 209076"/>
                <a:gd name="connsiteY0" fmla="*/ 146888 h 146887"/>
                <a:gd name="connsiteX1" fmla="*/ 207725 w 209076"/>
                <a:gd name="connsiteY1" fmla="*/ 0 h 146887"/>
                <a:gd name="connsiteX2" fmla="*/ 1352 w 209076"/>
                <a:gd name="connsiteY2" fmla="*/ 0 h 146887"/>
                <a:gd name="connsiteX3" fmla="*/ 104146 w 209076"/>
                <a:gd name="connsiteY3" fmla="*/ 146888 h 146887"/>
                <a:gd name="connsiteX4" fmla="*/ 104932 w 209076"/>
                <a:gd name="connsiteY4" fmla="*/ 146888 h 1468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09076" h="146887">
                  <a:moveTo>
                    <a:pt x="104885" y="146888"/>
                  </a:moveTo>
                  <a:cubicBezTo>
                    <a:pt x="228756" y="146888"/>
                    <a:pt x="207725" y="0"/>
                    <a:pt x="207725" y="0"/>
                  </a:cubicBezTo>
                  <a:lnTo>
                    <a:pt x="1352" y="0"/>
                  </a:lnTo>
                  <a:cubicBezTo>
                    <a:pt x="1352" y="0"/>
                    <a:pt x="-19678" y="146888"/>
                    <a:pt x="104146" y="146888"/>
                  </a:cubicBezTo>
                  <a:lnTo>
                    <a:pt x="104932" y="146888"/>
                  </a:ln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27" name="Forma livre: Forma 1126">
              <a:extLst>
                <a:ext uri="{FF2B5EF4-FFF2-40B4-BE49-F238E27FC236}">
                  <a16:creationId xmlns:a16="http://schemas.microsoft.com/office/drawing/2014/main" id="{EA0A4678-84FA-FCAF-D9C2-B4B7BD2B95E5}"/>
                </a:ext>
              </a:extLst>
            </p:cNvPr>
            <p:cNvSpPr/>
            <p:nvPr/>
          </p:nvSpPr>
          <p:spPr>
            <a:xfrm>
              <a:off x="7678862" y="4731058"/>
              <a:ext cx="172031" cy="64708"/>
            </a:xfrm>
            <a:custGeom>
              <a:avLst/>
              <a:gdLst>
                <a:gd name="connsiteX0" fmla="*/ 57775 w 172031"/>
                <a:gd name="connsiteY0" fmla="*/ 64708 h 64708"/>
                <a:gd name="connsiteX1" fmla="*/ 0 w 172031"/>
                <a:gd name="connsiteY1" fmla="*/ 0 h 64708"/>
                <a:gd name="connsiteX2" fmla="*/ 172032 w 172031"/>
                <a:gd name="connsiteY2" fmla="*/ 0 h 647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72031" h="64708">
                  <a:moveTo>
                    <a:pt x="57775" y="64708"/>
                  </a:moveTo>
                  <a:cubicBezTo>
                    <a:pt x="2311" y="52552"/>
                    <a:pt x="0" y="0"/>
                    <a:pt x="0" y="0"/>
                  </a:cubicBezTo>
                  <a:lnTo>
                    <a:pt x="172032" y="0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128" name="Gráfico 18">
            <a:extLst>
              <a:ext uri="{FF2B5EF4-FFF2-40B4-BE49-F238E27FC236}">
                <a16:creationId xmlns:a16="http://schemas.microsoft.com/office/drawing/2014/main" id="{23ED4DE5-F15C-63D4-BC99-C0AE3FA19CCC}"/>
              </a:ext>
            </a:extLst>
          </p:cNvPr>
          <p:cNvGrpSpPr/>
          <p:nvPr/>
        </p:nvGrpSpPr>
        <p:grpSpPr>
          <a:xfrm>
            <a:off x="7682373" y="5154574"/>
            <a:ext cx="133948" cy="316978"/>
            <a:chOff x="7682373" y="5154574"/>
            <a:chExt cx="133948" cy="316978"/>
          </a:xfrm>
        </p:grpSpPr>
        <p:sp>
          <p:nvSpPr>
            <p:cNvPr id="1129" name="Forma livre: Forma 1128">
              <a:extLst>
                <a:ext uri="{FF2B5EF4-FFF2-40B4-BE49-F238E27FC236}">
                  <a16:creationId xmlns:a16="http://schemas.microsoft.com/office/drawing/2014/main" id="{C55F2B42-7DA4-331E-A45C-9107BF71B651}"/>
                </a:ext>
              </a:extLst>
            </p:cNvPr>
            <p:cNvSpPr/>
            <p:nvPr/>
          </p:nvSpPr>
          <p:spPr>
            <a:xfrm>
              <a:off x="7749348" y="5410588"/>
              <a:ext cx="4622" cy="60271"/>
            </a:xfrm>
            <a:custGeom>
              <a:avLst/>
              <a:gdLst>
                <a:gd name="connsiteX0" fmla="*/ 0 w 4622"/>
                <a:gd name="connsiteY0" fmla="*/ 0 h 60271"/>
                <a:gd name="connsiteX1" fmla="*/ 0 w 4622"/>
                <a:gd name="connsiteY1" fmla="*/ 60271 h 602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622" h="60271">
                  <a:moveTo>
                    <a:pt x="0" y="0"/>
                  </a:moveTo>
                  <a:lnTo>
                    <a:pt x="0" y="60271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30" name="Forma livre: Forma 1129">
              <a:extLst>
                <a:ext uri="{FF2B5EF4-FFF2-40B4-BE49-F238E27FC236}">
                  <a16:creationId xmlns:a16="http://schemas.microsoft.com/office/drawing/2014/main" id="{BB397C2C-9FA6-6CAE-0BF9-72D22F36EE30}"/>
                </a:ext>
              </a:extLst>
            </p:cNvPr>
            <p:cNvSpPr/>
            <p:nvPr/>
          </p:nvSpPr>
          <p:spPr>
            <a:xfrm>
              <a:off x="7701279" y="5471552"/>
              <a:ext cx="96138" cy="4622"/>
            </a:xfrm>
            <a:custGeom>
              <a:avLst/>
              <a:gdLst>
                <a:gd name="connsiteX0" fmla="*/ 0 w 96138"/>
                <a:gd name="connsiteY0" fmla="*/ 0 h 4622"/>
                <a:gd name="connsiteX1" fmla="*/ 96138 w 96138"/>
                <a:gd name="connsiteY1" fmla="*/ 0 h 46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6138" h="4622">
                  <a:moveTo>
                    <a:pt x="0" y="0"/>
                  </a:moveTo>
                  <a:lnTo>
                    <a:pt x="96138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31" name="Forma livre: Forma 1130">
              <a:extLst>
                <a:ext uri="{FF2B5EF4-FFF2-40B4-BE49-F238E27FC236}">
                  <a16:creationId xmlns:a16="http://schemas.microsoft.com/office/drawing/2014/main" id="{282DA92F-6207-2DEB-0AA7-88C9C0854454}"/>
                </a:ext>
              </a:extLst>
            </p:cNvPr>
            <p:cNvSpPr/>
            <p:nvPr/>
          </p:nvSpPr>
          <p:spPr>
            <a:xfrm>
              <a:off x="7682373" y="5154574"/>
              <a:ext cx="133948" cy="254211"/>
            </a:xfrm>
            <a:custGeom>
              <a:avLst/>
              <a:gdLst>
                <a:gd name="connsiteX0" fmla="*/ 133624 w 133948"/>
                <a:gd name="connsiteY0" fmla="*/ 175637 h 254211"/>
                <a:gd name="connsiteX1" fmla="*/ 111300 w 133948"/>
                <a:gd name="connsiteY1" fmla="*/ 0 h 254211"/>
                <a:gd name="connsiteX2" fmla="*/ 22649 w 133948"/>
                <a:gd name="connsiteY2" fmla="*/ 0 h 254211"/>
                <a:gd name="connsiteX3" fmla="*/ 325 w 133948"/>
                <a:gd name="connsiteY3" fmla="*/ 175637 h 254211"/>
                <a:gd name="connsiteX4" fmla="*/ 66974 w 133948"/>
                <a:gd name="connsiteY4" fmla="*/ 254211 h 254211"/>
                <a:gd name="connsiteX5" fmla="*/ 66974 w 133948"/>
                <a:gd name="connsiteY5" fmla="*/ 254211 h 254211"/>
                <a:gd name="connsiteX6" fmla="*/ 133624 w 133948"/>
                <a:gd name="connsiteY6" fmla="*/ 175637 h 2542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33948" h="254211">
                  <a:moveTo>
                    <a:pt x="133624" y="175637"/>
                  </a:moveTo>
                  <a:lnTo>
                    <a:pt x="111300" y="0"/>
                  </a:lnTo>
                  <a:lnTo>
                    <a:pt x="22649" y="0"/>
                  </a:lnTo>
                  <a:lnTo>
                    <a:pt x="325" y="175637"/>
                  </a:lnTo>
                  <a:cubicBezTo>
                    <a:pt x="-3650" y="225693"/>
                    <a:pt x="29444" y="254211"/>
                    <a:pt x="66974" y="254211"/>
                  </a:cubicBezTo>
                  <a:lnTo>
                    <a:pt x="66974" y="254211"/>
                  </a:lnTo>
                  <a:cubicBezTo>
                    <a:pt x="104505" y="254211"/>
                    <a:pt x="137599" y="225693"/>
                    <a:pt x="133624" y="175637"/>
                  </a:cubicBez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32" name="Forma livre: Forma 1131">
              <a:extLst>
                <a:ext uri="{FF2B5EF4-FFF2-40B4-BE49-F238E27FC236}">
                  <a16:creationId xmlns:a16="http://schemas.microsoft.com/office/drawing/2014/main" id="{D780D2E8-0E22-5DEF-C102-9ED7A05B47A1}"/>
                </a:ext>
              </a:extLst>
            </p:cNvPr>
            <p:cNvSpPr/>
            <p:nvPr/>
          </p:nvSpPr>
          <p:spPr>
            <a:xfrm>
              <a:off x="7718242" y="5228203"/>
              <a:ext cx="83566" cy="4622"/>
            </a:xfrm>
            <a:custGeom>
              <a:avLst/>
              <a:gdLst>
                <a:gd name="connsiteX0" fmla="*/ 0 w 83566"/>
                <a:gd name="connsiteY0" fmla="*/ 0 h 4622"/>
                <a:gd name="connsiteX1" fmla="*/ 83566 w 83566"/>
                <a:gd name="connsiteY1" fmla="*/ 0 h 46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3566" h="4622">
                  <a:moveTo>
                    <a:pt x="0" y="0"/>
                  </a:moveTo>
                  <a:lnTo>
                    <a:pt x="83566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33" name="Forma livre: Forma 1132">
              <a:extLst>
                <a:ext uri="{FF2B5EF4-FFF2-40B4-BE49-F238E27FC236}">
                  <a16:creationId xmlns:a16="http://schemas.microsoft.com/office/drawing/2014/main" id="{88E55313-DB53-9E82-4F04-DB2DCE335C4A}"/>
                </a:ext>
              </a:extLst>
            </p:cNvPr>
            <p:cNvSpPr/>
            <p:nvPr/>
          </p:nvSpPr>
          <p:spPr>
            <a:xfrm>
              <a:off x="7733679" y="5260418"/>
              <a:ext cx="7210" cy="7210"/>
            </a:xfrm>
            <a:custGeom>
              <a:avLst/>
              <a:gdLst>
                <a:gd name="connsiteX0" fmla="*/ 7210 w 7210"/>
                <a:gd name="connsiteY0" fmla="*/ 3605 h 7210"/>
                <a:gd name="connsiteX1" fmla="*/ 3605 w 7210"/>
                <a:gd name="connsiteY1" fmla="*/ 7210 h 7210"/>
                <a:gd name="connsiteX2" fmla="*/ 0 w 7210"/>
                <a:gd name="connsiteY2" fmla="*/ 3605 h 7210"/>
                <a:gd name="connsiteX3" fmla="*/ 3605 w 7210"/>
                <a:gd name="connsiteY3" fmla="*/ 0 h 7210"/>
                <a:gd name="connsiteX4" fmla="*/ 7210 w 7210"/>
                <a:gd name="connsiteY4" fmla="*/ 3605 h 72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210" h="7210">
                  <a:moveTo>
                    <a:pt x="7210" y="3605"/>
                  </a:moveTo>
                  <a:cubicBezTo>
                    <a:pt x="7210" y="5593"/>
                    <a:pt x="5593" y="7210"/>
                    <a:pt x="3605" y="7210"/>
                  </a:cubicBezTo>
                  <a:cubicBezTo>
                    <a:pt x="1618" y="7210"/>
                    <a:pt x="0" y="5593"/>
                    <a:pt x="0" y="3605"/>
                  </a:cubicBezTo>
                  <a:cubicBezTo>
                    <a:pt x="0" y="1618"/>
                    <a:pt x="1618" y="0"/>
                    <a:pt x="3605" y="0"/>
                  </a:cubicBezTo>
                  <a:cubicBezTo>
                    <a:pt x="5593" y="0"/>
                    <a:pt x="7210" y="1618"/>
                    <a:pt x="7210" y="3605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34" name="Forma livre: Forma 1133">
              <a:extLst>
                <a:ext uri="{FF2B5EF4-FFF2-40B4-BE49-F238E27FC236}">
                  <a16:creationId xmlns:a16="http://schemas.microsoft.com/office/drawing/2014/main" id="{3E151F91-9696-F104-39DD-B4742B409C59}"/>
                </a:ext>
              </a:extLst>
            </p:cNvPr>
            <p:cNvSpPr/>
            <p:nvPr/>
          </p:nvSpPr>
          <p:spPr>
            <a:xfrm>
              <a:off x="7769500" y="5280062"/>
              <a:ext cx="7210" cy="7210"/>
            </a:xfrm>
            <a:custGeom>
              <a:avLst/>
              <a:gdLst>
                <a:gd name="connsiteX0" fmla="*/ 7210 w 7210"/>
                <a:gd name="connsiteY0" fmla="*/ 3605 h 7210"/>
                <a:gd name="connsiteX1" fmla="*/ 3605 w 7210"/>
                <a:gd name="connsiteY1" fmla="*/ 7210 h 7210"/>
                <a:gd name="connsiteX2" fmla="*/ 0 w 7210"/>
                <a:gd name="connsiteY2" fmla="*/ 3605 h 7210"/>
                <a:gd name="connsiteX3" fmla="*/ 3605 w 7210"/>
                <a:gd name="connsiteY3" fmla="*/ 0 h 7210"/>
                <a:gd name="connsiteX4" fmla="*/ 7210 w 7210"/>
                <a:gd name="connsiteY4" fmla="*/ 3605 h 72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210" h="7210">
                  <a:moveTo>
                    <a:pt x="7210" y="3605"/>
                  </a:moveTo>
                  <a:cubicBezTo>
                    <a:pt x="7210" y="5593"/>
                    <a:pt x="5593" y="7210"/>
                    <a:pt x="3605" y="7210"/>
                  </a:cubicBezTo>
                  <a:cubicBezTo>
                    <a:pt x="1618" y="7210"/>
                    <a:pt x="0" y="5593"/>
                    <a:pt x="0" y="3605"/>
                  </a:cubicBezTo>
                  <a:cubicBezTo>
                    <a:pt x="0" y="1618"/>
                    <a:pt x="1618" y="0"/>
                    <a:pt x="3605" y="0"/>
                  </a:cubicBezTo>
                  <a:cubicBezTo>
                    <a:pt x="5593" y="0"/>
                    <a:pt x="7210" y="1618"/>
                    <a:pt x="7210" y="3605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35" name="Forma livre: Forma 1134">
              <a:extLst>
                <a:ext uri="{FF2B5EF4-FFF2-40B4-BE49-F238E27FC236}">
                  <a16:creationId xmlns:a16="http://schemas.microsoft.com/office/drawing/2014/main" id="{DAD2059D-D74D-1E26-CCE0-DD07F957E071}"/>
                </a:ext>
              </a:extLst>
            </p:cNvPr>
            <p:cNvSpPr/>
            <p:nvPr/>
          </p:nvSpPr>
          <p:spPr>
            <a:xfrm>
              <a:off x="7742045" y="5310243"/>
              <a:ext cx="7210" cy="7210"/>
            </a:xfrm>
            <a:custGeom>
              <a:avLst/>
              <a:gdLst>
                <a:gd name="connsiteX0" fmla="*/ 7210 w 7210"/>
                <a:gd name="connsiteY0" fmla="*/ 3605 h 7210"/>
                <a:gd name="connsiteX1" fmla="*/ 3605 w 7210"/>
                <a:gd name="connsiteY1" fmla="*/ 7210 h 7210"/>
                <a:gd name="connsiteX2" fmla="*/ 0 w 7210"/>
                <a:gd name="connsiteY2" fmla="*/ 3605 h 7210"/>
                <a:gd name="connsiteX3" fmla="*/ 3605 w 7210"/>
                <a:gd name="connsiteY3" fmla="*/ 0 h 7210"/>
                <a:gd name="connsiteX4" fmla="*/ 7210 w 7210"/>
                <a:gd name="connsiteY4" fmla="*/ 3605 h 72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210" h="7210">
                  <a:moveTo>
                    <a:pt x="7210" y="3605"/>
                  </a:moveTo>
                  <a:cubicBezTo>
                    <a:pt x="7210" y="5593"/>
                    <a:pt x="5593" y="7210"/>
                    <a:pt x="3605" y="7210"/>
                  </a:cubicBezTo>
                  <a:cubicBezTo>
                    <a:pt x="1618" y="7210"/>
                    <a:pt x="0" y="5593"/>
                    <a:pt x="0" y="3605"/>
                  </a:cubicBezTo>
                  <a:cubicBezTo>
                    <a:pt x="0" y="1618"/>
                    <a:pt x="1618" y="0"/>
                    <a:pt x="3605" y="0"/>
                  </a:cubicBezTo>
                  <a:cubicBezTo>
                    <a:pt x="5593" y="0"/>
                    <a:pt x="7210" y="1618"/>
                    <a:pt x="7210" y="3605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36" name="Forma livre: Forma 1135">
              <a:extLst>
                <a:ext uri="{FF2B5EF4-FFF2-40B4-BE49-F238E27FC236}">
                  <a16:creationId xmlns:a16="http://schemas.microsoft.com/office/drawing/2014/main" id="{C31D5D28-6DA6-2276-CE14-5D492A830937}"/>
                </a:ext>
              </a:extLst>
            </p:cNvPr>
            <p:cNvSpPr/>
            <p:nvPr/>
          </p:nvSpPr>
          <p:spPr>
            <a:xfrm>
              <a:off x="7766403" y="5355955"/>
              <a:ext cx="7210" cy="7210"/>
            </a:xfrm>
            <a:custGeom>
              <a:avLst/>
              <a:gdLst>
                <a:gd name="connsiteX0" fmla="*/ 7210 w 7210"/>
                <a:gd name="connsiteY0" fmla="*/ 3605 h 7210"/>
                <a:gd name="connsiteX1" fmla="*/ 3605 w 7210"/>
                <a:gd name="connsiteY1" fmla="*/ 7210 h 7210"/>
                <a:gd name="connsiteX2" fmla="*/ 0 w 7210"/>
                <a:gd name="connsiteY2" fmla="*/ 3605 h 7210"/>
                <a:gd name="connsiteX3" fmla="*/ 3605 w 7210"/>
                <a:gd name="connsiteY3" fmla="*/ 0 h 7210"/>
                <a:gd name="connsiteX4" fmla="*/ 7210 w 7210"/>
                <a:gd name="connsiteY4" fmla="*/ 3605 h 72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210" h="7210">
                  <a:moveTo>
                    <a:pt x="7210" y="3605"/>
                  </a:moveTo>
                  <a:cubicBezTo>
                    <a:pt x="7210" y="5593"/>
                    <a:pt x="5593" y="7210"/>
                    <a:pt x="3605" y="7210"/>
                  </a:cubicBezTo>
                  <a:cubicBezTo>
                    <a:pt x="1618" y="7210"/>
                    <a:pt x="0" y="5593"/>
                    <a:pt x="0" y="3605"/>
                  </a:cubicBezTo>
                  <a:cubicBezTo>
                    <a:pt x="0" y="1618"/>
                    <a:pt x="1618" y="0"/>
                    <a:pt x="3605" y="0"/>
                  </a:cubicBezTo>
                  <a:cubicBezTo>
                    <a:pt x="5593" y="0"/>
                    <a:pt x="7210" y="1618"/>
                    <a:pt x="7210" y="3605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37" name="Forma livre: Forma 1136">
              <a:extLst>
                <a:ext uri="{FF2B5EF4-FFF2-40B4-BE49-F238E27FC236}">
                  <a16:creationId xmlns:a16="http://schemas.microsoft.com/office/drawing/2014/main" id="{42476FD3-E5F4-6BDE-07B0-2FC7C21406CB}"/>
                </a:ext>
              </a:extLst>
            </p:cNvPr>
            <p:cNvSpPr/>
            <p:nvPr/>
          </p:nvSpPr>
          <p:spPr>
            <a:xfrm>
              <a:off x="7721847" y="5350270"/>
              <a:ext cx="7210" cy="7210"/>
            </a:xfrm>
            <a:custGeom>
              <a:avLst/>
              <a:gdLst>
                <a:gd name="connsiteX0" fmla="*/ 7210 w 7210"/>
                <a:gd name="connsiteY0" fmla="*/ 3605 h 7210"/>
                <a:gd name="connsiteX1" fmla="*/ 3605 w 7210"/>
                <a:gd name="connsiteY1" fmla="*/ 7210 h 7210"/>
                <a:gd name="connsiteX2" fmla="*/ 0 w 7210"/>
                <a:gd name="connsiteY2" fmla="*/ 3605 h 7210"/>
                <a:gd name="connsiteX3" fmla="*/ 3605 w 7210"/>
                <a:gd name="connsiteY3" fmla="*/ 0 h 7210"/>
                <a:gd name="connsiteX4" fmla="*/ 7210 w 7210"/>
                <a:gd name="connsiteY4" fmla="*/ 3605 h 72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210" h="7210">
                  <a:moveTo>
                    <a:pt x="7210" y="3605"/>
                  </a:moveTo>
                  <a:cubicBezTo>
                    <a:pt x="7210" y="5593"/>
                    <a:pt x="5593" y="7210"/>
                    <a:pt x="3605" y="7210"/>
                  </a:cubicBezTo>
                  <a:cubicBezTo>
                    <a:pt x="1618" y="7210"/>
                    <a:pt x="0" y="5593"/>
                    <a:pt x="0" y="3605"/>
                  </a:cubicBezTo>
                  <a:cubicBezTo>
                    <a:pt x="0" y="1618"/>
                    <a:pt x="1618" y="0"/>
                    <a:pt x="3605" y="0"/>
                  </a:cubicBezTo>
                  <a:cubicBezTo>
                    <a:pt x="5593" y="0"/>
                    <a:pt x="7210" y="1618"/>
                    <a:pt x="7210" y="3605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138" name="Gráfico 18">
            <a:extLst>
              <a:ext uri="{FF2B5EF4-FFF2-40B4-BE49-F238E27FC236}">
                <a16:creationId xmlns:a16="http://schemas.microsoft.com/office/drawing/2014/main" id="{BFAD9F5B-A1B6-F566-475E-EC33069857F2}"/>
              </a:ext>
            </a:extLst>
          </p:cNvPr>
          <p:cNvGrpSpPr/>
          <p:nvPr/>
        </p:nvGrpSpPr>
        <p:grpSpPr>
          <a:xfrm>
            <a:off x="7036355" y="3635362"/>
            <a:ext cx="225693" cy="322432"/>
            <a:chOff x="7036355" y="3635362"/>
            <a:chExt cx="225693" cy="322432"/>
          </a:xfrm>
          <a:noFill/>
        </p:grpSpPr>
        <p:sp>
          <p:nvSpPr>
            <p:cNvPr id="1139" name="Forma livre: Forma 1138">
              <a:extLst>
                <a:ext uri="{FF2B5EF4-FFF2-40B4-BE49-F238E27FC236}">
                  <a16:creationId xmlns:a16="http://schemas.microsoft.com/office/drawing/2014/main" id="{DE7DF6F8-F681-9761-4264-0F0D57F8A29E}"/>
                </a:ext>
              </a:extLst>
            </p:cNvPr>
            <p:cNvSpPr/>
            <p:nvPr/>
          </p:nvSpPr>
          <p:spPr>
            <a:xfrm>
              <a:off x="7187079" y="3635362"/>
              <a:ext cx="74969" cy="80192"/>
            </a:xfrm>
            <a:custGeom>
              <a:avLst/>
              <a:gdLst>
                <a:gd name="connsiteX0" fmla="*/ 0 w 74969"/>
                <a:gd name="connsiteY0" fmla="*/ 80192 h 80192"/>
                <a:gd name="connsiteX1" fmla="*/ 13080 w 74969"/>
                <a:gd name="connsiteY1" fmla="*/ 20198 h 80192"/>
                <a:gd name="connsiteX2" fmla="*/ 74969 w 74969"/>
                <a:gd name="connsiteY2" fmla="*/ 0 h 801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74969" h="80192">
                  <a:moveTo>
                    <a:pt x="0" y="80192"/>
                  </a:moveTo>
                  <a:lnTo>
                    <a:pt x="13080" y="20198"/>
                  </a:lnTo>
                  <a:lnTo>
                    <a:pt x="74969" y="0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40" name="Forma livre: Forma 1139">
              <a:extLst>
                <a:ext uri="{FF2B5EF4-FFF2-40B4-BE49-F238E27FC236}">
                  <a16:creationId xmlns:a16="http://schemas.microsoft.com/office/drawing/2014/main" id="{F03C3EBC-D924-B82E-8965-CCA4D5711E69}"/>
                </a:ext>
              </a:extLst>
            </p:cNvPr>
            <p:cNvSpPr/>
            <p:nvPr/>
          </p:nvSpPr>
          <p:spPr>
            <a:xfrm>
              <a:off x="7064826" y="3770972"/>
              <a:ext cx="156778" cy="186822"/>
            </a:xfrm>
            <a:custGeom>
              <a:avLst/>
              <a:gdLst>
                <a:gd name="connsiteX0" fmla="*/ 156779 w 156778"/>
                <a:gd name="connsiteY0" fmla="*/ 0 h 186822"/>
                <a:gd name="connsiteX1" fmla="*/ 141341 w 156778"/>
                <a:gd name="connsiteY1" fmla="*/ 186822 h 186822"/>
                <a:gd name="connsiteX2" fmla="*/ 15438 w 156778"/>
                <a:gd name="connsiteY2" fmla="*/ 186822 h 186822"/>
                <a:gd name="connsiteX3" fmla="*/ 0 w 156778"/>
                <a:gd name="connsiteY3" fmla="*/ 0 h 1868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6778" h="186822">
                  <a:moveTo>
                    <a:pt x="156779" y="0"/>
                  </a:moveTo>
                  <a:lnTo>
                    <a:pt x="141341" y="186822"/>
                  </a:lnTo>
                  <a:lnTo>
                    <a:pt x="15438" y="186822"/>
                  </a:lnTo>
                  <a:lnTo>
                    <a:pt x="0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41" name="Forma livre: Forma 1140">
              <a:extLst>
                <a:ext uri="{FF2B5EF4-FFF2-40B4-BE49-F238E27FC236}">
                  <a16:creationId xmlns:a16="http://schemas.microsoft.com/office/drawing/2014/main" id="{52B74D73-D164-7273-F61B-3323E08EC711}"/>
                </a:ext>
              </a:extLst>
            </p:cNvPr>
            <p:cNvSpPr/>
            <p:nvPr/>
          </p:nvSpPr>
          <p:spPr>
            <a:xfrm>
              <a:off x="7047309" y="3716201"/>
              <a:ext cx="191813" cy="30828"/>
            </a:xfrm>
            <a:custGeom>
              <a:avLst/>
              <a:gdLst>
                <a:gd name="connsiteX0" fmla="*/ 0 w 191813"/>
                <a:gd name="connsiteY0" fmla="*/ 30829 h 30828"/>
                <a:gd name="connsiteX1" fmla="*/ 0 w 191813"/>
                <a:gd name="connsiteY1" fmla="*/ 0 h 30828"/>
                <a:gd name="connsiteX2" fmla="*/ 191814 w 191813"/>
                <a:gd name="connsiteY2" fmla="*/ 0 h 30828"/>
                <a:gd name="connsiteX3" fmla="*/ 191814 w 191813"/>
                <a:gd name="connsiteY3" fmla="*/ 30829 h 308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1813" h="30828">
                  <a:moveTo>
                    <a:pt x="0" y="30829"/>
                  </a:moveTo>
                  <a:lnTo>
                    <a:pt x="0" y="0"/>
                  </a:lnTo>
                  <a:lnTo>
                    <a:pt x="191814" y="0"/>
                  </a:lnTo>
                  <a:lnTo>
                    <a:pt x="191814" y="30829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42" name="Forma livre: Forma 1141">
              <a:extLst>
                <a:ext uri="{FF2B5EF4-FFF2-40B4-BE49-F238E27FC236}">
                  <a16:creationId xmlns:a16="http://schemas.microsoft.com/office/drawing/2014/main" id="{243570F4-2FD2-598A-B521-CA256DB1782A}"/>
                </a:ext>
              </a:extLst>
            </p:cNvPr>
            <p:cNvSpPr/>
            <p:nvPr/>
          </p:nvSpPr>
          <p:spPr>
            <a:xfrm>
              <a:off x="7036355" y="3748601"/>
              <a:ext cx="213768" cy="4622"/>
            </a:xfrm>
            <a:custGeom>
              <a:avLst/>
              <a:gdLst>
                <a:gd name="connsiteX0" fmla="*/ 0 w 213768"/>
                <a:gd name="connsiteY0" fmla="*/ 0 h 4622"/>
                <a:gd name="connsiteX1" fmla="*/ 213769 w 213768"/>
                <a:gd name="connsiteY1" fmla="*/ 0 h 46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13768" h="4622">
                  <a:moveTo>
                    <a:pt x="0" y="0"/>
                  </a:moveTo>
                  <a:lnTo>
                    <a:pt x="213769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43" name="Forma livre: Forma 1142">
              <a:extLst>
                <a:ext uri="{FF2B5EF4-FFF2-40B4-BE49-F238E27FC236}">
                  <a16:creationId xmlns:a16="http://schemas.microsoft.com/office/drawing/2014/main" id="{CF9B5CEC-F676-0775-30BB-F65526F1FE1D}"/>
                </a:ext>
              </a:extLst>
            </p:cNvPr>
            <p:cNvSpPr/>
            <p:nvPr/>
          </p:nvSpPr>
          <p:spPr>
            <a:xfrm>
              <a:off x="7071020" y="3813882"/>
              <a:ext cx="144438" cy="28231"/>
            </a:xfrm>
            <a:custGeom>
              <a:avLst/>
              <a:gdLst>
                <a:gd name="connsiteX0" fmla="*/ 144438 w 144438"/>
                <a:gd name="connsiteY0" fmla="*/ 9781 h 28231"/>
                <a:gd name="connsiteX1" fmla="*/ 69192 w 144438"/>
                <a:gd name="connsiteY1" fmla="*/ 14727 h 28231"/>
                <a:gd name="connsiteX2" fmla="*/ 0 w 144438"/>
                <a:gd name="connsiteY2" fmla="*/ 24294 h 282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44438" h="28231">
                  <a:moveTo>
                    <a:pt x="144438" y="9781"/>
                  </a:moveTo>
                  <a:cubicBezTo>
                    <a:pt x="144438" y="9781"/>
                    <a:pt x="107416" y="-15224"/>
                    <a:pt x="69192" y="14727"/>
                  </a:cubicBezTo>
                  <a:cubicBezTo>
                    <a:pt x="69192" y="14727"/>
                    <a:pt x="39056" y="37051"/>
                    <a:pt x="0" y="24294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44" name="Forma livre: Forma 1143">
              <a:extLst>
                <a:ext uri="{FF2B5EF4-FFF2-40B4-BE49-F238E27FC236}">
                  <a16:creationId xmlns:a16="http://schemas.microsoft.com/office/drawing/2014/main" id="{F18819C6-AEEB-794E-5AC6-010B6F034296}"/>
                </a:ext>
              </a:extLst>
            </p:cNvPr>
            <p:cNvSpPr/>
            <p:nvPr/>
          </p:nvSpPr>
          <p:spPr>
            <a:xfrm>
              <a:off x="7073701" y="3853869"/>
              <a:ext cx="139076" cy="28423"/>
            </a:xfrm>
            <a:custGeom>
              <a:avLst/>
              <a:gdLst>
                <a:gd name="connsiteX0" fmla="*/ 139077 w 139076"/>
                <a:gd name="connsiteY0" fmla="*/ 9220 h 28423"/>
                <a:gd name="connsiteX1" fmla="*/ 67343 w 139076"/>
                <a:gd name="connsiteY1" fmla="*/ 14812 h 28423"/>
                <a:gd name="connsiteX2" fmla="*/ 0 w 139076"/>
                <a:gd name="connsiteY2" fmla="*/ 24796 h 284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39076" h="28423">
                  <a:moveTo>
                    <a:pt x="139077" y="9220"/>
                  </a:moveTo>
                  <a:cubicBezTo>
                    <a:pt x="139077" y="9220"/>
                    <a:pt x="104781" y="-14861"/>
                    <a:pt x="67343" y="14812"/>
                  </a:cubicBezTo>
                  <a:cubicBezTo>
                    <a:pt x="67343" y="14812"/>
                    <a:pt x="37808" y="36906"/>
                    <a:pt x="0" y="24796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145" name="Gráfico 18">
            <a:extLst>
              <a:ext uri="{FF2B5EF4-FFF2-40B4-BE49-F238E27FC236}">
                <a16:creationId xmlns:a16="http://schemas.microsoft.com/office/drawing/2014/main" id="{5F67E64F-B094-9545-8EDB-6961F73B28B2}"/>
              </a:ext>
            </a:extLst>
          </p:cNvPr>
          <p:cNvGrpSpPr/>
          <p:nvPr/>
        </p:nvGrpSpPr>
        <p:grpSpPr>
          <a:xfrm>
            <a:off x="7012677" y="4169206"/>
            <a:ext cx="272989" cy="265719"/>
            <a:chOff x="7012677" y="4169206"/>
            <a:chExt cx="272989" cy="265719"/>
          </a:xfrm>
          <a:noFill/>
        </p:grpSpPr>
        <p:sp>
          <p:nvSpPr>
            <p:cNvPr id="1146" name="Forma livre: Forma 1145">
              <a:extLst>
                <a:ext uri="{FF2B5EF4-FFF2-40B4-BE49-F238E27FC236}">
                  <a16:creationId xmlns:a16="http://schemas.microsoft.com/office/drawing/2014/main" id="{2C1092BB-FD9F-4FCE-0915-D7F745A28936}"/>
                </a:ext>
              </a:extLst>
            </p:cNvPr>
            <p:cNvSpPr/>
            <p:nvPr/>
          </p:nvSpPr>
          <p:spPr>
            <a:xfrm>
              <a:off x="7012677" y="4232065"/>
              <a:ext cx="237227" cy="202860"/>
            </a:xfrm>
            <a:custGeom>
              <a:avLst/>
              <a:gdLst>
                <a:gd name="connsiteX0" fmla="*/ 63704 w 237227"/>
                <a:gd name="connsiteY0" fmla="*/ 0 h 202860"/>
                <a:gd name="connsiteX1" fmla="*/ 567 w 237227"/>
                <a:gd name="connsiteY1" fmla="*/ 88327 h 202860"/>
                <a:gd name="connsiteX2" fmla="*/ 117458 w 237227"/>
                <a:gd name="connsiteY2" fmla="*/ 202861 h 202860"/>
                <a:gd name="connsiteX3" fmla="*/ 119769 w 237227"/>
                <a:gd name="connsiteY3" fmla="*/ 202861 h 202860"/>
                <a:gd name="connsiteX4" fmla="*/ 236660 w 237227"/>
                <a:gd name="connsiteY4" fmla="*/ 88327 h 202860"/>
                <a:gd name="connsiteX5" fmla="*/ 173431 w 237227"/>
                <a:gd name="connsiteY5" fmla="*/ 0 h 202860"/>
                <a:gd name="connsiteX6" fmla="*/ 63658 w 237227"/>
                <a:gd name="connsiteY6" fmla="*/ 0 h 2028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37227" h="202860">
                  <a:moveTo>
                    <a:pt x="63704" y="0"/>
                  </a:moveTo>
                  <a:cubicBezTo>
                    <a:pt x="34678" y="23018"/>
                    <a:pt x="3479" y="56435"/>
                    <a:pt x="567" y="88327"/>
                  </a:cubicBezTo>
                  <a:cubicBezTo>
                    <a:pt x="-6412" y="163943"/>
                    <a:pt x="52057" y="202861"/>
                    <a:pt x="117458" y="202861"/>
                  </a:cubicBezTo>
                  <a:lnTo>
                    <a:pt x="119769" y="202861"/>
                  </a:lnTo>
                  <a:cubicBezTo>
                    <a:pt x="185171" y="202861"/>
                    <a:pt x="243639" y="163943"/>
                    <a:pt x="236660" y="88327"/>
                  </a:cubicBezTo>
                  <a:cubicBezTo>
                    <a:pt x="233702" y="56389"/>
                    <a:pt x="202457" y="22971"/>
                    <a:pt x="173431" y="0"/>
                  </a:cubicBezTo>
                  <a:lnTo>
                    <a:pt x="63658" y="0"/>
                  </a:ln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47" name="Forma livre: Forma 1146">
              <a:extLst>
                <a:ext uri="{FF2B5EF4-FFF2-40B4-BE49-F238E27FC236}">
                  <a16:creationId xmlns:a16="http://schemas.microsoft.com/office/drawing/2014/main" id="{B0E718DF-ECCE-B63D-154B-4FCEACB13775}"/>
                </a:ext>
              </a:extLst>
            </p:cNvPr>
            <p:cNvSpPr/>
            <p:nvPr/>
          </p:nvSpPr>
          <p:spPr>
            <a:xfrm>
              <a:off x="7044776" y="4323442"/>
              <a:ext cx="202620" cy="81255"/>
            </a:xfrm>
            <a:custGeom>
              <a:avLst/>
              <a:gdLst>
                <a:gd name="connsiteX0" fmla="*/ 202621 w 202620"/>
                <a:gd name="connsiteY0" fmla="*/ 0 h 81255"/>
                <a:gd name="connsiteX1" fmla="*/ 222 w 202620"/>
                <a:gd name="connsiteY1" fmla="*/ 0 h 81255"/>
                <a:gd name="connsiteX2" fmla="*/ 71448 w 202620"/>
                <a:gd name="connsiteY2" fmla="*/ 81255 h 812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02620" h="81255">
                  <a:moveTo>
                    <a:pt x="202621" y="0"/>
                  </a:moveTo>
                  <a:lnTo>
                    <a:pt x="222" y="0"/>
                  </a:lnTo>
                  <a:cubicBezTo>
                    <a:pt x="222" y="0"/>
                    <a:pt x="-7728" y="68406"/>
                    <a:pt x="71448" y="81255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48" name="Forma livre: Forma 1147">
              <a:extLst>
                <a:ext uri="{FF2B5EF4-FFF2-40B4-BE49-F238E27FC236}">
                  <a16:creationId xmlns:a16="http://schemas.microsoft.com/office/drawing/2014/main" id="{142E7E70-F529-95F4-88F5-2CFEBE5CA8E4}"/>
                </a:ext>
              </a:extLst>
            </p:cNvPr>
            <p:cNvSpPr/>
            <p:nvPr/>
          </p:nvSpPr>
          <p:spPr>
            <a:xfrm>
              <a:off x="7046708" y="4175583"/>
              <a:ext cx="136904" cy="53939"/>
            </a:xfrm>
            <a:custGeom>
              <a:avLst/>
              <a:gdLst>
                <a:gd name="connsiteX0" fmla="*/ 136904 w 136904"/>
                <a:gd name="connsiteY0" fmla="*/ 53847 h 53939"/>
                <a:gd name="connsiteX1" fmla="*/ 136904 w 136904"/>
                <a:gd name="connsiteY1" fmla="*/ 25467 h 53939"/>
                <a:gd name="connsiteX2" fmla="*/ 0 w 136904"/>
                <a:gd name="connsiteY2" fmla="*/ 0 h 53939"/>
                <a:gd name="connsiteX3" fmla="*/ 31799 w 136904"/>
                <a:gd name="connsiteY3" fmla="*/ 53939 h 539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6904" h="53939">
                  <a:moveTo>
                    <a:pt x="136904" y="53847"/>
                  </a:moveTo>
                  <a:lnTo>
                    <a:pt x="136904" y="25467"/>
                  </a:lnTo>
                  <a:lnTo>
                    <a:pt x="0" y="0"/>
                  </a:lnTo>
                  <a:lnTo>
                    <a:pt x="31799" y="53939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49" name="Forma livre: Forma 1148">
              <a:extLst>
                <a:ext uri="{FF2B5EF4-FFF2-40B4-BE49-F238E27FC236}">
                  <a16:creationId xmlns:a16="http://schemas.microsoft.com/office/drawing/2014/main" id="{6A8027F6-C0F6-FACC-3F38-2752899246A9}"/>
                </a:ext>
              </a:extLst>
            </p:cNvPr>
            <p:cNvSpPr/>
            <p:nvPr/>
          </p:nvSpPr>
          <p:spPr>
            <a:xfrm>
              <a:off x="7184121" y="4169206"/>
              <a:ext cx="101545" cy="109171"/>
            </a:xfrm>
            <a:custGeom>
              <a:avLst/>
              <a:gdLst>
                <a:gd name="connsiteX0" fmla="*/ 0 w 101545"/>
                <a:gd name="connsiteY0" fmla="*/ 30643 h 109171"/>
                <a:gd name="connsiteX1" fmla="*/ 49641 w 101545"/>
                <a:gd name="connsiteY1" fmla="*/ 461 h 109171"/>
                <a:gd name="connsiteX2" fmla="*/ 74784 w 101545"/>
                <a:gd name="connsiteY2" fmla="*/ 29673 h 109171"/>
                <a:gd name="connsiteX3" fmla="*/ 74784 w 101545"/>
                <a:gd name="connsiteY3" fmla="*/ 69422 h 109171"/>
                <a:gd name="connsiteX4" fmla="*/ 101546 w 101545"/>
                <a:gd name="connsiteY4" fmla="*/ 109171 h 1091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1545" h="109171">
                  <a:moveTo>
                    <a:pt x="0" y="30643"/>
                  </a:moveTo>
                  <a:cubicBezTo>
                    <a:pt x="0" y="30643"/>
                    <a:pt x="22047" y="-4392"/>
                    <a:pt x="49641" y="461"/>
                  </a:cubicBezTo>
                  <a:cubicBezTo>
                    <a:pt x="49641" y="461"/>
                    <a:pt x="75616" y="2911"/>
                    <a:pt x="74784" y="29673"/>
                  </a:cubicBezTo>
                  <a:lnTo>
                    <a:pt x="74784" y="69422"/>
                  </a:lnTo>
                  <a:lnTo>
                    <a:pt x="101546" y="109171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150" name="Gráfico 18">
            <a:extLst>
              <a:ext uri="{FF2B5EF4-FFF2-40B4-BE49-F238E27FC236}">
                <a16:creationId xmlns:a16="http://schemas.microsoft.com/office/drawing/2014/main" id="{B8BD28A4-DF8D-DD3A-0F02-62348368F2AD}"/>
              </a:ext>
            </a:extLst>
          </p:cNvPr>
          <p:cNvGrpSpPr/>
          <p:nvPr/>
        </p:nvGrpSpPr>
        <p:grpSpPr>
          <a:xfrm>
            <a:off x="7064041" y="5658836"/>
            <a:ext cx="170325" cy="319381"/>
            <a:chOff x="7064041" y="5658836"/>
            <a:chExt cx="170325" cy="319381"/>
          </a:xfrm>
          <a:noFill/>
        </p:grpSpPr>
        <p:sp>
          <p:nvSpPr>
            <p:cNvPr id="1151" name="Forma livre: Forma 1150">
              <a:extLst>
                <a:ext uri="{FF2B5EF4-FFF2-40B4-BE49-F238E27FC236}">
                  <a16:creationId xmlns:a16="http://schemas.microsoft.com/office/drawing/2014/main" id="{49C2C876-ED16-D10E-4F48-129DFADA50AF}"/>
                </a:ext>
              </a:extLst>
            </p:cNvPr>
            <p:cNvSpPr/>
            <p:nvPr/>
          </p:nvSpPr>
          <p:spPr>
            <a:xfrm>
              <a:off x="7064041" y="5658836"/>
              <a:ext cx="92209" cy="319196"/>
            </a:xfrm>
            <a:custGeom>
              <a:avLst/>
              <a:gdLst>
                <a:gd name="connsiteX0" fmla="*/ 57221 w 92209"/>
                <a:gd name="connsiteY0" fmla="*/ 319197 h 319196"/>
                <a:gd name="connsiteX1" fmla="*/ 0 w 92209"/>
                <a:gd name="connsiteY1" fmla="*/ 319197 h 319196"/>
                <a:gd name="connsiteX2" fmla="*/ 0 w 92209"/>
                <a:gd name="connsiteY2" fmla="*/ 193339 h 319196"/>
                <a:gd name="connsiteX3" fmla="*/ 22694 w 92209"/>
                <a:gd name="connsiteY3" fmla="*/ 122530 h 319196"/>
                <a:gd name="connsiteX4" fmla="*/ 33926 w 92209"/>
                <a:gd name="connsiteY4" fmla="*/ 84306 h 319196"/>
                <a:gd name="connsiteX5" fmla="*/ 33926 w 92209"/>
                <a:gd name="connsiteY5" fmla="*/ 0 h 319196"/>
                <a:gd name="connsiteX6" fmla="*/ 78251 w 92209"/>
                <a:gd name="connsiteY6" fmla="*/ 0 h 319196"/>
                <a:gd name="connsiteX7" fmla="*/ 78251 w 92209"/>
                <a:gd name="connsiteY7" fmla="*/ 84306 h 319196"/>
                <a:gd name="connsiteX8" fmla="*/ 89482 w 92209"/>
                <a:gd name="connsiteY8" fmla="*/ 122530 h 319196"/>
                <a:gd name="connsiteX9" fmla="*/ 92209 w 92209"/>
                <a:gd name="connsiteY9" fmla="*/ 126921 h 3191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92209" h="319196">
                  <a:moveTo>
                    <a:pt x="57221" y="319197"/>
                  </a:moveTo>
                  <a:lnTo>
                    <a:pt x="0" y="319197"/>
                  </a:lnTo>
                  <a:lnTo>
                    <a:pt x="0" y="193339"/>
                  </a:lnTo>
                  <a:cubicBezTo>
                    <a:pt x="0" y="155115"/>
                    <a:pt x="22694" y="122530"/>
                    <a:pt x="22694" y="122530"/>
                  </a:cubicBezTo>
                  <a:cubicBezTo>
                    <a:pt x="33556" y="105659"/>
                    <a:pt x="33926" y="84306"/>
                    <a:pt x="33926" y="84306"/>
                  </a:cubicBezTo>
                  <a:lnTo>
                    <a:pt x="33926" y="0"/>
                  </a:lnTo>
                  <a:lnTo>
                    <a:pt x="78251" y="0"/>
                  </a:lnTo>
                  <a:lnTo>
                    <a:pt x="78251" y="84306"/>
                  </a:lnTo>
                  <a:cubicBezTo>
                    <a:pt x="78251" y="84306"/>
                    <a:pt x="78621" y="105659"/>
                    <a:pt x="89482" y="122530"/>
                  </a:cubicBezTo>
                  <a:lnTo>
                    <a:pt x="92209" y="126921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52" name="Forma livre: Forma 1151">
              <a:extLst>
                <a:ext uri="{FF2B5EF4-FFF2-40B4-BE49-F238E27FC236}">
                  <a16:creationId xmlns:a16="http://schemas.microsoft.com/office/drawing/2014/main" id="{7EE8F78E-0DD7-5CD1-D35D-87BA210504D5}"/>
                </a:ext>
              </a:extLst>
            </p:cNvPr>
            <p:cNvSpPr/>
            <p:nvPr/>
          </p:nvSpPr>
          <p:spPr>
            <a:xfrm>
              <a:off x="7099445" y="5701590"/>
              <a:ext cx="41967" cy="4622"/>
            </a:xfrm>
            <a:custGeom>
              <a:avLst/>
              <a:gdLst>
                <a:gd name="connsiteX0" fmla="*/ 0 w 41967"/>
                <a:gd name="connsiteY0" fmla="*/ 0 h 4622"/>
                <a:gd name="connsiteX1" fmla="*/ 41968 w 41967"/>
                <a:gd name="connsiteY1" fmla="*/ 0 h 46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1967" h="4622">
                  <a:moveTo>
                    <a:pt x="0" y="0"/>
                  </a:moveTo>
                  <a:lnTo>
                    <a:pt x="41968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53" name="Forma livre: Forma 1152">
              <a:extLst>
                <a:ext uri="{FF2B5EF4-FFF2-40B4-BE49-F238E27FC236}">
                  <a16:creationId xmlns:a16="http://schemas.microsoft.com/office/drawing/2014/main" id="{7D244101-AD41-64FC-ED18-0731793CA1E4}"/>
                </a:ext>
              </a:extLst>
            </p:cNvPr>
            <p:cNvSpPr/>
            <p:nvPr/>
          </p:nvSpPr>
          <p:spPr>
            <a:xfrm>
              <a:off x="7136653" y="5860172"/>
              <a:ext cx="92902" cy="4622"/>
            </a:xfrm>
            <a:custGeom>
              <a:avLst/>
              <a:gdLst>
                <a:gd name="connsiteX0" fmla="*/ 0 w 92902"/>
                <a:gd name="connsiteY0" fmla="*/ 0 h 4622"/>
                <a:gd name="connsiteX1" fmla="*/ 92903 w 92902"/>
                <a:gd name="connsiteY1" fmla="*/ 0 h 46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2902" h="4622">
                  <a:moveTo>
                    <a:pt x="0" y="0"/>
                  </a:moveTo>
                  <a:lnTo>
                    <a:pt x="92903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54" name="Forma livre: Forma 1153">
              <a:extLst>
                <a:ext uri="{FF2B5EF4-FFF2-40B4-BE49-F238E27FC236}">
                  <a16:creationId xmlns:a16="http://schemas.microsoft.com/office/drawing/2014/main" id="{FE045AD4-301D-E9DF-2B06-A9B6D8042809}"/>
                </a:ext>
              </a:extLst>
            </p:cNvPr>
            <p:cNvSpPr/>
            <p:nvPr/>
          </p:nvSpPr>
          <p:spPr>
            <a:xfrm>
              <a:off x="7131836" y="5807203"/>
              <a:ext cx="102530" cy="113886"/>
            </a:xfrm>
            <a:custGeom>
              <a:avLst/>
              <a:gdLst>
                <a:gd name="connsiteX0" fmla="*/ 102342 w 102530"/>
                <a:gd name="connsiteY0" fmla="*/ 60548 h 113886"/>
                <a:gd name="connsiteX1" fmla="*/ 96194 w 102530"/>
                <a:gd name="connsiteY1" fmla="*/ 0 h 113886"/>
                <a:gd name="connsiteX2" fmla="*/ 6342 w 102530"/>
                <a:gd name="connsiteY2" fmla="*/ 0 h 113886"/>
                <a:gd name="connsiteX3" fmla="*/ 195 w 102530"/>
                <a:gd name="connsiteY3" fmla="*/ 60548 h 113886"/>
                <a:gd name="connsiteX4" fmla="*/ 51176 w 102530"/>
                <a:gd name="connsiteY4" fmla="*/ 113887 h 113886"/>
                <a:gd name="connsiteX5" fmla="*/ 51361 w 102530"/>
                <a:gd name="connsiteY5" fmla="*/ 113887 h 113886"/>
                <a:gd name="connsiteX6" fmla="*/ 102342 w 102530"/>
                <a:gd name="connsiteY6" fmla="*/ 60548 h 1138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2530" h="113886">
                  <a:moveTo>
                    <a:pt x="102342" y="60548"/>
                  </a:moveTo>
                  <a:lnTo>
                    <a:pt x="96194" y="0"/>
                  </a:lnTo>
                  <a:lnTo>
                    <a:pt x="6342" y="0"/>
                  </a:lnTo>
                  <a:lnTo>
                    <a:pt x="195" y="60548"/>
                  </a:lnTo>
                  <a:cubicBezTo>
                    <a:pt x="-2486" y="90545"/>
                    <a:pt x="22889" y="113887"/>
                    <a:pt x="51176" y="113887"/>
                  </a:cubicBezTo>
                  <a:lnTo>
                    <a:pt x="51361" y="113887"/>
                  </a:lnTo>
                  <a:cubicBezTo>
                    <a:pt x="79601" y="113887"/>
                    <a:pt x="104976" y="90545"/>
                    <a:pt x="102342" y="60548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55" name="Forma livre: Forma 1154">
              <a:extLst>
                <a:ext uri="{FF2B5EF4-FFF2-40B4-BE49-F238E27FC236}">
                  <a16:creationId xmlns:a16="http://schemas.microsoft.com/office/drawing/2014/main" id="{C4530D25-4606-2A31-E7AC-607ECC3646B4}"/>
                </a:ext>
              </a:extLst>
            </p:cNvPr>
            <p:cNvSpPr/>
            <p:nvPr/>
          </p:nvSpPr>
          <p:spPr>
            <a:xfrm>
              <a:off x="7141044" y="5978218"/>
              <a:ext cx="84120" cy="4622"/>
            </a:xfrm>
            <a:custGeom>
              <a:avLst/>
              <a:gdLst>
                <a:gd name="connsiteX0" fmla="*/ 0 w 84120"/>
                <a:gd name="connsiteY0" fmla="*/ 0 h 4622"/>
                <a:gd name="connsiteX1" fmla="*/ 84121 w 84120"/>
                <a:gd name="connsiteY1" fmla="*/ 0 h 46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4120" h="4622">
                  <a:moveTo>
                    <a:pt x="0" y="0"/>
                  </a:moveTo>
                  <a:lnTo>
                    <a:pt x="84121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56" name="Forma livre: Forma 1155">
              <a:extLst>
                <a:ext uri="{FF2B5EF4-FFF2-40B4-BE49-F238E27FC236}">
                  <a16:creationId xmlns:a16="http://schemas.microsoft.com/office/drawing/2014/main" id="{305FE450-218A-1C16-0943-CAC68150F74C}"/>
                </a:ext>
              </a:extLst>
            </p:cNvPr>
            <p:cNvSpPr/>
            <p:nvPr/>
          </p:nvSpPr>
          <p:spPr>
            <a:xfrm>
              <a:off x="7183104" y="5941149"/>
              <a:ext cx="4622" cy="36097"/>
            </a:xfrm>
            <a:custGeom>
              <a:avLst/>
              <a:gdLst>
                <a:gd name="connsiteX0" fmla="*/ 0 w 4622"/>
                <a:gd name="connsiteY0" fmla="*/ 0 h 36097"/>
                <a:gd name="connsiteX1" fmla="*/ 0 w 4622"/>
                <a:gd name="connsiteY1" fmla="*/ 36098 h 360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622" h="36097">
                  <a:moveTo>
                    <a:pt x="0" y="0"/>
                  </a:moveTo>
                  <a:lnTo>
                    <a:pt x="0" y="36098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157" name="Gráfico 18">
            <a:extLst>
              <a:ext uri="{FF2B5EF4-FFF2-40B4-BE49-F238E27FC236}">
                <a16:creationId xmlns:a16="http://schemas.microsoft.com/office/drawing/2014/main" id="{79760A7C-3943-3D31-5523-34126D6BCE74}"/>
              </a:ext>
            </a:extLst>
          </p:cNvPr>
          <p:cNvGrpSpPr/>
          <p:nvPr/>
        </p:nvGrpSpPr>
        <p:grpSpPr>
          <a:xfrm>
            <a:off x="7060422" y="4659370"/>
            <a:ext cx="177558" cy="296364"/>
            <a:chOff x="7060422" y="4659370"/>
            <a:chExt cx="177558" cy="296364"/>
          </a:xfrm>
          <a:noFill/>
        </p:grpSpPr>
        <p:sp>
          <p:nvSpPr>
            <p:cNvPr id="1158" name="Forma livre: Forma 1157">
              <a:extLst>
                <a:ext uri="{FF2B5EF4-FFF2-40B4-BE49-F238E27FC236}">
                  <a16:creationId xmlns:a16="http://schemas.microsoft.com/office/drawing/2014/main" id="{FDD4402A-3B0A-A0B9-B24E-59BFD8B472CC}"/>
                </a:ext>
              </a:extLst>
            </p:cNvPr>
            <p:cNvSpPr/>
            <p:nvPr/>
          </p:nvSpPr>
          <p:spPr>
            <a:xfrm>
              <a:off x="7149178" y="4879379"/>
              <a:ext cx="4622" cy="74599"/>
            </a:xfrm>
            <a:custGeom>
              <a:avLst/>
              <a:gdLst>
                <a:gd name="connsiteX0" fmla="*/ 0 w 4622"/>
                <a:gd name="connsiteY0" fmla="*/ 0 h 74599"/>
                <a:gd name="connsiteX1" fmla="*/ 0 w 4622"/>
                <a:gd name="connsiteY1" fmla="*/ 74599 h 745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622" h="74599">
                  <a:moveTo>
                    <a:pt x="0" y="0"/>
                  </a:moveTo>
                  <a:lnTo>
                    <a:pt x="0" y="74599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59" name="Forma livre: Forma 1158">
              <a:extLst>
                <a:ext uri="{FF2B5EF4-FFF2-40B4-BE49-F238E27FC236}">
                  <a16:creationId xmlns:a16="http://schemas.microsoft.com/office/drawing/2014/main" id="{6D4D481A-EAFD-4237-F7D0-1D4F72770BD6}"/>
                </a:ext>
              </a:extLst>
            </p:cNvPr>
            <p:cNvSpPr/>
            <p:nvPr/>
          </p:nvSpPr>
          <p:spPr>
            <a:xfrm>
              <a:off x="7082436" y="4955734"/>
              <a:ext cx="133483" cy="4622"/>
            </a:xfrm>
            <a:custGeom>
              <a:avLst/>
              <a:gdLst>
                <a:gd name="connsiteX0" fmla="*/ 0 w 133483"/>
                <a:gd name="connsiteY0" fmla="*/ 0 h 4622"/>
                <a:gd name="connsiteX1" fmla="*/ 133484 w 133483"/>
                <a:gd name="connsiteY1" fmla="*/ 0 h 46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33483" h="4622">
                  <a:moveTo>
                    <a:pt x="0" y="0"/>
                  </a:moveTo>
                  <a:lnTo>
                    <a:pt x="133484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60" name="Forma livre: Forma 1159">
              <a:extLst>
                <a:ext uri="{FF2B5EF4-FFF2-40B4-BE49-F238E27FC236}">
                  <a16:creationId xmlns:a16="http://schemas.microsoft.com/office/drawing/2014/main" id="{67FE4BC8-D751-1830-993D-021832A480D6}"/>
                </a:ext>
              </a:extLst>
            </p:cNvPr>
            <p:cNvSpPr/>
            <p:nvPr/>
          </p:nvSpPr>
          <p:spPr>
            <a:xfrm>
              <a:off x="7091222" y="4751164"/>
              <a:ext cx="141244" cy="76679"/>
            </a:xfrm>
            <a:custGeom>
              <a:avLst/>
              <a:gdLst>
                <a:gd name="connsiteX0" fmla="*/ 54258 w 141244"/>
                <a:gd name="connsiteY0" fmla="*/ 76679 h 76679"/>
                <a:gd name="connsiteX1" fmla="*/ 1105 w 141244"/>
                <a:gd name="connsiteY1" fmla="*/ 0 h 76679"/>
                <a:gd name="connsiteX2" fmla="*/ 141245 w 141244"/>
                <a:gd name="connsiteY2" fmla="*/ 0 h 766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41244" h="76679">
                  <a:moveTo>
                    <a:pt x="54258" y="76679"/>
                  </a:moveTo>
                  <a:cubicBezTo>
                    <a:pt x="-12299" y="64755"/>
                    <a:pt x="1105" y="0"/>
                    <a:pt x="1105" y="0"/>
                  </a:cubicBezTo>
                  <a:lnTo>
                    <a:pt x="141245" y="0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61" name="Forma livre: Forma 1160">
              <a:extLst>
                <a:ext uri="{FF2B5EF4-FFF2-40B4-BE49-F238E27FC236}">
                  <a16:creationId xmlns:a16="http://schemas.microsoft.com/office/drawing/2014/main" id="{00FDFA82-D5EE-E429-E98E-DDC303C2178A}"/>
                </a:ext>
              </a:extLst>
            </p:cNvPr>
            <p:cNvSpPr/>
            <p:nvPr/>
          </p:nvSpPr>
          <p:spPr>
            <a:xfrm>
              <a:off x="7060422" y="4659370"/>
              <a:ext cx="177558" cy="197360"/>
            </a:xfrm>
            <a:custGeom>
              <a:avLst/>
              <a:gdLst>
                <a:gd name="connsiteX0" fmla="*/ 89311 w 177558"/>
                <a:gd name="connsiteY0" fmla="*/ 197360 h 197360"/>
                <a:gd name="connsiteX1" fmla="*/ 177222 w 177558"/>
                <a:gd name="connsiteY1" fmla="*/ 104920 h 197360"/>
                <a:gd name="connsiteX2" fmla="*/ 166591 w 177558"/>
                <a:gd name="connsiteY2" fmla="*/ 0 h 197360"/>
                <a:gd name="connsiteX3" fmla="*/ 10968 w 177558"/>
                <a:gd name="connsiteY3" fmla="*/ 0 h 197360"/>
                <a:gd name="connsiteX4" fmla="*/ 337 w 177558"/>
                <a:gd name="connsiteY4" fmla="*/ 104920 h 197360"/>
                <a:gd name="connsiteX5" fmla="*/ 88248 w 177558"/>
                <a:gd name="connsiteY5" fmla="*/ 197360 h 197360"/>
                <a:gd name="connsiteX6" fmla="*/ 89311 w 177558"/>
                <a:gd name="connsiteY6" fmla="*/ 197360 h 1973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77558" h="197360">
                  <a:moveTo>
                    <a:pt x="89311" y="197360"/>
                  </a:moveTo>
                  <a:cubicBezTo>
                    <a:pt x="138258" y="197360"/>
                    <a:pt x="181844" y="156918"/>
                    <a:pt x="177222" y="104920"/>
                  </a:cubicBezTo>
                  <a:lnTo>
                    <a:pt x="166591" y="0"/>
                  </a:lnTo>
                  <a:lnTo>
                    <a:pt x="10968" y="0"/>
                  </a:lnTo>
                  <a:lnTo>
                    <a:pt x="337" y="104920"/>
                  </a:lnTo>
                  <a:cubicBezTo>
                    <a:pt x="-4285" y="156918"/>
                    <a:pt x="39347" y="197360"/>
                    <a:pt x="88248" y="197360"/>
                  </a:cubicBezTo>
                  <a:lnTo>
                    <a:pt x="89311" y="197360"/>
                  </a:ln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162" name="Gráfico 18">
            <a:extLst>
              <a:ext uri="{FF2B5EF4-FFF2-40B4-BE49-F238E27FC236}">
                <a16:creationId xmlns:a16="http://schemas.microsoft.com/office/drawing/2014/main" id="{B54A8871-066A-C077-2672-A4290E9DFFE7}"/>
              </a:ext>
            </a:extLst>
          </p:cNvPr>
          <p:cNvGrpSpPr/>
          <p:nvPr/>
        </p:nvGrpSpPr>
        <p:grpSpPr>
          <a:xfrm>
            <a:off x="7026186" y="5142916"/>
            <a:ext cx="245937" cy="340283"/>
            <a:chOff x="7026186" y="5142916"/>
            <a:chExt cx="245937" cy="340283"/>
          </a:xfrm>
          <a:noFill/>
        </p:grpSpPr>
        <p:grpSp>
          <p:nvGrpSpPr>
            <p:cNvPr id="1163" name="Gráfico 18">
              <a:extLst>
                <a:ext uri="{FF2B5EF4-FFF2-40B4-BE49-F238E27FC236}">
                  <a16:creationId xmlns:a16="http://schemas.microsoft.com/office/drawing/2014/main" id="{42E5307D-4891-6013-40B2-391DEADB0EB4}"/>
                </a:ext>
              </a:extLst>
            </p:cNvPr>
            <p:cNvGrpSpPr/>
            <p:nvPr/>
          </p:nvGrpSpPr>
          <p:grpSpPr>
            <a:xfrm>
              <a:off x="7065242" y="5453156"/>
              <a:ext cx="167825" cy="30043"/>
              <a:chOff x="7065242" y="5453156"/>
              <a:chExt cx="167825" cy="30043"/>
            </a:xfrm>
            <a:noFill/>
          </p:grpSpPr>
          <p:sp>
            <p:nvSpPr>
              <p:cNvPr id="1164" name="Forma livre: Forma 1163">
                <a:extLst>
                  <a:ext uri="{FF2B5EF4-FFF2-40B4-BE49-F238E27FC236}">
                    <a16:creationId xmlns:a16="http://schemas.microsoft.com/office/drawing/2014/main" id="{0B5D83B0-0DCA-7005-1B5E-23FDE16CB373}"/>
                  </a:ext>
                </a:extLst>
              </p:cNvPr>
              <p:cNvSpPr/>
              <p:nvPr/>
            </p:nvSpPr>
            <p:spPr>
              <a:xfrm>
                <a:off x="7065797" y="5460182"/>
                <a:ext cx="166623" cy="23017"/>
              </a:xfrm>
              <a:custGeom>
                <a:avLst/>
                <a:gdLst>
                  <a:gd name="connsiteX0" fmla="*/ 166624 w 166623"/>
                  <a:gd name="connsiteY0" fmla="*/ 0 h 23017"/>
                  <a:gd name="connsiteX1" fmla="*/ 141526 w 166623"/>
                  <a:gd name="connsiteY1" fmla="*/ 23018 h 23017"/>
                  <a:gd name="connsiteX2" fmla="*/ 25098 w 166623"/>
                  <a:gd name="connsiteY2" fmla="*/ 23018 h 23017"/>
                  <a:gd name="connsiteX3" fmla="*/ 0 w 166623"/>
                  <a:gd name="connsiteY3" fmla="*/ 0 h 230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66623" h="23017">
                    <a:moveTo>
                      <a:pt x="166624" y="0"/>
                    </a:moveTo>
                    <a:cubicBezTo>
                      <a:pt x="165515" y="12664"/>
                      <a:pt x="154237" y="23018"/>
                      <a:pt x="141526" y="23018"/>
                    </a:cubicBezTo>
                    <a:lnTo>
                      <a:pt x="25098" y="23018"/>
                    </a:lnTo>
                    <a:cubicBezTo>
                      <a:pt x="12387" y="23018"/>
                      <a:pt x="1063" y="12664"/>
                      <a:pt x="0" y="0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165" name="Forma livre: Forma 1164">
                <a:extLst>
                  <a:ext uri="{FF2B5EF4-FFF2-40B4-BE49-F238E27FC236}">
                    <a16:creationId xmlns:a16="http://schemas.microsoft.com/office/drawing/2014/main" id="{9B946EF7-8A23-6059-199E-D9E01BB8BD08}"/>
                  </a:ext>
                </a:extLst>
              </p:cNvPr>
              <p:cNvSpPr/>
              <p:nvPr/>
            </p:nvSpPr>
            <p:spPr>
              <a:xfrm>
                <a:off x="7065242" y="5453156"/>
                <a:ext cx="167825" cy="30043"/>
              </a:xfrm>
              <a:custGeom>
                <a:avLst/>
                <a:gdLst>
                  <a:gd name="connsiteX0" fmla="*/ 167826 w 167825"/>
                  <a:gd name="connsiteY0" fmla="*/ 0 h 30043"/>
                  <a:gd name="connsiteX1" fmla="*/ 167225 w 167825"/>
                  <a:gd name="connsiteY1" fmla="*/ 7025 h 30043"/>
                  <a:gd name="connsiteX2" fmla="*/ 142127 w 167825"/>
                  <a:gd name="connsiteY2" fmla="*/ 30043 h 30043"/>
                  <a:gd name="connsiteX3" fmla="*/ 25698 w 167825"/>
                  <a:gd name="connsiteY3" fmla="*/ 30043 h 30043"/>
                  <a:gd name="connsiteX4" fmla="*/ 601 w 167825"/>
                  <a:gd name="connsiteY4" fmla="*/ 7025 h 30043"/>
                  <a:gd name="connsiteX5" fmla="*/ 0 w 167825"/>
                  <a:gd name="connsiteY5" fmla="*/ 0 h 300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67825" h="30043">
                    <a:moveTo>
                      <a:pt x="167826" y="0"/>
                    </a:moveTo>
                    <a:lnTo>
                      <a:pt x="167225" y="7025"/>
                    </a:lnTo>
                    <a:cubicBezTo>
                      <a:pt x="166115" y="19690"/>
                      <a:pt x="154838" y="30043"/>
                      <a:pt x="142127" y="30043"/>
                    </a:cubicBezTo>
                    <a:lnTo>
                      <a:pt x="25698" y="30043"/>
                    </a:lnTo>
                    <a:cubicBezTo>
                      <a:pt x="12988" y="30043"/>
                      <a:pt x="1664" y="19690"/>
                      <a:pt x="601" y="7025"/>
                    </a:cubicBezTo>
                    <a:lnTo>
                      <a:pt x="0" y="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166" name="Forma livre: Forma 1165">
              <a:extLst>
                <a:ext uri="{FF2B5EF4-FFF2-40B4-BE49-F238E27FC236}">
                  <a16:creationId xmlns:a16="http://schemas.microsoft.com/office/drawing/2014/main" id="{708A46E6-7056-5C99-C7B2-2064B7AAAC83}"/>
                </a:ext>
              </a:extLst>
            </p:cNvPr>
            <p:cNvSpPr/>
            <p:nvPr/>
          </p:nvSpPr>
          <p:spPr>
            <a:xfrm>
              <a:off x="7123110" y="5142916"/>
              <a:ext cx="136279" cy="132616"/>
            </a:xfrm>
            <a:custGeom>
              <a:avLst/>
              <a:gdLst>
                <a:gd name="connsiteX0" fmla="*/ 104550 w 136279"/>
                <a:gd name="connsiteY0" fmla="*/ 132108 h 132616"/>
                <a:gd name="connsiteX1" fmla="*/ 99651 w 136279"/>
                <a:gd name="connsiteY1" fmla="*/ 110015 h 132616"/>
                <a:gd name="connsiteX2" fmla="*/ 104458 w 136279"/>
                <a:gd name="connsiteY2" fmla="*/ 78215 h 132616"/>
                <a:gd name="connsiteX3" fmla="*/ 118693 w 136279"/>
                <a:gd name="connsiteY3" fmla="*/ 47617 h 132616"/>
                <a:gd name="connsiteX4" fmla="*/ 133068 w 136279"/>
                <a:gd name="connsiteY4" fmla="*/ 33289 h 132616"/>
                <a:gd name="connsiteX5" fmla="*/ 133623 w 136279"/>
                <a:gd name="connsiteY5" fmla="*/ 15540 h 132616"/>
                <a:gd name="connsiteX6" fmla="*/ 100714 w 136279"/>
                <a:gd name="connsiteY6" fmla="*/ 241 h 132616"/>
                <a:gd name="connsiteX7" fmla="*/ 87449 w 136279"/>
                <a:gd name="connsiteY7" fmla="*/ 12074 h 132616"/>
                <a:gd name="connsiteX8" fmla="*/ 85739 w 136279"/>
                <a:gd name="connsiteY8" fmla="*/ 32318 h 132616"/>
                <a:gd name="connsiteX9" fmla="*/ 71503 w 136279"/>
                <a:gd name="connsiteY9" fmla="*/ 62916 h 132616"/>
                <a:gd name="connsiteX10" fmla="*/ 50241 w 136279"/>
                <a:gd name="connsiteY10" fmla="*/ 87043 h 132616"/>
                <a:gd name="connsiteX11" fmla="*/ 2265 w 136279"/>
                <a:gd name="connsiteY11" fmla="*/ 127763 h 132616"/>
                <a:gd name="connsiteX12" fmla="*/ 0 w 136279"/>
                <a:gd name="connsiteY12" fmla="*/ 132616 h 1326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36279" h="132616">
                  <a:moveTo>
                    <a:pt x="104550" y="132108"/>
                  </a:moveTo>
                  <a:cubicBezTo>
                    <a:pt x="103025" y="119305"/>
                    <a:pt x="99651" y="110015"/>
                    <a:pt x="99651" y="110015"/>
                  </a:cubicBezTo>
                  <a:cubicBezTo>
                    <a:pt x="96046" y="94623"/>
                    <a:pt x="104458" y="78215"/>
                    <a:pt x="104458" y="78215"/>
                  </a:cubicBezTo>
                  <a:lnTo>
                    <a:pt x="118693" y="47617"/>
                  </a:lnTo>
                  <a:cubicBezTo>
                    <a:pt x="118693" y="47617"/>
                    <a:pt x="126181" y="48126"/>
                    <a:pt x="133068" y="33289"/>
                  </a:cubicBezTo>
                  <a:cubicBezTo>
                    <a:pt x="139955" y="18499"/>
                    <a:pt x="133623" y="15540"/>
                    <a:pt x="133623" y="15540"/>
                  </a:cubicBezTo>
                  <a:lnTo>
                    <a:pt x="100714" y="241"/>
                  </a:lnTo>
                  <a:cubicBezTo>
                    <a:pt x="100714" y="241"/>
                    <a:pt x="94382" y="-2717"/>
                    <a:pt x="87449" y="12074"/>
                  </a:cubicBezTo>
                  <a:cubicBezTo>
                    <a:pt x="80562" y="26864"/>
                    <a:pt x="85739" y="32318"/>
                    <a:pt x="85739" y="32318"/>
                  </a:cubicBezTo>
                  <a:lnTo>
                    <a:pt x="71503" y="62916"/>
                  </a:lnTo>
                  <a:cubicBezTo>
                    <a:pt x="71503" y="62916"/>
                    <a:pt x="64385" y="79925"/>
                    <a:pt x="50241" y="87043"/>
                  </a:cubicBezTo>
                  <a:cubicBezTo>
                    <a:pt x="50241" y="87043"/>
                    <a:pt x="15299" y="99800"/>
                    <a:pt x="2265" y="127763"/>
                  </a:cubicBezTo>
                  <a:lnTo>
                    <a:pt x="0" y="132616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67" name="Forma livre: Forma 1166">
              <a:extLst>
                <a:ext uri="{FF2B5EF4-FFF2-40B4-BE49-F238E27FC236}">
                  <a16:creationId xmlns:a16="http://schemas.microsoft.com/office/drawing/2014/main" id="{A3529CC2-AEAC-7992-17E7-C0C1C08044DB}"/>
                </a:ext>
              </a:extLst>
            </p:cNvPr>
            <p:cNvSpPr/>
            <p:nvPr/>
          </p:nvSpPr>
          <p:spPr>
            <a:xfrm>
              <a:off x="7209727" y="5177083"/>
              <a:ext cx="30228" cy="14097"/>
            </a:xfrm>
            <a:custGeom>
              <a:avLst/>
              <a:gdLst>
                <a:gd name="connsiteX0" fmla="*/ 0 w 30228"/>
                <a:gd name="connsiteY0" fmla="*/ 0 h 14097"/>
                <a:gd name="connsiteX1" fmla="*/ 30228 w 30228"/>
                <a:gd name="connsiteY1" fmla="*/ 14097 h 140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0228" h="14097">
                  <a:moveTo>
                    <a:pt x="0" y="0"/>
                  </a:moveTo>
                  <a:lnTo>
                    <a:pt x="30228" y="14097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68" name="Forma livre: Forma 1167">
              <a:extLst>
                <a:ext uri="{FF2B5EF4-FFF2-40B4-BE49-F238E27FC236}">
                  <a16:creationId xmlns:a16="http://schemas.microsoft.com/office/drawing/2014/main" id="{F36CDDA4-3A73-8933-156F-D790BEA69E9B}"/>
                </a:ext>
              </a:extLst>
            </p:cNvPr>
            <p:cNvSpPr/>
            <p:nvPr/>
          </p:nvSpPr>
          <p:spPr>
            <a:xfrm>
              <a:off x="7054889" y="5401806"/>
              <a:ext cx="188578" cy="4622"/>
            </a:xfrm>
            <a:custGeom>
              <a:avLst/>
              <a:gdLst>
                <a:gd name="connsiteX0" fmla="*/ 0 w 188578"/>
                <a:gd name="connsiteY0" fmla="*/ 0 h 4622"/>
                <a:gd name="connsiteX1" fmla="*/ 188578 w 188578"/>
                <a:gd name="connsiteY1" fmla="*/ 0 h 46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8578" h="4622">
                  <a:moveTo>
                    <a:pt x="0" y="0"/>
                  </a:moveTo>
                  <a:lnTo>
                    <a:pt x="188578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69" name="Forma livre: Forma 1168">
              <a:extLst>
                <a:ext uri="{FF2B5EF4-FFF2-40B4-BE49-F238E27FC236}">
                  <a16:creationId xmlns:a16="http://schemas.microsoft.com/office/drawing/2014/main" id="{3AC794D6-B2B2-78AF-2FCF-8CA650EA3887}"/>
                </a:ext>
              </a:extLst>
            </p:cNvPr>
            <p:cNvSpPr/>
            <p:nvPr/>
          </p:nvSpPr>
          <p:spPr>
            <a:xfrm>
              <a:off x="7058494" y="5431572"/>
              <a:ext cx="181368" cy="4622"/>
            </a:xfrm>
            <a:custGeom>
              <a:avLst/>
              <a:gdLst>
                <a:gd name="connsiteX0" fmla="*/ 0 w 181368"/>
                <a:gd name="connsiteY0" fmla="*/ 0 h 4622"/>
                <a:gd name="connsiteX1" fmla="*/ 181368 w 181368"/>
                <a:gd name="connsiteY1" fmla="*/ 0 h 46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1368" h="4622">
                  <a:moveTo>
                    <a:pt x="0" y="0"/>
                  </a:moveTo>
                  <a:lnTo>
                    <a:pt x="181368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70" name="Forma livre: Forma 1169">
              <a:extLst>
                <a:ext uri="{FF2B5EF4-FFF2-40B4-BE49-F238E27FC236}">
                  <a16:creationId xmlns:a16="http://schemas.microsoft.com/office/drawing/2014/main" id="{E48BF71B-78A3-2DCB-997F-C7178F04E805}"/>
                </a:ext>
              </a:extLst>
            </p:cNvPr>
            <p:cNvSpPr/>
            <p:nvPr/>
          </p:nvSpPr>
          <p:spPr>
            <a:xfrm>
              <a:off x="7026186" y="5276318"/>
              <a:ext cx="245937" cy="103718"/>
            </a:xfrm>
            <a:custGeom>
              <a:avLst/>
              <a:gdLst>
                <a:gd name="connsiteX0" fmla="*/ 212844 w 245937"/>
                <a:gd name="connsiteY0" fmla="*/ 103718 h 103718"/>
                <a:gd name="connsiteX1" fmla="*/ 214693 w 245937"/>
                <a:gd name="connsiteY1" fmla="*/ 82364 h 103718"/>
                <a:gd name="connsiteX2" fmla="*/ 216634 w 245937"/>
                <a:gd name="connsiteY2" fmla="*/ 82642 h 103718"/>
                <a:gd name="connsiteX3" fmla="*/ 220424 w 245937"/>
                <a:gd name="connsiteY3" fmla="*/ 82919 h 103718"/>
                <a:gd name="connsiteX4" fmla="*/ 245938 w 245937"/>
                <a:gd name="connsiteY4" fmla="*/ 58469 h 103718"/>
                <a:gd name="connsiteX5" fmla="*/ 220424 w 245937"/>
                <a:gd name="connsiteY5" fmla="*/ 34018 h 103718"/>
                <a:gd name="connsiteX6" fmla="*/ 218899 w 245937"/>
                <a:gd name="connsiteY6" fmla="*/ 34018 h 103718"/>
                <a:gd name="connsiteX7" fmla="*/ 221857 w 245937"/>
                <a:gd name="connsiteY7" fmla="*/ 0 h 103718"/>
                <a:gd name="connsiteX8" fmla="*/ 24081 w 245937"/>
                <a:gd name="connsiteY8" fmla="*/ 0 h 103718"/>
                <a:gd name="connsiteX9" fmla="*/ 27039 w 245937"/>
                <a:gd name="connsiteY9" fmla="*/ 33972 h 103718"/>
                <a:gd name="connsiteX10" fmla="*/ 25514 w 245937"/>
                <a:gd name="connsiteY10" fmla="*/ 33972 h 103718"/>
                <a:gd name="connsiteX11" fmla="*/ 0 w 245937"/>
                <a:gd name="connsiteY11" fmla="*/ 58469 h 103718"/>
                <a:gd name="connsiteX12" fmla="*/ 25514 w 245937"/>
                <a:gd name="connsiteY12" fmla="*/ 82919 h 103718"/>
                <a:gd name="connsiteX13" fmla="*/ 29304 w 245937"/>
                <a:gd name="connsiteY13" fmla="*/ 82642 h 103718"/>
                <a:gd name="connsiteX14" fmla="*/ 31245 w 245937"/>
                <a:gd name="connsiteY14" fmla="*/ 82364 h 103718"/>
                <a:gd name="connsiteX15" fmla="*/ 33094 w 245937"/>
                <a:gd name="connsiteY15" fmla="*/ 103718 h 1037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245937" h="103718">
                  <a:moveTo>
                    <a:pt x="212844" y="103718"/>
                  </a:moveTo>
                  <a:lnTo>
                    <a:pt x="214693" y="82364"/>
                  </a:lnTo>
                  <a:lnTo>
                    <a:pt x="216634" y="82642"/>
                  </a:lnTo>
                  <a:cubicBezTo>
                    <a:pt x="217882" y="82827"/>
                    <a:pt x="219130" y="82919"/>
                    <a:pt x="220424" y="82919"/>
                  </a:cubicBezTo>
                  <a:cubicBezTo>
                    <a:pt x="234521" y="82919"/>
                    <a:pt x="245938" y="71965"/>
                    <a:pt x="245938" y="58469"/>
                  </a:cubicBezTo>
                  <a:cubicBezTo>
                    <a:pt x="245938" y="44972"/>
                    <a:pt x="234521" y="34018"/>
                    <a:pt x="220424" y="34018"/>
                  </a:cubicBezTo>
                  <a:lnTo>
                    <a:pt x="218899" y="34018"/>
                  </a:lnTo>
                  <a:cubicBezTo>
                    <a:pt x="218899" y="34018"/>
                    <a:pt x="221857" y="0"/>
                    <a:pt x="221857" y="0"/>
                  </a:cubicBezTo>
                  <a:lnTo>
                    <a:pt x="24081" y="0"/>
                  </a:lnTo>
                  <a:lnTo>
                    <a:pt x="27039" y="33972"/>
                  </a:lnTo>
                  <a:lnTo>
                    <a:pt x="25514" y="33972"/>
                  </a:lnTo>
                  <a:cubicBezTo>
                    <a:pt x="11416" y="33972"/>
                    <a:pt x="0" y="44972"/>
                    <a:pt x="0" y="58469"/>
                  </a:cubicBezTo>
                  <a:cubicBezTo>
                    <a:pt x="0" y="71965"/>
                    <a:pt x="11416" y="82919"/>
                    <a:pt x="25514" y="82919"/>
                  </a:cubicBezTo>
                  <a:cubicBezTo>
                    <a:pt x="26808" y="82919"/>
                    <a:pt x="28056" y="82827"/>
                    <a:pt x="29304" y="82642"/>
                  </a:cubicBezTo>
                  <a:lnTo>
                    <a:pt x="31245" y="82364"/>
                  </a:lnTo>
                  <a:lnTo>
                    <a:pt x="33094" y="103718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172" name="Gráfico 20">
            <a:extLst>
              <a:ext uri="{FF2B5EF4-FFF2-40B4-BE49-F238E27FC236}">
                <a16:creationId xmlns:a16="http://schemas.microsoft.com/office/drawing/2014/main" id="{349A7F72-AE95-A139-332A-6A9FAB2A67B9}"/>
              </a:ext>
            </a:extLst>
          </p:cNvPr>
          <p:cNvGrpSpPr/>
          <p:nvPr/>
        </p:nvGrpSpPr>
        <p:grpSpPr>
          <a:xfrm>
            <a:off x="8757532" y="3658703"/>
            <a:ext cx="341290" cy="271774"/>
            <a:chOff x="8757532" y="3658703"/>
            <a:chExt cx="341290" cy="271774"/>
          </a:xfrm>
          <a:noFill/>
        </p:grpSpPr>
        <p:sp>
          <p:nvSpPr>
            <p:cNvPr id="1173" name="Forma livre: Forma 1172">
              <a:extLst>
                <a:ext uri="{FF2B5EF4-FFF2-40B4-BE49-F238E27FC236}">
                  <a16:creationId xmlns:a16="http://schemas.microsoft.com/office/drawing/2014/main" id="{EBB8FABA-7964-20C2-8215-9930A568FACC}"/>
                </a:ext>
              </a:extLst>
            </p:cNvPr>
            <p:cNvSpPr/>
            <p:nvPr/>
          </p:nvSpPr>
          <p:spPr>
            <a:xfrm>
              <a:off x="8757532" y="3696323"/>
              <a:ext cx="145006" cy="119163"/>
            </a:xfrm>
            <a:custGeom>
              <a:avLst/>
              <a:gdLst>
                <a:gd name="connsiteX0" fmla="*/ 137413 w 145006"/>
                <a:gd name="connsiteY0" fmla="*/ 100902 h 119163"/>
                <a:gd name="connsiteX1" fmla="*/ 94197 w 145006"/>
                <a:gd name="connsiteY1" fmla="*/ 8323 h 119163"/>
                <a:gd name="connsiteX2" fmla="*/ 0 w 145006"/>
                <a:gd name="connsiteY2" fmla="*/ 6382 h 119163"/>
                <a:gd name="connsiteX3" fmla="*/ 35590 w 145006"/>
                <a:gd name="connsiteY3" fmla="*/ 93137 h 119163"/>
                <a:gd name="connsiteX4" fmla="*/ 137459 w 145006"/>
                <a:gd name="connsiteY4" fmla="*/ 100902 h 1191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5006" h="119163">
                  <a:moveTo>
                    <a:pt x="137413" y="100902"/>
                  </a:moveTo>
                  <a:cubicBezTo>
                    <a:pt x="157981" y="71876"/>
                    <a:pt x="134501" y="21912"/>
                    <a:pt x="94197" y="8323"/>
                  </a:cubicBezTo>
                  <a:cubicBezTo>
                    <a:pt x="42107" y="-9195"/>
                    <a:pt x="0" y="6382"/>
                    <a:pt x="0" y="6382"/>
                  </a:cubicBezTo>
                  <a:cubicBezTo>
                    <a:pt x="0" y="6382"/>
                    <a:pt x="3836" y="54358"/>
                    <a:pt x="35590" y="93137"/>
                  </a:cubicBezTo>
                  <a:cubicBezTo>
                    <a:pt x="62536" y="126046"/>
                    <a:pt x="119202" y="126739"/>
                    <a:pt x="137459" y="100902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74" name="Forma livre: Forma 1173">
              <a:extLst>
                <a:ext uri="{FF2B5EF4-FFF2-40B4-BE49-F238E27FC236}">
                  <a16:creationId xmlns:a16="http://schemas.microsoft.com/office/drawing/2014/main" id="{85BF0896-A278-E926-8BD6-230C6DFCF180}"/>
                </a:ext>
              </a:extLst>
            </p:cNvPr>
            <p:cNvSpPr/>
            <p:nvPr/>
          </p:nvSpPr>
          <p:spPr>
            <a:xfrm>
              <a:off x="8878721" y="3888463"/>
              <a:ext cx="85599" cy="29118"/>
            </a:xfrm>
            <a:custGeom>
              <a:avLst/>
              <a:gdLst>
                <a:gd name="connsiteX0" fmla="*/ 0 w 85599"/>
                <a:gd name="connsiteY0" fmla="*/ 29119 h 29118"/>
                <a:gd name="connsiteX1" fmla="*/ 42985 w 85599"/>
                <a:gd name="connsiteY1" fmla="*/ 0 h 29118"/>
                <a:gd name="connsiteX2" fmla="*/ 85600 w 85599"/>
                <a:gd name="connsiteY2" fmla="*/ 28934 h 291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85599" h="29118">
                  <a:moveTo>
                    <a:pt x="0" y="29119"/>
                  </a:moveTo>
                  <a:cubicBezTo>
                    <a:pt x="6794" y="12063"/>
                    <a:pt x="23480" y="0"/>
                    <a:pt x="42985" y="0"/>
                  </a:cubicBezTo>
                  <a:cubicBezTo>
                    <a:pt x="62490" y="0"/>
                    <a:pt x="78574" y="12341"/>
                    <a:pt x="85600" y="28934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75" name="Forma livre: Forma 1174">
              <a:extLst>
                <a:ext uri="{FF2B5EF4-FFF2-40B4-BE49-F238E27FC236}">
                  <a16:creationId xmlns:a16="http://schemas.microsoft.com/office/drawing/2014/main" id="{B3C3EF0B-74AF-EA39-A9A3-CCFA8BF0ADF4}"/>
                </a:ext>
              </a:extLst>
            </p:cNvPr>
            <p:cNvSpPr/>
            <p:nvPr/>
          </p:nvSpPr>
          <p:spPr>
            <a:xfrm>
              <a:off x="8819559" y="3903240"/>
              <a:ext cx="59208" cy="27237"/>
            </a:xfrm>
            <a:custGeom>
              <a:avLst/>
              <a:gdLst>
                <a:gd name="connsiteX0" fmla="*/ 0 w 59208"/>
                <a:gd name="connsiteY0" fmla="*/ 27237 h 27237"/>
                <a:gd name="connsiteX1" fmla="*/ 25421 w 59208"/>
                <a:gd name="connsiteY1" fmla="*/ 707 h 27237"/>
                <a:gd name="connsiteX2" fmla="*/ 59208 w 59208"/>
                <a:gd name="connsiteY2" fmla="*/ 14434 h 272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59208" h="27237">
                  <a:moveTo>
                    <a:pt x="0" y="27237"/>
                  </a:moveTo>
                  <a:cubicBezTo>
                    <a:pt x="2172" y="14434"/>
                    <a:pt x="11925" y="3572"/>
                    <a:pt x="25421" y="707"/>
                  </a:cubicBezTo>
                  <a:cubicBezTo>
                    <a:pt x="38686" y="-2159"/>
                    <a:pt x="51905" y="3942"/>
                    <a:pt x="59208" y="14434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76" name="Forma livre: Forma 1175">
              <a:extLst>
                <a:ext uri="{FF2B5EF4-FFF2-40B4-BE49-F238E27FC236}">
                  <a16:creationId xmlns:a16="http://schemas.microsoft.com/office/drawing/2014/main" id="{BF2B2442-92FD-F1CE-DD2D-1931F3615A20}"/>
                </a:ext>
              </a:extLst>
            </p:cNvPr>
            <p:cNvSpPr/>
            <p:nvPr/>
          </p:nvSpPr>
          <p:spPr>
            <a:xfrm>
              <a:off x="8964367" y="3903025"/>
              <a:ext cx="59208" cy="27221"/>
            </a:xfrm>
            <a:custGeom>
              <a:avLst/>
              <a:gdLst>
                <a:gd name="connsiteX0" fmla="*/ 59208 w 59208"/>
                <a:gd name="connsiteY0" fmla="*/ 27221 h 27221"/>
                <a:gd name="connsiteX1" fmla="*/ 33787 w 59208"/>
                <a:gd name="connsiteY1" fmla="*/ 691 h 27221"/>
                <a:gd name="connsiteX2" fmla="*/ 0 w 59208"/>
                <a:gd name="connsiteY2" fmla="*/ 14418 h 272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59208" h="27221">
                  <a:moveTo>
                    <a:pt x="59208" y="27221"/>
                  </a:moveTo>
                  <a:cubicBezTo>
                    <a:pt x="57036" y="14418"/>
                    <a:pt x="47283" y="3556"/>
                    <a:pt x="33787" y="691"/>
                  </a:cubicBezTo>
                  <a:cubicBezTo>
                    <a:pt x="20522" y="-2129"/>
                    <a:pt x="7303" y="3926"/>
                    <a:pt x="0" y="14418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77" name="Forma livre: Forma 1176">
              <a:extLst>
                <a:ext uri="{FF2B5EF4-FFF2-40B4-BE49-F238E27FC236}">
                  <a16:creationId xmlns:a16="http://schemas.microsoft.com/office/drawing/2014/main" id="{A1C39B6F-F2DA-9A94-3885-D3143F36A66E}"/>
                </a:ext>
              </a:extLst>
            </p:cNvPr>
            <p:cNvSpPr/>
            <p:nvPr/>
          </p:nvSpPr>
          <p:spPr>
            <a:xfrm>
              <a:off x="8810269" y="3736815"/>
              <a:ext cx="115966" cy="150724"/>
            </a:xfrm>
            <a:custGeom>
              <a:avLst/>
              <a:gdLst>
                <a:gd name="connsiteX0" fmla="*/ 0 w 115966"/>
                <a:gd name="connsiteY0" fmla="*/ 0 h 150724"/>
                <a:gd name="connsiteX1" fmla="*/ 115967 w 115966"/>
                <a:gd name="connsiteY1" fmla="*/ 150724 h 1507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5966" h="150724">
                  <a:moveTo>
                    <a:pt x="0" y="0"/>
                  </a:moveTo>
                  <a:cubicBezTo>
                    <a:pt x="0" y="0"/>
                    <a:pt x="86062" y="27039"/>
                    <a:pt x="115967" y="150724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78" name="Forma livre: Forma 1177">
              <a:extLst>
                <a:ext uri="{FF2B5EF4-FFF2-40B4-BE49-F238E27FC236}">
                  <a16:creationId xmlns:a16="http://schemas.microsoft.com/office/drawing/2014/main" id="{A6A2B80F-27D2-6ABE-84B6-F6BE356D18F5}"/>
                </a:ext>
              </a:extLst>
            </p:cNvPr>
            <p:cNvSpPr/>
            <p:nvPr/>
          </p:nvSpPr>
          <p:spPr>
            <a:xfrm>
              <a:off x="8936589" y="3763114"/>
              <a:ext cx="57682" cy="74368"/>
            </a:xfrm>
            <a:custGeom>
              <a:avLst/>
              <a:gdLst>
                <a:gd name="connsiteX0" fmla="*/ 57683 w 57682"/>
                <a:gd name="connsiteY0" fmla="*/ 0 h 74368"/>
                <a:gd name="connsiteX1" fmla="*/ 0 w 57682"/>
                <a:gd name="connsiteY1" fmla="*/ 74368 h 743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7682" h="74368">
                  <a:moveTo>
                    <a:pt x="57683" y="0"/>
                  </a:moveTo>
                  <a:cubicBezTo>
                    <a:pt x="57683" y="0"/>
                    <a:pt x="24358" y="24404"/>
                    <a:pt x="0" y="74368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79" name="Forma livre: Forma 1178">
              <a:extLst>
                <a:ext uri="{FF2B5EF4-FFF2-40B4-BE49-F238E27FC236}">
                  <a16:creationId xmlns:a16="http://schemas.microsoft.com/office/drawing/2014/main" id="{D873924C-AE87-2233-8FC9-C540C9EAD322}"/>
                </a:ext>
              </a:extLst>
            </p:cNvPr>
            <p:cNvSpPr/>
            <p:nvPr/>
          </p:nvSpPr>
          <p:spPr>
            <a:xfrm>
              <a:off x="8970046" y="3672153"/>
              <a:ext cx="115047" cy="114984"/>
            </a:xfrm>
            <a:custGeom>
              <a:avLst/>
              <a:gdLst>
                <a:gd name="connsiteX0" fmla="*/ 77887 w 115047"/>
                <a:gd name="connsiteY0" fmla="*/ 107878 h 114984"/>
                <a:gd name="connsiteX1" fmla="*/ 43360 w 115047"/>
                <a:gd name="connsiteY1" fmla="*/ 107878 h 114984"/>
                <a:gd name="connsiteX2" fmla="*/ 7124 w 115047"/>
                <a:gd name="connsiteY2" fmla="*/ 71641 h 114984"/>
                <a:gd name="connsiteX3" fmla="*/ 7124 w 115047"/>
                <a:gd name="connsiteY3" fmla="*/ 37115 h 114984"/>
                <a:gd name="connsiteX4" fmla="*/ 44239 w 115047"/>
                <a:gd name="connsiteY4" fmla="*/ 0 h 114984"/>
                <a:gd name="connsiteX5" fmla="*/ 115048 w 115047"/>
                <a:gd name="connsiteY5" fmla="*/ 70809 h 114984"/>
                <a:gd name="connsiteX6" fmla="*/ 77933 w 115047"/>
                <a:gd name="connsiteY6" fmla="*/ 107924 h 1149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15047" h="114984">
                  <a:moveTo>
                    <a:pt x="77887" y="107878"/>
                  </a:moveTo>
                  <a:cubicBezTo>
                    <a:pt x="68365" y="117353"/>
                    <a:pt x="52835" y="117353"/>
                    <a:pt x="43360" y="107878"/>
                  </a:cubicBezTo>
                  <a:lnTo>
                    <a:pt x="7124" y="71641"/>
                  </a:lnTo>
                  <a:cubicBezTo>
                    <a:pt x="-2398" y="62120"/>
                    <a:pt x="-2351" y="46590"/>
                    <a:pt x="7124" y="37115"/>
                  </a:cubicBezTo>
                  <a:lnTo>
                    <a:pt x="44239" y="0"/>
                  </a:lnTo>
                  <a:lnTo>
                    <a:pt x="115048" y="70809"/>
                  </a:lnTo>
                  <a:lnTo>
                    <a:pt x="77933" y="107924"/>
                  </a:ln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180" name="Gráfico 20">
              <a:extLst>
                <a:ext uri="{FF2B5EF4-FFF2-40B4-BE49-F238E27FC236}">
                  <a16:creationId xmlns:a16="http://schemas.microsoft.com/office/drawing/2014/main" id="{C1C8F034-EB99-5601-4A8D-BB4E3B91D21F}"/>
                </a:ext>
              </a:extLst>
            </p:cNvPr>
            <p:cNvGrpSpPr/>
            <p:nvPr/>
          </p:nvGrpSpPr>
          <p:grpSpPr>
            <a:xfrm>
              <a:off x="9032126" y="3658703"/>
              <a:ext cx="66695" cy="66695"/>
              <a:chOff x="9032126" y="3658703"/>
              <a:chExt cx="66695" cy="66695"/>
            </a:xfrm>
          </p:grpSpPr>
          <p:sp>
            <p:nvSpPr>
              <p:cNvPr id="1181" name="Forma livre: Forma 1180">
                <a:extLst>
                  <a:ext uri="{FF2B5EF4-FFF2-40B4-BE49-F238E27FC236}">
                    <a16:creationId xmlns:a16="http://schemas.microsoft.com/office/drawing/2014/main" id="{D8A298EA-A837-E3DA-D081-BD29C5F9E016}"/>
                  </a:ext>
                </a:extLst>
              </p:cNvPr>
              <p:cNvSpPr/>
              <p:nvPr/>
            </p:nvSpPr>
            <p:spPr>
              <a:xfrm>
                <a:off x="9032126" y="3658703"/>
                <a:ext cx="31013" cy="31013"/>
              </a:xfrm>
              <a:custGeom>
                <a:avLst/>
                <a:gdLst>
                  <a:gd name="connsiteX0" fmla="*/ 0 w 31013"/>
                  <a:gd name="connsiteY0" fmla="*/ 31014 h 31013"/>
                  <a:gd name="connsiteX1" fmla="*/ 31014 w 31013"/>
                  <a:gd name="connsiteY1" fmla="*/ 0 h 310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1013" h="31013">
                    <a:moveTo>
                      <a:pt x="0" y="31014"/>
                    </a:moveTo>
                    <a:lnTo>
                      <a:pt x="31014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182" name="Forma livre: Forma 1181">
                <a:extLst>
                  <a:ext uri="{FF2B5EF4-FFF2-40B4-BE49-F238E27FC236}">
                    <a16:creationId xmlns:a16="http://schemas.microsoft.com/office/drawing/2014/main" id="{898B1C43-3CA2-6E77-1197-945BC52EA98E}"/>
                  </a:ext>
                </a:extLst>
              </p:cNvPr>
              <p:cNvSpPr/>
              <p:nvPr/>
            </p:nvSpPr>
            <p:spPr>
              <a:xfrm>
                <a:off x="9067808" y="3694339"/>
                <a:ext cx="31013" cy="31059"/>
              </a:xfrm>
              <a:custGeom>
                <a:avLst/>
                <a:gdLst>
                  <a:gd name="connsiteX0" fmla="*/ 0 w 31013"/>
                  <a:gd name="connsiteY0" fmla="*/ 31060 h 31059"/>
                  <a:gd name="connsiteX1" fmla="*/ 31014 w 31013"/>
                  <a:gd name="connsiteY1" fmla="*/ 0 h 310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1013" h="31059">
                    <a:moveTo>
                      <a:pt x="0" y="31060"/>
                    </a:moveTo>
                    <a:lnTo>
                      <a:pt x="31014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190" name="Gráfico 20">
            <a:extLst>
              <a:ext uri="{FF2B5EF4-FFF2-40B4-BE49-F238E27FC236}">
                <a16:creationId xmlns:a16="http://schemas.microsoft.com/office/drawing/2014/main" id="{F00CD7DD-84E2-0DAD-A0C3-C03C89F826C9}"/>
              </a:ext>
            </a:extLst>
          </p:cNvPr>
          <p:cNvGrpSpPr/>
          <p:nvPr/>
        </p:nvGrpSpPr>
        <p:grpSpPr>
          <a:xfrm>
            <a:off x="8206818" y="3629574"/>
            <a:ext cx="239328" cy="330022"/>
            <a:chOff x="8206818" y="3629574"/>
            <a:chExt cx="239328" cy="330022"/>
          </a:xfrm>
          <a:noFill/>
        </p:grpSpPr>
        <p:sp>
          <p:nvSpPr>
            <p:cNvPr id="1191" name="Forma livre: Forma 1190">
              <a:extLst>
                <a:ext uri="{FF2B5EF4-FFF2-40B4-BE49-F238E27FC236}">
                  <a16:creationId xmlns:a16="http://schemas.microsoft.com/office/drawing/2014/main" id="{4E3E9C45-7E69-8D11-E3F3-D6529BDF74A9}"/>
                </a:ext>
              </a:extLst>
            </p:cNvPr>
            <p:cNvSpPr/>
            <p:nvPr/>
          </p:nvSpPr>
          <p:spPr>
            <a:xfrm>
              <a:off x="8255662" y="3629574"/>
              <a:ext cx="136683" cy="102551"/>
            </a:xfrm>
            <a:custGeom>
              <a:avLst/>
              <a:gdLst>
                <a:gd name="connsiteX0" fmla="*/ 39344 w 136683"/>
                <a:gd name="connsiteY0" fmla="*/ 2968 h 102551"/>
                <a:gd name="connsiteX1" fmla="*/ 6574 w 136683"/>
                <a:gd name="connsiteY1" fmla="*/ 74286 h 102551"/>
                <a:gd name="connsiteX2" fmla="*/ 82745 w 136683"/>
                <a:gd name="connsiteY2" fmla="*/ 91295 h 102551"/>
                <a:gd name="connsiteX3" fmla="*/ 136684 w 136683"/>
                <a:gd name="connsiteY3" fmla="*/ 9162 h 102551"/>
                <a:gd name="connsiteX4" fmla="*/ 39344 w 136683"/>
                <a:gd name="connsiteY4" fmla="*/ 2968 h 1025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6683" h="102551">
                  <a:moveTo>
                    <a:pt x="39344" y="2968"/>
                  </a:moveTo>
                  <a:cubicBezTo>
                    <a:pt x="-3595" y="15771"/>
                    <a:pt x="-5859" y="50668"/>
                    <a:pt x="6574" y="74286"/>
                  </a:cubicBezTo>
                  <a:cubicBezTo>
                    <a:pt x="19007" y="97905"/>
                    <a:pt x="50113" y="114729"/>
                    <a:pt x="82745" y="91295"/>
                  </a:cubicBezTo>
                  <a:cubicBezTo>
                    <a:pt x="107426" y="73593"/>
                    <a:pt x="136684" y="9162"/>
                    <a:pt x="136684" y="9162"/>
                  </a:cubicBezTo>
                  <a:cubicBezTo>
                    <a:pt x="136684" y="9162"/>
                    <a:pt x="70496" y="-6322"/>
                    <a:pt x="39344" y="2968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92" name="Forma livre: Forma 1191">
              <a:extLst>
                <a:ext uri="{FF2B5EF4-FFF2-40B4-BE49-F238E27FC236}">
                  <a16:creationId xmlns:a16="http://schemas.microsoft.com/office/drawing/2014/main" id="{B69781B6-21B7-F661-533B-8DECC826BD7A}"/>
                </a:ext>
              </a:extLst>
            </p:cNvPr>
            <p:cNvSpPr/>
            <p:nvPr/>
          </p:nvSpPr>
          <p:spPr>
            <a:xfrm>
              <a:off x="8288674" y="3663695"/>
              <a:ext cx="1756" cy="23433"/>
            </a:xfrm>
            <a:custGeom>
              <a:avLst/>
              <a:gdLst>
                <a:gd name="connsiteX0" fmla="*/ 0 w 1756"/>
                <a:gd name="connsiteY0" fmla="*/ 23434 h 23433"/>
                <a:gd name="connsiteX1" fmla="*/ 1756 w 1756"/>
                <a:gd name="connsiteY1" fmla="*/ 0 h 234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756" h="23433">
                  <a:moveTo>
                    <a:pt x="0" y="23434"/>
                  </a:moveTo>
                  <a:lnTo>
                    <a:pt x="1756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93" name="Forma livre: Forma 1192">
              <a:extLst>
                <a:ext uri="{FF2B5EF4-FFF2-40B4-BE49-F238E27FC236}">
                  <a16:creationId xmlns:a16="http://schemas.microsoft.com/office/drawing/2014/main" id="{B685EE22-03F1-0828-495B-1FBFB95B2B98}"/>
                </a:ext>
              </a:extLst>
            </p:cNvPr>
            <p:cNvSpPr/>
            <p:nvPr/>
          </p:nvSpPr>
          <p:spPr>
            <a:xfrm>
              <a:off x="8308225" y="3684031"/>
              <a:ext cx="20475" cy="9613"/>
            </a:xfrm>
            <a:custGeom>
              <a:avLst/>
              <a:gdLst>
                <a:gd name="connsiteX0" fmla="*/ 0 w 20475"/>
                <a:gd name="connsiteY0" fmla="*/ 0 h 9613"/>
                <a:gd name="connsiteX1" fmla="*/ 20476 w 20475"/>
                <a:gd name="connsiteY1" fmla="*/ 9614 h 96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0475" h="9613">
                  <a:moveTo>
                    <a:pt x="0" y="0"/>
                  </a:moveTo>
                  <a:lnTo>
                    <a:pt x="20476" y="9614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94" name="Forma livre: Forma 1193">
              <a:extLst>
                <a:ext uri="{FF2B5EF4-FFF2-40B4-BE49-F238E27FC236}">
                  <a16:creationId xmlns:a16="http://schemas.microsoft.com/office/drawing/2014/main" id="{0E89366E-BB60-F549-7212-ECDC560FB09C}"/>
                </a:ext>
              </a:extLst>
            </p:cNvPr>
            <p:cNvSpPr/>
            <p:nvPr/>
          </p:nvSpPr>
          <p:spPr>
            <a:xfrm>
              <a:off x="8232886" y="3665081"/>
              <a:ext cx="111436" cy="72565"/>
            </a:xfrm>
            <a:custGeom>
              <a:avLst/>
              <a:gdLst>
                <a:gd name="connsiteX0" fmla="*/ 111437 w 111436"/>
                <a:gd name="connsiteY0" fmla="*/ 0 h 72565"/>
                <a:gd name="connsiteX1" fmla="*/ 0 w 111436"/>
                <a:gd name="connsiteY1" fmla="*/ 72566 h 725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1436" h="72565">
                  <a:moveTo>
                    <a:pt x="111437" y="0"/>
                  </a:moveTo>
                  <a:cubicBezTo>
                    <a:pt x="111437" y="0"/>
                    <a:pt x="29627" y="30968"/>
                    <a:pt x="0" y="72566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95" name="Forma livre: Forma 1194">
              <a:extLst>
                <a:ext uri="{FF2B5EF4-FFF2-40B4-BE49-F238E27FC236}">
                  <a16:creationId xmlns:a16="http://schemas.microsoft.com/office/drawing/2014/main" id="{DCBA466F-5057-5A98-A568-E54386290605}"/>
                </a:ext>
              </a:extLst>
            </p:cNvPr>
            <p:cNvSpPr/>
            <p:nvPr/>
          </p:nvSpPr>
          <p:spPr>
            <a:xfrm>
              <a:off x="8206818" y="3763946"/>
              <a:ext cx="239328" cy="195650"/>
            </a:xfrm>
            <a:custGeom>
              <a:avLst/>
              <a:gdLst>
                <a:gd name="connsiteX0" fmla="*/ 0 w 239328"/>
                <a:gd name="connsiteY0" fmla="*/ 195650 h 195650"/>
                <a:gd name="connsiteX1" fmla="*/ 0 w 239328"/>
                <a:gd name="connsiteY1" fmla="*/ 0 h 195650"/>
                <a:gd name="connsiteX2" fmla="*/ 44187 w 239328"/>
                <a:gd name="connsiteY2" fmla="*/ 0 h 195650"/>
                <a:gd name="connsiteX3" fmla="*/ 44187 w 239328"/>
                <a:gd name="connsiteY3" fmla="*/ 116752 h 195650"/>
                <a:gd name="connsiteX4" fmla="*/ 109403 w 239328"/>
                <a:gd name="connsiteY4" fmla="*/ 79037 h 195650"/>
                <a:gd name="connsiteX5" fmla="*/ 109403 w 239328"/>
                <a:gd name="connsiteY5" fmla="*/ 116290 h 195650"/>
                <a:gd name="connsiteX6" fmla="*/ 174204 w 239328"/>
                <a:gd name="connsiteY6" fmla="*/ 78944 h 195650"/>
                <a:gd name="connsiteX7" fmla="*/ 174204 w 239328"/>
                <a:gd name="connsiteY7" fmla="*/ 116660 h 195650"/>
                <a:gd name="connsiteX8" fmla="*/ 239328 w 239328"/>
                <a:gd name="connsiteY8" fmla="*/ 79268 h 195650"/>
                <a:gd name="connsiteX9" fmla="*/ 239328 w 239328"/>
                <a:gd name="connsiteY9" fmla="*/ 195650 h 1956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39328" h="195650">
                  <a:moveTo>
                    <a:pt x="0" y="195650"/>
                  </a:moveTo>
                  <a:lnTo>
                    <a:pt x="0" y="0"/>
                  </a:lnTo>
                  <a:lnTo>
                    <a:pt x="44187" y="0"/>
                  </a:lnTo>
                  <a:lnTo>
                    <a:pt x="44187" y="116752"/>
                  </a:lnTo>
                  <a:lnTo>
                    <a:pt x="109403" y="79037"/>
                  </a:lnTo>
                  <a:lnTo>
                    <a:pt x="109403" y="116290"/>
                  </a:lnTo>
                  <a:lnTo>
                    <a:pt x="174204" y="78944"/>
                  </a:lnTo>
                  <a:lnTo>
                    <a:pt x="174204" y="116660"/>
                  </a:lnTo>
                  <a:lnTo>
                    <a:pt x="239328" y="79268"/>
                  </a:lnTo>
                  <a:lnTo>
                    <a:pt x="239328" y="19565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96" name="Forma livre: Forma 1195">
              <a:extLst>
                <a:ext uri="{FF2B5EF4-FFF2-40B4-BE49-F238E27FC236}">
                  <a16:creationId xmlns:a16="http://schemas.microsoft.com/office/drawing/2014/main" id="{826E2D32-24F2-EB76-3A3C-637BECE054E3}"/>
                </a:ext>
              </a:extLst>
            </p:cNvPr>
            <p:cNvSpPr/>
            <p:nvPr/>
          </p:nvSpPr>
          <p:spPr>
            <a:xfrm>
              <a:off x="8263114" y="3918645"/>
              <a:ext cx="27454" cy="4622"/>
            </a:xfrm>
            <a:custGeom>
              <a:avLst/>
              <a:gdLst>
                <a:gd name="connsiteX0" fmla="*/ 0 w 27454"/>
                <a:gd name="connsiteY0" fmla="*/ 0 h 4622"/>
                <a:gd name="connsiteX1" fmla="*/ 27455 w 27454"/>
                <a:gd name="connsiteY1" fmla="*/ 0 h 46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7454" h="4622">
                  <a:moveTo>
                    <a:pt x="0" y="0"/>
                  </a:moveTo>
                  <a:lnTo>
                    <a:pt x="27455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97" name="Forma livre: Forma 1196">
              <a:extLst>
                <a:ext uri="{FF2B5EF4-FFF2-40B4-BE49-F238E27FC236}">
                  <a16:creationId xmlns:a16="http://schemas.microsoft.com/office/drawing/2014/main" id="{C86688EF-FE08-CAAB-A5AC-3B63943EBD69}"/>
                </a:ext>
              </a:extLst>
            </p:cNvPr>
            <p:cNvSpPr/>
            <p:nvPr/>
          </p:nvSpPr>
          <p:spPr>
            <a:xfrm>
              <a:off x="8328285" y="3918645"/>
              <a:ext cx="27454" cy="4622"/>
            </a:xfrm>
            <a:custGeom>
              <a:avLst/>
              <a:gdLst>
                <a:gd name="connsiteX0" fmla="*/ 0 w 27454"/>
                <a:gd name="connsiteY0" fmla="*/ 0 h 4622"/>
                <a:gd name="connsiteX1" fmla="*/ 27455 w 27454"/>
                <a:gd name="connsiteY1" fmla="*/ 0 h 46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7454" h="4622">
                  <a:moveTo>
                    <a:pt x="0" y="0"/>
                  </a:moveTo>
                  <a:lnTo>
                    <a:pt x="27455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98" name="Forma livre: Forma 1197">
              <a:extLst>
                <a:ext uri="{FF2B5EF4-FFF2-40B4-BE49-F238E27FC236}">
                  <a16:creationId xmlns:a16="http://schemas.microsoft.com/office/drawing/2014/main" id="{369727CA-F2D7-B148-A886-21EDCA47B586}"/>
                </a:ext>
              </a:extLst>
            </p:cNvPr>
            <p:cNvSpPr/>
            <p:nvPr/>
          </p:nvSpPr>
          <p:spPr>
            <a:xfrm>
              <a:off x="8393409" y="3918645"/>
              <a:ext cx="27454" cy="4622"/>
            </a:xfrm>
            <a:custGeom>
              <a:avLst/>
              <a:gdLst>
                <a:gd name="connsiteX0" fmla="*/ 0 w 27454"/>
                <a:gd name="connsiteY0" fmla="*/ 0 h 4622"/>
                <a:gd name="connsiteX1" fmla="*/ 27455 w 27454"/>
                <a:gd name="connsiteY1" fmla="*/ 0 h 46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7454" h="4622">
                  <a:moveTo>
                    <a:pt x="0" y="0"/>
                  </a:moveTo>
                  <a:lnTo>
                    <a:pt x="27455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199" name="Gráfico 20">
            <a:extLst>
              <a:ext uri="{FF2B5EF4-FFF2-40B4-BE49-F238E27FC236}">
                <a16:creationId xmlns:a16="http://schemas.microsoft.com/office/drawing/2014/main" id="{49FAA0C7-AF6A-1A1B-17E8-217F3E502AA4}"/>
              </a:ext>
            </a:extLst>
          </p:cNvPr>
          <p:cNvGrpSpPr/>
          <p:nvPr/>
        </p:nvGrpSpPr>
        <p:grpSpPr>
          <a:xfrm>
            <a:off x="8786512" y="4153074"/>
            <a:ext cx="283283" cy="308889"/>
            <a:chOff x="8786512" y="4153074"/>
            <a:chExt cx="283283" cy="308889"/>
          </a:xfrm>
        </p:grpSpPr>
        <p:grpSp>
          <p:nvGrpSpPr>
            <p:cNvPr id="1200" name="Gráfico 20">
              <a:extLst>
                <a:ext uri="{FF2B5EF4-FFF2-40B4-BE49-F238E27FC236}">
                  <a16:creationId xmlns:a16="http://schemas.microsoft.com/office/drawing/2014/main" id="{10AC0C8C-F75F-C115-533B-6FD9EB1C656F}"/>
                </a:ext>
              </a:extLst>
            </p:cNvPr>
            <p:cNvGrpSpPr/>
            <p:nvPr/>
          </p:nvGrpSpPr>
          <p:grpSpPr>
            <a:xfrm>
              <a:off x="8906407" y="4331577"/>
              <a:ext cx="43446" cy="130063"/>
              <a:chOff x="8906407" y="4331577"/>
              <a:chExt cx="43446" cy="130063"/>
            </a:xfrm>
          </p:grpSpPr>
          <p:sp>
            <p:nvSpPr>
              <p:cNvPr id="1201" name="Forma livre: Forma 1200">
                <a:extLst>
                  <a:ext uri="{FF2B5EF4-FFF2-40B4-BE49-F238E27FC236}">
                    <a16:creationId xmlns:a16="http://schemas.microsoft.com/office/drawing/2014/main" id="{3A4C740E-9BE3-50E0-B5CF-DDC582F6853D}"/>
                  </a:ext>
                </a:extLst>
              </p:cNvPr>
              <p:cNvSpPr/>
              <p:nvPr/>
            </p:nvSpPr>
            <p:spPr>
              <a:xfrm>
                <a:off x="8906407" y="4331577"/>
                <a:ext cx="7071" cy="130063"/>
              </a:xfrm>
              <a:custGeom>
                <a:avLst/>
                <a:gdLst>
                  <a:gd name="connsiteX0" fmla="*/ 7072 w 7071"/>
                  <a:gd name="connsiteY0" fmla="*/ 0 h 130063"/>
                  <a:gd name="connsiteX1" fmla="*/ 0 w 7071"/>
                  <a:gd name="connsiteY1" fmla="*/ 130064 h 1300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7071" h="130063">
                    <a:moveTo>
                      <a:pt x="7072" y="0"/>
                    </a:moveTo>
                    <a:lnTo>
                      <a:pt x="0" y="130064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02" name="Forma livre: Forma 1201">
                <a:extLst>
                  <a:ext uri="{FF2B5EF4-FFF2-40B4-BE49-F238E27FC236}">
                    <a16:creationId xmlns:a16="http://schemas.microsoft.com/office/drawing/2014/main" id="{857AB96C-2D9E-CD7B-5FBC-69AD5F979C16}"/>
                  </a:ext>
                </a:extLst>
              </p:cNvPr>
              <p:cNvSpPr/>
              <p:nvPr/>
            </p:nvSpPr>
            <p:spPr>
              <a:xfrm>
                <a:off x="8942782" y="4331577"/>
                <a:ext cx="7071" cy="130063"/>
              </a:xfrm>
              <a:custGeom>
                <a:avLst/>
                <a:gdLst>
                  <a:gd name="connsiteX0" fmla="*/ 0 w 7071"/>
                  <a:gd name="connsiteY0" fmla="*/ 0 h 130063"/>
                  <a:gd name="connsiteX1" fmla="*/ 7072 w 7071"/>
                  <a:gd name="connsiteY1" fmla="*/ 130064 h 1300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7071" h="130063">
                    <a:moveTo>
                      <a:pt x="0" y="0"/>
                    </a:moveTo>
                    <a:lnTo>
                      <a:pt x="7072" y="130064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203" name="Forma livre: Forma 1202">
              <a:extLst>
                <a:ext uri="{FF2B5EF4-FFF2-40B4-BE49-F238E27FC236}">
                  <a16:creationId xmlns:a16="http://schemas.microsoft.com/office/drawing/2014/main" id="{200640B3-9DCA-9546-4335-01153FC641E2}"/>
                </a:ext>
              </a:extLst>
            </p:cNvPr>
            <p:cNvSpPr/>
            <p:nvPr/>
          </p:nvSpPr>
          <p:spPr>
            <a:xfrm>
              <a:off x="8879322" y="4461964"/>
              <a:ext cx="97663" cy="4622"/>
            </a:xfrm>
            <a:custGeom>
              <a:avLst/>
              <a:gdLst>
                <a:gd name="connsiteX0" fmla="*/ 0 w 97663"/>
                <a:gd name="connsiteY0" fmla="*/ 0 h 4622"/>
                <a:gd name="connsiteX1" fmla="*/ 97663 w 97663"/>
                <a:gd name="connsiteY1" fmla="*/ 0 h 46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7663" h="4622">
                  <a:moveTo>
                    <a:pt x="0" y="0"/>
                  </a:moveTo>
                  <a:lnTo>
                    <a:pt x="97663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04" name="Forma livre: Forma 1203">
              <a:extLst>
                <a:ext uri="{FF2B5EF4-FFF2-40B4-BE49-F238E27FC236}">
                  <a16:creationId xmlns:a16="http://schemas.microsoft.com/office/drawing/2014/main" id="{571C8B9E-4842-AADF-899B-A5C9E9227515}"/>
                </a:ext>
              </a:extLst>
            </p:cNvPr>
            <p:cNvSpPr/>
            <p:nvPr/>
          </p:nvSpPr>
          <p:spPr>
            <a:xfrm>
              <a:off x="8912323" y="4153074"/>
              <a:ext cx="31614" cy="118693"/>
            </a:xfrm>
            <a:custGeom>
              <a:avLst/>
              <a:gdLst>
                <a:gd name="connsiteX0" fmla="*/ 0 w 31614"/>
                <a:gd name="connsiteY0" fmla="*/ 118694 h 118693"/>
                <a:gd name="connsiteX1" fmla="*/ 5130 w 31614"/>
                <a:gd name="connsiteY1" fmla="*/ 0 h 118693"/>
                <a:gd name="connsiteX2" fmla="*/ 26530 w 31614"/>
                <a:gd name="connsiteY2" fmla="*/ 0 h 118693"/>
                <a:gd name="connsiteX3" fmla="*/ 31615 w 31614"/>
                <a:gd name="connsiteY3" fmla="*/ 118694 h 1186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1614" h="118693">
                  <a:moveTo>
                    <a:pt x="0" y="118694"/>
                  </a:moveTo>
                  <a:lnTo>
                    <a:pt x="5130" y="0"/>
                  </a:lnTo>
                  <a:lnTo>
                    <a:pt x="26530" y="0"/>
                  </a:lnTo>
                  <a:lnTo>
                    <a:pt x="31615" y="118694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05" name="Forma livre: Forma 1204">
              <a:extLst>
                <a:ext uri="{FF2B5EF4-FFF2-40B4-BE49-F238E27FC236}">
                  <a16:creationId xmlns:a16="http://schemas.microsoft.com/office/drawing/2014/main" id="{C4F416FB-5E7D-9205-1C49-7C96730EB419}"/>
                </a:ext>
              </a:extLst>
            </p:cNvPr>
            <p:cNvSpPr/>
            <p:nvPr/>
          </p:nvSpPr>
          <p:spPr>
            <a:xfrm>
              <a:off x="8894852" y="4267654"/>
              <a:ext cx="66557" cy="66557"/>
            </a:xfrm>
            <a:custGeom>
              <a:avLst/>
              <a:gdLst>
                <a:gd name="connsiteX0" fmla="*/ 66557 w 66557"/>
                <a:gd name="connsiteY0" fmla="*/ 33279 h 66557"/>
                <a:gd name="connsiteX1" fmla="*/ 33279 w 66557"/>
                <a:gd name="connsiteY1" fmla="*/ 66557 h 66557"/>
                <a:gd name="connsiteX2" fmla="*/ 0 w 66557"/>
                <a:gd name="connsiteY2" fmla="*/ 33279 h 66557"/>
                <a:gd name="connsiteX3" fmla="*/ 33279 w 66557"/>
                <a:gd name="connsiteY3" fmla="*/ 0 h 66557"/>
                <a:gd name="connsiteX4" fmla="*/ 66557 w 66557"/>
                <a:gd name="connsiteY4" fmla="*/ 33279 h 665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6557" h="66557">
                  <a:moveTo>
                    <a:pt x="66557" y="33279"/>
                  </a:moveTo>
                  <a:cubicBezTo>
                    <a:pt x="66557" y="51628"/>
                    <a:pt x="51674" y="66557"/>
                    <a:pt x="33279" y="66557"/>
                  </a:cubicBezTo>
                  <a:cubicBezTo>
                    <a:pt x="14883" y="66557"/>
                    <a:pt x="0" y="51674"/>
                    <a:pt x="0" y="33279"/>
                  </a:cubicBezTo>
                  <a:cubicBezTo>
                    <a:pt x="0" y="14883"/>
                    <a:pt x="14883" y="0"/>
                    <a:pt x="33279" y="0"/>
                  </a:cubicBezTo>
                  <a:cubicBezTo>
                    <a:pt x="51674" y="0"/>
                    <a:pt x="66557" y="14883"/>
                    <a:pt x="66557" y="33279"/>
                  </a:cubicBez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06" name="Forma livre: Forma 1205">
              <a:extLst>
                <a:ext uri="{FF2B5EF4-FFF2-40B4-BE49-F238E27FC236}">
                  <a16:creationId xmlns:a16="http://schemas.microsoft.com/office/drawing/2014/main" id="{C9BD15A9-FF93-E95D-A15C-EC6DFBEA3D3D}"/>
                </a:ext>
              </a:extLst>
            </p:cNvPr>
            <p:cNvSpPr/>
            <p:nvPr/>
          </p:nvSpPr>
          <p:spPr>
            <a:xfrm>
              <a:off x="8924525" y="4297096"/>
              <a:ext cx="7210" cy="7210"/>
            </a:xfrm>
            <a:custGeom>
              <a:avLst/>
              <a:gdLst>
                <a:gd name="connsiteX0" fmla="*/ 7210 w 7210"/>
                <a:gd name="connsiteY0" fmla="*/ 3605 h 7210"/>
                <a:gd name="connsiteX1" fmla="*/ 3605 w 7210"/>
                <a:gd name="connsiteY1" fmla="*/ 7210 h 7210"/>
                <a:gd name="connsiteX2" fmla="*/ 0 w 7210"/>
                <a:gd name="connsiteY2" fmla="*/ 3605 h 7210"/>
                <a:gd name="connsiteX3" fmla="*/ 3605 w 7210"/>
                <a:gd name="connsiteY3" fmla="*/ 0 h 7210"/>
                <a:gd name="connsiteX4" fmla="*/ 7210 w 7210"/>
                <a:gd name="connsiteY4" fmla="*/ 3605 h 72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210" h="7210">
                  <a:moveTo>
                    <a:pt x="7210" y="3605"/>
                  </a:moveTo>
                  <a:cubicBezTo>
                    <a:pt x="7210" y="5593"/>
                    <a:pt x="5593" y="7210"/>
                    <a:pt x="3605" y="7210"/>
                  </a:cubicBezTo>
                  <a:cubicBezTo>
                    <a:pt x="1618" y="7210"/>
                    <a:pt x="0" y="5593"/>
                    <a:pt x="0" y="3605"/>
                  </a:cubicBezTo>
                  <a:cubicBezTo>
                    <a:pt x="0" y="1618"/>
                    <a:pt x="1618" y="0"/>
                    <a:pt x="3605" y="0"/>
                  </a:cubicBezTo>
                  <a:cubicBezTo>
                    <a:pt x="5593" y="0"/>
                    <a:pt x="7210" y="1618"/>
                    <a:pt x="7210" y="3605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207" name="Gráfico 20">
              <a:extLst>
                <a:ext uri="{FF2B5EF4-FFF2-40B4-BE49-F238E27FC236}">
                  <a16:creationId xmlns:a16="http://schemas.microsoft.com/office/drawing/2014/main" id="{0ABB335E-6335-C8FE-051E-47B85725EB20}"/>
                </a:ext>
              </a:extLst>
            </p:cNvPr>
            <p:cNvGrpSpPr/>
            <p:nvPr/>
          </p:nvGrpSpPr>
          <p:grpSpPr>
            <a:xfrm>
              <a:off x="8786512" y="4200311"/>
              <a:ext cx="283283" cy="168981"/>
              <a:chOff x="8786512" y="4200311"/>
              <a:chExt cx="283283" cy="168981"/>
            </a:xfrm>
            <a:noFill/>
          </p:grpSpPr>
          <p:grpSp>
            <p:nvGrpSpPr>
              <p:cNvPr id="1208" name="Gráfico 20">
                <a:extLst>
                  <a:ext uri="{FF2B5EF4-FFF2-40B4-BE49-F238E27FC236}">
                    <a16:creationId xmlns:a16="http://schemas.microsoft.com/office/drawing/2014/main" id="{A9A1DFB6-CC25-4D4E-B94E-60CF632766C7}"/>
                  </a:ext>
                </a:extLst>
              </p:cNvPr>
              <p:cNvGrpSpPr/>
              <p:nvPr/>
            </p:nvGrpSpPr>
            <p:grpSpPr>
              <a:xfrm>
                <a:off x="8786512" y="4200311"/>
                <a:ext cx="117722" cy="168981"/>
                <a:chOff x="8786512" y="4200311"/>
                <a:chExt cx="117722" cy="168981"/>
              </a:xfrm>
              <a:noFill/>
            </p:grpSpPr>
            <p:sp>
              <p:nvSpPr>
                <p:cNvPr id="1209" name="Forma livre: Forma 1208">
                  <a:extLst>
                    <a:ext uri="{FF2B5EF4-FFF2-40B4-BE49-F238E27FC236}">
                      <a16:creationId xmlns:a16="http://schemas.microsoft.com/office/drawing/2014/main" id="{90E91FC1-4775-B776-2B3F-B76C4734CF5B}"/>
                    </a:ext>
                  </a:extLst>
                </p:cNvPr>
                <p:cNvSpPr/>
                <p:nvPr/>
              </p:nvSpPr>
              <p:spPr>
                <a:xfrm>
                  <a:off x="8820437" y="4200311"/>
                  <a:ext cx="69284" cy="100667"/>
                </a:xfrm>
                <a:custGeom>
                  <a:avLst/>
                  <a:gdLst>
                    <a:gd name="connsiteX0" fmla="*/ 0 w 69284"/>
                    <a:gd name="connsiteY0" fmla="*/ 100668 h 100667"/>
                    <a:gd name="connsiteX1" fmla="*/ 69284 w 69284"/>
                    <a:gd name="connsiteY1" fmla="*/ 0 h 10066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69284" h="100667">
                      <a:moveTo>
                        <a:pt x="0" y="100668"/>
                      </a:moveTo>
                      <a:cubicBezTo>
                        <a:pt x="0" y="54725"/>
                        <a:pt x="28795" y="15484"/>
                        <a:pt x="69284" y="0"/>
                      </a:cubicBez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210" name="Forma livre: Forma 1209">
                  <a:extLst>
                    <a:ext uri="{FF2B5EF4-FFF2-40B4-BE49-F238E27FC236}">
                      <a16:creationId xmlns:a16="http://schemas.microsoft.com/office/drawing/2014/main" id="{C7E8C389-6962-8FF6-6148-04CAA173ECE7}"/>
                    </a:ext>
                  </a:extLst>
                </p:cNvPr>
                <p:cNvSpPr/>
                <p:nvPr/>
              </p:nvSpPr>
              <p:spPr>
                <a:xfrm>
                  <a:off x="8786512" y="4287436"/>
                  <a:ext cx="117722" cy="81855"/>
                </a:xfrm>
                <a:custGeom>
                  <a:avLst/>
                  <a:gdLst>
                    <a:gd name="connsiteX0" fmla="*/ 117723 w 117722"/>
                    <a:gd name="connsiteY0" fmla="*/ 32354 h 81855"/>
                    <a:gd name="connsiteX1" fmla="*/ 9752 w 117722"/>
                    <a:gd name="connsiteY1" fmla="*/ 81856 h 81855"/>
                    <a:gd name="connsiteX2" fmla="*/ 0 w 117722"/>
                    <a:gd name="connsiteY2" fmla="*/ 62767 h 81855"/>
                    <a:gd name="connsiteX3" fmla="*/ 110744 w 117722"/>
                    <a:gd name="connsiteY3" fmla="*/ 0 h 8185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17722" h="81855">
                      <a:moveTo>
                        <a:pt x="117723" y="32354"/>
                      </a:moveTo>
                      <a:lnTo>
                        <a:pt x="9752" y="81856"/>
                      </a:lnTo>
                      <a:lnTo>
                        <a:pt x="0" y="62767"/>
                      </a:lnTo>
                      <a:lnTo>
                        <a:pt x="110744" y="0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1211" name="Gráfico 20">
                <a:extLst>
                  <a:ext uri="{FF2B5EF4-FFF2-40B4-BE49-F238E27FC236}">
                    <a16:creationId xmlns:a16="http://schemas.microsoft.com/office/drawing/2014/main" id="{62C5E5A7-D203-D424-5A3E-EF6945D83617}"/>
                  </a:ext>
                </a:extLst>
              </p:cNvPr>
              <p:cNvGrpSpPr/>
              <p:nvPr/>
            </p:nvGrpSpPr>
            <p:grpSpPr>
              <a:xfrm>
                <a:off x="8952026" y="4200311"/>
                <a:ext cx="117769" cy="168981"/>
                <a:chOff x="8952026" y="4200311"/>
                <a:chExt cx="117769" cy="168981"/>
              </a:xfrm>
              <a:noFill/>
            </p:grpSpPr>
            <p:sp>
              <p:nvSpPr>
                <p:cNvPr id="1212" name="Forma livre: Forma 1211">
                  <a:extLst>
                    <a:ext uri="{FF2B5EF4-FFF2-40B4-BE49-F238E27FC236}">
                      <a16:creationId xmlns:a16="http://schemas.microsoft.com/office/drawing/2014/main" id="{943C8E8F-99A9-E3C3-7B55-7722F7D2088D}"/>
                    </a:ext>
                  </a:extLst>
                </p:cNvPr>
                <p:cNvSpPr/>
                <p:nvPr/>
              </p:nvSpPr>
              <p:spPr>
                <a:xfrm>
                  <a:off x="8966539" y="4200311"/>
                  <a:ext cx="69284" cy="100667"/>
                </a:xfrm>
                <a:custGeom>
                  <a:avLst/>
                  <a:gdLst>
                    <a:gd name="connsiteX0" fmla="*/ 69284 w 69284"/>
                    <a:gd name="connsiteY0" fmla="*/ 100668 h 100667"/>
                    <a:gd name="connsiteX1" fmla="*/ 0 w 69284"/>
                    <a:gd name="connsiteY1" fmla="*/ 0 h 10066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69284" h="100667">
                      <a:moveTo>
                        <a:pt x="69284" y="100668"/>
                      </a:moveTo>
                      <a:cubicBezTo>
                        <a:pt x="69284" y="54725"/>
                        <a:pt x="40489" y="15484"/>
                        <a:pt x="0" y="0"/>
                      </a:cubicBez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213" name="Forma livre: Forma 1212">
                  <a:extLst>
                    <a:ext uri="{FF2B5EF4-FFF2-40B4-BE49-F238E27FC236}">
                      <a16:creationId xmlns:a16="http://schemas.microsoft.com/office/drawing/2014/main" id="{B6262C5A-8119-9FE9-9965-5AFAC48FF41F}"/>
                    </a:ext>
                  </a:extLst>
                </p:cNvPr>
                <p:cNvSpPr/>
                <p:nvPr/>
              </p:nvSpPr>
              <p:spPr>
                <a:xfrm>
                  <a:off x="8952026" y="4287436"/>
                  <a:ext cx="117769" cy="81855"/>
                </a:xfrm>
                <a:custGeom>
                  <a:avLst/>
                  <a:gdLst>
                    <a:gd name="connsiteX0" fmla="*/ 0 w 117769"/>
                    <a:gd name="connsiteY0" fmla="*/ 32354 h 81855"/>
                    <a:gd name="connsiteX1" fmla="*/ 108017 w 117769"/>
                    <a:gd name="connsiteY1" fmla="*/ 81856 h 81855"/>
                    <a:gd name="connsiteX2" fmla="*/ 117769 w 117769"/>
                    <a:gd name="connsiteY2" fmla="*/ 62767 h 81855"/>
                    <a:gd name="connsiteX3" fmla="*/ 7025 w 117769"/>
                    <a:gd name="connsiteY3" fmla="*/ 0 h 8185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17769" h="81855">
                      <a:moveTo>
                        <a:pt x="0" y="32354"/>
                      </a:moveTo>
                      <a:lnTo>
                        <a:pt x="108017" y="81856"/>
                      </a:lnTo>
                      <a:lnTo>
                        <a:pt x="117769" y="62767"/>
                      </a:lnTo>
                      <a:lnTo>
                        <a:pt x="7025" y="0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</p:grpSp>
      <p:grpSp>
        <p:nvGrpSpPr>
          <p:cNvPr id="1214" name="Gráfico 20">
            <a:extLst>
              <a:ext uri="{FF2B5EF4-FFF2-40B4-BE49-F238E27FC236}">
                <a16:creationId xmlns:a16="http://schemas.microsoft.com/office/drawing/2014/main" id="{2B6BDA20-F141-0B5C-7A66-9B79614EF9F9}"/>
              </a:ext>
            </a:extLst>
          </p:cNvPr>
          <p:cNvGrpSpPr/>
          <p:nvPr/>
        </p:nvGrpSpPr>
        <p:grpSpPr>
          <a:xfrm>
            <a:off x="9401586" y="4167850"/>
            <a:ext cx="256450" cy="279322"/>
            <a:chOff x="9401586" y="4167850"/>
            <a:chExt cx="256450" cy="279322"/>
          </a:xfrm>
          <a:noFill/>
        </p:grpSpPr>
        <p:sp>
          <p:nvSpPr>
            <p:cNvPr id="1215" name="Forma livre: Forma 1214">
              <a:extLst>
                <a:ext uri="{FF2B5EF4-FFF2-40B4-BE49-F238E27FC236}">
                  <a16:creationId xmlns:a16="http://schemas.microsoft.com/office/drawing/2014/main" id="{19D4F402-7C3F-5273-A9D3-CB9B6756B9DA}"/>
                </a:ext>
              </a:extLst>
            </p:cNvPr>
            <p:cNvSpPr/>
            <p:nvPr/>
          </p:nvSpPr>
          <p:spPr>
            <a:xfrm>
              <a:off x="9496768" y="4212830"/>
              <a:ext cx="99602" cy="95174"/>
            </a:xfrm>
            <a:custGeom>
              <a:avLst/>
              <a:gdLst>
                <a:gd name="connsiteX0" fmla="*/ 85333 w 99602"/>
                <a:gd name="connsiteY0" fmla="*/ 90229 h 95174"/>
                <a:gd name="connsiteX1" fmla="*/ 90787 w 99602"/>
                <a:gd name="connsiteY1" fmla="*/ 85931 h 95174"/>
                <a:gd name="connsiteX2" fmla="*/ 69202 w 99602"/>
                <a:gd name="connsiteY2" fmla="*/ 13041 h 95174"/>
                <a:gd name="connsiteX3" fmla="*/ 103 w 99602"/>
                <a:gd name="connsiteY3" fmla="*/ 1209 h 95174"/>
                <a:gd name="connsiteX4" fmla="*/ 16696 w 99602"/>
                <a:gd name="connsiteY4" fmla="*/ 68968 h 95174"/>
                <a:gd name="connsiteX5" fmla="*/ 63193 w 99602"/>
                <a:gd name="connsiteY5" fmla="*/ 95175 h 95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9602" h="95174">
                  <a:moveTo>
                    <a:pt x="85333" y="90229"/>
                  </a:moveTo>
                  <a:cubicBezTo>
                    <a:pt x="87366" y="89027"/>
                    <a:pt x="89169" y="87594"/>
                    <a:pt x="90787" y="85931"/>
                  </a:cubicBezTo>
                  <a:cubicBezTo>
                    <a:pt x="109136" y="66842"/>
                    <a:pt x="97350" y="27462"/>
                    <a:pt x="69202" y="13041"/>
                  </a:cubicBezTo>
                  <a:cubicBezTo>
                    <a:pt x="32826" y="-5585"/>
                    <a:pt x="103" y="1209"/>
                    <a:pt x="103" y="1209"/>
                  </a:cubicBezTo>
                  <a:cubicBezTo>
                    <a:pt x="103" y="1209"/>
                    <a:pt x="-2347" y="36937"/>
                    <a:pt x="16696" y="68968"/>
                  </a:cubicBezTo>
                  <a:cubicBezTo>
                    <a:pt x="26587" y="85561"/>
                    <a:pt x="45907" y="94527"/>
                    <a:pt x="63193" y="95175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16" name="Forma livre: Forma 1215">
              <a:extLst>
                <a:ext uri="{FF2B5EF4-FFF2-40B4-BE49-F238E27FC236}">
                  <a16:creationId xmlns:a16="http://schemas.microsoft.com/office/drawing/2014/main" id="{2B5EC0AC-F954-6583-A5A2-957A6210DF08}"/>
                </a:ext>
              </a:extLst>
            </p:cNvPr>
            <p:cNvSpPr/>
            <p:nvPr/>
          </p:nvSpPr>
          <p:spPr>
            <a:xfrm>
              <a:off x="9539162" y="4248380"/>
              <a:ext cx="57960" cy="89158"/>
            </a:xfrm>
            <a:custGeom>
              <a:avLst/>
              <a:gdLst>
                <a:gd name="connsiteX0" fmla="*/ 0 w 57960"/>
                <a:gd name="connsiteY0" fmla="*/ 0 h 89158"/>
                <a:gd name="connsiteX1" fmla="*/ 57960 w 57960"/>
                <a:gd name="connsiteY1" fmla="*/ 89159 h 891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7960" h="89158">
                  <a:moveTo>
                    <a:pt x="0" y="0"/>
                  </a:moveTo>
                  <a:cubicBezTo>
                    <a:pt x="15576" y="13404"/>
                    <a:pt x="44464" y="45157"/>
                    <a:pt x="57960" y="89159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217" name="Gráfico 20">
              <a:extLst>
                <a:ext uri="{FF2B5EF4-FFF2-40B4-BE49-F238E27FC236}">
                  <a16:creationId xmlns:a16="http://schemas.microsoft.com/office/drawing/2014/main" id="{AF5D772A-3095-2D41-80BE-973C5976BA4B}"/>
                </a:ext>
              </a:extLst>
            </p:cNvPr>
            <p:cNvGrpSpPr/>
            <p:nvPr/>
          </p:nvGrpSpPr>
          <p:grpSpPr>
            <a:xfrm>
              <a:off x="9401586" y="4167850"/>
              <a:ext cx="256450" cy="279322"/>
              <a:chOff x="9401586" y="4167850"/>
              <a:chExt cx="256450" cy="279322"/>
            </a:xfrm>
            <a:noFill/>
          </p:grpSpPr>
          <p:sp>
            <p:nvSpPr>
              <p:cNvPr id="1218" name="Forma livre: Forma 1217">
                <a:extLst>
                  <a:ext uri="{FF2B5EF4-FFF2-40B4-BE49-F238E27FC236}">
                    <a16:creationId xmlns:a16="http://schemas.microsoft.com/office/drawing/2014/main" id="{ED3EC83C-FB3A-4C9D-24E4-61DEF851CB80}"/>
                  </a:ext>
                </a:extLst>
              </p:cNvPr>
              <p:cNvSpPr/>
              <p:nvPr/>
            </p:nvSpPr>
            <p:spPr>
              <a:xfrm>
                <a:off x="9401586" y="4167850"/>
                <a:ext cx="256450" cy="279322"/>
              </a:xfrm>
              <a:custGeom>
                <a:avLst/>
                <a:gdLst>
                  <a:gd name="connsiteX0" fmla="*/ 220726 w 256450"/>
                  <a:gd name="connsiteY0" fmla="*/ 279323 h 279322"/>
                  <a:gd name="connsiteX1" fmla="*/ 216335 w 256450"/>
                  <a:gd name="connsiteY1" fmla="*/ 221871 h 279322"/>
                  <a:gd name="connsiteX2" fmla="*/ 239954 w 256450"/>
                  <a:gd name="connsiteY2" fmla="*/ 163772 h 279322"/>
                  <a:gd name="connsiteX3" fmla="*/ 215319 w 256450"/>
                  <a:gd name="connsiteY3" fmla="*/ 22939 h 279322"/>
                  <a:gd name="connsiteX4" fmla="*/ 68985 w 256450"/>
                  <a:gd name="connsiteY4" fmla="*/ 19288 h 279322"/>
                  <a:gd name="connsiteX5" fmla="*/ 33766 w 256450"/>
                  <a:gd name="connsiteY5" fmla="*/ 100451 h 279322"/>
                  <a:gd name="connsiteX6" fmla="*/ 30207 w 256450"/>
                  <a:gd name="connsiteY6" fmla="*/ 125826 h 279322"/>
                  <a:gd name="connsiteX7" fmla="*/ 626 w 256450"/>
                  <a:gd name="connsiteY7" fmla="*/ 160630 h 279322"/>
                  <a:gd name="connsiteX8" fmla="*/ 8529 w 256450"/>
                  <a:gd name="connsiteY8" fmla="*/ 171953 h 279322"/>
                  <a:gd name="connsiteX9" fmla="*/ 26555 w 256450"/>
                  <a:gd name="connsiteY9" fmla="*/ 175651 h 279322"/>
                  <a:gd name="connsiteX10" fmla="*/ 34829 w 256450"/>
                  <a:gd name="connsiteY10" fmla="*/ 201673 h 279322"/>
                  <a:gd name="connsiteX11" fmla="*/ 32934 w 256450"/>
                  <a:gd name="connsiteY11" fmla="*/ 226955 h 279322"/>
                  <a:gd name="connsiteX12" fmla="*/ 36585 w 256450"/>
                  <a:gd name="connsiteY12" fmla="*/ 251406 h 279322"/>
                  <a:gd name="connsiteX13" fmla="*/ 98659 w 256450"/>
                  <a:gd name="connsiteY13" fmla="*/ 248956 h 279322"/>
                  <a:gd name="connsiteX14" fmla="*/ 106978 w 256450"/>
                  <a:gd name="connsiteY14" fmla="*/ 278907 h 2793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256450" h="279322">
                    <a:moveTo>
                      <a:pt x="220726" y="279323"/>
                    </a:moveTo>
                    <a:cubicBezTo>
                      <a:pt x="218369" y="265688"/>
                      <a:pt x="214995" y="243502"/>
                      <a:pt x="216335" y="221871"/>
                    </a:cubicBezTo>
                    <a:cubicBezTo>
                      <a:pt x="216335" y="221871"/>
                      <a:pt x="224193" y="186420"/>
                      <a:pt x="239954" y="163772"/>
                    </a:cubicBezTo>
                    <a:cubicBezTo>
                      <a:pt x="239954" y="163772"/>
                      <a:pt x="290195" y="78080"/>
                      <a:pt x="215319" y="22939"/>
                    </a:cubicBezTo>
                    <a:cubicBezTo>
                      <a:pt x="215319" y="22939"/>
                      <a:pt x="149085" y="-26146"/>
                      <a:pt x="68985" y="19288"/>
                    </a:cubicBezTo>
                    <a:cubicBezTo>
                      <a:pt x="68985" y="19288"/>
                      <a:pt x="24290" y="38608"/>
                      <a:pt x="33766" y="100451"/>
                    </a:cubicBezTo>
                    <a:cubicBezTo>
                      <a:pt x="33766" y="100451"/>
                      <a:pt x="35661" y="117737"/>
                      <a:pt x="30207" y="125826"/>
                    </a:cubicBezTo>
                    <a:lnTo>
                      <a:pt x="626" y="160630"/>
                    </a:lnTo>
                    <a:cubicBezTo>
                      <a:pt x="626" y="160630"/>
                      <a:pt x="-3303" y="170983"/>
                      <a:pt x="8529" y="171953"/>
                    </a:cubicBezTo>
                    <a:lnTo>
                      <a:pt x="26555" y="175651"/>
                    </a:lnTo>
                    <a:cubicBezTo>
                      <a:pt x="26555" y="175651"/>
                      <a:pt x="34089" y="190349"/>
                      <a:pt x="34829" y="201673"/>
                    </a:cubicBezTo>
                    <a:cubicBezTo>
                      <a:pt x="35568" y="212997"/>
                      <a:pt x="32934" y="226955"/>
                      <a:pt x="32934" y="226955"/>
                    </a:cubicBezTo>
                    <a:cubicBezTo>
                      <a:pt x="32934" y="226955"/>
                      <a:pt x="26509" y="243918"/>
                      <a:pt x="36585" y="251406"/>
                    </a:cubicBezTo>
                    <a:cubicBezTo>
                      <a:pt x="38572" y="251914"/>
                      <a:pt x="45968" y="260280"/>
                      <a:pt x="98659" y="248956"/>
                    </a:cubicBezTo>
                    <a:cubicBezTo>
                      <a:pt x="98659" y="248956"/>
                      <a:pt x="103743" y="251360"/>
                      <a:pt x="106978" y="278907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19" name="Forma livre: Forma 1218">
                <a:extLst>
                  <a:ext uri="{FF2B5EF4-FFF2-40B4-BE49-F238E27FC236}">
                    <a16:creationId xmlns:a16="http://schemas.microsoft.com/office/drawing/2014/main" id="{3E3F54CD-2D72-4BC0-D82C-FD5FB5E0E7F7}"/>
                  </a:ext>
                </a:extLst>
              </p:cNvPr>
              <p:cNvSpPr/>
              <p:nvPr/>
            </p:nvSpPr>
            <p:spPr>
              <a:xfrm>
                <a:off x="9438679" y="4370355"/>
                <a:ext cx="22647" cy="369"/>
              </a:xfrm>
              <a:custGeom>
                <a:avLst/>
                <a:gdLst>
                  <a:gd name="connsiteX0" fmla="*/ 0 w 22647"/>
                  <a:gd name="connsiteY0" fmla="*/ 0 h 369"/>
                  <a:gd name="connsiteX1" fmla="*/ 22648 w 22647"/>
                  <a:gd name="connsiteY1" fmla="*/ 370 h 3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2647" h="369">
                    <a:moveTo>
                      <a:pt x="0" y="0"/>
                    </a:moveTo>
                    <a:lnTo>
                      <a:pt x="22648" y="37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220" name="Gráfico 20">
            <a:extLst>
              <a:ext uri="{FF2B5EF4-FFF2-40B4-BE49-F238E27FC236}">
                <a16:creationId xmlns:a16="http://schemas.microsoft.com/office/drawing/2014/main" id="{1332BC70-7A67-FCA9-555D-D36495F547F9}"/>
              </a:ext>
            </a:extLst>
          </p:cNvPr>
          <p:cNvGrpSpPr/>
          <p:nvPr/>
        </p:nvGrpSpPr>
        <p:grpSpPr>
          <a:xfrm>
            <a:off x="8204692" y="4185059"/>
            <a:ext cx="243580" cy="244967"/>
            <a:chOff x="8204692" y="4185059"/>
            <a:chExt cx="243580" cy="244967"/>
          </a:xfrm>
          <a:noFill/>
        </p:grpSpPr>
        <p:grpSp>
          <p:nvGrpSpPr>
            <p:cNvPr id="1221" name="Gráfico 20">
              <a:extLst>
                <a:ext uri="{FF2B5EF4-FFF2-40B4-BE49-F238E27FC236}">
                  <a16:creationId xmlns:a16="http://schemas.microsoft.com/office/drawing/2014/main" id="{127ABBAC-A104-3455-DD7D-F7011F1B20F9}"/>
                </a:ext>
              </a:extLst>
            </p:cNvPr>
            <p:cNvGrpSpPr/>
            <p:nvPr/>
          </p:nvGrpSpPr>
          <p:grpSpPr>
            <a:xfrm>
              <a:off x="8209246" y="4185059"/>
              <a:ext cx="239026" cy="240909"/>
              <a:chOff x="8209246" y="4185059"/>
              <a:chExt cx="239026" cy="240909"/>
            </a:xfrm>
            <a:noFill/>
          </p:grpSpPr>
          <p:sp>
            <p:nvSpPr>
              <p:cNvPr id="1222" name="Forma livre: Forma 1221">
                <a:extLst>
                  <a:ext uri="{FF2B5EF4-FFF2-40B4-BE49-F238E27FC236}">
                    <a16:creationId xmlns:a16="http://schemas.microsoft.com/office/drawing/2014/main" id="{02AA89C9-A1B0-A42F-6592-897628243807}"/>
                  </a:ext>
                </a:extLst>
              </p:cNvPr>
              <p:cNvSpPr/>
              <p:nvPr/>
            </p:nvSpPr>
            <p:spPr>
              <a:xfrm>
                <a:off x="8209246" y="4185059"/>
                <a:ext cx="239026" cy="240909"/>
              </a:xfrm>
              <a:custGeom>
                <a:avLst/>
                <a:gdLst>
                  <a:gd name="connsiteX0" fmla="*/ 18001 w 239026"/>
                  <a:gd name="connsiteY0" fmla="*/ 191398 h 240909"/>
                  <a:gd name="connsiteX1" fmla="*/ 47027 w 239026"/>
                  <a:gd name="connsiteY1" fmla="*/ 50149 h 240909"/>
                  <a:gd name="connsiteX2" fmla="*/ 239026 w 239026"/>
                  <a:gd name="connsiteY2" fmla="*/ 0 h 240909"/>
                  <a:gd name="connsiteX3" fmla="*/ 187999 w 239026"/>
                  <a:gd name="connsiteY3" fmla="*/ 190242 h 240909"/>
                  <a:gd name="connsiteX4" fmla="*/ 32191 w 239026"/>
                  <a:gd name="connsiteY4" fmla="*/ 208823 h 2409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39026" h="240909">
                    <a:moveTo>
                      <a:pt x="18001" y="191398"/>
                    </a:moveTo>
                    <a:cubicBezTo>
                      <a:pt x="-8622" y="151140"/>
                      <a:pt x="-10887" y="91747"/>
                      <a:pt x="47027" y="50149"/>
                    </a:cubicBezTo>
                    <a:cubicBezTo>
                      <a:pt x="96899" y="14328"/>
                      <a:pt x="239026" y="0"/>
                      <a:pt x="239026" y="0"/>
                    </a:cubicBezTo>
                    <a:cubicBezTo>
                      <a:pt x="239026" y="0"/>
                      <a:pt x="225900" y="136719"/>
                      <a:pt x="187999" y="190242"/>
                    </a:cubicBezTo>
                    <a:cubicBezTo>
                      <a:pt x="136602" y="262901"/>
                      <a:pt x="69675" y="246492"/>
                      <a:pt x="32191" y="208823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23" name="Forma livre: Forma 1222">
                <a:extLst>
                  <a:ext uri="{FF2B5EF4-FFF2-40B4-BE49-F238E27FC236}">
                    <a16:creationId xmlns:a16="http://schemas.microsoft.com/office/drawing/2014/main" id="{62D39BF6-DDBA-054D-3026-7683E9DEE1BC}"/>
                  </a:ext>
                </a:extLst>
              </p:cNvPr>
              <p:cNvSpPr/>
              <p:nvPr/>
            </p:nvSpPr>
            <p:spPr>
              <a:xfrm>
                <a:off x="8282295" y="4354317"/>
                <a:ext cx="74691" cy="7025"/>
              </a:xfrm>
              <a:custGeom>
                <a:avLst/>
                <a:gdLst>
                  <a:gd name="connsiteX0" fmla="*/ 0 w 74691"/>
                  <a:gd name="connsiteY0" fmla="*/ 0 h 7025"/>
                  <a:gd name="connsiteX1" fmla="*/ 74692 w 74691"/>
                  <a:gd name="connsiteY1" fmla="*/ 7026 h 70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74691" h="7025">
                    <a:moveTo>
                      <a:pt x="0" y="0"/>
                    </a:moveTo>
                    <a:lnTo>
                      <a:pt x="74692" y="7026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24" name="Forma livre: Forma 1223">
                <a:extLst>
                  <a:ext uri="{FF2B5EF4-FFF2-40B4-BE49-F238E27FC236}">
                    <a16:creationId xmlns:a16="http://schemas.microsoft.com/office/drawing/2014/main" id="{0270609B-D5E5-F58E-9820-281FB43953C1}"/>
                  </a:ext>
                </a:extLst>
              </p:cNvPr>
              <p:cNvSpPr/>
              <p:nvPr/>
            </p:nvSpPr>
            <p:spPr>
              <a:xfrm>
                <a:off x="8330642" y="4305462"/>
                <a:ext cx="48577" cy="2634"/>
              </a:xfrm>
              <a:custGeom>
                <a:avLst/>
                <a:gdLst>
                  <a:gd name="connsiteX0" fmla="*/ 0 w 48577"/>
                  <a:gd name="connsiteY0" fmla="*/ 0 h 2634"/>
                  <a:gd name="connsiteX1" fmla="*/ 48577 w 48577"/>
                  <a:gd name="connsiteY1" fmla="*/ 2635 h 26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8577" h="2634">
                    <a:moveTo>
                      <a:pt x="0" y="0"/>
                    </a:moveTo>
                    <a:lnTo>
                      <a:pt x="48577" y="2635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225" name="Forma livre: Forma 1224">
              <a:extLst>
                <a:ext uri="{FF2B5EF4-FFF2-40B4-BE49-F238E27FC236}">
                  <a16:creationId xmlns:a16="http://schemas.microsoft.com/office/drawing/2014/main" id="{41C3FCBC-5164-7148-FC38-A0AF78FB8921}"/>
                </a:ext>
              </a:extLst>
            </p:cNvPr>
            <p:cNvSpPr/>
            <p:nvPr/>
          </p:nvSpPr>
          <p:spPr>
            <a:xfrm>
              <a:off x="8204692" y="4244036"/>
              <a:ext cx="185990" cy="185990"/>
            </a:xfrm>
            <a:custGeom>
              <a:avLst/>
              <a:gdLst>
                <a:gd name="connsiteX0" fmla="*/ 185990 w 185990"/>
                <a:gd name="connsiteY0" fmla="*/ 0 h 185990"/>
                <a:gd name="connsiteX1" fmla="*/ 0 w 185990"/>
                <a:gd name="connsiteY1" fmla="*/ 185990 h 1859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5990" h="185990">
                  <a:moveTo>
                    <a:pt x="185990" y="0"/>
                  </a:moveTo>
                  <a:lnTo>
                    <a:pt x="0" y="18599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26" name="Forma livre: Forma 1225">
              <a:extLst>
                <a:ext uri="{FF2B5EF4-FFF2-40B4-BE49-F238E27FC236}">
                  <a16:creationId xmlns:a16="http://schemas.microsoft.com/office/drawing/2014/main" id="{511903FB-3B2F-FF7F-5CB0-C79E61F37F5B}"/>
                </a:ext>
              </a:extLst>
            </p:cNvPr>
            <p:cNvSpPr/>
            <p:nvPr/>
          </p:nvSpPr>
          <p:spPr>
            <a:xfrm>
              <a:off x="8324495" y="4249674"/>
              <a:ext cx="1525" cy="26160"/>
            </a:xfrm>
            <a:custGeom>
              <a:avLst/>
              <a:gdLst>
                <a:gd name="connsiteX0" fmla="*/ 1525 w 1525"/>
                <a:gd name="connsiteY0" fmla="*/ 26161 h 26160"/>
                <a:gd name="connsiteX1" fmla="*/ 0 w 1525"/>
                <a:gd name="connsiteY1" fmla="*/ 0 h 261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25" h="26160">
                  <a:moveTo>
                    <a:pt x="1525" y="26161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27" name="Forma livre: Forma 1226">
              <a:extLst>
                <a:ext uri="{FF2B5EF4-FFF2-40B4-BE49-F238E27FC236}">
                  <a16:creationId xmlns:a16="http://schemas.microsoft.com/office/drawing/2014/main" id="{0C2CA093-638E-BD9E-A6AD-00AF81DB320F}"/>
                </a:ext>
              </a:extLst>
            </p:cNvPr>
            <p:cNvSpPr/>
            <p:nvPr/>
          </p:nvSpPr>
          <p:spPr>
            <a:xfrm>
              <a:off x="8271064" y="4271583"/>
              <a:ext cx="5222" cy="53938"/>
            </a:xfrm>
            <a:custGeom>
              <a:avLst/>
              <a:gdLst>
                <a:gd name="connsiteX0" fmla="*/ 5223 w 5222"/>
                <a:gd name="connsiteY0" fmla="*/ 53939 h 53938"/>
                <a:gd name="connsiteX1" fmla="*/ 0 w 5222"/>
                <a:gd name="connsiteY1" fmla="*/ 0 h 539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222" h="53938">
                  <a:moveTo>
                    <a:pt x="5223" y="53939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228" name="Gráfico 20">
            <a:extLst>
              <a:ext uri="{FF2B5EF4-FFF2-40B4-BE49-F238E27FC236}">
                <a16:creationId xmlns:a16="http://schemas.microsoft.com/office/drawing/2014/main" id="{9B1B6A98-42A1-7138-0029-CD8F8D46842E}"/>
              </a:ext>
            </a:extLst>
          </p:cNvPr>
          <p:cNvGrpSpPr/>
          <p:nvPr/>
        </p:nvGrpSpPr>
        <p:grpSpPr>
          <a:xfrm>
            <a:off x="8814351" y="4663068"/>
            <a:ext cx="227558" cy="314805"/>
            <a:chOff x="8814351" y="4663068"/>
            <a:chExt cx="227558" cy="314805"/>
          </a:xfrm>
        </p:grpSpPr>
        <p:sp>
          <p:nvSpPr>
            <p:cNvPr id="1229" name="Forma livre: Forma 1228">
              <a:extLst>
                <a:ext uri="{FF2B5EF4-FFF2-40B4-BE49-F238E27FC236}">
                  <a16:creationId xmlns:a16="http://schemas.microsoft.com/office/drawing/2014/main" id="{323D51EE-E0B6-D678-04D7-2AB1DBEF4238}"/>
                </a:ext>
              </a:extLst>
            </p:cNvPr>
            <p:cNvSpPr/>
            <p:nvPr/>
          </p:nvSpPr>
          <p:spPr>
            <a:xfrm>
              <a:off x="8879989" y="4826225"/>
              <a:ext cx="98229" cy="96672"/>
            </a:xfrm>
            <a:custGeom>
              <a:avLst/>
              <a:gdLst>
                <a:gd name="connsiteX0" fmla="*/ 61314 w 98229"/>
                <a:gd name="connsiteY0" fmla="*/ 0 h 96672"/>
                <a:gd name="connsiteX1" fmla="*/ 97736 w 98229"/>
                <a:gd name="connsiteY1" fmla="*/ 54447 h 96672"/>
                <a:gd name="connsiteX2" fmla="*/ 42225 w 98229"/>
                <a:gd name="connsiteY2" fmla="*/ 96184 h 96672"/>
                <a:gd name="connsiteX3" fmla="*/ 489 w 98229"/>
                <a:gd name="connsiteY3" fmla="*/ 40720 h 96672"/>
                <a:gd name="connsiteX4" fmla="*/ 15603 w 98229"/>
                <a:gd name="connsiteY4" fmla="*/ 11694 h 966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8229" h="96672">
                  <a:moveTo>
                    <a:pt x="61314" y="0"/>
                  </a:moveTo>
                  <a:cubicBezTo>
                    <a:pt x="85256" y="6101"/>
                    <a:pt x="101295" y="29396"/>
                    <a:pt x="97736" y="54447"/>
                  </a:cubicBezTo>
                  <a:cubicBezTo>
                    <a:pt x="93946" y="81301"/>
                    <a:pt x="69079" y="99974"/>
                    <a:pt x="42225" y="96184"/>
                  </a:cubicBezTo>
                  <a:cubicBezTo>
                    <a:pt x="15371" y="92394"/>
                    <a:pt x="-3301" y="67528"/>
                    <a:pt x="489" y="40720"/>
                  </a:cubicBezTo>
                  <a:cubicBezTo>
                    <a:pt x="2106" y="29165"/>
                    <a:pt x="7699" y="19089"/>
                    <a:pt x="15603" y="11694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230" name="Gráfico 20">
              <a:extLst>
                <a:ext uri="{FF2B5EF4-FFF2-40B4-BE49-F238E27FC236}">
                  <a16:creationId xmlns:a16="http://schemas.microsoft.com/office/drawing/2014/main" id="{9F0E3C2B-383F-EBE7-0D36-56383217EC46}"/>
                </a:ext>
              </a:extLst>
            </p:cNvPr>
            <p:cNvGrpSpPr/>
            <p:nvPr/>
          </p:nvGrpSpPr>
          <p:grpSpPr>
            <a:xfrm>
              <a:off x="8814351" y="4663068"/>
              <a:ext cx="227558" cy="314805"/>
              <a:chOff x="8814351" y="4663068"/>
              <a:chExt cx="227558" cy="314805"/>
            </a:xfrm>
            <a:noFill/>
          </p:grpSpPr>
          <p:sp>
            <p:nvSpPr>
              <p:cNvPr id="1231" name="Forma livre: Forma 1230">
                <a:extLst>
                  <a:ext uri="{FF2B5EF4-FFF2-40B4-BE49-F238E27FC236}">
                    <a16:creationId xmlns:a16="http://schemas.microsoft.com/office/drawing/2014/main" id="{3F1E99B1-7888-6A36-0F9D-34AAE0F60929}"/>
                  </a:ext>
                </a:extLst>
              </p:cNvPr>
              <p:cNvSpPr/>
              <p:nvPr/>
            </p:nvSpPr>
            <p:spPr>
              <a:xfrm>
                <a:off x="8847892" y="4689275"/>
                <a:ext cx="44371" cy="66742"/>
              </a:xfrm>
              <a:custGeom>
                <a:avLst/>
                <a:gdLst>
                  <a:gd name="connsiteX0" fmla="*/ 37716 w 44371"/>
                  <a:gd name="connsiteY0" fmla="*/ 66742 h 66742"/>
                  <a:gd name="connsiteX1" fmla="*/ 0 w 44371"/>
                  <a:gd name="connsiteY1" fmla="*/ 0 h 66742"/>
                  <a:gd name="connsiteX2" fmla="*/ 44371 w 44371"/>
                  <a:gd name="connsiteY2" fmla="*/ 14282 h 667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44371" h="66742">
                    <a:moveTo>
                      <a:pt x="37716" y="66742"/>
                    </a:moveTo>
                    <a:lnTo>
                      <a:pt x="0" y="0"/>
                    </a:lnTo>
                    <a:lnTo>
                      <a:pt x="44371" y="14282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32" name="Forma livre: Forma 1231">
                <a:extLst>
                  <a:ext uri="{FF2B5EF4-FFF2-40B4-BE49-F238E27FC236}">
                    <a16:creationId xmlns:a16="http://schemas.microsoft.com/office/drawing/2014/main" id="{6C03F909-36EF-3D83-D4BB-796BB0FEAB62}"/>
                  </a:ext>
                </a:extLst>
              </p:cNvPr>
              <p:cNvSpPr/>
              <p:nvPr/>
            </p:nvSpPr>
            <p:spPr>
              <a:xfrm>
                <a:off x="8910428" y="4663068"/>
                <a:ext cx="95860" cy="86709"/>
              </a:xfrm>
              <a:custGeom>
                <a:avLst/>
                <a:gdLst>
                  <a:gd name="connsiteX0" fmla="*/ 0 w 95860"/>
                  <a:gd name="connsiteY0" fmla="*/ 60548 h 86709"/>
                  <a:gd name="connsiteX1" fmla="*/ 17887 w 95860"/>
                  <a:gd name="connsiteY1" fmla="*/ 0 h 86709"/>
                  <a:gd name="connsiteX2" fmla="*/ 37947 w 95860"/>
                  <a:gd name="connsiteY2" fmla="*/ 50935 h 86709"/>
                  <a:gd name="connsiteX3" fmla="*/ 95861 w 95860"/>
                  <a:gd name="connsiteY3" fmla="*/ 31938 h 86709"/>
                  <a:gd name="connsiteX4" fmla="*/ 47191 w 95860"/>
                  <a:gd name="connsiteY4" fmla="*/ 86617 h 86709"/>
                  <a:gd name="connsiteX5" fmla="*/ 11555 w 95860"/>
                  <a:gd name="connsiteY5" fmla="*/ 86709 h 867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95860" h="86709">
                    <a:moveTo>
                      <a:pt x="0" y="60548"/>
                    </a:moveTo>
                    <a:lnTo>
                      <a:pt x="17887" y="0"/>
                    </a:lnTo>
                    <a:lnTo>
                      <a:pt x="37947" y="50935"/>
                    </a:lnTo>
                    <a:lnTo>
                      <a:pt x="95861" y="31938"/>
                    </a:lnTo>
                    <a:lnTo>
                      <a:pt x="47191" y="86617"/>
                    </a:lnTo>
                    <a:lnTo>
                      <a:pt x="11555" y="86709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33" name="Forma livre: Forma 1232">
                <a:extLst>
                  <a:ext uri="{FF2B5EF4-FFF2-40B4-BE49-F238E27FC236}">
                    <a16:creationId xmlns:a16="http://schemas.microsoft.com/office/drawing/2014/main" id="{5C0EFE00-5379-BF97-22AB-03322861100B}"/>
                  </a:ext>
                </a:extLst>
              </p:cNvPr>
              <p:cNvSpPr/>
              <p:nvPr/>
            </p:nvSpPr>
            <p:spPr>
              <a:xfrm>
                <a:off x="8814351" y="4749777"/>
                <a:ext cx="227558" cy="228096"/>
              </a:xfrm>
              <a:custGeom>
                <a:avLst/>
                <a:gdLst>
                  <a:gd name="connsiteX0" fmla="*/ 122422 w 227558"/>
                  <a:gd name="connsiteY0" fmla="*/ 0 h 228096"/>
                  <a:gd name="connsiteX1" fmla="*/ 214863 w 227558"/>
                  <a:gd name="connsiteY1" fmla="*/ 89621 h 228096"/>
                  <a:gd name="connsiteX2" fmla="*/ 214863 w 227558"/>
                  <a:gd name="connsiteY2" fmla="*/ 178271 h 228096"/>
                  <a:gd name="connsiteX3" fmla="*/ 224246 w 227558"/>
                  <a:gd name="connsiteY3" fmla="*/ 228097 h 228096"/>
                  <a:gd name="connsiteX4" fmla="*/ 3313 w 227558"/>
                  <a:gd name="connsiteY4" fmla="*/ 228097 h 228096"/>
                  <a:gd name="connsiteX5" fmla="*/ 12696 w 227558"/>
                  <a:gd name="connsiteY5" fmla="*/ 178271 h 228096"/>
                  <a:gd name="connsiteX6" fmla="*/ 12696 w 227558"/>
                  <a:gd name="connsiteY6" fmla="*/ 89621 h 228096"/>
                  <a:gd name="connsiteX7" fmla="*/ 71210 w 227558"/>
                  <a:gd name="connsiteY7" fmla="*/ 6240 h 2280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27558" h="228096">
                    <a:moveTo>
                      <a:pt x="122422" y="0"/>
                    </a:moveTo>
                    <a:cubicBezTo>
                      <a:pt x="173265" y="0"/>
                      <a:pt x="214863" y="38779"/>
                      <a:pt x="214863" y="89621"/>
                    </a:cubicBezTo>
                    <a:lnTo>
                      <a:pt x="214863" y="178271"/>
                    </a:lnTo>
                    <a:cubicBezTo>
                      <a:pt x="214863" y="178271"/>
                      <a:pt x="235385" y="208268"/>
                      <a:pt x="224246" y="228097"/>
                    </a:cubicBezTo>
                    <a:lnTo>
                      <a:pt x="3313" y="228097"/>
                    </a:lnTo>
                    <a:cubicBezTo>
                      <a:pt x="-7826" y="208268"/>
                      <a:pt x="12696" y="178271"/>
                      <a:pt x="12696" y="178271"/>
                    </a:cubicBezTo>
                    <a:lnTo>
                      <a:pt x="12696" y="89621"/>
                    </a:lnTo>
                    <a:cubicBezTo>
                      <a:pt x="12696" y="50935"/>
                      <a:pt x="37331" y="19181"/>
                      <a:pt x="71210" y="6240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234" name="Forma livre: Forma 1233">
              <a:extLst>
                <a:ext uri="{FF2B5EF4-FFF2-40B4-BE49-F238E27FC236}">
                  <a16:creationId xmlns:a16="http://schemas.microsoft.com/office/drawing/2014/main" id="{A4CE9031-C8C5-03A5-CC28-0478DB6450B5}"/>
                </a:ext>
              </a:extLst>
            </p:cNvPr>
            <p:cNvSpPr/>
            <p:nvPr/>
          </p:nvSpPr>
          <p:spPr>
            <a:xfrm>
              <a:off x="8884961" y="4828629"/>
              <a:ext cx="18534" cy="19227"/>
            </a:xfrm>
            <a:custGeom>
              <a:avLst/>
              <a:gdLst>
                <a:gd name="connsiteX0" fmla="*/ 0 w 18534"/>
                <a:gd name="connsiteY0" fmla="*/ 5177 h 19227"/>
                <a:gd name="connsiteX1" fmla="*/ 18534 w 18534"/>
                <a:gd name="connsiteY1" fmla="*/ 0 h 19227"/>
                <a:gd name="connsiteX2" fmla="*/ 18349 w 18534"/>
                <a:gd name="connsiteY2" fmla="*/ 19227 h 19227"/>
                <a:gd name="connsiteX3" fmla="*/ 0 w 18534"/>
                <a:gd name="connsiteY3" fmla="*/ 5177 h 192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534" h="19227">
                  <a:moveTo>
                    <a:pt x="0" y="5177"/>
                  </a:moveTo>
                  <a:lnTo>
                    <a:pt x="18534" y="0"/>
                  </a:lnTo>
                  <a:lnTo>
                    <a:pt x="18349" y="19227"/>
                  </a:lnTo>
                  <a:lnTo>
                    <a:pt x="0" y="5177"/>
                  </a:lnTo>
                  <a:close/>
                </a:path>
              </a:pathLst>
            </a:custGeom>
            <a:solidFill>
              <a:srgbClr val="394553"/>
            </a:solidFill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235" name="Gráfico 20">
            <a:extLst>
              <a:ext uri="{FF2B5EF4-FFF2-40B4-BE49-F238E27FC236}">
                <a16:creationId xmlns:a16="http://schemas.microsoft.com/office/drawing/2014/main" id="{CFDED2D4-C3C2-0D27-49C5-9B4D859F672D}"/>
              </a:ext>
            </a:extLst>
          </p:cNvPr>
          <p:cNvGrpSpPr/>
          <p:nvPr/>
        </p:nvGrpSpPr>
        <p:grpSpPr>
          <a:xfrm>
            <a:off x="9459617" y="4660156"/>
            <a:ext cx="140370" cy="320629"/>
            <a:chOff x="9459617" y="4660156"/>
            <a:chExt cx="140370" cy="320629"/>
          </a:xfrm>
          <a:noFill/>
        </p:grpSpPr>
        <p:grpSp>
          <p:nvGrpSpPr>
            <p:cNvPr id="1236" name="Gráfico 20">
              <a:extLst>
                <a:ext uri="{FF2B5EF4-FFF2-40B4-BE49-F238E27FC236}">
                  <a16:creationId xmlns:a16="http://schemas.microsoft.com/office/drawing/2014/main" id="{0E4BEE5C-08A6-3623-A32D-908055934228}"/>
                </a:ext>
              </a:extLst>
            </p:cNvPr>
            <p:cNvGrpSpPr/>
            <p:nvPr/>
          </p:nvGrpSpPr>
          <p:grpSpPr>
            <a:xfrm>
              <a:off x="9474592" y="4660156"/>
              <a:ext cx="110512" cy="176746"/>
              <a:chOff x="9474592" y="4660156"/>
              <a:chExt cx="110512" cy="176746"/>
            </a:xfrm>
            <a:noFill/>
          </p:grpSpPr>
          <p:sp>
            <p:nvSpPr>
              <p:cNvPr id="1237" name="Forma livre: Forma 1236">
                <a:extLst>
                  <a:ext uri="{FF2B5EF4-FFF2-40B4-BE49-F238E27FC236}">
                    <a16:creationId xmlns:a16="http://schemas.microsoft.com/office/drawing/2014/main" id="{4D8C48C8-53B7-3D19-6577-A37C32E0C559}"/>
                  </a:ext>
                </a:extLst>
              </p:cNvPr>
              <p:cNvSpPr/>
              <p:nvPr/>
            </p:nvSpPr>
            <p:spPr>
              <a:xfrm>
                <a:off x="9474592" y="4660202"/>
                <a:ext cx="41413" cy="176515"/>
              </a:xfrm>
              <a:custGeom>
                <a:avLst/>
                <a:gdLst>
                  <a:gd name="connsiteX0" fmla="*/ 0 w 41413"/>
                  <a:gd name="connsiteY0" fmla="*/ 176515 h 176515"/>
                  <a:gd name="connsiteX1" fmla="*/ 0 w 41413"/>
                  <a:gd name="connsiteY1" fmla="*/ 19644 h 176515"/>
                  <a:gd name="connsiteX2" fmla="*/ 19644 w 41413"/>
                  <a:gd name="connsiteY2" fmla="*/ 0 h 176515"/>
                  <a:gd name="connsiteX3" fmla="*/ 21770 w 41413"/>
                  <a:gd name="connsiteY3" fmla="*/ 0 h 176515"/>
                  <a:gd name="connsiteX4" fmla="*/ 41413 w 41413"/>
                  <a:gd name="connsiteY4" fmla="*/ 19644 h 176515"/>
                  <a:gd name="connsiteX5" fmla="*/ 41413 w 41413"/>
                  <a:gd name="connsiteY5" fmla="*/ 176515 h 1765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41413" h="176515">
                    <a:moveTo>
                      <a:pt x="0" y="176515"/>
                    </a:moveTo>
                    <a:lnTo>
                      <a:pt x="0" y="19644"/>
                    </a:lnTo>
                    <a:cubicBezTo>
                      <a:pt x="0" y="8828"/>
                      <a:pt x="8828" y="0"/>
                      <a:pt x="19644" y="0"/>
                    </a:cubicBezTo>
                    <a:lnTo>
                      <a:pt x="21770" y="0"/>
                    </a:lnTo>
                    <a:cubicBezTo>
                      <a:pt x="32585" y="0"/>
                      <a:pt x="41413" y="8828"/>
                      <a:pt x="41413" y="19644"/>
                    </a:cubicBezTo>
                    <a:lnTo>
                      <a:pt x="41413" y="176515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38" name="Forma livre: Forma 1237">
                <a:extLst>
                  <a:ext uri="{FF2B5EF4-FFF2-40B4-BE49-F238E27FC236}">
                    <a16:creationId xmlns:a16="http://schemas.microsoft.com/office/drawing/2014/main" id="{48D35B27-63DE-384A-1712-DFD29086D336}"/>
                  </a:ext>
                </a:extLst>
              </p:cNvPr>
              <p:cNvSpPr/>
              <p:nvPr/>
            </p:nvSpPr>
            <p:spPr>
              <a:xfrm>
                <a:off x="9516052" y="4660156"/>
                <a:ext cx="69053" cy="176561"/>
              </a:xfrm>
              <a:custGeom>
                <a:avLst/>
                <a:gdLst>
                  <a:gd name="connsiteX0" fmla="*/ 0 w 69053"/>
                  <a:gd name="connsiteY0" fmla="*/ 176561 h 176561"/>
                  <a:gd name="connsiteX1" fmla="*/ 0 w 69053"/>
                  <a:gd name="connsiteY1" fmla="*/ 32770 h 176561"/>
                  <a:gd name="connsiteX2" fmla="*/ 32770 w 69053"/>
                  <a:gd name="connsiteY2" fmla="*/ 0 h 176561"/>
                  <a:gd name="connsiteX3" fmla="*/ 36283 w 69053"/>
                  <a:gd name="connsiteY3" fmla="*/ 0 h 176561"/>
                  <a:gd name="connsiteX4" fmla="*/ 69053 w 69053"/>
                  <a:gd name="connsiteY4" fmla="*/ 32770 h 176561"/>
                  <a:gd name="connsiteX5" fmla="*/ 69053 w 69053"/>
                  <a:gd name="connsiteY5" fmla="*/ 176561 h 1765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69053" h="176561">
                    <a:moveTo>
                      <a:pt x="0" y="176561"/>
                    </a:moveTo>
                    <a:lnTo>
                      <a:pt x="0" y="32770"/>
                    </a:lnTo>
                    <a:cubicBezTo>
                      <a:pt x="0" y="14744"/>
                      <a:pt x="14744" y="0"/>
                      <a:pt x="32770" y="0"/>
                    </a:cubicBezTo>
                    <a:lnTo>
                      <a:pt x="36283" y="0"/>
                    </a:lnTo>
                    <a:cubicBezTo>
                      <a:pt x="54309" y="0"/>
                      <a:pt x="69053" y="14744"/>
                      <a:pt x="69053" y="32770"/>
                    </a:cubicBezTo>
                    <a:lnTo>
                      <a:pt x="69053" y="176561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39" name="Forma livre: Forma 1238">
                <a:extLst>
                  <a:ext uri="{FF2B5EF4-FFF2-40B4-BE49-F238E27FC236}">
                    <a16:creationId xmlns:a16="http://schemas.microsoft.com/office/drawing/2014/main" id="{5E739C74-6B0A-CC6E-E2D0-56CB472EDA83}"/>
                  </a:ext>
                </a:extLst>
              </p:cNvPr>
              <p:cNvSpPr/>
              <p:nvPr/>
            </p:nvSpPr>
            <p:spPr>
              <a:xfrm>
                <a:off x="9550532" y="4694313"/>
                <a:ext cx="4622" cy="142589"/>
              </a:xfrm>
              <a:custGeom>
                <a:avLst/>
                <a:gdLst>
                  <a:gd name="connsiteX0" fmla="*/ 0 w 4622"/>
                  <a:gd name="connsiteY0" fmla="*/ 0 h 142589"/>
                  <a:gd name="connsiteX1" fmla="*/ 0 w 4622"/>
                  <a:gd name="connsiteY1" fmla="*/ 142589 h 1425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622" h="142589">
                    <a:moveTo>
                      <a:pt x="0" y="0"/>
                    </a:moveTo>
                    <a:lnTo>
                      <a:pt x="0" y="142589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240" name="Forma livre: Forma 1239">
              <a:extLst>
                <a:ext uri="{FF2B5EF4-FFF2-40B4-BE49-F238E27FC236}">
                  <a16:creationId xmlns:a16="http://schemas.microsoft.com/office/drawing/2014/main" id="{15647225-B80F-1CA0-815D-1A3C903D4979}"/>
                </a:ext>
              </a:extLst>
            </p:cNvPr>
            <p:cNvSpPr/>
            <p:nvPr/>
          </p:nvSpPr>
          <p:spPr>
            <a:xfrm>
              <a:off x="9459617" y="4837873"/>
              <a:ext cx="140370" cy="86616"/>
            </a:xfrm>
            <a:custGeom>
              <a:avLst/>
              <a:gdLst>
                <a:gd name="connsiteX0" fmla="*/ 0 w 140370"/>
                <a:gd name="connsiteY0" fmla="*/ 0 h 86616"/>
                <a:gd name="connsiteX1" fmla="*/ 0 w 140370"/>
                <a:gd name="connsiteY1" fmla="*/ 59624 h 86616"/>
                <a:gd name="connsiteX2" fmla="*/ 26993 w 140370"/>
                <a:gd name="connsiteY2" fmla="*/ 86617 h 86616"/>
                <a:gd name="connsiteX3" fmla="*/ 113378 w 140370"/>
                <a:gd name="connsiteY3" fmla="*/ 86617 h 86616"/>
                <a:gd name="connsiteX4" fmla="*/ 140371 w 140370"/>
                <a:gd name="connsiteY4" fmla="*/ 59624 h 86616"/>
                <a:gd name="connsiteX5" fmla="*/ 140371 w 140370"/>
                <a:gd name="connsiteY5" fmla="*/ 0 h 86616"/>
                <a:gd name="connsiteX6" fmla="*/ 0 w 140370"/>
                <a:gd name="connsiteY6" fmla="*/ 0 h 866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0370" h="86616">
                  <a:moveTo>
                    <a:pt x="0" y="0"/>
                  </a:moveTo>
                  <a:lnTo>
                    <a:pt x="0" y="59624"/>
                  </a:lnTo>
                  <a:cubicBezTo>
                    <a:pt x="0" y="74461"/>
                    <a:pt x="12156" y="86617"/>
                    <a:pt x="26993" y="86617"/>
                  </a:cubicBezTo>
                  <a:lnTo>
                    <a:pt x="113378" y="86617"/>
                  </a:lnTo>
                  <a:cubicBezTo>
                    <a:pt x="128215" y="86617"/>
                    <a:pt x="140371" y="74461"/>
                    <a:pt x="140371" y="59624"/>
                  </a:cubicBezTo>
                  <a:lnTo>
                    <a:pt x="140371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41" name="Forma livre: Forma 1240">
              <a:extLst>
                <a:ext uri="{FF2B5EF4-FFF2-40B4-BE49-F238E27FC236}">
                  <a16:creationId xmlns:a16="http://schemas.microsoft.com/office/drawing/2014/main" id="{3D8B9B74-C426-E541-17C0-404887EC493A}"/>
                </a:ext>
              </a:extLst>
            </p:cNvPr>
            <p:cNvSpPr/>
            <p:nvPr/>
          </p:nvSpPr>
          <p:spPr>
            <a:xfrm>
              <a:off x="9487349" y="4953146"/>
              <a:ext cx="84952" cy="4622"/>
            </a:xfrm>
            <a:custGeom>
              <a:avLst/>
              <a:gdLst>
                <a:gd name="connsiteX0" fmla="*/ 0 w 84952"/>
                <a:gd name="connsiteY0" fmla="*/ 0 h 4622"/>
                <a:gd name="connsiteX1" fmla="*/ 84953 w 84952"/>
                <a:gd name="connsiteY1" fmla="*/ 0 h 46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4952" h="4622">
                  <a:moveTo>
                    <a:pt x="0" y="0"/>
                  </a:moveTo>
                  <a:lnTo>
                    <a:pt x="84953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42" name="Forma livre: Forma 1241">
              <a:extLst>
                <a:ext uri="{FF2B5EF4-FFF2-40B4-BE49-F238E27FC236}">
                  <a16:creationId xmlns:a16="http://schemas.microsoft.com/office/drawing/2014/main" id="{D32CB858-6359-9909-5083-291A0A2FA851}"/>
                </a:ext>
              </a:extLst>
            </p:cNvPr>
            <p:cNvSpPr/>
            <p:nvPr/>
          </p:nvSpPr>
          <p:spPr>
            <a:xfrm>
              <a:off x="9499597" y="4980786"/>
              <a:ext cx="60456" cy="4622"/>
            </a:xfrm>
            <a:custGeom>
              <a:avLst/>
              <a:gdLst>
                <a:gd name="connsiteX0" fmla="*/ 0 w 60456"/>
                <a:gd name="connsiteY0" fmla="*/ 0 h 4622"/>
                <a:gd name="connsiteX1" fmla="*/ 60456 w 60456"/>
                <a:gd name="connsiteY1" fmla="*/ 0 h 46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56" h="4622">
                  <a:moveTo>
                    <a:pt x="0" y="0"/>
                  </a:moveTo>
                  <a:lnTo>
                    <a:pt x="60456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243" name="Gráfico 20">
            <a:extLst>
              <a:ext uri="{FF2B5EF4-FFF2-40B4-BE49-F238E27FC236}">
                <a16:creationId xmlns:a16="http://schemas.microsoft.com/office/drawing/2014/main" id="{F9C7B56D-9968-B6CC-E875-1A77F4113B7C}"/>
              </a:ext>
            </a:extLst>
          </p:cNvPr>
          <p:cNvGrpSpPr/>
          <p:nvPr/>
        </p:nvGrpSpPr>
        <p:grpSpPr>
          <a:xfrm>
            <a:off x="8169842" y="4671619"/>
            <a:ext cx="313314" cy="297704"/>
            <a:chOff x="8169842" y="4671619"/>
            <a:chExt cx="313314" cy="297704"/>
          </a:xfrm>
          <a:noFill/>
        </p:grpSpPr>
        <p:sp>
          <p:nvSpPr>
            <p:cNvPr id="1244" name="Forma livre: Forma 1243">
              <a:extLst>
                <a:ext uri="{FF2B5EF4-FFF2-40B4-BE49-F238E27FC236}">
                  <a16:creationId xmlns:a16="http://schemas.microsoft.com/office/drawing/2014/main" id="{D05469C7-99F3-288F-ACFE-017CA2143C29}"/>
                </a:ext>
              </a:extLst>
            </p:cNvPr>
            <p:cNvSpPr/>
            <p:nvPr/>
          </p:nvSpPr>
          <p:spPr>
            <a:xfrm>
              <a:off x="8234226" y="4671619"/>
              <a:ext cx="204986" cy="163619"/>
            </a:xfrm>
            <a:custGeom>
              <a:avLst/>
              <a:gdLst>
                <a:gd name="connsiteX0" fmla="*/ 18165 w 204986"/>
                <a:gd name="connsiteY0" fmla="*/ 160708 h 163619"/>
                <a:gd name="connsiteX1" fmla="*/ 0 w 204986"/>
                <a:gd name="connsiteY1" fmla="*/ 102470 h 163619"/>
                <a:gd name="connsiteX2" fmla="*/ 102470 w 204986"/>
                <a:gd name="connsiteY2" fmla="*/ 0 h 163619"/>
                <a:gd name="connsiteX3" fmla="*/ 204987 w 204986"/>
                <a:gd name="connsiteY3" fmla="*/ 102470 h 163619"/>
                <a:gd name="connsiteX4" fmla="*/ 184742 w 204986"/>
                <a:gd name="connsiteY4" fmla="*/ 163620 h 1636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04986" h="163619">
                  <a:moveTo>
                    <a:pt x="18165" y="160708"/>
                  </a:moveTo>
                  <a:cubicBezTo>
                    <a:pt x="6702" y="144161"/>
                    <a:pt x="0" y="124101"/>
                    <a:pt x="0" y="102470"/>
                  </a:cubicBezTo>
                  <a:cubicBezTo>
                    <a:pt x="0" y="45850"/>
                    <a:pt x="45897" y="0"/>
                    <a:pt x="102470" y="0"/>
                  </a:cubicBezTo>
                  <a:cubicBezTo>
                    <a:pt x="159044" y="0"/>
                    <a:pt x="204987" y="45897"/>
                    <a:pt x="204987" y="102470"/>
                  </a:cubicBezTo>
                  <a:cubicBezTo>
                    <a:pt x="204987" y="125395"/>
                    <a:pt x="197453" y="146518"/>
                    <a:pt x="184742" y="163620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45" name="Forma livre: Forma 1244">
              <a:extLst>
                <a:ext uri="{FF2B5EF4-FFF2-40B4-BE49-F238E27FC236}">
                  <a16:creationId xmlns:a16="http://schemas.microsoft.com/office/drawing/2014/main" id="{12967CA9-0DCA-5C76-4407-73F59B0F5A7C}"/>
                </a:ext>
              </a:extLst>
            </p:cNvPr>
            <p:cNvSpPr/>
            <p:nvPr/>
          </p:nvSpPr>
          <p:spPr>
            <a:xfrm>
              <a:off x="8245874" y="4680724"/>
              <a:ext cx="85692" cy="152711"/>
            </a:xfrm>
            <a:custGeom>
              <a:avLst/>
              <a:gdLst>
                <a:gd name="connsiteX0" fmla="*/ 0 w 85692"/>
                <a:gd name="connsiteY0" fmla="*/ 49317 h 152711"/>
                <a:gd name="connsiteX1" fmla="*/ 28518 w 85692"/>
                <a:gd name="connsiteY1" fmla="*/ 77373 h 152711"/>
                <a:gd name="connsiteX2" fmla="*/ 23896 w 85692"/>
                <a:gd name="connsiteY2" fmla="*/ 101638 h 152711"/>
                <a:gd name="connsiteX3" fmla="*/ 40628 w 85692"/>
                <a:gd name="connsiteY3" fmla="*/ 111483 h 152711"/>
                <a:gd name="connsiteX4" fmla="*/ 52367 w 85692"/>
                <a:gd name="connsiteY4" fmla="*/ 152712 h 152711"/>
                <a:gd name="connsiteX5" fmla="*/ 85692 w 85692"/>
                <a:gd name="connsiteY5" fmla="*/ 91840 h 152711"/>
                <a:gd name="connsiteX6" fmla="*/ 51027 w 85692"/>
                <a:gd name="connsiteY6" fmla="*/ 73906 h 152711"/>
                <a:gd name="connsiteX7" fmla="*/ 28518 w 85692"/>
                <a:gd name="connsiteY7" fmla="*/ 75662 h 152711"/>
                <a:gd name="connsiteX8" fmla="*/ 26207 w 85692"/>
                <a:gd name="connsiteY8" fmla="*/ 57174 h 152711"/>
                <a:gd name="connsiteX9" fmla="*/ 55094 w 85692"/>
                <a:gd name="connsiteY9" fmla="*/ 37531 h 152711"/>
                <a:gd name="connsiteX10" fmla="*/ 53939 w 85692"/>
                <a:gd name="connsiteY10" fmla="*/ 0 h 1527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5692" h="152711">
                  <a:moveTo>
                    <a:pt x="0" y="49317"/>
                  </a:moveTo>
                  <a:lnTo>
                    <a:pt x="28518" y="77373"/>
                  </a:lnTo>
                  <a:lnTo>
                    <a:pt x="23896" y="101638"/>
                  </a:lnTo>
                  <a:lnTo>
                    <a:pt x="40628" y="111483"/>
                  </a:lnTo>
                  <a:lnTo>
                    <a:pt x="52367" y="152712"/>
                  </a:lnTo>
                  <a:lnTo>
                    <a:pt x="85692" y="91840"/>
                  </a:lnTo>
                  <a:lnTo>
                    <a:pt x="51027" y="73906"/>
                  </a:lnTo>
                  <a:lnTo>
                    <a:pt x="28518" y="75662"/>
                  </a:lnTo>
                  <a:lnTo>
                    <a:pt x="26207" y="57174"/>
                  </a:lnTo>
                  <a:lnTo>
                    <a:pt x="55094" y="37531"/>
                  </a:lnTo>
                  <a:lnTo>
                    <a:pt x="53939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46" name="Forma livre: Forma 1245">
              <a:extLst>
                <a:ext uri="{FF2B5EF4-FFF2-40B4-BE49-F238E27FC236}">
                  <a16:creationId xmlns:a16="http://schemas.microsoft.com/office/drawing/2014/main" id="{167077A0-FBEE-0AA0-C970-934CD92AA102}"/>
                </a:ext>
              </a:extLst>
            </p:cNvPr>
            <p:cNvSpPr/>
            <p:nvPr/>
          </p:nvSpPr>
          <p:spPr>
            <a:xfrm>
              <a:off x="8366829" y="4682481"/>
              <a:ext cx="71783" cy="130156"/>
            </a:xfrm>
            <a:custGeom>
              <a:avLst/>
              <a:gdLst>
                <a:gd name="connsiteX0" fmla="*/ 71784 w 71783"/>
                <a:gd name="connsiteY0" fmla="*/ 77234 h 130156"/>
                <a:gd name="connsiteX1" fmla="*/ 46039 w 71783"/>
                <a:gd name="connsiteY1" fmla="*/ 114857 h 130156"/>
                <a:gd name="connsiteX2" fmla="*/ 35639 w 71783"/>
                <a:gd name="connsiteY2" fmla="*/ 130156 h 130156"/>
                <a:gd name="connsiteX3" fmla="*/ 25517 w 71783"/>
                <a:gd name="connsiteY3" fmla="*/ 87818 h 130156"/>
                <a:gd name="connsiteX4" fmla="*/ 13870 w 71783"/>
                <a:gd name="connsiteY4" fmla="*/ 87264 h 130156"/>
                <a:gd name="connsiteX5" fmla="*/ 9802 w 71783"/>
                <a:gd name="connsiteY5" fmla="*/ 56666 h 130156"/>
                <a:gd name="connsiteX6" fmla="*/ 39291 w 71783"/>
                <a:gd name="connsiteY6" fmla="*/ 53199 h 130156"/>
                <a:gd name="connsiteX7" fmla="*/ 50846 w 71783"/>
                <a:gd name="connsiteY7" fmla="*/ 30644 h 130156"/>
                <a:gd name="connsiteX8" fmla="*/ 13315 w 71783"/>
                <a:gd name="connsiteY8" fmla="*/ 34711 h 130156"/>
                <a:gd name="connsiteX9" fmla="*/ 3008 w 71783"/>
                <a:gd name="connsiteY9" fmla="*/ 28333 h 130156"/>
                <a:gd name="connsiteX10" fmla="*/ 13084 w 71783"/>
                <a:gd name="connsiteY10" fmla="*/ 0 h 1301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1783" h="130156">
                  <a:moveTo>
                    <a:pt x="71784" y="77234"/>
                  </a:moveTo>
                  <a:lnTo>
                    <a:pt x="46039" y="114857"/>
                  </a:lnTo>
                  <a:lnTo>
                    <a:pt x="35639" y="130156"/>
                  </a:lnTo>
                  <a:lnTo>
                    <a:pt x="25517" y="87818"/>
                  </a:lnTo>
                  <a:lnTo>
                    <a:pt x="13870" y="87264"/>
                  </a:lnTo>
                  <a:cubicBezTo>
                    <a:pt x="13870" y="87264"/>
                    <a:pt x="-14417" y="76864"/>
                    <a:pt x="9802" y="56666"/>
                  </a:cubicBezTo>
                  <a:lnTo>
                    <a:pt x="39291" y="53199"/>
                  </a:lnTo>
                  <a:lnTo>
                    <a:pt x="50846" y="30644"/>
                  </a:lnTo>
                  <a:lnTo>
                    <a:pt x="13315" y="34711"/>
                  </a:lnTo>
                  <a:lnTo>
                    <a:pt x="3008" y="28333"/>
                  </a:lnTo>
                  <a:lnTo>
                    <a:pt x="13084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247" name="Gráfico 20">
              <a:extLst>
                <a:ext uri="{FF2B5EF4-FFF2-40B4-BE49-F238E27FC236}">
                  <a16:creationId xmlns:a16="http://schemas.microsoft.com/office/drawing/2014/main" id="{77D3C8D0-8778-B410-580C-EFB76029B49F}"/>
                </a:ext>
              </a:extLst>
            </p:cNvPr>
            <p:cNvGrpSpPr/>
            <p:nvPr/>
          </p:nvGrpSpPr>
          <p:grpSpPr>
            <a:xfrm>
              <a:off x="8169842" y="4841556"/>
              <a:ext cx="313314" cy="127766"/>
              <a:chOff x="8169842" y="4841556"/>
              <a:chExt cx="313314" cy="127766"/>
            </a:xfrm>
            <a:noFill/>
          </p:grpSpPr>
          <p:sp>
            <p:nvSpPr>
              <p:cNvPr id="1248" name="Forma livre: Forma 1247">
                <a:extLst>
                  <a:ext uri="{FF2B5EF4-FFF2-40B4-BE49-F238E27FC236}">
                    <a16:creationId xmlns:a16="http://schemas.microsoft.com/office/drawing/2014/main" id="{4345EAF9-75DD-DABD-453D-4FBA08980902}"/>
                  </a:ext>
                </a:extLst>
              </p:cNvPr>
              <p:cNvSpPr/>
              <p:nvPr/>
            </p:nvSpPr>
            <p:spPr>
              <a:xfrm>
                <a:off x="8208528" y="4841556"/>
                <a:ext cx="274627" cy="127766"/>
              </a:xfrm>
              <a:custGeom>
                <a:avLst/>
                <a:gdLst>
                  <a:gd name="connsiteX0" fmla="*/ 187423 w 274627"/>
                  <a:gd name="connsiteY0" fmla="*/ 31860 h 127766"/>
                  <a:gd name="connsiteX1" fmla="*/ 243627 w 274627"/>
                  <a:gd name="connsiteY1" fmla="*/ 3157 h 127766"/>
                  <a:gd name="connsiteX2" fmla="*/ 272468 w 274627"/>
                  <a:gd name="connsiteY2" fmla="*/ 9443 h 127766"/>
                  <a:gd name="connsiteX3" fmla="*/ 262254 w 274627"/>
                  <a:gd name="connsiteY3" fmla="*/ 37822 h 127766"/>
                  <a:gd name="connsiteX4" fmla="*/ 145686 w 274627"/>
                  <a:gd name="connsiteY4" fmla="*/ 100312 h 127766"/>
                  <a:gd name="connsiteX5" fmla="*/ 139539 w 274627"/>
                  <a:gd name="connsiteY5" fmla="*/ 101837 h 127766"/>
                  <a:gd name="connsiteX6" fmla="*/ 30829 w 274627"/>
                  <a:gd name="connsiteY6" fmla="*/ 104796 h 127766"/>
                  <a:gd name="connsiteX7" fmla="*/ 0 w 274627"/>
                  <a:gd name="connsiteY7" fmla="*/ 127767 h 1277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74627" h="127766">
                    <a:moveTo>
                      <a:pt x="187423" y="31860"/>
                    </a:moveTo>
                    <a:lnTo>
                      <a:pt x="243627" y="3157"/>
                    </a:lnTo>
                    <a:cubicBezTo>
                      <a:pt x="254489" y="-2666"/>
                      <a:pt x="267245" y="-355"/>
                      <a:pt x="272468" y="9443"/>
                    </a:cubicBezTo>
                    <a:cubicBezTo>
                      <a:pt x="277691" y="19242"/>
                      <a:pt x="273115" y="31999"/>
                      <a:pt x="262254" y="37822"/>
                    </a:cubicBezTo>
                    <a:lnTo>
                      <a:pt x="145686" y="100312"/>
                    </a:lnTo>
                    <a:lnTo>
                      <a:pt x="139539" y="101837"/>
                    </a:lnTo>
                    <a:lnTo>
                      <a:pt x="30829" y="104796"/>
                    </a:lnTo>
                    <a:cubicBezTo>
                      <a:pt x="30829" y="104796"/>
                      <a:pt x="16824" y="108724"/>
                      <a:pt x="0" y="127767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49" name="Forma livre: Forma 1248">
                <a:extLst>
                  <a:ext uri="{FF2B5EF4-FFF2-40B4-BE49-F238E27FC236}">
                    <a16:creationId xmlns:a16="http://schemas.microsoft.com/office/drawing/2014/main" id="{58590110-4E82-A4B8-DC0D-060FA036D324}"/>
                  </a:ext>
                </a:extLst>
              </p:cNvPr>
              <p:cNvSpPr/>
              <p:nvPr/>
            </p:nvSpPr>
            <p:spPr>
              <a:xfrm>
                <a:off x="8169842" y="4857039"/>
                <a:ext cx="207297" cy="55156"/>
              </a:xfrm>
              <a:custGeom>
                <a:avLst/>
                <a:gdLst>
                  <a:gd name="connsiteX0" fmla="*/ 0 w 207297"/>
                  <a:gd name="connsiteY0" fmla="*/ 55156 h 55156"/>
                  <a:gd name="connsiteX1" fmla="*/ 49317 w 207297"/>
                  <a:gd name="connsiteY1" fmla="*/ 9768 h 55156"/>
                  <a:gd name="connsiteX2" fmla="*/ 102008 w 207297"/>
                  <a:gd name="connsiteY2" fmla="*/ 2465 h 55156"/>
                  <a:gd name="connsiteX3" fmla="*/ 141526 w 207297"/>
                  <a:gd name="connsiteY3" fmla="*/ 6948 h 55156"/>
                  <a:gd name="connsiteX4" fmla="*/ 184188 w 207297"/>
                  <a:gd name="connsiteY4" fmla="*/ 6948 h 55156"/>
                  <a:gd name="connsiteX5" fmla="*/ 207298 w 207297"/>
                  <a:gd name="connsiteY5" fmla="*/ 27100 h 55156"/>
                  <a:gd name="connsiteX6" fmla="*/ 184188 w 207297"/>
                  <a:gd name="connsiteY6" fmla="*/ 47253 h 55156"/>
                  <a:gd name="connsiteX7" fmla="*/ 125164 w 207297"/>
                  <a:gd name="connsiteY7" fmla="*/ 47253 h 551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07297" h="55156">
                    <a:moveTo>
                      <a:pt x="0" y="55156"/>
                    </a:moveTo>
                    <a:lnTo>
                      <a:pt x="49317" y="9768"/>
                    </a:lnTo>
                    <a:cubicBezTo>
                      <a:pt x="73398" y="-6502"/>
                      <a:pt x="102008" y="2465"/>
                      <a:pt x="102008" y="2465"/>
                    </a:cubicBezTo>
                    <a:cubicBezTo>
                      <a:pt x="115828" y="6117"/>
                      <a:pt x="141526" y="6948"/>
                      <a:pt x="141526" y="6948"/>
                    </a:cubicBezTo>
                    <a:lnTo>
                      <a:pt x="184188" y="6948"/>
                    </a:lnTo>
                    <a:cubicBezTo>
                      <a:pt x="196898" y="6948"/>
                      <a:pt x="207298" y="16008"/>
                      <a:pt x="207298" y="27100"/>
                    </a:cubicBezTo>
                    <a:cubicBezTo>
                      <a:pt x="207298" y="38193"/>
                      <a:pt x="196898" y="47253"/>
                      <a:pt x="184188" y="47253"/>
                    </a:cubicBezTo>
                    <a:lnTo>
                      <a:pt x="125164" y="47253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250" name="Gráfico 20">
            <a:extLst>
              <a:ext uri="{FF2B5EF4-FFF2-40B4-BE49-F238E27FC236}">
                <a16:creationId xmlns:a16="http://schemas.microsoft.com/office/drawing/2014/main" id="{EF2846BE-DFDF-A824-E4F3-336C3AC7CABA}"/>
              </a:ext>
            </a:extLst>
          </p:cNvPr>
          <p:cNvGrpSpPr/>
          <p:nvPr/>
        </p:nvGrpSpPr>
        <p:grpSpPr>
          <a:xfrm>
            <a:off x="8785911" y="5699602"/>
            <a:ext cx="284392" cy="293544"/>
            <a:chOff x="8785911" y="5699602"/>
            <a:chExt cx="284392" cy="293544"/>
          </a:xfrm>
          <a:noFill/>
        </p:grpSpPr>
        <p:sp>
          <p:nvSpPr>
            <p:cNvPr id="1251" name="Forma livre: Forma 1250">
              <a:extLst>
                <a:ext uri="{FF2B5EF4-FFF2-40B4-BE49-F238E27FC236}">
                  <a16:creationId xmlns:a16="http://schemas.microsoft.com/office/drawing/2014/main" id="{6204DC91-D3B1-3886-F409-0C207579342F}"/>
                </a:ext>
              </a:extLst>
            </p:cNvPr>
            <p:cNvSpPr/>
            <p:nvPr/>
          </p:nvSpPr>
          <p:spPr>
            <a:xfrm>
              <a:off x="8785911" y="5699602"/>
              <a:ext cx="284392" cy="213583"/>
            </a:xfrm>
            <a:custGeom>
              <a:avLst/>
              <a:gdLst>
                <a:gd name="connsiteX0" fmla="*/ 120496 w 284392"/>
                <a:gd name="connsiteY0" fmla="*/ 213584 h 213583"/>
                <a:gd name="connsiteX1" fmla="*/ 66187 w 284392"/>
                <a:gd name="connsiteY1" fmla="*/ 213584 h 213583"/>
                <a:gd name="connsiteX2" fmla="*/ 0 w 284392"/>
                <a:gd name="connsiteY2" fmla="*/ 147396 h 213583"/>
                <a:gd name="connsiteX3" fmla="*/ 62120 w 284392"/>
                <a:gd name="connsiteY3" fmla="*/ 81301 h 213583"/>
                <a:gd name="connsiteX4" fmla="*/ 62120 w 284392"/>
                <a:gd name="connsiteY4" fmla="*/ 81301 h 213583"/>
                <a:gd name="connsiteX5" fmla="*/ 143468 w 284392"/>
                <a:gd name="connsiteY5" fmla="*/ 0 h 213583"/>
                <a:gd name="connsiteX6" fmla="*/ 224815 w 284392"/>
                <a:gd name="connsiteY6" fmla="*/ 81348 h 213583"/>
                <a:gd name="connsiteX7" fmla="*/ 224815 w 284392"/>
                <a:gd name="connsiteY7" fmla="*/ 81209 h 213583"/>
                <a:gd name="connsiteX8" fmla="*/ 284393 w 284392"/>
                <a:gd name="connsiteY8" fmla="*/ 147396 h 213583"/>
                <a:gd name="connsiteX9" fmla="*/ 218206 w 284392"/>
                <a:gd name="connsiteY9" fmla="*/ 213584 h 213583"/>
                <a:gd name="connsiteX10" fmla="*/ 164128 w 284392"/>
                <a:gd name="connsiteY10" fmla="*/ 213584 h 2135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84392" h="213583">
                  <a:moveTo>
                    <a:pt x="120496" y="213584"/>
                  </a:moveTo>
                  <a:lnTo>
                    <a:pt x="66187" y="213584"/>
                  </a:lnTo>
                  <a:cubicBezTo>
                    <a:pt x="29627" y="213584"/>
                    <a:pt x="0" y="183957"/>
                    <a:pt x="0" y="147396"/>
                  </a:cubicBezTo>
                  <a:cubicBezTo>
                    <a:pt x="0" y="111992"/>
                    <a:pt x="27131" y="83058"/>
                    <a:pt x="62120" y="81301"/>
                  </a:cubicBezTo>
                  <a:lnTo>
                    <a:pt x="62120" y="81301"/>
                  </a:lnTo>
                  <a:cubicBezTo>
                    <a:pt x="62120" y="36422"/>
                    <a:pt x="98541" y="0"/>
                    <a:pt x="143468" y="0"/>
                  </a:cubicBezTo>
                  <a:cubicBezTo>
                    <a:pt x="188394" y="0"/>
                    <a:pt x="224815" y="36422"/>
                    <a:pt x="224815" y="81348"/>
                  </a:cubicBezTo>
                  <a:lnTo>
                    <a:pt x="224815" y="81209"/>
                  </a:lnTo>
                  <a:cubicBezTo>
                    <a:pt x="258602" y="84213"/>
                    <a:pt x="284393" y="112870"/>
                    <a:pt x="284393" y="147396"/>
                  </a:cubicBezTo>
                  <a:cubicBezTo>
                    <a:pt x="284393" y="183957"/>
                    <a:pt x="254766" y="213584"/>
                    <a:pt x="218206" y="213584"/>
                  </a:cubicBezTo>
                  <a:lnTo>
                    <a:pt x="164128" y="213584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252" name="Gráfico 20">
              <a:extLst>
                <a:ext uri="{FF2B5EF4-FFF2-40B4-BE49-F238E27FC236}">
                  <a16:creationId xmlns:a16="http://schemas.microsoft.com/office/drawing/2014/main" id="{09B442E1-686F-F13D-9854-1578964E1763}"/>
                </a:ext>
              </a:extLst>
            </p:cNvPr>
            <p:cNvGrpSpPr/>
            <p:nvPr/>
          </p:nvGrpSpPr>
          <p:grpSpPr>
            <a:xfrm>
              <a:off x="8877843" y="5817094"/>
              <a:ext cx="81855" cy="60132"/>
              <a:chOff x="8877843" y="5817094"/>
              <a:chExt cx="81855" cy="60132"/>
            </a:xfrm>
          </p:grpSpPr>
          <p:sp>
            <p:nvSpPr>
              <p:cNvPr id="1253" name="Forma livre: Forma 1252">
                <a:extLst>
                  <a:ext uri="{FF2B5EF4-FFF2-40B4-BE49-F238E27FC236}">
                    <a16:creationId xmlns:a16="http://schemas.microsoft.com/office/drawing/2014/main" id="{D7158F19-3CA0-2A5D-5F51-45014A5DC116}"/>
                  </a:ext>
                </a:extLst>
              </p:cNvPr>
              <p:cNvSpPr/>
              <p:nvPr/>
            </p:nvSpPr>
            <p:spPr>
              <a:xfrm>
                <a:off x="8930904" y="5817094"/>
                <a:ext cx="28795" cy="21122"/>
              </a:xfrm>
              <a:custGeom>
                <a:avLst/>
                <a:gdLst>
                  <a:gd name="connsiteX0" fmla="*/ 0 w 28795"/>
                  <a:gd name="connsiteY0" fmla="*/ 21123 h 21122"/>
                  <a:gd name="connsiteX1" fmla="*/ 28795 w 28795"/>
                  <a:gd name="connsiteY1" fmla="*/ 0 h 211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8795" h="21122">
                    <a:moveTo>
                      <a:pt x="0" y="21123"/>
                    </a:moveTo>
                    <a:lnTo>
                      <a:pt x="28795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54" name="Forma livre: Forma 1253">
                <a:extLst>
                  <a:ext uri="{FF2B5EF4-FFF2-40B4-BE49-F238E27FC236}">
                    <a16:creationId xmlns:a16="http://schemas.microsoft.com/office/drawing/2014/main" id="{7AD0F8CA-20A9-F398-E0FE-8132BBCC28FC}"/>
                  </a:ext>
                </a:extLst>
              </p:cNvPr>
              <p:cNvSpPr/>
              <p:nvPr/>
            </p:nvSpPr>
            <p:spPr>
              <a:xfrm>
                <a:off x="8877843" y="5841360"/>
                <a:ext cx="48161" cy="35866"/>
              </a:xfrm>
              <a:custGeom>
                <a:avLst/>
                <a:gdLst>
                  <a:gd name="connsiteX0" fmla="*/ 48161 w 48161"/>
                  <a:gd name="connsiteY0" fmla="*/ 35867 h 35866"/>
                  <a:gd name="connsiteX1" fmla="*/ 0 w 48161"/>
                  <a:gd name="connsiteY1" fmla="*/ 0 h 358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8161" h="35866">
                    <a:moveTo>
                      <a:pt x="48161" y="35867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255" name="Forma livre: Forma 1254">
              <a:extLst>
                <a:ext uri="{FF2B5EF4-FFF2-40B4-BE49-F238E27FC236}">
                  <a16:creationId xmlns:a16="http://schemas.microsoft.com/office/drawing/2014/main" id="{634CD716-613D-B36C-BB4E-264937E4755B}"/>
                </a:ext>
              </a:extLst>
            </p:cNvPr>
            <p:cNvSpPr/>
            <p:nvPr/>
          </p:nvSpPr>
          <p:spPr>
            <a:xfrm>
              <a:off x="8928177" y="5785942"/>
              <a:ext cx="4622" cy="207205"/>
            </a:xfrm>
            <a:custGeom>
              <a:avLst/>
              <a:gdLst>
                <a:gd name="connsiteX0" fmla="*/ 0 w 4622"/>
                <a:gd name="connsiteY0" fmla="*/ 0 h 207205"/>
                <a:gd name="connsiteX1" fmla="*/ 0 w 4622"/>
                <a:gd name="connsiteY1" fmla="*/ 207205 h 2072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622" h="207205">
                  <a:moveTo>
                    <a:pt x="0" y="0"/>
                  </a:moveTo>
                  <a:lnTo>
                    <a:pt x="0" y="207205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256" name="Gráfico 20">
            <a:extLst>
              <a:ext uri="{FF2B5EF4-FFF2-40B4-BE49-F238E27FC236}">
                <a16:creationId xmlns:a16="http://schemas.microsoft.com/office/drawing/2014/main" id="{C4B698D8-D17B-7309-4ECA-524ED73B6BF6}"/>
              </a:ext>
            </a:extLst>
          </p:cNvPr>
          <p:cNvGrpSpPr/>
          <p:nvPr/>
        </p:nvGrpSpPr>
        <p:grpSpPr>
          <a:xfrm>
            <a:off x="9370735" y="5724561"/>
            <a:ext cx="318202" cy="243672"/>
            <a:chOff x="9370735" y="5724561"/>
            <a:chExt cx="318202" cy="243672"/>
          </a:xfrm>
          <a:noFill/>
        </p:grpSpPr>
        <p:grpSp>
          <p:nvGrpSpPr>
            <p:cNvPr id="1257" name="Gráfico 20">
              <a:extLst>
                <a:ext uri="{FF2B5EF4-FFF2-40B4-BE49-F238E27FC236}">
                  <a16:creationId xmlns:a16="http://schemas.microsoft.com/office/drawing/2014/main" id="{06C18033-C62B-C27A-7098-2D24C7346033}"/>
                </a:ext>
              </a:extLst>
            </p:cNvPr>
            <p:cNvGrpSpPr/>
            <p:nvPr/>
          </p:nvGrpSpPr>
          <p:grpSpPr>
            <a:xfrm>
              <a:off x="9370735" y="5738150"/>
              <a:ext cx="227172" cy="230084"/>
              <a:chOff x="9370735" y="5738150"/>
              <a:chExt cx="227172" cy="230084"/>
            </a:xfrm>
            <a:noFill/>
          </p:grpSpPr>
          <p:sp>
            <p:nvSpPr>
              <p:cNvPr id="1258" name="Forma livre: Forma 1257">
                <a:extLst>
                  <a:ext uri="{FF2B5EF4-FFF2-40B4-BE49-F238E27FC236}">
                    <a16:creationId xmlns:a16="http://schemas.microsoft.com/office/drawing/2014/main" id="{634E61EC-E363-8EA9-FE85-A5A3F17A0A2F}"/>
                  </a:ext>
                </a:extLst>
              </p:cNvPr>
              <p:cNvSpPr/>
              <p:nvPr/>
            </p:nvSpPr>
            <p:spPr>
              <a:xfrm>
                <a:off x="9411779" y="5778547"/>
                <a:ext cx="186128" cy="189687"/>
              </a:xfrm>
              <a:custGeom>
                <a:avLst/>
                <a:gdLst>
                  <a:gd name="connsiteX0" fmla="*/ 127106 w 186128"/>
                  <a:gd name="connsiteY0" fmla="*/ 30459 h 189687"/>
                  <a:gd name="connsiteX1" fmla="*/ 93087 w 186128"/>
                  <a:gd name="connsiteY1" fmla="*/ 0 h 189687"/>
                  <a:gd name="connsiteX2" fmla="*/ 93041 w 186128"/>
                  <a:gd name="connsiteY2" fmla="*/ 0 h 189687"/>
                  <a:gd name="connsiteX3" fmla="*/ 0 w 186128"/>
                  <a:gd name="connsiteY3" fmla="*/ 83289 h 189687"/>
                  <a:gd name="connsiteX4" fmla="*/ 0 w 186128"/>
                  <a:gd name="connsiteY4" fmla="*/ 189688 h 189687"/>
                  <a:gd name="connsiteX5" fmla="*/ 69007 w 186128"/>
                  <a:gd name="connsiteY5" fmla="*/ 189688 h 189687"/>
                  <a:gd name="connsiteX6" fmla="*/ 69007 w 186128"/>
                  <a:gd name="connsiteY6" fmla="*/ 129139 h 189687"/>
                  <a:gd name="connsiteX7" fmla="*/ 117122 w 186128"/>
                  <a:gd name="connsiteY7" fmla="*/ 129139 h 189687"/>
                  <a:gd name="connsiteX8" fmla="*/ 117122 w 186128"/>
                  <a:gd name="connsiteY8" fmla="*/ 189688 h 189687"/>
                  <a:gd name="connsiteX9" fmla="*/ 186129 w 186128"/>
                  <a:gd name="connsiteY9" fmla="*/ 189688 h 189687"/>
                  <a:gd name="connsiteX10" fmla="*/ 186129 w 186128"/>
                  <a:gd name="connsiteY10" fmla="*/ 145640 h 1896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186128" h="189687">
                    <a:moveTo>
                      <a:pt x="127106" y="30459"/>
                    </a:moveTo>
                    <a:lnTo>
                      <a:pt x="93087" y="0"/>
                    </a:lnTo>
                    <a:lnTo>
                      <a:pt x="93041" y="0"/>
                    </a:lnTo>
                    <a:lnTo>
                      <a:pt x="0" y="83289"/>
                    </a:lnTo>
                    <a:lnTo>
                      <a:pt x="0" y="189688"/>
                    </a:lnTo>
                    <a:lnTo>
                      <a:pt x="69007" y="189688"/>
                    </a:lnTo>
                    <a:lnTo>
                      <a:pt x="69007" y="129139"/>
                    </a:lnTo>
                    <a:lnTo>
                      <a:pt x="117122" y="129139"/>
                    </a:lnTo>
                    <a:lnTo>
                      <a:pt x="117122" y="189688"/>
                    </a:lnTo>
                    <a:lnTo>
                      <a:pt x="186129" y="189688"/>
                    </a:lnTo>
                    <a:lnTo>
                      <a:pt x="186129" y="14564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59" name="Forma livre: Forma 1258">
                <a:extLst>
                  <a:ext uri="{FF2B5EF4-FFF2-40B4-BE49-F238E27FC236}">
                    <a16:creationId xmlns:a16="http://schemas.microsoft.com/office/drawing/2014/main" id="{AF1B1B52-9CF9-6D1D-4784-05341DA8F5E8}"/>
                  </a:ext>
                </a:extLst>
              </p:cNvPr>
              <p:cNvSpPr/>
              <p:nvPr/>
            </p:nvSpPr>
            <p:spPr>
              <a:xfrm>
                <a:off x="9370735" y="5738150"/>
                <a:ext cx="174712" cy="116752"/>
              </a:xfrm>
              <a:custGeom>
                <a:avLst/>
                <a:gdLst>
                  <a:gd name="connsiteX0" fmla="*/ 0 w 174712"/>
                  <a:gd name="connsiteY0" fmla="*/ 116752 h 116752"/>
                  <a:gd name="connsiteX1" fmla="*/ 41829 w 174712"/>
                  <a:gd name="connsiteY1" fmla="*/ 80100 h 116752"/>
                  <a:gd name="connsiteX2" fmla="*/ 41829 w 174712"/>
                  <a:gd name="connsiteY2" fmla="*/ 19736 h 116752"/>
                  <a:gd name="connsiteX3" fmla="*/ 70948 w 174712"/>
                  <a:gd name="connsiteY3" fmla="*/ 19736 h 116752"/>
                  <a:gd name="connsiteX4" fmla="*/ 70948 w 174712"/>
                  <a:gd name="connsiteY4" fmla="*/ 54771 h 116752"/>
                  <a:gd name="connsiteX5" fmla="*/ 133761 w 174712"/>
                  <a:gd name="connsiteY5" fmla="*/ 0 h 116752"/>
                  <a:gd name="connsiteX6" fmla="*/ 174712 w 174712"/>
                  <a:gd name="connsiteY6" fmla="*/ 35312 h 116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74712" h="116752">
                    <a:moveTo>
                      <a:pt x="0" y="116752"/>
                    </a:moveTo>
                    <a:lnTo>
                      <a:pt x="41829" y="80100"/>
                    </a:lnTo>
                    <a:lnTo>
                      <a:pt x="41829" y="19736"/>
                    </a:lnTo>
                    <a:lnTo>
                      <a:pt x="70948" y="19736"/>
                    </a:lnTo>
                    <a:lnTo>
                      <a:pt x="70948" y="54771"/>
                    </a:lnTo>
                    <a:lnTo>
                      <a:pt x="133761" y="0"/>
                    </a:lnTo>
                    <a:lnTo>
                      <a:pt x="174712" y="35312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260" name="Forma livre: Forma 1259">
              <a:extLst>
                <a:ext uri="{FF2B5EF4-FFF2-40B4-BE49-F238E27FC236}">
                  <a16:creationId xmlns:a16="http://schemas.microsoft.com/office/drawing/2014/main" id="{525F9DE5-7E52-6025-3F39-76D6751DE939}"/>
                </a:ext>
              </a:extLst>
            </p:cNvPr>
            <p:cNvSpPr/>
            <p:nvPr/>
          </p:nvSpPr>
          <p:spPr>
            <a:xfrm>
              <a:off x="9560378" y="5724561"/>
              <a:ext cx="128559" cy="178994"/>
            </a:xfrm>
            <a:custGeom>
              <a:avLst/>
              <a:gdLst>
                <a:gd name="connsiteX0" fmla="*/ 25558 w 128559"/>
                <a:gd name="connsiteY0" fmla="*/ 0 h 178994"/>
                <a:gd name="connsiteX1" fmla="*/ 831 w 128559"/>
                <a:gd name="connsiteY1" fmla="*/ 121051 h 178994"/>
                <a:gd name="connsiteX2" fmla="*/ 83056 w 128559"/>
                <a:gd name="connsiteY2" fmla="*/ 175175 h 178994"/>
                <a:gd name="connsiteX3" fmla="*/ 84813 w 128559"/>
                <a:gd name="connsiteY3" fmla="*/ 174574 h 178994"/>
                <a:gd name="connsiteX4" fmla="*/ 118091 w 128559"/>
                <a:gd name="connsiteY4" fmla="*/ 81948 h 178994"/>
                <a:gd name="connsiteX5" fmla="*/ 25651 w 128559"/>
                <a:gd name="connsiteY5" fmla="*/ 0 h 1789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28559" h="178994">
                  <a:moveTo>
                    <a:pt x="25558" y="0"/>
                  </a:moveTo>
                  <a:cubicBezTo>
                    <a:pt x="25558" y="0"/>
                    <a:pt x="-5409" y="80377"/>
                    <a:pt x="831" y="121051"/>
                  </a:cubicBezTo>
                  <a:cubicBezTo>
                    <a:pt x="9289" y="176238"/>
                    <a:pt x="51442" y="185805"/>
                    <a:pt x="83056" y="175175"/>
                  </a:cubicBezTo>
                  <a:lnTo>
                    <a:pt x="84813" y="174574"/>
                  </a:lnTo>
                  <a:cubicBezTo>
                    <a:pt x="116474" y="164082"/>
                    <a:pt x="144437" y="131173"/>
                    <a:pt x="118091" y="81948"/>
                  </a:cubicBezTo>
                  <a:cubicBezTo>
                    <a:pt x="98679" y="45666"/>
                    <a:pt x="25651" y="0"/>
                    <a:pt x="25651" y="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261" name="Gráfico 20">
              <a:extLst>
                <a:ext uri="{FF2B5EF4-FFF2-40B4-BE49-F238E27FC236}">
                  <a16:creationId xmlns:a16="http://schemas.microsoft.com/office/drawing/2014/main" id="{6D1F737D-028D-541E-0CD8-7DB4C6FE41FD}"/>
                </a:ext>
              </a:extLst>
            </p:cNvPr>
            <p:cNvGrpSpPr/>
            <p:nvPr/>
          </p:nvGrpSpPr>
          <p:grpSpPr>
            <a:xfrm>
              <a:off x="9587693" y="5797774"/>
              <a:ext cx="71641" cy="68267"/>
              <a:chOff x="9587693" y="5797774"/>
              <a:chExt cx="71641" cy="68267"/>
            </a:xfrm>
          </p:grpSpPr>
          <p:grpSp>
            <p:nvGrpSpPr>
              <p:cNvPr id="1262" name="Gráfico 20">
                <a:extLst>
                  <a:ext uri="{FF2B5EF4-FFF2-40B4-BE49-F238E27FC236}">
                    <a16:creationId xmlns:a16="http://schemas.microsoft.com/office/drawing/2014/main" id="{8757BCCF-4ECA-20FD-1F8B-D4422D937815}"/>
                  </a:ext>
                </a:extLst>
              </p:cNvPr>
              <p:cNvGrpSpPr/>
              <p:nvPr/>
            </p:nvGrpSpPr>
            <p:grpSpPr>
              <a:xfrm>
                <a:off x="9620555" y="5797774"/>
                <a:ext cx="38778" cy="67296"/>
                <a:chOff x="9620555" y="5797774"/>
                <a:chExt cx="38778" cy="67296"/>
              </a:xfrm>
            </p:grpSpPr>
            <p:sp>
              <p:nvSpPr>
                <p:cNvPr id="1263" name="Forma livre: Forma 1262">
                  <a:extLst>
                    <a:ext uri="{FF2B5EF4-FFF2-40B4-BE49-F238E27FC236}">
                      <a16:creationId xmlns:a16="http://schemas.microsoft.com/office/drawing/2014/main" id="{B02408D0-BD59-51D8-C6E2-4A941328EAE1}"/>
                    </a:ext>
                  </a:extLst>
                </p:cNvPr>
                <p:cNvSpPr/>
                <p:nvPr/>
              </p:nvSpPr>
              <p:spPr>
                <a:xfrm>
                  <a:off x="9634422" y="5825183"/>
                  <a:ext cx="24912" cy="39888"/>
                </a:xfrm>
                <a:custGeom>
                  <a:avLst/>
                  <a:gdLst>
                    <a:gd name="connsiteX0" fmla="*/ 0 w 24912"/>
                    <a:gd name="connsiteY0" fmla="*/ 39888 h 39888"/>
                    <a:gd name="connsiteX1" fmla="*/ 24913 w 24912"/>
                    <a:gd name="connsiteY1" fmla="*/ 0 h 3988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4912" h="39888">
                      <a:moveTo>
                        <a:pt x="0" y="39888"/>
                      </a:moveTo>
                      <a:lnTo>
                        <a:pt x="24913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264" name="Forma livre: Forma 1263">
                  <a:extLst>
                    <a:ext uri="{FF2B5EF4-FFF2-40B4-BE49-F238E27FC236}">
                      <a16:creationId xmlns:a16="http://schemas.microsoft.com/office/drawing/2014/main" id="{A1AB4E1F-48FF-6D8A-6FE2-7FD33BC5C8CF}"/>
                    </a:ext>
                  </a:extLst>
                </p:cNvPr>
                <p:cNvSpPr/>
                <p:nvPr/>
              </p:nvSpPr>
              <p:spPr>
                <a:xfrm>
                  <a:off x="9620555" y="5797774"/>
                  <a:ext cx="15114" cy="26484"/>
                </a:xfrm>
                <a:custGeom>
                  <a:avLst/>
                  <a:gdLst>
                    <a:gd name="connsiteX0" fmla="*/ 0 w 15114"/>
                    <a:gd name="connsiteY0" fmla="*/ 26484 h 26484"/>
                    <a:gd name="connsiteX1" fmla="*/ 15114 w 15114"/>
                    <a:gd name="connsiteY1" fmla="*/ 0 h 2648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5114" h="26484">
                      <a:moveTo>
                        <a:pt x="0" y="26484"/>
                      </a:moveTo>
                      <a:lnTo>
                        <a:pt x="15114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1265" name="Gráfico 20">
                <a:extLst>
                  <a:ext uri="{FF2B5EF4-FFF2-40B4-BE49-F238E27FC236}">
                    <a16:creationId xmlns:a16="http://schemas.microsoft.com/office/drawing/2014/main" id="{E1C2E391-1F69-3D99-4CA7-03C9E547F84C}"/>
                  </a:ext>
                </a:extLst>
              </p:cNvPr>
              <p:cNvGrpSpPr/>
              <p:nvPr/>
            </p:nvGrpSpPr>
            <p:grpSpPr>
              <a:xfrm>
                <a:off x="9587693" y="5812934"/>
                <a:ext cx="43862" cy="53107"/>
                <a:chOff x="9587693" y="5812934"/>
                <a:chExt cx="43862" cy="53107"/>
              </a:xfrm>
            </p:grpSpPr>
            <p:sp>
              <p:nvSpPr>
                <p:cNvPr id="1266" name="Forma livre: Forma 1265">
                  <a:extLst>
                    <a:ext uri="{FF2B5EF4-FFF2-40B4-BE49-F238E27FC236}">
                      <a16:creationId xmlns:a16="http://schemas.microsoft.com/office/drawing/2014/main" id="{1D4EAD85-9C35-1765-8497-360E975AFF5C}"/>
                    </a:ext>
                  </a:extLst>
                </p:cNvPr>
                <p:cNvSpPr/>
                <p:nvPr/>
              </p:nvSpPr>
              <p:spPr>
                <a:xfrm>
                  <a:off x="9587693" y="5849032"/>
                  <a:ext cx="43862" cy="17009"/>
                </a:xfrm>
                <a:custGeom>
                  <a:avLst/>
                  <a:gdLst>
                    <a:gd name="connsiteX0" fmla="*/ 43863 w 43862"/>
                    <a:gd name="connsiteY0" fmla="*/ 17009 h 17009"/>
                    <a:gd name="connsiteX1" fmla="*/ 0 w 43862"/>
                    <a:gd name="connsiteY1" fmla="*/ 0 h 1700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3862" h="17009">
                      <a:moveTo>
                        <a:pt x="43863" y="17009"/>
                      </a:moveTo>
                      <a:lnTo>
                        <a:pt x="0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267" name="Forma livre: Forma 1266">
                  <a:extLst>
                    <a:ext uri="{FF2B5EF4-FFF2-40B4-BE49-F238E27FC236}">
                      <a16:creationId xmlns:a16="http://schemas.microsoft.com/office/drawing/2014/main" id="{E4B861C0-19E2-0ADE-B0D9-C32ECCCE2C30}"/>
                    </a:ext>
                  </a:extLst>
                </p:cNvPr>
                <p:cNvSpPr/>
                <p:nvPr/>
              </p:nvSpPr>
              <p:spPr>
                <a:xfrm>
                  <a:off x="9590143" y="5812934"/>
                  <a:ext cx="28009" cy="12155"/>
                </a:xfrm>
                <a:custGeom>
                  <a:avLst/>
                  <a:gdLst>
                    <a:gd name="connsiteX0" fmla="*/ 28009 w 28009"/>
                    <a:gd name="connsiteY0" fmla="*/ 12156 h 12155"/>
                    <a:gd name="connsiteX1" fmla="*/ 0 w 28009"/>
                    <a:gd name="connsiteY1" fmla="*/ 0 h 1215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8009" h="12155">
                      <a:moveTo>
                        <a:pt x="28009" y="12156"/>
                      </a:moveTo>
                      <a:lnTo>
                        <a:pt x="0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sp>
          <p:nvSpPr>
            <p:cNvPr id="1268" name="Forma livre: Forma 1267">
              <a:extLst>
                <a:ext uri="{FF2B5EF4-FFF2-40B4-BE49-F238E27FC236}">
                  <a16:creationId xmlns:a16="http://schemas.microsoft.com/office/drawing/2014/main" id="{2ABAB377-50A7-AB31-A937-D9316F5FA5F7}"/>
                </a:ext>
              </a:extLst>
            </p:cNvPr>
            <p:cNvSpPr/>
            <p:nvPr/>
          </p:nvSpPr>
          <p:spPr>
            <a:xfrm>
              <a:off x="9602298" y="5773555"/>
              <a:ext cx="52182" cy="156501"/>
            </a:xfrm>
            <a:custGeom>
              <a:avLst/>
              <a:gdLst>
                <a:gd name="connsiteX0" fmla="*/ 0 w 52182"/>
                <a:gd name="connsiteY0" fmla="*/ 0 h 156501"/>
                <a:gd name="connsiteX1" fmla="*/ 52183 w 52182"/>
                <a:gd name="connsiteY1" fmla="*/ 156502 h 1565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2182" h="156501">
                  <a:moveTo>
                    <a:pt x="0" y="0"/>
                  </a:moveTo>
                  <a:lnTo>
                    <a:pt x="52183" y="156502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269" name="Gráfico 20">
            <a:extLst>
              <a:ext uri="{FF2B5EF4-FFF2-40B4-BE49-F238E27FC236}">
                <a16:creationId xmlns:a16="http://schemas.microsoft.com/office/drawing/2014/main" id="{33B43994-073B-D129-8784-164042838B8D}"/>
              </a:ext>
            </a:extLst>
          </p:cNvPr>
          <p:cNvGrpSpPr/>
          <p:nvPr/>
        </p:nvGrpSpPr>
        <p:grpSpPr>
          <a:xfrm>
            <a:off x="8183246" y="5725902"/>
            <a:ext cx="286519" cy="240899"/>
            <a:chOff x="8183246" y="5725902"/>
            <a:chExt cx="286519" cy="240899"/>
          </a:xfrm>
          <a:noFill/>
        </p:grpSpPr>
        <p:sp>
          <p:nvSpPr>
            <p:cNvPr id="1270" name="Forma livre: Forma 1269">
              <a:extLst>
                <a:ext uri="{FF2B5EF4-FFF2-40B4-BE49-F238E27FC236}">
                  <a16:creationId xmlns:a16="http://schemas.microsoft.com/office/drawing/2014/main" id="{25F4EA00-4A09-1046-94CE-F82930A14C15}"/>
                </a:ext>
              </a:extLst>
            </p:cNvPr>
            <p:cNvSpPr/>
            <p:nvPr/>
          </p:nvSpPr>
          <p:spPr>
            <a:xfrm>
              <a:off x="8183246" y="5862067"/>
              <a:ext cx="104734" cy="104735"/>
            </a:xfrm>
            <a:custGeom>
              <a:avLst/>
              <a:gdLst>
                <a:gd name="connsiteX0" fmla="*/ 104735 w 104734"/>
                <a:gd name="connsiteY0" fmla="*/ 52367 h 104735"/>
                <a:gd name="connsiteX1" fmla="*/ 52368 w 104734"/>
                <a:gd name="connsiteY1" fmla="*/ 104735 h 104735"/>
                <a:gd name="connsiteX2" fmla="*/ 0 w 104734"/>
                <a:gd name="connsiteY2" fmla="*/ 52367 h 104735"/>
                <a:gd name="connsiteX3" fmla="*/ 52368 w 104734"/>
                <a:gd name="connsiteY3" fmla="*/ 0 h 104735"/>
                <a:gd name="connsiteX4" fmla="*/ 104735 w 104734"/>
                <a:gd name="connsiteY4" fmla="*/ 52367 h 1047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4734" h="104735">
                  <a:moveTo>
                    <a:pt x="104735" y="52367"/>
                  </a:moveTo>
                  <a:cubicBezTo>
                    <a:pt x="104735" y="81289"/>
                    <a:pt x="81289" y="104735"/>
                    <a:pt x="52368" y="104735"/>
                  </a:cubicBezTo>
                  <a:cubicBezTo>
                    <a:pt x="23446" y="104735"/>
                    <a:pt x="0" y="81289"/>
                    <a:pt x="0" y="52367"/>
                  </a:cubicBezTo>
                  <a:cubicBezTo>
                    <a:pt x="0" y="23446"/>
                    <a:pt x="23446" y="0"/>
                    <a:pt x="52368" y="0"/>
                  </a:cubicBezTo>
                  <a:cubicBezTo>
                    <a:pt x="81289" y="0"/>
                    <a:pt x="104735" y="23446"/>
                    <a:pt x="104735" y="52367"/>
                  </a:cubicBez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71" name="Forma livre: Forma 1270">
              <a:extLst>
                <a:ext uri="{FF2B5EF4-FFF2-40B4-BE49-F238E27FC236}">
                  <a16:creationId xmlns:a16="http://schemas.microsoft.com/office/drawing/2014/main" id="{E242464E-E0BA-88B8-CFCC-044F39A31AC2}"/>
                </a:ext>
              </a:extLst>
            </p:cNvPr>
            <p:cNvSpPr/>
            <p:nvPr/>
          </p:nvSpPr>
          <p:spPr>
            <a:xfrm>
              <a:off x="8365030" y="5862067"/>
              <a:ext cx="104734" cy="104735"/>
            </a:xfrm>
            <a:custGeom>
              <a:avLst/>
              <a:gdLst>
                <a:gd name="connsiteX0" fmla="*/ 104735 w 104734"/>
                <a:gd name="connsiteY0" fmla="*/ 52367 h 104735"/>
                <a:gd name="connsiteX1" fmla="*/ 52368 w 104734"/>
                <a:gd name="connsiteY1" fmla="*/ 104735 h 104735"/>
                <a:gd name="connsiteX2" fmla="*/ 0 w 104734"/>
                <a:gd name="connsiteY2" fmla="*/ 52367 h 104735"/>
                <a:gd name="connsiteX3" fmla="*/ 52368 w 104734"/>
                <a:gd name="connsiteY3" fmla="*/ 0 h 104735"/>
                <a:gd name="connsiteX4" fmla="*/ 104735 w 104734"/>
                <a:gd name="connsiteY4" fmla="*/ 52367 h 1047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4734" h="104735">
                  <a:moveTo>
                    <a:pt x="104735" y="52367"/>
                  </a:moveTo>
                  <a:cubicBezTo>
                    <a:pt x="104735" y="81289"/>
                    <a:pt x="81289" y="104735"/>
                    <a:pt x="52368" y="104735"/>
                  </a:cubicBezTo>
                  <a:cubicBezTo>
                    <a:pt x="23446" y="104735"/>
                    <a:pt x="0" y="81289"/>
                    <a:pt x="0" y="52367"/>
                  </a:cubicBezTo>
                  <a:cubicBezTo>
                    <a:pt x="0" y="23446"/>
                    <a:pt x="23446" y="0"/>
                    <a:pt x="52368" y="0"/>
                  </a:cubicBezTo>
                  <a:cubicBezTo>
                    <a:pt x="81289" y="0"/>
                    <a:pt x="104735" y="23446"/>
                    <a:pt x="104735" y="52367"/>
                  </a:cubicBez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72" name="Forma livre: Forma 1271">
              <a:extLst>
                <a:ext uri="{FF2B5EF4-FFF2-40B4-BE49-F238E27FC236}">
                  <a16:creationId xmlns:a16="http://schemas.microsoft.com/office/drawing/2014/main" id="{D98D00D9-ADEF-9153-52C9-138A33083B4B}"/>
                </a:ext>
              </a:extLst>
            </p:cNvPr>
            <p:cNvSpPr/>
            <p:nvPr/>
          </p:nvSpPr>
          <p:spPr>
            <a:xfrm>
              <a:off x="8256828" y="5751744"/>
              <a:ext cx="173094" cy="116330"/>
            </a:xfrm>
            <a:custGeom>
              <a:avLst/>
              <a:gdLst>
                <a:gd name="connsiteX0" fmla="*/ 55279 w 173094"/>
                <a:gd name="connsiteY0" fmla="*/ 116331 h 116330"/>
                <a:gd name="connsiteX1" fmla="*/ 19228 w 173094"/>
                <a:gd name="connsiteY1" fmla="*/ 92481 h 116330"/>
                <a:gd name="connsiteX2" fmla="*/ 9984 w 173094"/>
                <a:gd name="connsiteY2" fmla="*/ 51391 h 116330"/>
                <a:gd name="connsiteX3" fmla="*/ 56111 w 173094"/>
                <a:gd name="connsiteY3" fmla="*/ 12289 h 116330"/>
                <a:gd name="connsiteX4" fmla="*/ 86247 w 173094"/>
                <a:gd name="connsiteY4" fmla="*/ 179 h 116330"/>
                <a:gd name="connsiteX5" fmla="*/ 102424 w 173094"/>
                <a:gd name="connsiteY5" fmla="*/ 3831 h 116330"/>
                <a:gd name="connsiteX6" fmla="*/ 114534 w 173094"/>
                <a:gd name="connsiteY6" fmla="*/ 25000 h 116330"/>
                <a:gd name="connsiteX7" fmla="*/ 124379 w 173094"/>
                <a:gd name="connsiteY7" fmla="*/ 64841 h 116330"/>
                <a:gd name="connsiteX8" fmla="*/ 173095 w 173094"/>
                <a:gd name="connsiteY8" fmla="*/ 79262 h 1163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73094" h="116330">
                  <a:moveTo>
                    <a:pt x="55279" y="116331"/>
                  </a:moveTo>
                  <a:cubicBezTo>
                    <a:pt x="30783" y="96040"/>
                    <a:pt x="19228" y="92481"/>
                    <a:pt x="19228" y="92481"/>
                  </a:cubicBezTo>
                  <a:cubicBezTo>
                    <a:pt x="-17749" y="80140"/>
                    <a:pt x="9984" y="51391"/>
                    <a:pt x="9984" y="51391"/>
                  </a:cubicBezTo>
                  <a:lnTo>
                    <a:pt x="56111" y="12289"/>
                  </a:lnTo>
                  <a:cubicBezTo>
                    <a:pt x="70856" y="919"/>
                    <a:pt x="79545" y="780"/>
                    <a:pt x="86247" y="179"/>
                  </a:cubicBezTo>
                  <a:cubicBezTo>
                    <a:pt x="98957" y="-976"/>
                    <a:pt x="102424" y="3831"/>
                    <a:pt x="102424" y="3831"/>
                  </a:cubicBezTo>
                  <a:cubicBezTo>
                    <a:pt x="102424" y="3831"/>
                    <a:pt x="111160" y="10764"/>
                    <a:pt x="114534" y="25000"/>
                  </a:cubicBezTo>
                  <a:cubicBezTo>
                    <a:pt x="116660" y="33874"/>
                    <a:pt x="116752" y="57677"/>
                    <a:pt x="124379" y="64841"/>
                  </a:cubicBezTo>
                  <a:cubicBezTo>
                    <a:pt x="124379" y="64841"/>
                    <a:pt x="137875" y="68909"/>
                    <a:pt x="173095" y="79262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73" name="Forma livre: Forma 1272">
              <a:extLst>
                <a:ext uri="{FF2B5EF4-FFF2-40B4-BE49-F238E27FC236}">
                  <a16:creationId xmlns:a16="http://schemas.microsoft.com/office/drawing/2014/main" id="{D0DBE047-C570-5788-3C68-1362AE27E71A}"/>
                </a:ext>
              </a:extLst>
            </p:cNvPr>
            <p:cNvSpPr/>
            <p:nvPr/>
          </p:nvSpPr>
          <p:spPr>
            <a:xfrm>
              <a:off x="8304158" y="5794262"/>
              <a:ext cx="42383" cy="147534"/>
            </a:xfrm>
            <a:custGeom>
              <a:avLst/>
              <a:gdLst>
                <a:gd name="connsiteX0" fmla="*/ 42384 w 42383"/>
                <a:gd name="connsiteY0" fmla="*/ 0 h 147534"/>
                <a:gd name="connsiteX1" fmla="*/ 0 w 42383"/>
                <a:gd name="connsiteY1" fmla="*/ 28518 h 147534"/>
                <a:gd name="connsiteX2" fmla="*/ 40073 w 42383"/>
                <a:gd name="connsiteY2" fmla="*/ 60086 h 147534"/>
                <a:gd name="connsiteX3" fmla="*/ 18904 w 42383"/>
                <a:gd name="connsiteY3" fmla="*/ 147535 h 1475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2383" h="147534">
                  <a:moveTo>
                    <a:pt x="42384" y="0"/>
                  </a:moveTo>
                  <a:lnTo>
                    <a:pt x="0" y="28518"/>
                  </a:lnTo>
                  <a:lnTo>
                    <a:pt x="40073" y="60086"/>
                  </a:lnTo>
                  <a:cubicBezTo>
                    <a:pt x="40073" y="60086"/>
                    <a:pt x="39287" y="70486"/>
                    <a:pt x="18904" y="147535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74" name="Forma livre: Forma 1273">
              <a:extLst>
                <a:ext uri="{FF2B5EF4-FFF2-40B4-BE49-F238E27FC236}">
                  <a16:creationId xmlns:a16="http://schemas.microsoft.com/office/drawing/2014/main" id="{57E1A60C-0379-F268-994C-F9C29EFBE7F1}"/>
                </a:ext>
              </a:extLst>
            </p:cNvPr>
            <p:cNvSpPr/>
            <p:nvPr/>
          </p:nvSpPr>
          <p:spPr>
            <a:xfrm>
              <a:off x="8388694" y="5725902"/>
              <a:ext cx="46959" cy="46959"/>
            </a:xfrm>
            <a:custGeom>
              <a:avLst/>
              <a:gdLst>
                <a:gd name="connsiteX0" fmla="*/ 46960 w 46959"/>
                <a:gd name="connsiteY0" fmla="*/ 23480 h 46959"/>
                <a:gd name="connsiteX1" fmla="*/ 23480 w 46959"/>
                <a:gd name="connsiteY1" fmla="*/ 46960 h 46959"/>
                <a:gd name="connsiteX2" fmla="*/ 0 w 46959"/>
                <a:gd name="connsiteY2" fmla="*/ 23480 h 46959"/>
                <a:gd name="connsiteX3" fmla="*/ 23480 w 46959"/>
                <a:gd name="connsiteY3" fmla="*/ 0 h 46959"/>
                <a:gd name="connsiteX4" fmla="*/ 46960 w 46959"/>
                <a:gd name="connsiteY4" fmla="*/ 23480 h 469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6959" h="46959">
                  <a:moveTo>
                    <a:pt x="46960" y="23480"/>
                  </a:moveTo>
                  <a:cubicBezTo>
                    <a:pt x="46960" y="36447"/>
                    <a:pt x="36447" y="46960"/>
                    <a:pt x="23480" y="46960"/>
                  </a:cubicBezTo>
                  <a:cubicBezTo>
                    <a:pt x="10512" y="46960"/>
                    <a:pt x="0" y="36447"/>
                    <a:pt x="0" y="23480"/>
                  </a:cubicBezTo>
                  <a:cubicBezTo>
                    <a:pt x="0" y="10512"/>
                    <a:pt x="10512" y="0"/>
                    <a:pt x="23480" y="0"/>
                  </a:cubicBezTo>
                  <a:cubicBezTo>
                    <a:pt x="36447" y="0"/>
                    <a:pt x="46960" y="10512"/>
                    <a:pt x="46960" y="23480"/>
                  </a:cubicBez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275" name="Gráfico 20">
            <a:extLst>
              <a:ext uri="{FF2B5EF4-FFF2-40B4-BE49-F238E27FC236}">
                <a16:creationId xmlns:a16="http://schemas.microsoft.com/office/drawing/2014/main" id="{70D0F9DD-E7BA-450B-6E04-B364774C800C}"/>
              </a:ext>
            </a:extLst>
          </p:cNvPr>
          <p:cNvGrpSpPr/>
          <p:nvPr/>
        </p:nvGrpSpPr>
        <p:grpSpPr>
          <a:xfrm>
            <a:off x="8767420" y="5205508"/>
            <a:ext cx="321431" cy="255828"/>
            <a:chOff x="8767420" y="5205508"/>
            <a:chExt cx="321431" cy="255828"/>
          </a:xfrm>
          <a:noFill/>
        </p:grpSpPr>
        <p:sp>
          <p:nvSpPr>
            <p:cNvPr id="1276" name="Forma livre: Forma 1275">
              <a:extLst>
                <a:ext uri="{FF2B5EF4-FFF2-40B4-BE49-F238E27FC236}">
                  <a16:creationId xmlns:a16="http://schemas.microsoft.com/office/drawing/2014/main" id="{934E0D73-FBC1-D663-4BEA-2D5AB001916D}"/>
                </a:ext>
              </a:extLst>
            </p:cNvPr>
            <p:cNvSpPr/>
            <p:nvPr/>
          </p:nvSpPr>
          <p:spPr>
            <a:xfrm>
              <a:off x="8980960" y="5205508"/>
              <a:ext cx="63968" cy="81024"/>
            </a:xfrm>
            <a:custGeom>
              <a:avLst/>
              <a:gdLst>
                <a:gd name="connsiteX0" fmla="*/ 19782 w 63968"/>
                <a:gd name="connsiteY0" fmla="*/ 80978 h 81024"/>
                <a:gd name="connsiteX1" fmla="*/ 0 w 63968"/>
                <a:gd name="connsiteY1" fmla="*/ 61242 h 81024"/>
                <a:gd name="connsiteX2" fmla="*/ 0 w 63968"/>
                <a:gd name="connsiteY2" fmla="*/ 19782 h 81024"/>
                <a:gd name="connsiteX3" fmla="*/ 19782 w 63968"/>
                <a:gd name="connsiteY3" fmla="*/ 0 h 81024"/>
                <a:gd name="connsiteX4" fmla="*/ 63969 w 63968"/>
                <a:gd name="connsiteY4" fmla="*/ 0 h 81024"/>
                <a:gd name="connsiteX5" fmla="*/ 63969 w 63968"/>
                <a:gd name="connsiteY5" fmla="*/ 81024 h 81024"/>
                <a:gd name="connsiteX6" fmla="*/ 19782 w 63968"/>
                <a:gd name="connsiteY6" fmla="*/ 81024 h 81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3968" h="81024">
                  <a:moveTo>
                    <a:pt x="19782" y="80978"/>
                  </a:moveTo>
                  <a:cubicBezTo>
                    <a:pt x="8920" y="80978"/>
                    <a:pt x="0" y="72104"/>
                    <a:pt x="0" y="61242"/>
                  </a:cubicBezTo>
                  <a:lnTo>
                    <a:pt x="0" y="19782"/>
                  </a:lnTo>
                  <a:cubicBezTo>
                    <a:pt x="0" y="8921"/>
                    <a:pt x="8920" y="0"/>
                    <a:pt x="19782" y="0"/>
                  </a:cubicBezTo>
                  <a:lnTo>
                    <a:pt x="63969" y="0"/>
                  </a:lnTo>
                  <a:lnTo>
                    <a:pt x="63969" y="81024"/>
                  </a:lnTo>
                  <a:lnTo>
                    <a:pt x="19782" y="81024"/>
                  </a:ln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277" name="Gráfico 20">
              <a:extLst>
                <a:ext uri="{FF2B5EF4-FFF2-40B4-BE49-F238E27FC236}">
                  <a16:creationId xmlns:a16="http://schemas.microsoft.com/office/drawing/2014/main" id="{605D364F-BCB1-CA3A-488C-C183D6275372}"/>
                </a:ext>
              </a:extLst>
            </p:cNvPr>
            <p:cNvGrpSpPr/>
            <p:nvPr/>
          </p:nvGrpSpPr>
          <p:grpSpPr>
            <a:xfrm>
              <a:off x="9045068" y="5225568"/>
              <a:ext cx="35450" cy="40812"/>
              <a:chOff x="9045068" y="5225568"/>
              <a:chExt cx="35450" cy="40812"/>
            </a:xfrm>
          </p:grpSpPr>
          <p:sp>
            <p:nvSpPr>
              <p:cNvPr id="1278" name="Forma livre: Forma 1277">
                <a:extLst>
                  <a:ext uri="{FF2B5EF4-FFF2-40B4-BE49-F238E27FC236}">
                    <a16:creationId xmlns:a16="http://schemas.microsoft.com/office/drawing/2014/main" id="{69391F99-DDE1-B0D5-D2E7-C31ED301C528}"/>
                  </a:ext>
                </a:extLst>
              </p:cNvPr>
              <p:cNvSpPr/>
              <p:nvPr/>
            </p:nvSpPr>
            <p:spPr>
              <a:xfrm>
                <a:off x="9045068" y="5225568"/>
                <a:ext cx="35450" cy="4622"/>
              </a:xfrm>
              <a:custGeom>
                <a:avLst/>
                <a:gdLst>
                  <a:gd name="connsiteX0" fmla="*/ 0 w 35450"/>
                  <a:gd name="connsiteY0" fmla="*/ 0 h 4622"/>
                  <a:gd name="connsiteX1" fmla="*/ 35451 w 35450"/>
                  <a:gd name="connsiteY1" fmla="*/ 0 h 46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5450" h="4622">
                    <a:moveTo>
                      <a:pt x="0" y="0"/>
                    </a:moveTo>
                    <a:lnTo>
                      <a:pt x="35451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79" name="Forma livre: Forma 1278">
                <a:extLst>
                  <a:ext uri="{FF2B5EF4-FFF2-40B4-BE49-F238E27FC236}">
                    <a16:creationId xmlns:a16="http://schemas.microsoft.com/office/drawing/2014/main" id="{DD86E9B9-EAED-9BE3-EDD4-E125FA87CE61}"/>
                  </a:ext>
                </a:extLst>
              </p:cNvPr>
              <p:cNvSpPr/>
              <p:nvPr/>
            </p:nvSpPr>
            <p:spPr>
              <a:xfrm>
                <a:off x="9045068" y="5266380"/>
                <a:ext cx="35450" cy="4622"/>
              </a:xfrm>
              <a:custGeom>
                <a:avLst/>
                <a:gdLst>
                  <a:gd name="connsiteX0" fmla="*/ 0 w 35450"/>
                  <a:gd name="connsiteY0" fmla="*/ 0 h 4622"/>
                  <a:gd name="connsiteX1" fmla="*/ 35451 w 35450"/>
                  <a:gd name="connsiteY1" fmla="*/ 0 h 46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5450" h="4622">
                    <a:moveTo>
                      <a:pt x="0" y="0"/>
                    </a:moveTo>
                    <a:lnTo>
                      <a:pt x="35451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280" name="Forma livre: Forma 1279">
              <a:extLst>
                <a:ext uri="{FF2B5EF4-FFF2-40B4-BE49-F238E27FC236}">
                  <a16:creationId xmlns:a16="http://schemas.microsoft.com/office/drawing/2014/main" id="{92EB37F9-AC85-2CD7-54F4-C26E5D4537A0}"/>
                </a:ext>
              </a:extLst>
            </p:cNvPr>
            <p:cNvSpPr/>
            <p:nvPr/>
          </p:nvSpPr>
          <p:spPr>
            <a:xfrm>
              <a:off x="8767420" y="5245957"/>
              <a:ext cx="210443" cy="147852"/>
            </a:xfrm>
            <a:custGeom>
              <a:avLst/>
              <a:gdLst>
                <a:gd name="connsiteX0" fmla="*/ 210444 w 210443"/>
                <a:gd name="connsiteY0" fmla="*/ 87 h 147852"/>
                <a:gd name="connsiteX1" fmla="*/ 119621 w 210443"/>
                <a:gd name="connsiteY1" fmla="*/ 87 h 147852"/>
                <a:gd name="connsiteX2" fmla="*/ 17197 w 210443"/>
                <a:gd name="connsiteY2" fmla="*/ 29159 h 147852"/>
                <a:gd name="connsiteX3" fmla="*/ 49551 w 210443"/>
                <a:gd name="connsiteY3" fmla="*/ 147853 h 1478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10443" h="147852">
                  <a:moveTo>
                    <a:pt x="210444" y="87"/>
                  </a:moveTo>
                  <a:lnTo>
                    <a:pt x="119621" y="87"/>
                  </a:lnTo>
                  <a:cubicBezTo>
                    <a:pt x="119621" y="87"/>
                    <a:pt x="48072" y="-3102"/>
                    <a:pt x="17197" y="29159"/>
                  </a:cubicBezTo>
                  <a:cubicBezTo>
                    <a:pt x="-6052" y="53425"/>
                    <a:pt x="-14510" y="93082"/>
                    <a:pt x="49551" y="147853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281" name="Gráfico 20">
              <a:extLst>
                <a:ext uri="{FF2B5EF4-FFF2-40B4-BE49-F238E27FC236}">
                  <a16:creationId xmlns:a16="http://schemas.microsoft.com/office/drawing/2014/main" id="{6244A303-C100-8AA3-C16A-E2FF75B7C5DC}"/>
                </a:ext>
              </a:extLst>
            </p:cNvPr>
            <p:cNvGrpSpPr/>
            <p:nvPr/>
          </p:nvGrpSpPr>
          <p:grpSpPr>
            <a:xfrm>
              <a:off x="8816359" y="5310267"/>
              <a:ext cx="272492" cy="151070"/>
              <a:chOff x="8816359" y="5310267"/>
              <a:chExt cx="272492" cy="151070"/>
            </a:xfrm>
            <a:noFill/>
          </p:grpSpPr>
          <p:sp>
            <p:nvSpPr>
              <p:cNvPr id="1282" name="Forma livre: Forma 1281">
                <a:extLst>
                  <a:ext uri="{FF2B5EF4-FFF2-40B4-BE49-F238E27FC236}">
                    <a16:creationId xmlns:a16="http://schemas.microsoft.com/office/drawing/2014/main" id="{19348E5B-2658-7C4C-C5BD-8E7DEAF9F794}"/>
                  </a:ext>
                </a:extLst>
              </p:cNvPr>
              <p:cNvSpPr/>
              <p:nvPr/>
            </p:nvSpPr>
            <p:spPr>
              <a:xfrm>
                <a:off x="8816359" y="5310267"/>
                <a:ext cx="272492" cy="128746"/>
              </a:xfrm>
              <a:custGeom>
                <a:avLst/>
                <a:gdLst>
                  <a:gd name="connsiteX0" fmla="*/ 104007 w 272492"/>
                  <a:gd name="connsiteY0" fmla="*/ 128746 h 128746"/>
                  <a:gd name="connsiteX1" fmla="*/ 256857 w 272492"/>
                  <a:gd name="connsiteY1" fmla="*/ 124864 h 128746"/>
                  <a:gd name="connsiteX2" fmla="*/ 263097 w 272492"/>
                  <a:gd name="connsiteY2" fmla="*/ 121998 h 128746"/>
                  <a:gd name="connsiteX3" fmla="*/ 271740 w 272492"/>
                  <a:gd name="connsiteY3" fmla="*/ 92325 h 128746"/>
                  <a:gd name="connsiteX4" fmla="*/ 198897 w 272492"/>
                  <a:gd name="connsiteY4" fmla="*/ 45504 h 128746"/>
                  <a:gd name="connsiteX5" fmla="*/ 164186 w 272492"/>
                  <a:gd name="connsiteY5" fmla="*/ 5616 h 128746"/>
                  <a:gd name="connsiteX6" fmla="*/ 63564 w 272492"/>
                  <a:gd name="connsiteY6" fmla="*/ 7927 h 128746"/>
                  <a:gd name="connsiteX7" fmla="*/ 5188 w 272492"/>
                  <a:gd name="connsiteY7" fmla="*/ 55395 h 128746"/>
                  <a:gd name="connsiteX8" fmla="*/ 5188 w 272492"/>
                  <a:gd name="connsiteY8" fmla="*/ 83728 h 128746"/>
                  <a:gd name="connsiteX9" fmla="*/ 12907 w 272492"/>
                  <a:gd name="connsiteY9" fmla="*/ 126574 h 1287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72492" h="128746">
                    <a:moveTo>
                      <a:pt x="104007" y="128746"/>
                    </a:moveTo>
                    <a:lnTo>
                      <a:pt x="256857" y="124864"/>
                    </a:lnTo>
                    <a:cubicBezTo>
                      <a:pt x="260693" y="124078"/>
                      <a:pt x="263097" y="121998"/>
                      <a:pt x="263097" y="121998"/>
                    </a:cubicBezTo>
                    <a:cubicBezTo>
                      <a:pt x="276270" y="110674"/>
                      <a:pt x="271740" y="92325"/>
                      <a:pt x="271740" y="92325"/>
                    </a:cubicBezTo>
                    <a:cubicBezTo>
                      <a:pt x="269013" y="68799"/>
                      <a:pt x="198897" y="45504"/>
                      <a:pt x="198897" y="45504"/>
                    </a:cubicBezTo>
                    <a:lnTo>
                      <a:pt x="164186" y="5616"/>
                    </a:lnTo>
                    <a:cubicBezTo>
                      <a:pt x="119675" y="-8250"/>
                      <a:pt x="63564" y="7927"/>
                      <a:pt x="63564" y="7927"/>
                    </a:cubicBezTo>
                    <a:cubicBezTo>
                      <a:pt x="11520" y="20083"/>
                      <a:pt x="5188" y="55395"/>
                      <a:pt x="5188" y="55395"/>
                    </a:cubicBezTo>
                    <a:lnTo>
                      <a:pt x="5188" y="83728"/>
                    </a:lnTo>
                    <a:cubicBezTo>
                      <a:pt x="-7107" y="110351"/>
                      <a:pt x="5327" y="122137"/>
                      <a:pt x="12907" y="126574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83" name="Forma livre: Forma 1282">
                <a:extLst>
                  <a:ext uri="{FF2B5EF4-FFF2-40B4-BE49-F238E27FC236}">
                    <a16:creationId xmlns:a16="http://schemas.microsoft.com/office/drawing/2014/main" id="{28750D76-9CAA-2505-7815-C2D2EC43B854}"/>
                  </a:ext>
                </a:extLst>
              </p:cNvPr>
              <p:cNvSpPr/>
              <p:nvPr/>
            </p:nvSpPr>
            <p:spPr>
              <a:xfrm>
                <a:off x="8899243" y="5440307"/>
                <a:ext cx="106214" cy="4622"/>
              </a:xfrm>
              <a:custGeom>
                <a:avLst/>
                <a:gdLst>
                  <a:gd name="connsiteX0" fmla="*/ 0 w 106214"/>
                  <a:gd name="connsiteY0" fmla="*/ 0 h 4622"/>
                  <a:gd name="connsiteX1" fmla="*/ 106214 w 106214"/>
                  <a:gd name="connsiteY1" fmla="*/ 0 h 46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06214" h="4622">
                    <a:moveTo>
                      <a:pt x="0" y="0"/>
                    </a:moveTo>
                    <a:lnTo>
                      <a:pt x="106214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84" name="Forma livre: Forma 1283">
                <a:extLst>
                  <a:ext uri="{FF2B5EF4-FFF2-40B4-BE49-F238E27FC236}">
                    <a16:creationId xmlns:a16="http://schemas.microsoft.com/office/drawing/2014/main" id="{6CD357ED-7844-C8B2-CC1B-AEB08CAA24BE}"/>
                  </a:ext>
                </a:extLst>
              </p:cNvPr>
              <p:cNvSpPr/>
              <p:nvPr/>
            </p:nvSpPr>
            <p:spPr>
              <a:xfrm>
                <a:off x="8858985" y="5360577"/>
                <a:ext cx="167455" cy="4622"/>
              </a:xfrm>
              <a:custGeom>
                <a:avLst/>
                <a:gdLst>
                  <a:gd name="connsiteX0" fmla="*/ 0 w 167455"/>
                  <a:gd name="connsiteY0" fmla="*/ 0 h 4622"/>
                  <a:gd name="connsiteX1" fmla="*/ 167456 w 167455"/>
                  <a:gd name="connsiteY1" fmla="*/ 0 h 46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67455" h="4622">
                    <a:moveTo>
                      <a:pt x="0" y="0"/>
                    </a:moveTo>
                    <a:lnTo>
                      <a:pt x="167456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85" name="Forma livre: Forma 1284">
                <a:extLst>
                  <a:ext uri="{FF2B5EF4-FFF2-40B4-BE49-F238E27FC236}">
                    <a16:creationId xmlns:a16="http://schemas.microsoft.com/office/drawing/2014/main" id="{4DB29F45-B159-E1CA-A819-B3669A317FFA}"/>
                  </a:ext>
                </a:extLst>
              </p:cNvPr>
              <p:cNvSpPr/>
              <p:nvPr/>
            </p:nvSpPr>
            <p:spPr>
              <a:xfrm>
                <a:off x="8921845" y="5311861"/>
                <a:ext cx="4622" cy="47745"/>
              </a:xfrm>
              <a:custGeom>
                <a:avLst/>
                <a:gdLst>
                  <a:gd name="connsiteX0" fmla="*/ 0 w 4622"/>
                  <a:gd name="connsiteY0" fmla="*/ 47745 h 47745"/>
                  <a:gd name="connsiteX1" fmla="*/ 0 w 4622"/>
                  <a:gd name="connsiteY1" fmla="*/ 0 h 477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622" h="47745">
                    <a:moveTo>
                      <a:pt x="0" y="47745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86" name="Forma livre: Forma 1285">
                <a:extLst>
                  <a:ext uri="{FF2B5EF4-FFF2-40B4-BE49-F238E27FC236}">
                    <a16:creationId xmlns:a16="http://schemas.microsoft.com/office/drawing/2014/main" id="{5CBA0FF8-0B27-E6FA-79D5-F48EAB12E73F}"/>
                  </a:ext>
                </a:extLst>
              </p:cNvPr>
              <p:cNvSpPr/>
              <p:nvPr/>
            </p:nvSpPr>
            <p:spPr>
              <a:xfrm>
                <a:off x="9004625" y="5413315"/>
                <a:ext cx="48022" cy="48022"/>
              </a:xfrm>
              <a:custGeom>
                <a:avLst/>
                <a:gdLst>
                  <a:gd name="connsiteX0" fmla="*/ 48023 w 48022"/>
                  <a:gd name="connsiteY0" fmla="*/ 24034 h 48022"/>
                  <a:gd name="connsiteX1" fmla="*/ 23988 w 48022"/>
                  <a:gd name="connsiteY1" fmla="*/ 48023 h 48022"/>
                  <a:gd name="connsiteX2" fmla="*/ 0 w 48022"/>
                  <a:gd name="connsiteY2" fmla="*/ 24034 h 48022"/>
                  <a:gd name="connsiteX3" fmla="*/ 23988 w 48022"/>
                  <a:gd name="connsiteY3" fmla="*/ 0 h 48022"/>
                  <a:gd name="connsiteX4" fmla="*/ 48023 w 48022"/>
                  <a:gd name="connsiteY4" fmla="*/ 24034 h 480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8022" h="48022">
                    <a:moveTo>
                      <a:pt x="48023" y="24034"/>
                    </a:moveTo>
                    <a:cubicBezTo>
                      <a:pt x="48023" y="37300"/>
                      <a:pt x="37300" y="48023"/>
                      <a:pt x="23988" y="48023"/>
                    </a:cubicBezTo>
                    <a:cubicBezTo>
                      <a:pt x="10677" y="48023"/>
                      <a:pt x="0" y="37253"/>
                      <a:pt x="0" y="24034"/>
                    </a:cubicBezTo>
                    <a:cubicBezTo>
                      <a:pt x="0" y="10816"/>
                      <a:pt x="10769" y="0"/>
                      <a:pt x="23988" y="0"/>
                    </a:cubicBezTo>
                    <a:cubicBezTo>
                      <a:pt x="37207" y="0"/>
                      <a:pt x="48023" y="10769"/>
                      <a:pt x="48023" y="24034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87" name="Forma livre: Forma 1286">
                <a:extLst>
                  <a:ext uri="{FF2B5EF4-FFF2-40B4-BE49-F238E27FC236}">
                    <a16:creationId xmlns:a16="http://schemas.microsoft.com/office/drawing/2014/main" id="{01B3A27D-DAC7-6784-DCC0-3F94D4C6253C}"/>
                  </a:ext>
                </a:extLst>
              </p:cNvPr>
              <p:cNvSpPr/>
              <p:nvPr/>
            </p:nvSpPr>
            <p:spPr>
              <a:xfrm>
                <a:off x="8850573" y="5413315"/>
                <a:ext cx="47976" cy="48022"/>
              </a:xfrm>
              <a:custGeom>
                <a:avLst/>
                <a:gdLst>
                  <a:gd name="connsiteX0" fmla="*/ 47977 w 47976"/>
                  <a:gd name="connsiteY0" fmla="*/ 24034 h 48022"/>
                  <a:gd name="connsiteX1" fmla="*/ 23988 w 47976"/>
                  <a:gd name="connsiteY1" fmla="*/ 48023 h 48022"/>
                  <a:gd name="connsiteX2" fmla="*/ 0 w 47976"/>
                  <a:gd name="connsiteY2" fmla="*/ 24034 h 48022"/>
                  <a:gd name="connsiteX3" fmla="*/ 23988 w 47976"/>
                  <a:gd name="connsiteY3" fmla="*/ 0 h 48022"/>
                  <a:gd name="connsiteX4" fmla="*/ 47977 w 47976"/>
                  <a:gd name="connsiteY4" fmla="*/ 24034 h 480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7976" h="48022">
                    <a:moveTo>
                      <a:pt x="47977" y="24034"/>
                    </a:moveTo>
                    <a:cubicBezTo>
                      <a:pt x="47977" y="37300"/>
                      <a:pt x="37207" y="48023"/>
                      <a:pt x="23988" y="48023"/>
                    </a:cubicBezTo>
                    <a:cubicBezTo>
                      <a:pt x="10769" y="48023"/>
                      <a:pt x="0" y="37253"/>
                      <a:pt x="0" y="24034"/>
                    </a:cubicBezTo>
                    <a:cubicBezTo>
                      <a:pt x="0" y="10816"/>
                      <a:pt x="10769" y="0"/>
                      <a:pt x="23988" y="0"/>
                    </a:cubicBezTo>
                    <a:cubicBezTo>
                      <a:pt x="37207" y="0"/>
                      <a:pt x="47977" y="10769"/>
                      <a:pt x="47977" y="24034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288" name="Gráfico 20">
            <a:extLst>
              <a:ext uri="{FF2B5EF4-FFF2-40B4-BE49-F238E27FC236}">
                <a16:creationId xmlns:a16="http://schemas.microsoft.com/office/drawing/2014/main" id="{40923158-2AC3-9CDB-3BD9-81E44E487314}"/>
              </a:ext>
            </a:extLst>
          </p:cNvPr>
          <p:cNvGrpSpPr/>
          <p:nvPr/>
        </p:nvGrpSpPr>
        <p:grpSpPr>
          <a:xfrm>
            <a:off x="9381643" y="5193861"/>
            <a:ext cx="296364" cy="279123"/>
            <a:chOff x="9381643" y="5193861"/>
            <a:chExt cx="296364" cy="279123"/>
          </a:xfrm>
          <a:noFill/>
        </p:grpSpPr>
        <p:sp>
          <p:nvSpPr>
            <p:cNvPr id="1289" name="Forma livre: Forma 1288">
              <a:extLst>
                <a:ext uri="{FF2B5EF4-FFF2-40B4-BE49-F238E27FC236}">
                  <a16:creationId xmlns:a16="http://schemas.microsoft.com/office/drawing/2014/main" id="{AC28545E-3D6C-FE2C-1929-75CD5D0E395C}"/>
                </a:ext>
              </a:extLst>
            </p:cNvPr>
            <p:cNvSpPr/>
            <p:nvPr/>
          </p:nvSpPr>
          <p:spPr>
            <a:xfrm>
              <a:off x="9381643" y="5372826"/>
              <a:ext cx="93226" cy="100159"/>
            </a:xfrm>
            <a:custGeom>
              <a:avLst/>
              <a:gdLst>
                <a:gd name="connsiteX0" fmla="*/ 93226 w 93226"/>
                <a:gd name="connsiteY0" fmla="*/ 100159 h 100159"/>
                <a:gd name="connsiteX1" fmla="*/ 66280 w 93226"/>
                <a:gd name="connsiteY1" fmla="*/ 94520 h 100159"/>
                <a:gd name="connsiteX2" fmla="*/ 0 w 93226"/>
                <a:gd name="connsiteY2" fmla="*/ 45157 h 100159"/>
                <a:gd name="connsiteX3" fmla="*/ 52229 w 93226"/>
                <a:gd name="connsiteY3" fmla="*/ 0 h 1001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3226" h="100159">
                  <a:moveTo>
                    <a:pt x="93226" y="100159"/>
                  </a:moveTo>
                  <a:cubicBezTo>
                    <a:pt x="83705" y="98634"/>
                    <a:pt x="74692" y="96739"/>
                    <a:pt x="66280" y="94520"/>
                  </a:cubicBezTo>
                  <a:cubicBezTo>
                    <a:pt x="26346" y="83936"/>
                    <a:pt x="0" y="65771"/>
                    <a:pt x="0" y="45157"/>
                  </a:cubicBezTo>
                  <a:cubicBezTo>
                    <a:pt x="0" y="27085"/>
                    <a:pt x="20291" y="10862"/>
                    <a:pt x="52229" y="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90" name="Forma livre: Forma 1289">
              <a:extLst>
                <a:ext uri="{FF2B5EF4-FFF2-40B4-BE49-F238E27FC236}">
                  <a16:creationId xmlns:a16="http://schemas.microsoft.com/office/drawing/2014/main" id="{07A0872B-BE99-D537-63A7-0C3F64A7149C}"/>
                </a:ext>
              </a:extLst>
            </p:cNvPr>
            <p:cNvSpPr/>
            <p:nvPr/>
          </p:nvSpPr>
          <p:spPr>
            <a:xfrm>
              <a:off x="9454096" y="5193861"/>
              <a:ext cx="151486" cy="215940"/>
            </a:xfrm>
            <a:custGeom>
              <a:avLst/>
              <a:gdLst>
                <a:gd name="connsiteX0" fmla="*/ 125046 w 151486"/>
                <a:gd name="connsiteY0" fmla="*/ 74183 h 215940"/>
                <a:gd name="connsiteX1" fmla="*/ 75775 w 151486"/>
                <a:gd name="connsiteY1" fmla="*/ 0 h 215940"/>
                <a:gd name="connsiteX2" fmla="*/ 75775 w 151486"/>
                <a:gd name="connsiteY2" fmla="*/ 0 h 215940"/>
                <a:gd name="connsiteX3" fmla="*/ 26504 w 151486"/>
                <a:gd name="connsiteY3" fmla="*/ 74183 h 215940"/>
                <a:gd name="connsiteX4" fmla="*/ 75405 w 151486"/>
                <a:gd name="connsiteY4" fmla="*/ 215941 h 215940"/>
                <a:gd name="connsiteX5" fmla="*/ 76191 w 151486"/>
                <a:gd name="connsiteY5" fmla="*/ 215941 h 215940"/>
                <a:gd name="connsiteX6" fmla="*/ 125092 w 151486"/>
                <a:gd name="connsiteY6" fmla="*/ 74183 h 2159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51486" h="215940">
                  <a:moveTo>
                    <a:pt x="125046" y="74183"/>
                  </a:moveTo>
                  <a:cubicBezTo>
                    <a:pt x="80305" y="21585"/>
                    <a:pt x="76145" y="2588"/>
                    <a:pt x="75775" y="0"/>
                  </a:cubicBezTo>
                  <a:lnTo>
                    <a:pt x="75775" y="0"/>
                  </a:lnTo>
                  <a:cubicBezTo>
                    <a:pt x="75405" y="2588"/>
                    <a:pt x="71245" y="21631"/>
                    <a:pt x="26504" y="74183"/>
                  </a:cubicBezTo>
                  <a:cubicBezTo>
                    <a:pt x="-25771" y="135564"/>
                    <a:pt x="3856" y="215710"/>
                    <a:pt x="75405" y="215941"/>
                  </a:cubicBezTo>
                  <a:lnTo>
                    <a:pt x="76191" y="215941"/>
                  </a:lnTo>
                  <a:cubicBezTo>
                    <a:pt x="147278" y="215756"/>
                    <a:pt x="177367" y="135610"/>
                    <a:pt x="125092" y="74183"/>
                  </a:cubicBez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91" name="Forma livre: Forma 1290">
              <a:extLst>
                <a:ext uri="{FF2B5EF4-FFF2-40B4-BE49-F238E27FC236}">
                  <a16:creationId xmlns:a16="http://schemas.microsoft.com/office/drawing/2014/main" id="{DC7A051D-24E8-11A3-DFFE-18DC8DBF7F5B}"/>
                </a:ext>
              </a:extLst>
            </p:cNvPr>
            <p:cNvSpPr/>
            <p:nvPr/>
          </p:nvSpPr>
          <p:spPr>
            <a:xfrm>
              <a:off x="9487580" y="5335249"/>
              <a:ext cx="20984" cy="34665"/>
            </a:xfrm>
            <a:custGeom>
              <a:avLst/>
              <a:gdLst>
                <a:gd name="connsiteX0" fmla="*/ 0 w 20984"/>
                <a:gd name="connsiteY0" fmla="*/ 0 h 34665"/>
                <a:gd name="connsiteX1" fmla="*/ 20984 w 20984"/>
                <a:gd name="connsiteY1" fmla="*/ 34665 h 346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0984" h="34665">
                  <a:moveTo>
                    <a:pt x="0" y="0"/>
                  </a:moveTo>
                  <a:cubicBezTo>
                    <a:pt x="0" y="0"/>
                    <a:pt x="324" y="23064"/>
                    <a:pt x="20984" y="34665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92" name="Forma livre: Forma 1291">
              <a:extLst>
                <a:ext uri="{FF2B5EF4-FFF2-40B4-BE49-F238E27FC236}">
                  <a16:creationId xmlns:a16="http://schemas.microsoft.com/office/drawing/2014/main" id="{25444762-B51E-4195-B600-68A7F49361C7}"/>
                </a:ext>
              </a:extLst>
            </p:cNvPr>
            <p:cNvSpPr/>
            <p:nvPr/>
          </p:nvSpPr>
          <p:spPr>
            <a:xfrm>
              <a:off x="9584781" y="5372826"/>
              <a:ext cx="93226" cy="100159"/>
            </a:xfrm>
            <a:custGeom>
              <a:avLst/>
              <a:gdLst>
                <a:gd name="connsiteX0" fmla="*/ 0 w 93226"/>
                <a:gd name="connsiteY0" fmla="*/ 100159 h 100159"/>
                <a:gd name="connsiteX1" fmla="*/ 26946 w 93226"/>
                <a:gd name="connsiteY1" fmla="*/ 94520 h 100159"/>
                <a:gd name="connsiteX2" fmla="*/ 93226 w 93226"/>
                <a:gd name="connsiteY2" fmla="*/ 45157 h 100159"/>
                <a:gd name="connsiteX3" fmla="*/ 40997 w 93226"/>
                <a:gd name="connsiteY3" fmla="*/ 0 h 1001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3226" h="100159">
                  <a:moveTo>
                    <a:pt x="0" y="100159"/>
                  </a:moveTo>
                  <a:cubicBezTo>
                    <a:pt x="9521" y="98634"/>
                    <a:pt x="18534" y="96739"/>
                    <a:pt x="26946" y="94520"/>
                  </a:cubicBezTo>
                  <a:cubicBezTo>
                    <a:pt x="66881" y="83936"/>
                    <a:pt x="93226" y="65771"/>
                    <a:pt x="93226" y="45157"/>
                  </a:cubicBezTo>
                  <a:cubicBezTo>
                    <a:pt x="93226" y="27085"/>
                    <a:pt x="72982" y="10862"/>
                    <a:pt x="40997" y="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93" name="Forma livre: Forma 1292">
              <a:extLst>
                <a:ext uri="{FF2B5EF4-FFF2-40B4-BE49-F238E27FC236}">
                  <a16:creationId xmlns:a16="http://schemas.microsoft.com/office/drawing/2014/main" id="{D39FC6EA-DA18-76A0-9B86-855C5B123B94}"/>
                </a:ext>
              </a:extLst>
            </p:cNvPr>
            <p:cNvSpPr/>
            <p:nvPr/>
          </p:nvSpPr>
          <p:spPr>
            <a:xfrm>
              <a:off x="9436229" y="5402545"/>
              <a:ext cx="187145" cy="44001"/>
            </a:xfrm>
            <a:custGeom>
              <a:avLst/>
              <a:gdLst>
                <a:gd name="connsiteX0" fmla="*/ 172263 w 187145"/>
                <a:gd name="connsiteY0" fmla="*/ 0 h 44001"/>
                <a:gd name="connsiteX1" fmla="*/ 187146 w 187145"/>
                <a:gd name="connsiteY1" fmla="*/ 15391 h 44001"/>
                <a:gd name="connsiteX2" fmla="*/ 94012 w 187145"/>
                <a:gd name="connsiteY2" fmla="*/ 43863 h 44001"/>
                <a:gd name="connsiteX3" fmla="*/ 93134 w 187145"/>
                <a:gd name="connsiteY3" fmla="*/ 44002 h 44001"/>
                <a:gd name="connsiteX4" fmla="*/ 0 w 187145"/>
                <a:gd name="connsiteY4" fmla="*/ 15438 h 44001"/>
                <a:gd name="connsiteX5" fmla="*/ 14883 w 187145"/>
                <a:gd name="connsiteY5" fmla="*/ 46 h 440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7145" h="44001">
                  <a:moveTo>
                    <a:pt x="172263" y="0"/>
                  </a:moveTo>
                  <a:cubicBezTo>
                    <a:pt x="181692" y="4437"/>
                    <a:pt x="187146" y="9706"/>
                    <a:pt x="187146" y="15391"/>
                  </a:cubicBezTo>
                  <a:cubicBezTo>
                    <a:pt x="187146" y="31106"/>
                    <a:pt x="145686" y="43863"/>
                    <a:pt x="94012" y="43863"/>
                  </a:cubicBezTo>
                  <a:lnTo>
                    <a:pt x="93134" y="44002"/>
                  </a:lnTo>
                  <a:cubicBezTo>
                    <a:pt x="41506" y="44002"/>
                    <a:pt x="0" y="31106"/>
                    <a:pt x="0" y="15438"/>
                  </a:cubicBezTo>
                  <a:cubicBezTo>
                    <a:pt x="0" y="9753"/>
                    <a:pt x="5454" y="4483"/>
                    <a:pt x="14883" y="46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294" name="Gráfico 20">
            <a:extLst>
              <a:ext uri="{FF2B5EF4-FFF2-40B4-BE49-F238E27FC236}">
                <a16:creationId xmlns:a16="http://schemas.microsoft.com/office/drawing/2014/main" id="{691FF6D0-664B-D846-69F9-01CC9A0416DD}"/>
              </a:ext>
            </a:extLst>
          </p:cNvPr>
          <p:cNvGrpSpPr/>
          <p:nvPr/>
        </p:nvGrpSpPr>
        <p:grpSpPr>
          <a:xfrm>
            <a:off x="8160043" y="5166961"/>
            <a:ext cx="332877" cy="332924"/>
            <a:chOff x="8160043" y="5166961"/>
            <a:chExt cx="332877" cy="332924"/>
          </a:xfrm>
          <a:noFill/>
        </p:grpSpPr>
        <p:grpSp>
          <p:nvGrpSpPr>
            <p:cNvPr id="1295" name="Gráfico 20">
              <a:extLst>
                <a:ext uri="{FF2B5EF4-FFF2-40B4-BE49-F238E27FC236}">
                  <a16:creationId xmlns:a16="http://schemas.microsoft.com/office/drawing/2014/main" id="{89A1F37E-3768-D771-1723-0EB73ED0A72B}"/>
                </a:ext>
              </a:extLst>
            </p:cNvPr>
            <p:cNvGrpSpPr/>
            <p:nvPr/>
          </p:nvGrpSpPr>
          <p:grpSpPr>
            <a:xfrm>
              <a:off x="8208482" y="5215307"/>
              <a:ext cx="236000" cy="81671"/>
              <a:chOff x="8208482" y="5215307"/>
              <a:chExt cx="236000" cy="81671"/>
            </a:xfrm>
          </p:grpSpPr>
          <p:grpSp>
            <p:nvGrpSpPr>
              <p:cNvPr id="1296" name="Gráfico 20">
                <a:extLst>
                  <a:ext uri="{FF2B5EF4-FFF2-40B4-BE49-F238E27FC236}">
                    <a16:creationId xmlns:a16="http://schemas.microsoft.com/office/drawing/2014/main" id="{C237B8E5-6BBE-0F3D-9100-E7C87528CAA0}"/>
                  </a:ext>
                </a:extLst>
              </p:cNvPr>
              <p:cNvGrpSpPr/>
              <p:nvPr/>
            </p:nvGrpSpPr>
            <p:grpSpPr>
              <a:xfrm>
                <a:off x="8208482" y="5215307"/>
                <a:ext cx="81855" cy="81671"/>
                <a:chOff x="8208482" y="5215307"/>
                <a:chExt cx="81855" cy="81671"/>
              </a:xfrm>
            </p:grpSpPr>
            <p:sp>
              <p:nvSpPr>
                <p:cNvPr id="1297" name="Forma livre: Forma 1296">
                  <a:extLst>
                    <a:ext uri="{FF2B5EF4-FFF2-40B4-BE49-F238E27FC236}">
                      <a16:creationId xmlns:a16="http://schemas.microsoft.com/office/drawing/2014/main" id="{D56EE112-D96C-7FDC-2EA6-5AD3DFD8E447}"/>
                    </a:ext>
                  </a:extLst>
                </p:cNvPr>
                <p:cNvSpPr/>
                <p:nvPr/>
              </p:nvSpPr>
              <p:spPr>
                <a:xfrm>
                  <a:off x="8208482" y="5284453"/>
                  <a:ext cx="30274" cy="12525"/>
                </a:xfrm>
                <a:custGeom>
                  <a:avLst/>
                  <a:gdLst>
                    <a:gd name="connsiteX0" fmla="*/ 0 w 30274"/>
                    <a:gd name="connsiteY0" fmla="*/ 0 h 12525"/>
                    <a:gd name="connsiteX1" fmla="*/ 30274 w 30274"/>
                    <a:gd name="connsiteY1" fmla="*/ 12526 h 1252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30274" h="12525">
                      <a:moveTo>
                        <a:pt x="0" y="0"/>
                      </a:moveTo>
                      <a:lnTo>
                        <a:pt x="30274" y="12526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298" name="Forma livre: Forma 1297">
                  <a:extLst>
                    <a:ext uri="{FF2B5EF4-FFF2-40B4-BE49-F238E27FC236}">
                      <a16:creationId xmlns:a16="http://schemas.microsoft.com/office/drawing/2014/main" id="{A1CEAAF0-6460-341D-A84B-503DE13BE541}"/>
                    </a:ext>
                  </a:extLst>
                </p:cNvPr>
                <p:cNvSpPr/>
                <p:nvPr/>
              </p:nvSpPr>
              <p:spPr>
                <a:xfrm>
                  <a:off x="8277535" y="5215307"/>
                  <a:ext cx="12802" cy="30782"/>
                </a:xfrm>
                <a:custGeom>
                  <a:avLst/>
                  <a:gdLst>
                    <a:gd name="connsiteX0" fmla="*/ 0 w 12802"/>
                    <a:gd name="connsiteY0" fmla="*/ 0 h 30782"/>
                    <a:gd name="connsiteX1" fmla="*/ 12803 w 12802"/>
                    <a:gd name="connsiteY1" fmla="*/ 30783 h 3078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2802" h="30782">
                      <a:moveTo>
                        <a:pt x="0" y="0"/>
                      </a:moveTo>
                      <a:lnTo>
                        <a:pt x="12803" y="30783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299" name="Forma livre: Forma 1298">
                  <a:extLst>
                    <a:ext uri="{FF2B5EF4-FFF2-40B4-BE49-F238E27FC236}">
                      <a16:creationId xmlns:a16="http://schemas.microsoft.com/office/drawing/2014/main" id="{ABB06F89-9216-AE1F-E4BE-F08DEF43B7FB}"/>
                    </a:ext>
                  </a:extLst>
                </p:cNvPr>
                <p:cNvSpPr/>
                <p:nvPr/>
              </p:nvSpPr>
              <p:spPr>
                <a:xfrm>
                  <a:off x="8208713" y="5216000"/>
                  <a:ext cx="51304" cy="51027"/>
                </a:xfrm>
                <a:custGeom>
                  <a:avLst/>
                  <a:gdLst>
                    <a:gd name="connsiteX0" fmla="*/ 51304 w 51304"/>
                    <a:gd name="connsiteY0" fmla="*/ 51027 h 51027"/>
                    <a:gd name="connsiteX1" fmla="*/ 0 w 51304"/>
                    <a:gd name="connsiteY1" fmla="*/ 0 h 5102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51304" h="51027">
                      <a:moveTo>
                        <a:pt x="51304" y="51027"/>
                      </a:moveTo>
                      <a:lnTo>
                        <a:pt x="0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1300" name="Gráfico 20">
                <a:extLst>
                  <a:ext uri="{FF2B5EF4-FFF2-40B4-BE49-F238E27FC236}">
                    <a16:creationId xmlns:a16="http://schemas.microsoft.com/office/drawing/2014/main" id="{6742B712-7FA4-9F1D-1D88-A188E395CE7D}"/>
                  </a:ext>
                </a:extLst>
              </p:cNvPr>
              <p:cNvGrpSpPr/>
              <p:nvPr/>
            </p:nvGrpSpPr>
            <p:grpSpPr>
              <a:xfrm>
                <a:off x="8362626" y="5215307"/>
                <a:ext cx="81855" cy="81671"/>
                <a:chOff x="8362626" y="5215307"/>
                <a:chExt cx="81855" cy="81671"/>
              </a:xfrm>
            </p:grpSpPr>
            <p:sp>
              <p:nvSpPr>
                <p:cNvPr id="1301" name="Forma livre: Forma 1300">
                  <a:extLst>
                    <a:ext uri="{FF2B5EF4-FFF2-40B4-BE49-F238E27FC236}">
                      <a16:creationId xmlns:a16="http://schemas.microsoft.com/office/drawing/2014/main" id="{213DD363-7756-79CA-CA65-156ABC777A1D}"/>
                    </a:ext>
                  </a:extLst>
                </p:cNvPr>
                <p:cNvSpPr/>
                <p:nvPr/>
              </p:nvSpPr>
              <p:spPr>
                <a:xfrm>
                  <a:off x="8414208" y="5284453"/>
                  <a:ext cx="30274" cy="12525"/>
                </a:xfrm>
                <a:custGeom>
                  <a:avLst/>
                  <a:gdLst>
                    <a:gd name="connsiteX0" fmla="*/ 30274 w 30274"/>
                    <a:gd name="connsiteY0" fmla="*/ 0 h 12525"/>
                    <a:gd name="connsiteX1" fmla="*/ 0 w 30274"/>
                    <a:gd name="connsiteY1" fmla="*/ 12526 h 1252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30274" h="12525">
                      <a:moveTo>
                        <a:pt x="30274" y="0"/>
                      </a:moveTo>
                      <a:lnTo>
                        <a:pt x="0" y="12526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302" name="Forma livre: Forma 1301">
                  <a:extLst>
                    <a:ext uri="{FF2B5EF4-FFF2-40B4-BE49-F238E27FC236}">
                      <a16:creationId xmlns:a16="http://schemas.microsoft.com/office/drawing/2014/main" id="{B8082F88-F4D1-01CA-63D1-24B7EC272A05}"/>
                    </a:ext>
                  </a:extLst>
                </p:cNvPr>
                <p:cNvSpPr/>
                <p:nvPr/>
              </p:nvSpPr>
              <p:spPr>
                <a:xfrm>
                  <a:off x="8362626" y="5215307"/>
                  <a:ext cx="12849" cy="30782"/>
                </a:xfrm>
                <a:custGeom>
                  <a:avLst/>
                  <a:gdLst>
                    <a:gd name="connsiteX0" fmla="*/ 12849 w 12849"/>
                    <a:gd name="connsiteY0" fmla="*/ 0 h 30782"/>
                    <a:gd name="connsiteX1" fmla="*/ 0 w 12849"/>
                    <a:gd name="connsiteY1" fmla="*/ 30783 h 3078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2849" h="30782">
                      <a:moveTo>
                        <a:pt x="12849" y="0"/>
                      </a:moveTo>
                      <a:lnTo>
                        <a:pt x="0" y="30783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303" name="Forma livre: Forma 1302">
                  <a:extLst>
                    <a:ext uri="{FF2B5EF4-FFF2-40B4-BE49-F238E27FC236}">
                      <a16:creationId xmlns:a16="http://schemas.microsoft.com/office/drawing/2014/main" id="{881B04B5-C4AC-92EB-DB99-8B7B2CFAF52E}"/>
                    </a:ext>
                  </a:extLst>
                </p:cNvPr>
                <p:cNvSpPr/>
                <p:nvPr/>
              </p:nvSpPr>
              <p:spPr>
                <a:xfrm>
                  <a:off x="8392993" y="5216000"/>
                  <a:ext cx="51258" cy="51027"/>
                </a:xfrm>
                <a:custGeom>
                  <a:avLst/>
                  <a:gdLst>
                    <a:gd name="connsiteX0" fmla="*/ 0 w 51258"/>
                    <a:gd name="connsiteY0" fmla="*/ 51027 h 51027"/>
                    <a:gd name="connsiteX1" fmla="*/ 51258 w 51258"/>
                    <a:gd name="connsiteY1" fmla="*/ 0 h 5102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51258" h="51027">
                      <a:moveTo>
                        <a:pt x="0" y="51027"/>
                      </a:moveTo>
                      <a:lnTo>
                        <a:pt x="51258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grpSp>
          <p:nvGrpSpPr>
            <p:cNvPr id="1304" name="Gráfico 20">
              <a:extLst>
                <a:ext uri="{FF2B5EF4-FFF2-40B4-BE49-F238E27FC236}">
                  <a16:creationId xmlns:a16="http://schemas.microsoft.com/office/drawing/2014/main" id="{45A26A29-C239-479F-B865-5708F5B782DA}"/>
                </a:ext>
              </a:extLst>
            </p:cNvPr>
            <p:cNvGrpSpPr/>
            <p:nvPr/>
          </p:nvGrpSpPr>
          <p:grpSpPr>
            <a:xfrm>
              <a:off x="8208482" y="5369452"/>
              <a:ext cx="236000" cy="81671"/>
              <a:chOff x="8208482" y="5369452"/>
              <a:chExt cx="236000" cy="81671"/>
            </a:xfrm>
          </p:grpSpPr>
          <p:grpSp>
            <p:nvGrpSpPr>
              <p:cNvPr id="1305" name="Gráfico 20">
                <a:extLst>
                  <a:ext uri="{FF2B5EF4-FFF2-40B4-BE49-F238E27FC236}">
                    <a16:creationId xmlns:a16="http://schemas.microsoft.com/office/drawing/2014/main" id="{AF114AEC-4AC2-DC9E-ED41-7B3BD4D7A913}"/>
                  </a:ext>
                </a:extLst>
              </p:cNvPr>
              <p:cNvGrpSpPr/>
              <p:nvPr/>
            </p:nvGrpSpPr>
            <p:grpSpPr>
              <a:xfrm>
                <a:off x="8208482" y="5369452"/>
                <a:ext cx="81855" cy="81671"/>
                <a:chOff x="8208482" y="5369452"/>
                <a:chExt cx="81855" cy="81671"/>
              </a:xfrm>
            </p:grpSpPr>
            <p:sp>
              <p:nvSpPr>
                <p:cNvPr id="1306" name="Forma livre: Forma 1305">
                  <a:extLst>
                    <a:ext uri="{FF2B5EF4-FFF2-40B4-BE49-F238E27FC236}">
                      <a16:creationId xmlns:a16="http://schemas.microsoft.com/office/drawing/2014/main" id="{823D3885-4621-4E94-61F7-DAA345E0FE13}"/>
                    </a:ext>
                  </a:extLst>
                </p:cNvPr>
                <p:cNvSpPr/>
                <p:nvPr/>
              </p:nvSpPr>
              <p:spPr>
                <a:xfrm>
                  <a:off x="8208482" y="5369452"/>
                  <a:ext cx="30274" cy="12525"/>
                </a:xfrm>
                <a:custGeom>
                  <a:avLst/>
                  <a:gdLst>
                    <a:gd name="connsiteX0" fmla="*/ 0 w 30274"/>
                    <a:gd name="connsiteY0" fmla="*/ 12526 h 12525"/>
                    <a:gd name="connsiteX1" fmla="*/ 30274 w 30274"/>
                    <a:gd name="connsiteY1" fmla="*/ 0 h 1252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30274" h="12525">
                      <a:moveTo>
                        <a:pt x="0" y="12526"/>
                      </a:moveTo>
                      <a:lnTo>
                        <a:pt x="30274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307" name="Forma livre: Forma 1306">
                  <a:extLst>
                    <a:ext uri="{FF2B5EF4-FFF2-40B4-BE49-F238E27FC236}">
                      <a16:creationId xmlns:a16="http://schemas.microsoft.com/office/drawing/2014/main" id="{A305FC73-2048-2FE9-22A5-D7DA7B73535E}"/>
                    </a:ext>
                  </a:extLst>
                </p:cNvPr>
                <p:cNvSpPr/>
                <p:nvPr/>
              </p:nvSpPr>
              <p:spPr>
                <a:xfrm>
                  <a:off x="8277535" y="5420340"/>
                  <a:ext cx="12802" cy="30782"/>
                </a:xfrm>
                <a:custGeom>
                  <a:avLst/>
                  <a:gdLst>
                    <a:gd name="connsiteX0" fmla="*/ 0 w 12802"/>
                    <a:gd name="connsiteY0" fmla="*/ 30783 h 30782"/>
                    <a:gd name="connsiteX1" fmla="*/ 12803 w 12802"/>
                    <a:gd name="connsiteY1" fmla="*/ 0 h 3078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2802" h="30782">
                      <a:moveTo>
                        <a:pt x="0" y="30783"/>
                      </a:moveTo>
                      <a:lnTo>
                        <a:pt x="12803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308" name="Forma livre: Forma 1307">
                  <a:extLst>
                    <a:ext uri="{FF2B5EF4-FFF2-40B4-BE49-F238E27FC236}">
                      <a16:creationId xmlns:a16="http://schemas.microsoft.com/office/drawing/2014/main" id="{280762BD-8C13-07E0-213B-77B36126432A}"/>
                    </a:ext>
                  </a:extLst>
                </p:cNvPr>
                <p:cNvSpPr/>
                <p:nvPr/>
              </p:nvSpPr>
              <p:spPr>
                <a:xfrm>
                  <a:off x="8208713" y="5399402"/>
                  <a:ext cx="51304" cy="51073"/>
                </a:xfrm>
                <a:custGeom>
                  <a:avLst/>
                  <a:gdLst>
                    <a:gd name="connsiteX0" fmla="*/ 51304 w 51304"/>
                    <a:gd name="connsiteY0" fmla="*/ 0 h 51073"/>
                    <a:gd name="connsiteX1" fmla="*/ 0 w 51304"/>
                    <a:gd name="connsiteY1" fmla="*/ 51073 h 5107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51304" h="51073">
                      <a:moveTo>
                        <a:pt x="51304" y="0"/>
                      </a:moveTo>
                      <a:lnTo>
                        <a:pt x="0" y="51073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1309" name="Gráfico 20">
                <a:extLst>
                  <a:ext uri="{FF2B5EF4-FFF2-40B4-BE49-F238E27FC236}">
                    <a16:creationId xmlns:a16="http://schemas.microsoft.com/office/drawing/2014/main" id="{D1F7C986-0195-152F-E93F-E621A249E9AF}"/>
                  </a:ext>
                </a:extLst>
              </p:cNvPr>
              <p:cNvGrpSpPr/>
              <p:nvPr/>
            </p:nvGrpSpPr>
            <p:grpSpPr>
              <a:xfrm>
                <a:off x="8362626" y="5369452"/>
                <a:ext cx="81855" cy="81671"/>
                <a:chOff x="8362626" y="5369452"/>
                <a:chExt cx="81855" cy="81671"/>
              </a:xfrm>
            </p:grpSpPr>
            <p:sp>
              <p:nvSpPr>
                <p:cNvPr id="1310" name="Forma livre: Forma 1309">
                  <a:extLst>
                    <a:ext uri="{FF2B5EF4-FFF2-40B4-BE49-F238E27FC236}">
                      <a16:creationId xmlns:a16="http://schemas.microsoft.com/office/drawing/2014/main" id="{3D193ED4-939C-B7DC-4A64-661E2A3FC769}"/>
                    </a:ext>
                  </a:extLst>
                </p:cNvPr>
                <p:cNvSpPr/>
                <p:nvPr/>
              </p:nvSpPr>
              <p:spPr>
                <a:xfrm>
                  <a:off x="8414208" y="5369452"/>
                  <a:ext cx="30274" cy="12525"/>
                </a:xfrm>
                <a:custGeom>
                  <a:avLst/>
                  <a:gdLst>
                    <a:gd name="connsiteX0" fmla="*/ 30274 w 30274"/>
                    <a:gd name="connsiteY0" fmla="*/ 12526 h 12525"/>
                    <a:gd name="connsiteX1" fmla="*/ 0 w 30274"/>
                    <a:gd name="connsiteY1" fmla="*/ 0 h 1252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30274" h="12525">
                      <a:moveTo>
                        <a:pt x="30274" y="12526"/>
                      </a:moveTo>
                      <a:lnTo>
                        <a:pt x="0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311" name="Forma livre: Forma 1310">
                  <a:extLst>
                    <a:ext uri="{FF2B5EF4-FFF2-40B4-BE49-F238E27FC236}">
                      <a16:creationId xmlns:a16="http://schemas.microsoft.com/office/drawing/2014/main" id="{410B328B-0DCE-30A3-CE0D-875F41D6F78C}"/>
                    </a:ext>
                  </a:extLst>
                </p:cNvPr>
                <p:cNvSpPr/>
                <p:nvPr/>
              </p:nvSpPr>
              <p:spPr>
                <a:xfrm>
                  <a:off x="8362626" y="5420340"/>
                  <a:ext cx="12849" cy="30782"/>
                </a:xfrm>
                <a:custGeom>
                  <a:avLst/>
                  <a:gdLst>
                    <a:gd name="connsiteX0" fmla="*/ 12849 w 12849"/>
                    <a:gd name="connsiteY0" fmla="*/ 30783 h 30782"/>
                    <a:gd name="connsiteX1" fmla="*/ 0 w 12849"/>
                    <a:gd name="connsiteY1" fmla="*/ 0 h 3078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2849" h="30782">
                      <a:moveTo>
                        <a:pt x="12849" y="30783"/>
                      </a:moveTo>
                      <a:lnTo>
                        <a:pt x="0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312" name="Forma livre: Forma 1311">
                  <a:extLst>
                    <a:ext uri="{FF2B5EF4-FFF2-40B4-BE49-F238E27FC236}">
                      <a16:creationId xmlns:a16="http://schemas.microsoft.com/office/drawing/2014/main" id="{A5E57D0F-6CE9-4D88-146E-92E7C1483B4E}"/>
                    </a:ext>
                  </a:extLst>
                </p:cNvPr>
                <p:cNvSpPr/>
                <p:nvPr/>
              </p:nvSpPr>
              <p:spPr>
                <a:xfrm>
                  <a:off x="8392993" y="5399402"/>
                  <a:ext cx="51258" cy="51073"/>
                </a:xfrm>
                <a:custGeom>
                  <a:avLst/>
                  <a:gdLst>
                    <a:gd name="connsiteX0" fmla="*/ 0 w 51258"/>
                    <a:gd name="connsiteY0" fmla="*/ 0 h 51073"/>
                    <a:gd name="connsiteX1" fmla="*/ 51258 w 51258"/>
                    <a:gd name="connsiteY1" fmla="*/ 51073 h 5107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51258" h="51073">
                      <a:moveTo>
                        <a:pt x="0" y="0"/>
                      </a:moveTo>
                      <a:lnTo>
                        <a:pt x="51258" y="51073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sp>
          <p:nvSpPr>
            <p:cNvPr id="1313" name="Forma livre: Forma 1312">
              <a:extLst>
                <a:ext uri="{FF2B5EF4-FFF2-40B4-BE49-F238E27FC236}">
                  <a16:creationId xmlns:a16="http://schemas.microsoft.com/office/drawing/2014/main" id="{314C6CBE-2CE1-1A2A-0979-97778E6B19C1}"/>
                </a:ext>
              </a:extLst>
            </p:cNvPr>
            <p:cNvSpPr/>
            <p:nvPr/>
          </p:nvSpPr>
          <p:spPr>
            <a:xfrm>
              <a:off x="8258588" y="5265486"/>
              <a:ext cx="135854" cy="135854"/>
            </a:xfrm>
            <a:custGeom>
              <a:avLst/>
              <a:gdLst>
                <a:gd name="connsiteX0" fmla="*/ 41919 w 135854"/>
                <a:gd name="connsiteY0" fmla="*/ 5193 h 135854"/>
                <a:gd name="connsiteX1" fmla="*/ 5174 w 135854"/>
                <a:gd name="connsiteY1" fmla="*/ 93936 h 135854"/>
                <a:gd name="connsiteX2" fmla="*/ 93916 w 135854"/>
                <a:gd name="connsiteY2" fmla="*/ 130681 h 135854"/>
                <a:gd name="connsiteX3" fmla="*/ 130662 w 135854"/>
                <a:gd name="connsiteY3" fmla="*/ 41938 h 135854"/>
                <a:gd name="connsiteX4" fmla="*/ 41919 w 135854"/>
                <a:gd name="connsiteY4" fmla="*/ 5193 h 1358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5854" h="135854">
                  <a:moveTo>
                    <a:pt x="41919" y="5193"/>
                  </a:moveTo>
                  <a:cubicBezTo>
                    <a:pt x="7300" y="19521"/>
                    <a:pt x="-9155" y="59363"/>
                    <a:pt x="5174" y="93936"/>
                  </a:cubicBezTo>
                  <a:cubicBezTo>
                    <a:pt x="19502" y="128555"/>
                    <a:pt x="59344" y="145009"/>
                    <a:pt x="93916" y="130681"/>
                  </a:cubicBezTo>
                  <a:cubicBezTo>
                    <a:pt x="128535" y="116353"/>
                    <a:pt x="145036" y="76557"/>
                    <a:pt x="130662" y="41938"/>
                  </a:cubicBezTo>
                  <a:cubicBezTo>
                    <a:pt x="116333" y="7319"/>
                    <a:pt x="76538" y="-9181"/>
                    <a:pt x="41919" y="5193"/>
                  </a:cubicBez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314" name="Forma livre: Forma 1313">
              <a:extLst>
                <a:ext uri="{FF2B5EF4-FFF2-40B4-BE49-F238E27FC236}">
                  <a16:creationId xmlns:a16="http://schemas.microsoft.com/office/drawing/2014/main" id="{41726846-BEEE-D192-F1B7-A3AE5B2BA859}"/>
                </a:ext>
              </a:extLst>
            </p:cNvPr>
            <p:cNvSpPr/>
            <p:nvPr/>
          </p:nvSpPr>
          <p:spPr>
            <a:xfrm>
              <a:off x="8326482" y="5166961"/>
              <a:ext cx="4622" cy="72242"/>
            </a:xfrm>
            <a:custGeom>
              <a:avLst/>
              <a:gdLst>
                <a:gd name="connsiteX0" fmla="*/ 0 w 4622"/>
                <a:gd name="connsiteY0" fmla="*/ 72242 h 72242"/>
                <a:gd name="connsiteX1" fmla="*/ 0 w 4622"/>
                <a:gd name="connsiteY1" fmla="*/ 0 h 722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622" h="72242">
                  <a:moveTo>
                    <a:pt x="0" y="72242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315" name="Forma livre: Forma 1314">
              <a:extLst>
                <a:ext uri="{FF2B5EF4-FFF2-40B4-BE49-F238E27FC236}">
                  <a16:creationId xmlns:a16="http://schemas.microsoft.com/office/drawing/2014/main" id="{5C3AD973-900C-63D2-BC61-ADC9B36695A8}"/>
                </a:ext>
              </a:extLst>
            </p:cNvPr>
            <p:cNvSpPr/>
            <p:nvPr/>
          </p:nvSpPr>
          <p:spPr>
            <a:xfrm>
              <a:off x="8326482" y="5427689"/>
              <a:ext cx="4622" cy="72195"/>
            </a:xfrm>
            <a:custGeom>
              <a:avLst/>
              <a:gdLst>
                <a:gd name="connsiteX0" fmla="*/ 0 w 4622"/>
                <a:gd name="connsiteY0" fmla="*/ 72196 h 72195"/>
                <a:gd name="connsiteX1" fmla="*/ 0 w 4622"/>
                <a:gd name="connsiteY1" fmla="*/ 0 h 721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622" h="72195">
                  <a:moveTo>
                    <a:pt x="0" y="72196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316" name="Forma livre: Forma 1315">
              <a:extLst>
                <a:ext uri="{FF2B5EF4-FFF2-40B4-BE49-F238E27FC236}">
                  <a16:creationId xmlns:a16="http://schemas.microsoft.com/office/drawing/2014/main" id="{C6DD02F0-49F1-2CF2-E6A7-D79A4F985794}"/>
                </a:ext>
              </a:extLst>
            </p:cNvPr>
            <p:cNvSpPr/>
            <p:nvPr/>
          </p:nvSpPr>
          <p:spPr>
            <a:xfrm>
              <a:off x="8420725" y="5333400"/>
              <a:ext cx="72195" cy="4622"/>
            </a:xfrm>
            <a:custGeom>
              <a:avLst/>
              <a:gdLst>
                <a:gd name="connsiteX0" fmla="*/ 0 w 72195"/>
                <a:gd name="connsiteY0" fmla="*/ 0 h 4622"/>
                <a:gd name="connsiteX1" fmla="*/ 72196 w 72195"/>
                <a:gd name="connsiteY1" fmla="*/ 0 h 46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2195" h="4622">
                  <a:moveTo>
                    <a:pt x="0" y="0"/>
                  </a:moveTo>
                  <a:lnTo>
                    <a:pt x="72196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317" name="Forma livre: Forma 1316">
              <a:extLst>
                <a:ext uri="{FF2B5EF4-FFF2-40B4-BE49-F238E27FC236}">
                  <a16:creationId xmlns:a16="http://schemas.microsoft.com/office/drawing/2014/main" id="{6C5C2178-FB3F-1FA9-1DAD-9BEFF3E72D8A}"/>
                </a:ext>
              </a:extLst>
            </p:cNvPr>
            <p:cNvSpPr/>
            <p:nvPr/>
          </p:nvSpPr>
          <p:spPr>
            <a:xfrm>
              <a:off x="8160043" y="5333400"/>
              <a:ext cx="72195" cy="4622"/>
            </a:xfrm>
            <a:custGeom>
              <a:avLst/>
              <a:gdLst>
                <a:gd name="connsiteX0" fmla="*/ 0 w 72195"/>
                <a:gd name="connsiteY0" fmla="*/ 0 h 4622"/>
                <a:gd name="connsiteX1" fmla="*/ 72196 w 72195"/>
                <a:gd name="connsiteY1" fmla="*/ 0 h 46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2195" h="4622">
                  <a:moveTo>
                    <a:pt x="0" y="0"/>
                  </a:moveTo>
                  <a:lnTo>
                    <a:pt x="72196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319" name="Gráfico 21">
            <a:extLst>
              <a:ext uri="{FF2B5EF4-FFF2-40B4-BE49-F238E27FC236}">
                <a16:creationId xmlns:a16="http://schemas.microsoft.com/office/drawing/2014/main" id="{332824E3-D7DA-834E-9D3D-32020739084C}"/>
              </a:ext>
            </a:extLst>
          </p:cNvPr>
          <p:cNvGrpSpPr/>
          <p:nvPr/>
        </p:nvGrpSpPr>
        <p:grpSpPr>
          <a:xfrm>
            <a:off x="11232642" y="3663961"/>
            <a:ext cx="242839" cy="242885"/>
            <a:chOff x="11232642" y="3663961"/>
            <a:chExt cx="242839" cy="242885"/>
          </a:xfrm>
        </p:grpSpPr>
        <p:sp>
          <p:nvSpPr>
            <p:cNvPr id="1320" name="Forma livre: Forma 1319">
              <a:extLst>
                <a:ext uri="{FF2B5EF4-FFF2-40B4-BE49-F238E27FC236}">
                  <a16:creationId xmlns:a16="http://schemas.microsoft.com/office/drawing/2014/main" id="{CFF089B4-55D6-14F8-4CA0-3DE6680B29E7}"/>
                </a:ext>
              </a:extLst>
            </p:cNvPr>
            <p:cNvSpPr/>
            <p:nvPr/>
          </p:nvSpPr>
          <p:spPr>
            <a:xfrm>
              <a:off x="11232642" y="3663961"/>
              <a:ext cx="242839" cy="242885"/>
            </a:xfrm>
            <a:custGeom>
              <a:avLst/>
              <a:gdLst>
                <a:gd name="connsiteX0" fmla="*/ 194274 w 242839"/>
                <a:gd name="connsiteY0" fmla="*/ 195985 h 242885"/>
                <a:gd name="connsiteX1" fmla="*/ 173568 w 242839"/>
                <a:gd name="connsiteY1" fmla="*/ 214611 h 242885"/>
                <a:gd name="connsiteX2" fmla="*/ 50391 w 242839"/>
                <a:gd name="connsiteY2" fmla="*/ 228339 h 242885"/>
                <a:gd name="connsiteX3" fmla="*/ 44798 w 242839"/>
                <a:gd name="connsiteY3" fmla="*/ 232083 h 242885"/>
                <a:gd name="connsiteX4" fmla="*/ 11566 w 242839"/>
                <a:gd name="connsiteY4" fmla="*/ 231667 h 242885"/>
                <a:gd name="connsiteX5" fmla="*/ 11381 w 242839"/>
                <a:gd name="connsiteY5" fmla="*/ 231482 h 242885"/>
                <a:gd name="connsiteX6" fmla="*/ 10965 w 242839"/>
                <a:gd name="connsiteY6" fmla="*/ 198296 h 242885"/>
                <a:gd name="connsiteX7" fmla="*/ 14709 w 242839"/>
                <a:gd name="connsiteY7" fmla="*/ 192795 h 242885"/>
                <a:gd name="connsiteX8" fmla="*/ 28251 w 242839"/>
                <a:gd name="connsiteY8" fmla="*/ 69341 h 242885"/>
                <a:gd name="connsiteX9" fmla="*/ 46878 w 242839"/>
                <a:gd name="connsiteY9" fmla="*/ 48635 h 242885"/>
                <a:gd name="connsiteX10" fmla="*/ 48588 w 242839"/>
                <a:gd name="connsiteY10" fmla="*/ 46878 h 242885"/>
                <a:gd name="connsiteX11" fmla="*/ 69295 w 242839"/>
                <a:gd name="connsiteY11" fmla="*/ 28251 h 242885"/>
                <a:gd name="connsiteX12" fmla="*/ 192749 w 242839"/>
                <a:gd name="connsiteY12" fmla="*/ 14709 h 242885"/>
                <a:gd name="connsiteX13" fmla="*/ 198249 w 242839"/>
                <a:gd name="connsiteY13" fmla="*/ 10965 h 242885"/>
                <a:gd name="connsiteX14" fmla="*/ 231435 w 242839"/>
                <a:gd name="connsiteY14" fmla="*/ 11381 h 242885"/>
                <a:gd name="connsiteX15" fmla="*/ 231620 w 242839"/>
                <a:gd name="connsiteY15" fmla="*/ 11566 h 242885"/>
                <a:gd name="connsiteX16" fmla="*/ 232036 w 242839"/>
                <a:gd name="connsiteY16" fmla="*/ 44752 h 242885"/>
                <a:gd name="connsiteX17" fmla="*/ 228293 w 242839"/>
                <a:gd name="connsiteY17" fmla="*/ 50345 h 242885"/>
                <a:gd name="connsiteX18" fmla="*/ 214565 w 242839"/>
                <a:gd name="connsiteY18" fmla="*/ 173522 h 242885"/>
                <a:gd name="connsiteX19" fmla="*/ 195938 w 242839"/>
                <a:gd name="connsiteY19" fmla="*/ 194228 h 242885"/>
                <a:gd name="connsiteX20" fmla="*/ 194182 w 242839"/>
                <a:gd name="connsiteY20" fmla="*/ 195985 h 2428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242839" h="242885">
                  <a:moveTo>
                    <a:pt x="194274" y="195985"/>
                  </a:moveTo>
                  <a:cubicBezTo>
                    <a:pt x="184892" y="205367"/>
                    <a:pt x="173568" y="214611"/>
                    <a:pt x="173568" y="214611"/>
                  </a:cubicBezTo>
                  <a:cubicBezTo>
                    <a:pt x="135529" y="246873"/>
                    <a:pt x="87968" y="251634"/>
                    <a:pt x="50391" y="228339"/>
                  </a:cubicBezTo>
                  <a:lnTo>
                    <a:pt x="44798" y="232083"/>
                  </a:lnTo>
                  <a:cubicBezTo>
                    <a:pt x="33798" y="239848"/>
                    <a:pt x="20440" y="240541"/>
                    <a:pt x="11566" y="231667"/>
                  </a:cubicBezTo>
                  <a:lnTo>
                    <a:pt x="11381" y="231482"/>
                  </a:lnTo>
                  <a:cubicBezTo>
                    <a:pt x="2507" y="222607"/>
                    <a:pt x="3200" y="209296"/>
                    <a:pt x="10965" y="198296"/>
                  </a:cubicBezTo>
                  <a:lnTo>
                    <a:pt x="14709" y="192795"/>
                  </a:lnTo>
                  <a:cubicBezTo>
                    <a:pt x="-8771" y="155172"/>
                    <a:pt x="-4056" y="107473"/>
                    <a:pt x="28251" y="69341"/>
                  </a:cubicBezTo>
                  <a:cubicBezTo>
                    <a:pt x="28251" y="69341"/>
                    <a:pt x="37449" y="58017"/>
                    <a:pt x="46878" y="48635"/>
                  </a:cubicBezTo>
                  <a:lnTo>
                    <a:pt x="48588" y="46878"/>
                  </a:lnTo>
                  <a:cubicBezTo>
                    <a:pt x="58017" y="37496"/>
                    <a:pt x="69295" y="28251"/>
                    <a:pt x="69295" y="28251"/>
                  </a:cubicBezTo>
                  <a:cubicBezTo>
                    <a:pt x="107427" y="-4056"/>
                    <a:pt x="155080" y="-8771"/>
                    <a:pt x="192749" y="14709"/>
                  </a:cubicBezTo>
                  <a:lnTo>
                    <a:pt x="198249" y="10965"/>
                  </a:lnTo>
                  <a:cubicBezTo>
                    <a:pt x="209250" y="3200"/>
                    <a:pt x="222607" y="2507"/>
                    <a:pt x="231435" y="11381"/>
                  </a:cubicBezTo>
                  <a:lnTo>
                    <a:pt x="231620" y="11566"/>
                  </a:lnTo>
                  <a:cubicBezTo>
                    <a:pt x="240495" y="20440"/>
                    <a:pt x="239801" y="33752"/>
                    <a:pt x="232036" y="44752"/>
                  </a:cubicBezTo>
                  <a:lnTo>
                    <a:pt x="228293" y="50345"/>
                  </a:lnTo>
                  <a:cubicBezTo>
                    <a:pt x="251588" y="87922"/>
                    <a:pt x="246827" y="135482"/>
                    <a:pt x="214565" y="173522"/>
                  </a:cubicBezTo>
                  <a:cubicBezTo>
                    <a:pt x="214565" y="173522"/>
                    <a:pt x="205367" y="184846"/>
                    <a:pt x="195938" y="194228"/>
                  </a:cubicBezTo>
                  <a:lnTo>
                    <a:pt x="194182" y="195985"/>
                  </a:ln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321" name="Forma livre: Forma 1320">
              <a:extLst>
                <a:ext uri="{FF2B5EF4-FFF2-40B4-BE49-F238E27FC236}">
                  <a16:creationId xmlns:a16="http://schemas.microsoft.com/office/drawing/2014/main" id="{4EAFBDB9-AB25-174D-C10A-0B47D29A31C9}"/>
                </a:ext>
              </a:extLst>
            </p:cNvPr>
            <p:cNvSpPr/>
            <p:nvPr/>
          </p:nvSpPr>
          <p:spPr>
            <a:xfrm>
              <a:off x="11376790" y="3802361"/>
              <a:ext cx="7181" cy="7198"/>
            </a:xfrm>
            <a:custGeom>
              <a:avLst/>
              <a:gdLst>
                <a:gd name="connsiteX0" fmla="*/ 6124 w 7181"/>
                <a:gd name="connsiteY0" fmla="*/ 6142 h 7198"/>
                <a:gd name="connsiteX1" fmla="*/ 1040 w 7181"/>
                <a:gd name="connsiteY1" fmla="*/ 6142 h 7198"/>
                <a:gd name="connsiteX2" fmla="*/ 1040 w 7181"/>
                <a:gd name="connsiteY2" fmla="*/ 1057 h 7198"/>
                <a:gd name="connsiteX3" fmla="*/ 6124 w 7181"/>
                <a:gd name="connsiteY3" fmla="*/ 1057 h 7198"/>
                <a:gd name="connsiteX4" fmla="*/ 6124 w 7181"/>
                <a:gd name="connsiteY4" fmla="*/ 6142 h 71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81" h="7198">
                  <a:moveTo>
                    <a:pt x="6124" y="6142"/>
                  </a:moveTo>
                  <a:cubicBezTo>
                    <a:pt x="4738" y="7528"/>
                    <a:pt x="2427" y="7574"/>
                    <a:pt x="1040" y="6142"/>
                  </a:cubicBezTo>
                  <a:cubicBezTo>
                    <a:pt x="-347" y="4755"/>
                    <a:pt x="-347" y="2444"/>
                    <a:pt x="1040" y="1057"/>
                  </a:cubicBezTo>
                  <a:cubicBezTo>
                    <a:pt x="2473" y="-375"/>
                    <a:pt x="4738" y="-329"/>
                    <a:pt x="6124" y="1057"/>
                  </a:cubicBezTo>
                  <a:cubicBezTo>
                    <a:pt x="7557" y="2490"/>
                    <a:pt x="7511" y="4755"/>
                    <a:pt x="6124" y="6142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322" name="Forma livre: Forma 1321">
              <a:extLst>
                <a:ext uri="{FF2B5EF4-FFF2-40B4-BE49-F238E27FC236}">
                  <a16:creationId xmlns:a16="http://schemas.microsoft.com/office/drawing/2014/main" id="{926D2490-E420-43D6-55B2-11750ACD380E}"/>
                </a:ext>
              </a:extLst>
            </p:cNvPr>
            <p:cNvSpPr/>
            <p:nvPr/>
          </p:nvSpPr>
          <p:spPr>
            <a:xfrm>
              <a:off x="11346239" y="3823576"/>
              <a:ext cx="7181" cy="7198"/>
            </a:xfrm>
            <a:custGeom>
              <a:avLst/>
              <a:gdLst>
                <a:gd name="connsiteX0" fmla="*/ 6124 w 7181"/>
                <a:gd name="connsiteY0" fmla="*/ 6142 h 7198"/>
                <a:gd name="connsiteX1" fmla="*/ 1040 w 7181"/>
                <a:gd name="connsiteY1" fmla="*/ 6142 h 7198"/>
                <a:gd name="connsiteX2" fmla="*/ 1040 w 7181"/>
                <a:gd name="connsiteY2" fmla="*/ 1057 h 7198"/>
                <a:gd name="connsiteX3" fmla="*/ 6124 w 7181"/>
                <a:gd name="connsiteY3" fmla="*/ 1057 h 7198"/>
                <a:gd name="connsiteX4" fmla="*/ 6124 w 7181"/>
                <a:gd name="connsiteY4" fmla="*/ 6142 h 71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81" h="7198">
                  <a:moveTo>
                    <a:pt x="6124" y="6142"/>
                  </a:moveTo>
                  <a:cubicBezTo>
                    <a:pt x="4738" y="7528"/>
                    <a:pt x="2427" y="7574"/>
                    <a:pt x="1040" y="6142"/>
                  </a:cubicBezTo>
                  <a:cubicBezTo>
                    <a:pt x="-347" y="4755"/>
                    <a:pt x="-347" y="2444"/>
                    <a:pt x="1040" y="1057"/>
                  </a:cubicBezTo>
                  <a:cubicBezTo>
                    <a:pt x="2427" y="-375"/>
                    <a:pt x="4738" y="-329"/>
                    <a:pt x="6124" y="1057"/>
                  </a:cubicBezTo>
                  <a:cubicBezTo>
                    <a:pt x="7557" y="2490"/>
                    <a:pt x="7511" y="4755"/>
                    <a:pt x="6124" y="6142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323" name="Forma livre: Forma 1322">
              <a:extLst>
                <a:ext uri="{FF2B5EF4-FFF2-40B4-BE49-F238E27FC236}">
                  <a16:creationId xmlns:a16="http://schemas.microsoft.com/office/drawing/2014/main" id="{FD6E95DB-51AE-6F0E-23F0-6787E459D766}"/>
                </a:ext>
              </a:extLst>
            </p:cNvPr>
            <p:cNvSpPr/>
            <p:nvPr/>
          </p:nvSpPr>
          <p:spPr>
            <a:xfrm>
              <a:off x="11379731" y="3840400"/>
              <a:ext cx="7181" cy="7216"/>
            </a:xfrm>
            <a:custGeom>
              <a:avLst/>
              <a:gdLst>
                <a:gd name="connsiteX0" fmla="*/ 6142 w 7181"/>
                <a:gd name="connsiteY0" fmla="*/ 6142 h 7216"/>
                <a:gd name="connsiteX1" fmla="*/ 1057 w 7181"/>
                <a:gd name="connsiteY1" fmla="*/ 6142 h 7216"/>
                <a:gd name="connsiteX2" fmla="*/ 1057 w 7181"/>
                <a:gd name="connsiteY2" fmla="*/ 1057 h 7216"/>
                <a:gd name="connsiteX3" fmla="*/ 6142 w 7181"/>
                <a:gd name="connsiteY3" fmla="*/ 1057 h 7216"/>
                <a:gd name="connsiteX4" fmla="*/ 6142 w 7181"/>
                <a:gd name="connsiteY4" fmla="*/ 6142 h 72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81" h="7216">
                  <a:moveTo>
                    <a:pt x="6142" y="6142"/>
                  </a:moveTo>
                  <a:cubicBezTo>
                    <a:pt x="4755" y="7574"/>
                    <a:pt x="2444" y="7574"/>
                    <a:pt x="1057" y="6142"/>
                  </a:cubicBezTo>
                  <a:cubicBezTo>
                    <a:pt x="-329" y="4755"/>
                    <a:pt x="-375" y="2444"/>
                    <a:pt x="1057" y="1057"/>
                  </a:cubicBezTo>
                  <a:cubicBezTo>
                    <a:pt x="2490" y="-375"/>
                    <a:pt x="4755" y="-329"/>
                    <a:pt x="6142" y="1057"/>
                  </a:cubicBezTo>
                  <a:cubicBezTo>
                    <a:pt x="7528" y="2490"/>
                    <a:pt x="7528" y="4755"/>
                    <a:pt x="6142" y="6142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324" name="Forma livre: Forma 1323">
              <a:extLst>
                <a:ext uri="{FF2B5EF4-FFF2-40B4-BE49-F238E27FC236}">
                  <a16:creationId xmlns:a16="http://schemas.microsoft.com/office/drawing/2014/main" id="{8EEA5868-F3BB-0C61-2FA0-D68A52364F49}"/>
                </a:ext>
              </a:extLst>
            </p:cNvPr>
            <p:cNvSpPr/>
            <p:nvPr/>
          </p:nvSpPr>
          <p:spPr>
            <a:xfrm>
              <a:off x="11340877" y="3861153"/>
              <a:ext cx="7181" cy="7216"/>
            </a:xfrm>
            <a:custGeom>
              <a:avLst/>
              <a:gdLst>
                <a:gd name="connsiteX0" fmla="*/ 6124 w 7181"/>
                <a:gd name="connsiteY0" fmla="*/ 6142 h 7216"/>
                <a:gd name="connsiteX1" fmla="*/ 1040 w 7181"/>
                <a:gd name="connsiteY1" fmla="*/ 6142 h 7216"/>
                <a:gd name="connsiteX2" fmla="*/ 1040 w 7181"/>
                <a:gd name="connsiteY2" fmla="*/ 1057 h 7216"/>
                <a:gd name="connsiteX3" fmla="*/ 6124 w 7181"/>
                <a:gd name="connsiteY3" fmla="*/ 1057 h 7216"/>
                <a:gd name="connsiteX4" fmla="*/ 6124 w 7181"/>
                <a:gd name="connsiteY4" fmla="*/ 6142 h 72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81" h="7216">
                  <a:moveTo>
                    <a:pt x="6124" y="6142"/>
                  </a:moveTo>
                  <a:cubicBezTo>
                    <a:pt x="4738" y="7574"/>
                    <a:pt x="2427" y="7574"/>
                    <a:pt x="1040" y="6142"/>
                  </a:cubicBezTo>
                  <a:cubicBezTo>
                    <a:pt x="-347" y="4755"/>
                    <a:pt x="-347" y="2444"/>
                    <a:pt x="1040" y="1057"/>
                  </a:cubicBezTo>
                  <a:cubicBezTo>
                    <a:pt x="2427" y="-375"/>
                    <a:pt x="4738" y="-329"/>
                    <a:pt x="6124" y="1057"/>
                  </a:cubicBezTo>
                  <a:cubicBezTo>
                    <a:pt x="7557" y="2490"/>
                    <a:pt x="7511" y="4755"/>
                    <a:pt x="6124" y="6142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325" name="Gráfico 21">
            <a:extLst>
              <a:ext uri="{FF2B5EF4-FFF2-40B4-BE49-F238E27FC236}">
                <a16:creationId xmlns:a16="http://schemas.microsoft.com/office/drawing/2014/main" id="{FD499F6A-74A9-7C47-B6A5-4A622760030B}"/>
              </a:ext>
            </a:extLst>
          </p:cNvPr>
          <p:cNvGrpSpPr/>
          <p:nvPr/>
        </p:nvGrpSpPr>
        <p:grpSpPr>
          <a:xfrm>
            <a:off x="11191979" y="4149145"/>
            <a:ext cx="324281" cy="292527"/>
            <a:chOff x="11191979" y="4149145"/>
            <a:chExt cx="324281" cy="292527"/>
          </a:xfrm>
          <a:noFill/>
        </p:grpSpPr>
        <p:sp>
          <p:nvSpPr>
            <p:cNvPr id="1326" name="Forma livre: Forma 1325">
              <a:extLst>
                <a:ext uri="{FF2B5EF4-FFF2-40B4-BE49-F238E27FC236}">
                  <a16:creationId xmlns:a16="http://schemas.microsoft.com/office/drawing/2014/main" id="{11F9CBE9-7F19-FD7E-326D-8ABBC67332FF}"/>
                </a:ext>
              </a:extLst>
            </p:cNvPr>
            <p:cNvSpPr/>
            <p:nvPr/>
          </p:nvSpPr>
          <p:spPr>
            <a:xfrm>
              <a:off x="11293941" y="4149145"/>
              <a:ext cx="33509" cy="50749"/>
            </a:xfrm>
            <a:custGeom>
              <a:avLst/>
              <a:gdLst>
                <a:gd name="connsiteX0" fmla="*/ 33510 w 33509"/>
                <a:gd name="connsiteY0" fmla="*/ 50750 h 50749"/>
                <a:gd name="connsiteX1" fmla="*/ 14467 w 33509"/>
                <a:gd name="connsiteY1" fmla="*/ 0 h 50749"/>
                <a:gd name="connsiteX2" fmla="*/ 0 w 33509"/>
                <a:gd name="connsiteY2" fmla="*/ 9429 h 50749"/>
                <a:gd name="connsiteX3" fmla="*/ 5131 w 33509"/>
                <a:gd name="connsiteY3" fmla="*/ 32031 h 507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509" h="50749">
                  <a:moveTo>
                    <a:pt x="33510" y="50750"/>
                  </a:moveTo>
                  <a:cubicBezTo>
                    <a:pt x="33510" y="50750"/>
                    <a:pt x="27409" y="18396"/>
                    <a:pt x="14467" y="0"/>
                  </a:cubicBezTo>
                  <a:lnTo>
                    <a:pt x="0" y="9429"/>
                  </a:lnTo>
                  <a:cubicBezTo>
                    <a:pt x="0" y="9429"/>
                    <a:pt x="1987" y="13265"/>
                    <a:pt x="5131" y="32031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327" name="Forma livre: Forma 1326">
              <a:extLst>
                <a:ext uri="{FF2B5EF4-FFF2-40B4-BE49-F238E27FC236}">
                  <a16:creationId xmlns:a16="http://schemas.microsoft.com/office/drawing/2014/main" id="{772F3BC7-AFF0-237E-3B89-7E02A67AFCAD}"/>
                </a:ext>
              </a:extLst>
            </p:cNvPr>
            <p:cNvSpPr/>
            <p:nvPr/>
          </p:nvSpPr>
          <p:spPr>
            <a:xfrm>
              <a:off x="11191979" y="4200311"/>
              <a:ext cx="246353" cy="230176"/>
            </a:xfrm>
            <a:custGeom>
              <a:avLst/>
              <a:gdLst>
                <a:gd name="connsiteX0" fmla="*/ 105151 w 246353"/>
                <a:gd name="connsiteY0" fmla="*/ 230177 h 230176"/>
                <a:gd name="connsiteX1" fmla="*/ 0 w 246353"/>
                <a:gd name="connsiteY1" fmla="*/ 115597 h 230176"/>
                <a:gd name="connsiteX2" fmla="*/ 123177 w 246353"/>
                <a:gd name="connsiteY2" fmla="*/ 0 h 230176"/>
                <a:gd name="connsiteX3" fmla="*/ 246354 w 246353"/>
                <a:gd name="connsiteY3" fmla="*/ 115597 h 230176"/>
                <a:gd name="connsiteX4" fmla="*/ 245845 w 246353"/>
                <a:gd name="connsiteY4" fmla="*/ 128261 h 2301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6353" h="230176">
                  <a:moveTo>
                    <a:pt x="105151" y="230177"/>
                  </a:moveTo>
                  <a:cubicBezTo>
                    <a:pt x="45666" y="223613"/>
                    <a:pt x="0" y="184003"/>
                    <a:pt x="0" y="115597"/>
                  </a:cubicBezTo>
                  <a:cubicBezTo>
                    <a:pt x="0" y="51767"/>
                    <a:pt x="55141" y="0"/>
                    <a:pt x="123177" y="0"/>
                  </a:cubicBezTo>
                  <a:cubicBezTo>
                    <a:pt x="191213" y="0"/>
                    <a:pt x="246354" y="51767"/>
                    <a:pt x="246354" y="115597"/>
                  </a:cubicBezTo>
                  <a:cubicBezTo>
                    <a:pt x="246354" y="119941"/>
                    <a:pt x="246169" y="124147"/>
                    <a:pt x="245845" y="128261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328" name="Forma livre: Forma 1327">
              <a:extLst>
                <a:ext uri="{FF2B5EF4-FFF2-40B4-BE49-F238E27FC236}">
                  <a16:creationId xmlns:a16="http://schemas.microsoft.com/office/drawing/2014/main" id="{BF2C6A35-C241-D767-8DE7-179EA525DFF5}"/>
                </a:ext>
              </a:extLst>
            </p:cNvPr>
            <p:cNvSpPr/>
            <p:nvPr/>
          </p:nvSpPr>
          <p:spPr>
            <a:xfrm>
              <a:off x="11224518" y="4200311"/>
              <a:ext cx="181275" cy="230176"/>
            </a:xfrm>
            <a:custGeom>
              <a:avLst/>
              <a:gdLst>
                <a:gd name="connsiteX0" fmla="*/ 72381 w 181275"/>
                <a:gd name="connsiteY0" fmla="*/ 230177 h 230176"/>
                <a:gd name="connsiteX1" fmla="*/ 0 w 181275"/>
                <a:gd name="connsiteY1" fmla="*/ 115597 h 230176"/>
                <a:gd name="connsiteX2" fmla="*/ 90638 w 181275"/>
                <a:gd name="connsiteY2" fmla="*/ 0 h 230176"/>
                <a:gd name="connsiteX3" fmla="*/ 181276 w 181275"/>
                <a:gd name="connsiteY3" fmla="*/ 115597 h 230176"/>
                <a:gd name="connsiteX4" fmla="*/ 178040 w 181275"/>
                <a:gd name="connsiteY4" fmla="*/ 146379 h 2301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1275" h="230176">
                  <a:moveTo>
                    <a:pt x="72381" y="230177"/>
                  </a:moveTo>
                  <a:cubicBezTo>
                    <a:pt x="31199" y="219269"/>
                    <a:pt x="0" y="171338"/>
                    <a:pt x="0" y="115597"/>
                  </a:cubicBezTo>
                  <a:cubicBezTo>
                    <a:pt x="0" y="51767"/>
                    <a:pt x="40581" y="0"/>
                    <a:pt x="90638" y="0"/>
                  </a:cubicBezTo>
                  <a:cubicBezTo>
                    <a:pt x="140694" y="0"/>
                    <a:pt x="181276" y="51767"/>
                    <a:pt x="181276" y="115597"/>
                  </a:cubicBezTo>
                  <a:cubicBezTo>
                    <a:pt x="181276" y="126274"/>
                    <a:pt x="180166" y="136581"/>
                    <a:pt x="178040" y="146379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329" name="Forma livre: Forma 1328">
              <a:extLst>
                <a:ext uri="{FF2B5EF4-FFF2-40B4-BE49-F238E27FC236}">
                  <a16:creationId xmlns:a16="http://schemas.microsoft.com/office/drawing/2014/main" id="{ECFDE985-1BBB-1167-EEB8-33C158E1C9EF}"/>
                </a:ext>
              </a:extLst>
            </p:cNvPr>
            <p:cNvSpPr/>
            <p:nvPr/>
          </p:nvSpPr>
          <p:spPr>
            <a:xfrm>
              <a:off x="11274944" y="4200311"/>
              <a:ext cx="80839" cy="136395"/>
            </a:xfrm>
            <a:custGeom>
              <a:avLst/>
              <a:gdLst>
                <a:gd name="connsiteX0" fmla="*/ 0 w 80839"/>
                <a:gd name="connsiteY0" fmla="*/ 100529 h 136395"/>
                <a:gd name="connsiteX1" fmla="*/ 40211 w 80839"/>
                <a:gd name="connsiteY1" fmla="*/ 0 h 136395"/>
                <a:gd name="connsiteX2" fmla="*/ 80839 w 80839"/>
                <a:gd name="connsiteY2" fmla="*/ 115597 h 136395"/>
                <a:gd name="connsiteX3" fmla="*/ 80007 w 80839"/>
                <a:gd name="connsiteY3" fmla="*/ 136396 h 1363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0839" h="136395">
                  <a:moveTo>
                    <a:pt x="0" y="100529"/>
                  </a:moveTo>
                  <a:cubicBezTo>
                    <a:pt x="3282" y="43817"/>
                    <a:pt x="24312" y="0"/>
                    <a:pt x="40211" y="0"/>
                  </a:cubicBezTo>
                  <a:cubicBezTo>
                    <a:pt x="58561" y="0"/>
                    <a:pt x="80839" y="51767"/>
                    <a:pt x="80839" y="115597"/>
                  </a:cubicBezTo>
                  <a:cubicBezTo>
                    <a:pt x="80839" y="122715"/>
                    <a:pt x="80562" y="129648"/>
                    <a:pt x="80007" y="136396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330" name="Forma livre: Forma 1329">
              <a:extLst>
                <a:ext uri="{FF2B5EF4-FFF2-40B4-BE49-F238E27FC236}">
                  <a16:creationId xmlns:a16="http://schemas.microsoft.com/office/drawing/2014/main" id="{E6993BDF-A28D-EF8A-1806-F6D2E866EA3C}"/>
                </a:ext>
              </a:extLst>
            </p:cNvPr>
            <p:cNvSpPr/>
            <p:nvPr/>
          </p:nvSpPr>
          <p:spPr>
            <a:xfrm>
              <a:off x="11268797" y="4325568"/>
              <a:ext cx="247463" cy="116105"/>
            </a:xfrm>
            <a:custGeom>
              <a:avLst/>
              <a:gdLst>
                <a:gd name="connsiteX0" fmla="*/ 50842 w 247463"/>
                <a:gd name="connsiteY0" fmla="*/ 0 h 116105"/>
                <a:gd name="connsiteX1" fmla="*/ 123731 w 247463"/>
                <a:gd name="connsiteY1" fmla="*/ 48531 h 116105"/>
                <a:gd name="connsiteX2" fmla="*/ 196621 w 247463"/>
                <a:gd name="connsiteY2" fmla="*/ 0 h 116105"/>
                <a:gd name="connsiteX3" fmla="*/ 247463 w 247463"/>
                <a:gd name="connsiteY3" fmla="*/ 0 h 116105"/>
                <a:gd name="connsiteX4" fmla="*/ 123731 w 247463"/>
                <a:gd name="connsiteY4" fmla="*/ 116105 h 116105"/>
                <a:gd name="connsiteX5" fmla="*/ 0 w 247463"/>
                <a:gd name="connsiteY5" fmla="*/ 0 h 116105"/>
                <a:gd name="connsiteX6" fmla="*/ 50842 w 247463"/>
                <a:gd name="connsiteY6" fmla="*/ 0 h 1161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47463" h="116105">
                  <a:moveTo>
                    <a:pt x="50842" y="0"/>
                  </a:moveTo>
                  <a:cubicBezTo>
                    <a:pt x="50842" y="28056"/>
                    <a:pt x="93827" y="48531"/>
                    <a:pt x="123731" y="48531"/>
                  </a:cubicBezTo>
                  <a:cubicBezTo>
                    <a:pt x="153636" y="48531"/>
                    <a:pt x="196621" y="28056"/>
                    <a:pt x="196621" y="0"/>
                  </a:cubicBezTo>
                  <a:lnTo>
                    <a:pt x="247463" y="0"/>
                  </a:lnTo>
                  <a:cubicBezTo>
                    <a:pt x="247463" y="64107"/>
                    <a:pt x="192091" y="116105"/>
                    <a:pt x="123731" y="116105"/>
                  </a:cubicBezTo>
                  <a:cubicBezTo>
                    <a:pt x="55372" y="116105"/>
                    <a:pt x="0" y="64107"/>
                    <a:pt x="0" y="0"/>
                  </a:cubicBezTo>
                  <a:lnTo>
                    <a:pt x="50842" y="0"/>
                  </a:ln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331" name="Gráfico 21">
            <a:extLst>
              <a:ext uri="{FF2B5EF4-FFF2-40B4-BE49-F238E27FC236}">
                <a16:creationId xmlns:a16="http://schemas.microsoft.com/office/drawing/2014/main" id="{FA00B0FE-9417-0FAB-5655-55C197DF62CD}"/>
              </a:ext>
            </a:extLst>
          </p:cNvPr>
          <p:cNvGrpSpPr/>
          <p:nvPr/>
        </p:nvGrpSpPr>
        <p:grpSpPr>
          <a:xfrm>
            <a:off x="11182642" y="4719688"/>
            <a:ext cx="342815" cy="171384"/>
            <a:chOff x="11182642" y="4719688"/>
            <a:chExt cx="342815" cy="171384"/>
          </a:xfrm>
        </p:grpSpPr>
        <p:sp>
          <p:nvSpPr>
            <p:cNvPr id="1332" name="Forma livre: Forma 1331">
              <a:extLst>
                <a:ext uri="{FF2B5EF4-FFF2-40B4-BE49-F238E27FC236}">
                  <a16:creationId xmlns:a16="http://schemas.microsoft.com/office/drawing/2014/main" id="{95A6023F-F62F-6545-7152-E8070C07F8A5}"/>
                </a:ext>
              </a:extLst>
            </p:cNvPr>
            <p:cNvSpPr/>
            <p:nvPr/>
          </p:nvSpPr>
          <p:spPr>
            <a:xfrm>
              <a:off x="11350468" y="4806813"/>
              <a:ext cx="7348" cy="11000"/>
            </a:xfrm>
            <a:custGeom>
              <a:avLst/>
              <a:gdLst>
                <a:gd name="connsiteX0" fmla="*/ 3651 w 7348"/>
                <a:gd name="connsiteY0" fmla="*/ 11000 h 11000"/>
                <a:gd name="connsiteX1" fmla="*/ 0 w 7348"/>
                <a:gd name="connsiteY1" fmla="*/ 8689 h 11000"/>
                <a:gd name="connsiteX2" fmla="*/ 3651 w 7348"/>
                <a:gd name="connsiteY2" fmla="*/ 0 h 11000"/>
                <a:gd name="connsiteX3" fmla="*/ 7349 w 7348"/>
                <a:gd name="connsiteY3" fmla="*/ 8828 h 11000"/>
                <a:gd name="connsiteX4" fmla="*/ 3651 w 7348"/>
                <a:gd name="connsiteY4" fmla="*/ 11000 h 11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348" h="11000">
                  <a:moveTo>
                    <a:pt x="3651" y="11000"/>
                  </a:moveTo>
                  <a:cubicBezTo>
                    <a:pt x="1525" y="11000"/>
                    <a:pt x="0" y="9752"/>
                    <a:pt x="0" y="8689"/>
                  </a:cubicBezTo>
                  <a:cubicBezTo>
                    <a:pt x="139" y="7441"/>
                    <a:pt x="1618" y="4021"/>
                    <a:pt x="3651" y="0"/>
                  </a:cubicBezTo>
                  <a:cubicBezTo>
                    <a:pt x="5731" y="4067"/>
                    <a:pt x="7210" y="7534"/>
                    <a:pt x="7349" y="8828"/>
                  </a:cubicBezTo>
                  <a:cubicBezTo>
                    <a:pt x="7349" y="9752"/>
                    <a:pt x="5778" y="11000"/>
                    <a:pt x="3651" y="11000"/>
                  </a:cubicBezTo>
                  <a:close/>
                </a:path>
              </a:pathLst>
            </a:custGeom>
            <a:solidFill>
              <a:srgbClr val="39434E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333" name="Gráfico 21">
              <a:extLst>
                <a:ext uri="{FF2B5EF4-FFF2-40B4-BE49-F238E27FC236}">
                  <a16:creationId xmlns:a16="http://schemas.microsoft.com/office/drawing/2014/main" id="{2122EDC9-AF30-261C-3D01-A98010104938}"/>
                </a:ext>
              </a:extLst>
            </p:cNvPr>
            <p:cNvGrpSpPr/>
            <p:nvPr/>
          </p:nvGrpSpPr>
          <p:grpSpPr>
            <a:xfrm>
              <a:off x="11267572" y="4759992"/>
              <a:ext cx="173094" cy="7626"/>
              <a:chOff x="11267572" y="4759992"/>
              <a:chExt cx="173094" cy="7626"/>
            </a:xfrm>
            <a:solidFill>
              <a:srgbClr val="39434E"/>
            </a:solidFill>
          </p:grpSpPr>
          <p:sp>
            <p:nvSpPr>
              <p:cNvPr id="1334" name="Forma livre: Forma 1333">
                <a:extLst>
                  <a:ext uri="{FF2B5EF4-FFF2-40B4-BE49-F238E27FC236}">
                    <a16:creationId xmlns:a16="http://schemas.microsoft.com/office/drawing/2014/main" id="{55F40BA3-9D23-7852-8EFA-82F5BB69EAB1}"/>
                  </a:ext>
                </a:extLst>
              </p:cNvPr>
              <p:cNvSpPr/>
              <p:nvPr/>
            </p:nvSpPr>
            <p:spPr>
              <a:xfrm>
                <a:off x="11267572" y="4759992"/>
                <a:ext cx="10237" cy="7626"/>
              </a:xfrm>
              <a:custGeom>
                <a:avLst/>
                <a:gdLst>
                  <a:gd name="connsiteX0" fmla="*/ 3767 w 10237"/>
                  <a:gd name="connsiteY0" fmla="*/ 7626 h 7626"/>
                  <a:gd name="connsiteX1" fmla="*/ 624 w 10237"/>
                  <a:gd name="connsiteY1" fmla="*/ 5361 h 7626"/>
                  <a:gd name="connsiteX2" fmla="*/ 69 w 10237"/>
                  <a:gd name="connsiteY2" fmla="*/ 2311 h 7626"/>
                  <a:gd name="connsiteX3" fmla="*/ 855 w 10237"/>
                  <a:gd name="connsiteY3" fmla="*/ 1017 h 7626"/>
                  <a:gd name="connsiteX4" fmla="*/ 10238 w 10237"/>
                  <a:gd name="connsiteY4" fmla="*/ 0 h 7626"/>
                  <a:gd name="connsiteX5" fmla="*/ 4275 w 10237"/>
                  <a:gd name="connsiteY5" fmla="*/ 7488 h 7626"/>
                  <a:gd name="connsiteX6" fmla="*/ 3721 w 10237"/>
                  <a:gd name="connsiteY6" fmla="*/ 7580 h 7626"/>
                  <a:gd name="connsiteX7" fmla="*/ 3721 w 10237"/>
                  <a:gd name="connsiteY7" fmla="*/ 7580 h 76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0237" h="7626">
                    <a:moveTo>
                      <a:pt x="3767" y="7626"/>
                    </a:moveTo>
                    <a:cubicBezTo>
                      <a:pt x="2843" y="7626"/>
                      <a:pt x="1456" y="6933"/>
                      <a:pt x="624" y="5361"/>
                    </a:cubicBezTo>
                    <a:cubicBezTo>
                      <a:pt x="69" y="4345"/>
                      <a:pt x="-116" y="3235"/>
                      <a:pt x="69" y="2311"/>
                    </a:cubicBezTo>
                    <a:cubicBezTo>
                      <a:pt x="162" y="1941"/>
                      <a:pt x="347" y="1340"/>
                      <a:pt x="855" y="1017"/>
                    </a:cubicBezTo>
                    <a:cubicBezTo>
                      <a:pt x="1502" y="739"/>
                      <a:pt x="4368" y="231"/>
                      <a:pt x="10238" y="0"/>
                    </a:cubicBezTo>
                    <a:cubicBezTo>
                      <a:pt x="7696" y="3744"/>
                      <a:pt x="5385" y="6748"/>
                      <a:pt x="4275" y="7488"/>
                    </a:cubicBezTo>
                    <a:cubicBezTo>
                      <a:pt x="4229" y="7488"/>
                      <a:pt x="3998" y="7580"/>
                      <a:pt x="3721" y="7580"/>
                    </a:cubicBezTo>
                    <a:lnTo>
                      <a:pt x="3721" y="7580"/>
                    </a:lnTo>
                    <a:close/>
                  </a:path>
                </a:pathLst>
              </a:custGeom>
              <a:solidFill>
                <a:srgbClr val="39434E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335" name="Forma livre: Forma 1334">
                <a:extLst>
                  <a:ext uri="{FF2B5EF4-FFF2-40B4-BE49-F238E27FC236}">
                    <a16:creationId xmlns:a16="http://schemas.microsoft.com/office/drawing/2014/main" id="{A3536C75-6FBD-4DBF-554C-C01D19AF7A80}"/>
                  </a:ext>
                </a:extLst>
              </p:cNvPr>
              <p:cNvSpPr/>
              <p:nvPr/>
            </p:nvSpPr>
            <p:spPr>
              <a:xfrm>
                <a:off x="11430429" y="4759992"/>
                <a:ext cx="10237" cy="7626"/>
              </a:xfrm>
              <a:custGeom>
                <a:avLst/>
                <a:gdLst>
                  <a:gd name="connsiteX0" fmla="*/ 6471 w 10237"/>
                  <a:gd name="connsiteY0" fmla="*/ 7626 h 7626"/>
                  <a:gd name="connsiteX1" fmla="*/ 9614 w 10237"/>
                  <a:gd name="connsiteY1" fmla="*/ 5361 h 7626"/>
                  <a:gd name="connsiteX2" fmla="*/ 10169 w 10237"/>
                  <a:gd name="connsiteY2" fmla="*/ 2311 h 7626"/>
                  <a:gd name="connsiteX3" fmla="*/ 9383 w 10237"/>
                  <a:gd name="connsiteY3" fmla="*/ 1017 h 7626"/>
                  <a:gd name="connsiteX4" fmla="*/ 0 w 10237"/>
                  <a:gd name="connsiteY4" fmla="*/ 0 h 7626"/>
                  <a:gd name="connsiteX5" fmla="*/ 5962 w 10237"/>
                  <a:gd name="connsiteY5" fmla="*/ 7488 h 7626"/>
                  <a:gd name="connsiteX6" fmla="*/ 6517 w 10237"/>
                  <a:gd name="connsiteY6" fmla="*/ 7580 h 7626"/>
                  <a:gd name="connsiteX7" fmla="*/ 6517 w 10237"/>
                  <a:gd name="connsiteY7" fmla="*/ 7580 h 76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0237" h="7626">
                    <a:moveTo>
                      <a:pt x="6471" y="7626"/>
                    </a:moveTo>
                    <a:cubicBezTo>
                      <a:pt x="7395" y="7626"/>
                      <a:pt x="8782" y="6933"/>
                      <a:pt x="9614" y="5361"/>
                    </a:cubicBezTo>
                    <a:cubicBezTo>
                      <a:pt x="10169" y="4345"/>
                      <a:pt x="10353" y="3235"/>
                      <a:pt x="10169" y="2311"/>
                    </a:cubicBezTo>
                    <a:cubicBezTo>
                      <a:pt x="10076" y="1941"/>
                      <a:pt x="9891" y="1340"/>
                      <a:pt x="9383" y="1017"/>
                    </a:cubicBezTo>
                    <a:cubicBezTo>
                      <a:pt x="8736" y="739"/>
                      <a:pt x="5870" y="231"/>
                      <a:pt x="0" y="0"/>
                    </a:cubicBezTo>
                    <a:cubicBezTo>
                      <a:pt x="2542" y="3744"/>
                      <a:pt x="4853" y="6748"/>
                      <a:pt x="5962" y="7488"/>
                    </a:cubicBezTo>
                    <a:cubicBezTo>
                      <a:pt x="6009" y="7488"/>
                      <a:pt x="6240" y="7580"/>
                      <a:pt x="6517" y="7580"/>
                    </a:cubicBezTo>
                    <a:lnTo>
                      <a:pt x="6517" y="7580"/>
                    </a:lnTo>
                    <a:close/>
                  </a:path>
                </a:pathLst>
              </a:custGeom>
              <a:solidFill>
                <a:srgbClr val="39434E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336" name="Gráfico 21">
              <a:extLst>
                <a:ext uri="{FF2B5EF4-FFF2-40B4-BE49-F238E27FC236}">
                  <a16:creationId xmlns:a16="http://schemas.microsoft.com/office/drawing/2014/main" id="{3730E9AF-AA27-94B6-B75E-7B8461219CFD}"/>
                </a:ext>
              </a:extLst>
            </p:cNvPr>
            <p:cNvGrpSpPr/>
            <p:nvPr/>
          </p:nvGrpSpPr>
          <p:grpSpPr>
            <a:xfrm>
              <a:off x="11303490" y="4790913"/>
              <a:ext cx="101257" cy="9986"/>
              <a:chOff x="11303490" y="4790913"/>
              <a:chExt cx="101257" cy="9986"/>
            </a:xfrm>
            <a:solidFill>
              <a:srgbClr val="39434E"/>
            </a:solidFill>
          </p:grpSpPr>
          <p:sp>
            <p:nvSpPr>
              <p:cNvPr id="1337" name="Forma livre: Forma 1336">
                <a:extLst>
                  <a:ext uri="{FF2B5EF4-FFF2-40B4-BE49-F238E27FC236}">
                    <a16:creationId xmlns:a16="http://schemas.microsoft.com/office/drawing/2014/main" id="{7F7BE503-71A2-12BC-67C5-8B9F316B589D}"/>
                  </a:ext>
                </a:extLst>
              </p:cNvPr>
              <p:cNvSpPr/>
              <p:nvPr/>
            </p:nvSpPr>
            <p:spPr>
              <a:xfrm>
                <a:off x="11303490" y="4790913"/>
                <a:ext cx="8013" cy="9986"/>
              </a:xfrm>
              <a:custGeom>
                <a:avLst/>
                <a:gdLst>
                  <a:gd name="connsiteX0" fmla="*/ 5888 w 8013"/>
                  <a:gd name="connsiteY0" fmla="*/ 9706 h 9986"/>
                  <a:gd name="connsiteX1" fmla="*/ 2052 w 8013"/>
                  <a:gd name="connsiteY1" fmla="*/ 9198 h 9986"/>
                  <a:gd name="connsiteX2" fmla="*/ 110 w 8013"/>
                  <a:gd name="connsiteY2" fmla="*/ 6748 h 9986"/>
                  <a:gd name="connsiteX3" fmla="*/ 203 w 8013"/>
                  <a:gd name="connsiteY3" fmla="*/ 5269 h 9986"/>
                  <a:gd name="connsiteX4" fmla="*/ 8014 w 8013"/>
                  <a:gd name="connsiteY4" fmla="*/ 0 h 9986"/>
                  <a:gd name="connsiteX5" fmla="*/ 6258 w 8013"/>
                  <a:gd name="connsiteY5" fmla="*/ 9429 h 9986"/>
                  <a:gd name="connsiteX6" fmla="*/ 5841 w 8013"/>
                  <a:gd name="connsiteY6" fmla="*/ 9752 h 9986"/>
                  <a:gd name="connsiteX7" fmla="*/ 5841 w 8013"/>
                  <a:gd name="connsiteY7" fmla="*/ 9752 h 99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8013" h="9986">
                    <a:moveTo>
                      <a:pt x="5888" y="9706"/>
                    </a:moveTo>
                    <a:cubicBezTo>
                      <a:pt x="5056" y="10122"/>
                      <a:pt x="3530" y="10169"/>
                      <a:pt x="2052" y="9198"/>
                    </a:cubicBezTo>
                    <a:cubicBezTo>
                      <a:pt x="1081" y="8551"/>
                      <a:pt x="388" y="7673"/>
                      <a:pt x="110" y="6748"/>
                    </a:cubicBezTo>
                    <a:cubicBezTo>
                      <a:pt x="18" y="6378"/>
                      <a:pt x="-121" y="5731"/>
                      <a:pt x="203" y="5269"/>
                    </a:cubicBezTo>
                    <a:cubicBezTo>
                      <a:pt x="665" y="4714"/>
                      <a:pt x="2930" y="2912"/>
                      <a:pt x="8014" y="0"/>
                    </a:cubicBezTo>
                    <a:cubicBezTo>
                      <a:pt x="7552" y="4530"/>
                      <a:pt x="6858" y="8227"/>
                      <a:pt x="6258" y="9429"/>
                    </a:cubicBezTo>
                    <a:cubicBezTo>
                      <a:pt x="6258" y="9475"/>
                      <a:pt x="6026" y="9614"/>
                      <a:pt x="5841" y="9752"/>
                    </a:cubicBezTo>
                    <a:lnTo>
                      <a:pt x="5841" y="9752"/>
                    </a:lnTo>
                    <a:close/>
                  </a:path>
                </a:pathLst>
              </a:custGeom>
              <a:solidFill>
                <a:srgbClr val="39434E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338" name="Forma livre: Forma 1337">
                <a:extLst>
                  <a:ext uri="{FF2B5EF4-FFF2-40B4-BE49-F238E27FC236}">
                    <a16:creationId xmlns:a16="http://schemas.microsoft.com/office/drawing/2014/main" id="{FA0949FA-4FCD-D3A4-3D5C-A9C2297F24B8}"/>
                  </a:ext>
                </a:extLst>
              </p:cNvPr>
              <p:cNvSpPr/>
              <p:nvPr/>
            </p:nvSpPr>
            <p:spPr>
              <a:xfrm>
                <a:off x="11396734" y="4790913"/>
                <a:ext cx="8013" cy="9986"/>
              </a:xfrm>
              <a:custGeom>
                <a:avLst/>
                <a:gdLst>
                  <a:gd name="connsiteX0" fmla="*/ 2126 w 8013"/>
                  <a:gd name="connsiteY0" fmla="*/ 9706 h 9986"/>
                  <a:gd name="connsiteX1" fmla="*/ 5962 w 8013"/>
                  <a:gd name="connsiteY1" fmla="*/ 9198 h 9986"/>
                  <a:gd name="connsiteX2" fmla="*/ 7904 w 8013"/>
                  <a:gd name="connsiteY2" fmla="*/ 6748 h 9986"/>
                  <a:gd name="connsiteX3" fmla="*/ 7811 w 8013"/>
                  <a:gd name="connsiteY3" fmla="*/ 5269 h 9986"/>
                  <a:gd name="connsiteX4" fmla="*/ 0 w 8013"/>
                  <a:gd name="connsiteY4" fmla="*/ 0 h 9986"/>
                  <a:gd name="connsiteX5" fmla="*/ 1756 w 8013"/>
                  <a:gd name="connsiteY5" fmla="*/ 9429 h 9986"/>
                  <a:gd name="connsiteX6" fmla="*/ 2172 w 8013"/>
                  <a:gd name="connsiteY6" fmla="*/ 9752 h 9986"/>
                  <a:gd name="connsiteX7" fmla="*/ 2172 w 8013"/>
                  <a:gd name="connsiteY7" fmla="*/ 9752 h 99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8013" h="9986">
                    <a:moveTo>
                      <a:pt x="2126" y="9706"/>
                    </a:moveTo>
                    <a:cubicBezTo>
                      <a:pt x="2912" y="10122"/>
                      <a:pt x="4483" y="10169"/>
                      <a:pt x="5962" y="9198"/>
                    </a:cubicBezTo>
                    <a:cubicBezTo>
                      <a:pt x="6933" y="8551"/>
                      <a:pt x="7626" y="7673"/>
                      <a:pt x="7904" y="6748"/>
                    </a:cubicBezTo>
                    <a:cubicBezTo>
                      <a:pt x="7996" y="6378"/>
                      <a:pt x="8135" y="5731"/>
                      <a:pt x="7811" y="5269"/>
                    </a:cubicBezTo>
                    <a:cubicBezTo>
                      <a:pt x="7349" y="4714"/>
                      <a:pt x="5084" y="2912"/>
                      <a:pt x="0" y="0"/>
                    </a:cubicBezTo>
                    <a:cubicBezTo>
                      <a:pt x="462" y="4530"/>
                      <a:pt x="1156" y="8227"/>
                      <a:pt x="1756" y="9429"/>
                    </a:cubicBezTo>
                    <a:cubicBezTo>
                      <a:pt x="1756" y="9475"/>
                      <a:pt x="1941" y="9614"/>
                      <a:pt x="2172" y="9752"/>
                    </a:cubicBezTo>
                    <a:lnTo>
                      <a:pt x="2172" y="9752"/>
                    </a:lnTo>
                    <a:close/>
                  </a:path>
                </a:pathLst>
              </a:custGeom>
              <a:solidFill>
                <a:srgbClr val="39434E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339" name="Forma livre: Forma 1338">
              <a:extLst>
                <a:ext uri="{FF2B5EF4-FFF2-40B4-BE49-F238E27FC236}">
                  <a16:creationId xmlns:a16="http://schemas.microsoft.com/office/drawing/2014/main" id="{00D24D3D-BC3C-2399-9D39-076B342B0B17}"/>
                </a:ext>
              </a:extLst>
            </p:cNvPr>
            <p:cNvSpPr/>
            <p:nvPr/>
          </p:nvSpPr>
          <p:spPr>
            <a:xfrm>
              <a:off x="11182642" y="4719688"/>
              <a:ext cx="342815" cy="171384"/>
            </a:xfrm>
            <a:custGeom>
              <a:avLst/>
              <a:gdLst>
                <a:gd name="connsiteX0" fmla="*/ 46 w 342815"/>
                <a:gd name="connsiteY0" fmla="*/ 0 h 171384"/>
                <a:gd name="connsiteX1" fmla="*/ 171431 w 342815"/>
                <a:gd name="connsiteY1" fmla="*/ 171384 h 171384"/>
                <a:gd name="connsiteX2" fmla="*/ 342815 w 342815"/>
                <a:gd name="connsiteY2" fmla="*/ 0 h 171384"/>
                <a:gd name="connsiteX3" fmla="*/ 0 w 342815"/>
                <a:gd name="connsiteY3" fmla="*/ 0 h 1713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42815" h="171384">
                  <a:moveTo>
                    <a:pt x="46" y="0"/>
                  </a:moveTo>
                  <a:cubicBezTo>
                    <a:pt x="46" y="94659"/>
                    <a:pt x="76772" y="171384"/>
                    <a:pt x="171431" y="171384"/>
                  </a:cubicBezTo>
                  <a:cubicBezTo>
                    <a:pt x="266090" y="171384"/>
                    <a:pt x="342815" y="94659"/>
                    <a:pt x="342815" y="0"/>
                  </a:cubicBezTo>
                  <a:lnTo>
                    <a:pt x="0" y="0"/>
                  </a:ln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340" name="Forma livre: Forma 1339">
              <a:extLst>
                <a:ext uri="{FF2B5EF4-FFF2-40B4-BE49-F238E27FC236}">
                  <a16:creationId xmlns:a16="http://schemas.microsoft.com/office/drawing/2014/main" id="{B4CF3F5D-11B8-DC51-F7F2-B7047ECCAC07}"/>
                </a:ext>
              </a:extLst>
            </p:cNvPr>
            <p:cNvSpPr/>
            <p:nvPr/>
          </p:nvSpPr>
          <p:spPr>
            <a:xfrm>
              <a:off x="11215089" y="4719688"/>
              <a:ext cx="278060" cy="139030"/>
            </a:xfrm>
            <a:custGeom>
              <a:avLst/>
              <a:gdLst>
                <a:gd name="connsiteX0" fmla="*/ 278061 w 278060"/>
                <a:gd name="connsiteY0" fmla="*/ 0 h 139030"/>
                <a:gd name="connsiteX1" fmla="*/ 139030 w 278060"/>
                <a:gd name="connsiteY1" fmla="*/ 139030 h 139030"/>
                <a:gd name="connsiteX2" fmla="*/ 0 w 278060"/>
                <a:gd name="connsiteY2" fmla="*/ 0 h 1390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78060" h="139030">
                  <a:moveTo>
                    <a:pt x="278061" y="0"/>
                  </a:moveTo>
                  <a:cubicBezTo>
                    <a:pt x="278061" y="76679"/>
                    <a:pt x="215664" y="139030"/>
                    <a:pt x="139030" y="139030"/>
                  </a:cubicBezTo>
                  <a:cubicBezTo>
                    <a:pt x="62397" y="139030"/>
                    <a:pt x="0" y="76633"/>
                    <a:pt x="0" y="0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341" name="Gráfico 21">
            <a:extLst>
              <a:ext uri="{FF2B5EF4-FFF2-40B4-BE49-F238E27FC236}">
                <a16:creationId xmlns:a16="http://schemas.microsoft.com/office/drawing/2014/main" id="{D2F47B9C-D520-9733-3197-2A5E1142C988}"/>
              </a:ext>
            </a:extLst>
          </p:cNvPr>
          <p:cNvGrpSpPr/>
          <p:nvPr/>
        </p:nvGrpSpPr>
        <p:grpSpPr>
          <a:xfrm>
            <a:off x="11192441" y="5662765"/>
            <a:ext cx="323356" cy="325112"/>
            <a:chOff x="11192441" y="5662765"/>
            <a:chExt cx="323356" cy="325112"/>
          </a:xfrm>
          <a:noFill/>
        </p:grpSpPr>
        <p:sp>
          <p:nvSpPr>
            <p:cNvPr id="1342" name="Forma livre: Forma 1341">
              <a:extLst>
                <a:ext uri="{FF2B5EF4-FFF2-40B4-BE49-F238E27FC236}">
                  <a16:creationId xmlns:a16="http://schemas.microsoft.com/office/drawing/2014/main" id="{5408381E-3208-0123-E5BD-B26E15FF9153}"/>
                </a:ext>
              </a:extLst>
            </p:cNvPr>
            <p:cNvSpPr/>
            <p:nvPr/>
          </p:nvSpPr>
          <p:spPr>
            <a:xfrm>
              <a:off x="11425576" y="5690405"/>
              <a:ext cx="66926" cy="91793"/>
            </a:xfrm>
            <a:custGeom>
              <a:avLst/>
              <a:gdLst>
                <a:gd name="connsiteX0" fmla="*/ 9105 w 66926"/>
                <a:gd name="connsiteY0" fmla="*/ 91793 h 91793"/>
                <a:gd name="connsiteX1" fmla="*/ 66927 w 66926"/>
                <a:gd name="connsiteY1" fmla="*/ 33463 h 91793"/>
                <a:gd name="connsiteX2" fmla="*/ 34018 w 66926"/>
                <a:gd name="connsiteY2" fmla="*/ 0 h 91793"/>
                <a:gd name="connsiteX3" fmla="*/ 0 w 66926"/>
                <a:gd name="connsiteY3" fmla="*/ 31060 h 917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6926" h="91793">
                  <a:moveTo>
                    <a:pt x="9105" y="91793"/>
                  </a:moveTo>
                  <a:cubicBezTo>
                    <a:pt x="29119" y="73814"/>
                    <a:pt x="45573" y="56065"/>
                    <a:pt x="66927" y="33463"/>
                  </a:cubicBezTo>
                  <a:lnTo>
                    <a:pt x="34018" y="0"/>
                  </a:lnTo>
                  <a:cubicBezTo>
                    <a:pt x="34018" y="0"/>
                    <a:pt x="22694" y="9891"/>
                    <a:pt x="0" y="31060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343" name="Forma livre: Forma 1342">
              <a:extLst>
                <a:ext uri="{FF2B5EF4-FFF2-40B4-BE49-F238E27FC236}">
                  <a16:creationId xmlns:a16="http://schemas.microsoft.com/office/drawing/2014/main" id="{362A4709-BC85-392C-28F6-A525D2B85C10}"/>
                </a:ext>
              </a:extLst>
            </p:cNvPr>
            <p:cNvSpPr/>
            <p:nvPr/>
          </p:nvSpPr>
          <p:spPr>
            <a:xfrm>
              <a:off x="11225246" y="5662765"/>
              <a:ext cx="290551" cy="292122"/>
            </a:xfrm>
            <a:custGeom>
              <a:avLst/>
              <a:gdLst>
                <a:gd name="connsiteX0" fmla="*/ 168807 w 290551"/>
                <a:gd name="connsiteY0" fmla="*/ 103718 h 292122"/>
                <a:gd name="connsiteX1" fmla="*/ 172459 w 290551"/>
                <a:gd name="connsiteY1" fmla="*/ 0 h 292122"/>
                <a:gd name="connsiteX2" fmla="*/ 127301 w 290551"/>
                <a:gd name="connsiteY2" fmla="*/ 1109 h 292122"/>
                <a:gd name="connsiteX3" fmla="*/ 81497 w 290551"/>
                <a:gd name="connsiteY3" fmla="*/ 160430 h 292122"/>
                <a:gd name="connsiteX4" fmla="*/ 10965 w 290551"/>
                <a:gd name="connsiteY4" fmla="*/ 230962 h 292122"/>
                <a:gd name="connsiteX5" fmla="*/ 10087 w 290551"/>
                <a:gd name="connsiteY5" fmla="*/ 282036 h 292122"/>
                <a:gd name="connsiteX6" fmla="*/ 61160 w 290551"/>
                <a:gd name="connsiteY6" fmla="*/ 281158 h 292122"/>
                <a:gd name="connsiteX7" fmla="*/ 131692 w 290551"/>
                <a:gd name="connsiteY7" fmla="*/ 210625 h 292122"/>
                <a:gd name="connsiteX8" fmla="*/ 290551 w 290551"/>
                <a:gd name="connsiteY8" fmla="*/ 164313 h 292122"/>
                <a:gd name="connsiteX9" fmla="*/ 290089 w 290551"/>
                <a:gd name="connsiteY9" fmla="*/ 122576 h 292122"/>
                <a:gd name="connsiteX10" fmla="*/ 131600 w 290551"/>
                <a:gd name="connsiteY10" fmla="*/ 144762 h 2921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90551" h="292122">
                  <a:moveTo>
                    <a:pt x="168807" y="103718"/>
                  </a:moveTo>
                  <a:cubicBezTo>
                    <a:pt x="177450" y="76679"/>
                    <a:pt x="185446" y="36144"/>
                    <a:pt x="172459" y="0"/>
                  </a:cubicBezTo>
                  <a:lnTo>
                    <a:pt x="127301" y="1109"/>
                  </a:lnTo>
                  <a:cubicBezTo>
                    <a:pt x="127301" y="1109"/>
                    <a:pt x="133033" y="108941"/>
                    <a:pt x="81497" y="160430"/>
                  </a:cubicBezTo>
                  <a:lnTo>
                    <a:pt x="10965" y="230962"/>
                  </a:lnTo>
                  <a:cubicBezTo>
                    <a:pt x="-3317" y="245244"/>
                    <a:pt x="-3687" y="268216"/>
                    <a:pt x="10087" y="282036"/>
                  </a:cubicBezTo>
                  <a:cubicBezTo>
                    <a:pt x="23907" y="295809"/>
                    <a:pt x="46878" y="295440"/>
                    <a:pt x="61160" y="281158"/>
                  </a:cubicBezTo>
                  <a:lnTo>
                    <a:pt x="131692" y="210625"/>
                  </a:lnTo>
                  <a:cubicBezTo>
                    <a:pt x="183182" y="159136"/>
                    <a:pt x="290551" y="164313"/>
                    <a:pt x="290551" y="164313"/>
                  </a:cubicBezTo>
                  <a:lnTo>
                    <a:pt x="290089" y="122576"/>
                  </a:lnTo>
                  <a:cubicBezTo>
                    <a:pt x="233654" y="97155"/>
                    <a:pt x="131600" y="144762"/>
                    <a:pt x="131600" y="144762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344" name="Forma livre: Forma 1343">
              <a:extLst>
                <a:ext uri="{FF2B5EF4-FFF2-40B4-BE49-F238E27FC236}">
                  <a16:creationId xmlns:a16="http://schemas.microsoft.com/office/drawing/2014/main" id="{8FC53CCB-1CD0-5C71-3AEF-0D886130A7CE}"/>
                </a:ext>
              </a:extLst>
            </p:cNvPr>
            <p:cNvSpPr/>
            <p:nvPr/>
          </p:nvSpPr>
          <p:spPr>
            <a:xfrm>
              <a:off x="11211900" y="5945124"/>
              <a:ext cx="23294" cy="23294"/>
            </a:xfrm>
            <a:custGeom>
              <a:avLst/>
              <a:gdLst>
                <a:gd name="connsiteX0" fmla="*/ 23295 w 23294"/>
                <a:gd name="connsiteY0" fmla="*/ 0 h 23294"/>
                <a:gd name="connsiteX1" fmla="*/ 0 w 23294"/>
                <a:gd name="connsiteY1" fmla="*/ 23295 h 232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3294" h="23294">
                  <a:moveTo>
                    <a:pt x="23295" y="0"/>
                  </a:moveTo>
                  <a:lnTo>
                    <a:pt x="0" y="23295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345" name="Gráfico 21">
              <a:extLst>
                <a:ext uri="{FF2B5EF4-FFF2-40B4-BE49-F238E27FC236}">
                  <a16:creationId xmlns:a16="http://schemas.microsoft.com/office/drawing/2014/main" id="{CD154F3C-7757-D868-107A-FB9BCE38F3C2}"/>
                </a:ext>
              </a:extLst>
            </p:cNvPr>
            <p:cNvGrpSpPr/>
            <p:nvPr/>
          </p:nvGrpSpPr>
          <p:grpSpPr>
            <a:xfrm>
              <a:off x="11192441" y="5927653"/>
              <a:ext cx="60224" cy="60224"/>
              <a:chOff x="11192441" y="5927653"/>
              <a:chExt cx="60224" cy="60224"/>
            </a:xfrm>
          </p:grpSpPr>
          <p:sp>
            <p:nvSpPr>
              <p:cNvPr id="1346" name="Forma livre: Forma 1345">
                <a:extLst>
                  <a:ext uri="{FF2B5EF4-FFF2-40B4-BE49-F238E27FC236}">
                    <a16:creationId xmlns:a16="http://schemas.microsoft.com/office/drawing/2014/main" id="{BBC6EC07-AF15-C8AD-E32F-584F30B24A98}"/>
                  </a:ext>
                </a:extLst>
              </p:cNvPr>
              <p:cNvSpPr/>
              <p:nvPr/>
            </p:nvSpPr>
            <p:spPr>
              <a:xfrm>
                <a:off x="11192441" y="5927653"/>
                <a:ext cx="33093" cy="14651"/>
              </a:xfrm>
              <a:custGeom>
                <a:avLst/>
                <a:gdLst>
                  <a:gd name="connsiteX0" fmla="*/ 33094 w 33093"/>
                  <a:gd name="connsiteY0" fmla="*/ 0 h 14651"/>
                  <a:gd name="connsiteX1" fmla="*/ 0 w 33093"/>
                  <a:gd name="connsiteY1" fmla="*/ 14652 h 146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3093" h="14651">
                    <a:moveTo>
                      <a:pt x="33094" y="0"/>
                    </a:moveTo>
                    <a:lnTo>
                      <a:pt x="0" y="14652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347" name="Forma livre: Forma 1346">
                <a:extLst>
                  <a:ext uri="{FF2B5EF4-FFF2-40B4-BE49-F238E27FC236}">
                    <a16:creationId xmlns:a16="http://schemas.microsoft.com/office/drawing/2014/main" id="{3A1F7B0C-B478-57F7-EA7D-500A0641A7C0}"/>
                  </a:ext>
                </a:extLst>
              </p:cNvPr>
              <p:cNvSpPr/>
              <p:nvPr/>
            </p:nvSpPr>
            <p:spPr>
              <a:xfrm>
                <a:off x="11238014" y="5954784"/>
                <a:ext cx="14651" cy="33093"/>
              </a:xfrm>
              <a:custGeom>
                <a:avLst/>
                <a:gdLst>
                  <a:gd name="connsiteX0" fmla="*/ 14652 w 14651"/>
                  <a:gd name="connsiteY0" fmla="*/ 0 h 33093"/>
                  <a:gd name="connsiteX1" fmla="*/ 0 w 14651"/>
                  <a:gd name="connsiteY1" fmla="*/ 33094 h 330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4651" h="33093">
                    <a:moveTo>
                      <a:pt x="14652" y="0"/>
                    </a:moveTo>
                    <a:lnTo>
                      <a:pt x="0" y="33094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348" name="Gráfico 21">
            <a:extLst>
              <a:ext uri="{FF2B5EF4-FFF2-40B4-BE49-F238E27FC236}">
                <a16:creationId xmlns:a16="http://schemas.microsoft.com/office/drawing/2014/main" id="{8AAF5A69-9AD5-6245-8E5B-B5357860165F}"/>
              </a:ext>
            </a:extLst>
          </p:cNvPr>
          <p:cNvGrpSpPr/>
          <p:nvPr/>
        </p:nvGrpSpPr>
        <p:grpSpPr>
          <a:xfrm>
            <a:off x="11193221" y="5183600"/>
            <a:ext cx="321744" cy="263541"/>
            <a:chOff x="11193221" y="5183600"/>
            <a:chExt cx="321744" cy="263541"/>
          </a:xfrm>
          <a:noFill/>
        </p:grpSpPr>
        <p:sp>
          <p:nvSpPr>
            <p:cNvPr id="1349" name="Forma livre: Forma 1348">
              <a:extLst>
                <a:ext uri="{FF2B5EF4-FFF2-40B4-BE49-F238E27FC236}">
                  <a16:creationId xmlns:a16="http://schemas.microsoft.com/office/drawing/2014/main" id="{BC547009-D275-F8D1-C090-337187AE6E8D}"/>
                </a:ext>
              </a:extLst>
            </p:cNvPr>
            <p:cNvSpPr/>
            <p:nvPr/>
          </p:nvSpPr>
          <p:spPr>
            <a:xfrm>
              <a:off x="11193221" y="5286565"/>
              <a:ext cx="124707" cy="138205"/>
            </a:xfrm>
            <a:custGeom>
              <a:avLst/>
              <a:gdLst>
                <a:gd name="connsiteX0" fmla="*/ 124708 w 124707"/>
                <a:gd name="connsiteY0" fmla="*/ 6254 h 138205"/>
                <a:gd name="connsiteX1" fmla="*/ 42112 w 124707"/>
                <a:gd name="connsiteY1" fmla="*/ 26036 h 138205"/>
                <a:gd name="connsiteX2" fmla="*/ 6430 w 124707"/>
                <a:gd name="connsiteY2" fmla="*/ 121018 h 138205"/>
                <a:gd name="connsiteX3" fmla="*/ 6430 w 124707"/>
                <a:gd name="connsiteY3" fmla="*/ 121018 h 138205"/>
                <a:gd name="connsiteX4" fmla="*/ 6569 w 124707"/>
                <a:gd name="connsiteY4" fmla="*/ 121250 h 138205"/>
                <a:gd name="connsiteX5" fmla="*/ 6708 w 124707"/>
                <a:gd name="connsiteY5" fmla="*/ 121481 h 138205"/>
                <a:gd name="connsiteX6" fmla="*/ 6708 w 124707"/>
                <a:gd name="connsiteY6" fmla="*/ 121481 h 138205"/>
                <a:gd name="connsiteX7" fmla="*/ 108161 w 124707"/>
                <a:gd name="connsiteY7" fmla="*/ 119262 h 138205"/>
                <a:gd name="connsiteX8" fmla="*/ 124430 w 124707"/>
                <a:gd name="connsiteY8" fmla="*/ 108077 h 1382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24707" h="138205">
                  <a:moveTo>
                    <a:pt x="124708" y="6254"/>
                  </a:moveTo>
                  <a:cubicBezTo>
                    <a:pt x="100257" y="-7705"/>
                    <a:pt x="69937" y="2926"/>
                    <a:pt x="42112" y="26036"/>
                  </a:cubicBezTo>
                  <a:cubicBezTo>
                    <a:pt x="5367" y="56587"/>
                    <a:pt x="-9701" y="97585"/>
                    <a:pt x="6430" y="121018"/>
                  </a:cubicBezTo>
                  <a:lnTo>
                    <a:pt x="6430" y="121018"/>
                  </a:lnTo>
                  <a:cubicBezTo>
                    <a:pt x="6430" y="121018"/>
                    <a:pt x="6523" y="121157"/>
                    <a:pt x="6569" y="121250"/>
                  </a:cubicBezTo>
                  <a:cubicBezTo>
                    <a:pt x="6615" y="121296"/>
                    <a:pt x="6661" y="121388"/>
                    <a:pt x="6708" y="121481"/>
                  </a:cubicBezTo>
                  <a:lnTo>
                    <a:pt x="6708" y="121481"/>
                  </a:lnTo>
                  <a:cubicBezTo>
                    <a:pt x="23486" y="144452"/>
                    <a:pt x="67164" y="143805"/>
                    <a:pt x="108161" y="119262"/>
                  </a:cubicBezTo>
                  <a:cubicBezTo>
                    <a:pt x="114031" y="115749"/>
                    <a:pt x="119485" y="112006"/>
                    <a:pt x="124430" y="108077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350" name="Forma livre: Forma 1349">
              <a:extLst>
                <a:ext uri="{FF2B5EF4-FFF2-40B4-BE49-F238E27FC236}">
                  <a16:creationId xmlns:a16="http://schemas.microsoft.com/office/drawing/2014/main" id="{B2ED9B55-CF1F-FAF5-581E-DBABD0A9CBA7}"/>
                </a:ext>
              </a:extLst>
            </p:cNvPr>
            <p:cNvSpPr/>
            <p:nvPr/>
          </p:nvSpPr>
          <p:spPr>
            <a:xfrm>
              <a:off x="11256271" y="5314714"/>
              <a:ext cx="42476" cy="19194"/>
            </a:xfrm>
            <a:custGeom>
              <a:avLst/>
              <a:gdLst>
                <a:gd name="connsiteX0" fmla="*/ 42476 w 42476"/>
                <a:gd name="connsiteY0" fmla="*/ 59 h 19194"/>
                <a:gd name="connsiteX1" fmla="*/ 0 w 42476"/>
                <a:gd name="connsiteY1" fmla="*/ 19194 h 191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2476" h="19194">
                  <a:moveTo>
                    <a:pt x="42476" y="59"/>
                  </a:moveTo>
                  <a:cubicBezTo>
                    <a:pt x="42476" y="59"/>
                    <a:pt x="24589" y="-2067"/>
                    <a:pt x="0" y="19194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351" name="Forma livre: Forma 1350">
              <a:extLst>
                <a:ext uri="{FF2B5EF4-FFF2-40B4-BE49-F238E27FC236}">
                  <a16:creationId xmlns:a16="http://schemas.microsoft.com/office/drawing/2014/main" id="{57B06EDB-E679-8F83-F408-769029EA98CB}"/>
                </a:ext>
              </a:extLst>
            </p:cNvPr>
            <p:cNvSpPr/>
            <p:nvPr/>
          </p:nvSpPr>
          <p:spPr>
            <a:xfrm>
              <a:off x="11328118" y="5281325"/>
              <a:ext cx="120559" cy="165816"/>
            </a:xfrm>
            <a:custGeom>
              <a:avLst/>
              <a:gdLst>
                <a:gd name="connsiteX0" fmla="*/ 41762 w 120559"/>
                <a:gd name="connsiteY0" fmla="*/ 2157 h 165816"/>
                <a:gd name="connsiteX1" fmla="*/ 41762 w 120559"/>
                <a:gd name="connsiteY1" fmla="*/ 2157 h 165816"/>
                <a:gd name="connsiteX2" fmla="*/ 41531 w 120559"/>
                <a:gd name="connsiteY2" fmla="*/ 2203 h 165816"/>
                <a:gd name="connsiteX3" fmla="*/ 41300 w 120559"/>
                <a:gd name="connsiteY3" fmla="*/ 2250 h 165816"/>
                <a:gd name="connsiteX4" fmla="*/ 41300 w 120559"/>
                <a:gd name="connsiteY4" fmla="*/ 2250 h 165816"/>
                <a:gd name="connsiteX5" fmla="*/ 7698 w 120559"/>
                <a:gd name="connsiteY5" fmla="*/ 98018 h 165816"/>
                <a:gd name="connsiteX6" fmla="*/ 84053 w 120559"/>
                <a:gd name="connsiteY6" fmla="*/ 164806 h 165816"/>
                <a:gd name="connsiteX7" fmla="*/ 84053 w 120559"/>
                <a:gd name="connsiteY7" fmla="*/ 164806 h 165816"/>
                <a:gd name="connsiteX8" fmla="*/ 84285 w 120559"/>
                <a:gd name="connsiteY8" fmla="*/ 164806 h 165816"/>
                <a:gd name="connsiteX9" fmla="*/ 84516 w 120559"/>
                <a:gd name="connsiteY9" fmla="*/ 164806 h 165816"/>
                <a:gd name="connsiteX10" fmla="*/ 84516 w 120559"/>
                <a:gd name="connsiteY10" fmla="*/ 164806 h 165816"/>
                <a:gd name="connsiteX11" fmla="*/ 118118 w 120559"/>
                <a:gd name="connsiteY11" fmla="*/ 69038 h 165816"/>
                <a:gd name="connsiteX12" fmla="*/ 41762 w 120559"/>
                <a:gd name="connsiteY12" fmla="*/ 2203 h 1658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20559" h="165816">
                  <a:moveTo>
                    <a:pt x="41762" y="2157"/>
                  </a:moveTo>
                  <a:lnTo>
                    <a:pt x="41762" y="2157"/>
                  </a:lnTo>
                  <a:cubicBezTo>
                    <a:pt x="41762" y="2157"/>
                    <a:pt x="41623" y="2157"/>
                    <a:pt x="41531" y="2203"/>
                  </a:cubicBezTo>
                  <a:cubicBezTo>
                    <a:pt x="41438" y="2203"/>
                    <a:pt x="41392" y="2203"/>
                    <a:pt x="41300" y="2250"/>
                  </a:cubicBezTo>
                  <a:lnTo>
                    <a:pt x="41300" y="2250"/>
                  </a:lnTo>
                  <a:cubicBezTo>
                    <a:pt x="-2101" y="13990"/>
                    <a:pt x="-7509" y="54340"/>
                    <a:pt x="7698" y="98018"/>
                  </a:cubicBezTo>
                  <a:cubicBezTo>
                    <a:pt x="23366" y="143129"/>
                    <a:pt x="56414" y="171647"/>
                    <a:pt x="84053" y="164806"/>
                  </a:cubicBezTo>
                  <a:lnTo>
                    <a:pt x="84053" y="164806"/>
                  </a:lnTo>
                  <a:cubicBezTo>
                    <a:pt x="84053" y="164806"/>
                    <a:pt x="84192" y="164806"/>
                    <a:pt x="84285" y="164806"/>
                  </a:cubicBezTo>
                  <a:cubicBezTo>
                    <a:pt x="84377" y="164806"/>
                    <a:pt x="84469" y="164806"/>
                    <a:pt x="84516" y="164806"/>
                  </a:cubicBezTo>
                  <a:lnTo>
                    <a:pt x="84516" y="164806"/>
                  </a:lnTo>
                  <a:cubicBezTo>
                    <a:pt x="111924" y="157134"/>
                    <a:pt x="126715" y="116044"/>
                    <a:pt x="118118" y="69038"/>
                  </a:cubicBezTo>
                  <a:cubicBezTo>
                    <a:pt x="109844" y="23511"/>
                    <a:pt x="85255" y="-8936"/>
                    <a:pt x="41762" y="2203"/>
                  </a:cubicBez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352" name="Forma livre: Forma 1351">
              <a:extLst>
                <a:ext uri="{FF2B5EF4-FFF2-40B4-BE49-F238E27FC236}">
                  <a16:creationId xmlns:a16="http://schemas.microsoft.com/office/drawing/2014/main" id="{87417A87-B9C1-35D6-98F9-C585C7E462CE}"/>
                </a:ext>
              </a:extLst>
            </p:cNvPr>
            <p:cNvSpPr/>
            <p:nvPr/>
          </p:nvSpPr>
          <p:spPr>
            <a:xfrm>
              <a:off x="11357146" y="5320689"/>
              <a:ext cx="5893" cy="46497"/>
            </a:xfrm>
            <a:custGeom>
              <a:avLst/>
              <a:gdLst>
                <a:gd name="connsiteX0" fmla="*/ 2936 w 5893"/>
                <a:gd name="connsiteY0" fmla="*/ 0 h 46497"/>
                <a:gd name="connsiteX1" fmla="*/ 5894 w 5893"/>
                <a:gd name="connsiteY1" fmla="*/ 46498 h 464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893" h="46497">
                  <a:moveTo>
                    <a:pt x="2936" y="0"/>
                  </a:moveTo>
                  <a:cubicBezTo>
                    <a:pt x="2936" y="0"/>
                    <a:pt x="-5338" y="16038"/>
                    <a:pt x="5894" y="46498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353" name="Forma livre: Forma 1352">
              <a:extLst>
                <a:ext uri="{FF2B5EF4-FFF2-40B4-BE49-F238E27FC236}">
                  <a16:creationId xmlns:a16="http://schemas.microsoft.com/office/drawing/2014/main" id="{AFFE28E8-91C8-317D-2BA3-C14F6535189B}"/>
                </a:ext>
              </a:extLst>
            </p:cNvPr>
            <p:cNvSpPr/>
            <p:nvPr/>
          </p:nvSpPr>
          <p:spPr>
            <a:xfrm>
              <a:off x="11360132" y="5183600"/>
              <a:ext cx="10580" cy="99512"/>
            </a:xfrm>
            <a:custGeom>
              <a:avLst/>
              <a:gdLst>
                <a:gd name="connsiteX0" fmla="*/ 6004 w 10580"/>
                <a:gd name="connsiteY0" fmla="*/ 99512 h 99512"/>
                <a:gd name="connsiteX1" fmla="*/ 10580 w 10580"/>
                <a:gd name="connsiteY1" fmla="*/ 0 h 995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580" h="99512">
                  <a:moveTo>
                    <a:pt x="6004" y="99512"/>
                  </a:moveTo>
                  <a:cubicBezTo>
                    <a:pt x="6004" y="99512"/>
                    <a:pt x="-10173" y="34804"/>
                    <a:pt x="10580" y="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354" name="Forma livre: Forma 1353">
              <a:extLst>
                <a:ext uri="{FF2B5EF4-FFF2-40B4-BE49-F238E27FC236}">
                  <a16:creationId xmlns:a16="http://schemas.microsoft.com/office/drawing/2014/main" id="{C34DBBEA-9C9C-3A12-8924-A63FD73FAB97}"/>
                </a:ext>
              </a:extLst>
            </p:cNvPr>
            <p:cNvSpPr/>
            <p:nvPr/>
          </p:nvSpPr>
          <p:spPr>
            <a:xfrm>
              <a:off x="11204088" y="5194536"/>
              <a:ext cx="130109" cy="41681"/>
            </a:xfrm>
            <a:custGeom>
              <a:avLst/>
              <a:gdLst>
                <a:gd name="connsiteX0" fmla="*/ 0 w 130109"/>
                <a:gd name="connsiteY0" fmla="*/ 2422 h 41681"/>
                <a:gd name="connsiteX1" fmla="*/ 60687 w 130109"/>
                <a:gd name="connsiteY1" fmla="*/ 36209 h 41681"/>
                <a:gd name="connsiteX2" fmla="*/ 130110 w 130109"/>
                <a:gd name="connsiteY2" fmla="*/ 39260 h 41681"/>
                <a:gd name="connsiteX3" fmla="*/ 69423 w 130109"/>
                <a:gd name="connsiteY3" fmla="*/ 5473 h 41681"/>
                <a:gd name="connsiteX4" fmla="*/ 0 w 130109"/>
                <a:gd name="connsiteY4" fmla="*/ 2422 h 416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0109" h="41681">
                  <a:moveTo>
                    <a:pt x="0" y="2422"/>
                  </a:moveTo>
                  <a:cubicBezTo>
                    <a:pt x="0" y="2422"/>
                    <a:pt x="24774" y="26041"/>
                    <a:pt x="60687" y="36209"/>
                  </a:cubicBezTo>
                  <a:cubicBezTo>
                    <a:pt x="96600" y="46377"/>
                    <a:pt x="130110" y="39260"/>
                    <a:pt x="130110" y="39260"/>
                  </a:cubicBezTo>
                  <a:cubicBezTo>
                    <a:pt x="130110" y="39260"/>
                    <a:pt x="105336" y="15641"/>
                    <a:pt x="69423" y="5473"/>
                  </a:cubicBezTo>
                  <a:cubicBezTo>
                    <a:pt x="33510" y="-4696"/>
                    <a:pt x="0" y="2422"/>
                    <a:pt x="0" y="2422"/>
                  </a:cubicBez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355" name="Forma livre: Forma 1354">
              <a:extLst>
                <a:ext uri="{FF2B5EF4-FFF2-40B4-BE49-F238E27FC236}">
                  <a16:creationId xmlns:a16="http://schemas.microsoft.com/office/drawing/2014/main" id="{B299BF26-4B8C-F25F-45B3-2C037560CCEC}"/>
                </a:ext>
              </a:extLst>
            </p:cNvPr>
            <p:cNvSpPr/>
            <p:nvPr/>
          </p:nvSpPr>
          <p:spPr>
            <a:xfrm>
              <a:off x="11384856" y="5194536"/>
              <a:ext cx="130109" cy="41681"/>
            </a:xfrm>
            <a:custGeom>
              <a:avLst/>
              <a:gdLst>
                <a:gd name="connsiteX0" fmla="*/ 130110 w 130109"/>
                <a:gd name="connsiteY0" fmla="*/ 2422 h 41681"/>
                <a:gd name="connsiteX1" fmla="*/ 69423 w 130109"/>
                <a:gd name="connsiteY1" fmla="*/ 36209 h 41681"/>
                <a:gd name="connsiteX2" fmla="*/ 0 w 130109"/>
                <a:gd name="connsiteY2" fmla="*/ 39260 h 41681"/>
                <a:gd name="connsiteX3" fmla="*/ 60687 w 130109"/>
                <a:gd name="connsiteY3" fmla="*/ 5473 h 41681"/>
                <a:gd name="connsiteX4" fmla="*/ 130110 w 130109"/>
                <a:gd name="connsiteY4" fmla="*/ 2422 h 416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0109" h="41681">
                  <a:moveTo>
                    <a:pt x="130110" y="2422"/>
                  </a:moveTo>
                  <a:cubicBezTo>
                    <a:pt x="130110" y="2422"/>
                    <a:pt x="105336" y="26041"/>
                    <a:pt x="69423" y="36209"/>
                  </a:cubicBezTo>
                  <a:cubicBezTo>
                    <a:pt x="33510" y="46377"/>
                    <a:pt x="0" y="39260"/>
                    <a:pt x="0" y="39260"/>
                  </a:cubicBezTo>
                  <a:cubicBezTo>
                    <a:pt x="0" y="39260"/>
                    <a:pt x="24774" y="15641"/>
                    <a:pt x="60687" y="5473"/>
                  </a:cubicBezTo>
                  <a:cubicBezTo>
                    <a:pt x="96600" y="-4696"/>
                    <a:pt x="130110" y="2422"/>
                    <a:pt x="130110" y="2422"/>
                  </a:cubicBez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356" name="Gráfico 21">
            <a:extLst>
              <a:ext uri="{FF2B5EF4-FFF2-40B4-BE49-F238E27FC236}">
                <a16:creationId xmlns:a16="http://schemas.microsoft.com/office/drawing/2014/main" id="{F888322F-C0CA-6838-B8AF-4BC338E2A864}"/>
              </a:ext>
            </a:extLst>
          </p:cNvPr>
          <p:cNvGrpSpPr/>
          <p:nvPr/>
        </p:nvGrpSpPr>
        <p:grpSpPr>
          <a:xfrm>
            <a:off x="10030472" y="3635500"/>
            <a:ext cx="242317" cy="299848"/>
            <a:chOff x="10030472" y="3635500"/>
            <a:chExt cx="242317" cy="299848"/>
          </a:xfrm>
          <a:noFill/>
        </p:grpSpPr>
        <p:sp>
          <p:nvSpPr>
            <p:cNvPr id="1357" name="Forma livre: Forma 1356">
              <a:extLst>
                <a:ext uri="{FF2B5EF4-FFF2-40B4-BE49-F238E27FC236}">
                  <a16:creationId xmlns:a16="http://schemas.microsoft.com/office/drawing/2014/main" id="{647BB850-56FB-DC00-8800-CE9B134E6F03}"/>
                </a:ext>
              </a:extLst>
            </p:cNvPr>
            <p:cNvSpPr/>
            <p:nvPr/>
          </p:nvSpPr>
          <p:spPr>
            <a:xfrm>
              <a:off x="10152478" y="3635500"/>
              <a:ext cx="70401" cy="69463"/>
            </a:xfrm>
            <a:custGeom>
              <a:avLst/>
              <a:gdLst>
                <a:gd name="connsiteX0" fmla="*/ 50897 w 70401"/>
                <a:gd name="connsiteY0" fmla="*/ 50796 h 69463"/>
                <a:gd name="connsiteX1" fmla="*/ 8 w 70401"/>
                <a:gd name="connsiteY1" fmla="*/ 69423 h 69463"/>
                <a:gd name="connsiteX2" fmla="*/ 17988 w 70401"/>
                <a:gd name="connsiteY2" fmla="*/ 17240 h 69463"/>
                <a:gd name="connsiteX3" fmla="*/ 70402 w 70401"/>
                <a:gd name="connsiteY3" fmla="*/ 0 h 69463"/>
                <a:gd name="connsiteX4" fmla="*/ 50897 w 70401"/>
                <a:gd name="connsiteY4" fmla="*/ 50796 h 694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0401" h="69463">
                  <a:moveTo>
                    <a:pt x="50897" y="50796"/>
                  </a:moveTo>
                  <a:cubicBezTo>
                    <a:pt x="34720" y="71225"/>
                    <a:pt x="8" y="69423"/>
                    <a:pt x="8" y="69423"/>
                  </a:cubicBezTo>
                  <a:cubicBezTo>
                    <a:pt x="8" y="69423"/>
                    <a:pt x="-962" y="31014"/>
                    <a:pt x="17988" y="17240"/>
                  </a:cubicBezTo>
                  <a:cubicBezTo>
                    <a:pt x="32316" y="6841"/>
                    <a:pt x="70402" y="0"/>
                    <a:pt x="70402" y="0"/>
                  </a:cubicBezTo>
                  <a:cubicBezTo>
                    <a:pt x="70402" y="0"/>
                    <a:pt x="62591" y="36006"/>
                    <a:pt x="50897" y="50796"/>
                  </a:cubicBez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358" name="Forma livre: Forma 1357">
              <a:extLst>
                <a:ext uri="{FF2B5EF4-FFF2-40B4-BE49-F238E27FC236}">
                  <a16:creationId xmlns:a16="http://schemas.microsoft.com/office/drawing/2014/main" id="{6817618F-FF86-B0D7-1AF6-7AE0934DE06C}"/>
                </a:ext>
              </a:extLst>
            </p:cNvPr>
            <p:cNvSpPr/>
            <p:nvPr/>
          </p:nvSpPr>
          <p:spPr>
            <a:xfrm>
              <a:off x="10063189" y="3762698"/>
              <a:ext cx="28055" cy="37114"/>
            </a:xfrm>
            <a:custGeom>
              <a:avLst/>
              <a:gdLst>
                <a:gd name="connsiteX0" fmla="*/ 28056 w 28055"/>
                <a:gd name="connsiteY0" fmla="*/ 0 h 37114"/>
                <a:gd name="connsiteX1" fmla="*/ 0 w 28055"/>
                <a:gd name="connsiteY1" fmla="*/ 37115 h 371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8055" h="37114">
                  <a:moveTo>
                    <a:pt x="28056" y="0"/>
                  </a:moveTo>
                  <a:cubicBezTo>
                    <a:pt x="16824" y="4206"/>
                    <a:pt x="5500" y="14421"/>
                    <a:pt x="0" y="37115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359" name="Forma livre: Forma 1358">
              <a:extLst>
                <a:ext uri="{FF2B5EF4-FFF2-40B4-BE49-F238E27FC236}">
                  <a16:creationId xmlns:a16="http://schemas.microsoft.com/office/drawing/2014/main" id="{AA7EC589-4C88-98FD-AE79-11D95C134C94}"/>
                </a:ext>
              </a:extLst>
            </p:cNvPr>
            <p:cNvSpPr/>
            <p:nvPr/>
          </p:nvSpPr>
          <p:spPr>
            <a:xfrm>
              <a:off x="10030472" y="3729600"/>
              <a:ext cx="242317" cy="205748"/>
            </a:xfrm>
            <a:custGeom>
              <a:avLst/>
              <a:gdLst>
                <a:gd name="connsiteX0" fmla="*/ 121505 w 242317"/>
                <a:gd name="connsiteY0" fmla="*/ 195563 h 205748"/>
                <a:gd name="connsiteX1" fmla="*/ 144985 w 242317"/>
                <a:gd name="connsiteY1" fmla="*/ 201202 h 205748"/>
                <a:gd name="connsiteX2" fmla="*/ 193285 w 242317"/>
                <a:gd name="connsiteY2" fmla="*/ 193853 h 205748"/>
                <a:gd name="connsiteX3" fmla="*/ 240661 w 242317"/>
                <a:gd name="connsiteY3" fmla="*/ 57179 h 205748"/>
                <a:gd name="connsiteX4" fmla="*/ 155708 w 242317"/>
                <a:gd name="connsiteY4" fmla="*/ 3564 h 205748"/>
                <a:gd name="connsiteX5" fmla="*/ 122522 w 242317"/>
                <a:gd name="connsiteY5" fmla="*/ 7909 h 205748"/>
                <a:gd name="connsiteX6" fmla="*/ 119795 w 242317"/>
                <a:gd name="connsiteY6" fmla="*/ 7909 h 205748"/>
                <a:gd name="connsiteX7" fmla="*/ 86609 w 242317"/>
                <a:gd name="connsiteY7" fmla="*/ 3564 h 205748"/>
                <a:gd name="connsiteX8" fmla="*/ 1656 w 242317"/>
                <a:gd name="connsiteY8" fmla="*/ 57179 h 205748"/>
                <a:gd name="connsiteX9" fmla="*/ 49032 w 242317"/>
                <a:gd name="connsiteY9" fmla="*/ 193853 h 205748"/>
                <a:gd name="connsiteX10" fmla="*/ 97332 w 242317"/>
                <a:gd name="connsiteY10" fmla="*/ 201202 h 205748"/>
                <a:gd name="connsiteX11" fmla="*/ 120812 w 242317"/>
                <a:gd name="connsiteY11" fmla="*/ 195563 h 205748"/>
                <a:gd name="connsiteX12" fmla="*/ 121505 w 242317"/>
                <a:gd name="connsiteY12" fmla="*/ 195563 h 2057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42317" h="205748">
                  <a:moveTo>
                    <a:pt x="121505" y="195563"/>
                  </a:moveTo>
                  <a:cubicBezTo>
                    <a:pt x="131027" y="195563"/>
                    <a:pt x="144985" y="201202"/>
                    <a:pt x="144985" y="201202"/>
                  </a:cubicBezTo>
                  <a:cubicBezTo>
                    <a:pt x="175352" y="214698"/>
                    <a:pt x="193285" y="193853"/>
                    <a:pt x="193285" y="193853"/>
                  </a:cubicBezTo>
                  <a:cubicBezTo>
                    <a:pt x="256006" y="137603"/>
                    <a:pt x="240661" y="57179"/>
                    <a:pt x="240661" y="57179"/>
                  </a:cubicBezTo>
                  <a:cubicBezTo>
                    <a:pt x="221803" y="-20656"/>
                    <a:pt x="155708" y="3564"/>
                    <a:pt x="155708" y="3564"/>
                  </a:cubicBezTo>
                  <a:cubicBezTo>
                    <a:pt x="131581" y="8093"/>
                    <a:pt x="122522" y="7909"/>
                    <a:pt x="122522" y="7909"/>
                  </a:cubicBezTo>
                  <a:lnTo>
                    <a:pt x="119795" y="7909"/>
                  </a:lnTo>
                  <a:cubicBezTo>
                    <a:pt x="119795" y="7909"/>
                    <a:pt x="110782" y="8093"/>
                    <a:pt x="86609" y="3564"/>
                  </a:cubicBezTo>
                  <a:cubicBezTo>
                    <a:pt x="86609" y="3564"/>
                    <a:pt x="20514" y="-20656"/>
                    <a:pt x="1656" y="57179"/>
                  </a:cubicBezTo>
                  <a:cubicBezTo>
                    <a:pt x="1656" y="57179"/>
                    <a:pt x="-13689" y="137603"/>
                    <a:pt x="49032" y="193853"/>
                  </a:cubicBezTo>
                  <a:cubicBezTo>
                    <a:pt x="49032" y="193853"/>
                    <a:pt x="66966" y="214698"/>
                    <a:pt x="97332" y="201202"/>
                  </a:cubicBezTo>
                  <a:cubicBezTo>
                    <a:pt x="97332" y="201202"/>
                    <a:pt x="111291" y="195563"/>
                    <a:pt x="120812" y="195563"/>
                  </a:cubicBezTo>
                  <a:lnTo>
                    <a:pt x="121505" y="195563"/>
                  </a:ln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360" name="Forma livre: Forma 1359">
              <a:extLst>
                <a:ext uri="{FF2B5EF4-FFF2-40B4-BE49-F238E27FC236}">
                  <a16:creationId xmlns:a16="http://schemas.microsoft.com/office/drawing/2014/main" id="{3FBAC840-D4E8-9B3C-9084-B181E336AB0E}"/>
                </a:ext>
              </a:extLst>
            </p:cNvPr>
            <p:cNvSpPr/>
            <p:nvPr/>
          </p:nvSpPr>
          <p:spPr>
            <a:xfrm>
              <a:off x="10118052" y="3663417"/>
              <a:ext cx="34387" cy="41551"/>
            </a:xfrm>
            <a:custGeom>
              <a:avLst/>
              <a:gdLst>
                <a:gd name="connsiteX0" fmla="*/ 0 w 34387"/>
                <a:gd name="connsiteY0" fmla="*/ 0 h 41551"/>
                <a:gd name="connsiteX1" fmla="*/ 34388 w 34387"/>
                <a:gd name="connsiteY1" fmla="*/ 41552 h 415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4387" h="41551">
                  <a:moveTo>
                    <a:pt x="0" y="0"/>
                  </a:moveTo>
                  <a:cubicBezTo>
                    <a:pt x="0" y="0"/>
                    <a:pt x="20660" y="8505"/>
                    <a:pt x="34388" y="41552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361" name="Gráfico 21">
            <a:extLst>
              <a:ext uri="{FF2B5EF4-FFF2-40B4-BE49-F238E27FC236}">
                <a16:creationId xmlns:a16="http://schemas.microsoft.com/office/drawing/2014/main" id="{3A069C30-E1A9-0946-8549-0C25EAA3E282}"/>
              </a:ext>
            </a:extLst>
          </p:cNvPr>
          <p:cNvGrpSpPr/>
          <p:nvPr/>
        </p:nvGrpSpPr>
        <p:grpSpPr>
          <a:xfrm>
            <a:off x="10040730" y="4124834"/>
            <a:ext cx="221868" cy="341105"/>
            <a:chOff x="10040730" y="4124834"/>
            <a:chExt cx="221868" cy="341105"/>
          </a:xfrm>
          <a:noFill/>
        </p:grpSpPr>
        <p:sp>
          <p:nvSpPr>
            <p:cNvPr id="1362" name="Forma livre: Forma 1361">
              <a:extLst>
                <a:ext uri="{FF2B5EF4-FFF2-40B4-BE49-F238E27FC236}">
                  <a16:creationId xmlns:a16="http://schemas.microsoft.com/office/drawing/2014/main" id="{102B60D4-25E1-1ACC-076B-1B60F90B981D}"/>
                </a:ext>
              </a:extLst>
            </p:cNvPr>
            <p:cNvSpPr/>
            <p:nvPr/>
          </p:nvSpPr>
          <p:spPr>
            <a:xfrm>
              <a:off x="10154696" y="4124834"/>
              <a:ext cx="65040" cy="64144"/>
            </a:xfrm>
            <a:custGeom>
              <a:avLst/>
              <a:gdLst>
                <a:gd name="connsiteX0" fmla="*/ 47014 w 65040"/>
                <a:gd name="connsiteY0" fmla="*/ 46914 h 64144"/>
                <a:gd name="connsiteX1" fmla="*/ 8 w 65040"/>
                <a:gd name="connsiteY1" fmla="*/ 64107 h 64144"/>
                <a:gd name="connsiteX2" fmla="*/ 16601 w 65040"/>
                <a:gd name="connsiteY2" fmla="*/ 15900 h 64144"/>
                <a:gd name="connsiteX3" fmla="*/ 65040 w 65040"/>
                <a:gd name="connsiteY3" fmla="*/ 0 h 64144"/>
                <a:gd name="connsiteX4" fmla="*/ 47014 w 65040"/>
                <a:gd name="connsiteY4" fmla="*/ 46914 h 641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5040" h="64144">
                  <a:moveTo>
                    <a:pt x="47014" y="46914"/>
                  </a:moveTo>
                  <a:cubicBezTo>
                    <a:pt x="32085" y="65771"/>
                    <a:pt x="8" y="64107"/>
                    <a:pt x="8" y="64107"/>
                  </a:cubicBezTo>
                  <a:cubicBezTo>
                    <a:pt x="8" y="64107"/>
                    <a:pt x="-916" y="28610"/>
                    <a:pt x="16601" y="15900"/>
                  </a:cubicBezTo>
                  <a:cubicBezTo>
                    <a:pt x="29820" y="6286"/>
                    <a:pt x="65040" y="0"/>
                    <a:pt x="65040" y="0"/>
                  </a:cubicBezTo>
                  <a:cubicBezTo>
                    <a:pt x="65040" y="0"/>
                    <a:pt x="57830" y="33232"/>
                    <a:pt x="47014" y="46914"/>
                  </a:cubicBez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363" name="Forma livre: Forma 1362">
              <a:extLst>
                <a:ext uri="{FF2B5EF4-FFF2-40B4-BE49-F238E27FC236}">
                  <a16:creationId xmlns:a16="http://schemas.microsoft.com/office/drawing/2014/main" id="{D82CB49B-1FB4-1070-A77E-CC16EBF54A06}"/>
                </a:ext>
              </a:extLst>
            </p:cNvPr>
            <p:cNvSpPr/>
            <p:nvPr/>
          </p:nvSpPr>
          <p:spPr>
            <a:xfrm>
              <a:off x="10122905" y="4150625"/>
              <a:ext cx="31660" cy="38085"/>
            </a:xfrm>
            <a:custGeom>
              <a:avLst/>
              <a:gdLst>
                <a:gd name="connsiteX0" fmla="*/ 0 w 31660"/>
                <a:gd name="connsiteY0" fmla="*/ 0 h 38085"/>
                <a:gd name="connsiteX1" fmla="*/ 31661 w 31660"/>
                <a:gd name="connsiteY1" fmla="*/ 38085 h 380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1660" h="38085">
                  <a:moveTo>
                    <a:pt x="0" y="0"/>
                  </a:moveTo>
                  <a:cubicBezTo>
                    <a:pt x="0" y="0"/>
                    <a:pt x="18950" y="7534"/>
                    <a:pt x="31661" y="38085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364" name="Forma livre: Forma 1363">
              <a:extLst>
                <a:ext uri="{FF2B5EF4-FFF2-40B4-BE49-F238E27FC236}">
                  <a16:creationId xmlns:a16="http://schemas.microsoft.com/office/drawing/2014/main" id="{AF275F50-2DEE-1DD8-9671-699D0671721C}"/>
                </a:ext>
              </a:extLst>
            </p:cNvPr>
            <p:cNvSpPr/>
            <p:nvPr/>
          </p:nvSpPr>
          <p:spPr>
            <a:xfrm>
              <a:off x="10040730" y="4214665"/>
              <a:ext cx="221868" cy="251273"/>
            </a:xfrm>
            <a:custGeom>
              <a:avLst/>
              <a:gdLst>
                <a:gd name="connsiteX0" fmla="*/ 111340 w 221868"/>
                <a:gd name="connsiteY0" fmla="*/ 251273 h 251273"/>
                <a:gd name="connsiteX1" fmla="*/ 160749 w 221868"/>
                <a:gd name="connsiteY1" fmla="*/ 244572 h 251273"/>
                <a:gd name="connsiteX2" fmla="*/ 194767 w 221868"/>
                <a:gd name="connsiteY2" fmla="*/ 225806 h 251273"/>
                <a:gd name="connsiteX3" fmla="*/ 198234 w 221868"/>
                <a:gd name="connsiteY3" fmla="*/ 117004 h 251273"/>
                <a:gd name="connsiteX4" fmla="*/ 166249 w 221868"/>
                <a:gd name="connsiteY4" fmla="*/ 57888 h 251273"/>
                <a:gd name="connsiteX5" fmla="*/ 111062 w 221868"/>
                <a:gd name="connsiteY5" fmla="*/ 20 h 251273"/>
                <a:gd name="connsiteX6" fmla="*/ 110785 w 221868"/>
                <a:gd name="connsiteY6" fmla="*/ 20 h 251273"/>
                <a:gd name="connsiteX7" fmla="*/ 55598 w 221868"/>
                <a:gd name="connsiteY7" fmla="*/ 57888 h 251273"/>
                <a:gd name="connsiteX8" fmla="*/ 23614 w 221868"/>
                <a:gd name="connsiteY8" fmla="*/ 117004 h 251273"/>
                <a:gd name="connsiteX9" fmla="*/ 27080 w 221868"/>
                <a:gd name="connsiteY9" fmla="*/ 225806 h 251273"/>
                <a:gd name="connsiteX10" fmla="*/ 61098 w 221868"/>
                <a:gd name="connsiteY10" fmla="*/ 244572 h 251273"/>
                <a:gd name="connsiteX11" fmla="*/ 110508 w 221868"/>
                <a:gd name="connsiteY11" fmla="*/ 251273 h 251273"/>
                <a:gd name="connsiteX12" fmla="*/ 111386 w 221868"/>
                <a:gd name="connsiteY12" fmla="*/ 251273 h 2512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21868" h="251273">
                  <a:moveTo>
                    <a:pt x="111340" y="251273"/>
                  </a:moveTo>
                  <a:cubicBezTo>
                    <a:pt x="134450" y="251273"/>
                    <a:pt x="147345" y="248177"/>
                    <a:pt x="160749" y="244572"/>
                  </a:cubicBezTo>
                  <a:cubicBezTo>
                    <a:pt x="180855" y="239210"/>
                    <a:pt x="194767" y="225806"/>
                    <a:pt x="194767" y="225806"/>
                  </a:cubicBezTo>
                  <a:cubicBezTo>
                    <a:pt x="253652" y="171729"/>
                    <a:pt x="198234" y="117004"/>
                    <a:pt x="198234" y="117004"/>
                  </a:cubicBezTo>
                  <a:cubicBezTo>
                    <a:pt x="167728" y="85898"/>
                    <a:pt x="166249" y="57888"/>
                    <a:pt x="166249" y="57888"/>
                  </a:cubicBezTo>
                  <a:cubicBezTo>
                    <a:pt x="161951" y="-2799"/>
                    <a:pt x="111062" y="20"/>
                    <a:pt x="111062" y="20"/>
                  </a:cubicBezTo>
                  <a:lnTo>
                    <a:pt x="110785" y="20"/>
                  </a:lnTo>
                  <a:cubicBezTo>
                    <a:pt x="110785" y="20"/>
                    <a:pt x="59897" y="-2799"/>
                    <a:pt x="55598" y="57888"/>
                  </a:cubicBezTo>
                  <a:cubicBezTo>
                    <a:pt x="55598" y="57888"/>
                    <a:pt x="54073" y="85898"/>
                    <a:pt x="23614" y="117004"/>
                  </a:cubicBezTo>
                  <a:cubicBezTo>
                    <a:pt x="23614" y="117004"/>
                    <a:pt x="-31758" y="171729"/>
                    <a:pt x="27080" y="225806"/>
                  </a:cubicBezTo>
                  <a:cubicBezTo>
                    <a:pt x="27080" y="225806"/>
                    <a:pt x="40993" y="239210"/>
                    <a:pt x="61098" y="244572"/>
                  </a:cubicBezTo>
                  <a:cubicBezTo>
                    <a:pt x="74456" y="248177"/>
                    <a:pt x="87398" y="251273"/>
                    <a:pt x="110508" y="251273"/>
                  </a:cubicBezTo>
                  <a:lnTo>
                    <a:pt x="111386" y="251273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365" name="Forma livre: Forma 1364">
              <a:extLst>
                <a:ext uri="{FF2B5EF4-FFF2-40B4-BE49-F238E27FC236}">
                  <a16:creationId xmlns:a16="http://schemas.microsoft.com/office/drawing/2014/main" id="{586AB109-C3AF-210B-A226-C694A6D55D23}"/>
                </a:ext>
              </a:extLst>
            </p:cNvPr>
            <p:cNvSpPr/>
            <p:nvPr/>
          </p:nvSpPr>
          <p:spPr>
            <a:xfrm>
              <a:off x="10127159" y="4248195"/>
              <a:ext cx="14003" cy="36421"/>
            </a:xfrm>
            <a:custGeom>
              <a:avLst/>
              <a:gdLst>
                <a:gd name="connsiteX0" fmla="*/ 14004 w 14003"/>
                <a:gd name="connsiteY0" fmla="*/ 0 h 36421"/>
                <a:gd name="connsiteX1" fmla="*/ 138 w 14003"/>
                <a:gd name="connsiteY1" fmla="*/ 36422 h 364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4003" h="36421">
                  <a:moveTo>
                    <a:pt x="14004" y="0"/>
                  </a:moveTo>
                  <a:cubicBezTo>
                    <a:pt x="14004" y="0"/>
                    <a:pt x="-1619" y="7488"/>
                    <a:pt x="138" y="36422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366" name="Gráfico 21">
            <a:extLst>
              <a:ext uri="{FF2B5EF4-FFF2-40B4-BE49-F238E27FC236}">
                <a16:creationId xmlns:a16="http://schemas.microsoft.com/office/drawing/2014/main" id="{DDF58BB1-215C-EE63-60B7-F0B31BE6535C}"/>
              </a:ext>
            </a:extLst>
          </p:cNvPr>
          <p:cNvGrpSpPr/>
          <p:nvPr/>
        </p:nvGrpSpPr>
        <p:grpSpPr>
          <a:xfrm>
            <a:off x="10044406" y="4639819"/>
            <a:ext cx="214435" cy="331121"/>
            <a:chOff x="10044406" y="4639819"/>
            <a:chExt cx="214435" cy="331121"/>
          </a:xfrm>
          <a:noFill/>
        </p:grpSpPr>
        <p:sp>
          <p:nvSpPr>
            <p:cNvPr id="1367" name="Forma livre: Forma 1366">
              <a:extLst>
                <a:ext uri="{FF2B5EF4-FFF2-40B4-BE49-F238E27FC236}">
                  <a16:creationId xmlns:a16="http://schemas.microsoft.com/office/drawing/2014/main" id="{CF5CA0D9-6E00-AABD-9866-0BBE2C241F64}"/>
                </a:ext>
              </a:extLst>
            </p:cNvPr>
            <p:cNvSpPr/>
            <p:nvPr/>
          </p:nvSpPr>
          <p:spPr>
            <a:xfrm>
              <a:off x="10151192" y="4639819"/>
              <a:ext cx="23849" cy="46173"/>
            </a:xfrm>
            <a:custGeom>
              <a:avLst/>
              <a:gdLst>
                <a:gd name="connsiteX0" fmla="*/ 23850 w 23849"/>
                <a:gd name="connsiteY0" fmla="*/ 0 h 46173"/>
                <a:gd name="connsiteX1" fmla="*/ 0 w 23849"/>
                <a:gd name="connsiteY1" fmla="*/ 46174 h 461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3849" h="46173">
                  <a:moveTo>
                    <a:pt x="23850" y="0"/>
                  </a:moveTo>
                  <a:cubicBezTo>
                    <a:pt x="23850" y="0"/>
                    <a:pt x="601" y="10677"/>
                    <a:pt x="0" y="46174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368" name="Gráfico 21">
              <a:extLst>
                <a:ext uri="{FF2B5EF4-FFF2-40B4-BE49-F238E27FC236}">
                  <a16:creationId xmlns:a16="http://schemas.microsoft.com/office/drawing/2014/main" id="{ECF11B63-B3EC-A9DD-FF73-EE214A277F6B}"/>
                </a:ext>
              </a:extLst>
            </p:cNvPr>
            <p:cNvGrpSpPr/>
            <p:nvPr/>
          </p:nvGrpSpPr>
          <p:grpSpPr>
            <a:xfrm>
              <a:off x="10059815" y="4829599"/>
              <a:ext cx="183632" cy="141341"/>
              <a:chOff x="10059815" y="4829599"/>
              <a:chExt cx="183632" cy="141341"/>
            </a:xfrm>
            <a:noFill/>
          </p:grpSpPr>
          <p:sp>
            <p:nvSpPr>
              <p:cNvPr id="1369" name="Forma livre: Forma 1368">
                <a:extLst>
                  <a:ext uri="{FF2B5EF4-FFF2-40B4-BE49-F238E27FC236}">
                    <a16:creationId xmlns:a16="http://schemas.microsoft.com/office/drawing/2014/main" id="{C560F8F6-EC9F-EDCE-C55C-D77607A78816}"/>
                  </a:ext>
                </a:extLst>
              </p:cNvPr>
              <p:cNvSpPr/>
              <p:nvPr/>
            </p:nvSpPr>
            <p:spPr>
              <a:xfrm>
                <a:off x="10059815" y="4829599"/>
                <a:ext cx="91793" cy="141341"/>
              </a:xfrm>
              <a:custGeom>
                <a:avLst/>
                <a:gdLst>
                  <a:gd name="connsiteX0" fmla="*/ 0 w 91793"/>
                  <a:gd name="connsiteY0" fmla="*/ 0 h 141341"/>
                  <a:gd name="connsiteX1" fmla="*/ 64292 w 91793"/>
                  <a:gd name="connsiteY1" fmla="*/ 119757 h 141341"/>
                  <a:gd name="connsiteX2" fmla="*/ 91793 w 91793"/>
                  <a:gd name="connsiteY2" fmla="*/ 141341 h 1413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91793" h="141341">
                    <a:moveTo>
                      <a:pt x="0" y="0"/>
                    </a:moveTo>
                    <a:cubicBezTo>
                      <a:pt x="555" y="34111"/>
                      <a:pt x="8921" y="99420"/>
                      <a:pt x="64292" y="119757"/>
                    </a:cubicBezTo>
                    <a:cubicBezTo>
                      <a:pt x="64292" y="119757"/>
                      <a:pt x="91793" y="127383"/>
                      <a:pt x="91793" y="141341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370" name="Forma livre: Forma 1369">
                <a:extLst>
                  <a:ext uri="{FF2B5EF4-FFF2-40B4-BE49-F238E27FC236}">
                    <a16:creationId xmlns:a16="http://schemas.microsoft.com/office/drawing/2014/main" id="{81901AE2-7F98-D573-112E-B757793ECFE9}"/>
                  </a:ext>
                </a:extLst>
              </p:cNvPr>
              <p:cNvSpPr/>
              <p:nvPr/>
            </p:nvSpPr>
            <p:spPr>
              <a:xfrm>
                <a:off x="10151654" y="4829599"/>
                <a:ext cx="91793" cy="141341"/>
              </a:xfrm>
              <a:custGeom>
                <a:avLst/>
                <a:gdLst>
                  <a:gd name="connsiteX0" fmla="*/ 91793 w 91793"/>
                  <a:gd name="connsiteY0" fmla="*/ 0 h 141341"/>
                  <a:gd name="connsiteX1" fmla="*/ 27501 w 91793"/>
                  <a:gd name="connsiteY1" fmla="*/ 119757 h 141341"/>
                  <a:gd name="connsiteX2" fmla="*/ 0 w 91793"/>
                  <a:gd name="connsiteY2" fmla="*/ 141341 h 1413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91793" h="141341">
                    <a:moveTo>
                      <a:pt x="91793" y="0"/>
                    </a:moveTo>
                    <a:cubicBezTo>
                      <a:pt x="91239" y="34111"/>
                      <a:pt x="82873" y="99420"/>
                      <a:pt x="27501" y="119757"/>
                    </a:cubicBezTo>
                    <a:cubicBezTo>
                      <a:pt x="27501" y="119757"/>
                      <a:pt x="0" y="127383"/>
                      <a:pt x="0" y="141341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371" name="Gráfico 21">
              <a:extLst>
                <a:ext uri="{FF2B5EF4-FFF2-40B4-BE49-F238E27FC236}">
                  <a16:creationId xmlns:a16="http://schemas.microsoft.com/office/drawing/2014/main" id="{A12D9CC5-467B-B94E-7CE5-C63BEE677A08}"/>
                </a:ext>
              </a:extLst>
            </p:cNvPr>
            <p:cNvGrpSpPr/>
            <p:nvPr/>
          </p:nvGrpSpPr>
          <p:grpSpPr>
            <a:xfrm>
              <a:off x="10044406" y="4686548"/>
              <a:ext cx="214435" cy="114210"/>
              <a:chOff x="10044406" y="4686548"/>
              <a:chExt cx="214435" cy="114210"/>
            </a:xfrm>
            <a:noFill/>
          </p:grpSpPr>
          <p:sp>
            <p:nvSpPr>
              <p:cNvPr id="1372" name="Forma livre: Forma 1371">
                <a:extLst>
                  <a:ext uri="{FF2B5EF4-FFF2-40B4-BE49-F238E27FC236}">
                    <a16:creationId xmlns:a16="http://schemas.microsoft.com/office/drawing/2014/main" id="{CACE0EC1-E3F3-CBC3-B433-E4F6C6359F36}"/>
                  </a:ext>
                </a:extLst>
              </p:cNvPr>
              <p:cNvSpPr/>
              <p:nvPr/>
            </p:nvSpPr>
            <p:spPr>
              <a:xfrm>
                <a:off x="10044406" y="4686548"/>
                <a:ext cx="214435" cy="114163"/>
              </a:xfrm>
              <a:custGeom>
                <a:avLst/>
                <a:gdLst>
                  <a:gd name="connsiteX0" fmla="*/ 122547 w 214435"/>
                  <a:gd name="connsiteY0" fmla="*/ 0 h 114163"/>
                  <a:gd name="connsiteX1" fmla="*/ 92134 w 214435"/>
                  <a:gd name="connsiteY1" fmla="*/ 0 h 114163"/>
                  <a:gd name="connsiteX2" fmla="*/ 433 w 214435"/>
                  <a:gd name="connsiteY2" fmla="*/ 91701 h 114163"/>
                  <a:gd name="connsiteX3" fmla="*/ 4547 w 214435"/>
                  <a:gd name="connsiteY3" fmla="*/ 114164 h 114163"/>
                  <a:gd name="connsiteX4" fmla="*/ 210088 w 214435"/>
                  <a:gd name="connsiteY4" fmla="*/ 114164 h 114163"/>
                  <a:gd name="connsiteX5" fmla="*/ 214202 w 214435"/>
                  <a:gd name="connsiteY5" fmla="*/ 91701 h 114163"/>
                  <a:gd name="connsiteX6" fmla="*/ 122501 w 214435"/>
                  <a:gd name="connsiteY6" fmla="*/ 0 h 1141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14435" h="114163">
                    <a:moveTo>
                      <a:pt x="122547" y="0"/>
                    </a:moveTo>
                    <a:lnTo>
                      <a:pt x="92134" y="0"/>
                    </a:lnTo>
                    <a:cubicBezTo>
                      <a:pt x="41708" y="0"/>
                      <a:pt x="433" y="41228"/>
                      <a:pt x="433" y="91701"/>
                    </a:cubicBezTo>
                    <a:cubicBezTo>
                      <a:pt x="433" y="91701"/>
                      <a:pt x="-1970" y="114164"/>
                      <a:pt x="4547" y="114164"/>
                    </a:cubicBezTo>
                    <a:cubicBezTo>
                      <a:pt x="11064" y="114164"/>
                      <a:pt x="203478" y="114164"/>
                      <a:pt x="210088" y="114164"/>
                    </a:cubicBezTo>
                    <a:cubicBezTo>
                      <a:pt x="215912" y="114164"/>
                      <a:pt x="214202" y="91701"/>
                      <a:pt x="214202" y="91701"/>
                    </a:cubicBezTo>
                    <a:cubicBezTo>
                      <a:pt x="214202" y="41275"/>
                      <a:pt x="172927" y="0"/>
                      <a:pt x="122501" y="0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373" name="Forma livre: Forma 1372">
                <a:extLst>
                  <a:ext uri="{FF2B5EF4-FFF2-40B4-BE49-F238E27FC236}">
                    <a16:creationId xmlns:a16="http://schemas.microsoft.com/office/drawing/2014/main" id="{2496488B-3551-2E9A-0137-023E61956D02}"/>
                  </a:ext>
                </a:extLst>
              </p:cNvPr>
              <p:cNvSpPr/>
              <p:nvPr/>
            </p:nvSpPr>
            <p:spPr>
              <a:xfrm>
                <a:off x="10048768" y="4687981"/>
                <a:ext cx="110096" cy="110096"/>
              </a:xfrm>
              <a:custGeom>
                <a:avLst/>
                <a:gdLst>
                  <a:gd name="connsiteX0" fmla="*/ 0 w 110096"/>
                  <a:gd name="connsiteY0" fmla="*/ 110097 h 110096"/>
                  <a:gd name="connsiteX1" fmla="*/ 110097 w 110096"/>
                  <a:gd name="connsiteY1" fmla="*/ 0 h 1100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0096" h="110096">
                    <a:moveTo>
                      <a:pt x="0" y="110097"/>
                    </a:moveTo>
                    <a:lnTo>
                      <a:pt x="110097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374" name="Forma livre: Forma 1373">
                <a:extLst>
                  <a:ext uri="{FF2B5EF4-FFF2-40B4-BE49-F238E27FC236}">
                    <a16:creationId xmlns:a16="http://schemas.microsoft.com/office/drawing/2014/main" id="{6C4A5917-2923-A102-39C7-D7D789B95325}"/>
                  </a:ext>
                </a:extLst>
              </p:cNvPr>
              <p:cNvSpPr/>
              <p:nvPr/>
            </p:nvSpPr>
            <p:spPr>
              <a:xfrm>
                <a:off x="10110149" y="4699351"/>
                <a:ext cx="100991" cy="100991"/>
              </a:xfrm>
              <a:custGeom>
                <a:avLst/>
                <a:gdLst>
                  <a:gd name="connsiteX0" fmla="*/ 0 w 100991"/>
                  <a:gd name="connsiteY0" fmla="*/ 100991 h 100991"/>
                  <a:gd name="connsiteX1" fmla="*/ 100991 w 100991"/>
                  <a:gd name="connsiteY1" fmla="*/ 0 h 1009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00991" h="100991">
                    <a:moveTo>
                      <a:pt x="0" y="100991"/>
                    </a:moveTo>
                    <a:lnTo>
                      <a:pt x="100991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375" name="Forma livre: Forma 1374">
                <a:extLst>
                  <a:ext uri="{FF2B5EF4-FFF2-40B4-BE49-F238E27FC236}">
                    <a16:creationId xmlns:a16="http://schemas.microsoft.com/office/drawing/2014/main" id="{7ABEC137-2351-89B3-EBE4-B0557A387455}"/>
                  </a:ext>
                </a:extLst>
              </p:cNvPr>
              <p:cNvSpPr/>
              <p:nvPr/>
            </p:nvSpPr>
            <p:spPr>
              <a:xfrm>
                <a:off x="10186643" y="4732260"/>
                <a:ext cx="57497" cy="67065"/>
              </a:xfrm>
              <a:custGeom>
                <a:avLst/>
                <a:gdLst>
                  <a:gd name="connsiteX0" fmla="*/ 0 w 57497"/>
                  <a:gd name="connsiteY0" fmla="*/ 67066 h 67065"/>
                  <a:gd name="connsiteX1" fmla="*/ 57498 w 57497"/>
                  <a:gd name="connsiteY1" fmla="*/ 0 h 670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7497" h="67065">
                    <a:moveTo>
                      <a:pt x="0" y="67066"/>
                    </a:moveTo>
                    <a:lnTo>
                      <a:pt x="57498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376" name="Forma livre: Forma 1375">
                <a:extLst>
                  <a:ext uri="{FF2B5EF4-FFF2-40B4-BE49-F238E27FC236}">
                    <a16:creationId xmlns:a16="http://schemas.microsoft.com/office/drawing/2014/main" id="{333B725C-5090-B4F3-6ED3-23C7C6815A9E}"/>
                  </a:ext>
                </a:extLst>
              </p:cNvPr>
              <p:cNvSpPr/>
              <p:nvPr/>
            </p:nvSpPr>
            <p:spPr>
              <a:xfrm>
                <a:off x="10144167" y="4687611"/>
                <a:ext cx="110604" cy="110604"/>
              </a:xfrm>
              <a:custGeom>
                <a:avLst/>
                <a:gdLst>
                  <a:gd name="connsiteX0" fmla="*/ 110605 w 110604"/>
                  <a:gd name="connsiteY0" fmla="*/ 110605 h 110604"/>
                  <a:gd name="connsiteX1" fmla="*/ 0 w 110604"/>
                  <a:gd name="connsiteY1" fmla="*/ 0 h 1106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0604" h="110604">
                    <a:moveTo>
                      <a:pt x="110605" y="110605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377" name="Forma livre: Forma 1376">
                <a:extLst>
                  <a:ext uri="{FF2B5EF4-FFF2-40B4-BE49-F238E27FC236}">
                    <a16:creationId xmlns:a16="http://schemas.microsoft.com/office/drawing/2014/main" id="{86C88F2E-025B-61E6-5A61-22B1E5A31663}"/>
                  </a:ext>
                </a:extLst>
              </p:cNvPr>
              <p:cNvSpPr/>
              <p:nvPr/>
            </p:nvSpPr>
            <p:spPr>
              <a:xfrm>
                <a:off x="10093556" y="4700599"/>
                <a:ext cx="99373" cy="99373"/>
              </a:xfrm>
              <a:custGeom>
                <a:avLst/>
                <a:gdLst>
                  <a:gd name="connsiteX0" fmla="*/ 99373 w 99373"/>
                  <a:gd name="connsiteY0" fmla="*/ 99373 h 99373"/>
                  <a:gd name="connsiteX1" fmla="*/ 0 w 99373"/>
                  <a:gd name="connsiteY1" fmla="*/ 0 h 993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9373" h="99373">
                    <a:moveTo>
                      <a:pt x="99373" y="99373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378" name="Forma livre: Forma 1377">
                <a:extLst>
                  <a:ext uri="{FF2B5EF4-FFF2-40B4-BE49-F238E27FC236}">
                    <a16:creationId xmlns:a16="http://schemas.microsoft.com/office/drawing/2014/main" id="{53AEDE67-57D1-BFAC-FB01-0093FCA3C8DE}"/>
                  </a:ext>
                </a:extLst>
              </p:cNvPr>
              <p:cNvSpPr/>
              <p:nvPr/>
            </p:nvSpPr>
            <p:spPr>
              <a:xfrm>
                <a:off x="10059306" y="4732260"/>
                <a:ext cx="58884" cy="68498"/>
              </a:xfrm>
              <a:custGeom>
                <a:avLst/>
                <a:gdLst>
                  <a:gd name="connsiteX0" fmla="*/ 58885 w 58884"/>
                  <a:gd name="connsiteY0" fmla="*/ 68498 h 68498"/>
                  <a:gd name="connsiteX1" fmla="*/ 0 w 58884"/>
                  <a:gd name="connsiteY1" fmla="*/ 0 h 684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8884" h="68498">
                    <a:moveTo>
                      <a:pt x="58885" y="68498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379" name="Forma livre: Forma 1378">
              <a:extLst>
                <a:ext uri="{FF2B5EF4-FFF2-40B4-BE49-F238E27FC236}">
                  <a16:creationId xmlns:a16="http://schemas.microsoft.com/office/drawing/2014/main" id="{AE592284-9AB7-2F18-C090-9C89799F7527}"/>
                </a:ext>
              </a:extLst>
            </p:cNvPr>
            <p:cNvSpPr/>
            <p:nvPr/>
          </p:nvSpPr>
          <p:spPr>
            <a:xfrm>
              <a:off x="10097253" y="4869580"/>
              <a:ext cx="34387" cy="48161"/>
            </a:xfrm>
            <a:custGeom>
              <a:avLst/>
              <a:gdLst>
                <a:gd name="connsiteX0" fmla="*/ 0 w 34387"/>
                <a:gd name="connsiteY0" fmla="*/ 0 h 48161"/>
                <a:gd name="connsiteX1" fmla="*/ 34388 w 34387"/>
                <a:gd name="connsiteY1" fmla="*/ 48162 h 481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4387" h="48161">
                  <a:moveTo>
                    <a:pt x="0" y="0"/>
                  </a:moveTo>
                  <a:cubicBezTo>
                    <a:pt x="0" y="0"/>
                    <a:pt x="1525" y="27501"/>
                    <a:pt x="34388" y="48162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380" name="Gráfico 21">
            <a:extLst>
              <a:ext uri="{FF2B5EF4-FFF2-40B4-BE49-F238E27FC236}">
                <a16:creationId xmlns:a16="http://schemas.microsoft.com/office/drawing/2014/main" id="{D7802F27-84EF-80D2-8A14-D33E164DC741}"/>
              </a:ext>
            </a:extLst>
          </p:cNvPr>
          <p:cNvGrpSpPr/>
          <p:nvPr/>
        </p:nvGrpSpPr>
        <p:grpSpPr>
          <a:xfrm>
            <a:off x="10003287" y="5692207"/>
            <a:ext cx="296687" cy="266228"/>
            <a:chOff x="10003287" y="5692207"/>
            <a:chExt cx="296687" cy="266228"/>
          </a:xfrm>
          <a:noFill/>
        </p:grpSpPr>
        <p:sp>
          <p:nvSpPr>
            <p:cNvPr id="1381" name="Forma livre: Forma 1380">
              <a:extLst>
                <a:ext uri="{FF2B5EF4-FFF2-40B4-BE49-F238E27FC236}">
                  <a16:creationId xmlns:a16="http://schemas.microsoft.com/office/drawing/2014/main" id="{034BD4AC-BDD9-4CE7-EC3A-ECA45E1430AE}"/>
                </a:ext>
              </a:extLst>
            </p:cNvPr>
            <p:cNvSpPr/>
            <p:nvPr/>
          </p:nvSpPr>
          <p:spPr>
            <a:xfrm>
              <a:off x="10218997" y="5759735"/>
              <a:ext cx="80977" cy="192969"/>
            </a:xfrm>
            <a:custGeom>
              <a:avLst/>
              <a:gdLst>
                <a:gd name="connsiteX0" fmla="*/ 601 w 80977"/>
                <a:gd name="connsiteY0" fmla="*/ 189642 h 192969"/>
                <a:gd name="connsiteX1" fmla="*/ 17841 w 80977"/>
                <a:gd name="connsiteY1" fmla="*/ 192969 h 192969"/>
                <a:gd name="connsiteX2" fmla="*/ 80978 w 80977"/>
                <a:gd name="connsiteY2" fmla="*/ 105567 h 192969"/>
                <a:gd name="connsiteX3" fmla="*/ 80978 w 80977"/>
                <a:gd name="connsiteY3" fmla="*/ 87402 h 192969"/>
                <a:gd name="connsiteX4" fmla="*/ 17841 w 80977"/>
                <a:gd name="connsiteY4" fmla="*/ 0 h 192969"/>
                <a:gd name="connsiteX5" fmla="*/ 0 w 80977"/>
                <a:gd name="connsiteY5" fmla="*/ 3559 h 1929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80977" h="192969">
                  <a:moveTo>
                    <a:pt x="601" y="189642"/>
                  </a:moveTo>
                  <a:cubicBezTo>
                    <a:pt x="6101" y="191814"/>
                    <a:pt x="11879" y="192969"/>
                    <a:pt x="17841" y="192969"/>
                  </a:cubicBezTo>
                  <a:cubicBezTo>
                    <a:pt x="52552" y="192969"/>
                    <a:pt x="80978" y="153636"/>
                    <a:pt x="80978" y="105567"/>
                  </a:cubicBezTo>
                  <a:lnTo>
                    <a:pt x="80978" y="87402"/>
                  </a:lnTo>
                  <a:cubicBezTo>
                    <a:pt x="80978" y="39333"/>
                    <a:pt x="52552" y="0"/>
                    <a:pt x="17841" y="0"/>
                  </a:cubicBezTo>
                  <a:cubicBezTo>
                    <a:pt x="11647" y="0"/>
                    <a:pt x="5685" y="1248"/>
                    <a:pt x="0" y="3559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382" name="Forma livre: Forma 1381">
              <a:extLst>
                <a:ext uri="{FF2B5EF4-FFF2-40B4-BE49-F238E27FC236}">
                  <a16:creationId xmlns:a16="http://schemas.microsoft.com/office/drawing/2014/main" id="{2EB18A51-38E5-F484-17DB-1B6496FB18EA}"/>
                </a:ext>
              </a:extLst>
            </p:cNvPr>
            <p:cNvSpPr/>
            <p:nvPr/>
          </p:nvSpPr>
          <p:spPr>
            <a:xfrm>
              <a:off x="10174164" y="5757470"/>
              <a:ext cx="77326" cy="197545"/>
            </a:xfrm>
            <a:custGeom>
              <a:avLst/>
              <a:gdLst>
                <a:gd name="connsiteX0" fmla="*/ 740 w 77326"/>
                <a:gd name="connsiteY0" fmla="*/ 191352 h 197545"/>
                <a:gd name="connsiteX1" fmla="*/ 23387 w 77326"/>
                <a:gd name="connsiteY1" fmla="*/ 197545 h 197545"/>
                <a:gd name="connsiteX2" fmla="*/ 77326 w 77326"/>
                <a:gd name="connsiteY2" fmla="*/ 130433 h 197545"/>
                <a:gd name="connsiteX3" fmla="*/ 77326 w 77326"/>
                <a:gd name="connsiteY3" fmla="*/ 67112 h 197545"/>
                <a:gd name="connsiteX4" fmla="*/ 23387 w 77326"/>
                <a:gd name="connsiteY4" fmla="*/ 0 h 197545"/>
                <a:gd name="connsiteX5" fmla="*/ 0 w 77326"/>
                <a:gd name="connsiteY5" fmla="*/ 6609 h 1975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7326" h="197545">
                  <a:moveTo>
                    <a:pt x="740" y="191352"/>
                  </a:moveTo>
                  <a:cubicBezTo>
                    <a:pt x="7626" y="195327"/>
                    <a:pt x="15299" y="197545"/>
                    <a:pt x="23387" y="197545"/>
                  </a:cubicBezTo>
                  <a:cubicBezTo>
                    <a:pt x="53061" y="197545"/>
                    <a:pt x="77326" y="167363"/>
                    <a:pt x="77326" y="130433"/>
                  </a:cubicBezTo>
                  <a:lnTo>
                    <a:pt x="77326" y="67112"/>
                  </a:lnTo>
                  <a:cubicBezTo>
                    <a:pt x="77326" y="30182"/>
                    <a:pt x="53061" y="0"/>
                    <a:pt x="23387" y="0"/>
                  </a:cubicBezTo>
                  <a:cubicBezTo>
                    <a:pt x="15022" y="0"/>
                    <a:pt x="7072" y="2403"/>
                    <a:pt x="0" y="6609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383" name="Forma livre: Forma 1382">
              <a:extLst>
                <a:ext uri="{FF2B5EF4-FFF2-40B4-BE49-F238E27FC236}">
                  <a16:creationId xmlns:a16="http://schemas.microsoft.com/office/drawing/2014/main" id="{28D66CC1-FEA5-514D-7C91-A574476C4342}"/>
                </a:ext>
              </a:extLst>
            </p:cNvPr>
            <p:cNvSpPr/>
            <p:nvPr/>
          </p:nvSpPr>
          <p:spPr>
            <a:xfrm>
              <a:off x="10003287" y="5763802"/>
              <a:ext cx="81855" cy="187746"/>
            </a:xfrm>
            <a:custGeom>
              <a:avLst/>
              <a:gdLst>
                <a:gd name="connsiteX0" fmla="*/ 81856 w 81855"/>
                <a:gd name="connsiteY0" fmla="*/ 183864 h 187746"/>
                <a:gd name="connsiteX1" fmla="*/ 63137 w 81855"/>
                <a:gd name="connsiteY1" fmla="*/ 187746 h 187746"/>
                <a:gd name="connsiteX2" fmla="*/ 0 w 81855"/>
                <a:gd name="connsiteY2" fmla="*/ 101269 h 187746"/>
                <a:gd name="connsiteX3" fmla="*/ 0 w 81855"/>
                <a:gd name="connsiteY3" fmla="*/ 83289 h 187746"/>
                <a:gd name="connsiteX4" fmla="*/ 46174 w 81855"/>
                <a:gd name="connsiteY4" fmla="*/ 0 h 1877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1855" h="187746">
                  <a:moveTo>
                    <a:pt x="81856" y="183864"/>
                  </a:moveTo>
                  <a:cubicBezTo>
                    <a:pt x="75940" y="186406"/>
                    <a:pt x="69654" y="187746"/>
                    <a:pt x="63137" y="187746"/>
                  </a:cubicBezTo>
                  <a:cubicBezTo>
                    <a:pt x="28425" y="187746"/>
                    <a:pt x="0" y="148829"/>
                    <a:pt x="0" y="101269"/>
                  </a:cubicBezTo>
                  <a:lnTo>
                    <a:pt x="0" y="83289"/>
                  </a:lnTo>
                  <a:cubicBezTo>
                    <a:pt x="0" y="43771"/>
                    <a:pt x="19597" y="10261"/>
                    <a:pt x="46174" y="0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384" name="Forma livre: Forma 1383">
              <a:extLst>
                <a:ext uri="{FF2B5EF4-FFF2-40B4-BE49-F238E27FC236}">
                  <a16:creationId xmlns:a16="http://schemas.microsoft.com/office/drawing/2014/main" id="{EE1DF203-7CE6-4B64-EB25-C494B565F420}"/>
                </a:ext>
              </a:extLst>
            </p:cNvPr>
            <p:cNvSpPr/>
            <p:nvPr/>
          </p:nvSpPr>
          <p:spPr>
            <a:xfrm>
              <a:off x="10051772" y="5759458"/>
              <a:ext cx="72658" cy="194402"/>
            </a:xfrm>
            <a:custGeom>
              <a:avLst/>
              <a:gdLst>
                <a:gd name="connsiteX0" fmla="*/ 72658 w 72658"/>
                <a:gd name="connsiteY0" fmla="*/ 190242 h 194402"/>
                <a:gd name="connsiteX1" fmla="*/ 53939 w 72658"/>
                <a:gd name="connsiteY1" fmla="*/ 194402 h 194402"/>
                <a:gd name="connsiteX2" fmla="*/ 0 w 72658"/>
                <a:gd name="connsiteY2" fmla="*/ 127984 h 194402"/>
                <a:gd name="connsiteX3" fmla="*/ 0 w 72658"/>
                <a:gd name="connsiteY3" fmla="*/ 65309 h 194402"/>
                <a:gd name="connsiteX4" fmla="*/ 44187 w 72658"/>
                <a:gd name="connsiteY4" fmla="*/ 0 h 1944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2658" h="194402">
                  <a:moveTo>
                    <a:pt x="72658" y="190242"/>
                  </a:moveTo>
                  <a:cubicBezTo>
                    <a:pt x="66834" y="192923"/>
                    <a:pt x="60502" y="194402"/>
                    <a:pt x="53939" y="194402"/>
                  </a:cubicBezTo>
                  <a:cubicBezTo>
                    <a:pt x="24266" y="194402"/>
                    <a:pt x="0" y="164544"/>
                    <a:pt x="0" y="127984"/>
                  </a:cubicBezTo>
                  <a:lnTo>
                    <a:pt x="0" y="65309"/>
                  </a:lnTo>
                  <a:cubicBezTo>
                    <a:pt x="0" y="32863"/>
                    <a:pt x="19135" y="5685"/>
                    <a:pt x="44187" y="0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385" name="Forma livre: Forma 1384">
              <a:extLst>
                <a:ext uri="{FF2B5EF4-FFF2-40B4-BE49-F238E27FC236}">
                  <a16:creationId xmlns:a16="http://schemas.microsoft.com/office/drawing/2014/main" id="{070EDEB7-2722-AFBC-AEE0-AD39F8BC6DDD}"/>
                </a:ext>
              </a:extLst>
            </p:cNvPr>
            <p:cNvSpPr/>
            <p:nvPr/>
          </p:nvSpPr>
          <p:spPr>
            <a:xfrm>
              <a:off x="10103077" y="5754327"/>
              <a:ext cx="92440" cy="204108"/>
            </a:xfrm>
            <a:custGeom>
              <a:avLst/>
              <a:gdLst>
                <a:gd name="connsiteX0" fmla="*/ 92440 w 92440"/>
                <a:gd name="connsiteY0" fmla="*/ 148644 h 204108"/>
                <a:gd name="connsiteX1" fmla="*/ 46220 w 92440"/>
                <a:gd name="connsiteY1" fmla="*/ 204108 h 204108"/>
                <a:gd name="connsiteX2" fmla="*/ 0 w 92440"/>
                <a:gd name="connsiteY2" fmla="*/ 148644 h 204108"/>
                <a:gd name="connsiteX3" fmla="*/ 0 w 92440"/>
                <a:gd name="connsiteY3" fmla="*/ 55464 h 204108"/>
                <a:gd name="connsiteX4" fmla="*/ 46220 w 92440"/>
                <a:gd name="connsiteY4" fmla="*/ 0 h 204108"/>
                <a:gd name="connsiteX5" fmla="*/ 92440 w 92440"/>
                <a:gd name="connsiteY5" fmla="*/ 55464 h 204108"/>
                <a:gd name="connsiteX6" fmla="*/ 92440 w 92440"/>
                <a:gd name="connsiteY6" fmla="*/ 148644 h 2041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92440" h="204108">
                  <a:moveTo>
                    <a:pt x="92440" y="148644"/>
                  </a:moveTo>
                  <a:cubicBezTo>
                    <a:pt x="92440" y="179149"/>
                    <a:pt x="71641" y="204108"/>
                    <a:pt x="46220" y="204108"/>
                  </a:cubicBezTo>
                  <a:cubicBezTo>
                    <a:pt x="20799" y="204108"/>
                    <a:pt x="0" y="179149"/>
                    <a:pt x="0" y="148644"/>
                  </a:cubicBezTo>
                  <a:lnTo>
                    <a:pt x="0" y="55464"/>
                  </a:lnTo>
                  <a:cubicBezTo>
                    <a:pt x="0" y="24959"/>
                    <a:pt x="20799" y="0"/>
                    <a:pt x="46220" y="0"/>
                  </a:cubicBezTo>
                  <a:cubicBezTo>
                    <a:pt x="71641" y="0"/>
                    <a:pt x="92440" y="24959"/>
                    <a:pt x="92440" y="55464"/>
                  </a:cubicBezTo>
                  <a:lnTo>
                    <a:pt x="92440" y="148644"/>
                  </a:ln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386" name="Forma livre: Forma 1385">
              <a:extLst>
                <a:ext uri="{FF2B5EF4-FFF2-40B4-BE49-F238E27FC236}">
                  <a16:creationId xmlns:a16="http://schemas.microsoft.com/office/drawing/2014/main" id="{7B60E385-4FDD-DC90-F2C6-192925E29E24}"/>
                </a:ext>
              </a:extLst>
            </p:cNvPr>
            <p:cNvSpPr/>
            <p:nvPr/>
          </p:nvSpPr>
          <p:spPr>
            <a:xfrm>
              <a:off x="10118052" y="5692207"/>
              <a:ext cx="47144" cy="65262"/>
            </a:xfrm>
            <a:custGeom>
              <a:avLst/>
              <a:gdLst>
                <a:gd name="connsiteX0" fmla="*/ 47145 w 47144"/>
                <a:gd name="connsiteY0" fmla="*/ 65263 h 65262"/>
                <a:gd name="connsiteX1" fmla="*/ 14190 w 47144"/>
                <a:gd name="connsiteY1" fmla="*/ 0 h 65262"/>
                <a:gd name="connsiteX2" fmla="*/ 0 w 47144"/>
                <a:gd name="connsiteY2" fmla="*/ 16454 h 65262"/>
                <a:gd name="connsiteX3" fmla="*/ 16547 w 47144"/>
                <a:gd name="connsiteY3" fmla="*/ 64754 h 652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7144" h="65262">
                  <a:moveTo>
                    <a:pt x="47145" y="65263"/>
                  </a:moveTo>
                  <a:cubicBezTo>
                    <a:pt x="47145" y="65263"/>
                    <a:pt x="38085" y="23434"/>
                    <a:pt x="14190" y="0"/>
                  </a:cubicBezTo>
                  <a:lnTo>
                    <a:pt x="0" y="16454"/>
                  </a:lnTo>
                  <a:cubicBezTo>
                    <a:pt x="0" y="16454"/>
                    <a:pt x="12895" y="33047"/>
                    <a:pt x="16547" y="64754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387" name="Gráfico 21">
            <a:extLst>
              <a:ext uri="{FF2B5EF4-FFF2-40B4-BE49-F238E27FC236}">
                <a16:creationId xmlns:a16="http://schemas.microsoft.com/office/drawing/2014/main" id="{A4521572-6355-2D85-1CDA-086485D93A0B}"/>
              </a:ext>
            </a:extLst>
          </p:cNvPr>
          <p:cNvGrpSpPr/>
          <p:nvPr/>
        </p:nvGrpSpPr>
        <p:grpSpPr>
          <a:xfrm>
            <a:off x="9995014" y="5211286"/>
            <a:ext cx="313234" cy="208039"/>
            <a:chOff x="9995014" y="5211286"/>
            <a:chExt cx="313234" cy="208039"/>
          </a:xfrm>
          <a:noFill/>
        </p:grpSpPr>
        <p:sp>
          <p:nvSpPr>
            <p:cNvPr id="1388" name="Forma livre: Forma 1387">
              <a:extLst>
                <a:ext uri="{FF2B5EF4-FFF2-40B4-BE49-F238E27FC236}">
                  <a16:creationId xmlns:a16="http://schemas.microsoft.com/office/drawing/2014/main" id="{691382AA-ED48-9339-F0AD-68BB0FF057B5}"/>
                </a:ext>
              </a:extLst>
            </p:cNvPr>
            <p:cNvSpPr/>
            <p:nvPr/>
          </p:nvSpPr>
          <p:spPr>
            <a:xfrm>
              <a:off x="10003842" y="5303033"/>
              <a:ext cx="295994" cy="116292"/>
            </a:xfrm>
            <a:custGeom>
              <a:avLst/>
              <a:gdLst>
                <a:gd name="connsiteX0" fmla="*/ 0 w 295994"/>
                <a:gd name="connsiteY0" fmla="*/ 44649 h 116292"/>
                <a:gd name="connsiteX1" fmla="*/ 50241 w 295994"/>
                <a:gd name="connsiteY1" fmla="*/ 97062 h 116292"/>
                <a:gd name="connsiteX2" fmla="*/ 117261 w 295994"/>
                <a:gd name="connsiteY2" fmla="*/ 116013 h 116292"/>
                <a:gd name="connsiteX3" fmla="*/ 263455 w 295994"/>
                <a:gd name="connsiteY3" fmla="*/ 35451 h 116292"/>
                <a:gd name="connsiteX4" fmla="*/ 295994 w 295994"/>
                <a:gd name="connsiteY4" fmla="*/ 0 h 1162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95994" h="116292">
                  <a:moveTo>
                    <a:pt x="0" y="44649"/>
                  </a:moveTo>
                  <a:cubicBezTo>
                    <a:pt x="10353" y="65586"/>
                    <a:pt x="24774" y="82919"/>
                    <a:pt x="50241" y="97062"/>
                  </a:cubicBezTo>
                  <a:cubicBezTo>
                    <a:pt x="50241" y="97062"/>
                    <a:pt x="84213" y="116013"/>
                    <a:pt x="117261" y="116013"/>
                  </a:cubicBezTo>
                  <a:cubicBezTo>
                    <a:pt x="117261" y="116013"/>
                    <a:pt x="188902" y="125395"/>
                    <a:pt x="263455" y="35451"/>
                  </a:cubicBezTo>
                  <a:cubicBezTo>
                    <a:pt x="263455" y="35451"/>
                    <a:pt x="276720" y="18765"/>
                    <a:pt x="295994" y="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389" name="Forma livre: Forma 1388">
              <a:extLst>
                <a:ext uri="{FF2B5EF4-FFF2-40B4-BE49-F238E27FC236}">
                  <a16:creationId xmlns:a16="http://schemas.microsoft.com/office/drawing/2014/main" id="{7490D2E2-9DB7-5437-3016-CD1002A95679}"/>
                </a:ext>
              </a:extLst>
            </p:cNvPr>
            <p:cNvSpPr/>
            <p:nvPr/>
          </p:nvSpPr>
          <p:spPr>
            <a:xfrm>
              <a:off x="9995014" y="5211286"/>
              <a:ext cx="313234" cy="147858"/>
            </a:xfrm>
            <a:custGeom>
              <a:avLst/>
              <a:gdLst>
                <a:gd name="connsiteX0" fmla="*/ 0 w 313234"/>
                <a:gd name="connsiteY0" fmla="*/ 73906 h 147858"/>
                <a:gd name="connsiteX1" fmla="*/ 119895 w 313234"/>
                <a:gd name="connsiteY1" fmla="*/ 147859 h 147858"/>
                <a:gd name="connsiteX2" fmla="*/ 218483 w 313234"/>
                <a:gd name="connsiteY2" fmla="*/ 122114 h 147858"/>
                <a:gd name="connsiteX3" fmla="*/ 298767 w 313234"/>
                <a:gd name="connsiteY3" fmla="*/ 94705 h 147858"/>
                <a:gd name="connsiteX4" fmla="*/ 313234 w 313234"/>
                <a:gd name="connsiteY4" fmla="*/ 73768 h 147858"/>
                <a:gd name="connsiteX5" fmla="*/ 313234 w 313234"/>
                <a:gd name="connsiteY5" fmla="*/ 73536 h 147858"/>
                <a:gd name="connsiteX6" fmla="*/ 298767 w 313234"/>
                <a:gd name="connsiteY6" fmla="*/ 53153 h 147858"/>
                <a:gd name="connsiteX7" fmla="*/ 218483 w 313234"/>
                <a:gd name="connsiteY7" fmla="*/ 25745 h 147858"/>
                <a:gd name="connsiteX8" fmla="*/ 119895 w 313234"/>
                <a:gd name="connsiteY8" fmla="*/ 0 h 147858"/>
                <a:gd name="connsiteX9" fmla="*/ 0 w 313234"/>
                <a:gd name="connsiteY9" fmla="*/ 73768 h 1478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13234" h="147858">
                  <a:moveTo>
                    <a:pt x="0" y="73906"/>
                  </a:moveTo>
                  <a:cubicBezTo>
                    <a:pt x="0" y="91100"/>
                    <a:pt x="17841" y="147859"/>
                    <a:pt x="119895" y="147859"/>
                  </a:cubicBezTo>
                  <a:cubicBezTo>
                    <a:pt x="119895" y="147859"/>
                    <a:pt x="169212" y="147489"/>
                    <a:pt x="218483" y="122114"/>
                  </a:cubicBezTo>
                  <a:cubicBezTo>
                    <a:pt x="218483" y="122114"/>
                    <a:pt x="247740" y="107832"/>
                    <a:pt x="298767" y="94705"/>
                  </a:cubicBezTo>
                  <a:cubicBezTo>
                    <a:pt x="298767" y="94705"/>
                    <a:pt x="313234" y="91193"/>
                    <a:pt x="313234" y="73768"/>
                  </a:cubicBezTo>
                  <a:lnTo>
                    <a:pt x="313234" y="73536"/>
                  </a:lnTo>
                  <a:cubicBezTo>
                    <a:pt x="313234" y="56111"/>
                    <a:pt x="298767" y="53153"/>
                    <a:pt x="298767" y="53153"/>
                  </a:cubicBezTo>
                  <a:cubicBezTo>
                    <a:pt x="247787" y="40073"/>
                    <a:pt x="218483" y="25745"/>
                    <a:pt x="218483" y="25745"/>
                  </a:cubicBezTo>
                  <a:cubicBezTo>
                    <a:pt x="169166" y="370"/>
                    <a:pt x="119895" y="0"/>
                    <a:pt x="119895" y="0"/>
                  </a:cubicBezTo>
                  <a:cubicBezTo>
                    <a:pt x="17841" y="0"/>
                    <a:pt x="0" y="50565"/>
                    <a:pt x="0" y="73768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390" name="Forma livre: Forma 1389">
              <a:extLst>
                <a:ext uri="{FF2B5EF4-FFF2-40B4-BE49-F238E27FC236}">
                  <a16:creationId xmlns:a16="http://schemas.microsoft.com/office/drawing/2014/main" id="{76B4094F-BB0B-A321-B09D-C2E70FA9E662}"/>
                </a:ext>
              </a:extLst>
            </p:cNvPr>
            <p:cNvSpPr/>
            <p:nvPr/>
          </p:nvSpPr>
          <p:spPr>
            <a:xfrm>
              <a:off x="10046902" y="5243501"/>
              <a:ext cx="133454" cy="77341"/>
            </a:xfrm>
            <a:custGeom>
              <a:avLst/>
              <a:gdLst>
                <a:gd name="connsiteX0" fmla="*/ 133455 w 133454"/>
                <a:gd name="connsiteY0" fmla="*/ 55649 h 77341"/>
                <a:gd name="connsiteX1" fmla="*/ 66621 w 133454"/>
                <a:gd name="connsiteY1" fmla="*/ 0 h 77341"/>
                <a:gd name="connsiteX2" fmla="*/ 17 w 133454"/>
                <a:gd name="connsiteY2" fmla="*/ 54725 h 77341"/>
                <a:gd name="connsiteX3" fmla="*/ 17 w 133454"/>
                <a:gd name="connsiteY3" fmla="*/ 55095 h 77341"/>
                <a:gd name="connsiteX4" fmla="*/ 133363 w 133454"/>
                <a:gd name="connsiteY4" fmla="*/ 55973 h 77341"/>
                <a:gd name="connsiteX5" fmla="*/ 133455 w 133454"/>
                <a:gd name="connsiteY5" fmla="*/ 55649 h 773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33454" h="77341">
                  <a:moveTo>
                    <a:pt x="133455" y="55649"/>
                  </a:moveTo>
                  <a:cubicBezTo>
                    <a:pt x="133455" y="23665"/>
                    <a:pt x="103458" y="0"/>
                    <a:pt x="66621" y="0"/>
                  </a:cubicBezTo>
                  <a:cubicBezTo>
                    <a:pt x="29783" y="0"/>
                    <a:pt x="17" y="22694"/>
                    <a:pt x="17" y="54725"/>
                  </a:cubicBezTo>
                  <a:lnTo>
                    <a:pt x="17" y="55095"/>
                  </a:lnTo>
                  <a:cubicBezTo>
                    <a:pt x="-1046" y="54263"/>
                    <a:pt x="47162" y="104966"/>
                    <a:pt x="133363" y="55973"/>
                  </a:cubicBezTo>
                  <a:lnTo>
                    <a:pt x="133455" y="55649"/>
                  </a:ln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391" name="Forma livre: Forma 1390">
              <a:extLst>
                <a:ext uri="{FF2B5EF4-FFF2-40B4-BE49-F238E27FC236}">
                  <a16:creationId xmlns:a16="http://schemas.microsoft.com/office/drawing/2014/main" id="{51F0F9F2-08F1-D304-3D67-E9D47E94755A}"/>
                </a:ext>
              </a:extLst>
            </p:cNvPr>
            <p:cNvSpPr/>
            <p:nvPr/>
          </p:nvSpPr>
          <p:spPr>
            <a:xfrm>
              <a:off x="10081030" y="5268229"/>
              <a:ext cx="24126" cy="18164"/>
            </a:xfrm>
            <a:custGeom>
              <a:avLst/>
              <a:gdLst>
                <a:gd name="connsiteX0" fmla="*/ 24127 w 24126"/>
                <a:gd name="connsiteY0" fmla="*/ 0 h 18164"/>
                <a:gd name="connsiteX1" fmla="*/ 0 w 24126"/>
                <a:gd name="connsiteY1" fmla="*/ 18165 h 181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4126" h="18164">
                  <a:moveTo>
                    <a:pt x="24127" y="0"/>
                  </a:moveTo>
                  <a:cubicBezTo>
                    <a:pt x="24127" y="0"/>
                    <a:pt x="7857" y="1340"/>
                    <a:pt x="0" y="18165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392" name="Gráfico 21">
            <a:extLst>
              <a:ext uri="{FF2B5EF4-FFF2-40B4-BE49-F238E27FC236}">
                <a16:creationId xmlns:a16="http://schemas.microsoft.com/office/drawing/2014/main" id="{2D9EDC30-FE08-CFED-B895-DDBD35A51D7C}"/>
              </a:ext>
            </a:extLst>
          </p:cNvPr>
          <p:cNvGrpSpPr/>
          <p:nvPr/>
        </p:nvGrpSpPr>
        <p:grpSpPr>
          <a:xfrm>
            <a:off x="10634858" y="3629584"/>
            <a:ext cx="236062" cy="311662"/>
            <a:chOff x="10634858" y="3629584"/>
            <a:chExt cx="236062" cy="311662"/>
          </a:xfrm>
          <a:noFill/>
        </p:grpSpPr>
        <p:sp>
          <p:nvSpPr>
            <p:cNvPr id="1393" name="Forma livre: Forma 1392">
              <a:extLst>
                <a:ext uri="{FF2B5EF4-FFF2-40B4-BE49-F238E27FC236}">
                  <a16:creationId xmlns:a16="http://schemas.microsoft.com/office/drawing/2014/main" id="{DF2223BC-9E8A-DBD7-3A6F-9E6BF2607EEF}"/>
                </a:ext>
              </a:extLst>
            </p:cNvPr>
            <p:cNvSpPr/>
            <p:nvPr/>
          </p:nvSpPr>
          <p:spPr>
            <a:xfrm>
              <a:off x="10634858" y="3712087"/>
              <a:ext cx="76523" cy="211087"/>
            </a:xfrm>
            <a:custGeom>
              <a:avLst/>
              <a:gdLst>
                <a:gd name="connsiteX0" fmla="*/ 76523 w 76523"/>
                <a:gd name="connsiteY0" fmla="*/ 211088 h 211087"/>
                <a:gd name="connsiteX1" fmla="*/ 16206 w 76523"/>
                <a:gd name="connsiteY1" fmla="*/ 141989 h 211087"/>
                <a:gd name="connsiteX2" fmla="*/ 1138 w 76523"/>
                <a:gd name="connsiteY2" fmla="*/ 52922 h 211087"/>
                <a:gd name="connsiteX3" fmla="*/ 32937 w 76523"/>
                <a:gd name="connsiteY3" fmla="*/ 0 h 2110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6523" h="211087">
                  <a:moveTo>
                    <a:pt x="76523" y="211088"/>
                  </a:moveTo>
                  <a:cubicBezTo>
                    <a:pt x="44261" y="209886"/>
                    <a:pt x="24109" y="179427"/>
                    <a:pt x="16206" y="141989"/>
                  </a:cubicBezTo>
                  <a:lnTo>
                    <a:pt x="1138" y="52922"/>
                  </a:lnTo>
                  <a:cubicBezTo>
                    <a:pt x="-3530" y="29073"/>
                    <a:pt x="5991" y="4067"/>
                    <a:pt x="32937" y="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394" name="Forma livre: Forma 1393">
              <a:extLst>
                <a:ext uri="{FF2B5EF4-FFF2-40B4-BE49-F238E27FC236}">
                  <a16:creationId xmlns:a16="http://schemas.microsoft.com/office/drawing/2014/main" id="{1E710B6F-FCAC-5844-163B-F5A879F62B8D}"/>
                </a:ext>
              </a:extLst>
            </p:cNvPr>
            <p:cNvSpPr/>
            <p:nvPr/>
          </p:nvSpPr>
          <p:spPr>
            <a:xfrm>
              <a:off x="10798275" y="3711575"/>
              <a:ext cx="72645" cy="211322"/>
            </a:xfrm>
            <a:custGeom>
              <a:avLst/>
              <a:gdLst>
                <a:gd name="connsiteX0" fmla="*/ 0 w 72645"/>
                <a:gd name="connsiteY0" fmla="*/ 211323 h 211322"/>
                <a:gd name="connsiteX1" fmla="*/ 56389 w 72645"/>
                <a:gd name="connsiteY1" fmla="*/ 142547 h 211322"/>
                <a:gd name="connsiteX2" fmla="*/ 71503 w 72645"/>
                <a:gd name="connsiteY2" fmla="*/ 53481 h 211322"/>
                <a:gd name="connsiteX3" fmla="*/ 9198 w 72645"/>
                <a:gd name="connsiteY3" fmla="*/ 3563 h 2113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2645" h="211322">
                  <a:moveTo>
                    <a:pt x="0" y="211323"/>
                  </a:moveTo>
                  <a:cubicBezTo>
                    <a:pt x="29951" y="207902"/>
                    <a:pt x="48809" y="178414"/>
                    <a:pt x="56389" y="142547"/>
                  </a:cubicBezTo>
                  <a:lnTo>
                    <a:pt x="71503" y="53481"/>
                  </a:lnTo>
                  <a:cubicBezTo>
                    <a:pt x="77650" y="22190"/>
                    <a:pt x="59301" y="-11089"/>
                    <a:pt x="9198" y="3563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395" name="Forma livre: Forma 1394">
              <a:extLst>
                <a:ext uri="{FF2B5EF4-FFF2-40B4-BE49-F238E27FC236}">
                  <a16:creationId xmlns:a16="http://schemas.microsoft.com/office/drawing/2014/main" id="{A740521A-611A-447C-2037-B76B099DA820}"/>
                </a:ext>
              </a:extLst>
            </p:cNvPr>
            <p:cNvSpPr/>
            <p:nvPr/>
          </p:nvSpPr>
          <p:spPr>
            <a:xfrm>
              <a:off x="10676751" y="3713832"/>
              <a:ext cx="154674" cy="227415"/>
            </a:xfrm>
            <a:custGeom>
              <a:avLst/>
              <a:gdLst>
                <a:gd name="connsiteX0" fmla="*/ 86905 w 154674"/>
                <a:gd name="connsiteY0" fmla="*/ 227415 h 227415"/>
                <a:gd name="connsiteX1" fmla="*/ 138163 w 154674"/>
                <a:gd name="connsiteY1" fmla="*/ 164972 h 227415"/>
                <a:gd name="connsiteX2" fmla="*/ 150365 w 154674"/>
                <a:gd name="connsiteY2" fmla="*/ 108075 h 227415"/>
                <a:gd name="connsiteX3" fmla="*/ 154155 w 154674"/>
                <a:gd name="connsiteY3" fmla="*/ 54367 h 227415"/>
                <a:gd name="connsiteX4" fmla="*/ 95872 w 154674"/>
                <a:gd name="connsiteY4" fmla="*/ 4079 h 227415"/>
                <a:gd name="connsiteX5" fmla="*/ 58803 w 154674"/>
                <a:gd name="connsiteY5" fmla="*/ 4079 h 227415"/>
                <a:gd name="connsiteX6" fmla="*/ 519 w 154674"/>
                <a:gd name="connsiteY6" fmla="*/ 54367 h 227415"/>
                <a:gd name="connsiteX7" fmla="*/ 4310 w 154674"/>
                <a:gd name="connsiteY7" fmla="*/ 108075 h 227415"/>
                <a:gd name="connsiteX8" fmla="*/ 16512 w 154674"/>
                <a:gd name="connsiteY8" fmla="*/ 164972 h 227415"/>
                <a:gd name="connsiteX9" fmla="*/ 67770 w 154674"/>
                <a:gd name="connsiteY9" fmla="*/ 227415 h 227415"/>
                <a:gd name="connsiteX10" fmla="*/ 86859 w 154674"/>
                <a:gd name="connsiteY10" fmla="*/ 227415 h 2274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54674" h="227415">
                  <a:moveTo>
                    <a:pt x="86905" y="227415"/>
                  </a:moveTo>
                  <a:cubicBezTo>
                    <a:pt x="115238" y="227415"/>
                    <a:pt x="125869" y="204998"/>
                    <a:pt x="138163" y="164972"/>
                  </a:cubicBezTo>
                  <a:cubicBezTo>
                    <a:pt x="138163" y="164972"/>
                    <a:pt x="143941" y="148425"/>
                    <a:pt x="150365" y="108075"/>
                  </a:cubicBezTo>
                  <a:cubicBezTo>
                    <a:pt x="156744" y="67724"/>
                    <a:pt x="154155" y="54367"/>
                    <a:pt x="154155" y="54367"/>
                  </a:cubicBezTo>
                  <a:cubicBezTo>
                    <a:pt x="151151" y="18315"/>
                    <a:pt x="141907" y="-11035"/>
                    <a:pt x="95872" y="4079"/>
                  </a:cubicBezTo>
                  <a:cubicBezTo>
                    <a:pt x="89309" y="6251"/>
                    <a:pt x="65366" y="6251"/>
                    <a:pt x="58803" y="4079"/>
                  </a:cubicBezTo>
                  <a:cubicBezTo>
                    <a:pt x="12768" y="-11081"/>
                    <a:pt x="3524" y="18315"/>
                    <a:pt x="519" y="54367"/>
                  </a:cubicBezTo>
                  <a:cubicBezTo>
                    <a:pt x="519" y="54367"/>
                    <a:pt x="-2069" y="67678"/>
                    <a:pt x="4310" y="108075"/>
                  </a:cubicBezTo>
                  <a:cubicBezTo>
                    <a:pt x="10734" y="148425"/>
                    <a:pt x="16512" y="164972"/>
                    <a:pt x="16512" y="164972"/>
                  </a:cubicBezTo>
                  <a:cubicBezTo>
                    <a:pt x="28806" y="205045"/>
                    <a:pt x="39437" y="227415"/>
                    <a:pt x="67770" y="227415"/>
                  </a:cubicBezTo>
                  <a:lnTo>
                    <a:pt x="86859" y="227415"/>
                  </a:ln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396" name="Forma livre: Forma 1395">
              <a:extLst>
                <a:ext uri="{FF2B5EF4-FFF2-40B4-BE49-F238E27FC236}">
                  <a16:creationId xmlns:a16="http://schemas.microsoft.com/office/drawing/2014/main" id="{D249F06A-1BD6-42AE-07BB-2C19BD0044E6}"/>
                </a:ext>
              </a:extLst>
            </p:cNvPr>
            <p:cNvSpPr/>
            <p:nvPr/>
          </p:nvSpPr>
          <p:spPr>
            <a:xfrm>
              <a:off x="10715890" y="3758030"/>
              <a:ext cx="3163" cy="46220"/>
            </a:xfrm>
            <a:custGeom>
              <a:avLst/>
              <a:gdLst>
                <a:gd name="connsiteX0" fmla="*/ 3163 w 3163"/>
                <a:gd name="connsiteY0" fmla="*/ 0 h 46220"/>
                <a:gd name="connsiteX1" fmla="*/ 1546 w 3163"/>
                <a:gd name="connsiteY1" fmla="*/ 46220 h 462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163" h="46220">
                  <a:moveTo>
                    <a:pt x="3163" y="0"/>
                  </a:moveTo>
                  <a:cubicBezTo>
                    <a:pt x="3163" y="0"/>
                    <a:pt x="-2707" y="18211"/>
                    <a:pt x="1546" y="4622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397" name="Forma livre: Forma 1396">
              <a:extLst>
                <a:ext uri="{FF2B5EF4-FFF2-40B4-BE49-F238E27FC236}">
                  <a16:creationId xmlns:a16="http://schemas.microsoft.com/office/drawing/2014/main" id="{59737909-FDB2-34E1-BD60-6BE520BF91B6}"/>
                </a:ext>
              </a:extLst>
            </p:cNvPr>
            <p:cNvSpPr/>
            <p:nvPr/>
          </p:nvSpPr>
          <p:spPr>
            <a:xfrm>
              <a:off x="10721781" y="3629584"/>
              <a:ext cx="97339" cy="81532"/>
            </a:xfrm>
            <a:custGeom>
              <a:avLst/>
              <a:gdLst>
                <a:gd name="connsiteX0" fmla="*/ 97340 w 97339"/>
                <a:gd name="connsiteY0" fmla="*/ 81532 h 81532"/>
                <a:gd name="connsiteX1" fmla="*/ 39657 w 97339"/>
                <a:gd name="connsiteY1" fmla="*/ 62028 h 81532"/>
                <a:gd name="connsiteX2" fmla="*/ 39195 w 97339"/>
                <a:gd name="connsiteY2" fmla="*/ 62028 h 81532"/>
                <a:gd name="connsiteX3" fmla="*/ 17333 w 97339"/>
                <a:gd name="connsiteY3" fmla="*/ 0 h 81532"/>
                <a:gd name="connsiteX4" fmla="*/ 0 w 97339"/>
                <a:gd name="connsiteY4" fmla="*/ 12156 h 81532"/>
                <a:gd name="connsiteX5" fmla="*/ 10677 w 97339"/>
                <a:gd name="connsiteY5" fmla="*/ 62628 h 815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7339" h="81532">
                  <a:moveTo>
                    <a:pt x="97340" y="81532"/>
                  </a:moveTo>
                  <a:cubicBezTo>
                    <a:pt x="97340" y="81532"/>
                    <a:pt x="79452" y="62767"/>
                    <a:pt x="39657" y="62028"/>
                  </a:cubicBezTo>
                  <a:lnTo>
                    <a:pt x="39195" y="62028"/>
                  </a:lnTo>
                  <a:cubicBezTo>
                    <a:pt x="39195" y="62028"/>
                    <a:pt x="35913" y="26484"/>
                    <a:pt x="17333" y="0"/>
                  </a:cubicBezTo>
                  <a:lnTo>
                    <a:pt x="0" y="12156"/>
                  </a:lnTo>
                  <a:cubicBezTo>
                    <a:pt x="0" y="12156"/>
                    <a:pt x="8366" y="37207"/>
                    <a:pt x="10677" y="62628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398" name="Gráfico 21">
            <a:extLst>
              <a:ext uri="{FF2B5EF4-FFF2-40B4-BE49-F238E27FC236}">
                <a16:creationId xmlns:a16="http://schemas.microsoft.com/office/drawing/2014/main" id="{47FA28B1-BE19-DA38-43B6-2A3EBD0BE075}"/>
              </a:ext>
            </a:extLst>
          </p:cNvPr>
          <p:cNvGrpSpPr/>
          <p:nvPr/>
        </p:nvGrpSpPr>
        <p:grpSpPr>
          <a:xfrm>
            <a:off x="10612816" y="4155385"/>
            <a:ext cx="280071" cy="280117"/>
            <a:chOff x="10612816" y="4155385"/>
            <a:chExt cx="280071" cy="280117"/>
          </a:xfrm>
          <a:noFill/>
        </p:grpSpPr>
        <p:sp>
          <p:nvSpPr>
            <p:cNvPr id="1399" name="Forma livre: Forma 1398">
              <a:extLst>
                <a:ext uri="{FF2B5EF4-FFF2-40B4-BE49-F238E27FC236}">
                  <a16:creationId xmlns:a16="http://schemas.microsoft.com/office/drawing/2014/main" id="{6C7C5A2E-5D75-85C2-95B0-35CD79A6CD09}"/>
                </a:ext>
              </a:extLst>
            </p:cNvPr>
            <p:cNvSpPr/>
            <p:nvPr/>
          </p:nvSpPr>
          <p:spPr>
            <a:xfrm>
              <a:off x="10651353" y="4182563"/>
              <a:ext cx="214357" cy="214357"/>
            </a:xfrm>
            <a:custGeom>
              <a:avLst/>
              <a:gdLst>
                <a:gd name="connsiteX0" fmla="*/ 214358 w 214357"/>
                <a:gd name="connsiteY0" fmla="*/ 177578 h 214357"/>
                <a:gd name="connsiteX1" fmla="*/ 36780 w 214357"/>
                <a:gd name="connsiteY1" fmla="*/ 177578 h 214357"/>
                <a:gd name="connsiteX2" fmla="*/ 36780 w 214357"/>
                <a:gd name="connsiteY2" fmla="*/ 0 h 214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14357" h="214357">
                  <a:moveTo>
                    <a:pt x="214358" y="177578"/>
                  </a:moveTo>
                  <a:cubicBezTo>
                    <a:pt x="165318" y="226618"/>
                    <a:pt x="85819" y="226618"/>
                    <a:pt x="36780" y="177578"/>
                  </a:cubicBezTo>
                  <a:cubicBezTo>
                    <a:pt x="-12260" y="128538"/>
                    <a:pt x="-12260" y="49040"/>
                    <a:pt x="36780" y="0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00" name="Forma livre: Forma 1399">
              <a:extLst>
                <a:ext uri="{FF2B5EF4-FFF2-40B4-BE49-F238E27FC236}">
                  <a16:creationId xmlns:a16="http://schemas.microsoft.com/office/drawing/2014/main" id="{491ECE74-CF4E-3CCD-830A-ABE0CD275316}"/>
                </a:ext>
              </a:extLst>
            </p:cNvPr>
            <p:cNvSpPr/>
            <p:nvPr/>
          </p:nvSpPr>
          <p:spPr>
            <a:xfrm>
              <a:off x="10612816" y="4155385"/>
              <a:ext cx="280071" cy="280117"/>
            </a:xfrm>
            <a:custGeom>
              <a:avLst/>
              <a:gdLst>
                <a:gd name="connsiteX0" fmla="*/ 180975 w 280071"/>
                <a:gd name="connsiteY0" fmla="*/ 132883 h 280117"/>
                <a:gd name="connsiteX1" fmla="*/ 147188 w 280071"/>
                <a:gd name="connsiteY1" fmla="*/ 132883 h 280117"/>
                <a:gd name="connsiteX2" fmla="*/ 147188 w 280071"/>
                <a:gd name="connsiteY2" fmla="*/ 99142 h 280117"/>
                <a:gd name="connsiteX3" fmla="*/ 48046 w 280071"/>
                <a:gd name="connsiteY3" fmla="*/ 0 h 280117"/>
                <a:gd name="connsiteX4" fmla="*/ 48046 w 280071"/>
                <a:gd name="connsiteY4" fmla="*/ 232072 h 280117"/>
                <a:gd name="connsiteX5" fmla="*/ 280071 w 280071"/>
                <a:gd name="connsiteY5" fmla="*/ 232072 h 280117"/>
                <a:gd name="connsiteX6" fmla="*/ 180929 w 280071"/>
                <a:gd name="connsiteY6" fmla="*/ 132929 h 280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80071" h="280117">
                  <a:moveTo>
                    <a:pt x="180975" y="132883"/>
                  </a:moveTo>
                  <a:cubicBezTo>
                    <a:pt x="171639" y="142220"/>
                    <a:pt x="156525" y="142220"/>
                    <a:pt x="147188" y="132883"/>
                  </a:cubicBezTo>
                  <a:cubicBezTo>
                    <a:pt x="137852" y="123547"/>
                    <a:pt x="137852" y="108433"/>
                    <a:pt x="147188" y="99142"/>
                  </a:cubicBezTo>
                  <a:lnTo>
                    <a:pt x="48046" y="0"/>
                  </a:lnTo>
                  <a:cubicBezTo>
                    <a:pt x="-16015" y="64061"/>
                    <a:pt x="-16015" y="167964"/>
                    <a:pt x="48046" y="232072"/>
                  </a:cubicBezTo>
                  <a:cubicBezTo>
                    <a:pt x="112107" y="296133"/>
                    <a:pt x="216010" y="296133"/>
                    <a:pt x="280071" y="232072"/>
                  </a:cubicBezTo>
                  <a:lnTo>
                    <a:pt x="180929" y="132929"/>
                  </a:ln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401" name="Gráfico 21">
              <a:extLst>
                <a:ext uri="{FF2B5EF4-FFF2-40B4-BE49-F238E27FC236}">
                  <a16:creationId xmlns:a16="http://schemas.microsoft.com/office/drawing/2014/main" id="{CB9E1DA8-747C-EC53-FE7D-CC412B6DD952}"/>
                </a:ext>
              </a:extLst>
            </p:cNvPr>
            <p:cNvGrpSpPr/>
            <p:nvPr/>
          </p:nvGrpSpPr>
          <p:grpSpPr>
            <a:xfrm>
              <a:off x="10652450" y="4276759"/>
              <a:ext cx="119063" cy="118647"/>
              <a:chOff x="10652450" y="4276759"/>
              <a:chExt cx="119063" cy="118647"/>
            </a:xfrm>
          </p:grpSpPr>
          <p:sp>
            <p:nvSpPr>
              <p:cNvPr id="1402" name="Forma livre: Forma 1401">
                <a:extLst>
                  <a:ext uri="{FF2B5EF4-FFF2-40B4-BE49-F238E27FC236}">
                    <a16:creationId xmlns:a16="http://schemas.microsoft.com/office/drawing/2014/main" id="{BFF83534-DA69-8B91-5825-42BEAA426807}"/>
                  </a:ext>
                </a:extLst>
              </p:cNvPr>
              <p:cNvSpPr/>
              <p:nvPr/>
            </p:nvSpPr>
            <p:spPr>
              <a:xfrm>
                <a:off x="10652450" y="4276759"/>
                <a:ext cx="99327" cy="4622"/>
              </a:xfrm>
              <a:custGeom>
                <a:avLst/>
                <a:gdLst>
                  <a:gd name="connsiteX0" fmla="*/ 99327 w 99327"/>
                  <a:gd name="connsiteY0" fmla="*/ 0 h 4622"/>
                  <a:gd name="connsiteX1" fmla="*/ 0 w 99327"/>
                  <a:gd name="connsiteY1" fmla="*/ 0 h 46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9327" h="4622">
                    <a:moveTo>
                      <a:pt x="99327" y="0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403" name="Forma livre: Forma 1402">
                <a:extLst>
                  <a:ext uri="{FF2B5EF4-FFF2-40B4-BE49-F238E27FC236}">
                    <a16:creationId xmlns:a16="http://schemas.microsoft.com/office/drawing/2014/main" id="{6B46DDC9-C7FA-F0BA-F4D1-068AFF200CA5}"/>
                  </a:ext>
                </a:extLst>
              </p:cNvPr>
              <p:cNvSpPr/>
              <p:nvPr/>
            </p:nvSpPr>
            <p:spPr>
              <a:xfrm>
                <a:off x="10771514" y="4296495"/>
                <a:ext cx="4622" cy="98911"/>
              </a:xfrm>
              <a:custGeom>
                <a:avLst/>
                <a:gdLst>
                  <a:gd name="connsiteX0" fmla="*/ 0 w 4622"/>
                  <a:gd name="connsiteY0" fmla="*/ 0 h 98911"/>
                  <a:gd name="connsiteX1" fmla="*/ 0 w 4622"/>
                  <a:gd name="connsiteY1" fmla="*/ 98911 h 989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622" h="98911">
                    <a:moveTo>
                      <a:pt x="0" y="0"/>
                    </a:moveTo>
                    <a:lnTo>
                      <a:pt x="0" y="98911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404" name="Forma livre: Forma 1403">
              <a:extLst>
                <a:ext uri="{FF2B5EF4-FFF2-40B4-BE49-F238E27FC236}">
                  <a16:creationId xmlns:a16="http://schemas.microsoft.com/office/drawing/2014/main" id="{4D643F06-8871-F868-FCC3-B7F8419FE0D3}"/>
                </a:ext>
              </a:extLst>
            </p:cNvPr>
            <p:cNvSpPr/>
            <p:nvPr/>
          </p:nvSpPr>
          <p:spPr>
            <a:xfrm>
              <a:off x="10688040" y="4289100"/>
              <a:ext cx="71132" cy="71132"/>
            </a:xfrm>
            <a:custGeom>
              <a:avLst/>
              <a:gdLst>
                <a:gd name="connsiteX0" fmla="*/ 0 w 71132"/>
                <a:gd name="connsiteY0" fmla="*/ 71133 h 71132"/>
                <a:gd name="connsiteX1" fmla="*/ 71133 w 71132"/>
                <a:gd name="connsiteY1" fmla="*/ 0 h 711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1132" h="71132">
                  <a:moveTo>
                    <a:pt x="0" y="71133"/>
                  </a:moveTo>
                  <a:lnTo>
                    <a:pt x="71133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405" name="Gráfico 21">
            <a:extLst>
              <a:ext uri="{FF2B5EF4-FFF2-40B4-BE49-F238E27FC236}">
                <a16:creationId xmlns:a16="http://schemas.microsoft.com/office/drawing/2014/main" id="{B449007C-C81C-BEDD-CC4A-7F19D7774F74}"/>
              </a:ext>
            </a:extLst>
          </p:cNvPr>
          <p:cNvGrpSpPr/>
          <p:nvPr/>
        </p:nvGrpSpPr>
        <p:grpSpPr>
          <a:xfrm>
            <a:off x="10619252" y="4661544"/>
            <a:ext cx="267278" cy="287672"/>
            <a:chOff x="10619252" y="4661544"/>
            <a:chExt cx="267278" cy="287672"/>
          </a:xfrm>
          <a:noFill/>
        </p:grpSpPr>
        <p:sp>
          <p:nvSpPr>
            <p:cNvPr id="1406" name="Forma livre: Forma 1405">
              <a:extLst>
                <a:ext uri="{FF2B5EF4-FFF2-40B4-BE49-F238E27FC236}">
                  <a16:creationId xmlns:a16="http://schemas.microsoft.com/office/drawing/2014/main" id="{AA3477DC-CFAF-FAB7-641A-7291B89DBBF1}"/>
                </a:ext>
              </a:extLst>
            </p:cNvPr>
            <p:cNvSpPr/>
            <p:nvPr/>
          </p:nvSpPr>
          <p:spPr>
            <a:xfrm>
              <a:off x="10724415" y="4672451"/>
              <a:ext cx="21077" cy="135425"/>
            </a:xfrm>
            <a:custGeom>
              <a:avLst/>
              <a:gdLst>
                <a:gd name="connsiteX0" fmla="*/ 1710 w 21077"/>
                <a:gd name="connsiteY0" fmla="*/ 0 h 135425"/>
                <a:gd name="connsiteX1" fmla="*/ 0 w 21077"/>
                <a:gd name="connsiteY1" fmla="*/ 135425 h 1354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1077" h="135425">
                  <a:moveTo>
                    <a:pt x="1710" y="0"/>
                  </a:moveTo>
                  <a:cubicBezTo>
                    <a:pt x="17887" y="20429"/>
                    <a:pt x="36468" y="85322"/>
                    <a:pt x="0" y="135425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07" name="Forma livre: Forma 1406">
              <a:extLst>
                <a:ext uri="{FF2B5EF4-FFF2-40B4-BE49-F238E27FC236}">
                  <a16:creationId xmlns:a16="http://schemas.microsoft.com/office/drawing/2014/main" id="{CE4DAEB2-B699-AF86-74F1-E766593BA31D}"/>
                </a:ext>
              </a:extLst>
            </p:cNvPr>
            <p:cNvSpPr/>
            <p:nvPr/>
          </p:nvSpPr>
          <p:spPr>
            <a:xfrm>
              <a:off x="10726125" y="4672451"/>
              <a:ext cx="11370" cy="21862"/>
            </a:xfrm>
            <a:custGeom>
              <a:avLst/>
              <a:gdLst>
                <a:gd name="connsiteX0" fmla="*/ 0 w 11370"/>
                <a:gd name="connsiteY0" fmla="*/ 0 h 21862"/>
                <a:gd name="connsiteX1" fmla="*/ 11370 w 11370"/>
                <a:gd name="connsiteY1" fmla="*/ 21862 h 218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370" h="21862">
                  <a:moveTo>
                    <a:pt x="0" y="0"/>
                  </a:moveTo>
                  <a:cubicBezTo>
                    <a:pt x="3929" y="4946"/>
                    <a:pt x="7996" y="12526"/>
                    <a:pt x="11370" y="21862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08" name="Forma livre: Forma 1407">
              <a:extLst>
                <a:ext uri="{FF2B5EF4-FFF2-40B4-BE49-F238E27FC236}">
                  <a16:creationId xmlns:a16="http://schemas.microsoft.com/office/drawing/2014/main" id="{DA845D15-7FF5-B33E-88D5-7ED163E7AF0C}"/>
                </a:ext>
              </a:extLst>
            </p:cNvPr>
            <p:cNvSpPr/>
            <p:nvPr/>
          </p:nvSpPr>
          <p:spPr>
            <a:xfrm>
              <a:off x="10619252" y="4806380"/>
              <a:ext cx="115516" cy="130331"/>
            </a:xfrm>
            <a:custGeom>
              <a:avLst/>
              <a:gdLst>
                <a:gd name="connsiteX0" fmla="*/ 115516 w 115516"/>
                <a:gd name="connsiteY0" fmla="*/ 25576 h 130331"/>
                <a:gd name="connsiteX1" fmla="*/ 90188 w 115516"/>
                <a:gd name="connsiteY1" fmla="*/ 18458 h 130331"/>
                <a:gd name="connsiteX2" fmla="*/ 48358 w 115516"/>
                <a:gd name="connsiteY2" fmla="*/ 17 h 130331"/>
                <a:gd name="connsiteX3" fmla="*/ 2739 w 115516"/>
                <a:gd name="connsiteY3" fmla="*/ 39581 h 130331"/>
                <a:gd name="connsiteX4" fmla="*/ 44522 w 115516"/>
                <a:gd name="connsiteY4" fmla="*/ 124534 h 130331"/>
                <a:gd name="connsiteX5" fmla="*/ 46371 w 115516"/>
                <a:gd name="connsiteY5" fmla="*/ 125320 h 130331"/>
                <a:gd name="connsiteX6" fmla="*/ 113760 w 115516"/>
                <a:gd name="connsiteY6" fmla="*/ 119080 h 1303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15516" h="130331">
                  <a:moveTo>
                    <a:pt x="115516" y="25576"/>
                  </a:moveTo>
                  <a:cubicBezTo>
                    <a:pt x="108214" y="23543"/>
                    <a:pt x="99894" y="22433"/>
                    <a:pt x="90188" y="18458"/>
                  </a:cubicBezTo>
                  <a:cubicBezTo>
                    <a:pt x="71977" y="10832"/>
                    <a:pt x="64535" y="-492"/>
                    <a:pt x="48358" y="17"/>
                  </a:cubicBezTo>
                  <a:cubicBezTo>
                    <a:pt x="24000" y="756"/>
                    <a:pt x="9580" y="18366"/>
                    <a:pt x="2739" y="39581"/>
                  </a:cubicBezTo>
                  <a:cubicBezTo>
                    <a:pt x="-7245" y="70456"/>
                    <a:pt x="10828" y="109327"/>
                    <a:pt x="44522" y="124534"/>
                  </a:cubicBezTo>
                  <a:lnTo>
                    <a:pt x="46371" y="125320"/>
                  </a:lnTo>
                  <a:cubicBezTo>
                    <a:pt x="69296" y="134194"/>
                    <a:pt x="94810" y="130774"/>
                    <a:pt x="113760" y="119080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09" name="Forma livre: Forma 1408">
              <a:extLst>
                <a:ext uri="{FF2B5EF4-FFF2-40B4-BE49-F238E27FC236}">
                  <a16:creationId xmlns:a16="http://schemas.microsoft.com/office/drawing/2014/main" id="{09B3D479-BC88-D425-7087-0D29AA66B1D7}"/>
                </a:ext>
              </a:extLst>
            </p:cNvPr>
            <p:cNvSpPr/>
            <p:nvPr/>
          </p:nvSpPr>
          <p:spPr>
            <a:xfrm>
              <a:off x="10740592" y="4702124"/>
              <a:ext cx="70578" cy="109772"/>
            </a:xfrm>
            <a:custGeom>
              <a:avLst/>
              <a:gdLst>
                <a:gd name="connsiteX0" fmla="*/ 0 w 70578"/>
                <a:gd name="connsiteY0" fmla="*/ 0 h 109772"/>
                <a:gd name="connsiteX1" fmla="*/ 70578 w 70578"/>
                <a:gd name="connsiteY1" fmla="*/ 109773 h 1097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0578" h="109772">
                  <a:moveTo>
                    <a:pt x="0" y="0"/>
                  </a:moveTo>
                  <a:cubicBezTo>
                    <a:pt x="60733" y="42476"/>
                    <a:pt x="68822" y="83982"/>
                    <a:pt x="70578" y="109773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10" name="Forma livre: Forma 1409">
              <a:extLst>
                <a:ext uri="{FF2B5EF4-FFF2-40B4-BE49-F238E27FC236}">
                  <a16:creationId xmlns:a16="http://schemas.microsoft.com/office/drawing/2014/main" id="{C421FAED-FBB8-1551-39C4-03F5E51B8D93}"/>
                </a:ext>
              </a:extLst>
            </p:cNvPr>
            <p:cNvSpPr/>
            <p:nvPr/>
          </p:nvSpPr>
          <p:spPr>
            <a:xfrm>
              <a:off x="10741218" y="4830070"/>
              <a:ext cx="145312" cy="119147"/>
            </a:xfrm>
            <a:custGeom>
              <a:avLst/>
              <a:gdLst>
                <a:gd name="connsiteX0" fmla="*/ 118160 w 145312"/>
                <a:gd name="connsiteY0" fmla="*/ 2764 h 119147"/>
                <a:gd name="connsiteX1" fmla="*/ 72633 w 145312"/>
                <a:gd name="connsiteY1" fmla="*/ 3643 h 119147"/>
                <a:gd name="connsiteX2" fmla="*/ 27106 w 145312"/>
                <a:gd name="connsiteY2" fmla="*/ 2764 h 119147"/>
                <a:gd name="connsiteX3" fmla="*/ 299 w 145312"/>
                <a:gd name="connsiteY3" fmla="*/ 56888 h 119147"/>
                <a:gd name="connsiteX4" fmla="*/ 71663 w 145312"/>
                <a:gd name="connsiteY4" fmla="*/ 119147 h 119147"/>
                <a:gd name="connsiteX5" fmla="*/ 73650 w 145312"/>
                <a:gd name="connsiteY5" fmla="*/ 119147 h 119147"/>
                <a:gd name="connsiteX6" fmla="*/ 145014 w 145312"/>
                <a:gd name="connsiteY6" fmla="*/ 56888 h 119147"/>
                <a:gd name="connsiteX7" fmla="*/ 118206 w 145312"/>
                <a:gd name="connsiteY7" fmla="*/ 2764 h 1191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45312" h="119147">
                  <a:moveTo>
                    <a:pt x="118160" y="2764"/>
                  </a:moveTo>
                  <a:cubicBezTo>
                    <a:pt x="103508" y="-3891"/>
                    <a:pt x="92277" y="3597"/>
                    <a:pt x="72633" y="3643"/>
                  </a:cubicBezTo>
                  <a:cubicBezTo>
                    <a:pt x="52990" y="3550"/>
                    <a:pt x="41804" y="-3891"/>
                    <a:pt x="27106" y="2764"/>
                  </a:cubicBezTo>
                  <a:cubicBezTo>
                    <a:pt x="4921" y="12841"/>
                    <a:pt x="-1550" y="34657"/>
                    <a:pt x="299" y="56888"/>
                  </a:cubicBezTo>
                  <a:cubicBezTo>
                    <a:pt x="2979" y="89243"/>
                    <a:pt x="34687" y="118130"/>
                    <a:pt x="71663" y="119147"/>
                  </a:cubicBezTo>
                  <a:lnTo>
                    <a:pt x="73650" y="119147"/>
                  </a:lnTo>
                  <a:cubicBezTo>
                    <a:pt x="110626" y="118130"/>
                    <a:pt x="142287" y="89243"/>
                    <a:pt x="145014" y="56888"/>
                  </a:cubicBezTo>
                  <a:cubicBezTo>
                    <a:pt x="146863" y="34657"/>
                    <a:pt x="140392" y="12841"/>
                    <a:pt x="118206" y="2764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11" name="Forma livre: Forma 1410">
              <a:extLst>
                <a:ext uri="{FF2B5EF4-FFF2-40B4-BE49-F238E27FC236}">
                  <a16:creationId xmlns:a16="http://schemas.microsoft.com/office/drawing/2014/main" id="{975096F5-00F6-8249-6BD0-542FEF64F6B7}"/>
                </a:ext>
              </a:extLst>
            </p:cNvPr>
            <p:cNvSpPr/>
            <p:nvPr/>
          </p:nvSpPr>
          <p:spPr>
            <a:xfrm>
              <a:off x="10768804" y="4859411"/>
              <a:ext cx="9319" cy="28148"/>
            </a:xfrm>
            <a:custGeom>
              <a:avLst/>
              <a:gdLst>
                <a:gd name="connsiteX0" fmla="*/ 9319 w 9319"/>
                <a:gd name="connsiteY0" fmla="*/ 0 h 28148"/>
                <a:gd name="connsiteX1" fmla="*/ 1046 w 9319"/>
                <a:gd name="connsiteY1" fmla="*/ 28148 h 281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319" h="28148">
                  <a:moveTo>
                    <a:pt x="9319" y="0"/>
                  </a:moveTo>
                  <a:cubicBezTo>
                    <a:pt x="9319" y="0"/>
                    <a:pt x="-3715" y="7303"/>
                    <a:pt x="1046" y="28148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12" name="Forma livre: Forma 1411">
              <a:extLst>
                <a:ext uri="{FF2B5EF4-FFF2-40B4-BE49-F238E27FC236}">
                  <a16:creationId xmlns:a16="http://schemas.microsoft.com/office/drawing/2014/main" id="{3F610D5B-8D52-B446-32DC-B599307A9F46}"/>
                </a:ext>
              </a:extLst>
            </p:cNvPr>
            <p:cNvSpPr/>
            <p:nvPr/>
          </p:nvSpPr>
          <p:spPr>
            <a:xfrm>
              <a:off x="10649307" y="4835331"/>
              <a:ext cx="17656" cy="23433"/>
            </a:xfrm>
            <a:custGeom>
              <a:avLst/>
              <a:gdLst>
                <a:gd name="connsiteX0" fmla="*/ 17656 w 17656"/>
                <a:gd name="connsiteY0" fmla="*/ 0 h 23433"/>
                <a:gd name="connsiteX1" fmla="*/ 0 w 17656"/>
                <a:gd name="connsiteY1" fmla="*/ 23434 h 234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7656" h="23433">
                  <a:moveTo>
                    <a:pt x="17656" y="0"/>
                  </a:moveTo>
                  <a:cubicBezTo>
                    <a:pt x="17656" y="0"/>
                    <a:pt x="2912" y="2265"/>
                    <a:pt x="0" y="23434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13" name="Forma livre: Forma 1412">
              <a:extLst>
                <a:ext uri="{FF2B5EF4-FFF2-40B4-BE49-F238E27FC236}">
                  <a16:creationId xmlns:a16="http://schemas.microsoft.com/office/drawing/2014/main" id="{2D153897-81C6-3BA9-93BB-D915B0498C2C}"/>
                </a:ext>
              </a:extLst>
            </p:cNvPr>
            <p:cNvSpPr/>
            <p:nvPr/>
          </p:nvSpPr>
          <p:spPr>
            <a:xfrm>
              <a:off x="10740222" y="4661544"/>
              <a:ext cx="120265" cy="47764"/>
            </a:xfrm>
            <a:custGeom>
              <a:avLst/>
              <a:gdLst>
                <a:gd name="connsiteX0" fmla="*/ 0 w 120265"/>
                <a:gd name="connsiteY0" fmla="*/ 39701 h 47764"/>
                <a:gd name="connsiteX1" fmla="*/ 77188 w 120265"/>
                <a:gd name="connsiteY1" fmla="*/ 3650 h 47764"/>
                <a:gd name="connsiteX2" fmla="*/ 120265 w 120265"/>
                <a:gd name="connsiteY2" fmla="*/ 9797 h 47764"/>
                <a:gd name="connsiteX3" fmla="*/ 73721 w 120265"/>
                <a:gd name="connsiteY3" fmla="*/ 39794 h 47764"/>
                <a:gd name="connsiteX4" fmla="*/ 46 w 120265"/>
                <a:gd name="connsiteY4" fmla="*/ 39933 h 477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0265" h="47764">
                  <a:moveTo>
                    <a:pt x="0" y="39701"/>
                  </a:moveTo>
                  <a:cubicBezTo>
                    <a:pt x="0" y="39701"/>
                    <a:pt x="32031" y="-14284"/>
                    <a:pt x="77188" y="3650"/>
                  </a:cubicBezTo>
                  <a:cubicBezTo>
                    <a:pt x="77188" y="3650"/>
                    <a:pt x="102748" y="12154"/>
                    <a:pt x="120265" y="9797"/>
                  </a:cubicBezTo>
                  <a:cubicBezTo>
                    <a:pt x="120265" y="9797"/>
                    <a:pt x="96600" y="19272"/>
                    <a:pt x="73721" y="39794"/>
                  </a:cubicBezTo>
                  <a:cubicBezTo>
                    <a:pt x="73721" y="39794"/>
                    <a:pt x="56019" y="57635"/>
                    <a:pt x="46" y="39933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414" name="Gráfico 21">
            <a:extLst>
              <a:ext uri="{FF2B5EF4-FFF2-40B4-BE49-F238E27FC236}">
                <a16:creationId xmlns:a16="http://schemas.microsoft.com/office/drawing/2014/main" id="{FBA34650-4375-FBD8-D8F6-D459C49C6F31}"/>
              </a:ext>
            </a:extLst>
          </p:cNvPr>
          <p:cNvGrpSpPr/>
          <p:nvPr/>
        </p:nvGrpSpPr>
        <p:grpSpPr>
          <a:xfrm>
            <a:off x="10653038" y="5658533"/>
            <a:ext cx="218221" cy="333670"/>
            <a:chOff x="10653038" y="5658533"/>
            <a:chExt cx="218221" cy="333670"/>
          </a:xfrm>
          <a:noFill/>
        </p:grpSpPr>
        <p:sp>
          <p:nvSpPr>
            <p:cNvPr id="1415" name="Forma livre: Forma 1414">
              <a:extLst>
                <a:ext uri="{FF2B5EF4-FFF2-40B4-BE49-F238E27FC236}">
                  <a16:creationId xmlns:a16="http://schemas.microsoft.com/office/drawing/2014/main" id="{A00A2E7E-48AE-FC7E-410E-D4A8CEC9D2A4}"/>
                </a:ext>
              </a:extLst>
            </p:cNvPr>
            <p:cNvSpPr/>
            <p:nvPr/>
          </p:nvSpPr>
          <p:spPr>
            <a:xfrm>
              <a:off x="10654348" y="5658533"/>
              <a:ext cx="80281" cy="125929"/>
            </a:xfrm>
            <a:custGeom>
              <a:avLst/>
              <a:gdLst>
                <a:gd name="connsiteX0" fmla="*/ 4989 w 80281"/>
                <a:gd name="connsiteY0" fmla="*/ 125930 h 125929"/>
                <a:gd name="connsiteX1" fmla="*/ 2123 w 80281"/>
                <a:gd name="connsiteY1" fmla="*/ 119136 h 125929"/>
                <a:gd name="connsiteX2" fmla="*/ 7161 w 80281"/>
                <a:gd name="connsiteY2" fmla="*/ 91866 h 125929"/>
                <a:gd name="connsiteX3" fmla="*/ 20750 w 80281"/>
                <a:gd name="connsiteY3" fmla="*/ 82159 h 125929"/>
                <a:gd name="connsiteX4" fmla="*/ 38129 w 80281"/>
                <a:gd name="connsiteY4" fmla="*/ 21472 h 125929"/>
                <a:gd name="connsiteX5" fmla="*/ 76630 w 80281"/>
                <a:gd name="connsiteY5" fmla="*/ 1505 h 125929"/>
                <a:gd name="connsiteX6" fmla="*/ 76491 w 80281"/>
                <a:gd name="connsiteY6" fmla="*/ 9640 h 125929"/>
                <a:gd name="connsiteX7" fmla="*/ 48112 w 80281"/>
                <a:gd name="connsiteY7" fmla="*/ 76104 h 125929"/>
                <a:gd name="connsiteX8" fmla="*/ 59575 w 80281"/>
                <a:gd name="connsiteY8" fmla="*/ 77352 h 125929"/>
                <a:gd name="connsiteX9" fmla="*/ 80281 w 80281"/>
                <a:gd name="connsiteY9" fmla="*/ 102311 h 125929"/>
                <a:gd name="connsiteX10" fmla="*/ 80281 w 80281"/>
                <a:gd name="connsiteY10" fmla="*/ 104715 h 1259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0281" h="125929">
                  <a:moveTo>
                    <a:pt x="4989" y="125930"/>
                  </a:moveTo>
                  <a:cubicBezTo>
                    <a:pt x="3279" y="122648"/>
                    <a:pt x="2123" y="119136"/>
                    <a:pt x="2123" y="119136"/>
                  </a:cubicBezTo>
                  <a:cubicBezTo>
                    <a:pt x="-4718" y="98244"/>
                    <a:pt x="7161" y="91866"/>
                    <a:pt x="7161" y="91866"/>
                  </a:cubicBezTo>
                  <a:lnTo>
                    <a:pt x="20750" y="82159"/>
                  </a:lnTo>
                  <a:cubicBezTo>
                    <a:pt x="17607" y="43519"/>
                    <a:pt x="38129" y="21472"/>
                    <a:pt x="38129" y="21472"/>
                  </a:cubicBezTo>
                  <a:cubicBezTo>
                    <a:pt x="63688" y="-8155"/>
                    <a:pt x="76630" y="1505"/>
                    <a:pt x="76630" y="1505"/>
                  </a:cubicBezTo>
                  <a:cubicBezTo>
                    <a:pt x="81021" y="6358"/>
                    <a:pt x="76491" y="9640"/>
                    <a:pt x="76491" y="9640"/>
                  </a:cubicBezTo>
                  <a:cubicBezTo>
                    <a:pt x="40532" y="47818"/>
                    <a:pt x="48112" y="76104"/>
                    <a:pt x="48112" y="76104"/>
                  </a:cubicBezTo>
                  <a:lnTo>
                    <a:pt x="59575" y="77352"/>
                  </a:lnTo>
                  <a:cubicBezTo>
                    <a:pt x="79773" y="79201"/>
                    <a:pt x="80281" y="102311"/>
                    <a:pt x="80281" y="102311"/>
                  </a:cubicBezTo>
                  <a:lnTo>
                    <a:pt x="80281" y="104715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16" name="Forma livre: Forma 1415">
              <a:extLst>
                <a:ext uri="{FF2B5EF4-FFF2-40B4-BE49-F238E27FC236}">
                  <a16:creationId xmlns:a16="http://schemas.microsoft.com/office/drawing/2014/main" id="{0F41B74D-32FA-15C5-6FAB-230C9BD4C9D3}"/>
                </a:ext>
              </a:extLst>
            </p:cNvPr>
            <p:cNvSpPr/>
            <p:nvPr/>
          </p:nvSpPr>
          <p:spPr>
            <a:xfrm>
              <a:off x="10653038" y="5761173"/>
              <a:ext cx="218221" cy="231029"/>
            </a:xfrm>
            <a:custGeom>
              <a:avLst/>
              <a:gdLst>
                <a:gd name="connsiteX0" fmla="*/ 39855 w 218221"/>
                <a:gd name="connsiteY0" fmla="*/ 3923 h 231029"/>
                <a:gd name="connsiteX1" fmla="*/ 11845 w 218221"/>
                <a:gd name="connsiteY1" fmla="*/ 84716 h 231029"/>
                <a:gd name="connsiteX2" fmla="*/ 129984 w 218221"/>
                <a:gd name="connsiteY2" fmla="*/ 213948 h 231029"/>
                <a:gd name="connsiteX3" fmla="*/ 214428 w 218221"/>
                <a:gd name="connsiteY3" fmla="*/ 228600 h 231029"/>
                <a:gd name="connsiteX4" fmla="*/ 215260 w 218221"/>
                <a:gd name="connsiteY4" fmla="*/ 217091 h 231029"/>
                <a:gd name="connsiteX5" fmla="*/ 199176 w 218221"/>
                <a:gd name="connsiteY5" fmla="*/ 204981 h 231029"/>
                <a:gd name="connsiteX6" fmla="*/ 136316 w 218221"/>
                <a:gd name="connsiteY6" fmla="*/ 131583 h 231029"/>
                <a:gd name="connsiteX7" fmla="*/ 109093 w 218221"/>
                <a:gd name="connsiteY7" fmla="*/ 61930 h 231029"/>
                <a:gd name="connsiteX8" fmla="*/ 39901 w 218221"/>
                <a:gd name="connsiteY8" fmla="*/ 3923 h 2310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8221" h="231029">
                  <a:moveTo>
                    <a:pt x="39855" y="3923"/>
                  </a:moveTo>
                  <a:cubicBezTo>
                    <a:pt x="-21480" y="20886"/>
                    <a:pt x="4265" y="67152"/>
                    <a:pt x="11845" y="84716"/>
                  </a:cubicBezTo>
                  <a:cubicBezTo>
                    <a:pt x="11845" y="84716"/>
                    <a:pt x="62872" y="187834"/>
                    <a:pt x="129984" y="213948"/>
                  </a:cubicBezTo>
                  <a:cubicBezTo>
                    <a:pt x="129984" y="213948"/>
                    <a:pt x="185171" y="238722"/>
                    <a:pt x="214428" y="228600"/>
                  </a:cubicBezTo>
                  <a:cubicBezTo>
                    <a:pt x="214428" y="228600"/>
                    <a:pt x="222378" y="225549"/>
                    <a:pt x="215260" y="217091"/>
                  </a:cubicBezTo>
                  <a:cubicBezTo>
                    <a:pt x="215260" y="217091"/>
                    <a:pt x="214475" y="214410"/>
                    <a:pt x="199176" y="204981"/>
                  </a:cubicBezTo>
                  <a:cubicBezTo>
                    <a:pt x="173708" y="189266"/>
                    <a:pt x="156376" y="162782"/>
                    <a:pt x="136316" y="131583"/>
                  </a:cubicBezTo>
                  <a:cubicBezTo>
                    <a:pt x="115471" y="99183"/>
                    <a:pt x="109093" y="61930"/>
                    <a:pt x="109093" y="61930"/>
                  </a:cubicBezTo>
                  <a:cubicBezTo>
                    <a:pt x="103223" y="30454"/>
                    <a:pt x="106735" y="-13409"/>
                    <a:pt x="39901" y="3923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17" name="Forma livre: Forma 1416">
              <a:extLst>
                <a:ext uri="{FF2B5EF4-FFF2-40B4-BE49-F238E27FC236}">
                  <a16:creationId xmlns:a16="http://schemas.microsoft.com/office/drawing/2014/main" id="{E13BDA19-1606-FDD0-8F8B-5A694F9A7FC6}"/>
                </a:ext>
              </a:extLst>
            </p:cNvPr>
            <p:cNvSpPr/>
            <p:nvPr/>
          </p:nvSpPr>
          <p:spPr>
            <a:xfrm>
              <a:off x="10681754" y="5808682"/>
              <a:ext cx="27732" cy="57960"/>
            </a:xfrm>
            <a:custGeom>
              <a:avLst/>
              <a:gdLst>
                <a:gd name="connsiteX0" fmla="*/ 0 w 27732"/>
                <a:gd name="connsiteY0" fmla="*/ 0 h 57960"/>
                <a:gd name="connsiteX1" fmla="*/ 27732 w 27732"/>
                <a:gd name="connsiteY1" fmla="*/ 57960 h 579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7732" h="57960">
                  <a:moveTo>
                    <a:pt x="0" y="0"/>
                  </a:moveTo>
                  <a:cubicBezTo>
                    <a:pt x="0" y="0"/>
                    <a:pt x="4021" y="22047"/>
                    <a:pt x="27732" y="5796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418" name="Gráfico 21">
            <a:extLst>
              <a:ext uri="{FF2B5EF4-FFF2-40B4-BE49-F238E27FC236}">
                <a16:creationId xmlns:a16="http://schemas.microsoft.com/office/drawing/2014/main" id="{466CAB70-326F-8720-CBED-BCB26157FD6A}"/>
              </a:ext>
            </a:extLst>
          </p:cNvPr>
          <p:cNvGrpSpPr/>
          <p:nvPr/>
        </p:nvGrpSpPr>
        <p:grpSpPr>
          <a:xfrm>
            <a:off x="10636920" y="5160536"/>
            <a:ext cx="231886" cy="309629"/>
            <a:chOff x="10636920" y="5160536"/>
            <a:chExt cx="231886" cy="309629"/>
          </a:xfrm>
          <a:noFill/>
        </p:grpSpPr>
        <p:grpSp>
          <p:nvGrpSpPr>
            <p:cNvPr id="1419" name="Gráfico 21">
              <a:extLst>
                <a:ext uri="{FF2B5EF4-FFF2-40B4-BE49-F238E27FC236}">
                  <a16:creationId xmlns:a16="http://schemas.microsoft.com/office/drawing/2014/main" id="{7F5DC6AF-9610-740C-C13A-8AD67307CD54}"/>
                </a:ext>
              </a:extLst>
            </p:cNvPr>
            <p:cNvGrpSpPr/>
            <p:nvPr/>
          </p:nvGrpSpPr>
          <p:grpSpPr>
            <a:xfrm>
              <a:off x="10670938" y="5160536"/>
              <a:ext cx="163896" cy="63922"/>
              <a:chOff x="10670938" y="5160536"/>
              <a:chExt cx="163896" cy="63922"/>
            </a:xfrm>
            <a:noFill/>
          </p:grpSpPr>
          <p:sp>
            <p:nvSpPr>
              <p:cNvPr id="1420" name="Forma livre: Forma 1419">
                <a:extLst>
                  <a:ext uri="{FF2B5EF4-FFF2-40B4-BE49-F238E27FC236}">
                    <a16:creationId xmlns:a16="http://schemas.microsoft.com/office/drawing/2014/main" id="{5F9E45C5-88B4-4254-AF38-9F85603501C7}"/>
                  </a:ext>
                </a:extLst>
              </p:cNvPr>
              <p:cNvSpPr/>
              <p:nvPr/>
            </p:nvSpPr>
            <p:spPr>
              <a:xfrm>
                <a:off x="10670938" y="5181613"/>
                <a:ext cx="54077" cy="42568"/>
              </a:xfrm>
              <a:custGeom>
                <a:avLst/>
                <a:gdLst>
                  <a:gd name="connsiteX0" fmla="*/ 16362 w 54077"/>
                  <a:gd name="connsiteY0" fmla="*/ 42569 h 42568"/>
                  <a:gd name="connsiteX1" fmla="*/ 0 w 54077"/>
                  <a:gd name="connsiteY1" fmla="*/ 0 h 42568"/>
                  <a:gd name="connsiteX2" fmla="*/ 54078 w 54077"/>
                  <a:gd name="connsiteY2" fmla="*/ 24820 h 425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54077" h="42568">
                    <a:moveTo>
                      <a:pt x="16362" y="42569"/>
                    </a:moveTo>
                    <a:lnTo>
                      <a:pt x="0" y="0"/>
                    </a:lnTo>
                    <a:lnTo>
                      <a:pt x="54078" y="2482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421" name="Forma livre: Forma 1420">
                <a:extLst>
                  <a:ext uri="{FF2B5EF4-FFF2-40B4-BE49-F238E27FC236}">
                    <a16:creationId xmlns:a16="http://schemas.microsoft.com/office/drawing/2014/main" id="{100A136B-290D-6284-ABAE-F1F8DFF8354A}"/>
                  </a:ext>
                </a:extLst>
              </p:cNvPr>
              <p:cNvSpPr/>
              <p:nvPr/>
            </p:nvSpPr>
            <p:spPr>
              <a:xfrm>
                <a:off x="10781127" y="5181613"/>
                <a:ext cx="53707" cy="42846"/>
              </a:xfrm>
              <a:custGeom>
                <a:avLst/>
                <a:gdLst>
                  <a:gd name="connsiteX0" fmla="*/ 0 w 53707"/>
                  <a:gd name="connsiteY0" fmla="*/ 24959 h 42846"/>
                  <a:gd name="connsiteX1" fmla="*/ 53708 w 53707"/>
                  <a:gd name="connsiteY1" fmla="*/ 0 h 42846"/>
                  <a:gd name="connsiteX2" fmla="*/ 37253 w 53707"/>
                  <a:gd name="connsiteY2" fmla="*/ 42846 h 428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53707" h="42846">
                    <a:moveTo>
                      <a:pt x="0" y="24959"/>
                    </a:moveTo>
                    <a:lnTo>
                      <a:pt x="53708" y="0"/>
                    </a:lnTo>
                    <a:lnTo>
                      <a:pt x="37253" y="42846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422" name="Forma livre: Forma 1421">
                <a:extLst>
                  <a:ext uri="{FF2B5EF4-FFF2-40B4-BE49-F238E27FC236}">
                    <a16:creationId xmlns:a16="http://schemas.microsoft.com/office/drawing/2014/main" id="{71735BCF-E0BC-B4E5-B5F8-3E735DAA155C}"/>
                  </a:ext>
                </a:extLst>
              </p:cNvPr>
              <p:cNvSpPr/>
              <p:nvPr/>
            </p:nvSpPr>
            <p:spPr>
              <a:xfrm>
                <a:off x="10725016" y="5160536"/>
                <a:ext cx="56018" cy="45989"/>
              </a:xfrm>
              <a:custGeom>
                <a:avLst/>
                <a:gdLst>
                  <a:gd name="connsiteX0" fmla="*/ 0 w 56018"/>
                  <a:gd name="connsiteY0" fmla="*/ 45850 h 45989"/>
                  <a:gd name="connsiteX1" fmla="*/ 27871 w 56018"/>
                  <a:gd name="connsiteY1" fmla="*/ 0 h 45989"/>
                  <a:gd name="connsiteX2" fmla="*/ 56019 w 56018"/>
                  <a:gd name="connsiteY2" fmla="*/ 45989 h 459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56018" h="45989">
                    <a:moveTo>
                      <a:pt x="0" y="45850"/>
                    </a:moveTo>
                    <a:lnTo>
                      <a:pt x="27871" y="0"/>
                    </a:lnTo>
                    <a:lnTo>
                      <a:pt x="56019" y="45989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423" name="Gráfico 21">
              <a:extLst>
                <a:ext uri="{FF2B5EF4-FFF2-40B4-BE49-F238E27FC236}">
                  <a16:creationId xmlns:a16="http://schemas.microsoft.com/office/drawing/2014/main" id="{6C58C675-0453-774B-201D-76956D13EF7F}"/>
                </a:ext>
              </a:extLst>
            </p:cNvPr>
            <p:cNvGrpSpPr/>
            <p:nvPr/>
          </p:nvGrpSpPr>
          <p:grpSpPr>
            <a:xfrm>
              <a:off x="10715957" y="5248170"/>
              <a:ext cx="73859" cy="221995"/>
              <a:chOff x="10715957" y="5248170"/>
              <a:chExt cx="73859" cy="221995"/>
            </a:xfrm>
            <a:noFill/>
          </p:grpSpPr>
          <p:sp>
            <p:nvSpPr>
              <p:cNvPr id="1424" name="Forma livre: Forma 1423">
                <a:extLst>
                  <a:ext uri="{FF2B5EF4-FFF2-40B4-BE49-F238E27FC236}">
                    <a16:creationId xmlns:a16="http://schemas.microsoft.com/office/drawing/2014/main" id="{B2568174-B550-909B-6516-A966C16D938F}"/>
                  </a:ext>
                </a:extLst>
              </p:cNvPr>
              <p:cNvSpPr/>
              <p:nvPr/>
            </p:nvSpPr>
            <p:spPr>
              <a:xfrm>
                <a:off x="10719100" y="5432588"/>
                <a:ext cx="67573" cy="37577"/>
              </a:xfrm>
              <a:custGeom>
                <a:avLst/>
                <a:gdLst>
                  <a:gd name="connsiteX0" fmla="*/ 67574 w 67573"/>
                  <a:gd name="connsiteY0" fmla="*/ 0 h 37577"/>
                  <a:gd name="connsiteX1" fmla="*/ 33787 w 67573"/>
                  <a:gd name="connsiteY1" fmla="*/ 37577 h 37577"/>
                  <a:gd name="connsiteX2" fmla="*/ 0 w 67573"/>
                  <a:gd name="connsiteY2" fmla="*/ 0 h 375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67573" h="37577">
                    <a:moveTo>
                      <a:pt x="67574" y="0"/>
                    </a:moveTo>
                    <a:cubicBezTo>
                      <a:pt x="66557" y="20938"/>
                      <a:pt x="51813" y="37577"/>
                      <a:pt x="33787" y="37577"/>
                    </a:cubicBezTo>
                    <a:cubicBezTo>
                      <a:pt x="15761" y="37577"/>
                      <a:pt x="971" y="20938"/>
                      <a:pt x="0" y="0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1425" name="Gráfico 21">
                <a:extLst>
                  <a:ext uri="{FF2B5EF4-FFF2-40B4-BE49-F238E27FC236}">
                    <a16:creationId xmlns:a16="http://schemas.microsoft.com/office/drawing/2014/main" id="{B5CEB14C-49C9-77EE-72AE-AD051593F563}"/>
                  </a:ext>
                </a:extLst>
              </p:cNvPr>
              <p:cNvGrpSpPr/>
              <p:nvPr/>
            </p:nvGrpSpPr>
            <p:grpSpPr>
              <a:xfrm>
                <a:off x="10715957" y="5248170"/>
                <a:ext cx="73859" cy="171939"/>
                <a:chOff x="10715957" y="5248170"/>
                <a:chExt cx="73859" cy="171939"/>
              </a:xfrm>
              <a:noFill/>
            </p:grpSpPr>
            <p:sp>
              <p:nvSpPr>
                <p:cNvPr id="1426" name="Forma livre: Forma 1425">
                  <a:extLst>
                    <a:ext uri="{FF2B5EF4-FFF2-40B4-BE49-F238E27FC236}">
                      <a16:creationId xmlns:a16="http://schemas.microsoft.com/office/drawing/2014/main" id="{AAB1384E-CCEB-EC95-68E1-34306AB8B0FE}"/>
                    </a:ext>
                  </a:extLst>
                </p:cNvPr>
                <p:cNvSpPr/>
                <p:nvPr/>
              </p:nvSpPr>
              <p:spPr>
                <a:xfrm>
                  <a:off x="10716650" y="5334971"/>
                  <a:ext cx="72380" cy="85137"/>
                </a:xfrm>
                <a:custGeom>
                  <a:avLst/>
                  <a:gdLst>
                    <a:gd name="connsiteX0" fmla="*/ 72381 w 72380"/>
                    <a:gd name="connsiteY0" fmla="*/ 42569 h 85137"/>
                    <a:gd name="connsiteX1" fmla="*/ 36190 w 72380"/>
                    <a:gd name="connsiteY1" fmla="*/ 85138 h 85137"/>
                    <a:gd name="connsiteX2" fmla="*/ 0 w 72380"/>
                    <a:gd name="connsiteY2" fmla="*/ 42569 h 85137"/>
                    <a:gd name="connsiteX3" fmla="*/ 36190 w 72380"/>
                    <a:gd name="connsiteY3" fmla="*/ 0 h 85137"/>
                    <a:gd name="connsiteX4" fmla="*/ 72381 w 72380"/>
                    <a:gd name="connsiteY4" fmla="*/ 42569 h 8513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72380" h="85137">
                      <a:moveTo>
                        <a:pt x="72381" y="42569"/>
                      </a:moveTo>
                      <a:cubicBezTo>
                        <a:pt x="72381" y="66049"/>
                        <a:pt x="56204" y="85138"/>
                        <a:pt x="36190" y="85138"/>
                      </a:cubicBezTo>
                      <a:cubicBezTo>
                        <a:pt x="16177" y="85138"/>
                        <a:pt x="0" y="66095"/>
                        <a:pt x="0" y="42569"/>
                      </a:cubicBezTo>
                      <a:cubicBezTo>
                        <a:pt x="0" y="19043"/>
                        <a:pt x="16177" y="0"/>
                        <a:pt x="36190" y="0"/>
                      </a:cubicBezTo>
                      <a:cubicBezTo>
                        <a:pt x="56204" y="0"/>
                        <a:pt x="72381" y="19043"/>
                        <a:pt x="72381" y="42569"/>
                      </a:cubicBezTo>
                      <a:close/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427" name="Forma livre: Forma 1426">
                  <a:extLst>
                    <a:ext uri="{FF2B5EF4-FFF2-40B4-BE49-F238E27FC236}">
                      <a16:creationId xmlns:a16="http://schemas.microsoft.com/office/drawing/2014/main" id="{82416B18-7D79-5B98-6347-2420AD4047D1}"/>
                    </a:ext>
                  </a:extLst>
                </p:cNvPr>
                <p:cNvSpPr/>
                <p:nvPr/>
              </p:nvSpPr>
              <p:spPr>
                <a:xfrm>
                  <a:off x="10715957" y="5248170"/>
                  <a:ext cx="73859" cy="86893"/>
                </a:xfrm>
                <a:custGeom>
                  <a:avLst/>
                  <a:gdLst>
                    <a:gd name="connsiteX0" fmla="*/ 73860 w 73859"/>
                    <a:gd name="connsiteY0" fmla="*/ 43447 h 86893"/>
                    <a:gd name="connsiteX1" fmla="*/ 36930 w 73859"/>
                    <a:gd name="connsiteY1" fmla="*/ 86894 h 86893"/>
                    <a:gd name="connsiteX2" fmla="*/ 0 w 73859"/>
                    <a:gd name="connsiteY2" fmla="*/ 43447 h 86893"/>
                    <a:gd name="connsiteX3" fmla="*/ 36930 w 73859"/>
                    <a:gd name="connsiteY3" fmla="*/ 0 h 86893"/>
                    <a:gd name="connsiteX4" fmla="*/ 73860 w 73859"/>
                    <a:gd name="connsiteY4" fmla="*/ 43447 h 8689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73859" h="86893">
                      <a:moveTo>
                        <a:pt x="73860" y="43447"/>
                      </a:moveTo>
                      <a:cubicBezTo>
                        <a:pt x="73860" y="67482"/>
                        <a:pt x="57313" y="86894"/>
                        <a:pt x="36930" y="86894"/>
                      </a:cubicBezTo>
                      <a:cubicBezTo>
                        <a:pt x="16547" y="86894"/>
                        <a:pt x="0" y="67435"/>
                        <a:pt x="0" y="43447"/>
                      </a:cubicBezTo>
                      <a:cubicBezTo>
                        <a:pt x="0" y="19459"/>
                        <a:pt x="16547" y="0"/>
                        <a:pt x="36930" y="0"/>
                      </a:cubicBezTo>
                      <a:cubicBezTo>
                        <a:pt x="57313" y="0"/>
                        <a:pt x="73860" y="19459"/>
                        <a:pt x="73860" y="43447"/>
                      </a:cubicBezTo>
                      <a:close/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grpSp>
          <p:nvGrpSpPr>
            <p:cNvPr id="1428" name="Gráfico 21">
              <a:extLst>
                <a:ext uri="{FF2B5EF4-FFF2-40B4-BE49-F238E27FC236}">
                  <a16:creationId xmlns:a16="http://schemas.microsoft.com/office/drawing/2014/main" id="{5F6DAA20-2392-6D97-E27A-085E033127E7}"/>
                </a:ext>
              </a:extLst>
            </p:cNvPr>
            <p:cNvGrpSpPr/>
            <p:nvPr/>
          </p:nvGrpSpPr>
          <p:grpSpPr>
            <a:xfrm>
              <a:off x="10636920" y="5242300"/>
              <a:ext cx="231886" cy="196066"/>
              <a:chOff x="10636920" y="5242300"/>
              <a:chExt cx="231886" cy="196066"/>
            </a:xfrm>
            <a:noFill/>
          </p:grpSpPr>
          <p:grpSp>
            <p:nvGrpSpPr>
              <p:cNvPr id="1429" name="Gráfico 21">
                <a:extLst>
                  <a:ext uri="{FF2B5EF4-FFF2-40B4-BE49-F238E27FC236}">
                    <a16:creationId xmlns:a16="http://schemas.microsoft.com/office/drawing/2014/main" id="{7893F450-FB93-DA76-B0E1-BD1002E511CA}"/>
                  </a:ext>
                </a:extLst>
              </p:cNvPr>
              <p:cNvGrpSpPr/>
              <p:nvPr/>
            </p:nvGrpSpPr>
            <p:grpSpPr>
              <a:xfrm>
                <a:off x="10772993" y="5242300"/>
                <a:ext cx="95814" cy="196066"/>
                <a:chOff x="10772993" y="5242300"/>
                <a:chExt cx="95814" cy="196066"/>
              </a:xfrm>
              <a:noFill/>
            </p:grpSpPr>
            <p:sp>
              <p:nvSpPr>
                <p:cNvPr id="1430" name="Forma livre: Forma 1429">
                  <a:extLst>
                    <a:ext uri="{FF2B5EF4-FFF2-40B4-BE49-F238E27FC236}">
                      <a16:creationId xmlns:a16="http://schemas.microsoft.com/office/drawing/2014/main" id="{CCFE10EE-35E0-1791-F3D7-0678B83B57C6}"/>
                    </a:ext>
                  </a:extLst>
                </p:cNvPr>
                <p:cNvSpPr/>
                <p:nvPr/>
              </p:nvSpPr>
              <p:spPr>
                <a:xfrm>
                  <a:off x="10831738" y="5264532"/>
                  <a:ext cx="31799" cy="58468"/>
                </a:xfrm>
                <a:custGeom>
                  <a:avLst/>
                  <a:gdLst>
                    <a:gd name="connsiteX0" fmla="*/ 0 w 31799"/>
                    <a:gd name="connsiteY0" fmla="*/ 0 h 58468"/>
                    <a:gd name="connsiteX1" fmla="*/ 1017 w 31799"/>
                    <a:gd name="connsiteY1" fmla="*/ 0 h 58468"/>
                    <a:gd name="connsiteX2" fmla="*/ 31800 w 31799"/>
                    <a:gd name="connsiteY2" fmla="*/ 36190 h 58468"/>
                    <a:gd name="connsiteX3" fmla="*/ 25329 w 31799"/>
                    <a:gd name="connsiteY3" fmla="*/ 58469 h 5846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31799" h="58468">
                      <a:moveTo>
                        <a:pt x="0" y="0"/>
                      </a:moveTo>
                      <a:cubicBezTo>
                        <a:pt x="324" y="0"/>
                        <a:pt x="693" y="0"/>
                        <a:pt x="1017" y="0"/>
                      </a:cubicBezTo>
                      <a:cubicBezTo>
                        <a:pt x="18026" y="0"/>
                        <a:pt x="31800" y="16223"/>
                        <a:pt x="31800" y="36190"/>
                      </a:cubicBezTo>
                      <a:cubicBezTo>
                        <a:pt x="31800" y="44602"/>
                        <a:pt x="29396" y="52321"/>
                        <a:pt x="25329" y="58469"/>
                      </a:cubicBez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431" name="Forma livre: Forma 1430">
                  <a:extLst>
                    <a:ext uri="{FF2B5EF4-FFF2-40B4-BE49-F238E27FC236}">
                      <a16:creationId xmlns:a16="http://schemas.microsoft.com/office/drawing/2014/main" id="{001B8CAC-835C-4BCB-52DF-D007BC7044CD}"/>
                    </a:ext>
                  </a:extLst>
                </p:cNvPr>
                <p:cNvSpPr/>
                <p:nvPr/>
              </p:nvSpPr>
              <p:spPr>
                <a:xfrm>
                  <a:off x="10827024" y="5312786"/>
                  <a:ext cx="41783" cy="79498"/>
                </a:xfrm>
                <a:custGeom>
                  <a:avLst/>
                  <a:gdLst>
                    <a:gd name="connsiteX0" fmla="*/ 0 w 41783"/>
                    <a:gd name="connsiteY0" fmla="*/ 1109 h 79498"/>
                    <a:gd name="connsiteX1" fmla="*/ 7904 w 41783"/>
                    <a:gd name="connsiteY1" fmla="*/ 0 h 79498"/>
                    <a:gd name="connsiteX2" fmla="*/ 41783 w 41783"/>
                    <a:gd name="connsiteY2" fmla="*/ 39842 h 79498"/>
                    <a:gd name="connsiteX3" fmla="*/ 11047 w 41783"/>
                    <a:gd name="connsiteY3" fmla="*/ 79499 h 794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1783" h="79498">
                      <a:moveTo>
                        <a:pt x="0" y="1109"/>
                      </a:moveTo>
                      <a:cubicBezTo>
                        <a:pt x="2542" y="416"/>
                        <a:pt x="5177" y="0"/>
                        <a:pt x="7904" y="0"/>
                      </a:cubicBezTo>
                      <a:cubicBezTo>
                        <a:pt x="26623" y="0"/>
                        <a:pt x="41783" y="17841"/>
                        <a:pt x="41783" y="39842"/>
                      </a:cubicBezTo>
                      <a:cubicBezTo>
                        <a:pt x="41783" y="60595"/>
                        <a:pt x="28287" y="77650"/>
                        <a:pt x="11047" y="79499"/>
                      </a:cubicBez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432" name="Forma livre: Forma 1431">
                  <a:extLst>
                    <a:ext uri="{FF2B5EF4-FFF2-40B4-BE49-F238E27FC236}">
                      <a16:creationId xmlns:a16="http://schemas.microsoft.com/office/drawing/2014/main" id="{FD37A302-FCA6-D01A-0823-4FD0F27FA80D}"/>
                    </a:ext>
                  </a:extLst>
                </p:cNvPr>
                <p:cNvSpPr/>
                <p:nvPr/>
              </p:nvSpPr>
              <p:spPr>
                <a:xfrm>
                  <a:off x="10772993" y="5362149"/>
                  <a:ext cx="65540" cy="76217"/>
                </a:xfrm>
                <a:custGeom>
                  <a:avLst/>
                  <a:gdLst>
                    <a:gd name="connsiteX0" fmla="*/ 45527 w 65540"/>
                    <a:gd name="connsiteY0" fmla="*/ 0 h 76217"/>
                    <a:gd name="connsiteX1" fmla="*/ 65540 w 65540"/>
                    <a:gd name="connsiteY1" fmla="*/ 36375 h 76217"/>
                    <a:gd name="connsiteX2" fmla="*/ 31707 w 65540"/>
                    <a:gd name="connsiteY2" fmla="*/ 76217 h 76217"/>
                    <a:gd name="connsiteX3" fmla="*/ 0 w 65540"/>
                    <a:gd name="connsiteY3" fmla="*/ 50334 h 7621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65540" h="76217">
                      <a:moveTo>
                        <a:pt x="45527" y="0"/>
                      </a:moveTo>
                      <a:cubicBezTo>
                        <a:pt x="57313" y="6240"/>
                        <a:pt x="65540" y="20152"/>
                        <a:pt x="65540" y="36375"/>
                      </a:cubicBezTo>
                      <a:cubicBezTo>
                        <a:pt x="65540" y="58376"/>
                        <a:pt x="50380" y="76217"/>
                        <a:pt x="31707" y="76217"/>
                      </a:cubicBezTo>
                      <a:cubicBezTo>
                        <a:pt x="17194" y="76217"/>
                        <a:pt x="4807" y="65448"/>
                        <a:pt x="0" y="50334"/>
                      </a:cubicBez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433" name="Forma livre: Forma 1432">
                  <a:extLst>
                    <a:ext uri="{FF2B5EF4-FFF2-40B4-BE49-F238E27FC236}">
                      <a16:creationId xmlns:a16="http://schemas.microsoft.com/office/drawing/2014/main" id="{76AB0DB8-151D-DF5E-76DA-0752CF175A8A}"/>
                    </a:ext>
                  </a:extLst>
                </p:cNvPr>
                <p:cNvSpPr/>
                <p:nvPr/>
              </p:nvSpPr>
              <p:spPr>
                <a:xfrm>
                  <a:off x="10777615" y="5242300"/>
                  <a:ext cx="56434" cy="64199"/>
                </a:xfrm>
                <a:custGeom>
                  <a:avLst/>
                  <a:gdLst>
                    <a:gd name="connsiteX0" fmla="*/ 0 w 56434"/>
                    <a:gd name="connsiteY0" fmla="*/ 16223 h 64199"/>
                    <a:gd name="connsiteX1" fmla="*/ 25652 w 56434"/>
                    <a:gd name="connsiteY1" fmla="*/ 0 h 64199"/>
                    <a:gd name="connsiteX2" fmla="*/ 56435 w 56434"/>
                    <a:gd name="connsiteY2" fmla="*/ 36237 h 64199"/>
                    <a:gd name="connsiteX3" fmla="*/ 45250 w 56434"/>
                    <a:gd name="connsiteY3" fmla="*/ 64200 h 6419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56434" h="64199">
                      <a:moveTo>
                        <a:pt x="0" y="16223"/>
                      </a:moveTo>
                      <a:cubicBezTo>
                        <a:pt x="5500" y="6471"/>
                        <a:pt x="14929" y="0"/>
                        <a:pt x="25652" y="0"/>
                      </a:cubicBezTo>
                      <a:cubicBezTo>
                        <a:pt x="42661" y="0"/>
                        <a:pt x="56435" y="16223"/>
                        <a:pt x="56435" y="36237"/>
                      </a:cubicBezTo>
                      <a:cubicBezTo>
                        <a:pt x="56435" y="47468"/>
                        <a:pt x="52090" y="57544"/>
                        <a:pt x="45250" y="64200"/>
                      </a:cubicBez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434" name="Forma livre: Forma 1433">
                  <a:extLst>
                    <a:ext uri="{FF2B5EF4-FFF2-40B4-BE49-F238E27FC236}">
                      <a16:creationId xmlns:a16="http://schemas.microsoft.com/office/drawing/2014/main" id="{073E8293-C707-C349-6E93-5485367162DB}"/>
                    </a:ext>
                  </a:extLst>
                </p:cNvPr>
                <p:cNvSpPr/>
                <p:nvPr/>
              </p:nvSpPr>
              <p:spPr>
                <a:xfrm>
                  <a:off x="10788985" y="5292264"/>
                  <a:ext cx="41367" cy="79683"/>
                </a:xfrm>
                <a:custGeom>
                  <a:avLst/>
                  <a:gdLst>
                    <a:gd name="connsiteX0" fmla="*/ 1017 w 41367"/>
                    <a:gd name="connsiteY0" fmla="*/ 740 h 79683"/>
                    <a:gd name="connsiteX1" fmla="*/ 7488 w 41367"/>
                    <a:gd name="connsiteY1" fmla="*/ 0 h 79683"/>
                    <a:gd name="connsiteX2" fmla="*/ 41367 w 41367"/>
                    <a:gd name="connsiteY2" fmla="*/ 39842 h 79683"/>
                    <a:gd name="connsiteX3" fmla="*/ 7488 w 41367"/>
                    <a:gd name="connsiteY3" fmla="*/ 79684 h 79683"/>
                    <a:gd name="connsiteX4" fmla="*/ 0 w 41367"/>
                    <a:gd name="connsiteY4" fmla="*/ 78713 h 7968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41367" h="79683">
                      <a:moveTo>
                        <a:pt x="1017" y="740"/>
                      </a:moveTo>
                      <a:cubicBezTo>
                        <a:pt x="3097" y="277"/>
                        <a:pt x="5269" y="0"/>
                        <a:pt x="7488" y="0"/>
                      </a:cubicBezTo>
                      <a:cubicBezTo>
                        <a:pt x="26207" y="0"/>
                        <a:pt x="41367" y="17841"/>
                        <a:pt x="41367" y="39842"/>
                      </a:cubicBezTo>
                      <a:cubicBezTo>
                        <a:pt x="41367" y="61843"/>
                        <a:pt x="26207" y="79684"/>
                        <a:pt x="7488" y="79684"/>
                      </a:cubicBezTo>
                      <a:cubicBezTo>
                        <a:pt x="4899" y="79684"/>
                        <a:pt x="2403" y="79360"/>
                        <a:pt x="0" y="78713"/>
                      </a:cubicBez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1435" name="Gráfico 21">
                <a:extLst>
                  <a:ext uri="{FF2B5EF4-FFF2-40B4-BE49-F238E27FC236}">
                    <a16:creationId xmlns:a16="http://schemas.microsoft.com/office/drawing/2014/main" id="{C0B51F08-BCA6-37F2-A5C2-3D992A7503CE}"/>
                  </a:ext>
                </a:extLst>
              </p:cNvPr>
              <p:cNvGrpSpPr/>
              <p:nvPr/>
            </p:nvGrpSpPr>
            <p:grpSpPr>
              <a:xfrm>
                <a:off x="10636920" y="5242300"/>
                <a:ext cx="95860" cy="196066"/>
                <a:chOff x="10636920" y="5242300"/>
                <a:chExt cx="95860" cy="196066"/>
              </a:xfrm>
              <a:noFill/>
            </p:grpSpPr>
            <p:sp>
              <p:nvSpPr>
                <p:cNvPr id="1436" name="Forma livre: Forma 1435">
                  <a:extLst>
                    <a:ext uri="{FF2B5EF4-FFF2-40B4-BE49-F238E27FC236}">
                      <a16:creationId xmlns:a16="http://schemas.microsoft.com/office/drawing/2014/main" id="{8CCBB84C-B531-3F7C-03A8-C083EC1A5024}"/>
                    </a:ext>
                  </a:extLst>
                </p:cNvPr>
                <p:cNvSpPr/>
                <p:nvPr/>
              </p:nvSpPr>
              <p:spPr>
                <a:xfrm>
                  <a:off x="10642236" y="5264532"/>
                  <a:ext cx="31799" cy="58468"/>
                </a:xfrm>
                <a:custGeom>
                  <a:avLst/>
                  <a:gdLst>
                    <a:gd name="connsiteX0" fmla="*/ 31800 w 31799"/>
                    <a:gd name="connsiteY0" fmla="*/ 0 h 58468"/>
                    <a:gd name="connsiteX1" fmla="*/ 30783 w 31799"/>
                    <a:gd name="connsiteY1" fmla="*/ 0 h 58468"/>
                    <a:gd name="connsiteX2" fmla="*/ 0 w 31799"/>
                    <a:gd name="connsiteY2" fmla="*/ 36190 h 58468"/>
                    <a:gd name="connsiteX3" fmla="*/ 6471 w 31799"/>
                    <a:gd name="connsiteY3" fmla="*/ 58469 h 5846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31799" h="58468">
                      <a:moveTo>
                        <a:pt x="31800" y="0"/>
                      </a:moveTo>
                      <a:cubicBezTo>
                        <a:pt x="31476" y="0"/>
                        <a:pt x="31106" y="0"/>
                        <a:pt x="30783" y="0"/>
                      </a:cubicBezTo>
                      <a:cubicBezTo>
                        <a:pt x="13774" y="0"/>
                        <a:pt x="0" y="16223"/>
                        <a:pt x="0" y="36190"/>
                      </a:cubicBezTo>
                      <a:cubicBezTo>
                        <a:pt x="0" y="44602"/>
                        <a:pt x="2403" y="52321"/>
                        <a:pt x="6471" y="58469"/>
                      </a:cubicBez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437" name="Forma livre: Forma 1436">
                  <a:extLst>
                    <a:ext uri="{FF2B5EF4-FFF2-40B4-BE49-F238E27FC236}">
                      <a16:creationId xmlns:a16="http://schemas.microsoft.com/office/drawing/2014/main" id="{A06CC657-DC0A-9624-7502-4DA8B8A434BF}"/>
                    </a:ext>
                  </a:extLst>
                </p:cNvPr>
                <p:cNvSpPr/>
                <p:nvPr/>
              </p:nvSpPr>
              <p:spPr>
                <a:xfrm>
                  <a:off x="10636920" y="5312786"/>
                  <a:ext cx="41783" cy="79498"/>
                </a:xfrm>
                <a:custGeom>
                  <a:avLst/>
                  <a:gdLst>
                    <a:gd name="connsiteX0" fmla="*/ 41783 w 41783"/>
                    <a:gd name="connsiteY0" fmla="*/ 1109 h 79498"/>
                    <a:gd name="connsiteX1" fmla="*/ 33879 w 41783"/>
                    <a:gd name="connsiteY1" fmla="*/ 0 h 79498"/>
                    <a:gd name="connsiteX2" fmla="*/ 0 w 41783"/>
                    <a:gd name="connsiteY2" fmla="*/ 39842 h 79498"/>
                    <a:gd name="connsiteX3" fmla="*/ 30736 w 41783"/>
                    <a:gd name="connsiteY3" fmla="*/ 79499 h 794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1783" h="79498">
                      <a:moveTo>
                        <a:pt x="41783" y="1109"/>
                      </a:moveTo>
                      <a:cubicBezTo>
                        <a:pt x="39241" y="416"/>
                        <a:pt x="36606" y="0"/>
                        <a:pt x="33879" y="0"/>
                      </a:cubicBezTo>
                      <a:cubicBezTo>
                        <a:pt x="15160" y="0"/>
                        <a:pt x="0" y="17841"/>
                        <a:pt x="0" y="39842"/>
                      </a:cubicBezTo>
                      <a:cubicBezTo>
                        <a:pt x="0" y="60595"/>
                        <a:pt x="13496" y="77650"/>
                        <a:pt x="30736" y="79499"/>
                      </a:cubicBez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438" name="Forma livre: Forma 1437">
                  <a:extLst>
                    <a:ext uri="{FF2B5EF4-FFF2-40B4-BE49-F238E27FC236}">
                      <a16:creationId xmlns:a16="http://schemas.microsoft.com/office/drawing/2014/main" id="{906BD8E3-229F-0D51-83DC-A532550F6819}"/>
                    </a:ext>
                  </a:extLst>
                </p:cNvPr>
                <p:cNvSpPr/>
                <p:nvPr/>
              </p:nvSpPr>
              <p:spPr>
                <a:xfrm>
                  <a:off x="10667241" y="5362149"/>
                  <a:ext cx="65540" cy="76217"/>
                </a:xfrm>
                <a:custGeom>
                  <a:avLst/>
                  <a:gdLst>
                    <a:gd name="connsiteX0" fmla="*/ 20013 w 65540"/>
                    <a:gd name="connsiteY0" fmla="*/ 0 h 76217"/>
                    <a:gd name="connsiteX1" fmla="*/ 0 w 65540"/>
                    <a:gd name="connsiteY1" fmla="*/ 36375 h 76217"/>
                    <a:gd name="connsiteX2" fmla="*/ 33833 w 65540"/>
                    <a:gd name="connsiteY2" fmla="*/ 76217 h 76217"/>
                    <a:gd name="connsiteX3" fmla="*/ 65540 w 65540"/>
                    <a:gd name="connsiteY3" fmla="*/ 50334 h 7621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65540" h="76217">
                      <a:moveTo>
                        <a:pt x="20013" y="0"/>
                      </a:moveTo>
                      <a:cubicBezTo>
                        <a:pt x="8227" y="6240"/>
                        <a:pt x="0" y="20152"/>
                        <a:pt x="0" y="36375"/>
                      </a:cubicBezTo>
                      <a:cubicBezTo>
                        <a:pt x="0" y="58376"/>
                        <a:pt x="15160" y="76217"/>
                        <a:pt x="33833" y="76217"/>
                      </a:cubicBezTo>
                      <a:cubicBezTo>
                        <a:pt x="48346" y="76217"/>
                        <a:pt x="60733" y="65448"/>
                        <a:pt x="65540" y="50334"/>
                      </a:cubicBez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439" name="Forma livre: Forma 1438">
                  <a:extLst>
                    <a:ext uri="{FF2B5EF4-FFF2-40B4-BE49-F238E27FC236}">
                      <a16:creationId xmlns:a16="http://schemas.microsoft.com/office/drawing/2014/main" id="{9980A5B6-69C8-D6F3-01F6-55591731E9C5}"/>
                    </a:ext>
                  </a:extLst>
                </p:cNvPr>
                <p:cNvSpPr/>
                <p:nvPr/>
              </p:nvSpPr>
              <p:spPr>
                <a:xfrm>
                  <a:off x="10671678" y="5242300"/>
                  <a:ext cx="56434" cy="64199"/>
                </a:xfrm>
                <a:custGeom>
                  <a:avLst/>
                  <a:gdLst>
                    <a:gd name="connsiteX0" fmla="*/ 56435 w 56434"/>
                    <a:gd name="connsiteY0" fmla="*/ 16223 h 64199"/>
                    <a:gd name="connsiteX1" fmla="*/ 30783 w 56434"/>
                    <a:gd name="connsiteY1" fmla="*/ 0 h 64199"/>
                    <a:gd name="connsiteX2" fmla="*/ 0 w 56434"/>
                    <a:gd name="connsiteY2" fmla="*/ 36237 h 64199"/>
                    <a:gd name="connsiteX3" fmla="*/ 11185 w 56434"/>
                    <a:gd name="connsiteY3" fmla="*/ 64200 h 6419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56434" h="64199">
                      <a:moveTo>
                        <a:pt x="56435" y="16223"/>
                      </a:moveTo>
                      <a:cubicBezTo>
                        <a:pt x="50935" y="6471"/>
                        <a:pt x="41506" y="0"/>
                        <a:pt x="30783" y="0"/>
                      </a:cubicBezTo>
                      <a:cubicBezTo>
                        <a:pt x="13774" y="0"/>
                        <a:pt x="0" y="16223"/>
                        <a:pt x="0" y="36237"/>
                      </a:cubicBezTo>
                      <a:cubicBezTo>
                        <a:pt x="0" y="47468"/>
                        <a:pt x="4345" y="57544"/>
                        <a:pt x="11185" y="64200"/>
                      </a:cubicBez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440" name="Forma livre: Forma 1439">
                  <a:extLst>
                    <a:ext uri="{FF2B5EF4-FFF2-40B4-BE49-F238E27FC236}">
                      <a16:creationId xmlns:a16="http://schemas.microsoft.com/office/drawing/2014/main" id="{2BE6D6F5-9253-EA55-C387-5540F24BA4BF}"/>
                    </a:ext>
                  </a:extLst>
                </p:cNvPr>
                <p:cNvSpPr/>
                <p:nvPr/>
              </p:nvSpPr>
              <p:spPr>
                <a:xfrm>
                  <a:off x="10675422" y="5292264"/>
                  <a:ext cx="41367" cy="79683"/>
                </a:xfrm>
                <a:custGeom>
                  <a:avLst/>
                  <a:gdLst>
                    <a:gd name="connsiteX0" fmla="*/ 40350 w 41367"/>
                    <a:gd name="connsiteY0" fmla="*/ 740 h 79683"/>
                    <a:gd name="connsiteX1" fmla="*/ 33879 w 41367"/>
                    <a:gd name="connsiteY1" fmla="*/ 0 h 79683"/>
                    <a:gd name="connsiteX2" fmla="*/ 0 w 41367"/>
                    <a:gd name="connsiteY2" fmla="*/ 39842 h 79683"/>
                    <a:gd name="connsiteX3" fmla="*/ 33879 w 41367"/>
                    <a:gd name="connsiteY3" fmla="*/ 79684 h 79683"/>
                    <a:gd name="connsiteX4" fmla="*/ 41367 w 41367"/>
                    <a:gd name="connsiteY4" fmla="*/ 78713 h 7968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41367" h="79683">
                      <a:moveTo>
                        <a:pt x="40350" y="740"/>
                      </a:moveTo>
                      <a:cubicBezTo>
                        <a:pt x="38270" y="277"/>
                        <a:pt x="36098" y="0"/>
                        <a:pt x="33879" y="0"/>
                      </a:cubicBezTo>
                      <a:cubicBezTo>
                        <a:pt x="15160" y="0"/>
                        <a:pt x="0" y="17841"/>
                        <a:pt x="0" y="39842"/>
                      </a:cubicBezTo>
                      <a:cubicBezTo>
                        <a:pt x="0" y="61843"/>
                        <a:pt x="15160" y="79684"/>
                        <a:pt x="33879" y="79684"/>
                      </a:cubicBezTo>
                      <a:cubicBezTo>
                        <a:pt x="36468" y="79684"/>
                        <a:pt x="38964" y="79360"/>
                        <a:pt x="41367" y="78713"/>
                      </a:cubicBez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</p:grpSp>
      <p:grpSp>
        <p:nvGrpSpPr>
          <p:cNvPr id="1442" name="Gráfico 23">
            <a:extLst>
              <a:ext uri="{FF2B5EF4-FFF2-40B4-BE49-F238E27FC236}">
                <a16:creationId xmlns:a16="http://schemas.microsoft.com/office/drawing/2014/main" id="{E5B26E43-B914-4938-709B-481CA960C082}"/>
              </a:ext>
            </a:extLst>
          </p:cNvPr>
          <p:cNvGrpSpPr/>
          <p:nvPr/>
        </p:nvGrpSpPr>
        <p:grpSpPr>
          <a:xfrm>
            <a:off x="772494" y="5170395"/>
            <a:ext cx="355263" cy="277271"/>
            <a:chOff x="772494" y="5170395"/>
            <a:chExt cx="355263" cy="277271"/>
          </a:xfrm>
        </p:grpSpPr>
        <p:sp>
          <p:nvSpPr>
            <p:cNvPr id="1443" name="Forma livre: Forma 1442">
              <a:extLst>
                <a:ext uri="{FF2B5EF4-FFF2-40B4-BE49-F238E27FC236}">
                  <a16:creationId xmlns:a16="http://schemas.microsoft.com/office/drawing/2014/main" id="{531DB259-3FCA-A022-C5B1-C0C102D64AE4}"/>
                </a:ext>
              </a:extLst>
            </p:cNvPr>
            <p:cNvSpPr/>
            <p:nvPr/>
          </p:nvSpPr>
          <p:spPr>
            <a:xfrm>
              <a:off x="772552" y="5239552"/>
              <a:ext cx="66399" cy="140427"/>
            </a:xfrm>
            <a:custGeom>
              <a:avLst/>
              <a:gdLst>
                <a:gd name="connsiteX0" fmla="*/ 24125 w 66399"/>
                <a:gd name="connsiteY0" fmla="*/ 0 h 140427"/>
                <a:gd name="connsiteX1" fmla="*/ 0 w 66399"/>
                <a:gd name="connsiteY1" fmla="*/ 22057 h 140427"/>
                <a:gd name="connsiteX2" fmla="*/ 1516 w 66399"/>
                <a:gd name="connsiteY2" fmla="*/ 90984 h 140427"/>
                <a:gd name="connsiteX3" fmla="*/ 66400 w 66399"/>
                <a:gd name="connsiteY3" fmla="*/ 140428 h 1404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6399" h="140427">
                  <a:moveTo>
                    <a:pt x="24125" y="0"/>
                  </a:moveTo>
                  <a:lnTo>
                    <a:pt x="0" y="22057"/>
                  </a:lnTo>
                  <a:lnTo>
                    <a:pt x="1516" y="90984"/>
                  </a:lnTo>
                  <a:lnTo>
                    <a:pt x="66400" y="140428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44" name="Forma livre: Forma 1443">
              <a:extLst>
                <a:ext uri="{FF2B5EF4-FFF2-40B4-BE49-F238E27FC236}">
                  <a16:creationId xmlns:a16="http://schemas.microsoft.com/office/drawing/2014/main" id="{775946E8-9284-1B20-53FB-EC20582A4E89}"/>
                </a:ext>
              </a:extLst>
            </p:cNvPr>
            <p:cNvSpPr/>
            <p:nvPr/>
          </p:nvSpPr>
          <p:spPr>
            <a:xfrm>
              <a:off x="861469" y="5322908"/>
              <a:ext cx="225300" cy="56244"/>
            </a:xfrm>
            <a:custGeom>
              <a:avLst/>
              <a:gdLst>
                <a:gd name="connsiteX0" fmla="*/ 225300 w 225300"/>
                <a:gd name="connsiteY0" fmla="*/ 56245 h 56244"/>
                <a:gd name="connsiteX1" fmla="*/ 60472 w 225300"/>
                <a:gd name="connsiteY1" fmla="*/ 0 h 56244"/>
                <a:gd name="connsiteX2" fmla="*/ 0 w 225300"/>
                <a:gd name="connsiteY2" fmla="*/ 32809 h 56244"/>
                <a:gd name="connsiteX3" fmla="*/ 827 w 225300"/>
                <a:gd name="connsiteY3" fmla="*/ 40116 h 562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25300" h="56244">
                  <a:moveTo>
                    <a:pt x="225300" y="56245"/>
                  </a:moveTo>
                  <a:cubicBezTo>
                    <a:pt x="206460" y="51741"/>
                    <a:pt x="158395" y="25871"/>
                    <a:pt x="60472" y="0"/>
                  </a:cubicBezTo>
                  <a:cubicBezTo>
                    <a:pt x="60472" y="0"/>
                    <a:pt x="643" y="1287"/>
                    <a:pt x="0" y="32809"/>
                  </a:cubicBezTo>
                  <a:cubicBezTo>
                    <a:pt x="0" y="32809"/>
                    <a:pt x="414" y="36807"/>
                    <a:pt x="827" y="40116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45" name="Forma livre: Forma 1444">
              <a:extLst>
                <a:ext uri="{FF2B5EF4-FFF2-40B4-BE49-F238E27FC236}">
                  <a16:creationId xmlns:a16="http://schemas.microsoft.com/office/drawing/2014/main" id="{C64875A5-E043-D4F5-8D72-8E56E87EB776}"/>
                </a:ext>
              </a:extLst>
            </p:cNvPr>
            <p:cNvSpPr/>
            <p:nvPr/>
          </p:nvSpPr>
          <p:spPr>
            <a:xfrm>
              <a:off x="913026" y="5429102"/>
              <a:ext cx="126274" cy="4595"/>
            </a:xfrm>
            <a:custGeom>
              <a:avLst/>
              <a:gdLst>
                <a:gd name="connsiteX0" fmla="*/ 0 w 126274"/>
                <a:gd name="connsiteY0" fmla="*/ 0 h 4595"/>
                <a:gd name="connsiteX1" fmla="*/ 126275 w 126274"/>
                <a:gd name="connsiteY1" fmla="*/ 0 h 45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6274" h="4595">
                  <a:moveTo>
                    <a:pt x="0" y="0"/>
                  </a:moveTo>
                  <a:lnTo>
                    <a:pt x="126275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46" name="Forma livre: Forma 1445">
              <a:extLst>
                <a:ext uri="{FF2B5EF4-FFF2-40B4-BE49-F238E27FC236}">
                  <a16:creationId xmlns:a16="http://schemas.microsoft.com/office/drawing/2014/main" id="{9CB89258-B3CA-1DF0-23B7-991965CEED89}"/>
                </a:ext>
              </a:extLst>
            </p:cNvPr>
            <p:cNvSpPr/>
            <p:nvPr/>
          </p:nvSpPr>
          <p:spPr>
            <a:xfrm>
              <a:off x="933443" y="5281138"/>
              <a:ext cx="126536" cy="85883"/>
            </a:xfrm>
            <a:custGeom>
              <a:avLst/>
              <a:gdLst>
                <a:gd name="connsiteX0" fmla="*/ 78 w 126536"/>
                <a:gd name="connsiteY0" fmla="*/ 44297 h 85883"/>
                <a:gd name="connsiteX1" fmla="*/ 78 w 126536"/>
                <a:gd name="connsiteY1" fmla="*/ 18656 h 85883"/>
                <a:gd name="connsiteX2" fmla="*/ 21951 w 126536"/>
                <a:gd name="connsiteY2" fmla="*/ 0 h 85883"/>
                <a:gd name="connsiteX3" fmla="*/ 73508 w 126536"/>
                <a:gd name="connsiteY3" fmla="*/ 0 h 85883"/>
                <a:gd name="connsiteX4" fmla="*/ 93451 w 126536"/>
                <a:gd name="connsiteY4" fmla="*/ 16634 h 85883"/>
                <a:gd name="connsiteX5" fmla="*/ 93451 w 126536"/>
                <a:gd name="connsiteY5" fmla="*/ 33912 h 85883"/>
                <a:gd name="connsiteX6" fmla="*/ 112429 w 126536"/>
                <a:gd name="connsiteY6" fmla="*/ 41356 h 85883"/>
                <a:gd name="connsiteX7" fmla="*/ 126536 w 126536"/>
                <a:gd name="connsiteY7" fmla="*/ 56980 h 85883"/>
                <a:gd name="connsiteX8" fmla="*/ 126536 w 126536"/>
                <a:gd name="connsiteY8" fmla="*/ 85883 h 858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26536" h="85883">
                  <a:moveTo>
                    <a:pt x="78" y="44297"/>
                  </a:moveTo>
                  <a:lnTo>
                    <a:pt x="78" y="18656"/>
                  </a:lnTo>
                  <a:cubicBezTo>
                    <a:pt x="78" y="18656"/>
                    <a:pt x="-2495" y="0"/>
                    <a:pt x="21951" y="0"/>
                  </a:cubicBezTo>
                  <a:lnTo>
                    <a:pt x="73508" y="0"/>
                  </a:lnTo>
                  <a:cubicBezTo>
                    <a:pt x="73508" y="0"/>
                    <a:pt x="93451" y="551"/>
                    <a:pt x="93451" y="16634"/>
                  </a:cubicBezTo>
                  <a:lnTo>
                    <a:pt x="93451" y="33912"/>
                  </a:lnTo>
                  <a:cubicBezTo>
                    <a:pt x="93451" y="33912"/>
                    <a:pt x="112429" y="41356"/>
                    <a:pt x="112429" y="41356"/>
                  </a:cubicBezTo>
                  <a:cubicBezTo>
                    <a:pt x="112429" y="41356"/>
                    <a:pt x="126536" y="44941"/>
                    <a:pt x="126536" y="56980"/>
                  </a:cubicBezTo>
                  <a:lnTo>
                    <a:pt x="126536" y="85883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47" name="Forma livre: Forma 1446">
              <a:extLst>
                <a:ext uri="{FF2B5EF4-FFF2-40B4-BE49-F238E27FC236}">
                  <a16:creationId xmlns:a16="http://schemas.microsoft.com/office/drawing/2014/main" id="{F1B82D5E-6E11-97E5-63DF-EA3DEA7256B7}"/>
                </a:ext>
              </a:extLst>
            </p:cNvPr>
            <p:cNvSpPr/>
            <p:nvPr/>
          </p:nvSpPr>
          <p:spPr>
            <a:xfrm>
              <a:off x="772494" y="5170395"/>
              <a:ext cx="101519" cy="164184"/>
            </a:xfrm>
            <a:custGeom>
              <a:avLst/>
              <a:gdLst>
                <a:gd name="connsiteX0" fmla="*/ 101519 w 101519"/>
                <a:gd name="connsiteY0" fmla="*/ 164185 h 164184"/>
                <a:gd name="connsiteX1" fmla="*/ 3367 w 101519"/>
                <a:gd name="connsiteY1" fmla="*/ 39932 h 164184"/>
                <a:gd name="connsiteX2" fmla="*/ 18944 w 101519"/>
                <a:gd name="connsiteY2" fmla="*/ 0 h 1641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01519" h="164184">
                  <a:moveTo>
                    <a:pt x="101519" y="164185"/>
                  </a:moveTo>
                  <a:lnTo>
                    <a:pt x="3367" y="39932"/>
                  </a:lnTo>
                  <a:cubicBezTo>
                    <a:pt x="3367" y="39932"/>
                    <a:pt x="-10786" y="20862"/>
                    <a:pt x="18944" y="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48" name="Forma livre: Forma 1447">
              <a:extLst>
                <a:ext uri="{FF2B5EF4-FFF2-40B4-BE49-F238E27FC236}">
                  <a16:creationId xmlns:a16="http://schemas.microsoft.com/office/drawing/2014/main" id="{889A4118-44E0-DF74-07B7-DFE04ED45DC5}"/>
                </a:ext>
              </a:extLst>
            </p:cNvPr>
            <p:cNvSpPr/>
            <p:nvPr/>
          </p:nvSpPr>
          <p:spPr>
            <a:xfrm>
              <a:off x="849199" y="5378510"/>
              <a:ext cx="69202" cy="69157"/>
            </a:xfrm>
            <a:custGeom>
              <a:avLst/>
              <a:gdLst>
                <a:gd name="connsiteX0" fmla="*/ 34601 w 69202"/>
                <a:gd name="connsiteY0" fmla="*/ 0 h 69157"/>
                <a:gd name="connsiteX1" fmla="*/ 0 w 69202"/>
                <a:gd name="connsiteY1" fmla="*/ 34602 h 69157"/>
                <a:gd name="connsiteX2" fmla="*/ 34601 w 69202"/>
                <a:gd name="connsiteY2" fmla="*/ 69157 h 69157"/>
                <a:gd name="connsiteX3" fmla="*/ 69203 w 69202"/>
                <a:gd name="connsiteY3" fmla="*/ 34602 h 69157"/>
                <a:gd name="connsiteX4" fmla="*/ 34601 w 69202"/>
                <a:gd name="connsiteY4" fmla="*/ 0 h 691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9202" h="69157">
                  <a:moveTo>
                    <a:pt x="34601" y="0"/>
                  </a:moveTo>
                  <a:cubicBezTo>
                    <a:pt x="15486" y="0"/>
                    <a:pt x="0" y="15486"/>
                    <a:pt x="0" y="34602"/>
                  </a:cubicBezTo>
                  <a:cubicBezTo>
                    <a:pt x="0" y="53717"/>
                    <a:pt x="15486" y="69157"/>
                    <a:pt x="34601" y="69157"/>
                  </a:cubicBezTo>
                  <a:cubicBezTo>
                    <a:pt x="53717" y="69157"/>
                    <a:pt x="69203" y="53671"/>
                    <a:pt x="69203" y="34602"/>
                  </a:cubicBezTo>
                  <a:cubicBezTo>
                    <a:pt x="69203" y="15532"/>
                    <a:pt x="53717" y="0"/>
                    <a:pt x="34601" y="0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49" name="Forma livre: Forma 1448">
              <a:extLst>
                <a:ext uri="{FF2B5EF4-FFF2-40B4-BE49-F238E27FC236}">
                  <a16:creationId xmlns:a16="http://schemas.microsoft.com/office/drawing/2014/main" id="{9DA7E54E-7446-A0A2-5CC5-B7E967F1FAB7}"/>
                </a:ext>
              </a:extLst>
            </p:cNvPr>
            <p:cNvSpPr/>
            <p:nvPr/>
          </p:nvSpPr>
          <p:spPr>
            <a:xfrm>
              <a:off x="1058600" y="5378510"/>
              <a:ext cx="69156" cy="69157"/>
            </a:xfrm>
            <a:custGeom>
              <a:avLst/>
              <a:gdLst>
                <a:gd name="connsiteX0" fmla="*/ 34601 w 69156"/>
                <a:gd name="connsiteY0" fmla="*/ 0 h 69157"/>
                <a:gd name="connsiteX1" fmla="*/ 0 w 69156"/>
                <a:gd name="connsiteY1" fmla="*/ 34602 h 69157"/>
                <a:gd name="connsiteX2" fmla="*/ 34601 w 69156"/>
                <a:gd name="connsiteY2" fmla="*/ 69157 h 69157"/>
                <a:gd name="connsiteX3" fmla="*/ 69157 w 69156"/>
                <a:gd name="connsiteY3" fmla="*/ 34602 h 69157"/>
                <a:gd name="connsiteX4" fmla="*/ 34601 w 69156"/>
                <a:gd name="connsiteY4" fmla="*/ 0 h 691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9156" h="69157">
                  <a:moveTo>
                    <a:pt x="34601" y="0"/>
                  </a:moveTo>
                  <a:cubicBezTo>
                    <a:pt x="15486" y="0"/>
                    <a:pt x="0" y="15486"/>
                    <a:pt x="0" y="34602"/>
                  </a:cubicBezTo>
                  <a:cubicBezTo>
                    <a:pt x="0" y="53717"/>
                    <a:pt x="15486" y="69157"/>
                    <a:pt x="34601" y="69157"/>
                  </a:cubicBezTo>
                  <a:cubicBezTo>
                    <a:pt x="53717" y="69157"/>
                    <a:pt x="69157" y="53671"/>
                    <a:pt x="69157" y="34602"/>
                  </a:cubicBezTo>
                  <a:cubicBezTo>
                    <a:pt x="69157" y="15532"/>
                    <a:pt x="53671" y="0"/>
                    <a:pt x="34601" y="0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50" name="Forma livre: Forma 1449">
              <a:extLst>
                <a:ext uri="{FF2B5EF4-FFF2-40B4-BE49-F238E27FC236}">
                  <a16:creationId xmlns:a16="http://schemas.microsoft.com/office/drawing/2014/main" id="{201D8992-A475-5D33-AC12-DDFFA2C649CD}"/>
                </a:ext>
              </a:extLst>
            </p:cNvPr>
            <p:cNvSpPr/>
            <p:nvPr/>
          </p:nvSpPr>
          <p:spPr>
            <a:xfrm>
              <a:off x="953785" y="5386183"/>
              <a:ext cx="4595" cy="16542"/>
            </a:xfrm>
            <a:custGeom>
              <a:avLst/>
              <a:gdLst>
                <a:gd name="connsiteX0" fmla="*/ 0 w 4595"/>
                <a:gd name="connsiteY0" fmla="*/ 16543 h 16542"/>
                <a:gd name="connsiteX1" fmla="*/ 0 w 4595"/>
                <a:gd name="connsiteY1" fmla="*/ 0 h 165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595" h="16542">
                  <a:moveTo>
                    <a:pt x="0" y="16543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51" name="Forma livre: Forma 1450">
              <a:extLst>
                <a:ext uri="{FF2B5EF4-FFF2-40B4-BE49-F238E27FC236}">
                  <a16:creationId xmlns:a16="http://schemas.microsoft.com/office/drawing/2014/main" id="{7EA0BD41-752A-BF5D-0ADF-CDF1009BA808}"/>
                </a:ext>
              </a:extLst>
            </p:cNvPr>
            <p:cNvSpPr/>
            <p:nvPr/>
          </p:nvSpPr>
          <p:spPr>
            <a:xfrm>
              <a:off x="981126" y="5386183"/>
              <a:ext cx="4595" cy="16542"/>
            </a:xfrm>
            <a:custGeom>
              <a:avLst/>
              <a:gdLst>
                <a:gd name="connsiteX0" fmla="*/ 0 w 4595"/>
                <a:gd name="connsiteY0" fmla="*/ 16543 h 16542"/>
                <a:gd name="connsiteX1" fmla="*/ 0 w 4595"/>
                <a:gd name="connsiteY1" fmla="*/ 0 h 165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595" h="16542">
                  <a:moveTo>
                    <a:pt x="0" y="16543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52" name="Forma livre: Forma 1451">
              <a:extLst>
                <a:ext uri="{FF2B5EF4-FFF2-40B4-BE49-F238E27FC236}">
                  <a16:creationId xmlns:a16="http://schemas.microsoft.com/office/drawing/2014/main" id="{28F3EF31-E872-DB37-CF7E-A8417BD4C837}"/>
                </a:ext>
              </a:extLst>
            </p:cNvPr>
            <p:cNvSpPr/>
            <p:nvPr/>
          </p:nvSpPr>
          <p:spPr>
            <a:xfrm>
              <a:off x="1008467" y="5386183"/>
              <a:ext cx="4595" cy="16542"/>
            </a:xfrm>
            <a:custGeom>
              <a:avLst/>
              <a:gdLst>
                <a:gd name="connsiteX0" fmla="*/ 0 w 4595"/>
                <a:gd name="connsiteY0" fmla="*/ 16543 h 16542"/>
                <a:gd name="connsiteX1" fmla="*/ 0 w 4595"/>
                <a:gd name="connsiteY1" fmla="*/ 0 h 165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595" h="16542">
                  <a:moveTo>
                    <a:pt x="0" y="16543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53" name="Forma livre: Forma 1452">
              <a:extLst>
                <a:ext uri="{FF2B5EF4-FFF2-40B4-BE49-F238E27FC236}">
                  <a16:creationId xmlns:a16="http://schemas.microsoft.com/office/drawing/2014/main" id="{8ECC96A3-472F-4659-20DB-420453726673}"/>
                </a:ext>
              </a:extLst>
            </p:cNvPr>
            <p:cNvSpPr/>
            <p:nvPr/>
          </p:nvSpPr>
          <p:spPr>
            <a:xfrm>
              <a:off x="1089710" y="5409527"/>
              <a:ext cx="7168" cy="7168"/>
            </a:xfrm>
            <a:custGeom>
              <a:avLst/>
              <a:gdLst>
                <a:gd name="connsiteX0" fmla="*/ 7168 w 7168"/>
                <a:gd name="connsiteY0" fmla="*/ 3584 h 7168"/>
                <a:gd name="connsiteX1" fmla="*/ 3584 w 7168"/>
                <a:gd name="connsiteY1" fmla="*/ 7169 h 7168"/>
                <a:gd name="connsiteX2" fmla="*/ 0 w 7168"/>
                <a:gd name="connsiteY2" fmla="*/ 3584 h 7168"/>
                <a:gd name="connsiteX3" fmla="*/ 3584 w 7168"/>
                <a:gd name="connsiteY3" fmla="*/ 0 h 7168"/>
                <a:gd name="connsiteX4" fmla="*/ 7168 w 7168"/>
                <a:gd name="connsiteY4" fmla="*/ 3584 h 71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68" h="7168">
                  <a:moveTo>
                    <a:pt x="7168" y="3584"/>
                  </a:moveTo>
                  <a:cubicBezTo>
                    <a:pt x="7168" y="5560"/>
                    <a:pt x="5560" y="7169"/>
                    <a:pt x="3584" y="7169"/>
                  </a:cubicBezTo>
                  <a:cubicBezTo>
                    <a:pt x="1608" y="7169"/>
                    <a:pt x="0" y="5560"/>
                    <a:pt x="0" y="3584"/>
                  </a:cubicBezTo>
                  <a:cubicBezTo>
                    <a:pt x="0" y="1608"/>
                    <a:pt x="1608" y="0"/>
                    <a:pt x="3584" y="0"/>
                  </a:cubicBezTo>
                  <a:cubicBezTo>
                    <a:pt x="5560" y="0"/>
                    <a:pt x="7168" y="1608"/>
                    <a:pt x="7168" y="3584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54" name="Forma livre: Forma 1453">
              <a:extLst>
                <a:ext uri="{FF2B5EF4-FFF2-40B4-BE49-F238E27FC236}">
                  <a16:creationId xmlns:a16="http://schemas.microsoft.com/office/drawing/2014/main" id="{31C283AC-A2C0-CCF0-C5EA-DEC1854A22A4}"/>
                </a:ext>
              </a:extLst>
            </p:cNvPr>
            <p:cNvSpPr/>
            <p:nvPr/>
          </p:nvSpPr>
          <p:spPr>
            <a:xfrm>
              <a:off x="880217" y="5409527"/>
              <a:ext cx="7168" cy="7168"/>
            </a:xfrm>
            <a:custGeom>
              <a:avLst/>
              <a:gdLst>
                <a:gd name="connsiteX0" fmla="*/ 7168 w 7168"/>
                <a:gd name="connsiteY0" fmla="*/ 3584 h 7168"/>
                <a:gd name="connsiteX1" fmla="*/ 3584 w 7168"/>
                <a:gd name="connsiteY1" fmla="*/ 7169 h 7168"/>
                <a:gd name="connsiteX2" fmla="*/ 0 w 7168"/>
                <a:gd name="connsiteY2" fmla="*/ 3584 h 7168"/>
                <a:gd name="connsiteX3" fmla="*/ 3584 w 7168"/>
                <a:gd name="connsiteY3" fmla="*/ 0 h 7168"/>
                <a:gd name="connsiteX4" fmla="*/ 7168 w 7168"/>
                <a:gd name="connsiteY4" fmla="*/ 3584 h 71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68" h="7168">
                  <a:moveTo>
                    <a:pt x="7168" y="3584"/>
                  </a:moveTo>
                  <a:cubicBezTo>
                    <a:pt x="7168" y="5560"/>
                    <a:pt x="5560" y="7169"/>
                    <a:pt x="3584" y="7169"/>
                  </a:cubicBezTo>
                  <a:cubicBezTo>
                    <a:pt x="1608" y="7169"/>
                    <a:pt x="0" y="5560"/>
                    <a:pt x="0" y="3584"/>
                  </a:cubicBezTo>
                  <a:cubicBezTo>
                    <a:pt x="0" y="1608"/>
                    <a:pt x="1608" y="0"/>
                    <a:pt x="3584" y="0"/>
                  </a:cubicBezTo>
                  <a:cubicBezTo>
                    <a:pt x="5560" y="0"/>
                    <a:pt x="7168" y="1608"/>
                    <a:pt x="7168" y="3584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455" name="Gráfico 23">
            <a:extLst>
              <a:ext uri="{FF2B5EF4-FFF2-40B4-BE49-F238E27FC236}">
                <a16:creationId xmlns:a16="http://schemas.microsoft.com/office/drawing/2014/main" id="{CE3BB614-3FC2-E324-9CF6-62CA09BD02C8}"/>
              </a:ext>
            </a:extLst>
          </p:cNvPr>
          <p:cNvGrpSpPr/>
          <p:nvPr/>
        </p:nvGrpSpPr>
        <p:grpSpPr>
          <a:xfrm>
            <a:off x="811123" y="5679875"/>
            <a:ext cx="275171" cy="259136"/>
            <a:chOff x="811123" y="5679875"/>
            <a:chExt cx="275171" cy="259136"/>
          </a:xfrm>
          <a:noFill/>
        </p:grpSpPr>
        <p:sp>
          <p:nvSpPr>
            <p:cNvPr id="1456" name="Forma livre: Forma 1455">
              <a:extLst>
                <a:ext uri="{FF2B5EF4-FFF2-40B4-BE49-F238E27FC236}">
                  <a16:creationId xmlns:a16="http://schemas.microsoft.com/office/drawing/2014/main" id="{345D3344-531E-A571-ABDD-5166F7444FAE}"/>
                </a:ext>
              </a:extLst>
            </p:cNvPr>
            <p:cNvSpPr/>
            <p:nvPr/>
          </p:nvSpPr>
          <p:spPr>
            <a:xfrm>
              <a:off x="811123" y="5854125"/>
              <a:ext cx="81344" cy="81344"/>
            </a:xfrm>
            <a:custGeom>
              <a:avLst/>
              <a:gdLst>
                <a:gd name="connsiteX0" fmla="*/ 81316 w 81344"/>
                <a:gd name="connsiteY0" fmla="*/ 42212 h 81344"/>
                <a:gd name="connsiteX1" fmla="*/ 39133 w 81344"/>
                <a:gd name="connsiteY1" fmla="*/ 81316 h 81344"/>
                <a:gd name="connsiteX2" fmla="*/ 28 w 81344"/>
                <a:gd name="connsiteY2" fmla="*/ 39133 h 81344"/>
                <a:gd name="connsiteX3" fmla="*/ 42212 w 81344"/>
                <a:gd name="connsiteY3" fmla="*/ 28 h 81344"/>
                <a:gd name="connsiteX4" fmla="*/ 81316 w 81344"/>
                <a:gd name="connsiteY4" fmla="*/ 42212 h 813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1344" h="81344">
                  <a:moveTo>
                    <a:pt x="81316" y="42212"/>
                  </a:moveTo>
                  <a:cubicBezTo>
                    <a:pt x="80443" y="64636"/>
                    <a:pt x="61557" y="82143"/>
                    <a:pt x="39133" y="81316"/>
                  </a:cubicBezTo>
                  <a:cubicBezTo>
                    <a:pt x="16709" y="80443"/>
                    <a:pt x="-799" y="61557"/>
                    <a:pt x="28" y="39133"/>
                  </a:cubicBezTo>
                  <a:cubicBezTo>
                    <a:pt x="901" y="16663"/>
                    <a:pt x="19787" y="-799"/>
                    <a:pt x="42212" y="28"/>
                  </a:cubicBezTo>
                  <a:cubicBezTo>
                    <a:pt x="64636" y="901"/>
                    <a:pt x="82143" y="19787"/>
                    <a:pt x="81316" y="42212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57" name="Forma livre: Forma 1456">
              <a:extLst>
                <a:ext uri="{FF2B5EF4-FFF2-40B4-BE49-F238E27FC236}">
                  <a16:creationId xmlns:a16="http://schemas.microsoft.com/office/drawing/2014/main" id="{8BA8FBDC-EC35-33CB-D41A-090DA3F44955}"/>
                </a:ext>
              </a:extLst>
            </p:cNvPr>
            <p:cNvSpPr/>
            <p:nvPr/>
          </p:nvSpPr>
          <p:spPr>
            <a:xfrm>
              <a:off x="901323" y="5857664"/>
              <a:ext cx="81347" cy="81347"/>
            </a:xfrm>
            <a:custGeom>
              <a:avLst/>
              <a:gdLst>
                <a:gd name="connsiteX0" fmla="*/ 81319 w 81347"/>
                <a:gd name="connsiteY0" fmla="*/ 42212 h 81347"/>
                <a:gd name="connsiteX1" fmla="*/ 39136 w 81347"/>
                <a:gd name="connsiteY1" fmla="*/ 81316 h 81347"/>
                <a:gd name="connsiteX2" fmla="*/ 31 w 81347"/>
                <a:gd name="connsiteY2" fmla="*/ 39133 h 81347"/>
                <a:gd name="connsiteX3" fmla="*/ 42215 w 81347"/>
                <a:gd name="connsiteY3" fmla="*/ 28 h 81347"/>
                <a:gd name="connsiteX4" fmla="*/ 81319 w 81347"/>
                <a:gd name="connsiteY4" fmla="*/ 42212 h 813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1347" h="81347">
                  <a:moveTo>
                    <a:pt x="81319" y="42212"/>
                  </a:moveTo>
                  <a:cubicBezTo>
                    <a:pt x="80446" y="64636"/>
                    <a:pt x="61560" y="82189"/>
                    <a:pt x="39136" y="81316"/>
                  </a:cubicBezTo>
                  <a:cubicBezTo>
                    <a:pt x="16666" y="80443"/>
                    <a:pt x="-842" y="61557"/>
                    <a:pt x="31" y="39133"/>
                  </a:cubicBezTo>
                  <a:cubicBezTo>
                    <a:pt x="904" y="16708"/>
                    <a:pt x="19790" y="-799"/>
                    <a:pt x="42215" y="28"/>
                  </a:cubicBezTo>
                  <a:cubicBezTo>
                    <a:pt x="64639" y="901"/>
                    <a:pt x="82147" y="19787"/>
                    <a:pt x="81319" y="42212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58" name="Forma livre: Forma 1457">
              <a:extLst>
                <a:ext uri="{FF2B5EF4-FFF2-40B4-BE49-F238E27FC236}">
                  <a16:creationId xmlns:a16="http://schemas.microsoft.com/office/drawing/2014/main" id="{A74A9DC1-C228-378D-9A4B-4347765B4B1E}"/>
                </a:ext>
              </a:extLst>
            </p:cNvPr>
            <p:cNvSpPr/>
            <p:nvPr/>
          </p:nvSpPr>
          <p:spPr>
            <a:xfrm>
              <a:off x="858362" y="5776973"/>
              <a:ext cx="81344" cy="81344"/>
            </a:xfrm>
            <a:custGeom>
              <a:avLst/>
              <a:gdLst>
                <a:gd name="connsiteX0" fmla="*/ 81316 w 81344"/>
                <a:gd name="connsiteY0" fmla="*/ 42212 h 81344"/>
                <a:gd name="connsiteX1" fmla="*/ 39133 w 81344"/>
                <a:gd name="connsiteY1" fmla="*/ 81316 h 81344"/>
                <a:gd name="connsiteX2" fmla="*/ 28 w 81344"/>
                <a:gd name="connsiteY2" fmla="*/ 39133 h 81344"/>
                <a:gd name="connsiteX3" fmla="*/ 42212 w 81344"/>
                <a:gd name="connsiteY3" fmla="*/ 28 h 81344"/>
                <a:gd name="connsiteX4" fmla="*/ 81316 w 81344"/>
                <a:gd name="connsiteY4" fmla="*/ 42212 h 813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1344" h="81344">
                  <a:moveTo>
                    <a:pt x="81316" y="42212"/>
                  </a:moveTo>
                  <a:cubicBezTo>
                    <a:pt x="80443" y="64636"/>
                    <a:pt x="61557" y="82144"/>
                    <a:pt x="39133" y="81316"/>
                  </a:cubicBezTo>
                  <a:cubicBezTo>
                    <a:pt x="16709" y="80443"/>
                    <a:pt x="-799" y="61557"/>
                    <a:pt x="28" y="39133"/>
                  </a:cubicBezTo>
                  <a:cubicBezTo>
                    <a:pt x="901" y="16709"/>
                    <a:pt x="19787" y="-799"/>
                    <a:pt x="42212" y="28"/>
                  </a:cubicBezTo>
                  <a:cubicBezTo>
                    <a:pt x="64636" y="901"/>
                    <a:pt x="82143" y="19787"/>
                    <a:pt x="81316" y="42212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59" name="Forma livre: Forma 1458">
              <a:extLst>
                <a:ext uri="{FF2B5EF4-FFF2-40B4-BE49-F238E27FC236}">
                  <a16:creationId xmlns:a16="http://schemas.microsoft.com/office/drawing/2014/main" id="{2C53643C-7ABA-1A4F-C089-CE05909023C4}"/>
                </a:ext>
              </a:extLst>
            </p:cNvPr>
            <p:cNvSpPr/>
            <p:nvPr/>
          </p:nvSpPr>
          <p:spPr>
            <a:xfrm>
              <a:off x="910131" y="5679875"/>
              <a:ext cx="137977" cy="73415"/>
            </a:xfrm>
            <a:custGeom>
              <a:avLst/>
              <a:gdLst>
                <a:gd name="connsiteX0" fmla="*/ 0 w 137977"/>
                <a:gd name="connsiteY0" fmla="*/ 73415 h 73415"/>
                <a:gd name="connsiteX1" fmla="*/ 68100 w 137977"/>
                <a:gd name="connsiteY1" fmla="*/ 12484 h 73415"/>
                <a:gd name="connsiteX2" fmla="*/ 98842 w 137977"/>
                <a:gd name="connsiteY2" fmla="*/ 31 h 73415"/>
                <a:gd name="connsiteX3" fmla="*/ 137946 w 137977"/>
                <a:gd name="connsiteY3" fmla="*/ 42214 h 73415"/>
                <a:gd name="connsiteX4" fmla="*/ 124253 w 137977"/>
                <a:gd name="connsiteY4" fmla="*/ 71945 h 734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7977" h="73415">
                  <a:moveTo>
                    <a:pt x="0" y="73415"/>
                  </a:moveTo>
                  <a:lnTo>
                    <a:pt x="68100" y="12484"/>
                  </a:lnTo>
                  <a:cubicBezTo>
                    <a:pt x="76785" y="4258"/>
                    <a:pt x="86756" y="-429"/>
                    <a:pt x="98842" y="31"/>
                  </a:cubicBezTo>
                  <a:cubicBezTo>
                    <a:pt x="121312" y="904"/>
                    <a:pt x="138819" y="19790"/>
                    <a:pt x="137946" y="42214"/>
                  </a:cubicBezTo>
                  <a:cubicBezTo>
                    <a:pt x="137487" y="54162"/>
                    <a:pt x="132019" y="64271"/>
                    <a:pt x="124253" y="71945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60" name="Forma livre: Forma 1459">
              <a:extLst>
                <a:ext uri="{FF2B5EF4-FFF2-40B4-BE49-F238E27FC236}">
                  <a16:creationId xmlns:a16="http://schemas.microsoft.com/office/drawing/2014/main" id="{5B92F285-68BF-7367-F205-E6A0762F1B8B}"/>
                </a:ext>
              </a:extLst>
            </p:cNvPr>
            <p:cNvSpPr/>
            <p:nvPr/>
          </p:nvSpPr>
          <p:spPr>
            <a:xfrm>
              <a:off x="926306" y="5750073"/>
              <a:ext cx="110007" cy="105688"/>
            </a:xfrm>
            <a:custGeom>
              <a:avLst/>
              <a:gdLst>
                <a:gd name="connsiteX0" fmla="*/ 110008 w 110007"/>
                <a:gd name="connsiteY0" fmla="*/ 0 h 105688"/>
                <a:gd name="connsiteX1" fmla="*/ 0 w 110007"/>
                <a:gd name="connsiteY1" fmla="*/ 105688 h 1056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0007" h="105688">
                  <a:moveTo>
                    <a:pt x="110008" y="0"/>
                  </a:moveTo>
                  <a:lnTo>
                    <a:pt x="0" y="105688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61" name="Forma livre: Forma 1460">
              <a:extLst>
                <a:ext uri="{FF2B5EF4-FFF2-40B4-BE49-F238E27FC236}">
                  <a16:creationId xmlns:a16="http://schemas.microsoft.com/office/drawing/2014/main" id="{77A263E2-F5EF-6491-DE0C-BDF9B86817A1}"/>
                </a:ext>
              </a:extLst>
            </p:cNvPr>
            <p:cNvSpPr/>
            <p:nvPr/>
          </p:nvSpPr>
          <p:spPr>
            <a:xfrm>
              <a:off x="970741" y="5823274"/>
              <a:ext cx="103942" cy="103666"/>
            </a:xfrm>
            <a:custGeom>
              <a:avLst/>
              <a:gdLst>
                <a:gd name="connsiteX0" fmla="*/ 103942 w 103942"/>
                <a:gd name="connsiteY0" fmla="*/ 0 h 103666"/>
                <a:gd name="connsiteX1" fmla="*/ 0 w 103942"/>
                <a:gd name="connsiteY1" fmla="*/ 103667 h 1036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3942" h="103666">
                  <a:moveTo>
                    <a:pt x="103942" y="0"/>
                  </a:moveTo>
                  <a:lnTo>
                    <a:pt x="0" y="103667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62" name="Forma livre: Forma 1461">
              <a:extLst>
                <a:ext uri="{FF2B5EF4-FFF2-40B4-BE49-F238E27FC236}">
                  <a16:creationId xmlns:a16="http://schemas.microsoft.com/office/drawing/2014/main" id="{39AAE53B-8B4F-C630-66C2-B811695FB506}"/>
                </a:ext>
              </a:extLst>
            </p:cNvPr>
            <p:cNvSpPr/>
            <p:nvPr/>
          </p:nvSpPr>
          <p:spPr>
            <a:xfrm>
              <a:off x="921941" y="5746397"/>
              <a:ext cx="38323" cy="35566"/>
            </a:xfrm>
            <a:custGeom>
              <a:avLst/>
              <a:gdLst>
                <a:gd name="connsiteX0" fmla="*/ 0 w 38323"/>
                <a:gd name="connsiteY0" fmla="*/ 35566 h 35566"/>
                <a:gd name="connsiteX1" fmla="*/ 38324 w 38323"/>
                <a:gd name="connsiteY1" fmla="*/ 0 h 355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8323" h="35566">
                  <a:moveTo>
                    <a:pt x="0" y="35566"/>
                  </a:moveTo>
                  <a:lnTo>
                    <a:pt x="38324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63" name="Forma livre: Forma 1462">
              <a:extLst>
                <a:ext uri="{FF2B5EF4-FFF2-40B4-BE49-F238E27FC236}">
                  <a16:creationId xmlns:a16="http://schemas.microsoft.com/office/drawing/2014/main" id="{08D5E69C-7301-6C49-5FF1-3FBC5AAD550A}"/>
                </a:ext>
              </a:extLst>
            </p:cNvPr>
            <p:cNvSpPr/>
            <p:nvPr/>
          </p:nvSpPr>
          <p:spPr>
            <a:xfrm>
              <a:off x="979748" y="5713772"/>
              <a:ext cx="15715" cy="14566"/>
            </a:xfrm>
            <a:custGeom>
              <a:avLst/>
              <a:gdLst>
                <a:gd name="connsiteX0" fmla="*/ 0 w 15715"/>
                <a:gd name="connsiteY0" fmla="*/ 14567 h 14566"/>
                <a:gd name="connsiteX1" fmla="*/ 15715 w 15715"/>
                <a:gd name="connsiteY1" fmla="*/ 0 h 145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715" h="14566">
                  <a:moveTo>
                    <a:pt x="0" y="14567"/>
                  </a:moveTo>
                  <a:lnTo>
                    <a:pt x="15715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64" name="Forma livre: Forma 1463">
              <a:extLst>
                <a:ext uri="{FF2B5EF4-FFF2-40B4-BE49-F238E27FC236}">
                  <a16:creationId xmlns:a16="http://schemas.microsoft.com/office/drawing/2014/main" id="{659CA5AB-0133-0ED9-E6B2-248E8C2EE56A}"/>
                </a:ext>
              </a:extLst>
            </p:cNvPr>
            <p:cNvSpPr/>
            <p:nvPr/>
          </p:nvSpPr>
          <p:spPr>
            <a:xfrm>
              <a:off x="983378" y="5705822"/>
              <a:ext cx="60472" cy="56060"/>
            </a:xfrm>
            <a:custGeom>
              <a:avLst/>
              <a:gdLst>
                <a:gd name="connsiteX0" fmla="*/ 0 w 60472"/>
                <a:gd name="connsiteY0" fmla="*/ 56061 h 56060"/>
                <a:gd name="connsiteX1" fmla="*/ 60472 w 60472"/>
                <a:gd name="connsiteY1" fmla="*/ 0 h 560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72" h="56060">
                  <a:moveTo>
                    <a:pt x="0" y="56061"/>
                  </a:moveTo>
                  <a:lnTo>
                    <a:pt x="60472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65" name="Forma livre: Forma 1464">
              <a:extLst>
                <a:ext uri="{FF2B5EF4-FFF2-40B4-BE49-F238E27FC236}">
                  <a16:creationId xmlns:a16="http://schemas.microsoft.com/office/drawing/2014/main" id="{2129A4CC-0C40-2988-DD0A-5063CBBE6004}"/>
                </a:ext>
              </a:extLst>
            </p:cNvPr>
            <p:cNvSpPr/>
            <p:nvPr/>
          </p:nvSpPr>
          <p:spPr>
            <a:xfrm>
              <a:off x="937702" y="5778701"/>
              <a:ext cx="27662" cy="25824"/>
            </a:xfrm>
            <a:custGeom>
              <a:avLst/>
              <a:gdLst>
                <a:gd name="connsiteX0" fmla="*/ 0 w 27662"/>
                <a:gd name="connsiteY0" fmla="*/ 25825 h 25824"/>
                <a:gd name="connsiteX1" fmla="*/ 27663 w 27662"/>
                <a:gd name="connsiteY1" fmla="*/ 0 h 258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7662" h="25824">
                  <a:moveTo>
                    <a:pt x="0" y="25825"/>
                  </a:moveTo>
                  <a:lnTo>
                    <a:pt x="27663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66" name="Forma livre: Forma 1465">
              <a:extLst>
                <a:ext uri="{FF2B5EF4-FFF2-40B4-BE49-F238E27FC236}">
                  <a16:creationId xmlns:a16="http://schemas.microsoft.com/office/drawing/2014/main" id="{8EE40A53-F326-7F3A-9FBC-E3C2A5FD2A39}"/>
                </a:ext>
              </a:extLst>
            </p:cNvPr>
            <p:cNvSpPr/>
            <p:nvPr/>
          </p:nvSpPr>
          <p:spPr>
            <a:xfrm>
              <a:off x="991787" y="5799058"/>
              <a:ext cx="31155" cy="30511"/>
            </a:xfrm>
            <a:custGeom>
              <a:avLst/>
              <a:gdLst>
                <a:gd name="connsiteX0" fmla="*/ 0 w 31155"/>
                <a:gd name="connsiteY0" fmla="*/ 30512 h 30511"/>
                <a:gd name="connsiteX1" fmla="*/ 31155 w 31155"/>
                <a:gd name="connsiteY1" fmla="*/ 0 h 305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1155" h="30511">
                  <a:moveTo>
                    <a:pt x="0" y="30512"/>
                  </a:moveTo>
                  <a:lnTo>
                    <a:pt x="31155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67" name="Forma livre: Forma 1466">
              <a:extLst>
                <a:ext uri="{FF2B5EF4-FFF2-40B4-BE49-F238E27FC236}">
                  <a16:creationId xmlns:a16="http://schemas.microsoft.com/office/drawing/2014/main" id="{AA724D1D-786C-95B9-E14A-8FB13949E117}"/>
                </a:ext>
              </a:extLst>
            </p:cNvPr>
            <p:cNvSpPr/>
            <p:nvPr/>
          </p:nvSpPr>
          <p:spPr>
            <a:xfrm>
              <a:off x="1038612" y="5759769"/>
              <a:ext cx="23297" cy="23251"/>
            </a:xfrm>
            <a:custGeom>
              <a:avLst/>
              <a:gdLst>
                <a:gd name="connsiteX0" fmla="*/ 0 w 23297"/>
                <a:gd name="connsiteY0" fmla="*/ 23252 h 23251"/>
                <a:gd name="connsiteX1" fmla="*/ 23297 w 23297"/>
                <a:gd name="connsiteY1" fmla="*/ 0 h 232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3297" h="23251">
                  <a:moveTo>
                    <a:pt x="0" y="23252"/>
                  </a:moveTo>
                  <a:lnTo>
                    <a:pt x="23297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68" name="Forma livre: Forma 1467">
              <a:extLst>
                <a:ext uri="{FF2B5EF4-FFF2-40B4-BE49-F238E27FC236}">
                  <a16:creationId xmlns:a16="http://schemas.microsoft.com/office/drawing/2014/main" id="{B86035D4-68B9-FD5F-DF3C-4E89AF8E357E}"/>
                </a:ext>
              </a:extLst>
            </p:cNvPr>
            <p:cNvSpPr/>
            <p:nvPr/>
          </p:nvSpPr>
          <p:spPr>
            <a:xfrm>
              <a:off x="978737" y="5828742"/>
              <a:ext cx="51144" cy="50316"/>
            </a:xfrm>
            <a:custGeom>
              <a:avLst/>
              <a:gdLst>
                <a:gd name="connsiteX0" fmla="*/ 0 w 51144"/>
                <a:gd name="connsiteY0" fmla="*/ 50317 h 50316"/>
                <a:gd name="connsiteX1" fmla="*/ 51144 w 51144"/>
                <a:gd name="connsiteY1" fmla="*/ 0 h 503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1144" h="50316">
                  <a:moveTo>
                    <a:pt x="0" y="50317"/>
                  </a:moveTo>
                  <a:lnTo>
                    <a:pt x="51144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69" name="Forma livre: Forma 1468">
              <a:extLst>
                <a:ext uri="{FF2B5EF4-FFF2-40B4-BE49-F238E27FC236}">
                  <a16:creationId xmlns:a16="http://schemas.microsoft.com/office/drawing/2014/main" id="{26F6AD61-C1DD-0634-1CDF-DD12F61CC56B}"/>
                </a:ext>
              </a:extLst>
            </p:cNvPr>
            <p:cNvSpPr/>
            <p:nvPr/>
          </p:nvSpPr>
          <p:spPr>
            <a:xfrm>
              <a:off x="1049088" y="5778196"/>
              <a:ext cx="32120" cy="31890"/>
            </a:xfrm>
            <a:custGeom>
              <a:avLst/>
              <a:gdLst>
                <a:gd name="connsiteX0" fmla="*/ 0 w 32120"/>
                <a:gd name="connsiteY0" fmla="*/ 31890 h 31890"/>
                <a:gd name="connsiteX1" fmla="*/ 32120 w 32120"/>
                <a:gd name="connsiteY1" fmla="*/ 0 h 318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2120" h="31890">
                  <a:moveTo>
                    <a:pt x="0" y="31890"/>
                  </a:moveTo>
                  <a:lnTo>
                    <a:pt x="3212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70" name="Forma livre: Forma 1469">
              <a:extLst>
                <a:ext uri="{FF2B5EF4-FFF2-40B4-BE49-F238E27FC236}">
                  <a16:creationId xmlns:a16="http://schemas.microsoft.com/office/drawing/2014/main" id="{F018E709-795F-1332-FBF3-80DB8F499871}"/>
                </a:ext>
              </a:extLst>
            </p:cNvPr>
            <p:cNvSpPr/>
            <p:nvPr/>
          </p:nvSpPr>
          <p:spPr>
            <a:xfrm>
              <a:off x="962332" y="5846204"/>
              <a:ext cx="12866" cy="12406"/>
            </a:xfrm>
            <a:custGeom>
              <a:avLst/>
              <a:gdLst>
                <a:gd name="connsiteX0" fmla="*/ 0 w 12866"/>
                <a:gd name="connsiteY0" fmla="*/ 12407 h 12406"/>
                <a:gd name="connsiteX1" fmla="*/ 12866 w 12866"/>
                <a:gd name="connsiteY1" fmla="*/ 0 h 124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66" h="12406">
                  <a:moveTo>
                    <a:pt x="0" y="12407"/>
                  </a:moveTo>
                  <a:lnTo>
                    <a:pt x="12866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71" name="Forma livre: Forma 1470">
              <a:extLst>
                <a:ext uri="{FF2B5EF4-FFF2-40B4-BE49-F238E27FC236}">
                  <a16:creationId xmlns:a16="http://schemas.microsoft.com/office/drawing/2014/main" id="{59E7F56E-A293-4C24-098C-C22217DE76C8}"/>
                </a:ext>
              </a:extLst>
            </p:cNvPr>
            <p:cNvSpPr/>
            <p:nvPr/>
          </p:nvSpPr>
          <p:spPr>
            <a:xfrm>
              <a:off x="1027491" y="5754132"/>
              <a:ext cx="58803" cy="71807"/>
            </a:xfrm>
            <a:custGeom>
              <a:avLst/>
              <a:gdLst>
                <a:gd name="connsiteX0" fmla="*/ 0 w 58803"/>
                <a:gd name="connsiteY0" fmla="*/ 4259 h 71807"/>
                <a:gd name="connsiteX1" fmla="*/ 19667 w 58803"/>
                <a:gd name="connsiteY1" fmla="*/ 31 h 71807"/>
                <a:gd name="connsiteX2" fmla="*/ 58772 w 58803"/>
                <a:gd name="connsiteY2" fmla="*/ 42215 h 71807"/>
                <a:gd name="connsiteX3" fmla="*/ 44297 w 58803"/>
                <a:gd name="connsiteY3" fmla="*/ 71808 h 71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8803" h="71807">
                  <a:moveTo>
                    <a:pt x="0" y="4259"/>
                  </a:moveTo>
                  <a:cubicBezTo>
                    <a:pt x="5928" y="1318"/>
                    <a:pt x="12637" y="-244"/>
                    <a:pt x="19667" y="31"/>
                  </a:cubicBezTo>
                  <a:cubicBezTo>
                    <a:pt x="42138" y="904"/>
                    <a:pt x="59645" y="19790"/>
                    <a:pt x="58772" y="42215"/>
                  </a:cubicBezTo>
                  <a:cubicBezTo>
                    <a:pt x="58312" y="54162"/>
                    <a:pt x="52798" y="64685"/>
                    <a:pt x="44297" y="71808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472" name="Gráfico 23">
            <a:extLst>
              <a:ext uri="{FF2B5EF4-FFF2-40B4-BE49-F238E27FC236}">
                <a16:creationId xmlns:a16="http://schemas.microsoft.com/office/drawing/2014/main" id="{9C187B1E-91B1-C21D-FE51-C09631B3F9D7}"/>
              </a:ext>
            </a:extLst>
          </p:cNvPr>
          <p:cNvGrpSpPr/>
          <p:nvPr/>
        </p:nvGrpSpPr>
        <p:grpSpPr>
          <a:xfrm>
            <a:off x="802833" y="4641448"/>
            <a:ext cx="291747" cy="334206"/>
            <a:chOff x="802833" y="4641448"/>
            <a:chExt cx="291747" cy="334206"/>
          </a:xfrm>
        </p:grpSpPr>
        <p:sp>
          <p:nvSpPr>
            <p:cNvPr id="1473" name="Forma livre: Forma 1472">
              <a:extLst>
                <a:ext uri="{FF2B5EF4-FFF2-40B4-BE49-F238E27FC236}">
                  <a16:creationId xmlns:a16="http://schemas.microsoft.com/office/drawing/2014/main" id="{191878CB-9C3D-7C39-C52D-313447463693}"/>
                </a:ext>
              </a:extLst>
            </p:cNvPr>
            <p:cNvSpPr/>
            <p:nvPr/>
          </p:nvSpPr>
          <p:spPr>
            <a:xfrm>
              <a:off x="802833" y="4789428"/>
              <a:ext cx="141532" cy="186226"/>
            </a:xfrm>
            <a:custGeom>
              <a:avLst/>
              <a:gdLst>
                <a:gd name="connsiteX0" fmla="*/ 76924 w 141532"/>
                <a:gd name="connsiteY0" fmla="*/ 157689 h 186226"/>
                <a:gd name="connsiteX1" fmla="*/ 29273 w 141532"/>
                <a:gd name="connsiteY1" fmla="*/ 89911 h 186226"/>
                <a:gd name="connsiteX2" fmla="*/ 19669 w 141532"/>
                <a:gd name="connsiteY2" fmla="*/ 99515 h 186226"/>
                <a:gd name="connsiteX3" fmla="*/ 3264 w 141532"/>
                <a:gd name="connsiteY3" fmla="*/ 99745 h 186226"/>
                <a:gd name="connsiteX4" fmla="*/ 3494 w 141532"/>
                <a:gd name="connsiteY4" fmla="*/ 83340 h 186226"/>
                <a:gd name="connsiteX5" fmla="*/ 83357 w 141532"/>
                <a:gd name="connsiteY5" fmla="*/ 3476 h 186226"/>
                <a:gd name="connsiteX6" fmla="*/ 99762 w 141532"/>
                <a:gd name="connsiteY6" fmla="*/ 3246 h 186226"/>
                <a:gd name="connsiteX7" fmla="*/ 141532 w 141532"/>
                <a:gd name="connsiteY7" fmla="*/ 45016 h 186226"/>
                <a:gd name="connsiteX8" fmla="*/ 141210 w 141532"/>
                <a:gd name="connsiteY8" fmla="*/ 125753 h 186226"/>
                <a:gd name="connsiteX9" fmla="*/ 84230 w 141532"/>
                <a:gd name="connsiteY9" fmla="*/ 182733 h 186226"/>
                <a:gd name="connsiteX10" fmla="*/ 67826 w 141532"/>
                <a:gd name="connsiteY10" fmla="*/ 182963 h 186226"/>
                <a:gd name="connsiteX11" fmla="*/ 68056 w 141532"/>
                <a:gd name="connsiteY11" fmla="*/ 166558 h 186226"/>
                <a:gd name="connsiteX12" fmla="*/ 76924 w 141532"/>
                <a:gd name="connsiteY12" fmla="*/ 157689 h 1862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41532" h="186226">
                  <a:moveTo>
                    <a:pt x="76924" y="157689"/>
                  </a:moveTo>
                  <a:lnTo>
                    <a:pt x="29273" y="89911"/>
                  </a:lnTo>
                  <a:lnTo>
                    <a:pt x="19669" y="99515"/>
                  </a:lnTo>
                  <a:cubicBezTo>
                    <a:pt x="15073" y="104110"/>
                    <a:pt x="7721" y="104202"/>
                    <a:pt x="3264" y="99745"/>
                  </a:cubicBezTo>
                  <a:cubicBezTo>
                    <a:pt x="-1193" y="95287"/>
                    <a:pt x="-1055" y="87935"/>
                    <a:pt x="3494" y="83340"/>
                  </a:cubicBezTo>
                  <a:lnTo>
                    <a:pt x="83357" y="3476"/>
                  </a:lnTo>
                  <a:cubicBezTo>
                    <a:pt x="87907" y="-1073"/>
                    <a:pt x="95305" y="-1165"/>
                    <a:pt x="99762" y="3246"/>
                  </a:cubicBezTo>
                  <a:lnTo>
                    <a:pt x="141532" y="45016"/>
                  </a:lnTo>
                  <a:lnTo>
                    <a:pt x="141210" y="125753"/>
                  </a:lnTo>
                  <a:lnTo>
                    <a:pt x="84230" y="182733"/>
                  </a:lnTo>
                  <a:cubicBezTo>
                    <a:pt x="79681" y="187282"/>
                    <a:pt x="72283" y="187420"/>
                    <a:pt x="67826" y="182963"/>
                  </a:cubicBezTo>
                  <a:cubicBezTo>
                    <a:pt x="63369" y="178505"/>
                    <a:pt x="63460" y="171153"/>
                    <a:pt x="68056" y="166558"/>
                  </a:cubicBezTo>
                  <a:lnTo>
                    <a:pt x="76924" y="157689"/>
                  </a:ln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74" name="Forma livre: Forma 1473">
              <a:extLst>
                <a:ext uri="{FF2B5EF4-FFF2-40B4-BE49-F238E27FC236}">
                  <a16:creationId xmlns:a16="http://schemas.microsoft.com/office/drawing/2014/main" id="{C6FD48B3-9D73-438E-9E0F-7C0162799A1C}"/>
                </a:ext>
              </a:extLst>
            </p:cNvPr>
            <p:cNvSpPr/>
            <p:nvPr/>
          </p:nvSpPr>
          <p:spPr>
            <a:xfrm>
              <a:off x="858149" y="4852689"/>
              <a:ext cx="52868" cy="63378"/>
            </a:xfrm>
            <a:custGeom>
              <a:avLst/>
              <a:gdLst>
                <a:gd name="connsiteX0" fmla="*/ 50374 w 52868"/>
                <a:gd name="connsiteY0" fmla="*/ 41355 h 63378"/>
                <a:gd name="connsiteX1" fmla="*/ 47019 w 52868"/>
                <a:gd name="connsiteY1" fmla="*/ 60562 h 63378"/>
                <a:gd name="connsiteX2" fmla="*/ 46606 w 52868"/>
                <a:gd name="connsiteY2" fmla="*/ 60884 h 63378"/>
                <a:gd name="connsiteX3" fmla="*/ 27398 w 52868"/>
                <a:gd name="connsiteY3" fmla="*/ 57530 h 63378"/>
                <a:gd name="connsiteX4" fmla="*/ 2492 w 52868"/>
                <a:gd name="connsiteY4" fmla="*/ 22009 h 63378"/>
                <a:gd name="connsiteX5" fmla="*/ 5893 w 52868"/>
                <a:gd name="connsiteY5" fmla="*/ 2801 h 63378"/>
                <a:gd name="connsiteX6" fmla="*/ 6352 w 52868"/>
                <a:gd name="connsiteY6" fmla="*/ 2480 h 63378"/>
                <a:gd name="connsiteX7" fmla="*/ 25560 w 52868"/>
                <a:gd name="connsiteY7" fmla="*/ 5880 h 63378"/>
                <a:gd name="connsiteX8" fmla="*/ 50420 w 52868"/>
                <a:gd name="connsiteY8" fmla="*/ 41355 h 633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2868" h="63378">
                  <a:moveTo>
                    <a:pt x="50374" y="41355"/>
                  </a:moveTo>
                  <a:cubicBezTo>
                    <a:pt x="54739" y="47558"/>
                    <a:pt x="53223" y="56197"/>
                    <a:pt x="47019" y="60562"/>
                  </a:cubicBezTo>
                  <a:lnTo>
                    <a:pt x="46606" y="60884"/>
                  </a:lnTo>
                  <a:cubicBezTo>
                    <a:pt x="40402" y="65249"/>
                    <a:pt x="31763" y="63733"/>
                    <a:pt x="27398" y="57530"/>
                  </a:cubicBezTo>
                  <a:lnTo>
                    <a:pt x="2492" y="22009"/>
                  </a:lnTo>
                  <a:cubicBezTo>
                    <a:pt x="-1873" y="15805"/>
                    <a:pt x="-357" y="7167"/>
                    <a:pt x="5893" y="2801"/>
                  </a:cubicBezTo>
                  <a:lnTo>
                    <a:pt x="6352" y="2480"/>
                  </a:lnTo>
                  <a:cubicBezTo>
                    <a:pt x="12555" y="-1886"/>
                    <a:pt x="21194" y="-324"/>
                    <a:pt x="25560" y="5880"/>
                  </a:cubicBezTo>
                  <a:lnTo>
                    <a:pt x="50420" y="41355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75" name="Forma livre: Forma 1474">
              <a:extLst>
                <a:ext uri="{FF2B5EF4-FFF2-40B4-BE49-F238E27FC236}">
                  <a16:creationId xmlns:a16="http://schemas.microsoft.com/office/drawing/2014/main" id="{50B9E797-810B-7A66-7C7E-1BFE7216541C}"/>
                </a:ext>
              </a:extLst>
            </p:cNvPr>
            <p:cNvSpPr/>
            <p:nvPr/>
          </p:nvSpPr>
          <p:spPr>
            <a:xfrm>
              <a:off x="917024" y="4641448"/>
              <a:ext cx="177556" cy="253836"/>
            </a:xfrm>
            <a:custGeom>
              <a:avLst/>
              <a:gdLst>
                <a:gd name="connsiteX0" fmla="*/ 0 w 177556"/>
                <a:gd name="connsiteY0" fmla="*/ 133719 h 253836"/>
                <a:gd name="connsiteX1" fmla="*/ 133581 w 177556"/>
                <a:gd name="connsiteY1" fmla="*/ 0 h 253836"/>
                <a:gd name="connsiteX2" fmla="*/ 177557 w 177556"/>
                <a:gd name="connsiteY2" fmla="*/ 43976 h 253836"/>
                <a:gd name="connsiteX3" fmla="*/ 54912 w 177556"/>
                <a:gd name="connsiteY3" fmla="*/ 253836 h 253836"/>
                <a:gd name="connsiteX4" fmla="*/ 27571 w 177556"/>
                <a:gd name="connsiteY4" fmla="*/ 226817 h 2538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7556" h="253836">
                  <a:moveTo>
                    <a:pt x="0" y="133719"/>
                  </a:moveTo>
                  <a:lnTo>
                    <a:pt x="133581" y="0"/>
                  </a:lnTo>
                  <a:lnTo>
                    <a:pt x="177557" y="43976"/>
                  </a:lnTo>
                  <a:lnTo>
                    <a:pt x="54912" y="253836"/>
                  </a:lnTo>
                  <a:lnTo>
                    <a:pt x="27571" y="226817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76" name="Forma livre: Forma 1475">
              <a:extLst>
                <a:ext uri="{FF2B5EF4-FFF2-40B4-BE49-F238E27FC236}">
                  <a16:creationId xmlns:a16="http://schemas.microsoft.com/office/drawing/2014/main" id="{565F5A5A-BFE5-BC6D-619D-08A81836BE2A}"/>
                </a:ext>
              </a:extLst>
            </p:cNvPr>
            <p:cNvSpPr/>
            <p:nvPr/>
          </p:nvSpPr>
          <p:spPr>
            <a:xfrm>
              <a:off x="1045872" y="4680736"/>
              <a:ext cx="7168" cy="7168"/>
            </a:xfrm>
            <a:custGeom>
              <a:avLst/>
              <a:gdLst>
                <a:gd name="connsiteX0" fmla="*/ 7168 w 7168"/>
                <a:gd name="connsiteY0" fmla="*/ 3584 h 7168"/>
                <a:gd name="connsiteX1" fmla="*/ 3584 w 7168"/>
                <a:gd name="connsiteY1" fmla="*/ 7168 h 7168"/>
                <a:gd name="connsiteX2" fmla="*/ 0 w 7168"/>
                <a:gd name="connsiteY2" fmla="*/ 3584 h 7168"/>
                <a:gd name="connsiteX3" fmla="*/ 3584 w 7168"/>
                <a:gd name="connsiteY3" fmla="*/ 0 h 7168"/>
                <a:gd name="connsiteX4" fmla="*/ 7168 w 7168"/>
                <a:gd name="connsiteY4" fmla="*/ 3584 h 71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68" h="7168">
                  <a:moveTo>
                    <a:pt x="7168" y="3584"/>
                  </a:moveTo>
                  <a:cubicBezTo>
                    <a:pt x="7168" y="5560"/>
                    <a:pt x="5560" y="7168"/>
                    <a:pt x="3584" y="7168"/>
                  </a:cubicBezTo>
                  <a:cubicBezTo>
                    <a:pt x="1608" y="7168"/>
                    <a:pt x="0" y="5560"/>
                    <a:pt x="0" y="3584"/>
                  </a:cubicBezTo>
                  <a:cubicBezTo>
                    <a:pt x="0" y="1608"/>
                    <a:pt x="1608" y="0"/>
                    <a:pt x="3584" y="0"/>
                  </a:cubicBezTo>
                  <a:cubicBezTo>
                    <a:pt x="5560" y="0"/>
                    <a:pt x="7168" y="1608"/>
                    <a:pt x="7168" y="3584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477" name="Gráfico 23">
            <a:extLst>
              <a:ext uri="{FF2B5EF4-FFF2-40B4-BE49-F238E27FC236}">
                <a16:creationId xmlns:a16="http://schemas.microsoft.com/office/drawing/2014/main" id="{02C6C400-2406-9C45-5E81-C1586B223D32}"/>
              </a:ext>
            </a:extLst>
          </p:cNvPr>
          <p:cNvGrpSpPr/>
          <p:nvPr/>
        </p:nvGrpSpPr>
        <p:grpSpPr>
          <a:xfrm>
            <a:off x="800604" y="3638740"/>
            <a:ext cx="302201" cy="341985"/>
            <a:chOff x="800604" y="3638740"/>
            <a:chExt cx="302201" cy="341985"/>
          </a:xfrm>
          <a:noFill/>
        </p:grpSpPr>
        <p:sp>
          <p:nvSpPr>
            <p:cNvPr id="1478" name="Forma livre: Forma 1477">
              <a:extLst>
                <a:ext uri="{FF2B5EF4-FFF2-40B4-BE49-F238E27FC236}">
                  <a16:creationId xmlns:a16="http://schemas.microsoft.com/office/drawing/2014/main" id="{AF2473F3-45A0-BE57-0EBA-95D3FEC58826}"/>
                </a:ext>
              </a:extLst>
            </p:cNvPr>
            <p:cNvSpPr/>
            <p:nvPr/>
          </p:nvSpPr>
          <p:spPr>
            <a:xfrm>
              <a:off x="800604" y="3738823"/>
              <a:ext cx="190999" cy="241902"/>
            </a:xfrm>
            <a:custGeom>
              <a:avLst/>
              <a:gdLst>
                <a:gd name="connsiteX0" fmla="*/ 17716 w 190999"/>
                <a:gd name="connsiteY0" fmla="*/ 143552 h 241902"/>
                <a:gd name="connsiteX1" fmla="*/ 530 w 190999"/>
                <a:gd name="connsiteY1" fmla="*/ 200946 h 241902"/>
                <a:gd name="connsiteX2" fmla="*/ 19416 w 190999"/>
                <a:gd name="connsiteY2" fmla="*/ 240694 h 241902"/>
                <a:gd name="connsiteX3" fmla="*/ 56729 w 190999"/>
                <a:gd name="connsiteY3" fmla="*/ 226081 h 241902"/>
                <a:gd name="connsiteX4" fmla="*/ 184199 w 190999"/>
                <a:gd name="connsiteY4" fmla="*/ 98612 h 241902"/>
                <a:gd name="connsiteX5" fmla="*/ 190999 w 190999"/>
                <a:gd name="connsiteY5" fmla="*/ 84505 h 241902"/>
                <a:gd name="connsiteX6" fmla="*/ 183647 w 190999"/>
                <a:gd name="connsiteY6" fmla="*/ 71041 h 241902"/>
                <a:gd name="connsiteX7" fmla="*/ 112606 w 190999"/>
                <a:gd name="connsiteY7" fmla="*/ 0 h 241902"/>
                <a:gd name="connsiteX8" fmla="*/ 75983 w 190999"/>
                <a:gd name="connsiteY8" fmla="*/ 28720 h 2419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90999" h="241902">
                  <a:moveTo>
                    <a:pt x="17716" y="143552"/>
                  </a:moveTo>
                  <a:cubicBezTo>
                    <a:pt x="10410" y="165242"/>
                    <a:pt x="1771" y="192031"/>
                    <a:pt x="530" y="200946"/>
                  </a:cubicBezTo>
                  <a:cubicBezTo>
                    <a:pt x="-1767" y="217075"/>
                    <a:pt x="3196" y="233847"/>
                    <a:pt x="19416" y="240694"/>
                  </a:cubicBezTo>
                  <a:cubicBezTo>
                    <a:pt x="19416" y="240694"/>
                    <a:pt x="34718" y="248138"/>
                    <a:pt x="56729" y="226081"/>
                  </a:cubicBezTo>
                  <a:lnTo>
                    <a:pt x="184199" y="98612"/>
                  </a:lnTo>
                  <a:cubicBezTo>
                    <a:pt x="184199" y="98612"/>
                    <a:pt x="190999" y="92041"/>
                    <a:pt x="190999" y="84505"/>
                  </a:cubicBezTo>
                  <a:cubicBezTo>
                    <a:pt x="190999" y="77796"/>
                    <a:pt x="183647" y="71041"/>
                    <a:pt x="183647" y="71041"/>
                  </a:cubicBezTo>
                  <a:lnTo>
                    <a:pt x="112606" y="0"/>
                  </a:lnTo>
                  <a:cubicBezTo>
                    <a:pt x="112606" y="0"/>
                    <a:pt x="95236" y="13556"/>
                    <a:pt x="75983" y="2872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79" name="Forma livre: Forma 1478">
              <a:extLst>
                <a:ext uri="{FF2B5EF4-FFF2-40B4-BE49-F238E27FC236}">
                  <a16:creationId xmlns:a16="http://schemas.microsoft.com/office/drawing/2014/main" id="{6DB79886-9ADF-E55A-8ADB-1B8559A13E89}"/>
                </a:ext>
              </a:extLst>
            </p:cNvPr>
            <p:cNvSpPr/>
            <p:nvPr/>
          </p:nvSpPr>
          <p:spPr>
            <a:xfrm>
              <a:off x="818157" y="3785280"/>
              <a:ext cx="59073" cy="171114"/>
            </a:xfrm>
            <a:custGeom>
              <a:avLst/>
              <a:gdLst>
                <a:gd name="connsiteX0" fmla="*/ 36051 w 59073"/>
                <a:gd name="connsiteY0" fmla="*/ 0 h 171114"/>
                <a:gd name="connsiteX1" fmla="*/ 8435 w 59073"/>
                <a:gd name="connsiteY1" fmla="*/ 22149 h 171114"/>
                <a:gd name="connsiteX2" fmla="*/ 117 w 59073"/>
                <a:gd name="connsiteY2" fmla="*/ 39151 h 171114"/>
                <a:gd name="connsiteX3" fmla="*/ 44553 w 59073"/>
                <a:gd name="connsiteY3" fmla="*/ 111432 h 171114"/>
                <a:gd name="connsiteX4" fmla="*/ 59073 w 59073"/>
                <a:gd name="connsiteY4" fmla="*/ 125907 h 171114"/>
                <a:gd name="connsiteX5" fmla="*/ 22634 w 59073"/>
                <a:gd name="connsiteY5" fmla="*/ 163128 h 171114"/>
                <a:gd name="connsiteX6" fmla="*/ 22634 w 59073"/>
                <a:gd name="connsiteY6" fmla="*/ 163128 h 171114"/>
                <a:gd name="connsiteX7" fmla="*/ 10548 w 59073"/>
                <a:gd name="connsiteY7" fmla="*/ 171031 h 171114"/>
                <a:gd name="connsiteX8" fmla="*/ 6137 w 59073"/>
                <a:gd name="connsiteY8" fmla="*/ 157706 h 171114"/>
                <a:gd name="connsiteX9" fmla="*/ 17855 w 59073"/>
                <a:gd name="connsiteY9" fmla="*/ 118141 h 1711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9073" h="171114">
                  <a:moveTo>
                    <a:pt x="36051" y="0"/>
                  </a:moveTo>
                  <a:cubicBezTo>
                    <a:pt x="21347" y="11626"/>
                    <a:pt x="11697" y="19254"/>
                    <a:pt x="8435" y="22149"/>
                  </a:cubicBezTo>
                  <a:cubicBezTo>
                    <a:pt x="945" y="28858"/>
                    <a:pt x="117" y="39151"/>
                    <a:pt x="117" y="39151"/>
                  </a:cubicBezTo>
                  <a:cubicBezTo>
                    <a:pt x="117" y="39151"/>
                    <a:pt x="-4524" y="59415"/>
                    <a:pt x="44553" y="111432"/>
                  </a:cubicBezTo>
                  <a:lnTo>
                    <a:pt x="59073" y="125907"/>
                  </a:lnTo>
                  <a:lnTo>
                    <a:pt x="22634" y="163128"/>
                  </a:lnTo>
                  <a:cubicBezTo>
                    <a:pt x="22634" y="163128"/>
                    <a:pt x="22634" y="163128"/>
                    <a:pt x="22634" y="163128"/>
                  </a:cubicBezTo>
                  <a:cubicBezTo>
                    <a:pt x="16338" y="169423"/>
                    <a:pt x="12065" y="171583"/>
                    <a:pt x="10548" y="171031"/>
                  </a:cubicBezTo>
                  <a:cubicBezTo>
                    <a:pt x="6045" y="167861"/>
                    <a:pt x="5678" y="161060"/>
                    <a:pt x="6137" y="157706"/>
                  </a:cubicBezTo>
                  <a:cubicBezTo>
                    <a:pt x="6964" y="151916"/>
                    <a:pt x="11284" y="137671"/>
                    <a:pt x="17855" y="118141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80" name="Forma livre: Forma 1479">
              <a:extLst>
                <a:ext uri="{FF2B5EF4-FFF2-40B4-BE49-F238E27FC236}">
                  <a16:creationId xmlns:a16="http://schemas.microsoft.com/office/drawing/2014/main" id="{B3EF7672-5C01-555D-C164-E27122924C84}"/>
                </a:ext>
              </a:extLst>
            </p:cNvPr>
            <p:cNvSpPr/>
            <p:nvPr/>
          </p:nvSpPr>
          <p:spPr>
            <a:xfrm>
              <a:off x="870889" y="3860043"/>
              <a:ext cx="27341" cy="27387"/>
            </a:xfrm>
            <a:custGeom>
              <a:avLst/>
              <a:gdLst>
                <a:gd name="connsiteX0" fmla="*/ 0 w 27341"/>
                <a:gd name="connsiteY0" fmla="*/ 0 h 27387"/>
                <a:gd name="connsiteX1" fmla="*/ 27341 w 27341"/>
                <a:gd name="connsiteY1" fmla="*/ 27387 h 273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7341" h="27387">
                  <a:moveTo>
                    <a:pt x="0" y="0"/>
                  </a:moveTo>
                  <a:lnTo>
                    <a:pt x="27341" y="27387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81" name="Forma livre: Forma 1480">
              <a:extLst>
                <a:ext uri="{FF2B5EF4-FFF2-40B4-BE49-F238E27FC236}">
                  <a16:creationId xmlns:a16="http://schemas.microsoft.com/office/drawing/2014/main" id="{F1F7A5D4-824A-1375-0E05-E76B23EFDD92}"/>
                </a:ext>
              </a:extLst>
            </p:cNvPr>
            <p:cNvSpPr/>
            <p:nvPr/>
          </p:nvSpPr>
          <p:spPr>
            <a:xfrm>
              <a:off x="889039" y="3841892"/>
              <a:ext cx="27387" cy="27341"/>
            </a:xfrm>
            <a:custGeom>
              <a:avLst/>
              <a:gdLst>
                <a:gd name="connsiteX0" fmla="*/ 0 w 27387"/>
                <a:gd name="connsiteY0" fmla="*/ 0 h 27341"/>
                <a:gd name="connsiteX1" fmla="*/ 27387 w 27387"/>
                <a:gd name="connsiteY1" fmla="*/ 27341 h 273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7387" h="27341">
                  <a:moveTo>
                    <a:pt x="0" y="0"/>
                  </a:moveTo>
                  <a:lnTo>
                    <a:pt x="27387" y="27341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82" name="Forma livre: Forma 1481">
              <a:extLst>
                <a:ext uri="{FF2B5EF4-FFF2-40B4-BE49-F238E27FC236}">
                  <a16:creationId xmlns:a16="http://schemas.microsoft.com/office/drawing/2014/main" id="{BA520C6D-4F96-CAFB-A8C2-BBCB8DE53D40}"/>
                </a:ext>
              </a:extLst>
            </p:cNvPr>
            <p:cNvSpPr/>
            <p:nvPr/>
          </p:nvSpPr>
          <p:spPr>
            <a:xfrm>
              <a:off x="860090" y="3722096"/>
              <a:ext cx="28489" cy="79633"/>
            </a:xfrm>
            <a:custGeom>
              <a:avLst/>
              <a:gdLst>
                <a:gd name="connsiteX0" fmla="*/ 28490 w 28489"/>
                <a:gd name="connsiteY0" fmla="*/ 79634 h 79633"/>
                <a:gd name="connsiteX1" fmla="*/ 0 w 28489"/>
                <a:gd name="connsiteY1" fmla="*/ 0 h 796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8489" h="79633">
                  <a:moveTo>
                    <a:pt x="28490" y="79634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83" name="Forma livre: Forma 1482">
              <a:extLst>
                <a:ext uri="{FF2B5EF4-FFF2-40B4-BE49-F238E27FC236}">
                  <a16:creationId xmlns:a16="http://schemas.microsoft.com/office/drawing/2014/main" id="{282B1741-17F3-1DDA-A186-0BAB769645B4}"/>
                </a:ext>
              </a:extLst>
            </p:cNvPr>
            <p:cNvSpPr/>
            <p:nvPr/>
          </p:nvSpPr>
          <p:spPr>
            <a:xfrm>
              <a:off x="945514" y="3648878"/>
              <a:ext cx="146262" cy="146281"/>
            </a:xfrm>
            <a:custGeom>
              <a:avLst/>
              <a:gdLst>
                <a:gd name="connsiteX0" fmla="*/ 0 w 146262"/>
                <a:gd name="connsiteY0" fmla="*/ 92196 h 146281"/>
                <a:gd name="connsiteX1" fmla="*/ 77382 w 146262"/>
                <a:gd name="connsiteY1" fmla="*/ 14814 h 146281"/>
                <a:gd name="connsiteX2" fmla="*/ 136430 w 146262"/>
                <a:gd name="connsiteY2" fmla="*/ 9851 h 146281"/>
                <a:gd name="connsiteX3" fmla="*/ 131467 w 146262"/>
                <a:gd name="connsiteY3" fmla="*/ 68899 h 146281"/>
                <a:gd name="connsiteX4" fmla="*/ 54085 w 146262"/>
                <a:gd name="connsiteY4" fmla="*/ 146281 h 1462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6262" h="146281">
                  <a:moveTo>
                    <a:pt x="0" y="92196"/>
                  </a:moveTo>
                  <a:lnTo>
                    <a:pt x="77382" y="14814"/>
                  </a:lnTo>
                  <a:cubicBezTo>
                    <a:pt x="94982" y="-2785"/>
                    <a:pt x="121588" y="-5037"/>
                    <a:pt x="136430" y="9851"/>
                  </a:cubicBezTo>
                  <a:cubicBezTo>
                    <a:pt x="151272" y="24740"/>
                    <a:pt x="149067" y="51300"/>
                    <a:pt x="131467" y="68899"/>
                  </a:cubicBezTo>
                  <a:lnTo>
                    <a:pt x="54085" y="146281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84" name="Forma livre: Forma 1483">
              <a:extLst>
                <a:ext uri="{FF2B5EF4-FFF2-40B4-BE49-F238E27FC236}">
                  <a16:creationId xmlns:a16="http://schemas.microsoft.com/office/drawing/2014/main" id="{B7B60642-FBC3-5093-00D2-3BF0C2039982}"/>
                </a:ext>
              </a:extLst>
            </p:cNvPr>
            <p:cNvSpPr/>
            <p:nvPr/>
          </p:nvSpPr>
          <p:spPr>
            <a:xfrm>
              <a:off x="969455" y="3679040"/>
              <a:ext cx="75819" cy="76187"/>
            </a:xfrm>
            <a:custGeom>
              <a:avLst/>
              <a:gdLst>
                <a:gd name="connsiteX0" fmla="*/ 0 w 75819"/>
                <a:gd name="connsiteY0" fmla="*/ 76188 h 76187"/>
                <a:gd name="connsiteX1" fmla="*/ 75820 w 75819"/>
                <a:gd name="connsiteY1" fmla="*/ 0 h 761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5819" h="76187">
                  <a:moveTo>
                    <a:pt x="0" y="76188"/>
                  </a:moveTo>
                  <a:lnTo>
                    <a:pt x="7582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485" name="Gráfico 23">
              <a:extLst>
                <a:ext uri="{FF2B5EF4-FFF2-40B4-BE49-F238E27FC236}">
                  <a16:creationId xmlns:a16="http://schemas.microsoft.com/office/drawing/2014/main" id="{F1C42049-96D6-4C16-8E7D-C6E644E37ED4}"/>
                </a:ext>
              </a:extLst>
            </p:cNvPr>
            <p:cNvGrpSpPr/>
            <p:nvPr/>
          </p:nvGrpSpPr>
          <p:grpSpPr>
            <a:xfrm>
              <a:off x="951855" y="3667047"/>
              <a:ext cx="59185" cy="59185"/>
              <a:chOff x="951855" y="3667047"/>
              <a:chExt cx="59185" cy="59185"/>
            </a:xfrm>
          </p:grpSpPr>
          <p:sp>
            <p:nvSpPr>
              <p:cNvPr id="1486" name="Forma livre: Forma 1485">
                <a:extLst>
                  <a:ext uri="{FF2B5EF4-FFF2-40B4-BE49-F238E27FC236}">
                    <a16:creationId xmlns:a16="http://schemas.microsoft.com/office/drawing/2014/main" id="{4650F622-ADBE-94AA-E0AC-20E7B2D9C1DE}"/>
                  </a:ext>
                </a:extLst>
              </p:cNvPr>
              <p:cNvSpPr/>
              <p:nvPr/>
            </p:nvSpPr>
            <p:spPr>
              <a:xfrm>
                <a:off x="951855" y="3720121"/>
                <a:ext cx="6157" cy="6111"/>
              </a:xfrm>
              <a:custGeom>
                <a:avLst/>
                <a:gdLst>
                  <a:gd name="connsiteX0" fmla="*/ 6157 w 6157"/>
                  <a:gd name="connsiteY0" fmla="*/ 6112 h 6111"/>
                  <a:gd name="connsiteX1" fmla="*/ 0 w 6157"/>
                  <a:gd name="connsiteY1" fmla="*/ 0 h 61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157" h="6111">
                    <a:moveTo>
                      <a:pt x="6157" y="6112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487" name="Forma livre: Forma 1486">
                <a:extLst>
                  <a:ext uri="{FF2B5EF4-FFF2-40B4-BE49-F238E27FC236}">
                    <a16:creationId xmlns:a16="http://schemas.microsoft.com/office/drawing/2014/main" id="{03219897-13FD-8EDD-AEEC-71EE1A886CEF}"/>
                  </a:ext>
                </a:extLst>
              </p:cNvPr>
              <p:cNvSpPr/>
              <p:nvPr/>
            </p:nvSpPr>
            <p:spPr>
              <a:xfrm>
                <a:off x="978369" y="3693561"/>
                <a:ext cx="6157" cy="6157"/>
              </a:xfrm>
              <a:custGeom>
                <a:avLst/>
                <a:gdLst>
                  <a:gd name="connsiteX0" fmla="*/ 6157 w 6157"/>
                  <a:gd name="connsiteY0" fmla="*/ 6158 h 6157"/>
                  <a:gd name="connsiteX1" fmla="*/ 0 w 6157"/>
                  <a:gd name="connsiteY1" fmla="*/ 0 h 61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157" h="6157">
                    <a:moveTo>
                      <a:pt x="6157" y="6158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488" name="Forma livre: Forma 1487">
                <a:extLst>
                  <a:ext uri="{FF2B5EF4-FFF2-40B4-BE49-F238E27FC236}">
                    <a16:creationId xmlns:a16="http://schemas.microsoft.com/office/drawing/2014/main" id="{7C4B98B9-F97F-CA2F-BEBD-443A9B4A055C}"/>
                  </a:ext>
                </a:extLst>
              </p:cNvPr>
              <p:cNvSpPr/>
              <p:nvPr/>
            </p:nvSpPr>
            <p:spPr>
              <a:xfrm>
                <a:off x="1004883" y="3667047"/>
                <a:ext cx="6157" cy="6157"/>
              </a:xfrm>
              <a:custGeom>
                <a:avLst/>
                <a:gdLst>
                  <a:gd name="connsiteX0" fmla="*/ 6157 w 6157"/>
                  <a:gd name="connsiteY0" fmla="*/ 6157 h 6157"/>
                  <a:gd name="connsiteX1" fmla="*/ 0 w 6157"/>
                  <a:gd name="connsiteY1" fmla="*/ 0 h 61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157" h="6157">
                    <a:moveTo>
                      <a:pt x="6157" y="6157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489" name="Gráfico 23">
              <a:extLst>
                <a:ext uri="{FF2B5EF4-FFF2-40B4-BE49-F238E27FC236}">
                  <a16:creationId xmlns:a16="http://schemas.microsoft.com/office/drawing/2014/main" id="{D2B7FC08-BEDC-DA59-634E-7F28CEFA8F22}"/>
                </a:ext>
              </a:extLst>
            </p:cNvPr>
            <p:cNvGrpSpPr/>
            <p:nvPr/>
          </p:nvGrpSpPr>
          <p:grpSpPr>
            <a:xfrm>
              <a:off x="1014671" y="3729862"/>
              <a:ext cx="59139" cy="59185"/>
              <a:chOff x="1014671" y="3729862"/>
              <a:chExt cx="59139" cy="59185"/>
            </a:xfrm>
          </p:grpSpPr>
          <p:sp>
            <p:nvSpPr>
              <p:cNvPr id="1490" name="Forma livre: Forma 1489">
                <a:extLst>
                  <a:ext uri="{FF2B5EF4-FFF2-40B4-BE49-F238E27FC236}">
                    <a16:creationId xmlns:a16="http://schemas.microsoft.com/office/drawing/2014/main" id="{9A9670CB-C72F-D0E5-B015-7EF514593D8D}"/>
                  </a:ext>
                </a:extLst>
              </p:cNvPr>
              <p:cNvSpPr/>
              <p:nvPr/>
            </p:nvSpPr>
            <p:spPr>
              <a:xfrm>
                <a:off x="1014671" y="3782890"/>
                <a:ext cx="6111" cy="6157"/>
              </a:xfrm>
              <a:custGeom>
                <a:avLst/>
                <a:gdLst>
                  <a:gd name="connsiteX0" fmla="*/ 6112 w 6111"/>
                  <a:gd name="connsiteY0" fmla="*/ 6157 h 6157"/>
                  <a:gd name="connsiteX1" fmla="*/ 0 w 6111"/>
                  <a:gd name="connsiteY1" fmla="*/ 0 h 61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111" h="6157">
                    <a:moveTo>
                      <a:pt x="6112" y="6157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491" name="Forma livre: Forma 1490">
                <a:extLst>
                  <a:ext uri="{FF2B5EF4-FFF2-40B4-BE49-F238E27FC236}">
                    <a16:creationId xmlns:a16="http://schemas.microsoft.com/office/drawing/2014/main" id="{4E779B74-5EE6-05BF-195C-A677F1C0D9CA}"/>
                  </a:ext>
                </a:extLst>
              </p:cNvPr>
              <p:cNvSpPr/>
              <p:nvPr/>
            </p:nvSpPr>
            <p:spPr>
              <a:xfrm>
                <a:off x="1041185" y="3756376"/>
                <a:ext cx="6111" cy="6111"/>
              </a:xfrm>
              <a:custGeom>
                <a:avLst/>
                <a:gdLst>
                  <a:gd name="connsiteX0" fmla="*/ 6112 w 6111"/>
                  <a:gd name="connsiteY0" fmla="*/ 6112 h 6111"/>
                  <a:gd name="connsiteX1" fmla="*/ 0 w 6111"/>
                  <a:gd name="connsiteY1" fmla="*/ 0 h 61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111" h="6111">
                    <a:moveTo>
                      <a:pt x="6112" y="6112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492" name="Forma livre: Forma 1491">
                <a:extLst>
                  <a:ext uri="{FF2B5EF4-FFF2-40B4-BE49-F238E27FC236}">
                    <a16:creationId xmlns:a16="http://schemas.microsoft.com/office/drawing/2014/main" id="{ECC8E393-2639-825C-7603-44CF600B53FF}"/>
                  </a:ext>
                </a:extLst>
              </p:cNvPr>
              <p:cNvSpPr/>
              <p:nvPr/>
            </p:nvSpPr>
            <p:spPr>
              <a:xfrm>
                <a:off x="1067699" y="3729862"/>
                <a:ext cx="6111" cy="6111"/>
              </a:xfrm>
              <a:custGeom>
                <a:avLst/>
                <a:gdLst>
                  <a:gd name="connsiteX0" fmla="*/ 6112 w 6111"/>
                  <a:gd name="connsiteY0" fmla="*/ 6112 h 6111"/>
                  <a:gd name="connsiteX1" fmla="*/ 0 w 6111"/>
                  <a:gd name="connsiteY1" fmla="*/ 0 h 61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111" h="6111">
                    <a:moveTo>
                      <a:pt x="6112" y="6112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493" name="Forma livre: Forma 1492">
              <a:extLst>
                <a:ext uri="{FF2B5EF4-FFF2-40B4-BE49-F238E27FC236}">
                  <a16:creationId xmlns:a16="http://schemas.microsoft.com/office/drawing/2014/main" id="{A434492F-CBD1-65AD-C65D-CB6D37663F4F}"/>
                </a:ext>
              </a:extLst>
            </p:cNvPr>
            <p:cNvSpPr/>
            <p:nvPr/>
          </p:nvSpPr>
          <p:spPr>
            <a:xfrm>
              <a:off x="1082403" y="3651745"/>
              <a:ext cx="6157" cy="6157"/>
            </a:xfrm>
            <a:custGeom>
              <a:avLst/>
              <a:gdLst>
                <a:gd name="connsiteX0" fmla="*/ 0 w 6157"/>
                <a:gd name="connsiteY0" fmla="*/ 6157 h 6157"/>
                <a:gd name="connsiteX1" fmla="*/ 6157 w 6157"/>
                <a:gd name="connsiteY1" fmla="*/ 0 h 61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157" h="6157">
                  <a:moveTo>
                    <a:pt x="0" y="6157"/>
                  </a:moveTo>
                  <a:lnTo>
                    <a:pt x="6157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94" name="Forma livre: Forma 1493">
              <a:extLst>
                <a:ext uri="{FF2B5EF4-FFF2-40B4-BE49-F238E27FC236}">
                  <a16:creationId xmlns:a16="http://schemas.microsoft.com/office/drawing/2014/main" id="{D71C9850-B834-CE0E-319A-1FAD2CF8491B}"/>
                </a:ext>
              </a:extLst>
            </p:cNvPr>
            <p:cNvSpPr/>
            <p:nvPr/>
          </p:nvSpPr>
          <p:spPr>
            <a:xfrm>
              <a:off x="1032224" y="3644347"/>
              <a:ext cx="3768" cy="7811"/>
            </a:xfrm>
            <a:custGeom>
              <a:avLst/>
              <a:gdLst>
                <a:gd name="connsiteX0" fmla="*/ 3768 w 3768"/>
                <a:gd name="connsiteY0" fmla="*/ 7812 h 7811"/>
                <a:gd name="connsiteX1" fmla="*/ 0 w 3768"/>
                <a:gd name="connsiteY1" fmla="*/ 0 h 78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768" h="7811">
                  <a:moveTo>
                    <a:pt x="3768" y="7812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95" name="Forma livre: Forma 1494">
              <a:extLst>
                <a:ext uri="{FF2B5EF4-FFF2-40B4-BE49-F238E27FC236}">
                  <a16:creationId xmlns:a16="http://schemas.microsoft.com/office/drawing/2014/main" id="{416412BC-B67C-BBFC-CE14-E47CCEB8A32A}"/>
                </a:ext>
              </a:extLst>
            </p:cNvPr>
            <p:cNvSpPr/>
            <p:nvPr/>
          </p:nvSpPr>
          <p:spPr>
            <a:xfrm>
              <a:off x="1061128" y="3638740"/>
              <a:ext cx="964" cy="8638"/>
            </a:xfrm>
            <a:custGeom>
              <a:avLst/>
              <a:gdLst>
                <a:gd name="connsiteX0" fmla="*/ 0 w 964"/>
                <a:gd name="connsiteY0" fmla="*/ 8639 h 8638"/>
                <a:gd name="connsiteX1" fmla="*/ 965 w 964"/>
                <a:gd name="connsiteY1" fmla="*/ 0 h 86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64" h="8638">
                  <a:moveTo>
                    <a:pt x="0" y="8639"/>
                  </a:moveTo>
                  <a:lnTo>
                    <a:pt x="965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496" name="Gráfico 23">
              <a:extLst>
                <a:ext uri="{FF2B5EF4-FFF2-40B4-BE49-F238E27FC236}">
                  <a16:creationId xmlns:a16="http://schemas.microsoft.com/office/drawing/2014/main" id="{CE50FE45-7C49-8943-EF9D-845F6C358BD5}"/>
                </a:ext>
              </a:extLst>
            </p:cNvPr>
            <p:cNvGrpSpPr/>
            <p:nvPr/>
          </p:nvGrpSpPr>
          <p:grpSpPr>
            <a:xfrm>
              <a:off x="1088974" y="3680097"/>
              <a:ext cx="13831" cy="29454"/>
              <a:chOff x="1088974" y="3680097"/>
              <a:chExt cx="13831" cy="29454"/>
            </a:xfrm>
          </p:grpSpPr>
          <p:sp>
            <p:nvSpPr>
              <p:cNvPr id="1497" name="Forma livre: Forma 1496">
                <a:extLst>
                  <a:ext uri="{FF2B5EF4-FFF2-40B4-BE49-F238E27FC236}">
                    <a16:creationId xmlns:a16="http://schemas.microsoft.com/office/drawing/2014/main" id="{71E7A873-F6AB-AB14-0598-2D0C92C5B4AC}"/>
                  </a:ext>
                </a:extLst>
              </p:cNvPr>
              <p:cNvSpPr/>
              <p:nvPr/>
            </p:nvSpPr>
            <p:spPr>
              <a:xfrm>
                <a:off x="1088974" y="3705784"/>
                <a:ext cx="7811" cy="3768"/>
              </a:xfrm>
              <a:custGeom>
                <a:avLst/>
                <a:gdLst>
                  <a:gd name="connsiteX0" fmla="*/ 0 w 7811"/>
                  <a:gd name="connsiteY0" fmla="*/ 0 h 3768"/>
                  <a:gd name="connsiteX1" fmla="*/ 7812 w 7811"/>
                  <a:gd name="connsiteY1" fmla="*/ 3768 h 37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7811" h="3768">
                    <a:moveTo>
                      <a:pt x="0" y="0"/>
                    </a:moveTo>
                    <a:lnTo>
                      <a:pt x="7812" y="3768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498" name="Forma livre: Forma 1497">
                <a:extLst>
                  <a:ext uri="{FF2B5EF4-FFF2-40B4-BE49-F238E27FC236}">
                    <a16:creationId xmlns:a16="http://schemas.microsoft.com/office/drawing/2014/main" id="{E93D09CD-9EB8-2C30-CE70-85907EAB75E0}"/>
                  </a:ext>
                </a:extLst>
              </p:cNvPr>
              <p:cNvSpPr/>
              <p:nvPr/>
            </p:nvSpPr>
            <p:spPr>
              <a:xfrm>
                <a:off x="1094167" y="3680097"/>
                <a:ext cx="8638" cy="919"/>
              </a:xfrm>
              <a:custGeom>
                <a:avLst/>
                <a:gdLst>
                  <a:gd name="connsiteX0" fmla="*/ 0 w 8638"/>
                  <a:gd name="connsiteY0" fmla="*/ 919 h 919"/>
                  <a:gd name="connsiteX1" fmla="*/ 8639 w 8638"/>
                  <a:gd name="connsiteY1" fmla="*/ 0 h 9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8638" h="919">
                    <a:moveTo>
                      <a:pt x="0" y="919"/>
                    </a:moveTo>
                    <a:lnTo>
                      <a:pt x="8639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499" name="Gráfico 23">
            <a:extLst>
              <a:ext uri="{FF2B5EF4-FFF2-40B4-BE49-F238E27FC236}">
                <a16:creationId xmlns:a16="http://schemas.microsoft.com/office/drawing/2014/main" id="{9A504C16-BEF9-8D9D-1674-D4E0EB082EC0}"/>
              </a:ext>
            </a:extLst>
          </p:cNvPr>
          <p:cNvGrpSpPr/>
          <p:nvPr/>
        </p:nvGrpSpPr>
        <p:grpSpPr>
          <a:xfrm>
            <a:off x="827648" y="4186298"/>
            <a:ext cx="242118" cy="243588"/>
            <a:chOff x="827648" y="4186298"/>
            <a:chExt cx="242118" cy="243588"/>
          </a:xfrm>
          <a:noFill/>
        </p:grpSpPr>
        <p:grpSp>
          <p:nvGrpSpPr>
            <p:cNvPr id="1500" name="Gráfico 23">
              <a:extLst>
                <a:ext uri="{FF2B5EF4-FFF2-40B4-BE49-F238E27FC236}">
                  <a16:creationId xmlns:a16="http://schemas.microsoft.com/office/drawing/2014/main" id="{ED8C8F36-7BB0-FBDD-510F-195FE458BD76}"/>
                </a:ext>
              </a:extLst>
            </p:cNvPr>
            <p:cNvGrpSpPr/>
            <p:nvPr/>
          </p:nvGrpSpPr>
          <p:grpSpPr>
            <a:xfrm>
              <a:off x="832130" y="4186298"/>
              <a:ext cx="237636" cy="239508"/>
              <a:chOff x="832130" y="4186298"/>
              <a:chExt cx="237636" cy="239508"/>
            </a:xfrm>
            <a:noFill/>
          </p:grpSpPr>
          <p:sp>
            <p:nvSpPr>
              <p:cNvPr id="1501" name="Forma livre: Forma 1500">
                <a:extLst>
                  <a:ext uri="{FF2B5EF4-FFF2-40B4-BE49-F238E27FC236}">
                    <a16:creationId xmlns:a16="http://schemas.microsoft.com/office/drawing/2014/main" id="{B5F5EB4A-902A-1673-C784-B119A1794089}"/>
                  </a:ext>
                </a:extLst>
              </p:cNvPr>
              <p:cNvSpPr/>
              <p:nvPr/>
            </p:nvSpPr>
            <p:spPr>
              <a:xfrm>
                <a:off x="832130" y="4186298"/>
                <a:ext cx="237636" cy="239508"/>
              </a:xfrm>
              <a:custGeom>
                <a:avLst/>
                <a:gdLst>
                  <a:gd name="connsiteX0" fmla="*/ 17896 w 237636"/>
                  <a:gd name="connsiteY0" fmla="*/ 190285 h 239508"/>
                  <a:gd name="connsiteX1" fmla="*/ 46754 w 237636"/>
                  <a:gd name="connsiteY1" fmla="*/ 49857 h 239508"/>
                  <a:gd name="connsiteX2" fmla="*/ 237636 w 237636"/>
                  <a:gd name="connsiteY2" fmla="*/ 0 h 239508"/>
                  <a:gd name="connsiteX3" fmla="*/ 186906 w 237636"/>
                  <a:gd name="connsiteY3" fmla="*/ 189136 h 239508"/>
                  <a:gd name="connsiteX4" fmla="*/ 32004 w 237636"/>
                  <a:gd name="connsiteY4" fmla="*/ 207609 h 2395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37636" h="239508">
                    <a:moveTo>
                      <a:pt x="17896" y="190285"/>
                    </a:moveTo>
                    <a:cubicBezTo>
                      <a:pt x="-8572" y="150261"/>
                      <a:pt x="-10823" y="91214"/>
                      <a:pt x="46754" y="49857"/>
                    </a:cubicBezTo>
                    <a:cubicBezTo>
                      <a:pt x="96336" y="14245"/>
                      <a:pt x="237636" y="0"/>
                      <a:pt x="237636" y="0"/>
                    </a:cubicBezTo>
                    <a:cubicBezTo>
                      <a:pt x="237636" y="0"/>
                      <a:pt x="224586" y="135925"/>
                      <a:pt x="186906" y="189136"/>
                    </a:cubicBezTo>
                    <a:cubicBezTo>
                      <a:pt x="135808" y="261372"/>
                      <a:pt x="69270" y="245059"/>
                      <a:pt x="32004" y="207609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502" name="Forma livre: Forma 1501">
                <a:extLst>
                  <a:ext uri="{FF2B5EF4-FFF2-40B4-BE49-F238E27FC236}">
                    <a16:creationId xmlns:a16="http://schemas.microsoft.com/office/drawing/2014/main" id="{BE1658D9-215B-0689-57C1-A5EAEAEB59E1}"/>
                  </a:ext>
                </a:extLst>
              </p:cNvPr>
              <p:cNvSpPr/>
              <p:nvPr/>
            </p:nvSpPr>
            <p:spPr>
              <a:xfrm>
                <a:off x="904801" y="4354619"/>
                <a:ext cx="74257" cy="6984"/>
              </a:xfrm>
              <a:custGeom>
                <a:avLst/>
                <a:gdLst>
                  <a:gd name="connsiteX0" fmla="*/ 0 w 74257"/>
                  <a:gd name="connsiteY0" fmla="*/ 0 h 6984"/>
                  <a:gd name="connsiteX1" fmla="*/ 74258 w 74257"/>
                  <a:gd name="connsiteY1" fmla="*/ 6985 h 69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74257" h="6984">
                    <a:moveTo>
                      <a:pt x="0" y="0"/>
                    </a:moveTo>
                    <a:lnTo>
                      <a:pt x="74258" y="6985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503" name="Forma livre: Forma 1502">
                <a:extLst>
                  <a:ext uri="{FF2B5EF4-FFF2-40B4-BE49-F238E27FC236}">
                    <a16:creationId xmlns:a16="http://schemas.microsoft.com/office/drawing/2014/main" id="{87A475C8-73B1-D407-4C25-649A91D5464A}"/>
                  </a:ext>
                </a:extLst>
              </p:cNvPr>
              <p:cNvSpPr/>
              <p:nvPr/>
            </p:nvSpPr>
            <p:spPr>
              <a:xfrm>
                <a:off x="952820" y="4306002"/>
                <a:ext cx="48340" cy="2619"/>
              </a:xfrm>
              <a:custGeom>
                <a:avLst/>
                <a:gdLst>
                  <a:gd name="connsiteX0" fmla="*/ 0 w 48340"/>
                  <a:gd name="connsiteY0" fmla="*/ 0 h 2619"/>
                  <a:gd name="connsiteX1" fmla="*/ 48341 w 48340"/>
                  <a:gd name="connsiteY1" fmla="*/ 2619 h 26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8340" h="2619">
                    <a:moveTo>
                      <a:pt x="0" y="0"/>
                    </a:moveTo>
                    <a:lnTo>
                      <a:pt x="48341" y="2619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504" name="Forma livre: Forma 1503">
              <a:extLst>
                <a:ext uri="{FF2B5EF4-FFF2-40B4-BE49-F238E27FC236}">
                  <a16:creationId xmlns:a16="http://schemas.microsoft.com/office/drawing/2014/main" id="{B7611375-D797-4227-9D7C-2B0A0AF35026}"/>
                </a:ext>
              </a:extLst>
            </p:cNvPr>
            <p:cNvSpPr/>
            <p:nvPr/>
          </p:nvSpPr>
          <p:spPr>
            <a:xfrm>
              <a:off x="827648" y="4244978"/>
              <a:ext cx="184908" cy="184908"/>
            </a:xfrm>
            <a:custGeom>
              <a:avLst/>
              <a:gdLst>
                <a:gd name="connsiteX0" fmla="*/ 184909 w 184908"/>
                <a:gd name="connsiteY0" fmla="*/ 0 h 184908"/>
                <a:gd name="connsiteX1" fmla="*/ 0 w 184908"/>
                <a:gd name="connsiteY1" fmla="*/ 184909 h 1849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4908" h="184908">
                  <a:moveTo>
                    <a:pt x="184909" y="0"/>
                  </a:moveTo>
                  <a:lnTo>
                    <a:pt x="0" y="184909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05" name="Forma livre: Forma 1504">
              <a:extLst>
                <a:ext uri="{FF2B5EF4-FFF2-40B4-BE49-F238E27FC236}">
                  <a16:creationId xmlns:a16="http://schemas.microsoft.com/office/drawing/2014/main" id="{95527386-B481-2564-6C6B-D631302B155E}"/>
                </a:ext>
              </a:extLst>
            </p:cNvPr>
            <p:cNvSpPr/>
            <p:nvPr/>
          </p:nvSpPr>
          <p:spPr>
            <a:xfrm>
              <a:off x="946709" y="4250538"/>
              <a:ext cx="1516" cy="26008"/>
            </a:xfrm>
            <a:custGeom>
              <a:avLst/>
              <a:gdLst>
                <a:gd name="connsiteX0" fmla="*/ 1516 w 1516"/>
                <a:gd name="connsiteY0" fmla="*/ 26009 h 26008"/>
                <a:gd name="connsiteX1" fmla="*/ 0 w 1516"/>
                <a:gd name="connsiteY1" fmla="*/ 0 h 260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6" h="26008">
                  <a:moveTo>
                    <a:pt x="1516" y="26009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06" name="Forma livre: Forma 1505">
              <a:extLst>
                <a:ext uri="{FF2B5EF4-FFF2-40B4-BE49-F238E27FC236}">
                  <a16:creationId xmlns:a16="http://schemas.microsoft.com/office/drawing/2014/main" id="{8A3E6445-28CA-67B2-08D6-72752742A37E}"/>
                </a:ext>
              </a:extLst>
            </p:cNvPr>
            <p:cNvSpPr/>
            <p:nvPr/>
          </p:nvSpPr>
          <p:spPr>
            <a:xfrm>
              <a:off x="893589" y="4272365"/>
              <a:ext cx="5238" cy="53625"/>
            </a:xfrm>
            <a:custGeom>
              <a:avLst/>
              <a:gdLst>
                <a:gd name="connsiteX0" fmla="*/ 5238 w 5238"/>
                <a:gd name="connsiteY0" fmla="*/ 53625 h 53625"/>
                <a:gd name="connsiteX1" fmla="*/ 0 w 5238"/>
                <a:gd name="connsiteY1" fmla="*/ 0 h 536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238" h="53625">
                  <a:moveTo>
                    <a:pt x="5238" y="53625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507" name="Gráfico 23">
            <a:extLst>
              <a:ext uri="{FF2B5EF4-FFF2-40B4-BE49-F238E27FC236}">
                <a16:creationId xmlns:a16="http://schemas.microsoft.com/office/drawing/2014/main" id="{ABF9E45A-DAD6-FFCE-B828-F5E71C6CF647}"/>
              </a:ext>
            </a:extLst>
          </p:cNvPr>
          <p:cNvGrpSpPr/>
          <p:nvPr/>
        </p:nvGrpSpPr>
        <p:grpSpPr>
          <a:xfrm>
            <a:off x="1383753" y="5131061"/>
            <a:ext cx="327312" cy="355894"/>
            <a:chOff x="1383753" y="5131061"/>
            <a:chExt cx="327312" cy="355894"/>
          </a:xfrm>
        </p:grpSpPr>
        <p:sp>
          <p:nvSpPr>
            <p:cNvPr id="1508" name="Forma livre: Forma 1507">
              <a:extLst>
                <a:ext uri="{FF2B5EF4-FFF2-40B4-BE49-F238E27FC236}">
                  <a16:creationId xmlns:a16="http://schemas.microsoft.com/office/drawing/2014/main" id="{B3400CDD-FED3-7BCA-175B-E3BFA5E05D51}"/>
                </a:ext>
              </a:extLst>
            </p:cNvPr>
            <p:cNvSpPr/>
            <p:nvPr/>
          </p:nvSpPr>
          <p:spPr>
            <a:xfrm>
              <a:off x="1557359" y="5131061"/>
              <a:ext cx="82728" cy="159129"/>
            </a:xfrm>
            <a:custGeom>
              <a:avLst/>
              <a:gdLst>
                <a:gd name="connsiteX0" fmla="*/ 69799 w 82728"/>
                <a:gd name="connsiteY0" fmla="*/ 106332 h 159129"/>
                <a:gd name="connsiteX1" fmla="*/ 65480 w 82728"/>
                <a:gd name="connsiteY1" fmla="*/ 0 h 159129"/>
                <a:gd name="connsiteX2" fmla="*/ 5099 w 82728"/>
                <a:gd name="connsiteY2" fmla="*/ 103712 h 159129"/>
                <a:gd name="connsiteX3" fmla="*/ 5099 w 82728"/>
                <a:gd name="connsiteY3" fmla="*/ 103712 h 159129"/>
                <a:gd name="connsiteX4" fmla="*/ 10751 w 82728"/>
                <a:gd name="connsiteY4" fmla="*/ 148377 h 159129"/>
                <a:gd name="connsiteX5" fmla="*/ 62723 w 82728"/>
                <a:gd name="connsiteY5" fmla="*/ 148377 h 159129"/>
                <a:gd name="connsiteX6" fmla="*/ 69753 w 82728"/>
                <a:gd name="connsiteY6" fmla="*/ 106332 h 1591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2728" h="159129">
                  <a:moveTo>
                    <a:pt x="69799" y="106332"/>
                  </a:moveTo>
                  <a:cubicBezTo>
                    <a:pt x="71132" y="103850"/>
                    <a:pt x="100816" y="46457"/>
                    <a:pt x="65480" y="0"/>
                  </a:cubicBezTo>
                  <a:lnTo>
                    <a:pt x="5099" y="103712"/>
                  </a:lnTo>
                  <a:lnTo>
                    <a:pt x="5099" y="103712"/>
                  </a:lnTo>
                  <a:cubicBezTo>
                    <a:pt x="-3218" y="117820"/>
                    <a:pt x="-1380" y="136246"/>
                    <a:pt x="10751" y="148377"/>
                  </a:cubicBezTo>
                  <a:cubicBezTo>
                    <a:pt x="25088" y="162714"/>
                    <a:pt x="48386" y="162714"/>
                    <a:pt x="62723" y="148377"/>
                  </a:cubicBezTo>
                  <a:cubicBezTo>
                    <a:pt x="74119" y="136981"/>
                    <a:pt x="76416" y="120025"/>
                    <a:pt x="69753" y="106332"/>
                  </a:cubicBez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09" name="Forma livre: Forma 1508">
              <a:extLst>
                <a:ext uri="{FF2B5EF4-FFF2-40B4-BE49-F238E27FC236}">
                  <a16:creationId xmlns:a16="http://schemas.microsoft.com/office/drawing/2014/main" id="{F52B3876-0D98-384B-952C-FCE470E7C8C7}"/>
                </a:ext>
              </a:extLst>
            </p:cNvPr>
            <p:cNvSpPr/>
            <p:nvPr/>
          </p:nvSpPr>
          <p:spPr>
            <a:xfrm>
              <a:off x="1645585" y="5213819"/>
              <a:ext cx="65480" cy="67824"/>
            </a:xfrm>
            <a:custGeom>
              <a:avLst/>
              <a:gdLst>
                <a:gd name="connsiteX0" fmla="*/ 5928 w 65480"/>
                <a:gd name="connsiteY0" fmla="*/ 22286 h 67824"/>
                <a:gd name="connsiteX1" fmla="*/ 65481 w 65480"/>
                <a:gd name="connsiteY1" fmla="*/ 0 h 67824"/>
                <a:gd name="connsiteX2" fmla="*/ 0 w 65480"/>
                <a:gd name="connsiteY2" fmla="*/ 67824 h 678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5480" h="67824">
                  <a:moveTo>
                    <a:pt x="5928" y="22286"/>
                  </a:moveTo>
                  <a:cubicBezTo>
                    <a:pt x="23160" y="18702"/>
                    <a:pt x="47054" y="11993"/>
                    <a:pt x="65481" y="0"/>
                  </a:cubicBezTo>
                  <a:cubicBezTo>
                    <a:pt x="65481" y="0"/>
                    <a:pt x="54636" y="50271"/>
                    <a:pt x="0" y="67824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10" name="Forma livre: Forma 1509">
              <a:extLst>
                <a:ext uri="{FF2B5EF4-FFF2-40B4-BE49-F238E27FC236}">
                  <a16:creationId xmlns:a16="http://schemas.microsoft.com/office/drawing/2014/main" id="{A45A158B-8486-847A-89BE-CD420AC95E00}"/>
                </a:ext>
              </a:extLst>
            </p:cNvPr>
            <p:cNvSpPr/>
            <p:nvPr/>
          </p:nvSpPr>
          <p:spPr>
            <a:xfrm>
              <a:off x="1383753" y="5220730"/>
              <a:ext cx="180129" cy="149370"/>
            </a:xfrm>
            <a:custGeom>
              <a:avLst/>
              <a:gdLst>
                <a:gd name="connsiteX0" fmla="*/ 159865 w 180129"/>
                <a:gd name="connsiteY0" fmla="*/ 2785 h 149370"/>
                <a:gd name="connsiteX1" fmla="*/ 119014 w 180129"/>
                <a:gd name="connsiteY1" fmla="*/ 1866 h 149370"/>
                <a:gd name="connsiteX2" fmla="*/ 95717 w 180129"/>
                <a:gd name="connsiteY2" fmla="*/ 27461 h 149370"/>
                <a:gd name="connsiteX3" fmla="*/ 0 w 180129"/>
                <a:gd name="connsiteY3" fmla="*/ 132460 h 149370"/>
                <a:gd name="connsiteX4" fmla="*/ 19483 w 180129"/>
                <a:gd name="connsiteY4" fmla="*/ 149370 h 149370"/>
                <a:gd name="connsiteX5" fmla="*/ 141622 w 180129"/>
                <a:gd name="connsiteY5" fmla="*/ 49977 h 149370"/>
                <a:gd name="connsiteX6" fmla="*/ 180130 w 180129"/>
                <a:gd name="connsiteY6" fmla="*/ 54388 h 1493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80129" h="149370">
                  <a:moveTo>
                    <a:pt x="159865" y="2785"/>
                  </a:moveTo>
                  <a:cubicBezTo>
                    <a:pt x="145391" y="579"/>
                    <a:pt x="124850" y="-1718"/>
                    <a:pt x="119014" y="1866"/>
                  </a:cubicBezTo>
                  <a:cubicBezTo>
                    <a:pt x="106699" y="9402"/>
                    <a:pt x="108400" y="18454"/>
                    <a:pt x="95717" y="27461"/>
                  </a:cubicBezTo>
                  <a:cubicBezTo>
                    <a:pt x="95717" y="27461"/>
                    <a:pt x="21965" y="78054"/>
                    <a:pt x="0" y="132460"/>
                  </a:cubicBezTo>
                  <a:cubicBezTo>
                    <a:pt x="0" y="132460"/>
                    <a:pt x="1884" y="145326"/>
                    <a:pt x="19483" y="149370"/>
                  </a:cubicBezTo>
                  <a:cubicBezTo>
                    <a:pt x="19483" y="149370"/>
                    <a:pt x="104218" y="50023"/>
                    <a:pt x="141622" y="49977"/>
                  </a:cubicBezTo>
                  <a:lnTo>
                    <a:pt x="180130" y="54388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11" name="Forma livre: Forma 1510">
              <a:extLst>
                <a:ext uri="{FF2B5EF4-FFF2-40B4-BE49-F238E27FC236}">
                  <a16:creationId xmlns:a16="http://schemas.microsoft.com/office/drawing/2014/main" id="{44134614-C629-33B0-84FD-2BA320C67AD5}"/>
                </a:ext>
              </a:extLst>
            </p:cNvPr>
            <p:cNvSpPr/>
            <p:nvPr/>
          </p:nvSpPr>
          <p:spPr>
            <a:xfrm>
              <a:off x="1599633" y="5284723"/>
              <a:ext cx="27515" cy="83677"/>
            </a:xfrm>
            <a:custGeom>
              <a:avLst/>
              <a:gdLst>
                <a:gd name="connsiteX0" fmla="*/ 20632 w 27515"/>
                <a:gd name="connsiteY0" fmla="*/ 0 h 83677"/>
                <a:gd name="connsiteX1" fmla="*/ 25871 w 27515"/>
                <a:gd name="connsiteY1" fmla="*/ 60656 h 83677"/>
                <a:gd name="connsiteX2" fmla="*/ 0 w 27515"/>
                <a:gd name="connsiteY2" fmla="*/ 83678 h 836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7515" h="83677">
                  <a:moveTo>
                    <a:pt x="20632" y="0"/>
                  </a:moveTo>
                  <a:cubicBezTo>
                    <a:pt x="20632" y="0"/>
                    <a:pt x="31569" y="51328"/>
                    <a:pt x="25871" y="60656"/>
                  </a:cubicBezTo>
                  <a:cubicBezTo>
                    <a:pt x="18335" y="72971"/>
                    <a:pt x="10385" y="71271"/>
                    <a:pt x="0" y="83678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12" name="Forma livre: Forma 1511">
              <a:extLst>
                <a:ext uri="{FF2B5EF4-FFF2-40B4-BE49-F238E27FC236}">
                  <a16:creationId xmlns:a16="http://schemas.microsoft.com/office/drawing/2014/main" id="{18587F99-85F9-2DF4-6FF3-5ED01E96AFF7}"/>
                </a:ext>
              </a:extLst>
            </p:cNvPr>
            <p:cNvSpPr/>
            <p:nvPr/>
          </p:nvSpPr>
          <p:spPr>
            <a:xfrm>
              <a:off x="1508075" y="5281874"/>
              <a:ext cx="93304" cy="205081"/>
            </a:xfrm>
            <a:custGeom>
              <a:avLst/>
              <a:gdLst>
                <a:gd name="connsiteX0" fmla="*/ 62517 w 93304"/>
                <a:gd name="connsiteY0" fmla="*/ 0 h 205081"/>
                <a:gd name="connsiteX1" fmla="*/ 71432 w 93304"/>
                <a:gd name="connsiteY1" fmla="*/ 43011 h 205081"/>
                <a:gd name="connsiteX2" fmla="*/ 2688 w 93304"/>
                <a:gd name="connsiteY2" fmla="*/ 202233 h 205081"/>
                <a:gd name="connsiteX3" fmla="*/ 24607 w 93304"/>
                <a:gd name="connsiteY3" fmla="*/ 201314 h 205081"/>
                <a:gd name="connsiteX4" fmla="*/ 93305 w 93304"/>
                <a:gd name="connsiteY4" fmla="*/ 84367 h 2050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3304" h="205081">
                  <a:moveTo>
                    <a:pt x="62517" y="0"/>
                  </a:moveTo>
                  <a:lnTo>
                    <a:pt x="71432" y="43011"/>
                  </a:lnTo>
                  <a:cubicBezTo>
                    <a:pt x="71432" y="43011"/>
                    <a:pt x="-16290" y="145391"/>
                    <a:pt x="2688" y="202233"/>
                  </a:cubicBezTo>
                  <a:cubicBezTo>
                    <a:pt x="2688" y="202233"/>
                    <a:pt x="16014" y="209217"/>
                    <a:pt x="24607" y="201314"/>
                  </a:cubicBezTo>
                  <a:cubicBezTo>
                    <a:pt x="24607" y="201314"/>
                    <a:pt x="27089" y="155454"/>
                    <a:pt x="93305" y="84367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13" name="Forma livre: Forma 1512">
              <a:extLst>
                <a:ext uri="{FF2B5EF4-FFF2-40B4-BE49-F238E27FC236}">
                  <a16:creationId xmlns:a16="http://schemas.microsoft.com/office/drawing/2014/main" id="{2CF2B2C1-A0C1-8D19-7CA2-94B5345A5782}"/>
                </a:ext>
              </a:extLst>
            </p:cNvPr>
            <p:cNvSpPr/>
            <p:nvPr/>
          </p:nvSpPr>
          <p:spPr>
            <a:xfrm>
              <a:off x="1520826" y="5292350"/>
              <a:ext cx="50270" cy="41540"/>
            </a:xfrm>
            <a:custGeom>
              <a:avLst/>
              <a:gdLst>
                <a:gd name="connsiteX0" fmla="*/ 0 w 50270"/>
                <a:gd name="connsiteY0" fmla="*/ 0 h 41540"/>
                <a:gd name="connsiteX1" fmla="*/ 50271 w 50270"/>
                <a:gd name="connsiteY1" fmla="*/ 41540 h 415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0270" h="41540">
                  <a:moveTo>
                    <a:pt x="0" y="0"/>
                  </a:moveTo>
                  <a:cubicBezTo>
                    <a:pt x="8501" y="12545"/>
                    <a:pt x="25411" y="30742"/>
                    <a:pt x="50271" y="41540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14" name="Forma livre: Forma 1513">
              <a:extLst>
                <a:ext uri="{FF2B5EF4-FFF2-40B4-BE49-F238E27FC236}">
                  <a16:creationId xmlns:a16="http://schemas.microsoft.com/office/drawing/2014/main" id="{E3E77FDA-906B-DDBE-1D8A-E0A90A2EE700}"/>
                </a:ext>
              </a:extLst>
            </p:cNvPr>
            <p:cNvSpPr/>
            <p:nvPr/>
          </p:nvSpPr>
          <p:spPr>
            <a:xfrm>
              <a:off x="1590581" y="5249891"/>
              <a:ext cx="7168" cy="7168"/>
            </a:xfrm>
            <a:custGeom>
              <a:avLst/>
              <a:gdLst>
                <a:gd name="connsiteX0" fmla="*/ 7168 w 7168"/>
                <a:gd name="connsiteY0" fmla="*/ 3584 h 7168"/>
                <a:gd name="connsiteX1" fmla="*/ 3584 w 7168"/>
                <a:gd name="connsiteY1" fmla="*/ 7168 h 7168"/>
                <a:gd name="connsiteX2" fmla="*/ 0 w 7168"/>
                <a:gd name="connsiteY2" fmla="*/ 3584 h 7168"/>
                <a:gd name="connsiteX3" fmla="*/ 3584 w 7168"/>
                <a:gd name="connsiteY3" fmla="*/ 0 h 7168"/>
                <a:gd name="connsiteX4" fmla="*/ 7168 w 7168"/>
                <a:gd name="connsiteY4" fmla="*/ 3584 h 71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68" h="7168">
                  <a:moveTo>
                    <a:pt x="7168" y="3584"/>
                  </a:moveTo>
                  <a:cubicBezTo>
                    <a:pt x="7168" y="5560"/>
                    <a:pt x="5560" y="7168"/>
                    <a:pt x="3584" y="7168"/>
                  </a:cubicBezTo>
                  <a:cubicBezTo>
                    <a:pt x="1608" y="7168"/>
                    <a:pt x="0" y="5560"/>
                    <a:pt x="0" y="3584"/>
                  </a:cubicBezTo>
                  <a:cubicBezTo>
                    <a:pt x="0" y="1608"/>
                    <a:pt x="1608" y="0"/>
                    <a:pt x="3584" y="0"/>
                  </a:cubicBezTo>
                  <a:cubicBezTo>
                    <a:pt x="5560" y="0"/>
                    <a:pt x="7168" y="1608"/>
                    <a:pt x="7168" y="3584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515" name="Gráfico 23">
            <a:extLst>
              <a:ext uri="{FF2B5EF4-FFF2-40B4-BE49-F238E27FC236}">
                <a16:creationId xmlns:a16="http://schemas.microsoft.com/office/drawing/2014/main" id="{BCD61795-4C62-AB41-2A8E-9C2412815A77}"/>
              </a:ext>
            </a:extLst>
          </p:cNvPr>
          <p:cNvGrpSpPr/>
          <p:nvPr/>
        </p:nvGrpSpPr>
        <p:grpSpPr>
          <a:xfrm>
            <a:off x="1443950" y="5639698"/>
            <a:ext cx="206873" cy="339575"/>
            <a:chOff x="1443950" y="5639698"/>
            <a:chExt cx="206873" cy="339575"/>
          </a:xfrm>
          <a:noFill/>
        </p:grpSpPr>
        <p:sp>
          <p:nvSpPr>
            <p:cNvPr id="1516" name="Forma livre: Forma 1515">
              <a:extLst>
                <a:ext uri="{FF2B5EF4-FFF2-40B4-BE49-F238E27FC236}">
                  <a16:creationId xmlns:a16="http://schemas.microsoft.com/office/drawing/2014/main" id="{32D2B535-329C-4208-4976-BACADBE238D2}"/>
                </a:ext>
              </a:extLst>
            </p:cNvPr>
            <p:cNvSpPr/>
            <p:nvPr/>
          </p:nvSpPr>
          <p:spPr>
            <a:xfrm>
              <a:off x="1443950" y="5736196"/>
              <a:ext cx="110926" cy="13533"/>
            </a:xfrm>
            <a:custGeom>
              <a:avLst/>
              <a:gdLst>
                <a:gd name="connsiteX0" fmla="*/ 110927 w 110926"/>
                <a:gd name="connsiteY0" fmla="*/ 12085 h 13533"/>
                <a:gd name="connsiteX1" fmla="*/ 0 w 110926"/>
                <a:gd name="connsiteY1" fmla="*/ 0 h 135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0926" h="13533">
                  <a:moveTo>
                    <a:pt x="110927" y="12085"/>
                  </a:moveTo>
                  <a:cubicBezTo>
                    <a:pt x="89927" y="14888"/>
                    <a:pt x="53993" y="14934"/>
                    <a:pt x="0" y="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17" name="Forma livre: Forma 1516">
              <a:extLst>
                <a:ext uri="{FF2B5EF4-FFF2-40B4-BE49-F238E27FC236}">
                  <a16:creationId xmlns:a16="http://schemas.microsoft.com/office/drawing/2014/main" id="{8979159D-0315-AB7D-0791-31BE4FC4C0F3}"/>
                </a:ext>
              </a:extLst>
            </p:cNvPr>
            <p:cNvSpPr/>
            <p:nvPr/>
          </p:nvSpPr>
          <p:spPr>
            <a:xfrm>
              <a:off x="1501389" y="5715012"/>
              <a:ext cx="23067" cy="32303"/>
            </a:xfrm>
            <a:custGeom>
              <a:avLst/>
              <a:gdLst>
                <a:gd name="connsiteX0" fmla="*/ 23068 w 23067"/>
                <a:gd name="connsiteY0" fmla="*/ 0 h 32303"/>
                <a:gd name="connsiteX1" fmla="*/ 0 w 23067"/>
                <a:gd name="connsiteY1" fmla="*/ 32304 h 323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3067" h="32303">
                  <a:moveTo>
                    <a:pt x="23068" y="0"/>
                  </a:moveTo>
                  <a:cubicBezTo>
                    <a:pt x="23068" y="0"/>
                    <a:pt x="13188" y="27433"/>
                    <a:pt x="0" y="32304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18" name="Forma livre: Forma 1517">
              <a:extLst>
                <a:ext uri="{FF2B5EF4-FFF2-40B4-BE49-F238E27FC236}">
                  <a16:creationId xmlns:a16="http://schemas.microsoft.com/office/drawing/2014/main" id="{5A0E5BFA-D108-5B8B-F755-9C347E674D62}"/>
                </a:ext>
              </a:extLst>
            </p:cNvPr>
            <p:cNvSpPr/>
            <p:nvPr/>
          </p:nvSpPr>
          <p:spPr>
            <a:xfrm>
              <a:off x="1554527" y="5714476"/>
              <a:ext cx="96296" cy="51451"/>
            </a:xfrm>
            <a:custGeom>
              <a:avLst/>
              <a:gdLst>
                <a:gd name="connsiteX0" fmla="*/ 303 w 96296"/>
                <a:gd name="connsiteY0" fmla="*/ 33437 h 51451"/>
                <a:gd name="connsiteX1" fmla="*/ 46531 w 96296"/>
                <a:gd name="connsiteY1" fmla="*/ 31 h 51451"/>
                <a:gd name="connsiteX2" fmla="*/ 96296 w 96296"/>
                <a:gd name="connsiteY2" fmla="*/ 15241 h 51451"/>
                <a:gd name="connsiteX3" fmla="*/ 55583 w 96296"/>
                <a:gd name="connsiteY3" fmla="*/ 47361 h 51451"/>
                <a:gd name="connsiteX4" fmla="*/ 303 w 96296"/>
                <a:gd name="connsiteY4" fmla="*/ 33391 h 514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6296" h="51451">
                  <a:moveTo>
                    <a:pt x="303" y="33437"/>
                  </a:moveTo>
                  <a:cubicBezTo>
                    <a:pt x="-3051" y="17125"/>
                    <a:pt x="21993" y="-842"/>
                    <a:pt x="46531" y="31"/>
                  </a:cubicBezTo>
                  <a:cubicBezTo>
                    <a:pt x="78237" y="1225"/>
                    <a:pt x="96296" y="15241"/>
                    <a:pt x="96296" y="15241"/>
                  </a:cubicBezTo>
                  <a:cubicBezTo>
                    <a:pt x="96296" y="15241"/>
                    <a:pt x="82051" y="35689"/>
                    <a:pt x="55583" y="47361"/>
                  </a:cubicBezTo>
                  <a:cubicBezTo>
                    <a:pt x="33113" y="57240"/>
                    <a:pt x="3290" y="47912"/>
                    <a:pt x="303" y="33391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19" name="Forma livre: Forma 1518">
              <a:extLst>
                <a:ext uri="{FF2B5EF4-FFF2-40B4-BE49-F238E27FC236}">
                  <a16:creationId xmlns:a16="http://schemas.microsoft.com/office/drawing/2014/main" id="{CCE2930A-D1D2-D780-2D15-2AA4F6FCCBF0}"/>
                </a:ext>
              </a:extLst>
            </p:cNvPr>
            <p:cNvSpPr/>
            <p:nvPr/>
          </p:nvSpPr>
          <p:spPr>
            <a:xfrm>
              <a:off x="1510732" y="5639698"/>
              <a:ext cx="41249" cy="75567"/>
            </a:xfrm>
            <a:custGeom>
              <a:avLst/>
              <a:gdLst>
                <a:gd name="connsiteX0" fmla="*/ 13724 w 41249"/>
                <a:gd name="connsiteY0" fmla="*/ 75314 h 75567"/>
                <a:gd name="connsiteX1" fmla="*/ 4074 w 41249"/>
                <a:gd name="connsiteY1" fmla="*/ 31293 h 75567"/>
                <a:gd name="connsiteX2" fmla="*/ 30772 w 41249"/>
                <a:gd name="connsiteY2" fmla="*/ 0 h 75567"/>
                <a:gd name="connsiteX3" fmla="*/ 41249 w 41249"/>
                <a:gd name="connsiteY3" fmla="*/ 39656 h 75567"/>
                <a:gd name="connsiteX4" fmla="*/ 13724 w 41249"/>
                <a:gd name="connsiteY4" fmla="*/ 75360 h 75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1249" h="75567">
                  <a:moveTo>
                    <a:pt x="13724" y="75314"/>
                  </a:moveTo>
                  <a:cubicBezTo>
                    <a:pt x="858" y="72603"/>
                    <a:pt x="-4289" y="48800"/>
                    <a:pt x="4074" y="31293"/>
                  </a:cubicBezTo>
                  <a:cubicBezTo>
                    <a:pt x="14919" y="8685"/>
                    <a:pt x="30772" y="0"/>
                    <a:pt x="30772" y="0"/>
                  </a:cubicBezTo>
                  <a:cubicBezTo>
                    <a:pt x="30772" y="0"/>
                    <a:pt x="41111" y="16772"/>
                    <a:pt x="41249" y="39656"/>
                  </a:cubicBezTo>
                  <a:cubicBezTo>
                    <a:pt x="41341" y="59094"/>
                    <a:pt x="25166" y="77750"/>
                    <a:pt x="13724" y="75360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20" name="Forma livre: Forma 1519">
              <a:extLst>
                <a:ext uri="{FF2B5EF4-FFF2-40B4-BE49-F238E27FC236}">
                  <a16:creationId xmlns:a16="http://schemas.microsoft.com/office/drawing/2014/main" id="{970D8CBD-6207-9392-7B4F-724F1C9E107B}"/>
                </a:ext>
              </a:extLst>
            </p:cNvPr>
            <p:cNvSpPr/>
            <p:nvPr/>
          </p:nvSpPr>
          <p:spPr>
            <a:xfrm>
              <a:off x="1475472" y="5836094"/>
              <a:ext cx="21413" cy="31063"/>
            </a:xfrm>
            <a:custGeom>
              <a:avLst/>
              <a:gdLst>
                <a:gd name="connsiteX0" fmla="*/ 21413 w 21413"/>
                <a:gd name="connsiteY0" fmla="*/ 0 h 31063"/>
                <a:gd name="connsiteX1" fmla="*/ 0 w 21413"/>
                <a:gd name="connsiteY1" fmla="*/ 31063 h 310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1413" h="31063">
                  <a:moveTo>
                    <a:pt x="21413" y="0"/>
                  </a:moveTo>
                  <a:cubicBezTo>
                    <a:pt x="11993" y="3538"/>
                    <a:pt x="1011" y="15256"/>
                    <a:pt x="0" y="31063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21" name="Forma livre: Forma 1520">
              <a:extLst>
                <a:ext uri="{FF2B5EF4-FFF2-40B4-BE49-F238E27FC236}">
                  <a16:creationId xmlns:a16="http://schemas.microsoft.com/office/drawing/2014/main" id="{E4EBFE72-A7AE-B528-40B1-719AC9A7ADE3}"/>
                </a:ext>
              </a:extLst>
            </p:cNvPr>
            <p:cNvSpPr/>
            <p:nvPr/>
          </p:nvSpPr>
          <p:spPr>
            <a:xfrm>
              <a:off x="1444488" y="5807002"/>
              <a:ext cx="202855" cy="172272"/>
            </a:xfrm>
            <a:custGeom>
              <a:avLst/>
              <a:gdLst>
                <a:gd name="connsiteX0" fmla="*/ 101474 w 202855"/>
                <a:gd name="connsiteY0" fmla="*/ 163731 h 172272"/>
                <a:gd name="connsiteX1" fmla="*/ 121371 w 202855"/>
                <a:gd name="connsiteY1" fmla="*/ 168464 h 172272"/>
                <a:gd name="connsiteX2" fmla="*/ 161808 w 202855"/>
                <a:gd name="connsiteY2" fmla="*/ 162306 h 172272"/>
                <a:gd name="connsiteX3" fmla="*/ 201464 w 202855"/>
                <a:gd name="connsiteY3" fmla="*/ 47887 h 172272"/>
                <a:gd name="connsiteX4" fmla="*/ 130331 w 202855"/>
                <a:gd name="connsiteY4" fmla="*/ 2993 h 172272"/>
                <a:gd name="connsiteX5" fmla="*/ 102576 w 202855"/>
                <a:gd name="connsiteY5" fmla="*/ 6623 h 172272"/>
                <a:gd name="connsiteX6" fmla="*/ 100279 w 202855"/>
                <a:gd name="connsiteY6" fmla="*/ 6623 h 172272"/>
                <a:gd name="connsiteX7" fmla="*/ 72524 w 202855"/>
                <a:gd name="connsiteY7" fmla="*/ 2993 h 172272"/>
                <a:gd name="connsiteX8" fmla="*/ 1391 w 202855"/>
                <a:gd name="connsiteY8" fmla="*/ 47887 h 172272"/>
                <a:gd name="connsiteX9" fmla="*/ 41047 w 202855"/>
                <a:gd name="connsiteY9" fmla="*/ 162306 h 172272"/>
                <a:gd name="connsiteX10" fmla="*/ 81485 w 202855"/>
                <a:gd name="connsiteY10" fmla="*/ 168464 h 172272"/>
                <a:gd name="connsiteX11" fmla="*/ 101382 w 202855"/>
                <a:gd name="connsiteY11" fmla="*/ 163731 h 172272"/>
                <a:gd name="connsiteX12" fmla="*/ 101520 w 202855"/>
                <a:gd name="connsiteY12" fmla="*/ 163731 h 1722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02855" h="172272">
                  <a:moveTo>
                    <a:pt x="101474" y="163731"/>
                  </a:moveTo>
                  <a:cubicBezTo>
                    <a:pt x="109469" y="163731"/>
                    <a:pt x="121371" y="168464"/>
                    <a:pt x="121371" y="168464"/>
                  </a:cubicBezTo>
                  <a:cubicBezTo>
                    <a:pt x="146782" y="179768"/>
                    <a:pt x="161808" y="162306"/>
                    <a:pt x="161808" y="162306"/>
                  </a:cubicBezTo>
                  <a:cubicBezTo>
                    <a:pt x="214331" y="115206"/>
                    <a:pt x="201464" y="47887"/>
                    <a:pt x="201464" y="47887"/>
                  </a:cubicBezTo>
                  <a:cubicBezTo>
                    <a:pt x="185703" y="-17318"/>
                    <a:pt x="130331" y="2993"/>
                    <a:pt x="130331" y="2993"/>
                  </a:cubicBezTo>
                  <a:cubicBezTo>
                    <a:pt x="110112" y="6806"/>
                    <a:pt x="102576" y="6623"/>
                    <a:pt x="102576" y="6623"/>
                  </a:cubicBezTo>
                  <a:lnTo>
                    <a:pt x="100279" y="6623"/>
                  </a:lnTo>
                  <a:cubicBezTo>
                    <a:pt x="100279" y="6623"/>
                    <a:pt x="92697" y="6806"/>
                    <a:pt x="72524" y="2993"/>
                  </a:cubicBezTo>
                  <a:cubicBezTo>
                    <a:pt x="72524" y="2993"/>
                    <a:pt x="17153" y="-17272"/>
                    <a:pt x="1391" y="47887"/>
                  </a:cubicBezTo>
                  <a:cubicBezTo>
                    <a:pt x="1391" y="47887"/>
                    <a:pt x="-11475" y="115252"/>
                    <a:pt x="41047" y="162306"/>
                  </a:cubicBezTo>
                  <a:cubicBezTo>
                    <a:pt x="41047" y="162306"/>
                    <a:pt x="56074" y="179768"/>
                    <a:pt x="81485" y="168464"/>
                  </a:cubicBezTo>
                  <a:cubicBezTo>
                    <a:pt x="81485" y="168464"/>
                    <a:pt x="93386" y="163731"/>
                    <a:pt x="101382" y="163731"/>
                  </a:cubicBezTo>
                  <a:lnTo>
                    <a:pt x="101520" y="163731"/>
                  </a:ln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22" name="Forma livre: Forma 1521">
              <a:extLst>
                <a:ext uri="{FF2B5EF4-FFF2-40B4-BE49-F238E27FC236}">
                  <a16:creationId xmlns:a16="http://schemas.microsoft.com/office/drawing/2014/main" id="{0E79A5F8-B7AF-9F00-151B-1B7D8957277B}"/>
                </a:ext>
              </a:extLst>
            </p:cNvPr>
            <p:cNvSpPr/>
            <p:nvPr/>
          </p:nvSpPr>
          <p:spPr>
            <a:xfrm>
              <a:off x="1515956" y="5749292"/>
              <a:ext cx="28719" cy="39564"/>
            </a:xfrm>
            <a:custGeom>
              <a:avLst/>
              <a:gdLst>
                <a:gd name="connsiteX0" fmla="*/ 0 w 28719"/>
                <a:gd name="connsiteY0" fmla="*/ 0 h 39564"/>
                <a:gd name="connsiteX1" fmla="*/ 28720 w 28719"/>
                <a:gd name="connsiteY1" fmla="*/ 39564 h 39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8719" h="39564">
                  <a:moveTo>
                    <a:pt x="0" y="0"/>
                  </a:moveTo>
                  <a:cubicBezTo>
                    <a:pt x="0" y="0"/>
                    <a:pt x="23160" y="15164"/>
                    <a:pt x="28720" y="39564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523" name="Gráfico 23">
            <a:extLst>
              <a:ext uri="{FF2B5EF4-FFF2-40B4-BE49-F238E27FC236}">
                <a16:creationId xmlns:a16="http://schemas.microsoft.com/office/drawing/2014/main" id="{8F86A0A6-3E86-4FA3-B73D-457A0EC9CE98}"/>
              </a:ext>
            </a:extLst>
          </p:cNvPr>
          <p:cNvGrpSpPr/>
          <p:nvPr/>
        </p:nvGrpSpPr>
        <p:grpSpPr>
          <a:xfrm>
            <a:off x="1389405" y="4657944"/>
            <a:ext cx="316008" cy="301211"/>
            <a:chOff x="1389405" y="4657944"/>
            <a:chExt cx="316008" cy="301211"/>
          </a:xfrm>
          <a:noFill/>
        </p:grpSpPr>
        <p:grpSp>
          <p:nvGrpSpPr>
            <p:cNvPr id="1524" name="Gráfico 23">
              <a:extLst>
                <a:ext uri="{FF2B5EF4-FFF2-40B4-BE49-F238E27FC236}">
                  <a16:creationId xmlns:a16="http://schemas.microsoft.com/office/drawing/2014/main" id="{A8B8607D-A9B6-DFFE-8A94-BD12FFBEA3C8}"/>
                </a:ext>
              </a:extLst>
            </p:cNvPr>
            <p:cNvGrpSpPr/>
            <p:nvPr/>
          </p:nvGrpSpPr>
          <p:grpSpPr>
            <a:xfrm>
              <a:off x="1389405" y="4832132"/>
              <a:ext cx="311492" cy="127024"/>
              <a:chOff x="1389405" y="4832132"/>
              <a:chExt cx="311492" cy="127024"/>
            </a:xfrm>
            <a:noFill/>
          </p:grpSpPr>
          <p:sp>
            <p:nvSpPr>
              <p:cNvPr id="1525" name="Forma livre: Forma 1524">
                <a:extLst>
                  <a:ext uri="{FF2B5EF4-FFF2-40B4-BE49-F238E27FC236}">
                    <a16:creationId xmlns:a16="http://schemas.microsoft.com/office/drawing/2014/main" id="{CB9E3C9B-A390-24ED-70F7-739DA7C5966C}"/>
                  </a:ext>
                </a:extLst>
              </p:cNvPr>
              <p:cNvSpPr/>
              <p:nvPr/>
            </p:nvSpPr>
            <p:spPr>
              <a:xfrm>
                <a:off x="1427867" y="4832132"/>
                <a:ext cx="273031" cy="127024"/>
              </a:xfrm>
              <a:custGeom>
                <a:avLst/>
                <a:gdLst>
                  <a:gd name="connsiteX0" fmla="*/ 186333 w 273031"/>
                  <a:gd name="connsiteY0" fmla="*/ 31675 h 127024"/>
                  <a:gd name="connsiteX1" fmla="*/ 242210 w 273031"/>
                  <a:gd name="connsiteY1" fmla="*/ 3139 h 127024"/>
                  <a:gd name="connsiteX2" fmla="*/ 270884 w 273031"/>
                  <a:gd name="connsiteY2" fmla="*/ 9388 h 127024"/>
                  <a:gd name="connsiteX3" fmla="*/ 260729 w 273031"/>
                  <a:gd name="connsiteY3" fmla="*/ 37603 h 127024"/>
                  <a:gd name="connsiteX4" fmla="*/ 144839 w 273031"/>
                  <a:gd name="connsiteY4" fmla="*/ 99729 h 127024"/>
                  <a:gd name="connsiteX5" fmla="*/ 138728 w 273031"/>
                  <a:gd name="connsiteY5" fmla="*/ 101245 h 127024"/>
                  <a:gd name="connsiteX6" fmla="*/ 30650 w 273031"/>
                  <a:gd name="connsiteY6" fmla="*/ 104186 h 127024"/>
                  <a:gd name="connsiteX7" fmla="*/ 0 w 273031"/>
                  <a:gd name="connsiteY7" fmla="*/ 127024 h 1270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73031" h="127024">
                    <a:moveTo>
                      <a:pt x="186333" y="31675"/>
                    </a:moveTo>
                    <a:lnTo>
                      <a:pt x="242210" y="3139"/>
                    </a:lnTo>
                    <a:cubicBezTo>
                      <a:pt x="253009" y="-2651"/>
                      <a:pt x="265692" y="-353"/>
                      <a:pt x="270884" y="9388"/>
                    </a:cubicBezTo>
                    <a:cubicBezTo>
                      <a:pt x="276077" y="19130"/>
                      <a:pt x="271527" y="31813"/>
                      <a:pt x="260729" y="37603"/>
                    </a:cubicBezTo>
                    <a:lnTo>
                      <a:pt x="144839" y="99729"/>
                    </a:lnTo>
                    <a:lnTo>
                      <a:pt x="138728" y="101245"/>
                    </a:lnTo>
                    <a:lnTo>
                      <a:pt x="30650" y="104186"/>
                    </a:lnTo>
                    <a:cubicBezTo>
                      <a:pt x="30650" y="104186"/>
                      <a:pt x="16726" y="108092"/>
                      <a:pt x="0" y="127024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526" name="Forma livre: Forma 1525">
                <a:extLst>
                  <a:ext uri="{FF2B5EF4-FFF2-40B4-BE49-F238E27FC236}">
                    <a16:creationId xmlns:a16="http://schemas.microsoft.com/office/drawing/2014/main" id="{2578A12D-8371-F47D-20AD-CD15B9BF497E}"/>
                  </a:ext>
                </a:extLst>
              </p:cNvPr>
              <p:cNvSpPr/>
              <p:nvPr/>
            </p:nvSpPr>
            <p:spPr>
              <a:xfrm>
                <a:off x="1389405" y="4847479"/>
                <a:ext cx="206092" cy="54835"/>
              </a:xfrm>
              <a:custGeom>
                <a:avLst/>
                <a:gdLst>
                  <a:gd name="connsiteX0" fmla="*/ 0 w 206092"/>
                  <a:gd name="connsiteY0" fmla="*/ 54836 h 54835"/>
                  <a:gd name="connsiteX1" fmla="*/ 49030 w 206092"/>
                  <a:gd name="connsiteY1" fmla="*/ 9711 h 54835"/>
                  <a:gd name="connsiteX2" fmla="*/ 101415 w 206092"/>
                  <a:gd name="connsiteY2" fmla="*/ 2451 h 54835"/>
                  <a:gd name="connsiteX3" fmla="*/ 140703 w 206092"/>
                  <a:gd name="connsiteY3" fmla="*/ 6908 h 54835"/>
                  <a:gd name="connsiteX4" fmla="*/ 183117 w 206092"/>
                  <a:gd name="connsiteY4" fmla="*/ 6908 h 54835"/>
                  <a:gd name="connsiteX5" fmla="*/ 206092 w 206092"/>
                  <a:gd name="connsiteY5" fmla="*/ 26943 h 54835"/>
                  <a:gd name="connsiteX6" fmla="*/ 183117 w 206092"/>
                  <a:gd name="connsiteY6" fmla="*/ 47024 h 54835"/>
                  <a:gd name="connsiteX7" fmla="*/ 124437 w 206092"/>
                  <a:gd name="connsiteY7" fmla="*/ 47024 h 548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06092" h="54835">
                    <a:moveTo>
                      <a:pt x="0" y="54836"/>
                    </a:moveTo>
                    <a:lnTo>
                      <a:pt x="49030" y="9711"/>
                    </a:lnTo>
                    <a:cubicBezTo>
                      <a:pt x="72971" y="-6464"/>
                      <a:pt x="101415" y="2451"/>
                      <a:pt x="101415" y="2451"/>
                    </a:cubicBezTo>
                    <a:cubicBezTo>
                      <a:pt x="115154" y="6081"/>
                      <a:pt x="140703" y="6908"/>
                      <a:pt x="140703" y="6908"/>
                    </a:cubicBezTo>
                    <a:lnTo>
                      <a:pt x="183117" y="6908"/>
                    </a:lnTo>
                    <a:cubicBezTo>
                      <a:pt x="195753" y="6908"/>
                      <a:pt x="206092" y="15915"/>
                      <a:pt x="206092" y="26943"/>
                    </a:cubicBezTo>
                    <a:cubicBezTo>
                      <a:pt x="206092" y="37971"/>
                      <a:pt x="195753" y="47024"/>
                      <a:pt x="183117" y="47024"/>
                    </a:cubicBezTo>
                    <a:lnTo>
                      <a:pt x="124437" y="47024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527" name="Gráfico 23">
              <a:extLst>
                <a:ext uri="{FF2B5EF4-FFF2-40B4-BE49-F238E27FC236}">
                  <a16:creationId xmlns:a16="http://schemas.microsoft.com/office/drawing/2014/main" id="{928D69BB-699D-FD3C-AACE-CAD20A40D781}"/>
                </a:ext>
              </a:extLst>
            </p:cNvPr>
            <p:cNvGrpSpPr/>
            <p:nvPr/>
          </p:nvGrpSpPr>
          <p:grpSpPr>
            <a:xfrm>
              <a:off x="1464069" y="4657944"/>
              <a:ext cx="241344" cy="174431"/>
              <a:chOff x="1464069" y="4657944"/>
              <a:chExt cx="241344" cy="174431"/>
            </a:xfrm>
            <a:noFill/>
          </p:grpSpPr>
          <p:sp>
            <p:nvSpPr>
              <p:cNvPr id="1528" name="Forma livre: Forma 1527">
                <a:extLst>
                  <a:ext uri="{FF2B5EF4-FFF2-40B4-BE49-F238E27FC236}">
                    <a16:creationId xmlns:a16="http://schemas.microsoft.com/office/drawing/2014/main" id="{75E529ED-FB6A-77DA-D042-01D152A332B9}"/>
                  </a:ext>
                </a:extLst>
              </p:cNvPr>
              <p:cNvSpPr/>
              <p:nvPr/>
            </p:nvSpPr>
            <p:spPr>
              <a:xfrm>
                <a:off x="1513061" y="4734591"/>
                <a:ext cx="24584" cy="97784"/>
              </a:xfrm>
              <a:custGeom>
                <a:avLst/>
                <a:gdLst>
                  <a:gd name="connsiteX0" fmla="*/ 0 w 24584"/>
                  <a:gd name="connsiteY0" fmla="*/ 0 h 97784"/>
                  <a:gd name="connsiteX1" fmla="*/ 24584 w 24584"/>
                  <a:gd name="connsiteY1" fmla="*/ 97785 h 977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4584" h="97784">
                    <a:moveTo>
                      <a:pt x="0" y="0"/>
                    </a:moveTo>
                    <a:cubicBezTo>
                      <a:pt x="9052" y="16818"/>
                      <a:pt x="20265" y="47100"/>
                      <a:pt x="24584" y="97785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529" name="Forma livre: Forma 1528">
                <a:extLst>
                  <a:ext uri="{FF2B5EF4-FFF2-40B4-BE49-F238E27FC236}">
                    <a16:creationId xmlns:a16="http://schemas.microsoft.com/office/drawing/2014/main" id="{41F47774-B633-B752-9773-C2D15AA3F2CE}"/>
                  </a:ext>
                </a:extLst>
              </p:cNvPr>
              <p:cNvSpPr/>
              <p:nvPr/>
            </p:nvSpPr>
            <p:spPr>
              <a:xfrm>
                <a:off x="1464069" y="4657944"/>
                <a:ext cx="55980" cy="79074"/>
              </a:xfrm>
              <a:custGeom>
                <a:avLst/>
                <a:gdLst>
                  <a:gd name="connsiteX0" fmla="*/ 48441 w 55980"/>
                  <a:gd name="connsiteY0" fmla="*/ 76923 h 79074"/>
                  <a:gd name="connsiteX1" fmla="*/ 4925 w 55980"/>
                  <a:gd name="connsiteY1" fmla="*/ 47744 h 79074"/>
                  <a:gd name="connsiteX2" fmla="*/ 2121 w 55980"/>
                  <a:gd name="connsiteY2" fmla="*/ 0 h 79074"/>
                  <a:gd name="connsiteX3" fmla="*/ 42789 w 55980"/>
                  <a:gd name="connsiteY3" fmla="*/ 24860 h 79074"/>
                  <a:gd name="connsiteX4" fmla="*/ 48395 w 55980"/>
                  <a:gd name="connsiteY4" fmla="*/ 76923 h 790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980" h="79074">
                    <a:moveTo>
                      <a:pt x="48441" y="76923"/>
                    </a:moveTo>
                    <a:cubicBezTo>
                      <a:pt x="35482" y="85010"/>
                      <a:pt x="12001" y="69203"/>
                      <a:pt x="4925" y="47744"/>
                    </a:cubicBezTo>
                    <a:cubicBezTo>
                      <a:pt x="-4174" y="20081"/>
                      <a:pt x="2121" y="0"/>
                      <a:pt x="2121" y="0"/>
                    </a:cubicBezTo>
                    <a:cubicBezTo>
                      <a:pt x="2121" y="0"/>
                      <a:pt x="24316" y="5744"/>
                      <a:pt x="42789" y="24860"/>
                    </a:cubicBezTo>
                    <a:cubicBezTo>
                      <a:pt x="58504" y="41081"/>
                      <a:pt x="59928" y="69754"/>
                      <a:pt x="48395" y="76923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530" name="Forma livre: Forma 1529">
                <a:extLst>
                  <a:ext uri="{FF2B5EF4-FFF2-40B4-BE49-F238E27FC236}">
                    <a16:creationId xmlns:a16="http://schemas.microsoft.com/office/drawing/2014/main" id="{054E693F-FBA7-C9C3-6FE2-E3CDD083F28A}"/>
                  </a:ext>
                </a:extLst>
              </p:cNvPr>
              <p:cNvSpPr/>
              <p:nvPr/>
            </p:nvSpPr>
            <p:spPr>
              <a:xfrm>
                <a:off x="1559837" y="4678773"/>
                <a:ext cx="145577" cy="116554"/>
              </a:xfrm>
              <a:custGeom>
                <a:avLst/>
                <a:gdLst>
                  <a:gd name="connsiteX0" fmla="*/ 94479 w 145577"/>
                  <a:gd name="connsiteY0" fmla="*/ 98875 h 116554"/>
                  <a:gd name="connsiteX1" fmla="*/ 8366 w 145577"/>
                  <a:gd name="connsiteY1" fmla="*/ 87938 h 116554"/>
                  <a:gd name="connsiteX2" fmla="*/ 36948 w 145577"/>
                  <a:gd name="connsiteY2" fmla="*/ 6466 h 116554"/>
                  <a:gd name="connsiteX3" fmla="*/ 145577 w 145577"/>
                  <a:gd name="connsiteY3" fmla="*/ 3847 h 116554"/>
                  <a:gd name="connsiteX4" fmla="*/ 94525 w 145577"/>
                  <a:gd name="connsiteY4" fmla="*/ 98875 h 1165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45577" h="116554">
                    <a:moveTo>
                      <a:pt x="94479" y="98875"/>
                    </a:moveTo>
                    <a:cubicBezTo>
                      <a:pt x="57350" y="131684"/>
                      <a:pt x="23254" y="113395"/>
                      <a:pt x="8366" y="87938"/>
                    </a:cubicBezTo>
                    <a:cubicBezTo>
                      <a:pt x="-6522" y="62481"/>
                      <a:pt x="-4133" y="23422"/>
                      <a:pt x="36948" y="6466"/>
                    </a:cubicBezTo>
                    <a:cubicBezTo>
                      <a:pt x="68011" y="-6354"/>
                      <a:pt x="145577" y="3847"/>
                      <a:pt x="145577" y="3847"/>
                    </a:cubicBezTo>
                    <a:cubicBezTo>
                      <a:pt x="145577" y="3847"/>
                      <a:pt x="121407" y="75072"/>
                      <a:pt x="94525" y="98875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531" name="Forma livre: Forma 1530">
                <a:extLst>
                  <a:ext uri="{FF2B5EF4-FFF2-40B4-BE49-F238E27FC236}">
                    <a16:creationId xmlns:a16="http://schemas.microsoft.com/office/drawing/2014/main" id="{ED77AAAC-AFF4-5673-F892-FD60534A5EA7}"/>
                  </a:ext>
                </a:extLst>
              </p:cNvPr>
              <p:cNvSpPr/>
              <p:nvPr/>
            </p:nvSpPr>
            <p:spPr>
              <a:xfrm>
                <a:off x="1596555" y="4751180"/>
                <a:ext cx="29317" cy="14796"/>
              </a:xfrm>
              <a:custGeom>
                <a:avLst/>
                <a:gdLst>
                  <a:gd name="connsiteX0" fmla="*/ 0 w 29317"/>
                  <a:gd name="connsiteY0" fmla="*/ 0 h 14796"/>
                  <a:gd name="connsiteX1" fmla="*/ 29317 w 29317"/>
                  <a:gd name="connsiteY1" fmla="*/ 14796 h 147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9317" h="14796">
                    <a:moveTo>
                      <a:pt x="0" y="0"/>
                    </a:moveTo>
                    <a:lnTo>
                      <a:pt x="29317" y="14796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532" name="Forma livre: Forma 1531">
                <a:extLst>
                  <a:ext uri="{FF2B5EF4-FFF2-40B4-BE49-F238E27FC236}">
                    <a16:creationId xmlns:a16="http://schemas.microsoft.com/office/drawing/2014/main" id="{27EB93FD-52C6-6829-44C3-43CFB908E074}"/>
                  </a:ext>
                </a:extLst>
              </p:cNvPr>
              <p:cNvSpPr/>
              <p:nvPr/>
            </p:nvSpPr>
            <p:spPr>
              <a:xfrm>
                <a:off x="1620909" y="4710743"/>
                <a:ext cx="827" cy="22286"/>
              </a:xfrm>
              <a:custGeom>
                <a:avLst/>
                <a:gdLst>
                  <a:gd name="connsiteX0" fmla="*/ 0 w 827"/>
                  <a:gd name="connsiteY0" fmla="*/ 22286 h 22286"/>
                  <a:gd name="connsiteX1" fmla="*/ 827 w 827"/>
                  <a:gd name="connsiteY1" fmla="*/ 0 h 222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827" h="22286">
                    <a:moveTo>
                      <a:pt x="0" y="22286"/>
                    </a:moveTo>
                    <a:lnTo>
                      <a:pt x="827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533" name="Forma livre: Forma 1532">
                <a:extLst>
                  <a:ext uri="{FF2B5EF4-FFF2-40B4-BE49-F238E27FC236}">
                    <a16:creationId xmlns:a16="http://schemas.microsoft.com/office/drawing/2014/main" id="{BBF10003-7278-98BD-2A88-D14356D0B044}"/>
                  </a:ext>
                </a:extLst>
              </p:cNvPr>
              <p:cNvSpPr/>
              <p:nvPr/>
            </p:nvSpPr>
            <p:spPr>
              <a:xfrm>
                <a:off x="1535209" y="4710237"/>
                <a:ext cx="125079" cy="91121"/>
              </a:xfrm>
              <a:custGeom>
                <a:avLst/>
                <a:gdLst>
                  <a:gd name="connsiteX0" fmla="*/ 125080 w 125079"/>
                  <a:gd name="connsiteY0" fmla="*/ 0 h 91121"/>
                  <a:gd name="connsiteX1" fmla="*/ 29271 w 125079"/>
                  <a:gd name="connsiteY1" fmla="*/ 59553 h 91121"/>
                  <a:gd name="connsiteX2" fmla="*/ 0 w 125079"/>
                  <a:gd name="connsiteY2" fmla="*/ 91122 h 911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25079" h="91121">
                    <a:moveTo>
                      <a:pt x="125080" y="0"/>
                    </a:moveTo>
                    <a:lnTo>
                      <a:pt x="29271" y="59553"/>
                    </a:lnTo>
                    <a:cubicBezTo>
                      <a:pt x="29271" y="59553"/>
                      <a:pt x="8133" y="75085"/>
                      <a:pt x="0" y="91122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534" name="Gráfico 23">
            <a:extLst>
              <a:ext uri="{FF2B5EF4-FFF2-40B4-BE49-F238E27FC236}">
                <a16:creationId xmlns:a16="http://schemas.microsoft.com/office/drawing/2014/main" id="{5EA8F69A-8F73-32C3-FA7B-2B2742C3C2AD}"/>
              </a:ext>
            </a:extLst>
          </p:cNvPr>
          <p:cNvGrpSpPr/>
          <p:nvPr/>
        </p:nvGrpSpPr>
        <p:grpSpPr>
          <a:xfrm>
            <a:off x="1416059" y="3639889"/>
            <a:ext cx="262656" cy="335491"/>
            <a:chOff x="1416059" y="3639889"/>
            <a:chExt cx="262656" cy="335491"/>
          </a:xfrm>
          <a:noFill/>
        </p:grpSpPr>
        <p:grpSp>
          <p:nvGrpSpPr>
            <p:cNvPr id="1535" name="Gráfico 23">
              <a:extLst>
                <a:ext uri="{FF2B5EF4-FFF2-40B4-BE49-F238E27FC236}">
                  <a16:creationId xmlns:a16="http://schemas.microsoft.com/office/drawing/2014/main" id="{989F774F-F7BD-1F6B-87E9-A41067986283}"/>
                </a:ext>
              </a:extLst>
            </p:cNvPr>
            <p:cNvGrpSpPr/>
            <p:nvPr/>
          </p:nvGrpSpPr>
          <p:grpSpPr>
            <a:xfrm>
              <a:off x="1572522" y="3639889"/>
              <a:ext cx="96222" cy="96222"/>
              <a:chOff x="1572522" y="3639889"/>
              <a:chExt cx="96222" cy="96222"/>
            </a:xfrm>
            <a:noFill/>
          </p:grpSpPr>
          <p:sp>
            <p:nvSpPr>
              <p:cNvPr id="1536" name="Forma livre: Forma 1535">
                <a:extLst>
                  <a:ext uri="{FF2B5EF4-FFF2-40B4-BE49-F238E27FC236}">
                    <a16:creationId xmlns:a16="http://schemas.microsoft.com/office/drawing/2014/main" id="{F4F96EFD-56F9-F04D-BB56-00CC2F1FF715}"/>
                  </a:ext>
                </a:extLst>
              </p:cNvPr>
              <p:cNvSpPr/>
              <p:nvPr/>
            </p:nvSpPr>
            <p:spPr>
              <a:xfrm>
                <a:off x="1600828" y="3668333"/>
                <a:ext cx="39426" cy="39426"/>
              </a:xfrm>
              <a:custGeom>
                <a:avLst/>
                <a:gdLst>
                  <a:gd name="connsiteX0" fmla="*/ 0 w 39426"/>
                  <a:gd name="connsiteY0" fmla="*/ 19805 h 39426"/>
                  <a:gd name="connsiteX1" fmla="*/ 19805 w 39426"/>
                  <a:gd name="connsiteY1" fmla="*/ 39427 h 39426"/>
                  <a:gd name="connsiteX2" fmla="*/ 39427 w 39426"/>
                  <a:gd name="connsiteY2" fmla="*/ 19621 h 39426"/>
                  <a:gd name="connsiteX3" fmla="*/ 19621 w 39426"/>
                  <a:gd name="connsiteY3" fmla="*/ 0 h 39426"/>
                  <a:gd name="connsiteX4" fmla="*/ 0 w 39426"/>
                  <a:gd name="connsiteY4" fmla="*/ 19805 h 394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9426" h="39426">
                    <a:moveTo>
                      <a:pt x="0" y="19805"/>
                    </a:moveTo>
                    <a:cubicBezTo>
                      <a:pt x="46" y="30650"/>
                      <a:pt x="8915" y="39473"/>
                      <a:pt x="19805" y="39427"/>
                    </a:cubicBezTo>
                    <a:cubicBezTo>
                      <a:pt x="30696" y="39381"/>
                      <a:pt x="39473" y="30512"/>
                      <a:pt x="39427" y="19621"/>
                    </a:cubicBezTo>
                    <a:cubicBezTo>
                      <a:pt x="39381" y="8777"/>
                      <a:pt x="30512" y="-46"/>
                      <a:pt x="19621" y="0"/>
                    </a:cubicBezTo>
                    <a:cubicBezTo>
                      <a:pt x="8777" y="0"/>
                      <a:pt x="-46" y="8915"/>
                      <a:pt x="0" y="19805"/>
                    </a:cubicBezTo>
                    <a:close/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1537" name="Gráfico 23">
                <a:extLst>
                  <a:ext uri="{FF2B5EF4-FFF2-40B4-BE49-F238E27FC236}">
                    <a16:creationId xmlns:a16="http://schemas.microsoft.com/office/drawing/2014/main" id="{E22A2937-DEA8-AE71-2E61-8C4E824CEE6F}"/>
                  </a:ext>
                </a:extLst>
              </p:cNvPr>
              <p:cNvGrpSpPr/>
              <p:nvPr/>
            </p:nvGrpSpPr>
            <p:grpSpPr>
              <a:xfrm>
                <a:off x="1600874" y="3639889"/>
                <a:ext cx="39472" cy="96222"/>
                <a:chOff x="1600874" y="3639889"/>
                <a:chExt cx="39472" cy="96222"/>
              </a:xfrm>
            </p:grpSpPr>
            <p:sp>
              <p:nvSpPr>
                <p:cNvPr id="1538" name="Forma livre: Forma 1537">
                  <a:extLst>
                    <a:ext uri="{FF2B5EF4-FFF2-40B4-BE49-F238E27FC236}">
                      <a16:creationId xmlns:a16="http://schemas.microsoft.com/office/drawing/2014/main" id="{4A1925F4-D783-158F-E83C-3226D23B3317}"/>
                    </a:ext>
                  </a:extLst>
                </p:cNvPr>
                <p:cNvSpPr/>
                <p:nvPr/>
              </p:nvSpPr>
              <p:spPr>
                <a:xfrm>
                  <a:off x="1600874" y="3725864"/>
                  <a:ext cx="4319" cy="10247"/>
                </a:xfrm>
                <a:custGeom>
                  <a:avLst/>
                  <a:gdLst>
                    <a:gd name="connsiteX0" fmla="*/ 0 w 4319"/>
                    <a:gd name="connsiteY0" fmla="*/ 10247 h 10247"/>
                    <a:gd name="connsiteX1" fmla="*/ 4319 w 4319"/>
                    <a:gd name="connsiteY1" fmla="*/ 0 h 1024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319" h="10247">
                      <a:moveTo>
                        <a:pt x="0" y="10247"/>
                      </a:moveTo>
                      <a:lnTo>
                        <a:pt x="4319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539" name="Forma livre: Forma 1538">
                  <a:extLst>
                    <a:ext uri="{FF2B5EF4-FFF2-40B4-BE49-F238E27FC236}">
                      <a16:creationId xmlns:a16="http://schemas.microsoft.com/office/drawing/2014/main" id="{4F090D6F-B7C8-1E1C-E6D4-8E010E09EC6A}"/>
                    </a:ext>
                  </a:extLst>
                </p:cNvPr>
                <p:cNvSpPr/>
                <p:nvPr/>
              </p:nvSpPr>
              <p:spPr>
                <a:xfrm>
                  <a:off x="1636027" y="3639889"/>
                  <a:ext cx="4319" cy="10247"/>
                </a:xfrm>
                <a:custGeom>
                  <a:avLst/>
                  <a:gdLst>
                    <a:gd name="connsiteX0" fmla="*/ 0 w 4319"/>
                    <a:gd name="connsiteY0" fmla="*/ 10247 h 10247"/>
                    <a:gd name="connsiteX1" fmla="*/ 4319 w 4319"/>
                    <a:gd name="connsiteY1" fmla="*/ 0 h 1024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319" h="10247">
                      <a:moveTo>
                        <a:pt x="0" y="10247"/>
                      </a:moveTo>
                      <a:lnTo>
                        <a:pt x="4319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1540" name="Gráfico 23">
                <a:extLst>
                  <a:ext uri="{FF2B5EF4-FFF2-40B4-BE49-F238E27FC236}">
                    <a16:creationId xmlns:a16="http://schemas.microsoft.com/office/drawing/2014/main" id="{4CEF6CD6-FB1A-C03E-0D7C-D6685875BEB1}"/>
                  </a:ext>
                </a:extLst>
              </p:cNvPr>
              <p:cNvGrpSpPr/>
              <p:nvPr/>
            </p:nvGrpSpPr>
            <p:grpSpPr>
              <a:xfrm>
                <a:off x="1572660" y="3667920"/>
                <a:ext cx="95900" cy="40161"/>
                <a:chOff x="1572660" y="3667920"/>
                <a:chExt cx="95900" cy="40161"/>
              </a:xfrm>
            </p:grpSpPr>
            <p:sp>
              <p:nvSpPr>
                <p:cNvPr id="1541" name="Forma livre: Forma 1540">
                  <a:extLst>
                    <a:ext uri="{FF2B5EF4-FFF2-40B4-BE49-F238E27FC236}">
                      <a16:creationId xmlns:a16="http://schemas.microsoft.com/office/drawing/2014/main" id="{2EBA865D-EF99-336E-5113-FBC099C49BC1}"/>
                    </a:ext>
                  </a:extLst>
                </p:cNvPr>
                <p:cNvSpPr/>
                <p:nvPr/>
              </p:nvSpPr>
              <p:spPr>
                <a:xfrm>
                  <a:off x="1572660" y="3703854"/>
                  <a:ext cx="10293" cy="4227"/>
                </a:xfrm>
                <a:custGeom>
                  <a:avLst/>
                  <a:gdLst>
                    <a:gd name="connsiteX0" fmla="*/ 0 w 10293"/>
                    <a:gd name="connsiteY0" fmla="*/ 4228 h 4227"/>
                    <a:gd name="connsiteX1" fmla="*/ 10293 w 10293"/>
                    <a:gd name="connsiteY1" fmla="*/ 0 h 422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0293" h="4227">
                      <a:moveTo>
                        <a:pt x="0" y="4228"/>
                      </a:moveTo>
                      <a:lnTo>
                        <a:pt x="10293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542" name="Forma livre: Forma 1541">
                  <a:extLst>
                    <a:ext uri="{FF2B5EF4-FFF2-40B4-BE49-F238E27FC236}">
                      <a16:creationId xmlns:a16="http://schemas.microsoft.com/office/drawing/2014/main" id="{236E4DD0-317C-7B53-8C29-881CBC3EBCC0}"/>
                    </a:ext>
                  </a:extLst>
                </p:cNvPr>
                <p:cNvSpPr/>
                <p:nvPr/>
              </p:nvSpPr>
              <p:spPr>
                <a:xfrm>
                  <a:off x="1658267" y="3667920"/>
                  <a:ext cx="10293" cy="4227"/>
                </a:xfrm>
                <a:custGeom>
                  <a:avLst/>
                  <a:gdLst>
                    <a:gd name="connsiteX0" fmla="*/ 0 w 10293"/>
                    <a:gd name="connsiteY0" fmla="*/ 4228 h 4227"/>
                    <a:gd name="connsiteX1" fmla="*/ 10293 w 10293"/>
                    <a:gd name="connsiteY1" fmla="*/ 0 h 422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0293" h="4227">
                      <a:moveTo>
                        <a:pt x="0" y="4228"/>
                      </a:moveTo>
                      <a:lnTo>
                        <a:pt x="10293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1543" name="Gráfico 23">
                <a:extLst>
                  <a:ext uri="{FF2B5EF4-FFF2-40B4-BE49-F238E27FC236}">
                    <a16:creationId xmlns:a16="http://schemas.microsoft.com/office/drawing/2014/main" id="{88839CCC-6B1E-31BE-2FC2-FE6BFDF07AD1}"/>
                  </a:ext>
                </a:extLst>
              </p:cNvPr>
              <p:cNvGrpSpPr/>
              <p:nvPr/>
            </p:nvGrpSpPr>
            <p:grpSpPr>
              <a:xfrm>
                <a:off x="1572522" y="3668287"/>
                <a:ext cx="96222" cy="39426"/>
                <a:chOff x="1572522" y="3668287"/>
                <a:chExt cx="96222" cy="39426"/>
              </a:xfrm>
            </p:grpSpPr>
            <p:sp>
              <p:nvSpPr>
                <p:cNvPr id="1544" name="Forma livre: Forma 1543">
                  <a:extLst>
                    <a:ext uri="{FF2B5EF4-FFF2-40B4-BE49-F238E27FC236}">
                      <a16:creationId xmlns:a16="http://schemas.microsoft.com/office/drawing/2014/main" id="{746D4D27-3A83-EB1A-BF5F-28E08312A185}"/>
                    </a:ext>
                  </a:extLst>
                </p:cNvPr>
                <p:cNvSpPr/>
                <p:nvPr/>
              </p:nvSpPr>
              <p:spPr>
                <a:xfrm>
                  <a:off x="1572522" y="3668287"/>
                  <a:ext cx="10247" cy="4273"/>
                </a:xfrm>
                <a:custGeom>
                  <a:avLst/>
                  <a:gdLst>
                    <a:gd name="connsiteX0" fmla="*/ 0 w 10247"/>
                    <a:gd name="connsiteY0" fmla="*/ 0 h 4273"/>
                    <a:gd name="connsiteX1" fmla="*/ 10247 w 10247"/>
                    <a:gd name="connsiteY1" fmla="*/ 4273 h 427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0247" h="4273">
                      <a:moveTo>
                        <a:pt x="0" y="0"/>
                      </a:moveTo>
                      <a:lnTo>
                        <a:pt x="10247" y="4273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545" name="Forma livre: Forma 1544">
                  <a:extLst>
                    <a:ext uri="{FF2B5EF4-FFF2-40B4-BE49-F238E27FC236}">
                      <a16:creationId xmlns:a16="http://schemas.microsoft.com/office/drawing/2014/main" id="{9A8B9D7C-3D47-8BAF-64C7-9DA1A6F3248D}"/>
                    </a:ext>
                  </a:extLst>
                </p:cNvPr>
                <p:cNvSpPr/>
                <p:nvPr/>
              </p:nvSpPr>
              <p:spPr>
                <a:xfrm>
                  <a:off x="1658451" y="3703440"/>
                  <a:ext cx="10293" cy="4273"/>
                </a:xfrm>
                <a:custGeom>
                  <a:avLst/>
                  <a:gdLst>
                    <a:gd name="connsiteX0" fmla="*/ 0 w 10293"/>
                    <a:gd name="connsiteY0" fmla="*/ 0 h 4273"/>
                    <a:gd name="connsiteX1" fmla="*/ 10293 w 10293"/>
                    <a:gd name="connsiteY1" fmla="*/ 4273 h 427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0293" h="4273">
                      <a:moveTo>
                        <a:pt x="0" y="0"/>
                      </a:moveTo>
                      <a:lnTo>
                        <a:pt x="10293" y="4273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1546" name="Gráfico 23">
                <a:extLst>
                  <a:ext uri="{FF2B5EF4-FFF2-40B4-BE49-F238E27FC236}">
                    <a16:creationId xmlns:a16="http://schemas.microsoft.com/office/drawing/2014/main" id="{052E4F80-87C8-15CE-C513-141934B627F8}"/>
                  </a:ext>
                </a:extLst>
              </p:cNvPr>
              <p:cNvGrpSpPr/>
              <p:nvPr/>
            </p:nvGrpSpPr>
            <p:grpSpPr>
              <a:xfrm>
                <a:off x="1600552" y="3640027"/>
                <a:ext cx="40115" cy="95946"/>
                <a:chOff x="1600552" y="3640027"/>
                <a:chExt cx="40115" cy="95946"/>
              </a:xfrm>
            </p:grpSpPr>
            <p:sp>
              <p:nvSpPr>
                <p:cNvPr id="1547" name="Forma livre: Forma 1546">
                  <a:extLst>
                    <a:ext uri="{FF2B5EF4-FFF2-40B4-BE49-F238E27FC236}">
                      <a16:creationId xmlns:a16="http://schemas.microsoft.com/office/drawing/2014/main" id="{82D61056-500E-EBBB-C59B-C0A5EB9F2211}"/>
                    </a:ext>
                  </a:extLst>
                </p:cNvPr>
                <p:cNvSpPr/>
                <p:nvPr/>
              </p:nvSpPr>
              <p:spPr>
                <a:xfrm>
                  <a:off x="1636486" y="3725681"/>
                  <a:ext cx="4181" cy="10293"/>
                </a:xfrm>
                <a:custGeom>
                  <a:avLst/>
                  <a:gdLst>
                    <a:gd name="connsiteX0" fmla="*/ 4182 w 4181"/>
                    <a:gd name="connsiteY0" fmla="*/ 10293 h 10293"/>
                    <a:gd name="connsiteX1" fmla="*/ 0 w 4181"/>
                    <a:gd name="connsiteY1" fmla="*/ 0 h 1029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181" h="10293">
                      <a:moveTo>
                        <a:pt x="4182" y="10293"/>
                      </a:moveTo>
                      <a:lnTo>
                        <a:pt x="0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548" name="Forma livre: Forma 1547">
                  <a:extLst>
                    <a:ext uri="{FF2B5EF4-FFF2-40B4-BE49-F238E27FC236}">
                      <a16:creationId xmlns:a16="http://schemas.microsoft.com/office/drawing/2014/main" id="{6D05684A-4A95-3C6A-EE5D-0485EBA1BEE7}"/>
                    </a:ext>
                  </a:extLst>
                </p:cNvPr>
                <p:cNvSpPr/>
                <p:nvPr/>
              </p:nvSpPr>
              <p:spPr>
                <a:xfrm>
                  <a:off x="1600552" y="3640027"/>
                  <a:ext cx="4181" cy="10293"/>
                </a:xfrm>
                <a:custGeom>
                  <a:avLst/>
                  <a:gdLst>
                    <a:gd name="connsiteX0" fmla="*/ 4182 w 4181"/>
                    <a:gd name="connsiteY0" fmla="*/ 10293 h 10293"/>
                    <a:gd name="connsiteX1" fmla="*/ 0 w 4181"/>
                    <a:gd name="connsiteY1" fmla="*/ 0 h 1029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181" h="10293">
                      <a:moveTo>
                        <a:pt x="4182" y="10293"/>
                      </a:moveTo>
                      <a:lnTo>
                        <a:pt x="0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grpSp>
          <p:nvGrpSpPr>
            <p:cNvPr id="1549" name="Gráfico 23">
              <a:extLst>
                <a:ext uri="{FF2B5EF4-FFF2-40B4-BE49-F238E27FC236}">
                  <a16:creationId xmlns:a16="http://schemas.microsoft.com/office/drawing/2014/main" id="{F413F963-1944-0640-C301-332EB554D729}"/>
                </a:ext>
              </a:extLst>
            </p:cNvPr>
            <p:cNvGrpSpPr/>
            <p:nvPr/>
          </p:nvGrpSpPr>
          <p:grpSpPr>
            <a:xfrm>
              <a:off x="1416059" y="3694020"/>
              <a:ext cx="262656" cy="281360"/>
              <a:chOff x="1416059" y="3694020"/>
              <a:chExt cx="262656" cy="281360"/>
            </a:xfrm>
            <a:noFill/>
          </p:grpSpPr>
          <p:sp>
            <p:nvSpPr>
              <p:cNvPr id="1550" name="Forma livre: Forma 1549">
                <a:extLst>
                  <a:ext uri="{FF2B5EF4-FFF2-40B4-BE49-F238E27FC236}">
                    <a16:creationId xmlns:a16="http://schemas.microsoft.com/office/drawing/2014/main" id="{A9CB1EE0-C0DC-B0DF-9A2D-7E4DDF180CAE}"/>
                  </a:ext>
                </a:extLst>
              </p:cNvPr>
              <p:cNvSpPr/>
              <p:nvPr/>
            </p:nvSpPr>
            <p:spPr>
              <a:xfrm>
                <a:off x="1546927" y="3760742"/>
                <a:ext cx="131788" cy="139922"/>
              </a:xfrm>
              <a:custGeom>
                <a:avLst/>
                <a:gdLst>
                  <a:gd name="connsiteX0" fmla="*/ 0 w 131788"/>
                  <a:gd name="connsiteY0" fmla="*/ 136476 h 139922"/>
                  <a:gd name="connsiteX1" fmla="*/ 18197 w 131788"/>
                  <a:gd name="connsiteY1" fmla="*/ 139922 h 139922"/>
                  <a:gd name="connsiteX2" fmla="*/ 50133 w 131788"/>
                  <a:gd name="connsiteY2" fmla="*/ 128297 h 139922"/>
                  <a:gd name="connsiteX3" fmla="*/ 82069 w 131788"/>
                  <a:gd name="connsiteY3" fmla="*/ 139922 h 139922"/>
                  <a:gd name="connsiteX4" fmla="*/ 131789 w 131788"/>
                  <a:gd name="connsiteY4" fmla="*/ 90203 h 139922"/>
                  <a:gd name="connsiteX5" fmla="*/ 100082 w 131788"/>
                  <a:gd name="connsiteY5" fmla="*/ 43884 h 139922"/>
                  <a:gd name="connsiteX6" fmla="*/ 50133 w 131788"/>
                  <a:gd name="connsiteY6" fmla="*/ 0 h 139922"/>
                  <a:gd name="connsiteX7" fmla="*/ 20219 w 131788"/>
                  <a:gd name="connsiteY7" fmla="*/ 10523 h 1399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31788" h="139922">
                    <a:moveTo>
                      <a:pt x="0" y="136476"/>
                    </a:moveTo>
                    <a:cubicBezTo>
                      <a:pt x="5652" y="138682"/>
                      <a:pt x="11764" y="139922"/>
                      <a:pt x="18197" y="139922"/>
                    </a:cubicBezTo>
                    <a:cubicBezTo>
                      <a:pt x="30374" y="139922"/>
                      <a:pt x="41494" y="135511"/>
                      <a:pt x="50133" y="128297"/>
                    </a:cubicBezTo>
                    <a:cubicBezTo>
                      <a:pt x="58772" y="135557"/>
                      <a:pt x="69892" y="139922"/>
                      <a:pt x="82069" y="139922"/>
                    </a:cubicBezTo>
                    <a:cubicBezTo>
                      <a:pt x="109548" y="139922"/>
                      <a:pt x="131789" y="117682"/>
                      <a:pt x="131789" y="90203"/>
                    </a:cubicBezTo>
                    <a:cubicBezTo>
                      <a:pt x="131789" y="69111"/>
                      <a:pt x="118647" y="51098"/>
                      <a:pt x="100082" y="43884"/>
                    </a:cubicBezTo>
                    <a:cubicBezTo>
                      <a:pt x="95120" y="18794"/>
                      <a:pt x="74625" y="0"/>
                      <a:pt x="50133" y="0"/>
                    </a:cubicBezTo>
                    <a:cubicBezTo>
                      <a:pt x="38967" y="0"/>
                      <a:pt x="28628" y="3906"/>
                      <a:pt x="20219" y="10523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551" name="Forma livre: Forma 1550">
                <a:extLst>
                  <a:ext uri="{FF2B5EF4-FFF2-40B4-BE49-F238E27FC236}">
                    <a16:creationId xmlns:a16="http://schemas.microsoft.com/office/drawing/2014/main" id="{8F6E6CC1-F0CF-2BC6-8061-842A482D3305}"/>
                  </a:ext>
                </a:extLst>
              </p:cNvPr>
              <p:cNvSpPr/>
              <p:nvPr/>
            </p:nvSpPr>
            <p:spPr>
              <a:xfrm>
                <a:off x="1596968" y="3822317"/>
                <a:ext cx="4595" cy="124942"/>
              </a:xfrm>
              <a:custGeom>
                <a:avLst/>
                <a:gdLst>
                  <a:gd name="connsiteX0" fmla="*/ 0 w 4595"/>
                  <a:gd name="connsiteY0" fmla="*/ 0 h 124942"/>
                  <a:gd name="connsiteX1" fmla="*/ 0 w 4595"/>
                  <a:gd name="connsiteY1" fmla="*/ 124942 h 1249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595" h="124942">
                    <a:moveTo>
                      <a:pt x="0" y="0"/>
                    </a:moveTo>
                    <a:lnTo>
                      <a:pt x="0" y="124942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1552" name="Gráfico 23">
                <a:extLst>
                  <a:ext uri="{FF2B5EF4-FFF2-40B4-BE49-F238E27FC236}">
                    <a16:creationId xmlns:a16="http://schemas.microsoft.com/office/drawing/2014/main" id="{F949FED7-1E40-955A-89DE-B8CE06897858}"/>
                  </a:ext>
                </a:extLst>
              </p:cNvPr>
              <p:cNvGrpSpPr/>
              <p:nvPr/>
            </p:nvGrpSpPr>
            <p:grpSpPr>
              <a:xfrm>
                <a:off x="1571189" y="3841295"/>
                <a:ext cx="51603" cy="28673"/>
                <a:chOff x="1571189" y="3841295"/>
                <a:chExt cx="51603" cy="28673"/>
              </a:xfrm>
            </p:grpSpPr>
            <p:sp>
              <p:nvSpPr>
                <p:cNvPr id="1553" name="Forma livre: Forma 1552">
                  <a:extLst>
                    <a:ext uri="{FF2B5EF4-FFF2-40B4-BE49-F238E27FC236}">
                      <a16:creationId xmlns:a16="http://schemas.microsoft.com/office/drawing/2014/main" id="{C52DD970-C0B0-E77F-0EED-16AB91B01605}"/>
                    </a:ext>
                  </a:extLst>
                </p:cNvPr>
                <p:cNvSpPr/>
                <p:nvPr/>
              </p:nvSpPr>
              <p:spPr>
                <a:xfrm>
                  <a:off x="1571189" y="3854804"/>
                  <a:ext cx="23297" cy="15163"/>
                </a:xfrm>
                <a:custGeom>
                  <a:avLst/>
                  <a:gdLst>
                    <a:gd name="connsiteX0" fmla="*/ 0 w 23297"/>
                    <a:gd name="connsiteY0" fmla="*/ 0 h 15163"/>
                    <a:gd name="connsiteX1" fmla="*/ 23297 w 23297"/>
                    <a:gd name="connsiteY1" fmla="*/ 15164 h 1516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3297" h="15163">
                      <a:moveTo>
                        <a:pt x="0" y="0"/>
                      </a:moveTo>
                      <a:lnTo>
                        <a:pt x="23297" y="15164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554" name="Forma livre: Forma 1553">
                  <a:extLst>
                    <a:ext uri="{FF2B5EF4-FFF2-40B4-BE49-F238E27FC236}">
                      <a16:creationId xmlns:a16="http://schemas.microsoft.com/office/drawing/2014/main" id="{95F7823B-C2CB-0385-BE28-0CFCEA4B8D31}"/>
                    </a:ext>
                  </a:extLst>
                </p:cNvPr>
                <p:cNvSpPr/>
                <p:nvPr/>
              </p:nvSpPr>
              <p:spPr>
                <a:xfrm>
                  <a:off x="1596968" y="3841295"/>
                  <a:ext cx="25824" cy="10430"/>
                </a:xfrm>
                <a:custGeom>
                  <a:avLst/>
                  <a:gdLst>
                    <a:gd name="connsiteX0" fmla="*/ 25825 w 25824"/>
                    <a:gd name="connsiteY0" fmla="*/ 0 h 10430"/>
                    <a:gd name="connsiteX1" fmla="*/ 0 w 25824"/>
                    <a:gd name="connsiteY1" fmla="*/ 10431 h 1043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5824" h="10430">
                      <a:moveTo>
                        <a:pt x="25825" y="0"/>
                      </a:moveTo>
                      <a:lnTo>
                        <a:pt x="0" y="10431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1555" name="Forma livre: Forma 1554">
                <a:extLst>
                  <a:ext uri="{FF2B5EF4-FFF2-40B4-BE49-F238E27FC236}">
                    <a16:creationId xmlns:a16="http://schemas.microsoft.com/office/drawing/2014/main" id="{31F141A1-9EBE-395D-6F28-64BED073EF69}"/>
                  </a:ext>
                </a:extLst>
              </p:cNvPr>
              <p:cNvSpPr/>
              <p:nvPr/>
            </p:nvSpPr>
            <p:spPr>
              <a:xfrm>
                <a:off x="1416059" y="3694020"/>
                <a:ext cx="138795" cy="200874"/>
              </a:xfrm>
              <a:custGeom>
                <a:avLst/>
                <a:gdLst>
                  <a:gd name="connsiteX0" fmla="*/ 137117 w 138795"/>
                  <a:gd name="connsiteY0" fmla="*/ 116441 h 200874"/>
                  <a:gd name="connsiteX1" fmla="*/ 69155 w 138795"/>
                  <a:gd name="connsiteY1" fmla="*/ 200854 h 200874"/>
                  <a:gd name="connsiteX2" fmla="*/ 1239 w 138795"/>
                  <a:gd name="connsiteY2" fmla="*/ 117176 h 200874"/>
                  <a:gd name="connsiteX3" fmla="*/ 69523 w 138795"/>
                  <a:gd name="connsiteY3" fmla="*/ 0 h 200874"/>
                  <a:gd name="connsiteX4" fmla="*/ 137117 w 138795"/>
                  <a:gd name="connsiteY4" fmla="*/ 116441 h 2008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38795" h="200874">
                    <a:moveTo>
                      <a:pt x="137117" y="116441"/>
                    </a:moveTo>
                    <a:cubicBezTo>
                      <a:pt x="147732" y="177373"/>
                      <a:pt x="105962" y="201681"/>
                      <a:pt x="69155" y="200854"/>
                    </a:cubicBezTo>
                    <a:cubicBezTo>
                      <a:pt x="32348" y="200027"/>
                      <a:pt x="-7584" y="171950"/>
                      <a:pt x="1239" y="117176"/>
                    </a:cubicBezTo>
                    <a:cubicBezTo>
                      <a:pt x="7948" y="75728"/>
                      <a:pt x="32854" y="0"/>
                      <a:pt x="69523" y="0"/>
                    </a:cubicBezTo>
                    <a:cubicBezTo>
                      <a:pt x="106192" y="0"/>
                      <a:pt x="129444" y="72282"/>
                      <a:pt x="137117" y="116441"/>
                    </a:cubicBezTo>
                    <a:close/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1556" name="Gráfico 23">
                <a:extLst>
                  <a:ext uri="{FF2B5EF4-FFF2-40B4-BE49-F238E27FC236}">
                    <a16:creationId xmlns:a16="http://schemas.microsoft.com/office/drawing/2014/main" id="{AB1FCE76-1AD9-0C65-AB18-D0D5074D68F2}"/>
                  </a:ext>
                </a:extLst>
              </p:cNvPr>
              <p:cNvGrpSpPr/>
              <p:nvPr/>
            </p:nvGrpSpPr>
            <p:grpSpPr>
              <a:xfrm>
                <a:off x="1443628" y="3787485"/>
                <a:ext cx="40667" cy="67916"/>
                <a:chOff x="1443628" y="3787485"/>
                <a:chExt cx="40667" cy="67916"/>
              </a:xfrm>
            </p:grpSpPr>
            <p:sp>
              <p:nvSpPr>
                <p:cNvPr id="1557" name="Forma livre: Forma 1556">
                  <a:extLst>
                    <a:ext uri="{FF2B5EF4-FFF2-40B4-BE49-F238E27FC236}">
                      <a16:creationId xmlns:a16="http://schemas.microsoft.com/office/drawing/2014/main" id="{88D069E7-B792-60C9-FF69-6CAFFC5FDB72}"/>
                    </a:ext>
                  </a:extLst>
                </p:cNvPr>
                <p:cNvSpPr/>
                <p:nvPr/>
              </p:nvSpPr>
              <p:spPr>
                <a:xfrm>
                  <a:off x="1443628" y="3821903"/>
                  <a:ext cx="40667" cy="33498"/>
                </a:xfrm>
                <a:custGeom>
                  <a:avLst/>
                  <a:gdLst>
                    <a:gd name="connsiteX0" fmla="*/ 40667 w 40667"/>
                    <a:gd name="connsiteY0" fmla="*/ 33499 h 33498"/>
                    <a:gd name="connsiteX1" fmla="*/ 0 w 40667"/>
                    <a:gd name="connsiteY1" fmla="*/ 0 h 334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0667" h="33498">
                      <a:moveTo>
                        <a:pt x="40667" y="33499"/>
                      </a:moveTo>
                      <a:lnTo>
                        <a:pt x="0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558" name="Forma livre: Forma 1557">
                  <a:extLst>
                    <a:ext uri="{FF2B5EF4-FFF2-40B4-BE49-F238E27FC236}">
                      <a16:creationId xmlns:a16="http://schemas.microsoft.com/office/drawing/2014/main" id="{42C43177-2587-506B-9EB0-ED23A8BCD951}"/>
                    </a:ext>
                  </a:extLst>
                </p:cNvPr>
                <p:cNvSpPr/>
                <p:nvPr/>
              </p:nvSpPr>
              <p:spPr>
                <a:xfrm>
                  <a:off x="1459068" y="3787485"/>
                  <a:ext cx="24538" cy="20264"/>
                </a:xfrm>
                <a:custGeom>
                  <a:avLst/>
                  <a:gdLst>
                    <a:gd name="connsiteX0" fmla="*/ 24538 w 24538"/>
                    <a:gd name="connsiteY0" fmla="*/ 20265 h 20264"/>
                    <a:gd name="connsiteX1" fmla="*/ 0 w 24538"/>
                    <a:gd name="connsiteY1" fmla="*/ 0 h 2026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4538" h="20264">
                      <a:moveTo>
                        <a:pt x="24538" y="20265"/>
                      </a:moveTo>
                      <a:lnTo>
                        <a:pt x="0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1559" name="Gráfico 23">
                <a:extLst>
                  <a:ext uri="{FF2B5EF4-FFF2-40B4-BE49-F238E27FC236}">
                    <a16:creationId xmlns:a16="http://schemas.microsoft.com/office/drawing/2014/main" id="{B9672FE1-FA62-1B87-42B4-B6516915B5E1}"/>
                  </a:ext>
                </a:extLst>
              </p:cNvPr>
              <p:cNvGrpSpPr/>
              <p:nvPr/>
            </p:nvGrpSpPr>
            <p:grpSpPr>
              <a:xfrm>
                <a:off x="1486501" y="3787485"/>
                <a:ext cx="40667" cy="67916"/>
                <a:chOff x="1486501" y="3787485"/>
                <a:chExt cx="40667" cy="67916"/>
              </a:xfrm>
            </p:grpSpPr>
            <p:sp>
              <p:nvSpPr>
                <p:cNvPr id="1560" name="Forma livre: Forma 1559">
                  <a:extLst>
                    <a:ext uri="{FF2B5EF4-FFF2-40B4-BE49-F238E27FC236}">
                      <a16:creationId xmlns:a16="http://schemas.microsoft.com/office/drawing/2014/main" id="{938A26BF-32E0-1CE5-1F41-58200DDF4130}"/>
                    </a:ext>
                  </a:extLst>
                </p:cNvPr>
                <p:cNvSpPr/>
                <p:nvPr/>
              </p:nvSpPr>
              <p:spPr>
                <a:xfrm>
                  <a:off x="1486501" y="3821903"/>
                  <a:ext cx="40667" cy="33498"/>
                </a:xfrm>
                <a:custGeom>
                  <a:avLst/>
                  <a:gdLst>
                    <a:gd name="connsiteX0" fmla="*/ 0 w 40667"/>
                    <a:gd name="connsiteY0" fmla="*/ 33499 h 33498"/>
                    <a:gd name="connsiteX1" fmla="*/ 40667 w 40667"/>
                    <a:gd name="connsiteY1" fmla="*/ 0 h 334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0667" h="33498">
                      <a:moveTo>
                        <a:pt x="0" y="33499"/>
                      </a:moveTo>
                      <a:lnTo>
                        <a:pt x="40667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561" name="Forma livre: Forma 1560">
                  <a:extLst>
                    <a:ext uri="{FF2B5EF4-FFF2-40B4-BE49-F238E27FC236}">
                      <a16:creationId xmlns:a16="http://schemas.microsoft.com/office/drawing/2014/main" id="{34F17D28-3B3D-066D-C0A7-1F4E34033B24}"/>
                    </a:ext>
                  </a:extLst>
                </p:cNvPr>
                <p:cNvSpPr/>
                <p:nvPr/>
              </p:nvSpPr>
              <p:spPr>
                <a:xfrm>
                  <a:off x="1487190" y="3787485"/>
                  <a:ext cx="24492" cy="20264"/>
                </a:xfrm>
                <a:custGeom>
                  <a:avLst/>
                  <a:gdLst>
                    <a:gd name="connsiteX0" fmla="*/ 0 w 24492"/>
                    <a:gd name="connsiteY0" fmla="*/ 20265 h 20264"/>
                    <a:gd name="connsiteX1" fmla="*/ 24492 w 24492"/>
                    <a:gd name="connsiteY1" fmla="*/ 0 h 2026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4492" h="20264">
                      <a:moveTo>
                        <a:pt x="0" y="20265"/>
                      </a:moveTo>
                      <a:lnTo>
                        <a:pt x="24492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1562" name="Forma livre: Forma 1561">
                <a:extLst>
                  <a:ext uri="{FF2B5EF4-FFF2-40B4-BE49-F238E27FC236}">
                    <a16:creationId xmlns:a16="http://schemas.microsoft.com/office/drawing/2014/main" id="{4A6B7E2D-F7EB-74F5-FF8A-BC4911C46826}"/>
                  </a:ext>
                </a:extLst>
              </p:cNvPr>
              <p:cNvSpPr/>
              <p:nvPr/>
            </p:nvSpPr>
            <p:spPr>
              <a:xfrm>
                <a:off x="1485444" y="3763637"/>
                <a:ext cx="4595" cy="185873"/>
              </a:xfrm>
              <a:custGeom>
                <a:avLst/>
                <a:gdLst>
                  <a:gd name="connsiteX0" fmla="*/ 0 w 4595"/>
                  <a:gd name="connsiteY0" fmla="*/ 0 h 185873"/>
                  <a:gd name="connsiteX1" fmla="*/ 0 w 4595"/>
                  <a:gd name="connsiteY1" fmla="*/ 185874 h 1858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595" h="185873">
                    <a:moveTo>
                      <a:pt x="0" y="0"/>
                    </a:moveTo>
                    <a:lnTo>
                      <a:pt x="0" y="185874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563" name="Forma livre: Forma 1562">
                <a:extLst>
                  <a:ext uri="{FF2B5EF4-FFF2-40B4-BE49-F238E27FC236}">
                    <a16:creationId xmlns:a16="http://schemas.microsoft.com/office/drawing/2014/main" id="{9035ACA1-3E09-4D26-D3E9-927AD130DD57}"/>
                  </a:ext>
                </a:extLst>
              </p:cNvPr>
              <p:cNvSpPr/>
              <p:nvPr/>
            </p:nvSpPr>
            <p:spPr>
              <a:xfrm>
                <a:off x="1430578" y="3944318"/>
                <a:ext cx="232009" cy="31063"/>
              </a:xfrm>
              <a:custGeom>
                <a:avLst/>
                <a:gdLst>
                  <a:gd name="connsiteX0" fmla="*/ 0 w 232009"/>
                  <a:gd name="connsiteY0" fmla="*/ 31063 h 31063"/>
                  <a:gd name="connsiteX1" fmla="*/ 116119 w 232009"/>
                  <a:gd name="connsiteY1" fmla="*/ 0 h 31063"/>
                  <a:gd name="connsiteX2" fmla="*/ 232009 w 232009"/>
                  <a:gd name="connsiteY2" fmla="*/ 30879 h 310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32009" h="31063">
                    <a:moveTo>
                      <a:pt x="0" y="31063"/>
                    </a:moveTo>
                    <a:cubicBezTo>
                      <a:pt x="23619" y="12453"/>
                      <a:pt x="66813" y="0"/>
                      <a:pt x="116119" y="0"/>
                    </a:cubicBezTo>
                    <a:cubicBezTo>
                      <a:pt x="165425" y="0"/>
                      <a:pt x="208344" y="12361"/>
                      <a:pt x="232009" y="30879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564" name="Gráfico 23">
            <a:extLst>
              <a:ext uri="{FF2B5EF4-FFF2-40B4-BE49-F238E27FC236}">
                <a16:creationId xmlns:a16="http://schemas.microsoft.com/office/drawing/2014/main" id="{1847B752-87DD-26F0-3331-199322E47BE8}"/>
              </a:ext>
            </a:extLst>
          </p:cNvPr>
          <p:cNvGrpSpPr/>
          <p:nvPr/>
        </p:nvGrpSpPr>
        <p:grpSpPr>
          <a:xfrm>
            <a:off x="1351495" y="4185287"/>
            <a:ext cx="391874" cy="245564"/>
            <a:chOff x="1351495" y="4185287"/>
            <a:chExt cx="391874" cy="245564"/>
          </a:xfrm>
          <a:noFill/>
        </p:grpSpPr>
        <p:sp>
          <p:nvSpPr>
            <p:cNvPr id="1565" name="Forma livre: Forma 1564">
              <a:extLst>
                <a:ext uri="{FF2B5EF4-FFF2-40B4-BE49-F238E27FC236}">
                  <a16:creationId xmlns:a16="http://schemas.microsoft.com/office/drawing/2014/main" id="{14D44417-7C39-D311-F596-1195BDB4AB31}"/>
                </a:ext>
              </a:extLst>
            </p:cNvPr>
            <p:cNvSpPr/>
            <p:nvPr/>
          </p:nvSpPr>
          <p:spPr>
            <a:xfrm>
              <a:off x="1379204" y="4347864"/>
              <a:ext cx="55325" cy="55325"/>
            </a:xfrm>
            <a:custGeom>
              <a:avLst/>
              <a:gdLst>
                <a:gd name="connsiteX0" fmla="*/ 55326 w 55325"/>
                <a:gd name="connsiteY0" fmla="*/ 27663 h 55325"/>
                <a:gd name="connsiteX1" fmla="*/ 27663 w 55325"/>
                <a:gd name="connsiteY1" fmla="*/ 55326 h 55325"/>
                <a:gd name="connsiteX2" fmla="*/ 0 w 55325"/>
                <a:gd name="connsiteY2" fmla="*/ 27663 h 55325"/>
                <a:gd name="connsiteX3" fmla="*/ 27663 w 55325"/>
                <a:gd name="connsiteY3" fmla="*/ 0 h 55325"/>
                <a:gd name="connsiteX4" fmla="*/ 55326 w 55325"/>
                <a:gd name="connsiteY4" fmla="*/ 27663 h 553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5" h="55325">
                  <a:moveTo>
                    <a:pt x="55326" y="27663"/>
                  </a:moveTo>
                  <a:cubicBezTo>
                    <a:pt x="55326" y="42965"/>
                    <a:pt x="42919" y="55326"/>
                    <a:pt x="27663" y="55326"/>
                  </a:cubicBezTo>
                  <a:cubicBezTo>
                    <a:pt x="12407" y="55326"/>
                    <a:pt x="0" y="42919"/>
                    <a:pt x="0" y="27663"/>
                  </a:cubicBezTo>
                  <a:cubicBezTo>
                    <a:pt x="0" y="12407"/>
                    <a:pt x="12407" y="0"/>
                    <a:pt x="27663" y="0"/>
                  </a:cubicBezTo>
                  <a:cubicBezTo>
                    <a:pt x="42919" y="0"/>
                    <a:pt x="55326" y="12407"/>
                    <a:pt x="55326" y="27663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66" name="Forma livre: Forma 1565">
              <a:extLst>
                <a:ext uri="{FF2B5EF4-FFF2-40B4-BE49-F238E27FC236}">
                  <a16:creationId xmlns:a16="http://schemas.microsoft.com/office/drawing/2014/main" id="{C69405D5-6654-211E-44BD-89D929663D41}"/>
                </a:ext>
              </a:extLst>
            </p:cNvPr>
            <p:cNvSpPr/>
            <p:nvPr/>
          </p:nvSpPr>
          <p:spPr>
            <a:xfrm>
              <a:off x="1351495" y="4320201"/>
              <a:ext cx="110651" cy="110651"/>
            </a:xfrm>
            <a:custGeom>
              <a:avLst/>
              <a:gdLst>
                <a:gd name="connsiteX0" fmla="*/ 110651 w 110651"/>
                <a:gd name="connsiteY0" fmla="*/ 55326 h 110651"/>
                <a:gd name="connsiteX1" fmla="*/ 55326 w 110651"/>
                <a:gd name="connsiteY1" fmla="*/ 110651 h 110651"/>
                <a:gd name="connsiteX2" fmla="*/ 0 w 110651"/>
                <a:gd name="connsiteY2" fmla="*/ 55326 h 110651"/>
                <a:gd name="connsiteX3" fmla="*/ 55326 w 110651"/>
                <a:gd name="connsiteY3" fmla="*/ 0 h 110651"/>
                <a:gd name="connsiteX4" fmla="*/ 110651 w 110651"/>
                <a:gd name="connsiteY4" fmla="*/ 55326 h 1106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0651" h="110651">
                  <a:moveTo>
                    <a:pt x="110651" y="55326"/>
                  </a:moveTo>
                  <a:cubicBezTo>
                    <a:pt x="110651" y="85881"/>
                    <a:pt x="85881" y="110651"/>
                    <a:pt x="55326" y="110651"/>
                  </a:cubicBezTo>
                  <a:cubicBezTo>
                    <a:pt x="24770" y="110651"/>
                    <a:pt x="0" y="85881"/>
                    <a:pt x="0" y="55326"/>
                  </a:cubicBezTo>
                  <a:cubicBezTo>
                    <a:pt x="0" y="24770"/>
                    <a:pt x="24770" y="0"/>
                    <a:pt x="55326" y="0"/>
                  </a:cubicBezTo>
                  <a:cubicBezTo>
                    <a:pt x="85881" y="0"/>
                    <a:pt x="110651" y="24770"/>
                    <a:pt x="110651" y="55326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67" name="Forma livre: Forma 1566">
              <a:extLst>
                <a:ext uri="{FF2B5EF4-FFF2-40B4-BE49-F238E27FC236}">
                  <a16:creationId xmlns:a16="http://schemas.microsoft.com/office/drawing/2014/main" id="{98801FD1-BB49-CF5E-3707-CC10E2B8A7F6}"/>
                </a:ext>
              </a:extLst>
            </p:cNvPr>
            <p:cNvSpPr/>
            <p:nvPr/>
          </p:nvSpPr>
          <p:spPr>
            <a:xfrm>
              <a:off x="1481446" y="4197463"/>
              <a:ext cx="201681" cy="159820"/>
            </a:xfrm>
            <a:custGeom>
              <a:avLst/>
              <a:gdLst>
                <a:gd name="connsiteX0" fmla="*/ 201681 w 201681"/>
                <a:gd name="connsiteY0" fmla="*/ 1 h 159820"/>
                <a:gd name="connsiteX1" fmla="*/ 192812 w 201681"/>
                <a:gd name="connsiteY1" fmla="*/ 1 h 159820"/>
                <a:gd name="connsiteX2" fmla="*/ 162347 w 201681"/>
                <a:gd name="connsiteY2" fmla="*/ 34189 h 159820"/>
                <a:gd name="connsiteX3" fmla="*/ 150170 w 201681"/>
                <a:gd name="connsiteY3" fmla="*/ 85425 h 159820"/>
                <a:gd name="connsiteX4" fmla="*/ 116763 w 201681"/>
                <a:gd name="connsiteY4" fmla="*/ 130733 h 159820"/>
                <a:gd name="connsiteX5" fmla="*/ 0 w 201681"/>
                <a:gd name="connsiteY5" fmla="*/ 159820 h 1598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1681" h="159820">
                  <a:moveTo>
                    <a:pt x="201681" y="1"/>
                  </a:moveTo>
                  <a:lnTo>
                    <a:pt x="192812" y="1"/>
                  </a:lnTo>
                  <a:cubicBezTo>
                    <a:pt x="192812" y="1"/>
                    <a:pt x="172042" y="-734"/>
                    <a:pt x="162347" y="34189"/>
                  </a:cubicBezTo>
                  <a:lnTo>
                    <a:pt x="150170" y="85425"/>
                  </a:lnTo>
                  <a:cubicBezTo>
                    <a:pt x="150170" y="85425"/>
                    <a:pt x="145712" y="121083"/>
                    <a:pt x="116763" y="130733"/>
                  </a:cubicBezTo>
                  <a:lnTo>
                    <a:pt x="0" y="15982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68" name="Forma livre: Forma 1567">
              <a:extLst>
                <a:ext uri="{FF2B5EF4-FFF2-40B4-BE49-F238E27FC236}">
                  <a16:creationId xmlns:a16="http://schemas.microsoft.com/office/drawing/2014/main" id="{4CDCD3B3-F995-1B7C-4719-307DED71C364}"/>
                </a:ext>
              </a:extLst>
            </p:cNvPr>
            <p:cNvSpPr/>
            <p:nvPr/>
          </p:nvSpPr>
          <p:spPr>
            <a:xfrm>
              <a:off x="1531257" y="4328932"/>
              <a:ext cx="68421" cy="68375"/>
            </a:xfrm>
            <a:custGeom>
              <a:avLst/>
              <a:gdLst>
                <a:gd name="connsiteX0" fmla="*/ 0 w 68421"/>
                <a:gd name="connsiteY0" fmla="*/ 15624 h 68375"/>
                <a:gd name="connsiteX1" fmla="*/ 54039 w 68421"/>
                <a:gd name="connsiteY1" fmla="*/ 68376 h 68375"/>
                <a:gd name="connsiteX2" fmla="*/ 68422 w 68421"/>
                <a:gd name="connsiteY2" fmla="*/ 0 h 683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8421" h="68375">
                  <a:moveTo>
                    <a:pt x="0" y="15624"/>
                  </a:moveTo>
                  <a:lnTo>
                    <a:pt x="54039" y="68376"/>
                  </a:lnTo>
                  <a:lnTo>
                    <a:pt x="68422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69" name="Forma livre: Forma 1568">
              <a:extLst>
                <a:ext uri="{FF2B5EF4-FFF2-40B4-BE49-F238E27FC236}">
                  <a16:creationId xmlns:a16="http://schemas.microsoft.com/office/drawing/2014/main" id="{8552F7E3-1689-BD25-B950-B4452BAFC84B}"/>
                </a:ext>
              </a:extLst>
            </p:cNvPr>
            <p:cNvSpPr/>
            <p:nvPr/>
          </p:nvSpPr>
          <p:spPr>
            <a:xfrm>
              <a:off x="1356550" y="4223473"/>
              <a:ext cx="260407" cy="101358"/>
            </a:xfrm>
            <a:custGeom>
              <a:avLst/>
              <a:gdLst>
                <a:gd name="connsiteX0" fmla="*/ 230171 w 260407"/>
                <a:gd name="connsiteY0" fmla="*/ 80185 h 101358"/>
                <a:gd name="connsiteX1" fmla="*/ 239591 w 260407"/>
                <a:gd name="connsiteY1" fmla="*/ 70444 h 101358"/>
                <a:gd name="connsiteX2" fmla="*/ 240373 w 260407"/>
                <a:gd name="connsiteY2" fmla="*/ 65757 h 101358"/>
                <a:gd name="connsiteX3" fmla="*/ 240373 w 260407"/>
                <a:gd name="connsiteY3" fmla="*/ 65435 h 101358"/>
                <a:gd name="connsiteX4" fmla="*/ 240373 w 260407"/>
                <a:gd name="connsiteY4" fmla="*/ 65435 h 101358"/>
                <a:gd name="connsiteX5" fmla="*/ 244554 w 260407"/>
                <a:gd name="connsiteY5" fmla="*/ 24308 h 101358"/>
                <a:gd name="connsiteX6" fmla="*/ 249149 w 260407"/>
                <a:gd name="connsiteY6" fmla="*/ 24308 h 101358"/>
                <a:gd name="connsiteX7" fmla="*/ 260407 w 260407"/>
                <a:gd name="connsiteY7" fmla="*/ 12223 h 101358"/>
                <a:gd name="connsiteX8" fmla="*/ 249241 w 260407"/>
                <a:gd name="connsiteY8" fmla="*/ 184 h 101358"/>
                <a:gd name="connsiteX9" fmla="*/ 249241 w 260407"/>
                <a:gd name="connsiteY9" fmla="*/ 0 h 101358"/>
                <a:gd name="connsiteX10" fmla="*/ 11121 w 260407"/>
                <a:gd name="connsiteY10" fmla="*/ 0 h 101358"/>
                <a:gd name="connsiteX11" fmla="*/ 0 w 260407"/>
                <a:gd name="connsiteY11" fmla="*/ 12085 h 101358"/>
                <a:gd name="connsiteX12" fmla="*/ 11166 w 260407"/>
                <a:gd name="connsiteY12" fmla="*/ 24125 h 101358"/>
                <a:gd name="connsiteX13" fmla="*/ 19713 w 260407"/>
                <a:gd name="connsiteY13" fmla="*/ 24125 h 101358"/>
                <a:gd name="connsiteX14" fmla="*/ 94522 w 260407"/>
                <a:gd name="connsiteY14" fmla="*/ 84780 h 101358"/>
                <a:gd name="connsiteX15" fmla="*/ 152284 w 260407"/>
                <a:gd name="connsiteY15" fmla="*/ 98060 h 101358"/>
                <a:gd name="connsiteX16" fmla="*/ 230401 w 260407"/>
                <a:gd name="connsiteY16" fmla="*/ 80231 h 101358"/>
                <a:gd name="connsiteX17" fmla="*/ 230171 w 260407"/>
                <a:gd name="connsiteY17" fmla="*/ 80139 h 1013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260407" h="101358">
                  <a:moveTo>
                    <a:pt x="230171" y="80185"/>
                  </a:moveTo>
                  <a:cubicBezTo>
                    <a:pt x="230171" y="80185"/>
                    <a:pt x="237110" y="78991"/>
                    <a:pt x="239591" y="70444"/>
                  </a:cubicBezTo>
                  <a:lnTo>
                    <a:pt x="240373" y="65757"/>
                  </a:lnTo>
                  <a:cubicBezTo>
                    <a:pt x="240373" y="65757"/>
                    <a:pt x="240373" y="65573"/>
                    <a:pt x="240373" y="65435"/>
                  </a:cubicBezTo>
                  <a:lnTo>
                    <a:pt x="240373" y="65435"/>
                  </a:lnTo>
                  <a:cubicBezTo>
                    <a:pt x="240373" y="65435"/>
                    <a:pt x="244554" y="24308"/>
                    <a:pt x="244554" y="24308"/>
                  </a:cubicBezTo>
                  <a:lnTo>
                    <a:pt x="249149" y="24308"/>
                  </a:lnTo>
                  <a:cubicBezTo>
                    <a:pt x="255307" y="24308"/>
                    <a:pt x="260453" y="18381"/>
                    <a:pt x="260407" y="12223"/>
                  </a:cubicBezTo>
                  <a:cubicBezTo>
                    <a:pt x="260407" y="6066"/>
                    <a:pt x="255399" y="184"/>
                    <a:pt x="249241" y="184"/>
                  </a:cubicBezTo>
                  <a:cubicBezTo>
                    <a:pt x="249241" y="184"/>
                    <a:pt x="249241" y="0"/>
                    <a:pt x="249241" y="0"/>
                  </a:cubicBezTo>
                  <a:lnTo>
                    <a:pt x="11121" y="0"/>
                  </a:lnTo>
                  <a:cubicBezTo>
                    <a:pt x="4963" y="0"/>
                    <a:pt x="-46" y="5928"/>
                    <a:pt x="0" y="12085"/>
                  </a:cubicBezTo>
                  <a:cubicBezTo>
                    <a:pt x="0" y="18243"/>
                    <a:pt x="5009" y="24125"/>
                    <a:pt x="11166" y="24125"/>
                  </a:cubicBezTo>
                  <a:lnTo>
                    <a:pt x="19713" y="24125"/>
                  </a:lnTo>
                  <a:cubicBezTo>
                    <a:pt x="46228" y="46549"/>
                    <a:pt x="94522" y="84780"/>
                    <a:pt x="94522" y="84780"/>
                  </a:cubicBezTo>
                  <a:cubicBezTo>
                    <a:pt x="122047" y="104953"/>
                    <a:pt x="131238" y="103023"/>
                    <a:pt x="152284" y="98060"/>
                  </a:cubicBezTo>
                  <a:lnTo>
                    <a:pt x="230401" y="80231"/>
                  </a:lnTo>
                  <a:lnTo>
                    <a:pt x="230171" y="80139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70" name="Forma livre: Forma 1569">
              <a:extLst>
                <a:ext uri="{FF2B5EF4-FFF2-40B4-BE49-F238E27FC236}">
                  <a16:creationId xmlns:a16="http://schemas.microsoft.com/office/drawing/2014/main" id="{F3BD4340-7315-64C9-9888-D06165B1F25F}"/>
                </a:ext>
              </a:extLst>
            </p:cNvPr>
            <p:cNvSpPr/>
            <p:nvPr/>
          </p:nvSpPr>
          <p:spPr>
            <a:xfrm>
              <a:off x="1683616" y="4185287"/>
              <a:ext cx="59753" cy="26008"/>
            </a:xfrm>
            <a:custGeom>
              <a:avLst/>
              <a:gdLst>
                <a:gd name="connsiteX0" fmla="*/ 51344 w 59753"/>
                <a:gd name="connsiteY0" fmla="*/ 0 h 26008"/>
                <a:gd name="connsiteX1" fmla="*/ 42430 w 59753"/>
                <a:gd name="connsiteY1" fmla="*/ 138 h 26008"/>
                <a:gd name="connsiteX2" fmla="*/ 33423 w 59753"/>
                <a:gd name="connsiteY2" fmla="*/ 460 h 26008"/>
                <a:gd name="connsiteX3" fmla="*/ 3463 w 59753"/>
                <a:gd name="connsiteY3" fmla="*/ 3538 h 26008"/>
                <a:gd name="connsiteX4" fmla="*/ 17 w 59753"/>
                <a:gd name="connsiteY4" fmla="*/ 7490 h 26008"/>
                <a:gd name="connsiteX5" fmla="*/ 17 w 59753"/>
                <a:gd name="connsiteY5" fmla="*/ 18518 h 26008"/>
                <a:gd name="connsiteX6" fmla="*/ 3463 w 59753"/>
                <a:gd name="connsiteY6" fmla="*/ 22470 h 26008"/>
                <a:gd name="connsiteX7" fmla="*/ 33469 w 59753"/>
                <a:gd name="connsiteY7" fmla="*/ 25549 h 26008"/>
                <a:gd name="connsiteX8" fmla="*/ 51299 w 59753"/>
                <a:gd name="connsiteY8" fmla="*/ 26009 h 26008"/>
                <a:gd name="connsiteX9" fmla="*/ 51390 w 59753"/>
                <a:gd name="connsiteY9" fmla="*/ 26009 h 26008"/>
                <a:gd name="connsiteX10" fmla="*/ 51482 w 59753"/>
                <a:gd name="connsiteY10" fmla="*/ 26009 h 26008"/>
                <a:gd name="connsiteX11" fmla="*/ 59754 w 59753"/>
                <a:gd name="connsiteY11" fmla="*/ 13050 h 26008"/>
                <a:gd name="connsiteX12" fmla="*/ 59754 w 59753"/>
                <a:gd name="connsiteY12" fmla="*/ 13050 h 26008"/>
                <a:gd name="connsiteX13" fmla="*/ 59754 w 59753"/>
                <a:gd name="connsiteY13" fmla="*/ 13050 h 26008"/>
                <a:gd name="connsiteX14" fmla="*/ 51528 w 59753"/>
                <a:gd name="connsiteY14" fmla="*/ 46 h 26008"/>
                <a:gd name="connsiteX15" fmla="*/ 51436 w 59753"/>
                <a:gd name="connsiteY15" fmla="*/ 46 h 260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59753" h="26008">
                  <a:moveTo>
                    <a:pt x="51344" y="0"/>
                  </a:moveTo>
                  <a:cubicBezTo>
                    <a:pt x="51344" y="0"/>
                    <a:pt x="42522" y="138"/>
                    <a:pt x="42430" y="138"/>
                  </a:cubicBezTo>
                  <a:lnTo>
                    <a:pt x="33423" y="460"/>
                  </a:lnTo>
                  <a:cubicBezTo>
                    <a:pt x="14583" y="1057"/>
                    <a:pt x="3463" y="3538"/>
                    <a:pt x="3463" y="3538"/>
                  </a:cubicBezTo>
                  <a:cubicBezTo>
                    <a:pt x="-443" y="4273"/>
                    <a:pt x="17" y="7490"/>
                    <a:pt x="17" y="7490"/>
                  </a:cubicBezTo>
                  <a:lnTo>
                    <a:pt x="17" y="18518"/>
                  </a:lnTo>
                  <a:cubicBezTo>
                    <a:pt x="17" y="18518"/>
                    <a:pt x="-443" y="21735"/>
                    <a:pt x="3463" y="22470"/>
                  </a:cubicBezTo>
                  <a:cubicBezTo>
                    <a:pt x="3463" y="22470"/>
                    <a:pt x="22900" y="25549"/>
                    <a:pt x="33469" y="25549"/>
                  </a:cubicBezTo>
                  <a:lnTo>
                    <a:pt x="51299" y="26009"/>
                  </a:lnTo>
                  <a:cubicBezTo>
                    <a:pt x="51299" y="26009"/>
                    <a:pt x="51390" y="26009"/>
                    <a:pt x="51390" y="26009"/>
                  </a:cubicBezTo>
                  <a:cubicBezTo>
                    <a:pt x="51390" y="26009"/>
                    <a:pt x="51390" y="26009"/>
                    <a:pt x="51482" y="26009"/>
                  </a:cubicBezTo>
                  <a:cubicBezTo>
                    <a:pt x="52401" y="26009"/>
                    <a:pt x="59708" y="26284"/>
                    <a:pt x="59754" y="13050"/>
                  </a:cubicBezTo>
                  <a:cubicBezTo>
                    <a:pt x="59754" y="13050"/>
                    <a:pt x="59754" y="13050"/>
                    <a:pt x="59754" y="13050"/>
                  </a:cubicBezTo>
                  <a:lnTo>
                    <a:pt x="59754" y="13050"/>
                  </a:lnTo>
                  <a:cubicBezTo>
                    <a:pt x="59754" y="-230"/>
                    <a:pt x="52401" y="0"/>
                    <a:pt x="51528" y="46"/>
                  </a:cubicBezTo>
                  <a:lnTo>
                    <a:pt x="51436" y="46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71" name="Forma livre: Forma 1570">
              <a:extLst>
                <a:ext uri="{FF2B5EF4-FFF2-40B4-BE49-F238E27FC236}">
                  <a16:creationId xmlns:a16="http://schemas.microsoft.com/office/drawing/2014/main" id="{5DF738A9-BF69-72F5-2784-66555D09F359}"/>
                </a:ext>
              </a:extLst>
            </p:cNvPr>
            <p:cNvSpPr/>
            <p:nvPr/>
          </p:nvSpPr>
          <p:spPr>
            <a:xfrm>
              <a:off x="1431818" y="4247827"/>
              <a:ext cx="170571" cy="4595"/>
            </a:xfrm>
            <a:custGeom>
              <a:avLst/>
              <a:gdLst>
                <a:gd name="connsiteX0" fmla="*/ 170572 w 170571"/>
                <a:gd name="connsiteY0" fmla="*/ 0 h 4595"/>
                <a:gd name="connsiteX1" fmla="*/ 0 w 170571"/>
                <a:gd name="connsiteY1" fmla="*/ 0 h 45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70571" h="4595">
                  <a:moveTo>
                    <a:pt x="170572" y="0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572" name="Gráfico 23">
            <a:extLst>
              <a:ext uri="{FF2B5EF4-FFF2-40B4-BE49-F238E27FC236}">
                <a16:creationId xmlns:a16="http://schemas.microsoft.com/office/drawing/2014/main" id="{85A9C4FC-2DAE-CF4F-1834-6D24BFC85D41}"/>
              </a:ext>
            </a:extLst>
          </p:cNvPr>
          <p:cNvGrpSpPr/>
          <p:nvPr/>
        </p:nvGrpSpPr>
        <p:grpSpPr>
          <a:xfrm>
            <a:off x="1958468" y="5194011"/>
            <a:ext cx="375239" cy="229944"/>
            <a:chOff x="1958468" y="5194011"/>
            <a:chExt cx="375239" cy="229944"/>
          </a:xfrm>
          <a:noFill/>
        </p:grpSpPr>
        <p:sp>
          <p:nvSpPr>
            <p:cNvPr id="1573" name="Forma livre: Forma 1572">
              <a:extLst>
                <a:ext uri="{FF2B5EF4-FFF2-40B4-BE49-F238E27FC236}">
                  <a16:creationId xmlns:a16="http://schemas.microsoft.com/office/drawing/2014/main" id="{EFBAA762-5EDB-4C2E-33BD-D835D6EAE08F}"/>
                </a:ext>
              </a:extLst>
            </p:cNvPr>
            <p:cNvSpPr/>
            <p:nvPr/>
          </p:nvSpPr>
          <p:spPr>
            <a:xfrm>
              <a:off x="2230042" y="5194011"/>
              <a:ext cx="87771" cy="82577"/>
            </a:xfrm>
            <a:custGeom>
              <a:avLst/>
              <a:gdLst>
                <a:gd name="connsiteX0" fmla="*/ 0 w 87771"/>
                <a:gd name="connsiteY0" fmla="*/ 22290 h 82577"/>
                <a:gd name="connsiteX1" fmla="*/ 13096 w 87771"/>
                <a:gd name="connsiteY1" fmla="*/ 9469 h 82577"/>
                <a:gd name="connsiteX2" fmla="*/ 48892 w 87771"/>
                <a:gd name="connsiteY2" fmla="*/ 6344 h 82577"/>
                <a:gd name="connsiteX3" fmla="*/ 79542 w 87771"/>
                <a:gd name="connsiteY3" fmla="*/ 32537 h 82577"/>
                <a:gd name="connsiteX4" fmla="*/ 80921 w 87771"/>
                <a:gd name="connsiteY4" fmla="*/ 68425 h 82577"/>
                <a:gd name="connsiteX5" fmla="*/ 68330 w 87771"/>
                <a:gd name="connsiteY5" fmla="*/ 82578 h 825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87771" h="82577">
                  <a:moveTo>
                    <a:pt x="0" y="22290"/>
                  </a:moveTo>
                  <a:lnTo>
                    <a:pt x="13096" y="9469"/>
                  </a:lnTo>
                  <a:cubicBezTo>
                    <a:pt x="25044" y="-2478"/>
                    <a:pt x="38691" y="-2662"/>
                    <a:pt x="48892" y="6344"/>
                  </a:cubicBezTo>
                  <a:lnTo>
                    <a:pt x="79542" y="32537"/>
                  </a:lnTo>
                  <a:cubicBezTo>
                    <a:pt x="89743" y="41543"/>
                    <a:pt x="90754" y="58637"/>
                    <a:pt x="80921" y="68425"/>
                  </a:cubicBezTo>
                  <a:lnTo>
                    <a:pt x="68330" y="82578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74" name="Forma livre: Forma 1573">
              <a:extLst>
                <a:ext uri="{FF2B5EF4-FFF2-40B4-BE49-F238E27FC236}">
                  <a16:creationId xmlns:a16="http://schemas.microsoft.com/office/drawing/2014/main" id="{6962D132-5861-E8D2-F485-761F0016B758}"/>
                </a:ext>
              </a:extLst>
            </p:cNvPr>
            <p:cNvSpPr/>
            <p:nvPr/>
          </p:nvSpPr>
          <p:spPr>
            <a:xfrm>
              <a:off x="2102389" y="5206329"/>
              <a:ext cx="231319" cy="199521"/>
            </a:xfrm>
            <a:custGeom>
              <a:avLst/>
              <a:gdLst>
                <a:gd name="connsiteX0" fmla="*/ 505 w 231319"/>
                <a:gd name="connsiteY0" fmla="*/ 151410 h 199521"/>
                <a:gd name="connsiteX1" fmla="*/ 92133 w 231319"/>
                <a:gd name="connsiteY1" fmla="*/ 151410 h 199521"/>
                <a:gd name="connsiteX2" fmla="*/ 134546 w 231319"/>
                <a:gd name="connsiteY2" fmla="*/ 199521 h 199521"/>
                <a:gd name="connsiteX3" fmla="*/ 231320 w 231319"/>
                <a:gd name="connsiteY3" fmla="*/ 102701 h 199521"/>
                <a:gd name="connsiteX4" fmla="*/ 114741 w 231319"/>
                <a:gd name="connsiteY4" fmla="*/ 0 h 199521"/>
                <a:gd name="connsiteX5" fmla="*/ 31798 w 231319"/>
                <a:gd name="connsiteY5" fmla="*/ 82896 h 199521"/>
                <a:gd name="connsiteX6" fmla="*/ 67319 w 231319"/>
                <a:gd name="connsiteY6" fmla="*/ 123380 h 199521"/>
                <a:gd name="connsiteX7" fmla="*/ 0 w 231319"/>
                <a:gd name="connsiteY7" fmla="*/ 123380 h 1995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31319" h="199521">
                  <a:moveTo>
                    <a:pt x="505" y="151410"/>
                  </a:moveTo>
                  <a:lnTo>
                    <a:pt x="92133" y="151410"/>
                  </a:lnTo>
                  <a:lnTo>
                    <a:pt x="134546" y="199521"/>
                  </a:lnTo>
                  <a:lnTo>
                    <a:pt x="231320" y="102701"/>
                  </a:lnTo>
                  <a:lnTo>
                    <a:pt x="114741" y="0"/>
                  </a:lnTo>
                  <a:lnTo>
                    <a:pt x="31798" y="82896"/>
                  </a:lnTo>
                  <a:lnTo>
                    <a:pt x="67319" y="123380"/>
                  </a:lnTo>
                  <a:lnTo>
                    <a:pt x="0" y="123380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75" name="Forma livre: Forma 1574">
              <a:extLst>
                <a:ext uri="{FF2B5EF4-FFF2-40B4-BE49-F238E27FC236}">
                  <a16:creationId xmlns:a16="http://schemas.microsoft.com/office/drawing/2014/main" id="{ED3D61D1-90D8-563D-5A1F-079BF5826A43}"/>
                </a:ext>
              </a:extLst>
            </p:cNvPr>
            <p:cNvSpPr/>
            <p:nvPr/>
          </p:nvSpPr>
          <p:spPr>
            <a:xfrm>
              <a:off x="1958468" y="5314959"/>
              <a:ext cx="78117" cy="108950"/>
            </a:xfrm>
            <a:custGeom>
              <a:avLst/>
              <a:gdLst>
                <a:gd name="connsiteX0" fmla="*/ 78118 w 78117"/>
                <a:gd name="connsiteY0" fmla="*/ 0 h 108950"/>
                <a:gd name="connsiteX1" fmla="*/ 0 w 78117"/>
                <a:gd name="connsiteY1" fmla="*/ 78118 h 108950"/>
                <a:gd name="connsiteX2" fmla="*/ 0 w 78117"/>
                <a:gd name="connsiteY2" fmla="*/ 108951 h 1089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78117" h="108950">
                  <a:moveTo>
                    <a:pt x="78118" y="0"/>
                  </a:moveTo>
                  <a:cubicBezTo>
                    <a:pt x="34969" y="0"/>
                    <a:pt x="0" y="34969"/>
                    <a:pt x="0" y="78118"/>
                  </a:cubicBezTo>
                  <a:lnTo>
                    <a:pt x="0" y="108951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76" name="Forma livre: Forma 1575">
              <a:extLst>
                <a:ext uri="{FF2B5EF4-FFF2-40B4-BE49-F238E27FC236}">
                  <a16:creationId xmlns:a16="http://schemas.microsoft.com/office/drawing/2014/main" id="{C18256C7-3BF8-2406-D137-4081E17CEE41}"/>
                </a:ext>
              </a:extLst>
            </p:cNvPr>
            <p:cNvSpPr/>
            <p:nvPr/>
          </p:nvSpPr>
          <p:spPr>
            <a:xfrm>
              <a:off x="1988429" y="5344919"/>
              <a:ext cx="48157" cy="79036"/>
            </a:xfrm>
            <a:custGeom>
              <a:avLst/>
              <a:gdLst>
                <a:gd name="connsiteX0" fmla="*/ 48157 w 48157"/>
                <a:gd name="connsiteY0" fmla="*/ 0 h 79036"/>
                <a:gd name="connsiteX1" fmla="*/ 0 w 48157"/>
                <a:gd name="connsiteY1" fmla="*/ 48157 h 79036"/>
                <a:gd name="connsiteX2" fmla="*/ 0 w 48157"/>
                <a:gd name="connsiteY2" fmla="*/ 79037 h 790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8157" h="79036">
                  <a:moveTo>
                    <a:pt x="48157" y="0"/>
                  </a:moveTo>
                  <a:cubicBezTo>
                    <a:pt x="21597" y="0"/>
                    <a:pt x="0" y="21597"/>
                    <a:pt x="0" y="48157"/>
                  </a:cubicBezTo>
                  <a:lnTo>
                    <a:pt x="0" y="79037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77" name="Forma livre: Forma 1576">
              <a:extLst>
                <a:ext uri="{FF2B5EF4-FFF2-40B4-BE49-F238E27FC236}">
                  <a16:creationId xmlns:a16="http://schemas.microsoft.com/office/drawing/2014/main" id="{C9BFF91D-3FCE-513C-0C4D-1E5917B76C42}"/>
                </a:ext>
              </a:extLst>
            </p:cNvPr>
            <p:cNvSpPr/>
            <p:nvPr/>
          </p:nvSpPr>
          <p:spPr>
            <a:xfrm>
              <a:off x="2018527" y="5374879"/>
              <a:ext cx="18196" cy="49030"/>
            </a:xfrm>
            <a:custGeom>
              <a:avLst/>
              <a:gdLst>
                <a:gd name="connsiteX0" fmla="*/ 18197 w 18196"/>
                <a:gd name="connsiteY0" fmla="*/ 0 h 49030"/>
                <a:gd name="connsiteX1" fmla="*/ 0 w 18196"/>
                <a:gd name="connsiteY1" fmla="*/ 18197 h 49030"/>
                <a:gd name="connsiteX2" fmla="*/ 0 w 18196"/>
                <a:gd name="connsiteY2" fmla="*/ 49030 h 490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8196" h="49030">
                  <a:moveTo>
                    <a:pt x="18197" y="0"/>
                  </a:moveTo>
                  <a:cubicBezTo>
                    <a:pt x="8179" y="0"/>
                    <a:pt x="0" y="8179"/>
                    <a:pt x="0" y="18197"/>
                  </a:cubicBezTo>
                  <a:lnTo>
                    <a:pt x="0" y="49030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78" name="Forma livre: Forma 1577">
              <a:extLst>
                <a:ext uri="{FF2B5EF4-FFF2-40B4-BE49-F238E27FC236}">
                  <a16:creationId xmlns:a16="http://schemas.microsoft.com/office/drawing/2014/main" id="{5539AFA1-2425-2BEF-2A6D-0711969C4356}"/>
                </a:ext>
              </a:extLst>
            </p:cNvPr>
            <p:cNvSpPr/>
            <p:nvPr/>
          </p:nvSpPr>
          <p:spPr>
            <a:xfrm>
              <a:off x="2220300" y="5247364"/>
              <a:ext cx="37909" cy="33314"/>
            </a:xfrm>
            <a:custGeom>
              <a:avLst/>
              <a:gdLst>
                <a:gd name="connsiteX0" fmla="*/ 0 w 37909"/>
                <a:gd name="connsiteY0" fmla="*/ 0 h 33314"/>
                <a:gd name="connsiteX1" fmla="*/ 37910 w 37909"/>
                <a:gd name="connsiteY1" fmla="*/ 33315 h 333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7909" h="33314">
                  <a:moveTo>
                    <a:pt x="0" y="0"/>
                  </a:moveTo>
                  <a:lnTo>
                    <a:pt x="37910" y="33315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79" name="Forma livre: Forma 1578">
              <a:extLst>
                <a:ext uri="{FF2B5EF4-FFF2-40B4-BE49-F238E27FC236}">
                  <a16:creationId xmlns:a16="http://schemas.microsoft.com/office/drawing/2014/main" id="{AC888602-B657-2736-723C-54C76E513B13}"/>
                </a:ext>
              </a:extLst>
            </p:cNvPr>
            <p:cNvSpPr/>
            <p:nvPr/>
          </p:nvSpPr>
          <p:spPr>
            <a:xfrm>
              <a:off x="2061446" y="5306458"/>
              <a:ext cx="40712" cy="74533"/>
            </a:xfrm>
            <a:custGeom>
              <a:avLst/>
              <a:gdLst>
                <a:gd name="connsiteX0" fmla="*/ 17094 w 40712"/>
                <a:gd name="connsiteY0" fmla="*/ 0 h 74533"/>
                <a:gd name="connsiteX1" fmla="*/ 0 w 40712"/>
                <a:gd name="connsiteY1" fmla="*/ 0 h 74533"/>
                <a:gd name="connsiteX2" fmla="*/ 0 w 40712"/>
                <a:gd name="connsiteY2" fmla="*/ 74533 h 74533"/>
                <a:gd name="connsiteX3" fmla="*/ 17094 w 40712"/>
                <a:gd name="connsiteY3" fmla="*/ 74533 h 74533"/>
                <a:gd name="connsiteX4" fmla="*/ 40713 w 40712"/>
                <a:gd name="connsiteY4" fmla="*/ 52385 h 74533"/>
                <a:gd name="connsiteX5" fmla="*/ 40713 w 40712"/>
                <a:gd name="connsiteY5" fmla="*/ 22149 h 74533"/>
                <a:gd name="connsiteX6" fmla="*/ 17094 w 40712"/>
                <a:gd name="connsiteY6" fmla="*/ 0 h 745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0712" h="74533">
                  <a:moveTo>
                    <a:pt x="17094" y="0"/>
                  </a:moveTo>
                  <a:lnTo>
                    <a:pt x="0" y="0"/>
                  </a:lnTo>
                  <a:lnTo>
                    <a:pt x="0" y="74533"/>
                  </a:lnTo>
                  <a:lnTo>
                    <a:pt x="17094" y="74533"/>
                  </a:lnTo>
                  <a:lnTo>
                    <a:pt x="40713" y="52385"/>
                  </a:lnTo>
                  <a:lnTo>
                    <a:pt x="40713" y="22149"/>
                  </a:lnTo>
                  <a:lnTo>
                    <a:pt x="17094" y="0"/>
                  </a:ln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580" name="Gráfico 23">
            <a:extLst>
              <a:ext uri="{FF2B5EF4-FFF2-40B4-BE49-F238E27FC236}">
                <a16:creationId xmlns:a16="http://schemas.microsoft.com/office/drawing/2014/main" id="{F8C47F0D-860F-9A3D-268B-CC464733D7D3}"/>
              </a:ext>
            </a:extLst>
          </p:cNvPr>
          <p:cNvGrpSpPr/>
          <p:nvPr/>
        </p:nvGrpSpPr>
        <p:grpSpPr>
          <a:xfrm>
            <a:off x="1997757" y="5672464"/>
            <a:ext cx="296800" cy="273959"/>
            <a:chOff x="1997757" y="5672464"/>
            <a:chExt cx="296800" cy="273959"/>
          </a:xfrm>
        </p:grpSpPr>
        <p:sp>
          <p:nvSpPr>
            <p:cNvPr id="1581" name="Forma livre: Forma 1580">
              <a:extLst>
                <a:ext uri="{FF2B5EF4-FFF2-40B4-BE49-F238E27FC236}">
                  <a16:creationId xmlns:a16="http://schemas.microsoft.com/office/drawing/2014/main" id="{CC74D567-39B2-68E7-DF51-7848FFE5DA9D}"/>
                </a:ext>
              </a:extLst>
            </p:cNvPr>
            <p:cNvSpPr/>
            <p:nvPr/>
          </p:nvSpPr>
          <p:spPr>
            <a:xfrm>
              <a:off x="1997757" y="5672464"/>
              <a:ext cx="296800" cy="245975"/>
            </a:xfrm>
            <a:custGeom>
              <a:avLst/>
              <a:gdLst>
                <a:gd name="connsiteX0" fmla="*/ 88227 w 296800"/>
                <a:gd name="connsiteY0" fmla="*/ 89097 h 245975"/>
                <a:gd name="connsiteX1" fmla="*/ 73063 w 296800"/>
                <a:gd name="connsiteY1" fmla="*/ 121492 h 245975"/>
                <a:gd name="connsiteX2" fmla="*/ 88640 w 296800"/>
                <a:gd name="connsiteY2" fmla="*/ 150672 h 245975"/>
                <a:gd name="connsiteX3" fmla="*/ 213582 w 296800"/>
                <a:gd name="connsiteY3" fmla="*/ 178151 h 245975"/>
                <a:gd name="connsiteX4" fmla="*/ 212250 w 296800"/>
                <a:gd name="connsiteY4" fmla="*/ 176956 h 245975"/>
                <a:gd name="connsiteX5" fmla="*/ 108124 w 296800"/>
                <a:gd name="connsiteY5" fmla="*/ 22559 h 245975"/>
                <a:gd name="connsiteX6" fmla="*/ 70719 w 296800"/>
                <a:gd name="connsiteY6" fmla="*/ 89 h 245975"/>
                <a:gd name="connsiteX7" fmla="*/ 36715 w 296800"/>
                <a:gd name="connsiteY7" fmla="*/ 34368 h 245975"/>
                <a:gd name="connsiteX8" fmla="*/ 36623 w 296800"/>
                <a:gd name="connsiteY8" fmla="*/ 37126 h 245975"/>
                <a:gd name="connsiteX9" fmla="*/ 0 w 296800"/>
                <a:gd name="connsiteY9" fmla="*/ 52749 h 245975"/>
                <a:gd name="connsiteX10" fmla="*/ 35337 w 296800"/>
                <a:gd name="connsiteY10" fmla="*/ 72876 h 245975"/>
                <a:gd name="connsiteX11" fmla="*/ 33545 w 296800"/>
                <a:gd name="connsiteY11" fmla="*/ 96771 h 245975"/>
                <a:gd name="connsiteX12" fmla="*/ 216661 w 296800"/>
                <a:gd name="connsiteY12" fmla="*/ 218542 h 245975"/>
                <a:gd name="connsiteX13" fmla="*/ 255766 w 296800"/>
                <a:gd name="connsiteY13" fmla="*/ 245975 h 245975"/>
                <a:gd name="connsiteX14" fmla="*/ 296801 w 296800"/>
                <a:gd name="connsiteY14" fmla="*/ 239634 h 245975"/>
                <a:gd name="connsiteX15" fmla="*/ 270654 w 296800"/>
                <a:gd name="connsiteY15" fmla="*/ 221483 h 245975"/>
                <a:gd name="connsiteX16" fmla="*/ 235409 w 296800"/>
                <a:gd name="connsiteY16" fmla="*/ 196118 h 245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96800" h="245975">
                  <a:moveTo>
                    <a:pt x="88227" y="89097"/>
                  </a:moveTo>
                  <a:cubicBezTo>
                    <a:pt x="78531" y="96495"/>
                    <a:pt x="72465" y="108350"/>
                    <a:pt x="73063" y="121492"/>
                  </a:cubicBezTo>
                  <a:cubicBezTo>
                    <a:pt x="73614" y="133532"/>
                    <a:pt x="79634" y="144009"/>
                    <a:pt x="88640" y="150672"/>
                  </a:cubicBezTo>
                  <a:cubicBezTo>
                    <a:pt x="88640" y="150672"/>
                    <a:pt x="126918" y="186606"/>
                    <a:pt x="213582" y="178151"/>
                  </a:cubicBezTo>
                  <a:lnTo>
                    <a:pt x="212250" y="176956"/>
                  </a:lnTo>
                  <a:cubicBezTo>
                    <a:pt x="120715" y="95943"/>
                    <a:pt x="108124" y="22559"/>
                    <a:pt x="108124" y="22559"/>
                  </a:cubicBezTo>
                  <a:cubicBezTo>
                    <a:pt x="101369" y="-2668"/>
                    <a:pt x="70719" y="89"/>
                    <a:pt x="70719" y="89"/>
                  </a:cubicBezTo>
                  <a:cubicBezTo>
                    <a:pt x="44527" y="89"/>
                    <a:pt x="37588" y="20537"/>
                    <a:pt x="36715" y="34368"/>
                  </a:cubicBezTo>
                  <a:lnTo>
                    <a:pt x="36623" y="37126"/>
                  </a:lnTo>
                  <a:lnTo>
                    <a:pt x="0" y="52749"/>
                  </a:lnTo>
                  <a:lnTo>
                    <a:pt x="35337" y="72876"/>
                  </a:lnTo>
                  <a:lnTo>
                    <a:pt x="33545" y="96771"/>
                  </a:lnTo>
                  <a:cubicBezTo>
                    <a:pt x="12820" y="261369"/>
                    <a:pt x="216661" y="218542"/>
                    <a:pt x="216661" y="218542"/>
                  </a:cubicBezTo>
                  <a:lnTo>
                    <a:pt x="255766" y="245975"/>
                  </a:lnTo>
                  <a:lnTo>
                    <a:pt x="296801" y="239634"/>
                  </a:lnTo>
                  <a:lnTo>
                    <a:pt x="270654" y="221483"/>
                  </a:lnTo>
                  <a:cubicBezTo>
                    <a:pt x="257926" y="213028"/>
                    <a:pt x="246208" y="204573"/>
                    <a:pt x="235409" y="196118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82" name="Forma livre: Forma 1581">
              <a:extLst>
                <a:ext uri="{FF2B5EF4-FFF2-40B4-BE49-F238E27FC236}">
                  <a16:creationId xmlns:a16="http://schemas.microsoft.com/office/drawing/2014/main" id="{4E0C55EF-4209-FE74-BAB4-F4653BF49FA9}"/>
                </a:ext>
              </a:extLst>
            </p:cNvPr>
            <p:cNvSpPr/>
            <p:nvPr/>
          </p:nvSpPr>
          <p:spPr>
            <a:xfrm>
              <a:off x="2100505" y="5894223"/>
              <a:ext cx="20126" cy="50960"/>
            </a:xfrm>
            <a:custGeom>
              <a:avLst/>
              <a:gdLst>
                <a:gd name="connsiteX0" fmla="*/ 20127 w 20126"/>
                <a:gd name="connsiteY0" fmla="*/ 0 h 50960"/>
                <a:gd name="connsiteX1" fmla="*/ 0 w 20126"/>
                <a:gd name="connsiteY1" fmla="*/ 50960 h 509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0126" h="50960">
                  <a:moveTo>
                    <a:pt x="20127" y="0"/>
                  </a:moveTo>
                  <a:lnTo>
                    <a:pt x="0" y="5096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83" name="Forma livre: Forma 1582">
              <a:extLst>
                <a:ext uri="{FF2B5EF4-FFF2-40B4-BE49-F238E27FC236}">
                  <a16:creationId xmlns:a16="http://schemas.microsoft.com/office/drawing/2014/main" id="{78C5F167-C77C-8798-341C-97D7CD2BA46A}"/>
                </a:ext>
              </a:extLst>
            </p:cNvPr>
            <p:cNvSpPr/>
            <p:nvPr/>
          </p:nvSpPr>
          <p:spPr>
            <a:xfrm>
              <a:off x="2134601" y="5896750"/>
              <a:ext cx="19161" cy="47927"/>
            </a:xfrm>
            <a:custGeom>
              <a:avLst/>
              <a:gdLst>
                <a:gd name="connsiteX0" fmla="*/ 19162 w 19161"/>
                <a:gd name="connsiteY0" fmla="*/ 0 h 47927"/>
                <a:gd name="connsiteX1" fmla="*/ 0 w 19161"/>
                <a:gd name="connsiteY1" fmla="*/ 47927 h 479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9161" h="47927">
                  <a:moveTo>
                    <a:pt x="19162" y="0"/>
                  </a:moveTo>
                  <a:lnTo>
                    <a:pt x="0" y="47927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84" name="Forma livre: Forma 1583">
              <a:extLst>
                <a:ext uri="{FF2B5EF4-FFF2-40B4-BE49-F238E27FC236}">
                  <a16:creationId xmlns:a16="http://schemas.microsoft.com/office/drawing/2014/main" id="{1A55E570-EB60-2F0A-6915-4D45E2344689}"/>
                </a:ext>
              </a:extLst>
            </p:cNvPr>
            <p:cNvSpPr/>
            <p:nvPr/>
          </p:nvSpPr>
          <p:spPr>
            <a:xfrm>
              <a:off x="2078678" y="5946424"/>
              <a:ext cx="83264" cy="4595"/>
            </a:xfrm>
            <a:custGeom>
              <a:avLst/>
              <a:gdLst>
                <a:gd name="connsiteX0" fmla="*/ 0 w 83264"/>
                <a:gd name="connsiteY0" fmla="*/ 0 h 4595"/>
                <a:gd name="connsiteX1" fmla="*/ 83264 w 83264"/>
                <a:gd name="connsiteY1" fmla="*/ 0 h 45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3264" h="4595">
                  <a:moveTo>
                    <a:pt x="0" y="0"/>
                  </a:moveTo>
                  <a:lnTo>
                    <a:pt x="83264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85" name="Forma livre: Forma 1584">
              <a:extLst>
                <a:ext uri="{FF2B5EF4-FFF2-40B4-BE49-F238E27FC236}">
                  <a16:creationId xmlns:a16="http://schemas.microsoft.com/office/drawing/2014/main" id="{553A3904-7CB3-1D02-DA3A-8B1DE815E0C8}"/>
                </a:ext>
              </a:extLst>
            </p:cNvPr>
            <p:cNvSpPr/>
            <p:nvPr/>
          </p:nvSpPr>
          <p:spPr>
            <a:xfrm>
              <a:off x="2061630" y="5710647"/>
              <a:ext cx="7168" cy="7168"/>
            </a:xfrm>
            <a:custGeom>
              <a:avLst/>
              <a:gdLst>
                <a:gd name="connsiteX0" fmla="*/ 7168 w 7168"/>
                <a:gd name="connsiteY0" fmla="*/ 3584 h 7168"/>
                <a:gd name="connsiteX1" fmla="*/ 3584 w 7168"/>
                <a:gd name="connsiteY1" fmla="*/ 7168 h 7168"/>
                <a:gd name="connsiteX2" fmla="*/ 0 w 7168"/>
                <a:gd name="connsiteY2" fmla="*/ 3584 h 7168"/>
                <a:gd name="connsiteX3" fmla="*/ 3584 w 7168"/>
                <a:gd name="connsiteY3" fmla="*/ 0 h 7168"/>
                <a:gd name="connsiteX4" fmla="*/ 7168 w 7168"/>
                <a:gd name="connsiteY4" fmla="*/ 3584 h 71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68" h="7168">
                  <a:moveTo>
                    <a:pt x="7168" y="3584"/>
                  </a:moveTo>
                  <a:cubicBezTo>
                    <a:pt x="7168" y="5560"/>
                    <a:pt x="5560" y="7168"/>
                    <a:pt x="3584" y="7168"/>
                  </a:cubicBezTo>
                  <a:cubicBezTo>
                    <a:pt x="1608" y="7168"/>
                    <a:pt x="0" y="5560"/>
                    <a:pt x="0" y="3584"/>
                  </a:cubicBezTo>
                  <a:cubicBezTo>
                    <a:pt x="0" y="1608"/>
                    <a:pt x="1608" y="0"/>
                    <a:pt x="3584" y="0"/>
                  </a:cubicBezTo>
                  <a:cubicBezTo>
                    <a:pt x="5560" y="0"/>
                    <a:pt x="7168" y="1608"/>
                    <a:pt x="7168" y="3584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586" name="Gráfico 23">
            <a:extLst>
              <a:ext uri="{FF2B5EF4-FFF2-40B4-BE49-F238E27FC236}">
                <a16:creationId xmlns:a16="http://schemas.microsoft.com/office/drawing/2014/main" id="{69BDBBD0-B55B-EC4F-E2AD-4E989957E137}"/>
              </a:ext>
            </a:extLst>
          </p:cNvPr>
          <p:cNvGrpSpPr/>
          <p:nvPr/>
        </p:nvGrpSpPr>
        <p:grpSpPr>
          <a:xfrm>
            <a:off x="1992548" y="4656141"/>
            <a:ext cx="307030" cy="304916"/>
            <a:chOff x="1992548" y="4656141"/>
            <a:chExt cx="307030" cy="304916"/>
          </a:xfrm>
          <a:noFill/>
        </p:grpSpPr>
        <p:sp>
          <p:nvSpPr>
            <p:cNvPr id="1587" name="Forma livre: Forma 1586">
              <a:extLst>
                <a:ext uri="{FF2B5EF4-FFF2-40B4-BE49-F238E27FC236}">
                  <a16:creationId xmlns:a16="http://schemas.microsoft.com/office/drawing/2014/main" id="{426B6FD8-2BC8-05D4-BF1A-5591376785DE}"/>
                </a:ext>
              </a:extLst>
            </p:cNvPr>
            <p:cNvSpPr/>
            <p:nvPr/>
          </p:nvSpPr>
          <p:spPr>
            <a:xfrm>
              <a:off x="1992548" y="4656141"/>
              <a:ext cx="307030" cy="304916"/>
            </a:xfrm>
            <a:custGeom>
              <a:avLst/>
              <a:gdLst>
                <a:gd name="connsiteX0" fmla="*/ 166499 w 307030"/>
                <a:gd name="connsiteY0" fmla="*/ 158131 h 304916"/>
                <a:gd name="connsiteX1" fmla="*/ 217321 w 307030"/>
                <a:gd name="connsiteY1" fmla="*/ 107308 h 304916"/>
                <a:gd name="connsiteX2" fmla="*/ 220860 w 307030"/>
                <a:gd name="connsiteY2" fmla="*/ 108687 h 304916"/>
                <a:gd name="connsiteX3" fmla="*/ 246409 w 307030"/>
                <a:gd name="connsiteY3" fmla="*/ 118842 h 304916"/>
                <a:gd name="connsiteX4" fmla="*/ 282526 w 307030"/>
                <a:gd name="connsiteY4" fmla="*/ 111398 h 304916"/>
                <a:gd name="connsiteX5" fmla="*/ 299345 w 307030"/>
                <a:gd name="connsiteY5" fmla="*/ 94580 h 304916"/>
                <a:gd name="connsiteX6" fmla="*/ 299345 w 307030"/>
                <a:gd name="connsiteY6" fmla="*/ 57405 h 304916"/>
                <a:gd name="connsiteX7" fmla="*/ 249625 w 307030"/>
                <a:gd name="connsiteY7" fmla="*/ 7685 h 304916"/>
                <a:gd name="connsiteX8" fmla="*/ 212405 w 307030"/>
                <a:gd name="connsiteY8" fmla="*/ 7685 h 304916"/>
                <a:gd name="connsiteX9" fmla="*/ 195586 w 307030"/>
                <a:gd name="connsiteY9" fmla="*/ 24504 h 304916"/>
                <a:gd name="connsiteX10" fmla="*/ 187683 w 307030"/>
                <a:gd name="connsiteY10" fmla="*/ 60484 h 304916"/>
                <a:gd name="connsiteX11" fmla="*/ 196000 w 307030"/>
                <a:gd name="connsiteY11" fmla="*/ 83230 h 304916"/>
                <a:gd name="connsiteX12" fmla="*/ 199262 w 307030"/>
                <a:gd name="connsiteY12" fmla="*/ 90122 h 304916"/>
                <a:gd name="connsiteX13" fmla="*/ 148164 w 307030"/>
                <a:gd name="connsiteY13" fmla="*/ 140669 h 304916"/>
                <a:gd name="connsiteX14" fmla="*/ 170818 w 307030"/>
                <a:gd name="connsiteY14" fmla="*/ 162496 h 304916"/>
                <a:gd name="connsiteX15" fmla="*/ 142926 w 307030"/>
                <a:gd name="connsiteY15" fmla="*/ 190159 h 304916"/>
                <a:gd name="connsiteX16" fmla="*/ 174265 w 307030"/>
                <a:gd name="connsiteY16" fmla="*/ 221498 h 304916"/>
                <a:gd name="connsiteX17" fmla="*/ 174265 w 307030"/>
                <a:gd name="connsiteY17" fmla="*/ 242865 h 304916"/>
                <a:gd name="connsiteX18" fmla="*/ 102856 w 307030"/>
                <a:gd name="connsiteY18" fmla="*/ 296490 h 304916"/>
                <a:gd name="connsiteX19" fmla="*/ 32229 w 307030"/>
                <a:gd name="connsiteY19" fmla="*/ 301223 h 304916"/>
                <a:gd name="connsiteX20" fmla="*/ 13940 w 307030"/>
                <a:gd name="connsiteY20" fmla="*/ 292125 h 304916"/>
                <a:gd name="connsiteX21" fmla="*/ 12791 w 307030"/>
                <a:gd name="connsiteY21" fmla="*/ 291022 h 304916"/>
                <a:gd name="connsiteX22" fmla="*/ 3693 w 307030"/>
                <a:gd name="connsiteY22" fmla="*/ 272734 h 304916"/>
                <a:gd name="connsiteX23" fmla="*/ 8426 w 307030"/>
                <a:gd name="connsiteY23" fmla="*/ 202060 h 304916"/>
                <a:gd name="connsiteX24" fmla="*/ 62051 w 307030"/>
                <a:gd name="connsiteY24" fmla="*/ 130652 h 304916"/>
                <a:gd name="connsiteX25" fmla="*/ 83419 w 307030"/>
                <a:gd name="connsiteY25" fmla="*/ 130652 h 304916"/>
                <a:gd name="connsiteX26" fmla="*/ 114758 w 307030"/>
                <a:gd name="connsiteY26" fmla="*/ 161990 h 304916"/>
                <a:gd name="connsiteX27" fmla="*/ 124269 w 307030"/>
                <a:gd name="connsiteY27" fmla="*/ 152478 h 3049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307030" h="304916">
                  <a:moveTo>
                    <a:pt x="166499" y="158131"/>
                  </a:moveTo>
                  <a:lnTo>
                    <a:pt x="217321" y="107308"/>
                  </a:lnTo>
                  <a:cubicBezTo>
                    <a:pt x="218654" y="108043"/>
                    <a:pt x="219389" y="108089"/>
                    <a:pt x="220860" y="108687"/>
                  </a:cubicBezTo>
                  <a:lnTo>
                    <a:pt x="246409" y="118842"/>
                  </a:lnTo>
                  <a:cubicBezTo>
                    <a:pt x="258126" y="123483"/>
                    <a:pt x="273612" y="120267"/>
                    <a:pt x="282526" y="111398"/>
                  </a:cubicBezTo>
                  <a:lnTo>
                    <a:pt x="299345" y="94580"/>
                  </a:lnTo>
                  <a:cubicBezTo>
                    <a:pt x="309592" y="84332"/>
                    <a:pt x="309592" y="67652"/>
                    <a:pt x="299345" y="57405"/>
                  </a:cubicBezTo>
                  <a:lnTo>
                    <a:pt x="249625" y="7685"/>
                  </a:lnTo>
                  <a:cubicBezTo>
                    <a:pt x="239378" y="-2562"/>
                    <a:pt x="222652" y="-2562"/>
                    <a:pt x="212405" y="7685"/>
                  </a:cubicBezTo>
                  <a:lnTo>
                    <a:pt x="195586" y="24504"/>
                  </a:lnTo>
                  <a:cubicBezTo>
                    <a:pt x="186764" y="33280"/>
                    <a:pt x="183363" y="48766"/>
                    <a:pt x="187683" y="60484"/>
                  </a:cubicBezTo>
                  <a:lnTo>
                    <a:pt x="196000" y="83230"/>
                  </a:lnTo>
                  <a:cubicBezTo>
                    <a:pt x="196919" y="85711"/>
                    <a:pt x="197608" y="87641"/>
                    <a:pt x="199262" y="90122"/>
                  </a:cubicBezTo>
                  <a:lnTo>
                    <a:pt x="148164" y="140669"/>
                  </a:lnTo>
                  <a:lnTo>
                    <a:pt x="170818" y="162496"/>
                  </a:lnTo>
                  <a:lnTo>
                    <a:pt x="142926" y="190159"/>
                  </a:lnTo>
                  <a:lnTo>
                    <a:pt x="174265" y="221498"/>
                  </a:lnTo>
                  <a:cubicBezTo>
                    <a:pt x="180146" y="227379"/>
                    <a:pt x="180146" y="236983"/>
                    <a:pt x="174265" y="242865"/>
                  </a:cubicBezTo>
                  <a:cubicBezTo>
                    <a:pt x="174265" y="242865"/>
                    <a:pt x="139479" y="280913"/>
                    <a:pt x="102856" y="296490"/>
                  </a:cubicBezTo>
                  <a:cubicBezTo>
                    <a:pt x="66233" y="312114"/>
                    <a:pt x="32229" y="301223"/>
                    <a:pt x="32229" y="301223"/>
                  </a:cubicBezTo>
                  <a:cubicBezTo>
                    <a:pt x="25198" y="299064"/>
                    <a:pt x="15870" y="294055"/>
                    <a:pt x="13940" y="292125"/>
                  </a:cubicBezTo>
                  <a:lnTo>
                    <a:pt x="12791" y="291022"/>
                  </a:lnTo>
                  <a:cubicBezTo>
                    <a:pt x="10861" y="289092"/>
                    <a:pt x="5853" y="279764"/>
                    <a:pt x="3693" y="272734"/>
                  </a:cubicBezTo>
                  <a:cubicBezTo>
                    <a:pt x="3693" y="272734"/>
                    <a:pt x="-7198" y="238729"/>
                    <a:pt x="8426" y="202060"/>
                  </a:cubicBezTo>
                  <a:cubicBezTo>
                    <a:pt x="24003" y="165391"/>
                    <a:pt x="62051" y="130652"/>
                    <a:pt x="62051" y="130652"/>
                  </a:cubicBezTo>
                  <a:cubicBezTo>
                    <a:pt x="67933" y="124770"/>
                    <a:pt x="77537" y="124816"/>
                    <a:pt x="83419" y="130652"/>
                  </a:cubicBezTo>
                  <a:lnTo>
                    <a:pt x="114758" y="161990"/>
                  </a:lnTo>
                  <a:lnTo>
                    <a:pt x="124269" y="152478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88" name="Forma livre: Forma 1587">
              <a:extLst>
                <a:ext uri="{FF2B5EF4-FFF2-40B4-BE49-F238E27FC236}">
                  <a16:creationId xmlns:a16="http://schemas.microsoft.com/office/drawing/2014/main" id="{F9914D58-63C5-9E60-CB98-30E3D098E3FF}"/>
                </a:ext>
              </a:extLst>
            </p:cNvPr>
            <p:cNvSpPr/>
            <p:nvPr/>
          </p:nvSpPr>
          <p:spPr>
            <a:xfrm>
              <a:off x="2072881" y="4811928"/>
              <a:ext cx="40627" cy="55877"/>
            </a:xfrm>
            <a:custGeom>
              <a:avLst/>
              <a:gdLst>
                <a:gd name="connsiteX0" fmla="*/ 3867 w 40627"/>
                <a:gd name="connsiteY0" fmla="*/ 55877 h 55877"/>
                <a:gd name="connsiteX1" fmla="*/ 4096 w 40627"/>
                <a:gd name="connsiteY1" fmla="*/ 36577 h 55877"/>
                <a:gd name="connsiteX2" fmla="*/ 40628 w 40627"/>
                <a:gd name="connsiteY2" fmla="*/ 0 h 558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0627" h="55877">
                  <a:moveTo>
                    <a:pt x="3867" y="55877"/>
                  </a:moveTo>
                  <a:cubicBezTo>
                    <a:pt x="-1372" y="50638"/>
                    <a:pt x="-1280" y="41954"/>
                    <a:pt x="4096" y="36577"/>
                  </a:cubicBezTo>
                  <a:lnTo>
                    <a:pt x="40628" y="0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89" name="Forma livre: Forma 1588">
              <a:extLst>
                <a:ext uri="{FF2B5EF4-FFF2-40B4-BE49-F238E27FC236}">
                  <a16:creationId xmlns:a16="http://schemas.microsoft.com/office/drawing/2014/main" id="{28375761-B5B1-D6C5-ABD0-327E6E78BABD}"/>
                </a:ext>
              </a:extLst>
            </p:cNvPr>
            <p:cNvSpPr/>
            <p:nvPr/>
          </p:nvSpPr>
          <p:spPr>
            <a:xfrm>
              <a:off x="2213545" y="4684872"/>
              <a:ext cx="56887" cy="62100"/>
            </a:xfrm>
            <a:custGeom>
              <a:avLst/>
              <a:gdLst>
                <a:gd name="connsiteX0" fmla="*/ 0 w 56887"/>
                <a:gd name="connsiteY0" fmla="*/ 9788 h 62100"/>
                <a:gd name="connsiteX1" fmla="*/ 9788 w 56887"/>
                <a:gd name="connsiteY1" fmla="*/ 0 h 62100"/>
                <a:gd name="connsiteX2" fmla="*/ 56888 w 56887"/>
                <a:gd name="connsiteY2" fmla="*/ 47836 h 62100"/>
                <a:gd name="connsiteX3" fmla="*/ 47468 w 56887"/>
                <a:gd name="connsiteY3" fmla="*/ 57256 h 62100"/>
                <a:gd name="connsiteX4" fmla="*/ 20494 w 56887"/>
                <a:gd name="connsiteY4" fmla="*/ 58910 h 62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6887" h="62100">
                  <a:moveTo>
                    <a:pt x="0" y="9788"/>
                  </a:moveTo>
                  <a:lnTo>
                    <a:pt x="9788" y="0"/>
                  </a:lnTo>
                  <a:cubicBezTo>
                    <a:pt x="20402" y="25089"/>
                    <a:pt x="32580" y="35658"/>
                    <a:pt x="56888" y="47836"/>
                  </a:cubicBezTo>
                  <a:lnTo>
                    <a:pt x="47468" y="57256"/>
                  </a:lnTo>
                  <a:cubicBezTo>
                    <a:pt x="47468" y="57256"/>
                    <a:pt x="35429" y="66951"/>
                    <a:pt x="20494" y="5891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590" name="Gráfico 23">
            <a:extLst>
              <a:ext uri="{FF2B5EF4-FFF2-40B4-BE49-F238E27FC236}">
                <a16:creationId xmlns:a16="http://schemas.microsoft.com/office/drawing/2014/main" id="{4A8C019E-3650-ABA4-5D1E-081673E3D668}"/>
              </a:ext>
            </a:extLst>
          </p:cNvPr>
          <p:cNvGrpSpPr/>
          <p:nvPr/>
        </p:nvGrpSpPr>
        <p:grpSpPr>
          <a:xfrm>
            <a:off x="2014943" y="3688965"/>
            <a:ext cx="262291" cy="237339"/>
            <a:chOff x="2014943" y="3688965"/>
            <a:chExt cx="262291" cy="237339"/>
          </a:xfrm>
          <a:noFill/>
        </p:grpSpPr>
        <p:grpSp>
          <p:nvGrpSpPr>
            <p:cNvPr id="1591" name="Gráfico 23">
              <a:extLst>
                <a:ext uri="{FF2B5EF4-FFF2-40B4-BE49-F238E27FC236}">
                  <a16:creationId xmlns:a16="http://schemas.microsoft.com/office/drawing/2014/main" id="{36E90F47-5003-19AB-B623-ED5B0D2E0763}"/>
                </a:ext>
              </a:extLst>
            </p:cNvPr>
            <p:cNvGrpSpPr/>
            <p:nvPr/>
          </p:nvGrpSpPr>
          <p:grpSpPr>
            <a:xfrm>
              <a:off x="2203712" y="3688965"/>
              <a:ext cx="73522" cy="237339"/>
              <a:chOff x="2203712" y="3688965"/>
              <a:chExt cx="73522" cy="237339"/>
            </a:xfrm>
            <a:noFill/>
          </p:grpSpPr>
          <p:sp>
            <p:nvSpPr>
              <p:cNvPr id="1592" name="Forma livre: Forma 1591">
                <a:extLst>
                  <a:ext uri="{FF2B5EF4-FFF2-40B4-BE49-F238E27FC236}">
                    <a16:creationId xmlns:a16="http://schemas.microsoft.com/office/drawing/2014/main" id="{E6D8E3F4-5393-6ACD-BDAD-8371DAF76BC2}"/>
                  </a:ext>
                </a:extLst>
              </p:cNvPr>
              <p:cNvSpPr/>
              <p:nvPr/>
            </p:nvSpPr>
            <p:spPr>
              <a:xfrm>
                <a:off x="2203712" y="3688965"/>
                <a:ext cx="73522" cy="237339"/>
              </a:xfrm>
              <a:custGeom>
                <a:avLst/>
                <a:gdLst>
                  <a:gd name="connsiteX0" fmla="*/ 0 w 73522"/>
                  <a:gd name="connsiteY0" fmla="*/ 65389 h 237339"/>
                  <a:gd name="connsiteX1" fmla="*/ 22654 w 73522"/>
                  <a:gd name="connsiteY1" fmla="*/ 65389 h 237339"/>
                  <a:gd name="connsiteX2" fmla="*/ 22654 w 73522"/>
                  <a:gd name="connsiteY2" fmla="*/ 43792 h 237339"/>
                  <a:gd name="connsiteX3" fmla="*/ 47606 w 73522"/>
                  <a:gd name="connsiteY3" fmla="*/ 0 h 237339"/>
                  <a:gd name="connsiteX4" fmla="*/ 73522 w 73522"/>
                  <a:gd name="connsiteY4" fmla="*/ 43792 h 237339"/>
                  <a:gd name="connsiteX5" fmla="*/ 73522 w 73522"/>
                  <a:gd name="connsiteY5" fmla="*/ 237339 h 237339"/>
                  <a:gd name="connsiteX6" fmla="*/ 22654 w 73522"/>
                  <a:gd name="connsiteY6" fmla="*/ 237339 h 237339"/>
                  <a:gd name="connsiteX7" fmla="*/ 22654 w 73522"/>
                  <a:gd name="connsiteY7" fmla="*/ 215053 h 237339"/>
                  <a:gd name="connsiteX8" fmla="*/ 0 w 73522"/>
                  <a:gd name="connsiteY8" fmla="*/ 215053 h 2373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73522" h="237339">
                    <a:moveTo>
                      <a:pt x="0" y="65389"/>
                    </a:moveTo>
                    <a:lnTo>
                      <a:pt x="22654" y="65389"/>
                    </a:lnTo>
                    <a:lnTo>
                      <a:pt x="22654" y="43792"/>
                    </a:lnTo>
                    <a:lnTo>
                      <a:pt x="47606" y="0"/>
                    </a:lnTo>
                    <a:lnTo>
                      <a:pt x="73522" y="43792"/>
                    </a:lnTo>
                    <a:lnTo>
                      <a:pt x="73522" y="237339"/>
                    </a:lnTo>
                    <a:lnTo>
                      <a:pt x="22654" y="237339"/>
                    </a:lnTo>
                    <a:lnTo>
                      <a:pt x="22654" y="215053"/>
                    </a:lnTo>
                    <a:lnTo>
                      <a:pt x="0" y="215053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593" name="Forma livre: Forma 1592">
                <a:extLst>
                  <a:ext uri="{FF2B5EF4-FFF2-40B4-BE49-F238E27FC236}">
                    <a16:creationId xmlns:a16="http://schemas.microsoft.com/office/drawing/2014/main" id="{0314B4FF-E341-8B91-2F7B-67F79836B2D2}"/>
                  </a:ext>
                </a:extLst>
              </p:cNvPr>
              <p:cNvSpPr/>
              <p:nvPr/>
            </p:nvSpPr>
            <p:spPr>
              <a:xfrm>
                <a:off x="2203712" y="3802374"/>
                <a:ext cx="23756" cy="55968"/>
              </a:xfrm>
              <a:custGeom>
                <a:avLst/>
                <a:gdLst>
                  <a:gd name="connsiteX0" fmla="*/ 0 w 23756"/>
                  <a:gd name="connsiteY0" fmla="*/ 0 h 55968"/>
                  <a:gd name="connsiteX1" fmla="*/ 23757 w 23756"/>
                  <a:gd name="connsiteY1" fmla="*/ 0 h 55968"/>
                  <a:gd name="connsiteX2" fmla="*/ 23757 w 23756"/>
                  <a:gd name="connsiteY2" fmla="*/ 55969 h 55968"/>
                  <a:gd name="connsiteX3" fmla="*/ 0 w 23756"/>
                  <a:gd name="connsiteY3" fmla="*/ 55969 h 559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3756" h="55968">
                    <a:moveTo>
                      <a:pt x="0" y="0"/>
                    </a:moveTo>
                    <a:lnTo>
                      <a:pt x="23757" y="0"/>
                    </a:lnTo>
                    <a:lnTo>
                      <a:pt x="23757" y="55969"/>
                    </a:lnTo>
                    <a:lnTo>
                      <a:pt x="0" y="55969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594" name="Gráfico 23">
              <a:extLst>
                <a:ext uri="{FF2B5EF4-FFF2-40B4-BE49-F238E27FC236}">
                  <a16:creationId xmlns:a16="http://schemas.microsoft.com/office/drawing/2014/main" id="{756CEAC8-4F03-8AAA-5597-8C41BF66825A}"/>
                </a:ext>
              </a:extLst>
            </p:cNvPr>
            <p:cNvGrpSpPr/>
            <p:nvPr/>
          </p:nvGrpSpPr>
          <p:grpSpPr>
            <a:xfrm>
              <a:off x="2109327" y="3688965"/>
              <a:ext cx="73522" cy="237339"/>
              <a:chOff x="2109327" y="3688965"/>
              <a:chExt cx="73522" cy="237339"/>
            </a:xfrm>
            <a:noFill/>
          </p:grpSpPr>
          <p:sp>
            <p:nvSpPr>
              <p:cNvPr id="1595" name="Forma livre: Forma 1594">
                <a:extLst>
                  <a:ext uri="{FF2B5EF4-FFF2-40B4-BE49-F238E27FC236}">
                    <a16:creationId xmlns:a16="http://schemas.microsoft.com/office/drawing/2014/main" id="{0F0472CD-9A34-D759-E9FD-6E2435EEFAC0}"/>
                  </a:ext>
                </a:extLst>
              </p:cNvPr>
              <p:cNvSpPr/>
              <p:nvPr/>
            </p:nvSpPr>
            <p:spPr>
              <a:xfrm>
                <a:off x="2109327" y="3688965"/>
                <a:ext cx="73522" cy="237339"/>
              </a:xfrm>
              <a:custGeom>
                <a:avLst/>
                <a:gdLst>
                  <a:gd name="connsiteX0" fmla="*/ 0 w 73522"/>
                  <a:gd name="connsiteY0" fmla="*/ 65389 h 237339"/>
                  <a:gd name="connsiteX1" fmla="*/ 22654 w 73522"/>
                  <a:gd name="connsiteY1" fmla="*/ 65389 h 237339"/>
                  <a:gd name="connsiteX2" fmla="*/ 22654 w 73522"/>
                  <a:gd name="connsiteY2" fmla="*/ 43792 h 237339"/>
                  <a:gd name="connsiteX3" fmla="*/ 47606 w 73522"/>
                  <a:gd name="connsiteY3" fmla="*/ 0 h 237339"/>
                  <a:gd name="connsiteX4" fmla="*/ 73522 w 73522"/>
                  <a:gd name="connsiteY4" fmla="*/ 43792 h 237339"/>
                  <a:gd name="connsiteX5" fmla="*/ 73522 w 73522"/>
                  <a:gd name="connsiteY5" fmla="*/ 237339 h 237339"/>
                  <a:gd name="connsiteX6" fmla="*/ 22654 w 73522"/>
                  <a:gd name="connsiteY6" fmla="*/ 237339 h 237339"/>
                  <a:gd name="connsiteX7" fmla="*/ 22654 w 73522"/>
                  <a:gd name="connsiteY7" fmla="*/ 215053 h 237339"/>
                  <a:gd name="connsiteX8" fmla="*/ 0 w 73522"/>
                  <a:gd name="connsiteY8" fmla="*/ 215053 h 2373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73522" h="237339">
                    <a:moveTo>
                      <a:pt x="0" y="65389"/>
                    </a:moveTo>
                    <a:lnTo>
                      <a:pt x="22654" y="65389"/>
                    </a:lnTo>
                    <a:lnTo>
                      <a:pt x="22654" y="43792"/>
                    </a:lnTo>
                    <a:lnTo>
                      <a:pt x="47606" y="0"/>
                    </a:lnTo>
                    <a:lnTo>
                      <a:pt x="73522" y="43792"/>
                    </a:lnTo>
                    <a:lnTo>
                      <a:pt x="73522" y="237339"/>
                    </a:lnTo>
                    <a:lnTo>
                      <a:pt x="22654" y="237339"/>
                    </a:lnTo>
                    <a:lnTo>
                      <a:pt x="22654" y="215053"/>
                    </a:lnTo>
                    <a:lnTo>
                      <a:pt x="0" y="215053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596" name="Forma livre: Forma 1595">
                <a:extLst>
                  <a:ext uri="{FF2B5EF4-FFF2-40B4-BE49-F238E27FC236}">
                    <a16:creationId xmlns:a16="http://schemas.microsoft.com/office/drawing/2014/main" id="{BAAF7167-7276-872A-86D1-B70A14A9DD8E}"/>
                  </a:ext>
                </a:extLst>
              </p:cNvPr>
              <p:cNvSpPr/>
              <p:nvPr/>
            </p:nvSpPr>
            <p:spPr>
              <a:xfrm>
                <a:off x="2109327" y="3802374"/>
                <a:ext cx="23756" cy="55968"/>
              </a:xfrm>
              <a:custGeom>
                <a:avLst/>
                <a:gdLst>
                  <a:gd name="connsiteX0" fmla="*/ 0 w 23756"/>
                  <a:gd name="connsiteY0" fmla="*/ 0 h 55968"/>
                  <a:gd name="connsiteX1" fmla="*/ 23757 w 23756"/>
                  <a:gd name="connsiteY1" fmla="*/ 0 h 55968"/>
                  <a:gd name="connsiteX2" fmla="*/ 23757 w 23756"/>
                  <a:gd name="connsiteY2" fmla="*/ 55969 h 55968"/>
                  <a:gd name="connsiteX3" fmla="*/ 0 w 23756"/>
                  <a:gd name="connsiteY3" fmla="*/ 55969 h 559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3756" h="55968">
                    <a:moveTo>
                      <a:pt x="0" y="0"/>
                    </a:moveTo>
                    <a:lnTo>
                      <a:pt x="23757" y="0"/>
                    </a:lnTo>
                    <a:lnTo>
                      <a:pt x="23757" y="55969"/>
                    </a:lnTo>
                    <a:lnTo>
                      <a:pt x="0" y="55969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597" name="Gráfico 23">
              <a:extLst>
                <a:ext uri="{FF2B5EF4-FFF2-40B4-BE49-F238E27FC236}">
                  <a16:creationId xmlns:a16="http://schemas.microsoft.com/office/drawing/2014/main" id="{19819EEA-E009-73B8-E004-A9F077BA436D}"/>
                </a:ext>
              </a:extLst>
            </p:cNvPr>
            <p:cNvGrpSpPr/>
            <p:nvPr/>
          </p:nvGrpSpPr>
          <p:grpSpPr>
            <a:xfrm>
              <a:off x="2014943" y="3688965"/>
              <a:ext cx="73522" cy="237339"/>
              <a:chOff x="2014943" y="3688965"/>
              <a:chExt cx="73522" cy="237339"/>
            </a:xfrm>
            <a:noFill/>
          </p:grpSpPr>
          <p:sp>
            <p:nvSpPr>
              <p:cNvPr id="1598" name="Forma livre: Forma 1597">
                <a:extLst>
                  <a:ext uri="{FF2B5EF4-FFF2-40B4-BE49-F238E27FC236}">
                    <a16:creationId xmlns:a16="http://schemas.microsoft.com/office/drawing/2014/main" id="{24ED4752-10B7-5916-CF3B-ABB90D2A53D4}"/>
                  </a:ext>
                </a:extLst>
              </p:cNvPr>
              <p:cNvSpPr/>
              <p:nvPr/>
            </p:nvSpPr>
            <p:spPr>
              <a:xfrm>
                <a:off x="2014943" y="3688965"/>
                <a:ext cx="73522" cy="237339"/>
              </a:xfrm>
              <a:custGeom>
                <a:avLst/>
                <a:gdLst>
                  <a:gd name="connsiteX0" fmla="*/ 0 w 73522"/>
                  <a:gd name="connsiteY0" fmla="*/ 65389 h 237339"/>
                  <a:gd name="connsiteX1" fmla="*/ 22654 w 73522"/>
                  <a:gd name="connsiteY1" fmla="*/ 65389 h 237339"/>
                  <a:gd name="connsiteX2" fmla="*/ 22654 w 73522"/>
                  <a:gd name="connsiteY2" fmla="*/ 43792 h 237339"/>
                  <a:gd name="connsiteX3" fmla="*/ 47606 w 73522"/>
                  <a:gd name="connsiteY3" fmla="*/ 0 h 237339"/>
                  <a:gd name="connsiteX4" fmla="*/ 73522 w 73522"/>
                  <a:gd name="connsiteY4" fmla="*/ 43792 h 237339"/>
                  <a:gd name="connsiteX5" fmla="*/ 73522 w 73522"/>
                  <a:gd name="connsiteY5" fmla="*/ 237339 h 237339"/>
                  <a:gd name="connsiteX6" fmla="*/ 22654 w 73522"/>
                  <a:gd name="connsiteY6" fmla="*/ 237339 h 237339"/>
                  <a:gd name="connsiteX7" fmla="*/ 22654 w 73522"/>
                  <a:gd name="connsiteY7" fmla="*/ 215053 h 237339"/>
                  <a:gd name="connsiteX8" fmla="*/ 0 w 73522"/>
                  <a:gd name="connsiteY8" fmla="*/ 215053 h 2373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73522" h="237339">
                    <a:moveTo>
                      <a:pt x="0" y="65389"/>
                    </a:moveTo>
                    <a:lnTo>
                      <a:pt x="22654" y="65389"/>
                    </a:lnTo>
                    <a:lnTo>
                      <a:pt x="22654" y="43792"/>
                    </a:lnTo>
                    <a:lnTo>
                      <a:pt x="47606" y="0"/>
                    </a:lnTo>
                    <a:lnTo>
                      <a:pt x="73522" y="43792"/>
                    </a:lnTo>
                    <a:lnTo>
                      <a:pt x="73522" y="237339"/>
                    </a:lnTo>
                    <a:lnTo>
                      <a:pt x="22654" y="237339"/>
                    </a:lnTo>
                    <a:lnTo>
                      <a:pt x="22654" y="215053"/>
                    </a:lnTo>
                    <a:lnTo>
                      <a:pt x="0" y="215053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599" name="Forma livre: Forma 1598">
                <a:extLst>
                  <a:ext uri="{FF2B5EF4-FFF2-40B4-BE49-F238E27FC236}">
                    <a16:creationId xmlns:a16="http://schemas.microsoft.com/office/drawing/2014/main" id="{3A390065-C217-031C-163F-F89A68BA03AE}"/>
                  </a:ext>
                </a:extLst>
              </p:cNvPr>
              <p:cNvSpPr/>
              <p:nvPr/>
            </p:nvSpPr>
            <p:spPr>
              <a:xfrm>
                <a:off x="2014943" y="3802374"/>
                <a:ext cx="23756" cy="55968"/>
              </a:xfrm>
              <a:custGeom>
                <a:avLst/>
                <a:gdLst>
                  <a:gd name="connsiteX0" fmla="*/ 0 w 23756"/>
                  <a:gd name="connsiteY0" fmla="*/ 0 h 55968"/>
                  <a:gd name="connsiteX1" fmla="*/ 23757 w 23756"/>
                  <a:gd name="connsiteY1" fmla="*/ 0 h 55968"/>
                  <a:gd name="connsiteX2" fmla="*/ 23757 w 23756"/>
                  <a:gd name="connsiteY2" fmla="*/ 55969 h 55968"/>
                  <a:gd name="connsiteX3" fmla="*/ 0 w 23756"/>
                  <a:gd name="connsiteY3" fmla="*/ 55969 h 559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3756" h="55968">
                    <a:moveTo>
                      <a:pt x="0" y="0"/>
                    </a:moveTo>
                    <a:lnTo>
                      <a:pt x="23757" y="0"/>
                    </a:lnTo>
                    <a:lnTo>
                      <a:pt x="23757" y="55969"/>
                    </a:lnTo>
                    <a:lnTo>
                      <a:pt x="0" y="55969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600" name="Gráfico 23">
            <a:extLst>
              <a:ext uri="{FF2B5EF4-FFF2-40B4-BE49-F238E27FC236}">
                <a16:creationId xmlns:a16="http://schemas.microsoft.com/office/drawing/2014/main" id="{06D2465B-F493-DA37-F76B-65B8A5BEC3E0}"/>
              </a:ext>
            </a:extLst>
          </p:cNvPr>
          <p:cNvGrpSpPr/>
          <p:nvPr/>
        </p:nvGrpSpPr>
        <p:grpSpPr>
          <a:xfrm>
            <a:off x="2027992" y="4148756"/>
            <a:ext cx="239822" cy="318673"/>
            <a:chOff x="2027992" y="4148756"/>
            <a:chExt cx="239822" cy="318673"/>
          </a:xfrm>
          <a:noFill/>
        </p:grpSpPr>
        <p:sp>
          <p:nvSpPr>
            <p:cNvPr id="1601" name="Forma livre: Forma 1600">
              <a:extLst>
                <a:ext uri="{FF2B5EF4-FFF2-40B4-BE49-F238E27FC236}">
                  <a16:creationId xmlns:a16="http://schemas.microsoft.com/office/drawing/2014/main" id="{8DF3A87B-D632-787D-E2BF-7861D3306984}"/>
                </a:ext>
              </a:extLst>
            </p:cNvPr>
            <p:cNvSpPr/>
            <p:nvPr/>
          </p:nvSpPr>
          <p:spPr>
            <a:xfrm>
              <a:off x="2077345" y="4274479"/>
              <a:ext cx="4595" cy="153799"/>
            </a:xfrm>
            <a:custGeom>
              <a:avLst/>
              <a:gdLst>
                <a:gd name="connsiteX0" fmla="*/ 0 w 4595"/>
                <a:gd name="connsiteY0" fmla="*/ 153800 h 153799"/>
                <a:gd name="connsiteX1" fmla="*/ 0 w 4595"/>
                <a:gd name="connsiteY1" fmla="*/ 0 h 1537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595" h="153799">
                  <a:moveTo>
                    <a:pt x="0" y="153800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02" name="Forma livre: Forma 1601">
              <a:extLst>
                <a:ext uri="{FF2B5EF4-FFF2-40B4-BE49-F238E27FC236}">
                  <a16:creationId xmlns:a16="http://schemas.microsoft.com/office/drawing/2014/main" id="{15AC47B7-A846-D435-E26A-DB07A22B0826}"/>
                </a:ext>
              </a:extLst>
            </p:cNvPr>
            <p:cNvSpPr/>
            <p:nvPr/>
          </p:nvSpPr>
          <p:spPr>
            <a:xfrm>
              <a:off x="2027992" y="4183725"/>
              <a:ext cx="48617" cy="190790"/>
            </a:xfrm>
            <a:custGeom>
              <a:avLst/>
              <a:gdLst>
                <a:gd name="connsiteX0" fmla="*/ 1 w 48617"/>
                <a:gd name="connsiteY0" fmla="*/ 0 h 190790"/>
                <a:gd name="connsiteX1" fmla="*/ 1 w 48617"/>
                <a:gd name="connsiteY1" fmla="*/ 128710 h 190790"/>
                <a:gd name="connsiteX2" fmla="*/ 7491 w 48617"/>
                <a:gd name="connsiteY2" fmla="*/ 148791 h 190790"/>
                <a:gd name="connsiteX3" fmla="*/ 48618 w 48617"/>
                <a:gd name="connsiteY3" fmla="*/ 190791 h 1907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8617" h="190790">
                  <a:moveTo>
                    <a:pt x="1" y="0"/>
                  </a:moveTo>
                  <a:lnTo>
                    <a:pt x="1" y="128710"/>
                  </a:lnTo>
                  <a:cubicBezTo>
                    <a:pt x="1" y="128710"/>
                    <a:pt x="-274" y="140887"/>
                    <a:pt x="7491" y="148791"/>
                  </a:cubicBezTo>
                  <a:cubicBezTo>
                    <a:pt x="16682" y="158165"/>
                    <a:pt x="48618" y="190791"/>
                    <a:pt x="48618" y="190791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03" name="Forma livre: Forma 1602">
              <a:extLst>
                <a:ext uri="{FF2B5EF4-FFF2-40B4-BE49-F238E27FC236}">
                  <a16:creationId xmlns:a16="http://schemas.microsoft.com/office/drawing/2014/main" id="{0CB19530-3C99-DCC2-EEE6-B509CF76735C}"/>
                </a:ext>
              </a:extLst>
            </p:cNvPr>
            <p:cNvSpPr/>
            <p:nvPr/>
          </p:nvSpPr>
          <p:spPr>
            <a:xfrm>
              <a:off x="2077896" y="4224852"/>
              <a:ext cx="48386" cy="49627"/>
            </a:xfrm>
            <a:custGeom>
              <a:avLst/>
              <a:gdLst>
                <a:gd name="connsiteX0" fmla="*/ 0 w 48386"/>
                <a:gd name="connsiteY0" fmla="*/ 49628 h 49627"/>
                <a:gd name="connsiteX1" fmla="*/ 48387 w 48386"/>
                <a:gd name="connsiteY1" fmla="*/ 0 h 496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8386" h="49627">
                  <a:moveTo>
                    <a:pt x="0" y="49628"/>
                  </a:moveTo>
                  <a:lnTo>
                    <a:pt x="48387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04" name="Forma livre: Forma 1603">
              <a:extLst>
                <a:ext uri="{FF2B5EF4-FFF2-40B4-BE49-F238E27FC236}">
                  <a16:creationId xmlns:a16="http://schemas.microsoft.com/office/drawing/2014/main" id="{D01C5829-3844-EBF9-06EA-DDF7D94253A8}"/>
                </a:ext>
              </a:extLst>
            </p:cNvPr>
            <p:cNvSpPr/>
            <p:nvPr/>
          </p:nvSpPr>
          <p:spPr>
            <a:xfrm>
              <a:off x="2028315" y="4275996"/>
              <a:ext cx="48065" cy="48386"/>
            </a:xfrm>
            <a:custGeom>
              <a:avLst/>
              <a:gdLst>
                <a:gd name="connsiteX0" fmla="*/ 48065 w 48065"/>
                <a:gd name="connsiteY0" fmla="*/ 48387 h 48386"/>
                <a:gd name="connsiteX1" fmla="*/ 0 w 48065"/>
                <a:gd name="connsiteY1" fmla="*/ 0 h 48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8065" h="48386">
                  <a:moveTo>
                    <a:pt x="48065" y="48387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05" name="Forma livre: Forma 1604">
              <a:extLst>
                <a:ext uri="{FF2B5EF4-FFF2-40B4-BE49-F238E27FC236}">
                  <a16:creationId xmlns:a16="http://schemas.microsoft.com/office/drawing/2014/main" id="{92D1A57E-FDD9-227F-4FA4-3ECFCDC4BAAF}"/>
                </a:ext>
              </a:extLst>
            </p:cNvPr>
            <p:cNvSpPr/>
            <p:nvPr/>
          </p:nvSpPr>
          <p:spPr>
            <a:xfrm>
              <a:off x="2028820" y="4226460"/>
              <a:ext cx="47835" cy="48019"/>
            </a:xfrm>
            <a:custGeom>
              <a:avLst/>
              <a:gdLst>
                <a:gd name="connsiteX0" fmla="*/ 47835 w 47835"/>
                <a:gd name="connsiteY0" fmla="*/ 48019 h 48019"/>
                <a:gd name="connsiteX1" fmla="*/ 0 w 47835"/>
                <a:gd name="connsiteY1" fmla="*/ 0 h 480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7835" h="48019">
                  <a:moveTo>
                    <a:pt x="47835" y="48019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06" name="Forma livre: Forma 1605">
              <a:extLst>
                <a:ext uri="{FF2B5EF4-FFF2-40B4-BE49-F238E27FC236}">
                  <a16:creationId xmlns:a16="http://schemas.microsoft.com/office/drawing/2014/main" id="{A3257FE7-7CE4-BD84-5B6A-489015F5268F}"/>
                </a:ext>
              </a:extLst>
            </p:cNvPr>
            <p:cNvSpPr/>
            <p:nvPr/>
          </p:nvSpPr>
          <p:spPr>
            <a:xfrm>
              <a:off x="2059975" y="4148848"/>
              <a:ext cx="4595" cy="108215"/>
            </a:xfrm>
            <a:custGeom>
              <a:avLst/>
              <a:gdLst>
                <a:gd name="connsiteX0" fmla="*/ 0 w 4595"/>
                <a:gd name="connsiteY0" fmla="*/ 108216 h 108215"/>
                <a:gd name="connsiteX1" fmla="*/ 0 w 4595"/>
                <a:gd name="connsiteY1" fmla="*/ 0 h 1082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595" h="108215">
                  <a:moveTo>
                    <a:pt x="0" y="108216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07" name="Forma livre: Forma 1606">
              <a:extLst>
                <a:ext uri="{FF2B5EF4-FFF2-40B4-BE49-F238E27FC236}">
                  <a16:creationId xmlns:a16="http://schemas.microsoft.com/office/drawing/2014/main" id="{E8AD8E94-85FE-1E6F-336E-FB21A2DF0C64}"/>
                </a:ext>
              </a:extLst>
            </p:cNvPr>
            <p:cNvSpPr/>
            <p:nvPr/>
          </p:nvSpPr>
          <p:spPr>
            <a:xfrm>
              <a:off x="2092463" y="4148756"/>
              <a:ext cx="4595" cy="109134"/>
            </a:xfrm>
            <a:custGeom>
              <a:avLst/>
              <a:gdLst>
                <a:gd name="connsiteX0" fmla="*/ 0 w 4595"/>
                <a:gd name="connsiteY0" fmla="*/ 109135 h 109134"/>
                <a:gd name="connsiteX1" fmla="*/ 0 w 4595"/>
                <a:gd name="connsiteY1" fmla="*/ 0 h 1091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595" h="109134">
                  <a:moveTo>
                    <a:pt x="0" y="109135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08" name="Forma livre: Forma 1607">
              <a:extLst>
                <a:ext uri="{FF2B5EF4-FFF2-40B4-BE49-F238E27FC236}">
                  <a16:creationId xmlns:a16="http://schemas.microsoft.com/office/drawing/2014/main" id="{7E808D5A-C2AC-C589-F8B6-DC2A40C12162}"/>
                </a:ext>
              </a:extLst>
            </p:cNvPr>
            <p:cNvSpPr/>
            <p:nvPr/>
          </p:nvSpPr>
          <p:spPr>
            <a:xfrm>
              <a:off x="2078218" y="4358708"/>
              <a:ext cx="16542" cy="16083"/>
            </a:xfrm>
            <a:custGeom>
              <a:avLst/>
              <a:gdLst>
                <a:gd name="connsiteX0" fmla="*/ 16543 w 16542"/>
                <a:gd name="connsiteY0" fmla="*/ 0 h 16083"/>
                <a:gd name="connsiteX1" fmla="*/ 0 w 16542"/>
                <a:gd name="connsiteY1" fmla="*/ 16083 h 16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6542" h="16083">
                  <a:moveTo>
                    <a:pt x="16543" y="0"/>
                  </a:moveTo>
                  <a:cubicBezTo>
                    <a:pt x="9006" y="7720"/>
                    <a:pt x="0" y="16083"/>
                    <a:pt x="0" y="16083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09" name="Forma livre: Forma 1608">
              <a:extLst>
                <a:ext uri="{FF2B5EF4-FFF2-40B4-BE49-F238E27FC236}">
                  <a16:creationId xmlns:a16="http://schemas.microsoft.com/office/drawing/2014/main" id="{FAAC4290-7116-7C99-01D4-2D7177F020CC}"/>
                </a:ext>
              </a:extLst>
            </p:cNvPr>
            <p:cNvSpPr/>
            <p:nvPr/>
          </p:nvSpPr>
          <p:spPr>
            <a:xfrm>
              <a:off x="2078264" y="4183495"/>
              <a:ext cx="49214" cy="140703"/>
            </a:xfrm>
            <a:custGeom>
              <a:avLst/>
              <a:gdLst>
                <a:gd name="connsiteX0" fmla="*/ 49214 w 49214"/>
                <a:gd name="connsiteY0" fmla="*/ 0 h 140703"/>
                <a:gd name="connsiteX1" fmla="*/ 49214 w 49214"/>
                <a:gd name="connsiteY1" fmla="*/ 89927 h 140703"/>
                <a:gd name="connsiteX2" fmla="*/ 0 w 49214"/>
                <a:gd name="connsiteY2" fmla="*/ 140703 h 1407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9214" h="140703">
                  <a:moveTo>
                    <a:pt x="49214" y="0"/>
                  </a:moveTo>
                  <a:lnTo>
                    <a:pt x="49214" y="89927"/>
                  </a:lnTo>
                  <a:lnTo>
                    <a:pt x="0" y="140703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610" name="Gráfico 23">
              <a:extLst>
                <a:ext uri="{FF2B5EF4-FFF2-40B4-BE49-F238E27FC236}">
                  <a16:creationId xmlns:a16="http://schemas.microsoft.com/office/drawing/2014/main" id="{789EB23E-C7D0-F1EC-0A59-A5AC5A083D6E}"/>
                </a:ext>
              </a:extLst>
            </p:cNvPr>
            <p:cNvGrpSpPr/>
            <p:nvPr/>
          </p:nvGrpSpPr>
          <p:grpSpPr>
            <a:xfrm>
              <a:off x="2112452" y="4210836"/>
              <a:ext cx="155362" cy="256593"/>
              <a:chOff x="2112452" y="4210836"/>
              <a:chExt cx="155362" cy="256593"/>
            </a:xfrm>
            <a:noFill/>
          </p:grpSpPr>
          <p:sp>
            <p:nvSpPr>
              <p:cNvPr id="1611" name="Forma livre: Forma 1610">
                <a:extLst>
                  <a:ext uri="{FF2B5EF4-FFF2-40B4-BE49-F238E27FC236}">
                    <a16:creationId xmlns:a16="http://schemas.microsoft.com/office/drawing/2014/main" id="{ACFE71C0-1526-12AA-2527-7F19CDABAB45}"/>
                  </a:ext>
                </a:extLst>
              </p:cNvPr>
              <p:cNvSpPr/>
              <p:nvPr/>
            </p:nvSpPr>
            <p:spPr>
              <a:xfrm>
                <a:off x="2118042" y="4226690"/>
                <a:ext cx="61545" cy="191250"/>
              </a:xfrm>
              <a:custGeom>
                <a:avLst/>
                <a:gdLst>
                  <a:gd name="connsiteX0" fmla="*/ 61545 w 61545"/>
                  <a:gd name="connsiteY0" fmla="*/ 0 h 191250"/>
                  <a:gd name="connsiteX1" fmla="*/ 3462 w 61545"/>
                  <a:gd name="connsiteY1" fmla="*/ 114327 h 191250"/>
                  <a:gd name="connsiteX2" fmla="*/ 1027 w 61545"/>
                  <a:gd name="connsiteY2" fmla="*/ 135695 h 191250"/>
                  <a:gd name="connsiteX3" fmla="*/ 18351 w 61545"/>
                  <a:gd name="connsiteY3" fmla="*/ 191250 h 1912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1545" h="191250">
                    <a:moveTo>
                      <a:pt x="61545" y="0"/>
                    </a:moveTo>
                    <a:lnTo>
                      <a:pt x="3462" y="114327"/>
                    </a:lnTo>
                    <a:cubicBezTo>
                      <a:pt x="3462" y="114327"/>
                      <a:pt x="-2282" y="125034"/>
                      <a:pt x="1027" y="135695"/>
                    </a:cubicBezTo>
                    <a:cubicBezTo>
                      <a:pt x="4933" y="148331"/>
                      <a:pt x="18351" y="191250"/>
                      <a:pt x="18351" y="191250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612" name="Forma livre: Forma 1611">
                <a:extLst>
                  <a:ext uri="{FF2B5EF4-FFF2-40B4-BE49-F238E27FC236}">
                    <a16:creationId xmlns:a16="http://schemas.microsoft.com/office/drawing/2014/main" id="{00A5E03F-4484-83C6-94CC-C1549B89BE4B}"/>
                  </a:ext>
                </a:extLst>
              </p:cNvPr>
              <p:cNvSpPr/>
              <p:nvPr/>
            </p:nvSpPr>
            <p:spPr>
              <a:xfrm>
                <a:off x="2160012" y="4353837"/>
                <a:ext cx="66445" cy="21459"/>
              </a:xfrm>
              <a:custGeom>
                <a:avLst/>
                <a:gdLst>
                  <a:gd name="connsiteX0" fmla="*/ 0 w 66445"/>
                  <a:gd name="connsiteY0" fmla="*/ 21459 h 21459"/>
                  <a:gd name="connsiteX1" fmla="*/ 66446 w 66445"/>
                  <a:gd name="connsiteY1" fmla="*/ 0 h 214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6445" h="21459">
                    <a:moveTo>
                      <a:pt x="0" y="21459"/>
                    </a:moveTo>
                    <a:lnTo>
                      <a:pt x="66446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613" name="Forma livre: Forma 1612">
                <a:extLst>
                  <a:ext uri="{FF2B5EF4-FFF2-40B4-BE49-F238E27FC236}">
                    <a16:creationId xmlns:a16="http://schemas.microsoft.com/office/drawing/2014/main" id="{B2702E55-3302-94C0-253A-F330CB1597C8}"/>
                  </a:ext>
                </a:extLst>
              </p:cNvPr>
              <p:cNvSpPr/>
              <p:nvPr/>
            </p:nvSpPr>
            <p:spPr>
              <a:xfrm>
                <a:off x="2182160" y="4309448"/>
                <a:ext cx="66997" cy="21597"/>
              </a:xfrm>
              <a:custGeom>
                <a:avLst/>
                <a:gdLst>
                  <a:gd name="connsiteX0" fmla="*/ 0 w 66997"/>
                  <a:gd name="connsiteY0" fmla="*/ 21597 h 21597"/>
                  <a:gd name="connsiteX1" fmla="*/ 66997 w 66997"/>
                  <a:gd name="connsiteY1" fmla="*/ 0 h 215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6997" h="21597">
                    <a:moveTo>
                      <a:pt x="0" y="21597"/>
                    </a:moveTo>
                    <a:lnTo>
                      <a:pt x="66997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614" name="Forma livre: Forma 1613">
                <a:extLst>
                  <a:ext uri="{FF2B5EF4-FFF2-40B4-BE49-F238E27FC236}">
                    <a16:creationId xmlns:a16="http://schemas.microsoft.com/office/drawing/2014/main" id="{9186F44B-0870-90B7-AFC2-94A5810B367D}"/>
                  </a:ext>
                </a:extLst>
              </p:cNvPr>
              <p:cNvSpPr/>
              <p:nvPr/>
            </p:nvSpPr>
            <p:spPr>
              <a:xfrm>
                <a:off x="2138231" y="4308805"/>
                <a:ext cx="20494" cy="65848"/>
              </a:xfrm>
              <a:custGeom>
                <a:avLst/>
                <a:gdLst>
                  <a:gd name="connsiteX0" fmla="*/ 20494 w 20494"/>
                  <a:gd name="connsiteY0" fmla="*/ 65848 h 65848"/>
                  <a:gd name="connsiteX1" fmla="*/ 0 w 20494"/>
                  <a:gd name="connsiteY1" fmla="*/ 0 h 658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0494" h="65848">
                    <a:moveTo>
                      <a:pt x="20494" y="65848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615" name="Forma livre: Forma 1614">
                <a:extLst>
                  <a:ext uri="{FF2B5EF4-FFF2-40B4-BE49-F238E27FC236}">
                    <a16:creationId xmlns:a16="http://schemas.microsoft.com/office/drawing/2014/main" id="{883EAAFB-3921-5908-95C3-49C25EB3FD65}"/>
                  </a:ext>
                </a:extLst>
              </p:cNvPr>
              <p:cNvSpPr/>
              <p:nvPr/>
            </p:nvSpPr>
            <p:spPr>
              <a:xfrm>
                <a:off x="2161115" y="4265059"/>
                <a:ext cx="20264" cy="65572"/>
              </a:xfrm>
              <a:custGeom>
                <a:avLst/>
                <a:gdLst>
                  <a:gd name="connsiteX0" fmla="*/ 20265 w 20264"/>
                  <a:gd name="connsiteY0" fmla="*/ 65573 h 65572"/>
                  <a:gd name="connsiteX1" fmla="*/ 0 w 20264"/>
                  <a:gd name="connsiteY1" fmla="*/ 0 h 655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0264" h="65572">
                    <a:moveTo>
                      <a:pt x="20265" y="65573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616" name="Forma livre: Forma 1615">
                <a:extLst>
                  <a:ext uri="{FF2B5EF4-FFF2-40B4-BE49-F238E27FC236}">
                    <a16:creationId xmlns:a16="http://schemas.microsoft.com/office/drawing/2014/main" id="{1BDF4B35-323A-4D08-A425-6AB8C9293256}"/>
                  </a:ext>
                </a:extLst>
              </p:cNvPr>
              <p:cNvSpPr/>
              <p:nvPr/>
            </p:nvSpPr>
            <p:spPr>
              <a:xfrm>
                <a:off x="2174946" y="4210836"/>
                <a:ext cx="48846" cy="96130"/>
              </a:xfrm>
              <a:custGeom>
                <a:avLst/>
                <a:gdLst>
                  <a:gd name="connsiteX0" fmla="*/ 0 w 48846"/>
                  <a:gd name="connsiteY0" fmla="*/ 96131 h 96130"/>
                  <a:gd name="connsiteX1" fmla="*/ 48846 w 48846"/>
                  <a:gd name="connsiteY1" fmla="*/ 0 h 961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8846" h="96130">
                    <a:moveTo>
                      <a:pt x="0" y="96131"/>
                    </a:moveTo>
                    <a:lnTo>
                      <a:pt x="48846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617" name="Forma livre: Forma 1616">
                <a:extLst>
                  <a:ext uri="{FF2B5EF4-FFF2-40B4-BE49-F238E27FC236}">
                    <a16:creationId xmlns:a16="http://schemas.microsoft.com/office/drawing/2014/main" id="{F2F0F77F-34CE-4DD7-4CCB-E74841890B95}"/>
                  </a:ext>
                </a:extLst>
              </p:cNvPr>
              <p:cNvSpPr/>
              <p:nvPr/>
            </p:nvSpPr>
            <p:spPr>
              <a:xfrm>
                <a:off x="2203206" y="4226138"/>
                <a:ext cx="49397" cy="97187"/>
              </a:xfrm>
              <a:custGeom>
                <a:avLst/>
                <a:gdLst>
                  <a:gd name="connsiteX0" fmla="*/ 0 w 49397"/>
                  <a:gd name="connsiteY0" fmla="*/ 97187 h 97187"/>
                  <a:gd name="connsiteX1" fmla="*/ 49398 w 49397"/>
                  <a:gd name="connsiteY1" fmla="*/ 0 h 971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9397" h="97187">
                    <a:moveTo>
                      <a:pt x="0" y="97187"/>
                    </a:moveTo>
                    <a:lnTo>
                      <a:pt x="49398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618" name="Forma livre: Forma 1617">
                <a:extLst>
                  <a:ext uri="{FF2B5EF4-FFF2-40B4-BE49-F238E27FC236}">
                    <a16:creationId xmlns:a16="http://schemas.microsoft.com/office/drawing/2014/main" id="{93AAA2AE-5DE7-B89C-774B-B0A6412909B8}"/>
                  </a:ext>
                </a:extLst>
              </p:cNvPr>
              <p:cNvSpPr/>
              <p:nvPr/>
            </p:nvSpPr>
            <p:spPr>
              <a:xfrm>
                <a:off x="2138185" y="4273422"/>
                <a:ext cx="129629" cy="145482"/>
              </a:xfrm>
              <a:custGeom>
                <a:avLst/>
                <a:gdLst>
                  <a:gd name="connsiteX0" fmla="*/ 129629 w 129629"/>
                  <a:gd name="connsiteY0" fmla="*/ 0 h 145482"/>
                  <a:gd name="connsiteX1" fmla="*/ 71546 w 129629"/>
                  <a:gd name="connsiteY1" fmla="*/ 114281 h 145482"/>
                  <a:gd name="connsiteX2" fmla="*/ 55831 w 129629"/>
                  <a:gd name="connsiteY2" fmla="*/ 128618 h 145482"/>
                  <a:gd name="connsiteX3" fmla="*/ 0 w 129629"/>
                  <a:gd name="connsiteY3" fmla="*/ 145482 h 1454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29629" h="145482">
                    <a:moveTo>
                      <a:pt x="129629" y="0"/>
                    </a:moveTo>
                    <a:lnTo>
                      <a:pt x="71546" y="114281"/>
                    </a:lnTo>
                    <a:cubicBezTo>
                      <a:pt x="71546" y="114281"/>
                      <a:pt x="66308" y="125218"/>
                      <a:pt x="55831" y="128618"/>
                    </a:cubicBezTo>
                    <a:cubicBezTo>
                      <a:pt x="43470" y="132662"/>
                      <a:pt x="0" y="145482"/>
                      <a:pt x="0" y="145482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619" name="Forma livre: Forma 1618">
                <a:extLst>
                  <a:ext uri="{FF2B5EF4-FFF2-40B4-BE49-F238E27FC236}">
                    <a16:creationId xmlns:a16="http://schemas.microsoft.com/office/drawing/2014/main" id="{B299A67F-41DE-756D-5A9F-EAD9836EC838}"/>
                  </a:ext>
                </a:extLst>
              </p:cNvPr>
              <p:cNvSpPr/>
              <p:nvPr/>
            </p:nvSpPr>
            <p:spPr>
              <a:xfrm>
                <a:off x="2112452" y="4330862"/>
                <a:ext cx="69386" cy="136567"/>
              </a:xfrm>
              <a:custGeom>
                <a:avLst/>
                <a:gdLst>
                  <a:gd name="connsiteX0" fmla="*/ 0 w 69386"/>
                  <a:gd name="connsiteY0" fmla="*/ 136568 h 136567"/>
                  <a:gd name="connsiteX1" fmla="*/ 69387 w 69386"/>
                  <a:gd name="connsiteY1" fmla="*/ 0 h 1365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9386" h="136567">
                    <a:moveTo>
                      <a:pt x="0" y="136568"/>
                    </a:moveTo>
                    <a:lnTo>
                      <a:pt x="69387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621" name="Gráfico 24">
            <a:extLst>
              <a:ext uri="{FF2B5EF4-FFF2-40B4-BE49-F238E27FC236}">
                <a16:creationId xmlns:a16="http://schemas.microsoft.com/office/drawing/2014/main" id="{585D0808-B6C3-2067-F32E-BFADBA4C0297}"/>
              </a:ext>
            </a:extLst>
          </p:cNvPr>
          <p:cNvGrpSpPr/>
          <p:nvPr/>
        </p:nvGrpSpPr>
        <p:grpSpPr>
          <a:xfrm>
            <a:off x="3325855" y="4659140"/>
            <a:ext cx="250389" cy="319592"/>
            <a:chOff x="3325855" y="4659140"/>
            <a:chExt cx="250389" cy="319592"/>
          </a:xfrm>
          <a:noFill/>
        </p:grpSpPr>
        <p:sp>
          <p:nvSpPr>
            <p:cNvPr id="1622" name="Forma livre: Forma 1621">
              <a:extLst>
                <a:ext uri="{FF2B5EF4-FFF2-40B4-BE49-F238E27FC236}">
                  <a16:creationId xmlns:a16="http://schemas.microsoft.com/office/drawing/2014/main" id="{158612E8-0B0B-4A0A-D168-99F8DD5D514C}"/>
                </a:ext>
              </a:extLst>
            </p:cNvPr>
            <p:cNvSpPr/>
            <p:nvPr/>
          </p:nvSpPr>
          <p:spPr>
            <a:xfrm>
              <a:off x="3325855" y="4660518"/>
              <a:ext cx="125585" cy="288345"/>
            </a:xfrm>
            <a:custGeom>
              <a:avLst/>
              <a:gdLst>
                <a:gd name="connsiteX0" fmla="*/ 125585 w 125585"/>
                <a:gd name="connsiteY0" fmla="*/ 288346 h 288345"/>
                <a:gd name="connsiteX1" fmla="*/ 0 w 125585"/>
                <a:gd name="connsiteY1" fmla="*/ 175581 h 288345"/>
                <a:gd name="connsiteX2" fmla="*/ 125218 w 125585"/>
                <a:gd name="connsiteY2" fmla="*/ 0 h 2883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5585" h="288345">
                  <a:moveTo>
                    <a:pt x="125585" y="288346"/>
                  </a:moveTo>
                  <a:cubicBezTo>
                    <a:pt x="56245" y="288346"/>
                    <a:pt x="0" y="237845"/>
                    <a:pt x="0" y="175581"/>
                  </a:cubicBezTo>
                  <a:cubicBezTo>
                    <a:pt x="0" y="63551"/>
                    <a:pt x="125218" y="69203"/>
                    <a:pt x="125218" y="0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23" name="Forma livre: Forma 1622">
              <a:extLst>
                <a:ext uri="{FF2B5EF4-FFF2-40B4-BE49-F238E27FC236}">
                  <a16:creationId xmlns:a16="http://schemas.microsoft.com/office/drawing/2014/main" id="{2A3B5E06-A060-AD09-0204-E0117B294CFA}"/>
                </a:ext>
              </a:extLst>
            </p:cNvPr>
            <p:cNvSpPr/>
            <p:nvPr/>
          </p:nvSpPr>
          <p:spPr>
            <a:xfrm>
              <a:off x="3450660" y="4660518"/>
              <a:ext cx="125585" cy="288345"/>
            </a:xfrm>
            <a:custGeom>
              <a:avLst/>
              <a:gdLst>
                <a:gd name="connsiteX0" fmla="*/ 0 w 125585"/>
                <a:gd name="connsiteY0" fmla="*/ 288346 h 288345"/>
                <a:gd name="connsiteX1" fmla="*/ 125585 w 125585"/>
                <a:gd name="connsiteY1" fmla="*/ 175581 h 288345"/>
                <a:gd name="connsiteX2" fmla="*/ 368 w 125585"/>
                <a:gd name="connsiteY2" fmla="*/ 0 h 2883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5585" h="288345">
                  <a:moveTo>
                    <a:pt x="0" y="288346"/>
                  </a:moveTo>
                  <a:cubicBezTo>
                    <a:pt x="69341" y="288346"/>
                    <a:pt x="125585" y="237845"/>
                    <a:pt x="125585" y="175581"/>
                  </a:cubicBezTo>
                  <a:cubicBezTo>
                    <a:pt x="125585" y="63551"/>
                    <a:pt x="368" y="69203"/>
                    <a:pt x="368" y="0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24" name="Forma livre: Forma 1623">
              <a:extLst>
                <a:ext uri="{FF2B5EF4-FFF2-40B4-BE49-F238E27FC236}">
                  <a16:creationId xmlns:a16="http://schemas.microsoft.com/office/drawing/2014/main" id="{87B61162-8389-754A-BFEE-D77C756739E4}"/>
                </a:ext>
              </a:extLst>
            </p:cNvPr>
            <p:cNvSpPr/>
            <p:nvPr/>
          </p:nvSpPr>
          <p:spPr>
            <a:xfrm>
              <a:off x="3363398" y="4784679"/>
              <a:ext cx="88043" cy="164184"/>
            </a:xfrm>
            <a:custGeom>
              <a:avLst/>
              <a:gdLst>
                <a:gd name="connsiteX0" fmla="*/ 88043 w 88043"/>
                <a:gd name="connsiteY0" fmla="*/ 164185 h 164184"/>
                <a:gd name="connsiteX1" fmla="*/ 0 w 88043"/>
                <a:gd name="connsiteY1" fmla="*/ 51420 h 164184"/>
                <a:gd name="connsiteX2" fmla="*/ 11350 w 88043"/>
                <a:gd name="connsiteY2" fmla="*/ 0 h 1641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88043" h="164184">
                  <a:moveTo>
                    <a:pt x="88043" y="164185"/>
                  </a:moveTo>
                  <a:cubicBezTo>
                    <a:pt x="39197" y="164185"/>
                    <a:pt x="0" y="113684"/>
                    <a:pt x="0" y="51420"/>
                  </a:cubicBezTo>
                  <a:cubicBezTo>
                    <a:pt x="0" y="31017"/>
                    <a:pt x="4457" y="14383"/>
                    <a:pt x="11350" y="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25" name="Forma livre: Forma 1624">
              <a:extLst>
                <a:ext uri="{FF2B5EF4-FFF2-40B4-BE49-F238E27FC236}">
                  <a16:creationId xmlns:a16="http://schemas.microsoft.com/office/drawing/2014/main" id="{CCF0A3D5-2E3A-8F9C-0958-A96704983583}"/>
                </a:ext>
              </a:extLst>
            </p:cNvPr>
            <p:cNvSpPr/>
            <p:nvPr/>
          </p:nvSpPr>
          <p:spPr>
            <a:xfrm>
              <a:off x="3430625" y="4660564"/>
              <a:ext cx="20402" cy="77336"/>
            </a:xfrm>
            <a:custGeom>
              <a:avLst/>
              <a:gdLst>
                <a:gd name="connsiteX0" fmla="*/ 0 w 20402"/>
                <a:gd name="connsiteY0" fmla="*/ 77336 h 77336"/>
                <a:gd name="connsiteX1" fmla="*/ 20402 w 20402"/>
                <a:gd name="connsiteY1" fmla="*/ 0 h 773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0402" h="77336">
                  <a:moveTo>
                    <a:pt x="0" y="77336"/>
                  </a:moveTo>
                  <a:cubicBezTo>
                    <a:pt x="9512" y="54407"/>
                    <a:pt x="20402" y="33039"/>
                    <a:pt x="20402" y="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26" name="Forma livre: Forma 1625">
              <a:extLst>
                <a:ext uri="{FF2B5EF4-FFF2-40B4-BE49-F238E27FC236}">
                  <a16:creationId xmlns:a16="http://schemas.microsoft.com/office/drawing/2014/main" id="{831F1F05-A8A5-2A28-96AC-B0A4835CB301}"/>
                </a:ext>
              </a:extLst>
            </p:cNvPr>
            <p:cNvSpPr/>
            <p:nvPr/>
          </p:nvSpPr>
          <p:spPr>
            <a:xfrm>
              <a:off x="3409349" y="4781968"/>
              <a:ext cx="42091" cy="166895"/>
            </a:xfrm>
            <a:custGeom>
              <a:avLst/>
              <a:gdLst>
                <a:gd name="connsiteX0" fmla="*/ 42092 w 42091"/>
                <a:gd name="connsiteY0" fmla="*/ 166896 h 166895"/>
                <a:gd name="connsiteX1" fmla="*/ 0 w 42091"/>
                <a:gd name="connsiteY1" fmla="*/ 54131 h 166895"/>
                <a:gd name="connsiteX2" fmla="*/ 6020 w 42091"/>
                <a:gd name="connsiteY2" fmla="*/ 0 h 1668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2091" h="166895">
                  <a:moveTo>
                    <a:pt x="42092" y="166896"/>
                  </a:moveTo>
                  <a:cubicBezTo>
                    <a:pt x="18840" y="166896"/>
                    <a:pt x="0" y="116395"/>
                    <a:pt x="0" y="54131"/>
                  </a:cubicBezTo>
                  <a:cubicBezTo>
                    <a:pt x="0" y="32442"/>
                    <a:pt x="2389" y="14980"/>
                    <a:pt x="6020" y="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27" name="Forma livre: Forma 1626">
              <a:extLst>
                <a:ext uri="{FF2B5EF4-FFF2-40B4-BE49-F238E27FC236}">
                  <a16:creationId xmlns:a16="http://schemas.microsoft.com/office/drawing/2014/main" id="{A8BD2521-0C82-1311-E1E7-FDFCBACB6CB4}"/>
                </a:ext>
              </a:extLst>
            </p:cNvPr>
            <p:cNvSpPr/>
            <p:nvPr/>
          </p:nvSpPr>
          <p:spPr>
            <a:xfrm>
              <a:off x="3448730" y="4660518"/>
              <a:ext cx="88456" cy="288345"/>
            </a:xfrm>
            <a:custGeom>
              <a:avLst/>
              <a:gdLst>
                <a:gd name="connsiteX0" fmla="*/ 0 w 88456"/>
                <a:gd name="connsiteY0" fmla="*/ 288346 h 288345"/>
                <a:gd name="connsiteX1" fmla="*/ 88457 w 88456"/>
                <a:gd name="connsiteY1" fmla="*/ 175581 h 288345"/>
                <a:gd name="connsiteX2" fmla="*/ 2298 w 88456"/>
                <a:gd name="connsiteY2" fmla="*/ 0 h 2883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88456" h="288345">
                  <a:moveTo>
                    <a:pt x="0" y="288346"/>
                  </a:moveTo>
                  <a:cubicBezTo>
                    <a:pt x="48846" y="288346"/>
                    <a:pt x="88457" y="237845"/>
                    <a:pt x="88457" y="175581"/>
                  </a:cubicBezTo>
                  <a:cubicBezTo>
                    <a:pt x="88457" y="87170"/>
                    <a:pt x="2298" y="69203"/>
                    <a:pt x="2298" y="0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28" name="Forma livre: Forma 1627">
              <a:extLst>
                <a:ext uri="{FF2B5EF4-FFF2-40B4-BE49-F238E27FC236}">
                  <a16:creationId xmlns:a16="http://schemas.microsoft.com/office/drawing/2014/main" id="{E0343B77-564F-046A-4B85-71B97FC5EAB2}"/>
                </a:ext>
              </a:extLst>
            </p:cNvPr>
            <p:cNvSpPr/>
            <p:nvPr/>
          </p:nvSpPr>
          <p:spPr>
            <a:xfrm>
              <a:off x="3448730" y="4660518"/>
              <a:ext cx="42091" cy="288345"/>
            </a:xfrm>
            <a:custGeom>
              <a:avLst/>
              <a:gdLst>
                <a:gd name="connsiteX0" fmla="*/ 0 w 42091"/>
                <a:gd name="connsiteY0" fmla="*/ 288346 h 288345"/>
                <a:gd name="connsiteX1" fmla="*/ 42092 w 42091"/>
                <a:gd name="connsiteY1" fmla="*/ 175581 h 288345"/>
                <a:gd name="connsiteX2" fmla="*/ 2344 w 42091"/>
                <a:gd name="connsiteY2" fmla="*/ 0 h 2883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2091" h="288345">
                  <a:moveTo>
                    <a:pt x="0" y="288346"/>
                  </a:moveTo>
                  <a:cubicBezTo>
                    <a:pt x="23251" y="288346"/>
                    <a:pt x="42092" y="237845"/>
                    <a:pt x="42092" y="175581"/>
                  </a:cubicBezTo>
                  <a:cubicBezTo>
                    <a:pt x="42092" y="87170"/>
                    <a:pt x="2344" y="69203"/>
                    <a:pt x="2344" y="0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29" name="Forma livre: Forma 1628">
              <a:extLst>
                <a:ext uri="{FF2B5EF4-FFF2-40B4-BE49-F238E27FC236}">
                  <a16:creationId xmlns:a16="http://schemas.microsoft.com/office/drawing/2014/main" id="{2C315CD6-7B5D-26B6-F751-EE1071B19DEC}"/>
                </a:ext>
              </a:extLst>
            </p:cNvPr>
            <p:cNvSpPr/>
            <p:nvPr/>
          </p:nvSpPr>
          <p:spPr>
            <a:xfrm>
              <a:off x="3418631" y="4946980"/>
              <a:ext cx="12590" cy="23894"/>
            </a:xfrm>
            <a:custGeom>
              <a:avLst/>
              <a:gdLst>
                <a:gd name="connsiteX0" fmla="*/ 12591 w 12590"/>
                <a:gd name="connsiteY0" fmla="*/ 0 h 23894"/>
                <a:gd name="connsiteX1" fmla="*/ 0 w 12590"/>
                <a:gd name="connsiteY1" fmla="*/ 23895 h 238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90" h="23894">
                  <a:moveTo>
                    <a:pt x="12591" y="0"/>
                  </a:moveTo>
                  <a:lnTo>
                    <a:pt x="0" y="23895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30" name="Forma livre: Forma 1629">
              <a:extLst>
                <a:ext uri="{FF2B5EF4-FFF2-40B4-BE49-F238E27FC236}">
                  <a16:creationId xmlns:a16="http://schemas.microsoft.com/office/drawing/2014/main" id="{0960CE9C-6069-29C3-BE71-226FBE30F8E2}"/>
                </a:ext>
              </a:extLst>
            </p:cNvPr>
            <p:cNvSpPr/>
            <p:nvPr/>
          </p:nvSpPr>
          <p:spPr>
            <a:xfrm>
              <a:off x="3468994" y="4946980"/>
              <a:ext cx="12590" cy="23894"/>
            </a:xfrm>
            <a:custGeom>
              <a:avLst/>
              <a:gdLst>
                <a:gd name="connsiteX0" fmla="*/ 0 w 12590"/>
                <a:gd name="connsiteY0" fmla="*/ 0 h 23894"/>
                <a:gd name="connsiteX1" fmla="*/ 12591 w 12590"/>
                <a:gd name="connsiteY1" fmla="*/ 23895 h 238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90" h="23894">
                  <a:moveTo>
                    <a:pt x="0" y="0"/>
                  </a:moveTo>
                  <a:lnTo>
                    <a:pt x="12591" y="23895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31" name="Forma livre: Forma 1630">
              <a:extLst>
                <a:ext uri="{FF2B5EF4-FFF2-40B4-BE49-F238E27FC236}">
                  <a16:creationId xmlns:a16="http://schemas.microsoft.com/office/drawing/2014/main" id="{F526FFE0-93EB-32B5-943A-8A650D95A863}"/>
                </a:ext>
              </a:extLst>
            </p:cNvPr>
            <p:cNvSpPr/>
            <p:nvPr/>
          </p:nvSpPr>
          <p:spPr>
            <a:xfrm>
              <a:off x="3450108" y="4949737"/>
              <a:ext cx="4595" cy="28995"/>
            </a:xfrm>
            <a:custGeom>
              <a:avLst/>
              <a:gdLst>
                <a:gd name="connsiteX0" fmla="*/ 0 w 4595"/>
                <a:gd name="connsiteY0" fmla="*/ 28995 h 28995"/>
                <a:gd name="connsiteX1" fmla="*/ 0 w 4595"/>
                <a:gd name="connsiteY1" fmla="*/ 0 h 289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595" h="28995">
                  <a:moveTo>
                    <a:pt x="0" y="28995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32" name="Forma livre: Forma 1631">
              <a:extLst>
                <a:ext uri="{FF2B5EF4-FFF2-40B4-BE49-F238E27FC236}">
                  <a16:creationId xmlns:a16="http://schemas.microsoft.com/office/drawing/2014/main" id="{FC159500-5217-E722-5CDF-BF914D31BA90}"/>
                </a:ext>
              </a:extLst>
            </p:cNvPr>
            <p:cNvSpPr/>
            <p:nvPr/>
          </p:nvSpPr>
          <p:spPr>
            <a:xfrm>
              <a:off x="3451027" y="4659140"/>
              <a:ext cx="4595" cy="8914"/>
            </a:xfrm>
            <a:custGeom>
              <a:avLst/>
              <a:gdLst>
                <a:gd name="connsiteX0" fmla="*/ 0 w 4595"/>
                <a:gd name="connsiteY0" fmla="*/ 0 h 8914"/>
                <a:gd name="connsiteX1" fmla="*/ 0 w 4595"/>
                <a:gd name="connsiteY1" fmla="*/ 8915 h 89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595" h="8914">
                  <a:moveTo>
                    <a:pt x="0" y="0"/>
                  </a:moveTo>
                  <a:lnTo>
                    <a:pt x="0" y="8915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633" name="Gráfico 24">
            <a:extLst>
              <a:ext uri="{FF2B5EF4-FFF2-40B4-BE49-F238E27FC236}">
                <a16:creationId xmlns:a16="http://schemas.microsoft.com/office/drawing/2014/main" id="{F3C60226-72F6-9C8D-56C0-939E905471CD}"/>
              </a:ext>
            </a:extLst>
          </p:cNvPr>
          <p:cNvGrpSpPr/>
          <p:nvPr/>
        </p:nvGrpSpPr>
        <p:grpSpPr>
          <a:xfrm>
            <a:off x="2673987" y="4686940"/>
            <a:ext cx="352401" cy="263959"/>
            <a:chOff x="2673987" y="4686940"/>
            <a:chExt cx="352401" cy="263959"/>
          </a:xfrm>
          <a:noFill/>
        </p:grpSpPr>
        <p:sp>
          <p:nvSpPr>
            <p:cNvPr id="1634" name="Forma livre: Forma 1633">
              <a:extLst>
                <a:ext uri="{FF2B5EF4-FFF2-40B4-BE49-F238E27FC236}">
                  <a16:creationId xmlns:a16="http://schemas.microsoft.com/office/drawing/2014/main" id="{C162A3C5-8325-B3E4-A911-4A329FA553F5}"/>
                </a:ext>
              </a:extLst>
            </p:cNvPr>
            <p:cNvSpPr/>
            <p:nvPr/>
          </p:nvSpPr>
          <p:spPr>
            <a:xfrm>
              <a:off x="2673987" y="4686940"/>
              <a:ext cx="46778" cy="43883"/>
            </a:xfrm>
            <a:custGeom>
              <a:avLst/>
              <a:gdLst>
                <a:gd name="connsiteX0" fmla="*/ 20678 w 46778"/>
                <a:gd name="connsiteY0" fmla="*/ 43884 h 43883"/>
                <a:gd name="connsiteX1" fmla="*/ 0 w 46778"/>
                <a:gd name="connsiteY1" fmla="*/ 184 h 43883"/>
                <a:gd name="connsiteX2" fmla="*/ 19070 w 46778"/>
                <a:gd name="connsiteY2" fmla="*/ 0 h 43883"/>
                <a:gd name="connsiteX3" fmla="*/ 46779 w 46778"/>
                <a:gd name="connsiteY3" fmla="*/ 37864 h 438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6778" h="43883">
                  <a:moveTo>
                    <a:pt x="20678" y="43884"/>
                  </a:moveTo>
                  <a:cubicBezTo>
                    <a:pt x="13877" y="32580"/>
                    <a:pt x="4825" y="16129"/>
                    <a:pt x="0" y="184"/>
                  </a:cubicBezTo>
                  <a:lnTo>
                    <a:pt x="19070" y="0"/>
                  </a:lnTo>
                  <a:cubicBezTo>
                    <a:pt x="19070" y="0"/>
                    <a:pt x="27295" y="17048"/>
                    <a:pt x="46779" y="37864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35" name="Forma livre: Forma 1634">
              <a:extLst>
                <a:ext uri="{FF2B5EF4-FFF2-40B4-BE49-F238E27FC236}">
                  <a16:creationId xmlns:a16="http://schemas.microsoft.com/office/drawing/2014/main" id="{F63B5E6C-B0CE-C84C-BA95-E65C8BD612AD}"/>
                </a:ext>
              </a:extLst>
            </p:cNvPr>
            <p:cNvSpPr/>
            <p:nvPr/>
          </p:nvSpPr>
          <p:spPr>
            <a:xfrm>
              <a:off x="2717733" y="4724896"/>
              <a:ext cx="294824" cy="159712"/>
            </a:xfrm>
            <a:custGeom>
              <a:avLst/>
              <a:gdLst>
                <a:gd name="connsiteX0" fmla="*/ 0 w 294824"/>
                <a:gd name="connsiteY0" fmla="*/ 0 h 159712"/>
                <a:gd name="connsiteX1" fmla="*/ 38094 w 294824"/>
                <a:gd name="connsiteY1" fmla="*/ 5468 h 159712"/>
                <a:gd name="connsiteX2" fmla="*/ 143644 w 294824"/>
                <a:gd name="connsiteY2" fmla="*/ 49536 h 159712"/>
                <a:gd name="connsiteX3" fmla="*/ 294825 w 294824"/>
                <a:gd name="connsiteY3" fmla="*/ 124253 h 159712"/>
                <a:gd name="connsiteX4" fmla="*/ 198556 w 294824"/>
                <a:gd name="connsiteY4" fmla="*/ 153708 h 159712"/>
                <a:gd name="connsiteX5" fmla="*/ 163679 w 294824"/>
                <a:gd name="connsiteY5" fmla="*/ 141806 h 1597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94824" h="159712">
                  <a:moveTo>
                    <a:pt x="0" y="0"/>
                  </a:moveTo>
                  <a:cubicBezTo>
                    <a:pt x="9144" y="643"/>
                    <a:pt x="29133" y="3125"/>
                    <a:pt x="38094" y="5468"/>
                  </a:cubicBezTo>
                  <a:cubicBezTo>
                    <a:pt x="51190" y="8915"/>
                    <a:pt x="88319" y="13694"/>
                    <a:pt x="143644" y="49536"/>
                  </a:cubicBezTo>
                  <a:cubicBezTo>
                    <a:pt x="143644" y="49536"/>
                    <a:pt x="252641" y="132524"/>
                    <a:pt x="294825" y="124253"/>
                  </a:cubicBezTo>
                  <a:cubicBezTo>
                    <a:pt x="294503" y="124850"/>
                    <a:pt x="260269" y="177051"/>
                    <a:pt x="198556" y="153708"/>
                  </a:cubicBezTo>
                  <a:cubicBezTo>
                    <a:pt x="198556" y="153708"/>
                    <a:pt x="181830" y="148469"/>
                    <a:pt x="163679" y="141806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36" name="Forma livre: Forma 1635">
              <a:extLst>
                <a:ext uri="{FF2B5EF4-FFF2-40B4-BE49-F238E27FC236}">
                  <a16:creationId xmlns:a16="http://schemas.microsoft.com/office/drawing/2014/main" id="{D205D0F5-E9A2-314A-07EC-EF5B927EA9A1}"/>
                </a:ext>
              </a:extLst>
            </p:cNvPr>
            <p:cNvSpPr/>
            <p:nvPr/>
          </p:nvSpPr>
          <p:spPr>
            <a:xfrm>
              <a:off x="2864318" y="4819924"/>
              <a:ext cx="33820" cy="33820"/>
            </a:xfrm>
            <a:custGeom>
              <a:avLst/>
              <a:gdLst>
                <a:gd name="connsiteX0" fmla="*/ 33820 w 33820"/>
                <a:gd name="connsiteY0" fmla="*/ 16910 h 33820"/>
                <a:gd name="connsiteX1" fmla="*/ 16910 w 33820"/>
                <a:gd name="connsiteY1" fmla="*/ 33820 h 33820"/>
                <a:gd name="connsiteX2" fmla="*/ 0 w 33820"/>
                <a:gd name="connsiteY2" fmla="*/ 16910 h 33820"/>
                <a:gd name="connsiteX3" fmla="*/ 16910 w 33820"/>
                <a:gd name="connsiteY3" fmla="*/ 0 h 33820"/>
                <a:gd name="connsiteX4" fmla="*/ 33820 w 33820"/>
                <a:gd name="connsiteY4" fmla="*/ 16910 h 338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820" h="33820">
                  <a:moveTo>
                    <a:pt x="33820" y="16910"/>
                  </a:moveTo>
                  <a:cubicBezTo>
                    <a:pt x="33820" y="26238"/>
                    <a:pt x="26284" y="33820"/>
                    <a:pt x="16910" y="33820"/>
                  </a:cubicBezTo>
                  <a:cubicBezTo>
                    <a:pt x="7536" y="33820"/>
                    <a:pt x="0" y="26238"/>
                    <a:pt x="0" y="16910"/>
                  </a:cubicBezTo>
                  <a:cubicBezTo>
                    <a:pt x="0" y="7582"/>
                    <a:pt x="7582" y="0"/>
                    <a:pt x="16910" y="0"/>
                  </a:cubicBezTo>
                  <a:cubicBezTo>
                    <a:pt x="26238" y="0"/>
                    <a:pt x="33820" y="7536"/>
                    <a:pt x="33820" y="16910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37" name="Forma livre: Forma 1636">
              <a:extLst>
                <a:ext uri="{FF2B5EF4-FFF2-40B4-BE49-F238E27FC236}">
                  <a16:creationId xmlns:a16="http://schemas.microsoft.com/office/drawing/2014/main" id="{260130FD-C28A-909D-FFD1-A8CF34BB5DB6}"/>
                </a:ext>
              </a:extLst>
            </p:cNvPr>
            <p:cNvSpPr/>
            <p:nvPr/>
          </p:nvSpPr>
          <p:spPr>
            <a:xfrm>
              <a:off x="2914452" y="4846668"/>
              <a:ext cx="33820" cy="33820"/>
            </a:xfrm>
            <a:custGeom>
              <a:avLst/>
              <a:gdLst>
                <a:gd name="connsiteX0" fmla="*/ 33820 w 33820"/>
                <a:gd name="connsiteY0" fmla="*/ 16910 h 33820"/>
                <a:gd name="connsiteX1" fmla="*/ 16910 w 33820"/>
                <a:gd name="connsiteY1" fmla="*/ 33820 h 33820"/>
                <a:gd name="connsiteX2" fmla="*/ 0 w 33820"/>
                <a:gd name="connsiteY2" fmla="*/ 16910 h 33820"/>
                <a:gd name="connsiteX3" fmla="*/ 16910 w 33820"/>
                <a:gd name="connsiteY3" fmla="*/ 0 h 33820"/>
                <a:gd name="connsiteX4" fmla="*/ 33820 w 33820"/>
                <a:gd name="connsiteY4" fmla="*/ 16910 h 338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820" h="33820">
                  <a:moveTo>
                    <a:pt x="33820" y="16910"/>
                  </a:moveTo>
                  <a:cubicBezTo>
                    <a:pt x="33820" y="26238"/>
                    <a:pt x="26238" y="33820"/>
                    <a:pt x="16910" y="33820"/>
                  </a:cubicBezTo>
                  <a:cubicBezTo>
                    <a:pt x="7582" y="33820"/>
                    <a:pt x="0" y="26284"/>
                    <a:pt x="0" y="16910"/>
                  </a:cubicBezTo>
                  <a:cubicBezTo>
                    <a:pt x="0" y="7536"/>
                    <a:pt x="7582" y="0"/>
                    <a:pt x="16910" y="0"/>
                  </a:cubicBezTo>
                  <a:cubicBezTo>
                    <a:pt x="26238" y="0"/>
                    <a:pt x="33820" y="7582"/>
                    <a:pt x="33820" y="16910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38" name="Forma livre: Forma 1637">
              <a:extLst>
                <a:ext uri="{FF2B5EF4-FFF2-40B4-BE49-F238E27FC236}">
                  <a16:creationId xmlns:a16="http://schemas.microsoft.com/office/drawing/2014/main" id="{68BF7B8F-83EC-BE16-9670-8A1DEA306356}"/>
                </a:ext>
              </a:extLst>
            </p:cNvPr>
            <p:cNvSpPr/>
            <p:nvPr/>
          </p:nvSpPr>
          <p:spPr>
            <a:xfrm>
              <a:off x="2817862" y="4785093"/>
              <a:ext cx="32717" cy="33130"/>
            </a:xfrm>
            <a:custGeom>
              <a:avLst/>
              <a:gdLst>
                <a:gd name="connsiteX0" fmla="*/ 0 w 32717"/>
                <a:gd name="connsiteY0" fmla="*/ 10936 h 33130"/>
                <a:gd name="connsiteX1" fmla="*/ 15807 w 32717"/>
                <a:gd name="connsiteY1" fmla="*/ 0 h 33130"/>
                <a:gd name="connsiteX2" fmla="*/ 32717 w 32717"/>
                <a:gd name="connsiteY2" fmla="*/ 16910 h 33130"/>
                <a:gd name="connsiteX3" fmla="*/ 20632 w 32717"/>
                <a:gd name="connsiteY3" fmla="*/ 33131 h 331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2717" h="33130">
                  <a:moveTo>
                    <a:pt x="0" y="10936"/>
                  </a:moveTo>
                  <a:cubicBezTo>
                    <a:pt x="2389" y="4549"/>
                    <a:pt x="8593" y="0"/>
                    <a:pt x="15807" y="0"/>
                  </a:cubicBezTo>
                  <a:cubicBezTo>
                    <a:pt x="25135" y="0"/>
                    <a:pt x="32717" y="7582"/>
                    <a:pt x="32717" y="16910"/>
                  </a:cubicBezTo>
                  <a:cubicBezTo>
                    <a:pt x="32717" y="24584"/>
                    <a:pt x="27617" y="31063"/>
                    <a:pt x="20632" y="33131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39" name="Forma livre: Forma 1638">
              <a:extLst>
                <a:ext uri="{FF2B5EF4-FFF2-40B4-BE49-F238E27FC236}">
                  <a16:creationId xmlns:a16="http://schemas.microsoft.com/office/drawing/2014/main" id="{DF4F705F-5E3B-8AD7-AF6A-ACF701D230DC}"/>
                </a:ext>
              </a:extLst>
            </p:cNvPr>
            <p:cNvSpPr/>
            <p:nvPr/>
          </p:nvSpPr>
          <p:spPr>
            <a:xfrm>
              <a:off x="2967158" y="4930070"/>
              <a:ext cx="18886" cy="3492"/>
            </a:xfrm>
            <a:custGeom>
              <a:avLst/>
              <a:gdLst>
                <a:gd name="connsiteX0" fmla="*/ 0 w 18886"/>
                <a:gd name="connsiteY0" fmla="*/ 3492 h 3492"/>
                <a:gd name="connsiteX1" fmla="*/ 18886 w 18886"/>
                <a:gd name="connsiteY1" fmla="*/ 0 h 34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886" h="3492">
                  <a:moveTo>
                    <a:pt x="0" y="3492"/>
                  </a:moveTo>
                  <a:cubicBezTo>
                    <a:pt x="0" y="3492"/>
                    <a:pt x="9098" y="1976"/>
                    <a:pt x="18886" y="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40" name="Forma livre: Forma 1639">
              <a:extLst>
                <a:ext uri="{FF2B5EF4-FFF2-40B4-BE49-F238E27FC236}">
                  <a16:creationId xmlns:a16="http://schemas.microsoft.com/office/drawing/2014/main" id="{27802CAE-F0C0-F7D1-90B0-780CD0A26ADC}"/>
                </a:ext>
              </a:extLst>
            </p:cNvPr>
            <p:cNvSpPr/>
            <p:nvPr/>
          </p:nvSpPr>
          <p:spPr>
            <a:xfrm>
              <a:off x="3012053" y="4844186"/>
              <a:ext cx="14336" cy="5146"/>
            </a:xfrm>
            <a:custGeom>
              <a:avLst/>
              <a:gdLst>
                <a:gd name="connsiteX0" fmla="*/ 0 w 14336"/>
                <a:gd name="connsiteY0" fmla="*/ 5147 h 5146"/>
                <a:gd name="connsiteX1" fmla="*/ 14337 w 14336"/>
                <a:gd name="connsiteY1" fmla="*/ 0 h 51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4336" h="5146">
                  <a:moveTo>
                    <a:pt x="0" y="5147"/>
                  </a:moveTo>
                  <a:cubicBezTo>
                    <a:pt x="0" y="5147"/>
                    <a:pt x="5101" y="3768"/>
                    <a:pt x="14337" y="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41" name="Forma livre: Forma 1640">
              <a:extLst>
                <a:ext uri="{FF2B5EF4-FFF2-40B4-BE49-F238E27FC236}">
                  <a16:creationId xmlns:a16="http://schemas.microsoft.com/office/drawing/2014/main" id="{568F1B29-C187-809B-4962-1909BEF110A7}"/>
                </a:ext>
              </a:extLst>
            </p:cNvPr>
            <p:cNvSpPr/>
            <p:nvPr/>
          </p:nvSpPr>
          <p:spPr>
            <a:xfrm>
              <a:off x="2709940" y="4724850"/>
              <a:ext cx="257218" cy="226049"/>
            </a:xfrm>
            <a:custGeom>
              <a:avLst/>
              <a:gdLst>
                <a:gd name="connsiteX0" fmla="*/ 45887 w 257218"/>
                <a:gd name="connsiteY0" fmla="*/ 21873 h 226049"/>
                <a:gd name="connsiteX1" fmla="*/ 128462 w 257218"/>
                <a:gd name="connsiteY1" fmla="*/ 93098 h 226049"/>
                <a:gd name="connsiteX2" fmla="*/ 257218 w 257218"/>
                <a:gd name="connsiteY2" fmla="*/ 208666 h 226049"/>
                <a:gd name="connsiteX3" fmla="*/ 156539 w 257218"/>
                <a:gd name="connsiteY3" fmla="*/ 207333 h 226049"/>
                <a:gd name="connsiteX4" fmla="*/ 4209 w 257218"/>
                <a:gd name="connsiteY4" fmla="*/ 59599 h 226049"/>
                <a:gd name="connsiteX5" fmla="*/ 7840 w 257218"/>
                <a:gd name="connsiteY5" fmla="*/ 0 h 226049"/>
                <a:gd name="connsiteX6" fmla="*/ 45933 w 257218"/>
                <a:gd name="connsiteY6" fmla="*/ 21827 h 2260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57218" h="226049">
                  <a:moveTo>
                    <a:pt x="45887" y="21873"/>
                  </a:moveTo>
                  <a:cubicBezTo>
                    <a:pt x="58478" y="29823"/>
                    <a:pt x="85727" y="47376"/>
                    <a:pt x="128462" y="93098"/>
                  </a:cubicBezTo>
                  <a:cubicBezTo>
                    <a:pt x="128462" y="93098"/>
                    <a:pt x="214483" y="203703"/>
                    <a:pt x="257218" y="208666"/>
                  </a:cubicBezTo>
                  <a:cubicBezTo>
                    <a:pt x="256713" y="209125"/>
                    <a:pt x="208188" y="248414"/>
                    <a:pt x="156539" y="207333"/>
                  </a:cubicBezTo>
                  <a:cubicBezTo>
                    <a:pt x="156539" y="207333"/>
                    <a:pt x="19144" y="108400"/>
                    <a:pt x="4209" y="59599"/>
                  </a:cubicBezTo>
                  <a:cubicBezTo>
                    <a:pt x="-7049" y="22838"/>
                    <a:pt x="7840" y="0"/>
                    <a:pt x="7840" y="0"/>
                  </a:cubicBezTo>
                  <a:cubicBezTo>
                    <a:pt x="7840" y="0"/>
                    <a:pt x="34400" y="14567"/>
                    <a:pt x="45933" y="21827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642" name="Gráfico 24">
            <a:extLst>
              <a:ext uri="{FF2B5EF4-FFF2-40B4-BE49-F238E27FC236}">
                <a16:creationId xmlns:a16="http://schemas.microsoft.com/office/drawing/2014/main" id="{95AFAB19-FEB3-CF52-FDFF-65CC423BCA2F}"/>
              </a:ext>
            </a:extLst>
          </p:cNvPr>
          <p:cNvGrpSpPr/>
          <p:nvPr/>
        </p:nvGrpSpPr>
        <p:grpSpPr>
          <a:xfrm>
            <a:off x="3895562" y="4671546"/>
            <a:ext cx="301130" cy="294784"/>
            <a:chOff x="3895562" y="4671546"/>
            <a:chExt cx="301130" cy="294784"/>
          </a:xfrm>
          <a:noFill/>
        </p:grpSpPr>
        <p:sp>
          <p:nvSpPr>
            <p:cNvPr id="1643" name="Forma livre: Forma 1642">
              <a:extLst>
                <a:ext uri="{FF2B5EF4-FFF2-40B4-BE49-F238E27FC236}">
                  <a16:creationId xmlns:a16="http://schemas.microsoft.com/office/drawing/2014/main" id="{15380147-FBB2-A3A1-5D3C-BC26A40AA91E}"/>
                </a:ext>
              </a:extLst>
            </p:cNvPr>
            <p:cNvSpPr/>
            <p:nvPr/>
          </p:nvSpPr>
          <p:spPr>
            <a:xfrm>
              <a:off x="3895562" y="4671546"/>
              <a:ext cx="182151" cy="239912"/>
            </a:xfrm>
            <a:custGeom>
              <a:avLst/>
              <a:gdLst>
                <a:gd name="connsiteX0" fmla="*/ 182151 w 182151"/>
                <a:gd name="connsiteY0" fmla="*/ 56107 h 239912"/>
                <a:gd name="connsiteX1" fmla="*/ 124390 w 182151"/>
                <a:gd name="connsiteY1" fmla="*/ 505 h 239912"/>
                <a:gd name="connsiteX2" fmla="*/ 123333 w 182151"/>
                <a:gd name="connsiteY2" fmla="*/ 138 h 239912"/>
                <a:gd name="connsiteX3" fmla="*/ 121955 w 182151"/>
                <a:gd name="connsiteY3" fmla="*/ 0 h 239912"/>
                <a:gd name="connsiteX4" fmla="*/ 2113 w 182151"/>
                <a:gd name="connsiteY4" fmla="*/ 100634 h 239912"/>
                <a:gd name="connsiteX5" fmla="*/ 67410 w 182151"/>
                <a:gd name="connsiteY5" fmla="*/ 239913 h 2399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2151" h="239912">
                  <a:moveTo>
                    <a:pt x="182151" y="56107"/>
                  </a:moveTo>
                  <a:cubicBezTo>
                    <a:pt x="163908" y="21321"/>
                    <a:pt x="131604" y="4044"/>
                    <a:pt x="124390" y="505"/>
                  </a:cubicBezTo>
                  <a:lnTo>
                    <a:pt x="123333" y="138"/>
                  </a:lnTo>
                  <a:lnTo>
                    <a:pt x="121955" y="0"/>
                  </a:lnTo>
                  <a:cubicBezTo>
                    <a:pt x="108950" y="322"/>
                    <a:pt x="20448" y="5928"/>
                    <a:pt x="2113" y="100634"/>
                  </a:cubicBezTo>
                  <a:cubicBezTo>
                    <a:pt x="2113" y="100634"/>
                    <a:pt x="-18243" y="214456"/>
                    <a:pt x="67410" y="239913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44" name="Forma livre: Forma 1643">
              <a:extLst>
                <a:ext uri="{FF2B5EF4-FFF2-40B4-BE49-F238E27FC236}">
                  <a16:creationId xmlns:a16="http://schemas.microsoft.com/office/drawing/2014/main" id="{63856A46-D19A-C73D-AFE0-CB4295EE52F6}"/>
                </a:ext>
              </a:extLst>
            </p:cNvPr>
            <p:cNvSpPr/>
            <p:nvPr/>
          </p:nvSpPr>
          <p:spPr>
            <a:xfrm>
              <a:off x="3972252" y="4748030"/>
              <a:ext cx="224440" cy="218301"/>
            </a:xfrm>
            <a:custGeom>
              <a:avLst/>
              <a:gdLst>
                <a:gd name="connsiteX0" fmla="*/ 131608 w 224440"/>
                <a:gd name="connsiteY0" fmla="*/ 21118 h 218301"/>
                <a:gd name="connsiteX1" fmla="*/ 113594 w 224440"/>
                <a:gd name="connsiteY1" fmla="*/ 4345 h 218301"/>
                <a:gd name="connsiteX2" fmla="*/ 43381 w 224440"/>
                <a:gd name="connsiteY2" fmla="*/ 14914 h 218301"/>
                <a:gd name="connsiteX3" fmla="*/ 21508 w 224440"/>
                <a:gd name="connsiteY3" fmla="*/ 172114 h 218301"/>
                <a:gd name="connsiteX4" fmla="*/ 63875 w 224440"/>
                <a:gd name="connsiteY4" fmla="*/ 210622 h 218301"/>
                <a:gd name="connsiteX5" fmla="*/ 219191 w 224440"/>
                <a:gd name="connsiteY5" fmla="*/ 141649 h 218301"/>
                <a:gd name="connsiteX6" fmla="*/ 221672 w 224440"/>
                <a:gd name="connsiteY6" fmla="*/ 103141 h 218301"/>
                <a:gd name="connsiteX7" fmla="*/ 206141 w 224440"/>
                <a:gd name="connsiteY7" fmla="*/ 63393 h 218301"/>
                <a:gd name="connsiteX8" fmla="*/ 176962 w 224440"/>
                <a:gd name="connsiteY8" fmla="*/ 39177 h 218301"/>
                <a:gd name="connsiteX9" fmla="*/ 164555 w 224440"/>
                <a:gd name="connsiteY9" fmla="*/ 38533 h 218301"/>
                <a:gd name="connsiteX10" fmla="*/ 131608 w 224440"/>
                <a:gd name="connsiteY10" fmla="*/ 21164 h 2183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24440" h="218301">
                  <a:moveTo>
                    <a:pt x="131608" y="21118"/>
                  </a:moveTo>
                  <a:lnTo>
                    <a:pt x="113594" y="4345"/>
                  </a:lnTo>
                  <a:cubicBezTo>
                    <a:pt x="113594" y="4345"/>
                    <a:pt x="70124" y="-10589"/>
                    <a:pt x="43381" y="14914"/>
                  </a:cubicBezTo>
                  <a:cubicBezTo>
                    <a:pt x="43381" y="14914"/>
                    <a:pt x="-37402" y="75203"/>
                    <a:pt x="21508" y="172114"/>
                  </a:cubicBezTo>
                  <a:cubicBezTo>
                    <a:pt x="21508" y="172114"/>
                    <a:pt x="39659" y="199455"/>
                    <a:pt x="63875" y="210622"/>
                  </a:cubicBezTo>
                  <a:cubicBezTo>
                    <a:pt x="63875" y="210622"/>
                    <a:pt x="150861" y="252254"/>
                    <a:pt x="219191" y="141649"/>
                  </a:cubicBezTo>
                  <a:cubicBezTo>
                    <a:pt x="219191" y="141649"/>
                    <a:pt x="229117" y="129839"/>
                    <a:pt x="221672" y="103141"/>
                  </a:cubicBezTo>
                  <a:cubicBezTo>
                    <a:pt x="221672" y="103141"/>
                    <a:pt x="206738" y="68953"/>
                    <a:pt x="206141" y="63393"/>
                  </a:cubicBezTo>
                  <a:cubicBezTo>
                    <a:pt x="206141" y="63393"/>
                    <a:pt x="201178" y="38533"/>
                    <a:pt x="176962" y="39177"/>
                  </a:cubicBezTo>
                  <a:lnTo>
                    <a:pt x="164555" y="38533"/>
                  </a:lnTo>
                  <a:lnTo>
                    <a:pt x="131608" y="21164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45" name="Forma livre: Forma 1644">
              <a:extLst>
                <a:ext uri="{FF2B5EF4-FFF2-40B4-BE49-F238E27FC236}">
                  <a16:creationId xmlns:a16="http://schemas.microsoft.com/office/drawing/2014/main" id="{2304A110-F77F-E6DC-480F-B812A6227F7D}"/>
                </a:ext>
              </a:extLst>
            </p:cNvPr>
            <p:cNvSpPr/>
            <p:nvPr/>
          </p:nvSpPr>
          <p:spPr>
            <a:xfrm>
              <a:off x="4004796" y="4763449"/>
              <a:ext cx="189910" cy="136881"/>
            </a:xfrm>
            <a:custGeom>
              <a:avLst/>
              <a:gdLst>
                <a:gd name="connsiteX0" fmla="*/ 10470 w 189910"/>
                <a:gd name="connsiteY0" fmla="*/ 0 h 136881"/>
                <a:gd name="connsiteX1" fmla="*/ 2796 w 189910"/>
                <a:gd name="connsiteY1" fmla="*/ 43608 h 136881"/>
                <a:gd name="connsiteX2" fmla="*/ 42176 w 189910"/>
                <a:gd name="connsiteY2" fmla="*/ 52201 h 136881"/>
                <a:gd name="connsiteX3" fmla="*/ 45669 w 189910"/>
                <a:gd name="connsiteY3" fmla="*/ 93328 h 136881"/>
                <a:gd name="connsiteX4" fmla="*/ 73607 w 189910"/>
                <a:gd name="connsiteY4" fmla="*/ 93328 h 136881"/>
                <a:gd name="connsiteX5" fmla="*/ 135136 w 189910"/>
                <a:gd name="connsiteY5" fmla="*/ 120025 h 136881"/>
                <a:gd name="connsiteX6" fmla="*/ 189910 w 189910"/>
                <a:gd name="connsiteY6" fmla="*/ 120255 h 1368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89910" h="136881">
                  <a:moveTo>
                    <a:pt x="10470" y="0"/>
                  </a:moveTo>
                  <a:cubicBezTo>
                    <a:pt x="10470" y="0"/>
                    <a:pt x="-6532" y="18748"/>
                    <a:pt x="2796" y="43608"/>
                  </a:cubicBezTo>
                  <a:cubicBezTo>
                    <a:pt x="2796" y="43608"/>
                    <a:pt x="29723" y="49076"/>
                    <a:pt x="42176" y="52201"/>
                  </a:cubicBezTo>
                  <a:lnTo>
                    <a:pt x="45669" y="93328"/>
                  </a:lnTo>
                  <a:lnTo>
                    <a:pt x="73607" y="93328"/>
                  </a:lnTo>
                  <a:lnTo>
                    <a:pt x="135136" y="120025"/>
                  </a:lnTo>
                  <a:cubicBezTo>
                    <a:pt x="135136" y="120025"/>
                    <a:pt x="156963" y="157797"/>
                    <a:pt x="189910" y="120255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46" name="Forma livre: Forma 1645">
              <a:extLst>
                <a:ext uri="{FF2B5EF4-FFF2-40B4-BE49-F238E27FC236}">
                  <a16:creationId xmlns:a16="http://schemas.microsoft.com/office/drawing/2014/main" id="{142C33D6-82F6-4DA4-7F00-F0B89C873169}"/>
                </a:ext>
              </a:extLst>
            </p:cNvPr>
            <p:cNvSpPr/>
            <p:nvPr/>
          </p:nvSpPr>
          <p:spPr>
            <a:xfrm>
              <a:off x="4030889" y="4775646"/>
              <a:ext cx="137664" cy="105078"/>
            </a:xfrm>
            <a:custGeom>
              <a:avLst/>
              <a:gdLst>
                <a:gd name="connsiteX0" fmla="*/ 0 w 137664"/>
                <a:gd name="connsiteY0" fmla="*/ 35225 h 105078"/>
                <a:gd name="connsiteX1" fmla="*/ 3860 w 137664"/>
                <a:gd name="connsiteY1" fmla="*/ 14271 h 105078"/>
                <a:gd name="connsiteX2" fmla="*/ 4365 w 137664"/>
                <a:gd name="connsiteY2" fmla="*/ 12663 h 105078"/>
                <a:gd name="connsiteX3" fmla="*/ 46549 w 137664"/>
                <a:gd name="connsiteY3" fmla="*/ 4851 h 105078"/>
                <a:gd name="connsiteX4" fmla="*/ 70030 w 137664"/>
                <a:gd name="connsiteY4" fmla="*/ 20429 h 105078"/>
                <a:gd name="connsiteX5" fmla="*/ 94614 w 137664"/>
                <a:gd name="connsiteY5" fmla="*/ 33433 h 105078"/>
                <a:gd name="connsiteX6" fmla="*/ 103896 w 137664"/>
                <a:gd name="connsiteY6" fmla="*/ 33893 h 105078"/>
                <a:gd name="connsiteX7" fmla="*/ 126183 w 137664"/>
                <a:gd name="connsiteY7" fmla="*/ 48321 h 105078"/>
                <a:gd name="connsiteX8" fmla="*/ 135006 w 137664"/>
                <a:gd name="connsiteY8" fmla="*/ 74008 h 105078"/>
                <a:gd name="connsiteX9" fmla="*/ 136614 w 137664"/>
                <a:gd name="connsiteY9" fmla="*/ 88115 h 105078"/>
                <a:gd name="connsiteX10" fmla="*/ 134546 w 137664"/>
                <a:gd name="connsiteY10" fmla="*/ 96433 h 105078"/>
                <a:gd name="connsiteX11" fmla="*/ 101277 w 137664"/>
                <a:gd name="connsiteY11" fmla="*/ 104382 h 1050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37664" h="105078">
                  <a:moveTo>
                    <a:pt x="0" y="35225"/>
                  </a:moveTo>
                  <a:cubicBezTo>
                    <a:pt x="1332" y="27276"/>
                    <a:pt x="3860" y="14271"/>
                    <a:pt x="3860" y="14271"/>
                  </a:cubicBezTo>
                  <a:cubicBezTo>
                    <a:pt x="3860" y="14271"/>
                    <a:pt x="4365" y="12663"/>
                    <a:pt x="4365" y="12663"/>
                  </a:cubicBezTo>
                  <a:cubicBezTo>
                    <a:pt x="22241" y="-10175"/>
                    <a:pt x="46549" y="4851"/>
                    <a:pt x="46549" y="4851"/>
                  </a:cubicBezTo>
                  <a:lnTo>
                    <a:pt x="70030" y="20429"/>
                  </a:lnTo>
                  <a:lnTo>
                    <a:pt x="94614" y="33433"/>
                  </a:lnTo>
                  <a:lnTo>
                    <a:pt x="103896" y="33893"/>
                  </a:lnTo>
                  <a:cubicBezTo>
                    <a:pt x="122001" y="33433"/>
                    <a:pt x="126183" y="48321"/>
                    <a:pt x="126183" y="48321"/>
                  </a:cubicBezTo>
                  <a:cubicBezTo>
                    <a:pt x="126642" y="52503"/>
                    <a:pt x="135006" y="74008"/>
                    <a:pt x="135006" y="74008"/>
                  </a:cubicBezTo>
                  <a:cubicBezTo>
                    <a:pt x="138268" y="85772"/>
                    <a:pt x="138176" y="83612"/>
                    <a:pt x="136614" y="88115"/>
                  </a:cubicBezTo>
                  <a:lnTo>
                    <a:pt x="134546" y="96433"/>
                  </a:lnTo>
                  <a:cubicBezTo>
                    <a:pt x="125539" y="104980"/>
                    <a:pt x="107435" y="106128"/>
                    <a:pt x="101277" y="104382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47" name="Forma livre: Forma 1646">
              <a:extLst>
                <a:ext uri="{FF2B5EF4-FFF2-40B4-BE49-F238E27FC236}">
                  <a16:creationId xmlns:a16="http://schemas.microsoft.com/office/drawing/2014/main" id="{6719F9FD-B343-7AB4-2D0C-9B960FFE7797}"/>
                </a:ext>
              </a:extLst>
            </p:cNvPr>
            <p:cNvSpPr/>
            <p:nvPr/>
          </p:nvSpPr>
          <p:spPr>
            <a:xfrm>
              <a:off x="4043709" y="4856777"/>
              <a:ext cx="6709" cy="28995"/>
            </a:xfrm>
            <a:custGeom>
              <a:avLst/>
              <a:gdLst>
                <a:gd name="connsiteX0" fmla="*/ 6709 w 6709"/>
                <a:gd name="connsiteY0" fmla="*/ 0 h 28995"/>
                <a:gd name="connsiteX1" fmla="*/ 0 w 6709"/>
                <a:gd name="connsiteY1" fmla="*/ 14337 h 28995"/>
                <a:gd name="connsiteX2" fmla="*/ 4595 w 6709"/>
                <a:gd name="connsiteY2" fmla="*/ 28995 h 289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709" h="28995">
                  <a:moveTo>
                    <a:pt x="6709" y="0"/>
                  </a:moveTo>
                  <a:lnTo>
                    <a:pt x="0" y="14337"/>
                  </a:lnTo>
                  <a:lnTo>
                    <a:pt x="4595" y="28995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648" name="Gráfico 24">
            <a:extLst>
              <a:ext uri="{FF2B5EF4-FFF2-40B4-BE49-F238E27FC236}">
                <a16:creationId xmlns:a16="http://schemas.microsoft.com/office/drawing/2014/main" id="{BD2E8A32-3E4F-E701-E3D8-03954DC732D8}"/>
              </a:ext>
            </a:extLst>
          </p:cNvPr>
          <p:cNvGrpSpPr/>
          <p:nvPr/>
        </p:nvGrpSpPr>
        <p:grpSpPr>
          <a:xfrm>
            <a:off x="3324948" y="3653813"/>
            <a:ext cx="252112" cy="317249"/>
            <a:chOff x="3324948" y="3653813"/>
            <a:chExt cx="252112" cy="317249"/>
          </a:xfrm>
          <a:noFill/>
        </p:grpSpPr>
        <p:grpSp>
          <p:nvGrpSpPr>
            <p:cNvPr id="1649" name="Gráfico 24">
              <a:extLst>
                <a:ext uri="{FF2B5EF4-FFF2-40B4-BE49-F238E27FC236}">
                  <a16:creationId xmlns:a16="http://schemas.microsoft.com/office/drawing/2014/main" id="{C8A97E0D-EA2C-6A94-9A60-20FF7A5E6F5B}"/>
                </a:ext>
              </a:extLst>
            </p:cNvPr>
            <p:cNvGrpSpPr/>
            <p:nvPr/>
          </p:nvGrpSpPr>
          <p:grpSpPr>
            <a:xfrm>
              <a:off x="3419550" y="3939263"/>
              <a:ext cx="62999" cy="31798"/>
              <a:chOff x="3419550" y="3939263"/>
              <a:chExt cx="62999" cy="31798"/>
            </a:xfrm>
          </p:grpSpPr>
          <p:sp>
            <p:nvSpPr>
              <p:cNvPr id="1650" name="Forma livre: Forma 1649">
                <a:extLst>
                  <a:ext uri="{FF2B5EF4-FFF2-40B4-BE49-F238E27FC236}">
                    <a16:creationId xmlns:a16="http://schemas.microsoft.com/office/drawing/2014/main" id="{49D85218-E816-9B9C-57F9-BA9F8375F925}"/>
                  </a:ext>
                </a:extLst>
              </p:cNvPr>
              <p:cNvSpPr/>
              <p:nvPr/>
            </p:nvSpPr>
            <p:spPr>
              <a:xfrm>
                <a:off x="3419550" y="3939263"/>
                <a:ext cx="12590" cy="23940"/>
              </a:xfrm>
              <a:custGeom>
                <a:avLst/>
                <a:gdLst>
                  <a:gd name="connsiteX0" fmla="*/ 12591 w 12590"/>
                  <a:gd name="connsiteY0" fmla="*/ 0 h 23940"/>
                  <a:gd name="connsiteX1" fmla="*/ 0 w 12590"/>
                  <a:gd name="connsiteY1" fmla="*/ 23941 h 239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590" h="23940">
                    <a:moveTo>
                      <a:pt x="12591" y="0"/>
                    </a:moveTo>
                    <a:lnTo>
                      <a:pt x="0" y="23941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651" name="Forma livre: Forma 1650">
                <a:extLst>
                  <a:ext uri="{FF2B5EF4-FFF2-40B4-BE49-F238E27FC236}">
                    <a16:creationId xmlns:a16="http://schemas.microsoft.com/office/drawing/2014/main" id="{D4F5435F-7E2E-51FA-FEFE-65E2C41A70FA}"/>
                  </a:ext>
                </a:extLst>
              </p:cNvPr>
              <p:cNvSpPr/>
              <p:nvPr/>
            </p:nvSpPr>
            <p:spPr>
              <a:xfrm>
                <a:off x="3469959" y="3939263"/>
                <a:ext cx="12590" cy="23940"/>
              </a:xfrm>
              <a:custGeom>
                <a:avLst/>
                <a:gdLst>
                  <a:gd name="connsiteX0" fmla="*/ 0 w 12590"/>
                  <a:gd name="connsiteY0" fmla="*/ 0 h 23940"/>
                  <a:gd name="connsiteX1" fmla="*/ 12591 w 12590"/>
                  <a:gd name="connsiteY1" fmla="*/ 23941 h 239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590" h="23940">
                    <a:moveTo>
                      <a:pt x="0" y="0"/>
                    </a:moveTo>
                    <a:lnTo>
                      <a:pt x="12591" y="23941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652" name="Forma livre: Forma 1651">
                <a:extLst>
                  <a:ext uri="{FF2B5EF4-FFF2-40B4-BE49-F238E27FC236}">
                    <a16:creationId xmlns:a16="http://schemas.microsoft.com/office/drawing/2014/main" id="{57ABBEF9-3B50-23E6-E589-4C21E3798A40}"/>
                  </a:ext>
                </a:extLst>
              </p:cNvPr>
              <p:cNvSpPr/>
              <p:nvPr/>
            </p:nvSpPr>
            <p:spPr>
              <a:xfrm>
                <a:off x="3451027" y="3942021"/>
                <a:ext cx="4595" cy="29041"/>
              </a:xfrm>
              <a:custGeom>
                <a:avLst/>
                <a:gdLst>
                  <a:gd name="connsiteX0" fmla="*/ 0 w 4595"/>
                  <a:gd name="connsiteY0" fmla="*/ 29041 h 29041"/>
                  <a:gd name="connsiteX1" fmla="*/ 0 w 4595"/>
                  <a:gd name="connsiteY1" fmla="*/ 0 h 290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595" h="29041">
                    <a:moveTo>
                      <a:pt x="0" y="29041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653" name="Gráfico 24">
              <a:extLst>
                <a:ext uri="{FF2B5EF4-FFF2-40B4-BE49-F238E27FC236}">
                  <a16:creationId xmlns:a16="http://schemas.microsoft.com/office/drawing/2014/main" id="{28692920-1827-69E9-1B35-639AA1F8A7C1}"/>
                </a:ext>
              </a:extLst>
            </p:cNvPr>
            <p:cNvGrpSpPr/>
            <p:nvPr/>
          </p:nvGrpSpPr>
          <p:grpSpPr>
            <a:xfrm>
              <a:off x="3410390" y="3810461"/>
              <a:ext cx="81324" cy="131329"/>
              <a:chOff x="3410390" y="3810461"/>
              <a:chExt cx="81324" cy="131329"/>
            </a:xfrm>
            <a:noFill/>
          </p:grpSpPr>
          <p:sp>
            <p:nvSpPr>
              <p:cNvPr id="1654" name="Forma livre: Forma 1653">
                <a:extLst>
                  <a:ext uri="{FF2B5EF4-FFF2-40B4-BE49-F238E27FC236}">
                    <a16:creationId xmlns:a16="http://schemas.microsoft.com/office/drawing/2014/main" id="{22A36036-8F89-41B0-2F5D-8EDDBA605B25}"/>
                  </a:ext>
                </a:extLst>
              </p:cNvPr>
              <p:cNvSpPr/>
              <p:nvPr/>
            </p:nvSpPr>
            <p:spPr>
              <a:xfrm>
                <a:off x="3410390" y="3829256"/>
                <a:ext cx="39672" cy="112535"/>
              </a:xfrm>
              <a:custGeom>
                <a:avLst/>
                <a:gdLst>
                  <a:gd name="connsiteX0" fmla="*/ 6771 w 39672"/>
                  <a:gd name="connsiteY0" fmla="*/ 0 h 112535"/>
                  <a:gd name="connsiteX1" fmla="*/ 981 w 39672"/>
                  <a:gd name="connsiteY1" fmla="*/ 68697 h 112535"/>
                  <a:gd name="connsiteX2" fmla="*/ 16145 w 39672"/>
                  <a:gd name="connsiteY2" fmla="*/ 106010 h 112535"/>
                  <a:gd name="connsiteX3" fmla="*/ 39672 w 39672"/>
                  <a:gd name="connsiteY3" fmla="*/ 112535 h 1125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9672" h="112535">
                    <a:moveTo>
                      <a:pt x="6771" y="0"/>
                    </a:moveTo>
                    <a:cubicBezTo>
                      <a:pt x="2222" y="14475"/>
                      <a:pt x="-1960" y="37313"/>
                      <a:pt x="981" y="68697"/>
                    </a:cubicBezTo>
                    <a:cubicBezTo>
                      <a:pt x="981" y="68697"/>
                      <a:pt x="2911" y="93282"/>
                      <a:pt x="16145" y="106010"/>
                    </a:cubicBezTo>
                    <a:cubicBezTo>
                      <a:pt x="21384" y="111065"/>
                      <a:pt x="30896" y="112535"/>
                      <a:pt x="39672" y="112535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655" name="Forma livre: Forma 1654">
                <a:extLst>
                  <a:ext uri="{FF2B5EF4-FFF2-40B4-BE49-F238E27FC236}">
                    <a16:creationId xmlns:a16="http://schemas.microsoft.com/office/drawing/2014/main" id="{266A6A1D-CA38-7E81-F58F-590D8436AA6E}"/>
                  </a:ext>
                </a:extLst>
              </p:cNvPr>
              <p:cNvSpPr/>
              <p:nvPr/>
            </p:nvSpPr>
            <p:spPr>
              <a:xfrm>
                <a:off x="3452038" y="3810461"/>
                <a:ext cx="39676" cy="131329"/>
              </a:xfrm>
              <a:custGeom>
                <a:avLst/>
                <a:gdLst>
                  <a:gd name="connsiteX0" fmla="*/ 24768 w 39676"/>
                  <a:gd name="connsiteY0" fmla="*/ 0 h 131329"/>
                  <a:gd name="connsiteX1" fmla="*/ 38691 w 39676"/>
                  <a:gd name="connsiteY1" fmla="*/ 87492 h 131329"/>
                  <a:gd name="connsiteX2" fmla="*/ 23527 w 39676"/>
                  <a:gd name="connsiteY2" fmla="*/ 124804 h 131329"/>
                  <a:gd name="connsiteX3" fmla="*/ 0 w 39676"/>
                  <a:gd name="connsiteY3" fmla="*/ 131329 h 1313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9676" h="131329">
                    <a:moveTo>
                      <a:pt x="24768" y="0"/>
                    </a:moveTo>
                    <a:cubicBezTo>
                      <a:pt x="24768" y="0"/>
                      <a:pt x="44205" y="28903"/>
                      <a:pt x="38691" y="87492"/>
                    </a:cubicBezTo>
                    <a:cubicBezTo>
                      <a:pt x="38691" y="87492"/>
                      <a:pt x="36761" y="112076"/>
                      <a:pt x="23527" y="124804"/>
                    </a:cubicBezTo>
                    <a:cubicBezTo>
                      <a:pt x="18289" y="129859"/>
                      <a:pt x="8777" y="131329"/>
                      <a:pt x="0" y="131329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656" name="Gráfico 24">
              <a:extLst>
                <a:ext uri="{FF2B5EF4-FFF2-40B4-BE49-F238E27FC236}">
                  <a16:creationId xmlns:a16="http://schemas.microsoft.com/office/drawing/2014/main" id="{199A7BCA-E279-5BEE-6375-D01C20E8A819}"/>
                </a:ext>
              </a:extLst>
            </p:cNvPr>
            <p:cNvGrpSpPr/>
            <p:nvPr/>
          </p:nvGrpSpPr>
          <p:grpSpPr>
            <a:xfrm>
              <a:off x="3324948" y="3673112"/>
              <a:ext cx="252112" cy="262132"/>
              <a:chOff x="3324948" y="3673112"/>
              <a:chExt cx="252112" cy="262132"/>
            </a:xfrm>
            <a:noFill/>
          </p:grpSpPr>
          <p:sp>
            <p:nvSpPr>
              <p:cNvPr id="1657" name="Forma livre: Forma 1656">
                <a:extLst>
                  <a:ext uri="{FF2B5EF4-FFF2-40B4-BE49-F238E27FC236}">
                    <a16:creationId xmlns:a16="http://schemas.microsoft.com/office/drawing/2014/main" id="{D0823152-1573-341E-CD60-38C16B53136D}"/>
                  </a:ext>
                </a:extLst>
              </p:cNvPr>
              <p:cNvSpPr/>
              <p:nvPr/>
            </p:nvSpPr>
            <p:spPr>
              <a:xfrm>
                <a:off x="3324948" y="3673112"/>
                <a:ext cx="101365" cy="251877"/>
              </a:xfrm>
              <a:custGeom>
                <a:avLst/>
                <a:gdLst>
                  <a:gd name="connsiteX0" fmla="*/ 95384 w 101365"/>
                  <a:gd name="connsiteY0" fmla="*/ 0 h 251877"/>
                  <a:gd name="connsiteX1" fmla="*/ 99519 w 101365"/>
                  <a:gd name="connsiteY1" fmla="*/ 51328 h 251877"/>
                  <a:gd name="connsiteX2" fmla="*/ 65515 w 101365"/>
                  <a:gd name="connsiteY2" fmla="*/ 104953 h 251877"/>
                  <a:gd name="connsiteX3" fmla="*/ 4997 w 101365"/>
                  <a:gd name="connsiteY3" fmla="*/ 169285 h 251877"/>
                  <a:gd name="connsiteX4" fmla="*/ 11430 w 101365"/>
                  <a:gd name="connsiteY4" fmla="*/ 235731 h 251877"/>
                  <a:gd name="connsiteX5" fmla="*/ 50397 w 101365"/>
                  <a:gd name="connsiteY5" fmla="*/ 251217 h 2518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01365" h="251877">
                    <a:moveTo>
                      <a:pt x="95384" y="0"/>
                    </a:moveTo>
                    <a:cubicBezTo>
                      <a:pt x="105723" y="27571"/>
                      <a:pt x="99519" y="51328"/>
                      <a:pt x="99519" y="51328"/>
                    </a:cubicBezTo>
                    <a:cubicBezTo>
                      <a:pt x="99519" y="51328"/>
                      <a:pt x="97681" y="80415"/>
                      <a:pt x="65515" y="104953"/>
                    </a:cubicBezTo>
                    <a:cubicBezTo>
                      <a:pt x="65515" y="104953"/>
                      <a:pt x="15750" y="140198"/>
                      <a:pt x="4997" y="169285"/>
                    </a:cubicBezTo>
                    <a:cubicBezTo>
                      <a:pt x="4997" y="169285"/>
                      <a:pt x="-9753" y="212893"/>
                      <a:pt x="11430" y="235731"/>
                    </a:cubicBezTo>
                    <a:cubicBezTo>
                      <a:pt x="11430" y="235731"/>
                      <a:pt x="30225" y="255720"/>
                      <a:pt x="50397" y="251217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658" name="Forma livre: Forma 1657">
                <a:extLst>
                  <a:ext uri="{FF2B5EF4-FFF2-40B4-BE49-F238E27FC236}">
                    <a16:creationId xmlns:a16="http://schemas.microsoft.com/office/drawing/2014/main" id="{8FDF9F40-737E-B1B1-15EE-4F6D2736F381}"/>
                  </a:ext>
                </a:extLst>
              </p:cNvPr>
              <p:cNvSpPr/>
              <p:nvPr/>
            </p:nvSpPr>
            <p:spPr>
              <a:xfrm>
                <a:off x="3474731" y="3681154"/>
                <a:ext cx="102329" cy="243836"/>
              </a:xfrm>
              <a:custGeom>
                <a:avLst/>
                <a:gdLst>
                  <a:gd name="connsiteX0" fmla="*/ 9933 w 102329"/>
                  <a:gd name="connsiteY0" fmla="*/ 0 h 243836"/>
                  <a:gd name="connsiteX1" fmla="*/ 927 w 102329"/>
                  <a:gd name="connsiteY1" fmla="*/ 43286 h 243836"/>
                  <a:gd name="connsiteX2" fmla="*/ 36815 w 102329"/>
                  <a:gd name="connsiteY2" fmla="*/ 96912 h 243836"/>
                  <a:gd name="connsiteX3" fmla="*/ 97333 w 102329"/>
                  <a:gd name="connsiteY3" fmla="*/ 161244 h 243836"/>
                  <a:gd name="connsiteX4" fmla="*/ 90900 w 102329"/>
                  <a:gd name="connsiteY4" fmla="*/ 227690 h 243836"/>
                  <a:gd name="connsiteX5" fmla="*/ 51933 w 102329"/>
                  <a:gd name="connsiteY5" fmla="*/ 243175 h 2438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02329" h="243836">
                    <a:moveTo>
                      <a:pt x="9933" y="0"/>
                    </a:moveTo>
                    <a:cubicBezTo>
                      <a:pt x="-4266" y="22976"/>
                      <a:pt x="927" y="43286"/>
                      <a:pt x="927" y="43286"/>
                    </a:cubicBezTo>
                    <a:cubicBezTo>
                      <a:pt x="927" y="43286"/>
                      <a:pt x="4603" y="72374"/>
                      <a:pt x="36815" y="96912"/>
                    </a:cubicBezTo>
                    <a:cubicBezTo>
                      <a:pt x="36815" y="96912"/>
                      <a:pt x="86626" y="132157"/>
                      <a:pt x="97333" y="161244"/>
                    </a:cubicBezTo>
                    <a:cubicBezTo>
                      <a:pt x="97333" y="161244"/>
                      <a:pt x="112083" y="204852"/>
                      <a:pt x="90900" y="227690"/>
                    </a:cubicBezTo>
                    <a:cubicBezTo>
                      <a:pt x="90900" y="227690"/>
                      <a:pt x="72105" y="247679"/>
                      <a:pt x="51933" y="243175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1659" name="Gráfico 24">
                <a:extLst>
                  <a:ext uri="{FF2B5EF4-FFF2-40B4-BE49-F238E27FC236}">
                    <a16:creationId xmlns:a16="http://schemas.microsoft.com/office/drawing/2014/main" id="{CF415E85-7E3E-8430-9272-493B8D5D12BD}"/>
                  </a:ext>
                </a:extLst>
              </p:cNvPr>
              <p:cNvGrpSpPr/>
              <p:nvPr/>
            </p:nvGrpSpPr>
            <p:grpSpPr>
              <a:xfrm>
                <a:off x="3360158" y="3822087"/>
                <a:ext cx="181777" cy="113157"/>
                <a:chOff x="3360158" y="3822087"/>
                <a:chExt cx="181777" cy="113157"/>
              </a:xfrm>
              <a:noFill/>
            </p:grpSpPr>
            <p:sp>
              <p:nvSpPr>
                <p:cNvPr id="1660" name="Forma livre: Forma 1659">
                  <a:extLst>
                    <a:ext uri="{FF2B5EF4-FFF2-40B4-BE49-F238E27FC236}">
                      <a16:creationId xmlns:a16="http://schemas.microsoft.com/office/drawing/2014/main" id="{DB8D78E1-DE0E-74EA-FE5A-6B1A8A798C5B}"/>
                    </a:ext>
                  </a:extLst>
                </p:cNvPr>
                <p:cNvSpPr/>
                <p:nvPr/>
              </p:nvSpPr>
              <p:spPr>
                <a:xfrm>
                  <a:off x="3360158" y="3835229"/>
                  <a:ext cx="64722" cy="100015"/>
                </a:xfrm>
                <a:custGeom>
                  <a:avLst/>
                  <a:gdLst>
                    <a:gd name="connsiteX0" fmla="*/ 12705 w 64722"/>
                    <a:gd name="connsiteY0" fmla="*/ 0 h 100015"/>
                    <a:gd name="connsiteX1" fmla="*/ 5445 w 64722"/>
                    <a:gd name="connsiteY1" fmla="*/ 75682 h 100015"/>
                    <a:gd name="connsiteX2" fmla="*/ 64722 w 64722"/>
                    <a:gd name="connsiteY2" fmla="*/ 99439 h 10001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64722" h="100015">
                      <a:moveTo>
                        <a:pt x="12705" y="0"/>
                      </a:moveTo>
                      <a:cubicBezTo>
                        <a:pt x="4020" y="16037"/>
                        <a:pt x="-6686" y="44895"/>
                        <a:pt x="5445" y="75682"/>
                      </a:cubicBezTo>
                      <a:cubicBezTo>
                        <a:pt x="5445" y="75682"/>
                        <a:pt x="13670" y="104402"/>
                        <a:pt x="64722" y="99439"/>
                      </a:cubicBez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661" name="Forma livre: Forma 1660">
                  <a:extLst>
                    <a:ext uri="{FF2B5EF4-FFF2-40B4-BE49-F238E27FC236}">
                      <a16:creationId xmlns:a16="http://schemas.microsoft.com/office/drawing/2014/main" id="{FBE94755-17F6-E921-2227-36340CAEB84C}"/>
                    </a:ext>
                  </a:extLst>
                </p:cNvPr>
                <p:cNvSpPr/>
                <p:nvPr/>
              </p:nvSpPr>
              <p:spPr>
                <a:xfrm>
                  <a:off x="3477128" y="3822087"/>
                  <a:ext cx="64808" cy="113157"/>
                </a:xfrm>
                <a:custGeom>
                  <a:avLst/>
                  <a:gdLst>
                    <a:gd name="connsiteX0" fmla="*/ 43654 w 64808"/>
                    <a:gd name="connsiteY0" fmla="*/ 0 h 113157"/>
                    <a:gd name="connsiteX1" fmla="*/ 59369 w 64808"/>
                    <a:gd name="connsiteY1" fmla="*/ 88824 h 113157"/>
                    <a:gd name="connsiteX2" fmla="*/ 0 w 64808"/>
                    <a:gd name="connsiteY2" fmla="*/ 112581 h 11315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64808" h="113157">
                      <a:moveTo>
                        <a:pt x="43654" y="0"/>
                      </a:moveTo>
                      <a:cubicBezTo>
                        <a:pt x="43654" y="0"/>
                        <a:pt x="77750" y="42138"/>
                        <a:pt x="59369" y="88824"/>
                      </a:cubicBezTo>
                      <a:cubicBezTo>
                        <a:pt x="59369" y="88824"/>
                        <a:pt x="51144" y="117544"/>
                        <a:pt x="0" y="112581"/>
                      </a:cubicBez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sp>
          <p:nvSpPr>
            <p:cNvPr id="1662" name="Forma livre: Forma 1661">
              <a:extLst>
                <a:ext uri="{FF2B5EF4-FFF2-40B4-BE49-F238E27FC236}">
                  <a16:creationId xmlns:a16="http://schemas.microsoft.com/office/drawing/2014/main" id="{1CEFB92E-45D7-F8A2-52A0-A1128B0D78E0}"/>
                </a:ext>
              </a:extLst>
            </p:cNvPr>
            <p:cNvSpPr/>
            <p:nvPr/>
          </p:nvSpPr>
          <p:spPr>
            <a:xfrm>
              <a:off x="3449253" y="3653813"/>
              <a:ext cx="11561" cy="89605"/>
            </a:xfrm>
            <a:custGeom>
              <a:avLst/>
              <a:gdLst>
                <a:gd name="connsiteX0" fmla="*/ 11562 w 11561"/>
                <a:gd name="connsiteY0" fmla="*/ 0 h 89605"/>
                <a:gd name="connsiteX1" fmla="*/ 74 w 11561"/>
                <a:gd name="connsiteY1" fmla="*/ 89605 h 896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561" h="89605">
                  <a:moveTo>
                    <a:pt x="11562" y="0"/>
                  </a:moveTo>
                  <a:cubicBezTo>
                    <a:pt x="11562" y="0"/>
                    <a:pt x="-1075" y="34464"/>
                    <a:pt x="74" y="89605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663" name="Gráfico 24">
            <a:extLst>
              <a:ext uri="{FF2B5EF4-FFF2-40B4-BE49-F238E27FC236}">
                <a16:creationId xmlns:a16="http://schemas.microsoft.com/office/drawing/2014/main" id="{D4F86AD2-158A-6C90-B681-7093F384DE00}"/>
              </a:ext>
            </a:extLst>
          </p:cNvPr>
          <p:cNvGrpSpPr/>
          <p:nvPr/>
        </p:nvGrpSpPr>
        <p:grpSpPr>
          <a:xfrm>
            <a:off x="2714077" y="3656938"/>
            <a:ext cx="272291" cy="310999"/>
            <a:chOff x="2714077" y="3656938"/>
            <a:chExt cx="272291" cy="310999"/>
          </a:xfrm>
          <a:noFill/>
        </p:grpSpPr>
        <p:sp>
          <p:nvSpPr>
            <p:cNvPr id="1664" name="Forma livre: Forma 1663">
              <a:extLst>
                <a:ext uri="{FF2B5EF4-FFF2-40B4-BE49-F238E27FC236}">
                  <a16:creationId xmlns:a16="http://schemas.microsoft.com/office/drawing/2014/main" id="{F7E49CF8-C409-8421-636A-6949FBB0393C}"/>
                </a:ext>
              </a:extLst>
            </p:cNvPr>
            <p:cNvSpPr/>
            <p:nvPr/>
          </p:nvSpPr>
          <p:spPr>
            <a:xfrm>
              <a:off x="2714077" y="3740983"/>
              <a:ext cx="272291" cy="226954"/>
            </a:xfrm>
            <a:custGeom>
              <a:avLst/>
              <a:gdLst>
                <a:gd name="connsiteX0" fmla="*/ 201569 w 272291"/>
                <a:gd name="connsiteY0" fmla="*/ 0 h 226954"/>
                <a:gd name="connsiteX1" fmla="*/ 271921 w 272291"/>
                <a:gd name="connsiteY1" fmla="*/ 106975 h 226954"/>
                <a:gd name="connsiteX2" fmla="*/ 136088 w 272291"/>
                <a:gd name="connsiteY2" fmla="*/ 226954 h 226954"/>
                <a:gd name="connsiteX3" fmla="*/ 255 w 272291"/>
                <a:gd name="connsiteY3" fmla="*/ 106975 h 226954"/>
                <a:gd name="connsiteX4" fmla="*/ 29481 w 272291"/>
                <a:gd name="connsiteY4" fmla="*/ 24033 h 2269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72291" h="226954">
                  <a:moveTo>
                    <a:pt x="201569" y="0"/>
                  </a:moveTo>
                  <a:cubicBezTo>
                    <a:pt x="247245" y="16405"/>
                    <a:pt x="275918" y="52155"/>
                    <a:pt x="271921" y="106975"/>
                  </a:cubicBezTo>
                  <a:cubicBezTo>
                    <a:pt x="267096" y="172961"/>
                    <a:pt x="204785" y="226954"/>
                    <a:pt x="136088" y="226954"/>
                  </a:cubicBezTo>
                  <a:cubicBezTo>
                    <a:pt x="67390" y="226954"/>
                    <a:pt x="4023" y="171813"/>
                    <a:pt x="255" y="106975"/>
                  </a:cubicBezTo>
                  <a:cubicBezTo>
                    <a:pt x="-1858" y="70673"/>
                    <a:pt x="9262" y="43240"/>
                    <a:pt x="29481" y="24033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65" name="Forma livre: Forma 1664">
              <a:extLst>
                <a:ext uri="{FF2B5EF4-FFF2-40B4-BE49-F238E27FC236}">
                  <a16:creationId xmlns:a16="http://schemas.microsoft.com/office/drawing/2014/main" id="{18376341-4671-E2D2-ED64-D2B363FA680D}"/>
                </a:ext>
              </a:extLst>
            </p:cNvPr>
            <p:cNvSpPr/>
            <p:nvPr/>
          </p:nvSpPr>
          <p:spPr>
            <a:xfrm>
              <a:off x="2791715" y="3754401"/>
              <a:ext cx="51879" cy="49765"/>
            </a:xfrm>
            <a:custGeom>
              <a:avLst/>
              <a:gdLst>
                <a:gd name="connsiteX0" fmla="*/ 51879 w 51879"/>
                <a:gd name="connsiteY0" fmla="*/ 10247 h 49765"/>
                <a:gd name="connsiteX1" fmla="*/ 0 w 51879"/>
                <a:gd name="connsiteY1" fmla="*/ 49765 h 49765"/>
                <a:gd name="connsiteX2" fmla="*/ 7490 w 51879"/>
                <a:gd name="connsiteY2" fmla="*/ 0 h 497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51879" h="49765">
                  <a:moveTo>
                    <a:pt x="51879" y="10247"/>
                  </a:moveTo>
                  <a:lnTo>
                    <a:pt x="0" y="49765"/>
                  </a:lnTo>
                  <a:lnTo>
                    <a:pt x="7490" y="0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66" name="Forma livre: Forma 1665">
              <a:extLst>
                <a:ext uri="{FF2B5EF4-FFF2-40B4-BE49-F238E27FC236}">
                  <a16:creationId xmlns:a16="http://schemas.microsoft.com/office/drawing/2014/main" id="{21EE2D95-CD9F-EA6E-926A-35D5AFD97709}"/>
                </a:ext>
              </a:extLst>
            </p:cNvPr>
            <p:cNvSpPr/>
            <p:nvPr/>
          </p:nvSpPr>
          <p:spPr>
            <a:xfrm>
              <a:off x="2751002" y="3723567"/>
              <a:ext cx="51052" cy="30649"/>
            </a:xfrm>
            <a:custGeom>
              <a:avLst/>
              <a:gdLst>
                <a:gd name="connsiteX0" fmla="*/ 48341 w 51052"/>
                <a:gd name="connsiteY0" fmla="*/ 30650 h 30649"/>
                <a:gd name="connsiteX1" fmla="*/ 0 w 51052"/>
                <a:gd name="connsiteY1" fmla="*/ 21138 h 30649"/>
                <a:gd name="connsiteX2" fmla="*/ 51052 w 51052"/>
                <a:gd name="connsiteY2" fmla="*/ 0 h 306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51052" h="30649">
                  <a:moveTo>
                    <a:pt x="48341" y="30650"/>
                  </a:moveTo>
                  <a:lnTo>
                    <a:pt x="0" y="21138"/>
                  </a:lnTo>
                  <a:cubicBezTo>
                    <a:pt x="0" y="21138"/>
                    <a:pt x="28995" y="2895"/>
                    <a:pt x="51052" y="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67" name="Forma livre: Forma 1666">
              <a:extLst>
                <a:ext uri="{FF2B5EF4-FFF2-40B4-BE49-F238E27FC236}">
                  <a16:creationId xmlns:a16="http://schemas.microsoft.com/office/drawing/2014/main" id="{00B989E1-4E30-BBD2-5795-8CCCC67C5A3B}"/>
                </a:ext>
              </a:extLst>
            </p:cNvPr>
            <p:cNvSpPr/>
            <p:nvPr/>
          </p:nvSpPr>
          <p:spPr>
            <a:xfrm>
              <a:off x="2843640" y="3751644"/>
              <a:ext cx="52017" cy="52476"/>
            </a:xfrm>
            <a:custGeom>
              <a:avLst/>
              <a:gdLst>
                <a:gd name="connsiteX0" fmla="*/ 45906 w 52017"/>
                <a:gd name="connsiteY0" fmla="*/ 0 h 52476"/>
                <a:gd name="connsiteX1" fmla="*/ 52017 w 52017"/>
                <a:gd name="connsiteY1" fmla="*/ 52477 h 52476"/>
                <a:gd name="connsiteX2" fmla="*/ 0 w 52017"/>
                <a:gd name="connsiteY2" fmla="*/ 12958 h 524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52017" h="52476">
                  <a:moveTo>
                    <a:pt x="45906" y="0"/>
                  </a:moveTo>
                  <a:lnTo>
                    <a:pt x="52017" y="52477"/>
                  </a:lnTo>
                  <a:lnTo>
                    <a:pt x="0" y="12958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68" name="Forma livre: Forma 1667">
              <a:extLst>
                <a:ext uri="{FF2B5EF4-FFF2-40B4-BE49-F238E27FC236}">
                  <a16:creationId xmlns:a16="http://schemas.microsoft.com/office/drawing/2014/main" id="{16056EBB-8091-B813-E573-1C3C3EACA8C8}"/>
                </a:ext>
              </a:extLst>
            </p:cNvPr>
            <p:cNvSpPr/>
            <p:nvPr/>
          </p:nvSpPr>
          <p:spPr>
            <a:xfrm>
              <a:off x="2748992" y="3796722"/>
              <a:ext cx="9270" cy="49397"/>
            </a:xfrm>
            <a:custGeom>
              <a:avLst/>
              <a:gdLst>
                <a:gd name="connsiteX0" fmla="*/ 9270 w 9270"/>
                <a:gd name="connsiteY0" fmla="*/ 0 h 49397"/>
                <a:gd name="connsiteX1" fmla="*/ 2378 w 9270"/>
                <a:gd name="connsiteY1" fmla="*/ 49398 h 493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270" h="49397">
                  <a:moveTo>
                    <a:pt x="9270" y="0"/>
                  </a:moveTo>
                  <a:cubicBezTo>
                    <a:pt x="9270" y="0"/>
                    <a:pt x="-5664" y="16083"/>
                    <a:pt x="2378" y="49398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69" name="Forma livre: Forma 1668">
              <a:extLst>
                <a:ext uri="{FF2B5EF4-FFF2-40B4-BE49-F238E27FC236}">
                  <a16:creationId xmlns:a16="http://schemas.microsoft.com/office/drawing/2014/main" id="{1B643AE7-B0FE-BFDA-5885-7277A4EDF906}"/>
                </a:ext>
              </a:extLst>
            </p:cNvPr>
            <p:cNvSpPr/>
            <p:nvPr/>
          </p:nvSpPr>
          <p:spPr>
            <a:xfrm>
              <a:off x="2813864" y="3656938"/>
              <a:ext cx="45905" cy="76417"/>
            </a:xfrm>
            <a:custGeom>
              <a:avLst/>
              <a:gdLst>
                <a:gd name="connsiteX0" fmla="*/ 45906 w 45905"/>
                <a:gd name="connsiteY0" fmla="*/ 76417 h 76417"/>
                <a:gd name="connsiteX1" fmla="*/ 13602 w 45905"/>
                <a:gd name="connsiteY1" fmla="*/ 0 h 76417"/>
                <a:gd name="connsiteX2" fmla="*/ 0 w 45905"/>
                <a:gd name="connsiteY2" fmla="*/ 17140 h 76417"/>
                <a:gd name="connsiteX3" fmla="*/ 17508 w 45905"/>
                <a:gd name="connsiteY3" fmla="*/ 75498 h 764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5905" h="76417">
                  <a:moveTo>
                    <a:pt x="45906" y="76417"/>
                  </a:moveTo>
                  <a:cubicBezTo>
                    <a:pt x="40529" y="49490"/>
                    <a:pt x="35291" y="25825"/>
                    <a:pt x="13602" y="0"/>
                  </a:cubicBezTo>
                  <a:lnTo>
                    <a:pt x="0" y="17140"/>
                  </a:lnTo>
                  <a:cubicBezTo>
                    <a:pt x="0" y="17140"/>
                    <a:pt x="12683" y="38875"/>
                    <a:pt x="17508" y="75498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70" name="Forma livre: Forma 1669">
              <a:extLst>
                <a:ext uri="{FF2B5EF4-FFF2-40B4-BE49-F238E27FC236}">
                  <a16:creationId xmlns:a16="http://schemas.microsoft.com/office/drawing/2014/main" id="{47C84134-C2EF-CABE-8467-9CF4A11C21ED}"/>
                </a:ext>
              </a:extLst>
            </p:cNvPr>
            <p:cNvSpPr/>
            <p:nvPr/>
          </p:nvSpPr>
          <p:spPr>
            <a:xfrm>
              <a:off x="2857701" y="3715985"/>
              <a:ext cx="78209" cy="35382"/>
            </a:xfrm>
            <a:custGeom>
              <a:avLst/>
              <a:gdLst>
                <a:gd name="connsiteX0" fmla="*/ 0 w 78209"/>
                <a:gd name="connsiteY0" fmla="*/ 0 h 35382"/>
                <a:gd name="connsiteX1" fmla="*/ 78209 w 78209"/>
                <a:gd name="connsiteY1" fmla="*/ 19116 h 35382"/>
                <a:gd name="connsiteX2" fmla="*/ 31798 w 78209"/>
                <a:gd name="connsiteY2" fmla="*/ 35383 h 353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78209" h="35382">
                  <a:moveTo>
                    <a:pt x="0" y="0"/>
                  </a:moveTo>
                  <a:cubicBezTo>
                    <a:pt x="47100" y="4044"/>
                    <a:pt x="78209" y="19116"/>
                    <a:pt x="78209" y="19116"/>
                  </a:cubicBezTo>
                  <a:lnTo>
                    <a:pt x="31798" y="35383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671" name="Gráfico 24">
            <a:extLst>
              <a:ext uri="{FF2B5EF4-FFF2-40B4-BE49-F238E27FC236}">
                <a16:creationId xmlns:a16="http://schemas.microsoft.com/office/drawing/2014/main" id="{96E3130B-0355-A249-E770-FB045D3ABB67}"/>
              </a:ext>
            </a:extLst>
          </p:cNvPr>
          <p:cNvGrpSpPr/>
          <p:nvPr/>
        </p:nvGrpSpPr>
        <p:grpSpPr>
          <a:xfrm>
            <a:off x="3951658" y="3629550"/>
            <a:ext cx="181457" cy="365727"/>
            <a:chOff x="3951658" y="3629550"/>
            <a:chExt cx="181457" cy="365727"/>
          </a:xfrm>
          <a:noFill/>
        </p:grpSpPr>
        <p:grpSp>
          <p:nvGrpSpPr>
            <p:cNvPr id="1672" name="Gráfico 24">
              <a:extLst>
                <a:ext uri="{FF2B5EF4-FFF2-40B4-BE49-F238E27FC236}">
                  <a16:creationId xmlns:a16="http://schemas.microsoft.com/office/drawing/2014/main" id="{DD862CE5-0829-4EFF-9F45-DE625FB1B655}"/>
                </a:ext>
              </a:extLst>
            </p:cNvPr>
            <p:cNvGrpSpPr/>
            <p:nvPr/>
          </p:nvGrpSpPr>
          <p:grpSpPr>
            <a:xfrm>
              <a:off x="4042515" y="3629550"/>
              <a:ext cx="81242" cy="170893"/>
              <a:chOff x="4042515" y="3629550"/>
              <a:chExt cx="81242" cy="170893"/>
            </a:xfrm>
            <a:noFill/>
          </p:grpSpPr>
          <p:sp>
            <p:nvSpPr>
              <p:cNvPr id="1673" name="Forma livre: Forma 1672">
                <a:extLst>
                  <a:ext uri="{FF2B5EF4-FFF2-40B4-BE49-F238E27FC236}">
                    <a16:creationId xmlns:a16="http://schemas.microsoft.com/office/drawing/2014/main" id="{CF334E43-C494-DCF0-6208-04AB4552B15C}"/>
                  </a:ext>
                </a:extLst>
              </p:cNvPr>
              <p:cNvSpPr/>
              <p:nvPr/>
            </p:nvSpPr>
            <p:spPr>
              <a:xfrm>
                <a:off x="4042515" y="3727105"/>
                <a:ext cx="22608" cy="58404"/>
              </a:xfrm>
              <a:custGeom>
                <a:avLst/>
                <a:gdLst>
                  <a:gd name="connsiteX0" fmla="*/ 0 w 22608"/>
                  <a:gd name="connsiteY0" fmla="*/ 0 h 58404"/>
                  <a:gd name="connsiteX1" fmla="*/ 22608 w 22608"/>
                  <a:gd name="connsiteY1" fmla="*/ 58404 h 584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2608" h="58404">
                    <a:moveTo>
                      <a:pt x="0" y="0"/>
                    </a:moveTo>
                    <a:cubicBezTo>
                      <a:pt x="0" y="0"/>
                      <a:pt x="12223" y="16405"/>
                      <a:pt x="22608" y="58404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674" name="Forma livre: Forma 1673">
                <a:extLst>
                  <a:ext uri="{FF2B5EF4-FFF2-40B4-BE49-F238E27FC236}">
                    <a16:creationId xmlns:a16="http://schemas.microsoft.com/office/drawing/2014/main" id="{87A0A118-FBFF-17D2-295A-317B8A0AB83C}"/>
                  </a:ext>
                </a:extLst>
              </p:cNvPr>
              <p:cNvSpPr/>
              <p:nvPr/>
            </p:nvSpPr>
            <p:spPr>
              <a:xfrm>
                <a:off x="4042607" y="3629550"/>
                <a:ext cx="21735" cy="100449"/>
              </a:xfrm>
              <a:custGeom>
                <a:avLst/>
                <a:gdLst>
                  <a:gd name="connsiteX0" fmla="*/ 0 w 21735"/>
                  <a:gd name="connsiteY0" fmla="*/ 0 h 100449"/>
                  <a:gd name="connsiteX1" fmla="*/ 21735 w 21735"/>
                  <a:gd name="connsiteY1" fmla="*/ 100450 h 1004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1735" h="100449">
                    <a:moveTo>
                      <a:pt x="0" y="0"/>
                    </a:moveTo>
                    <a:cubicBezTo>
                      <a:pt x="0" y="0"/>
                      <a:pt x="16910" y="35245"/>
                      <a:pt x="21735" y="100450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675" name="Forma livre: Forma 1674">
                <a:extLst>
                  <a:ext uri="{FF2B5EF4-FFF2-40B4-BE49-F238E27FC236}">
                    <a16:creationId xmlns:a16="http://schemas.microsoft.com/office/drawing/2014/main" id="{FD6CEAD5-3408-9975-73E6-6B9438BBACEC}"/>
                  </a:ext>
                </a:extLst>
              </p:cNvPr>
              <p:cNvSpPr/>
              <p:nvPr/>
            </p:nvSpPr>
            <p:spPr>
              <a:xfrm>
                <a:off x="4056162" y="3759226"/>
                <a:ext cx="67594" cy="41218"/>
              </a:xfrm>
              <a:custGeom>
                <a:avLst/>
                <a:gdLst>
                  <a:gd name="connsiteX0" fmla="*/ 0 w 67594"/>
                  <a:gd name="connsiteY0" fmla="*/ 32855 h 41218"/>
                  <a:gd name="connsiteX1" fmla="*/ 67595 w 67594"/>
                  <a:gd name="connsiteY1" fmla="*/ 0 h 41218"/>
                  <a:gd name="connsiteX2" fmla="*/ 44021 w 67594"/>
                  <a:gd name="connsiteY2" fmla="*/ 41218 h 412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67594" h="41218">
                    <a:moveTo>
                      <a:pt x="0" y="32855"/>
                    </a:moveTo>
                    <a:cubicBezTo>
                      <a:pt x="0" y="32855"/>
                      <a:pt x="39288" y="3630"/>
                      <a:pt x="67595" y="0"/>
                    </a:cubicBezTo>
                    <a:cubicBezTo>
                      <a:pt x="67595" y="0"/>
                      <a:pt x="55601" y="24814"/>
                      <a:pt x="44021" y="41218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676" name="Forma livre: Forma 1675">
                <a:extLst>
                  <a:ext uri="{FF2B5EF4-FFF2-40B4-BE49-F238E27FC236}">
                    <a16:creationId xmlns:a16="http://schemas.microsoft.com/office/drawing/2014/main" id="{EE80908E-730C-FA06-1135-EA30871A8EEA}"/>
                  </a:ext>
                </a:extLst>
              </p:cNvPr>
              <p:cNvSpPr/>
              <p:nvPr/>
            </p:nvSpPr>
            <p:spPr>
              <a:xfrm>
                <a:off x="4052900" y="3707714"/>
                <a:ext cx="58634" cy="65021"/>
              </a:xfrm>
              <a:custGeom>
                <a:avLst/>
                <a:gdLst>
                  <a:gd name="connsiteX0" fmla="*/ 0 w 58634"/>
                  <a:gd name="connsiteY0" fmla="*/ 38140 h 65021"/>
                  <a:gd name="connsiteX1" fmla="*/ 58634 w 58634"/>
                  <a:gd name="connsiteY1" fmla="*/ 0 h 65021"/>
                  <a:gd name="connsiteX2" fmla="*/ 32396 w 58634"/>
                  <a:gd name="connsiteY2" fmla="*/ 65021 h 650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58634" h="65021">
                    <a:moveTo>
                      <a:pt x="0" y="38140"/>
                    </a:moveTo>
                    <a:cubicBezTo>
                      <a:pt x="0" y="38140"/>
                      <a:pt x="37680" y="4182"/>
                      <a:pt x="58634" y="0"/>
                    </a:cubicBezTo>
                    <a:cubicBezTo>
                      <a:pt x="58634" y="0"/>
                      <a:pt x="33820" y="38967"/>
                      <a:pt x="32396" y="65021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677" name="Forma livre: Forma 1676">
                <a:extLst>
                  <a:ext uri="{FF2B5EF4-FFF2-40B4-BE49-F238E27FC236}">
                    <a16:creationId xmlns:a16="http://schemas.microsoft.com/office/drawing/2014/main" id="{58C19427-15F2-E0AD-903D-B835C3EFF094}"/>
                  </a:ext>
                </a:extLst>
              </p:cNvPr>
              <p:cNvSpPr/>
              <p:nvPr/>
            </p:nvSpPr>
            <p:spPr>
              <a:xfrm>
                <a:off x="4060665" y="3665439"/>
                <a:ext cx="38369" cy="57485"/>
              </a:xfrm>
              <a:custGeom>
                <a:avLst/>
                <a:gdLst>
                  <a:gd name="connsiteX0" fmla="*/ 0 w 38369"/>
                  <a:gd name="connsiteY0" fmla="*/ 22700 h 57485"/>
                  <a:gd name="connsiteX1" fmla="*/ 38370 w 38369"/>
                  <a:gd name="connsiteY1" fmla="*/ 0 h 57485"/>
                  <a:gd name="connsiteX2" fmla="*/ 18335 w 38369"/>
                  <a:gd name="connsiteY2" fmla="*/ 57485 h 574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8369" h="57485">
                    <a:moveTo>
                      <a:pt x="0" y="22700"/>
                    </a:moveTo>
                    <a:cubicBezTo>
                      <a:pt x="0" y="22700"/>
                      <a:pt x="21230" y="3400"/>
                      <a:pt x="38370" y="0"/>
                    </a:cubicBezTo>
                    <a:cubicBezTo>
                      <a:pt x="38370" y="0"/>
                      <a:pt x="19300" y="33545"/>
                      <a:pt x="18335" y="57485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678" name="Gráfico 24">
              <a:extLst>
                <a:ext uri="{FF2B5EF4-FFF2-40B4-BE49-F238E27FC236}">
                  <a16:creationId xmlns:a16="http://schemas.microsoft.com/office/drawing/2014/main" id="{BD44558E-4888-20B3-BBA4-1BAFB30F8125}"/>
                </a:ext>
              </a:extLst>
            </p:cNvPr>
            <p:cNvGrpSpPr/>
            <p:nvPr/>
          </p:nvGrpSpPr>
          <p:grpSpPr>
            <a:xfrm>
              <a:off x="3961364" y="3629550"/>
              <a:ext cx="81196" cy="170893"/>
              <a:chOff x="3961364" y="3629550"/>
              <a:chExt cx="81196" cy="170893"/>
            </a:xfrm>
            <a:noFill/>
          </p:grpSpPr>
          <p:sp>
            <p:nvSpPr>
              <p:cNvPr id="1679" name="Forma livre: Forma 1678">
                <a:extLst>
                  <a:ext uri="{FF2B5EF4-FFF2-40B4-BE49-F238E27FC236}">
                    <a16:creationId xmlns:a16="http://schemas.microsoft.com/office/drawing/2014/main" id="{95F415C1-A657-B37E-315A-ACD081B0FC30}"/>
                  </a:ext>
                </a:extLst>
              </p:cNvPr>
              <p:cNvSpPr/>
              <p:nvPr/>
            </p:nvSpPr>
            <p:spPr>
              <a:xfrm>
                <a:off x="4019952" y="3727105"/>
                <a:ext cx="22608" cy="58404"/>
              </a:xfrm>
              <a:custGeom>
                <a:avLst/>
                <a:gdLst>
                  <a:gd name="connsiteX0" fmla="*/ 22608 w 22608"/>
                  <a:gd name="connsiteY0" fmla="*/ 0 h 58404"/>
                  <a:gd name="connsiteX1" fmla="*/ 0 w 22608"/>
                  <a:gd name="connsiteY1" fmla="*/ 58404 h 584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2608" h="58404">
                    <a:moveTo>
                      <a:pt x="22608" y="0"/>
                    </a:moveTo>
                    <a:cubicBezTo>
                      <a:pt x="22608" y="0"/>
                      <a:pt x="10385" y="16405"/>
                      <a:pt x="0" y="58404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680" name="Forma livre: Forma 1679">
                <a:extLst>
                  <a:ext uri="{FF2B5EF4-FFF2-40B4-BE49-F238E27FC236}">
                    <a16:creationId xmlns:a16="http://schemas.microsoft.com/office/drawing/2014/main" id="{536AEE07-F266-748F-0B13-9807B92AD1B2}"/>
                  </a:ext>
                </a:extLst>
              </p:cNvPr>
              <p:cNvSpPr/>
              <p:nvPr/>
            </p:nvSpPr>
            <p:spPr>
              <a:xfrm>
                <a:off x="4022893" y="3629550"/>
                <a:ext cx="19621" cy="78898"/>
              </a:xfrm>
              <a:custGeom>
                <a:avLst/>
                <a:gdLst>
                  <a:gd name="connsiteX0" fmla="*/ 19621 w 19621"/>
                  <a:gd name="connsiteY0" fmla="*/ 0 h 78898"/>
                  <a:gd name="connsiteX1" fmla="*/ 0 w 19621"/>
                  <a:gd name="connsiteY1" fmla="*/ 78899 h 78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9621" h="78898">
                    <a:moveTo>
                      <a:pt x="19621" y="0"/>
                    </a:moveTo>
                    <a:cubicBezTo>
                      <a:pt x="19621" y="0"/>
                      <a:pt x="6433" y="27525"/>
                      <a:pt x="0" y="78899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681" name="Forma livre: Forma 1680">
                <a:extLst>
                  <a:ext uri="{FF2B5EF4-FFF2-40B4-BE49-F238E27FC236}">
                    <a16:creationId xmlns:a16="http://schemas.microsoft.com/office/drawing/2014/main" id="{2DF75288-2B06-D862-7C64-486B3A069B04}"/>
                  </a:ext>
                </a:extLst>
              </p:cNvPr>
              <p:cNvSpPr/>
              <p:nvPr/>
            </p:nvSpPr>
            <p:spPr>
              <a:xfrm>
                <a:off x="3961364" y="3759226"/>
                <a:ext cx="67594" cy="41218"/>
              </a:xfrm>
              <a:custGeom>
                <a:avLst/>
                <a:gdLst>
                  <a:gd name="connsiteX0" fmla="*/ 67595 w 67594"/>
                  <a:gd name="connsiteY0" fmla="*/ 32855 h 41218"/>
                  <a:gd name="connsiteX1" fmla="*/ 0 w 67594"/>
                  <a:gd name="connsiteY1" fmla="*/ 0 h 41218"/>
                  <a:gd name="connsiteX2" fmla="*/ 23573 w 67594"/>
                  <a:gd name="connsiteY2" fmla="*/ 41218 h 412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67594" h="41218">
                    <a:moveTo>
                      <a:pt x="67595" y="32855"/>
                    </a:moveTo>
                    <a:cubicBezTo>
                      <a:pt x="67595" y="32855"/>
                      <a:pt x="28306" y="3630"/>
                      <a:pt x="0" y="0"/>
                    </a:cubicBezTo>
                    <a:cubicBezTo>
                      <a:pt x="0" y="0"/>
                      <a:pt x="11993" y="24814"/>
                      <a:pt x="23573" y="41218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682" name="Forma livre: Forma 1681">
                <a:extLst>
                  <a:ext uri="{FF2B5EF4-FFF2-40B4-BE49-F238E27FC236}">
                    <a16:creationId xmlns:a16="http://schemas.microsoft.com/office/drawing/2014/main" id="{B1769292-1616-4136-3E82-4E053013DA51}"/>
                  </a:ext>
                </a:extLst>
              </p:cNvPr>
              <p:cNvSpPr/>
              <p:nvPr/>
            </p:nvSpPr>
            <p:spPr>
              <a:xfrm>
                <a:off x="3973587" y="3707714"/>
                <a:ext cx="58634" cy="38139"/>
              </a:xfrm>
              <a:custGeom>
                <a:avLst/>
                <a:gdLst>
                  <a:gd name="connsiteX0" fmla="*/ 58634 w 58634"/>
                  <a:gd name="connsiteY0" fmla="*/ 38140 h 38139"/>
                  <a:gd name="connsiteX1" fmla="*/ 0 w 58634"/>
                  <a:gd name="connsiteY1" fmla="*/ 0 h 38139"/>
                  <a:gd name="connsiteX2" fmla="*/ 18610 w 58634"/>
                  <a:gd name="connsiteY2" fmla="*/ 36072 h 381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58634" h="38139">
                    <a:moveTo>
                      <a:pt x="58634" y="38140"/>
                    </a:moveTo>
                    <a:cubicBezTo>
                      <a:pt x="58634" y="38140"/>
                      <a:pt x="20954" y="4182"/>
                      <a:pt x="0" y="0"/>
                    </a:cubicBezTo>
                    <a:cubicBezTo>
                      <a:pt x="0" y="0"/>
                      <a:pt x="10844" y="17002"/>
                      <a:pt x="18610" y="36072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683" name="Forma livre: Forma 1682">
                <a:extLst>
                  <a:ext uri="{FF2B5EF4-FFF2-40B4-BE49-F238E27FC236}">
                    <a16:creationId xmlns:a16="http://schemas.microsoft.com/office/drawing/2014/main" id="{C18B0D0D-B609-45B8-42C8-A5988F1F5FEE}"/>
                  </a:ext>
                </a:extLst>
              </p:cNvPr>
              <p:cNvSpPr/>
              <p:nvPr/>
            </p:nvSpPr>
            <p:spPr>
              <a:xfrm>
                <a:off x="3986086" y="3665439"/>
                <a:ext cx="38369" cy="27065"/>
              </a:xfrm>
              <a:custGeom>
                <a:avLst/>
                <a:gdLst>
                  <a:gd name="connsiteX0" fmla="*/ 38370 w 38369"/>
                  <a:gd name="connsiteY0" fmla="*/ 22700 h 27065"/>
                  <a:gd name="connsiteX1" fmla="*/ 0 w 38369"/>
                  <a:gd name="connsiteY1" fmla="*/ 0 h 27065"/>
                  <a:gd name="connsiteX2" fmla="*/ 12637 w 38369"/>
                  <a:gd name="connsiteY2" fmla="*/ 27065 h 270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8369" h="27065">
                    <a:moveTo>
                      <a:pt x="38370" y="22700"/>
                    </a:moveTo>
                    <a:cubicBezTo>
                      <a:pt x="38370" y="22700"/>
                      <a:pt x="17140" y="3400"/>
                      <a:pt x="0" y="0"/>
                    </a:cubicBezTo>
                    <a:cubicBezTo>
                      <a:pt x="0" y="0"/>
                      <a:pt x="6893" y="12177"/>
                      <a:pt x="12637" y="27065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684" name="Forma livre: Forma 1683">
              <a:extLst>
                <a:ext uri="{FF2B5EF4-FFF2-40B4-BE49-F238E27FC236}">
                  <a16:creationId xmlns:a16="http://schemas.microsoft.com/office/drawing/2014/main" id="{5971D778-85DC-F795-1BC5-3FF77E8CC72B}"/>
                </a:ext>
              </a:extLst>
            </p:cNvPr>
            <p:cNvSpPr/>
            <p:nvPr/>
          </p:nvSpPr>
          <p:spPr>
            <a:xfrm>
              <a:off x="4042790" y="3810829"/>
              <a:ext cx="90325" cy="184449"/>
            </a:xfrm>
            <a:custGeom>
              <a:avLst/>
              <a:gdLst>
                <a:gd name="connsiteX0" fmla="*/ 68146 w 90325"/>
                <a:gd name="connsiteY0" fmla="*/ 0 h 184449"/>
                <a:gd name="connsiteX1" fmla="*/ 72236 w 90325"/>
                <a:gd name="connsiteY1" fmla="*/ 152881 h 184449"/>
                <a:gd name="connsiteX2" fmla="*/ 0 w 90325"/>
                <a:gd name="connsiteY2" fmla="*/ 184449 h 1844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0325" h="184449">
                  <a:moveTo>
                    <a:pt x="68146" y="0"/>
                  </a:moveTo>
                  <a:cubicBezTo>
                    <a:pt x="68146" y="0"/>
                    <a:pt x="115200" y="95533"/>
                    <a:pt x="72236" y="152881"/>
                  </a:cubicBezTo>
                  <a:cubicBezTo>
                    <a:pt x="72236" y="152881"/>
                    <a:pt x="47146" y="184449"/>
                    <a:pt x="0" y="184449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85" name="Forma livre: Forma 1684">
              <a:extLst>
                <a:ext uri="{FF2B5EF4-FFF2-40B4-BE49-F238E27FC236}">
                  <a16:creationId xmlns:a16="http://schemas.microsoft.com/office/drawing/2014/main" id="{C7C1594B-AEB1-9106-5298-9C368017CE2E}"/>
                </a:ext>
              </a:extLst>
            </p:cNvPr>
            <p:cNvSpPr/>
            <p:nvPr/>
          </p:nvSpPr>
          <p:spPr>
            <a:xfrm>
              <a:off x="4087716" y="3799208"/>
              <a:ext cx="23220" cy="11621"/>
            </a:xfrm>
            <a:custGeom>
              <a:avLst/>
              <a:gdLst>
                <a:gd name="connsiteX0" fmla="*/ 15 w 23220"/>
                <a:gd name="connsiteY0" fmla="*/ 225 h 11621"/>
                <a:gd name="connsiteX1" fmla="*/ 23220 w 23220"/>
                <a:gd name="connsiteY1" fmla="*/ 11621 h 116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3220" h="11621">
                  <a:moveTo>
                    <a:pt x="15" y="225"/>
                  </a:moveTo>
                  <a:cubicBezTo>
                    <a:pt x="-537" y="317"/>
                    <a:pt x="14398" y="-2808"/>
                    <a:pt x="23220" y="11621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86" name="Forma livre: Forma 1685">
              <a:extLst>
                <a:ext uri="{FF2B5EF4-FFF2-40B4-BE49-F238E27FC236}">
                  <a16:creationId xmlns:a16="http://schemas.microsoft.com/office/drawing/2014/main" id="{37A88C7E-E1C9-4821-A02F-2F60527C1FDC}"/>
                </a:ext>
              </a:extLst>
            </p:cNvPr>
            <p:cNvSpPr/>
            <p:nvPr/>
          </p:nvSpPr>
          <p:spPr>
            <a:xfrm>
              <a:off x="3951658" y="3810829"/>
              <a:ext cx="90305" cy="184449"/>
            </a:xfrm>
            <a:custGeom>
              <a:avLst/>
              <a:gdLst>
                <a:gd name="connsiteX0" fmla="*/ 22159 w 90305"/>
                <a:gd name="connsiteY0" fmla="*/ 0 h 184449"/>
                <a:gd name="connsiteX1" fmla="*/ 18070 w 90305"/>
                <a:gd name="connsiteY1" fmla="*/ 152881 h 184449"/>
                <a:gd name="connsiteX2" fmla="*/ 90305 w 90305"/>
                <a:gd name="connsiteY2" fmla="*/ 184449 h 1844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0305" h="184449">
                  <a:moveTo>
                    <a:pt x="22159" y="0"/>
                  </a:moveTo>
                  <a:cubicBezTo>
                    <a:pt x="22159" y="0"/>
                    <a:pt x="-24849" y="95533"/>
                    <a:pt x="18070" y="152881"/>
                  </a:cubicBezTo>
                  <a:cubicBezTo>
                    <a:pt x="18070" y="152881"/>
                    <a:pt x="43159" y="184449"/>
                    <a:pt x="90305" y="184449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87" name="Forma livre: Forma 1686">
              <a:extLst>
                <a:ext uri="{FF2B5EF4-FFF2-40B4-BE49-F238E27FC236}">
                  <a16:creationId xmlns:a16="http://schemas.microsoft.com/office/drawing/2014/main" id="{3DF57224-6361-9F28-5E4D-C091FE876FFD}"/>
                </a:ext>
              </a:extLst>
            </p:cNvPr>
            <p:cNvSpPr/>
            <p:nvPr/>
          </p:nvSpPr>
          <p:spPr>
            <a:xfrm>
              <a:off x="3973817" y="3799208"/>
              <a:ext cx="24370" cy="11621"/>
            </a:xfrm>
            <a:custGeom>
              <a:avLst/>
              <a:gdLst>
                <a:gd name="connsiteX0" fmla="*/ 24354 w 24370"/>
                <a:gd name="connsiteY0" fmla="*/ 225 h 11621"/>
                <a:gd name="connsiteX1" fmla="*/ 0 w 24370"/>
                <a:gd name="connsiteY1" fmla="*/ 11621 h 116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4370" h="11621">
                  <a:moveTo>
                    <a:pt x="24354" y="225"/>
                  </a:moveTo>
                  <a:cubicBezTo>
                    <a:pt x="24952" y="317"/>
                    <a:pt x="8823" y="-2808"/>
                    <a:pt x="0" y="11621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88" name="Forma livre: Forma 1687">
              <a:extLst>
                <a:ext uri="{FF2B5EF4-FFF2-40B4-BE49-F238E27FC236}">
                  <a16:creationId xmlns:a16="http://schemas.microsoft.com/office/drawing/2014/main" id="{B693E403-57B4-1640-E86B-243DA46C4827}"/>
                </a:ext>
              </a:extLst>
            </p:cNvPr>
            <p:cNvSpPr/>
            <p:nvPr/>
          </p:nvSpPr>
          <p:spPr>
            <a:xfrm>
              <a:off x="3985259" y="3836332"/>
              <a:ext cx="130318" cy="130272"/>
            </a:xfrm>
            <a:custGeom>
              <a:avLst/>
              <a:gdLst>
                <a:gd name="connsiteX0" fmla="*/ 130318 w 130318"/>
                <a:gd name="connsiteY0" fmla="*/ 130272 h 130272"/>
                <a:gd name="connsiteX1" fmla="*/ 0 w 130318"/>
                <a:gd name="connsiteY1" fmla="*/ 0 h 1302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30318" h="130272">
                  <a:moveTo>
                    <a:pt x="130318" y="130272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89" name="Forma livre: Forma 1688">
              <a:extLst>
                <a:ext uri="{FF2B5EF4-FFF2-40B4-BE49-F238E27FC236}">
                  <a16:creationId xmlns:a16="http://schemas.microsoft.com/office/drawing/2014/main" id="{BF4EA559-D788-F545-5AB1-1D0129FF93D6}"/>
                </a:ext>
              </a:extLst>
            </p:cNvPr>
            <p:cNvSpPr/>
            <p:nvPr/>
          </p:nvSpPr>
          <p:spPr>
            <a:xfrm>
              <a:off x="3973771" y="3895426"/>
              <a:ext cx="96957" cy="96957"/>
            </a:xfrm>
            <a:custGeom>
              <a:avLst/>
              <a:gdLst>
                <a:gd name="connsiteX0" fmla="*/ 96958 w 96957"/>
                <a:gd name="connsiteY0" fmla="*/ 96958 h 96957"/>
                <a:gd name="connsiteX1" fmla="*/ 0 w 96957"/>
                <a:gd name="connsiteY1" fmla="*/ 0 h 969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6957" h="96957">
                  <a:moveTo>
                    <a:pt x="96958" y="96958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90" name="Forma livre: Forma 1689">
              <a:extLst>
                <a:ext uri="{FF2B5EF4-FFF2-40B4-BE49-F238E27FC236}">
                  <a16:creationId xmlns:a16="http://schemas.microsoft.com/office/drawing/2014/main" id="{B0793253-6777-D6E0-E842-6E16EC7193A5}"/>
                </a:ext>
              </a:extLst>
            </p:cNvPr>
            <p:cNvSpPr/>
            <p:nvPr/>
          </p:nvSpPr>
          <p:spPr>
            <a:xfrm>
              <a:off x="3983789" y="3819560"/>
              <a:ext cx="131742" cy="131742"/>
            </a:xfrm>
            <a:custGeom>
              <a:avLst/>
              <a:gdLst>
                <a:gd name="connsiteX0" fmla="*/ 0 w 131742"/>
                <a:gd name="connsiteY0" fmla="*/ 131743 h 131742"/>
                <a:gd name="connsiteX1" fmla="*/ 131743 w 131742"/>
                <a:gd name="connsiteY1" fmla="*/ 0 h 1317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31742" h="131742">
                  <a:moveTo>
                    <a:pt x="0" y="131743"/>
                  </a:moveTo>
                  <a:lnTo>
                    <a:pt x="131743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91" name="Forma livre: Forma 1690">
              <a:extLst>
                <a:ext uri="{FF2B5EF4-FFF2-40B4-BE49-F238E27FC236}">
                  <a16:creationId xmlns:a16="http://schemas.microsoft.com/office/drawing/2014/main" id="{46F8B744-ED33-9EA5-6B26-96DB7C6C64FC}"/>
                </a:ext>
              </a:extLst>
            </p:cNvPr>
            <p:cNvSpPr/>
            <p:nvPr/>
          </p:nvSpPr>
          <p:spPr>
            <a:xfrm>
              <a:off x="4021928" y="3885087"/>
              <a:ext cx="108629" cy="108583"/>
            </a:xfrm>
            <a:custGeom>
              <a:avLst/>
              <a:gdLst>
                <a:gd name="connsiteX0" fmla="*/ 0 w 108629"/>
                <a:gd name="connsiteY0" fmla="*/ 108583 h 108583"/>
                <a:gd name="connsiteX1" fmla="*/ 108629 w 108629"/>
                <a:gd name="connsiteY1" fmla="*/ 0 h 1085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8629" h="108583">
                  <a:moveTo>
                    <a:pt x="0" y="108583"/>
                  </a:moveTo>
                  <a:lnTo>
                    <a:pt x="108629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92" name="Forma livre: Forma 1691">
              <a:extLst>
                <a:ext uri="{FF2B5EF4-FFF2-40B4-BE49-F238E27FC236}">
                  <a16:creationId xmlns:a16="http://schemas.microsoft.com/office/drawing/2014/main" id="{F26904C5-7185-98D6-E7EC-E38FC1231152}"/>
                </a:ext>
              </a:extLst>
            </p:cNvPr>
            <p:cNvSpPr/>
            <p:nvPr/>
          </p:nvSpPr>
          <p:spPr>
            <a:xfrm>
              <a:off x="3974598" y="3816343"/>
              <a:ext cx="158073" cy="92132"/>
            </a:xfrm>
            <a:custGeom>
              <a:avLst/>
              <a:gdLst>
                <a:gd name="connsiteX0" fmla="*/ 0 w 158073"/>
                <a:gd name="connsiteY0" fmla="*/ 64608 h 92132"/>
                <a:gd name="connsiteX1" fmla="*/ 65848 w 158073"/>
                <a:gd name="connsiteY1" fmla="*/ 0 h 92132"/>
                <a:gd name="connsiteX2" fmla="*/ 158073 w 158073"/>
                <a:gd name="connsiteY2" fmla="*/ 92133 h 921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58073" h="92132">
                  <a:moveTo>
                    <a:pt x="0" y="64608"/>
                  </a:moveTo>
                  <a:lnTo>
                    <a:pt x="65848" y="0"/>
                  </a:lnTo>
                  <a:lnTo>
                    <a:pt x="158073" y="92133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693" name="Gráfico 24">
            <a:extLst>
              <a:ext uri="{FF2B5EF4-FFF2-40B4-BE49-F238E27FC236}">
                <a16:creationId xmlns:a16="http://schemas.microsoft.com/office/drawing/2014/main" id="{7823C45E-6FCB-578E-16ED-8ABD0072CFFB}"/>
              </a:ext>
            </a:extLst>
          </p:cNvPr>
          <p:cNvGrpSpPr/>
          <p:nvPr/>
        </p:nvGrpSpPr>
        <p:grpSpPr>
          <a:xfrm>
            <a:off x="3301716" y="4196742"/>
            <a:ext cx="298683" cy="246190"/>
            <a:chOff x="3301716" y="4196742"/>
            <a:chExt cx="298683" cy="246190"/>
          </a:xfrm>
          <a:noFill/>
        </p:grpSpPr>
        <p:sp>
          <p:nvSpPr>
            <p:cNvPr id="1694" name="Forma livre: Forma 1693">
              <a:extLst>
                <a:ext uri="{FF2B5EF4-FFF2-40B4-BE49-F238E27FC236}">
                  <a16:creationId xmlns:a16="http://schemas.microsoft.com/office/drawing/2014/main" id="{E001CD56-37F9-07B9-F61C-315F972F654C}"/>
                </a:ext>
              </a:extLst>
            </p:cNvPr>
            <p:cNvSpPr/>
            <p:nvPr/>
          </p:nvSpPr>
          <p:spPr>
            <a:xfrm>
              <a:off x="3301716" y="4196742"/>
              <a:ext cx="298683" cy="246190"/>
            </a:xfrm>
            <a:custGeom>
              <a:avLst/>
              <a:gdLst>
                <a:gd name="connsiteX0" fmla="*/ 100419 w 298683"/>
                <a:gd name="connsiteY0" fmla="*/ 76818 h 246190"/>
                <a:gd name="connsiteX1" fmla="*/ 228945 w 298683"/>
                <a:gd name="connsiteY1" fmla="*/ 2744 h 246190"/>
                <a:gd name="connsiteX2" fmla="*/ 298654 w 298683"/>
                <a:gd name="connsiteY2" fmla="*/ 90604 h 246190"/>
                <a:gd name="connsiteX3" fmla="*/ 147290 w 298683"/>
                <a:gd name="connsiteY3" fmla="*/ 243944 h 246190"/>
                <a:gd name="connsiteX4" fmla="*/ 8562 w 298683"/>
                <a:gd name="connsiteY4" fmla="*/ 195971 h 246190"/>
                <a:gd name="connsiteX5" fmla="*/ 25794 w 298683"/>
                <a:gd name="connsiteY5" fmla="*/ 129433 h 246190"/>
                <a:gd name="connsiteX6" fmla="*/ 100419 w 298683"/>
                <a:gd name="connsiteY6" fmla="*/ 76818 h 2461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98683" h="246190">
                  <a:moveTo>
                    <a:pt x="100419" y="76818"/>
                  </a:moveTo>
                  <a:cubicBezTo>
                    <a:pt x="100419" y="76818"/>
                    <a:pt x="177066" y="-17061"/>
                    <a:pt x="228945" y="2744"/>
                  </a:cubicBezTo>
                  <a:cubicBezTo>
                    <a:pt x="228945" y="2744"/>
                    <a:pt x="300354" y="21401"/>
                    <a:pt x="298654" y="90604"/>
                  </a:cubicBezTo>
                  <a:cubicBezTo>
                    <a:pt x="298654" y="90604"/>
                    <a:pt x="292221" y="216557"/>
                    <a:pt x="147290" y="243944"/>
                  </a:cubicBezTo>
                  <a:cubicBezTo>
                    <a:pt x="147290" y="243944"/>
                    <a:pt x="47299" y="261957"/>
                    <a:pt x="8562" y="195971"/>
                  </a:cubicBezTo>
                  <a:cubicBezTo>
                    <a:pt x="8562" y="195971"/>
                    <a:pt x="-19422" y="153511"/>
                    <a:pt x="25794" y="129433"/>
                  </a:cubicBezTo>
                  <a:cubicBezTo>
                    <a:pt x="25794" y="129433"/>
                    <a:pt x="71653" y="104895"/>
                    <a:pt x="100419" y="76818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95" name="Forma livre: Forma 1694">
              <a:extLst>
                <a:ext uri="{FF2B5EF4-FFF2-40B4-BE49-F238E27FC236}">
                  <a16:creationId xmlns:a16="http://schemas.microsoft.com/office/drawing/2014/main" id="{1F6F1FDB-895E-CC89-788E-DF373BDCCA5D}"/>
                </a:ext>
              </a:extLst>
            </p:cNvPr>
            <p:cNvSpPr/>
            <p:nvPr/>
          </p:nvSpPr>
          <p:spPr>
            <a:xfrm>
              <a:off x="3373369" y="4344372"/>
              <a:ext cx="13739" cy="19483"/>
            </a:xfrm>
            <a:custGeom>
              <a:avLst/>
              <a:gdLst>
                <a:gd name="connsiteX0" fmla="*/ 0 w 13739"/>
                <a:gd name="connsiteY0" fmla="*/ 0 h 19483"/>
                <a:gd name="connsiteX1" fmla="*/ 13740 w 13739"/>
                <a:gd name="connsiteY1" fmla="*/ 19483 h 19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3739" h="19483">
                  <a:moveTo>
                    <a:pt x="0" y="0"/>
                  </a:moveTo>
                  <a:cubicBezTo>
                    <a:pt x="0" y="0"/>
                    <a:pt x="505" y="15210"/>
                    <a:pt x="13740" y="19483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96" name="Forma livre: Forma 1695">
              <a:extLst>
                <a:ext uri="{FF2B5EF4-FFF2-40B4-BE49-F238E27FC236}">
                  <a16:creationId xmlns:a16="http://schemas.microsoft.com/office/drawing/2014/main" id="{81FB9B68-26C1-DD09-BF79-A4A1A06F4441}"/>
                </a:ext>
              </a:extLst>
            </p:cNvPr>
            <p:cNvSpPr/>
            <p:nvPr/>
          </p:nvSpPr>
          <p:spPr>
            <a:xfrm>
              <a:off x="3461642" y="4334998"/>
              <a:ext cx="13739" cy="19483"/>
            </a:xfrm>
            <a:custGeom>
              <a:avLst/>
              <a:gdLst>
                <a:gd name="connsiteX0" fmla="*/ 0 w 13739"/>
                <a:gd name="connsiteY0" fmla="*/ 0 h 19483"/>
                <a:gd name="connsiteX1" fmla="*/ 13739 w 13739"/>
                <a:gd name="connsiteY1" fmla="*/ 19483 h 19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3739" h="19483">
                  <a:moveTo>
                    <a:pt x="0" y="0"/>
                  </a:moveTo>
                  <a:cubicBezTo>
                    <a:pt x="0" y="0"/>
                    <a:pt x="505" y="15210"/>
                    <a:pt x="13739" y="19483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97" name="Forma livre: Forma 1696">
              <a:extLst>
                <a:ext uri="{FF2B5EF4-FFF2-40B4-BE49-F238E27FC236}">
                  <a16:creationId xmlns:a16="http://schemas.microsoft.com/office/drawing/2014/main" id="{CD3145EE-C287-D010-F645-7547E7042BA2}"/>
                </a:ext>
              </a:extLst>
            </p:cNvPr>
            <p:cNvSpPr/>
            <p:nvPr/>
          </p:nvSpPr>
          <p:spPr>
            <a:xfrm>
              <a:off x="3496887" y="4236983"/>
              <a:ext cx="13739" cy="19483"/>
            </a:xfrm>
            <a:custGeom>
              <a:avLst/>
              <a:gdLst>
                <a:gd name="connsiteX0" fmla="*/ 0 w 13739"/>
                <a:gd name="connsiteY0" fmla="*/ 0 h 19483"/>
                <a:gd name="connsiteX1" fmla="*/ 13740 w 13739"/>
                <a:gd name="connsiteY1" fmla="*/ 19483 h 19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3739" h="19483">
                  <a:moveTo>
                    <a:pt x="0" y="0"/>
                  </a:moveTo>
                  <a:cubicBezTo>
                    <a:pt x="0" y="0"/>
                    <a:pt x="505" y="15210"/>
                    <a:pt x="13740" y="19483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98" name="Forma livre: Forma 1697">
              <a:extLst>
                <a:ext uri="{FF2B5EF4-FFF2-40B4-BE49-F238E27FC236}">
                  <a16:creationId xmlns:a16="http://schemas.microsoft.com/office/drawing/2014/main" id="{1CE1AC71-1B0E-BCE2-08B0-91B32B9934CF}"/>
                </a:ext>
              </a:extLst>
            </p:cNvPr>
            <p:cNvSpPr/>
            <p:nvPr/>
          </p:nvSpPr>
          <p:spPr>
            <a:xfrm>
              <a:off x="3571879" y="4298834"/>
              <a:ext cx="22194" cy="15715"/>
            </a:xfrm>
            <a:custGeom>
              <a:avLst/>
              <a:gdLst>
                <a:gd name="connsiteX0" fmla="*/ 0 w 22194"/>
                <a:gd name="connsiteY0" fmla="*/ 0 h 15715"/>
                <a:gd name="connsiteX1" fmla="*/ 22195 w 22194"/>
                <a:gd name="connsiteY1" fmla="*/ 15715 h 157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2194" h="15715">
                  <a:moveTo>
                    <a:pt x="0" y="0"/>
                  </a:moveTo>
                  <a:cubicBezTo>
                    <a:pt x="0" y="0"/>
                    <a:pt x="9098" y="13418"/>
                    <a:pt x="22195" y="15715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99" name="Forma livre: Forma 1698">
              <a:extLst>
                <a:ext uri="{FF2B5EF4-FFF2-40B4-BE49-F238E27FC236}">
                  <a16:creationId xmlns:a16="http://schemas.microsoft.com/office/drawing/2014/main" id="{1BB78634-6754-0E71-ACC9-66C6C23AD2A9}"/>
                </a:ext>
              </a:extLst>
            </p:cNvPr>
            <p:cNvSpPr/>
            <p:nvPr/>
          </p:nvSpPr>
          <p:spPr>
            <a:xfrm>
              <a:off x="3465548" y="4401811"/>
              <a:ext cx="26192" cy="25595"/>
            </a:xfrm>
            <a:custGeom>
              <a:avLst/>
              <a:gdLst>
                <a:gd name="connsiteX0" fmla="*/ 0 w 26192"/>
                <a:gd name="connsiteY0" fmla="*/ 0 h 25595"/>
                <a:gd name="connsiteX1" fmla="*/ 26192 w 26192"/>
                <a:gd name="connsiteY1" fmla="*/ 25595 h 255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6192" h="25595">
                  <a:moveTo>
                    <a:pt x="0" y="0"/>
                  </a:moveTo>
                  <a:cubicBezTo>
                    <a:pt x="0" y="0"/>
                    <a:pt x="5376" y="17232"/>
                    <a:pt x="26192" y="25595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700" name="Gráfico 24">
            <a:extLst>
              <a:ext uri="{FF2B5EF4-FFF2-40B4-BE49-F238E27FC236}">
                <a16:creationId xmlns:a16="http://schemas.microsoft.com/office/drawing/2014/main" id="{C92EAF50-6F84-9FA9-63CF-810386122D47}"/>
              </a:ext>
            </a:extLst>
          </p:cNvPr>
          <p:cNvGrpSpPr/>
          <p:nvPr/>
        </p:nvGrpSpPr>
        <p:grpSpPr>
          <a:xfrm>
            <a:off x="2722868" y="4187470"/>
            <a:ext cx="254628" cy="264807"/>
            <a:chOff x="2722868" y="4187470"/>
            <a:chExt cx="254628" cy="264807"/>
          </a:xfrm>
          <a:noFill/>
        </p:grpSpPr>
        <p:sp>
          <p:nvSpPr>
            <p:cNvPr id="1701" name="Forma livre: Forma 1700">
              <a:extLst>
                <a:ext uri="{FF2B5EF4-FFF2-40B4-BE49-F238E27FC236}">
                  <a16:creationId xmlns:a16="http://schemas.microsoft.com/office/drawing/2014/main" id="{D0242733-44F4-3B02-9695-1BD5A5438088}"/>
                </a:ext>
              </a:extLst>
            </p:cNvPr>
            <p:cNvSpPr/>
            <p:nvPr/>
          </p:nvSpPr>
          <p:spPr>
            <a:xfrm>
              <a:off x="2914635" y="4217178"/>
              <a:ext cx="62861" cy="35796"/>
            </a:xfrm>
            <a:custGeom>
              <a:avLst/>
              <a:gdLst>
                <a:gd name="connsiteX0" fmla="*/ 62862 w 62861"/>
                <a:gd name="connsiteY0" fmla="*/ 0 h 35796"/>
                <a:gd name="connsiteX1" fmla="*/ 0 w 62861"/>
                <a:gd name="connsiteY1" fmla="*/ 35796 h 357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861" h="35796">
                  <a:moveTo>
                    <a:pt x="62862" y="0"/>
                  </a:moveTo>
                  <a:cubicBezTo>
                    <a:pt x="62862" y="0"/>
                    <a:pt x="26652" y="6341"/>
                    <a:pt x="0" y="35796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02" name="Forma livre: Forma 1701">
              <a:extLst>
                <a:ext uri="{FF2B5EF4-FFF2-40B4-BE49-F238E27FC236}">
                  <a16:creationId xmlns:a16="http://schemas.microsoft.com/office/drawing/2014/main" id="{7ECF2239-8F5A-9F35-E10F-04DE9F02C0FB}"/>
                </a:ext>
              </a:extLst>
            </p:cNvPr>
            <p:cNvSpPr/>
            <p:nvPr/>
          </p:nvSpPr>
          <p:spPr>
            <a:xfrm>
              <a:off x="2896513" y="4187470"/>
              <a:ext cx="40045" cy="62426"/>
            </a:xfrm>
            <a:custGeom>
              <a:avLst/>
              <a:gdLst>
                <a:gd name="connsiteX0" fmla="*/ 21063 w 40045"/>
                <a:gd name="connsiteY0" fmla="*/ 62426 h 62426"/>
                <a:gd name="connsiteX1" fmla="*/ 35859 w 40045"/>
                <a:gd name="connsiteY1" fmla="*/ 10777 h 62426"/>
                <a:gd name="connsiteX2" fmla="*/ 7094 w 40045"/>
                <a:gd name="connsiteY2" fmla="*/ 3057 h 62426"/>
                <a:gd name="connsiteX3" fmla="*/ 2039 w 40045"/>
                <a:gd name="connsiteY3" fmla="*/ 22173 h 62426"/>
                <a:gd name="connsiteX4" fmla="*/ 7415 w 40045"/>
                <a:gd name="connsiteY4" fmla="*/ 30536 h 624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0045" h="62426">
                  <a:moveTo>
                    <a:pt x="21063" y="62426"/>
                  </a:moveTo>
                  <a:cubicBezTo>
                    <a:pt x="37927" y="47078"/>
                    <a:pt x="45371" y="28146"/>
                    <a:pt x="35859" y="10777"/>
                  </a:cubicBezTo>
                  <a:cubicBezTo>
                    <a:pt x="29931" y="-114"/>
                    <a:pt x="17984" y="-2871"/>
                    <a:pt x="7094" y="3057"/>
                  </a:cubicBezTo>
                  <a:cubicBezTo>
                    <a:pt x="293" y="6825"/>
                    <a:pt x="-2097" y="15601"/>
                    <a:pt x="2039" y="22173"/>
                  </a:cubicBezTo>
                  <a:cubicBezTo>
                    <a:pt x="5577" y="27825"/>
                    <a:pt x="4704" y="26860"/>
                    <a:pt x="7415" y="30536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703" name="Gráfico 24">
              <a:extLst>
                <a:ext uri="{FF2B5EF4-FFF2-40B4-BE49-F238E27FC236}">
                  <a16:creationId xmlns:a16="http://schemas.microsoft.com/office/drawing/2014/main" id="{511204D2-875F-08D8-2BB9-111966B1FC26}"/>
                </a:ext>
              </a:extLst>
            </p:cNvPr>
            <p:cNvGrpSpPr/>
            <p:nvPr/>
          </p:nvGrpSpPr>
          <p:grpSpPr>
            <a:xfrm>
              <a:off x="2764179" y="4244462"/>
              <a:ext cx="166505" cy="166551"/>
              <a:chOff x="2764179" y="4244462"/>
              <a:chExt cx="166505" cy="166551"/>
            </a:xfrm>
            <a:noFill/>
          </p:grpSpPr>
          <p:sp>
            <p:nvSpPr>
              <p:cNvPr id="1704" name="Forma livre: Forma 1703">
                <a:extLst>
                  <a:ext uri="{FF2B5EF4-FFF2-40B4-BE49-F238E27FC236}">
                    <a16:creationId xmlns:a16="http://schemas.microsoft.com/office/drawing/2014/main" id="{9EE21AE0-1BEA-86A9-9331-BB22AA536A39}"/>
                  </a:ext>
                </a:extLst>
              </p:cNvPr>
              <p:cNvSpPr/>
              <p:nvPr/>
            </p:nvSpPr>
            <p:spPr>
              <a:xfrm>
                <a:off x="2764179" y="4244462"/>
                <a:ext cx="53372" cy="53372"/>
              </a:xfrm>
              <a:custGeom>
                <a:avLst/>
                <a:gdLst>
                  <a:gd name="connsiteX0" fmla="*/ 45549 w 53372"/>
                  <a:gd name="connsiteY0" fmla="*/ 45549 h 53372"/>
                  <a:gd name="connsiteX1" fmla="*/ 7823 w 53372"/>
                  <a:gd name="connsiteY1" fmla="*/ 45549 h 53372"/>
                  <a:gd name="connsiteX2" fmla="*/ 7823 w 53372"/>
                  <a:gd name="connsiteY2" fmla="*/ 7823 h 53372"/>
                  <a:gd name="connsiteX3" fmla="*/ 45549 w 53372"/>
                  <a:gd name="connsiteY3" fmla="*/ 7823 h 53372"/>
                  <a:gd name="connsiteX4" fmla="*/ 45549 w 53372"/>
                  <a:gd name="connsiteY4" fmla="*/ 45549 h 533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3372" h="53372">
                    <a:moveTo>
                      <a:pt x="45549" y="45549"/>
                    </a:moveTo>
                    <a:cubicBezTo>
                      <a:pt x="35118" y="55980"/>
                      <a:pt x="18254" y="55980"/>
                      <a:pt x="7823" y="45549"/>
                    </a:cubicBezTo>
                    <a:cubicBezTo>
                      <a:pt x="-2608" y="35118"/>
                      <a:pt x="-2608" y="18254"/>
                      <a:pt x="7823" y="7823"/>
                    </a:cubicBezTo>
                    <a:cubicBezTo>
                      <a:pt x="18254" y="-2608"/>
                      <a:pt x="35118" y="-2608"/>
                      <a:pt x="45549" y="7823"/>
                    </a:cubicBezTo>
                    <a:cubicBezTo>
                      <a:pt x="55980" y="18254"/>
                      <a:pt x="55980" y="35118"/>
                      <a:pt x="45549" y="45549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705" name="Forma livre: Forma 1704">
                <a:extLst>
                  <a:ext uri="{FF2B5EF4-FFF2-40B4-BE49-F238E27FC236}">
                    <a16:creationId xmlns:a16="http://schemas.microsoft.com/office/drawing/2014/main" id="{7EC215CD-0191-D2A1-EDE3-70698A0211CF}"/>
                  </a:ext>
                </a:extLst>
              </p:cNvPr>
              <p:cNvSpPr/>
              <p:nvPr/>
            </p:nvSpPr>
            <p:spPr>
              <a:xfrm>
                <a:off x="2801905" y="4282188"/>
                <a:ext cx="53372" cy="53372"/>
              </a:xfrm>
              <a:custGeom>
                <a:avLst/>
                <a:gdLst>
                  <a:gd name="connsiteX0" fmla="*/ 45549 w 53372"/>
                  <a:gd name="connsiteY0" fmla="*/ 45549 h 53372"/>
                  <a:gd name="connsiteX1" fmla="*/ 7823 w 53372"/>
                  <a:gd name="connsiteY1" fmla="*/ 45549 h 53372"/>
                  <a:gd name="connsiteX2" fmla="*/ 7823 w 53372"/>
                  <a:gd name="connsiteY2" fmla="*/ 7823 h 53372"/>
                  <a:gd name="connsiteX3" fmla="*/ 45549 w 53372"/>
                  <a:gd name="connsiteY3" fmla="*/ 7823 h 53372"/>
                  <a:gd name="connsiteX4" fmla="*/ 45549 w 53372"/>
                  <a:gd name="connsiteY4" fmla="*/ 45549 h 533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3372" h="53372">
                    <a:moveTo>
                      <a:pt x="45549" y="45549"/>
                    </a:moveTo>
                    <a:cubicBezTo>
                      <a:pt x="35118" y="55980"/>
                      <a:pt x="18254" y="55980"/>
                      <a:pt x="7823" y="45549"/>
                    </a:cubicBezTo>
                    <a:cubicBezTo>
                      <a:pt x="-2608" y="35118"/>
                      <a:pt x="-2608" y="18254"/>
                      <a:pt x="7823" y="7823"/>
                    </a:cubicBezTo>
                    <a:cubicBezTo>
                      <a:pt x="18254" y="-2608"/>
                      <a:pt x="35118" y="-2608"/>
                      <a:pt x="45549" y="7823"/>
                    </a:cubicBezTo>
                    <a:cubicBezTo>
                      <a:pt x="55980" y="18254"/>
                      <a:pt x="55980" y="35118"/>
                      <a:pt x="45549" y="45549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706" name="Forma livre: Forma 1705">
                <a:extLst>
                  <a:ext uri="{FF2B5EF4-FFF2-40B4-BE49-F238E27FC236}">
                    <a16:creationId xmlns:a16="http://schemas.microsoft.com/office/drawing/2014/main" id="{2FF4ECC5-FC9D-4378-CC66-9938770EA00C}"/>
                  </a:ext>
                </a:extLst>
              </p:cNvPr>
              <p:cNvSpPr/>
              <p:nvPr/>
            </p:nvSpPr>
            <p:spPr>
              <a:xfrm>
                <a:off x="2839631" y="4319914"/>
                <a:ext cx="53372" cy="53372"/>
              </a:xfrm>
              <a:custGeom>
                <a:avLst/>
                <a:gdLst>
                  <a:gd name="connsiteX0" fmla="*/ 45549 w 53372"/>
                  <a:gd name="connsiteY0" fmla="*/ 45549 h 53372"/>
                  <a:gd name="connsiteX1" fmla="*/ 7823 w 53372"/>
                  <a:gd name="connsiteY1" fmla="*/ 45549 h 53372"/>
                  <a:gd name="connsiteX2" fmla="*/ 7823 w 53372"/>
                  <a:gd name="connsiteY2" fmla="*/ 7823 h 53372"/>
                  <a:gd name="connsiteX3" fmla="*/ 45549 w 53372"/>
                  <a:gd name="connsiteY3" fmla="*/ 7823 h 53372"/>
                  <a:gd name="connsiteX4" fmla="*/ 45549 w 53372"/>
                  <a:gd name="connsiteY4" fmla="*/ 45549 h 533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3372" h="53372">
                    <a:moveTo>
                      <a:pt x="45549" y="45549"/>
                    </a:moveTo>
                    <a:cubicBezTo>
                      <a:pt x="35118" y="55980"/>
                      <a:pt x="18254" y="55980"/>
                      <a:pt x="7823" y="45549"/>
                    </a:cubicBezTo>
                    <a:cubicBezTo>
                      <a:pt x="-2608" y="35118"/>
                      <a:pt x="-2608" y="18254"/>
                      <a:pt x="7823" y="7823"/>
                    </a:cubicBezTo>
                    <a:cubicBezTo>
                      <a:pt x="18254" y="-2608"/>
                      <a:pt x="35118" y="-2608"/>
                      <a:pt x="45549" y="7823"/>
                    </a:cubicBezTo>
                    <a:cubicBezTo>
                      <a:pt x="55980" y="18254"/>
                      <a:pt x="55980" y="35118"/>
                      <a:pt x="45549" y="45549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707" name="Forma livre: Forma 1706">
                <a:extLst>
                  <a:ext uri="{FF2B5EF4-FFF2-40B4-BE49-F238E27FC236}">
                    <a16:creationId xmlns:a16="http://schemas.microsoft.com/office/drawing/2014/main" id="{94494379-B532-02D6-C1C0-BFC3CB554294}"/>
                  </a:ext>
                </a:extLst>
              </p:cNvPr>
              <p:cNvSpPr/>
              <p:nvPr/>
            </p:nvSpPr>
            <p:spPr>
              <a:xfrm>
                <a:off x="2877311" y="4357640"/>
                <a:ext cx="53372" cy="53372"/>
              </a:xfrm>
              <a:custGeom>
                <a:avLst/>
                <a:gdLst>
                  <a:gd name="connsiteX0" fmla="*/ 45549 w 53372"/>
                  <a:gd name="connsiteY0" fmla="*/ 45549 h 53372"/>
                  <a:gd name="connsiteX1" fmla="*/ 7823 w 53372"/>
                  <a:gd name="connsiteY1" fmla="*/ 45549 h 53372"/>
                  <a:gd name="connsiteX2" fmla="*/ 7823 w 53372"/>
                  <a:gd name="connsiteY2" fmla="*/ 7823 h 53372"/>
                  <a:gd name="connsiteX3" fmla="*/ 45549 w 53372"/>
                  <a:gd name="connsiteY3" fmla="*/ 7823 h 53372"/>
                  <a:gd name="connsiteX4" fmla="*/ 45549 w 53372"/>
                  <a:gd name="connsiteY4" fmla="*/ 45549 h 533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3372" h="53372">
                    <a:moveTo>
                      <a:pt x="45549" y="45549"/>
                    </a:moveTo>
                    <a:cubicBezTo>
                      <a:pt x="35118" y="55980"/>
                      <a:pt x="18254" y="55980"/>
                      <a:pt x="7823" y="45549"/>
                    </a:cubicBezTo>
                    <a:cubicBezTo>
                      <a:pt x="-2608" y="35118"/>
                      <a:pt x="-2608" y="18254"/>
                      <a:pt x="7823" y="7823"/>
                    </a:cubicBezTo>
                    <a:cubicBezTo>
                      <a:pt x="18254" y="-2608"/>
                      <a:pt x="35118" y="-2608"/>
                      <a:pt x="45549" y="7823"/>
                    </a:cubicBezTo>
                    <a:cubicBezTo>
                      <a:pt x="55980" y="18254"/>
                      <a:pt x="55980" y="35118"/>
                      <a:pt x="45549" y="45549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708" name="Gráfico 24">
              <a:extLst>
                <a:ext uri="{FF2B5EF4-FFF2-40B4-BE49-F238E27FC236}">
                  <a16:creationId xmlns:a16="http://schemas.microsoft.com/office/drawing/2014/main" id="{3BFCCC54-217E-3B6B-FCE0-5ED575C40059}"/>
                </a:ext>
              </a:extLst>
            </p:cNvPr>
            <p:cNvGrpSpPr/>
            <p:nvPr/>
          </p:nvGrpSpPr>
          <p:grpSpPr>
            <a:xfrm>
              <a:off x="2815644" y="4230722"/>
              <a:ext cx="128824" cy="128779"/>
              <a:chOff x="2815644" y="4230722"/>
              <a:chExt cx="128824" cy="128779"/>
            </a:xfrm>
            <a:noFill/>
          </p:grpSpPr>
          <p:sp>
            <p:nvSpPr>
              <p:cNvPr id="1709" name="Forma livre: Forma 1708">
                <a:extLst>
                  <a:ext uri="{FF2B5EF4-FFF2-40B4-BE49-F238E27FC236}">
                    <a16:creationId xmlns:a16="http://schemas.microsoft.com/office/drawing/2014/main" id="{94B79F55-CA4B-B2AE-71D8-8BB4CF9A9D00}"/>
                  </a:ext>
                </a:extLst>
              </p:cNvPr>
              <p:cNvSpPr/>
              <p:nvPr/>
            </p:nvSpPr>
            <p:spPr>
              <a:xfrm>
                <a:off x="2815644" y="4230722"/>
                <a:ext cx="53372" cy="53372"/>
              </a:xfrm>
              <a:custGeom>
                <a:avLst/>
                <a:gdLst>
                  <a:gd name="connsiteX0" fmla="*/ 45549 w 53372"/>
                  <a:gd name="connsiteY0" fmla="*/ 45549 h 53372"/>
                  <a:gd name="connsiteX1" fmla="*/ 7823 w 53372"/>
                  <a:gd name="connsiteY1" fmla="*/ 45549 h 53372"/>
                  <a:gd name="connsiteX2" fmla="*/ 7823 w 53372"/>
                  <a:gd name="connsiteY2" fmla="*/ 7823 h 53372"/>
                  <a:gd name="connsiteX3" fmla="*/ 45549 w 53372"/>
                  <a:gd name="connsiteY3" fmla="*/ 7823 h 53372"/>
                  <a:gd name="connsiteX4" fmla="*/ 45549 w 53372"/>
                  <a:gd name="connsiteY4" fmla="*/ 45549 h 533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3372" h="53372">
                    <a:moveTo>
                      <a:pt x="45549" y="45549"/>
                    </a:moveTo>
                    <a:cubicBezTo>
                      <a:pt x="35118" y="55980"/>
                      <a:pt x="18254" y="55980"/>
                      <a:pt x="7823" y="45549"/>
                    </a:cubicBezTo>
                    <a:cubicBezTo>
                      <a:pt x="-2608" y="35118"/>
                      <a:pt x="-2608" y="18254"/>
                      <a:pt x="7823" y="7823"/>
                    </a:cubicBezTo>
                    <a:cubicBezTo>
                      <a:pt x="18254" y="-2608"/>
                      <a:pt x="35118" y="-2608"/>
                      <a:pt x="45549" y="7823"/>
                    </a:cubicBezTo>
                    <a:cubicBezTo>
                      <a:pt x="55980" y="18254"/>
                      <a:pt x="55980" y="35118"/>
                      <a:pt x="45549" y="45549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710" name="Forma livre: Forma 1709">
                <a:extLst>
                  <a:ext uri="{FF2B5EF4-FFF2-40B4-BE49-F238E27FC236}">
                    <a16:creationId xmlns:a16="http://schemas.microsoft.com/office/drawing/2014/main" id="{E0F16BBB-8AE1-313A-FA7E-0A51FCB8C01F}"/>
                  </a:ext>
                </a:extLst>
              </p:cNvPr>
              <p:cNvSpPr/>
              <p:nvPr/>
            </p:nvSpPr>
            <p:spPr>
              <a:xfrm>
                <a:off x="2853371" y="4268449"/>
                <a:ext cx="53372" cy="53372"/>
              </a:xfrm>
              <a:custGeom>
                <a:avLst/>
                <a:gdLst>
                  <a:gd name="connsiteX0" fmla="*/ 45549 w 53372"/>
                  <a:gd name="connsiteY0" fmla="*/ 45549 h 53372"/>
                  <a:gd name="connsiteX1" fmla="*/ 7823 w 53372"/>
                  <a:gd name="connsiteY1" fmla="*/ 45549 h 53372"/>
                  <a:gd name="connsiteX2" fmla="*/ 7823 w 53372"/>
                  <a:gd name="connsiteY2" fmla="*/ 7823 h 53372"/>
                  <a:gd name="connsiteX3" fmla="*/ 45549 w 53372"/>
                  <a:gd name="connsiteY3" fmla="*/ 7823 h 53372"/>
                  <a:gd name="connsiteX4" fmla="*/ 45549 w 53372"/>
                  <a:gd name="connsiteY4" fmla="*/ 45549 h 533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3372" h="53372">
                    <a:moveTo>
                      <a:pt x="45549" y="45549"/>
                    </a:moveTo>
                    <a:cubicBezTo>
                      <a:pt x="35118" y="55980"/>
                      <a:pt x="18254" y="55980"/>
                      <a:pt x="7823" y="45549"/>
                    </a:cubicBezTo>
                    <a:cubicBezTo>
                      <a:pt x="-2608" y="35118"/>
                      <a:pt x="-2608" y="18254"/>
                      <a:pt x="7823" y="7823"/>
                    </a:cubicBezTo>
                    <a:cubicBezTo>
                      <a:pt x="18254" y="-2608"/>
                      <a:pt x="35118" y="-2608"/>
                      <a:pt x="45549" y="7823"/>
                    </a:cubicBezTo>
                    <a:cubicBezTo>
                      <a:pt x="55980" y="18254"/>
                      <a:pt x="55980" y="35118"/>
                      <a:pt x="45549" y="45549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711" name="Forma livre: Forma 1710">
                <a:extLst>
                  <a:ext uri="{FF2B5EF4-FFF2-40B4-BE49-F238E27FC236}">
                    <a16:creationId xmlns:a16="http://schemas.microsoft.com/office/drawing/2014/main" id="{01A9B319-A31A-A91C-C9AA-B1FEF85CD799}"/>
                  </a:ext>
                </a:extLst>
              </p:cNvPr>
              <p:cNvSpPr/>
              <p:nvPr/>
            </p:nvSpPr>
            <p:spPr>
              <a:xfrm>
                <a:off x="2891097" y="4306129"/>
                <a:ext cx="53372" cy="53372"/>
              </a:xfrm>
              <a:custGeom>
                <a:avLst/>
                <a:gdLst>
                  <a:gd name="connsiteX0" fmla="*/ 45549 w 53372"/>
                  <a:gd name="connsiteY0" fmla="*/ 45549 h 53372"/>
                  <a:gd name="connsiteX1" fmla="*/ 7823 w 53372"/>
                  <a:gd name="connsiteY1" fmla="*/ 45549 h 53372"/>
                  <a:gd name="connsiteX2" fmla="*/ 7823 w 53372"/>
                  <a:gd name="connsiteY2" fmla="*/ 7823 h 53372"/>
                  <a:gd name="connsiteX3" fmla="*/ 45549 w 53372"/>
                  <a:gd name="connsiteY3" fmla="*/ 7823 h 53372"/>
                  <a:gd name="connsiteX4" fmla="*/ 45549 w 53372"/>
                  <a:gd name="connsiteY4" fmla="*/ 45549 h 533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3372" h="53372">
                    <a:moveTo>
                      <a:pt x="45549" y="45549"/>
                    </a:moveTo>
                    <a:cubicBezTo>
                      <a:pt x="35118" y="55980"/>
                      <a:pt x="18254" y="55980"/>
                      <a:pt x="7823" y="45549"/>
                    </a:cubicBezTo>
                    <a:cubicBezTo>
                      <a:pt x="-2608" y="35118"/>
                      <a:pt x="-2608" y="18254"/>
                      <a:pt x="7823" y="7823"/>
                    </a:cubicBezTo>
                    <a:cubicBezTo>
                      <a:pt x="18254" y="-2608"/>
                      <a:pt x="35118" y="-2608"/>
                      <a:pt x="45549" y="7823"/>
                    </a:cubicBezTo>
                    <a:cubicBezTo>
                      <a:pt x="55980" y="18254"/>
                      <a:pt x="55980" y="35118"/>
                      <a:pt x="45549" y="45549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712" name="Gráfico 24">
              <a:extLst>
                <a:ext uri="{FF2B5EF4-FFF2-40B4-BE49-F238E27FC236}">
                  <a16:creationId xmlns:a16="http://schemas.microsoft.com/office/drawing/2014/main" id="{A5848CB4-6E0D-FE37-C62A-8749F8A5C674}"/>
                </a:ext>
              </a:extLst>
            </p:cNvPr>
            <p:cNvGrpSpPr/>
            <p:nvPr/>
          </p:nvGrpSpPr>
          <p:grpSpPr>
            <a:xfrm>
              <a:off x="2750439" y="4295927"/>
              <a:ext cx="128779" cy="128825"/>
              <a:chOff x="2750439" y="4295927"/>
              <a:chExt cx="128779" cy="128825"/>
            </a:xfrm>
            <a:noFill/>
          </p:grpSpPr>
          <p:sp>
            <p:nvSpPr>
              <p:cNvPr id="1713" name="Forma livre: Forma 1712">
                <a:extLst>
                  <a:ext uri="{FF2B5EF4-FFF2-40B4-BE49-F238E27FC236}">
                    <a16:creationId xmlns:a16="http://schemas.microsoft.com/office/drawing/2014/main" id="{83CBC98B-3EBC-16EE-677A-A65937624D05}"/>
                  </a:ext>
                </a:extLst>
              </p:cNvPr>
              <p:cNvSpPr/>
              <p:nvPr/>
            </p:nvSpPr>
            <p:spPr>
              <a:xfrm>
                <a:off x="2750439" y="4295927"/>
                <a:ext cx="53372" cy="53372"/>
              </a:xfrm>
              <a:custGeom>
                <a:avLst/>
                <a:gdLst>
                  <a:gd name="connsiteX0" fmla="*/ 45549 w 53372"/>
                  <a:gd name="connsiteY0" fmla="*/ 45549 h 53372"/>
                  <a:gd name="connsiteX1" fmla="*/ 7823 w 53372"/>
                  <a:gd name="connsiteY1" fmla="*/ 45549 h 53372"/>
                  <a:gd name="connsiteX2" fmla="*/ 7823 w 53372"/>
                  <a:gd name="connsiteY2" fmla="*/ 7823 h 53372"/>
                  <a:gd name="connsiteX3" fmla="*/ 45549 w 53372"/>
                  <a:gd name="connsiteY3" fmla="*/ 7823 h 53372"/>
                  <a:gd name="connsiteX4" fmla="*/ 45549 w 53372"/>
                  <a:gd name="connsiteY4" fmla="*/ 45549 h 533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3372" h="53372">
                    <a:moveTo>
                      <a:pt x="45549" y="45549"/>
                    </a:moveTo>
                    <a:cubicBezTo>
                      <a:pt x="35118" y="55980"/>
                      <a:pt x="18254" y="55980"/>
                      <a:pt x="7823" y="45549"/>
                    </a:cubicBezTo>
                    <a:cubicBezTo>
                      <a:pt x="-2608" y="35118"/>
                      <a:pt x="-2608" y="18254"/>
                      <a:pt x="7823" y="7823"/>
                    </a:cubicBezTo>
                    <a:cubicBezTo>
                      <a:pt x="18254" y="-2608"/>
                      <a:pt x="35118" y="-2608"/>
                      <a:pt x="45549" y="7823"/>
                    </a:cubicBezTo>
                    <a:cubicBezTo>
                      <a:pt x="55980" y="18254"/>
                      <a:pt x="55980" y="35118"/>
                      <a:pt x="45549" y="45549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714" name="Forma livre: Forma 1713">
                <a:extLst>
                  <a:ext uri="{FF2B5EF4-FFF2-40B4-BE49-F238E27FC236}">
                    <a16:creationId xmlns:a16="http://schemas.microsoft.com/office/drawing/2014/main" id="{06640307-1405-F94B-E1B8-AF7887679BED}"/>
                  </a:ext>
                </a:extLst>
              </p:cNvPr>
              <p:cNvSpPr/>
              <p:nvPr/>
            </p:nvSpPr>
            <p:spPr>
              <a:xfrm>
                <a:off x="2788165" y="4333654"/>
                <a:ext cx="53372" cy="53372"/>
              </a:xfrm>
              <a:custGeom>
                <a:avLst/>
                <a:gdLst>
                  <a:gd name="connsiteX0" fmla="*/ 45549 w 53372"/>
                  <a:gd name="connsiteY0" fmla="*/ 45549 h 53372"/>
                  <a:gd name="connsiteX1" fmla="*/ 7823 w 53372"/>
                  <a:gd name="connsiteY1" fmla="*/ 45549 h 53372"/>
                  <a:gd name="connsiteX2" fmla="*/ 7823 w 53372"/>
                  <a:gd name="connsiteY2" fmla="*/ 7823 h 53372"/>
                  <a:gd name="connsiteX3" fmla="*/ 45549 w 53372"/>
                  <a:gd name="connsiteY3" fmla="*/ 7823 h 53372"/>
                  <a:gd name="connsiteX4" fmla="*/ 45549 w 53372"/>
                  <a:gd name="connsiteY4" fmla="*/ 45549 h 533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3372" h="53372">
                    <a:moveTo>
                      <a:pt x="45549" y="45549"/>
                    </a:moveTo>
                    <a:cubicBezTo>
                      <a:pt x="35118" y="55980"/>
                      <a:pt x="18254" y="55980"/>
                      <a:pt x="7823" y="45549"/>
                    </a:cubicBezTo>
                    <a:cubicBezTo>
                      <a:pt x="-2608" y="35118"/>
                      <a:pt x="-2608" y="18254"/>
                      <a:pt x="7823" y="7823"/>
                    </a:cubicBezTo>
                    <a:cubicBezTo>
                      <a:pt x="18254" y="-2608"/>
                      <a:pt x="35118" y="-2608"/>
                      <a:pt x="45549" y="7823"/>
                    </a:cubicBezTo>
                    <a:cubicBezTo>
                      <a:pt x="55980" y="18254"/>
                      <a:pt x="55980" y="35118"/>
                      <a:pt x="45549" y="45549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715" name="Forma livre: Forma 1714">
                <a:extLst>
                  <a:ext uri="{FF2B5EF4-FFF2-40B4-BE49-F238E27FC236}">
                    <a16:creationId xmlns:a16="http://schemas.microsoft.com/office/drawing/2014/main" id="{166C5EEE-3EF6-FF40-0AFC-35B87D98818A}"/>
                  </a:ext>
                </a:extLst>
              </p:cNvPr>
              <p:cNvSpPr/>
              <p:nvPr/>
            </p:nvSpPr>
            <p:spPr>
              <a:xfrm>
                <a:off x="2825846" y="4371380"/>
                <a:ext cx="53372" cy="53372"/>
              </a:xfrm>
              <a:custGeom>
                <a:avLst/>
                <a:gdLst>
                  <a:gd name="connsiteX0" fmla="*/ 45549 w 53372"/>
                  <a:gd name="connsiteY0" fmla="*/ 45549 h 53372"/>
                  <a:gd name="connsiteX1" fmla="*/ 7823 w 53372"/>
                  <a:gd name="connsiteY1" fmla="*/ 45549 h 53372"/>
                  <a:gd name="connsiteX2" fmla="*/ 7823 w 53372"/>
                  <a:gd name="connsiteY2" fmla="*/ 7823 h 53372"/>
                  <a:gd name="connsiteX3" fmla="*/ 45549 w 53372"/>
                  <a:gd name="connsiteY3" fmla="*/ 7823 h 53372"/>
                  <a:gd name="connsiteX4" fmla="*/ 45549 w 53372"/>
                  <a:gd name="connsiteY4" fmla="*/ 45549 h 533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3372" h="53372">
                    <a:moveTo>
                      <a:pt x="45549" y="45549"/>
                    </a:moveTo>
                    <a:cubicBezTo>
                      <a:pt x="35118" y="55980"/>
                      <a:pt x="18254" y="55980"/>
                      <a:pt x="7823" y="45549"/>
                    </a:cubicBezTo>
                    <a:cubicBezTo>
                      <a:pt x="-2608" y="35118"/>
                      <a:pt x="-2608" y="18254"/>
                      <a:pt x="7823" y="7823"/>
                    </a:cubicBezTo>
                    <a:cubicBezTo>
                      <a:pt x="18254" y="-2608"/>
                      <a:pt x="35118" y="-2608"/>
                      <a:pt x="45549" y="7823"/>
                    </a:cubicBezTo>
                    <a:cubicBezTo>
                      <a:pt x="55980" y="18254"/>
                      <a:pt x="55980" y="35118"/>
                      <a:pt x="45549" y="45549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716" name="Gráfico 24">
              <a:extLst>
                <a:ext uri="{FF2B5EF4-FFF2-40B4-BE49-F238E27FC236}">
                  <a16:creationId xmlns:a16="http://schemas.microsoft.com/office/drawing/2014/main" id="{BDB2C398-5C71-0B5C-E3DF-2A4F67ADE07F}"/>
                </a:ext>
              </a:extLst>
            </p:cNvPr>
            <p:cNvGrpSpPr/>
            <p:nvPr/>
          </p:nvGrpSpPr>
          <p:grpSpPr>
            <a:xfrm>
              <a:off x="2736700" y="4347393"/>
              <a:ext cx="91098" cy="91098"/>
              <a:chOff x="2736700" y="4347393"/>
              <a:chExt cx="91098" cy="91098"/>
            </a:xfrm>
            <a:noFill/>
          </p:grpSpPr>
          <p:sp>
            <p:nvSpPr>
              <p:cNvPr id="1717" name="Forma livre: Forma 1716">
                <a:extLst>
                  <a:ext uri="{FF2B5EF4-FFF2-40B4-BE49-F238E27FC236}">
                    <a16:creationId xmlns:a16="http://schemas.microsoft.com/office/drawing/2014/main" id="{1298E9E1-87F7-9D63-795D-65F7BA3DAC82}"/>
                  </a:ext>
                </a:extLst>
              </p:cNvPr>
              <p:cNvSpPr/>
              <p:nvPr/>
            </p:nvSpPr>
            <p:spPr>
              <a:xfrm>
                <a:off x="2736700" y="4347393"/>
                <a:ext cx="53372" cy="53372"/>
              </a:xfrm>
              <a:custGeom>
                <a:avLst/>
                <a:gdLst>
                  <a:gd name="connsiteX0" fmla="*/ 45549 w 53372"/>
                  <a:gd name="connsiteY0" fmla="*/ 45549 h 53372"/>
                  <a:gd name="connsiteX1" fmla="*/ 7823 w 53372"/>
                  <a:gd name="connsiteY1" fmla="*/ 45549 h 53372"/>
                  <a:gd name="connsiteX2" fmla="*/ 7823 w 53372"/>
                  <a:gd name="connsiteY2" fmla="*/ 7823 h 53372"/>
                  <a:gd name="connsiteX3" fmla="*/ 45549 w 53372"/>
                  <a:gd name="connsiteY3" fmla="*/ 7823 h 53372"/>
                  <a:gd name="connsiteX4" fmla="*/ 45549 w 53372"/>
                  <a:gd name="connsiteY4" fmla="*/ 45549 h 533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3372" h="53372">
                    <a:moveTo>
                      <a:pt x="45549" y="45549"/>
                    </a:moveTo>
                    <a:cubicBezTo>
                      <a:pt x="35118" y="55980"/>
                      <a:pt x="18254" y="55980"/>
                      <a:pt x="7823" y="45549"/>
                    </a:cubicBezTo>
                    <a:cubicBezTo>
                      <a:pt x="-2608" y="35118"/>
                      <a:pt x="-2608" y="18254"/>
                      <a:pt x="7823" y="7823"/>
                    </a:cubicBezTo>
                    <a:cubicBezTo>
                      <a:pt x="18254" y="-2608"/>
                      <a:pt x="35118" y="-2608"/>
                      <a:pt x="45549" y="7823"/>
                    </a:cubicBezTo>
                    <a:cubicBezTo>
                      <a:pt x="55980" y="18254"/>
                      <a:pt x="55980" y="35118"/>
                      <a:pt x="45549" y="45549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718" name="Forma livre: Forma 1717">
                <a:extLst>
                  <a:ext uri="{FF2B5EF4-FFF2-40B4-BE49-F238E27FC236}">
                    <a16:creationId xmlns:a16="http://schemas.microsoft.com/office/drawing/2014/main" id="{CF6FC4B6-4074-4556-60C9-AAB6664323FA}"/>
                  </a:ext>
                </a:extLst>
              </p:cNvPr>
              <p:cNvSpPr/>
              <p:nvPr/>
            </p:nvSpPr>
            <p:spPr>
              <a:xfrm>
                <a:off x="2774426" y="4385119"/>
                <a:ext cx="53372" cy="53372"/>
              </a:xfrm>
              <a:custGeom>
                <a:avLst/>
                <a:gdLst>
                  <a:gd name="connsiteX0" fmla="*/ 45549 w 53372"/>
                  <a:gd name="connsiteY0" fmla="*/ 45549 h 53372"/>
                  <a:gd name="connsiteX1" fmla="*/ 7823 w 53372"/>
                  <a:gd name="connsiteY1" fmla="*/ 45549 h 53372"/>
                  <a:gd name="connsiteX2" fmla="*/ 7823 w 53372"/>
                  <a:gd name="connsiteY2" fmla="*/ 7823 h 53372"/>
                  <a:gd name="connsiteX3" fmla="*/ 45549 w 53372"/>
                  <a:gd name="connsiteY3" fmla="*/ 7823 h 53372"/>
                  <a:gd name="connsiteX4" fmla="*/ 45549 w 53372"/>
                  <a:gd name="connsiteY4" fmla="*/ 45549 h 533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3372" h="53372">
                    <a:moveTo>
                      <a:pt x="45549" y="45549"/>
                    </a:moveTo>
                    <a:cubicBezTo>
                      <a:pt x="35118" y="55980"/>
                      <a:pt x="18254" y="55980"/>
                      <a:pt x="7823" y="45549"/>
                    </a:cubicBezTo>
                    <a:cubicBezTo>
                      <a:pt x="-2608" y="35118"/>
                      <a:pt x="-2608" y="18254"/>
                      <a:pt x="7823" y="7823"/>
                    </a:cubicBezTo>
                    <a:cubicBezTo>
                      <a:pt x="18254" y="-2608"/>
                      <a:pt x="35118" y="-2608"/>
                      <a:pt x="45549" y="7823"/>
                    </a:cubicBezTo>
                    <a:cubicBezTo>
                      <a:pt x="55980" y="18254"/>
                      <a:pt x="55980" y="35118"/>
                      <a:pt x="45549" y="45549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719" name="Forma livre: Forma 1718">
              <a:extLst>
                <a:ext uri="{FF2B5EF4-FFF2-40B4-BE49-F238E27FC236}">
                  <a16:creationId xmlns:a16="http://schemas.microsoft.com/office/drawing/2014/main" id="{B97F5ADE-6EFF-0626-3C6D-965EA456E457}"/>
                </a:ext>
              </a:extLst>
            </p:cNvPr>
            <p:cNvSpPr/>
            <p:nvPr/>
          </p:nvSpPr>
          <p:spPr>
            <a:xfrm>
              <a:off x="2722868" y="4398905"/>
              <a:ext cx="53372" cy="53372"/>
            </a:xfrm>
            <a:custGeom>
              <a:avLst/>
              <a:gdLst>
                <a:gd name="connsiteX0" fmla="*/ 45549 w 53372"/>
                <a:gd name="connsiteY0" fmla="*/ 45549 h 53372"/>
                <a:gd name="connsiteX1" fmla="*/ 7823 w 53372"/>
                <a:gd name="connsiteY1" fmla="*/ 45549 h 53372"/>
                <a:gd name="connsiteX2" fmla="*/ 7823 w 53372"/>
                <a:gd name="connsiteY2" fmla="*/ 7823 h 53372"/>
                <a:gd name="connsiteX3" fmla="*/ 45549 w 53372"/>
                <a:gd name="connsiteY3" fmla="*/ 7823 h 53372"/>
                <a:gd name="connsiteX4" fmla="*/ 45549 w 53372"/>
                <a:gd name="connsiteY4" fmla="*/ 45549 h 533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3372" h="53372">
                  <a:moveTo>
                    <a:pt x="45549" y="45549"/>
                  </a:moveTo>
                  <a:cubicBezTo>
                    <a:pt x="35118" y="55980"/>
                    <a:pt x="18254" y="55980"/>
                    <a:pt x="7823" y="45549"/>
                  </a:cubicBezTo>
                  <a:cubicBezTo>
                    <a:pt x="-2608" y="35118"/>
                    <a:pt x="-2608" y="18254"/>
                    <a:pt x="7823" y="7823"/>
                  </a:cubicBezTo>
                  <a:cubicBezTo>
                    <a:pt x="18254" y="-2608"/>
                    <a:pt x="35118" y="-2608"/>
                    <a:pt x="45549" y="7823"/>
                  </a:cubicBezTo>
                  <a:cubicBezTo>
                    <a:pt x="55980" y="18254"/>
                    <a:pt x="55980" y="35118"/>
                    <a:pt x="45549" y="45549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720" name="Gráfico 24">
            <a:extLst>
              <a:ext uri="{FF2B5EF4-FFF2-40B4-BE49-F238E27FC236}">
                <a16:creationId xmlns:a16="http://schemas.microsoft.com/office/drawing/2014/main" id="{9E023DC1-D0F3-496A-EEA4-B7390F3DA8AA}"/>
              </a:ext>
            </a:extLst>
          </p:cNvPr>
          <p:cNvGrpSpPr/>
          <p:nvPr/>
        </p:nvGrpSpPr>
        <p:grpSpPr>
          <a:xfrm>
            <a:off x="3907350" y="4168010"/>
            <a:ext cx="277590" cy="303654"/>
            <a:chOff x="3907350" y="4168010"/>
            <a:chExt cx="277590" cy="303654"/>
          </a:xfrm>
          <a:noFill/>
        </p:grpSpPr>
        <p:sp>
          <p:nvSpPr>
            <p:cNvPr id="1721" name="Forma livre: Forma 1720">
              <a:extLst>
                <a:ext uri="{FF2B5EF4-FFF2-40B4-BE49-F238E27FC236}">
                  <a16:creationId xmlns:a16="http://schemas.microsoft.com/office/drawing/2014/main" id="{19B82A57-9B73-D8C7-C9E7-DAC1F6CADC52}"/>
                </a:ext>
              </a:extLst>
            </p:cNvPr>
            <p:cNvSpPr/>
            <p:nvPr/>
          </p:nvSpPr>
          <p:spPr>
            <a:xfrm>
              <a:off x="3907350" y="4205323"/>
              <a:ext cx="91005" cy="121151"/>
            </a:xfrm>
            <a:custGeom>
              <a:avLst/>
              <a:gdLst>
                <a:gd name="connsiteX0" fmla="*/ 46708 w 91005"/>
                <a:gd name="connsiteY0" fmla="*/ 0 h 121151"/>
                <a:gd name="connsiteX1" fmla="*/ 29063 w 91005"/>
                <a:gd name="connsiteY1" fmla="*/ 33820 h 121151"/>
                <a:gd name="connsiteX2" fmla="*/ 14956 w 91005"/>
                <a:gd name="connsiteY2" fmla="*/ 33407 h 121151"/>
                <a:gd name="connsiteX3" fmla="*/ 1033 w 91005"/>
                <a:gd name="connsiteY3" fmla="*/ 63597 h 121151"/>
                <a:gd name="connsiteX4" fmla="*/ 16105 w 91005"/>
                <a:gd name="connsiteY4" fmla="*/ 79450 h 121151"/>
                <a:gd name="connsiteX5" fmla="*/ 9120 w 91005"/>
                <a:gd name="connsiteY5" fmla="*/ 101277 h 121151"/>
                <a:gd name="connsiteX6" fmla="*/ 30671 w 91005"/>
                <a:gd name="connsiteY6" fmla="*/ 113638 h 121151"/>
                <a:gd name="connsiteX7" fmla="*/ 78599 w 91005"/>
                <a:gd name="connsiteY7" fmla="*/ 112857 h 121151"/>
                <a:gd name="connsiteX8" fmla="*/ 91006 w 91005"/>
                <a:gd name="connsiteY8" fmla="*/ 95395 h 1211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91005" h="121151">
                  <a:moveTo>
                    <a:pt x="46708" y="0"/>
                  </a:moveTo>
                  <a:cubicBezTo>
                    <a:pt x="33796" y="4641"/>
                    <a:pt x="26352" y="19346"/>
                    <a:pt x="29063" y="33820"/>
                  </a:cubicBezTo>
                  <a:cubicBezTo>
                    <a:pt x="24698" y="31982"/>
                    <a:pt x="19735" y="31707"/>
                    <a:pt x="14956" y="33407"/>
                  </a:cubicBezTo>
                  <a:cubicBezTo>
                    <a:pt x="3652" y="37450"/>
                    <a:pt x="-2598" y="50960"/>
                    <a:pt x="1033" y="63597"/>
                  </a:cubicBezTo>
                  <a:cubicBezTo>
                    <a:pt x="3376" y="71730"/>
                    <a:pt x="9212" y="77474"/>
                    <a:pt x="16105" y="79450"/>
                  </a:cubicBezTo>
                  <a:cubicBezTo>
                    <a:pt x="9809" y="84045"/>
                    <a:pt x="6730" y="92914"/>
                    <a:pt x="9120" y="101277"/>
                  </a:cubicBezTo>
                  <a:cubicBezTo>
                    <a:pt x="12015" y="111340"/>
                    <a:pt x="21665" y="116855"/>
                    <a:pt x="30671" y="113638"/>
                  </a:cubicBezTo>
                  <a:cubicBezTo>
                    <a:pt x="30671" y="113638"/>
                    <a:pt x="57139" y="131054"/>
                    <a:pt x="78599" y="112857"/>
                  </a:cubicBezTo>
                  <a:cubicBezTo>
                    <a:pt x="78599" y="112857"/>
                    <a:pt x="86962" y="105688"/>
                    <a:pt x="91006" y="95395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22" name="Forma livre: Forma 1721">
              <a:extLst>
                <a:ext uri="{FF2B5EF4-FFF2-40B4-BE49-F238E27FC236}">
                  <a16:creationId xmlns:a16="http://schemas.microsoft.com/office/drawing/2014/main" id="{DB679AEE-E78B-40C0-DCA5-FE9BACF98A3C}"/>
                </a:ext>
              </a:extLst>
            </p:cNvPr>
            <p:cNvSpPr/>
            <p:nvPr/>
          </p:nvSpPr>
          <p:spPr>
            <a:xfrm>
              <a:off x="4094578" y="4203323"/>
              <a:ext cx="90362" cy="123152"/>
            </a:xfrm>
            <a:custGeom>
              <a:avLst/>
              <a:gdLst>
                <a:gd name="connsiteX0" fmla="*/ 22149 w 90362"/>
                <a:gd name="connsiteY0" fmla="*/ 1311 h 123152"/>
                <a:gd name="connsiteX1" fmla="*/ 43654 w 90362"/>
                <a:gd name="connsiteY1" fmla="*/ 2000 h 123152"/>
                <a:gd name="connsiteX2" fmla="*/ 61299 w 90362"/>
                <a:gd name="connsiteY2" fmla="*/ 35820 h 123152"/>
                <a:gd name="connsiteX3" fmla="*/ 75406 w 90362"/>
                <a:gd name="connsiteY3" fmla="*/ 35407 h 123152"/>
                <a:gd name="connsiteX4" fmla="*/ 89330 w 90362"/>
                <a:gd name="connsiteY4" fmla="*/ 65597 h 123152"/>
                <a:gd name="connsiteX5" fmla="*/ 74258 w 90362"/>
                <a:gd name="connsiteY5" fmla="*/ 81450 h 123152"/>
                <a:gd name="connsiteX6" fmla="*/ 81242 w 90362"/>
                <a:gd name="connsiteY6" fmla="*/ 103277 h 123152"/>
                <a:gd name="connsiteX7" fmla="*/ 59691 w 90362"/>
                <a:gd name="connsiteY7" fmla="*/ 115638 h 123152"/>
                <a:gd name="connsiteX8" fmla="*/ 11764 w 90362"/>
                <a:gd name="connsiteY8" fmla="*/ 114857 h 123152"/>
                <a:gd name="connsiteX9" fmla="*/ 0 w 90362"/>
                <a:gd name="connsiteY9" fmla="*/ 97671 h 1231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90362" h="123152">
                  <a:moveTo>
                    <a:pt x="22149" y="1311"/>
                  </a:moveTo>
                  <a:cubicBezTo>
                    <a:pt x="38370" y="-1998"/>
                    <a:pt x="43654" y="2000"/>
                    <a:pt x="43654" y="2000"/>
                  </a:cubicBezTo>
                  <a:cubicBezTo>
                    <a:pt x="56566" y="6641"/>
                    <a:pt x="64010" y="21346"/>
                    <a:pt x="61299" y="35820"/>
                  </a:cubicBezTo>
                  <a:cubicBezTo>
                    <a:pt x="65665" y="33982"/>
                    <a:pt x="70627" y="33707"/>
                    <a:pt x="75406" y="35407"/>
                  </a:cubicBezTo>
                  <a:cubicBezTo>
                    <a:pt x="86710" y="39451"/>
                    <a:pt x="92960" y="52960"/>
                    <a:pt x="89330" y="65597"/>
                  </a:cubicBezTo>
                  <a:cubicBezTo>
                    <a:pt x="86986" y="73730"/>
                    <a:pt x="81150" y="79474"/>
                    <a:pt x="74258" y="81450"/>
                  </a:cubicBezTo>
                  <a:cubicBezTo>
                    <a:pt x="80553" y="86045"/>
                    <a:pt x="83632" y="94914"/>
                    <a:pt x="81242" y="103277"/>
                  </a:cubicBezTo>
                  <a:cubicBezTo>
                    <a:pt x="78347" y="113341"/>
                    <a:pt x="68698" y="118855"/>
                    <a:pt x="59691" y="115638"/>
                  </a:cubicBezTo>
                  <a:cubicBezTo>
                    <a:pt x="59691" y="115638"/>
                    <a:pt x="33223" y="133054"/>
                    <a:pt x="11764" y="114857"/>
                  </a:cubicBezTo>
                  <a:cubicBezTo>
                    <a:pt x="11764" y="114857"/>
                    <a:pt x="4044" y="107964"/>
                    <a:pt x="0" y="97671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23" name="Forma livre: Forma 1722">
              <a:extLst>
                <a:ext uri="{FF2B5EF4-FFF2-40B4-BE49-F238E27FC236}">
                  <a16:creationId xmlns:a16="http://schemas.microsoft.com/office/drawing/2014/main" id="{587CBF84-E2BF-446F-078C-68967FC42649}"/>
                </a:ext>
              </a:extLst>
            </p:cNvPr>
            <p:cNvSpPr/>
            <p:nvPr/>
          </p:nvSpPr>
          <p:spPr>
            <a:xfrm>
              <a:off x="3960353" y="4326267"/>
              <a:ext cx="172915" cy="145397"/>
            </a:xfrm>
            <a:custGeom>
              <a:avLst/>
              <a:gdLst>
                <a:gd name="connsiteX0" fmla="*/ 0 w 172915"/>
                <a:gd name="connsiteY0" fmla="*/ 276 h 145397"/>
                <a:gd name="connsiteX1" fmla="*/ 47008 w 172915"/>
                <a:gd name="connsiteY1" fmla="*/ 93144 h 145397"/>
                <a:gd name="connsiteX2" fmla="*/ 47008 w 172915"/>
                <a:gd name="connsiteY2" fmla="*/ 136062 h 145397"/>
                <a:gd name="connsiteX3" fmla="*/ 55050 w 172915"/>
                <a:gd name="connsiteY3" fmla="*/ 145345 h 145397"/>
                <a:gd name="connsiteX4" fmla="*/ 119198 w 172915"/>
                <a:gd name="connsiteY4" fmla="*/ 145345 h 145397"/>
                <a:gd name="connsiteX5" fmla="*/ 126964 w 172915"/>
                <a:gd name="connsiteY5" fmla="*/ 133673 h 145397"/>
                <a:gd name="connsiteX6" fmla="*/ 126964 w 172915"/>
                <a:gd name="connsiteY6" fmla="*/ 84045 h 145397"/>
                <a:gd name="connsiteX7" fmla="*/ 172915 w 172915"/>
                <a:gd name="connsiteY7" fmla="*/ 0 h 1453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2915" h="145397">
                  <a:moveTo>
                    <a:pt x="0" y="276"/>
                  </a:moveTo>
                  <a:cubicBezTo>
                    <a:pt x="0" y="276"/>
                    <a:pt x="47008" y="50363"/>
                    <a:pt x="47008" y="93144"/>
                  </a:cubicBezTo>
                  <a:lnTo>
                    <a:pt x="47008" y="136062"/>
                  </a:lnTo>
                  <a:cubicBezTo>
                    <a:pt x="47008" y="136062"/>
                    <a:pt x="47146" y="145345"/>
                    <a:pt x="55050" y="145345"/>
                  </a:cubicBezTo>
                  <a:lnTo>
                    <a:pt x="119198" y="145345"/>
                  </a:lnTo>
                  <a:cubicBezTo>
                    <a:pt x="119198" y="145345"/>
                    <a:pt x="126964" y="146861"/>
                    <a:pt x="126964" y="133673"/>
                  </a:cubicBezTo>
                  <a:lnTo>
                    <a:pt x="126964" y="84045"/>
                  </a:lnTo>
                  <a:cubicBezTo>
                    <a:pt x="126964" y="84045"/>
                    <a:pt x="130043" y="35153"/>
                    <a:pt x="172915" y="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24" name="Forma livre: Forma 1723">
              <a:extLst>
                <a:ext uri="{FF2B5EF4-FFF2-40B4-BE49-F238E27FC236}">
                  <a16:creationId xmlns:a16="http://schemas.microsoft.com/office/drawing/2014/main" id="{F081B053-9909-29C2-C650-30D4AAADF6D0}"/>
                </a:ext>
              </a:extLst>
            </p:cNvPr>
            <p:cNvSpPr/>
            <p:nvPr/>
          </p:nvSpPr>
          <p:spPr>
            <a:xfrm>
              <a:off x="3968717" y="4168010"/>
              <a:ext cx="154764" cy="127515"/>
            </a:xfrm>
            <a:custGeom>
              <a:avLst/>
              <a:gdLst>
                <a:gd name="connsiteX0" fmla="*/ 127653 w 154764"/>
                <a:gd name="connsiteY0" fmla="*/ 126229 h 127515"/>
                <a:gd name="connsiteX1" fmla="*/ 133903 w 154764"/>
                <a:gd name="connsiteY1" fmla="*/ 126229 h 127515"/>
                <a:gd name="connsiteX2" fmla="*/ 154765 w 154764"/>
                <a:gd name="connsiteY2" fmla="*/ 101920 h 127515"/>
                <a:gd name="connsiteX3" fmla="*/ 139371 w 154764"/>
                <a:gd name="connsiteY3" fmla="*/ 79496 h 127515"/>
                <a:gd name="connsiteX4" fmla="*/ 151548 w 154764"/>
                <a:gd name="connsiteY4" fmla="*/ 54820 h 127515"/>
                <a:gd name="connsiteX5" fmla="*/ 125356 w 154764"/>
                <a:gd name="connsiteY5" fmla="*/ 25595 h 127515"/>
                <a:gd name="connsiteX6" fmla="*/ 109135 w 154764"/>
                <a:gd name="connsiteY6" fmla="*/ 31890 h 127515"/>
                <a:gd name="connsiteX7" fmla="*/ 77382 w 154764"/>
                <a:gd name="connsiteY7" fmla="*/ 0 h 127515"/>
                <a:gd name="connsiteX8" fmla="*/ 45630 w 154764"/>
                <a:gd name="connsiteY8" fmla="*/ 31890 h 127515"/>
                <a:gd name="connsiteX9" fmla="*/ 29409 w 154764"/>
                <a:gd name="connsiteY9" fmla="*/ 25595 h 127515"/>
                <a:gd name="connsiteX10" fmla="*/ 3217 w 154764"/>
                <a:gd name="connsiteY10" fmla="*/ 54820 h 127515"/>
                <a:gd name="connsiteX11" fmla="*/ 15394 w 154764"/>
                <a:gd name="connsiteY11" fmla="*/ 79450 h 127515"/>
                <a:gd name="connsiteX12" fmla="*/ 0 w 154764"/>
                <a:gd name="connsiteY12" fmla="*/ 101874 h 127515"/>
                <a:gd name="connsiteX13" fmla="*/ 20862 w 154764"/>
                <a:gd name="connsiteY13" fmla="*/ 127515 h 127515"/>
                <a:gd name="connsiteX14" fmla="*/ 27938 w 154764"/>
                <a:gd name="connsiteY14" fmla="*/ 127515 h 1275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54764" h="127515">
                  <a:moveTo>
                    <a:pt x="127653" y="126229"/>
                  </a:moveTo>
                  <a:lnTo>
                    <a:pt x="133903" y="126229"/>
                  </a:lnTo>
                  <a:cubicBezTo>
                    <a:pt x="145436" y="126229"/>
                    <a:pt x="154765" y="114787"/>
                    <a:pt x="154765" y="101920"/>
                  </a:cubicBezTo>
                  <a:cubicBezTo>
                    <a:pt x="154765" y="91214"/>
                    <a:pt x="148239" y="82161"/>
                    <a:pt x="139371" y="79496"/>
                  </a:cubicBezTo>
                  <a:cubicBezTo>
                    <a:pt x="146677" y="74304"/>
                    <a:pt x="151548" y="65205"/>
                    <a:pt x="151548" y="54820"/>
                  </a:cubicBezTo>
                  <a:cubicBezTo>
                    <a:pt x="151548" y="38691"/>
                    <a:pt x="139830" y="25595"/>
                    <a:pt x="125356" y="25595"/>
                  </a:cubicBezTo>
                  <a:cubicBezTo>
                    <a:pt x="119244" y="25595"/>
                    <a:pt x="113592" y="27984"/>
                    <a:pt x="109135" y="31890"/>
                  </a:cubicBezTo>
                  <a:cubicBezTo>
                    <a:pt x="107435" y="13969"/>
                    <a:pt x="93879" y="0"/>
                    <a:pt x="77382" y="0"/>
                  </a:cubicBezTo>
                  <a:cubicBezTo>
                    <a:pt x="60886" y="0"/>
                    <a:pt x="47284" y="13969"/>
                    <a:pt x="45630" y="31890"/>
                  </a:cubicBezTo>
                  <a:cubicBezTo>
                    <a:pt x="41172" y="27984"/>
                    <a:pt x="35520" y="25595"/>
                    <a:pt x="29409" y="25595"/>
                  </a:cubicBezTo>
                  <a:cubicBezTo>
                    <a:pt x="14934" y="25595"/>
                    <a:pt x="3217" y="38691"/>
                    <a:pt x="3217" y="54820"/>
                  </a:cubicBezTo>
                  <a:cubicBezTo>
                    <a:pt x="3217" y="65205"/>
                    <a:pt x="8087" y="74304"/>
                    <a:pt x="15394" y="79450"/>
                  </a:cubicBezTo>
                  <a:cubicBezTo>
                    <a:pt x="6525" y="82161"/>
                    <a:pt x="0" y="91168"/>
                    <a:pt x="0" y="101874"/>
                  </a:cubicBezTo>
                  <a:cubicBezTo>
                    <a:pt x="0" y="114741"/>
                    <a:pt x="9328" y="127515"/>
                    <a:pt x="20862" y="127515"/>
                  </a:cubicBezTo>
                  <a:lnTo>
                    <a:pt x="27938" y="127515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25" name="Forma livre: Forma 1724">
              <a:extLst>
                <a:ext uri="{FF2B5EF4-FFF2-40B4-BE49-F238E27FC236}">
                  <a16:creationId xmlns:a16="http://schemas.microsoft.com/office/drawing/2014/main" id="{99346046-415D-F95E-C1A0-36382979474C}"/>
                </a:ext>
              </a:extLst>
            </p:cNvPr>
            <p:cNvSpPr/>
            <p:nvPr/>
          </p:nvSpPr>
          <p:spPr>
            <a:xfrm>
              <a:off x="3995782" y="4283624"/>
              <a:ext cx="101736" cy="26422"/>
            </a:xfrm>
            <a:custGeom>
              <a:avLst/>
              <a:gdLst>
                <a:gd name="connsiteX0" fmla="*/ 0 w 101736"/>
                <a:gd name="connsiteY0" fmla="*/ 0 h 26422"/>
                <a:gd name="connsiteX1" fmla="*/ 26422 w 101736"/>
                <a:gd name="connsiteY1" fmla="*/ 26422 h 26422"/>
                <a:gd name="connsiteX2" fmla="*/ 50868 w 101736"/>
                <a:gd name="connsiteY2" fmla="*/ 10017 h 26422"/>
                <a:gd name="connsiteX3" fmla="*/ 75315 w 101736"/>
                <a:gd name="connsiteY3" fmla="*/ 26422 h 26422"/>
                <a:gd name="connsiteX4" fmla="*/ 101737 w 101736"/>
                <a:gd name="connsiteY4" fmla="*/ 0 h 264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1736" h="26422">
                  <a:moveTo>
                    <a:pt x="0" y="0"/>
                  </a:moveTo>
                  <a:cubicBezTo>
                    <a:pt x="0" y="14613"/>
                    <a:pt x="11856" y="26422"/>
                    <a:pt x="26422" y="26422"/>
                  </a:cubicBezTo>
                  <a:cubicBezTo>
                    <a:pt x="37450" y="26422"/>
                    <a:pt x="46916" y="19667"/>
                    <a:pt x="50868" y="10017"/>
                  </a:cubicBezTo>
                  <a:cubicBezTo>
                    <a:pt x="54820" y="19621"/>
                    <a:pt x="64286" y="26422"/>
                    <a:pt x="75315" y="26422"/>
                  </a:cubicBezTo>
                  <a:cubicBezTo>
                    <a:pt x="89927" y="26422"/>
                    <a:pt x="101737" y="14567"/>
                    <a:pt x="101737" y="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726" name="Gráfico 24">
              <a:extLst>
                <a:ext uri="{FF2B5EF4-FFF2-40B4-BE49-F238E27FC236}">
                  <a16:creationId xmlns:a16="http://schemas.microsoft.com/office/drawing/2014/main" id="{5BE343E1-7B7D-2C13-2F6F-9387128828F6}"/>
                </a:ext>
              </a:extLst>
            </p:cNvPr>
            <p:cNvGrpSpPr/>
            <p:nvPr/>
          </p:nvGrpSpPr>
          <p:grpSpPr>
            <a:xfrm>
              <a:off x="3988751" y="4310092"/>
              <a:ext cx="116211" cy="91581"/>
              <a:chOff x="3988751" y="4310092"/>
              <a:chExt cx="116211" cy="91581"/>
            </a:xfrm>
            <a:noFill/>
          </p:grpSpPr>
          <p:grpSp>
            <p:nvGrpSpPr>
              <p:cNvPr id="1727" name="Gráfico 24">
                <a:extLst>
                  <a:ext uri="{FF2B5EF4-FFF2-40B4-BE49-F238E27FC236}">
                    <a16:creationId xmlns:a16="http://schemas.microsoft.com/office/drawing/2014/main" id="{649901C9-8607-AC01-9AE8-FE1E934B12A0}"/>
                  </a:ext>
                </a:extLst>
              </p:cNvPr>
              <p:cNvGrpSpPr/>
              <p:nvPr/>
            </p:nvGrpSpPr>
            <p:grpSpPr>
              <a:xfrm>
                <a:off x="3988751" y="4310092"/>
                <a:ext cx="45032" cy="91581"/>
                <a:chOff x="3988751" y="4310092"/>
                <a:chExt cx="45032" cy="91581"/>
              </a:xfrm>
              <a:noFill/>
            </p:grpSpPr>
            <p:sp>
              <p:nvSpPr>
                <p:cNvPr id="1728" name="Forma livre: Forma 1727">
                  <a:extLst>
                    <a:ext uri="{FF2B5EF4-FFF2-40B4-BE49-F238E27FC236}">
                      <a16:creationId xmlns:a16="http://schemas.microsoft.com/office/drawing/2014/main" id="{71F156F1-AA22-57BF-01C4-059B51BAE956}"/>
                    </a:ext>
                  </a:extLst>
                </p:cNvPr>
                <p:cNvSpPr/>
                <p:nvPr/>
              </p:nvSpPr>
              <p:spPr>
                <a:xfrm>
                  <a:off x="3988751" y="4318501"/>
                  <a:ext cx="44021" cy="64791"/>
                </a:xfrm>
                <a:custGeom>
                  <a:avLst/>
                  <a:gdLst>
                    <a:gd name="connsiteX0" fmla="*/ 0 w 44021"/>
                    <a:gd name="connsiteY0" fmla="*/ 0 h 64791"/>
                    <a:gd name="connsiteX1" fmla="*/ 44022 w 44021"/>
                    <a:gd name="connsiteY1" fmla="*/ 64792 h 6479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4021" h="64791">
                      <a:moveTo>
                        <a:pt x="0" y="0"/>
                      </a:moveTo>
                      <a:cubicBezTo>
                        <a:pt x="24125" y="23343"/>
                        <a:pt x="41494" y="58450"/>
                        <a:pt x="44022" y="64792"/>
                      </a:cubicBez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729" name="Forma livre: Forma 1728">
                  <a:extLst>
                    <a:ext uri="{FF2B5EF4-FFF2-40B4-BE49-F238E27FC236}">
                      <a16:creationId xmlns:a16="http://schemas.microsoft.com/office/drawing/2014/main" id="{4EE07F9D-81B4-A0B7-A1CE-4A89790CB104}"/>
                    </a:ext>
                  </a:extLst>
                </p:cNvPr>
                <p:cNvSpPr/>
                <p:nvPr/>
              </p:nvSpPr>
              <p:spPr>
                <a:xfrm>
                  <a:off x="4027259" y="4310092"/>
                  <a:ext cx="6525" cy="91581"/>
                </a:xfrm>
                <a:custGeom>
                  <a:avLst/>
                  <a:gdLst>
                    <a:gd name="connsiteX0" fmla="*/ 0 w 6525"/>
                    <a:gd name="connsiteY0" fmla="*/ 0 h 91581"/>
                    <a:gd name="connsiteX1" fmla="*/ 6341 w 6525"/>
                    <a:gd name="connsiteY1" fmla="*/ 91581 h 9158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6525" h="91581">
                      <a:moveTo>
                        <a:pt x="0" y="0"/>
                      </a:moveTo>
                      <a:cubicBezTo>
                        <a:pt x="0" y="0"/>
                        <a:pt x="7812" y="53442"/>
                        <a:pt x="6341" y="91581"/>
                      </a:cubicBez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1730" name="Gráfico 24">
                <a:extLst>
                  <a:ext uri="{FF2B5EF4-FFF2-40B4-BE49-F238E27FC236}">
                    <a16:creationId xmlns:a16="http://schemas.microsoft.com/office/drawing/2014/main" id="{FA335898-EDFC-6D32-6D50-A991524CCAA3}"/>
                  </a:ext>
                </a:extLst>
              </p:cNvPr>
              <p:cNvGrpSpPr/>
              <p:nvPr/>
            </p:nvGrpSpPr>
            <p:grpSpPr>
              <a:xfrm>
                <a:off x="4059930" y="4310092"/>
                <a:ext cx="45032" cy="91581"/>
                <a:chOff x="4059930" y="4310092"/>
                <a:chExt cx="45032" cy="91581"/>
              </a:xfrm>
              <a:noFill/>
            </p:grpSpPr>
            <p:sp>
              <p:nvSpPr>
                <p:cNvPr id="1731" name="Forma livre: Forma 1730">
                  <a:extLst>
                    <a:ext uri="{FF2B5EF4-FFF2-40B4-BE49-F238E27FC236}">
                      <a16:creationId xmlns:a16="http://schemas.microsoft.com/office/drawing/2014/main" id="{2292D8FB-AE6F-75E5-067F-EE86FBA00449}"/>
                    </a:ext>
                  </a:extLst>
                </p:cNvPr>
                <p:cNvSpPr/>
                <p:nvPr/>
              </p:nvSpPr>
              <p:spPr>
                <a:xfrm>
                  <a:off x="4060941" y="4318501"/>
                  <a:ext cx="44021" cy="64791"/>
                </a:xfrm>
                <a:custGeom>
                  <a:avLst/>
                  <a:gdLst>
                    <a:gd name="connsiteX0" fmla="*/ 44022 w 44021"/>
                    <a:gd name="connsiteY0" fmla="*/ 0 h 64791"/>
                    <a:gd name="connsiteX1" fmla="*/ 0 w 44021"/>
                    <a:gd name="connsiteY1" fmla="*/ 64792 h 6479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4021" h="64791">
                      <a:moveTo>
                        <a:pt x="44022" y="0"/>
                      </a:moveTo>
                      <a:cubicBezTo>
                        <a:pt x="19897" y="23343"/>
                        <a:pt x="2527" y="58450"/>
                        <a:pt x="0" y="64792"/>
                      </a:cubicBez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732" name="Forma livre: Forma 1731">
                  <a:extLst>
                    <a:ext uri="{FF2B5EF4-FFF2-40B4-BE49-F238E27FC236}">
                      <a16:creationId xmlns:a16="http://schemas.microsoft.com/office/drawing/2014/main" id="{25BC4339-EA70-8368-DA3B-56C5A39D5783}"/>
                    </a:ext>
                  </a:extLst>
                </p:cNvPr>
                <p:cNvSpPr/>
                <p:nvPr/>
              </p:nvSpPr>
              <p:spPr>
                <a:xfrm>
                  <a:off x="4059930" y="4310092"/>
                  <a:ext cx="6525" cy="91581"/>
                </a:xfrm>
                <a:custGeom>
                  <a:avLst/>
                  <a:gdLst>
                    <a:gd name="connsiteX0" fmla="*/ 6526 w 6525"/>
                    <a:gd name="connsiteY0" fmla="*/ 0 h 91581"/>
                    <a:gd name="connsiteX1" fmla="*/ 184 w 6525"/>
                    <a:gd name="connsiteY1" fmla="*/ 91581 h 9158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6525" h="91581">
                      <a:moveTo>
                        <a:pt x="6526" y="0"/>
                      </a:moveTo>
                      <a:cubicBezTo>
                        <a:pt x="6526" y="0"/>
                        <a:pt x="-1286" y="53442"/>
                        <a:pt x="184" y="91581"/>
                      </a:cubicBez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</p:grpSp>
      <p:grpSp>
        <p:nvGrpSpPr>
          <p:cNvPr id="1733" name="Gráfico 24">
            <a:extLst>
              <a:ext uri="{FF2B5EF4-FFF2-40B4-BE49-F238E27FC236}">
                <a16:creationId xmlns:a16="http://schemas.microsoft.com/office/drawing/2014/main" id="{24451F1A-75A3-A80B-8974-23374D15B503}"/>
              </a:ext>
            </a:extLst>
          </p:cNvPr>
          <p:cNvGrpSpPr/>
          <p:nvPr/>
        </p:nvGrpSpPr>
        <p:grpSpPr>
          <a:xfrm>
            <a:off x="3284821" y="5173567"/>
            <a:ext cx="332413" cy="322303"/>
            <a:chOff x="3284821" y="5173567"/>
            <a:chExt cx="332413" cy="322303"/>
          </a:xfrm>
          <a:noFill/>
        </p:grpSpPr>
        <p:sp>
          <p:nvSpPr>
            <p:cNvPr id="1734" name="Forma livre: Forma 1733">
              <a:extLst>
                <a:ext uri="{FF2B5EF4-FFF2-40B4-BE49-F238E27FC236}">
                  <a16:creationId xmlns:a16="http://schemas.microsoft.com/office/drawing/2014/main" id="{95B5961B-08DD-32E5-A3A8-FC1D8A49D852}"/>
                </a:ext>
              </a:extLst>
            </p:cNvPr>
            <p:cNvSpPr/>
            <p:nvPr/>
          </p:nvSpPr>
          <p:spPr>
            <a:xfrm>
              <a:off x="3284821" y="5258853"/>
              <a:ext cx="176315" cy="194282"/>
            </a:xfrm>
            <a:custGeom>
              <a:avLst/>
              <a:gdLst>
                <a:gd name="connsiteX0" fmla="*/ 98658 w 176315"/>
                <a:gd name="connsiteY0" fmla="*/ 194283 h 194282"/>
                <a:gd name="connsiteX1" fmla="*/ 0 w 176315"/>
                <a:gd name="connsiteY1" fmla="*/ 97325 h 194282"/>
                <a:gd name="connsiteX2" fmla="*/ 108859 w 176315"/>
                <a:gd name="connsiteY2" fmla="*/ 0 h 194282"/>
                <a:gd name="connsiteX3" fmla="*/ 176316 w 176315"/>
                <a:gd name="connsiteY3" fmla="*/ 20954 h 1942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6315" h="194282">
                  <a:moveTo>
                    <a:pt x="98658" y="194283"/>
                  </a:moveTo>
                  <a:cubicBezTo>
                    <a:pt x="43332" y="190607"/>
                    <a:pt x="0" y="157016"/>
                    <a:pt x="0" y="97325"/>
                  </a:cubicBezTo>
                  <a:cubicBezTo>
                    <a:pt x="0" y="43562"/>
                    <a:pt x="48755" y="0"/>
                    <a:pt x="108859" y="0"/>
                  </a:cubicBezTo>
                  <a:cubicBezTo>
                    <a:pt x="134316" y="0"/>
                    <a:pt x="157797" y="7812"/>
                    <a:pt x="176316" y="20954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35" name="Forma livre: Forma 1734">
              <a:extLst>
                <a:ext uri="{FF2B5EF4-FFF2-40B4-BE49-F238E27FC236}">
                  <a16:creationId xmlns:a16="http://schemas.microsoft.com/office/drawing/2014/main" id="{830B83A6-688E-C4A2-F708-8F33A7A0AF17}"/>
                </a:ext>
              </a:extLst>
            </p:cNvPr>
            <p:cNvSpPr/>
            <p:nvPr/>
          </p:nvSpPr>
          <p:spPr>
            <a:xfrm>
              <a:off x="3392623" y="5295154"/>
              <a:ext cx="224610" cy="200716"/>
            </a:xfrm>
            <a:custGeom>
              <a:avLst/>
              <a:gdLst>
                <a:gd name="connsiteX0" fmla="*/ 224611 w 224610"/>
                <a:gd name="connsiteY0" fmla="*/ 100358 h 200716"/>
                <a:gd name="connsiteX1" fmla="*/ 112305 w 224610"/>
                <a:gd name="connsiteY1" fmla="*/ 200716 h 200716"/>
                <a:gd name="connsiteX2" fmla="*/ 0 w 224610"/>
                <a:gd name="connsiteY2" fmla="*/ 100358 h 200716"/>
                <a:gd name="connsiteX3" fmla="*/ 112305 w 224610"/>
                <a:gd name="connsiteY3" fmla="*/ 0 h 200716"/>
                <a:gd name="connsiteX4" fmla="*/ 224611 w 224610"/>
                <a:gd name="connsiteY4" fmla="*/ 100358 h 2007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24610" h="200716">
                  <a:moveTo>
                    <a:pt x="224611" y="100358"/>
                  </a:moveTo>
                  <a:cubicBezTo>
                    <a:pt x="224611" y="167631"/>
                    <a:pt x="174340" y="200716"/>
                    <a:pt x="112305" y="200716"/>
                  </a:cubicBezTo>
                  <a:cubicBezTo>
                    <a:pt x="50271" y="200716"/>
                    <a:pt x="0" y="165655"/>
                    <a:pt x="0" y="100358"/>
                  </a:cubicBezTo>
                  <a:cubicBezTo>
                    <a:pt x="0" y="44941"/>
                    <a:pt x="50271" y="0"/>
                    <a:pt x="112305" y="0"/>
                  </a:cubicBezTo>
                  <a:cubicBezTo>
                    <a:pt x="174340" y="0"/>
                    <a:pt x="224611" y="44941"/>
                    <a:pt x="224611" y="100358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36" name="Forma livre: Forma 1735">
              <a:extLst>
                <a:ext uri="{FF2B5EF4-FFF2-40B4-BE49-F238E27FC236}">
                  <a16:creationId xmlns:a16="http://schemas.microsoft.com/office/drawing/2014/main" id="{FDBFB341-D22A-65DE-92BE-CFDEDEA1729E}"/>
                </a:ext>
              </a:extLst>
            </p:cNvPr>
            <p:cNvSpPr/>
            <p:nvPr/>
          </p:nvSpPr>
          <p:spPr>
            <a:xfrm>
              <a:off x="3504285" y="5209729"/>
              <a:ext cx="88226" cy="53305"/>
            </a:xfrm>
            <a:custGeom>
              <a:avLst/>
              <a:gdLst>
                <a:gd name="connsiteX0" fmla="*/ 54866 w 88226"/>
                <a:gd name="connsiteY0" fmla="*/ 44758 h 53305"/>
                <a:gd name="connsiteX1" fmla="*/ 0 w 88226"/>
                <a:gd name="connsiteY1" fmla="*/ 49859 h 53305"/>
                <a:gd name="connsiteX2" fmla="*/ 32258 w 88226"/>
                <a:gd name="connsiteY2" fmla="*/ 4091 h 53305"/>
                <a:gd name="connsiteX3" fmla="*/ 88227 w 88226"/>
                <a:gd name="connsiteY3" fmla="*/ 736 h 53305"/>
                <a:gd name="connsiteX4" fmla="*/ 54866 w 88226"/>
                <a:gd name="connsiteY4" fmla="*/ 44758 h 533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226" h="53305">
                  <a:moveTo>
                    <a:pt x="54866" y="44758"/>
                  </a:moveTo>
                  <a:cubicBezTo>
                    <a:pt x="33361" y="60335"/>
                    <a:pt x="0" y="49859"/>
                    <a:pt x="0" y="49859"/>
                  </a:cubicBezTo>
                  <a:cubicBezTo>
                    <a:pt x="0" y="49859"/>
                    <a:pt x="9880" y="12546"/>
                    <a:pt x="32258" y="4091"/>
                  </a:cubicBezTo>
                  <a:cubicBezTo>
                    <a:pt x="49168" y="-2342"/>
                    <a:pt x="88227" y="736"/>
                    <a:pt x="88227" y="736"/>
                  </a:cubicBezTo>
                  <a:cubicBezTo>
                    <a:pt x="88227" y="736"/>
                    <a:pt x="70490" y="33454"/>
                    <a:pt x="54866" y="44758"/>
                  </a:cubicBez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37" name="Forma livre: Forma 1736">
              <a:extLst>
                <a:ext uri="{FF2B5EF4-FFF2-40B4-BE49-F238E27FC236}">
                  <a16:creationId xmlns:a16="http://schemas.microsoft.com/office/drawing/2014/main" id="{C16B8030-FE5D-88BE-BB0F-1C3F535CD132}"/>
                </a:ext>
              </a:extLst>
            </p:cNvPr>
            <p:cNvSpPr/>
            <p:nvPr/>
          </p:nvSpPr>
          <p:spPr>
            <a:xfrm>
              <a:off x="3498655" y="5200035"/>
              <a:ext cx="11925" cy="94568"/>
            </a:xfrm>
            <a:custGeom>
              <a:avLst/>
              <a:gdLst>
                <a:gd name="connsiteX0" fmla="*/ 2046 w 11925"/>
                <a:gd name="connsiteY0" fmla="*/ 0 h 94568"/>
                <a:gd name="connsiteX1" fmla="*/ 11925 w 11925"/>
                <a:gd name="connsiteY1" fmla="*/ 94568 h 945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925" h="94568">
                  <a:moveTo>
                    <a:pt x="2046" y="0"/>
                  </a:moveTo>
                  <a:cubicBezTo>
                    <a:pt x="2046" y="0"/>
                    <a:pt x="-6685" y="48019"/>
                    <a:pt x="11925" y="94568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38" name="Forma livre: Forma 1737">
              <a:extLst>
                <a:ext uri="{FF2B5EF4-FFF2-40B4-BE49-F238E27FC236}">
                  <a16:creationId xmlns:a16="http://schemas.microsoft.com/office/drawing/2014/main" id="{B7A6767A-47EA-1823-E023-E65148B31AC1}"/>
                </a:ext>
              </a:extLst>
            </p:cNvPr>
            <p:cNvSpPr/>
            <p:nvPr/>
          </p:nvSpPr>
          <p:spPr>
            <a:xfrm>
              <a:off x="3321628" y="5187465"/>
              <a:ext cx="87675" cy="42542"/>
            </a:xfrm>
            <a:custGeom>
              <a:avLst/>
              <a:gdLst>
                <a:gd name="connsiteX0" fmla="*/ 41908 w 87675"/>
                <a:gd name="connsiteY0" fmla="*/ 41703 h 42542"/>
                <a:gd name="connsiteX1" fmla="*/ 87675 w 87675"/>
                <a:gd name="connsiteY1" fmla="*/ 26309 h 42542"/>
                <a:gd name="connsiteX2" fmla="*/ 46089 w 87675"/>
                <a:gd name="connsiteY2" fmla="*/ 25 h 42542"/>
                <a:gd name="connsiteX3" fmla="*/ 0 w 87675"/>
                <a:gd name="connsiteY3" fmla="*/ 17257 h 42542"/>
                <a:gd name="connsiteX4" fmla="*/ 41862 w 87675"/>
                <a:gd name="connsiteY4" fmla="*/ 41703 h 425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7675" h="42542">
                  <a:moveTo>
                    <a:pt x="41908" y="41703"/>
                  </a:moveTo>
                  <a:cubicBezTo>
                    <a:pt x="64516" y="46895"/>
                    <a:pt x="87675" y="26309"/>
                    <a:pt x="87675" y="26309"/>
                  </a:cubicBezTo>
                  <a:cubicBezTo>
                    <a:pt x="87675" y="26309"/>
                    <a:pt x="66951" y="-940"/>
                    <a:pt x="46089" y="25"/>
                  </a:cubicBezTo>
                  <a:cubicBezTo>
                    <a:pt x="30328" y="760"/>
                    <a:pt x="0" y="17257"/>
                    <a:pt x="0" y="17257"/>
                  </a:cubicBezTo>
                  <a:cubicBezTo>
                    <a:pt x="0" y="17257"/>
                    <a:pt x="25457" y="37935"/>
                    <a:pt x="41862" y="41703"/>
                  </a:cubicBez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39" name="Forma livre: Forma 1738">
              <a:extLst>
                <a:ext uri="{FF2B5EF4-FFF2-40B4-BE49-F238E27FC236}">
                  <a16:creationId xmlns:a16="http://schemas.microsoft.com/office/drawing/2014/main" id="{F77B9543-9CF9-34CF-D04E-861F383912FB}"/>
                </a:ext>
              </a:extLst>
            </p:cNvPr>
            <p:cNvSpPr/>
            <p:nvPr/>
          </p:nvSpPr>
          <p:spPr>
            <a:xfrm>
              <a:off x="3403927" y="5173567"/>
              <a:ext cx="24721" cy="85561"/>
            </a:xfrm>
            <a:custGeom>
              <a:avLst/>
              <a:gdLst>
                <a:gd name="connsiteX0" fmla="*/ 24722 w 24721"/>
                <a:gd name="connsiteY0" fmla="*/ 0 h 85561"/>
                <a:gd name="connsiteX1" fmla="*/ 0 w 24721"/>
                <a:gd name="connsiteY1" fmla="*/ 85562 h 855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4721" h="85561">
                  <a:moveTo>
                    <a:pt x="24722" y="0"/>
                  </a:moveTo>
                  <a:cubicBezTo>
                    <a:pt x="24722" y="0"/>
                    <a:pt x="3171" y="39059"/>
                    <a:pt x="0" y="85562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40" name="Forma livre: Forma 1739">
              <a:extLst>
                <a:ext uri="{FF2B5EF4-FFF2-40B4-BE49-F238E27FC236}">
                  <a16:creationId xmlns:a16="http://schemas.microsoft.com/office/drawing/2014/main" id="{7D41291F-3D94-3E3A-2D42-0AAD50FEA4C3}"/>
                </a:ext>
              </a:extLst>
            </p:cNvPr>
            <p:cNvSpPr/>
            <p:nvPr/>
          </p:nvSpPr>
          <p:spPr>
            <a:xfrm>
              <a:off x="3539530" y="5346850"/>
              <a:ext cx="7168" cy="7168"/>
            </a:xfrm>
            <a:custGeom>
              <a:avLst/>
              <a:gdLst>
                <a:gd name="connsiteX0" fmla="*/ 7168 w 7168"/>
                <a:gd name="connsiteY0" fmla="*/ 3584 h 7168"/>
                <a:gd name="connsiteX1" fmla="*/ 3584 w 7168"/>
                <a:gd name="connsiteY1" fmla="*/ 7168 h 7168"/>
                <a:gd name="connsiteX2" fmla="*/ 0 w 7168"/>
                <a:gd name="connsiteY2" fmla="*/ 3584 h 7168"/>
                <a:gd name="connsiteX3" fmla="*/ 3584 w 7168"/>
                <a:gd name="connsiteY3" fmla="*/ 0 h 7168"/>
                <a:gd name="connsiteX4" fmla="*/ 7168 w 7168"/>
                <a:gd name="connsiteY4" fmla="*/ 3584 h 71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68" h="7168">
                  <a:moveTo>
                    <a:pt x="7168" y="3584"/>
                  </a:moveTo>
                  <a:cubicBezTo>
                    <a:pt x="7168" y="5560"/>
                    <a:pt x="5560" y="7168"/>
                    <a:pt x="3584" y="7168"/>
                  </a:cubicBezTo>
                  <a:cubicBezTo>
                    <a:pt x="1608" y="7168"/>
                    <a:pt x="0" y="5560"/>
                    <a:pt x="0" y="3584"/>
                  </a:cubicBezTo>
                  <a:cubicBezTo>
                    <a:pt x="0" y="1608"/>
                    <a:pt x="1608" y="0"/>
                    <a:pt x="3584" y="0"/>
                  </a:cubicBezTo>
                  <a:cubicBezTo>
                    <a:pt x="5560" y="0"/>
                    <a:pt x="7168" y="1608"/>
                    <a:pt x="7168" y="3584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41" name="Forma livre: Forma 1740">
              <a:extLst>
                <a:ext uri="{FF2B5EF4-FFF2-40B4-BE49-F238E27FC236}">
                  <a16:creationId xmlns:a16="http://schemas.microsoft.com/office/drawing/2014/main" id="{DF3158BA-EAE7-73F1-C362-E1E86364C91C}"/>
                </a:ext>
              </a:extLst>
            </p:cNvPr>
            <p:cNvSpPr/>
            <p:nvPr/>
          </p:nvSpPr>
          <p:spPr>
            <a:xfrm>
              <a:off x="3316711" y="5353513"/>
              <a:ext cx="7168" cy="7168"/>
            </a:xfrm>
            <a:custGeom>
              <a:avLst/>
              <a:gdLst>
                <a:gd name="connsiteX0" fmla="*/ 7168 w 7168"/>
                <a:gd name="connsiteY0" fmla="*/ 3584 h 7168"/>
                <a:gd name="connsiteX1" fmla="*/ 3584 w 7168"/>
                <a:gd name="connsiteY1" fmla="*/ 7168 h 7168"/>
                <a:gd name="connsiteX2" fmla="*/ 0 w 7168"/>
                <a:gd name="connsiteY2" fmla="*/ 3584 h 7168"/>
                <a:gd name="connsiteX3" fmla="*/ 3584 w 7168"/>
                <a:gd name="connsiteY3" fmla="*/ 0 h 7168"/>
                <a:gd name="connsiteX4" fmla="*/ 7168 w 7168"/>
                <a:gd name="connsiteY4" fmla="*/ 3584 h 71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68" h="7168">
                  <a:moveTo>
                    <a:pt x="7168" y="3584"/>
                  </a:moveTo>
                  <a:cubicBezTo>
                    <a:pt x="7168" y="5560"/>
                    <a:pt x="5560" y="7168"/>
                    <a:pt x="3584" y="7168"/>
                  </a:cubicBezTo>
                  <a:cubicBezTo>
                    <a:pt x="1608" y="7168"/>
                    <a:pt x="0" y="5560"/>
                    <a:pt x="0" y="3584"/>
                  </a:cubicBezTo>
                  <a:cubicBezTo>
                    <a:pt x="0" y="1608"/>
                    <a:pt x="1608" y="0"/>
                    <a:pt x="3584" y="0"/>
                  </a:cubicBezTo>
                  <a:cubicBezTo>
                    <a:pt x="5560" y="0"/>
                    <a:pt x="7168" y="1608"/>
                    <a:pt x="7168" y="3584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42" name="Forma livre: Forma 1741">
              <a:extLst>
                <a:ext uri="{FF2B5EF4-FFF2-40B4-BE49-F238E27FC236}">
                  <a16:creationId xmlns:a16="http://schemas.microsoft.com/office/drawing/2014/main" id="{D7CA9138-F9DA-294F-FC0D-7CC8A6E27808}"/>
                </a:ext>
              </a:extLst>
            </p:cNvPr>
            <p:cNvSpPr/>
            <p:nvPr/>
          </p:nvSpPr>
          <p:spPr>
            <a:xfrm>
              <a:off x="3344420" y="5366287"/>
              <a:ext cx="7168" cy="7168"/>
            </a:xfrm>
            <a:custGeom>
              <a:avLst/>
              <a:gdLst>
                <a:gd name="connsiteX0" fmla="*/ 7168 w 7168"/>
                <a:gd name="connsiteY0" fmla="*/ 3584 h 7168"/>
                <a:gd name="connsiteX1" fmla="*/ 3584 w 7168"/>
                <a:gd name="connsiteY1" fmla="*/ 7168 h 7168"/>
                <a:gd name="connsiteX2" fmla="*/ 0 w 7168"/>
                <a:gd name="connsiteY2" fmla="*/ 3584 h 7168"/>
                <a:gd name="connsiteX3" fmla="*/ 3584 w 7168"/>
                <a:gd name="connsiteY3" fmla="*/ 0 h 7168"/>
                <a:gd name="connsiteX4" fmla="*/ 7168 w 7168"/>
                <a:gd name="connsiteY4" fmla="*/ 3584 h 71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68" h="7168">
                  <a:moveTo>
                    <a:pt x="7168" y="3584"/>
                  </a:moveTo>
                  <a:cubicBezTo>
                    <a:pt x="7168" y="5560"/>
                    <a:pt x="5560" y="7168"/>
                    <a:pt x="3584" y="7168"/>
                  </a:cubicBezTo>
                  <a:cubicBezTo>
                    <a:pt x="1608" y="7168"/>
                    <a:pt x="0" y="5560"/>
                    <a:pt x="0" y="3584"/>
                  </a:cubicBezTo>
                  <a:cubicBezTo>
                    <a:pt x="0" y="1608"/>
                    <a:pt x="1608" y="0"/>
                    <a:pt x="3584" y="0"/>
                  </a:cubicBezTo>
                  <a:cubicBezTo>
                    <a:pt x="5560" y="0"/>
                    <a:pt x="7168" y="1608"/>
                    <a:pt x="7168" y="3584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43" name="Forma livre: Forma 1742">
              <a:extLst>
                <a:ext uri="{FF2B5EF4-FFF2-40B4-BE49-F238E27FC236}">
                  <a16:creationId xmlns:a16="http://schemas.microsoft.com/office/drawing/2014/main" id="{FD7F0C0E-DF0E-B73E-5DAA-9A7978814B21}"/>
                </a:ext>
              </a:extLst>
            </p:cNvPr>
            <p:cNvSpPr/>
            <p:nvPr/>
          </p:nvSpPr>
          <p:spPr>
            <a:xfrm>
              <a:off x="3320295" y="5383841"/>
              <a:ext cx="7168" cy="7168"/>
            </a:xfrm>
            <a:custGeom>
              <a:avLst/>
              <a:gdLst>
                <a:gd name="connsiteX0" fmla="*/ 7168 w 7168"/>
                <a:gd name="connsiteY0" fmla="*/ 3584 h 7168"/>
                <a:gd name="connsiteX1" fmla="*/ 3584 w 7168"/>
                <a:gd name="connsiteY1" fmla="*/ 7168 h 7168"/>
                <a:gd name="connsiteX2" fmla="*/ 0 w 7168"/>
                <a:gd name="connsiteY2" fmla="*/ 3584 h 7168"/>
                <a:gd name="connsiteX3" fmla="*/ 3584 w 7168"/>
                <a:gd name="connsiteY3" fmla="*/ 0 h 7168"/>
                <a:gd name="connsiteX4" fmla="*/ 7168 w 7168"/>
                <a:gd name="connsiteY4" fmla="*/ 3584 h 71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68" h="7168">
                  <a:moveTo>
                    <a:pt x="7168" y="3584"/>
                  </a:moveTo>
                  <a:cubicBezTo>
                    <a:pt x="7168" y="5560"/>
                    <a:pt x="5560" y="7168"/>
                    <a:pt x="3584" y="7168"/>
                  </a:cubicBezTo>
                  <a:cubicBezTo>
                    <a:pt x="1608" y="7168"/>
                    <a:pt x="0" y="5560"/>
                    <a:pt x="0" y="3584"/>
                  </a:cubicBezTo>
                  <a:cubicBezTo>
                    <a:pt x="0" y="1608"/>
                    <a:pt x="1608" y="0"/>
                    <a:pt x="3584" y="0"/>
                  </a:cubicBezTo>
                  <a:cubicBezTo>
                    <a:pt x="5560" y="0"/>
                    <a:pt x="7168" y="1608"/>
                    <a:pt x="7168" y="3584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44" name="Forma livre: Forma 1743">
              <a:extLst>
                <a:ext uri="{FF2B5EF4-FFF2-40B4-BE49-F238E27FC236}">
                  <a16:creationId xmlns:a16="http://schemas.microsoft.com/office/drawing/2014/main" id="{078A8CD3-C227-F4AE-10D1-7B68EDCF9E66}"/>
                </a:ext>
              </a:extLst>
            </p:cNvPr>
            <p:cNvSpPr/>
            <p:nvPr/>
          </p:nvSpPr>
          <p:spPr>
            <a:xfrm>
              <a:off x="3348188" y="5396799"/>
              <a:ext cx="7168" cy="7168"/>
            </a:xfrm>
            <a:custGeom>
              <a:avLst/>
              <a:gdLst>
                <a:gd name="connsiteX0" fmla="*/ 7168 w 7168"/>
                <a:gd name="connsiteY0" fmla="*/ 3584 h 7168"/>
                <a:gd name="connsiteX1" fmla="*/ 3584 w 7168"/>
                <a:gd name="connsiteY1" fmla="*/ 7168 h 7168"/>
                <a:gd name="connsiteX2" fmla="*/ 0 w 7168"/>
                <a:gd name="connsiteY2" fmla="*/ 3584 h 7168"/>
                <a:gd name="connsiteX3" fmla="*/ 3584 w 7168"/>
                <a:gd name="connsiteY3" fmla="*/ 0 h 7168"/>
                <a:gd name="connsiteX4" fmla="*/ 7168 w 7168"/>
                <a:gd name="connsiteY4" fmla="*/ 3584 h 71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68" h="7168">
                  <a:moveTo>
                    <a:pt x="7168" y="3584"/>
                  </a:moveTo>
                  <a:cubicBezTo>
                    <a:pt x="7168" y="5560"/>
                    <a:pt x="5560" y="7168"/>
                    <a:pt x="3584" y="7168"/>
                  </a:cubicBezTo>
                  <a:cubicBezTo>
                    <a:pt x="1608" y="7168"/>
                    <a:pt x="0" y="5560"/>
                    <a:pt x="0" y="3584"/>
                  </a:cubicBezTo>
                  <a:cubicBezTo>
                    <a:pt x="0" y="1608"/>
                    <a:pt x="1608" y="0"/>
                    <a:pt x="3584" y="0"/>
                  </a:cubicBezTo>
                  <a:cubicBezTo>
                    <a:pt x="5560" y="0"/>
                    <a:pt x="7168" y="1608"/>
                    <a:pt x="7168" y="3584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45" name="Forma livre: Forma 1744">
              <a:extLst>
                <a:ext uri="{FF2B5EF4-FFF2-40B4-BE49-F238E27FC236}">
                  <a16:creationId xmlns:a16="http://schemas.microsoft.com/office/drawing/2014/main" id="{EC2DA477-81F0-9F50-3399-A94DB203A80E}"/>
                </a:ext>
              </a:extLst>
            </p:cNvPr>
            <p:cNvSpPr/>
            <p:nvPr/>
          </p:nvSpPr>
          <p:spPr>
            <a:xfrm>
              <a:off x="3568939" y="5355167"/>
              <a:ext cx="7168" cy="7168"/>
            </a:xfrm>
            <a:custGeom>
              <a:avLst/>
              <a:gdLst>
                <a:gd name="connsiteX0" fmla="*/ 7168 w 7168"/>
                <a:gd name="connsiteY0" fmla="*/ 3584 h 7168"/>
                <a:gd name="connsiteX1" fmla="*/ 3584 w 7168"/>
                <a:gd name="connsiteY1" fmla="*/ 7168 h 7168"/>
                <a:gd name="connsiteX2" fmla="*/ 0 w 7168"/>
                <a:gd name="connsiteY2" fmla="*/ 3584 h 7168"/>
                <a:gd name="connsiteX3" fmla="*/ 3584 w 7168"/>
                <a:gd name="connsiteY3" fmla="*/ 0 h 7168"/>
                <a:gd name="connsiteX4" fmla="*/ 7168 w 7168"/>
                <a:gd name="connsiteY4" fmla="*/ 3584 h 71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68" h="7168">
                  <a:moveTo>
                    <a:pt x="7168" y="3584"/>
                  </a:moveTo>
                  <a:cubicBezTo>
                    <a:pt x="7168" y="5560"/>
                    <a:pt x="5560" y="7168"/>
                    <a:pt x="3584" y="7168"/>
                  </a:cubicBezTo>
                  <a:cubicBezTo>
                    <a:pt x="1608" y="7168"/>
                    <a:pt x="0" y="5560"/>
                    <a:pt x="0" y="3584"/>
                  </a:cubicBezTo>
                  <a:cubicBezTo>
                    <a:pt x="0" y="1608"/>
                    <a:pt x="1608" y="0"/>
                    <a:pt x="3584" y="0"/>
                  </a:cubicBezTo>
                  <a:cubicBezTo>
                    <a:pt x="5560" y="0"/>
                    <a:pt x="7168" y="1608"/>
                    <a:pt x="7168" y="3584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46" name="Forma livre: Forma 1745">
              <a:extLst>
                <a:ext uri="{FF2B5EF4-FFF2-40B4-BE49-F238E27FC236}">
                  <a16:creationId xmlns:a16="http://schemas.microsoft.com/office/drawing/2014/main" id="{48C30984-B497-E891-85C4-14F3C81C64C8}"/>
                </a:ext>
              </a:extLst>
            </p:cNvPr>
            <p:cNvSpPr/>
            <p:nvPr/>
          </p:nvSpPr>
          <p:spPr>
            <a:xfrm>
              <a:off x="3547847" y="5376259"/>
              <a:ext cx="7168" cy="7168"/>
            </a:xfrm>
            <a:custGeom>
              <a:avLst/>
              <a:gdLst>
                <a:gd name="connsiteX0" fmla="*/ 7168 w 7168"/>
                <a:gd name="connsiteY0" fmla="*/ 3584 h 7168"/>
                <a:gd name="connsiteX1" fmla="*/ 3584 w 7168"/>
                <a:gd name="connsiteY1" fmla="*/ 7168 h 7168"/>
                <a:gd name="connsiteX2" fmla="*/ 0 w 7168"/>
                <a:gd name="connsiteY2" fmla="*/ 3584 h 7168"/>
                <a:gd name="connsiteX3" fmla="*/ 3584 w 7168"/>
                <a:gd name="connsiteY3" fmla="*/ 0 h 7168"/>
                <a:gd name="connsiteX4" fmla="*/ 7168 w 7168"/>
                <a:gd name="connsiteY4" fmla="*/ 3584 h 71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68" h="7168">
                  <a:moveTo>
                    <a:pt x="7168" y="3584"/>
                  </a:moveTo>
                  <a:cubicBezTo>
                    <a:pt x="7168" y="5560"/>
                    <a:pt x="5560" y="7168"/>
                    <a:pt x="3584" y="7168"/>
                  </a:cubicBezTo>
                  <a:cubicBezTo>
                    <a:pt x="1608" y="7168"/>
                    <a:pt x="0" y="5560"/>
                    <a:pt x="0" y="3584"/>
                  </a:cubicBezTo>
                  <a:cubicBezTo>
                    <a:pt x="0" y="1608"/>
                    <a:pt x="1608" y="0"/>
                    <a:pt x="3584" y="0"/>
                  </a:cubicBezTo>
                  <a:cubicBezTo>
                    <a:pt x="5560" y="0"/>
                    <a:pt x="7168" y="1608"/>
                    <a:pt x="7168" y="3584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47" name="Forma livre: Forma 1746">
              <a:extLst>
                <a:ext uri="{FF2B5EF4-FFF2-40B4-BE49-F238E27FC236}">
                  <a16:creationId xmlns:a16="http://schemas.microsoft.com/office/drawing/2014/main" id="{B327968A-EFF9-02A0-E8AB-130A4BC131CA}"/>
                </a:ext>
              </a:extLst>
            </p:cNvPr>
            <p:cNvSpPr/>
            <p:nvPr/>
          </p:nvSpPr>
          <p:spPr>
            <a:xfrm>
              <a:off x="3577394" y="5384714"/>
              <a:ext cx="7168" cy="7168"/>
            </a:xfrm>
            <a:custGeom>
              <a:avLst/>
              <a:gdLst>
                <a:gd name="connsiteX0" fmla="*/ 7168 w 7168"/>
                <a:gd name="connsiteY0" fmla="*/ 3584 h 7168"/>
                <a:gd name="connsiteX1" fmla="*/ 3584 w 7168"/>
                <a:gd name="connsiteY1" fmla="*/ 7168 h 7168"/>
                <a:gd name="connsiteX2" fmla="*/ 0 w 7168"/>
                <a:gd name="connsiteY2" fmla="*/ 3584 h 7168"/>
                <a:gd name="connsiteX3" fmla="*/ 3584 w 7168"/>
                <a:gd name="connsiteY3" fmla="*/ 0 h 7168"/>
                <a:gd name="connsiteX4" fmla="*/ 7168 w 7168"/>
                <a:gd name="connsiteY4" fmla="*/ 3584 h 71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68" h="7168">
                  <a:moveTo>
                    <a:pt x="7168" y="3584"/>
                  </a:moveTo>
                  <a:cubicBezTo>
                    <a:pt x="7168" y="5560"/>
                    <a:pt x="5560" y="7168"/>
                    <a:pt x="3584" y="7168"/>
                  </a:cubicBezTo>
                  <a:cubicBezTo>
                    <a:pt x="1608" y="7168"/>
                    <a:pt x="0" y="5560"/>
                    <a:pt x="0" y="3584"/>
                  </a:cubicBezTo>
                  <a:cubicBezTo>
                    <a:pt x="0" y="1608"/>
                    <a:pt x="1608" y="0"/>
                    <a:pt x="3584" y="0"/>
                  </a:cubicBezTo>
                  <a:cubicBezTo>
                    <a:pt x="5560" y="0"/>
                    <a:pt x="7168" y="1608"/>
                    <a:pt x="7168" y="3584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748" name="Gráfico 24">
            <a:extLst>
              <a:ext uri="{FF2B5EF4-FFF2-40B4-BE49-F238E27FC236}">
                <a16:creationId xmlns:a16="http://schemas.microsoft.com/office/drawing/2014/main" id="{9C7A3A18-9029-360E-BF8C-693E1EE96D07}"/>
              </a:ext>
            </a:extLst>
          </p:cNvPr>
          <p:cNvGrpSpPr/>
          <p:nvPr/>
        </p:nvGrpSpPr>
        <p:grpSpPr>
          <a:xfrm>
            <a:off x="2683834" y="5201413"/>
            <a:ext cx="332756" cy="266564"/>
            <a:chOff x="2683834" y="5201413"/>
            <a:chExt cx="332756" cy="266564"/>
          </a:xfrm>
          <a:noFill/>
        </p:grpSpPr>
        <p:sp>
          <p:nvSpPr>
            <p:cNvPr id="1749" name="Forma livre: Forma 1748">
              <a:extLst>
                <a:ext uri="{FF2B5EF4-FFF2-40B4-BE49-F238E27FC236}">
                  <a16:creationId xmlns:a16="http://schemas.microsoft.com/office/drawing/2014/main" id="{75B33AEC-2716-0897-6BED-FE14411978F8}"/>
                </a:ext>
              </a:extLst>
            </p:cNvPr>
            <p:cNvSpPr/>
            <p:nvPr/>
          </p:nvSpPr>
          <p:spPr>
            <a:xfrm>
              <a:off x="2840102" y="5201413"/>
              <a:ext cx="94071" cy="74901"/>
            </a:xfrm>
            <a:custGeom>
              <a:avLst/>
              <a:gdLst>
                <a:gd name="connsiteX0" fmla="*/ 0 w 94071"/>
                <a:gd name="connsiteY0" fmla="*/ 18105 h 74901"/>
                <a:gd name="connsiteX1" fmla="*/ 52155 w 94071"/>
                <a:gd name="connsiteY1" fmla="*/ 0 h 74901"/>
                <a:gd name="connsiteX2" fmla="*/ 93603 w 94071"/>
                <a:gd name="connsiteY2" fmla="*/ 37405 h 74901"/>
                <a:gd name="connsiteX3" fmla="*/ 89973 w 94071"/>
                <a:gd name="connsiteY3" fmla="*/ 74901 h 749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4071" h="74901">
                  <a:moveTo>
                    <a:pt x="0" y="18105"/>
                  </a:moveTo>
                  <a:cubicBezTo>
                    <a:pt x="6893" y="10340"/>
                    <a:pt x="21551" y="644"/>
                    <a:pt x="52155" y="0"/>
                  </a:cubicBezTo>
                  <a:cubicBezTo>
                    <a:pt x="52155" y="0"/>
                    <a:pt x="92500" y="-551"/>
                    <a:pt x="93603" y="37405"/>
                  </a:cubicBezTo>
                  <a:cubicBezTo>
                    <a:pt x="93603" y="37405"/>
                    <a:pt x="95993" y="58129"/>
                    <a:pt x="89973" y="74901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50" name="Forma livre: Forma 1749">
              <a:extLst>
                <a:ext uri="{FF2B5EF4-FFF2-40B4-BE49-F238E27FC236}">
                  <a16:creationId xmlns:a16="http://schemas.microsoft.com/office/drawing/2014/main" id="{C5E562C6-9A38-FCA9-2E19-11F0FF8B9B20}"/>
                </a:ext>
              </a:extLst>
            </p:cNvPr>
            <p:cNvSpPr/>
            <p:nvPr/>
          </p:nvSpPr>
          <p:spPr>
            <a:xfrm>
              <a:off x="2930029" y="5221816"/>
              <a:ext cx="39078" cy="71776"/>
            </a:xfrm>
            <a:custGeom>
              <a:avLst/>
              <a:gdLst>
                <a:gd name="connsiteX0" fmla="*/ 0 w 39078"/>
                <a:gd name="connsiteY0" fmla="*/ 0 h 71776"/>
                <a:gd name="connsiteX1" fmla="*/ 38737 w 39078"/>
                <a:gd name="connsiteY1" fmla="*/ 71776 h 717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9078" h="71776">
                  <a:moveTo>
                    <a:pt x="0" y="0"/>
                  </a:moveTo>
                  <a:cubicBezTo>
                    <a:pt x="0" y="0"/>
                    <a:pt x="43332" y="16634"/>
                    <a:pt x="38737" y="71776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51" name="Forma livre: Forma 1750">
              <a:extLst>
                <a:ext uri="{FF2B5EF4-FFF2-40B4-BE49-F238E27FC236}">
                  <a16:creationId xmlns:a16="http://schemas.microsoft.com/office/drawing/2014/main" id="{1A1101FF-F165-F3BC-B5F0-30DAA0224A7B}"/>
                </a:ext>
              </a:extLst>
            </p:cNvPr>
            <p:cNvSpPr/>
            <p:nvPr/>
          </p:nvSpPr>
          <p:spPr>
            <a:xfrm>
              <a:off x="2683834" y="5247290"/>
              <a:ext cx="115095" cy="156033"/>
            </a:xfrm>
            <a:custGeom>
              <a:avLst/>
              <a:gdLst>
                <a:gd name="connsiteX0" fmla="*/ 115095 w 115095"/>
                <a:gd name="connsiteY0" fmla="*/ 154334 h 156033"/>
                <a:gd name="connsiteX1" fmla="*/ 96945 w 115095"/>
                <a:gd name="connsiteY1" fmla="*/ 156034 h 156033"/>
                <a:gd name="connsiteX2" fmla="*/ 79 w 115095"/>
                <a:gd name="connsiteY2" fmla="*/ 59168 h 156033"/>
                <a:gd name="connsiteX3" fmla="*/ 31510 w 115095"/>
                <a:gd name="connsiteY3" fmla="*/ 166 h 156033"/>
                <a:gd name="connsiteX4" fmla="*/ 63584 w 115095"/>
                <a:gd name="connsiteY4" fmla="*/ 33527 h 156033"/>
                <a:gd name="connsiteX5" fmla="*/ 87341 w 115095"/>
                <a:gd name="connsiteY5" fmla="*/ 55997 h 156033"/>
                <a:gd name="connsiteX6" fmla="*/ 102091 w 115095"/>
                <a:gd name="connsiteY6" fmla="*/ 74608 h 156033"/>
                <a:gd name="connsiteX7" fmla="*/ 109857 w 115095"/>
                <a:gd name="connsiteY7" fmla="*/ 118216 h 156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15095" h="156033">
                  <a:moveTo>
                    <a:pt x="115095" y="154334"/>
                  </a:moveTo>
                  <a:cubicBezTo>
                    <a:pt x="109214" y="155436"/>
                    <a:pt x="103148" y="156034"/>
                    <a:pt x="96945" y="156034"/>
                  </a:cubicBezTo>
                  <a:cubicBezTo>
                    <a:pt x="43457" y="156034"/>
                    <a:pt x="79" y="112656"/>
                    <a:pt x="79" y="59168"/>
                  </a:cubicBezTo>
                  <a:cubicBezTo>
                    <a:pt x="79" y="59168"/>
                    <a:pt x="-3138" y="4624"/>
                    <a:pt x="31510" y="166"/>
                  </a:cubicBezTo>
                  <a:cubicBezTo>
                    <a:pt x="31510" y="166"/>
                    <a:pt x="62941" y="-4337"/>
                    <a:pt x="63584" y="33527"/>
                  </a:cubicBezTo>
                  <a:cubicBezTo>
                    <a:pt x="63584" y="33527"/>
                    <a:pt x="62941" y="54067"/>
                    <a:pt x="87341" y="55997"/>
                  </a:cubicBezTo>
                  <a:cubicBezTo>
                    <a:pt x="87341" y="55997"/>
                    <a:pt x="104113" y="55262"/>
                    <a:pt x="102091" y="74608"/>
                  </a:cubicBezTo>
                  <a:cubicBezTo>
                    <a:pt x="102091" y="74608"/>
                    <a:pt x="97956" y="99422"/>
                    <a:pt x="109857" y="118216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52" name="Forma livre: Forma 1751">
              <a:extLst>
                <a:ext uri="{FF2B5EF4-FFF2-40B4-BE49-F238E27FC236}">
                  <a16:creationId xmlns:a16="http://schemas.microsoft.com/office/drawing/2014/main" id="{18AFB71D-A48D-E886-8D7D-BB4D003B200F}"/>
                </a:ext>
              </a:extLst>
            </p:cNvPr>
            <p:cNvSpPr/>
            <p:nvPr/>
          </p:nvSpPr>
          <p:spPr>
            <a:xfrm>
              <a:off x="2720904" y="5215077"/>
              <a:ext cx="105927" cy="96941"/>
            </a:xfrm>
            <a:custGeom>
              <a:avLst/>
              <a:gdLst>
                <a:gd name="connsiteX0" fmla="*/ 0 w 105927"/>
                <a:gd name="connsiteY0" fmla="*/ 32747 h 96941"/>
                <a:gd name="connsiteX1" fmla="*/ 61805 w 105927"/>
                <a:gd name="connsiteY1" fmla="*/ 305 h 96941"/>
                <a:gd name="connsiteX2" fmla="*/ 105413 w 105927"/>
                <a:gd name="connsiteY2" fmla="*/ 40099 h 96941"/>
                <a:gd name="connsiteX3" fmla="*/ 98980 w 105927"/>
                <a:gd name="connsiteY3" fmla="*/ 86280 h 96941"/>
                <a:gd name="connsiteX4" fmla="*/ 95993 w 105927"/>
                <a:gd name="connsiteY4" fmla="*/ 96941 h 969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5927" h="96941">
                  <a:moveTo>
                    <a:pt x="0" y="32747"/>
                  </a:moveTo>
                  <a:cubicBezTo>
                    <a:pt x="0" y="32747"/>
                    <a:pt x="16221" y="4119"/>
                    <a:pt x="61805" y="305"/>
                  </a:cubicBezTo>
                  <a:cubicBezTo>
                    <a:pt x="61805" y="305"/>
                    <a:pt x="107343" y="-6128"/>
                    <a:pt x="105413" y="40099"/>
                  </a:cubicBezTo>
                  <a:cubicBezTo>
                    <a:pt x="105413" y="40099"/>
                    <a:pt x="108629" y="67670"/>
                    <a:pt x="98980" y="86280"/>
                  </a:cubicBezTo>
                  <a:cubicBezTo>
                    <a:pt x="98980" y="86280"/>
                    <a:pt x="97371" y="90783"/>
                    <a:pt x="95993" y="96941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53" name="Forma livre: Forma 1752">
              <a:extLst>
                <a:ext uri="{FF2B5EF4-FFF2-40B4-BE49-F238E27FC236}">
                  <a16:creationId xmlns:a16="http://schemas.microsoft.com/office/drawing/2014/main" id="{E430B609-BF80-B676-33FE-860667C7DACE}"/>
                </a:ext>
              </a:extLst>
            </p:cNvPr>
            <p:cNvSpPr/>
            <p:nvPr/>
          </p:nvSpPr>
          <p:spPr>
            <a:xfrm>
              <a:off x="2825030" y="5237163"/>
              <a:ext cx="37404" cy="35979"/>
            </a:xfrm>
            <a:custGeom>
              <a:avLst/>
              <a:gdLst>
                <a:gd name="connsiteX0" fmla="*/ 0 w 37404"/>
                <a:gd name="connsiteY0" fmla="*/ 0 h 35979"/>
                <a:gd name="connsiteX1" fmla="*/ 37405 w 37404"/>
                <a:gd name="connsiteY1" fmla="*/ 35980 h 359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7404" h="35979">
                  <a:moveTo>
                    <a:pt x="0" y="0"/>
                  </a:moveTo>
                  <a:cubicBezTo>
                    <a:pt x="0" y="0"/>
                    <a:pt x="25687" y="8317"/>
                    <a:pt x="37405" y="35980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754" name="Gráfico 24">
              <a:extLst>
                <a:ext uri="{FF2B5EF4-FFF2-40B4-BE49-F238E27FC236}">
                  <a16:creationId xmlns:a16="http://schemas.microsoft.com/office/drawing/2014/main" id="{D7C6959E-F9C1-4DC1-D431-B379E4F59EA6}"/>
                </a:ext>
              </a:extLst>
            </p:cNvPr>
            <p:cNvGrpSpPr/>
            <p:nvPr/>
          </p:nvGrpSpPr>
          <p:grpSpPr>
            <a:xfrm>
              <a:off x="2816527" y="5273979"/>
              <a:ext cx="200063" cy="193998"/>
              <a:chOff x="2816527" y="5273979"/>
              <a:chExt cx="200063" cy="193998"/>
            </a:xfrm>
            <a:noFill/>
          </p:grpSpPr>
          <p:sp>
            <p:nvSpPr>
              <p:cNvPr id="1755" name="Forma livre: Forma 1754">
                <a:extLst>
                  <a:ext uri="{FF2B5EF4-FFF2-40B4-BE49-F238E27FC236}">
                    <a16:creationId xmlns:a16="http://schemas.microsoft.com/office/drawing/2014/main" id="{F82BF769-7E66-2548-11BB-4175ABAF1FC3}"/>
                  </a:ext>
                </a:extLst>
              </p:cNvPr>
              <p:cNvSpPr/>
              <p:nvPr/>
            </p:nvSpPr>
            <p:spPr>
              <a:xfrm>
                <a:off x="2869165" y="5273979"/>
                <a:ext cx="109158" cy="133204"/>
              </a:xfrm>
              <a:custGeom>
                <a:avLst/>
                <a:gdLst>
                  <a:gd name="connsiteX0" fmla="*/ 109159 w 109158"/>
                  <a:gd name="connsiteY0" fmla="*/ 33077 h 133204"/>
                  <a:gd name="connsiteX1" fmla="*/ 45516 w 109158"/>
                  <a:gd name="connsiteY1" fmla="*/ 313 h 133204"/>
                  <a:gd name="connsiteX2" fmla="*/ 529 w 109158"/>
                  <a:gd name="connsiteY2" fmla="*/ 41302 h 133204"/>
                  <a:gd name="connsiteX3" fmla="*/ 7146 w 109158"/>
                  <a:gd name="connsiteY3" fmla="*/ 88908 h 133204"/>
                  <a:gd name="connsiteX4" fmla="*/ 5814 w 109158"/>
                  <a:gd name="connsiteY4" fmla="*/ 133205 h 1332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09158" h="133204">
                    <a:moveTo>
                      <a:pt x="109159" y="33077"/>
                    </a:moveTo>
                    <a:cubicBezTo>
                      <a:pt x="109159" y="33077"/>
                      <a:pt x="92478" y="4265"/>
                      <a:pt x="45516" y="313"/>
                    </a:cubicBezTo>
                    <a:cubicBezTo>
                      <a:pt x="45516" y="313"/>
                      <a:pt x="-1447" y="-6304"/>
                      <a:pt x="529" y="41302"/>
                    </a:cubicBezTo>
                    <a:cubicBezTo>
                      <a:pt x="529" y="41302"/>
                      <a:pt x="-2779" y="69746"/>
                      <a:pt x="7146" y="88908"/>
                    </a:cubicBezTo>
                    <a:cubicBezTo>
                      <a:pt x="7146" y="88908"/>
                      <a:pt x="19048" y="121993"/>
                      <a:pt x="5814" y="133205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756" name="Forma livre: Forma 1755">
                <a:extLst>
                  <a:ext uri="{FF2B5EF4-FFF2-40B4-BE49-F238E27FC236}">
                    <a16:creationId xmlns:a16="http://schemas.microsoft.com/office/drawing/2014/main" id="{D9D52EE7-A9D1-0498-3EB4-C32D37558A3E}"/>
                  </a:ext>
                </a:extLst>
              </p:cNvPr>
              <p:cNvSpPr/>
              <p:nvPr/>
            </p:nvSpPr>
            <p:spPr>
              <a:xfrm>
                <a:off x="2828568" y="5296763"/>
                <a:ext cx="42459" cy="49351"/>
              </a:xfrm>
              <a:custGeom>
                <a:avLst/>
                <a:gdLst>
                  <a:gd name="connsiteX0" fmla="*/ 42459 w 42459"/>
                  <a:gd name="connsiteY0" fmla="*/ 0 h 49351"/>
                  <a:gd name="connsiteX1" fmla="*/ 0 w 42459"/>
                  <a:gd name="connsiteY1" fmla="*/ 49352 h 493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2459" h="49351">
                    <a:moveTo>
                      <a:pt x="42459" y="0"/>
                    </a:moveTo>
                    <a:cubicBezTo>
                      <a:pt x="42459" y="0"/>
                      <a:pt x="8593" y="10982"/>
                      <a:pt x="0" y="49352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757" name="Forma livre: Forma 1756">
                <a:extLst>
                  <a:ext uri="{FF2B5EF4-FFF2-40B4-BE49-F238E27FC236}">
                    <a16:creationId xmlns:a16="http://schemas.microsoft.com/office/drawing/2014/main" id="{7CD63342-3372-FF69-D3BB-85D5FBD65961}"/>
                  </a:ext>
                </a:extLst>
              </p:cNvPr>
              <p:cNvSpPr/>
              <p:nvPr/>
            </p:nvSpPr>
            <p:spPr>
              <a:xfrm>
                <a:off x="2816527" y="5307114"/>
                <a:ext cx="200063" cy="160863"/>
              </a:xfrm>
              <a:custGeom>
                <a:avLst/>
                <a:gdLst>
                  <a:gd name="connsiteX0" fmla="*/ 16820 w 200063"/>
                  <a:gd name="connsiteY0" fmla="*/ 22044 h 160863"/>
                  <a:gd name="connsiteX1" fmla="*/ 553 w 200063"/>
                  <a:gd name="connsiteY1" fmla="*/ 70293 h 160863"/>
                  <a:gd name="connsiteX2" fmla="*/ 967 w 200063"/>
                  <a:gd name="connsiteY2" fmla="*/ 73924 h 160863"/>
                  <a:gd name="connsiteX3" fmla="*/ 100130 w 200063"/>
                  <a:gd name="connsiteY3" fmla="*/ 160864 h 160863"/>
                  <a:gd name="connsiteX4" fmla="*/ 199983 w 200063"/>
                  <a:gd name="connsiteY4" fmla="*/ 61011 h 160863"/>
                  <a:gd name="connsiteX5" fmla="*/ 167587 w 200063"/>
                  <a:gd name="connsiteY5" fmla="*/ 171 h 160863"/>
                  <a:gd name="connsiteX6" fmla="*/ 134548 w 200063"/>
                  <a:gd name="connsiteY6" fmla="*/ 34543 h 160863"/>
                  <a:gd name="connsiteX7" fmla="*/ 110102 w 200063"/>
                  <a:gd name="connsiteY7" fmla="*/ 57703 h 160863"/>
                  <a:gd name="connsiteX8" fmla="*/ 94892 w 200063"/>
                  <a:gd name="connsiteY8" fmla="*/ 76864 h 160863"/>
                  <a:gd name="connsiteX9" fmla="*/ 45310 w 200063"/>
                  <a:gd name="connsiteY9" fmla="*/ 142989 h 1608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00063" h="160863">
                    <a:moveTo>
                      <a:pt x="16820" y="22044"/>
                    </a:moveTo>
                    <a:cubicBezTo>
                      <a:pt x="16820" y="22044"/>
                      <a:pt x="-3582" y="33900"/>
                      <a:pt x="553" y="70293"/>
                    </a:cubicBezTo>
                    <a:lnTo>
                      <a:pt x="967" y="73924"/>
                    </a:lnTo>
                    <a:cubicBezTo>
                      <a:pt x="7308" y="123000"/>
                      <a:pt x="49354" y="160864"/>
                      <a:pt x="100130" y="160864"/>
                    </a:cubicBezTo>
                    <a:cubicBezTo>
                      <a:pt x="155272" y="160864"/>
                      <a:pt x="199983" y="116153"/>
                      <a:pt x="199983" y="61011"/>
                    </a:cubicBezTo>
                    <a:cubicBezTo>
                      <a:pt x="199983" y="61011"/>
                      <a:pt x="203291" y="4813"/>
                      <a:pt x="167587" y="171"/>
                    </a:cubicBezTo>
                    <a:cubicBezTo>
                      <a:pt x="167587" y="171"/>
                      <a:pt x="135191" y="-4470"/>
                      <a:pt x="134548" y="34543"/>
                    </a:cubicBezTo>
                    <a:cubicBezTo>
                      <a:pt x="134548" y="34543"/>
                      <a:pt x="135191" y="55727"/>
                      <a:pt x="110102" y="57703"/>
                    </a:cubicBezTo>
                    <a:cubicBezTo>
                      <a:pt x="110102" y="57703"/>
                      <a:pt x="92962" y="57197"/>
                      <a:pt x="94892" y="76864"/>
                    </a:cubicBezTo>
                    <a:cubicBezTo>
                      <a:pt x="94892" y="76864"/>
                      <a:pt x="105461" y="140323"/>
                      <a:pt x="45310" y="142989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758" name="Forma livre: Forma 1757">
                <a:extLst>
                  <a:ext uri="{FF2B5EF4-FFF2-40B4-BE49-F238E27FC236}">
                    <a16:creationId xmlns:a16="http://schemas.microsoft.com/office/drawing/2014/main" id="{1A3F8BC2-2322-3004-9E67-6C327315BA76}"/>
                  </a:ext>
                </a:extLst>
              </p:cNvPr>
              <p:cNvSpPr/>
              <p:nvPr/>
            </p:nvSpPr>
            <p:spPr>
              <a:xfrm>
                <a:off x="2827293" y="5335775"/>
                <a:ext cx="76175" cy="90570"/>
              </a:xfrm>
              <a:custGeom>
                <a:avLst/>
                <a:gdLst>
                  <a:gd name="connsiteX0" fmla="*/ 126 w 76175"/>
                  <a:gd name="connsiteY0" fmla="*/ 0 h 90570"/>
                  <a:gd name="connsiteX1" fmla="*/ 76176 w 76175"/>
                  <a:gd name="connsiteY1" fmla="*/ 90570 h 905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76175" h="90570">
                    <a:moveTo>
                      <a:pt x="126" y="0"/>
                    </a:moveTo>
                    <a:cubicBezTo>
                      <a:pt x="126" y="0"/>
                      <a:pt x="-6491" y="49582"/>
                      <a:pt x="76176" y="90570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759" name="Gráfico 24">
            <a:extLst>
              <a:ext uri="{FF2B5EF4-FFF2-40B4-BE49-F238E27FC236}">
                <a16:creationId xmlns:a16="http://schemas.microsoft.com/office/drawing/2014/main" id="{0F9EF595-8C0F-DFA8-96B2-7FC2FE4F9123}"/>
              </a:ext>
            </a:extLst>
          </p:cNvPr>
          <p:cNvGrpSpPr/>
          <p:nvPr/>
        </p:nvGrpSpPr>
        <p:grpSpPr>
          <a:xfrm>
            <a:off x="3895746" y="5164698"/>
            <a:ext cx="300844" cy="320787"/>
            <a:chOff x="3895746" y="5164698"/>
            <a:chExt cx="300844" cy="320787"/>
          </a:xfrm>
          <a:noFill/>
        </p:grpSpPr>
        <p:sp>
          <p:nvSpPr>
            <p:cNvPr id="1760" name="Forma livre: Forma 1759">
              <a:extLst>
                <a:ext uri="{FF2B5EF4-FFF2-40B4-BE49-F238E27FC236}">
                  <a16:creationId xmlns:a16="http://schemas.microsoft.com/office/drawing/2014/main" id="{FF7E2BD9-5E3D-2E4F-952C-17E7A5A95F39}"/>
                </a:ext>
              </a:extLst>
            </p:cNvPr>
            <p:cNvSpPr/>
            <p:nvPr/>
          </p:nvSpPr>
          <p:spPr>
            <a:xfrm>
              <a:off x="3895746" y="5256831"/>
              <a:ext cx="198694" cy="102997"/>
            </a:xfrm>
            <a:custGeom>
              <a:avLst/>
              <a:gdLst>
                <a:gd name="connsiteX0" fmla="*/ 172732 w 198694"/>
                <a:gd name="connsiteY0" fmla="*/ 62632 h 102997"/>
                <a:gd name="connsiteX1" fmla="*/ 65205 w 198694"/>
                <a:gd name="connsiteY1" fmla="*/ 102334 h 102997"/>
                <a:gd name="connsiteX2" fmla="*/ 0 w 198694"/>
                <a:gd name="connsiteY2" fmla="*/ 73614 h 102997"/>
                <a:gd name="connsiteX3" fmla="*/ 198694 w 198694"/>
                <a:gd name="connsiteY3" fmla="*/ 0 h 1029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8694" h="102997">
                  <a:moveTo>
                    <a:pt x="172732" y="62632"/>
                  </a:moveTo>
                  <a:cubicBezTo>
                    <a:pt x="123196" y="88043"/>
                    <a:pt x="65205" y="102334"/>
                    <a:pt x="65205" y="102334"/>
                  </a:cubicBezTo>
                  <a:cubicBezTo>
                    <a:pt x="25503" y="108170"/>
                    <a:pt x="0" y="73614"/>
                    <a:pt x="0" y="73614"/>
                  </a:cubicBezTo>
                  <a:cubicBezTo>
                    <a:pt x="76371" y="75958"/>
                    <a:pt x="152283" y="31477"/>
                    <a:pt x="198694" y="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61" name="Forma livre: Forma 1760">
              <a:extLst>
                <a:ext uri="{FF2B5EF4-FFF2-40B4-BE49-F238E27FC236}">
                  <a16:creationId xmlns:a16="http://schemas.microsoft.com/office/drawing/2014/main" id="{E086E6F5-244C-24C6-C3F8-11870920A1D3}"/>
                </a:ext>
              </a:extLst>
            </p:cNvPr>
            <p:cNvSpPr/>
            <p:nvPr/>
          </p:nvSpPr>
          <p:spPr>
            <a:xfrm>
              <a:off x="3930669" y="5199752"/>
              <a:ext cx="251140" cy="222996"/>
            </a:xfrm>
            <a:custGeom>
              <a:avLst/>
              <a:gdLst>
                <a:gd name="connsiteX0" fmla="*/ 238213 w 251140"/>
                <a:gd name="connsiteY0" fmla="*/ 49726 h 222996"/>
                <a:gd name="connsiteX1" fmla="*/ 65757 w 251140"/>
                <a:gd name="connsiteY1" fmla="*/ 218092 h 222996"/>
                <a:gd name="connsiteX2" fmla="*/ 0 w 251140"/>
                <a:gd name="connsiteY2" fmla="*/ 204950 h 222996"/>
                <a:gd name="connsiteX3" fmla="*/ 205449 w 251140"/>
                <a:gd name="connsiteY3" fmla="*/ 40168 h 222996"/>
                <a:gd name="connsiteX4" fmla="*/ 235409 w 251140"/>
                <a:gd name="connsiteY4" fmla="*/ 1063 h 222996"/>
                <a:gd name="connsiteX5" fmla="*/ 246484 w 251140"/>
                <a:gd name="connsiteY5" fmla="*/ 2810 h 222996"/>
                <a:gd name="connsiteX6" fmla="*/ 250941 w 251140"/>
                <a:gd name="connsiteY6" fmla="*/ 12367 h 222996"/>
                <a:gd name="connsiteX7" fmla="*/ 237385 w 251140"/>
                <a:gd name="connsiteY7" fmla="*/ 51059 h 2229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51140" h="222996">
                  <a:moveTo>
                    <a:pt x="238213" y="49726"/>
                  </a:moveTo>
                  <a:cubicBezTo>
                    <a:pt x="177786" y="155598"/>
                    <a:pt x="65757" y="218092"/>
                    <a:pt x="65757" y="218092"/>
                  </a:cubicBezTo>
                  <a:cubicBezTo>
                    <a:pt x="29087" y="234359"/>
                    <a:pt x="0" y="204950"/>
                    <a:pt x="0" y="204950"/>
                  </a:cubicBezTo>
                  <a:cubicBezTo>
                    <a:pt x="109962" y="177793"/>
                    <a:pt x="197637" y="51702"/>
                    <a:pt x="205449" y="40168"/>
                  </a:cubicBezTo>
                  <a:cubicBezTo>
                    <a:pt x="213261" y="28634"/>
                    <a:pt x="217672" y="14389"/>
                    <a:pt x="235409" y="1063"/>
                  </a:cubicBezTo>
                  <a:cubicBezTo>
                    <a:pt x="235409" y="1063"/>
                    <a:pt x="242808" y="-2245"/>
                    <a:pt x="246484" y="2810"/>
                  </a:cubicBezTo>
                  <a:cubicBezTo>
                    <a:pt x="246484" y="2810"/>
                    <a:pt x="252274" y="6578"/>
                    <a:pt x="250941" y="12367"/>
                  </a:cubicBezTo>
                  <a:cubicBezTo>
                    <a:pt x="250941" y="12367"/>
                    <a:pt x="248230" y="35435"/>
                    <a:pt x="237385" y="51059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62" name="Forma livre: Forma 1761">
              <a:extLst>
                <a:ext uri="{FF2B5EF4-FFF2-40B4-BE49-F238E27FC236}">
                  <a16:creationId xmlns:a16="http://schemas.microsoft.com/office/drawing/2014/main" id="{235F0E34-571A-C56B-1B6D-D23EFD457676}"/>
                </a:ext>
              </a:extLst>
            </p:cNvPr>
            <p:cNvSpPr/>
            <p:nvPr/>
          </p:nvSpPr>
          <p:spPr>
            <a:xfrm>
              <a:off x="4176142" y="5221218"/>
              <a:ext cx="3927" cy="39472"/>
            </a:xfrm>
            <a:custGeom>
              <a:avLst/>
              <a:gdLst>
                <a:gd name="connsiteX0" fmla="*/ 3630 w 3927"/>
                <a:gd name="connsiteY0" fmla="*/ 0 h 39472"/>
                <a:gd name="connsiteX1" fmla="*/ 0 w 3927"/>
                <a:gd name="connsiteY1" fmla="*/ 39472 h 394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927" h="39472">
                  <a:moveTo>
                    <a:pt x="3630" y="0"/>
                  </a:moveTo>
                  <a:cubicBezTo>
                    <a:pt x="3630" y="0"/>
                    <a:pt x="5468" y="21276"/>
                    <a:pt x="0" y="39472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63" name="Forma livre: Forma 1762">
              <a:extLst>
                <a:ext uri="{FF2B5EF4-FFF2-40B4-BE49-F238E27FC236}">
                  <a16:creationId xmlns:a16="http://schemas.microsoft.com/office/drawing/2014/main" id="{BB45B430-FBE6-7DBC-3177-383B9909E1C4}"/>
                </a:ext>
              </a:extLst>
            </p:cNvPr>
            <p:cNvSpPr/>
            <p:nvPr/>
          </p:nvSpPr>
          <p:spPr>
            <a:xfrm>
              <a:off x="3998126" y="5259726"/>
              <a:ext cx="178337" cy="225759"/>
            </a:xfrm>
            <a:custGeom>
              <a:avLst/>
              <a:gdLst>
                <a:gd name="connsiteX0" fmla="*/ 178338 w 178337"/>
                <a:gd name="connsiteY0" fmla="*/ 0 h 225759"/>
                <a:gd name="connsiteX1" fmla="*/ 66722 w 178337"/>
                <a:gd name="connsiteY1" fmla="*/ 210366 h 225759"/>
                <a:gd name="connsiteX2" fmla="*/ 0 w 178337"/>
                <a:gd name="connsiteY2" fmla="*/ 220705 h 225759"/>
                <a:gd name="connsiteX3" fmla="*/ 123839 w 178337"/>
                <a:gd name="connsiteY3" fmla="*/ 55096 h 2257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8337" h="225759">
                  <a:moveTo>
                    <a:pt x="178338" y="0"/>
                  </a:moveTo>
                  <a:cubicBezTo>
                    <a:pt x="153937" y="119428"/>
                    <a:pt x="66722" y="210366"/>
                    <a:pt x="66722" y="210366"/>
                  </a:cubicBezTo>
                  <a:cubicBezTo>
                    <a:pt x="36991" y="237293"/>
                    <a:pt x="0" y="220705"/>
                    <a:pt x="0" y="220705"/>
                  </a:cubicBezTo>
                  <a:cubicBezTo>
                    <a:pt x="58496" y="184128"/>
                    <a:pt x="101277" y="106424"/>
                    <a:pt x="123839" y="55096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64" name="Forma livre: Forma 1763">
              <a:extLst>
                <a:ext uri="{FF2B5EF4-FFF2-40B4-BE49-F238E27FC236}">
                  <a16:creationId xmlns:a16="http://schemas.microsoft.com/office/drawing/2014/main" id="{D526DD28-5630-34E9-A6DB-D7EA1DB274B6}"/>
                </a:ext>
              </a:extLst>
            </p:cNvPr>
            <p:cNvSpPr/>
            <p:nvPr/>
          </p:nvSpPr>
          <p:spPr>
            <a:xfrm>
              <a:off x="4176785" y="5164698"/>
              <a:ext cx="12039" cy="35934"/>
            </a:xfrm>
            <a:custGeom>
              <a:avLst/>
              <a:gdLst>
                <a:gd name="connsiteX0" fmla="*/ 12039 w 12039"/>
                <a:gd name="connsiteY0" fmla="*/ 0 h 35934"/>
                <a:gd name="connsiteX1" fmla="*/ 0 w 12039"/>
                <a:gd name="connsiteY1" fmla="*/ 35934 h 35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9" h="35934">
                  <a:moveTo>
                    <a:pt x="12039" y="0"/>
                  </a:moveTo>
                  <a:cubicBezTo>
                    <a:pt x="12039" y="0"/>
                    <a:pt x="11672" y="20494"/>
                    <a:pt x="0" y="35934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65" name="Forma livre: Forma 1764">
              <a:extLst>
                <a:ext uri="{FF2B5EF4-FFF2-40B4-BE49-F238E27FC236}">
                  <a16:creationId xmlns:a16="http://schemas.microsoft.com/office/drawing/2014/main" id="{5C99C2E0-1BE3-1723-6CA1-4024E4D387B0}"/>
                </a:ext>
              </a:extLst>
            </p:cNvPr>
            <p:cNvSpPr/>
            <p:nvPr/>
          </p:nvSpPr>
          <p:spPr>
            <a:xfrm>
              <a:off x="4165573" y="5172510"/>
              <a:ext cx="5100" cy="26743"/>
            </a:xfrm>
            <a:custGeom>
              <a:avLst/>
              <a:gdLst>
                <a:gd name="connsiteX0" fmla="*/ 0 w 5100"/>
                <a:gd name="connsiteY0" fmla="*/ 0 h 26743"/>
                <a:gd name="connsiteX1" fmla="*/ 5101 w 5100"/>
                <a:gd name="connsiteY1" fmla="*/ 26744 h 267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100" h="26743">
                  <a:moveTo>
                    <a:pt x="0" y="0"/>
                  </a:moveTo>
                  <a:cubicBezTo>
                    <a:pt x="0" y="0"/>
                    <a:pt x="3079" y="9742"/>
                    <a:pt x="5101" y="26744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66" name="Forma livre: Forma 1765">
              <a:extLst>
                <a:ext uri="{FF2B5EF4-FFF2-40B4-BE49-F238E27FC236}">
                  <a16:creationId xmlns:a16="http://schemas.microsoft.com/office/drawing/2014/main" id="{DF65CC56-318C-644F-489E-B4A395F958AA}"/>
                </a:ext>
              </a:extLst>
            </p:cNvPr>
            <p:cNvSpPr/>
            <p:nvPr/>
          </p:nvSpPr>
          <p:spPr>
            <a:xfrm>
              <a:off x="4182345" y="5201137"/>
              <a:ext cx="14244" cy="8455"/>
            </a:xfrm>
            <a:custGeom>
              <a:avLst/>
              <a:gdLst>
                <a:gd name="connsiteX0" fmla="*/ 14245 w 14244"/>
                <a:gd name="connsiteY0" fmla="*/ 0 h 8455"/>
                <a:gd name="connsiteX1" fmla="*/ 0 w 14244"/>
                <a:gd name="connsiteY1" fmla="*/ 8455 h 84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4244" h="8455">
                  <a:moveTo>
                    <a:pt x="14245" y="0"/>
                  </a:moveTo>
                  <a:cubicBezTo>
                    <a:pt x="14245" y="0"/>
                    <a:pt x="6801" y="5055"/>
                    <a:pt x="0" y="8455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767" name="Gráfico 24">
            <a:extLst>
              <a:ext uri="{FF2B5EF4-FFF2-40B4-BE49-F238E27FC236}">
                <a16:creationId xmlns:a16="http://schemas.microsoft.com/office/drawing/2014/main" id="{C60E1FFA-20FF-5F7A-F8DF-DFC6A8D0141B}"/>
              </a:ext>
            </a:extLst>
          </p:cNvPr>
          <p:cNvGrpSpPr/>
          <p:nvPr/>
        </p:nvGrpSpPr>
        <p:grpSpPr>
          <a:xfrm>
            <a:off x="3310770" y="5706052"/>
            <a:ext cx="280485" cy="272124"/>
            <a:chOff x="3310770" y="5706052"/>
            <a:chExt cx="280485" cy="272124"/>
          </a:xfrm>
          <a:noFill/>
        </p:grpSpPr>
        <p:sp>
          <p:nvSpPr>
            <p:cNvPr id="1768" name="Forma livre: Forma 1767">
              <a:extLst>
                <a:ext uri="{FF2B5EF4-FFF2-40B4-BE49-F238E27FC236}">
                  <a16:creationId xmlns:a16="http://schemas.microsoft.com/office/drawing/2014/main" id="{CC00745D-B3B7-3983-86D7-2493A2727DA1}"/>
                </a:ext>
              </a:extLst>
            </p:cNvPr>
            <p:cNvSpPr/>
            <p:nvPr/>
          </p:nvSpPr>
          <p:spPr>
            <a:xfrm>
              <a:off x="3434760" y="5759579"/>
              <a:ext cx="156495" cy="218598"/>
            </a:xfrm>
            <a:custGeom>
              <a:avLst/>
              <a:gdLst>
                <a:gd name="connsiteX0" fmla="*/ 15854 w 156495"/>
                <a:gd name="connsiteY0" fmla="*/ 218599 h 218598"/>
                <a:gd name="connsiteX1" fmla="*/ 149802 w 156495"/>
                <a:gd name="connsiteY1" fmla="*/ 89383 h 218598"/>
                <a:gd name="connsiteX2" fmla="*/ 147275 w 156495"/>
                <a:gd name="connsiteY2" fmla="*/ 70543 h 218598"/>
                <a:gd name="connsiteX3" fmla="*/ 134730 w 156495"/>
                <a:gd name="connsiteY3" fmla="*/ 31346 h 218598"/>
                <a:gd name="connsiteX4" fmla="*/ 155087 w 156495"/>
                <a:gd name="connsiteY4" fmla="*/ 7360 h 218598"/>
                <a:gd name="connsiteX5" fmla="*/ 154535 w 156495"/>
                <a:gd name="connsiteY5" fmla="*/ 6808 h 218598"/>
                <a:gd name="connsiteX6" fmla="*/ 124805 w 156495"/>
                <a:gd name="connsiteY6" fmla="*/ 559 h 218598"/>
                <a:gd name="connsiteX7" fmla="*/ 92225 w 156495"/>
                <a:gd name="connsiteY7" fmla="*/ 25970 h 218598"/>
                <a:gd name="connsiteX8" fmla="*/ 45447 w 156495"/>
                <a:gd name="connsiteY8" fmla="*/ 85661 h 218598"/>
                <a:gd name="connsiteX9" fmla="*/ 414 w 156495"/>
                <a:gd name="connsiteY9" fmla="*/ 146777 h 2185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56495" h="218598">
                  <a:moveTo>
                    <a:pt x="15854" y="218599"/>
                  </a:moveTo>
                  <a:cubicBezTo>
                    <a:pt x="89100" y="218599"/>
                    <a:pt x="149802" y="167776"/>
                    <a:pt x="149802" y="89383"/>
                  </a:cubicBezTo>
                  <a:cubicBezTo>
                    <a:pt x="149802" y="89383"/>
                    <a:pt x="148975" y="80147"/>
                    <a:pt x="147275" y="70543"/>
                  </a:cubicBezTo>
                  <a:cubicBezTo>
                    <a:pt x="143921" y="51979"/>
                    <a:pt x="132019" y="39250"/>
                    <a:pt x="134730" y="31346"/>
                  </a:cubicBezTo>
                  <a:cubicBezTo>
                    <a:pt x="140290" y="15125"/>
                    <a:pt x="162209" y="15447"/>
                    <a:pt x="155087" y="7360"/>
                  </a:cubicBezTo>
                  <a:lnTo>
                    <a:pt x="154535" y="6808"/>
                  </a:lnTo>
                  <a:cubicBezTo>
                    <a:pt x="148516" y="1754"/>
                    <a:pt x="138131" y="-1325"/>
                    <a:pt x="124805" y="559"/>
                  </a:cubicBezTo>
                  <a:cubicBezTo>
                    <a:pt x="111479" y="2443"/>
                    <a:pt x="95350" y="9473"/>
                    <a:pt x="92225" y="25970"/>
                  </a:cubicBezTo>
                  <a:cubicBezTo>
                    <a:pt x="92225" y="25970"/>
                    <a:pt x="33591" y="26843"/>
                    <a:pt x="45447" y="85661"/>
                  </a:cubicBezTo>
                  <a:cubicBezTo>
                    <a:pt x="45447" y="85661"/>
                    <a:pt x="-5054" y="100457"/>
                    <a:pt x="414" y="146777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69" name="Forma livre: Forma 1768">
              <a:extLst>
                <a:ext uri="{FF2B5EF4-FFF2-40B4-BE49-F238E27FC236}">
                  <a16:creationId xmlns:a16="http://schemas.microsoft.com/office/drawing/2014/main" id="{F6DF5D0A-D210-A104-469B-6F15FE6B479E}"/>
                </a:ext>
              </a:extLst>
            </p:cNvPr>
            <p:cNvSpPr/>
            <p:nvPr/>
          </p:nvSpPr>
          <p:spPr>
            <a:xfrm>
              <a:off x="3310770" y="5759592"/>
              <a:ext cx="140440" cy="218585"/>
            </a:xfrm>
            <a:custGeom>
              <a:avLst/>
              <a:gdLst>
                <a:gd name="connsiteX0" fmla="*/ 140441 w 140440"/>
                <a:gd name="connsiteY0" fmla="*/ 218585 h 218585"/>
                <a:gd name="connsiteX1" fmla="*/ 6446 w 140440"/>
                <a:gd name="connsiteY1" fmla="*/ 89369 h 218585"/>
                <a:gd name="connsiteX2" fmla="*/ 8973 w 140440"/>
                <a:gd name="connsiteY2" fmla="*/ 70529 h 218585"/>
                <a:gd name="connsiteX3" fmla="*/ 21518 w 140440"/>
                <a:gd name="connsiteY3" fmla="*/ 31333 h 218585"/>
                <a:gd name="connsiteX4" fmla="*/ 1437 w 140440"/>
                <a:gd name="connsiteY4" fmla="*/ 7116 h 218585"/>
                <a:gd name="connsiteX5" fmla="*/ 1713 w 140440"/>
                <a:gd name="connsiteY5" fmla="*/ 6841 h 218585"/>
                <a:gd name="connsiteX6" fmla="*/ 30157 w 140440"/>
                <a:gd name="connsiteY6" fmla="*/ 545 h 218585"/>
                <a:gd name="connsiteX7" fmla="*/ 62737 w 140440"/>
                <a:gd name="connsiteY7" fmla="*/ 25956 h 218585"/>
                <a:gd name="connsiteX8" fmla="*/ 109515 w 140440"/>
                <a:gd name="connsiteY8" fmla="*/ 85647 h 218585"/>
                <a:gd name="connsiteX9" fmla="*/ 139246 w 140440"/>
                <a:gd name="connsiteY9" fmla="*/ 103063 h 2185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40440" h="218585">
                  <a:moveTo>
                    <a:pt x="140441" y="218585"/>
                  </a:moveTo>
                  <a:cubicBezTo>
                    <a:pt x="67194" y="218585"/>
                    <a:pt x="6446" y="167763"/>
                    <a:pt x="6446" y="89369"/>
                  </a:cubicBezTo>
                  <a:cubicBezTo>
                    <a:pt x="6446" y="89369"/>
                    <a:pt x="7273" y="80133"/>
                    <a:pt x="8973" y="70529"/>
                  </a:cubicBezTo>
                  <a:cubicBezTo>
                    <a:pt x="12328" y="51965"/>
                    <a:pt x="24229" y="39236"/>
                    <a:pt x="21518" y="31333"/>
                  </a:cubicBezTo>
                  <a:cubicBezTo>
                    <a:pt x="15958" y="15112"/>
                    <a:pt x="-5731" y="15204"/>
                    <a:pt x="1437" y="7116"/>
                  </a:cubicBezTo>
                  <a:lnTo>
                    <a:pt x="1713" y="6841"/>
                  </a:lnTo>
                  <a:cubicBezTo>
                    <a:pt x="6354" y="1878"/>
                    <a:pt x="16831" y="-1339"/>
                    <a:pt x="30157" y="545"/>
                  </a:cubicBezTo>
                  <a:cubicBezTo>
                    <a:pt x="43483" y="2429"/>
                    <a:pt x="59612" y="9460"/>
                    <a:pt x="62737" y="25956"/>
                  </a:cubicBezTo>
                  <a:cubicBezTo>
                    <a:pt x="62737" y="25956"/>
                    <a:pt x="121371" y="26830"/>
                    <a:pt x="109515" y="85647"/>
                  </a:cubicBezTo>
                  <a:cubicBezTo>
                    <a:pt x="109515" y="85647"/>
                    <a:pt x="126379" y="91299"/>
                    <a:pt x="139246" y="103063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70" name="Forma livre: Forma 1769">
              <a:extLst>
                <a:ext uri="{FF2B5EF4-FFF2-40B4-BE49-F238E27FC236}">
                  <a16:creationId xmlns:a16="http://schemas.microsoft.com/office/drawing/2014/main" id="{F08A0EE3-2E7D-167F-3216-041741F1E304}"/>
                </a:ext>
              </a:extLst>
            </p:cNvPr>
            <p:cNvSpPr/>
            <p:nvPr/>
          </p:nvSpPr>
          <p:spPr>
            <a:xfrm>
              <a:off x="3366384" y="5706052"/>
              <a:ext cx="181232" cy="56979"/>
            </a:xfrm>
            <a:custGeom>
              <a:avLst/>
              <a:gdLst>
                <a:gd name="connsiteX0" fmla="*/ 181233 w 181232"/>
                <a:gd name="connsiteY0" fmla="*/ 56980 h 56979"/>
                <a:gd name="connsiteX1" fmla="*/ 157338 w 181232"/>
                <a:gd name="connsiteY1" fmla="*/ 33085 h 56979"/>
                <a:gd name="connsiteX2" fmla="*/ 148194 w 181232"/>
                <a:gd name="connsiteY2" fmla="*/ 34923 h 56979"/>
                <a:gd name="connsiteX3" fmla="*/ 148194 w 181232"/>
                <a:gd name="connsiteY3" fmla="*/ 34601 h 56979"/>
                <a:gd name="connsiteX4" fmla="*/ 124299 w 181232"/>
                <a:gd name="connsiteY4" fmla="*/ 10707 h 56979"/>
                <a:gd name="connsiteX5" fmla="*/ 109319 w 181232"/>
                <a:gd name="connsiteY5" fmla="*/ 15991 h 56979"/>
                <a:gd name="connsiteX6" fmla="*/ 86802 w 181232"/>
                <a:gd name="connsiteY6" fmla="*/ 0 h 56979"/>
                <a:gd name="connsiteX7" fmla="*/ 64010 w 181232"/>
                <a:gd name="connsiteY7" fmla="*/ 16726 h 56979"/>
                <a:gd name="connsiteX8" fmla="*/ 48157 w 181232"/>
                <a:gd name="connsiteY8" fmla="*/ 10707 h 56979"/>
                <a:gd name="connsiteX9" fmla="*/ 24262 w 181232"/>
                <a:gd name="connsiteY9" fmla="*/ 34601 h 56979"/>
                <a:gd name="connsiteX10" fmla="*/ 24262 w 181232"/>
                <a:gd name="connsiteY10" fmla="*/ 34923 h 56979"/>
                <a:gd name="connsiteX11" fmla="*/ 15118 w 181232"/>
                <a:gd name="connsiteY11" fmla="*/ 33085 h 56979"/>
                <a:gd name="connsiteX12" fmla="*/ 0 w 181232"/>
                <a:gd name="connsiteY12" fmla="*/ 39748 h 569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81232" h="56979">
                  <a:moveTo>
                    <a:pt x="181233" y="56980"/>
                  </a:moveTo>
                  <a:cubicBezTo>
                    <a:pt x="181233" y="43792"/>
                    <a:pt x="170526" y="33085"/>
                    <a:pt x="157338" y="33085"/>
                  </a:cubicBezTo>
                  <a:cubicBezTo>
                    <a:pt x="154075" y="33085"/>
                    <a:pt x="150997" y="33728"/>
                    <a:pt x="148194" y="34923"/>
                  </a:cubicBezTo>
                  <a:cubicBezTo>
                    <a:pt x="148194" y="34831"/>
                    <a:pt x="148194" y="34739"/>
                    <a:pt x="148194" y="34601"/>
                  </a:cubicBezTo>
                  <a:cubicBezTo>
                    <a:pt x="148194" y="21413"/>
                    <a:pt x="137487" y="10707"/>
                    <a:pt x="124299" y="10707"/>
                  </a:cubicBezTo>
                  <a:cubicBezTo>
                    <a:pt x="118601" y="10707"/>
                    <a:pt x="113408" y="12683"/>
                    <a:pt x="109319" y="15991"/>
                  </a:cubicBezTo>
                  <a:cubicBezTo>
                    <a:pt x="106056" y="6709"/>
                    <a:pt x="97233" y="0"/>
                    <a:pt x="86802" y="0"/>
                  </a:cubicBezTo>
                  <a:cubicBezTo>
                    <a:pt x="76371" y="0"/>
                    <a:pt x="67043" y="7031"/>
                    <a:pt x="64010" y="16726"/>
                  </a:cubicBezTo>
                  <a:cubicBezTo>
                    <a:pt x="59783" y="12958"/>
                    <a:pt x="54269" y="10707"/>
                    <a:pt x="48157" y="10707"/>
                  </a:cubicBezTo>
                  <a:cubicBezTo>
                    <a:pt x="34969" y="10707"/>
                    <a:pt x="24262" y="21413"/>
                    <a:pt x="24262" y="34601"/>
                  </a:cubicBezTo>
                  <a:cubicBezTo>
                    <a:pt x="24262" y="34693"/>
                    <a:pt x="24262" y="34785"/>
                    <a:pt x="24262" y="34923"/>
                  </a:cubicBezTo>
                  <a:cubicBezTo>
                    <a:pt x="21459" y="33728"/>
                    <a:pt x="18335" y="33085"/>
                    <a:pt x="15118" y="33085"/>
                  </a:cubicBezTo>
                  <a:cubicBezTo>
                    <a:pt x="9834" y="33085"/>
                    <a:pt x="3033" y="36531"/>
                    <a:pt x="0" y="39748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71" name="Forma livre: Forma 1770">
              <a:extLst>
                <a:ext uri="{FF2B5EF4-FFF2-40B4-BE49-F238E27FC236}">
                  <a16:creationId xmlns:a16="http://schemas.microsoft.com/office/drawing/2014/main" id="{19C98D92-71F1-F7C0-EACC-DFF923367C18}"/>
                </a:ext>
              </a:extLst>
            </p:cNvPr>
            <p:cNvSpPr/>
            <p:nvPr/>
          </p:nvSpPr>
          <p:spPr>
            <a:xfrm>
              <a:off x="3436001" y="5741849"/>
              <a:ext cx="41080" cy="17415"/>
            </a:xfrm>
            <a:custGeom>
              <a:avLst/>
              <a:gdLst>
                <a:gd name="connsiteX0" fmla="*/ 0 w 41080"/>
                <a:gd name="connsiteY0" fmla="*/ 10615 h 17415"/>
                <a:gd name="connsiteX1" fmla="*/ 18656 w 41080"/>
                <a:gd name="connsiteY1" fmla="*/ 0 h 17415"/>
                <a:gd name="connsiteX2" fmla="*/ 37680 w 41080"/>
                <a:gd name="connsiteY2" fmla="*/ 10890 h 17415"/>
                <a:gd name="connsiteX3" fmla="*/ 41081 w 41080"/>
                <a:gd name="connsiteY3" fmla="*/ 17416 h 174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1080" h="17415">
                  <a:moveTo>
                    <a:pt x="0" y="10615"/>
                  </a:moveTo>
                  <a:cubicBezTo>
                    <a:pt x="3079" y="4365"/>
                    <a:pt x="10247" y="0"/>
                    <a:pt x="18656" y="0"/>
                  </a:cubicBezTo>
                  <a:cubicBezTo>
                    <a:pt x="27065" y="0"/>
                    <a:pt x="34556" y="4733"/>
                    <a:pt x="37680" y="10890"/>
                  </a:cubicBezTo>
                  <a:lnTo>
                    <a:pt x="41081" y="17416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72" name="Forma livre: Forma 1771">
              <a:extLst>
                <a:ext uri="{FF2B5EF4-FFF2-40B4-BE49-F238E27FC236}">
                  <a16:creationId xmlns:a16="http://schemas.microsoft.com/office/drawing/2014/main" id="{511F4901-F32A-5449-2325-E2D63A0C8FB1}"/>
                </a:ext>
              </a:extLst>
            </p:cNvPr>
            <p:cNvSpPr/>
            <p:nvPr/>
          </p:nvSpPr>
          <p:spPr>
            <a:xfrm>
              <a:off x="3462929" y="5759356"/>
              <a:ext cx="37220" cy="10614"/>
            </a:xfrm>
            <a:custGeom>
              <a:avLst/>
              <a:gdLst>
                <a:gd name="connsiteX0" fmla="*/ 0 w 37220"/>
                <a:gd name="connsiteY0" fmla="*/ 10615 h 10614"/>
                <a:gd name="connsiteX1" fmla="*/ 18656 w 37220"/>
                <a:gd name="connsiteY1" fmla="*/ 0 h 10614"/>
                <a:gd name="connsiteX2" fmla="*/ 37221 w 37220"/>
                <a:gd name="connsiteY2" fmla="*/ 10477 h 106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7220" h="10614">
                  <a:moveTo>
                    <a:pt x="0" y="10615"/>
                  </a:moveTo>
                  <a:cubicBezTo>
                    <a:pt x="3079" y="4365"/>
                    <a:pt x="10247" y="0"/>
                    <a:pt x="18656" y="0"/>
                  </a:cubicBezTo>
                  <a:cubicBezTo>
                    <a:pt x="27065" y="0"/>
                    <a:pt x="34142" y="4319"/>
                    <a:pt x="37221" y="10477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73" name="Forma livre: Forma 1772">
              <a:extLst>
                <a:ext uri="{FF2B5EF4-FFF2-40B4-BE49-F238E27FC236}">
                  <a16:creationId xmlns:a16="http://schemas.microsoft.com/office/drawing/2014/main" id="{ADE1BDFE-FAD8-4B98-ACB4-8465BEED25DD}"/>
                </a:ext>
              </a:extLst>
            </p:cNvPr>
            <p:cNvSpPr/>
            <p:nvPr/>
          </p:nvSpPr>
          <p:spPr>
            <a:xfrm>
              <a:off x="3414450" y="5791890"/>
              <a:ext cx="37220" cy="10614"/>
            </a:xfrm>
            <a:custGeom>
              <a:avLst/>
              <a:gdLst>
                <a:gd name="connsiteX0" fmla="*/ 0 w 37220"/>
                <a:gd name="connsiteY0" fmla="*/ 10615 h 10614"/>
                <a:gd name="connsiteX1" fmla="*/ 18656 w 37220"/>
                <a:gd name="connsiteY1" fmla="*/ 0 h 10614"/>
                <a:gd name="connsiteX2" fmla="*/ 37221 w 37220"/>
                <a:gd name="connsiteY2" fmla="*/ 10477 h 106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7220" h="10614">
                  <a:moveTo>
                    <a:pt x="0" y="10615"/>
                  </a:moveTo>
                  <a:cubicBezTo>
                    <a:pt x="3079" y="4365"/>
                    <a:pt x="10247" y="0"/>
                    <a:pt x="18656" y="0"/>
                  </a:cubicBezTo>
                  <a:cubicBezTo>
                    <a:pt x="27065" y="0"/>
                    <a:pt x="34142" y="4319"/>
                    <a:pt x="37221" y="10477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774" name="Gráfico 24">
            <a:extLst>
              <a:ext uri="{FF2B5EF4-FFF2-40B4-BE49-F238E27FC236}">
                <a16:creationId xmlns:a16="http://schemas.microsoft.com/office/drawing/2014/main" id="{6BE86DDC-3972-762B-2614-E210D91EAA4D}"/>
              </a:ext>
            </a:extLst>
          </p:cNvPr>
          <p:cNvGrpSpPr/>
          <p:nvPr/>
        </p:nvGrpSpPr>
        <p:grpSpPr>
          <a:xfrm>
            <a:off x="2684143" y="5693375"/>
            <a:ext cx="332067" cy="297485"/>
            <a:chOff x="2684143" y="5693375"/>
            <a:chExt cx="332067" cy="297485"/>
          </a:xfrm>
        </p:grpSpPr>
        <p:sp>
          <p:nvSpPr>
            <p:cNvPr id="1775" name="Forma livre: Forma 1774">
              <a:extLst>
                <a:ext uri="{FF2B5EF4-FFF2-40B4-BE49-F238E27FC236}">
                  <a16:creationId xmlns:a16="http://schemas.microsoft.com/office/drawing/2014/main" id="{4A0D9B3B-F1DF-2C54-7154-26540CF6A157}"/>
                </a:ext>
              </a:extLst>
            </p:cNvPr>
            <p:cNvSpPr/>
            <p:nvPr/>
          </p:nvSpPr>
          <p:spPr>
            <a:xfrm>
              <a:off x="2846857" y="5693375"/>
              <a:ext cx="169353" cy="288177"/>
            </a:xfrm>
            <a:custGeom>
              <a:avLst/>
              <a:gdLst>
                <a:gd name="connsiteX0" fmla="*/ 31615 w 169353"/>
                <a:gd name="connsiteY0" fmla="*/ 272212 h 288177"/>
                <a:gd name="connsiteX1" fmla="*/ 96636 w 169353"/>
                <a:gd name="connsiteY1" fmla="*/ 286687 h 288177"/>
                <a:gd name="connsiteX2" fmla="*/ 166620 w 169353"/>
                <a:gd name="connsiteY2" fmla="*/ 159952 h 288177"/>
                <a:gd name="connsiteX3" fmla="*/ 137027 w 169353"/>
                <a:gd name="connsiteY3" fmla="*/ 96677 h 288177"/>
                <a:gd name="connsiteX4" fmla="*/ 137073 w 169353"/>
                <a:gd name="connsiteY4" fmla="*/ 96677 h 288177"/>
                <a:gd name="connsiteX5" fmla="*/ 93557 w 169353"/>
                <a:gd name="connsiteY5" fmla="*/ 23063 h 288177"/>
                <a:gd name="connsiteX6" fmla="*/ 60334 w 169353"/>
                <a:gd name="connsiteY6" fmla="*/ 1282 h 288177"/>
                <a:gd name="connsiteX7" fmla="*/ 47376 w 169353"/>
                <a:gd name="connsiteY7" fmla="*/ 5004 h 288177"/>
                <a:gd name="connsiteX8" fmla="*/ 32580 w 169353"/>
                <a:gd name="connsiteY8" fmla="*/ 6153 h 288177"/>
                <a:gd name="connsiteX9" fmla="*/ 9604 w 169353"/>
                <a:gd name="connsiteY9" fmla="*/ 37813 h 288177"/>
                <a:gd name="connsiteX10" fmla="*/ 0 w 169353"/>
                <a:gd name="connsiteY10" fmla="*/ 101594 h 2881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69353" h="288177">
                  <a:moveTo>
                    <a:pt x="31615" y="272212"/>
                  </a:moveTo>
                  <a:cubicBezTo>
                    <a:pt x="49214" y="285400"/>
                    <a:pt x="71179" y="291144"/>
                    <a:pt x="96636" y="286687"/>
                  </a:cubicBezTo>
                  <a:cubicBezTo>
                    <a:pt x="155730" y="276302"/>
                    <a:pt x="177602" y="222354"/>
                    <a:pt x="166620" y="159952"/>
                  </a:cubicBezTo>
                  <a:cubicBezTo>
                    <a:pt x="162255" y="135139"/>
                    <a:pt x="151410" y="113358"/>
                    <a:pt x="137027" y="96677"/>
                  </a:cubicBezTo>
                  <a:lnTo>
                    <a:pt x="137073" y="96677"/>
                  </a:lnTo>
                  <a:cubicBezTo>
                    <a:pt x="95763" y="41030"/>
                    <a:pt x="104678" y="51231"/>
                    <a:pt x="93557" y="23063"/>
                  </a:cubicBezTo>
                  <a:cubicBezTo>
                    <a:pt x="84413" y="-143"/>
                    <a:pt x="66630" y="-2073"/>
                    <a:pt x="60334" y="1282"/>
                  </a:cubicBezTo>
                  <a:cubicBezTo>
                    <a:pt x="60334" y="1282"/>
                    <a:pt x="51741" y="4223"/>
                    <a:pt x="47376" y="5004"/>
                  </a:cubicBezTo>
                  <a:cubicBezTo>
                    <a:pt x="43011" y="5785"/>
                    <a:pt x="32580" y="6153"/>
                    <a:pt x="32580" y="6153"/>
                  </a:cubicBezTo>
                  <a:cubicBezTo>
                    <a:pt x="24722" y="5601"/>
                    <a:pt x="10293" y="12862"/>
                    <a:pt x="9604" y="37813"/>
                  </a:cubicBezTo>
                  <a:cubicBezTo>
                    <a:pt x="8869" y="64511"/>
                    <a:pt x="13096" y="58262"/>
                    <a:pt x="0" y="101594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76" name="Forma livre: Forma 1775">
              <a:extLst>
                <a:ext uri="{FF2B5EF4-FFF2-40B4-BE49-F238E27FC236}">
                  <a16:creationId xmlns:a16="http://schemas.microsoft.com/office/drawing/2014/main" id="{DB606DD1-A867-5FC9-0A9C-C2A4911F8E00}"/>
                </a:ext>
              </a:extLst>
            </p:cNvPr>
            <p:cNvSpPr/>
            <p:nvPr/>
          </p:nvSpPr>
          <p:spPr>
            <a:xfrm>
              <a:off x="2684143" y="5809168"/>
              <a:ext cx="287823" cy="181692"/>
            </a:xfrm>
            <a:custGeom>
              <a:avLst/>
              <a:gdLst>
                <a:gd name="connsiteX0" fmla="*/ 287381 w 287823"/>
                <a:gd name="connsiteY0" fmla="*/ 76326 h 181692"/>
                <a:gd name="connsiteX1" fmla="*/ 260177 w 287823"/>
                <a:gd name="connsiteY1" fmla="*/ 48203 h 181692"/>
                <a:gd name="connsiteX2" fmla="*/ 180176 w 287823"/>
                <a:gd name="connsiteY2" fmla="*/ 18059 h 181692"/>
                <a:gd name="connsiteX3" fmla="*/ 180176 w 287823"/>
                <a:gd name="connsiteY3" fmla="*/ 18197 h 181692"/>
                <a:gd name="connsiteX4" fmla="*/ 112719 w 287823"/>
                <a:gd name="connsiteY4" fmla="*/ 0 h 181692"/>
                <a:gd name="connsiteX5" fmla="*/ 0 w 287823"/>
                <a:gd name="connsiteY5" fmla="*/ 90846 h 181692"/>
                <a:gd name="connsiteX6" fmla="*/ 112719 w 287823"/>
                <a:gd name="connsiteY6" fmla="*/ 181692 h 181692"/>
                <a:gd name="connsiteX7" fmla="*/ 180176 w 287823"/>
                <a:gd name="connsiteY7" fmla="*/ 163495 h 181692"/>
                <a:gd name="connsiteX8" fmla="*/ 180176 w 287823"/>
                <a:gd name="connsiteY8" fmla="*/ 163495 h 181692"/>
                <a:gd name="connsiteX9" fmla="*/ 260177 w 287823"/>
                <a:gd name="connsiteY9" fmla="*/ 133443 h 181692"/>
                <a:gd name="connsiteX10" fmla="*/ 287381 w 287823"/>
                <a:gd name="connsiteY10" fmla="*/ 104494 h 181692"/>
                <a:gd name="connsiteX11" fmla="*/ 285956 w 287823"/>
                <a:gd name="connsiteY11" fmla="*/ 91076 h 181692"/>
                <a:gd name="connsiteX12" fmla="*/ 287381 w 287823"/>
                <a:gd name="connsiteY12" fmla="*/ 76326 h 1816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87823" h="181692">
                  <a:moveTo>
                    <a:pt x="287381" y="76326"/>
                  </a:moveTo>
                  <a:cubicBezTo>
                    <a:pt x="288989" y="67733"/>
                    <a:pt x="284624" y="53212"/>
                    <a:pt x="260177" y="48203"/>
                  </a:cubicBezTo>
                  <a:cubicBezTo>
                    <a:pt x="230539" y="42138"/>
                    <a:pt x="241429" y="49674"/>
                    <a:pt x="180176" y="18059"/>
                  </a:cubicBezTo>
                  <a:lnTo>
                    <a:pt x="180176" y="18197"/>
                  </a:lnTo>
                  <a:cubicBezTo>
                    <a:pt x="161244" y="6893"/>
                    <a:pt x="137946" y="0"/>
                    <a:pt x="112719" y="0"/>
                  </a:cubicBezTo>
                  <a:cubicBezTo>
                    <a:pt x="49352" y="0"/>
                    <a:pt x="0" y="31890"/>
                    <a:pt x="0" y="90846"/>
                  </a:cubicBezTo>
                  <a:cubicBezTo>
                    <a:pt x="0" y="149802"/>
                    <a:pt x="49352" y="181692"/>
                    <a:pt x="112719" y="181692"/>
                  </a:cubicBezTo>
                  <a:cubicBezTo>
                    <a:pt x="137946" y="181692"/>
                    <a:pt x="161244" y="174754"/>
                    <a:pt x="180176" y="163495"/>
                  </a:cubicBezTo>
                  <a:lnTo>
                    <a:pt x="180176" y="163495"/>
                  </a:lnTo>
                  <a:cubicBezTo>
                    <a:pt x="242118" y="132478"/>
                    <a:pt x="230539" y="139509"/>
                    <a:pt x="260177" y="133443"/>
                  </a:cubicBezTo>
                  <a:cubicBezTo>
                    <a:pt x="284624" y="128434"/>
                    <a:pt x="289494" y="112214"/>
                    <a:pt x="287381" y="104494"/>
                  </a:cubicBezTo>
                  <a:cubicBezTo>
                    <a:pt x="287381" y="104494"/>
                    <a:pt x="285956" y="95487"/>
                    <a:pt x="285956" y="91076"/>
                  </a:cubicBezTo>
                  <a:cubicBezTo>
                    <a:pt x="285956" y="86665"/>
                    <a:pt x="287381" y="76326"/>
                    <a:pt x="287381" y="76326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77" name="Forma livre: Forma 1776">
              <a:extLst>
                <a:ext uri="{FF2B5EF4-FFF2-40B4-BE49-F238E27FC236}">
                  <a16:creationId xmlns:a16="http://schemas.microsoft.com/office/drawing/2014/main" id="{38B474D8-6F4A-2D77-600B-D84322FDAEE4}"/>
                </a:ext>
              </a:extLst>
            </p:cNvPr>
            <p:cNvSpPr/>
            <p:nvPr/>
          </p:nvSpPr>
          <p:spPr>
            <a:xfrm>
              <a:off x="2714746" y="5848962"/>
              <a:ext cx="188584" cy="102196"/>
            </a:xfrm>
            <a:custGeom>
              <a:avLst/>
              <a:gdLst>
                <a:gd name="connsiteX0" fmla="*/ 94292 w 188584"/>
                <a:gd name="connsiteY0" fmla="*/ 102196 h 102196"/>
                <a:gd name="connsiteX1" fmla="*/ 0 w 188584"/>
                <a:gd name="connsiteY1" fmla="*/ 51098 h 102196"/>
                <a:gd name="connsiteX2" fmla="*/ 94292 w 188584"/>
                <a:gd name="connsiteY2" fmla="*/ 0 h 102196"/>
                <a:gd name="connsiteX3" fmla="*/ 188585 w 188584"/>
                <a:gd name="connsiteY3" fmla="*/ 51098 h 102196"/>
                <a:gd name="connsiteX4" fmla="*/ 94292 w 188584"/>
                <a:gd name="connsiteY4" fmla="*/ 102196 h 1021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8584" h="102196">
                  <a:moveTo>
                    <a:pt x="94292" y="102196"/>
                  </a:moveTo>
                  <a:cubicBezTo>
                    <a:pt x="42229" y="102196"/>
                    <a:pt x="0" y="66032"/>
                    <a:pt x="0" y="51098"/>
                  </a:cubicBezTo>
                  <a:cubicBezTo>
                    <a:pt x="0" y="36164"/>
                    <a:pt x="42229" y="0"/>
                    <a:pt x="94292" y="0"/>
                  </a:cubicBezTo>
                  <a:cubicBezTo>
                    <a:pt x="146356" y="0"/>
                    <a:pt x="188585" y="37405"/>
                    <a:pt x="188585" y="51098"/>
                  </a:cubicBezTo>
                  <a:cubicBezTo>
                    <a:pt x="188585" y="64792"/>
                    <a:pt x="146356" y="102196"/>
                    <a:pt x="94292" y="102196"/>
                  </a:cubicBez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78" name="Forma livre: Forma 1777">
              <a:extLst>
                <a:ext uri="{FF2B5EF4-FFF2-40B4-BE49-F238E27FC236}">
                  <a16:creationId xmlns:a16="http://schemas.microsoft.com/office/drawing/2014/main" id="{D28925D0-3A3D-8EC3-63EE-B992011D144F}"/>
                </a:ext>
              </a:extLst>
            </p:cNvPr>
            <p:cNvSpPr/>
            <p:nvPr/>
          </p:nvSpPr>
          <p:spPr>
            <a:xfrm>
              <a:off x="2883434" y="5732199"/>
              <a:ext cx="2733" cy="41402"/>
            </a:xfrm>
            <a:custGeom>
              <a:avLst/>
              <a:gdLst>
                <a:gd name="connsiteX0" fmla="*/ 1838 w 2733"/>
                <a:gd name="connsiteY0" fmla="*/ 0 h 41402"/>
                <a:gd name="connsiteX1" fmla="*/ 0 w 2733"/>
                <a:gd name="connsiteY1" fmla="*/ 41402 h 414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733" h="41402">
                  <a:moveTo>
                    <a:pt x="1838" y="0"/>
                  </a:moveTo>
                  <a:cubicBezTo>
                    <a:pt x="1838" y="0"/>
                    <a:pt x="4779" y="24354"/>
                    <a:pt x="0" y="41402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779" name="Gráfico 24">
              <a:extLst>
                <a:ext uri="{FF2B5EF4-FFF2-40B4-BE49-F238E27FC236}">
                  <a16:creationId xmlns:a16="http://schemas.microsoft.com/office/drawing/2014/main" id="{3B740591-0801-0E7C-E284-E0063995C6E2}"/>
                </a:ext>
              </a:extLst>
            </p:cNvPr>
            <p:cNvGrpSpPr/>
            <p:nvPr/>
          </p:nvGrpSpPr>
          <p:grpSpPr>
            <a:xfrm>
              <a:off x="2759641" y="5872810"/>
              <a:ext cx="97371" cy="54452"/>
              <a:chOff x="2759641" y="5872810"/>
              <a:chExt cx="97371" cy="54452"/>
            </a:xfrm>
            <a:solidFill>
              <a:srgbClr val="394553"/>
            </a:solidFill>
          </p:grpSpPr>
          <p:grpSp>
            <p:nvGrpSpPr>
              <p:cNvPr id="1780" name="Gráfico 24">
                <a:extLst>
                  <a:ext uri="{FF2B5EF4-FFF2-40B4-BE49-F238E27FC236}">
                    <a16:creationId xmlns:a16="http://schemas.microsoft.com/office/drawing/2014/main" id="{DFC6BDB2-BDD3-5B81-C179-1F07183F61DE}"/>
                  </a:ext>
                </a:extLst>
              </p:cNvPr>
              <p:cNvGrpSpPr/>
              <p:nvPr/>
            </p:nvGrpSpPr>
            <p:grpSpPr>
              <a:xfrm>
                <a:off x="2759641" y="5872810"/>
                <a:ext cx="97371" cy="10201"/>
                <a:chOff x="2759641" y="5872810"/>
                <a:chExt cx="97371" cy="10201"/>
              </a:xfrm>
              <a:solidFill>
                <a:srgbClr val="394553"/>
              </a:solidFill>
            </p:grpSpPr>
            <p:sp>
              <p:nvSpPr>
                <p:cNvPr id="1781" name="Forma livre: Forma 1780">
                  <a:extLst>
                    <a:ext uri="{FF2B5EF4-FFF2-40B4-BE49-F238E27FC236}">
                      <a16:creationId xmlns:a16="http://schemas.microsoft.com/office/drawing/2014/main" id="{705211AA-9FD5-25E3-8D27-9260B7D36E37}"/>
                    </a:ext>
                  </a:extLst>
                </p:cNvPr>
                <p:cNvSpPr/>
                <p:nvPr/>
              </p:nvSpPr>
              <p:spPr>
                <a:xfrm>
                  <a:off x="2853704" y="5879703"/>
                  <a:ext cx="3308" cy="3308"/>
                </a:xfrm>
                <a:custGeom>
                  <a:avLst/>
                  <a:gdLst>
                    <a:gd name="connsiteX0" fmla="*/ 3309 w 3308"/>
                    <a:gd name="connsiteY0" fmla="*/ 1654 h 3308"/>
                    <a:gd name="connsiteX1" fmla="*/ 1654 w 3308"/>
                    <a:gd name="connsiteY1" fmla="*/ 3309 h 3308"/>
                    <a:gd name="connsiteX2" fmla="*/ 0 w 3308"/>
                    <a:gd name="connsiteY2" fmla="*/ 1654 h 3308"/>
                    <a:gd name="connsiteX3" fmla="*/ 1654 w 3308"/>
                    <a:gd name="connsiteY3" fmla="*/ 0 h 3308"/>
                    <a:gd name="connsiteX4" fmla="*/ 3309 w 3308"/>
                    <a:gd name="connsiteY4" fmla="*/ 1654 h 330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308" h="3308">
                      <a:moveTo>
                        <a:pt x="3309" y="1654"/>
                      </a:moveTo>
                      <a:cubicBezTo>
                        <a:pt x="3309" y="2573"/>
                        <a:pt x="2573" y="3309"/>
                        <a:pt x="1654" y="3309"/>
                      </a:cubicBezTo>
                      <a:cubicBezTo>
                        <a:pt x="735" y="3309"/>
                        <a:pt x="0" y="2573"/>
                        <a:pt x="0" y="1654"/>
                      </a:cubicBezTo>
                      <a:cubicBezTo>
                        <a:pt x="0" y="735"/>
                        <a:pt x="735" y="0"/>
                        <a:pt x="1654" y="0"/>
                      </a:cubicBezTo>
                      <a:cubicBezTo>
                        <a:pt x="2573" y="0"/>
                        <a:pt x="3309" y="735"/>
                        <a:pt x="3309" y="1654"/>
                      </a:cubicBezTo>
                      <a:close/>
                    </a:path>
                  </a:pathLst>
                </a:custGeom>
                <a:solidFill>
                  <a:srgbClr val="394553"/>
                </a:solidFill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782" name="Forma livre: Forma 1781">
                  <a:extLst>
                    <a:ext uri="{FF2B5EF4-FFF2-40B4-BE49-F238E27FC236}">
                      <a16:creationId xmlns:a16="http://schemas.microsoft.com/office/drawing/2014/main" id="{C51705E7-0157-FCC6-00FA-3E7DE863CC4B}"/>
                    </a:ext>
                  </a:extLst>
                </p:cNvPr>
                <p:cNvSpPr/>
                <p:nvPr/>
              </p:nvSpPr>
              <p:spPr>
                <a:xfrm>
                  <a:off x="2830222" y="5876073"/>
                  <a:ext cx="3308" cy="3308"/>
                </a:xfrm>
                <a:custGeom>
                  <a:avLst/>
                  <a:gdLst>
                    <a:gd name="connsiteX0" fmla="*/ 3309 w 3308"/>
                    <a:gd name="connsiteY0" fmla="*/ 1654 h 3308"/>
                    <a:gd name="connsiteX1" fmla="*/ 1654 w 3308"/>
                    <a:gd name="connsiteY1" fmla="*/ 3308 h 3308"/>
                    <a:gd name="connsiteX2" fmla="*/ 0 w 3308"/>
                    <a:gd name="connsiteY2" fmla="*/ 1654 h 3308"/>
                    <a:gd name="connsiteX3" fmla="*/ 1654 w 3308"/>
                    <a:gd name="connsiteY3" fmla="*/ 0 h 3308"/>
                    <a:gd name="connsiteX4" fmla="*/ 3309 w 3308"/>
                    <a:gd name="connsiteY4" fmla="*/ 1654 h 330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308" h="3308">
                      <a:moveTo>
                        <a:pt x="3309" y="1654"/>
                      </a:moveTo>
                      <a:cubicBezTo>
                        <a:pt x="3309" y="2573"/>
                        <a:pt x="2573" y="3308"/>
                        <a:pt x="1654" y="3308"/>
                      </a:cubicBezTo>
                      <a:cubicBezTo>
                        <a:pt x="735" y="3308"/>
                        <a:pt x="0" y="2573"/>
                        <a:pt x="0" y="1654"/>
                      </a:cubicBezTo>
                      <a:cubicBezTo>
                        <a:pt x="0" y="735"/>
                        <a:pt x="735" y="0"/>
                        <a:pt x="1654" y="0"/>
                      </a:cubicBezTo>
                      <a:cubicBezTo>
                        <a:pt x="2573" y="0"/>
                        <a:pt x="3309" y="735"/>
                        <a:pt x="3309" y="1654"/>
                      </a:cubicBezTo>
                      <a:close/>
                    </a:path>
                  </a:pathLst>
                </a:custGeom>
                <a:solidFill>
                  <a:srgbClr val="394553"/>
                </a:solidFill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783" name="Forma livre: Forma 1782">
                  <a:extLst>
                    <a:ext uri="{FF2B5EF4-FFF2-40B4-BE49-F238E27FC236}">
                      <a16:creationId xmlns:a16="http://schemas.microsoft.com/office/drawing/2014/main" id="{5E98FDE1-F1EC-0EFE-C8A0-FCD2EFA17C86}"/>
                    </a:ext>
                  </a:extLst>
                </p:cNvPr>
                <p:cNvSpPr/>
                <p:nvPr/>
              </p:nvSpPr>
              <p:spPr>
                <a:xfrm>
                  <a:off x="2806695" y="5872810"/>
                  <a:ext cx="3308" cy="3308"/>
                </a:xfrm>
                <a:custGeom>
                  <a:avLst/>
                  <a:gdLst>
                    <a:gd name="connsiteX0" fmla="*/ 3309 w 3308"/>
                    <a:gd name="connsiteY0" fmla="*/ 1654 h 3308"/>
                    <a:gd name="connsiteX1" fmla="*/ 1654 w 3308"/>
                    <a:gd name="connsiteY1" fmla="*/ 3309 h 3308"/>
                    <a:gd name="connsiteX2" fmla="*/ 0 w 3308"/>
                    <a:gd name="connsiteY2" fmla="*/ 1654 h 3308"/>
                    <a:gd name="connsiteX3" fmla="*/ 1654 w 3308"/>
                    <a:gd name="connsiteY3" fmla="*/ 0 h 3308"/>
                    <a:gd name="connsiteX4" fmla="*/ 3309 w 3308"/>
                    <a:gd name="connsiteY4" fmla="*/ 1654 h 330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308" h="3308">
                      <a:moveTo>
                        <a:pt x="3309" y="1654"/>
                      </a:moveTo>
                      <a:cubicBezTo>
                        <a:pt x="3309" y="2573"/>
                        <a:pt x="2573" y="3309"/>
                        <a:pt x="1654" y="3309"/>
                      </a:cubicBezTo>
                      <a:cubicBezTo>
                        <a:pt x="735" y="3309"/>
                        <a:pt x="0" y="2573"/>
                        <a:pt x="0" y="1654"/>
                      </a:cubicBezTo>
                      <a:cubicBezTo>
                        <a:pt x="0" y="735"/>
                        <a:pt x="735" y="0"/>
                        <a:pt x="1654" y="0"/>
                      </a:cubicBezTo>
                      <a:cubicBezTo>
                        <a:pt x="2573" y="0"/>
                        <a:pt x="3309" y="735"/>
                        <a:pt x="3309" y="1654"/>
                      </a:cubicBezTo>
                      <a:close/>
                    </a:path>
                  </a:pathLst>
                </a:custGeom>
                <a:solidFill>
                  <a:srgbClr val="394553"/>
                </a:solidFill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784" name="Forma livre: Forma 1783">
                  <a:extLst>
                    <a:ext uri="{FF2B5EF4-FFF2-40B4-BE49-F238E27FC236}">
                      <a16:creationId xmlns:a16="http://schemas.microsoft.com/office/drawing/2014/main" id="{0AE2BC30-37C8-143B-D116-1F6D45550664}"/>
                    </a:ext>
                  </a:extLst>
                </p:cNvPr>
                <p:cNvSpPr/>
                <p:nvPr/>
              </p:nvSpPr>
              <p:spPr>
                <a:xfrm>
                  <a:off x="2783076" y="5875981"/>
                  <a:ext cx="3308" cy="3308"/>
                </a:xfrm>
                <a:custGeom>
                  <a:avLst/>
                  <a:gdLst>
                    <a:gd name="connsiteX0" fmla="*/ 3309 w 3308"/>
                    <a:gd name="connsiteY0" fmla="*/ 1654 h 3308"/>
                    <a:gd name="connsiteX1" fmla="*/ 1654 w 3308"/>
                    <a:gd name="connsiteY1" fmla="*/ 3309 h 3308"/>
                    <a:gd name="connsiteX2" fmla="*/ 0 w 3308"/>
                    <a:gd name="connsiteY2" fmla="*/ 1654 h 3308"/>
                    <a:gd name="connsiteX3" fmla="*/ 1654 w 3308"/>
                    <a:gd name="connsiteY3" fmla="*/ 0 h 3308"/>
                    <a:gd name="connsiteX4" fmla="*/ 3309 w 3308"/>
                    <a:gd name="connsiteY4" fmla="*/ 1654 h 330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308" h="3308">
                      <a:moveTo>
                        <a:pt x="3309" y="1654"/>
                      </a:moveTo>
                      <a:cubicBezTo>
                        <a:pt x="3309" y="2573"/>
                        <a:pt x="2573" y="3309"/>
                        <a:pt x="1654" y="3309"/>
                      </a:cubicBezTo>
                      <a:cubicBezTo>
                        <a:pt x="735" y="3309"/>
                        <a:pt x="0" y="2573"/>
                        <a:pt x="0" y="1654"/>
                      </a:cubicBezTo>
                      <a:cubicBezTo>
                        <a:pt x="0" y="735"/>
                        <a:pt x="735" y="0"/>
                        <a:pt x="1654" y="0"/>
                      </a:cubicBezTo>
                      <a:cubicBezTo>
                        <a:pt x="2573" y="0"/>
                        <a:pt x="3309" y="735"/>
                        <a:pt x="3309" y="1654"/>
                      </a:cubicBezTo>
                      <a:close/>
                    </a:path>
                  </a:pathLst>
                </a:custGeom>
                <a:solidFill>
                  <a:srgbClr val="394553"/>
                </a:solidFill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785" name="Forma livre: Forma 1784">
                  <a:extLst>
                    <a:ext uri="{FF2B5EF4-FFF2-40B4-BE49-F238E27FC236}">
                      <a16:creationId xmlns:a16="http://schemas.microsoft.com/office/drawing/2014/main" id="{8BA39561-62AE-E750-29AD-0EA92550E2D0}"/>
                    </a:ext>
                  </a:extLst>
                </p:cNvPr>
                <p:cNvSpPr/>
                <p:nvPr/>
              </p:nvSpPr>
              <p:spPr>
                <a:xfrm>
                  <a:off x="2759641" y="5879703"/>
                  <a:ext cx="3308" cy="3308"/>
                </a:xfrm>
                <a:custGeom>
                  <a:avLst/>
                  <a:gdLst>
                    <a:gd name="connsiteX0" fmla="*/ 3309 w 3308"/>
                    <a:gd name="connsiteY0" fmla="*/ 1654 h 3308"/>
                    <a:gd name="connsiteX1" fmla="*/ 1654 w 3308"/>
                    <a:gd name="connsiteY1" fmla="*/ 3309 h 3308"/>
                    <a:gd name="connsiteX2" fmla="*/ 0 w 3308"/>
                    <a:gd name="connsiteY2" fmla="*/ 1654 h 3308"/>
                    <a:gd name="connsiteX3" fmla="*/ 1654 w 3308"/>
                    <a:gd name="connsiteY3" fmla="*/ 0 h 3308"/>
                    <a:gd name="connsiteX4" fmla="*/ 3309 w 3308"/>
                    <a:gd name="connsiteY4" fmla="*/ 1654 h 330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308" h="3308">
                      <a:moveTo>
                        <a:pt x="3309" y="1654"/>
                      </a:moveTo>
                      <a:cubicBezTo>
                        <a:pt x="3309" y="2573"/>
                        <a:pt x="2573" y="3309"/>
                        <a:pt x="1654" y="3309"/>
                      </a:cubicBezTo>
                      <a:cubicBezTo>
                        <a:pt x="735" y="3309"/>
                        <a:pt x="0" y="2573"/>
                        <a:pt x="0" y="1654"/>
                      </a:cubicBezTo>
                      <a:cubicBezTo>
                        <a:pt x="0" y="735"/>
                        <a:pt x="735" y="0"/>
                        <a:pt x="1654" y="0"/>
                      </a:cubicBezTo>
                      <a:cubicBezTo>
                        <a:pt x="2573" y="0"/>
                        <a:pt x="3309" y="735"/>
                        <a:pt x="3309" y="1654"/>
                      </a:cubicBezTo>
                      <a:close/>
                    </a:path>
                  </a:pathLst>
                </a:custGeom>
                <a:solidFill>
                  <a:srgbClr val="394553"/>
                </a:solidFill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1786" name="Gráfico 24">
                <a:extLst>
                  <a:ext uri="{FF2B5EF4-FFF2-40B4-BE49-F238E27FC236}">
                    <a16:creationId xmlns:a16="http://schemas.microsoft.com/office/drawing/2014/main" id="{BE8A802D-A52E-5436-B7F9-E985AD8B956B}"/>
                  </a:ext>
                </a:extLst>
              </p:cNvPr>
              <p:cNvGrpSpPr/>
              <p:nvPr/>
            </p:nvGrpSpPr>
            <p:grpSpPr>
              <a:xfrm>
                <a:off x="2759641" y="5917016"/>
                <a:ext cx="97371" cy="10247"/>
                <a:chOff x="2759641" y="5917016"/>
                <a:chExt cx="97371" cy="10247"/>
              </a:xfrm>
              <a:solidFill>
                <a:srgbClr val="394553"/>
              </a:solidFill>
            </p:grpSpPr>
            <p:sp>
              <p:nvSpPr>
                <p:cNvPr id="1787" name="Forma livre: Forma 1786">
                  <a:extLst>
                    <a:ext uri="{FF2B5EF4-FFF2-40B4-BE49-F238E27FC236}">
                      <a16:creationId xmlns:a16="http://schemas.microsoft.com/office/drawing/2014/main" id="{19E055EF-8B0B-D4AB-DB8A-6F2D12623088}"/>
                    </a:ext>
                  </a:extLst>
                </p:cNvPr>
                <p:cNvSpPr/>
                <p:nvPr/>
              </p:nvSpPr>
              <p:spPr>
                <a:xfrm>
                  <a:off x="2853704" y="5917016"/>
                  <a:ext cx="3308" cy="3308"/>
                </a:xfrm>
                <a:custGeom>
                  <a:avLst/>
                  <a:gdLst>
                    <a:gd name="connsiteX0" fmla="*/ 3309 w 3308"/>
                    <a:gd name="connsiteY0" fmla="*/ 1654 h 3308"/>
                    <a:gd name="connsiteX1" fmla="*/ 1654 w 3308"/>
                    <a:gd name="connsiteY1" fmla="*/ 0 h 3308"/>
                    <a:gd name="connsiteX2" fmla="*/ 0 w 3308"/>
                    <a:gd name="connsiteY2" fmla="*/ 1654 h 3308"/>
                    <a:gd name="connsiteX3" fmla="*/ 1654 w 3308"/>
                    <a:gd name="connsiteY3" fmla="*/ 3309 h 3308"/>
                    <a:gd name="connsiteX4" fmla="*/ 3309 w 3308"/>
                    <a:gd name="connsiteY4" fmla="*/ 1654 h 330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308" h="3308">
                      <a:moveTo>
                        <a:pt x="3309" y="1654"/>
                      </a:moveTo>
                      <a:cubicBezTo>
                        <a:pt x="3309" y="735"/>
                        <a:pt x="2573" y="0"/>
                        <a:pt x="1654" y="0"/>
                      </a:cubicBezTo>
                      <a:cubicBezTo>
                        <a:pt x="735" y="0"/>
                        <a:pt x="0" y="735"/>
                        <a:pt x="0" y="1654"/>
                      </a:cubicBezTo>
                      <a:cubicBezTo>
                        <a:pt x="0" y="2573"/>
                        <a:pt x="735" y="3309"/>
                        <a:pt x="1654" y="3309"/>
                      </a:cubicBezTo>
                      <a:cubicBezTo>
                        <a:pt x="2573" y="3309"/>
                        <a:pt x="3309" y="2573"/>
                        <a:pt x="3309" y="1654"/>
                      </a:cubicBezTo>
                      <a:close/>
                    </a:path>
                  </a:pathLst>
                </a:custGeom>
                <a:solidFill>
                  <a:srgbClr val="394553"/>
                </a:solidFill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788" name="Forma livre: Forma 1787">
                  <a:extLst>
                    <a:ext uri="{FF2B5EF4-FFF2-40B4-BE49-F238E27FC236}">
                      <a16:creationId xmlns:a16="http://schemas.microsoft.com/office/drawing/2014/main" id="{5287C55C-86EC-F7E5-33AF-281F8726A386}"/>
                    </a:ext>
                  </a:extLst>
                </p:cNvPr>
                <p:cNvSpPr/>
                <p:nvPr/>
              </p:nvSpPr>
              <p:spPr>
                <a:xfrm>
                  <a:off x="2830222" y="5920692"/>
                  <a:ext cx="3308" cy="3308"/>
                </a:xfrm>
                <a:custGeom>
                  <a:avLst/>
                  <a:gdLst>
                    <a:gd name="connsiteX0" fmla="*/ 3309 w 3308"/>
                    <a:gd name="connsiteY0" fmla="*/ 1654 h 3308"/>
                    <a:gd name="connsiteX1" fmla="*/ 1654 w 3308"/>
                    <a:gd name="connsiteY1" fmla="*/ 0 h 3308"/>
                    <a:gd name="connsiteX2" fmla="*/ 0 w 3308"/>
                    <a:gd name="connsiteY2" fmla="*/ 1654 h 3308"/>
                    <a:gd name="connsiteX3" fmla="*/ 1654 w 3308"/>
                    <a:gd name="connsiteY3" fmla="*/ 3309 h 3308"/>
                    <a:gd name="connsiteX4" fmla="*/ 3309 w 3308"/>
                    <a:gd name="connsiteY4" fmla="*/ 1654 h 330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308" h="3308">
                      <a:moveTo>
                        <a:pt x="3309" y="1654"/>
                      </a:moveTo>
                      <a:cubicBezTo>
                        <a:pt x="3309" y="735"/>
                        <a:pt x="2573" y="0"/>
                        <a:pt x="1654" y="0"/>
                      </a:cubicBezTo>
                      <a:cubicBezTo>
                        <a:pt x="735" y="0"/>
                        <a:pt x="0" y="735"/>
                        <a:pt x="0" y="1654"/>
                      </a:cubicBezTo>
                      <a:cubicBezTo>
                        <a:pt x="0" y="2573"/>
                        <a:pt x="735" y="3309"/>
                        <a:pt x="1654" y="3309"/>
                      </a:cubicBezTo>
                      <a:cubicBezTo>
                        <a:pt x="2573" y="3309"/>
                        <a:pt x="3309" y="2573"/>
                        <a:pt x="3309" y="1654"/>
                      </a:cubicBezTo>
                      <a:close/>
                    </a:path>
                  </a:pathLst>
                </a:custGeom>
                <a:solidFill>
                  <a:srgbClr val="394553"/>
                </a:solidFill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789" name="Forma livre: Forma 1788">
                  <a:extLst>
                    <a:ext uri="{FF2B5EF4-FFF2-40B4-BE49-F238E27FC236}">
                      <a16:creationId xmlns:a16="http://schemas.microsoft.com/office/drawing/2014/main" id="{6E8A438F-85D9-3137-666B-76124B610546}"/>
                    </a:ext>
                  </a:extLst>
                </p:cNvPr>
                <p:cNvSpPr/>
                <p:nvPr/>
              </p:nvSpPr>
              <p:spPr>
                <a:xfrm>
                  <a:off x="2806695" y="5923954"/>
                  <a:ext cx="3308" cy="3308"/>
                </a:xfrm>
                <a:custGeom>
                  <a:avLst/>
                  <a:gdLst>
                    <a:gd name="connsiteX0" fmla="*/ 3309 w 3308"/>
                    <a:gd name="connsiteY0" fmla="*/ 1654 h 3308"/>
                    <a:gd name="connsiteX1" fmla="*/ 1654 w 3308"/>
                    <a:gd name="connsiteY1" fmla="*/ 0 h 3308"/>
                    <a:gd name="connsiteX2" fmla="*/ 0 w 3308"/>
                    <a:gd name="connsiteY2" fmla="*/ 1654 h 3308"/>
                    <a:gd name="connsiteX3" fmla="*/ 1654 w 3308"/>
                    <a:gd name="connsiteY3" fmla="*/ 3309 h 3308"/>
                    <a:gd name="connsiteX4" fmla="*/ 3309 w 3308"/>
                    <a:gd name="connsiteY4" fmla="*/ 1654 h 330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308" h="3308">
                      <a:moveTo>
                        <a:pt x="3309" y="1654"/>
                      </a:moveTo>
                      <a:cubicBezTo>
                        <a:pt x="3309" y="735"/>
                        <a:pt x="2573" y="0"/>
                        <a:pt x="1654" y="0"/>
                      </a:cubicBezTo>
                      <a:cubicBezTo>
                        <a:pt x="735" y="0"/>
                        <a:pt x="0" y="735"/>
                        <a:pt x="0" y="1654"/>
                      </a:cubicBezTo>
                      <a:cubicBezTo>
                        <a:pt x="0" y="2573"/>
                        <a:pt x="735" y="3309"/>
                        <a:pt x="1654" y="3309"/>
                      </a:cubicBezTo>
                      <a:cubicBezTo>
                        <a:pt x="2573" y="3309"/>
                        <a:pt x="3309" y="2573"/>
                        <a:pt x="3309" y="1654"/>
                      </a:cubicBezTo>
                      <a:close/>
                    </a:path>
                  </a:pathLst>
                </a:custGeom>
                <a:solidFill>
                  <a:srgbClr val="394553"/>
                </a:solidFill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790" name="Forma livre: Forma 1789">
                  <a:extLst>
                    <a:ext uri="{FF2B5EF4-FFF2-40B4-BE49-F238E27FC236}">
                      <a16:creationId xmlns:a16="http://schemas.microsoft.com/office/drawing/2014/main" id="{869AEAEE-E5E4-2379-4156-FF58EDC3A91D}"/>
                    </a:ext>
                  </a:extLst>
                </p:cNvPr>
                <p:cNvSpPr/>
                <p:nvPr/>
              </p:nvSpPr>
              <p:spPr>
                <a:xfrm>
                  <a:off x="2783076" y="5920738"/>
                  <a:ext cx="3308" cy="3308"/>
                </a:xfrm>
                <a:custGeom>
                  <a:avLst/>
                  <a:gdLst>
                    <a:gd name="connsiteX0" fmla="*/ 3309 w 3308"/>
                    <a:gd name="connsiteY0" fmla="*/ 1654 h 3308"/>
                    <a:gd name="connsiteX1" fmla="*/ 1654 w 3308"/>
                    <a:gd name="connsiteY1" fmla="*/ 0 h 3308"/>
                    <a:gd name="connsiteX2" fmla="*/ 0 w 3308"/>
                    <a:gd name="connsiteY2" fmla="*/ 1654 h 3308"/>
                    <a:gd name="connsiteX3" fmla="*/ 1654 w 3308"/>
                    <a:gd name="connsiteY3" fmla="*/ 3309 h 3308"/>
                    <a:gd name="connsiteX4" fmla="*/ 3309 w 3308"/>
                    <a:gd name="connsiteY4" fmla="*/ 1654 h 330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308" h="3308">
                      <a:moveTo>
                        <a:pt x="3309" y="1654"/>
                      </a:moveTo>
                      <a:cubicBezTo>
                        <a:pt x="3309" y="735"/>
                        <a:pt x="2573" y="0"/>
                        <a:pt x="1654" y="0"/>
                      </a:cubicBezTo>
                      <a:cubicBezTo>
                        <a:pt x="735" y="0"/>
                        <a:pt x="0" y="735"/>
                        <a:pt x="0" y="1654"/>
                      </a:cubicBezTo>
                      <a:cubicBezTo>
                        <a:pt x="0" y="2573"/>
                        <a:pt x="735" y="3309"/>
                        <a:pt x="1654" y="3309"/>
                      </a:cubicBezTo>
                      <a:cubicBezTo>
                        <a:pt x="2573" y="3309"/>
                        <a:pt x="3309" y="2573"/>
                        <a:pt x="3309" y="1654"/>
                      </a:cubicBezTo>
                      <a:close/>
                    </a:path>
                  </a:pathLst>
                </a:custGeom>
                <a:solidFill>
                  <a:srgbClr val="394553"/>
                </a:solidFill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791" name="Forma livre: Forma 1790">
                  <a:extLst>
                    <a:ext uri="{FF2B5EF4-FFF2-40B4-BE49-F238E27FC236}">
                      <a16:creationId xmlns:a16="http://schemas.microsoft.com/office/drawing/2014/main" id="{D169EF83-60B9-B9F7-6582-ECE77E1F815D}"/>
                    </a:ext>
                  </a:extLst>
                </p:cNvPr>
                <p:cNvSpPr/>
                <p:nvPr/>
              </p:nvSpPr>
              <p:spPr>
                <a:xfrm>
                  <a:off x="2759641" y="5917016"/>
                  <a:ext cx="3308" cy="3308"/>
                </a:xfrm>
                <a:custGeom>
                  <a:avLst/>
                  <a:gdLst>
                    <a:gd name="connsiteX0" fmla="*/ 3309 w 3308"/>
                    <a:gd name="connsiteY0" fmla="*/ 1654 h 3308"/>
                    <a:gd name="connsiteX1" fmla="*/ 1654 w 3308"/>
                    <a:gd name="connsiteY1" fmla="*/ 0 h 3308"/>
                    <a:gd name="connsiteX2" fmla="*/ 0 w 3308"/>
                    <a:gd name="connsiteY2" fmla="*/ 1654 h 3308"/>
                    <a:gd name="connsiteX3" fmla="*/ 1654 w 3308"/>
                    <a:gd name="connsiteY3" fmla="*/ 3309 h 3308"/>
                    <a:gd name="connsiteX4" fmla="*/ 3309 w 3308"/>
                    <a:gd name="connsiteY4" fmla="*/ 1654 h 330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308" h="3308">
                      <a:moveTo>
                        <a:pt x="3309" y="1654"/>
                      </a:moveTo>
                      <a:cubicBezTo>
                        <a:pt x="3309" y="735"/>
                        <a:pt x="2573" y="0"/>
                        <a:pt x="1654" y="0"/>
                      </a:cubicBezTo>
                      <a:cubicBezTo>
                        <a:pt x="735" y="0"/>
                        <a:pt x="0" y="735"/>
                        <a:pt x="0" y="1654"/>
                      </a:cubicBezTo>
                      <a:cubicBezTo>
                        <a:pt x="0" y="2573"/>
                        <a:pt x="735" y="3309"/>
                        <a:pt x="1654" y="3309"/>
                      </a:cubicBezTo>
                      <a:cubicBezTo>
                        <a:pt x="2573" y="3309"/>
                        <a:pt x="3309" y="2573"/>
                        <a:pt x="3309" y="1654"/>
                      </a:cubicBezTo>
                      <a:close/>
                    </a:path>
                  </a:pathLst>
                </a:custGeom>
                <a:solidFill>
                  <a:srgbClr val="394553"/>
                </a:solidFill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grpSp>
          <p:nvGrpSpPr>
            <p:cNvPr id="1792" name="Gráfico 24">
              <a:extLst>
                <a:ext uri="{FF2B5EF4-FFF2-40B4-BE49-F238E27FC236}">
                  <a16:creationId xmlns:a16="http://schemas.microsoft.com/office/drawing/2014/main" id="{049E045F-023F-3DFE-98F3-3B7EF75B0461}"/>
                </a:ext>
              </a:extLst>
            </p:cNvPr>
            <p:cNvGrpSpPr/>
            <p:nvPr/>
          </p:nvGrpSpPr>
          <p:grpSpPr>
            <a:xfrm>
              <a:off x="2746131" y="5898359"/>
              <a:ext cx="124390" cy="3308"/>
              <a:chOff x="2746131" y="5898359"/>
              <a:chExt cx="124390" cy="3308"/>
            </a:xfrm>
            <a:solidFill>
              <a:srgbClr val="394553"/>
            </a:solidFill>
          </p:grpSpPr>
          <p:sp>
            <p:nvSpPr>
              <p:cNvPr id="1793" name="Forma livre: Forma 1792">
                <a:extLst>
                  <a:ext uri="{FF2B5EF4-FFF2-40B4-BE49-F238E27FC236}">
                    <a16:creationId xmlns:a16="http://schemas.microsoft.com/office/drawing/2014/main" id="{6EE01FDB-D5C6-32C7-6F93-4822B011C7CE}"/>
                  </a:ext>
                </a:extLst>
              </p:cNvPr>
              <p:cNvSpPr/>
              <p:nvPr/>
            </p:nvSpPr>
            <p:spPr>
              <a:xfrm>
                <a:off x="2746131" y="5898359"/>
                <a:ext cx="3308" cy="3308"/>
              </a:xfrm>
              <a:custGeom>
                <a:avLst/>
                <a:gdLst>
                  <a:gd name="connsiteX0" fmla="*/ 3309 w 3308"/>
                  <a:gd name="connsiteY0" fmla="*/ 1654 h 3308"/>
                  <a:gd name="connsiteX1" fmla="*/ 1654 w 3308"/>
                  <a:gd name="connsiteY1" fmla="*/ 3309 h 3308"/>
                  <a:gd name="connsiteX2" fmla="*/ 0 w 3308"/>
                  <a:gd name="connsiteY2" fmla="*/ 1654 h 3308"/>
                  <a:gd name="connsiteX3" fmla="*/ 1654 w 3308"/>
                  <a:gd name="connsiteY3" fmla="*/ 0 h 3308"/>
                  <a:gd name="connsiteX4" fmla="*/ 3309 w 3308"/>
                  <a:gd name="connsiteY4" fmla="*/ 1654 h 33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308" h="3308">
                    <a:moveTo>
                      <a:pt x="3309" y="1654"/>
                    </a:moveTo>
                    <a:cubicBezTo>
                      <a:pt x="3309" y="2573"/>
                      <a:pt x="2573" y="3309"/>
                      <a:pt x="1654" y="3309"/>
                    </a:cubicBezTo>
                    <a:cubicBezTo>
                      <a:pt x="735" y="3309"/>
                      <a:pt x="0" y="2573"/>
                      <a:pt x="0" y="1654"/>
                    </a:cubicBezTo>
                    <a:cubicBezTo>
                      <a:pt x="0" y="735"/>
                      <a:pt x="735" y="0"/>
                      <a:pt x="1654" y="0"/>
                    </a:cubicBezTo>
                    <a:cubicBezTo>
                      <a:pt x="2573" y="0"/>
                      <a:pt x="3309" y="735"/>
                      <a:pt x="3309" y="1654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794" name="Forma livre: Forma 1793">
                <a:extLst>
                  <a:ext uri="{FF2B5EF4-FFF2-40B4-BE49-F238E27FC236}">
                    <a16:creationId xmlns:a16="http://schemas.microsoft.com/office/drawing/2014/main" id="{DD746006-F8F6-DCDA-2771-19FE306548AF}"/>
                  </a:ext>
                </a:extLst>
              </p:cNvPr>
              <p:cNvSpPr/>
              <p:nvPr/>
            </p:nvSpPr>
            <p:spPr>
              <a:xfrm>
                <a:off x="2770348" y="5898359"/>
                <a:ext cx="3308" cy="3308"/>
              </a:xfrm>
              <a:custGeom>
                <a:avLst/>
                <a:gdLst>
                  <a:gd name="connsiteX0" fmla="*/ 3309 w 3308"/>
                  <a:gd name="connsiteY0" fmla="*/ 1654 h 3308"/>
                  <a:gd name="connsiteX1" fmla="*/ 1654 w 3308"/>
                  <a:gd name="connsiteY1" fmla="*/ 3309 h 3308"/>
                  <a:gd name="connsiteX2" fmla="*/ 0 w 3308"/>
                  <a:gd name="connsiteY2" fmla="*/ 1654 h 3308"/>
                  <a:gd name="connsiteX3" fmla="*/ 1654 w 3308"/>
                  <a:gd name="connsiteY3" fmla="*/ 0 h 3308"/>
                  <a:gd name="connsiteX4" fmla="*/ 3309 w 3308"/>
                  <a:gd name="connsiteY4" fmla="*/ 1654 h 33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308" h="3308">
                    <a:moveTo>
                      <a:pt x="3309" y="1654"/>
                    </a:moveTo>
                    <a:cubicBezTo>
                      <a:pt x="3309" y="2573"/>
                      <a:pt x="2573" y="3309"/>
                      <a:pt x="1654" y="3309"/>
                    </a:cubicBezTo>
                    <a:cubicBezTo>
                      <a:pt x="735" y="3309"/>
                      <a:pt x="0" y="2573"/>
                      <a:pt x="0" y="1654"/>
                    </a:cubicBezTo>
                    <a:cubicBezTo>
                      <a:pt x="0" y="735"/>
                      <a:pt x="735" y="0"/>
                      <a:pt x="1654" y="0"/>
                    </a:cubicBezTo>
                    <a:cubicBezTo>
                      <a:pt x="2573" y="0"/>
                      <a:pt x="3309" y="735"/>
                      <a:pt x="3309" y="1654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795" name="Forma livre: Forma 1794">
                <a:extLst>
                  <a:ext uri="{FF2B5EF4-FFF2-40B4-BE49-F238E27FC236}">
                    <a16:creationId xmlns:a16="http://schemas.microsoft.com/office/drawing/2014/main" id="{7220BBA3-BA67-C387-7381-E2A8DBAB334B}"/>
                  </a:ext>
                </a:extLst>
              </p:cNvPr>
              <p:cNvSpPr/>
              <p:nvPr/>
            </p:nvSpPr>
            <p:spPr>
              <a:xfrm>
                <a:off x="2794564" y="5898359"/>
                <a:ext cx="3308" cy="3308"/>
              </a:xfrm>
              <a:custGeom>
                <a:avLst/>
                <a:gdLst>
                  <a:gd name="connsiteX0" fmla="*/ 3309 w 3308"/>
                  <a:gd name="connsiteY0" fmla="*/ 1654 h 3308"/>
                  <a:gd name="connsiteX1" fmla="*/ 1654 w 3308"/>
                  <a:gd name="connsiteY1" fmla="*/ 3309 h 3308"/>
                  <a:gd name="connsiteX2" fmla="*/ 0 w 3308"/>
                  <a:gd name="connsiteY2" fmla="*/ 1654 h 3308"/>
                  <a:gd name="connsiteX3" fmla="*/ 1654 w 3308"/>
                  <a:gd name="connsiteY3" fmla="*/ 0 h 3308"/>
                  <a:gd name="connsiteX4" fmla="*/ 3309 w 3308"/>
                  <a:gd name="connsiteY4" fmla="*/ 1654 h 33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308" h="3308">
                    <a:moveTo>
                      <a:pt x="3309" y="1654"/>
                    </a:moveTo>
                    <a:cubicBezTo>
                      <a:pt x="3309" y="2573"/>
                      <a:pt x="2573" y="3309"/>
                      <a:pt x="1654" y="3309"/>
                    </a:cubicBezTo>
                    <a:cubicBezTo>
                      <a:pt x="735" y="3309"/>
                      <a:pt x="0" y="2573"/>
                      <a:pt x="0" y="1654"/>
                    </a:cubicBezTo>
                    <a:cubicBezTo>
                      <a:pt x="0" y="735"/>
                      <a:pt x="735" y="0"/>
                      <a:pt x="1654" y="0"/>
                    </a:cubicBezTo>
                    <a:cubicBezTo>
                      <a:pt x="2573" y="0"/>
                      <a:pt x="3309" y="735"/>
                      <a:pt x="3309" y="1654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796" name="Forma livre: Forma 1795">
                <a:extLst>
                  <a:ext uri="{FF2B5EF4-FFF2-40B4-BE49-F238E27FC236}">
                    <a16:creationId xmlns:a16="http://schemas.microsoft.com/office/drawing/2014/main" id="{E3292FED-E4FD-C4F8-59A8-7466EE09AE61}"/>
                  </a:ext>
                </a:extLst>
              </p:cNvPr>
              <p:cNvSpPr/>
              <p:nvPr/>
            </p:nvSpPr>
            <p:spPr>
              <a:xfrm>
                <a:off x="2818781" y="5898359"/>
                <a:ext cx="3308" cy="3308"/>
              </a:xfrm>
              <a:custGeom>
                <a:avLst/>
                <a:gdLst>
                  <a:gd name="connsiteX0" fmla="*/ 3309 w 3308"/>
                  <a:gd name="connsiteY0" fmla="*/ 1654 h 3308"/>
                  <a:gd name="connsiteX1" fmla="*/ 1654 w 3308"/>
                  <a:gd name="connsiteY1" fmla="*/ 3309 h 3308"/>
                  <a:gd name="connsiteX2" fmla="*/ 0 w 3308"/>
                  <a:gd name="connsiteY2" fmla="*/ 1654 h 3308"/>
                  <a:gd name="connsiteX3" fmla="*/ 1654 w 3308"/>
                  <a:gd name="connsiteY3" fmla="*/ 0 h 3308"/>
                  <a:gd name="connsiteX4" fmla="*/ 3309 w 3308"/>
                  <a:gd name="connsiteY4" fmla="*/ 1654 h 33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308" h="3308">
                    <a:moveTo>
                      <a:pt x="3309" y="1654"/>
                    </a:moveTo>
                    <a:cubicBezTo>
                      <a:pt x="3309" y="2573"/>
                      <a:pt x="2573" y="3309"/>
                      <a:pt x="1654" y="3309"/>
                    </a:cubicBezTo>
                    <a:cubicBezTo>
                      <a:pt x="735" y="3309"/>
                      <a:pt x="0" y="2573"/>
                      <a:pt x="0" y="1654"/>
                    </a:cubicBezTo>
                    <a:cubicBezTo>
                      <a:pt x="0" y="735"/>
                      <a:pt x="735" y="0"/>
                      <a:pt x="1654" y="0"/>
                    </a:cubicBezTo>
                    <a:cubicBezTo>
                      <a:pt x="2573" y="0"/>
                      <a:pt x="3309" y="735"/>
                      <a:pt x="3309" y="1654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797" name="Forma livre: Forma 1796">
                <a:extLst>
                  <a:ext uri="{FF2B5EF4-FFF2-40B4-BE49-F238E27FC236}">
                    <a16:creationId xmlns:a16="http://schemas.microsoft.com/office/drawing/2014/main" id="{A46CD58D-2D5C-8531-B559-0A7B06CF721A}"/>
                  </a:ext>
                </a:extLst>
              </p:cNvPr>
              <p:cNvSpPr/>
              <p:nvPr/>
            </p:nvSpPr>
            <p:spPr>
              <a:xfrm>
                <a:off x="2842997" y="5898359"/>
                <a:ext cx="3308" cy="3308"/>
              </a:xfrm>
              <a:custGeom>
                <a:avLst/>
                <a:gdLst>
                  <a:gd name="connsiteX0" fmla="*/ 3309 w 3308"/>
                  <a:gd name="connsiteY0" fmla="*/ 1654 h 3308"/>
                  <a:gd name="connsiteX1" fmla="*/ 1654 w 3308"/>
                  <a:gd name="connsiteY1" fmla="*/ 3309 h 3308"/>
                  <a:gd name="connsiteX2" fmla="*/ 0 w 3308"/>
                  <a:gd name="connsiteY2" fmla="*/ 1654 h 3308"/>
                  <a:gd name="connsiteX3" fmla="*/ 1654 w 3308"/>
                  <a:gd name="connsiteY3" fmla="*/ 0 h 3308"/>
                  <a:gd name="connsiteX4" fmla="*/ 3309 w 3308"/>
                  <a:gd name="connsiteY4" fmla="*/ 1654 h 33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308" h="3308">
                    <a:moveTo>
                      <a:pt x="3309" y="1654"/>
                    </a:moveTo>
                    <a:cubicBezTo>
                      <a:pt x="3309" y="2573"/>
                      <a:pt x="2573" y="3309"/>
                      <a:pt x="1654" y="3309"/>
                    </a:cubicBezTo>
                    <a:cubicBezTo>
                      <a:pt x="735" y="3309"/>
                      <a:pt x="0" y="2573"/>
                      <a:pt x="0" y="1654"/>
                    </a:cubicBezTo>
                    <a:cubicBezTo>
                      <a:pt x="0" y="735"/>
                      <a:pt x="735" y="0"/>
                      <a:pt x="1654" y="0"/>
                    </a:cubicBezTo>
                    <a:cubicBezTo>
                      <a:pt x="2573" y="0"/>
                      <a:pt x="3309" y="735"/>
                      <a:pt x="3309" y="1654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798" name="Forma livre: Forma 1797">
                <a:extLst>
                  <a:ext uri="{FF2B5EF4-FFF2-40B4-BE49-F238E27FC236}">
                    <a16:creationId xmlns:a16="http://schemas.microsoft.com/office/drawing/2014/main" id="{59E50690-C0EF-B27D-32BF-5C990AD6509E}"/>
                  </a:ext>
                </a:extLst>
              </p:cNvPr>
              <p:cNvSpPr/>
              <p:nvPr/>
            </p:nvSpPr>
            <p:spPr>
              <a:xfrm>
                <a:off x="2867213" y="5898359"/>
                <a:ext cx="3308" cy="3308"/>
              </a:xfrm>
              <a:custGeom>
                <a:avLst/>
                <a:gdLst>
                  <a:gd name="connsiteX0" fmla="*/ 3309 w 3308"/>
                  <a:gd name="connsiteY0" fmla="*/ 1654 h 3308"/>
                  <a:gd name="connsiteX1" fmla="*/ 1654 w 3308"/>
                  <a:gd name="connsiteY1" fmla="*/ 3309 h 3308"/>
                  <a:gd name="connsiteX2" fmla="*/ 0 w 3308"/>
                  <a:gd name="connsiteY2" fmla="*/ 1654 h 3308"/>
                  <a:gd name="connsiteX3" fmla="*/ 1654 w 3308"/>
                  <a:gd name="connsiteY3" fmla="*/ 0 h 3308"/>
                  <a:gd name="connsiteX4" fmla="*/ 3309 w 3308"/>
                  <a:gd name="connsiteY4" fmla="*/ 1654 h 33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308" h="3308">
                    <a:moveTo>
                      <a:pt x="3309" y="1654"/>
                    </a:moveTo>
                    <a:cubicBezTo>
                      <a:pt x="3309" y="2573"/>
                      <a:pt x="2573" y="3309"/>
                      <a:pt x="1654" y="3309"/>
                    </a:cubicBezTo>
                    <a:cubicBezTo>
                      <a:pt x="735" y="3309"/>
                      <a:pt x="0" y="2573"/>
                      <a:pt x="0" y="1654"/>
                    </a:cubicBezTo>
                    <a:cubicBezTo>
                      <a:pt x="0" y="735"/>
                      <a:pt x="735" y="0"/>
                      <a:pt x="1654" y="0"/>
                    </a:cubicBezTo>
                    <a:cubicBezTo>
                      <a:pt x="2573" y="0"/>
                      <a:pt x="3309" y="735"/>
                      <a:pt x="3309" y="1654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799" name="Gráfico 24">
            <a:extLst>
              <a:ext uri="{FF2B5EF4-FFF2-40B4-BE49-F238E27FC236}">
                <a16:creationId xmlns:a16="http://schemas.microsoft.com/office/drawing/2014/main" id="{CA6CB589-782A-1510-5888-22F1FAC10AAF}"/>
              </a:ext>
            </a:extLst>
          </p:cNvPr>
          <p:cNvGrpSpPr/>
          <p:nvPr/>
        </p:nvGrpSpPr>
        <p:grpSpPr>
          <a:xfrm>
            <a:off x="3887027" y="5717540"/>
            <a:ext cx="318259" cy="249218"/>
            <a:chOff x="3887027" y="5717540"/>
            <a:chExt cx="318259" cy="249218"/>
          </a:xfrm>
        </p:grpSpPr>
        <p:sp>
          <p:nvSpPr>
            <p:cNvPr id="1800" name="Forma livre: Forma 1799">
              <a:extLst>
                <a:ext uri="{FF2B5EF4-FFF2-40B4-BE49-F238E27FC236}">
                  <a16:creationId xmlns:a16="http://schemas.microsoft.com/office/drawing/2014/main" id="{DD429599-0B7A-FFCF-FBB8-C7AD1D460D72}"/>
                </a:ext>
              </a:extLst>
            </p:cNvPr>
            <p:cNvSpPr/>
            <p:nvPr/>
          </p:nvSpPr>
          <p:spPr>
            <a:xfrm>
              <a:off x="3929658" y="5717540"/>
              <a:ext cx="195707" cy="174661"/>
            </a:xfrm>
            <a:custGeom>
              <a:avLst/>
              <a:gdLst>
                <a:gd name="connsiteX0" fmla="*/ 276 w 195707"/>
                <a:gd name="connsiteY0" fmla="*/ 105137 h 174661"/>
                <a:gd name="connsiteX1" fmla="*/ 0 w 195707"/>
                <a:gd name="connsiteY1" fmla="*/ 97831 h 174661"/>
                <a:gd name="connsiteX2" fmla="*/ 97831 w 195707"/>
                <a:gd name="connsiteY2" fmla="*/ 0 h 174661"/>
                <a:gd name="connsiteX3" fmla="*/ 195707 w 195707"/>
                <a:gd name="connsiteY3" fmla="*/ 97831 h 174661"/>
                <a:gd name="connsiteX4" fmla="*/ 158487 w 195707"/>
                <a:gd name="connsiteY4" fmla="*/ 174662 h 1746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5707" h="174661">
                  <a:moveTo>
                    <a:pt x="276" y="105137"/>
                  </a:moveTo>
                  <a:cubicBezTo>
                    <a:pt x="92" y="102701"/>
                    <a:pt x="0" y="100266"/>
                    <a:pt x="0" y="97831"/>
                  </a:cubicBezTo>
                  <a:cubicBezTo>
                    <a:pt x="0" y="43792"/>
                    <a:pt x="43792" y="0"/>
                    <a:pt x="97831" y="0"/>
                  </a:cubicBezTo>
                  <a:cubicBezTo>
                    <a:pt x="151870" y="0"/>
                    <a:pt x="195707" y="43792"/>
                    <a:pt x="195707" y="97831"/>
                  </a:cubicBezTo>
                  <a:cubicBezTo>
                    <a:pt x="195707" y="128986"/>
                    <a:pt x="181141" y="156740"/>
                    <a:pt x="158487" y="174662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01" name="Forma livre: Forma 1800">
              <a:extLst>
                <a:ext uri="{FF2B5EF4-FFF2-40B4-BE49-F238E27FC236}">
                  <a16:creationId xmlns:a16="http://schemas.microsoft.com/office/drawing/2014/main" id="{371C881E-8734-D3A6-8B52-66E6261957D6}"/>
                </a:ext>
              </a:extLst>
            </p:cNvPr>
            <p:cNvSpPr/>
            <p:nvPr/>
          </p:nvSpPr>
          <p:spPr>
            <a:xfrm>
              <a:off x="4022985" y="5717632"/>
              <a:ext cx="182301" cy="190744"/>
            </a:xfrm>
            <a:custGeom>
              <a:avLst/>
              <a:gdLst>
                <a:gd name="connsiteX0" fmla="*/ 58220 w 182301"/>
                <a:gd name="connsiteY0" fmla="*/ 190745 h 190744"/>
                <a:gd name="connsiteX1" fmla="*/ 145896 w 182301"/>
                <a:gd name="connsiteY1" fmla="*/ 126458 h 190744"/>
                <a:gd name="connsiteX2" fmla="*/ 147596 w 182301"/>
                <a:gd name="connsiteY2" fmla="*/ 123609 h 190744"/>
                <a:gd name="connsiteX3" fmla="*/ 169699 w 182301"/>
                <a:gd name="connsiteY3" fmla="*/ 91535 h 190744"/>
                <a:gd name="connsiteX4" fmla="*/ 180176 w 182301"/>
                <a:gd name="connsiteY4" fmla="*/ 51420 h 190744"/>
                <a:gd name="connsiteX5" fmla="*/ 153386 w 182301"/>
                <a:gd name="connsiteY5" fmla="*/ 30879 h 190744"/>
                <a:gd name="connsiteX6" fmla="*/ 110789 w 182301"/>
                <a:gd name="connsiteY6" fmla="*/ 23619 h 190744"/>
                <a:gd name="connsiteX7" fmla="*/ 108537 w 182301"/>
                <a:gd name="connsiteY7" fmla="*/ 22470 h 190744"/>
                <a:gd name="connsiteX8" fmla="*/ 0 w 182301"/>
                <a:gd name="connsiteY8" fmla="*/ 0 h 1907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82301" h="190744">
                  <a:moveTo>
                    <a:pt x="58220" y="190745"/>
                  </a:moveTo>
                  <a:cubicBezTo>
                    <a:pt x="87354" y="183760"/>
                    <a:pt x="123701" y="166850"/>
                    <a:pt x="145896" y="126458"/>
                  </a:cubicBezTo>
                  <a:lnTo>
                    <a:pt x="147596" y="123609"/>
                  </a:lnTo>
                  <a:cubicBezTo>
                    <a:pt x="153754" y="109135"/>
                    <a:pt x="169699" y="91535"/>
                    <a:pt x="169699" y="91535"/>
                  </a:cubicBezTo>
                  <a:cubicBezTo>
                    <a:pt x="183300" y="78393"/>
                    <a:pt x="184266" y="61713"/>
                    <a:pt x="180176" y="51420"/>
                  </a:cubicBezTo>
                  <a:cubicBezTo>
                    <a:pt x="176959" y="40713"/>
                    <a:pt x="164782" y="30236"/>
                    <a:pt x="153386" y="30879"/>
                  </a:cubicBezTo>
                  <a:cubicBezTo>
                    <a:pt x="127929" y="32350"/>
                    <a:pt x="110789" y="23619"/>
                    <a:pt x="110789" y="23619"/>
                  </a:cubicBezTo>
                  <a:lnTo>
                    <a:pt x="108537" y="22470"/>
                  </a:lnTo>
                  <a:cubicBezTo>
                    <a:pt x="92822" y="13464"/>
                    <a:pt x="59186" y="0"/>
                    <a:pt x="0" y="0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02" name="Forma livre: Forma 1801">
              <a:extLst>
                <a:ext uri="{FF2B5EF4-FFF2-40B4-BE49-F238E27FC236}">
                  <a16:creationId xmlns:a16="http://schemas.microsoft.com/office/drawing/2014/main" id="{89DC5C83-EA03-3D89-8BC2-F0CBC7909833}"/>
                </a:ext>
              </a:extLst>
            </p:cNvPr>
            <p:cNvSpPr/>
            <p:nvPr/>
          </p:nvSpPr>
          <p:spPr>
            <a:xfrm>
              <a:off x="4114842" y="5770660"/>
              <a:ext cx="46824" cy="4221"/>
            </a:xfrm>
            <a:custGeom>
              <a:avLst/>
              <a:gdLst>
                <a:gd name="connsiteX0" fmla="*/ 46825 w 46824"/>
                <a:gd name="connsiteY0" fmla="*/ 3079 h 4221"/>
                <a:gd name="connsiteX1" fmla="*/ 0 w 46824"/>
                <a:gd name="connsiteY1" fmla="*/ 0 h 42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6824" h="4221">
                  <a:moveTo>
                    <a:pt x="46825" y="3079"/>
                  </a:moveTo>
                  <a:cubicBezTo>
                    <a:pt x="46825" y="3079"/>
                    <a:pt x="20540" y="7122"/>
                    <a:pt x="0" y="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03" name="Forma livre: Forma 1802">
              <a:extLst>
                <a:ext uri="{FF2B5EF4-FFF2-40B4-BE49-F238E27FC236}">
                  <a16:creationId xmlns:a16="http://schemas.microsoft.com/office/drawing/2014/main" id="{E5793F0B-7178-8B12-B956-76F6E41CD09B}"/>
                </a:ext>
              </a:extLst>
            </p:cNvPr>
            <p:cNvSpPr/>
            <p:nvPr/>
          </p:nvSpPr>
          <p:spPr>
            <a:xfrm>
              <a:off x="4122562" y="5801310"/>
              <a:ext cx="43470" cy="37450"/>
            </a:xfrm>
            <a:custGeom>
              <a:avLst/>
              <a:gdLst>
                <a:gd name="connsiteX0" fmla="*/ 43470 w 43470"/>
                <a:gd name="connsiteY0" fmla="*/ 0 h 37450"/>
                <a:gd name="connsiteX1" fmla="*/ 0 w 43470"/>
                <a:gd name="connsiteY1" fmla="*/ 37450 h 37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3470" h="37450">
                  <a:moveTo>
                    <a:pt x="43470" y="0"/>
                  </a:moveTo>
                  <a:cubicBezTo>
                    <a:pt x="24079" y="12775"/>
                    <a:pt x="15394" y="19851"/>
                    <a:pt x="0" y="3745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04" name="Forma livre: Forma 1803">
              <a:extLst>
                <a:ext uri="{FF2B5EF4-FFF2-40B4-BE49-F238E27FC236}">
                  <a16:creationId xmlns:a16="http://schemas.microsoft.com/office/drawing/2014/main" id="{ED3109FD-1BC3-A06F-84F1-3BE6F62F657B}"/>
                </a:ext>
              </a:extLst>
            </p:cNvPr>
            <p:cNvSpPr/>
            <p:nvPr/>
          </p:nvSpPr>
          <p:spPr>
            <a:xfrm>
              <a:off x="3888164" y="5852316"/>
              <a:ext cx="199406" cy="114443"/>
            </a:xfrm>
            <a:custGeom>
              <a:avLst/>
              <a:gdLst>
                <a:gd name="connsiteX0" fmla="*/ 0 w 199406"/>
                <a:gd name="connsiteY0" fmla="*/ 56428 h 114443"/>
                <a:gd name="connsiteX1" fmla="*/ 10890 w 199406"/>
                <a:gd name="connsiteY1" fmla="*/ 86756 h 114443"/>
                <a:gd name="connsiteX2" fmla="*/ 119106 w 199406"/>
                <a:gd name="connsiteY2" fmla="*/ 106791 h 114443"/>
                <a:gd name="connsiteX3" fmla="*/ 198281 w 199406"/>
                <a:gd name="connsiteY3" fmla="*/ 30328 h 114443"/>
                <a:gd name="connsiteX4" fmla="*/ 187390 w 199406"/>
                <a:gd name="connsiteY4" fmla="*/ 0 h 1144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9406" h="114443">
                  <a:moveTo>
                    <a:pt x="0" y="56428"/>
                  </a:moveTo>
                  <a:lnTo>
                    <a:pt x="10890" y="86756"/>
                  </a:lnTo>
                  <a:cubicBezTo>
                    <a:pt x="18932" y="113408"/>
                    <a:pt x="67365" y="122369"/>
                    <a:pt x="119106" y="106791"/>
                  </a:cubicBezTo>
                  <a:cubicBezTo>
                    <a:pt x="170848" y="91214"/>
                    <a:pt x="206276" y="56980"/>
                    <a:pt x="198281" y="30328"/>
                  </a:cubicBezTo>
                  <a:lnTo>
                    <a:pt x="187390" y="0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05" name="Forma livre: Forma 1804">
              <a:extLst>
                <a:ext uri="{FF2B5EF4-FFF2-40B4-BE49-F238E27FC236}">
                  <a16:creationId xmlns:a16="http://schemas.microsoft.com/office/drawing/2014/main" id="{DC104927-6627-DB90-5A18-A6682C35B8F0}"/>
                </a:ext>
              </a:extLst>
            </p:cNvPr>
            <p:cNvSpPr/>
            <p:nvPr/>
          </p:nvSpPr>
          <p:spPr>
            <a:xfrm>
              <a:off x="3887027" y="5824629"/>
              <a:ext cx="189664" cy="111801"/>
            </a:xfrm>
            <a:custGeom>
              <a:avLst/>
              <a:gdLst>
                <a:gd name="connsiteX0" fmla="*/ 1137 w 189664"/>
                <a:gd name="connsiteY0" fmla="*/ 84115 h 111801"/>
                <a:gd name="connsiteX1" fmla="*/ 80311 w 189664"/>
                <a:gd name="connsiteY1" fmla="*/ 7652 h 111801"/>
                <a:gd name="connsiteX2" fmla="*/ 188527 w 189664"/>
                <a:gd name="connsiteY2" fmla="*/ 27687 h 111801"/>
                <a:gd name="connsiteX3" fmla="*/ 109353 w 189664"/>
                <a:gd name="connsiteY3" fmla="*/ 104150 h 111801"/>
                <a:gd name="connsiteX4" fmla="*/ 1137 w 189664"/>
                <a:gd name="connsiteY4" fmla="*/ 84115 h 1118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9664" h="111801">
                  <a:moveTo>
                    <a:pt x="1137" y="84115"/>
                  </a:moveTo>
                  <a:cubicBezTo>
                    <a:pt x="-6905" y="57463"/>
                    <a:pt x="28570" y="23229"/>
                    <a:pt x="80311" y="7652"/>
                  </a:cubicBezTo>
                  <a:cubicBezTo>
                    <a:pt x="132053" y="-7926"/>
                    <a:pt x="180532" y="1035"/>
                    <a:pt x="188527" y="27687"/>
                  </a:cubicBezTo>
                  <a:cubicBezTo>
                    <a:pt x="196569" y="54338"/>
                    <a:pt x="161094" y="88572"/>
                    <a:pt x="109353" y="104150"/>
                  </a:cubicBezTo>
                  <a:cubicBezTo>
                    <a:pt x="57611" y="119727"/>
                    <a:pt x="9133" y="110767"/>
                    <a:pt x="1137" y="84115"/>
                  </a:cubicBez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806" name="Gráfico 24">
              <a:extLst>
                <a:ext uri="{FF2B5EF4-FFF2-40B4-BE49-F238E27FC236}">
                  <a16:creationId xmlns:a16="http://schemas.microsoft.com/office/drawing/2014/main" id="{07BA3C59-799B-E283-E3E2-39F9E82D951A}"/>
                </a:ext>
              </a:extLst>
            </p:cNvPr>
            <p:cNvGrpSpPr/>
            <p:nvPr/>
          </p:nvGrpSpPr>
          <p:grpSpPr>
            <a:xfrm>
              <a:off x="3926922" y="5847694"/>
              <a:ext cx="105415" cy="63236"/>
              <a:chOff x="3926922" y="5847694"/>
              <a:chExt cx="105415" cy="63236"/>
            </a:xfrm>
            <a:solidFill>
              <a:srgbClr val="394553"/>
            </a:solidFill>
          </p:grpSpPr>
          <p:sp>
            <p:nvSpPr>
              <p:cNvPr id="1807" name="Forma livre: Forma 1806">
                <a:extLst>
                  <a:ext uri="{FF2B5EF4-FFF2-40B4-BE49-F238E27FC236}">
                    <a16:creationId xmlns:a16="http://schemas.microsoft.com/office/drawing/2014/main" id="{2EC684B1-301F-F937-6EF5-F0344165F072}"/>
                  </a:ext>
                </a:extLst>
              </p:cNvPr>
              <p:cNvSpPr/>
              <p:nvPr/>
            </p:nvSpPr>
            <p:spPr>
              <a:xfrm>
                <a:off x="3975731" y="5885378"/>
                <a:ext cx="21432" cy="22877"/>
              </a:xfrm>
              <a:custGeom>
                <a:avLst/>
                <a:gdLst>
                  <a:gd name="connsiteX0" fmla="*/ 62 w 21432"/>
                  <a:gd name="connsiteY0" fmla="*/ 14498 h 22877"/>
                  <a:gd name="connsiteX1" fmla="*/ 6082 w 21432"/>
                  <a:gd name="connsiteY1" fmla="*/ 253 h 22877"/>
                  <a:gd name="connsiteX2" fmla="*/ 19592 w 21432"/>
                  <a:gd name="connsiteY2" fmla="*/ 7743 h 22877"/>
                  <a:gd name="connsiteX3" fmla="*/ 13572 w 21432"/>
                  <a:gd name="connsiteY3" fmla="*/ 21988 h 22877"/>
                  <a:gd name="connsiteX4" fmla="*/ 62 w 21432"/>
                  <a:gd name="connsiteY4" fmla="*/ 14498 h 228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1432" h="22877">
                    <a:moveTo>
                      <a:pt x="62" y="14498"/>
                    </a:moveTo>
                    <a:cubicBezTo>
                      <a:pt x="-443" y="8249"/>
                      <a:pt x="2176" y="1586"/>
                      <a:pt x="6082" y="253"/>
                    </a:cubicBezTo>
                    <a:cubicBezTo>
                      <a:pt x="9482" y="-942"/>
                      <a:pt x="16053" y="2183"/>
                      <a:pt x="19592" y="7743"/>
                    </a:cubicBezTo>
                    <a:cubicBezTo>
                      <a:pt x="23084" y="13165"/>
                      <a:pt x="21889" y="19093"/>
                      <a:pt x="13572" y="21988"/>
                    </a:cubicBezTo>
                    <a:cubicBezTo>
                      <a:pt x="5760" y="24699"/>
                      <a:pt x="568" y="20931"/>
                      <a:pt x="62" y="14498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808" name="Forma livre: Forma 1807">
                <a:extLst>
                  <a:ext uri="{FF2B5EF4-FFF2-40B4-BE49-F238E27FC236}">
                    <a16:creationId xmlns:a16="http://schemas.microsoft.com/office/drawing/2014/main" id="{E58E1266-733C-E202-32D5-851FEF1CCEE2}"/>
                  </a:ext>
                </a:extLst>
              </p:cNvPr>
              <p:cNvSpPr/>
              <p:nvPr/>
            </p:nvSpPr>
            <p:spPr>
              <a:xfrm>
                <a:off x="3962097" y="5850370"/>
                <a:ext cx="21432" cy="22877"/>
              </a:xfrm>
              <a:custGeom>
                <a:avLst/>
                <a:gdLst>
                  <a:gd name="connsiteX0" fmla="*/ 21370 w 21432"/>
                  <a:gd name="connsiteY0" fmla="*/ 8380 h 22877"/>
                  <a:gd name="connsiteX1" fmla="*/ 15351 w 21432"/>
                  <a:gd name="connsiteY1" fmla="*/ 22625 h 22877"/>
                  <a:gd name="connsiteX2" fmla="*/ 1841 w 21432"/>
                  <a:gd name="connsiteY2" fmla="*/ 15134 h 22877"/>
                  <a:gd name="connsiteX3" fmla="*/ 7861 w 21432"/>
                  <a:gd name="connsiteY3" fmla="*/ 889 h 22877"/>
                  <a:gd name="connsiteX4" fmla="*/ 21370 w 21432"/>
                  <a:gd name="connsiteY4" fmla="*/ 8380 h 228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1432" h="22877">
                    <a:moveTo>
                      <a:pt x="21370" y="8380"/>
                    </a:moveTo>
                    <a:cubicBezTo>
                      <a:pt x="21876" y="14629"/>
                      <a:pt x="19257" y="21292"/>
                      <a:pt x="15351" y="22625"/>
                    </a:cubicBezTo>
                    <a:cubicBezTo>
                      <a:pt x="11904" y="23819"/>
                      <a:pt x="5379" y="20695"/>
                      <a:pt x="1841" y="15134"/>
                    </a:cubicBezTo>
                    <a:cubicBezTo>
                      <a:pt x="-1651" y="9712"/>
                      <a:pt x="-457" y="3738"/>
                      <a:pt x="7861" y="889"/>
                    </a:cubicBezTo>
                    <a:cubicBezTo>
                      <a:pt x="15673" y="-1822"/>
                      <a:pt x="20865" y="1946"/>
                      <a:pt x="21370" y="8380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809" name="Forma livre: Forma 1808">
                <a:extLst>
                  <a:ext uri="{FF2B5EF4-FFF2-40B4-BE49-F238E27FC236}">
                    <a16:creationId xmlns:a16="http://schemas.microsoft.com/office/drawing/2014/main" id="{D1963560-1A06-1307-6649-8571F91EC1DF}"/>
                  </a:ext>
                </a:extLst>
              </p:cNvPr>
              <p:cNvSpPr/>
              <p:nvPr/>
            </p:nvSpPr>
            <p:spPr>
              <a:xfrm>
                <a:off x="3935716" y="5886192"/>
                <a:ext cx="35199" cy="24738"/>
              </a:xfrm>
              <a:custGeom>
                <a:avLst/>
                <a:gdLst>
                  <a:gd name="connsiteX0" fmla="*/ 11725 w 35199"/>
                  <a:gd name="connsiteY0" fmla="*/ 9778 h 24738"/>
                  <a:gd name="connsiteX1" fmla="*/ 34517 w 35199"/>
                  <a:gd name="connsiteY1" fmla="*/ 128 h 24738"/>
                  <a:gd name="connsiteX2" fmla="*/ 25005 w 35199"/>
                  <a:gd name="connsiteY2" fmla="*/ 14603 h 24738"/>
                  <a:gd name="connsiteX3" fmla="*/ 2167 w 35199"/>
                  <a:gd name="connsiteY3" fmla="*/ 24253 h 24738"/>
                  <a:gd name="connsiteX4" fmla="*/ 11679 w 35199"/>
                  <a:gd name="connsiteY4" fmla="*/ 9778 h 247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5199" h="24738">
                    <a:moveTo>
                      <a:pt x="11725" y="9778"/>
                    </a:moveTo>
                    <a:cubicBezTo>
                      <a:pt x="21283" y="3759"/>
                      <a:pt x="31897" y="-837"/>
                      <a:pt x="34517" y="128"/>
                    </a:cubicBezTo>
                    <a:cubicBezTo>
                      <a:pt x="36860" y="956"/>
                      <a:pt x="33046" y="7481"/>
                      <a:pt x="25005" y="14603"/>
                    </a:cubicBezTo>
                    <a:cubicBezTo>
                      <a:pt x="17147" y="21542"/>
                      <a:pt x="7865" y="26321"/>
                      <a:pt x="2167" y="24253"/>
                    </a:cubicBezTo>
                    <a:cubicBezTo>
                      <a:pt x="-3163" y="22323"/>
                      <a:pt x="1845" y="15982"/>
                      <a:pt x="11679" y="9778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810" name="Forma livre: Forma 1809">
                <a:extLst>
                  <a:ext uri="{FF2B5EF4-FFF2-40B4-BE49-F238E27FC236}">
                    <a16:creationId xmlns:a16="http://schemas.microsoft.com/office/drawing/2014/main" id="{77C16A02-A3AA-E875-C244-8E0F791AE5D8}"/>
                  </a:ext>
                </a:extLst>
              </p:cNvPr>
              <p:cNvSpPr/>
              <p:nvPr/>
            </p:nvSpPr>
            <p:spPr>
              <a:xfrm>
                <a:off x="3988390" y="5847694"/>
                <a:ext cx="35199" cy="24738"/>
              </a:xfrm>
              <a:custGeom>
                <a:avLst/>
                <a:gdLst>
                  <a:gd name="connsiteX0" fmla="*/ 23475 w 35199"/>
                  <a:gd name="connsiteY0" fmla="*/ 14961 h 24738"/>
                  <a:gd name="connsiteX1" fmla="*/ 683 w 35199"/>
                  <a:gd name="connsiteY1" fmla="*/ 24610 h 24738"/>
                  <a:gd name="connsiteX2" fmla="*/ 10195 w 35199"/>
                  <a:gd name="connsiteY2" fmla="*/ 10136 h 24738"/>
                  <a:gd name="connsiteX3" fmla="*/ 33033 w 35199"/>
                  <a:gd name="connsiteY3" fmla="*/ 486 h 24738"/>
                  <a:gd name="connsiteX4" fmla="*/ 23521 w 35199"/>
                  <a:gd name="connsiteY4" fmla="*/ 14961 h 247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5199" h="24738">
                    <a:moveTo>
                      <a:pt x="23475" y="14961"/>
                    </a:moveTo>
                    <a:cubicBezTo>
                      <a:pt x="13917" y="20980"/>
                      <a:pt x="3302" y="25575"/>
                      <a:pt x="683" y="24610"/>
                    </a:cubicBezTo>
                    <a:cubicBezTo>
                      <a:pt x="-1661" y="23783"/>
                      <a:pt x="2153" y="17258"/>
                      <a:pt x="10195" y="10136"/>
                    </a:cubicBezTo>
                    <a:cubicBezTo>
                      <a:pt x="18053" y="3197"/>
                      <a:pt x="27335" y="-1582"/>
                      <a:pt x="33033" y="486"/>
                    </a:cubicBezTo>
                    <a:cubicBezTo>
                      <a:pt x="38363" y="2416"/>
                      <a:pt x="33354" y="8711"/>
                      <a:pt x="23521" y="14961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811" name="Forma livre: Forma 1810">
                <a:extLst>
                  <a:ext uri="{FF2B5EF4-FFF2-40B4-BE49-F238E27FC236}">
                    <a16:creationId xmlns:a16="http://schemas.microsoft.com/office/drawing/2014/main" id="{C0FB330C-A367-68FF-5AC9-CEB8754B50BE}"/>
                  </a:ext>
                </a:extLst>
              </p:cNvPr>
              <p:cNvSpPr/>
              <p:nvPr/>
            </p:nvSpPr>
            <p:spPr>
              <a:xfrm>
                <a:off x="3926922" y="5873979"/>
                <a:ext cx="41202" cy="12405"/>
              </a:xfrm>
              <a:custGeom>
                <a:avLst/>
                <a:gdLst>
                  <a:gd name="connsiteX0" fmla="*/ 24654 w 41202"/>
                  <a:gd name="connsiteY0" fmla="*/ 73 h 12405"/>
                  <a:gd name="connsiteX1" fmla="*/ 41013 w 41202"/>
                  <a:gd name="connsiteY1" fmla="*/ 5633 h 12405"/>
                  <a:gd name="connsiteX2" fmla="*/ 17073 w 41202"/>
                  <a:gd name="connsiteY2" fmla="*/ 12066 h 12405"/>
                  <a:gd name="connsiteX3" fmla="*/ 714 w 41202"/>
                  <a:gd name="connsiteY3" fmla="*/ 6552 h 12405"/>
                  <a:gd name="connsiteX4" fmla="*/ 24654 w 41202"/>
                  <a:gd name="connsiteY4" fmla="*/ 118 h 124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202" h="12405">
                    <a:moveTo>
                      <a:pt x="24654" y="73"/>
                    </a:moveTo>
                    <a:cubicBezTo>
                      <a:pt x="34764" y="716"/>
                      <a:pt x="42530" y="3197"/>
                      <a:pt x="41013" y="5633"/>
                    </a:cubicBezTo>
                    <a:cubicBezTo>
                      <a:pt x="39681" y="7746"/>
                      <a:pt x="28928" y="10917"/>
                      <a:pt x="17073" y="12066"/>
                    </a:cubicBezTo>
                    <a:cubicBezTo>
                      <a:pt x="5539" y="13169"/>
                      <a:pt x="-2503" y="11652"/>
                      <a:pt x="714" y="6552"/>
                    </a:cubicBezTo>
                    <a:cubicBezTo>
                      <a:pt x="3747" y="1773"/>
                      <a:pt x="14269" y="-571"/>
                      <a:pt x="24654" y="118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812" name="Forma livre: Forma 1811">
                <a:extLst>
                  <a:ext uri="{FF2B5EF4-FFF2-40B4-BE49-F238E27FC236}">
                    <a16:creationId xmlns:a16="http://schemas.microsoft.com/office/drawing/2014/main" id="{DC2B7978-5BA3-2DC2-0C02-DAE0B3775F69}"/>
                  </a:ext>
                </a:extLst>
              </p:cNvPr>
              <p:cNvSpPr/>
              <p:nvPr/>
            </p:nvSpPr>
            <p:spPr>
              <a:xfrm>
                <a:off x="3991135" y="5872274"/>
                <a:ext cx="41203" cy="12418"/>
              </a:xfrm>
              <a:custGeom>
                <a:avLst/>
                <a:gdLst>
                  <a:gd name="connsiteX0" fmla="*/ 16548 w 41203"/>
                  <a:gd name="connsiteY0" fmla="*/ 12300 h 12418"/>
                  <a:gd name="connsiteX1" fmla="*/ 190 w 41203"/>
                  <a:gd name="connsiteY1" fmla="*/ 6786 h 12418"/>
                  <a:gd name="connsiteX2" fmla="*/ 24131 w 41203"/>
                  <a:gd name="connsiteY2" fmla="*/ 353 h 12418"/>
                  <a:gd name="connsiteX3" fmla="*/ 40489 w 41203"/>
                  <a:gd name="connsiteY3" fmla="*/ 5867 h 12418"/>
                  <a:gd name="connsiteX4" fmla="*/ 16548 w 41203"/>
                  <a:gd name="connsiteY4" fmla="*/ 12300 h 124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203" h="12418">
                    <a:moveTo>
                      <a:pt x="16548" y="12300"/>
                    </a:moveTo>
                    <a:cubicBezTo>
                      <a:pt x="6439" y="11657"/>
                      <a:pt x="-1327" y="9176"/>
                      <a:pt x="190" y="6786"/>
                    </a:cubicBezTo>
                    <a:cubicBezTo>
                      <a:pt x="1522" y="4672"/>
                      <a:pt x="12275" y="1502"/>
                      <a:pt x="24131" y="353"/>
                    </a:cubicBezTo>
                    <a:cubicBezTo>
                      <a:pt x="35664" y="-796"/>
                      <a:pt x="43706" y="812"/>
                      <a:pt x="40489" y="5867"/>
                    </a:cubicBezTo>
                    <a:cubicBezTo>
                      <a:pt x="37456" y="10646"/>
                      <a:pt x="26934" y="12990"/>
                      <a:pt x="16548" y="12300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813" name="Gráfico 24">
              <a:extLst>
                <a:ext uri="{FF2B5EF4-FFF2-40B4-BE49-F238E27FC236}">
                  <a16:creationId xmlns:a16="http://schemas.microsoft.com/office/drawing/2014/main" id="{D2E331C2-F1C8-A318-5702-BE7FC78F9EF2}"/>
                </a:ext>
              </a:extLst>
            </p:cNvPr>
            <p:cNvGrpSpPr/>
            <p:nvPr/>
          </p:nvGrpSpPr>
          <p:grpSpPr>
            <a:xfrm>
              <a:off x="3984808" y="5768546"/>
              <a:ext cx="78513" cy="33337"/>
              <a:chOff x="3984808" y="5768546"/>
              <a:chExt cx="78513" cy="33337"/>
            </a:xfrm>
            <a:solidFill>
              <a:srgbClr val="39434E"/>
            </a:solidFill>
          </p:grpSpPr>
          <p:sp>
            <p:nvSpPr>
              <p:cNvPr id="1814" name="Forma livre: Forma 1813">
                <a:extLst>
                  <a:ext uri="{FF2B5EF4-FFF2-40B4-BE49-F238E27FC236}">
                    <a16:creationId xmlns:a16="http://schemas.microsoft.com/office/drawing/2014/main" id="{070DD934-98A9-6437-1A2C-3196AB42FB32}"/>
                  </a:ext>
                </a:extLst>
              </p:cNvPr>
              <p:cNvSpPr/>
              <p:nvPr/>
            </p:nvSpPr>
            <p:spPr>
              <a:xfrm>
                <a:off x="4021620" y="5768546"/>
                <a:ext cx="4849" cy="23940"/>
              </a:xfrm>
              <a:custGeom>
                <a:avLst/>
                <a:gdLst>
                  <a:gd name="connsiteX0" fmla="*/ 2468 w 4849"/>
                  <a:gd name="connsiteY0" fmla="*/ 23941 h 23940"/>
                  <a:gd name="connsiteX1" fmla="*/ 263 w 4849"/>
                  <a:gd name="connsiteY1" fmla="*/ 12131 h 23940"/>
                  <a:gd name="connsiteX2" fmla="*/ 1641 w 4849"/>
                  <a:gd name="connsiteY2" fmla="*/ 322 h 23940"/>
                  <a:gd name="connsiteX3" fmla="*/ 2422 w 4849"/>
                  <a:gd name="connsiteY3" fmla="*/ 0 h 23940"/>
                  <a:gd name="connsiteX4" fmla="*/ 3020 w 4849"/>
                  <a:gd name="connsiteY4" fmla="*/ 322 h 23940"/>
                  <a:gd name="connsiteX5" fmla="*/ 4582 w 4849"/>
                  <a:gd name="connsiteY5" fmla="*/ 12039 h 23940"/>
                  <a:gd name="connsiteX6" fmla="*/ 2422 w 4849"/>
                  <a:gd name="connsiteY6" fmla="*/ 23895 h 239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849" h="23940">
                    <a:moveTo>
                      <a:pt x="2468" y="23941"/>
                    </a:moveTo>
                    <a:cubicBezTo>
                      <a:pt x="2009" y="23941"/>
                      <a:pt x="722" y="15899"/>
                      <a:pt x="263" y="12131"/>
                    </a:cubicBezTo>
                    <a:cubicBezTo>
                      <a:pt x="-472" y="5974"/>
                      <a:pt x="447" y="1700"/>
                      <a:pt x="1641" y="322"/>
                    </a:cubicBezTo>
                    <a:cubicBezTo>
                      <a:pt x="1825" y="138"/>
                      <a:pt x="1917" y="0"/>
                      <a:pt x="2422" y="0"/>
                    </a:cubicBezTo>
                    <a:cubicBezTo>
                      <a:pt x="2652" y="0"/>
                      <a:pt x="2744" y="0"/>
                      <a:pt x="3020" y="322"/>
                    </a:cubicBezTo>
                    <a:cubicBezTo>
                      <a:pt x="4306" y="1792"/>
                      <a:pt x="5363" y="6112"/>
                      <a:pt x="4582" y="12039"/>
                    </a:cubicBezTo>
                    <a:cubicBezTo>
                      <a:pt x="4077" y="15853"/>
                      <a:pt x="2790" y="23895"/>
                      <a:pt x="2422" y="23895"/>
                    </a:cubicBezTo>
                    <a:close/>
                  </a:path>
                </a:pathLst>
              </a:custGeom>
              <a:solidFill>
                <a:srgbClr val="39434E"/>
              </a:solidFill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815" name="Forma livre: Forma 1814">
                <a:extLst>
                  <a:ext uri="{FF2B5EF4-FFF2-40B4-BE49-F238E27FC236}">
                    <a16:creationId xmlns:a16="http://schemas.microsoft.com/office/drawing/2014/main" id="{A562342F-7FF2-7139-3C34-8F53EBD01C62}"/>
                  </a:ext>
                </a:extLst>
              </p:cNvPr>
              <p:cNvSpPr/>
              <p:nvPr/>
            </p:nvSpPr>
            <p:spPr>
              <a:xfrm>
                <a:off x="4042922" y="5788595"/>
                <a:ext cx="20400" cy="13289"/>
              </a:xfrm>
              <a:custGeom>
                <a:avLst/>
                <a:gdLst>
                  <a:gd name="connsiteX0" fmla="*/ 6 w 20400"/>
                  <a:gd name="connsiteY0" fmla="*/ 13266 h 13289"/>
                  <a:gd name="connsiteX1" fmla="*/ 8829 w 20400"/>
                  <a:gd name="connsiteY1" fmla="*/ 5133 h 13289"/>
                  <a:gd name="connsiteX2" fmla="*/ 19582 w 20400"/>
                  <a:gd name="connsiteY2" fmla="*/ 32 h 13289"/>
                  <a:gd name="connsiteX3" fmla="*/ 20271 w 20400"/>
                  <a:gd name="connsiteY3" fmla="*/ 538 h 13289"/>
                  <a:gd name="connsiteX4" fmla="*/ 20317 w 20400"/>
                  <a:gd name="connsiteY4" fmla="*/ 1227 h 13289"/>
                  <a:gd name="connsiteX5" fmla="*/ 11218 w 20400"/>
                  <a:gd name="connsiteY5" fmla="*/ 8809 h 13289"/>
                  <a:gd name="connsiteX6" fmla="*/ 6 w 20400"/>
                  <a:gd name="connsiteY6" fmla="*/ 13266 h 132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0400" h="13289">
                    <a:moveTo>
                      <a:pt x="6" y="13266"/>
                    </a:moveTo>
                    <a:cubicBezTo>
                      <a:pt x="-224" y="12853"/>
                      <a:pt x="5888" y="7522"/>
                      <a:pt x="8829" y="5133"/>
                    </a:cubicBezTo>
                    <a:cubicBezTo>
                      <a:pt x="13654" y="1227"/>
                      <a:pt x="17790" y="-243"/>
                      <a:pt x="19582" y="32"/>
                    </a:cubicBezTo>
                    <a:cubicBezTo>
                      <a:pt x="19811" y="32"/>
                      <a:pt x="19995" y="78"/>
                      <a:pt x="20271" y="538"/>
                    </a:cubicBezTo>
                    <a:cubicBezTo>
                      <a:pt x="20409" y="722"/>
                      <a:pt x="20455" y="814"/>
                      <a:pt x="20317" y="1227"/>
                    </a:cubicBezTo>
                    <a:cubicBezTo>
                      <a:pt x="19765" y="3111"/>
                      <a:pt x="16687" y="6282"/>
                      <a:pt x="11218" y="8809"/>
                    </a:cubicBezTo>
                    <a:cubicBezTo>
                      <a:pt x="7726" y="10417"/>
                      <a:pt x="236" y="13588"/>
                      <a:pt x="6" y="13266"/>
                    </a:cubicBezTo>
                    <a:close/>
                  </a:path>
                </a:pathLst>
              </a:custGeom>
              <a:solidFill>
                <a:srgbClr val="39434E"/>
              </a:solidFill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816" name="Forma livre: Forma 1815">
                <a:extLst>
                  <a:ext uri="{FF2B5EF4-FFF2-40B4-BE49-F238E27FC236}">
                    <a16:creationId xmlns:a16="http://schemas.microsoft.com/office/drawing/2014/main" id="{DFFAE17D-6D5E-B8BC-F0E1-E4D50572FE7F}"/>
                  </a:ext>
                </a:extLst>
              </p:cNvPr>
              <p:cNvSpPr/>
              <p:nvPr/>
            </p:nvSpPr>
            <p:spPr>
              <a:xfrm>
                <a:off x="3984808" y="5788595"/>
                <a:ext cx="20400" cy="13289"/>
              </a:xfrm>
              <a:custGeom>
                <a:avLst/>
                <a:gdLst>
                  <a:gd name="connsiteX0" fmla="*/ 20394 w 20400"/>
                  <a:gd name="connsiteY0" fmla="*/ 13266 h 13289"/>
                  <a:gd name="connsiteX1" fmla="*/ 11571 w 20400"/>
                  <a:gd name="connsiteY1" fmla="*/ 5133 h 13289"/>
                  <a:gd name="connsiteX2" fmla="*/ 818 w 20400"/>
                  <a:gd name="connsiteY2" fmla="*/ 32 h 13289"/>
                  <a:gd name="connsiteX3" fmla="*/ 129 w 20400"/>
                  <a:gd name="connsiteY3" fmla="*/ 538 h 13289"/>
                  <a:gd name="connsiteX4" fmla="*/ 83 w 20400"/>
                  <a:gd name="connsiteY4" fmla="*/ 1227 h 13289"/>
                  <a:gd name="connsiteX5" fmla="*/ 9182 w 20400"/>
                  <a:gd name="connsiteY5" fmla="*/ 8809 h 13289"/>
                  <a:gd name="connsiteX6" fmla="*/ 20394 w 20400"/>
                  <a:gd name="connsiteY6" fmla="*/ 13266 h 132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0400" h="13289">
                    <a:moveTo>
                      <a:pt x="20394" y="13266"/>
                    </a:moveTo>
                    <a:cubicBezTo>
                      <a:pt x="20624" y="12853"/>
                      <a:pt x="14512" y="7522"/>
                      <a:pt x="11571" y="5133"/>
                    </a:cubicBezTo>
                    <a:cubicBezTo>
                      <a:pt x="6746" y="1227"/>
                      <a:pt x="2610" y="-243"/>
                      <a:pt x="818" y="32"/>
                    </a:cubicBezTo>
                    <a:cubicBezTo>
                      <a:pt x="543" y="32"/>
                      <a:pt x="405" y="78"/>
                      <a:pt x="129" y="538"/>
                    </a:cubicBezTo>
                    <a:cubicBezTo>
                      <a:pt x="-9" y="722"/>
                      <a:pt x="-55" y="814"/>
                      <a:pt x="83" y="1227"/>
                    </a:cubicBezTo>
                    <a:cubicBezTo>
                      <a:pt x="635" y="3111"/>
                      <a:pt x="3713" y="6282"/>
                      <a:pt x="9182" y="8809"/>
                    </a:cubicBezTo>
                    <a:cubicBezTo>
                      <a:pt x="12674" y="10417"/>
                      <a:pt x="20164" y="13588"/>
                      <a:pt x="20394" y="13266"/>
                    </a:cubicBezTo>
                    <a:close/>
                  </a:path>
                </a:pathLst>
              </a:custGeom>
              <a:solidFill>
                <a:srgbClr val="39434E"/>
              </a:solidFill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818" name="Gráfico 25">
            <a:extLst>
              <a:ext uri="{FF2B5EF4-FFF2-40B4-BE49-F238E27FC236}">
                <a16:creationId xmlns:a16="http://schemas.microsoft.com/office/drawing/2014/main" id="{C2028D7F-8721-94C2-FB1E-24CA0BECF346}"/>
              </a:ext>
            </a:extLst>
          </p:cNvPr>
          <p:cNvGrpSpPr/>
          <p:nvPr/>
        </p:nvGrpSpPr>
        <p:grpSpPr>
          <a:xfrm>
            <a:off x="4525448" y="3638745"/>
            <a:ext cx="245743" cy="298220"/>
            <a:chOff x="4525448" y="3638745"/>
            <a:chExt cx="245743" cy="298220"/>
          </a:xfrm>
          <a:noFill/>
        </p:grpSpPr>
        <p:sp>
          <p:nvSpPr>
            <p:cNvPr id="1819" name="Forma livre: Forma 1818">
              <a:extLst>
                <a:ext uri="{FF2B5EF4-FFF2-40B4-BE49-F238E27FC236}">
                  <a16:creationId xmlns:a16="http://schemas.microsoft.com/office/drawing/2014/main" id="{A31A665A-5A6A-F78F-A6B0-1E2EB22789BE}"/>
                </a:ext>
              </a:extLst>
            </p:cNvPr>
            <p:cNvSpPr/>
            <p:nvPr/>
          </p:nvSpPr>
          <p:spPr>
            <a:xfrm>
              <a:off x="4599982" y="3786474"/>
              <a:ext cx="31109" cy="29500"/>
            </a:xfrm>
            <a:custGeom>
              <a:avLst/>
              <a:gdLst>
                <a:gd name="connsiteX0" fmla="*/ 0 w 31109"/>
                <a:gd name="connsiteY0" fmla="*/ 0 h 29500"/>
                <a:gd name="connsiteX1" fmla="*/ 31109 w 31109"/>
                <a:gd name="connsiteY1" fmla="*/ 29501 h 29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1109" h="29500">
                  <a:moveTo>
                    <a:pt x="0" y="0"/>
                  </a:moveTo>
                  <a:cubicBezTo>
                    <a:pt x="0" y="0"/>
                    <a:pt x="25549" y="10753"/>
                    <a:pt x="31109" y="29501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20" name="Forma livre: Forma 1819">
              <a:extLst>
                <a:ext uri="{FF2B5EF4-FFF2-40B4-BE49-F238E27FC236}">
                  <a16:creationId xmlns:a16="http://schemas.microsoft.com/office/drawing/2014/main" id="{F0F8BFC8-96AE-C3E9-FD4F-17DD15A63B7F}"/>
                </a:ext>
              </a:extLst>
            </p:cNvPr>
            <p:cNvSpPr/>
            <p:nvPr/>
          </p:nvSpPr>
          <p:spPr>
            <a:xfrm>
              <a:off x="4634966" y="3638745"/>
              <a:ext cx="136226" cy="135929"/>
            </a:xfrm>
            <a:custGeom>
              <a:avLst/>
              <a:gdLst>
                <a:gd name="connsiteX0" fmla="*/ 3707 w 136226"/>
                <a:gd name="connsiteY0" fmla="*/ 109406 h 135929"/>
                <a:gd name="connsiteX1" fmla="*/ 39825 w 136226"/>
                <a:gd name="connsiteY1" fmla="*/ 21317 h 135929"/>
                <a:gd name="connsiteX2" fmla="*/ 135726 w 136226"/>
                <a:gd name="connsiteY2" fmla="*/ 961 h 135929"/>
                <a:gd name="connsiteX3" fmla="*/ 116288 w 136226"/>
                <a:gd name="connsiteY3" fmla="*/ 96540 h 135929"/>
                <a:gd name="connsiteX4" fmla="*/ 18504 w 136226"/>
                <a:gd name="connsiteY4" fmla="*/ 128200 h 1359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6226" h="135929">
                  <a:moveTo>
                    <a:pt x="3707" y="109406"/>
                  </a:moveTo>
                  <a:cubicBezTo>
                    <a:pt x="-7597" y="81192"/>
                    <a:pt x="7659" y="39422"/>
                    <a:pt x="39825" y="21317"/>
                  </a:cubicBezTo>
                  <a:cubicBezTo>
                    <a:pt x="89636" y="-6713"/>
                    <a:pt x="135726" y="961"/>
                    <a:pt x="135726" y="961"/>
                  </a:cubicBezTo>
                  <a:cubicBezTo>
                    <a:pt x="135726" y="961"/>
                    <a:pt x="141148" y="50726"/>
                    <a:pt x="116288" y="96540"/>
                  </a:cubicBezTo>
                  <a:cubicBezTo>
                    <a:pt x="96483" y="132979"/>
                    <a:pt x="44466" y="145616"/>
                    <a:pt x="18504" y="128200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21" name="Forma livre: Forma 1820">
              <a:extLst>
                <a:ext uri="{FF2B5EF4-FFF2-40B4-BE49-F238E27FC236}">
                  <a16:creationId xmlns:a16="http://schemas.microsoft.com/office/drawing/2014/main" id="{3DF4D68E-F390-29FA-B844-3D4943DD9A4F}"/>
                </a:ext>
              </a:extLst>
            </p:cNvPr>
            <p:cNvSpPr/>
            <p:nvPr/>
          </p:nvSpPr>
          <p:spPr>
            <a:xfrm>
              <a:off x="4525448" y="3756124"/>
              <a:ext cx="73999" cy="42446"/>
            </a:xfrm>
            <a:custGeom>
              <a:avLst/>
              <a:gdLst>
                <a:gd name="connsiteX0" fmla="*/ 73568 w 73999"/>
                <a:gd name="connsiteY0" fmla="*/ 30810 h 42446"/>
                <a:gd name="connsiteX1" fmla="*/ 28858 w 73999"/>
                <a:gd name="connsiteY1" fmla="*/ 36554 h 42446"/>
                <a:gd name="connsiteX2" fmla="*/ 0 w 73999"/>
                <a:gd name="connsiteY2" fmla="*/ 7237 h 42446"/>
                <a:gd name="connsiteX3" fmla="*/ 40391 w 73999"/>
                <a:gd name="connsiteY3" fmla="*/ 252 h 42446"/>
                <a:gd name="connsiteX4" fmla="*/ 73568 w 73999"/>
                <a:gd name="connsiteY4" fmla="*/ 30810 h 424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3999" h="42446">
                  <a:moveTo>
                    <a:pt x="73568" y="30810"/>
                  </a:moveTo>
                  <a:cubicBezTo>
                    <a:pt x="69754" y="43400"/>
                    <a:pt x="45584" y="46479"/>
                    <a:pt x="28858" y="36554"/>
                  </a:cubicBezTo>
                  <a:cubicBezTo>
                    <a:pt x="7260" y="23779"/>
                    <a:pt x="0" y="7237"/>
                    <a:pt x="0" y="7237"/>
                  </a:cubicBezTo>
                  <a:cubicBezTo>
                    <a:pt x="0" y="7237"/>
                    <a:pt x="17599" y="-1586"/>
                    <a:pt x="40391" y="252"/>
                  </a:cubicBezTo>
                  <a:cubicBezTo>
                    <a:pt x="59737" y="1860"/>
                    <a:pt x="76969" y="19597"/>
                    <a:pt x="73568" y="30810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22" name="Forma livre: Forma 1821">
              <a:extLst>
                <a:ext uri="{FF2B5EF4-FFF2-40B4-BE49-F238E27FC236}">
                  <a16:creationId xmlns:a16="http://schemas.microsoft.com/office/drawing/2014/main" id="{1D7B09E0-948F-08B6-EDD8-18E9477E9AF8}"/>
                </a:ext>
              </a:extLst>
            </p:cNvPr>
            <p:cNvSpPr/>
            <p:nvPr/>
          </p:nvSpPr>
          <p:spPr>
            <a:xfrm>
              <a:off x="4604853" y="3900250"/>
              <a:ext cx="103436" cy="36715"/>
            </a:xfrm>
            <a:custGeom>
              <a:avLst/>
              <a:gdLst>
                <a:gd name="connsiteX0" fmla="*/ 103437 w 103436"/>
                <a:gd name="connsiteY0" fmla="*/ 36715 h 36715"/>
                <a:gd name="connsiteX1" fmla="*/ 86021 w 103436"/>
                <a:gd name="connsiteY1" fmla="*/ 12407 h 36715"/>
                <a:gd name="connsiteX2" fmla="*/ 57210 w 103436"/>
                <a:gd name="connsiteY2" fmla="*/ 19529 h 36715"/>
                <a:gd name="connsiteX3" fmla="*/ 57210 w 103436"/>
                <a:gd name="connsiteY3" fmla="*/ 19529 h 36715"/>
                <a:gd name="connsiteX4" fmla="*/ 28536 w 103436"/>
                <a:gd name="connsiteY4" fmla="*/ 0 h 36715"/>
                <a:gd name="connsiteX5" fmla="*/ 0 w 103436"/>
                <a:gd name="connsiteY5" fmla="*/ 19300 h 367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03436" h="36715">
                  <a:moveTo>
                    <a:pt x="103437" y="36715"/>
                  </a:moveTo>
                  <a:cubicBezTo>
                    <a:pt x="103161" y="26146"/>
                    <a:pt x="96590" y="16313"/>
                    <a:pt x="86021" y="12407"/>
                  </a:cubicBezTo>
                  <a:cubicBezTo>
                    <a:pt x="75682" y="8593"/>
                    <a:pt x="64332" y="11947"/>
                    <a:pt x="57210" y="19529"/>
                  </a:cubicBezTo>
                  <a:lnTo>
                    <a:pt x="57210" y="19529"/>
                  </a:lnTo>
                  <a:cubicBezTo>
                    <a:pt x="52706" y="8087"/>
                    <a:pt x="41540" y="0"/>
                    <a:pt x="28536" y="0"/>
                  </a:cubicBezTo>
                  <a:cubicBezTo>
                    <a:pt x="15715" y="0"/>
                    <a:pt x="4733" y="8225"/>
                    <a:pt x="0" y="1930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23" name="Forma livre: Forma 1822">
              <a:extLst>
                <a:ext uri="{FF2B5EF4-FFF2-40B4-BE49-F238E27FC236}">
                  <a16:creationId xmlns:a16="http://schemas.microsoft.com/office/drawing/2014/main" id="{426C7C18-810B-4D72-98DA-E2B52FF940A5}"/>
                </a:ext>
              </a:extLst>
            </p:cNvPr>
            <p:cNvSpPr/>
            <p:nvPr/>
          </p:nvSpPr>
          <p:spPr>
            <a:xfrm>
              <a:off x="4526230" y="3848877"/>
              <a:ext cx="192582" cy="39610"/>
            </a:xfrm>
            <a:custGeom>
              <a:avLst/>
              <a:gdLst>
                <a:gd name="connsiteX0" fmla="*/ 192583 w 192582"/>
                <a:gd name="connsiteY0" fmla="*/ 39426 h 39610"/>
                <a:gd name="connsiteX1" fmla="*/ 168550 w 192582"/>
                <a:gd name="connsiteY1" fmla="*/ 14383 h 39610"/>
                <a:gd name="connsiteX2" fmla="*/ 136660 w 192582"/>
                <a:gd name="connsiteY2" fmla="*/ 27341 h 39610"/>
                <a:gd name="connsiteX3" fmla="*/ 136660 w 192582"/>
                <a:gd name="connsiteY3" fmla="*/ 27341 h 39610"/>
                <a:gd name="connsiteX4" fmla="*/ 96452 w 192582"/>
                <a:gd name="connsiteY4" fmla="*/ 0 h 39610"/>
                <a:gd name="connsiteX5" fmla="*/ 55877 w 192582"/>
                <a:gd name="connsiteY5" fmla="*/ 27479 h 39610"/>
                <a:gd name="connsiteX6" fmla="*/ 55877 w 192582"/>
                <a:gd name="connsiteY6" fmla="*/ 27479 h 39610"/>
                <a:gd name="connsiteX7" fmla="*/ 23987 w 192582"/>
                <a:gd name="connsiteY7" fmla="*/ 14567 h 39610"/>
                <a:gd name="connsiteX8" fmla="*/ 0 w 192582"/>
                <a:gd name="connsiteY8" fmla="*/ 39610 h 396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92582" h="39610">
                  <a:moveTo>
                    <a:pt x="192583" y="39426"/>
                  </a:moveTo>
                  <a:cubicBezTo>
                    <a:pt x="190515" y="27295"/>
                    <a:pt x="181325" y="17094"/>
                    <a:pt x="168550" y="14383"/>
                  </a:cubicBezTo>
                  <a:cubicBezTo>
                    <a:pt x="156051" y="11718"/>
                    <a:pt x="143553" y="17462"/>
                    <a:pt x="136660" y="27341"/>
                  </a:cubicBezTo>
                  <a:lnTo>
                    <a:pt x="136660" y="27341"/>
                  </a:lnTo>
                  <a:cubicBezTo>
                    <a:pt x="130043" y="11672"/>
                    <a:pt x="114511" y="0"/>
                    <a:pt x="96452" y="0"/>
                  </a:cubicBezTo>
                  <a:cubicBezTo>
                    <a:pt x="78393" y="0"/>
                    <a:pt x="62310" y="11396"/>
                    <a:pt x="55877" y="27479"/>
                  </a:cubicBezTo>
                  <a:lnTo>
                    <a:pt x="55877" y="27479"/>
                  </a:lnTo>
                  <a:cubicBezTo>
                    <a:pt x="48938" y="17645"/>
                    <a:pt x="36485" y="11901"/>
                    <a:pt x="23987" y="14567"/>
                  </a:cubicBezTo>
                  <a:cubicBezTo>
                    <a:pt x="11258" y="17324"/>
                    <a:pt x="2022" y="27525"/>
                    <a:pt x="0" y="3961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24" name="Forma livre: Forma 1823">
              <a:extLst>
                <a:ext uri="{FF2B5EF4-FFF2-40B4-BE49-F238E27FC236}">
                  <a16:creationId xmlns:a16="http://schemas.microsoft.com/office/drawing/2014/main" id="{186130A8-1BD8-90F1-513D-56AF020B3674}"/>
                </a:ext>
              </a:extLst>
            </p:cNvPr>
            <p:cNvSpPr/>
            <p:nvPr/>
          </p:nvSpPr>
          <p:spPr>
            <a:xfrm>
              <a:off x="4621533" y="3684830"/>
              <a:ext cx="101874" cy="163265"/>
            </a:xfrm>
            <a:custGeom>
              <a:avLst/>
              <a:gdLst>
                <a:gd name="connsiteX0" fmla="*/ 101874 w 101874"/>
                <a:gd name="connsiteY0" fmla="*/ 0 h 163265"/>
                <a:gd name="connsiteX1" fmla="*/ 0 w 101874"/>
                <a:gd name="connsiteY1" fmla="*/ 163266 h 1632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1874" h="163265">
                  <a:moveTo>
                    <a:pt x="101874" y="0"/>
                  </a:moveTo>
                  <a:cubicBezTo>
                    <a:pt x="101874" y="0"/>
                    <a:pt x="28674" y="48065"/>
                    <a:pt x="0" y="163266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825" name="Gráfico 25">
            <a:extLst>
              <a:ext uri="{FF2B5EF4-FFF2-40B4-BE49-F238E27FC236}">
                <a16:creationId xmlns:a16="http://schemas.microsoft.com/office/drawing/2014/main" id="{5EF40338-09FC-FB1D-EB01-F4CBA16F6725}"/>
              </a:ext>
            </a:extLst>
          </p:cNvPr>
          <p:cNvGrpSpPr/>
          <p:nvPr/>
        </p:nvGrpSpPr>
        <p:grpSpPr>
          <a:xfrm>
            <a:off x="4528941" y="4148205"/>
            <a:ext cx="238764" cy="293767"/>
            <a:chOff x="4528941" y="4148205"/>
            <a:chExt cx="238764" cy="293767"/>
          </a:xfrm>
          <a:noFill/>
        </p:grpSpPr>
        <p:sp>
          <p:nvSpPr>
            <p:cNvPr id="1826" name="Forma livre: Forma 1825">
              <a:extLst>
                <a:ext uri="{FF2B5EF4-FFF2-40B4-BE49-F238E27FC236}">
                  <a16:creationId xmlns:a16="http://schemas.microsoft.com/office/drawing/2014/main" id="{59954E69-2703-0006-2ABC-7F40AEE5AF64}"/>
                </a:ext>
              </a:extLst>
            </p:cNvPr>
            <p:cNvSpPr/>
            <p:nvPr/>
          </p:nvSpPr>
          <p:spPr>
            <a:xfrm>
              <a:off x="4714401" y="4311149"/>
              <a:ext cx="53303" cy="126090"/>
            </a:xfrm>
            <a:custGeom>
              <a:avLst/>
              <a:gdLst>
                <a:gd name="connsiteX0" fmla="*/ 0 w 53303"/>
                <a:gd name="connsiteY0" fmla="*/ 0 h 126090"/>
                <a:gd name="connsiteX1" fmla="*/ 27249 w 53303"/>
                <a:gd name="connsiteY1" fmla="*/ 0 h 126090"/>
                <a:gd name="connsiteX2" fmla="*/ 53304 w 53303"/>
                <a:gd name="connsiteY2" fmla="*/ 26054 h 126090"/>
                <a:gd name="connsiteX3" fmla="*/ 53304 w 53303"/>
                <a:gd name="connsiteY3" fmla="*/ 126091 h 1260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3303" h="126090">
                  <a:moveTo>
                    <a:pt x="0" y="0"/>
                  </a:moveTo>
                  <a:lnTo>
                    <a:pt x="27249" y="0"/>
                  </a:lnTo>
                  <a:cubicBezTo>
                    <a:pt x="41586" y="0"/>
                    <a:pt x="53304" y="11718"/>
                    <a:pt x="53304" y="26054"/>
                  </a:cubicBezTo>
                  <a:lnTo>
                    <a:pt x="53304" y="126091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27" name="Forma livre: Forma 1826">
              <a:extLst>
                <a:ext uri="{FF2B5EF4-FFF2-40B4-BE49-F238E27FC236}">
                  <a16:creationId xmlns:a16="http://schemas.microsoft.com/office/drawing/2014/main" id="{B95CC8BE-9D0D-832C-2641-9F303DC376A7}"/>
                </a:ext>
              </a:extLst>
            </p:cNvPr>
            <p:cNvSpPr/>
            <p:nvPr/>
          </p:nvSpPr>
          <p:spPr>
            <a:xfrm>
              <a:off x="4718215" y="4363074"/>
              <a:ext cx="14520" cy="73935"/>
            </a:xfrm>
            <a:custGeom>
              <a:avLst/>
              <a:gdLst>
                <a:gd name="connsiteX0" fmla="*/ 0 w 14520"/>
                <a:gd name="connsiteY0" fmla="*/ 0 h 73935"/>
                <a:gd name="connsiteX1" fmla="*/ 14521 w 14520"/>
                <a:gd name="connsiteY1" fmla="*/ 0 h 73935"/>
                <a:gd name="connsiteX2" fmla="*/ 14521 w 14520"/>
                <a:gd name="connsiteY2" fmla="*/ 73936 h 739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4520" h="73935">
                  <a:moveTo>
                    <a:pt x="0" y="0"/>
                  </a:moveTo>
                  <a:lnTo>
                    <a:pt x="14521" y="0"/>
                  </a:lnTo>
                  <a:lnTo>
                    <a:pt x="14521" y="73936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28" name="Forma livre: Forma 1827">
              <a:extLst>
                <a:ext uri="{FF2B5EF4-FFF2-40B4-BE49-F238E27FC236}">
                  <a16:creationId xmlns:a16="http://schemas.microsoft.com/office/drawing/2014/main" id="{BD4B31E4-6BFB-B077-6B73-0BA8B302C9CD}"/>
                </a:ext>
              </a:extLst>
            </p:cNvPr>
            <p:cNvSpPr/>
            <p:nvPr/>
          </p:nvSpPr>
          <p:spPr>
            <a:xfrm>
              <a:off x="4732736" y="4363074"/>
              <a:ext cx="4595" cy="73935"/>
            </a:xfrm>
            <a:custGeom>
              <a:avLst/>
              <a:gdLst>
                <a:gd name="connsiteX0" fmla="*/ 0 w 4595"/>
                <a:gd name="connsiteY0" fmla="*/ 0 h 73935"/>
                <a:gd name="connsiteX1" fmla="*/ 0 w 4595"/>
                <a:gd name="connsiteY1" fmla="*/ 73936 h 739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595" h="73935">
                  <a:moveTo>
                    <a:pt x="0" y="0"/>
                  </a:moveTo>
                  <a:lnTo>
                    <a:pt x="0" y="73936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29" name="Forma livre: Forma 1828">
              <a:extLst>
                <a:ext uri="{FF2B5EF4-FFF2-40B4-BE49-F238E27FC236}">
                  <a16:creationId xmlns:a16="http://schemas.microsoft.com/office/drawing/2014/main" id="{D63B7EFA-9029-690B-A9A0-7B053FB66B38}"/>
                </a:ext>
              </a:extLst>
            </p:cNvPr>
            <p:cNvSpPr/>
            <p:nvPr/>
          </p:nvSpPr>
          <p:spPr>
            <a:xfrm>
              <a:off x="4528941" y="4148205"/>
              <a:ext cx="107480" cy="143001"/>
            </a:xfrm>
            <a:custGeom>
              <a:avLst/>
              <a:gdLst>
                <a:gd name="connsiteX0" fmla="*/ 32672 w 107480"/>
                <a:gd name="connsiteY0" fmla="*/ 142817 h 143001"/>
                <a:gd name="connsiteX1" fmla="*/ 0 w 107480"/>
                <a:gd name="connsiteY1" fmla="*/ 142817 h 143001"/>
                <a:gd name="connsiteX2" fmla="*/ 0 w 107480"/>
                <a:gd name="connsiteY2" fmla="*/ 57118 h 143001"/>
                <a:gd name="connsiteX3" fmla="*/ 53809 w 107480"/>
                <a:gd name="connsiteY3" fmla="*/ 0 h 143001"/>
                <a:gd name="connsiteX4" fmla="*/ 53671 w 107480"/>
                <a:gd name="connsiteY4" fmla="*/ 0 h 143001"/>
                <a:gd name="connsiteX5" fmla="*/ 107481 w 107480"/>
                <a:gd name="connsiteY5" fmla="*/ 57118 h 143001"/>
                <a:gd name="connsiteX6" fmla="*/ 107481 w 107480"/>
                <a:gd name="connsiteY6" fmla="*/ 142863 h 143001"/>
                <a:gd name="connsiteX7" fmla="*/ 56566 w 107480"/>
                <a:gd name="connsiteY7" fmla="*/ 143001 h 1430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07480" h="143001">
                  <a:moveTo>
                    <a:pt x="32672" y="142817"/>
                  </a:moveTo>
                  <a:lnTo>
                    <a:pt x="0" y="142817"/>
                  </a:lnTo>
                  <a:cubicBezTo>
                    <a:pt x="0" y="142817"/>
                    <a:pt x="0" y="76279"/>
                    <a:pt x="0" y="57118"/>
                  </a:cubicBezTo>
                  <a:cubicBezTo>
                    <a:pt x="0" y="30190"/>
                    <a:pt x="41632" y="0"/>
                    <a:pt x="53809" y="0"/>
                  </a:cubicBezTo>
                  <a:lnTo>
                    <a:pt x="53671" y="0"/>
                  </a:lnTo>
                  <a:cubicBezTo>
                    <a:pt x="65849" y="0"/>
                    <a:pt x="107481" y="30236"/>
                    <a:pt x="107481" y="57118"/>
                  </a:cubicBezTo>
                  <a:lnTo>
                    <a:pt x="107481" y="142863"/>
                  </a:lnTo>
                  <a:lnTo>
                    <a:pt x="56566" y="143001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30" name="Forma livre: Forma 1829">
              <a:extLst>
                <a:ext uri="{FF2B5EF4-FFF2-40B4-BE49-F238E27FC236}">
                  <a16:creationId xmlns:a16="http://schemas.microsoft.com/office/drawing/2014/main" id="{9001439F-1E47-058A-E3C0-449FCFD1B762}"/>
                </a:ext>
              </a:extLst>
            </p:cNvPr>
            <p:cNvSpPr/>
            <p:nvPr/>
          </p:nvSpPr>
          <p:spPr>
            <a:xfrm>
              <a:off x="4583347" y="4257983"/>
              <a:ext cx="4595" cy="52430"/>
            </a:xfrm>
            <a:custGeom>
              <a:avLst/>
              <a:gdLst>
                <a:gd name="connsiteX0" fmla="*/ 0 w 4595"/>
                <a:gd name="connsiteY0" fmla="*/ 0 h 52430"/>
                <a:gd name="connsiteX1" fmla="*/ 0 w 4595"/>
                <a:gd name="connsiteY1" fmla="*/ 52431 h 524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595" h="52430">
                  <a:moveTo>
                    <a:pt x="0" y="0"/>
                  </a:moveTo>
                  <a:lnTo>
                    <a:pt x="0" y="52431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31" name="Forma livre: Forma 1830">
              <a:extLst>
                <a:ext uri="{FF2B5EF4-FFF2-40B4-BE49-F238E27FC236}">
                  <a16:creationId xmlns:a16="http://schemas.microsoft.com/office/drawing/2014/main" id="{F984223B-82A8-06BA-3821-34E80F23EEAB}"/>
                </a:ext>
              </a:extLst>
            </p:cNvPr>
            <p:cNvSpPr/>
            <p:nvPr/>
          </p:nvSpPr>
          <p:spPr>
            <a:xfrm>
              <a:off x="4583347" y="4294330"/>
              <a:ext cx="4595" cy="29087"/>
            </a:xfrm>
            <a:custGeom>
              <a:avLst/>
              <a:gdLst>
                <a:gd name="connsiteX0" fmla="*/ 0 w 4595"/>
                <a:gd name="connsiteY0" fmla="*/ 0 h 29087"/>
                <a:gd name="connsiteX1" fmla="*/ 0 w 4595"/>
                <a:gd name="connsiteY1" fmla="*/ 29087 h 290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595" h="29087">
                  <a:moveTo>
                    <a:pt x="0" y="0"/>
                  </a:moveTo>
                  <a:lnTo>
                    <a:pt x="0" y="29087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32" name="Forma livre: Forma 1831">
              <a:extLst>
                <a:ext uri="{FF2B5EF4-FFF2-40B4-BE49-F238E27FC236}">
                  <a16:creationId xmlns:a16="http://schemas.microsoft.com/office/drawing/2014/main" id="{FCE2B2FD-81E2-D04B-7A2D-5BCF2362C724}"/>
                </a:ext>
              </a:extLst>
            </p:cNvPr>
            <p:cNvSpPr/>
            <p:nvPr/>
          </p:nvSpPr>
          <p:spPr>
            <a:xfrm>
              <a:off x="4559772" y="4345168"/>
              <a:ext cx="46145" cy="96804"/>
            </a:xfrm>
            <a:custGeom>
              <a:avLst/>
              <a:gdLst>
                <a:gd name="connsiteX0" fmla="*/ 46138 w 46145"/>
                <a:gd name="connsiteY0" fmla="*/ 82008 h 96804"/>
                <a:gd name="connsiteX1" fmla="*/ 46138 w 46145"/>
                <a:gd name="connsiteY1" fmla="*/ 81824 h 96804"/>
                <a:gd name="connsiteX2" fmla="*/ 46138 w 46145"/>
                <a:gd name="connsiteY2" fmla="*/ 81640 h 96804"/>
                <a:gd name="connsiteX3" fmla="*/ 46138 w 46145"/>
                <a:gd name="connsiteY3" fmla="*/ 53380 h 96804"/>
                <a:gd name="connsiteX4" fmla="*/ 39337 w 46145"/>
                <a:gd name="connsiteY4" fmla="*/ 6188 h 96804"/>
                <a:gd name="connsiteX5" fmla="*/ 32536 w 46145"/>
                <a:gd name="connsiteY5" fmla="*/ 30 h 96804"/>
                <a:gd name="connsiteX6" fmla="*/ 13604 w 46145"/>
                <a:gd name="connsiteY6" fmla="*/ 30 h 96804"/>
                <a:gd name="connsiteX7" fmla="*/ 6803 w 46145"/>
                <a:gd name="connsiteY7" fmla="*/ 6188 h 96804"/>
                <a:gd name="connsiteX8" fmla="*/ 3 w 46145"/>
                <a:gd name="connsiteY8" fmla="*/ 53380 h 96804"/>
                <a:gd name="connsiteX9" fmla="*/ 3 w 46145"/>
                <a:gd name="connsiteY9" fmla="*/ 81640 h 96804"/>
                <a:gd name="connsiteX10" fmla="*/ 3 w 46145"/>
                <a:gd name="connsiteY10" fmla="*/ 81824 h 96804"/>
                <a:gd name="connsiteX11" fmla="*/ 3 w 46145"/>
                <a:gd name="connsiteY11" fmla="*/ 82008 h 96804"/>
                <a:gd name="connsiteX12" fmla="*/ 23070 w 46145"/>
                <a:gd name="connsiteY12" fmla="*/ 96804 h 96804"/>
                <a:gd name="connsiteX13" fmla="*/ 23116 w 46145"/>
                <a:gd name="connsiteY13" fmla="*/ 96804 h 96804"/>
                <a:gd name="connsiteX14" fmla="*/ 23116 w 46145"/>
                <a:gd name="connsiteY14" fmla="*/ 96804 h 96804"/>
                <a:gd name="connsiteX15" fmla="*/ 46138 w 46145"/>
                <a:gd name="connsiteY15" fmla="*/ 82054 h 968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6145" h="96804">
                  <a:moveTo>
                    <a:pt x="46138" y="82008"/>
                  </a:moveTo>
                  <a:lnTo>
                    <a:pt x="46138" y="81824"/>
                  </a:lnTo>
                  <a:cubicBezTo>
                    <a:pt x="46138" y="81824"/>
                    <a:pt x="46138" y="81732"/>
                    <a:pt x="46138" y="81640"/>
                  </a:cubicBezTo>
                  <a:lnTo>
                    <a:pt x="46138" y="53380"/>
                  </a:lnTo>
                  <a:cubicBezTo>
                    <a:pt x="46138" y="34494"/>
                    <a:pt x="39337" y="6188"/>
                    <a:pt x="39337" y="6188"/>
                  </a:cubicBezTo>
                  <a:cubicBezTo>
                    <a:pt x="38050" y="-797"/>
                    <a:pt x="32536" y="30"/>
                    <a:pt x="32536" y="30"/>
                  </a:cubicBezTo>
                  <a:lnTo>
                    <a:pt x="13604" y="30"/>
                  </a:lnTo>
                  <a:cubicBezTo>
                    <a:pt x="13604" y="30"/>
                    <a:pt x="8044" y="-797"/>
                    <a:pt x="6803" y="6188"/>
                  </a:cubicBezTo>
                  <a:cubicBezTo>
                    <a:pt x="6803" y="6188"/>
                    <a:pt x="3" y="34494"/>
                    <a:pt x="3" y="53380"/>
                  </a:cubicBezTo>
                  <a:lnTo>
                    <a:pt x="3" y="81640"/>
                  </a:lnTo>
                  <a:cubicBezTo>
                    <a:pt x="3" y="81640"/>
                    <a:pt x="3" y="81824"/>
                    <a:pt x="3" y="81824"/>
                  </a:cubicBezTo>
                  <a:cubicBezTo>
                    <a:pt x="3" y="81824"/>
                    <a:pt x="3" y="81870"/>
                    <a:pt x="3" y="82008"/>
                  </a:cubicBezTo>
                  <a:cubicBezTo>
                    <a:pt x="-43" y="83662"/>
                    <a:pt x="278" y="96758"/>
                    <a:pt x="23070" y="96804"/>
                  </a:cubicBezTo>
                  <a:cubicBezTo>
                    <a:pt x="23070" y="96804"/>
                    <a:pt x="23070" y="96804"/>
                    <a:pt x="23116" y="96804"/>
                  </a:cubicBezTo>
                  <a:cubicBezTo>
                    <a:pt x="23116" y="96804"/>
                    <a:pt x="23116" y="96804"/>
                    <a:pt x="23116" y="96804"/>
                  </a:cubicBezTo>
                  <a:cubicBezTo>
                    <a:pt x="45908" y="96804"/>
                    <a:pt x="46230" y="83662"/>
                    <a:pt x="46138" y="82054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33" name="Forma livre: Forma 1832">
              <a:extLst>
                <a:ext uri="{FF2B5EF4-FFF2-40B4-BE49-F238E27FC236}">
                  <a16:creationId xmlns:a16="http://schemas.microsoft.com/office/drawing/2014/main" id="{7513993E-CB47-948E-05CD-DC8C87652EEB}"/>
                </a:ext>
              </a:extLst>
            </p:cNvPr>
            <p:cNvSpPr/>
            <p:nvPr/>
          </p:nvSpPr>
          <p:spPr>
            <a:xfrm>
              <a:off x="4714217" y="4293917"/>
              <a:ext cx="4595" cy="36944"/>
            </a:xfrm>
            <a:custGeom>
              <a:avLst/>
              <a:gdLst>
                <a:gd name="connsiteX0" fmla="*/ 0 w 4595"/>
                <a:gd name="connsiteY0" fmla="*/ 36945 h 36944"/>
                <a:gd name="connsiteX1" fmla="*/ 0 w 4595"/>
                <a:gd name="connsiteY1" fmla="*/ 0 h 36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595" h="36944">
                  <a:moveTo>
                    <a:pt x="0" y="36945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34" name="Forma livre: Forma 1833">
              <a:extLst>
                <a:ext uri="{FF2B5EF4-FFF2-40B4-BE49-F238E27FC236}">
                  <a16:creationId xmlns:a16="http://schemas.microsoft.com/office/drawing/2014/main" id="{F02BDAF0-185C-F553-6BC3-1314E14DCE92}"/>
                </a:ext>
              </a:extLst>
            </p:cNvPr>
            <p:cNvSpPr/>
            <p:nvPr/>
          </p:nvSpPr>
          <p:spPr>
            <a:xfrm>
              <a:off x="4714217" y="4279396"/>
              <a:ext cx="4595" cy="24124"/>
            </a:xfrm>
            <a:custGeom>
              <a:avLst/>
              <a:gdLst>
                <a:gd name="connsiteX0" fmla="*/ 0 w 4595"/>
                <a:gd name="connsiteY0" fmla="*/ 24125 h 24124"/>
                <a:gd name="connsiteX1" fmla="*/ 0 w 4595"/>
                <a:gd name="connsiteY1" fmla="*/ 0 h 241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595" h="24124">
                  <a:moveTo>
                    <a:pt x="0" y="24125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35" name="Forma livre: Forma 1834">
              <a:extLst>
                <a:ext uri="{FF2B5EF4-FFF2-40B4-BE49-F238E27FC236}">
                  <a16:creationId xmlns:a16="http://schemas.microsoft.com/office/drawing/2014/main" id="{49172BFD-4E3A-3B85-464B-6C1261EEA05A}"/>
                </a:ext>
              </a:extLst>
            </p:cNvPr>
            <p:cNvSpPr/>
            <p:nvPr/>
          </p:nvSpPr>
          <p:spPr>
            <a:xfrm>
              <a:off x="4690590" y="4160198"/>
              <a:ext cx="46145" cy="96804"/>
            </a:xfrm>
            <a:custGeom>
              <a:avLst/>
              <a:gdLst>
                <a:gd name="connsiteX0" fmla="*/ 8 w 46145"/>
                <a:gd name="connsiteY0" fmla="*/ 14796 h 96804"/>
                <a:gd name="connsiteX1" fmla="*/ 8 w 46145"/>
                <a:gd name="connsiteY1" fmla="*/ 14980 h 96804"/>
                <a:gd name="connsiteX2" fmla="*/ 8 w 46145"/>
                <a:gd name="connsiteY2" fmla="*/ 15164 h 96804"/>
                <a:gd name="connsiteX3" fmla="*/ 8 w 46145"/>
                <a:gd name="connsiteY3" fmla="*/ 43424 h 96804"/>
                <a:gd name="connsiteX4" fmla="*/ 6809 w 46145"/>
                <a:gd name="connsiteY4" fmla="*/ 90616 h 96804"/>
                <a:gd name="connsiteX5" fmla="*/ 13610 w 46145"/>
                <a:gd name="connsiteY5" fmla="*/ 96774 h 96804"/>
                <a:gd name="connsiteX6" fmla="*/ 32542 w 46145"/>
                <a:gd name="connsiteY6" fmla="*/ 96774 h 96804"/>
                <a:gd name="connsiteX7" fmla="*/ 39342 w 46145"/>
                <a:gd name="connsiteY7" fmla="*/ 90616 h 96804"/>
                <a:gd name="connsiteX8" fmla="*/ 46143 w 46145"/>
                <a:gd name="connsiteY8" fmla="*/ 43424 h 96804"/>
                <a:gd name="connsiteX9" fmla="*/ 46143 w 46145"/>
                <a:gd name="connsiteY9" fmla="*/ 15164 h 96804"/>
                <a:gd name="connsiteX10" fmla="*/ 46143 w 46145"/>
                <a:gd name="connsiteY10" fmla="*/ 14980 h 96804"/>
                <a:gd name="connsiteX11" fmla="*/ 46143 w 46145"/>
                <a:gd name="connsiteY11" fmla="*/ 14796 h 96804"/>
                <a:gd name="connsiteX12" fmla="*/ 23076 w 46145"/>
                <a:gd name="connsiteY12" fmla="*/ 0 h 96804"/>
                <a:gd name="connsiteX13" fmla="*/ 23030 w 46145"/>
                <a:gd name="connsiteY13" fmla="*/ 0 h 96804"/>
                <a:gd name="connsiteX14" fmla="*/ 23030 w 46145"/>
                <a:gd name="connsiteY14" fmla="*/ 0 h 96804"/>
                <a:gd name="connsiteX15" fmla="*/ 8 w 46145"/>
                <a:gd name="connsiteY15" fmla="*/ 14750 h 968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6145" h="96804">
                  <a:moveTo>
                    <a:pt x="8" y="14796"/>
                  </a:moveTo>
                  <a:lnTo>
                    <a:pt x="8" y="14980"/>
                  </a:lnTo>
                  <a:cubicBezTo>
                    <a:pt x="8" y="14980"/>
                    <a:pt x="8" y="15072"/>
                    <a:pt x="8" y="15164"/>
                  </a:cubicBezTo>
                  <a:lnTo>
                    <a:pt x="8" y="43424"/>
                  </a:lnTo>
                  <a:cubicBezTo>
                    <a:pt x="8" y="62310"/>
                    <a:pt x="6809" y="90616"/>
                    <a:pt x="6809" y="90616"/>
                  </a:cubicBezTo>
                  <a:cubicBezTo>
                    <a:pt x="8095" y="97601"/>
                    <a:pt x="13610" y="96774"/>
                    <a:pt x="13610" y="96774"/>
                  </a:cubicBezTo>
                  <a:lnTo>
                    <a:pt x="32542" y="96774"/>
                  </a:lnTo>
                  <a:cubicBezTo>
                    <a:pt x="32542" y="96774"/>
                    <a:pt x="38056" y="97601"/>
                    <a:pt x="39342" y="90616"/>
                  </a:cubicBezTo>
                  <a:cubicBezTo>
                    <a:pt x="39342" y="90616"/>
                    <a:pt x="46143" y="62310"/>
                    <a:pt x="46143" y="43424"/>
                  </a:cubicBezTo>
                  <a:lnTo>
                    <a:pt x="46143" y="15164"/>
                  </a:lnTo>
                  <a:cubicBezTo>
                    <a:pt x="46143" y="15164"/>
                    <a:pt x="46143" y="14980"/>
                    <a:pt x="46143" y="14980"/>
                  </a:cubicBezTo>
                  <a:cubicBezTo>
                    <a:pt x="46143" y="14980"/>
                    <a:pt x="46143" y="14934"/>
                    <a:pt x="46143" y="14796"/>
                  </a:cubicBezTo>
                  <a:cubicBezTo>
                    <a:pt x="46189" y="13142"/>
                    <a:pt x="45868" y="46"/>
                    <a:pt x="23076" y="0"/>
                  </a:cubicBezTo>
                  <a:cubicBezTo>
                    <a:pt x="23076" y="0"/>
                    <a:pt x="23076" y="0"/>
                    <a:pt x="23030" y="0"/>
                  </a:cubicBezTo>
                  <a:cubicBezTo>
                    <a:pt x="23030" y="0"/>
                    <a:pt x="23030" y="0"/>
                    <a:pt x="23030" y="0"/>
                  </a:cubicBezTo>
                  <a:cubicBezTo>
                    <a:pt x="238" y="0"/>
                    <a:pt x="-84" y="13142"/>
                    <a:pt x="8" y="14750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36" name="Forma livre: Forma 1835">
              <a:extLst>
                <a:ext uri="{FF2B5EF4-FFF2-40B4-BE49-F238E27FC236}">
                  <a16:creationId xmlns:a16="http://schemas.microsoft.com/office/drawing/2014/main" id="{1B7B708D-0E8E-BDA4-8D80-2B7557138EBF}"/>
                </a:ext>
              </a:extLst>
            </p:cNvPr>
            <p:cNvSpPr/>
            <p:nvPr/>
          </p:nvSpPr>
          <p:spPr>
            <a:xfrm>
              <a:off x="4682051" y="4363074"/>
              <a:ext cx="14244" cy="73935"/>
            </a:xfrm>
            <a:custGeom>
              <a:avLst/>
              <a:gdLst>
                <a:gd name="connsiteX0" fmla="*/ 0 w 14244"/>
                <a:gd name="connsiteY0" fmla="*/ 0 h 73935"/>
                <a:gd name="connsiteX1" fmla="*/ 14245 w 14244"/>
                <a:gd name="connsiteY1" fmla="*/ 0 h 73935"/>
                <a:gd name="connsiteX2" fmla="*/ 14245 w 14244"/>
                <a:gd name="connsiteY2" fmla="*/ 73936 h 739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4244" h="73935">
                  <a:moveTo>
                    <a:pt x="0" y="0"/>
                  </a:moveTo>
                  <a:lnTo>
                    <a:pt x="14245" y="0"/>
                  </a:lnTo>
                  <a:lnTo>
                    <a:pt x="14245" y="73936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37" name="Forma livre: Forma 1836">
              <a:extLst>
                <a:ext uri="{FF2B5EF4-FFF2-40B4-BE49-F238E27FC236}">
                  <a16:creationId xmlns:a16="http://schemas.microsoft.com/office/drawing/2014/main" id="{5EAE1502-6C92-7FCD-063B-7C39942E9724}"/>
                </a:ext>
              </a:extLst>
            </p:cNvPr>
            <p:cNvSpPr/>
            <p:nvPr/>
          </p:nvSpPr>
          <p:spPr>
            <a:xfrm>
              <a:off x="4696296" y="4363074"/>
              <a:ext cx="4595" cy="73935"/>
            </a:xfrm>
            <a:custGeom>
              <a:avLst/>
              <a:gdLst>
                <a:gd name="connsiteX0" fmla="*/ 0 w 4595"/>
                <a:gd name="connsiteY0" fmla="*/ 0 h 73935"/>
                <a:gd name="connsiteX1" fmla="*/ 0 w 4595"/>
                <a:gd name="connsiteY1" fmla="*/ 73936 h 739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595" h="73935">
                  <a:moveTo>
                    <a:pt x="0" y="0"/>
                  </a:moveTo>
                  <a:lnTo>
                    <a:pt x="0" y="73936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38" name="Forma livre: Forma 1837">
              <a:extLst>
                <a:ext uri="{FF2B5EF4-FFF2-40B4-BE49-F238E27FC236}">
                  <a16:creationId xmlns:a16="http://schemas.microsoft.com/office/drawing/2014/main" id="{0674CC44-DCDB-5D76-B845-097EAE06AB12}"/>
                </a:ext>
              </a:extLst>
            </p:cNvPr>
            <p:cNvSpPr/>
            <p:nvPr/>
          </p:nvSpPr>
          <p:spPr>
            <a:xfrm>
              <a:off x="4660040" y="4311194"/>
              <a:ext cx="32120" cy="126090"/>
            </a:xfrm>
            <a:custGeom>
              <a:avLst/>
              <a:gdLst>
                <a:gd name="connsiteX0" fmla="*/ 0 w 32120"/>
                <a:gd name="connsiteY0" fmla="*/ 126091 h 126090"/>
                <a:gd name="connsiteX1" fmla="*/ 0 w 32120"/>
                <a:gd name="connsiteY1" fmla="*/ 26054 h 126090"/>
                <a:gd name="connsiteX2" fmla="*/ 26054 w 32120"/>
                <a:gd name="connsiteY2" fmla="*/ 0 h 126090"/>
                <a:gd name="connsiteX3" fmla="*/ 32120 w 32120"/>
                <a:gd name="connsiteY3" fmla="*/ 0 h 1260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2120" h="126090">
                  <a:moveTo>
                    <a:pt x="0" y="126091"/>
                  </a:moveTo>
                  <a:lnTo>
                    <a:pt x="0" y="26054"/>
                  </a:lnTo>
                  <a:cubicBezTo>
                    <a:pt x="0" y="11718"/>
                    <a:pt x="11718" y="0"/>
                    <a:pt x="26054" y="0"/>
                  </a:cubicBezTo>
                  <a:lnTo>
                    <a:pt x="32120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39" name="Forma livre: Forma 1838">
              <a:extLst>
                <a:ext uri="{FF2B5EF4-FFF2-40B4-BE49-F238E27FC236}">
                  <a16:creationId xmlns:a16="http://schemas.microsoft.com/office/drawing/2014/main" id="{2F90CCD2-3599-5FBE-BD07-21AE83393991}"/>
                </a:ext>
              </a:extLst>
            </p:cNvPr>
            <p:cNvSpPr/>
            <p:nvPr/>
          </p:nvSpPr>
          <p:spPr>
            <a:xfrm>
              <a:off x="4660040" y="4337203"/>
              <a:ext cx="4595" cy="100082"/>
            </a:xfrm>
            <a:custGeom>
              <a:avLst/>
              <a:gdLst>
                <a:gd name="connsiteX0" fmla="*/ 0 w 4595"/>
                <a:gd name="connsiteY0" fmla="*/ 100082 h 100082"/>
                <a:gd name="connsiteX1" fmla="*/ 0 w 4595"/>
                <a:gd name="connsiteY1" fmla="*/ 0 h 1000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595" h="100082">
                  <a:moveTo>
                    <a:pt x="0" y="100082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840" name="Gráfico 25">
            <a:extLst>
              <a:ext uri="{FF2B5EF4-FFF2-40B4-BE49-F238E27FC236}">
                <a16:creationId xmlns:a16="http://schemas.microsoft.com/office/drawing/2014/main" id="{2081C54D-9D4D-29F2-DB7D-9119AEE19CE6}"/>
              </a:ext>
            </a:extLst>
          </p:cNvPr>
          <p:cNvGrpSpPr/>
          <p:nvPr/>
        </p:nvGrpSpPr>
        <p:grpSpPr>
          <a:xfrm>
            <a:off x="4499230" y="4653208"/>
            <a:ext cx="298205" cy="298136"/>
            <a:chOff x="4499230" y="4653208"/>
            <a:chExt cx="298205" cy="298136"/>
          </a:xfrm>
          <a:noFill/>
        </p:grpSpPr>
        <p:grpSp>
          <p:nvGrpSpPr>
            <p:cNvPr id="1841" name="Gráfico 25">
              <a:extLst>
                <a:ext uri="{FF2B5EF4-FFF2-40B4-BE49-F238E27FC236}">
                  <a16:creationId xmlns:a16="http://schemas.microsoft.com/office/drawing/2014/main" id="{6079C548-0E9E-69A7-84BF-33131BA6A4F3}"/>
                </a:ext>
              </a:extLst>
            </p:cNvPr>
            <p:cNvGrpSpPr/>
            <p:nvPr/>
          </p:nvGrpSpPr>
          <p:grpSpPr>
            <a:xfrm>
              <a:off x="4514558" y="4668513"/>
              <a:ext cx="282877" cy="282831"/>
              <a:chOff x="4514558" y="4668513"/>
              <a:chExt cx="282877" cy="282831"/>
            </a:xfrm>
            <a:noFill/>
          </p:grpSpPr>
          <p:sp>
            <p:nvSpPr>
              <p:cNvPr id="1842" name="Forma livre: Forma 1841">
                <a:extLst>
                  <a:ext uri="{FF2B5EF4-FFF2-40B4-BE49-F238E27FC236}">
                    <a16:creationId xmlns:a16="http://schemas.microsoft.com/office/drawing/2014/main" id="{78005A89-8CD3-49D6-3FB7-FD4DFFEC4D1F}"/>
                  </a:ext>
                </a:extLst>
              </p:cNvPr>
              <p:cNvSpPr/>
              <p:nvPr/>
            </p:nvSpPr>
            <p:spPr>
              <a:xfrm>
                <a:off x="4514558" y="4915870"/>
                <a:ext cx="34647" cy="35474"/>
              </a:xfrm>
              <a:custGeom>
                <a:avLst/>
                <a:gdLst>
                  <a:gd name="connsiteX0" fmla="*/ 17324 w 34647"/>
                  <a:gd name="connsiteY0" fmla="*/ 0 h 35474"/>
                  <a:gd name="connsiteX1" fmla="*/ 0 w 34647"/>
                  <a:gd name="connsiteY1" fmla="*/ 17324 h 35474"/>
                  <a:gd name="connsiteX2" fmla="*/ 18151 w 34647"/>
                  <a:gd name="connsiteY2" fmla="*/ 35475 h 35474"/>
                  <a:gd name="connsiteX3" fmla="*/ 34647 w 34647"/>
                  <a:gd name="connsiteY3" fmla="*/ 18978 h 354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4647" h="35474">
                    <a:moveTo>
                      <a:pt x="17324" y="0"/>
                    </a:moveTo>
                    <a:lnTo>
                      <a:pt x="0" y="17324"/>
                    </a:lnTo>
                    <a:lnTo>
                      <a:pt x="18151" y="35475"/>
                    </a:lnTo>
                    <a:lnTo>
                      <a:pt x="34647" y="18978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843" name="Forma livre: Forma 1842">
                <a:extLst>
                  <a:ext uri="{FF2B5EF4-FFF2-40B4-BE49-F238E27FC236}">
                    <a16:creationId xmlns:a16="http://schemas.microsoft.com/office/drawing/2014/main" id="{F7822C50-6AF7-B278-3FA7-B74E6CF9736C}"/>
                  </a:ext>
                </a:extLst>
              </p:cNvPr>
              <p:cNvSpPr/>
              <p:nvPr/>
            </p:nvSpPr>
            <p:spPr>
              <a:xfrm>
                <a:off x="4761961" y="4668513"/>
                <a:ext cx="35474" cy="34601"/>
              </a:xfrm>
              <a:custGeom>
                <a:avLst/>
                <a:gdLst>
                  <a:gd name="connsiteX0" fmla="*/ 0 w 35474"/>
                  <a:gd name="connsiteY0" fmla="*/ 17278 h 34601"/>
                  <a:gd name="connsiteX1" fmla="*/ 17324 w 35474"/>
                  <a:gd name="connsiteY1" fmla="*/ 0 h 34601"/>
                  <a:gd name="connsiteX2" fmla="*/ 35475 w 35474"/>
                  <a:gd name="connsiteY2" fmla="*/ 18105 h 34601"/>
                  <a:gd name="connsiteX3" fmla="*/ 18978 w 35474"/>
                  <a:gd name="connsiteY3" fmla="*/ 34601 h 346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5474" h="34601">
                    <a:moveTo>
                      <a:pt x="0" y="17278"/>
                    </a:moveTo>
                    <a:lnTo>
                      <a:pt x="17324" y="0"/>
                    </a:lnTo>
                    <a:lnTo>
                      <a:pt x="35475" y="18105"/>
                    </a:lnTo>
                    <a:lnTo>
                      <a:pt x="18978" y="34601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844" name="Gráfico 25">
              <a:extLst>
                <a:ext uri="{FF2B5EF4-FFF2-40B4-BE49-F238E27FC236}">
                  <a16:creationId xmlns:a16="http://schemas.microsoft.com/office/drawing/2014/main" id="{59067BFC-A8DF-B641-91A9-16BC7B9AAF3D}"/>
                </a:ext>
              </a:extLst>
            </p:cNvPr>
            <p:cNvGrpSpPr/>
            <p:nvPr/>
          </p:nvGrpSpPr>
          <p:grpSpPr>
            <a:xfrm>
              <a:off x="4568827" y="4722966"/>
              <a:ext cx="191433" cy="191020"/>
              <a:chOff x="4568827" y="4722966"/>
              <a:chExt cx="191433" cy="191020"/>
            </a:xfrm>
          </p:grpSpPr>
          <p:sp>
            <p:nvSpPr>
              <p:cNvPr id="1845" name="Forma livre: Forma 1844">
                <a:extLst>
                  <a:ext uri="{FF2B5EF4-FFF2-40B4-BE49-F238E27FC236}">
                    <a16:creationId xmlns:a16="http://schemas.microsoft.com/office/drawing/2014/main" id="{842059D1-2937-C7C1-1F0D-6DC58527CA40}"/>
                  </a:ext>
                </a:extLst>
              </p:cNvPr>
              <p:cNvSpPr/>
              <p:nvPr/>
            </p:nvSpPr>
            <p:spPr>
              <a:xfrm>
                <a:off x="4568827" y="4909161"/>
                <a:ext cx="28398" cy="4824"/>
              </a:xfrm>
              <a:custGeom>
                <a:avLst/>
                <a:gdLst>
                  <a:gd name="connsiteX0" fmla="*/ 0 w 28398"/>
                  <a:gd name="connsiteY0" fmla="*/ 4825 h 4824"/>
                  <a:gd name="connsiteX1" fmla="*/ 28398 w 28398"/>
                  <a:gd name="connsiteY1" fmla="*/ 0 h 48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8398" h="4824">
                    <a:moveTo>
                      <a:pt x="0" y="4825"/>
                    </a:moveTo>
                    <a:lnTo>
                      <a:pt x="28398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846" name="Forma livre: Forma 1845">
                <a:extLst>
                  <a:ext uri="{FF2B5EF4-FFF2-40B4-BE49-F238E27FC236}">
                    <a16:creationId xmlns:a16="http://schemas.microsoft.com/office/drawing/2014/main" id="{868C8D0F-0EF5-3823-69D5-608ED2235169}"/>
                  </a:ext>
                </a:extLst>
              </p:cNvPr>
              <p:cNvSpPr/>
              <p:nvPr/>
            </p:nvSpPr>
            <p:spPr>
              <a:xfrm>
                <a:off x="4597317" y="4886461"/>
                <a:ext cx="3630" cy="22608"/>
              </a:xfrm>
              <a:custGeom>
                <a:avLst/>
                <a:gdLst>
                  <a:gd name="connsiteX0" fmla="*/ 3630 w 3630"/>
                  <a:gd name="connsiteY0" fmla="*/ 0 h 22608"/>
                  <a:gd name="connsiteX1" fmla="*/ 0 w 3630"/>
                  <a:gd name="connsiteY1" fmla="*/ 22608 h 226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630" h="22608">
                    <a:moveTo>
                      <a:pt x="3630" y="0"/>
                    </a:moveTo>
                    <a:lnTo>
                      <a:pt x="0" y="22608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847" name="Forma livre: Forma 1846">
                <a:extLst>
                  <a:ext uri="{FF2B5EF4-FFF2-40B4-BE49-F238E27FC236}">
                    <a16:creationId xmlns:a16="http://schemas.microsoft.com/office/drawing/2014/main" id="{BAAB5EFE-B195-8ABD-6930-6F3488465CA9}"/>
                  </a:ext>
                </a:extLst>
              </p:cNvPr>
              <p:cNvSpPr/>
              <p:nvPr/>
            </p:nvSpPr>
            <p:spPr>
              <a:xfrm>
                <a:off x="4600993" y="4882785"/>
                <a:ext cx="22608" cy="3630"/>
              </a:xfrm>
              <a:custGeom>
                <a:avLst/>
                <a:gdLst>
                  <a:gd name="connsiteX0" fmla="*/ 0 w 22608"/>
                  <a:gd name="connsiteY0" fmla="*/ 3630 h 3630"/>
                  <a:gd name="connsiteX1" fmla="*/ 22608 w 22608"/>
                  <a:gd name="connsiteY1" fmla="*/ 0 h 36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2608" h="3630">
                    <a:moveTo>
                      <a:pt x="0" y="3630"/>
                    </a:moveTo>
                    <a:lnTo>
                      <a:pt x="22608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848" name="Forma livre: Forma 1847">
                <a:extLst>
                  <a:ext uri="{FF2B5EF4-FFF2-40B4-BE49-F238E27FC236}">
                    <a16:creationId xmlns:a16="http://schemas.microsoft.com/office/drawing/2014/main" id="{909D1098-C052-AC42-E943-11BA2D003133}"/>
                  </a:ext>
                </a:extLst>
              </p:cNvPr>
              <p:cNvSpPr/>
              <p:nvPr/>
            </p:nvSpPr>
            <p:spPr>
              <a:xfrm>
                <a:off x="4623693" y="4860131"/>
                <a:ext cx="3584" cy="22608"/>
              </a:xfrm>
              <a:custGeom>
                <a:avLst/>
                <a:gdLst>
                  <a:gd name="connsiteX0" fmla="*/ 3584 w 3584"/>
                  <a:gd name="connsiteY0" fmla="*/ 0 h 22608"/>
                  <a:gd name="connsiteX1" fmla="*/ 0 w 3584"/>
                  <a:gd name="connsiteY1" fmla="*/ 22608 h 226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584" h="22608">
                    <a:moveTo>
                      <a:pt x="3584" y="0"/>
                    </a:moveTo>
                    <a:lnTo>
                      <a:pt x="0" y="22608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849" name="Forma livre: Forma 1848">
                <a:extLst>
                  <a:ext uri="{FF2B5EF4-FFF2-40B4-BE49-F238E27FC236}">
                    <a16:creationId xmlns:a16="http://schemas.microsoft.com/office/drawing/2014/main" id="{385BB9C7-AF8D-69DF-DB2F-BE4848AFF518}"/>
                  </a:ext>
                </a:extLst>
              </p:cNvPr>
              <p:cNvSpPr/>
              <p:nvPr/>
            </p:nvSpPr>
            <p:spPr>
              <a:xfrm>
                <a:off x="4627415" y="4856363"/>
                <a:ext cx="22608" cy="3630"/>
              </a:xfrm>
              <a:custGeom>
                <a:avLst/>
                <a:gdLst>
                  <a:gd name="connsiteX0" fmla="*/ 0 w 22608"/>
                  <a:gd name="connsiteY0" fmla="*/ 3630 h 3630"/>
                  <a:gd name="connsiteX1" fmla="*/ 22608 w 22608"/>
                  <a:gd name="connsiteY1" fmla="*/ 0 h 36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2608" h="3630">
                    <a:moveTo>
                      <a:pt x="0" y="3630"/>
                    </a:moveTo>
                    <a:lnTo>
                      <a:pt x="22608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850" name="Forma livre: Forma 1849">
                <a:extLst>
                  <a:ext uri="{FF2B5EF4-FFF2-40B4-BE49-F238E27FC236}">
                    <a16:creationId xmlns:a16="http://schemas.microsoft.com/office/drawing/2014/main" id="{BAC6E21A-C0EE-F278-F4FC-129A32AEE9BF}"/>
                  </a:ext>
                </a:extLst>
              </p:cNvPr>
              <p:cNvSpPr/>
              <p:nvPr/>
            </p:nvSpPr>
            <p:spPr>
              <a:xfrm>
                <a:off x="4650069" y="4833709"/>
                <a:ext cx="3630" cy="22608"/>
              </a:xfrm>
              <a:custGeom>
                <a:avLst/>
                <a:gdLst>
                  <a:gd name="connsiteX0" fmla="*/ 3630 w 3630"/>
                  <a:gd name="connsiteY0" fmla="*/ 0 h 22608"/>
                  <a:gd name="connsiteX1" fmla="*/ 0 w 3630"/>
                  <a:gd name="connsiteY1" fmla="*/ 22608 h 226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630" h="22608">
                    <a:moveTo>
                      <a:pt x="3630" y="0"/>
                    </a:moveTo>
                    <a:lnTo>
                      <a:pt x="0" y="22608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851" name="Forma livre: Forma 1850">
                <a:extLst>
                  <a:ext uri="{FF2B5EF4-FFF2-40B4-BE49-F238E27FC236}">
                    <a16:creationId xmlns:a16="http://schemas.microsoft.com/office/drawing/2014/main" id="{E4F0461B-88DF-950F-2AF5-C00CAEBF5ECF}"/>
                  </a:ext>
                </a:extLst>
              </p:cNvPr>
              <p:cNvSpPr/>
              <p:nvPr/>
            </p:nvSpPr>
            <p:spPr>
              <a:xfrm>
                <a:off x="4653745" y="4830033"/>
                <a:ext cx="22608" cy="3630"/>
              </a:xfrm>
              <a:custGeom>
                <a:avLst/>
                <a:gdLst>
                  <a:gd name="connsiteX0" fmla="*/ 0 w 22608"/>
                  <a:gd name="connsiteY0" fmla="*/ 3630 h 3630"/>
                  <a:gd name="connsiteX1" fmla="*/ 22608 w 22608"/>
                  <a:gd name="connsiteY1" fmla="*/ 0 h 36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2608" h="3630">
                    <a:moveTo>
                      <a:pt x="0" y="3630"/>
                    </a:moveTo>
                    <a:lnTo>
                      <a:pt x="22608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852" name="Forma livre: Forma 1851">
                <a:extLst>
                  <a:ext uri="{FF2B5EF4-FFF2-40B4-BE49-F238E27FC236}">
                    <a16:creationId xmlns:a16="http://schemas.microsoft.com/office/drawing/2014/main" id="{D587807A-6D3C-F25A-BC63-000043941562}"/>
                  </a:ext>
                </a:extLst>
              </p:cNvPr>
              <p:cNvSpPr/>
              <p:nvPr/>
            </p:nvSpPr>
            <p:spPr>
              <a:xfrm>
                <a:off x="4676445" y="4807379"/>
                <a:ext cx="3584" cy="22562"/>
              </a:xfrm>
              <a:custGeom>
                <a:avLst/>
                <a:gdLst>
                  <a:gd name="connsiteX0" fmla="*/ 3584 w 3584"/>
                  <a:gd name="connsiteY0" fmla="*/ 0 h 22562"/>
                  <a:gd name="connsiteX1" fmla="*/ 0 w 3584"/>
                  <a:gd name="connsiteY1" fmla="*/ 22562 h 225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584" h="22562">
                    <a:moveTo>
                      <a:pt x="3584" y="0"/>
                    </a:moveTo>
                    <a:lnTo>
                      <a:pt x="0" y="22562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853" name="Forma livre: Forma 1852">
                <a:extLst>
                  <a:ext uri="{FF2B5EF4-FFF2-40B4-BE49-F238E27FC236}">
                    <a16:creationId xmlns:a16="http://schemas.microsoft.com/office/drawing/2014/main" id="{76F879EE-893F-4CEC-9862-0CB7E3B16843}"/>
                  </a:ext>
                </a:extLst>
              </p:cNvPr>
              <p:cNvSpPr/>
              <p:nvPr/>
            </p:nvSpPr>
            <p:spPr>
              <a:xfrm>
                <a:off x="4680121" y="4803702"/>
                <a:ext cx="22608" cy="3630"/>
              </a:xfrm>
              <a:custGeom>
                <a:avLst/>
                <a:gdLst>
                  <a:gd name="connsiteX0" fmla="*/ 0 w 22608"/>
                  <a:gd name="connsiteY0" fmla="*/ 3630 h 3630"/>
                  <a:gd name="connsiteX1" fmla="*/ 22608 w 22608"/>
                  <a:gd name="connsiteY1" fmla="*/ 0 h 36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2608" h="3630">
                    <a:moveTo>
                      <a:pt x="0" y="3630"/>
                    </a:moveTo>
                    <a:lnTo>
                      <a:pt x="22608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854" name="Forma livre: Forma 1853">
                <a:extLst>
                  <a:ext uri="{FF2B5EF4-FFF2-40B4-BE49-F238E27FC236}">
                    <a16:creationId xmlns:a16="http://schemas.microsoft.com/office/drawing/2014/main" id="{F455EE92-B58F-E5D7-F12A-D84DD984E55A}"/>
                  </a:ext>
                </a:extLst>
              </p:cNvPr>
              <p:cNvSpPr/>
              <p:nvPr/>
            </p:nvSpPr>
            <p:spPr>
              <a:xfrm>
                <a:off x="4702775" y="4781002"/>
                <a:ext cx="3630" cy="22608"/>
              </a:xfrm>
              <a:custGeom>
                <a:avLst/>
                <a:gdLst>
                  <a:gd name="connsiteX0" fmla="*/ 3630 w 3630"/>
                  <a:gd name="connsiteY0" fmla="*/ 0 h 22608"/>
                  <a:gd name="connsiteX1" fmla="*/ 0 w 3630"/>
                  <a:gd name="connsiteY1" fmla="*/ 22608 h 226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630" h="22608">
                    <a:moveTo>
                      <a:pt x="3630" y="0"/>
                    </a:moveTo>
                    <a:lnTo>
                      <a:pt x="0" y="22608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855" name="Forma livre: Forma 1854">
                <a:extLst>
                  <a:ext uri="{FF2B5EF4-FFF2-40B4-BE49-F238E27FC236}">
                    <a16:creationId xmlns:a16="http://schemas.microsoft.com/office/drawing/2014/main" id="{79AA4EEC-0836-1BAA-C61A-CB25992C06F6}"/>
                  </a:ext>
                </a:extLst>
              </p:cNvPr>
              <p:cNvSpPr/>
              <p:nvPr/>
            </p:nvSpPr>
            <p:spPr>
              <a:xfrm>
                <a:off x="4706451" y="4777326"/>
                <a:ext cx="22608" cy="3630"/>
              </a:xfrm>
              <a:custGeom>
                <a:avLst/>
                <a:gdLst>
                  <a:gd name="connsiteX0" fmla="*/ 0 w 22608"/>
                  <a:gd name="connsiteY0" fmla="*/ 3630 h 3630"/>
                  <a:gd name="connsiteX1" fmla="*/ 22608 w 22608"/>
                  <a:gd name="connsiteY1" fmla="*/ 0 h 36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2608" h="3630">
                    <a:moveTo>
                      <a:pt x="0" y="3630"/>
                    </a:moveTo>
                    <a:lnTo>
                      <a:pt x="22608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856" name="Forma livre: Forma 1855">
                <a:extLst>
                  <a:ext uri="{FF2B5EF4-FFF2-40B4-BE49-F238E27FC236}">
                    <a16:creationId xmlns:a16="http://schemas.microsoft.com/office/drawing/2014/main" id="{BDD3CD66-D214-2222-43D4-832F901FCF3A}"/>
                  </a:ext>
                </a:extLst>
              </p:cNvPr>
              <p:cNvSpPr/>
              <p:nvPr/>
            </p:nvSpPr>
            <p:spPr>
              <a:xfrm>
                <a:off x="4729152" y="4754672"/>
                <a:ext cx="3584" cy="22608"/>
              </a:xfrm>
              <a:custGeom>
                <a:avLst/>
                <a:gdLst>
                  <a:gd name="connsiteX0" fmla="*/ 3584 w 3584"/>
                  <a:gd name="connsiteY0" fmla="*/ 0 h 22608"/>
                  <a:gd name="connsiteX1" fmla="*/ 0 w 3584"/>
                  <a:gd name="connsiteY1" fmla="*/ 22608 h 226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584" h="22608">
                    <a:moveTo>
                      <a:pt x="3584" y="0"/>
                    </a:moveTo>
                    <a:lnTo>
                      <a:pt x="0" y="22608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857" name="Forma livre: Forma 1856">
                <a:extLst>
                  <a:ext uri="{FF2B5EF4-FFF2-40B4-BE49-F238E27FC236}">
                    <a16:creationId xmlns:a16="http://schemas.microsoft.com/office/drawing/2014/main" id="{7A9B2D83-1AA4-AFA7-1DE4-A2A97FD4F0B4}"/>
                  </a:ext>
                </a:extLst>
              </p:cNvPr>
              <p:cNvSpPr/>
              <p:nvPr/>
            </p:nvSpPr>
            <p:spPr>
              <a:xfrm>
                <a:off x="4732874" y="4750904"/>
                <a:ext cx="22608" cy="3630"/>
              </a:xfrm>
              <a:custGeom>
                <a:avLst/>
                <a:gdLst>
                  <a:gd name="connsiteX0" fmla="*/ 0 w 22608"/>
                  <a:gd name="connsiteY0" fmla="*/ 3630 h 3630"/>
                  <a:gd name="connsiteX1" fmla="*/ 22608 w 22608"/>
                  <a:gd name="connsiteY1" fmla="*/ 0 h 36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2608" h="3630">
                    <a:moveTo>
                      <a:pt x="0" y="3630"/>
                    </a:moveTo>
                    <a:lnTo>
                      <a:pt x="22608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858" name="Forma livre: Forma 1857">
                <a:extLst>
                  <a:ext uri="{FF2B5EF4-FFF2-40B4-BE49-F238E27FC236}">
                    <a16:creationId xmlns:a16="http://schemas.microsoft.com/office/drawing/2014/main" id="{F93288F6-E68F-F6E7-3EBB-7C0492D12110}"/>
                  </a:ext>
                </a:extLst>
              </p:cNvPr>
              <p:cNvSpPr/>
              <p:nvPr/>
            </p:nvSpPr>
            <p:spPr>
              <a:xfrm>
                <a:off x="4755574" y="4722966"/>
                <a:ext cx="4687" cy="27846"/>
              </a:xfrm>
              <a:custGeom>
                <a:avLst/>
                <a:gdLst>
                  <a:gd name="connsiteX0" fmla="*/ 4687 w 4687"/>
                  <a:gd name="connsiteY0" fmla="*/ 0 h 27846"/>
                  <a:gd name="connsiteX1" fmla="*/ 0 w 4687"/>
                  <a:gd name="connsiteY1" fmla="*/ 27847 h 278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687" h="27846">
                    <a:moveTo>
                      <a:pt x="4687" y="0"/>
                    </a:moveTo>
                    <a:lnTo>
                      <a:pt x="0" y="27847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859" name="Forma livre: Forma 1858">
              <a:extLst>
                <a:ext uri="{FF2B5EF4-FFF2-40B4-BE49-F238E27FC236}">
                  <a16:creationId xmlns:a16="http://schemas.microsoft.com/office/drawing/2014/main" id="{2498A695-7864-032C-2411-C10D67E3188D}"/>
                </a:ext>
              </a:extLst>
            </p:cNvPr>
            <p:cNvSpPr/>
            <p:nvPr/>
          </p:nvSpPr>
          <p:spPr>
            <a:xfrm>
              <a:off x="4551089" y="4704999"/>
              <a:ext cx="193180" cy="193180"/>
            </a:xfrm>
            <a:custGeom>
              <a:avLst/>
              <a:gdLst>
                <a:gd name="connsiteX0" fmla="*/ 0 w 193180"/>
                <a:gd name="connsiteY0" fmla="*/ 193180 h 193180"/>
                <a:gd name="connsiteX1" fmla="*/ 193180 w 193180"/>
                <a:gd name="connsiteY1" fmla="*/ 0 h 1931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93180" h="193180">
                  <a:moveTo>
                    <a:pt x="0" y="193180"/>
                  </a:moveTo>
                  <a:lnTo>
                    <a:pt x="19318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60" name="Forma livre: Forma 1859">
              <a:extLst>
                <a:ext uri="{FF2B5EF4-FFF2-40B4-BE49-F238E27FC236}">
                  <a16:creationId xmlns:a16="http://schemas.microsoft.com/office/drawing/2014/main" id="{C11DEA9A-3471-B275-3ADA-3E7084520339}"/>
                </a:ext>
              </a:extLst>
            </p:cNvPr>
            <p:cNvSpPr/>
            <p:nvPr/>
          </p:nvSpPr>
          <p:spPr>
            <a:xfrm>
              <a:off x="4499230" y="4653208"/>
              <a:ext cx="296459" cy="296436"/>
            </a:xfrm>
            <a:custGeom>
              <a:avLst/>
              <a:gdLst>
                <a:gd name="connsiteX0" fmla="*/ 278906 w 296459"/>
                <a:gd name="connsiteY0" fmla="*/ 81521 h 296436"/>
                <a:gd name="connsiteX1" fmla="*/ 243707 w 296459"/>
                <a:gd name="connsiteY1" fmla="*/ 49125 h 296436"/>
                <a:gd name="connsiteX2" fmla="*/ 120327 w 296459"/>
                <a:gd name="connsiteY2" fmla="*/ 49677 h 296436"/>
                <a:gd name="connsiteX3" fmla="*/ 49700 w 296459"/>
                <a:gd name="connsiteY3" fmla="*/ 120304 h 296436"/>
                <a:gd name="connsiteX4" fmla="*/ 49148 w 296459"/>
                <a:gd name="connsiteY4" fmla="*/ 243684 h 296436"/>
                <a:gd name="connsiteX5" fmla="*/ 81544 w 296459"/>
                <a:gd name="connsiteY5" fmla="*/ 278883 h 296436"/>
                <a:gd name="connsiteX6" fmla="*/ 64037 w 296459"/>
                <a:gd name="connsiteY6" fmla="*/ 296436 h 296436"/>
                <a:gd name="connsiteX7" fmla="*/ 29711 w 296459"/>
                <a:gd name="connsiteY7" fmla="*/ 258940 h 296436"/>
                <a:gd name="connsiteX8" fmla="*/ 31687 w 296459"/>
                <a:gd name="connsiteY8" fmla="*/ 103578 h 296436"/>
                <a:gd name="connsiteX9" fmla="*/ 103601 w 296459"/>
                <a:gd name="connsiteY9" fmla="*/ 31664 h 296436"/>
                <a:gd name="connsiteX10" fmla="*/ 258917 w 296459"/>
                <a:gd name="connsiteY10" fmla="*/ 29734 h 296436"/>
                <a:gd name="connsiteX11" fmla="*/ 296459 w 296459"/>
                <a:gd name="connsiteY11" fmla="*/ 64014 h 296436"/>
                <a:gd name="connsiteX12" fmla="*/ 278906 w 296459"/>
                <a:gd name="connsiteY12" fmla="*/ 81567 h 2964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96459" h="296436">
                  <a:moveTo>
                    <a:pt x="278906" y="81521"/>
                  </a:moveTo>
                  <a:lnTo>
                    <a:pt x="243707" y="49125"/>
                  </a:lnTo>
                  <a:cubicBezTo>
                    <a:pt x="205246" y="17189"/>
                    <a:pt x="154102" y="15902"/>
                    <a:pt x="120327" y="49677"/>
                  </a:cubicBezTo>
                  <a:lnTo>
                    <a:pt x="49700" y="120304"/>
                  </a:lnTo>
                  <a:cubicBezTo>
                    <a:pt x="15925" y="154079"/>
                    <a:pt x="17212" y="205223"/>
                    <a:pt x="49148" y="243684"/>
                  </a:cubicBezTo>
                  <a:lnTo>
                    <a:pt x="81544" y="278883"/>
                  </a:lnTo>
                  <a:lnTo>
                    <a:pt x="64037" y="296436"/>
                  </a:lnTo>
                  <a:lnTo>
                    <a:pt x="29711" y="258940"/>
                  </a:lnTo>
                  <a:cubicBezTo>
                    <a:pt x="-10635" y="210323"/>
                    <a:pt x="-9807" y="145072"/>
                    <a:pt x="31687" y="103578"/>
                  </a:cubicBezTo>
                  <a:lnTo>
                    <a:pt x="103601" y="31664"/>
                  </a:lnTo>
                  <a:cubicBezTo>
                    <a:pt x="145049" y="-9784"/>
                    <a:pt x="210346" y="-10658"/>
                    <a:pt x="258917" y="29734"/>
                  </a:cubicBezTo>
                  <a:lnTo>
                    <a:pt x="296459" y="64014"/>
                  </a:lnTo>
                  <a:lnTo>
                    <a:pt x="278906" y="81567"/>
                  </a:ln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861" name="Gráfico 25">
            <a:extLst>
              <a:ext uri="{FF2B5EF4-FFF2-40B4-BE49-F238E27FC236}">
                <a16:creationId xmlns:a16="http://schemas.microsoft.com/office/drawing/2014/main" id="{5AAB7D56-CB37-68D6-A99C-D6F2C9D4CA0A}"/>
              </a:ext>
            </a:extLst>
          </p:cNvPr>
          <p:cNvGrpSpPr/>
          <p:nvPr/>
        </p:nvGrpSpPr>
        <p:grpSpPr>
          <a:xfrm>
            <a:off x="4482851" y="5651186"/>
            <a:ext cx="330942" cy="330988"/>
            <a:chOff x="4482851" y="5651186"/>
            <a:chExt cx="330942" cy="330988"/>
          </a:xfrm>
          <a:noFill/>
        </p:grpSpPr>
        <p:grpSp>
          <p:nvGrpSpPr>
            <p:cNvPr id="1862" name="Gráfico 25">
              <a:extLst>
                <a:ext uri="{FF2B5EF4-FFF2-40B4-BE49-F238E27FC236}">
                  <a16:creationId xmlns:a16="http://schemas.microsoft.com/office/drawing/2014/main" id="{2FB9EA9B-E22C-DE5A-DF5D-B165504D8856}"/>
                </a:ext>
              </a:extLst>
            </p:cNvPr>
            <p:cNvGrpSpPr/>
            <p:nvPr/>
          </p:nvGrpSpPr>
          <p:grpSpPr>
            <a:xfrm>
              <a:off x="4531009" y="5699251"/>
              <a:ext cx="234628" cy="81196"/>
              <a:chOff x="4531009" y="5699251"/>
              <a:chExt cx="234628" cy="81196"/>
            </a:xfrm>
          </p:grpSpPr>
          <p:grpSp>
            <p:nvGrpSpPr>
              <p:cNvPr id="1863" name="Gráfico 25">
                <a:extLst>
                  <a:ext uri="{FF2B5EF4-FFF2-40B4-BE49-F238E27FC236}">
                    <a16:creationId xmlns:a16="http://schemas.microsoft.com/office/drawing/2014/main" id="{C8A9BE09-2602-A4CC-10AA-1F7897F42165}"/>
                  </a:ext>
                </a:extLst>
              </p:cNvPr>
              <p:cNvGrpSpPr/>
              <p:nvPr/>
            </p:nvGrpSpPr>
            <p:grpSpPr>
              <a:xfrm>
                <a:off x="4531009" y="5699251"/>
                <a:ext cx="81380" cy="81196"/>
                <a:chOff x="4531009" y="5699251"/>
                <a:chExt cx="81380" cy="81196"/>
              </a:xfrm>
            </p:grpSpPr>
            <p:sp>
              <p:nvSpPr>
                <p:cNvPr id="1864" name="Forma livre: Forma 1863">
                  <a:extLst>
                    <a:ext uri="{FF2B5EF4-FFF2-40B4-BE49-F238E27FC236}">
                      <a16:creationId xmlns:a16="http://schemas.microsoft.com/office/drawing/2014/main" id="{DCF84303-CF65-AE65-743B-7D41A826F750}"/>
                    </a:ext>
                  </a:extLst>
                </p:cNvPr>
                <p:cNvSpPr/>
                <p:nvPr/>
              </p:nvSpPr>
              <p:spPr>
                <a:xfrm>
                  <a:off x="4531009" y="5767994"/>
                  <a:ext cx="30098" cy="12452"/>
                </a:xfrm>
                <a:custGeom>
                  <a:avLst/>
                  <a:gdLst>
                    <a:gd name="connsiteX0" fmla="*/ 0 w 30098"/>
                    <a:gd name="connsiteY0" fmla="*/ 0 h 12452"/>
                    <a:gd name="connsiteX1" fmla="*/ 30098 w 30098"/>
                    <a:gd name="connsiteY1" fmla="*/ 12453 h 1245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30098" h="12452">
                      <a:moveTo>
                        <a:pt x="0" y="0"/>
                      </a:moveTo>
                      <a:lnTo>
                        <a:pt x="30098" y="12453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865" name="Forma livre: Forma 1864">
                  <a:extLst>
                    <a:ext uri="{FF2B5EF4-FFF2-40B4-BE49-F238E27FC236}">
                      <a16:creationId xmlns:a16="http://schemas.microsoft.com/office/drawing/2014/main" id="{61AF42E8-0402-D000-3F5B-660AFE96D053}"/>
                    </a:ext>
                  </a:extLst>
                </p:cNvPr>
                <p:cNvSpPr/>
                <p:nvPr/>
              </p:nvSpPr>
              <p:spPr>
                <a:xfrm>
                  <a:off x="4599660" y="5699251"/>
                  <a:ext cx="12728" cy="30603"/>
                </a:xfrm>
                <a:custGeom>
                  <a:avLst/>
                  <a:gdLst>
                    <a:gd name="connsiteX0" fmla="*/ 0 w 12728"/>
                    <a:gd name="connsiteY0" fmla="*/ 0 h 30603"/>
                    <a:gd name="connsiteX1" fmla="*/ 12729 w 12728"/>
                    <a:gd name="connsiteY1" fmla="*/ 30604 h 306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2728" h="30603">
                      <a:moveTo>
                        <a:pt x="0" y="0"/>
                      </a:moveTo>
                      <a:lnTo>
                        <a:pt x="12729" y="30604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866" name="Forma livre: Forma 1865">
                  <a:extLst>
                    <a:ext uri="{FF2B5EF4-FFF2-40B4-BE49-F238E27FC236}">
                      <a16:creationId xmlns:a16="http://schemas.microsoft.com/office/drawing/2014/main" id="{05315AB0-0EE0-9F37-0661-6EA46AA6DFA6}"/>
                    </a:ext>
                  </a:extLst>
                </p:cNvPr>
                <p:cNvSpPr/>
                <p:nvPr/>
              </p:nvSpPr>
              <p:spPr>
                <a:xfrm>
                  <a:off x="4531238" y="5699940"/>
                  <a:ext cx="51006" cy="50730"/>
                </a:xfrm>
                <a:custGeom>
                  <a:avLst/>
                  <a:gdLst>
                    <a:gd name="connsiteX0" fmla="*/ 51006 w 51006"/>
                    <a:gd name="connsiteY0" fmla="*/ 50730 h 50730"/>
                    <a:gd name="connsiteX1" fmla="*/ 0 w 51006"/>
                    <a:gd name="connsiteY1" fmla="*/ 0 h 5073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51006" h="50730">
                      <a:moveTo>
                        <a:pt x="51006" y="50730"/>
                      </a:moveTo>
                      <a:lnTo>
                        <a:pt x="0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1867" name="Gráfico 25">
                <a:extLst>
                  <a:ext uri="{FF2B5EF4-FFF2-40B4-BE49-F238E27FC236}">
                    <a16:creationId xmlns:a16="http://schemas.microsoft.com/office/drawing/2014/main" id="{78748518-2014-E96D-9CE7-49403A3991FF}"/>
                  </a:ext>
                </a:extLst>
              </p:cNvPr>
              <p:cNvGrpSpPr/>
              <p:nvPr/>
            </p:nvGrpSpPr>
            <p:grpSpPr>
              <a:xfrm>
                <a:off x="4684257" y="5699251"/>
                <a:ext cx="81380" cy="81196"/>
                <a:chOff x="4684257" y="5699251"/>
                <a:chExt cx="81380" cy="81196"/>
              </a:xfrm>
            </p:grpSpPr>
            <p:sp>
              <p:nvSpPr>
                <p:cNvPr id="1868" name="Forma livre: Forma 1867">
                  <a:extLst>
                    <a:ext uri="{FF2B5EF4-FFF2-40B4-BE49-F238E27FC236}">
                      <a16:creationId xmlns:a16="http://schemas.microsoft.com/office/drawing/2014/main" id="{DE271108-4900-A064-E6E4-64E2B3E25C1E}"/>
                    </a:ext>
                  </a:extLst>
                </p:cNvPr>
                <p:cNvSpPr/>
                <p:nvPr/>
              </p:nvSpPr>
              <p:spPr>
                <a:xfrm>
                  <a:off x="4735539" y="5767994"/>
                  <a:ext cx="30098" cy="12452"/>
                </a:xfrm>
                <a:custGeom>
                  <a:avLst/>
                  <a:gdLst>
                    <a:gd name="connsiteX0" fmla="*/ 30098 w 30098"/>
                    <a:gd name="connsiteY0" fmla="*/ 0 h 12452"/>
                    <a:gd name="connsiteX1" fmla="*/ 0 w 30098"/>
                    <a:gd name="connsiteY1" fmla="*/ 12453 h 1245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30098" h="12452">
                      <a:moveTo>
                        <a:pt x="30098" y="0"/>
                      </a:moveTo>
                      <a:lnTo>
                        <a:pt x="0" y="12453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869" name="Forma livre: Forma 1868">
                  <a:extLst>
                    <a:ext uri="{FF2B5EF4-FFF2-40B4-BE49-F238E27FC236}">
                      <a16:creationId xmlns:a16="http://schemas.microsoft.com/office/drawing/2014/main" id="{CFF10103-CEDF-D943-B860-4FAF7DD82455}"/>
                    </a:ext>
                  </a:extLst>
                </p:cNvPr>
                <p:cNvSpPr/>
                <p:nvPr/>
              </p:nvSpPr>
              <p:spPr>
                <a:xfrm>
                  <a:off x="4684257" y="5699251"/>
                  <a:ext cx="12774" cy="30603"/>
                </a:xfrm>
                <a:custGeom>
                  <a:avLst/>
                  <a:gdLst>
                    <a:gd name="connsiteX0" fmla="*/ 12775 w 12774"/>
                    <a:gd name="connsiteY0" fmla="*/ 0 h 30603"/>
                    <a:gd name="connsiteX1" fmla="*/ 0 w 12774"/>
                    <a:gd name="connsiteY1" fmla="*/ 30604 h 306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2774" h="30603">
                      <a:moveTo>
                        <a:pt x="12775" y="0"/>
                      </a:moveTo>
                      <a:lnTo>
                        <a:pt x="0" y="30604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870" name="Forma livre: Forma 1869">
                  <a:extLst>
                    <a:ext uri="{FF2B5EF4-FFF2-40B4-BE49-F238E27FC236}">
                      <a16:creationId xmlns:a16="http://schemas.microsoft.com/office/drawing/2014/main" id="{A6BFE5C0-DC54-876A-8DE7-FFA834AD6E15}"/>
                    </a:ext>
                  </a:extLst>
                </p:cNvPr>
                <p:cNvSpPr/>
                <p:nvPr/>
              </p:nvSpPr>
              <p:spPr>
                <a:xfrm>
                  <a:off x="4714447" y="5699940"/>
                  <a:ext cx="50960" cy="50730"/>
                </a:xfrm>
                <a:custGeom>
                  <a:avLst/>
                  <a:gdLst>
                    <a:gd name="connsiteX0" fmla="*/ 0 w 50960"/>
                    <a:gd name="connsiteY0" fmla="*/ 50730 h 50730"/>
                    <a:gd name="connsiteX1" fmla="*/ 50960 w 50960"/>
                    <a:gd name="connsiteY1" fmla="*/ 0 h 5073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50960" h="50730">
                      <a:moveTo>
                        <a:pt x="0" y="50730"/>
                      </a:moveTo>
                      <a:lnTo>
                        <a:pt x="50960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grpSp>
          <p:nvGrpSpPr>
            <p:cNvPr id="1871" name="Gráfico 25">
              <a:extLst>
                <a:ext uri="{FF2B5EF4-FFF2-40B4-BE49-F238E27FC236}">
                  <a16:creationId xmlns:a16="http://schemas.microsoft.com/office/drawing/2014/main" id="{C00229C6-B57C-EBB3-9F4A-314980CF6385}"/>
                </a:ext>
              </a:extLst>
            </p:cNvPr>
            <p:cNvGrpSpPr/>
            <p:nvPr/>
          </p:nvGrpSpPr>
          <p:grpSpPr>
            <a:xfrm>
              <a:off x="4531009" y="5852499"/>
              <a:ext cx="234628" cy="81196"/>
              <a:chOff x="4531009" y="5852499"/>
              <a:chExt cx="234628" cy="81196"/>
            </a:xfrm>
          </p:grpSpPr>
          <p:grpSp>
            <p:nvGrpSpPr>
              <p:cNvPr id="1872" name="Gráfico 25">
                <a:extLst>
                  <a:ext uri="{FF2B5EF4-FFF2-40B4-BE49-F238E27FC236}">
                    <a16:creationId xmlns:a16="http://schemas.microsoft.com/office/drawing/2014/main" id="{78C024A2-4BEC-075F-D95B-C35B4E56D61B}"/>
                  </a:ext>
                </a:extLst>
              </p:cNvPr>
              <p:cNvGrpSpPr/>
              <p:nvPr/>
            </p:nvGrpSpPr>
            <p:grpSpPr>
              <a:xfrm>
                <a:off x="4531009" y="5852499"/>
                <a:ext cx="81380" cy="81196"/>
                <a:chOff x="4531009" y="5852499"/>
                <a:chExt cx="81380" cy="81196"/>
              </a:xfrm>
            </p:grpSpPr>
            <p:sp>
              <p:nvSpPr>
                <p:cNvPr id="1873" name="Forma livre: Forma 1872">
                  <a:extLst>
                    <a:ext uri="{FF2B5EF4-FFF2-40B4-BE49-F238E27FC236}">
                      <a16:creationId xmlns:a16="http://schemas.microsoft.com/office/drawing/2014/main" id="{364E7A6B-F506-2A54-DF78-08223A1FDAE3}"/>
                    </a:ext>
                  </a:extLst>
                </p:cNvPr>
                <p:cNvSpPr/>
                <p:nvPr/>
              </p:nvSpPr>
              <p:spPr>
                <a:xfrm>
                  <a:off x="4531009" y="5852499"/>
                  <a:ext cx="30098" cy="12452"/>
                </a:xfrm>
                <a:custGeom>
                  <a:avLst/>
                  <a:gdLst>
                    <a:gd name="connsiteX0" fmla="*/ 0 w 30098"/>
                    <a:gd name="connsiteY0" fmla="*/ 12453 h 12452"/>
                    <a:gd name="connsiteX1" fmla="*/ 30098 w 30098"/>
                    <a:gd name="connsiteY1" fmla="*/ 0 h 1245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30098" h="12452">
                      <a:moveTo>
                        <a:pt x="0" y="12453"/>
                      </a:moveTo>
                      <a:lnTo>
                        <a:pt x="30098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874" name="Forma livre: Forma 1873">
                  <a:extLst>
                    <a:ext uri="{FF2B5EF4-FFF2-40B4-BE49-F238E27FC236}">
                      <a16:creationId xmlns:a16="http://schemas.microsoft.com/office/drawing/2014/main" id="{9A5AA61C-12E3-6AC2-AEF6-48043EE96FD3}"/>
                    </a:ext>
                  </a:extLst>
                </p:cNvPr>
                <p:cNvSpPr/>
                <p:nvPr/>
              </p:nvSpPr>
              <p:spPr>
                <a:xfrm>
                  <a:off x="4599660" y="5903092"/>
                  <a:ext cx="12728" cy="30603"/>
                </a:xfrm>
                <a:custGeom>
                  <a:avLst/>
                  <a:gdLst>
                    <a:gd name="connsiteX0" fmla="*/ 0 w 12728"/>
                    <a:gd name="connsiteY0" fmla="*/ 30604 h 30603"/>
                    <a:gd name="connsiteX1" fmla="*/ 12729 w 12728"/>
                    <a:gd name="connsiteY1" fmla="*/ 0 h 306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2728" h="30603">
                      <a:moveTo>
                        <a:pt x="0" y="30604"/>
                      </a:moveTo>
                      <a:lnTo>
                        <a:pt x="12729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875" name="Forma livre: Forma 1874">
                  <a:extLst>
                    <a:ext uri="{FF2B5EF4-FFF2-40B4-BE49-F238E27FC236}">
                      <a16:creationId xmlns:a16="http://schemas.microsoft.com/office/drawing/2014/main" id="{DDE9D960-53A0-226C-E76C-EEBE0156837A}"/>
                    </a:ext>
                  </a:extLst>
                </p:cNvPr>
                <p:cNvSpPr/>
                <p:nvPr/>
              </p:nvSpPr>
              <p:spPr>
                <a:xfrm>
                  <a:off x="4531238" y="5882276"/>
                  <a:ext cx="51006" cy="50776"/>
                </a:xfrm>
                <a:custGeom>
                  <a:avLst/>
                  <a:gdLst>
                    <a:gd name="connsiteX0" fmla="*/ 51006 w 51006"/>
                    <a:gd name="connsiteY0" fmla="*/ 0 h 50776"/>
                    <a:gd name="connsiteX1" fmla="*/ 0 w 51006"/>
                    <a:gd name="connsiteY1" fmla="*/ 50776 h 5077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51006" h="50776">
                      <a:moveTo>
                        <a:pt x="51006" y="0"/>
                      </a:moveTo>
                      <a:lnTo>
                        <a:pt x="0" y="50776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1876" name="Gráfico 25">
                <a:extLst>
                  <a:ext uri="{FF2B5EF4-FFF2-40B4-BE49-F238E27FC236}">
                    <a16:creationId xmlns:a16="http://schemas.microsoft.com/office/drawing/2014/main" id="{7E10804B-B2B6-2464-9996-F97384EA9F65}"/>
                  </a:ext>
                </a:extLst>
              </p:cNvPr>
              <p:cNvGrpSpPr/>
              <p:nvPr/>
            </p:nvGrpSpPr>
            <p:grpSpPr>
              <a:xfrm>
                <a:off x="4684257" y="5852499"/>
                <a:ext cx="81380" cy="81196"/>
                <a:chOff x="4684257" y="5852499"/>
                <a:chExt cx="81380" cy="81196"/>
              </a:xfrm>
            </p:grpSpPr>
            <p:sp>
              <p:nvSpPr>
                <p:cNvPr id="1877" name="Forma livre: Forma 1876">
                  <a:extLst>
                    <a:ext uri="{FF2B5EF4-FFF2-40B4-BE49-F238E27FC236}">
                      <a16:creationId xmlns:a16="http://schemas.microsoft.com/office/drawing/2014/main" id="{A20C49B1-0323-EE63-2537-2DBC8874FC96}"/>
                    </a:ext>
                  </a:extLst>
                </p:cNvPr>
                <p:cNvSpPr/>
                <p:nvPr/>
              </p:nvSpPr>
              <p:spPr>
                <a:xfrm>
                  <a:off x="4735539" y="5852499"/>
                  <a:ext cx="30098" cy="12452"/>
                </a:xfrm>
                <a:custGeom>
                  <a:avLst/>
                  <a:gdLst>
                    <a:gd name="connsiteX0" fmla="*/ 30098 w 30098"/>
                    <a:gd name="connsiteY0" fmla="*/ 12453 h 12452"/>
                    <a:gd name="connsiteX1" fmla="*/ 0 w 30098"/>
                    <a:gd name="connsiteY1" fmla="*/ 0 h 1245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30098" h="12452">
                      <a:moveTo>
                        <a:pt x="30098" y="12453"/>
                      </a:moveTo>
                      <a:lnTo>
                        <a:pt x="0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878" name="Forma livre: Forma 1877">
                  <a:extLst>
                    <a:ext uri="{FF2B5EF4-FFF2-40B4-BE49-F238E27FC236}">
                      <a16:creationId xmlns:a16="http://schemas.microsoft.com/office/drawing/2014/main" id="{55A7536B-B53C-44B1-E9C5-65F288FADF25}"/>
                    </a:ext>
                  </a:extLst>
                </p:cNvPr>
                <p:cNvSpPr/>
                <p:nvPr/>
              </p:nvSpPr>
              <p:spPr>
                <a:xfrm>
                  <a:off x="4684257" y="5903092"/>
                  <a:ext cx="12774" cy="30603"/>
                </a:xfrm>
                <a:custGeom>
                  <a:avLst/>
                  <a:gdLst>
                    <a:gd name="connsiteX0" fmla="*/ 12775 w 12774"/>
                    <a:gd name="connsiteY0" fmla="*/ 30604 h 30603"/>
                    <a:gd name="connsiteX1" fmla="*/ 0 w 12774"/>
                    <a:gd name="connsiteY1" fmla="*/ 0 h 306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2774" h="30603">
                      <a:moveTo>
                        <a:pt x="12775" y="30604"/>
                      </a:moveTo>
                      <a:lnTo>
                        <a:pt x="0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879" name="Forma livre: Forma 1878">
                  <a:extLst>
                    <a:ext uri="{FF2B5EF4-FFF2-40B4-BE49-F238E27FC236}">
                      <a16:creationId xmlns:a16="http://schemas.microsoft.com/office/drawing/2014/main" id="{66C45CB4-7A0B-0D4A-4FF4-6E1C29EE7558}"/>
                    </a:ext>
                  </a:extLst>
                </p:cNvPr>
                <p:cNvSpPr/>
                <p:nvPr/>
              </p:nvSpPr>
              <p:spPr>
                <a:xfrm>
                  <a:off x="4714447" y="5882276"/>
                  <a:ext cx="50960" cy="50776"/>
                </a:xfrm>
                <a:custGeom>
                  <a:avLst/>
                  <a:gdLst>
                    <a:gd name="connsiteX0" fmla="*/ 0 w 50960"/>
                    <a:gd name="connsiteY0" fmla="*/ 0 h 50776"/>
                    <a:gd name="connsiteX1" fmla="*/ 50960 w 50960"/>
                    <a:gd name="connsiteY1" fmla="*/ 50776 h 5077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50960" h="50776">
                      <a:moveTo>
                        <a:pt x="0" y="0"/>
                      </a:moveTo>
                      <a:lnTo>
                        <a:pt x="50960" y="50776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sp>
          <p:nvSpPr>
            <p:cNvPr id="1880" name="Forma livre: Forma 1879">
              <a:extLst>
                <a:ext uri="{FF2B5EF4-FFF2-40B4-BE49-F238E27FC236}">
                  <a16:creationId xmlns:a16="http://schemas.microsoft.com/office/drawing/2014/main" id="{C0C38544-56A8-1CB3-787E-997A6307BF37}"/>
                </a:ext>
              </a:extLst>
            </p:cNvPr>
            <p:cNvSpPr/>
            <p:nvPr/>
          </p:nvSpPr>
          <p:spPr>
            <a:xfrm>
              <a:off x="4580823" y="5749118"/>
              <a:ext cx="135064" cy="135084"/>
            </a:xfrm>
            <a:custGeom>
              <a:avLst/>
              <a:gdLst>
                <a:gd name="connsiteX0" fmla="*/ 41675 w 135064"/>
                <a:gd name="connsiteY0" fmla="*/ 5183 h 135084"/>
                <a:gd name="connsiteX1" fmla="*/ 5144 w 135064"/>
                <a:gd name="connsiteY1" fmla="*/ 93409 h 135084"/>
                <a:gd name="connsiteX2" fmla="*/ 93370 w 135064"/>
                <a:gd name="connsiteY2" fmla="*/ 129941 h 135084"/>
                <a:gd name="connsiteX3" fmla="*/ 129902 w 135064"/>
                <a:gd name="connsiteY3" fmla="*/ 41714 h 135084"/>
                <a:gd name="connsiteX4" fmla="*/ 41675 w 135064"/>
                <a:gd name="connsiteY4" fmla="*/ 5137 h 1350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5064" h="135084">
                  <a:moveTo>
                    <a:pt x="41675" y="5183"/>
                  </a:moveTo>
                  <a:cubicBezTo>
                    <a:pt x="7257" y="19428"/>
                    <a:pt x="-9101" y="59038"/>
                    <a:pt x="5144" y="93409"/>
                  </a:cubicBezTo>
                  <a:cubicBezTo>
                    <a:pt x="19389" y="127827"/>
                    <a:pt x="58999" y="144186"/>
                    <a:pt x="93370" y="129941"/>
                  </a:cubicBezTo>
                  <a:cubicBezTo>
                    <a:pt x="127788" y="115696"/>
                    <a:pt x="144193" y="76132"/>
                    <a:pt x="129902" y="41714"/>
                  </a:cubicBezTo>
                  <a:cubicBezTo>
                    <a:pt x="115657" y="7296"/>
                    <a:pt x="76093" y="-9108"/>
                    <a:pt x="41675" y="5137"/>
                  </a:cubicBez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81" name="Forma livre: Forma 1880">
              <a:extLst>
                <a:ext uri="{FF2B5EF4-FFF2-40B4-BE49-F238E27FC236}">
                  <a16:creationId xmlns:a16="http://schemas.microsoft.com/office/drawing/2014/main" id="{E49E0EFC-D729-C18C-2A6F-4988C94A3366}"/>
                </a:ext>
              </a:extLst>
            </p:cNvPr>
            <p:cNvSpPr/>
            <p:nvPr/>
          </p:nvSpPr>
          <p:spPr>
            <a:xfrm>
              <a:off x="4648323" y="5651186"/>
              <a:ext cx="4595" cy="71776"/>
            </a:xfrm>
            <a:custGeom>
              <a:avLst/>
              <a:gdLst>
                <a:gd name="connsiteX0" fmla="*/ 0 w 4595"/>
                <a:gd name="connsiteY0" fmla="*/ 71776 h 71776"/>
                <a:gd name="connsiteX1" fmla="*/ 0 w 4595"/>
                <a:gd name="connsiteY1" fmla="*/ 0 h 717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595" h="71776">
                  <a:moveTo>
                    <a:pt x="0" y="71776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82" name="Forma livre: Forma 1881">
              <a:extLst>
                <a:ext uri="{FF2B5EF4-FFF2-40B4-BE49-F238E27FC236}">
                  <a16:creationId xmlns:a16="http://schemas.microsoft.com/office/drawing/2014/main" id="{B6093FC5-9983-9A50-87EC-5559063EB04C}"/>
                </a:ext>
              </a:extLst>
            </p:cNvPr>
            <p:cNvSpPr/>
            <p:nvPr/>
          </p:nvSpPr>
          <p:spPr>
            <a:xfrm>
              <a:off x="4648323" y="5910398"/>
              <a:ext cx="4595" cy="71776"/>
            </a:xfrm>
            <a:custGeom>
              <a:avLst/>
              <a:gdLst>
                <a:gd name="connsiteX0" fmla="*/ 0 w 4595"/>
                <a:gd name="connsiteY0" fmla="*/ 71776 h 71776"/>
                <a:gd name="connsiteX1" fmla="*/ 0 w 4595"/>
                <a:gd name="connsiteY1" fmla="*/ 0 h 717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595" h="71776">
                  <a:moveTo>
                    <a:pt x="0" y="71776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83" name="Forma livre: Forma 1882">
              <a:extLst>
                <a:ext uri="{FF2B5EF4-FFF2-40B4-BE49-F238E27FC236}">
                  <a16:creationId xmlns:a16="http://schemas.microsoft.com/office/drawing/2014/main" id="{E6325752-95DE-D828-759B-586D3EA767CE}"/>
                </a:ext>
              </a:extLst>
            </p:cNvPr>
            <p:cNvSpPr/>
            <p:nvPr/>
          </p:nvSpPr>
          <p:spPr>
            <a:xfrm>
              <a:off x="4742018" y="5816657"/>
              <a:ext cx="71776" cy="4595"/>
            </a:xfrm>
            <a:custGeom>
              <a:avLst/>
              <a:gdLst>
                <a:gd name="connsiteX0" fmla="*/ 0 w 71776"/>
                <a:gd name="connsiteY0" fmla="*/ 0 h 4595"/>
                <a:gd name="connsiteX1" fmla="*/ 71776 w 71776"/>
                <a:gd name="connsiteY1" fmla="*/ 0 h 45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1776" h="4595">
                  <a:moveTo>
                    <a:pt x="0" y="0"/>
                  </a:moveTo>
                  <a:lnTo>
                    <a:pt x="71776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84" name="Forma livre: Forma 1883">
              <a:extLst>
                <a:ext uri="{FF2B5EF4-FFF2-40B4-BE49-F238E27FC236}">
                  <a16:creationId xmlns:a16="http://schemas.microsoft.com/office/drawing/2014/main" id="{14580A86-AB76-74BC-5945-1E17B6759479}"/>
                </a:ext>
              </a:extLst>
            </p:cNvPr>
            <p:cNvSpPr/>
            <p:nvPr/>
          </p:nvSpPr>
          <p:spPr>
            <a:xfrm>
              <a:off x="4482851" y="5816657"/>
              <a:ext cx="71776" cy="4595"/>
            </a:xfrm>
            <a:custGeom>
              <a:avLst/>
              <a:gdLst>
                <a:gd name="connsiteX0" fmla="*/ 0 w 71776"/>
                <a:gd name="connsiteY0" fmla="*/ 0 h 4595"/>
                <a:gd name="connsiteX1" fmla="*/ 71776 w 71776"/>
                <a:gd name="connsiteY1" fmla="*/ 0 h 45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1776" h="4595">
                  <a:moveTo>
                    <a:pt x="0" y="0"/>
                  </a:moveTo>
                  <a:lnTo>
                    <a:pt x="71776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885" name="Gráfico 25">
            <a:extLst>
              <a:ext uri="{FF2B5EF4-FFF2-40B4-BE49-F238E27FC236}">
                <a16:creationId xmlns:a16="http://schemas.microsoft.com/office/drawing/2014/main" id="{CE407D16-77EF-68EF-E602-2FC278B72720}"/>
              </a:ext>
            </a:extLst>
          </p:cNvPr>
          <p:cNvGrpSpPr/>
          <p:nvPr/>
        </p:nvGrpSpPr>
        <p:grpSpPr>
          <a:xfrm>
            <a:off x="4494707" y="5155851"/>
            <a:ext cx="307254" cy="307254"/>
            <a:chOff x="4494707" y="5155851"/>
            <a:chExt cx="307254" cy="307254"/>
          </a:xfrm>
        </p:grpSpPr>
        <p:sp>
          <p:nvSpPr>
            <p:cNvPr id="1886" name="Forma livre: Forma 1885">
              <a:extLst>
                <a:ext uri="{FF2B5EF4-FFF2-40B4-BE49-F238E27FC236}">
                  <a16:creationId xmlns:a16="http://schemas.microsoft.com/office/drawing/2014/main" id="{17F82FAA-CE0C-E351-50D8-86D470F6BDFE}"/>
                </a:ext>
              </a:extLst>
            </p:cNvPr>
            <p:cNvSpPr/>
            <p:nvPr/>
          </p:nvSpPr>
          <p:spPr>
            <a:xfrm>
              <a:off x="4615651" y="5231832"/>
              <a:ext cx="110283" cy="110283"/>
            </a:xfrm>
            <a:custGeom>
              <a:avLst/>
              <a:gdLst>
                <a:gd name="connsiteX0" fmla="*/ 0 w 110283"/>
                <a:gd name="connsiteY0" fmla="*/ 0 h 110283"/>
                <a:gd name="connsiteX1" fmla="*/ 48617 w 110283"/>
                <a:gd name="connsiteY1" fmla="*/ 61805 h 110283"/>
                <a:gd name="connsiteX2" fmla="*/ 110284 w 110283"/>
                <a:gd name="connsiteY2" fmla="*/ 110284 h 1102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10283" h="110283">
                  <a:moveTo>
                    <a:pt x="0" y="0"/>
                  </a:moveTo>
                  <a:cubicBezTo>
                    <a:pt x="0" y="0"/>
                    <a:pt x="16634" y="29822"/>
                    <a:pt x="48617" y="61805"/>
                  </a:cubicBezTo>
                  <a:cubicBezTo>
                    <a:pt x="80599" y="93787"/>
                    <a:pt x="110284" y="110284"/>
                    <a:pt x="110284" y="110284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87" name="Forma livre: Forma 1886">
              <a:extLst>
                <a:ext uri="{FF2B5EF4-FFF2-40B4-BE49-F238E27FC236}">
                  <a16:creationId xmlns:a16="http://schemas.microsoft.com/office/drawing/2014/main" id="{E0A1316B-59F8-6DEE-6718-D0A97058FB5E}"/>
                </a:ext>
              </a:extLst>
            </p:cNvPr>
            <p:cNvSpPr/>
            <p:nvPr/>
          </p:nvSpPr>
          <p:spPr>
            <a:xfrm>
              <a:off x="4543094" y="5368216"/>
              <a:ext cx="46411" cy="46548"/>
            </a:xfrm>
            <a:custGeom>
              <a:avLst/>
              <a:gdLst>
                <a:gd name="connsiteX0" fmla="*/ 46411 w 46411"/>
                <a:gd name="connsiteY0" fmla="*/ 46549 h 46548"/>
                <a:gd name="connsiteX1" fmla="*/ 15853 w 46411"/>
                <a:gd name="connsiteY1" fmla="*/ 30696 h 46548"/>
                <a:gd name="connsiteX2" fmla="*/ 0 w 46411"/>
                <a:gd name="connsiteY2" fmla="*/ 0 h 465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6411" h="46548">
                  <a:moveTo>
                    <a:pt x="46411" y="46549"/>
                  </a:moveTo>
                  <a:cubicBezTo>
                    <a:pt x="36256" y="45400"/>
                    <a:pt x="25090" y="39978"/>
                    <a:pt x="15853" y="30696"/>
                  </a:cubicBezTo>
                  <a:cubicBezTo>
                    <a:pt x="6571" y="21413"/>
                    <a:pt x="1103" y="10201"/>
                    <a:pt x="0" y="0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88" name="Forma livre: Forma 1887">
              <a:extLst>
                <a:ext uri="{FF2B5EF4-FFF2-40B4-BE49-F238E27FC236}">
                  <a16:creationId xmlns:a16="http://schemas.microsoft.com/office/drawing/2014/main" id="{6D201729-CD75-DFDF-1068-89516A86FC2D}"/>
                </a:ext>
              </a:extLst>
            </p:cNvPr>
            <p:cNvSpPr/>
            <p:nvPr/>
          </p:nvSpPr>
          <p:spPr>
            <a:xfrm>
              <a:off x="4595019" y="5293775"/>
              <a:ext cx="68927" cy="68973"/>
            </a:xfrm>
            <a:custGeom>
              <a:avLst/>
              <a:gdLst>
                <a:gd name="connsiteX0" fmla="*/ 68927 w 68927"/>
                <a:gd name="connsiteY0" fmla="*/ 0 h 68973"/>
                <a:gd name="connsiteX1" fmla="*/ 0 w 68927"/>
                <a:gd name="connsiteY1" fmla="*/ 68973 h 689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8927" h="68973">
                  <a:moveTo>
                    <a:pt x="68927" y="0"/>
                  </a:moveTo>
                  <a:lnTo>
                    <a:pt x="0" y="68973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89" name="Forma livre: Forma 1888">
              <a:extLst>
                <a:ext uri="{FF2B5EF4-FFF2-40B4-BE49-F238E27FC236}">
                  <a16:creationId xmlns:a16="http://schemas.microsoft.com/office/drawing/2014/main" id="{CB54B7B6-3A90-2577-6D06-B0E6D6C3C7D6}"/>
                </a:ext>
              </a:extLst>
            </p:cNvPr>
            <p:cNvSpPr/>
            <p:nvPr/>
          </p:nvSpPr>
          <p:spPr>
            <a:xfrm>
              <a:off x="4531882" y="5254257"/>
              <a:ext cx="36025" cy="10385"/>
            </a:xfrm>
            <a:custGeom>
              <a:avLst/>
              <a:gdLst>
                <a:gd name="connsiteX0" fmla="*/ 36026 w 36025"/>
                <a:gd name="connsiteY0" fmla="*/ 10385 h 10385"/>
                <a:gd name="connsiteX1" fmla="*/ 0 w 36025"/>
                <a:gd name="connsiteY1" fmla="*/ 0 h 103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6025" h="10385">
                  <a:moveTo>
                    <a:pt x="36026" y="10385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90" name="Forma livre: Forma 1889">
              <a:extLst>
                <a:ext uri="{FF2B5EF4-FFF2-40B4-BE49-F238E27FC236}">
                  <a16:creationId xmlns:a16="http://schemas.microsoft.com/office/drawing/2014/main" id="{2AAE15A8-B92D-8B3A-85B3-8A9137C438AA}"/>
                </a:ext>
              </a:extLst>
            </p:cNvPr>
            <p:cNvSpPr/>
            <p:nvPr/>
          </p:nvSpPr>
          <p:spPr>
            <a:xfrm>
              <a:off x="4494707" y="5322862"/>
              <a:ext cx="37496" cy="1378"/>
            </a:xfrm>
            <a:custGeom>
              <a:avLst/>
              <a:gdLst>
                <a:gd name="connsiteX0" fmla="*/ 37496 w 37496"/>
                <a:gd name="connsiteY0" fmla="*/ 0 h 1378"/>
                <a:gd name="connsiteX1" fmla="*/ 0 w 37496"/>
                <a:gd name="connsiteY1" fmla="*/ 1378 h 13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7496" h="1378">
                  <a:moveTo>
                    <a:pt x="37496" y="0"/>
                  </a:moveTo>
                  <a:lnTo>
                    <a:pt x="0" y="1378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91" name="Forma livre: Forma 1890">
              <a:extLst>
                <a:ext uri="{FF2B5EF4-FFF2-40B4-BE49-F238E27FC236}">
                  <a16:creationId xmlns:a16="http://schemas.microsoft.com/office/drawing/2014/main" id="{5554F6F9-903F-4CF2-4624-A2C62E145ADA}"/>
                </a:ext>
              </a:extLst>
            </p:cNvPr>
            <p:cNvSpPr/>
            <p:nvPr/>
          </p:nvSpPr>
          <p:spPr>
            <a:xfrm>
              <a:off x="4526459" y="5362978"/>
              <a:ext cx="68146" cy="6175"/>
            </a:xfrm>
            <a:custGeom>
              <a:avLst/>
              <a:gdLst>
                <a:gd name="connsiteX0" fmla="*/ 68146 w 68146"/>
                <a:gd name="connsiteY0" fmla="*/ 0 h 6175"/>
                <a:gd name="connsiteX1" fmla="*/ 0 w 68146"/>
                <a:gd name="connsiteY1" fmla="*/ 230 h 6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8146" h="6175">
                  <a:moveTo>
                    <a:pt x="68146" y="0"/>
                  </a:moveTo>
                  <a:cubicBezTo>
                    <a:pt x="68146" y="0"/>
                    <a:pt x="39105" y="13739"/>
                    <a:pt x="0" y="23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92" name="Forma livre: Forma 1891">
              <a:extLst>
                <a:ext uri="{FF2B5EF4-FFF2-40B4-BE49-F238E27FC236}">
                  <a16:creationId xmlns:a16="http://schemas.microsoft.com/office/drawing/2014/main" id="{0188EFA5-B34C-D143-822A-C6BF568FDC24}"/>
                </a:ext>
              </a:extLst>
            </p:cNvPr>
            <p:cNvSpPr/>
            <p:nvPr/>
          </p:nvSpPr>
          <p:spPr>
            <a:xfrm>
              <a:off x="4526374" y="5231649"/>
              <a:ext cx="89277" cy="131559"/>
            </a:xfrm>
            <a:custGeom>
              <a:avLst/>
              <a:gdLst>
                <a:gd name="connsiteX0" fmla="*/ 40 w 89277"/>
                <a:gd name="connsiteY0" fmla="*/ 131559 h 131559"/>
                <a:gd name="connsiteX1" fmla="*/ 43188 w 89277"/>
                <a:gd name="connsiteY1" fmla="*/ 32166 h 131559"/>
                <a:gd name="connsiteX2" fmla="*/ 89278 w 89277"/>
                <a:gd name="connsiteY2" fmla="*/ 0 h 1315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89277" h="131559">
                  <a:moveTo>
                    <a:pt x="40" y="131559"/>
                  </a:moveTo>
                  <a:cubicBezTo>
                    <a:pt x="-879" y="99944"/>
                    <a:pt x="14101" y="61253"/>
                    <a:pt x="43188" y="32166"/>
                  </a:cubicBezTo>
                  <a:cubicBezTo>
                    <a:pt x="57295" y="18059"/>
                    <a:pt x="73103" y="7260"/>
                    <a:pt x="89278" y="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93" name="Forma livre: Forma 1892">
              <a:extLst>
                <a:ext uri="{FF2B5EF4-FFF2-40B4-BE49-F238E27FC236}">
                  <a16:creationId xmlns:a16="http://schemas.microsoft.com/office/drawing/2014/main" id="{5AB551AE-9143-CD50-F1DA-42EEB9EB0F61}"/>
                </a:ext>
              </a:extLst>
            </p:cNvPr>
            <p:cNvSpPr/>
            <p:nvPr/>
          </p:nvSpPr>
          <p:spPr>
            <a:xfrm>
              <a:off x="4616162" y="5290380"/>
              <a:ext cx="7139" cy="7157"/>
            </a:xfrm>
            <a:custGeom>
              <a:avLst/>
              <a:gdLst>
                <a:gd name="connsiteX0" fmla="*/ 6106 w 7139"/>
                <a:gd name="connsiteY0" fmla="*/ 6106 h 7157"/>
                <a:gd name="connsiteX1" fmla="*/ 1051 w 7139"/>
                <a:gd name="connsiteY1" fmla="*/ 6106 h 7157"/>
                <a:gd name="connsiteX2" fmla="*/ 1051 w 7139"/>
                <a:gd name="connsiteY2" fmla="*/ 1051 h 7157"/>
                <a:gd name="connsiteX3" fmla="*/ 6106 w 7139"/>
                <a:gd name="connsiteY3" fmla="*/ 1051 h 7157"/>
                <a:gd name="connsiteX4" fmla="*/ 6106 w 7139"/>
                <a:gd name="connsiteY4" fmla="*/ 6106 h 71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39" h="7157">
                  <a:moveTo>
                    <a:pt x="6106" y="6106"/>
                  </a:moveTo>
                  <a:cubicBezTo>
                    <a:pt x="4681" y="7484"/>
                    <a:pt x="2430" y="7530"/>
                    <a:pt x="1051" y="6106"/>
                  </a:cubicBezTo>
                  <a:cubicBezTo>
                    <a:pt x="-327" y="4727"/>
                    <a:pt x="-373" y="2430"/>
                    <a:pt x="1051" y="1051"/>
                  </a:cubicBezTo>
                  <a:cubicBezTo>
                    <a:pt x="2476" y="-373"/>
                    <a:pt x="4727" y="-327"/>
                    <a:pt x="6106" y="1051"/>
                  </a:cubicBezTo>
                  <a:cubicBezTo>
                    <a:pt x="7484" y="2430"/>
                    <a:pt x="7484" y="4727"/>
                    <a:pt x="6106" y="6106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94" name="Forma livre: Forma 1893">
              <a:extLst>
                <a:ext uri="{FF2B5EF4-FFF2-40B4-BE49-F238E27FC236}">
                  <a16:creationId xmlns:a16="http://schemas.microsoft.com/office/drawing/2014/main" id="{D94C386A-18CA-B4CF-6772-3742CD56FE4F}"/>
                </a:ext>
              </a:extLst>
            </p:cNvPr>
            <p:cNvSpPr/>
            <p:nvPr/>
          </p:nvSpPr>
          <p:spPr>
            <a:xfrm>
              <a:off x="4578804" y="5294533"/>
              <a:ext cx="7139" cy="7139"/>
            </a:xfrm>
            <a:custGeom>
              <a:avLst/>
              <a:gdLst>
                <a:gd name="connsiteX0" fmla="*/ 6106 w 7139"/>
                <a:gd name="connsiteY0" fmla="*/ 6089 h 7139"/>
                <a:gd name="connsiteX1" fmla="*/ 1051 w 7139"/>
                <a:gd name="connsiteY1" fmla="*/ 6089 h 7139"/>
                <a:gd name="connsiteX2" fmla="*/ 1051 w 7139"/>
                <a:gd name="connsiteY2" fmla="*/ 1034 h 7139"/>
                <a:gd name="connsiteX3" fmla="*/ 6106 w 7139"/>
                <a:gd name="connsiteY3" fmla="*/ 1034 h 7139"/>
                <a:gd name="connsiteX4" fmla="*/ 6106 w 7139"/>
                <a:gd name="connsiteY4" fmla="*/ 6089 h 71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39" h="7139">
                  <a:moveTo>
                    <a:pt x="6106" y="6089"/>
                  </a:moveTo>
                  <a:cubicBezTo>
                    <a:pt x="4681" y="7467"/>
                    <a:pt x="2430" y="7513"/>
                    <a:pt x="1051" y="6089"/>
                  </a:cubicBezTo>
                  <a:cubicBezTo>
                    <a:pt x="-327" y="4710"/>
                    <a:pt x="-373" y="2412"/>
                    <a:pt x="1051" y="1034"/>
                  </a:cubicBezTo>
                  <a:cubicBezTo>
                    <a:pt x="2476" y="-345"/>
                    <a:pt x="4727" y="-345"/>
                    <a:pt x="6106" y="1034"/>
                  </a:cubicBezTo>
                  <a:cubicBezTo>
                    <a:pt x="7484" y="2412"/>
                    <a:pt x="7484" y="4710"/>
                    <a:pt x="6106" y="6089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95" name="Forma livre: Forma 1894">
              <a:extLst>
                <a:ext uri="{FF2B5EF4-FFF2-40B4-BE49-F238E27FC236}">
                  <a16:creationId xmlns:a16="http://schemas.microsoft.com/office/drawing/2014/main" id="{F2B55C93-01C6-19FA-F2E4-89B4F15A684A}"/>
                </a:ext>
              </a:extLst>
            </p:cNvPr>
            <p:cNvSpPr/>
            <p:nvPr/>
          </p:nvSpPr>
          <p:spPr>
            <a:xfrm>
              <a:off x="4566121" y="5329347"/>
              <a:ext cx="7157" cy="7157"/>
            </a:xfrm>
            <a:custGeom>
              <a:avLst/>
              <a:gdLst>
                <a:gd name="connsiteX0" fmla="*/ 6106 w 7157"/>
                <a:gd name="connsiteY0" fmla="*/ 6106 h 7157"/>
                <a:gd name="connsiteX1" fmla="*/ 1051 w 7157"/>
                <a:gd name="connsiteY1" fmla="*/ 6106 h 7157"/>
                <a:gd name="connsiteX2" fmla="*/ 1051 w 7157"/>
                <a:gd name="connsiteY2" fmla="*/ 1051 h 7157"/>
                <a:gd name="connsiteX3" fmla="*/ 6106 w 7157"/>
                <a:gd name="connsiteY3" fmla="*/ 1051 h 7157"/>
                <a:gd name="connsiteX4" fmla="*/ 6106 w 7157"/>
                <a:gd name="connsiteY4" fmla="*/ 6106 h 71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57" h="7157">
                  <a:moveTo>
                    <a:pt x="6106" y="6106"/>
                  </a:moveTo>
                  <a:cubicBezTo>
                    <a:pt x="4681" y="7484"/>
                    <a:pt x="2430" y="7530"/>
                    <a:pt x="1051" y="6106"/>
                  </a:cubicBezTo>
                  <a:cubicBezTo>
                    <a:pt x="-327" y="4727"/>
                    <a:pt x="-373" y="2430"/>
                    <a:pt x="1051" y="1051"/>
                  </a:cubicBezTo>
                  <a:cubicBezTo>
                    <a:pt x="2476" y="-373"/>
                    <a:pt x="4727" y="-327"/>
                    <a:pt x="6106" y="1051"/>
                  </a:cubicBezTo>
                  <a:cubicBezTo>
                    <a:pt x="7530" y="2476"/>
                    <a:pt x="7484" y="4727"/>
                    <a:pt x="6106" y="6106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96" name="Forma livre: Forma 1895">
              <a:extLst>
                <a:ext uri="{FF2B5EF4-FFF2-40B4-BE49-F238E27FC236}">
                  <a16:creationId xmlns:a16="http://schemas.microsoft.com/office/drawing/2014/main" id="{7D86FDBB-165B-79E2-3967-2DE0BA4B296F}"/>
                </a:ext>
              </a:extLst>
            </p:cNvPr>
            <p:cNvSpPr/>
            <p:nvPr/>
          </p:nvSpPr>
          <p:spPr>
            <a:xfrm>
              <a:off x="4693126" y="5389860"/>
              <a:ext cx="10430" cy="36071"/>
            </a:xfrm>
            <a:custGeom>
              <a:avLst/>
              <a:gdLst>
                <a:gd name="connsiteX0" fmla="*/ 0 w 10430"/>
                <a:gd name="connsiteY0" fmla="*/ 0 h 36071"/>
                <a:gd name="connsiteX1" fmla="*/ 10431 w 10430"/>
                <a:gd name="connsiteY1" fmla="*/ 36072 h 360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430" h="36071">
                  <a:moveTo>
                    <a:pt x="0" y="0"/>
                  </a:moveTo>
                  <a:lnTo>
                    <a:pt x="10431" y="36072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97" name="Forma livre: Forma 1896">
              <a:extLst>
                <a:ext uri="{FF2B5EF4-FFF2-40B4-BE49-F238E27FC236}">
                  <a16:creationId xmlns:a16="http://schemas.microsoft.com/office/drawing/2014/main" id="{ABEF0F01-0D2D-9910-977D-7FB8D863AFFB}"/>
                </a:ext>
              </a:extLst>
            </p:cNvPr>
            <p:cNvSpPr/>
            <p:nvPr/>
          </p:nvSpPr>
          <p:spPr>
            <a:xfrm>
              <a:off x="4633572" y="5425610"/>
              <a:ext cx="1378" cy="37496"/>
            </a:xfrm>
            <a:custGeom>
              <a:avLst/>
              <a:gdLst>
                <a:gd name="connsiteX0" fmla="*/ 1379 w 1378"/>
                <a:gd name="connsiteY0" fmla="*/ 0 h 37496"/>
                <a:gd name="connsiteX1" fmla="*/ 0 w 1378"/>
                <a:gd name="connsiteY1" fmla="*/ 37496 h 374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378" h="37496">
                  <a:moveTo>
                    <a:pt x="1379" y="0"/>
                  </a:moveTo>
                  <a:lnTo>
                    <a:pt x="0" y="37496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98" name="Forma livre: Forma 1897">
              <a:extLst>
                <a:ext uri="{FF2B5EF4-FFF2-40B4-BE49-F238E27FC236}">
                  <a16:creationId xmlns:a16="http://schemas.microsoft.com/office/drawing/2014/main" id="{EDBA0FD6-F0E7-26D1-6634-28AA599CD367}"/>
                </a:ext>
              </a:extLst>
            </p:cNvPr>
            <p:cNvSpPr/>
            <p:nvPr/>
          </p:nvSpPr>
          <p:spPr>
            <a:xfrm>
              <a:off x="4588660" y="5363208"/>
              <a:ext cx="6175" cy="68145"/>
            </a:xfrm>
            <a:custGeom>
              <a:avLst/>
              <a:gdLst>
                <a:gd name="connsiteX0" fmla="*/ 6175 w 6175"/>
                <a:gd name="connsiteY0" fmla="*/ 0 h 68145"/>
                <a:gd name="connsiteX1" fmla="*/ 5945 w 6175"/>
                <a:gd name="connsiteY1" fmla="*/ 68146 h 681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175" h="68145">
                  <a:moveTo>
                    <a:pt x="6175" y="0"/>
                  </a:moveTo>
                  <a:cubicBezTo>
                    <a:pt x="6175" y="0"/>
                    <a:pt x="-7564" y="29041"/>
                    <a:pt x="5945" y="68146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99" name="Forma livre: Forma 1898">
              <a:extLst>
                <a:ext uri="{FF2B5EF4-FFF2-40B4-BE49-F238E27FC236}">
                  <a16:creationId xmlns:a16="http://schemas.microsoft.com/office/drawing/2014/main" id="{7CA3CD3D-C155-F55B-4D0F-F2131BC58D18}"/>
                </a:ext>
              </a:extLst>
            </p:cNvPr>
            <p:cNvSpPr/>
            <p:nvPr/>
          </p:nvSpPr>
          <p:spPr>
            <a:xfrm>
              <a:off x="4594605" y="5342162"/>
              <a:ext cx="131559" cy="89277"/>
            </a:xfrm>
            <a:custGeom>
              <a:avLst/>
              <a:gdLst>
                <a:gd name="connsiteX0" fmla="*/ 0 w 131559"/>
                <a:gd name="connsiteY0" fmla="*/ 89238 h 89277"/>
                <a:gd name="connsiteX1" fmla="*/ 99393 w 131559"/>
                <a:gd name="connsiteY1" fmla="*/ 46089 h 89277"/>
                <a:gd name="connsiteX2" fmla="*/ 131559 w 131559"/>
                <a:gd name="connsiteY2" fmla="*/ 0 h 892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31559" h="89277">
                  <a:moveTo>
                    <a:pt x="0" y="89238"/>
                  </a:moveTo>
                  <a:cubicBezTo>
                    <a:pt x="31615" y="90157"/>
                    <a:pt x="70306" y="75177"/>
                    <a:pt x="99393" y="46089"/>
                  </a:cubicBezTo>
                  <a:cubicBezTo>
                    <a:pt x="113500" y="31982"/>
                    <a:pt x="124299" y="16175"/>
                    <a:pt x="131559" y="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00" name="Forma livre: Forma 1899">
              <a:extLst>
                <a:ext uri="{FF2B5EF4-FFF2-40B4-BE49-F238E27FC236}">
                  <a16:creationId xmlns:a16="http://schemas.microsoft.com/office/drawing/2014/main" id="{73A22AD3-31AB-07B8-6B80-ED7622E8F6EF}"/>
                </a:ext>
              </a:extLst>
            </p:cNvPr>
            <p:cNvSpPr/>
            <p:nvPr/>
          </p:nvSpPr>
          <p:spPr>
            <a:xfrm>
              <a:off x="4660276" y="5334511"/>
              <a:ext cx="7157" cy="7139"/>
            </a:xfrm>
            <a:custGeom>
              <a:avLst/>
              <a:gdLst>
                <a:gd name="connsiteX0" fmla="*/ 1051 w 7157"/>
                <a:gd name="connsiteY0" fmla="*/ 1034 h 7139"/>
                <a:gd name="connsiteX1" fmla="*/ 1051 w 7157"/>
                <a:gd name="connsiteY1" fmla="*/ 6089 h 7139"/>
                <a:gd name="connsiteX2" fmla="*/ 6106 w 7157"/>
                <a:gd name="connsiteY2" fmla="*/ 6089 h 7139"/>
                <a:gd name="connsiteX3" fmla="*/ 6106 w 7157"/>
                <a:gd name="connsiteY3" fmla="*/ 1034 h 7139"/>
                <a:gd name="connsiteX4" fmla="*/ 1051 w 7157"/>
                <a:gd name="connsiteY4" fmla="*/ 1034 h 71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57" h="7139">
                  <a:moveTo>
                    <a:pt x="1051" y="1034"/>
                  </a:moveTo>
                  <a:cubicBezTo>
                    <a:pt x="-327" y="2458"/>
                    <a:pt x="-373" y="4710"/>
                    <a:pt x="1051" y="6089"/>
                  </a:cubicBezTo>
                  <a:cubicBezTo>
                    <a:pt x="2430" y="7467"/>
                    <a:pt x="4727" y="7513"/>
                    <a:pt x="6106" y="6089"/>
                  </a:cubicBezTo>
                  <a:cubicBezTo>
                    <a:pt x="7530" y="4664"/>
                    <a:pt x="7484" y="2412"/>
                    <a:pt x="6106" y="1034"/>
                  </a:cubicBezTo>
                  <a:cubicBezTo>
                    <a:pt x="4727" y="-345"/>
                    <a:pt x="2430" y="-345"/>
                    <a:pt x="1051" y="1034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01" name="Forma livre: Forma 1900">
              <a:extLst>
                <a:ext uri="{FF2B5EF4-FFF2-40B4-BE49-F238E27FC236}">
                  <a16:creationId xmlns:a16="http://schemas.microsoft.com/office/drawing/2014/main" id="{6DAB967A-EB6A-3FC3-3800-F2407A4BB9BA}"/>
                </a:ext>
              </a:extLst>
            </p:cNvPr>
            <p:cNvSpPr/>
            <p:nvPr/>
          </p:nvSpPr>
          <p:spPr>
            <a:xfrm>
              <a:off x="4656140" y="5371806"/>
              <a:ext cx="7157" cy="7157"/>
            </a:xfrm>
            <a:custGeom>
              <a:avLst/>
              <a:gdLst>
                <a:gd name="connsiteX0" fmla="*/ 1051 w 7157"/>
                <a:gd name="connsiteY0" fmla="*/ 1051 h 7157"/>
                <a:gd name="connsiteX1" fmla="*/ 1051 w 7157"/>
                <a:gd name="connsiteY1" fmla="*/ 6106 h 7157"/>
                <a:gd name="connsiteX2" fmla="*/ 6106 w 7157"/>
                <a:gd name="connsiteY2" fmla="*/ 6106 h 7157"/>
                <a:gd name="connsiteX3" fmla="*/ 6106 w 7157"/>
                <a:gd name="connsiteY3" fmla="*/ 1051 h 7157"/>
                <a:gd name="connsiteX4" fmla="*/ 1051 w 7157"/>
                <a:gd name="connsiteY4" fmla="*/ 1051 h 71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57" h="7157">
                  <a:moveTo>
                    <a:pt x="1051" y="1051"/>
                  </a:moveTo>
                  <a:cubicBezTo>
                    <a:pt x="-327" y="2476"/>
                    <a:pt x="-373" y="4727"/>
                    <a:pt x="1051" y="6106"/>
                  </a:cubicBezTo>
                  <a:cubicBezTo>
                    <a:pt x="2430" y="7484"/>
                    <a:pt x="4727" y="7530"/>
                    <a:pt x="6106" y="6106"/>
                  </a:cubicBezTo>
                  <a:cubicBezTo>
                    <a:pt x="7530" y="4681"/>
                    <a:pt x="7484" y="2430"/>
                    <a:pt x="6106" y="1051"/>
                  </a:cubicBezTo>
                  <a:cubicBezTo>
                    <a:pt x="4681" y="-373"/>
                    <a:pt x="2430" y="-327"/>
                    <a:pt x="1051" y="1051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02" name="Forma livre: Forma 1901">
              <a:extLst>
                <a:ext uri="{FF2B5EF4-FFF2-40B4-BE49-F238E27FC236}">
                  <a16:creationId xmlns:a16="http://schemas.microsoft.com/office/drawing/2014/main" id="{4E771174-9A75-3CD3-7458-6F96C5474419}"/>
                </a:ext>
              </a:extLst>
            </p:cNvPr>
            <p:cNvSpPr/>
            <p:nvPr/>
          </p:nvSpPr>
          <p:spPr>
            <a:xfrm>
              <a:off x="4621309" y="5384506"/>
              <a:ext cx="7139" cy="7139"/>
            </a:xfrm>
            <a:custGeom>
              <a:avLst/>
              <a:gdLst>
                <a:gd name="connsiteX0" fmla="*/ 1051 w 7139"/>
                <a:gd name="connsiteY0" fmla="*/ 1034 h 7139"/>
                <a:gd name="connsiteX1" fmla="*/ 1051 w 7139"/>
                <a:gd name="connsiteY1" fmla="*/ 6089 h 7139"/>
                <a:gd name="connsiteX2" fmla="*/ 6106 w 7139"/>
                <a:gd name="connsiteY2" fmla="*/ 6089 h 7139"/>
                <a:gd name="connsiteX3" fmla="*/ 6106 w 7139"/>
                <a:gd name="connsiteY3" fmla="*/ 1034 h 7139"/>
                <a:gd name="connsiteX4" fmla="*/ 1051 w 7139"/>
                <a:gd name="connsiteY4" fmla="*/ 1034 h 71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39" h="7139">
                  <a:moveTo>
                    <a:pt x="1051" y="1034"/>
                  </a:moveTo>
                  <a:cubicBezTo>
                    <a:pt x="-327" y="2458"/>
                    <a:pt x="-373" y="4710"/>
                    <a:pt x="1051" y="6089"/>
                  </a:cubicBezTo>
                  <a:cubicBezTo>
                    <a:pt x="2430" y="7467"/>
                    <a:pt x="4727" y="7513"/>
                    <a:pt x="6106" y="6089"/>
                  </a:cubicBezTo>
                  <a:cubicBezTo>
                    <a:pt x="7484" y="4664"/>
                    <a:pt x="7484" y="2412"/>
                    <a:pt x="6106" y="1034"/>
                  </a:cubicBezTo>
                  <a:cubicBezTo>
                    <a:pt x="4727" y="-345"/>
                    <a:pt x="2430" y="-345"/>
                    <a:pt x="1051" y="1034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903" name="Gráfico 25">
              <a:extLst>
                <a:ext uri="{FF2B5EF4-FFF2-40B4-BE49-F238E27FC236}">
                  <a16:creationId xmlns:a16="http://schemas.microsoft.com/office/drawing/2014/main" id="{E145A068-E410-3517-9DBC-743087DD5FF3}"/>
                </a:ext>
              </a:extLst>
            </p:cNvPr>
            <p:cNvGrpSpPr/>
            <p:nvPr/>
          </p:nvGrpSpPr>
          <p:grpSpPr>
            <a:xfrm>
              <a:off x="4636054" y="5155851"/>
              <a:ext cx="165908" cy="165862"/>
              <a:chOff x="4636054" y="5155851"/>
              <a:chExt cx="165908" cy="165862"/>
            </a:xfrm>
            <a:noFill/>
          </p:grpSpPr>
          <p:sp>
            <p:nvSpPr>
              <p:cNvPr id="1904" name="Forma livre: Forma 1903">
                <a:extLst>
                  <a:ext uri="{FF2B5EF4-FFF2-40B4-BE49-F238E27FC236}">
                    <a16:creationId xmlns:a16="http://schemas.microsoft.com/office/drawing/2014/main" id="{7B202DC0-6D13-03E5-25BA-E3FD0ACE599A}"/>
                  </a:ext>
                </a:extLst>
              </p:cNvPr>
              <p:cNvSpPr/>
              <p:nvPr/>
            </p:nvSpPr>
            <p:spPr>
              <a:xfrm>
                <a:off x="4662154" y="5190017"/>
                <a:ext cx="2619" cy="26605"/>
              </a:xfrm>
              <a:custGeom>
                <a:avLst/>
                <a:gdLst>
                  <a:gd name="connsiteX0" fmla="*/ 2619 w 2619"/>
                  <a:gd name="connsiteY0" fmla="*/ 26606 h 26605"/>
                  <a:gd name="connsiteX1" fmla="*/ 0 w 2619"/>
                  <a:gd name="connsiteY1" fmla="*/ 0 h 266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619" h="26605">
                    <a:moveTo>
                      <a:pt x="2619" y="26606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905" name="Forma livre: Forma 1904">
                <a:extLst>
                  <a:ext uri="{FF2B5EF4-FFF2-40B4-BE49-F238E27FC236}">
                    <a16:creationId xmlns:a16="http://schemas.microsoft.com/office/drawing/2014/main" id="{2739623A-9FC0-9E2F-A78B-D296C9C37F1F}"/>
                  </a:ext>
                </a:extLst>
              </p:cNvPr>
              <p:cNvSpPr/>
              <p:nvPr/>
            </p:nvSpPr>
            <p:spPr>
              <a:xfrm>
                <a:off x="4695975" y="5155851"/>
                <a:ext cx="35090" cy="78967"/>
              </a:xfrm>
              <a:custGeom>
                <a:avLst/>
                <a:gdLst>
                  <a:gd name="connsiteX0" fmla="*/ 0 w 35090"/>
                  <a:gd name="connsiteY0" fmla="*/ 15601 h 78967"/>
                  <a:gd name="connsiteX1" fmla="*/ 4963 w 35090"/>
                  <a:gd name="connsiteY1" fmla="*/ 5078 h 78967"/>
                  <a:gd name="connsiteX2" fmla="*/ 29455 w 35090"/>
                  <a:gd name="connsiteY2" fmla="*/ 4986 h 78967"/>
                  <a:gd name="connsiteX3" fmla="*/ 34326 w 35090"/>
                  <a:gd name="connsiteY3" fmla="*/ 23550 h 78967"/>
                  <a:gd name="connsiteX4" fmla="*/ 10247 w 35090"/>
                  <a:gd name="connsiteY4" fmla="*/ 78968 h 789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5090" h="78967">
                    <a:moveTo>
                      <a:pt x="0" y="15601"/>
                    </a:moveTo>
                    <a:cubicBezTo>
                      <a:pt x="368" y="11741"/>
                      <a:pt x="2022" y="8019"/>
                      <a:pt x="4963" y="5078"/>
                    </a:cubicBezTo>
                    <a:cubicBezTo>
                      <a:pt x="11718" y="-1631"/>
                      <a:pt x="22700" y="-1723"/>
                      <a:pt x="29455" y="4986"/>
                    </a:cubicBezTo>
                    <a:cubicBezTo>
                      <a:pt x="34234" y="9765"/>
                      <a:pt x="36348" y="17577"/>
                      <a:pt x="34326" y="23550"/>
                    </a:cubicBezTo>
                    <a:cubicBezTo>
                      <a:pt x="34326" y="23550"/>
                      <a:pt x="27295" y="47261"/>
                      <a:pt x="10247" y="78968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906" name="Forma livre: Forma 1905">
                <a:extLst>
                  <a:ext uri="{FF2B5EF4-FFF2-40B4-BE49-F238E27FC236}">
                    <a16:creationId xmlns:a16="http://schemas.microsoft.com/office/drawing/2014/main" id="{02343C8D-B83B-C89F-CCAC-F22AEDCD1C14}"/>
                  </a:ext>
                </a:extLst>
              </p:cNvPr>
              <p:cNvSpPr/>
              <p:nvPr/>
            </p:nvSpPr>
            <p:spPr>
              <a:xfrm>
                <a:off x="4741191" y="5292994"/>
                <a:ext cx="26605" cy="2619"/>
              </a:xfrm>
              <a:custGeom>
                <a:avLst/>
                <a:gdLst>
                  <a:gd name="connsiteX0" fmla="*/ 0 w 26605"/>
                  <a:gd name="connsiteY0" fmla="*/ 0 h 2619"/>
                  <a:gd name="connsiteX1" fmla="*/ 26606 w 26605"/>
                  <a:gd name="connsiteY1" fmla="*/ 2619 h 26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6605" h="2619">
                    <a:moveTo>
                      <a:pt x="0" y="0"/>
                    </a:moveTo>
                    <a:lnTo>
                      <a:pt x="26606" y="2619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907" name="Forma livre: Forma 1906">
                <a:extLst>
                  <a:ext uri="{FF2B5EF4-FFF2-40B4-BE49-F238E27FC236}">
                    <a16:creationId xmlns:a16="http://schemas.microsoft.com/office/drawing/2014/main" id="{A83DDFC2-698E-4932-D715-28E4B63192E3}"/>
                  </a:ext>
                </a:extLst>
              </p:cNvPr>
              <p:cNvSpPr/>
              <p:nvPr/>
            </p:nvSpPr>
            <p:spPr>
              <a:xfrm>
                <a:off x="4722994" y="5226703"/>
                <a:ext cx="78967" cy="35090"/>
              </a:xfrm>
              <a:custGeom>
                <a:avLst/>
                <a:gdLst>
                  <a:gd name="connsiteX0" fmla="*/ 63367 w 78967"/>
                  <a:gd name="connsiteY0" fmla="*/ 35090 h 35090"/>
                  <a:gd name="connsiteX1" fmla="*/ 73890 w 78967"/>
                  <a:gd name="connsiteY1" fmla="*/ 30127 h 35090"/>
                  <a:gd name="connsiteX2" fmla="*/ 73982 w 78967"/>
                  <a:gd name="connsiteY2" fmla="*/ 5635 h 35090"/>
                  <a:gd name="connsiteX3" fmla="*/ 55418 w 78967"/>
                  <a:gd name="connsiteY3" fmla="*/ 764 h 35090"/>
                  <a:gd name="connsiteX4" fmla="*/ 0 w 78967"/>
                  <a:gd name="connsiteY4" fmla="*/ 24843 h 350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8967" h="35090">
                    <a:moveTo>
                      <a:pt x="63367" y="35090"/>
                    </a:moveTo>
                    <a:cubicBezTo>
                      <a:pt x="67227" y="34723"/>
                      <a:pt x="70949" y="33068"/>
                      <a:pt x="73890" y="30127"/>
                    </a:cubicBezTo>
                    <a:cubicBezTo>
                      <a:pt x="80599" y="23373"/>
                      <a:pt x="80691" y="12390"/>
                      <a:pt x="73982" y="5635"/>
                    </a:cubicBezTo>
                    <a:cubicBezTo>
                      <a:pt x="69203" y="856"/>
                      <a:pt x="61391" y="-1258"/>
                      <a:pt x="55418" y="764"/>
                    </a:cubicBezTo>
                    <a:cubicBezTo>
                      <a:pt x="55418" y="764"/>
                      <a:pt x="31707" y="7795"/>
                      <a:pt x="0" y="24843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908" name="Forma livre: Forma 1907">
                <a:extLst>
                  <a:ext uri="{FF2B5EF4-FFF2-40B4-BE49-F238E27FC236}">
                    <a16:creationId xmlns:a16="http://schemas.microsoft.com/office/drawing/2014/main" id="{A297FC17-F284-C3F2-17A3-78E0F4A2D76D}"/>
                  </a:ext>
                </a:extLst>
              </p:cNvPr>
              <p:cNvSpPr/>
              <p:nvPr/>
            </p:nvSpPr>
            <p:spPr>
              <a:xfrm>
                <a:off x="4636054" y="5217647"/>
                <a:ext cx="104087" cy="104066"/>
              </a:xfrm>
              <a:custGeom>
                <a:avLst/>
                <a:gdLst>
                  <a:gd name="connsiteX0" fmla="*/ 98934 w 104087"/>
                  <a:gd name="connsiteY0" fmla="*/ 104067 h 104066"/>
                  <a:gd name="connsiteX1" fmla="*/ 84505 w 104087"/>
                  <a:gd name="connsiteY1" fmla="*/ 32566 h 104066"/>
                  <a:gd name="connsiteX2" fmla="*/ 71501 w 104087"/>
                  <a:gd name="connsiteY2" fmla="*/ 19562 h 104066"/>
                  <a:gd name="connsiteX3" fmla="*/ 0 w 104087"/>
                  <a:gd name="connsiteY3" fmla="*/ 5133 h 1040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04087" h="104066">
                    <a:moveTo>
                      <a:pt x="98934" y="104067"/>
                    </a:moveTo>
                    <a:cubicBezTo>
                      <a:pt x="109181" y="80448"/>
                      <a:pt x="104034" y="52050"/>
                      <a:pt x="84505" y="32566"/>
                    </a:cubicBezTo>
                    <a:lnTo>
                      <a:pt x="71501" y="19562"/>
                    </a:lnTo>
                    <a:cubicBezTo>
                      <a:pt x="51971" y="33"/>
                      <a:pt x="23573" y="-5068"/>
                      <a:pt x="0" y="5133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909" name="Gráfico 25">
            <a:extLst>
              <a:ext uri="{FF2B5EF4-FFF2-40B4-BE49-F238E27FC236}">
                <a16:creationId xmlns:a16="http://schemas.microsoft.com/office/drawing/2014/main" id="{C0DA8F01-84DC-0270-35E5-3E9CE086F87C}"/>
              </a:ext>
            </a:extLst>
          </p:cNvPr>
          <p:cNvGrpSpPr/>
          <p:nvPr/>
        </p:nvGrpSpPr>
        <p:grpSpPr>
          <a:xfrm>
            <a:off x="5691100" y="3661440"/>
            <a:ext cx="306496" cy="252779"/>
            <a:chOff x="5691100" y="3661440"/>
            <a:chExt cx="306496" cy="252779"/>
          </a:xfrm>
          <a:noFill/>
        </p:grpSpPr>
        <p:grpSp>
          <p:nvGrpSpPr>
            <p:cNvPr id="1910" name="Gráfico 25">
              <a:extLst>
                <a:ext uri="{FF2B5EF4-FFF2-40B4-BE49-F238E27FC236}">
                  <a16:creationId xmlns:a16="http://schemas.microsoft.com/office/drawing/2014/main" id="{29F075AC-A75B-1487-5E84-0349D9758E18}"/>
                </a:ext>
              </a:extLst>
            </p:cNvPr>
            <p:cNvGrpSpPr/>
            <p:nvPr/>
          </p:nvGrpSpPr>
          <p:grpSpPr>
            <a:xfrm>
              <a:off x="5691100" y="3661440"/>
              <a:ext cx="306496" cy="173604"/>
              <a:chOff x="5691100" y="3661440"/>
              <a:chExt cx="306496" cy="173604"/>
            </a:xfrm>
            <a:noFill/>
          </p:grpSpPr>
          <p:sp>
            <p:nvSpPr>
              <p:cNvPr id="1911" name="Forma livre: Forma 1910">
                <a:extLst>
                  <a:ext uri="{FF2B5EF4-FFF2-40B4-BE49-F238E27FC236}">
                    <a16:creationId xmlns:a16="http://schemas.microsoft.com/office/drawing/2014/main" id="{3BCBE69A-AF2F-556F-F3DC-18DF6775CE9D}"/>
                  </a:ext>
                </a:extLst>
              </p:cNvPr>
              <p:cNvSpPr/>
              <p:nvPr/>
            </p:nvSpPr>
            <p:spPr>
              <a:xfrm>
                <a:off x="5691100" y="3661440"/>
                <a:ext cx="107572" cy="173604"/>
              </a:xfrm>
              <a:custGeom>
                <a:avLst/>
                <a:gdLst>
                  <a:gd name="connsiteX0" fmla="*/ 64700 w 107572"/>
                  <a:gd name="connsiteY0" fmla="*/ 173605 h 173604"/>
                  <a:gd name="connsiteX1" fmla="*/ 0 w 107572"/>
                  <a:gd name="connsiteY1" fmla="*/ 173605 h 173604"/>
                  <a:gd name="connsiteX2" fmla="*/ 57761 w 107572"/>
                  <a:gd name="connsiteY2" fmla="*/ 114373 h 173604"/>
                  <a:gd name="connsiteX3" fmla="*/ 14199 w 107572"/>
                  <a:gd name="connsiteY3" fmla="*/ 114373 h 173604"/>
                  <a:gd name="connsiteX4" fmla="*/ 60564 w 107572"/>
                  <a:gd name="connsiteY4" fmla="*/ 57577 h 173604"/>
                  <a:gd name="connsiteX5" fmla="*/ 29593 w 107572"/>
                  <a:gd name="connsiteY5" fmla="*/ 57577 h 173604"/>
                  <a:gd name="connsiteX6" fmla="*/ 79083 w 107572"/>
                  <a:gd name="connsiteY6" fmla="*/ 0 h 173604"/>
                  <a:gd name="connsiteX7" fmla="*/ 79588 w 107572"/>
                  <a:gd name="connsiteY7" fmla="*/ 0 h 173604"/>
                  <a:gd name="connsiteX8" fmla="*/ 107572 w 107572"/>
                  <a:gd name="connsiteY8" fmla="*/ 32534 h 1736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07572" h="173604">
                    <a:moveTo>
                      <a:pt x="64700" y="173605"/>
                    </a:moveTo>
                    <a:lnTo>
                      <a:pt x="0" y="173605"/>
                    </a:lnTo>
                    <a:lnTo>
                      <a:pt x="57761" y="114373"/>
                    </a:lnTo>
                    <a:lnTo>
                      <a:pt x="14199" y="114373"/>
                    </a:lnTo>
                    <a:lnTo>
                      <a:pt x="60564" y="57577"/>
                    </a:lnTo>
                    <a:lnTo>
                      <a:pt x="29593" y="57577"/>
                    </a:lnTo>
                    <a:lnTo>
                      <a:pt x="79083" y="0"/>
                    </a:lnTo>
                    <a:lnTo>
                      <a:pt x="79588" y="0"/>
                    </a:lnTo>
                    <a:lnTo>
                      <a:pt x="107572" y="32534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912" name="Forma livre: Forma 1911">
                <a:extLst>
                  <a:ext uri="{FF2B5EF4-FFF2-40B4-BE49-F238E27FC236}">
                    <a16:creationId xmlns:a16="http://schemas.microsoft.com/office/drawing/2014/main" id="{0F47D30D-77E9-9510-5876-A57B62272972}"/>
                  </a:ext>
                </a:extLst>
              </p:cNvPr>
              <p:cNvSpPr/>
              <p:nvPr/>
            </p:nvSpPr>
            <p:spPr>
              <a:xfrm>
                <a:off x="5890024" y="3661440"/>
                <a:ext cx="107572" cy="173604"/>
              </a:xfrm>
              <a:custGeom>
                <a:avLst/>
                <a:gdLst>
                  <a:gd name="connsiteX0" fmla="*/ 42873 w 107572"/>
                  <a:gd name="connsiteY0" fmla="*/ 173605 h 173604"/>
                  <a:gd name="connsiteX1" fmla="*/ 107572 w 107572"/>
                  <a:gd name="connsiteY1" fmla="*/ 173605 h 173604"/>
                  <a:gd name="connsiteX2" fmla="*/ 49765 w 107572"/>
                  <a:gd name="connsiteY2" fmla="*/ 114373 h 173604"/>
                  <a:gd name="connsiteX3" fmla="*/ 93373 w 107572"/>
                  <a:gd name="connsiteY3" fmla="*/ 114373 h 173604"/>
                  <a:gd name="connsiteX4" fmla="*/ 47008 w 107572"/>
                  <a:gd name="connsiteY4" fmla="*/ 57577 h 173604"/>
                  <a:gd name="connsiteX5" fmla="*/ 77980 w 107572"/>
                  <a:gd name="connsiteY5" fmla="*/ 57577 h 173604"/>
                  <a:gd name="connsiteX6" fmla="*/ 28490 w 107572"/>
                  <a:gd name="connsiteY6" fmla="*/ 0 h 173604"/>
                  <a:gd name="connsiteX7" fmla="*/ 27984 w 107572"/>
                  <a:gd name="connsiteY7" fmla="*/ 0 h 173604"/>
                  <a:gd name="connsiteX8" fmla="*/ 0 w 107572"/>
                  <a:gd name="connsiteY8" fmla="*/ 32534 h 1736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07572" h="173604">
                    <a:moveTo>
                      <a:pt x="42873" y="173605"/>
                    </a:moveTo>
                    <a:lnTo>
                      <a:pt x="107572" y="173605"/>
                    </a:lnTo>
                    <a:lnTo>
                      <a:pt x="49765" y="114373"/>
                    </a:lnTo>
                    <a:lnTo>
                      <a:pt x="93373" y="114373"/>
                    </a:lnTo>
                    <a:lnTo>
                      <a:pt x="47008" y="57577"/>
                    </a:lnTo>
                    <a:lnTo>
                      <a:pt x="77980" y="57577"/>
                    </a:lnTo>
                    <a:lnTo>
                      <a:pt x="28490" y="0"/>
                    </a:lnTo>
                    <a:lnTo>
                      <a:pt x="27984" y="0"/>
                    </a:lnTo>
                    <a:lnTo>
                      <a:pt x="0" y="32534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913" name="Forma livre: Forma 1912">
              <a:extLst>
                <a:ext uri="{FF2B5EF4-FFF2-40B4-BE49-F238E27FC236}">
                  <a16:creationId xmlns:a16="http://schemas.microsoft.com/office/drawing/2014/main" id="{A216C413-CD08-BAF0-FB63-4E942344C5A1}"/>
                </a:ext>
              </a:extLst>
            </p:cNvPr>
            <p:cNvSpPr/>
            <p:nvPr/>
          </p:nvSpPr>
          <p:spPr>
            <a:xfrm>
              <a:off x="5829139" y="3869371"/>
              <a:ext cx="30419" cy="44848"/>
            </a:xfrm>
            <a:custGeom>
              <a:avLst/>
              <a:gdLst>
                <a:gd name="connsiteX0" fmla="*/ 30420 w 30419"/>
                <a:gd name="connsiteY0" fmla="*/ 0 h 44848"/>
                <a:gd name="connsiteX1" fmla="*/ 30420 w 30419"/>
                <a:gd name="connsiteY1" fmla="*/ 44849 h 44848"/>
                <a:gd name="connsiteX2" fmla="*/ 0 w 30419"/>
                <a:gd name="connsiteY2" fmla="*/ 44849 h 44848"/>
                <a:gd name="connsiteX3" fmla="*/ 0 w 30419"/>
                <a:gd name="connsiteY3" fmla="*/ 0 h 44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0419" h="44848">
                  <a:moveTo>
                    <a:pt x="30420" y="0"/>
                  </a:moveTo>
                  <a:lnTo>
                    <a:pt x="30420" y="44849"/>
                  </a:lnTo>
                  <a:lnTo>
                    <a:pt x="0" y="44849"/>
                  </a:lnTo>
                  <a:lnTo>
                    <a:pt x="0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14" name="Forma livre: Forma 1913">
              <a:extLst>
                <a:ext uri="{FF2B5EF4-FFF2-40B4-BE49-F238E27FC236}">
                  <a16:creationId xmlns:a16="http://schemas.microsoft.com/office/drawing/2014/main" id="{7EBDF9F0-10EB-A34E-8652-972AE3684109}"/>
                </a:ext>
              </a:extLst>
            </p:cNvPr>
            <p:cNvSpPr/>
            <p:nvPr/>
          </p:nvSpPr>
          <p:spPr>
            <a:xfrm>
              <a:off x="5755616" y="3675502"/>
              <a:ext cx="177464" cy="193869"/>
            </a:xfrm>
            <a:custGeom>
              <a:avLst/>
              <a:gdLst>
                <a:gd name="connsiteX0" fmla="*/ 0 w 177464"/>
                <a:gd name="connsiteY0" fmla="*/ 193869 h 193869"/>
                <a:gd name="connsiteX1" fmla="*/ 64562 w 177464"/>
                <a:gd name="connsiteY1" fmla="*/ 127699 h 193869"/>
                <a:gd name="connsiteX2" fmla="*/ 15853 w 177464"/>
                <a:gd name="connsiteY2" fmla="*/ 127699 h 193869"/>
                <a:gd name="connsiteX3" fmla="*/ 67503 w 177464"/>
                <a:gd name="connsiteY3" fmla="*/ 64286 h 193869"/>
                <a:gd name="connsiteX4" fmla="*/ 33039 w 177464"/>
                <a:gd name="connsiteY4" fmla="*/ 64286 h 193869"/>
                <a:gd name="connsiteX5" fmla="*/ 88457 w 177464"/>
                <a:gd name="connsiteY5" fmla="*/ 0 h 193869"/>
                <a:gd name="connsiteX6" fmla="*/ 89008 w 177464"/>
                <a:gd name="connsiteY6" fmla="*/ 0 h 193869"/>
                <a:gd name="connsiteX7" fmla="*/ 144380 w 177464"/>
                <a:gd name="connsiteY7" fmla="*/ 64286 h 193869"/>
                <a:gd name="connsiteX8" fmla="*/ 109962 w 177464"/>
                <a:gd name="connsiteY8" fmla="*/ 64286 h 193869"/>
                <a:gd name="connsiteX9" fmla="*/ 161566 w 177464"/>
                <a:gd name="connsiteY9" fmla="*/ 127699 h 193869"/>
                <a:gd name="connsiteX10" fmla="*/ 112903 w 177464"/>
                <a:gd name="connsiteY10" fmla="*/ 127699 h 193869"/>
                <a:gd name="connsiteX11" fmla="*/ 177465 w 177464"/>
                <a:gd name="connsiteY11" fmla="*/ 193869 h 193869"/>
                <a:gd name="connsiteX12" fmla="*/ 0 w 177464"/>
                <a:gd name="connsiteY12" fmla="*/ 193869 h 1938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77464" h="193869">
                  <a:moveTo>
                    <a:pt x="0" y="193869"/>
                  </a:moveTo>
                  <a:lnTo>
                    <a:pt x="64562" y="127699"/>
                  </a:lnTo>
                  <a:lnTo>
                    <a:pt x="15853" y="127699"/>
                  </a:lnTo>
                  <a:lnTo>
                    <a:pt x="67503" y="64286"/>
                  </a:lnTo>
                  <a:lnTo>
                    <a:pt x="33039" y="64286"/>
                  </a:lnTo>
                  <a:lnTo>
                    <a:pt x="88457" y="0"/>
                  </a:lnTo>
                  <a:lnTo>
                    <a:pt x="89008" y="0"/>
                  </a:lnTo>
                  <a:lnTo>
                    <a:pt x="144380" y="64286"/>
                  </a:lnTo>
                  <a:lnTo>
                    <a:pt x="109962" y="64286"/>
                  </a:lnTo>
                  <a:lnTo>
                    <a:pt x="161566" y="127699"/>
                  </a:lnTo>
                  <a:lnTo>
                    <a:pt x="112903" y="127699"/>
                  </a:lnTo>
                  <a:lnTo>
                    <a:pt x="177465" y="193869"/>
                  </a:lnTo>
                  <a:lnTo>
                    <a:pt x="0" y="193869"/>
                  </a:ln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915" name="Gráfico 25">
            <a:extLst>
              <a:ext uri="{FF2B5EF4-FFF2-40B4-BE49-F238E27FC236}">
                <a16:creationId xmlns:a16="http://schemas.microsoft.com/office/drawing/2014/main" id="{050BD885-0657-32F4-D638-2536F19704FD}"/>
              </a:ext>
            </a:extLst>
          </p:cNvPr>
          <p:cNvGrpSpPr/>
          <p:nvPr/>
        </p:nvGrpSpPr>
        <p:grpSpPr>
          <a:xfrm>
            <a:off x="5762122" y="4102896"/>
            <a:ext cx="164368" cy="352815"/>
            <a:chOff x="5762122" y="4102896"/>
            <a:chExt cx="164368" cy="352815"/>
          </a:xfrm>
          <a:noFill/>
        </p:grpSpPr>
        <p:sp>
          <p:nvSpPr>
            <p:cNvPr id="1916" name="Forma livre: Forma 1915">
              <a:extLst>
                <a:ext uri="{FF2B5EF4-FFF2-40B4-BE49-F238E27FC236}">
                  <a16:creationId xmlns:a16="http://schemas.microsoft.com/office/drawing/2014/main" id="{731D9FB3-3A07-AE0E-9C39-AA4BE76E080E}"/>
                </a:ext>
              </a:extLst>
            </p:cNvPr>
            <p:cNvSpPr/>
            <p:nvPr/>
          </p:nvSpPr>
          <p:spPr>
            <a:xfrm>
              <a:off x="5772132" y="4265932"/>
              <a:ext cx="144415" cy="113546"/>
            </a:xfrm>
            <a:custGeom>
              <a:avLst/>
              <a:gdLst>
                <a:gd name="connsiteX0" fmla="*/ 126669 w 144415"/>
                <a:gd name="connsiteY0" fmla="*/ 0 h 113546"/>
                <a:gd name="connsiteX1" fmla="*/ 72309 w 144415"/>
                <a:gd name="connsiteY1" fmla="*/ 113546 h 113546"/>
                <a:gd name="connsiteX2" fmla="*/ 72125 w 144415"/>
                <a:gd name="connsiteY2" fmla="*/ 113546 h 113546"/>
                <a:gd name="connsiteX3" fmla="*/ 17764 w 144415"/>
                <a:gd name="connsiteY3" fmla="*/ 0 h 1135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4415" h="113546">
                  <a:moveTo>
                    <a:pt x="126669" y="0"/>
                  </a:moveTo>
                  <a:cubicBezTo>
                    <a:pt x="126669" y="0"/>
                    <a:pt x="191875" y="40024"/>
                    <a:pt x="72309" y="113546"/>
                  </a:cubicBezTo>
                  <a:lnTo>
                    <a:pt x="72125" y="113546"/>
                  </a:lnTo>
                  <a:cubicBezTo>
                    <a:pt x="-47487" y="39978"/>
                    <a:pt x="17764" y="0"/>
                    <a:pt x="17764" y="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17" name="Forma livre: Forma 1916">
              <a:extLst>
                <a:ext uri="{FF2B5EF4-FFF2-40B4-BE49-F238E27FC236}">
                  <a16:creationId xmlns:a16="http://schemas.microsoft.com/office/drawing/2014/main" id="{DBE816D6-3AD2-B444-CB52-07CE599A173D}"/>
                </a:ext>
              </a:extLst>
            </p:cNvPr>
            <p:cNvSpPr/>
            <p:nvPr/>
          </p:nvSpPr>
          <p:spPr>
            <a:xfrm>
              <a:off x="5792607" y="4102896"/>
              <a:ext cx="103528" cy="157843"/>
            </a:xfrm>
            <a:custGeom>
              <a:avLst/>
              <a:gdLst>
                <a:gd name="connsiteX0" fmla="*/ 51879 w 103528"/>
                <a:gd name="connsiteY0" fmla="*/ 0 h 157843"/>
                <a:gd name="connsiteX1" fmla="*/ 103529 w 103528"/>
                <a:gd name="connsiteY1" fmla="*/ 157843 h 157843"/>
                <a:gd name="connsiteX2" fmla="*/ 0 w 103528"/>
                <a:gd name="connsiteY2" fmla="*/ 157843 h 157843"/>
                <a:gd name="connsiteX3" fmla="*/ 51649 w 103528"/>
                <a:gd name="connsiteY3" fmla="*/ 0 h 157843"/>
                <a:gd name="connsiteX4" fmla="*/ 51879 w 103528"/>
                <a:gd name="connsiteY4" fmla="*/ 0 h 1578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3528" h="157843">
                  <a:moveTo>
                    <a:pt x="51879" y="0"/>
                  </a:moveTo>
                  <a:cubicBezTo>
                    <a:pt x="51879" y="0"/>
                    <a:pt x="95579" y="75360"/>
                    <a:pt x="103529" y="157843"/>
                  </a:cubicBezTo>
                  <a:lnTo>
                    <a:pt x="0" y="157843"/>
                  </a:lnTo>
                  <a:cubicBezTo>
                    <a:pt x="7950" y="75314"/>
                    <a:pt x="51649" y="0"/>
                    <a:pt x="51649" y="0"/>
                  </a:cubicBezTo>
                  <a:lnTo>
                    <a:pt x="51879" y="0"/>
                  </a:ln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18" name="Forma livre: Forma 1917">
              <a:extLst>
                <a:ext uri="{FF2B5EF4-FFF2-40B4-BE49-F238E27FC236}">
                  <a16:creationId xmlns:a16="http://schemas.microsoft.com/office/drawing/2014/main" id="{B9AF7FDF-68DA-365C-B52D-EA77F0680305}"/>
                </a:ext>
              </a:extLst>
            </p:cNvPr>
            <p:cNvSpPr/>
            <p:nvPr/>
          </p:nvSpPr>
          <p:spPr>
            <a:xfrm>
              <a:off x="5762122" y="4350575"/>
              <a:ext cx="164368" cy="54130"/>
            </a:xfrm>
            <a:custGeom>
              <a:avLst/>
              <a:gdLst>
                <a:gd name="connsiteX0" fmla="*/ 153589 w 164368"/>
                <a:gd name="connsiteY0" fmla="*/ 0 h 54130"/>
                <a:gd name="connsiteX1" fmla="*/ 164204 w 164368"/>
                <a:gd name="connsiteY1" fmla="*/ 54131 h 54130"/>
                <a:gd name="connsiteX2" fmla="*/ 157 w 164368"/>
                <a:gd name="connsiteY2" fmla="*/ 54131 h 54130"/>
                <a:gd name="connsiteX3" fmla="*/ 10634 w 164368"/>
                <a:gd name="connsiteY3" fmla="*/ 322 h 541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64368" h="54130">
                  <a:moveTo>
                    <a:pt x="153589" y="0"/>
                  </a:moveTo>
                  <a:cubicBezTo>
                    <a:pt x="159471" y="11764"/>
                    <a:pt x="165444" y="29914"/>
                    <a:pt x="164204" y="54131"/>
                  </a:cubicBezTo>
                  <a:lnTo>
                    <a:pt x="157" y="54131"/>
                  </a:lnTo>
                  <a:cubicBezTo>
                    <a:pt x="-1038" y="30098"/>
                    <a:pt x="4798" y="12085"/>
                    <a:pt x="10634" y="322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19" name="Forma livre: Forma 1918">
              <a:extLst>
                <a:ext uri="{FF2B5EF4-FFF2-40B4-BE49-F238E27FC236}">
                  <a16:creationId xmlns:a16="http://schemas.microsoft.com/office/drawing/2014/main" id="{F0F9E054-2525-7496-D4A3-ED1B4BEE33B1}"/>
                </a:ext>
              </a:extLst>
            </p:cNvPr>
            <p:cNvSpPr/>
            <p:nvPr/>
          </p:nvSpPr>
          <p:spPr>
            <a:xfrm>
              <a:off x="5832999" y="4329667"/>
              <a:ext cx="22700" cy="4595"/>
            </a:xfrm>
            <a:custGeom>
              <a:avLst/>
              <a:gdLst>
                <a:gd name="connsiteX0" fmla="*/ 0 w 22700"/>
                <a:gd name="connsiteY0" fmla="*/ 0 h 4595"/>
                <a:gd name="connsiteX1" fmla="*/ 22700 w 22700"/>
                <a:gd name="connsiteY1" fmla="*/ 0 h 45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2700" h="4595">
                  <a:moveTo>
                    <a:pt x="0" y="0"/>
                  </a:moveTo>
                  <a:lnTo>
                    <a:pt x="2270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20" name="Forma livre: Forma 1919">
              <a:extLst>
                <a:ext uri="{FF2B5EF4-FFF2-40B4-BE49-F238E27FC236}">
                  <a16:creationId xmlns:a16="http://schemas.microsoft.com/office/drawing/2014/main" id="{69F1BD72-16D7-2A62-13B1-98CBD33F7F70}"/>
                </a:ext>
              </a:extLst>
            </p:cNvPr>
            <p:cNvSpPr/>
            <p:nvPr/>
          </p:nvSpPr>
          <p:spPr>
            <a:xfrm>
              <a:off x="5791964" y="4266300"/>
              <a:ext cx="104769" cy="45032"/>
            </a:xfrm>
            <a:custGeom>
              <a:avLst/>
              <a:gdLst>
                <a:gd name="connsiteX0" fmla="*/ 104769 w 104769"/>
                <a:gd name="connsiteY0" fmla="*/ 0 h 45032"/>
                <a:gd name="connsiteX1" fmla="*/ 87905 w 104769"/>
                <a:gd name="connsiteY1" fmla="*/ 45032 h 45032"/>
                <a:gd name="connsiteX2" fmla="*/ 52568 w 104769"/>
                <a:gd name="connsiteY2" fmla="*/ 37818 h 45032"/>
                <a:gd name="connsiteX3" fmla="*/ 52477 w 104769"/>
                <a:gd name="connsiteY3" fmla="*/ 37818 h 45032"/>
                <a:gd name="connsiteX4" fmla="*/ 16864 w 104769"/>
                <a:gd name="connsiteY4" fmla="*/ 45032 h 45032"/>
                <a:gd name="connsiteX5" fmla="*/ 0 w 104769"/>
                <a:gd name="connsiteY5" fmla="*/ 0 h 450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04769" h="45032">
                  <a:moveTo>
                    <a:pt x="104769" y="0"/>
                  </a:moveTo>
                  <a:cubicBezTo>
                    <a:pt x="104769" y="17553"/>
                    <a:pt x="87905" y="45032"/>
                    <a:pt x="87905" y="45032"/>
                  </a:cubicBezTo>
                  <a:cubicBezTo>
                    <a:pt x="75131" y="36761"/>
                    <a:pt x="52568" y="37818"/>
                    <a:pt x="52568" y="37818"/>
                  </a:cubicBezTo>
                  <a:lnTo>
                    <a:pt x="52477" y="37818"/>
                  </a:lnTo>
                  <a:cubicBezTo>
                    <a:pt x="52477" y="37818"/>
                    <a:pt x="29639" y="36761"/>
                    <a:pt x="16864" y="45032"/>
                  </a:cubicBezTo>
                  <a:cubicBezTo>
                    <a:pt x="16864" y="45032"/>
                    <a:pt x="0" y="17553"/>
                    <a:pt x="0" y="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21" name="Forma livre: Forma 1920">
              <a:extLst>
                <a:ext uri="{FF2B5EF4-FFF2-40B4-BE49-F238E27FC236}">
                  <a16:creationId xmlns:a16="http://schemas.microsoft.com/office/drawing/2014/main" id="{A7156011-9F9B-01C1-7721-E4DEFB15BE62}"/>
                </a:ext>
              </a:extLst>
            </p:cNvPr>
            <p:cNvSpPr/>
            <p:nvPr/>
          </p:nvSpPr>
          <p:spPr>
            <a:xfrm>
              <a:off x="5844349" y="4408933"/>
              <a:ext cx="4595" cy="46502"/>
            </a:xfrm>
            <a:custGeom>
              <a:avLst/>
              <a:gdLst>
                <a:gd name="connsiteX0" fmla="*/ 0 w 4595"/>
                <a:gd name="connsiteY0" fmla="*/ 46503 h 46502"/>
                <a:gd name="connsiteX1" fmla="*/ 0 w 4595"/>
                <a:gd name="connsiteY1" fmla="*/ 0 h 465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595" h="46502">
                  <a:moveTo>
                    <a:pt x="0" y="46503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22" name="Forma livre: Forma 1921">
              <a:extLst>
                <a:ext uri="{FF2B5EF4-FFF2-40B4-BE49-F238E27FC236}">
                  <a16:creationId xmlns:a16="http://schemas.microsoft.com/office/drawing/2014/main" id="{9F7BCAE4-39D4-6EBE-609A-B7CF79EC9925}"/>
                </a:ext>
              </a:extLst>
            </p:cNvPr>
            <p:cNvSpPr/>
            <p:nvPr/>
          </p:nvSpPr>
          <p:spPr>
            <a:xfrm>
              <a:off x="5844349" y="4408933"/>
              <a:ext cx="4595" cy="46502"/>
            </a:xfrm>
            <a:custGeom>
              <a:avLst/>
              <a:gdLst>
                <a:gd name="connsiteX0" fmla="*/ 0 w 4595"/>
                <a:gd name="connsiteY0" fmla="*/ 46503 h 46502"/>
                <a:gd name="connsiteX1" fmla="*/ 0 w 4595"/>
                <a:gd name="connsiteY1" fmla="*/ 0 h 465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595" h="46502">
                  <a:moveTo>
                    <a:pt x="0" y="46503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923" name="Gráfico 25">
              <a:extLst>
                <a:ext uri="{FF2B5EF4-FFF2-40B4-BE49-F238E27FC236}">
                  <a16:creationId xmlns:a16="http://schemas.microsoft.com/office/drawing/2014/main" id="{2D229B27-B02D-D8FD-0D8D-A72585FD6808}"/>
                </a:ext>
              </a:extLst>
            </p:cNvPr>
            <p:cNvGrpSpPr/>
            <p:nvPr/>
          </p:nvGrpSpPr>
          <p:grpSpPr>
            <a:xfrm>
              <a:off x="5781073" y="4406957"/>
              <a:ext cx="126550" cy="46273"/>
              <a:chOff x="5781073" y="4406957"/>
              <a:chExt cx="126550" cy="46273"/>
            </a:xfrm>
          </p:grpSpPr>
          <p:sp>
            <p:nvSpPr>
              <p:cNvPr id="1924" name="Forma livre: Forma 1923">
                <a:extLst>
                  <a:ext uri="{FF2B5EF4-FFF2-40B4-BE49-F238E27FC236}">
                    <a16:creationId xmlns:a16="http://schemas.microsoft.com/office/drawing/2014/main" id="{57A1489E-0FC1-24EC-FBA2-07BC6770A9C4}"/>
                  </a:ext>
                </a:extLst>
              </p:cNvPr>
              <p:cNvSpPr/>
              <p:nvPr/>
            </p:nvSpPr>
            <p:spPr>
              <a:xfrm>
                <a:off x="5781073" y="4406957"/>
                <a:ext cx="27800" cy="46273"/>
              </a:xfrm>
              <a:custGeom>
                <a:avLst/>
                <a:gdLst>
                  <a:gd name="connsiteX0" fmla="*/ 0 w 27800"/>
                  <a:gd name="connsiteY0" fmla="*/ 0 h 46273"/>
                  <a:gd name="connsiteX1" fmla="*/ 27801 w 27800"/>
                  <a:gd name="connsiteY1" fmla="*/ 46273 h 462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7800" h="46273">
                    <a:moveTo>
                      <a:pt x="0" y="0"/>
                    </a:moveTo>
                    <a:lnTo>
                      <a:pt x="27801" y="46273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925" name="Forma livre: Forma 1924">
                <a:extLst>
                  <a:ext uri="{FF2B5EF4-FFF2-40B4-BE49-F238E27FC236}">
                    <a16:creationId xmlns:a16="http://schemas.microsoft.com/office/drawing/2014/main" id="{FEBFF16A-E6DB-E50E-276F-1845349DDF77}"/>
                  </a:ext>
                </a:extLst>
              </p:cNvPr>
              <p:cNvSpPr/>
              <p:nvPr/>
            </p:nvSpPr>
            <p:spPr>
              <a:xfrm>
                <a:off x="5879777" y="4406957"/>
                <a:ext cx="27846" cy="46273"/>
              </a:xfrm>
              <a:custGeom>
                <a:avLst/>
                <a:gdLst>
                  <a:gd name="connsiteX0" fmla="*/ 27847 w 27846"/>
                  <a:gd name="connsiteY0" fmla="*/ 0 h 46273"/>
                  <a:gd name="connsiteX1" fmla="*/ 0 w 27846"/>
                  <a:gd name="connsiteY1" fmla="*/ 46273 h 462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7846" h="46273">
                    <a:moveTo>
                      <a:pt x="27847" y="0"/>
                    </a:moveTo>
                    <a:lnTo>
                      <a:pt x="0" y="46273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926" name="Gráfico 25">
              <a:extLst>
                <a:ext uri="{FF2B5EF4-FFF2-40B4-BE49-F238E27FC236}">
                  <a16:creationId xmlns:a16="http://schemas.microsoft.com/office/drawing/2014/main" id="{69E15DB7-C292-5C19-A7D9-3648CE5B5F50}"/>
                </a:ext>
              </a:extLst>
            </p:cNvPr>
            <p:cNvGrpSpPr/>
            <p:nvPr/>
          </p:nvGrpSpPr>
          <p:grpSpPr>
            <a:xfrm>
              <a:off x="5820730" y="4282842"/>
              <a:ext cx="47238" cy="4595"/>
              <a:chOff x="5820730" y="4282842"/>
              <a:chExt cx="47238" cy="4595"/>
            </a:xfrm>
          </p:grpSpPr>
          <p:sp>
            <p:nvSpPr>
              <p:cNvPr id="1927" name="Forma livre: Forma 1926">
                <a:extLst>
                  <a:ext uri="{FF2B5EF4-FFF2-40B4-BE49-F238E27FC236}">
                    <a16:creationId xmlns:a16="http://schemas.microsoft.com/office/drawing/2014/main" id="{C3102CA2-16EA-1AD5-7C46-BCDF0BAFA1C9}"/>
                  </a:ext>
                </a:extLst>
              </p:cNvPr>
              <p:cNvSpPr/>
              <p:nvPr/>
            </p:nvSpPr>
            <p:spPr>
              <a:xfrm>
                <a:off x="5820730" y="4282842"/>
                <a:ext cx="7995" cy="4595"/>
              </a:xfrm>
              <a:custGeom>
                <a:avLst/>
                <a:gdLst>
                  <a:gd name="connsiteX0" fmla="*/ 0 w 7995"/>
                  <a:gd name="connsiteY0" fmla="*/ 0 h 4595"/>
                  <a:gd name="connsiteX1" fmla="*/ 7996 w 7995"/>
                  <a:gd name="connsiteY1" fmla="*/ 0 h 45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7995" h="4595">
                    <a:moveTo>
                      <a:pt x="0" y="0"/>
                    </a:moveTo>
                    <a:lnTo>
                      <a:pt x="7996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928" name="Forma livre: Forma 1927">
                <a:extLst>
                  <a:ext uri="{FF2B5EF4-FFF2-40B4-BE49-F238E27FC236}">
                    <a16:creationId xmlns:a16="http://schemas.microsoft.com/office/drawing/2014/main" id="{975C5713-64E1-1C6D-469A-AE28D0310FEE}"/>
                  </a:ext>
                </a:extLst>
              </p:cNvPr>
              <p:cNvSpPr/>
              <p:nvPr/>
            </p:nvSpPr>
            <p:spPr>
              <a:xfrm>
                <a:off x="5859972" y="4282842"/>
                <a:ext cx="7995" cy="4595"/>
              </a:xfrm>
              <a:custGeom>
                <a:avLst/>
                <a:gdLst>
                  <a:gd name="connsiteX0" fmla="*/ 0 w 7995"/>
                  <a:gd name="connsiteY0" fmla="*/ 0 h 4595"/>
                  <a:gd name="connsiteX1" fmla="*/ 7996 w 7995"/>
                  <a:gd name="connsiteY1" fmla="*/ 0 h 45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7995" h="4595">
                    <a:moveTo>
                      <a:pt x="0" y="0"/>
                    </a:moveTo>
                    <a:lnTo>
                      <a:pt x="7996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929" name="Forma livre: Forma 1928">
              <a:extLst>
                <a:ext uri="{FF2B5EF4-FFF2-40B4-BE49-F238E27FC236}">
                  <a16:creationId xmlns:a16="http://schemas.microsoft.com/office/drawing/2014/main" id="{7349E0F5-6F94-0F66-076A-2478A0CBB8BD}"/>
                </a:ext>
              </a:extLst>
            </p:cNvPr>
            <p:cNvSpPr/>
            <p:nvPr/>
          </p:nvSpPr>
          <p:spPr>
            <a:xfrm>
              <a:off x="5779879" y="4455712"/>
              <a:ext cx="128893" cy="4595"/>
            </a:xfrm>
            <a:custGeom>
              <a:avLst/>
              <a:gdLst>
                <a:gd name="connsiteX0" fmla="*/ 0 w 128893"/>
                <a:gd name="connsiteY0" fmla="*/ 0 h 4595"/>
                <a:gd name="connsiteX1" fmla="*/ 128894 w 128893"/>
                <a:gd name="connsiteY1" fmla="*/ 0 h 45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893" h="4595">
                  <a:moveTo>
                    <a:pt x="0" y="0"/>
                  </a:moveTo>
                  <a:lnTo>
                    <a:pt x="128894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930" name="Gráfico 25">
            <a:extLst>
              <a:ext uri="{FF2B5EF4-FFF2-40B4-BE49-F238E27FC236}">
                <a16:creationId xmlns:a16="http://schemas.microsoft.com/office/drawing/2014/main" id="{4B028543-DFFD-6D60-40CC-A883C1825C7D}"/>
              </a:ext>
            </a:extLst>
          </p:cNvPr>
          <p:cNvGrpSpPr/>
          <p:nvPr/>
        </p:nvGrpSpPr>
        <p:grpSpPr>
          <a:xfrm>
            <a:off x="5703507" y="4660150"/>
            <a:ext cx="281682" cy="284209"/>
            <a:chOff x="5703507" y="4660150"/>
            <a:chExt cx="281682" cy="284209"/>
          </a:xfrm>
          <a:noFill/>
        </p:grpSpPr>
        <p:sp>
          <p:nvSpPr>
            <p:cNvPr id="1931" name="Forma livre: Forma 1930">
              <a:extLst>
                <a:ext uri="{FF2B5EF4-FFF2-40B4-BE49-F238E27FC236}">
                  <a16:creationId xmlns:a16="http://schemas.microsoft.com/office/drawing/2014/main" id="{73C79943-6366-D712-DAA0-62D4584D21FD}"/>
                </a:ext>
              </a:extLst>
            </p:cNvPr>
            <p:cNvSpPr/>
            <p:nvPr/>
          </p:nvSpPr>
          <p:spPr>
            <a:xfrm>
              <a:off x="5781809" y="4850435"/>
              <a:ext cx="30052" cy="24446"/>
            </a:xfrm>
            <a:custGeom>
              <a:avLst/>
              <a:gdLst>
                <a:gd name="connsiteX0" fmla="*/ 30052 w 30052"/>
                <a:gd name="connsiteY0" fmla="*/ 0 h 24446"/>
                <a:gd name="connsiteX1" fmla="*/ 0 w 30052"/>
                <a:gd name="connsiteY1" fmla="*/ 24446 h 244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0052" h="24446">
                  <a:moveTo>
                    <a:pt x="30052" y="0"/>
                  </a:moveTo>
                  <a:cubicBezTo>
                    <a:pt x="30052" y="0"/>
                    <a:pt x="10293" y="5468"/>
                    <a:pt x="0" y="24446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32" name="Forma livre: Forma 1931">
              <a:extLst>
                <a:ext uri="{FF2B5EF4-FFF2-40B4-BE49-F238E27FC236}">
                  <a16:creationId xmlns:a16="http://schemas.microsoft.com/office/drawing/2014/main" id="{D7B6F613-8A16-0CDF-0DAA-1F8E2B22116F}"/>
                </a:ext>
              </a:extLst>
            </p:cNvPr>
            <p:cNvSpPr/>
            <p:nvPr/>
          </p:nvSpPr>
          <p:spPr>
            <a:xfrm>
              <a:off x="5812292" y="4817944"/>
              <a:ext cx="76399" cy="43779"/>
            </a:xfrm>
            <a:custGeom>
              <a:avLst/>
              <a:gdLst>
                <a:gd name="connsiteX0" fmla="*/ 488 w 76399"/>
                <a:gd name="connsiteY0" fmla="*/ 31756 h 43779"/>
                <a:gd name="connsiteX1" fmla="*/ 46623 w 76399"/>
                <a:gd name="connsiteY1" fmla="*/ 37730 h 43779"/>
                <a:gd name="connsiteX2" fmla="*/ 76400 w 76399"/>
                <a:gd name="connsiteY2" fmla="*/ 7448 h 43779"/>
                <a:gd name="connsiteX3" fmla="*/ 34676 w 76399"/>
                <a:gd name="connsiteY3" fmla="*/ 280 h 43779"/>
                <a:gd name="connsiteX4" fmla="*/ 442 w 76399"/>
                <a:gd name="connsiteY4" fmla="*/ 31802 h 437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399" h="43779">
                  <a:moveTo>
                    <a:pt x="488" y="31756"/>
                  </a:moveTo>
                  <a:cubicBezTo>
                    <a:pt x="4440" y="44761"/>
                    <a:pt x="29391" y="47931"/>
                    <a:pt x="46623" y="37730"/>
                  </a:cubicBezTo>
                  <a:cubicBezTo>
                    <a:pt x="68910" y="24542"/>
                    <a:pt x="76400" y="7448"/>
                    <a:pt x="76400" y="7448"/>
                  </a:cubicBezTo>
                  <a:cubicBezTo>
                    <a:pt x="76400" y="7448"/>
                    <a:pt x="58203" y="-1696"/>
                    <a:pt x="34676" y="280"/>
                  </a:cubicBezTo>
                  <a:cubicBezTo>
                    <a:pt x="14687" y="1934"/>
                    <a:pt x="-3050" y="20269"/>
                    <a:pt x="442" y="31802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33" name="Forma livre: Forma 1932">
              <a:extLst>
                <a:ext uri="{FF2B5EF4-FFF2-40B4-BE49-F238E27FC236}">
                  <a16:creationId xmlns:a16="http://schemas.microsoft.com/office/drawing/2014/main" id="{4FB8ECEE-C411-2DCA-0B47-016D3F800C8E}"/>
                </a:ext>
              </a:extLst>
            </p:cNvPr>
            <p:cNvSpPr/>
            <p:nvPr/>
          </p:nvSpPr>
          <p:spPr>
            <a:xfrm>
              <a:off x="5747069" y="4911773"/>
              <a:ext cx="141714" cy="32586"/>
            </a:xfrm>
            <a:custGeom>
              <a:avLst/>
              <a:gdLst>
                <a:gd name="connsiteX0" fmla="*/ 141714 w 141714"/>
                <a:gd name="connsiteY0" fmla="*/ 30703 h 32586"/>
                <a:gd name="connsiteX1" fmla="*/ 114373 w 141714"/>
                <a:gd name="connsiteY1" fmla="*/ 7543 h 32586"/>
                <a:gd name="connsiteX2" fmla="*/ 82988 w 141714"/>
                <a:gd name="connsiteY2" fmla="*/ 24224 h 32586"/>
                <a:gd name="connsiteX3" fmla="*/ 82988 w 141714"/>
                <a:gd name="connsiteY3" fmla="*/ 24224 h 32586"/>
                <a:gd name="connsiteX4" fmla="*/ 38416 w 141714"/>
                <a:gd name="connsiteY4" fmla="*/ 237 h 32586"/>
                <a:gd name="connsiteX5" fmla="*/ 0 w 141714"/>
                <a:gd name="connsiteY5" fmla="*/ 32587 h 325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41714" h="32586">
                  <a:moveTo>
                    <a:pt x="141714" y="30703"/>
                  </a:moveTo>
                  <a:cubicBezTo>
                    <a:pt x="138314" y="18480"/>
                    <a:pt x="127745" y="8968"/>
                    <a:pt x="114373" y="7543"/>
                  </a:cubicBezTo>
                  <a:cubicBezTo>
                    <a:pt x="101231" y="6119"/>
                    <a:pt x="89054" y="13333"/>
                    <a:pt x="82988" y="24224"/>
                  </a:cubicBezTo>
                  <a:lnTo>
                    <a:pt x="82988" y="24224"/>
                  </a:lnTo>
                  <a:cubicBezTo>
                    <a:pt x="74671" y="8325"/>
                    <a:pt x="57302" y="-1693"/>
                    <a:pt x="38416" y="237"/>
                  </a:cubicBezTo>
                  <a:cubicBezTo>
                    <a:pt x="19851" y="2167"/>
                    <a:pt x="5147" y="15769"/>
                    <a:pt x="0" y="32587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34" name="Forma livre: Forma 1933">
              <a:extLst>
                <a:ext uri="{FF2B5EF4-FFF2-40B4-BE49-F238E27FC236}">
                  <a16:creationId xmlns:a16="http://schemas.microsoft.com/office/drawing/2014/main" id="{3493E1D0-9548-4FCB-42C7-B9A52CE9432A}"/>
                </a:ext>
              </a:extLst>
            </p:cNvPr>
            <p:cNvSpPr/>
            <p:nvPr/>
          </p:nvSpPr>
          <p:spPr>
            <a:xfrm>
              <a:off x="5766691" y="4849516"/>
              <a:ext cx="21780" cy="61712"/>
            </a:xfrm>
            <a:custGeom>
              <a:avLst/>
              <a:gdLst>
                <a:gd name="connsiteX0" fmla="*/ 0 w 21780"/>
                <a:gd name="connsiteY0" fmla="*/ 0 h 61712"/>
                <a:gd name="connsiteX1" fmla="*/ 21781 w 21780"/>
                <a:gd name="connsiteY1" fmla="*/ 61713 h 617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1780" h="61712">
                  <a:moveTo>
                    <a:pt x="0" y="0"/>
                  </a:moveTo>
                  <a:cubicBezTo>
                    <a:pt x="11166" y="17048"/>
                    <a:pt x="20954" y="33866"/>
                    <a:pt x="21781" y="61713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35" name="Forma livre: Forma 1934">
              <a:extLst>
                <a:ext uri="{FF2B5EF4-FFF2-40B4-BE49-F238E27FC236}">
                  <a16:creationId xmlns:a16="http://schemas.microsoft.com/office/drawing/2014/main" id="{073A7DCA-9C9D-9759-CD97-DDEDE75C44CD}"/>
                </a:ext>
              </a:extLst>
            </p:cNvPr>
            <p:cNvSpPr/>
            <p:nvPr/>
          </p:nvSpPr>
          <p:spPr>
            <a:xfrm>
              <a:off x="5879410" y="4660150"/>
              <a:ext cx="40804" cy="77198"/>
            </a:xfrm>
            <a:custGeom>
              <a:avLst/>
              <a:gdLst>
                <a:gd name="connsiteX0" fmla="*/ 40805 w 40804"/>
                <a:gd name="connsiteY0" fmla="*/ 54361 h 77198"/>
                <a:gd name="connsiteX1" fmla="*/ 17691 w 40804"/>
                <a:gd name="connsiteY1" fmla="*/ 77199 h 77198"/>
                <a:gd name="connsiteX2" fmla="*/ 0 w 40804"/>
                <a:gd name="connsiteY2" fmla="*/ 77199 h 77198"/>
                <a:gd name="connsiteX3" fmla="*/ 0 w 40804"/>
                <a:gd name="connsiteY3" fmla="*/ 0 h 77198"/>
                <a:gd name="connsiteX4" fmla="*/ 17691 w 40804"/>
                <a:gd name="connsiteY4" fmla="*/ 0 h 77198"/>
                <a:gd name="connsiteX5" fmla="*/ 40713 w 40804"/>
                <a:gd name="connsiteY5" fmla="*/ 22884 h 77198"/>
                <a:gd name="connsiteX6" fmla="*/ 40805 w 40804"/>
                <a:gd name="connsiteY6" fmla="*/ 54361 h 771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0804" h="77198">
                  <a:moveTo>
                    <a:pt x="40805" y="54361"/>
                  </a:moveTo>
                  <a:lnTo>
                    <a:pt x="17691" y="77199"/>
                  </a:lnTo>
                  <a:lnTo>
                    <a:pt x="0" y="77199"/>
                  </a:lnTo>
                  <a:lnTo>
                    <a:pt x="0" y="0"/>
                  </a:lnTo>
                  <a:lnTo>
                    <a:pt x="17691" y="0"/>
                  </a:lnTo>
                  <a:lnTo>
                    <a:pt x="40713" y="22884"/>
                  </a:lnTo>
                  <a:lnTo>
                    <a:pt x="40805" y="54361"/>
                  </a:ln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36" name="Forma livre: Forma 1935">
              <a:extLst>
                <a:ext uri="{FF2B5EF4-FFF2-40B4-BE49-F238E27FC236}">
                  <a16:creationId xmlns:a16="http://schemas.microsoft.com/office/drawing/2014/main" id="{27AEE569-C999-DC0A-598E-ADD3DCDB06D9}"/>
                </a:ext>
              </a:extLst>
            </p:cNvPr>
            <p:cNvSpPr/>
            <p:nvPr/>
          </p:nvSpPr>
          <p:spPr>
            <a:xfrm>
              <a:off x="5772710" y="4668973"/>
              <a:ext cx="80644" cy="112489"/>
            </a:xfrm>
            <a:custGeom>
              <a:avLst/>
              <a:gdLst>
                <a:gd name="connsiteX0" fmla="*/ 80645 w 80644"/>
                <a:gd name="connsiteY0" fmla="*/ 0 h 112489"/>
                <a:gd name="connsiteX1" fmla="*/ 0 w 80644"/>
                <a:gd name="connsiteY1" fmla="*/ 80645 h 112489"/>
                <a:gd name="connsiteX2" fmla="*/ 0 w 80644"/>
                <a:gd name="connsiteY2" fmla="*/ 112489 h 1124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80644" h="112489">
                  <a:moveTo>
                    <a:pt x="80645" y="0"/>
                  </a:moveTo>
                  <a:cubicBezTo>
                    <a:pt x="36118" y="0"/>
                    <a:pt x="0" y="36118"/>
                    <a:pt x="0" y="80645"/>
                  </a:cubicBezTo>
                  <a:lnTo>
                    <a:pt x="0" y="112489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37" name="Forma livre: Forma 1936">
              <a:extLst>
                <a:ext uri="{FF2B5EF4-FFF2-40B4-BE49-F238E27FC236}">
                  <a16:creationId xmlns:a16="http://schemas.microsoft.com/office/drawing/2014/main" id="{D7247791-F598-B832-1A5E-D5944E892200}"/>
                </a:ext>
              </a:extLst>
            </p:cNvPr>
            <p:cNvSpPr/>
            <p:nvPr/>
          </p:nvSpPr>
          <p:spPr>
            <a:xfrm>
              <a:off x="5803636" y="4699944"/>
              <a:ext cx="49719" cy="81609"/>
            </a:xfrm>
            <a:custGeom>
              <a:avLst/>
              <a:gdLst>
                <a:gd name="connsiteX0" fmla="*/ 49720 w 49719"/>
                <a:gd name="connsiteY0" fmla="*/ 0 h 81609"/>
                <a:gd name="connsiteX1" fmla="*/ 0 w 49719"/>
                <a:gd name="connsiteY1" fmla="*/ 49719 h 81609"/>
                <a:gd name="connsiteX2" fmla="*/ 0 w 49719"/>
                <a:gd name="connsiteY2" fmla="*/ 81610 h 81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9719" h="81609">
                  <a:moveTo>
                    <a:pt x="49720" y="0"/>
                  </a:moveTo>
                  <a:cubicBezTo>
                    <a:pt x="22333" y="0"/>
                    <a:pt x="0" y="22286"/>
                    <a:pt x="0" y="49719"/>
                  </a:cubicBezTo>
                  <a:lnTo>
                    <a:pt x="0" y="81610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38" name="Forma livre: Forma 1937">
              <a:extLst>
                <a:ext uri="{FF2B5EF4-FFF2-40B4-BE49-F238E27FC236}">
                  <a16:creationId xmlns:a16="http://schemas.microsoft.com/office/drawing/2014/main" id="{1AB58F54-F6CA-A207-1C66-C19D45577E52}"/>
                </a:ext>
              </a:extLst>
            </p:cNvPr>
            <p:cNvSpPr/>
            <p:nvPr/>
          </p:nvSpPr>
          <p:spPr>
            <a:xfrm>
              <a:off x="5834699" y="4730869"/>
              <a:ext cx="18794" cy="50638"/>
            </a:xfrm>
            <a:custGeom>
              <a:avLst/>
              <a:gdLst>
                <a:gd name="connsiteX0" fmla="*/ 18794 w 18794"/>
                <a:gd name="connsiteY0" fmla="*/ 0 h 50638"/>
                <a:gd name="connsiteX1" fmla="*/ 0 w 18794"/>
                <a:gd name="connsiteY1" fmla="*/ 18794 h 50638"/>
                <a:gd name="connsiteX2" fmla="*/ 0 w 18794"/>
                <a:gd name="connsiteY2" fmla="*/ 50639 h 506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8794" h="50638">
                  <a:moveTo>
                    <a:pt x="18794" y="0"/>
                  </a:moveTo>
                  <a:cubicBezTo>
                    <a:pt x="8455" y="0"/>
                    <a:pt x="0" y="8409"/>
                    <a:pt x="0" y="18794"/>
                  </a:cubicBezTo>
                  <a:lnTo>
                    <a:pt x="0" y="50639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939" name="Gráfico 25">
              <a:extLst>
                <a:ext uri="{FF2B5EF4-FFF2-40B4-BE49-F238E27FC236}">
                  <a16:creationId xmlns:a16="http://schemas.microsoft.com/office/drawing/2014/main" id="{9837F8F6-7860-716D-EDB3-38553EBFA740}"/>
                </a:ext>
              </a:extLst>
            </p:cNvPr>
            <p:cNvGrpSpPr/>
            <p:nvPr/>
          </p:nvGrpSpPr>
          <p:grpSpPr>
            <a:xfrm>
              <a:off x="5921685" y="4684275"/>
              <a:ext cx="63504" cy="28949"/>
              <a:chOff x="5921685" y="4684275"/>
              <a:chExt cx="63504" cy="28949"/>
            </a:xfrm>
          </p:grpSpPr>
          <p:sp>
            <p:nvSpPr>
              <p:cNvPr id="1940" name="Forma livre: Forma 1939">
                <a:extLst>
                  <a:ext uri="{FF2B5EF4-FFF2-40B4-BE49-F238E27FC236}">
                    <a16:creationId xmlns:a16="http://schemas.microsoft.com/office/drawing/2014/main" id="{EB6C8E83-A6AE-0A23-EA67-7E127F181701}"/>
                  </a:ext>
                </a:extLst>
              </p:cNvPr>
              <p:cNvSpPr/>
              <p:nvPr/>
            </p:nvSpPr>
            <p:spPr>
              <a:xfrm>
                <a:off x="5921685" y="4684275"/>
                <a:ext cx="63504" cy="4595"/>
              </a:xfrm>
              <a:custGeom>
                <a:avLst/>
                <a:gdLst>
                  <a:gd name="connsiteX0" fmla="*/ 0 w 63504"/>
                  <a:gd name="connsiteY0" fmla="*/ 0 h 4595"/>
                  <a:gd name="connsiteX1" fmla="*/ 63505 w 63504"/>
                  <a:gd name="connsiteY1" fmla="*/ 0 h 45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3504" h="4595">
                    <a:moveTo>
                      <a:pt x="0" y="0"/>
                    </a:moveTo>
                    <a:lnTo>
                      <a:pt x="63505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941" name="Forma livre: Forma 1940">
                <a:extLst>
                  <a:ext uri="{FF2B5EF4-FFF2-40B4-BE49-F238E27FC236}">
                    <a16:creationId xmlns:a16="http://schemas.microsoft.com/office/drawing/2014/main" id="{7EBF7F66-5E0D-E232-0C28-7CEEBADA3F24}"/>
                  </a:ext>
                </a:extLst>
              </p:cNvPr>
              <p:cNvSpPr/>
              <p:nvPr/>
            </p:nvSpPr>
            <p:spPr>
              <a:xfrm>
                <a:off x="5921685" y="4713224"/>
                <a:ext cx="63504" cy="4595"/>
              </a:xfrm>
              <a:custGeom>
                <a:avLst/>
                <a:gdLst>
                  <a:gd name="connsiteX0" fmla="*/ 0 w 63504"/>
                  <a:gd name="connsiteY0" fmla="*/ 0 h 4595"/>
                  <a:gd name="connsiteX1" fmla="*/ 63505 w 63504"/>
                  <a:gd name="connsiteY1" fmla="*/ 0 h 45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3504" h="4595">
                    <a:moveTo>
                      <a:pt x="0" y="0"/>
                    </a:moveTo>
                    <a:lnTo>
                      <a:pt x="63505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942" name="Forma livre: Forma 1941">
              <a:extLst>
                <a:ext uri="{FF2B5EF4-FFF2-40B4-BE49-F238E27FC236}">
                  <a16:creationId xmlns:a16="http://schemas.microsoft.com/office/drawing/2014/main" id="{F75ADC35-8BB5-5E4B-8A0F-AA133439F386}"/>
                </a:ext>
              </a:extLst>
            </p:cNvPr>
            <p:cNvSpPr/>
            <p:nvPr/>
          </p:nvSpPr>
          <p:spPr>
            <a:xfrm>
              <a:off x="5703507" y="4798334"/>
              <a:ext cx="66061" cy="53943"/>
            </a:xfrm>
            <a:custGeom>
              <a:avLst/>
              <a:gdLst>
                <a:gd name="connsiteX0" fmla="*/ 63873 w 66061"/>
                <a:gd name="connsiteY0" fmla="*/ 48057 h 53943"/>
                <a:gd name="connsiteX1" fmla="*/ 18289 w 66061"/>
                <a:gd name="connsiteY1" fmla="*/ 38683 h 53943"/>
                <a:gd name="connsiteX2" fmla="*/ 0 w 66061"/>
                <a:gd name="connsiteY2" fmla="*/ 360 h 53943"/>
                <a:gd name="connsiteX3" fmla="*/ 41770 w 66061"/>
                <a:gd name="connsiteY3" fmla="*/ 7114 h 53943"/>
                <a:gd name="connsiteX4" fmla="*/ 63873 w 66061"/>
                <a:gd name="connsiteY4" fmla="*/ 48057 h 539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6061" h="53943">
                  <a:moveTo>
                    <a:pt x="63873" y="48057"/>
                  </a:moveTo>
                  <a:cubicBezTo>
                    <a:pt x="55923" y="59040"/>
                    <a:pt x="31293" y="53939"/>
                    <a:pt x="18289" y="38683"/>
                  </a:cubicBezTo>
                  <a:cubicBezTo>
                    <a:pt x="1516" y="18970"/>
                    <a:pt x="0" y="360"/>
                    <a:pt x="0" y="360"/>
                  </a:cubicBezTo>
                  <a:cubicBezTo>
                    <a:pt x="0" y="360"/>
                    <a:pt x="20173" y="-2352"/>
                    <a:pt x="41770" y="7114"/>
                  </a:cubicBezTo>
                  <a:cubicBezTo>
                    <a:pt x="60151" y="15156"/>
                    <a:pt x="70949" y="38270"/>
                    <a:pt x="63873" y="48057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943" name="Gráfico 25">
            <a:extLst>
              <a:ext uri="{FF2B5EF4-FFF2-40B4-BE49-F238E27FC236}">
                <a16:creationId xmlns:a16="http://schemas.microsoft.com/office/drawing/2014/main" id="{CEFE6E52-D3FF-77B1-A43E-73BD2717C2FE}"/>
              </a:ext>
            </a:extLst>
          </p:cNvPr>
          <p:cNvGrpSpPr/>
          <p:nvPr/>
        </p:nvGrpSpPr>
        <p:grpSpPr>
          <a:xfrm>
            <a:off x="5711916" y="5659916"/>
            <a:ext cx="264818" cy="313526"/>
            <a:chOff x="5711916" y="5659916"/>
            <a:chExt cx="264818" cy="313526"/>
          </a:xfrm>
          <a:noFill/>
        </p:grpSpPr>
        <p:sp>
          <p:nvSpPr>
            <p:cNvPr id="1944" name="Forma livre: Forma 1943">
              <a:extLst>
                <a:ext uri="{FF2B5EF4-FFF2-40B4-BE49-F238E27FC236}">
                  <a16:creationId xmlns:a16="http://schemas.microsoft.com/office/drawing/2014/main" id="{D9596482-DBB1-7A6E-3876-47D3DF378008}"/>
                </a:ext>
              </a:extLst>
            </p:cNvPr>
            <p:cNvSpPr/>
            <p:nvPr/>
          </p:nvSpPr>
          <p:spPr>
            <a:xfrm>
              <a:off x="5768988" y="5681100"/>
              <a:ext cx="40207" cy="135005"/>
            </a:xfrm>
            <a:custGeom>
              <a:avLst/>
              <a:gdLst>
                <a:gd name="connsiteX0" fmla="*/ 20678 w 40207"/>
                <a:gd name="connsiteY0" fmla="*/ 0 h 135005"/>
                <a:gd name="connsiteX1" fmla="*/ 40208 w 40207"/>
                <a:gd name="connsiteY1" fmla="*/ 19529 h 135005"/>
                <a:gd name="connsiteX2" fmla="*/ 40208 w 40207"/>
                <a:gd name="connsiteY2" fmla="*/ 115476 h 135005"/>
                <a:gd name="connsiteX3" fmla="*/ 20678 w 40207"/>
                <a:gd name="connsiteY3" fmla="*/ 135005 h 135005"/>
                <a:gd name="connsiteX4" fmla="*/ 19529 w 40207"/>
                <a:gd name="connsiteY4" fmla="*/ 135005 h 135005"/>
                <a:gd name="connsiteX5" fmla="*/ 0 w 40207"/>
                <a:gd name="connsiteY5" fmla="*/ 115476 h 135005"/>
                <a:gd name="connsiteX6" fmla="*/ 0 w 40207"/>
                <a:gd name="connsiteY6" fmla="*/ 19529 h 135005"/>
                <a:gd name="connsiteX7" fmla="*/ 19529 w 40207"/>
                <a:gd name="connsiteY7" fmla="*/ 0 h 1350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0207" h="135005">
                  <a:moveTo>
                    <a:pt x="20678" y="0"/>
                  </a:moveTo>
                  <a:cubicBezTo>
                    <a:pt x="31464" y="0"/>
                    <a:pt x="40208" y="8744"/>
                    <a:pt x="40208" y="19529"/>
                  </a:cubicBezTo>
                  <a:lnTo>
                    <a:pt x="40208" y="115476"/>
                  </a:lnTo>
                  <a:cubicBezTo>
                    <a:pt x="40208" y="126262"/>
                    <a:pt x="31464" y="135005"/>
                    <a:pt x="20678" y="135005"/>
                  </a:cubicBezTo>
                  <a:lnTo>
                    <a:pt x="19529" y="135005"/>
                  </a:lnTo>
                  <a:cubicBezTo>
                    <a:pt x="8744" y="135005"/>
                    <a:pt x="0" y="126262"/>
                    <a:pt x="0" y="115476"/>
                  </a:cubicBezTo>
                  <a:lnTo>
                    <a:pt x="0" y="19529"/>
                  </a:lnTo>
                  <a:cubicBezTo>
                    <a:pt x="0" y="8744"/>
                    <a:pt x="8744" y="0"/>
                    <a:pt x="19529" y="0"/>
                  </a:cubicBez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45" name="Forma livre: Forma 1944">
              <a:extLst>
                <a:ext uri="{FF2B5EF4-FFF2-40B4-BE49-F238E27FC236}">
                  <a16:creationId xmlns:a16="http://schemas.microsoft.com/office/drawing/2014/main" id="{D675AAE5-7DCB-582B-387B-707434A38A3A}"/>
                </a:ext>
              </a:extLst>
            </p:cNvPr>
            <p:cNvSpPr/>
            <p:nvPr/>
          </p:nvSpPr>
          <p:spPr>
            <a:xfrm>
              <a:off x="5789115" y="5815692"/>
              <a:ext cx="4595" cy="121817"/>
            </a:xfrm>
            <a:custGeom>
              <a:avLst/>
              <a:gdLst>
                <a:gd name="connsiteX0" fmla="*/ 0 w 4595"/>
                <a:gd name="connsiteY0" fmla="*/ 0 h 121817"/>
                <a:gd name="connsiteX1" fmla="*/ 0 w 4595"/>
                <a:gd name="connsiteY1" fmla="*/ 121817 h 1218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595" h="121817">
                  <a:moveTo>
                    <a:pt x="0" y="0"/>
                  </a:moveTo>
                  <a:lnTo>
                    <a:pt x="0" y="121817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46" name="Forma livre: Forma 1945">
              <a:extLst>
                <a:ext uri="{FF2B5EF4-FFF2-40B4-BE49-F238E27FC236}">
                  <a16:creationId xmlns:a16="http://schemas.microsoft.com/office/drawing/2014/main" id="{25A1B259-5FAC-516E-D0A7-F1C17482D0E4}"/>
                </a:ext>
              </a:extLst>
            </p:cNvPr>
            <p:cNvSpPr/>
            <p:nvPr/>
          </p:nvSpPr>
          <p:spPr>
            <a:xfrm>
              <a:off x="5789115" y="5659916"/>
              <a:ext cx="4595" cy="20907"/>
            </a:xfrm>
            <a:custGeom>
              <a:avLst/>
              <a:gdLst>
                <a:gd name="connsiteX0" fmla="*/ 0 w 4595"/>
                <a:gd name="connsiteY0" fmla="*/ 0 h 20907"/>
                <a:gd name="connsiteX1" fmla="*/ 0 w 4595"/>
                <a:gd name="connsiteY1" fmla="*/ 20908 h 209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595" h="20907">
                  <a:moveTo>
                    <a:pt x="0" y="0"/>
                  </a:moveTo>
                  <a:lnTo>
                    <a:pt x="0" y="20908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47" name="Forma livre: Forma 1946">
              <a:extLst>
                <a:ext uri="{FF2B5EF4-FFF2-40B4-BE49-F238E27FC236}">
                  <a16:creationId xmlns:a16="http://schemas.microsoft.com/office/drawing/2014/main" id="{2041B89A-0A8E-0956-C6E1-17E77077CB4E}"/>
                </a:ext>
              </a:extLst>
            </p:cNvPr>
            <p:cNvSpPr/>
            <p:nvPr/>
          </p:nvSpPr>
          <p:spPr>
            <a:xfrm>
              <a:off x="5864567" y="5857784"/>
              <a:ext cx="4595" cy="114603"/>
            </a:xfrm>
            <a:custGeom>
              <a:avLst/>
              <a:gdLst>
                <a:gd name="connsiteX0" fmla="*/ 0 w 4595"/>
                <a:gd name="connsiteY0" fmla="*/ 0 h 114603"/>
                <a:gd name="connsiteX1" fmla="*/ 0 w 4595"/>
                <a:gd name="connsiteY1" fmla="*/ 114603 h 1146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595" h="114603">
                  <a:moveTo>
                    <a:pt x="0" y="0"/>
                  </a:moveTo>
                  <a:lnTo>
                    <a:pt x="0" y="114603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48" name="Forma livre: Forma 1947">
              <a:extLst>
                <a:ext uri="{FF2B5EF4-FFF2-40B4-BE49-F238E27FC236}">
                  <a16:creationId xmlns:a16="http://schemas.microsoft.com/office/drawing/2014/main" id="{E260CA8E-AB31-A9EB-C81E-910151FB63F2}"/>
                </a:ext>
              </a:extLst>
            </p:cNvPr>
            <p:cNvSpPr/>
            <p:nvPr/>
          </p:nvSpPr>
          <p:spPr>
            <a:xfrm>
              <a:off x="5864567" y="5701594"/>
              <a:ext cx="4595" cy="20907"/>
            </a:xfrm>
            <a:custGeom>
              <a:avLst/>
              <a:gdLst>
                <a:gd name="connsiteX0" fmla="*/ 0 w 4595"/>
                <a:gd name="connsiteY0" fmla="*/ 0 h 20907"/>
                <a:gd name="connsiteX1" fmla="*/ 0 w 4595"/>
                <a:gd name="connsiteY1" fmla="*/ 20908 h 209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595" h="20907">
                  <a:moveTo>
                    <a:pt x="0" y="0"/>
                  </a:moveTo>
                  <a:lnTo>
                    <a:pt x="0" y="20908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49" name="Forma livre: Forma 1948">
              <a:extLst>
                <a:ext uri="{FF2B5EF4-FFF2-40B4-BE49-F238E27FC236}">
                  <a16:creationId xmlns:a16="http://schemas.microsoft.com/office/drawing/2014/main" id="{1E6A2B72-1779-11E0-A8F3-59693EA44E27}"/>
                </a:ext>
              </a:extLst>
            </p:cNvPr>
            <p:cNvSpPr/>
            <p:nvPr/>
          </p:nvSpPr>
          <p:spPr>
            <a:xfrm>
              <a:off x="5711916" y="5782285"/>
              <a:ext cx="73476" cy="169377"/>
            </a:xfrm>
            <a:custGeom>
              <a:avLst/>
              <a:gdLst>
                <a:gd name="connsiteX0" fmla="*/ 73476 w 73476"/>
                <a:gd name="connsiteY0" fmla="*/ 169377 h 169377"/>
                <a:gd name="connsiteX1" fmla="*/ 0 w 73476"/>
                <a:gd name="connsiteY1" fmla="*/ 0 h 169377"/>
                <a:gd name="connsiteX2" fmla="*/ 40254 w 73476"/>
                <a:gd name="connsiteY2" fmla="*/ 169331 h 1693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73476" h="169377">
                  <a:moveTo>
                    <a:pt x="73476" y="169377"/>
                  </a:moveTo>
                  <a:cubicBezTo>
                    <a:pt x="67870" y="127194"/>
                    <a:pt x="50685" y="45216"/>
                    <a:pt x="0" y="0"/>
                  </a:cubicBezTo>
                  <a:cubicBezTo>
                    <a:pt x="0" y="0"/>
                    <a:pt x="32626" y="91949"/>
                    <a:pt x="40254" y="169331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50" name="Forma livre: Forma 1949">
              <a:extLst>
                <a:ext uri="{FF2B5EF4-FFF2-40B4-BE49-F238E27FC236}">
                  <a16:creationId xmlns:a16="http://schemas.microsoft.com/office/drawing/2014/main" id="{CD5979D6-E6C7-BE22-2650-F80B24B11B1F}"/>
                </a:ext>
              </a:extLst>
            </p:cNvPr>
            <p:cNvSpPr/>
            <p:nvPr/>
          </p:nvSpPr>
          <p:spPr>
            <a:xfrm>
              <a:off x="5773859" y="5903459"/>
              <a:ext cx="49076" cy="69984"/>
            </a:xfrm>
            <a:custGeom>
              <a:avLst/>
              <a:gdLst>
                <a:gd name="connsiteX0" fmla="*/ 0 w 49076"/>
                <a:gd name="connsiteY0" fmla="*/ 69984 h 69984"/>
                <a:gd name="connsiteX1" fmla="*/ 49076 w 49076"/>
                <a:gd name="connsiteY1" fmla="*/ 0 h 69984"/>
                <a:gd name="connsiteX2" fmla="*/ 38507 w 49076"/>
                <a:gd name="connsiteY2" fmla="*/ 69295 h 699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9076" h="69984">
                  <a:moveTo>
                    <a:pt x="0" y="69984"/>
                  </a:moveTo>
                  <a:cubicBezTo>
                    <a:pt x="6801" y="54407"/>
                    <a:pt x="21413" y="27295"/>
                    <a:pt x="49076" y="0"/>
                  </a:cubicBezTo>
                  <a:cubicBezTo>
                    <a:pt x="49076" y="0"/>
                    <a:pt x="41035" y="26882"/>
                    <a:pt x="38507" y="69295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51" name="Forma livre: Forma 1950">
              <a:extLst>
                <a:ext uri="{FF2B5EF4-FFF2-40B4-BE49-F238E27FC236}">
                  <a16:creationId xmlns:a16="http://schemas.microsoft.com/office/drawing/2014/main" id="{2F6318E8-AFA7-659D-15F6-27EAEAB217EA}"/>
                </a:ext>
              </a:extLst>
            </p:cNvPr>
            <p:cNvSpPr/>
            <p:nvPr/>
          </p:nvSpPr>
          <p:spPr>
            <a:xfrm>
              <a:off x="5913368" y="5880162"/>
              <a:ext cx="17507" cy="92638"/>
            </a:xfrm>
            <a:custGeom>
              <a:avLst/>
              <a:gdLst>
                <a:gd name="connsiteX0" fmla="*/ 17508 w 17507"/>
                <a:gd name="connsiteY0" fmla="*/ 0 h 92638"/>
                <a:gd name="connsiteX1" fmla="*/ 0 w 17507"/>
                <a:gd name="connsiteY1" fmla="*/ 92638 h 926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7507" h="92638">
                  <a:moveTo>
                    <a:pt x="17508" y="0"/>
                  </a:moveTo>
                  <a:cubicBezTo>
                    <a:pt x="11120" y="28674"/>
                    <a:pt x="2987" y="67870"/>
                    <a:pt x="0" y="92638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52" name="Forma livre: Forma 1951">
              <a:extLst>
                <a:ext uri="{FF2B5EF4-FFF2-40B4-BE49-F238E27FC236}">
                  <a16:creationId xmlns:a16="http://schemas.microsoft.com/office/drawing/2014/main" id="{0B6C59A7-1A56-8542-9855-F1868F18FE0C}"/>
                </a:ext>
              </a:extLst>
            </p:cNvPr>
            <p:cNvSpPr/>
            <p:nvPr/>
          </p:nvSpPr>
          <p:spPr>
            <a:xfrm>
              <a:off x="5881202" y="5831270"/>
              <a:ext cx="95533" cy="141208"/>
            </a:xfrm>
            <a:custGeom>
              <a:avLst/>
              <a:gdLst>
                <a:gd name="connsiteX0" fmla="*/ 0 w 95533"/>
                <a:gd name="connsiteY0" fmla="*/ 141209 h 141208"/>
                <a:gd name="connsiteX1" fmla="*/ 38645 w 95533"/>
                <a:gd name="connsiteY1" fmla="*/ 5468 h 141208"/>
                <a:gd name="connsiteX2" fmla="*/ 73798 w 95533"/>
                <a:gd name="connsiteY2" fmla="*/ 0 h 141208"/>
                <a:gd name="connsiteX3" fmla="*/ 95533 w 95533"/>
                <a:gd name="connsiteY3" fmla="*/ 74993 h 141208"/>
                <a:gd name="connsiteX4" fmla="*/ 37083 w 95533"/>
                <a:gd name="connsiteY4" fmla="*/ 9834 h 1412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5533" h="141208">
                  <a:moveTo>
                    <a:pt x="0" y="141209"/>
                  </a:moveTo>
                  <a:cubicBezTo>
                    <a:pt x="4687" y="116165"/>
                    <a:pt x="19575" y="42091"/>
                    <a:pt x="38645" y="5468"/>
                  </a:cubicBezTo>
                  <a:lnTo>
                    <a:pt x="73798" y="0"/>
                  </a:lnTo>
                  <a:cubicBezTo>
                    <a:pt x="88457" y="21827"/>
                    <a:pt x="95533" y="74993"/>
                    <a:pt x="95533" y="74993"/>
                  </a:cubicBezTo>
                  <a:cubicBezTo>
                    <a:pt x="69984" y="33039"/>
                    <a:pt x="45906" y="15348"/>
                    <a:pt x="37083" y="9834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953" name="Gráfico 25">
              <a:extLst>
                <a:ext uri="{FF2B5EF4-FFF2-40B4-BE49-F238E27FC236}">
                  <a16:creationId xmlns:a16="http://schemas.microsoft.com/office/drawing/2014/main" id="{B781AD8E-C271-C0DB-1449-EECB5D302950}"/>
                </a:ext>
              </a:extLst>
            </p:cNvPr>
            <p:cNvGrpSpPr/>
            <p:nvPr/>
          </p:nvGrpSpPr>
          <p:grpSpPr>
            <a:xfrm>
              <a:off x="5844441" y="5722824"/>
              <a:ext cx="40207" cy="135005"/>
              <a:chOff x="5844441" y="5722824"/>
              <a:chExt cx="40207" cy="135005"/>
            </a:xfrm>
            <a:noFill/>
          </p:grpSpPr>
          <p:sp>
            <p:nvSpPr>
              <p:cNvPr id="1954" name="Forma livre: Forma 1953">
                <a:extLst>
                  <a:ext uri="{FF2B5EF4-FFF2-40B4-BE49-F238E27FC236}">
                    <a16:creationId xmlns:a16="http://schemas.microsoft.com/office/drawing/2014/main" id="{4FCF65A7-23A1-38AE-B6EC-82232EAAC38A}"/>
                  </a:ext>
                </a:extLst>
              </p:cNvPr>
              <p:cNvSpPr/>
              <p:nvPr/>
            </p:nvSpPr>
            <p:spPr>
              <a:xfrm>
                <a:off x="5844441" y="5722824"/>
                <a:ext cx="40207" cy="135005"/>
              </a:xfrm>
              <a:custGeom>
                <a:avLst/>
                <a:gdLst>
                  <a:gd name="connsiteX0" fmla="*/ 20678 w 40207"/>
                  <a:gd name="connsiteY0" fmla="*/ 0 h 135005"/>
                  <a:gd name="connsiteX1" fmla="*/ 40208 w 40207"/>
                  <a:gd name="connsiteY1" fmla="*/ 19529 h 135005"/>
                  <a:gd name="connsiteX2" fmla="*/ 40208 w 40207"/>
                  <a:gd name="connsiteY2" fmla="*/ 115476 h 135005"/>
                  <a:gd name="connsiteX3" fmla="*/ 20678 w 40207"/>
                  <a:gd name="connsiteY3" fmla="*/ 135006 h 135005"/>
                  <a:gd name="connsiteX4" fmla="*/ 19529 w 40207"/>
                  <a:gd name="connsiteY4" fmla="*/ 135006 h 135005"/>
                  <a:gd name="connsiteX5" fmla="*/ 0 w 40207"/>
                  <a:gd name="connsiteY5" fmla="*/ 115476 h 135005"/>
                  <a:gd name="connsiteX6" fmla="*/ 0 w 40207"/>
                  <a:gd name="connsiteY6" fmla="*/ 19529 h 135005"/>
                  <a:gd name="connsiteX7" fmla="*/ 19529 w 40207"/>
                  <a:gd name="connsiteY7" fmla="*/ 0 h 1350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0207" h="135005">
                    <a:moveTo>
                      <a:pt x="20678" y="0"/>
                    </a:moveTo>
                    <a:cubicBezTo>
                      <a:pt x="31464" y="0"/>
                      <a:pt x="40208" y="8744"/>
                      <a:pt x="40208" y="19529"/>
                    </a:cubicBezTo>
                    <a:lnTo>
                      <a:pt x="40208" y="115476"/>
                    </a:lnTo>
                    <a:cubicBezTo>
                      <a:pt x="40208" y="126262"/>
                      <a:pt x="31464" y="135006"/>
                      <a:pt x="20678" y="135006"/>
                    </a:cubicBezTo>
                    <a:lnTo>
                      <a:pt x="19529" y="135006"/>
                    </a:lnTo>
                    <a:cubicBezTo>
                      <a:pt x="8744" y="135006"/>
                      <a:pt x="0" y="126262"/>
                      <a:pt x="0" y="115476"/>
                    </a:cubicBezTo>
                    <a:lnTo>
                      <a:pt x="0" y="19529"/>
                    </a:lnTo>
                    <a:cubicBezTo>
                      <a:pt x="0" y="8744"/>
                      <a:pt x="8744" y="0"/>
                      <a:pt x="19529" y="0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955" name="Forma livre: Forma 1954">
                <a:extLst>
                  <a:ext uri="{FF2B5EF4-FFF2-40B4-BE49-F238E27FC236}">
                    <a16:creationId xmlns:a16="http://schemas.microsoft.com/office/drawing/2014/main" id="{CB7742B2-FBFA-F29C-5293-9CA31001F41C}"/>
                  </a:ext>
                </a:extLst>
              </p:cNvPr>
              <p:cNvSpPr/>
              <p:nvPr/>
            </p:nvSpPr>
            <p:spPr>
              <a:xfrm>
                <a:off x="5844441" y="5722824"/>
                <a:ext cx="40207" cy="135005"/>
              </a:xfrm>
              <a:custGeom>
                <a:avLst/>
                <a:gdLst>
                  <a:gd name="connsiteX0" fmla="*/ 20678 w 40207"/>
                  <a:gd name="connsiteY0" fmla="*/ 0 h 135005"/>
                  <a:gd name="connsiteX1" fmla="*/ 40208 w 40207"/>
                  <a:gd name="connsiteY1" fmla="*/ 19529 h 135005"/>
                  <a:gd name="connsiteX2" fmla="*/ 40208 w 40207"/>
                  <a:gd name="connsiteY2" fmla="*/ 115476 h 135005"/>
                  <a:gd name="connsiteX3" fmla="*/ 20678 w 40207"/>
                  <a:gd name="connsiteY3" fmla="*/ 135006 h 135005"/>
                  <a:gd name="connsiteX4" fmla="*/ 19529 w 40207"/>
                  <a:gd name="connsiteY4" fmla="*/ 135006 h 135005"/>
                  <a:gd name="connsiteX5" fmla="*/ 0 w 40207"/>
                  <a:gd name="connsiteY5" fmla="*/ 115476 h 135005"/>
                  <a:gd name="connsiteX6" fmla="*/ 0 w 40207"/>
                  <a:gd name="connsiteY6" fmla="*/ 19529 h 135005"/>
                  <a:gd name="connsiteX7" fmla="*/ 19529 w 40207"/>
                  <a:gd name="connsiteY7" fmla="*/ 0 h 1350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0207" h="135005">
                    <a:moveTo>
                      <a:pt x="20678" y="0"/>
                    </a:moveTo>
                    <a:cubicBezTo>
                      <a:pt x="31464" y="0"/>
                      <a:pt x="40208" y="8744"/>
                      <a:pt x="40208" y="19529"/>
                    </a:cubicBezTo>
                    <a:lnTo>
                      <a:pt x="40208" y="115476"/>
                    </a:lnTo>
                    <a:cubicBezTo>
                      <a:pt x="40208" y="126262"/>
                      <a:pt x="31464" y="135006"/>
                      <a:pt x="20678" y="135006"/>
                    </a:cubicBezTo>
                    <a:lnTo>
                      <a:pt x="19529" y="135006"/>
                    </a:lnTo>
                    <a:cubicBezTo>
                      <a:pt x="8744" y="135006"/>
                      <a:pt x="0" y="126262"/>
                      <a:pt x="0" y="115476"/>
                    </a:cubicBezTo>
                    <a:lnTo>
                      <a:pt x="0" y="19529"/>
                    </a:lnTo>
                    <a:cubicBezTo>
                      <a:pt x="0" y="8744"/>
                      <a:pt x="8744" y="0"/>
                      <a:pt x="19529" y="0"/>
                    </a:cubicBezTo>
                    <a:close/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956" name="Forma livre: Forma 1955">
              <a:extLst>
                <a:ext uri="{FF2B5EF4-FFF2-40B4-BE49-F238E27FC236}">
                  <a16:creationId xmlns:a16="http://schemas.microsoft.com/office/drawing/2014/main" id="{03FC9B7E-1731-98F0-8F1B-9F9A1B8BB2D6}"/>
                </a:ext>
              </a:extLst>
            </p:cNvPr>
            <p:cNvSpPr/>
            <p:nvPr/>
          </p:nvSpPr>
          <p:spPr>
            <a:xfrm>
              <a:off x="5721566" y="5972892"/>
              <a:ext cx="225116" cy="4595"/>
            </a:xfrm>
            <a:custGeom>
              <a:avLst/>
              <a:gdLst>
                <a:gd name="connsiteX0" fmla="*/ 0 w 225116"/>
                <a:gd name="connsiteY0" fmla="*/ 0 h 4595"/>
                <a:gd name="connsiteX1" fmla="*/ 225116 w 225116"/>
                <a:gd name="connsiteY1" fmla="*/ 0 h 45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25116" h="4595">
                  <a:moveTo>
                    <a:pt x="0" y="0"/>
                  </a:moveTo>
                  <a:lnTo>
                    <a:pt x="225116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957" name="Gráfico 25">
            <a:extLst>
              <a:ext uri="{FF2B5EF4-FFF2-40B4-BE49-F238E27FC236}">
                <a16:creationId xmlns:a16="http://schemas.microsoft.com/office/drawing/2014/main" id="{B03A209D-7216-BBF3-5963-92E0D16E7502}"/>
              </a:ext>
            </a:extLst>
          </p:cNvPr>
          <p:cNvGrpSpPr/>
          <p:nvPr/>
        </p:nvGrpSpPr>
        <p:grpSpPr>
          <a:xfrm>
            <a:off x="5730527" y="5156886"/>
            <a:ext cx="227643" cy="305163"/>
            <a:chOff x="5730527" y="5156886"/>
            <a:chExt cx="227643" cy="305163"/>
          </a:xfrm>
        </p:grpSpPr>
        <p:grpSp>
          <p:nvGrpSpPr>
            <p:cNvPr id="1958" name="Gráfico 25">
              <a:extLst>
                <a:ext uri="{FF2B5EF4-FFF2-40B4-BE49-F238E27FC236}">
                  <a16:creationId xmlns:a16="http://schemas.microsoft.com/office/drawing/2014/main" id="{C509A688-049C-CA86-9ECD-5AEFBCAA7134}"/>
                </a:ext>
              </a:extLst>
            </p:cNvPr>
            <p:cNvGrpSpPr/>
            <p:nvPr/>
          </p:nvGrpSpPr>
          <p:grpSpPr>
            <a:xfrm>
              <a:off x="5730527" y="5156886"/>
              <a:ext cx="227643" cy="113729"/>
              <a:chOff x="5730527" y="5156886"/>
              <a:chExt cx="227643" cy="113729"/>
            </a:xfrm>
          </p:grpSpPr>
          <p:sp>
            <p:nvSpPr>
              <p:cNvPr id="1959" name="Forma livre: Forma 1958">
                <a:extLst>
                  <a:ext uri="{FF2B5EF4-FFF2-40B4-BE49-F238E27FC236}">
                    <a16:creationId xmlns:a16="http://schemas.microsoft.com/office/drawing/2014/main" id="{2373261B-DD82-C711-FCAD-164FAEF1F8E2}"/>
                  </a:ext>
                </a:extLst>
              </p:cNvPr>
              <p:cNvSpPr/>
              <p:nvPr/>
            </p:nvSpPr>
            <p:spPr>
              <a:xfrm>
                <a:off x="5730527" y="5156886"/>
                <a:ext cx="113729" cy="113729"/>
              </a:xfrm>
              <a:custGeom>
                <a:avLst/>
                <a:gdLst>
                  <a:gd name="connsiteX0" fmla="*/ 113730 w 113729"/>
                  <a:gd name="connsiteY0" fmla="*/ 0 h 113729"/>
                  <a:gd name="connsiteX1" fmla="*/ 0 w 113729"/>
                  <a:gd name="connsiteY1" fmla="*/ 113730 h 1137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3729" h="113729">
                    <a:moveTo>
                      <a:pt x="113730" y="0"/>
                    </a:moveTo>
                    <a:lnTo>
                      <a:pt x="0" y="11373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960" name="Forma livre: Forma 1959">
                <a:extLst>
                  <a:ext uri="{FF2B5EF4-FFF2-40B4-BE49-F238E27FC236}">
                    <a16:creationId xmlns:a16="http://schemas.microsoft.com/office/drawing/2014/main" id="{6A56F0E7-D015-028C-9FA9-1970388402C2}"/>
                  </a:ext>
                </a:extLst>
              </p:cNvPr>
              <p:cNvSpPr/>
              <p:nvPr/>
            </p:nvSpPr>
            <p:spPr>
              <a:xfrm>
                <a:off x="5844395" y="5156886"/>
                <a:ext cx="113775" cy="113729"/>
              </a:xfrm>
              <a:custGeom>
                <a:avLst/>
                <a:gdLst>
                  <a:gd name="connsiteX0" fmla="*/ 0 w 113775"/>
                  <a:gd name="connsiteY0" fmla="*/ 0 h 113729"/>
                  <a:gd name="connsiteX1" fmla="*/ 113776 w 113775"/>
                  <a:gd name="connsiteY1" fmla="*/ 113730 h 1137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3775" h="113729">
                    <a:moveTo>
                      <a:pt x="0" y="0"/>
                    </a:moveTo>
                    <a:lnTo>
                      <a:pt x="113776" y="11373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961" name="Gráfico 25">
              <a:extLst>
                <a:ext uri="{FF2B5EF4-FFF2-40B4-BE49-F238E27FC236}">
                  <a16:creationId xmlns:a16="http://schemas.microsoft.com/office/drawing/2014/main" id="{CF72576A-EDD5-B7F6-BE67-D6ED9EC9AE08}"/>
                </a:ext>
              </a:extLst>
            </p:cNvPr>
            <p:cNvGrpSpPr/>
            <p:nvPr/>
          </p:nvGrpSpPr>
          <p:grpSpPr>
            <a:xfrm>
              <a:off x="5762785" y="5245894"/>
              <a:ext cx="166620" cy="141898"/>
              <a:chOff x="5762785" y="5245894"/>
              <a:chExt cx="166620" cy="141898"/>
            </a:xfrm>
          </p:grpSpPr>
          <p:sp>
            <p:nvSpPr>
              <p:cNvPr id="1962" name="Forma livre: Forma 1961">
                <a:extLst>
                  <a:ext uri="{FF2B5EF4-FFF2-40B4-BE49-F238E27FC236}">
                    <a16:creationId xmlns:a16="http://schemas.microsoft.com/office/drawing/2014/main" id="{B5FEC4BB-F5BA-4061-DACF-1416406AAFDB}"/>
                  </a:ext>
                </a:extLst>
              </p:cNvPr>
              <p:cNvSpPr/>
              <p:nvPr/>
            </p:nvSpPr>
            <p:spPr>
              <a:xfrm>
                <a:off x="5762785" y="5269283"/>
                <a:ext cx="14336" cy="102288"/>
              </a:xfrm>
              <a:custGeom>
                <a:avLst/>
                <a:gdLst>
                  <a:gd name="connsiteX0" fmla="*/ 0 w 14336"/>
                  <a:gd name="connsiteY0" fmla="*/ 0 h 102288"/>
                  <a:gd name="connsiteX1" fmla="*/ 14337 w 14336"/>
                  <a:gd name="connsiteY1" fmla="*/ 102288 h 1022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4336" h="102288">
                    <a:moveTo>
                      <a:pt x="0" y="0"/>
                    </a:moveTo>
                    <a:lnTo>
                      <a:pt x="14337" y="102288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963" name="Forma livre: Forma 1962">
                <a:extLst>
                  <a:ext uri="{FF2B5EF4-FFF2-40B4-BE49-F238E27FC236}">
                    <a16:creationId xmlns:a16="http://schemas.microsoft.com/office/drawing/2014/main" id="{39869179-15DB-6C68-FB1F-1D7BEE6B8C2C}"/>
                  </a:ext>
                </a:extLst>
              </p:cNvPr>
              <p:cNvSpPr/>
              <p:nvPr/>
            </p:nvSpPr>
            <p:spPr>
              <a:xfrm>
                <a:off x="5909324" y="5245894"/>
                <a:ext cx="20080" cy="141898"/>
              </a:xfrm>
              <a:custGeom>
                <a:avLst/>
                <a:gdLst>
                  <a:gd name="connsiteX0" fmla="*/ 20081 w 20080"/>
                  <a:gd name="connsiteY0" fmla="*/ 0 h 141898"/>
                  <a:gd name="connsiteX1" fmla="*/ 0 w 20080"/>
                  <a:gd name="connsiteY1" fmla="*/ 141898 h 141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0080" h="141898">
                    <a:moveTo>
                      <a:pt x="20081" y="0"/>
                    </a:moveTo>
                    <a:lnTo>
                      <a:pt x="0" y="141898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964" name="Forma livre: Forma 1963">
              <a:extLst>
                <a:ext uri="{FF2B5EF4-FFF2-40B4-BE49-F238E27FC236}">
                  <a16:creationId xmlns:a16="http://schemas.microsoft.com/office/drawing/2014/main" id="{DF9484EF-3FEB-95C1-77DB-0155902DEEF7}"/>
                </a:ext>
              </a:extLst>
            </p:cNvPr>
            <p:cNvSpPr/>
            <p:nvPr/>
          </p:nvSpPr>
          <p:spPr>
            <a:xfrm>
              <a:off x="5813791" y="5244653"/>
              <a:ext cx="61115" cy="61115"/>
            </a:xfrm>
            <a:custGeom>
              <a:avLst/>
              <a:gdLst>
                <a:gd name="connsiteX0" fmla="*/ 61115 w 61115"/>
                <a:gd name="connsiteY0" fmla="*/ 30558 h 61115"/>
                <a:gd name="connsiteX1" fmla="*/ 30558 w 61115"/>
                <a:gd name="connsiteY1" fmla="*/ 61115 h 61115"/>
                <a:gd name="connsiteX2" fmla="*/ 0 w 61115"/>
                <a:gd name="connsiteY2" fmla="*/ 30558 h 61115"/>
                <a:gd name="connsiteX3" fmla="*/ 30558 w 61115"/>
                <a:gd name="connsiteY3" fmla="*/ 0 h 61115"/>
                <a:gd name="connsiteX4" fmla="*/ 61115 w 61115"/>
                <a:gd name="connsiteY4" fmla="*/ 30558 h 611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1115" h="61115">
                  <a:moveTo>
                    <a:pt x="61115" y="30558"/>
                  </a:moveTo>
                  <a:cubicBezTo>
                    <a:pt x="61115" y="47422"/>
                    <a:pt x="47422" y="61115"/>
                    <a:pt x="30558" y="61115"/>
                  </a:cubicBezTo>
                  <a:cubicBezTo>
                    <a:pt x="13693" y="61115"/>
                    <a:pt x="0" y="47422"/>
                    <a:pt x="0" y="30558"/>
                  </a:cubicBezTo>
                  <a:cubicBezTo>
                    <a:pt x="0" y="13693"/>
                    <a:pt x="13693" y="0"/>
                    <a:pt x="30558" y="0"/>
                  </a:cubicBezTo>
                  <a:cubicBezTo>
                    <a:pt x="47422" y="0"/>
                    <a:pt x="61115" y="13693"/>
                    <a:pt x="61115" y="30558"/>
                  </a:cubicBez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65" name="Forma livre: Forma 1964">
              <a:extLst>
                <a:ext uri="{FF2B5EF4-FFF2-40B4-BE49-F238E27FC236}">
                  <a16:creationId xmlns:a16="http://schemas.microsoft.com/office/drawing/2014/main" id="{B94935D3-143A-94DD-4004-1FCD82F5B8AC}"/>
                </a:ext>
              </a:extLst>
            </p:cNvPr>
            <p:cNvSpPr/>
            <p:nvPr/>
          </p:nvSpPr>
          <p:spPr>
            <a:xfrm>
              <a:off x="5751848" y="5392387"/>
              <a:ext cx="184954" cy="4595"/>
            </a:xfrm>
            <a:custGeom>
              <a:avLst/>
              <a:gdLst>
                <a:gd name="connsiteX0" fmla="*/ 0 w 184954"/>
                <a:gd name="connsiteY0" fmla="*/ 0 h 4595"/>
                <a:gd name="connsiteX1" fmla="*/ 184955 w 184954"/>
                <a:gd name="connsiteY1" fmla="*/ 0 h 45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4954" h="4595">
                  <a:moveTo>
                    <a:pt x="0" y="0"/>
                  </a:moveTo>
                  <a:lnTo>
                    <a:pt x="184955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966" name="Gráfico 25">
              <a:extLst>
                <a:ext uri="{FF2B5EF4-FFF2-40B4-BE49-F238E27FC236}">
                  <a16:creationId xmlns:a16="http://schemas.microsoft.com/office/drawing/2014/main" id="{2CC7BBC5-438F-9329-ED2D-CFD58864F8B1}"/>
                </a:ext>
              </a:extLst>
            </p:cNvPr>
            <p:cNvGrpSpPr/>
            <p:nvPr/>
          </p:nvGrpSpPr>
          <p:grpSpPr>
            <a:xfrm>
              <a:off x="5826749" y="5395833"/>
              <a:ext cx="35198" cy="66216"/>
              <a:chOff x="5826749" y="5395833"/>
              <a:chExt cx="35198" cy="66216"/>
            </a:xfrm>
          </p:grpSpPr>
          <p:sp>
            <p:nvSpPr>
              <p:cNvPr id="1967" name="Forma livre: Forma 1966">
                <a:extLst>
                  <a:ext uri="{FF2B5EF4-FFF2-40B4-BE49-F238E27FC236}">
                    <a16:creationId xmlns:a16="http://schemas.microsoft.com/office/drawing/2014/main" id="{12B4F947-8B2C-C1A5-A867-32D670A2F157}"/>
                  </a:ext>
                </a:extLst>
              </p:cNvPr>
              <p:cNvSpPr/>
              <p:nvPr/>
            </p:nvSpPr>
            <p:spPr>
              <a:xfrm>
                <a:off x="5826749" y="5395833"/>
                <a:ext cx="4595" cy="66216"/>
              </a:xfrm>
              <a:custGeom>
                <a:avLst/>
                <a:gdLst>
                  <a:gd name="connsiteX0" fmla="*/ 0 w 4595"/>
                  <a:gd name="connsiteY0" fmla="*/ 0 h 66216"/>
                  <a:gd name="connsiteX1" fmla="*/ 0 w 4595"/>
                  <a:gd name="connsiteY1" fmla="*/ 66216 h 662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595" h="66216">
                    <a:moveTo>
                      <a:pt x="0" y="0"/>
                    </a:moveTo>
                    <a:lnTo>
                      <a:pt x="0" y="66216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968" name="Forma livre: Forma 1967">
                <a:extLst>
                  <a:ext uri="{FF2B5EF4-FFF2-40B4-BE49-F238E27FC236}">
                    <a16:creationId xmlns:a16="http://schemas.microsoft.com/office/drawing/2014/main" id="{955B3432-0DB7-5414-93C3-14F1C5E2466A}"/>
                  </a:ext>
                </a:extLst>
              </p:cNvPr>
              <p:cNvSpPr/>
              <p:nvPr/>
            </p:nvSpPr>
            <p:spPr>
              <a:xfrm>
                <a:off x="5861948" y="5395833"/>
                <a:ext cx="4595" cy="66216"/>
              </a:xfrm>
              <a:custGeom>
                <a:avLst/>
                <a:gdLst>
                  <a:gd name="connsiteX0" fmla="*/ 0 w 4595"/>
                  <a:gd name="connsiteY0" fmla="*/ 0 h 66216"/>
                  <a:gd name="connsiteX1" fmla="*/ 0 w 4595"/>
                  <a:gd name="connsiteY1" fmla="*/ 66216 h 662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595" h="66216">
                    <a:moveTo>
                      <a:pt x="0" y="0"/>
                    </a:moveTo>
                    <a:lnTo>
                      <a:pt x="0" y="66216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969" name="Forma livre: Forma 1968">
              <a:extLst>
                <a:ext uri="{FF2B5EF4-FFF2-40B4-BE49-F238E27FC236}">
                  <a16:creationId xmlns:a16="http://schemas.microsoft.com/office/drawing/2014/main" id="{386D2213-9A40-0B27-1077-5BB028AB63B0}"/>
                </a:ext>
              </a:extLst>
            </p:cNvPr>
            <p:cNvSpPr/>
            <p:nvPr/>
          </p:nvSpPr>
          <p:spPr>
            <a:xfrm>
              <a:off x="5840770" y="5344741"/>
              <a:ext cx="7139" cy="7157"/>
            </a:xfrm>
            <a:custGeom>
              <a:avLst/>
              <a:gdLst>
                <a:gd name="connsiteX0" fmla="*/ 1051 w 7139"/>
                <a:gd name="connsiteY0" fmla="*/ 1051 h 7157"/>
                <a:gd name="connsiteX1" fmla="*/ 1051 w 7139"/>
                <a:gd name="connsiteY1" fmla="*/ 6106 h 7157"/>
                <a:gd name="connsiteX2" fmla="*/ 6106 w 7139"/>
                <a:gd name="connsiteY2" fmla="*/ 6106 h 7157"/>
                <a:gd name="connsiteX3" fmla="*/ 6106 w 7139"/>
                <a:gd name="connsiteY3" fmla="*/ 1051 h 7157"/>
                <a:gd name="connsiteX4" fmla="*/ 1051 w 7139"/>
                <a:gd name="connsiteY4" fmla="*/ 1051 h 71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39" h="7157">
                  <a:moveTo>
                    <a:pt x="1051" y="1051"/>
                  </a:moveTo>
                  <a:cubicBezTo>
                    <a:pt x="-327" y="2476"/>
                    <a:pt x="-373" y="4727"/>
                    <a:pt x="1051" y="6106"/>
                  </a:cubicBezTo>
                  <a:cubicBezTo>
                    <a:pt x="2430" y="7485"/>
                    <a:pt x="4727" y="7530"/>
                    <a:pt x="6106" y="6106"/>
                  </a:cubicBezTo>
                  <a:cubicBezTo>
                    <a:pt x="7485" y="4681"/>
                    <a:pt x="7485" y="2430"/>
                    <a:pt x="6106" y="1051"/>
                  </a:cubicBezTo>
                  <a:cubicBezTo>
                    <a:pt x="4727" y="-373"/>
                    <a:pt x="2430" y="-327"/>
                    <a:pt x="1051" y="1051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970" name="Gráfico 25">
            <a:extLst>
              <a:ext uri="{FF2B5EF4-FFF2-40B4-BE49-F238E27FC236}">
                <a16:creationId xmlns:a16="http://schemas.microsoft.com/office/drawing/2014/main" id="{A30A57EA-4E31-7D7A-C610-DF7C3B3D5B51}"/>
              </a:ext>
            </a:extLst>
          </p:cNvPr>
          <p:cNvGrpSpPr/>
          <p:nvPr/>
        </p:nvGrpSpPr>
        <p:grpSpPr>
          <a:xfrm>
            <a:off x="5085322" y="3682348"/>
            <a:ext cx="322028" cy="211009"/>
            <a:chOff x="5085322" y="3682348"/>
            <a:chExt cx="322028" cy="211009"/>
          </a:xfrm>
          <a:noFill/>
        </p:grpSpPr>
        <p:sp>
          <p:nvSpPr>
            <p:cNvPr id="1971" name="Forma livre: Forma 1970">
              <a:extLst>
                <a:ext uri="{FF2B5EF4-FFF2-40B4-BE49-F238E27FC236}">
                  <a16:creationId xmlns:a16="http://schemas.microsoft.com/office/drawing/2014/main" id="{8C3F9BB6-D07E-669A-3D08-42A117266CEA}"/>
                </a:ext>
              </a:extLst>
            </p:cNvPr>
            <p:cNvSpPr/>
            <p:nvPr/>
          </p:nvSpPr>
          <p:spPr>
            <a:xfrm>
              <a:off x="5085322" y="3724256"/>
              <a:ext cx="101093" cy="169101"/>
            </a:xfrm>
            <a:custGeom>
              <a:avLst/>
              <a:gdLst>
                <a:gd name="connsiteX0" fmla="*/ 0 w 101093"/>
                <a:gd name="connsiteY0" fmla="*/ 84551 h 169101"/>
                <a:gd name="connsiteX1" fmla="*/ 50547 w 101093"/>
                <a:gd name="connsiteY1" fmla="*/ 169101 h 169101"/>
                <a:gd name="connsiteX2" fmla="*/ 101093 w 101093"/>
                <a:gd name="connsiteY2" fmla="*/ 84551 h 169101"/>
                <a:gd name="connsiteX3" fmla="*/ 50547 w 101093"/>
                <a:gd name="connsiteY3" fmla="*/ 0 h 169101"/>
                <a:gd name="connsiteX4" fmla="*/ 0 w 101093"/>
                <a:gd name="connsiteY4" fmla="*/ 84551 h 1691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1093" h="169101">
                  <a:moveTo>
                    <a:pt x="0" y="84551"/>
                  </a:moveTo>
                  <a:cubicBezTo>
                    <a:pt x="0" y="131237"/>
                    <a:pt x="22608" y="169101"/>
                    <a:pt x="50547" y="169101"/>
                  </a:cubicBezTo>
                  <a:cubicBezTo>
                    <a:pt x="78485" y="169101"/>
                    <a:pt x="101093" y="131237"/>
                    <a:pt x="101093" y="84551"/>
                  </a:cubicBezTo>
                  <a:cubicBezTo>
                    <a:pt x="101093" y="37864"/>
                    <a:pt x="78439" y="0"/>
                    <a:pt x="50547" y="0"/>
                  </a:cubicBezTo>
                  <a:cubicBezTo>
                    <a:pt x="22654" y="0"/>
                    <a:pt x="0" y="37864"/>
                    <a:pt x="0" y="84551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72" name="Forma livre: Forma 1971">
              <a:extLst>
                <a:ext uri="{FF2B5EF4-FFF2-40B4-BE49-F238E27FC236}">
                  <a16:creationId xmlns:a16="http://schemas.microsoft.com/office/drawing/2014/main" id="{028925D7-76B7-F1CF-6DA7-1F2CB58B5949}"/>
                </a:ext>
              </a:extLst>
            </p:cNvPr>
            <p:cNvSpPr/>
            <p:nvPr/>
          </p:nvSpPr>
          <p:spPr>
            <a:xfrm>
              <a:off x="5113306" y="3755227"/>
              <a:ext cx="34509" cy="66721"/>
            </a:xfrm>
            <a:custGeom>
              <a:avLst/>
              <a:gdLst>
                <a:gd name="connsiteX0" fmla="*/ 781 w 34509"/>
                <a:gd name="connsiteY0" fmla="*/ 66722 h 66721"/>
                <a:gd name="connsiteX1" fmla="*/ 0 w 34509"/>
                <a:gd name="connsiteY1" fmla="*/ 53579 h 66721"/>
                <a:gd name="connsiteX2" fmla="*/ 22608 w 34509"/>
                <a:gd name="connsiteY2" fmla="*/ 0 h 66721"/>
                <a:gd name="connsiteX3" fmla="*/ 34510 w 34509"/>
                <a:gd name="connsiteY3" fmla="*/ 10523 h 667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4509" h="66721">
                  <a:moveTo>
                    <a:pt x="781" y="66722"/>
                  </a:moveTo>
                  <a:cubicBezTo>
                    <a:pt x="276" y="62632"/>
                    <a:pt x="0" y="58266"/>
                    <a:pt x="0" y="53579"/>
                  </a:cubicBezTo>
                  <a:cubicBezTo>
                    <a:pt x="0" y="18794"/>
                    <a:pt x="16037" y="0"/>
                    <a:pt x="22608" y="0"/>
                  </a:cubicBezTo>
                  <a:cubicBezTo>
                    <a:pt x="25457" y="0"/>
                    <a:pt x="30144" y="3584"/>
                    <a:pt x="34510" y="10523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73" name="Forma livre: Forma 1972">
              <a:extLst>
                <a:ext uri="{FF2B5EF4-FFF2-40B4-BE49-F238E27FC236}">
                  <a16:creationId xmlns:a16="http://schemas.microsoft.com/office/drawing/2014/main" id="{F7716BC9-BAFD-9661-09BC-554229BD32C9}"/>
                </a:ext>
              </a:extLst>
            </p:cNvPr>
            <p:cNvSpPr/>
            <p:nvPr/>
          </p:nvSpPr>
          <p:spPr>
            <a:xfrm>
              <a:off x="5123967" y="3797227"/>
              <a:ext cx="34463" cy="65159"/>
            </a:xfrm>
            <a:custGeom>
              <a:avLst/>
              <a:gdLst>
                <a:gd name="connsiteX0" fmla="*/ 33866 w 34463"/>
                <a:gd name="connsiteY0" fmla="*/ 0 h 65159"/>
                <a:gd name="connsiteX1" fmla="*/ 34464 w 34463"/>
                <a:gd name="connsiteY1" fmla="*/ 11580 h 65159"/>
                <a:gd name="connsiteX2" fmla="*/ 11901 w 34463"/>
                <a:gd name="connsiteY2" fmla="*/ 65159 h 65159"/>
                <a:gd name="connsiteX3" fmla="*/ 0 w 34463"/>
                <a:gd name="connsiteY3" fmla="*/ 54590 h 651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4463" h="65159">
                  <a:moveTo>
                    <a:pt x="33866" y="0"/>
                  </a:moveTo>
                  <a:cubicBezTo>
                    <a:pt x="34280" y="3630"/>
                    <a:pt x="34464" y="7490"/>
                    <a:pt x="34464" y="11580"/>
                  </a:cubicBezTo>
                  <a:cubicBezTo>
                    <a:pt x="34464" y="46365"/>
                    <a:pt x="18427" y="65159"/>
                    <a:pt x="11901" y="65159"/>
                  </a:cubicBezTo>
                  <a:cubicBezTo>
                    <a:pt x="9052" y="65159"/>
                    <a:pt x="4365" y="61575"/>
                    <a:pt x="0" y="5459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74" name="Forma livre: Forma 1973">
              <a:extLst>
                <a:ext uri="{FF2B5EF4-FFF2-40B4-BE49-F238E27FC236}">
                  <a16:creationId xmlns:a16="http://schemas.microsoft.com/office/drawing/2014/main" id="{E71E13FF-C696-E38A-23F1-6059EF8C58AA}"/>
                </a:ext>
              </a:extLst>
            </p:cNvPr>
            <p:cNvSpPr/>
            <p:nvPr/>
          </p:nvSpPr>
          <p:spPr>
            <a:xfrm>
              <a:off x="5135041" y="3724256"/>
              <a:ext cx="272308" cy="169101"/>
            </a:xfrm>
            <a:custGeom>
              <a:avLst/>
              <a:gdLst>
                <a:gd name="connsiteX0" fmla="*/ 186609 w 272308"/>
                <a:gd name="connsiteY0" fmla="*/ 0 h 169101"/>
                <a:gd name="connsiteX1" fmla="*/ 221762 w 272308"/>
                <a:gd name="connsiteY1" fmla="*/ 0 h 169101"/>
                <a:gd name="connsiteX2" fmla="*/ 272309 w 272308"/>
                <a:gd name="connsiteY2" fmla="*/ 84551 h 169101"/>
                <a:gd name="connsiteX3" fmla="*/ 221762 w 272308"/>
                <a:gd name="connsiteY3" fmla="*/ 169101 h 169101"/>
                <a:gd name="connsiteX4" fmla="*/ 0 w 272308"/>
                <a:gd name="connsiteY4" fmla="*/ 169101 h 1691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72308" h="169101">
                  <a:moveTo>
                    <a:pt x="186609" y="0"/>
                  </a:moveTo>
                  <a:lnTo>
                    <a:pt x="221762" y="0"/>
                  </a:lnTo>
                  <a:cubicBezTo>
                    <a:pt x="249655" y="0"/>
                    <a:pt x="272309" y="37864"/>
                    <a:pt x="272309" y="84551"/>
                  </a:cubicBezTo>
                  <a:cubicBezTo>
                    <a:pt x="272309" y="131237"/>
                    <a:pt x="249655" y="169101"/>
                    <a:pt x="221762" y="169101"/>
                  </a:cubicBezTo>
                  <a:lnTo>
                    <a:pt x="0" y="169101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75" name="Forma livre: Forma 1974">
              <a:extLst>
                <a:ext uri="{FF2B5EF4-FFF2-40B4-BE49-F238E27FC236}">
                  <a16:creationId xmlns:a16="http://schemas.microsoft.com/office/drawing/2014/main" id="{626F1378-1F99-8AE1-9C21-1E09B244B670}"/>
                </a:ext>
              </a:extLst>
            </p:cNvPr>
            <p:cNvSpPr/>
            <p:nvPr/>
          </p:nvSpPr>
          <p:spPr>
            <a:xfrm>
              <a:off x="5133479" y="3724256"/>
              <a:ext cx="88640" cy="4595"/>
            </a:xfrm>
            <a:custGeom>
              <a:avLst/>
              <a:gdLst>
                <a:gd name="connsiteX0" fmla="*/ 0 w 88640"/>
                <a:gd name="connsiteY0" fmla="*/ 0 h 4595"/>
                <a:gd name="connsiteX1" fmla="*/ 88640 w 88640"/>
                <a:gd name="connsiteY1" fmla="*/ 0 h 45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8640" h="4595">
                  <a:moveTo>
                    <a:pt x="0" y="0"/>
                  </a:moveTo>
                  <a:lnTo>
                    <a:pt x="8864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76" name="Forma livre: Forma 1975">
              <a:extLst>
                <a:ext uri="{FF2B5EF4-FFF2-40B4-BE49-F238E27FC236}">
                  <a16:creationId xmlns:a16="http://schemas.microsoft.com/office/drawing/2014/main" id="{5157A0B5-5166-3BDB-3621-ECBA3B191468}"/>
                </a:ext>
              </a:extLst>
            </p:cNvPr>
            <p:cNvSpPr/>
            <p:nvPr/>
          </p:nvSpPr>
          <p:spPr>
            <a:xfrm>
              <a:off x="5260994" y="3682348"/>
              <a:ext cx="56887" cy="29684"/>
            </a:xfrm>
            <a:custGeom>
              <a:avLst/>
              <a:gdLst>
                <a:gd name="connsiteX0" fmla="*/ 56888 w 56887"/>
                <a:gd name="connsiteY0" fmla="*/ 14842 h 29684"/>
                <a:gd name="connsiteX1" fmla="*/ 28444 w 56887"/>
                <a:gd name="connsiteY1" fmla="*/ 29685 h 29684"/>
                <a:gd name="connsiteX2" fmla="*/ 0 w 56887"/>
                <a:gd name="connsiteY2" fmla="*/ 14842 h 29684"/>
                <a:gd name="connsiteX3" fmla="*/ 28444 w 56887"/>
                <a:gd name="connsiteY3" fmla="*/ 0 h 29684"/>
                <a:gd name="connsiteX4" fmla="*/ 56888 w 56887"/>
                <a:gd name="connsiteY4" fmla="*/ 14842 h 296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6887" h="29684">
                  <a:moveTo>
                    <a:pt x="56888" y="14842"/>
                  </a:moveTo>
                  <a:cubicBezTo>
                    <a:pt x="56888" y="23022"/>
                    <a:pt x="44159" y="29685"/>
                    <a:pt x="28444" y="29685"/>
                  </a:cubicBezTo>
                  <a:cubicBezTo>
                    <a:pt x="12729" y="29685"/>
                    <a:pt x="0" y="23068"/>
                    <a:pt x="0" y="14842"/>
                  </a:cubicBezTo>
                  <a:cubicBezTo>
                    <a:pt x="0" y="6617"/>
                    <a:pt x="12729" y="0"/>
                    <a:pt x="28444" y="0"/>
                  </a:cubicBezTo>
                  <a:cubicBezTo>
                    <a:pt x="44159" y="0"/>
                    <a:pt x="56888" y="6663"/>
                    <a:pt x="56888" y="14842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77" name="Forma livre: Forma 1976">
              <a:extLst>
                <a:ext uri="{FF2B5EF4-FFF2-40B4-BE49-F238E27FC236}">
                  <a16:creationId xmlns:a16="http://schemas.microsoft.com/office/drawing/2014/main" id="{338600D5-FBA7-0764-CC50-A11847B0B78D}"/>
                </a:ext>
              </a:extLst>
            </p:cNvPr>
            <p:cNvSpPr/>
            <p:nvPr/>
          </p:nvSpPr>
          <p:spPr>
            <a:xfrm>
              <a:off x="5317928" y="3697191"/>
              <a:ext cx="4549" cy="42918"/>
            </a:xfrm>
            <a:custGeom>
              <a:avLst/>
              <a:gdLst>
                <a:gd name="connsiteX0" fmla="*/ 0 w 4549"/>
                <a:gd name="connsiteY0" fmla="*/ 0 h 42918"/>
                <a:gd name="connsiteX1" fmla="*/ 4549 w 4549"/>
                <a:gd name="connsiteY1" fmla="*/ 42919 h 429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549" h="42918">
                  <a:moveTo>
                    <a:pt x="0" y="0"/>
                  </a:moveTo>
                  <a:lnTo>
                    <a:pt x="4549" y="42919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78" name="Forma livre: Forma 1977">
              <a:extLst>
                <a:ext uri="{FF2B5EF4-FFF2-40B4-BE49-F238E27FC236}">
                  <a16:creationId xmlns:a16="http://schemas.microsoft.com/office/drawing/2014/main" id="{A7401378-C8FC-048E-9A8E-8B881326881B}"/>
                </a:ext>
              </a:extLst>
            </p:cNvPr>
            <p:cNvSpPr/>
            <p:nvPr/>
          </p:nvSpPr>
          <p:spPr>
            <a:xfrm>
              <a:off x="5240224" y="3695858"/>
              <a:ext cx="20816" cy="43516"/>
            </a:xfrm>
            <a:custGeom>
              <a:avLst/>
              <a:gdLst>
                <a:gd name="connsiteX0" fmla="*/ 20816 w 20816"/>
                <a:gd name="connsiteY0" fmla="*/ 0 h 43516"/>
                <a:gd name="connsiteX1" fmla="*/ 0 w 20816"/>
                <a:gd name="connsiteY1" fmla="*/ 43516 h 435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0816" h="43516">
                  <a:moveTo>
                    <a:pt x="20816" y="0"/>
                  </a:moveTo>
                  <a:lnTo>
                    <a:pt x="0" y="43516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79" name="Forma livre: Forma 1978">
              <a:extLst>
                <a:ext uri="{FF2B5EF4-FFF2-40B4-BE49-F238E27FC236}">
                  <a16:creationId xmlns:a16="http://schemas.microsoft.com/office/drawing/2014/main" id="{A776CA89-E39C-F339-5BBE-283CDF676AA8}"/>
                </a:ext>
              </a:extLst>
            </p:cNvPr>
            <p:cNvSpPr/>
            <p:nvPr/>
          </p:nvSpPr>
          <p:spPr>
            <a:xfrm>
              <a:off x="5214905" y="3770208"/>
              <a:ext cx="96314" cy="18380"/>
            </a:xfrm>
            <a:custGeom>
              <a:avLst/>
              <a:gdLst>
                <a:gd name="connsiteX0" fmla="*/ 0 w 96314"/>
                <a:gd name="connsiteY0" fmla="*/ 16680 h 18380"/>
                <a:gd name="connsiteX1" fmla="*/ 29960 w 96314"/>
                <a:gd name="connsiteY1" fmla="*/ 16680 h 18380"/>
                <a:gd name="connsiteX2" fmla="*/ 46641 w 96314"/>
                <a:gd name="connsiteY2" fmla="*/ 0 h 18380"/>
                <a:gd name="connsiteX3" fmla="*/ 65021 w 96314"/>
                <a:gd name="connsiteY3" fmla="*/ 18381 h 18380"/>
                <a:gd name="connsiteX4" fmla="*/ 96314 w 96314"/>
                <a:gd name="connsiteY4" fmla="*/ 18381 h 183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6314" h="18380">
                  <a:moveTo>
                    <a:pt x="0" y="16680"/>
                  </a:moveTo>
                  <a:lnTo>
                    <a:pt x="29960" y="16680"/>
                  </a:lnTo>
                  <a:lnTo>
                    <a:pt x="46641" y="0"/>
                  </a:lnTo>
                  <a:lnTo>
                    <a:pt x="65021" y="18381"/>
                  </a:lnTo>
                  <a:lnTo>
                    <a:pt x="96314" y="18381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80" name="Forma livre: Forma 1979">
              <a:extLst>
                <a:ext uri="{FF2B5EF4-FFF2-40B4-BE49-F238E27FC236}">
                  <a16:creationId xmlns:a16="http://schemas.microsoft.com/office/drawing/2014/main" id="{02768B4F-3971-B00B-838D-62C0348977F5}"/>
                </a:ext>
              </a:extLst>
            </p:cNvPr>
            <p:cNvSpPr/>
            <p:nvPr/>
          </p:nvSpPr>
          <p:spPr>
            <a:xfrm>
              <a:off x="5213343" y="3819605"/>
              <a:ext cx="159130" cy="18380"/>
            </a:xfrm>
            <a:custGeom>
              <a:avLst/>
              <a:gdLst>
                <a:gd name="connsiteX0" fmla="*/ 0 w 159130"/>
                <a:gd name="connsiteY0" fmla="*/ 16680 h 18380"/>
                <a:gd name="connsiteX1" fmla="*/ 96131 w 159130"/>
                <a:gd name="connsiteY1" fmla="*/ 16680 h 18380"/>
                <a:gd name="connsiteX2" fmla="*/ 112811 w 159130"/>
                <a:gd name="connsiteY2" fmla="*/ 0 h 18380"/>
                <a:gd name="connsiteX3" fmla="*/ 131192 w 159130"/>
                <a:gd name="connsiteY3" fmla="*/ 18381 h 18380"/>
                <a:gd name="connsiteX4" fmla="*/ 159130 w 159130"/>
                <a:gd name="connsiteY4" fmla="*/ 18381 h 183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9130" h="18380">
                  <a:moveTo>
                    <a:pt x="0" y="16680"/>
                  </a:moveTo>
                  <a:lnTo>
                    <a:pt x="96131" y="16680"/>
                  </a:lnTo>
                  <a:lnTo>
                    <a:pt x="112811" y="0"/>
                  </a:lnTo>
                  <a:lnTo>
                    <a:pt x="131192" y="18381"/>
                  </a:lnTo>
                  <a:lnTo>
                    <a:pt x="159130" y="18381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81" name="Forma livre: Forma 1980">
              <a:extLst>
                <a:ext uri="{FF2B5EF4-FFF2-40B4-BE49-F238E27FC236}">
                  <a16:creationId xmlns:a16="http://schemas.microsoft.com/office/drawing/2014/main" id="{C58CB1BB-F904-1AE6-EA75-B077E7735F76}"/>
                </a:ext>
              </a:extLst>
            </p:cNvPr>
            <p:cNvSpPr/>
            <p:nvPr/>
          </p:nvSpPr>
          <p:spPr>
            <a:xfrm>
              <a:off x="5349451" y="3788037"/>
              <a:ext cx="26835" cy="4595"/>
            </a:xfrm>
            <a:custGeom>
              <a:avLst/>
              <a:gdLst>
                <a:gd name="connsiteX0" fmla="*/ 0 w 26835"/>
                <a:gd name="connsiteY0" fmla="*/ 0 h 4595"/>
                <a:gd name="connsiteX1" fmla="*/ 26836 w 26835"/>
                <a:gd name="connsiteY1" fmla="*/ 0 h 45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6835" h="4595">
                  <a:moveTo>
                    <a:pt x="0" y="0"/>
                  </a:moveTo>
                  <a:lnTo>
                    <a:pt x="26836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982" name="Gráfico 25">
            <a:extLst>
              <a:ext uri="{FF2B5EF4-FFF2-40B4-BE49-F238E27FC236}">
                <a16:creationId xmlns:a16="http://schemas.microsoft.com/office/drawing/2014/main" id="{F1A5A817-817C-AD4C-8255-2B70147E1C61}"/>
              </a:ext>
            </a:extLst>
          </p:cNvPr>
          <p:cNvGrpSpPr/>
          <p:nvPr/>
        </p:nvGrpSpPr>
        <p:grpSpPr>
          <a:xfrm>
            <a:off x="5128148" y="4150318"/>
            <a:ext cx="236374" cy="309253"/>
            <a:chOff x="5128148" y="4150318"/>
            <a:chExt cx="236374" cy="309253"/>
          </a:xfrm>
          <a:noFill/>
        </p:grpSpPr>
        <p:sp>
          <p:nvSpPr>
            <p:cNvPr id="1983" name="Forma livre: Forma 1982">
              <a:extLst>
                <a:ext uri="{FF2B5EF4-FFF2-40B4-BE49-F238E27FC236}">
                  <a16:creationId xmlns:a16="http://schemas.microsoft.com/office/drawing/2014/main" id="{BE8479A2-C30C-06D0-FC30-1FEFA619D9CC}"/>
                </a:ext>
              </a:extLst>
            </p:cNvPr>
            <p:cNvSpPr/>
            <p:nvPr/>
          </p:nvSpPr>
          <p:spPr>
            <a:xfrm>
              <a:off x="5309155" y="4392850"/>
              <a:ext cx="46784" cy="66721"/>
            </a:xfrm>
            <a:custGeom>
              <a:avLst/>
              <a:gdLst>
                <a:gd name="connsiteX0" fmla="*/ 38595 w 46784"/>
                <a:gd name="connsiteY0" fmla="*/ 22930 h 66721"/>
                <a:gd name="connsiteX1" fmla="*/ 23386 w 46784"/>
                <a:gd name="connsiteY1" fmla="*/ 0 h 66721"/>
                <a:gd name="connsiteX2" fmla="*/ 23386 w 46784"/>
                <a:gd name="connsiteY2" fmla="*/ 0 h 66721"/>
                <a:gd name="connsiteX3" fmla="*/ 8176 w 46784"/>
                <a:gd name="connsiteY3" fmla="*/ 22930 h 66721"/>
                <a:gd name="connsiteX4" fmla="*/ 23294 w 46784"/>
                <a:gd name="connsiteY4" fmla="*/ 66722 h 66721"/>
                <a:gd name="connsiteX5" fmla="*/ 23523 w 46784"/>
                <a:gd name="connsiteY5" fmla="*/ 66722 h 66721"/>
                <a:gd name="connsiteX6" fmla="*/ 38641 w 46784"/>
                <a:gd name="connsiteY6" fmla="*/ 22930 h 667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6784" h="66721">
                  <a:moveTo>
                    <a:pt x="38595" y="22930"/>
                  </a:moveTo>
                  <a:cubicBezTo>
                    <a:pt x="24764" y="6709"/>
                    <a:pt x="23477" y="827"/>
                    <a:pt x="23386" y="0"/>
                  </a:cubicBezTo>
                  <a:lnTo>
                    <a:pt x="23386" y="0"/>
                  </a:lnTo>
                  <a:cubicBezTo>
                    <a:pt x="23294" y="827"/>
                    <a:pt x="22007" y="6663"/>
                    <a:pt x="8176" y="22930"/>
                  </a:cubicBezTo>
                  <a:cubicBezTo>
                    <a:pt x="-7953" y="41862"/>
                    <a:pt x="1191" y="66630"/>
                    <a:pt x="23294" y="66722"/>
                  </a:cubicBezTo>
                  <a:lnTo>
                    <a:pt x="23523" y="66722"/>
                  </a:lnTo>
                  <a:cubicBezTo>
                    <a:pt x="45488" y="66676"/>
                    <a:pt x="54770" y="41908"/>
                    <a:pt x="38641" y="22930"/>
                  </a:cubicBez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84" name="Forma livre: Forma 1983">
              <a:extLst>
                <a:ext uri="{FF2B5EF4-FFF2-40B4-BE49-F238E27FC236}">
                  <a16:creationId xmlns:a16="http://schemas.microsoft.com/office/drawing/2014/main" id="{CA997C43-DA6E-4761-2B34-4446EDF8F83E}"/>
                </a:ext>
              </a:extLst>
            </p:cNvPr>
            <p:cNvSpPr/>
            <p:nvPr/>
          </p:nvSpPr>
          <p:spPr>
            <a:xfrm>
              <a:off x="5128148" y="4336126"/>
              <a:ext cx="179164" cy="27452"/>
            </a:xfrm>
            <a:custGeom>
              <a:avLst/>
              <a:gdLst>
                <a:gd name="connsiteX0" fmla="*/ 0 w 179164"/>
                <a:gd name="connsiteY0" fmla="*/ 20 h 27452"/>
                <a:gd name="connsiteX1" fmla="*/ 68146 w 179164"/>
                <a:gd name="connsiteY1" fmla="*/ 20 h 27452"/>
                <a:gd name="connsiteX2" fmla="*/ 108124 w 179164"/>
                <a:gd name="connsiteY2" fmla="*/ 20468 h 27452"/>
                <a:gd name="connsiteX3" fmla="*/ 148102 w 179164"/>
                <a:gd name="connsiteY3" fmla="*/ 20 h 27452"/>
                <a:gd name="connsiteX4" fmla="*/ 157522 w 179164"/>
                <a:gd name="connsiteY4" fmla="*/ 20 h 27452"/>
                <a:gd name="connsiteX5" fmla="*/ 179165 w 179164"/>
                <a:gd name="connsiteY5" fmla="*/ 27453 h 274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79164" h="27452">
                  <a:moveTo>
                    <a:pt x="0" y="20"/>
                  </a:moveTo>
                  <a:lnTo>
                    <a:pt x="68146" y="20"/>
                  </a:lnTo>
                  <a:cubicBezTo>
                    <a:pt x="77153" y="12381"/>
                    <a:pt x="91673" y="20468"/>
                    <a:pt x="108124" y="20468"/>
                  </a:cubicBezTo>
                  <a:cubicBezTo>
                    <a:pt x="124575" y="20468"/>
                    <a:pt x="139141" y="12381"/>
                    <a:pt x="148102" y="20"/>
                  </a:cubicBezTo>
                  <a:lnTo>
                    <a:pt x="157522" y="20"/>
                  </a:lnTo>
                  <a:cubicBezTo>
                    <a:pt x="157522" y="20"/>
                    <a:pt x="179165" y="-1726"/>
                    <a:pt x="179165" y="27453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85" name="Forma livre: Forma 1984">
              <a:extLst>
                <a:ext uri="{FF2B5EF4-FFF2-40B4-BE49-F238E27FC236}">
                  <a16:creationId xmlns:a16="http://schemas.microsoft.com/office/drawing/2014/main" id="{C86E49FC-A6EF-5EF9-206A-315E8B4763C6}"/>
                </a:ext>
              </a:extLst>
            </p:cNvPr>
            <p:cNvSpPr/>
            <p:nvPr/>
          </p:nvSpPr>
          <p:spPr>
            <a:xfrm>
              <a:off x="5149792" y="4242727"/>
              <a:ext cx="204830" cy="120806"/>
            </a:xfrm>
            <a:custGeom>
              <a:avLst/>
              <a:gdLst>
                <a:gd name="connsiteX0" fmla="*/ 204622 w 204830"/>
                <a:gd name="connsiteY0" fmla="*/ 120806 h 120806"/>
                <a:gd name="connsiteX1" fmla="*/ 125907 w 204830"/>
                <a:gd name="connsiteY1" fmla="*/ 37818 h 120806"/>
                <a:gd name="connsiteX2" fmla="*/ 125080 w 204830"/>
                <a:gd name="connsiteY2" fmla="*/ 37542 h 120806"/>
                <a:gd name="connsiteX3" fmla="*/ 125080 w 204830"/>
                <a:gd name="connsiteY3" fmla="*/ 0 h 120806"/>
                <a:gd name="connsiteX4" fmla="*/ 52477 w 204830"/>
                <a:gd name="connsiteY4" fmla="*/ 0 h 120806"/>
                <a:gd name="connsiteX5" fmla="*/ 52477 w 204830"/>
                <a:gd name="connsiteY5" fmla="*/ 36577 h 120806"/>
                <a:gd name="connsiteX6" fmla="*/ 0 w 204830"/>
                <a:gd name="connsiteY6" fmla="*/ 36577 h 120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4830" h="120806">
                  <a:moveTo>
                    <a:pt x="204622" y="120806"/>
                  </a:moveTo>
                  <a:cubicBezTo>
                    <a:pt x="204622" y="120806"/>
                    <a:pt x="212847" y="46962"/>
                    <a:pt x="125907" y="37818"/>
                  </a:cubicBezTo>
                  <a:lnTo>
                    <a:pt x="125080" y="37542"/>
                  </a:lnTo>
                  <a:lnTo>
                    <a:pt x="125080" y="0"/>
                  </a:lnTo>
                  <a:lnTo>
                    <a:pt x="52477" y="0"/>
                  </a:lnTo>
                  <a:lnTo>
                    <a:pt x="52477" y="36577"/>
                  </a:lnTo>
                  <a:cubicBezTo>
                    <a:pt x="52477" y="36577"/>
                    <a:pt x="0" y="36577"/>
                    <a:pt x="0" y="36577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86" name="Forma livre: Forma 1985">
              <a:extLst>
                <a:ext uri="{FF2B5EF4-FFF2-40B4-BE49-F238E27FC236}">
                  <a16:creationId xmlns:a16="http://schemas.microsoft.com/office/drawing/2014/main" id="{5EEBC5F9-2616-E424-25FB-338A2C590C51}"/>
                </a:ext>
              </a:extLst>
            </p:cNvPr>
            <p:cNvSpPr/>
            <p:nvPr/>
          </p:nvSpPr>
          <p:spPr>
            <a:xfrm>
              <a:off x="5216008" y="4215707"/>
              <a:ext cx="45170" cy="26514"/>
            </a:xfrm>
            <a:custGeom>
              <a:avLst/>
              <a:gdLst>
                <a:gd name="connsiteX0" fmla="*/ 0 w 45170"/>
                <a:gd name="connsiteY0" fmla="*/ 0 h 26514"/>
                <a:gd name="connsiteX1" fmla="*/ 45170 w 45170"/>
                <a:gd name="connsiteY1" fmla="*/ 0 h 26514"/>
                <a:gd name="connsiteX2" fmla="*/ 45170 w 45170"/>
                <a:gd name="connsiteY2" fmla="*/ 26514 h 265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5170" h="26514">
                  <a:moveTo>
                    <a:pt x="0" y="0"/>
                  </a:moveTo>
                  <a:lnTo>
                    <a:pt x="45170" y="0"/>
                  </a:lnTo>
                  <a:lnTo>
                    <a:pt x="45170" y="26514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87" name="Forma livre: Forma 1986">
              <a:extLst>
                <a:ext uri="{FF2B5EF4-FFF2-40B4-BE49-F238E27FC236}">
                  <a16:creationId xmlns:a16="http://schemas.microsoft.com/office/drawing/2014/main" id="{2840D1A6-CF18-BDF9-1A74-4FAAA0C69469}"/>
                </a:ext>
              </a:extLst>
            </p:cNvPr>
            <p:cNvSpPr/>
            <p:nvPr/>
          </p:nvSpPr>
          <p:spPr>
            <a:xfrm>
              <a:off x="5254056" y="4152221"/>
              <a:ext cx="67732" cy="34748"/>
            </a:xfrm>
            <a:custGeom>
              <a:avLst/>
              <a:gdLst>
                <a:gd name="connsiteX0" fmla="*/ 0 w 67732"/>
                <a:gd name="connsiteY0" fmla="*/ 28656 h 34748"/>
                <a:gd name="connsiteX1" fmla="*/ 50730 w 67732"/>
                <a:gd name="connsiteY1" fmla="*/ 34675 h 34748"/>
                <a:gd name="connsiteX2" fmla="*/ 67733 w 67732"/>
                <a:gd name="connsiteY2" fmla="*/ 19190 h 34748"/>
                <a:gd name="connsiteX3" fmla="*/ 67733 w 67732"/>
                <a:gd name="connsiteY3" fmla="*/ 15559 h 34748"/>
                <a:gd name="connsiteX4" fmla="*/ 50730 w 67732"/>
                <a:gd name="connsiteY4" fmla="*/ 74 h 34748"/>
                <a:gd name="connsiteX5" fmla="*/ 0 w 67732"/>
                <a:gd name="connsiteY5" fmla="*/ 6093 h 347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7732" h="34748">
                  <a:moveTo>
                    <a:pt x="0" y="28656"/>
                  </a:moveTo>
                  <a:lnTo>
                    <a:pt x="50730" y="34675"/>
                  </a:lnTo>
                  <a:cubicBezTo>
                    <a:pt x="60105" y="35548"/>
                    <a:pt x="67733" y="28564"/>
                    <a:pt x="67733" y="19190"/>
                  </a:cubicBezTo>
                  <a:lnTo>
                    <a:pt x="67733" y="15559"/>
                  </a:lnTo>
                  <a:cubicBezTo>
                    <a:pt x="67733" y="6185"/>
                    <a:pt x="60105" y="-799"/>
                    <a:pt x="50730" y="74"/>
                  </a:cubicBezTo>
                  <a:lnTo>
                    <a:pt x="0" y="6093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88" name="Forma livre: Forma 1987">
              <a:extLst>
                <a:ext uri="{FF2B5EF4-FFF2-40B4-BE49-F238E27FC236}">
                  <a16:creationId xmlns:a16="http://schemas.microsoft.com/office/drawing/2014/main" id="{A46DF3EC-8F98-B1A9-2209-8FCE385F5D9E}"/>
                </a:ext>
              </a:extLst>
            </p:cNvPr>
            <p:cNvSpPr/>
            <p:nvPr/>
          </p:nvSpPr>
          <p:spPr>
            <a:xfrm>
              <a:off x="5155903" y="4152221"/>
              <a:ext cx="67732" cy="34748"/>
            </a:xfrm>
            <a:custGeom>
              <a:avLst/>
              <a:gdLst>
                <a:gd name="connsiteX0" fmla="*/ 67733 w 67732"/>
                <a:gd name="connsiteY0" fmla="*/ 6093 h 34748"/>
                <a:gd name="connsiteX1" fmla="*/ 17002 w 67732"/>
                <a:gd name="connsiteY1" fmla="*/ 74 h 34748"/>
                <a:gd name="connsiteX2" fmla="*/ 0 w 67732"/>
                <a:gd name="connsiteY2" fmla="*/ 15559 h 34748"/>
                <a:gd name="connsiteX3" fmla="*/ 0 w 67732"/>
                <a:gd name="connsiteY3" fmla="*/ 19190 h 34748"/>
                <a:gd name="connsiteX4" fmla="*/ 17002 w 67732"/>
                <a:gd name="connsiteY4" fmla="*/ 34675 h 34748"/>
                <a:gd name="connsiteX5" fmla="*/ 67733 w 67732"/>
                <a:gd name="connsiteY5" fmla="*/ 28656 h 347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7732" h="34748">
                  <a:moveTo>
                    <a:pt x="67733" y="6093"/>
                  </a:moveTo>
                  <a:lnTo>
                    <a:pt x="17002" y="74"/>
                  </a:lnTo>
                  <a:cubicBezTo>
                    <a:pt x="7628" y="-799"/>
                    <a:pt x="0" y="6185"/>
                    <a:pt x="0" y="15559"/>
                  </a:cubicBezTo>
                  <a:lnTo>
                    <a:pt x="0" y="19190"/>
                  </a:lnTo>
                  <a:cubicBezTo>
                    <a:pt x="0" y="28564"/>
                    <a:pt x="7628" y="35548"/>
                    <a:pt x="17002" y="34675"/>
                  </a:cubicBezTo>
                  <a:lnTo>
                    <a:pt x="67733" y="28656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89" name="Forma livre: Forma 1988">
              <a:extLst>
                <a:ext uri="{FF2B5EF4-FFF2-40B4-BE49-F238E27FC236}">
                  <a16:creationId xmlns:a16="http://schemas.microsoft.com/office/drawing/2014/main" id="{DE0F7833-66BF-4FF3-F4B9-80BE0EB08508}"/>
                </a:ext>
              </a:extLst>
            </p:cNvPr>
            <p:cNvSpPr/>
            <p:nvPr/>
          </p:nvSpPr>
          <p:spPr>
            <a:xfrm>
              <a:off x="5297939" y="4364498"/>
              <a:ext cx="66583" cy="4595"/>
            </a:xfrm>
            <a:custGeom>
              <a:avLst/>
              <a:gdLst>
                <a:gd name="connsiteX0" fmla="*/ 0 w 66583"/>
                <a:gd name="connsiteY0" fmla="*/ 0 h 4595"/>
                <a:gd name="connsiteX1" fmla="*/ 66584 w 66583"/>
                <a:gd name="connsiteY1" fmla="*/ 0 h 45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6583" h="4595">
                  <a:moveTo>
                    <a:pt x="0" y="0"/>
                  </a:moveTo>
                  <a:lnTo>
                    <a:pt x="66584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90" name="Forma livre: Forma 1989">
              <a:extLst>
                <a:ext uri="{FF2B5EF4-FFF2-40B4-BE49-F238E27FC236}">
                  <a16:creationId xmlns:a16="http://schemas.microsoft.com/office/drawing/2014/main" id="{7DC69AE1-4E00-5E04-56B0-A4B2852A4F3B}"/>
                </a:ext>
              </a:extLst>
            </p:cNvPr>
            <p:cNvSpPr/>
            <p:nvPr/>
          </p:nvSpPr>
          <p:spPr>
            <a:xfrm>
              <a:off x="5238846" y="4189331"/>
              <a:ext cx="4595" cy="25273"/>
            </a:xfrm>
            <a:custGeom>
              <a:avLst/>
              <a:gdLst>
                <a:gd name="connsiteX0" fmla="*/ 0 w 4595"/>
                <a:gd name="connsiteY0" fmla="*/ 0 h 25273"/>
                <a:gd name="connsiteX1" fmla="*/ 0 w 4595"/>
                <a:gd name="connsiteY1" fmla="*/ 25273 h 252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595" h="25273">
                  <a:moveTo>
                    <a:pt x="0" y="0"/>
                  </a:moveTo>
                  <a:lnTo>
                    <a:pt x="0" y="25273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91" name="Forma livre: Forma 1990">
              <a:extLst>
                <a:ext uri="{FF2B5EF4-FFF2-40B4-BE49-F238E27FC236}">
                  <a16:creationId xmlns:a16="http://schemas.microsoft.com/office/drawing/2014/main" id="{85595109-CB1F-36C1-CD60-254F5D83438F}"/>
                </a:ext>
              </a:extLst>
            </p:cNvPr>
            <p:cNvSpPr/>
            <p:nvPr/>
          </p:nvSpPr>
          <p:spPr>
            <a:xfrm>
              <a:off x="5219822" y="4150318"/>
              <a:ext cx="38047" cy="38047"/>
            </a:xfrm>
            <a:custGeom>
              <a:avLst/>
              <a:gdLst>
                <a:gd name="connsiteX0" fmla="*/ 38048 w 38047"/>
                <a:gd name="connsiteY0" fmla="*/ 19024 h 38047"/>
                <a:gd name="connsiteX1" fmla="*/ 19024 w 38047"/>
                <a:gd name="connsiteY1" fmla="*/ 38048 h 38047"/>
                <a:gd name="connsiteX2" fmla="*/ 0 w 38047"/>
                <a:gd name="connsiteY2" fmla="*/ 19024 h 38047"/>
                <a:gd name="connsiteX3" fmla="*/ 19024 w 38047"/>
                <a:gd name="connsiteY3" fmla="*/ 0 h 38047"/>
                <a:gd name="connsiteX4" fmla="*/ 38048 w 38047"/>
                <a:gd name="connsiteY4" fmla="*/ 19024 h 380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8047" h="38047">
                  <a:moveTo>
                    <a:pt x="38048" y="19024"/>
                  </a:moveTo>
                  <a:cubicBezTo>
                    <a:pt x="38048" y="29547"/>
                    <a:pt x="29547" y="38048"/>
                    <a:pt x="19024" y="38048"/>
                  </a:cubicBezTo>
                  <a:cubicBezTo>
                    <a:pt x="8501" y="38048"/>
                    <a:pt x="0" y="29547"/>
                    <a:pt x="0" y="19024"/>
                  </a:cubicBezTo>
                  <a:cubicBezTo>
                    <a:pt x="0" y="8501"/>
                    <a:pt x="8501" y="0"/>
                    <a:pt x="19024" y="0"/>
                  </a:cubicBezTo>
                  <a:cubicBezTo>
                    <a:pt x="29547" y="0"/>
                    <a:pt x="38048" y="8501"/>
                    <a:pt x="38048" y="19024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92" name="Forma livre: Forma 1991">
              <a:extLst>
                <a:ext uri="{FF2B5EF4-FFF2-40B4-BE49-F238E27FC236}">
                  <a16:creationId xmlns:a16="http://schemas.microsoft.com/office/drawing/2014/main" id="{7795C6F4-6481-F185-7C97-1200B0E15D82}"/>
                </a:ext>
              </a:extLst>
            </p:cNvPr>
            <p:cNvSpPr/>
            <p:nvPr/>
          </p:nvSpPr>
          <p:spPr>
            <a:xfrm>
              <a:off x="5128148" y="4269700"/>
              <a:ext cx="4595" cy="79174"/>
            </a:xfrm>
            <a:custGeom>
              <a:avLst/>
              <a:gdLst>
                <a:gd name="connsiteX0" fmla="*/ 0 w 4595"/>
                <a:gd name="connsiteY0" fmla="*/ 0 h 79174"/>
                <a:gd name="connsiteX1" fmla="*/ 0 w 4595"/>
                <a:gd name="connsiteY1" fmla="*/ 79174 h 79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595" h="79174">
                  <a:moveTo>
                    <a:pt x="0" y="0"/>
                  </a:moveTo>
                  <a:lnTo>
                    <a:pt x="0" y="79174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993" name="Gráfico 25">
            <a:extLst>
              <a:ext uri="{FF2B5EF4-FFF2-40B4-BE49-F238E27FC236}">
                <a16:creationId xmlns:a16="http://schemas.microsoft.com/office/drawing/2014/main" id="{082556FF-C981-02C0-CE40-A2DEBEA244BE}"/>
              </a:ext>
            </a:extLst>
          </p:cNvPr>
          <p:cNvGrpSpPr/>
          <p:nvPr/>
        </p:nvGrpSpPr>
        <p:grpSpPr>
          <a:xfrm>
            <a:off x="5059175" y="4665343"/>
            <a:ext cx="374320" cy="273824"/>
            <a:chOff x="5059175" y="4665343"/>
            <a:chExt cx="374320" cy="273824"/>
          </a:xfrm>
          <a:noFill/>
        </p:grpSpPr>
        <p:sp>
          <p:nvSpPr>
            <p:cNvPr id="1994" name="Forma livre: Forma 1993">
              <a:extLst>
                <a:ext uri="{FF2B5EF4-FFF2-40B4-BE49-F238E27FC236}">
                  <a16:creationId xmlns:a16="http://schemas.microsoft.com/office/drawing/2014/main" id="{57F4640F-3FFD-5E06-1C0A-32D76699D56C}"/>
                </a:ext>
              </a:extLst>
            </p:cNvPr>
            <p:cNvSpPr/>
            <p:nvPr/>
          </p:nvSpPr>
          <p:spPr>
            <a:xfrm>
              <a:off x="5173870" y="4714281"/>
              <a:ext cx="149893" cy="59828"/>
            </a:xfrm>
            <a:custGeom>
              <a:avLst/>
              <a:gdLst>
                <a:gd name="connsiteX0" fmla="*/ 0 w 149893"/>
                <a:gd name="connsiteY0" fmla="*/ 59829 h 59828"/>
                <a:gd name="connsiteX1" fmla="*/ 75682 w 149893"/>
                <a:gd name="connsiteY1" fmla="*/ 0 h 59828"/>
                <a:gd name="connsiteX2" fmla="*/ 149894 w 149893"/>
                <a:gd name="connsiteY2" fmla="*/ 54361 h 598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49893" h="59828">
                  <a:moveTo>
                    <a:pt x="0" y="59829"/>
                  </a:moveTo>
                  <a:cubicBezTo>
                    <a:pt x="8087" y="25503"/>
                    <a:pt x="38921" y="0"/>
                    <a:pt x="75682" y="0"/>
                  </a:cubicBezTo>
                  <a:cubicBezTo>
                    <a:pt x="110467" y="0"/>
                    <a:pt x="139922" y="22838"/>
                    <a:pt x="149894" y="54361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95" name="Forma livre: Forma 1994">
              <a:extLst>
                <a:ext uri="{FF2B5EF4-FFF2-40B4-BE49-F238E27FC236}">
                  <a16:creationId xmlns:a16="http://schemas.microsoft.com/office/drawing/2014/main" id="{16C0267A-9F2F-5DC3-EFFE-BF2262D77D3D}"/>
                </a:ext>
              </a:extLst>
            </p:cNvPr>
            <p:cNvSpPr/>
            <p:nvPr/>
          </p:nvSpPr>
          <p:spPr>
            <a:xfrm>
              <a:off x="5059175" y="4794554"/>
              <a:ext cx="165884" cy="14019"/>
            </a:xfrm>
            <a:custGeom>
              <a:avLst/>
              <a:gdLst>
                <a:gd name="connsiteX0" fmla="*/ 0 w 165884"/>
                <a:gd name="connsiteY0" fmla="*/ 14020 h 14019"/>
                <a:gd name="connsiteX1" fmla="*/ 165885 w 165884"/>
                <a:gd name="connsiteY1" fmla="*/ 10849 h 140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65884" h="14019">
                  <a:moveTo>
                    <a:pt x="0" y="14020"/>
                  </a:moveTo>
                  <a:cubicBezTo>
                    <a:pt x="44803" y="-2982"/>
                    <a:pt x="104264" y="-5096"/>
                    <a:pt x="165885" y="10849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96" name="Forma livre: Forma 1995">
              <a:extLst>
                <a:ext uri="{FF2B5EF4-FFF2-40B4-BE49-F238E27FC236}">
                  <a16:creationId xmlns:a16="http://schemas.microsoft.com/office/drawing/2014/main" id="{DCA8A613-BCFB-4C07-EC95-323AE6506D91}"/>
                </a:ext>
              </a:extLst>
            </p:cNvPr>
            <p:cNvSpPr/>
            <p:nvPr/>
          </p:nvSpPr>
          <p:spPr>
            <a:xfrm>
              <a:off x="5088630" y="4827230"/>
              <a:ext cx="84183" cy="6295"/>
            </a:xfrm>
            <a:custGeom>
              <a:avLst/>
              <a:gdLst>
                <a:gd name="connsiteX0" fmla="*/ 0 w 84183"/>
                <a:gd name="connsiteY0" fmla="*/ 6295 h 6295"/>
                <a:gd name="connsiteX1" fmla="*/ 53993 w 84183"/>
                <a:gd name="connsiteY1" fmla="*/ 0 h 6295"/>
                <a:gd name="connsiteX2" fmla="*/ 84183 w 84183"/>
                <a:gd name="connsiteY2" fmla="*/ 1700 h 62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84183" h="6295">
                  <a:moveTo>
                    <a:pt x="0" y="6295"/>
                  </a:moveTo>
                  <a:cubicBezTo>
                    <a:pt x="16175" y="2206"/>
                    <a:pt x="34372" y="0"/>
                    <a:pt x="53993" y="0"/>
                  </a:cubicBezTo>
                  <a:cubicBezTo>
                    <a:pt x="63873" y="0"/>
                    <a:pt x="73982" y="551"/>
                    <a:pt x="84183" y="1700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97" name="Forma livre: Forma 1996">
              <a:extLst>
                <a:ext uri="{FF2B5EF4-FFF2-40B4-BE49-F238E27FC236}">
                  <a16:creationId xmlns:a16="http://schemas.microsoft.com/office/drawing/2014/main" id="{D6474B1C-365F-3E6F-85B0-BA780902B3CF}"/>
                </a:ext>
              </a:extLst>
            </p:cNvPr>
            <p:cNvSpPr/>
            <p:nvPr/>
          </p:nvSpPr>
          <p:spPr>
            <a:xfrm>
              <a:off x="5125713" y="4790468"/>
              <a:ext cx="307783" cy="76463"/>
            </a:xfrm>
            <a:custGeom>
              <a:avLst/>
              <a:gdLst>
                <a:gd name="connsiteX0" fmla="*/ 0 w 307783"/>
                <a:gd name="connsiteY0" fmla="*/ 76463 h 76463"/>
                <a:gd name="connsiteX1" fmla="*/ 201543 w 307783"/>
                <a:gd name="connsiteY1" fmla="*/ 0 h 76463"/>
                <a:gd name="connsiteX2" fmla="*/ 307783 w 307783"/>
                <a:gd name="connsiteY2" fmla="*/ 16543 h 764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07783" h="76463">
                  <a:moveTo>
                    <a:pt x="0" y="76463"/>
                  </a:moveTo>
                  <a:cubicBezTo>
                    <a:pt x="38370" y="30971"/>
                    <a:pt x="114235" y="0"/>
                    <a:pt x="201543" y="0"/>
                  </a:cubicBezTo>
                  <a:cubicBezTo>
                    <a:pt x="239913" y="0"/>
                    <a:pt x="276031" y="5974"/>
                    <a:pt x="307783" y="16543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98" name="Forma livre: Forma 1997">
              <a:extLst>
                <a:ext uri="{FF2B5EF4-FFF2-40B4-BE49-F238E27FC236}">
                  <a16:creationId xmlns:a16="http://schemas.microsoft.com/office/drawing/2014/main" id="{AB47F2BB-938D-6D98-3AAC-E920A23677C7}"/>
                </a:ext>
              </a:extLst>
            </p:cNvPr>
            <p:cNvSpPr/>
            <p:nvPr/>
          </p:nvSpPr>
          <p:spPr>
            <a:xfrm>
              <a:off x="5150205" y="4823140"/>
              <a:ext cx="269046" cy="64975"/>
            </a:xfrm>
            <a:custGeom>
              <a:avLst/>
              <a:gdLst>
                <a:gd name="connsiteX0" fmla="*/ 0 w 269046"/>
                <a:gd name="connsiteY0" fmla="*/ 64975 h 64975"/>
                <a:gd name="connsiteX1" fmla="*/ 177051 w 269046"/>
                <a:gd name="connsiteY1" fmla="*/ 0 h 64975"/>
                <a:gd name="connsiteX2" fmla="*/ 269046 w 269046"/>
                <a:gd name="connsiteY2" fmla="*/ 13556 h 64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69046" h="64975">
                  <a:moveTo>
                    <a:pt x="0" y="64975"/>
                  </a:moveTo>
                  <a:cubicBezTo>
                    <a:pt x="31569" y="27019"/>
                    <a:pt x="99945" y="0"/>
                    <a:pt x="177051" y="0"/>
                  </a:cubicBezTo>
                  <a:cubicBezTo>
                    <a:pt x="210044" y="0"/>
                    <a:pt x="241429" y="4963"/>
                    <a:pt x="269046" y="13556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99" name="Forma livre: Forma 1998">
              <a:extLst>
                <a:ext uri="{FF2B5EF4-FFF2-40B4-BE49-F238E27FC236}">
                  <a16:creationId xmlns:a16="http://schemas.microsoft.com/office/drawing/2014/main" id="{9CF1F7B3-7143-F22D-C4B1-B2AD161EC119}"/>
                </a:ext>
              </a:extLst>
            </p:cNvPr>
            <p:cNvSpPr/>
            <p:nvPr/>
          </p:nvSpPr>
          <p:spPr>
            <a:xfrm>
              <a:off x="5174743" y="4855811"/>
              <a:ext cx="230446" cy="53671"/>
            </a:xfrm>
            <a:custGeom>
              <a:avLst/>
              <a:gdLst>
                <a:gd name="connsiteX0" fmla="*/ 0 w 230446"/>
                <a:gd name="connsiteY0" fmla="*/ 53671 h 53671"/>
                <a:gd name="connsiteX1" fmla="*/ 152513 w 230446"/>
                <a:gd name="connsiteY1" fmla="*/ 0 h 53671"/>
                <a:gd name="connsiteX2" fmla="*/ 230447 w 230446"/>
                <a:gd name="connsiteY2" fmla="*/ 10799 h 536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30446" h="53671">
                  <a:moveTo>
                    <a:pt x="0" y="53671"/>
                  </a:moveTo>
                  <a:cubicBezTo>
                    <a:pt x="22884" y="25319"/>
                    <a:pt x="81518" y="0"/>
                    <a:pt x="152513" y="0"/>
                  </a:cubicBezTo>
                  <a:cubicBezTo>
                    <a:pt x="181003" y="0"/>
                    <a:pt x="207471" y="4090"/>
                    <a:pt x="230447" y="10799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00" name="Forma livre: Forma 1999">
              <a:extLst>
                <a:ext uri="{FF2B5EF4-FFF2-40B4-BE49-F238E27FC236}">
                  <a16:creationId xmlns:a16="http://schemas.microsoft.com/office/drawing/2014/main" id="{9D3FACB3-0ED3-BCC2-31EC-3FCD49569377}"/>
                </a:ext>
              </a:extLst>
            </p:cNvPr>
            <p:cNvSpPr/>
            <p:nvPr/>
          </p:nvSpPr>
          <p:spPr>
            <a:xfrm>
              <a:off x="5205117" y="4887610"/>
              <a:ext cx="22516" cy="51557"/>
            </a:xfrm>
            <a:custGeom>
              <a:avLst/>
              <a:gdLst>
                <a:gd name="connsiteX0" fmla="*/ 0 w 22516"/>
                <a:gd name="connsiteY0" fmla="*/ 0 h 51557"/>
                <a:gd name="connsiteX1" fmla="*/ 22516 w 22516"/>
                <a:gd name="connsiteY1" fmla="*/ 51558 h 515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2516" h="51557">
                  <a:moveTo>
                    <a:pt x="0" y="0"/>
                  </a:moveTo>
                  <a:cubicBezTo>
                    <a:pt x="0" y="0"/>
                    <a:pt x="14659" y="9558"/>
                    <a:pt x="22516" y="51558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01" name="Forma livre: Forma 2000">
              <a:extLst>
                <a:ext uri="{FF2B5EF4-FFF2-40B4-BE49-F238E27FC236}">
                  <a16:creationId xmlns:a16="http://schemas.microsoft.com/office/drawing/2014/main" id="{D8D67705-2479-C0CE-4563-D969FBBF9E39}"/>
                </a:ext>
              </a:extLst>
            </p:cNvPr>
            <p:cNvSpPr/>
            <p:nvPr/>
          </p:nvSpPr>
          <p:spPr>
            <a:xfrm>
              <a:off x="5248771" y="4869183"/>
              <a:ext cx="27616" cy="59323"/>
            </a:xfrm>
            <a:custGeom>
              <a:avLst/>
              <a:gdLst>
                <a:gd name="connsiteX0" fmla="*/ 0 w 27616"/>
                <a:gd name="connsiteY0" fmla="*/ 0 h 59323"/>
                <a:gd name="connsiteX1" fmla="*/ 27617 w 27616"/>
                <a:gd name="connsiteY1" fmla="*/ 59323 h 593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7616" h="59323">
                  <a:moveTo>
                    <a:pt x="0" y="0"/>
                  </a:moveTo>
                  <a:cubicBezTo>
                    <a:pt x="0" y="0"/>
                    <a:pt x="17462" y="20219"/>
                    <a:pt x="27617" y="59323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02" name="Forma livre: Forma 2001">
              <a:extLst>
                <a:ext uri="{FF2B5EF4-FFF2-40B4-BE49-F238E27FC236}">
                  <a16:creationId xmlns:a16="http://schemas.microsoft.com/office/drawing/2014/main" id="{4012231D-E5EC-CC35-B010-D965C0F2980F}"/>
                </a:ext>
              </a:extLst>
            </p:cNvPr>
            <p:cNvSpPr/>
            <p:nvPr/>
          </p:nvSpPr>
          <p:spPr>
            <a:xfrm>
              <a:off x="5291138" y="4858431"/>
              <a:ext cx="35244" cy="59415"/>
            </a:xfrm>
            <a:custGeom>
              <a:avLst/>
              <a:gdLst>
                <a:gd name="connsiteX0" fmla="*/ 0 w 35244"/>
                <a:gd name="connsiteY0" fmla="*/ 0 h 59415"/>
                <a:gd name="connsiteX1" fmla="*/ 35245 w 35244"/>
                <a:gd name="connsiteY1" fmla="*/ 59415 h 594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5244" h="59415">
                  <a:moveTo>
                    <a:pt x="0" y="0"/>
                  </a:moveTo>
                  <a:cubicBezTo>
                    <a:pt x="0" y="0"/>
                    <a:pt x="23389" y="22700"/>
                    <a:pt x="35245" y="59415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03" name="Forma livre: Forma 2002">
              <a:extLst>
                <a:ext uri="{FF2B5EF4-FFF2-40B4-BE49-F238E27FC236}">
                  <a16:creationId xmlns:a16="http://schemas.microsoft.com/office/drawing/2014/main" id="{556D7C39-B32E-B2F4-0292-8032E5BFAA98}"/>
                </a:ext>
              </a:extLst>
            </p:cNvPr>
            <p:cNvSpPr/>
            <p:nvPr/>
          </p:nvSpPr>
          <p:spPr>
            <a:xfrm>
              <a:off x="5344948" y="4857190"/>
              <a:ext cx="35061" cy="50041"/>
            </a:xfrm>
            <a:custGeom>
              <a:avLst/>
              <a:gdLst>
                <a:gd name="connsiteX0" fmla="*/ 0 w 35061"/>
                <a:gd name="connsiteY0" fmla="*/ 0 h 50041"/>
                <a:gd name="connsiteX1" fmla="*/ 35061 w 35061"/>
                <a:gd name="connsiteY1" fmla="*/ 50041 h 500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5061" h="50041">
                  <a:moveTo>
                    <a:pt x="0" y="0"/>
                  </a:moveTo>
                  <a:cubicBezTo>
                    <a:pt x="7260" y="5330"/>
                    <a:pt x="25273" y="21230"/>
                    <a:pt x="35061" y="50041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04" name="Forma livre: Forma 2003">
              <a:extLst>
                <a:ext uri="{FF2B5EF4-FFF2-40B4-BE49-F238E27FC236}">
                  <a16:creationId xmlns:a16="http://schemas.microsoft.com/office/drawing/2014/main" id="{70E16F09-AAB9-0A96-38E1-0C989EB01CC2}"/>
                </a:ext>
              </a:extLst>
            </p:cNvPr>
            <p:cNvSpPr/>
            <p:nvPr/>
          </p:nvSpPr>
          <p:spPr>
            <a:xfrm>
              <a:off x="5249506" y="4665343"/>
              <a:ext cx="4595" cy="21689"/>
            </a:xfrm>
            <a:custGeom>
              <a:avLst/>
              <a:gdLst>
                <a:gd name="connsiteX0" fmla="*/ 0 w 4595"/>
                <a:gd name="connsiteY0" fmla="*/ 21689 h 21689"/>
                <a:gd name="connsiteX1" fmla="*/ 0 w 4595"/>
                <a:gd name="connsiteY1" fmla="*/ 0 h 216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595" h="21689">
                  <a:moveTo>
                    <a:pt x="0" y="21689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05" name="Forma livre: Forma 2004">
              <a:extLst>
                <a:ext uri="{FF2B5EF4-FFF2-40B4-BE49-F238E27FC236}">
                  <a16:creationId xmlns:a16="http://schemas.microsoft.com/office/drawing/2014/main" id="{1065FD4C-2DA5-C4A3-CC30-4C259C1F2F53}"/>
                </a:ext>
              </a:extLst>
            </p:cNvPr>
            <p:cNvSpPr/>
            <p:nvPr/>
          </p:nvSpPr>
          <p:spPr>
            <a:xfrm>
              <a:off x="5289898" y="4675084"/>
              <a:ext cx="8271" cy="20034"/>
            </a:xfrm>
            <a:custGeom>
              <a:avLst/>
              <a:gdLst>
                <a:gd name="connsiteX0" fmla="*/ 0 w 8271"/>
                <a:gd name="connsiteY0" fmla="*/ 20035 h 20034"/>
                <a:gd name="connsiteX1" fmla="*/ 8271 w 8271"/>
                <a:gd name="connsiteY1" fmla="*/ 0 h 200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271" h="20034">
                  <a:moveTo>
                    <a:pt x="0" y="20035"/>
                  </a:moveTo>
                  <a:lnTo>
                    <a:pt x="8271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06" name="Forma livre: Forma 2005">
              <a:extLst>
                <a:ext uri="{FF2B5EF4-FFF2-40B4-BE49-F238E27FC236}">
                  <a16:creationId xmlns:a16="http://schemas.microsoft.com/office/drawing/2014/main" id="{7B6B8540-FED5-D18A-EBFE-EADCE44F90E8}"/>
                </a:ext>
              </a:extLst>
            </p:cNvPr>
            <p:cNvSpPr/>
            <p:nvPr/>
          </p:nvSpPr>
          <p:spPr>
            <a:xfrm>
              <a:off x="5346326" y="4743920"/>
              <a:ext cx="20034" cy="8271"/>
            </a:xfrm>
            <a:custGeom>
              <a:avLst/>
              <a:gdLst>
                <a:gd name="connsiteX0" fmla="*/ 0 w 20034"/>
                <a:gd name="connsiteY0" fmla="*/ 8271 h 8271"/>
                <a:gd name="connsiteX1" fmla="*/ 20035 w 20034"/>
                <a:gd name="connsiteY1" fmla="*/ 0 h 82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0034" h="8271">
                  <a:moveTo>
                    <a:pt x="0" y="8271"/>
                  </a:moveTo>
                  <a:lnTo>
                    <a:pt x="20035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07" name="Forma livre: Forma 2006">
              <a:extLst>
                <a:ext uri="{FF2B5EF4-FFF2-40B4-BE49-F238E27FC236}">
                  <a16:creationId xmlns:a16="http://schemas.microsoft.com/office/drawing/2014/main" id="{8F3227DF-EFC6-5A27-6E3E-D8C2A27A6C65}"/>
                </a:ext>
              </a:extLst>
            </p:cNvPr>
            <p:cNvSpPr/>
            <p:nvPr/>
          </p:nvSpPr>
          <p:spPr>
            <a:xfrm>
              <a:off x="5323672" y="4702333"/>
              <a:ext cx="15347" cy="15347"/>
            </a:xfrm>
            <a:custGeom>
              <a:avLst/>
              <a:gdLst>
                <a:gd name="connsiteX0" fmla="*/ 0 w 15347"/>
                <a:gd name="connsiteY0" fmla="*/ 15348 h 15347"/>
                <a:gd name="connsiteX1" fmla="*/ 15348 w 15347"/>
                <a:gd name="connsiteY1" fmla="*/ 0 h 153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347" h="15347">
                  <a:moveTo>
                    <a:pt x="0" y="15348"/>
                  </a:moveTo>
                  <a:lnTo>
                    <a:pt x="15348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08" name="Forma livre: Forma 2007">
              <a:extLst>
                <a:ext uri="{FF2B5EF4-FFF2-40B4-BE49-F238E27FC236}">
                  <a16:creationId xmlns:a16="http://schemas.microsoft.com/office/drawing/2014/main" id="{0FDF773C-8A23-BE6B-59EE-34F2ECA48122}"/>
                </a:ext>
              </a:extLst>
            </p:cNvPr>
            <p:cNvSpPr/>
            <p:nvPr/>
          </p:nvSpPr>
          <p:spPr>
            <a:xfrm>
              <a:off x="5200614" y="4675084"/>
              <a:ext cx="8317" cy="20034"/>
            </a:xfrm>
            <a:custGeom>
              <a:avLst/>
              <a:gdLst>
                <a:gd name="connsiteX0" fmla="*/ 8317 w 8317"/>
                <a:gd name="connsiteY0" fmla="*/ 20035 h 20034"/>
                <a:gd name="connsiteX1" fmla="*/ 0 w 8317"/>
                <a:gd name="connsiteY1" fmla="*/ 0 h 200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317" h="20034">
                  <a:moveTo>
                    <a:pt x="8317" y="20035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09" name="Forma livre: Forma 2008">
              <a:extLst>
                <a:ext uri="{FF2B5EF4-FFF2-40B4-BE49-F238E27FC236}">
                  <a16:creationId xmlns:a16="http://schemas.microsoft.com/office/drawing/2014/main" id="{2A1643FC-A75B-674E-632B-CFD79D95EB56}"/>
                </a:ext>
              </a:extLst>
            </p:cNvPr>
            <p:cNvSpPr/>
            <p:nvPr/>
          </p:nvSpPr>
          <p:spPr>
            <a:xfrm>
              <a:off x="5132468" y="4743920"/>
              <a:ext cx="20034" cy="8271"/>
            </a:xfrm>
            <a:custGeom>
              <a:avLst/>
              <a:gdLst>
                <a:gd name="connsiteX0" fmla="*/ 20035 w 20034"/>
                <a:gd name="connsiteY0" fmla="*/ 8271 h 8271"/>
                <a:gd name="connsiteX1" fmla="*/ 0 w 20034"/>
                <a:gd name="connsiteY1" fmla="*/ 0 h 82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0034" h="8271">
                  <a:moveTo>
                    <a:pt x="20035" y="8271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10" name="Forma livre: Forma 2009">
              <a:extLst>
                <a:ext uri="{FF2B5EF4-FFF2-40B4-BE49-F238E27FC236}">
                  <a16:creationId xmlns:a16="http://schemas.microsoft.com/office/drawing/2014/main" id="{67C89355-F9C4-5FA5-4487-164E60DC80D8}"/>
                </a:ext>
              </a:extLst>
            </p:cNvPr>
            <p:cNvSpPr/>
            <p:nvPr/>
          </p:nvSpPr>
          <p:spPr>
            <a:xfrm>
              <a:off x="5159809" y="4702333"/>
              <a:ext cx="15301" cy="15347"/>
            </a:xfrm>
            <a:custGeom>
              <a:avLst/>
              <a:gdLst>
                <a:gd name="connsiteX0" fmla="*/ 15302 w 15301"/>
                <a:gd name="connsiteY0" fmla="*/ 15348 h 15347"/>
                <a:gd name="connsiteX1" fmla="*/ 0 w 15301"/>
                <a:gd name="connsiteY1" fmla="*/ 0 h 153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301" h="15347">
                  <a:moveTo>
                    <a:pt x="15302" y="15348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2011" name="Gráfico 25">
            <a:extLst>
              <a:ext uri="{FF2B5EF4-FFF2-40B4-BE49-F238E27FC236}">
                <a16:creationId xmlns:a16="http://schemas.microsoft.com/office/drawing/2014/main" id="{9BB00495-4DC3-BB63-7D20-F1B9508ABA55}"/>
              </a:ext>
            </a:extLst>
          </p:cNvPr>
          <p:cNvGrpSpPr/>
          <p:nvPr/>
        </p:nvGrpSpPr>
        <p:grpSpPr>
          <a:xfrm>
            <a:off x="5111560" y="5675540"/>
            <a:ext cx="269551" cy="282325"/>
            <a:chOff x="5111560" y="5675540"/>
            <a:chExt cx="269551" cy="282325"/>
          </a:xfrm>
          <a:noFill/>
        </p:grpSpPr>
        <p:sp>
          <p:nvSpPr>
            <p:cNvPr id="2012" name="Forma livre: Forma 2011">
              <a:extLst>
                <a:ext uri="{FF2B5EF4-FFF2-40B4-BE49-F238E27FC236}">
                  <a16:creationId xmlns:a16="http://schemas.microsoft.com/office/drawing/2014/main" id="{D7C9CAAE-8BBE-2E83-0401-DDE258FF9589}"/>
                </a:ext>
              </a:extLst>
            </p:cNvPr>
            <p:cNvSpPr/>
            <p:nvPr/>
          </p:nvSpPr>
          <p:spPr>
            <a:xfrm>
              <a:off x="5185909" y="5675540"/>
              <a:ext cx="195201" cy="185873"/>
            </a:xfrm>
            <a:custGeom>
              <a:avLst/>
              <a:gdLst>
                <a:gd name="connsiteX0" fmla="*/ 126275 w 195201"/>
                <a:gd name="connsiteY0" fmla="*/ 185874 h 185873"/>
                <a:gd name="connsiteX1" fmla="*/ 135925 w 195201"/>
                <a:gd name="connsiteY1" fmla="*/ 185874 h 185873"/>
                <a:gd name="connsiteX2" fmla="*/ 195202 w 195201"/>
                <a:gd name="connsiteY2" fmla="*/ 126596 h 185873"/>
                <a:gd name="connsiteX3" fmla="*/ 195202 w 195201"/>
                <a:gd name="connsiteY3" fmla="*/ 124345 h 185873"/>
                <a:gd name="connsiteX4" fmla="*/ 135925 w 195201"/>
                <a:gd name="connsiteY4" fmla="*/ 65067 h 185873"/>
                <a:gd name="connsiteX5" fmla="*/ 120852 w 195201"/>
                <a:gd name="connsiteY5" fmla="*/ 65067 h 185873"/>
                <a:gd name="connsiteX6" fmla="*/ 120852 w 195201"/>
                <a:gd name="connsiteY6" fmla="*/ 60426 h 185873"/>
                <a:gd name="connsiteX7" fmla="*/ 60426 w 195201"/>
                <a:gd name="connsiteY7" fmla="*/ 0 h 185873"/>
                <a:gd name="connsiteX8" fmla="*/ 0 w 195201"/>
                <a:gd name="connsiteY8" fmla="*/ 60426 h 185873"/>
                <a:gd name="connsiteX9" fmla="*/ 0 w 195201"/>
                <a:gd name="connsiteY9" fmla="*/ 64240 h 185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95201" h="185873">
                  <a:moveTo>
                    <a:pt x="126275" y="185874"/>
                  </a:moveTo>
                  <a:lnTo>
                    <a:pt x="135925" y="185874"/>
                  </a:lnTo>
                  <a:cubicBezTo>
                    <a:pt x="168550" y="185874"/>
                    <a:pt x="195202" y="159176"/>
                    <a:pt x="195202" y="126596"/>
                  </a:cubicBezTo>
                  <a:lnTo>
                    <a:pt x="195202" y="124345"/>
                  </a:lnTo>
                  <a:cubicBezTo>
                    <a:pt x="195202" y="91719"/>
                    <a:pt x="168504" y="65067"/>
                    <a:pt x="135925" y="65067"/>
                  </a:cubicBezTo>
                  <a:lnTo>
                    <a:pt x="120852" y="65067"/>
                  </a:lnTo>
                  <a:lnTo>
                    <a:pt x="120852" y="60426"/>
                  </a:lnTo>
                  <a:cubicBezTo>
                    <a:pt x="120852" y="27065"/>
                    <a:pt x="93787" y="0"/>
                    <a:pt x="60426" y="0"/>
                  </a:cubicBezTo>
                  <a:cubicBezTo>
                    <a:pt x="27065" y="0"/>
                    <a:pt x="0" y="27065"/>
                    <a:pt x="0" y="60426"/>
                  </a:cubicBezTo>
                  <a:lnTo>
                    <a:pt x="0" y="64240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13" name="Forma livre: Forma 2012">
              <a:extLst>
                <a:ext uri="{FF2B5EF4-FFF2-40B4-BE49-F238E27FC236}">
                  <a16:creationId xmlns:a16="http://schemas.microsoft.com/office/drawing/2014/main" id="{9F9F8731-D752-E237-79C2-3631E1FC6D4A}"/>
                </a:ext>
              </a:extLst>
            </p:cNvPr>
            <p:cNvSpPr/>
            <p:nvPr/>
          </p:nvSpPr>
          <p:spPr>
            <a:xfrm>
              <a:off x="5111560" y="5740561"/>
              <a:ext cx="100449" cy="120576"/>
            </a:xfrm>
            <a:custGeom>
              <a:avLst/>
              <a:gdLst>
                <a:gd name="connsiteX0" fmla="*/ 100450 w 100449"/>
                <a:gd name="connsiteY0" fmla="*/ 18427 h 120576"/>
                <a:gd name="connsiteX1" fmla="*/ 58083 w 100449"/>
                <a:gd name="connsiteY1" fmla="*/ 0 h 120576"/>
                <a:gd name="connsiteX2" fmla="*/ 55142 w 100449"/>
                <a:gd name="connsiteY2" fmla="*/ 92 h 120576"/>
                <a:gd name="connsiteX3" fmla="*/ 0 w 100449"/>
                <a:gd name="connsiteY3" fmla="*/ 59232 h 120576"/>
                <a:gd name="connsiteX4" fmla="*/ 0 w 100449"/>
                <a:gd name="connsiteY4" fmla="*/ 61483 h 120576"/>
                <a:gd name="connsiteX5" fmla="*/ 54177 w 100449"/>
                <a:gd name="connsiteY5" fmla="*/ 120577 h 1205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00449" h="120576">
                  <a:moveTo>
                    <a:pt x="100450" y="18427"/>
                  </a:moveTo>
                  <a:cubicBezTo>
                    <a:pt x="87859" y="5330"/>
                    <a:pt x="76969" y="0"/>
                    <a:pt x="58083" y="0"/>
                  </a:cubicBezTo>
                  <a:lnTo>
                    <a:pt x="55142" y="92"/>
                  </a:lnTo>
                  <a:cubicBezTo>
                    <a:pt x="24446" y="2252"/>
                    <a:pt x="0" y="28030"/>
                    <a:pt x="0" y="59232"/>
                  </a:cubicBezTo>
                  <a:lnTo>
                    <a:pt x="0" y="61483"/>
                  </a:lnTo>
                  <a:cubicBezTo>
                    <a:pt x="0" y="92363"/>
                    <a:pt x="23941" y="117958"/>
                    <a:pt x="54177" y="120577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14" name="Forma livre: Forma 2013">
              <a:extLst>
                <a:ext uri="{FF2B5EF4-FFF2-40B4-BE49-F238E27FC236}">
                  <a16:creationId xmlns:a16="http://schemas.microsoft.com/office/drawing/2014/main" id="{A795F9D2-3DF8-CAC6-D70C-8E5F5F5AF16F}"/>
                </a:ext>
              </a:extLst>
            </p:cNvPr>
            <p:cNvSpPr/>
            <p:nvPr/>
          </p:nvSpPr>
          <p:spPr>
            <a:xfrm>
              <a:off x="5193262" y="5824331"/>
              <a:ext cx="63229" cy="133535"/>
            </a:xfrm>
            <a:custGeom>
              <a:avLst/>
              <a:gdLst>
                <a:gd name="connsiteX0" fmla="*/ 63229 w 63229"/>
                <a:gd name="connsiteY0" fmla="*/ 0 h 133535"/>
                <a:gd name="connsiteX1" fmla="*/ 0 w 63229"/>
                <a:gd name="connsiteY1" fmla="*/ 133535 h 1335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3229" h="133535">
                  <a:moveTo>
                    <a:pt x="63229" y="0"/>
                  </a:moveTo>
                  <a:lnTo>
                    <a:pt x="0" y="133535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15" name="Forma livre: Forma 2014">
              <a:extLst>
                <a:ext uri="{FF2B5EF4-FFF2-40B4-BE49-F238E27FC236}">
                  <a16:creationId xmlns:a16="http://schemas.microsoft.com/office/drawing/2014/main" id="{09209CAD-64CA-B7E7-BEB8-52079F4F8636}"/>
                </a:ext>
              </a:extLst>
            </p:cNvPr>
            <p:cNvSpPr/>
            <p:nvPr/>
          </p:nvSpPr>
          <p:spPr>
            <a:xfrm>
              <a:off x="5167667" y="5824331"/>
              <a:ext cx="46548" cy="98290"/>
            </a:xfrm>
            <a:custGeom>
              <a:avLst/>
              <a:gdLst>
                <a:gd name="connsiteX0" fmla="*/ 46549 w 46548"/>
                <a:gd name="connsiteY0" fmla="*/ 0 h 98290"/>
                <a:gd name="connsiteX1" fmla="*/ 0 w 46548"/>
                <a:gd name="connsiteY1" fmla="*/ 98290 h 982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6548" h="98290">
                  <a:moveTo>
                    <a:pt x="46549" y="0"/>
                  </a:moveTo>
                  <a:lnTo>
                    <a:pt x="0" y="9829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16" name="Forma livre: Forma 2015">
              <a:extLst>
                <a:ext uri="{FF2B5EF4-FFF2-40B4-BE49-F238E27FC236}">
                  <a16:creationId xmlns:a16="http://schemas.microsoft.com/office/drawing/2014/main" id="{5D629E94-4A28-6DFC-A0C1-7E13849A6E8B}"/>
                </a:ext>
              </a:extLst>
            </p:cNvPr>
            <p:cNvSpPr/>
            <p:nvPr/>
          </p:nvSpPr>
          <p:spPr>
            <a:xfrm>
              <a:off x="5252218" y="5824331"/>
              <a:ext cx="46548" cy="98290"/>
            </a:xfrm>
            <a:custGeom>
              <a:avLst/>
              <a:gdLst>
                <a:gd name="connsiteX0" fmla="*/ 46549 w 46548"/>
                <a:gd name="connsiteY0" fmla="*/ 0 h 98290"/>
                <a:gd name="connsiteX1" fmla="*/ 0 w 46548"/>
                <a:gd name="connsiteY1" fmla="*/ 98290 h 982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6548" h="98290">
                  <a:moveTo>
                    <a:pt x="46549" y="0"/>
                  </a:moveTo>
                  <a:lnTo>
                    <a:pt x="0" y="9829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2017" name="Gráfico 25">
            <a:extLst>
              <a:ext uri="{FF2B5EF4-FFF2-40B4-BE49-F238E27FC236}">
                <a16:creationId xmlns:a16="http://schemas.microsoft.com/office/drawing/2014/main" id="{57E9335C-249E-2387-6CB3-9535A9CB79E4}"/>
              </a:ext>
            </a:extLst>
          </p:cNvPr>
          <p:cNvGrpSpPr/>
          <p:nvPr/>
        </p:nvGrpSpPr>
        <p:grpSpPr>
          <a:xfrm>
            <a:off x="5087160" y="5150269"/>
            <a:ext cx="318306" cy="318397"/>
            <a:chOff x="5087160" y="5150269"/>
            <a:chExt cx="318306" cy="318397"/>
          </a:xfrm>
          <a:noFill/>
        </p:grpSpPr>
        <p:sp>
          <p:nvSpPr>
            <p:cNvPr id="2018" name="Forma livre: Forma 2017">
              <a:extLst>
                <a:ext uri="{FF2B5EF4-FFF2-40B4-BE49-F238E27FC236}">
                  <a16:creationId xmlns:a16="http://schemas.microsoft.com/office/drawing/2014/main" id="{94B3E669-C80B-8045-9B52-CE6DCA7330CB}"/>
                </a:ext>
              </a:extLst>
            </p:cNvPr>
            <p:cNvSpPr/>
            <p:nvPr/>
          </p:nvSpPr>
          <p:spPr>
            <a:xfrm>
              <a:off x="5165002" y="5292902"/>
              <a:ext cx="97922" cy="175764"/>
            </a:xfrm>
            <a:custGeom>
              <a:avLst/>
              <a:gdLst>
                <a:gd name="connsiteX0" fmla="*/ 0 w 97922"/>
                <a:gd name="connsiteY0" fmla="*/ 175764 h 175764"/>
                <a:gd name="connsiteX1" fmla="*/ 77244 w 97922"/>
                <a:gd name="connsiteY1" fmla="*/ 98520 h 175764"/>
                <a:gd name="connsiteX2" fmla="*/ 80737 w 97922"/>
                <a:gd name="connsiteY2" fmla="*/ 70811 h 175764"/>
                <a:gd name="connsiteX3" fmla="*/ 67135 w 97922"/>
                <a:gd name="connsiteY3" fmla="*/ 57210 h 175764"/>
                <a:gd name="connsiteX4" fmla="*/ 97923 w 97922"/>
                <a:gd name="connsiteY4" fmla="*/ 26422 h 175764"/>
                <a:gd name="connsiteX5" fmla="*/ 71501 w 97922"/>
                <a:gd name="connsiteY5" fmla="*/ 0 h 1757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7922" h="175764">
                  <a:moveTo>
                    <a:pt x="0" y="175764"/>
                  </a:moveTo>
                  <a:lnTo>
                    <a:pt x="77244" y="98520"/>
                  </a:lnTo>
                  <a:cubicBezTo>
                    <a:pt x="85654" y="90111"/>
                    <a:pt x="89376" y="79450"/>
                    <a:pt x="80737" y="70811"/>
                  </a:cubicBezTo>
                  <a:lnTo>
                    <a:pt x="67135" y="57210"/>
                  </a:lnTo>
                  <a:lnTo>
                    <a:pt x="97923" y="26422"/>
                  </a:lnTo>
                  <a:lnTo>
                    <a:pt x="71501" y="0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19" name="Forma livre: Forma 2018">
              <a:extLst>
                <a:ext uri="{FF2B5EF4-FFF2-40B4-BE49-F238E27FC236}">
                  <a16:creationId xmlns:a16="http://schemas.microsoft.com/office/drawing/2014/main" id="{431132DE-4978-0B37-1F2F-79F902968FA4}"/>
                </a:ext>
              </a:extLst>
            </p:cNvPr>
            <p:cNvSpPr/>
            <p:nvPr/>
          </p:nvSpPr>
          <p:spPr>
            <a:xfrm>
              <a:off x="5139269" y="5374144"/>
              <a:ext cx="68421" cy="68421"/>
            </a:xfrm>
            <a:custGeom>
              <a:avLst/>
              <a:gdLst>
                <a:gd name="connsiteX0" fmla="*/ 68422 w 68421"/>
                <a:gd name="connsiteY0" fmla="*/ 0 h 68421"/>
                <a:gd name="connsiteX1" fmla="*/ 0 w 68421"/>
                <a:gd name="connsiteY1" fmla="*/ 68422 h 684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8421" h="68421">
                  <a:moveTo>
                    <a:pt x="68422" y="0"/>
                  </a:moveTo>
                  <a:lnTo>
                    <a:pt x="0" y="68422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20" name="Forma livre: Forma 2019">
              <a:extLst>
                <a:ext uri="{FF2B5EF4-FFF2-40B4-BE49-F238E27FC236}">
                  <a16:creationId xmlns:a16="http://schemas.microsoft.com/office/drawing/2014/main" id="{73E2BE9E-7D5B-FC4F-A67B-271DDD5F2105}"/>
                </a:ext>
              </a:extLst>
            </p:cNvPr>
            <p:cNvSpPr/>
            <p:nvPr/>
          </p:nvSpPr>
          <p:spPr>
            <a:xfrm>
              <a:off x="5139269" y="5363713"/>
              <a:ext cx="68421" cy="78852"/>
            </a:xfrm>
            <a:custGeom>
              <a:avLst/>
              <a:gdLst>
                <a:gd name="connsiteX0" fmla="*/ 58037 w 68421"/>
                <a:gd name="connsiteY0" fmla="*/ 0 h 78852"/>
                <a:gd name="connsiteX1" fmla="*/ 68422 w 68421"/>
                <a:gd name="connsiteY1" fmla="*/ 10431 h 78852"/>
                <a:gd name="connsiteX2" fmla="*/ 0 w 68421"/>
                <a:gd name="connsiteY2" fmla="*/ 78853 h 788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8421" h="78852">
                  <a:moveTo>
                    <a:pt x="58037" y="0"/>
                  </a:moveTo>
                  <a:lnTo>
                    <a:pt x="68422" y="10431"/>
                  </a:lnTo>
                  <a:lnTo>
                    <a:pt x="0" y="78853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21" name="Forma livre: Forma 2020">
              <a:extLst>
                <a:ext uri="{FF2B5EF4-FFF2-40B4-BE49-F238E27FC236}">
                  <a16:creationId xmlns:a16="http://schemas.microsoft.com/office/drawing/2014/main" id="{D54260D4-E1C9-3A81-5BF8-91B5D156D5DB}"/>
                </a:ext>
              </a:extLst>
            </p:cNvPr>
            <p:cNvSpPr/>
            <p:nvPr/>
          </p:nvSpPr>
          <p:spPr>
            <a:xfrm>
              <a:off x="5113306" y="5333983"/>
              <a:ext cx="68421" cy="82620"/>
            </a:xfrm>
            <a:custGeom>
              <a:avLst/>
              <a:gdLst>
                <a:gd name="connsiteX0" fmla="*/ 54223 w 68421"/>
                <a:gd name="connsiteY0" fmla="*/ 0 h 82620"/>
                <a:gd name="connsiteX1" fmla="*/ 68422 w 68421"/>
                <a:gd name="connsiteY1" fmla="*/ 14199 h 82620"/>
                <a:gd name="connsiteX2" fmla="*/ 0 w 68421"/>
                <a:gd name="connsiteY2" fmla="*/ 82621 h 826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8421" h="82620">
                  <a:moveTo>
                    <a:pt x="54223" y="0"/>
                  </a:moveTo>
                  <a:lnTo>
                    <a:pt x="68422" y="14199"/>
                  </a:lnTo>
                  <a:lnTo>
                    <a:pt x="0" y="82621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22" name="Forma livre: Forma 2021">
              <a:extLst>
                <a:ext uri="{FF2B5EF4-FFF2-40B4-BE49-F238E27FC236}">
                  <a16:creationId xmlns:a16="http://schemas.microsoft.com/office/drawing/2014/main" id="{062791B1-A50E-C94E-6E79-247815B2EE52}"/>
                </a:ext>
              </a:extLst>
            </p:cNvPr>
            <p:cNvSpPr/>
            <p:nvPr/>
          </p:nvSpPr>
          <p:spPr>
            <a:xfrm>
              <a:off x="5113306" y="5348182"/>
              <a:ext cx="68421" cy="68421"/>
            </a:xfrm>
            <a:custGeom>
              <a:avLst/>
              <a:gdLst>
                <a:gd name="connsiteX0" fmla="*/ 68422 w 68421"/>
                <a:gd name="connsiteY0" fmla="*/ 0 h 68421"/>
                <a:gd name="connsiteX1" fmla="*/ 0 w 68421"/>
                <a:gd name="connsiteY1" fmla="*/ 68422 h 684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8421" h="68421">
                  <a:moveTo>
                    <a:pt x="68422" y="0"/>
                  </a:moveTo>
                  <a:lnTo>
                    <a:pt x="0" y="68422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23" name="Forma livre: Forma 2022">
              <a:extLst>
                <a:ext uri="{FF2B5EF4-FFF2-40B4-BE49-F238E27FC236}">
                  <a16:creationId xmlns:a16="http://schemas.microsoft.com/office/drawing/2014/main" id="{F24DB9E8-F90C-4063-6E45-EE3FF03B2289}"/>
                </a:ext>
              </a:extLst>
            </p:cNvPr>
            <p:cNvSpPr/>
            <p:nvPr/>
          </p:nvSpPr>
          <p:spPr>
            <a:xfrm>
              <a:off x="5240959" y="5150269"/>
              <a:ext cx="164506" cy="164598"/>
            </a:xfrm>
            <a:custGeom>
              <a:avLst/>
              <a:gdLst>
                <a:gd name="connsiteX0" fmla="*/ 0 w 164506"/>
                <a:gd name="connsiteY0" fmla="*/ 145712 h 164598"/>
                <a:gd name="connsiteX1" fmla="*/ 105321 w 164506"/>
                <a:gd name="connsiteY1" fmla="*/ 40391 h 164598"/>
                <a:gd name="connsiteX2" fmla="*/ 105367 w 164506"/>
                <a:gd name="connsiteY2" fmla="*/ 40391 h 164598"/>
                <a:gd name="connsiteX3" fmla="*/ 83632 w 164506"/>
                <a:gd name="connsiteY3" fmla="*/ 18610 h 164598"/>
                <a:gd name="connsiteX4" fmla="*/ 102242 w 164506"/>
                <a:gd name="connsiteY4" fmla="*/ 0 h 164598"/>
                <a:gd name="connsiteX5" fmla="*/ 164506 w 164506"/>
                <a:gd name="connsiteY5" fmla="*/ 62310 h 164598"/>
                <a:gd name="connsiteX6" fmla="*/ 145896 w 164506"/>
                <a:gd name="connsiteY6" fmla="*/ 80921 h 164598"/>
                <a:gd name="connsiteX7" fmla="*/ 124207 w 164506"/>
                <a:gd name="connsiteY7" fmla="*/ 59231 h 164598"/>
                <a:gd name="connsiteX8" fmla="*/ 124207 w 164506"/>
                <a:gd name="connsiteY8" fmla="*/ 59231 h 164598"/>
                <a:gd name="connsiteX9" fmla="*/ 18794 w 164506"/>
                <a:gd name="connsiteY9" fmla="*/ 164598 h 1645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64506" h="164598">
                  <a:moveTo>
                    <a:pt x="0" y="145712"/>
                  </a:moveTo>
                  <a:lnTo>
                    <a:pt x="105321" y="40391"/>
                  </a:lnTo>
                  <a:lnTo>
                    <a:pt x="105367" y="40391"/>
                  </a:lnTo>
                  <a:cubicBezTo>
                    <a:pt x="105367" y="40391"/>
                    <a:pt x="83632" y="18610"/>
                    <a:pt x="83632" y="18610"/>
                  </a:cubicBezTo>
                  <a:lnTo>
                    <a:pt x="102242" y="0"/>
                  </a:lnTo>
                  <a:lnTo>
                    <a:pt x="164506" y="62310"/>
                  </a:lnTo>
                  <a:lnTo>
                    <a:pt x="145896" y="80921"/>
                  </a:lnTo>
                  <a:lnTo>
                    <a:pt x="124207" y="59231"/>
                  </a:lnTo>
                  <a:lnTo>
                    <a:pt x="124207" y="59231"/>
                  </a:lnTo>
                  <a:cubicBezTo>
                    <a:pt x="124207" y="59231"/>
                    <a:pt x="18794" y="164598"/>
                    <a:pt x="18794" y="164598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24" name="Forma livre: Forma 2023">
              <a:extLst>
                <a:ext uri="{FF2B5EF4-FFF2-40B4-BE49-F238E27FC236}">
                  <a16:creationId xmlns:a16="http://schemas.microsoft.com/office/drawing/2014/main" id="{510B6FFF-CB5E-A58F-9069-775BF15A3800}"/>
                </a:ext>
              </a:extLst>
            </p:cNvPr>
            <p:cNvSpPr/>
            <p:nvPr/>
          </p:nvSpPr>
          <p:spPr>
            <a:xfrm>
              <a:off x="5087160" y="5305163"/>
              <a:ext cx="132799" cy="85661"/>
            </a:xfrm>
            <a:custGeom>
              <a:avLst/>
              <a:gdLst>
                <a:gd name="connsiteX0" fmla="*/ 0 w 132799"/>
                <a:gd name="connsiteY0" fmla="*/ 85661 h 85661"/>
                <a:gd name="connsiteX1" fmla="*/ 77245 w 132799"/>
                <a:gd name="connsiteY1" fmla="*/ 8417 h 85661"/>
                <a:gd name="connsiteX2" fmla="*/ 104953 w 132799"/>
                <a:gd name="connsiteY2" fmla="*/ 4925 h 85661"/>
                <a:gd name="connsiteX3" fmla="*/ 118555 w 132799"/>
                <a:gd name="connsiteY3" fmla="*/ 18526 h 85661"/>
                <a:gd name="connsiteX4" fmla="*/ 132800 w 132799"/>
                <a:gd name="connsiteY4" fmla="*/ 4281 h 856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2799" h="85661">
                  <a:moveTo>
                    <a:pt x="0" y="85661"/>
                  </a:moveTo>
                  <a:lnTo>
                    <a:pt x="77245" y="8417"/>
                  </a:lnTo>
                  <a:cubicBezTo>
                    <a:pt x="85654" y="8"/>
                    <a:pt x="96314" y="-3714"/>
                    <a:pt x="104953" y="4925"/>
                  </a:cubicBezTo>
                  <a:lnTo>
                    <a:pt x="118555" y="18526"/>
                  </a:lnTo>
                  <a:lnTo>
                    <a:pt x="132800" y="4281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8" name="Group 17">
            <a:extLst>
              <a:ext uri="{FF2B5EF4-FFF2-40B4-BE49-F238E27FC236}">
                <a16:creationId xmlns:a16="http://schemas.microsoft.com/office/drawing/2014/main" id="{0AE00239-EF0A-F1D1-28E0-992D7BD6941B}"/>
              </a:ext>
            </a:extLst>
          </p:cNvPr>
          <p:cNvGrpSpPr/>
          <p:nvPr/>
        </p:nvGrpSpPr>
        <p:grpSpPr>
          <a:xfrm>
            <a:off x="2069703" y="1510902"/>
            <a:ext cx="234934" cy="325802"/>
            <a:chOff x="2345928" y="1510902"/>
            <a:chExt cx="234934" cy="325802"/>
          </a:xfrm>
        </p:grpSpPr>
        <p:sp>
          <p:nvSpPr>
            <p:cNvPr id="7" name="Freeform: Shape 6">
              <a:extLst>
                <a:ext uri="{FF2B5EF4-FFF2-40B4-BE49-F238E27FC236}">
                  <a16:creationId xmlns:a16="http://schemas.microsoft.com/office/drawing/2014/main" id="{2324F09E-3358-9DA8-871A-461F536980DC}"/>
                </a:ext>
              </a:extLst>
            </p:cNvPr>
            <p:cNvSpPr/>
            <p:nvPr/>
          </p:nvSpPr>
          <p:spPr>
            <a:xfrm>
              <a:off x="2425747" y="1800224"/>
              <a:ext cx="75295" cy="4762"/>
            </a:xfrm>
            <a:custGeom>
              <a:avLst/>
              <a:gdLst>
                <a:gd name="connsiteX0" fmla="*/ 0 w 75295"/>
                <a:gd name="connsiteY0" fmla="*/ 0 h 4762"/>
                <a:gd name="connsiteX1" fmla="*/ 75295 w 75295"/>
                <a:gd name="connsiteY1" fmla="*/ 0 h 47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5295" h="4762">
                  <a:moveTo>
                    <a:pt x="0" y="0"/>
                  </a:moveTo>
                  <a:lnTo>
                    <a:pt x="75295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" name="Freeform: Shape 7">
              <a:extLst>
                <a:ext uri="{FF2B5EF4-FFF2-40B4-BE49-F238E27FC236}">
                  <a16:creationId xmlns:a16="http://schemas.microsoft.com/office/drawing/2014/main" id="{E41F533B-825D-B96C-EFFE-B6E6F1408AC0}"/>
                </a:ext>
              </a:extLst>
            </p:cNvPr>
            <p:cNvSpPr/>
            <p:nvPr/>
          </p:nvSpPr>
          <p:spPr>
            <a:xfrm>
              <a:off x="2443940" y="1831942"/>
              <a:ext cx="38957" cy="4762"/>
            </a:xfrm>
            <a:custGeom>
              <a:avLst/>
              <a:gdLst>
                <a:gd name="connsiteX0" fmla="*/ 0 w 38957"/>
                <a:gd name="connsiteY0" fmla="*/ 0 h 4762"/>
                <a:gd name="connsiteX1" fmla="*/ 38957 w 38957"/>
                <a:gd name="connsiteY1" fmla="*/ 0 h 47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8957" h="4762">
                  <a:moveTo>
                    <a:pt x="0" y="0"/>
                  </a:moveTo>
                  <a:lnTo>
                    <a:pt x="38957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" name="Freeform: Shape 8">
              <a:extLst>
                <a:ext uri="{FF2B5EF4-FFF2-40B4-BE49-F238E27FC236}">
                  <a16:creationId xmlns:a16="http://schemas.microsoft.com/office/drawing/2014/main" id="{D06700A1-66B6-A6E7-F457-3A80D6D1FAE9}"/>
                </a:ext>
              </a:extLst>
            </p:cNvPr>
            <p:cNvSpPr/>
            <p:nvPr/>
          </p:nvSpPr>
          <p:spPr>
            <a:xfrm>
              <a:off x="2375074" y="1569766"/>
              <a:ext cx="176641" cy="194452"/>
            </a:xfrm>
            <a:custGeom>
              <a:avLst/>
              <a:gdLst>
                <a:gd name="connsiteX0" fmla="*/ 88297 w 176641"/>
                <a:gd name="connsiteY0" fmla="*/ 0 h 194452"/>
                <a:gd name="connsiteX1" fmla="*/ 176641 w 176641"/>
                <a:gd name="connsiteY1" fmla="*/ 86439 h 194452"/>
                <a:gd name="connsiteX2" fmla="*/ 161020 w 176641"/>
                <a:gd name="connsiteY2" fmla="*/ 135636 h 194452"/>
                <a:gd name="connsiteX3" fmla="*/ 149638 w 176641"/>
                <a:gd name="connsiteY3" fmla="*/ 146828 h 194452"/>
                <a:gd name="connsiteX4" fmla="*/ 119253 w 176641"/>
                <a:gd name="connsiteY4" fmla="*/ 194453 h 194452"/>
                <a:gd name="connsiteX5" fmla="*/ 57245 w 176641"/>
                <a:gd name="connsiteY5" fmla="*/ 194453 h 194452"/>
                <a:gd name="connsiteX6" fmla="*/ 27003 w 176641"/>
                <a:gd name="connsiteY6" fmla="*/ 146923 h 194452"/>
                <a:gd name="connsiteX7" fmla="*/ 15716 w 176641"/>
                <a:gd name="connsiteY7" fmla="*/ 135779 h 194452"/>
                <a:gd name="connsiteX8" fmla="*/ 0 w 176641"/>
                <a:gd name="connsiteY8" fmla="*/ 86439 h 194452"/>
                <a:gd name="connsiteX9" fmla="*/ 88297 w 176641"/>
                <a:gd name="connsiteY9" fmla="*/ 0 h 1944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76641" h="194452">
                  <a:moveTo>
                    <a:pt x="88297" y="0"/>
                  </a:moveTo>
                  <a:cubicBezTo>
                    <a:pt x="137017" y="0"/>
                    <a:pt x="176641" y="38767"/>
                    <a:pt x="176641" y="86439"/>
                  </a:cubicBezTo>
                  <a:cubicBezTo>
                    <a:pt x="176641" y="108156"/>
                    <a:pt x="172117" y="122444"/>
                    <a:pt x="161020" y="135636"/>
                  </a:cubicBezTo>
                  <a:cubicBezTo>
                    <a:pt x="157258" y="139637"/>
                    <a:pt x="153400" y="143304"/>
                    <a:pt x="149638" y="146828"/>
                  </a:cubicBezTo>
                  <a:cubicBezTo>
                    <a:pt x="137112" y="158591"/>
                    <a:pt x="124254" y="170736"/>
                    <a:pt x="119253" y="194453"/>
                  </a:cubicBezTo>
                  <a:lnTo>
                    <a:pt x="57245" y="194453"/>
                  </a:lnTo>
                  <a:cubicBezTo>
                    <a:pt x="52292" y="170783"/>
                    <a:pt x="39481" y="158687"/>
                    <a:pt x="27003" y="146923"/>
                  </a:cubicBezTo>
                  <a:cubicBezTo>
                    <a:pt x="23289" y="143399"/>
                    <a:pt x="19431" y="139779"/>
                    <a:pt x="15716" y="135779"/>
                  </a:cubicBezTo>
                  <a:cubicBezTo>
                    <a:pt x="5143" y="122634"/>
                    <a:pt x="0" y="106490"/>
                    <a:pt x="0" y="86439"/>
                  </a:cubicBezTo>
                  <a:cubicBezTo>
                    <a:pt x="0" y="38767"/>
                    <a:pt x="39624" y="0"/>
                    <a:pt x="88297" y="0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" name="Freeform: Shape 9">
              <a:extLst>
                <a:ext uri="{FF2B5EF4-FFF2-40B4-BE49-F238E27FC236}">
                  <a16:creationId xmlns:a16="http://schemas.microsoft.com/office/drawing/2014/main" id="{96099BCA-EFEC-4EAA-93B8-CF76DA5B0D3B}"/>
                </a:ext>
              </a:extLst>
            </p:cNvPr>
            <p:cNvSpPr/>
            <p:nvPr/>
          </p:nvSpPr>
          <p:spPr>
            <a:xfrm>
              <a:off x="2463419" y="1510902"/>
              <a:ext cx="4762" cy="21383"/>
            </a:xfrm>
            <a:custGeom>
              <a:avLst/>
              <a:gdLst>
                <a:gd name="connsiteX0" fmla="*/ 0 w 4762"/>
                <a:gd name="connsiteY0" fmla="*/ 21384 h 21383"/>
                <a:gd name="connsiteX1" fmla="*/ 0 w 4762"/>
                <a:gd name="connsiteY1" fmla="*/ 0 h 213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762" h="21383">
                  <a:moveTo>
                    <a:pt x="0" y="21384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grpSp>
          <p:nvGrpSpPr>
            <p:cNvPr id="11" name="Graphic 4">
              <a:extLst>
                <a:ext uri="{FF2B5EF4-FFF2-40B4-BE49-F238E27FC236}">
                  <a16:creationId xmlns:a16="http://schemas.microsoft.com/office/drawing/2014/main" id="{7A17E065-E2AB-587B-C1FE-56F2F66C6213}"/>
                </a:ext>
              </a:extLst>
            </p:cNvPr>
            <p:cNvGrpSpPr/>
            <p:nvPr/>
          </p:nvGrpSpPr>
          <p:grpSpPr>
            <a:xfrm>
              <a:off x="2345928" y="1561241"/>
              <a:ext cx="234934" cy="17383"/>
              <a:chOff x="2345928" y="1561241"/>
              <a:chExt cx="234934" cy="17383"/>
            </a:xfrm>
          </p:grpSpPr>
          <p:sp>
            <p:nvSpPr>
              <p:cNvPr id="12" name="Freeform: Shape 11">
                <a:extLst>
                  <a:ext uri="{FF2B5EF4-FFF2-40B4-BE49-F238E27FC236}">
                    <a16:creationId xmlns:a16="http://schemas.microsoft.com/office/drawing/2014/main" id="{6EA191EF-6420-FCA4-B1D4-FFEF3D95BA5D}"/>
                  </a:ext>
                </a:extLst>
              </p:cNvPr>
              <p:cNvSpPr/>
              <p:nvPr/>
            </p:nvSpPr>
            <p:spPr>
              <a:xfrm>
                <a:off x="2563574" y="1561241"/>
                <a:ext cx="17287" cy="17383"/>
              </a:xfrm>
              <a:custGeom>
                <a:avLst/>
                <a:gdLst>
                  <a:gd name="connsiteX0" fmla="*/ 0 w 17287"/>
                  <a:gd name="connsiteY0" fmla="*/ 17383 h 17383"/>
                  <a:gd name="connsiteX1" fmla="*/ 17288 w 17287"/>
                  <a:gd name="connsiteY1" fmla="*/ 0 h 173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7287" h="17383">
                    <a:moveTo>
                      <a:pt x="0" y="17383"/>
                    </a:moveTo>
                    <a:lnTo>
                      <a:pt x="17288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3" name="Freeform: Shape 12">
                <a:extLst>
                  <a:ext uri="{FF2B5EF4-FFF2-40B4-BE49-F238E27FC236}">
                    <a16:creationId xmlns:a16="http://schemas.microsoft.com/office/drawing/2014/main" id="{6673B4DD-9911-A256-8CCC-BFDE789492C6}"/>
                  </a:ext>
                </a:extLst>
              </p:cNvPr>
              <p:cNvSpPr/>
              <p:nvPr/>
            </p:nvSpPr>
            <p:spPr>
              <a:xfrm>
                <a:off x="2345928" y="1561241"/>
                <a:ext cx="17287" cy="17383"/>
              </a:xfrm>
              <a:custGeom>
                <a:avLst/>
                <a:gdLst>
                  <a:gd name="connsiteX0" fmla="*/ 0 w 17287"/>
                  <a:gd name="connsiteY0" fmla="*/ 0 h 17383"/>
                  <a:gd name="connsiteX1" fmla="*/ 17288 w 17287"/>
                  <a:gd name="connsiteY1" fmla="*/ 17383 h 173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7287" h="17383">
                    <a:moveTo>
                      <a:pt x="0" y="0"/>
                    </a:moveTo>
                    <a:lnTo>
                      <a:pt x="17288" y="17383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EC6C0234-DFA2-DA64-85A7-F97208B21E0C}"/>
                </a:ext>
              </a:extLst>
            </p:cNvPr>
            <p:cNvSpPr/>
            <p:nvPr/>
          </p:nvSpPr>
          <p:spPr>
            <a:xfrm>
              <a:off x="2463419" y="1680304"/>
              <a:ext cx="4762" cy="80724"/>
            </a:xfrm>
            <a:custGeom>
              <a:avLst/>
              <a:gdLst>
                <a:gd name="connsiteX0" fmla="*/ 0 w 4762"/>
                <a:gd name="connsiteY0" fmla="*/ 80724 h 80724"/>
                <a:gd name="connsiteX1" fmla="*/ 0 w 4762"/>
                <a:gd name="connsiteY1" fmla="*/ 0 h 807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762" h="80724">
                  <a:moveTo>
                    <a:pt x="0" y="80724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grpSp>
          <p:nvGrpSpPr>
            <p:cNvPr id="15" name="Graphic 4">
              <a:extLst>
                <a:ext uri="{FF2B5EF4-FFF2-40B4-BE49-F238E27FC236}">
                  <a16:creationId xmlns:a16="http://schemas.microsoft.com/office/drawing/2014/main" id="{B1E00512-0702-7747-94EC-DB7F86C64FAE}"/>
                </a:ext>
              </a:extLst>
            </p:cNvPr>
            <p:cNvGrpSpPr/>
            <p:nvPr/>
          </p:nvGrpSpPr>
          <p:grpSpPr>
            <a:xfrm>
              <a:off x="2434701" y="1651538"/>
              <a:ext cx="57435" cy="28765"/>
              <a:chOff x="2434701" y="1651538"/>
              <a:chExt cx="57435" cy="28765"/>
            </a:xfrm>
          </p:grpSpPr>
          <p:sp>
            <p:nvSpPr>
              <p:cNvPr id="16" name="Freeform: Shape 15">
                <a:extLst>
                  <a:ext uri="{FF2B5EF4-FFF2-40B4-BE49-F238E27FC236}">
                    <a16:creationId xmlns:a16="http://schemas.microsoft.com/office/drawing/2014/main" id="{82F20622-F956-ECD8-4A0D-30A8D719F6AD}"/>
                  </a:ext>
                </a:extLst>
              </p:cNvPr>
              <p:cNvSpPr/>
              <p:nvPr/>
            </p:nvSpPr>
            <p:spPr>
              <a:xfrm>
                <a:off x="2434701" y="1651538"/>
                <a:ext cx="28670" cy="28765"/>
              </a:xfrm>
              <a:custGeom>
                <a:avLst/>
                <a:gdLst>
                  <a:gd name="connsiteX0" fmla="*/ 28670 w 28670"/>
                  <a:gd name="connsiteY0" fmla="*/ 28765 h 28765"/>
                  <a:gd name="connsiteX1" fmla="*/ 0 w 28670"/>
                  <a:gd name="connsiteY1" fmla="*/ 0 h 287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8670" h="28765">
                    <a:moveTo>
                      <a:pt x="28670" y="28765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7" name="Freeform: Shape 16">
                <a:extLst>
                  <a:ext uri="{FF2B5EF4-FFF2-40B4-BE49-F238E27FC236}">
                    <a16:creationId xmlns:a16="http://schemas.microsoft.com/office/drawing/2014/main" id="{9876F722-C6BA-2EA8-87B3-B6C37B1EEDEE}"/>
                  </a:ext>
                </a:extLst>
              </p:cNvPr>
              <p:cNvSpPr/>
              <p:nvPr/>
            </p:nvSpPr>
            <p:spPr>
              <a:xfrm>
                <a:off x="2463466" y="1651538"/>
                <a:ext cx="28670" cy="28765"/>
              </a:xfrm>
              <a:custGeom>
                <a:avLst/>
                <a:gdLst>
                  <a:gd name="connsiteX0" fmla="*/ 0 w 28670"/>
                  <a:gd name="connsiteY0" fmla="*/ 28765 h 28765"/>
                  <a:gd name="connsiteX1" fmla="*/ 28670 w 28670"/>
                  <a:gd name="connsiteY1" fmla="*/ 0 h 287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8670" h="28765">
                    <a:moveTo>
                      <a:pt x="0" y="28765"/>
                    </a:moveTo>
                    <a:lnTo>
                      <a:pt x="2867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grpSp>
        <p:nvGrpSpPr>
          <p:cNvPr id="19" name="Group 18">
            <a:extLst>
              <a:ext uri="{FF2B5EF4-FFF2-40B4-BE49-F238E27FC236}">
                <a16:creationId xmlns:a16="http://schemas.microsoft.com/office/drawing/2014/main" id="{308256CE-5C2E-DCCE-FFC6-F3481F3D2A31}"/>
              </a:ext>
            </a:extLst>
          </p:cNvPr>
          <p:cNvGrpSpPr/>
          <p:nvPr/>
        </p:nvGrpSpPr>
        <p:grpSpPr>
          <a:xfrm>
            <a:off x="3269853" y="1510902"/>
            <a:ext cx="234934" cy="325802"/>
            <a:chOff x="2345928" y="1510902"/>
            <a:chExt cx="234934" cy="325802"/>
          </a:xfrm>
        </p:grpSpPr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24787893-771D-0718-85AB-577E8324B035}"/>
                </a:ext>
              </a:extLst>
            </p:cNvPr>
            <p:cNvSpPr/>
            <p:nvPr/>
          </p:nvSpPr>
          <p:spPr>
            <a:xfrm>
              <a:off x="2425747" y="1800224"/>
              <a:ext cx="75295" cy="4762"/>
            </a:xfrm>
            <a:custGeom>
              <a:avLst/>
              <a:gdLst>
                <a:gd name="connsiteX0" fmla="*/ 0 w 75295"/>
                <a:gd name="connsiteY0" fmla="*/ 0 h 4762"/>
                <a:gd name="connsiteX1" fmla="*/ 75295 w 75295"/>
                <a:gd name="connsiteY1" fmla="*/ 0 h 47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5295" h="4762">
                  <a:moveTo>
                    <a:pt x="0" y="0"/>
                  </a:moveTo>
                  <a:lnTo>
                    <a:pt x="75295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5116850E-8074-5E3B-FF6F-66462614EC99}"/>
                </a:ext>
              </a:extLst>
            </p:cNvPr>
            <p:cNvSpPr/>
            <p:nvPr/>
          </p:nvSpPr>
          <p:spPr>
            <a:xfrm>
              <a:off x="2443940" y="1831942"/>
              <a:ext cx="38957" cy="4762"/>
            </a:xfrm>
            <a:custGeom>
              <a:avLst/>
              <a:gdLst>
                <a:gd name="connsiteX0" fmla="*/ 0 w 38957"/>
                <a:gd name="connsiteY0" fmla="*/ 0 h 4762"/>
                <a:gd name="connsiteX1" fmla="*/ 38957 w 38957"/>
                <a:gd name="connsiteY1" fmla="*/ 0 h 47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8957" h="4762">
                  <a:moveTo>
                    <a:pt x="0" y="0"/>
                  </a:moveTo>
                  <a:lnTo>
                    <a:pt x="38957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D4F8F7BC-E6B7-343C-6776-BF6D318D510C}"/>
                </a:ext>
              </a:extLst>
            </p:cNvPr>
            <p:cNvSpPr/>
            <p:nvPr/>
          </p:nvSpPr>
          <p:spPr>
            <a:xfrm>
              <a:off x="2375074" y="1569766"/>
              <a:ext cx="176641" cy="194452"/>
            </a:xfrm>
            <a:custGeom>
              <a:avLst/>
              <a:gdLst>
                <a:gd name="connsiteX0" fmla="*/ 88297 w 176641"/>
                <a:gd name="connsiteY0" fmla="*/ 0 h 194452"/>
                <a:gd name="connsiteX1" fmla="*/ 176641 w 176641"/>
                <a:gd name="connsiteY1" fmla="*/ 86439 h 194452"/>
                <a:gd name="connsiteX2" fmla="*/ 161020 w 176641"/>
                <a:gd name="connsiteY2" fmla="*/ 135636 h 194452"/>
                <a:gd name="connsiteX3" fmla="*/ 149638 w 176641"/>
                <a:gd name="connsiteY3" fmla="*/ 146828 h 194452"/>
                <a:gd name="connsiteX4" fmla="*/ 119253 w 176641"/>
                <a:gd name="connsiteY4" fmla="*/ 194453 h 194452"/>
                <a:gd name="connsiteX5" fmla="*/ 57245 w 176641"/>
                <a:gd name="connsiteY5" fmla="*/ 194453 h 194452"/>
                <a:gd name="connsiteX6" fmla="*/ 27003 w 176641"/>
                <a:gd name="connsiteY6" fmla="*/ 146923 h 194452"/>
                <a:gd name="connsiteX7" fmla="*/ 15716 w 176641"/>
                <a:gd name="connsiteY7" fmla="*/ 135779 h 194452"/>
                <a:gd name="connsiteX8" fmla="*/ 0 w 176641"/>
                <a:gd name="connsiteY8" fmla="*/ 86439 h 194452"/>
                <a:gd name="connsiteX9" fmla="*/ 88297 w 176641"/>
                <a:gd name="connsiteY9" fmla="*/ 0 h 1944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76641" h="194452">
                  <a:moveTo>
                    <a:pt x="88297" y="0"/>
                  </a:moveTo>
                  <a:cubicBezTo>
                    <a:pt x="137017" y="0"/>
                    <a:pt x="176641" y="38767"/>
                    <a:pt x="176641" y="86439"/>
                  </a:cubicBezTo>
                  <a:cubicBezTo>
                    <a:pt x="176641" y="108156"/>
                    <a:pt x="172117" y="122444"/>
                    <a:pt x="161020" y="135636"/>
                  </a:cubicBezTo>
                  <a:cubicBezTo>
                    <a:pt x="157258" y="139637"/>
                    <a:pt x="153400" y="143304"/>
                    <a:pt x="149638" y="146828"/>
                  </a:cubicBezTo>
                  <a:cubicBezTo>
                    <a:pt x="137112" y="158591"/>
                    <a:pt x="124254" y="170736"/>
                    <a:pt x="119253" y="194453"/>
                  </a:cubicBezTo>
                  <a:lnTo>
                    <a:pt x="57245" y="194453"/>
                  </a:lnTo>
                  <a:cubicBezTo>
                    <a:pt x="52292" y="170783"/>
                    <a:pt x="39481" y="158687"/>
                    <a:pt x="27003" y="146923"/>
                  </a:cubicBezTo>
                  <a:cubicBezTo>
                    <a:pt x="23289" y="143399"/>
                    <a:pt x="19431" y="139779"/>
                    <a:pt x="15716" y="135779"/>
                  </a:cubicBezTo>
                  <a:cubicBezTo>
                    <a:pt x="5143" y="122634"/>
                    <a:pt x="0" y="106490"/>
                    <a:pt x="0" y="86439"/>
                  </a:cubicBezTo>
                  <a:cubicBezTo>
                    <a:pt x="0" y="38767"/>
                    <a:pt x="39624" y="0"/>
                    <a:pt x="88297" y="0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DF7DE071-D722-FFCD-7404-DC934F46945E}"/>
                </a:ext>
              </a:extLst>
            </p:cNvPr>
            <p:cNvSpPr/>
            <p:nvPr/>
          </p:nvSpPr>
          <p:spPr>
            <a:xfrm>
              <a:off x="2463419" y="1510902"/>
              <a:ext cx="4762" cy="21383"/>
            </a:xfrm>
            <a:custGeom>
              <a:avLst/>
              <a:gdLst>
                <a:gd name="connsiteX0" fmla="*/ 0 w 4762"/>
                <a:gd name="connsiteY0" fmla="*/ 21384 h 21383"/>
                <a:gd name="connsiteX1" fmla="*/ 0 w 4762"/>
                <a:gd name="connsiteY1" fmla="*/ 0 h 213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762" h="21383">
                  <a:moveTo>
                    <a:pt x="0" y="21384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grpSp>
          <p:nvGrpSpPr>
            <p:cNvPr id="24" name="Graphic 4">
              <a:extLst>
                <a:ext uri="{FF2B5EF4-FFF2-40B4-BE49-F238E27FC236}">
                  <a16:creationId xmlns:a16="http://schemas.microsoft.com/office/drawing/2014/main" id="{825FF2B9-AC27-C653-D96A-34C8FF72E56D}"/>
                </a:ext>
              </a:extLst>
            </p:cNvPr>
            <p:cNvGrpSpPr/>
            <p:nvPr/>
          </p:nvGrpSpPr>
          <p:grpSpPr>
            <a:xfrm>
              <a:off x="2345928" y="1561241"/>
              <a:ext cx="234934" cy="17383"/>
              <a:chOff x="2345928" y="1561241"/>
              <a:chExt cx="234934" cy="17383"/>
            </a:xfrm>
          </p:grpSpPr>
          <p:sp>
            <p:nvSpPr>
              <p:cNvPr id="162" name="Freeform: Shape 161">
                <a:extLst>
                  <a:ext uri="{FF2B5EF4-FFF2-40B4-BE49-F238E27FC236}">
                    <a16:creationId xmlns:a16="http://schemas.microsoft.com/office/drawing/2014/main" id="{EEF4A103-572E-70C4-5396-6D2D7767FD6A}"/>
                  </a:ext>
                </a:extLst>
              </p:cNvPr>
              <p:cNvSpPr/>
              <p:nvPr/>
            </p:nvSpPr>
            <p:spPr>
              <a:xfrm>
                <a:off x="2563574" y="1561241"/>
                <a:ext cx="17287" cy="17383"/>
              </a:xfrm>
              <a:custGeom>
                <a:avLst/>
                <a:gdLst>
                  <a:gd name="connsiteX0" fmla="*/ 0 w 17287"/>
                  <a:gd name="connsiteY0" fmla="*/ 17383 h 17383"/>
                  <a:gd name="connsiteX1" fmla="*/ 17288 w 17287"/>
                  <a:gd name="connsiteY1" fmla="*/ 0 h 173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7287" h="17383">
                    <a:moveTo>
                      <a:pt x="0" y="17383"/>
                    </a:moveTo>
                    <a:lnTo>
                      <a:pt x="17288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025" name="Freeform: Shape 2024">
                <a:extLst>
                  <a:ext uri="{FF2B5EF4-FFF2-40B4-BE49-F238E27FC236}">
                    <a16:creationId xmlns:a16="http://schemas.microsoft.com/office/drawing/2014/main" id="{C1E50359-BB0A-A023-1FDB-D8AFBF105986}"/>
                  </a:ext>
                </a:extLst>
              </p:cNvPr>
              <p:cNvSpPr/>
              <p:nvPr/>
            </p:nvSpPr>
            <p:spPr>
              <a:xfrm>
                <a:off x="2345928" y="1561241"/>
                <a:ext cx="17287" cy="17383"/>
              </a:xfrm>
              <a:custGeom>
                <a:avLst/>
                <a:gdLst>
                  <a:gd name="connsiteX0" fmla="*/ 0 w 17287"/>
                  <a:gd name="connsiteY0" fmla="*/ 0 h 17383"/>
                  <a:gd name="connsiteX1" fmla="*/ 17288 w 17287"/>
                  <a:gd name="connsiteY1" fmla="*/ 17383 h 173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7287" h="17383">
                    <a:moveTo>
                      <a:pt x="0" y="0"/>
                    </a:moveTo>
                    <a:lnTo>
                      <a:pt x="17288" y="17383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B51FC12E-B25C-4191-091F-94F24E8D35EC}"/>
                </a:ext>
              </a:extLst>
            </p:cNvPr>
            <p:cNvSpPr/>
            <p:nvPr/>
          </p:nvSpPr>
          <p:spPr>
            <a:xfrm>
              <a:off x="2463419" y="1680304"/>
              <a:ext cx="4762" cy="80724"/>
            </a:xfrm>
            <a:custGeom>
              <a:avLst/>
              <a:gdLst>
                <a:gd name="connsiteX0" fmla="*/ 0 w 4762"/>
                <a:gd name="connsiteY0" fmla="*/ 80724 h 80724"/>
                <a:gd name="connsiteX1" fmla="*/ 0 w 4762"/>
                <a:gd name="connsiteY1" fmla="*/ 0 h 807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762" h="80724">
                  <a:moveTo>
                    <a:pt x="0" y="80724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grpSp>
          <p:nvGrpSpPr>
            <p:cNvPr id="26" name="Graphic 4">
              <a:extLst>
                <a:ext uri="{FF2B5EF4-FFF2-40B4-BE49-F238E27FC236}">
                  <a16:creationId xmlns:a16="http://schemas.microsoft.com/office/drawing/2014/main" id="{C5B589DE-8A96-E0B2-CC91-0D5AA705CE36}"/>
                </a:ext>
              </a:extLst>
            </p:cNvPr>
            <p:cNvGrpSpPr/>
            <p:nvPr/>
          </p:nvGrpSpPr>
          <p:grpSpPr>
            <a:xfrm>
              <a:off x="2434701" y="1651538"/>
              <a:ext cx="57435" cy="28765"/>
              <a:chOff x="2434701" y="1651538"/>
              <a:chExt cx="57435" cy="28765"/>
            </a:xfrm>
          </p:grpSpPr>
          <p:sp>
            <p:nvSpPr>
              <p:cNvPr id="27" name="Freeform: Shape 26">
                <a:extLst>
                  <a:ext uri="{FF2B5EF4-FFF2-40B4-BE49-F238E27FC236}">
                    <a16:creationId xmlns:a16="http://schemas.microsoft.com/office/drawing/2014/main" id="{3093CD50-4163-D14B-3724-73A56220BBE0}"/>
                  </a:ext>
                </a:extLst>
              </p:cNvPr>
              <p:cNvSpPr/>
              <p:nvPr/>
            </p:nvSpPr>
            <p:spPr>
              <a:xfrm>
                <a:off x="2434701" y="1651538"/>
                <a:ext cx="28670" cy="28765"/>
              </a:xfrm>
              <a:custGeom>
                <a:avLst/>
                <a:gdLst>
                  <a:gd name="connsiteX0" fmla="*/ 28670 w 28670"/>
                  <a:gd name="connsiteY0" fmla="*/ 28765 h 28765"/>
                  <a:gd name="connsiteX1" fmla="*/ 0 w 28670"/>
                  <a:gd name="connsiteY1" fmla="*/ 0 h 287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8670" h="28765">
                    <a:moveTo>
                      <a:pt x="28670" y="28765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8" name="Freeform: Shape 27">
                <a:extLst>
                  <a:ext uri="{FF2B5EF4-FFF2-40B4-BE49-F238E27FC236}">
                    <a16:creationId xmlns:a16="http://schemas.microsoft.com/office/drawing/2014/main" id="{D3F48CA0-A9B6-1225-8F10-81A581987F51}"/>
                  </a:ext>
                </a:extLst>
              </p:cNvPr>
              <p:cNvSpPr/>
              <p:nvPr/>
            </p:nvSpPr>
            <p:spPr>
              <a:xfrm>
                <a:off x="2463466" y="1651538"/>
                <a:ext cx="28670" cy="28765"/>
              </a:xfrm>
              <a:custGeom>
                <a:avLst/>
                <a:gdLst>
                  <a:gd name="connsiteX0" fmla="*/ 0 w 28670"/>
                  <a:gd name="connsiteY0" fmla="*/ 28765 h 28765"/>
                  <a:gd name="connsiteX1" fmla="*/ 28670 w 28670"/>
                  <a:gd name="connsiteY1" fmla="*/ 0 h 287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8670" h="28765">
                    <a:moveTo>
                      <a:pt x="0" y="28765"/>
                    </a:moveTo>
                    <a:lnTo>
                      <a:pt x="2867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grpSp>
        <p:nvGrpSpPr>
          <p:cNvPr id="2036" name="Group 2035">
            <a:extLst>
              <a:ext uri="{FF2B5EF4-FFF2-40B4-BE49-F238E27FC236}">
                <a16:creationId xmlns:a16="http://schemas.microsoft.com/office/drawing/2014/main" id="{0DA92A92-9843-DE20-3665-039B0C9A8D64}"/>
              </a:ext>
            </a:extLst>
          </p:cNvPr>
          <p:cNvGrpSpPr/>
          <p:nvPr/>
        </p:nvGrpSpPr>
        <p:grpSpPr>
          <a:xfrm>
            <a:off x="4474137" y="2104056"/>
            <a:ext cx="305032" cy="238618"/>
            <a:chOff x="4457223" y="2405538"/>
            <a:chExt cx="598455" cy="468154"/>
          </a:xfrm>
        </p:grpSpPr>
        <p:grpSp>
          <p:nvGrpSpPr>
            <p:cNvPr id="2031" name="Graphic 2028">
              <a:extLst>
                <a:ext uri="{FF2B5EF4-FFF2-40B4-BE49-F238E27FC236}">
                  <a16:creationId xmlns:a16="http://schemas.microsoft.com/office/drawing/2014/main" id="{ED8146E4-DF16-EFAE-B372-194AEC80BD19}"/>
                </a:ext>
              </a:extLst>
            </p:cNvPr>
            <p:cNvGrpSpPr/>
            <p:nvPr/>
          </p:nvGrpSpPr>
          <p:grpSpPr>
            <a:xfrm>
              <a:off x="4610956" y="2453449"/>
              <a:ext cx="290988" cy="291750"/>
              <a:chOff x="4610956" y="2453449"/>
              <a:chExt cx="290988" cy="291750"/>
            </a:xfrm>
            <a:noFill/>
          </p:grpSpPr>
          <p:sp>
            <p:nvSpPr>
              <p:cNvPr id="2032" name="Freeform: Shape 2031">
                <a:extLst>
                  <a:ext uri="{FF2B5EF4-FFF2-40B4-BE49-F238E27FC236}">
                    <a16:creationId xmlns:a16="http://schemas.microsoft.com/office/drawing/2014/main" id="{E8F972E2-13FA-02FF-CB98-DBBDC242C37E}"/>
                  </a:ext>
                </a:extLst>
              </p:cNvPr>
              <p:cNvSpPr/>
              <p:nvPr/>
            </p:nvSpPr>
            <p:spPr>
              <a:xfrm>
                <a:off x="4610956" y="2500407"/>
                <a:ext cx="244792" cy="244792"/>
              </a:xfrm>
              <a:custGeom>
                <a:avLst/>
                <a:gdLst>
                  <a:gd name="connsiteX0" fmla="*/ 120206 w 244792"/>
                  <a:gd name="connsiteY0" fmla="*/ 0 h 244792"/>
                  <a:gd name="connsiteX1" fmla="*/ 0 w 244792"/>
                  <a:gd name="connsiteY1" fmla="*/ 122396 h 244792"/>
                  <a:gd name="connsiteX2" fmla="*/ 120206 w 244792"/>
                  <a:gd name="connsiteY2" fmla="*/ 244793 h 244792"/>
                  <a:gd name="connsiteX3" fmla="*/ 122396 w 244792"/>
                  <a:gd name="connsiteY3" fmla="*/ 244793 h 244792"/>
                  <a:gd name="connsiteX4" fmla="*/ 244793 w 244792"/>
                  <a:gd name="connsiteY4" fmla="*/ 122396 h 244792"/>
                  <a:gd name="connsiteX5" fmla="*/ 120206 w 244792"/>
                  <a:gd name="connsiteY5" fmla="*/ 122396 h 244792"/>
                  <a:gd name="connsiteX6" fmla="*/ 120206 w 244792"/>
                  <a:gd name="connsiteY6" fmla="*/ 0 h 244792"/>
                  <a:gd name="connsiteX7" fmla="*/ 120206 w 244792"/>
                  <a:gd name="connsiteY7" fmla="*/ 0 h 2447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44792" h="244792">
                    <a:moveTo>
                      <a:pt x="120206" y="0"/>
                    </a:moveTo>
                    <a:cubicBezTo>
                      <a:pt x="53626" y="1143"/>
                      <a:pt x="0" y="55531"/>
                      <a:pt x="0" y="122396"/>
                    </a:cubicBezTo>
                    <a:cubicBezTo>
                      <a:pt x="0" y="189262"/>
                      <a:pt x="53626" y="243554"/>
                      <a:pt x="120206" y="244793"/>
                    </a:cubicBezTo>
                    <a:cubicBezTo>
                      <a:pt x="120968" y="244793"/>
                      <a:pt x="121634" y="244793"/>
                      <a:pt x="122396" y="244793"/>
                    </a:cubicBezTo>
                    <a:cubicBezTo>
                      <a:pt x="190024" y="244793"/>
                      <a:pt x="244793" y="190024"/>
                      <a:pt x="244793" y="122396"/>
                    </a:cubicBezTo>
                    <a:lnTo>
                      <a:pt x="120206" y="122396"/>
                    </a:lnTo>
                    <a:lnTo>
                      <a:pt x="120206" y="0"/>
                    </a:lnTo>
                    <a:lnTo>
                      <a:pt x="120206" y="0"/>
                    </a:ln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033" name="Freeform: Shape 2032">
                <a:extLst>
                  <a:ext uri="{FF2B5EF4-FFF2-40B4-BE49-F238E27FC236}">
                    <a16:creationId xmlns:a16="http://schemas.microsoft.com/office/drawing/2014/main" id="{AB768409-3C11-62FB-29E6-2EAB5816984E}"/>
                  </a:ext>
                </a:extLst>
              </p:cNvPr>
              <p:cNvSpPr/>
              <p:nvPr/>
            </p:nvSpPr>
            <p:spPr>
              <a:xfrm>
                <a:off x="4777358" y="2453449"/>
                <a:ext cx="124586" cy="122396"/>
              </a:xfrm>
              <a:custGeom>
                <a:avLst/>
                <a:gdLst>
                  <a:gd name="connsiteX0" fmla="*/ 2191 w 124586"/>
                  <a:gd name="connsiteY0" fmla="*/ 0 h 122396"/>
                  <a:gd name="connsiteX1" fmla="*/ 0 w 124586"/>
                  <a:gd name="connsiteY1" fmla="*/ 0 h 122396"/>
                  <a:gd name="connsiteX2" fmla="*/ 0 w 124586"/>
                  <a:gd name="connsiteY2" fmla="*/ 122396 h 122396"/>
                  <a:gd name="connsiteX3" fmla="*/ 124587 w 124586"/>
                  <a:gd name="connsiteY3" fmla="*/ 122396 h 122396"/>
                  <a:gd name="connsiteX4" fmla="*/ 2191 w 124586"/>
                  <a:gd name="connsiteY4" fmla="*/ 0 h 122396"/>
                  <a:gd name="connsiteX5" fmla="*/ 2191 w 124586"/>
                  <a:gd name="connsiteY5" fmla="*/ 0 h 1223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24586" h="122396">
                    <a:moveTo>
                      <a:pt x="2191" y="0"/>
                    </a:moveTo>
                    <a:cubicBezTo>
                      <a:pt x="1429" y="0"/>
                      <a:pt x="762" y="0"/>
                      <a:pt x="0" y="0"/>
                    </a:cubicBezTo>
                    <a:lnTo>
                      <a:pt x="0" y="122396"/>
                    </a:lnTo>
                    <a:lnTo>
                      <a:pt x="124587" y="122396"/>
                    </a:lnTo>
                    <a:cubicBezTo>
                      <a:pt x="124587" y="54769"/>
                      <a:pt x="69818" y="0"/>
                      <a:pt x="2191" y="0"/>
                    </a:cubicBezTo>
                    <a:lnTo>
                      <a:pt x="2191" y="0"/>
                    </a:ln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sp>
          <p:nvSpPr>
            <p:cNvPr id="2034" name="Freeform: Shape 2033">
              <a:extLst>
                <a:ext uri="{FF2B5EF4-FFF2-40B4-BE49-F238E27FC236}">
                  <a16:creationId xmlns:a16="http://schemas.microsoft.com/office/drawing/2014/main" id="{BEEEA75B-70AF-29CF-1F30-4A4C8E5F54FC}"/>
                </a:ext>
              </a:extLst>
            </p:cNvPr>
            <p:cNvSpPr/>
            <p:nvPr/>
          </p:nvSpPr>
          <p:spPr>
            <a:xfrm>
              <a:off x="4457223" y="2864167"/>
              <a:ext cx="598455" cy="9525"/>
            </a:xfrm>
            <a:custGeom>
              <a:avLst/>
              <a:gdLst>
                <a:gd name="connsiteX0" fmla="*/ 0 w 598455"/>
                <a:gd name="connsiteY0" fmla="*/ 0 h 9525"/>
                <a:gd name="connsiteX1" fmla="*/ 598456 w 598455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98455" h="9525">
                  <a:moveTo>
                    <a:pt x="0" y="0"/>
                  </a:moveTo>
                  <a:lnTo>
                    <a:pt x="598456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35" name="Freeform: Shape 2034">
              <a:extLst>
                <a:ext uri="{FF2B5EF4-FFF2-40B4-BE49-F238E27FC236}">
                  <a16:creationId xmlns:a16="http://schemas.microsoft.com/office/drawing/2014/main" id="{84D020BB-FE54-D9A8-4E4F-F0FA53B07889}"/>
                </a:ext>
              </a:extLst>
            </p:cNvPr>
            <p:cNvSpPr/>
            <p:nvPr/>
          </p:nvSpPr>
          <p:spPr>
            <a:xfrm>
              <a:off x="4472844" y="2405538"/>
              <a:ext cx="567213" cy="388715"/>
            </a:xfrm>
            <a:custGeom>
              <a:avLst/>
              <a:gdLst>
                <a:gd name="connsiteX0" fmla="*/ 500539 w 567213"/>
                <a:gd name="connsiteY0" fmla="*/ 0 h 388715"/>
                <a:gd name="connsiteX1" fmla="*/ 567214 w 567213"/>
                <a:gd name="connsiteY1" fmla="*/ 66675 h 388715"/>
                <a:gd name="connsiteX2" fmla="*/ 567214 w 567213"/>
                <a:gd name="connsiteY2" fmla="*/ 322040 h 388715"/>
                <a:gd name="connsiteX3" fmla="*/ 500539 w 567213"/>
                <a:gd name="connsiteY3" fmla="*/ 388715 h 388715"/>
                <a:gd name="connsiteX4" fmla="*/ 66675 w 567213"/>
                <a:gd name="connsiteY4" fmla="*/ 388715 h 388715"/>
                <a:gd name="connsiteX5" fmla="*/ 0 w 567213"/>
                <a:gd name="connsiteY5" fmla="*/ 322040 h 388715"/>
                <a:gd name="connsiteX6" fmla="*/ 0 w 567213"/>
                <a:gd name="connsiteY6" fmla="*/ 66675 h 388715"/>
                <a:gd name="connsiteX7" fmla="*/ 66675 w 567213"/>
                <a:gd name="connsiteY7" fmla="*/ 0 h 3887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67213" h="388715">
                  <a:moveTo>
                    <a:pt x="500539" y="0"/>
                  </a:moveTo>
                  <a:cubicBezTo>
                    <a:pt x="537362" y="0"/>
                    <a:pt x="567214" y="29851"/>
                    <a:pt x="567214" y="66675"/>
                  </a:cubicBezTo>
                  <a:lnTo>
                    <a:pt x="567214" y="322040"/>
                  </a:lnTo>
                  <a:cubicBezTo>
                    <a:pt x="567214" y="358864"/>
                    <a:pt x="537362" y="388715"/>
                    <a:pt x="500539" y="388715"/>
                  </a:cubicBezTo>
                  <a:lnTo>
                    <a:pt x="66675" y="388715"/>
                  </a:lnTo>
                  <a:cubicBezTo>
                    <a:pt x="29851" y="388715"/>
                    <a:pt x="0" y="358864"/>
                    <a:pt x="0" y="322040"/>
                  </a:cubicBezTo>
                  <a:lnTo>
                    <a:pt x="0" y="66675"/>
                  </a:lnTo>
                  <a:cubicBezTo>
                    <a:pt x="0" y="29851"/>
                    <a:pt x="29851" y="0"/>
                    <a:pt x="66675" y="0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681" name="Group 680">
            <a:extLst>
              <a:ext uri="{FF2B5EF4-FFF2-40B4-BE49-F238E27FC236}">
                <a16:creationId xmlns:a16="http://schemas.microsoft.com/office/drawing/2014/main" id="{72A7ADF9-CD64-F5AC-163C-BE110BD7F660}"/>
              </a:ext>
            </a:extLst>
          </p:cNvPr>
          <p:cNvGrpSpPr/>
          <p:nvPr/>
        </p:nvGrpSpPr>
        <p:grpSpPr>
          <a:xfrm>
            <a:off x="9438974" y="2587324"/>
            <a:ext cx="284868" cy="284820"/>
            <a:chOff x="9750918" y="2587324"/>
            <a:chExt cx="284868" cy="284820"/>
          </a:xfrm>
        </p:grpSpPr>
        <p:grpSp>
          <p:nvGrpSpPr>
            <p:cNvPr id="2040" name="Graphic 2037">
              <a:extLst>
                <a:ext uri="{FF2B5EF4-FFF2-40B4-BE49-F238E27FC236}">
                  <a16:creationId xmlns:a16="http://schemas.microsoft.com/office/drawing/2014/main" id="{A782D7AF-851F-475B-6941-121B67A7260A}"/>
                </a:ext>
              </a:extLst>
            </p:cNvPr>
            <p:cNvGrpSpPr/>
            <p:nvPr/>
          </p:nvGrpSpPr>
          <p:grpSpPr>
            <a:xfrm>
              <a:off x="9822946" y="2658771"/>
              <a:ext cx="140812" cy="140715"/>
              <a:chOff x="9822946" y="2658771"/>
              <a:chExt cx="140812" cy="140715"/>
            </a:xfrm>
            <a:noFill/>
          </p:grpSpPr>
          <p:sp>
            <p:nvSpPr>
              <p:cNvPr id="2041" name="Freeform: Shape 2040">
                <a:extLst>
                  <a:ext uri="{FF2B5EF4-FFF2-40B4-BE49-F238E27FC236}">
                    <a16:creationId xmlns:a16="http://schemas.microsoft.com/office/drawing/2014/main" id="{BD94545B-7CD2-5202-E4F8-972B8441D8CA}"/>
                  </a:ext>
                </a:extLst>
              </p:cNvPr>
              <p:cNvSpPr/>
              <p:nvPr/>
            </p:nvSpPr>
            <p:spPr>
              <a:xfrm>
                <a:off x="9878661" y="2658771"/>
                <a:ext cx="85097" cy="85049"/>
              </a:xfrm>
              <a:custGeom>
                <a:avLst/>
                <a:gdLst>
                  <a:gd name="connsiteX0" fmla="*/ 0 w 85097"/>
                  <a:gd name="connsiteY0" fmla="*/ 56151 h 85049"/>
                  <a:gd name="connsiteX1" fmla="*/ 85098 w 85097"/>
                  <a:gd name="connsiteY1" fmla="*/ 0 h 85049"/>
                  <a:gd name="connsiteX2" fmla="*/ 28898 w 85097"/>
                  <a:gd name="connsiteY2" fmla="*/ 85049 h 85049"/>
                  <a:gd name="connsiteX3" fmla="*/ 0 w 85097"/>
                  <a:gd name="connsiteY3" fmla="*/ 56151 h 850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5097" h="85049">
                    <a:moveTo>
                      <a:pt x="0" y="56151"/>
                    </a:moveTo>
                    <a:lnTo>
                      <a:pt x="85098" y="0"/>
                    </a:lnTo>
                    <a:lnTo>
                      <a:pt x="28898" y="85049"/>
                    </a:lnTo>
                    <a:lnTo>
                      <a:pt x="0" y="56151"/>
                    </a:lnTo>
                    <a:close/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042" name="Freeform: Shape 2041">
                <a:extLst>
                  <a:ext uri="{FF2B5EF4-FFF2-40B4-BE49-F238E27FC236}">
                    <a16:creationId xmlns:a16="http://schemas.microsoft.com/office/drawing/2014/main" id="{FA7422B4-BEF7-C6D0-0987-36BBD5BC53FC}"/>
                  </a:ext>
                </a:extLst>
              </p:cNvPr>
              <p:cNvSpPr/>
              <p:nvPr/>
            </p:nvSpPr>
            <p:spPr>
              <a:xfrm>
                <a:off x="9822946" y="2714971"/>
                <a:ext cx="84565" cy="84516"/>
              </a:xfrm>
              <a:custGeom>
                <a:avLst/>
                <a:gdLst>
                  <a:gd name="connsiteX0" fmla="*/ 84565 w 84565"/>
                  <a:gd name="connsiteY0" fmla="*/ 28898 h 84516"/>
                  <a:gd name="connsiteX1" fmla="*/ 0 w 84565"/>
                  <a:gd name="connsiteY1" fmla="*/ 84517 h 84516"/>
                  <a:gd name="connsiteX2" fmla="*/ 55667 w 84565"/>
                  <a:gd name="connsiteY2" fmla="*/ 0 h 845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4565" h="84516">
                    <a:moveTo>
                      <a:pt x="84565" y="28898"/>
                    </a:moveTo>
                    <a:lnTo>
                      <a:pt x="0" y="84517"/>
                    </a:lnTo>
                    <a:lnTo>
                      <a:pt x="55667" y="0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sp>
          <p:nvSpPr>
            <p:cNvPr id="2043" name="Freeform: Shape 2042">
              <a:extLst>
                <a:ext uri="{FF2B5EF4-FFF2-40B4-BE49-F238E27FC236}">
                  <a16:creationId xmlns:a16="http://schemas.microsoft.com/office/drawing/2014/main" id="{40E4F962-6DF4-FEE5-1BF0-906D7C2594CE}"/>
                </a:ext>
              </a:extLst>
            </p:cNvPr>
            <p:cNvSpPr/>
            <p:nvPr/>
          </p:nvSpPr>
          <p:spPr>
            <a:xfrm>
              <a:off x="9750918" y="2587324"/>
              <a:ext cx="284868" cy="284820"/>
            </a:xfrm>
            <a:custGeom>
              <a:avLst/>
              <a:gdLst>
                <a:gd name="connsiteX0" fmla="*/ 142410 w 284868"/>
                <a:gd name="connsiteY0" fmla="*/ 0 h 284820"/>
                <a:gd name="connsiteX1" fmla="*/ 0 w 284868"/>
                <a:gd name="connsiteY1" fmla="*/ 142410 h 284820"/>
                <a:gd name="connsiteX2" fmla="*/ 142410 w 284868"/>
                <a:gd name="connsiteY2" fmla="*/ 284820 h 284820"/>
                <a:gd name="connsiteX3" fmla="*/ 284869 w 284868"/>
                <a:gd name="connsiteY3" fmla="*/ 142410 h 284820"/>
                <a:gd name="connsiteX4" fmla="*/ 142410 w 284868"/>
                <a:gd name="connsiteY4" fmla="*/ 0 h 284820"/>
                <a:gd name="connsiteX5" fmla="*/ 142410 w 284868"/>
                <a:gd name="connsiteY5" fmla="*/ 0 h 2848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84868" h="284820">
                  <a:moveTo>
                    <a:pt x="142410" y="0"/>
                  </a:moveTo>
                  <a:cubicBezTo>
                    <a:pt x="63751" y="0"/>
                    <a:pt x="0" y="63751"/>
                    <a:pt x="0" y="142410"/>
                  </a:cubicBezTo>
                  <a:cubicBezTo>
                    <a:pt x="0" y="221070"/>
                    <a:pt x="63751" y="284820"/>
                    <a:pt x="142410" y="284820"/>
                  </a:cubicBezTo>
                  <a:cubicBezTo>
                    <a:pt x="221070" y="284820"/>
                    <a:pt x="284869" y="221070"/>
                    <a:pt x="284869" y="142410"/>
                  </a:cubicBezTo>
                  <a:cubicBezTo>
                    <a:pt x="284869" y="63751"/>
                    <a:pt x="221118" y="0"/>
                    <a:pt x="142410" y="0"/>
                  </a:cubicBezTo>
                  <a:lnTo>
                    <a:pt x="142410" y="0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grpSp>
          <p:nvGrpSpPr>
            <p:cNvPr id="2044" name="Graphic 2037">
              <a:extLst>
                <a:ext uri="{FF2B5EF4-FFF2-40B4-BE49-F238E27FC236}">
                  <a16:creationId xmlns:a16="http://schemas.microsoft.com/office/drawing/2014/main" id="{08B8FDDA-F4C7-45AA-C4AE-5856285BB96E}"/>
                </a:ext>
              </a:extLst>
            </p:cNvPr>
            <p:cNvGrpSpPr/>
            <p:nvPr/>
          </p:nvGrpSpPr>
          <p:grpSpPr>
            <a:xfrm>
              <a:off x="9889601" y="2625904"/>
              <a:ext cx="7551" cy="207661"/>
              <a:chOff x="9889601" y="2625904"/>
              <a:chExt cx="7551" cy="207661"/>
            </a:xfrm>
            <a:solidFill>
              <a:srgbClr val="394553"/>
            </a:solidFill>
          </p:grpSpPr>
          <p:sp>
            <p:nvSpPr>
              <p:cNvPr id="2045" name="Freeform: Shape 2044">
                <a:extLst>
                  <a:ext uri="{FF2B5EF4-FFF2-40B4-BE49-F238E27FC236}">
                    <a16:creationId xmlns:a16="http://schemas.microsoft.com/office/drawing/2014/main" id="{41A1AE07-A7BA-D2F3-2E57-BDB16E0C72DC}"/>
                  </a:ext>
                </a:extLst>
              </p:cNvPr>
              <p:cNvSpPr/>
              <p:nvPr/>
            </p:nvSpPr>
            <p:spPr>
              <a:xfrm>
                <a:off x="9889601" y="2625904"/>
                <a:ext cx="7551" cy="7551"/>
              </a:xfrm>
              <a:custGeom>
                <a:avLst/>
                <a:gdLst>
                  <a:gd name="connsiteX0" fmla="*/ 7551 w 7551"/>
                  <a:gd name="connsiteY0" fmla="*/ 3776 h 7551"/>
                  <a:gd name="connsiteX1" fmla="*/ 3776 w 7551"/>
                  <a:gd name="connsiteY1" fmla="*/ 7551 h 7551"/>
                  <a:gd name="connsiteX2" fmla="*/ 0 w 7551"/>
                  <a:gd name="connsiteY2" fmla="*/ 3776 h 7551"/>
                  <a:gd name="connsiteX3" fmla="*/ 3776 w 7551"/>
                  <a:gd name="connsiteY3" fmla="*/ 0 h 7551"/>
                  <a:gd name="connsiteX4" fmla="*/ 7551 w 7551"/>
                  <a:gd name="connsiteY4" fmla="*/ 3776 h 75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551" h="7551">
                    <a:moveTo>
                      <a:pt x="7551" y="3776"/>
                    </a:moveTo>
                    <a:cubicBezTo>
                      <a:pt x="7551" y="5857"/>
                      <a:pt x="5857" y="7551"/>
                      <a:pt x="3776" y="7551"/>
                    </a:cubicBezTo>
                    <a:cubicBezTo>
                      <a:pt x="1694" y="7551"/>
                      <a:pt x="0" y="5857"/>
                      <a:pt x="0" y="3776"/>
                    </a:cubicBezTo>
                    <a:cubicBezTo>
                      <a:pt x="0" y="1694"/>
                      <a:pt x="1694" y="0"/>
                      <a:pt x="3776" y="0"/>
                    </a:cubicBezTo>
                    <a:cubicBezTo>
                      <a:pt x="5857" y="0"/>
                      <a:pt x="7551" y="1694"/>
                      <a:pt x="7551" y="3776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046" name="Freeform: Shape 2045">
                <a:extLst>
                  <a:ext uri="{FF2B5EF4-FFF2-40B4-BE49-F238E27FC236}">
                    <a16:creationId xmlns:a16="http://schemas.microsoft.com/office/drawing/2014/main" id="{B0919C9C-6E80-7332-CF44-2D1A1049F5E6}"/>
                  </a:ext>
                </a:extLst>
              </p:cNvPr>
              <p:cNvSpPr/>
              <p:nvPr/>
            </p:nvSpPr>
            <p:spPr>
              <a:xfrm>
                <a:off x="9889601" y="2826014"/>
                <a:ext cx="7551" cy="7551"/>
              </a:xfrm>
              <a:custGeom>
                <a:avLst/>
                <a:gdLst>
                  <a:gd name="connsiteX0" fmla="*/ 7551 w 7551"/>
                  <a:gd name="connsiteY0" fmla="*/ 3776 h 7551"/>
                  <a:gd name="connsiteX1" fmla="*/ 3776 w 7551"/>
                  <a:gd name="connsiteY1" fmla="*/ 7551 h 7551"/>
                  <a:gd name="connsiteX2" fmla="*/ 0 w 7551"/>
                  <a:gd name="connsiteY2" fmla="*/ 3776 h 7551"/>
                  <a:gd name="connsiteX3" fmla="*/ 3776 w 7551"/>
                  <a:gd name="connsiteY3" fmla="*/ 0 h 7551"/>
                  <a:gd name="connsiteX4" fmla="*/ 7551 w 7551"/>
                  <a:gd name="connsiteY4" fmla="*/ 3776 h 75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551" h="7551">
                    <a:moveTo>
                      <a:pt x="7551" y="3776"/>
                    </a:moveTo>
                    <a:cubicBezTo>
                      <a:pt x="7551" y="5857"/>
                      <a:pt x="5857" y="7551"/>
                      <a:pt x="3776" y="7551"/>
                    </a:cubicBezTo>
                    <a:cubicBezTo>
                      <a:pt x="1694" y="7551"/>
                      <a:pt x="0" y="5857"/>
                      <a:pt x="0" y="3776"/>
                    </a:cubicBezTo>
                    <a:cubicBezTo>
                      <a:pt x="0" y="1694"/>
                      <a:pt x="1694" y="0"/>
                      <a:pt x="3776" y="0"/>
                    </a:cubicBezTo>
                    <a:cubicBezTo>
                      <a:pt x="5857" y="0"/>
                      <a:pt x="7551" y="1694"/>
                      <a:pt x="7551" y="3776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grpSp>
          <p:nvGrpSpPr>
            <p:cNvPr id="2047" name="Graphic 2037">
              <a:extLst>
                <a:ext uri="{FF2B5EF4-FFF2-40B4-BE49-F238E27FC236}">
                  <a16:creationId xmlns:a16="http://schemas.microsoft.com/office/drawing/2014/main" id="{EBF2E5BE-2AE1-7CEF-E1A3-86293F574550}"/>
                </a:ext>
              </a:extLst>
            </p:cNvPr>
            <p:cNvGrpSpPr/>
            <p:nvPr/>
          </p:nvGrpSpPr>
          <p:grpSpPr>
            <a:xfrm>
              <a:off x="9789546" y="2725959"/>
              <a:ext cx="207612" cy="7551"/>
              <a:chOff x="9789546" y="2725959"/>
              <a:chExt cx="207612" cy="7551"/>
            </a:xfrm>
            <a:solidFill>
              <a:srgbClr val="394553"/>
            </a:solidFill>
          </p:grpSpPr>
          <p:sp>
            <p:nvSpPr>
              <p:cNvPr id="321" name="Freeform: Shape 320">
                <a:extLst>
                  <a:ext uri="{FF2B5EF4-FFF2-40B4-BE49-F238E27FC236}">
                    <a16:creationId xmlns:a16="http://schemas.microsoft.com/office/drawing/2014/main" id="{BEEF9F04-68C2-9548-7DBD-6E30FFE702FD}"/>
                  </a:ext>
                </a:extLst>
              </p:cNvPr>
              <p:cNvSpPr/>
              <p:nvPr/>
            </p:nvSpPr>
            <p:spPr>
              <a:xfrm>
                <a:off x="9989608" y="2725959"/>
                <a:ext cx="7551" cy="7551"/>
              </a:xfrm>
              <a:custGeom>
                <a:avLst/>
                <a:gdLst>
                  <a:gd name="connsiteX0" fmla="*/ 3776 w 7551"/>
                  <a:gd name="connsiteY0" fmla="*/ 7551 h 7551"/>
                  <a:gd name="connsiteX1" fmla="*/ 0 w 7551"/>
                  <a:gd name="connsiteY1" fmla="*/ 3776 h 7551"/>
                  <a:gd name="connsiteX2" fmla="*/ 3776 w 7551"/>
                  <a:gd name="connsiteY2" fmla="*/ 0 h 7551"/>
                  <a:gd name="connsiteX3" fmla="*/ 7551 w 7551"/>
                  <a:gd name="connsiteY3" fmla="*/ 3776 h 7551"/>
                  <a:gd name="connsiteX4" fmla="*/ 3776 w 7551"/>
                  <a:gd name="connsiteY4" fmla="*/ 7551 h 75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551" h="7551">
                    <a:moveTo>
                      <a:pt x="3776" y="7551"/>
                    </a:moveTo>
                    <a:cubicBezTo>
                      <a:pt x="1694" y="7551"/>
                      <a:pt x="0" y="5857"/>
                      <a:pt x="0" y="3776"/>
                    </a:cubicBezTo>
                    <a:cubicBezTo>
                      <a:pt x="0" y="1694"/>
                      <a:pt x="1694" y="0"/>
                      <a:pt x="3776" y="0"/>
                    </a:cubicBezTo>
                    <a:cubicBezTo>
                      <a:pt x="5857" y="0"/>
                      <a:pt x="7551" y="1694"/>
                      <a:pt x="7551" y="3776"/>
                    </a:cubicBezTo>
                    <a:cubicBezTo>
                      <a:pt x="7551" y="5857"/>
                      <a:pt x="5857" y="7551"/>
                      <a:pt x="3776" y="7551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75" name="Freeform: Shape 474">
                <a:extLst>
                  <a:ext uri="{FF2B5EF4-FFF2-40B4-BE49-F238E27FC236}">
                    <a16:creationId xmlns:a16="http://schemas.microsoft.com/office/drawing/2014/main" id="{966D5A7F-62EF-9A3C-77C0-7D726839F061}"/>
                  </a:ext>
                </a:extLst>
              </p:cNvPr>
              <p:cNvSpPr/>
              <p:nvPr/>
            </p:nvSpPr>
            <p:spPr>
              <a:xfrm>
                <a:off x="9789546" y="2725959"/>
                <a:ext cx="7551" cy="7551"/>
              </a:xfrm>
              <a:custGeom>
                <a:avLst/>
                <a:gdLst>
                  <a:gd name="connsiteX0" fmla="*/ 3776 w 7551"/>
                  <a:gd name="connsiteY0" fmla="*/ 7551 h 7551"/>
                  <a:gd name="connsiteX1" fmla="*/ 0 w 7551"/>
                  <a:gd name="connsiteY1" fmla="*/ 3776 h 7551"/>
                  <a:gd name="connsiteX2" fmla="*/ 3776 w 7551"/>
                  <a:gd name="connsiteY2" fmla="*/ 0 h 7551"/>
                  <a:gd name="connsiteX3" fmla="*/ 7551 w 7551"/>
                  <a:gd name="connsiteY3" fmla="*/ 3776 h 7551"/>
                  <a:gd name="connsiteX4" fmla="*/ 3776 w 7551"/>
                  <a:gd name="connsiteY4" fmla="*/ 7551 h 75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551" h="7551">
                    <a:moveTo>
                      <a:pt x="3776" y="7551"/>
                    </a:moveTo>
                    <a:cubicBezTo>
                      <a:pt x="1694" y="7551"/>
                      <a:pt x="0" y="5857"/>
                      <a:pt x="0" y="3776"/>
                    </a:cubicBezTo>
                    <a:cubicBezTo>
                      <a:pt x="0" y="1694"/>
                      <a:pt x="1694" y="0"/>
                      <a:pt x="3776" y="0"/>
                    </a:cubicBezTo>
                    <a:cubicBezTo>
                      <a:pt x="5857" y="0"/>
                      <a:pt x="7551" y="1694"/>
                      <a:pt x="7551" y="3776"/>
                    </a:cubicBezTo>
                    <a:cubicBezTo>
                      <a:pt x="7551" y="5857"/>
                      <a:pt x="5857" y="7551"/>
                      <a:pt x="3776" y="7551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grpSp>
        <p:nvGrpSpPr>
          <p:cNvPr id="2054" name="Group 2053">
            <a:extLst>
              <a:ext uri="{FF2B5EF4-FFF2-40B4-BE49-F238E27FC236}">
                <a16:creationId xmlns:a16="http://schemas.microsoft.com/office/drawing/2014/main" id="{AC4BFC79-EEBF-E765-F389-A990D4809711}"/>
              </a:ext>
            </a:extLst>
          </p:cNvPr>
          <p:cNvGrpSpPr/>
          <p:nvPr/>
        </p:nvGrpSpPr>
        <p:grpSpPr>
          <a:xfrm>
            <a:off x="2595562" y="2602736"/>
            <a:ext cx="346076" cy="346076"/>
            <a:chOff x="2582068" y="73818"/>
            <a:chExt cx="649319" cy="649319"/>
          </a:xfrm>
        </p:grpSpPr>
        <p:grpSp>
          <p:nvGrpSpPr>
            <p:cNvPr id="1318" name="Graphic 1047">
              <a:extLst>
                <a:ext uri="{FF2B5EF4-FFF2-40B4-BE49-F238E27FC236}">
                  <a16:creationId xmlns:a16="http://schemas.microsoft.com/office/drawing/2014/main" id="{773A6D5F-D166-134D-5DE6-D58FFBCB4C93}"/>
                </a:ext>
              </a:extLst>
            </p:cNvPr>
            <p:cNvGrpSpPr/>
            <p:nvPr/>
          </p:nvGrpSpPr>
          <p:grpSpPr>
            <a:xfrm>
              <a:off x="2582068" y="73818"/>
              <a:ext cx="649319" cy="649319"/>
              <a:chOff x="2582068" y="73818"/>
              <a:chExt cx="649319" cy="649319"/>
            </a:xfrm>
          </p:grpSpPr>
          <p:grpSp>
            <p:nvGrpSpPr>
              <p:cNvPr id="1441" name="Graphic 1047">
                <a:extLst>
                  <a:ext uri="{FF2B5EF4-FFF2-40B4-BE49-F238E27FC236}">
                    <a16:creationId xmlns:a16="http://schemas.microsoft.com/office/drawing/2014/main" id="{5F295E56-0CA3-9208-C1B4-FB3BAB587FDB}"/>
                  </a:ext>
                </a:extLst>
              </p:cNvPr>
              <p:cNvGrpSpPr/>
              <p:nvPr/>
            </p:nvGrpSpPr>
            <p:grpSpPr>
              <a:xfrm>
                <a:off x="2906775" y="73818"/>
                <a:ext cx="9525" cy="649319"/>
                <a:chOff x="2906775" y="73818"/>
                <a:chExt cx="9525" cy="649319"/>
              </a:xfrm>
            </p:grpSpPr>
            <p:sp>
              <p:nvSpPr>
                <p:cNvPr id="1620" name="Freeform: Shape 1619">
                  <a:extLst>
                    <a:ext uri="{FF2B5EF4-FFF2-40B4-BE49-F238E27FC236}">
                      <a16:creationId xmlns:a16="http://schemas.microsoft.com/office/drawing/2014/main" id="{9F5E2862-2C4D-ACFA-91A8-1A6000159AD4}"/>
                    </a:ext>
                  </a:extLst>
                </p:cNvPr>
                <p:cNvSpPr/>
                <p:nvPr/>
              </p:nvSpPr>
              <p:spPr>
                <a:xfrm>
                  <a:off x="2906775" y="73818"/>
                  <a:ext cx="9525" cy="165354"/>
                </a:xfrm>
                <a:custGeom>
                  <a:avLst/>
                  <a:gdLst>
                    <a:gd name="connsiteX0" fmla="*/ 0 w 9525"/>
                    <a:gd name="connsiteY0" fmla="*/ 0 h 165354"/>
                    <a:gd name="connsiteX1" fmla="*/ 0 w 9525"/>
                    <a:gd name="connsiteY1" fmla="*/ 165354 h 16535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9525" h="165354">
                      <a:moveTo>
                        <a:pt x="0" y="0"/>
                      </a:moveTo>
                      <a:lnTo>
                        <a:pt x="0" y="165354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817" name="Freeform: Shape 1816">
                  <a:extLst>
                    <a:ext uri="{FF2B5EF4-FFF2-40B4-BE49-F238E27FC236}">
                      <a16:creationId xmlns:a16="http://schemas.microsoft.com/office/drawing/2014/main" id="{CA49EEEC-56C4-1D5F-B2D4-0344008F9CDA}"/>
                    </a:ext>
                  </a:extLst>
                </p:cNvPr>
                <p:cNvSpPr/>
                <p:nvPr/>
              </p:nvSpPr>
              <p:spPr>
                <a:xfrm>
                  <a:off x="2906775" y="557783"/>
                  <a:ext cx="9525" cy="165354"/>
                </a:xfrm>
                <a:custGeom>
                  <a:avLst/>
                  <a:gdLst>
                    <a:gd name="connsiteX0" fmla="*/ 0 w 9525"/>
                    <a:gd name="connsiteY0" fmla="*/ 0 h 165354"/>
                    <a:gd name="connsiteX1" fmla="*/ 0 w 9525"/>
                    <a:gd name="connsiteY1" fmla="*/ 165354 h 16535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9525" h="165354">
                      <a:moveTo>
                        <a:pt x="0" y="0"/>
                      </a:moveTo>
                      <a:lnTo>
                        <a:pt x="0" y="165354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</p:grpSp>
          <p:grpSp>
            <p:nvGrpSpPr>
              <p:cNvPr id="2048" name="Graphic 1047">
                <a:extLst>
                  <a:ext uri="{FF2B5EF4-FFF2-40B4-BE49-F238E27FC236}">
                    <a16:creationId xmlns:a16="http://schemas.microsoft.com/office/drawing/2014/main" id="{BD5B4D8A-5E14-27BF-D83C-03D18B063D0D}"/>
                  </a:ext>
                </a:extLst>
              </p:cNvPr>
              <p:cNvGrpSpPr/>
              <p:nvPr/>
            </p:nvGrpSpPr>
            <p:grpSpPr>
              <a:xfrm>
                <a:off x="2582068" y="398525"/>
                <a:ext cx="649319" cy="9525"/>
                <a:chOff x="2582068" y="398525"/>
                <a:chExt cx="649319" cy="9525"/>
              </a:xfrm>
            </p:grpSpPr>
            <p:sp>
              <p:nvSpPr>
                <p:cNvPr id="2049" name="Freeform: Shape 2048">
                  <a:extLst>
                    <a:ext uri="{FF2B5EF4-FFF2-40B4-BE49-F238E27FC236}">
                      <a16:creationId xmlns:a16="http://schemas.microsoft.com/office/drawing/2014/main" id="{F3D192AD-5CEC-CB4A-6012-BCC17A8D31F9}"/>
                    </a:ext>
                  </a:extLst>
                </p:cNvPr>
                <p:cNvSpPr/>
                <p:nvPr/>
              </p:nvSpPr>
              <p:spPr>
                <a:xfrm>
                  <a:off x="3066033" y="398525"/>
                  <a:ext cx="165354" cy="9525"/>
                </a:xfrm>
                <a:custGeom>
                  <a:avLst/>
                  <a:gdLst>
                    <a:gd name="connsiteX0" fmla="*/ 165354 w 165354"/>
                    <a:gd name="connsiteY0" fmla="*/ 0 h 9525"/>
                    <a:gd name="connsiteX1" fmla="*/ 0 w 165354"/>
                    <a:gd name="connsiteY1" fmla="*/ 0 h 952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65354" h="9525">
                      <a:moveTo>
                        <a:pt x="165354" y="0"/>
                      </a:moveTo>
                      <a:lnTo>
                        <a:pt x="0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2050" name="Freeform: Shape 2049">
                  <a:extLst>
                    <a:ext uri="{FF2B5EF4-FFF2-40B4-BE49-F238E27FC236}">
                      <a16:creationId xmlns:a16="http://schemas.microsoft.com/office/drawing/2014/main" id="{CD5B1E70-378F-9BA0-27B3-75F36D5B1C02}"/>
                    </a:ext>
                  </a:extLst>
                </p:cNvPr>
                <p:cNvSpPr/>
                <p:nvPr/>
              </p:nvSpPr>
              <p:spPr>
                <a:xfrm>
                  <a:off x="2582068" y="398525"/>
                  <a:ext cx="165354" cy="9525"/>
                </a:xfrm>
                <a:custGeom>
                  <a:avLst/>
                  <a:gdLst>
                    <a:gd name="connsiteX0" fmla="*/ 165354 w 165354"/>
                    <a:gd name="connsiteY0" fmla="*/ 0 h 9525"/>
                    <a:gd name="connsiteX1" fmla="*/ 0 w 165354"/>
                    <a:gd name="connsiteY1" fmla="*/ 0 h 952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65354" h="9525">
                      <a:moveTo>
                        <a:pt x="165354" y="0"/>
                      </a:moveTo>
                      <a:lnTo>
                        <a:pt x="0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</p:grpSp>
        </p:grpSp>
        <p:sp>
          <p:nvSpPr>
            <p:cNvPr id="2051" name="Freeform: Shape 2050">
              <a:extLst>
                <a:ext uri="{FF2B5EF4-FFF2-40B4-BE49-F238E27FC236}">
                  <a16:creationId xmlns:a16="http://schemas.microsoft.com/office/drawing/2014/main" id="{6580C849-86C6-5612-5911-1F0042B89022}"/>
                </a:ext>
              </a:extLst>
            </p:cNvPr>
            <p:cNvSpPr/>
            <p:nvPr/>
          </p:nvSpPr>
          <p:spPr>
            <a:xfrm>
              <a:off x="2840767" y="332517"/>
              <a:ext cx="132016" cy="132016"/>
            </a:xfrm>
            <a:custGeom>
              <a:avLst/>
              <a:gdLst>
                <a:gd name="connsiteX0" fmla="*/ 132017 w 132016"/>
                <a:gd name="connsiteY0" fmla="*/ 66008 h 132016"/>
                <a:gd name="connsiteX1" fmla="*/ 66008 w 132016"/>
                <a:gd name="connsiteY1" fmla="*/ 132017 h 132016"/>
                <a:gd name="connsiteX2" fmla="*/ 0 w 132016"/>
                <a:gd name="connsiteY2" fmla="*/ 66008 h 132016"/>
                <a:gd name="connsiteX3" fmla="*/ 66008 w 132016"/>
                <a:gd name="connsiteY3" fmla="*/ 0 h 132016"/>
                <a:gd name="connsiteX4" fmla="*/ 132017 w 132016"/>
                <a:gd name="connsiteY4" fmla="*/ 66008 h 1320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2016" h="132016">
                  <a:moveTo>
                    <a:pt x="132017" y="66008"/>
                  </a:moveTo>
                  <a:cubicBezTo>
                    <a:pt x="132017" y="102464"/>
                    <a:pt x="102464" y="132017"/>
                    <a:pt x="66008" y="132017"/>
                  </a:cubicBezTo>
                  <a:cubicBezTo>
                    <a:pt x="29553" y="132017"/>
                    <a:pt x="0" y="102464"/>
                    <a:pt x="0" y="66008"/>
                  </a:cubicBezTo>
                  <a:cubicBezTo>
                    <a:pt x="0" y="29553"/>
                    <a:pt x="29553" y="0"/>
                    <a:pt x="66008" y="0"/>
                  </a:cubicBezTo>
                  <a:cubicBezTo>
                    <a:pt x="102464" y="0"/>
                    <a:pt x="132017" y="29553"/>
                    <a:pt x="132017" y="66008"/>
                  </a:cubicBez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52" name="Freeform: Shape 2051">
              <a:extLst>
                <a:ext uri="{FF2B5EF4-FFF2-40B4-BE49-F238E27FC236}">
                  <a16:creationId xmlns:a16="http://schemas.microsoft.com/office/drawing/2014/main" id="{08F16D65-D9B3-1EA9-61D3-B8DD1C47C5B1}"/>
                </a:ext>
              </a:extLst>
            </p:cNvPr>
            <p:cNvSpPr/>
            <p:nvPr/>
          </p:nvSpPr>
          <p:spPr>
            <a:xfrm>
              <a:off x="2653601" y="146494"/>
              <a:ext cx="506348" cy="506348"/>
            </a:xfrm>
            <a:custGeom>
              <a:avLst/>
              <a:gdLst>
                <a:gd name="connsiteX0" fmla="*/ 506349 w 506348"/>
                <a:gd name="connsiteY0" fmla="*/ 253174 h 506348"/>
                <a:gd name="connsiteX1" fmla="*/ 253174 w 506348"/>
                <a:gd name="connsiteY1" fmla="*/ 506349 h 506348"/>
                <a:gd name="connsiteX2" fmla="*/ 0 w 506348"/>
                <a:gd name="connsiteY2" fmla="*/ 253174 h 506348"/>
                <a:gd name="connsiteX3" fmla="*/ 253174 w 506348"/>
                <a:gd name="connsiteY3" fmla="*/ 0 h 506348"/>
                <a:gd name="connsiteX4" fmla="*/ 506349 w 506348"/>
                <a:gd name="connsiteY4" fmla="*/ 253174 h 5063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6348" h="506348">
                  <a:moveTo>
                    <a:pt x="506349" y="253174"/>
                  </a:moveTo>
                  <a:cubicBezTo>
                    <a:pt x="506349" y="392999"/>
                    <a:pt x="392999" y="506349"/>
                    <a:pt x="253174" y="506349"/>
                  </a:cubicBezTo>
                  <a:cubicBezTo>
                    <a:pt x="113350" y="506349"/>
                    <a:pt x="0" y="392999"/>
                    <a:pt x="0" y="253174"/>
                  </a:cubicBezTo>
                  <a:cubicBezTo>
                    <a:pt x="0" y="113350"/>
                    <a:pt x="113350" y="0"/>
                    <a:pt x="253174" y="0"/>
                  </a:cubicBezTo>
                  <a:cubicBezTo>
                    <a:pt x="392999" y="0"/>
                    <a:pt x="506349" y="113350"/>
                    <a:pt x="506349" y="253174"/>
                  </a:cubicBez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53" name="Freeform: Shape 2052">
              <a:extLst>
                <a:ext uri="{FF2B5EF4-FFF2-40B4-BE49-F238E27FC236}">
                  <a16:creationId xmlns:a16="http://schemas.microsoft.com/office/drawing/2014/main" id="{CB5EC7A9-DFB5-19C7-932D-83AF4C873B2E}"/>
                </a:ext>
              </a:extLst>
            </p:cNvPr>
            <p:cNvSpPr/>
            <p:nvPr/>
          </p:nvSpPr>
          <p:spPr>
            <a:xfrm>
              <a:off x="2753232" y="246125"/>
              <a:ext cx="307086" cy="307085"/>
            </a:xfrm>
            <a:custGeom>
              <a:avLst/>
              <a:gdLst>
                <a:gd name="connsiteX0" fmla="*/ 307086 w 307086"/>
                <a:gd name="connsiteY0" fmla="*/ 153543 h 307085"/>
                <a:gd name="connsiteX1" fmla="*/ 153543 w 307086"/>
                <a:gd name="connsiteY1" fmla="*/ 307086 h 307085"/>
                <a:gd name="connsiteX2" fmla="*/ 0 w 307086"/>
                <a:gd name="connsiteY2" fmla="*/ 153543 h 307085"/>
                <a:gd name="connsiteX3" fmla="*/ 153543 w 307086"/>
                <a:gd name="connsiteY3" fmla="*/ 0 h 307085"/>
                <a:gd name="connsiteX4" fmla="*/ 307086 w 307086"/>
                <a:gd name="connsiteY4" fmla="*/ 153543 h 3070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07086" h="307085">
                  <a:moveTo>
                    <a:pt x="307086" y="153543"/>
                  </a:moveTo>
                  <a:cubicBezTo>
                    <a:pt x="307086" y="238342"/>
                    <a:pt x="238342" y="307086"/>
                    <a:pt x="153543" y="307086"/>
                  </a:cubicBezTo>
                  <a:cubicBezTo>
                    <a:pt x="68744" y="307086"/>
                    <a:pt x="0" y="238342"/>
                    <a:pt x="0" y="153543"/>
                  </a:cubicBezTo>
                  <a:cubicBezTo>
                    <a:pt x="0" y="68744"/>
                    <a:pt x="68744" y="0"/>
                    <a:pt x="153543" y="0"/>
                  </a:cubicBezTo>
                  <a:cubicBezTo>
                    <a:pt x="238342" y="0"/>
                    <a:pt x="307086" y="68744"/>
                    <a:pt x="307086" y="153543"/>
                  </a:cubicBez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173" name="Agrupar 172">
            <a:extLst>
              <a:ext uri="{FF2B5EF4-FFF2-40B4-BE49-F238E27FC236}">
                <a16:creationId xmlns:a16="http://schemas.microsoft.com/office/drawing/2014/main" id="{FBB640A2-D45C-8A42-3E70-2EC5EA4FEB77}"/>
              </a:ext>
            </a:extLst>
          </p:cNvPr>
          <p:cNvGrpSpPr/>
          <p:nvPr/>
        </p:nvGrpSpPr>
        <p:grpSpPr>
          <a:xfrm>
            <a:off x="3294348" y="3136392"/>
            <a:ext cx="234400" cy="354187"/>
            <a:chOff x="3519198" y="3157829"/>
            <a:chExt cx="215485" cy="325606"/>
          </a:xfrm>
        </p:grpSpPr>
        <p:sp>
          <p:nvSpPr>
            <p:cNvPr id="6" name="Forma livre: Forma 5">
              <a:extLst>
                <a:ext uri="{FF2B5EF4-FFF2-40B4-BE49-F238E27FC236}">
                  <a16:creationId xmlns:a16="http://schemas.microsoft.com/office/drawing/2014/main" id="{9768FE3F-9898-A670-C310-D7F0416B9ED3}"/>
                </a:ext>
              </a:extLst>
            </p:cNvPr>
            <p:cNvSpPr/>
            <p:nvPr/>
          </p:nvSpPr>
          <p:spPr>
            <a:xfrm>
              <a:off x="3626987" y="3395046"/>
              <a:ext cx="4575" cy="42685"/>
            </a:xfrm>
            <a:custGeom>
              <a:avLst/>
              <a:gdLst>
                <a:gd name="connsiteX0" fmla="*/ 0 w 4575"/>
                <a:gd name="connsiteY0" fmla="*/ 0 h 42685"/>
                <a:gd name="connsiteX1" fmla="*/ 0 w 4575"/>
                <a:gd name="connsiteY1" fmla="*/ 42685 h 426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575" h="42685">
                  <a:moveTo>
                    <a:pt x="0" y="0"/>
                  </a:moveTo>
                  <a:lnTo>
                    <a:pt x="0" y="42685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5" name="Forma livre: Forma 34">
              <a:extLst>
                <a:ext uri="{FF2B5EF4-FFF2-40B4-BE49-F238E27FC236}">
                  <a16:creationId xmlns:a16="http://schemas.microsoft.com/office/drawing/2014/main" id="{B7566E86-3484-A8B2-3E11-82682F93D62A}"/>
                </a:ext>
              </a:extLst>
            </p:cNvPr>
            <p:cNvSpPr/>
            <p:nvPr/>
          </p:nvSpPr>
          <p:spPr>
            <a:xfrm>
              <a:off x="3562570" y="3195802"/>
              <a:ext cx="128833" cy="145852"/>
            </a:xfrm>
            <a:custGeom>
              <a:avLst/>
              <a:gdLst>
                <a:gd name="connsiteX0" fmla="*/ 64371 w 128833"/>
                <a:gd name="connsiteY0" fmla="*/ 0 h 145852"/>
                <a:gd name="connsiteX1" fmla="*/ 0 w 128833"/>
                <a:gd name="connsiteY1" fmla="*/ 65744 h 145852"/>
                <a:gd name="connsiteX2" fmla="*/ 11987 w 128833"/>
                <a:gd name="connsiteY2" fmla="*/ 103899 h 145852"/>
                <a:gd name="connsiteX3" fmla="*/ 37882 w 128833"/>
                <a:gd name="connsiteY3" fmla="*/ 145853 h 145852"/>
                <a:gd name="connsiteX4" fmla="*/ 90906 w 128833"/>
                <a:gd name="connsiteY4" fmla="*/ 145853 h 145852"/>
                <a:gd name="connsiteX5" fmla="*/ 116847 w 128833"/>
                <a:gd name="connsiteY5" fmla="*/ 103899 h 145852"/>
                <a:gd name="connsiteX6" fmla="*/ 128834 w 128833"/>
                <a:gd name="connsiteY6" fmla="*/ 65744 h 145852"/>
                <a:gd name="connsiteX7" fmla="*/ 64417 w 128833"/>
                <a:gd name="connsiteY7" fmla="*/ 0 h 145852"/>
                <a:gd name="connsiteX8" fmla="*/ 64417 w 128833"/>
                <a:gd name="connsiteY8" fmla="*/ 0 h 1458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28833" h="145852">
                  <a:moveTo>
                    <a:pt x="64371" y="0"/>
                  </a:moveTo>
                  <a:cubicBezTo>
                    <a:pt x="28823" y="0"/>
                    <a:pt x="0" y="29418"/>
                    <a:pt x="0" y="65744"/>
                  </a:cubicBezTo>
                  <a:cubicBezTo>
                    <a:pt x="0" y="82946"/>
                    <a:pt x="5078" y="95115"/>
                    <a:pt x="11987" y="103899"/>
                  </a:cubicBezTo>
                  <a:cubicBezTo>
                    <a:pt x="23836" y="117213"/>
                    <a:pt x="35823" y="123069"/>
                    <a:pt x="37882" y="145853"/>
                  </a:cubicBezTo>
                  <a:lnTo>
                    <a:pt x="90906" y="145853"/>
                  </a:lnTo>
                  <a:cubicBezTo>
                    <a:pt x="92965" y="123023"/>
                    <a:pt x="104952" y="117167"/>
                    <a:pt x="116847" y="103899"/>
                  </a:cubicBezTo>
                  <a:cubicBezTo>
                    <a:pt x="124853" y="94063"/>
                    <a:pt x="128834" y="82946"/>
                    <a:pt x="128834" y="65744"/>
                  </a:cubicBezTo>
                  <a:cubicBezTo>
                    <a:pt x="128834" y="29418"/>
                    <a:pt x="99965" y="0"/>
                    <a:pt x="64417" y="0"/>
                  </a:cubicBezTo>
                  <a:lnTo>
                    <a:pt x="64417" y="0"/>
                  </a:ln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36" name="Gráfico 3">
              <a:extLst>
                <a:ext uri="{FF2B5EF4-FFF2-40B4-BE49-F238E27FC236}">
                  <a16:creationId xmlns:a16="http://schemas.microsoft.com/office/drawing/2014/main" id="{92C2BFE7-FEF6-088D-E8F8-868AEFBDE6E2}"/>
                </a:ext>
              </a:extLst>
            </p:cNvPr>
            <p:cNvGrpSpPr/>
            <p:nvPr/>
          </p:nvGrpSpPr>
          <p:grpSpPr>
            <a:xfrm>
              <a:off x="3547426" y="3157829"/>
              <a:ext cx="159074" cy="44972"/>
              <a:chOff x="3547426" y="3157829"/>
              <a:chExt cx="159074" cy="44972"/>
            </a:xfrm>
          </p:grpSpPr>
          <p:sp>
            <p:nvSpPr>
              <p:cNvPr id="37" name="Forma livre: Forma 36">
                <a:extLst>
                  <a:ext uri="{FF2B5EF4-FFF2-40B4-BE49-F238E27FC236}">
                    <a16:creationId xmlns:a16="http://schemas.microsoft.com/office/drawing/2014/main" id="{750CDD46-7130-B5D1-0D93-F803F3A1440E}"/>
                  </a:ext>
                </a:extLst>
              </p:cNvPr>
              <p:cNvSpPr/>
              <p:nvPr/>
            </p:nvSpPr>
            <p:spPr>
              <a:xfrm>
                <a:off x="3626117" y="3157829"/>
                <a:ext cx="4575" cy="13725"/>
              </a:xfrm>
              <a:custGeom>
                <a:avLst/>
                <a:gdLst>
                  <a:gd name="connsiteX0" fmla="*/ 0 w 4575"/>
                  <a:gd name="connsiteY0" fmla="*/ 13725 h 13725"/>
                  <a:gd name="connsiteX1" fmla="*/ 0 w 4575"/>
                  <a:gd name="connsiteY1" fmla="*/ 0 h 137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575" h="13725">
                    <a:moveTo>
                      <a:pt x="0" y="13725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8" name="Forma livre: Forma 37">
                <a:extLst>
                  <a:ext uri="{FF2B5EF4-FFF2-40B4-BE49-F238E27FC236}">
                    <a16:creationId xmlns:a16="http://schemas.microsoft.com/office/drawing/2014/main" id="{573E0CDA-E8EF-8064-5B19-79668ED80FDE}"/>
                  </a:ext>
                </a:extLst>
              </p:cNvPr>
              <p:cNvSpPr/>
              <p:nvPr/>
            </p:nvSpPr>
            <p:spPr>
              <a:xfrm>
                <a:off x="3547426" y="3192508"/>
                <a:ext cx="9607" cy="9653"/>
              </a:xfrm>
              <a:custGeom>
                <a:avLst/>
                <a:gdLst>
                  <a:gd name="connsiteX0" fmla="*/ 9608 w 9607"/>
                  <a:gd name="connsiteY0" fmla="*/ 9653 h 9653"/>
                  <a:gd name="connsiteX1" fmla="*/ 0 w 9607"/>
                  <a:gd name="connsiteY1" fmla="*/ 0 h 96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607" h="9653">
                    <a:moveTo>
                      <a:pt x="9608" y="9653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9" name="Forma livre: Forma 38">
                <a:extLst>
                  <a:ext uri="{FF2B5EF4-FFF2-40B4-BE49-F238E27FC236}">
                    <a16:creationId xmlns:a16="http://schemas.microsoft.com/office/drawing/2014/main" id="{175EA6FB-EA60-965C-781A-7B9A0141167D}"/>
                  </a:ext>
                </a:extLst>
              </p:cNvPr>
              <p:cNvSpPr/>
              <p:nvPr/>
            </p:nvSpPr>
            <p:spPr>
              <a:xfrm>
                <a:off x="3695384" y="3191685"/>
                <a:ext cx="11117" cy="11117"/>
              </a:xfrm>
              <a:custGeom>
                <a:avLst/>
                <a:gdLst>
                  <a:gd name="connsiteX0" fmla="*/ 0 w 11117"/>
                  <a:gd name="connsiteY0" fmla="*/ 11117 h 11117"/>
                  <a:gd name="connsiteX1" fmla="*/ 11117 w 11117"/>
                  <a:gd name="connsiteY1" fmla="*/ 0 h 111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117" h="11117">
                    <a:moveTo>
                      <a:pt x="0" y="11117"/>
                    </a:moveTo>
                    <a:lnTo>
                      <a:pt x="11117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40" name="Forma livre: Forma 39">
              <a:extLst>
                <a:ext uri="{FF2B5EF4-FFF2-40B4-BE49-F238E27FC236}">
                  <a16:creationId xmlns:a16="http://schemas.microsoft.com/office/drawing/2014/main" id="{7904FAA9-A0DC-7571-FEFB-0E229A633991}"/>
                </a:ext>
              </a:extLst>
            </p:cNvPr>
            <p:cNvSpPr/>
            <p:nvPr/>
          </p:nvSpPr>
          <p:spPr>
            <a:xfrm>
              <a:off x="3626987" y="3280441"/>
              <a:ext cx="4575" cy="54305"/>
            </a:xfrm>
            <a:custGeom>
              <a:avLst/>
              <a:gdLst>
                <a:gd name="connsiteX0" fmla="*/ 0 w 4575"/>
                <a:gd name="connsiteY0" fmla="*/ 54306 h 54305"/>
                <a:gd name="connsiteX1" fmla="*/ 0 w 4575"/>
                <a:gd name="connsiteY1" fmla="*/ 0 h 543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575" h="54305">
                  <a:moveTo>
                    <a:pt x="0" y="54306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41" name="Gráfico 3">
              <a:extLst>
                <a:ext uri="{FF2B5EF4-FFF2-40B4-BE49-F238E27FC236}">
                  <a16:creationId xmlns:a16="http://schemas.microsoft.com/office/drawing/2014/main" id="{BC0A631C-5EF2-8616-EBBF-08080849E420}"/>
                </a:ext>
              </a:extLst>
            </p:cNvPr>
            <p:cNvGrpSpPr/>
            <p:nvPr/>
          </p:nvGrpSpPr>
          <p:grpSpPr>
            <a:xfrm>
              <a:off x="3610151" y="3263696"/>
              <a:ext cx="33626" cy="16744"/>
              <a:chOff x="3610151" y="3263696"/>
              <a:chExt cx="33626" cy="16744"/>
            </a:xfrm>
          </p:grpSpPr>
          <p:sp>
            <p:nvSpPr>
              <p:cNvPr id="42" name="Forma livre: Forma 41">
                <a:extLst>
                  <a:ext uri="{FF2B5EF4-FFF2-40B4-BE49-F238E27FC236}">
                    <a16:creationId xmlns:a16="http://schemas.microsoft.com/office/drawing/2014/main" id="{9ECF38DC-7615-E230-39C2-3CC57739617D}"/>
                  </a:ext>
                </a:extLst>
              </p:cNvPr>
              <p:cNvSpPr/>
              <p:nvPr/>
            </p:nvSpPr>
            <p:spPr>
              <a:xfrm>
                <a:off x="3610151" y="3263696"/>
                <a:ext cx="16653" cy="16744"/>
              </a:xfrm>
              <a:custGeom>
                <a:avLst/>
                <a:gdLst>
                  <a:gd name="connsiteX0" fmla="*/ 16653 w 16653"/>
                  <a:gd name="connsiteY0" fmla="*/ 16745 h 16744"/>
                  <a:gd name="connsiteX1" fmla="*/ 0 w 16653"/>
                  <a:gd name="connsiteY1" fmla="*/ 0 h 167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6653" h="16744">
                    <a:moveTo>
                      <a:pt x="16653" y="16745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3" name="Forma livre: Forma 42">
                <a:extLst>
                  <a:ext uri="{FF2B5EF4-FFF2-40B4-BE49-F238E27FC236}">
                    <a16:creationId xmlns:a16="http://schemas.microsoft.com/office/drawing/2014/main" id="{593D262D-2766-C2A0-8A48-5BB44F38CA3B}"/>
                  </a:ext>
                </a:extLst>
              </p:cNvPr>
              <p:cNvSpPr/>
              <p:nvPr/>
            </p:nvSpPr>
            <p:spPr>
              <a:xfrm>
                <a:off x="3627124" y="3263696"/>
                <a:ext cx="16653" cy="16744"/>
              </a:xfrm>
              <a:custGeom>
                <a:avLst/>
                <a:gdLst>
                  <a:gd name="connsiteX0" fmla="*/ 0 w 16653"/>
                  <a:gd name="connsiteY0" fmla="*/ 16745 h 16744"/>
                  <a:gd name="connsiteX1" fmla="*/ 16653 w 16653"/>
                  <a:gd name="connsiteY1" fmla="*/ 0 h 167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6653" h="16744">
                    <a:moveTo>
                      <a:pt x="0" y="16745"/>
                    </a:moveTo>
                    <a:lnTo>
                      <a:pt x="16653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44" name="Forma livre: Forma 43">
              <a:extLst>
                <a:ext uri="{FF2B5EF4-FFF2-40B4-BE49-F238E27FC236}">
                  <a16:creationId xmlns:a16="http://schemas.microsoft.com/office/drawing/2014/main" id="{C0349B6D-2CE6-3717-1C9F-525383DC3A53}"/>
                </a:ext>
              </a:extLst>
            </p:cNvPr>
            <p:cNvSpPr/>
            <p:nvPr/>
          </p:nvSpPr>
          <p:spPr>
            <a:xfrm>
              <a:off x="3609053" y="3359955"/>
              <a:ext cx="35822" cy="4575"/>
            </a:xfrm>
            <a:custGeom>
              <a:avLst/>
              <a:gdLst>
                <a:gd name="connsiteX0" fmla="*/ 0 w 35822"/>
                <a:gd name="connsiteY0" fmla="*/ 0 h 4575"/>
                <a:gd name="connsiteX1" fmla="*/ 35823 w 35822"/>
                <a:gd name="connsiteY1" fmla="*/ 0 h 45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5822" h="4575">
                  <a:moveTo>
                    <a:pt x="0" y="0"/>
                  </a:moveTo>
                  <a:lnTo>
                    <a:pt x="35823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5" name="Forma livre: Forma 44">
              <a:extLst>
                <a:ext uri="{FF2B5EF4-FFF2-40B4-BE49-F238E27FC236}">
                  <a16:creationId xmlns:a16="http://schemas.microsoft.com/office/drawing/2014/main" id="{F5222929-048F-1BBB-C0A2-6C0BF20C7F9E}"/>
                </a:ext>
              </a:extLst>
            </p:cNvPr>
            <p:cNvSpPr/>
            <p:nvPr/>
          </p:nvSpPr>
          <p:spPr>
            <a:xfrm>
              <a:off x="3525741" y="3416457"/>
              <a:ext cx="202446" cy="21182"/>
            </a:xfrm>
            <a:custGeom>
              <a:avLst/>
              <a:gdLst>
                <a:gd name="connsiteX0" fmla="*/ 202446 w 202446"/>
                <a:gd name="connsiteY0" fmla="*/ 21183 h 21182"/>
                <a:gd name="connsiteX1" fmla="*/ 202446 w 202446"/>
                <a:gd name="connsiteY1" fmla="*/ 0 h 21182"/>
                <a:gd name="connsiteX2" fmla="*/ 0 w 202446"/>
                <a:gd name="connsiteY2" fmla="*/ 0 h 21182"/>
                <a:gd name="connsiteX3" fmla="*/ 0 w 202446"/>
                <a:gd name="connsiteY3" fmla="*/ 21183 h 211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2446" h="21182">
                  <a:moveTo>
                    <a:pt x="202446" y="21183"/>
                  </a:moveTo>
                  <a:lnTo>
                    <a:pt x="202446" y="0"/>
                  </a:lnTo>
                  <a:lnTo>
                    <a:pt x="0" y="0"/>
                  </a:lnTo>
                  <a:lnTo>
                    <a:pt x="0" y="21183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6" name="Forma livre: Forma 45">
              <a:extLst>
                <a:ext uri="{FF2B5EF4-FFF2-40B4-BE49-F238E27FC236}">
                  <a16:creationId xmlns:a16="http://schemas.microsoft.com/office/drawing/2014/main" id="{78D65745-CD42-D733-5F7F-2A401EAD15E8}"/>
                </a:ext>
              </a:extLst>
            </p:cNvPr>
            <p:cNvSpPr/>
            <p:nvPr/>
          </p:nvSpPr>
          <p:spPr>
            <a:xfrm>
              <a:off x="3519198" y="3470168"/>
              <a:ext cx="13267" cy="13267"/>
            </a:xfrm>
            <a:custGeom>
              <a:avLst/>
              <a:gdLst>
                <a:gd name="connsiteX0" fmla="*/ 13268 w 13267"/>
                <a:gd name="connsiteY0" fmla="*/ 6634 h 13267"/>
                <a:gd name="connsiteX1" fmla="*/ 6634 w 13267"/>
                <a:gd name="connsiteY1" fmla="*/ 13268 h 13267"/>
                <a:gd name="connsiteX2" fmla="*/ 0 w 13267"/>
                <a:gd name="connsiteY2" fmla="*/ 6634 h 13267"/>
                <a:gd name="connsiteX3" fmla="*/ 6634 w 13267"/>
                <a:gd name="connsiteY3" fmla="*/ 0 h 13267"/>
                <a:gd name="connsiteX4" fmla="*/ 13268 w 13267"/>
                <a:gd name="connsiteY4" fmla="*/ 6634 h 132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267" h="13267">
                  <a:moveTo>
                    <a:pt x="13268" y="6634"/>
                  </a:moveTo>
                  <a:cubicBezTo>
                    <a:pt x="13268" y="10294"/>
                    <a:pt x="10294" y="13268"/>
                    <a:pt x="6634" y="13268"/>
                  </a:cubicBezTo>
                  <a:cubicBezTo>
                    <a:pt x="2974" y="13268"/>
                    <a:pt x="0" y="10294"/>
                    <a:pt x="0" y="6634"/>
                  </a:cubicBezTo>
                  <a:cubicBezTo>
                    <a:pt x="0" y="2974"/>
                    <a:pt x="2974" y="0"/>
                    <a:pt x="6634" y="0"/>
                  </a:cubicBezTo>
                  <a:cubicBezTo>
                    <a:pt x="10294" y="0"/>
                    <a:pt x="13268" y="2974"/>
                    <a:pt x="13268" y="6634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1" name="Forma livre: Forma 170">
              <a:extLst>
                <a:ext uri="{FF2B5EF4-FFF2-40B4-BE49-F238E27FC236}">
                  <a16:creationId xmlns:a16="http://schemas.microsoft.com/office/drawing/2014/main" id="{5AEFA144-14EB-5C69-88B2-85A927A8D102}"/>
                </a:ext>
              </a:extLst>
            </p:cNvPr>
            <p:cNvSpPr/>
            <p:nvPr/>
          </p:nvSpPr>
          <p:spPr>
            <a:xfrm>
              <a:off x="3620353" y="3470168"/>
              <a:ext cx="13267" cy="13267"/>
            </a:xfrm>
            <a:custGeom>
              <a:avLst/>
              <a:gdLst>
                <a:gd name="connsiteX0" fmla="*/ 13268 w 13267"/>
                <a:gd name="connsiteY0" fmla="*/ 6634 h 13267"/>
                <a:gd name="connsiteX1" fmla="*/ 6634 w 13267"/>
                <a:gd name="connsiteY1" fmla="*/ 13268 h 13267"/>
                <a:gd name="connsiteX2" fmla="*/ 0 w 13267"/>
                <a:gd name="connsiteY2" fmla="*/ 6634 h 13267"/>
                <a:gd name="connsiteX3" fmla="*/ 6634 w 13267"/>
                <a:gd name="connsiteY3" fmla="*/ 0 h 13267"/>
                <a:gd name="connsiteX4" fmla="*/ 13268 w 13267"/>
                <a:gd name="connsiteY4" fmla="*/ 6634 h 132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267" h="13267">
                  <a:moveTo>
                    <a:pt x="13268" y="6634"/>
                  </a:moveTo>
                  <a:cubicBezTo>
                    <a:pt x="13268" y="10294"/>
                    <a:pt x="10294" y="13268"/>
                    <a:pt x="6634" y="13268"/>
                  </a:cubicBezTo>
                  <a:cubicBezTo>
                    <a:pt x="2974" y="13268"/>
                    <a:pt x="0" y="10294"/>
                    <a:pt x="0" y="6634"/>
                  </a:cubicBezTo>
                  <a:cubicBezTo>
                    <a:pt x="0" y="2974"/>
                    <a:pt x="2974" y="0"/>
                    <a:pt x="6634" y="0"/>
                  </a:cubicBezTo>
                  <a:cubicBezTo>
                    <a:pt x="10294" y="0"/>
                    <a:pt x="13268" y="2974"/>
                    <a:pt x="13268" y="6634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2" name="Forma livre: Forma 171">
              <a:extLst>
                <a:ext uri="{FF2B5EF4-FFF2-40B4-BE49-F238E27FC236}">
                  <a16:creationId xmlns:a16="http://schemas.microsoft.com/office/drawing/2014/main" id="{8E4AE271-7190-3D35-5251-42B0A358B12B}"/>
                </a:ext>
              </a:extLst>
            </p:cNvPr>
            <p:cNvSpPr/>
            <p:nvPr/>
          </p:nvSpPr>
          <p:spPr>
            <a:xfrm>
              <a:off x="3721416" y="3470168"/>
              <a:ext cx="13267" cy="13267"/>
            </a:xfrm>
            <a:custGeom>
              <a:avLst/>
              <a:gdLst>
                <a:gd name="connsiteX0" fmla="*/ 13268 w 13267"/>
                <a:gd name="connsiteY0" fmla="*/ 6634 h 13267"/>
                <a:gd name="connsiteX1" fmla="*/ 6634 w 13267"/>
                <a:gd name="connsiteY1" fmla="*/ 13268 h 13267"/>
                <a:gd name="connsiteX2" fmla="*/ 0 w 13267"/>
                <a:gd name="connsiteY2" fmla="*/ 6634 h 13267"/>
                <a:gd name="connsiteX3" fmla="*/ 6634 w 13267"/>
                <a:gd name="connsiteY3" fmla="*/ 0 h 13267"/>
                <a:gd name="connsiteX4" fmla="*/ 13268 w 13267"/>
                <a:gd name="connsiteY4" fmla="*/ 6634 h 132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267" h="13267">
                  <a:moveTo>
                    <a:pt x="13268" y="6634"/>
                  </a:moveTo>
                  <a:cubicBezTo>
                    <a:pt x="13268" y="10294"/>
                    <a:pt x="10294" y="13268"/>
                    <a:pt x="6634" y="13268"/>
                  </a:cubicBezTo>
                  <a:cubicBezTo>
                    <a:pt x="2974" y="13268"/>
                    <a:pt x="0" y="10294"/>
                    <a:pt x="0" y="6634"/>
                  </a:cubicBezTo>
                  <a:cubicBezTo>
                    <a:pt x="0" y="2974"/>
                    <a:pt x="2974" y="0"/>
                    <a:pt x="6634" y="0"/>
                  </a:cubicBezTo>
                  <a:cubicBezTo>
                    <a:pt x="10294" y="0"/>
                    <a:pt x="13268" y="2974"/>
                    <a:pt x="13268" y="6634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245" name="Agrupar 244">
            <a:extLst>
              <a:ext uri="{FF2B5EF4-FFF2-40B4-BE49-F238E27FC236}">
                <a16:creationId xmlns:a16="http://schemas.microsoft.com/office/drawing/2014/main" id="{2C692DAC-9268-DA14-0B38-06F76F902BCB}"/>
              </a:ext>
            </a:extLst>
          </p:cNvPr>
          <p:cNvGrpSpPr/>
          <p:nvPr/>
        </p:nvGrpSpPr>
        <p:grpSpPr>
          <a:xfrm>
            <a:off x="3887216" y="3181819"/>
            <a:ext cx="326857" cy="266320"/>
            <a:chOff x="5770245" y="3166204"/>
            <a:chExt cx="642842" cy="523780"/>
          </a:xfrm>
        </p:grpSpPr>
        <p:sp>
          <p:nvSpPr>
            <p:cNvPr id="177" name="Forma livre: Forma 176">
              <a:extLst>
                <a:ext uri="{FF2B5EF4-FFF2-40B4-BE49-F238E27FC236}">
                  <a16:creationId xmlns:a16="http://schemas.microsoft.com/office/drawing/2014/main" id="{5E97CAA6-261C-E6A3-C371-20E2D4AFCA23}"/>
                </a:ext>
              </a:extLst>
            </p:cNvPr>
            <p:cNvSpPr/>
            <p:nvPr/>
          </p:nvSpPr>
          <p:spPr>
            <a:xfrm>
              <a:off x="6069425" y="3346322"/>
              <a:ext cx="343662" cy="343662"/>
            </a:xfrm>
            <a:custGeom>
              <a:avLst/>
              <a:gdLst>
                <a:gd name="connsiteX0" fmla="*/ 171831 w 343662"/>
                <a:gd name="connsiteY0" fmla="*/ 0 h 343662"/>
                <a:gd name="connsiteX1" fmla="*/ 0 w 343662"/>
                <a:gd name="connsiteY1" fmla="*/ 171831 h 343662"/>
                <a:gd name="connsiteX2" fmla="*/ 171831 w 343662"/>
                <a:gd name="connsiteY2" fmla="*/ 343662 h 343662"/>
                <a:gd name="connsiteX3" fmla="*/ 343662 w 343662"/>
                <a:gd name="connsiteY3" fmla="*/ 171831 h 343662"/>
                <a:gd name="connsiteX4" fmla="*/ 171831 w 343662"/>
                <a:gd name="connsiteY4" fmla="*/ 0 h 343662"/>
                <a:gd name="connsiteX5" fmla="*/ 171831 w 343662"/>
                <a:gd name="connsiteY5" fmla="*/ 0 h 3436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43662" h="343662">
                  <a:moveTo>
                    <a:pt x="171831" y="0"/>
                  </a:moveTo>
                  <a:cubicBezTo>
                    <a:pt x="76962" y="0"/>
                    <a:pt x="0" y="76962"/>
                    <a:pt x="0" y="171831"/>
                  </a:cubicBezTo>
                  <a:cubicBezTo>
                    <a:pt x="0" y="266700"/>
                    <a:pt x="76962" y="343662"/>
                    <a:pt x="171831" y="343662"/>
                  </a:cubicBezTo>
                  <a:cubicBezTo>
                    <a:pt x="266700" y="343662"/>
                    <a:pt x="343662" y="266700"/>
                    <a:pt x="343662" y="171831"/>
                  </a:cubicBezTo>
                  <a:cubicBezTo>
                    <a:pt x="343662" y="76962"/>
                    <a:pt x="266700" y="0"/>
                    <a:pt x="171831" y="0"/>
                  </a:cubicBezTo>
                  <a:lnTo>
                    <a:pt x="171831" y="0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8" name="Forma livre: Forma 177">
              <a:extLst>
                <a:ext uri="{FF2B5EF4-FFF2-40B4-BE49-F238E27FC236}">
                  <a16:creationId xmlns:a16="http://schemas.microsoft.com/office/drawing/2014/main" id="{65552473-22BD-62D6-EC93-3A6699EC95F4}"/>
                </a:ext>
              </a:extLst>
            </p:cNvPr>
            <p:cNvSpPr/>
            <p:nvPr/>
          </p:nvSpPr>
          <p:spPr>
            <a:xfrm>
              <a:off x="6003131" y="3166204"/>
              <a:ext cx="9525" cy="465581"/>
            </a:xfrm>
            <a:custGeom>
              <a:avLst/>
              <a:gdLst>
                <a:gd name="connsiteX0" fmla="*/ 0 w 9525"/>
                <a:gd name="connsiteY0" fmla="*/ 465582 h 465581"/>
                <a:gd name="connsiteX1" fmla="*/ 0 w 9525"/>
                <a:gd name="connsiteY1" fmla="*/ 0 h 4655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465581">
                  <a:moveTo>
                    <a:pt x="0" y="465582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9" name="Forma livre: Forma 178">
              <a:extLst>
                <a:ext uri="{FF2B5EF4-FFF2-40B4-BE49-F238E27FC236}">
                  <a16:creationId xmlns:a16="http://schemas.microsoft.com/office/drawing/2014/main" id="{093DE728-76FD-75C7-671F-3F143FFD410A}"/>
                </a:ext>
              </a:extLst>
            </p:cNvPr>
            <p:cNvSpPr/>
            <p:nvPr/>
          </p:nvSpPr>
          <p:spPr>
            <a:xfrm>
              <a:off x="5770245" y="3398233"/>
              <a:ext cx="309943" cy="9525"/>
            </a:xfrm>
            <a:custGeom>
              <a:avLst/>
              <a:gdLst>
                <a:gd name="connsiteX0" fmla="*/ 309944 w 309943"/>
                <a:gd name="connsiteY0" fmla="*/ 0 h 9525"/>
                <a:gd name="connsiteX1" fmla="*/ 0 w 309943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09943" h="9525">
                  <a:moveTo>
                    <a:pt x="309944" y="0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0" name="Forma livre: Forma 179">
              <a:extLst>
                <a:ext uri="{FF2B5EF4-FFF2-40B4-BE49-F238E27FC236}">
                  <a16:creationId xmlns:a16="http://schemas.microsoft.com/office/drawing/2014/main" id="{AD7FF72D-B410-691F-C50F-75056C08E3F7}"/>
                </a:ext>
              </a:extLst>
            </p:cNvPr>
            <p:cNvSpPr/>
            <p:nvPr/>
          </p:nvSpPr>
          <p:spPr>
            <a:xfrm>
              <a:off x="5828157" y="3496303"/>
              <a:ext cx="212216" cy="49758"/>
            </a:xfrm>
            <a:custGeom>
              <a:avLst/>
              <a:gdLst>
                <a:gd name="connsiteX0" fmla="*/ 212217 w 212216"/>
                <a:gd name="connsiteY0" fmla="*/ 1943 h 49758"/>
                <a:gd name="connsiteX1" fmla="*/ 0 w 212216"/>
                <a:gd name="connsiteY1" fmla="*/ 49759 h 497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12216" h="49758">
                  <a:moveTo>
                    <a:pt x="212217" y="1943"/>
                  </a:moveTo>
                  <a:cubicBezTo>
                    <a:pt x="151448" y="-4820"/>
                    <a:pt x="79343" y="4896"/>
                    <a:pt x="0" y="49759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37" name="Forma livre: Forma 236">
              <a:extLst>
                <a:ext uri="{FF2B5EF4-FFF2-40B4-BE49-F238E27FC236}">
                  <a16:creationId xmlns:a16="http://schemas.microsoft.com/office/drawing/2014/main" id="{B4E916F9-D143-7DF3-924D-AF0A657EBBB9}"/>
                </a:ext>
              </a:extLst>
            </p:cNvPr>
            <p:cNvSpPr/>
            <p:nvPr/>
          </p:nvSpPr>
          <p:spPr>
            <a:xfrm>
              <a:off x="5825585" y="3248977"/>
              <a:ext cx="355091" cy="51362"/>
            </a:xfrm>
            <a:custGeom>
              <a:avLst/>
              <a:gdLst>
                <a:gd name="connsiteX0" fmla="*/ 355092 w 355091"/>
                <a:gd name="connsiteY0" fmla="*/ 667 h 51362"/>
                <a:gd name="connsiteX1" fmla="*/ 0 w 355091"/>
                <a:gd name="connsiteY1" fmla="*/ 0 h 513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55091" h="51362">
                  <a:moveTo>
                    <a:pt x="355092" y="667"/>
                  </a:moveTo>
                  <a:cubicBezTo>
                    <a:pt x="286417" y="42482"/>
                    <a:pt x="157067" y="90297"/>
                    <a:pt x="0" y="0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238" name="Gráfico 174">
              <a:extLst>
                <a:ext uri="{FF2B5EF4-FFF2-40B4-BE49-F238E27FC236}">
                  <a16:creationId xmlns:a16="http://schemas.microsoft.com/office/drawing/2014/main" id="{C64F7CAF-5814-5B70-071C-27FEF5E5A553}"/>
                </a:ext>
              </a:extLst>
            </p:cNvPr>
            <p:cNvGrpSpPr/>
            <p:nvPr/>
          </p:nvGrpSpPr>
          <p:grpSpPr>
            <a:xfrm>
              <a:off x="5888905" y="3168681"/>
              <a:ext cx="227763" cy="460914"/>
              <a:chOff x="5888905" y="3168681"/>
              <a:chExt cx="227763" cy="460914"/>
            </a:xfrm>
            <a:noFill/>
          </p:grpSpPr>
          <p:sp>
            <p:nvSpPr>
              <p:cNvPr id="239" name="Forma livre: Forma 238">
                <a:extLst>
                  <a:ext uri="{FF2B5EF4-FFF2-40B4-BE49-F238E27FC236}">
                    <a16:creationId xmlns:a16="http://schemas.microsoft.com/office/drawing/2014/main" id="{E6D205E0-4573-8F00-13D5-31A25F146096}"/>
                  </a:ext>
                </a:extLst>
              </p:cNvPr>
              <p:cNvSpPr/>
              <p:nvPr/>
            </p:nvSpPr>
            <p:spPr>
              <a:xfrm>
                <a:off x="5888905" y="3168681"/>
                <a:ext cx="97747" cy="460914"/>
              </a:xfrm>
              <a:custGeom>
                <a:avLst/>
                <a:gdLst>
                  <a:gd name="connsiteX0" fmla="*/ 97748 w 97747"/>
                  <a:gd name="connsiteY0" fmla="*/ 0 h 460914"/>
                  <a:gd name="connsiteX1" fmla="*/ 97748 w 97747"/>
                  <a:gd name="connsiteY1" fmla="*/ 460915 h 4609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7747" h="460914">
                    <a:moveTo>
                      <a:pt x="97748" y="0"/>
                    </a:moveTo>
                    <a:cubicBezTo>
                      <a:pt x="97748" y="0"/>
                      <a:pt x="-122185" y="198977"/>
                      <a:pt x="97748" y="460915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40" name="Forma livre: Forma 239">
                <a:extLst>
                  <a:ext uri="{FF2B5EF4-FFF2-40B4-BE49-F238E27FC236}">
                    <a16:creationId xmlns:a16="http://schemas.microsoft.com/office/drawing/2014/main" id="{5181CACB-F661-8BED-3526-E5AA09F49C2F}"/>
                  </a:ext>
                </a:extLst>
              </p:cNvPr>
              <p:cNvSpPr/>
              <p:nvPr/>
            </p:nvSpPr>
            <p:spPr>
              <a:xfrm>
                <a:off x="6020943" y="3168681"/>
                <a:ext cx="95726" cy="190309"/>
              </a:xfrm>
              <a:custGeom>
                <a:avLst/>
                <a:gdLst>
                  <a:gd name="connsiteX0" fmla="*/ 0 w 95726"/>
                  <a:gd name="connsiteY0" fmla="*/ 0 h 190309"/>
                  <a:gd name="connsiteX1" fmla="*/ 95726 w 95726"/>
                  <a:gd name="connsiteY1" fmla="*/ 190310 h 1903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5726" h="190309">
                    <a:moveTo>
                      <a:pt x="0" y="0"/>
                    </a:moveTo>
                    <a:cubicBezTo>
                      <a:pt x="0" y="0"/>
                      <a:pt x="81439" y="73628"/>
                      <a:pt x="95726" y="190310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241" name="Forma livre: Forma 240">
              <a:extLst>
                <a:ext uri="{FF2B5EF4-FFF2-40B4-BE49-F238E27FC236}">
                  <a16:creationId xmlns:a16="http://schemas.microsoft.com/office/drawing/2014/main" id="{363CD5CB-2B28-A961-A57D-A3977DDACBE3}"/>
                </a:ext>
              </a:extLst>
            </p:cNvPr>
            <p:cNvSpPr/>
            <p:nvPr/>
          </p:nvSpPr>
          <p:spPr>
            <a:xfrm>
              <a:off x="6171437" y="3450335"/>
              <a:ext cx="137636" cy="70484"/>
            </a:xfrm>
            <a:custGeom>
              <a:avLst/>
              <a:gdLst>
                <a:gd name="connsiteX0" fmla="*/ 69818 w 137636"/>
                <a:gd name="connsiteY0" fmla="*/ 70485 h 70484"/>
                <a:gd name="connsiteX1" fmla="*/ 0 w 137636"/>
                <a:gd name="connsiteY1" fmla="*/ 35242 h 70484"/>
                <a:gd name="connsiteX2" fmla="*/ 69818 w 137636"/>
                <a:gd name="connsiteY2" fmla="*/ 0 h 70484"/>
                <a:gd name="connsiteX3" fmla="*/ 137636 w 137636"/>
                <a:gd name="connsiteY3" fmla="*/ 26670 h 704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7636" h="70484">
                  <a:moveTo>
                    <a:pt x="69818" y="70485"/>
                  </a:moveTo>
                  <a:cubicBezTo>
                    <a:pt x="31242" y="70485"/>
                    <a:pt x="0" y="54673"/>
                    <a:pt x="0" y="35242"/>
                  </a:cubicBezTo>
                  <a:cubicBezTo>
                    <a:pt x="0" y="15812"/>
                    <a:pt x="31337" y="0"/>
                    <a:pt x="69818" y="0"/>
                  </a:cubicBezTo>
                  <a:cubicBezTo>
                    <a:pt x="102584" y="0"/>
                    <a:pt x="130016" y="11335"/>
                    <a:pt x="137636" y="26670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42" name="Forma livre: Forma 241">
              <a:extLst>
                <a:ext uri="{FF2B5EF4-FFF2-40B4-BE49-F238E27FC236}">
                  <a16:creationId xmlns:a16="http://schemas.microsoft.com/office/drawing/2014/main" id="{B40890BF-3B3D-70C2-23C3-0CF47F860976}"/>
                </a:ext>
              </a:extLst>
            </p:cNvPr>
            <p:cNvSpPr/>
            <p:nvPr/>
          </p:nvSpPr>
          <p:spPr>
            <a:xfrm>
              <a:off x="6172390" y="3520915"/>
              <a:ext cx="138684" cy="70484"/>
            </a:xfrm>
            <a:custGeom>
              <a:avLst/>
              <a:gdLst>
                <a:gd name="connsiteX0" fmla="*/ 68866 w 138684"/>
                <a:gd name="connsiteY0" fmla="*/ 0 h 70484"/>
                <a:gd name="connsiteX1" fmla="*/ 138684 w 138684"/>
                <a:gd name="connsiteY1" fmla="*/ 35242 h 70484"/>
                <a:gd name="connsiteX2" fmla="*/ 68866 w 138684"/>
                <a:gd name="connsiteY2" fmla="*/ 70485 h 70484"/>
                <a:gd name="connsiteX3" fmla="*/ 0 w 138684"/>
                <a:gd name="connsiteY3" fmla="*/ 41339 h 704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8684" h="70484">
                  <a:moveTo>
                    <a:pt x="68866" y="0"/>
                  </a:moveTo>
                  <a:cubicBezTo>
                    <a:pt x="107442" y="0"/>
                    <a:pt x="138684" y="15811"/>
                    <a:pt x="138684" y="35242"/>
                  </a:cubicBezTo>
                  <a:cubicBezTo>
                    <a:pt x="138684" y="54673"/>
                    <a:pt x="107442" y="70485"/>
                    <a:pt x="68866" y="70485"/>
                  </a:cubicBezTo>
                  <a:cubicBezTo>
                    <a:pt x="34385" y="70485"/>
                    <a:pt x="5715" y="57912"/>
                    <a:pt x="0" y="41339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43" name="Forma livre: Forma 242">
              <a:extLst>
                <a:ext uri="{FF2B5EF4-FFF2-40B4-BE49-F238E27FC236}">
                  <a16:creationId xmlns:a16="http://schemas.microsoft.com/office/drawing/2014/main" id="{C1F9571F-D2CE-D73A-D1AC-D6E65B927E9F}"/>
                </a:ext>
              </a:extLst>
            </p:cNvPr>
            <p:cNvSpPr/>
            <p:nvPr/>
          </p:nvSpPr>
          <p:spPr>
            <a:xfrm>
              <a:off x="6242208" y="3413950"/>
              <a:ext cx="9525" cy="214312"/>
            </a:xfrm>
            <a:custGeom>
              <a:avLst/>
              <a:gdLst>
                <a:gd name="connsiteX0" fmla="*/ 0 w 9525"/>
                <a:gd name="connsiteY0" fmla="*/ 0 h 214312"/>
                <a:gd name="connsiteX1" fmla="*/ 0 w 9525"/>
                <a:gd name="connsiteY1" fmla="*/ 214312 h 2143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214312">
                  <a:moveTo>
                    <a:pt x="0" y="0"/>
                  </a:moveTo>
                  <a:lnTo>
                    <a:pt x="0" y="214312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44" name="Forma livre: Forma 243">
              <a:extLst>
                <a:ext uri="{FF2B5EF4-FFF2-40B4-BE49-F238E27FC236}">
                  <a16:creationId xmlns:a16="http://schemas.microsoft.com/office/drawing/2014/main" id="{650573EA-0F83-1709-B364-553F960B4247}"/>
                </a:ext>
              </a:extLst>
            </p:cNvPr>
            <p:cNvSpPr/>
            <p:nvPr/>
          </p:nvSpPr>
          <p:spPr>
            <a:xfrm>
              <a:off x="5774531" y="3169443"/>
              <a:ext cx="443007" cy="457200"/>
            </a:xfrm>
            <a:custGeom>
              <a:avLst/>
              <a:gdLst>
                <a:gd name="connsiteX0" fmla="*/ 288417 w 443007"/>
                <a:gd name="connsiteY0" fmla="*/ 449294 h 457200"/>
                <a:gd name="connsiteX1" fmla="*/ 228600 w 443007"/>
                <a:gd name="connsiteY1" fmla="*/ 457200 h 457200"/>
                <a:gd name="connsiteX2" fmla="*/ 0 w 443007"/>
                <a:gd name="connsiteY2" fmla="*/ 228600 h 457200"/>
                <a:gd name="connsiteX3" fmla="*/ 228600 w 443007"/>
                <a:gd name="connsiteY3" fmla="*/ 0 h 457200"/>
                <a:gd name="connsiteX4" fmla="*/ 443008 w 443007"/>
                <a:gd name="connsiteY4" fmla="*/ 149162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3007" h="457200">
                  <a:moveTo>
                    <a:pt x="288417" y="449294"/>
                  </a:moveTo>
                  <a:cubicBezTo>
                    <a:pt x="269367" y="454438"/>
                    <a:pt x="249269" y="457200"/>
                    <a:pt x="228600" y="457200"/>
                  </a:cubicBezTo>
                  <a:cubicBezTo>
                    <a:pt x="102299" y="457200"/>
                    <a:pt x="0" y="354901"/>
                    <a:pt x="0" y="228600"/>
                  </a:cubicBezTo>
                  <a:cubicBezTo>
                    <a:pt x="0" y="102299"/>
                    <a:pt x="102394" y="0"/>
                    <a:pt x="228600" y="0"/>
                  </a:cubicBezTo>
                  <a:cubicBezTo>
                    <a:pt x="326898" y="0"/>
                    <a:pt x="410718" y="62103"/>
                    <a:pt x="443008" y="149162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444" name="Agrupar 443">
            <a:extLst>
              <a:ext uri="{FF2B5EF4-FFF2-40B4-BE49-F238E27FC236}">
                <a16:creationId xmlns:a16="http://schemas.microsoft.com/office/drawing/2014/main" id="{39838B72-299E-8CFA-5B29-6EDA3D802FD4}"/>
              </a:ext>
            </a:extLst>
          </p:cNvPr>
          <p:cNvGrpSpPr/>
          <p:nvPr/>
        </p:nvGrpSpPr>
        <p:grpSpPr>
          <a:xfrm>
            <a:off x="4496513" y="3169444"/>
            <a:ext cx="268470" cy="296304"/>
            <a:chOff x="4043362" y="2931988"/>
            <a:chExt cx="508976" cy="561745"/>
          </a:xfrm>
        </p:grpSpPr>
        <p:sp>
          <p:nvSpPr>
            <p:cNvPr id="439" name="Forma livre: Forma 438">
              <a:extLst>
                <a:ext uri="{FF2B5EF4-FFF2-40B4-BE49-F238E27FC236}">
                  <a16:creationId xmlns:a16="http://schemas.microsoft.com/office/drawing/2014/main" id="{6E3A1A13-5685-F590-E239-DF2A78B2C796}"/>
                </a:ext>
              </a:extLst>
            </p:cNvPr>
            <p:cNvSpPr/>
            <p:nvPr/>
          </p:nvSpPr>
          <p:spPr>
            <a:xfrm>
              <a:off x="4209192" y="3009045"/>
              <a:ext cx="156971" cy="156971"/>
            </a:xfrm>
            <a:custGeom>
              <a:avLst/>
              <a:gdLst>
                <a:gd name="connsiteX0" fmla="*/ 78486 w 156971"/>
                <a:gd name="connsiteY0" fmla="*/ 0 h 156971"/>
                <a:gd name="connsiteX1" fmla="*/ 0 w 156971"/>
                <a:gd name="connsiteY1" fmla="*/ 78486 h 156971"/>
                <a:gd name="connsiteX2" fmla="*/ 78486 w 156971"/>
                <a:gd name="connsiteY2" fmla="*/ 156972 h 156971"/>
                <a:gd name="connsiteX3" fmla="*/ 156972 w 156971"/>
                <a:gd name="connsiteY3" fmla="*/ 78486 h 156971"/>
                <a:gd name="connsiteX4" fmla="*/ 78486 w 156971"/>
                <a:gd name="connsiteY4" fmla="*/ 0 h 156971"/>
                <a:gd name="connsiteX5" fmla="*/ 78486 w 156971"/>
                <a:gd name="connsiteY5" fmla="*/ 0 h 1569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56971" h="156971">
                  <a:moveTo>
                    <a:pt x="78486" y="0"/>
                  </a:moveTo>
                  <a:cubicBezTo>
                    <a:pt x="35147" y="0"/>
                    <a:pt x="0" y="35147"/>
                    <a:pt x="0" y="78486"/>
                  </a:cubicBezTo>
                  <a:cubicBezTo>
                    <a:pt x="0" y="121825"/>
                    <a:pt x="35147" y="156972"/>
                    <a:pt x="78486" y="156972"/>
                  </a:cubicBezTo>
                  <a:cubicBezTo>
                    <a:pt x="121825" y="156972"/>
                    <a:pt x="156972" y="121825"/>
                    <a:pt x="156972" y="78486"/>
                  </a:cubicBezTo>
                  <a:cubicBezTo>
                    <a:pt x="156972" y="35147"/>
                    <a:pt x="121825" y="0"/>
                    <a:pt x="78486" y="0"/>
                  </a:cubicBezTo>
                  <a:lnTo>
                    <a:pt x="78486" y="0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40" name="Forma livre: Forma 439">
              <a:extLst>
                <a:ext uri="{FF2B5EF4-FFF2-40B4-BE49-F238E27FC236}">
                  <a16:creationId xmlns:a16="http://schemas.microsoft.com/office/drawing/2014/main" id="{92AF13E2-D1FA-6849-A3A2-71F797801E5B}"/>
                </a:ext>
              </a:extLst>
            </p:cNvPr>
            <p:cNvSpPr/>
            <p:nvPr/>
          </p:nvSpPr>
          <p:spPr>
            <a:xfrm>
              <a:off x="4043362" y="2931988"/>
              <a:ext cx="457962" cy="457962"/>
            </a:xfrm>
            <a:custGeom>
              <a:avLst/>
              <a:gdLst>
                <a:gd name="connsiteX0" fmla="*/ 457962 w 457962"/>
                <a:gd name="connsiteY0" fmla="*/ 228981 h 457962"/>
                <a:gd name="connsiteX1" fmla="*/ 228981 w 457962"/>
                <a:gd name="connsiteY1" fmla="*/ 457962 h 457962"/>
                <a:gd name="connsiteX2" fmla="*/ 0 w 457962"/>
                <a:gd name="connsiteY2" fmla="*/ 228981 h 457962"/>
                <a:gd name="connsiteX3" fmla="*/ 228981 w 457962"/>
                <a:gd name="connsiteY3" fmla="*/ 0 h 457962"/>
                <a:gd name="connsiteX4" fmla="*/ 457962 w 457962"/>
                <a:gd name="connsiteY4" fmla="*/ 228981 h 457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57962" h="457962">
                  <a:moveTo>
                    <a:pt x="457962" y="228981"/>
                  </a:moveTo>
                  <a:cubicBezTo>
                    <a:pt x="457962" y="355473"/>
                    <a:pt x="355473" y="457962"/>
                    <a:pt x="228981" y="457962"/>
                  </a:cubicBezTo>
                  <a:cubicBezTo>
                    <a:pt x="102489" y="457962"/>
                    <a:pt x="0" y="355378"/>
                    <a:pt x="0" y="228981"/>
                  </a:cubicBezTo>
                  <a:cubicBezTo>
                    <a:pt x="0" y="102584"/>
                    <a:pt x="102489" y="0"/>
                    <a:pt x="228981" y="0"/>
                  </a:cubicBezTo>
                  <a:cubicBezTo>
                    <a:pt x="355473" y="0"/>
                    <a:pt x="457962" y="102489"/>
                    <a:pt x="457962" y="228981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41" name="Forma livre: Forma 440">
              <a:extLst>
                <a:ext uri="{FF2B5EF4-FFF2-40B4-BE49-F238E27FC236}">
                  <a16:creationId xmlns:a16="http://schemas.microsoft.com/office/drawing/2014/main" id="{63F4F805-E536-D305-89DB-D1D004F79D17}"/>
                </a:ext>
              </a:extLst>
            </p:cNvPr>
            <p:cNvSpPr/>
            <p:nvPr/>
          </p:nvSpPr>
          <p:spPr>
            <a:xfrm>
              <a:off x="4104226" y="3032953"/>
              <a:ext cx="60198" cy="144017"/>
            </a:xfrm>
            <a:custGeom>
              <a:avLst/>
              <a:gdLst>
                <a:gd name="connsiteX0" fmla="*/ 60198 w 60198"/>
                <a:gd name="connsiteY0" fmla="*/ 0 h 144017"/>
                <a:gd name="connsiteX1" fmla="*/ 0 w 60198"/>
                <a:gd name="connsiteY1" fmla="*/ 126587 h 144017"/>
                <a:gd name="connsiteX2" fmla="*/ 952 w 60198"/>
                <a:gd name="connsiteY2" fmla="*/ 144018 h 1440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0198" h="144017">
                  <a:moveTo>
                    <a:pt x="60198" y="0"/>
                  </a:moveTo>
                  <a:cubicBezTo>
                    <a:pt x="23432" y="29908"/>
                    <a:pt x="0" y="75533"/>
                    <a:pt x="0" y="126587"/>
                  </a:cubicBezTo>
                  <a:cubicBezTo>
                    <a:pt x="0" y="132493"/>
                    <a:pt x="381" y="138303"/>
                    <a:pt x="952" y="144018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42" name="Forma livre: Forma 441">
              <a:extLst>
                <a:ext uri="{FF2B5EF4-FFF2-40B4-BE49-F238E27FC236}">
                  <a16:creationId xmlns:a16="http://schemas.microsoft.com/office/drawing/2014/main" id="{0CD4E772-60D3-688E-AF69-3EDE33127EE3}"/>
                </a:ext>
              </a:extLst>
            </p:cNvPr>
            <p:cNvSpPr/>
            <p:nvPr/>
          </p:nvSpPr>
          <p:spPr>
            <a:xfrm>
              <a:off x="4185475" y="3209546"/>
              <a:ext cx="204501" cy="109251"/>
            </a:xfrm>
            <a:custGeom>
              <a:avLst/>
              <a:gdLst>
                <a:gd name="connsiteX0" fmla="*/ 0 w 204501"/>
                <a:gd name="connsiteY0" fmla="*/ 109252 h 109251"/>
                <a:gd name="connsiteX1" fmla="*/ 0 w 204501"/>
                <a:gd name="connsiteY1" fmla="*/ 47625 h 109251"/>
                <a:gd name="connsiteX2" fmla="*/ 47625 w 204501"/>
                <a:gd name="connsiteY2" fmla="*/ 0 h 109251"/>
                <a:gd name="connsiteX3" fmla="*/ 156877 w 204501"/>
                <a:gd name="connsiteY3" fmla="*/ 0 h 109251"/>
                <a:gd name="connsiteX4" fmla="*/ 204502 w 204501"/>
                <a:gd name="connsiteY4" fmla="*/ 47625 h 109251"/>
                <a:gd name="connsiteX5" fmla="*/ 204502 w 204501"/>
                <a:gd name="connsiteY5" fmla="*/ 84582 h 1092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4501" h="109251">
                  <a:moveTo>
                    <a:pt x="0" y="109252"/>
                  </a:moveTo>
                  <a:lnTo>
                    <a:pt x="0" y="47625"/>
                  </a:lnTo>
                  <a:cubicBezTo>
                    <a:pt x="0" y="21431"/>
                    <a:pt x="21431" y="0"/>
                    <a:pt x="47625" y="0"/>
                  </a:cubicBezTo>
                  <a:lnTo>
                    <a:pt x="156877" y="0"/>
                  </a:lnTo>
                  <a:cubicBezTo>
                    <a:pt x="183071" y="0"/>
                    <a:pt x="204502" y="21431"/>
                    <a:pt x="204502" y="47625"/>
                  </a:cubicBezTo>
                  <a:lnTo>
                    <a:pt x="204502" y="84582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43" name="Forma livre: Forma 442">
              <a:extLst>
                <a:ext uri="{FF2B5EF4-FFF2-40B4-BE49-F238E27FC236}">
                  <a16:creationId xmlns:a16="http://schemas.microsoft.com/office/drawing/2014/main" id="{54D854EA-3083-D710-DAA7-52C355681AA2}"/>
                </a:ext>
              </a:extLst>
            </p:cNvPr>
            <p:cNvSpPr/>
            <p:nvPr/>
          </p:nvSpPr>
          <p:spPr>
            <a:xfrm>
              <a:off x="4370450" y="3303844"/>
              <a:ext cx="181888" cy="189889"/>
            </a:xfrm>
            <a:custGeom>
              <a:avLst/>
              <a:gdLst>
                <a:gd name="connsiteX0" fmla="*/ 80391 w 181888"/>
                <a:gd name="connsiteY0" fmla="*/ 0 h 189889"/>
                <a:gd name="connsiteX1" fmla="*/ 171164 w 181888"/>
                <a:gd name="connsiteY1" fmla="*/ 107632 h 189889"/>
                <a:gd name="connsiteX2" fmla="*/ 164497 w 181888"/>
                <a:gd name="connsiteY2" fmla="*/ 174689 h 189889"/>
                <a:gd name="connsiteX3" fmla="*/ 158972 w 181888"/>
                <a:gd name="connsiteY3" fmla="*/ 179165 h 189889"/>
                <a:gd name="connsiteX4" fmla="*/ 91916 w 181888"/>
                <a:gd name="connsiteY4" fmla="*/ 172498 h 189889"/>
                <a:gd name="connsiteX5" fmla="*/ 0 w 181888"/>
                <a:gd name="connsiteY5" fmla="*/ 63722 h 1898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1888" h="189889">
                  <a:moveTo>
                    <a:pt x="80391" y="0"/>
                  </a:moveTo>
                  <a:lnTo>
                    <a:pt x="171164" y="107632"/>
                  </a:lnTo>
                  <a:cubicBezTo>
                    <a:pt x="187738" y="127921"/>
                    <a:pt x="184785" y="158020"/>
                    <a:pt x="164497" y="174689"/>
                  </a:cubicBezTo>
                  <a:lnTo>
                    <a:pt x="158972" y="179165"/>
                  </a:lnTo>
                  <a:cubicBezTo>
                    <a:pt x="138684" y="195739"/>
                    <a:pt x="108585" y="192786"/>
                    <a:pt x="91916" y="172498"/>
                  </a:cubicBezTo>
                  <a:lnTo>
                    <a:pt x="0" y="63722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2028" name="Agrupar 2027">
            <a:extLst>
              <a:ext uri="{FF2B5EF4-FFF2-40B4-BE49-F238E27FC236}">
                <a16:creationId xmlns:a16="http://schemas.microsoft.com/office/drawing/2014/main" id="{76A4B012-DFA1-EFAE-87FB-B100F2FC09D4}"/>
              </a:ext>
            </a:extLst>
          </p:cNvPr>
          <p:cNvGrpSpPr/>
          <p:nvPr/>
        </p:nvGrpSpPr>
        <p:grpSpPr>
          <a:xfrm>
            <a:off x="5809490" y="3136484"/>
            <a:ext cx="286510" cy="372677"/>
            <a:chOff x="5826918" y="3088481"/>
            <a:chExt cx="535876" cy="697039"/>
          </a:xfrm>
        </p:grpSpPr>
        <p:sp>
          <p:nvSpPr>
            <p:cNvPr id="840" name="Forma livre: Forma 839">
              <a:extLst>
                <a:ext uri="{FF2B5EF4-FFF2-40B4-BE49-F238E27FC236}">
                  <a16:creationId xmlns:a16="http://schemas.microsoft.com/office/drawing/2014/main" id="{FCC3C36B-08EE-F05A-273B-AE287184ABEC}"/>
                </a:ext>
              </a:extLst>
            </p:cNvPr>
            <p:cNvSpPr/>
            <p:nvPr/>
          </p:nvSpPr>
          <p:spPr>
            <a:xfrm>
              <a:off x="6049707" y="3171063"/>
              <a:ext cx="280130" cy="317468"/>
            </a:xfrm>
            <a:custGeom>
              <a:avLst/>
              <a:gdLst>
                <a:gd name="connsiteX0" fmla="*/ 140018 w 280130"/>
                <a:gd name="connsiteY0" fmla="*/ 0 h 317468"/>
                <a:gd name="connsiteX1" fmla="*/ 0 w 280130"/>
                <a:gd name="connsiteY1" fmla="*/ 143066 h 317468"/>
                <a:gd name="connsiteX2" fmla="*/ 26003 w 280130"/>
                <a:gd name="connsiteY2" fmla="*/ 226124 h 317468"/>
                <a:gd name="connsiteX3" fmla="*/ 82296 w 280130"/>
                <a:gd name="connsiteY3" fmla="*/ 317468 h 317468"/>
                <a:gd name="connsiteX4" fmla="*/ 197644 w 280130"/>
                <a:gd name="connsiteY4" fmla="*/ 317468 h 317468"/>
                <a:gd name="connsiteX5" fmla="*/ 254127 w 280130"/>
                <a:gd name="connsiteY5" fmla="*/ 226124 h 317468"/>
                <a:gd name="connsiteX6" fmla="*/ 280130 w 280130"/>
                <a:gd name="connsiteY6" fmla="*/ 143066 h 317468"/>
                <a:gd name="connsiteX7" fmla="*/ 140018 w 280130"/>
                <a:gd name="connsiteY7" fmla="*/ 0 h 317468"/>
                <a:gd name="connsiteX8" fmla="*/ 140018 w 280130"/>
                <a:gd name="connsiteY8" fmla="*/ 0 h 3174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130" h="317468">
                  <a:moveTo>
                    <a:pt x="140018" y="0"/>
                  </a:moveTo>
                  <a:cubicBezTo>
                    <a:pt x="62675" y="0"/>
                    <a:pt x="0" y="64008"/>
                    <a:pt x="0" y="143066"/>
                  </a:cubicBezTo>
                  <a:cubicBezTo>
                    <a:pt x="0" y="180499"/>
                    <a:pt x="11049" y="206978"/>
                    <a:pt x="26003" y="226124"/>
                  </a:cubicBezTo>
                  <a:cubicBezTo>
                    <a:pt x="51816" y="255080"/>
                    <a:pt x="77915" y="267843"/>
                    <a:pt x="82296" y="317468"/>
                  </a:cubicBezTo>
                  <a:lnTo>
                    <a:pt x="197644" y="317468"/>
                  </a:lnTo>
                  <a:cubicBezTo>
                    <a:pt x="202121" y="267843"/>
                    <a:pt x="228219" y="255080"/>
                    <a:pt x="254127" y="226124"/>
                  </a:cubicBezTo>
                  <a:cubicBezTo>
                    <a:pt x="271558" y="204788"/>
                    <a:pt x="280130" y="180499"/>
                    <a:pt x="280130" y="143066"/>
                  </a:cubicBezTo>
                  <a:cubicBezTo>
                    <a:pt x="280130" y="64008"/>
                    <a:pt x="217361" y="0"/>
                    <a:pt x="140018" y="0"/>
                  </a:cubicBezTo>
                  <a:lnTo>
                    <a:pt x="140018" y="0"/>
                  </a:ln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841" name="Gráfico 837">
              <a:extLst>
                <a:ext uri="{FF2B5EF4-FFF2-40B4-BE49-F238E27FC236}">
                  <a16:creationId xmlns:a16="http://schemas.microsoft.com/office/drawing/2014/main" id="{B3A77C6B-994E-EC4C-D71F-6C27C2871EAE}"/>
                </a:ext>
              </a:extLst>
            </p:cNvPr>
            <p:cNvGrpSpPr/>
            <p:nvPr/>
          </p:nvGrpSpPr>
          <p:grpSpPr>
            <a:xfrm>
              <a:off x="6016656" y="3088481"/>
              <a:ext cx="346138" cy="97917"/>
              <a:chOff x="6016656" y="3088481"/>
              <a:chExt cx="346138" cy="97917"/>
            </a:xfrm>
          </p:grpSpPr>
          <p:sp>
            <p:nvSpPr>
              <p:cNvPr id="842" name="Forma livre: Forma 841">
                <a:extLst>
                  <a:ext uri="{FF2B5EF4-FFF2-40B4-BE49-F238E27FC236}">
                    <a16:creationId xmlns:a16="http://schemas.microsoft.com/office/drawing/2014/main" id="{F7F6A949-4238-F3F4-0810-01031D557D0F}"/>
                  </a:ext>
                </a:extLst>
              </p:cNvPr>
              <p:cNvSpPr/>
              <p:nvPr/>
            </p:nvSpPr>
            <p:spPr>
              <a:xfrm>
                <a:off x="6187915" y="3088481"/>
                <a:ext cx="9525" cy="29908"/>
              </a:xfrm>
              <a:custGeom>
                <a:avLst/>
                <a:gdLst>
                  <a:gd name="connsiteX0" fmla="*/ 0 w 9525"/>
                  <a:gd name="connsiteY0" fmla="*/ 29908 h 29908"/>
                  <a:gd name="connsiteX1" fmla="*/ 0 w 9525"/>
                  <a:gd name="connsiteY1" fmla="*/ 0 h 299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525" h="29908">
                    <a:moveTo>
                      <a:pt x="0" y="29908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843" name="Forma livre: Forma 842">
                <a:extLst>
                  <a:ext uri="{FF2B5EF4-FFF2-40B4-BE49-F238E27FC236}">
                    <a16:creationId xmlns:a16="http://schemas.microsoft.com/office/drawing/2014/main" id="{2637D7CF-F36E-890F-DA2A-A9F7BE65E391}"/>
                  </a:ext>
                </a:extLst>
              </p:cNvPr>
              <p:cNvSpPr/>
              <p:nvPr/>
            </p:nvSpPr>
            <p:spPr>
              <a:xfrm>
                <a:off x="6016656" y="3163919"/>
                <a:ext cx="20954" cy="21050"/>
              </a:xfrm>
              <a:custGeom>
                <a:avLst/>
                <a:gdLst>
                  <a:gd name="connsiteX0" fmla="*/ 20955 w 20954"/>
                  <a:gd name="connsiteY0" fmla="*/ 21050 h 21050"/>
                  <a:gd name="connsiteX1" fmla="*/ 0 w 20954"/>
                  <a:gd name="connsiteY1" fmla="*/ 0 h 21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0954" h="21050">
                    <a:moveTo>
                      <a:pt x="20955" y="21050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844" name="Forma livre: Forma 843">
                <a:extLst>
                  <a:ext uri="{FF2B5EF4-FFF2-40B4-BE49-F238E27FC236}">
                    <a16:creationId xmlns:a16="http://schemas.microsoft.com/office/drawing/2014/main" id="{5367F2B0-0D07-D8DF-469B-F85E2C14F7DB}"/>
                  </a:ext>
                </a:extLst>
              </p:cNvPr>
              <p:cNvSpPr/>
              <p:nvPr/>
            </p:nvSpPr>
            <p:spPr>
              <a:xfrm>
                <a:off x="6338696" y="3162109"/>
                <a:ext cx="24098" cy="24288"/>
              </a:xfrm>
              <a:custGeom>
                <a:avLst/>
                <a:gdLst>
                  <a:gd name="connsiteX0" fmla="*/ 0 w 24098"/>
                  <a:gd name="connsiteY0" fmla="*/ 24289 h 24288"/>
                  <a:gd name="connsiteX1" fmla="*/ 24098 w 24098"/>
                  <a:gd name="connsiteY1" fmla="*/ 0 h 242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4098" h="24288">
                    <a:moveTo>
                      <a:pt x="0" y="24289"/>
                    </a:moveTo>
                    <a:lnTo>
                      <a:pt x="24098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845" name="Forma livre: Forma 844">
              <a:extLst>
                <a:ext uri="{FF2B5EF4-FFF2-40B4-BE49-F238E27FC236}">
                  <a16:creationId xmlns:a16="http://schemas.microsoft.com/office/drawing/2014/main" id="{B4BF2E8F-FDA5-5567-4DA4-02728C057DD1}"/>
                </a:ext>
              </a:extLst>
            </p:cNvPr>
            <p:cNvSpPr/>
            <p:nvPr/>
          </p:nvSpPr>
          <p:spPr>
            <a:xfrm>
              <a:off x="6189725" y="3355276"/>
              <a:ext cx="9525" cy="122872"/>
            </a:xfrm>
            <a:custGeom>
              <a:avLst/>
              <a:gdLst>
                <a:gd name="connsiteX0" fmla="*/ 0 w 9525"/>
                <a:gd name="connsiteY0" fmla="*/ 122873 h 122872"/>
                <a:gd name="connsiteX1" fmla="*/ 0 w 9525"/>
                <a:gd name="connsiteY1" fmla="*/ 0 h 1228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122872">
                  <a:moveTo>
                    <a:pt x="0" y="122873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846" name="Gráfico 837">
              <a:extLst>
                <a:ext uri="{FF2B5EF4-FFF2-40B4-BE49-F238E27FC236}">
                  <a16:creationId xmlns:a16="http://schemas.microsoft.com/office/drawing/2014/main" id="{AB251975-2B7B-7AEA-D2A5-5ECD51771009}"/>
                </a:ext>
              </a:extLst>
            </p:cNvPr>
            <p:cNvGrpSpPr/>
            <p:nvPr/>
          </p:nvGrpSpPr>
          <p:grpSpPr>
            <a:xfrm>
              <a:off x="6153149" y="3318795"/>
              <a:ext cx="73247" cy="36480"/>
              <a:chOff x="6153149" y="3318795"/>
              <a:chExt cx="73247" cy="36480"/>
            </a:xfrm>
          </p:grpSpPr>
          <p:sp>
            <p:nvSpPr>
              <p:cNvPr id="847" name="Forma livre: Forma 846">
                <a:extLst>
                  <a:ext uri="{FF2B5EF4-FFF2-40B4-BE49-F238E27FC236}">
                    <a16:creationId xmlns:a16="http://schemas.microsoft.com/office/drawing/2014/main" id="{197C069A-7935-947D-0C8F-038A9347B1E8}"/>
                  </a:ext>
                </a:extLst>
              </p:cNvPr>
              <p:cNvSpPr/>
              <p:nvPr/>
            </p:nvSpPr>
            <p:spPr>
              <a:xfrm>
                <a:off x="6153149" y="3318795"/>
                <a:ext cx="36194" cy="36480"/>
              </a:xfrm>
              <a:custGeom>
                <a:avLst/>
                <a:gdLst>
                  <a:gd name="connsiteX0" fmla="*/ 36195 w 36194"/>
                  <a:gd name="connsiteY0" fmla="*/ 36481 h 36480"/>
                  <a:gd name="connsiteX1" fmla="*/ 0 w 36194"/>
                  <a:gd name="connsiteY1" fmla="*/ 0 h 364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6194" h="36480">
                    <a:moveTo>
                      <a:pt x="36195" y="36481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848" name="Forma livre: Forma 847">
                <a:extLst>
                  <a:ext uri="{FF2B5EF4-FFF2-40B4-BE49-F238E27FC236}">
                    <a16:creationId xmlns:a16="http://schemas.microsoft.com/office/drawing/2014/main" id="{59CE4139-984E-4ED2-7C41-21E310645678}"/>
                  </a:ext>
                </a:extLst>
              </p:cNvPr>
              <p:cNvSpPr/>
              <p:nvPr/>
            </p:nvSpPr>
            <p:spPr>
              <a:xfrm>
                <a:off x="6190106" y="3318795"/>
                <a:ext cx="36290" cy="36480"/>
              </a:xfrm>
              <a:custGeom>
                <a:avLst/>
                <a:gdLst>
                  <a:gd name="connsiteX0" fmla="*/ 0 w 36290"/>
                  <a:gd name="connsiteY0" fmla="*/ 36481 h 36480"/>
                  <a:gd name="connsiteX1" fmla="*/ 36290 w 36290"/>
                  <a:gd name="connsiteY1" fmla="*/ 0 h 364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6290" h="36480">
                    <a:moveTo>
                      <a:pt x="0" y="36481"/>
                    </a:moveTo>
                    <a:lnTo>
                      <a:pt x="3629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048" name="Forma livre: Forma 1047">
              <a:extLst>
                <a:ext uri="{FF2B5EF4-FFF2-40B4-BE49-F238E27FC236}">
                  <a16:creationId xmlns:a16="http://schemas.microsoft.com/office/drawing/2014/main" id="{39B734F1-E12D-D7FD-6B24-B0C47E2722CC}"/>
                </a:ext>
              </a:extLst>
            </p:cNvPr>
            <p:cNvSpPr/>
            <p:nvPr/>
          </p:nvSpPr>
          <p:spPr>
            <a:xfrm>
              <a:off x="6150768" y="3531012"/>
              <a:ext cx="77914" cy="9525"/>
            </a:xfrm>
            <a:custGeom>
              <a:avLst/>
              <a:gdLst>
                <a:gd name="connsiteX0" fmla="*/ 0 w 77914"/>
                <a:gd name="connsiteY0" fmla="*/ 0 h 9525"/>
                <a:gd name="connsiteX1" fmla="*/ 77915 w 77914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7914" h="9525">
                  <a:moveTo>
                    <a:pt x="0" y="0"/>
                  </a:moveTo>
                  <a:lnTo>
                    <a:pt x="77915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171" name="Gráfico 837">
              <a:extLst>
                <a:ext uri="{FF2B5EF4-FFF2-40B4-BE49-F238E27FC236}">
                  <a16:creationId xmlns:a16="http://schemas.microsoft.com/office/drawing/2014/main" id="{A70D4E2F-D218-D625-9F41-369A9BDC0664}"/>
                </a:ext>
              </a:extLst>
            </p:cNvPr>
            <p:cNvGrpSpPr/>
            <p:nvPr/>
          </p:nvGrpSpPr>
          <p:grpSpPr>
            <a:xfrm>
              <a:off x="5826918" y="3270027"/>
              <a:ext cx="182022" cy="515493"/>
              <a:chOff x="5826918" y="3270027"/>
              <a:chExt cx="182022" cy="515493"/>
            </a:xfrm>
            <a:noFill/>
          </p:grpSpPr>
          <p:sp>
            <p:nvSpPr>
              <p:cNvPr id="2026" name="Forma livre: Forma 2025">
                <a:extLst>
                  <a:ext uri="{FF2B5EF4-FFF2-40B4-BE49-F238E27FC236}">
                    <a16:creationId xmlns:a16="http://schemas.microsoft.com/office/drawing/2014/main" id="{F3D65686-562C-D6C1-DC86-3EAB13685F94}"/>
                  </a:ext>
                </a:extLst>
              </p:cNvPr>
              <p:cNvSpPr/>
              <p:nvPr/>
            </p:nvSpPr>
            <p:spPr>
              <a:xfrm>
                <a:off x="5826918" y="3438048"/>
                <a:ext cx="182022" cy="347471"/>
              </a:xfrm>
              <a:custGeom>
                <a:avLst/>
                <a:gdLst>
                  <a:gd name="connsiteX0" fmla="*/ 136208 w 182022"/>
                  <a:gd name="connsiteY0" fmla="*/ 347472 h 347471"/>
                  <a:gd name="connsiteX1" fmla="*/ 136208 w 182022"/>
                  <a:gd name="connsiteY1" fmla="*/ 207264 h 347471"/>
                  <a:gd name="connsiteX2" fmla="*/ 145828 w 182022"/>
                  <a:gd name="connsiteY2" fmla="*/ 207264 h 347471"/>
                  <a:gd name="connsiteX3" fmla="*/ 182023 w 182022"/>
                  <a:gd name="connsiteY3" fmla="*/ 171069 h 347471"/>
                  <a:gd name="connsiteX4" fmla="*/ 182023 w 182022"/>
                  <a:gd name="connsiteY4" fmla="*/ 36290 h 347471"/>
                  <a:gd name="connsiteX5" fmla="*/ 145828 w 182022"/>
                  <a:gd name="connsiteY5" fmla="*/ 0 h 347471"/>
                  <a:gd name="connsiteX6" fmla="*/ 36195 w 182022"/>
                  <a:gd name="connsiteY6" fmla="*/ 0 h 347471"/>
                  <a:gd name="connsiteX7" fmla="*/ 0 w 182022"/>
                  <a:gd name="connsiteY7" fmla="*/ 36290 h 347471"/>
                  <a:gd name="connsiteX8" fmla="*/ 0 w 182022"/>
                  <a:gd name="connsiteY8" fmla="*/ 171069 h 347471"/>
                  <a:gd name="connsiteX9" fmla="*/ 36195 w 182022"/>
                  <a:gd name="connsiteY9" fmla="*/ 207264 h 347471"/>
                  <a:gd name="connsiteX10" fmla="*/ 45815 w 182022"/>
                  <a:gd name="connsiteY10" fmla="*/ 207264 h 347471"/>
                  <a:gd name="connsiteX11" fmla="*/ 45815 w 182022"/>
                  <a:gd name="connsiteY11" fmla="*/ 347472 h 3474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82022" h="347471">
                    <a:moveTo>
                      <a:pt x="136208" y="347472"/>
                    </a:moveTo>
                    <a:lnTo>
                      <a:pt x="136208" y="207264"/>
                    </a:lnTo>
                    <a:lnTo>
                      <a:pt x="145828" y="207264"/>
                    </a:lnTo>
                    <a:cubicBezTo>
                      <a:pt x="165735" y="207264"/>
                      <a:pt x="182023" y="190976"/>
                      <a:pt x="182023" y="171069"/>
                    </a:cubicBezTo>
                    <a:lnTo>
                      <a:pt x="182023" y="36290"/>
                    </a:lnTo>
                    <a:cubicBezTo>
                      <a:pt x="182023" y="16383"/>
                      <a:pt x="165735" y="0"/>
                      <a:pt x="145828" y="0"/>
                    </a:cubicBezTo>
                    <a:lnTo>
                      <a:pt x="36195" y="0"/>
                    </a:lnTo>
                    <a:cubicBezTo>
                      <a:pt x="16288" y="0"/>
                      <a:pt x="0" y="16288"/>
                      <a:pt x="0" y="36290"/>
                    </a:cubicBezTo>
                    <a:lnTo>
                      <a:pt x="0" y="171069"/>
                    </a:lnTo>
                    <a:cubicBezTo>
                      <a:pt x="0" y="190976"/>
                      <a:pt x="16288" y="207264"/>
                      <a:pt x="36195" y="207264"/>
                    </a:cubicBezTo>
                    <a:lnTo>
                      <a:pt x="45815" y="207264"/>
                    </a:lnTo>
                    <a:lnTo>
                      <a:pt x="45815" y="347472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027" name="Forma livre: Forma 2026">
                <a:extLst>
                  <a:ext uri="{FF2B5EF4-FFF2-40B4-BE49-F238E27FC236}">
                    <a16:creationId xmlns:a16="http://schemas.microsoft.com/office/drawing/2014/main" id="{E051E42E-91CC-8607-A807-AF14F56D1595}"/>
                  </a:ext>
                </a:extLst>
              </p:cNvPr>
              <p:cNvSpPr/>
              <p:nvPr/>
            </p:nvSpPr>
            <p:spPr>
              <a:xfrm>
                <a:off x="5861017" y="3270027"/>
                <a:ext cx="113919" cy="113919"/>
              </a:xfrm>
              <a:custGeom>
                <a:avLst/>
                <a:gdLst>
                  <a:gd name="connsiteX0" fmla="*/ 113919 w 113919"/>
                  <a:gd name="connsiteY0" fmla="*/ 56960 h 113919"/>
                  <a:gd name="connsiteX1" fmla="*/ 56960 w 113919"/>
                  <a:gd name="connsiteY1" fmla="*/ 113919 h 113919"/>
                  <a:gd name="connsiteX2" fmla="*/ 0 w 113919"/>
                  <a:gd name="connsiteY2" fmla="*/ 56960 h 113919"/>
                  <a:gd name="connsiteX3" fmla="*/ 56960 w 113919"/>
                  <a:gd name="connsiteY3" fmla="*/ 0 h 113919"/>
                  <a:gd name="connsiteX4" fmla="*/ 113919 w 113919"/>
                  <a:gd name="connsiteY4" fmla="*/ 56960 h 1139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13919" h="113919">
                    <a:moveTo>
                      <a:pt x="113919" y="56960"/>
                    </a:moveTo>
                    <a:cubicBezTo>
                      <a:pt x="113919" y="88392"/>
                      <a:pt x="88392" y="113919"/>
                      <a:pt x="56960" y="113919"/>
                    </a:cubicBezTo>
                    <a:cubicBezTo>
                      <a:pt x="25527" y="113919"/>
                      <a:pt x="0" y="88392"/>
                      <a:pt x="0" y="56960"/>
                    </a:cubicBezTo>
                    <a:cubicBezTo>
                      <a:pt x="0" y="25527"/>
                      <a:pt x="25527" y="0"/>
                      <a:pt x="56960" y="0"/>
                    </a:cubicBezTo>
                    <a:cubicBezTo>
                      <a:pt x="88392" y="0"/>
                      <a:pt x="113919" y="25527"/>
                      <a:pt x="113919" y="56960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2065" name="Agrupar 2064">
            <a:extLst>
              <a:ext uri="{FF2B5EF4-FFF2-40B4-BE49-F238E27FC236}">
                <a16:creationId xmlns:a16="http://schemas.microsoft.com/office/drawing/2014/main" id="{B8423D41-0FE1-9F00-FAF9-A264680B2FC1}"/>
              </a:ext>
            </a:extLst>
          </p:cNvPr>
          <p:cNvGrpSpPr/>
          <p:nvPr/>
        </p:nvGrpSpPr>
        <p:grpSpPr>
          <a:xfrm>
            <a:off x="9463736" y="3636962"/>
            <a:ext cx="239857" cy="321099"/>
            <a:chOff x="5855493" y="3107531"/>
            <a:chExt cx="484251" cy="648271"/>
          </a:xfrm>
        </p:grpSpPr>
        <p:sp>
          <p:nvSpPr>
            <p:cNvPr id="2038" name="Forma livre: Forma 2037">
              <a:extLst>
                <a:ext uri="{FF2B5EF4-FFF2-40B4-BE49-F238E27FC236}">
                  <a16:creationId xmlns:a16="http://schemas.microsoft.com/office/drawing/2014/main" id="{425612D2-209E-75BB-C749-297A023E9F69}"/>
                </a:ext>
              </a:extLst>
            </p:cNvPr>
            <p:cNvSpPr/>
            <p:nvPr/>
          </p:nvSpPr>
          <p:spPr>
            <a:xfrm>
              <a:off x="6006655" y="3687032"/>
              <a:ext cx="181927" cy="9525"/>
            </a:xfrm>
            <a:custGeom>
              <a:avLst/>
              <a:gdLst>
                <a:gd name="connsiteX0" fmla="*/ 0 w 181927"/>
                <a:gd name="connsiteY0" fmla="*/ 0 h 9525"/>
                <a:gd name="connsiteX1" fmla="*/ 181928 w 181927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1927" h="9525">
                  <a:moveTo>
                    <a:pt x="0" y="0"/>
                  </a:moveTo>
                  <a:lnTo>
                    <a:pt x="181928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39" name="Forma livre: Forma 2038">
              <a:extLst>
                <a:ext uri="{FF2B5EF4-FFF2-40B4-BE49-F238E27FC236}">
                  <a16:creationId xmlns:a16="http://schemas.microsoft.com/office/drawing/2014/main" id="{47BD9E37-5164-92D7-ADB4-85E8320A07F4}"/>
                </a:ext>
              </a:extLst>
            </p:cNvPr>
            <p:cNvSpPr/>
            <p:nvPr/>
          </p:nvSpPr>
          <p:spPr>
            <a:xfrm>
              <a:off x="6050565" y="3746277"/>
              <a:ext cx="94202" cy="9525"/>
            </a:xfrm>
            <a:custGeom>
              <a:avLst/>
              <a:gdLst>
                <a:gd name="connsiteX0" fmla="*/ 0 w 94202"/>
                <a:gd name="connsiteY0" fmla="*/ 0 h 9525"/>
                <a:gd name="connsiteX1" fmla="*/ 94202 w 94202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4202" h="9525">
                  <a:moveTo>
                    <a:pt x="0" y="0"/>
                  </a:moveTo>
                  <a:lnTo>
                    <a:pt x="94202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2061" name="Gráfico 2029">
              <a:extLst>
                <a:ext uri="{FF2B5EF4-FFF2-40B4-BE49-F238E27FC236}">
                  <a16:creationId xmlns:a16="http://schemas.microsoft.com/office/drawing/2014/main" id="{9941DAD8-162A-3F29-E200-5DC36C9E405B}"/>
                </a:ext>
              </a:extLst>
            </p:cNvPr>
            <p:cNvGrpSpPr/>
            <p:nvPr/>
          </p:nvGrpSpPr>
          <p:grpSpPr>
            <a:xfrm>
              <a:off x="5855493" y="3107531"/>
              <a:ext cx="484251" cy="527399"/>
              <a:chOff x="5855493" y="3107531"/>
              <a:chExt cx="484251" cy="527399"/>
            </a:xfrm>
            <a:noFill/>
          </p:grpSpPr>
          <p:sp>
            <p:nvSpPr>
              <p:cNvPr id="2062" name="Forma livre: Forma 2061">
                <a:extLst>
                  <a:ext uri="{FF2B5EF4-FFF2-40B4-BE49-F238E27FC236}">
                    <a16:creationId xmlns:a16="http://schemas.microsoft.com/office/drawing/2014/main" id="{D507E77C-E04C-75BD-A2BA-6EA8E0F5DA02}"/>
                  </a:ext>
                </a:extLst>
              </p:cNvPr>
              <p:cNvSpPr/>
              <p:nvPr/>
            </p:nvSpPr>
            <p:spPr>
              <a:xfrm>
                <a:off x="5997446" y="3229451"/>
                <a:ext cx="187941" cy="272891"/>
              </a:xfrm>
              <a:custGeom>
                <a:avLst/>
                <a:gdLst>
                  <a:gd name="connsiteX0" fmla="*/ 117222 w 187941"/>
                  <a:gd name="connsiteY0" fmla="*/ 272891 h 272891"/>
                  <a:gd name="connsiteX1" fmla="*/ 128557 w 187941"/>
                  <a:gd name="connsiteY1" fmla="*/ 270510 h 272891"/>
                  <a:gd name="connsiteX2" fmla="*/ 167324 w 187941"/>
                  <a:gd name="connsiteY2" fmla="*/ 101156 h 272891"/>
                  <a:gd name="connsiteX3" fmla="*/ 43023 w 187941"/>
                  <a:gd name="connsiteY3" fmla="*/ 0 h 272891"/>
                  <a:gd name="connsiteX4" fmla="*/ 65 w 187941"/>
                  <a:gd name="connsiteY4" fmla="*/ 153543 h 272891"/>
                  <a:gd name="connsiteX5" fmla="*/ 71979 w 187941"/>
                  <a:gd name="connsiteY5" fmla="*/ 262795 h 2728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87941" h="272891">
                    <a:moveTo>
                      <a:pt x="117222" y="272891"/>
                    </a:moveTo>
                    <a:cubicBezTo>
                      <a:pt x="121794" y="272605"/>
                      <a:pt x="124176" y="271844"/>
                      <a:pt x="128557" y="270510"/>
                    </a:cubicBezTo>
                    <a:cubicBezTo>
                      <a:pt x="186469" y="253079"/>
                      <a:pt x="207234" y="161544"/>
                      <a:pt x="167324" y="101156"/>
                    </a:cubicBezTo>
                    <a:cubicBezTo>
                      <a:pt x="115794" y="23241"/>
                      <a:pt x="43023" y="0"/>
                      <a:pt x="43023" y="0"/>
                    </a:cubicBezTo>
                    <a:cubicBezTo>
                      <a:pt x="43023" y="0"/>
                      <a:pt x="-1935" y="68389"/>
                      <a:pt x="65" y="153543"/>
                    </a:cubicBezTo>
                    <a:cubicBezTo>
                      <a:pt x="1208" y="201454"/>
                      <a:pt x="34641" y="244030"/>
                      <a:pt x="71979" y="262795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063" name="Forma livre: Forma 2062">
                <a:extLst>
                  <a:ext uri="{FF2B5EF4-FFF2-40B4-BE49-F238E27FC236}">
                    <a16:creationId xmlns:a16="http://schemas.microsoft.com/office/drawing/2014/main" id="{747E451B-1515-4525-5BAB-D562948CCBBA}"/>
                  </a:ext>
                </a:extLst>
              </p:cNvPr>
              <p:cNvSpPr/>
              <p:nvPr/>
            </p:nvSpPr>
            <p:spPr>
              <a:xfrm>
                <a:off x="5855493" y="3107531"/>
                <a:ext cx="484251" cy="527399"/>
              </a:xfrm>
              <a:custGeom>
                <a:avLst/>
                <a:gdLst>
                  <a:gd name="connsiteX0" fmla="*/ 242030 w 484251"/>
                  <a:gd name="connsiteY0" fmla="*/ 503587 h 527399"/>
                  <a:gd name="connsiteX1" fmla="*/ 242030 w 484251"/>
                  <a:gd name="connsiteY1" fmla="*/ 0 h 527399"/>
                  <a:gd name="connsiteX2" fmla="*/ 0 w 484251"/>
                  <a:gd name="connsiteY2" fmla="*/ 237649 h 527399"/>
                  <a:gd name="connsiteX3" fmla="*/ 45053 w 484251"/>
                  <a:gd name="connsiteY3" fmla="*/ 375666 h 527399"/>
                  <a:gd name="connsiteX4" fmla="*/ 142399 w 484251"/>
                  <a:gd name="connsiteY4" fmla="*/ 527399 h 527399"/>
                  <a:gd name="connsiteX5" fmla="*/ 341757 w 484251"/>
                  <a:gd name="connsiteY5" fmla="*/ 527399 h 527399"/>
                  <a:gd name="connsiteX6" fmla="*/ 439293 w 484251"/>
                  <a:gd name="connsiteY6" fmla="*/ 375666 h 527399"/>
                  <a:gd name="connsiteX7" fmla="*/ 484251 w 484251"/>
                  <a:gd name="connsiteY7" fmla="*/ 237649 h 527399"/>
                  <a:gd name="connsiteX8" fmla="*/ 242030 w 484251"/>
                  <a:gd name="connsiteY8" fmla="*/ 0 h 527399"/>
                  <a:gd name="connsiteX9" fmla="*/ 242030 w 484251"/>
                  <a:gd name="connsiteY9" fmla="*/ 0 h 527399"/>
                  <a:gd name="connsiteX0" fmla="*/ 242030 w 484251"/>
                  <a:gd name="connsiteY0" fmla="*/ 0 h 527399"/>
                  <a:gd name="connsiteX1" fmla="*/ 242030 w 484251"/>
                  <a:gd name="connsiteY1" fmla="*/ 0 h 527399"/>
                  <a:gd name="connsiteX2" fmla="*/ 0 w 484251"/>
                  <a:gd name="connsiteY2" fmla="*/ 237649 h 527399"/>
                  <a:gd name="connsiteX3" fmla="*/ 45053 w 484251"/>
                  <a:gd name="connsiteY3" fmla="*/ 375666 h 527399"/>
                  <a:gd name="connsiteX4" fmla="*/ 142399 w 484251"/>
                  <a:gd name="connsiteY4" fmla="*/ 527399 h 527399"/>
                  <a:gd name="connsiteX5" fmla="*/ 341757 w 484251"/>
                  <a:gd name="connsiteY5" fmla="*/ 527399 h 527399"/>
                  <a:gd name="connsiteX6" fmla="*/ 439293 w 484251"/>
                  <a:gd name="connsiteY6" fmla="*/ 375666 h 527399"/>
                  <a:gd name="connsiteX7" fmla="*/ 484251 w 484251"/>
                  <a:gd name="connsiteY7" fmla="*/ 237649 h 527399"/>
                  <a:gd name="connsiteX8" fmla="*/ 242030 w 484251"/>
                  <a:gd name="connsiteY8" fmla="*/ 0 h 527399"/>
                  <a:gd name="connsiteX9" fmla="*/ 242030 w 484251"/>
                  <a:gd name="connsiteY9" fmla="*/ 0 h 5273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84251" h="527399">
                    <a:moveTo>
                      <a:pt x="242030" y="0"/>
                    </a:moveTo>
                    <a:lnTo>
                      <a:pt x="242030" y="0"/>
                    </a:lnTo>
                    <a:cubicBezTo>
                      <a:pt x="108395" y="0"/>
                      <a:pt x="0" y="106394"/>
                      <a:pt x="0" y="237649"/>
                    </a:cubicBezTo>
                    <a:cubicBezTo>
                      <a:pt x="0" y="299847"/>
                      <a:pt x="19145" y="343853"/>
                      <a:pt x="45053" y="375666"/>
                    </a:cubicBezTo>
                    <a:cubicBezTo>
                      <a:pt x="89535" y="423767"/>
                      <a:pt x="134779" y="444913"/>
                      <a:pt x="142399" y="527399"/>
                    </a:cubicBezTo>
                    <a:lnTo>
                      <a:pt x="341757" y="527399"/>
                    </a:lnTo>
                    <a:cubicBezTo>
                      <a:pt x="349472" y="444913"/>
                      <a:pt x="394621" y="423767"/>
                      <a:pt x="439293" y="375666"/>
                    </a:cubicBezTo>
                    <a:cubicBezTo>
                      <a:pt x="469392" y="340138"/>
                      <a:pt x="484251" y="299847"/>
                      <a:pt x="484251" y="237649"/>
                    </a:cubicBezTo>
                    <a:cubicBezTo>
                      <a:pt x="484251" y="106394"/>
                      <a:pt x="375761" y="0"/>
                      <a:pt x="242030" y="0"/>
                    </a:cubicBezTo>
                    <a:lnTo>
                      <a:pt x="242030" y="0"/>
                    </a:lnTo>
                    <a:close/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064" name="Forma livre: Forma 2063">
                <a:extLst>
                  <a:ext uri="{FF2B5EF4-FFF2-40B4-BE49-F238E27FC236}">
                    <a16:creationId xmlns:a16="http://schemas.microsoft.com/office/drawing/2014/main" id="{1D32D890-1CD4-6C03-E2C9-190A1ABEE930}"/>
                  </a:ext>
                </a:extLst>
              </p:cNvPr>
              <p:cNvSpPr/>
              <p:nvPr/>
            </p:nvSpPr>
            <p:spPr>
              <a:xfrm>
                <a:off x="6087141" y="3345560"/>
                <a:ext cx="30319" cy="274796"/>
              </a:xfrm>
              <a:custGeom>
                <a:avLst/>
                <a:gdLst>
                  <a:gd name="connsiteX0" fmla="*/ 0 w 30319"/>
                  <a:gd name="connsiteY0" fmla="*/ 0 h 274796"/>
                  <a:gd name="connsiteX1" fmla="*/ 4858 w 30319"/>
                  <a:gd name="connsiteY1" fmla="*/ 274796 h 2747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0319" h="274796">
                    <a:moveTo>
                      <a:pt x="0" y="0"/>
                    </a:moveTo>
                    <a:cubicBezTo>
                      <a:pt x="18574" y="35243"/>
                      <a:pt x="55150" y="133540"/>
                      <a:pt x="4858" y="274796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2082" name="Agrupar 2081">
            <a:extLst>
              <a:ext uri="{FF2B5EF4-FFF2-40B4-BE49-F238E27FC236}">
                <a16:creationId xmlns:a16="http://schemas.microsoft.com/office/drawing/2014/main" id="{12959887-7B1B-44E5-66C7-DD39F9780738}"/>
              </a:ext>
            </a:extLst>
          </p:cNvPr>
          <p:cNvGrpSpPr/>
          <p:nvPr/>
        </p:nvGrpSpPr>
        <p:grpSpPr>
          <a:xfrm>
            <a:off x="9974081" y="1000126"/>
            <a:ext cx="279615" cy="279566"/>
            <a:chOff x="10030936" y="384247"/>
            <a:chExt cx="547877" cy="547782"/>
          </a:xfrm>
        </p:grpSpPr>
        <p:sp>
          <p:nvSpPr>
            <p:cNvPr id="2069" name="Forma livre: Forma 2068">
              <a:extLst>
                <a:ext uri="{FF2B5EF4-FFF2-40B4-BE49-F238E27FC236}">
                  <a16:creationId xmlns:a16="http://schemas.microsoft.com/office/drawing/2014/main" id="{792F309B-96EB-A11C-8309-D4FA17DA37E3}"/>
                </a:ext>
              </a:extLst>
            </p:cNvPr>
            <p:cNvSpPr/>
            <p:nvPr/>
          </p:nvSpPr>
          <p:spPr>
            <a:xfrm>
              <a:off x="10034650" y="438539"/>
              <a:ext cx="207263" cy="174116"/>
            </a:xfrm>
            <a:custGeom>
              <a:avLst/>
              <a:gdLst>
                <a:gd name="connsiteX0" fmla="*/ 0 w 207263"/>
                <a:gd name="connsiteY0" fmla="*/ 174117 h 174116"/>
                <a:gd name="connsiteX1" fmla="*/ 106299 w 207263"/>
                <a:gd name="connsiteY1" fmla="*/ 0 h 174116"/>
                <a:gd name="connsiteX2" fmla="*/ 207264 w 207263"/>
                <a:gd name="connsiteY2" fmla="*/ 135827 h 1741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07263" h="174116">
                  <a:moveTo>
                    <a:pt x="0" y="174117"/>
                  </a:moveTo>
                  <a:cubicBezTo>
                    <a:pt x="11811" y="103156"/>
                    <a:pt x="51054" y="41339"/>
                    <a:pt x="106299" y="0"/>
                  </a:cubicBezTo>
                  <a:lnTo>
                    <a:pt x="207264" y="135827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70" name="Forma livre: Forma 2069">
              <a:extLst>
                <a:ext uri="{FF2B5EF4-FFF2-40B4-BE49-F238E27FC236}">
                  <a16:creationId xmlns:a16="http://schemas.microsoft.com/office/drawing/2014/main" id="{5025DE59-4053-563E-171B-918729DF60EF}"/>
                </a:ext>
              </a:extLst>
            </p:cNvPr>
            <p:cNvSpPr/>
            <p:nvPr/>
          </p:nvSpPr>
          <p:spPr>
            <a:xfrm>
              <a:off x="10030936" y="658186"/>
              <a:ext cx="398907" cy="273843"/>
            </a:xfrm>
            <a:custGeom>
              <a:avLst/>
              <a:gdLst>
                <a:gd name="connsiteX0" fmla="*/ 398907 w 398907"/>
                <a:gd name="connsiteY0" fmla="*/ 243745 h 273843"/>
                <a:gd name="connsiteX1" fmla="*/ 273939 w 398907"/>
                <a:gd name="connsiteY1" fmla="*/ 273844 h 273843"/>
                <a:gd name="connsiteX2" fmla="*/ 0 w 398907"/>
                <a:gd name="connsiteY2" fmla="*/ 0 h 273843"/>
                <a:gd name="connsiteX3" fmla="*/ 164592 w 398907"/>
                <a:gd name="connsiteY3" fmla="*/ 0 h 2738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8907" h="273843">
                  <a:moveTo>
                    <a:pt x="398907" y="243745"/>
                  </a:moveTo>
                  <a:cubicBezTo>
                    <a:pt x="361474" y="262985"/>
                    <a:pt x="318897" y="273844"/>
                    <a:pt x="273939" y="273844"/>
                  </a:cubicBezTo>
                  <a:cubicBezTo>
                    <a:pt x="122682" y="273844"/>
                    <a:pt x="0" y="151257"/>
                    <a:pt x="0" y="0"/>
                  </a:cubicBezTo>
                  <a:lnTo>
                    <a:pt x="164592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71" name="Forma livre: Forma 2070">
              <a:extLst>
                <a:ext uri="{FF2B5EF4-FFF2-40B4-BE49-F238E27FC236}">
                  <a16:creationId xmlns:a16="http://schemas.microsoft.com/office/drawing/2014/main" id="{91FAB59A-3662-E282-9A11-DAF5CA2DECBA}"/>
                </a:ext>
              </a:extLst>
            </p:cNvPr>
            <p:cNvSpPr/>
            <p:nvPr/>
          </p:nvSpPr>
          <p:spPr>
            <a:xfrm>
              <a:off x="10182002" y="384247"/>
              <a:ext cx="209454" cy="172402"/>
            </a:xfrm>
            <a:custGeom>
              <a:avLst/>
              <a:gdLst>
                <a:gd name="connsiteX0" fmla="*/ 0 w 209454"/>
                <a:gd name="connsiteY0" fmla="*/ 29051 h 172402"/>
                <a:gd name="connsiteX1" fmla="*/ 122873 w 209454"/>
                <a:gd name="connsiteY1" fmla="*/ 0 h 172402"/>
                <a:gd name="connsiteX2" fmla="*/ 209455 w 209454"/>
                <a:gd name="connsiteY2" fmla="*/ 14002 h 172402"/>
                <a:gd name="connsiteX3" fmla="*/ 156496 w 209454"/>
                <a:gd name="connsiteY3" fmla="*/ 172403 h 1724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9454" h="172402">
                  <a:moveTo>
                    <a:pt x="0" y="29051"/>
                  </a:moveTo>
                  <a:cubicBezTo>
                    <a:pt x="36957" y="10477"/>
                    <a:pt x="78677" y="0"/>
                    <a:pt x="122873" y="0"/>
                  </a:cubicBezTo>
                  <a:cubicBezTo>
                    <a:pt x="153162" y="0"/>
                    <a:pt x="182213" y="4858"/>
                    <a:pt x="209455" y="14002"/>
                  </a:cubicBezTo>
                  <a:lnTo>
                    <a:pt x="156496" y="172403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72" name="Forma livre: Forma 2071">
              <a:extLst>
                <a:ext uri="{FF2B5EF4-FFF2-40B4-BE49-F238E27FC236}">
                  <a16:creationId xmlns:a16="http://schemas.microsoft.com/office/drawing/2014/main" id="{8C5DD8FE-937C-D4FF-144C-9B682DB6F3B5}"/>
                </a:ext>
              </a:extLst>
            </p:cNvPr>
            <p:cNvSpPr/>
            <p:nvPr/>
          </p:nvSpPr>
          <p:spPr>
            <a:xfrm>
              <a:off x="10056177" y="658567"/>
              <a:ext cx="110966" cy="111061"/>
            </a:xfrm>
            <a:custGeom>
              <a:avLst/>
              <a:gdLst>
                <a:gd name="connsiteX0" fmla="*/ 0 w 110966"/>
                <a:gd name="connsiteY0" fmla="*/ 111061 h 111061"/>
                <a:gd name="connsiteX1" fmla="*/ 110966 w 110966"/>
                <a:gd name="connsiteY1" fmla="*/ 0 h 1110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0966" h="111061">
                  <a:moveTo>
                    <a:pt x="0" y="111061"/>
                  </a:moveTo>
                  <a:lnTo>
                    <a:pt x="110966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73" name="Forma livre: Forma 2072">
              <a:extLst>
                <a:ext uri="{FF2B5EF4-FFF2-40B4-BE49-F238E27FC236}">
                  <a16:creationId xmlns:a16="http://schemas.microsoft.com/office/drawing/2014/main" id="{E8C00BC9-72D6-8A79-98AB-42B64E1EEFA0}"/>
                </a:ext>
              </a:extLst>
            </p:cNvPr>
            <p:cNvSpPr/>
            <p:nvPr/>
          </p:nvSpPr>
          <p:spPr>
            <a:xfrm>
              <a:off x="10094468" y="713907"/>
              <a:ext cx="119538" cy="118395"/>
            </a:xfrm>
            <a:custGeom>
              <a:avLst/>
              <a:gdLst>
                <a:gd name="connsiteX0" fmla="*/ 0 w 119538"/>
                <a:gd name="connsiteY0" fmla="*/ 118396 h 118395"/>
                <a:gd name="connsiteX1" fmla="*/ 119539 w 119538"/>
                <a:gd name="connsiteY1" fmla="*/ 0 h 1183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9538" h="118395">
                  <a:moveTo>
                    <a:pt x="0" y="118396"/>
                  </a:moveTo>
                  <a:lnTo>
                    <a:pt x="119539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74" name="Forma livre: Forma 2073">
              <a:extLst>
                <a:ext uri="{FF2B5EF4-FFF2-40B4-BE49-F238E27FC236}">
                  <a16:creationId xmlns:a16="http://schemas.microsoft.com/office/drawing/2014/main" id="{BB265008-F820-AF5F-BAAC-B92569D31B56}"/>
                </a:ext>
              </a:extLst>
            </p:cNvPr>
            <p:cNvSpPr/>
            <p:nvPr/>
          </p:nvSpPr>
          <p:spPr>
            <a:xfrm>
              <a:off x="10147046" y="759341"/>
              <a:ext cx="121443" cy="121443"/>
            </a:xfrm>
            <a:custGeom>
              <a:avLst/>
              <a:gdLst>
                <a:gd name="connsiteX0" fmla="*/ 0 w 121443"/>
                <a:gd name="connsiteY0" fmla="*/ 121444 h 121443"/>
                <a:gd name="connsiteX1" fmla="*/ 121444 w 121443"/>
                <a:gd name="connsiteY1" fmla="*/ 0 h 1214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1443" h="121443">
                  <a:moveTo>
                    <a:pt x="0" y="121444"/>
                  </a:moveTo>
                  <a:lnTo>
                    <a:pt x="121444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75" name="Forma livre: Forma 2074">
              <a:extLst>
                <a:ext uri="{FF2B5EF4-FFF2-40B4-BE49-F238E27FC236}">
                  <a16:creationId xmlns:a16="http://schemas.microsoft.com/office/drawing/2014/main" id="{577F2A5B-F2F5-2B36-AF5A-FE59DF21E6DA}"/>
                </a:ext>
              </a:extLst>
            </p:cNvPr>
            <p:cNvSpPr/>
            <p:nvPr/>
          </p:nvSpPr>
          <p:spPr>
            <a:xfrm>
              <a:off x="10212768" y="754484"/>
              <a:ext cx="161639" cy="161544"/>
            </a:xfrm>
            <a:custGeom>
              <a:avLst/>
              <a:gdLst>
                <a:gd name="connsiteX0" fmla="*/ 0 w 161639"/>
                <a:gd name="connsiteY0" fmla="*/ 161544 h 161544"/>
                <a:gd name="connsiteX1" fmla="*/ 161639 w 161639"/>
                <a:gd name="connsiteY1" fmla="*/ 0 h 1615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61639" h="161544">
                  <a:moveTo>
                    <a:pt x="0" y="161544"/>
                  </a:moveTo>
                  <a:lnTo>
                    <a:pt x="161639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76" name="Forma livre: Forma 2075">
              <a:extLst>
                <a:ext uri="{FF2B5EF4-FFF2-40B4-BE49-F238E27FC236}">
                  <a16:creationId xmlns:a16="http://schemas.microsoft.com/office/drawing/2014/main" id="{02F86E70-58A9-12C2-DE8B-67E936F934C5}"/>
                </a:ext>
              </a:extLst>
            </p:cNvPr>
            <p:cNvSpPr/>
            <p:nvPr/>
          </p:nvSpPr>
          <p:spPr>
            <a:xfrm>
              <a:off x="10186289" y="385676"/>
              <a:ext cx="112776" cy="112776"/>
            </a:xfrm>
            <a:custGeom>
              <a:avLst/>
              <a:gdLst>
                <a:gd name="connsiteX0" fmla="*/ 0 w 112776"/>
                <a:gd name="connsiteY0" fmla="*/ 112776 h 112776"/>
                <a:gd name="connsiteX1" fmla="*/ 112776 w 112776"/>
                <a:gd name="connsiteY1" fmla="*/ 0 h 1127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776" h="112776">
                  <a:moveTo>
                    <a:pt x="0" y="112776"/>
                  </a:moveTo>
                  <a:lnTo>
                    <a:pt x="112776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77" name="Forma livre: Forma 2076">
              <a:extLst>
                <a:ext uri="{FF2B5EF4-FFF2-40B4-BE49-F238E27FC236}">
                  <a16:creationId xmlns:a16="http://schemas.microsoft.com/office/drawing/2014/main" id="{F21AAC52-E46A-D1A5-0AB0-A19CE95BA89F}"/>
                </a:ext>
              </a:extLst>
            </p:cNvPr>
            <p:cNvSpPr/>
            <p:nvPr/>
          </p:nvSpPr>
          <p:spPr>
            <a:xfrm>
              <a:off x="10228770" y="398344"/>
              <a:ext cx="158591" cy="158686"/>
            </a:xfrm>
            <a:custGeom>
              <a:avLst/>
              <a:gdLst>
                <a:gd name="connsiteX0" fmla="*/ 0 w 158591"/>
                <a:gd name="connsiteY0" fmla="*/ 158687 h 158686"/>
                <a:gd name="connsiteX1" fmla="*/ 158591 w 158591"/>
                <a:gd name="connsiteY1" fmla="*/ 0 h 1586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8591" h="158686">
                  <a:moveTo>
                    <a:pt x="0" y="158687"/>
                  </a:moveTo>
                  <a:lnTo>
                    <a:pt x="158591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78" name="Forma livre: Forma 2077">
              <a:extLst>
                <a:ext uri="{FF2B5EF4-FFF2-40B4-BE49-F238E27FC236}">
                  <a16:creationId xmlns:a16="http://schemas.microsoft.com/office/drawing/2014/main" id="{CBFF37E6-704A-B8B1-C6AB-631339CEBCB3}"/>
                </a:ext>
              </a:extLst>
            </p:cNvPr>
            <p:cNvSpPr/>
            <p:nvPr/>
          </p:nvSpPr>
          <p:spPr>
            <a:xfrm>
              <a:off x="10302398" y="812586"/>
              <a:ext cx="114871" cy="114871"/>
            </a:xfrm>
            <a:custGeom>
              <a:avLst/>
              <a:gdLst>
                <a:gd name="connsiteX0" fmla="*/ 0 w 114871"/>
                <a:gd name="connsiteY0" fmla="*/ 114871 h 114871"/>
                <a:gd name="connsiteX1" fmla="*/ 114872 w 114871"/>
                <a:gd name="connsiteY1" fmla="*/ 0 h 1148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4871" h="114871">
                  <a:moveTo>
                    <a:pt x="0" y="114871"/>
                  </a:moveTo>
                  <a:lnTo>
                    <a:pt x="114872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79" name="Forma livre: Forma 2078">
              <a:extLst>
                <a:ext uri="{FF2B5EF4-FFF2-40B4-BE49-F238E27FC236}">
                  <a16:creationId xmlns:a16="http://schemas.microsoft.com/office/drawing/2014/main" id="{18D21711-838E-BBD5-B1E5-C97A59FCCD4C}"/>
                </a:ext>
              </a:extLst>
            </p:cNvPr>
            <p:cNvSpPr/>
            <p:nvPr/>
          </p:nvSpPr>
          <p:spPr>
            <a:xfrm>
              <a:off x="10063416" y="658091"/>
              <a:ext cx="115443" cy="9525"/>
            </a:xfrm>
            <a:custGeom>
              <a:avLst/>
              <a:gdLst>
                <a:gd name="connsiteX0" fmla="*/ 0 w 115443"/>
                <a:gd name="connsiteY0" fmla="*/ 0 h 9525"/>
                <a:gd name="connsiteX1" fmla="*/ 115443 w 115443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5443" h="9525">
                  <a:moveTo>
                    <a:pt x="0" y="0"/>
                  </a:moveTo>
                  <a:lnTo>
                    <a:pt x="115443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80" name="Forma livre: Forma 2079">
              <a:extLst>
                <a:ext uri="{FF2B5EF4-FFF2-40B4-BE49-F238E27FC236}">
                  <a16:creationId xmlns:a16="http://schemas.microsoft.com/office/drawing/2014/main" id="{5B5EEB31-107D-7393-E948-8E93C67A6EAA}"/>
                </a:ext>
              </a:extLst>
            </p:cNvPr>
            <p:cNvSpPr/>
            <p:nvPr/>
          </p:nvSpPr>
          <p:spPr>
            <a:xfrm>
              <a:off x="10194766" y="547982"/>
              <a:ext cx="220313" cy="220218"/>
            </a:xfrm>
            <a:custGeom>
              <a:avLst/>
              <a:gdLst>
                <a:gd name="connsiteX0" fmla="*/ 110109 w 220313"/>
                <a:gd name="connsiteY0" fmla="*/ 0 h 220218"/>
                <a:gd name="connsiteX1" fmla="*/ 0 w 220313"/>
                <a:gd name="connsiteY1" fmla="*/ 110109 h 220218"/>
                <a:gd name="connsiteX2" fmla="*/ 110109 w 220313"/>
                <a:gd name="connsiteY2" fmla="*/ 220218 h 220218"/>
                <a:gd name="connsiteX3" fmla="*/ 220313 w 220313"/>
                <a:gd name="connsiteY3" fmla="*/ 110109 h 220218"/>
                <a:gd name="connsiteX4" fmla="*/ 110109 w 220313"/>
                <a:gd name="connsiteY4" fmla="*/ 0 h 220218"/>
                <a:gd name="connsiteX5" fmla="*/ 110109 w 220313"/>
                <a:gd name="connsiteY5" fmla="*/ 0 h 2202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20313" h="220218">
                  <a:moveTo>
                    <a:pt x="110109" y="0"/>
                  </a:moveTo>
                  <a:cubicBezTo>
                    <a:pt x="49244" y="0"/>
                    <a:pt x="0" y="49340"/>
                    <a:pt x="0" y="110109"/>
                  </a:cubicBezTo>
                  <a:cubicBezTo>
                    <a:pt x="0" y="170879"/>
                    <a:pt x="49339" y="220218"/>
                    <a:pt x="110109" y="220218"/>
                  </a:cubicBezTo>
                  <a:cubicBezTo>
                    <a:pt x="170878" y="220218"/>
                    <a:pt x="220313" y="170879"/>
                    <a:pt x="220313" y="110109"/>
                  </a:cubicBezTo>
                  <a:cubicBezTo>
                    <a:pt x="220313" y="49340"/>
                    <a:pt x="170974" y="0"/>
                    <a:pt x="110109" y="0"/>
                  </a:cubicBezTo>
                  <a:lnTo>
                    <a:pt x="110109" y="0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81" name="Forma livre: Forma 2080">
              <a:extLst>
                <a:ext uri="{FF2B5EF4-FFF2-40B4-BE49-F238E27FC236}">
                  <a16:creationId xmlns:a16="http://schemas.microsoft.com/office/drawing/2014/main" id="{F65A721D-EB26-BF1E-6E99-7017FACF61DE}"/>
                </a:ext>
              </a:extLst>
            </p:cNvPr>
            <p:cNvSpPr/>
            <p:nvPr/>
          </p:nvSpPr>
          <p:spPr>
            <a:xfrm>
              <a:off x="10371740" y="416917"/>
              <a:ext cx="207073" cy="459676"/>
            </a:xfrm>
            <a:custGeom>
              <a:avLst/>
              <a:gdLst>
                <a:gd name="connsiteX0" fmla="*/ 62960 w 207073"/>
                <a:gd name="connsiteY0" fmla="*/ 0 h 459676"/>
                <a:gd name="connsiteX1" fmla="*/ 207074 w 207073"/>
                <a:gd name="connsiteY1" fmla="*/ 241173 h 459676"/>
                <a:gd name="connsiteX2" fmla="*/ 98298 w 207073"/>
                <a:gd name="connsiteY2" fmla="*/ 459677 h 459676"/>
                <a:gd name="connsiteX3" fmla="*/ 0 w 207073"/>
                <a:gd name="connsiteY3" fmla="*/ 329565 h 4596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073" h="459676">
                  <a:moveTo>
                    <a:pt x="62960" y="0"/>
                  </a:moveTo>
                  <a:cubicBezTo>
                    <a:pt x="148781" y="46292"/>
                    <a:pt x="207074" y="136970"/>
                    <a:pt x="207074" y="241173"/>
                  </a:cubicBezTo>
                  <a:cubicBezTo>
                    <a:pt x="207074" y="330422"/>
                    <a:pt x="164402" y="409670"/>
                    <a:pt x="98298" y="459677"/>
                  </a:cubicBezTo>
                  <a:lnTo>
                    <a:pt x="0" y="329565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2093" name="Agrupar 2092">
            <a:extLst>
              <a:ext uri="{FF2B5EF4-FFF2-40B4-BE49-F238E27FC236}">
                <a16:creationId xmlns:a16="http://schemas.microsoft.com/office/drawing/2014/main" id="{330CF6F1-68DD-8A20-5DD3-5842A6EF2190}"/>
              </a:ext>
            </a:extLst>
          </p:cNvPr>
          <p:cNvGrpSpPr/>
          <p:nvPr/>
        </p:nvGrpSpPr>
        <p:grpSpPr>
          <a:xfrm>
            <a:off x="2619375" y="962891"/>
            <a:ext cx="241531" cy="324071"/>
            <a:chOff x="2982377" y="464601"/>
            <a:chExt cx="192854" cy="258759"/>
          </a:xfrm>
        </p:grpSpPr>
        <p:sp>
          <p:nvSpPr>
            <p:cNvPr id="2086" name="Forma livre: Forma 2085">
              <a:extLst>
                <a:ext uri="{FF2B5EF4-FFF2-40B4-BE49-F238E27FC236}">
                  <a16:creationId xmlns:a16="http://schemas.microsoft.com/office/drawing/2014/main" id="{C7284CE4-44F2-B7B8-8A2F-36CE43DA103A}"/>
                </a:ext>
              </a:extLst>
            </p:cNvPr>
            <p:cNvSpPr/>
            <p:nvPr/>
          </p:nvSpPr>
          <p:spPr>
            <a:xfrm>
              <a:off x="3039366" y="588780"/>
              <a:ext cx="134540" cy="134540"/>
            </a:xfrm>
            <a:custGeom>
              <a:avLst/>
              <a:gdLst>
                <a:gd name="connsiteX0" fmla="*/ 67270 w 134540"/>
                <a:gd name="connsiteY0" fmla="*/ 0 h 134540"/>
                <a:gd name="connsiteX1" fmla="*/ 0 w 134540"/>
                <a:gd name="connsiteY1" fmla="*/ 67270 h 134540"/>
                <a:gd name="connsiteX2" fmla="*/ 67270 w 134540"/>
                <a:gd name="connsiteY2" fmla="*/ 134541 h 134540"/>
                <a:gd name="connsiteX3" fmla="*/ 134541 w 134540"/>
                <a:gd name="connsiteY3" fmla="*/ 67270 h 134540"/>
                <a:gd name="connsiteX4" fmla="*/ 67270 w 134540"/>
                <a:gd name="connsiteY4" fmla="*/ 0 h 134540"/>
                <a:gd name="connsiteX5" fmla="*/ 67270 w 134540"/>
                <a:gd name="connsiteY5" fmla="*/ 0 h 1345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34540" h="134540">
                  <a:moveTo>
                    <a:pt x="67270" y="0"/>
                  </a:moveTo>
                  <a:cubicBezTo>
                    <a:pt x="30121" y="0"/>
                    <a:pt x="0" y="30121"/>
                    <a:pt x="0" y="67270"/>
                  </a:cubicBezTo>
                  <a:cubicBezTo>
                    <a:pt x="0" y="104419"/>
                    <a:pt x="30121" y="134541"/>
                    <a:pt x="67270" y="134541"/>
                  </a:cubicBezTo>
                  <a:cubicBezTo>
                    <a:pt x="104420" y="134541"/>
                    <a:pt x="134541" y="104419"/>
                    <a:pt x="134541" y="67270"/>
                  </a:cubicBezTo>
                  <a:cubicBezTo>
                    <a:pt x="134541" y="30121"/>
                    <a:pt x="104420" y="0"/>
                    <a:pt x="67270" y="0"/>
                  </a:cubicBezTo>
                  <a:lnTo>
                    <a:pt x="67270" y="0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87" name="Forma livre: Forma 2086">
              <a:extLst>
                <a:ext uri="{FF2B5EF4-FFF2-40B4-BE49-F238E27FC236}">
                  <a16:creationId xmlns:a16="http://schemas.microsoft.com/office/drawing/2014/main" id="{A24B5F62-BBDF-0ED0-6CE1-F5382579EDFE}"/>
                </a:ext>
              </a:extLst>
            </p:cNvPr>
            <p:cNvSpPr/>
            <p:nvPr/>
          </p:nvSpPr>
          <p:spPr>
            <a:xfrm>
              <a:off x="3038562" y="656010"/>
              <a:ext cx="136669" cy="4016"/>
            </a:xfrm>
            <a:custGeom>
              <a:avLst/>
              <a:gdLst>
                <a:gd name="connsiteX0" fmla="*/ 136669 w 136669"/>
                <a:gd name="connsiteY0" fmla="*/ 0 h 4016"/>
                <a:gd name="connsiteX1" fmla="*/ 0 w 136669"/>
                <a:gd name="connsiteY1" fmla="*/ 0 h 40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36669" h="4016">
                  <a:moveTo>
                    <a:pt x="136669" y="0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2088" name="Gráfico 2083">
              <a:extLst>
                <a:ext uri="{FF2B5EF4-FFF2-40B4-BE49-F238E27FC236}">
                  <a16:creationId xmlns:a16="http://schemas.microsoft.com/office/drawing/2014/main" id="{3DC848C1-1DF3-C542-CD7C-BD3BF745700B}"/>
                </a:ext>
              </a:extLst>
            </p:cNvPr>
            <p:cNvGrpSpPr/>
            <p:nvPr/>
          </p:nvGrpSpPr>
          <p:grpSpPr>
            <a:xfrm>
              <a:off x="3081491" y="588780"/>
              <a:ext cx="50331" cy="134580"/>
              <a:chOff x="3081491" y="588780"/>
              <a:chExt cx="50331" cy="134580"/>
            </a:xfrm>
            <a:noFill/>
          </p:grpSpPr>
          <p:sp>
            <p:nvSpPr>
              <p:cNvPr id="2089" name="Forma livre: Forma 2088">
                <a:extLst>
                  <a:ext uri="{FF2B5EF4-FFF2-40B4-BE49-F238E27FC236}">
                    <a16:creationId xmlns:a16="http://schemas.microsoft.com/office/drawing/2014/main" id="{D235E247-B029-03B0-D3CC-B95228DBD195}"/>
                  </a:ext>
                </a:extLst>
              </p:cNvPr>
              <p:cNvSpPr/>
              <p:nvPr/>
            </p:nvSpPr>
            <p:spPr>
              <a:xfrm>
                <a:off x="3081491" y="588780"/>
                <a:ext cx="23097" cy="134580"/>
              </a:xfrm>
              <a:custGeom>
                <a:avLst/>
                <a:gdLst>
                  <a:gd name="connsiteX0" fmla="*/ 23097 w 23097"/>
                  <a:gd name="connsiteY0" fmla="*/ 0 h 134580"/>
                  <a:gd name="connsiteX1" fmla="*/ 23097 w 23097"/>
                  <a:gd name="connsiteY1" fmla="*/ 134581 h 1345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3097" h="134580">
                    <a:moveTo>
                      <a:pt x="23097" y="0"/>
                    </a:moveTo>
                    <a:cubicBezTo>
                      <a:pt x="23097" y="0"/>
                      <a:pt x="-28872" y="56989"/>
                      <a:pt x="23097" y="134581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090" name="Forma livre: Forma 2089">
                <a:extLst>
                  <a:ext uri="{FF2B5EF4-FFF2-40B4-BE49-F238E27FC236}">
                    <a16:creationId xmlns:a16="http://schemas.microsoft.com/office/drawing/2014/main" id="{A93A0890-B2FD-36EE-F3A9-FBCF19019DEF}"/>
                  </a:ext>
                </a:extLst>
              </p:cNvPr>
              <p:cNvSpPr/>
              <p:nvPr/>
            </p:nvSpPr>
            <p:spPr>
              <a:xfrm>
                <a:off x="3108724" y="588780"/>
                <a:ext cx="23097" cy="134580"/>
              </a:xfrm>
              <a:custGeom>
                <a:avLst/>
                <a:gdLst>
                  <a:gd name="connsiteX0" fmla="*/ 0 w 23097"/>
                  <a:gd name="connsiteY0" fmla="*/ 0 h 134580"/>
                  <a:gd name="connsiteX1" fmla="*/ 0 w 23097"/>
                  <a:gd name="connsiteY1" fmla="*/ 134581 h 1345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3097" h="134580">
                    <a:moveTo>
                      <a:pt x="0" y="0"/>
                    </a:moveTo>
                    <a:cubicBezTo>
                      <a:pt x="0" y="0"/>
                      <a:pt x="51969" y="56989"/>
                      <a:pt x="0" y="134581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2091" name="Forma livre: Forma 2090">
              <a:extLst>
                <a:ext uri="{FF2B5EF4-FFF2-40B4-BE49-F238E27FC236}">
                  <a16:creationId xmlns:a16="http://schemas.microsoft.com/office/drawing/2014/main" id="{93C66A08-C1C7-8AAB-C8C1-045B5016C034}"/>
                </a:ext>
              </a:extLst>
            </p:cNvPr>
            <p:cNvSpPr/>
            <p:nvPr/>
          </p:nvSpPr>
          <p:spPr>
            <a:xfrm>
              <a:off x="2998763" y="464601"/>
              <a:ext cx="55623" cy="55583"/>
            </a:xfrm>
            <a:custGeom>
              <a:avLst/>
              <a:gdLst>
                <a:gd name="connsiteX0" fmla="*/ 55583 w 55623"/>
                <a:gd name="connsiteY0" fmla="*/ 27792 h 55583"/>
                <a:gd name="connsiteX1" fmla="*/ 27792 w 55623"/>
                <a:gd name="connsiteY1" fmla="*/ 55583 h 55583"/>
                <a:gd name="connsiteX2" fmla="*/ 0 w 55623"/>
                <a:gd name="connsiteY2" fmla="*/ 27792 h 55583"/>
                <a:gd name="connsiteX3" fmla="*/ 27832 w 55623"/>
                <a:gd name="connsiteY3" fmla="*/ 0 h 55583"/>
                <a:gd name="connsiteX4" fmla="*/ 55624 w 55623"/>
                <a:gd name="connsiteY4" fmla="*/ 27792 h 555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623" h="55583">
                  <a:moveTo>
                    <a:pt x="55583" y="27792"/>
                  </a:moveTo>
                  <a:cubicBezTo>
                    <a:pt x="55583" y="43133"/>
                    <a:pt x="43133" y="55583"/>
                    <a:pt x="27792" y="55583"/>
                  </a:cubicBezTo>
                  <a:cubicBezTo>
                    <a:pt x="12450" y="55583"/>
                    <a:pt x="0" y="43133"/>
                    <a:pt x="0" y="27792"/>
                  </a:cubicBezTo>
                  <a:cubicBezTo>
                    <a:pt x="0" y="12450"/>
                    <a:pt x="12490" y="0"/>
                    <a:pt x="27832" y="0"/>
                  </a:cubicBezTo>
                  <a:cubicBezTo>
                    <a:pt x="43174" y="0"/>
                    <a:pt x="55624" y="12450"/>
                    <a:pt x="55624" y="27792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92" name="Forma livre: Forma 2091">
              <a:extLst>
                <a:ext uri="{FF2B5EF4-FFF2-40B4-BE49-F238E27FC236}">
                  <a16:creationId xmlns:a16="http://schemas.microsoft.com/office/drawing/2014/main" id="{1A13CCDE-9786-FA9B-6E7F-ED532EE69D09}"/>
                </a:ext>
              </a:extLst>
            </p:cNvPr>
            <p:cNvSpPr/>
            <p:nvPr/>
          </p:nvSpPr>
          <p:spPr>
            <a:xfrm>
              <a:off x="2982377" y="545727"/>
              <a:ext cx="88274" cy="174581"/>
            </a:xfrm>
            <a:custGeom>
              <a:avLst/>
              <a:gdLst>
                <a:gd name="connsiteX0" fmla="*/ 88275 w 88274"/>
                <a:gd name="connsiteY0" fmla="*/ 32049 h 174581"/>
                <a:gd name="connsiteX1" fmla="*/ 88275 w 88274"/>
                <a:gd name="connsiteY1" fmla="*/ 21808 h 174581"/>
                <a:gd name="connsiteX2" fmla="*/ 66427 w 88274"/>
                <a:gd name="connsiteY2" fmla="*/ 0 h 174581"/>
                <a:gd name="connsiteX3" fmla="*/ 21808 w 88274"/>
                <a:gd name="connsiteY3" fmla="*/ 0 h 174581"/>
                <a:gd name="connsiteX4" fmla="*/ 0 w 88274"/>
                <a:gd name="connsiteY4" fmla="*/ 21888 h 174581"/>
                <a:gd name="connsiteX5" fmla="*/ 80 w 88274"/>
                <a:gd name="connsiteY5" fmla="*/ 81889 h 174581"/>
                <a:gd name="connsiteX6" fmla="*/ 21928 w 88274"/>
                <a:gd name="connsiteY6" fmla="*/ 103697 h 174581"/>
                <a:gd name="connsiteX7" fmla="*/ 21928 w 88274"/>
                <a:gd name="connsiteY7" fmla="*/ 174581 h 1745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8274" h="174581">
                  <a:moveTo>
                    <a:pt x="88275" y="32049"/>
                  </a:moveTo>
                  <a:lnTo>
                    <a:pt x="88275" y="21808"/>
                  </a:lnTo>
                  <a:cubicBezTo>
                    <a:pt x="88275" y="9799"/>
                    <a:pt x="78435" y="0"/>
                    <a:pt x="66427" y="0"/>
                  </a:cubicBezTo>
                  <a:lnTo>
                    <a:pt x="21808" y="0"/>
                  </a:lnTo>
                  <a:cubicBezTo>
                    <a:pt x="9799" y="80"/>
                    <a:pt x="0" y="9880"/>
                    <a:pt x="0" y="21888"/>
                  </a:cubicBezTo>
                  <a:lnTo>
                    <a:pt x="80" y="81889"/>
                  </a:lnTo>
                  <a:cubicBezTo>
                    <a:pt x="80" y="93897"/>
                    <a:pt x="9920" y="103697"/>
                    <a:pt x="21928" y="103697"/>
                  </a:cubicBezTo>
                  <a:lnTo>
                    <a:pt x="21928" y="174581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2107" name="Agrupar 2106">
            <a:extLst>
              <a:ext uri="{FF2B5EF4-FFF2-40B4-BE49-F238E27FC236}">
                <a16:creationId xmlns:a16="http://schemas.microsoft.com/office/drawing/2014/main" id="{4C8977C0-8336-8EF1-171A-F866D8DAE464}"/>
              </a:ext>
            </a:extLst>
          </p:cNvPr>
          <p:cNvGrpSpPr/>
          <p:nvPr/>
        </p:nvGrpSpPr>
        <p:grpSpPr>
          <a:xfrm>
            <a:off x="3288507" y="962491"/>
            <a:ext cx="245268" cy="328856"/>
            <a:chOff x="3148806" y="805656"/>
            <a:chExt cx="467582" cy="626935"/>
          </a:xfrm>
        </p:grpSpPr>
        <p:sp>
          <p:nvSpPr>
            <p:cNvPr id="2097" name="Forma livre: Forma 2096">
              <a:extLst>
                <a:ext uri="{FF2B5EF4-FFF2-40B4-BE49-F238E27FC236}">
                  <a16:creationId xmlns:a16="http://schemas.microsoft.com/office/drawing/2014/main" id="{F994761D-6AD0-FF31-C79B-7AB0D1A6636A}"/>
                </a:ext>
              </a:extLst>
            </p:cNvPr>
            <p:cNvSpPr/>
            <p:nvPr/>
          </p:nvSpPr>
          <p:spPr>
            <a:xfrm>
              <a:off x="3271107" y="1087310"/>
              <a:ext cx="345281" cy="345281"/>
            </a:xfrm>
            <a:custGeom>
              <a:avLst/>
              <a:gdLst>
                <a:gd name="connsiteX0" fmla="*/ 172593 w 345281"/>
                <a:gd name="connsiteY0" fmla="*/ 0 h 345281"/>
                <a:gd name="connsiteX1" fmla="*/ 0 w 345281"/>
                <a:gd name="connsiteY1" fmla="*/ 172688 h 345281"/>
                <a:gd name="connsiteX2" fmla="*/ 172593 w 345281"/>
                <a:gd name="connsiteY2" fmla="*/ 345281 h 345281"/>
                <a:gd name="connsiteX3" fmla="*/ 345281 w 345281"/>
                <a:gd name="connsiteY3" fmla="*/ 172688 h 345281"/>
                <a:gd name="connsiteX4" fmla="*/ 172593 w 345281"/>
                <a:gd name="connsiteY4" fmla="*/ 0 h 345281"/>
                <a:gd name="connsiteX5" fmla="*/ 172593 w 345281"/>
                <a:gd name="connsiteY5" fmla="*/ 0 h 3452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45281" h="345281">
                  <a:moveTo>
                    <a:pt x="172593" y="0"/>
                  </a:moveTo>
                  <a:cubicBezTo>
                    <a:pt x="77248" y="0"/>
                    <a:pt x="0" y="77343"/>
                    <a:pt x="0" y="172688"/>
                  </a:cubicBezTo>
                  <a:cubicBezTo>
                    <a:pt x="0" y="268034"/>
                    <a:pt x="77248" y="345281"/>
                    <a:pt x="172593" y="345281"/>
                  </a:cubicBezTo>
                  <a:cubicBezTo>
                    <a:pt x="267938" y="345281"/>
                    <a:pt x="345281" y="268034"/>
                    <a:pt x="345281" y="172688"/>
                  </a:cubicBezTo>
                  <a:cubicBezTo>
                    <a:pt x="345281" y="77343"/>
                    <a:pt x="267938" y="0"/>
                    <a:pt x="172593" y="0"/>
                  </a:cubicBezTo>
                  <a:lnTo>
                    <a:pt x="172593" y="0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98" name="Forma livre: Forma 2097">
              <a:extLst>
                <a:ext uri="{FF2B5EF4-FFF2-40B4-BE49-F238E27FC236}">
                  <a16:creationId xmlns:a16="http://schemas.microsoft.com/office/drawing/2014/main" id="{102AFA31-B08E-3369-9D20-D43DA962CC50}"/>
                </a:ext>
              </a:extLst>
            </p:cNvPr>
            <p:cNvSpPr/>
            <p:nvPr/>
          </p:nvSpPr>
          <p:spPr>
            <a:xfrm>
              <a:off x="3187668" y="805656"/>
              <a:ext cx="131921" cy="131826"/>
            </a:xfrm>
            <a:custGeom>
              <a:avLst/>
              <a:gdLst>
                <a:gd name="connsiteX0" fmla="*/ 131826 w 131921"/>
                <a:gd name="connsiteY0" fmla="*/ 65913 h 131826"/>
                <a:gd name="connsiteX1" fmla="*/ 65913 w 131921"/>
                <a:gd name="connsiteY1" fmla="*/ 131826 h 131826"/>
                <a:gd name="connsiteX2" fmla="*/ 0 w 131921"/>
                <a:gd name="connsiteY2" fmla="*/ 65913 h 131826"/>
                <a:gd name="connsiteX3" fmla="*/ 66008 w 131921"/>
                <a:gd name="connsiteY3" fmla="*/ 0 h 131826"/>
                <a:gd name="connsiteX4" fmla="*/ 131921 w 131921"/>
                <a:gd name="connsiteY4" fmla="*/ 65913 h 1318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1921" h="131826">
                  <a:moveTo>
                    <a:pt x="131826" y="65913"/>
                  </a:moveTo>
                  <a:cubicBezTo>
                    <a:pt x="131826" y="102299"/>
                    <a:pt x="102299" y="131826"/>
                    <a:pt x="65913" y="131826"/>
                  </a:cubicBezTo>
                  <a:cubicBezTo>
                    <a:pt x="29528" y="131826"/>
                    <a:pt x="0" y="102299"/>
                    <a:pt x="0" y="65913"/>
                  </a:cubicBezTo>
                  <a:cubicBezTo>
                    <a:pt x="0" y="29528"/>
                    <a:pt x="29623" y="0"/>
                    <a:pt x="66008" y="0"/>
                  </a:cubicBezTo>
                  <a:cubicBezTo>
                    <a:pt x="102394" y="0"/>
                    <a:pt x="131921" y="29528"/>
                    <a:pt x="131921" y="65913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99" name="Forma livre: Forma 2098">
              <a:extLst>
                <a:ext uri="{FF2B5EF4-FFF2-40B4-BE49-F238E27FC236}">
                  <a16:creationId xmlns:a16="http://schemas.microsoft.com/office/drawing/2014/main" id="{75598B84-9909-83D4-67B1-D35C6506AC7E}"/>
                </a:ext>
              </a:extLst>
            </p:cNvPr>
            <p:cNvSpPr/>
            <p:nvPr/>
          </p:nvSpPr>
          <p:spPr>
            <a:xfrm>
              <a:off x="3148806" y="998061"/>
              <a:ext cx="209359" cy="414051"/>
            </a:xfrm>
            <a:custGeom>
              <a:avLst/>
              <a:gdLst>
                <a:gd name="connsiteX0" fmla="*/ 209360 w 209359"/>
                <a:gd name="connsiteY0" fmla="*/ 76009 h 414051"/>
                <a:gd name="connsiteX1" fmla="*/ 209360 w 209359"/>
                <a:gd name="connsiteY1" fmla="*/ 51721 h 414051"/>
                <a:gd name="connsiteX2" fmla="*/ 157544 w 209359"/>
                <a:gd name="connsiteY2" fmla="*/ 0 h 414051"/>
                <a:gd name="connsiteX3" fmla="*/ 51721 w 209359"/>
                <a:gd name="connsiteY3" fmla="*/ 0 h 414051"/>
                <a:gd name="connsiteX4" fmla="*/ 0 w 209359"/>
                <a:gd name="connsiteY4" fmla="*/ 51911 h 414051"/>
                <a:gd name="connsiteX5" fmla="*/ 190 w 209359"/>
                <a:gd name="connsiteY5" fmla="*/ 194215 h 414051"/>
                <a:gd name="connsiteX6" fmla="*/ 52007 w 209359"/>
                <a:gd name="connsiteY6" fmla="*/ 245936 h 414051"/>
                <a:gd name="connsiteX7" fmla="*/ 52007 w 209359"/>
                <a:gd name="connsiteY7" fmla="*/ 414052 h 4140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09359" h="414051">
                  <a:moveTo>
                    <a:pt x="209360" y="76009"/>
                  </a:moveTo>
                  <a:lnTo>
                    <a:pt x="209360" y="51721"/>
                  </a:lnTo>
                  <a:cubicBezTo>
                    <a:pt x="209360" y="23241"/>
                    <a:pt x="186023" y="0"/>
                    <a:pt x="157544" y="0"/>
                  </a:cubicBezTo>
                  <a:lnTo>
                    <a:pt x="51721" y="0"/>
                  </a:lnTo>
                  <a:cubicBezTo>
                    <a:pt x="23241" y="190"/>
                    <a:pt x="0" y="23431"/>
                    <a:pt x="0" y="51911"/>
                  </a:cubicBezTo>
                  <a:lnTo>
                    <a:pt x="190" y="194215"/>
                  </a:lnTo>
                  <a:cubicBezTo>
                    <a:pt x="190" y="222695"/>
                    <a:pt x="23527" y="245936"/>
                    <a:pt x="52007" y="245936"/>
                  </a:cubicBezTo>
                  <a:lnTo>
                    <a:pt x="52007" y="414052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2100" name="Gráfico 2094">
              <a:extLst>
                <a:ext uri="{FF2B5EF4-FFF2-40B4-BE49-F238E27FC236}">
                  <a16:creationId xmlns:a16="http://schemas.microsoft.com/office/drawing/2014/main" id="{583F03FD-5826-E9C1-01A1-459FA635DC89}"/>
                </a:ext>
              </a:extLst>
            </p:cNvPr>
            <p:cNvGrpSpPr/>
            <p:nvPr/>
          </p:nvGrpSpPr>
          <p:grpSpPr>
            <a:xfrm>
              <a:off x="3443700" y="1103884"/>
              <a:ext cx="9525" cy="311943"/>
              <a:chOff x="3443700" y="1103884"/>
              <a:chExt cx="9525" cy="311943"/>
            </a:xfrm>
          </p:grpSpPr>
          <p:sp>
            <p:nvSpPr>
              <p:cNvPr id="2101" name="Forma livre: Forma 2100">
                <a:extLst>
                  <a:ext uri="{FF2B5EF4-FFF2-40B4-BE49-F238E27FC236}">
                    <a16:creationId xmlns:a16="http://schemas.microsoft.com/office/drawing/2014/main" id="{C1737F62-1039-342D-76A8-797E677BBC44}"/>
                  </a:ext>
                </a:extLst>
              </p:cNvPr>
              <p:cNvSpPr/>
              <p:nvPr/>
            </p:nvSpPr>
            <p:spPr>
              <a:xfrm>
                <a:off x="3443700" y="1103884"/>
                <a:ext cx="9525" cy="42100"/>
              </a:xfrm>
              <a:custGeom>
                <a:avLst/>
                <a:gdLst>
                  <a:gd name="connsiteX0" fmla="*/ 0 w 9525"/>
                  <a:gd name="connsiteY0" fmla="*/ 0 h 42100"/>
                  <a:gd name="connsiteX1" fmla="*/ 0 w 9525"/>
                  <a:gd name="connsiteY1" fmla="*/ 42100 h 42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525" h="42100">
                    <a:moveTo>
                      <a:pt x="0" y="0"/>
                    </a:moveTo>
                    <a:lnTo>
                      <a:pt x="0" y="4210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102" name="Forma livre: Forma 2101">
                <a:extLst>
                  <a:ext uri="{FF2B5EF4-FFF2-40B4-BE49-F238E27FC236}">
                    <a16:creationId xmlns:a16="http://schemas.microsoft.com/office/drawing/2014/main" id="{30387D57-7CE8-3BAF-161C-B2A397C0A5E0}"/>
                  </a:ext>
                </a:extLst>
              </p:cNvPr>
              <p:cNvSpPr/>
              <p:nvPr/>
            </p:nvSpPr>
            <p:spPr>
              <a:xfrm>
                <a:off x="3443700" y="1373822"/>
                <a:ext cx="9525" cy="42005"/>
              </a:xfrm>
              <a:custGeom>
                <a:avLst/>
                <a:gdLst>
                  <a:gd name="connsiteX0" fmla="*/ 0 w 9525"/>
                  <a:gd name="connsiteY0" fmla="*/ 0 h 42005"/>
                  <a:gd name="connsiteX1" fmla="*/ 0 w 9525"/>
                  <a:gd name="connsiteY1" fmla="*/ 42005 h 420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525" h="42005">
                    <a:moveTo>
                      <a:pt x="0" y="0"/>
                    </a:moveTo>
                    <a:lnTo>
                      <a:pt x="0" y="42005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2103" name="Gráfico 2094">
              <a:extLst>
                <a:ext uri="{FF2B5EF4-FFF2-40B4-BE49-F238E27FC236}">
                  <a16:creationId xmlns:a16="http://schemas.microsoft.com/office/drawing/2014/main" id="{9E8C04EC-FFC4-3B37-C388-17FB7ED94A82}"/>
                </a:ext>
              </a:extLst>
            </p:cNvPr>
            <p:cNvGrpSpPr/>
            <p:nvPr/>
          </p:nvGrpSpPr>
          <p:grpSpPr>
            <a:xfrm>
              <a:off x="3287395" y="1259998"/>
              <a:ext cx="312134" cy="9525"/>
              <a:chOff x="3287395" y="1259998"/>
              <a:chExt cx="312134" cy="9525"/>
            </a:xfrm>
          </p:grpSpPr>
          <p:sp>
            <p:nvSpPr>
              <p:cNvPr id="2104" name="Forma livre: Forma 2103">
                <a:extLst>
                  <a:ext uri="{FF2B5EF4-FFF2-40B4-BE49-F238E27FC236}">
                    <a16:creationId xmlns:a16="http://schemas.microsoft.com/office/drawing/2014/main" id="{6D418A91-9764-11C6-48DF-DE83D9132FC2}"/>
                  </a:ext>
                </a:extLst>
              </p:cNvPr>
              <p:cNvSpPr/>
              <p:nvPr/>
            </p:nvSpPr>
            <p:spPr>
              <a:xfrm>
                <a:off x="3557428" y="1259998"/>
                <a:ext cx="42100" cy="9525"/>
              </a:xfrm>
              <a:custGeom>
                <a:avLst/>
                <a:gdLst>
                  <a:gd name="connsiteX0" fmla="*/ 42100 w 42100"/>
                  <a:gd name="connsiteY0" fmla="*/ 0 h 9525"/>
                  <a:gd name="connsiteX1" fmla="*/ 0 w 42100"/>
                  <a:gd name="connsiteY1" fmla="*/ 0 h 9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2100" h="9525">
                    <a:moveTo>
                      <a:pt x="42100" y="0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105" name="Forma livre: Forma 2104">
                <a:extLst>
                  <a:ext uri="{FF2B5EF4-FFF2-40B4-BE49-F238E27FC236}">
                    <a16:creationId xmlns:a16="http://schemas.microsoft.com/office/drawing/2014/main" id="{F822B65D-84FF-C63D-ED1E-59A2EC23934E}"/>
                  </a:ext>
                </a:extLst>
              </p:cNvPr>
              <p:cNvSpPr/>
              <p:nvPr/>
            </p:nvSpPr>
            <p:spPr>
              <a:xfrm>
                <a:off x="3287395" y="1259998"/>
                <a:ext cx="42100" cy="9525"/>
              </a:xfrm>
              <a:custGeom>
                <a:avLst/>
                <a:gdLst>
                  <a:gd name="connsiteX0" fmla="*/ 42100 w 42100"/>
                  <a:gd name="connsiteY0" fmla="*/ 0 h 9525"/>
                  <a:gd name="connsiteX1" fmla="*/ 0 w 42100"/>
                  <a:gd name="connsiteY1" fmla="*/ 0 h 9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2100" h="9525">
                    <a:moveTo>
                      <a:pt x="42100" y="0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2106" name="Forma livre: Forma 2105">
              <a:extLst>
                <a:ext uri="{FF2B5EF4-FFF2-40B4-BE49-F238E27FC236}">
                  <a16:creationId xmlns:a16="http://schemas.microsoft.com/office/drawing/2014/main" id="{47AB8751-466C-0128-BC1B-86C5FEF70A5B}"/>
                </a:ext>
              </a:extLst>
            </p:cNvPr>
            <p:cNvSpPr/>
            <p:nvPr/>
          </p:nvSpPr>
          <p:spPr>
            <a:xfrm>
              <a:off x="3395122" y="1199610"/>
              <a:ext cx="122015" cy="74580"/>
            </a:xfrm>
            <a:custGeom>
              <a:avLst/>
              <a:gdLst>
                <a:gd name="connsiteX0" fmla="*/ 0 w 122015"/>
                <a:gd name="connsiteY0" fmla="*/ 26860 h 74580"/>
                <a:gd name="connsiteX1" fmla="*/ 48482 w 122015"/>
                <a:gd name="connsiteY1" fmla="*/ 74581 h 74580"/>
                <a:gd name="connsiteX2" fmla="*/ 122015 w 122015"/>
                <a:gd name="connsiteY2" fmla="*/ 0 h 745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2015" h="74580">
                  <a:moveTo>
                    <a:pt x="0" y="26860"/>
                  </a:moveTo>
                  <a:lnTo>
                    <a:pt x="48482" y="74581"/>
                  </a:lnTo>
                  <a:lnTo>
                    <a:pt x="122015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2113" name="Agrupar 2112">
            <a:extLst>
              <a:ext uri="{FF2B5EF4-FFF2-40B4-BE49-F238E27FC236}">
                <a16:creationId xmlns:a16="http://schemas.microsoft.com/office/drawing/2014/main" id="{62D96E77-DDEE-73DA-5CEE-4A9039881575}"/>
              </a:ext>
            </a:extLst>
          </p:cNvPr>
          <p:cNvGrpSpPr/>
          <p:nvPr/>
        </p:nvGrpSpPr>
        <p:grpSpPr>
          <a:xfrm>
            <a:off x="1448249" y="2054224"/>
            <a:ext cx="158301" cy="368435"/>
            <a:chOff x="1495874" y="1854041"/>
            <a:chExt cx="297483" cy="692371"/>
          </a:xfrm>
        </p:grpSpPr>
        <p:sp>
          <p:nvSpPr>
            <p:cNvPr id="2111" name="Forma livre: Forma 2110">
              <a:extLst>
                <a:ext uri="{FF2B5EF4-FFF2-40B4-BE49-F238E27FC236}">
                  <a16:creationId xmlns:a16="http://schemas.microsoft.com/office/drawing/2014/main" id="{B434FC38-0454-47D7-6537-F99B20320FE3}"/>
                </a:ext>
              </a:extLst>
            </p:cNvPr>
            <p:cNvSpPr/>
            <p:nvPr/>
          </p:nvSpPr>
          <p:spPr>
            <a:xfrm>
              <a:off x="1553337" y="1854041"/>
              <a:ext cx="183070" cy="183070"/>
            </a:xfrm>
            <a:custGeom>
              <a:avLst/>
              <a:gdLst>
                <a:gd name="connsiteX0" fmla="*/ 91535 w 183070"/>
                <a:gd name="connsiteY0" fmla="*/ 0 h 183070"/>
                <a:gd name="connsiteX1" fmla="*/ 0 w 183070"/>
                <a:gd name="connsiteY1" fmla="*/ 91535 h 183070"/>
                <a:gd name="connsiteX2" fmla="*/ 91535 w 183070"/>
                <a:gd name="connsiteY2" fmla="*/ 183071 h 183070"/>
                <a:gd name="connsiteX3" fmla="*/ 183071 w 183070"/>
                <a:gd name="connsiteY3" fmla="*/ 91535 h 183070"/>
                <a:gd name="connsiteX4" fmla="*/ 91535 w 183070"/>
                <a:gd name="connsiteY4" fmla="*/ 0 h 183070"/>
                <a:gd name="connsiteX5" fmla="*/ 91535 w 183070"/>
                <a:gd name="connsiteY5" fmla="*/ 0 h 1830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3070" h="183070">
                  <a:moveTo>
                    <a:pt x="91535" y="0"/>
                  </a:moveTo>
                  <a:cubicBezTo>
                    <a:pt x="40957" y="0"/>
                    <a:pt x="0" y="40958"/>
                    <a:pt x="0" y="91535"/>
                  </a:cubicBezTo>
                  <a:cubicBezTo>
                    <a:pt x="0" y="142113"/>
                    <a:pt x="40957" y="183071"/>
                    <a:pt x="91535" y="183071"/>
                  </a:cubicBezTo>
                  <a:cubicBezTo>
                    <a:pt x="142113" y="183071"/>
                    <a:pt x="183071" y="142113"/>
                    <a:pt x="183071" y="91535"/>
                  </a:cubicBezTo>
                  <a:cubicBezTo>
                    <a:pt x="183071" y="40958"/>
                    <a:pt x="142113" y="0"/>
                    <a:pt x="91535" y="0"/>
                  </a:cubicBezTo>
                  <a:lnTo>
                    <a:pt x="91535" y="0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12" name="Forma livre: Forma 2111">
              <a:extLst>
                <a:ext uri="{FF2B5EF4-FFF2-40B4-BE49-F238E27FC236}">
                  <a16:creationId xmlns:a16="http://schemas.microsoft.com/office/drawing/2014/main" id="{917391CB-9BFD-8A68-B49E-5EB86A24E547}"/>
                </a:ext>
              </a:extLst>
            </p:cNvPr>
            <p:cNvSpPr/>
            <p:nvPr/>
          </p:nvSpPr>
          <p:spPr>
            <a:xfrm>
              <a:off x="1495874" y="2091975"/>
              <a:ext cx="297483" cy="454437"/>
            </a:xfrm>
            <a:custGeom>
              <a:avLst/>
              <a:gdLst>
                <a:gd name="connsiteX0" fmla="*/ 207005 w 297483"/>
                <a:gd name="connsiteY0" fmla="*/ 454438 h 454437"/>
                <a:gd name="connsiteX1" fmla="*/ 207005 w 297483"/>
                <a:gd name="connsiteY1" fmla="*/ 272606 h 454437"/>
                <a:gd name="connsiteX2" fmla="*/ 269965 w 297483"/>
                <a:gd name="connsiteY2" fmla="*/ 272606 h 454437"/>
                <a:gd name="connsiteX3" fmla="*/ 295492 w 297483"/>
                <a:gd name="connsiteY3" fmla="*/ 236696 h 454437"/>
                <a:gd name="connsiteX4" fmla="*/ 208434 w 297483"/>
                <a:gd name="connsiteY4" fmla="*/ 0 h 454437"/>
                <a:gd name="connsiteX5" fmla="*/ 89086 w 297483"/>
                <a:gd name="connsiteY5" fmla="*/ 0 h 454437"/>
                <a:gd name="connsiteX6" fmla="*/ 2027 w 297483"/>
                <a:gd name="connsiteY6" fmla="*/ 236601 h 454437"/>
                <a:gd name="connsiteX7" fmla="*/ 27554 w 297483"/>
                <a:gd name="connsiteY7" fmla="*/ 272510 h 454437"/>
                <a:gd name="connsiteX8" fmla="*/ 90514 w 297483"/>
                <a:gd name="connsiteY8" fmla="*/ 272510 h 454437"/>
                <a:gd name="connsiteX9" fmla="*/ 90514 w 297483"/>
                <a:gd name="connsiteY9" fmla="*/ 454343 h 4544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7483" h="454437">
                  <a:moveTo>
                    <a:pt x="207005" y="454438"/>
                  </a:moveTo>
                  <a:lnTo>
                    <a:pt x="207005" y="272606"/>
                  </a:lnTo>
                  <a:lnTo>
                    <a:pt x="269965" y="272606"/>
                  </a:lnTo>
                  <a:cubicBezTo>
                    <a:pt x="290920" y="272606"/>
                    <a:pt x="302350" y="256413"/>
                    <a:pt x="295492" y="236696"/>
                  </a:cubicBezTo>
                  <a:lnTo>
                    <a:pt x="208434" y="0"/>
                  </a:lnTo>
                  <a:lnTo>
                    <a:pt x="89086" y="0"/>
                  </a:lnTo>
                  <a:lnTo>
                    <a:pt x="2027" y="236601"/>
                  </a:lnTo>
                  <a:cubicBezTo>
                    <a:pt x="-4926" y="256413"/>
                    <a:pt x="6599" y="272510"/>
                    <a:pt x="27554" y="272510"/>
                  </a:cubicBezTo>
                  <a:lnTo>
                    <a:pt x="90514" y="272510"/>
                  </a:lnTo>
                  <a:lnTo>
                    <a:pt x="90514" y="454343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</p:spTree>
    <p:extLst>
      <p:ext uri="{BB962C8B-B14F-4D97-AF65-F5344CB8AC3E}">
        <p14:creationId xmlns:p14="http://schemas.microsoft.com/office/powerpoint/2010/main" val="11240183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áfico 2">
            <a:extLst>
              <a:ext uri="{FF2B5EF4-FFF2-40B4-BE49-F238E27FC236}">
                <a16:creationId xmlns:a16="http://schemas.microsoft.com/office/drawing/2014/main" id="{F8C17166-00EC-B0E7-E8D1-72C153A10CE5}"/>
              </a:ext>
            </a:extLst>
          </p:cNvPr>
          <p:cNvGrpSpPr/>
          <p:nvPr/>
        </p:nvGrpSpPr>
        <p:grpSpPr>
          <a:xfrm>
            <a:off x="2072287" y="1532380"/>
            <a:ext cx="294667" cy="313833"/>
            <a:chOff x="2072287" y="1532380"/>
            <a:chExt cx="294667" cy="313833"/>
          </a:xfrm>
          <a:noFill/>
        </p:grpSpPr>
        <p:sp>
          <p:nvSpPr>
            <p:cNvPr id="23" name="Forma livre: Forma 22">
              <a:extLst>
                <a:ext uri="{FF2B5EF4-FFF2-40B4-BE49-F238E27FC236}">
                  <a16:creationId xmlns:a16="http://schemas.microsoft.com/office/drawing/2014/main" id="{FD6B3317-41F8-A439-FA0D-2CA806860E69}"/>
                </a:ext>
              </a:extLst>
            </p:cNvPr>
            <p:cNvSpPr/>
            <p:nvPr/>
          </p:nvSpPr>
          <p:spPr>
            <a:xfrm>
              <a:off x="2295958" y="1700888"/>
              <a:ext cx="4899" cy="142091"/>
            </a:xfrm>
            <a:custGeom>
              <a:avLst/>
              <a:gdLst>
                <a:gd name="connsiteX0" fmla="*/ 0 w 4899"/>
                <a:gd name="connsiteY0" fmla="*/ 142091 h 142091"/>
                <a:gd name="connsiteX1" fmla="*/ 0 w 4899"/>
                <a:gd name="connsiteY1" fmla="*/ 0 h 1420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899" h="142091">
                  <a:moveTo>
                    <a:pt x="0" y="142091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24" name="Gráfico 2">
              <a:extLst>
                <a:ext uri="{FF2B5EF4-FFF2-40B4-BE49-F238E27FC236}">
                  <a16:creationId xmlns:a16="http://schemas.microsoft.com/office/drawing/2014/main" id="{9EF09DC8-00E5-6120-2FBB-828C0AA55B58}"/>
                </a:ext>
              </a:extLst>
            </p:cNvPr>
            <p:cNvGrpSpPr/>
            <p:nvPr/>
          </p:nvGrpSpPr>
          <p:grpSpPr>
            <a:xfrm>
              <a:off x="2267001" y="1714705"/>
              <a:ext cx="57865" cy="114505"/>
              <a:chOff x="2267001" y="1714705"/>
              <a:chExt cx="57865" cy="114505"/>
            </a:xfrm>
          </p:grpSpPr>
          <p:grpSp>
            <p:nvGrpSpPr>
              <p:cNvPr id="25" name="Gráfico 2">
                <a:extLst>
                  <a:ext uri="{FF2B5EF4-FFF2-40B4-BE49-F238E27FC236}">
                    <a16:creationId xmlns:a16="http://schemas.microsoft.com/office/drawing/2014/main" id="{5AD3E2F1-8BA5-43DC-0550-30C4D42E73C5}"/>
                  </a:ext>
                </a:extLst>
              </p:cNvPr>
              <p:cNvGrpSpPr/>
              <p:nvPr/>
            </p:nvGrpSpPr>
            <p:grpSpPr>
              <a:xfrm>
                <a:off x="2267001" y="1714705"/>
                <a:ext cx="57865" cy="23959"/>
                <a:chOff x="2267001" y="1714705"/>
                <a:chExt cx="57865" cy="23959"/>
              </a:xfrm>
            </p:grpSpPr>
            <p:sp>
              <p:nvSpPr>
                <p:cNvPr id="26" name="Forma livre: Forma 25">
                  <a:extLst>
                    <a:ext uri="{FF2B5EF4-FFF2-40B4-BE49-F238E27FC236}">
                      <a16:creationId xmlns:a16="http://schemas.microsoft.com/office/drawing/2014/main" id="{F344379B-70D3-FCE1-923D-962A65128E30}"/>
                    </a:ext>
                  </a:extLst>
                </p:cNvPr>
                <p:cNvSpPr/>
                <p:nvPr/>
              </p:nvSpPr>
              <p:spPr>
                <a:xfrm>
                  <a:off x="2295909" y="1714705"/>
                  <a:ext cx="28957" cy="23959"/>
                </a:xfrm>
                <a:custGeom>
                  <a:avLst/>
                  <a:gdLst>
                    <a:gd name="connsiteX0" fmla="*/ 0 w 28957"/>
                    <a:gd name="connsiteY0" fmla="*/ 23959 h 23959"/>
                    <a:gd name="connsiteX1" fmla="*/ 28957 w 28957"/>
                    <a:gd name="connsiteY1" fmla="*/ 0 h 2395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8957" h="23959">
                      <a:moveTo>
                        <a:pt x="0" y="23959"/>
                      </a:moveTo>
                      <a:lnTo>
                        <a:pt x="28957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7" name="Forma livre: Forma 26">
                  <a:extLst>
                    <a:ext uri="{FF2B5EF4-FFF2-40B4-BE49-F238E27FC236}">
                      <a16:creationId xmlns:a16="http://schemas.microsoft.com/office/drawing/2014/main" id="{53EEAD94-A2B4-467A-FFBD-7F862C86CC81}"/>
                    </a:ext>
                  </a:extLst>
                </p:cNvPr>
                <p:cNvSpPr/>
                <p:nvPr/>
              </p:nvSpPr>
              <p:spPr>
                <a:xfrm>
                  <a:off x="2267001" y="1714705"/>
                  <a:ext cx="28957" cy="23959"/>
                </a:xfrm>
                <a:custGeom>
                  <a:avLst/>
                  <a:gdLst>
                    <a:gd name="connsiteX0" fmla="*/ 0 w 28957"/>
                    <a:gd name="connsiteY0" fmla="*/ 0 h 23959"/>
                    <a:gd name="connsiteX1" fmla="*/ 28957 w 28957"/>
                    <a:gd name="connsiteY1" fmla="*/ 23959 h 2395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8957" h="23959">
                      <a:moveTo>
                        <a:pt x="0" y="0"/>
                      </a:moveTo>
                      <a:lnTo>
                        <a:pt x="28957" y="23959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28" name="Gráfico 2">
                <a:extLst>
                  <a:ext uri="{FF2B5EF4-FFF2-40B4-BE49-F238E27FC236}">
                    <a16:creationId xmlns:a16="http://schemas.microsoft.com/office/drawing/2014/main" id="{89902923-65C7-6C64-ADD1-75046E0502E6}"/>
                  </a:ext>
                </a:extLst>
              </p:cNvPr>
              <p:cNvGrpSpPr/>
              <p:nvPr/>
            </p:nvGrpSpPr>
            <p:grpSpPr>
              <a:xfrm>
                <a:off x="2267001" y="1805252"/>
                <a:ext cx="57865" cy="23959"/>
                <a:chOff x="2267001" y="1805252"/>
                <a:chExt cx="57865" cy="23959"/>
              </a:xfrm>
            </p:grpSpPr>
            <p:sp>
              <p:nvSpPr>
                <p:cNvPr id="29" name="Forma livre: Forma 28">
                  <a:extLst>
                    <a:ext uri="{FF2B5EF4-FFF2-40B4-BE49-F238E27FC236}">
                      <a16:creationId xmlns:a16="http://schemas.microsoft.com/office/drawing/2014/main" id="{0AAF5663-B37F-837C-7EA2-3FE9714FE340}"/>
                    </a:ext>
                  </a:extLst>
                </p:cNvPr>
                <p:cNvSpPr/>
                <p:nvPr/>
              </p:nvSpPr>
              <p:spPr>
                <a:xfrm>
                  <a:off x="2267001" y="1805252"/>
                  <a:ext cx="28957" cy="23959"/>
                </a:xfrm>
                <a:custGeom>
                  <a:avLst/>
                  <a:gdLst>
                    <a:gd name="connsiteX0" fmla="*/ 28957 w 28957"/>
                    <a:gd name="connsiteY0" fmla="*/ 0 h 23959"/>
                    <a:gd name="connsiteX1" fmla="*/ 0 w 28957"/>
                    <a:gd name="connsiteY1" fmla="*/ 23960 h 2395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8957" h="23959">
                      <a:moveTo>
                        <a:pt x="28957" y="0"/>
                      </a:moveTo>
                      <a:lnTo>
                        <a:pt x="0" y="2396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30" name="Forma livre: Forma 29">
                  <a:extLst>
                    <a:ext uri="{FF2B5EF4-FFF2-40B4-BE49-F238E27FC236}">
                      <a16:creationId xmlns:a16="http://schemas.microsoft.com/office/drawing/2014/main" id="{E30F7058-D1E0-440F-341C-E84083297986}"/>
                    </a:ext>
                  </a:extLst>
                </p:cNvPr>
                <p:cNvSpPr/>
                <p:nvPr/>
              </p:nvSpPr>
              <p:spPr>
                <a:xfrm>
                  <a:off x="2295909" y="1805252"/>
                  <a:ext cx="28957" cy="23959"/>
                </a:xfrm>
                <a:custGeom>
                  <a:avLst/>
                  <a:gdLst>
                    <a:gd name="connsiteX0" fmla="*/ 28957 w 28957"/>
                    <a:gd name="connsiteY0" fmla="*/ 23960 h 23959"/>
                    <a:gd name="connsiteX1" fmla="*/ 0 w 28957"/>
                    <a:gd name="connsiteY1" fmla="*/ 0 h 2395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8957" h="23959">
                      <a:moveTo>
                        <a:pt x="28957" y="23960"/>
                      </a:moveTo>
                      <a:lnTo>
                        <a:pt x="0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sp>
          <p:nvSpPr>
            <p:cNvPr id="31" name="Forma livre: Forma 30">
              <a:extLst>
                <a:ext uri="{FF2B5EF4-FFF2-40B4-BE49-F238E27FC236}">
                  <a16:creationId xmlns:a16="http://schemas.microsoft.com/office/drawing/2014/main" id="{B13EF05D-25A3-6174-FABF-10721082DAD6}"/>
                </a:ext>
              </a:extLst>
            </p:cNvPr>
            <p:cNvSpPr/>
            <p:nvPr/>
          </p:nvSpPr>
          <p:spPr>
            <a:xfrm>
              <a:off x="2224863" y="1771983"/>
              <a:ext cx="142091" cy="4899"/>
            </a:xfrm>
            <a:custGeom>
              <a:avLst/>
              <a:gdLst>
                <a:gd name="connsiteX0" fmla="*/ 0 w 142091"/>
                <a:gd name="connsiteY0" fmla="*/ 0 h 4899"/>
                <a:gd name="connsiteX1" fmla="*/ 142091 w 142091"/>
                <a:gd name="connsiteY1" fmla="*/ 0 h 48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42091" h="4899">
                  <a:moveTo>
                    <a:pt x="0" y="0"/>
                  </a:moveTo>
                  <a:lnTo>
                    <a:pt x="142091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32" name="Gráfico 2">
              <a:extLst>
                <a:ext uri="{FF2B5EF4-FFF2-40B4-BE49-F238E27FC236}">
                  <a16:creationId xmlns:a16="http://schemas.microsoft.com/office/drawing/2014/main" id="{D3F533EC-15C1-F2B8-815D-BB79877F96C6}"/>
                </a:ext>
              </a:extLst>
            </p:cNvPr>
            <p:cNvGrpSpPr/>
            <p:nvPr/>
          </p:nvGrpSpPr>
          <p:grpSpPr>
            <a:xfrm>
              <a:off x="2238680" y="1743026"/>
              <a:ext cx="114505" cy="57865"/>
              <a:chOff x="2238680" y="1743026"/>
              <a:chExt cx="114505" cy="57865"/>
            </a:xfrm>
          </p:grpSpPr>
          <p:grpSp>
            <p:nvGrpSpPr>
              <p:cNvPr id="33" name="Gráfico 2">
                <a:extLst>
                  <a:ext uri="{FF2B5EF4-FFF2-40B4-BE49-F238E27FC236}">
                    <a16:creationId xmlns:a16="http://schemas.microsoft.com/office/drawing/2014/main" id="{E52FFC30-0CE2-2B58-C31D-10E4AF282D4C}"/>
                  </a:ext>
                </a:extLst>
              </p:cNvPr>
              <p:cNvGrpSpPr/>
              <p:nvPr/>
            </p:nvGrpSpPr>
            <p:grpSpPr>
              <a:xfrm>
                <a:off x="2329227" y="1743026"/>
                <a:ext cx="23959" cy="57865"/>
                <a:chOff x="2329227" y="1743026"/>
                <a:chExt cx="23959" cy="57865"/>
              </a:xfrm>
            </p:grpSpPr>
            <p:sp>
              <p:nvSpPr>
                <p:cNvPr id="34" name="Forma livre: Forma 33">
                  <a:extLst>
                    <a:ext uri="{FF2B5EF4-FFF2-40B4-BE49-F238E27FC236}">
                      <a16:creationId xmlns:a16="http://schemas.microsoft.com/office/drawing/2014/main" id="{74945C1D-5A4C-F4E8-31D3-1690592BEC8B}"/>
                    </a:ext>
                  </a:extLst>
                </p:cNvPr>
                <p:cNvSpPr/>
                <p:nvPr/>
              </p:nvSpPr>
              <p:spPr>
                <a:xfrm>
                  <a:off x="2329227" y="1771934"/>
                  <a:ext cx="23959" cy="28957"/>
                </a:xfrm>
                <a:custGeom>
                  <a:avLst/>
                  <a:gdLst>
                    <a:gd name="connsiteX0" fmla="*/ 0 w 23959"/>
                    <a:gd name="connsiteY0" fmla="*/ 0 h 28957"/>
                    <a:gd name="connsiteX1" fmla="*/ 23960 w 23959"/>
                    <a:gd name="connsiteY1" fmla="*/ 28957 h 2895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3959" h="28957">
                      <a:moveTo>
                        <a:pt x="0" y="0"/>
                      </a:moveTo>
                      <a:lnTo>
                        <a:pt x="23960" y="28957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35" name="Forma livre: Forma 34">
                  <a:extLst>
                    <a:ext uri="{FF2B5EF4-FFF2-40B4-BE49-F238E27FC236}">
                      <a16:creationId xmlns:a16="http://schemas.microsoft.com/office/drawing/2014/main" id="{E0A2A1FB-1BDC-273D-8E02-63DDBF6C5BAF}"/>
                    </a:ext>
                  </a:extLst>
                </p:cNvPr>
                <p:cNvSpPr/>
                <p:nvPr/>
              </p:nvSpPr>
              <p:spPr>
                <a:xfrm>
                  <a:off x="2329227" y="1743026"/>
                  <a:ext cx="23959" cy="28957"/>
                </a:xfrm>
                <a:custGeom>
                  <a:avLst/>
                  <a:gdLst>
                    <a:gd name="connsiteX0" fmla="*/ 23960 w 23959"/>
                    <a:gd name="connsiteY0" fmla="*/ 0 h 28957"/>
                    <a:gd name="connsiteX1" fmla="*/ 0 w 23959"/>
                    <a:gd name="connsiteY1" fmla="*/ 28957 h 2895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3959" h="28957">
                      <a:moveTo>
                        <a:pt x="23960" y="0"/>
                      </a:moveTo>
                      <a:lnTo>
                        <a:pt x="0" y="28957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36" name="Gráfico 2">
                <a:extLst>
                  <a:ext uri="{FF2B5EF4-FFF2-40B4-BE49-F238E27FC236}">
                    <a16:creationId xmlns:a16="http://schemas.microsoft.com/office/drawing/2014/main" id="{D9E1B9B7-8AE1-C1A7-D17B-1B2E26F37A8F}"/>
                  </a:ext>
                </a:extLst>
              </p:cNvPr>
              <p:cNvGrpSpPr/>
              <p:nvPr/>
            </p:nvGrpSpPr>
            <p:grpSpPr>
              <a:xfrm>
                <a:off x="2238680" y="1743026"/>
                <a:ext cx="23959" cy="57865"/>
                <a:chOff x="2238680" y="1743026"/>
                <a:chExt cx="23959" cy="57865"/>
              </a:xfrm>
            </p:grpSpPr>
            <p:sp>
              <p:nvSpPr>
                <p:cNvPr id="37" name="Forma livre: Forma 36">
                  <a:extLst>
                    <a:ext uri="{FF2B5EF4-FFF2-40B4-BE49-F238E27FC236}">
                      <a16:creationId xmlns:a16="http://schemas.microsoft.com/office/drawing/2014/main" id="{96537085-C69F-AAC1-5C05-B486A3A1B541}"/>
                    </a:ext>
                  </a:extLst>
                </p:cNvPr>
                <p:cNvSpPr/>
                <p:nvPr/>
              </p:nvSpPr>
              <p:spPr>
                <a:xfrm>
                  <a:off x="2238680" y="1743026"/>
                  <a:ext cx="23959" cy="28957"/>
                </a:xfrm>
                <a:custGeom>
                  <a:avLst/>
                  <a:gdLst>
                    <a:gd name="connsiteX0" fmla="*/ 23959 w 23959"/>
                    <a:gd name="connsiteY0" fmla="*/ 28957 h 28957"/>
                    <a:gd name="connsiteX1" fmla="*/ 0 w 23959"/>
                    <a:gd name="connsiteY1" fmla="*/ 0 h 2895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3959" h="28957">
                      <a:moveTo>
                        <a:pt x="23959" y="28957"/>
                      </a:moveTo>
                      <a:lnTo>
                        <a:pt x="0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38" name="Forma livre: Forma 37">
                  <a:extLst>
                    <a:ext uri="{FF2B5EF4-FFF2-40B4-BE49-F238E27FC236}">
                      <a16:creationId xmlns:a16="http://schemas.microsoft.com/office/drawing/2014/main" id="{05112493-BA98-819A-A332-925A6B09E913}"/>
                    </a:ext>
                  </a:extLst>
                </p:cNvPr>
                <p:cNvSpPr/>
                <p:nvPr/>
              </p:nvSpPr>
              <p:spPr>
                <a:xfrm>
                  <a:off x="2238680" y="1771934"/>
                  <a:ext cx="23959" cy="28957"/>
                </a:xfrm>
                <a:custGeom>
                  <a:avLst/>
                  <a:gdLst>
                    <a:gd name="connsiteX0" fmla="*/ 0 w 23959"/>
                    <a:gd name="connsiteY0" fmla="*/ 28957 h 28957"/>
                    <a:gd name="connsiteX1" fmla="*/ 23959 w 23959"/>
                    <a:gd name="connsiteY1" fmla="*/ 0 h 2895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3959" h="28957">
                      <a:moveTo>
                        <a:pt x="0" y="28957"/>
                      </a:moveTo>
                      <a:lnTo>
                        <a:pt x="23959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grpSp>
          <p:nvGrpSpPr>
            <p:cNvPr id="39" name="Gráfico 2">
              <a:extLst>
                <a:ext uri="{FF2B5EF4-FFF2-40B4-BE49-F238E27FC236}">
                  <a16:creationId xmlns:a16="http://schemas.microsoft.com/office/drawing/2014/main" id="{1539EAA7-7B0E-A0FB-2372-77EEFF6E394B}"/>
                </a:ext>
              </a:extLst>
            </p:cNvPr>
            <p:cNvGrpSpPr/>
            <p:nvPr/>
          </p:nvGrpSpPr>
          <p:grpSpPr>
            <a:xfrm>
              <a:off x="2072287" y="1532380"/>
              <a:ext cx="208783" cy="313833"/>
              <a:chOff x="2072287" y="1532380"/>
              <a:chExt cx="208783" cy="313833"/>
            </a:xfrm>
            <a:noFill/>
          </p:grpSpPr>
          <p:sp>
            <p:nvSpPr>
              <p:cNvPr id="40" name="Forma livre: Forma 39">
                <a:extLst>
                  <a:ext uri="{FF2B5EF4-FFF2-40B4-BE49-F238E27FC236}">
                    <a16:creationId xmlns:a16="http://schemas.microsoft.com/office/drawing/2014/main" id="{BD69DF0F-CE2B-E244-E094-C3B34B1821D1}"/>
                  </a:ext>
                </a:extLst>
              </p:cNvPr>
              <p:cNvSpPr/>
              <p:nvPr/>
            </p:nvSpPr>
            <p:spPr>
              <a:xfrm>
                <a:off x="2178805" y="1664582"/>
                <a:ext cx="16464" cy="181631"/>
              </a:xfrm>
              <a:custGeom>
                <a:avLst/>
                <a:gdLst>
                  <a:gd name="connsiteX0" fmla="*/ 10144 w 16464"/>
                  <a:gd name="connsiteY0" fmla="*/ 0 h 181631"/>
                  <a:gd name="connsiteX1" fmla="*/ 16464 w 16464"/>
                  <a:gd name="connsiteY1" fmla="*/ 181632 h 1816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6464" h="181631">
                    <a:moveTo>
                      <a:pt x="10144" y="0"/>
                    </a:moveTo>
                    <a:cubicBezTo>
                      <a:pt x="-4996" y="50173"/>
                      <a:pt x="-3428" y="121905"/>
                      <a:pt x="16464" y="181632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1" name="Forma livre: Forma 40">
                <a:extLst>
                  <a:ext uri="{FF2B5EF4-FFF2-40B4-BE49-F238E27FC236}">
                    <a16:creationId xmlns:a16="http://schemas.microsoft.com/office/drawing/2014/main" id="{6B79A6DB-5F70-ABFF-6BE2-2A42AB5DCBAA}"/>
                  </a:ext>
                </a:extLst>
              </p:cNvPr>
              <p:cNvSpPr/>
              <p:nvPr/>
            </p:nvSpPr>
            <p:spPr>
              <a:xfrm>
                <a:off x="2072287" y="1721678"/>
                <a:ext cx="76616" cy="46873"/>
              </a:xfrm>
              <a:custGeom>
                <a:avLst/>
                <a:gdLst>
                  <a:gd name="connsiteX0" fmla="*/ 75504 w 76616"/>
                  <a:gd name="connsiteY0" fmla="*/ 37321 h 46873"/>
                  <a:gd name="connsiteX1" fmla="*/ 43607 w 76616"/>
                  <a:gd name="connsiteY1" fmla="*/ 1504 h 46873"/>
                  <a:gd name="connsiteX2" fmla="*/ 0 w 76616"/>
                  <a:gd name="connsiteY2" fmla="*/ 4934 h 46873"/>
                  <a:gd name="connsiteX3" fmla="*/ 27585 w 76616"/>
                  <a:gd name="connsiteY3" fmla="*/ 38693 h 46873"/>
                  <a:gd name="connsiteX4" fmla="*/ 75504 w 76616"/>
                  <a:gd name="connsiteY4" fmla="*/ 37272 h 468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6616" h="46873">
                    <a:moveTo>
                      <a:pt x="75504" y="37321"/>
                    </a:moveTo>
                    <a:cubicBezTo>
                      <a:pt x="81237" y="24582"/>
                      <a:pt x="63941" y="5228"/>
                      <a:pt x="43607" y="1504"/>
                    </a:cubicBezTo>
                    <a:cubicBezTo>
                      <a:pt x="17394" y="-3298"/>
                      <a:pt x="0" y="4934"/>
                      <a:pt x="0" y="4934"/>
                    </a:cubicBezTo>
                    <a:cubicBezTo>
                      <a:pt x="0" y="4934"/>
                      <a:pt x="7986" y="24337"/>
                      <a:pt x="27585" y="38693"/>
                    </a:cubicBezTo>
                    <a:cubicBezTo>
                      <a:pt x="44244" y="50893"/>
                      <a:pt x="70409" y="48639"/>
                      <a:pt x="75504" y="37272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42" name="Gráfico 2">
                <a:extLst>
                  <a:ext uri="{FF2B5EF4-FFF2-40B4-BE49-F238E27FC236}">
                    <a16:creationId xmlns:a16="http://schemas.microsoft.com/office/drawing/2014/main" id="{C023F10A-C054-5828-F67D-7D64AF323B3C}"/>
                  </a:ext>
                </a:extLst>
              </p:cNvPr>
              <p:cNvGrpSpPr/>
              <p:nvPr/>
            </p:nvGrpSpPr>
            <p:grpSpPr>
              <a:xfrm>
                <a:off x="2124706" y="1532380"/>
                <a:ext cx="156364" cy="156560"/>
                <a:chOff x="2124706" y="1532380"/>
                <a:chExt cx="156364" cy="156560"/>
              </a:xfrm>
              <a:noFill/>
            </p:grpSpPr>
            <p:sp>
              <p:nvSpPr>
                <p:cNvPr id="43" name="Forma livre: Forma 42">
                  <a:extLst>
                    <a:ext uri="{FF2B5EF4-FFF2-40B4-BE49-F238E27FC236}">
                      <a16:creationId xmlns:a16="http://schemas.microsoft.com/office/drawing/2014/main" id="{A0416E38-7EAE-FEAB-9FB5-B0B5F54DFE9D}"/>
                    </a:ext>
                  </a:extLst>
                </p:cNvPr>
                <p:cNvSpPr/>
                <p:nvPr/>
              </p:nvSpPr>
              <p:spPr>
                <a:xfrm>
                  <a:off x="2124706" y="1532380"/>
                  <a:ext cx="156364" cy="156560"/>
                </a:xfrm>
                <a:custGeom>
                  <a:avLst/>
                  <a:gdLst>
                    <a:gd name="connsiteX0" fmla="*/ 1184 w 156364"/>
                    <a:gd name="connsiteY0" fmla="*/ 93102 h 156560"/>
                    <a:gd name="connsiteX1" fmla="*/ 28279 w 156364"/>
                    <a:gd name="connsiteY1" fmla="*/ 138865 h 156560"/>
                    <a:gd name="connsiteX2" fmla="*/ 65516 w 156364"/>
                    <a:gd name="connsiteY2" fmla="*/ 127645 h 156560"/>
                    <a:gd name="connsiteX3" fmla="*/ 92759 w 156364"/>
                    <a:gd name="connsiteY3" fmla="*/ 155377 h 156560"/>
                    <a:gd name="connsiteX4" fmla="*/ 138522 w 156364"/>
                    <a:gd name="connsiteY4" fmla="*/ 128282 h 156560"/>
                    <a:gd name="connsiteX5" fmla="*/ 127008 w 156364"/>
                    <a:gd name="connsiteY5" fmla="*/ 90799 h 156560"/>
                    <a:gd name="connsiteX6" fmla="*/ 155181 w 156364"/>
                    <a:gd name="connsiteY6" fmla="*/ 63459 h 156560"/>
                    <a:gd name="connsiteX7" fmla="*/ 128086 w 156364"/>
                    <a:gd name="connsiteY7" fmla="*/ 17695 h 156560"/>
                    <a:gd name="connsiteX8" fmla="*/ 90848 w 156364"/>
                    <a:gd name="connsiteY8" fmla="*/ 28916 h 156560"/>
                    <a:gd name="connsiteX9" fmla="*/ 63606 w 156364"/>
                    <a:gd name="connsiteY9" fmla="*/ 1184 h 156560"/>
                    <a:gd name="connsiteX10" fmla="*/ 17842 w 156364"/>
                    <a:gd name="connsiteY10" fmla="*/ 28279 h 156560"/>
                    <a:gd name="connsiteX11" fmla="*/ 29357 w 156364"/>
                    <a:gd name="connsiteY11" fmla="*/ 65762 h 156560"/>
                    <a:gd name="connsiteX12" fmla="*/ 1184 w 156364"/>
                    <a:gd name="connsiteY12" fmla="*/ 93102 h 15656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</a:cxnLst>
                  <a:rect l="l" t="t" r="r" b="b"/>
                  <a:pathLst>
                    <a:path w="156364" h="156560">
                      <a:moveTo>
                        <a:pt x="1184" y="93102"/>
                      </a:moveTo>
                      <a:cubicBezTo>
                        <a:pt x="-3961" y="113240"/>
                        <a:pt x="8141" y="133720"/>
                        <a:pt x="28279" y="138865"/>
                      </a:cubicBezTo>
                      <a:cubicBezTo>
                        <a:pt x="42243" y="142442"/>
                        <a:pt x="56452" y="137689"/>
                        <a:pt x="65516" y="127645"/>
                      </a:cubicBezTo>
                      <a:cubicBezTo>
                        <a:pt x="68652" y="140776"/>
                        <a:pt x="78746" y="151800"/>
                        <a:pt x="92759" y="155377"/>
                      </a:cubicBezTo>
                      <a:cubicBezTo>
                        <a:pt x="112897" y="160522"/>
                        <a:pt x="133377" y="148419"/>
                        <a:pt x="138522" y="128282"/>
                      </a:cubicBezTo>
                      <a:cubicBezTo>
                        <a:pt x="142148" y="114171"/>
                        <a:pt x="137199" y="99863"/>
                        <a:pt x="127008" y="90799"/>
                      </a:cubicBezTo>
                      <a:cubicBezTo>
                        <a:pt x="140335" y="87761"/>
                        <a:pt x="151506" y="77619"/>
                        <a:pt x="155181" y="63459"/>
                      </a:cubicBezTo>
                      <a:cubicBezTo>
                        <a:pt x="160326" y="43321"/>
                        <a:pt x="148223" y="22840"/>
                        <a:pt x="128086" y="17695"/>
                      </a:cubicBezTo>
                      <a:cubicBezTo>
                        <a:pt x="114072" y="14119"/>
                        <a:pt x="99912" y="18871"/>
                        <a:pt x="90848" y="28916"/>
                      </a:cubicBezTo>
                      <a:cubicBezTo>
                        <a:pt x="87712" y="15785"/>
                        <a:pt x="77619" y="4760"/>
                        <a:pt x="63606" y="1184"/>
                      </a:cubicBezTo>
                      <a:cubicBezTo>
                        <a:pt x="43468" y="-3961"/>
                        <a:pt x="22987" y="8141"/>
                        <a:pt x="17842" y="28279"/>
                      </a:cubicBezTo>
                      <a:cubicBezTo>
                        <a:pt x="14217" y="42390"/>
                        <a:pt x="19165" y="56697"/>
                        <a:pt x="29357" y="65762"/>
                      </a:cubicBezTo>
                      <a:cubicBezTo>
                        <a:pt x="16030" y="68799"/>
                        <a:pt x="4858" y="78942"/>
                        <a:pt x="1184" y="93102"/>
                      </a:cubicBezTo>
                      <a:close/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grpSp>
              <p:nvGrpSpPr>
                <p:cNvPr id="44" name="Gráfico 2">
                  <a:extLst>
                    <a:ext uri="{FF2B5EF4-FFF2-40B4-BE49-F238E27FC236}">
                      <a16:creationId xmlns:a16="http://schemas.microsoft.com/office/drawing/2014/main" id="{8164C634-1192-0AD0-8DC1-24D259F5DE72}"/>
                    </a:ext>
                  </a:extLst>
                </p:cNvPr>
                <p:cNvGrpSpPr/>
                <p:nvPr/>
              </p:nvGrpSpPr>
              <p:grpSpPr>
                <a:xfrm>
                  <a:off x="2154063" y="1598142"/>
                  <a:ext cx="97258" cy="24988"/>
                  <a:chOff x="2154063" y="1598142"/>
                  <a:chExt cx="97258" cy="24988"/>
                </a:xfrm>
              </p:grpSpPr>
              <p:sp>
                <p:nvSpPr>
                  <p:cNvPr id="45" name="Forma livre: Forma 44">
                    <a:extLst>
                      <a:ext uri="{FF2B5EF4-FFF2-40B4-BE49-F238E27FC236}">
                        <a16:creationId xmlns:a16="http://schemas.microsoft.com/office/drawing/2014/main" id="{7AD4F5D4-251E-7D4B-F388-31D22649EE6C}"/>
                      </a:ext>
                    </a:extLst>
                  </p:cNvPr>
                  <p:cNvSpPr/>
                  <p:nvPr/>
                </p:nvSpPr>
                <p:spPr>
                  <a:xfrm>
                    <a:off x="2154063" y="1598142"/>
                    <a:ext cx="26213" cy="6761"/>
                  </a:xfrm>
                  <a:custGeom>
                    <a:avLst/>
                    <a:gdLst>
                      <a:gd name="connsiteX0" fmla="*/ 26213 w 26213"/>
                      <a:gd name="connsiteY0" fmla="*/ 6762 h 6761"/>
                      <a:gd name="connsiteX1" fmla="*/ 0 w 26213"/>
                      <a:gd name="connsiteY1" fmla="*/ 0 h 676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26213" h="6761">
                        <a:moveTo>
                          <a:pt x="26213" y="6762"/>
                        </a:moveTo>
                        <a:lnTo>
                          <a:pt x="0" y="0"/>
                        </a:lnTo>
                      </a:path>
                    </a:pathLst>
                  </a:custGeom>
                  <a:ln w="6350" cap="flat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46" name="Forma livre: Forma 45">
                    <a:extLst>
                      <a:ext uri="{FF2B5EF4-FFF2-40B4-BE49-F238E27FC236}">
                        <a16:creationId xmlns:a16="http://schemas.microsoft.com/office/drawing/2014/main" id="{F561093B-45BB-A868-0F35-6AC4CE0F3A35}"/>
                      </a:ext>
                    </a:extLst>
                  </p:cNvPr>
                  <p:cNvSpPr/>
                  <p:nvPr/>
                </p:nvSpPr>
                <p:spPr>
                  <a:xfrm>
                    <a:off x="2225549" y="1616515"/>
                    <a:ext cx="25772" cy="6614"/>
                  </a:xfrm>
                  <a:custGeom>
                    <a:avLst/>
                    <a:gdLst>
                      <a:gd name="connsiteX0" fmla="*/ 25772 w 25772"/>
                      <a:gd name="connsiteY0" fmla="*/ 6615 h 6614"/>
                      <a:gd name="connsiteX1" fmla="*/ 0 w 25772"/>
                      <a:gd name="connsiteY1" fmla="*/ 0 h 661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25772" h="6614">
                        <a:moveTo>
                          <a:pt x="25772" y="6615"/>
                        </a:moveTo>
                        <a:lnTo>
                          <a:pt x="0" y="0"/>
                        </a:lnTo>
                      </a:path>
                    </a:pathLst>
                  </a:custGeom>
                  <a:ln w="6350" cap="flat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  <p:grpSp>
              <p:nvGrpSpPr>
                <p:cNvPr id="47" name="Gráfico 2">
                  <a:extLst>
                    <a:ext uri="{FF2B5EF4-FFF2-40B4-BE49-F238E27FC236}">
                      <a16:creationId xmlns:a16="http://schemas.microsoft.com/office/drawing/2014/main" id="{EB8D1F30-9943-49E3-2A03-AF53B0A40246}"/>
                    </a:ext>
                  </a:extLst>
                </p:cNvPr>
                <p:cNvGrpSpPr/>
                <p:nvPr/>
              </p:nvGrpSpPr>
              <p:grpSpPr>
                <a:xfrm>
                  <a:off x="2160530" y="1568351"/>
                  <a:ext cx="84666" cy="84666"/>
                  <a:chOff x="2160530" y="1568351"/>
                  <a:chExt cx="84666" cy="84666"/>
                </a:xfrm>
              </p:grpSpPr>
              <p:sp>
                <p:nvSpPr>
                  <p:cNvPr id="48" name="Forma livre: Forma 47">
                    <a:extLst>
                      <a:ext uri="{FF2B5EF4-FFF2-40B4-BE49-F238E27FC236}">
                        <a16:creationId xmlns:a16="http://schemas.microsoft.com/office/drawing/2014/main" id="{65AE05EB-5975-B467-3E65-0D49B7374134}"/>
                      </a:ext>
                    </a:extLst>
                  </p:cNvPr>
                  <p:cNvSpPr/>
                  <p:nvPr/>
                </p:nvSpPr>
                <p:spPr>
                  <a:xfrm>
                    <a:off x="2214672" y="1630627"/>
                    <a:ext cx="13278" cy="22391"/>
                  </a:xfrm>
                  <a:custGeom>
                    <a:avLst/>
                    <a:gdLst>
                      <a:gd name="connsiteX0" fmla="*/ 0 w 13278"/>
                      <a:gd name="connsiteY0" fmla="*/ 0 h 22391"/>
                      <a:gd name="connsiteX1" fmla="*/ 13278 w 13278"/>
                      <a:gd name="connsiteY1" fmla="*/ 22392 h 2239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3278" h="22391">
                        <a:moveTo>
                          <a:pt x="0" y="0"/>
                        </a:moveTo>
                        <a:lnTo>
                          <a:pt x="13278" y="22392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49" name="Forma livre: Forma 48">
                    <a:extLst>
                      <a:ext uri="{FF2B5EF4-FFF2-40B4-BE49-F238E27FC236}">
                        <a16:creationId xmlns:a16="http://schemas.microsoft.com/office/drawing/2014/main" id="{E5185624-394D-5960-3DDD-BE7BE4476913}"/>
                      </a:ext>
                    </a:extLst>
                  </p:cNvPr>
                  <p:cNvSpPr/>
                  <p:nvPr/>
                </p:nvSpPr>
                <p:spPr>
                  <a:xfrm>
                    <a:off x="2177826" y="1568351"/>
                    <a:ext cx="13180" cy="22244"/>
                  </a:xfrm>
                  <a:custGeom>
                    <a:avLst/>
                    <a:gdLst>
                      <a:gd name="connsiteX0" fmla="*/ 0 w 13180"/>
                      <a:gd name="connsiteY0" fmla="*/ 0 h 22244"/>
                      <a:gd name="connsiteX1" fmla="*/ 13180 w 13180"/>
                      <a:gd name="connsiteY1" fmla="*/ 22245 h 2224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3180" h="22244">
                        <a:moveTo>
                          <a:pt x="0" y="0"/>
                        </a:moveTo>
                        <a:lnTo>
                          <a:pt x="13180" y="22245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50" name="Forma livre: Forma 49">
                    <a:extLst>
                      <a:ext uri="{FF2B5EF4-FFF2-40B4-BE49-F238E27FC236}">
                        <a16:creationId xmlns:a16="http://schemas.microsoft.com/office/drawing/2014/main" id="{9ACE5032-C1A0-5556-9FFA-D969C06EF2C2}"/>
                      </a:ext>
                    </a:extLst>
                  </p:cNvPr>
                  <p:cNvSpPr/>
                  <p:nvPr/>
                </p:nvSpPr>
                <p:spPr>
                  <a:xfrm>
                    <a:off x="2223246" y="1585647"/>
                    <a:ext cx="21950" cy="12984"/>
                  </a:xfrm>
                  <a:custGeom>
                    <a:avLst/>
                    <a:gdLst>
                      <a:gd name="connsiteX0" fmla="*/ 0 w 21950"/>
                      <a:gd name="connsiteY0" fmla="*/ 12984 h 12984"/>
                      <a:gd name="connsiteX1" fmla="*/ 21951 w 21950"/>
                      <a:gd name="connsiteY1" fmla="*/ 0 h 1298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21950" h="12984">
                        <a:moveTo>
                          <a:pt x="0" y="12984"/>
                        </a:moveTo>
                        <a:lnTo>
                          <a:pt x="21951" y="0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51" name="Forma livre: Forma 50">
                    <a:extLst>
                      <a:ext uri="{FF2B5EF4-FFF2-40B4-BE49-F238E27FC236}">
                        <a16:creationId xmlns:a16="http://schemas.microsoft.com/office/drawing/2014/main" id="{19A799CF-AB93-8D5E-BDEE-300DF605B72D}"/>
                      </a:ext>
                    </a:extLst>
                  </p:cNvPr>
                  <p:cNvSpPr/>
                  <p:nvPr/>
                </p:nvSpPr>
                <p:spPr>
                  <a:xfrm>
                    <a:off x="2160530" y="1622640"/>
                    <a:ext cx="22146" cy="13082"/>
                  </a:xfrm>
                  <a:custGeom>
                    <a:avLst/>
                    <a:gdLst>
                      <a:gd name="connsiteX0" fmla="*/ 0 w 22146"/>
                      <a:gd name="connsiteY0" fmla="*/ 13082 h 13082"/>
                      <a:gd name="connsiteX1" fmla="*/ 22147 w 22146"/>
                      <a:gd name="connsiteY1" fmla="*/ 0 h 1308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22146" h="13082">
                        <a:moveTo>
                          <a:pt x="0" y="13082"/>
                        </a:moveTo>
                        <a:lnTo>
                          <a:pt x="22147" y="0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  <p:sp>
              <p:nvSpPr>
                <p:cNvPr id="52" name="Forma livre: Forma 51">
                  <a:extLst>
                    <a:ext uri="{FF2B5EF4-FFF2-40B4-BE49-F238E27FC236}">
                      <a16:creationId xmlns:a16="http://schemas.microsoft.com/office/drawing/2014/main" id="{833C4907-49AF-8949-35F3-47D9E07EFDAA}"/>
                    </a:ext>
                  </a:extLst>
                </p:cNvPr>
                <p:cNvSpPr/>
                <p:nvPr/>
              </p:nvSpPr>
              <p:spPr>
                <a:xfrm>
                  <a:off x="2179736" y="1587560"/>
                  <a:ext cx="46303" cy="46297"/>
                </a:xfrm>
                <a:custGeom>
                  <a:avLst/>
                  <a:gdLst>
                    <a:gd name="connsiteX0" fmla="*/ 736 w 46303"/>
                    <a:gd name="connsiteY0" fmla="*/ 17392 h 46297"/>
                    <a:gd name="connsiteX1" fmla="*/ 17395 w 46303"/>
                    <a:gd name="connsiteY1" fmla="*/ 45565 h 46297"/>
                    <a:gd name="connsiteX2" fmla="*/ 45568 w 46303"/>
                    <a:gd name="connsiteY2" fmla="*/ 28906 h 46297"/>
                    <a:gd name="connsiteX3" fmla="*/ 28909 w 46303"/>
                    <a:gd name="connsiteY3" fmla="*/ 733 h 46297"/>
                    <a:gd name="connsiteX4" fmla="*/ 736 w 46303"/>
                    <a:gd name="connsiteY4" fmla="*/ 17392 h 4629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46303" h="46297">
                      <a:moveTo>
                        <a:pt x="736" y="17392"/>
                      </a:moveTo>
                      <a:cubicBezTo>
                        <a:pt x="-2449" y="29788"/>
                        <a:pt x="4999" y="42380"/>
                        <a:pt x="17395" y="45565"/>
                      </a:cubicBezTo>
                      <a:cubicBezTo>
                        <a:pt x="29791" y="48750"/>
                        <a:pt x="42383" y="41253"/>
                        <a:pt x="45568" y="28906"/>
                      </a:cubicBezTo>
                      <a:cubicBezTo>
                        <a:pt x="48753" y="16510"/>
                        <a:pt x="41305" y="3918"/>
                        <a:pt x="28909" y="733"/>
                      </a:cubicBezTo>
                      <a:cubicBezTo>
                        <a:pt x="16513" y="-2452"/>
                        <a:pt x="3921" y="5045"/>
                        <a:pt x="736" y="17392"/>
                      </a:cubicBezTo>
                      <a:close/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grpSp>
              <p:nvGrpSpPr>
                <p:cNvPr id="53" name="Gráfico 2">
                  <a:extLst>
                    <a:ext uri="{FF2B5EF4-FFF2-40B4-BE49-F238E27FC236}">
                      <a16:creationId xmlns:a16="http://schemas.microsoft.com/office/drawing/2014/main" id="{76D88ABE-35FC-EBE3-B7E0-0FCCCE979D62}"/>
                    </a:ext>
                  </a:extLst>
                </p:cNvPr>
                <p:cNvGrpSpPr/>
                <p:nvPr/>
              </p:nvGrpSpPr>
              <p:grpSpPr>
                <a:xfrm>
                  <a:off x="2190467" y="1562129"/>
                  <a:ext cx="24939" cy="97210"/>
                  <a:chOff x="2190467" y="1562129"/>
                  <a:chExt cx="24939" cy="97210"/>
                </a:xfrm>
              </p:grpSpPr>
              <p:sp>
                <p:nvSpPr>
                  <p:cNvPr id="54" name="Forma livre: Forma 53">
                    <a:extLst>
                      <a:ext uri="{FF2B5EF4-FFF2-40B4-BE49-F238E27FC236}">
                        <a16:creationId xmlns:a16="http://schemas.microsoft.com/office/drawing/2014/main" id="{5D12AD60-B088-F3A8-A34B-0344C7BF7BA4}"/>
                      </a:ext>
                    </a:extLst>
                  </p:cNvPr>
                  <p:cNvSpPr/>
                  <p:nvPr/>
                </p:nvSpPr>
                <p:spPr>
                  <a:xfrm>
                    <a:off x="2190467" y="1633125"/>
                    <a:ext cx="6712" cy="26213"/>
                  </a:xfrm>
                  <a:custGeom>
                    <a:avLst/>
                    <a:gdLst>
                      <a:gd name="connsiteX0" fmla="*/ 6713 w 6712"/>
                      <a:gd name="connsiteY0" fmla="*/ 0 h 26213"/>
                      <a:gd name="connsiteX1" fmla="*/ 0 w 6712"/>
                      <a:gd name="connsiteY1" fmla="*/ 26213 h 2621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6712" h="26213">
                        <a:moveTo>
                          <a:pt x="6713" y="0"/>
                        </a:moveTo>
                        <a:lnTo>
                          <a:pt x="0" y="26213"/>
                        </a:lnTo>
                      </a:path>
                    </a:pathLst>
                  </a:custGeom>
                  <a:ln w="6350" cap="flat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55" name="Forma livre: Forma 54">
                    <a:extLst>
                      <a:ext uri="{FF2B5EF4-FFF2-40B4-BE49-F238E27FC236}">
                        <a16:creationId xmlns:a16="http://schemas.microsoft.com/office/drawing/2014/main" id="{DF038E78-EDCB-E12A-21FC-D4853BB32942}"/>
                      </a:ext>
                    </a:extLst>
                  </p:cNvPr>
                  <p:cNvSpPr/>
                  <p:nvPr/>
                </p:nvSpPr>
                <p:spPr>
                  <a:xfrm>
                    <a:off x="2208841" y="1562129"/>
                    <a:ext cx="6565" cy="25723"/>
                  </a:xfrm>
                  <a:custGeom>
                    <a:avLst/>
                    <a:gdLst>
                      <a:gd name="connsiteX0" fmla="*/ 6566 w 6565"/>
                      <a:gd name="connsiteY0" fmla="*/ 0 h 25723"/>
                      <a:gd name="connsiteX1" fmla="*/ 0 w 6565"/>
                      <a:gd name="connsiteY1" fmla="*/ 25723 h 2572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6565" h="25723">
                        <a:moveTo>
                          <a:pt x="6566" y="0"/>
                        </a:moveTo>
                        <a:lnTo>
                          <a:pt x="0" y="25723"/>
                        </a:lnTo>
                      </a:path>
                    </a:pathLst>
                  </a:custGeom>
                  <a:ln w="6350" cap="flat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</p:grpSp>
        </p:grpSp>
      </p:grpSp>
      <p:grpSp>
        <p:nvGrpSpPr>
          <p:cNvPr id="56" name="Gráfico 2">
            <a:extLst>
              <a:ext uri="{FF2B5EF4-FFF2-40B4-BE49-F238E27FC236}">
                <a16:creationId xmlns:a16="http://schemas.microsoft.com/office/drawing/2014/main" id="{D2B2BFEC-CC05-4990-6E9F-C7C6551A4B12}"/>
              </a:ext>
            </a:extLst>
          </p:cNvPr>
          <p:cNvGrpSpPr/>
          <p:nvPr/>
        </p:nvGrpSpPr>
        <p:grpSpPr>
          <a:xfrm>
            <a:off x="2053080" y="2081546"/>
            <a:ext cx="320342" cy="294520"/>
            <a:chOff x="2053080" y="2081546"/>
            <a:chExt cx="320342" cy="294520"/>
          </a:xfrm>
          <a:noFill/>
        </p:grpSpPr>
        <p:sp>
          <p:nvSpPr>
            <p:cNvPr id="57" name="Forma livre: Forma 56">
              <a:extLst>
                <a:ext uri="{FF2B5EF4-FFF2-40B4-BE49-F238E27FC236}">
                  <a16:creationId xmlns:a16="http://schemas.microsoft.com/office/drawing/2014/main" id="{BA68BD55-6C25-AF24-C2BE-8BEBF04D2D52}"/>
                </a:ext>
              </a:extLst>
            </p:cNvPr>
            <p:cNvSpPr/>
            <p:nvPr/>
          </p:nvSpPr>
          <p:spPr>
            <a:xfrm>
              <a:off x="2179590" y="2335546"/>
              <a:ext cx="7006" cy="40275"/>
            </a:xfrm>
            <a:custGeom>
              <a:avLst/>
              <a:gdLst>
                <a:gd name="connsiteX0" fmla="*/ 0 w 7006"/>
                <a:gd name="connsiteY0" fmla="*/ 0 h 40275"/>
                <a:gd name="connsiteX1" fmla="*/ 7007 w 7006"/>
                <a:gd name="connsiteY1" fmla="*/ 40276 h 40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006" h="40275">
                  <a:moveTo>
                    <a:pt x="0" y="0"/>
                  </a:moveTo>
                  <a:cubicBezTo>
                    <a:pt x="5684" y="11073"/>
                    <a:pt x="7007" y="16659"/>
                    <a:pt x="7007" y="40276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58" name="Forma livre: Forma 57">
              <a:extLst>
                <a:ext uri="{FF2B5EF4-FFF2-40B4-BE49-F238E27FC236}">
                  <a16:creationId xmlns:a16="http://schemas.microsoft.com/office/drawing/2014/main" id="{87E4AAB0-C158-7626-26EB-ADA7C1B4E74F}"/>
                </a:ext>
              </a:extLst>
            </p:cNvPr>
            <p:cNvSpPr/>
            <p:nvPr/>
          </p:nvSpPr>
          <p:spPr>
            <a:xfrm>
              <a:off x="2136459" y="2279200"/>
              <a:ext cx="48993" cy="60259"/>
            </a:xfrm>
            <a:custGeom>
              <a:avLst/>
              <a:gdLst>
                <a:gd name="connsiteX0" fmla="*/ 44356 w 48993"/>
                <a:gd name="connsiteY0" fmla="*/ 57767 h 60259"/>
                <a:gd name="connsiteX1" fmla="*/ 6922 w 48993"/>
                <a:gd name="connsiteY1" fmla="*/ 38120 h 60259"/>
                <a:gd name="connsiteX2" fmla="*/ 552 w 48993"/>
                <a:gd name="connsiteY2" fmla="*/ 0 h 60259"/>
                <a:gd name="connsiteX3" fmla="*/ 35340 w 48993"/>
                <a:gd name="connsiteY3" fmla="*/ 16414 h 60259"/>
                <a:gd name="connsiteX4" fmla="*/ 44356 w 48993"/>
                <a:gd name="connsiteY4" fmla="*/ 57767 h 602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8993" h="60259">
                  <a:moveTo>
                    <a:pt x="44356" y="57767"/>
                  </a:moveTo>
                  <a:cubicBezTo>
                    <a:pt x="34654" y="65362"/>
                    <a:pt x="14418" y="54681"/>
                    <a:pt x="6922" y="38120"/>
                  </a:cubicBezTo>
                  <a:cubicBezTo>
                    <a:pt x="-2779" y="16659"/>
                    <a:pt x="552" y="0"/>
                    <a:pt x="552" y="0"/>
                  </a:cubicBezTo>
                  <a:cubicBezTo>
                    <a:pt x="552" y="0"/>
                    <a:pt x="18877" y="2695"/>
                    <a:pt x="35340" y="16414"/>
                  </a:cubicBezTo>
                  <a:cubicBezTo>
                    <a:pt x="49353" y="28075"/>
                    <a:pt x="52979" y="51006"/>
                    <a:pt x="44356" y="57767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59" name="Forma livre: Forma 58">
              <a:extLst>
                <a:ext uri="{FF2B5EF4-FFF2-40B4-BE49-F238E27FC236}">
                  <a16:creationId xmlns:a16="http://schemas.microsoft.com/office/drawing/2014/main" id="{1110E59C-8DE4-0CFE-8B88-353C2CC60959}"/>
                </a:ext>
              </a:extLst>
            </p:cNvPr>
            <p:cNvSpPr/>
            <p:nvPr/>
          </p:nvSpPr>
          <p:spPr>
            <a:xfrm>
              <a:off x="2231821" y="2316437"/>
              <a:ext cx="5683" cy="58355"/>
            </a:xfrm>
            <a:custGeom>
              <a:avLst/>
              <a:gdLst>
                <a:gd name="connsiteX0" fmla="*/ 5684 w 5683"/>
                <a:gd name="connsiteY0" fmla="*/ 0 h 58355"/>
                <a:gd name="connsiteX1" fmla="*/ 0 w 5683"/>
                <a:gd name="connsiteY1" fmla="*/ 58355 h 583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683" h="58355">
                  <a:moveTo>
                    <a:pt x="5684" y="0"/>
                  </a:moveTo>
                  <a:cubicBezTo>
                    <a:pt x="2058" y="18668"/>
                    <a:pt x="0" y="39099"/>
                    <a:pt x="0" y="58355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0" name="Forma livre: Forma 59">
              <a:extLst>
                <a:ext uri="{FF2B5EF4-FFF2-40B4-BE49-F238E27FC236}">
                  <a16:creationId xmlns:a16="http://schemas.microsoft.com/office/drawing/2014/main" id="{432D409F-9F54-942F-A6E2-359A5A9DF0CD}"/>
                </a:ext>
              </a:extLst>
            </p:cNvPr>
            <p:cNvSpPr/>
            <p:nvPr/>
          </p:nvSpPr>
          <p:spPr>
            <a:xfrm>
              <a:off x="2228523" y="2250585"/>
              <a:ext cx="41087" cy="67547"/>
            </a:xfrm>
            <a:custGeom>
              <a:avLst/>
              <a:gdLst>
                <a:gd name="connsiteX0" fmla="*/ 8736 w 41087"/>
                <a:gd name="connsiteY0" fmla="*/ 67028 h 67547"/>
                <a:gd name="connsiteX1" fmla="*/ 39947 w 41087"/>
                <a:gd name="connsiteY1" fmla="*/ 38463 h 67547"/>
                <a:gd name="connsiteX2" fmla="*/ 36420 w 41087"/>
                <a:gd name="connsiteY2" fmla="*/ 0 h 67547"/>
                <a:gd name="connsiteX3" fmla="*/ 6924 w 41087"/>
                <a:gd name="connsiteY3" fmla="*/ 24743 h 67547"/>
                <a:gd name="connsiteX4" fmla="*/ 8736 w 41087"/>
                <a:gd name="connsiteY4" fmla="*/ 67028 h 675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1087" h="67547">
                  <a:moveTo>
                    <a:pt x="8736" y="67028"/>
                  </a:moveTo>
                  <a:cubicBezTo>
                    <a:pt x="16233" y="70262"/>
                    <a:pt x="36665" y="58110"/>
                    <a:pt x="39947" y="38463"/>
                  </a:cubicBezTo>
                  <a:cubicBezTo>
                    <a:pt x="43867" y="15238"/>
                    <a:pt x="36420" y="0"/>
                    <a:pt x="36420" y="0"/>
                  </a:cubicBezTo>
                  <a:cubicBezTo>
                    <a:pt x="36420" y="0"/>
                    <a:pt x="19418" y="7251"/>
                    <a:pt x="6924" y="24743"/>
                  </a:cubicBezTo>
                  <a:cubicBezTo>
                    <a:pt x="-3660" y="39589"/>
                    <a:pt x="-1357" y="62667"/>
                    <a:pt x="8736" y="67028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1" name="Forma livre: Forma 60">
              <a:extLst>
                <a:ext uri="{FF2B5EF4-FFF2-40B4-BE49-F238E27FC236}">
                  <a16:creationId xmlns:a16="http://schemas.microsoft.com/office/drawing/2014/main" id="{2C38C87E-8DEE-7E1B-C4AE-443C89032230}"/>
                </a:ext>
              </a:extLst>
            </p:cNvPr>
            <p:cNvSpPr/>
            <p:nvPr/>
          </p:nvSpPr>
          <p:spPr>
            <a:xfrm>
              <a:off x="2053080" y="2376067"/>
              <a:ext cx="320342" cy="4899"/>
            </a:xfrm>
            <a:custGeom>
              <a:avLst/>
              <a:gdLst>
                <a:gd name="connsiteX0" fmla="*/ 0 w 320342"/>
                <a:gd name="connsiteY0" fmla="*/ 0 h 4899"/>
                <a:gd name="connsiteX1" fmla="*/ 320342 w 320342"/>
                <a:gd name="connsiteY1" fmla="*/ 0 h 48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20342" h="4899">
                  <a:moveTo>
                    <a:pt x="0" y="0"/>
                  </a:moveTo>
                  <a:lnTo>
                    <a:pt x="320342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2" name="Forma livre: Forma 61">
              <a:extLst>
                <a:ext uri="{FF2B5EF4-FFF2-40B4-BE49-F238E27FC236}">
                  <a16:creationId xmlns:a16="http://schemas.microsoft.com/office/drawing/2014/main" id="{20679A9A-860E-3204-0411-5CACE8253F21}"/>
                </a:ext>
              </a:extLst>
            </p:cNvPr>
            <p:cNvSpPr/>
            <p:nvPr/>
          </p:nvSpPr>
          <p:spPr>
            <a:xfrm>
              <a:off x="2281014" y="2100312"/>
              <a:ext cx="65950" cy="65949"/>
            </a:xfrm>
            <a:custGeom>
              <a:avLst/>
              <a:gdLst>
                <a:gd name="connsiteX0" fmla="*/ 65950 w 65950"/>
                <a:gd name="connsiteY0" fmla="*/ 32975 h 65949"/>
                <a:gd name="connsiteX1" fmla="*/ 32975 w 65950"/>
                <a:gd name="connsiteY1" fmla="*/ 65950 h 65949"/>
                <a:gd name="connsiteX2" fmla="*/ 0 w 65950"/>
                <a:gd name="connsiteY2" fmla="*/ 32975 h 65949"/>
                <a:gd name="connsiteX3" fmla="*/ 32975 w 65950"/>
                <a:gd name="connsiteY3" fmla="*/ 0 h 65949"/>
                <a:gd name="connsiteX4" fmla="*/ 65950 w 65950"/>
                <a:gd name="connsiteY4" fmla="*/ 32975 h 659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5950" h="65949">
                  <a:moveTo>
                    <a:pt x="65950" y="32975"/>
                  </a:moveTo>
                  <a:cubicBezTo>
                    <a:pt x="65950" y="51153"/>
                    <a:pt x="51202" y="65950"/>
                    <a:pt x="32975" y="65950"/>
                  </a:cubicBezTo>
                  <a:cubicBezTo>
                    <a:pt x="14748" y="65950"/>
                    <a:pt x="0" y="51202"/>
                    <a:pt x="0" y="32975"/>
                  </a:cubicBezTo>
                  <a:cubicBezTo>
                    <a:pt x="0" y="14748"/>
                    <a:pt x="14748" y="0"/>
                    <a:pt x="32975" y="0"/>
                  </a:cubicBezTo>
                  <a:cubicBezTo>
                    <a:pt x="51202" y="0"/>
                    <a:pt x="65950" y="14748"/>
                    <a:pt x="65950" y="32975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63" name="Gráfico 2">
              <a:extLst>
                <a:ext uri="{FF2B5EF4-FFF2-40B4-BE49-F238E27FC236}">
                  <a16:creationId xmlns:a16="http://schemas.microsoft.com/office/drawing/2014/main" id="{A751EC2C-D08E-7E32-3FD3-734352EAC1DC}"/>
                </a:ext>
              </a:extLst>
            </p:cNvPr>
            <p:cNvGrpSpPr/>
            <p:nvPr/>
          </p:nvGrpSpPr>
          <p:grpSpPr>
            <a:xfrm>
              <a:off x="2313989" y="2081546"/>
              <a:ext cx="4899" cy="103481"/>
              <a:chOff x="2313989" y="2081546"/>
              <a:chExt cx="4899" cy="103481"/>
            </a:xfrm>
          </p:grpSpPr>
          <p:sp>
            <p:nvSpPr>
              <p:cNvPr id="64" name="Forma livre: Forma 63">
                <a:extLst>
                  <a:ext uri="{FF2B5EF4-FFF2-40B4-BE49-F238E27FC236}">
                    <a16:creationId xmlns:a16="http://schemas.microsoft.com/office/drawing/2014/main" id="{E253C399-EE2F-AE5D-8515-04526C087C11}"/>
                  </a:ext>
                </a:extLst>
              </p:cNvPr>
              <p:cNvSpPr/>
              <p:nvPr/>
            </p:nvSpPr>
            <p:spPr>
              <a:xfrm>
                <a:off x="2313989" y="2081546"/>
                <a:ext cx="4899" cy="18030"/>
              </a:xfrm>
              <a:custGeom>
                <a:avLst/>
                <a:gdLst>
                  <a:gd name="connsiteX0" fmla="*/ 0 w 4899"/>
                  <a:gd name="connsiteY0" fmla="*/ 18031 h 18030"/>
                  <a:gd name="connsiteX1" fmla="*/ 0 w 4899"/>
                  <a:gd name="connsiteY1" fmla="*/ 0 h 180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899" h="18030">
                    <a:moveTo>
                      <a:pt x="0" y="18031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65" name="Forma livre: Forma 64">
                <a:extLst>
                  <a:ext uri="{FF2B5EF4-FFF2-40B4-BE49-F238E27FC236}">
                    <a16:creationId xmlns:a16="http://schemas.microsoft.com/office/drawing/2014/main" id="{F8CE4743-C7FA-7D0D-266B-D0A7194C931A}"/>
                  </a:ext>
                </a:extLst>
              </p:cNvPr>
              <p:cNvSpPr/>
              <p:nvPr/>
            </p:nvSpPr>
            <p:spPr>
              <a:xfrm>
                <a:off x="2313989" y="2166997"/>
                <a:ext cx="4899" cy="18030"/>
              </a:xfrm>
              <a:custGeom>
                <a:avLst/>
                <a:gdLst>
                  <a:gd name="connsiteX0" fmla="*/ 0 w 4899"/>
                  <a:gd name="connsiteY0" fmla="*/ 18031 h 18030"/>
                  <a:gd name="connsiteX1" fmla="*/ 0 w 4899"/>
                  <a:gd name="connsiteY1" fmla="*/ 0 h 180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899" h="18030">
                    <a:moveTo>
                      <a:pt x="0" y="18031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66" name="Gráfico 2">
              <a:extLst>
                <a:ext uri="{FF2B5EF4-FFF2-40B4-BE49-F238E27FC236}">
                  <a16:creationId xmlns:a16="http://schemas.microsoft.com/office/drawing/2014/main" id="{0A7CACC7-F52E-8293-C1B1-E7FEE5DE1098}"/>
                </a:ext>
              </a:extLst>
            </p:cNvPr>
            <p:cNvGrpSpPr/>
            <p:nvPr/>
          </p:nvGrpSpPr>
          <p:grpSpPr>
            <a:xfrm>
              <a:off x="2277437" y="2096686"/>
              <a:ext cx="73152" cy="73201"/>
              <a:chOff x="2277437" y="2096686"/>
              <a:chExt cx="73152" cy="73201"/>
            </a:xfrm>
          </p:grpSpPr>
          <p:sp>
            <p:nvSpPr>
              <p:cNvPr id="67" name="Forma livre: Forma 66">
                <a:extLst>
                  <a:ext uri="{FF2B5EF4-FFF2-40B4-BE49-F238E27FC236}">
                    <a16:creationId xmlns:a16="http://schemas.microsoft.com/office/drawing/2014/main" id="{E3D4E013-7B4D-5BEC-AFD9-5A5FF2A6ABB2}"/>
                  </a:ext>
                </a:extLst>
              </p:cNvPr>
              <p:cNvSpPr/>
              <p:nvPr/>
            </p:nvSpPr>
            <p:spPr>
              <a:xfrm>
                <a:off x="2337850" y="2096686"/>
                <a:ext cx="12739" cy="12739"/>
              </a:xfrm>
              <a:custGeom>
                <a:avLst/>
                <a:gdLst>
                  <a:gd name="connsiteX0" fmla="*/ 0 w 12739"/>
                  <a:gd name="connsiteY0" fmla="*/ 12739 h 12739"/>
                  <a:gd name="connsiteX1" fmla="*/ 12739 w 12739"/>
                  <a:gd name="connsiteY1" fmla="*/ 0 h 127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739" h="12739">
                    <a:moveTo>
                      <a:pt x="0" y="12739"/>
                    </a:moveTo>
                    <a:lnTo>
                      <a:pt x="12739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68" name="Forma livre: Forma 67">
                <a:extLst>
                  <a:ext uri="{FF2B5EF4-FFF2-40B4-BE49-F238E27FC236}">
                    <a16:creationId xmlns:a16="http://schemas.microsoft.com/office/drawing/2014/main" id="{37851D99-6971-04FD-39F4-BAD5D5B9FB83}"/>
                  </a:ext>
                </a:extLst>
              </p:cNvPr>
              <p:cNvSpPr/>
              <p:nvPr/>
            </p:nvSpPr>
            <p:spPr>
              <a:xfrm>
                <a:off x="2277437" y="2157148"/>
                <a:ext cx="12739" cy="12739"/>
              </a:xfrm>
              <a:custGeom>
                <a:avLst/>
                <a:gdLst>
                  <a:gd name="connsiteX0" fmla="*/ 0 w 12739"/>
                  <a:gd name="connsiteY0" fmla="*/ 12739 h 12739"/>
                  <a:gd name="connsiteX1" fmla="*/ 12739 w 12739"/>
                  <a:gd name="connsiteY1" fmla="*/ 0 h 127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739" h="12739">
                    <a:moveTo>
                      <a:pt x="0" y="12739"/>
                    </a:moveTo>
                    <a:lnTo>
                      <a:pt x="12739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69" name="Gráfico 2">
              <a:extLst>
                <a:ext uri="{FF2B5EF4-FFF2-40B4-BE49-F238E27FC236}">
                  <a16:creationId xmlns:a16="http://schemas.microsoft.com/office/drawing/2014/main" id="{86F11CDA-A82E-CB8C-3153-3F6DC06E435C}"/>
                </a:ext>
              </a:extLst>
            </p:cNvPr>
            <p:cNvGrpSpPr/>
            <p:nvPr/>
          </p:nvGrpSpPr>
          <p:grpSpPr>
            <a:xfrm>
              <a:off x="2277388" y="2096686"/>
              <a:ext cx="73201" cy="73201"/>
              <a:chOff x="2277388" y="2096686"/>
              <a:chExt cx="73201" cy="73201"/>
            </a:xfrm>
          </p:grpSpPr>
          <p:sp>
            <p:nvSpPr>
              <p:cNvPr id="70" name="Forma livre: Forma 69">
                <a:extLst>
                  <a:ext uri="{FF2B5EF4-FFF2-40B4-BE49-F238E27FC236}">
                    <a16:creationId xmlns:a16="http://schemas.microsoft.com/office/drawing/2014/main" id="{9B0806E5-CC8A-268A-3F21-1184F4ED94EF}"/>
                  </a:ext>
                </a:extLst>
              </p:cNvPr>
              <p:cNvSpPr/>
              <p:nvPr/>
            </p:nvSpPr>
            <p:spPr>
              <a:xfrm>
                <a:off x="2337850" y="2157148"/>
                <a:ext cx="12739" cy="12739"/>
              </a:xfrm>
              <a:custGeom>
                <a:avLst/>
                <a:gdLst>
                  <a:gd name="connsiteX0" fmla="*/ 0 w 12739"/>
                  <a:gd name="connsiteY0" fmla="*/ 0 h 12739"/>
                  <a:gd name="connsiteX1" fmla="*/ 12739 w 12739"/>
                  <a:gd name="connsiteY1" fmla="*/ 12739 h 127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739" h="12739">
                    <a:moveTo>
                      <a:pt x="0" y="0"/>
                    </a:moveTo>
                    <a:lnTo>
                      <a:pt x="12739" y="12739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1" name="Forma livre: Forma 70">
                <a:extLst>
                  <a:ext uri="{FF2B5EF4-FFF2-40B4-BE49-F238E27FC236}">
                    <a16:creationId xmlns:a16="http://schemas.microsoft.com/office/drawing/2014/main" id="{A20E02AA-E7D6-2EAD-DD4F-25F613830ED6}"/>
                  </a:ext>
                </a:extLst>
              </p:cNvPr>
              <p:cNvSpPr/>
              <p:nvPr/>
            </p:nvSpPr>
            <p:spPr>
              <a:xfrm>
                <a:off x="2277388" y="2096686"/>
                <a:ext cx="12739" cy="12739"/>
              </a:xfrm>
              <a:custGeom>
                <a:avLst/>
                <a:gdLst>
                  <a:gd name="connsiteX0" fmla="*/ 0 w 12739"/>
                  <a:gd name="connsiteY0" fmla="*/ 0 h 12739"/>
                  <a:gd name="connsiteX1" fmla="*/ 12739 w 12739"/>
                  <a:gd name="connsiteY1" fmla="*/ 12739 h 127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739" h="12739">
                    <a:moveTo>
                      <a:pt x="0" y="0"/>
                    </a:moveTo>
                    <a:lnTo>
                      <a:pt x="12739" y="12739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72" name="Gráfico 2">
              <a:extLst>
                <a:ext uri="{FF2B5EF4-FFF2-40B4-BE49-F238E27FC236}">
                  <a16:creationId xmlns:a16="http://schemas.microsoft.com/office/drawing/2014/main" id="{A5568718-1CAD-062B-97E1-AB8BA1866752}"/>
                </a:ext>
              </a:extLst>
            </p:cNvPr>
            <p:cNvGrpSpPr/>
            <p:nvPr/>
          </p:nvGrpSpPr>
          <p:grpSpPr>
            <a:xfrm>
              <a:off x="2262248" y="2133287"/>
              <a:ext cx="103530" cy="4899"/>
              <a:chOff x="2262248" y="2133287"/>
              <a:chExt cx="103530" cy="4899"/>
            </a:xfrm>
          </p:grpSpPr>
          <p:sp>
            <p:nvSpPr>
              <p:cNvPr id="73" name="Forma livre: Forma 72">
                <a:extLst>
                  <a:ext uri="{FF2B5EF4-FFF2-40B4-BE49-F238E27FC236}">
                    <a16:creationId xmlns:a16="http://schemas.microsoft.com/office/drawing/2014/main" id="{795380AD-47A8-D309-31C7-03CC5401249C}"/>
                  </a:ext>
                </a:extLst>
              </p:cNvPr>
              <p:cNvSpPr/>
              <p:nvPr/>
            </p:nvSpPr>
            <p:spPr>
              <a:xfrm>
                <a:off x="2347748" y="2133287"/>
                <a:ext cx="18030" cy="4899"/>
              </a:xfrm>
              <a:custGeom>
                <a:avLst/>
                <a:gdLst>
                  <a:gd name="connsiteX0" fmla="*/ 0 w 18030"/>
                  <a:gd name="connsiteY0" fmla="*/ 0 h 4899"/>
                  <a:gd name="connsiteX1" fmla="*/ 18031 w 18030"/>
                  <a:gd name="connsiteY1" fmla="*/ 0 h 48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8030" h="4899">
                    <a:moveTo>
                      <a:pt x="0" y="0"/>
                    </a:moveTo>
                    <a:lnTo>
                      <a:pt x="18031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4" name="Forma livre: Forma 73">
                <a:extLst>
                  <a:ext uri="{FF2B5EF4-FFF2-40B4-BE49-F238E27FC236}">
                    <a16:creationId xmlns:a16="http://schemas.microsoft.com/office/drawing/2014/main" id="{70B55486-0D83-3DC5-D0A4-A99F7D107E33}"/>
                  </a:ext>
                </a:extLst>
              </p:cNvPr>
              <p:cNvSpPr/>
              <p:nvPr/>
            </p:nvSpPr>
            <p:spPr>
              <a:xfrm>
                <a:off x="2262248" y="2133287"/>
                <a:ext cx="18030" cy="4899"/>
              </a:xfrm>
              <a:custGeom>
                <a:avLst/>
                <a:gdLst>
                  <a:gd name="connsiteX0" fmla="*/ 0 w 18030"/>
                  <a:gd name="connsiteY0" fmla="*/ 0 h 4899"/>
                  <a:gd name="connsiteX1" fmla="*/ 18031 w 18030"/>
                  <a:gd name="connsiteY1" fmla="*/ 0 h 48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8030" h="4899">
                    <a:moveTo>
                      <a:pt x="0" y="0"/>
                    </a:moveTo>
                    <a:lnTo>
                      <a:pt x="18031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75" name="Forma livre: Forma 74">
              <a:extLst>
                <a:ext uri="{FF2B5EF4-FFF2-40B4-BE49-F238E27FC236}">
                  <a16:creationId xmlns:a16="http://schemas.microsoft.com/office/drawing/2014/main" id="{B1EACD8C-7F05-B53D-A8AD-CB08C40356D9}"/>
                </a:ext>
              </a:extLst>
            </p:cNvPr>
            <p:cNvSpPr/>
            <p:nvPr/>
          </p:nvSpPr>
          <p:spPr>
            <a:xfrm>
              <a:off x="2081841" y="2173856"/>
              <a:ext cx="262770" cy="200985"/>
            </a:xfrm>
            <a:custGeom>
              <a:avLst/>
              <a:gdLst>
                <a:gd name="connsiteX0" fmla="*/ 262771 w 262770"/>
                <a:gd name="connsiteY0" fmla="*/ 200986 h 200985"/>
                <a:gd name="connsiteX1" fmla="*/ 262771 w 262770"/>
                <a:gd name="connsiteY1" fmla="*/ 75994 h 200985"/>
                <a:gd name="connsiteX2" fmla="*/ 131263 w 262770"/>
                <a:gd name="connsiteY2" fmla="*/ 0 h 200985"/>
                <a:gd name="connsiteX3" fmla="*/ 0 w 262770"/>
                <a:gd name="connsiteY3" fmla="*/ 75014 h 200985"/>
                <a:gd name="connsiteX4" fmla="*/ 0 w 262770"/>
                <a:gd name="connsiteY4" fmla="*/ 179084 h 2009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62770" h="200985">
                  <a:moveTo>
                    <a:pt x="262771" y="200986"/>
                  </a:moveTo>
                  <a:lnTo>
                    <a:pt x="262771" y="75994"/>
                  </a:lnTo>
                  <a:lnTo>
                    <a:pt x="131263" y="0"/>
                  </a:lnTo>
                  <a:lnTo>
                    <a:pt x="0" y="75014"/>
                  </a:lnTo>
                  <a:lnTo>
                    <a:pt x="0" y="179084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76" name="Gráfico 2">
            <a:extLst>
              <a:ext uri="{FF2B5EF4-FFF2-40B4-BE49-F238E27FC236}">
                <a16:creationId xmlns:a16="http://schemas.microsoft.com/office/drawing/2014/main" id="{A8CA1BD7-2A10-88D9-DE6B-F7AC1490EDEE}"/>
              </a:ext>
            </a:extLst>
          </p:cNvPr>
          <p:cNvGrpSpPr/>
          <p:nvPr/>
        </p:nvGrpSpPr>
        <p:grpSpPr>
          <a:xfrm>
            <a:off x="2072140" y="2597435"/>
            <a:ext cx="282173" cy="341753"/>
            <a:chOff x="2072140" y="2597435"/>
            <a:chExt cx="282173" cy="341753"/>
          </a:xfrm>
          <a:noFill/>
        </p:grpSpPr>
        <p:sp>
          <p:nvSpPr>
            <p:cNvPr id="77" name="Forma livre: Forma 76">
              <a:extLst>
                <a:ext uri="{FF2B5EF4-FFF2-40B4-BE49-F238E27FC236}">
                  <a16:creationId xmlns:a16="http://schemas.microsoft.com/office/drawing/2014/main" id="{6739F595-04E4-E441-315D-3A62977B1CA8}"/>
                </a:ext>
              </a:extLst>
            </p:cNvPr>
            <p:cNvSpPr/>
            <p:nvPr/>
          </p:nvSpPr>
          <p:spPr>
            <a:xfrm>
              <a:off x="2090171" y="2816500"/>
              <a:ext cx="202602" cy="4899"/>
            </a:xfrm>
            <a:custGeom>
              <a:avLst/>
              <a:gdLst>
                <a:gd name="connsiteX0" fmla="*/ 202603 w 202602"/>
                <a:gd name="connsiteY0" fmla="*/ 0 h 4899"/>
                <a:gd name="connsiteX1" fmla="*/ 0 w 202602"/>
                <a:gd name="connsiteY1" fmla="*/ 0 h 48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02602" h="4899">
                  <a:moveTo>
                    <a:pt x="202603" y="0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78" name="Forma livre: Forma 77">
              <a:extLst>
                <a:ext uri="{FF2B5EF4-FFF2-40B4-BE49-F238E27FC236}">
                  <a16:creationId xmlns:a16="http://schemas.microsoft.com/office/drawing/2014/main" id="{1B0EB66A-89E0-EAF0-BA15-7E4D7B8B51C5}"/>
                </a:ext>
              </a:extLst>
            </p:cNvPr>
            <p:cNvSpPr/>
            <p:nvPr/>
          </p:nvSpPr>
          <p:spPr>
            <a:xfrm>
              <a:off x="2188556" y="2818460"/>
              <a:ext cx="64088" cy="112742"/>
            </a:xfrm>
            <a:custGeom>
              <a:avLst/>
              <a:gdLst>
                <a:gd name="connsiteX0" fmla="*/ 0 w 64088"/>
                <a:gd name="connsiteY0" fmla="*/ 0 h 112742"/>
                <a:gd name="connsiteX1" fmla="*/ 0 w 64088"/>
                <a:gd name="connsiteY1" fmla="*/ 36993 h 112742"/>
                <a:gd name="connsiteX2" fmla="*/ 64088 w 64088"/>
                <a:gd name="connsiteY2" fmla="*/ 112742 h 1127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4088" h="112742">
                  <a:moveTo>
                    <a:pt x="0" y="0"/>
                  </a:moveTo>
                  <a:lnTo>
                    <a:pt x="0" y="36993"/>
                  </a:lnTo>
                  <a:lnTo>
                    <a:pt x="64088" y="112742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79" name="Forma livre: Forma 78">
              <a:extLst>
                <a:ext uri="{FF2B5EF4-FFF2-40B4-BE49-F238E27FC236}">
                  <a16:creationId xmlns:a16="http://schemas.microsoft.com/office/drawing/2014/main" id="{59B817A2-B077-2419-4A06-C91C22A0EAC1}"/>
                </a:ext>
              </a:extLst>
            </p:cNvPr>
            <p:cNvSpPr/>
            <p:nvPr/>
          </p:nvSpPr>
          <p:spPr>
            <a:xfrm>
              <a:off x="2166606" y="2677888"/>
              <a:ext cx="21999" cy="115387"/>
            </a:xfrm>
            <a:custGeom>
              <a:avLst/>
              <a:gdLst>
                <a:gd name="connsiteX0" fmla="*/ 0 w 21999"/>
                <a:gd name="connsiteY0" fmla="*/ 0 h 115387"/>
                <a:gd name="connsiteX1" fmla="*/ 22000 w 21999"/>
                <a:gd name="connsiteY1" fmla="*/ 94368 h 115387"/>
                <a:gd name="connsiteX2" fmla="*/ 22000 w 21999"/>
                <a:gd name="connsiteY2" fmla="*/ 115388 h 1153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1999" h="115387">
                  <a:moveTo>
                    <a:pt x="0" y="0"/>
                  </a:moveTo>
                  <a:cubicBezTo>
                    <a:pt x="10191" y="15924"/>
                    <a:pt x="22000" y="45028"/>
                    <a:pt x="22000" y="94368"/>
                  </a:cubicBezTo>
                  <a:lnTo>
                    <a:pt x="22000" y="115388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0" name="Forma livre: Forma 79">
              <a:extLst>
                <a:ext uri="{FF2B5EF4-FFF2-40B4-BE49-F238E27FC236}">
                  <a16:creationId xmlns:a16="http://schemas.microsoft.com/office/drawing/2014/main" id="{A4DA55EA-7EEF-2D60-106F-2E30AE761F60}"/>
                </a:ext>
              </a:extLst>
            </p:cNvPr>
            <p:cNvSpPr/>
            <p:nvPr/>
          </p:nvSpPr>
          <p:spPr>
            <a:xfrm>
              <a:off x="2147938" y="2719241"/>
              <a:ext cx="37335" cy="12837"/>
            </a:xfrm>
            <a:custGeom>
              <a:avLst/>
              <a:gdLst>
                <a:gd name="connsiteX0" fmla="*/ 0 w 37335"/>
                <a:gd name="connsiteY0" fmla="*/ 0 h 12837"/>
                <a:gd name="connsiteX1" fmla="*/ 37336 w 37335"/>
                <a:gd name="connsiteY1" fmla="*/ 12837 h 12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7335" h="12837">
                  <a:moveTo>
                    <a:pt x="0" y="0"/>
                  </a:moveTo>
                  <a:cubicBezTo>
                    <a:pt x="0" y="0"/>
                    <a:pt x="25723" y="588"/>
                    <a:pt x="37336" y="12837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1" name="Forma livre: Forma 80">
              <a:extLst>
                <a:ext uri="{FF2B5EF4-FFF2-40B4-BE49-F238E27FC236}">
                  <a16:creationId xmlns:a16="http://schemas.microsoft.com/office/drawing/2014/main" id="{4776CEB2-121C-821C-B439-E39BEA030393}"/>
                </a:ext>
              </a:extLst>
            </p:cNvPr>
            <p:cNvSpPr/>
            <p:nvPr/>
          </p:nvSpPr>
          <p:spPr>
            <a:xfrm>
              <a:off x="2117340" y="2597435"/>
              <a:ext cx="59091" cy="84928"/>
            </a:xfrm>
            <a:custGeom>
              <a:avLst/>
              <a:gdLst>
                <a:gd name="connsiteX0" fmla="*/ 50736 w 59091"/>
                <a:gd name="connsiteY0" fmla="*/ 82756 h 84928"/>
                <a:gd name="connsiteX1" fmla="*/ 4777 w 59091"/>
                <a:gd name="connsiteY1" fmla="*/ 50957 h 84928"/>
                <a:gd name="connsiteX2" fmla="*/ 2572 w 59091"/>
                <a:gd name="connsiteY2" fmla="*/ 0 h 84928"/>
                <a:gd name="connsiteX3" fmla="*/ 45542 w 59091"/>
                <a:gd name="connsiteY3" fmla="*/ 27144 h 84928"/>
                <a:gd name="connsiteX4" fmla="*/ 50736 w 59091"/>
                <a:gd name="connsiteY4" fmla="*/ 82756 h 849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9091" h="84928">
                  <a:moveTo>
                    <a:pt x="50736" y="82756"/>
                  </a:moveTo>
                  <a:cubicBezTo>
                    <a:pt x="36772" y="91183"/>
                    <a:pt x="11979" y="73936"/>
                    <a:pt x="4777" y="50957"/>
                  </a:cubicBezTo>
                  <a:cubicBezTo>
                    <a:pt x="-4483" y="21314"/>
                    <a:pt x="2572" y="0"/>
                    <a:pt x="2572" y="0"/>
                  </a:cubicBezTo>
                  <a:cubicBezTo>
                    <a:pt x="2572" y="0"/>
                    <a:pt x="26140" y="6467"/>
                    <a:pt x="45542" y="27144"/>
                  </a:cubicBezTo>
                  <a:cubicBezTo>
                    <a:pt x="62005" y="44685"/>
                    <a:pt x="63132" y="75308"/>
                    <a:pt x="50736" y="82756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2" name="Forma livre: Forma 81">
              <a:extLst>
                <a:ext uri="{FF2B5EF4-FFF2-40B4-BE49-F238E27FC236}">
                  <a16:creationId xmlns:a16="http://schemas.microsoft.com/office/drawing/2014/main" id="{88BE6839-B340-BBBD-F870-318F10C56EC4}"/>
                </a:ext>
              </a:extLst>
            </p:cNvPr>
            <p:cNvSpPr/>
            <p:nvPr/>
          </p:nvSpPr>
          <p:spPr>
            <a:xfrm>
              <a:off x="2072140" y="2704661"/>
              <a:ext cx="75387" cy="39408"/>
            </a:xfrm>
            <a:custGeom>
              <a:avLst/>
              <a:gdLst>
                <a:gd name="connsiteX0" fmla="*/ 75308 w 75387"/>
                <a:gd name="connsiteY0" fmla="*/ 16393 h 39408"/>
                <a:gd name="connsiteX1" fmla="*/ 37434 w 75387"/>
                <a:gd name="connsiteY1" fmla="*/ 39128 h 39408"/>
                <a:gd name="connsiteX2" fmla="*/ 0 w 75387"/>
                <a:gd name="connsiteY2" fmla="*/ 24135 h 39408"/>
                <a:gd name="connsiteX3" fmla="*/ 33514 w 75387"/>
                <a:gd name="connsiteY3" fmla="*/ 1988 h 39408"/>
                <a:gd name="connsiteX4" fmla="*/ 75259 w 75387"/>
                <a:gd name="connsiteY4" fmla="*/ 16344 h 394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5387" h="39408">
                  <a:moveTo>
                    <a:pt x="75308" y="16393"/>
                  </a:moveTo>
                  <a:cubicBezTo>
                    <a:pt x="76827" y="29181"/>
                    <a:pt x="56347" y="41430"/>
                    <a:pt x="37434" y="39128"/>
                  </a:cubicBezTo>
                  <a:cubicBezTo>
                    <a:pt x="13033" y="36139"/>
                    <a:pt x="0" y="24135"/>
                    <a:pt x="0" y="24135"/>
                  </a:cubicBezTo>
                  <a:cubicBezTo>
                    <a:pt x="0" y="24135"/>
                    <a:pt x="12347" y="9288"/>
                    <a:pt x="33514" y="1988"/>
                  </a:cubicBezTo>
                  <a:cubicBezTo>
                    <a:pt x="51496" y="-4186"/>
                    <a:pt x="73936" y="4977"/>
                    <a:pt x="75259" y="16344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3" name="Forma livre: Forma 82">
              <a:extLst>
                <a:ext uri="{FF2B5EF4-FFF2-40B4-BE49-F238E27FC236}">
                  <a16:creationId xmlns:a16="http://schemas.microsoft.com/office/drawing/2014/main" id="{0C733552-5929-47DD-F4A7-6E39772B22DA}"/>
                </a:ext>
              </a:extLst>
            </p:cNvPr>
            <p:cNvSpPr/>
            <p:nvPr/>
          </p:nvSpPr>
          <p:spPr>
            <a:xfrm>
              <a:off x="2215486" y="2640959"/>
              <a:ext cx="138826" cy="109256"/>
            </a:xfrm>
            <a:custGeom>
              <a:avLst/>
              <a:gdLst>
                <a:gd name="connsiteX0" fmla="*/ 88066 w 138826"/>
                <a:gd name="connsiteY0" fmla="*/ 93667 h 109256"/>
                <a:gd name="connsiteX1" fmla="*/ 7074 w 138826"/>
                <a:gd name="connsiteY1" fmla="*/ 80977 h 109256"/>
                <a:gd name="connsiteX2" fmla="*/ 36276 w 138826"/>
                <a:gd name="connsiteY2" fmla="*/ 4885 h 109256"/>
                <a:gd name="connsiteX3" fmla="*/ 138827 w 138826"/>
                <a:gd name="connsiteY3" fmla="*/ 5375 h 109256"/>
                <a:gd name="connsiteX4" fmla="*/ 88017 w 138826"/>
                <a:gd name="connsiteY4" fmla="*/ 93618 h 1092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8826" h="109256">
                  <a:moveTo>
                    <a:pt x="88066" y="93667"/>
                  </a:moveTo>
                  <a:cubicBezTo>
                    <a:pt x="52151" y="123604"/>
                    <a:pt x="20450" y="105426"/>
                    <a:pt x="7074" y="80977"/>
                  </a:cubicBezTo>
                  <a:cubicBezTo>
                    <a:pt x="-6253" y="56527"/>
                    <a:pt x="-2970" y="19780"/>
                    <a:pt x="36276" y="4885"/>
                  </a:cubicBezTo>
                  <a:cubicBezTo>
                    <a:pt x="65919" y="-6385"/>
                    <a:pt x="138827" y="5375"/>
                    <a:pt x="138827" y="5375"/>
                  </a:cubicBezTo>
                  <a:cubicBezTo>
                    <a:pt x="138827" y="5375"/>
                    <a:pt x="114083" y="71913"/>
                    <a:pt x="88017" y="93618"/>
                  </a:cubicBez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4" name="Forma livre: Forma 83">
              <a:extLst>
                <a:ext uri="{FF2B5EF4-FFF2-40B4-BE49-F238E27FC236}">
                  <a16:creationId xmlns:a16="http://schemas.microsoft.com/office/drawing/2014/main" id="{494B8EC3-D5BE-11E6-26F2-F1073CC05E48}"/>
                </a:ext>
              </a:extLst>
            </p:cNvPr>
            <p:cNvSpPr/>
            <p:nvPr/>
          </p:nvSpPr>
          <p:spPr>
            <a:xfrm>
              <a:off x="2249166" y="2707580"/>
              <a:ext cx="27291" cy="14748"/>
            </a:xfrm>
            <a:custGeom>
              <a:avLst/>
              <a:gdLst>
                <a:gd name="connsiteX0" fmla="*/ 0 w 27291"/>
                <a:gd name="connsiteY0" fmla="*/ 0 h 14748"/>
                <a:gd name="connsiteX1" fmla="*/ 27291 w 27291"/>
                <a:gd name="connsiteY1" fmla="*/ 14748 h 147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7291" h="14748">
                  <a:moveTo>
                    <a:pt x="0" y="0"/>
                  </a:moveTo>
                  <a:lnTo>
                    <a:pt x="27291" y="14748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5" name="Forma livre: Forma 84">
              <a:extLst>
                <a:ext uri="{FF2B5EF4-FFF2-40B4-BE49-F238E27FC236}">
                  <a16:creationId xmlns:a16="http://schemas.microsoft.com/office/drawing/2014/main" id="{AC072189-47DA-777C-2939-CBEC44A36187}"/>
                </a:ext>
              </a:extLst>
            </p:cNvPr>
            <p:cNvSpPr/>
            <p:nvPr/>
          </p:nvSpPr>
          <p:spPr>
            <a:xfrm>
              <a:off x="2273272" y="2669755"/>
              <a:ext cx="1371" cy="20970"/>
            </a:xfrm>
            <a:custGeom>
              <a:avLst/>
              <a:gdLst>
                <a:gd name="connsiteX0" fmla="*/ 0 w 1371"/>
                <a:gd name="connsiteY0" fmla="*/ 20971 h 20970"/>
                <a:gd name="connsiteX1" fmla="*/ 1372 w 1371"/>
                <a:gd name="connsiteY1" fmla="*/ 0 h 209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371" h="20970">
                  <a:moveTo>
                    <a:pt x="0" y="20971"/>
                  </a:moveTo>
                  <a:lnTo>
                    <a:pt x="1372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6" name="Forma livre: Forma 85">
              <a:extLst>
                <a:ext uri="{FF2B5EF4-FFF2-40B4-BE49-F238E27FC236}">
                  <a16:creationId xmlns:a16="http://schemas.microsoft.com/office/drawing/2014/main" id="{568F7D65-63E5-2CC2-4D12-9BDB64E5E0B2}"/>
                </a:ext>
              </a:extLst>
            </p:cNvPr>
            <p:cNvSpPr/>
            <p:nvPr/>
          </p:nvSpPr>
          <p:spPr>
            <a:xfrm>
              <a:off x="2188165" y="2671175"/>
              <a:ext cx="122884" cy="83490"/>
            </a:xfrm>
            <a:custGeom>
              <a:avLst/>
              <a:gdLst>
                <a:gd name="connsiteX0" fmla="*/ 122884 w 122884"/>
                <a:gd name="connsiteY0" fmla="*/ 0 h 83490"/>
                <a:gd name="connsiteX1" fmla="*/ 31309 w 122884"/>
                <a:gd name="connsiteY1" fmla="*/ 52476 h 83490"/>
                <a:gd name="connsiteX2" fmla="*/ 0 w 122884"/>
                <a:gd name="connsiteY2" fmla="*/ 83491 h 834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2884" h="83490">
                  <a:moveTo>
                    <a:pt x="122884" y="0"/>
                  </a:moveTo>
                  <a:lnTo>
                    <a:pt x="31309" y="52476"/>
                  </a:lnTo>
                  <a:cubicBezTo>
                    <a:pt x="31309" y="52476"/>
                    <a:pt x="8966" y="67028"/>
                    <a:pt x="0" y="83491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7" name="Forma livre: Forma 86">
              <a:extLst>
                <a:ext uri="{FF2B5EF4-FFF2-40B4-BE49-F238E27FC236}">
                  <a16:creationId xmlns:a16="http://schemas.microsoft.com/office/drawing/2014/main" id="{167A2BCB-E9E0-9F8B-A9B6-E5D0FA325365}"/>
                </a:ext>
              </a:extLst>
            </p:cNvPr>
            <p:cNvSpPr/>
            <p:nvPr/>
          </p:nvSpPr>
          <p:spPr>
            <a:xfrm>
              <a:off x="2230596" y="2898178"/>
              <a:ext cx="36355" cy="5683"/>
            </a:xfrm>
            <a:custGeom>
              <a:avLst/>
              <a:gdLst>
                <a:gd name="connsiteX0" fmla="*/ 0 w 36355"/>
                <a:gd name="connsiteY0" fmla="*/ 5684 h 5683"/>
                <a:gd name="connsiteX1" fmla="*/ 36356 w 36355"/>
                <a:gd name="connsiteY1" fmla="*/ 0 h 56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6355" h="5683">
                  <a:moveTo>
                    <a:pt x="0" y="5684"/>
                  </a:moveTo>
                  <a:lnTo>
                    <a:pt x="36356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8" name="Forma livre: Forma 87">
              <a:extLst>
                <a:ext uri="{FF2B5EF4-FFF2-40B4-BE49-F238E27FC236}">
                  <a16:creationId xmlns:a16="http://schemas.microsoft.com/office/drawing/2014/main" id="{6DD69923-2FB2-F005-0FF6-7C573A7FCCEB}"/>
                </a:ext>
              </a:extLst>
            </p:cNvPr>
            <p:cNvSpPr/>
            <p:nvPr/>
          </p:nvSpPr>
          <p:spPr>
            <a:xfrm>
              <a:off x="2203256" y="2879707"/>
              <a:ext cx="4360" cy="35081"/>
            </a:xfrm>
            <a:custGeom>
              <a:avLst/>
              <a:gdLst>
                <a:gd name="connsiteX0" fmla="*/ 4361 w 4360"/>
                <a:gd name="connsiteY0" fmla="*/ 0 h 35081"/>
                <a:gd name="connsiteX1" fmla="*/ 0 w 4360"/>
                <a:gd name="connsiteY1" fmla="*/ 35082 h 350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360" h="35081">
                  <a:moveTo>
                    <a:pt x="4361" y="0"/>
                  </a:moveTo>
                  <a:lnTo>
                    <a:pt x="0" y="35082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9" name="Forma livre: Forma 88">
              <a:extLst>
                <a:ext uri="{FF2B5EF4-FFF2-40B4-BE49-F238E27FC236}">
                  <a16:creationId xmlns:a16="http://schemas.microsoft.com/office/drawing/2014/main" id="{5DDBF908-F414-8BC9-9F31-A750809939AE}"/>
                </a:ext>
              </a:extLst>
            </p:cNvPr>
            <p:cNvSpPr/>
            <p:nvPr/>
          </p:nvSpPr>
          <p:spPr>
            <a:xfrm>
              <a:off x="2136914" y="2867310"/>
              <a:ext cx="29790" cy="11171"/>
            </a:xfrm>
            <a:custGeom>
              <a:avLst/>
              <a:gdLst>
                <a:gd name="connsiteX0" fmla="*/ 0 w 29790"/>
                <a:gd name="connsiteY0" fmla="*/ 0 h 11171"/>
                <a:gd name="connsiteX1" fmla="*/ 29790 w 29790"/>
                <a:gd name="connsiteY1" fmla="*/ 11171 h 111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9790" h="11171">
                  <a:moveTo>
                    <a:pt x="0" y="0"/>
                  </a:moveTo>
                  <a:lnTo>
                    <a:pt x="29790" y="11171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0" name="Forma livre: Forma 89">
              <a:extLst>
                <a:ext uri="{FF2B5EF4-FFF2-40B4-BE49-F238E27FC236}">
                  <a16:creationId xmlns:a16="http://schemas.microsoft.com/office/drawing/2014/main" id="{F2B14AED-ADA5-DE88-4CBE-DDEC09AE76C9}"/>
                </a:ext>
              </a:extLst>
            </p:cNvPr>
            <p:cNvSpPr/>
            <p:nvPr/>
          </p:nvSpPr>
          <p:spPr>
            <a:xfrm>
              <a:off x="2147987" y="2903813"/>
              <a:ext cx="6075" cy="32289"/>
            </a:xfrm>
            <a:custGeom>
              <a:avLst/>
              <a:gdLst>
                <a:gd name="connsiteX0" fmla="*/ 0 w 6075"/>
                <a:gd name="connsiteY0" fmla="*/ 0 h 32289"/>
                <a:gd name="connsiteX1" fmla="*/ 6076 w 6075"/>
                <a:gd name="connsiteY1" fmla="*/ 32289 h 322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75" h="32289">
                  <a:moveTo>
                    <a:pt x="0" y="0"/>
                  </a:moveTo>
                  <a:lnTo>
                    <a:pt x="6076" y="32289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1" name="Forma livre: Forma 90">
              <a:extLst>
                <a:ext uri="{FF2B5EF4-FFF2-40B4-BE49-F238E27FC236}">
                  <a16:creationId xmlns:a16="http://schemas.microsoft.com/office/drawing/2014/main" id="{9AEC2186-86A8-6ADD-38A5-B9D6391B1B2C}"/>
                </a:ext>
              </a:extLst>
            </p:cNvPr>
            <p:cNvSpPr/>
            <p:nvPr/>
          </p:nvSpPr>
          <p:spPr>
            <a:xfrm>
              <a:off x="2115453" y="2855453"/>
              <a:ext cx="73103" cy="83735"/>
            </a:xfrm>
            <a:custGeom>
              <a:avLst/>
              <a:gdLst>
                <a:gd name="connsiteX0" fmla="*/ 73103 w 73103"/>
                <a:gd name="connsiteY0" fmla="*/ 0 h 83735"/>
                <a:gd name="connsiteX1" fmla="*/ 0 w 73103"/>
                <a:gd name="connsiteY1" fmla="*/ 83736 h 837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3103" h="83735">
                  <a:moveTo>
                    <a:pt x="73103" y="0"/>
                  </a:moveTo>
                  <a:lnTo>
                    <a:pt x="0" y="83736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92" name="Gráfico 2">
            <a:extLst>
              <a:ext uri="{FF2B5EF4-FFF2-40B4-BE49-F238E27FC236}">
                <a16:creationId xmlns:a16="http://schemas.microsoft.com/office/drawing/2014/main" id="{7E08BE91-9DC1-9B23-C527-3AE8F161E95F}"/>
              </a:ext>
            </a:extLst>
          </p:cNvPr>
          <p:cNvGrpSpPr/>
          <p:nvPr/>
        </p:nvGrpSpPr>
        <p:grpSpPr>
          <a:xfrm>
            <a:off x="2036225" y="3165800"/>
            <a:ext cx="354101" cy="284035"/>
            <a:chOff x="2036225" y="3165800"/>
            <a:chExt cx="354101" cy="284035"/>
          </a:xfrm>
        </p:grpSpPr>
        <p:sp>
          <p:nvSpPr>
            <p:cNvPr id="93" name="Forma livre: Forma 92">
              <a:extLst>
                <a:ext uri="{FF2B5EF4-FFF2-40B4-BE49-F238E27FC236}">
                  <a16:creationId xmlns:a16="http://schemas.microsoft.com/office/drawing/2014/main" id="{3D75DD50-8387-2D59-894E-15A636B94502}"/>
                </a:ext>
              </a:extLst>
            </p:cNvPr>
            <p:cNvSpPr/>
            <p:nvPr/>
          </p:nvSpPr>
          <p:spPr>
            <a:xfrm>
              <a:off x="2036225" y="3390549"/>
              <a:ext cx="319558" cy="59286"/>
            </a:xfrm>
            <a:custGeom>
              <a:avLst/>
              <a:gdLst>
                <a:gd name="connsiteX0" fmla="*/ 319558 w 319558"/>
                <a:gd name="connsiteY0" fmla="*/ 0 h 59286"/>
                <a:gd name="connsiteX1" fmla="*/ 216028 w 319558"/>
                <a:gd name="connsiteY1" fmla="*/ 0 h 59286"/>
                <a:gd name="connsiteX2" fmla="*/ 156741 w 319558"/>
                <a:gd name="connsiteY2" fmla="*/ 59286 h 59286"/>
                <a:gd name="connsiteX3" fmla="*/ 97455 w 319558"/>
                <a:gd name="connsiteY3" fmla="*/ 0 h 59286"/>
                <a:gd name="connsiteX4" fmla="*/ 0 w 319558"/>
                <a:gd name="connsiteY4" fmla="*/ 0 h 59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19558" h="59286">
                  <a:moveTo>
                    <a:pt x="319558" y="0"/>
                  </a:moveTo>
                  <a:lnTo>
                    <a:pt x="216028" y="0"/>
                  </a:lnTo>
                  <a:cubicBezTo>
                    <a:pt x="216028" y="32730"/>
                    <a:pt x="189471" y="59286"/>
                    <a:pt x="156741" y="59286"/>
                  </a:cubicBezTo>
                  <a:cubicBezTo>
                    <a:pt x="124011" y="59286"/>
                    <a:pt x="97455" y="32730"/>
                    <a:pt x="97455" y="0"/>
                  </a:cubicBezTo>
                  <a:lnTo>
                    <a:pt x="0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94" name="Gráfico 2">
              <a:extLst>
                <a:ext uri="{FF2B5EF4-FFF2-40B4-BE49-F238E27FC236}">
                  <a16:creationId xmlns:a16="http://schemas.microsoft.com/office/drawing/2014/main" id="{B8B633B0-6137-98E1-2F6F-A1F40A7413DC}"/>
                </a:ext>
              </a:extLst>
            </p:cNvPr>
            <p:cNvGrpSpPr/>
            <p:nvPr/>
          </p:nvGrpSpPr>
          <p:grpSpPr>
            <a:xfrm>
              <a:off x="2058189" y="3165800"/>
              <a:ext cx="332136" cy="135442"/>
              <a:chOff x="2058189" y="3165800"/>
              <a:chExt cx="332136" cy="135442"/>
            </a:xfrm>
            <a:noFill/>
          </p:grpSpPr>
          <p:sp>
            <p:nvSpPr>
              <p:cNvPr id="95" name="Forma livre: Forma 94">
                <a:extLst>
                  <a:ext uri="{FF2B5EF4-FFF2-40B4-BE49-F238E27FC236}">
                    <a16:creationId xmlns:a16="http://schemas.microsoft.com/office/drawing/2014/main" id="{3F0355AE-D3B3-A1C2-614F-2E3D11AF9CEB}"/>
                  </a:ext>
                </a:extLst>
              </p:cNvPr>
              <p:cNvSpPr/>
              <p:nvPr/>
            </p:nvSpPr>
            <p:spPr>
              <a:xfrm>
                <a:off x="2058189" y="3165800"/>
                <a:ext cx="291126" cy="135442"/>
              </a:xfrm>
              <a:custGeom>
                <a:avLst/>
                <a:gdLst>
                  <a:gd name="connsiteX0" fmla="*/ 92444 w 291126"/>
                  <a:gd name="connsiteY0" fmla="*/ 101669 h 135442"/>
                  <a:gd name="connsiteX1" fmla="*/ 32864 w 291126"/>
                  <a:gd name="connsiteY1" fmla="*/ 132096 h 135442"/>
                  <a:gd name="connsiteX2" fmla="*/ 2289 w 291126"/>
                  <a:gd name="connsiteY2" fmla="*/ 125432 h 135442"/>
                  <a:gd name="connsiteX3" fmla="*/ 13118 w 291126"/>
                  <a:gd name="connsiteY3" fmla="*/ 95348 h 135442"/>
                  <a:gd name="connsiteX4" fmla="*/ 136688 w 291126"/>
                  <a:gd name="connsiteY4" fmla="*/ 29104 h 135442"/>
                  <a:gd name="connsiteX5" fmla="*/ 143205 w 291126"/>
                  <a:gd name="connsiteY5" fmla="*/ 27487 h 135442"/>
                  <a:gd name="connsiteX6" fmla="*/ 258446 w 291126"/>
                  <a:gd name="connsiteY6" fmla="*/ 24351 h 135442"/>
                  <a:gd name="connsiteX7" fmla="*/ 291127 w 291126"/>
                  <a:gd name="connsiteY7" fmla="*/ 0 h 1354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91126" h="135442">
                    <a:moveTo>
                      <a:pt x="92444" y="101669"/>
                    </a:moveTo>
                    <a:lnTo>
                      <a:pt x="32864" y="132096"/>
                    </a:lnTo>
                    <a:cubicBezTo>
                      <a:pt x="21349" y="138269"/>
                      <a:pt x="7826" y="135819"/>
                      <a:pt x="2289" y="125432"/>
                    </a:cubicBezTo>
                    <a:cubicBezTo>
                      <a:pt x="-3247" y="115045"/>
                      <a:pt x="1603" y="101522"/>
                      <a:pt x="13118" y="95348"/>
                    </a:cubicBezTo>
                    <a:lnTo>
                      <a:pt x="136688" y="29104"/>
                    </a:lnTo>
                    <a:lnTo>
                      <a:pt x="143205" y="27487"/>
                    </a:lnTo>
                    <a:lnTo>
                      <a:pt x="258446" y="24351"/>
                    </a:lnTo>
                    <a:cubicBezTo>
                      <a:pt x="258446" y="24351"/>
                      <a:pt x="273292" y="20187"/>
                      <a:pt x="291127" y="0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6" name="Forma livre: Forma 95">
                <a:extLst>
                  <a:ext uri="{FF2B5EF4-FFF2-40B4-BE49-F238E27FC236}">
                    <a16:creationId xmlns:a16="http://schemas.microsoft.com/office/drawing/2014/main" id="{F8996FA4-B34B-6EE1-6769-BE481BA6A02F}"/>
                  </a:ext>
                </a:extLst>
              </p:cNvPr>
              <p:cNvSpPr/>
              <p:nvPr/>
            </p:nvSpPr>
            <p:spPr>
              <a:xfrm>
                <a:off x="2170575" y="3226409"/>
                <a:ext cx="219751" cy="58469"/>
              </a:xfrm>
              <a:custGeom>
                <a:avLst/>
                <a:gdLst>
                  <a:gd name="connsiteX0" fmla="*/ 219751 w 219751"/>
                  <a:gd name="connsiteY0" fmla="*/ 0 h 58469"/>
                  <a:gd name="connsiteX1" fmla="*/ 167472 w 219751"/>
                  <a:gd name="connsiteY1" fmla="*/ 48115 h 58469"/>
                  <a:gd name="connsiteX2" fmla="*/ 111615 w 219751"/>
                  <a:gd name="connsiteY2" fmla="*/ 55857 h 58469"/>
                  <a:gd name="connsiteX3" fmla="*/ 69723 w 219751"/>
                  <a:gd name="connsiteY3" fmla="*/ 51104 h 58469"/>
                  <a:gd name="connsiteX4" fmla="*/ 24498 w 219751"/>
                  <a:gd name="connsiteY4" fmla="*/ 51104 h 58469"/>
                  <a:gd name="connsiteX5" fmla="*/ 0 w 219751"/>
                  <a:gd name="connsiteY5" fmla="*/ 29741 h 58469"/>
                  <a:gd name="connsiteX6" fmla="*/ 24498 w 219751"/>
                  <a:gd name="connsiteY6" fmla="*/ 8378 h 58469"/>
                  <a:gd name="connsiteX7" fmla="*/ 87068 w 219751"/>
                  <a:gd name="connsiteY7" fmla="*/ 8378 h 584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19751" h="58469">
                    <a:moveTo>
                      <a:pt x="219751" y="0"/>
                    </a:moveTo>
                    <a:lnTo>
                      <a:pt x="167472" y="48115"/>
                    </a:lnTo>
                    <a:cubicBezTo>
                      <a:pt x="141944" y="65362"/>
                      <a:pt x="111615" y="55857"/>
                      <a:pt x="111615" y="55857"/>
                    </a:cubicBezTo>
                    <a:cubicBezTo>
                      <a:pt x="96965" y="51986"/>
                      <a:pt x="69723" y="51104"/>
                      <a:pt x="69723" y="51104"/>
                    </a:cubicBezTo>
                    <a:lnTo>
                      <a:pt x="24498" y="51104"/>
                    </a:lnTo>
                    <a:cubicBezTo>
                      <a:pt x="11024" y="51104"/>
                      <a:pt x="0" y="41500"/>
                      <a:pt x="0" y="29741"/>
                    </a:cubicBezTo>
                    <a:cubicBezTo>
                      <a:pt x="0" y="17982"/>
                      <a:pt x="11024" y="8378"/>
                      <a:pt x="24498" y="8378"/>
                    </a:cubicBezTo>
                    <a:lnTo>
                      <a:pt x="87068" y="8378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97" name="Gráfico 2">
              <a:extLst>
                <a:ext uri="{FF2B5EF4-FFF2-40B4-BE49-F238E27FC236}">
                  <a16:creationId xmlns:a16="http://schemas.microsoft.com/office/drawing/2014/main" id="{C8CE69CB-03AA-CA89-1472-37820DA95DAC}"/>
                </a:ext>
              </a:extLst>
            </p:cNvPr>
            <p:cNvGrpSpPr/>
            <p:nvPr/>
          </p:nvGrpSpPr>
          <p:grpSpPr>
            <a:xfrm>
              <a:off x="2180906" y="3311223"/>
              <a:ext cx="56456" cy="84813"/>
              <a:chOff x="2180906" y="3311223"/>
              <a:chExt cx="56456" cy="84813"/>
            </a:xfrm>
            <a:solidFill>
              <a:srgbClr val="2C333D"/>
            </a:solidFill>
          </p:grpSpPr>
          <p:sp>
            <p:nvSpPr>
              <p:cNvPr id="98" name="Forma livre: Forma 97">
                <a:extLst>
                  <a:ext uri="{FF2B5EF4-FFF2-40B4-BE49-F238E27FC236}">
                    <a16:creationId xmlns:a16="http://schemas.microsoft.com/office/drawing/2014/main" id="{DF93A580-1672-7DA2-AC22-9B7B12F9C27A}"/>
                  </a:ext>
                </a:extLst>
              </p:cNvPr>
              <p:cNvSpPr/>
              <p:nvPr/>
            </p:nvSpPr>
            <p:spPr>
              <a:xfrm>
                <a:off x="2194142" y="3311223"/>
                <a:ext cx="13621" cy="13621"/>
              </a:xfrm>
              <a:custGeom>
                <a:avLst/>
                <a:gdLst>
                  <a:gd name="connsiteX0" fmla="*/ 0 w 13621"/>
                  <a:gd name="connsiteY0" fmla="*/ 13621 h 13621"/>
                  <a:gd name="connsiteX1" fmla="*/ 3724 w 13621"/>
                  <a:gd name="connsiteY1" fmla="*/ 3724 h 13621"/>
                  <a:gd name="connsiteX2" fmla="*/ 13621 w 13621"/>
                  <a:gd name="connsiteY2" fmla="*/ 0 h 13621"/>
                  <a:gd name="connsiteX3" fmla="*/ 9897 w 13621"/>
                  <a:gd name="connsiteY3" fmla="*/ 9897 h 13621"/>
                  <a:gd name="connsiteX4" fmla="*/ 0 w 13621"/>
                  <a:gd name="connsiteY4" fmla="*/ 13621 h 136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3621" h="13621">
                    <a:moveTo>
                      <a:pt x="0" y="13621"/>
                    </a:moveTo>
                    <a:cubicBezTo>
                      <a:pt x="343" y="10093"/>
                      <a:pt x="1323" y="6076"/>
                      <a:pt x="3724" y="3724"/>
                    </a:cubicBezTo>
                    <a:cubicBezTo>
                      <a:pt x="6125" y="1323"/>
                      <a:pt x="10093" y="343"/>
                      <a:pt x="13621" y="0"/>
                    </a:cubicBezTo>
                    <a:cubicBezTo>
                      <a:pt x="13278" y="3528"/>
                      <a:pt x="12298" y="7545"/>
                      <a:pt x="9897" y="9897"/>
                    </a:cubicBezTo>
                    <a:cubicBezTo>
                      <a:pt x="7497" y="12298"/>
                      <a:pt x="3479" y="13278"/>
                      <a:pt x="0" y="13621"/>
                    </a:cubicBezTo>
                    <a:close/>
                  </a:path>
                </a:pathLst>
              </a:custGeom>
              <a:solidFill>
                <a:srgbClr val="2C333D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9" name="Forma livre: Forma 98">
                <a:extLst>
                  <a:ext uri="{FF2B5EF4-FFF2-40B4-BE49-F238E27FC236}">
                    <a16:creationId xmlns:a16="http://schemas.microsoft.com/office/drawing/2014/main" id="{0E30993D-86CE-DE6B-37AA-5BFF3374E47C}"/>
                  </a:ext>
                </a:extLst>
              </p:cNvPr>
              <p:cNvSpPr/>
              <p:nvPr/>
            </p:nvSpPr>
            <p:spPr>
              <a:xfrm>
                <a:off x="2228190" y="3341454"/>
                <a:ext cx="9171" cy="18422"/>
              </a:xfrm>
              <a:custGeom>
                <a:avLst/>
                <a:gdLst>
                  <a:gd name="connsiteX0" fmla="*/ 1769 w 9171"/>
                  <a:gd name="connsiteY0" fmla="*/ 18423 h 18422"/>
                  <a:gd name="connsiteX1" fmla="*/ 397 w 9171"/>
                  <a:gd name="connsiteY1" fmla="*/ 7937 h 18422"/>
                  <a:gd name="connsiteX2" fmla="*/ 7403 w 9171"/>
                  <a:gd name="connsiteY2" fmla="*/ 0 h 18422"/>
                  <a:gd name="connsiteX3" fmla="*/ 8775 w 9171"/>
                  <a:gd name="connsiteY3" fmla="*/ 10485 h 18422"/>
                  <a:gd name="connsiteX4" fmla="*/ 1769 w 9171"/>
                  <a:gd name="connsiteY4" fmla="*/ 18423 h 184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9171" h="18422">
                    <a:moveTo>
                      <a:pt x="1769" y="18423"/>
                    </a:moveTo>
                    <a:cubicBezTo>
                      <a:pt x="397" y="15140"/>
                      <a:pt x="-583" y="11171"/>
                      <a:pt x="397" y="7937"/>
                    </a:cubicBezTo>
                    <a:cubicBezTo>
                      <a:pt x="1376" y="4704"/>
                      <a:pt x="4414" y="1960"/>
                      <a:pt x="7403" y="0"/>
                    </a:cubicBezTo>
                    <a:cubicBezTo>
                      <a:pt x="8775" y="3283"/>
                      <a:pt x="9755" y="7252"/>
                      <a:pt x="8775" y="10485"/>
                    </a:cubicBezTo>
                    <a:cubicBezTo>
                      <a:pt x="7795" y="13719"/>
                      <a:pt x="4708" y="16463"/>
                      <a:pt x="1769" y="18423"/>
                    </a:cubicBezTo>
                    <a:close/>
                  </a:path>
                </a:pathLst>
              </a:custGeom>
              <a:solidFill>
                <a:srgbClr val="2C333D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00" name="Forma livre: Forma 99">
                <a:extLst>
                  <a:ext uri="{FF2B5EF4-FFF2-40B4-BE49-F238E27FC236}">
                    <a16:creationId xmlns:a16="http://schemas.microsoft.com/office/drawing/2014/main" id="{2049A03D-3275-682D-75AA-835B360D3419}"/>
                  </a:ext>
                </a:extLst>
              </p:cNvPr>
              <p:cNvSpPr/>
              <p:nvPr/>
            </p:nvSpPr>
            <p:spPr>
              <a:xfrm>
                <a:off x="2180906" y="3376879"/>
                <a:ext cx="8785" cy="19157"/>
              </a:xfrm>
              <a:custGeom>
                <a:avLst/>
                <a:gdLst>
                  <a:gd name="connsiteX0" fmla="*/ 3290 w 8785"/>
                  <a:gd name="connsiteY0" fmla="*/ 19158 h 19157"/>
                  <a:gd name="connsiteX1" fmla="*/ 56 w 8785"/>
                  <a:gd name="connsiteY1" fmla="*/ 9064 h 19157"/>
                  <a:gd name="connsiteX2" fmla="*/ 5495 w 8785"/>
                  <a:gd name="connsiteY2" fmla="*/ 0 h 19157"/>
                  <a:gd name="connsiteX3" fmla="*/ 8729 w 8785"/>
                  <a:gd name="connsiteY3" fmla="*/ 10093 h 19157"/>
                  <a:gd name="connsiteX4" fmla="*/ 3290 w 8785"/>
                  <a:gd name="connsiteY4" fmla="*/ 19158 h 191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785" h="19157">
                    <a:moveTo>
                      <a:pt x="3290" y="19158"/>
                    </a:moveTo>
                    <a:cubicBezTo>
                      <a:pt x="1379" y="16169"/>
                      <a:pt x="-336" y="12445"/>
                      <a:pt x="56" y="9064"/>
                    </a:cubicBezTo>
                    <a:cubicBezTo>
                      <a:pt x="448" y="5733"/>
                      <a:pt x="2947" y="2450"/>
                      <a:pt x="5495" y="0"/>
                    </a:cubicBezTo>
                    <a:cubicBezTo>
                      <a:pt x="7406" y="2989"/>
                      <a:pt x="9121" y="6713"/>
                      <a:pt x="8729" y="10093"/>
                    </a:cubicBezTo>
                    <a:cubicBezTo>
                      <a:pt x="8337" y="13474"/>
                      <a:pt x="5789" y="16708"/>
                      <a:pt x="3290" y="19158"/>
                    </a:cubicBezTo>
                    <a:close/>
                  </a:path>
                </a:pathLst>
              </a:custGeom>
              <a:solidFill>
                <a:srgbClr val="2C333D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01" name="Gráfico 2">
            <a:extLst>
              <a:ext uri="{FF2B5EF4-FFF2-40B4-BE49-F238E27FC236}">
                <a16:creationId xmlns:a16="http://schemas.microsoft.com/office/drawing/2014/main" id="{D3C58E14-4A45-174A-2DFB-973E2B797CFB}"/>
              </a:ext>
            </a:extLst>
          </p:cNvPr>
          <p:cNvGrpSpPr/>
          <p:nvPr/>
        </p:nvGrpSpPr>
        <p:grpSpPr>
          <a:xfrm>
            <a:off x="2033325" y="1002877"/>
            <a:ext cx="359831" cy="293834"/>
            <a:chOff x="2033325" y="1002877"/>
            <a:chExt cx="359831" cy="293834"/>
          </a:xfrm>
          <a:noFill/>
        </p:grpSpPr>
        <p:sp>
          <p:nvSpPr>
            <p:cNvPr id="102" name="Forma livre: Forma 101">
              <a:extLst>
                <a:ext uri="{FF2B5EF4-FFF2-40B4-BE49-F238E27FC236}">
                  <a16:creationId xmlns:a16="http://schemas.microsoft.com/office/drawing/2014/main" id="{AB114C79-66E6-8E92-8A35-6D6983E1926C}"/>
                </a:ext>
              </a:extLst>
            </p:cNvPr>
            <p:cNvSpPr/>
            <p:nvPr/>
          </p:nvSpPr>
          <p:spPr>
            <a:xfrm>
              <a:off x="2142303" y="1224785"/>
              <a:ext cx="92163" cy="40128"/>
            </a:xfrm>
            <a:custGeom>
              <a:avLst/>
              <a:gdLst>
                <a:gd name="connsiteX0" fmla="*/ 92163 w 92163"/>
                <a:gd name="connsiteY0" fmla="*/ 40129 h 40128"/>
                <a:gd name="connsiteX1" fmla="*/ 0 w 92163"/>
                <a:gd name="connsiteY1" fmla="*/ 40129 h 40128"/>
                <a:gd name="connsiteX2" fmla="*/ 0 w 92163"/>
                <a:gd name="connsiteY2" fmla="*/ 0 h 40128"/>
                <a:gd name="connsiteX3" fmla="*/ 92163 w 92163"/>
                <a:gd name="connsiteY3" fmla="*/ 0 h 401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2163" h="40128">
                  <a:moveTo>
                    <a:pt x="92163" y="40129"/>
                  </a:moveTo>
                  <a:lnTo>
                    <a:pt x="0" y="40129"/>
                  </a:lnTo>
                  <a:lnTo>
                    <a:pt x="0" y="0"/>
                  </a:lnTo>
                  <a:lnTo>
                    <a:pt x="92163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3" name="Forma livre: Forma 102">
              <a:extLst>
                <a:ext uri="{FF2B5EF4-FFF2-40B4-BE49-F238E27FC236}">
                  <a16:creationId xmlns:a16="http://schemas.microsoft.com/office/drawing/2014/main" id="{9B1AF194-4389-62BC-6141-DEB8D474ECB6}"/>
                </a:ext>
              </a:extLst>
            </p:cNvPr>
            <p:cNvSpPr/>
            <p:nvPr/>
          </p:nvSpPr>
          <p:spPr>
            <a:xfrm>
              <a:off x="2134807" y="1002877"/>
              <a:ext cx="34297" cy="131703"/>
            </a:xfrm>
            <a:custGeom>
              <a:avLst/>
              <a:gdLst>
                <a:gd name="connsiteX0" fmla="*/ 34298 w 34297"/>
                <a:gd name="connsiteY0" fmla="*/ 131704 h 131703"/>
                <a:gd name="connsiteX1" fmla="*/ 34298 w 34297"/>
                <a:gd name="connsiteY1" fmla="*/ 13915 h 131703"/>
                <a:gd name="connsiteX2" fmla="*/ 20432 w 34297"/>
                <a:gd name="connsiteY2" fmla="*/ 0 h 131703"/>
                <a:gd name="connsiteX3" fmla="*/ 13915 w 34297"/>
                <a:gd name="connsiteY3" fmla="*/ 0 h 131703"/>
                <a:gd name="connsiteX4" fmla="*/ 0 w 34297"/>
                <a:gd name="connsiteY4" fmla="*/ 13866 h 131703"/>
                <a:gd name="connsiteX5" fmla="*/ 0 w 34297"/>
                <a:gd name="connsiteY5" fmla="*/ 39541 h 1317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4297" h="131703">
                  <a:moveTo>
                    <a:pt x="34298" y="131704"/>
                  </a:moveTo>
                  <a:lnTo>
                    <a:pt x="34298" y="13915"/>
                  </a:lnTo>
                  <a:cubicBezTo>
                    <a:pt x="34298" y="6272"/>
                    <a:pt x="28075" y="0"/>
                    <a:pt x="20432" y="0"/>
                  </a:cubicBezTo>
                  <a:lnTo>
                    <a:pt x="13915" y="0"/>
                  </a:lnTo>
                  <a:cubicBezTo>
                    <a:pt x="6272" y="0"/>
                    <a:pt x="0" y="6223"/>
                    <a:pt x="0" y="13866"/>
                  </a:cubicBezTo>
                  <a:lnTo>
                    <a:pt x="0" y="39541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4" name="Forma livre: Forma 103">
              <a:extLst>
                <a:ext uri="{FF2B5EF4-FFF2-40B4-BE49-F238E27FC236}">
                  <a16:creationId xmlns:a16="http://schemas.microsoft.com/office/drawing/2014/main" id="{F469BA5E-2325-4BF7-1D0D-D4F61009F2DE}"/>
                </a:ext>
              </a:extLst>
            </p:cNvPr>
            <p:cNvSpPr/>
            <p:nvPr/>
          </p:nvSpPr>
          <p:spPr>
            <a:xfrm>
              <a:off x="2169105" y="1018654"/>
              <a:ext cx="34297" cy="115926"/>
            </a:xfrm>
            <a:custGeom>
              <a:avLst/>
              <a:gdLst>
                <a:gd name="connsiteX0" fmla="*/ 34298 w 34297"/>
                <a:gd name="connsiteY0" fmla="*/ 115927 h 115926"/>
                <a:gd name="connsiteX1" fmla="*/ 34298 w 34297"/>
                <a:gd name="connsiteY1" fmla="*/ 13866 h 115926"/>
                <a:gd name="connsiteX2" fmla="*/ 20432 w 34297"/>
                <a:gd name="connsiteY2" fmla="*/ 0 h 115926"/>
                <a:gd name="connsiteX3" fmla="*/ 13915 w 34297"/>
                <a:gd name="connsiteY3" fmla="*/ 0 h 115926"/>
                <a:gd name="connsiteX4" fmla="*/ 0 w 34297"/>
                <a:gd name="connsiteY4" fmla="*/ 13866 h 115926"/>
                <a:gd name="connsiteX5" fmla="*/ 0 w 34297"/>
                <a:gd name="connsiteY5" fmla="*/ 28712 h 1159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4297" h="115926">
                  <a:moveTo>
                    <a:pt x="34298" y="115927"/>
                  </a:moveTo>
                  <a:lnTo>
                    <a:pt x="34298" y="13866"/>
                  </a:lnTo>
                  <a:cubicBezTo>
                    <a:pt x="34298" y="6223"/>
                    <a:pt x="28075" y="0"/>
                    <a:pt x="20432" y="0"/>
                  </a:cubicBezTo>
                  <a:lnTo>
                    <a:pt x="13915" y="0"/>
                  </a:lnTo>
                  <a:cubicBezTo>
                    <a:pt x="6272" y="0"/>
                    <a:pt x="0" y="6272"/>
                    <a:pt x="0" y="13866"/>
                  </a:cubicBezTo>
                  <a:lnTo>
                    <a:pt x="0" y="28712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5" name="Forma livre: Forma 104">
              <a:extLst>
                <a:ext uri="{FF2B5EF4-FFF2-40B4-BE49-F238E27FC236}">
                  <a16:creationId xmlns:a16="http://schemas.microsoft.com/office/drawing/2014/main" id="{37BB5AF9-6B46-6A73-A651-D3FDBA313708}"/>
                </a:ext>
              </a:extLst>
            </p:cNvPr>
            <p:cNvSpPr/>
            <p:nvPr/>
          </p:nvSpPr>
          <p:spPr>
            <a:xfrm>
              <a:off x="2033325" y="1029777"/>
              <a:ext cx="204374" cy="266935"/>
            </a:xfrm>
            <a:custGeom>
              <a:avLst/>
              <a:gdLst>
                <a:gd name="connsiteX0" fmla="*/ 101481 w 204374"/>
                <a:gd name="connsiteY0" fmla="*/ 104805 h 266935"/>
                <a:gd name="connsiteX1" fmla="*/ 101481 w 204374"/>
                <a:gd name="connsiteY1" fmla="*/ 13866 h 266935"/>
                <a:gd name="connsiteX2" fmla="*/ 87615 w 204374"/>
                <a:gd name="connsiteY2" fmla="*/ 0 h 266935"/>
                <a:gd name="connsiteX3" fmla="*/ 81099 w 204374"/>
                <a:gd name="connsiteY3" fmla="*/ 0 h 266935"/>
                <a:gd name="connsiteX4" fmla="*/ 67233 w 204374"/>
                <a:gd name="connsiteY4" fmla="*/ 13866 h 266935"/>
                <a:gd name="connsiteX5" fmla="*/ 67233 w 204374"/>
                <a:gd name="connsiteY5" fmla="*/ 130626 h 266935"/>
                <a:gd name="connsiteX6" fmla="*/ 34601 w 204374"/>
                <a:gd name="connsiteY6" fmla="*/ 90840 h 266935"/>
                <a:gd name="connsiteX7" fmla="*/ 10788 w 204374"/>
                <a:gd name="connsiteY7" fmla="*/ 88048 h 266935"/>
                <a:gd name="connsiteX8" fmla="*/ 6770 w 204374"/>
                <a:gd name="connsiteY8" fmla="*/ 91134 h 266935"/>
                <a:gd name="connsiteX9" fmla="*/ 3096 w 204374"/>
                <a:gd name="connsiteY9" fmla="*/ 114898 h 266935"/>
                <a:gd name="connsiteX10" fmla="*/ 61598 w 204374"/>
                <a:gd name="connsiteY10" fmla="*/ 198340 h 266935"/>
                <a:gd name="connsiteX11" fmla="*/ 61598 w 204374"/>
                <a:gd name="connsiteY11" fmla="*/ 266936 h 266935"/>
                <a:gd name="connsiteX12" fmla="*/ 204375 w 204374"/>
                <a:gd name="connsiteY12" fmla="*/ 266936 h 266935"/>
                <a:gd name="connsiteX13" fmla="*/ 204375 w 204374"/>
                <a:gd name="connsiteY13" fmla="*/ 30476 h 266935"/>
                <a:gd name="connsiteX14" fmla="*/ 190509 w 204374"/>
                <a:gd name="connsiteY14" fmla="*/ 16610 h 266935"/>
                <a:gd name="connsiteX15" fmla="*/ 183992 w 204374"/>
                <a:gd name="connsiteY15" fmla="*/ 16610 h 266935"/>
                <a:gd name="connsiteX16" fmla="*/ 170077 w 204374"/>
                <a:gd name="connsiteY16" fmla="*/ 30476 h 266935"/>
                <a:gd name="connsiteX17" fmla="*/ 170077 w 204374"/>
                <a:gd name="connsiteY17" fmla="*/ 65705 h 2669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204374" h="266935">
                  <a:moveTo>
                    <a:pt x="101481" y="104805"/>
                  </a:moveTo>
                  <a:lnTo>
                    <a:pt x="101481" y="13866"/>
                  </a:lnTo>
                  <a:cubicBezTo>
                    <a:pt x="101481" y="6223"/>
                    <a:pt x="95259" y="0"/>
                    <a:pt x="87615" y="0"/>
                  </a:cubicBezTo>
                  <a:lnTo>
                    <a:pt x="81099" y="0"/>
                  </a:lnTo>
                  <a:cubicBezTo>
                    <a:pt x="73455" y="0"/>
                    <a:pt x="67233" y="6272"/>
                    <a:pt x="67233" y="13866"/>
                  </a:cubicBezTo>
                  <a:lnTo>
                    <a:pt x="67233" y="130626"/>
                  </a:lnTo>
                  <a:cubicBezTo>
                    <a:pt x="67233" y="130626"/>
                    <a:pt x="34601" y="90840"/>
                    <a:pt x="34601" y="90840"/>
                  </a:cubicBezTo>
                  <a:cubicBezTo>
                    <a:pt x="28819" y="83736"/>
                    <a:pt x="18089" y="82462"/>
                    <a:pt x="10788" y="88048"/>
                  </a:cubicBezTo>
                  <a:lnTo>
                    <a:pt x="6770" y="91134"/>
                  </a:lnTo>
                  <a:cubicBezTo>
                    <a:pt x="-530" y="96720"/>
                    <a:pt x="-2196" y="107401"/>
                    <a:pt x="3096" y="114898"/>
                  </a:cubicBezTo>
                  <a:lnTo>
                    <a:pt x="61598" y="198340"/>
                  </a:lnTo>
                  <a:lnTo>
                    <a:pt x="61598" y="266936"/>
                  </a:lnTo>
                  <a:lnTo>
                    <a:pt x="204375" y="266936"/>
                  </a:lnTo>
                  <a:cubicBezTo>
                    <a:pt x="204375" y="266936"/>
                    <a:pt x="204375" y="30476"/>
                    <a:pt x="204375" y="30476"/>
                  </a:cubicBezTo>
                  <a:cubicBezTo>
                    <a:pt x="204375" y="22833"/>
                    <a:pt x="198103" y="16610"/>
                    <a:pt x="190509" y="16610"/>
                  </a:cubicBezTo>
                  <a:lnTo>
                    <a:pt x="183992" y="16610"/>
                  </a:lnTo>
                  <a:cubicBezTo>
                    <a:pt x="176349" y="16610"/>
                    <a:pt x="170077" y="22882"/>
                    <a:pt x="170077" y="30476"/>
                  </a:cubicBezTo>
                  <a:lnTo>
                    <a:pt x="170077" y="65705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6" name="Forma livre: Forma 105">
              <a:extLst>
                <a:ext uri="{FF2B5EF4-FFF2-40B4-BE49-F238E27FC236}">
                  <a16:creationId xmlns:a16="http://schemas.microsoft.com/office/drawing/2014/main" id="{C3137E5B-8D3E-97A6-9C7E-D1623310BE5C}"/>
                </a:ext>
              </a:extLst>
            </p:cNvPr>
            <p:cNvSpPr/>
            <p:nvPr/>
          </p:nvSpPr>
          <p:spPr>
            <a:xfrm>
              <a:off x="2287187" y="1053835"/>
              <a:ext cx="97787" cy="100149"/>
            </a:xfrm>
            <a:custGeom>
              <a:avLst/>
              <a:gdLst>
                <a:gd name="connsiteX0" fmla="*/ 0 w 97787"/>
                <a:gd name="connsiteY0" fmla="*/ 100149 h 100149"/>
                <a:gd name="connsiteX1" fmla="*/ 92310 w 97787"/>
                <a:gd name="connsiteY1" fmla="*/ 30133 h 100149"/>
                <a:gd name="connsiteX2" fmla="*/ 94956 w 97787"/>
                <a:gd name="connsiteY2" fmla="*/ 10681 h 100149"/>
                <a:gd name="connsiteX3" fmla="*/ 91036 w 97787"/>
                <a:gd name="connsiteY3" fmla="*/ 5487 h 100149"/>
                <a:gd name="connsiteX4" fmla="*/ 71585 w 97787"/>
                <a:gd name="connsiteY4" fmla="*/ 2792 h 100149"/>
                <a:gd name="connsiteX5" fmla="*/ 51153 w 97787"/>
                <a:gd name="connsiteY5" fmla="*/ 18324 h 1001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7787" h="100149">
                  <a:moveTo>
                    <a:pt x="0" y="100149"/>
                  </a:moveTo>
                  <a:lnTo>
                    <a:pt x="92310" y="30133"/>
                  </a:lnTo>
                  <a:cubicBezTo>
                    <a:pt x="98386" y="25527"/>
                    <a:pt x="99611" y="16756"/>
                    <a:pt x="94956" y="10681"/>
                  </a:cubicBezTo>
                  <a:lnTo>
                    <a:pt x="91036" y="5487"/>
                  </a:lnTo>
                  <a:cubicBezTo>
                    <a:pt x="86431" y="-589"/>
                    <a:pt x="77660" y="-1814"/>
                    <a:pt x="71585" y="2792"/>
                  </a:cubicBezTo>
                  <a:lnTo>
                    <a:pt x="51153" y="18324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7" name="Forma livre: Forma 106">
              <a:extLst>
                <a:ext uri="{FF2B5EF4-FFF2-40B4-BE49-F238E27FC236}">
                  <a16:creationId xmlns:a16="http://schemas.microsoft.com/office/drawing/2014/main" id="{FA0A9350-7A12-EDD2-CBD7-B1984E3D4FF0}"/>
                </a:ext>
              </a:extLst>
            </p:cNvPr>
            <p:cNvSpPr/>
            <p:nvPr/>
          </p:nvSpPr>
          <p:spPr>
            <a:xfrm>
              <a:off x="2307913" y="1090632"/>
              <a:ext cx="85243" cy="90692"/>
            </a:xfrm>
            <a:custGeom>
              <a:avLst/>
              <a:gdLst>
                <a:gd name="connsiteX0" fmla="*/ 0 w 85243"/>
                <a:gd name="connsiteY0" fmla="*/ 90693 h 90692"/>
                <a:gd name="connsiteX1" fmla="*/ 79767 w 85243"/>
                <a:gd name="connsiteY1" fmla="*/ 30133 h 90692"/>
                <a:gd name="connsiteX2" fmla="*/ 82413 w 85243"/>
                <a:gd name="connsiteY2" fmla="*/ 10681 h 90692"/>
                <a:gd name="connsiteX3" fmla="*/ 78493 w 85243"/>
                <a:gd name="connsiteY3" fmla="*/ 5487 h 90692"/>
                <a:gd name="connsiteX4" fmla="*/ 59041 w 85243"/>
                <a:gd name="connsiteY4" fmla="*/ 2792 h 90692"/>
                <a:gd name="connsiteX5" fmla="*/ 47233 w 85243"/>
                <a:gd name="connsiteY5" fmla="*/ 11759 h 906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85243" h="90692">
                  <a:moveTo>
                    <a:pt x="0" y="90693"/>
                  </a:moveTo>
                  <a:lnTo>
                    <a:pt x="79767" y="30133"/>
                  </a:lnTo>
                  <a:cubicBezTo>
                    <a:pt x="85843" y="25527"/>
                    <a:pt x="87068" y="16756"/>
                    <a:pt x="82413" y="10681"/>
                  </a:cubicBezTo>
                  <a:lnTo>
                    <a:pt x="78493" y="5487"/>
                  </a:lnTo>
                  <a:cubicBezTo>
                    <a:pt x="73887" y="-589"/>
                    <a:pt x="65117" y="-1814"/>
                    <a:pt x="59041" y="2792"/>
                  </a:cubicBezTo>
                  <a:lnTo>
                    <a:pt x="47233" y="11759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8" name="Forma livre: Forma 107">
              <a:extLst>
                <a:ext uri="{FF2B5EF4-FFF2-40B4-BE49-F238E27FC236}">
                  <a16:creationId xmlns:a16="http://schemas.microsoft.com/office/drawing/2014/main" id="{7A352F60-2E68-8C78-42B0-BA58B548531E}"/>
                </a:ext>
              </a:extLst>
            </p:cNvPr>
            <p:cNvSpPr/>
            <p:nvPr/>
          </p:nvSpPr>
          <p:spPr>
            <a:xfrm>
              <a:off x="2262395" y="1134680"/>
              <a:ext cx="129439" cy="124206"/>
            </a:xfrm>
            <a:custGeom>
              <a:avLst/>
              <a:gdLst>
                <a:gd name="connsiteX0" fmla="*/ 0 w 129439"/>
                <a:gd name="connsiteY0" fmla="*/ 124207 h 124206"/>
                <a:gd name="connsiteX1" fmla="*/ 123962 w 129439"/>
                <a:gd name="connsiteY1" fmla="*/ 30133 h 124206"/>
                <a:gd name="connsiteX2" fmla="*/ 126608 w 129439"/>
                <a:gd name="connsiteY2" fmla="*/ 10681 h 124206"/>
                <a:gd name="connsiteX3" fmla="*/ 122639 w 129439"/>
                <a:gd name="connsiteY3" fmla="*/ 5487 h 124206"/>
                <a:gd name="connsiteX4" fmla="*/ 103188 w 129439"/>
                <a:gd name="connsiteY4" fmla="*/ 2792 h 124206"/>
                <a:gd name="connsiteX5" fmla="*/ 75112 w 129439"/>
                <a:gd name="connsiteY5" fmla="*/ 24106 h 1242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29439" h="124206">
                  <a:moveTo>
                    <a:pt x="0" y="124207"/>
                  </a:moveTo>
                  <a:lnTo>
                    <a:pt x="123962" y="30133"/>
                  </a:lnTo>
                  <a:cubicBezTo>
                    <a:pt x="130038" y="25527"/>
                    <a:pt x="131263" y="16756"/>
                    <a:pt x="126608" y="10681"/>
                  </a:cubicBezTo>
                  <a:lnTo>
                    <a:pt x="122639" y="5487"/>
                  </a:lnTo>
                  <a:cubicBezTo>
                    <a:pt x="118034" y="-589"/>
                    <a:pt x="109263" y="-1814"/>
                    <a:pt x="103188" y="2792"/>
                  </a:cubicBezTo>
                  <a:lnTo>
                    <a:pt x="75112" y="24106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9" name="Forma livre: Forma 108">
              <a:extLst>
                <a:ext uri="{FF2B5EF4-FFF2-40B4-BE49-F238E27FC236}">
                  <a16:creationId xmlns:a16="http://schemas.microsoft.com/office/drawing/2014/main" id="{040817B2-AEF2-717C-3389-C0A0713510DB}"/>
                </a:ext>
              </a:extLst>
            </p:cNvPr>
            <p:cNvSpPr/>
            <p:nvPr/>
          </p:nvSpPr>
          <p:spPr>
            <a:xfrm>
              <a:off x="2262395" y="1042723"/>
              <a:ext cx="80393" cy="83921"/>
            </a:xfrm>
            <a:custGeom>
              <a:avLst/>
              <a:gdLst>
                <a:gd name="connsiteX0" fmla="*/ 4018 w 80393"/>
                <a:gd name="connsiteY0" fmla="*/ 83921 h 83921"/>
                <a:gd name="connsiteX1" fmla="*/ 74916 w 80393"/>
                <a:gd name="connsiteY1" fmla="*/ 30122 h 83921"/>
                <a:gd name="connsiteX2" fmla="*/ 77562 w 80393"/>
                <a:gd name="connsiteY2" fmla="*/ 10671 h 83921"/>
                <a:gd name="connsiteX3" fmla="*/ 73642 w 80393"/>
                <a:gd name="connsiteY3" fmla="*/ 5477 h 83921"/>
                <a:gd name="connsiteX4" fmla="*/ 54191 w 80393"/>
                <a:gd name="connsiteY4" fmla="*/ 2831 h 83921"/>
                <a:gd name="connsiteX5" fmla="*/ 0 w 80393"/>
                <a:gd name="connsiteY5" fmla="*/ 43940 h 839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80393" h="83921">
                  <a:moveTo>
                    <a:pt x="4018" y="83921"/>
                  </a:moveTo>
                  <a:lnTo>
                    <a:pt x="74916" y="30122"/>
                  </a:lnTo>
                  <a:cubicBezTo>
                    <a:pt x="80992" y="25517"/>
                    <a:pt x="82217" y="16746"/>
                    <a:pt x="77562" y="10671"/>
                  </a:cubicBezTo>
                  <a:lnTo>
                    <a:pt x="73642" y="5477"/>
                  </a:lnTo>
                  <a:cubicBezTo>
                    <a:pt x="69037" y="-599"/>
                    <a:pt x="60266" y="-1824"/>
                    <a:pt x="54191" y="2831"/>
                  </a:cubicBezTo>
                  <a:lnTo>
                    <a:pt x="0" y="4394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10" name="Gráfico 2">
            <a:extLst>
              <a:ext uri="{FF2B5EF4-FFF2-40B4-BE49-F238E27FC236}">
                <a16:creationId xmlns:a16="http://schemas.microsoft.com/office/drawing/2014/main" id="{F64F951E-87F6-D946-A1AF-23E2CB091B31}"/>
              </a:ext>
            </a:extLst>
          </p:cNvPr>
          <p:cNvGrpSpPr/>
          <p:nvPr/>
        </p:nvGrpSpPr>
        <p:grpSpPr>
          <a:xfrm>
            <a:off x="1455660" y="1529636"/>
            <a:ext cx="238321" cy="319320"/>
            <a:chOff x="1455660" y="1529636"/>
            <a:chExt cx="238321" cy="319320"/>
          </a:xfrm>
        </p:grpSpPr>
        <p:sp>
          <p:nvSpPr>
            <p:cNvPr id="111" name="Forma livre: Forma 110">
              <a:extLst>
                <a:ext uri="{FF2B5EF4-FFF2-40B4-BE49-F238E27FC236}">
                  <a16:creationId xmlns:a16="http://schemas.microsoft.com/office/drawing/2014/main" id="{5538758F-F8C1-99BC-0C07-C2AF042F5BFC}"/>
                </a:ext>
              </a:extLst>
            </p:cNvPr>
            <p:cNvSpPr/>
            <p:nvPr/>
          </p:nvSpPr>
          <p:spPr>
            <a:xfrm>
              <a:off x="1611176" y="1763849"/>
              <a:ext cx="18814" cy="4899"/>
            </a:xfrm>
            <a:custGeom>
              <a:avLst/>
              <a:gdLst>
                <a:gd name="connsiteX0" fmla="*/ 18815 w 18814"/>
                <a:gd name="connsiteY0" fmla="*/ 0 h 4899"/>
                <a:gd name="connsiteX1" fmla="*/ 0 w 18814"/>
                <a:gd name="connsiteY1" fmla="*/ 0 h 48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814" h="4899">
                  <a:moveTo>
                    <a:pt x="18815" y="0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2" name="Forma livre: Forma 111">
              <a:extLst>
                <a:ext uri="{FF2B5EF4-FFF2-40B4-BE49-F238E27FC236}">
                  <a16:creationId xmlns:a16="http://schemas.microsoft.com/office/drawing/2014/main" id="{F0685EAD-1BDA-C75F-395E-2560E9C5D2AF}"/>
                </a:ext>
              </a:extLst>
            </p:cNvPr>
            <p:cNvSpPr/>
            <p:nvPr/>
          </p:nvSpPr>
          <p:spPr>
            <a:xfrm>
              <a:off x="1611176" y="1732834"/>
              <a:ext cx="18814" cy="4899"/>
            </a:xfrm>
            <a:custGeom>
              <a:avLst/>
              <a:gdLst>
                <a:gd name="connsiteX0" fmla="*/ 18815 w 18814"/>
                <a:gd name="connsiteY0" fmla="*/ 0 h 4899"/>
                <a:gd name="connsiteX1" fmla="*/ 0 w 18814"/>
                <a:gd name="connsiteY1" fmla="*/ 0 h 48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814" h="4899">
                  <a:moveTo>
                    <a:pt x="18815" y="0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3" name="Forma livre: Forma 112">
              <a:extLst>
                <a:ext uri="{FF2B5EF4-FFF2-40B4-BE49-F238E27FC236}">
                  <a16:creationId xmlns:a16="http://schemas.microsoft.com/office/drawing/2014/main" id="{EF745820-06BA-4816-F054-5C0446B00D46}"/>
                </a:ext>
              </a:extLst>
            </p:cNvPr>
            <p:cNvSpPr/>
            <p:nvPr/>
          </p:nvSpPr>
          <p:spPr>
            <a:xfrm>
              <a:off x="1611176" y="1701819"/>
              <a:ext cx="18814" cy="4899"/>
            </a:xfrm>
            <a:custGeom>
              <a:avLst/>
              <a:gdLst>
                <a:gd name="connsiteX0" fmla="*/ 18815 w 18814"/>
                <a:gd name="connsiteY0" fmla="*/ 0 h 4899"/>
                <a:gd name="connsiteX1" fmla="*/ 0 w 18814"/>
                <a:gd name="connsiteY1" fmla="*/ 0 h 48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814" h="4899">
                  <a:moveTo>
                    <a:pt x="18815" y="0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4" name="Forma livre: Forma 113">
              <a:extLst>
                <a:ext uri="{FF2B5EF4-FFF2-40B4-BE49-F238E27FC236}">
                  <a16:creationId xmlns:a16="http://schemas.microsoft.com/office/drawing/2014/main" id="{6D9AB69E-3D4C-81E6-D25E-29737B9C2136}"/>
                </a:ext>
              </a:extLst>
            </p:cNvPr>
            <p:cNvSpPr/>
            <p:nvPr/>
          </p:nvSpPr>
          <p:spPr>
            <a:xfrm>
              <a:off x="1658752" y="1743712"/>
              <a:ext cx="4899" cy="64774"/>
            </a:xfrm>
            <a:custGeom>
              <a:avLst/>
              <a:gdLst>
                <a:gd name="connsiteX0" fmla="*/ 0 w 4899"/>
                <a:gd name="connsiteY0" fmla="*/ 64774 h 64774"/>
                <a:gd name="connsiteX1" fmla="*/ 0 w 4899"/>
                <a:gd name="connsiteY1" fmla="*/ 0 h 647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899" h="64774">
                  <a:moveTo>
                    <a:pt x="0" y="64774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5" name="Forma livre: Forma 114">
              <a:extLst>
                <a:ext uri="{FF2B5EF4-FFF2-40B4-BE49-F238E27FC236}">
                  <a16:creationId xmlns:a16="http://schemas.microsoft.com/office/drawing/2014/main" id="{1142C3A4-8B28-ADD5-F835-EA2F949F5A3A}"/>
                </a:ext>
              </a:extLst>
            </p:cNvPr>
            <p:cNvSpPr/>
            <p:nvPr/>
          </p:nvSpPr>
          <p:spPr>
            <a:xfrm>
              <a:off x="1623523" y="1659682"/>
              <a:ext cx="70457" cy="189275"/>
            </a:xfrm>
            <a:custGeom>
              <a:avLst/>
              <a:gdLst>
                <a:gd name="connsiteX0" fmla="*/ 62030 w 70457"/>
                <a:gd name="connsiteY0" fmla="*/ 130822 h 189275"/>
                <a:gd name="connsiteX1" fmla="*/ 62030 w 70457"/>
                <a:gd name="connsiteY1" fmla="*/ 25674 h 189275"/>
                <a:gd name="connsiteX2" fmla="*/ 36356 w 70457"/>
                <a:gd name="connsiteY2" fmla="*/ 0 h 189275"/>
                <a:gd name="connsiteX3" fmla="*/ 34053 w 70457"/>
                <a:gd name="connsiteY3" fmla="*/ 0 h 189275"/>
                <a:gd name="connsiteX4" fmla="*/ 8379 w 70457"/>
                <a:gd name="connsiteY4" fmla="*/ 25674 h 189275"/>
                <a:gd name="connsiteX5" fmla="*/ 8379 w 70457"/>
                <a:gd name="connsiteY5" fmla="*/ 130822 h 189275"/>
                <a:gd name="connsiteX6" fmla="*/ 0 w 70457"/>
                <a:gd name="connsiteY6" fmla="*/ 154047 h 189275"/>
                <a:gd name="connsiteX7" fmla="*/ 35229 w 70457"/>
                <a:gd name="connsiteY7" fmla="*/ 189275 h 189275"/>
                <a:gd name="connsiteX8" fmla="*/ 70458 w 70457"/>
                <a:gd name="connsiteY8" fmla="*/ 154047 h 189275"/>
                <a:gd name="connsiteX9" fmla="*/ 62079 w 70457"/>
                <a:gd name="connsiteY9" fmla="*/ 130822 h 189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70457" h="189275">
                  <a:moveTo>
                    <a:pt x="62030" y="130822"/>
                  </a:moveTo>
                  <a:cubicBezTo>
                    <a:pt x="62030" y="119749"/>
                    <a:pt x="62030" y="25674"/>
                    <a:pt x="62030" y="25674"/>
                  </a:cubicBezTo>
                  <a:cubicBezTo>
                    <a:pt x="62030" y="11563"/>
                    <a:pt x="50467" y="0"/>
                    <a:pt x="36356" y="0"/>
                  </a:cubicBezTo>
                  <a:lnTo>
                    <a:pt x="34053" y="0"/>
                  </a:lnTo>
                  <a:cubicBezTo>
                    <a:pt x="19942" y="0"/>
                    <a:pt x="8379" y="11563"/>
                    <a:pt x="8379" y="25674"/>
                  </a:cubicBezTo>
                  <a:lnTo>
                    <a:pt x="8379" y="130822"/>
                  </a:lnTo>
                  <a:cubicBezTo>
                    <a:pt x="2940" y="137045"/>
                    <a:pt x="0" y="145129"/>
                    <a:pt x="0" y="154047"/>
                  </a:cubicBezTo>
                  <a:cubicBezTo>
                    <a:pt x="0" y="173498"/>
                    <a:pt x="15777" y="189275"/>
                    <a:pt x="35229" y="189275"/>
                  </a:cubicBezTo>
                  <a:cubicBezTo>
                    <a:pt x="54681" y="189275"/>
                    <a:pt x="70458" y="173498"/>
                    <a:pt x="70458" y="154047"/>
                  </a:cubicBezTo>
                  <a:cubicBezTo>
                    <a:pt x="70458" y="145129"/>
                    <a:pt x="67518" y="136996"/>
                    <a:pt x="62079" y="130822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6" name="Forma livre: Forma 115">
              <a:extLst>
                <a:ext uri="{FF2B5EF4-FFF2-40B4-BE49-F238E27FC236}">
                  <a16:creationId xmlns:a16="http://schemas.microsoft.com/office/drawing/2014/main" id="{A78EB542-587C-0399-3E19-02A55BA63E26}"/>
                </a:ext>
              </a:extLst>
            </p:cNvPr>
            <p:cNvSpPr/>
            <p:nvPr/>
          </p:nvSpPr>
          <p:spPr>
            <a:xfrm>
              <a:off x="1550910" y="1662181"/>
              <a:ext cx="13242" cy="181729"/>
            </a:xfrm>
            <a:custGeom>
              <a:avLst/>
              <a:gdLst>
                <a:gd name="connsiteX0" fmla="*/ 0 w 13242"/>
                <a:gd name="connsiteY0" fmla="*/ 0 h 181729"/>
                <a:gd name="connsiteX1" fmla="*/ 490 w 13242"/>
                <a:gd name="connsiteY1" fmla="*/ 181730 h 1817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3242" h="181729">
                  <a:moveTo>
                    <a:pt x="0" y="0"/>
                  </a:moveTo>
                  <a:cubicBezTo>
                    <a:pt x="17002" y="49585"/>
                    <a:pt x="18129" y="121317"/>
                    <a:pt x="490" y="18173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7" name="Forma livre: Forma 116">
              <a:extLst>
                <a:ext uri="{FF2B5EF4-FFF2-40B4-BE49-F238E27FC236}">
                  <a16:creationId xmlns:a16="http://schemas.microsoft.com/office/drawing/2014/main" id="{DA05742E-16F6-E870-D507-F2FD1399E10E}"/>
                </a:ext>
              </a:extLst>
            </p:cNvPr>
            <p:cNvSpPr/>
            <p:nvPr/>
          </p:nvSpPr>
          <p:spPr>
            <a:xfrm>
              <a:off x="1455660" y="1730900"/>
              <a:ext cx="77629" cy="45875"/>
            </a:xfrm>
            <a:custGeom>
              <a:avLst/>
              <a:gdLst>
                <a:gd name="connsiteX0" fmla="*/ 76729 w 77629"/>
                <a:gd name="connsiteY0" fmla="*/ 35350 h 45875"/>
                <a:gd name="connsiteX1" fmla="*/ 43411 w 77629"/>
                <a:gd name="connsiteY1" fmla="*/ 905 h 45875"/>
                <a:gd name="connsiteX2" fmla="*/ 0 w 77629"/>
                <a:gd name="connsiteY2" fmla="*/ 6148 h 45875"/>
                <a:gd name="connsiteX3" fmla="*/ 28957 w 77629"/>
                <a:gd name="connsiteY3" fmla="*/ 38731 h 45875"/>
                <a:gd name="connsiteX4" fmla="*/ 76778 w 77629"/>
                <a:gd name="connsiteY4" fmla="*/ 35350 h 45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7629" h="45875">
                  <a:moveTo>
                    <a:pt x="76729" y="35350"/>
                  </a:moveTo>
                  <a:cubicBezTo>
                    <a:pt x="81923" y="22366"/>
                    <a:pt x="63843" y="3796"/>
                    <a:pt x="43411" y="905"/>
                  </a:cubicBezTo>
                  <a:cubicBezTo>
                    <a:pt x="17002" y="-2818"/>
                    <a:pt x="0" y="6148"/>
                    <a:pt x="0" y="6148"/>
                  </a:cubicBezTo>
                  <a:cubicBezTo>
                    <a:pt x="0" y="6148"/>
                    <a:pt x="8770" y="25208"/>
                    <a:pt x="28957" y="38731"/>
                  </a:cubicBezTo>
                  <a:cubicBezTo>
                    <a:pt x="46106" y="50245"/>
                    <a:pt x="72173" y="46914"/>
                    <a:pt x="76778" y="35350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18" name="Gráfico 2">
              <a:extLst>
                <a:ext uri="{FF2B5EF4-FFF2-40B4-BE49-F238E27FC236}">
                  <a16:creationId xmlns:a16="http://schemas.microsoft.com/office/drawing/2014/main" id="{9652AD7D-DF0E-5302-7539-92A4D0218AC5}"/>
                </a:ext>
              </a:extLst>
            </p:cNvPr>
            <p:cNvGrpSpPr/>
            <p:nvPr/>
          </p:nvGrpSpPr>
          <p:grpSpPr>
            <a:xfrm>
              <a:off x="1455946" y="1529636"/>
              <a:ext cx="158079" cy="158324"/>
              <a:chOff x="1455946" y="1529636"/>
              <a:chExt cx="158079" cy="158324"/>
            </a:xfrm>
            <a:noFill/>
          </p:grpSpPr>
          <p:sp>
            <p:nvSpPr>
              <p:cNvPr id="119" name="Forma livre: Forma 118">
                <a:extLst>
                  <a:ext uri="{FF2B5EF4-FFF2-40B4-BE49-F238E27FC236}">
                    <a16:creationId xmlns:a16="http://schemas.microsoft.com/office/drawing/2014/main" id="{42F9D88B-53A3-FCFB-6E79-D85ED9E4C9B7}"/>
                  </a:ext>
                </a:extLst>
              </p:cNvPr>
              <p:cNvSpPr/>
              <p:nvPr/>
            </p:nvSpPr>
            <p:spPr>
              <a:xfrm>
                <a:off x="1455946" y="1529636"/>
                <a:ext cx="158079" cy="158324"/>
              </a:xfrm>
              <a:custGeom>
                <a:avLst/>
                <a:gdLst>
                  <a:gd name="connsiteX0" fmla="*/ 127351 w 158079"/>
                  <a:gd name="connsiteY0" fmla="*/ 64830 h 158324"/>
                  <a:gd name="connsiteX1" fmla="*/ 137444 w 158079"/>
                  <a:gd name="connsiteY1" fmla="*/ 26907 h 158324"/>
                  <a:gd name="connsiteX2" fmla="*/ 90701 w 158079"/>
                  <a:gd name="connsiteY2" fmla="*/ 1575 h 158324"/>
                  <a:gd name="connsiteX3" fmla="*/ 64536 w 158079"/>
                  <a:gd name="connsiteY3" fmla="*/ 30337 h 158324"/>
                  <a:gd name="connsiteX4" fmla="*/ 26907 w 158079"/>
                  <a:gd name="connsiteY4" fmla="*/ 20537 h 158324"/>
                  <a:gd name="connsiteX5" fmla="*/ 1575 w 158079"/>
                  <a:gd name="connsiteY5" fmla="*/ 67280 h 158324"/>
                  <a:gd name="connsiteX6" fmla="*/ 30729 w 158079"/>
                  <a:gd name="connsiteY6" fmla="*/ 93543 h 158324"/>
                  <a:gd name="connsiteX7" fmla="*/ 20635 w 158079"/>
                  <a:gd name="connsiteY7" fmla="*/ 131417 h 158324"/>
                  <a:gd name="connsiteX8" fmla="*/ 67378 w 158079"/>
                  <a:gd name="connsiteY8" fmla="*/ 156749 h 158324"/>
                  <a:gd name="connsiteX9" fmla="*/ 93543 w 158079"/>
                  <a:gd name="connsiteY9" fmla="*/ 127988 h 158324"/>
                  <a:gd name="connsiteX10" fmla="*/ 131172 w 158079"/>
                  <a:gd name="connsiteY10" fmla="*/ 137787 h 158324"/>
                  <a:gd name="connsiteX11" fmla="*/ 156504 w 158079"/>
                  <a:gd name="connsiteY11" fmla="*/ 91044 h 158324"/>
                  <a:gd name="connsiteX12" fmla="*/ 127351 w 158079"/>
                  <a:gd name="connsiteY12" fmla="*/ 64781 h 1583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58079" h="158324">
                    <a:moveTo>
                      <a:pt x="127351" y="64830"/>
                    </a:moveTo>
                    <a:cubicBezTo>
                      <a:pt x="137199" y="55374"/>
                      <a:pt x="141609" y="40920"/>
                      <a:pt x="137444" y="26907"/>
                    </a:cubicBezTo>
                    <a:cubicBezTo>
                      <a:pt x="131515" y="6965"/>
                      <a:pt x="110594" y="-4353"/>
                      <a:pt x="90701" y="1575"/>
                    </a:cubicBezTo>
                    <a:cubicBezTo>
                      <a:pt x="76835" y="5691"/>
                      <a:pt x="67182" y="17058"/>
                      <a:pt x="64536" y="30337"/>
                    </a:cubicBezTo>
                    <a:cubicBezTo>
                      <a:pt x="55080" y="20684"/>
                      <a:pt x="40773" y="16421"/>
                      <a:pt x="26907" y="20537"/>
                    </a:cubicBezTo>
                    <a:cubicBezTo>
                      <a:pt x="6965" y="26466"/>
                      <a:pt x="-4353" y="47388"/>
                      <a:pt x="1575" y="67280"/>
                    </a:cubicBezTo>
                    <a:cubicBezTo>
                      <a:pt x="5740" y="81293"/>
                      <a:pt x="17303" y="90995"/>
                      <a:pt x="30729" y="93543"/>
                    </a:cubicBezTo>
                    <a:cubicBezTo>
                      <a:pt x="20880" y="102999"/>
                      <a:pt x="16470" y="117453"/>
                      <a:pt x="20635" y="131417"/>
                    </a:cubicBezTo>
                    <a:cubicBezTo>
                      <a:pt x="26564" y="151359"/>
                      <a:pt x="47486" y="162677"/>
                      <a:pt x="67378" y="156749"/>
                    </a:cubicBezTo>
                    <a:cubicBezTo>
                      <a:pt x="81244" y="152633"/>
                      <a:pt x="90897" y="141266"/>
                      <a:pt x="93543" y="127988"/>
                    </a:cubicBezTo>
                    <a:cubicBezTo>
                      <a:pt x="102999" y="137640"/>
                      <a:pt x="117306" y="141903"/>
                      <a:pt x="131172" y="137787"/>
                    </a:cubicBezTo>
                    <a:cubicBezTo>
                      <a:pt x="151114" y="131858"/>
                      <a:pt x="162432" y="110937"/>
                      <a:pt x="156504" y="91044"/>
                    </a:cubicBezTo>
                    <a:cubicBezTo>
                      <a:pt x="152339" y="77031"/>
                      <a:pt x="140776" y="67329"/>
                      <a:pt x="127351" y="64781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120" name="Gráfico 2">
                <a:extLst>
                  <a:ext uri="{FF2B5EF4-FFF2-40B4-BE49-F238E27FC236}">
                    <a16:creationId xmlns:a16="http://schemas.microsoft.com/office/drawing/2014/main" id="{4B3B74D5-E86C-09A5-A3A2-F00DD72F5D50}"/>
                  </a:ext>
                </a:extLst>
              </p:cNvPr>
              <p:cNvGrpSpPr/>
              <p:nvPr/>
            </p:nvGrpSpPr>
            <p:grpSpPr>
              <a:xfrm>
                <a:off x="1487018" y="1594467"/>
                <a:ext cx="96279" cy="28614"/>
                <a:chOff x="1487018" y="1594467"/>
                <a:chExt cx="96279" cy="28614"/>
              </a:xfrm>
            </p:grpSpPr>
            <p:sp>
              <p:nvSpPr>
                <p:cNvPr id="121" name="Forma livre: Forma 120">
                  <a:extLst>
                    <a:ext uri="{FF2B5EF4-FFF2-40B4-BE49-F238E27FC236}">
                      <a16:creationId xmlns:a16="http://schemas.microsoft.com/office/drawing/2014/main" id="{747D3F91-91A2-A19D-D62B-B9ED9B1B947F}"/>
                    </a:ext>
                  </a:extLst>
                </p:cNvPr>
                <p:cNvSpPr/>
                <p:nvPr/>
              </p:nvSpPr>
              <p:spPr>
                <a:xfrm>
                  <a:off x="1557329" y="1594467"/>
                  <a:ext cx="25968" cy="7692"/>
                </a:xfrm>
                <a:custGeom>
                  <a:avLst/>
                  <a:gdLst>
                    <a:gd name="connsiteX0" fmla="*/ 0 w 25968"/>
                    <a:gd name="connsiteY0" fmla="*/ 7693 h 7692"/>
                    <a:gd name="connsiteX1" fmla="*/ 25968 w 25968"/>
                    <a:gd name="connsiteY1" fmla="*/ 0 h 76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5968" h="7692">
                      <a:moveTo>
                        <a:pt x="0" y="7693"/>
                      </a:moveTo>
                      <a:lnTo>
                        <a:pt x="25968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22" name="Forma livre: Forma 121">
                  <a:extLst>
                    <a:ext uri="{FF2B5EF4-FFF2-40B4-BE49-F238E27FC236}">
                      <a16:creationId xmlns:a16="http://schemas.microsoft.com/office/drawing/2014/main" id="{7C45056E-4843-ABA8-2F9F-A5FB3E251EA0}"/>
                    </a:ext>
                  </a:extLst>
                </p:cNvPr>
                <p:cNvSpPr/>
                <p:nvPr/>
              </p:nvSpPr>
              <p:spPr>
                <a:xfrm>
                  <a:off x="1487018" y="1615487"/>
                  <a:ext cx="25478" cy="7594"/>
                </a:xfrm>
                <a:custGeom>
                  <a:avLst/>
                  <a:gdLst>
                    <a:gd name="connsiteX0" fmla="*/ 0 w 25478"/>
                    <a:gd name="connsiteY0" fmla="*/ 7595 h 7594"/>
                    <a:gd name="connsiteX1" fmla="*/ 25478 w 25478"/>
                    <a:gd name="connsiteY1" fmla="*/ 0 h 759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5478" h="7594">
                      <a:moveTo>
                        <a:pt x="0" y="7595"/>
                      </a:moveTo>
                      <a:lnTo>
                        <a:pt x="25478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123" name="Gráfico 2">
                <a:extLst>
                  <a:ext uri="{FF2B5EF4-FFF2-40B4-BE49-F238E27FC236}">
                    <a16:creationId xmlns:a16="http://schemas.microsoft.com/office/drawing/2014/main" id="{6E5E0057-5E6D-B7DE-2E60-2ADAB420E308}"/>
                  </a:ext>
                </a:extLst>
              </p:cNvPr>
              <p:cNvGrpSpPr/>
              <p:nvPr/>
            </p:nvGrpSpPr>
            <p:grpSpPr>
              <a:xfrm>
                <a:off x="1491722" y="1565559"/>
                <a:ext cx="86479" cy="86528"/>
                <a:chOff x="1491722" y="1565559"/>
                <a:chExt cx="86479" cy="86528"/>
              </a:xfrm>
            </p:grpSpPr>
            <p:sp>
              <p:nvSpPr>
                <p:cNvPr id="124" name="Forma livre: Forma 123">
                  <a:extLst>
                    <a:ext uri="{FF2B5EF4-FFF2-40B4-BE49-F238E27FC236}">
                      <a16:creationId xmlns:a16="http://schemas.microsoft.com/office/drawing/2014/main" id="{B0EAE5A7-9F3F-928C-FB41-AE66AD33D60A}"/>
                    </a:ext>
                  </a:extLst>
                </p:cNvPr>
                <p:cNvSpPr/>
                <p:nvPr/>
              </p:nvSpPr>
              <p:spPr>
                <a:xfrm>
                  <a:off x="1511516" y="1629206"/>
                  <a:ext cx="12396" cy="22881"/>
                </a:xfrm>
                <a:custGeom>
                  <a:avLst/>
                  <a:gdLst>
                    <a:gd name="connsiteX0" fmla="*/ 12396 w 12396"/>
                    <a:gd name="connsiteY0" fmla="*/ 0 h 22881"/>
                    <a:gd name="connsiteX1" fmla="*/ 0 w 12396"/>
                    <a:gd name="connsiteY1" fmla="*/ 22882 h 2288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2396" h="22881">
                      <a:moveTo>
                        <a:pt x="12396" y="0"/>
                      </a:moveTo>
                      <a:lnTo>
                        <a:pt x="0" y="22882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25" name="Forma livre: Forma 124">
                  <a:extLst>
                    <a:ext uri="{FF2B5EF4-FFF2-40B4-BE49-F238E27FC236}">
                      <a16:creationId xmlns:a16="http://schemas.microsoft.com/office/drawing/2014/main" id="{82E205D1-B4EC-9736-14AA-C3AEBB1E1155}"/>
                    </a:ext>
                  </a:extLst>
                </p:cNvPr>
                <p:cNvSpPr/>
                <p:nvPr/>
              </p:nvSpPr>
              <p:spPr>
                <a:xfrm>
                  <a:off x="1546059" y="1565559"/>
                  <a:ext cx="12347" cy="22734"/>
                </a:xfrm>
                <a:custGeom>
                  <a:avLst/>
                  <a:gdLst>
                    <a:gd name="connsiteX0" fmla="*/ 12347 w 12347"/>
                    <a:gd name="connsiteY0" fmla="*/ 0 h 22734"/>
                    <a:gd name="connsiteX1" fmla="*/ 0 w 12347"/>
                    <a:gd name="connsiteY1" fmla="*/ 22735 h 2273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2347" h="22734">
                      <a:moveTo>
                        <a:pt x="12347" y="0"/>
                      </a:moveTo>
                      <a:lnTo>
                        <a:pt x="0" y="22735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26" name="Forma livre: Forma 125">
                  <a:extLst>
                    <a:ext uri="{FF2B5EF4-FFF2-40B4-BE49-F238E27FC236}">
                      <a16:creationId xmlns:a16="http://schemas.microsoft.com/office/drawing/2014/main" id="{91FD9461-608C-DC42-FE62-BED3C4196608}"/>
                    </a:ext>
                  </a:extLst>
                </p:cNvPr>
                <p:cNvSpPr/>
                <p:nvPr/>
              </p:nvSpPr>
              <p:spPr>
                <a:xfrm>
                  <a:off x="1491722" y="1585353"/>
                  <a:ext cx="22440" cy="12200"/>
                </a:xfrm>
                <a:custGeom>
                  <a:avLst/>
                  <a:gdLst>
                    <a:gd name="connsiteX0" fmla="*/ 22441 w 22440"/>
                    <a:gd name="connsiteY0" fmla="*/ 12200 h 12200"/>
                    <a:gd name="connsiteX1" fmla="*/ 0 w 22440"/>
                    <a:gd name="connsiteY1" fmla="*/ 0 h 122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2440" h="12200">
                      <a:moveTo>
                        <a:pt x="22441" y="12200"/>
                      </a:moveTo>
                      <a:lnTo>
                        <a:pt x="0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27" name="Forma livre: Forma 126">
                  <a:extLst>
                    <a:ext uri="{FF2B5EF4-FFF2-40B4-BE49-F238E27FC236}">
                      <a16:creationId xmlns:a16="http://schemas.microsoft.com/office/drawing/2014/main" id="{3F46F66B-4330-60CF-4B42-5B8A01124585}"/>
                    </a:ext>
                  </a:extLst>
                </p:cNvPr>
                <p:cNvSpPr/>
                <p:nvPr/>
              </p:nvSpPr>
              <p:spPr>
                <a:xfrm>
                  <a:off x="1555614" y="1619994"/>
                  <a:ext cx="22587" cy="12249"/>
                </a:xfrm>
                <a:custGeom>
                  <a:avLst/>
                  <a:gdLst>
                    <a:gd name="connsiteX0" fmla="*/ 22588 w 22587"/>
                    <a:gd name="connsiteY0" fmla="*/ 12249 h 12249"/>
                    <a:gd name="connsiteX1" fmla="*/ 0 w 22587"/>
                    <a:gd name="connsiteY1" fmla="*/ 0 h 1224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2587" h="12249">
                      <a:moveTo>
                        <a:pt x="22588" y="12249"/>
                      </a:moveTo>
                      <a:lnTo>
                        <a:pt x="0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128" name="Forma livre: Forma 127">
                <a:extLst>
                  <a:ext uri="{FF2B5EF4-FFF2-40B4-BE49-F238E27FC236}">
                    <a16:creationId xmlns:a16="http://schemas.microsoft.com/office/drawing/2014/main" id="{337E158B-68F2-6FC8-3E9A-6FBF3BE6B676}"/>
                  </a:ext>
                </a:extLst>
              </p:cNvPr>
              <p:cNvSpPr/>
              <p:nvPr/>
            </p:nvSpPr>
            <p:spPr>
              <a:xfrm>
                <a:off x="1511781" y="1585716"/>
                <a:ext cx="46311" cy="46258"/>
              </a:xfrm>
              <a:custGeom>
                <a:avLst/>
                <a:gdLst>
                  <a:gd name="connsiteX0" fmla="*/ 45351 w 46311"/>
                  <a:gd name="connsiteY0" fmla="*/ 16541 h 46258"/>
                  <a:gd name="connsiteX1" fmla="*/ 29721 w 46311"/>
                  <a:gd name="connsiteY1" fmla="*/ 45302 h 46258"/>
                  <a:gd name="connsiteX2" fmla="*/ 960 w 46311"/>
                  <a:gd name="connsiteY2" fmla="*/ 29721 h 46258"/>
                  <a:gd name="connsiteX3" fmla="*/ 16541 w 46311"/>
                  <a:gd name="connsiteY3" fmla="*/ 960 h 46258"/>
                  <a:gd name="connsiteX4" fmla="*/ 45302 w 46311"/>
                  <a:gd name="connsiteY4" fmla="*/ 16590 h 462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6311" h="46258">
                    <a:moveTo>
                      <a:pt x="45351" y="16541"/>
                    </a:moveTo>
                    <a:cubicBezTo>
                      <a:pt x="48977" y="28790"/>
                      <a:pt x="42020" y="41676"/>
                      <a:pt x="29721" y="45302"/>
                    </a:cubicBezTo>
                    <a:cubicBezTo>
                      <a:pt x="17472" y="48928"/>
                      <a:pt x="4586" y="41921"/>
                      <a:pt x="960" y="29721"/>
                    </a:cubicBezTo>
                    <a:cubicBezTo>
                      <a:pt x="-2666" y="17472"/>
                      <a:pt x="4292" y="4586"/>
                      <a:pt x="16541" y="960"/>
                    </a:cubicBezTo>
                    <a:cubicBezTo>
                      <a:pt x="28790" y="-2666"/>
                      <a:pt x="41677" y="4292"/>
                      <a:pt x="45302" y="16590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129" name="Gráfico 2">
                <a:extLst>
                  <a:ext uri="{FF2B5EF4-FFF2-40B4-BE49-F238E27FC236}">
                    <a16:creationId xmlns:a16="http://schemas.microsoft.com/office/drawing/2014/main" id="{64618D14-F74F-460C-851C-34C9D9C28546}"/>
                  </a:ext>
                </a:extLst>
              </p:cNvPr>
              <p:cNvGrpSpPr/>
              <p:nvPr/>
            </p:nvGrpSpPr>
            <p:grpSpPr>
              <a:xfrm>
                <a:off x="1520581" y="1560757"/>
                <a:ext cx="28614" cy="96230"/>
                <a:chOff x="1520581" y="1560757"/>
                <a:chExt cx="28614" cy="96230"/>
              </a:xfrm>
            </p:grpSpPr>
            <p:sp>
              <p:nvSpPr>
                <p:cNvPr id="130" name="Forma livre: Forma 129">
                  <a:extLst>
                    <a:ext uri="{FF2B5EF4-FFF2-40B4-BE49-F238E27FC236}">
                      <a16:creationId xmlns:a16="http://schemas.microsoft.com/office/drawing/2014/main" id="{9125DC4C-E600-0306-73C5-ACB92ADBD2AE}"/>
                    </a:ext>
                  </a:extLst>
                </p:cNvPr>
                <p:cNvSpPr/>
                <p:nvPr/>
              </p:nvSpPr>
              <p:spPr>
                <a:xfrm>
                  <a:off x="1541454" y="1631068"/>
                  <a:ext cx="7741" cy="25919"/>
                </a:xfrm>
                <a:custGeom>
                  <a:avLst/>
                  <a:gdLst>
                    <a:gd name="connsiteX0" fmla="*/ 0 w 7741"/>
                    <a:gd name="connsiteY0" fmla="*/ 0 h 25919"/>
                    <a:gd name="connsiteX1" fmla="*/ 7742 w 7741"/>
                    <a:gd name="connsiteY1" fmla="*/ 25919 h 2591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7741" h="25919">
                      <a:moveTo>
                        <a:pt x="0" y="0"/>
                      </a:moveTo>
                      <a:lnTo>
                        <a:pt x="7742" y="25919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31" name="Forma livre: Forma 130">
                  <a:extLst>
                    <a:ext uri="{FF2B5EF4-FFF2-40B4-BE49-F238E27FC236}">
                      <a16:creationId xmlns:a16="http://schemas.microsoft.com/office/drawing/2014/main" id="{44FFEECC-14DC-35CE-01C4-EEF1F1498488}"/>
                    </a:ext>
                  </a:extLst>
                </p:cNvPr>
                <p:cNvSpPr/>
                <p:nvPr/>
              </p:nvSpPr>
              <p:spPr>
                <a:xfrm>
                  <a:off x="1520581" y="1560757"/>
                  <a:ext cx="7545" cy="25478"/>
                </a:xfrm>
                <a:custGeom>
                  <a:avLst/>
                  <a:gdLst>
                    <a:gd name="connsiteX0" fmla="*/ 0 w 7545"/>
                    <a:gd name="connsiteY0" fmla="*/ 0 h 25478"/>
                    <a:gd name="connsiteX1" fmla="*/ 7546 w 7545"/>
                    <a:gd name="connsiteY1" fmla="*/ 25478 h 254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7545" h="25478">
                      <a:moveTo>
                        <a:pt x="0" y="0"/>
                      </a:moveTo>
                      <a:lnTo>
                        <a:pt x="7546" y="25478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sp>
          <p:nvSpPr>
            <p:cNvPr id="132" name="Forma livre: Forma 131">
              <a:extLst>
                <a:ext uri="{FF2B5EF4-FFF2-40B4-BE49-F238E27FC236}">
                  <a16:creationId xmlns:a16="http://schemas.microsoft.com/office/drawing/2014/main" id="{99B37467-3F94-B216-52B2-938CAD56AAF1}"/>
                </a:ext>
              </a:extLst>
            </p:cNvPr>
            <p:cNvSpPr/>
            <p:nvPr/>
          </p:nvSpPr>
          <p:spPr>
            <a:xfrm>
              <a:off x="1653216" y="1807359"/>
              <a:ext cx="11073" cy="11073"/>
            </a:xfrm>
            <a:custGeom>
              <a:avLst/>
              <a:gdLst>
                <a:gd name="connsiteX0" fmla="*/ 11073 w 11073"/>
                <a:gd name="connsiteY0" fmla="*/ 5537 h 11073"/>
                <a:gd name="connsiteX1" fmla="*/ 5537 w 11073"/>
                <a:gd name="connsiteY1" fmla="*/ 11073 h 11073"/>
                <a:gd name="connsiteX2" fmla="*/ 0 w 11073"/>
                <a:gd name="connsiteY2" fmla="*/ 5537 h 11073"/>
                <a:gd name="connsiteX3" fmla="*/ 5537 w 11073"/>
                <a:gd name="connsiteY3" fmla="*/ 0 h 11073"/>
                <a:gd name="connsiteX4" fmla="*/ 11073 w 11073"/>
                <a:gd name="connsiteY4" fmla="*/ 5537 h 110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073" h="11073">
                  <a:moveTo>
                    <a:pt x="11073" y="5537"/>
                  </a:moveTo>
                  <a:cubicBezTo>
                    <a:pt x="11073" y="8623"/>
                    <a:pt x="8623" y="11073"/>
                    <a:pt x="5537" y="11073"/>
                  </a:cubicBezTo>
                  <a:cubicBezTo>
                    <a:pt x="2450" y="11073"/>
                    <a:pt x="0" y="8574"/>
                    <a:pt x="0" y="5537"/>
                  </a:cubicBezTo>
                  <a:cubicBezTo>
                    <a:pt x="0" y="2499"/>
                    <a:pt x="2499" y="0"/>
                    <a:pt x="5537" y="0"/>
                  </a:cubicBezTo>
                  <a:cubicBezTo>
                    <a:pt x="8574" y="0"/>
                    <a:pt x="11073" y="2499"/>
                    <a:pt x="11073" y="5537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33" name="Gráfico 2">
            <a:extLst>
              <a:ext uri="{FF2B5EF4-FFF2-40B4-BE49-F238E27FC236}">
                <a16:creationId xmlns:a16="http://schemas.microsoft.com/office/drawing/2014/main" id="{131F8923-2CE5-6284-14C0-8A89A865031B}"/>
              </a:ext>
            </a:extLst>
          </p:cNvPr>
          <p:cNvGrpSpPr/>
          <p:nvPr/>
        </p:nvGrpSpPr>
        <p:grpSpPr>
          <a:xfrm>
            <a:off x="1418520" y="2131131"/>
            <a:ext cx="312551" cy="195350"/>
            <a:chOff x="1418520" y="2131131"/>
            <a:chExt cx="312551" cy="195350"/>
          </a:xfrm>
        </p:grpSpPr>
        <p:sp>
          <p:nvSpPr>
            <p:cNvPr id="134" name="Forma livre: Forma 133">
              <a:extLst>
                <a:ext uri="{FF2B5EF4-FFF2-40B4-BE49-F238E27FC236}">
                  <a16:creationId xmlns:a16="http://schemas.microsoft.com/office/drawing/2014/main" id="{BF949426-1153-0D94-66DC-BBA03AF90F49}"/>
                </a:ext>
              </a:extLst>
            </p:cNvPr>
            <p:cNvSpPr/>
            <p:nvPr/>
          </p:nvSpPr>
          <p:spPr>
            <a:xfrm>
              <a:off x="1539788" y="2206978"/>
              <a:ext cx="70016" cy="119503"/>
            </a:xfrm>
            <a:custGeom>
              <a:avLst/>
              <a:gdLst>
                <a:gd name="connsiteX0" fmla="*/ 70017 w 70016"/>
                <a:gd name="connsiteY0" fmla="*/ 119504 h 119503"/>
                <a:gd name="connsiteX1" fmla="*/ 70017 w 70016"/>
                <a:gd name="connsiteY1" fmla="*/ 0 h 119503"/>
                <a:gd name="connsiteX2" fmla="*/ 0 w 70016"/>
                <a:gd name="connsiteY2" fmla="*/ 0 h 119503"/>
                <a:gd name="connsiteX3" fmla="*/ 0 w 70016"/>
                <a:gd name="connsiteY3" fmla="*/ 119504 h 119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0016" h="119503">
                  <a:moveTo>
                    <a:pt x="70017" y="119504"/>
                  </a:moveTo>
                  <a:lnTo>
                    <a:pt x="70017" y="0"/>
                  </a:lnTo>
                  <a:lnTo>
                    <a:pt x="0" y="0"/>
                  </a:lnTo>
                  <a:lnTo>
                    <a:pt x="0" y="119504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35" name="Forma livre: Forma 134">
              <a:extLst>
                <a:ext uri="{FF2B5EF4-FFF2-40B4-BE49-F238E27FC236}">
                  <a16:creationId xmlns:a16="http://schemas.microsoft.com/office/drawing/2014/main" id="{C5580940-E1A0-279F-D6D7-DB3A581BB856}"/>
                </a:ext>
              </a:extLst>
            </p:cNvPr>
            <p:cNvSpPr/>
            <p:nvPr/>
          </p:nvSpPr>
          <p:spPr>
            <a:xfrm>
              <a:off x="1530233" y="2135785"/>
              <a:ext cx="89027" cy="32142"/>
            </a:xfrm>
            <a:custGeom>
              <a:avLst/>
              <a:gdLst>
                <a:gd name="connsiteX0" fmla="*/ 44538 w 89027"/>
                <a:gd name="connsiteY0" fmla="*/ 0 h 32142"/>
                <a:gd name="connsiteX1" fmla="*/ 0 w 89027"/>
                <a:gd name="connsiteY1" fmla="*/ 32142 h 32142"/>
                <a:gd name="connsiteX2" fmla="*/ 89027 w 89027"/>
                <a:gd name="connsiteY2" fmla="*/ 32142 h 32142"/>
                <a:gd name="connsiteX3" fmla="*/ 44489 w 89027"/>
                <a:gd name="connsiteY3" fmla="*/ 0 h 321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9027" h="32142">
                  <a:moveTo>
                    <a:pt x="44538" y="0"/>
                  </a:moveTo>
                  <a:cubicBezTo>
                    <a:pt x="23078" y="0"/>
                    <a:pt x="5145" y="13670"/>
                    <a:pt x="0" y="32142"/>
                  </a:cubicBezTo>
                  <a:lnTo>
                    <a:pt x="89027" y="32142"/>
                  </a:lnTo>
                  <a:cubicBezTo>
                    <a:pt x="83932" y="13670"/>
                    <a:pt x="65950" y="0"/>
                    <a:pt x="44489" y="0"/>
                  </a:cubicBez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36" name="Gráfico 2">
              <a:extLst>
                <a:ext uri="{FF2B5EF4-FFF2-40B4-BE49-F238E27FC236}">
                  <a16:creationId xmlns:a16="http://schemas.microsoft.com/office/drawing/2014/main" id="{43B7D417-944A-C1E1-1FB5-D441DD327689}"/>
                </a:ext>
              </a:extLst>
            </p:cNvPr>
            <p:cNvGrpSpPr/>
            <p:nvPr/>
          </p:nvGrpSpPr>
          <p:grpSpPr>
            <a:xfrm>
              <a:off x="1418520" y="2131131"/>
              <a:ext cx="88537" cy="195350"/>
              <a:chOff x="1418520" y="2131131"/>
              <a:chExt cx="88537" cy="195350"/>
            </a:xfrm>
            <a:solidFill>
              <a:srgbClr val="394553"/>
            </a:solidFill>
          </p:grpSpPr>
          <p:grpSp>
            <p:nvGrpSpPr>
              <p:cNvPr id="137" name="Gráfico 2">
                <a:extLst>
                  <a:ext uri="{FF2B5EF4-FFF2-40B4-BE49-F238E27FC236}">
                    <a16:creationId xmlns:a16="http://schemas.microsoft.com/office/drawing/2014/main" id="{A33FC765-9F56-46F1-B284-6CF6D358613A}"/>
                  </a:ext>
                </a:extLst>
              </p:cNvPr>
              <p:cNvGrpSpPr/>
              <p:nvPr/>
            </p:nvGrpSpPr>
            <p:grpSpPr>
              <a:xfrm>
                <a:off x="1418520" y="2281061"/>
                <a:ext cx="88194" cy="45420"/>
                <a:chOff x="1418520" y="2281061"/>
                <a:chExt cx="88194" cy="45420"/>
              </a:xfrm>
            </p:grpSpPr>
            <p:sp>
              <p:nvSpPr>
                <p:cNvPr id="138" name="Forma livre: Forma 137">
                  <a:extLst>
                    <a:ext uri="{FF2B5EF4-FFF2-40B4-BE49-F238E27FC236}">
                      <a16:creationId xmlns:a16="http://schemas.microsoft.com/office/drawing/2014/main" id="{DE6B1C97-C662-9567-BAB4-06C2F863AFC6}"/>
                    </a:ext>
                  </a:extLst>
                </p:cNvPr>
                <p:cNvSpPr/>
                <p:nvPr/>
              </p:nvSpPr>
              <p:spPr>
                <a:xfrm>
                  <a:off x="1418520" y="2281061"/>
                  <a:ext cx="4899" cy="45420"/>
                </a:xfrm>
                <a:custGeom>
                  <a:avLst/>
                  <a:gdLst>
                    <a:gd name="connsiteX0" fmla="*/ 0 w 4899"/>
                    <a:gd name="connsiteY0" fmla="*/ 45420 h 45420"/>
                    <a:gd name="connsiteX1" fmla="*/ 0 w 4899"/>
                    <a:gd name="connsiteY1" fmla="*/ 0 h 4542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899" h="45420">
                      <a:moveTo>
                        <a:pt x="0" y="45420"/>
                      </a:moveTo>
                      <a:lnTo>
                        <a:pt x="0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39" name="Forma livre: Forma 138">
                  <a:extLst>
                    <a:ext uri="{FF2B5EF4-FFF2-40B4-BE49-F238E27FC236}">
                      <a16:creationId xmlns:a16="http://schemas.microsoft.com/office/drawing/2014/main" id="{3D7638A2-D9BE-8CE0-6598-13FAD483A4EC}"/>
                    </a:ext>
                  </a:extLst>
                </p:cNvPr>
                <p:cNvSpPr/>
                <p:nvPr/>
              </p:nvSpPr>
              <p:spPr>
                <a:xfrm>
                  <a:off x="1447918" y="2281061"/>
                  <a:ext cx="4899" cy="45420"/>
                </a:xfrm>
                <a:custGeom>
                  <a:avLst/>
                  <a:gdLst>
                    <a:gd name="connsiteX0" fmla="*/ 0 w 4899"/>
                    <a:gd name="connsiteY0" fmla="*/ 45420 h 45420"/>
                    <a:gd name="connsiteX1" fmla="*/ 0 w 4899"/>
                    <a:gd name="connsiteY1" fmla="*/ 0 h 4542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899" h="45420">
                      <a:moveTo>
                        <a:pt x="0" y="45420"/>
                      </a:moveTo>
                      <a:lnTo>
                        <a:pt x="0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40" name="Forma livre: Forma 139">
                  <a:extLst>
                    <a:ext uri="{FF2B5EF4-FFF2-40B4-BE49-F238E27FC236}">
                      <a16:creationId xmlns:a16="http://schemas.microsoft.com/office/drawing/2014/main" id="{F70FD778-3AEF-73F2-F240-D2D52F746E56}"/>
                    </a:ext>
                  </a:extLst>
                </p:cNvPr>
                <p:cNvSpPr/>
                <p:nvPr/>
              </p:nvSpPr>
              <p:spPr>
                <a:xfrm>
                  <a:off x="1477317" y="2281061"/>
                  <a:ext cx="4899" cy="45420"/>
                </a:xfrm>
                <a:custGeom>
                  <a:avLst/>
                  <a:gdLst>
                    <a:gd name="connsiteX0" fmla="*/ 0 w 4899"/>
                    <a:gd name="connsiteY0" fmla="*/ 45420 h 45420"/>
                    <a:gd name="connsiteX1" fmla="*/ 0 w 4899"/>
                    <a:gd name="connsiteY1" fmla="*/ 0 h 4542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899" h="45420">
                      <a:moveTo>
                        <a:pt x="0" y="45420"/>
                      </a:moveTo>
                      <a:lnTo>
                        <a:pt x="0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41" name="Forma livre: Forma 140">
                  <a:extLst>
                    <a:ext uri="{FF2B5EF4-FFF2-40B4-BE49-F238E27FC236}">
                      <a16:creationId xmlns:a16="http://schemas.microsoft.com/office/drawing/2014/main" id="{EF2E754F-0895-1761-417B-1E4F80FA0AC3}"/>
                    </a:ext>
                  </a:extLst>
                </p:cNvPr>
                <p:cNvSpPr/>
                <p:nvPr/>
              </p:nvSpPr>
              <p:spPr>
                <a:xfrm>
                  <a:off x="1506715" y="2281061"/>
                  <a:ext cx="4899" cy="45420"/>
                </a:xfrm>
                <a:custGeom>
                  <a:avLst/>
                  <a:gdLst>
                    <a:gd name="connsiteX0" fmla="*/ 0 w 4899"/>
                    <a:gd name="connsiteY0" fmla="*/ 45420 h 45420"/>
                    <a:gd name="connsiteX1" fmla="*/ 0 w 4899"/>
                    <a:gd name="connsiteY1" fmla="*/ 0 h 4542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899" h="45420">
                      <a:moveTo>
                        <a:pt x="0" y="45420"/>
                      </a:moveTo>
                      <a:lnTo>
                        <a:pt x="0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142" name="Gráfico 2">
                <a:extLst>
                  <a:ext uri="{FF2B5EF4-FFF2-40B4-BE49-F238E27FC236}">
                    <a16:creationId xmlns:a16="http://schemas.microsoft.com/office/drawing/2014/main" id="{4E999C34-9ADA-E0C6-3CD5-F56AF6139FBA}"/>
                  </a:ext>
                </a:extLst>
              </p:cNvPr>
              <p:cNvGrpSpPr/>
              <p:nvPr/>
            </p:nvGrpSpPr>
            <p:grpSpPr>
              <a:xfrm>
                <a:off x="1429985" y="2131131"/>
                <a:ext cx="77072" cy="66880"/>
                <a:chOff x="1429985" y="2131131"/>
                <a:chExt cx="77072" cy="66880"/>
              </a:xfrm>
              <a:solidFill>
                <a:srgbClr val="394553"/>
              </a:solidFill>
            </p:grpSpPr>
            <p:sp>
              <p:nvSpPr>
                <p:cNvPr id="143" name="Forma livre: Forma 142">
                  <a:extLst>
                    <a:ext uri="{FF2B5EF4-FFF2-40B4-BE49-F238E27FC236}">
                      <a16:creationId xmlns:a16="http://schemas.microsoft.com/office/drawing/2014/main" id="{DF8C5F90-EF49-275B-451F-E6B632A53BA8}"/>
                    </a:ext>
                  </a:extLst>
                </p:cNvPr>
                <p:cNvSpPr/>
                <p:nvPr/>
              </p:nvSpPr>
              <p:spPr>
                <a:xfrm>
                  <a:off x="1499414" y="2179981"/>
                  <a:ext cx="7643" cy="7643"/>
                </a:xfrm>
                <a:custGeom>
                  <a:avLst/>
                  <a:gdLst>
                    <a:gd name="connsiteX0" fmla="*/ 7644 w 7643"/>
                    <a:gd name="connsiteY0" fmla="*/ 3822 h 7643"/>
                    <a:gd name="connsiteX1" fmla="*/ 3822 w 7643"/>
                    <a:gd name="connsiteY1" fmla="*/ 7644 h 7643"/>
                    <a:gd name="connsiteX2" fmla="*/ 0 w 7643"/>
                    <a:gd name="connsiteY2" fmla="*/ 3822 h 7643"/>
                    <a:gd name="connsiteX3" fmla="*/ 3822 w 7643"/>
                    <a:gd name="connsiteY3" fmla="*/ 0 h 7643"/>
                    <a:gd name="connsiteX4" fmla="*/ 7644 w 7643"/>
                    <a:gd name="connsiteY4" fmla="*/ 3822 h 764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7643" h="7643">
                      <a:moveTo>
                        <a:pt x="7644" y="3822"/>
                      </a:moveTo>
                      <a:cubicBezTo>
                        <a:pt x="7644" y="5929"/>
                        <a:pt x="5929" y="7644"/>
                        <a:pt x="3822" y="7644"/>
                      </a:cubicBezTo>
                      <a:cubicBezTo>
                        <a:pt x="1715" y="7644"/>
                        <a:pt x="0" y="5929"/>
                        <a:pt x="0" y="3822"/>
                      </a:cubicBezTo>
                      <a:cubicBezTo>
                        <a:pt x="0" y="1715"/>
                        <a:pt x="1715" y="0"/>
                        <a:pt x="3822" y="0"/>
                      </a:cubicBezTo>
                      <a:cubicBezTo>
                        <a:pt x="5929" y="0"/>
                        <a:pt x="7644" y="1715"/>
                        <a:pt x="7644" y="3822"/>
                      </a:cubicBezTo>
                      <a:close/>
                    </a:path>
                  </a:pathLst>
                </a:custGeom>
                <a:solidFill>
                  <a:srgbClr val="394553"/>
                </a:solidFill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44" name="Forma livre: Forma 143">
                  <a:extLst>
                    <a:ext uri="{FF2B5EF4-FFF2-40B4-BE49-F238E27FC236}">
                      <a16:creationId xmlns:a16="http://schemas.microsoft.com/office/drawing/2014/main" id="{142E5F60-A9F6-185F-891C-8A775896993D}"/>
                    </a:ext>
                  </a:extLst>
                </p:cNvPr>
                <p:cNvSpPr/>
                <p:nvPr/>
              </p:nvSpPr>
              <p:spPr>
                <a:xfrm>
                  <a:off x="1474671" y="2155433"/>
                  <a:ext cx="7643" cy="7643"/>
                </a:xfrm>
                <a:custGeom>
                  <a:avLst/>
                  <a:gdLst>
                    <a:gd name="connsiteX0" fmla="*/ 7644 w 7643"/>
                    <a:gd name="connsiteY0" fmla="*/ 3822 h 7643"/>
                    <a:gd name="connsiteX1" fmla="*/ 3822 w 7643"/>
                    <a:gd name="connsiteY1" fmla="*/ 7644 h 7643"/>
                    <a:gd name="connsiteX2" fmla="*/ 0 w 7643"/>
                    <a:gd name="connsiteY2" fmla="*/ 3822 h 7643"/>
                    <a:gd name="connsiteX3" fmla="*/ 3822 w 7643"/>
                    <a:gd name="connsiteY3" fmla="*/ 0 h 7643"/>
                    <a:gd name="connsiteX4" fmla="*/ 7644 w 7643"/>
                    <a:gd name="connsiteY4" fmla="*/ 3822 h 764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7643" h="7643">
                      <a:moveTo>
                        <a:pt x="7644" y="3822"/>
                      </a:moveTo>
                      <a:cubicBezTo>
                        <a:pt x="7644" y="5929"/>
                        <a:pt x="5929" y="7644"/>
                        <a:pt x="3822" y="7644"/>
                      </a:cubicBezTo>
                      <a:cubicBezTo>
                        <a:pt x="1715" y="7644"/>
                        <a:pt x="0" y="5929"/>
                        <a:pt x="0" y="3822"/>
                      </a:cubicBezTo>
                      <a:cubicBezTo>
                        <a:pt x="0" y="1715"/>
                        <a:pt x="1715" y="0"/>
                        <a:pt x="3822" y="0"/>
                      </a:cubicBezTo>
                      <a:cubicBezTo>
                        <a:pt x="5929" y="0"/>
                        <a:pt x="7644" y="1715"/>
                        <a:pt x="7644" y="3822"/>
                      </a:cubicBezTo>
                      <a:close/>
                    </a:path>
                  </a:pathLst>
                </a:custGeom>
                <a:solidFill>
                  <a:srgbClr val="394553"/>
                </a:solidFill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45" name="Forma livre: Forma 144">
                  <a:extLst>
                    <a:ext uri="{FF2B5EF4-FFF2-40B4-BE49-F238E27FC236}">
                      <a16:creationId xmlns:a16="http://schemas.microsoft.com/office/drawing/2014/main" id="{A3C3A52F-60D1-2783-A60E-2433901E0B66}"/>
                    </a:ext>
                  </a:extLst>
                </p:cNvPr>
                <p:cNvSpPr/>
                <p:nvPr/>
              </p:nvSpPr>
              <p:spPr>
                <a:xfrm>
                  <a:off x="1464430" y="2186007"/>
                  <a:ext cx="7643" cy="7643"/>
                </a:xfrm>
                <a:custGeom>
                  <a:avLst/>
                  <a:gdLst>
                    <a:gd name="connsiteX0" fmla="*/ 7644 w 7643"/>
                    <a:gd name="connsiteY0" fmla="*/ 3822 h 7643"/>
                    <a:gd name="connsiteX1" fmla="*/ 3822 w 7643"/>
                    <a:gd name="connsiteY1" fmla="*/ 7644 h 7643"/>
                    <a:gd name="connsiteX2" fmla="*/ 0 w 7643"/>
                    <a:gd name="connsiteY2" fmla="*/ 3822 h 7643"/>
                    <a:gd name="connsiteX3" fmla="*/ 3822 w 7643"/>
                    <a:gd name="connsiteY3" fmla="*/ 0 h 7643"/>
                    <a:gd name="connsiteX4" fmla="*/ 7644 w 7643"/>
                    <a:gd name="connsiteY4" fmla="*/ 3822 h 764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7643" h="7643">
                      <a:moveTo>
                        <a:pt x="7644" y="3822"/>
                      </a:moveTo>
                      <a:cubicBezTo>
                        <a:pt x="7644" y="5929"/>
                        <a:pt x="5929" y="7644"/>
                        <a:pt x="3822" y="7644"/>
                      </a:cubicBezTo>
                      <a:cubicBezTo>
                        <a:pt x="1715" y="7644"/>
                        <a:pt x="0" y="5929"/>
                        <a:pt x="0" y="3822"/>
                      </a:cubicBezTo>
                      <a:cubicBezTo>
                        <a:pt x="0" y="1715"/>
                        <a:pt x="1715" y="0"/>
                        <a:pt x="3822" y="0"/>
                      </a:cubicBezTo>
                      <a:cubicBezTo>
                        <a:pt x="5929" y="0"/>
                        <a:pt x="7644" y="1715"/>
                        <a:pt x="7644" y="3822"/>
                      </a:cubicBezTo>
                      <a:close/>
                    </a:path>
                  </a:pathLst>
                </a:custGeom>
                <a:solidFill>
                  <a:srgbClr val="394553"/>
                </a:solidFill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46" name="Forma livre: Forma 145">
                  <a:extLst>
                    <a:ext uri="{FF2B5EF4-FFF2-40B4-BE49-F238E27FC236}">
                      <a16:creationId xmlns:a16="http://schemas.microsoft.com/office/drawing/2014/main" id="{816F7ACC-A157-7D1D-CDBD-DB2714D0E156}"/>
                    </a:ext>
                  </a:extLst>
                </p:cNvPr>
                <p:cNvSpPr/>
                <p:nvPr/>
              </p:nvSpPr>
              <p:spPr>
                <a:xfrm>
                  <a:off x="1440079" y="2160137"/>
                  <a:ext cx="7643" cy="7643"/>
                </a:xfrm>
                <a:custGeom>
                  <a:avLst/>
                  <a:gdLst>
                    <a:gd name="connsiteX0" fmla="*/ 7644 w 7643"/>
                    <a:gd name="connsiteY0" fmla="*/ 3822 h 7643"/>
                    <a:gd name="connsiteX1" fmla="*/ 3822 w 7643"/>
                    <a:gd name="connsiteY1" fmla="*/ 7644 h 7643"/>
                    <a:gd name="connsiteX2" fmla="*/ 0 w 7643"/>
                    <a:gd name="connsiteY2" fmla="*/ 3822 h 7643"/>
                    <a:gd name="connsiteX3" fmla="*/ 3822 w 7643"/>
                    <a:gd name="connsiteY3" fmla="*/ 0 h 7643"/>
                    <a:gd name="connsiteX4" fmla="*/ 7644 w 7643"/>
                    <a:gd name="connsiteY4" fmla="*/ 3822 h 764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7643" h="7643">
                      <a:moveTo>
                        <a:pt x="7644" y="3822"/>
                      </a:moveTo>
                      <a:cubicBezTo>
                        <a:pt x="7644" y="5929"/>
                        <a:pt x="5929" y="7644"/>
                        <a:pt x="3822" y="7644"/>
                      </a:cubicBezTo>
                      <a:cubicBezTo>
                        <a:pt x="1715" y="7644"/>
                        <a:pt x="0" y="5929"/>
                        <a:pt x="0" y="3822"/>
                      </a:cubicBezTo>
                      <a:cubicBezTo>
                        <a:pt x="0" y="1715"/>
                        <a:pt x="1715" y="0"/>
                        <a:pt x="3822" y="0"/>
                      </a:cubicBezTo>
                      <a:cubicBezTo>
                        <a:pt x="5929" y="0"/>
                        <a:pt x="7644" y="1715"/>
                        <a:pt x="7644" y="3822"/>
                      </a:cubicBezTo>
                      <a:close/>
                    </a:path>
                  </a:pathLst>
                </a:custGeom>
                <a:solidFill>
                  <a:srgbClr val="394553"/>
                </a:solidFill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47" name="Forma livre: Forma 146">
                  <a:extLst>
                    <a:ext uri="{FF2B5EF4-FFF2-40B4-BE49-F238E27FC236}">
                      <a16:creationId xmlns:a16="http://schemas.microsoft.com/office/drawing/2014/main" id="{DEEAC560-954C-5525-2769-656FD9D5FD05}"/>
                    </a:ext>
                  </a:extLst>
                </p:cNvPr>
                <p:cNvSpPr/>
                <p:nvPr/>
              </p:nvSpPr>
              <p:spPr>
                <a:xfrm>
                  <a:off x="1449829" y="2131131"/>
                  <a:ext cx="7643" cy="7643"/>
                </a:xfrm>
                <a:custGeom>
                  <a:avLst/>
                  <a:gdLst>
                    <a:gd name="connsiteX0" fmla="*/ 7644 w 7643"/>
                    <a:gd name="connsiteY0" fmla="*/ 3822 h 7643"/>
                    <a:gd name="connsiteX1" fmla="*/ 3822 w 7643"/>
                    <a:gd name="connsiteY1" fmla="*/ 7644 h 7643"/>
                    <a:gd name="connsiteX2" fmla="*/ 0 w 7643"/>
                    <a:gd name="connsiteY2" fmla="*/ 3822 h 7643"/>
                    <a:gd name="connsiteX3" fmla="*/ 3822 w 7643"/>
                    <a:gd name="connsiteY3" fmla="*/ 0 h 7643"/>
                    <a:gd name="connsiteX4" fmla="*/ 7644 w 7643"/>
                    <a:gd name="connsiteY4" fmla="*/ 3822 h 764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7643" h="7643">
                      <a:moveTo>
                        <a:pt x="7644" y="3822"/>
                      </a:moveTo>
                      <a:cubicBezTo>
                        <a:pt x="7644" y="5929"/>
                        <a:pt x="5929" y="7644"/>
                        <a:pt x="3822" y="7644"/>
                      </a:cubicBezTo>
                      <a:cubicBezTo>
                        <a:pt x="1715" y="7644"/>
                        <a:pt x="0" y="5929"/>
                        <a:pt x="0" y="3822"/>
                      </a:cubicBezTo>
                      <a:cubicBezTo>
                        <a:pt x="0" y="1715"/>
                        <a:pt x="1715" y="0"/>
                        <a:pt x="3822" y="0"/>
                      </a:cubicBezTo>
                      <a:cubicBezTo>
                        <a:pt x="5929" y="0"/>
                        <a:pt x="7644" y="1715"/>
                        <a:pt x="7644" y="3822"/>
                      </a:cubicBezTo>
                      <a:close/>
                    </a:path>
                  </a:pathLst>
                </a:custGeom>
                <a:solidFill>
                  <a:srgbClr val="394553"/>
                </a:solidFill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48" name="Forma livre: Forma 147">
                  <a:extLst>
                    <a:ext uri="{FF2B5EF4-FFF2-40B4-BE49-F238E27FC236}">
                      <a16:creationId xmlns:a16="http://schemas.microsoft.com/office/drawing/2014/main" id="{56CF7820-4BC1-0D95-73C3-9CE86C471F83}"/>
                    </a:ext>
                  </a:extLst>
                </p:cNvPr>
                <p:cNvSpPr/>
                <p:nvPr/>
              </p:nvSpPr>
              <p:spPr>
                <a:xfrm>
                  <a:off x="1429985" y="2190368"/>
                  <a:ext cx="7643" cy="7643"/>
                </a:xfrm>
                <a:custGeom>
                  <a:avLst/>
                  <a:gdLst>
                    <a:gd name="connsiteX0" fmla="*/ 7644 w 7643"/>
                    <a:gd name="connsiteY0" fmla="*/ 3822 h 7643"/>
                    <a:gd name="connsiteX1" fmla="*/ 3822 w 7643"/>
                    <a:gd name="connsiteY1" fmla="*/ 7644 h 7643"/>
                    <a:gd name="connsiteX2" fmla="*/ 0 w 7643"/>
                    <a:gd name="connsiteY2" fmla="*/ 3822 h 7643"/>
                    <a:gd name="connsiteX3" fmla="*/ 3822 w 7643"/>
                    <a:gd name="connsiteY3" fmla="*/ 0 h 7643"/>
                    <a:gd name="connsiteX4" fmla="*/ 7644 w 7643"/>
                    <a:gd name="connsiteY4" fmla="*/ 3822 h 764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7643" h="7643">
                      <a:moveTo>
                        <a:pt x="7644" y="3822"/>
                      </a:moveTo>
                      <a:cubicBezTo>
                        <a:pt x="7644" y="5929"/>
                        <a:pt x="5929" y="7644"/>
                        <a:pt x="3822" y="7644"/>
                      </a:cubicBezTo>
                      <a:cubicBezTo>
                        <a:pt x="1715" y="7644"/>
                        <a:pt x="0" y="5929"/>
                        <a:pt x="0" y="3822"/>
                      </a:cubicBezTo>
                      <a:cubicBezTo>
                        <a:pt x="0" y="1715"/>
                        <a:pt x="1715" y="0"/>
                        <a:pt x="3822" y="0"/>
                      </a:cubicBezTo>
                      <a:cubicBezTo>
                        <a:pt x="5929" y="0"/>
                        <a:pt x="7644" y="1715"/>
                        <a:pt x="7644" y="3822"/>
                      </a:cubicBezTo>
                      <a:close/>
                    </a:path>
                  </a:pathLst>
                </a:custGeom>
                <a:solidFill>
                  <a:srgbClr val="394553"/>
                </a:solidFill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grpSp>
          <p:nvGrpSpPr>
            <p:cNvPr id="149" name="Gráfico 2">
              <a:extLst>
                <a:ext uri="{FF2B5EF4-FFF2-40B4-BE49-F238E27FC236}">
                  <a16:creationId xmlns:a16="http://schemas.microsoft.com/office/drawing/2014/main" id="{82D0FB06-6028-D999-F6E9-109E73B2EB84}"/>
                </a:ext>
              </a:extLst>
            </p:cNvPr>
            <p:cNvGrpSpPr/>
            <p:nvPr/>
          </p:nvGrpSpPr>
          <p:grpSpPr>
            <a:xfrm>
              <a:off x="1642583" y="2131131"/>
              <a:ext cx="88488" cy="195350"/>
              <a:chOff x="1642583" y="2131131"/>
              <a:chExt cx="88488" cy="195350"/>
            </a:xfrm>
            <a:solidFill>
              <a:srgbClr val="394553"/>
            </a:solidFill>
          </p:grpSpPr>
          <p:grpSp>
            <p:nvGrpSpPr>
              <p:cNvPr id="150" name="Gráfico 2">
                <a:extLst>
                  <a:ext uri="{FF2B5EF4-FFF2-40B4-BE49-F238E27FC236}">
                    <a16:creationId xmlns:a16="http://schemas.microsoft.com/office/drawing/2014/main" id="{930F9CC6-199E-1355-887F-2049164E1BBA}"/>
                  </a:ext>
                </a:extLst>
              </p:cNvPr>
              <p:cNvGrpSpPr/>
              <p:nvPr/>
            </p:nvGrpSpPr>
            <p:grpSpPr>
              <a:xfrm>
                <a:off x="1642877" y="2281061"/>
                <a:ext cx="88194" cy="45420"/>
                <a:chOff x="1642877" y="2281061"/>
                <a:chExt cx="88194" cy="45420"/>
              </a:xfrm>
            </p:grpSpPr>
            <p:sp>
              <p:nvSpPr>
                <p:cNvPr id="151" name="Forma livre: Forma 150">
                  <a:extLst>
                    <a:ext uri="{FF2B5EF4-FFF2-40B4-BE49-F238E27FC236}">
                      <a16:creationId xmlns:a16="http://schemas.microsoft.com/office/drawing/2014/main" id="{AA4E79B7-7544-1C13-F206-6A8AFD0DDEC6}"/>
                    </a:ext>
                  </a:extLst>
                </p:cNvPr>
                <p:cNvSpPr/>
                <p:nvPr/>
              </p:nvSpPr>
              <p:spPr>
                <a:xfrm>
                  <a:off x="1731072" y="2281061"/>
                  <a:ext cx="4899" cy="45420"/>
                </a:xfrm>
                <a:custGeom>
                  <a:avLst/>
                  <a:gdLst>
                    <a:gd name="connsiteX0" fmla="*/ 0 w 4899"/>
                    <a:gd name="connsiteY0" fmla="*/ 45420 h 45420"/>
                    <a:gd name="connsiteX1" fmla="*/ 0 w 4899"/>
                    <a:gd name="connsiteY1" fmla="*/ 0 h 4542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899" h="45420">
                      <a:moveTo>
                        <a:pt x="0" y="45420"/>
                      </a:moveTo>
                      <a:lnTo>
                        <a:pt x="0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52" name="Forma livre: Forma 151">
                  <a:extLst>
                    <a:ext uri="{FF2B5EF4-FFF2-40B4-BE49-F238E27FC236}">
                      <a16:creationId xmlns:a16="http://schemas.microsoft.com/office/drawing/2014/main" id="{8DF39CC6-02E2-3E97-5B2B-371AABF7CE50}"/>
                    </a:ext>
                  </a:extLst>
                </p:cNvPr>
                <p:cNvSpPr/>
                <p:nvPr/>
              </p:nvSpPr>
              <p:spPr>
                <a:xfrm>
                  <a:off x="1701674" y="2281061"/>
                  <a:ext cx="4899" cy="45420"/>
                </a:xfrm>
                <a:custGeom>
                  <a:avLst/>
                  <a:gdLst>
                    <a:gd name="connsiteX0" fmla="*/ 0 w 4899"/>
                    <a:gd name="connsiteY0" fmla="*/ 45420 h 45420"/>
                    <a:gd name="connsiteX1" fmla="*/ 0 w 4899"/>
                    <a:gd name="connsiteY1" fmla="*/ 0 h 4542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899" h="45420">
                      <a:moveTo>
                        <a:pt x="0" y="45420"/>
                      </a:moveTo>
                      <a:lnTo>
                        <a:pt x="0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53" name="Forma livre: Forma 152">
                  <a:extLst>
                    <a:ext uri="{FF2B5EF4-FFF2-40B4-BE49-F238E27FC236}">
                      <a16:creationId xmlns:a16="http://schemas.microsoft.com/office/drawing/2014/main" id="{10B055C0-42CF-D3AC-BB98-634598077D54}"/>
                    </a:ext>
                  </a:extLst>
                </p:cNvPr>
                <p:cNvSpPr/>
                <p:nvPr/>
              </p:nvSpPr>
              <p:spPr>
                <a:xfrm>
                  <a:off x="1672275" y="2281061"/>
                  <a:ext cx="4899" cy="45420"/>
                </a:xfrm>
                <a:custGeom>
                  <a:avLst/>
                  <a:gdLst>
                    <a:gd name="connsiteX0" fmla="*/ 0 w 4899"/>
                    <a:gd name="connsiteY0" fmla="*/ 45420 h 45420"/>
                    <a:gd name="connsiteX1" fmla="*/ 0 w 4899"/>
                    <a:gd name="connsiteY1" fmla="*/ 0 h 4542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899" h="45420">
                      <a:moveTo>
                        <a:pt x="0" y="45420"/>
                      </a:moveTo>
                      <a:lnTo>
                        <a:pt x="0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54" name="Forma livre: Forma 153">
                  <a:extLst>
                    <a:ext uri="{FF2B5EF4-FFF2-40B4-BE49-F238E27FC236}">
                      <a16:creationId xmlns:a16="http://schemas.microsoft.com/office/drawing/2014/main" id="{2D8DC8BC-7A40-8B4D-B090-542D7D9D4BA4}"/>
                    </a:ext>
                  </a:extLst>
                </p:cNvPr>
                <p:cNvSpPr/>
                <p:nvPr/>
              </p:nvSpPr>
              <p:spPr>
                <a:xfrm>
                  <a:off x="1642877" y="2281061"/>
                  <a:ext cx="4899" cy="45420"/>
                </a:xfrm>
                <a:custGeom>
                  <a:avLst/>
                  <a:gdLst>
                    <a:gd name="connsiteX0" fmla="*/ 0 w 4899"/>
                    <a:gd name="connsiteY0" fmla="*/ 45420 h 45420"/>
                    <a:gd name="connsiteX1" fmla="*/ 0 w 4899"/>
                    <a:gd name="connsiteY1" fmla="*/ 0 h 4542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899" h="45420">
                      <a:moveTo>
                        <a:pt x="0" y="45420"/>
                      </a:moveTo>
                      <a:lnTo>
                        <a:pt x="0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155" name="Gráfico 2">
                <a:extLst>
                  <a:ext uri="{FF2B5EF4-FFF2-40B4-BE49-F238E27FC236}">
                    <a16:creationId xmlns:a16="http://schemas.microsoft.com/office/drawing/2014/main" id="{DA10EF0B-7E2C-660E-04E9-2A713A6914A5}"/>
                  </a:ext>
                </a:extLst>
              </p:cNvPr>
              <p:cNvGrpSpPr/>
              <p:nvPr/>
            </p:nvGrpSpPr>
            <p:grpSpPr>
              <a:xfrm>
                <a:off x="1642583" y="2131131"/>
                <a:ext cx="77072" cy="66880"/>
                <a:chOff x="1642583" y="2131131"/>
                <a:chExt cx="77072" cy="66880"/>
              </a:xfrm>
              <a:solidFill>
                <a:srgbClr val="394553"/>
              </a:solidFill>
            </p:grpSpPr>
            <p:sp>
              <p:nvSpPr>
                <p:cNvPr id="156" name="Forma livre: Forma 155">
                  <a:extLst>
                    <a:ext uri="{FF2B5EF4-FFF2-40B4-BE49-F238E27FC236}">
                      <a16:creationId xmlns:a16="http://schemas.microsoft.com/office/drawing/2014/main" id="{C1B251BD-3098-3E1F-552A-5E0892DB2582}"/>
                    </a:ext>
                  </a:extLst>
                </p:cNvPr>
                <p:cNvSpPr/>
                <p:nvPr/>
              </p:nvSpPr>
              <p:spPr>
                <a:xfrm>
                  <a:off x="1642583" y="2179981"/>
                  <a:ext cx="7643" cy="7643"/>
                </a:xfrm>
                <a:custGeom>
                  <a:avLst/>
                  <a:gdLst>
                    <a:gd name="connsiteX0" fmla="*/ 0 w 7643"/>
                    <a:gd name="connsiteY0" fmla="*/ 3822 h 7643"/>
                    <a:gd name="connsiteX1" fmla="*/ 3822 w 7643"/>
                    <a:gd name="connsiteY1" fmla="*/ 7644 h 7643"/>
                    <a:gd name="connsiteX2" fmla="*/ 7644 w 7643"/>
                    <a:gd name="connsiteY2" fmla="*/ 3822 h 7643"/>
                    <a:gd name="connsiteX3" fmla="*/ 3822 w 7643"/>
                    <a:gd name="connsiteY3" fmla="*/ 0 h 7643"/>
                    <a:gd name="connsiteX4" fmla="*/ 0 w 7643"/>
                    <a:gd name="connsiteY4" fmla="*/ 3822 h 764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7643" h="7643">
                      <a:moveTo>
                        <a:pt x="0" y="3822"/>
                      </a:moveTo>
                      <a:cubicBezTo>
                        <a:pt x="0" y="5929"/>
                        <a:pt x="1715" y="7644"/>
                        <a:pt x="3822" y="7644"/>
                      </a:cubicBezTo>
                      <a:cubicBezTo>
                        <a:pt x="5929" y="7644"/>
                        <a:pt x="7644" y="5929"/>
                        <a:pt x="7644" y="3822"/>
                      </a:cubicBezTo>
                      <a:cubicBezTo>
                        <a:pt x="7644" y="1715"/>
                        <a:pt x="5929" y="0"/>
                        <a:pt x="3822" y="0"/>
                      </a:cubicBezTo>
                      <a:cubicBezTo>
                        <a:pt x="1715" y="0"/>
                        <a:pt x="0" y="1715"/>
                        <a:pt x="0" y="3822"/>
                      </a:cubicBezTo>
                      <a:close/>
                    </a:path>
                  </a:pathLst>
                </a:custGeom>
                <a:solidFill>
                  <a:srgbClr val="394553"/>
                </a:solidFill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57" name="Forma livre: Forma 156">
                  <a:extLst>
                    <a:ext uri="{FF2B5EF4-FFF2-40B4-BE49-F238E27FC236}">
                      <a16:creationId xmlns:a16="http://schemas.microsoft.com/office/drawing/2014/main" id="{E9D61ADC-592E-C725-62D4-D3029E28652B}"/>
                    </a:ext>
                  </a:extLst>
                </p:cNvPr>
                <p:cNvSpPr/>
                <p:nvPr/>
              </p:nvSpPr>
              <p:spPr>
                <a:xfrm>
                  <a:off x="1667327" y="2155433"/>
                  <a:ext cx="7643" cy="7643"/>
                </a:xfrm>
                <a:custGeom>
                  <a:avLst/>
                  <a:gdLst>
                    <a:gd name="connsiteX0" fmla="*/ 0 w 7643"/>
                    <a:gd name="connsiteY0" fmla="*/ 3822 h 7643"/>
                    <a:gd name="connsiteX1" fmla="*/ 3822 w 7643"/>
                    <a:gd name="connsiteY1" fmla="*/ 7644 h 7643"/>
                    <a:gd name="connsiteX2" fmla="*/ 7644 w 7643"/>
                    <a:gd name="connsiteY2" fmla="*/ 3822 h 7643"/>
                    <a:gd name="connsiteX3" fmla="*/ 3822 w 7643"/>
                    <a:gd name="connsiteY3" fmla="*/ 0 h 7643"/>
                    <a:gd name="connsiteX4" fmla="*/ 0 w 7643"/>
                    <a:gd name="connsiteY4" fmla="*/ 3822 h 764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7643" h="7643">
                      <a:moveTo>
                        <a:pt x="0" y="3822"/>
                      </a:moveTo>
                      <a:cubicBezTo>
                        <a:pt x="0" y="5929"/>
                        <a:pt x="1715" y="7644"/>
                        <a:pt x="3822" y="7644"/>
                      </a:cubicBezTo>
                      <a:cubicBezTo>
                        <a:pt x="5929" y="7644"/>
                        <a:pt x="7644" y="5929"/>
                        <a:pt x="7644" y="3822"/>
                      </a:cubicBezTo>
                      <a:cubicBezTo>
                        <a:pt x="7644" y="1715"/>
                        <a:pt x="5929" y="0"/>
                        <a:pt x="3822" y="0"/>
                      </a:cubicBezTo>
                      <a:cubicBezTo>
                        <a:pt x="1715" y="0"/>
                        <a:pt x="0" y="1715"/>
                        <a:pt x="0" y="3822"/>
                      </a:cubicBezTo>
                      <a:close/>
                    </a:path>
                  </a:pathLst>
                </a:custGeom>
                <a:solidFill>
                  <a:srgbClr val="394553"/>
                </a:solidFill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58" name="Forma livre: Forma 157">
                  <a:extLst>
                    <a:ext uri="{FF2B5EF4-FFF2-40B4-BE49-F238E27FC236}">
                      <a16:creationId xmlns:a16="http://schemas.microsoft.com/office/drawing/2014/main" id="{9072EBDA-11DE-C8F8-F9CF-9F4D38695FB0}"/>
                    </a:ext>
                  </a:extLst>
                </p:cNvPr>
                <p:cNvSpPr/>
                <p:nvPr/>
              </p:nvSpPr>
              <p:spPr>
                <a:xfrm>
                  <a:off x="1677567" y="2186007"/>
                  <a:ext cx="7643" cy="7643"/>
                </a:xfrm>
                <a:custGeom>
                  <a:avLst/>
                  <a:gdLst>
                    <a:gd name="connsiteX0" fmla="*/ 0 w 7643"/>
                    <a:gd name="connsiteY0" fmla="*/ 3822 h 7643"/>
                    <a:gd name="connsiteX1" fmla="*/ 3822 w 7643"/>
                    <a:gd name="connsiteY1" fmla="*/ 7644 h 7643"/>
                    <a:gd name="connsiteX2" fmla="*/ 7644 w 7643"/>
                    <a:gd name="connsiteY2" fmla="*/ 3822 h 7643"/>
                    <a:gd name="connsiteX3" fmla="*/ 3822 w 7643"/>
                    <a:gd name="connsiteY3" fmla="*/ 0 h 7643"/>
                    <a:gd name="connsiteX4" fmla="*/ 0 w 7643"/>
                    <a:gd name="connsiteY4" fmla="*/ 3822 h 764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7643" h="7643">
                      <a:moveTo>
                        <a:pt x="0" y="3822"/>
                      </a:moveTo>
                      <a:cubicBezTo>
                        <a:pt x="0" y="5929"/>
                        <a:pt x="1715" y="7644"/>
                        <a:pt x="3822" y="7644"/>
                      </a:cubicBezTo>
                      <a:cubicBezTo>
                        <a:pt x="5929" y="7644"/>
                        <a:pt x="7644" y="5929"/>
                        <a:pt x="7644" y="3822"/>
                      </a:cubicBezTo>
                      <a:cubicBezTo>
                        <a:pt x="7644" y="1715"/>
                        <a:pt x="5929" y="0"/>
                        <a:pt x="3822" y="0"/>
                      </a:cubicBezTo>
                      <a:cubicBezTo>
                        <a:pt x="1715" y="0"/>
                        <a:pt x="0" y="1715"/>
                        <a:pt x="0" y="3822"/>
                      </a:cubicBezTo>
                      <a:close/>
                    </a:path>
                  </a:pathLst>
                </a:custGeom>
                <a:solidFill>
                  <a:srgbClr val="394553"/>
                </a:solidFill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59" name="Forma livre: Forma 158">
                  <a:extLst>
                    <a:ext uri="{FF2B5EF4-FFF2-40B4-BE49-F238E27FC236}">
                      <a16:creationId xmlns:a16="http://schemas.microsoft.com/office/drawing/2014/main" id="{668806EC-8F96-B22E-2E28-487FB36B0982}"/>
                    </a:ext>
                  </a:extLst>
                </p:cNvPr>
                <p:cNvSpPr/>
                <p:nvPr/>
              </p:nvSpPr>
              <p:spPr>
                <a:xfrm>
                  <a:off x="1701870" y="2160137"/>
                  <a:ext cx="7643" cy="7643"/>
                </a:xfrm>
                <a:custGeom>
                  <a:avLst/>
                  <a:gdLst>
                    <a:gd name="connsiteX0" fmla="*/ 0 w 7643"/>
                    <a:gd name="connsiteY0" fmla="*/ 3822 h 7643"/>
                    <a:gd name="connsiteX1" fmla="*/ 3822 w 7643"/>
                    <a:gd name="connsiteY1" fmla="*/ 7644 h 7643"/>
                    <a:gd name="connsiteX2" fmla="*/ 7644 w 7643"/>
                    <a:gd name="connsiteY2" fmla="*/ 3822 h 7643"/>
                    <a:gd name="connsiteX3" fmla="*/ 3822 w 7643"/>
                    <a:gd name="connsiteY3" fmla="*/ 0 h 7643"/>
                    <a:gd name="connsiteX4" fmla="*/ 0 w 7643"/>
                    <a:gd name="connsiteY4" fmla="*/ 3822 h 764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7643" h="7643">
                      <a:moveTo>
                        <a:pt x="0" y="3822"/>
                      </a:moveTo>
                      <a:cubicBezTo>
                        <a:pt x="0" y="5929"/>
                        <a:pt x="1715" y="7644"/>
                        <a:pt x="3822" y="7644"/>
                      </a:cubicBezTo>
                      <a:cubicBezTo>
                        <a:pt x="5929" y="7644"/>
                        <a:pt x="7644" y="5929"/>
                        <a:pt x="7644" y="3822"/>
                      </a:cubicBezTo>
                      <a:cubicBezTo>
                        <a:pt x="7644" y="1715"/>
                        <a:pt x="5929" y="0"/>
                        <a:pt x="3822" y="0"/>
                      </a:cubicBezTo>
                      <a:cubicBezTo>
                        <a:pt x="1715" y="0"/>
                        <a:pt x="0" y="1715"/>
                        <a:pt x="0" y="3822"/>
                      </a:cubicBezTo>
                      <a:close/>
                    </a:path>
                  </a:pathLst>
                </a:custGeom>
                <a:solidFill>
                  <a:srgbClr val="394553"/>
                </a:solidFill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60" name="Forma livre: Forma 159">
                  <a:extLst>
                    <a:ext uri="{FF2B5EF4-FFF2-40B4-BE49-F238E27FC236}">
                      <a16:creationId xmlns:a16="http://schemas.microsoft.com/office/drawing/2014/main" id="{0D28E103-7F72-9B59-0472-A7DAE625DAF5}"/>
                    </a:ext>
                  </a:extLst>
                </p:cNvPr>
                <p:cNvSpPr/>
                <p:nvPr/>
              </p:nvSpPr>
              <p:spPr>
                <a:xfrm>
                  <a:off x="1692168" y="2131131"/>
                  <a:ext cx="7643" cy="7643"/>
                </a:xfrm>
                <a:custGeom>
                  <a:avLst/>
                  <a:gdLst>
                    <a:gd name="connsiteX0" fmla="*/ 0 w 7643"/>
                    <a:gd name="connsiteY0" fmla="*/ 3822 h 7643"/>
                    <a:gd name="connsiteX1" fmla="*/ 3822 w 7643"/>
                    <a:gd name="connsiteY1" fmla="*/ 7644 h 7643"/>
                    <a:gd name="connsiteX2" fmla="*/ 7644 w 7643"/>
                    <a:gd name="connsiteY2" fmla="*/ 3822 h 7643"/>
                    <a:gd name="connsiteX3" fmla="*/ 3822 w 7643"/>
                    <a:gd name="connsiteY3" fmla="*/ 0 h 7643"/>
                    <a:gd name="connsiteX4" fmla="*/ 0 w 7643"/>
                    <a:gd name="connsiteY4" fmla="*/ 3822 h 764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7643" h="7643">
                      <a:moveTo>
                        <a:pt x="0" y="3822"/>
                      </a:moveTo>
                      <a:cubicBezTo>
                        <a:pt x="0" y="5929"/>
                        <a:pt x="1715" y="7644"/>
                        <a:pt x="3822" y="7644"/>
                      </a:cubicBezTo>
                      <a:cubicBezTo>
                        <a:pt x="5929" y="7644"/>
                        <a:pt x="7644" y="5929"/>
                        <a:pt x="7644" y="3822"/>
                      </a:cubicBezTo>
                      <a:cubicBezTo>
                        <a:pt x="7644" y="1715"/>
                        <a:pt x="5929" y="0"/>
                        <a:pt x="3822" y="0"/>
                      </a:cubicBezTo>
                      <a:cubicBezTo>
                        <a:pt x="1715" y="0"/>
                        <a:pt x="0" y="1715"/>
                        <a:pt x="0" y="3822"/>
                      </a:cubicBezTo>
                      <a:close/>
                    </a:path>
                  </a:pathLst>
                </a:custGeom>
                <a:solidFill>
                  <a:srgbClr val="394553"/>
                </a:solidFill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61" name="Forma livre: Forma 160">
                  <a:extLst>
                    <a:ext uri="{FF2B5EF4-FFF2-40B4-BE49-F238E27FC236}">
                      <a16:creationId xmlns:a16="http://schemas.microsoft.com/office/drawing/2014/main" id="{E678EFF2-CB64-C7DC-A2CD-128B9111CD2F}"/>
                    </a:ext>
                  </a:extLst>
                </p:cNvPr>
                <p:cNvSpPr/>
                <p:nvPr/>
              </p:nvSpPr>
              <p:spPr>
                <a:xfrm>
                  <a:off x="1712012" y="2190368"/>
                  <a:ext cx="7643" cy="7643"/>
                </a:xfrm>
                <a:custGeom>
                  <a:avLst/>
                  <a:gdLst>
                    <a:gd name="connsiteX0" fmla="*/ 0 w 7643"/>
                    <a:gd name="connsiteY0" fmla="*/ 3822 h 7643"/>
                    <a:gd name="connsiteX1" fmla="*/ 3822 w 7643"/>
                    <a:gd name="connsiteY1" fmla="*/ 7644 h 7643"/>
                    <a:gd name="connsiteX2" fmla="*/ 7644 w 7643"/>
                    <a:gd name="connsiteY2" fmla="*/ 3822 h 7643"/>
                    <a:gd name="connsiteX3" fmla="*/ 3822 w 7643"/>
                    <a:gd name="connsiteY3" fmla="*/ 0 h 7643"/>
                    <a:gd name="connsiteX4" fmla="*/ 0 w 7643"/>
                    <a:gd name="connsiteY4" fmla="*/ 3822 h 764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7643" h="7643">
                      <a:moveTo>
                        <a:pt x="0" y="3822"/>
                      </a:moveTo>
                      <a:cubicBezTo>
                        <a:pt x="0" y="5929"/>
                        <a:pt x="1715" y="7644"/>
                        <a:pt x="3822" y="7644"/>
                      </a:cubicBezTo>
                      <a:cubicBezTo>
                        <a:pt x="5929" y="7644"/>
                        <a:pt x="7644" y="5929"/>
                        <a:pt x="7644" y="3822"/>
                      </a:cubicBezTo>
                      <a:cubicBezTo>
                        <a:pt x="7644" y="1715"/>
                        <a:pt x="5929" y="0"/>
                        <a:pt x="3822" y="0"/>
                      </a:cubicBezTo>
                      <a:cubicBezTo>
                        <a:pt x="1715" y="0"/>
                        <a:pt x="0" y="1715"/>
                        <a:pt x="0" y="3822"/>
                      </a:cubicBezTo>
                      <a:close/>
                    </a:path>
                  </a:pathLst>
                </a:custGeom>
                <a:solidFill>
                  <a:srgbClr val="394553"/>
                </a:solidFill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sp>
          <p:nvSpPr>
            <p:cNvPr id="162" name="Forma livre: Forma 161">
              <a:extLst>
                <a:ext uri="{FF2B5EF4-FFF2-40B4-BE49-F238E27FC236}">
                  <a16:creationId xmlns:a16="http://schemas.microsoft.com/office/drawing/2014/main" id="{8F3508EA-E2DF-F4A6-BBD5-252869AAD2DE}"/>
                </a:ext>
              </a:extLst>
            </p:cNvPr>
            <p:cNvSpPr/>
            <p:nvPr/>
          </p:nvSpPr>
          <p:spPr>
            <a:xfrm>
              <a:off x="1594174" y="2168809"/>
              <a:ext cx="4899" cy="36992"/>
            </a:xfrm>
            <a:custGeom>
              <a:avLst/>
              <a:gdLst>
                <a:gd name="connsiteX0" fmla="*/ 0 w 4899"/>
                <a:gd name="connsiteY0" fmla="*/ 0 h 36992"/>
                <a:gd name="connsiteX1" fmla="*/ 0 w 4899"/>
                <a:gd name="connsiteY1" fmla="*/ 36993 h 369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899" h="36992">
                  <a:moveTo>
                    <a:pt x="0" y="0"/>
                  </a:moveTo>
                  <a:lnTo>
                    <a:pt x="0" y="36993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3" name="Forma livre: Forma 162">
              <a:extLst>
                <a:ext uri="{FF2B5EF4-FFF2-40B4-BE49-F238E27FC236}">
                  <a16:creationId xmlns:a16="http://schemas.microsoft.com/office/drawing/2014/main" id="{D6B4549F-A847-FBF0-E855-88FF3F9CB7AA}"/>
                </a:ext>
              </a:extLst>
            </p:cNvPr>
            <p:cNvSpPr/>
            <p:nvPr/>
          </p:nvSpPr>
          <p:spPr>
            <a:xfrm>
              <a:off x="1555418" y="2168809"/>
              <a:ext cx="4899" cy="36992"/>
            </a:xfrm>
            <a:custGeom>
              <a:avLst/>
              <a:gdLst>
                <a:gd name="connsiteX0" fmla="*/ 0 w 4899"/>
                <a:gd name="connsiteY0" fmla="*/ 0 h 36992"/>
                <a:gd name="connsiteX1" fmla="*/ 0 w 4899"/>
                <a:gd name="connsiteY1" fmla="*/ 36993 h 369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899" h="36992">
                  <a:moveTo>
                    <a:pt x="0" y="0"/>
                  </a:moveTo>
                  <a:lnTo>
                    <a:pt x="0" y="36993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64" name="Gráfico 2">
            <a:extLst>
              <a:ext uri="{FF2B5EF4-FFF2-40B4-BE49-F238E27FC236}">
                <a16:creationId xmlns:a16="http://schemas.microsoft.com/office/drawing/2014/main" id="{B0F1D475-E45C-BA63-009E-216232AF4229}"/>
              </a:ext>
            </a:extLst>
          </p:cNvPr>
          <p:cNvGrpSpPr/>
          <p:nvPr/>
        </p:nvGrpSpPr>
        <p:grpSpPr>
          <a:xfrm>
            <a:off x="1459492" y="2589397"/>
            <a:ext cx="230667" cy="357827"/>
            <a:chOff x="1459492" y="2589397"/>
            <a:chExt cx="230667" cy="357827"/>
          </a:xfrm>
          <a:noFill/>
        </p:grpSpPr>
        <p:sp>
          <p:nvSpPr>
            <p:cNvPr id="165" name="Forma livre: Forma 164">
              <a:extLst>
                <a:ext uri="{FF2B5EF4-FFF2-40B4-BE49-F238E27FC236}">
                  <a16:creationId xmlns:a16="http://schemas.microsoft.com/office/drawing/2014/main" id="{25353DDD-4BB1-EBD9-618F-311CB0D0DAB1}"/>
                </a:ext>
              </a:extLst>
            </p:cNvPr>
            <p:cNvSpPr/>
            <p:nvPr/>
          </p:nvSpPr>
          <p:spPr>
            <a:xfrm>
              <a:off x="1500296" y="2747611"/>
              <a:ext cx="189814" cy="91624"/>
            </a:xfrm>
            <a:custGeom>
              <a:avLst/>
              <a:gdLst>
                <a:gd name="connsiteX0" fmla="*/ 18521 w 189814"/>
                <a:gd name="connsiteY0" fmla="*/ 15483 h 91624"/>
                <a:gd name="connsiteX1" fmla="*/ 0 w 189814"/>
                <a:gd name="connsiteY1" fmla="*/ 43852 h 91624"/>
                <a:gd name="connsiteX2" fmla="*/ 94907 w 189814"/>
                <a:gd name="connsiteY2" fmla="*/ 91624 h 91624"/>
                <a:gd name="connsiteX3" fmla="*/ 189814 w 189814"/>
                <a:gd name="connsiteY3" fmla="*/ 43852 h 91624"/>
                <a:gd name="connsiteX4" fmla="*/ 132635 w 189814"/>
                <a:gd name="connsiteY4" fmla="*/ 0 h 916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9814" h="91624">
                  <a:moveTo>
                    <a:pt x="18521" y="15483"/>
                  </a:moveTo>
                  <a:cubicBezTo>
                    <a:pt x="6909" y="23421"/>
                    <a:pt x="0" y="33220"/>
                    <a:pt x="0" y="43852"/>
                  </a:cubicBezTo>
                  <a:cubicBezTo>
                    <a:pt x="0" y="70213"/>
                    <a:pt x="42480" y="91624"/>
                    <a:pt x="94907" y="91624"/>
                  </a:cubicBezTo>
                  <a:cubicBezTo>
                    <a:pt x="147334" y="91624"/>
                    <a:pt x="189814" y="70213"/>
                    <a:pt x="189814" y="43852"/>
                  </a:cubicBezTo>
                  <a:cubicBezTo>
                    <a:pt x="189814" y="24205"/>
                    <a:pt x="166296" y="7350"/>
                    <a:pt x="132635" y="0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6" name="Forma livre: Forma 165">
              <a:extLst>
                <a:ext uri="{FF2B5EF4-FFF2-40B4-BE49-F238E27FC236}">
                  <a16:creationId xmlns:a16="http://schemas.microsoft.com/office/drawing/2014/main" id="{D31D050A-97BD-4B01-7120-BA8330AFBC6C}"/>
                </a:ext>
              </a:extLst>
            </p:cNvPr>
            <p:cNvSpPr/>
            <p:nvPr/>
          </p:nvSpPr>
          <p:spPr>
            <a:xfrm>
              <a:off x="1500296" y="2791561"/>
              <a:ext cx="4899" cy="155663"/>
            </a:xfrm>
            <a:custGeom>
              <a:avLst/>
              <a:gdLst>
                <a:gd name="connsiteX0" fmla="*/ 0 w 4899"/>
                <a:gd name="connsiteY0" fmla="*/ 155663 h 155663"/>
                <a:gd name="connsiteX1" fmla="*/ 0 w 4899"/>
                <a:gd name="connsiteY1" fmla="*/ 0 h 1556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899" h="155663">
                  <a:moveTo>
                    <a:pt x="0" y="155663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7" name="Forma livre: Forma 166">
              <a:extLst>
                <a:ext uri="{FF2B5EF4-FFF2-40B4-BE49-F238E27FC236}">
                  <a16:creationId xmlns:a16="http://schemas.microsoft.com/office/drawing/2014/main" id="{D304829B-968E-5D7A-D504-EE8EA47F7DD3}"/>
                </a:ext>
              </a:extLst>
            </p:cNvPr>
            <p:cNvSpPr/>
            <p:nvPr/>
          </p:nvSpPr>
          <p:spPr>
            <a:xfrm>
              <a:off x="1690159" y="2791561"/>
              <a:ext cx="4899" cy="155663"/>
            </a:xfrm>
            <a:custGeom>
              <a:avLst/>
              <a:gdLst>
                <a:gd name="connsiteX0" fmla="*/ 0 w 4899"/>
                <a:gd name="connsiteY0" fmla="*/ 0 h 155663"/>
                <a:gd name="connsiteX1" fmla="*/ 0 w 4899"/>
                <a:gd name="connsiteY1" fmla="*/ 155663 h 1556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899" h="155663">
                  <a:moveTo>
                    <a:pt x="0" y="0"/>
                  </a:moveTo>
                  <a:lnTo>
                    <a:pt x="0" y="155663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8" name="Forma livre: Forma 167">
              <a:extLst>
                <a:ext uri="{FF2B5EF4-FFF2-40B4-BE49-F238E27FC236}">
                  <a16:creationId xmlns:a16="http://schemas.microsoft.com/office/drawing/2014/main" id="{CAA67A32-6193-BB34-BCEF-39642064E383}"/>
                </a:ext>
              </a:extLst>
            </p:cNvPr>
            <p:cNvSpPr/>
            <p:nvPr/>
          </p:nvSpPr>
          <p:spPr>
            <a:xfrm>
              <a:off x="1635136" y="2866379"/>
              <a:ext cx="17785" cy="73103"/>
            </a:xfrm>
            <a:custGeom>
              <a:avLst/>
              <a:gdLst>
                <a:gd name="connsiteX0" fmla="*/ 0 w 17785"/>
                <a:gd name="connsiteY0" fmla="*/ 0 h 73103"/>
                <a:gd name="connsiteX1" fmla="*/ 0 w 17785"/>
                <a:gd name="connsiteY1" fmla="*/ 23078 h 73103"/>
                <a:gd name="connsiteX2" fmla="*/ 17786 w 17785"/>
                <a:gd name="connsiteY2" fmla="*/ 38169 h 73103"/>
                <a:gd name="connsiteX3" fmla="*/ 0 w 17785"/>
                <a:gd name="connsiteY3" fmla="*/ 51349 h 73103"/>
                <a:gd name="connsiteX4" fmla="*/ 0 w 17785"/>
                <a:gd name="connsiteY4" fmla="*/ 73104 h 731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785" h="73103">
                  <a:moveTo>
                    <a:pt x="0" y="0"/>
                  </a:moveTo>
                  <a:lnTo>
                    <a:pt x="0" y="23078"/>
                  </a:lnTo>
                  <a:lnTo>
                    <a:pt x="17786" y="38169"/>
                  </a:lnTo>
                  <a:lnTo>
                    <a:pt x="0" y="51349"/>
                  </a:lnTo>
                  <a:lnTo>
                    <a:pt x="0" y="73104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9" name="Forma livre: Forma 168">
              <a:extLst>
                <a:ext uri="{FF2B5EF4-FFF2-40B4-BE49-F238E27FC236}">
                  <a16:creationId xmlns:a16="http://schemas.microsoft.com/office/drawing/2014/main" id="{CB07178F-BB7D-9E23-CD74-5D0D350BB2B3}"/>
                </a:ext>
              </a:extLst>
            </p:cNvPr>
            <p:cNvSpPr/>
            <p:nvPr/>
          </p:nvSpPr>
          <p:spPr>
            <a:xfrm>
              <a:off x="1587903" y="2873729"/>
              <a:ext cx="4899" cy="65753"/>
            </a:xfrm>
            <a:custGeom>
              <a:avLst/>
              <a:gdLst>
                <a:gd name="connsiteX0" fmla="*/ 0 w 4899"/>
                <a:gd name="connsiteY0" fmla="*/ 0 h 65753"/>
                <a:gd name="connsiteX1" fmla="*/ 0 w 4899"/>
                <a:gd name="connsiteY1" fmla="*/ 65754 h 657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899" h="65753">
                  <a:moveTo>
                    <a:pt x="0" y="0"/>
                  </a:moveTo>
                  <a:lnTo>
                    <a:pt x="0" y="65754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0" name="Forma livre: Forma 169">
              <a:extLst>
                <a:ext uri="{FF2B5EF4-FFF2-40B4-BE49-F238E27FC236}">
                  <a16:creationId xmlns:a16="http://schemas.microsoft.com/office/drawing/2014/main" id="{5908AC2C-E33A-D2D4-1516-D90EC1E3DBA2}"/>
                </a:ext>
              </a:extLst>
            </p:cNvPr>
            <p:cNvSpPr/>
            <p:nvPr/>
          </p:nvSpPr>
          <p:spPr>
            <a:xfrm>
              <a:off x="1544981" y="2866379"/>
              <a:ext cx="4899" cy="25380"/>
            </a:xfrm>
            <a:custGeom>
              <a:avLst/>
              <a:gdLst>
                <a:gd name="connsiteX0" fmla="*/ 0 w 4899"/>
                <a:gd name="connsiteY0" fmla="*/ 0 h 25380"/>
                <a:gd name="connsiteX1" fmla="*/ 0 w 4899"/>
                <a:gd name="connsiteY1" fmla="*/ 25380 h 253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899" h="25380">
                  <a:moveTo>
                    <a:pt x="0" y="0"/>
                  </a:moveTo>
                  <a:lnTo>
                    <a:pt x="0" y="2538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1" name="Forma livre: Forma 170">
              <a:extLst>
                <a:ext uri="{FF2B5EF4-FFF2-40B4-BE49-F238E27FC236}">
                  <a16:creationId xmlns:a16="http://schemas.microsoft.com/office/drawing/2014/main" id="{D230149C-4E3E-FF75-3729-A2AB67AB5F83}"/>
                </a:ext>
              </a:extLst>
            </p:cNvPr>
            <p:cNvSpPr/>
            <p:nvPr/>
          </p:nvSpPr>
          <p:spPr>
            <a:xfrm>
              <a:off x="1544981" y="2921158"/>
              <a:ext cx="4899" cy="18324"/>
            </a:xfrm>
            <a:custGeom>
              <a:avLst/>
              <a:gdLst>
                <a:gd name="connsiteX0" fmla="*/ 0 w 4899"/>
                <a:gd name="connsiteY0" fmla="*/ 0 h 18324"/>
                <a:gd name="connsiteX1" fmla="*/ 0 w 4899"/>
                <a:gd name="connsiteY1" fmla="*/ 18325 h 183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899" h="18324">
                  <a:moveTo>
                    <a:pt x="0" y="0"/>
                  </a:moveTo>
                  <a:lnTo>
                    <a:pt x="0" y="18325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72" name="Gráfico 2">
              <a:extLst>
                <a:ext uri="{FF2B5EF4-FFF2-40B4-BE49-F238E27FC236}">
                  <a16:creationId xmlns:a16="http://schemas.microsoft.com/office/drawing/2014/main" id="{005E576D-D671-06BB-D2D4-05439CBBE893}"/>
                </a:ext>
              </a:extLst>
            </p:cNvPr>
            <p:cNvGrpSpPr/>
            <p:nvPr/>
          </p:nvGrpSpPr>
          <p:grpSpPr>
            <a:xfrm>
              <a:off x="1459492" y="2589397"/>
              <a:ext cx="208486" cy="198390"/>
              <a:chOff x="1459492" y="2589397"/>
              <a:chExt cx="208486" cy="198390"/>
            </a:xfrm>
            <a:noFill/>
          </p:grpSpPr>
          <p:sp>
            <p:nvSpPr>
              <p:cNvPr id="173" name="Forma livre: Forma 172">
                <a:extLst>
                  <a:ext uri="{FF2B5EF4-FFF2-40B4-BE49-F238E27FC236}">
                    <a16:creationId xmlns:a16="http://schemas.microsoft.com/office/drawing/2014/main" id="{2D0B25CC-9C3C-0AE9-6BCE-9B8BABDBBC50}"/>
                  </a:ext>
                </a:extLst>
              </p:cNvPr>
              <p:cNvSpPr/>
              <p:nvPr/>
            </p:nvSpPr>
            <p:spPr>
              <a:xfrm>
                <a:off x="1459492" y="2589397"/>
                <a:ext cx="157760" cy="109657"/>
              </a:xfrm>
              <a:custGeom>
                <a:avLst/>
                <a:gdLst>
                  <a:gd name="connsiteX0" fmla="*/ 157760 w 157760"/>
                  <a:gd name="connsiteY0" fmla="*/ 79475 h 109657"/>
                  <a:gd name="connsiteX1" fmla="*/ 111311 w 157760"/>
                  <a:gd name="connsiteY1" fmla="*/ 42630 h 109657"/>
                  <a:gd name="connsiteX2" fmla="*/ 111213 w 157760"/>
                  <a:gd name="connsiteY2" fmla="*/ 42434 h 109657"/>
                  <a:gd name="connsiteX3" fmla="*/ 11994 w 157760"/>
                  <a:gd name="connsiteY3" fmla="*/ 345 h 109657"/>
                  <a:gd name="connsiteX4" fmla="*/ 2391 w 157760"/>
                  <a:gd name="connsiteY4" fmla="*/ 5735 h 109657"/>
                  <a:gd name="connsiteX5" fmla="*/ 39 w 157760"/>
                  <a:gd name="connsiteY5" fmla="*/ 16269 h 109657"/>
                  <a:gd name="connsiteX6" fmla="*/ 11700 w 157760"/>
                  <a:gd name="connsiteY6" fmla="*/ 27931 h 109657"/>
                  <a:gd name="connsiteX7" fmla="*/ 87596 w 157760"/>
                  <a:gd name="connsiteY7" fmla="*/ 59877 h 109657"/>
                  <a:gd name="connsiteX8" fmla="*/ 138357 w 157760"/>
                  <a:gd name="connsiteY8" fmla="*/ 109658 h 1096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57760" h="109657">
                    <a:moveTo>
                      <a:pt x="157760" y="79475"/>
                    </a:moveTo>
                    <a:cubicBezTo>
                      <a:pt x="141395" y="68255"/>
                      <a:pt x="119689" y="55075"/>
                      <a:pt x="111311" y="42630"/>
                    </a:cubicBezTo>
                    <a:lnTo>
                      <a:pt x="111213" y="42434"/>
                    </a:lnTo>
                    <a:cubicBezTo>
                      <a:pt x="109890" y="40523"/>
                      <a:pt x="77895" y="-4359"/>
                      <a:pt x="11994" y="345"/>
                    </a:cubicBezTo>
                    <a:cubicBezTo>
                      <a:pt x="7976" y="639"/>
                      <a:pt x="4547" y="2697"/>
                      <a:pt x="2391" y="5735"/>
                    </a:cubicBezTo>
                    <a:cubicBezTo>
                      <a:pt x="725" y="8087"/>
                      <a:pt x="-206" y="13133"/>
                      <a:pt x="39" y="16269"/>
                    </a:cubicBezTo>
                    <a:cubicBezTo>
                      <a:pt x="529" y="23423"/>
                      <a:pt x="4596" y="28420"/>
                      <a:pt x="11700" y="27931"/>
                    </a:cubicBezTo>
                    <a:cubicBezTo>
                      <a:pt x="62020" y="24305"/>
                      <a:pt x="86273" y="58015"/>
                      <a:pt x="87596" y="59877"/>
                    </a:cubicBezTo>
                    <a:cubicBezTo>
                      <a:pt x="98180" y="75605"/>
                      <a:pt x="120767" y="95056"/>
                      <a:pt x="138357" y="109658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74" name="Forma livre: Forma 173">
                <a:extLst>
                  <a:ext uri="{FF2B5EF4-FFF2-40B4-BE49-F238E27FC236}">
                    <a16:creationId xmlns:a16="http://schemas.microsoft.com/office/drawing/2014/main" id="{62053F11-45AA-B140-3D91-D3B16AC8CF1F}"/>
                  </a:ext>
                </a:extLst>
              </p:cNvPr>
              <p:cNvSpPr/>
              <p:nvPr/>
            </p:nvSpPr>
            <p:spPr>
              <a:xfrm>
                <a:off x="1538073" y="2667827"/>
                <a:ext cx="129906" cy="119960"/>
              </a:xfrm>
              <a:custGeom>
                <a:avLst/>
                <a:gdLst>
                  <a:gd name="connsiteX0" fmla="*/ 88440 w 129906"/>
                  <a:gd name="connsiteY0" fmla="*/ 119961 h 119960"/>
                  <a:gd name="connsiteX1" fmla="*/ 100150 w 129906"/>
                  <a:gd name="connsiteY1" fmla="*/ 67779 h 119960"/>
                  <a:gd name="connsiteX2" fmla="*/ 110537 w 129906"/>
                  <a:gd name="connsiteY2" fmla="*/ 64251 h 119960"/>
                  <a:gd name="connsiteX3" fmla="*/ 128225 w 129906"/>
                  <a:gd name="connsiteY3" fmla="*/ 35392 h 119960"/>
                  <a:gd name="connsiteX4" fmla="*/ 124452 w 129906"/>
                  <a:gd name="connsiteY4" fmla="*/ 19713 h 119960"/>
                  <a:gd name="connsiteX5" fmla="*/ 94809 w 129906"/>
                  <a:gd name="connsiteY5" fmla="*/ 2025 h 119960"/>
                  <a:gd name="connsiteX6" fmla="*/ 77709 w 129906"/>
                  <a:gd name="connsiteY6" fmla="*/ 4671 h 119960"/>
                  <a:gd name="connsiteX7" fmla="*/ 60021 w 129906"/>
                  <a:gd name="connsiteY7" fmla="*/ 33530 h 119960"/>
                  <a:gd name="connsiteX8" fmla="*/ 61442 w 129906"/>
                  <a:gd name="connsiteY8" fmla="*/ 43820 h 119960"/>
                  <a:gd name="connsiteX9" fmla="*/ 0 w 129906"/>
                  <a:gd name="connsiteY9" fmla="*/ 75080 h 119960"/>
                  <a:gd name="connsiteX10" fmla="*/ 36160 w 129906"/>
                  <a:gd name="connsiteY10" fmla="*/ 119422 h 1199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129906" h="119960">
                    <a:moveTo>
                      <a:pt x="88440" y="119961"/>
                    </a:moveTo>
                    <a:cubicBezTo>
                      <a:pt x="82756" y="97618"/>
                      <a:pt x="97553" y="73414"/>
                      <a:pt x="100150" y="67779"/>
                    </a:cubicBezTo>
                    <a:cubicBezTo>
                      <a:pt x="102992" y="67093"/>
                      <a:pt x="108871" y="66897"/>
                      <a:pt x="110537" y="64251"/>
                    </a:cubicBezTo>
                    <a:lnTo>
                      <a:pt x="128225" y="35392"/>
                    </a:lnTo>
                    <a:cubicBezTo>
                      <a:pt x="131508" y="30052"/>
                      <a:pt x="129842" y="22947"/>
                      <a:pt x="124452" y="19713"/>
                    </a:cubicBezTo>
                    <a:lnTo>
                      <a:pt x="94809" y="2025"/>
                    </a:lnTo>
                    <a:cubicBezTo>
                      <a:pt x="89468" y="-1257"/>
                      <a:pt x="80992" y="-670"/>
                      <a:pt x="77709" y="4671"/>
                    </a:cubicBezTo>
                    <a:lnTo>
                      <a:pt x="60021" y="33530"/>
                    </a:lnTo>
                    <a:cubicBezTo>
                      <a:pt x="58453" y="36078"/>
                      <a:pt x="60854" y="41076"/>
                      <a:pt x="61442" y="43820"/>
                    </a:cubicBezTo>
                    <a:cubicBezTo>
                      <a:pt x="56395" y="49748"/>
                      <a:pt x="29986" y="86153"/>
                      <a:pt x="0" y="75080"/>
                    </a:cubicBezTo>
                    <a:cubicBezTo>
                      <a:pt x="0" y="75080"/>
                      <a:pt x="1078" y="97471"/>
                      <a:pt x="36160" y="119422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75" name="Forma livre: Forma 174">
              <a:extLst>
                <a:ext uri="{FF2B5EF4-FFF2-40B4-BE49-F238E27FC236}">
                  <a16:creationId xmlns:a16="http://schemas.microsoft.com/office/drawing/2014/main" id="{D441ACF3-7DA8-2EBA-2787-7529FF5101EB}"/>
                </a:ext>
              </a:extLst>
            </p:cNvPr>
            <p:cNvSpPr/>
            <p:nvPr/>
          </p:nvSpPr>
          <p:spPr>
            <a:xfrm>
              <a:off x="1540817" y="2787984"/>
              <a:ext cx="110194" cy="48"/>
            </a:xfrm>
            <a:custGeom>
              <a:avLst/>
              <a:gdLst>
                <a:gd name="connsiteX0" fmla="*/ 110194 w 110194"/>
                <a:gd name="connsiteY0" fmla="*/ 0 h 48"/>
                <a:gd name="connsiteX1" fmla="*/ 0 w 110194"/>
                <a:gd name="connsiteY1" fmla="*/ 49 h 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0194" h="48">
                  <a:moveTo>
                    <a:pt x="110194" y="0"/>
                  </a:moveTo>
                  <a:lnTo>
                    <a:pt x="0" y="49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76" name="Gráfico 2">
            <a:extLst>
              <a:ext uri="{FF2B5EF4-FFF2-40B4-BE49-F238E27FC236}">
                <a16:creationId xmlns:a16="http://schemas.microsoft.com/office/drawing/2014/main" id="{8B7792DD-A598-0C36-BD48-A74C087F2CBF}"/>
              </a:ext>
            </a:extLst>
          </p:cNvPr>
          <p:cNvGrpSpPr/>
          <p:nvPr/>
        </p:nvGrpSpPr>
        <p:grpSpPr>
          <a:xfrm>
            <a:off x="1392288" y="3125279"/>
            <a:ext cx="365045" cy="365095"/>
            <a:chOff x="1392288" y="3125279"/>
            <a:chExt cx="365045" cy="365095"/>
          </a:xfrm>
          <a:noFill/>
        </p:grpSpPr>
        <p:sp>
          <p:nvSpPr>
            <p:cNvPr id="177" name="Forma livre: Forma 176">
              <a:extLst>
                <a:ext uri="{FF2B5EF4-FFF2-40B4-BE49-F238E27FC236}">
                  <a16:creationId xmlns:a16="http://schemas.microsoft.com/office/drawing/2014/main" id="{9C329905-C2AE-9609-9936-19AF4389B275}"/>
                </a:ext>
              </a:extLst>
            </p:cNvPr>
            <p:cNvSpPr/>
            <p:nvPr/>
          </p:nvSpPr>
          <p:spPr>
            <a:xfrm>
              <a:off x="1542874" y="3286991"/>
              <a:ext cx="37972" cy="8895"/>
            </a:xfrm>
            <a:custGeom>
              <a:avLst/>
              <a:gdLst>
                <a:gd name="connsiteX0" fmla="*/ 37973 w 37972"/>
                <a:gd name="connsiteY0" fmla="*/ 2134 h 8895"/>
                <a:gd name="connsiteX1" fmla="*/ 21020 w 37972"/>
                <a:gd name="connsiteY1" fmla="*/ 1154 h 8895"/>
                <a:gd name="connsiteX2" fmla="*/ 0 w 37972"/>
                <a:gd name="connsiteY2" fmla="*/ 8896 h 88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7972" h="8895">
                  <a:moveTo>
                    <a:pt x="37973" y="2134"/>
                  </a:moveTo>
                  <a:cubicBezTo>
                    <a:pt x="33612" y="174"/>
                    <a:pt x="27781" y="-1002"/>
                    <a:pt x="21020" y="1154"/>
                  </a:cubicBezTo>
                  <a:lnTo>
                    <a:pt x="0" y="8896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8" name="Forma livre: Forma 177">
              <a:extLst>
                <a:ext uri="{FF2B5EF4-FFF2-40B4-BE49-F238E27FC236}">
                  <a16:creationId xmlns:a16="http://schemas.microsoft.com/office/drawing/2014/main" id="{CF04A747-FCE5-F257-306A-E8666D7AB74B}"/>
                </a:ext>
              </a:extLst>
            </p:cNvPr>
            <p:cNvSpPr/>
            <p:nvPr/>
          </p:nvSpPr>
          <p:spPr>
            <a:xfrm>
              <a:off x="1636557" y="3190739"/>
              <a:ext cx="120777" cy="91477"/>
            </a:xfrm>
            <a:custGeom>
              <a:avLst/>
              <a:gdLst>
                <a:gd name="connsiteX0" fmla="*/ 48360 w 120777"/>
                <a:gd name="connsiteY0" fmla="*/ 26066 h 91477"/>
                <a:gd name="connsiteX1" fmla="*/ 120777 w 120777"/>
                <a:gd name="connsiteY1" fmla="*/ 0 h 91477"/>
                <a:gd name="connsiteX2" fmla="*/ 0 w 120777"/>
                <a:gd name="connsiteY2" fmla="*/ 91477 h 914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0777" h="91477">
                  <a:moveTo>
                    <a:pt x="48360" y="26066"/>
                  </a:moveTo>
                  <a:lnTo>
                    <a:pt x="120777" y="0"/>
                  </a:lnTo>
                  <a:cubicBezTo>
                    <a:pt x="120777" y="0"/>
                    <a:pt x="104021" y="42088"/>
                    <a:pt x="0" y="91477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9" name="Forma livre: Forma 178">
              <a:extLst>
                <a:ext uri="{FF2B5EF4-FFF2-40B4-BE49-F238E27FC236}">
                  <a16:creationId xmlns:a16="http://schemas.microsoft.com/office/drawing/2014/main" id="{1E81D5A8-9CF2-C55D-8E2F-FFBA4E48DFB8}"/>
                </a:ext>
              </a:extLst>
            </p:cNvPr>
            <p:cNvSpPr/>
            <p:nvPr/>
          </p:nvSpPr>
          <p:spPr>
            <a:xfrm>
              <a:off x="1554536" y="3248115"/>
              <a:ext cx="43411" cy="15630"/>
            </a:xfrm>
            <a:custGeom>
              <a:avLst/>
              <a:gdLst>
                <a:gd name="connsiteX0" fmla="*/ 0 w 43411"/>
                <a:gd name="connsiteY0" fmla="*/ 15630 h 15630"/>
                <a:gd name="connsiteX1" fmla="*/ 43411 w 43411"/>
                <a:gd name="connsiteY1" fmla="*/ 0 h 156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3411" h="15630">
                  <a:moveTo>
                    <a:pt x="0" y="15630"/>
                  </a:moveTo>
                  <a:lnTo>
                    <a:pt x="43411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0" name="Forma livre: Forma 179">
              <a:extLst>
                <a:ext uri="{FF2B5EF4-FFF2-40B4-BE49-F238E27FC236}">
                  <a16:creationId xmlns:a16="http://schemas.microsoft.com/office/drawing/2014/main" id="{E0ED2328-98D0-0EBB-FE77-B002668AA906}"/>
                </a:ext>
              </a:extLst>
            </p:cNvPr>
            <p:cNvSpPr/>
            <p:nvPr/>
          </p:nvSpPr>
          <p:spPr>
            <a:xfrm>
              <a:off x="1392288" y="3266538"/>
              <a:ext cx="153134" cy="89056"/>
            </a:xfrm>
            <a:custGeom>
              <a:avLst/>
              <a:gdLst>
                <a:gd name="connsiteX0" fmla="*/ 28192 w 153134"/>
                <a:gd name="connsiteY0" fmla="*/ 87509 h 89056"/>
                <a:gd name="connsiteX1" fmla="*/ 1390 w 153134"/>
                <a:gd name="connsiteY1" fmla="*/ 76729 h 89056"/>
                <a:gd name="connsiteX2" fmla="*/ 13199 w 153134"/>
                <a:gd name="connsiteY2" fmla="*/ 50369 h 89056"/>
                <a:gd name="connsiteX3" fmla="*/ 138141 w 153134"/>
                <a:gd name="connsiteY3" fmla="*/ 0 h 89056"/>
                <a:gd name="connsiteX4" fmla="*/ 153134 w 153134"/>
                <a:gd name="connsiteY4" fmla="*/ 37140 h 89056"/>
                <a:gd name="connsiteX5" fmla="*/ 28192 w 153134"/>
                <a:gd name="connsiteY5" fmla="*/ 87509 h 8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53134" h="89056">
                  <a:moveTo>
                    <a:pt x="28192" y="87509"/>
                  </a:moveTo>
                  <a:cubicBezTo>
                    <a:pt x="17559" y="91771"/>
                    <a:pt x="5506" y="86921"/>
                    <a:pt x="1390" y="76729"/>
                  </a:cubicBezTo>
                  <a:cubicBezTo>
                    <a:pt x="-2725" y="66538"/>
                    <a:pt x="2615" y="54632"/>
                    <a:pt x="13199" y="50369"/>
                  </a:cubicBezTo>
                  <a:lnTo>
                    <a:pt x="138141" y="0"/>
                  </a:lnTo>
                  <a:lnTo>
                    <a:pt x="153134" y="37140"/>
                  </a:lnTo>
                  <a:lnTo>
                    <a:pt x="28192" y="87509"/>
                  </a:ln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1" name="Forma livre: Forma 180">
              <a:extLst>
                <a:ext uri="{FF2B5EF4-FFF2-40B4-BE49-F238E27FC236}">
                  <a16:creationId xmlns:a16="http://schemas.microsoft.com/office/drawing/2014/main" id="{92083997-CD64-C0F3-D45B-CD8CC1532C61}"/>
                </a:ext>
              </a:extLst>
            </p:cNvPr>
            <p:cNvSpPr/>
            <p:nvPr/>
          </p:nvSpPr>
          <p:spPr>
            <a:xfrm>
              <a:off x="1581092" y="3125279"/>
              <a:ext cx="110831" cy="224112"/>
            </a:xfrm>
            <a:custGeom>
              <a:avLst/>
              <a:gdLst>
                <a:gd name="connsiteX0" fmla="*/ 29790 w 110831"/>
                <a:gd name="connsiteY0" fmla="*/ 224112 h 224112"/>
                <a:gd name="connsiteX1" fmla="*/ 37826 w 110831"/>
                <a:gd name="connsiteY1" fmla="*/ 202799 h 224112"/>
                <a:gd name="connsiteX2" fmla="*/ 110831 w 110831"/>
                <a:gd name="connsiteY2" fmla="*/ 0 h 224112"/>
                <a:gd name="connsiteX3" fmla="*/ 9995 w 110831"/>
                <a:gd name="connsiteY3" fmla="*/ 141454 h 224112"/>
                <a:gd name="connsiteX4" fmla="*/ 0 w 110831"/>
                <a:gd name="connsiteY4" fmla="*/ 163895 h 224112"/>
                <a:gd name="connsiteX5" fmla="*/ 13425 w 110831"/>
                <a:gd name="connsiteY5" fmla="*/ 193440 h 224112"/>
                <a:gd name="connsiteX6" fmla="*/ 5586 w 110831"/>
                <a:gd name="connsiteY6" fmla="*/ 214558 h 2241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10831" h="224112">
                  <a:moveTo>
                    <a:pt x="29790" y="224112"/>
                  </a:moveTo>
                  <a:lnTo>
                    <a:pt x="37826" y="202799"/>
                  </a:lnTo>
                  <a:lnTo>
                    <a:pt x="110831" y="0"/>
                  </a:lnTo>
                  <a:cubicBezTo>
                    <a:pt x="110831" y="0"/>
                    <a:pt x="63304" y="18913"/>
                    <a:pt x="9995" y="141454"/>
                  </a:cubicBezTo>
                  <a:lnTo>
                    <a:pt x="0" y="163895"/>
                  </a:lnTo>
                  <a:cubicBezTo>
                    <a:pt x="0" y="163895"/>
                    <a:pt x="19942" y="173106"/>
                    <a:pt x="13425" y="193440"/>
                  </a:cubicBezTo>
                  <a:lnTo>
                    <a:pt x="5586" y="214558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2" name="Forma livre: Forma 181">
              <a:extLst>
                <a:ext uri="{FF2B5EF4-FFF2-40B4-BE49-F238E27FC236}">
                  <a16:creationId xmlns:a16="http://schemas.microsoft.com/office/drawing/2014/main" id="{918E59F8-CE2C-88FD-1C8A-0E0A4E031F63}"/>
                </a:ext>
              </a:extLst>
            </p:cNvPr>
            <p:cNvSpPr/>
            <p:nvPr/>
          </p:nvSpPr>
          <p:spPr>
            <a:xfrm>
              <a:off x="1527069" y="3337240"/>
              <a:ext cx="89056" cy="153134"/>
            </a:xfrm>
            <a:custGeom>
              <a:avLst/>
              <a:gdLst>
                <a:gd name="connsiteX0" fmla="*/ 89056 w 89056"/>
                <a:gd name="connsiteY0" fmla="*/ 14993 h 153134"/>
                <a:gd name="connsiteX1" fmla="*/ 51916 w 89056"/>
                <a:gd name="connsiteY1" fmla="*/ 0 h 153134"/>
                <a:gd name="connsiteX2" fmla="*/ 1548 w 89056"/>
                <a:gd name="connsiteY2" fmla="*/ 124942 h 153134"/>
                <a:gd name="connsiteX3" fmla="*/ 12327 w 89056"/>
                <a:gd name="connsiteY3" fmla="*/ 151744 h 153134"/>
                <a:gd name="connsiteX4" fmla="*/ 38687 w 89056"/>
                <a:gd name="connsiteY4" fmla="*/ 139935 h 153134"/>
                <a:gd name="connsiteX5" fmla="*/ 89056 w 89056"/>
                <a:gd name="connsiteY5" fmla="*/ 14993 h 1531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89056" h="153134">
                  <a:moveTo>
                    <a:pt x="89056" y="14993"/>
                  </a:moveTo>
                  <a:lnTo>
                    <a:pt x="51916" y="0"/>
                  </a:lnTo>
                  <a:lnTo>
                    <a:pt x="1548" y="124942"/>
                  </a:lnTo>
                  <a:cubicBezTo>
                    <a:pt x="-2715" y="135575"/>
                    <a:pt x="2136" y="147628"/>
                    <a:pt x="12327" y="151744"/>
                  </a:cubicBezTo>
                  <a:cubicBezTo>
                    <a:pt x="22567" y="155859"/>
                    <a:pt x="34424" y="150519"/>
                    <a:pt x="38687" y="139935"/>
                  </a:cubicBezTo>
                  <a:lnTo>
                    <a:pt x="89056" y="14993"/>
                  </a:ln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83" name="Gráfico 2">
            <a:extLst>
              <a:ext uri="{FF2B5EF4-FFF2-40B4-BE49-F238E27FC236}">
                <a16:creationId xmlns:a16="http://schemas.microsoft.com/office/drawing/2014/main" id="{23ADE200-BBEF-B6A2-1CA5-D4BB736BEA81}"/>
              </a:ext>
            </a:extLst>
          </p:cNvPr>
          <p:cNvGrpSpPr/>
          <p:nvPr/>
        </p:nvGrpSpPr>
        <p:grpSpPr>
          <a:xfrm>
            <a:off x="1425429" y="1003465"/>
            <a:ext cx="298734" cy="292658"/>
            <a:chOff x="1425429" y="1003465"/>
            <a:chExt cx="298734" cy="292658"/>
          </a:xfrm>
        </p:grpSpPr>
        <p:sp>
          <p:nvSpPr>
            <p:cNvPr id="184" name="Forma livre: Forma 183">
              <a:extLst>
                <a:ext uri="{FF2B5EF4-FFF2-40B4-BE49-F238E27FC236}">
                  <a16:creationId xmlns:a16="http://schemas.microsoft.com/office/drawing/2014/main" id="{E5B963D4-BC42-1560-CE57-9E1B529A7B18}"/>
                </a:ext>
              </a:extLst>
            </p:cNvPr>
            <p:cNvSpPr/>
            <p:nvPr/>
          </p:nvSpPr>
          <p:spPr>
            <a:xfrm>
              <a:off x="1502181" y="1086907"/>
              <a:ext cx="8208" cy="22636"/>
            </a:xfrm>
            <a:custGeom>
              <a:avLst/>
              <a:gdLst>
                <a:gd name="connsiteX0" fmla="*/ 8209 w 8208"/>
                <a:gd name="connsiteY0" fmla="*/ 0 h 22636"/>
                <a:gd name="connsiteX1" fmla="*/ 173 w 8208"/>
                <a:gd name="connsiteY1" fmla="*/ 22637 h 226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208" h="22636">
                  <a:moveTo>
                    <a:pt x="8209" y="0"/>
                  </a:moveTo>
                  <a:cubicBezTo>
                    <a:pt x="2084" y="5292"/>
                    <a:pt x="-758" y="11416"/>
                    <a:pt x="173" y="22637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5" name="Forma livre: Forma 184">
              <a:extLst>
                <a:ext uri="{FF2B5EF4-FFF2-40B4-BE49-F238E27FC236}">
                  <a16:creationId xmlns:a16="http://schemas.microsoft.com/office/drawing/2014/main" id="{0A2AA67A-A275-9F58-375A-6B39BFDA3F8C}"/>
                </a:ext>
              </a:extLst>
            </p:cNvPr>
            <p:cNvSpPr/>
            <p:nvPr/>
          </p:nvSpPr>
          <p:spPr>
            <a:xfrm>
              <a:off x="1470847" y="1057525"/>
              <a:ext cx="126757" cy="78281"/>
            </a:xfrm>
            <a:custGeom>
              <a:avLst/>
              <a:gdLst>
                <a:gd name="connsiteX0" fmla="*/ 126758 w 126757"/>
                <a:gd name="connsiteY0" fmla="*/ 9342 h 78281"/>
                <a:gd name="connsiteX1" fmla="*/ 89177 w 126757"/>
                <a:gd name="connsiteY1" fmla="*/ 2042 h 78281"/>
                <a:gd name="connsiteX2" fmla="*/ 70068 w 126757"/>
                <a:gd name="connsiteY2" fmla="*/ 5766 h 78281"/>
                <a:gd name="connsiteX3" fmla="*/ 68647 w 126757"/>
                <a:gd name="connsiteY3" fmla="*/ 5766 h 78281"/>
                <a:gd name="connsiteX4" fmla="*/ 49685 w 126757"/>
                <a:gd name="connsiteY4" fmla="*/ 2042 h 78281"/>
                <a:gd name="connsiteX5" fmla="*/ 1080 w 126757"/>
                <a:gd name="connsiteY5" fmla="*/ 32714 h 78281"/>
                <a:gd name="connsiteX6" fmla="*/ 6127 w 126757"/>
                <a:gd name="connsiteY6" fmla="*/ 78281 h 782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26757" h="78281">
                  <a:moveTo>
                    <a:pt x="126758" y="9342"/>
                  </a:moveTo>
                  <a:cubicBezTo>
                    <a:pt x="111617" y="-4524"/>
                    <a:pt x="89177" y="2042"/>
                    <a:pt x="89177" y="2042"/>
                  </a:cubicBezTo>
                  <a:cubicBezTo>
                    <a:pt x="75507" y="5962"/>
                    <a:pt x="70068" y="5766"/>
                    <a:pt x="70068" y="5766"/>
                  </a:cubicBezTo>
                  <a:lnTo>
                    <a:pt x="68647" y="5766"/>
                  </a:lnTo>
                  <a:cubicBezTo>
                    <a:pt x="68647" y="5766"/>
                    <a:pt x="63404" y="5815"/>
                    <a:pt x="49685" y="2042"/>
                  </a:cubicBezTo>
                  <a:cubicBezTo>
                    <a:pt x="49685" y="2042"/>
                    <a:pt x="11860" y="-11824"/>
                    <a:pt x="1080" y="32714"/>
                  </a:cubicBezTo>
                  <a:cubicBezTo>
                    <a:pt x="1080" y="32714"/>
                    <a:pt x="-3476" y="53832"/>
                    <a:pt x="6127" y="78281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6" name="Forma livre: Forma 185">
              <a:extLst>
                <a:ext uri="{FF2B5EF4-FFF2-40B4-BE49-F238E27FC236}">
                  <a16:creationId xmlns:a16="http://schemas.microsoft.com/office/drawing/2014/main" id="{3E77DFEA-3D10-D290-DA2A-4394B19B1AAB}"/>
                </a:ext>
              </a:extLst>
            </p:cNvPr>
            <p:cNvSpPr/>
            <p:nvPr/>
          </p:nvSpPr>
          <p:spPr>
            <a:xfrm>
              <a:off x="1525970" y="1024534"/>
              <a:ext cx="16615" cy="34346"/>
            </a:xfrm>
            <a:custGeom>
              <a:avLst/>
              <a:gdLst>
                <a:gd name="connsiteX0" fmla="*/ 0 w 16615"/>
                <a:gd name="connsiteY0" fmla="*/ 0 h 34346"/>
                <a:gd name="connsiteX1" fmla="*/ 16463 w 16615"/>
                <a:gd name="connsiteY1" fmla="*/ 34347 h 343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6615" h="34346">
                  <a:moveTo>
                    <a:pt x="0" y="0"/>
                  </a:moveTo>
                  <a:cubicBezTo>
                    <a:pt x="0" y="0"/>
                    <a:pt x="18472" y="11465"/>
                    <a:pt x="16463" y="34347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7" name="Forma livre: Forma 186">
              <a:extLst>
                <a:ext uri="{FF2B5EF4-FFF2-40B4-BE49-F238E27FC236}">
                  <a16:creationId xmlns:a16="http://schemas.microsoft.com/office/drawing/2014/main" id="{47BBD595-D4F4-2F8A-A33B-36F0BE39AE36}"/>
                </a:ext>
              </a:extLst>
            </p:cNvPr>
            <p:cNvSpPr/>
            <p:nvPr/>
          </p:nvSpPr>
          <p:spPr>
            <a:xfrm>
              <a:off x="1665465" y="1005425"/>
              <a:ext cx="4213" cy="29496"/>
            </a:xfrm>
            <a:custGeom>
              <a:avLst/>
              <a:gdLst>
                <a:gd name="connsiteX0" fmla="*/ 4214 w 4213"/>
                <a:gd name="connsiteY0" fmla="*/ 0 h 29496"/>
                <a:gd name="connsiteX1" fmla="*/ 0 w 4213"/>
                <a:gd name="connsiteY1" fmla="*/ 29496 h 294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213" h="29496">
                  <a:moveTo>
                    <a:pt x="4214" y="0"/>
                  </a:moveTo>
                  <a:lnTo>
                    <a:pt x="0" y="29496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8" name="Forma livre: Forma 187">
              <a:extLst>
                <a:ext uri="{FF2B5EF4-FFF2-40B4-BE49-F238E27FC236}">
                  <a16:creationId xmlns:a16="http://schemas.microsoft.com/office/drawing/2014/main" id="{CE268A8B-2565-1BDE-C399-F5C0E0D2C150}"/>
                </a:ext>
              </a:extLst>
            </p:cNvPr>
            <p:cNvSpPr/>
            <p:nvPr/>
          </p:nvSpPr>
          <p:spPr>
            <a:xfrm>
              <a:off x="1689522" y="1029973"/>
              <a:ext cx="22636" cy="18226"/>
            </a:xfrm>
            <a:custGeom>
              <a:avLst/>
              <a:gdLst>
                <a:gd name="connsiteX0" fmla="*/ 22637 w 22636"/>
                <a:gd name="connsiteY0" fmla="*/ 0 h 18226"/>
                <a:gd name="connsiteX1" fmla="*/ 0 w 22636"/>
                <a:gd name="connsiteY1" fmla="*/ 18227 h 182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2636" h="18226">
                  <a:moveTo>
                    <a:pt x="22637" y="0"/>
                  </a:moveTo>
                  <a:lnTo>
                    <a:pt x="0" y="18227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9" name="Forma livre: Forma 188">
              <a:extLst>
                <a:ext uri="{FF2B5EF4-FFF2-40B4-BE49-F238E27FC236}">
                  <a16:creationId xmlns:a16="http://schemas.microsoft.com/office/drawing/2014/main" id="{94D5EA66-86D0-6767-40A9-C44E1800A6D4}"/>
                </a:ext>
              </a:extLst>
            </p:cNvPr>
            <p:cNvSpPr/>
            <p:nvPr/>
          </p:nvSpPr>
          <p:spPr>
            <a:xfrm>
              <a:off x="1677714" y="1003465"/>
              <a:ext cx="21068" cy="36551"/>
            </a:xfrm>
            <a:custGeom>
              <a:avLst/>
              <a:gdLst>
                <a:gd name="connsiteX0" fmla="*/ 0 w 21068"/>
                <a:gd name="connsiteY0" fmla="*/ 36552 h 36551"/>
                <a:gd name="connsiteX1" fmla="*/ 21069 w 21068"/>
                <a:gd name="connsiteY1" fmla="*/ 0 h 365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1068" h="36551">
                  <a:moveTo>
                    <a:pt x="0" y="36552"/>
                  </a:moveTo>
                  <a:lnTo>
                    <a:pt x="21069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0" name="Forma livre: Forma 189">
              <a:extLst>
                <a:ext uri="{FF2B5EF4-FFF2-40B4-BE49-F238E27FC236}">
                  <a16:creationId xmlns:a16="http://schemas.microsoft.com/office/drawing/2014/main" id="{01FFD3A3-13FB-3407-F5B6-B16067FF1A6C}"/>
                </a:ext>
              </a:extLst>
            </p:cNvPr>
            <p:cNvSpPr/>
            <p:nvPr/>
          </p:nvSpPr>
          <p:spPr>
            <a:xfrm>
              <a:off x="1600593" y="1033329"/>
              <a:ext cx="100928" cy="103163"/>
            </a:xfrm>
            <a:custGeom>
              <a:avLst/>
              <a:gdLst>
                <a:gd name="connsiteX0" fmla="*/ 57033 w 100928"/>
                <a:gd name="connsiteY0" fmla="*/ 103163 h 103163"/>
                <a:gd name="connsiteX1" fmla="*/ 98141 w 100928"/>
                <a:gd name="connsiteY1" fmla="*/ 46964 h 103163"/>
                <a:gd name="connsiteX2" fmla="*/ 78052 w 100928"/>
                <a:gd name="connsiteY2" fmla="*/ 8060 h 103163"/>
                <a:gd name="connsiteX3" fmla="*/ 76435 w 100928"/>
                <a:gd name="connsiteY3" fmla="*/ 7178 h 103163"/>
                <a:gd name="connsiteX4" fmla="*/ 76337 w 100928"/>
                <a:gd name="connsiteY4" fmla="*/ 7178 h 103163"/>
                <a:gd name="connsiteX5" fmla="*/ 74720 w 100928"/>
                <a:gd name="connsiteY5" fmla="*/ 6247 h 103163"/>
                <a:gd name="connsiteX6" fmla="*/ 31211 w 100928"/>
                <a:gd name="connsiteY6" fmla="*/ 11147 h 103163"/>
                <a:gd name="connsiteX7" fmla="*/ 0 w 100928"/>
                <a:gd name="connsiteY7" fmla="*/ 102477 h 1031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00928" h="103163">
                  <a:moveTo>
                    <a:pt x="57033" y="103163"/>
                  </a:moveTo>
                  <a:cubicBezTo>
                    <a:pt x="81335" y="73471"/>
                    <a:pt x="98141" y="46964"/>
                    <a:pt x="98141" y="46964"/>
                  </a:cubicBezTo>
                  <a:cubicBezTo>
                    <a:pt x="110439" y="26140"/>
                    <a:pt x="78052" y="8060"/>
                    <a:pt x="78052" y="8060"/>
                  </a:cubicBezTo>
                  <a:lnTo>
                    <a:pt x="76435" y="7178"/>
                  </a:lnTo>
                  <a:lnTo>
                    <a:pt x="76337" y="7178"/>
                  </a:lnTo>
                  <a:cubicBezTo>
                    <a:pt x="76337" y="7178"/>
                    <a:pt x="74720" y="6247"/>
                    <a:pt x="74720" y="6247"/>
                  </a:cubicBezTo>
                  <a:cubicBezTo>
                    <a:pt x="74720" y="6247"/>
                    <a:pt x="41696" y="-10657"/>
                    <a:pt x="31211" y="11147"/>
                  </a:cubicBezTo>
                  <a:cubicBezTo>
                    <a:pt x="31211" y="11147"/>
                    <a:pt x="12004" y="54313"/>
                    <a:pt x="0" y="102477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1" name="Forma livre: Forma 190">
              <a:extLst>
                <a:ext uri="{FF2B5EF4-FFF2-40B4-BE49-F238E27FC236}">
                  <a16:creationId xmlns:a16="http://schemas.microsoft.com/office/drawing/2014/main" id="{9F8E3C32-0DAB-39BB-781C-2890667BD4AA}"/>
                </a:ext>
              </a:extLst>
            </p:cNvPr>
            <p:cNvSpPr/>
            <p:nvPr/>
          </p:nvSpPr>
          <p:spPr>
            <a:xfrm>
              <a:off x="1628815" y="1055059"/>
              <a:ext cx="20921" cy="17148"/>
            </a:xfrm>
            <a:custGeom>
              <a:avLst/>
              <a:gdLst>
                <a:gd name="connsiteX0" fmla="*/ 0 w 20921"/>
                <a:gd name="connsiteY0" fmla="*/ 0 h 17148"/>
                <a:gd name="connsiteX1" fmla="*/ 20922 w 20921"/>
                <a:gd name="connsiteY1" fmla="*/ 17149 h 171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0921" h="17148">
                  <a:moveTo>
                    <a:pt x="0" y="0"/>
                  </a:moveTo>
                  <a:cubicBezTo>
                    <a:pt x="0" y="0"/>
                    <a:pt x="7546" y="10877"/>
                    <a:pt x="20922" y="17149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2" name="Forma livre: Forma 191">
              <a:extLst>
                <a:ext uri="{FF2B5EF4-FFF2-40B4-BE49-F238E27FC236}">
                  <a16:creationId xmlns:a16="http://schemas.microsoft.com/office/drawing/2014/main" id="{8555144E-1B43-25D1-E5C3-DADF1D7C6FD1}"/>
                </a:ext>
              </a:extLst>
            </p:cNvPr>
            <p:cNvSpPr/>
            <p:nvPr/>
          </p:nvSpPr>
          <p:spPr>
            <a:xfrm>
              <a:off x="1614263" y="1095384"/>
              <a:ext cx="19892" cy="17001"/>
            </a:xfrm>
            <a:custGeom>
              <a:avLst/>
              <a:gdLst>
                <a:gd name="connsiteX0" fmla="*/ 0 w 19892"/>
                <a:gd name="connsiteY0" fmla="*/ 0 h 17001"/>
                <a:gd name="connsiteX1" fmla="*/ 19893 w 19892"/>
                <a:gd name="connsiteY1" fmla="*/ 17002 h 170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9892" h="17001">
                  <a:moveTo>
                    <a:pt x="0" y="0"/>
                  </a:moveTo>
                  <a:cubicBezTo>
                    <a:pt x="2842" y="3871"/>
                    <a:pt x="9505" y="11661"/>
                    <a:pt x="19893" y="17002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3" name="Forma livre: Forma 192">
              <a:extLst>
                <a:ext uri="{FF2B5EF4-FFF2-40B4-BE49-F238E27FC236}">
                  <a16:creationId xmlns:a16="http://schemas.microsoft.com/office/drawing/2014/main" id="{D97CF4F0-3D05-81CF-7F4B-53E2BCE90783}"/>
                </a:ext>
              </a:extLst>
            </p:cNvPr>
            <p:cNvSpPr/>
            <p:nvPr/>
          </p:nvSpPr>
          <p:spPr>
            <a:xfrm>
              <a:off x="1655763" y="1097931"/>
              <a:ext cx="19598" cy="8574"/>
            </a:xfrm>
            <a:custGeom>
              <a:avLst/>
              <a:gdLst>
                <a:gd name="connsiteX0" fmla="*/ 0 w 19598"/>
                <a:gd name="connsiteY0" fmla="*/ 0 h 8574"/>
                <a:gd name="connsiteX1" fmla="*/ 19599 w 19598"/>
                <a:gd name="connsiteY1" fmla="*/ 8574 h 85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9598" h="8574">
                  <a:moveTo>
                    <a:pt x="0" y="0"/>
                  </a:moveTo>
                  <a:cubicBezTo>
                    <a:pt x="0" y="0"/>
                    <a:pt x="9750" y="7056"/>
                    <a:pt x="19599" y="8574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4" name="Forma livre: Forma 193">
              <a:extLst>
                <a:ext uri="{FF2B5EF4-FFF2-40B4-BE49-F238E27FC236}">
                  <a16:creationId xmlns:a16="http://schemas.microsoft.com/office/drawing/2014/main" id="{27D437B2-AB4D-D338-54AA-C956214105D9}"/>
                </a:ext>
              </a:extLst>
            </p:cNvPr>
            <p:cNvSpPr/>
            <p:nvPr/>
          </p:nvSpPr>
          <p:spPr>
            <a:xfrm>
              <a:off x="1425429" y="1136884"/>
              <a:ext cx="298734" cy="71829"/>
            </a:xfrm>
            <a:custGeom>
              <a:avLst/>
              <a:gdLst>
                <a:gd name="connsiteX0" fmla="*/ 0 w 298734"/>
                <a:gd name="connsiteY0" fmla="*/ 71830 h 71829"/>
                <a:gd name="connsiteX1" fmla="*/ 0 w 298734"/>
                <a:gd name="connsiteY1" fmla="*/ 0 h 71829"/>
                <a:gd name="connsiteX2" fmla="*/ 298735 w 298734"/>
                <a:gd name="connsiteY2" fmla="*/ 0 h 71829"/>
                <a:gd name="connsiteX3" fmla="*/ 298735 w 298734"/>
                <a:gd name="connsiteY3" fmla="*/ 71830 h 718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98734" h="71829">
                  <a:moveTo>
                    <a:pt x="0" y="71830"/>
                  </a:moveTo>
                  <a:lnTo>
                    <a:pt x="0" y="0"/>
                  </a:lnTo>
                  <a:lnTo>
                    <a:pt x="298735" y="0"/>
                  </a:lnTo>
                  <a:lnTo>
                    <a:pt x="298735" y="7183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5" name="Forma livre: Forma 194">
              <a:extLst>
                <a:ext uri="{FF2B5EF4-FFF2-40B4-BE49-F238E27FC236}">
                  <a16:creationId xmlns:a16="http://schemas.microsoft.com/office/drawing/2014/main" id="{42A01A11-4386-2883-25DD-2A97FE6AB7E6}"/>
                </a:ext>
              </a:extLst>
            </p:cNvPr>
            <p:cNvSpPr/>
            <p:nvPr/>
          </p:nvSpPr>
          <p:spPr>
            <a:xfrm>
              <a:off x="1425429" y="1225618"/>
              <a:ext cx="298734" cy="70506"/>
            </a:xfrm>
            <a:custGeom>
              <a:avLst/>
              <a:gdLst>
                <a:gd name="connsiteX0" fmla="*/ 298735 w 298734"/>
                <a:gd name="connsiteY0" fmla="*/ 0 h 70506"/>
                <a:gd name="connsiteX1" fmla="*/ 298735 w 298734"/>
                <a:gd name="connsiteY1" fmla="*/ 70507 h 70506"/>
                <a:gd name="connsiteX2" fmla="*/ 0 w 298734"/>
                <a:gd name="connsiteY2" fmla="*/ 70507 h 70506"/>
                <a:gd name="connsiteX3" fmla="*/ 0 w 298734"/>
                <a:gd name="connsiteY3" fmla="*/ 0 h 705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98734" h="70506">
                  <a:moveTo>
                    <a:pt x="298735" y="0"/>
                  </a:moveTo>
                  <a:lnTo>
                    <a:pt x="298735" y="70507"/>
                  </a:lnTo>
                  <a:lnTo>
                    <a:pt x="0" y="70507"/>
                  </a:lnTo>
                  <a:lnTo>
                    <a:pt x="0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6" name="Forma livre: Forma 195">
              <a:extLst>
                <a:ext uri="{FF2B5EF4-FFF2-40B4-BE49-F238E27FC236}">
                  <a16:creationId xmlns:a16="http://schemas.microsoft.com/office/drawing/2014/main" id="{A1040780-81A4-28E7-35A0-F13F063E3DB6}"/>
                </a:ext>
              </a:extLst>
            </p:cNvPr>
            <p:cNvSpPr/>
            <p:nvPr/>
          </p:nvSpPr>
          <p:spPr>
            <a:xfrm>
              <a:off x="1449192" y="1216994"/>
              <a:ext cx="251207" cy="4899"/>
            </a:xfrm>
            <a:custGeom>
              <a:avLst/>
              <a:gdLst>
                <a:gd name="connsiteX0" fmla="*/ 0 w 251207"/>
                <a:gd name="connsiteY0" fmla="*/ 0 h 4899"/>
                <a:gd name="connsiteX1" fmla="*/ 251207 w 251207"/>
                <a:gd name="connsiteY1" fmla="*/ 0 h 48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51207" h="4899">
                  <a:moveTo>
                    <a:pt x="0" y="0"/>
                  </a:moveTo>
                  <a:lnTo>
                    <a:pt x="251207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97" name="Gráfico 2">
              <a:extLst>
                <a:ext uri="{FF2B5EF4-FFF2-40B4-BE49-F238E27FC236}">
                  <a16:creationId xmlns:a16="http://schemas.microsoft.com/office/drawing/2014/main" id="{9BDFEC67-0B94-25D5-D6F3-EC9759F657B1}"/>
                </a:ext>
              </a:extLst>
            </p:cNvPr>
            <p:cNvGrpSpPr/>
            <p:nvPr/>
          </p:nvGrpSpPr>
          <p:grpSpPr>
            <a:xfrm>
              <a:off x="1461441" y="1172897"/>
              <a:ext cx="226708" cy="7643"/>
              <a:chOff x="1461441" y="1172897"/>
              <a:chExt cx="226708" cy="7643"/>
            </a:xfrm>
            <a:solidFill>
              <a:srgbClr val="394553"/>
            </a:solidFill>
          </p:grpSpPr>
          <p:sp>
            <p:nvSpPr>
              <p:cNvPr id="198" name="Forma livre: Forma 197">
                <a:extLst>
                  <a:ext uri="{FF2B5EF4-FFF2-40B4-BE49-F238E27FC236}">
                    <a16:creationId xmlns:a16="http://schemas.microsoft.com/office/drawing/2014/main" id="{5331CDB2-DCD9-CBA1-4459-3D0BD6D161B1}"/>
                  </a:ext>
                </a:extLst>
              </p:cNvPr>
              <p:cNvSpPr/>
              <p:nvPr/>
            </p:nvSpPr>
            <p:spPr>
              <a:xfrm>
                <a:off x="1461441" y="1172897"/>
                <a:ext cx="7643" cy="7643"/>
              </a:xfrm>
              <a:custGeom>
                <a:avLst/>
                <a:gdLst>
                  <a:gd name="connsiteX0" fmla="*/ 7644 w 7643"/>
                  <a:gd name="connsiteY0" fmla="*/ 3822 h 7643"/>
                  <a:gd name="connsiteX1" fmla="*/ 3822 w 7643"/>
                  <a:gd name="connsiteY1" fmla="*/ 7644 h 7643"/>
                  <a:gd name="connsiteX2" fmla="*/ 0 w 7643"/>
                  <a:gd name="connsiteY2" fmla="*/ 3822 h 7643"/>
                  <a:gd name="connsiteX3" fmla="*/ 3822 w 7643"/>
                  <a:gd name="connsiteY3" fmla="*/ 0 h 7643"/>
                  <a:gd name="connsiteX4" fmla="*/ 7644 w 7643"/>
                  <a:gd name="connsiteY4" fmla="*/ 3822 h 76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643" h="7643">
                    <a:moveTo>
                      <a:pt x="7644" y="3822"/>
                    </a:moveTo>
                    <a:cubicBezTo>
                      <a:pt x="7644" y="5929"/>
                      <a:pt x="5929" y="7644"/>
                      <a:pt x="3822" y="7644"/>
                    </a:cubicBezTo>
                    <a:cubicBezTo>
                      <a:pt x="1715" y="7644"/>
                      <a:pt x="0" y="5929"/>
                      <a:pt x="0" y="3822"/>
                    </a:cubicBezTo>
                    <a:cubicBezTo>
                      <a:pt x="0" y="1715"/>
                      <a:pt x="1715" y="0"/>
                      <a:pt x="3822" y="0"/>
                    </a:cubicBezTo>
                    <a:cubicBezTo>
                      <a:pt x="5929" y="0"/>
                      <a:pt x="7644" y="1715"/>
                      <a:pt x="7644" y="3822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99" name="Forma livre: Forma 198">
                <a:extLst>
                  <a:ext uri="{FF2B5EF4-FFF2-40B4-BE49-F238E27FC236}">
                    <a16:creationId xmlns:a16="http://schemas.microsoft.com/office/drawing/2014/main" id="{AB26C41B-ED52-E372-EC40-58FEF6CE2698}"/>
                  </a:ext>
                </a:extLst>
              </p:cNvPr>
              <p:cNvSpPr/>
              <p:nvPr/>
            </p:nvSpPr>
            <p:spPr>
              <a:xfrm>
                <a:off x="1680507" y="1172897"/>
                <a:ext cx="7643" cy="7643"/>
              </a:xfrm>
              <a:custGeom>
                <a:avLst/>
                <a:gdLst>
                  <a:gd name="connsiteX0" fmla="*/ 7644 w 7643"/>
                  <a:gd name="connsiteY0" fmla="*/ 3822 h 7643"/>
                  <a:gd name="connsiteX1" fmla="*/ 3822 w 7643"/>
                  <a:gd name="connsiteY1" fmla="*/ 7644 h 7643"/>
                  <a:gd name="connsiteX2" fmla="*/ 0 w 7643"/>
                  <a:gd name="connsiteY2" fmla="*/ 3822 h 7643"/>
                  <a:gd name="connsiteX3" fmla="*/ 3822 w 7643"/>
                  <a:gd name="connsiteY3" fmla="*/ 0 h 7643"/>
                  <a:gd name="connsiteX4" fmla="*/ 7644 w 7643"/>
                  <a:gd name="connsiteY4" fmla="*/ 3822 h 76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643" h="7643">
                    <a:moveTo>
                      <a:pt x="7644" y="3822"/>
                    </a:moveTo>
                    <a:cubicBezTo>
                      <a:pt x="7644" y="5929"/>
                      <a:pt x="5929" y="7644"/>
                      <a:pt x="3822" y="7644"/>
                    </a:cubicBezTo>
                    <a:cubicBezTo>
                      <a:pt x="1715" y="7644"/>
                      <a:pt x="0" y="5929"/>
                      <a:pt x="0" y="3822"/>
                    </a:cubicBezTo>
                    <a:cubicBezTo>
                      <a:pt x="0" y="1715"/>
                      <a:pt x="1715" y="0"/>
                      <a:pt x="3822" y="0"/>
                    </a:cubicBezTo>
                    <a:cubicBezTo>
                      <a:pt x="5929" y="0"/>
                      <a:pt x="7644" y="1715"/>
                      <a:pt x="7644" y="3822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200" name="Gráfico 2">
              <a:extLst>
                <a:ext uri="{FF2B5EF4-FFF2-40B4-BE49-F238E27FC236}">
                  <a16:creationId xmlns:a16="http://schemas.microsoft.com/office/drawing/2014/main" id="{61F2F4EC-3F0E-2128-B8EB-799E8A152035}"/>
                </a:ext>
              </a:extLst>
            </p:cNvPr>
            <p:cNvGrpSpPr/>
            <p:nvPr/>
          </p:nvGrpSpPr>
          <p:grpSpPr>
            <a:xfrm>
              <a:off x="1461441" y="1252615"/>
              <a:ext cx="226708" cy="7643"/>
              <a:chOff x="1461441" y="1252615"/>
              <a:chExt cx="226708" cy="7643"/>
            </a:xfrm>
            <a:solidFill>
              <a:srgbClr val="394553"/>
            </a:solidFill>
          </p:grpSpPr>
          <p:sp>
            <p:nvSpPr>
              <p:cNvPr id="201" name="Forma livre: Forma 200">
                <a:extLst>
                  <a:ext uri="{FF2B5EF4-FFF2-40B4-BE49-F238E27FC236}">
                    <a16:creationId xmlns:a16="http://schemas.microsoft.com/office/drawing/2014/main" id="{1F88702F-4239-2C03-8467-329B5D3BF055}"/>
                  </a:ext>
                </a:extLst>
              </p:cNvPr>
              <p:cNvSpPr/>
              <p:nvPr/>
            </p:nvSpPr>
            <p:spPr>
              <a:xfrm>
                <a:off x="1461441" y="1252615"/>
                <a:ext cx="7643" cy="7643"/>
              </a:xfrm>
              <a:custGeom>
                <a:avLst/>
                <a:gdLst>
                  <a:gd name="connsiteX0" fmla="*/ 7644 w 7643"/>
                  <a:gd name="connsiteY0" fmla="*/ 3822 h 7643"/>
                  <a:gd name="connsiteX1" fmla="*/ 3822 w 7643"/>
                  <a:gd name="connsiteY1" fmla="*/ 7644 h 7643"/>
                  <a:gd name="connsiteX2" fmla="*/ 0 w 7643"/>
                  <a:gd name="connsiteY2" fmla="*/ 3822 h 7643"/>
                  <a:gd name="connsiteX3" fmla="*/ 3822 w 7643"/>
                  <a:gd name="connsiteY3" fmla="*/ 0 h 7643"/>
                  <a:gd name="connsiteX4" fmla="*/ 7644 w 7643"/>
                  <a:gd name="connsiteY4" fmla="*/ 3822 h 76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643" h="7643">
                    <a:moveTo>
                      <a:pt x="7644" y="3822"/>
                    </a:moveTo>
                    <a:cubicBezTo>
                      <a:pt x="7644" y="5929"/>
                      <a:pt x="5929" y="7644"/>
                      <a:pt x="3822" y="7644"/>
                    </a:cubicBezTo>
                    <a:cubicBezTo>
                      <a:pt x="1715" y="7644"/>
                      <a:pt x="0" y="5929"/>
                      <a:pt x="0" y="3822"/>
                    </a:cubicBezTo>
                    <a:cubicBezTo>
                      <a:pt x="0" y="1715"/>
                      <a:pt x="1715" y="0"/>
                      <a:pt x="3822" y="0"/>
                    </a:cubicBezTo>
                    <a:cubicBezTo>
                      <a:pt x="5929" y="0"/>
                      <a:pt x="7644" y="1715"/>
                      <a:pt x="7644" y="3822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02" name="Forma livre: Forma 201">
                <a:extLst>
                  <a:ext uri="{FF2B5EF4-FFF2-40B4-BE49-F238E27FC236}">
                    <a16:creationId xmlns:a16="http://schemas.microsoft.com/office/drawing/2014/main" id="{92ACAB06-AC6A-362F-34B3-0E2BE5050BA5}"/>
                  </a:ext>
                </a:extLst>
              </p:cNvPr>
              <p:cNvSpPr/>
              <p:nvPr/>
            </p:nvSpPr>
            <p:spPr>
              <a:xfrm>
                <a:off x="1680507" y="1252615"/>
                <a:ext cx="7643" cy="7643"/>
              </a:xfrm>
              <a:custGeom>
                <a:avLst/>
                <a:gdLst>
                  <a:gd name="connsiteX0" fmla="*/ 7644 w 7643"/>
                  <a:gd name="connsiteY0" fmla="*/ 3822 h 7643"/>
                  <a:gd name="connsiteX1" fmla="*/ 3822 w 7643"/>
                  <a:gd name="connsiteY1" fmla="*/ 7644 h 7643"/>
                  <a:gd name="connsiteX2" fmla="*/ 0 w 7643"/>
                  <a:gd name="connsiteY2" fmla="*/ 3822 h 7643"/>
                  <a:gd name="connsiteX3" fmla="*/ 3822 w 7643"/>
                  <a:gd name="connsiteY3" fmla="*/ 0 h 7643"/>
                  <a:gd name="connsiteX4" fmla="*/ 7644 w 7643"/>
                  <a:gd name="connsiteY4" fmla="*/ 3822 h 76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643" h="7643">
                    <a:moveTo>
                      <a:pt x="7644" y="3822"/>
                    </a:moveTo>
                    <a:cubicBezTo>
                      <a:pt x="7644" y="5929"/>
                      <a:pt x="5929" y="7644"/>
                      <a:pt x="3822" y="7644"/>
                    </a:cubicBezTo>
                    <a:cubicBezTo>
                      <a:pt x="1715" y="7644"/>
                      <a:pt x="0" y="5929"/>
                      <a:pt x="0" y="3822"/>
                    </a:cubicBezTo>
                    <a:cubicBezTo>
                      <a:pt x="0" y="1715"/>
                      <a:pt x="1715" y="0"/>
                      <a:pt x="3822" y="0"/>
                    </a:cubicBezTo>
                    <a:cubicBezTo>
                      <a:pt x="5929" y="0"/>
                      <a:pt x="7644" y="1715"/>
                      <a:pt x="7644" y="3822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203" name="Gráfico 2">
            <a:extLst>
              <a:ext uri="{FF2B5EF4-FFF2-40B4-BE49-F238E27FC236}">
                <a16:creationId xmlns:a16="http://schemas.microsoft.com/office/drawing/2014/main" id="{C20DEB60-8934-81E5-C359-977397E2E1B5}"/>
              </a:ext>
            </a:extLst>
          </p:cNvPr>
          <p:cNvGrpSpPr/>
          <p:nvPr/>
        </p:nvGrpSpPr>
        <p:grpSpPr>
          <a:xfrm>
            <a:off x="789987" y="1529146"/>
            <a:ext cx="292707" cy="320251"/>
            <a:chOff x="789987" y="1529146"/>
            <a:chExt cx="292707" cy="320251"/>
          </a:xfrm>
          <a:noFill/>
        </p:grpSpPr>
        <p:sp>
          <p:nvSpPr>
            <p:cNvPr id="204" name="Forma livre: Forma 203">
              <a:extLst>
                <a:ext uri="{FF2B5EF4-FFF2-40B4-BE49-F238E27FC236}">
                  <a16:creationId xmlns:a16="http://schemas.microsoft.com/office/drawing/2014/main" id="{A78A1DE3-6F5C-8048-3BB0-F5C1AE6FF8C3}"/>
                </a:ext>
              </a:extLst>
            </p:cNvPr>
            <p:cNvSpPr/>
            <p:nvPr/>
          </p:nvSpPr>
          <p:spPr>
            <a:xfrm>
              <a:off x="938840" y="1705592"/>
              <a:ext cx="143855" cy="143806"/>
            </a:xfrm>
            <a:custGeom>
              <a:avLst/>
              <a:gdLst>
                <a:gd name="connsiteX0" fmla="*/ 0 w 143855"/>
                <a:gd name="connsiteY0" fmla="*/ 71928 h 143806"/>
                <a:gd name="connsiteX1" fmla="*/ 71928 w 143855"/>
                <a:gd name="connsiteY1" fmla="*/ 143806 h 143806"/>
                <a:gd name="connsiteX2" fmla="*/ 143855 w 143855"/>
                <a:gd name="connsiteY2" fmla="*/ 71928 h 143806"/>
                <a:gd name="connsiteX3" fmla="*/ 71928 w 143855"/>
                <a:gd name="connsiteY3" fmla="*/ 0 h 143806"/>
                <a:gd name="connsiteX4" fmla="*/ 0 w 143855"/>
                <a:gd name="connsiteY4" fmla="*/ 71928 h 143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3855" h="143806">
                  <a:moveTo>
                    <a:pt x="0" y="71928"/>
                  </a:moveTo>
                  <a:cubicBezTo>
                    <a:pt x="0" y="111615"/>
                    <a:pt x="32191" y="143806"/>
                    <a:pt x="71928" y="143806"/>
                  </a:cubicBezTo>
                  <a:cubicBezTo>
                    <a:pt x="111664" y="143806"/>
                    <a:pt x="143855" y="111615"/>
                    <a:pt x="143855" y="71928"/>
                  </a:cubicBezTo>
                  <a:cubicBezTo>
                    <a:pt x="143855" y="32240"/>
                    <a:pt x="111664" y="0"/>
                    <a:pt x="71928" y="0"/>
                  </a:cubicBezTo>
                  <a:cubicBezTo>
                    <a:pt x="32191" y="0"/>
                    <a:pt x="0" y="32191"/>
                    <a:pt x="0" y="71928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5" name="Forma livre: Forma 204">
              <a:extLst>
                <a:ext uri="{FF2B5EF4-FFF2-40B4-BE49-F238E27FC236}">
                  <a16:creationId xmlns:a16="http://schemas.microsoft.com/office/drawing/2014/main" id="{B15EB05F-DA99-8B1F-751E-C3ACB1A335C5}"/>
                </a:ext>
              </a:extLst>
            </p:cNvPr>
            <p:cNvSpPr/>
            <p:nvPr/>
          </p:nvSpPr>
          <p:spPr>
            <a:xfrm>
              <a:off x="988817" y="1750081"/>
              <a:ext cx="50319" cy="36796"/>
            </a:xfrm>
            <a:custGeom>
              <a:avLst/>
              <a:gdLst>
                <a:gd name="connsiteX0" fmla="*/ 0 w 50319"/>
                <a:gd name="connsiteY0" fmla="*/ 14895 h 36796"/>
                <a:gd name="connsiteX1" fmla="*/ 21853 w 50319"/>
                <a:gd name="connsiteY1" fmla="*/ 36797 h 36796"/>
                <a:gd name="connsiteX2" fmla="*/ 50320 w 50319"/>
                <a:gd name="connsiteY2" fmla="*/ 0 h 367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50319" h="36796">
                  <a:moveTo>
                    <a:pt x="0" y="14895"/>
                  </a:moveTo>
                  <a:lnTo>
                    <a:pt x="21853" y="36797"/>
                  </a:lnTo>
                  <a:lnTo>
                    <a:pt x="50320" y="0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206" name="Gráfico 2">
              <a:extLst>
                <a:ext uri="{FF2B5EF4-FFF2-40B4-BE49-F238E27FC236}">
                  <a16:creationId xmlns:a16="http://schemas.microsoft.com/office/drawing/2014/main" id="{C90720CE-1702-C832-2D10-DA734021229C}"/>
                </a:ext>
              </a:extLst>
            </p:cNvPr>
            <p:cNvGrpSpPr/>
            <p:nvPr/>
          </p:nvGrpSpPr>
          <p:grpSpPr>
            <a:xfrm>
              <a:off x="939183" y="1777520"/>
              <a:ext cx="143169" cy="4899"/>
              <a:chOff x="939183" y="1777520"/>
              <a:chExt cx="143169" cy="4899"/>
            </a:xfrm>
          </p:grpSpPr>
          <p:sp>
            <p:nvSpPr>
              <p:cNvPr id="207" name="Forma livre: Forma 206">
                <a:extLst>
                  <a:ext uri="{FF2B5EF4-FFF2-40B4-BE49-F238E27FC236}">
                    <a16:creationId xmlns:a16="http://schemas.microsoft.com/office/drawing/2014/main" id="{5B1D61BC-7589-CB67-C293-C2DAC01F5CB6}"/>
                  </a:ext>
                </a:extLst>
              </p:cNvPr>
              <p:cNvSpPr/>
              <p:nvPr/>
            </p:nvSpPr>
            <p:spPr>
              <a:xfrm>
                <a:off x="1058294" y="1777520"/>
                <a:ext cx="24057" cy="4899"/>
              </a:xfrm>
              <a:custGeom>
                <a:avLst/>
                <a:gdLst>
                  <a:gd name="connsiteX0" fmla="*/ 0 w 24057"/>
                  <a:gd name="connsiteY0" fmla="*/ 0 h 4899"/>
                  <a:gd name="connsiteX1" fmla="*/ 24058 w 24057"/>
                  <a:gd name="connsiteY1" fmla="*/ 0 h 48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4057" h="4899">
                    <a:moveTo>
                      <a:pt x="0" y="0"/>
                    </a:moveTo>
                    <a:lnTo>
                      <a:pt x="24058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08" name="Forma livre: Forma 207">
                <a:extLst>
                  <a:ext uri="{FF2B5EF4-FFF2-40B4-BE49-F238E27FC236}">
                    <a16:creationId xmlns:a16="http://schemas.microsoft.com/office/drawing/2014/main" id="{23D32251-C8B9-610B-1946-FF18E0DB312E}"/>
                  </a:ext>
                </a:extLst>
              </p:cNvPr>
              <p:cNvSpPr/>
              <p:nvPr/>
            </p:nvSpPr>
            <p:spPr>
              <a:xfrm>
                <a:off x="939183" y="1777520"/>
                <a:ext cx="24106" cy="4899"/>
              </a:xfrm>
              <a:custGeom>
                <a:avLst/>
                <a:gdLst>
                  <a:gd name="connsiteX0" fmla="*/ 0 w 24106"/>
                  <a:gd name="connsiteY0" fmla="*/ 0 h 4899"/>
                  <a:gd name="connsiteX1" fmla="*/ 24107 w 24106"/>
                  <a:gd name="connsiteY1" fmla="*/ 0 h 48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4106" h="4899">
                    <a:moveTo>
                      <a:pt x="0" y="0"/>
                    </a:moveTo>
                    <a:lnTo>
                      <a:pt x="24107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209" name="Gráfico 2">
              <a:extLst>
                <a:ext uri="{FF2B5EF4-FFF2-40B4-BE49-F238E27FC236}">
                  <a16:creationId xmlns:a16="http://schemas.microsoft.com/office/drawing/2014/main" id="{2E891D0B-86FE-6DDC-C921-F3E86D608D6F}"/>
                </a:ext>
              </a:extLst>
            </p:cNvPr>
            <p:cNvGrpSpPr/>
            <p:nvPr/>
          </p:nvGrpSpPr>
          <p:grpSpPr>
            <a:xfrm>
              <a:off x="1010767" y="1705935"/>
              <a:ext cx="4899" cy="143169"/>
              <a:chOff x="1010767" y="1705935"/>
              <a:chExt cx="4899" cy="143169"/>
            </a:xfrm>
          </p:grpSpPr>
          <p:sp>
            <p:nvSpPr>
              <p:cNvPr id="210" name="Forma livre: Forma 209">
                <a:extLst>
                  <a:ext uri="{FF2B5EF4-FFF2-40B4-BE49-F238E27FC236}">
                    <a16:creationId xmlns:a16="http://schemas.microsoft.com/office/drawing/2014/main" id="{4B7196B0-E619-74FF-E259-832E4871A779}"/>
                  </a:ext>
                </a:extLst>
              </p:cNvPr>
              <p:cNvSpPr/>
              <p:nvPr/>
            </p:nvSpPr>
            <p:spPr>
              <a:xfrm>
                <a:off x="1010767" y="1824998"/>
                <a:ext cx="4899" cy="24106"/>
              </a:xfrm>
              <a:custGeom>
                <a:avLst/>
                <a:gdLst>
                  <a:gd name="connsiteX0" fmla="*/ 0 w 4899"/>
                  <a:gd name="connsiteY0" fmla="*/ 0 h 24106"/>
                  <a:gd name="connsiteX1" fmla="*/ 0 w 4899"/>
                  <a:gd name="connsiteY1" fmla="*/ 24107 h 241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899" h="24106">
                    <a:moveTo>
                      <a:pt x="0" y="0"/>
                    </a:moveTo>
                    <a:lnTo>
                      <a:pt x="0" y="24107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11" name="Forma livre: Forma 210">
                <a:extLst>
                  <a:ext uri="{FF2B5EF4-FFF2-40B4-BE49-F238E27FC236}">
                    <a16:creationId xmlns:a16="http://schemas.microsoft.com/office/drawing/2014/main" id="{4F210679-64C7-62DF-4014-23D80CB9F111}"/>
                  </a:ext>
                </a:extLst>
              </p:cNvPr>
              <p:cNvSpPr/>
              <p:nvPr/>
            </p:nvSpPr>
            <p:spPr>
              <a:xfrm>
                <a:off x="1010767" y="1705935"/>
                <a:ext cx="4899" cy="24057"/>
              </a:xfrm>
              <a:custGeom>
                <a:avLst/>
                <a:gdLst>
                  <a:gd name="connsiteX0" fmla="*/ 0 w 4899"/>
                  <a:gd name="connsiteY0" fmla="*/ 0 h 24057"/>
                  <a:gd name="connsiteX1" fmla="*/ 0 w 4899"/>
                  <a:gd name="connsiteY1" fmla="*/ 24058 h 240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899" h="24057">
                    <a:moveTo>
                      <a:pt x="0" y="0"/>
                    </a:moveTo>
                    <a:lnTo>
                      <a:pt x="0" y="24058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212" name="Gráfico 2">
              <a:extLst>
                <a:ext uri="{FF2B5EF4-FFF2-40B4-BE49-F238E27FC236}">
                  <a16:creationId xmlns:a16="http://schemas.microsoft.com/office/drawing/2014/main" id="{E7A65C22-D778-5F73-C5CD-F7C485D62F1C}"/>
                </a:ext>
              </a:extLst>
            </p:cNvPr>
            <p:cNvGrpSpPr/>
            <p:nvPr/>
          </p:nvGrpSpPr>
          <p:grpSpPr>
            <a:xfrm>
              <a:off x="789987" y="1529146"/>
              <a:ext cx="208734" cy="313882"/>
              <a:chOff x="789987" y="1529146"/>
              <a:chExt cx="208734" cy="313882"/>
            </a:xfrm>
            <a:noFill/>
          </p:grpSpPr>
          <p:sp>
            <p:nvSpPr>
              <p:cNvPr id="213" name="Forma livre: Forma 212">
                <a:extLst>
                  <a:ext uri="{FF2B5EF4-FFF2-40B4-BE49-F238E27FC236}">
                    <a16:creationId xmlns:a16="http://schemas.microsoft.com/office/drawing/2014/main" id="{B73574D1-C6ED-0563-D868-B814EBD11175}"/>
                  </a:ext>
                </a:extLst>
              </p:cNvPr>
              <p:cNvSpPr/>
              <p:nvPr/>
            </p:nvSpPr>
            <p:spPr>
              <a:xfrm>
                <a:off x="896505" y="1661397"/>
                <a:ext cx="16464" cy="181631"/>
              </a:xfrm>
              <a:custGeom>
                <a:avLst/>
                <a:gdLst>
                  <a:gd name="connsiteX0" fmla="*/ 10144 w 16464"/>
                  <a:gd name="connsiteY0" fmla="*/ 0 h 181631"/>
                  <a:gd name="connsiteX1" fmla="*/ 16464 w 16464"/>
                  <a:gd name="connsiteY1" fmla="*/ 181632 h 1816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6464" h="181631">
                    <a:moveTo>
                      <a:pt x="10144" y="0"/>
                    </a:moveTo>
                    <a:cubicBezTo>
                      <a:pt x="-4996" y="50173"/>
                      <a:pt x="-3428" y="121904"/>
                      <a:pt x="16464" y="181632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14" name="Forma livre: Forma 213">
                <a:extLst>
                  <a:ext uri="{FF2B5EF4-FFF2-40B4-BE49-F238E27FC236}">
                    <a16:creationId xmlns:a16="http://schemas.microsoft.com/office/drawing/2014/main" id="{1CC9588B-8CA2-BBEE-27EA-44E35F328875}"/>
                  </a:ext>
                </a:extLst>
              </p:cNvPr>
              <p:cNvSpPr/>
              <p:nvPr/>
            </p:nvSpPr>
            <p:spPr>
              <a:xfrm>
                <a:off x="789987" y="1718493"/>
                <a:ext cx="76616" cy="46873"/>
              </a:xfrm>
              <a:custGeom>
                <a:avLst/>
                <a:gdLst>
                  <a:gd name="connsiteX0" fmla="*/ 75504 w 76616"/>
                  <a:gd name="connsiteY0" fmla="*/ 37321 h 46873"/>
                  <a:gd name="connsiteX1" fmla="*/ 43607 w 76616"/>
                  <a:gd name="connsiteY1" fmla="*/ 1504 h 46873"/>
                  <a:gd name="connsiteX2" fmla="*/ 0 w 76616"/>
                  <a:gd name="connsiteY2" fmla="*/ 4934 h 46873"/>
                  <a:gd name="connsiteX3" fmla="*/ 27585 w 76616"/>
                  <a:gd name="connsiteY3" fmla="*/ 38693 h 46873"/>
                  <a:gd name="connsiteX4" fmla="*/ 75504 w 76616"/>
                  <a:gd name="connsiteY4" fmla="*/ 37272 h 468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6616" h="46873">
                    <a:moveTo>
                      <a:pt x="75504" y="37321"/>
                    </a:moveTo>
                    <a:cubicBezTo>
                      <a:pt x="81237" y="24582"/>
                      <a:pt x="63941" y="5228"/>
                      <a:pt x="43607" y="1504"/>
                    </a:cubicBezTo>
                    <a:cubicBezTo>
                      <a:pt x="17394" y="-3298"/>
                      <a:pt x="0" y="4934"/>
                      <a:pt x="0" y="4934"/>
                    </a:cubicBezTo>
                    <a:cubicBezTo>
                      <a:pt x="0" y="4934"/>
                      <a:pt x="7987" y="24337"/>
                      <a:pt x="27585" y="38693"/>
                    </a:cubicBezTo>
                    <a:cubicBezTo>
                      <a:pt x="44244" y="50893"/>
                      <a:pt x="70409" y="48639"/>
                      <a:pt x="75504" y="37272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215" name="Gráfico 2">
                <a:extLst>
                  <a:ext uri="{FF2B5EF4-FFF2-40B4-BE49-F238E27FC236}">
                    <a16:creationId xmlns:a16="http://schemas.microsoft.com/office/drawing/2014/main" id="{0C932610-BE94-B1DD-4143-660304C0D0BD}"/>
                  </a:ext>
                </a:extLst>
              </p:cNvPr>
              <p:cNvGrpSpPr/>
              <p:nvPr/>
            </p:nvGrpSpPr>
            <p:grpSpPr>
              <a:xfrm>
                <a:off x="842406" y="1529146"/>
                <a:ext cx="156315" cy="156560"/>
                <a:chOff x="842406" y="1529146"/>
                <a:chExt cx="156315" cy="156560"/>
              </a:xfrm>
              <a:noFill/>
            </p:grpSpPr>
            <p:sp>
              <p:nvSpPr>
                <p:cNvPr id="216" name="Forma livre: Forma 215">
                  <a:extLst>
                    <a:ext uri="{FF2B5EF4-FFF2-40B4-BE49-F238E27FC236}">
                      <a16:creationId xmlns:a16="http://schemas.microsoft.com/office/drawing/2014/main" id="{FE58B3A3-94B9-4E16-10AF-A8E75096C96D}"/>
                    </a:ext>
                  </a:extLst>
                </p:cNvPr>
                <p:cNvSpPr/>
                <p:nvPr/>
              </p:nvSpPr>
              <p:spPr>
                <a:xfrm>
                  <a:off x="842406" y="1529146"/>
                  <a:ext cx="156315" cy="156560"/>
                </a:xfrm>
                <a:custGeom>
                  <a:avLst/>
                  <a:gdLst>
                    <a:gd name="connsiteX0" fmla="*/ 1184 w 156315"/>
                    <a:gd name="connsiteY0" fmla="*/ 93102 h 156560"/>
                    <a:gd name="connsiteX1" fmla="*/ 28279 w 156315"/>
                    <a:gd name="connsiteY1" fmla="*/ 138865 h 156560"/>
                    <a:gd name="connsiteX2" fmla="*/ 65517 w 156315"/>
                    <a:gd name="connsiteY2" fmla="*/ 127645 h 156560"/>
                    <a:gd name="connsiteX3" fmla="*/ 92759 w 156315"/>
                    <a:gd name="connsiteY3" fmla="*/ 155377 h 156560"/>
                    <a:gd name="connsiteX4" fmla="*/ 138522 w 156315"/>
                    <a:gd name="connsiteY4" fmla="*/ 128282 h 156560"/>
                    <a:gd name="connsiteX5" fmla="*/ 127008 w 156315"/>
                    <a:gd name="connsiteY5" fmla="*/ 90799 h 156560"/>
                    <a:gd name="connsiteX6" fmla="*/ 155132 w 156315"/>
                    <a:gd name="connsiteY6" fmla="*/ 63459 h 156560"/>
                    <a:gd name="connsiteX7" fmla="*/ 128037 w 156315"/>
                    <a:gd name="connsiteY7" fmla="*/ 17696 h 156560"/>
                    <a:gd name="connsiteX8" fmla="*/ 90799 w 156315"/>
                    <a:gd name="connsiteY8" fmla="*/ 28916 h 156560"/>
                    <a:gd name="connsiteX9" fmla="*/ 63557 w 156315"/>
                    <a:gd name="connsiteY9" fmla="*/ 1184 h 156560"/>
                    <a:gd name="connsiteX10" fmla="*/ 17793 w 156315"/>
                    <a:gd name="connsiteY10" fmla="*/ 28279 h 156560"/>
                    <a:gd name="connsiteX11" fmla="*/ 29308 w 156315"/>
                    <a:gd name="connsiteY11" fmla="*/ 65762 h 156560"/>
                    <a:gd name="connsiteX12" fmla="*/ 1135 w 156315"/>
                    <a:gd name="connsiteY12" fmla="*/ 93102 h 15656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</a:cxnLst>
                  <a:rect l="l" t="t" r="r" b="b"/>
                  <a:pathLst>
                    <a:path w="156315" h="156560">
                      <a:moveTo>
                        <a:pt x="1184" y="93102"/>
                      </a:moveTo>
                      <a:cubicBezTo>
                        <a:pt x="-3961" y="113240"/>
                        <a:pt x="8141" y="133720"/>
                        <a:pt x="28279" y="138865"/>
                      </a:cubicBezTo>
                      <a:cubicBezTo>
                        <a:pt x="42243" y="142442"/>
                        <a:pt x="56452" y="137689"/>
                        <a:pt x="65517" y="127645"/>
                      </a:cubicBezTo>
                      <a:cubicBezTo>
                        <a:pt x="68652" y="140776"/>
                        <a:pt x="78746" y="151800"/>
                        <a:pt x="92759" y="155377"/>
                      </a:cubicBezTo>
                      <a:cubicBezTo>
                        <a:pt x="112897" y="160522"/>
                        <a:pt x="133377" y="148419"/>
                        <a:pt x="138522" y="128282"/>
                      </a:cubicBezTo>
                      <a:cubicBezTo>
                        <a:pt x="142148" y="114171"/>
                        <a:pt x="137199" y="99863"/>
                        <a:pt x="127008" y="90799"/>
                      </a:cubicBezTo>
                      <a:cubicBezTo>
                        <a:pt x="140335" y="87761"/>
                        <a:pt x="151555" y="77619"/>
                        <a:pt x="155132" y="63459"/>
                      </a:cubicBezTo>
                      <a:cubicBezTo>
                        <a:pt x="160277" y="43321"/>
                        <a:pt x="148174" y="22840"/>
                        <a:pt x="128037" y="17696"/>
                      </a:cubicBezTo>
                      <a:cubicBezTo>
                        <a:pt x="114024" y="14119"/>
                        <a:pt x="99912" y="18871"/>
                        <a:pt x="90799" y="28916"/>
                      </a:cubicBezTo>
                      <a:cubicBezTo>
                        <a:pt x="87663" y="15785"/>
                        <a:pt x="77570" y="4760"/>
                        <a:pt x="63557" y="1184"/>
                      </a:cubicBezTo>
                      <a:cubicBezTo>
                        <a:pt x="43419" y="-3961"/>
                        <a:pt x="22938" y="8141"/>
                        <a:pt x="17793" y="28279"/>
                      </a:cubicBezTo>
                      <a:cubicBezTo>
                        <a:pt x="14168" y="42390"/>
                        <a:pt x="19116" y="56697"/>
                        <a:pt x="29308" y="65762"/>
                      </a:cubicBezTo>
                      <a:cubicBezTo>
                        <a:pt x="15981" y="68799"/>
                        <a:pt x="4760" y="78942"/>
                        <a:pt x="1135" y="93102"/>
                      </a:cubicBezTo>
                      <a:close/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grpSp>
              <p:nvGrpSpPr>
                <p:cNvPr id="217" name="Gráfico 2">
                  <a:extLst>
                    <a:ext uri="{FF2B5EF4-FFF2-40B4-BE49-F238E27FC236}">
                      <a16:creationId xmlns:a16="http://schemas.microsoft.com/office/drawing/2014/main" id="{0B084931-561C-D65A-CFC7-628C10E0DDE6}"/>
                    </a:ext>
                  </a:extLst>
                </p:cNvPr>
                <p:cNvGrpSpPr/>
                <p:nvPr/>
              </p:nvGrpSpPr>
              <p:grpSpPr>
                <a:xfrm>
                  <a:off x="871763" y="1594957"/>
                  <a:ext cx="97209" cy="24939"/>
                  <a:chOff x="871763" y="1594957"/>
                  <a:chExt cx="97209" cy="24939"/>
                </a:xfrm>
              </p:grpSpPr>
              <p:sp>
                <p:nvSpPr>
                  <p:cNvPr id="218" name="Forma livre: Forma 217">
                    <a:extLst>
                      <a:ext uri="{FF2B5EF4-FFF2-40B4-BE49-F238E27FC236}">
                        <a16:creationId xmlns:a16="http://schemas.microsoft.com/office/drawing/2014/main" id="{166395D9-685B-3BAB-CA25-9DB9E7EAA5BA}"/>
                      </a:ext>
                    </a:extLst>
                  </p:cNvPr>
                  <p:cNvSpPr/>
                  <p:nvPr/>
                </p:nvSpPr>
                <p:spPr>
                  <a:xfrm>
                    <a:off x="871763" y="1594957"/>
                    <a:ext cx="26213" cy="6712"/>
                  </a:xfrm>
                  <a:custGeom>
                    <a:avLst/>
                    <a:gdLst>
                      <a:gd name="connsiteX0" fmla="*/ 26213 w 26213"/>
                      <a:gd name="connsiteY0" fmla="*/ 6713 h 6712"/>
                      <a:gd name="connsiteX1" fmla="*/ 0 w 26213"/>
                      <a:gd name="connsiteY1" fmla="*/ 0 h 671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26213" h="6712">
                        <a:moveTo>
                          <a:pt x="26213" y="6713"/>
                        </a:moveTo>
                        <a:lnTo>
                          <a:pt x="0" y="0"/>
                        </a:lnTo>
                      </a:path>
                    </a:pathLst>
                  </a:custGeom>
                  <a:ln w="6350" cap="flat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219" name="Forma livre: Forma 218">
                    <a:extLst>
                      <a:ext uri="{FF2B5EF4-FFF2-40B4-BE49-F238E27FC236}">
                        <a16:creationId xmlns:a16="http://schemas.microsoft.com/office/drawing/2014/main" id="{8E31C6F8-A561-D143-EDF9-7BD0BDFAB020}"/>
                      </a:ext>
                    </a:extLst>
                  </p:cNvPr>
                  <p:cNvSpPr/>
                  <p:nvPr/>
                </p:nvSpPr>
                <p:spPr>
                  <a:xfrm>
                    <a:off x="943250" y="1613331"/>
                    <a:ext cx="25723" cy="6565"/>
                  </a:xfrm>
                  <a:custGeom>
                    <a:avLst/>
                    <a:gdLst>
                      <a:gd name="connsiteX0" fmla="*/ 25723 w 25723"/>
                      <a:gd name="connsiteY0" fmla="*/ 6566 h 6565"/>
                      <a:gd name="connsiteX1" fmla="*/ 0 w 25723"/>
                      <a:gd name="connsiteY1" fmla="*/ 0 h 656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25723" h="6565">
                        <a:moveTo>
                          <a:pt x="25723" y="6566"/>
                        </a:moveTo>
                        <a:lnTo>
                          <a:pt x="0" y="0"/>
                        </a:lnTo>
                      </a:path>
                    </a:pathLst>
                  </a:custGeom>
                  <a:ln w="6350" cap="flat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  <p:grpSp>
              <p:nvGrpSpPr>
                <p:cNvPr id="220" name="Gráfico 2">
                  <a:extLst>
                    <a:ext uri="{FF2B5EF4-FFF2-40B4-BE49-F238E27FC236}">
                      <a16:creationId xmlns:a16="http://schemas.microsoft.com/office/drawing/2014/main" id="{8A62D752-C541-14D9-1AD4-7E50ADC9373D}"/>
                    </a:ext>
                  </a:extLst>
                </p:cNvPr>
                <p:cNvGrpSpPr/>
                <p:nvPr/>
              </p:nvGrpSpPr>
              <p:grpSpPr>
                <a:xfrm>
                  <a:off x="878231" y="1565118"/>
                  <a:ext cx="84666" cy="84715"/>
                  <a:chOff x="878231" y="1565118"/>
                  <a:chExt cx="84666" cy="84715"/>
                </a:xfrm>
              </p:grpSpPr>
              <p:sp>
                <p:nvSpPr>
                  <p:cNvPr id="221" name="Forma livre: Forma 220">
                    <a:extLst>
                      <a:ext uri="{FF2B5EF4-FFF2-40B4-BE49-F238E27FC236}">
                        <a16:creationId xmlns:a16="http://schemas.microsoft.com/office/drawing/2014/main" id="{55D59804-DC80-4E78-BC6E-F9ED5A7C9752}"/>
                      </a:ext>
                    </a:extLst>
                  </p:cNvPr>
                  <p:cNvSpPr/>
                  <p:nvPr/>
                </p:nvSpPr>
                <p:spPr>
                  <a:xfrm>
                    <a:off x="932372" y="1627442"/>
                    <a:ext cx="13278" cy="22391"/>
                  </a:xfrm>
                  <a:custGeom>
                    <a:avLst/>
                    <a:gdLst>
                      <a:gd name="connsiteX0" fmla="*/ 0 w 13278"/>
                      <a:gd name="connsiteY0" fmla="*/ 0 h 22391"/>
                      <a:gd name="connsiteX1" fmla="*/ 13278 w 13278"/>
                      <a:gd name="connsiteY1" fmla="*/ 22392 h 2239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3278" h="22391">
                        <a:moveTo>
                          <a:pt x="0" y="0"/>
                        </a:moveTo>
                        <a:lnTo>
                          <a:pt x="13278" y="22392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222" name="Forma livre: Forma 221">
                    <a:extLst>
                      <a:ext uri="{FF2B5EF4-FFF2-40B4-BE49-F238E27FC236}">
                        <a16:creationId xmlns:a16="http://schemas.microsoft.com/office/drawing/2014/main" id="{38572D4B-4B92-BB66-9A74-7AE7588E40FC}"/>
                      </a:ext>
                    </a:extLst>
                  </p:cNvPr>
                  <p:cNvSpPr/>
                  <p:nvPr/>
                </p:nvSpPr>
                <p:spPr>
                  <a:xfrm>
                    <a:off x="895527" y="1565118"/>
                    <a:ext cx="13180" cy="22244"/>
                  </a:xfrm>
                  <a:custGeom>
                    <a:avLst/>
                    <a:gdLst>
                      <a:gd name="connsiteX0" fmla="*/ 0 w 13180"/>
                      <a:gd name="connsiteY0" fmla="*/ 0 h 22244"/>
                      <a:gd name="connsiteX1" fmla="*/ 13180 w 13180"/>
                      <a:gd name="connsiteY1" fmla="*/ 22245 h 2224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3180" h="22244">
                        <a:moveTo>
                          <a:pt x="0" y="0"/>
                        </a:moveTo>
                        <a:lnTo>
                          <a:pt x="13180" y="22245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223" name="Forma livre: Forma 222">
                    <a:extLst>
                      <a:ext uri="{FF2B5EF4-FFF2-40B4-BE49-F238E27FC236}">
                        <a16:creationId xmlns:a16="http://schemas.microsoft.com/office/drawing/2014/main" id="{94AF2336-2AAF-77C0-AD0D-931EA0B20C96}"/>
                      </a:ext>
                    </a:extLst>
                  </p:cNvPr>
                  <p:cNvSpPr/>
                  <p:nvPr/>
                </p:nvSpPr>
                <p:spPr>
                  <a:xfrm>
                    <a:off x="940947" y="1582414"/>
                    <a:ext cx="21950" cy="13033"/>
                  </a:xfrm>
                  <a:custGeom>
                    <a:avLst/>
                    <a:gdLst>
                      <a:gd name="connsiteX0" fmla="*/ 0 w 21950"/>
                      <a:gd name="connsiteY0" fmla="*/ 13033 h 13033"/>
                      <a:gd name="connsiteX1" fmla="*/ 21951 w 21950"/>
                      <a:gd name="connsiteY1" fmla="*/ 0 h 1303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21950" h="13033">
                        <a:moveTo>
                          <a:pt x="0" y="13033"/>
                        </a:moveTo>
                        <a:lnTo>
                          <a:pt x="21951" y="0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224" name="Forma livre: Forma 223">
                    <a:extLst>
                      <a:ext uri="{FF2B5EF4-FFF2-40B4-BE49-F238E27FC236}">
                        <a16:creationId xmlns:a16="http://schemas.microsoft.com/office/drawing/2014/main" id="{DE836FD1-F11B-7AF0-723D-61F8627EFF07}"/>
                      </a:ext>
                    </a:extLst>
                  </p:cNvPr>
                  <p:cNvSpPr/>
                  <p:nvPr/>
                </p:nvSpPr>
                <p:spPr>
                  <a:xfrm>
                    <a:off x="878231" y="1619455"/>
                    <a:ext cx="22097" cy="13082"/>
                  </a:xfrm>
                  <a:custGeom>
                    <a:avLst/>
                    <a:gdLst>
                      <a:gd name="connsiteX0" fmla="*/ 0 w 22097"/>
                      <a:gd name="connsiteY0" fmla="*/ 13082 h 13082"/>
                      <a:gd name="connsiteX1" fmla="*/ 22098 w 22097"/>
                      <a:gd name="connsiteY1" fmla="*/ 0 h 1308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22097" h="13082">
                        <a:moveTo>
                          <a:pt x="0" y="13082"/>
                        </a:moveTo>
                        <a:lnTo>
                          <a:pt x="22098" y="0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  <p:sp>
              <p:nvSpPr>
                <p:cNvPr id="225" name="Forma livre: Forma 224">
                  <a:extLst>
                    <a:ext uri="{FF2B5EF4-FFF2-40B4-BE49-F238E27FC236}">
                      <a16:creationId xmlns:a16="http://schemas.microsoft.com/office/drawing/2014/main" id="{BC07344C-FBDC-EF7A-5171-E00B7BC66A6E}"/>
                    </a:ext>
                  </a:extLst>
                </p:cNvPr>
                <p:cNvSpPr/>
                <p:nvPr/>
              </p:nvSpPr>
              <p:spPr>
                <a:xfrm>
                  <a:off x="897440" y="1584327"/>
                  <a:ext cx="46300" cy="46297"/>
                </a:xfrm>
                <a:custGeom>
                  <a:avLst/>
                  <a:gdLst>
                    <a:gd name="connsiteX0" fmla="*/ 733 w 46300"/>
                    <a:gd name="connsiteY0" fmla="*/ 17392 h 46297"/>
                    <a:gd name="connsiteX1" fmla="*/ 17392 w 46300"/>
                    <a:gd name="connsiteY1" fmla="*/ 45565 h 46297"/>
                    <a:gd name="connsiteX2" fmla="*/ 45565 w 46300"/>
                    <a:gd name="connsiteY2" fmla="*/ 28906 h 46297"/>
                    <a:gd name="connsiteX3" fmla="*/ 28906 w 46300"/>
                    <a:gd name="connsiteY3" fmla="*/ 733 h 46297"/>
                    <a:gd name="connsiteX4" fmla="*/ 733 w 46300"/>
                    <a:gd name="connsiteY4" fmla="*/ 17392 h 4629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46300" h="46297">
                      <a:moveTo>
                        <a:pt x="733" y="17392"/>
                      </a:moveTo>
                      <a:cubicBezTo>
                        <a:pt x="-2452" y="29788"/>
                        <a:pt x="5045" y="42380"/>
                        <a:pt x="17392" y="45565"/>
                      </a:cubicBezTo>
                      <a:cubicBezTo>
                        <a:pt x="29788" y="48750"/>
                        <a:pt x="42380" y="41253"/>
                        <a:pt x="45565" y="28906"/>
                      </a:cubicBezTo>
                      <a:cubicBezTo>
                        <a:pt x="48750" y="16510"/>
                        <a:pt x="41302" y="3918"/>
                        <a:pt x="28906" y="733"/>
                      </a:cubicBezTo>
                      <a:cubicBezTo>
                        <a:pt x="16510" y="-2452"/>
                        <a:pt x="3918" y="5045"/>
                        <a:pt x="733" y="17392"/>
                      </a:cubicBezTo>
                      <a:close/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grpSp>
              <p:nvGrpSpPr>
                <p:cNvPr id="226" name="Gráfico 2">
                  <a:extLst>
                    <a:ext uri="{FF2B5EF4-FFF2-40B4-BE49-F238E27FC236}">
                      <a16:creationId xmlns:a16="http://schemas.microsoft.com/office/drawing/2014/main" id="{D6C78557-AD6D-1146-5A0D-3CA9190A9E99}"/>
                    </a:ext>
                  </a:extLst>
                </p:cNvPr>
                <p:cNvGrpSpPr/>
                <p:nvPr/>
              </p:nvGrpSpPr>
              <p:grpSpPr>
                <a:xfrm>
                  <a:off x="908168" y="1558895"/>
                  <a:ext cx="24939" cy="97259"/>
                  <a:chOff x="908168" y="1558895"/>
                  <a:chExt cx="24939" cy="97259"/>
                </a:xfrm>
              </p:grpSpPr>
              <p:sp>
                <p:nvSpPr>
                  <p:cNvPr id="227" name="Forma livre: Forma 226">
                    <a:extLst>
                      <a:ext uri="{FF2B5EF4-FFF2-40B4-BE49-F238E27FC236}">
                        <a16:creationId xmlns:a16="http://schemas.microsoft.com/office/drawing/2014/main" id="{D8092DD7-7702-CD5A-DDF5-8B3A480706FD}"/>
                      </a:ext>
                    </a:extLst>
                  </p:cNvPr>
                  <p:cNvSpPr/>
                  <p:nvPr/>
                </p:nvSpPr>
                <p:spPr>
                  <a:xfrm>
                    <a:off x="908168" y="1629941"/>
                    <a:ext cx="6712" cy="26213"/>
                  </a:xfrm>
                  <a:custGeom>
                    <a:avLst/>
                    <a:gdLst>
                      <a:gd name="connsiteX0" fmla="*/ 6713 w 6712"/>
                      <a:gd name="connsiteY0" fmla="*/ 0 h 26213"/>
                      <a:gd name="connsiteX1" fmla="*/ 0 w 6712"/>
                      <a:gd name="connsiteY1" fmla="*/ 26213 h 2621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6712" h="26213">
                        <a:moveTo>
                          <a:pt x="6713" y="0"/>
                        </a:moveTo>
                        <a:lnTo>
                          <a:pt x="0" y="26213"/>
                        </a:lnTo>
                      </a:path>
                    </a:pathLst>
                  </a:custGeom>
                  <a:ln w="6350" cap="flat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228" name="Forma livre: Forma 227">
                    <a:extLst>
                      <a:ext uri="{FF2B5EF4-FFF2-40B4-BE49-F238E27FC236}">
                        <a16:creationId xmlns:a16="http://schemas.microsoft.com/office/drawing/2014/main" id="{9E431990-DCEE-F602-2973-FAABFA4113E5}"/>
                      </a:ext>
                    </a:extLst>
                  </p:cNvPr>
                  <p:cNvSpPr/>
                  <p:nvPr/>
                </p:nvSpPr>
                <p:spPr>
                  <a:xfrm>
                    <a:off x="926542" y="1558895"/>
                    <a:ext cx="6565" cy="25723"/>
                  </a:xfrm>
                  <a:custGeom>
                    <a:avLst/>
                    <a:gdLst>
                      <a:gd name="connsiteX0" fmla="*/ 6566 w 6565"/>
                      <a:gd name="connsiteY0" fmla="*/ 0 h 25723"/>
                      <a:gd name="connsiteX1" fmla="*/ 0 w 6565"/>
                      <a:gd name="connsiteY1" fmla="*/ 25723 h 2572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6565" h="25723">
                        <a:moveTo>
                          <a:pt x="6566" y="0"/>
                        </a:moveTo>
                        <a:lnTo>
                          <a:pt x="0" y="25723"/>
                        </a:lnTo>
                      </a:path>
                    </a:pathLst>
                  </a:custGeom>
                  <a:ln w="6350" cap="flat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</p:grpSp>
        </p:grpSp>
      </p:grpSp>
      <p:grpSp>
        <p:nvGrpSpPr>
          <p:cNvPr id="229" name="Gráfico 2">
            <a:extLst>
              <a:ext uri="{FF2B5EF4-FFF2-40B4-BE49-F238E27FC236}">
                <a16:creationId xmlns:a16="http://schemas.microsoft.com/office/drawing/2014/main" id="{F5C0BA88-A7D7-4055-F256-0EB65B2254D5}"/>
              </a:ext>
            </a:extLst>
          </p:cNvPr>
          <p:cNvGrpSpPr/>
          <p:nvPr/>
        </p:nvGrpSpPr>
        <p:grpSpPr>
          <a:xfrm>
            <a:off x="805672" y="2098891"/>
            <a:ext cx="261354" cy="259732"/>
            <a:chOff x="805672" y="2098891"/>
            <a:chExt cx="261354" cy="259732"/>
          </a:xfrm>
          <a:noFill/>
        </p:grpSpPr>
        <p:sp>
          <p:nvSpPr>
            <p:cNvPr id="230" name="Forma livre: Forma 229">
              <a:extLst>
                <a:ext uri="{FF2B5EF4-FFF2-40B4-BE49-F238E27FC236}">
                  <a16:creationId xmlns:a16="http://schemas.microsoft.com/office/drawing/2014/main" id="{40BE6CAA-36BA-D7FB-3A1E-2DF780EBAE50}"/>
                </a:ext>
              </a:extLst>
            </p:cNvPr>
            <p:cNvSpPr/>
            <p:nvPr/>
          </p:nvSpPr>
          <p:spPr>
            <a:xfrm>
              <a:off x="816232" y="2318201"/>
              <a:ext cx="250795" cy="40422"/>
            </a:xfrm>
            <a:custGeom>
              <a:avLst/>
              <a:gdLst>
                <a:gd name="connsiteX0" fmla="*/ 248334 w 250795"/>
                <a:gd name="connsiteY0" fmla="*/ 0 h 40422"/>
                <a:gd name="connsiteX1" fmla="*/ 249951 w 250795"/>
                <a:gd name="connsiteY1" fmla="*/ 26997 h 40422"/>
                <a:gd name="connsiteX2" fmla="*/ 174006 w 250795"/>
                <a:gd name="connsiteY2" fmla="*/ 39786 h 40422"/>
                <a:gd name="connsiteX3" fmla="*/ 132456 w 250795"/>
                <a:gd name="connsiteY3" fmla="*/ 39786 h 40422"/>
                <a:gd name="connsiteX4" fmla="*/ 89339 w 250795"/>
                <a:gd name="connsiteY4" fmla="*/ 30231 h 40422"/>
                <a:gd name="connsiteX5" fmla="*/ 73856 w 250795"/>
                <a:gd name="connsiteY5" fmla="*/ 36454 h 40422"/>
                <a:gd name="connsiteX6" fmla="*/ 72239 w 250795"/>
                <a:gd name="connsiteY6" fmla="*/ 39247 h 40422"/>
                <a:gd name="connsiteX7" fmla="*/ 69495 w 250795"/>
                <a:gd name="connsiteY7" fmla="*/ 40374 h 40422"/>
                <a:gd name="connsiteX8" fmla="*/ 29269 w 250795"/>
                <a:gd name="connsiteY8" fmla="*/ 40374 h 40422"/>
                <a:gd name="connsiteX9" fmla="*/ 26525 w 250795"/>
                <a:gd name="connsiteY9" fmla="*/ 40423 h 40422"/>
                <a:gd name="connsiteX10" fmla="*/ 18 w 250795"/>
                <a:gd name="connsiteY10" fmla="*/ 22588 h 40422"/>
                <a:gd name="connsiteX11" fmla="*/ 214 w 250795"/>
                <a:gd name="connsiteY11" fmla="*/ 17100 h 404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50795" h="40422">
                  <a:moveTo>
                    <a:pt x="248334" y="0"/>
                  </a:moveTo>
                  <a:cubicBezTo>
                    <a:pt x="250490" y="6321"/>
                    <a:pt x="251715" y="22588"/>
                    <a:pt x="249951" y="26997"/>
                  </a:cubicBezTo>
                  <a:cubicBezTo>
                    <a:pt x="248922" y="29888"/>
                    <a:pt x="233586" y="39786"/>
                    <a:pt x="174006" y="39786"/>
                  </a:cubicBezTo>
                  <a:cubicBezTo>
                    <a:pt x="158082" y="39786"/>
                    <a:pt x="156465" y="39786"/>
                    <a:pt x="132456" y="39786"/>
                  </a:cubicBezTo>
                  <a:cubicBezTo>
                    <a:pt x="131477" y="39786"/>
                    <a:pt x="99971" y="30133"/>
                    <a:pt x="89339" y="30231"/>
                  </a:cubicBezTo>
                  <a:cubicBezTo>
                    <a:pt x="81794" y="30231"/>
                    <a:pt x="78070" y="29300"/>
                    <a:pt x="73856" y="36454"/>
                  </a:cubicBezTo>
                  <a:lnTo>
                    <a:pt x="72239" y="39247"/>
                  </a:lnTo>
                  <a:cubicBezTo>
                    <a:pt x="71504" y="39982"/>
                    <a:pt x="70524" y="40374"/>
                    <a:pt x="69495" y="40374"/>
                  </a:cubicBezTo>
                  <a:lnTo>
                    <a:pt x="29269" y="40374"/>
                  </a:lnTo>
                  <a:cubicBezTo>
                    <a:pt x="29269" y="40374"/>
                    <a:pt x="28240" y="40423"/>
                    <a:pt x="26525" y="40423"/>
                  </a:cubicBezTo>
                  <a:cubicBezTo>
                    <a:pt x="10062" y="40423"/>
                    <a:pt x="165" y="33759"/>
                    <a:pt x="18" y="22588"/>
                  </a:cubicBezTo>
                  <a:cubicBezTo>
                    <a:pt x="-31" y="22147"/>
                    <a:pt x="18" y="18717"/>
                    <a:pt x="214" y="17100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31" name="Forma livre: Forma 230">
              <a:extLst>
                <a:ext uri="{FF2B5EF4-FFF2-40B4-BE49-F238E27FC236}">
                  <a16:creationId xmlns:a16="http://schemas.microsoft.com/office/drawing/2014/main" id="{78734784-C035-D013-4470-877E23B5BC4A}"/>
                </a:ext>
              </a:extLst>
            </p:cNvPr>
            <p:cNvSpPr/>
            <p:nvPr/>
          </p:nvSpPr>
          <p:spPr>
            <a:xfrm>
              <a:off x="805672" y="2098891"/>
              <a:ext cx="259865" cy="225585"/>
            </a:xfrm>
            <a:custGeom>
              <a:avLst/>
              <a:gdLst>
                <a:gd name="connsiteX0" fmla="*/ 10773 w 259865"/>
                <a:gd name="connsiteY0" fmla="*/ 214999 h 225585"/>
                <a:gd name="connsiteX1" fmla="*/ 13811 w 259865"/>
                <a:gd name="connsiteY1" fmla="*/ 195645 h 225585"/>
                <a:gd name="connsiteX2" fmla="*/ 6560 w 259865"/>
                <a:gd name="connsiteY2" fmla="*/ 70703 h 225585"/>
                <a:gd name="connsiteX3" fmla="*/ 92 w 259865"/>
                <a:gd name="connsiteY3" fmla="*/ 3773 h 225585"/>
                <a:gd name="connsiteX4" fmla="*/ 3963 w 259865"/>
                <a:gd name="connsiteY4" fmla="*/ 0 h 225585"/>
                <a:gd name="connsiteX5" fmla="*/ 139880 w 259865"/>
                <a:gd name="connsiteY5" fmla="*/ 1323 h 225585"/>
                <a:gd name="connsiteX6" fmla="*/ 143702 w 259865"/>
                <a:gd name="connsiteY6" fmla="*/ 5194 h 225585"/>
                <a:gd name="connsiteX7" fmla="*/ 131257 w 259865"/>
                <a:gd name="connsiteY7" fmla="*/ 105392 h 225585"/>
                <a:gd name="connsiteX8" fmla="*/ 160998 w 259865"/>
                <a:gd name="connsiteY8" fmla="*/ 174380 h 225585"/>
                <a:gd name="connsiteX9" fmla="*/ 194022 w 259865"/>
                <a:gd name="connsiteY9" fmla="*/ 184278 h 225585"/>
                <a:gd name="connsiteX10" fmla="*/ 234347 w 259865"/>
                <a:gd name="connsiteY10" fmla="*/ 185747 h 225585"/>
                <a:gd name="connsiteX11" fmla="*/ 255856 w 259865"/>
                <a:gd name="connsiteY11" fmla="*/ 200937 h 225585"/>
                <a:gd name="connsiteX12" fmla="*/ 257669 w 259865"/>
                <a:gd name="connsiteY12" fmla="*/ 220437 h 225585"/>
                <a:gd name="connsiteX13" fmla="*/ 10724 w 259865"/>
                <a:gd name="connsiteY13" fmla="*/ 214950 h 2255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59865" h="225585">
                  <a:moveTo>
                    <a:pt x="10773" y="214999"/>
                  </a:moveTo>
                  <a:cubicBezTo>
                    <a:pt x="11214" y="208678"/>
                    <a:pt x="12096" y="201965"/>
                    <a:pt x="13811" y="195645"/>
                  </a:cubicBezTo>
                  <a:cubicBezTo>
                    <a:pt x="13909" y="195302"/>
                    <a:pt x="23856" y="164434"/>
                    <a:pt x="6560" y="70703"/>
                  </a:cubicBezTo>
                  <a:cubicBezTo>
                    <a:pt x="6266" y="68792"/>
                    <a:pt x="-888" y="37875"/>
                    <a:pt x="92" y="3773"/>
                  </a:cubicBezTo>
                  <a:cubicBezTo>
                    <a:pt x="141" y="1666"/>
                    <a:pt x="1905" y="0"/>
                    <a:pt x="3963" y="0"/>
                  </a:cubicBezTo>
                  <a:lnTo>
                    <a:pt x="139880" y="1323"/>
                  </a:lnTo>
                  <a:cubicBezTo>
                    <a:pt x="141987" y="1323"/>
                    <a:pt x="143702" y="3038"/>
                    <a:pt x="143702" y="5194"/>
                  </a:cubicBezTo>
                  <a:cubicBezTo>
                    <a:pt x="143702" y="6909"/>
                    <a:pt x="135324" y="35474"/>
                    <a:pt x="131257" y="105392"/>
                  </a:cubicBezTo>
                  <a:cubicBezTo>
                    <a:pt x="131110" y="105931"/>
                    <a:pt x="126651" y="148265"/>
                    <a:pt x="160998" y="174380"/>
                  </a:cubicBezTo>
                  <a:cubicBezTo>
                    <a:pt x="169426" y="179623"/>
                    <a:pt x="173786" y="182955"/>
                    <a:pt x="194022" y="184278"/>
                  </a:cubicBezTo>
                  <a:cubicBezTo>
                    <a:pt x="208721" y="184425"/>
                    <a:pt x="227242" y="184376"/>
                    <a:pt x="234347" y="185747"/>
                  </a:cubicBezTo>
                  <a:cubicBezTo>
                    <a:pt x="236600" y="185944"/>
                    <a:pt x="248997" y="190108"/>
                    <a:pt x="255856" y="200937"/>
                  </a:cubicBezTo>
                  <a:cubicBezTo>
                    <a:pt x="259580" y="206816"/>
                    <a:pt x="261736" y="216175"/>
                    <a:pt x="257669" y="220437"/>
                  </a:cubicBezTo>
                  <a:cubicBezTo>
                    <a:pt x="235180" y="227003"/>
                    <a:pt x="184909" y="229306"/>
                    <a:pt x="10724" y="214950"/>
                  </a:cubicBez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32" name="Forma livre: Forma 231">
              <a:extLst>
                <a:ext uri="{FF2B5EF4-FFF2-40B4-BE49-F238E27FC236}">
                  <a16:creationId xmlns:a16="http://schemas.microsoft.com/office/drawing/2014/main" id="{F38CE1B2-3409-2316-F233-ED73822D98DD}"/>
                </a:ext>
              </a:extLst>
            </p:cNvPr>
            <p:cNvSpPr/>
            <p:nvPr/>
          </p:nvSpPr>
          <p:spPr>
            <a:xfrm>
              <a:off x="840405" y="2132062"/>
              <a:ext cx="12102" cy="78787"/>
            </a:xfrm>
            <a:custGeom>
              <a:avLst/>
              <a:gdLst>
                <a:gd name="connsiteX0" fmla="*/ 12102 w 12102"/>
                <a:gd name="connsiteY0" fmla="*/ 78787 h 78787"/>
                <a:gd name="connsiteX1" fmla="*/ 5096 w 12102"/>
                <a:gd name="connsiteY1" fmla="*/ 33808 h 78787"/>
                <a:gd name="connsiteX2" fmla="*/ 5096 w 12102"/>
                <a:gd name="connsiteY2" fmla="*/ 34053 h 78787"/>
                <a:gd name="connsiteX3" fmla="*/ 4704 w 12102"/>
                <a:gd name="connsiteY3" fmla="*/ 31848 h 78787"/>
                <a:gd name="connsiteX4" fmla="*/ 0 w 12102"/>
                <a:gd name="connsiteY4" fmla="*/ 0 h 787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102" h="78787">
                  <a:moveTo>
                    <a:pt x="12102" y="78787"/>
                  </a:moveTo>
                  <a:cubicBezTo>
                    <a:pt x="10485" y="65509"/>
                    <a:pt x="8182" y="50565"/>
                    <a:pt x="5096" y="33808"/>
                  </a:cubicBezTo>
                  <a:lnTo>
                    <a:pt x="5096" y="34053"/>
                  </a:lnTo>
                  <a:cubicBezTo>
                    <a:pt x="5096" y="33563"/>
                    <a:pt x="4900" y="32828"/>
                    <a:pt x="4704" y="31848"/>
                  </a:cubicBezTo>
                  <a:cubicBezTo>
                    <a:pt x="2303" y="19991"/>
                    <a:pt x="833" y="9309"/>
                    <a:pt x="0" y="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233" name="Gráfico 2">
            <a:extLst>
              <a:ext uri="{FF2B5EF4-FFF2-40B4-BE49-F238E27FC236}">
                <a16:creationId xmlns:a16="http://schemas.microsoft.com/office/drawing/2014/main" id="{3A1F72CE-3BD3-C242-D5C1-854090AB95F8}"/>
              </a:ext>
            </a:extLst>
          </p:cNvPr>
          <p:cNvGrpSpPr/>
          <p:nvPr/>
        </p:nvGrpSpPr>
        <p:grpSpPr>
          <a:xfrm>
            <a:off x="772879" y="2622717"/>
            <a:ext cx="326915" cy="291132"/>
            <a:chOff x="772879" y="2622717"/>
            <a:chExt cx="326915" cy="291132"/>
          </a:xfrm>
          <a:noFill/>
        </p:grpSpPr>
        <p:sp>
          <p:nvSpPr>
            <p:cNvPr id="234" name="Forma livre: Forma 233">
              <a:extLst>
                <a:ext uri="{FF2B5EF4-FFF2-40B4-BE49-F238E27FC236}">
                  <a16:creationId xmlns:a16="http://schemas.microsoft.com/office/drawing/2014/main" id="{33D09646-E881-8378-F325-65FFDEC18B80}"/>
                </a:ext>
              </a:extLst>
            </p:cNvPr>
            <p:cNvSpPr/>
            <p:nvPr/>
          </p:nvSpPr>
          <p:spPr>
            <a:xfrm>
              <a:off x="878027" y="2622717"/>
              <a:ext cx="60714" cy="59858"/>
            </a:xfrm>
            <a:custGeom>
              <a:avLst/>
              <a:gdLst>
                <a:gd name="connsiteX0" fmla="*/ 43908 w 60714"/>
                <a:gd name="connsiteY0" fmla="*/ 43754 h 59858"/>
                <a:gd name="connsiteX1" fmla="*/ 7 w 60714"/>
                <a:gd name="connsiteY1" fmla="*/ 59825 h 59858"/>
                <a:gd name="connsiteX2" fmla="*/ 15490 w 60714"/>
                <a:gd name="connsiteY2" fmla="*/ 14846 h 59858"/>
                <a:gd name="connsiteX3" fmla="*/ 60714 w 60714"/>
                <a:gd name="connsiteY3" fmla="*/ 0 h 59858"/>
                <a:gd name="connsiteX4" fmla="*/ 43859 w 60714"/>
                <a:gd name="connsiteY4" fmla="*/ 43803 h 598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714" h="59858">
                  <a:moveTo>
                    <a:pt x="43908" y="43754"/>
                  </a:moveTo>
                  <a:cubicBezTo>
                    <a:pt x="29944" y="61344"/>
                    <a:pt x="7" y="59825"/>
                    <a:pt x="7" y="59825"/>
                  </a:cubicBezTo>
                  <a:cubicBezTo>
                    <a:pt x="7" y="59825"/>
                    <a:pt x="-826" y="26703"/>
                    <a:pt x="15490" y="14846"/>
                  </a:cubicBezTo>
                  <a:cubicBezTo>
                    <a:pt x="27837" y="5880"/>
                    <a:pt x="60714" y="0"/>
                    <a:pt x="60714" y="0"/>
                  </a:cubicBezTo>
                  <a:cubicBezTo>
                    <a:pt x="60714" y="0"/>
                    <a:pt x="53953" y="31015"/>
                    <a:pt x="43859" y="43803"/>
                  </a:cubicBez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35" name="Forma livre: Forma 234">
              <a:extLst>
                <a:ext uri="{FF2B5EF4-FFF2-40B4-BE49-F238E27FC236}">
                  <a16:creationId xmlns:a16="http://schemas.microsoft.com/office/drawing/2014/main" id="{B2FD075B-A07E-2522-D475-BBA4A648CF6A}"/>
                </a:ext>
              </a:extLst>
            </p:cNvPr>
            <p:cNvSpPr/>
            <p:nvPr/>
          </p:nvSpPr>
          <p:spPr>
            <a:xfrm>
              <a:off x="801109" y="2732324"/>
              <a:ext cx="24155" cy="31995"/>
            </a:xfrm>
            <a:custGeom>
              <a:avLst/>
              <a:gdLst>
                <a:gd name="connsiteX0" fmla="*/ 24156 w 24155"/>
                <a:gd name="connsiteY0" fmla="*/ 0 h 31995"/>
                <a:gd name="connsiteX1" fmla="*/ 0 w 24155"/>
                <a:gd name="connsiteY1" fmla="*/ 31995 h 319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4155" h="31995">
                  <a:moveTo>
                    <a:pt x="24156" y="0"/>
                  </a:moveTo>
                  <a:cubicBezTo>
                    <a:pt x="14454" y="3626"/>
                    <a:pt x="4753" y="12396"/>
                    <a:pt x="0" y="31995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36" name="Forma livre: Forma 235">
              <a:extLst>
                <a:ext uri="{FF2B5EF4-FFF2-40B4-BE49-F238E27FC236}">
                  <a16:creationId xmlns:a16="http://schemas.microsoft.com/office/drawing/2014/main" id="{DC568CE8-0EDD-2451-91B4-3F1A0D74D526}"/>
                </a:ext>
              </a:extLst>
            </p:cNvPr>
            <p:cNvSpPr/>
            <p:nvPr/>
          </p:nvSpPr>
          <p:spPr>
            <a:xfrm>
              <a:off x="772879" y="2703774"/>
              <a:ext cx="182129" cy="177318"/>
            </a:xfrm>
            <a:custGeom>
              <a:avLst/>
              <a:gdLst>
                <a:gd name="connsiteX0" fmla="*/ 182130 w 182129"/>
                <a:gd name="connsiteY0" fmla="*/ 8069 h 177318"/>
                <a:gd name="connsiteX1" fmla="*/ 134211 w 182129"/>
                <a:gd name="connsiteY1" fmla="*/ 3072 h 177318"/>
                <a:gd name="connsiteX2" fmla="*/ 105646 w 182129"/>
                <a:gd name="connsiteY2" fmla="*/ 6795 h 177318"/>
                <a:gd name="connsiteX3" fmla="*/ 103294 w 182129"/>
                <a:gd name="connsiteY3" fmla="*/ 6795 h 177318"/>
                <a:gd name="connsiteX4" fmla="*/ 74680 w 182129"/>
                <a:gd name="connsiteY4" fmla="*/ 3072 h 177318"/>
                <a:gd name="connsiteX5" fmla="*/ 1429 w 182129"/>
                <a:gd name="connsiteY5" fmla="*/ 49276 h 177318"/>
                <a:gd name="connsiteX6" fmla="*/ 42244 w 182129"/>
                <a:gd name="connsiteY6" fmla="*/ 167064 h 177318"/>
                <a:gd name="connsiteX7" fmla="*/ 83891 w 182129"/>
                <a:gd name="connsiteY7" fmla="*/ 173385 h 177318"/>
                <a:gd name="connsiteX8" fmla="*/ 104225 w 182129"/>
                <a:gd name="connsiteY8" fmla="*/ 168534 h 177318"/>
                <a:gd name="connsiteX9" fmla="*/ 104666 w 182129"/>
                <a:gd name="connsiteY9" fmla="*/ 168534 h 177318"/>
                <a:gd name="connsiteX10" fmla="*/ 124999 w 182129"/>
                <a:gd name="connsiteY10" fmla="*/ 173385 h 177318"/>
                <a:gd name="connsiteX11" fmla="*/ 137249 w 182129"/>
                <a:gd name="connsiteY11" fmla="*/ 176962 h 1773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82129" h="177318">
                  <a:moveTo>
                    <a:pt x="182130" y="8069"/>
                  </a:moveTo>
                  <a:cubicBezTo>
                    <a:pt x="160228" y="-6434"/>
                    <a:pt x="134211" y="3072"/>
                    <a:pt x="134211" y="3072"/>
                  </a:cubicBezTo>
                  <a:cubicBezTo>
                    <a:pt x="113387" y="6991"/>
                    <a:pt x="105646" y="6795"/>
                    <a:pt x="105646" y="6795"/>
                  </a:cubicBezTo>
                  <a:lnTo>
                    <a:pt x="103294" y="6795"/>
                  </a:lnTo>
                  <a:cubicBezTo>
                    <a:pt x="103294" y="6795"/>
                    <a:pt x="95503" y="6991"/>
                    <a:pt x="74680" y="3072"/>
                  </a:cubicBezTo>
                  <a:cubicBezTo>
                    <a:pt x="74680" y="3072"/>
                    <a:pt x="17696" y="-17801"/>
                    <a:pt x="1429" y="49276"/>
                  </a:cubicBezTo>
                  <a:cubicBezTo>
                    <a:pt x="1429" y="49276"/>
                    <a:pt x="-11800" y="118606"/>
                    <a:pt x="42244" y="167064"/>
                  </a:cubicBezTo>
                  <a:cubicBezTo>
                    <a:pt x="42244" y="167064"/>
                    <a:pt x="57727" y="185046"/>
                    <a:pt x="83891" y="173385"/>
                  </a:cubicBezTo>
                  <a:cubicBezTo>
                    <a:pt x="83891" y="173385"/>
                    <a:pt x="95993" y="168534"/>
                    <a:pt x="104225" y="168534"/>
                  </a:cubicBezTo>
                  <a:lnTo>
                    <a:pt x="104666" y="168534"/>
                  </a:lnTo>
                  <a:cubicBezTo>
                    <a:pt x="112897" y="168534"/>
                    <a:pt x="124999" y="173385"/>
                    <a:pt x="124999" y="173385"/>
                  </a:cubicBezTo>
                  <a:cubicBezTo>
                    <a:pt x="129409" y="175345"/>
                    <a:pt x="133476" y="176472"/>
                    <a:pt x="137249" y="176962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37" name="Forma livre: Forma 236">
              <a:extLst>
                <a:ext uri="{FF2B5EF4-FFF2-40B4-BE49-F238E27FC236}">
                  <a16:creationId xmlns:a16="http://schemas.microsoft.com/office/drawing/2014/main" id="{25F0D05E-43B5-DC26-7B58-FC5BD9553B08}"/>
                </a:ext>
              </a:extLst>
            </p:cNvPr>
            <p:cNvSpPr/>
            <p:nvPr/>
          </p:nvSpPr>
          <p:spPr>
            <a:xfrm>
              <a:off x="848391" y="2646775"/>
              <a:ext cx="29447" cy="34493"/>
            </a:xfrm>
            <a:custGeom>
              <a:avLst/>
              <a:gdLst>
                <a:gd name="connsiteX0" fmla="*/ 0 w 29447"/>
                <a:gd name="connsiteY0" fmla="*/ 0 h 34493"/>
                <a:gd name="connsiteX1" fmla="*/ 29447 w 29447"/>
                <a:gd name="connsiteY1" fmla="*/ 34494 h 344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9447" h="34493">
                  <a:moveTo>
                    <a:pt x="0" y="0"/>
                  </a:moveTo>
                  <a:cubicBezTo>
                    <a:pt x="0" y="0"/>
                    <a:pt x="17639" y="6027"/>
                    <a:pt x="29447" y="34494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38" name="Forma livre: Forma 237">
              <a:extLst>
                <a:ext uri="{FF2B5EF4-FFF2-40B4-BE49-F238E27FC236}">
                  <a16:creationId xmlns:a16="http://schemas.microsoft.com/office/drawing/2014/main" id="{D765F26E-E947-0988-C2B5-5D7A45F8E148}"/>
                </a:ext>
              </a:extLst>
            </p:cNvPr>
            <p:cNvSpPr/>
            <p:nvPr/>
          </p:nvSpPr>
          <p:spPr>
            <a:xfrm>
              <a:off x="1034433" y="2632419"/>
              <a:ext cx="7055" cy="42382"/>
            </a:xfrm>
            <a:custGeom>
              <a:avLst/>
              <a:gdLst>
                <a:gd name="connsiteX0" fmla="*/ 7056 w 7055"/>
                <a:gd name="connsiteY0" fmla="*/ 0 h 42382"/>
                <a:gd name="connsiteX1" fmla="*/ 0 w 7055"/>
                <a:gd name="connsiteY1" fmla="*/ 42382 h 423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055" h="42382">
                  <a:moveTo>
                    <a:pt x="7056" y="0"/>
                  </a:moveTo>
                  <a:lnTo>
                    <a:pt x="0" y="42382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39" name="Forma livre: Forma 238">
              <a:extLst>
                <a:ext uri="{FF2B5EF4-FFF2-40B4-BE49-F238E27FC236}">
                  <a16:creationId xmlns:a16="http://schemas.microsoft.com/office/drawing/2014/main" id="{4854B2FA-10BA-03BD-705D-0A88BC5567FC}"/>
                </a:ext>
              </a:extLst>
            </p:cNvPr>
            <p:cNvSpPr/>
            <p:nvPr/>
          </p:nvSpPr>
          <p:spPr>
            <a:xfrm>
              <a:off x="1072357" y="2663042"/>
              <a:ext cx="27438" cy="29104"/>
            </a:xfrm>
            <a:custGeom>
              <a:avLst/>
              <a:gdLst>
                <a:gd name="connsiteX0" fmla="*/ 27438 w 27438"/>
                <a:gd name="connsiteY0" fmla="*/ 0 h 29104"/>
                <a:gd name="connsiteX1" fmla="*/ 0 w 27438"/>
                <a:gd name="connsiteY1" fmla="*/ 29104 h 291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7438" h="29104">
                  <a:moveTo>
                    <a:pt x="27438" y="0"/>
                  </a:moveTo>
                  <a:lnTo>
                    <a:pt x="0" y="29104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40" name="Forma livre: Forma 239">
              <a:extLst>
                <a:ext uri="{FF2B5EF4-FFF2-40B4-BE49-F238E27FC236}">
                  <a16:creationId xmlns:a16="http://schemas.microsoft.com/office/drawing/2014/main" id="{EF537FB3-F11D-83E1-E822-19C9A88C6B35}"/>
                </a:ext>
              </a:extLst>
            </p:cNvPr>
            <p:cNvSpPr/>
            <p:nvPr/>
          </p:nvSpPr>
          <p:spPr>
            <a:xfrm>
              <a:off x="1053983" y="2626441"/>
              <a:ext cx="25968" cy="54484"/>
            </a:xfrm>
            <a:custGeom>
              <a:avLst/>
              <a:gdLst>
                <a:gd name="connsiteX0" fmla="*/ 0 w 25968"/>
                <a:gd name="connsiteY0" fmla="*/ 54485 h 54484"/>
                <a:gd name="connsiteX1" fmla="*/ 25968 w 25968"/>
                <a:gd name="connsiteY1" fmla="*/ 0 h 544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5968" h="54484">
                  <a:moveTo>
                    <a:pt x="0" y="54485"/>
                  </a:moveTo>
                  <a:lnTo>
                    <a:pt x="25968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41" name="Forma livre: Forma 240">
              <a:extLst>
                <a:ext uri="{FF2B5EF4-FFF2-40B4-BE49-F238E27FC236}">
                  <a16:creationId xmlns:a16="http://schemas.microsoft.com/office/drawing/2014/main" id="{FE0D5A3A-5027-BD35-C790-CCBBF8BF1496}"/>
                </a:ext>
              </a:extLst>
            </p:cNvPr>
            <p:cNvSpPr/>
            <p:nvPr/>
          </p:nvSpPr>
          <p:spPr>
            <a:xfrm>
              <a:off x="931930" y="2673973"/>
              <a:ext cx="165007" cy="239877"/>
            </a:xfrm>
            <a:custGeom>
              <a:avLst/>
              <a:gdLst>
                <a:gd name="connsiteX0" fmla="*/ 130578 w 165007"/>
                <a:gd name="connsiteY0" fmla="*/ 12147 h 239877"/>
                <a:gd name="connsiteX1" fmla="*/ 128128 w 165007"/>
                <a:gd name="connsiteY1" fmla="*/ 10824 h 239877"/>
                <a:gd name="connsiteX2" fmla="*/ 127981 w 165007"/>
                <a:gd name="connsiteY2" fmla="*/ 10726 h 239877"/>
                <a:gd name="connsiteX3" fmla="*/ 125531 w 165007"/>
                <a:gd name="connsiteY3" fmla="*/ 9403 h 239877"/>
                <a:gd name="connsiteX4" fmla="*/ 59973 w 165007"/>
                <a:gd name="connsiteY4" fmla="*/ 16753 h 239877"/>
                <a:gd name="connsiteX5" fmla="*/ 1 w 165007"/>
                <a:gd name="connsiteY5" fmla="*/ 227636 h 239877"/>
                <a:gd name="connsiteX6" fmla="*/ 5391 w 165007"/>
                <a:gd name="connsiteY6" fmla="*/ 238415 h 239877"/>
                <a:gd name="connsiteX7" fmla="*/ 5391 w 165007"/>
                <a:gd name="connsiteY7" fmla="*/ 238562 h 239877"/>
                <a:gd name="connsiteX8" fmla="*/ 5978 w 165007"/>
                <a:gd name="connsiteY8" fmla="*/ 238807 h 239877"/>
                <a:gd name="connsiteX9" fmla="*/ 6566 w 165007"/>
                <a:gd name="connsiteY9" fmla="*/ 239199 h 239877"/>
                <a:gd name="connsiteX10" fmla="*/ 6664 w 165007"/>
                <a:gd name="connsiteY10" fmla="*/ 239052 h 239877"/>
                <a:gd name="connsiteX11" fmla="*/ 18620 w 165007"/>
                <a:gd name="connsiteY11" fmla="*/ 237582 h 239877"/>
                <a:gd name="connsiteX12" fmla="*/ 160809 w 165007"/>
                <a:gd name="connsiteY12" fmla="*/ 70698 h 239877"/>
                <a:gd name="connsiteX13" fmla="*/ 130578 w 165007"/>
                <a:gd name="connsiteY13" fmla="*/ 12098 h 2398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65007" h="239877">
                  <a:moveTo>
                    <a:pt x="130578" y="12147"/>
                  </a:moveTo>
                  <a:lnTo>
                    <a:pt x="128128" y="10824"/>
                  </a:lnTo>
                  <a:lnTo>
                    <a:pt x="127981" y="10726"/>
                  </a:lnTo>
                  <a:lnTo>
                    <a:pt x="125531" y="9403"/>
                  </a:lnTo>
                  <a:cubicBezTo>
                    <a:pt x="125531" y="9403"/>
                    <a:pt x="75799" y="-16026"/>
                    <a:pt x="59973" y="16753"/>
                  </a:cubicBezTo>
                  <a:cubicBezTo>
                    <a:pt x="59973" y="16753"/>
                    <a:pt x="8379" y="132728"/>
                    <a:pt x="1" y="227636"/>
                  </a:cubicBezTo>
                  <a:cubicBezTo>
                    <a:pt x="1" y="227636"/>
                    <a:pt x="-195" y="234495"/>
                    <a:pt x="5391" y="238415"/>
                  </a:cubicBezTo>
                  <a:lnTo>
                    <a:pt x="5391" y="238562"/>
                  </a:lnTo>
                  <a:cubicBezTo>
                    <a:pt x="5391" y="238562"/>
                    <a:pt x="5733" y="238709"/>
                    <a:pt x="5978" y="238807"/>
                  </a:cubicBezTo>
                  <a:cubicBezTo>
                    <a:pt x="6174" y="238954"/>
                    <a:pt x="6321" y="239101"/>
                    <a:pt x="6566" y="239199"/>
                  </a:cubicBezTo>
                  <a:lnTo>
                    <a:pt x="6664" y="239052"/>
                  </a:lnTo>
                  <a:cubicBezTo>
                    <a:pt x="13034" y="241551"/>
                    <a:pt x="18620" y="237582"/>
                    <a:pt x="18620" y="237582"/>
                  </a:cubicBezTo>
                  <a:cubicBezTo>
                    <a:pt x="92948" y="177953"/>
                    <a:pt x="160809" y="70698"/>
                    <a:pt x="160809" y="70698"/>
                  </a:cubicBezTo>
                  <a:cubicBezTo>
                    <a:pt x="179330" y="39340"/>
                    <a:pt x="130578" y="12098"/>
                    <a:pt x="130578" y="12098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42" name="Forma livre: Forma 241">
              <a:extLst>
                <a:ext uri="{FF2B5EF4-FFF2-40B4-BE49-F238E27FC236}">
                  <a16:creationId xmlns:a16="http://schemas.microsoft.com/office/drawing/2014/main" id="{27A7A62E-4BBE-5A1E-DFA3-335D870F24D2}"/>
                </a:ext>
              </a:extLst>
            </p:cNvPr>
            <p:cNvSpPr/>
            <p:nvPr/>
          </p:nvSpPr>
          <p:spPr>
            <a:xfrm>
              <a:off x="1027034" y="2778675"/>
              <a:ext cx="34885" cy="10102"/>
            </a:xfrm>
            <a:custGeom>
              <a:avLst/>
              <a:gdLst>
                <a:gd name="connsiteX0" fmla="*/ 34886 w 34885"/>
                <a:gd name="connsiteY0" fmla="*/ 9946 h 10102"/>
                <a:gd name="connsiteX1" fmla="*/ 0 w 34885"/>
                <a:gd name="connsiteY1" fmla="*/ 0 h 101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4885" h="10102">
                  <a:moveTo>
                    <a:pt x="34886" y="9946"/>
                  </a:moveTo>
                  <a:cubicBezTo>
                    <a:pt x="34886" y="9946"/>
                    <a:pt x="18619" y="12151"/>
                    <a:pt x="0" y="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43" name="Forma livre: Forma 242">
              <a:extLst>
                <a:ext uri="{FF2B5EF4-FFF2-40B4-BE49-F238E27FC236}">
                  <a16:creationId xmlns:a16="http://schemas.microsoft.com/office/drawing/2014/main" id="{8266AD73-A0B5-5118-0EC5-67CB667C69AE}"/>
                </a:ext>
              </a:extLst>
            </p:cNvPr>
            <p:cNvSpPr/>
            <p:nvPr/>
          </p:nvSpPr>
          <p:spPr>
            <a:xfrm>
              <a:off x="963044" y="2767405"/>
              <a:ext cx="29790" cy="25429"/>
            </a:xfrm>
            <a:custGeom>
              <a:avLst/>
              <a:gdLst>
                <a:gd name="connsiteX0" fmla="*/ 0 w 29790"/>
                <a:gd name="connsiteY0" fmla="*/ 0 h 25429"/>
                <a:gd name="connsiteX1" fmla="*/ 29790 w 29790"/>
                <a:gd name="connsiteY1" fmla="*/ 25429 h 254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9790" h="25429">
                  <a:moveTo>
                    <a:pt x="0" y="0"/>
                  </a:moveTo>
                  <a:cubicBezTo>
                    <a:pt x="0" y="0"/>
                    <a:pt x="7742" y="15924"/>
                    <a:pt x="29790" y="25429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44" name="Forma livre: Forma 243">
              <a:extLst>
                <a:ext uri="{FF2B5EF4-FFF2-40B4-BE49-F238E27FC236}">
                  <a16:creationId xmlns:a16="http://schemas.microsoft.com/office/drawing/2014/main" id="{E0F01ACE-CE4A-D76E-7DA0-9599EC65E195}"/>
                </a:ext>
              </a:extLst>
            </p:cNvPr>
            <p:cNvSpPr/>
            <p:nvPr/>
          </p:nvSpPr>
          <p:spPr>
            <a:xfrm>
              <a:off x="978723" y="2723896"/>
              <a:ext cx="18569" cy="15777"/>
            </a:xfrm>
            <a:custGeom>
              <a:avLst/>
              <a:gdLst>
                <a:gd name="connsiteX0" fmla="*/ 0 w 18569"/>
                <a:gd name="connsiteY0" fmla="*/ 0 h 15777"/>
                <a:gd name="connsiteX1" fmla="*/ 18570 w 18569"/>
                <a:gd name="connsiteY1" fmla="*/ 15777 h 157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569" h="15777">
                  <a:moveTo>
                    <a:pt x="0" y="0"/>
                  </a:moveTo>
                  <a:cubicBezTo>
                    <a:pt x="0" y="0"/>
                    <a:pt x="4802" y="9897"/>
                    <a:pt x="18570" y="15777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45" name="Forma livre: Forma 244">
              <a:extLst>
                <a:ext uri="{FF2B5EF4-FFF2-40B4-BE49-F238E27FC236}">
                  <a16:creationId xmlns:a16="http://schemas.microsoft.com/office/drawing/2014/main" id="{6906E2CF-674E-B941-4235-989C14AF0083}"/>
                </a:ext>
              </a:extLst>
            </p:cNvPr>
            <p:cNvSpPr/>
            <p:nvPr/>
          </p:nvSpPr>
          <p:spPr>
            <a:xfrm>
              <a:off x="946189" y="2826104"/>
              <a:ext cx="19892" cy="16757"/>
            </a:xfrm>
            <a:custGeom>
              <a:avLst/>
              <a:gdLst>
                <a:gd name="connsiteX0" fmla="*/ 0 w 19892"/>
                <a:gd name="connsiteY0" fmla="*/ 0 h 16757"/>
                <a:gd name="connsiteX1" fmla="*/ 19893 w 19892"/>
                <a:gd name="connsiteY1" fmla="*/ 16757 h 167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9892" h="16757">
                  <a:moveTo>
                    <a:pt x="0" y="0"/>
                  </a:moveTo>
                  <a:cubicBezTo>
                    <a:pt x="0" y="0"/>
                    <a:pt x="6174" y="10877"/>
                    <a:pt x="19893" y="16757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46" name="Forma livre: Forma 245">
              <a:extLst>
                <a:ext uri="{FF2B5EF4-FFF2-40B4-BE49-F238E27FC236}">
                  <a16:creationId xmlns:a16="http://schemas.microsoft.com/office/drawing/2014/main" id="{96266A84-83F0-416C-800B-79D09D27ABBB}"/>
                </a:ext>
              </a:extLst>
            </p:cNvPr>
            <p:cNvSpPr/>
            <p:nvPr/>
          </p:nvSpPr>
          <p:spPr>
            <a:xfrm>
              <a:off x="1003075" y="2823556"/>
              <a:ext cx="26115" cy="7146"/>
            </a:xfrm>
            <a:custGeom>
              <a:avLst/>
              <a:gdLst>
                <a:gd name="connsiteX0" fmla="*/ 26115 w 26115"/>
                <a:gd name="connsiteY0" fmla="*/ 7104 h 7146"/>
                <a:gd name="connsiteX1" fmla="*/ 0 w 26115"/>
                <a:gd name="connsiteY1" fmla="*/ 0 h 71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6115" h="7146">
                  <a:moveTo>
                    <a:pt x="26115" y="7104"/>
                  </a:moveTo>
                  <a:cubicBezTo>
                    <a:pt x="26115" y="7104"/>
                    <a:pt x="12494" y="8134"/>
                    <a:pt x="0" y="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247" name="Gráfico 2">
            <a:extLst>
              <a:ext uri="{FF2B5EF4-FFF2-40B4-BE49-F238E27FC236}">
                <a16:creationId xmlns:a16="http://schemas.microsoft.com/office/drawing/2014/main" id="{43D9A2FF-DADC-A63B-323F-0F00646111D7}"/>
              </a:ext>
            </a:extLst>
          </p:cNvPr>
          <p:cNvGrpSpPr/>
          <p:nvPr/>
        </p:nvGrpSpPr>
        <p:grpSpPr>
          <a:xfrm>
            <a:off x="788272" y="3141048"/>
            <a:ext cx="296247" cy="333580"/>
            <a:chOff x="788272" y="3141048"/>
            <a:chExt cx="296247" cy="333580"/>
          </a:xfrm>
          <a:noFill/>
        </p:grpSpPr>
        <p:sp>
          <p:nvSpPr>
            <p:cNvPr id="248" name="Forma livre: Forma 247">
              <a:extLst>
                <a:ext uri="{FF2B5EF4-FFF2-40B4-BE49-F238E27FC236}">
                  <a16:creationId xmlns:a16="http://schemas.microsoft.com/office/drawing/2014/main" id="{5577ED1A-390B-478D-7E8B-A27B92951A07}"/>
                </a:ext>
              </a:extLst>
            </p:cNvPr>
            <p:cNvSpPr/>
            <p:nvPr/>
          </p:nvSpPr>
          <p:spPr>
            <a:xfrm>
              <a:off x="799639" y="3406081"/>
              <a:ext cx="256891" cy="50711"/>
            </a:xfrm>
            <a:custGeom>
              <a:avLst/>
              <a:gdLst>
                <a:gd name="connsiteX0" fmla="*/ 256891 w 256891"/>
                <a:gd name="connsiteY0" fmla="*/ 0 h 50711"/>
                <a:gd name="connsiteX1" fmla="*/ 256891 w 256891"/>
                <a:gd name="connsiteY1" fmla="*/ 18619 h 50711"/>
                <a:gd name="connsiteX2" fmla="*/ 224798 w 256891"/>
                <a:gd name="connsiteY2" fmla="*/ 50712 h 50711"/>
                <a:gd name="connsiteX3" fmla="*/ 32093 w 256891"/>
                <a:gd name="connsiteY3" fmla="*/ 50712 h 50711"/>
                <a:gd name="connsiteX4" fmla="*/ 0 w 256891"/>
                <a:gd name="connsiteY4" fmla="*/ 18619 h 50711"/>
                <a:gd name="connsiteX5" fmla="*/ 0 w 256891"/>
                <a:gd name="connsiteY5" fmla="*/ 0 h 507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56891" h="50711">
                  <a:moveTo>
                    <a:pt x="256891" y="0"/>
                  </a:moveTo>
                  <a:lnTo>
                    <a:pt x="256891" y="18619"/>
                  </a:lnTo>
                  <a:cubicBezTo>
                    <a:pt x="256891" y="36258"/>
                    <a:pt x="242437" y="50712"/>
                    <a:pt x="224798" y="50712"/>
                  </a:cubicBezTo>
                  <a:lnTo>
                    <a:pt x="32093" y="50712"/>
                  </a:lnTo>
                  <a:cubicBezTo>
                    <a:pt x="14454" y="50712"/>
                    <a:pt x="0" y="36258"/>
                    <a:pt x="0" y="18619"/>
                  </a:cubicBezTo>
                  <a:lnTo>
                    <a:pt x="0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49" name="Forma livre: Forma 248">
              <a:extLst>
                <a:ext uri="{FF2B5EF4-FFF2-40B4-BE49-F238E27FC236}">
                  <a16:creationId xmlns:a16="http://schemas.microsoft.com/office/drawing/2014/main" id="{9AB2AF4F-A30C-01CD-A7B6-255BC33DC2D4}"/>
                </a:ext>
              </a:extLst>
            </p:cNvPr>
            <p:cNvSpPr/>
            <p:nvPr/>
          </p:nvSpPr>
          <p:spPr>
            <a:xfrm>
              <a:off x="846873" y="3245910"/>
              <a:ext cx="126558" cy="108724"/>
            </a:xfrm>
            <a:custGeom>
              <a:avLst/>
              <a:gdLst>
                <a:gd name="connsiteX0" fmla="*/ 103580 w 126558"/>
                <a:gd name="connsiteY0" fmla="*/ 0 h 108724"/>
                <a:gd name="connsiteX1" fmla="*/ 114751 w 126558"/>
                <a:gd name="connsiteY1" fmla="*/ 52476 h 108724"/>
                <a:gd name="connsiteX2" fmla="*/ 62814 w 126558"/>
                <a:gd name="connsiteY2" fmla="*/ 52476 h 108724"/>
                <a:gd name="connsiteX3" fmla="*/ 4116 w 126558"/>
                <a:gd name="connsiteY3" fmla="*/ 97112 h 108724"/>
                <a:gd name="connsiteX4" fmla="*/ 0 w 126558"/>
                <a:gd name="connsiteY4" fmla="*/ 108724 h 1087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6558" h="108724">
                  <a:moveTo>
                    <a:pt x="103580" y="0"/>
                  </a:moveTo>
                  <a:cubicBezTo>
                    <a:pt x="103580" y="0"/>
                    <a:pt x="146746" y="52476"/>
                    <a:pt x="114751" y="52476"/>
                  </a:cubicBezTo>
                  <a:lnTo>
                    <a:pt x="62814" y="52476"/>
                  </a:lnTo>
                  <a:cubicBezTo>
                    <a:pt x="62814" y="52476"/>
                    <a:pt x="19697" y="48164"/>
                    <a:pt x="4116" y="97112"/>
                  </a:cubicBezTo>
                  <a:cubicBezTo>
                    <a:pt x="4116" y="97112"/>
                    <a:pt x="2205" y="102306"/>
                    <a:pt x="0" y="108724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50" name="Forma livre: Forma 249">
              <a:extLst>
                <a:ext uri="{FF2B5EF4-FFF2-40B4-BE49-F238E27FC236}">
                  <a16:creationId xmlns:a16="http://schemas.microsoft.com/office/drawing/2014/main" id="{C64F790E-DA49-6D95-C01F-89660302FB11}"/>
                </a:ext>
              </a:extLst>
            </p:cNvPr>
            <p:cNvSpPr/>
            <p:nvPr/>
          </p:nvSpPr>
          <p:spPr>
            <a:xfrm>
              <a:off x="952706" y="3241794"/>
              <a:ext cx="69771" cy="134692"/>
            </a:xfrm>
            <a:custGeom>
              <a:avLst/>
              <a:gdLst>
                <a:gd name="connsiteX0" fmla="*/ 30035 w 69771"/>
                <a:gd name="connsiteY0" fmla="*/ 0 h 134692"/>
                <a:gd name="connsiteX1" fmla="*/ 53358 w 69771"/>
                <a:gd name="connsiteY1" fmla="*/ 67959 h 134692"/>
                <a:gd name="connsiteX2" fmla="*/ 0 w 69771"/>
                <a:gd name="connsiteY2" fmla="*/ 101179 h 134692"/>
                <a:gd name="connsiteX3" fmla="*/ 63402 w 69771"/>
                <a:gd name="connsiteY3" fmla="*/ 116711 h 134692"/>
                <a:gd name="connsiteX4" fmla="*/ 69772 w 69771"/>
                <a:gd name="connsiteY4" fmla="*/ 134693 h 1346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9771" h="134692">
                  <a:moveTo>
                    <a:pt x="30035" y="0"/>
                  </a:moveTo>
                  <a:cubicBezTo>
                    <a:pt x="30035" y="0"/>
                    <a:pt x="63059" y="42578"/>
                    <a:pt x="53358" y="67959"/>
                  </a:cubicBezTo>
                  <a:cubicBezTo>
                    <a:pt x="53358" y="67959"/>
                    <a:pt x="42529" y="101179"/>
                    <a:pt x="0" y="101179"/>
                  </a:cubicBezTo>
                  <a:cubicBezTo>
                    <a:pt x="0" y="101179"/>
                    <a:pt x="54534" y="105050"/>
                    <a:pt x="63402" y="116711"/>
                  </a:cubicBezTo>
                  <a:cubicBezTo>
                    <a:pt x="69821" y="125089"/>
                    <a:pt x="66538" y="124697"/>
                    <a:pt x="69772" y="134693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51" name="Forma livre: Forma 250">
              <a:extLst>
                <a:ext uri="{FF2B5EF4-FFF2-40B4-BE49-F238E27FC236}">
                  <a16:creationId xmlns:a16="http://schemas.microsoft.com/office/drawing/2014/main" id="{C3AEAECB-A7F6-C5F9-5CB9-3EF95C6BDC9E}"/>
                </a:ext>
              </a:extLst>
            </p:cNvPr>
            <p:cNvSpPr/>
            <p:nvPr/>
          </p:nvSpPr>
          <p:spPr>
            <a:xfrm>
              <a:off x="789191" y="3141048"/>
              <a:ext cx="295328" cy="108492"/>
            </a:xfrm>
            <a:custGeom>
              <a:avLst/>
              <a:gdLst>
                <a:gd name="connsiteX0" fmla="*/ 295219 w 295328"/>
                <a:gd name="connsiteY0" fmla="*/ 53024 h 108492"/>
                <a:gd name="connsiteX1" fmla="*/ 249504 w 295328"/>
                <a:gd name="connsiteY1" fmla="*/ 30779 h 108492"/>
                <a:gd name="connsiteX2" fmla="*/ 235197 w 295328"/>
                <a:gd name="connsiteY2" fmla="*/ 32690 h 108492"/>
                <a:gd name="connsiteX3" fmla="*/ 195951 w 295328"/>
                <a:gd name="connsiteY3" fmla="*/ 12503 h 108492"/>
                <a:gd name="connsiteX4" fmla="*/ 163956 w 295328"/>
                <a:gd name="connsiteY4" fmla="*/ 26614 h 108492"/>
                <a:gd name="connsiteX5" fmla="*/ 118633 w 295328"/>
                <a:gd name="connsiteY5" fmla="*/ 58 h 108492"/>
                <a:gd name="connsiteX6" fmla="*/ 79191 w 295328"/>
                <a:gd name="connsiteY6" fmla="*/ 20931 h 108492"/>
                <a:gd name="connsiteX7" fmla="*/ 58465 w 295328"/>
                <a:gd name="connsiteY7" fmla="*/ 14757 h 108492"/>
                <a:gd name="connsiteX8" fmla="*/ 32203 w 295328"/>
                <a:gd name="connsiteY8" fmla="*/ 36463 h 108492"/>
                <a:gd name="connsiteX9" fmla="*/ 34555 w 295328"/>
                <a:gd name="connsiteY9" fmla="*/ 44155 h 108492"/>
                <a:gd name="connsiteX10" fmla="*/ 12 w 295328"/>
                <a:gd name="connsiteY10" fmla="*/ 69291 h 108492"/>
                <a:gd name="connsiteX11" fmla="*/ 45775 w 295328"/>
                <a:gd name="connsiteY11" fmla="*/ 91535 h 108492"/>
                <a:gd name="connsiteX12" fmla="*/ 48911 w 295328"/>
                <a:gd name="connsiteY12" fmla="*/ 91339 h 108492"/>
                <a:gd name="connsiteX13" fmla="*/ 78407 w 295328"/>
                <a:gd name="connsiteY13" fmla="*/ 105891 h 108492"/>
                <a:gd name="connsiteX14" fmla="*/ 105159 w 295328"/>
                <a:gd name="connsiteY14" fmla="*/ 91731 h 108492"/>
                <a:gd name="connsiteX15" fmla="*/ 142642 w 295328"/>
                <a:gd name="connsiteY15" fmla="*/ 108439 h 108492"/>
                <a:gd name="connsiteX16" fmla="*/ 179292 w 295328"/>
                <a:gd name="connsiteY16" fmla="*/ 86881 h 108492"/>
                <a:gd name="connsiteX17" fmla="*/ 217656 w 295328"/>
                <a:gd name="connsiteY17" fmla="*/ 105254 h 108492"/>
                <a:gd name="connsiteX18" fmla="*/ 255825 w 295328"/>
                <a:gd name="connsiteY18" fmla="*/ 78845 h 108492"/>
                <a:gd name="connsiteX19" fmla="*/ 295317 w 295328"/>
                <a:gd name="connsiteY19" fmla="*/ 53073 h 1084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295328" h="108492">
                  <a:moveTo>
                    <a:pt x="295219" y="53024"/>
                  </a:moveTo>
                  <a:cubicBezTo>
                    <a:pt x="294631" y="39696"/>
                    <a:pt x="274150" y="29701"/>
                    <a:pt x="249504" y="30779"/>
                  </a:cubicBezTo>
                  <a:cubicBezTo>
                    <a:pt x="244458" y="30975"/>
                    <a:pt x="239656" y="31661"/>
                    <a:pt x="235197" y="32690"/>
                  </a:cubicBezTo>
                  <a:cubicBezTo>
                    <a:pt x="229857" y="20294"/>
                    <a:pt x="214129" y="11719"/>
                    <a:pt x="195951" y="12503"/>
                  </a:cubicBezTo>
                  <a:cubicBezTo>
                    <a:pt x="182476" y="13091"/>
                    <a:pt x="170864" y="18628"/>
                    <a:pt x="163956" y="26614"/>
                  </a:cubicBezTo>
                  <a:cubicBezTo>
                    <a:pt x="159889" y="10641"/>
                    <a:pt x="140927" y="-922"/>
                    <a:pt x="118633" y="58"/>
                  </a:cubicBezTo>
                  <a:cubicBezTo>
                    <a:pt x="100897" y="793"/>
                    <a:pt x="85952" y="9269"/>
                    <a:pt x="79191" y="20931"/>
                  </a:cubicBezTo>
                  <a:cubicBezTo>
                    <a:pt x="74046" y="16815"/>
                    <a:pt x="66599" y="14414"/>
                    <a:pt x="58465" y="14757"/>
                  </a:cubicBezTo>
                  <a:cubicBezTo>
                    <a:pt x="43472" y="15394"/>
                    <a:pt x="31713" y="25095"/>
                    <a:pt x="32203" y="36463"/>
                  </a:cubicBezTo>
                  <a:cubicBezTo>
                    <a:pt x="32301" y="39206"/>
                    <a:pt x="33183" y="41803"/>
                    <a:pt x="34555" y="44155"/>
                  </a:cubicBezTo>
                  <a:cubicBezTo>
                    <a:pt x="14368" y="47291"/>
                    <a:pt x="-478" y="57678"/>
                    <a:pt x="12" y="69291"/>
                  </a:cubicBezTo>
                  <a:cubicBezTo>
                    <a:pt x="600" y="82618"/>
                    <a:pt x="21080" y="92613"/>
                    <a:pt x="45775" y="91535"/>
                  </a:cubicBezTo>
                  <a:cubicBezTo>
                    <a:pt x="46804" y="91535"/>
                    <a:pt x="47833" y="91388"/>
                    <a:pt x="48911" y="91339"/>
                  </a:cubicBezTo>
                  <a:cubicBezTo>
                    <a:pt x="53271" y="100355"/>
                    <a:pt x="64933" y="106479"/>
                    <a:pt x="78407" y="105891"/>
                  </a:cubicBezTo>
                  <a:cubicBezTo>
                    <a:pt x="90411" y="105352"/>
                    <a:pt x="100554" y="99620"/>
                    <a:pt x="105159" y="91731"/>
                  </a:cubicBezTo>
                  <a:cubicBezTo>
                    <a:pt x="111725" y="102217"/>
                    <a:pt x="126179" y="109174"/>
                    <a:pt x="142642" y="108439"/>
                  </a:cubicBezTo>
                  <a:cubicBezTo>
                    <a:pt x="159938" y="107704"/>
                    <a:pt x="174245" y="98738"/>
                    <a:pt x="179292" y="86881"/>
                  </a:cubicBezTo>
                  <a:cubicBezTo>
                    <a:pt x="185318" y="98297"/>
                    <a:pt x="200360" y="105989"/>
                    <a:pt x="217656" y="105254"/>
                  </a:cubicBezTo>
                  <a:cubicBezTo>
                    <a:pt x="237255" y="104421"/>
                    <a:pt x="253032" y="93054"/>
                    <a:pt x="255825" y="78845"/>
                  </a:cubicBezTo>
                  <a:cubicBezTo>
                    <a:pt x="278511" y="76738"/>
                    <a:pt x="295855" y="65665"/>
                    <a:pt x="295317" y="53073"/>
                  </a:cubicBez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52" name="Forma livre: Forma 251">
              <a:extLst>
                <a:ext uri="{FF2B5EF4-FFF2-40B4-BE49-F238E27FC236}">
                  <a16:creationId xmlns:a16="http://schemas.microsoft.com/office/drawing/2014/main" id="{9E1CDF38-D1EC-D939-E4DE-FB498D7F1429}"/>
                </a:ext>
              </a:extLst>
            </p:cNvPr>
            <p:cNvSpPr/>
            <p:nvPr/>
          </p:nvSpPr>
          <p:spPr>
            <a:xfrm>
              <a:off x="916889" y="3342973"/>
              <a:ext cx="42088" cy="4899"/>
            </a:xfrm>
            <a:custGeom>
              <a:avLst/>
              <a:gdLst>
                <a:gd name="connsiteX0" fmla="*/ 42088 w 42088"/>
                <a:gd name="connsiteY0" fmla="*/ 0 h 4899"/>
                <a:gd name="connsiteX1" fmla="*/ 0 w 42088"/>
                <a:gd name="connsiteY1" fmla="*/ 0 h 48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2088" h="4899">
                  <a:moveTo>
                    <a:pt x="42088" y="0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253" name="Gráfico 2">
              <a:extLst>
                <a:ext uri="{FF2B5EF4-FFF2-40B4-BE49-F238E27FC236}">
                  <a16:creationId xmlns:a16="http://schemas.microsoft.com/office/drawing/2014/main" id="{7CDCE82E-7E2D-B5E5-B242-41791702C2B8}"/>
                </a:ext>
              </a:extLst>
            </p:cNvPr>
            <p:cNvGrpSpPr/>
            <p:nvPr/>
          </p:nvGrpSpPr>
          <p:grpSpPr>
            <a:xfrm>
              <a:off x="848440" y="3457577"/>
              <a:ext cx="159240" cy="17050"/>
              <a:chOff x="848440" y="3457577"/>
              <a:chExt cx="159240" cy="17050"/>
            </a:xfrm>
          </p:grpSpPr>
          <p:sp>
            <p:nvSpPr>
              <p:cNvPr id="254" name="Forma livre: Forma 253">
                <a:extLst>
                  <a:ext uri="{FF2B5EF4-FFF2-40B4-BE49-F238E27FC236}">
                    <a16:creationId xmlns:a16="http://schemas.microsoft.com/office/drawing/2014/main" id="{2BD1862F-AB79-EBFB-D432-AC31F6679642}"/>
                  </a:ext>
                </a:extLst>
              </p:cNvPr>
              <p:cNvSpPr/>
              <p:nvPr/>
            </p:nvSpPr>
            <p:spPr>
              <a:xfrm>
                <a:off x="848440" y="3457577"/>
                <a:ext cx="4899" cy="17050"/>
              </a:xfrm>
              <a:custGeom>
                <a:avLst/>
                <a:gdLst>
                  <a:gd name="connsiteX0" fmla="*/ 0 w 4899"/>
                  <a:gd name="connsiteY0" fmla="*/ 17051 h 17050"/>
                  <a:gd name="connsiteX1" fmla="*/ 0 w 4899"/>
                  <a:gd name="connsiteY1" fmla="*/ 0 h 17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899" h="17050">
                    <a:moveTo>
                      <a:pt x="0" y="17051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55" name="Forma livre: Forma 254">
                <a:extLst>
                  <a:ext uri="{FF2B5EF4-FFF2-40B4-BE49-F238E27FC236}">
                    <a16:creationId xmlns:a16="http://schemas.microsoft.com/office/drawing/2014/main" id="{81423E71-C9D9-C705-FA8F-5F75DDBD172B}"/>
                  </a:ext>
                </a:extLst>
              </p:cNvPr>
              <p:cNvSpPr/>
              <p:nvPr/>
            </p:nvSpPr>
            <p:spPr>
              <a:xfrm>
                <a:off x="1007681" y="3457577"/>
                <a:ext cx="4899" cy="17050"/>
              </a:xfrm>
              <a:custGeom>
                <a:avLst/>
                <a:gdLst>
                  <a:gd name="connsiteX0" fmla="*/ 0 w 4899"/>
                  <a:gd name="connsiteY0" fmla="*/ 17051 h 17050"/>
                  <a:gd name="connsiteX1" fmla="*/ 0 w 4899"/>
                  <a:gd name="connsiteY1" fmla="*/ 0 h 17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899" h="17050">
                    <a:moveTo>
                      <a:pt x="0" y="17051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256" name="Forma livre: Forma 255">
              <a:extLst>
                <a:ext uri="{FF2B5EF4-FFF2-40B4-BE49-F238E27FC236}">
                  <a16:creationId xmlns:a16="http://schemas.microsoft.com/office/drawing/2014/main" id="{4FD5CCFD-7794-D2BC-BE29-B81CD14582AE}"/>
                </a:ext>
              </a:extLst>
            </p:cNvPr>
            <p:cNvSpPr/>
            <p:nvPr/>
          </p:nvSpPr>
          <p:spPr>
            <a:xfrm>
              <a:off x="788272" y="3377712"/>
              <a:ext cx="279625" cy="27634"/>
            </a:xfrm>
            <a:custGeom>
              <a:avLst/>
              <a:gdLst>
                <a:gd name="connsiteX0" fmla="*/ 44538 w 279625"/>
                <a:gd name="connsiteY0" fmla="*/ 27634 h 27634"/>
                <a:gd name="connsiteX1" fmla="*/ 0 w 279625"/>
                <a:gd name="connsiteY1" fmla="*/ 27634 h 27634"/>
                <a:gd name="connsiteX2" fmla="*/ 0 w 279625"/>
                <a:gd name="connsiteY2" fmla="*/ 0 h 27634"/>
                <a:gd name="connsiteX3" fmla="*/ 279626 w 279625"/>
                <a:gd name="connsiteY3" fmla="*/ 0 h 27634"/>
                <a:gd name="connsiteX4" fmla="*/ 279626 w 279625"/>
                <a:gd name="connsiteY4" fmla="*/ 27634 h 27634"/>
                <a:gd name="connsiteX5" fmla="*/ 195204 w 279625"/>
                <a:gd name="connsiteY5" fmla="*/ 27634 h 276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79625" h="27634">
                  <a:moveTo>
                    <a:pt x="44538" y="27634"/>
                  </a:moveTo>
                  <a:lnTo>
                    <a:pt x="0" y="27634"/>
                  </a:lnTo>
                  <a:lnTo>
                    <a:pt x="0" y="0"/>
                  </a:lnTo>
                  <a:lnTo>
                    <a:pt x="279626" y="0"/>
                  </a:lnTo>
                  <a:lnTo>
                    <a:pt x="279626" y="27634"/>
                  </a:lnTo>
                  <a:lnTo>
                    <a:pt x="195204" y="27634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257" name="Gráfico 2">
            <a:extLst>
              <a:ext uri="{FF2B5EF4-FFF2-40B4-BE49-F238E27FC236}">
                <a16:creationId xmlns:a16="http://schemas.microsoft.com/office/drawing/2014/main" id="{648C095A-1932-0A6B-9501-51C918A1B2BA}"/>
              </a:ext>
            </a:extLst>
          </p:cNvPr>
          <p:cNvGrpSpPr/>
          <p:nvPr/>
        </p:nvGrpSpPr>
        <p:grpSpPr>
          <a:xfrm>
            <a:off x="780139" y="989648"/>
            <a:ext cx="312404" cy="320293"/>
            <a:chOff x="780139" y="989648"/>
            <a:chExt cx="312404" cy="320293"/>
          </a:xfrm>
        </p:grpSpPr>
        <p:sp>
          <p:nvSpPr>
            <p:cNvPr id="258" name="Forma livre: Forma 257">
              <a:extLst>
                <a:ext uri="{FF2B5EF4-FFF2-40B4-BE49-F238E27FC236}">
                  <a16:creationId xmlns:a16="http://schemas.microsoft.com/office/drawing/2014/main" id="{54614CA5-0AFF-0588-301B-7DDA9F3BDE06}"/>
                </a:ext>
              </a:extLst>
            </p:cNvPr>
            <p:cNvSpPr/>
            <p:nvPr/>
          </p:nvSpPr>
          <p:spPr>
            <a:xfrm>
              <a:off x="780139" y="1270548"/>
              <a:ext cx="230971" cy="39393"/>
            </a:xfrm>
            <a:custGeom>
              <a:avLst/>
              <a:gdLst>
                <a:gd name="connsiteX0" fmla="*/ 211275 w 230971"/>
                <a:gd name="connsiteY0" fmla="*/ 39394 h 39393"/>
                <a:gd name="connsiteX1" fmla="*/ 19697 w 230971"/>
                <a:gd name="connsiteY1" fmla="*/ 39394 h 39393"/>
                <a:gd name="connsiteX2" fmla="*/ 0 w 230971"/>
                <a:gd name="connsiteY2" fmla="*/ 19697 h 39393"/>
                <a:gd name="connsiteX3" fmla="*/ 19697 w 230971"/>
                <a:gd name="connsiteY3" fmla="*/ 0 h 39393"/>
                <a:gd name="connsiteX4" fmla="*/ 211275 w 230971"/>
                <a:gd name="connsiteY4" fmla="*/ 0 h 39393"/>
                <a:gd name="connsiteX5" fmla="*/ 230972 w 230971"/>
                <a:gd name="connsiteY5" fmla="*/ 19697 h 39393"/>
                <a:gd name="connsiteX6" fmla="*/ 211275 w 230971"/>
                <a:gd name="connsiteY6" fmla="*/ 39394 h 393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30971" h="39393">
                  <a:moveTo>
                    <a:pt x="211275" y="39394"/>
                  </a:moveTo>
                  <a:lnTo>
                    <a:pt x="19697" y="39394"/>
                  </a:lnTo>
                  <a:cubicBezTo>
                    <a:pt x="8819" y="39394"/>
                    <a:pt x="0" y="30574"/>
                    <a:pt x="0" y="19697"/>
                  </a:cubicBezTo>
                  <a:cubicBezTo>
                    <a:pt x="0" y="8819"/>
                    <a:pt x="8819" y="0"/>
                    <a:pt x="19697" y="0"/>
                  </a:cubicBezTo>
                  <a:lnTo>
                    <a:pt x="211275" y="0"/>
                  </a:lnTo>
                  <a:cubicBezTo>
                    <a:pt x="222152" y="0"/>
                    <a:pt x="230972" y="8819"/>
                    <a:pt x="230972" y="19697"/>
                  </a:cubicBezTo>
                  <a:cubicBezTo>
                    <a:pt x="230972" y="30574"/>
                    <a:pt x="222152" y="39394"/>
                    <a:pt x="211275" y="39394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59" name="Forma livre: Forma 258">
              <a:extLst>
                <a:ext uri="{FF2B5EF4-FFF2-40B4-BE49-F238E27FC236}">
                  <a16:creationId xmlns:a16="http://schemas.microsoft.com/office/drawing/2014/main" id="{813F330F-4913-00BC-8FE0-91CF5F1B3367}"/>
                </a:ext>
              </a:extLst>
            </p:cNvPr>
            <p:cNvSpPr/>
            <p:nvPr/>
          </p:nvSpPr>
          <p:spPr>
            <a:xfrm>
              <a:off x="780139" y="1231154"/>
              <a:ext cx="230971" cy="39393"/>
            </a:xfrm>
            <a:custGeom>
              <a:avLst/>
              <a:gdLst>
                <a:gd name="connsiteX0" fmla="*/ 19697 w 230971"/>
                <a:gd name="connsiteY0" fmla="*/ 39394 h 39393"/>
                <a:gd name="connsiteX1" fmla="*/ 0 w 230971"/>
                <a:gd name="connsiteY1" fmla="*/ 19697 h 39393"/>
                <a:gd name="connsiteX2" fmla="*/ 19697 w 230971"/>
                <a:gd name="connsiteY2" fmla="*/ 0 h 39393"/>
                <a:gd name="connsiteX3" fmla="*/ 211275 w 230971"/>
                <a:gd name="connsiteY3" fmla="*/ 0 h 39393"/>
                <a:gd name="connsiteX4" fmla="*/ 230972 w 230971"/>
                <a:gd name="connsiteY4" fmla="*/ 19697 h 39393"/>
                <a:gd name="connsiteX5" fmla="*/ 211275 w 230971"/>
                <a:gd name="connsiteY5" fmla="*/ 39394 h 393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30971" h="39393">
                  <a:moveTo>
                    <a:pt x="19697" y="39394"/>
                  </a:moveTo>
                  <a:cubicBezTo>
                    <a:pt x="8819" y="39394"/>
                    <a:pt x="0" y="30574"/>
                    <a:pt x="0" y="19697"/>
                  </a:cubicBezTo>
                  <a:cubicBezTo>
                    <a:pt x="0" y="8819"/>
                    <a:pt x="8819" y="0"/>
                    <a:pt x="19697" y="0"/>
                  </a:cubicBezTo>
                  <a:lnTo>
                    <a:pt x="211275" y="0"/>
                  </a:lnTo>
                  <a:cubicBezTo>
                    <a:pt x="222152" y="0"/>
                    <a:pt x="230972" y="8819"/>
                    <a:pt x="230972" y="19697"/>
                  </a:cubicBezTo>
                  <a:cubicBezTo>
                    <a:pt x="230972" y="30574"/>
                    <a:pt x="222152" y="39394"/>
                    <a:pt x="211275" y="39394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260" name="Gráfico 2">
              <a:extLst>
                <a:ext uri="{FF2B5EF4-FFF2-40B4-BE49-F238E27FC236}">
                  <a16:creationId xmlns:a16="http://schemas.microsoft.com/office/drawing/2014/main" id="{1FC8FFC9-31DF-33E1-2A30-B6934F88D909}"/>
                </a:ext>
              </a:extLst>
            </p:cNvPr>
            <p:cNvGrpSpPr/>
            <p:nvPr/>
          </p:nvGrpSpPr>
          <p:grpSpPr>
            <a:xfrm>
              <a:off x="800452" y="1076716"/>
              <a:ext cx="99582" cy="131556"/>
              <a:chOff x="800452" y="1076716"/>
              <a:chExt cx="99582" cy="131556"/>
            </a:xfrm>
            <a:noFill/>
          </p:grpSpPr>
          <p:sp>
            <p:nvSpPr>
              <p:cNvPr id="261" name="Forma livre: Forma 260">
                <a:extLst>
                  <a:ext uri="{FF2B5EF4-FFF2-40B4-BE49-F238E27FC236}">
                    <a16:creationId xmlns:a16="http://schemas.microsoft.com/office/drawing/2014/main" id="{D1994451-26AD-B30C-336B-5DCAD9115205}"/>
                  </a:ext>
                </a:extLst>
              </p:cNvPr>
              <p:cNvSpPr/>
              <p:nvPr/>
            </p:nvSpPr>
            <p:spPr>
              <a:xfrm>
                <a:off x="800452" y="1076716"/>
                <a:ext cx="68224" cy="131556"/>
              </a:xfrm>
              <a:custGeom>
                <a:avLst/>
                <a:gdLst>
                  <a:gd name="connsiteX0" fmla="*/ 68225 w 68224"/>
                  <a:gd name="connsiteY0" fmla="*/ 0 h 131556"/>
                  <a:gd name="connsiteX1" fmla="*/ 315 w 68224"/>
                  <a:gd name="connsiteY1" fmla="*/ 62373 h 131556"/>
                  <a:gd name="connsiteX2" fmla="*/ 21482 w 68224"/>
                  <a:gd name="connsiteY2" fmla="*/ 131557 h 1315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68224" h="131556">
                    <a:moveTo>
                      <a:pt x="68225" y="0"/>
                    </a:moveTo>
                    <a:cubicBezTo>
                      <a:pt x="34417" y="14062"/>
                      <a:pt x="3892" y="36601"/>
                      <a:pt x="315" y="62373"/>
                    </a:cubicBezTo>
                    <a:cubicBezTo>
                      <a:pt x="-2135" y="80110"/>
                      <a:pt x="10163" y="110439"/>
                      <a:pt x="21482" y="131557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62" name="Forma livre: Forma 261">
                <a:extLst>
                  <a:ext uri="{FF2B5EF4-FFF2-40B4-BE49-F238E27FC236}">
                    <a16:creationId xmlns:a16="http://schemas.microsoft.com/office/drawing/2014/main" id="{0A25F5D3-6CEA-A166-B74C-A3456CA0C803}"/>
                  </a:ext>
                </a:extLst>
              </p:cNvPr>
              <p:cNvSpPr/>
              <p:nvPr/>
            </p:nvSpPr>
            <p:spPr>
              <a:xfrm>
                <a:off x="839075" y="1103419"/>
                <a:ext cx="60959" cy="104706"/>
              </a:xfrm>
              <a:custGeom>
                <a:avLst/>
                <a:gdLst>
                  <a:gd name="connsiteX0" fmla="*/ 26661 w 60959"/>
                  <a:gd name="connsiteY0" fmla="*/ 104707 h 104706"/>
                  <a:gd name="connsiteX1" fmla="*/ 301 w 60959"/>
                  <a:gd name="connsiteY1" fmla="*/ 42823 h 104706"/>
                  <a:gd name="connsiteX2" fmla="*/ 60959 w 60959"/>
                  <a:gd name="connsiteY2" fmla="*/ 0 h 1047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60959" h="104706">
                    <a:moveTo>
                      <a:pt x="26661" y="104707"/>
                    </a:moveTo>
                    <a:cubicBezTo>
                      <a:pt x="12942" y="85157"/>
                      <a:pt x="-2345" y="56445"/>
                      <a:pt x="301" y="42823"/>
                    </a:cubicBezTo>
                    <a:cubicBezTo>
                      <a:pt x="3437" y="26507"/>
                      <a:pt x="23869" y="14846"/>
                      <a:pt x="60959" y="0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263" name="Forma livre: Forma 262">
              <a:extLst>
                <a:ext uri="{FF2B5EF4-FFF2-40B4-BE49-F238E27FC236}">
                  <a16:creationId xmlns:a16="http://schemas.microsoft.com/office/drawing/2014/main" id="{6343887F-410B-4647-32E6-A666235A2A46}"/>
                </a:ext>
              </a:extLst>
            </p:cNvPr>
            <p:cNvSpPr/>
            <p:nvPr/>
          </p:nvSpPr>
          <p:spPr>
            <a:xfrm>
              <a:off x="885919" y="1039719"/>
              <a:ext cx="105274" cy="74724"/>
            </a:xfrm>
            <a:custGeom>
              <a:avLst/>
              <a:gdLst>
                <a:gd name="connsiteX0" fmla="*/ 98880 w 105274"/>
                <a:gd name="connsiteY0" fmla="*/ 3189 h 74724"/>
                <a:gd name="connsiteX1" fmla="*/ 93050 w 105274"/>
                <a:gd name="connsiteY1" fmla="*/ 249 h 74724"/>
                <a:gd name="connsiteX2" fmla="*/ 43024 w 105274"/>
                <a:gd name="connsiteY2" fmla="*/ 12107 h 74724"/>
                <a:gd name="connsiteX3" fmla="*/ 37095 w 105274"/>
                <a:gd name="connsiteY3" fmla="*/ 9167 h 74724"/>
                <a:gd name="connsiteX4" fmla="*/ 35086 w 105274"/>
                <a:gd name="connsiteY4" fmla="*/ 3336 h 74724"/>
                <a:gd name="connsiteX5" fmla="*/ 29158 w 105274"/>
                <a:gd name="connsiteY5" fmla="*/ 396 h 74724"/>
                <a:gd name="connsiteX6" fmla="*/ 3189 w 105274"/>
                <a:gd name="connsiteY6" fmla="*/ 8677 h 74724"/>
                <a:gd name="connsiteX7" fmla="*/ 249 w 105274"/>
                <a:gd name="connsiteY7" fmla="*/ 14507 h 74724"/>
                <a:gd name="connsiteX8" fmla="*/ 18721 w 105274"/>
                <a:gd name="connsiteY8" fmla="*/ 71540 h 74724"/>
                <a:gd name="connsiteX9" fmla="*/ 24552 w 105274"/>
                <a:gd name="connsiteY9" fmla="*/ 74480 h 74724"/>
                <a:gd name="connsiteX10" fmla="*/ 50667 w 105274"/>
                <a:gd name="connsiteY10" fmla="*/ 66150 h 74724"/>
                <a:gd name="connsiteX11" fmla="*/ 53705 w 105274"/>
                <a:gd name="connsiteY11" fmla="*/ 60271 h 74724"/>
                <a:gd name="connsiteX12" fmla="*/ 51549 w 105274"/>
                <a:gd name="connsiteY12" fmla="*/ 53509 h 74724"/>
                <a:gd name="connsiteX13" fmla="*/ 54587 w 105274"/>
                <a:gd name="connsiteY13" fmla="*/ 47629 h 74724"/>
                <a:gd name="connsiteX14" fmla="*/ 102065 w 105274"/>
                <a:gd name="connsiteY14" fmla="*/ 27835 h 74724"/>
                <a:gd name="connsiteX15" fmla="*/ 105054 w 105274"/>
                <a:gd name="connsiteY15" fmla="*/ 22004 h 74724"/>
                <a:gd name="connsiteX16" fmla="*/ 98880 w 105274"/>
                <a:gd name="connsiteY16" fmla="*/ 3189 h 747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05274" h="74724">
                  <a:moveTo>
                    <a:pt x="98880" y="3189"/>
                  </a:moveTo>
                  <a:cubicBezTo>
                    <a:pt x="98096" y="739"/>
                    <a:pt x="95450" y="-584"/>
                    <a:pt x="93050" y="249"/>
                  </a:cubicBezTo>
                  <a:lnTo>
                    <a:pt x="43024" y="12107"/>
                  </a:lnTo>
                  <a:cubicBezTo>
                    <a:pt x="40623" y="12891"/>
                    <a:pt x="37928" y="11568"/>
                    <a:pt x="37095" y="9167"/>
                  </a:cubicBezTo>
                  <a:lnTo>
                    <a:pt x="35086" y="3336"/>
                  </a:lnTo>
                  <a:cubicBezTo>
                    <a:pt x="34253" y="935"/>
                    <a:pt x="31607" y="-388"/>
                    <a:pt x="29158" y="396"/>
                  </a:cubicBezTo>
                  <a:lnTo>
                    <a:pt x="3189" y="8677"/>
                  </a:lnTo>
                  <a:cubicBezTo>
                    <a:pt x="739" y="9461"/>
                    <a:pt x="-584" y="12107"/>
                    <a:pt x="249" y="14507"/>
                  </a:cubicBezTo>
                  <a:lnTo>
                    <a:pt x="18721" y="71540"/>
                  </a:lnTo>
                  <a:cubicBezTo>
                    <a:pt x="19505" y="73941"/>
                    <a:pt x="22151" y="75313"/>
                    <a:pt x="24552" y="74480"/>
                  </a:cubicBezTo>
                  <a:lnTo>
                    <a:pt x="50667" y="66150"/>
                  </a:lnTo>
                  <a:cubicBezTo>
                    <a:pt x="53068" y="65366"/>
                    <a:pt x="54440" y="62720"/>
                    <a:pt x="53705" y="60271"/>
                  </a:cubicBezTo>
                  <a:lnTo>
                    <a:pt x="51549" y="53509"/>
                  </a:lnTo>
                  <a:cubicBezTo>
                    <a:pt x="50765" y="51059"/>
                    <a:pt x="52137" y="48413"/>
                    <a:pt x="54587" y="47629"/>
                  </a:cubicBezTo>
                  <a:lnTo>
                    <a:pt x="102065" y="27835"/>
                  </a:lnTo>
                  <a:cubicBezTo>
                    <a:pt x="104466" y="27051"/>
                    <a:pt x="105838" y="24405"/>
                    <a:pt x="105054" y="22004"/>
                  </a:cubicBezTo>
                  <a:lnTo>
                    <a:pt x="98880" y="3189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64" name="Forma livre: Forma 263">
              <a:extLst>
                <a:ext uri="{FF2B5EF4-FFF2-40B4-BE49-F238E27FC236}">
                  <a16:creationId xmlns:a16="http://schemas.microsoft.com/office/drawing/2014/main" id="{6A59CA70-6410-7772-7F2D-DAB279E9F456}"/>
                </a:ext>
              </a:extLst>
            </p:cNvPr>
            <p:cNvSpPr/>
            <p:nvPr/>
          </p:nvSpPr>
          <p:spPr>
            <a:xfrm>
              <a:off x="1015471" y="1038498"/>
              <a:ext cx="7643" cy="7643"/>
            </a:xfrm>
            <a:custGeom>
              <a:avLst/>
              <a:gdLst>
                <a:gd name="connsiteX0" fmla="*/ 7644 w 7643"/>
                <a:gd name="connsiteY0" fmla="*/ 3822 h 7643"/>
                <a:gd name="connsiteX1" fmla="*/ 3822 w 7643"/>
                <a:gd name="connsiteY1" fmla="*/ 7644 h 7643"/>
                <a:gd name="connsiteX2" fmla="*/ 0 w 7643"/>
                <a:gd name="connsiteY2" fmla="*/ 3822 h 7643"/>
                <a:gd name="connsiteX3" fmla="*/ 3822 w 7643"/>
                <a:gd name="connsiteY3" fmla="*/ 0 h 7643"/>
                <a:gd name="connsiteX4" fmla="*/ 7644 w 7643"/>
                <a:gd name="connsiteY4" fmla="*/ 3822 h 76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43" h="7643">
                  <a:moveTo>
                    <a:pt x="7644" y="3822"/>
                  </a:moveTo>
                  <a:cubicBezTo>
                    <a:pt x="7644" y="5929"/>
                    <a:pt x="5929" y="7644"/>
                    <a:pt x="3822" y="7644"/>
                  </a:cubicBezTo>
                  <a:cubicBezTo>
                    <a:pt x="1715" y="7644"/>
                    <a:pt x="0" y="5929"/>
                    <a:pt x="0" y="3822"/>
                  </a:cubicBezTo>
                  <a:cubicBezTo>
                    <a:pt x="0" y="1715"/>
                    <a:pt x="1715" y="0"/>
                    <a:pt x="3822" y="0"/>
                  </a:cubicBezTo>
                  <a:cubicBezTo>
                    <a:pt x="5929" y="0"/>
                    <a:pt x="7644" y="1715"/>
                    <a:pt x="7644" y="3822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65" name="Forma livre: Forma 264">
              <a:extLst>
                <a:ext uri="{FF2B5EF4-FFF2-40B4-BE49-F238E27FC236}">
                  <a16:creationId xmlns:a16="http://schemas.microsoft.com/office/drawing/2014/main" id="{75B49D9E-1C33-0E03-8B1D-10D21D1250BE}"/>
                </a:ext>
              </a:extLst>
            </p:cNvPr>
            <p:cNvSpPr/>
            <p:nvPr/>
          </p:nvSpPr>
          <p:spPr>
            <a:xfrm>
              <a:off x="1040215" y="1013902"/>
              <a:ext cx="7643" cy="7643"/>
            </a:xfrm>
            <a:custGeom>
              <a:avLst/>
              <a:gdLst>
                <a:gd name="connsiteX0" fmla="*/ 7644 w 7643"/>
                <a:gd name="connsiteY0" fmla="*/ 3822 h 7643"/>
                <a:gd name="connsiteX1" fmla="*/ 3822 w 7643"/>
                <a:gd name="connsiteY1" fmla="*/ 7644 h 7643"/>
                <a:gd name="connsiteX2" fmla="*/ 0 w 7643"/>
                <a:gd name="connsiteY2" fmla="*/ 3822 h 7643"/>
                <a:gd name="connsiteX3" fmla="*/ 3822 w 7643"/>
                <a:gd name="connsiteY3" fmla="*/ 0 h 7643"/>
                <a:gd name="connsiteX4" fmla="*/ 7644 w 7643"/>
                <a:gd name="connsiteY4" fmla="*/ 3822 h 76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43" h="7643">
                  <a:moveTo>
                    <a:pt x="7644" y="3822"/>
                  </a:moveTo>
                  <a:cubicBezTo>
                    <a:pt x="7644" y="5929"/>
                    <a:pt x="5929" y="7644"/>
                    <a:pt x="3822" y="7644"/>
                  </a:cubicBezTo>
                  <a:cubicBezTo>
                    <a:pt x="1715" y="7644"/>
                    <a:pt x="0" y="5929"/>
                    <a:pt x="0" y="3822"/>
                  </a:cubicBezTo>
                  <a:cubicBezTo>
                    <a:pt x="0" y="1715"/>
                    <a:pt x="1715" y="0"/>
                    <a:pt x="3822" y="0"/>
                  </a:cubicBezTo>
                  <a:cubicBezTo>
                    <a:pt x="5929" y="0"/>
                    <a:pt x="7644" y="1715"/>
                    <a:pt x="7644" y="3822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66" name="Forma livre: Forma 265">
              <a:extLst>
                <a:ext uri="{FF2B5EF4-FFF2-40B4-BE49-F238E27FC236}">
                  <a16:creationId xmlns:a16="http://schemas.microsoft.com/office/drawing/2014/main" id="{2C83C8E4-072E-08EC-C206-AFAFA481AEF6}"/>
                </a:ext>
              </a:extLst>
            </p:cNvPr>
            <p:cNvSpPr/>
            <p:nvPr/>
          </p:nvSpPr>
          <p:spPr>
            <a:xfrm>
              <a:off x="1065056" y="989648"/>
              <a:ext cx="7643" cy="7643"/>
            </a:xfrm>
            <a:custGeom>
              <a:avLst/>
              <a:gdLst>
                <a:gd name="connsiteX0" fmla="*/ 7644 w 7643"/>
                <a:gd name="connsiteY0" fmla="*/ 3822 h 7643"/>
                <a:gd name="connsiteX1" fmla="*/ 3822 w 7643"/>
                <a:gd name="connsiteY1" fmla="*/ 7644 h 7643"/>
                <a:gd name="connsiteX2" fmla="*/ 0 w 7643"/>
                <a:gd name="connsiteY2" fmla="*/ 3822 h 7643"/>
                <a:gd name="connsiteX3" fmla="*/ 3822 w 7643"/>
                <a:gd name="connsiteY3" fmla="*/ 0 h 7643"/>
                <a:gd name="connsiteX4" fmla="*/ 7644 w 7643"/>
                <a:gd name="connsiteY4" fmla="*/ 3822 h 76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43" h="7643">
                  <a:moveTo>
                    <a:pt x="7644" y="3822"/>
                  </a:moveTo>
                  <a:cubicBezTo>
                    <a:pt x="7644" y="5929"/>
                    <a:pt x="5929" y="7644"/>
                    <a:pt x="3822" y="7644"/>
                  </a:cubicBezTo>
                  <a:cubicBezTo>
                    <a:pt x="1715" y="7644"/>
                    <a:pt x="0" y="5929"/>
                    <a:pt x="0" y="3822"/>
                  </a:cubicBezTo>
                  <a:cubicBezTo>
                    <a:pt x="0" y="1715"/>
                    <a:pt x="1715" y="0"/>
                    <a:pt x="3822" y="0"/>
                  </a:cubicBezTo>
                  <a:cubicBezTo>
                    <a:pt x="5929" y="0"/>
                    <a:pt x="7644" y="1715"/>
                    <a:pt x="7644" y="3822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67" name="Forma livre: Forma 266">
              <a:extLst>
                <a:ext uri="{FF2B5EF4-FFF2-40B4-BE49-F238E27FC236}">
                  <a16:creationId xmlns:a16="http://schemas.microsoft.com/office/drawing/2014/main" id="{C12F0D06-E106-B398-BD69-FBD36CEFE033}"/>
                </a:ext>
              </a:extLst>
            </p:cNvPr>
            <p:cNvSpPr/>
            <p:nvPr/>
          </p:nvSpPr>
          <p:spPr>
            <a:xfrm>
              <a:off x="1074806" y="1018654"/>
              <a:ext cx="7643" cy="7643"/>
            </a:xfrm>
            <a:custGeom>
              <a:avLst/>
              <a:gdLst>
                <a:gd name="connsiteX0" fmla="*/ 7644 w 7643"/>
                <a:gd name="connsiteY0" fmla="*/ 3822 h 7643"/>
                <a:gd name="connsiteX1" fmla="*/ 3822 w 7643"/>
                <a:gd name="connsiteY1" fmla="*/ 7644 h 7643"/>
                <a:gd name="connsiteX2" fmla="*/ 0 w 7643"/>
                <a:gd name="connsiteY2" fmla="*/ 3822 h 7643"/>
                <a:gd name="connsiteX3" fmla="*/ 3822 w 7643"/>
                <a:gd name="connsiteY3" fmla="*/ 0 h 7643"/>
                <a:gd name="connsiteX4" fmla="*/ 7644 w 7643"/>
                <a:gd name="connsiteY4" fmla="*/ 3822 h 76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43" h="7643">
                  <a:moveTo>
                    <a:pt x="7644" y="3822"/>
                  </a:moveTo>
                  <a:cubicBezTo>
                    <a:pt x="7644" y="5929"/>
                    <a:pt x="5929" y="7644"/>
                    <a:pt x="3822" y="7644"/>
                  </a:cubicBezTo>
                  <a:cubicBezTo>
                    <a:pt x="1715" y="7644"/>
                    <a:pt x="0" y="5929"/>
                    <a:pt x="0" y="3822"/>
                  </a:cubicBezTo>
                  <a:cubicBezTo>
                    <a:pt x="0" y="1715"/>
                    <a:pt x="1715" y="0"/>
                    <a:pt x="3822" y="0"/>
                  </a:cubicBezTo>
                  <a:cubicBezTo>
                    <a:pt x="5929" y="0"/>
                    <a:pt x="7644" y="1715"/>
                    <a:pt x="7644" y="3822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68" name="Forma livre: Forma 267">
              <a:extLst>
                <a:ext uri="{FF2B5EF4-FFF2-40B4-BE49-F238E27FC236}">
                  <a16:creationId xmlns:a16="http://schemas.microsoft.com/office/drawing/2014/main" id="{F5437DFC-A985-0A1F-0628-14F3245CF0BD}"/>
                </a:ext>
              </a:extLst>
            </p:cNvPr>
            <p:cNvSpPr/>
            <p:nvPr/>
          </p:nvSpPr>
          <p:spPr>
            <a:xfrm>
              <a:off x="1050455" y="1044476"/>
              <a:ext cx="7643" cy="7643"/>
            </a:xfrm>
            <a:custGeom>
              <a:avLst/>
              <a:gdLst>
                <a:gd name="connsiteX0" fmla="*/ 7644 w 7643"/>
                <a:gd name="connsiteY0" fmla="*/ 3822 h 7643"/>
                <a:gd name="connsiteX1" fmla="*/ 3822 w 7643"/>
                <a:gd name="connsiteY1" fmla="*/ 7644 h 7643"/>
                <a:gd name="connsiteX2" fmla="*/ 0 w 7643"/>
                <a:gd name="connsiteY2" fmla="*/ 3822 h 7643"/>
                <a:gd name="connsiteX3" fmla="*/ 3822 w 7643"/>
                <a:gd name="connsiteY3" fmla="*/ 0 h 7643"/>
                <a:gd name="connsiteX4" fmla="*/ 7644 w 7643"/>
                <a:gd name="connsiteY4" fmla="*/ 3822 h 76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43" h="7643">
                  <a:moveTo>
                    <a:pt x="7644" y="3822"/>
                  </a:moveTo>
                  <a:cubicBezTo>
                    <a:pt x="7644" y="5929"/>
                    <a:pt x="5929" y="7644"/>
                    <a:pt x="3822" y="7644"/>
                  </a:cubicBezTo>
                  <a:cubicBezTo>
                    <a:pt x="1715" y="7644"/>
                    <a:pt x="0" y="5929"/>
                    <a:pt x="0" y="3822"/>
                  </a:cubicBezTo>
                  <a:cubicBezTo>
                    <a:pt x="0" y="1715"/>
                    <a:pt x="1715" y="0"/>
                    <a:pt x="3822" y="0"/>
                  </a:cubicBezTo>
                  <a:cubicBezTo>
                    <a:pt x="5929" y="0"/>
                    <a:pt x="7644" y="1715"/>
                    <a:pt x="7644" y="3822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69" name="Forma livre: Forma 268">
              <a:extLst>
                <a:ext uri="{FF2B5EF4-FFF2-40B4-BE49-F238E27FC236}">
                  <a16:creationId xmlns:a16="http://schemas.microsoft.com/office/drawing/2014/main" id="{9FAE071B-A6DB-C18C-AE0B-D4F59D455032}"/>
                </a:ext>
              </a:extLst>
            </p:cNvPr>
            <p:cNvSpPr/>
            <p:nvPr/>
          </p:nvSpPr>
          <p:spPr>
            <a:xfrm>
              <a:off x="1084900" y="1048885"/>
              <a:ext cx="7643" cy="7643"/>
            </a:xfrm>
            <a:custGeom>
              <a:avLst/>
              <a:gdLst>
                <a:gd name="connsiteX0" fmla="*/ 7644 w 7643"/>
                <a:gd name="connsiteY0" fmla="*/ 3822 h 7643"/>
                <a:gd name="connsiteX1" fmla="*/ 3822 w 7643"/>
                <a:gd name="connsiteY1" fmla="*/ 7644 h 7643"/>
                <a:gd name="connsiteX2" fmla="*/ 0 w 7643"/>
                <a:gd name="connsiteY2" fmla="*/ 3822 h 7643"/>
                <a:gd name="connsiteX3" fmla="*/ 3822 w 7643"/>
                <a:gd name="connsiteY3" fmla="*/ 0 h 7643"/>
                <a:gd name="connsiteX4" fmla="*/ 7644 w 7643"/>
                <a:gd name="connsiteY4" fmla="*/ 3822 h 76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43" h="7643">
                  <a:moveTo>
                    <a:pt x="7644" y="3822"/>
                  </a:moveTo>
                  <a:cubicBezTo>
                    <a:pt x="7644" y="5929"/>
                    <a:pt x="5929" y="7644"/>
                    <a:pt x="3822" y="7644"/>
                  </a:cubicBezTo>
                  <a:cubicBezTo>
                    <a:pt x="1715" y="7644"/>
                    <a:pt x="0" y="5929"/>
                    <a:pt x="0" y="3822"/>
                  </a:cubicBezTo>
                  <a:cubicBezTo>
                    <a:pt x="0" y="1715"/>
                    <a:pt x="1715" y="0"/>
                    <a:pt x="3822" y="0"/>
                  </a:cubicBezTo>
                  <a:cubicBezTo>
                    <a:pt x="5929" y="0"/>
                    <a:pt x="7644" y="1715"/>
                    <a:pt x="7644" y="3822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271" name="Gráfico 4">
            <a:extLst>
              <a:ext uri="{FF2B5EF4-FFF2-40B4-BE49-F238E27FC236}">
                <a16:creationId xmlns:a16="http://schemas.microsoft.com/office/drawing/2014/main" id="{CAF36E28-95D3-82EB-B085-9ECA21CB4FFD}"/>
              </a:ext>
            </a:extLst>
          </p:cNvPr>
          <p:cNvGrpSpPr/>
          <p:nvPr/>
        </p:nvGrpSpPr>
        <p:grpSpPr>
          <a:xfrm>
            <a:off x="3299089" y="1019634"/>
            <a:ext cx="323477" cy="230873"/>
            <a:chOff x="3299089" y="1019634"/>
            <a:chExt cx="323477" cy="230873"/>
          </a:xfrm>
          <a:noFill/>
        </p:grpSpPr>
        <p:sp>
          <p:nvSpPr>
            <p:cNvPr id="272" name="Forma livre: Forma 271">
              <a:extLst>
                <a:ext uri="{FF2B5EF4-FFF2-40B4-BE49-F238E27FC236}">
                  <a16:creationId xmlns:a16="http://schemas.microsoft.com/office/drawing/2014/main" id="{0B0CA2F8-EB82-97F5-24D0-2C2A34CEF1EF}"/>
                </a:ext>
              </a:extLst>
            </p:cNvPr>
            <p:cNvSpPr/>
            <p:nvPr/>
          </p:nvSpPr>
          <p:spPr>
            <a:xfrm>
              <a:off x="3403061" y="1107486"/>
              <a:ext cx="28369" cy="29741"/>
            </a:xfrm>
            <a:custGeom>
              <a:avLst/>
              <a:gdLst>
                <a:gd name="connsiteX0" fmla="*/ 0 w 28369"/>
                <a:gd name="connsiteY0" fmla="*/ 29741 h 29741"/>
                <a:gd name="connsiteX1" fmla="*/ 28369 w 28369"/>
                <a:gd name="connsiteY1" fmla="*/ 0 h 297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8369" h="29741">
                  <a:moveTo>
                    <a:pt x="0" y="29741"/>
                  </a:moveTo>
                  <a:cubicBezTo>
                    <a:pt x="5978" y="17002"/>
                    <a:pt x="15973" y="6566"/>
                    <a:pt x="28369" y="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73" name="Forma livre: Forma 272">
              <a:extLst>
                <a:ext uri="{FF2B5EF4-FFF2-40B4-BE49-F238E27FC236}">
                  <a16:creationId xmlns:a16="http://schemas.microsoft.com/office/drawing/2014/main" id="{139734B3-DD1F-5D53-E719-46976CCD2C5C}"/>
                </a:ext>
              </a:extLst>
            </p:cNvPr>
            <p:cNvSpPr/>
            <p:nvPr/>
          </p:nvSpPr>
          <p:spPr>
            <a:xfrm>
              <a:off x="3339757" y="1176424"/>
              <a:ext cx="242142" cy="4899"/>
            </a:xfrm>
            <a:custGeom>
              <a:avLst/>
              <a:gdLst>
                <a:gd name="connsiteX0" fmla="*/ 0 w 242142"/>
                <a:gd name="connsiteY0" fmla="*/ 0 h 4899"/>
                <a:gd name="connsiteX1" fmla="*/ 242143 w 242142"/>
                <a:gd name="connsiteY1" fmla="*/ 0 h 48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42142" h="4899">
                  <a:moveTo>
                    <a:pt x="0" y="0"/>
                  </a:moveTo>
                  <a:lnTo>
                    <a:pt x="242143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74" name="Forma livre: Forma 273">
              <a:extLst>
                <a:ext uri="{FF2B5EF4-FFF2-40B4-BE49-F238E27FC236}">
                  <a16:creationId xmlns:a16="http://schemas.microsoft.com/office/drawing/2014/main" id="{02870AA2-A3E7-D631-B92B-089FCCF1D30D}"/>
                </a:ext>
              </a:extLst>
            </p:cNvPr>
            <p:cNvSpPr/>
            <p:nvPr/>
          </p:nvSpPr>
          <p:spPr>
            <a:xfrm>
              <a:off x="3429568" y="1019634"/>
              <a:ext cx="62471" cy="4899"/>
            </a:xfrm>
            <a:custGeom>
              <a:avLst/>
              <a:gdLst>
                <a:gd name="connsiteX0" fmla="*/ 0 w 62471"/>
                <a:gd name="connsiteY0" fmla="*/ 0 h 4899"/>
                <a:gd name="connsiteX1" fmla="*/ 62471 w 62471"/>
                <a:gd name="connsiteY1" fmla="*/ 0 h 48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471" h="4899">
                  <a:moveTo>
                    <a:pt x="0" y="0"/>
                  </a:moveTo>
                  <a:lnTo>
                    <a:pt x="62471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75" name="Forma livre: Forma 274">
              <a:extLst>
                <a:ext uri="{FF2B5EF4-FFF2-40B4-BE49-F238E27FC236}">
                  <a16:creationId xmlns:a16="http://schemas.microsoft.com/office/drawing/2014/main" id="{F7DF33B3-BA4E-B07C-924E-F076A20EA763}"/>
                </a:ext>
              </a:extLst>
            </p:cNvPr>
            <p:cNvSpPr/>
            <p:nvPr/>
          </p:nvSpPr>
          <p:spPr>
            <a:xfrm>
              <a:off x="3460828" y="1020859"/>
              <a:ext cx="4899" cy="26703"/>
            </a:xfrm>
            <a:custGeom>
              <a:avLst/>
              <a:gdLst>
                <a:gd name="connsiteX0" fmla="*/ 0 w 4899"/>
                <a:gd name="connsiteY0" fmla="*/ 26703 h 26703"/>
                <a:gd name="connsiteX1" fmla="*/ 0 w 4899"/>
                <a:gd name="connsiteY1" fmla="*/ 0 h 267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899" h="26703">
                  <a:moveTo>
                    <a:pt x="0" y="26703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276" name="Gráfico 4">
              <a:extLst>
                <a:ext uri="{FF2B5EF4-FFF2-40B4-BE49-F238E27FC236}">
                  <a16:creationId xmlns:a16="http://schemas.microsoft.com/office/drawing/2014/main" id="{D85EEEF0-EE8C-B864-9F36-105AA54131BB}"/>
                </a:ext>
              </a:extLst>
            </p:cNvPr>
            <p:cNvGrpSpPr/>
            <p:nvPr/>
          </p:nvGrpSpPr>
          <p:grpSpPr>
            <a:xfrm>
              <a:off x="3299089" y="1042418"/>
              <a:ext cx="323477" cy="65606"/>
              <a:chOff x="3299089" y="1042418"/>
              <a:chExt cx="323477" cy="65606"/>
            </a:xfrm>
          </p:grpSpPr>
          <p:grpSp>
            <p:nvGrpSpPr>
              <p:cNvPr id="277" name="Gráfico 4">
                <a:extLst>
                  <a:ext uri="{FF2B5EF4-FFF2-40B4-BE49-F238E27FC236}">
                    <a16:creationId xmlns:a16="http://schemas.microsoft.com/office/drawing/2014/main" id="{B45B257C-B95E-231C-39CE-B77680D65F2D}"/>
                  </a:ext>
                </a:extLst>
              </p:cNvPr>
              <p:cNvGrpSpPr/>
              <p:nvPr/>
            </p:nvGrpSpPr>
            <p:grpSpPr>
              <a:xfrm>
                <a:off x="3557891" y="1042418"/>
                <a:ext cx="64675" cy="65606"/>
                <a:chOff x="3557891" y="1042418"/>
                <a:chExt cx="64675" cy="65606"/>
              </a:xfrm>
            </p:grpSpPr>
            <p:sp>
              <p:nvSpPr>
                <p:cNvPr id="278" name="Forma livre: Forma 277">
                  <a:extLst>
                    <a:ext uri="{FF2B5EF4-FFF2-40B4-BE49-F238E27FC236}">
                      <a16:creationId xmlns:a16="http://schemas.microsoft.com/office/drawing/2014/main" id="{16425F0D-1DAF-578F-895F-F0D116594EBA}"/>
                    </a:ext>
                  </a:extLst>
                </p:cNvPr>
                <p:cNvSpPr/>
                <p:nvPr/>
              </p:nvSpPr>
              <p:spPr>
                <a:xfrm>
                  <a:off x="3557891" y="1042418"/>
                  <a:ext cx="31603" cy="24204"/>
                </a:xfrm>
                <a:custGeom>
                  <a:avLst/>
                  <a:gdLst>
                    <a:gd name="connsiteX0" fmla="*/ 0 w 31603"/>
                    <a:gd name="connsiteY0" fmla="*/ 24205 h 24204"/>
                    <a:gd name="connsiteX1" fmla="*/ 31603 w 31603"/>
                    <a:gd name="connsiteY1" fmla="*/ 0 h 2420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31603" h="24204">
                      <a:moveTo>
                        <a:pt x="0" y="24205"/>
                      </a:moveTo>
                      <a:lnTo>
                        <a:pt x="31603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79" name="Forma livre: Forma 278">
                  <a:extLst>
                    <a:ext uri="{FF2B5EF4-FFF2-40B4-BE49-F238E27FC236}">
                      <a16:creationId xmlns:a16="http://schemas.microsoft.com/office/drawing/2014/main" id="{D74ED017-F26C-3D1D-CC12-F667A7AC16B0}"/>
                    </a:ext>
                  </a:extLst>
                </p:cNvPr>
                <p:cNvSpPr/>
                <p:nvPr/>
              </p:nvSpPr>
              <p:spPr>
                <a:xfrm>
                  <a:off x="3586506" y="1091170"/>
                  <a:ext cx="36061" cy="16854"/>
                </a:xfrm>
                <a:custGeom>
                  <a:avLst/>
                  <a:gdLst>
                    <a:gd name="connsiteX0" fmla="*/ 0 w 36061"/>
                    <a:gd name="connsiteY0" fmla="*/ 16855 h 16854"/>
                    <a:gd name="connsiteX1" fmla="*/ 36062 w 36061"/>
                    <a:gd name="connsiteY1" fmla="*/ 0 h 1685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36061" h="16854">
                      <a:moveTo>
                        <a:pt x="0" y="16855"/>
                      </a:moveTo>
                      <a:lnTo>
                        <a:pt x="36062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280" name="Gráfico 4">
                <a:extLst>
                  <a:ext uri="{FF2B5EF4-FFF2-40B4-BE49-F238E27FC236}">
                    <a16:creationId xmlns:a16="http://schemas.microsoft.com/office/drawing/2014/main" id="{126C703D-7843-4B8B-4ACA-85A8A549AE3C}"/>
                  </a:ext>
                </a:extLst>
              </p:cNvPr>
              <p:cNvGrpSpPr/>
              <p:nvPr/>
            </p:nvGrpSpPr>
            <p:grpSpPr>
              <a:xfrm>
                <a:off x="3299089" y="1042418"/>
                <a:ext cx="64675" cy="65606"/>
                <a:chOff x="3299089" y="1042418"/>
                <a:chExt cx="64675" cy="65606"/>
              </a:xfrm>
            </p:grpSpPr>
            <p:sp>
              <p:nvSpPr>
                <p:cNvPr id="281" name="Forma livre: Forma 280">
                  <a:extLst>
                    <a:ext uri="{FF2B5EF4-FFF2-40B4-BE49-F238E27FC236}">
                      <a16:creationId xmlns:a16="http://schemas.microsoft.com/office/drawing/2014/main" id="{67DAD427-93C8-39CB-51EB-F1C59B96E15C}"/>
                    </a:ext>
                  </a:extLst>
                </p:cNvPr>
                <p:cNvSpPr/>
                <p:nvPr/>
              </p:nvSpPr>
              <p:spPr>
                <a:xfrm>
                  <a:off x="3332113" y="1042418"/>
                  <a:ext cx="31652" cy="24204"/>
                </a:xfrm>
                <a:custGeom>
                  <a:avLst/>
                  <a:gdLst>
                    <a:gd name="connsiteX0" fmla="*/ 31652 w 31652"/>
                    <a:gd name="connsiteY0" fmla="*/ 24205 h 24204"/>
                    <a:gd name="connsiteX1" fmla="*/ 0 w 31652"/>
                    <a:gd name="connsiteY1" fmla="*/ 0 h 2420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31652" h="24204">
                      <a:moveTo>
                        <a:pt x="31652" y="24205"/>
                      </a:moveTo>
                      <a:lnTo>
                        <a:pt x="0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82" name="Forma livre: Forma 281">
                  <a:extLst>
                    <a:ext uri="{FF2B5EF4-FFF2-40B4-BE49-F238E27FC236}">
                      <a16:creationId xmlns:a16="http://schemas.microsoft.com/office/drawing/2014/main" id="{2880334D-3EBF-5CD2-433E-5E5079D271BF}"/>
                    </a:ext>
                  </a:extLst>
                </p:cNvPr>
                <p:cNvSpPr/>
                <p:nvPr/>
              </p:nvSpPr>
              <p:spPr>
                <a:xfrm>
                  <a:off x="3299089" y="1091170"/>
                  <a:ext cx="36061" cy="16854"/>
                </a:xfrm>
                <a:custGeom>
                  <a:avLst/>
                  <a:gdLst>
                    <a:gd name="connsiteX0" fmla="*/ 36062 w 36061"/>
                    <a:gd name="connsiteY0" fmla="*/ 16855 h 16854"/>
                    <a:gd name="connsiteX1" fmla="*/ 0 w 36061"/>
                    <a:gd name="connsiteY1" fmla="*/ 0 h 1685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36061" h="16854">
                      <a:moveTo>
                        <a:pt x="36062" y="16855"/>
                      </a:moveTo>
                      <a:lnTo>
                        <a:pt x="0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sp>
          <p:nvSpPr>
            <p:cNvPr id="283" name="Forma livre: Forma 282">
              <a:extLst>
                <a:ext uri="{FF2B5EF4-FFF2-40B4-BE49-F238E27FC236}">
                  <a16:creationId xmlns:a16="http://schemas.microsoft.com/office/drawing/2014/main" id="{13B28BAC-750E-5708-88CF-32D711C74A6F}"/>
                </a:ext>
              </a:extLst>
            </p:cNvPr>
            <p:cNvSpPr/>
            <p:nvPr/>
          </p:nvSpPr>
          <p:spPr>
            <a:xfrm>
              <a:off x="3332064" y="1206411"/>
              <a:ext cx="257528" cy="44097"/>
            </a:xfrm>
            <a:custGeom>
              <a:avLst/>
              <a:gdLst>
                <a:gd name="connsiteX0" fmla="*/ 257528 w 257528"/>
                <a:gd name="connsiteY0" fmla="*/ 44097 h 44097"/>
                <a:gd name="connsiteX1" fmla="*/ 257528 w 257528"/>
                <a:gd name="connsiteY1" fmla="*/ 24253 h 44097"/>
                <a:gd name="connsiteX2" fmla="*/ 237929 w 257528"/>
                <a:gd name="connsiteY2" fmla="*/ 0 h 44097"/>
                <a:gd name="connsiteX3" fmla="*/ 19599 w 257528"/>
                <a:gd name="connsiteY3" fmla="*/ 0 h 44097"/>
                <a:gd name="connsiteX4" fmla="*/ 0 w 257528"/>
                <a:gd name="connsiteY4" fmla="*/ 24253 h 44097"/>
                <a:gd name="connsiteX5" fmla="*/ 0 w 257528"/>
                <a:gd name="connsiteY5" fmla="*/ 44097 h 44097"/>
                <a:gd name="connsiteX6" fmla="*/ 257528 w 257528"/>
                <a:gd name="connsiteY6" fmla="*/ 44097 h 440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57528" h="44097">
                  <a:moveTo>
                    <a:pt x="257528" y="44097"/>
                  </a:moveTo>
                  <a:lnTo>
                    <a:pt x="257528" y="24253"/>
                  </a:lnTo>
                  <a:cubicBezTo>
                    <a:pt x="237929" y="17639"/>
                    <a:pt x="237929" y="0"/>
                    <a:pt x="237929" y="0"/>
                  </a:cubicBezTo>
                  <a:lnTo>
                    <a:pt x="19599" y="0"/>
                  </a:lnTo>
                  <a:cubicBezTo>
                    <a:pt x="19599" y="0"/>
                    <a:pt x="19599" y="17639"/>
                    <a:pt x="0" y="24253"/>
                  </a:cubicBezTo>
                  <a:lnTo>
                    <a:pt x="0" y="44097"/>
                  </a:lnTo>
                  <a:lnTo>
                    <a:pt x="257528" y="44097"/>
                  </a:ln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84" name="Forma livre: Forma 283">
              <a:extLst>
                <a:ext uri="{FF2B5EF4-FFF2-40B4-BE49-F238E27FC236}">
                  <a16:creationId xmlns:a16="http://schemas.microsoft.com/office/drawing/2014/main" id="{8A9DBD1E-6F46-35F3-7FE2-BAD6599F8069}"/>
                </a:ext>
              </a:extLst>
            </p:cNvPr>
            <p:cNvSpPr/>
            <p:nvPr/>
          </p:nvSpPr>
          <p:spPr>
            <a:xfrm>
              <a:off x="3351908" y="1070787"/>
              <a:ext cx="217693" cy="104902"/>
            </a:xfrm>
            <a:custGeom>
              <a:avLst/>
              <a:gdLst>
                <a:gd name="connsiteX0" fmla="*/ 217694 w 217693"/>
                <a:gd name="connsiteY0" fmla="*/ 104903 h 104902"/>
                <a:gd name="connsiteX1" fmla="*/ 206130 w 217693"/>
                <a:gd name="connsiteY1" fmla="*/ 82021 h 104902"/>
                <a:gd name="connsiteX2" fmla="*/ 109410 w 217693"/>
                <a:gd name="connsiteY2" fmla="*/ 0 h 104902"/>
                <a:gd name="connsiteX3" fmla="*/ 108283 w 217693"/>
                <a:gd name="connsiteY3" fmla="*/ 0 h 104902"/>
                <a:gd name="connsiteX4" fmla="*/ 11563 w 217693"/>
                <a:gd name="connsiteY4" fmla="*/ 82021 h 104902"/>
                <a:gd name="connsiteX5" fmla="*/ 0 w 217693"/>
                <a:gd name="connsiteY5" fmla="*/ 104903 h 1049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17693" h="104902">
                  <a:moveTo>
                    <a:pt x="217694" y="104903"/>
                  </a:moveTo>
                  <a:cubicBezTo>
                    <a:pt x="209511" y="95838"/>
                    <a:pt x="207012" y="87215"/>
                    <a:pt x="206130" y="82021"/>
                  </a:cubicBezTo>
                  <a:cubicBezTo>
                    <a:pt x="198487" y="35523"/>
                    <a:pt x="173155" y="0"/>
                    <a:pt x="109410" y="0"/>
                  </a:cubicBezTo>
                  <a:lnTo>
                    <a:pt x="108283" y="0"/>
                  </a:lnTo>
                  <a:cubicBezTo>
                    <a:pt x="44587" y="0"/>
                    <a:pt x="19207" y="35474"/>
                    <a:pt x="11563" y="82021"/>
                  </a:cubicBezTo>
                  <a:cubicBezTo>
                    <a:pt x="10730" y="87215"/>
                    <a:pt x="8182" y="95838"/>
                    <a:pt x="0" y="104903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285" name="Gráfico 4">
            <a:extLst>
              <a:ext uri="{FF2B5EF4-FFF2-40B4-BE49-F238E27FC236}">
                <a16:creationId xmlns:a16="http://schemas.microsoft.com/office/drawing/2014/main" id="{F5AD1E54-15AC-5AF3-FB29-3A362850BE27}"/>
              </a:ext>
            </a:extLst>
          </p:cNvPr>
          <p:cNvGrpSpPr/>
          <p:nvPr/>
        </p:nvGrpSpPr>
        <p:grpSpPr>
          <a:xfrm>
            <a:off x="3306537" y="1551202"/>
            <a:ext cx="300399" cy="268209"/>
            <a:chOff x="3306537" y="1551202"/>
            <a:chExt cx="300399" cy="268209"/>
          </a:xfrm>
        </p:grpSpPr>
        <p:grpSp>
          <p:nvGrpSpPr>
            <p:cNvPr id="286" name="Gráfico 4">
              <a:extLst>
                <a:ext uri="{FF2B5EF4-FFF2-40B4-BE49-F238E27FC236}">
                  <a16:creationId xmlns:a16="http://schemas.microsoft.com/office/drawing/2014/main" id="{A9704E8C-BA43-027B-2968-6B0B40621B0C}"/>
                </a:ext>
              </a:extLst>
            </p:cNvPr>
            <p:cNvGrpSpPr/>
            <p:nvPr/>
          </p:nvGrpSpPr>
          <p:grpSpPr>
            <a:xfrm>
              <a:off x="3338140" y="1789524"/>
              <a:ext cx="237194" cy="29888"/>
              <a:chOff x="3338140" y="1789524"/>
              <a:chExt cx="237194" cy="29888"/>
            </a:xfrm>
            <a:noFill/>
          </p:grpSpPr>
          <p:sp>
            <p:nvSpPr>
              <p:cNvPr id="287" name="Forma livre: Forma 286">
                <a:extLst>
                  <a:ext uri="{FF2B5EF4-FFF2-40B4-BE49-F238E27FC236}">
                    <a16:creationId xmlns:a16="http://schemas.microsoft.com/office/drawing/2014/main" id="{28FDBF57-70D0-F935-1348-42EF328D3399}"/>
                  </a:ext>
                </a:extLst>
              </p:cNvPr>
              <p:cNvSpPr/>
              <p:nvPr/>
            </p:nvSpPr>
            <p:spPr>
              <a:xfrm>
                <a:off x="3338140" y="1789524"/>
                <a:ext cx="40814" cy="29888"/>
              </a:xfrm>
              <a:custGeom>
                <a:avLst/>
                <a:gdLst>
                  <a:gd name="connsiteX0" fmla="*/ 40814 w 40814"/>
                  <a:gd name="connsiteY0" fmla="*/ 0 h 29888"/>
                  <a:gd name="connsiteX1" fmla="*/ 40814 w 40814"/>
                  <a:gd name="connsiteY1" fmla="*/ 15189 h 29888"/>
                  <a:gd name="connsiteX2" fmla="*/ 26115 w 40814"/>
                  <a:gd name="connsiteY2" fmla="*/ 29888 h 29888"/>
                  <a:gd name="connsiteX3" fmla="*/ 14699 w 40814"/>
                  <a:gd name="connsiteY3" fmla="*/ 29888 h 29888"/>
                  <a:gd name="connsiteX4" fmla="*/ 0 w 40814"/>
                  <a:gd name="connsiteY4" fmla="*/ 15189 h 29888"/>
                  <a:gd name="connsiteX5" fmla="*/ 0 w 40814"/>
                  <a:gd name="connsiteY5" fmla="*/ 0 h 298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40814" h="29888">
                    <a:moveTo>
                      <a:pt x="40814" y="0"/>
                    </a:moveTo>
                    <a:lnTo>
                      <a:pt x="40814" y="15189"/>
                    </a:lnTo>
                    <a:cubicBezTo>
                      <a:pt x="40814" y="23274"/>
                      <a:pt x="34200" y="29888"/>
                      <a:pt x="26115" y="29888"/>
                    </a:cubicBezTo>
                    <a:lnTo>
                      <a:pt x="14699" y="29888"/>
                    </a:lnTo>
                    <a:cubicBezTo>
                      <a:pt x="6615" y="29888"/>
                      <a:pt x="0" y="23274"/>
                      <a:pt x="0" y="15189"/>
                    </a:cubicBezTo>
                    <a:lnTo>
                      <a:pt x="0" y="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88" name="Forma livre: Forma 287">
                <a:extLst>
                  <a:ext uri="{FF2B5EF4-FFF2-40B4-BE49-F238E27FC236}">
                    <a16:creationId xmlns:a16="http://schemas.microsoft.com/office/drawing/2014/main" id="{32E9853E-C8FF-8B9C-AE81-1324C48146A5}"/>
                  </a:ext>
                </a:extLst>
              </p:cNvPr>
              <p:cNvSpPr/>
              <p:nvPr/>
            </p:nvSpPr>
            <p:spPr>
              <a:xfrm>
                <a:off x="3534520" y="1789524"/>
                <a:ext cx="40814" cy="29888"/>
              </a:xfrm>
              <a:custGeom>
                <a:avLst/>
                <a:gdLst>
                  <a:gd name="connsiteX0" fmla="*/ 40814 w 40814"/>
                  <a:gd name="connsiteY0" fmla="*/ 0 h 29888"/>
                  <a:gd name="connsiteX1" fmla="*/ 40814 w 40814"/>
                  <a:gd name="connsiteY1" fmla="*/ 15189 h 29888"/>
                  <a:gd name="connsiteX2" fmla="*/ 26115 w 40814"/>
                  <a:gd name="connsiteY2" fmla="*/ 29888 h 29888"/>
                  <a:gd name="connsiteX3" fmla="*/ 14699 w 40814"/>
                  <a:gd name="connsiteY3" fmla="*/ 29888 h 29888"/>
                  <a:gd name="connsiteX4" fmla="*/ 0 w 40814"/>
                  <a:gd name="connsiteY4" fmla="*/ 15189 h 29888"/>
                  <a:gd name="connsiteX5" fmla="*/ 0 w 40814"/>
                  <a:gd name="connsiteY5" fmla="*/ 0 h 298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40814" h="29888">
                    <a:moveTo>
                      <a:pt x="40814" y="0"/>
                    </a:moveTo>
                    <a:lnTo>
                      <a:pt x="40814" y="15189"/>
                    </a:lnTo>
                    <a:cubicBezTo>
                      <a:pt x="40814" y="23274"/>
                      <a:pt x="34200" y="29888"/>
                      <a:pt x="26115" y="29888"/>
                    </a:cubicBezTo>
                    <a:lnTo>
                      <a:pt x="14699" y="29888"/>
                    </a:lnTo>
                    <a:cubicBezTo>
                      <a:pt x="6615" y="29888"/>
                      <a:pt x="0" y="23274"/>
                      <a:pt x="0" y="15189"/>
                    </a:cubicBezTo>
                    <a:lnTo>
                      <a:pt x="0" y="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289" name="Forma livre: Forma 288">
              <a:extLst>
                <a:ext uri="{FF2B5EF4-FFF2-40B4-BE49-F238E27FC236}">
                  <a16:creationId xmlns:a16="http://schemas.microsoft.com/office/drawing/2014/main" id="{8DE15947-27F5-B97E-828E-1FC88999C01F}"/>
                </a:ext>
              </a:extLst>
            </p:cNvPr>
            <p:cNvSpPr/>
            <p:nvPr/>
          </p:nvSpPr>
          <p:spPr>
            <a:xfrm>
              <a:off x="3318011" y="1581180"/>
              <a:ext cx="277403" cy="188345"/>
            </a:xfrm>
            <a:custGeom>
              <a:avLst/>
              <a:gdLst>
                <a:gd name="connsiteX0" fmla="*/ 255217 w 277403"/>
                <a:gd name="connsiteY0" fmla="*/ 188304 h 188345"/>
                <a:gd name="connsiteX1" fmla="*/ 275011 w 277403"/>
                <a:gd name="connsiteY1" fmla="*/ 167480 h 188345"/>
                <a:gd name="connsiteX2" fmla="*/ 270847 w 277403"/>
                <a:gd name="connsiteY2" fmla="*/ 105793 h 188345"/>
                <a:gd name="connsiteX3" fmla="*/ 248749 w 277403"/>
                <a:gd name="connsiteY3" fmla="*/ 76248 h 188345"/>
                <a:gd name="connsiteX4" fmla="*/ 227582 w 277403"/>
                <a:gd name="connsiteY4" fmla="*/ 26565 h 188345"/>
                <a:gd name="connsiteX5" fmla="*/ 212981 w 277403"/>
                <a:gd name="connsiteY5" fmla="*/ 8142 h 188345"/>
                <a:gd name="connsiteX6" fmla="*/ 139437 w 277403"/>
                <a:gd name="connsiteY6" fmla="*/ 8 h 188345"/>
                <a:gd name="connsiteX7" fmla="*/ 137967 w 277403"/>
                <a:gd name="connsiteY7" fmla="*/ 8 h 188345"/>
                <a:gd name="connsiteX8" fmla="*/ 64422 w 277403"/>
                <a:gd name="connsiteY8" fmla="*/ 8142 h 188345"/>
                <a:gd name="connsiteX9" fmla="*/ 49821 w 277403"/>
                <a:gd name="connsiteY9" fmla="*/ 26565 h 188345"/>
                <a:gd name="connsiteX10" fmla="*/ 28655 w 277403"/>
                <a:gd name="connsiteY10" fmla="*/ 76248 h 188345"/>
                <a:gd name="connsiteX11" fmla="*/ 6557 w 277403"/>
                <a:gd name="connsiteY11" fmla="*/ 105793 h 188345"/>
                <a:gd name="connsiteX12" fmla="*/ 2392 w 277403"/>
                <a:gd name="connsiteY12" fmla="*/ 167480 h 188345"/>
                <a:gd name="connsiteX13" fmla="*/ 22236 w 277403"/>
                <a:gd name="connsiteY13" fmla="*/ 188304 h 188345"/>
                <a:gd name="connsiteX14" fmla="*/ 255168 w 277403"/>
                <a:gd name="connsiteY14" fmla="*/ 188304 h 1883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77403" h="188345">
                  <a:moveTo>
                    <a:pt x="255217" y="188304"/>
                  </a:moveTo>
                  <a:cubicBezTo>
                    <a:pt x="272170" y="189382"/>
                    <a:pt x="275011" y="167480"/>
                    <a:pt x="275011" y="167480"/>
                  </a:cubicBezTo>
                  <a:cubicBezTo>
                    <a:pt x="275011" y="167480"/>
                    <a:pt x="282557" y="136661"/>
                    <a:pt x="270847" y="105793"/>
                  </a:cubicBezTo>
                  <a:cubicBezTo>
                    <a:pt x="264330" y="96238"/>
                    <a:pt x="248749" y="76248"/>
                    <a:pt x="248749" y="76248"/>
                  </a:cubicBezTo>
                  <a:lnTo>
                    <a:pt x="227582" y="26565"/>
                  </a:lnTo>
                  <a:cubicBezTo>
                    <a:pt x="221507" y="10935"/>
                    <a:pt x="212981" y="8142"/>
                    <a:pt x="212981" y="8142"/>
                  </a:cubicBezTo>
                  <a:cubicBezTo>
                    <a:pt x="178242" y="-580"/>
                    <a:pt x="139437" y="8"/>
                    <a:pt x="139437" y="8"/>
                  </a:cubicBezTo>
                  <a:lnTo>
                    <a:pt x="137967" y="8"/>
                  </a:lnTo>
                  <a:cubicBezTo>
                    <a:pt x="137967" y="8"/>
                    <a:pt x="99210" y="-580"/>
                    <a:pt x="64422" y="8142"/>
                  </a:cubicBezTo>
                  <a:cubicBezTo>
                    <a:pt x="64422" y="8142"/>
                    <a:pt x="55897" y="10935"/>
                    <a:pt x="49821" y="26565"/>
                  </a:cubicBezTo>
                  <a:lnTo>
                    <a:pt x="28655" y="76248"/>
                  </a:lnTo>
                  <a:cubicBezTo>
                    <a:pt x="28655" y="76248"/>
                    <a:pt x="13074" y="96238"/>
                    <a:pt x="6557" y="105793"/>
                  </a:cubicBezTo>
                  <a:cubicBezTo>
                    <a:pt x="-5153" y="136612"/>
                    <a:pt x="2392" y="167480"/>
                    <a:pt x="2392" y="167480"/>
                  </a:cubicBezTo>
                  <a:cubicBezTo>
                    <a:pt x="2392" y="167480"/>
                    <a:pt x="5283" y="189431"/>
                    <a:pt x="22236" y="188304"/>
                  </a:cubicBezTo>
                  <a:lnTo>
                    <a:pt x="255168" y="188304"/>
                  </a:ln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90" name="Forma livre: Forma 289">
              <a:extLst>
                <a:ext uri="{FF2B5EF4-FFF2-40B4-BE49-F238E27FC236}">
                  <a16:creationId xmlns:a16="http://schemas.microsoft.com/office/drawing/2014/main" id="{D776A9B6-7F46-0F20-9E54-F0EC2CCE3B3A}"/>
                </a:ext>
              </a:extLst>
            </p:cNvPr>
            <p:cNvSpPr/>
            <p:nvPr/>
          </p:nvSpPr>
          <p:spPr>
            <a:xfrm>
              <a:off x="3350585" y="1655321"/>
              <a:ext cx="212254" cy="4899"/>
            </a:xfrm>
            <a:custGeom>
              <a:avLst/>
              <a:gdLst>
                <a:gd name="connsiteX0" fmla="*/ 0 w 212254"/>
                <a:gd name="connsiteY0" fmla="*/ 0 h 4899"/>
                <a:gd name="connsiteX1" fmla="*/ 212255 w 212254"/>
                <a:gd name="connsiteY1" fmla="*/ 0 h 48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12254" h="4899">
                  <a:moveTo>
                    <a:pt x="0" y="0"/>
                  </a:moveTo>
                  <a:lnTo>
                    <a:pt x="212255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291" name="Gráfico 4">
              <a:extLst>
                <a:ext uri="{FF2B5EF4-FFF2-40B4-BE49-F238E27FC236}">
                  <a16:creationId xmlns:a16="http://schemas.microsoft.com/office/drawing/2014/main" id="{1929A024-85A6-22DF-2F8D-AAC645FEC28B}"/>
                </a:ext>
              </a:extLst>
            </p:cNvPr>
            <p:cNvGrpSpPr/>
            <p:nvPr/>
          </p:nvGrpSpPr>
          <p:grpSpPr>
            <a:xfrm>
              <a:off x="3319178" y="1681191"/>
              <a:ext cx="275068" cy="36208"/>
              <a:chOff x="3319178" y="1681191"/>
              <a:chExt cx="275068" cy="36208"/>
            </a:xfrm>
            <a:noFill/>
          </p:grpSpPr>
          <p:sp>
            <p:nvSpPr>
              <p:cNvPr id="292" name="Forma livre: Forma 291">
                <a:extLst>
                  <a:ext uri="{FF2B5EF4-FFF2-40B4-BE49-F238E27FC236}">
                    <a16:creationId xmlns:a16="http://schemas.microsoft.com/office/drawing/2014/main" id="{C42FE863-4224-79A3-01B1-EA2B07B5356E}"/>
                  </a:ext>
                </a:extLst>
              </p:cNvPr>
              <p:cNvSpPr/>
              <p:nvPr/>
            </p:nvSpPr>
            <p:spPr>
              <a:xfrm>
                <a:off x="3319178" y="1681191"/>
                <a:ext cx="53932" cy="36208"/>
              </a:xfrm>
              <a:custGeom>
                <a:avLst/>
                <a:gdLst>
                  <a:gd name="connsiteX0" fmla="*/ 10240 w 53932"/>
                  <a:gd name="connsiteY0" fmla="*/ 0 h 36208"/>
                  <a:gd name="connsiteX1" fmla="*/ 53897 w 53932"/>
                  <a:gd name="connsiteY1" fmla="*/ 28418 h 36208"/>
                  <a:gd name="connsiteX2" fmla="*/ 47821 w 53932"/>
                  <a:gd name="connsiteY2" fmla="*/ 36209 h 36208"/>
                  <a:gd name="connsiteX3" fmla="*/ 0 w 53932"/>
                  <a:gd name="connsiteY3" fmla="*/ 36209 h 362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3932" h="36208">
                    <a:moveTo>
                      <a:pt x="10240" y="0"/>
                    </a:moveTo>
                    <a:cubicBezTo>
                      <a:pt x="10240" y="0"/>
                      <a:pt x="49585" y="2401"/>
                      <a:pt x="53897" y="28418"/>
                    </a:cubicBezTo>
                    <a:cubicBezTo>
                      <a:pt x="53897" y="28418"/>
                      <a:pt x="54779" y="35376"/>
                      <a:pt x="47821" y="36209"/>
                    </a:cubicBezTo>
                    <a:lnTo>
                      <a:pt x="0" y="36209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93" name="Forma livre: Forma 292">
                <a:extLst>
                  <a:ext uri="{FF2B5EF4-FFF2-40B4-BE49-F238E27FC236}">
                    <a16:creationId xmlns:a16="http://schemas.microsoft.com/office/drawing/2014/main" id="{773ECAA9-EE71-4DD7-6DD9-F063DE8AF48B}"/>
                  </a:ext>
                </a:extLst>
              </p:cNvPr>
              <p:cNvSpPr/>
              <p:nvPr/>
            </p:nvSpPr>
            <p:spPr>
              <a:xfrm>
                <a:off x="3540314" y="1681191"/>
                <a:ext cx="53932" cy="36208"/>
              </a:xfrm>
              <a:custGeom>
                <a:avLst/>
                <a:gdLst>
                  <a:gd name="connsiteX0" fmla="*/ 43741 w 53932"/>
                  <a:gd name="connsiteY0" fmla="*/ 0 h 36208"/>
                  <a:gd name="connsiteX1" fmla="*/ 36 w 53932"/>
                  <a:gd name="connsiteY1" fmla="*/ 28418 h 36208"/>
                  <a:gd name="connsiteX2" fmla="*/ 6112 w 53932"/>
                  <a:gd name="connsiteY2" fmla="*/ 36209 h 36208"/>
                  <a:gd name="connsiteX3" fmla="*/ 53933 w 53932"/>
                  <a:gd name="connsiteY3" fmla="*/ 36209 h 362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3932" h="36208">
                    <a:moveTo>
                      <a:pt x="43741" y="0"/>
                    </a:moveTo>
                    <a:cubicBezTo>
                      <a:pt x="43741" y="0"/>
                      <a:pt x="4397" y="2401"/>
                      <a:pt x="36" y="28418"/>
                    </a:cubicBezTo>
                    <a:cubicBezTo>
                      <a:pt x="36" y="28418"/>
                      <a:pt x="-846" y="35376"/>
                      <a:pt x="6112" y="36209"/>
                    </a:cubicBezTo>
                    <a:lnTo>
                      <a:pt x="53933" y="36209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294" name="Forma livre: Forma 293">
              <a:extLst>
                <a:ext uri="{FF2B5EF4-FFF2-40B4-BE49-F238E27FC236}">
                  <a16:creationId xmlns:a16="http://schemas.microsoft.com/office/drawing/2014/main" id="{B4ABB9EF-659E-9942-F2E5-4D9DB3F291D6}"/>
                </a:ext>
              </a:extLst>
            </p:cNvPr>
            <p:cNvSpPr/>
            <p:nvPr/>
          </p:nvSpPr>
          <p:spPr>
            <a:xfrm>
              <a:off x="3405266" y="1722153"/>
              <a:ext cx="102942" cy="26360"/>
            </a:xfrm>
            <a:custGeom>
              <a:avLst/>
              <a:gdLst>
                <a:gd name="connsiteX0" fmla="*/ 0 w 102942"/>
                <a:gd name="connsiteY0" fmla="*/ 26360 h 26360"/>
                <a:gd name="connsiteX1" fmla="*/ 0 w 102942"/>
                <a:gd name="connsiteY1" fmla="*/ 0 h 26360"/>
                <a:gd name="connsiteX2" fmla="*/ 102943 w 102942"/>
                <a:gd name="connsiteY2" fmla="*/ 0 h 26360"/>
                <a:gd name="connsiteX3" fmla="*/ 102943 w 102942"/>
                <a:gd name="connsiteY3" fmla="*/ 26360 h 263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2942" h="26360">
                  <a:moveTo>
                    <a:pt x="0" y="26360"/>
                  </a:moveTo>
                  <a:lnTo>
                    <a:pt x="0" y="0"/>
                  </a:lnTo>
                  <a:lnTo>
                    <a:pt x="102943" y="0"/>
                  </a:lnTo>
                  <a:lnTo>
                    <a:pt x="102943" y="2636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95" name="Forma livre: Forma 294">
              <a:extLst>
                <a:ext uri="{FF2B5EF4-FFF2-40B4-BE49-F238E27FC236}">
                  <a16:creationId xmlns:a16="http://schemas.microsoft.com/office/drawing/2014/main" id="{2AB60917-6051-E12F-EE40-638F0F9553D0}"/>
                </a:ext>
              </a:extLst>
            </p:cNvPr>
            <p:cNvSpPr/>
            <p:nvPr/>
          </p:nvSpPr>
          <p:spPr>
            <a:xfrm>
              <a:off x="3418887" y="1551202"/>
              <a:ext cx="75700" cy="31603"/>
            </a:xfrm>
            <a:custGeom>
              <a:avLst/>
              <a:gdLst>
                <a:gd name="connsiteX0" fmla="*/ 0 w 75700"/>
                <a:gd name="connsiteY0" fmla="*/ 31603 h 31603"/>
                <a:gd name="connsiteX1" fmla="*/ 6076 w 75700"/>
                <a:gd name="connsiteY1" fmla="*/ 10338 h 31603"/>
                <a:gd name="connsiteX2" fmla="*/ 18472 w 75700"/>
                <a:gd name="connsiteY2" fmla="*/ 0 h 31603"/>
                <a:gd name="connsiteX3" fmla="*/ 57179 w 75700"/>
                <a:gd name="connsiteY3" fmla="*/ 0 h 31603"/>
                <a:gd name="connsiteX4" fmla="*/ 69576 w 75700"/>
                <a:gd name="connsiteY4" fmla="*/ 10338 h 31603"/>
                <a:gd name="connsiteX5" fmla="*/ 75700 w 75700"/>
                <a:gd name="connsiteY5" fmla="*/ 31603 h 316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5700" h="31603">
                  <a:moveTo>
                    <a:pt x="0" y="31603"/>
                  </a:moveTo>
                  <a:lnTo>
                    <a:pt x="6076" y="10338"/>
                  </a:lnTo>
                  <a:cubicBezTo>
                    <a:pt x="7056" y="4655"/>
                    <a:pt x="12641" y="0"/>
                    <a:pt x="18472" y="0"/>
                  </a:cubicBezTo>
                  <a:lnTo>
                    <a:pt x="57179" y="0"/>
                  </a:lnTo>
                  <a:cubicBezTo>
                    <a:pt x="63010" y="0"/>
                    <a:pt x="68596" y="4655"/>
                    <a:pt x="69576" y="10338"/>
                  </a:cubicBezTo>
                  <a:lnTo>
                    <a:pt x="75700" y="31603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296" name="Gráfico 4">
              <a:extLst>
                <a:ext uri="{FF2B5EF4-FFF2-40B4-BE49-F238E27FC236}">
                  <a16:creationId xmlns:a16="http://schemas.microsoft.com/office/drawing/2014/main" id="{F48466FD-D60A-4D9F-112A-1CC0F1FA43F1}"/>
                </a:ext>
              </a:extLst>
            </p:cNvPr>
            <p:cNvGrpSpPr/>
            <p:nvPr/>
          </p:nvGrpSpPr>
          <p:grpSpPr>
            <a:xfrm>
              <a:off x="3306537" y="1632537"/>
              <a:ext cx="300399" cy="10730"/>
              <a:chOff x="3306537" y="1632537"/>
              <a:chExt cx="300399" cy="10730"/>
            </a:xfrm>
            <a:solidFill>
              <a:srgbClr val="394553"/>
            </a:solidFill>
          </p:grpSpPr>
          <p:sp>
            <p:nvSpPr>
              <p:cNvPr id="297" name="Forma livre: Forma 296">
                <a:extLst>
                  <a:ext uri="{FF2B5EF4-FFF2-40B4-BE49-F238E27FC236}">
                    <a16:creationId xmlns:a16="http://schemas.microsoft.com/office/drawing/2014/main" id="{B9F64441-BE7F-2785-2527-CD273BDBF011}"/>
                  </a:ext>
                </a:extLst>
              </p:cNvPr>
              <p:cNvSpPr/>
              <p:nvPr/>
            </p:nvSpPr>
            <p:spPr>
              <a:xfrm>
                <a:off x="3306537" y="1632537"/>
                <a:ext cx="16356" cy="10730"/>
              </a:xfrm>
              <a:custGeom>
                <a:avLst/>
                <a:gdLst>
                  <a:gd name="connsiteX0" fmla="*/ 12396 w 16356"/>
                  <a:gd name="connsiteY0" fmla="*/ 10730 h 10730"/>
                  <a:gd name="connsiteX1" fmla="*/ 8819 w 16356"/>
                  <a:gd name="connsiteY1" fmla="*/ 9897 h 10730"/>
                  <a:gd name="connsiteX2" fmla="*/ 4214 w 16356"/>
                  <a:gd name="connsiteY2" fmla="*/ 7741 h 10730"/>
                  <a:gd name="connsiteX3" fmla="*/ 196 w 16356"/>
                  <a:gd name="connsiteY3" fmla="*/ 1617 h 10730"/>
                  <a:gd name="connsiteX4" fmla="*/ 3920 w 16356"/>
                  <a:gd name="connsiteY4" fmla="*/ 0 h 10730"/>
                  <a:gd name="connsiteX5" fmla="*/ 7496 w 16356"/>
                  <a:gd name="connsiteY5" fmla="*/ 833 h 10730"/>
                  <a:gd name="connsiteX6" fmla="*/ 12151 w 16356"/>
                  <a:gd name="connsiteY6" fmla="*/ 2989 h 10730"/>
                  <a:gd name="connsiteX7" fmla="*/ 16120 w 16356"/>
                  <a:gd name="connsiteY7" fmla="*/ 7007 h 10730"/>
                  <a:gd name="connsiteX8" fmla="*/ 16169 w 16356"/>
                  <a:gd name="connsiteY8" fmla="*/ 9113 h 10730"/>
                  <a:gd name="connsiteX9" fmla="*/ 12445 w 16356"/>
                  <a:gd name="connsiteY9" fmla="*/ 10730 h 107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6356" h="10730">
                    <a:moveTo>
                      <a:pt x="12396" y="10730"/>
                    </a:moveTo>
                    <a:cubicBezTo>
                      <a:pt x="11220" y="10730"/>
                      <a:pt x="9946" y="10436"/>
                      <a:pt x="8819" y="9897"/>
                    </a:cubicBezTo>
                    <a:lnTo>
                      <a:pt x="4214" y="7741"/>
                    </a:lnTo>
                    <a:cubicBezTo>
                      <a:pt x="1029" y="6223"/>
                      <a:pt x="-588" y="3185"/>
                      <a:pt x="196" y="1617"/>
                    </a:cubicBezTo>
                    <a:cubicBezTo>
                      <a:pt x="637" y="637"/>
                      <a:pt x="2156" y="0"/>
                      <a:pt x="3920" y="0"/>
                    </a:cubicBezTo>
                    <a:cubicBezTo>
                      <a:pt x="5095" y="0"/>
                      <a:pt x="6369" y="294"/>
                      <a:pt x="7496" y="833"/>
                    </a:cubicBezTo>
                    <a:lnTo>
                      <a:pt x="12151" y="2989"/>
                    </a:lnTo>
                    <a:cubicBezTo>
                      <a:pt x="14062" y="3871"/>
                      <a:pt x="15532" y="5390"/>
                      <a:pt x="16120" y="7007"/>
                    </a:cubicBezTo>
                    <a:cubicBezTo>
                      <a:pt x="16316" y="7594"/>
                      <a:pt x="16512" y="8427"/>
                      <a:pt x="16169" y="9113"/>
                    </a:cubicBezTo>
                    <a:cubicBezTo>
                      <a:pt x="15728" y="10093"/>
                      <a:pt x="14209" y="10730"/>
                      <a:pt x="12445" y="10730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98" name="Forma livre: Forma 297">
                <a:extLst>
                  <a:ext uri="{FF2B5EF4-FFF2-40B4-BE49-F238E27FC236}">
                    <a16:creationId xmlns:a16="http://schemas.microsoft.com/office/drawing/2014/main" id="{5DE8FF9B-D833-E38A-C08E-094A54162BAE}"/>
                  </a:ext>
                </a:extLst>
              </p:cNvPr>
              <p:cNvSpPr/>
              <p:nvPr/>
            </p:nvSpPr>
            <p:spPr>
              <a:xfrm>
                <a:off x="3590581" y="1632537"/>
                <a:ext cx="16356" cy="10730"/>
              </a:xfrm>
              <a:custGeom>
                <a:avLst/>
                <a:gdLst>
                  <a:gd name="connsiteX0" fmla="*/ 3960 w 16356"/>
                  <a:gd name="connsiteY0" fmla="*/ 10730 h 10730"/>
                  <a:gd name="connsiteX1" fmla="*/ 7537 w 16356"/>
                  <a:gd name="connsiteY1" fmla="*/ 9897 h 10730"/>
                  <a:gd name="connsiteX2" fmla="*/ 12143 w 16356"/>
                  <a:gd name="connsiteY2" fmla="*/ 7741 h 10730"/>
                  <a:gd name="connsiteX3" fmla="*/ 16160 w 16356"/>
                  <a:gd name="connsiteY3" fmla="*/ 1617 h 10730"/>
                  <a:gd name="connsiteX4" fmla="*/ 12437 w 16356"/>
                  <a:gd name="connsiteY4" fmla="*/ 0 h 10730"/>
                  <a:gd name="connsiteX5" fmla="*/ 8860 w 16356"/>
                  <a:gd name="connsiteY5" fmla="*/ 833 h 10730"/>
                  <a:gd name="connsiteX6" fmla="*/ 4205 w 16356"/>
                  <a:gd name="connsiteY6" fmla="*/ 2989 h 10730"/>
                  <a:gd name="connsiteX7" fmla="*/ 236 w 16356"/>
                  <a:gd name="connsiteY7" fmla="*/ 7007 h 10730"/>
                  <a:gd name="connsiteX8" fmla="*/ 187 w 16356"/>
                  <a:gd name="connsiteY8" fmla="*/ 9113 h 10730"/>
                  <a:gd name="connsiteX9" fmla="*/ 3911 w 16356"/>
                  <a:gd name="connsiteY9" fmla="*/ 10730 h 107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6356" h="10730">
                    <a:moveTo>
                      <a:pt x="3960" y="10730"/>
                    </a:moveTo>
                    <a:cubicBezTo>
                      <a:pt x="5136" y="10730"/>
                      <a:pt x="6410" y="10436"/>
                      <a:pt x="7537" y="9897"/>
                    </a:cubicBezTo>
                    <a:lnTo>
                      <a:pt x="12143" y="7741"/>
                    </a:lnTo>
                    <a:cubicBezTo>
                      <a:pt x="15327" y="6223"/>
                      <a:pt x="16944" y="3185"/>
                      <a:pt x="16160" y="1617"/>
                    </a:cubicBezTo>
                    <a:cubicBezTo>
                      <a:pt x="15719" y="637"/>
                      <a:pt x="14200" y="0"/>
                      <a:pt x="12437" y="0"/>
                    </a:cubicBezTo>
                    <a:cubicBezTo>
                      <a:pt x="11261" y="0"/>
                      <a:pt x="9987" y="294"/>
                      <a:pt x="8860" y="833"/>
                    </a:cubicBezTo>
                    <a:lnTo>
                      <a:pt x="4205" y="2989"/>
                    </a:lnTo>
                    <a:cubicBezTo>
                      <a:pt x="2294" y="3871"/>
                      <a:pt x="824" y="5390"/>
                      <a:pt x="236" y="7007"/>
                    </a:cubicBezTo>
                    <a:cubicBezTo>
                      <a:pt x="40" y="7594"/>
                      <a:pt x="-156" y="8427"/>
                      <a:pt x="187" y="9113"/>
                    </a:cubicBezTo>
                    <a:cubicBezTo>
                      <a:pt x="628" y="10093"/>
                      <a:pt x="2147" y="10730"/>
                      <a:pt x="3911" y="10730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299" name="Gráfico 4">
            <a:extLst>
              <a:ext uri="{FF2B5EF4-FFF2-40B4-BE49-F238E27FC236}">
                <a16:creationId xmlns:a16="http://schemas.microsoft.com/office/drawing/2014/main" id="{47EC1F33-3947-637C-6D11-22D2934CE6DF}"/>
              </a:ext>
            </a:extLst>
          </p:cNvPr>
          <p:cNvGrpSpPr/>
          <p:nvPr/>
        </p:nvGrpSpPr>
        <p:grpSpPr>
          <a:xfrm>
            <a:off x="3317953" y="2071354"/>
            <a:ext cx="277567" cy="328622"/>
            <a:chOff x="3317953" y="2071354"/>
            <a:chExt cx="277567" cy="328622"/>
          </a:xfrm>
        </p:grpSpPr>
        <p:sp>
          <p:nvSpPr>
            <p:cNvPr id="300" name="Forma livre: Forma 299">
              <a:extLst>
                <a:ext uri="{FF2B5EF4-FFF2-40B4-BE49-F238E27FC236}">
                  <a16:creationId xmlns:a16="http://schemas.microsoft.com/office/drawing/2014/main" id="{83A56FE4-4E92-95C4-7CEB-B3119F4216E2}"/>
                </a:ext>
              </a:extLst>
            </p:cNvPr>
            <p:cNvSpPr/>
            <p:nvPr/>
          </p:nvSpPr>
          <p:spPr>
            <a:xfrm>
              <a:off x="3523334" y="2238826"/>
              <a:ext cx="12263" cy="72466"/>
            </a:xfrm>
            <a:custGeom>
              <a:avLst/>
              <a:gdLst>
                <a:gd name="connsiteX0" fmla="*/ 12263 w 12263"/>
                <a:gd name="connsiteY0" fmla="*/ 72466 h 72466"/>
                <a:gd name="connsiteX1" fmla="*/ 357 w 12263"/>
                <a:gd name="connsiteY1" fmla="*/ 39443 h 72466"/>
                <a:gd name="connsiteX2" fmla="*/ 6237 w 12263"/>
                <a:gd name="connsiteY2" fmla="*/ 0 h 724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263" h="72466">
                  <a:moveTo>
                    <a:pt x="12263" y="72466"/>
                  </a:moveTo>
                  <a:cubicBezTo>
                    <a:pt x="-3220" y="57473"/>
                    <a:pt x="357" y="39443"/>
                    <a:pt x="357" y="39443"/>
                  </a:cubicBezTo>
                  <a:lnTo>
                    <a:pt x="6237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01" name="Forma livre: Forma 300">
              <a:extLst>
                <a:ext uri="{FF2B5EF4-FFF2-40B4-BE49-F238E27FC236}">
                  <a16:creationId xmlns:a16="http://schemas.microsoft.com/office/drawing/2014/main" id="{B6D98570-4FB2-D77F-E711-EF00A0A528C0}"/>
                </a:ext>
              </a:extLst>
            </p:cNvPr>
            <p:cNvSpPr/>
            <p:nvPr/>
          </p:nvSpPr>
          <p:spPr>
            <a:xfrm>
              <a:off x="3317953" y="2236621"/>
              <a:ext cx="260516" cy="4899"/>
            </a:xfrm>
            <a:custGeom>
              <a:avLst/>
              <a:gdLst>
                <a:gd name="connsiteX0" fmla="*/ 0 w 260516"/>
                <a:gd name="connsiteY0" fmla="*/ 0 h 4899"/>
                <a:gd name="connsiteX1" fmla="*/ 260517 w 260516"/>
                <a:gd name="connsiteY1" fmla="*/ 0 h 48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60516" h="4899">
                  <a:moveTo>
                    <a:pt x="0" y="0"/>
                  </a:moveTo>
                  <a:lnTo>
                    <a:pt x="260517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02" name="Forma livre: Forma 301">
              <a:extLst>
                <a:ext uri="{FF2B5EF4-FFF2-40B4-BE49-F238E27FC236}">
                  <a16:creationId xmlns:a16="http://schemas.microsoft.com/office/drawing/2014/main" id="{35AA9C54-4B9E-22BD-7AF0-ECB061063029}"/>
                </a:ext>
              </a:extLst>
            </p:cNvPr>
            <p:cNvSpPr/>
            <p:nvPr/>
          </p:nvSpPr>
          <p:spPr>
            <a:xfrm>
              <a:off x="3360287" y="2236768"/>
              <a:ext cx="155565" cy="126657"/>
            </a:xfrm>
            <a:custGeom>
              <a:avLst/>
              <a:gdLst>
                <a:gd name="connsiteX0" fmla="*/ 0 w 155565"/>
                <a:gd name="connsiteY0" fmla="*/ 0 h 126657"/>
                <a:gd name="connsiteX1" fmla="*/ 67175 w 155565"/>
                <a:gd name="connsiteY1" fmla="*/ 74475 h 126657"/>
                <a:gd name="connsiteX2" fmla="*/ 155565 w 155565"/>
                <a:gd name="connsiteY2" fmla="*/ 126657 h 1266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55565" h="126657">
                  <a:moveTo>
                    <a:pt x="0" y="0"/>
                  </a:moveTo>
                  <a:lnTo>
                    <a:pt x="67175" y="74475"/>
                  </a:lnTo>
                  <a:lnTo>
                    <a:pt x="155565" y="126657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03" name="Forma livre: Forma 302">
              <a:extLst>
                <a:ext uri="{FF2B5EF4-FFF2-40B4-BE49-F238E27FC236}">
                  <a16:creationId xmlns:a16="http://schemas.microsoft.com/office/drawing/2014/main" id="{77E10631-9387-E282-8CDD-45F246B3CC32}"/>
                </a:ext>
              </a:extLst>
            </p:cNvPr>
            <p:cNvSpPr/>
            <p:nvPr/>
          </p:nvSpPr>
          <p:spPr>
            <a:xfrm>
              <a:off x="3392478" y="2237258"/>
              <a:ext cx="111223" cy="42194"/>
            </a:xfrm>
            <a:custGeom>
              <a:avLst/>
              <a:gdLst>
                <a:gd name="connsiteX0" fmla="*/ 0 w 111223"/>
                <a:gd name="connsiteY0" fmla="*/ 0 h 42194"/>
                <a:gd name="connsiteX1" fmla="*/ 53848 w 111223"/>
                <a:gd name="connsiteY1" fmla="*/ 38757 h 42194"/>
                <a:gd name="connsiteX2" fmla="*/ 99660 w 111223"/>
                <a:gd name="connsiteY2" fmla="*/ 33808 h 42194"/>
                <a:gd name="connsiteX3" fmla="*/ 111223 w 111223"/>
                <a:gd name="connsiteY3" fmla="*/ 539 h 421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1223" h="42194">
                  <a:moveTo>
                    <a:pt x="0" y="0"/>
                  </a:moveTo>
                  <a:lnTo>
                    <a:pt x="53848" y="38757"/>
                  </a:lnTo>
                  <a:cubicBezTo>
                    <a:pt x="53848" y="38757"/>
                    <a:pt x="74769" y="49144"/>
                    <a:pt x="99660" y="33808"/>
                  </a:cubicBezTo>
                  <a:lnTo>
                    <a:pt x="111223" y="539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04" name="Forma livre: Forma 303">
              <a:extLst>
                <a:ext uri="{FF2B5EF4-FFF2-40B4-BE49-F238E27FC236}">
                  <a16:creationId xmlns:a16="http://schemas.microsoft.com/office/drawing/2014/main" id="{87EECDC4-DB4C-9C59-2FD1-7F73A4591B20}"/>
                </a:ext>
              </a:extLst>
            </p:cNvPr>
            <p:cNvSpPr/>
            <p:nvPr/>
          </p:nvSpPr>
          <p:spPr>
            <a:xfrm>
              <a:off x="3532070" y="2311097"/>
              <a:ext cx="63451" cy="88880"/>
            </a:xfrm>
            <a:custGeom>
              <a:avLst/>
              <a:gdLst>
                <a:gd name="connsiteX0" fmla="*/ 34004 w 63451"/>
                <a:gd name="connsiteY0" fmla="*/ 88880 h 88880"/>
                <a:gd name="connsiteX1" fmla="*/ 0 w 63451"/>
                <a:gd name="connsiteY1" fmla="*/ 75651 h 88880"/>
                <a:gd name="connsiteX2" fmla="*/ 29447 w 63451"/>
                <a:gd name="connsiteY2" fmla="*/ 0 h 88880"/>
                <a:gd name="connsiteX3" fmla="*/ 63451 w 63451"/>
                <a:gd name="connsiteY3" fmla="*/ 13229 h 888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3451" h="88880">
                  <a:moveTo>
                    <a:pt x="34004" y="88880"/>
                  </a:moveTo>
                  <a:lnTo>
                    <a:pt x="0" y="75651"/>
                  </a:lnTo>
                  <a:lnTo>
                    <a:pt x="29447" y="0"/>
                  </a:lnTo>
                  <a:lnTo>
                    <a:pt x="63451" y="13229"/>
                  </a:lnTo>
                </a:path>
              </a:pathLst>
            </a:custGeom>
            <a:noFill/>
            <a:ln w="6350" cap="sq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05" name="Forma livre: Forma 304">
              <a:extLst>
                <a:ext uri="{FF2B5EF4-FFF2-40B4-BE49-F238E27FC236}">
                  <a16:creationId xmlns:a16="http://schemas.microsoft.com/office/drawing/2014/main" id="{68AB54CF-DCF5-5891-AD04-23CD962179D4}"/>
                </a:ext>
              </a:extLst>
            </p:cNvPr>
            <p:cNvSpPr/>
            <p:nvPr/>
          </p:nvSpPr>
          <p:spPr>
            <a:xfrm>
              <a:off x="3328537" y="2092129"/>
              <a:ext cx="239301" cy="116661"/>
            </a:xfrm>
            <a:custGeom>
              <a:avLst/>
              <a:gdLst>
                <a:gd name="connsiteX0" fmla="*/ 119651 w 239301"/>
                <a:gd name="connsiteY0" fmla="*/ 0 h 116661"/>
                <a:gd name="connsiteX1" fmla="*/ 0 w 239301"/>
                <a:gd name="connsiteY1" fmla="*/ 116662 h 116661"/>
                <a:gd name="connsiteX2" fmla="*/ 239301 w 239301"/>
                <a:gd name="connsiteY2" fmla="*/ 116662 h 116661"/>
                <a:gd name="connsiteX3" fmla="*/ 119651 w 239301"/>
                <a:gd name="connsiteY3" fmla="*/ 0 h 1166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9301" h="116661">
                  <a:moveTo>
                    <a:pt x="119651" y="0"/>
                  </a:moveTo>
                  <a:cubicBezTo>
                    <a:pt x="53554" y="0"/>
                    <a:pt x="0" y="56249"/>
                    <a:pt x="0" y="116662"/>
                  </a:cubicBezTo>
                  <a:lnTo>
                    <a:pt x="239301" y="116662"/>
                  </a:lnTo>
                  <a:cubicBezTo>
                    <a:pt x="239301" y="56298"/>
                    <a:pt x="185748" y="0"/>
                    <a:pt x="119651" y="0"/>
                  </a:cubicBez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06" name="Forma livre: Forma 305">
              <a:extLst>
                <a:ext uri="{FF2B5EF4-FFF2-40B4-BE49-F238E27FC236}">
                  <a16:creationId xmlns:a16="http://schemas.microsoft.com/office/drawing/2014/main" id="{63FA1876-0031-A009-1B5D-44372858B57D}"/>
                </a:ext>
              </a:extLst>
            </p:cNvPr>
            <p:cNvSpPr/>
            <p:nvPr/>
          </p:nvSpPr>
          <p:spPr>
            <a:xfrm>
              <a:off x="3381992" y="2123830"/>
              <a:ext cx="37139" cy="35326"/>
            </a:xfrm>
            <a:custGeom>
              <a:avLst/>
              <a:gdLst>
                <a:gd name="connsiteX0" fmla="*/ 37140 w 37139"/>
                <a:gd name="connsiteY0" fmla="*/ 0 h 35326"/>
                <a:gd name="connsiteX1" fmla="*/ 0 w 37139"/>
                <a:gd name="connsiteY1" fmla="*/ 35327 h 353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7139" h="35326">
                  <a:moveTo>
                    <a:pt x="37140" y="0"/>
                  </a:moveTo>
                  <a:cubicBezTo>
                    <a:pt x="20579" y="7154"/>
                    <a:pt x="7252" y="19648"/>
                    <a:pt x="0" y="35327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07" name="Forma livre: Forma 306">
              <a:extLst>
                <a:ext uri="{FF2B5EF4-FFF2-40B4-BE49-F238E27FC236}">
                  <a16:creationId xmlns:a16="http://schemas.microsoft.com/office/drawing/2014/main" id="{9A7EEBEE-B2B2-B145-03B1-DAC1D2392844}"/>
                </a:ext>
              </a:extLst>
            </p:cNvPr>
            <p:cNvSpPr/>
            <p:nvPr/>
          </p:nvSpPr>
          <p:spPr>
            <a:xfrm>
              <a:off x="3442944" y="2071354"/>
              <a:ext cx="10485" cy="10485"/>
            </a:xfrm>
            <a:custGeom>
              <a:avLst/>
              <a:gdLst>
                <a:gd name="connsiteX0" fmla="*/ 10485 w 10485"/>
                <a:gd name="connsiteY0" fmla="*/ 5243 h 10485"/>
                <a:gd name="connsiteX1" fmla="*/ 5243 w 10485"/>
                <a:gd name="connsiteY1" fmla="*/ 10485 h 10485"/>
                <a:gd name="connsiteX2" fmla="*/ 0 w 10485"/>
                <a:gd name="connsiteY2" fmla="*/ 5243 h 10485"/>
                <a:gd name="connsiteX3" fmla="*/ 5243 w 10485"/>
                <a:gd name="connsiteY3" fmla="*/ 0 h 10485"/>
                <a:gd name="connsiteX4" fmla="*/ 10485 w 10485"/>
                <a:gd name="connsiteY4" fmla="*/ 5243 h 104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485" h="10485">
                  <a:moveTo>
                    <a:pt x="10485" y="5243"/>
                  </a:moveTo>
                  <a:cubicBezTo>
                    <a:pt x="10485" y="8133"/>
                    <a:pt x="8134" y="10485"/>
                    <a:pt x="5243" y="10485"/>
                  </a:cubicBezTo>
                  <a:cubicBezTo>
                    <a:pt x="2352" y="10485"/>
                    <a:pt x="0" y="8133"/>
                    <a:pt x="0" y="5243"/>
                  </a:cubicBezTo>
                  <a:cubicBezTo>
                    <a:pt x="0" y="2352"/>
                    <a:pt x="2352" y="0"/>
                    <a:pt x="5243" y="0"/>
                  </a:cubicBezTo>
                  <a:cubicBezTo>
                    <a:pt x="8134" y="0"/>
                    <a:pt x="10485" y="2352"/>
                    <a:pt x="10485" y="5243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308" name="Gráfico 4">
            <a:extLst>
              <a:ext uri="{FF2B5EF4-FFF2-40B4-BE49-F238E27FC236}">
                <a16:creationId xmlns:a16="http://schemas.microsoft.com/office/drawing/2014/main" id="{AFDC186F-61F5-4662-FBDB-4B8E61B163FC}"/>
              </a:ext>
            </a:extLst>
          </p:cNvPr>
          <p:cNvGrpSpPr/>
          <p:nvPr/>
        </p:nvGrpSpPr>
        <p:grpSpPr>
          <a:xfrm>
            <a:off x="3322069" y="2651430"/>
            <a:ext cx="269336" cy="269091"/>
            <a:chOff x="3322069" y="2651430"/>
            <a:chExt cx="269336" cy="269091"/>
          </a:xfrm>
          <a:noFill/>
        </p:grpSpPr>
        <p:sp>
          <p:nvSpPr>
            <p:cNvPr id="309" name="Forma livre: Forma 308">
              <a:extLst>
                <a:ext uri="{FF2B5EF4-FFF2-40B4-BE49-F238E27FC236}">
                  <a16:creationId xmlns:a16="http://schemas.microsoft.com/office/drawing/2014/main" id="{D8338EF4-6E39-4BFC-D4ED-BF5490B2E18B}"/>
                </a:ext>
              </a:extLst>
            </p:cNvPr>
            <p:cNvSpPr/>
            <p:nvPr/>
          </p:nvSpPr>
          <p:spPr>
            <a:xfrm>
              <a:off x="3322069" y="2651430"/>
              <a:ext cx="209070" cy="239595"/>
            </a:xfrm>
            <a:custGeom>
              <a:avLst/>
              <a:gdLst>
                <a:gd name="connsiteX0" fmla="*/ 0 w 209070"/>
                <a:gd name="connsiteY0" fmla="*/ 0 h 239595"/>
                <a:gd name="connsiteX1" fmla="*/ 209070 w 209070"/>
                <a:gd name="connsiteY1" fmla="*/ 0 h 239595"/>
                <a:gd name="connsiteX2" fmla="*/ 209070 w 209070"/>
                <a:gd name="connsiteY2" fmla="*/ 239595 h 239595"/>
                <a:gd name="connsiteX3" fmla="*/ 0 w 209070"/>
                <a:gd name="connsiteY3" fmla="*/ 239595 h 2395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9070" h="239595">
                  <a:moveTo>
                    <a:pt x="0" y="0"/>
                  </a:moveTo>
                  <a:lnTo>
                    <a:pt x="209070" y="0"/>
                  </a:lnTo>
                  <a:lnTo>
                    <a:pt x="209070" y="239595"/>
                  </a:lnTo>
                  <a:lnTo>
                    <a:pt x="0" y="239595"/>
                  </a:ln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10" name="Forma livre: Forma 309">
              <a:extLst>
                <a:ext uri="{FF2B5EF4-FFF2-40B4-BE49-F238E27FC236}">
                  <a16:creationId xmlns:a16="http://schemas.microsoft.com/office/drawing/2014/main" id="{FAEEF542-D36A-F1EC-8F9F-4ADB55DC6F43}"/>
                </a:ext>
              </a:extLst>
            </p:cNvPr>
            <p:cNvSpPr/>
            <p:nvPr/>
          </p:nvSpPr>
          <p:spPr>
            <a:xfrm>
              <a:off x="3557989" y="2651675"/>
              <a:ext cx="4899" cy="238125"/>
            </a:xfrm>
            <a:custGeom>
              <a:avLst/>
              <a:gdLst>
                <a:gd name="connsiteX0" fmla="*/ 0 w 4899"/>
                <a:gd name="connsiteY0" fmla="*/ 0 h 238125"/>
                <a:gd name="connsiteX1" fmla="*/ 0 w 4899"/>
                <a:gd name="connsiteY1" fmla="*/ 238125 h 2381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899" h="238125">
                  <a:moveTo>
                    <a:pt x="0" y="0"/>
                  </a:moveTo>
                  <a:lnTo>
                    <a:pt x="0" y="238125"/>
                  </a:lnTo>
                </a:path>
              </a:pathLst>
            </a:custGeom>
            <a:ln w="6350" cap="sq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11" name="Forma livre: Forma 310">
              <a:extLst>
                <a:ext uri="{FF2B5EF4-FFF2-40B4-BE49-F238E27FC236}">
                  <a16:creationId xmlns:a16="http://schemas.microsoft.com/office/drawing/2014/main" id="{CEE85A41-7A18-9D6B-1B72-0127B3A3F9A7}"/>
                </a:ext>
              </a:extLst>
            </p:cNvPr>
            <p:cNvSpPr/>
            <p:nvPr/>
          </p:nvSpPr>
          <p:spPr>
            <a:xfrm>
              <a:off x="3337356" y="2891123"/>
              <a:ext cx="178495" cy="29398"/>
            </a:xfrm>
            <a:custGeom>
              <a:avLst/>
              <a:gdLst>
                <a:gd name="connsiteX0" fmla="*/ 178496 w 178495"/>
                <a:gd name="connsiteY0" fmla="*/ 0 h 29398"/>
                <a:gd name="connsiteX1" fmla="*/ 178496 w 178495"/>
                <a:gd name="connsiteY1" fmla="*/ 29398 h 29398"/>
                <a:gd name="connsiteX2" fmla="*/ 0 w 178495"/>
                <a:gd name="connsiteY2" fmla="*/ 29398 h 29398"/>
                <a:gd name="connsiteX3" fmla="*/ 0 w 178495"/>
                <a:gd name="connsiteY3" fmla="*/ 0 h 293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8495" h="29398">
                  <a:moveTo>
                    <a:pt x="178496" y="0"/>
                  </a:moveTo>
                  <a:lnTo>
                    <a:pt x="178496" y="29398"/>
                  </a:lnTo>
                  <a:lnTo>
                    <a:pt x="0" y="29398"/>
                  </a:lnTo>
                  <a:lnTo>
                    <a:pt x="0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12" name="Forma livre: Forma 311">
              <a:extLst>
                <a:ext uri="{FF2B5EF4-FFF2-40B4-BE49-F238E27FC236}">
                  <a16:creationId xmlns:a16="http://schemas.microsoft.com/office/drawing/2014/main" id="{CD6B07DA-474A-80B8-4B75-EFEB059FF46D}"/>
                </a:ext>
              </a:extLst>
            </p:cNvPr>
            <p:cNvSpPr/>
            <p:nvPr/>
          </p:nvSpPr>
          <p:spPr>
            <a:xfrm>
              <a:off x="3558724" y="2686855"/>
              <a:ext cx="32680" cy="70653"/>
            </a:xfrm>
            <a:custGeom>
              <a:avLst/>
              <a:gdLst>
                <a:gd name="connsiteX0" fmla="*/ 0 w 32680"/>
                <a:gd name="connsiteY0" fmla="*/ 0 h 70653"/>
                <a:gd name="connsiteX1" fmla="*/ 32681 w 32680"/>
                <a:gd name="connsiteY1" fmla="*/ 0 h 70653"/>
                <a:gd name="connsiteX2" fmla="*/ 32681 w 32680"/>
                <a:gd name="connsiteY2" fmla="*/ 70654 h 70653"/>
                <a:gd name="connsiteX3" fmla="*/ 882 w 32680"/>
                <a:gd name="connsiteY3" fmla="*/ 70654 h 70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2680" h="70653">
                  <a:moveTo>
                    <a:pt x="0" y="0"/>
                  </a:moveTo>
                  <a:lnTo>
                    <a:pt x="32681" y="0"/>
                  </a:lnTo>
                  <a:lnTo>
                    <a:pt x="32681" y="70654"/>
                  </a:lnTo>
                  <a:lnTo>
                    <a:pt x="882" y="70654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313" name="Gráfico 4">
              <a:extLst>
                <a:ext uri="{FF2B5EF4-FFF2-40B4-BE49-F238E27FC236}">
                  <a16:creationId xmlns:a16="http://schemas.microsoft.com/office/drawing/2014/main" id="{11E5E5AA-C53D-5739-671C-C8ADBEF531DF}"/>
                </a:ext>
              </a:extLst>
            </p:cNvPr>
            <p:cNvGrpSpPr/>
            <p:nvPr/>
          </p:nvGrpSpPr>
          <p:grpSpPr>
            <a:xfrm>
              <a:off x="3353672" y="2690676"/>
              <a:ext cx="145814" cy="165658"/>
              <a:chOff x="3353672" y="2690676"/>
              <a:chExt cx="145814" cy="165658"/>
            </a:xfrm>
            <a:noFill/>
          </p:grpSpPr>
          <p:grpSp>
            <p:nvGrpSpPr>
              <p:cNvPr id="314" name="Gráfico 4">
                <a:extLst>
                  <a:ext uri="{FF2B5EF4-FFF2-40B4-BE49-F238E27FC236}">
                    <a16:creationId xmlns:a16="http://schemas.microsoft.com/office/drawing/2014/main" id="{B9F60ABC-6EDA-2820-987A-236AA5C83EF7}"/>
                  </a:ext>
                </a:extLst>
              </p:cNvPr>
              <p:cNvGrpSpPr/>
              <p:nvPr/>
            </p:nvGrpSpPr>
            <p:grpSpPr>
              <a:xfrm>
                <a:off x="3353672" y="2690676"/>
                <a:ext cx="59531" cy="165658"/>
                <a:chOff x="3353672" y="2690676"/>
                <a:chExt cx="59531" cy="165658"/>
              </a:xfrm>
              <a:noFill/>
            </p:grpSpPr>
            <p:sp>
              <p:nvSpPr>
                <p:cNvPr id="315" name="Forma livre: Forma 314">
                  <a:extLst>
                    <a:ext uri="{FF2B5EF4-FFF2-40B4-BE49-F238E27FC236}">
                      <a16:creationId xmlns:a16="http://schemas.microsoft.com/office/drawing/2014/main" id="{3335371A-78FB-1DA4-3EEC-91144587C124}"/>
                    </a:ext>
                  </a:extLst>
                </p:cNvPr>
                <p:cNvSpPr/>
                <p:nvPr/>
              </p:nvSpPr>
              <p:spPr>
                <a:xfrm>
                  <a:off x="3353672" y="2690676"/>
                  <a:ext cx="59531" cy="165658"/>
                </a:xfrm>
                <a:custGeom>
                  <a:avLst/>
                  <a:gdLst>
                    <a:gd name="connsiteX0" fmla="*/ 31554 w 59531"/>
                    <a:gd name="connsiteY0" fmla="*/ 165659 h 165658"/>
                    <a:gd name="connsiteX1" fmla="*/ 59531 w 59531"/>
                    <a:gd name="connsiteY1" fmla="*/ 165659 h 165658"/>
                    <a:gd name="connsiteX2" fmla="*/ 59531 w 59531"/>
                    <a:gd name="connsiteY2" fmla="*/ 100346 h 165658"/>
                    <a:gd name="connsiteX3" fmla="*/ 49242 w 59531"/>
                    <a:gd name="connsiteY3" fmla="*/ 63598 h 165658"/>
                    <a:gd name="connsiteX4" fmla="*/ 44391 w 59531"/>
                    <a:gd name="connsiteY4" fmla="*/ 43754 h 165658"/>
                    <a:gd name="connsiteX5" fmla="*/ 44391 w 59531"/>
                    <a:gd name="connsiteY5" fmla="*/ 0 h 165658"/>
                    <a:gd name="connsiteX6" fmla="*/ 15140 w 59531"/>
                    <a:gd name="connsiteY6" fmla="*/ 0 h 165658"/>
                    <a:gd name="connsiteX7" fmla="*/ 15140 w 59531"/>
                    <a:gd name="connsiteY7" fmla="*/ 43754 h 165658"/>
                    <a:gd name="connsiteX8" fmla="*/ 10289 w 59531"/>
                    <a:gd name="connsiteY8" fmla="*/ 63598 h 165658"/>
                    <a:gd name="connsiteX9" fmla="*/ 0 w 59531"/>
                    <a:gd name="connsiteY9" fmla="*/ 100346 h 165658"/>
                    <a:gd name="connsiteX10" fmla="*/ 0 w 59531"/>
                    <a:gd name="connsiteY10" fmla="*/ 165659 h 165658"/>
                    <a:gd name="connsiteX11" fmla="*/ 31603 w 59531"/>
                    <a:gd name="connsiteY11" fmla="*/ 165659 h 16565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</a:cxnLst>
                  <a:rect l="l" t="t" r="r" b="b"/>
                  <a:pathLst>
                    <a:path w="59531" h="165658">
                      <a:moveTo>
                        <a:pt x="31554" y="165659"/>
                      </a:moveTo>
                      <a:lnTo>
                        <a:pt x="59531" y="165659"/>
                      </a:lnTo>
                      <a:lnTo>
                        <a:pt x="59531" y="100346"/>
                      </a:lnTo>
                      <a:cubicBezTo>
                        <a:pt x="59531" y="80502"/>
                        <a:pt x="49242" y="63598"/>
                        <a:pt x="49242" y="63598"/>
                      </a:cubicBezTo>
                      <a:cubicBezTo>
                        <a:pt x="43607" y="54827"/>
                        <a:pt x="44391" y="43754"/>
                        <a:pt x="44391" y="43754"/>
                      </a:cubicBezTo>
                      <a:lnTo>
                        <a:pt x="44391" y="0"/>
                      </a:lnTo>
                      <a:lnTo>
                        <a:pt x="15140" y="0"/>
                      </a:lnTo>
                      <a:lnTo>
                        <a:pt x="15140" y="43754"/>
                      </a:lnTo>
                      <a:cubicBezTo>
                        <a:pt x="15140" y="43754"/>
                        <a:pt x="15924" y="54827"/>
                        <a:pt x="10289" y="63598"/>
                      </a:cubicBezTo>
                      <a:cubicBezTo>
                        <a:pt x="10289" y="63598"/>
                        <a:pt x="0" y="80502"/>
                        <a:pt x="0" y="100346"/>
                      </a:cubicBezTo>
                      <a:lnTo>
                        <a:pt x="0" y="165659"/>
                      </a:lnTo>
                      <a:lnTo>
                        <a:pt x="31603" y="165659"/>
                      </a:lnTo>
                      <a:close/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316" name="Forma livre: Forma 315">
                  <a:extLst>
                    <a:ext uri="{FF2B5EF4-FFF2-40B4-BE49-F238E27FC236}">
                      <a16:creationId xmlns:a16="http://schemas.microsoft.com/office/drawing/2014/main" id="{F0D48238-448D-1AE3-F3C0-3A9E9D393073}"/>
                    </a:ext>
                  </a:extLst>
                </p:cNvPr>
                <p:cNvSpPr/>
                <p:nvPr/>
              </p:nvSpPr>
              <p:spPr>
                <a:xfrm>
                  <a:off x="3383805" y="2791022"/>
                  <a:ext cx="29251" cy="34640"/>
                </a:xfrm>
                <a:custGeom>
                  <a:avLst/>
                  <a:gdLst>
                    <a:gd name="connsiteX0" fmla="*/ 28565 w 29251"/>
                    <a:gd name="connsiteY0" fmla="*/ 0 h 34640"/>
                    <a:gd name="connsiteX1" fmla="*/ 0 w 29251"/>
                    <a:gd name="connsiteY1" fmla="*/ 0 h 34640"/>
                    <a:gd name="connsiteX2" fmla="*/ 0 w 29251"/>
                    <a:gd name="connsiteY2" fmla="*/ 34641 h 34640"/>
                    <a:gd name="connsiteX3" fmla="*/ 29251 w 29251"/>
                    <a:gd name="connsiteY3" fmla="*/ 34641 h 3464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29251" h="34640">
                      <a:moveTo>
                        <a:pt x="28565" y="0"/>
                      </a:moveTo>
                      <a:lnTo>
                        <a:pt x="0" y="0"/>
                      </a:lnTo>
                      <a:lnTo>
                        <a:pt x="0" y="34641"/>
                      </a:lnTo>
                      <a:lnTo>
                        <a:pt x="29251" y="34641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317" name="Forma livre: Forma 316">
                  <a:extLst>
                    <a:ext uri="{FF2B5EF4-FFF2-40B4-BE49-F238E27FC236}">
                      <a16:creationId xmlns:a16="http://schemas.microsoft.com/office/drawing/2014/main" id="{61CA9877-76F6-2633-EECB-26B75FAF10ED}"/>
                    </a:ext>
                  </a:extLst>
                </p:cNvPr>
                <p:cNvSpPr/>
                <p:nvPr/>
              </p:nvSpPr>
              <p:spPr>
                <a:xfrm>
                  <a:off x="3369057" y="2715518"/>
                  <a:ext cx="28761" cy="4899"/>
                </a:xfrm>
                <a:custGeom>
                  <a:avLst/>
                  <a:gdLst>
                    <a:gd name="connsiteX0" fmla="*/ 0 w 28761"/>
                    <a:gd name="connsiteY0" fmla="*/ 0 h 4899"/>
                    <a:gd name="connsiteX1" fmla="*/ 28761 w 28761"/>
                    <a:gd name="connsiteY1" fmla="*/ 0 h 489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8761" h="4899">
                      <a:moveTo>
                        <a:pt x="0" y="0"/>
                      </a:moveTo>
                      <a:lnTo>
                        <a:pt x="28761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318" name="Gráfico 4">
                <a:extLst>
                  <a:ext uri="{FF2B5EF4-FFF2-40B4-BE49-F238E27FC236}">
                    <a16:creationId xmlns:a16="http://schemas.microsoft.com/office/drawing/2014/main" id="{68D72CE2-1E8D-C7FF-A50D-01317375631C}"/>
                  </a:ext>
                </a:extLst>
              </p:cNvPr>
              <p:cNvGrpSpPr/>
              <p:nvPr/>
            </p:nvGrpSpPr>
            <p:grpSpPr>
              <a:xfrm>
                <a:off x="3439956" y="2690676"/>
                <a:ext cx="59531" cy="165658"/>
                <a:chOff x="3439956" y="2690676"/>
                <a:chExt cx="59531" cy="165658"/>
              </a:xfrm>
              <a:noFill/>
            </p:grpSpPr>
            <p:sp>
              <p:nvSpPr>
                <p:cNvPr id="319" name="Forma livre: Forma 318">
                  <a:extLst>
                    <a:ext uri="{FF2B5EF4-FFF2-40B4-BE49-F238E27FC236}">
                      <a16:creationId xmlns:a16="http://schemas.microsoft.com/office/drawing/2014/main" id="{784D0950-FCF1-8D24-597C-0B40566702EA}"/>
                    </a:ext>
                  </a:extLst>
                </p:cNvPr>
                <p:cNvSpPr/>
                <p:nvPr/>
              </p:nvSpPr>
              <p:spPr>
                <a:xfrm>
                  <a:off x="3439956" y="2690676"/>
                  <a:ext cx="59531" cy="165658"/>
                </a:xfrm>
                <a:custGeom>
                  <a:avLst/>
                  <a:gdLst>
                    <a:gd name="connsiteX0" fmla="*/ 31554 w 59531"/>
                    <a:gd name="connsiteY0" fmla="*/ 165659 h 165658"/>
                    <a:gd name="connsiteX1" fmla="*/ 59531 w 59531"/>
                    <a:gd name="connsiteY1" fmla="*/ 165659 h 165658"/>
                    <a:gd name="connsiteX2" fmla="*/ 59531 w 59531"/>
                    <a:gd name="connsiteY2" fmla="*/ 100346 h 165658"/>
                    <a:gd name="connsiteX3" fmla="*/ 49242 w 59531"/>
                    <a:gd name="connsiteY3" fmla="*/ 63598 h 165658"/>
                    <a:gd name="connsiteX4" fmla="*/ 44391 w 59531"/>
                    <a:gd name="connsiteY4" fmla="*/ 43754 h 165658"/>
                    <a:gd name="connsiteX5" fmla="*/ 44391 w 59531"/>
                    <a:gd name="connsiteY5" fmla="*/ 0 h 165658"/>
                    <a:gd name="connsiteX6" fmla="*/ 15140 w 59531"/>
                    <a:gd name="connsiteY6" fmla="*/ 0 h 165658"/>
                    <a:gd name="connsiteX7" fmla="*/ 15140 w 59531"/>
                    <a:gd name="connsiteY7" fmla="*/ 43754 h 165658"/>
                    <a:gd name="connsiteX8" fmla="*/ 10289 w 59531"/>
                    <a:gd name="connsiteY8" fmla="*/ 63598 h 165658"/>
                    <a:gd name="connsiteX9" fmla="*/ 0 w 59531"/>
                    <a:gd name="connsiteY9" fmla="*/ 100346 h 165658"/>
                    <a:gd name="connsiteX10" fmla="*/ 0 w 59531"/>
                    <a:gd name="connsiteY10" fmla="*/ 165659 h 165658"/>
                    <a:gd name="connsiteX11" fmla="*/ 31603 w 59531"/>
                    <a:gd name="connsiteY11" fmla="*/ 165659 h 16565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</a:cxnLst>
                  <a:rect l="l" t="t" r="r" b="b"/>
                  <a:pathLst>
                    <a:path w="59531" h="165658">
                      <a:moveTo>
                        <a:pt x="31554" y="165659"/>
                      </a:moveTo>
                      <a:lnTo>
                        <a:pt x="59531" y="165659"/>
                      </a:lnTo>
                      <a:lnTo>
                        <a:pt x="59531" y="100346"/>
                      </a:lnTo>
                      <a:cubicBezTo>
                        <a:pt x="59531" y="80502"/>
                        <a:pt x="49242" y="63598"/>
                        <a:pt x="49242" y="63598"/>
                      </a:cubicBezTo>
                      <a:cubicBezTo>
                        <a:pt x="43607" y="54827"/>
                        <a:pt x="44391" y="43754"/>
                        <a:pt x="44391" y="43754"/>
                      </a:cubicBezTo>
                      <a:lnTo>
                        <a:pt x="44391" y="0"/>
                      </a:lnTo>
                      <a:lnTo>
                        <a:pt x="15140" y="0"/>
                      </a:lnTo>
                      <a:lnTo>
                        <a:pt x="15140" y="43754"/>
                      </a:lnTo>
                      <a:cubicBezTo>
                        <a:pt x="15140" y="43754"/>
                        <a:pt x="15924" y="54827"/>
                        <a:pt x="10289" y="63598"/>
                      </a:cubicBezTo>
                      <a:cubicBezTo>
                        <a:pt x="10289" y="63598"/>
                        <a:pt x="0" y="80502"/>
                        <a:pt x="0" y="100346"/>
                      </a:cubicBezTo>
                      <a:lnTo>
                        <a:pt x="0" y="165659"/>
                      </a:lnTo>
                      <a:lnTo>
                        <a:pt x="31603" y="165659"/>
                      </a:lnTo>
                      <a:close/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320" name="Forma livre: Forma 319">
                  <a:extLst>
                    <a:ext uri="{FF2B5EF4-FFF2-40B4-BE49-F238E27FC236}">
                      <a16:creationId xmlns:a16="http://schemas.microsoft.com/office/drawing/2014/main" id="{6557E38D-4B9E-2543-739D-EE1AF7FEF4ED}"/>
                    </a:ext>
                  </a:extLst>
                </p:cNvPr>
                <p:cNvSpPr/>
                <p:nvPr/>
              </p:nvSpPr>
              <p:spPr>
                <a:xfrm>
                  <a:off x="3470138" y="2791022"/>
                  <a:ext cx="29202" cy="34640"/>
                </a:xfrm>
                <a:custGeom>
                  <a:avLst/>
                  <a:gdLst>
                    <a:gd name="connsiteX0" fmla="*/ 28516 w 29202"/>
                    <a:gd name="connsiteY0" fmla="*/ 0 h 34640"/>
                    <a:gd name="connsiteX1" fmla="*/ 0 w 29202"/>
                    <a:gd name="connsiteY1" fmla="*/ 0 h 34640"/>
                    <a:gd name="connsiteX2" fmla="*/ 0 w 29202"/>
                    <a:gd name="connsiteY2" fmla="*/ 34641 h 34640"/>
                    <a:gd name="connsiteX3" fmla="*/ 29202 w 29202"/>
                    <a:gd name="connsiteY3" fmla="*/ 34641 h 3464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29202" h="34640">
                      <a:moveTo>
                        <a:pt x="28516" y="0"/>
                      </a:moveTo>
                      <a:lnTo>
                        <a:pt x="0" y="0"/>
                      </a:lnTo>
                      <a:lnTo>
                        <a:pt x="0" y="34641"/>
                      </a:lnTo>
                      <a:lnTo>
                        <a:pt x="29202" y="34641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321" name="Forma livre: Forma 320">
                  <a:extLst>
                    <a:ext uri="{FF2B5EF4-FFF2-40B4-BE49-F238E27FC236}">
                      <a16:creationId xmlns:a16="http://schemas.microsoft.com/office/drawing/2014/main" id="{7F8CC0AB-65AE-FF59-2022-0454F05B966A}"/>
                    </a:ext>
                  </a:extLst>
                </p:cNvPr>
                <p:cNvSpPr/>
                <p:nvPr/>
              </p:nvSpPr>
              <p:spPr>
                <a:xfrm>
                  <a:off x="3455341" y="2715518"/>
                  <a:ext cx="28810" cy="4899"/>
                </a:xfrm>
                <a:custGeom>
                  <a:avLst/>
                  <a:gdLst>
                    <a:gd name="connsiteX0" fmla="*/ 0 w 28810"/>
                    <a:gd name="connsiteY0" fmla="*/ 0 h 4899"/>
                    <a:gd name="connsiteX1" fmla="*/ 28810 w 28810"/>
                    <a:gd name="connsiteY1" fmla="*/ 0 h 489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8810" h="4899">
                      <a:moveTo>
                        <a:pt x="0" y="0"/>
                      </a:moveTo>
                      <a:lnTo>
                        <a:pt x="28810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</p:grpSp>
      <p:grpSp>
        <p:nvGrpSpPr>
          <p:cNvPr id="322" name="Gráfico 4">
            <a:extLst>
              <a:ext uri="{FF2B5EF4-FFF2-40B4-BE49-F238E27FC236}">
                <a16:creationId xmlns:a16="http://schemas.microsoft.com/office/drawing/2014/main" id="{5D67CDBC-9297-B680-1344-28E2690F81C1}"/>
              </a:ext>
            </a:extLst>
          </p:cNvPr>
          <p:cNvGrpSpPr/>
          <p:nvPr/>
        </p:nvGrpSpPr>
        <p:grpSpPr>
          <a:xfrm>
            <a:off x="3334122" y="3192895"/>
            <a:ext cx="245131" cy="286828"/>
            <a:chOff x="3334122" y="3192895"/>
            <a:chExt cx="245131" cy="286828"/>
          </a:xfrm>
          <a:noFill/>
        </p:grpSpPr>
        <p:sp>
          <p:nvSpPr>
            <p:cNvPr id="323" name="Forma livre: Forma 322">
              <a:extLst>
                <a:ext uri="{FF2B5EF4-FFF2-40B4-BE49-F238E27FC236}">
                  <a16:creationId xmlns:a16="http://schemas.microsoft.com/office/drawing/2014/main" id="{19E1DC56-FE54-F2DF-9CCD-7D218759A7E8}"/>
                </a:ext>
              </a:extLst>
            </p:cNvPr>
            <p:cNvSpPr/>
            <p:nvPr/>
          </p:nvSpPr>
          <p:spPr>
            <a:xfrm>
              <a:off x="3334122" y="3236307"/>
              <a:ext cx="245131" cy="243416"/>
            </a:xfrm>
            <a:custGeom>
              <a:avLst/>
              <a:gdLst>
                <a:gd name="connsiteX0" fmla="*/ 32828 w 245131"/>
                <a:gd name="connsiteY0" fmla="*/ 0 h 243416"/>
                <a:gd name="connsiteX1" fmla="*/ 14699 w 245131"/>
                <a:gd name="connsiteY1" fmla="*/ 0 h 243416"/>
                <a:gd name="connsiteX2" fmla="*/ 0 w 245131"/>
                <a:gd name="connsiteY2" fmla="*/ 14699 h 243416"/>
                <a:gd name="connsiteX3" fmla="*/ 0 w 245131"/>
                <a:gd name="connsiteY3" fmla="*/ 243417 h 243416"/>
                <a:gd name="connsiteX4" fmla="*/ 245132 w 245131"/>
                <a:gd name="connsiteY4" fmla="*/ 243417 h 243416"/>
                <a:gd name="connsiteX5" fmla="*/ 245132 w 245131"/>
                <a:gd name="connsiteY5" fmla="*/ 14699 h 243416"/>
                <a:gd name="connsiteX6" fmla="*/ 230433 w 245131"/>
                <a:gd name="connsiteY6" fmla="*/ 0 h 243416"/>
                <a:gd name="connsiteX7" fmla="*/ 214509 w 245131"/>
                <a:gd name="connsiteY7" fmla="*/ 0 h 2434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45131" h="243416">
                  <a:moveTo>
                    <a:pt x="32828" y="0"/>
                  </a:moveTo>
                  <a:lnTo>
                    <a:pt x="14699" y="0"/>
                  </a:lnTo>
                  <a:cubicBezTo>
                    <a:pt x="6615" y="0"/>
                    <a:pt x="0" y="6615"/>
                    <a:pt x="0" y="14699"/>
                  </a:cubicBezTo>
                  <a:lnTo>
                    <a:pt x="0" y="243417"/>
                  </a:lnTo>
                  <a:lnTo>
                    <a:pt x="245132" y="243417"/>
                  </a:lnTo>
                  <a:lnTo>
                    <a:pt x="245132" y="14699"/>
                  </a:lnTo>
                  <a:cubicBezTo>
                    <a:pt x="245132" y="6615"/>
                    <a:pt x="238517" y="0"/>
                    <a:pt x="230433" y="0"/>
                  </a:cubicBezTo>
                  <a:lnTo>
                    <a:pt x="214509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24" name="Forma livre: Forma 323">
              <a:extLst>
                <a:ext uri="{FF2B5EF4-FFF2-40B4-BE49-F238E27FC236}">
                  <a16:creationId xmlns:a16="http://schemas.microsoft.com/office/drawing/2014/main" id="{6DD96657-913C-CC96-E6B5-D453BFC0C8B4}"/>
                </a:ext>
              </a:extLst>
            </p:cNvPr>
            <p:cNvSpPr/>
            <p:nvPr/>
          </p:nvSpPr>
          <p:spPr>
            <a:xfrm>
              <a:off x="3389981" y="3192895"/>
              <a:ext cx="135178" cy="127000"/>
            </a:xfrm>
            <a:custGeom>
              <a:avLst/>
              <a:gdLst>
                <a:gd name="connsiteX0" fmla="*/ 135132 w 135178"/>
                <a:gd name="connsiteY0" fmla="*/ 23372 h 127000"/>
                <a:gd name="connsiteX1" fmla="*/ 135132 w 135178"/>
                <a:gd name="connsiteY1" fmla="*/ 127000 h 127000"/>
                <a:gd name="connsiteX2" fmla="*/ 69770 w 135178"/>
                <a:gd name="connsiteY2" fmla="*/ 91967 h 127000"/>
                <a:gd name="connsiteX3" fmla="*/ 100442 w 135178"/>
                <a:gd name="connsiteY3" fmla="*/ 66881 h 127000"/>
                <a:gd name="connsiteX4" fmla="*/ 69721 w 135178"/>
                <a:gd name="connsiteY4" fmla="*/ 0 h 127000"/>
                <a:gd name="connsiteX5" fmla="*/ 65458 w 135178"/>
                <a:gd name="connsiteY5" fmla="*/ 0 h 127000"/>
                <a:gd name="connsiteX6" fmla="*/ 34737 w 135178"/>
                <a:gd name="connsiteY6" fmla="*/ 66881 h 127000"/>
                <a:gd name="connsiteX7" fmla="*/ 65409 w 135178"/>
                <a:gd name="connsiteY7" fmla="*/ 91967 h 127000"/>
                <a:gd name="connsiteX8" fmla="*/ 47 w 135178"/>
                <a:gd name="connsiteY8" fmla="*/ 127000 h 127000"/>
                <a:gd name="connsiteX9" fmla="*/ 47 w 135178"/>
                <a:gd name="connsiteY9" fmla="*/ 23372 h 127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35178" h="127000">
                  <a:moveTo>
                    <a:pt x="135132" y="23372"/>
                  </a:moveTo>
                  <a:lnTo>
                    <a:pt x="135132" y="127000"/>
                  </a:lnTo>
                  <a:lnTo>
                    <a:pt x="69770" y="91967"/>
                  </a:lnTo>
                  <a:cubicBezTo>
                    <a:pt x="69770" y="91967"/>
                    <a:pt x="93778" y="73544"/>
                    <a:pt x="100442" y="66881"/>
                  </a:cubicBezTo>
                  <a:cubicBezTo>
                    <a:pt x="107105" y="60168"/>
                    <a:pt x="191674" y="0"/>
                    <a:pt x="69721" y="0"/>
                  </a:cubicBezTo>
                  <a:lnTo>
                    <a:pt x="65458" y="0"/>
                  </a:lnTo>
                  <a:cubicBezTo>
                    <a:pt x="-56495" y="0"/>
                    <a:pt x="28073" y="60168"/>
                    <a:pt x="34737" y="66881"/>
                  </a:cubicBezTo>
                  <a:cubicBezTo>
                    <a:pt x="41401" y="73544"/>
                    <a:pt x="65409" y="91967"/>
                    <a:pt x="65409" y="91967"/>
                  </a:cubicBezTo>
                  <a:lnTo>
                    <a:pt x="47" y="127000"/>
                  </a:lnTo>
                  <a:lnTo>
                    <a:pt x="47" y="23372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25" name="Forma livre: Forma 324">
              <a:extLst>
                <a:ext uri="{FF2B5EF4-FFF2-40B4-BE49-F238E27FC236}">
                  <a16:creationId xmlns:a16="http://schemas.microsoft.com/office/drawing/2014/main" id="{096BDEC9-C56E-A2BB-C70E-2605BA32683A}"/>
                </a:ext>
              </a:extLst>
            </p:cNvPr>
            <p:cNvSpPr/>
            <p:nvPr/>
          </p:nvSpPr>
          <p:spPr>
            <a:xfrm>
              <a:off x="3457595" y="3287019"/>
              <a:ext cx="4899" cy="191186"/>
            </a:xfrm>
            <a:custGeom>
              <a:avLst/>
              <a:gdLst>
                <a:gd name="connsiteX0" fmla="*/ 0 w 4899"/>
                <a:gd name="connsiteY0" fmla="*/ 0 h 191186"/>
                <a:gd name="connsiteX1" fmla="*/ 0 w 4899"/>
                <a:gd name="connsiteY1" fmla="*/ 191186 h 1911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899" h="191186">
                  <a:moveTo>
                    <a:pt x="0" y="0"/>
                  </a:moveTo>
                  <a:lnTo>
                    <a:pt x="0" y="191186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26" name="Forma livre: Forma 325">
              <a:extLst>
                <a:ext uri="{FF2B5EF4-FFF2-40B4-BE49-F238E27FC236}">
                  <a16:creationId xmlns:a16="http://schemas.microsoft.com/office/drawing/2014/main" id="{42EBB13D-2515-C402-DA88-11D09A0182ED}"/>
                </a:ext>
              </a:extLst>
            </p:cNvPr>
            <p:cNvSpPr/>
            <p:nvPr/>
          </p:nvSpPr>
          <p:spPr>
            <a:xfrm>
              <a:off x="3514578" y="3379525"/>
              <a:ext cx="60952" cy="4899"/>
            </a:xfrm>
            <a:custGeom>
              <a:avLst/>
              <a:gdLst>
                <a:gd name="connsiteX0" fmla="*/ 0 w 60952"/>
                <a:gd name="connsiteY0" fmla="*/ 0 h 4899"/>
                <a:gd name="connsiteX1" fmla="*/ 60952 w 60952"/>
                <a:gd name="connsiteY1" fmla="*/ 0 h 48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952" h="4899">
                  <a:moveTo>
                    <a:pt x="0" y="0"/>
                  </a:moveTo>
                  <a:lnTo>
                    <a:pt x="60952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327" name="Gráfico 4">
            <a:extLst>
              <a:ext uri="{FF2B5EF4-FFF2-40B4-BE49-F238E27FC236}">
                <a16:creationId xmlns:a16="http://schemas.microsoft.com/office/drawing/2014/main" id="{C9779306-13B2-6F54-371E-03C71A4A13E6}"/>
              </a:ext>
            </a:extLst>
          </p:cNvPr>
          <p:cNvGrpSpPr/>
          <p:nvPr/>
        </p:nvGrpSpPr>
        <p:grpSpPr>
          <a:xfrm>
            <a:off x="2637728" y="1030119"/>
            <a:ext cx="372082" cy="209903"/>
            <a:chOff x="2637728" y="1030119"/>
            <a:chExt cx="372082" cy="209903"/>
          </a:xfrm>
          <a:noFill/>
        </p:grpSpPr>
        <p:sp>
          <p:nvSpPr>
            <p:cNvPr id="328" name="Forma livre: Forma 327">
              <a:extLst>
                <a:ext uri="{FF2B5EF4-FFF2-40B4-BE49-F238E27FC236}">
                  <a16:creationId xmlns:a16="http://schemas.microsoft.com/office/drawing/2014/main" id="{E1397AB1-48FE-A0D5-FE4B-D7B6880F3E1E}"/>
                </a:ext>
              </a:extLst>
            </p:cNvPr>
            <p:cNvSpPr/>
            <p:nvPr/>
          </p:nvSpPr>
          <p:spPr>
            <a:xfrm>
              <a:off x="2959785" y="1042663"/>
              <a:ext cx="50025" cy="13621"/>
            </a:xfrm>
            <a:custGeom>
              <a:avLst/>
              <a:gdLst>
                <a:gd name="connsiteX0" fmla="*/ 50026 w 50025"/>
                <a:gd name="connsiteY0" fmla="*/ 0 h 13621"/>
                <a:gd name="connsiteX1" fmla="*/ 0 w 50025"/>
                <a:gd name="connsiteY1" fmla="*/ 13621 h 136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0025" h="13621">
                  <a:moveTo>
                    <a:pt x="50026" y="0"/>
                  </a:moveTo>
                  <a:cubicBezTo>
                    <a:pt x="50026" y="0"/>
                    <a:pt x="25674" y="2940"/>
                    <a:pt x="0" y="13621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29" name="Forma livre: Forma 328">
              <a:extLst>
                <a:ext uri="{FF2B5EF4-FFF2-40B4-BE49-F238E27FC236}">
                  <a16:creationId xmlns:a16="http://schemas.microsoft.com/office/drawing/2014/main" id="{79D79454-31D6-8C30-FF9D-5FCE045548D5}"/>
                </a:ext>
              </a:extLst>
            </p:cNvPr>
            <p:cNvSpPr/>
            <p:nvPr/>
          </p:nvSpPr>
          <p:spPr>
            <a:xfrm>
              <a:off x="2637728" y="1240023"/>
              <a:ext cx="279380" cy="4899"/>
            </a:xfrm>
            <a:custGeom>
              <a:avLst/>
              <a:gdLst>
                <a:gd name="connsiteX0" fmla="*/ 0 w 279380"/>
                <a:gd name="connsiteY0" fmla="*/ 0 h 4899"/>
                <a:gd name="connsiteX1" fmla="*/ 279381 w 279380"/>
                <a:gd name="connsiteY1" fmla="*/ 0 h 48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79380" h="4899">
                  <a:moveTo>
                    <a:pt x="0" y="0"/>
                  </a:moveTo>
                  <a:lnTo>
                    <a:pt x="279381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30" name="Forma livre: Forma 329">
              <a:extLst>
                <a:ext uri="{FF2B5EF4-FFF2-40B4-BE49-F238E27FC236}">
                  <a16:creationId xmlns:a16="http://schemas.microsoft.com/office/drawing/2014/main" id="{F191D968-7D3E-FF78-48A0-D2531F7DA99E}"/>
                </a:ext>
              </a:extLst>
            </p:cNvPr>
            <p:cNvSpPr/>
            <p:nvPr/>
          </p:nvSpPr>
          <p:spPr>
            <a:xfrm>
              <a:off x="2836068" y="1108613"/>
              <a:ext cx="45518" cy="3233"/>
            </a:xfrm>
            <a:custGeom>
              <a:avLst/>
              <a:gdLst>
                <a:gd name="connsiteX0" fmla="*/ 0 w 45518"/>
                <a:gd name="connsiteY0" fmla="*/ 3234 h 3233"/>
                <a:gd name="connsiteX1" fmla="*/ 45518 w 45518"/>
                <a:gd name="connsiteY1" fmla="*/ 0 h 32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5518" h="3233">
                  <a:moveTo>
                    <a:pt x="0" y="3234"/>
                  </a:moveTo>
                  <a:lnTo>
                    <a:pt x="45518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31" name="Forma livre: Forma 330">
              <a:extLst>
                <a:ext uri="{FF2B5EF4-FFF2-40B4-BE49-F238E27FC236}">
                  <a16:creationId xmlns:a16="http://schemas.microsoft.com/office/drawing/2014/main" id="{D2BA7E87-01DD-63E3-D91C-A5F37FDC4C7E}"/>
                </a:ext>
              </a:extLst>
            </p:cNvPr>
            <p:cNvSpPr/>
            <p:nvPr/>
          </p:nvSpPr>
          <p:spPr>
            <a:xfrm>
              <a:off x="2643072" y="1030119"/>
              <a:ext cx="339482" cy="180504"/>
            </a:xfrm>
            <a:custGeom>
              <a:avLst/>
              <a:gdLst>
                <a:gd name="connsiteX0" fmla="*/ 339203 w 339482"/>
                <a:gd name="connsiteY0" fmla="*/ 143071 h 180504"/>
                <a:gd name="connsiteX1" fmla="*/ 310197 w 339482"/>
                <a:gd name="connsiteY1" fmla="*/ 9260 h 180504"/>
                <a:gd name="connsiteX2" fmla="*/ 303827 w 339482"/>
                <a:gd name="connsiteY2" fmla="*/ 3577 h 180504"/>
                <a:gd name="connsiteX3" fmla="*/ 251303 w 339482"/>
                <a:gd name="connsiteY3" fmla="*/ 0 h 180504"/>
                <a:gd name="connsiteX4" fmla="*/ 140471 w 339482"/>
                <a:gd name="connsiteY4" fmla="*/ 20285 h 180504"/>
                <a:gd name="connsiteX5" fmla="*/ 115532 w 339482"/>
                <a:gd name="connsiteY5" fmla="*/ 31309 h 180504"/>
                <a:gd name="connsiteX6" fmla="*/ 99314 w 339482"/>
                <a:gd name="connsiteY6" fmla="*/ 41010 h 180504"/>
                <a:gd name="connsiteX7" fmla="*/ 536 w 339482"/>
                <a:gd name="connsiteY7" fmla="*/ 170167 h 180504"/>
                <a:gd name="connsiteX8" fmla="*/ 1320 w 339482"/>
                <a:gd name="connsiteY8" fmla="*/ 177173 h 180504"/>
                <a:gd name="connsiteX9" fmla="*/ 7543 w 339482"/>
                <a:gd name="connsiteY9" fmla="*/ 180505 h 180504"/>
                <a:gd name="connsiteX10" fmla="*/ 272567 w 339482"/>
                <a:gd name="connsiteY10" fmla="*/ 180505 h 180504"/>
                <a:gd name="connsiteX11" fmla="*/ 272567 w 339482"/>
                <a:gd name="connsiteY11" fmla="*/ 180260 h 180504"/>
                <a:gd name="connsiteX12" fmla="*/ 302455 w 339482"/>
                <a:gd name="connsiteY12" fmla="*/ 162082 h 180504"/>
                <a:gd name="connsiteX13" fmla="*/ 335136 w 339482"/>
                <a:gd name="connsiteY13" fmla="*/ 151744 h 180504"/>
                <a:gd name="connsiteX14" fmla="*/ 339252 w 339482"/>
                <a:gd name="connsiteY14" fmla="*/ 143071 h 180504"/>
                <a:gd name="connsiteX15" fmla="*/ 256692 w 339482"/>
                <a:gd name="connsiteY15" fmla="*/ 103678 h 180504"/>
                <a:gd name="connsiteX16" fmla="*/ 106860 w 339482"/>
                <a:gd name="connsiteY16" fmla="*/ 114065 h 180504"/>
                <a:gd name="connsiteX17" fmla="*/ 209410 w 339482"/>
                <a:gd name="connsiteY17" fmla="*/ 40031 h 180504"/>
                <a:gd name="connsiteX18" fmla="*/ 269431 w 339482"/>
                <a:gd name="connsiteY18" fmla="*/ 45714 h 180504"/>
                <a:gd name="connsiteX19" fmla="*/ 256692 w 339482"/>
                <a:gd name="connsiteY19" fmla="*/ 103678 h 1805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339482" h="180504">
                  <a:moveTo>
                    <a:pt x="339203" y="143071"/>
                  </a:moveTo>
                  <a:lnTo>
                    <a:pt x="310197" y="9260"/>
                  </a:lnTo>
                  <a:cubicBezTo>
                    <a:pt x="309462" y="6223"/>
                    <a:pt x="306914" y="3969"/>
                    <a:pt x="303827" y="3577"/>
                  </a:cubicBezTo>
                  <a:cubicBezTo>
                    <a:pt x="285894" y="1176"/>
                    <a:pt x="268207" y="0"/>
                    <a:pt x="251303" y="0"/>
                  </a:cubicBezTo>
                  <a:cubicBezTo>
                    <a:pt x="207842" y="0"/>
                    <a:pt x="171193" y="7987"/>
                    <a:pt x="140471" y="20285"/>
                  </a:cubicBezTo>
                  <a:cubicBezTo>
                    <a:pt x="127732" y="25233"/>
                    <a:pt x="119942" y="29153"/>
                    <a:pt x="115532" y="31309"/>
                  </a:cubicBezTo>
                  <a:cubicBezTo>
                    <a:pt x="110828" y="33661"/>
                    <a:pt x="99216" y="40863"/>
                    <a:pt x="99314" y="41010"/>
                  </a:cubicBezTo>
                  <a:cubicBezTo>
                    <a:pt x="27484" y="85745"/>
                    <a:pt x="879" y="169138"/>
                    <a:pt x="536" y="170167"/>
                  </a:cubicBezTo>
                  <a:cubicBezTo>
                    <a:pt x="-395" y="172469"/>
                    <a:pt x="-101" y="175115"/>
                    <a:pt x="1320" y="177173"/>
                  </a:cubicBezTo>
                  <a:cubicBezTo>
                    <a:pt x="2741" y="179231"/>
                    <a:pt x="5044" y="180456"/>
                    <a:pt x="7543" y="180505"/>
                  </a:cubicBezTo>
                  <a:lnTo>
                    <a:pt x="272567" y="180505"/>
                  </a:lnTo>
                  <a:cubicBezTo>
                    <a:pt x="272567" y="180505"/>
                    <a:pt x="272567" y="180260"/>
                    <a:pt x="272567" y="180260"/>
                  </a:cubicBezTo>
                  <a:cubicBezTo>
                    <a:pt x="273694" y="180260"/>
                    <a:pt x="285600" y="169726"/>
                    <a:pt x="302455" y="162082"/>
                  </a:cubicBezTo>
                  <a:cubicBezTo>
                    <a:pt x="318477" y="154879"/>
                    <a:pt x="335136" y="151744"/>
                    <a:pt x="335136" y="151744"/>
                  </a:cubicBezTo>
                  <a:cubicBezTo>
                    <a:pt x="338419" y="150225"/>
                    <a:pt x="340134" y="146599"/>
                    <a:pt x="339252" y="143071"/>
                  </a:cubicBezTo>
                  <a:close/>
                  <a:moveTo>
                    <a:pt x="256692" y="103678"/>
                  </a:moveTo>
                  <a:lnTo>
                    <a:pt x="106860" y="114065"/>
                  </a:lnTo>
                  <a:cubicBezTo>
                    <a:pt x="127732" y="64480"/>
                    <a:pt x="209410" y="40031"/>
                    <a:pt x="209410" y="40031"/>
                  </a:cubicBezTo>
                  <a:cubicBezTo>
                    <a:pt x="267178" y="25429"/>
                    <a:pt x="269431" y="45714"/>
                    <a:pt x="269431" y="45714"/>
                  </a:cubicBezTo>
                  <a:cubicBezTo>
                    <a:pt x="284866" y="104560"/>
                    <a:pt x="256692" y="103678"/>
                    <a:pt x="256692" y="103678"/>
                  </a:cubicBez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32" name="Forma livre: Forma 331">
              <a:extLst>
                <a:ext uri="{FF2B5EF4-FFF2-40B4-BE49-F238E27FC236}">
                  <a16:creationId xmlns:a16="http://schemas.microsoft.com/office/drawing/2014/main" id="{9BD97FC6-CC13-6BAD-9A91-78B384BFCF09}"/>
                </a:ext>
              </a:extLst>
            </p:cNvPr>
            <p:cNvSpPr/>
            <p:nvPr/>
          </p:nvSpPr>
          <p:spPr>
            <a:xfrm>
              <a:off x="2654093" y="1150848"/>
              <a:ext cx="320636" cy="30917"/>
            </a:xfrm>
            <a:custGeom>
              <a:avLst/>
              <a:gdLst>
                <a:gd name="connsiteX0" fmla="*/ 320636 w 320636"/>
                <a:gd name="connsiteY0" fmla="*/ 0 h 30917"/>
                <a:gd name="connsiteX1" fmla="*/ 0 w 320636"/>
                <a:gd name="connsiteY1" fmla="*/ 30917 h 309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20636" h="30917">
                  <a:moveTo>
                    <a:pt x="320636" y="0"/>
                  </a:moveTo>
                  <a:cubicBezTo>
                    <a:pt x="320636" y="0"/>
                    <a:pt x="268895" y="30917"/>
                    <a:pt x="0" y="30917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333" name="Gráfico 4">
            <a:extLst>
              <a:ext uri="{FF2B5EF4-FFF2-40B4-BE49-F238E27FC236}">
                <a16:creationId xmlns:a16="http://schemas.microsoft.com/office/drawing/2014/main" id="{23E52F63-3163-1ACF-6D3B-876D19BADFC0}"/>
              </a:ext>
            </a:extLst>
          </p:cNvPr>
          <p:cNvGrpSpPr/>
          <p:nvPr/>
        </p:nvGrpSpPr>
        <p:grpSpPr>
          <a:xfrm>
            <a:off x="2686774" y="1531053"/>
            <a:ext cx="265891" cy="308594"/>
            <a:chOff x="2686774" y="1531053"/>
            <a:chExt cx="265891" cy="308594"/>
          </a:xfrm>
        </p:grpSpPr>
        <p:sp>
          <p:nvSpPr>
            <p:cNvPr id="334" name="Forma livre: Forma 333">
              <a:extLst>
                <a:ext uri="{FF2B5EF4-FFF2-40B4-BE49-F238E27FC236}">
                  <a16:creationId xmlns:a16="http://schemas.microsoft.com/office/drawing/2014/main" id="{D1EC70E7-3A03-DC38-0220-6F463B07C364}"/>
                </a:ext>
              </a:extLst>
            </p:cNvPr>
            <p:cNvSpPr/>
            <p:nvPr/>
          </p:nvSpPr>
          <p:spPr>
            <a:xfrm>
              <a:off x="2689263" y="1693397"/>
              <a:ext cx="263403" cy="121360"/>
            </a:xfrm>
            <a:custGeom>
              <a:avLst/>
              <a:gdLst>
                <a:gd name="connsiteX0" fmla="*/ 249944 w 263403"/>
                <a:gd name="connsiteY0" fmla="*/ 120087 h 121360"/>
                <a:gd name="connsiteX1" fmla="*/ 254304 w 263403"/>
                <a:gd name="connsiteY1" fmla="*/ 118029 h 121360"/>
                <a:gd name="connsiteX2" fmla="*/ 262683 w 263403"/>
                <a:gd name="connsiteY2" fmla="*/ 89365 h 121360"/>
                <a:gd name="connsiteX3" fmla="*/ 192176 w 263403"/>
                <a:gd name="connsiteY3" fmla="*/ 44043 h 121360"/>
                <a:gd name="connsiteX4" fmla="*/ 158613 w 263403"/>
                <a:gd name="connsiteY4" fmla="*/ 5434 h 121360"/>
                <a:gd name="connsiteX5" fmla="*/ 61305 w 263403"/>
                <a:gd name="connsiteY5" fmla="*/ 7688 h 121360"/>
                <a:gd name="connsiteX6" fmla="*/ 4861 w 263403"/>
                <a:gd name="connsiteY6" fmla="*/ 53549 h 121360"/>
                <a:gd name="connsiteX7" fmla="*/ 4861 w 263403"/>
                <a:gd name="connsiteY7" fmla="*/ 80938 h 121360"/>
                <a:gd name="connsiteX8" fmla="*/ 11231 w 263403"/>
                <a:gd name="connsiteY8" fmla="*/ 121361 h 1213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63403" h="121360">
                  <a:moveTo>
                    <a:pt x="249944" y="120087"/>
                  </a:moveTo>
                  <a:cubicBezTo>
                    <a:pt x="252639" y="119303"/>
                    <a:pt x="254304" y="118029"/>
                    <a:pt x="254304" y="118029"/>
                  </a:cubicBezTo>
                  <a:cubicBezTo>
                    <a:pt x="267044" y="107053"/>
                    <a:pt x="262683" y="89365"/>
                    <a:pt x="262683" y="89365"/>
                  </a:cubicBezTo>
                  <a:cubicBezTo>
                    <a:pt x="260037" y="66582"/>
                    <a:pt x="192176" y="44043"/>
                    <a:pt x="192176" y="44043"/>
                  </a:cubicBezTo>
                  <a:lnTo>
                    <a:pt x="158613" y="5434"/>
                  </a:lnTo>
                  <a:cubicBezTo>
                    <a:pt x="115545" y="-7992"/>
                    <a:pt x="61305" y="7688"/>
                    <a:pt x="61305" y="7688"/>
                  </a:cubicBezTo>
                  <a:cubicBezTo>
                    <a:pt x="10937" y="19447"/>
                    <a:pt x="4861" y="53549"/>
                    <a:pt x="4861" y="53549"/>
                  </a:cubicBezTo>
                  <a:lnTo>
                    <a:pt x="4861" y="80938"/>
                  </a:lnTo>
                  <a:cubicBezTo>
                    <a:pt x="-6212" y="104849"/>
                    <a:pt x="4126" y="118421"/>
                    <a:pt x="11231" y="121361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35" name="Forma livre: Forma 334">
              <a:extLst>
                <a:ext uri="{FF2B5EF4-FFF2-40B4-BE49-F238E27FC236}">
                  <a16:creationId xmlns:a16="http://schemas.microsoft.com/office/drawing/2014/main" id="{8124E0A2-1C41-BC91-81C8-ADC660B2BCFF}"/>
                </a:ext>
              </a:extLst>
            </p:cNvPr>
            <p:cNvSpPr/>
            <p:nvPr/>
          </p:nvSpPr>
          <p:spPr>
            <a:xfrm>
              <a:off x="2769187" y="1819265"/>
              <a:ext cx="100933" cy="4899"/>
            </a:xfrm>
            <a:custGeom>
              <a:avLst/>
              <a:gdLst>
                <a:gd name="connsiteX0" fmla="*/ 0 w 100933"/>
                <a:gd name="connsiteY0" fmla="*/ 0 h 4899"/>
                <a:gd name="connsiteX1" fmla="*/ 100934 w 100933"/>
                <a:gd name="connsiteY1" fmla="*/ 0 h 48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0933" h="4899">
                  <a:moveTo>
                    <a:pt x="0" y="0"/>
                  </a:moveTo>
                  <a:lnTo>
                    <a:pt x="100934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36" name="Forma livre: Forma 335">
              <a:extLst>
                <a:ext uri="{FF2B5EF4-FFF2-40B4-BE49-F238E27FC236}">
                  <a16:creationId xmlns:a16="http://schemas.microsoft.com/office/drawing/2014/main" id="{30BCB1BA-49F5-8DFF-BB1D-D24D88DED8C5}"/>
                </a:ext>
              </a:extLst>
            </p:cNvPr>
            <p:cNvSpPr/>
            <p:nvPr/>
          </p:nvSpPr>
          <p:spPr>
            <a:xfrm>
              <a:off x="2730235" y="1742095"/>
              <a:ext cx="161983" cy="4899"/>
            </a:xfrm>
            <a:custGeom>
              <a:avLst/>
              <a:gdLst>
                <a:gd name="connsiteX0" fmla="*/ 0 w 161983"/>
                <a:gd name="connsiteY0" fmla="*/ 0 h 4899"/>
                <a:gd name="connsiteX1" fmla="*/ 161984 w 161983"/>
                <a:gd name="connsiteY1" fmla="*/ 0 h 48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61983" h="4899">
                  <a:moveTo>
                    <a:pt x="0" y="0"/>
                  </a:moveTo>
                  <a:lnTo>
                    <a:pt x="161984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37" name="Forma livre: Forma 336">
              <a:extLst>
                <a:ext uri="{FF2B5EF4-FFF2-40B4-BE49-F238E27FC236}">
                  <a16:creationId xmlns:a16="http://schemas.microsoft.com/office/drawing/2014/main" id="{4997A7D1-6B64-ABAF-0F96-ECBC86A723B5}"/>
                </a:ext>
              </a:extLst>
            </p:cNvPr>
            <p:cNvSpPr/>
            <p:nvPr/>
          </p:nvSpPr>
          <p:spPr>
            <a:xfrm>
              <a:off x="2791040" y="1697801"/>
              <a:ext cx="4899" cy="38707"/>
            </a:xfrm>
            <a:custGeom>
              <a:avLst/>
              <a:gdLst>
                <a:gd name="connsiteX0" fmla="*/ 0 w 4899"/>
                <a:gd name="connsiteY0" fmla="*/ 38708 h 38707"/>
                <a:gd name="connsiteX1" fmla="*/ 0 w 4899"/>
                <a:gd name="connsiteY1" fmla="*/ 0 h 387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899" h="38707">
                  <a:moveTo>
                    <a:pt x="0" y="38708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38" name="Forma livre: Forma 337">
              <a:extLst>
                <a:ext uri="{FF2B5EF4-FFF2-40B4-BE49-F238E27FC236}">
                  <a16:creationId xmlns:a16="http://schemas.microsoft.com/office/drawing/2014/main" id="{D41A08F3-56D1-F430-3DD3-03AEA4713DAF}"/>
                </a:ext>
              </a:extLst>
            </p:cNvPr>
            <p:cNvSpPr/>
            <p:nvPr/>
          </p:nvSpPr>
          <p:spPr>
            <a:xfrm>
              <a:off x="2871150" y="1793199"/>
              <a:ext cx="46449" cy="46449"/>
            </a:xfrm>
            <a:custGeom>
              <a:avLst/>
              <a:gdLst>
                <a:gd name="connsiteX0" fmla="*/ 46449 w 46449"/>
                <a:gd name="connsiteY0" fmla="*/ 23225 h 46449"/>
                <a:gd name="connsiteX1" fmla="*/ 23225 w 46449"/>
                <a:gd name="connsiteY1" fmla="*/ 46449 h 46449"/>
                <a:gd name="connsiteX2" fmla="*/ 0 w 46449"/>
                <a:gd name="connsiteY2" fmla="*/ 23225 h 46449"/>
                <a:gd name="connsiteX3" fmla="*/ 23225 w 46449"/>
                <a:gd name="connsiteY3" fmla="*/ 0 h 46449"/>
                <a:gd name="connsiteX4" fmla="*/ 46449 w 46449"/>
                <a:gd name="connsiteY4" fmla="*/ 23225 h 464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6449" h="46449">
                  <a:moveTo>
                    <a:pt x="46449" y="23225"/>
                  </a:moveTo>
                  <a:cubicBezTo>
                    <a:pt x="46449" y="36013"/>
                    <a:pt x="36062" y="46449"/>
                    <a:pt x="23225" y="46449"/>
                  </a:cubicBezTo>
                  <a:cubicBezTo>
                    <a:pt x="10387" y="46449"/>
                    <a:pt x="0" y="36062"/>
                    <a:pt x="0" y="23225"/>
                  </a:cubicBezTo>
                  <a:cubicBezTo>
                    <a:pt x="0" y="10387"/>
                    <a:pt x="10387" y="0"/>
                    <a:pt x="23225" y="0"/>
                  </a:cubicBezTo>
                  <a:cubicBezTo>
                    <a:pt x="36062" y="0"/>
                    <a:pt x="46449" y="10387"/>
                    <a:pt x="46449" y="23225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39" name="Forma livre: Forma 338">
              <a:extLst>
                <a:ext uri="{FF2B5EF4-FFF2-40B4-BE49-F238E27FC236}">
                  <a16:creationId xmlns:a16="http://schemas.microsoft.com/office/drawing/2014/main" id="{A3583A9C-7BC4-06FA-DFD2-F21405AD0EFA}"/>
                </a:ext>
              </a:extLst>
            </p:cNvPr>
            <p:cNvSpPr/>
            <p:nvPr/>
          </p:nvSpPr>
          <p:spPr>
            <a:xfrm>
              <a:off x="2722052" y="1793199"/>
              <a:ext cx="46449" cy="46449"/>
            </a:xfrm>
            <a:custGeom>
              <a:avLst/>
              <a:gdLst>
                <a:gd name="connsiteX0" fmla="*/ 46449 w 46449"/>
                <a:gd name="connsiteY0" fmla="*/ 23225 h 46449"/>
                <a:gd name="connsiteX1" fmla="*/ 23225 w 46449"/>
                <a:gd name="connsiteY1" fmla="*/ 46449 h 46449"/>
                <a:gd name="connsiteX2" fmla="*/ 0 w 46449"/>
                <a:gd name="connsiteY2" fmla="*/ 23225 h 46449"/>
                <a:gd name="connsiteX3" fmla="*/ 23225 w 46449"/>
                <a:gd name="connsiteY3" fmla="*/ 0 h 46449"/>
                <a:gd name="connsiteX4" fmla="*/ 46449 w 46449"/>
                <a:gd name="connsiteY4" fmla="*/ 23225 h 464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6449" h="46449">
                  <a:moveTo>
                    <a:pt x="46449" y="23225"/>
                  </a:moveTo>
                  <a:cubicBezTo>
                    <a:pt x="46449" y="36013"/>
                    <a:pt x="36062" y="46449"/>
                    <a:pt x="23225" y="46449"/>
                  </a:cubicBezTo>
                  <a:cubicBezTo>
                    <a:pt x="10387" y="46449"/>
                    <a:pt x="0" y="36062"/>
                    <a:pt x="0" y="23225"/>
                  </a:cubicBezTo>
                  <a:cubicBezTo>
                    <a:pt x="0" y="10387"/>
                    <a:pt x="10387" y="0"/>
                    <a:pt x="23225" y="0"/>
                  </a:cubicBezTo>
                  <a:cubicBezTo>
                    <a:pt x="36062" y="0"/>
                    <a:pt x="46449" y="10387"/>
                    <a:pt x="46449" y="23225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40" name="Forma livre: Forma 339">
              <a:extLst>
                <a:ext uri="{FF2B5EF4-FFF2-40B4-BE49-F238E27FC236}">
                  <a16:creationId xmlns:a16="http://schemas.microsoft.com/office/drawing/2014/main" id="{04E439E9-9205-C970-E59A-439CEA00867B}"/>
                </a:ext>
              </a:extLst>
            </p:cNvPr>
            <p:cNvSpPr/>
            <p:nvPr/>
          </p:nvSpPr>
          <p:spPr>
            <a:xfrm>
              <a:off x="2860567" y="1605883"/>
              <a:ext cx="4899" cy="18324"/>
            </a:xfrm>
            <a:custGeom>
              <a:avLst/>
              <a:gdLst>
                <a:gd name="connsiteX0" fmla="*/ 0 w 4899"/>
                <a:gd name="connsiteY0" fmla="*/ 0 h 18324"/>
                <a:gd name="connsiteX1" fmla="*/ 0 w 4899"/>
                <a:gd name="connsiteY1" fmla="*/ 18325 h 183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899" h="18324">
                  <a:moveTo>
                    <a:pt x="0" y="0"/>
                  </a:moveTo>
                  <a:lnTo>
                    <a:pt x="0" y="18325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41" name="Forma livre: Forma 340">
              <a:extLst>
                <a:ext uri="{FF2B5EF4-FFF2-40B4-BE49-F238E27FC236}">
                  <a16:creationId xmlns:a16="http://schemas.microsoft.com/office/drawing/2014/main" id="{623A784F-BC5B-E0EC-F0A6-B45C5636F624}"/>
                </a:ext>
              </a:extLst>
            </p:cNvPr>
            <p:cNvSpPr/>
            <p:nvPr/>
          </p:nvSpPr>
          <p:spPr>
            <a:xfrm>
              <a:off x="2892758" y="1605883"/>
              <a:ext cx="4899" cy="18324"/>
            </a:xfrm>
            <a:custGeom>
              <a:avLst/>
              <a:gdLst>
                <a:gd name="connsiteX0" fmla="*/ 0 w 4899"/>
                <a:gd name="connsiteY0" fmla="*/ 0 h 18324"/>
                <a:gd name="connsiteX1" fmla="*/ 0 w 4899"/>
                <a:gd name="connsiteY1" fmla="*/ 18325 h 183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899" h="18324">
                  <a:moveTo>
                    <a:pt x="0" y="0"/>
                  </a:moveTo>
                  <a:lnTo>
                    <a:pt x="0" y="18325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42" name="Forma livre: Forma 341">
              <a:extLst>
                <a:ext uri="{FF2B5EF4-FFF2-40B4-BE49-F238E27FC236}">
                  <a16:creationId xmlns:a16="http://schemas.microsoft.com/office/drawing/2014/main" id="{D381774B-4B79-CB41-C100-C4C474EEF16B}"/>
                </a:ext>
              </a:extLst>
            </p:cNvPr>
            <p:cNvSpPr/>
            <p:nvPr/>
          </p:nvSpPr>
          <p:spPr>
            <a:xfrm>
              <a:off x="2823868" y="1572908"/>
              <a:ext cx="113917" cy="53357"/>
            </a:xfrm>
            <a:custGeom>
              <a:avLst/>
              <a:gdLst>
                <a:gd name="connsiteX0" fmla="*/ 0 w 113917"/>
                <a:gd name="connsiteY0" fmla="*/ 0 h 53357"/>
                <a:gd name="connsiteX1" fmla="*/ 94319 w 113917"/>
                <a:gd name="connsiteY1" fmla="*/ 0 h 53357"/>
                <a:gd name="connsiteX2" fmla="*/ 113918 w 113917"/>
                <a:gd name="connsiteY2" fmla="*/ 19599 h 53357"/>
                <a:gd name="connsiteX3" fmla="*/ 113918 w 113917"/>
                <a:gd name="connsiteY3" fmla="*/ 33759 h 53357"/>
                <a:gd name="connsiteX4" fmla="*/ 94319 w 113917"/>
                <a:gd name="connsiteY4" fmla="*/ 53358 h 53357"/>
                <a:gd name="connsiteX5" fmla="*/ 0 w 113917"/>
                <a:gd name="connsiteY5" fmla="*/ 53358 h 53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3917" h="53357">
                  <a:moveTo>
                    <a:pt x="0" y="0"/>
                  </a:moveTo>
                  <a:lnTo>
                    <a:pt x="94319" y="0"/>
                  </a:lnTo>
                  <a:cubicBezTo>
                    <a:pt x="105098" y="0"/>
                    <a:pt x="113918" y="8819"/>
                    <a:pt x="113918" y="19599"/>
                  </a:cubicBezTo>
                  <a:lnTo>
                    <a:pt x="113918" y="33759"/>
                  </a:lnTo>
                  <a:cubicBezTo>
                    <a:pt x="113918" y="44538"/>
                    <a:pt x="105098" y="53358"/>
                    <a:pt x="94319" y="53358"/>
                  </a:cubicBezTo>
                  <a:lnTo>
                    <a:pt x="0" y="53358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43" name="Forma livre: Forma 342">
              <a:extLst>
                <a:ext uri="{FF2B5EF4-FFF2-40B4-BE49-F238E27FC236}">
                  <a16:creationId xmlns:a16="http://schemas.microsoft.com/office/drawing/2014/main" id="{6F98B56E-580A-86D4-24D4-0CFCF28B4544}"/>
                </a:ext>
              </a:extLst>
            </p:cNvPr>
            <p:cNvSpPr/>
            <p:nvPr/>
          </p:nvSpPr>
          <p:spPr>
            <a:xfrm>
              <a:off x="2723767" y="1594565"/>
              <a:ext cx="10093" cy="10093"/>
            </a:xfrm>
            <a:custGeom>
              <a:avLst/>
              <a:gdLst>
                <a:gd name="connsiteX0" fmla="*/ 10093 w 10093"/>
                <a:gd name="connsiteY0" fmla="*/ 5047 h 10093"/>
                <a:gd name="connsiteX1" fmla="*/ 5047 w 10093"/>
                <a:gd name="connsiteY1" fmla="*/ 10093 h 10093"/>
                <a:gd name="connsiteX2" fmla="*/ 0 w 10093"/>
                <a:gd name="connsiteY2" fmla="*/ 5047 h 10093"/>
                <a:gd name="connsiteX3" fmla="*/ 5047 w 10093"/>
                <a:gd name="connsiteY3" fmla="*/ 0 h 10093"/>
                <a:gd name="connsiteX4" fmla="*/ 10093 w 10093"/>
                <a:gd name="connsiteY4" fmla="*/ 5047 h 100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093" h="10093">
                  <a:moveTo>
                    <a:pt x="10093" y="5047"/>
                  </a:moveTo>
                  <a:cubicBezTo>
                    <a:pt x="10093" y="7840"/>
                    <a:pt x="7840" y="10093"/>
                    <a:pt x="5047" y="10093"/>
                  </a:cubicBezTo>
                  <a:cubicBezTo>
                    <a:pt x="2254" y="10093"/>
                    <a:pt x="0" y="7840"/>
                    <a:pt x="0" y="5047"/>
                  </a:cubicBezTo>
                  <a:cubicBezTo>
                    <a:pt x="0" y="2254"/>
                    <a:pt x="2254" y="0"/>
                    <a:pt x="5047" y="0"/>
                  </a:cubicBezTo>
                  <a:cubicBezTo>
                    <a:pt x="7840" y="0"/>
                    <a:pt x="10093" y="2254"/>
                    <a:pt x="10093" y="5047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44" name="Forma livre: Forma 343">
              <a:extLst>
                <a:ext uri="{FF2B5EF4-FFF2-40B4-BE49-F238E27FC236}">
                  <a16:creationId xmlns:a16="http://schemas.microsoft.com/office/drawing/2014/main" id="{B352C265-9B62-EC31-4C4B-B3C854A0EC62}"/>
                </a:ext>
              </a:extLst>
            </p:cNvPr>
            <p:cNvSpPr/>
            <p:nvPr/>
          </p:nvSpPr>
          <p:spPr>
            <a:xfrm>
              <a:off x="2686774" y="1531053"/>
              <a:ext cx="136897" cy="137067"/>
            </a:xfrm>
            <a:custGeom>
              <a:avLst/>
              <a:gdLst>
                <a:gd name="connsiteX0" fmla="*/ 136898 w 136897"/>
                <a:gd name="connsiteY0" fmla="*/ 53712 h 137067"/>
                <a:gd name="connsiteX1" fmla="*/ 115339 w 136897"/>
                <a:gd name="connsiteY1" fmla="*/ 13192 h 137067"/>
                <a:gd name="connsiteX2" fmla="*/ 50222 w 136897"/>
                <a:gd name="connsiteY2" fmla="*/ 207 h 137067"/>
                <a:gd name="connsiteX3" fmla="*/ 0 w 136897"/>
                <a:gd name="connsiteY3" fmla="*/ 53614 h 137067"/>
                <a:gd name="connsiteX4" fmla="*/ 0 w 136897"/>
                <a:gd name="connsiteY4" fmla="*/ 54104 h 137067"/>
                <a:gd name="connsiteX5" fmla="*/ 0 w 136897"/>
                <a:gd name="connsiteY5" fmla="*/ 54104 h 137067"/>
                <a:gd name="connsiteX6" fmla="*/ 0 w 136897"/>
                <a:gd name="connsiteY6" fmla="*/ 54839 h 137067"/>
                <a:gd name="connsiteX7" fmla="*/ 0 w 136897"/>
                <a:gd name="connsiteY7" fmla="*/ 54839 h 137067"/>
                <a:gd name="connsiteX8" fmla="*/ 0 w 136897"/>
                <a:gd name="connsiteY8" fmla="*/ 82228 h 137067"/>
                <a:gd name="connsiteX9" fmla="*/ 0 w 136897"/>
                <a:gd name="connsiteY9" fmla="*/ 82228 h 137067"/>
                <a:gd name="connsiteX10" fmla="*/ 0 w 136897"/>
                <a:gd name="connsiteY10" fmla="*/ 82963 h 137067"/>
                <a:gd name="connsiteX11" fmla="*/ 0 w 136897"/>
                <a:gd name="connsiteY11" fmla="*/ 82963 h 137067"/>
                <a:gd name="connsiteX12" fmla="*/ 0 w 136897"/>
                <a:gd name="connsiteY12" fmla="*/ 83453 h 137067"/>
                <a:gd name="connsiteX13" fmla="*/ 50222 w 136897"/>
                <a:gd name="connsiteY13" fmla="*/ 136860 h 137067"/>
                <a:gd name="connsiteX14" fmla="*/ 115339 w 136897"/>
                <a:gd name="connsiteY14" fmla="*/ 123876 h 137067"/>
                <a:gd name="connsiteX15" fmla="*/ 136898 w 136897"/>
                <a:gd name="connsiteY15" fmla="*/ 83404 h 137067"/>
                <a:gd name="connsiteX16" fmla="*/ 136898 w 136897"/>
                <a:gd name="connsiteY16" fmla="*/ 83012 h 137067"/>
                <a:gd name="connsiteX17" fmla="*/ 136898 w 136897"/>
                <a:gd name="connsiteY17" fmla="*/ 83012 h 137067"/>
                <a:gd name="connsiteX18" fmla="*/ 136898 w 136897"/>
                <a:gd name="connsiteY18" fmla="*/ 82277 h 137067"/>
                <a:gd name="connsiteX19" fmla="*/ 136898 w 136897"/>
                <a:gd name="connsiteY19" fmla="*/ 82277 h 137067"/>
                <a:gd name="connsiteX20" fmla="*/ 136898 w 136897"/>
                <a:gd name="connsiteY20" fmla="*/ 54888 h 137067"/>
                <a:gd name="connsiteX21" fmla="*/ 136898 w 136897"/>
                <a:gd name="connsiteY21" fmla="*/ 54888 h 137067"/>
                <a:gd name="connsiteX22" fmla="*/ 136898 w 136897"/>
                <a:gd name="connsiteY22" fmla="*/ 54153 h 137067"/>
                <a:gd name="connsiteX23" fmla="*/ 136898 w 136897"/>
                <a:gd name="connsiteY23" fmla="*/ 54153 h 137067"/>
                <a:gd name="connsiteX24" fmla="*/ 136898 w 136897"/>
                <a:gd name="connsiteY24" fmla="*/ 53761 h 1370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136897" h="137067">
                  <a:moveTo>
                    <a:pt x="136898" y="53712"/>
                  </a:moveTo>
                  <a:cubicBezTo>
                    <a:pt x="136898" y="29557"/>
                    <a:pt x="134742" y="18875"/>
                    <a:pt x="115339" y="13192"/>
                  </a:cubicBezTo>
                  <a:lnTo>
                    <a:pt x="50222" y="207"/>
                  </a:lnTo>
                  <a:cubicBezTo>
                    <a:pt x="18766" y="-2634"/>
                    <a:pt x="196" y="24167"/>
                    <a:pt x="0" y="53614"/>
                  </a:cubicBezTo>
                  <a:cubicBezTo>
                    <a:pt x="0" y="53761"/>
                    <a:pt x="0" y="53908"/>
                    <a:pt x="0" y="54104"/>
                  </a:cubicBezTo>
                  <a:lnTo>
                    <a:pt x="0" y="54104"/>
                  </a:lnTo>
                  <a:lnTo>
                    <a:pt x="0" y="54839"/>
                  </a:lnTo>
                  <a:lnTo>
                    <a:pt x="0" y="54839"/>
                  </a:lnTo>
                  <a:lnTo>
                    <a:pt x="0" y="82228"/>
                  </a:lnTo>
                  <a:lnTo>
                    <a:pt x="0" y="82228"/>
                  </a:lnTo>
                  <a:lnTo>
                    <a:pt x="0" y="82963"/>
                  </a:lnTo>
                  <a:lnTo>
                    <a:pt x="0" y="82963"/>
                  </a:lnTo>
                  <a:cubicBezTo>
                    <a:pt x="0" y="82963"/>
                    <a:pt x="0" y="83257"/>
                    <a:pt x="0" y="83453"/>
                  </a:cubicBezTo>
                  <a:cubicBezTo>
                    <a:pt x="196" y="112900"/>
                    <a:pt x="18766" y="139702"/>
                    <a:pt x="50222" y="136860"/>
                  </a:cubicBezTo>
                  <a:lnTo>
                    <a:pt x="115339" y="123876"/>
                  </a:lnTo>
                  <a:cubicBezTo>
                    <a:pt x="134742" y="118192"/>
                    <a:pt x="136898" y="107511"/>
                    <a:pt x="136898" y="83404"/>
                  </a:cubicBezTo>
                  <a:cubicBezTo>
                    <a:pt x="136898" y="83257"/>
                    <a:pt x="136898" y="83159"/>
                    <a:pt x="136898" y="83012"/>
                  </a:cubicBezTo>
                  <a:lnTo>
                    <a:pt x="136898" y="83012"/>
                  </a:lnTo>
                  <a:lnTo>
                    <a:pt x="136898" y="82277"/>
                  </a:lnTo>
                  <a:lnTo>
                    <a:pt x="136898" y="82277"/>
                  </a:lnTo>
                  <a:lnTo>
                    <a:pt x="136898" y="54888"/>
                  </a:lnTo>
                  <a:lnTo>
                    <a:pt x="136898" y="54888"/>
                  </a:lnTo>
                  <a:lnTo>
                    <a:pt x="136898" y="54153"/>
                  </a:lnTo>
                  <a:lnTo>
                    <a:pt x="136898" y="54153"/>
                  </a:lnTo>
                  <a:cubicBezTo>
                    <a:pt x="136898" y="54153"/>
                    <a:pt x="136898" y="53908"/>
                    <a:pt x="136898" y="53761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345" name="Gráfico 4">
            <a:extLst>
              <a:ext uri="{FF2B5EF4-FFF2-40B4-BE49-F238E27FC236}">
                <a16:creationId xmlns:a16="http://schemas.microsoft.com/office/drawing/2014/main" id="{92C01DB9-8413-7266-3F72-CDE91AB523DB}"/>
              </a:ext>
            </a:extLst>
          </p:cNvPr>
          <p:cNvGrpSpPr/>
          <p:nvPr/>
        </p:nvGrpSpPr>
        <p:grpSpPr>
          <a:xfrm>
            <a:off x="2609457" y="2129425"/>
            <a:ext cx="420434" cy="233227"/>
            <a:chOff x="2609457" y="2129425"/>
            <a:chExt cx="420434" cy="233227"/>
          </a:xfrm>
          <a:noFill/>
        </p:grpSpPr>
        <p:sp>
          <p:nvSpPr>
            <p:cNvPr id="346" name="Forma livre: Forma 345">
              <a:extLst>
                <a:ext uri="{FF2B5EF4-FFF2-40B4-BE49-F238E27FC236}">
                  <a16:creationId xmlns:a16="http://schemas.microsoft.com/office/drawing/2014/main" id="{49B18D41-3ADF-CCBF-F882-149A37B79F22}"/>
                </a:ext>
              </a:extLst>
            </p:cNvPr>
            <p:cNvSpPr/>
            <p:nvPr/>
          </p:nvSpPr>
          <p:spPr>
            <a:xfrm>
              <a:off x="2729696" y="2129425"/>
              <a:ext cx="108724" cy="29731"/>
            </a:xfrm>
            <a:custGeom>
              <a:avLst/>
              <a:gdLst>
                <a:gd name="connsiteX0" fmla="*/ 108724 w 108724"/>
                <a:gd name="connsiteY0" fmla="*/ 13759 h 29731"/>
                <a:gd name="connsiteX1" fmla="*/ 0 w 108724"/>
                <a:gd name="connsiteY1" fmla="*/ 3568 h 29731"/>
                <a:gd name="connsiteX2" fmla="*/ 45273 w 108724"/>
                <a:gd name="connsiteY2" fmla="*/ 29732 h 297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08724" h="29731">
                  <a:moveTo>
                    <a:pt x="108724" y="13759"/>
                  </a:moveTo>
                  <a:cubicBezTo>
                    <a:pt x="82364" y="5135"/>
                    <a:pt x="37532" y="-5742"/>
                    <a:pt x="0" y="3568"/>
                  </a:cubicBezTo>
                  <a:lnTo>
                    <a:pt x="45273" y="29732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47" name="Forma livre: Forma 346">
              <a:extLst>
                <a:ext uri="{FF2B5EF4-FFF2-40B4-BE49-F238E27FC236}">
                  <a16:creationId xmlns:a16="http://schemas.microsoft.com/office/drawing/2014/main" id="{35711208-EC34-0F8B-231A-18D094722703}"/>
                </a:ext>
              </a:extLst>
            </p:cNvPr>
            <p:cNvSpPr/>
            <p:nvPr/>
          </p:nvSpPr>
          <p:spPr>
            <a:xfrm>
              <a:off x="2609457" y="2138733"/>
              <a:ext cx="420434" cy="223920"/>
            </a:xfrm>
            <a:custGeom>
              <a:avLst/>
              <a:gdLst>
                <a:gd name="connsiteX0" fmla="*/ 375219 w 420434"/>
                <a:gd name="connsiteY0" fmla="*/ 24295 h 223920"/>
                <a:gd name="connsiteX1" fmla="*/ 418385 w 420434"/>
                <a:gd name="connsiteY1" fmla="*/ 13712 h 223920"/>
                <a:gd name="connsiteX2" fmla="*/ 404225 w 420434"/>
                <a:gd name="connsiteY2" fmla="*/ 4794 h 223920"/>
                <a:gd name="connsiteX3" fmla="*/ 325879 w 420434"/>
                <a:gd name="connsiteY3" fmla="*/ 6411 h 223920"/>
                <a:gd name="connsiteX4" fmla="*/ 82756 w 420434"/>
                <a:gd name="connsiteY4" fmla="*/ 67315 h 223920"/>
                <a:gd name="connsiteX5" fmla="*/ 4704 w 420434"/>
                <a:gd name="connsiteY5" fmla="*/ 36594 h 223920"/>
                <a:gd name="connsiteX6" fmla="*/ 0 w 420434"/>
                <a:gd name="connsiteY6" fmla="*/ 40611 h 223920"/>
                <a:gd name="connsiteX7" fmla="*/ 47625 w 420434"/>
                <a:gd name="connsiteY7" fmla="*/ 96811 h 223920"/>
                <a:gd name="connsiteX8" fmla="*/ 8427 w 420434"/>
                <a:gd name="connsiteY8" fmla="*/ 107198 h 223920"/>
                <a:gd name="connsiteX9" fmla="*/ 11514 w 420434"/>
                <a:gd name="connsiteY9" fmla="*/ 117732 h 223920"/>
                <a:gd name="connsiteX10" fmla="*/ 158358 w 420434"/>
                <a:gd name="connsiteY10" fmla="*/ 116312 h 223920"/>
                <a:gd name="connsiteX11" fmla="*/ 189324 w 420434"/>
                <a:gd name="connsiteY11" fmla="*/ 108668 h 223920"/>
                <a:gd name="connsiteX12" fmla="*/ 150421 w 420434"/>
                <a:gd name="connsiteY12" fmla="*/ 215041 h 223920"/>
                <a:gd name="connsiteX13" fmla="*/ 206620 w 420434"/>
                <a:gd name="connsiteY13" fmla="*/ 193923 h 223920"/>
                <a:gd name="connsiteX14" fmla="*/ 282468 w 420434"/>
                <a:gd name="connsiteY14" fmla="*/ 85737 h 223920"/>
                <a:gd name="connsiteX15" fmla="*/ 401334 w 420434"/>
                <a:gd name="connsiteY15" fmla="*/ 55065 h 223920"/>
                <a:gd name="connsiteX16" fmla="*/ 418385 w 420434"/>
                <a:gd name="connsiteY16" fmla="*/ 14006 h 2239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420434" h="223920">
                  <a:moveTo>
                    <a:pt x="375219" y="24295"/>
                  </a:moveTo>
                  <a:lnTo>
                    <a:pt x="418385" y="13712"/>
                  </a:lnTo>
                  <a:cubicBezTo>
                    <a:pt x="415690" y="10723"/>
                    <a:pt x="410840" y="7636"/>
                    <a:pt x="404225" y="4794"/>
                  </a:cubicBezTo>
                  <a:cubicBezTo>
                    <a:pt x="376934" y="-6867"/>
                    <a:pt x="325879" y="6411"/>
                    <a:pt x="325879" y="6411"/>
                  </a:cubicBezTo>
                  <a:lnTo>
                    <a:pt x="82756" y="67315"/>
                  </a:lnTo>
                  <a:lnTo>
                    <a:pt x="4704" y="36594"/>
                  </a:lnTo>
                  <a:lnTo>
                    <a:pt x="0" y="40611"/>
                  </a:lnTo>
                  <a:lnTo>
                    <a:pt x="47625" y="96811"/>
                  </a:lnTo>
                  <a:lnTo>
                    <a:pt x="8427" y="107198"/>
                  </a:lnTo>
                  <a:lnTo>
                    <a:pt x="11514" y="117732"/>
                  </a:lnTo>
                  <a:cubicBezTo>
                    <a:pt x="68057" y="136057"/>
                    <a:pt x="158358" y="116312"/>
                    <a:pt x="158358" y="116312"/>
                  </a:cubicBezTo>
                  <a:lnTo>
                    <a:pt x="189324" y="108668"/>
                  </a:lnTo>
                  <a:lnTo>
                    <a:pt x="150421" y="215041"/>
                  </a:lnTo>
                  <a:cubicBezTo>
                    <a:pt x="150421" y="215041"/>
                    <a:pt x="163356" y="245370"/>
                    <a:pt x="206620" y="193923"/>
                  </a:cubicBezTo>
                  <a:lnTo>
                    <a:pt x="282468" y="85737"/>
                  </a:lnTo>
                  <a:lnTo>
                    <a:pt x="401334" y="55065"/>
                  </a:lnTo>
                  <a:cubicBezTo>
                    <a:pt x="421472" y="49627"/>
                    <a:pt x="422746" y="25814"/>
                    <a:pt x="418385" y="14006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348" name="Gráfico 4">
            <a:extLst>
              <a:ext uri="{FF2B5EF4-FFF2-40B4-BE49-F238E27FC236}">
                <a16:creationId xmlns:a16="http://schemas.microsoft.com/office/drawing/2014/main" id="{FF007B3F-B27E-6EDF-765A-AA0F126A17AE}"/>
              </a:ext>
            </a:extLst>
          </p:cNvPr>
          <p:cNvGrpSpPr/>
          <p:nvPr/>
        </p:nvGrpSpPr>
        <p:grpSpPr>
          <a:xfrm>
            <a:off x="2679523" y="2638641"/>
            <a:ext cx="280262" cy="294716"/>
            <a:chOff x="2679523" y="2638641"/>
            <a:chExt cx="280262" cy="294716"/>
          </a:xfrm>
          <a:noFill/>
        </p:grpSpPr>
        <p:sp>
          <p:nvSpPr>
            <p:cNvPr id="349" name="Forma livre: Forma 348">
              <a:extLst>
                <a:ext uri="{FF2B5EF4-FFF2-40B4-BE49-F238E27FC236}">
                  <a16:creationId xmlns:a16="http://schemas.microsoft.com/office/drawing/2014/main" id="{96C84A2E-F781-FAE4-A56B-3E292BD3D3C1}"/>
                </a:ext>
              </a:extLst>
            </p:cNvPr>
            <p:cNvSpPr/>
            <p:nvPr/>
          </p:nvSpPr>
          <p:spPr>
            <a:xfrm>
              <a:off x="2679523" y="2638641"/>
              <a:ext cx="280262" cy="155712"/>
            </a:xfrm>
            <a:custGeom>
              <a:avLst/>
              <a:gdLst>
                <a:gd name="connsiteX0" fmla="*/ 92114 w 280262"/>
                <a:gd name="connsiteY0" fmla="*/ 147383 h 155712"/>
                <a:gd name="connsiteX1" fmla="*/ 61246 w 280262"/>
                <a:gd name="connsiteY1" fmla="*/ 155712 h 155712"/>
                <a:gd name="connsiteX2" fmla="*/ 0 w 280262"/>
                <a:gd name="connsiteY2" fmla="*/ 94466 h 155712"/>
                <a:gd name="connsiteX3" fmla="*/ 61246 w 280262"/>
                <a:gd name="connsiteY3" fmla="*/ 33220 h 155712"/>
                <a:gd name="connsiteX4" fmla="*/ 82462 w 280262"/>
                <a:gd name="connsiteY4" fmla="*/ 36993 h 155712"/>
                <a:gd name="connsiteX5" fmla="*/ 84373 w 280262"/>
                <a:gd name="connsiteY5" fmla="*/ 36748 h 155712"/>
                <a:gd name="connsiteX6" fmla="*/ 140278 w 280262"/>
                <a:gd name="connsiteY6" fmla="*/ 0 h 155712"/>
                <a:gd name="connsiteX7" fmla="*/ 196331 w 280262"/>
                <a:gd name="connsiteY7" fmla="*/ 36503 h 155712"/>
                <a:gd name="connsiteX8" fmla="*/ 197801 w 280262"/>
                <a:gd name="connsiteY8" fmla="*/ 36993 h 155712"/>
                <a:gd name="connsiteX9" fmla="*/ 219016 w 280262"/>
                <a:gd name="connsiteY9" fmla="*/ 33220 h 155712"/>
                <a:gd name="connsiteX10" fmla="*/ 280263 w 280262"/>
                <a:gd name="connsiteY10" fmla="*/ 94466 h 155712"/>
                <a:gd name="connsiteX11" fmla="*/ 219016 w 280262"/>
                <a:gd name="connsiteY11" fmla="*/ 155712 h 155712"/>
                <a:gd name="connsiteX12" fmla="*/ 188148 w 280262"/>
                <a:gd name="connsiteY12" fmla="*/ 147383 h 1557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80262" h="155712">
                  <a:moveTo>
                    <a:pt x="92114" y="147383"/>
                  </a:moveTo>
                  <a:cubicBezTo>
                    <a:pt x="83050" y="152675"/>
                    <a:pt x="72516" y="155712"/>
                    <a:pt x="61246" y="155712"/>
                  </a:cubicBezTo>
                  <a:cubicBezTo>
                    <a:pt x="27389" y="155712"/>
                    <a:pt x="0" y="128274"/>
                    <a:pt x="0" y="94466"/>
                  </a:cubicBezTo>
                  <a:cubicBezTo>
                    <a:pt x="0" y="60658"/>
                    <a:pt x="27438" y="33220"/>
                    <a:pt x="61246" y="33220"/>
                  </a:cubicBezTo>
                  <a:cubicBezTo>
                    <a:pt x="68694" y="33220"/>
                    <a:pt x="75847" y="34543"/>
                    <a:pt x="82462" y="36993"/>
                  </a:cubicBezTo>
                  <a:lnTo>
                    <a:pt x="84373" y="36748"/>
                  </a:lnTo>
                  <a:cubicBezTo>
                    <a:pt x="93682" y="14748"/>
                    <a:pt x="114898" y="0"/>
                    <a:pt x="140278" y="0"/>
                  </a:cubicBezTo>
                  <a:cubicBezTo>
                    <a:pt x="165659" y="0"/>
                    <a:pt x="186825" y="14993"/>
                    <a:pt x="196331" y="36503"/>
                  </a:cubicBezTo>
                  <a:lnTo>
                    <a:pt x="197801" y="36993"/>
                  </a:lnTo>
                  <a:cubicBezTo>
                    <a:pt x="204415" y="34543"/>
                    <a:pt x="211569" y="33220"/>
                    <a:pt x="219016" y="33220"/>
                  </a:cubicBezTo>
                  <a:cubicBezTo>
                    <a:pt x="252873" y="33220"/>
                    <a:pt x="280263" y="60658"/>
                    <a:pt x="280263" y="94466"/>
                  </a:cubicBezTo>
                  <a:cubicBezTo>
                    <a:pt x="280263" y="128274"/>
                    <a:pt x="252824" y="155712"/>
                    <a:pt x="219016" y="155712"/>
                  </a:cubicBezTo>
                  <a:cubicBezTo>
                    <a:pt x="207796" y="155712"/>
                    <a:pt x="197213" y="152675"/>
                    <a:pt x="188148" y="147383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50" name="Forma livre: Forma 349">
              <a:extLst>
                <a:ext uri="{FF2B5EF4-FFF2-40B4-BE49-F238E27FC236}">
                  <a16:creationId xmlns:a16="http://schemas.microsoft.com/office/drawing/2014/main" id="{0FDB3707-171A-F2AA-0565-E8EE7E91BAAD}"/>
                </a:ext>
              </a:extLst>
            </p:cNvPr>
            <p:cNvSpPr/>
            <p:nvPr/>
          </p:nvSpPr>
          <p:spPr>
            <a:xfrm>
              <a:off x="2741112" y="2816844"/>
              <a:ext cx="157427" cy="116514"/>
            </a:xfrm>
            <a:custGeom>
              <a:avLst/>
              <a:gdLst>
                <a:gd name="connsiteX0" fmla="*/ 157427 w 157427"/>
                <a:gd name="connsiteY0" fmla="*/ 784 h 116514"/>
                <a:gd name="connsiteX1" fmla="*/ 157427 w 157427"/>
                <a:gd name="connsiteY1" fmla="*/ 116515 h 116514"/>
                <a:gd name="connsiteX2" fmla="*/ 0 w 157427"/>
                <a:gd name="connsiteY2" fmla="*/ 116515 h 116514"/>
                <a:gd name="connsiteX3" fmla="*/ 0 w 157427"/>
                <a:gd name="connsiteY3" fmla="*/ 0 h 1165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7427" h="116514">
                  <a:moveTo>
                    <a:pt x="157427" y="784"/>
                  </a:moveTo>
                  <a:lnTo>
                    <a:pt x="157427" y="116515"/>
                  </a:lnTo>
                  <a:lnTo>
                    <a:pt x="0" y="116515"/>
                  </a:lnTo>
                  <a:lnTo>
                    <a:pt x="0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51" name="Forma livre: Forma 350">
              <a:extLst>
                <a:ext uri="{FF2B5EF4-FFF2-40B4-BE49-F238E27FC236}">
                  <a16:creationId xmlns:a16="http://schemas.microsoft.com/office/drawing/2014/main" id="{A97F220A-97FA-22C8-6B24-D92D686B592F}"/>
                </a:ext>
              </a:extLst>
            </p:cNvPr>
            <p:cNvSpPr/>
            <p:nvPr/>
          </p:nvSpPr>
          <p:spPr>
            <a:xfrm>
              <a:off x="2740132" y="2893377"/>
              <a:ext cx="155516" cy="4899"/>
            </a:xfrm>
            <a:custGeom>
              <a:avLst/>
              <a:gdLst>
                <a:gd name="connsiteX0" fmla="*/ 0 w 155516"/>
                <a:gd name="connsiteY0" fmla="*/ 0 h 4899"/>
                <a:gd name="connsiteX1" fmla="*/ 155516 w 155516"/>
                <a:gd name="connsiteY1" fmla="*/ 0 h 48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5516" h="4899">
                  <a:moveTo>
                    <a:pt x="0" y="0"/>
                  </a:moveTo>
                  <a:lnTo>
                    <a:pt x="155516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52" name="Forma livre: Forma 351">
              <a:extLst>
                <a:ext uri="{FF2B5EF4-FFF2-40B4-BE49-F238E27FC236}">
                  <a16:creationId xmlns:a16="http://schemas.microsoft.com/office/drawing/2014/main" id="{AA8D2035-34E1-3A00-BC5B-1B6AD9EC1E4A}"/>
                </a:ext>
              </a:extLst>
            </p:cNvPr>
            <p:cNvSpPr/>
            <p:nvPr/>
          </p:nvSpPr>
          <p:spPr>
            <a:xfrm>
              <a:off x="2786140" y="2825271"/>
              <a:ext cx="4899" cy="67664"/>
            </a:xfrm>
            <a:custGeom>
              <a:avLst/>
              <a:gdLst>
                <a:gd name="connsiteX0" fmla="*/ 0 w 4899"/>
                <a:gd name="connsiteY0" fmla="*/ 67665 h 67664"/>
                <a:gd name="connsiteX1" fmla="*/ 0 w 4899"/>
                <a:gd name="connsiteY1" fmla="*/ 0 h 676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899" h="67664">
                  <a:moveTo>
                    <a:pt x="0" y="67665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53" name="Forma livre: Forma 352">
              <a:extLst>
                <a:ext uri="{FF2B5EF4-FFF2-40B4-BE49-F238E27FC236}">
                  <a16:creationId xmlns:a16="http://schemas.microsoft.com/office/drawing/2014/main" id="{A0995C6A-0B38-5C09-1C16-4DE57B09F1B1}"/>
                </a:ext>
              </a:extLst>
            </p:cNvPr>
            <p:cNvSpPr/>
            <p:nvPr/>
          </p:nvSpPr>
          <p:spPr>
            <a:xfrm>
              <a:off x="2819948" y="2825271"/>
              <a:ext cx="4899" cy="67664"/>
            </a:xfrm>
            <a:custGeom>
              <a:avLst/>
              <a:gdLst>
                <a:gd name="connsiteX0" fmla="*/ 0 w 4899"/>
                <a:gd name="connsiteY0" fmla="*/ 67665 h 67664"/>
                <a:gd name="connsiteX1" fmla="*/ 0 w 4899"/>
                <a:gd name="connsiteY1" fmla="*/ 0 h 676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899" h="67664">
                  <a:moveTo>
                    <a:pt x="0" y="67665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54" name="Forma livre: Forma 353">
              <a:extLst>
                <a:ext uri="{FF2B5EF4-FFF2-40B4-BE49-F238E27FC236}">
                  <a16:creationId xmlns:a16="http://schemas.microsoft.com/office/drawing/2014/main" id="{40EC2AC0-CCEF-B649-CC0A-5848855C8910}"/>
                </a:ext>
              </a:extLst>
            </p:cNvPr>
            <p:cNvSpPr/>
            <p:nvPr/>
          </p:nvSpPr>
          <p:spPr>
            <a:xfrm>
              <a:off x="2853756" y="2825271"/>
              <a:ext cx="4899" cy="67664"/>
            </a:xfrm>
            <a:custGeom>
              <a:avLst/>
              <a:gdLst>
                <a:gd name="connsiteX0" fmla="*/ 0 w 4899"/>
                <a:gd name="connsiteY0" fmla="*/ 67665 h 67664"/>
                <a:gd name="connsiteX1" fmla="*/ 0 w 4899"/>
                <a:gd name="connsiteY1" fmla="*/ 0 h 676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899" h="67664">
                  <a:moveTo>
                    <a:pt x="0" y="67665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355" name="Gráfico 4">
            <a:extLst>
              <a:ext uri="{FF2B5EF4-FFF2-40B4-BE49-F238E27FC236}">
                <a16:creationId xmlns:a16="http://schemas.microsoft.com/office/drawing/2014/main" id="{C86BE0D6-BD93-8090-BF5D-E48A2B012A3C}"/>
              </a:ext>
            </a:extLst>
          </p:cNvPr>
          <p:cNvGrpSpPr/>
          <p:nvPr/>
        </p:nvGrpSpPr>
        <p:grpSpPr>
          <a:xfrm>
            <a:off x="2654583" y="3197452"/>
            <a:ext cx="361793" cy="277665"/>
            <a:chOff x="2654583" y="3197452"/>
            <a:chExt cx="361793" cy="277665"/>
          </a:xfrm>
          <a:noFill/>
        </p:grpSpPr>
        <p:sp>
          <p:nvSpPr>
            <p:cNvPr id="356" name="Forma livre: Forma 355">
              <a:extLst>
                <a:ext uri="{FF2B5EF4-FFF2-40B4-BE49-F238E27FC236}">
                  <a16:creationId xmlns:a16="http://schemas.microsoft.com/office/drawing/2014/main" id="{04D80A63-F985-B881-2EC2-A6C202A8BFF7}"/>
                </a:ext>
              </a:extLst>
            </p:cNvPr>
            <p:cNvSpPr/>
            <p:nvPr/>
          </p:nvSpPr>
          <p:spPr>
            <a:xfrm>
              <a:off x="2743268" y="3198677"/>
              <a:ext cx="74132" cy="23175"/>
            </a:xfrm>
            <a:custGeom>
              <a:avLst/>
              <a:gdLst>
                <a:gd name="connsiteX0" fmla="*/ 0 w 74132"/>
                <a:gd name="connsiteY0" fmla="*/ 23175 h 23175"/>
                <a:gd name="connsiteX1" fmla="*/ 0 w 74132"/>
                <a:gd name="connsiteY1" fmla="*/ 14699 h 23175"/>
                <a:gd name="connsiteX2" fmla="*/ 14699 w 74132"/>
                <a:gd name="connsiteY2" fmla="*/ 0 h 23175"/>
                <a:gd name="connsiteX3" fmla="*/ 59433 w 74132"/>
                <a:gd name="connsiteY3" fmla="*/ 0 h 23175"/>
                <a:gd name="connsiteX4" fmla="*/ 74132 w 74132"/>
                <a:gd name="connsiteY4" fmla="*/ 14699 h 23175"/>
                <a:gd name="connsiteX5" fmla="*/ 74132 w 74132"/>
                <a:gd name="connsiteY5" fmla="*/ 23175 h 23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4132" h="23175">
                  <a:moveTo>
                    <a:pt x="0" y="23175"/>
                  </a:moveTo>
                  <a:lnTo>
                    <a:pt x="0" y="14699"/>
                  </a:lnTo>
                  <a:cubicBezTo>
                    <a:pt x="0" y="6615"/>
                    <a:pt x="6615" y="0"/>
                    <a:pt x="14699" y="0"/>
                  </a:cubicBezTo>
                  <a:lnTo>
                    <a:pt x="59433" y="0"/>
                  </a:lnTo>
                  <a:cubicBezTo>
                    <a:pt x="67518" y="0"/>
                    <a:pt x="74132" y="6615"/>
                    <a:pt x="74132" y="14699"/>
                  </a:cubicBezTo>
                  <a:lnTo>
                    <a:pt x="74132" y="23175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57" name="Forma livre: Forma 356">
              <a:extLst>
                <a:ext uri="{FF2B5EF4-FFF2-40B4-BE49-F238E27FC236}">
                  <a16:creationId xmlns:a16="http://schemas.microsoft.com/office/drawing/2014/main" id="{C9338543-2201-7E84-7F55-88E494D00CA7}"/>
                </a:ext>
              </a:extLst>
            </p:cNvPr>
            <p:cNvSpPr/>
            <p:nvPr/>
          </p:nvSpPr>
          <p:spPr>
            <a:xfrm>
              <a:off x="2654583" y="3211906"/>
              <a:ext cx="308925" cy="222216"/>
            </a:xfrm>
            <a:custGeom>
              <a:avLst/>
              <a:gdLst>
                <a:gd name="connsiteX0" fmla="*/ 0 w 308925"/>
                <a:gd name="connsiteY0" fmla="*/ 222201 h 222216"/>
                <a:gd name="connsiteX1" fmla="*/ 226023 w 308925"/>
                <a:gd name="connsiteY1" fmla="*/ 222201 h 222216"/>
                <a:gd name="connsiteX2" fmla="*/ 273109 w 308925"/>
                <a:gd name="connsiteY2" fmla="*/ 171685 h 222216"/>
                <a:gd name="connsiteX3" fmla="*/ 273109 w 308925"/>
                <a:gd name="connsiteY3" fmla="*/ 29839 h 222216"/>
                <a:gd name="connsiteX4" fmla="*/ 300351 w 308925"/>
                <a:gd name="connsiteY4" fmla="*/ 0 h 222216"/>
                <a:gd name="connsiteX5" fmla="*/ 308926 w 308925"/>
                <a:gd name="connsiteY5" fmla="*/ 0 h 2222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08925" h="222216">
                  <a:moveTo>
                    <a:pt x="0" y="222201"/>
                  </a:moveTo>
                  <a:lnTo>
                    <a:pt x="226023" y="222201"/>
                  </a:lnTo>
                  <a:cubicBezTo>
                    <a:pt x="226023" y="222201"/>
                    <a:pt x="273109" y="224504"/>
                    <a:pt x="273109" y="171685"/>
                  </a:cubicBezTo>
                  <a:lnTo>
                    <a:pt x="273109" y="29839"/>
                  </a:lnTo>
                  <a:cubicBezTo>
                    <a:pt x="273109" y="11465"/>
                    <a:pt x="290503" y="0"/>
                    <a:pt x="300351" y="0"/>
                  </a:cubicBezTo>
                  <a:lnTo>
                    <a:pt x="308926" y="0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58" name="Forma livre: Forma 357">
              <a:extLst>
                <a:ext uri="{FF2B5EF4-FFF2-40B4-BE49-F238E27FC236}">
                  <a16:creationId xmlns:a16="http://schemas.microsoft.com/office/drawing/2014/main" id="{2E2777FF-6E67-3B86-D331-A9F3706A423D}"/>
                </a:ext>
              </a:extLst>
            </p:cNvPr>
            <p:cNvSpPr/>
            <p:nvPr/>
          </p:nvSpPr>
          <p:spPr>
            <a:xfrm>
              <a:off x="2681483" y="3434548"/>
              <a:ext cx="40569" cy="40569"/>
            </a:xfrm>
            <a:custGeom>
              <a:avLst/>
              <a:gdLst>
                <a:gd name="connsiteX0" fmla="*/ 40569 w 40569"/>
                <a:gd name="connsiteY0" fmla="*/ 20285 h 40569"/>
                <a:gd name="connsiteX1" fmla="*/ 20285 w 40569"/>
                <a:gd name="connsiteY1" fmla="*/ 40569 h 40569"/>
                <a:gd name="connsiteX2" fmla="*/ 0 w 40569"/>
                <a:gd name="connsiteY2" fmla="*/ 20285 h 40569"/>
                <a:gd name="connsiteX3" fmla="*/ 20285 w 40569"/>
                <a:gd name="connsiteY3" fmla="*/ 0 h 40569"/>
                <a:gd name="connsiteX4" fmla="*/ 40569 w 40569"/>
                <a:gd name="connsiteY4" fmla="*/ 20285 h 405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0569" h="40569">
                  <a:moveTo>
                    <a:pt x="40569" y="20285"/>
                  </a:moveTo>
                  <a:cubicBezTo>
                    <a:pt x="40569" y="31505"/>
                    <a:pt x="31505" y="40569"/>
                    <a:pt x="20285" y="40569"/>
                  </a:cubicBezTo>
                  <a:cubicBezTo>
                    <a:pt x="9064" y="40569"/>
                    <a:pt x="0" y="31505"/>
                    <a:pt x="0" y="20285"/>
                  </a:cubicBezTo>
                  <a:cubicBezTo>
                    <a:pt x="0" y="9064"/>
                    <a:pt x="9064" y="0"/>
                    <a:pt x="20285" y="0"/>
                  </a:cubicBezTo>
                  <a:cubicBezTo>
                    <a:pt x="31505" y="0"/>
                    <a:pt x="40569" y="9064"/>
                    <a:pt x="40569" y="20285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59" name="Forma livre: Forma 358">
              <a:extLst>
                <a:ext uri="{FF2B5EF4-FFF2-40B4-BE49-F238E27FC236}">
                  <a16:creationId xmlns:a16="http://schemas.microsoft.com/office/drawing/2014/main" id="{775D6B84-2062-161F-3AE6-DB707B279982}"/>
                </a:ext>
              </a:extLst>
            </p:cNvPr>
            <p:cNvSpPr/>
            <p:nvPr/>
          </p:nvSpPr>
          <p:spPr>
            <a:xfrm>
              <a:off x="2839694" y="3434548"/>
              <a:ext cx="40569" cy="40569"/>
            </a:xfrm>
            <a:custGeom>
              <a:avLst/>
              <a:gdLst>
                <a:gd name="connsiteX0" fmla="*/ 40569 w 40569"/>
                <a:gd name="connsiteY0" fmla="*/ 20285 h 40569"/>
                <a:gd name="connsiteX1" fmla="*/ 20285 w 40569"/>
                <a:gd name="connsiteY1" fmla="*/ 40569 h 40569"/>
                <a:gd name="connsiteX2" fmla="*/ 0 w 40569"/>
                <a:gd name="connsiteY2" fmla="*/ 20285 h 40569"/>
                <a:gd name="connsiteX3" fmla="*/ 20285 w 40569"/>
                <a:gd name="connsiteY3" fmla="*/ 0 h 40569"/>
                <a:gd name="connsiteX4" fmla="*/ 40569 w 40569"/>
                <a:gd name="connsiteY4" fmla="*/ 20285 h 405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0569" h="40569">
                  <a:moveTo>
                    <a:pt x="40569" y="20285"/>
                  </a:moveTo>
                  <a:cubicBezTo>
                    <a:pt x="40569" y="31505"/>
                    <a:pt x="31505" y="40569"/>
                    <a:pt x="20285" y="40569"/>
                  </a:cubicBezTo>
                  <a:cubicBezTo>
                    <a:pt x="9064" y="40569"/>
                    <a:pt x="0" y="31505"/>
                    <a:pt x="0" y="20285"/>
                  </a:cubicBezTo>
                  <a:cubicBezTo>
                    <a:pt x="0" y="9064"/>
                    <a:pt x="9064" y="0"/>
                    <a:pt x="20285" y="0"/>
                  </a:cubicBezTo>
                  <a:cubicBezTo>
                    <a:pt x="31505" y="0"/>
                    <a:pt x="40569" y="9064"/>
                    <a:pt x="40569" y="20285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60" name="Forma livre: Forma 359">
              <a:extLst>
                <a:ext uri="{FF2B5EF4-FFF2-40B4-BE49-F238E27FC236}">
                  <a16:creationId xmlns:a16="http://schemas.microsoft.com/office/drawing/2014/main" id="{0A4E5BCB-7446-0A02-ACFD-184B76425DEB}"/>
                </a:ext>
              </a:extLst>
            </p:cNvPr>
            <p:cNvSpPr/>
            <p:nvPr/>
          </p:nvSpPr>
          <p:spPr>
            <a:xfrm>
              <a:off x="2723914" y="3283197"/>
              <a:ext cx="39491" cy="54484"/>
            </a:xfrm>
            <a:custGeom>
              <a:avLst/>
              <a:gdLst>
                <a:gd name="connsiteX0" fmla="*/ 0 w 39491"/>
                <a:gd name="connsiteY0" fmla="*/ 0 h 54484"/>
                <a:gd name="connsiteX1" fmla="*/ 0 w 39491"/>
                <a:gd name="connsiteY1" fmla="*/ 54485 h 54484"/>
                <a:gd name="connsiteX2" fmla="*/ 18521 w 39491"/>
                <a:gd name="connsiteY2" fmla="*/ 54485 h 54484"/>
                <a:gd name="connsiteX3" fmla="*/ 19158 w 39491"/>
                <a:gd name="connsiteY3" fmla="*/ 54485 h 54484"/>
                <a:gd name="connsiteX4" fmla="*/ 39492 w 39491"/>
                <a:gd name="connsiteY4" fmla="*/ 54485 h 54484"/>
                <a:gd name="connsiteX5" fmla="*/ 39492 w 39491"/>
                <a:gd name="connsiteY5" fmla="*/ 0 h 54484"/>
                <a:gd name="connsiteX6" fmla="*/ 0 w 39491"/>
                <a:gd name="connsiteY6" fmla="*/ 0 h 544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9491" h="54484">
                  <a:moveTo>
                    <a:pt x="0" y="0"/>
                  </a:moveTo>
                  <a:lnTo>
                    <a:pt x="0" y="54485"/>
                  </a:lnTo>
                  <a:lnTo>
                    <a:pt x="18521" y="54485"/>
                  </a:lnTo>
                  <a:lnTo>
                    <a:pt x="19158" y="54485"/>
                  </a:lnTo>
                  <a:lnTo>
                    <a:pt x="39492" y="54485"/>
                  </a:lnTo>
                  <a:lnTo>
                    <a:pt x="39492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61" name="Forma livre: Forma 360">
              <a:extLst>
                <a:ext uri="{FF2B5EF4-FFF2-40B4-BE49-F238E27FC236}">
                  <a16:creationId xmlns:a16="http://schemas.microsoft.com/office/drawing/2014/main" id="{16F428F8-66B0-47F2-84AB-2F15C5D14A9C}"/>
                </a:ext>
              </a:extLst>
            </p:cNvPr>
            <p:cNvSpPr/>
            <p:nvPr/>
          </p:nvSpPr>
          <p:spPr>
            <a:xfrm>
              <a:off x="2964489" y="3197452"/>
              <a:ext cx="51887" cy="28369"/>
            </a:xfrm>
            <a:custGeom>
              <a:avLst/>
              <a:gdLst>
                <a:gd name="connsiteX0" fmla="*/ 42088 w 51887"/>
                <a:gd name="connsiteY0" fmla="*/ 0 h 28369"/>
                <a:gd name="connsiteX1" fmla="*/ 51888 w 51887"/>
                <a:gd name="connsiteY1" fmla="*/ 9799 h 28369"/>
                <a:gd name="connsiteX2" fmla="*/ 51888 w 51887"/>
                <a:gd name="connsiteY2" fmla="*/ 18570 h 28369"/>
                <a:gd name="connsiteX3" fmla="*/ 42088 w 51887"/>
                <a:gd name="connsiteY3" fmla="*/ 28369 h 28369"/>
                <a:gd name="connsiteX4" fmla="*/ 9799 w 51887"/>
                <a:gd name="connsiteY4" fmla="*/ 28369 h 28369"/>
                <a:gd name="connsiteX5" fmla="*/ 0 w 51887"/>
                <a:gd name="connsiteY5" fmla="*/ 18570 h 28369"/>
                <a:gd name="connsiteX6" fmla="*/ 0 w 51887"/>
                <a:gd name="connsiteY6" fmla="*/ 9799 h 28369"/>
                <a:gd name="connsiteX7" fmla="*/ 9799 w 51887"/>
                <a:gd name="connsiteY7" fmla="*/ 0 h 283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1887" h="28369">
                  <a:moveTo>
                    <a:pt x="42088" y="0"/>
                  </a:moveTo>
                  <a:cubicBezTo>
                    <a:pt x="47500" y="0"/>
                    <a:pt x="51888" y="4387"/>
                    <a:pt x="51888" y="9799"/>
                  </a:cubicBezTo>
                  <a:lnTo>
                    <a:pt x="51888" y="18570"/>
                  </a:lnTo>
                  <a:cubicBezTo>
                    <a:pt x="51888" y="23982"/>
                    <a:pt x="47500" y="28369"/>
                    <a:pt x="42088" y="28369"/>
                  </a:cubicBezTo>
                  <a:lnTo>
                    <a:pt x="9799" y="28369"/>
                  </a:lnTo>
                  <a:cubicBezTo>
                    <a:pt x="4387" y="28369"/>
                    <a:pt x="0" y="23982"/>
                    <a:pt x="0" y="18570"/>
                  </a:cubicBezTo>
                  <a:lnTo>
                    <a:pt x="0" y="9799"/>
                  </a:lnTo>
                  <a:cubicBezTo>
                    <a:pt x="0" y="4387"/>
                    <a:pt x="4387" y="0"/>
                    <a:pt x="9799" y="0"/>
                  </a:cubicBez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62" name="Forma livre: Forma 361">
              <a:extLst>
                <a:ext uri="{FF2B5EF4-FFF2-40B4-BE49-F238E27FC236}">
                  <a16:creationId xmlns:a16="http://schemas.microsoft.com/office/drawing/2014/main" id="{8935BB61-3FFE-6693-68B5-52C5D6A8E844}"/>
                </a:ext>
              </a:extLst>
            </p:cNvPr>
            <p:cNvSpPr/>
            <p:nvPr/>
          </p:nvSpPr>
          <p:spPr>
            <a:xfrm>
              <a:off x="2666686" y="3245714"/>
              <a:ext cx="227002" cy="155565"/>
            </a:xfrm>
            <a:custGeom>
              <a:avLst/>
              <a:gdLst>
                <a:gd name="connsiteX0" fmla="*/ 53309 w 227002"/>
                <a:gd name="connsiteY0" fmla="*/ 0 h 155565"/>
                <a:gd name="connsiteX1" fmla="*/ 14699 w 227002"/>
                <a:gd name="connsiteY1" fmla="*/ 0 h 155565"/>
                <a:gd name="connsiteX2" fmla="*/ 0 w 227002"/>
                <a:gd name="connsiteY2" fmla="*/ 14699 h 155565"/>
                <a:gd name="connsiteX3" fmla="*/ 0 w 227002"/>
                <a:gd name="connsiteY3" fmla="*/ 140866 h 155565"/>
                <a:gd name="connsiteX4" fmla="*/ 14699 w 227002"/>
                <a:gd name="connsiteY4" fmla="*/ 155565 h 155565"/>
                <a:gd name="connsiteX5" fmla="*/ 212304 w 227002"/>
                <a:gd name="connsiteY5" fmla="*/ 155565 h 155565"/>
                <a:gd name="connsiteX6" fmla="*/ 227003 w 227002"/>
                <a:gd name="connsiteY6" fmla="*/ 140866 h 155565"/>
                <a:gd name="connsiteX7" fmla="*/ 227003 w 227002"/>
                <a:gd name="connsiteY7" fmla="*/ 14699 h 155565"/>
                <a:gd name="connsiteX8" fmla="*/ 212304 w 227002"/>
                <a:gd name="connsiteY8" fmla="*/ 0 h 155565"/>
                <a:gd name="connsiteX9" fmla="*/ 76827 w 227002"/>
                <a:gd name="connsiteY9" fmla="*/ 0 h 155565"/>
                <a:gd name="connsiteX10" fmla="*/ 76827 w 227002"/>
                <a:gd name="connsiteY10" fmla="*/ 36699 h 1555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27002" h="155565">
                  <a:moveTo>
                    <a:pt x="53309" y="0"/>
                  </a:moveTo>
                  <a:lnTo>
                    <a:pt x="14699" y="0"/>
                  </a:lnTo>
                  <a:cubicBezTo>
                    <a:pt x="6615" y="0"/>
                    <a:pt x="0" y="6614"/>
                    <a:pt x="0" y="14699"/>
                  </a:cubicBezTo>
                  <a:lnTo>
                    <a:pt x="0" y="140866"/>
                  </a:lnTo>
                  <a:cubicBezTo>
                    <a:pt x="0" y="148951"/>
                    <a:pt x="6615" y="155565"/>
                    <a:pt x="14699" y="155565"/>
                  </a:cubicBezTo>
                  <a:lnTo>
                    <a:pt x="212304" y="155565"/>
                  </a:lnTo>
                  <a:cubicBezTo>
                    <a:pt x="220388" y="155565"/>
                    <a:pt x="227003" y="148951"/>
                    <a:pt x="227003" y="140866"/>
                  </a:cubicBezTo>
                  <a:lnTo>
                    <a:pt x="227003" y="14699"/>
                  </a:lnTo>
                  <a:cubicBezTo>
                    <a:pt x="227003" y="6614"/>
                    <a:pt x="220388" y="0"/>
                    <a:pt x="212304" y="0"/>
                  </a:cubicBezTo>
                  <a:lnTo>
                    <a:pt x="76827" y="0"/>
                  </a:lnTo>
                  <a:lnTo>
                    <a:pt x="76827" y="36699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363" name="Gráfico 4">
            <a:extLst>
              <a:ext uri="{FF2B5EF4-FFF2-40B4-BE49-F238E27FC236}">
                <a16:creationId xmlns:a16="http://schemas.microsoft.com/office/drawing/2014/main" id="{1A6ADA95-18F3-43B6-65C5-2D44A23B4B0B}"/>
              </a:ext>
            </a:extLst>
          </p:cNvPr>
          <p:cNvGrpSpPr/>
          <p:nvPr/>
        </p:nvGrpSpPr>
        <p:grpSpPr>
          <a:xfrm>
            <a:off x="3941212" y="987198"/>
            <a:ext cx="314885" cy="295795"/>
            <a:chOff x="3941212" y="987198"/>
            <a:chExt cx="314885" cy="295795"/>
          </a:xfrm>
          <a:noFill/>
        </p:grpSpPr>
        <p:sp>
          <p:nvSpPr>
            <p:cNvPr id="364" name="Forma livre: Forma 363">
              <a:extLst>
                <a:ext uri="{FF2B5EF4-FFF2-40B4-BE49-F238E27FC236}">
                  <a16:creationId xmlns:a16="http://schemas.microsoft.com/office/drawing/2014/main" id="{292F32EE-31E1-CC58-02D1-014AFC6A3C48}"/>
                </a:ext>
              </a:extLst>
            </p:cNvPr>
            <p:cNvSpPr/>
            <p:nvPr/>
          </p:nvSpPr>
          <p:spPr>
            <a:xfrm>
              <a:off x="3941212" y="1051923"/>
              <a:ext cx="16543" cy="59825"/>
            </a:xfrm>
            <a:custGeom>
              <a:avLst/>
              <a:gdLst>
                <a:gd name="connsiteX0" fmla="*/ 2481 w 16543"/>
                <a:gd name="connsiteY0" fmla="*/ 0 h 59825"/>
                <a:gd name="connsiteX1" fmla="*/ 16543 w 16543"/>
                <a:gd name="connsiteY1" fmla="*/ 59825 h 598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6543" h="59825">
                  <a:moveTo>
                    <a:pt x="2481" y="0"/>
                  </a:moveTo>
                  <a:cubicBezTo>
                    <a:pt x="2481" y="0"/>
                    <a:pt x="-8739" y="31407"/>
                    <a:pt x="16543" y="59825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65" name="Forma livre: Forma 364">
              <a:extLst>
                <a:ext uri="{FF2B5EF4-FFF2-40B4-BE49-F238E27FC236}">
                  <a16:creationId xmlns:a16="http://schemas.microsoft.com/office/drawing/2014/main" id="{15306B18-3D02-CBAA-4338-ACAD644772E8}"/>
                </a:ext>
              </a:extLst>
            </p:cNvPr>
            <p:cNvSpPr/>
            <p:nvPr/>
          </p:nvSpPr>
          <p:spPr>
            <a:xfrm>
              <a:off x="3948887" y="1033618"/>
              <a:ext cx="307211" cy="249375"/>
            </a:xfrm>
            <a:custGeom>
              <a:avLst/>
              <a:gdLst>
                <a:gd name="connsiteX0" fmla="*/ 204856 w 307211"/>
                <a:gd name="connsiteY0" fmla="*/ 666 h 249375"/>
                <a:gd name="connsiteX1" fmla="*/ 197311 w 307211"/>
                <a:gd name="connsiteY1" fmla="*/ 82589 h 249375"/>
                <a:gd name="connsiteX2" fmla="*/ 180603 w 307211"/>
                <a:gd name="connsiteY2" fmla="*/ 15904 h 249375"/>
                <a:gd name="connsiteX3" fmla="*/ 181436 w 307211"/>
                <a:gd name="connsiteY3" fmla="*/ 14385 h 249375"/>
                <a:gd name="connsiteX4" fmla="*/ 216763 w 307211"/>
                <a:gd name="connsiteY4" fmla="*/ 372 h 249375"/>
                <a:gd name="connsiteX5" fmla="*/ 260860 w 307211"/>
                <a:gd name="connsiteY5" fmla="*/ 19285 h 249375"/>
                <a:gd name="connsiteX6" fmla="*/ 307211 w 307211"/>
                <a:gd name="connsiteY6" fmla="*/ 22715 h 249375"/>
                <a:gd name="connsiteX7" fmla="*/ 288249 w 307211"/>
                <a:gd name="connsiteY7" fmla="*/ 75534 h 249375"/>
                <a:gd name="connsiteX8" fmla="*/ 236655 w 307211"/>
                <a:gd name="connsiteY8" fmla="*/ 88861 h 249375"/>
                <a:gd name="connsiteX9" fmla="*/ 223671 w 307211"/>
                <a:gd name="connsiteY9" fmla="*/ 138005 h 249375"/>
                <a:gd name="connsiteX10" fmla="*/ 189863 w 307211"/>
                <a:gd name="connsiteY10" fmla="*/ 169461 h 249375"/>
                <a:gd name="connsiteX11" fmla="*/ 192313 w 307211"/>
                <a:gd name="connsiteY11" fmla="*/ 235607 h 249375"/>
                <a:gd name="connsiteX12" fmla="*/ 181289 w 307211"/>
                <a:gd name="connsiteY12" fmla="*/ 249081 h 249375"/>
                <a:gd name="connsiteX13" fmla="*/ 168158 w 307211"/>
                <a:gd name="connsiteY13" fmla="*/ 246435 h 249375"/>
                <a:gd name="connsiteX14" fmla="*/ 154340 w 307211"/>
                <a:gd name="connsiteY14" fmla="*/ 176810 h 249375"/>
                <a:gd name="connsiteX15" fmla="*/ 81335 w 307211"/>
                <a:gd name="connsiteY15" fmla="*/ 174361 h 249375"/>
                <a:gd name="connsiteX16" fmla="*/ 42872 w 307211"/>
                <a:gd name="connsiteY16" fmla="*/ 160886 h 249375"/>
                <a:gd name="connsiteX17" fmla="*/ 26213 w 307211"/>
                <a:gd name="connsiteY17" fmla="*/ 233157 h 249375"/>
                <a:gd name="connsiteX18" fmla="*/ 15924 w 307211"/>
                <a:gd name="connsiteY18" fmla="*/ 246631 h 249375"/>
                <a:gd name="connsiteX19" fmla="*/ 0 w 307211"/>
                <a:gd name="connsiteY19" fmla="*/ 240506 h 249375"/>
                <a:gd name="connsiteX20" fmla="*/ 0 w 307211"/>
                <a:gd name="connsiteY20" fmla="*/ 113114 h 249375"/>
                <a:gd name="connsiteX21" fmla="*/ 11122 w 307211"/>
                <a:gd name="connsiteY21" fmla="*/ 77199 h 249375"/>
                <a:gd name="connsiteX22" fmla="*/ 148020 w 307211"/>
                <a:gd name="connsiteY22" fmla="*/ 79502 h 2493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307211" h="249375">
                  <a:moveTo>
                    <a:pt x="204856" y="666"/>
                  </a:moveTo>
                  <a:cubicBezTo>
                    <a:pt x="204856" y="666"/>
                    <a:pt x="234597" y="64852"/>
                    <a:pt x="197311" y="82589"/>
                  </a:cubicBezTo>
                  <a:cubicBezTo>
                    <a:pt x="197311" y="82589"/>
                    <a:pt x="142679" y="96210"/>
                    <a:pt x="180603" y="15904"/>
                  </a:cubicBezTo>
                  <a:lnTo>
                    <a:pt x="181436" y="14385"/>
                  </a:lnTo>
                  <a:cubicBezTo>
                    <a:pt x="191333" y="-3597"/>
                    <a:pt x="216763" y="372"/>
                    <a:pt x="216763" y="372"/>
                  </a:cubicBezTo>
                  <a:cubicBezTo>
                    <a:pt x="251060" y="1597"/>
                    <a:pt x="260860" y="19285"/>
                    <a:pt x="260860" y="19285"/>
                  </a:cubicBezTo>
                  <a:lnTo>
                    <a:pt x="307211" y="22715"/>
                  </a:lnTo>
                  <a:cubicBezTo>
                    <a:pt x="298637" y="65587"/>
                    <a:pt x="300498" y="68184"/>
                    <a:pt x="288249" y="75534"/>
                  </a:cubicBezTo>
                  <a:cubicBezTo>
                    <a:pt x="276000" y="82883"/>
                    <a:pt x="236655" y="88861"/>
                    <a:pt x="236655" y="88861"/>
                  </a:cubicBezTo>
                  <a:cubicBezTo>
                    <a:pt x="236655" y="88861"/>
                    <a:pt x="229845" y="127960"/>
                    <a:pt x="223671" y="138005"/>
                  </a:cubicBezTo>
                  <a:cubicBezTo>
                    <a:pt x="213137" y="155056"/>
                    <a:pt x="189863" y="169461"/>
                    <a:pt x="189863" y="169461"/>
                  </a:cubicBezTo>
                  <a:lnTo>
                    <a:pt x="192313" y="235607"/>
                  </a:lnTo>
                  <a:cubicBezTo>
                    <a:pt x="191823" y="252560"/>
                    <a:pt x="181289" y="249081"/>
                    <a:pt x="181289" y="249081"/>
                  </a:cubicBezTo>
                  <a:cubicBezTo>
                    <a:pt x="170264" y="249081"/>
                    <a:pt x="168158" y="246435"/>
                    <a:pt x="168158" y="246435"/>
                  </a:cubicBezTo>
                  <a:lnTo>
                    <a:pt x="154340" y="176810"/>
                  </a:lnTo>
                  <a:cubicBezTo>
                    <a:pt x="128519" y="195576"/>
                    <a:pt x="97504" y="187443"/>
                    <a:pt x="81335" y="174361"/>
                  </a:cubicBezTo>
                  <a:cubicBezTo>
                    <a:pt x="69282" y="164610"/>
                    <a:pt x="42872" y="160886"/>
                    <a:pt x="42872" y="160886"/>
                  </a:cubicBezTo>
                  <a:lnTo>
                    <a:pt x="26213" y="233157"/>
                  </a:lnTo>
                  <a:cubicBezTo>
                    <a:pt x="22784" y="247660"/>
                    <a:pt x="15924" y="246631"/>
                    <a:pt x="15924" y="246631"/>
                  </a:cubicBezTo>
                  <a:cubicBezTo>
                    <a:pt x="3675" y="246631"/>
                    <a:pt x="0" y="240506"/>
                    <a:pt x="0" y="240506"/>
                  </a:cubicBezTo>
                  <a:lnTo>
                    <a:pt x="0" y="113114"/>
                  </a:lnTo>
                  <a:cubicBezTo>
                    <a:pt x="0" y="77199"/>
                    <a:pt x="11122" y="77199"/>
                    <a:pt x="11122" y="77199"/>
                  </a:cubicBezTo>
                  <a:cubicBezTo>
                    <a:pt x="56445" y="89449"/>
                    <a:pt x="119406" y="83324"/>
                    <a:pt x="148020" y="79502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66" name="Forma livre: Forma 365">
              <a:extLst>
                <a:ext uri="{FF2B5EF4-FFF2-40B4-BE49-F238E27FC236}">
                  <a16:creationId xmlns:a16="http://schemas.microsoft.com/office/drawing/2014/main" id="{229AB1F3-58A4-7BA1-A013-C9FF7E838548}"/>
                </a:ext>
              </a:extLst>
            </p:cNvPr>
            <p:cNvSpPr/>
            <p:nvPr/>
          </p:nvSpPr>
          <p:spPr>
            <a:xfrm>
              <a:off x="4036935" y="987198"/>
              <a:ext cx="57571" cy="78836"/>
            </a:xfrm>
            <a:custGeom>
              <a:avLst/>
              <a:gdLst>
                <a:gd name="connsiteX0" fmla="*/ 57571 w 57571"/>
                <a:gd name="connsiteY0" fmla="*/ 78836 h 78836"/>
                <a:gd name="connsiteX1" fmla="*/ 0 w 57571"/>
                <a:gd name="connsiteY1" fmla="*/ 0 h 788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7571" h="78836">
                  <a:moveTo>
                    <a:pt x="57571" y="78836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67" name="Forma livre: Forma 366">
              <a:extLst>
                <a:ext uri="{FF2B5EF4-FFF2-40B4-BE49-F238E27FC236}">
                  <a16:creationId xmlns:a16="http://schemas.microsoft.com/office/drawing/2014/main" id="{9A617C72-C023-B037-56BB-B83BDEE4C6E2}"/>
                </a:ext>
              </a:extLst>
            </p:cNvPr>
            <p:cNvSpPr/>
            <p:nvPr/>
          </p:nvSpPr>
          <p:spPr>
            <a:xfrm>
              <a:off x="4149089" y="1116550"/>
              <a:ext cx="30525" cy="24939"/>
            </a:xfrm>
            <a:custGeom>
              <a:avLst/>
              <a:gdLst>
                <a:gd name="connsiteX0" fmla="*/ 30525 w 30525"/>
                <a:gd name="connsiteY0" fmla="*/ 24939 h 24939"/>
                <a:gd name="connsiteX1" fmla="*/ 0 w 30525"/>
                <a:gd name="connsiteY1" fmla="*/ 0 h 249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0525" h="24939">
                  <a:moveTo>
                    <a:pt x="30525" y="24939"/>
                  </a:moveTo>
                  <a:cubicBezTo>
                    <a:pt x="30525" y="24939"/>
                    <a:pt x="12200" y="18374"/>
                    <a:pt x="0" y="0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368" name="Gráfico 4">
            <a:extLst>
              <a:ext uri="{FF2B5EF4-FFF2-40B4-BE49-F238E27FC236}">
                <a16:creationId xmlns:a16="http://schemas.microsoft.com/office/drawing/2014/main" id="{0E27049C-AEE3-ED98-215A-5D4567BDE714}"/>
              </a:ext>
            </a:extLst>
          </p:cNvPr>
          <p:cNvGrpSpPr/>
          <p:nvPr/>
        </p:nvGrpSpPr>
        <p:grpSpPr>
          <a:xfrm>
            <a:off x="3944942" y="1535645"/>
            <a:ext cx="299311" cy="299360"/>
            <a:chOff x="3944942" y="1535645"/>
            <a:chExt cx="299311" cy="299360"/>
          </a:xfrm>
          <a:noFill/>
        </p:grpSpPr>
        <p:grpSp>
          <p:nvGrpSpPr>
            <p:cNvPr id="369" name="Gráfico 4">
              <a:extLst>
                <a:ext uri="{FF2B5EF4-FFF2-40B4-BE49-F238E27FC236}">
                  <a16:creationId xmlns:a16="http://schemas.microsoft.com/office/drawing/2014/main" id="{9F8575AC-EBF4-89BF-1F6C-900A2BB79554}"/>
                </a:ext>
              </a:extLst>
            </p:cNvPr>
            <p:cNvGrpSpPr/>
            <p:nvPr/>
          </p:nvGrpSpPr>
          <p:grpSpPr>
            <a:xfrm>
              <a:off x="3944942" y="1535645"/>
              <a:ext cx="299311" cy="299360"/>
              <a:chOff x="3944942" y="1535645"/>
              <a:chExt cx="299311" cy="299360"/>
            </a:xfrm>
            <a:noFill/>
          </p:grpSpPr>
          <p:sp>
            <p:nvSpPr>
              <p:cNvPr id="370" name="Forma livre: Forma 369">
                <a:extLst>
                  <a:ext uri="{FF2B5EF4-FFF2-40B4-BE49-F238E27FC236}">
                    <a16:creationId xmlns:a16="http://schemas.microsoft.com/office/drawing/2014/main" id="{B314DF02-35F4-D486-ADDC-9887096678A5}"/>
                  </a:ext>
                </a:extLst>
              </p:cNvPr>
              <p:cNvSpPr/>
              <p:nvPr/>
            </p:nvSpPr>
            <p:spPr>
              <a:xfrm>
                <a:off x="4046485" y="1718968"/>
                <a:ext cx="111570" cy="116037"/>
              </a:xfrm>
              <a:custGeom>
                <a:avLst/>
                <a:gdLst>
                  <a:gd name="connsiteX0" fmla="*/ 35968 w 111570"/>
                  <a:gd name="connsiteY0" fmla="*/ 16022 h 116037"/>
                  <a:gd name="connsiteX1" fmla="*/ 32587 w 111570"/>
                  <a:gd name="connsiteY1" fmla="*/ 21265 h 116037"/>
                  <a:gd name="connsiteX2" fmla="*/ 22249 w 111570"/>
                  <a:gd name="connsiteY2" fmla="*/ 114555 h 116037"/>
                  <a:gd name="connsiteX3" fmla="*/ 22739 w 111570"/>
                  <a:gd name="connsiteY3" fmla="*/ 114653 h 116037"/>
                  <a:gd name="connsiteX4" fmla="*/ 101869 w 111570"/>
                  <a:gd name="connsiteY4" fmla="*/ 27732 h 116037"/>
                  <a:gd name="connsiteX5" fmla="*/ 86043 w 111570"/>
                  <a:gd name="connsiteY5" fmla="*/ 0 h 1160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11570" h="116037">
                    <a:moveTo>
                      <a:pt x="35968" y="16022"/>
                    </a:moveTo>
                    <a:cubicBezTo>
                      <a:pt x="34988" y="17737"/>
                      <a:pt x="33861" y="19501"/>
                      <a:pt x="32587" y="21265"/>
                    </a:cubicBezTo>
                    <a:cubicBezTo>
                      <a:pt x="7991" y="59041"/>
                      <a:pt x="-21064" y="108724"/>
                      <a:pt x="22249" y="114555"/>
                    </a:cubicBezTo>
                    <a:cubicBezTo>
                      <a:pt x="22396" y="114555"/>
                      <a:pt x="22592" y="114604"/>
                      <a:pt x="22739" y="114653"/>
                    </a:cubicBezTo>
                    <a:cubicBezTo>
                      <a:pt x="73304" y="122835"/>
                      <a:pt x="135922" y="94858"/>
                      <a:pt x="101869" y="27732"/>
                    </a:cubicBezTo>
                    <a:cubicBezTo>
                      <a:pt x="96479" y="16512"/>
                      <a:pt x="91090" y="7447"/>
                      <a:pt x="86043" y="0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71" name="Forma livre: Forma 370">
                <a:extLst>
                  <a:ext uri="{FF2B5EF4-FFF2-40B4-BE49-F238E27FC236}">
                    <a16:creationId xmlns:a16="http://schemas.microsoft.com/office/drawing/2014/main" id="{976F1F00-6E68-B1F4-FEDE-5EDF779A93BA}"/>
                  </a:ext>
                </a:extLst>
              </p:cNvPr>
              <p:cNvSpPr/>
              <p:nvPr/>
            </p:nvSpPr>
            <p:spPr>
              <a:xfrm>
                <a:off x="3944942" y="1637237"/>
                <a:ext cx="115903" cy="111570"/>
              </a:xfrm>
              <a:custGeom>
                <a:avLst/>
                <a:gdLst>
                  <a:gd name="connsiteX0" fmla="*/ 99881 w 115903"/>
                  <a:gd name="connsiteY0" fmla="*/ 35870 h 111570"/>
                  <a:gd name="connsiteX1" fmla="*/ 94786 w 115903"/>
                  <a:gd name="connsiteY1" fmla="*/ 32587 h 111570"/>
                  <a:gd name="connsiteX2" fmla="*/ 1495 w 115903"/>
                  <a:gd name="connsiteY2" fmla="*/ 22249 h 111570"/>
                  <a:gd name="connsiteX3" fmla="*/ 1397 w 115903"/>
                  <a:gd name="connsiteY3" fmla="*/ 22739 h 111570"/>
                  <a:gd name="connsiteX4" fmla="*/ 88318 w 115903"/>
                  <a:gd name="connsiteY4" fmla="*/ 101869 h 111570"/>
                  <a:gd name="connsiteX5" fmla="*/ 115903 w 115903"/>
                  <a:gd name="connsiteY5" fmla="*/ 86190 h 1115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15903" h="111570">
                    <a:moveTo>
                      <a:pt x="99881" y="35870"/>
                    </a:moveTo>
                    <a:cubicBezTo>
                      <a:pt x="98215" y="34890"/>
                      <a:pt x="96501" y="33812"/>
                      <a:pt x="94786" y="32587"/>
                    </a:cubicBezTo>
                    <a:cubicBezTo>
                      <a:pt x="57058" y="7991"/>
                      <a:pt x="7375" y="-21064"/>
                      <a:pt x="1495" y="22249"/>
                    </a:cubicBezTo>
                    <a:cubicBezTo>
                      <a:pt x="1495" y="22396"/>
                      <a:pt x="1446" y="22592"/>
                      <a:pt x="1397" y="22739"/>
                    </a:cubicBezTo>
                    <a:cubicBezTo>
                      <a:pt x="-6834" y="73304"/>
                      <a:pt x="21192" y="135922"/>
                      <a:pt x="88318" y="101869"/>
                    </a:cubicBezTo>
                    <a:cubicBezTo>
                      <a:pt x="99489" y="96528"/>
                      <a:pt x="108456" y="91188"/>
                      <a:pt x="115903" y="86190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72" name="Forma livre: Forma 371">
                <a:extLst>
                  <a:ext uri="{FF2B5EF4-FFF2-40B4-BE49-F238E27FC236}">
                    <a16:creationId xmlns:a16="http://schemas.microsoft.com/office/drawing/2014/main" id="{3C26675D-C4EB-6B69-1784-D0CD77474E9C}"/>
                  </a:ext>
                </a:extLst>
              </p:cNvPr>
              <p:cNvSpPr/>
              <p:nvPr/>
            </p:nvSpPr>
            <p:spPr>
              <a:xfrm>
                <a:off x="4031183" y="1535645"/>
                <a:ext cx="111552" cy="115364"/>
              </a:xfrm>
              <a:custGeom>
                <a:avLst/>
                <a:gdLst>
                  <a:gd name="connsiteX0" fmla="*/ 75572 w 111552"/>
                  <a:gd name="connsiteY0" fmla="*/ 100028 h 115364"/>
                  <a:gd name="connsiteX1" fmla="*/ 78953 w 111552"/>
                  <a:gd name="connsiteY1" fmla="*/ 94786 h 115364"/>
                  <a:gd name="connsiteX2" fmla="*/ 89340 w 111552"/>
                  <a:gd name="connsiteY2" fmla="*/ 1446 h 115364"/>
                  <a:gd name="connsiteX3" fmla="*/ 88850 w 111552"/>
                  <a:gd name="connsiteY3" fmla="*/ 1397 h 115364"/>
                  <a:gd name="connsiteX4" fmla="*/ 9720 w 111552"/>
                  <a:gd name="connsiteY4" fmla="*/ 88318 h 115364"/>
                  <a:gd name="connsiteX5" fmla="*/ 25057 w 111552"/>
                  <a:gd name="connsiteY5" fmla="*/ 115364 h 1153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11552" h="115364">
                    <a:moveTo>
                      <a:pt x="75572" y="100028"/>
                    </a:moveTo>
                    <a:cubicBezTo>
                      <a:pt x="76552" y="98313"/>
                      <a:pt x="77679" y="96550"/>
                      <a:pt x="78953" y="94786"/>
                    </a:cubicBezTo>
                    <a:cubicBezTo>
                      <a:pt x="103550" y="57009"/>
                      <a:pt x="132605" y="7375"/>
                      <a:pt x="89340" y="1446"/>
                    </a:cubicBezTo>
                    <a:cubicBezTo>
                      <a:pt x="89144" y="1446"/>
                      <a:pt x="88997" y="1446"/>
                      <a:pt x="88850" y="1397"/>
                    </a:cubicBezTo>
                    <a:cubicBezTo>
                      <a:pt x="38286" y="-6834"/>
                      <a:pt x="-24381" y="21192"/>
                      <a:pt x="9720" y="88318"/>
                    </a:cubicBezTo>
                    <a:cubicBezTo>
                      <a:pt x="14914" y="99195"/>
                      <a:pt x="20157" y="108064"/>
                      <a:pt x="25057" y="115364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73" name="Forma livre: Forma 372">
                <a:extLst>
                  <a:ext uri="{FF2B5EF4-FFF2-40B4-BE49-F238E27FC236}">
                    <a16:creationId xmlns:a16="http://schemas.microsoft.com/office/drawing/2014/main" id="{303AB296-FE5F-BDD8-BDC0-B0EA89839A98}"/>
                  </a:ext>
                </a:extLst>
              </p:cNvPr>
              <p:cNvSpPr/>
              <p:nvPr/>
            </p:nvSpPr>
            <p:spPr>
              <a:xfrm>
                <a:off x="4128314" y="1621856"/>
                <a:ext cx="115939" cy="111570"/>
              </a:xfrm>
              <a:custGeom>
                <a:avLst/>
                <a:gdLst>
                  <a:gd name="connsiteX0" fmla="*/ 15875 w 115939"/>
                  <a:gd name="connsiteY0" fmla="*/ 75603 h 111570"/>
                  <a:gd name="connsiteX1" fmla="*/ 21167 w 115939"/>
                  <a:gd name="connsiteY1" fmla="*/ 78983 h 111570"/>
                  <a:gd name="connsiteX2" fmla="*/ 114457 w 115939"/>
                  <a:gd name="connsiteY2" fmla="*/ 89322 h 111570"/>
                  <a:gd name="connsiteX3" fmla="*/ 114555 w 115939"/>
                  <a:gd name="connsiteY3" fmla="*/ 88832 h 111570"/>
                  <a:gd name="connsiteX4" fmla="*/ 27634 w 115939"/>
                  <a:gd name="connsiteY4" fmla="*/ 9702 h 111570"/>
                  <a:gd name="connsiteX5" fmla="*/ 0 w 115939"/>
                  <a:gd name="connsiteY5" fmla="*/ 25430 h 1115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15939" h="111570">
                    <a:moveTo>
                      <a:pt x="15875" y="75603"/>
                    </a:moveTo>
                    <a:cubicBezTo>
                      <a:pt x="17590" y="76583"/>
                      <a:pt x="19354" y="77759"/>
                      <a:pt x="21167" y="78983"/>
                    </a:cubicBezTo>
                    <a:cubicBezTo>
                      <a:pt x="58943" y="103580"/>
                      <a:pt x="108626" y="132635"/>
                      <a:pt x="114457" y="89322"/>
                    </a:cubicBezTo>
                    <a:cubicBezTo>
                      <a:pt x="114457" y="89175"/>
                      <a:pt x="114506" y="88979"/>
                      <a:pt x="114555" y="88832"/>
                    </a:cubicBezTo>
                    <a:cubicBezTo>
                      <a:pt x="122737" y="38267"/>
                      <a:pt x="94760" y="-24351"/>
                      <a:pt x="27634" y="9702"/>
                    </a:cubicBezTo>
                    <a:cubicBezTo>
                      <a:pt x="16463" y="15042"/>
                      <a:pt x="7448" y="20383"/>
                      <a:pt x="0" y="25430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374" name="Forma livre: Forma 373">
              <a:extLst>
                <a:ext uri="{FF2B5EF4-FFF2-40B4-BE49-F238E27FC236}">
                  <a16:creationId xmlns:a16="http://schemas.microsoft.com/office/drawing/2014/main" id="{DB695A06-15A6-FE8D-1D57-2C386018F023}"/>
                </a:ext>
              </a:extLst>
            </p:cNvPr>
            <p:cNvSpPr/>
            <p:nvPr/>
          </p:nvSpPr>
          <p:spPr>
            <a:xfrm>
              <a:off x="4068538" y="1659290"/>
              <a:ext cx="52132" cy="52132"/>
            </a:xfrm>
            <a:custGeom>
              <a:avLst/>
              <a:gdLst>
                <a:gd name="connsiteX0" fmla="*/ 52133 w 52132"/>
                <a:gd name="connsiteY0" fmla="*/ 26066 h 52132"/>
                <a:gd name="connsiteX1" fmla="*/ 26066 w 52132"/>
                <a:gd name="connsiteY1" fmla="*/ 52133 h 52132"/>
                <a:gd name="connsiteX2" fmla="*/ 0 w 52132"/>
                <a:gd name="connsiteY2" fmla="*/ 26066 h 52132"/>
                <a:gd name="connsiteX3" fmla="*/ 26066 w 52132"/>
                <a:gd name="connsiteY3" fmla="*/ 0 h 52132"/>
                <a:gd name="connsiteX4" fmla="*/ 52133 w 52132"/>
                <a:gd name="connsiteY4" fmla="*/ 26066 h 521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2132" h="52132">
                  <a:moveTo>
                    <a:pt x="52133" y="26066"/>
                  </a:moveTo>
                  <a:cubicBezTo>
                    <a:pt x="52133" y="40423"/>
                    <a:pt x="40471" y="52133"/>
                    <a:pt x="26066" y="52133"/>
                  </a:cubicBezTo>
                  <a:cubicBezTo>
                    <a:pt x="11661" y="52133"/>
                    <a:pt x="0" y="40471"/>
                    <a:pt x="0" y="26066"/>
                  </a:cubicBezTo>
                  <a:cubicBezTo>
                    <a:pt x="0" y="11661"/>
                    <a:pt x="11661" y="0"/>
                    <a:pt x="26066" y="0"/>
                  </a:cubicBezTo>
                  <a:cubicBezTo>
                    <a:pt x="40471" y="0"/>
                    <a:pt x="52133" y="11661"/>
                    <a:pt x="52133" y="26066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375" name="Gráfico 4">
            <a:extLst>
              <a:ext uri="{FF2B5EF4-FFF2-40B4-BE49-F238E27FC236}">
                <a16:creationId xmlns:a16="http://schemas.microsoft.com/office/drawing/2014/main" id="{7085128F-C9FE-ACAF-4728-2A9C5A2E122A}"/>
              </a:ext>
            </a:extLst>
          </p:cNvPr>
          <p:cNvGrpSpPr/>
          <p:nvPr/>
        </p:nvGrpSpPr>
        <p:grpSpPr>
          <a:xfrm>
            <a:off x="3970887" y="2111924"/>
            <a:ext cx="247434" cy="247434"/>
            <a:chOff x="3970887" y="2111924"/>
            <a:chExt cx="247434" cy="247434"/>
          </a:xfrm>
          <a:noFill/>
        </p:grpSpPr>
        <p:sp>
          <p:nvSpPr>
            <p:cNvPr id="376" name="Forma livre: Forma 375">
              <a:extLst>
                <a:ext uri="{FF2B5EF4-FFF2-40B4-BE49-F238E27FC236}">
                  <a16:creationId xmlns:a16="http://schemas.microsoft.com/office/drawing/2014/main" id="{1D22A3BE-38B7-2147-4977-D520D17C927D}"/>
                </a:ext>
              </a:extLst>
            </p:cNvPr>
            <p:cNvSpPr/>
            <p:nvPr/>
          </p:nvSpPr>
          <p:spPr>
            <a:xfrm>
              <a:off x="4018316" y="2150681"/>
              <a:ext cx="156447" cy="175556"/>
            </a:xfrm>
            <a:custGeom>
              <a:avLst/>
              <a:gdLst>
                <a:gd name="connsiteX0" fmla="*/ 49 w 156447"/>
                <a:gd name="connsiteY0" fmla="*/ 32828 h 175556"/>
                <a:gd name="connsiteX1" fmla="*/ 31407 w 156447"/>
                <a:gd name="connsiteY1" fmla="*/ 0 h 175556"/>
                <a:gd name="connsiteX2" fmla="*/ 81237 w 156447"/>
                <a:gd name="connsiteY2" fmla="*/ 0 h 175556"/>
                <a:gd name="connsiteX3" fmla="*/ 156447 w 156447"/>
                <a:gd name="connsiteY3" fmla="*/ 59629 h 175556"/>
                <a:gd name="connsiteX4" fmla="*/ 81237 w 156447"/>
                <a:gd name="connsiteY4" fmla="*/ 119014 h 175556"/>
                <a:gd name="connsiteX5" fmla="*/ 53701 w 156447"/>
                <a:gd name="connsiteY5" fmla="*/ 119014 h 175556"/>
                <a:gd name="connsiteX6" fmla="*/ 53701 w 156447"/>
                <a:gd name="connsiteY6" fmla="*/ 146795 h 175556"/>
                <a:gd name="connsiteX7" fmla="*/ 26850 w 156447"/>
                <a:gd name="connsiteY7" fmla="*/ 175556 h 175556"/>
                <a:gd name="connsiteX8" fmla="*/ 0 w 156447"/>
                <a:gd name="connsiteY8" fmla="*/ 146795 h 175556"/>
                <a:gd name="connsiteX9" fmla="*/ 0 w 156447"/>
                <a:gd name="connsiteY9" fmla="*/ 32779 h 175556"/>
                <a:gd name="connsiteX10" fmla="*/ 84128 w 156447"/>
                <a:gd name="connsiteY10" fmla="*/ 77366 h 175556"/>
                <a:gd name="connsiteX11" fmla="*/ 102796 w 156447"/>
                <a:gd name="connsiteY11" fmla="*/ 59874 h 175556"/>
                <a:gd name="connsiteX12" fmla="*/ 81482 w 156447"/>
                <a:gd name="connsiteY12" fmla="*/ 41696 h 175556"/>
                <a:gd name="connsiteX13" fmla="*/ 53701 w 156447"/>
                <a:gd name="connsiteY13" fmla="*/ 41696 h 175556"/>
                <a:gd name="connsiteX14" fmla="*/ 53701 w 156447"/>
                <a:gd name="connsiteY14" fmla="*/ 77366 h 175556"/>
                <a:gd name="connsiteX15" fmla="*/ 84128 w 156447"/>
                <a:gd name="connsiteY15" fmla="*/ 77366 h 1755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56447" h="175556">
                  <a:moveTo>
                    <a:pt x="49" y="32828"/>
                  </a:moveTo>
                  <a:cubicBezTo>
                    <a:pt x="49" y="9848"/>
                    <a:pt x="10093" y="0"/>
                    <a:pt x="31407" y="0"/>
                  </a:cubicBezTo>
                  <a:lnTo>
                    <a:pt x="81237" y="0"/>
                  </a:lnTo>
                  <a:cubicBezTo>
                    <a:pt x="123374" y="0"/>
                    <a:pt x="156447" y="12935"/>
                    <a:pt x="156447" y="59629"/>
                  </a:cubicBezTo>
                  <a:cubicBezTo>
                    <a:pt x="156447" y="106323"/>
                    <a:pt x="123374" y="119014"/>
                    <a:pt x="81237" y="119014"/>
                  </a:cubicBezTo>
                  <a:lnTo>
                    <a:pt x="53701" y="119014"/>
                  </a:lnTo>
                  <a:lnTo>
                    <a:pt x="53701" y="146795"/>
                  </a:lnTo>
                  <a:cubicBezTo>
                    <a:pt x="53701" y="165267"/>
                    <a:pt x="44097" y="175556"/>
                    <a:pt x="26850" y="175556"/>
                  </a:cubicBezTo>
                  <a:cubicBezTo>
                    <a:pt x="9603" y="175556"/>
                    <a:pt x="0" y="165267"/>
                    <a:pt x="0" y="146795"/>
                  </a:cubicBezTo>
                  <a:lnTo>
                    <a:pt x="0" y="32779"/>
                  </a:lnTo>
                  <a:close/>
                  <a:moveTo>
                    <a:pt x="84128" y="77366"/>
                  </a:moveTo>
                  <a:cubicBezTo>
                    <a:pt x="93241" y="77366"/>
                    <a:pt x="102796" y="71634"/>
                    <a:pt x="102796" y="59874"/>
                  </a:cubicBezTo>
                  <a:cubicBezTo>
                    <a:pt x="102796" y="48115"/>
                    <a:pt x="94907" y="41696"/>
                    <a:pt x="81482" y="41696"/>
                  </a:cubicBezTo>
                  <a:lnTo>
                    <a:pt x="53701" y="41696"/>
                  </a:lnTo>
                  <a:lnTo>
                    <a:pt x="53701" y="77366"/>
                  </a:lnTo>
                  <a:lnTo>
                    <a:pt x="84128" y="77366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77" name="Forma livre: Forma 376">
              <a:extLst>
                <a:ext uri="{FF2B5EF4-FFF2-40B4-BE49-F238E27FC236}">
                  <a16:creationId xmlns:a16="http://schemas.microsoft.com/office/drawing/2014/main" id="{9F7B2101-3434-2274-45C3-BFBC4BC256D0}"/>
                </a:ext>
              </a:extLst>
            </p:cNvPr>
            <p:cNvSpPr/>
            <p:nvPr/>
          </p:nvSpPr>
          <p:spPr>
            <a:xfrm>
              <a:off x="3970887" y="2111924"/>
              <a:ext cx="247434" cy="247434"/>
            </a:xfrm>
            <a:custGeom>
              <a:avLst/>
              <a:gdLst>
                <a:gd name="connsiteX0" fmla="*/ 218036 w 247434"/>
                <a:gd name="connsiteY0" fmla="*/ 0 h 247434"/>
                <a:gd name="connsiteX1" fmla="*/ 247435 w 247434"/>
                <a:gd name="connsiteY1" fmla="*/ 29398 h 247434"/>
                <a:gd name="connsiteX2" fmla="*/ 247435 w 247434"/>
                <a:gd name="connsiteY2" fmla="*/ 218037 h 247434"/>
                <a:gd name="connsiteX3" fmla="*/ 218036 w 247434"/>
                <a:gd name="connsiteY3" fmla="*/ 247435 h 247434"/>
                <a:gd name="connsiteX4" fmla="*/ 29398 w 247434"/>
                <a:gd name="connsiteY4" fmla="*/ 247435 h 247434"/>
                <a:gd name="connsiteX5" fmla="*/ 0 w 247434"/>
                <a:gd name="connsiteY5" fmla="*/ 218037 h 247434"/>
                <a:gd name="connsiteX6" fmla="*/ 0 w 247434"/>
                <a:gd name="connsiteY6" fmla="*/ 29398 h 247434"/>
                <a:gd name="connsiteX7" fmla="*/ 29398 w 247434"/>
                <a:gd name="connsiteY7" fmla="*/ 0 h 2474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47434" h="247434">
                  <a:moveTo>
                    <a:pt x="218036" y="0"/>
                  </a:moveTo>
                  <a:cubicBezTo>
                    <a:pt x="234273" y="0"/>
                    <a:pt x="247435" y="13162"/>
                    <a:pt x="247435" y="29398"/>
                  </a:cubicBezTo>
                  <a:lnTo>
                    <a:pt x="247435" y="218037"/>
                  </a:lnTo>
                  <a:cubicBezTo>
                    <a:pt x="247435" y="234273"/>
                    <a:pt x="234273" y="247435"/>
                    <a:pt x="218036" y="247435"/>
                  </a:cubicBezTo>
                  <a:lnTo>
                    <a:pt x="29398" y="247435"/>
                  </a:lnTo>
                  <a:cubicBezTo>
                    <a:pt x="13162" y="247435"/>
                    <a:pt x="0" y="234273"/>
                    <a:pt x="0" y="218037"/>
                  </a:cubicBezTo>
                  <a:lnTo>
                    <a:pt x="0" y="29398"/>
                  </a:lnTo>
                  <a:cubicBezTo>
                    <a:pt x="0" y="13162"/>
                    <a:pt x="13162" y="0"/>
                    <a:pt x="29398" y="0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378" name="Gráfico 4">
            <a:extLst>
              <a:ext uri="{FF2B5EF4-FFF2-40B4-BE49-F238E27FC236}">
                <a16:creationId xmlns:a16="http://schemas.microsoft.com/office/drawing/2014/main" id="{DA88E72D-D1CE-F8F5-5083-BA0D904664DB}"/>
              </a:ext>
            </a:extLst>
          </p:cNvPr>
          <p:cNvGrpSpPr/>
          <p:nvPr/>
        </p:nvGrpSpPr>
        <p:grpSpPr>
          <a:xfrm>
            <a:off x="3926299" y="2653537"/>
            <a:ext cx="336609" cy="264829"/>
            <a:chOff x="3926299" y="2653537"/>
            <a:chExt cx="336609" cy="264829"/>
          </a:xfrm>
          <a:noFill/>
        </p:grpSpPr>
        <p:sp>
          <p:nvSpPr>
            <p:cNvPr id="379" name="Forma livre: Forma 378">
              <a:extLst>
                <a:ext uri="{FF2B5EF4-FFF2-40B4-BE49-F238E27FC236}">
                  <a16:creationId xmlns:a16="http://schemas.microsoft.com/office/drawing/2014/main" id="{090E976A-DE5C-B2EC-DE6C-954212E486BF}"/>
                </a:ext>
              </a:extLst>
            </p:cNvPr>
            <p:cNvSpPr/>
            <p:nvPr/>
          </p:nvSpPr>
          <p:spPr>
            <a:xfrm>
              <a:off x="4055210" y="2865743"/>
              <a:ext cx="48" cy="49388"/>
            </a:xfrm>
            <a:custGeom>
              <a:avLst/>
              <a:gdLst>
                <a:gd name="connsiteX0" fmla="*/ 0 w 48"/>
                <a:gd name="connsiteY0" fmla="*/ 0 h 49388"/>
                <a:gd name="connsiteX1" fmla="*/ 49 w 48"/>
                <a:gd name="connsiteY1" fmla="*/ 49389 h 493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8" h="49388">
                  <a:moveTo>
                    <a:pt x="0" y="0"/>
                  </a:moveTo>
                  <a:lnTo>
                    <a:pt x="49" y="49389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80" name="Forma livre: Forma 379">
              <a:extLst>
                <a:ext uri="{FF2B5EF4-FFF2-40B4-BE49-F238E27FC236}">
                  <a16:creationId xmlns:a16="http://schemas.microsoft.com/office/drawing/2014/main" id="{9C94486B-3E7F-E4CA-E6CF-951612703A5F}"/>
                </a:ext>
              </a:extLst>
            </p:cNvPr>
            <p:cNvSpPr/>
            <p:nvPr/>
          </p:nvSpPr>
          <p:spPr>
            <a:xfrm>
              <a:off x="4055210" y="2847467"/>
              <a:ext cx="48" cy="51740"/>
            </a:xfrm>
            <a:custGeom>
              <a:avLst/>
              <a:gdLst>
                <a:gd name="connsiteX0" fmla="*/ 0 w 48"/>
                <a:gd name="connsiteY0" fmla="*/ 0 h 51740"/>
                <a:gd name="connsiteX1" fmla="*/ 49 w 48"/>
                <a:gd name="connsiteY1" fmla="*/ 51741 h 517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8" h="51740">
                  <a:moveTo>
                    <a:pt x="0" y="0"/>
                  </a:moveTo>
                  <a:lnTo>
                    <a:pt x="49" y="51741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381" name="Gráfico 4">
              <a:extLst>
                <a:ext uri="{FF2B5EF4-FFF2-40B4-BE49-F238E27FC236}">
                  <a16:creationId xmlns:a16="http://schemas.microsoft.com/office/drawing/2014/main" id="{81721495-01BB-DAD3-8331-20C8A506E8F1}"/>
                </a:ext>
              </a:extLst>
            </p:cNvPr>
            <p:cNvGrpSpPr/>
            <p:nvPr/>
          </p:nvGrpSpPr>
          <p:grpSpPr>
            <a:xfrm>
              <a:off x="3999452" y="2872406"/>
              <a:ext cx="111566" cy="42480"/>
              <a:chOff x="3999452" y="2872406"/>
              <a:chExt cx="111566" cy="42480"/>
            </a:xfrm>
          </p:grpSpPr>
          <p:sp>
            <p:nvSpPr>
              <p:cNvPr id="382" name="Forma livre: Forma 381">
                <a:extLst>
                  <a:ext uri="{FF2B5EF4-FFF2-40B4-BE49-F238E27FC236}">
                    <a16:creationId xmlns:a16="http://schemas.microsoft.com/office/drawing/2014/main" id="{9ED5C7B3-727E-2660-E2A3-873371C57102}"/>
                  </a:ext>
                </a:extLst>
              </p:cNvPr>
              <p:cNvSpPr/>
              <p:nvPr/>
            </p:nvSpPr>
            <p:spPr>
              <a:xfrm>
                <a:off x="3999452" y="2872406"/>
                <a:ext cx="55513" cy="42480"/>
              </a:xfrm>
              <a:custGeom>
                <a:avLst/>
                <a:gdLst>
                  <a:gd name="connsiteX0" fmla="*/ 55514 w 55513"/>
                  <a:gd name="connsiteY0" fmla="*/ 0 h 42480"/>
                  <a:gd name="connsiteX1" fmla="*/ 0 w 55513"/>
                  <a:gd name="connsiteY1" fmla="*/ 42480 h 424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5513" h="42480">
                    <a:moveTo>
                      <a:pt x="55514" y="0"/>
                    </a:moveTo>
                    <a:lnTo>
                      <a:pt x="0" y="4248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83" name="Forma livre: Forma 382">
                <a:extLst>
                  <a:ext uri="{FF2B5EF4-FFF2-40B4-BE49-F238E27FC236}">
                    <a16:creationId xmlns:a16="http://schemas.microsoft.com/office/drawing/2014/main" id="{F19CE6F9-E79E-1000-C779-E73EE1C183F5}"/>
                  </a:ext>
                </a:extLst>
              </p:cNvPr>
              <p:cNvSpPr/>
              <p:nvPr/>
            </p:nvSpPr>
            <p:spPr>
              <a:xfrm>
                <a:off x="4055504" y="2872406"/>
                <a:ext cx="55513" cy="42480"/>
              </a:xfrm>
              <a:custGeom>
                <a:avLst/>
                <a:gdLst>
                  <a:gd name="connsiteX0" fmla="*/ 0 w 55513"/>
                  <a:gd name="connsiteY0" fmla="*/ 0 h 42480"/>
                  <a:gd name="connsiteX1" fmla="*/ 55514 w 55513"/>
                  <a:gd name="connsiteY1" fmla="*/ 42480 h 424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5513" h="42480">
                    <a:moveTo>
                      <a:pt x="0" y="0"/>
                    </a:moveTo>
                    <a:lnTo>
                      <a:pt x="55514" y="4248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384" name="Forma livre: Forma 383">
              <a:extLst>
                <a:ext uri="{FF2B5EF4-FFF2-40B4-BE49-F238E27FC236}">
                  <a16:creationId xmlns:a16="http://schemas.microsoft.com/office/drawing/2014/main" id="{01E9A62C-3E44-8625-5D1A-2F45F4D92E36}"/>
                </a:ext>
              </a:extLst>
            </p:cNvPr>
            <p:cNvSpPr/>
            <p:nvPr/>
          </p:nvSpPr>
          <p:spPr>
            <a:xfrm>
              <a:off x="4232775" y="2842567"/>
              <a:ext cx="30133" cy="37727"/>
            </a:xfrm>
            <a:custGeom>
              <a:avLst/>
              <a:gdLst>
                <a:gd name="connsiteX0" fmla="*/ 30134 w 30133"/>
                <a:gd name="connsiteY0" fmla="*/ 0 h 37727"/>
                <a:gd name="connsiteX1" fmla="*/ 1 w 30133"/>
                <a:gd name="connsiteY1" fmla="*/ 33759 h 37727"/>
                <a:gd name="connsiteX2" fmla="*/ 1 w 30133"/>
                <a:gd name="connsiteY2" fmla="*/ 37728 h 377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0133" h="37727">
                  <a:moveTo>
                    <a:pt x="30134" y="0"/>
                  </a:moveTo>
                  <a:cubicBezTo>
                    <a:pt x="13475" y="49"/>
                    <a:pt x="-97" y="15238"/>
                    <a:pt x="1" y="33759"/>
                  </a:cubicBezTo>
                  <a:lnTo>
                    <a:pt x="1" y="37728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85" name="Forma livre: Forma 384">
              <a:extLst>
                <a:ext uri="{FF2B5EF4-FFF2-40B4-BE49-F238E27FC236}">
                  <a16:creationId xmlns:a16="http://schemas.microsoft.com/office/drawing/2014/main" id="{0004B3E1-32C1-5570-D59A-5B9774ADBCB8}"/>
                </a:ext>
              </a:extLst>
            </p:cNvPr>
            <p:cNvSpPr/>
            <p:nvPr/>
          </p:nvSpPr>
          <p:spPr>
            <a:xfrm>
              <a:off x="4172215" y="2876718"/>
              <a:ext cx="60560" cy="41647"/>
            </a:xfrm>
            <a:custGeom>
              <a:avLst/>
              <a:gdLst>
                <a:gd name="connsiteX0" fmla="*/ 0 w 60560"/>
                <a:gd name="connsiteY0" fmla="*/ 0 h 41647"/>
                <a:gd name="connsiteX1" fmla="*/ 0 w 60560"/>
                <a:gd name="connsiteY1" fmla="*/ 8133 h 41647"/>
                <a:gd name="connsiteX2" fmla="*/ 30427 w 60560"/>
                <a:gd name="connsiteY2" fmla="*/ 41647 h 41647"/>
                <a:gd name="connsiteX3" fmla="*/ 60560 w 60560"/>
                <a:gd name="connsiteY3" fmla="*/ 7888 h 41647"/>
                <a:gd name="connsiteX4" fmla="*/ 60560 w 60560"/>
                <a:gd name="connsiteY4" fmla="*/ 2744 h 41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560" h="41647">
                  <a:moveTo>
                    <a:pt x="0" y="0"/>
                  </a:moveTo>
                  <a:lnTo>
                    <a:pt x="0" y="8133"/>
                  </a:lnTo>
                  <a:cubicBezTo>
                    <a:pt x="98" y="26654"/>
                    <a:pt x="13768" y="41745"/>
                    <a:pt x="30427" y="41647"/>
                  </a:cubicBezTo>
                  <a:cubicBezTo>
                    <a:pt x="47086" y="41598"/>
                    <a:pt x="60609" y="26360"/>
                    <a:pt x="60560" y="7888"/>
                  </a:cubicBezTo>
                  <a:lnTo>
                    <a:pt x="60560" y="2744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386" name="Gráfico 4">
              <a:extLst>
                <a:ext uri="{FF2B5EF4-FFF2-40B4-BE49-F238E27FC236}">
                  <a16:creationId xmlns:a16="http://schemas.microsoft.com/office/drawing/2014/main" id="{7431D580-CA4C-CD82-9F27-6594455B6BF4}"/>
                </a:ext>
              </a:extLst>
            </p:cNvPr>
            <p:cNvGrpSpPr/>
            <p:nvPr/>
          </p:nvGrpSpPr>
          <p:grpSpPr>
            <a:xfrm>
              <a:off x="3940509" y="2654468"/>
              <a:ext cx="229501" cy="170215"/>
              <a:chOff x="3940509" y="2654468"/>
              <a:chExt cx="229501" cy="170215"/>
            </a:xfrm>
            <a:noFill/>
          </p:grpSpPr>
          <p:sp>
            <p:nvSpPr>
              <p:cNvPr id="387" name="Forma livre: Forma 386">
                <a:extLst>
                  <a:ext uri="{FF2B5EF4-FFF2-40B4-BE49-F238E27FC236}">
                    <a16:creationId xmlns:a16="http://schemas.microsoft.com/office/drawing/2014/main" id="{59B338E2-A067-930C-3C3A-A096F690F685}"/>
                  </a:ext>
                </a:extLst>
              </p:cNvPr>
              <p:cNvSpPr/>
              <p:nvPr/>
            </p:nvSpPr>
            <p:spPr>
              <a:xfrm>
                <a:off x="4170010" y="2654468"/>
                <a:ext cx="4899" cy="39785"/>
              </a:xfrm>
              <a:custGeom>
                <a:avLst/>
                <a:gdLst>
                  <a:gd name="connsiteX0" fmla="*/ 0 w 4899"/>
                  <a:gd name="connsiteY0" fmla="*/ 39786 h 39785"/>
                  <a:gd name="connsiteX1" fmla="*/ 0 w 4899"/>
                  <a:gd name="connsiteY1" fmla="*/ 0 h 397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899" h="39785">
                    <a:moveTo>
                      <a:pt x="0" y="39786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88" name="Forma livre: Forma 387">
                <a:extLst>
                  <a:ext uri="{FF2B5EF4-FFF2-40B4-BE49-F238E27FC236}">
                    <a16:creationId xmlns:a16="http://schemas.microsoft.com/office/drawing/2014/main" id="{05C833C3-139A-D790-7C5D-05408FB7EB1A}"/>
                  </a:ext>
                </a:extLst>
              </p:cNvPr>
              <p:cNvSpPr/>
              <p:nvPr/>
            </p:nvSpPr>
            <p:spPr>
              <a:xfrm>
                <a:off x="3940509" y="2654468"/>
                <a:ext cx="165315" cy="170215"/>
              </a:xfrm>
              <a:custGeom>
                <a:avLst/>
                <a:gdLst>
                  <a:gd name="connsiteX0" fmla="*/ 0 w 165315"/>
                  <a:gd name="connsiteY0" fmla="*/ 0 h 170215"/>
                  <a:gd name="connsiteX1" fmla="*/ 0 w 165315"/>
                  <a:gd name="connsiteY1" fmla="*/ 145717 h 170215"/>
                  <a:gd name="connsiteX2" fmla="*/ 24498 w 165315"/>
                  <a:gd name="connsiteY2" fmla="*/ 170215 h 170215"/>
                  <a:gd name="connsiteX3" fmla="*/ 165316 w 165315"/>
                  <a:gd name="connsiteY3" fmla="*/ 170215 h 1702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65315" h="170215">
                    <a:moveTo>
                      <a:pt x="0" y="0"/>
                    </a:moveTo>
                    <a:lnTo>
                      <a:pt x="0" y="145717"/>
                    </a:lnTo>
                    <a:cubicBezTo>
                      <a:pt x="0" y="159191"/>
                      <a:pt x="11024" y="170215"/>
                      <a:pt x="24498" y="170215"/>
                    </a:cubicBezTo>
                    <a:lnTo>
                      <a:pt x="165316" y="170215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389" name="Forma livre: Forma 388">
              <a:extLst>
                <a:ext uri="{FF2B5EF4-FFF2-40B4-BE49-F238E27FC236}">
                  <a16:creationId xmlns:a16="http://schemas.microsoft.com/office/drawing/2014/main" id="{B790FC3D-5A77-9939-BC8B-4E17E06FD117}"/>
                </a:ext>
              </a:extLst>
            </p:cNvPr>
            <p:cNvSpPr/>
            <p:nvPr/>
          </p:nvSpPr>
          <p:spPr>
            <a:xfrm>
              <a:off x="3926299" y="2653537"/>
              <a:ext cx="257871" cy="4899"/>
            </a:xfrm>
            <a:custGeom>
              <a:avLst/>
              <a:gdLst>
                <a:gd name="connsiteX0" fmla="*/ 0 w 257871"/>
                <a:gd name="connsiteY0" fmla="*/ 0 h 4899"/>
                <a:gd name="connsiteX1" fmla="*/ 257871 w 257871"/>
                <a:gd name="connsiteY1" fmla="*/ 0 h 48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57871" h="4899">
                  <a:moveTo>
                    <a:pt x="0" y="0"/>
                  </a:moveTo>
                  <a:lnTo>
                    <a:pt x="257871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90" name="Forma livre: Forma 389">
              <a:extLst>
                <a:ext uri="{FF2B5EF4-FFF2-40B4-BE49-F238E27FC236}">
                  <a16:creationId xmlns:a16="http://schemas.microsoft.com/office/drawing/2014/main" id="{9124D68D-80F2-A981-F62E-A236BA5E7215}"/>
                </a:ext>
              </a:extLst>
            </p:cNvPr>
            <p:cNvSpPr/>
            <p:nvPr/>
          </p:nvSpPr>
          <p:spPr>
            <a:xfrm>
              <a:off x="4119054" y="2778430"/>
              <a:ext cx="68056" cy="103628"/>
            </a:xfrm>
            <a:custGeom>
              <a:avLst/>
              <a:gdLst>
                <a:gd name="connsiteX0" fmla="*/ 0 w 68056"/>
                <a:gd name="connsiteY0" fmla="*/ 13719 h 103628"/>
                <a:gd name="connsiteX1" fmla="*/ 32681 w 68056"/>
                <a:gd name="connsiteY1" fmla="*/ 103629 h 103628"/>
                <a:gd name="connsiteX2" fmla="*/ 68057 w 68056"/>
                <a:gd name="connsiteY2" fmla="*/ 92653 h 103628"/>
                <a:gd name="connsiteX3" fmla="*/ 44146 w 68056"/>
                <a:gd name="connsiteY3" fmla="*/ 0 h 1036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8056" h="103628">
                  <a:moveTo>
                    <a:pt x="0" y="13719"/>
                  </a:moveTo>
                  <a:lnTo>
                    <a:pt x="32681" y="103629"/>
                  </a:lnTo>
                  <a:lnTo>
                    <a:pt x="68057" y="92653"/>
                  </a:lnTo>
                  <a:lnTo>
                    <a:pt x="44146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91" name="Forma livre: Forma 390">
              <a:extLst>
                <a:ext uri="{FF2B5EF4-FFF2-40B4-BE49-F238E27FC236}">
                  <a16:creationId xmlns:a16="http://schemas.microsoft.com/office/drawing/2014/main" id="{2F3A8BAE-D7CB-B8A4-FA8A-2FFA242F098E}"/>
                </a:ext>
              </a:extLst>
            </p:cNvPr>
            <p:cNvSpPr/>
            <p:nvPr/>
          </p:nvSpPr>
          <p:spPr>
            <a:xfrm>
              <a:off x="4087766" y="2705201"/>
              <a:ext cx="88201" cy="88201"/>
            </a:xfrm>
            <a:custGeom>
              <a:avLst/>
              <a:gdLst>
                <a:gd name="connsiteX0" fmla="*/ 1988 w 88201"/>
                <a:gd name="connsiteY0" fmla="*/ 57158 h 88201"/>
                <a:gd name="connsiteX1" fmla="*/ 57158 w 88201"/>
                <a:gd name="connsiteY1" fmla="*/ 86213 h 88201"/>
                <a:gd name="connsiteX2" fmla="*/ 86213 w 88201"/>
                <a:gd name="connsiteY2" fmla="*/ 31043 h 88201"/>
                <a:gd name="connsiteX3" fmla="*/ 31043 w 88201"/>
                <a:gd name="connsiteY3" fmla="*/ 1988 h 88201"/>
                <a:gd name="connsiteX4" fmla="*/ 1988 w 88201"/>
                <a:gd name="connsiteY4" fmla="*/ 57158 h 882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201" h="88201">
                  <a:moveTo>
                    <a:pt x="1988" y="57158"/>
                  </a:moveTo>
                  <a:cubicBezTo>
                    <a:pt x="9190" y="80432"/>
                    <a:pt x="33885" y="93416"/>
                    <a:pt x="57158" y="86213"/>
                  </a:cubicBezTo>
                  <a:cubicBezTo>
                    <a:pt x="80432" y="79011"/>
                    <a:pt x="93416" y="54316"/>
                    <a:pt x="86213" y="31043"/>
                  </a:cubicBezTo>
                  <a:cubicBezTo>
                    <a:pt x="79011" y="7769"/>
                    <a:pt x="54316" y="-5215"/>
                    <a:pt x="31043" y="1988"/>
                  </a:cubicBezTo>
                  <a:cubicBezTo>
                    <a:pt x="7769" y="9190"/>
                    <a:pt x="-5215" y="33885"/>
                    <a:pt x="1988" y="57158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92" name="Forma livre: Forma 391">
              <a:extLst>
                <a:ext uri="{FF2B5EF4-FFF2-40B4-BE49-F238E27FC236}">
                  <a16:creationId xmlns:a16="http://schemas.microsoft.com/office/drawing/2014/main" id="{12543AD8-1F6E-C1AB-A9A3-DB6C2A2D2C7C}"/>
                </a:ext>
              </a:extLst>
            </p:cNvPr>
            <p:cNvSpPr/>
            <p:nvPr/>
          </p:nvSpPr>
          <p:spPr>
            <a:xfrm>
              <a:off x="4093526" y="2743348"/>
              <a:ext cx="78787" cy="24449"/>
            </a:xfrm>
            <a:custGeom>
              <a:avLst/>
              <a:gdLst>
                <a:gd name="connsiteX0" fmla="*/ 78787 w 78787"/>
                <a:gd name="connsiteY0" fmla="*/ 0 h 24449"/>
                <a:gd name="connsiteX1" fmla="*/ 0 w 78787"/>
                <a:gd name="connsiteY1" fmla="*/ 24450 h 244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8787" h="24449">
                  <a:moveTo>
                    <a:pt x="78787" y="0"/>
                  </a:moveTo>
                  <a:lnTo>
                    <a:pt x="0" y="2445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393" name="Gráfico 4">
            <a:extLst>
              <a:ext uri="{FF2B5EF4-FFF2-40B4-BE49-F238E27FC236}">
                <a16:creationId xmlns:a16="http://schemas.microsoft.com/office/drawing/2014/main" id="{2005E395-8D08-A9B5-376B-AC07823087D2}"/>
              </a:ext>
            </a:extLst>
          </p:cNvPr>
          <p:cNvGrpSpPr/>
          <p:nvPr/>
        </p:nvGrpSpPr>
        <p:grpSpPr>
          <a:xfrm>
            <a:off x="3972798" y="3177069"/>
            <a:ext cx="243612" cy="318480"/>
            <a:chOff x="3972798" y="3177069"/>
            <a:chExt cx="243612" cy="318480"/>
          </a:xfrm>
          <a:noFill/>
        </p:grpSpPr>
        <p:sp>
          <p:nvSpPr>
            <p:cNvPr id="394" name="Forma livre: Forma 393">
              <a:extLst>
                <a:ext uri="{FF2B5EF4-FFF2-40B4-BE49-F238E27FC236}">
                  <a16:creationId xmlns:a16="http://schemas.microsoft.com/office/drawing/2014/main" id="{E6C07B5F-E04E-1820-9C40-827A12E32D2C}"/>
                </a:ext>
              </a:extLst>
            </p:cNvPr>
            <p:cNvSpPr/>
            <p:nvPr/>
          </p:nvSpPr>
          <p:spPr>
            <a:xfrm>
              <a:off x="3972798" y="3238120"/>
              <a:ext cx="243612" cy="257430"/>
            </a:xfrm>
            <a:custGeom>
              <a:avLst/>
              <a:gdLst>
                <a:gd name="connsiteX0" fmla="*/ 194616 w 243612"/>
                <a:gd name="connsiteY0" fmla="*/ 0 h 257430"/>
                <a:gd name="connsiteX1" fmla="*/ 243613 w 243612"/>
                <a:gd name="connsiteY1" fmla="*/ 48997 h 257430"/>
                <a:gd name="connsiteX2" fmla="*/ 243613 w 243612"/>
                <a:gd name="connsiteY2" fmla="*/ 208433 h 257430"/>
                <a:gd name="connsiteX3" fmla="*/ 194616 w 243612"/>
                <a:gd name="connsiteY3" fmla="*/ 257430 h 257430"/>
                <a:gd name="connsiteX4" fmla="*/ 48997 w 243612"/>
                <a:gd name="connsiteY4" fmla="*/ 257430 h 257430"/>
                <a:gd name="connsiteX5" fmla="*/ 0 w 243612"/>
                <a:gd name="connsiteY5" fmla="*/ 208433 h 257430"/>
                <a:gd name="connsiteX6" fmla="*/ 0 w 243612"/>
                <a:gd name="connsiteY6" fmla="*/ 48997 h 257430"/>
                <a:gd name="connsiteX7" fmla="*/ 48997 w 243612"/>
                <a:gd name="connsiteY7" fmla="*/ 0 h 2574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43612" h="257430">
                  <a:moveTo>
                    <a:pt x="194616" y="0"/>
                  </a:moveTo>
                  <a:cubicBezTo>
                    <a:pt x="221676" y="0"/>
                    <a:pt x="243613" y="21937"/>
                    <a:pt x="243613" y="48997"/>
                  </a:cubicBezTo>
                  <a:lnTo>
                    <a:pt x="243613" y="208433"/>
                  </a:lnTo>
                  <a:cubicBezTo>
                    <a:pt x="243613" y="235494"/>
                    <a:pt x="221676" y="257430"/>
                    <a:pt x="194616" y="257430"/>
                  </a:cubicBezTo>
                  <a:lnTo>
                    <a:pt x="48997" y="257430"/>
                  </a:lnTo>
                  <a:cubicBezTo>
                    <a:pt x="21937" y="257430"/>
                    <a:pt x="0" y="235494"/>
                    <a:pt x="0" y="208433"/>
                  </a:cubicBezTo>
                  <a:lnTo>
                    <a:pt x="0" y="48997"/>
                  </a:lnTo>
                  <a:cubicBezTo>
                    <a:pt x="0" y="21937"/>
                    <a:pt x="21937" y="0"/>
                    <a:pt x="48997" y="0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395" name="Gráfico 4">
              <a:extLst>
                <a:ext uri="{FF2B5EF4-FFF2-40B4-BE49-F238E27FC236}">
                  <a16:creationId xmlns:a16="http://schemas.microsoft.com/office/drawing/2014/main" id="{AC3236E9-FAAA-6AE5-CD80-8B9F23CD81AD}"/>
                </a:ext>
              </a:extLst>
            </p:cNvPr>
            <p:cNvGrpSpPr/>
            <p:nvPr/>
          </p:nvGrpSpPr>
          <p:grpSpPr>
            <a:xfrm>
              <a:off x="4020815" y="3177069"/>
              <a:ext cx="147578" cy="26948"/>
              <a:chOff x="4020815" y="3177069"/>
              <a:chExt cx="147578" cy="26948"/>
            </a:xfrm>
          </p:grpSpPr>
          <p:grpSp>
            <p:nvGrpSpPr>
              <p:cNvPr id="396" name="Gráfico 4">
                <a:extLst>
                  <a:ext uri="{FF2B5EF4-FFF2-40B4-BE49-F238E27FC236}">
                    <a16:creationId xmlns:a16="http://schemas.microsoft.com/office/drawing/2014/main" id="{1390B62E-86E7-C414-F68A-929296521FD0}"/>
                  </a:ext>
                </a:extLst>
              </p:cNvPr>
              <p:cNvGrpSpPr/>
              <p:nvPr/>
            </p:nvGrpSpPr>
            <p:grpSpPr>
              <a:xfrm>
                <a:off x="4020815" y="3177069"/>
                <a:ext cx="61295" cy="26948"/>
                <a:chOff x="4020815" y="3177069"/>
                <a:chExt cx="61295" cy="26948"/>
              </a:xfrm>
            </p:grpSpPr>
            <p:sp>
              <p:nvSpPr>
                <p:cNvPr id="397" name="Forma livre: Forma 396">
                  <a:extLst>
                    <a:ext uri="{FF2B5EF4-FFF2-40B4-BE49-F238E27FC236}">
                      <a16:creationId xmlns:a16="http://schemas.microsoft.com/office/drawing/2014/main" id="{E0F1F771-3404-1CE8-555B-5EEC245D3D16}"/>
                    </a:ext>
                  </a:extLst>
                </p:cNvPr>
                <p:cNvSpPr/>
                <p:nvPr/>
              </p:nvSpPr>
              <p:spPr>
                <a:xfrm>
                  <a:off x="4020815" y="3177069"/>
                  <a:ext cx="30623" cy="26948"/>
                </a:xfrm>
                <a:custGeom>
                  <a:avLst/>
                  <a:gdLst>
                    <a:gd name="connsiteX0" fmla="*/ 0 w 30623"/>
                    <a:gd name="connsiteY0" fmla="*/ 26948 h 26948"/>
                    <a:gd name="connsiteX1" fmla="*/ 30623 w 30623"/>
                    <a:gd name="connsiteY1" fmla="*/ 0 h 269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30623" h="26948">
                      <a:moveTo>
                        <a:pt x="0" y="26948"/>
                      </a:moveTo>
                      <a:lnTo>
                        <a:pt x="30623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398" name="Forma livre: Forma 397">
                  <a:extLst>
                    <a:ext uri="{FF2B5EF4-FFF2-40B4-BE49-F238E27FC236}">
                      <a16:creationId xmlns:a16="http://schemas.microsoft.com/office/drawing/2014/main" id="{B5BBCEB5-08BB-DDE0-9570-8A58E42C0212}"/>
                    </a:ext>
                  </a:extLst>
                </p:cNvPr>
                <p:cNvSpPr/>
                <p:nvPr/>
              </p:nvSpPr>
              <p:spPr>
                <a:xfrm>
                  <a:off x="4020815" y="3177069"/>
                  <a:ext cx="30623" cy="26948"/>
                </a:xfrm>
                <a:custGeom>
                  <a:avLst/>
                  <a:gdLst>
                    <a:gd name="connsiteX0" fmla="*/ 0 w 30623"/>
                    <a:gd name="connsiteY0" fmla="*/ 26948 h 26948"/>
                    <a:gd name="connsiteX1" fmla="*/ 30623 w 30623"/>
                    <a:gd name="connsiteY1" fmla="*/ 0 h 269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30623" h="26948">
                      <a:moveTo>
                        <a:pt x="0" y="26948"/>
                      </a:moveTo>
                      <a:lnTo>
                        <a:pt x="30623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399" name="Forma livre: Forma 398">
                  <a:extLst>
                    <a:ext uri="{FF2B5EF4-FFF2-40B4-BE49-F238E27FC236}">
                      <a16:creationId xmlns:a16="http://schemas.microsoft.com/office/drawing/2014/main" id="{6B7BE0D1-8F89-AC2E-D2D2-1B05A761050C}"/>
                    </a:ext>
                  </a:extLst>
                </p:cNvPr>
                <p:cNvSpPr/>
                <p:nvPr/>
              </p:nvSpPr>
              <p:spPr>
                <a:xfrm>
                  <a:off x="4051487" y="3177069"/>
                  <a:ext cx="30623" cy="26948"/>
                </a:xfrm>
                <a:custGeom>
                  <a:avLst/>
                  <a:gdLst>
                    <a:gd name="connsiteX0" fmla="*/ 30623 w 30623"/>
                    <a:gd name="connsiteY0" fmla="*/ 26948 h 26948"/>
                    <a:gd name="connsiteX1" fmla="*/ 0 w 30623"/>
                    <a:gd name="connsiteY1" fmla="*/ 0 h 269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30623" h="26948">
                      <a:moveTo>
                        <a:pt x="30623" y="26948"/>
                      </a:moveTo>
                      <a:lnTo>
                        <a:pt x="0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400" name="Forma livre: Forma 399">
                  <a:extLst>
                    <a:ext uri="{FF2B5EF4-FFF2-40B4-BE49-F238E27FC236}">
                      <a16:creationId xmlns:a16="http://schemas.microsoft.com/office/drawing/2014/main" id="{631CF040-9A25-23D9-836D-C1C2A9CCCE8D}"/>
                    </a:ext>
                  </a:extLst>
                </p:cNvPr>
                <p:cNvSpPr/>
                <p:nvPr/>
              </p:nvSpPr>
              <p:spPr>
                <a:xfrm>
                  <a:off x="4051487" y="3177069"/>
                  <a:ext cx="30623" cy="26948"/>
                </a:xfrm>
                <a:custGeom>
                  <a:avLst/>
                  <a:gdLst>
                    <a:gd name="connsiteX0" fmla="*/ 30623 w 30623"/>
                    <a:gd name="connsiteY0" fmla="*/ 26948 h 26948"/>
                    <a:gd name="connsiteX1" fmla="*/ 0 w 30623"/>
                    <a:gd name="connsiteY1" fmla="*/ 0 h 269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30623" h="26948">
                      <a:moveTo>
                        <a:pt x="30623" y="26948"/>
                      </a:moveTo>
                      <a:lnTo>
                        <a:pt x="0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401" name="Gráfico 4">
                <a:extLst>
                  <a:ext uri="{FF2B5EF4-FFF2-40B4-BE49-F238E27FC236}">
                    <a16:creationId xmlns:a16="http://schemas.microsoft.com/office/drawing/2014/main" id="{AEDF4EF1-BD7A-82A9-311A-9947810CE524}"/>
                  </a:ext>
                </a:extLst>
              </p:cNvPr>
              <p:cNvGrpSpPr/>
              <p:nvPr/>
            </p:nvGrpSpPr>
            <p:grpSpPr>
              <a:xfrm>
                <a:off x="4107049" y="3177069"/>
                <a:ext cx="61344" cy="26948"/>
                <a:chOff x="4107049" y="3177069"/>
                <a:chExt cx="61344" cy="26948"/>
              </a:xfrm>
            </p:grpSpPr>
            <p:sp>
              <p:nvSpPr>
                <p:cNvPr id="402" name="Forma livre: Forma 401">
                  <a:extLst>
                    <a:ext uri="{FF2B5EF4-FFF2-40B4-BE49-F238E27FC236}">
                      <a16:creationId xmlns:a16="http://schemas.microsoft.com/office/drawing/2014/main" id="{6C543728-848C-BE9A-2307-8D97DA60E938}"/>
                    </a:ext>
                  </a:extLst>
                </p:cNvPr>
                <p:cNvSpPr/>
                <p:nvPr/>
              </p:nvSpPr>
              <p:spPr>
                <a:xfrm>
                  <a:off x="4137770" y="3177069"/>
                  <a:ext cx="30623" cy="26948"/>
                </a:xfrm>
                <a:custGeom>
                  <a:avLst/>
                  <a:gdLst>
                    <a:gd name="connsiteX0" fmla="*/ 30623 w 30623"/>
                    <a:gd name="connsiteY0" fmla="*/ 0 h 26948"/>
                    <a:gd name="connsiteX1" fmla="*/ 0 w 30623"/>
                    <a:gd name="connsiteY1" fmla="*/ 26948 h 269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30623" h="26948">
                      <a:moveTo>
                        <a:pt x="30623" y="0"/>
                      </a:moveTo>
                      <a:lnTo>
                        <a:pt x="0" y="26948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403" name="Forma livre: Forma 402">
                  <a:extLst>
                    <a:ext uri="{FF2B5EF4-FFF2-40B4-BE49-F238E27FC236}">
                      <a16:creationId xmlns:a16="http://schemas.microsoft.com/office/drawing/2014/main" id="{96F3905B-9D29-BD07-5B6A-CB24237C59CE}"/>
                    </a:ext>
                  </a:extLst>
                </p:cNvPr>
                <p:cNvSpPr/>
                <p:nvPr/>
              </p:nvSpPr>
              <p:spPr>
                <a:xfrm>
                  <a:off x="4137770" y="3177069"/>
                  <a:ext cx="30623" cy="26948"/>
                </a:xfrm>
                <a:custGeom>
                  <a:avLst/>
                  <a:gdLst>
                    <a:gd name="connsiteX0" fmla="*/ 30623 w 30623"/>
                    <a:gd name="connsiteY0" fmla="*/ 0 h 26948"/>
                    <a:gd name="connsiteX1" fmla="*/ 0 w 30623"/>
                    <a:gd name="connsiteY1" fmla="*/ 26948 h 269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30623" h="26948">
                      <a:moveTo>
                        <a:pt x="30623" y="0"/>
                      </a:moveTo>
                      <a:lnTo>
                        <a:pt x="0" y="26948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404" name="Forma livre: Forma 403">
                  <a:extLst>
                    <a:ext uri="{FF2B5EF4-FFF2-40B4-BE49-F238E27FC236}">
                      <a16:creationId xmlns:a16="http://schemas.microsoft.com/office/drawing/2014/main" id="{6D332484-44FC-B6CD-1C0F-1CFF33BCEA20}"/>
                    </a:ext>
                  </a:extLst>
                </p:cNvPr>
                <p:cNvSpPr/>
                <p:nvPr/>
              </p:nvSpPr>
              <p:spPr>
                <a:xfrm>
                  <a:off x="4107049" y="3177069"/>
                  <a:ext cx="30623" cy="26948"/>
                </a:xfrm>
                <a:custGeom>
                  <a:avLst/>
                  <a:gdLst>
                    <a:gd name="connsiteX0" fmla="*/ 0 w 30623"/>
                    <a:gd name="connsiteY0" fmla="*/ 0 h 26948"/>
                    <a:gd name="connsiteX1" fmla="*/ 30623 w 30623"/>
                    <a:gd name="connsiteY1" fmla="*/ 26948 h 269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30623" h="26948">
                      <a:moveTo>
                        <a:pt x="0" y="0"/>
                      </a:moveTo>
                      <a:lnTo>
                        <a:pt x="30623" y="26948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405" name="Forma livre: Forma 404">
                  <a:extLst>
                    <a:ext uri="{FF2B5EF4-FFF2-40B4-BE49-F238E27FC236}">
                      <a16:creationId xmlns:a16="http://schemas.microsoft.com/office/drawing/2014/main" id="{5EFF84FC-0CEC-7FF9-A93C-AD9C4C7E2AC3}"/>
                    </a:ext>
                  </a:extLst>
                </p:cNvPr>
                <p:cNvSpPr/>
                <p:nvPr/>
              </p:nvSpPr>
              <p:spPr>
                <a:xfrm>
                  <a:off x="4107049" y="3177069"/>
                  <a:ext cx="30623" cy="26948"/>
                </a:xfrm>
                <a:custGeom>
                  <a:avLst/>
                  <a:gdLst>
                    <a:gd name="connsiteX0" fmla="*/ 0 w 30623"/>
                    <a:gd name="connsiteY0" fmla="*/ 0 h 26948"/>
                    <a:gd name="connsiteX1" fmla="*/ 30623 w 30623"/>
                    <a:gd name="connsiteY1" fmla="*/ 26948 h 269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30623" h="26948">
                      <a:moveTo>
                        <a:pt x="0" y="0"/>
                      </a:moveTo>
                      <a:lnTo>
                        <a:pt x="30623" y="26948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grpSp>
          <p:nvGrpSpPr>
            <p:cNvPr id="406" name="Gráfico 4">
              <a:extLst>
                <a:ext uri="{FF2B5EF4-FFF2-40B4-BE49-F238E27FC236}">
                  <a16:creationId xmlns:a16="http://schemas.microsoft.com/office/drawing/2014/main" id="{0F09AD2E-3469-77AF-CF4E-9A737FD8B262}"/>
                </a:ext>
              </a:extLst>
            </p:cNvPr>
            <p:cNvGrpSpPr/>
            <p:nvPr/>
          </p:nvGrpSpPr>
          <p:grpSpPr>
            <a:xfrm>
              <a:off x="4007340" y="3273495"/>
              <a:ext cx="65998" cy="194419"/>
              <a:chOff x="4007340" y="3273495"/>
              <a:chExt cx="65998" cy="194419"/>
            </a:xfrm>
            <a:noFill/>
          </p:grpSpPr>
          <p:sp>
            <p:nvSpPr>
              <p:cNvPr id="407" name="Forma livre: Forma 406">
                <a:extLst>
                  <a:ext uri="{FF2B5EF4-FFF2-40B4-BE49-F238E27FC236}">
                    <a16:creationId xmlns:a16="http://schemas.microsoft.com/office/drawing/2014/main" id="{C3661F6C-A8CB-0687-C902-E9536179C089}"/>
                  </a:ext>
                </a:extLst>
              </p:cNvPr>
              <p:cNvSpPr/>
              <p:nvPr/>
            </p:nvSpPr>
            <p:spPr>
              <a:xfrm>
                <a:off x="4007340" y="3336897"/>
                <a:ext cx="65998" cy="131017"/>
              </a:xfrm>
              <a:custGeom>
                <a:avLst/>
                <a:gdLst>
                  <a:gd name="connsiteX0" fmla="*/ 48703 w 65998"/>
                  <a:gd name="connsiteY0" fmla="*/ 131018 h 131017"/>
                  <a:gd name="connsiteX1" fmla="*/ 48703 w 65998"/>
                  <a:gd name="connsiteY1" fmla="*/ 78150 h 131017"/>
                  <a:gd name="connsiteX2" fmla="*/ 52329 w 65998"/>
                  <a:gd name="connsiteY2" fmla="*/ 78150 h 131017"/>
                  <a:gd name="connsiteX3" fmla="*/ 65999 w 65998"/>
                  <a:gd name="connsiteY3" fmla="*/ 64480 h 131017"/>
                  <a:gd name="connsiteX4" fmla="*/ 65999 w 65998"/>
                  <a:gd name="connsiteY4" fmla="*/ 13670 h 131017"/>
                  <a:gd name="connsiteX5" fmla="*/ 52329 w 65998"/>
                  <a:gd name="connsiteY5" fmla="*/ 0 h 131017"/>
                  <a:gd name="connsiteX6" fmla="*/ 13670 w 65998"/>
                  <a:gd name="connsiteY6" fmla="*/ 0 h 131017"/>
                  <a:gd name="connsiteX7" fmla="*/ 0 w 65998"/>
                  <a:gd name="connsiteY7" fmla="*/ 13670 h 131017"/>
                  <a:gd name="connsiteX8" fmla="*/ 0 w 65998"/>
                  <a:gd name="connsiteY8" fmla="*/ 64480 h 131017"/>
                  <a:gd name="connsiteX9" fmla="*/ 13670 w 65998"/>
                  <a:gd name="connsiteY9" fmla="*/ 78150 h 131017"/>
                  <a:gd name="connsiteX10" fmla="*/ 17296 w 65998"/>
                  <a:gd name="connsiteY10" fmla="*/ 78150 h 131017"/>
                  <a:gd name="connsiteX11" fmla="*/ 17296 w 65998"/>
                  <a:gd name="connsiteY11" fmla="*/ 131018 h 1310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65998" h="131017">
                    <a:moveTo>
                      <a:pt x="48703" y="131018"/>
                    </a:moveTo>
                    <a:lnTo>
                      <a:pt x="48703" y="78150"/>
                    </a:lnTo>
                    <a:lnTo>
                      <a:pt x="52329" y="78150"/>
                    </a:lnTo>
                    <a:cubicBezTo>
                      <a:pt x="59825" y="78150"/>
                      <a:pt x="65999" y="71977"/>
                      <a:pt x="65999" y="64480"/>
                    </a:cubicBezTo>
                    <a:lnTo>
                      <a:pt x="65999" y="13670"/>
                    </a:lnTo>
                    <a:cubicBezTo>
                      <a:pt x="65999" y="6174"/>
                      <a:pt x="59874" y="0"/>
                      <a:pt x="52329" y="0"/>
                    </a:cubicBezTo>
                    <a:lnTo>
                      <a:pt x="13670" y="0"/>
                    </a:lnTo>
                    <a:cubicBezTo>
                      <a:pt x="6174" y="0"/>
                      <a:pt x="0" y="6125"/>
                      <a:pt x="0" y="13670"/>
                    </a:cubicBezTo>
                    <a:lnTo>
                      <a:pt x="0" y="64480"/>
                    </a:lnTo>
                    <a:cubicBezTo>
                      <a:pt x="0" y="71977"/>
                      <a:pt x="6125" y="78150"/>
                      <a:pt x="13670" y="78150"/>
                    </a:cubicBezTo>
                    <a:lnTo>
                      <a:pt x="17296" y="78150"/>
                    </a:lnTo>
                    <a:lnTo>
                      <a:pt x="17296" y="131018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08" name="Forma livre: Forma 407">
                <a:extLst>
                  <a:ext uri="{FF2B5EF4-FFF2-40B4-BE49-F238E27FC236}">
                    <a16:creationId xmlns:a16="http://schemas.microsoft.com/office/drawing/2014/main" id="{CEE106C2-3F91-CFE8-1402-39BD8FD1B24A}"/>
                  </a:ext>
                </a:extLst>
              </p:cNvPr>
              <p:cNvSpPr/>
              <p:nvPr/>
            </p:nvSpPr>
            <p:spPr>
              <a:xfrm>
                <a:off x="4018855" y="3273495"/>
                <a:ext cx="42970" cy="42921"/>
              </a:xfrm>
              <a:custGeom>
                <a:avLst/>
                <a:gdLst>
                  <a:gd name="connsiteX0" fmla="*/ 42970 w 42970"/>
                  <a:gd name="connsiteY0" fmla="*/ 21461 h 42921"/>
                  <a:gd name="connsiteX1" fmla="*/ 21461 w 42970"/>
                  <a:gd name="connsiteY1" fmla="*/ 42921 h 42921"/>
                  <a:gd name="connsiteX2" fmla="*/ 0 w 42970"/>
                  <a:gd name="connsiteY2" fmla="*/ 21461 h 42921"/>
                  <a:gd name="connsiteX3" fmla="*/ 21461 w 42970"/>
                  <a:gd name="connsiteY3" fmla="*/ 0 h 42921"/>
                  <a:gd name="connsiteX4" fmla="*/ 42970 w 42970"/>
                  <a:gd name="connsiteY4" fmla="*/ 21461 h 429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2970" h="42921">
                    <a:moveTo>
                      <a:pt x="42970" y="21461"/>
                    </a:moveTo>
                    <a:cubicBezTo>
                      <a:pt x="42970" y="33318"/>
                      <a:pt x="33367" y="42921"/>
                      <a:pt x="21461" y="42921"/>
                    </a:cubicBezTo>
                    <a:cubicBezTo>
                      <a:pt x="9554" y="42921"/>
                      <a:pt x="0" y="33318"/>
                      <a:pt x="0" y="21461"/>
                    </a:cubicBezTo>
                    <a:cubicBezTo>
                      <a:pt x="0" y="9603"/>
                      <a:pt x="9603" y="0"/>
                      <a:pt x="21461" y="0"/>
                    </a:cubicBezTo>
                    <a:cubicBezTo>
                      <a:pt x="33318" y="0"/>
                      <a:pt x="42970" y="9603"/>
                      <a:pt x="42970" y="21461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409" name="Gráfico 4">
              <a:extLst>
                <a:ext uri="{FF2B5EF4-FFF2-40B4-BE49-F238E27FC236}">
                  <a16:creationId xmlns:a16="http://schemas.microsoft.com/office/drawing/2014/main" id="{19BE244B-7277-918D-5DD2-153C45DAF3FB}"/>
                </a:ext>
              </a:extLst>
            </p:cNvPr>
            <p:cNvGrpSpPr/>
            <p:nvPr/>
          </p:nvGrpSpPr>
          <p:grpSpPr>
            <a:xfrm>
              <a:off x="4102298" y="3273495"/>
              <a:ext cx="85402" cy="194419"/>
              <a:chOff x="4102298" y="3273495"/>
              <a:chExt cx="85402" cy="194419"/>
            </a:xfrm>
            <a:noFill/>
          </p:grpSpPr>
          <p:sp>
            <p:nvSpPr>
              <p:cNvPr id="410" name="Forma livre: Forma 409">
                <a:extLst>
                  <a:ext uri="{FF2B5EF4-FFF2-40B4-BE49-F238E27FC236}">
                    <a16:creationId xmlns:a16="http://schemas.microsoft.com/office/drawing/2014/main" id="{8CE1659A-A794-ADA4-22B6-AC1583DD279A}"/>
                  </a:ext>
                </a:extLst>
              </p:cNvPr>
              <p:cNvSpPr/>
              <p:nvPr/>
            </p:nvSpPr>
            <p:spPr>
              <a:xfrm>
                <a:off x="4102298" y="3336947"/>
                <a:ext cx="85402" cy="130968"/>
              </a:xfrm>
              <a:custGeom>
                <a:avLst/>
                <a:gdLst>
                  <a:gd name="connsiteX0" fmla="*/ 59431 w 85402"/>
                  <a:gd name="connsiteY0" fmla="*/ 130969 h 130968"/>
                  <a:gd name="connsiteX1" fmla="*/ 59431 w 85402"/>
                  <a:gd name="connsiteY1" fmla="*/ 78787 h 130968"/>
                  <a:gd name="connsiteX2" fmla="*/ 77511 w 85402"/>
                  <a:gd name="connsiteY2" fmla="*/ 78787 h 130968"/>
                  <a:gd name="connsiteX3" fmla="*/ 84812 w 85402"/>
                  <a:gd name="connsiteY3" fmla="*/ 68449 h 130968"/>
                  <a:gd name="connsiteX4" fmla="*/ 59823 w 85402"/>
                  <a:gd name="connsiteY4" fmla="*/ 0 h 130968"/>
                  <a:gd name="connsiteX5" fmla="*/ 25574 w 85402"/>
                  <a:gd name="connsiteY5" fmla="*/ 0 h 130968"/>
                  <a:gd name="connsiteX6" fmla="*/ 586 w 85402"/>
                  <a:gd name="connsiteY6" fmla="*/ 68449 h 130968"/>
                  <a:gd name="connsiteX7" fmla="*/ 7887 w 85402"/>
                  <a:gd name="connsiteY7" fmla="*/ 78787 h 130968"/>
                  <a:gd name="connsiteX8" fmla="*/ 25967 w 85402"/>
                  <a:gd name="connsiteY8" fmla="*/ 78787 h 130968"/>
                  <a:gd name="connsiteX9" fmla="*/ 25967 w 85402"/>
                  <a:gd name="connsiteY9" fmla="*/ 130969 h 1309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85402" h="130968">
                    <a:moveTo>
                      <a:pt x="59431" y="130969"/>
                    </a:moveTo>
                    <a:lnTo>
                      <a:pt x="59431" y="78787"/>
                    </a:lnTo>
                    <a:lnTo>
                      <a:pt x="77511" y="78787"/>
                    </a:lnTo>
                    <a:cubicBezTo>
                      <a:pt x="83538" y="78787"/>
                      <a:pt x="86821" y="74132"/>
                      <a:pt x="84812" y="68449"/>
                    </a:cubicBezTo>
                    <a:lnTo>
                      <a:pt x="59823" y="0"/>
                    </a:lnTo>
                    <a:lnTo>
                      <a:pt x="25574" y="0"/>
                    </a:lnTo>
                    <a:lnTo>
                      <a:pt x="586" y="68449"/>
                    </a:lnTo>
                    <a:cubicBezTo>
                      <a:pt x="-1423" y="74132"/>
                      <a:pt x="1909" y="78787"/>
                      <a:pt x="7887" y="78787"/>
                    </a:cubicBezTo>
                    <a:lnTo>
                      <a:pt x="25967" y="78787"/>
                    </a:lnTo>
                    <a:lnTo>
                      <a:pt x="25967" y="130969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11" name="Forma livre: Forma 410">
                <a:extLst>
                  <a:ext uri="{FF2B5EF4-FFF2-40B4-BE49-F238E27FC236}">
                    <a16:creationId xmlns:a16="http://schemas.microsoft.com/office/drawing/2014/main" id="{0F104269-DE43-F3C1-28CF-87C2D6ACA7CE}"/>
                  </a:ext>
                </a:extLst>
              </p:cNvPr>
              <p:cNvSpPr/>
              <p:nvPr/>
            </p:nvSpPr>
            <p:spPr>
              <a:xfrm>
                <a:off x="4123561" y="3273495"/>
                <a:ext cx="42970" cy="42921"/>
              </a:xfrm>
              <a:custGeom>
                <a:avLst/>
                <a:gdLst>
                  <a:gd name="connsiteX0" fmla="*/ 42970 w 42970"/>
                  <a:gd name="connsiteY0" fmla="*/ 21461 h 42921"/>
                  <a:gd name="connsiteX1" fmla="*/ 21461 w 42970"/>
                  <a:gd name="connsiteY1" fmla="*/ 42921 h 42921"/>
                  <a:gd name="connsiteX2" fmla="*/ 0 w 42970"/>
                  <a:gd name="connsiteY2" fmla="*/ 21461 h 42921"/>
                  <a:gd name="connsiteX3" fmla="*/ 21461 w 42970"/>
                  <a:gd name="connsiteY3" fmla="*/ 0 h 42921"/>
                  <a:gd name="connsiteX4" fmla="*/ 42970 w 42970"/>
                  <a:gd name="connsiteY4" fmla="*/ 21461 h 429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2970" h="42921">
                    <a:moveTo>
                      <a:pt x="42970" y="21461"/>
                    </a:moveTo>
                    <a:cubicBezTo>
                      <a:pt x="42970" y="33318"/>
                      <a:pt x="33367" y="42921"/>
                      <a:pt x="21461" y="42921"/>
                    </a:cubicBezTo>
                    <a:cubicBezTo>
                      <a:pt x="9554" y="42921"/>
                      <a:pt x="0" y="33318"/>
                      <a:pt x="0" y="21461"/>
                    </a:cubicBezTo>
                    <a:cubicBezTo>
                      <a:pt x="0" y="9603"/>
                      <a:pt x="9604" y="0"/>
                      <a:pt x="21461" y="0"/>
                    </a:cubicBezTo>
                    <a:cubicBezTo>
                      <a:pt x="33318" y="0"/>
                      <a:pt x="42970" y="9603"/>
                      <a:pt x="42970" y="21461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413" name="Gráfico 6">
            <a:extLst>
              <a:ext uri="{FF2B5EF4-FFF2-40B4-BE49-F238E27FC236}">
                <a16:creationId xmlns:a16="http://schemas.microsoft.com/office/drawing/2014/main" id="{2496AFE6-7A28-C205-779F-0658EDD7D2AD}"/>
              </a:ext>
            </a:extLst>
          </p:cNvPr>
          <p:cNvGrpSpPr/>
          <p:nvPr/>
        </p:nvGrpSpPr>
        <p:grpSpPr>
          <a:xfrm>
            <a:off x="4482627" y="1580649"/>
            <a:ext cx="316422" cy="235675"/>
            <a:chOff x="4482627" y="1580649"/>
            <a:chExt cx="316422" cy="235675"/>
          </a:xfrm>
          <a:noFill/>
        </p:grpSpPr>
        <p:sp>
          <p:nvSpPr>
            <p:cNvPr id="414" name="Forma livre: Forma 413">
              <a:extLst>
                <a:ext uri="{FF2B5EF4-FFF2-40B4-BE49-F238E27FC236}">
                  <a16:creationId xmlns:a16="http://schemas.microsoft.com/office/drawing/2014/main" id="{39C00875-AC3C-9ECD-A54C-81A1D319AED0}"/>
                </a:ext>
              </a:extLst>
            </p:cNvPr>
            <p:cNvSpPr/>
            <p:nvPr/>
          </p:nvSpPr>
          <p:spPr>
            <a:xfrm>
              <a:off x="4501736" y="1580649"/>
              <a:ext cx="278106" cy="89713"/>
            </a:xfrm>
            <a:custGeom>
              <a:avLst/>
              <a:gdLst>
                <a:gd name="connsiteX0" fmla="*/ 0 w 278106"/>
                <a:gd name="connsiteY0" fmla="*/ 89713 h 89713"/>
                <a:gd name="connsiteX1" fmla="*/ 0 w 278106"/>
                <a:gd name="connsiteY1" fmla="*/ 34543 h 89713"/>
                <a:gd name="connsiteX2" fmla="*/ 34543 w 278106"/>
                <a:gd name="connsiteY2" fmla="*/ 0 h 89713"/>
                <a:gd name="connsiteX3" fmla="*/ 243564 w 278106"/>
                <a:gd name="connsiteY3" fmla="*/ 0 h 89713"/>
                <a:gd name="connsiteX4" fmla="*/ 278107 w 278106"/>
                <a:gd name="connsiteY4" fmla="*/ 34543 h 89713"/>
                <a:gd name="connsiteX5" fmla="*/ 278107 w 278106"/>
                <a:gd name="connsiteY5" fmla="*/ 89713 h 897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78106" h="89713">
                  <a:moveTo>
                    <a:pt x="0" y="89713"/>
                  </a:moveTo>
                  <a:lnTo>
                    <a:pt x="0" y="34543"/>
                  </a:lnTo>
                  <a:cubicBezTo>
                    <a:pt x="0" y="15532"/>
                    <a:pt x="15532" y="0"/>
                    <a:pt x="34543" y="0"/>
                  </a:cubicBezTo>
                  <a:lnTo>
                    <a:pt x="243564" y="0"/>
                  </a:lnTo>
                  <a:cubicBezTo>
                    <a:pt x="262575" y="0"/>
                    <a:pt x="278107" y="15532"/>
                    <a:pt x="278107" y="34543"/>
                  </a:cubicBezTo>
                  <a:lnTo>
                    <a:pt x="278107" y="89713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15" name="Forma livre: Forma 414">
              <a:extLst>
                <a:ext uri="{FF2B5EF4-FFF2-40B4-BE49-F238E27FC236}">
                  <a16:creationId xmlns:a16="http://schemas.microsoft.com/office/drawing/2014/main" id="{598A6F4D-A567-F656-54A0-A568C86D8880}"/>
                </a:ext>
              </a:extLst>
            </p:cNvPr>
            <p:cNvSpPr/>
            <p:nvPr/>
          </p:nvSpPr>
          <p:spPr>
            <a:xfrm>
              <a:off x="4482627" y="1693833"/>
              <a:ext cx="316422" cy="122492"/>
            </a:xfrm>
            <a:custGeom>
              <a:avLst/>
              <a:gdLst>
                <a:gd name="connsiteX0" fmla="*/ 0 w 316422"/>
                <a:gd name="connsiteY0" fmla="*/ 122492 h 122492"/>
                <a:gd name="connsiteX1" fmla="*/ 0 w 316422"/>
                <a:gd name="connsiteY1" fmla="*/ 24694 h 122492"/>
                <a:gd name="connsiteX2" fmla="*/ 24694 w 316422"/>
                <a:gd name="connsiteY2" fmla="*/ 0 h 122492"/>
                <a:gd name="connsiteX3" fmla="*/ 291728 w 316422"/>
                <a:gd name="connsiteY3" fmla="*/ 0 h 122492"/>
                <a:gd name="connsiteX4" fmla="*/ 316423 w 316422"/>
                <a:gd name="connsiteY4" fmla="*/ 24694 h 122492"/>
                <a:gd name="connsiteX5" fmla="*/ 316423 w 316422"/>
                <a:gd name="connsiteY5" fmla="*/ 122492 h 1224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16422" h="122492">
                  <a:moveTo>
                    <a:pt x="0" y="122492"/>
                  </a:moveTo>
                  <a:lnTo>
                    <a:pt x="0" y="24694"/>
                  </a:lnTo>
                  <a:cubicBezTo>
                    <a:pt x="0" y="11122"/>
                    <a:pt x="11122" y="0"/>
                    <a:pt x="24694" y="0"/>
                  </a:cubicBezTo>
                  <a:lnTo>
                    <a:pt x="291728" y="0"/>
                  </a:lnTo>
                  <a:cubicBezTo>
                    <a:pt x="305300" y="0"/>
                    <a:pt x="316423" y="11122"/>
                    <a:pt x="316423" y="24694"/>
                  </a:cubicBezTo>
                  <a:lnTo>
                    <a:pt x="316423" y="122492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416" name="Gráfico 6">
              <a:extLst>
                <a:ext uri="{FF2B5EF4-FFF2-40B4-BE49-F238E27FC236}">
                  <a16:creationId xmlns:a16="http://schemas.microsoft.com/office/drawing/2014/main" id="{1276DB8D-1FD1-741F-E24B-62B0BE38B7E8}"/>
                </a:ext>
              </a:extLst>
            </p:cNvPr>
            <p:cNvGrpSpPr/>
            <p:nvPr/>
          </p:nvGrpSpPr>
          <p:grpSpPr>
            <a:xfrm>
              <a:off x="4545000" y="1618377"/>
              <a:ext cx="191627" cy="51985"/>
              <a:chOff x="4545000" y="1618377"/>
              <a:chExt cx="191627" cy="51985"/>
            </a:xfrm>
            <a:noFill/>
          </p:grpSpPr>
          <p:sp>
            <p:nvSpPr>
              <p:cNvPr id="417" name="Forma livre: Forma 416">
                <a:extLst>
                  <a:ext uri="{FF2B5EF4-FFF2-40B4-BE49-F238E27FC236}">
                    <a16:creationId xmlns:a16="http://schemas.microsoft.com/office/drawing/2014/main" id="{1BC9D470-8500-C210-7CA5-F75640DF2C90}"/>
                  </a:ext>
                </a:extLst>
              </p:cNvPr>
              <p:cNvSpPr/>
              <p:nvPr/>
            </p:nvSpPr>
            <p:spPr>
              <a:xfrm>
                <a:off x="4545000" y="1618377"/>
                <a:ext cx="75700" cy="51985"/>
              </a:xfrm>
              <a:custGeom>
                <a:avLst/>
                <a:gdLst>
                  <a:gd name="connsiteX0" fmla="*/ 0 w 75700"/>
                  <a:gd name="connsiteY0" fmla="*/ 51986 h 51985"/>
                  <a:gd name="connsiteX1" fmla="*/ 0 w 75700"/>
                  <a:gd name="connsiteY1" fmla="*/ 14797 h 51985"/>
                  <a:gd name="connsiteX2" fmla="*/ 14797 w 75700"/>
                  <a:gd name="connsiteY2" fmla="*/ 0 h 51985"/>
                  <a:gd name="connsiteX3" fmla="*/ 60903 w 75700"/>
                  <a:gd name="connsiteY3" fmla="*/ 0 h 51985"/>
                  <a:gd name="connsiteX4" fmla="*/ 75700 w 75700"/>
                  <a:gd name="connsiteY4" fmla="*/ 14797 h 51985"/>
                  <a:gd name="connsiteX5" fmla="*/ 75700 w 75700"/>
                  <a:gd name="connsiteY5" fmla="*/ 51986 h 519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75700" h="51985">
                    <a:moveTo>
                      <a:pt x="0" y="51986"/>
                    </a:moveTo>
                    <a:lnTo>
                      <a:pt x="0" y="14797"/>
                    </a:lnTo>
                    <a:cubicBezTo>
                      <a:pt x="0" y="6664"/>
                      <a:pt x="6664" y="0"/>
                      <a:pt x="14797" y="0"/>
                    </a:cubicBezTo>
                    <a:lnTo>
                      <a:pt x="60903" y="0"/>
                    </a:lnTo>
                    <a:cubicBezTo>
                      <a:pt x="69037" y="0"/>
                      <a:pt x="75700" y="6664"/>
                      <a:pt x="75700" y="14797"/>
                    </a:cubicBezTo>
                    <a:lnTo>
                      <a:pt x="75700" y="51986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18" name="Forma livre: Forma 417">
                <a:extLst>
                  <a:ext uri="{FF2B5EF4-FFF2-40B4-BE49-F238E27FC236}">
                    <a16:creationId xmlns:a16="http://schemas.microsoft.com/office/drawing/2014/main" id="{93E1E9BA-AE02-0D8F-550D-E4F05458D76C}"/>
                  </a:ext>
                </a:extLst>
              </p:cNvPr>
              <p:cNvSpPr/>
              <p:nvPr/>
            </p:nvSpPr>
            <p:spPr>
              <a:xfrm>
                <a:off x="4660927" y="1618377"/>
                <a:ext cx="75700" cy="51985"/>
              </a:xfrm>
              <a:custGeom>
                <a:avLst/>
                <a:gdLst>
                  <a:gd name="connsiteX0" fmla="*/ 0 w 75700"/>
                  <a:gd name="connsiteY0" fmla="*/ 51986 h 51985"/>
                  <a:gd name="connsiteX1" fmla="*/ 0 w 75700"/>
                  <a:gd name="connsiteY1" fmla="*/ 14797 h 51985"/>
                  <a:gd name="connsiteX2" fmla="*/ 14797 w 75700"/>
                  <a:gd name="connsiteY2" fmla="*/ 0 h 51985"/>
                  <a:gd name="connsiteX3" fmla="*/ 60903 w 75700"/>
                  <a:gd name="connsiteY3" fmla="*/ 0 h 51985"/>
                  <a:gd name="connsiteX4" fmla="*/ 75700 w 75700"/>
                  <a:gd name="connsiteY4" fmla="*/ 14797 h 51985"/>
                  <a:gd name="connsiteX5" fmla="*/ 75700 w 75700"/>
                  <a:gd name="connsiteY5" fmla="*/ 51986 h 519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75700" h="51985">
                    <a:moveTo>
                      <a:pt x="0" y="51986"/>
                    </a:moveTo>
                    <a:lnTo>
                      <a:pt x="0" y="14797"/>
                    </a:lnTo>
                    <a:cubicBezTo>
                      <a:pt x="0" y="6664"/>
                      <a:pt x="6664" y="0"/>
                      <a:pt x="14797" y="0"/>
                    </a:cubicBezTo>
                    <a:lnTo>
                      <a:pt x="60903" y="0"/>
                    </a:lnTo>
                    <a:cubicBezTo>
                      <a:pt x="69037" y="0"/>
                      <a:pt x="75700" y="6664"/>
                      <a:pt x="75700" y="14797"/>
                    </a:cubicBezTo>
                    <a:lnTo>
                      <a:pt x="75700" y="51986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419" name="Forma livre: Forma 418">
              <a:extLst>
                <a:ext uri="{FF2B5EF4-FFF2-40B4-BE49-F238E27FC236}">
                  <a16:creationId xmlns:a16="http://schemas.microsoft.com/office/drawing/2014/main" id="{CECE8C1F-F3D3-72D1-BBC6-BA827554E6A5}"/>
                </a:ext>
              </a:extLst>
            </p:cNvPr>
            <p:cNvSpPr/>
            <p:nvPr/>
          </p:nvSpPr>
          <p:spPr>
            <a:xfrm>
              <a:off x="4484342" y="1776000"/>
              <a:ext cx="312943" cy="4899"/>
            </a:xfrm>
            <a:custGeom>
              <a:avLst/>
              <a:gdLst>
                <a:gd name="connsiteX0" fmla="*/ 0 w 312943"/>
                <a:gd name="connsiteY0" fmla="*/ 0 h 4899"/>
                <a:gd name="connsiteX1" fmla="*/ 312944 w 312943"/>
                <a:gd name="connsiteY1" fmla="*/ 0 h 48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12943" h="4899">
                  <a:moveTo>
                    <a:pt x="0" y="0"/>
                  </a:moveTo>
                  <a:lnTo>
                    <a:pt x="312944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420" name="Gráfico 6">
            <a:extLst>
              <a:ext uri="{FF2B5EF4-FFF2-40B4-BE49-F238E27FC236}">
                <a16:creationId xmlns:a16="http://schemas.microsoft.com/office/drawing/2014/main" id="{CD9AE7DB-5136-2F61-9112-07CE51971B57}"/>
              </a:ext>
            </a:extLst>
          </p:cNvPr>
          <p:cNvGrpSpPr/>
          <p:nvPr/>
        </p:nvGrpSpPr>
        <p:grpSpPr>
          <a:xfrm>
            <a:off x="4501442" y="2648490"/>
            <a:ext cx="278792" cy="278792"/>
            <a:chOff x="4501442" y="2648490"/>
            <a:chExt cx="278792" cy="278792"/>
          </a:xfrm>
          <a:noFill/>
        </p:grpSpPr>
        <p:sp>
          <p:nvSpPr>
            <p:cNvPr id="421" name="Forma livre: Forma 420">
              <a:extLst>
                <a:ext uri="{FF2B5EF4-FFF2-40B4-BE49-F238E27FC236}">
                  <a16:creationId xmlns:a16="http://schemas.microsoft.com/office/drawing/2014/main" id="{FB5888D8-195A-A38F-5941-0677346F5031}"/>
                </a:ext>
              </a:extLst>
            </p:cNvPr>
            <p:cNvSpPr/>
            <p:nvPr/>
          </p:nvSpPr>
          <p:spPr>
            <a:xfrm>
              <a:off x="4729865" y="2654223"/>
              <a:ext cx="44636" cy="43950"/>
            </a:xfrm>
            <a:custGeom>
              <a:avLst/>
              <a:gdLst>
                <a:gd name="connsiteX0" fmla="*/ 0 w 44636"/>
                <a:gd name="connsiteY0" fmla="*/ 21461 h 43950"/>
                <a:gd name="connsiteX1" fmla="*/ 21461 w 44636"/>
                <a:gd name="connsiteY1" fmla="*/ 0 h 43950"/>
                <a:gd name="connsiteX2" fmla="*/ 44636 w 44636"/>
                <a:gd name="connsiteY2" fmla="*/ 23175 h 43950"/>
                <a:gd name="connsiteX3" fmla="*/ 23813 w 44636"/>
                <a:gd name="connsiteY3" fmla="*/ 43950 h 439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4636" h="43950">
                  <a:moveTo>
                    <a:pt x="0" y="21461"/>
                  </a:moveTo>
                  <a:lnTo>
                    <a:pt x="21461" y="0"/>
                  </a:lnTo>
                  <a:lnTo>
                    <a:pt x="44636" y="23175"/>
                  </a:lnTo>
                  <a:lnTo>
                    <a:pt x="23813" y="4395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22" name="Forma livre: Forma 421">
              <a:extLst>
                <a:ext uri="{FF2B5EF4-FFF2-40B4-BE49-F238E27FC236}">
                  <a16:creationId xmlns:a16="http://schemas.microsoft.com/office/drawing/2014/main" id="{D7401FBB-AAE7-7D2F-592C-552BDDD6E40B}"/>
                </a:ext>
              </a:extLst>
            </p:cNvPr>
            <p:cNvSpPr/>
            <p:nvPr/>
          </p:nvSpPr>
          <p:spPr>
            <a:xfrm>
              <a:off x="4587823" y="2751923"/>
              <a:ext cx="65802" cy="65802"/>
            </a:xfrm>
            <a:custGeom>
              <a:avLst/>
              <a:gdLst>
                <a:gd name="connsiteX0" fmla="*/ 0 w 65802"/>
                <a:gd name="connsiteY0" fmla="*/ 65803 h 65802"/>
                <a:gd name="connsiteX1" fmla="*/ 65803 w 65802"/>
                <a:gd name="connsiteY1" fmla="*/ 0 h 65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5802" h="65802">
                  <a:moveTo>
                    <a:pt x="0" y="65803"/>
                  </a:moveTo>
                  <a:lnTo>
                    <a:pt x="65803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23" name="Forma livre: Forma 422">
              <a:extLst>
                <a:ext uri="{FF2B5EF4-FFF2-40B4-BE49-F238E27FC236}">
                  <a16:creationId xmlns:a16="http://schemas.microsoft.com/office/drawing/2014/main" id="{622BB43C-8933-54AD-AC3D-45EB5A728E99}"/>
                </a:ext>
              </a:extLst>
            </p:cNvPr>
            <p:cNvSpPr/>
            <p:nvPr/>
          </p:nvSpPr>
          <p:spPr>
            <a:xfrm>
              <a:off x="4507174" y="2876424"/>
              <a:ext cx="44244" cy="45077"/>
            </a:xfrm>
            <a:custGeom>
              <a:avLst/>
              <a:gdLst>
                <a:gd name="connsiteX0" fmla="*/ 44244 w 44244"/>
                <a:gd name="connsiteY0" fmla="*/ 24009 h 45077"/>
                <a:gd name="connsiteX1" fmla="*/ 23176 w 44244"/>
                <a:gd name="connsiteY1" fmla="*/ 45077 h 45077"/>
                <a:gd name="connsiteX2" fmla="*/ 0 w 44244"/>
                <a:gd name="connsiteY2" fmla="*/ 21951 h 45077"/>
                <a:gd name="connsiteX3" fmla="*/ 21951 w 44244"/>
                <a:gd name="connsiteY3" fmla="*/ 0 h 450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4244" h="45077">
                  <a:moveTo>
                    <a:pt x="44244" y="24009"/>
                  </a:moveTo>
                  <a:lnTo>
                    <a:pt x="23176" y="45077"/>
                  </a:lnTo>
                  <a:lnTo>
                    <a:pt x="0" y="21951"/>
                  </a:lnTo>
                  <a:lnTo>
                    <a:pt x="21951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24" name="Forma livre: Forma 423">
              <a:extLst>
                <a:ext uri="{FF2B5EF4-FFF2-40B4-BE49-F238E27FC236}">
                  <a16:creationId xmlns:a16="http://schemas.microsoft.com/office/drawing/2014/main" id="{DDAFAAA6-AE2F-F7E0-D72E-B26CD6982510}"/>
                </a:ext>
              </a:extLst>
            </p:cNvPr>
            <p:cNvSpPr/>
            <p:nvPr/>
          </p:nvSpPr>
          <p:spPr>
            <a:xfrm>
              <a:off x="4611195" y="2775049"/>
              <a:ext cx="65606" cy="65606"/>
            </a:xfrm>
            <a:custGeom>
              <a:avLst/>
              <a:gdLst>
                <a:gd name="connsiteX0" fmla="*/ 65607 w 65606"/>
                <a:gd name="connsiteY0" fmla="*/ 0 h 65606"/>
                <a:gd name="connsiteX1" fmla="*/ 0 w 65606"/>
                <a:gd name="connsiteY1" fmla="*/ 65607 h 656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5606" h="65606">
                  <a:moveTo>
                    <a:pt x="65607" y="0"/>
                  </a:moveTo>
                  <a:lnTo>
                    <a:pt x="0" y="65607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425" name="Gráfico 6">
              <a:extLst>
                <a:ext uri="{FF2B5EF4-FFF2-40B4-BE49-F238E27FC236}">
                  <a16:creationId xmlns:a16="http://schemas.microsoft.com/office/drawing/2014/main" id="{CB1CBDC5-5745-4605-D55E-A8F7178713A4}"/>
                </a:ext>
              </a:extLst>
            </p:cNvPr>
            <p:cNvGrpSpPr/>
            <p:nvPr/>
          </p:nvGrpSpPr>
          <p:grpSpPr>
            <a:xfrm>
              <a:off x="4501442" y="2648490"/>
              <a:ext cx="278792" cy="278792"/>
              <a:chOff x="4501442" y="2648490"/>
              <a:chExt cx="278792" cy="278792"/>
            </a:xfrm>
            <a:noFill/>
          </p:grpSpPr>
          <p:sp>
            <p:nvSpPr>
              <p:cNvPr id="426" name="Forma livre: Forma 425">
                <a:extLst>
                  <a:ext uri="{FF2B5EF4-FFF2-40B4-BE49-F238E27FC236}">
                    <a16:creationId xmlns:a16="http://schemas.microsoft.com/office/drawing/2014/main" id="{0BA6CAC7-F967-1021-208A-A59045F933EB}"/>
                  </a:ext>
                </a:extLst>
              </p:cNvPr>
              <p:cNvSpPr/>
              <p:nvPr/>
            </p:nvSpPr>
            <p:spPr>
              <a:xfrm>
                <a:off x="4501442" y="2819636"/>
                <a:ext cx="107646" cy="107646"/>
              </a:xfrm>
              <a:custGeom>
                <a:avLst/>
                <a:gdLst>
                  <a:gd name="connsiteX0" fmla="*/ 101914 w 107646"/>
                  <a:gd name="connsiteY0" fmla="*/ 72270 h 107646"/>
                  <a:gd name="connsiteX1" fmla="*/ 101914 w 107646"/>
                  <a:gd name="connsiteY1" fmla="*/ 100003 h 107646"/>
                  <a:gd name="connsiteX2" fmla="*/ 100003 w 107646"/>
                  <a:gd name="connsiteY2" fmla="*/ 101914 h 107646"/>
                  <a:gd name="connsiteX3" fmla="*/ 72271 w 107646"/>
                  <a:gd name="connsiteY3" fmla="*/ 101914 h 107646"/>
                  <a:gd name="connsiteX4" fmla="*/ 5733 w 107646"/>
                  <a:gd name="connsiteY4" fmla="*/ 35376 h 107646"/>
                  <a:gd name="connsiteX5" fmla="*/ 5733 w 107646"/>
                  <a:gd name="connsiteY5" fmla="*/ 7643 h 107646"/>
                  <a:gd name="connsiteX6" fmla="*/ 7644 w 107646"/>
                  <a:gd name="connsiteY6" fmla="*/ 5733 h 107646"/>
                  <a:gd name="connsiteX7" fmla="*/ 35376 w 107646"/>
                  <a:gd name="connsiteY7" fmla="*/ 5733 h 107646"/>
                  <a:gd name="connsiteX8" fmla="*/ 101914 w 107646"/>
                  <a:gd name="connsiteY8" fmla="*/ 72270 h 1076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07646" h="107646">
                    <a:moveTo>
                      <a:pt x="101914" y="72270"/>
                    </a:moveTo>
                    <a:cubicBezTo>
                      <a:pt x="109557" y="79914"/>
                      <a:pt x="109557" y="92359"/>
                      <a:pt x="101914" y="100003"/>
                    </a:cubicBezTo>
                    <a:lnTo>
                      <a:pt x="100003" y="101914"/>
                    </a:lnTo>
                    <a:cubicBezTo>
                      <a:pt x="92359" y="109557"/>
                      <a:pt x="79914" y="109557"/>
                      <a:pt x="72271" y="101914"/>
                    </a:cubicBezTo>
                    <a:lnTo>
                      <a:pt x="5733" y="35376"/>
                    </a:lnTo>
                    <a:cubicBezTo>
                      <a:pt x="-1911" y="27732"/>
                      <a:pt x="-1911" y="15287"/>
                      <a:pt x="5733" y="7643"/>
                    </a:cubicBezTo>
                    <a:lnTo>
                      <a:pt x="7644" y="5733"/>
                    </a:lnTo>
                    <a:cubicBezTo>
                      <a:pt x="15287" y="-1911"/>
                      <a:pt x="27732" y="-1911"/>
                      <a:pt x="35376" y="5733"/>
                    </a:cubicBezTo>
                    <a:lnTo>
                      <a:pt x="101914" y="72270"/>
                    </a:ln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427" name="Gráfico 6">
                <a:extLst>
                  <a:ext uri="{FF2B5EF4-FFF2-40B4-BE49-F238E27FC236}">
                    <a16:creationId xmlns:a16="http://schemas.microsoft.com/office/drawing/2014/main" id="{223EC064-F861-0ABF-D588-38D28EEF8C2F}"/>
                  </a:ext>
                </a:extLst>
              </p:cNvPr>
              <p:cNvGrpSpPr/>
              <p:nvPr/>
            </p:nvGrpSpPr>
            <p:grpSpPr>
              <a:xfrm>
                <a:off x="4619720" y="2648490"/>
                <a:ext cx="160514" cy="160514"/>
                <a:chOff x="4619720" y="2648490"/>
                <a:chExt cx="160514" cy="160514"/>
              </a:xfrm>
              <a:noFill/>
            </p:grpSpPr>
            <p:sp>
              <p:nvSpPr>
                <p:cNvPr id="428" name="Forma livre: Forma 427">
                  <a:extLst>
                    <a:ext uri="{FF2B5EF4-FFF2-40B4-BE49-F238E27FC236}">
                      <a16:creationId xmlns:a16="http://schemas.microsoft.com/office/drawing/2014/main" id="{83ADCC1D-CBAB-FF9B-4162-F656E3B79D46}"/>
                    </a:ext>
                  </a:extLst>
                </p:cNvPr>
                <p:cNvSpPr/>
                <p:nvPr/>
              </p:nvSpPr>
              <p:spPr>
                <a:xfrm>
                  <a:off x="4619720" y="2655007"/>
                  <a:ext cx="153997" cy="153997"/>
                </a:xfrm>
                <a:custGeom>
                  <a:avLst/>
                  <a:gdLst>
                    <a:gd name="connsiteX0" fmla="*/ 118622 w 153997"/>
                    <a:gd name="connsiteY0" fmla="*/ 148265 h 153997"/>
                    <a:gd name="connsiteX1" fmla="*/ 146354 w 153997"/>
                    <a:gd name="connsiteY1" fmla="*/ 148265 h 153997"/>
                    <a:gd name="connsiteX2" fmla="*/ 148265 w 153997"/>
                    <a:gd name="connsiteY2" fmla="*/ 146354 h 153997"/>
                    <a:gd name="connsiteX3" fmla="*/ 148265 w 153997"/>
                    <a:gd name="connsiteY3" fmla="*/ 118622 h 153997"/>
                    <a:gd name="connsiteX4" fmla="*/ 35376 w 153997"/>
                    <a:gd name="connsiteY4" fmla="*/ 5733 h 153997"/>
                    <a:gd name="connsiteX5" fmla="*/ 7644 w 153997"/>
                    <a:gd name="connsiteY5" fmla="*/ 5733 h 153997"/>
                    <a:gd name="connsiteX6" fmla="*/ 5733 w 153997"/>
                    <a:gd name="connsiteY6" fmla="*/ 7644 h 153997"/>
                    <a:gd name="connsiteX7" fmla="*/ 5733 w 153997"/>
                    <a:gd name="connsiteY7" fmla="*/ 35376 h 153997"/>
                    <a:gd name="connsiteX8" fmla="*/ 118622 w 153997"/>
                    <a:gd name="connsiteY8" fmla="*/ 148265 h 15399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153997" h="153997">
                      <a:moveTo>
                        <a:pt x="118622" y="148265"/>
                      </a:moveTo>
                      <a:cubicBezTo>
                        <a:pt x="126265" y="155908"/>
                        <a:pt x="138710" y="155908"/>
                        <a:pt x="146354" y="148265"/>
                      </a:cubicBezTo>
                      <a:lnTo>
                        <a:pt x="148265" y="146354"/>
                      </a:lnTo>
                      <a:cubicBezTo>
                        <a:pt x="155908" y="138711"/>
                        <a:pt x="155908" y="126265"/>
                        <a:pt x="148265" y="118622"/>
                      </a:cubicBezTo>
                      <a:lnTo>
                        <a:pt x="35376" y="5733"/>
                      </a:lnTo>
                      <a:cubicBezTo>
                        <a:pt x="27781" y="-1911"/>
                        <a:pt x="15287" y="-1911"/>
                        <a:pt x="7644" y="5733"/>
                      </a:cubicBezTo>
                      <a:lnTo>
                        <a:pt x="5733" y="7644"/>
                      </a:lnTo>
                      <a:cubicBezTo>
                        <a:pt x="-1911" y="15287"/>
                        <a:pt x="-1911" y="27732"/>
                        <a:pt x="5733" y="35376"/>
                      </a:cubicBezTo>
                      <a:lnTo>
                        <a:pt x="118622" y="148265"/>
                      </a:lnTo>
                      <a:close/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429" name="Forma livre: Forma 428">
                  <a:extLst>
                    <a:ext uri="{FF2B5EF4-FFF2-40B4-BE49-F238E27FC236}">
                      <a16:creationId xmlns:a16="http://schemas.microsoft.com/office/drawing/2014/main" id="{4C6D18DF-65F1-40CE-71CB-BFD47E2AC176}"/>
                    </a:ext>
                  </a:extLst>
                </p:cNvPr>
                <p:cNvSpPr/>
                <p:nvPr/>
              </p:nvSpPr>
              <p:spPr>
                <a:xfrm>
                  <a:off x="4672625" y="2648490"/>
                  <a:ext cx="107609" cy="107627"/>
                </a:xfrm>
                <a:custGeom>
                  <a:avLst/>
                  <a:gdLst>
                    <a:gd name="connsiteX0" fmla="*/ 72234 w 107609"/>
                    <a:gd name="connsiteY0" fmla="*/ 101914 h 107627"/>
                    <a:gd name="connsiteX1" fmla="*/ 99966 w 107609"/>
                    <a:gd name="connsiteY1" fmla="*/ 101914 h 107627"/>
                    <a:gd name="connsiteX2" fmla="*/ 101877 w 107609"/>
                    <a:gd name="connsiteY2" fmla="*/ 100003 h 107627"/>
                    <a:gd name="connsiteX3" fmla="*/ 101877 w 107609"/>
                    <a:gd name="connsiteY3" fmla="*/ 72270 h 107627"/>
                    <a:gd name="connsiteX4" fmla="*/ 35339 w 107609"/>
                    <a:gd name="connsiteY4" fmla="*/ 5733 h 107627"/>
                    <a:gd name="connsiteX5" fmla="*/ 7607 w 107609"/>
                    <a:gd name="connsiteY5" fmla="*/ 5733 h 107627"/>
                    <a:gd name="connsiteX6" fmla="*/ 5696 w 107609"/>
                    <a:gd name="connsiteY6" fmla="*/ 7643 h 107627"/>
                    <a:gd name="connsiteX7" fmla="*/ 5696 w 107609"/>
                    <a:gd name="connsiteY7" fmla="*/ 35376 h 107627"/>
                    <a:gd name="connsiteX8" fmla="*/ 72234 w 107609"/>
                    <a:gd name="connsiteY8" fmla="*/ 101914 h 10762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107609" h="107627">
                      <a:moveTo>
                        <a:pt x="72234" y="101914"/>
                      </a:moveTo>
                      <a:cubicBezTo>
                        <a:pt x="79828" y="109508"/>
                        <a:pt x="92323" y="109557"/>
                        <a:pt x="99966" y="101914"/>
                      </a:cubicBezTo>
                      <a:lnTo>
                        <a:pt x="101877" y="100003"/>
                      </a:lnTo>
                      <a:cubicBezTo>
                        <a:pt x="109521" y="92359"/>
                        <a:pt x="109521" y="79914"/>
                        <a:pt x="101877" y="72270"/>
                      </a:cubicBezTo>
                      <a:lnTo>
                        <a:pt x="35339" y="5733"/>
                      </a:lnTo>
                      <a:cubicBezTo>
                        <a:pt x="27696" y="-1911"/>
                        <a:pt x="15250" y="-1911"/>
                        <a:pt x="7607" y="5733"/>
                      </a:cubicBezTo>
                      <a:lnTo>
                        <a:pt x="5696" y="7643"/>
                      </a:lnTo>
                      <a:cubicBezTo>
                        <a:pt x="-1899" y="15287"/>
                        <a:pt x="-1899" y="27732"/>
                        <a:pt x="5696" y="35376"/>
                      </a:cubicBezTo>
                      <a:lnTo>
                        <a:pt x="72234" y="101914"/>
                      </a:lnTo>
                      <a:close/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sp>
          <p:nvSpPr>
            <p:cNvPr id="430" name="Forma livre: Forma 429">
              <a:extLst>
                <a:ext uri="{FF2B5EF4-FFF2-40B4-BE49-F238E27FC236}">
                  <a16:creationId xmlns:a16="http://schemas.microsoft.com/office/drawing/2014/main" id="{E1D66588-FC04-0DE8-827C-B6B381236D1B}"/>
                </a:ext>
              </a:extLst>
            </p:cNvPr>
            <p:cNvSpPr/>
            <p:nvPr/>
          </p:nvSpPr>
          <p:spPr>
            <a:xfrm>
              <a:off x="4507958" y="2766769"/>
              <a:ext cx="153997" cy="153997"/>
            </a:xfrm>
            <a:custGeom>
              <a:avLst/>
              <a:gdLst>
                <a:gd name="connsiteX0" fmla="*/ 148265 w 153997"/>
                <a:gd name="connsiteY0" fmla="*/ 118622 h 153997"/>
                <a:gd name="connsiteX1" fmla="*/ 148265 w 153997"/>
                <a:gd name="connsiteY1" fmla="*/ 146354 h 153997"/>
                <a:gd name="connsiteX2" fmla="*/ 146354 w 153997"/>
                <a:gd name="connsiteY2" fmla="*/ 148265 h 153997"/>
                <a:gd name="connsiteX3" fmla="*/ 118622 w 153997"/>
                <a:gd name="connsiteY3" fmla="*/ 148265 h 153997"/>
                <a:gd name="connsiteX4" fmla="*/ 5733 w 153997"/>
                <a:gd name="connsiteY4" fmla="*/ 35376 h 153997"/>
                <a:gd name="connsiteX5" fmla="*/ 5733 w 153997"/>
                <a:gd name="connsiteY5" fmla="*/ 7644 h 153997"/>
                <a:gd name="connsiteX6" fmla="*/ 7644 w 153997"/>
                <a:gd name="connsiteY6" fmla="*/ 5733 h 153997"/>
                <a:gd name="connsiteX7" fmla="*/ 35376 w 153997"/>
                <a:gd name="connsiteY7" fmla="*/ 5733 h 153997"/>
                <a:gd name="connsiteX8" fmla="*/ 148265 w 153997"/>
                <a:gd name="connsiteY8" fmla="*/ 118622 h 1539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53997" h="153997">
                  <a:moveTo>
                    <a:pt x="148265" y="118622"/>
                  </a:moveTo>
                  <a:cubicBezTo>
                    <a:pt x="155908" y="126265"/>
                    <a:pt x="155908" y="138711"/>
                    <a:pt x="148265" y="146354"/>
                  </a:cubicBezTo>
                  <a:lnTo>
                    <a:pt x="146354" y="148265"/>
                  </a:lnTo>
                  <a:cubicBezTo>
                    <a:pt x="138710" y="155908"/>
                    <a:pt x="126265" y="155908"/>
                    <a:pt x="118622" y="148265"/>
                  </a:cubicBezTo>
                  <a:lnTo>
                    <a:pt x="5733" y="35376"/>
                  </a:lnTo>
                  <a:cubicBezTo>
                    <a:pt x="-1911" y="27732"/>
                    <a:pt x="-1911" y="15287"/>
                    <a:pt x="5733" y="7644"/>
                  </a:cubicBezTo>
                  <a:lnTo>
                    <a:pt x="7644" y="5733"/>
                  </a:lnTo>
                  <a:cubicBezTo>
                    <a:pt x="15287" y="-1911"/>
                    <a:pt x="27732" y="-1911"/>
                    <a:pt x="35376" y="5733"/>
                  </a:cubicBezTo>
                  <a:lnTo>
                    <a:pt x="148265" y="118622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431" name="Gráfico 6">
            <a:extLst>
              <a:ext uri="{FF2B5EF4-FFF2-40B4-BE49-F238E27FC236}">
                <a16:creationId xmlns:a16="http://schemas.microsoft.com/office/drawing/2014/main" id="{9F67F0F0-8B4E-E95D-5326-AFBDC2D9A9F3}"/>
              </a:ext>
            </a:extLst>
          </p:cNvPr>
          <p:cNvGrpSpPr/>
          <p:nvPr/>
        </p:nvGrpSpPr>
        <p:grpSpPr>
          <a:xfrm>
            <a:off x="4475424" y="2099381"/>
            <a:ext cx="330827" cy="279527"/>
            <a:chOff x="4475424" y="2099381"/>
            <a:chExt cx="330827" cy="279527"/>
          </a:xfrm>
          <a:noFill/>
        </p:grpSpPr>
        <p:grpSp>
          <p:nvGrpSpPr>
            <p:cNvPr id="432" name="Gráfico 6">
              <a:extLst>
                <a:ext uri="{FF2B5EF4-FFF2-40B4-BE49-F238E27FC236}">
                  <a16:creationId xmlns:a16="http://schemas.microsoft.com/office/drawing/2014/main" id="{28C0F177-1A97-7528-6EB1-4DA1A21D22F2}"/>
                </a:ext>
              </a:extLst>
            </p:cNvPr>
            <p:cNvGrpSpPr/>
            <p:nvPr/>
          </p:nvGrpSpPr>
          <p:grpSpPr>
            <a:xfrm>
              <a:off x="4558719" y="2276603"/>
              <a:ext cx="164237" cy="55905"/>
              <a:chOff x="4558719" y="2276603"/>
              <a:chExt cx="164237" cy="55905"/>
            </a:xfrm>
          </p:grpSpPr>
          <p:sp>
            <p:nvSpPr>
              <p:cNvPr id="433" name="Forma livre: Forma 432">
                <a:extLst>
                  <a:ext uri="{FF2B5EF4-FFF2-40B4-BE49-F238E27FC236}">
                    <a16:creationId xmlns:a16="http://schemas.microsoft.com/office/drawing/2014/main" id="{F0945718-0C8A-105A-90D4-FB797E6262EC}"/>
                  </a:ext>
                </a:extLst>
              </p:cNvPr>
              <p:cNvSpPr/>
              <p:nvPr/>
            </p:nvSpPr>
            <p:spPr>
              <a:xfrm>
                <a:off x="4701545" y="2276603"/>
                <a:ext cx="21411" cy="55905"/>
              </a:xfrm>
              <a:custGeom>
                <a:avLst/>
                <a:gdLst>
                  <a:gd name="connsiteX0" fmla="*/ 0 w 21411"/>
                  <a:gd name="connsiteY0" fmla="*/ 0 h 55905"/>
                  <a:gd name="connsiteX1" fmla="*/ 21412 w 21411"/>
                  <a:gd name="connsiteY1" fmla="*/ 55906 h 559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1411" h="55905">
                    <a:moveTo>
                      <a:pt x="0" y="0"/>
                    </a:moveTo>
                    <a:lnTo>
                      <a:pt x="21412" y="55906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34" name="Forma livre: Forma 433">
                <a:extLst>
                  <a:ext uri="{FF2B5EF4-FFF2-40B4-BE49-F238E27FC236}">
                    <a16:creationId xmlns:a16="http://schemas.microsoft.com/office/drawing/2014/main" id="{153DF5FF-987B-59E9-74C2-1CAB355E204D}"/>
                  </a:ext>
                </a:extLst>
              </p:cNvPr>
              <p:cNvSpPr/>
              <p:nvPr/>
            </p:nvSpPr>
            <p:spPr>
              <a:xfrm>
                <a:off x="4558719" y="2276603"/>
                <a:ext cx="21411" cy="55905"/>
              </a:xfrm>
              <a:custGeom>
                <a:avLst/>
                <a:gdLst>
                  <a:gd name="connsiteX0" fmla="*/ 21412 w 21411"/>
                  <a:gd name="connsiteY0" fmla="*/ 0 h 55905"/>
                  <a:gd name="connsiteX1" fmla="*/ 0 w 21411"/>
                  <a:gd name="connsiteY1" fmla="*/ 55906 h 559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1411" h="55905">
                    <a:moveTo>
                      <a:pt x="21412" y="0"/>
                    </a:moveTo>
                    <a:lnTo>
                      <a:pt x="0" y="55906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435" name="Forma livre: Forma 434">
              <a:extLst>
                <a:ext uri="{FF2B5EF4-FFF2-40B4-BE49-F238E27FC236}">
                  <a16:creationId xmlns:a16="http://schemas.microsoft.com/office/drawing/2014/main" id="{22DFF854-3A8A-1280-9D97-D6951F6B0D11}"/>
                </a:ext>
              </a:extLst>
            </p:cNvPr>
            <p:cNvSpPr/>
            <p:nvPr/>
          </p:nvSpPr>
          <p:spPr>
            <a:xfrm>
              <a:off x="4576995" y="2099381"/>
              <a:ext cx="127686" cy="206620"/>
            </a:xfrm>
            <a:custGeom>
              <a:avLst/>
              <a:gdLst>
                <a:gd name="connsiteX0" fmla="*/ 127686 w 127686"/>
                <a:gd name="connsiteY0" fmla="*/ 63843 h 206620"/>
                <a:gd name="connsiteX1" fmla="*/ 63843 w 127686"/>
                <a:gd name="connsiteY1" fmla="*/ 206620 h 206620"/>
                <a:gd name="connsiteX2" fmla="*/ 0 w 127686"/>
                <a:gd name="connsiteY2" fmla="*/ 63843 h 206620"/>
                <a:gd name="connsiteX3" fmla="*/ 63843 w 127686"/>
                <a:gd name="connsiteY3" fmla="*/ 0 h 206620"/>
                <a:gd name="connsiteX4" fmla="*/ 127686 w 127686"/>
                <a:gd name="connsiteY4" fmla="*/ 63843 h 2066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7686" h="206620">
                  <a:moveTo>
                    <a:pt x="127686" y="63843"/>
                  </a:moveTo>
                  <a:cubicBezTo>
                    <a:pt x="127686" y="99121"/>
                    <a:pt x="63843" y="206620"/>
                    <a:pt x="63843" y="206620"/>
                  </a:cubicBezTo>
                  <a:cubicBezTo>
                    <a:pt x="63843" y="206620"/>
                    <a:pt x="0" y="99072"/>
                    <a:pt x="0" y="63843"/>
                  </a:cubicBezTo>
                  <a:cubicBezTo>
                    <a:pt x="0" y="28614"/>
                    <a:pt x="28565" y="0"/>
                    <a:pt x="63843" y="0"/>
                  </a:cubicBezTo>
                  <a:cubicBezTo>
                    <a:pt x="99121" y="0"/>
                    <a:pt x="127686" y="28565"/>
                    <a:pt x="127686" y="63843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36" name="Forma livre: Forma 435">
              <a:extLst>
                <a:ext uri="{FF2B5EF4-FFF2-40B4-BE49-F238E27FC236}">
                  <a16:creationId xmlns:a16="http://schemas.microsoft.com/office/drawing/2014/main" id="{2564F436-339D-DEAD-104A-8FAD7BC61819}"/>
                </a:ext>
              </a:extLst>
            </p:cNvPr>
            <p:cNvSpPr/>
            <p:nvPr/>
          </p:nvSpPr>
          <p:spPr>
            <a:xfrm>
              <a:off x="4607814" y="2130200"/>
              <a:ext cx="66047" cy="66047"/>
            </a:xfrm>
            <a:custGeom>
              <a:avLst/>
              <a:gdLst>
                <a:gd name="connsiteX0" fmla="*/ 66048 w 66047"/>
                <a:gd name="connsiteY0" fmla="*/ 33024 h 66047"/>
                <a:gd name="connsiteX1" fmla="*/ 33024 w 66047"/>
                <a:gd name="connsiteY1" fmla="*/ 66048 h 66047"/>
                <a:gd name="connsiteX2" fmla="*/ 0 w 66047"/>
                <a:gd name="connsiteY2" fmla="*/ 33024 h 66047"/>
                <a:gd name="connsiteX3" fmla="*/ 33024 w 66047"/>
                <a:gd name="connsiteY3" fmla="*/ 0 h 66047"/>
                <a:gd name="connsiteX4" fmla="*/ 66048 w 66047"/>
                <a:gd name="connsiteY4" fmla="*/ 33024 h 660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6047" h="66047">
                  <a:moveTo>
                    <a:pt x="66048" y="33024"/>
                  </a:moveTo>
                  <a:cubicBezTo>
                    <a:pt x="66048" y="51251"/>
                    <a:pt x="51251" y="66048"/>
                    <a:pt x="33024" y="66048"/>
                  </a:cubicBezTo>
                  <a:cubicBezTo>
                    <a:pt x="14797" y="66048"/>
                    <a:pt x="0" y="51251"/>
                    <a:pt x="0" y="33024"/>
                  </a:cubicBezTo>
                  <a:cubicBezTo>
                    <a:pt x="0" y="14797"/>
                    <a:pt x="14797" y="0"/>
                    <a:pt x="33024" y="0"/>
                  </a:cubicBezTo>
                  <a:cubicBezTo>
                    <a:pt x="51251" y="0"/>
                    <a:pt x="66048" y="14797"/>
                    <a:pt x="66048" y="33024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37" name="Forma livre: Forma 436">
              <a:extLst>
                <a:ext uri="{FF2B5EF4-FFF2-40B4-BE49-F238E27FC236}">
                  <a16:creationId xmlns:a16="http://schemas.microsoft.com/office/drawing/2014/main" id="{D9344EE3-86AF-32A2-AA68-1C1F4B98C98F}"/>
                </a:ext>
              </a:extLst>
            </p:cNvPr>
            <p:cNvSpPr/>
            <p:nvPr/>
          </p:nvSpPr>
          <p:spPr>
            <a:xfrm>
              <a:off x="4475424" y="2241276"/>
              <a:ext cx="330827" cy="137632"/>
            </a:xfrm>
            <a:custGeom>
              <a:avLst/>
              <a:gdLst>
                <a:gd name="connsiteX0" fmla="*/ 103384 w 330827"/>
                <a:gd name="connsiteY0" fmla="*/ 0 h 137632"/>
                <a:gd name="connsiteX1" fmla="*/ 46400 w 330827"/>
                <a:gd name="connsiteY1" fmla="*/ 25821 h 137632"/>
                <a:gd name="connsiteX2" fmla="*/ 0 w 330827"/>
                <a:gd name="connsiteY2" fmla="*/ 128127 h 137632"/>
                <a:gd name="connsiteX3" fmla="*/ 83295 w 330827"/>
                <a:gd name="connsiteY3" fmla="*/ 91232 h 137632"/>
                <a:gd name="connsiteX4" fmla="*/ 165365 w 330827"/>
                <a:gd name="connsiteY4" fmla="*/ 137633 h 137632"/>
                <a:gd name="connsiteX5" fmla="*/ 165463 w 330827"/>
                <a:gd name="connsiteY5" fmla="*/ 137633 h 137632"/>
                <a:gd name="connsiteX6" fmla="*/ 247533 w 330827"/>
                <a:gd name="connsiteY6" fmla="*/ 91232 h 137632"/>
                <a:gd name="connsiteX7" fmla="*/ 330828 w 330827"/>
                <a:gd name="connsiteY7" fmla="*/ 128127 h 137632"/>
                <a:gd name="connsiteX8" fmla="*/ 284428 w 330827"/>
                <a:gd name="connsiteY8" fmla="*/ 25821 h 137632"/>
                <a:gd name="connsiteX9" fmla="*/ 227444 w 330827"/>
                <a:gd name="connsiteY9" fmla="*/ 0 h 1376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30827" h="137632">
                  <a:moveTo>
                    <a:pt x="103384" y="0"/>
                  </a:moveTo>
                  <a:lnTo>
                    <a:pt x="46400" y="25821"/>
                  </a:lnTo>
                  <a:lnTo>
                    <a:pt x="0" y="128127"/>
                  </a:lnTo>
                  <a:lnTo>
                    <a:pt x="83295" y="91232"/>
                  </a:lnTo>
                  <a:lnTo>
                    <a:pt x="165365" y="137633"/>
                  </a:lnTo>
                  <a:lnTo>
                    <a:pt x="165463" y="137633"/>
                  </a:lnTo>
                  <a:lnTo>
                    <a:pt x="247533" y="91232"/>
                  </a:lnTo>
                  <a:lnTo>
                    <a:pt x="330828" y="128127"/>
                  </a:lnTo>
                  <a:lnTo>
                    <a:pt x="284428" y="25821"/>
                  </a:lnTo>
                  <a:lnTo>
                    <a:pt x="227444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38" name="Forma livre: Forma 437">
              <a:extLst>
                <a:ext uri="{FF2B5EF4-FFF2-40B4-BE49-F238E27FC236}">
                  <a16:creationId xmlns:a16="http://schemas.microsoft.com/office/drawing/2014/main" id="{38F02312-DFE4-035F-2939-D8A8F7FB1028}"/>
                </a:ext>
              </a:extLst>
            </p:cNvPr>
            <p:cNvSpPr/>
            <p:nvPr/>
          </p:nvSpPr>
          <p:spPr>
            <a:xfrm>
              <a:off x="4640838" y="2337163"/>
              <a:ext cx="4899" cy="39687"/>
            </a:xfrm>
            <a:custGeom>
              <a:avLst/>
              <a:gdLst>
                <a:gd name="connsiteX0" fmla="*/ 0 w 4899"/>
                <a:gd name="connsiteY0" fmla="*/ 39688 h 39687"/>
                <a:gd name="connsiteX1" fmla="*/ 0 w 4899"/>
                <a:gd name="connsiteY1" fmla="*/ 0 h 396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899" h="39687">
                  <a:moveTo>
                    <a:pt x="0" y="39688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439" name="Gráfico 6">
            <a:extLst>
              <a:ext uri="{FF2B5EF4-FFF2-40B4-BE49-F238E27FC236}">
                <a16:creationId xmlns:a16="http://schemas.microsoft.com/office/drawing/2014/main" id="{0A4ED9D0-AA6C-5726-F88E-C5B2798F5285}"/>
              </a:ext>
            </a:extLst>
          </p:cNvPr>
          <p:cNvGrpSpPr/>
          <p:nvPr/>
        </p:nvGrpSpPr>
        <p:grpSpPr>
          <a:xfrm>
            <a:off x="4511192" y="3170063"/>
            <a:ext cx="259243" cy="317010"/>
            <a:chOff x="4511192" y="3170063"/>
            <a:chExt cx="259243" cy="317010"/>
          </a:xfrm>
          <a:noFill/>
        </p:grpSpPr>
        <p:sp>
          <p:nvSpPr>
            <p:cNvPr id="440" name="Forma livre: Forma 439">
              <a:extLst>
                <a:ext uri="{FF2B5EF4-FFF2-40B4-BE49-F238E27FC236}">
                  <a16:creationId xmlns:a16="http://schemas.microsoft.com/office/drawing/2014/main" id="{B77AD6F5-15A6-FCA6-97BA-E9694CBF7073}"/>
                </a:ext>
              </a:extLst>
            </p:cNvPr>
            <p:cNvSpPr/>
            <p:nvPr/>
          </p:nvSpPr>
          <p:spPr>
            <a:xfrm>
              <a:off x="4614184" y="3249732"/>
              <a:ext cx="156251" cy="237341"/>
            </a:xfrm>
            <a:custGeom>
              <a:avLst/>
              <a:gdLst>
                <a:gd name="connsiteX0" fmla="*/ 0 w 156251"/>
                <a:gd name="connsiteY0" fmla="*/ 237341 h 237341"/>
                <a:gd name="connsiteX1" fmla="*/ 0 w 156251"/>
                <a:gd name="connsiteY1" fmla="*/ 14699 h 237341"/>
                <a:gd name="connsiteX2" fmla="*/ 14699 w 156251"/>
                <a:gd name="connsiteY2" fmla="*/ 0 h 237341"/>
                <a:gd name="connsiteX3" fmla="*/ 141552 w 156251"/>
                <a:gd name="connsiteY3" fmla="*/ 0 h 237341"/>
                <a:gd name="connsiteX4" fmla="*/ 156251 w 156251"/>
                <a:gd name="connsiteY4" fmla="*/ 14699 h 237341"/>
                <a:gd name="connsiteX5" fmla="*/ 156251 w 156251"/>
                <a:gd name="connsiteY5" fmla="*/ 237341 h 2373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56251" h="237341">
                  <a:moveTo>
                    <a:pt x="0" y="237341"/>
                  </a:moveTo>
                  <a:lnTo>
                    <a:pt x="0" y="14699"/>
                  </a:lnTo>
                  <a:cubicBezTo>
                    <a:pt x="0" y="6615"/>
                    <a:pt x="6615" y="0"/>
                    <a:pt x="14699" y="0"/>
                  </a:cubicBezTo>
                  <a:lnTo>
                    <a:pt x="141552" y="0"/>
                  </a:lnTo>
                  <a:cubicBezTo>
                    <a:pt x="149637" y="0"/>
                    <a:pt x="156251" y="6615"/>
                    <a:pt x="156251" y="14699"/>
                  </a:cubicBezTo>
                  <a:lnTo>
                    <a:pt x="156251" y="237341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41" name="Forma livre: Forma 440">
              <a:extLst>
                <a:ext uri="{FF2B5EF4-FFF2-40B4-BE49-F238E27FC236}">
                  <a16:creationId xmlns:a16="http://schemas.microsoft.com/office/drawing/2014/main" id="{65BC2DC3-A249-E464-B70C-730F71C6EB20}"/>
                </a:ext>
              </a:extLst>
            </p:cNvPr>
            <p:cNvSpPr/>
            <p:nvPr/>
          </p:nvSpPr>
          <p:spPr>
            <a:xfrm>
              <a:off x="4511192" y="3363993"/>
              <a:ext cx="77954" cy="123080"/>
            </a:xfrm>
            <a:custGeom>
              <a:avLst/>
              <a:gdLst>
                <a:gd name="connsiteX0" fmla="*/ 0 w 77954"/>
                <a:gd name="connsiteY0" fmla="*/ 123080 h 123080"/>
                <a:gd name="connsiteX1" fmla="*/ 0 w 77954"/>
                <a:gd name="connsiteY1" fmla="*/ 14699 h 123080"/>
                <a:gd name="connsiteX2" fmla="*/ 14699 w 77954"/>
                <a:gd name="connsiteY2" fmla="*/ 0 h 123080"/>
                <a:gd name="connsiteX3" fmla="*/ 77954 w 77954"/>
                <a:gd name="connsiteY3" fmla="*/ 0 h 1230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7954" h="123080">
                  <a:moveTo>
                    <a:pt x="0" y="123080"/>
                  </a:moveTo>
                  <a:lnTo>
                    <a:pt x="0" y="14699"/>
                  </a:lnTo>
                  <a:cubicBezTo>
                    <a:pt x="0" y="6615"/>
                    <a:pt x="6615" y="0"/>
                    <a:pt x="14699" y="0"/>
                  </a:cubicBezTo>
                  <a:lnTo>
                    <a:pt x="77954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42" name="Forma livre: Forma 441">
              <a:extLst>
                <a:ext uri="{FF2B5EF4-FFF2-40B4-BE49-F238E27FC236}">
                  <a16:creationId xmlns:a16="http://schemas.microsoft.com/office/drawing/2014/main" id="{5947B037-BED0-99E4-6AC9-614DCF05EC00}"/>
                </a:ext>
              </a:extLst>
            </p:cNvPr>
            <p:cNvSpPr/>
            <p:nvPr/>
          </p:nvSpPr>
          <p:spPr>
            <a:xfrm>
              <a:off x="4663916" y="3170063"/>
              <a:ext cx="4899" cy="51152"/>
            </a:xfrm>
            <a:custGeom>
              <a:avLst/>
              <a:gdLst>
                <a:gd name="connsiteX0" fmla="*/ 0 w 4899"/>
                <a:gd name="connsiteY0" fmla="*/ 51153 h 51152"/>
                <a:gd name="connsiteX1" fmla="*/ 0 w 4899"/>
                <a:gd name="connsiteY1" fmla="*/ 0 h 511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899" h="51152">
                  <a:moveTo>
                    <a:pt x="0" y="51153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43" name="Forma livre: Forma 442">
              <a:extLst>
                <a:ext uri="{FF2B5EF4-FFF2-40B4-BE49-F238E27FC236}">
                  <a16:creationId xmlns:a16="http://schemas.microsoft.com/office/drawing/2014/main" id="{08671BE4-329A-8F58-32D7-C5DBD7C7FBAA}"/>
                </a:ext>
              </a:extLst>
            </p:cNvPr>
            <p:cNvSpPr/>
            <p:nvPr/>
          </p:nvSpPr>
          <p:spPr>
            <a:xfrm>
              <a:off x="4720752" y="3170063"/>
              <a:ext cx="4899" cy="51152"/>
            </a:xfrm>
            <a:custGeom>
              <a:avLst/>
              <a:gdLst>
                <a:gd name="connsiteX0" fmla="*/ 0 w 4899"/>
                <a:gd name="connsiteY0" fmla="*/ 51153 h 51152"/>
                <a:gd name="connsiteX1" fmla="*/ 0 w 4899"/>
                <a:gd name="connsiteY1" fmla="*/ 0 h 511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899" h="51152">
                  <a:moveTo>
                    <a:pt x="0" y="51153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44" name="Forma livre: Forma 443">
              <a:extLst>
                <a:ext uri="{FF2B5EF4-FFF2-40B4-BE49-F238E27FC236}">
                  <a16:creationId xmlns:a16="http://schemas.microsoft.com/office/drawing/2014/main" id="{1755A327-B4B3-55BD-B88D-69C6027E81C8}"/>
                </a:ext>
              </a:extLst>
            </p:cNvPr>
            <p:cNvSpPr/>
            <p:nvPr/>
          </p:nvSpPr>
          <p:spPr>
            <a:xfrm>
              <a:off x="4666414" y="3195639"/>
              <a:ext cx="51985" cy="4899"/>
            </a:xfrm>
            <a:custGeom>
              <a:avLst/>
              <a:gdLst>
                <a:gd name="connsiteX0" fmla="*/ 51986 w 51985"/>
                <a:gd name="connsiteY0" fmla="*/ 0 h 4899"/>
                <a:gd name="connsiteX1" fmla="*/ 0 w 51985"/>
                <a:gd name="connsiteY1" fmla="*/ 0 h 48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1985" h="4899">
                  <a:moveTo>
                    <a:pt x="51986" y="0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45" name="Forma livre: Forma 444">
              <a:extLst>
                <a:ext uri="{FF2B5EF4-FFF2-40B4-BE49-F238E27FC236}">
                  <a16:creationId xmlns:a16="http://schemas.microsoft.com/office/drawing/2014/main" id="{0C32D696-2771-1B6A-6816-72FBA6E8F396}"/>
                </a:ext>
              </a:extLst>
            </p:cNvPr>
            <p:cNvSpPr/>
            <p:nvPr/>
          </p:nvSpPr>
          <p:spPr>
            <a:xfrm>
              <a:off x="4643337" y="3287705"/>
              <a:ext cx="97944" cy="4899"/>
            </a:xfrm>
            <a:custGeom>
              <a:avLst/>
              <a:gdLst>
                <a:gd name="connsiteX0" fmla="*/ 0 w 97944"/>
                <a:gd name="connsiteY0" fmla="*/ 0 h 4899"/>
                <a:gd name="connsiteX1" fmla="*/ 97945 w 97944"/>
                <a:gd name="connsiteY1" fmla="*/ 0 h 48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7944" h="4899">
                  <a:moveTo>
                    <a:pt x="0" y="0"/>
                  </a:moveTo>
                  <a:lnTo>
                    <a:pt x="97945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46" name="Forma livre: Forma 445">
              <a:extLst>
                <a:ext uri="{FF2B5EF4-FFF2-40B4-BE49-F238E27FC236}">
                  <a16:creationId xmlns:a16="http://schemas.microsoft.com/office/drawing/2014/main" id="{449DEAC1-1972-97EB-AC3F-AE5FBCA5E82A}"/>
                </a:ext>
              </a:extLst>
            </p:cNvPr>
            <p:cNvSpPr/>
            <p:nvPr/>
          </p:nvSpPr>
          <p:spPr>
            <a:xfrm>
              <a:off x="4643337" y="3325677"/>
              <a:ext cx="97944" cy="4899"/>
            </a:xfrm>
            <a:custGeom>
              <a:avLst/>
              <a:gdLst>
                <a:gd name="connsiteX0" fmla="*/ 0 w 97944"/>
                <a:gd name="connsiteY0" fmla="*/ 0 h 4899"/>
                <a:gd name="connsiteX1" fmla="*/ 97945 w 97944"/>
                <a:gd name="connsiteY1" fmla="*/ 0 h 48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7944" h="4899">
                  <a:moveTo>
                    <a:pt x="0" y="0"/>
                  </a:moveTo>
                  <a:lnTo>
                    <a:pt x="97945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47" name="Forma livre: Forma 446">
              <a:extLst>
                <a:ext uri="{FF2B5EF4-FFF2-40B4-BE49-F238E27FC236}">
                  <a16:creationId xmlns:a16="http://schemas.microsoft.com/office/drawing/2014/main" id="{48C0853E-7F87-F349-905B-32254B1AE0E6}"/>
                </a:ext>
              </a:extLst>
            </p:cNvPr>
            <p:cNvSpPr/>
            <p:nvPr/>
          </p:nvSpPr>
          <p:spPr>
            <a:xfrm>
              <a:off x="4643337" y="3363601"/>
              <a:ext cx="97944" cy="4899"/>
            </a:xfrm>
            <a:custGeom>
              <a:avLst/>
              <a:gdLst>
                <a:gd name="connsiteX0" fmla="*/ 0 w 97944"/>
                <a:gd name="connsiteY0" fmla="*/ 0 h 4899"/>
                <a:gd name="connsiteX1" fmla="*/ 97945 w 97944"/>
                <a:gd name="connsiteY1" fmla="*/ 0 h 48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7944" h="4899">
                  <a:moveTo>
                    <a:pt x="0" y="0"/>
                  </a:moveTo>
                  <a:lnTo>
                    <a:pt x="97945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48" name="Forma livre: Forma 447">
              <a:extLst>
                <a:ext uri="{FF2B5EF4-FFF2-40B4-BE49-F238E27FC236}">
                  <a16:creationId xmlns:a16="http://schemas.microsoft.com/office/drawing/2014/main" id="{DE7AF653-1043-985C-5F2A-C79D5567DBEC}"/>
                </a:ext>
              </a:extLst>
            </p:cNvPr>
            <p:cNvSpPr/>
            <p:nvPr/>
          </p:nvSpPr>
          <p:spPr>
            <a:xfrm>
              <a:off x="4643337" y="3401525"/>
              <a:ext cx="97944" cy="4899"/>
            </a:xfrm>
            <a:custGeom>
              <a:avLst/>
              <a:gdLst>
                <a:gd name="connsiteX0" fmla="*/ 0 w 97944"/>
                <a:gd name="connsiteY0" fmla="*/ 0 h 4899"/>
                <a:gd name="connsiteX1" fmla="*/ 97945 w 97944"/>
                <a:gd name="connsiteY1" fmla="*/ 0 h 48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7944" h="4899">
                  <a:moveTo>
                    <a:pt x="0" y="0"/>
                  </a:moveTo>
                  <a:lnTo>
                    <a:pt x="97945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49" name="Forma livre: Forma 448">
              <a:extLst>
                <a:ext uri="{FF2B5EF4-FFF2-40B4-BE49-F238E27FC236}">
                  <a16:creationId xmlns:a16="http://schemas.microsoft.com/office/drawing/2014/main" id="{B597613B-5C5C-8627-4FFE-EB6AD68A82C2}"/>
                </a:ext>
              </a:extLst>
            </p:cNvPr>
            <p:cNvSpPr/>
            <p:nvPr/>
          </p:nvSpPr>
          <p:spPr>
            <a:xfrm>
              <a:off x="4643337" y="3439497"/>
              <a:ext cx="97944" cy="4899"/>
            </a:xfrm>
            <a:custGeom>
              <a:avLst/>
              <a:gdLst>
                <a:gd name="connsiteX0" fmla="*/ 0 w 97944"/>
                <a:gd name="connsiteY0" fmla="*/ 0 h 4899"/>
                <a:gd name="connsiteX1" fmla="*/ 97945 w 97944"/>
                <a:gd name="connsiteY1" fmla="*/ 0 h 48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7944" h="4899">
                  <a:moveTo>
                    <a:pt x="0" y="0"/>
                  </a:moveTo>
                  <a:lnTo>
                    <a:pt x="97945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50" name="Forma livre: Forma 449">
              <a:extLst>
                <a:ext uri="{FF2B5EF4-FFF2-40B4-BE49-F238E27FC236}">
                  <a16:creationId xmlns:a16="http://schemas.microsoft.com/office/drawing/2014/main" id="{27E226F1-3605-EF8D-CD40-086ED60D2C00}"/>
                </a:ext>
              </a:extLst>
            </p:cNvPr>
            <p:cNvSpPr/>
            <p:nvPr/>
          </p:nvSpPr>
          <p:spPr>
            <a:xfrm>
              <a:off x="4643337" y="3477421"/>
              <a:ext cx="97944" cy="4899"/>
            </a:xfrm>
            <a:custGeom>
              <a:avLst/>
              <a:gdLst>
                <a:gd name="connsiteX0" fmla="*/ 0 w 97944"/>
                <a:gd name="connsiteY0" fmla="*/ 0 h 4899"/>
                <a:gd name="connsiteX1" fmla="*/ 97945 w 97944"/>
                <a:gd name="connsiteY1" fmla="*/ 0 h 48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7944" h="4899">
                  <a:moveTo>
                    <a:pt x="0" y="0"/>
                  </a:moveTo>
                  <a:lnTo>
                    <a:pt x="97945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51" name="Forma livre: Forma 450">
              <a:extLst>
                <a:ext uri="{FF2B5EF4-FFF2-40B4-BE49-F238E27FC236}">
                  <a16:creationId xmlns:a16="http://schemas.microsoft.com/office/drawing/2014/main" id="{F103BE80-2FFB-3475-9BC1-511E76978A89}"/>
                </a:ext>
              </a:extLst>
            </p:cNvPr>
            <p:cNvSpPr/>
            <p:nvPr/>
          </p:nvSpPr>
          <p:spPr>
            <a:xfrm>
              <a:off x="4538189" y="3401525"/>
              <a:ext cx="50956" cy="4899"/>
            </a:xfrm>
            <a:custGeom>
              <a:avLst/>
              <a:gdLst>
                <a:gd name="connsiteX0" fmla="*/ 0 w 50956"/>
                <a:gd name="connsiteY0" fmla="*/ 0 h 4899"/>
                <a:gd name="connsiteX1" fmla="*/ 50957 w 50956"/>
                <a:gd name="connsiteY1" fmla="*/ 0 h 48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0956" h="4899">
                  <a:moveTo>
                    <a:pt x="0" y="0"/>
                  </a:moveTo>
                  <a:lnTo>
                    <a:pt x="50957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52" name="Forma livre: Forma 451">
              <a:extLst>
                <a:ext uri="{FF2B5EF4-FFF2-40B4-BE49-F238E27FC236}">
                  <a16:creationId xmlns:a16="http://schemas.microsoft.com/office/drawing/2014/main" id="{1D5974B1-C7D1-9920-BD27-37A4FEA661EB}"/>
                </a:ext>
              </a:extLst>
            </p:cNvPr>
            <p:cNvSpPr/>
            <p:nvPr/>
          </p:nvSpPr>
          <p:spPr>
            <a:xfrm>
              <a:off x="4538189" y="3439497"/>
              <a:ext cx="50956" cy="4899"/>
            </a:xfrm>
            <a:custGeom>
              <a:avLst/>
              <a:gdLst>
                <a:gd name="connsiteX0" fmla="*/ 0 w 50956"/>
                <a:gd name="connsiteY0" fmla="*/ 0 h 4899"/>
                <a:gd name="connsiteX1" fmla="*/ 50957 w 50956"/>
                <a:gd name="connsiteY1" fmla="*/ 0 h 48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0956" h="4899">
                  <a:moveTo>
                    <a:pt x="0" y="0"/>
                  </a:moveTo>
                  <a:lnTo>
                    <a:pt x="50957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53" name="Forma livre: Forma 452">
              <a:extLst>
                <a:ext uri="{FF2B5EF4-FFF2-40B4-BE49-F238E27FC236}">
                  <a16:creationId xmlns:a16="http://schemas.microsoft.com/office/drawing/2014/main" id="{B897C358-3D49-CB68-AAD7-C341B1B71924}"/>
                </a:ext>
              </a:extLst>
            </p:cNvPr>
            <p:cNvSpPr/>
            <p:nvPr/>
          </p:nvSpPr>
          <p:spPr>
            <a:xfrm>
              <a:off x="4538189" y="3477421"/>
              <a:ext cx="50956" cy="4899"/>
            </a:xfrm>
            <a:custGeom>
              <a:avLst/>
              <a:gdLst>
                <a:gd name="connsiteX0" fmla="*/ 0 w 50956"/>
                <a:gd name="connsiteY0" fmla="*/ 0 h 4899"/>
                <a:gd name="connsiteX1" fmla="*/ 50957 w 50956"/>
                <a:gd name="connsiteY1" fmla="*/ 0 h 48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0956" h="4899">
                  <a:moveTo>
                    <a:pt x="0" y="0"/>
                  </a:moveTo>
                  <a:lnTo>
                    <a:pt x="50957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454" name="Gráfico 6">
            <a:extLst>
              <a:ext uri="{FF2B5EF4-FFF2-40B4-BE49-F238E27FC236}">
                <a16:creationId xmlns:a16="http://schemas.microsoft.com/office/drawing/2014/main" id="{EE7AFC66-7FAB-16D6-8474-EA747AF9BE44}"/>
              </a:ext>
            </a:extLst>
          </p:cNvPr>
          <p:cNvGrpSpPr/>
          <p:nvPr/>
        </p:nvGrpSpPr>
        <p:grpSpPr>
          <a:xfrm>
            <a:off x="4520746" y="1007675"/>
            <a:ext cx="240134" cy="292221"/>
            <a:chOff x="4520746" y="1007675"/>
            <a:chExt cx="240134" cy="292221"/>
          </a:xfrm>
          <a:noFill/>
        </p:grpSpPr>
        <p:grpSp>
          <p:nvGrpSpPr>
            <p:cNvPr id="455" name="Gráfico 6">
              <a:extLst>
                <a:ext uri="{FF2B5EF4-FFF2-40B4-BE49-F238E27FC236}">
                  <a16:creationId xmlns:a16="http://schemas.microsoft.com/office/drawing/2014/main" id="{15C287BC-385B-0767-7E89-DBCBCB407696}"/>
                </a:ext>
              </a:extLst>
            </p:cNvPr>
            <p:cNvGrpSpPr/>
            <p:nvPr/>
          </p:nvGrpSpPr>
          <p:grpSpPr>
            <a:xfrm>
              <a:off x="4556245" y="1007675"/>
              <a:ext cx="169136" cy="153902"/>
              <a:chOff x="4556245" y="1007675"/>
              <a:chExt cx="169136" cy="153902"/>
            </a:xfrm>
            <a:noFill/>
          </p:grpSpPr>
          <p:sp>
            <p:nvSpPr>
              <p:cNvPr id="456" name="Forma livre: Forma 455">
                <a:extLst>
                  <a:ext uri="{FF2B5EF4-FFF2-40B4-BE49-F238E27FC236}">
                    <a16:creationId xmlns:a16="http://schemas.microsoft.com/office/drawing/2014/main" id="{C4F5C4DD-2A4A-5CBD-80CC-9C3124B3D432}"/>
                  </a:ext>
                </a:extLst>
              </p:cNvPr>
              <p:cNvSpPr/>
              <p:nvPr/>
            </p:nvSpPr>
            <p:spPr>
              <a:xfrm>
                <a:off x="4592233" y="1089749"/>
                <a:ext cx="97161" cy="71829"/>
              </a:xfrm>
              <a:custGeom>
                <a:avLst/>
                <a:gdLst>
                  <a:gd name="connsiteX0" fmla="*/ 0 w 97161"/>
                  <a:gd name="connsiteY0" fmla="*/ 980 h 71829"/>
                  <a:gd name="connsiteX1" fmla="*/ 48605 w 97161"/>
                  <a:gd name="connsiteY1" fmla="*/ 71830 h 71829"/>
                  <a:gd name="connsiteX2" fmla="*/ 97161 w 97161"/>
                  <a:gd name="connsiteY2" fmla="*/ 0 h 718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97161" h="71829">
                    <a:moveTo>
                      <a:pt x="0" y="980"/>
                    </a:moveTo>
                    <a:cubicBezTo>
                      <a:pt x="0" y="34592"/>
                      <a:pt x="22833" y="71830"/>
                      <a:pt x="48605" y="71830"/>
                    </a:cubicBezTo>
                    <a:cubicBezTo>
                      <a:pt x="74377" y="71830"/>
                      <a:pt x="97161" y="33612"/>
                      <a:pt x="97161" y="0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57" name="Forma livre: Forma 456">
                <a:extLst>
                  <a:ext uri="{FF2B5EF4-FFF2-40B4-BE49-F238E27FC236}">
                    <a16:creationId xmlns:a16="http://schemas.microsoft.com/office/drawing/2014/main" id="{D7438D7B-A242-6E67-C02E-241AFB4567D6}"/>
                  </a:ext>
                </a:extLst>
              </p:cNvPr>
              <p:cNvSpPr/>
              <p:nvPr/>
            </p:nvSpPr>
            <p:spPr>
              <a:xfrm>
                <a:off x="4584589" y="1045014"/>
                <a:ext cx="72711" cy="42313"/>
              </a:xfrm>
              <a:custGeom>
                <a:avLst/>
                <a:gdLst>
                  <a:gd name="connsiteX0" fmla="*/ 72712 w 72711"/>
                  <a:gd name="connsiteY0" fmla="*/ 0 h 42313"/>
                  <a:gd name="connsiteX1" fmla="*/ 0 w 72711"/>
                  <a:gd name="connsiteY1" fmla="*/ 41941 h 423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72711" h="42313">
                    <a:moveTo>
                      <a:pt x="72712" y="0"/>
                    </a:moveTo>
                    <a:cubicBezTo>
                      <a:pt x="72712" y="0"/>
                      <a:pt x="65166" y="46939"/>
                      <a:pt x="0" y="41941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58" name="Forma livre: Forma 457">
                <a:extLst>
                  <a:ext uri="{FF2B5EF4-FFF2-40B4-BE49-F238E27FC236}">
                    <a16:creationId xmlns:a16="http://schemas.microsoft.com/office/drawing/2014/main" id="{17EA2B9B-B31C-4BF9-FED8-7F1F944486DF}"/>
                  </a:ext>
                </a:extLst>
              </p:cNvPr>
              <p:cNvSpPr/>
              <p:nvPr/>
            </p:nvSpPr>
            <p:spPr>
              <a:xfrm>
                <a:off x="4653087" y="1057901"/>
                <a:ext cx="43460" cy="29055"/>
              </a:xfrm>
              <a:custGeom>
                <a:avLst/>
                <a:gdLst>
                  <a:gd name="connsiteX0" fmla="*/ 0 w 43460"/>
                  <a:gd name="connsiteY0" fmla="*/ 0 h 29055"/>
                  <a:gd name="connsiteX1" fmla="*/ 43460 w 43460"/>
                  <a:gd name="connsiteY1" fmla="*/ 29055 h 290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3460" h="29055">
                    <a:moveTo>
                      <a:pt x="0" y="0"/>
                    </a:moveTo>
                    <a:cubicBezTo>
                      <a:pt x="0" y="0"/>
                      <a:pt x="15875" y="27830"/>
                      <a:pt x="43460" y="29055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59" name="Forma livre: Forma 458">
                <a:extLst>
                  <a:ext uri="{FF2B5EF4-FFF2-40B4-BE49-F238E27FC236}">
                    <a16:creationId xmlns:a16="http://schemas.microsoft.com/office/drawing/2014/main" id="{26CDB6CB-841C-1E18-0245-9FBC73DBFFD0}"/>
                  </a:ext>
                </a:extLst>
              </p:cNvPr>
              <p:cNvSpPr/>
              <p:nvPr/>
            </p:nvSpPr>
            <p:spPr>
              <a:xfrm>
                <a:off x="4556245" y="1007675"/>
                <a:ext cx="169136" cy="133520"/>
              </a:xfrm>
              <a:custGeom>
                <a:avLst/>
                <a:gdLst>
                  <a:gd name="connsiteX0" fmla="*/ 14086 w 169136"/>
                  <a:gd name="connsiteY0" fmla="*/ 133520 h 133520"/>
                  <a:gd name="connsiteX1" fmla="*/ 857 w 169136"/>
                  <a:gd name="connsiteY1" fmla="*/ 80946 h 133520"/>
                  <a:gd name="connsiteX2" fmla="*/ 83711 w 169136"/>
                  <a:gd name="connsiteY2" fmla="*/ 3 h 133520"/>
                  <a:gd name="connsiteX3" fmla="*/ 85426 w 169136"/>
                  <a:gd name="connsiteY3" fmla="*/ 3 h 133520"/>
                  <a:gd name="connsiteX4" fmla="*/ 168280 w 169136"/>
                  <a:gd name="connsiteY4" fmla="*/ 80946 h 133520"/>
                  <a:gd name="connsiteX5" fmla="*/ 155050 w 169136"/>
                  <a:gd name="connsiteY5" fmla="*/ 133520 h 1335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69136" h="133520">
                    <a:moveTo>
                      <a:pt x="14086" y="133520"/>
                    </a:moveTo>
                    <a:cubicBezTo>
                      <a:pt x="4924" y="104122"/>
                      <a:pt x="3748" y="94763"/>
                      <a:pt x="857" y="80946"/>
                    </a:cubicBezTo>
                    <a:cubicBezTo>
                      <a:pt x="-9873" y="-1810"/>
                      <a:pt x="83711" y="3"/>
                      <a:pt x="83711" y="3"/>
                    </a:cubicBezTo>
                    <a:lnTo>
                      <a:pt x="85426" y="3"/>
                    </a:lnTo>
                    <a:cubicBezTo>
                      <a:pt x="85426" y="3"/>
                      <a:pt x="179010" y="-1810"/>
                      <a:pt x="168280" y="80946"/>
                    </a:cubicBezTo>
                    <a:cubicBezTo>
                      <a:pt x="165340" y="94763"/>
                      <a:pt x="164213" y="104122"/>
                      <a:pt x="155050" y="133520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460" name="Gráfico 6">
              <a:extLst>
                <a:ext uri="{FF2B5EF4-FFF2-40B4-BE49-F238E27FC236}">
                  <a16:creationId xmlns:a16="http://schemas.microsoft.com/office/drawing/2014/main" id="{8758E125-9B32-F8D0-FF06-5FE82EDD12A0}"/>
                </a:ext>
              </a:extLst>
            </p:cNvPr>
            <p:cNvGrpSpPr/>
            <p:nvPr/>
          </p:nvGrpSpPr>
          <p:grpSpPr>
            <a:xfrm>
              <a:off x="4520746" y="1175444"/>
              <a:ext cx="240134" cy="124452"/>
              <a:chOff x="4520746" y="1175444"/>
              <a:chExt cx="240134" cy="124452"/>
            </a:xfrm>
            <a:noFill/>
          </p:grpSpPr>
          <p:grpSp>
            <p:nvGrpSpPr>
              <p:cNvPr id="461" name="Gráfico 6">
                <a:extLst>
                  <a:ext uri="{FF2B5EF4-FFF2-40B4-BE49-F238E27FC236}">
                    <a16:creationId xmlns:a16="http://schemas.microsoft.com/office/drawing/2014/main" id="{92060DFC-7434-66A5-5F73-D2759A03F7F3}"/>
                  </a:ext>
                </a:extLst>
              </p:cNvPr>
              <p:cNvGrpSpPr/>
              <p:nvPr/>
            </p:nvGrpSpPr>
            <p:grpSpPr>
              <a:xfrm>
                <a:off x="4520746" y="1175444"/>
                <a:ext cx="119993" cy="124452"/>
                <a:chOff x="4520746" y="1175444"/>
                <a:chExt cx="119993" cy="124452"/>
              </a:xfrm>
              <a:noFill/>
            </p:grpSpPr>
            <p:sp>
              <p:nvSpPr>
                <p:cNvPr id="462" name="Forma livre: Forma 461">
                  <a:extLst>
                    <a:ext uri="{FF2B5EF4-FFF2-40B4-BE49-F238E27FC236}">
                      <a16:creationId xmlns:a16="http://schemas.microsoft.com/office/drawing/2014/main" id="{5BF5D409-EFB1-C165-E257-F09BABAE3D91}"/>
                    </a:ext>
                  </a:extLst>
                </p:cNvPr>
                <p:cNvSpPr/>
                <p:nvPr/>
              </p:nvSpPr>
              <p:spPr>
                <a:xfrm>
                  <a:off x="4520746" y="1175444"/>
                  <a:ext cx="69771" cy="124452"/>
                </a:xfrm>
                <a:custGeom>
                  <a:avLst/>
                  <a:gdLst>
                    <a:gd name="connsiteX0" fmla="*/ 69772 w 69771"/>
                    <a:gd name="connsiteY0" fmla="*/ 0 h 124452"/>
                    <a:gd name="connsiteX1" fmla="*/ 44391 w 69771"/>
                    <a:gd name="connsiteY1" fmla="*/ 8476 h 124452"/>
                    <a:gd name="connsiteX2" fmla="*/ 0 w 69771"/>
                    <a:gd name="connsiteY2" fmla="*/ 56200 h 124452"/>
                    <a:gd name="connsiteX3" fmla="*/ 0 w 69771"/>
                    <a:gd name="connsiteY3" fmla="*/ 124452 h 12445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69771" h="124452">
                      <a:moveTo>
                        <a:pt x="69772" y="0"/>
                      </a:moveTo>
                      <a:lnTo>
                        <a:pt x="44391" y="8476"/>
                      </a:lnTo>
                      <a:cubicBezTo>
                        <a:pt x="44391" y="8476"/>
                        <a:pt x="0" y="19599"/>
                        <a:pt x="0" y="56200"/>
                      </a:cubicBezTo>
                      <a:lnTo>
                        <a:pt x="0" y="124452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463" name="Forma livre: Forma 462">
                  <a:extLst>
                    <a:ext uri="{FF2B5EF4-FFF2-40B4-BE49-F238E27FC236}">
                      <a16:creationId xmlns:a16="http://schemas.microsoft.com/office/drawing/2014/main" id="{0E37EF8F-DD06-17A4-41C9-1DE077FA3FCF}"/>
                    </a:ext>
                  </a:extLst>
                </p:cNvPr>
                <p:cNvSpPr/>
                <p:nvPr/>
              </p:nvSpPr>
              <p:spPr>
                <a:xfrm>
                  <a:off x="4572781" y="1175444"/>
                  <a:ext cx="48017" cy="53063"/>
                </a:xfrm>
                <a:custGeom>
                  <a:avLst/>
                  <a:gdLst>
                    <a:gd name="connsiteX0" fmla="*/ 48017 w 48017"/>
                    <a:gd name="connsiteY0" fmla="*/ 25576 h 53063"/>
                    <a:gd name="connsiteX1" fmla="*/ 0 w 48017"/>
                    <a:gd name="connsiteY1" fmla="*/ 53064 h 53063"/>
                    <a:gd name="connsiteX2" fmla="*/ 17688 w 48017"/>
                    <a:gd name="connsiteY2" fmla="*/ 0 h 5306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48017" h="53063">
                      <a:moveTo>
                        <a:pt x="48017" y="25576"/>
                      </a:moveTo>
                      <a:lnTo>
                        <a:pt x="0" y="53064"/>
                      </a:lnTo>
                      <a:lnTo>
                        <a:pt x="17688" y="0"/>
                      </a:ln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464" name="Forma livre: Forma 463">
                  <a:extLst>
                    <a:ext uri="{FF2B5EF4-FFF2-40B4-BE49-F238E27FC236}">
                      <a16:creationId xmlns:a16="http://schemas.microsoft.com/office/drawing/2014/main" id="{1ED22276-AFEE-6A7C-23DF-1873D2F0A517}"/>
                    </a:ext>
                  </a:extLst>
                </p:cNvPr>
                <p:cNvSpPr/>
                <p:nvPr/>
              </p:nvSpPr>
              <p:spPr>
                <a:xfrm>
                  <a:off x="4602963" y="1212486"/>
                  <a:ext cx="37776" cy="75112"/>
                </a:xfrm>
                <a:custGeom>
                  <a:avLst/>
                  <a:gdLst>
                    <a:gd name="connsiteX0" fmla="*/ 0 w 37776"/>
                    <a:gd name="connsiteY0" fmla="*/ 0 h 75112"/>
                    <a:gd name="connsiteX1" fmla="*/ 37777 w 37776"/>
                    <a:gd name="connsiteY1" fmla="*/ 75112 h 7511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37776" h="75112">
                      <a:moveTo>
                        <a:pt x="0" y="0"/>
                      </a:moveTo>
                      <a:lnTo>
                        <a:pt x="37777" y="75112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465" name="Gráfico 6">
                <a:extLst>
                  <a:ext uri="{FF2B5EF4-FFF2-40B4-BE49-F238E27FC236}">
                    <a16:creationId xmlns:a16="http://schemas.microsoft.com/office/drawing/2014/main" id="{BC7F6D8E-8A03-4C4B-4D98-142E3FF0847B}"/>
                  </a:ext>
                </a:extLst>
              </p:cNvPr>
              <p:cNvGrpSpPr/>
              <p:nvPr/>
            </p:nvGrpSpPr>
            <p:grpSpPr>
              <a:xfrm>
                <a:off x="4640887" y="1175444"/>
                <a:ext cx="119993" cy="124452"/>
                <a:chOff x="4640887" y="1175444"/>
                <a:chExt cx="119993" cy="124452"/>
              </a:xfrm>
              <a:noFill/>
            </p:grpSpPr>
            <p:sp>
              <p:nvSpPr>
                <p:cNvPr id="466" name="Forma livre: Forma 465">
                  <a:extLst>
                    <a:ext uri="{FF2B5EF4-FFF2-40B4-BE49-F238E27FC236}">
                      <a16:creationId xmlns:a16="http://schemas.microsoft.com/office/drawing/2014/main" id="{F203B404-1EE7-92C0-9186-F817337651F7}"/>
                    </a:ext>
                  </a:extLst>
                </p:cNvPr>
                <p:cNvSpPr/>
                <p:nvPr/>
              </p:nvSpPr>
              <p:spPr>
                <a:xfrm>
                  <a:off x="4691109" y="1175444"/>
                  <a:ext cx="69771" cy="124452"/>
                </a:xfrm>
                <a:custGeom>
                  <a:avLst/>
                  <a:gdLst>
                    <a:gd name="connsiteX0" fmla="*/ 0 w 69771"/>
                    <a:gd name="connsiteY0" fmla="*/ 0 h 124452"/>
                    <a:gd name="connsiteX1" fmla="*/ 25380 w 69771"/>
                    <a:gd name="connsiteY1" fmla="*/ 8476 h 124452"/>
                    <a:gd name="connsiteX2" fmla="*/ 69772 w 69771"/>
                    <a:gd name="connsiteY2" fmla="*/ 56200 h 124452"/>
                    <a:gd name="connsiteX3" fmla="*/ 69772 w 69771"/>
                    <a:gd name="connsiteY3" fmla="*/ 124452 h 12445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69771" h="124452">
                      <a:moveTo>
                        <a:pt x="0" y="0"/>
                      </a:moveTo>
                      <a:lnTo>
                        <a:pt x="25380" y="8476"/>
                      </a:lnTo>
                      <a:cubicBezTo>
                        <a:pt x="25380" y="8476"/>
                        <a:pt x="69772" y="19599"/>
                        <a:pt x="69772" y="56200"/>
                      </a:cubicBezTo>
                      <a:lnTo>
                        <a:pt x="69772" y="124452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467" name="Forma livre: Forma 466">
                  <a:extLst>
                    <a:ext uri="{FF2B5EF4-FFF2-40B4-BE49-F238E27FC236}">
                      <a16:creationId xmlns:a16="http://schemas.microsoft.com/office/drawing/2014/main" id="{D07B24B9-697B-86AC-301B-C212F98EA692}"/>
                    </a:ext>
                  </a:extLst>
                </p:cNvPr>
                <p:cNvSpPr/>
                <p:nvPr/>
              </p:nvSpPr>
              <p:spPr>
                <a:xfrm>
                  <a:off x="4660829" y="1175444"/>
                  <a:ext cx="48017" cy="53063"/>
                </a:xfrm>
                <a:custGeom>
                  <a:avLst/>
                  <a:gdLst>
                    <a:gd name="connsiteX0" fmla="*/ 0 w 48017"/>
                    <a:gd name="connsiteY0" fmla="*/ 25576 h 53063"/>
                    <a:gd name="connsiteX1" fmla="*/ 48017 w 48017"/>
                    <a:gd name="connsiteY1" fmla="*/ 53064 h 53063"/>
                    <a:gd name="connsiteX2" fmla="*/ 30378 w 48017"/>
                    <a:gd name="connsiteY2" fmla="*/ 0 h 5306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48017" h="53063">
                      <a:moveTo>
                        <a:pt x="0" y="25576"/>
                      </a:moveTo>
                      <a:lnTo>
                        <a:pt x="48017" y="53064"/>
                      </a:lnTo>
                      <a:lnTo>
                        <a:pt x="30378" y="0"/>
                      </a:ln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468" name="Forma livre: Forma 467">
                  <a:extLst>
                    <a:ext uri="{FF2B5EF4-FFF2-40B4-BE49-F238E27FC236}">
                      <a16:creationId xmlns:a16="http://schemas.microsoft.com/office/drawing/2014/main" id="{93C1CCF8-B64F-D731-DA17-5786D7F0DB8E}"/>
                    </a:ext>
                  </a:extLst>
                </p:cNvPr>
                <p:cNvSpPr/>
                <p:nvPr/>
              </p:nvSpPr>
              <p:spPr>
                <a:xfrm>
                  <a:off x="4640887" y="1212486"/>
                  <a:ext cx="37776" cy="75112"/>
                </a:xfrm>
                <a:custGeom>
                  <a:avLst/>
                  <a:gdLst>
                    <a:gd name="connsiteX0" fmla="*/ 37777 w 37776"/>
                    <a:gd name="connsiteY0" fmla="*/ 0 h 75112"/>
                    <a:gd name="connsiteX1" fmla="*/ 0 w 37776"/>
                    <a:gd name="connsiteY1" fmla="*/ 75112 h 7511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37776" h="75112">
                      <a:moveTo>
                        <a:pt x="37777" y="0"/>
                      </a:moveTo>
                      <a:lnTo>
                        <a:pt x="0" y="75112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</p:grpSp>
      <p:grpSp>
        <p:nvGrpSpPr>
          <p:cNvPr id="469" name="Gráfico 6">
            <a:extLst>
              <a:ext uri="{FF2B5EF4-FFF2-40B4-BE49-F238E27FC236}">
                <a16:creationId xmlns:a16="http://schemas.microsoft.com/office/drawing/2014/main" id="{959D9BA4-F1A0-06B9-62E2-D900216D201B}"/>
              </a:ext>
            </a:extLst>
          </p:cNvPr>
          <p:cNvGrpSpPr/>
          <p:nvPr/>
        </p:nvGrpSpPr>
        <p:grpSpPr>
          <a:xfrm>
            <a:off x="5163293" y="1558797"/>
            <a:ext cx="231069" cy="266641"/>
            <a:chOff x="5163293" y="1558797"/>
            <a:chExt cx="231069" cy="266641"/>
          </a:xfrm>
        </p:grpSpPr>
        <p:sp>
          <p:nvSpPr>
            <p:cNvPr id="470" name="Forma livre: Forma 469">
              <a:extLst>
                <a:ext uri="{FF2B5EF4-FFF2-40B4-BE49-F238E27FC236}">
                  <a16:creationId xmlns:a16="http://schemas.microsoft.com/office/drawing/2014/main" id="{B3B9AD9E-A866-8C50-C0C2-74D675E16314}"/>
                </a:ext>
              </a:extLst>
            </p:cNvPr>
            <p:cNvSpPr/>
            <p:nvPr/>
          </p:nvSpPr>
          <p:spPr>
            <a:xfrm>
              <a:off x="5172455" y="1617103"/>
              <a:ext cx="190304" cy="68987"/>
            </a:xfrm>
            <a:custGeom>
              <a:avLst/>
              <a:gdLst>
                <a:gd name="connsiteX0" fmla="*/ 95152 w 190304"/>
                <a:gd name="connsiteY0" fmla="*/ 0 h 68987"/>
                <a:gd name="connsiteX1" fmla="*/ 0 w 190304"/>
                <a:gd name="connsiteY1" fmla="*/ 68988 h 68987"/>
                <a:gd name="connsiteX2" fmla="*/ 190304 w 190304"/>
                <a:gd name="connsiteY2" fmla="*/ 68988 h 68987"/>
                <a:gd name="connsiteX3" fmla="*/ 95152 w 190304"/>
                <a:gd name="connsiteY3" fmla="*/ 0 h 689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0304" h="68987">
                  <a:moveTo>
                    <a:pt x="95152" y="0"/>
                  </a:moveTo>
                  <a:cubicBezTo>
                    <a:pt x="42578" y="0"/>
                    <a:pt x="0" y="30868"/>
                    <a:pt x="0" y="68988"/>
                  </a:cubicBezTo>
                  <a:lnTo>
                    <a:pt x="190304" y="68988"/>
                  </a:lnTo>
                  <a:cubicBezTo>
                    <a:pt x="190304" y="30868"/>
                    <a:pt x="147726" y="0"/>
                    <a:pt x="95152" y="0"/>
                  </a:cubicBez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71" name="Forma livre: Forma 470">
              <a:extLst>
                <a:ext uri="{FF2B5EF4-FFF2-40B4-BE49-F238E27FC236}">
                  <a16:creationId xmlns:a16="http://schemas.microsoft.com/office/drawing/2014/main" id="{4CA1D49B-C3A4-0937-A3C2-8E81CA5EAC2E}"/>
                </a:ext>
              </a:extLst>
            </p:cNvPr>
            <p:cNvSpPr/>
            <p:nvPr/>
          </p:nvSpPr>
          <p:spPr>
            <a:xfrm>
              <a:off x="5163293" y="1714019"/>
              <a:ext cx="208580" cy="4899"/>
            </a:xfrm>
            <a:custGeom>
              <a:avLst/>
              <a:gdLst>
                <a:gd name="connsiteX0" fmla="*/ 0 w 208580"/>
                <a:gd name="connsiteY0" fmla="*/ 0 h 4899"/>
                <a:gd name="connsiteX1" fmla="*/ 208580 w 208580"/>
                <a:gd name="connsiteY1" fmla="*/ 0 h 48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08580" h="4899">
                  <a:moveTo>
                    <a:pt x="0" y="0"/>
                  </a:moveTo>
                  <a:lnTo>
                    <a:pt x="20858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72" name="Forma livre: Forma 471">
              <a:extLst>
                <a:ext uri="{FF2B5EF4-FFF2-40B4-BE49-F238E27FC236}">
                  <a16:creationId xmlns:a16="http://schemas.microsoft.com/office/drawing/2014/main" id="{E2805464-5FA6-3C3C-B1F3-C6D8E74882AE}"/>
                </a:ext>
              </a:extLst>
            </p:cNvPr>
            <p:cNvSpPr/>
            <p:nvPr/>
          </p:nvSpPr>
          <p:spPr>
            <a:xfrm>
              <a:off x="5267460" y="1558797"/>
              <a:ext cx="126902" cy="57375"/>
            </a:xfrm>
            <a:custGeom>
              <a:avLst/>
              <a:gdLst>
                <a:gd name="connsiteX0" fmla="*/ 126902 w 126902"/>
                <a:gd name="connsiteY0" fmla="*/ 0 h 57375"/>
                <a:gd name="connsiteX1" fmla="*/ 27291 w 126902"/>
                <a:gd name="connsiteY1" fmla="*/ 0 h 57375"/>
                <a:gd name="connsiteX2" fmla="*/ 0 w 126902"/>
                <a:gd name="connsiteY2" fmla="*/ 27291 h 57375"/>
                <a:gd name="connsiteX3" fmla="*/ 0 w 126902"/>
                <a:gd name="connsiteY3" fmla="*/ 57375 h 573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6902" h="57375">
                  <a:moveTo>
                    <a:pt x="126902" y="0"/>
                  </a:moveTo>
                  <a:lnTo>
                    <a:pt x="27291" y="0"/>
                  </a:lnTo>
                  <a:cubicBezTo>
                    <a:pt x="12298" y="0"/>
                    <a:pt x="0" y="12298"/>
                    <a:pt x="0" y="27291"/>
                  </a:cubicBezTo>
                  <a:lnTo>
                    <a:pt x="0" y="57375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473" name="Gráfico 6">
              <a:extLst>
                <a:ext uri="{FF2B5EF4-FFF2-40B4-BE49-F238E27FC236}">
                  <a16:creationId xmlns:a16="http://schemas.microsoft.com/office/drawing/2014/main" id="{A66BA341-87B6-8D87-0C12-ABD4B0F19B6D}"/>
                </a:ext>
              </a:extLst>
            </p:cNvPr>
            <p:cNvGrpSpPr/>
            <p:nvPr/>
          </p:nvGrpSpPr>
          <p:grpSpPr>
            <a:xfrm>
              <a:off x="5198032" y="1749542"/>
              <a:ext cx="139102" cy="7643"/>
              <a:chOff x="5198032" y="1749542"/>
              <a:chExt cx="139102" cy="7643"/>
            </a:xfrm>
            <a:solidFill>
              <a:srgbClr val="394553"/>
            </a:solidFill>
          </p:grpSpPr>
          <p:sp>
            <p:nvSpPr>
              <p:cNvPr id="474" name="Forma livre: Forma 473">
                <a:extLst>
                  <a:ext uri="{FF2B5EF4-FFF2-40B4-BE49-F238E27FC236}">
                    <a16:creationId xmlns:a16="http://schemas.microsoft.com/office/drawing/2014/main" id="{FBE939AF-B3B5-499B-6BA8-9C8BFFFF36C7}"/>
                  </a:ext>
                </a:extLst>
              </p:cNvPr>
              <p:cNvSpPr/>
              <p:nvPr/>
            </p:nvSpPr>
            <p:spPr>
              <a:xfrm>
                <a:off x="5198032" y="1749542"/>
                <a:ext cx="7643" cy="7643"/>
              </a:xfrm>
              <a:custGeom>
                <a:avLst/>
                <a:gdLst>
                  <a:gd name="connsiteX0" fmla="*/ 7644 w 7643"/>
                  <a:gd name="connsiteY0" fmla="*/ 3822 h 7643"/>
                  <a:gd name="connsiteX1" fmla="*/ 3822 w 7643"/>
                  <a:gd name="connsiteY1" fmla="*/ 7644 h 7643"/>
                  <a:gd name="connsiteX2" fmla="*/ 0 w 7643"/>
                  <a:gd name="connsiteY2" fmla="*/ 3822 h 7643"/>
                  <a:gd name="connsiteX3" fmla="*/ 3822 w 7643"/>
                  <a:gd name="connsiteY3" fmla="*/ 0 h 7643"/>
                  <a:gd name="connsiteX4" fmla="*/ 7644 w 7643"/>
                  <a:gd name="connsiteY4" fmla="*/ 3822 h 76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643" h="7643">
                    <a:moveTo>
                      <a:pt x="7644" y="3822"/>
                    </a:moveTo>
                    <a:cubicBezTo>
                      <a:pt x="7644" y="5929"/>
                      <a:pt x="5929" y="7644"/>
                      <a:pt x="3822" y="7644"/>
                    </a:cubicBezTo>
                    <a:cubicBezTo>
                      <a:pt x="1715" y="7644"/>
                      <a:pt x="0" y="5929"/>
                      <a:pt x="0" y="3822"/>
                    </a:cubicBezTo>
                    <a:cubicBezTo>
                      <a:pt x="0" y="1715"/>
                      <a:pt x="1715" y="0"/>
                      <a:pt x="3822" y="0"/>
                    </a:cubicBezTo>
                    <a:cubicBezTo>
                      <a:pt x="5929" y="0"/>
                      <a:pt x="7644" y="1715"/>
                      <a:pt x="7644" y="3822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75" name="Forma livre: Forma 474">
                <a:extLst>
                  <a:ext uri="{FF2B5EF4-FFF2-40B4-BE49-F238E27FC236}">
                    <a16:creationId xmlns:a16="http://schemas.microsoft.com/office/drawing/2014/main" id="{8AB53CCB-2659-9977-AD04-83C8D5F950FA}"/>
                  </a:ext>
                </a:extLst>
              </p:cNvPr>
              <p:cNvSpPr/>
              <p:nvPr/>
            </p:nvSpPr>
            <p:spPr>
              <a:xfrm>
                <a:off x="5241835" y="1749542"/>
                <a:ext cx="7643" cy="7643"/>
              </a:xfrm>
              <a:custGeom>
                <a:avLst/>
                <a:gdLst>
                  <a:gd name="connsiteX0" fmla="*/ 7644 w 7643"/>
                  <a:gd name="connsiteY0" fmla="*/ 3822 h 7643"/>
                  <a:gd name="connsiteX1" fmla="*/ 3822 w 7643"/>
                  <a:gd name="connsiteY1" fmla="*/ 7644 h 7643"/>
                  <a:gd name="connsiteX2" fmla="*/ 0 w 7643"/>
                  <a:gd name="connsiteY2" fmla="*/ 3822 h 7643"/>
                  <a:gd name="connsiteX3" fmla="*/ 3822 w 7643"/>
                  <a:gd name="connsiteY3" fmla="*/ 0 h 7643"/>
                  <a:gd name="connsiteX4" fmla="*/ 7644 w 7643"/>
                  <a:gd name="connsiteY4" fmla="*/ 3822 h 76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643" h="7643">
                    <a:moveTo>
                      <a:pt x="7644" y="3822"/>
                    </a:moveTo>
                    <a:cubicBezTo>
                      <a:pt x="7644" y="5929"/>
                      <a:pt x="5929" y="7644"/>
                      <a:pt x="3822" y="7644"/>
                    </a:cubicBezTo>
                    <a:cubicBezTo>
                      <a:pt x="1715" y="7644"/>
                      <a:pt x="0" y="5929"/>
                      <a:pt x="0" y="3822"/>
                    </a:cubicBezTo>
                    <a:cubicBezTo>
                      <a:pt x="0" y="1715"/>
                      <a:pt x="1715" y="0"/>
                      <a:pt x="3822" y="0"/>
                    </a:cubicBezTo>
                    <a:cubicBezTo>
                      <a:pt x="5929" y="0"/>
                      <a:pt x="7644" y="1715"/>
                      <a:pt x="7644" y="3822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76" name="Forma livre: Forma 475">
                <a:extLst>
                  <a:ext uri="{FF2B5EF4-FFF2-40B4-BE49-F238E27FC236}">
                    <a16:creationId xmlns:a16="http://schemas.microsoft.com/office/drawing/2014/main" id="{5173034E-9775-7A18-B514-7B54D41714E2}"/>
                  </a:ext>
                </a:extLst>
              </p:cNvPr>
              <p:cNvSpPr/>
              <p:nvPr/>
            </p:nvSpPr>
            <p:spPr>
              <a:xfrm>
                <a:off x="5285687" y="1749542"/>
                <a:ext cx="7643" cy="7643"/>
              </a:xfrm>
              <a:custGeom>
                <a:avLst/>
                <a:gdLst>
                  <a:gd name="connsiteX0" fmla="*/ 7644 w 7643"/>
                  <a:gd name="connsiteY0" fmla="*/ 3822 h 7643"/>
                  <a:gd name="connsiteX1" fmla="*/ 3822 w 7643"/>
                  <a:gd name="connsiteY1" fmla="*/ 7644 h 7643"/>
                  <a:gd name="connsiteX2" fmla="*/ 0 w 7643"/>
                  <a:gd name="connsiteY2" fmla="*/ 3822 h 7643"/>
                  <a:gd name="connsiteX3" fmla="*/ 3822 w 7643"/>
                  <a:gd name="connsiteY3" fmla="*/ 0 h 7643"/>
                  <a:gd name="connsiteX4" fmla="*/ 7644 w 7643"/>
                  <a:gd name="connsiteY4" fmla="*/ 3822 h 76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643" h="7643">
                    <a:moveTo>
                      <a:pt x="7644" y="3822"/>
                    </a:moveTo>
                    <a:cubicBezTo>
                      <a:pt x="7644" y="5929"/>
                      <a:pt x="5929" y="7644"/>
                      <a:pt x="3822" y="7644"/>
                    </a:cubicBezTo>
                    <a:cubicBezTo>
                      <a:pt x="1715" y="7644"/>
                      <a:pt x="0" y="5929"/>
                      <a:pt x="0" y="3822"/>
                    </a:cubicBezTo>
                    <a:cubicBezTo>
                      <a:pt x="0" y="1715"/>
                      <a:pt x="1715" y="0"/>
                      <a:pt x="3822" y="0"/>
                    </a:cubicBezTo>
                    <a:cubicBezTo>
                      <a:pt x="5929" y="0"/>
                      <a:pt x="7644" y="1715"/>
                      <a:pt x="7644" y="3822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77" name="Forma livre: Forma 476">
                <a:extLst>
                  <a:ext uri="{FF2B5EF4-FFF2-40B4-BE49-F238E27FC236}">
                    <a16:creationId xmlns:a16="http://schemas.microsoft.com/office/drawing/2014/main" id="{31E33FF5-77FE-C448-19F2-D94548AB9B51}"/>
                  </a:ext>
                </a:extLst>
              </p:cNvPr>
              <p:cNvSpPr/>
              <p:nvPr/>
            </p:nvSpPr>
            <p:spPr>
              <a:xfrm>
                <a:off x="5329491" y="1749542"/>
                <a:ext cx="7643" cy="7643"/>
              </a:xfrm>
              <a:custGeom>
                <a:avLst/>
                <a:gdLst>
                  <a:gd name="connsiteX0" fmla="*/ 7644 w 7643"/>
                  <a:gd name="connsiteY0" fmla="*/ 3822 h 7643"/>
                  <a:gd name="connsiteX1" fmla="*/ 3822 w 7643"/>
                  <a:gd name="connsiteY1" fmla="*/ 7644 h 7643"/>
                  <a:gd name="connsiteX2" fmla="*/ 0 w 7643"/>
                  <a:gd name="connsiteY2" fmla="*/ 3822 h 7643"/>
                  <a:gd name="connsiteX3" fmla="*/ 3822 w 7643"/>
                  <a:gd name="connsiteY3" fmla="*/ 0 h 7643"/>
                  <a:gd name="connsiteX4" fmla="*/ 7644 w 7643"/>
                  <a:gd name="connsiteY4" fmla="*/ 3822 h 76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643" h="7643">
                    <a:moveTo>
                      <a:pt x="7644" y="3822"/>
                    </a:moveTo>
                    <a:cubicBezTo>
                      <a:pt x="7644" y="5929"/>
                      <a:pt x="5929" y="7644"/>
                      <a:pt x="3822" y="7644"/>
                    </a:cubicBezTo>
                    <a:cubicBezTo>
                      <a:pt x="1715" y="7644"/>
                      <a:pt x="0" y="5929"/>
                      <a:pt x="0" y="3822"/>
                    </a:cubicBezTo>
                    <a:cubicBezTo>
                      <a:pt x="0" y="1715"/>
                      <a:pt x="1715" y="0"/>
                      <a:pt x="3822" y="0"/>
                    </a:cubicBezTo>
                    <a:cubicBezTo>
                      <a:pt x="5929" y="0"/>
                      <a:pt x="7644" y="1715"/>
                      <a:pt x="7644" y="3822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478" name="Gráfico 6">
              <a:extLst>
                <a:ext uri="{FF2B5EF4-FFF2-40B4-BE49-F238E27FC236}">
                  <a16:creationId xmlns:a16="http://schemas.microsoft.com/office/drawing/2014/main" id="{A6F6DEF9-F364-1265-6919-883B59962DA6}"/>
                </a:ext>
              </a:extLst>
            </p:cNvPr>
            <p:cNvGrpSpPr/>
            <p:nvPr/>
          </p:nvGrpSpPr>
          <p:grpSpPr>
            <a:xfrm>
              <a:off x="5198032" y="1783693"/>
              <a:ext cx="139102" cy="7643"/>
              <a:chOff x="5198032" y="1783693"/>
              <a:chExt cx="139102" cy="7643"/>
            </a:xfrm>
            <a:solidFill>
              <a:srgbClr val="394553"/>
            </a:solidFill>
          </p:grpSpPr>
          <p:sp>
            <p:nvSpPr>
              <p:cNvPr id="479" name="Forma livre: Forma 478">
                <a:extLst>
                  <a:ext uri="{FF2B5EF4-FFF2-40B4-BE49-F238E27FC236}">
                    <a16:creationId xmlns:a16="http://schemas.microsoft.com/office/drawing/2014/main" id="{80AD9381-D493-B715-5446-9C79E592DAF6}"/>
                  </a:ext>
                </a:extLst>
              </p:cNvPr>
              <p:cNvSpPr/>
              <p:nvPr/>
            </p:nvSpPr>
            <p:spPr>
              <a:xfrm>
                <a:off x="5198032" y="1783693"/>
                <a:ext cx="7643" cy="7643"/>
              </a:xfrm>
              <a:custGeom>
                <a:avLst/>
                <a:gdLst>
                  <a:gd name="connsiteX0" fmla="*/ 7644 w 7643"/>
                  <a:gd name="connsiteY0" fmla="*/ 3822 h 7643"/>
                  <a:gd name="connsiteX1" fmla="*/ 3822 w 7643"/>
                  <a:gd name="connsiteY1" fmla="*/ 7644 h 7643"/>
                  <a:gd name="connsiteX2" fmla="*/ 0 w 7643"/>
                  <a:gd name="connsiteY2" fmla="*/ 3822 h 7643"/>
                  <a:gd name="connsiteX3" fmla="*/ 3822 w 7643"/>
                  <a:gd name="connsiteY3" fmla="*/ 0 h 7643"/>
                  <a:gd name="connsiteX4" fmla="*/ 7644 w 7643"/>
                  <a:gd name="connsiteY4" fmla="*/ 3822 h 76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643" h="7643">
                    <a:moveTo>
                      <a:pt x="7644" y="3822"/>
                    </a:moveTo>
                    <a:cubicBezTo>
                      <a:pt x="7644" y="5929"/>
                      <a:pt x="5929" y="7644"/>
                      <a:pt x="3822" y="7644"/>
                    </a:cubicBezTo>
                    <a:cubicBezTo>
                      <a:pt x="1715" y="7644"/>
                      <a:pt x="0" y="5929"/>
                      <a:pt x="0" y="3822"/>
                    </a:cubicBezTo>
                    <a:cubicBezTo>
                      <a:pt x="0" y="1715"/>
                      <a:pt x="1715" y="0"/>
                      <a:pt x="3822" y="0"/>
                    </a:cubicBezTo>
                    <a:cubicBezTo>
                      <a:pt x="5929" y="0"/>
                      <a:pt x="7644" y="1715"/>
                      <a:pt x="7644" y="3822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80" name="Forma livre: Forma 479">
                <a:extLst>
                  <a:ext uri="{FF2B5EF4-FFF2-40B4-BE49-F238E27FC236}">
                    <a16:creationId xmlns:a16="http://schemas.microsoft.com/office/drawing/2014/main" id="{91D57B89-1441-5005-A3E2-0D839A53178A}"/>
                  </a:ext>
                </a:extLst>
              </p:cNvPr>
              <p:cNvSpPr/>
              <p:nvPr/>
            </p:nvSpPr>
            <p:spPr>
              <a:xfrm>
                <a:off x="5241835" y="1783693"/>
                <a:ext cx="7643" cy="7643"/>
              </a:xfrm>
              <a:custGeom>
                <a:avLst/>
                <a:gdLst>
                  <a:gd name="connsiteX0" fmla="*/ 7644 w 7643"/>
                  <a:gd name="connsiteY0" fmla="*/ 3822 h 7643"/>
                  <a:gd name="connsiteX1" fmla="*/ 3822 w 7643"/>
                  <a:gd name="connsiteY1" fmla="*/ 7644 h 7643"/>
                  <a:gd name="connsiteX2" fmla="*/ 0 w 7643"/>
                  <a:gd name="connsiteY2" fmla="*/ 3822 h 7643"/>
                  <a:gd name="connsiteX3" fmla="*/ 3822 w 7643"/>
                  <a:gd name="connsiteY3" fmla="*/ 0 h 7643"/>
                  <a:gd name="connsiteX4" fmla="*/ 7644 w 7643"/>
                  <a:gd name="connsiteY4" fmla="*/ 3822 h 76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643" h="7643">
                    <a:moveTo>
                      <a:pt x="7644" y="3822"/>
                    </a:moveTo>
                    <a:cubicBezTo>
                      <a:pt x="7644" y="5929"/>
                      <a:pt x="5929" y="7644"/>
                      <a:pt x="3822" y="7644"/>
                    </a:cubicBezTo>
                    <a:cubicBezTo>
                      <a:pt x="1715" y="7644"/>
                      <a:pt x="0" y="5929"/>
                      <a:pt x="0" y="3822"/>
                    </a:cubicBezTo>
                    <a:cubicBezTo>
                      <a:pt x="0" y="1715"/>
                      <a:pt x="1715" y="0"/>
                      <a:pt x="3822" y="0"/>
                    </a:cubicBezTo>
                    <a:cubicBezTo>
                      <a:pt x="5929" y="0"/>
                      <a:pt x="7644" y="1715"/>
                      <a:pt x="7644" y="3822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81" name="Forma livre: Forma 480">
                <a:extLst>
                  <a:ext uri="{FF2B5EF4-FFF2-40B4-BE49-F238E27FC236}">
                    <a16:creationId xmlns:a16="http://schemas.microsoft.com/office/drawing/2014/main" id="{AC408FD1-F209-5AEF-0FCD-A444FA555796}"/>
                  </a:ext>
                </a:extLst>
              </p:cNvPr>
              <p:cNvSpPr/>
              <p:nvPr/>
            </p:nvSpPr>
            <p:spPr>
              <a:xfrm>
                <a:off x="5285687" y="1783693"/>
                <a:ext cx="7643" cy="7643"/>
              </a:xfrm>
              <a:custGeom>
                <a:avLst/>
                <a:gdLst>
                  <a:gd name="connsiteX0" fmla="*/ 7644 w 7643"/>
                  <a:gd name="connsiteY0" fmla="*/ 3822 h 7643"/>
                  <a:gd name="connsiteX1" fmla="*/ 3822 w 7643"/>
                  <a:gd name="connsiteY1" fmla="*/ 7644 h 7643"/>
                  <a:gd name="connsiteX2" fmla="*/ 0 w 7643"/>
                  <a:gd name="connsiteY2" fmla="*/ 3822 h 7643"/>
                  <a:gd name="connsiteX3" fmla="*/ 3822 w 7643"/>
                  <a:gd name="connsiteY3" fmla="*/ 0 h 7643"/>
                  <a:gd name="connsiteX4" fmla="*/ 7644 w 7643"/>
                  <a:gd name="connsiteY4" fmla="*/ 3822 h 76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643" h="7643">
                    <a:moveTo>
                      <a:pt x="7644" y="3822"/>
                    </a:moveTo>
                    <a:cubicBezTo>
                      <a:pt x="7644" y="5929"/>
                      <a:pt x="5929" y="7644"/>
                      <a:pt x="3822" y="7644"/>
                    </a:cubicBezTo>
                    <a:cubicBezTo>
                      <a:pt x="1715" y="7644"/>
                      <a:pt x="0" y="5929"/>
                      <a:pt x="0" y="3822"/>
                    </a:cubicBezTo>
                    <a:cubicBezTo>
                      <a:pt x="0" y="1715"/>
                      <a:pt x="1715" y="0"/>
                      <a:pt x="3822" y="0"/>
                    </a:cubicBezTo>
                    <a:cubicBezTo>
                      <a:pt x="5929" y="0"/>
                      <a:pt x="7644" y="1715"/>
                      <a:pt x="7644" y="3822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82" name="Forma livre: Forma 481">
                <a:extLst>
                  <a:ext uri="{FF2B5EF4-FFF2-40B4-BE49-F238E27FC236}">
                    <a16:creationId xmlns:a16="http://schemas.microsoft.com/office/drawing/2014/main" id="{1EDC2478-3EA3-E8CA-DD06-7DE515303701}"/>
                  </a:ext>
                </a:extLst>
              </p:cNvPr>
              <p:cNvSpPr/>
              <p:nvPr/>
            </p:nvSpPr>
            <p:spPr>
              <a:xfrm>
                <a:off x="5329491" y="1783693"/>
                <a:ext cx="7643" cy="7643"/>
              </a:xfrm>
              <a:custGeom>
                <a:avLst/>
                <a:gdLst>
                  <a:gd name="connsiteX0" fmla="*/ 7644 w 7643"/>
                  <a:gd name="connsiteY0" fmla="*/ 3822 h 7643"/>
                  <a:gd name="connsiteX1" fmla="*/ 3822 w 7643"/>
                  <a:gd name="connsiteY1" fmla="*/ 7644 h 7643"/>
                  <a:gd name="connsiteX2" fmla="*/ 0 w 7643"/>
                  <a:gd name="connsiteY2" fmla="*/ 3822 h 7643"/>
                  <a:gd name="connsiteX3" fmla="*/ 3822 w 7643"/>
                  <a:gd name="connsiteY3" fmla="*/ 0 h 7643"/>
                  <a:gd name="connsiteX4" fmla="*/ 7644 w 7643"/>
                  <a:gd name="connsiteY4" fmla="*/ 3822 h 76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643" h="7643">
                    <a:moveTo>
                      <a:pt x="7644" y="3822"/>
                    </a:moveTo>
                    <a:cubicBezTo>
                      <a:pt x="7644" y="5929"/>
                      <a:pt x="5929" y="7644"/>
                      <a:pt x="3822" y="7644"/>
                    </a:cubicBezTo>
                    <a:cubicBezTo>
                      <a:pt x="1715" y="7644"/>
                      <a:pt x="0" y="5929"/>
                      <a:pt x="0" y="3822"/>
                    </a:cubicBezTo>
                    <a:cubicBezTo>
                      <a:pt x="0" y="1715"/>
                      <a:pt x="1715" y="0"/>
                      <a:pt x="3822" y="0"/>
                    </a:cubicBezTo>
                    <a:cubicBezTo>
                      <a:pt x="5929" y="0"/>
                      <a:pt x="7644" y="1715"/>
                      <a:pt x="7644" y="3822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483" name="Gráfico 6">
              <a:extLst>
                <a:ext uri="{FF2B5EF4-FFF2-40B4-BE49-F238E27FC236}">
                  <a16:creationId xmlns:a16="http://schemas.microsoft.com/office/drawing/2014/main" id="{8480D612-A46E-6CE2-91B7-042B703FFD67}"/>
                </a:ext>
              </a:extLst>
            </p:cNvPr>
            <p:cNvGrpSpPr/>
            <p:nvPr/>
          </p:nvGrpSpPr>
          <p:grpSpPr>
            <a:xfrm>
              <a:off x="5198032" y="1817795"/>
              <a:ext cx="139102" cy="7643"/>
              <a:chOff x="5198032" y="1817795"/>
              <a:chExt cx="139102" cy="7643"/>
            </a:xfrm>
            <a:solidFill>
              <a:srgbClr val="394553"/>
            </a:solidFill>
          </p:grpSpPr>
          <p:sp>
            <p:nvSpPr>
              <p:cNvPr id="484" name="Forma livre: Forma 483">
                <a:extLst>
                  <a:ext uri="{FF2B5EF4-FFF2-40B4-BE49-F238E27FC236}">
                    <a16:creationId xmlns:a16="http://schemas.microsoft.com/office/drawing/2014/main" id="{3F515444-B814-CE6E-39A2-D739C01C28AA}"/>
                  </a:ext>
                </a:extLst>
              </p:cNvPr>
              <p:cNvSpPr/>
              <p:nvPr/>
            </p:nvSpPr>
            <p:spPr>
              <a:xfrm>
                <a:off x="5198032" y="1817795"/>
                <a:ext cx="7643" cy="7643"/>
              </a:xfrm>
              <a:custGeom>
                <a:avLst/>
                <a:gdLst>
                  <a:gd name="connsiteX0" fmla="*/ 7644 w 7643"/>
                  <a:gd name="connsiteY0" fmla="*/ 3822 h 7643"/>
                  <a:gd name="connsiteX1" fmla="*/ 3822 w 7643"/>
                  <a:gd name="connsiteY1" fmla="*/ 7644 h 7643"/>
                  <a:gd name="connsiteX2" fmla="*/ 0 w 7643"/>
                  <a:gd name="connsiteY2" fmla="*/ 3822 h 7643"/>
                  <a:gd name="connsiteX3" fmla="*/ 3822 w 7643"/>
                  <a:gd name="connsiteY3" fmla="*/ 0 h 7643"/>
                  <a:gd name="connsiteX4" fmla="*/ 7644 w 7643"/>
                  <a:gd name="connsiteY4" fmla="*/ 3822 h 76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643" h="7643">
                    <a:moveTo>
                      <a:pt x="7644" y="3822"/>
                    </a:moveTo>
                    <a:cubicBezTo>
                      <a:pt x="7644" y="5929"/>
                      <a:pt x="5929" y="7644"/>
                      <a:pt x="3822" y="7644"/>
                    </a:cubicBezTo>
                    <a:cubicBezTo>
                      <a:pt x="1715" y="7644"/>
                      <a:pt x="0" y="5929"/>
                      <a:pt x="0" y="3822"/>
                    </a:cubicBezTo>
                    <a:cubicBezTo>
                      <a:pt x="0" y="1715"/>
                      <a:pt x="1715" y="0"/>
                      <a:pt x="3822" y="0"/>
                    </a:cubicBezTo>
                    <a:cubicBezTo>
                      <a:pt x="5929" y="0"/>
                      <a:pt x="7644" y="1715"/>
                      <a:pt x="7644" y="3822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85" name="Forma livre: Forma 484">
                <a:extLst>
                  <a:ext uri="{FF2B5EF4-FFF2-40B4-BE49-F238E27FC236}">
                    <a16:creationId xmlns:a16="http://schemas.microsoft.com/office/drawing/2014/main" id="{859F9343-4B53-1BBA-F7C8-B9A6EA4F0FC5}"/>
                  </a:ext>
                </a:extLst>
              </p:cNvPr>
              <p:cNvSpPr/>
              <p:nvPr/>
            </p:nvSpPr>
            <p:spPr>
              <a:xfrm>
                <a:off x="5241835" y="1817795"/>
                <a:ext cx="7643" cy="7643"/>
              </a:xfrm>
              <a:custGeom>
                <a:avLst/>
                <a:gdLst>
                  <a:gd name="connsiteX0" fmla="*/ 7644 w 7643"/>
                  <a:gd name="connsiteY0" fmla="*/ 3822 h 7643"/>
                  <a:gd name="connsiteX1" fmla="*/ 3822 w 7643"/>
                  <a:gd name="connsiteY1" fmla="*/ 7644 h 7643"/>
                  <a:gd name="connsiteX2" fmla="*/ 0 w 7643"/>
                  <a:gd name="connsiteY2" fmla="*/ 3822 h 7643"/>
                  <a:gd name="connsiteX3" fmla="*/ 3822 w 7643"/>
                  <a:gd name="connsiteY3" fmla="*/ 0 h 7643"/>
                  <a:gd name="connsiteX4" fmla="*/ 7644 w 7643"/>
                  <a:gd name="connsiteY4" fmla="*/ 3822 h 76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643" h="7643">
                    <a:moveTo>
                      <a:pt x="7644" y="3822"/>
                    </a:moveTo>
                    <a:cubicBezTo>
                      <a:pt x="7644" y="5929"/>
                      <a:pt x="5929" y="7644"/>
                      <a:pt x="3822" y="7644"/>
                    </a:cubicBezTo>
                    <a:cubicBezTo>
                      <a:pt x="1715" y="7644"/>
                      <a:pt x="0" y="5929"/>
                      <a:pt x="0" y="3822"/>
                    </a:cubicBezTo>
                    <a:cubicBezTo>
                      <a:pt x="0" y="1715"/>
                      <a:pt x="1715" y="0"/>
                      <a:pt x="3822" y="0"/>
                    </a:cubicBezTo>
                    <a:cubicBezTo>
                      <a:pt x="5929" y="0"/>
                      <a:pt x="7644" y="1715"/>
                      <a:pt x="7644" y="3822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86" name="Forma livre: Forma 485">
                <a:extLst>
                  <a:ext uri="{FF2B5EF4-FFF2-40B4-BE49-F238E27FC236}">
                    <a16:creationId xmlns:a16="http://schemas.microsoft.com/office/drawing/2014/main" id="{6B9D0EB7-C54B-25EA-7333-63EA425967D5}"/>
                  </a:ext>
                </a:extLst>
              </p:cNvPr>
              <p:cNvSpPr/>
              <p:nvPr/>
            </p:nvSpPr>
            <p:spPr>
              <a:xfrm>
                <a:off x="5285687" y="1817795"/>
                <a:ext cx="7643" cy="7643"/>
              </a:xfrm>
              <a:custGeom>
                <a:avLst/>
                <a:gdLst>
                  <a:gd name="connsiteX0" fmla="*/ 7644 w 7643"/>
                  <a:gd name="connsiteY0" fmla="*/ 3822 h 7643"/>
                  <a:gd name="connsiteX1" fmla="*/ 3822 w 7643"/>
                  <a:gd name="connsiteY1" fmla="*/ 7644 h 7643"/>
                  <a:gd name="connsiteX2" fmla="*/ 0 w 7643"/>
                  <a:gd name="connsiteY2" fmla="*/ 3822 h 7643"/>
                  <a:gd name="connsiteX3" fmla="*/ 3822 w 7643"/>
                  <a:gd name="connsiteY3" fmla="*/ 0 h 7643"/>
                  <a:gd name="connsiteX4" fmla="*/ 7644 w 7643"/>
                  <a:gd name="connsiteY4" fmla="*/ 3822 h 76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643" h="7643">
                    <a:moveTo>
                      <a:pt x="7644" y="3822"/>
                    </a:moveTo>
                    <a:cubicBezTo>
                      <a:pt x="7644" y="5929"/>
                      <a:pt x="5929" y="7644"/>
                      <a:pt x="3822" y="7644"/>
                    </a:cubicBezTo>
                    <a:cubicBezTo>
                      <a:pt x="1715" y="7644"/>
                      <a:pt x="0" y="5929"/>
                      <a:pt x="0" y="3822"/>
                    </a:cubicBezTo>
                    <a:cubicBezTo>
                      <a:pt x="0" y="1715"/>
                      <a:pt x="1715" y="0"/>
                      <a:pt x="3822" y="0"/>
                    </a:cubicBezTo>
                    <a:cubicBezTo>
                      <a:pt x="5929" y="0"/>
                      <a:pt x="7644" y="1715"/>
                      <a:pt x="7644" y="3822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87" name="Forma livre: Forma 486">
                <a:extLst>
                  <a:ext uri="{FF2B5EF4-FFF2-40B4-BE49-F238E27FC236}">
                    <a16:creationId xmlns:a16="http://schemas.microsoft.com/office/drawing/2014/main" id="{D6E594DB-1E1C-DA1D-480C-B09D84FC7AE1}"/>
                  </a:ext>
                </a:extLst>
              </p:cNvPr>
              <p:cNvSpPr/>
              <p:nvPr/>
            </p:nvSpPr>
            <p:spPr>
              <a:xfrm>
                <a:off x="5329491" y="1817795"/>
                <a:ext cx="7643" cy="7643"/>
              </a:xfrm>
              <a:custGeom>
                <a:avLst/>
                <a:gdLst>
                  <a:gd name="connsiteX0" fmla="*/ 7644 w 7643"/>
                  <a:gd name="connsiteY0" fmla="*/ 3822 h 7643"/>
                  <a:gd name="connsiteX1" fmla="*/ 3822 w 7643"/>
                  <a:gd name="connsiteY1" fmla="*/ 7644 h 7643"/>
                  <a:gd name="connsiteX2" fmla="*/ 0 w 7643"/>
                  <a:gd name="connsiteY2" fmla="*/ 3822 h 7643"/>
                  <a:gd name="connsiteX3" fmla="*/ 3822 w 7643"/>
                  <a:gd name="connsiteY3" fmla="*/ 0 h 7643"/>
                  <a:gd name="connsiteX4" fmla="*/ 7644 w 7643"/>
                  <a:gd name="connsiteY4" fmla="*/ 3822 h 76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643" h="7643">
                    <a:moveTo>
                      <a:pt x="7644" y="3822"/>
                    </a:moveTo>
                    <a:cubicBezTo>
                      <a:pt x="7644" y="5929"/>
                      <a:pt x="5929" y="7644"/>
                      <a:pt x="3822" y="7644"/>
                    </a:cubicBezTo>
                    <a:cubicBezTo>
                      <a:pt x="1715" y="7644"/>
                      <a:pt x="0" y="5929"/>
                      <a:pt x="0" y="3822"/>
                    </a:cubicBezTo>
                    <a:cubicBezTo>
                      <a:pt x="0" y="1715"/>
                      <a:pt x="1715" y="0"/>
                      <a:pt x="3822" y="0"/>
                    </a:cubicBezTo>
                    <a:cubicBezTo>
                      <a:pt x="5929" y="0"/>
                      <a:pt x="7644" y="1715"/>
                      <a:pt x="7644" y="3822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488" name="Gráfico 6">
            <a:extLst>
              <a:ext uri="{FF2B5EF4-FFF2-40B4-BE49-F238E27FC236}">
                <a16:creationId xmlns:a16="http://schemas.microsoft.com/office/drawing/2014/main" id="{D7E6A6D7-D44E-2818-DA2E-6EC6283B678E}"/>
              </a:ext>
            </a:extLst>
          </p:cNvPr>
          <p:cNvGrpSpPr/>
          <p:nvPr/>
        </p:nvGrpSpPr>
        <p:grpSpPr>
          <a:xfrm>
            <a:off x="5147467" y="2630410"/>
            <a:ext cx="262721" cy="314903"/>
            <a:chOff x="5147467" y="2630410"/>
            <a:chExt cx="262721" cy="314903"/>
          </a:xfrm>
        </p:grpSpPr>
        <p:sp>
          <p:nvSpPr>
            <p:cNvPr id="489" name="Forma livre: Forma 488">
              <a:extLst>
                <a:ext uri="{FF2B5EF4-FFF2-40B4-BE49-F238E27FC236}">
                  <a16:creationId xmlns:a16="http://schemas.microsoft.com/office/drawing/2014/main" id="{1DC78F3A-137C-191A-A1BA-E70D5DE98E11}"/>
                </a:ext>
              </a:extLst>
            </p:cNvPr>
            <p:cNvSpPr/>
            <p:nvPr/>
          </p:nvSpPr>
          <p:spPr>
            <a:xfrm>
              <a:off x="5269224" y="2679652"/>
              <a:ext cx="73201" cy="61540"/>
            </a:xfrm>
            <a:custGeom>
              <a:avLst/>
              <a:gdLst>
                <a:gd name="connsiteX0" fmla="*/ 27046 w 73201"/>
                <a:gd name="connsiteY0" fmla="*/ 0 h 61540"/>
                <a:gd name="connsiteX1" fmla="*/ 73202 w 73201"/>
                <a:gd name="connsiteY1" fmla="*/ 22735 h 61540"/>
                <a:gd name="connsiteX2" fmla="*/ 0 w 73201"/>
                <a:gd name="connsiteY2" fmla="*/ 61540 h 61540"/>
                <a:gd name="connsiteX3" fmla="*/ 0 w 73201"/>
                <a:gd name="connsiteY3" fmla="*/ 43019 h 615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3201" h="61540">
                  <a:moveTo>
                    <a:pt x="27046" y="0"/>
                  </a:moveTo>
                  <a:lnTo>
                    <a:pt x="73202" y="22735"/>
                  </a:lnTo>
                  <a:lnTo>
                    <a:pt x="0" y="61540"/>
                  </a:lnTo>
                  <a:lnTo>
                    <a:pt x="0" y="43019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90" name="Forma livre: Forma 489">
              <a:extLst>
                <a:ext uri="{FF2B5EF4-FFF2-40B4-BE49-F238E27FC236}">
                  <a16:creationId xmlns:a16="http://schemas.microsoft.com/office/drawing/2014/main" id="{3602A89D-6933-FB49-C599-9E2C4BB98A98}"/>
                </a:ext>
              </a:extLst>
            </p:cNvPr>
            <p:cNvSpPr/>
            <p:nvPr/>
          </p:nvSpPr>
          <p:spPr>
            <a:xfrm>
              <a:off x="5218316" y="2836687"/>
              <a:ext cx="89909" cy="6075"/>
            </a:xfrm>
            <a:custGeom>
              <a:avLst/>
              <a:gdLst>
                <a:gd name="connsiteX0" fmla="*/ 0 w 89909"/>
                <a:gd name="connsiteY0" fmla="*/ 6076 h 6075"/>
                <a:gd name="connsiteX1" fmla="*/ 60511 w 89909"/>
                <a:gd name="connsiteY1" fmla="*/ 0 h 6075"/>
                <a:gd name="connsiteX2" fmla="*/ 89910 w 89909"/>
                <a:gd name="connsiteY2" fmla="*/ 1372 h 60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89909" h="6075">
                  <a:moveTo>
                    <a:pt x="0" y="6076"/>
                  </a:moveTo>
                  <a:cubicBezTo>
                    <a:pt x="18129" y="2205"/>
                    <a:pt x="38708" y="0"/>
                    <a:pt x="60511" y="0"/>
                  </a:cubicBezTo>
                  <a:cubicBezTo>
                    <a:pt x="70605" y="0"/>
                    <a:pt x="80453" y="490"/>
                    <a:pt x="89910" y="1372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91" name="Forma livre: Forma 490">
              <a:extLst>
                <a:ext uri="{FF2B5EF4-FFF2-40B4-BE49-F238E27FC236}">
                  <a16:creationId xmlns:a16="http://schemas.microsoft.com/office/drawing/2014/main" id="{1F5063E8-A1F8-E3E5-44C6-B967719307C1}"/>
                </a:ext>
              </a:extLst>
            </p:cNvPr>
            <p:cNvSpPr/>
            <p:nvPr/>
          </p:nvSpPr>
          <p:spPr>
            <a:xfrm>
              <a:off x="5147467" y="2849966"/>
              <a:ext cx="262721" cy="95348"/>
            </a:xfrm>
            <a:custGeom>
              <a:avLst/>
              <a:gdLst>
                <a:gd name="connsiteX0" fmla="*/ 243221 w 262721"/>
                <a:gd name="connsiteY0" fmla="*/ 12494 h 95348"/>
                <a:gd name="connsiteX1" fmla="*/ 262722 w 262721"/>
                <a:gd name="connsiteY1" fmla="*/ 41010 h 95348"/>
                <a:gd name="connsiteX2" fmla="*/ 131361 w 262721"/>
                <a:gd name="connsiteY2" fmla="*/ 95348 h 95348"/>
                <a:gd name="connsiteX3" fmla="*/ 0 w 262721"/>
                <a:gd name="connsiteY3" fmla="*/ 41010 h 95348"/>
                <a:gd name="connsiteX4" fmla="*/ 45126 w 262721"/>
                <a:gd name="connsiteY4" fmla="*/ 0 h 953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62721" h="95348">
                  <a:moveTo>
                    <a:pt x="243221" y="12494"/>
                  </a:moveTo>
                  <a:cubicBezTo>
                    <a:pt x="255617" y="20775"/>
                    <a:pt x="262722" y="30574"/>
                    <a:pt x="262722" y="41010"/>
                  </a:cubicBezTo>
                  <a:cubicBezTo>
                    <a:pt x="262722" y="71046"/>
                    <a:pt x="203925" y="95348"/>
                    <a:pt x="131361" y="95348"/>
                  </a:cubicBezTo>
                  <a:cubicBezTo>
                    <a:pt x="58796" y="95348"/>
                    <a:pt x="0" y="70997"/>
                    <a:pt x="0" y="41010"/>
                  </a:cubicBezTo>
                  <a:cubicBezTo>
                    <a:pt x="0" y="24645"/>
                    <a:pt x="17443" y="9995"/>
                    <a:pt x="45126" y="0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92" name="Forma livre: Forma 491">
              <a:extLst>
                <a:ext uri="{FF2B5EF4-FFF2-40B4-BE49-F238E27FC236}">
                  <a16:creationId xmlns:a16="http://schemas.microsoft.com/office/drawing/2014/main" id="{1AB5712D-9F1E-77BC-13B5-E64739CE8A0E}"/>
                </a:ext>
              </a:extLst>
            </p:cNvPr>
            <p:cNvSpPr/>
            <p:nvPr/>
          </p:nvSpPr>
          <p:spPr>
            <a:xfrm>
              <a:off x="5216847" y="2630410"/>
              <a:ext cx="4899" cy="258704"/>
            </a:xfrm>
            <a:custGeom>
              <a:avLst/>
              <a:gdLst>
                <a:gd name="connsiteX0" fmla="*/ 0 w 4899"/>
                <a:gd name="connsiteY0" fmla="*/ 0 h 258704"/>
                <a:gd name="connsiteX1" fmla="*/ 0 w 4899"/>
                <a:gd name="connsiteY1" fmla="*/ 258704 h 2587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899" h="258704">
                  <a:moveTo>
                    <a:pt x="0" y="0"/>
                  </a:moveTo>
                  <a:lnTo>
                    <a:pt x="0" y="258704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93" name="Forma livre: Forma 492">
              <a:extLst>
                <a:ext uri="{FF2B5EF4-FFF2-40B4-BE49-F238E27FC236}">
                  <a16:creationId xmlns:a16="http://schemas.microsoft.com/office/drawing/2014/main" id="{BA2C99A4-9CD1-40B3-8BE2-E55FF7087166}"/>
                </a:ext>
              </a:extLst>
            </p:cNvPr>
            <p:cNvSpPr/>
            <p:nvPr/>
          </p:nvSpPr>
          <p:spPr>
            <a:xfrm>
              <a:off x="5328364" y="2827133"/>
              <a:ext cx="42921" cy="42921"/>
            </a:xfrm>
            <a:custGeom>
              <a:avLst/>
              <a:gdLst>
                <a:gd name="connsiteX0" fmla="*/ 42921 w 42921"/>
                <a:gd name="connsiteY0" fmla="*/ 21461 h 42921"/>
                <a:gd name="connsiteX1" fmla="*/ 21461 w 42921"/>
                <a:gd name="connsiteY1" fmla="*/ 42921 h 42921"/>
                <a:gd name="connsiteX2" fmla="*/ 0 w 42921"/>
                <a:gd name="connsiteY2" fmla="*/ 21461 h 42921"/>
                <a:gd name="connsiteX3" fmla="*/ 21461 w 42921"/>
                <a:gd name="connsiteY3" fmla="*/ 0 h 42921"/>
                <a:gd name="connsiteX4" fmla="*/ 42921 w 42921"/>
                <a:gd name="connsiteY4" fmla="*/ 21461 h 429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2921" h="42921">
                  <a:moveTo>
                    <a:pt x="42921" y="21461"/>
                  </a:moveTo>
                  <a:cubicBezTo>
                    <a:pt x="42921" y="33318"/>
                    <a:pt x="33318" y="42921"/>
                    <a:pt x="21461" y="42921"/>
                  </a:cubicBezTo>
                  <a:cubicBezTo>
                    <a:pt x="9603" y="42921"/>
                    <a:pt x="0" y="33318"/>
                    <a:pt x="0" y="21461"/>
                  </a:cubicBezTo>
                  <a:cubicBezTo>
                    <a:pt x="0" y="9604"/>
                    <a:pt x="9603" y="0"/>
                    <a:pt x="21461" y="0"/>
                  </a:cubicBezTo>
                  <a:cubicBezTo>
                    <a:pt x="33318" y="0"/>
                    <a:pt x="42921" y="9604"/>
                    <a:pt x="42921" y="21461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94" name="Forma livre: Forma 493">
              <a:extLst>
                <a:ext uri="{FF2B5EF4-FFF2-40B4-BE49-F238E27FC236}">
                  <a16:creationId xmlns:a16="http://schemas.microsoft.com/office/drawing/2014/main" id="{4EF8C86B-990F-F567-F388-BF2AB42B0301}"/>
                </a:ext>
              </a:extLst>
            </p:cNvPr>
            <p:cNvSpPr/>
            <p:nvPr/>
          </p:nvSpPr>
          <p:spPr>
            <a:xfrm>
              <a:off x="5217630" y="2645256"/>
              <a:ext cx="51593" cy="87557"/>
            </a:xfrm>
            <a:custGeom>
              <a:avLst/>
              <a:gdLst>
                <a:gd name="connsiteX0" fmla="*/ 0 w 51593"/>
                <a:gd name="connsiteY0" fmla="*/ 0 h 87557"/>
                <a:gd name="connsiteX1" fmla="*/ 51447 w 51593"/>
                <a:gd name="connsiteY1" fmla="*/ 12739 h 87557"/>
                <a:gd name="connsiteX2" fmla="*/ 51594 w 51593"/>
                <a:gd name="connsiteY2" fmla="*/ 77219 h 87557"/>
                <a:gd name="connsiteX3" fmla="*/ 0 w 51593"/>
                <a:gd name="connsiteY3" fmla="*/ 87558 h 875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1593" h="87557">
                  <a:moveTo>
                    <a:pt x="0" y="0"/>
                  </a:moveTo>
                  <a:lnTo>
                    <a:pt x="51447" y="12739"/>
                  </a:lnTo>
                  <a:lnTo>
                    <a:pt x="51594" y="77219"/>
                  </a:lnTo>
                  <a:lnTo>
                    <a:pt x="0" y="87558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95" name="Forma livre: Forma 494">
              <a:extLst>
                <a:ext uri="{FF2B5EF4-FFF2-40B4-BE49-F238E27FC236}">
                  <a16:creationId xmlns:a16="http://schemas.microsoft.com/office/drawing/2014/main" id="{1AF8DDAB-959B-1605-1115-EBD1E237CE92}"/>
                </a:ext>
              </a:extLst>
            </p:cNvPr>
            <p:cNvSpPr/>
            <p:nvPr/>
          </p:nvSpPr>
          <p:spPr>
            <a:xfrm>
              <a:off x="5199796" y="2885047"/>
              <a:ext cx="36649" cy="12445"/>
            </a:xfrm>
            <a:custGeom>
              <a:avLst/>
              <a:gdLst>
                <a:gd name="connsiteX0" fmla="*/ 18325 w 36649"/>
                <a:gd name="connsiteY0" fmla="*/ 12445 h 12445"/>
                <a:gd name="connsiteX1" fmla="*/ 0 w 36649"/>
                <a:gd name="connsiteY1" fmla="*/ 6223 h 12445"/>
                <a:gd name="connsiteX2" fmla="*/ 18325 w 36649"/>
                <a:gd name="connsiteY2" fmla="*/ 0 h 12445"/>
                <a:gd name="connsiteX3" fmla="*/ 36650 w 36649"/>
                <a:gd name="connsiteY3" fmla="*/ 6223 h 12445"/>
                <a:gd name="connsiteX4" fmla="*/ 18325 w 36649"/>
                <a:gd name="connsiteY4" fmla="*/ 12445 h 124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6649" h="12445">
                  <a:moveTo>
                    <a:pt x="18325" y="12445"/>
                  </a:moveTo>
                  <a:cubicBezTo>
                    <a:pt x="6762" y="12445"/>
                    <a:pt x="196" y="7791"/>
                    <a:pt x="0" y="6223"/>
                  </a:cubicBezTo>
                  <a:cubicBezTo>
                    <a:pt x="147" y="4606"/>
                    <a:pt x="6664" y="0"/>
                    <a:pt x="18325" y="0"/>
                  </a:cubicBezTo>
                  <a:cubicBezTo>
                    <a:pt x="29986" y="0"/>
                    <a:pt x="36503" y="4655"/>
                    <a:pt x="36650" y="6223"/>
                  </a:cubicBezTo>
                  <a:cubicBezTo>
                    <a:pt x="36454" y="7840"/>
                    <a:pt x="29888" y="12445"/>
                    <a:pt x="18325" y="12445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496" name="Gráfico 6">
            <a:extLst>
              <a:ext uri="{FF2B5EF4-FFF2-40B4-BE49-F238E27FC236}">
                <a16:creationId xmlns:a16="http://schemas.microsoft.com/office/drawing/2014/main" id="{BD50A90C-E9AC-C8CE-9FC0-6A7AC005127F}"/>
              </a:ext>
            </a:extLst>
          </p:cNvPr>
          <p:cNvGrpSpPr/>
          <p:nvPr/>
        </p:nvGrpSpPr>
        <p:grpSpPr>
          <a:xfrm>
            <a:off x="5198473" y="2076989"/>
            <a:ext cx="160759" cy="324262"/>
            <a:chOff x="5198473" y="2076989"/>
            <a:chExt cx="160759" cy="324262"/>
          </a:xfrm>
          <a:noFill/>
        </p:grpSpPr>
        <p:sp>
          <p:nvSpPr>
            <p:cNvPr id="497" name="Forma livre: Forma 496">
              <a:extLst>
                <a:ext uri="{FF2B5EF4-FFF2-40B4-BE49-F238E27FC236}">
                  <a16:creationId xmlns:a16="http://schemas.microsoft.com/office/drawing/2014/main" id="{E5A70252-046E-F835-F69C-43734C1713BE}"/>
                </a:ext>
              </a:extLst>
            </p:cNvPr>
            <p:cNvSpPr/>
            <p:nvPr/>
          </p:nvSpPr>
          <p:spPr>
            <a:xfrm>
              <a:off x="5198473" y="2076989"/>
              <a:ext cx="160759" cy="324262"/>
            </a:xfrm>
            <a:custGeom>
              <a:avLst/>
              <a:gdLst>
                <a:gd name="connsiteX0" fmla="*/ 160759 w 160759"/>
                <a:gd name="connsiteY0" fmla="*/ 80355 h 324262"/>
                <a:gd name="connsiteX1" fmla="*/ 160759 w 160759"/>
                <a:gd name="connsiteY1" fmla="*/ 79963 h 324262"/>
                <a:gd name="connsiteX2" fmla="*/ 160759 w 160759"/>
                <a:gd name="connsiteY2" fmla="*/ 79963 h 324262"/>
                <a:gd name="connsiteX3" fmla="*/ 80404 w 160759"/>
                <a:gd name="connsiteY3" fmla="*/ 0 h 324262"/>
                <a:gd name="connsiteX4" fmla="*/ 2303 w 160759"/>
                <a:gd name="connsiteY4" fmla="*/ 65803 h 324262"/>
                <a:gd name="connsiteX5" fmla="*/ 17443 w 160759"/>
                <a:gd name="connsiteY5" fmla="*/ 83099 h 324262"/>
                <a:gd name="connsiteX6" fmla="*/ 40912 w 160759"/>
                <a:gd name="connsiteY6" fmla="*/ 75210 h 324262"/>
                <a:gd name="connsiteX7" fmla="*/ 47233 w 160759"/>
                <a:gd name="connsiteY7" fmla="*/ 65411 h 324262"/>
                <a:gd name="connsiteX8" fmla="*/ 81727 w 160759"/>
                <a:gd name="connsiteY8" fmla="*/ 42529 h 324262"/>
                <a:gd name="connsiteX9" fmla="*/ 104364 w 160759"/>
                <a:gd name="connsiteY9" fmla="*/ 56004 h 324262"/>
                <a:gd name="connsiteX10" fmla="*/ 104364 w 160759"/>
                <a:gd name="connsiteY10" fmla="*/ 56004 h 324262"/>
                <a:gd name="connsiteX11" fmla="*/ 87754 w 160759"/>
                <a:gd name="connsiteY11" fmla="*/ 106470 h 324262"/>
                <a:gd name="connsiteX12" fmla="*/ 23323 w 160759"/>
                <a:gd name="connsiteY12" fmla="*/ 141356 h 324262"/>
                <a:gd name="connsiteX13" fmla="*/ 13131 w 160759"/>
                <a:gd name="connsiteY13" fmla="*/ 147873 h 324262"/>
                <a:gd name="connsiteX14" fmla="*/ 0 w 160759"/>
                <a:gd name="connsiteY14" fmla="*/ 178496 h 324262"/>
                <a:gd name="connsiteX15" fmla="*/ 0 w 160759"/>
                <a:gd name="connsiteY15" fmla="*/ 280704 h 324262"/>
                <a:gd name="connsiteX16" fmla="*/ 43558 w 160759"/>
                <a:gd name="connsiteY16" fmla="*/ 324262 h 324262"/>
                <a:gd name="connsiteX17" fmla="*/ 117201 w 160759"/>
                <a:gd name="connsiteY17" fmla="*/ 324262 h 324262"/>
                <a:gd name="connsiteX18" fmla="*/ 160759 w 160759"/>
                <a:gd name="connsiteY18" fmla="*/ 280704 h 324262"/>
                <a:gd name="connsiteX19" fmla="*/ 160759 w 160759"/>
                <a:gd name="connsiteY19" fmla="*/ 80404 h 324262"/>
                <a:gd name="connsiteX20" fmla="*/ 160759 w 160759"/>
                <a:gd name="connsiteY20" fmla="*/ 80355 h 3242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60759" h="324262">
                  <a:moveTo>
                    <a:pt x="160759" y="80355"/>
                  </a:moveTo>
                  <a:lnTo>
                    <a:pt x="160759" y="79963"/>
                  </a:lnTo>
                  <a:lnTo>
                    <a:pt x="160759" y="79963"/>
                  </a:lnTo>
                  <a:cubicBezTo>
                    <a:pt x="160563" y="35866"/>
                    <a:pt x="124599" y="0"/>
                    <a:pt x="80404" y="0"/>
                  </a:cubicBezTo>
                  <a:cubicBezTo>
                    <a:pt x="39100" y="0"/>
                    <a:pt x="6762" y="25674"/>
                    <a:pt x="2303" y="65803"/>
                  </a:cubicBezTo>
                  <a:cubicBezTo>
                    <a:pt x="2303" y="65803"/>
                    <a:pt x="588" y="81139"/>
                    <a:pt x="17443" y="83099"/>
                  </a:cubicBezTo>
                  <a:cubicBezTo>
                    <a:pt x="29692" y="84520"/>
                    <a:pt x="37826" y="78493"/>
                    <a:pt x="40912" y="75210"/>
                  </a:cubicBezTo>
                  <a:cubicBezTo>
                    <a:pt x="44391" y="71536"/>
                    <a:pt x="47233" y="65411"/>
                    <a:pt x="47233" y="65411"/>
                  </a:cubicBezTo>
                  <a:cubicBezTo>
                    <a:pt x="54975" y="45224"/>
                    <a:pt x="65215" y="40423"/>
                    <a:pt x="81727" y="42529"/>
                  </a:cubicBezTo>
                  <a:cubicBezTo>
                    <a:pt x="93143" y="43999"/>
                    <a:pt x="99562" y="48605"/>
                    <a:pt x="104364" y="56004"/>
                  </a:cubicBezTo>
                  <a:lnTo>
                    <a:pt x="104364" y="56004"/>
                  </a:lnTo>
                  <a:cubicBezTo>
                    <a:pt x="120680" y="88097"/>
                    <a:pt x="87754" y="106470"/>
                    <a:pt x="87754" y="106470"/>
                  </a:cubicBezTo>
                  <a:cubicBezTo>
                    <a:pt x="54142" y="123178"/>
                    <a:pt x="23323" y="141356"/>
                    <a:pt x="23323" y="141356"/>
                  </a:cubicBezTo>
                  <a:cubicBezTo>
                    <a:pt x="23323" y="141356"/>
                    <a:pt x="13033" y="147873"/>
                    <a:pt x="13131" y="147873"/>
                  </a:cubicBezTo>
                  <a:cubicBezTo>
                    <a:pt x="1519" y="156447"/>
                    <a:pt x="0" y="167080"/>
                    <a:pt x="0" y="178496"/>
                  </a:cubicBezTo>
                  <a:lnTo>
                    <a:pt x="0" y="280704"/>
                  </a:lnTo>
                  <a:cubicBezTo>
                    <a:pt x="0" y="304663"/>
                    <a:pt x="19599" y="324262"/>
                    <a:pt x="43558" y="324262"/>
                  </a:cubicBezTo>
                  <a:lnTo>
                    <a:pt x="117201" y="324262"/>
                  </a:lnTo>
                  <a:cubicBezTo>
                    <a:pt x="141160" y="324262"/>
                    <a:pt x="160759" y="304663"/>
                    <a:pt x="160759" y="280704"/>
                  </a:cubicBezTo>
                  <a:lnTo>
                    <a:pt x="160759" y="80404"/>
                  </a:lnTo>
                  <a:cubicBezTo>
                    <a:pt x="160759" y="80404"/>
                    <a:pt x="160759" y="80404"/>
                    <a:pt x="160759" y="80355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498" name="Gráfico 6">
              <a:extLst>
                <a:ext uri="{FF2B5EF4-FFF2-40B4-BE49-F238E27FC236}">
                  <a16:creationId xmlns:a16="http://schemas.microsoft.com/office/drawing/2014/main" id="{6CA70E13-1EE1-C8BB-69DE-8899D17772AB}"/>
                </a:ext>
              </a:extLst>
            </p:cNvPr>
            <p:cNvGrpSpPr/>
            <p:nvPr/>
          </p:nvGrpSpPr>
          <p:grpSpPr>
            <a:xfrm>
              <a:off x="5228067" y="2251124"/>
              <a:ext cx="101521" cy="101521"/>
              <a:chOff x="5228067" y="2251124"/>
              <a:chExt cx="101521" cy="101521"/>
            </a:xfrm>
            <a:noFill/>
          </p:grpSpPr>
          <p:sp>
            <p:nvSpPr>
              <p:cNvPr id="499" name="Forma livre: Forma 498">
                <a:extLst>
                  <a:ext uri="{FF2B5EF4-FFF2-40B4-BE49-F238E27FC236}">
                    <a16:creationId xmlns:a16="http://schemas.microsoft.com/office/drawing/2014/main" id="{6A8560A8-D71E-B680-1828-F123AFF43FF2}"/>
                  </a:ext>
                </a:extLst>
              </p:cNvPr>
              <p:cNvSpPr/>
              <p:nvPr/>
            </p:nvSpPr>
            <p:spPr>
              <a:xfrm>
                <a:off x="5228067" y="2251124"/>
                <a:ext cx="101521" cy="101521"/>
              </a:xfrm>
              <a:custGeom>
                <a:avLst/>
                <a:gdLst>
                  <a:gd name="connsiteX0" fmla="*/ 101522 w 101521"/>
                  <a:gd name="connsiteY0" fmla="*/ 50761 h 101521"/>
                  <a:gd name="connsiteX1" fmla="*/ 50761 w 101521"/>
                  <a:gd name="connsiteY1" fmla="*/ 101522 h 101521"/>
                  <a:gd name="connsiteX2" fmla="*/ 0 w 101521"/>
                  <a:gd name="connsiteY2" fmla="*/ 50761 h 101521"/>
                  <a:gd name="connsiteX3" fmla="*/ 50761 w 101521"/>
                  <a:gd name="connsiteY3" fmla="*/ 0 h 101521"/>
                  <a:gd name="connsiteX4" fmla="*/ 101522 w 101521"/>
                  <a:gd name="connsiteY4" fmla="*/ 50761 h 1015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01521" h="101521">
                    <a:moveTo>
                      <a:pt x="101522" y="50761"/>
                    </a:moveTo>
                    <a:cubicBezTo>
                      <a:pt x="101522" y="78787"/>
                      <a:pt x="78787" y="101522"/>
                      <a:pt x="50761" y="101522"/>
                    </a:cubicBezTo>
                    <a:cubicBezTo>
                      <a:pt x="22735" y="101522"/>
                      <a:pt x="0" y="78787"/>
                      <a:pt x="0" y="50761"/>
                    </a:cubicBezTo>
                    <a:cubicBezTo>
                      <a:pt x="0" y="22735"/>
                      <a:pt x="22735" y="0"/>
                      <a:pt x="50761" y="0"/>
                    </a:cubicBezTo>
                    <a:cubicBezTo>
                      <a:pt x="78787" y="0"/>
                      <a:pt x="101522" y="22735"/>
                      <a:pt x="101522" y="50761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00" name="Forma livre: Forma 499">
                <a:extLst>
                  <a:ext uri="{FF2B5EF4-FFF2-40B4-BE49-F238E27FC236}">
                    <a16:creationId xmlns:a16="http://schemas.microsoft.com/office/drawing/2014/main" id="{6BFB8B1D-4A06-5C21-FAD2-687ACA355683}"/>
                  </a:ext>
                </a:extLst>
              </p:cNvPr>
              <p:cNvSpPr/>
              <p:nvPr/>
            </p:nvSpPr>
            <p:spPr>
              <a:xfrm>
                <a:off x="5255603" y="2282531"/>
                <a:ext cx="47086" cy="34150"/>
              </a:xfrm>
              <a:custGeom>
                <a:avLst/>
                <a:gdLst>
                  <a:gd name="connsiteX0" fmla="*/ 0 w 47086"/>
                  <a:gd name="connsiteY0" fmla="*/ 17394 h 34150"/>
                  <a:gd name="connsiteX1" fmla="*/ 20677 w 47086"/>
                  <a:gd name="connsiteY1" fmla="*/ 34151 h 34150"/>
                  <a:gd name="connsiteX2" fmla="*/ 47086 w 47086"/>
                  <a:gd name="connsiteY2" fmla="*/ 0 h 34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47086" h="34150">
                    <a:moveTo>
                      <a:pt x="0" y="17394"/>
                    </a:moveTo>
                    <a:lnTo>
                      <a:pt x="20677" y="34151"/>
                    </a:lnTo>
                    <a:lnTo>
                      <a:pt x="47086" y="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501" name="Gráfico 6">
            <a:extLst>
              <a:ext uri="{FF2B5EF4-FFF2-40B4-BE49-F238E27FC236}">
                <a16:creationId xmlns:a16="http://schemas.microsoft.com/office/drawing/2014/main" id="{D334C252-EE50-1CE0-00C4-5C7B6A6FEBE3}"/>
              </a:ext>
            </a:extLst>
          </p:cNvPr>
          <p:cNvGrpSpPr/>
          <p:nvPr/>
        </p:nvGrpSpPr>
        <p:grpSpPr>
          <a:xfrm>
            <a:off x="5136344" y="3211759"/>
            <a:ext cx="284917" cy="257773"/>
            <a:chOff x="5136344" y="3211759"/>
            <a:chExt cx="284917" cy="257773"/>
          </a:xfrm>
        </p:grpSpPr>
        <p:grpSp>
          <p:nvGrpSpPr>
            <p:cNvPr id="502" name="Gráfico 6">
              <a:extLst>
                <a:ext uri="{FF2B5EF4-FFF2-40B4-BE49-F238E27FC236}">
                  <a16:creationId xmlns:a16="http://schemas.microsoft.com/office/drawing/2014/main" id="{60F5F8EC-05C9-0BC9-2727-5DFE8897BEE0}"/>
                </a:ext>
              </a:extLst>
            </p:cNvPr>
            <p:cNvGrpSpPr/>
            <p:nvPr/>
          </p:nvGrpSpPr>
          <p:grpSpPr>
            <a:xfrm>
              <a:off x="5177061" y="3469533"/>
              <a:ext cx="203484" cy="4899"/>
              <a:chOff x="5177061" y="3469533"/>
              <a:chExt cx="203484" cy="4899"/>
            </a:xfrm>
          </p:grpSpPr>
          <p:sp>
            <p:nvSpPr>
              <p:cNvPr id="503" name="Forma livre: Forma 502">
                <a:extLst>
                  <a:ext uri="{FF2B5EF4-FFF2-40B4-BE49-F238E27FC236}">
                    <a16:creationId xmlns:a16="http://schemas.microsoft.com/office/drawing/2014/main" id="{6304F236-1185-D862-B58B-8056C5DA7CA0}"/>
                  </a:ext>
                </a:extLst>
              </p:cNvPr>
              <p:cNvSpPr/>
              <p:nvPr/>
            </p:nvSpPr>
            <p:spPr>
              <a:xfrm>
                <a:off x="5177061" y="3469533"/>
                <a:ext cx="44146" cy="4899"/>
              </a:xfrm>
              <a:custGeom>
                <a:avLst/>
                <a:gdLst>
                  <a:gd name="connsiteX0" fmla="*/ 0 w 44146"/>
                  <a:gd name="connsiteY0" fmla="*/ 0 h 4899"/>
                  <a:gd name="connsiteX1" fmla="*/ 44146 w 44146"/>
                  <a:gd name="connsiteY1" fmla="*/ 0 h 48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4146" h="4899">
                    <a:moveTo>
                      <a:pt x="0" y="0"/>
                    </a:moveTo>
                    <a:lnTo>
                      <a:pt x="44146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04" name="Forma livre: Forma 503">
                <a:extLst>
                  <a:ext uri="{FF2B5EF4-FFF2-40B4-BE49-F238E27FC236}">
                    <a16:creationId xmlns:a16="http://schemas.microsoft.com/office/drawing/2014/main" id="{DB95F511-0761-2F56-336B-4C8B60653AD4}"/>
                  </a:ext>
                </a:extLst>
              </p:cNvPr>
              <p:cNvSpPr/>
              <p:nvPr/>
            </p:nvSpPr>
            <p:spPr>
              <a:xfrm>
                <a:off x="5336399" y="3469533"/>
                <a:ext cx="44146" cy="4899"/>
              </a:xfrm>
              <a:custGeom>
                <a:avLst/>
                <a:gdLst>
                  <a:gd name="connsiteX0" fmla="*/ 0 w 44146"/>
                  <a:gd name="connsiteY0" fmla="*/ 0 h 4899"/>
                  <a:gd name="connsiteX1" fmla="*/ 44146 w 44146"/>
                  <a:gd name="connsiteY1" fmla="*/ 0 h 48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4146" h="4899">
                    <a:moveTo>
                      <a:pt x="0" y="0"/>
                    </a:moveTo>
                    <a:lnTo>
                      <a:pt x="44146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505" name="Forma livre: Forma 504">
              <a:extLst>
                <a:ext uri="{FF2B5EF4-FFF2-40B4-BE49-F238E27FC236}">
                  <a16:creationId xmlns:a16="http://schemas.microsoft.com/office/drawing/2014/main" id="{BAAF2191-FDFF-2FC0-5578-8055EE57F348}"/>
                </a:ext>
              </a:extLst>
            </p:cNvPr>
            <p:cNvSpPr/>
            <p:nvPr/>
          </p:nvSpPr>
          <p:spPr>
            <a:xfrm>
              <a:off x="5136344" y="3211759"/>
              <a:ext cx="284917" cy="224798"/>
            </a:xfrm>
            <a:custGeom>
              <a:avLst/>
              <a:gdLst>
                <a:gd name="connsiteX0" fmla="*/ 260419 w 284917"/>
                <a:gd name="connsiteY0" fmla="*/ 0 h 224798"/>
                <a:gd name="connsiteX1" fmla="*/ 284917 w 284917"/>
                <a:gd name="connsiteY1" fmla="*/ 24498 h 224798"/>
                <a:gd name="connsiteX2" fmla="*/ 284917 w 284917"/>
                <a:gd name="connsiteY2" fmla="*/ 200300 h 224798"/>
                <a:gd name="connsiteX3" fmla="*/ 260419 w 284917"/>
                <a:gd name="connsiteY3" fmla="*/ 224798 h 224798"/>
                <a:gd name="connsiteX4" fmla="*/ 24498 w 284917"/>
                <a:gd name="connsiteY4" fmla="*/ 224798 h 224798"/>
                <a:gd name="connsiteX5" fmla="*/ 0 w 284917"/>
                <a:gd name="connsiteY5" fmla="*/ 200300 h 224798"/>
                <a:gd name="connsiteX6" fmla="*/ 0 w 284917"/>
                <a:gd name="connsiteY6" fmla="*/ 24498 h 224798"/>
                <a:gd name="connsiteX7" fmla="*/ 24498 w 284917"/>
                <a:gd name="connsiteY7" fmla="*/ 0 h 2247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4917" h="224798">
                  <a:moveTo>
                    <a:pt x="260419" y="0"/>
                  </a:moveTo>
                  <a:cubicBezTo>
                    <a:pt x="273949" y="0"/>
                    <a:pt x="284917" y="10968"/>
                    <a:pt x="284917" y="24498"/>
                  </a:cubicBezTo>
                  <a:lnTo>
                    <a:pt x="284917" y="200300"/>
                  </a:lnTo>
                  <a:cubicBezTo>
                    <a:pt x="284917" y="213830"/>
                    <a:pt x="273949" y="224798"/>
                    <a:pt x="260419" y="224798"/>
                  </a:cubicBezTo>
                  <a:lnTo>
                    <a:pt x="24498" y="224798"/>
                  </a:lnTo>
                  <a:cubicBezTo>
                    <a:pt x="10968" y="224798"/>
                    <a:pt x="0" y="213830"/>
                    <a:pt x="0" y="200300"/>
                  </a:cubicBezTo>
                  <a:lnTo>
                    <a:pt x="0" y="24498"/>
                  </a:lnTo>
                  <a:cubicBezTo>
                    <a:pt x="0" y="10968"/>
                    <a:pt x="10968" y="0"/>
                    <a:pt x="24498" y="0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506" name="Forma livre: Forma 505">
              <a:extLst>
                <a:ext uri="{FF2B5EF4-FFF2-40B4-BE49-F238E27FC236}">
                  <a16:creationId xmlns:a16="http://schemas.microsoft.com/office/drawing/2014/main" id="{AA57CD3F-ED65-98F5-5D7E-81350903E082}"/>
                </a:ext>
              </a:extLst>
            </p:cNvPr>
            <p:cNvSpPr/>
            <p:nvPr/>
          </p:nvSpPr>
          <p:spPr>
            <a:xfrm>
              <a:off x="5292792" y="3280502"/>
              <a:ext cx="87312" cy="87312"/>
            </a:xfrm>
            <a:custGeom>
              <a:avLst/>
              <a:gdLst>
                <a:gd name="connsiteX0" fmla="*/ 87313 w 87312"/>
                <a:gd name="connsiteY0" fmla="*/ 43656 h 87312"/>
                <a:gd name="connsiteX1" fmla="*/ 43656 w 87312"/>
                <a:gd name="connsiteY1" fmla="*/ 87313 h 87312"/>
                <a:gd name="connsiteX2" fmla="*/ 0 w 87312"/>
                <a:gd name="connsiteY2" fmla="*/ 43656 h 87312"/>
                <a:gd name="connsiteX3" fmla="*/ 43656 w 87312"/>
                <a:gd name="connsiteY3" fmla="*/ 0 h 87312"/>
                <a:gd name="connsiteX4" fmla="*/ 87313 w 87312"/>
                <a:gd name="connsiteY4" fmla="*/ 43656 h 873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7312" h="87312">
                  <a:moveTo>
                    <a:pt x="87313" y="43656"/>
                  </a:moveTo>
                  <a:cubicBezTo>
                    <a:pt x="87313" y="67763"/>
                    <a:pt x="67763" y="87313"/>
                    <a:pt x="43656" y="87313"/>
                  </a:cubicBezTo>
                  <a:cubicBezTo>
                    <a:pt x="19550" y="87313"/>
                    <a:pt x="0" y="67763"/>
                    <a:pt x="0" y="43656"/>
                  </a:cubicBezTo>
                  <a:cubicBezTo>
                    <a:pt x="0" y="19550"/>
                    <a:pt x="19550" y="0"/>
                    <a:pt x="43656" y="0"/>
                  </a:cubicBezTo>
                  <a:cubicBezTo>
                    <a:pt x="67763" y="0"/>
                    <a:pt x="87313" y="19550"/>
                    <a:pt x="87313" y="43656"/>
                  </a:cubicBez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507" name="Forma livre: Forma 506">
              <a:extLst>
                <a:ext uri="{FF2B5EF4-FFF2-40B4-BE49-F238E27FC236}">
                  <a16:creationId xmlns:a16="http://schemas.microsoft.com/office/drawing/2014/main" id="{94DB809F-4C84-329E-039F-9B6FA8E7EF58}"/>
                </a:ext>
              </a:extLst>
            </p:cNvPr>
            <p:cNvSpPr/>
            <p:nvPr/>
          </p:nvSpPr>
          <p:spPr>
            <a:xfrm>
              <a:off x="5328413" y="3315437"/>
              <a:ext cx="16120" cy="17442"/>
            </a:xfrm>
            <a:custGeom>
              <a:avLst/>
              <a:gdLst>
                <a:gd name="connsiteX0" fmla="*/ 0 w 16120"/>
                <a:gd name="connsiteY0" fmla="*/ 17443 h 17442"/>
                <a:gd name="connsiteX1" fmla="*/ 16120 w 16120"/>
                <a:gd name="connsiteY1" fmla="*/ 0 h 17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6120" h="17442">
                  <a:moveTo>
                    <a:pt x="0" y="17443"/>
                  </a:moveTo>
                  <a:lnTo>
                    <a:pt x="1612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508" name="Gráfico 6">
              <a:extLst>
                <a:ext uri="{FF2B5EF4-FFF2-40B4-BE49-F238E27FC236}">
                  <a16:creationId xmlns:a16="http://schemas.microsoft.com/office/drawing/2014/main" id="{07141F02-DA17-76D9-2316-1A4E0F0C1CDB}"/>
                </a:ext>
              </a:extLst>
            </p:cNvPr>
            <p:cNvGrpSpPr/>
            <p:nvPr/>
          </p:nvGrpSpPr>
          <p:grpSpPr>
            <a:xfrm>
              <a:off x="5176669" y="3286627"/>
              <a:ext cx="75406" cy="4213"/>
              <a:chOff x="5176669" y="3286627"/>
              <a:chExt cx="75406" cy="4213"/>
            </a:xfrm>
            <a:solidFill>
              <a:srgbClr val="394553"/>
            </a:solidFill>
          </p:grpSpPr>
          <p:sp>
            <p:nvSpPr>
              <p:cNvPr id="509" name="Forma livre: Forma 508">
                <a:extLst>
                  <a:ext uri="{FF2B5EF4-FFF2-40B4-BE49-F238E27FC236}">
                    <a16:creationId xmlns:a16="http://schemas.microsoft.com/office/drawing/2014/main" id="{9836C419-6D68-483F-7FE4-6488EF28AEB3}"/>
                  </a:ext>
                </a:extLst>
              </p:cNvPr>
              <p:cNvSpPr/>
              <p:nvPr/>
            </p:nvSpPr>
            <p:spPr>
              <a:xfrm>
                <a:off x="5176669" y="3286627"/>
                <a:ext cx="4213" cy="4213"/>
              </a:xfrm>
              <a:custGeom>
                <a:avLst/>
                <a:gdLst>
                  <a:gd name="connsiteX0" fmla="*/ 0 w 4213"/>
                  <a:gd name="connsiteY0" fmla="*/ 0 h 4213"/>
                  <a:gd name="connsiteX1" fmla="*/ 4214 w 4213"/>
                  <a:gd name="connsiteY1" fmla="*/ 0 h 4213"/>
                  <a:gd name="connsiteX2" fmla="*/ 4214 w 4213"/>
                  <a:gd name="connsiteY2" fmla="*/ 4214 h 4213"/>
                  <a:gd name="connsiteX3" fmla="*/ 0 w 4213"/>
                  <a:gd name="connsiteY3" fmla="*/ 4214 h 42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213" h="4213">
                    <a:moveTo>
                      <a:pt x="0" y="0"/>
                    </a:moveTo>
                    <a:lnTo>
                      <a:pt x="4214" y="0"/>
                    </a:lnTo>
                    <a:lnTo>
                      <a:pt x="4214" y="4214"/>
                    </a:lnTo>
                    <a:lnTo>
                      <a:pt x="0" y="4214"/>
                    </a:ln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10" name="Forma livre: Forma 509">
                <a:extLst>
                  <a:ext uri="{FF2B5EF4-FFF2-40B4-BE49-F238E27FC236}">
                    <a16:creationId xmlns:a16="http://schemas.microsoft.com/office/drawing/2014/main" id="{3FB8A822-483E-B78D-91D4-AE107828520B}"/>
                  </a:ext>
                </a:extLst>
              </p:cNvPr>
              <p:cNvSpPr/>
              <p:nvPr/>
            </p:nvSpPr>
            <p:spPr>
              <a:xfrm>
                <a:off x="5212290" y="3286627"/>
                <a:ext cx="4213" cy="4213"/>
              </a:xfrm>
              <a:custGeom>
                <a:avLst/>
                <a:gdLst>
                  <a:gd name="connsiteX0" fmla="*/ 0 w 4213"/>
                  <a:gd name="connsiteY0" fmla="*/ 0 h 4213"/>
                  <a:gd name="connsiteX1" fmla="*/ 4214 w 4213"/>
                  <a:gd name="connsiteY1" fmla="*/ 0 h 4213"/>
                  <a:gd name="connsiteX2" fmla="*/ 4214 w 4213"/>
                  <a:gd name="connsiteY2" fmla="*/ 4214 h 4213"/>
                  <a:gd name="connsiteX3" fmla="*/ 0 w 4213"/>
                  <a:gd name="connsiteY3" fmla="*/ 4214 h 42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213" h="4213">
                    <a:moveTo>
                      <a:pt x="0" y="0"/>
                    </a:moveTo>
                    <a:lnTo>
                      <a:pt x="4214" y="0"/>
                    </a:lnTo>
                    <a:lnTo>
                      <a:pt x="4214" y="4214"/>
                    </a:lnTo>
                    <a:lnTo>
                      <a:pt x="0" y="4214"/>
                    </a:ln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11" name="Forma livre: Forma 510">
                <a:extLst>
                  <a:ext uri="{FF2B5EF4-FFF2-40B4-BE49-F238E27FC236}">
                    <a16:creationId xmlns:a16="http://schemas.microsoft.com/office/drawing/2014/main" id="{82855C99-1433-3089-09FB-5FEDDCBAB24A}"/>
                  </a:ext>
                </a:extLst>
              </p:cNvPr>
              <p:cNvSpPr/>
              <p:nvPr/>
            </p:nvSpPr>
            <p:spPr>
              <a:xfrm>
                <a:off x="5247862" y="3286627"/>
                <a:ext cx="4213" cy="4213"/>
              </a:xfrm>
              <a:custGeom>
                <a:avLst/>
                <a:gdLst>
                  <a:gd name="connsiteX0" fmla="*/ 0 w 4213"/>
                  <a:gd name="connsiteY0" fmla="*/ 0 h 4213"/>
                  <a:gd name="connsiteX1" fmla="*/ 4214 w 4213"/>
                  <a:gd name="connsiteY1" fmla="*/ 0 h 4213"/>
                  <a:gd name="connsiteX2" fmla="*/ 4214 w 4213"/>
                  <a:gd name="connsiteY2" fmla="*/ 4214 h 4213"/>
                  <a:gd name="connsiteX3" fmla="*/ 0 w 4213"/>
                  <a:gd name="connsiteY3" fmla="*/ 4214 h 42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213" h="4213">
                    <a:moveTo>
                      <a:pt x="0" y="0"/>
                    </a:moveTo>
                    <a:lnTo>
                      <a:pt x="4214" y="0"/>
                    </a:lnTo>
                    <a:lnTo>
                      <a:pt x="4214" y="4214"/>
                    </a:lnTo>
                    <a:lnTo>
                      <a:pt x="0" y="4214"/>
                    </a:ln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512" name="Gráfico 6">
              <a:extLst>
                <a:ext uri="{FF2B5EF4-FFF2-40B4-BE49-F238E27FC236}">
                  <a16:creationId xmlns:a16="http://schemas.microsoft.com/office/drawing/2014/main" id="{E40DC3E0-03E8-CC7B-652F-4D4AEB77970D}"/>
                </a:ext>
              </a:extLst>
            </p:cNvPr>
            <p:cNvGrpSpPr/>
            <p:nvPr/>
          </p:nvGrpSpPr>
          <p:grpSpPr>
            <a:xfrm>
              <a:off x="5176669" y="3322101"/>
              <a:ext cx="75406" cy="4213"/>
              <a:chOff x="5176669" y="3322101"/>
              <a:chExt cx="75406" cy="4213"/>
            </a:xfrm>
            <a:solidFill>
              <a:srgbClr val="394553"/>
            </a:solidFill>
          </p:grpSpPr>
          <p:sp>
            <p:nvSpPr>
              <p:cNvPr id="513" name="Forma livre: Forma 512">
                <a:extLst>
                  <a:ext uri="{FF2B5EF4-FFF2-40B4-BE49-F238E27FC236}">
                    <a16:creationId xmlns:a16="http://schemas.microsoft.com/office/drawing/2014/main" id="{3E86372A-134B-3EB0-F5CA-7F55E6A92A46}"/>
                  </a:ext>
                </a:extLst>
              </p:cNvPr>
              <p:cNvSpPr/>
              <p:nvPr/>
            </p:nvSpPr>
            <p:spPr>
              <a:xfrm>
                <a:off x="5176669" y="3322101"/>
                <a:ext cx="4213" cy="4213"/>
              </a:xfrm>
              <a:custGeom>
                <a:avLst/>
                <a:gdLst>
                  <a:gd name="connsiteX0" fmla="*/ 0 w 4213"/>
                  <a:gd name="connsiteY0" fmla="*/ 0 h 4213"/>
                  <a:gd name="connsiteX1" fmla="*/ 4214 w 4213"/>
                  <a:gd name="connsiteY1" fmla="*/ 0 h 4213"/>
                  <a:gd name="connsiteX2" fmla="*/ 4214 w 4213"/>
                  <a:gd name="connsiteY2" fmla="*/ 4214 h 4213"/>
                  <a:gd name="connsiteX3" fmla="*/ 0 w 4213"/>
                  <a:gd name="connsiteY3" fmla="*/ 4214 h 42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213" h="4213">
                    <a:moveTo>
                      <a:pt x="0" y="0"/>
                    </a:moveTo>
                    <a:lnTo>
                      <a:pt x="4214" y="0"/>
                    </a:lnTo>
                    <a:lnTo>
                      <a:pt x="4214" y="4214"/>
                    </a:lnTo>
                    <a:lnTo>
                      <a:pt x="0" y="4214"/>
                    </a:ln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14" name="Forma livre: Forma 513">
                <a:extLst>
                  <a:ext uri="{FF2B5EF4-FFF2-40B4-BE49-F238E27FC236}">
                    <a16:creationId xmlns:a16="http://schemas.microsoft.com/office/drawing/2014/main" id="{857E0CAF-3207-6870-1954-CAF0A0ADB380}"/>
                  </a:ext>
                </a:extLst>
              </p:cNvPr>
              <p:cNvSpPr/>
              <p:nvPr/>
            </p:nvSpPr>
            <p:spPr>
              <a:xfrm>
                <a:off x="5212290" y="3322101"/>
                <a:ext cx="4213" cy="4213"/>
              </a:xfrm>
              <a:custGeom>
                <a:avLst/>
                <a:gdLst>
                  <a:gd name="connsiteX0" fmla="*/ 0 w 4213"/>
                  <a:gd name="connsiteY0" fmla="*/ 0 h 4213"/>
                  <a:gd name="connsiteX1" fmla="*/ 4214 w 4213"/>
                  <a:gd name="connsiteY1" fmla="*/ 0 h 4213"/>
                  <a:gd name="connsiteX2" fmla="*/ 4214 w 4213"/>
                  <a:gd name="connsiteY2" fmla="*/ 4214 h 4213"/>
                  <a:gd name="connsiteX3" fmla="*/ 0 w 4213"/>
                  <a:gd name="connsiteY3" fmla="*/ 4214 h 42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213" h="4213">
                    <a:moveTo>
                      <a:pt x="0" y="0"/>
                    </a:moveTo>
                    <a:lnTo>
                      <a:pt x="4214" y="0"/>
                    </a:lnTo>
                    <a:lnTo>
                      <a:pt x="4214" y="4214"/>
                    </a:lnTo>
                    <a:lnTo>
                      <a:pt x="0" y="4214"/>
                    </a:ln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15" name="Forma livre: Forma 514">
                <a:extLst>
                  <a:ext uri="{FF2B5EF4-FFF2-40B4-BE49-F238E27FC236}">
                    <a16:creationId xmlns:a16="http://schemas.microsoft.com/office/drawing/2014/main" id="{4B2D1C57-595E-6161-C47F-A86E388196CD}"/>
                  </a:ext>
                </a:extLst>
              </p:cNvPr>
              <p:cNvSpPr/>
              <p:nvPr/>
            </p:nvSpPr>
            <p:spPr>
              <a:xfrm>
                <a:off x="5247862" y="3322101"/>
                <a:ext cx="4213" cy="4213"/>
              </a:xfrm>
              <a:custGeom>
                <a:avLst/>
                <a:gdLst>
                  <a:gd name="connsiteX0" fmla="*/ 0 w 4213"/>
                  <a:gd name="connsiteY0" fmla="*/ 0 h 4213"/>
                  <a:gd name="connsiteX1" fmla="*/ 4214 w 4213"/>
                  <a:gd name="connsiteY1" fmla="*/ 0 h 4213"/>
                  <a:gd name="connsiteX2" fmla="*/ 4214 w 4213"/>
                  <a:gd name="connsiteY2" fmla="*/ 4214 h 4213"/>
                  <a:gd name="connsiteX3" fmla="*/ 0 w 4213"/>
                  <a:gd name="connsiteY3" fmla="*/ 4214 h 42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213" h="4213">
                    <a:moveTo>
                      <a:pt x="0" y="0"/>
                    </a:moveTo>
                    <a:lnTo>
                      <a:pt x="4214" y="0"/>
                    </a:lnTo>
                    <a:lnTo>
                      <a:pt x="4214" y="4214"/>
                    </a:lnTo>
                    <a:lnTo>
                      <a:pt x="0" y="4214"/>
                    </a:ln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516" name="Gráfico 6">
              <a:extLst>
                <a:ext uri="{FF2B5EF4-FFF2-40B4-BE49-F238E27FC236}">
                  <a16:creationId xmlns:a16="http://schemas.microsoft.com/office/drawing/2014/main" id="{FA60980B-C108-16A5-57A0-75086F40C589}"/>
                </a:ext>
              </a:extLst>
            </p:cNvPr>
            <p:cNvGrpSpPr/>
            <p:nvPr/>
          </p:nvGrpSpPr>
          <p:grpSpPr>
            <a:xfrm>
              <a:off x="5176669" y="3357623"/>
              <a:ext cx="75406" cy="4213"/>
              <a:chOff x="5176669" y="3357623"/>
              <a:chExt cx="75406" cy="4213"/>
            </a:xfrm>
            <a:solidFill>
              <a:srgbClr val="394553"/>
            </a:solidFill>
          </p:grpSpPr>
          <p:sp>
            <p:nvSpPr>
              <p:cNvPr id="517" name="Forma livre: Forma 516">
                <a:extLst>
                  <a:ext uri="{FF2B5EF4-FFF2-40B4-BE49-F238E27FC236}">
                    <a16:creationId xmlns:a16="http://schemas.microsoft.com/office/drawing/2014/main" id="{AE647ADA-39C3-16A8-4415-DF0F81A6BE17}"/>
                  </a:ext>
                </a:extLst>
              </p:cNvPr>
              <p:cNvSpPr/>
              <p:nvPr/>
            </p:nvSpPr>
            <p:spPr>
              <a:xfrm>
                <a:off x="5176669" y="3357623"/>
                <a:ext cx="4213" cy="4213"/>
              </a:xfrm>
              <a:custGeom>
                <a:avLst/>
                <a:gdLst>
                  <a:gd name="connsiteX0" fmla="*/ 0 w 4213"/>
                  <a:gd name="connsiteY0" fmla="*/ 0 h 4213"/>
                  <a:gd name="connsiteX1" fmla="*/ 4214 w 4213"/>
                  <a:gd name="connsiteY1" fmla="*/ 0 h 4213"/>
                  <a:gd name="connsiteX2" fmla="*/ 4214 w 4213"/>
                  <a:gd name="connsiteY2" fmla="*/ 4214 h 4213"/>
                  <a:gd name="connsiteX3" fmla="*/ 0 w 4213"/>
                  <a:gd name="connsiteY3" fmla="*/ 4214 h 42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213" h="4213">
                    <a:moveTo>
                      <a:pt x="0" y="0"/>
                    </a:moveTo>
                    <a:lnTo>
                      <a:pt x="4214" y="0"/>
                    </a:lnTo>
                    <a:lnTo>
                      <a:pt x="4214" y="4214"/>
                    </a:lnTo>
                    <a:lnTo>
                      <a:pt x="0" y="4214"/>
                    </a:ln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18" name="Forma livre: Forma 517">
                <a:extLst>
                  <a:ext uri="{FF2B5EF4-FFF2-40B4-BE49-F238E27FC236}">
                    <a16:creationId xmlns:a16="http://schemas.microsoft.com/office/drawing/2014/main" id="{A30F278C-F0A2-D20F-18F3-8B775F5B32FB}"/>
                  </a:ext>
                </a:extLst>
              </p:cNvPr>
              <p:cNvSpPr/>
              <p:nvPr/>
            </p:nvSpPr>
            <p:spPr>
              <a:xfrm>
                <a:off x="5212290" y="3357623"/>
                <a:ext cx="4213" cy="4213"/>
              </a:xfrm>
              <a:custGeom>
                <a:avLst/>
                <a:gdLst>
                  <a:gd name="connsiteX0" fmla="*/ 0 w 4213"/>
                  <a:gd name="connsiteY0" fmla="*/ 0 h 4213"/>
                  <a:gd name="connsiteX1" fmla="*/ 4214 w 4213"/>
                  <a:gd name="connsiteY1" fmla="*/ 0 h 4213"/>
                  <a:gd name="connsiteX2" fmla="*/ 4214 w 4213"/>
                  <a:gd name="connsiteY2" fmla="*/ 4214 h 4213"/>
                  <a:gd name="connsiteX3" fmla="*/ 0 w 4213"/>
                  <a:gd name="connsiteY3" fmla="*/ 4214 h 42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213" h="4213">
                    <a:moveTo>
                      <a:pt x="0" y="0"/>
                    </a:moveTo>
                    <a:lnTo>
                      <a:pt x="4214" y="0"/>
                    </a:lnTo>
                    <a:lnTo>
                      <a:pt x="4214" y="4214"/>
                    </a:lnTo>
                    <a:lnTo>
                      <a:pt x="0" y="4214"/>
                    </a:ln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19" name="Forma livre: Forma 518">
                <a:extLst>
                  <a:ext uri="{FF2B5EF4-FFF2-40B4-BE49-F238E27FC236}">
                    <a16:creationId xmlns:a16="http://schemas.microsoft.com/office/drawing/2014/main" id="{D201ADEE-9C86-CD3E-8E2D-F9E194F04065}"/>
                  </a:ext>
                </a:extLst>
              </p:cNvPr>
              <p:cNvSpPr/>
              <p:nvPr/>
            </p:nvSpPr>
            <p:spPr>
              <a:xfrm>
                <a:off x="5247862" y="3357623"/>
                <a:ext cx="4213" cy="4213"/>
              </a:xfrm>
              <a:custGeom>
                <a:avLst/>
                <a:gdLst>
                  <a:gd name="connsiteX0" fmla="*/ 0 w 4213"/>
                  <a:gd name="connsiteY0" fmla="*/ 0 h 4213"/>
                  <a:gd name="connsiteX1" fmla="*/ 4214 w 4213"/>
                  <a:gd name="connsiteY1" fmla="*/ 0 h 4213"/>
                  <a:gd name="connsiteX2" fmla="*/ 4214 w 4213"/>
                  <a:gd name="connsiteY2" fmla="*/ 4214 h 4213"/>
                  <a:gd name="connsiteX3" fmla="*/ 0 w 4213"/>
                  <a:gd name="connsiteY3" fmla="*/ 4214 h 42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213" h="4213">
                    <a:moveTo>
                      <a:pt x="0" y="0"/>
                    </a:moveTo>
                    <a:lnTo>
                      <a:pt x="4214" y="0"/>
                    </a:lnTo>
                    <a:lnTo>
                      <a:pt x="4214" y="4214"/>
                    </a:lnTo>
                    <a:lnTo>
                      <a:pt x="0" y="4214"/>
                    </a:ln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520" name="Gráfico 6">
            <a:extLst>
              <a:ext uri="{FF2B5EF4-FFF2-40B4-BE49-F238E27FC236}">
                <a16:creationId xmlns:a16="http://schemas.microsoft.com/office/drawing/2014/main" id="{21E753B0-5F27-85E2-8268-6DB91A911653}"/>
              </a:ext>
            </a:extLst>
          </p:cNvPr>
          <p:cNvGrpSpPr/>
          <p:nvPr/>
        </p:nvGrpSpPr>
        <p:grpSpPr>
          <a:xfrm>
            <a:off x="5152598" y="999447"/>
            <a:ext cx="252410" cy="308632"/>
            <a:chOff x="5152598" y="999447"/>
            <a:chExt cx="252410" cy="308632"/>
          </a:xfrm>
        </p:grpSpPr>
        <p:grpSp>
          <p:nvGrpSpPr>
            <p:cNvPr id="521" name="Gráfico 6">
              <a:extLst>
                <a:ext uri="{FF2B5EF4-FFF2-40B4-BE49-F238E27FC236}">
                  <a16:creationId xmlns:a16="http://schemas.microsoft.com/office/drawing/2014/main" id="{82FCE431-4AC4-F52E-20DE-E0B034040572}"/>
                </a:ext>
              </a:extLst>
            </p:cNvPr>
            <p:cNvGrpSpPr/>
            <p:nvPr/>
          </p:nvGrpSpPr>
          <p:grpSpPr>
            <a:xfrm>
              <a:off x="5232085" y="1246735"/>
              <a:ext cx="93486" cy="48066"/>
              <a:chOff x="5232085" y="1246735"/>
              <a:chExt cx="93486" cy="48066"/>
            </a:xfrm>
            <a:solidFill>
              <a:srgbClr val="394553"/>
            </a:solidFill>
          </p:grpSpPr>
          <p:sp>
            <p:nvSpPr>
              <p:cNvPr id="522" name="Forma livre: Forma 521">
                <a:extLst>
                  <a:ext uri="{FF2B5EF4-FFF2-40B4-BE49-F238E27FC236}">
                    <a16:creationId xmlns:a16="http://schemas.microsoft.com/office/drawing/2014/main" id="{A8B6AE73-B2DC-63C1-1B0E-0B60E1425B69}"/>
                  </a:ext>
                </a:extLst>
              </p:cNvPr>
              <p:cNvSpPr/>
              <p:nvPr/>
            </p:nvSpPr>
            <p:spPr>
              <a:xfrm>
                <a:off x="5232085" y="1246735"/>
                <a:ext cx="7643" cy="7643"/>
              </a:xfrm>
              <a:custGeom>
                <a:avLst/>
                <a:gdLst>
                  <a:gd name="connsiteX0" fmla="*/ 7644 w 7643"/>
                  <a:gd name="connsiteY0" fmla="*/ 3822 h 7643"/>
                  <a:gd name="connsiteX1" fmla="*/ 3822 w 7643"/>
                  <a:gd name="connsiteY1" fmla="*/ 7644 h 7643"/>
                  <a:gd name="connsiteX2" fmla="*/ 0 w 7643"/>
                  <a:gd name="connsiteY2" fmla="*/ 3822 h 7643"/>
                  <a:gd name="connsiteX3" fmla="*/ 3822 w 7643"/>
                  <a:gd name="connsiteY3" fmla="*/ 0 h 7643"/>
                  <a:gd name="connsiteX4" fmla="*/ 7644 w 7643"/>
                  <a:gd name="connsiteY4" fmla="*/ 3822 h 76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643" h="7643">
                    <a:moveTo>
                      <a:pt x="7644" y="3822"/>
                    </a:moveTo>
                    <a:cubicBezTo>
                      <a:pt x="7644" y="5929"/>
                      <a:pt x="5929" y="7644"/>
                      <a:pt x="3822" y="7644"/>
                    </a:cubicBezTo>
                    <a:cubicBezTo>
                      <a:pt x="1715" y="7644"/>
                      <a:pt x="0" y="5929"/>
                      <a:pt x="0" y="3822"/>
                    </a:cubicBezTo>
                    <a:cubicBezTo>
                      <a:pt x="0" y="1715"/>
                      <a:pt x="1715" y="0"/>
                      <a:pt x="3822" y="0"/>
                    </a:cubicBezTo>
                    <a:cubicBezTo>
                      <a:pt x="5929" y="0"/>
                      <a:pt x="7644" y="1715"/>
                      <a:pt x="7644" y="3822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23" name="Forma livre: Forma 522">
                <a:extLst>
                  <a:ext uri="{FF2B5EF4-FFF2-40B4-BE49-F238E27FC236}">
                    <a16:creationId xmlns:a16="http://schemas.microsoft.com/office/drawing/2014/main" id="{0E1A1DB0-808F-E118-E1AA-F7350C7A041A}"/>
                  </a:ext>
                </a:extLst>
              </p:cNvPr>
              <p:cNvSpPr/>
              <p:nvPr/>
            </p:nvSpPr>
            <p:spPr>
              <a:xfrm>
                <a:off x="5317927" y="1246735"/>
                <a:ext cx="7643" cy="7643"/>
              </a:xfrm>
              <a:custGeom>
                <a:avLst/>
                <a:gdLst>
                  <a:gd name="connsiteX0" fmla="*/ 7644 w 7643"/>
                  <a:gd name="connsiteY0" fmla="*/ 3822 h 7643"/>
                  <a:gd name="connsiteX1" fmla="*/ 3822 w 7643"/>
                  <a:gd name="connsiteY1" fmla="*/ 7644 h 7643"/>
                  <a:gd name="connsiteX2" fmla="*/ 0 w 7643"/>
                  <a:gd name="connsiteY2" fmla="*/ 3822 h 7643"/>
                  <a:gd name="connsiteX3" fmla="*/ 3822 w 7643"/>
                  <a:gd name="connsiteY3" fmla="*/ 0 h 7643"/>
                  <a:gd name="connsiteX4" fmla="*/ 7644 w 7643"/>
                  <a:gd name="connsiteY4" fmla="*/ 3822 h 76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643" h="7643">
                    <a:moveTo>
                      <a:pt x="7644" y="3822"/>
                    </a:moveTo>
                    <a:cubicBezTo>
                      <a:pt x="7644" y="5929"/>
                      <a:pt x="5929" y="7644"/>
                      <a:pt x="3822" y="7644"/>
                    </a:cubicBezTo>
                    <a:cubicBezTo>
                      <a:pt x="1715" y="7644"/>
                      <a:pt x="0" y="5929"/>
                      <a:pt x="0" y="3822"/>
                    </a:cubicBezTo>
                    <a:cubicBezTo>
                      <a:pt x="0" y="1715"/>
                      <a:pt x="1715" y="0"/>
                      <a:pt x="3822" y="0"/>
                    </a:cubicBezTo>
                    <a:cubicBezTo>
                      <a:pt x="5929" y="0"/>
                      <a:pt x="7644" y="1715"/>
                      <a:pt x="7644" y="3822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24" name="Forma livre: Forma 523">
                <a:extLst>
                  <a:ext uri="{FF2B5EF4-FFF2-40B4-BE49-F238E27FC236}">
                    <a16:creationId xmlns:a16="http://schemas.microsoft.com/office/drawing/2014/main" id="{3190E6FD-60E7-4A3F-E50C-B62A5C4E0CDE}"/>
                  </a:ext>
                </a:extLst>
              </p:cNvPr>
              <p:cNvSpPr/>
              <p:nvPr/>
            </p:nvSpPr>
            <p:spPr>
              <a:xfrm>
                <a:off x="5232085" y="1287157"/>
                <a:ext cx="7643" cy="7643"/>
              </a:xfrm>
              <a:custGeom>
                <a:avLst/>
                <a:gdLst>
                  <a:gd name="connsiteX0" fmla="*/ 7644 w 7643"/>
                  <a:gd name="connsiteY0" fmla="*/ 3822 h 7643"/>
                  <a:gd name="connsiteX1" fmla="*/ 3822 w 7643"/>
                  <a:gd name="connsiteY1" fmla="*/ 7644 h 7643"/>
                  <a:gd name="connsiteX2" fmla="*/ 0 w 7643"/>
                  <a:gd name="connsiteY2" fmla="*/ 3822 h 7643"/>
                  <a:gd name="connsiteX3" fmla="*/ 3822 w 7643"/>
                  <a:gd name="connsiteY3" fmla="*/ 0 h 7643"/>
                  <a:gd name="connsiteX4" fmla="*/ 7644 w 7643"/>
                  <a:gd name="connsiteY4" fmla="*/ 3822 h 76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643" h="7643">
                    <a:moveTo>
                      <a:pt x="7644" y="3822"/>
                    </a:moveTo>
                    <a:cubicBezTo>
                      <a:pt x="7644" y="5929"/>
                      <a:pt x="5929" y="7644"/>
                      <a:pt x="3822" y="7644"/>
                    </a:cubicBezTo>
                    <a:cubicBezTo>
                      <a:pt x="1715" y="7644"/>
                      <a:pt x="0" y="5929"/>
                      <a:pt x="0" y="3822"/>
                    </a:cubicBezTo>
                    <a:cubicBezTo>
                      <a:pt x="0" y="1715"/>
                      <a:pt x="1715" y="0"/>
                      <a:pt x="3822" y="0"/>
                    </a:cubicBezTo>
                    <a:cubicBezTo>
                      <a:pt x="5929" y="0"/>
                      <a:pt x="7644" y="1715"/>
                      <a:pt x="7644" y="3822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25" name="Forma livre: Forma 524">
                <a:extLst>
                  <a:ext uri="{FF2B5EF4-FFF2-40B4-BE49-F238E27FC236}">
                    <a16:creationId xmlns:a16="http://schemas.microsoft.com/office/drawing/2014/main" id="{7524FB75-C938-06FA-596B-247F8F3CB4E8}"/>
                  </a:ext>
                </a:extLst>
              </p:cNvPr>
              <p:cNvSpPr/>
              <p:nvPr/>
            </p:nvSpPr>
            <p:spPr>
              <a:xfrm>
                <a:off x="5317927" y="1287157"/>
                <a:ext cx="7643" cy="7643"/>
              </a:xfrm>
              <a:custGeom>
                <a:avLst/>
                <a:gdLst>
                  <a:gd name="connsiteX0" fmla="*/ 7644 w 7643"/>
                  <a:gd name="connsiteY0" fmla="*/ 3822 h 7643"/>
                  <a:gd name="connsiteX1" fmla="*/ 3822 w 7643"/>
                  <a:gd name="connsiteY1" fmla="*/ 7644 h 7643"/>
                  <a:gd name="connsiteX2" fmla="*/ 0 w 7643"/>
                  <a:gd name="connsiteY2" fmla="*/ 3822 h 7643"/>
                  <a:gd name="connsiteX3" fmla="*/ 3822 w 7643"/>
                  <a:gd name="connsiteY3" fmla="*/ 0 h 7643"/>
                  <a:gd name="connsiteX4" fmla="*/ 7644 w 7643"/>
                  <a:gd name="connsiteY4" fmla="*/ 3822 h 76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643" h="7643">
                    <a:moveTo>
                      <a:pt x="7644" y="3822"/>
                    </a:moveTo>
                    <a:cubicBezTo>
                      <a:pt x="7644" y="5929"/>
                      <a:pt x="5929" y="7644"/>
                      <a:pt x="3822" y="7644"/>
                    </a:cubicBezTo>
                    <a:cubicBezTo>
                      <a:pt x="1715" y="7644"/>
                      <a:pt x="0" y="5929"/>
                      <a:pt x="0" y="3822"/>
                    </a:cubicBezTo>
                    <a:cubicBezTo>
                      <a:pt x="0" y="1715"/>
                      <a:pt x="1715" y="0"/>
                      <a:pt x="3822" y="0"/>
                    </a:cubicBezTo>
                    <a:cubicBezTo>
                      <a:pt x="5929" y="0"/>
                      <a:pt x="7644" y="1715"/>
                      <a:pt x="7644" y="3822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526" name="Gráfico 6">
              <a:extLst>
                <a:ext uri="{FF2B5EF4-FFF2-40B4-BE49-F238E27FC236}">
                  <a16:creationId xmlns:a16="http://schemas.microsoft.com/office/drawing/2014/main" id="{CB175E7E-0631-8DD9-BA62-A284C37F94D8}"/>
                </a:ext>
              </a:extLst>
            </p:cNvPr>
            <p:cNvGrpSpPr/>
            <p:nvPr/>
          </p:nvGrpSpPr>
          <p:grpSpPr>
            <a:xfrm>
              <a:off x="5152598" y="1160598"/>
              <a:ext cx="252410" cy="147480"/>
              <a:chOff x="5152598" y="1160598"/>
              <a:chExt cx="252410" cy="147480"/>
            </a:xfrm>
            <a:noFill/>
          </p:grpSpPr>
          <p:sp>
            <p:nvSpPr>
              <p:cNvPr id="527" name="Forma livre: Forma 526">
                <a:extLst>
                  <a:ext uri="{FF2B5EF4-FFF2-40B4-BE49-F238E27FC236}">
                    <a16:creationId xmlns:a16="http://schemas.microsoft.com/office/drawing/2014/main" id="{C58B32D2-99D9-A24D-18ED-3274B7F088F0}"/>
                  </a:ext>
                </a:extLst>
              </p:cNvPr>
              <p:cNvSpPr/>
              <p:nvPr/>
            </p:nvSpPr>
            <p:spPr>
              <a:xfrm>
                <a:off x="5152598" y="1160598"/>
                <a:ext cx="112216" cy="147480"/>
              </a:xfrm>
              <a:custGeom>
                <a:avLst/>
                <a:gdLst>
                  <a:gd name="connsiteX0" fmla="*/ 14 w 112216"/>
                  <a:gd name="connsiteY0" fmla="*/ 147481 h 147480"/>
                  <a:gd name="connsiteX1" fmla="*/ 14 w 112216"/>
                  <a:gd name="connsiteY1" fmla="*/ 88881 h 147480"/>
                  <a:gd name="connsiteX2" fmla="*/ 46169 w 112216"/>
                  <a:gd name="connsiteY2" fmla="*/ 32877 h 147480"/>
                  <a:gd name="connsiteX3" fmla="*/ 79438 w 112216"/>
                  <a:gd name="connsiteY3" fmla="*/ 28173 h 147480"/>
                  <a:gd name="connsiteX4" fmla="*/ 79438 w 112216"/>
                  <a:gd name="connsiteY4" fmla="*/ 0 h 147480"/>
                  <a:gd name="connsiteX5" fmla="*/ 112217 w 112216"/>
                  <a:gd name="connsiteY5" fmla="*/ 33318 h 147480"/>
                  <a:gd name="connsiteX6" fmla="*/ 112217 w 112216"/>
                  <a:gd name="connsiteY6" fmla="*/ 50026 h 1474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12216" h="147480">
                    <a:moveTo>
                      <a:pt x="14" y="147481"/>
                    </a:moveTo>
                    <a:lnTo>
                      <a:pt x="14" y="88881"/>
                    </a:lnTo>
                    <a:cubicBezTo>
                      <a:pt x="-917" y="46449"/>
                      <a:pt x="46169" y="32877"/>
                      <a:pt x="46169" y="32877"/>
                    </a:cubicBezTo>
                    <a:cubicBezTo>
                      <a:pt x="46169" y="32877"/>
                      <a:pt x="61505" y="28516"/>
                      <a:pt x="79438" y="28173"/>
                    </a:cubicBezTo>
                    <a:lnTo>
                      <a:pt x="79438" y="0"/>
                    </a:lnTo>
                    <a:cubicBezTo>
                      <a:pt x="79438" y="0"/>
                      <a:pt x="91834" y="27389"/>
                      <a:pt x="112217" y="33318"/>
                    </a:cubicBezTo>
                    <a:lnTo>
                      <a:pt x="112217" y="50026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28" name="Forma livre: Forma 527">
                <a:extLst>
                  <a:ext uri="{FF2B5EF4-FFF2-40B4-BE49-F238E27FC236}">
                    <a16:creationId xmlns:a16="http://schemas.microsoft.com/office/drawing/2014/main" id="{21FD808E-1658-A4DA-A193-62D80BE7CFD0}"/>
                  </a:ext>
                </a:extLst>
              </p:cNvPr>
              <p:cNvSpPr/>
              <p:nvPr/>
            </p:nvSpPr>
            <p:spPr>
              <a:xfrm>
                <a:off x="5292792" y="1160598"/>
                <a:ext cx="112216" cy="147480"/>
              </a:xfrm>
              <a:custGeom>
                <a:avLst/>
                <a:gdLst>
                  <a:gd name="connsiteX0" fmla="*/ 112203 w 112216"/>
                  <a:gd name="connsiteY0" fmla="*/ 147481 h 147480"/>
                  <a:gd name="connsiteX1" fmla="*/ 112203 w 112216"/>
                  <a:gd name="connsiteY1" fmla="*/ 88881 h 147480"/>
                  <a:gd name="connsiteX2" fmla="*/ 66048 w 112216"/>
                  <a:gd name="connsiteY2" fmla="*/ 32877 h 147480"/>
                  <a:gd name="connsiteX3" fmla="*/ 32779 w 112216"/>
                  <a:gd name="connsiteY3" fmla="*/ 28173 h 147480"/>
                  <a:gd name="connsiteX4" fmla="*/ 32779 w 112216"/>
                  <a:gd name="connsiteY4" fmla="*/ 0 h 147480"/>
                  <a:gd name="connsiteX5" fmla="*/ 0 w 112216"/>
                  <a:gd name="connsiteY5" fmla="*/ 33318 h 147480"/>
                  <a:gd name="connsiteX6" fmla="*/ 0 w 112216"/>
                  <a:gd name="connsiteY6" fmla="*/ 50026 h 1474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12216" h="147480">
                    <a:moveTo>
                      <a:pt x="112203" y="147481"/>
                    </a:moveTo>
                    <a:lnTo>
                      <a:pt x="112203" y="88881"/>
                    </a:lnTo>
                    <a:cubicBezTo>
                      <a:pt x="113134" y="46449"/>
                      <a:pt x="66048" y="32877"/>
                      <a:pt x="66048" y="32877"/>
                    </a:cubicBezTo>
                    <a:cubicBezTo>
                      <a:pt x="66048" y="32877"/>
                      <a:pt x="50712" y="28516"/>
                      <a:pt x="32779" y="28173"/>
                    </a:cubicBezTo>
                    <a:lnTo>
                      <a:pt x="32779" y="0"/>
                    </a:lnTo>
                    <a:cubicBezTo>
                      <a:pt x="32779" y="0"/>
                      <a:pt x="20383" y="27389"/>
                      <a:pt x="0" y="33318"/>
                    </a:cubicBezTo>
                    <a:lnTo>
                      <a:pt x="0" y="50026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529" name="Forma livre: Forma 528">
              <a:extLst>
                <a:ext uri="{FF2B5EF4-FFF2-40B4-BE49-F238E27FC236}">
                  <a16:creationId xmlns:a16="http://schemas.microsoft.com/office/drawing/2014/main" id="{411F0CC5-A924-9E6D-07BB-E4FE423F7A29}"/>
                </a:ext>
              </a:extLst>
            </p:cNvPr>
            <p:cNvSpPr/>
            <p:nvPr/>
          </p:nvSpPr>
          <p:spPr>
            <a:xfrm>
              <a:off x="5226303" y="999447"/>
              <a:ext cx="105147" cy="48017"/>
            </a:xfrm>
            <a:custGeom>
              <a:avLst/>
              <a:gdLst>
                <a:gd name="connsiteX0" fmla="*/ 105099 w 105147"/>
                <a:gd name="connsiteY0" fmla="*/ 48017 h 48017"/>
                <a:gd name="connsiteX1" fmla="*/ 103139 w 105147"/>
                <a:gd name="connsiteY1" fmla="*/ 9554 h 48017"/>
                <a:gd name="connsiteX2" fmla="*/ 93290 w 105147"/>
                <a:gd name="connsiteY2" fmla="*/ 0 h 48017"/>
                <a:gd name="connsiteX3" fmla="*/ 11857 w 105147"/>
                <a:gd name="connsiteY3" fmla="*/ 0 h 48017"/>
                <a:gd name="connsiteX4" fmla="*/ 2009 w 105147"/>
                <a:gd name="connsiteY4" fmla="*/ 9554 h 48017"/>
                <a:gd name="connsiteX5" fmla="*/ 0 w 105147"/>
                <a:gd name="connsiteY5" fmla="*/ 48017 h 48017"/>
                <a:gd name="connsiteX6" fmla="*/ 105148 w 105147"/>
                <a:gd name="connsiteY6" fmla="*/ 48017 h 480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5147" h="48017">
                  <a:moveTo>
                    <a:pt x="105099" y="48017"/>
                  </a:moveTo>
                  <a:lnTo>
                    <a:pt x="103139" y="9554"/>
                  </a:lnTo>
                  <a:cubicBezTo>
                    <a:pt x="102992" y="4312"/>
                    <a:pt x="98533" y="0"/>
                    <a:pt x="93290" y="0"/>
                  </a:cubicBezTo>
                  <a:lnTo>
                    <a:pt x="11857" y="0"/>
                  </a:lnTo>
                  <a:cubicBezTo>
                    <a:pt x="6615" y="0"/>
                    <a:pt x="2156" y="4312"/>
                    <a:pt x="2009" y="9554"/>
                  </a:cubicBezTo>
                  <a:lnTo>
                    <a:pt x="0" y="48017"/>
                  </a:lnTo>
                  <a:lnTo>
                    <a:pt x="105148" y="48017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530" name="Gráfico 6">
              <a:extLst>
                <a:ext uri="{FF2B5EF4-FFF2-40B4-BE49-F238E27FC236}">
                  <a16:creationId xmlns:a16="http://schemas.microsoft.com/office/drawing/2014/main" id="{666187AC-CD85-FE91-9D27-2296F77A4E31}"/>
                </a:ext>
              </a:extLst>
            </p:cNvPr>
            <p:cNvGrpSpPr/>
            <p:nvPr/>
          </p:nvGrpSpPr>
          <p:grpSpPr>
            <a:xfrm>
              <a:off x="5219285" y="1047856"/>
              <a:ext cx="119084" cy="116416"/>
              <a:chOff x="5219285" y="1047856"/>
              <a:chExt cx="119084" cy="116416"/>
            </a:xfrm>
            <a:noFill/>
          </p:grpSpPr>
          <p:sp>
            <p:nvSpPr>
              <p:cNvPr id="531" name="Forma livre: Forma 530">
                <a:extLst>
                  <a:ext uri="{FF2B5EF4-FFF2-40B4-BE49-F238E27FC236}">
                    <a16:creationId xmlns:a16="http://schemas.microsoft.com/office/drawing/2014/main" id="{60A0DB35-8592-E9C0-AFED-32C0F5272B15}"/>
                  </a:ext>
                </a:extLst>
              </p:cNvPr>
              <p:cNvSpPr/>
              <p:nvPr/>
            </p:nvSpPr>
            <p:spPr>
              <a:xfrm>
                <a:off x="5219933" y="1047954"/>
                <a:ext cx="82804" cy="40814"/>
              </a:xfrm>
              <a:custGeom>
                <a:avLst/>
                <a:gdLst>
                  <a:gd name="connsiteX0" fmla="*/ 82805 w 82804"/>
                  <a:gd name="connsiteY0" fmla="*/ 0 h 40814"/>
                  <a:gd name="connsiteX1" fmla="*/ 0 w 82804"/>
                  <a:gd name="connsiteY1" fmla="*/ 40814 h 408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82804" h="40814">
                    <a:moveTo>
                      <a:pt x="82805" y="0"/>
                    </a:moveTo>
                    <a:cubicBezTo>
                      <a:pt x="82805" y="0"/>
                      <a:pt x="56690" y="38757"/>
                      <a:pt x="0" y="40814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32" name="Forma livre: Forma 531">
                <a:extLst>
                  <a:ext uri="{FF2B5EF4-FFF2-40B4-BE49-F238E27FC236}">
                    <a16:creationId xmlns:a16="http://schemas.microsoft.com/office/drawing/2014/main" id="{B110A58F-0130-28EB-99BF-D8BA2823EBCE}"/>
                  </a:ext>
                </a:extLst>
              </p:cNvPr>
              <p:cNvSpPr/>
              <p:nvPr/>
            </p:nvSpPr>
            <p:spPr>
              <a:xfrm>
                <a:off x="5302199" y="1077303"/>
                <a:ext cx="35228" cy="15532"/>
              </a:xfrm>
              <a:custGeom>
                <a:avLst/>
                <a:gdLst>
                  <a:gd name="connsiteX0" fmla="*/ 0 w 35228"/>
                  <a:gd name="connsiteY0" fmla="*/ 0 h 15532"/>
                  <a:gd name="connsiteX1" fmla="*/ 35229 w 35228"/>
                  <a:gd name="connsiteY1" fmla="*/ 15532 h 155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5228" h="15532">
                    <a:moveTo>
                      <a:pt x="0" y="0"/>
                    </a:moveTo>
                    <a:cubicBezTo>
                      <a:pt x="7937" y="6615"/>
                      <a:pt x="22539" y="13474"/>
                      <a:pt x="35229" y="15532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33" name="Forma livre: Forma 532">
                <a:extLst>
                  <a:ext uri="{FF2B5EF4-FFF2-40B4-BE49-F238E27FC236}">
                    <a16:creationId xmlns:a16="http://schemas.microsoft.com/office/drawing/2014/main" id="{3C0E9300-60FF-485F-0B00-2BC58874A780}"/>
                  </a:ext>
                </a:extLst>
              </p:cNvPr>
              <p:cNvSpPr/>
              <p:nvPr/>
            </p:nvSpPr>
            <p:spPr>
              <a:xfrm>
                <a:off x="5219285" y="1047856"/>
                <a:ext cx="59591" cy="116416"/>
              </a:xfrm>
              <a:custGeom>
                <a:avLst/>
                <a:gdLst>
                  <a:gd name="connsiteX0" fmla="*/ 59591 w 59591"/>
                  <a:gd name="connsiteY0" fmla="*/ 116417 h 116416"/>
                  <a:gd name="connsiteX1" fmla="*/ 1726 w 59591"/>
                  <a:gd name="connsiteY1" fmla="*/ 55808 h 116416"/>
                  <a:gd name="connsiteX2" fmla="*/ 1383 w 59591"/>
                  <a:gd name="connsiteY2" fmla="*/ 54044 h 116416"/>
                  <a:gd name="connsiteX3" fmla="*/ 942 w 59591"/>
                  <a:gd name="connsiteY3" fmla="*/ 21412 h 116416"/>
                  <a:gd name="connsiteX4" fmla="*/ 9566 w 59591"/>
                  <a:gd name="connsiteY4" fmla="*/ 0 h 1164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9591" h="116416">
                    <a:moveTo>
                      <a:pt x="59591" y="116417"/>
                    </a:moveTo>
                    <a:cubicBezTo>
                      <a:pt x="12456" y="116417"/>
                      <a:pt x="1726" y="55808"/>
                      <a:pt x="1726" y="55808"/>
                    </a:cubicBezTo>
                    <a:lnTo>
                      <a:pt x="1383" y="54044"/>
                    </a:lnTo>
                    <a:cubicBezTo>
                      <a:pt x="1383" y="54044"/>
                      <a:pt x="-1410" y="29741"/>
                      <a:pt x="942" y="21412"/>
                    </a:cubicBezTo>
                    <a:cubicBezTo>
                      <a:pt x="3294" y="13033"/>
                      <a:pt x="9566" y="0"/>
                      <a:pt x="9566" y="0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34" name="Forma livre: Forma 533">
                <a:extLst>
                  <a:ext uri="{FF2B5EF4-FFF2-40B4-BE49-F238E27FC236}">
                    <a16:creationId xmlns:a16="http://schemas.microsoft.com/office/drawing/2014/main" id="{0B339A1F-A025-3EB1-939D-188723929315}"/>
                  </a:ext>
                </a:extLst>
              </p:cNvPr>
              <p:cNvSpPr/>
              <p:nvPr/>
            </p:nvSpPr>
            <p:spPr>
              <a:xfrm>
                <a:off x="5278779" y="1047856"/>
                <a:ext cx="59591" cy="116416"/>
              </a:xfrm>
              <a:custGeom>
                <a:avLst/>
                <a:gdLst>
                  <a:gd name="connsiteX0" fmla="*/ 0 w 59591"/>
                  <a:gd name="connsiteY0" fmla="*/ 116417 h 116416"/>
                  <a:gd name="connsiteX1" fmla="*/ 57865 w 59591"/>
                  <a:gd name="connsiteY1" fmla="*/ 55808 h 116416"/>
                  <a:gd name="connsiteX2" fmla="*/ 58208 w 59591"/>
                  <a:gd name="connsiteY2" fmla="*/ 54044 h 116416"/>
                  <a:gd name="connsiteX3" fmla="*/ 58649 w 59591"/>
                  <a:gd name="connsiteY3" fmla="*/ 21412 h 116416"/>
                  <a:gd name="connsiteX4" fmla="*/ 50026 w 59591"/>
                  <a:gd name="connsiteY4" fmla="*/ 0 h 1164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9591" h="116416">
                    <a:moveTo>
                      <a:pt x="0" y="116417"/>
                    </a:moveTo>
                    <a:cubicBezTo>
                      <a:pt x="47135" y="116417"/>
                      <a:pt x="57865" y="55808"/>
                      <a:pt x="57865" y="55808"/>
                    </a:cubicBezTo>
                    <a:lnTo>
                      <a:pt x="58208" y="54044"/>
                    </a:lnTo>
                    <a:cubicBezTo>
                      <a:pt x="58208" y="54044"/>
                      <a:pt x="61001" y="29741"/>
                      <a:pt x="58649" y="21412"/>
                    </a:cubicBezTo>
                    <a:cubicBezTo>
                      <a:pt x="56297" y="13033"/>
                      <a:pt x="50026" y="0"/>
                      <a:pt x="50026" y="0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535" name="Gráfico 6">
            <a:extLst>
              <a:ext uri="{FF2B5EF4-FFF2-40B4-BE49-F238E27FC236}">
                <a16:creationId xmlns:a16="http://schemas.microsoft.com/office/drawing/2014/main" id="{8E0713BA-4F04-5D8B-F81A-D6A467D637D6}"/>
              </a:ext>
            </a:extLst>
          </p:cNvPr>
          <p:cNvGrpSpPr/>
          <p:nvPr/>
        </p:nvGrpSpPr>
        <p:grpSpPr>
          <a:xfrm>
            <a:off x="5745671" y="1545519"/>
            <a:ext cx="342292" cy="288690"/>
            <a:chOff x="5745671" y="1545519"/>
            <a:chExt cx="342292" cy="288690"/>
          </a:xfrm>
        </p:grpSpPr>
        <p:sp>
          <p:nvSpPr>
            <p:cNvPr id="536" name="Forma livre: Forma 535">
              <a:extLst>
                <a:ext uri="{FF2B5EF4-FFF2-40B4-BE49-F238E27FC236}">
                  <a16:creationId xmlns:a16="http://schemas.microsoft.com/office/drawing/2014/main" id="{C557C310-5E96-7FA9-0C0B-E5D9FF96802D}"/>
                </a:ext>
              </a:extLst>
            </p:cNvPr>
            <p:cNvSpPr/>
            <p:nvPr/>
          </p:nvSpPr>
          <p:spPr>
            <a:xfrm>
              <a:off x="5919659" y="1545519"/>
              <a:ext cx="7643" cy="7643"/>
            </a:xfrm>
            <a:custGeom>
              <a:avLst/>
              <a:gdLst>
                <a:gd name="connsiteX0" fmla="*/ 7644 w 7643"/>
                <a:gd name="connsiteY0" fmla="*/ 3822 h 7643"/>
                <a:gd name="connsiteX1" fmla="*/ 3822 w 7643"/>
                <a:gd name="connsiteY1" fmla="*/ 7644 h 7643"/>
                <a:gd name="connsiteX2" fmla="*/ 0 w 7643"/>
                <a:gd name="connsiteY2" fmla="*/ 3822 h 7643"/>
                <a:gd name="connsiteX3" fmla="*/ 3822 w 7643"/>
                <a:gd name="connsiteY3" fmla="*/ 0 h 7643"/>
                <a:gd name="connsiteX4" fmla="*/ 7644 w 7643"/>
                <a:gd name="connsiteY4" fmla="*/ 3822 h 76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43" h="7643">
                  <a:moveTo>
                    <a:pt x="7644" y="3822"/>
                  </a:moveTo>
                  <a:cubicBezTo>
                    <a:pt x="7644" y="5929"/>
                    <a:pt x="5929" y="7644"/>
                    <a:pt x="3822" y="7644"/>
                  </a:cubicBezTo>
                  <a:cubicBezTo>
                    <a:pt x="1715" y="7644"/>
                    <a:pt x="0" y="5929"/>
                    <a:pt x="0" y="3822"/>
                  </a:cubicBezTo>
                  <a:cubicBezTo>
                    <a:pt x="0" y="1715"/>
                    <a:pt x="1715" y="0"/>
                    <a:pt x="3822" y="0"/>
                  </a:cubicBezTo>
                  <a:cubicBezTo>
                    <a:pt x="5929" y="0"/>
                    <a:pt x="7644" y="1715"/>
                    <a:pt x="7644" y="3822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537" name="Forma livre: Forma 536">
              <a:extLst>
                <a:ext uri="{FF2B5EF4-FFF2-40B4-BE49-F238E27FC236}">
                  <a16:creationId xmlns:a16="http://schemas.microsoft.com/office/drawing/2014/main" id="{A06B2298-8B69-28AA-93E4-D9E179767BD6}"/>
                </a:ext>
              </a:extLst>
            </p:cNvPr>
            <p:cNvSpPr/>
            <p:nvPr/>
          </p:nvSpPr>
          <p:spPr>
            <a:xfrm>
              <a:off x="5887125" y="1591625"/>
              <a:ext cx="7643" cy="7643"/>
            </a:xfrm>
            <a:custGeom>
              <a:avLst/>
              <a:gdLst>
                <a:gd name="connsiteX0" fmla="*/ 7644 w 7643"/>
                <a:gd name="connsiteY0" fmla="*/ 3822 h 7643"/>
                <a:gd name="connsiteX1" fmla="*/ 3822 w 7643"/>
                <a:gd name="connsiteY1" fmla="*/ 7644 h 7643"/>
                <a:gd name="connsiteX2" fmla="*/ 0 w 7643"/>
                <a:gd name="connsiteY2" fmla="*/ 3822 h 7643"/>
                <a:gd name="connsiteX3" fmla="*/ 3822 w 7643"/>
                <a:gd name="connsiteY3" fmla="*/ 0 h 7643"/>
                <a:gd name="connsiteX4" fmla="*/ 7644 w 7643"/>
                <a:gd name="connsiteY4" fmla="*/ 3822 h 76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43" h="7643">
                  <a:moveTo>
                    <a:pt x="7644" y="3822"/>
                  </a:moveTo>
                  <a:cubicBezTo>
                    <a:pt x="7644" y="5929"/>
                    <a:pt x="5929" y="7644"/>
                    <a:pt x="3822" y="7644"/>
                  </a:cubicBezTo>
                  <a:cubicBezTo>
                    <a:pt x="1715" y="7644"/>
                    <a:pt x="0" y="5929"/>
                    <a:pt x="0" y="3822"/>
                  </a:cubicBezTo>
                  <a:cubicBezTo>
                    <a:pt x="0" y="1715"/>
                    <a:pt x="1715" y="0"/>
                    <a:pt x="3822" y="0"/>
                  </a:cubicBezTo>
                  <a:cubicBezTo>
                    <a:pt x="5929" y="0"/>
                    <a:pt x="7644" y="1715"/>
                    <a:pt x="7644" y="3822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538" name="Gráfico 6">
              <a:extLst>
                <a:ext uri="{FF2B5EF4-FFF2-40B4-BE49-F238E27FC236}">
                  <a16:creationId xmlns:a16="http://schemas.microsoft.com/office/drawing/2014/main" id="{13409310-CC1F-7DBD-D3AC-ADB7E470F2DD}"/>
                </a:ext>
              </a:extLst>
            </p:cNvPr>
            <p:cNvGrpSpPr/>
            <p:nvPr/>
          </p:nvGrpSpPr>
          <p:grpSpPr>
            <a:xfrm>
              <a:off x="5792610" y="1805448"/>
              <a:ext cx="248414" cy="28761"/>
              <a:chOff x="5792610" y="1805448"/>
              <a:chExt cx="248414" cy="28761"/>
            </a:xfrm>
          </p:grpSpPr>
          <p:sp>
            <p:nvSpPr>
              <p:cNvPr id="539" name="Forma livre: Forma 538">
                <a:extLst>
                  <a:ext uri="{FF2B5EF4-FFF2-40B4-BE49-F238E27FC236}">
                    <a16:creationId xmlns:a16="http://schemas.microsoft.com/office/drawing/2014/main" id="{8FF30C30-1CCF-B1F9-AFD3-18BE6489611B}"/>
                  </a:ext>
                </a:extLst>
              </p:cNvPr>
              <p:cNvSpPr/>
              <p:nvPr/>
            </p:nvSpPr>
            <p:spPr>
              <a:xfrm>
                <a:off x="5792610" y="1805448"/>
                <a:ext cx="13866" cy="28761"/>
              </a:xfrm>
              <a:custGeom>
                <a:avLst/>
                <a:gdLst>
                  <a:gd name="connsiteX0" fmla="*/ 13866 w 13866"/>
                  <a:gd name="connsiteY0" fmla="*/ 0 h 28761"/>
                  <a:gd name="connsiteX1" fmla="*/ 0 w 13866"/>
                  <a:gd name="connsiteY1" fmla="*/ 28761 h 287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3866" h="28761">
                    <a:moveTo>
                      <a:pt x="13866" y="0"/>
                    </a:moveTo>
                    <a:lnTo>
                      <a:pt x="0" y="28761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40" name="Forma livre: Forma 539">
                <a:extLst>
                  <a:ext uri="{FF2B5EF4-FFF2-40B4-BE49-F238E27FC236}">
                    <a16:creationId xmlns:a16="http://schemas.microsoft.com/office/drawing/2014/main" id="{E949C4F6-3853-4292-9BF1-3F68B8956CE8}"/>
                  </a:ext>
                </a:extLst>
              </p:cNvPr>
              <p:cNvSpPr/>
              <p:nvPr/>
            </p:nvSpPr>
            <p:spPr>
              <a:xfrm>
                <a:off x="6027159" y="1805448"/>
                <a:ext cx="13866" cy="28761"/>
              </a:xfrm>
              <a:custGeom>
                <a:avLst/>
                <a:gdLst>
                  <a:gd name="connsiteX0" fmla="*/ 0 w 13866"/>
                  <a:gd name="connsiteY0" fmla="*/ 0 h 28761"/>
                  <a:gd name="connsiteX1" fmla="*/ 13866 w 13866"/>
                  <a:gd name="connsiteY1" fmla="*/ 28761 h 287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3866" h="28761">
                    <a:moveTo>
                      <a:pt x="0" y="0"/>
                    </a:moveTo>
                    <a:lnTo>
                      <a:pt x="13866" y="28761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541" name="Forma livre: Forma 540">
              <a:extLst>
                <a:ext uri="{FF2B5EF4-FFF2-40B4-BE49-F238E27FC236}">
                  <a16:creationId xmlns:a16="http://schemas.microsoft.com/office/drawing/2014/main" id="{9EB5AAE5-E374-D994-CB8A-D654537D2639}"/>
                </a:ext>
              </a:extLst>
            </p:cNvPr>
            <p:cNvSpPr/>
            <p:nvPr/>
          </p:nvSpPr>
          <p:spPr>
            <a:xfrm>
              <a:off x="5770464" y="1717498"/>
              <a:ext cx="292707" cy="95838"/>
            </a:xfrm>
            <a:custGeom>
              <a:avLst/>
              <a:gdLst>
                <a:gd name="connsiteX0" fmla="*/ 292708 w 292707"/>
                <a:gd name="connsiteY0" fmla="*/ 0 h 95838"/>
                <a:gd name="connsiteX1" fmla="*/ 292708 w 292707"/>
                <a:gd name="connsiteY1" fmla="*/ 22343 h 95838"/>
                <a:gd name="connsiteX2" fmla="*/ 219212 w 292707"/>
                <a:gd name="connsiteY2" fmla="*/ 95838 h 95838"/>
                <a:gd name="connsiteX3" fmla="*/ 73495 w 292707"/>
                <a:gd name="connsiteY3" fmla="*/ 95838 h 95838"/>
                <a:gd name="connsiteX4" fmla="*/ 0 w 292707"/>
                <a:gd name="connsiteY4" fmla="*/ 22343 h 95838"/>
                <a:gd name="connsiteX5" fmla="*/ 0 w 292707"/>
                <a:gd name="connsiteY5" fmla="*/ 0 h 958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92707" h="95838">
                  <a:moveTo>
                    <a:pt x="292708" y="0"/>
                  </a:moveTo>
                  <a:lnTo>
                    <a:pt x="292708" y="22343"/>
                  </a:lnTo>
                  <a:cubicBezTo>
                    <a:pt x="292708" y="62765"/>
                    <a:pt x="259635" y="95838"/>
                    <a:pt x="219212" y="95838"/>
                  </a:cubicBezTo>
                  <a:lnTo>
                    <a:pt x="73495" y="95838"/>
                  </a:lnTo>
                  <a:cubicBezTo>
                    <a:pt x="33073" y="95838"/>
                    <a:pt x="0" y="62765"/>
                    <a:pt x="0" y="22343"/>
                  </a:cubicBezTo>
                  <a:lnTo>
                    <a:pt x="0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542" name="Forma livre: Forma 541">
              <a:extLst>
                <a:ext uri="{FF2B5EF4-FFF2-40B4-BE49-F238E27FC236}">
                  <a16:creationId xmlns:a16="http://schemas.microsoft.com/office/drawing/2014/main" id="{FB15E355-615D-D4C6-203C-8D26E4461A6D}"/>
                </a:ext>
              </a:extLst>
            </p:cNvPr>
            <p:cNvSpPr/>
            <p:nvPr/>
          </p:nvSpPr>
          <p:spPr>
            <a:xfrm>
              <a:off x="5901187" y="1660564"/>
              <a:ext cx="186776" cy="32583"/>
            </a:xfrm>
            <a:custGeom>
              <a:avLst/>
              <a:gdLst>
                <a:gd name="connsiteX0" fmla="*/ 1617 w 186776"/>
                <a:gd name="connsiteY0" fmla="*/ 0 h 32583"/>
                <a:gd name="connsiteX1" fmla="*/ 172126 w 186776"/>
                <a:gd name="connsiteY1" fmla="*/ 0 h 32583"/>
                <a:gd name="connsiteX2" fmla="*/ 186777 w 186776"/>
                <a:gd name="connsiteY2" fmla="*/ 15042 h 32583"/>
                <a:gd name="connsiteX3" fmla="*/ 186777 w 186776"/>
                <a:gd name="connsiteY3" fmla="*/ 17541 h 32583"/>
                <a:gd name="connsiteX4" fmla="*/ 172126 w 186776"/>
                <a:gd name="connsiteY4" fmla="*/ 32583 h 32583"/>
                <a:gd name="connsiteX5" fmla="*/ 0 w 186776"/>
                <a:gd name="connsiteY5" fmla="*/ 32583 h 325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6776" h="32583">
                  <a:moveTo>
                    <a:pt x="1617" y="0"/>
                  </a:moveTo>
                  <a:lnTo>
                    <a:pt x="172126" y="0"/>
                  </a:lnTo>
                  <a:cubicBezTo>
                    <a:pt x="180162" y="0"/>
                    <a:pt x="186777" y="6762"/>
                    <a:pt x="186777" y="15042"/>
                  </a:cubicBezTo>
                  <a:lnTo>
                    <a:pt x="186777" y="17541"/>
                  </a:lnTo>
                  <a:cubicBezTo>
                    <a:pt x="186777" y="25821"/>
                    <a:pt x="180211" y="32583"/>
                    <a:pt x="172126" y="32583"/>
                  </a:cubicBezTo>
                  <a:lnTo>
                    <a:pt x="0" y="32583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543" name="Forma livre: Forma 542">
              <a:extLst>
                <a:ext uri="{FF2B5EF4-FFF2-40B4-BE49-F238E27FC236}">
                  <a16:creationId xmlns:a16="http://schemas.microsoft.com/office/drawing/2014/main" id="{83C98CBE-AE5B-EF29-3159-555044AED589}"/>
                </a:ext>
              </a:extLst>
            </p:cNvPr>
            <p:cNvSpPr/>
            <p:nvPr/>
          </p:nvSpPr>
          <p:spPr>
            <a:xfrm>
              <a:off x="5745671" y="1660515"/>
              <a:ext cx="62814" cy="32583"/>
            </a:xfrm>
            <a:custGeom>
              <a:avLst/>
              <a:gdLst>
                <a:gd name="connsiteX0" fmla="*/ 62422 w 62814"/>
                <a:gd name="connsiteY0" fmla="*/ 32583 h 32583"/>
                <a:gd name="connsiteX1" fmla="*/ 14650 w 62814"/>
                <a:gd name="connsiteY1" fmla="*/ 32583 h 32583"/>
                <a:gd name="connsiteX2" fmla="*/ 0 w 62814"/>
                <a:gd name="connsiteY2" fmla="*/ 17541 h 32583"/>
                <a:gd name="connsiteX3" fmla="*/ 0 w 62814"/>
                <a:gd name="connsiteY3" fmla="*/ 15042 h 32583"/>
                <a:gd name="connsiteX4" fmla="*/ 14650 w 62814"/>
                <a:gd name="connsiteY4" fmla="*/ 0 h 32583"/>
                <a:gd name="connsiteX5" fmla="*/ 62814 w 62814"/>
                <a:gd name="connsiteY5" fmla="*/ 0 h 325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2814" h="32583">
                  <a:moveTo>
                    <a:pt x="62422" y="32583"/>
                  </a:moveTo>
                  <a:lnTo>
                    <a:pt x="14650" y="32583"/>
                  </a:lnTo>
                  <a:cubicBezTo>
                    <a:pt x="6615" y="32583"/>
                    <a:pt x="0" y="25821"/>
                    <a:pt x="0" y="17541"/>
                  </a:cubicBezTo>
                  <a:lnTo>
                    <a:pt x="0" y="15042"/>
                  </a:lnTo>
                  <a:cubicBezTo>
                    <a:pt x="0" y="6762"/>
                    <a:pt x="6566" y="0"/>
                    <a:pt x="14650" y="0"/>
                  </a:cubicBezTo>
                  <a:lnTo>
                    <a:pt x="62814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544" name="Forma livre: Forma 543">
              <a:extLst>
                <a:ext uri="{FF2B5EF4-FFF2-40B4-BE49-F238E27FC236}">
                  <a16:creationId xmlns:a16="http://schemas.microsoft.com/office/drawing/2014/main" id="{44F2890D-B349-A351-61A7-AA420F829FA3}"/>
                </a:ext>
              </a:extLst>
            </p:cNvPr>
            <p:cNvSpPr/>
            <p:nvPr/>
          </p:nvSpPr>
          <p:spPr>
            <a:xfrm>
              <a:off x="6017163" y="1590841"/>
              <a:ext cx="45371" cy="67174"/>
            </a:xfrm>
            <a:custGeom>
              <a:avLst/>
              <a:gdLst>
                <a:gd name="connsiteX0" fmla="*/ 0 w 45371"/>
                <a:gd name="connsiteY0" fmla="*/ 25576 h 67174"/>
                <a:gd name="connsiteX1" fmla="*/ 22686 w 45371"/>
                <a:gd name="connsiteY1" fmla="*/ 0 h 67174"/>
                <a:gd name="connsiteX2" fmla="*/ 22686 w 45371"/>
                <a:gd name="connsiteY2" fmla="*/ 0 h 67174"/>
                <a:gd name="connsiteX3" fmla="*/ 45371 w 45371"/>
                <a:gd name="connsiteY3" fmla="*/ 25576 h 67174"/>
                <a:gd name="connsiteX4" fmla="*/ 45371 w 45371"/>
                <a:gd name="connsiteY4" fmla="*/ 67175 h 67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5371" h="67174">
                  <a:moveTo>
                    <a:pt x="0" y="25576"/>
                  </a:moveTo>
                  <a:cubicBezTo>
                    <a:pt x="0" y="11514"/>
                    <a:pt x="10191" y="0"/>
                    <a:pt x="22686" y="0"/>
                  </a:cubicBezTo>
                  <a:lnTo>
                    <a:pt x="22686" y="0"/>
                  </a:lnTo>
                  <a:cubicBezTo>
                    <a:pt x="35180" y="0"/>
                    <a:pt x="45371" y="11514"/>
                    <a:pt x="45371" y="25576"/>
                  </a:cubicBezTo>
                  <a:lnTo>
                    <a:pt x="45371" y="67175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545" name="Forma livre: Forma 544">
              <a:extLst>
                <a:ext uri="{FF2B5EF4-FFF2-40B4-BE49-F238E27FC236}">
                  <a16:creationId xmlns:a16="http://schemas.microsoft.com/office/drawing/2014/main" id="{91C2E652-B2A3-E751-C2E8-C77BE4DB50BF}"/>
                </a:ext>
              </a:extLst>
            </p:cNvPr>
            <p:cNvSpPr/>
            <p:nvPr/>
          </p:nvSpPr>
          <p:spPr>
            <a:xfrm>
              <a:off x="5831612" y="1645276"/>
              <a:ext cx="81285" cy="102795"/>
            </a:xfrm>
            <a:custGeom>
              <a:avLst/>
              <a:gdLst>
                <a:gd name="connsiteX0" fmla="*/ 69380 w 81285"/>
                <a:gd name="connsiteY0" fmla="*/ 1421 h 102795"/>
                <a:gd name="connsiteX1" fmla="*/ 69380 w 81285"/>
                <a:gd name="connsiteY1" fmla="*/ 102796 h 102795"/>
                <a:gd name="connsiteX2" fmla="*/ 0 w 81285"/>
                <a:gd name="connsiteY2" fmla="*/ 102796 h 102795"/>
                <a:gd name="connsiteX3" fmla="*/ 0 w 81285"/>
                <a:gd name="connsiteY3" fmla="*/ 14552 h 102795"/>
                <a:gd name="connsiteX4" fmla="*/ 14552 w 81285"/>
                <a:gd name="connsiteY4" fmla="*/ 0 h 102795"/>
                <a:gd name="connsiteX5" fmla="*/ 64137 w 81285"/>
                <a:gd name="connsiteY5" fmla="*/ 0 h 102795"/>
                <a:gd name="connsiteX6" fmla="*/ 81286 w 81285"/>
                <a:gd name="connsiteY6" fmla="*/ 14454 h 1027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1285" h="102795">
                  <a:moveTo>
                    <a:pt x="69380" y="1421"/>
                  </a:moveTo>
                  <a:lnTo>
                    <a:pt x="69380" y="102796"/>
                  </a:lnTo>
                  <a:lnTo>
                    <a:pt x="0" y="102796"/>
                  </a:lnTo>
                  <a:lnTo>
                    <a:pt x="0" y="14552"/>
                  </a:lnTo>
                  <a:cubicBezTo>
                    <a:pt x="0" y="6517"/>
                    <a:pt x="6566" y="0"/>
                    <a:pt x="14552" y="0"/>
                  </a:cubicBezTo>
                  <a:lnTo>
                    <a:pt x="64137" y="0"/>
                  </a:lnTo>
                  <a:cubicBezTo>
                    <a:pt x="70850" y="0"/>
                    <a:pt x="81286" y="147"/>
                    <a:pt x="81286" y="14454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546" name="Forma livre: Forma 545">
              <a:extLst>
                <a:ext uri="{FF2B5EF4-FFF2-40B4-BE49-F238E27FC236}">
                  <a16:creationId xmlns:a16="http://schemas.microsoft.com/office/drawing/2014/main" id="{D96217D3-1527-DD50-D7CE-643F60F25228}"/>
                </a:ext>
              </a:extLst>
            </p:cNvPr>
            <p:cNvSpPr/>
            <p:nvPr/>
          </p:nvSpPr>
          <p:spPr>
            <a:xfrm>
              <a:off x="5833033" y="1719164"/>
              <a:ext cx="66439" cy="4899"/>
            </a:xfrm>
            <a:custGeom>
              <a:avLst/>
              <a:gdLst>
                <a:gd name="connsiteX0" fmla="*/ 0 w 66439"/>
                <a:gd name="connsiteY0" fmla="*/ 0 h 4899"/>
                <a:gd name="connsiteX1" fmla="*/ 66440 w 66439"/>
                <a:gd name="connsiteY1" fmla="*/ 0 h 48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6439" h="4899">
                  <a:moveTo>
                    <a:pt x="0" y="0"/>
                  </a:moveTo>
                  <a:lnTo>
                    <a:pt x="6644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547" name="Forma livre: Forma 546">
              <a:extLst>
                <a:ext uri="{FF2B5EF4-FFF2-40B4-BE49-F238E27FC236}">
                  <a16:creationId xmlns:a16="http://schemas.microsoft.com/office/drawing/2014/main" id="{17CEF80C-C0B4-4506-002D-1F6D707FCC27}"/>
                </a:ext>
              </a:extLst>
            </p:cNvPr>
            <p:cNvSpPr/>
            <p:nvPr/>
          </p:nvSpPr>
          <p:spPr>
            <a:xfrm>
              <a:off x="5930286" y="1587405"/>
              <a:ext cx="36710" cy="36710"/>
            </a:xfrm>
            <a:custGeom>
              <a:avLst/>
              <a:gdLst>
                <a:gd name="connsiteX0" fmla="*/ 33373 w 36710"/>
                <a:gd name="connsiteY0" fmla="*/ 28914 h 36710"/>
                <a:gd name="connsiteX1" fmla="*/ 7797 w 36710"/>
                <a:gd name="connsiteY1" fmla="*/ 33373 h 36710"/>
                <a:gd name="connsiteX2" fmla="*/ 3338 w 36710"/>
                <a:gd name="connsiteY2" fmla="*/ 7797 h 36710"/>
                <a:gd name="connsiteX3" fmla="*/ 28914 w 36710"/>
                <a:gd name="connsiteY3" fmla="*/ 3338 h 36710"/>
                <a:gd name="connsiteX4" fmla="*/ 33373 w 36710"/>
                <a:gd name="connsiteY4" fmla="*/ 28914 h 367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6710" h="36710">
                  <a:moveTo>
                    <a:pt x="33373" y="28914"/>
                  </a:moveTo>
                  <a:cubicBezTo>
                    <a:pt x="27542" y="37195"/>
                    <a:pt x="16077" y="39204"/>
                    <a:pt x="7797" y="33373"/>
                  </a:cubicBezTo>
                  <a:cubicBezTo>
                    <a:pt x="-484" y="27542"/>
                    <a:pt x="-2493" y="16077"/>
                    <a:pt x="3338" y="7797"/>
                  </a:cubicBezTo>
                  <a:cubicBezTo>
                    <a:pt x="9168" y="-484"/>
                    <a:pt x="20634" y="-2493"/>
                    <a:pt x="28914" y="3338"/>
                  </a:cubicBezTo>
                  <a:cubicBezTo>
                    <a:pt x="37195" y="9169"/>
                    <a:pt x="39204" y="20634"/>
                    <a:pt x="33373" y="28914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548" name="Gráfico 6">
            <a:extLst>
              <a:ext uri="{FF2B5EF4-FFF2-40B4-BE49-F238E27FC236}">
                <a16:creationId xmlns:a16="http://schemas.microsoft.com/office/drawing/2014/main" id="{6E1A4271-31CE-A32E-0120-5DE1EB87AB79}"/>
              </a:ext>
            </a:extLst>
          </p:cNvPr>
          <p:cNvGrpSpPr/>
          <p:nvPr/>
        </p:nvGrpSpPr>
        <p:grpSpPr>
          <a:xfrm>
            <a:off x="5770224" y="2641299"/>
            <a:ext cx="293167" cy="293193"/>
            <a:chOff x="5770224" y="2641299"/>
            <a:chExt cx="293167" cy="293193"/>
          </a:xfrm>
          <a:noFill/>
        </p:grpSpPr>
        <p:sp>
          <p:nvSpPr>
            <p:cNvPr id="549" name="Forma livre: Forma 548">
              <a:extLst>
                <a:ext uri="{FF2B5EF4-FFF2-40B4-BE49-F238E27FC236}">
                  <a16:creationId xmlns:a16="http://schemas.microsoft.com/office/drawing/2014/main" id="{533B5CE6-E75F-196E-8EBA-88B91DA281C4}"/>
                </a:ext>
              </a:extLst>
            </p:cNvPr>
            <p:cNvSpPr/>
            <p:nvPr/>
          </p:nvSpPr>
          <p:spPr>
            <a:xfrm>
              <a:off x="5857170" y="2641299"/>
              <a:ext cx="206222" cy="206241"/>
            </a:xfrm>
            <a:custGeom>
              <a:avLst/>
              <a:gdLst>
                <a:gd name="connsiteX0" fmla="*/ 5849 w 206222"/>
                <a:gd name="connsiteY0" fmla="*/ 87693 h 206241"/>
                <a:gd name="connsiteX1" fmla="*/ 22851 w 206222"/>
                <a:gd name="connsiteY1" fmla="*/ 172997 h 206241"/>
                <a:gd name="connsiteX2" fmla="*/ 33238 w 206222"/>
                <a:gd name="connsiteY2" fmla="*/ 183384 h 206241"/>
                <a:gd name="connsiteX3" fmla="*/ 144119 w 206222"/>
                <a:gd name="connsiteY3" fmla="*/ 183384 h 206241"/>
                <a:gd name="connsiteX4" fmla="*/ 183365 w 206222"/>
                <a:gd name="connsiteY4" fmla="*/ 144137 h 206241"/>
                <a:gd name="connsiteX5" fmla="*/ 183365 w 206222"/>
                <a:gd name="connsiteY5" fmla="*/ 33257 h 206241"/>
                <a:gd name="connsiteX6" fmla="*/ 172978 w 206222"/>
                <a:gd name="connsiteY6" fmla="*/ 22870 h 206241"/>
                <a:gd name="connsiteX7" fmla="*/ 105509 w 206222"/>
                <a:gd name="connsiteY7" fmla="*/ 919 h 2062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06222" h="206241">
                  <a:moveTo>
                    <a:pt x="5849" y="87693"/>
                  </a:moveTo>
                  <a:cubicBezTo>
                    <a:pt x="-5763" y="116062"/>
                    <a:pt x="-80" y="150017"/>
                    <a:pt x="22851" y="172997"/>
                  </a:cubicBezTo>
                  <a:lnTo>
                    <a:pt x="33238" y="183384"/>
                  </a:lnTo>
                  <a:cubicBezTo>
                    <a:pt x="63715" y="213860"/>
                    <a:pt x="113643" y="213860"/>
                    <a:pt x="144119" y="183384"/>
                  </a:cubicBezTo>
                  <a:lnTo>
                    <a:pt x="183365" y="144137"/>
                  </a:lnTo>
                  <a:cubicBezTo>
                    <a:pt x="213841" y="113661"/>
                    <a:pt x="213841" y="63733"/>
                    <a:pt x="183365" y="33257"/>
                  </a:cubicBezTo>
                  <a:lnTo>
                    <a:pt x="172978" y="22870"/>
                  </a:lnTo>
                  <a:cubicBezTo>
                    <a:pt x="154702" y="4594"/>
                    <a:pt x="129420" y="-2756"/>
                    <a:pt x="105509" y="919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550" name="Forma livre: Forma 549">
              <a:extLst>
                <a:ext uri="{FF2B5EF4-FFF2-40B4-BE49-F238E27FC236}">
                  <a16:creationId xmlns:a16="http://schemas.microsoft.com/office/drawing/2014/main" id="{B5DB0A0B-7F84-8440-0647-83B777E59EF5}"/>
                </a:ext>
              </a:extLst>
            </p:cNvPr>
            <p:cNvSpPr/>
            <p:nvPr/>
          </p:nvSpPr>
          <p:spPr>
            <a:xfrm rot="-2700000">
              <a:off x="5768164" y="2876237"/>
              <a:ext cx="89419" cy="31211"/>
            </a:xfrm>
            <a:custGeom>
              <a:avLst/>
              <a:gdLst>
                <a:gd name="connsiteX0" fmla="*/ 0 w 89419"/>
                <a:gd name="connsiteY0" fmla="*/ 0 h 31211"/>
                <a:gd name="connsiteX1" fmla="*/ 89420 w 89419"/>
                <a:gd name="connsiteY1" fmla="*/ 0 h 31211"/>
                <a:gd name="connsiteX2" fmla="*/ 89420 w 89419"/>
                <a:gd name="connsiteY2" fmla="*/ 31211 h 31211"/>
                <a:gd name="connsiteX3" fmla="*/ 0 w 89419"/>
                <a:gd name="connsiteY3" fmla="*/ 31211 h 312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9419" h="31211">
                  <a:moveTo>
                    <a:pt x="0" y="0"/>
                  </a:moveTo>
                  <a:lnTo>
                    <a:pt x="89420" y="0"/>
                  </a:lnTo>
                  <a:lnTo>
                    <a:pt x="89420" y="31211"/>
                  </a:lnTo>
                  <a:lnTo>
                    <a:pt x="0" y="31211"/>
                  </a:ln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551" name="Forma livre: Forma 550">
              <a:extLst>
                <a:ext uri="{FF2B5EF4-FFF2-40B4-BE49-F238E27FC236}">
                  <a16:creationId xmlns:a16="http://schemas.microsoft.com/office/drawing/2014/main" id="{7EF9E877-FB5E-C30B-5B66-78E32A5E374D}"/>
                </a:ext>
              </a:extLst>
            </p:cNvPr>
            <p:cNvSpPr/>
            <p:nvPr/>
          </p:nvSpPr>
          <p:spPr>
            <a:xfrm>
              <a:off x="5870368" y="2643002"/>
              <a:ext cx="85352" cy="85352"/>
            </a:xfrm>
            <a:custGeom>
              <a:avLst/>
              <a:gdLst>
                <a:gd name="connsiteX0" fmla="*/ 42676 w 85352"/>
                <a:gd name="connsiteY0" fmla="*/ 85353 h 85352"/>
                <a:gd name="connsiteX1" fmla="*/ 0 w 85352"/>
                <a:gd name="connsiteY1" fmla="*/ 42676 h 85352"/>
                <a:gd name="connsiteX2" fmla="*/ 42676 w 85352"/>
                <a:gd name="connsiteY2" fmla="*/ 0 h 85352"/>
                <a:gd name="connsiteX3" fmla="*/ 85353 w 85352"/>
                <a:gd name="connsiteY3" fmla="*/ 42676 h 85352"/>
                <a:gd name="connsiteX4" fmla="*/ 42676 w 85352"/>
                <a:gd name="connsiteY4" fmla="*/ 85353 h 853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5352" h="85352">
                  <a:moveTo>
                    <a:pt x="42676" y="85353"/>
                  </a:moveTo>
                  <a:cubicBezTo>
                    <a:pt x="19109" y="85353"/>
                    <a:pt x="0" y="66244"/>
                    <a:pt x="0" y="42676"/>
                  </a:cubicBezTo>
                  <a:cubicBezTo>
                    <a:pt x="0" y="19109"/>
                    <a:pt x="19109" y="0"/>
                    <a:pt x="42676" y="0"/>
                  </a:cubicBezTo>
                  <a:cubicBezTo>
                    <a:pt x="66244" y="0"/>
                    <a:pt x="85353" y="19060"/>
                    <a:pt x="85353" y="42676"/>
                  </a:cubicBezTo>
                  <a:cubicBezTo>
                    <a:pt x="85353" y="66293"/>
                    <a:pt x="66244" y="85353"/>
                    <a:pt x="42676" y="85353"/>
                  </a:cubicBez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552" name="Forma livre: Forma 551">
              <a:extLst>
                <a:ext uri="{FF2B5EF4-FFF2-40B4-BE49-F238E27FC236}">
                  <a16:creationId xmlns:a16="http://schemas.microsoft.com/office/drawing/2014/main" id="{36D2F525-428F-13B1-0FEC-A8F8039AC1A4}"/>
                </a:ext>
              </a:extLst>
            </p:cNvPr>
            <p:cNvSpPr/>
            <p:nvPr/>
          </p:nvSpPr>
          <p:spPr>
            <a:xfrm>
              <a:off x="5892411" y="2648833"/>
              <a:ext cx="39154" cy="74818"/>
            </a:xfrm>
            <a:custGeom>
              <a:avLst/>
              <a:gdLst>
                <a:gd name="connsiteX0" fmla="*/ 39155 w 39154"/>
                <a:gd name="connsiteY0" fmla="*/ 74818 h 74818"/>
                <a:gd name="connsiteX1" fmla="*/ 22986 w 39154"/>
                <a:gd name="connsiteY1" fmla="*/ 38169 h 74818"/>
                <a:gd name="connsiteX2" fmla="*/ 104 w 39154"/>
                <a:gd name="connsiteY2" fmla="*/ 0 h 74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9154" h="74818">
                  <a:moveTo>
                    <a:pt x="39155" y="74818"/>
                  </a:moveTo>
                  <a:cubicBezTo>
                    <a:pt x="39155" y="74818"/>
                    <a:pt x="39057" y="42725"/>
                    <a:pt x="22986" y="38169"/>
                  </a:cubicBezTo>
                  <a:cubicBezTo>
                    <a:pt x="1133" y="31946"/>
                    <a:pt x="-533" y="19893"/>
                    <a:pt x="104" y="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553" name="Gráfico 6">
              <a:extLst>
                <a:ext uri="{FF2B5EF4-FFF2-40B4-BE49-F238E27FC236}">
                  <a16:creationId xmlns:a16="http://schemas.microsoft.com/office/drawing/2014/main" id="{88F0204E-2AC0-D17E-C8B8-BF42CEE54A7A}"/>
                </a:ext>
              </a:extLst>
            </p:cNvPr>
            <p:cNvGrpSpPr/>
            <p:nvPr/>
          </p:nvGrpSpPr>
          <p:grpSpPr>
            <a:xfrm>
              <a:off x="5840627" y="2768092"/>
              <a:ext cx="95985" cy="95985"/>
              <a:chOff x="5840627" y="2768092"/>
              <a:chExt cx="95985" cy="95985"/>
            </a:xfrm>
            <a:noFill/>
          </p:grpSpPr>
          <p:sp>
            <p:nvSpPr>
              <p:cNvPr id="554" name="Forma livre: Forma 553">
                <a:extLst>
                  <a:ext uri="{FF2B5EF4-FFF2-40B4-BE49-F238E27FC236}">
                    <a16:creationId xmlns:a16="http://schemas.microsoft.com/office/drawing/2014/main" id="{F9CD37AE-5CCE-5218-72C7-71BC7C7A3140}"/>
                  </a:ext>
                </a:extLst>
              </p:cNvPr>
              <p:cNvSpPr/>
              <p:nvPr/>
            </p:nvSpPr>
            <p:spPr>
              <a:xfrm>
                <a:off x="5840627" y="2768092"/>
                <a:ext cx="17148" cy="85058"/>
              </a:xfrm>
              <a:custGeom>
                <a:avLst/>
                <a:gdLst>
                  <a:gd name="connsiteX0" fmla="*/ 17149 w 17148"/>
                  <a:gd name="connsiteY0" fmla="*/ 0 h 85058"/>
                  <a:gd name="connsiteX1" fmla="*/ 0 w 17148"/>
                  <a:gd name="connsiteY1" fmla="*/ 85059 h 850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7148" h="85058">
                    <a:moveTo>
                      <a:pt x="17149" y="0"/>
                    </a:moveTo>
                    <a:cubicBezTo>
                      <a:pt x="16267" y="19599"/>
                      <a:pt x="12151" y="50859"/>
                      <a:pt x="0" y="85059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55" name="Forma livre: Forma 554">
                <a:extLst>
                  <a:ext uri="{FF2B5EF4-FFF2-40B4-BE49-F238E27FC236}">
                    <a16:creationId xmlns:a16="http://schemas.microsoft.com/office/drawing/2014/main" id="{7D67F2B1-2E2D-B22A-B61F-5F49A4AFE2E8}"/>
                  </a:ext>
                </a:extLst>
              </p:cNvPr>
              <p:cNvSpPr/>
              <p:nvPr/>
            </p:nvSpPr>
            <p:spPr>
              <a:xfrm>
                <a:off x="5851553" y="2846928"/>
                <a:ext cx="85058" cy="17148"/>
              </a:xfrm>
              <a:custGeom>
                <a:avLst/>
                <a:gdLst>
                  <a:gd name="connsiteX0" fmla="*/ 85059 w 85058"/>
                  <a:gd name="connsiteY0" fmla="*/ 0 h 17148"/>
                  <a:gd name="connsiteX1" fmla="*/ 0 w 85058"/>
                  <a:gd name="connsiteY1" fmla="*/ 17149 h 171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85058" h="17148">
                    <a:moveTo>
                      <a:pt x="85059" y="0"/>
                    </a:moveTo>
                    <a:cubicBezTo>
                      <a:pt x="65460" y="882"/>
                      <a:pt x="34200" y="4998"/>
                      <a:pt x="0" y="17149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556" name="Gráfico 6">
            <a:extLst>
              <a:ext uri="{FF2B5EF4-FFF2-40B4-BE49-F238E27FC236}">
                <a16:creationId xmlns:a16="http://schemas.microsoft.com/office/drawing/2014/main" id="{0EEF3A2D-6200-BA8E-B779-2926B54FA523}"/>
              </a:ext>
            </a:extLst>
          </p:cNvPr>
          <p:cNvGrpSpPr/>
          <p:nvPr/>
        </p:nvGrpSpPr>
        <p:grpSpPr>
          <a:xfrm>
            <a:off x="5836462" y="2076989"/>
            <a:ext cx="160759" cy="324262"/>
            <a:chOff x="5836462" y="2076989"/>
            <a:chExt cx="160759" cy="324262"/>
          </a:xfrm>
          <a:noFill/>
        </p:grpSpPr>
        <p:sp>
          <p:nvSpPr>
            <p:cNvPr id="557" name="Forma livre: Forma 556">
              <a:extLst>
                <a:ext uri="{FF2B5EF4-FFF2-40B4-BE49-F238E27FC236}">
                  <a16:creationId xmlns:a16="http://schemas.microsoft.com/office/drawing/2014/main" id="{A1C96B2D-4EFE-7E23-53F0-7A465CACB604}"/>
                </a:ext>
              </a:extLst>
            </p:cNvPr>
            <p:cNvSpPr/>
            <p:nvPr/>
          </p:nvSpPr>
          <p:spPr>
            <a:xfrm>
              <a:off x="5836462" y="2076989"/>
              <a:ext cx="160759" cy="324262"/>
            </a:xfrm>
            <a:custGeom>
              <a:avLst/>
              <a:gdLst>
                <a:gd name="connsiteX0" fmla="*/ 160759 w 160759"/>
                <a:gd name="connsiteY0" fmla="*/ 80355 h 324262"/>
                <a:gd name="connsiteX1" fmla="*/ 160759 w 160759"/>
                <a:gd name="connsiteY1" fmla="*/ 79963 h 324262"/>
                <a:gd name="connsiteX2" fmla="*/ 160759 w 160759"/>
                <a:gd name="connsiteY2" fmla="*/ 79963 h 324262"/>
                <a:gd name="connsiteX3" fmla="*/ 80404 w 160759"/>
                <a:gd name="connsiteY3" fmla="*/ 0 h 324262"/>
                <a:gd name="connsiteX4" fmla="*/ 2303 w 160759"/>
                <a:gd name="connsiteY4" fmla="*/ 65803 h 324262"/>
                <a:gd name="connsiteX5" fmla="*/ 17443 w 160759"/>
                <a:gd name="connsiteY5" fmla="*/ 83099 h 324262"/>
                <a:gd name="connsiteX6" fmla="*/ 40913 w 160759"/>
                <a:gd name="connsiteY6" fmla="*/ 75210 h 324262"/>
                <a:gd name="connsiteX7" fmla="*/ 47233 w 160759"/>
                <a:gd name="connsiteY7" fmla="*/ 65411 h 324262"/>
                <a:gd name="connsiteX8" fmla="*/ 81727 w 160759"/>
                <a:gd name="connsiteY8" fmla="*/ 42529 h 324262"/>
                <a:gd name="connsiteX9" fmla="*/ 104364 w 160759"/>
                <a:gd name="connsiteY9" fmla="*/ 56004 h 324262"/>
                <a:gd name="connsiteX10" fmla="*/ 104364 w 160759"/>
                <a:gd name="connsiteY10" fmla="*/ 56004 h 324262"/>
                <a:gd name="connsiteX11" fmla="*/ 87754 w 160759"/>
                <a:gd name="connsiteY11" fmla="*/ 106470 h 324262"/>
                <a:gd name="connsiteX12" fmla="*/ 23323 w 160759"/>
                <a:gd name="connsiteY12" fmla="*/ 141356 h 324262"/>
                <a:gd name="connsiteX13" fmla="*/ 13131 w 160759"/>
                <a:gd name="connsiteY13" fmla="*/ 147873 h 324262"/>
                <a:gd name="connsiteX14" fmla="*/ 0 w 160759"/>
                <a:gd name="connsiteY14" fmla="*/ 178496 h 324262"/>
                <a:gd name="connsiteX15" fmla="*/ 0 w 160759"/>
                <a:gd name="connsiteY15" fmla="*/ 280704 h 324262"/>
                <a:gd name="connsiteX16" fmla="*/ 43558 w 160759"/>
                <a:gd name="connsiteY16" fmla="*/ 324262 h 324262"/>
                <a:gd name="connsiteX17" fmla="*/ 117201 w 160759"/>
                <a:gd name="connsiteY17" fmla="*/ 324262 h 324262"/>
                <a:gd name="connsiteX18" fmla="*/ 160759 w 160759"/>
                <a:gd name="connsiteY18" fmla="*/ 280704 h 324262"/>
                <a:gd name="connsiteX19" fmla="*/ 160759 w 160759"/>
                <a:gd name="connsiteY19" fmla="*/ 80404 h 324262"/>
                <a:gd name="connsiteX20" fmla="*/ 160759 w 160759"/>
                <a:gd name="connsiteY20" fmla="*/ 80355 h 3242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60759" h="324262">
                  <a:moveTo>
                    <a:pt x="160759" y="80355"/>
                  </a:moveTo>
                  <a:lnTo>
                    <a:pt x="160759" y="79963"/>
                  </a:lnTo>
                  <a:lnTo>
                    <a:pt x="160759" y="79963"/>
                  </a:lnTo>
                  <a:cubicBezTo>
                    <a:pt x="160563" y="35866"/>
                    <a:pt x="124599" y="0"/>
                    <a:pt x="80404" y="0"/>
                  </a:cubicBezTo>
                  <a:cubicBezTo>
                    <a:pt x="39100" y="0"/>
                    <a:pt x="6762" y="25674"/>
                    <a:pt x="2303" y="65803"/>
                  </a:cubicBezTo>
                  <a:cubicBezTo>
                    <a:pt x="2303" y="65803"/>
                    <a:pt x="588" y="81139"/>
                    <a:pt x="17443" y="83099"/>
                  </a:cubicBezTo>
                  <a:cubicBezTo>
                    <a:pt x="29692" y="84520"/>
                    <a:pt x="37826" y="78493"/>
                    <a:pt x="40913" y="75210"/>
                  </a:cubicBezTo>
                  <a:cubicBezTo>
                    <a:pt x="44391" y="71536"/>
                    <a:pt x="47233" y="65411"/>
                    <a:pt x="47233" y="65411"/>
                  </a:cubicBezTo>
                  <a:cubicBezTo>
                    <a:pt x="54975" y="45224"/>
                    <a:pt x="65117" y="41696"/>
                    <a:pt x="81727" y="42529"/>
                  </a:cubicBezTo>
                  <a:cubicBezTo>
                    <a:pt x="93584" y="43117"/>
                    <a:pt x="99268" y="47233"/>
                    <a:pt x="104364" y="56004"/>
                  </a:cubicBezTo>
                  <a:lnTo>
                    <a:pt x="104364" y="56004"/>
                  </a:lnTo>
                  <a:cubicBezTo>
                    <a:pt x="119798" y="90497"/>
                    <a:pt x="87754" y="106470"/>
                    <a:pt x="87754" y="106470"/>
                  </a:cubicBezTo>
                  <a:cubicBezTo>
                    <a:pt x="54142" y="123178"/>
                    <a:pt x="23323" y="141356"/>
                    <a:pt x="23323" y="141356"/>
                  </a:cubicBezTo>
                  <a:cubicBezTo>
                    <a:pt x="23323" y="141356"/>
                    <a:pt x="13033" y="147873"/>
                    <a:pt x="13131" y="147873"/>
                  </a:cubicBezTo>
                  <a:cubicBezTo>
                    <a:pt x="1519" y="156447"/>
                    <a:pt x="0" y="167080"/>
                    <a:pt x="0" y="178496"/>
                  </a:cubicBezTo>
                  <a:lnTo>
                    <a:pt x="0" y="280704"/>
                  </a:lnTo>
                  <a:cubicBezTo>
                    <a:pt x="0" y="304663"/>
                    <a:pt x="19599" y="324262"/>
                    <a:pt x="43558" y="324262"/>
                  </a:cubicBezTo>
                  <a:lnTo>
                    <a:pt x="117201" y="324262"/>
                  </a:lnTo>
                  <a:cubicBezTo>
                    <a:pt x="141160" y="324262"/>
                    <a:pt x="160759" y="304663"/>
                    <a:pt x="160759" y="280704"/>
                  </a:cubicBezTo>
                  <a:lnTo>
                    <a:pt x="160759" y="80404"/>
                  </a:lnTo>
                  <a:cubicBezTo>
                    <a:pt x="160759" y="80404"/>
                    <a:pt x="160759" y="80404"/>
                    <a:pt x="160759" y="80355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558" name="Forma livre: Forma 557">
              <a:extLst>
                <a:ext uri="{FF2B5EF4-FFF2-40B4-BE49-F238E27FC236}">
                  <a16:creationId xmlns:a16="http://schemas.microsoft.com/office/drawing/2014/main" id="{B37B4DAF-E6BD-6590-14A3-94337B6812B7}"/>
                </a:ext>
              </a:extLst>
            </p:cNvPr>
            <p:cNvSpPr/>
            <p:nvPr/>
          </p:nvSpPr>
          <p:spPr>
            <a:xfrm>
              <a:off x="5866204" y="2251124"/>
              <a:ext cx="101521" cy="101521"/>
            </a:xfrm>
            <a:custGeom>
              <a:avLst/>
              <a:gdLst>
                <a:gd name="connsiteX0" fmla="*/ 101522 w 101521"/>
                <a:gd name="connsiteY0" fmla="*/ 50761 h 101521"/>
                <a:gd name="connsiteX1" fmla="*/ 50761 w 101521"/>
                <a:gd name="connsiteY1" fmla="*/ 101522 h 101521"/>
                <a:gd name="connsiteX2" fmla="*/ 0 w 101521"/>
                <a:gd name="connsiteY2" fmla="*/ 50761 h 101521"/>
                <a:gd name="connsiteX3" fmla="*/ 50761 w 101521"/>
                <a:gd name="connsiteY3" fmla="*/ 0 h 101521"/>
                <a:gd name="connsiteX4" fmla="*/ 101522 w 101521"/>
                <a:gd name="connsiteY4" fmla="*/ 50761 h 1015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1521" h="101521">
                  <a:moveTo>
                    <a:pt x="101522" y="50761"/>
                  </a:moveTo>
                  <a:cubicBezTo>
                    <a:pt x="101522" y="78787"/>
                    <a:pt x="78787" y="101522"/>
                    <a:pt x="50761" y="101522"/>
                  </a:cubicBezTo>
                  <a:cubicBezTo>
                    <a:pt x="22735" y="101522"/>
                    <a:pt x="0" y="78787"/>
                    <a:pt x="0" y="50761"/>
                  </a:cubicBezTo>
                  <a:cubicBezTo>
                    <a:pt x="0" y="22735"/>
                    <a:pt x="22735" y="0"/>
                    <a:pt x="50761" y="0"/>
                  </a:cubicBezTo>
                  <a:cubicBezTo>
                    <a:pt x="78787" y="0"/>
                    <a:pt x="101522" y="22735"/>
                    <a:pt x="101522" y="50761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559" name="Forma livre: Forma 558">
              <a:extLst>
                <a:ext uri="{FF2B5EF4-FFF2-40B4-BE49-F238E27FC236}">
                  <a16:creationId xmlns:a16="http://schemas.microsoft.com/office/drawing/2014/main" id="{CDE51552-637B-0012-7958-5CDE6E9CDBF3}"/>
                </a:ext>
              </a:extLst>
            </p:cNvPr>
            <p:cNvSpPr/>
            <p:nvPr/>
          </p:nvSpPr>
          <p:spPr>
            <a:xfrm>
              <a:off x="5889036" y="2301640"/>
              <a:ext cx="56346" cy="4899"/>
            </a:xfrm>
            <a:custGeom>
              <a:avLst/>
              <a:gdLst>
                <a:gd name="connsiteX0" fmla="*/ 0 w 56346"/>
                <a:gd name="connsiteY0" fmla="*/ 0 h 4899"/>
                <a:gd name="connsiteX1" fmla="*/ 56347 w 56346"/>
                <a:gd name="connsiteY1" fmla="*/ 0 h 48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6346" h="4899">
                  <a:moveTo>
                    <a:pt x="0" y="0"/>
                  </a:moveTo>
                  <a:lnTo>
                    <a:pt x="56347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560" name="Gráfico 6">
            <a:extLst>
              <a:ext uri="{FF2B5EF4-FFF2-40B4-BE49-F238E27FC236}">
                <a16:creationId xmlns:a16="http://schemas.microsoft.com/office/drawing/2014/main" id="{C17CEBDA-6227-5F88-1E75-609234C4CCBC}"/>
              </a:ext>
            </a:extLst>
          </p:cNvPr>
          <p:cNvGrpSpPr/>
          <p:nvPr/>
        </p:nvGrpSpPr>
        <p:grpSpPr>
          <a:xfrm>
            <a:off x="5790846" y="3166757"/>
            <a:ext cx="251966" cy="315858"/>
            <a:chOff x="5790846" y="3166757"/>
            <a:chExt cx="251966" cy="315858"/>
          </a:xfrm>
          <a:noFill/>
        </p:grpSpPr>
        <p:grpSp>
          <p:nvGrpSpPr>
            <p:cNvPr id="561" name="Gráfico 6">
              <a:extLst>
                <a:ext uri="{FF2B5EF4-FFF2-40B4-BE49-F238E27FC236}">
                  <a16:creationId xmlns:a16="http://schemas.microsoft.com/office/drawing/2014/main" id="{91F69B58-9E71-177A-BCFF-AB03ADB4C930}"/>
                </a:ext>
              </a:extLst>
            </p:cNvPr>
            <p:cNvGrpSpPr/>
            <p:nvPr/>
          </p:nvGrpSpPr>
          <p:grpSpPr>
            <a:xfrm>
              <a:off x="5790846" y="3270654"/>
              <a:ext cx="216811" cy="211960"/>
              <a:chOff x="5790846" y="3270654"/>
              <a:chExt cx="216811" cy="211960"/>
            </a:xfrm>
            <a:noFill/>
          </p:grpSpPr>
          <p:sp>
            <p:nvSpPr>
              <p:cNvPr id="562" name="Forma livre: Forma 561">
                <a:extLst>
                  <a:ext uri="{FF2B5EF4-FFF2-40B4-BE49-F238E27FC236}">
                    <a16:creationId xmlns:a16="http://schemas.microsoft.com/office/drawing/2014/main" id="{17A8C3F6-D84C-521D-B8C5-3DB8D0B714D8}"/>
                  </a:ext>
                </a:extLst>
              </p:cNvPr>
              <p:cNvSpPr/>
              <p:nvPr/>
            </p:nvSpPr>
            <p:spPr>
              <a:xfrm>
                <a:off x="5790846" y="3376928"/>
                <a:ext cx="216811" cy="4899"/>
              </a:xfrm>
              <a:custGeom>
                <a:avLst/>
                <a:gdLst>
                  <a:gd name="connsiteX0" fmla="*/ 216812 w 216811"/>
                  <a:gd name="connsiteY0" fmla="*/ 0 h 4899"/>
                  <a:gd name="connsiteX1" fmla="*/ 0 w 216811"/>
                  <a:gd name="connsiteY1" fmla="*/ 0 h 48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16811" h="4899">
                    <a:moveTo>
                      <a:pt x="216812" y="0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63" name="Forma livre: Forma 562">
                <a:extLst>
                  <a:ext uri="{FF2B5EF4-FFF2-40B4-BE49-F238E27FC236}">
                    <a16:creationId xmlns:a16="http://schemas.microsoft.com/office/drawing/2014/main" id="{25CFBEB0-FDBE-9C70-FDAB-75125CC22CFF}"/>
                  </a:ext>
                </a:extLst>
              </p:cNvPr>
              <p:cNvSpPr/>
              <p:nvPr/>
            </p:nvSpPr>
            <p:spPr>
              <a:xfrm>
                <a:off x="5845358" y="3270654"/>
                <a:ext cx="45491" cy="211960"/>
              </a:xfrm>
              <a:custGeom>
                <a:avLst/>
                <a:gdLst>
                  <a:gd name="connsiteX0" fmla="*/ 45491 w 45491"/>
                  <a:gd name="connsiteY0" fmla="*/ 0 h 211960"/>
                  <a:gd name="connsiteX1" fmla="*/ 45491 w 45491"/>
                  <a:gd name="connsiteY1" fmla="*/ 211961 h 2119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5491" h="211960">
                    <a:moveTo>
                      <a:pt x="45491" y="0"/>
                    </a:moveTo>
                    <a:cubicBezTo>
                      <a:pt x="45491" y="0"/>
                      <a:pt x="-56864" y="91526"/>
                      <a:pt x="45491" y="211961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64" name="Forma livre: Forma 563">
                <a:extLst>
                  <a:ext uri="{FF2B5EF4-FFF2-40B4-BE49-F238E27FC236}">
                    <a16:creationId xmlns:a16="http://schemas.microsoft.com/office/drawing/2014/main" id="{0609BF22-7552-4B69-0D75-B84870BB062F}"/>
                  </a:ext>
                </a:extLst>
              </p:cNvPr>
              <p:cNvSpPr/>
              <p:nvPr/>
            </p:nvSpPr>
            <p:spPr>
              <a:xfrm>
                <a:off x="5907753" y="3349098"/>
                <a:ext cx="45495" cy="133516"/>
              </a:xfrm>
              <a:custGeom>
                <a:avLst/>
                <a:gdLst>
                  <a:gd name="connsiteX0" fmla="*/ 43068 w 45495"/>
                  <a:gd name="connsiteY0" fmla="*/ 0 h 133516"/>
                  <a:gd name="connsiteX1" fmla="*/ 0 w 45495"/>
                  <a:gd name="connsiteY1" fmla="*/ 133517 h 1335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5495" h="133516">
                    <a:moveTo>
                      <a:pt x="43068" y="0"/>
                    </a:moveTo>
                    <a:cubicBezTo>
                      <a:pt x="50075" y="36013"/>
                      <a:pt x="43705" y="82119"/>
                      <a:pt x="0" y="133517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65" name="Forma livre: Forma 564">
                <a:extLst>
                  <a:ext uri="{FF2B5EF4-FFF2-40B4-BE49-F238E27FC236}">
                    <a16:creationId xmlns:a16="http://schemas.microsoft.com/office/drawing/2014/main" id="{A5708143-FFEC-25DC-74C4-EAA817A9D800}"/>
                  </a:ext>
                </a:extLst>
              </p:cNvPr>
              <p:cNvSpPr/>
              <p:nvPr/>
            </p:nvSpPr>
            <p:spPr>
              <a:xfrm>
                <a:off x="5817746" y="3421406"/>
                <a:ext cx="163013" cy="22598"/>
              </a:xfrm>
              <a:custGeom>
                <a:avLst/>
                <a:gdLst>
                  <a:gd name="connsiteX0" fmla="*/ 163013 w 163013"/>
                  <a:gd name="connsiteY0" fmla="*/ 22501 h 22598"/>
                  <a:gd name="connsiteX1" fmla="*/ 0 w 163013"/>
                  <a:gd name="connsiteY1" fmla="*/ 22599 h 225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63013" h="22598">
                    <a:moveTo>
                      <a:pt x="163013" y="22501"/>
                    </a:moveTo>
                    <a:cubicBezTo>
                      <a:pt x="131067" y="3735"/>
                      <a:pt x="71879" y="-17040"/>
                      <a:pt x="0" y="22599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66" name="Forma livre: Forma 565">
                <a:extLst>
                  <a:ext uri="{FF2B5EF4-FFF2-40B4-BE49-F238E27FC236}">
                    <a16:creationId xmlns:a16="http://schemas.microsoft.com/office/drawing/2014/main" id="{DE0519F0-1719-9B01-D547-324A392286B7}"/>
                  </a:ext>
                </a:extLst>
              </p:cNvPr>
              <p:cNvSpPr/>
              <p:nvPr/>
            </p:nvSpPr>
            <p:spPr>
              <a:xfrm>
                <a:off x="5816472" y="3309263"/>
                <a:ext cx="82265" cy="23273"/>
              </a:xfrm>
              <a:custGeom>
                <a:avLst/>
                <a:gdLst>
                  <a:gd name="connsiteX0" fmla="*/ 82266 w 82265"/>
                  <a:gd name="connsiteY0" fmla="*/ 23274 h 23273"/>
                  <a:gd name="connsiteX1" fmla="*/ 0 w 82265"/>
                  <a:gd name="connsiteY1" fmla="*/ 0 h 232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82265" h="23273">
                    <a:moveTo>
                      <a:pt x="82266" y="23274"/>
                    </a:moveTo>
                    <a:cubicBezTo>
                      <a:pt x="57718" y="23028"/>
                      <a:pt x="29937" y="16757"/>
                      <a:pt x="0" y="0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567" name="Forma livre: Forma 566">
              <a:extLst>
                <a:ext uri="{FF2B5EF4-FFF2-40B4-BE49-F238E27FC236}">
                  <a16:creationId xmlns:a16="http://schemas.microsoft.com/office/drawing/2014/main" id="{D25FF3C3-CA15-4D57-3A32-0BA9F3AF8AE6}"/>
                </a:ext>
              </a:extLst>
            </p:cNvPr>
            <p:cNvSpPr/>
            <p:nvPr/>
          </p:nvSpPr>
          <p:spPr>
            <a:xfrm>
              <a:off x="5794080" y="3271585"/>
              <a:ext cx="210294" cy="210295"/>
            </a:xfrm>
            <a:custGeom>
              <a:avLst/>
              <a:gdLst>
                <a:gd name="connsiteX0" fmla="*/ 195596 w 210294"/>
                <a:gd name="connsiteY0" fmla="*/ 51496 h 210295"/>
                <a:gd name="connsiteX1" fmla="*/ 210295 w 210294"/>
                <a:gd name="connsiteY1" fmla="*/ 105148 h 210295"/>
                <a:gd name="connsiteX2" fmla="*/ 105147 w 210294"/>
                <a:gd name="connsiteY2" fmla="*/ 210295 h 210295"/>
                <a:gd name="connsiteX3" fmla="*/ 0 w 210294"/>
                <a:gd name="connsiteY3" fmla="*/ 105148 h 210295"/>
                <a:gd name="connsiteX4" fmla="*/ 105147 w 210294"/>
                <a:gd name="connsiteY4" fmla="*/ 0 h 210295"/>
                <a:gd name="connsiteX5" fmla="*/ 105147 w 210294"/>
                <a:gd name="connsiteY5" fmla="*/ 206179 h 2102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10294" h="210295">
                  <a:moveTo>
                    <a:pt x="195596" y="51496"/>
                  </a:moveTo>
                  <a:cubicBezTo>
                    <a:pt x="204954" y="67224"/>
                    <a:pt x="210295" y="85549"/>
                    <a:pt x="210295" y="105148"/>
                  </a:cubicBezTo>
                  <a:cubicBezTo>
                    <a:pt x="210295" y="163209"/>
                    <a:pt x="163209" y="210295"/>
                    <a:pt x="105147" y="210295"/>
                  </a:cubicBezTo>
                  <a:cubicBezTo>
                    <a:pt x="47086" y="210295"/>
                    <a:pt x="0" y="163209"/>
                    <a:pt x="0" y="105148"/>
                  </a:cubicBezTo>
                  <a:cubicBezTo>
                    <a:pt x="0" y="47086"/>
                    <a:pt x="47086" y="0"/>
                    <a:pt x="105147" y="0"/>
                  </a:cubicBezTo>
                  <a:lnTo>
                    <a:pt x="105147" y="206179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568" name="Gráfico 6">
              <a:extLst>
                <a:ext uri="{FF2B5EF4-FFF2-40B4-BE49-F238E27FC236}">
                  <a16:creationId xmlns:a16="http://schemas.microsoft.com/office/drawing/2014/main" id="{D16BE9DE-29E4-B036-B31F-92D812D19044}"/>
                </a:ext>
              </a:extLst>
            </p:cNvPr>
            <p:cNvGrpSpPr/>
            <p:nvPr/>
          </p:nvGrpSpPr>
          <p:grpSpPr>
            <a:xfrm>
              <a:off x="5928486" y="3166757"/>
              <a:ext cx="114326" cy="168181"/>
              <a:chOff x="5928486" y="3166757"/>
              <a:chExt cx="114326" cy="168181"/>
            </a:xfrm>
            <a:noFill/>
          </p:grpSpPr>
          <p:sp>
            <p:nvSpPr>
              <p:cNvPr id="569" name="Forma livre: Forma 568">
                <a:extLst>
                  <a:ext uri="{FF2B5EF4-FFF2-40B4-BE49-F238E27FC236}">
                    <a16:creationId xmlns:a16="http://schemas.microsoft.com/office/drawing/2014/main" id="{1A27C2AC-EDF3-D07F-A579-D3B66AEE8317}"/>
                  </a:ext>
                </a:extLst>
              </p:cNvPr>
              <p:cNvSpPr/>
              <p:nvPr/>
            </p:nvSpPr>
            <p:spPr>
              <a:xfrm>
                <a:off x="5928486" y="3166757"/>
                <a:ext cx="114326" cy="168181"/>
              </a:xfrm>
              <a:custGeom>
                <a:avLst/>
                <a:gdLst>
                  <a:gd name="connsiteX0" fmla="*/ 108424 w 114326"/>
                  <a:gd name="connsiteY0" fmla="*/ 81065 h 168181"/>
                  <a:gd name="connsiteX1" fmla="*/ 2296 w 114326"/>
                  <a:gd name="connsiteY1" fmla="*/ 168181 h 168181"/>
                  <a:gd name="connsiteX2" fmla="*/ 8127 w 114326"/>
                  <a:gd name="connsiteY2" fmla="*/ 31039 h 168181"/>
                  <a:gd name="connsiteX3" fmla="*/ 83288 w 114326"/>
                  <a:gd name="connsiteY3" fmla="*/ 5903 h 168181"/>
                  <a:gd name="connsiteX4" fmla="*/ 108424 w 114326"/>
                  <a:gd name="connsiteY4" fmla="*/ 81065 h 1681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14326" h="168181">
                    <a:moveTo>
                      <a:pt x="108424" y="81065"/>
                    </a:moveTo>
                    <a:cubicBezTo>
                      <a:pt x="94606" y="108748"/>
                      <a:pt x="2296" y="168181"/>
                      <a:pt x="2296" y="168181"/>
                    </a:cubicBezTo>
                    <a:cubicBezTo>
                      <a:pt x="2296" y="168181"/>
                      <a:pt x="-5690" y="58722"/>
                      <a:pt x="8127" y="31039"/>
                    </a:cubicBezTo>
                    <a:cubicBezTo>
                      <a:pt x="21944" y="3355"/>
                      <a:pt x="55605" y="-7914"/>
                      <a:pt x="83288" y="5903"/>
                    </a:cubicBezTo>
                    <a:cubicBezTo>
                      <a:pt x="110971" y="19720"/>
                      <a:pt x="122241" y="53381"/>
                      <a:pt x="108424" y="81065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70" name="Forma livre: Forma 569">
                <a:extLst>
                  <a:ext uri="{FF2B5EF4-FFF2-40B4-BE49-F238E27FC236}">
                    <a16:creationId xmlns:a16="http://schemas.microsoft.com/office/drawing/2014/main" id="{78B0BCAC-1CFE-313E-5750-C6056D886870}"/>
                  </a:ext>
                </a:extLst>
              </p:cNvPr>
              <p:cNvSpPr/>
              <p:nvPr/>
            </p:nvSpPr>
            <p:spPr>
              <a:xfrm>
                <a:off x="5962864" y="3198841"/>
                <a:ext cx="47843" cy="47886"/>
              </a:xfrm>
              <a:custGeom>
                <a:avLst/>
                <a:gdLst>
                  <a:gd name="connsiteX0" fmla="*/ 45333 w 47843"/>
                  <a:gd name="connsiteY0" fmla="*/ 34625 h 47886"/>
                  <a:gd name="connsiteX1" fmla="*/ 13240 w 47843"/>
                  <a:gd name="connsiteY1" fmla="*/ 45355 h 47886"/>
                  <a:gd name="connsiteX2" fmla="*/ 2510 w 47843"/>
                  <a:gd name="connsiteY2" fmla="*/ 13262 h 47886"/>
                  <a:gd name="connsiteX3" fmla="*/ 34603 w 47843"/>
                  <a:gd name="connsiteY3" fmla="*/ 2531 h 47886"/>
                  <a:gd name="connsiteX4" fmla="*/ 45333 w 47843"/>
                  <a:gd name="connsiteY4" fmla="*/ 34625 h 478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7843" h="47886">
                    <a:moveTo>
                      <a:pt x="45333" y="34625"/>
                    </a:moveTo>
                    <a:cubicBezTo>
                      <a:pt x="39454" y="46433"/>
                      <a:pt x="25049" y="51284"/>
                      <a:pt x="13240" y="45355"/>
                    </a:cubicBezTo>
                    <a:cubicBezTo>
                      <a:pt x="1432" y="39475"/>
                      <a:pt x="-3370" y="25070"/>
                      <a:pt x="2510" y="13262"/>
                    </a:cubicBezTo>
                    <a:cubicBezTo>
                      <a:pt x="8390" y="1454"/>
                      <a:pt x="22795" y="-3397"/>
                      <a:pt x="34603" y="2531"/>
                    </a:cubicBezTo>
                    <a:cubicBezTo>
                      <a:pt x="46411" y="8411"/>
                      <a:pt x="51213" y="22816"/>
                      <a:pt x="45333" y="34625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571" name="Gráfico 6">
            <a:extLst>
              <a:ext uri="{FF2B5EF4-FFF2-40B4-BE49-F238E27FC236}">
                <a16:creationId xmlns:a16="http://schemas.microsoft.com/office/drawing/2014/main" id="{2462A390-9A30-ABF7-7B23-5F18B5C0687B}"/>
              </a:ext>
            </a:extLst>
          </p:cNvPr>
          <p:cNvGrpSpPr/>
          <p:nvPr/>
        </p:nvGrpSpPr>
        <p:grpSpPr>
          <a:xfrm>
            <a:off x="5768072" y="1006013"/>
            <a:ext cx="297500" cy="295506"/>
            <a:chOff x="5768072" y="1006013"/>
            <a:chExt cx="297500" cy="295506"/>
          </a:xfrm>
          <a:noFill/>
        </p:grpSpPr>
        <p:sp>
          <p:nvSpPr>
            <p:cNvPr id="572" name="Forma livre: Forma 571">
              <a:extLst>
                <a:ext uri="{FF2B5EF4-FFF2-40B4-BE49-F238E27FC236}">
                  <a16:creationId xmlns:a16="http://schemas.microsoft.com/office/drawing/2014/main" id="{D59E3F61-46D0-3CA5-EC8B-8DB5536F1E5F}"/>
                </a:ext>
              </a:extLst>
            </p:cNvPr>
            <p:cNvSpPr/>
            <p:nvPr/>
          </p:nvSpPr>
          <p:spPr>
            <a:xfrm>
              <a:off x="5935632" y="1006013"/>
              <a:ext cx="4899" cy="32778"/>
            </a:xfrm>
            <a:custGeom>
              <a:avLst/>
              <a:gdLst>
                <a:gd name="connsiteX0" fmla="*/ 0 w 4899"/>
                <a:gd name="connsiteY0" fmla="*/ 32779 h 32778"/>
                <a:gd name="connsiteX1" fmla="*/ 0 w 4899"/>
                <a:gd name="connsiteY1" fmla="*/ 0 h 327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899" h="32778">
                  <a:moveTo>
                    <a:pt x="0" y="32779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573" name="Forma livre: Forma 572">
              <a:extLst>
                <a:ext uri="{FF2B5EF4-FFF2-40B4-BE49-F238E27FC236}">
                  <a16:creationId xmlns:a16="http://schemas.microsoft.com/office/drawing/2014/main" id="{68AA7D59-60A8-06BB-CD36-010ED6CD6017}"/>
                </a:ext>
              </a:extLst>
            </p:cNvPr>
            <p:cNvSpPr/>
            <p:nvPr/>
          </p:nvSpPr>
          <p:spPr>
            <a:xfrm>
              <a:off x="6032793" y="1135953"/>
              <a:ext cx="32778" cy="4899"/>
            </a:xfrm>
            <a:custGeom>
              <a:avLst/>
              <a:gdLst>
                <a:gd name="connsiteX0" fmla="*/ 0 w 32778"/>
                <a:gd name="connsiteY0" fmla="*/ 0 h 4899"/>
                <a:gd name="connsiteX1" fmla="*/ 32779 w 32778"/>
                <a:gd name="connsiteY1" fmla="*/ 0 h 48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2778" h="4899">
                  <a:moveTo>
                    <a:pt x="0" y="0"/>
                  </a:moveTo>
                  <a:lnTo>
                    <a:pt x="32779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574" name="Forma livre: Forma 573">
              <a:extLst>
                <a:ext uri="{FF2B5EF4-FFF2-40B4-BE49-F238E27FC236}">
                  <a16:creationId xmlns:a16="http://schemas.microsoft.com/office/drawing/2014/main" id="{7B10EE13-A081-BDE7-20E0-47F8E2DAC8E0}"/>
                </a:ext>
              </a:extLst>
            </p:cNvPr>
            <p:cNvSpPr/>
            <p:nvPr/>
          </p:nvSpPr>
          <p:spPr>
            <a:xfrm>
              <a:off x="6004326" y="1204647"/>
              <a:ext cx="23175" cy="23175"/>
            </a:xfrm>
            <a:custGeom>
              <a:avLst/>
              <a:gdLst>
                <a:gd name="connsiteX0" fmla="*/ 0 w 23175"/>
                <a:gd name="connsiteY0" fmla="*/ 0 h 23175"/>
                <a:gd name="connsiteX1" fmla="*/ 23176 w 23175"/>
                <a:gd name="connsiteY1" fmla="*/ 23176 h 23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3175" h="23175">
                  <a:moveTo>
                    <a:pt x="0" y="0"/>
                  </a:moveTo>
                  <a:lnTo>
                    <a:pt x="23176" y="23176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575" name="Forma livre: Forma 574">
              <a:extLst>
                <a:ext uri="{FF2B5EF4-FFF2-40B4-BE49-F238E27FC236}">
                  <a16:creationId xmlns:a16="http://schemas.microsoft.com/office/drawing/2014/main" id="{EE44D134-89D6-2791-ABEF-FF6275F61259}"/>
                </a:ext>
              </a:extLst>
            </p:cNvPr>
            <p:cNvSpPr/>
            <p:nvPr/>
          </p:nvSpPr>
          <p:spPr>
            <a:xfrm>
              <a:off x="5843763" y="1044034"/>
              <a:ext cx="23175" cy="23224"/>
            </a:xfrm>
            <a:custGeom>
              <a:avLst/>
              <a:gdLst>
                <a:gd name="connsiteX0" fmla="*/ 0 w 23175"/>
                <a:gd name="connsiteY0" fmla="*/ 0 h 23224"/>
                <a:gd name="connsiteX1" fmla="*/ 23176 w 23175"/>
                <a:gd name="connsiteY1" fmla="*/ 23225 h 232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3175" h="23224">
                  <a:moveTo>
                    <a:pt x="0" y="0"/>
                  </a:moveTo>
                  <a:lnTo>
                    <a:pt x="23176" y="23225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576" name="Forma livre: Forma 575">
              <a:extLst>
                <a:ext uri="{FF2B5EF4-FFF2-40B4-BE49-F238E27FC236}">
                  <a16:creationId xmlns:a16="http://schemas.microsoft.com/office/drawing/2014/main" id="{C992E6AF-DEC1-D16C-CC16-0C674F538C54}"/>
                </a:ext>
              </a:extLst>
            </p:cNvPr>
            <p:cNvSpPr/>
            <p:nvPr/>
          </p:nvSpPr>
          <p:spPr>
            <a:xfrm>
              <a:off x="6004326" y="1044034"/>
              <a:ext cx="23175" cy="23224"/>
            </a:xfrm>
            <a:custGeom>
              <a:avLst/>
              <a:gdLst>
                <a:gd name="connsiteX0" fmla="*/ 23176 w 23175"/>
                <a:gd name="connsiteY0" fmla="*/ 0 h 23224"/>
                <a:gd name="connsiteX1" fmla="*/ 0 w 23175"/>
                <a:gd name="connsiteY1" fmla="*/ 23225 h 232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3175" h="23224">
                  <a:moveTo>
                    <a:pt x="23176" y="0"/>
                  </a:moveTo>
                  <a:lnTo>
                    <a:pt x="0" y="23225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577" name="Forma livre: Forma 576">
              <a:extLst>
                <a:ext uri="{FF2B5EF4-FFF2-40B4-BE49-F238E27FC236}">
                  <a16:creationId xmlns:a16="http://schemas.microsoft.com/office/drawing/2014/main" id="{7FE39F01-F5A7-F119-BA2D-7062299B6EEC}"/>
                </a:ext>
              </a:extLst>
            </p:cNvPr>
            <p:cNvSpPr/>
            <p:nvPr/>
          </p:nvSpPr>
          <p:spPr>
            <a:xfrm>
              <a:off x="5973409" y="1016204"/>
              <a:ext cx="12739" cy="30231"/>
            </a:xfrm>
            <a:custGeom>
              <a:avLst/>
              <a:gdLst>
                <a:gd name="connsiteX0" fmla="*/ 12739 w 12739"/>
                <a:gd name="connsiteY0" fmla="*/ 0 h 30231"/>
                <a:gd name="connsiteX1" fmla="*/ 0 w 12739"/>
                <a:gd name="connsiteY1" fmla="*/ 30231 h 302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739" h="30231">
                  <a:moveTo>
                    <a:pt x="12739" y="0"/>
                  </a:moveTo>
                  <a:lnTo>
                    <a:pt x="0" y="30231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578" name="Forma livre: Forma 577">
              <a:extLst>
                <a:ext uri="{FF2B5EF4-FFF2-40B4-BE49-F238E27FC236}">
                  <a16:creationId xmlns:a16="http://schemas.microsoft.com/office/drawing/2014/main" id="{6886C90F-BFCD-4F8A-7548-333B652BB2DB}"/>
                </a:ext>
              </a:extLst>
            </p:cNvPr>
            <p:cNvSpPr/>
            <p:nvPr/>
          </p:nvSpPr>
          <p:spPr>
            <a:xfrm>
              <a:off x="6025640" y="1087005"/>
              <a:ext cx="30378" cy="12347"/>
            </a:xfrm>
            <a:custGeom>
              <a:avLst/>
              <a:gdLst>
                <a:gd name="connsiteX0" fmla="*/ 30378 w 30378"/>
                <a:gd name="connsiteY0" fmla="*/ 0 h 12347"/>
                <a:gd name="connsiteX1" fmla="*/ 0 w 30378"/>
                <a:gd name="connsiteY1" fmla="*/ 12347 h 123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0378" h="12347">
                  <a:moveTo>
                    <a:pt x="30378" y="0"/>
                  </a:moveTo>
                  <a:lnTo>
                    <a:pt x="0" y="12347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579" name="Forma livre: Forma 578">
              <a:extLst>
                <a:ext uri="{FF2B5EF4-FFF2-40B4-BE49-F238E27FC236}">
                  <a16:creationId xmlns:a16="http://schemas.microsoft.com/office/drawing/2014/main" id="{48314280-F815-102F-48D5-B31BA45745A7}"/>
                </a:ext>
              </a:extLst>
            </p:cNvPr>
            <p:cNvSpPr/>
            <p:nvPr/>
          </p:nvSpPr>
          <p:spPr>
            <a:xfrm>
              <a:off x="5972233" y="1225960"/>
              <a:ext cx="12347" cy="30378"/>
            </a:xfrm>
            <a:custGeom>
              <a:avLst/>
              <a:gdLst>
                <a:gd name="connsiteX0" fmla="*/ 0 w 12347"/>
                <a:gd name="connsiteY0" fmla="*/ 0 h 30378"/>
                <a:gd name="connsiteX1" fmla="*/ 12347 w 12347"/>
                <a:gd name="connsiteY1" fmla="*/ 30378 h 303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47" h="30378">
                  <a:moveTo>
                    <a:pt x="0" y="0"/>
                  </a:moveTo>
                  <a:lnTo>
                    <a:pt x="12347" y="30378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580" name="Forma livre: Forma 579">
              <a:extLst>
                <a:ext uri="{FF2B5EF4-FFF2-40B4-BE49-F238E27FC236}">
                  <a16:creationId xmlns:a16="http://schemas.microsoft.com/office/drawing/2014/main" id="{31A751AE-5539-CF00-FFE7-267F5FDC3F4E}"/>
                </a:ext>
              </a:extLst>
            </p:cNvPr>
            <p:cNvSpPr/>
            <p:nvPr/>
          </p:nvSpPr>
          <p:spPr>
            <a:xfrm>
              <a:off x="5886684" y="1015567"/>
              <a:ext cx="12347" cy="30378"/>
            </a:xfrm>
            <a:custGeom>
              <a:avLst/>
              <a:gdLst>
                <a:gd name="connsiteX0" fmla="*/ 0 w 12347"/>
                <a:gd name="connsiteY0" fmla="*/ 0 h 30378"/>
                <a:gd name="connsiteX1" fmla="*/ 12347 w 12347"/>
                <a:gd name="connsiteY1" fmla="*/ 30378 h 303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47" h="30378">
                  <a:moveTo>
                    <a:pt x="0" y="0"/>
                  </a:moveTo>
                  <a:lnTo>
                    <a:pt x="12347" y="30378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581" name="Forma livre: Forma 580">
              <a:extLst>
                <a:ext uri="{FF2B5EF4-FFF2-40B4-BE49-F238E27FC236}">
                  <a16:creationId xmlns:a16="http://schemas.microsoft.com/office/drawing/2014/main" id="{94DA0210-D544-65DF-6602-B91ACE6203C8}"/>
                </a:ext>
              </a:extLst>
            </p:cNvPr>
            <p:cNvSpPr/>
            <p:nvPr/>
          </p:nvSpPr>
          <p:spPr>
            <a:xfrm>
              <a:off x="6025150" y="1173680"/>
              <a:ext cx="30182" cy="12788"/>
            </a:xfrm>
            <a:custGeom>
              <a:avLst/>
              <a:gdLst>
                <a:gd name="connsiteX0" fmla="*/ 0 w 30182"/>
                <a:gd name="connsiteY0" fmla="*/ 0 h 12788"/>
                <a:gd name="connsiteX1" fmla="*/ 30182 w 30182"/>
                <a:gd name="connsiteY1" fmla="*/ 12788 h 127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0182" h="12788">
                  <a:moveTo>
                    <a:pt x="0" y="0"/>
                  </a:moveTo>
                  <a:lnTo>
                    <a:pt x="30182" y="12788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582" name="Forma livre: Forma 581">
              <a:extLst>
                <a:ext uri="{FF2B5EF4-FFF2-40B4-BE49-F238E27FC236}">
                  <a16:creationId xmlns:a16="http://schemas.microsoft.com/office/drawing/2014/main" id="{157EF594-0273-0F4F-61B7-CDE05D498FD4}"/>
                </a:ext>
              </a:extLst>
            </p:cNvPr>
            <p:cNvSpPr/>
            <p:nvPr/>
          </p:nvSpPr>
          <p:spPr>
            <a:xfrm>
              <a:off x="5768072" y="1066283"/>
              <a:ext cx="184216" cy="235235"/>
            </a:xfrm>
            <a:custGeom>
              <a:avLst/>
              <a:gdLst>
                <a:gd name="connsiteX0" fmla="*/ 147325 w 184216"/>
                <a:gd name="connsiteY0" fmla="*/ 162274 h 235235"/>
                <a:gd name="connsiteX1" fmla="*/ 131548 w 184216"/>
                <a:gd name="connsiteY1" fmla="*/ 158403 h 235235"/>
                <a:gd name="connsiteX2" fmla="*/ 106266 w 184216"/>
                <a:gd name="connsiteY2" fmla="*/ 166782 h 235235"/>
                <a:gd name="connsiteX3" fmla="*/ 76720 w 184216"/>
                <a:gd name="connsiteY3" fmla="*/ 128270 h 235235"/>
                <a:gd name="connsiteX4" fmla="*/ 76720 w 184216"/>
                <a:gd name="connsiteY4" fmla="*/ 128270 h 235235"/>
                <a:gd name="connsiteX5" fmla="*/ 76573 w 184216"/>
                <a:gd name="connsiteY5" fmla="*/ 128074 h 235235"/>
                <a:gd name="connsiteX6" fmla="*/ 76426 w 184216"/>
                <a:gd name="connsiteY6" fmla="*/ 127829 h 235235"/>
                <a:gd name="connsiteX7" fmla="*/ 76426 w 184216"/>
                <a:gd name="connsiteY7" fmla="*/ 127829 h 235235"/>
                <a:gd name="connsiteX8" fmla="*/ 51193 w 184216"/>
                <a:gd name="connsiteY8" fmla="*/ 86377 h 235235"/>
                <a:gd name="connsiteX9" fmla="*/ 68097 w 184216"/>
                <a:gd name="connsiteY9" fmla="*/ 65848 h 235235"/>
                <a:gd name="connsiteX10" fmla="*/ 70155 w 184216"/>
                <a:gd name="connsiteY10" fmla="*/ 49728 h 235235"/>
                <a:gd name="connsiteX11" fmla="*/ 51928 w 184216"/>
                <a:gd name="connsiteY11" fmla="*/ 7051 h 235235"/>
                <a:gd name="connsiteX12" fmla="*/ 42961 w 184216"/>
                <a:gd name="connsiteY12" fmla="*/ 45 h 235235"/>
                <a:gd name="connsiteX13" fmla="*/ 11897 w 184216"/>
                <a:gd name="connsiteY13" fmla="*/ 14499 h 235235"/>
                <a:gd name="connsiteX14" fmla="*/ 89 w 184216"/>
                <a:gd name="connsiteY14" fmla="*/ 31011 h 235235"/>
                <a:gd name="connsiteX15" fmla="*/ 46048 w 184216"/>
                <a:gd name="connsiteY15" fmla="*/ 148947 h 235235"/>
                <a:gd name="connsiteX16" fmla="*/ 139437 w 184216"/>
                <a:gd name="connsiteY16" fmla="*/ 234348 h 235235"/>
                <a:gd name="connsiteX17" fmla="*/ 159084 w 184216"/>
                <a:gd name="connsiteY17" fmla="*/ 229302 h 235235"/>
                <a:gd name="connsiteX18" fmla="*/ 183779 w 184216"/>
                <a:gd name="connsiteY18" fmla="*/ 205538 h 235235"/>
                <a:gd name="connsiteX19" fmla="*/ 180496 w 184216"/>
                <a:gd name="connsiteY19" fmla="*/ 194661 h 235235"/>
                <a:gd name="connsiteX20" fmla="*/ 147276 w 184216"/>
                <a:gd name="connsiteY20" fmla="*/ 162274 h 2352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84216" h="235235">
                  <a:moveTo>
                    <a:pt x="147325" y="162274"/>
                  </a:moveTo>
                  <a:cubicBezTo>
                    <a:pt x="147325" y="162274"/>
                    <a:pt x="141788" y="155022"/>
                    <a:pt x="131548" y="158403"/>
                  </a:cubicBezTo>
                  <a:lnTo>
                    <a:pt x="106266" y="166782"/>
                  </a:lnTo>
                  <a:cubicBezTo>
                    <a:pt x="106266" y="166782"/>
                    <a:pt x="86863" y="144488"/>
                    <a:pt x="76720" y="128270"/>
                  </a:cubicBezTo>
                  <a:lnTo>
                    <a:pt x="76720" y="128270"/>
                  </a:lnTo>
                  <a:cubicBezTo>
                    <a:pt x="76720" y="128270"/>
                    <a:pt x="76622" y="128123"/>
                    <a:pt x="76573" y="128074"/>
                  </a:cubicBezTo>
                  <a:cubicBezTo>
                    <a:pt x="76573" y="128025"/>
                    <a:pt x="76475" y="127927"/>
                    <a:pt x="76426" y="127829"/>
                  </a:cubicBezTo>
                  <a:lnTo>
                    <a:pt x="76426" y="127829"/>
                  </a:lnTo>
                  <a:cubicBezTo>
                    <a:pt x="65010" y="112542"/>
                    <a:pt x="51193" y="86377"/>
                    <a:pt x="51193" y="86377"/>
                  </a:cubicBezTo>
                  <a:lnTo>
                    <a:pt x="68097" y="65848"/>
                  </a:lnTo>
                  <a:cubicBezTo>
                    <a:pt x="74956" y="57469"/>
                    <a:pt x="70155" y="49728"/>
                    <a:pt x="70155" y="49728"/>
                  </a:cubicBezTo>
                  <a:lnTo>
                    <a:pt x="51928" y="7051"/>
                  </a:lnTo>
                  <a:cubicBezTo>
                    <a:pt x="48596" y="-102"/>
                    <a:pt x="42961" y="45"/>
                    <a:pt x="42961" y="45"/>
                  </a:cubicBezTo>
                  <a:cubicBezTo>
                    <a:pt x="35955" y="-935"/>
                    <a:pt x="11897" y="14499"/>
                    <a:pt x="11897" y="14499"/>
                  </a:cubicBezTo>
                  <a:cubicBezTo>
                    <a:pt x="-744" y="22093"/>
                    <a:pt x="89" y="31011"/>
                    <a:pt x="89" y="31011"/>
                  </a:cubicBezTo>
                  <a:cubicBezTo>
                    <a:pt x="-2263" y="83928"/>
                    <a:pt x="42717" y="143851"/>
                    <a:pt x="46048" y="148947"/>
                  </a:cubicBezTo>
                  <a:cubicBezTo>
                    <a:pt x="50654" y="155218"/>
                    <a:pt x="89215" y="217444"/>
                    <a:pt x="139437" y="234348"/>
                  </a:cubicBezTo>
                  <a:cubicBezTo>
                    <a:pt x="139437" y="234348"/>
                    <a:pt x="147423" y="238366"/>
                    <a:pt x="159084" y="229302"/>
                  </a:cubicBezTo>
                  <a:cubicBezTo>
                    <a:pt x="159084" y="229302"/>
                    <a:pt x="182211" y="212398"/>
                    <a:pt x="183779" y="205538"/>
                  </a:cubicBezTo>
                  <a:cubicBezTo>
                    <a:pt x="183779" y="205538"/>
                    <a:pt x="185984" y="200344"/>
                    <a:pt x="180496" y="194661"/>
                  </a:cubicBezTo>
                  <a:lnTo>
                    <a:pt x="147276" y="162274"/>
                  </a:lnTo>
                  <a:close/>
                </a:path>
              </a:pathLst>
            </a:custGeom>
            <a:noFill/>
            <a:ln w="6350" cap="sq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583" name="Gráfico 6">
              <a:extLst>
                <a:ext uri="{FF2B5EF4-FFF2-40B4-BE49-F238E27FC236}">
                  <a16:creationId xmlns:a16="http://schemas.microsoft.com/office/drawing/2014/main" id="{8A34540C-B9D1-814C-FB3E-731AE93F401C}"/>
                </a:ext>
              </a:extLst>
            </p:cNvPr>
            <p:cNvGrpSpPr/>
            <p:nvPr/>
          </p:nvGrpSpPr>
          <p:grpSpPr>
            <a:xfrm>
              <a:off x="5886831" y="1097539"/>
              <a:ext cx="100639" cy="74034"/>
              <a:chOff x="5886831" y="1097539"/>
              <a:chExt cx="100639" cy="74034"/>
            </a:xfrm>
            <a:noFill/>
          </p:grpSpPr>
          <p:sp>
            <p:nvSpPr>
              <p:cNvPr id="584" name="Forma livre: Forma 583">
                <a:extLst>
                  <a:ext uri="{FF2B5EF4-FFF2-40B4-BE49-F238E27FC236}">
                    <a16:creationId xmlns:a16="http://schemas.microsoft.com/office/drawing/2014/main" id="{2003B7E1-9D5D-EF2C-752F-15B6DAD10E26}"/>
                  </a:ext>
                </a:extLst>
              </p:cNvPr>
              <p:cNvSpPr/>
              <p:nvPr/>
            </p:nvSpPr>
            <p:spPr>
              <a:xfrm>
                <a:off x="5936808" y="1097539"/>
                <a:ext cx="50662" cy="74034"/>
              </a:xfrm>
              <a:custGeom>
                <a:avLst/>
                <a:gdLst>
                  <a:gd name="connsiteX0" fmla="*/ 31260 w 50662"/>
                  <a:gd name="connsiteY0" fmla="*/ 74034 h 74034"/>
                  <a:gd name="connsiteX1" fmla="*/ 31260 w 50662"/>
                  <a:gd name="connsiteY1" fmla="*/ 0 h 74034"/>
                  <a:gd name="connsiteX2" fmla="*/ 0 w 50662"/>
                  <a:gd name="connsiteY2" fmla="*/ 50320 h 74034"/>
                  <a:gd name="connsiteX3" fmla="*/ 50663 w 50662"/>
                  <a:gd name="connsiteY3" fmla="*/ 50320 h 740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0662" h="74034">
                    <a:moveTo>
                      <a:pt x="31260" y="74034"/>
                    </a:moveTo>
                    <a:lnTo>
                      <a:pt x="31260" y="0"/>
                    </a:lnTo>
                    <a:lnTo>
                      <a:pt x="0" y="50320"/>
                    </a:lnTo>
                    <a:lnTo>
                      <a:pt x="50663" y="5032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85" name="Forma livre: Forma 584">
                <a:extLst>
                  <a:ext uri="{FF2B5EF4-FFF2-40B4-BE49-F238E27FC236}">
                    <a16:creationId xmlns:a16="http://schemas.microsoft.com/office/drawing/2014/main" id="{7E1AEE29-4164-19DF-9B51-975625A0F274}"/>
                  </a:ext>
                </a:extLst>
              </p:cNvPr>
              <p:cNvSpPr/>
              <p:nvPr/>
            </p:nvSpPr>
            <p:spPr>
              <a:xfrm>
                <a:off x="5886831" y="1097637"/>
                <a:ext cx="39442" cy="67419"/>
              </a:xfrm>
              <a:custGeom>
                <a:avLst/>
                <a:gdLst>
                  <a:gd name="connsiteX0" fmla="*/ 0 w 39442"/>
                  <a:gd name="connsiteY0" fmla="*/ 21020 h 67419"/>
                  <a:gd name="connsiteX1" fmla="*/ 0 w 39442"/>
                  <a:gd name="connsiteY1" fmla="*/ 17149 h 67419"/>
                  <a:gd name="connsiteX2" fmla="*/ 17149 w 39442"/>
                  <a:gd name="connsiteY2" fmla="*/ 0 h 67419"/>
                  <a:gd name="connsiteX3" fmla="*/ 34298 w 39442"/>
                  <a:gd name="connsiteY3" fmla="*/ 17149 h 67419"/>
                  <a:gd name="connsiteX4" fmla="*/ 25185 w 39442"/>
                  <a:gd name="connsiteY4" fmla="*/ 34396 h 67419"/>
                  <a:gd name="connsiteX5" fmla="*/ 637 w 39442"/>
                  <a:gd name="connsiteY5" fmla="*/ 67420 h 67419"/>
                  <a:gd name="connsiteX6" fmla="*/ 39443 w 39442"/>
                  <a:gd name="connsiteY6" fmla="*/ 67420 h 674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9442" h="67419">
                    <a:moveTo>
                      <a:pt x="0" y="21020"/>
                    </a:moveTo>
                    <a:lnTo>
                      <a:pt x="0" y="17149"/>
                    </a:lnTo>
                    <a:cubicBezTo>
                      <a:pt x="0" y="7693"/>
                      <a:pt x="7693" y="0"/>
                      <a:pt x="17149" y="0"/>
                    </a:cubicBezTo>
                    <a:cubicBezTo>
                      <a:pt x="26605" y="0"/>
                      <a:pt x="34298" y="7693"/>
                      <a:pt x="34298" y="17149"/>
                    </a:cubicBezTo>
                    <a:cubicBezTo>
                      <a:pt x="34298" y="24058"/>
                      <a:pt x="30182" y="30133"/>
                      <a:pt x="25185" y="34396"/>
                    </a:cubicBezTo>
                    <a:cubicBezTo>
                      <a:pt x="18423" y="40129"/>
                      <a:pt x="2401" y="53211"/>
                      <a:pt x="637" y="67420"/>
                    </a:cubicBezTo>
                    <a:lnTo>
                      <a:pt x="39443" y="6742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587" name="Gráfico 9">
            <a:extLst>
              <a:ext uri="{FF2B5EF4-FFF2-40B4-BE49-F238E27FC236}">
                <a16:creationId xmlns:a16="http://schemas.microsoft.com/office/drawing/2014/main" id="{4F8EF057-0F94-2E42-6D0B-D7C467F575B8}"/>
              </a:ext>
            </a:extLst>
          </p:cNvPr>
          <p:cNvGrpSpPr/>
          <p:nvPr/>
        </p:nvGrpSpPr>
        <p:grpSpPr>
          <a:xfrm>
            <a:off x="6979081" y="993940"/>
            <a:ext cx="297966" cy="294770"/>
            <a:chOff x="6979081" y="993940"/>
            <a:chExt cx="297966" cy="294770"/>
          </a:xfrm>
          <a:noFill/>
        </p:grpSpPr>
        <p:sp>
          <p:nvSpPr>
            <p:cNvPr id="588" name="Forma livre: Forma 587">
              <a:extLst>
                <a:ext uri="{FF2B5EF4-FFF2-40B4-BE49-F238E27FC236}">
                  <a16:creationId xmlns:a16="http://schemas.microsoft.com/office/drawing/2014/main" id="{2D18B36D-0BA5-EC58-D67F-F66CC3DB9F1A}"/>
                </a:ext>
              </a:extLst>
            </p:cNvPr>
            <p:cNvSpPr/>
            <p:nvPr/>
          </p:nvSpPr>
          <p:spPr>
            <a:xfrm>
              <a:off x="6979081" y="1073553"/>
              <a:ext cx="297966" cy="215157"/>
            </a:xfrm>
            <a:custGeom>
              <a:avLst/>
              <a:gdLst>
                <a:gd name="connsiteX0" fmla="*/ 211865 w 297966"/>
                <a:gd name="connsiteY0" fmla="*/ 0 h 215157"/>
                <a:gd name="connsiteX1" fmla="*/ 297966 w 297966"/>
                <a:gd name="connsiteY1" fmla="*/ 96271 h 215157"/>
                <a:gd name="connsiteX2" fmla="*/ 297966 w 297966"/>
                <a:gd name="connsiteY2" fmla="*/ 118305 h 215157"/>
                <a:gd name="connsiteX3" fmla="*/ 201114 w 297966"/>
                <a:gd name="connsiteY3" fmla="*/ 215157 h 215157"/>
                <a:gd name="connsiteX4" fmla="*/ 96852 w 297966"/>
                <a:gd name="connsiteY4" fmla="*/ 215157 h 215157"/>
                <a:gd name="connsiteX5" fmla="*/ 0 w 297966"/>
                <a:gd name="connsiteY5" fmla="*/ 118305 h 215157"/>
                <a:gd name="connsiteX6" fmla="*/ 0 w 297966"/>
                <a:gd name="connsiteY6" fmla="*/ 96271 h 215157"/>
                <a:gd name="connsiteX7" fmla="*/ 83002 w 297966"/>
                <a:gd name="connsiteY7" fmla="*/ 436 h 2151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97966" h="215157">
                  <a:moveTo>
                    <a:pt x="211865" y="0"/>
                  </a:moveTo>
                  <a:cubicBezTo>
                    <a:pt x="260097" y="5375"/>
                    <a:pt x="297966" y="46634"/>
                    <a:pt x="297966" y="96271"/>
                  </a:cubicBezTo>
                  <a:lnTo>
                    <a:pt x="297966" y="118305"/>
                  </a:lnTo>
                  <a:cubicBezTo>
                    <a:pt x="297966" y="171574"/>
                    <a:pt x="254383" y="215157"/>
                    <a:pt x="201114" y="215157"/>
                  </a:cubicBezTo>
                  <a:lnTo>
                    <a:pt x="96852" y="215157"/>
                  </a:lnTo>
                  <a:cubicBezTo>
                    <a:pt x="43584" y="215157"/>
                    <a:pt x="0" y="171574"/>
                    <a:pt x="0" y="118305"/>
                  </a:cubicBezTo>
                  <a:lnTo>
                    <a:pt x="0" y="96271"/>
                  </a:lnTo>
                  <a:cubicBezTo>
                    <a:pt x="0" y="47700"/>
                    <a:pt x="36223" y="7167"/>
                    <a:pt x="83002" y="436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589" name="Forma livre: Forma 588">
              <a:extLst>
                <a:ext uri="{FF2B5EF4-FFF2-40B4-BE49-F238E27FC236}">
                  <a16:creationId xmlns:a16="http://schemas.microsoft.com/office/drawing/2014/main" id="{BB2CDB7F-DD95-D8FC-3A9A-AE2C136BA441}"/>
                </a:ext>
              </a:extLst>
            </p:cNvPr>
            <p:cNvSpPr/>
            <p:nvPr/>
          </p:nvSpPr>
          <p:spPr>
            <a:xfrm>
              <a:off x="7085764" y="1048129"/>
              <a:ext cx="80581" cy="4842"/>
            </a:xfrm>
            <a:custGeom>
              <a:avLst/>
              <a:gdLst>
                <a:gd name="connsiteX0" fmla="*/ 0 w 80581"/>
                <a:gd name="connsiteY0" fmla="*/ 0 h 4842"/>
                <a:gd name="connsiteX1" fmla="*/ 80581 w 80581"/>
                <a:gd name="connsiteY1" fmla="*/ 0 h 48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0581" h="4842">
                  <a:moveTo>
                    <a:pt x="0" y="0"/>
                  </a:moveTo>
                  <a:lnTo>
                    <a:pt x="80581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590" name="Forma livre: Forma 589">
              <a:extLst>
                <a:ext uri="{FF2B5EF4-FFF2-40B4-BE49-F238E27FC236}">
                  <a16:creationId xmlns:a16="http://schemas.microsoft.com/office/drawing/2014/main" id="{24B4AD2D-D9CC-696B-534B-666431308786}"/>
                </a:ext>
              </a:extLst>
            </p:cNvPr>
            <p:cNvSpPr/>
            <p:nvPr/>
          </p:nvSpPr>
          <p:spPr>
            <a:xfrm>
              <a:off x="7085764" y="1093892"/>
              <a:ext cx="80823" cy="4842"/>
            </a:xfrm>
            <a:custGeom>
              <a:avLst/>
              <a:gdLst>
                <a:gd name="connsiteX0" fmla="*/ 0 w 80823"/>
                <a:gd name="connsiteY0" fmla="*/ 0 h 4842"/>
                <a:gd name="connsiteX1" fmla="*/ 80823 w 80823"/>
                <a:gd name="connsiteY1" fmla="*/ 0 h 48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0823" h="4842">
                  <a:moveTo>
                    <a:pt x="0" y="0"/>
                  </a:moveTo>
                  <a:lnTo>
                    <a:pt x="80823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591" name="Forma livre: Forma 590">
              <a:extLst>
                <a:ext uri="{FF2B5EF4-FFF2-40B4-BE49-F238E27FC236}">
                  <a16:creationId xmlns:a16="http://schemas.microsoft.com/office/drawing/2014/main" id="{5DA29AF8-B57A-0F11-6B17-DABC572FC322}"/>
                </a:ext>
              </a:extLst>
            </p:cNvPr>
            <p:cNvSpPr/>
            <p:nvPr/>
          </p:nvSpPr>
          <p:spPr>
            <a:xfrm>
              <a:off x="7033028" y="1157294"/>
              <a:ext cx="193123" cy="22263"/>
            </a:xfrm>
            <a:custGeom>
              <a:avLst/>
              <a:gdLst>
                <a:gd name="connsiteX0" fmla="*/ 0 w 193123"/>
                <a:gd name="connsiteY0" fmla="*/ 21925 h 22263"/>
                <a:gd name="connsiteX1" fmla="*/ 17627 w 193123"/>
                <a:gd name="connsiteY1" fmla="*/ 2942 h 22263"/>
                <a:gd name="connsiteX2" fmla="*/ 30799 w 193123"/>
                <a:gd name="connsiteY2" fmla="*/ 2942 h 22263"/>
                <a:gd name="connsiteX3" fmla="*/ 41404 w 193123"/>
                <a:gd name="connsiteY3" fmla="*/ 14370 h 22263"/>
                <a:gd name="connsiteX4" fmla="*/ 54576 w 193123"/>
                <a:gd name="connsiteY4" fmla="*/ 14370 h 22263"/>
                <a:gd name="connsiteX5" fmla="*/ 65182 w 193123"/>
                <a:gd name="connsiteY5" fmla="*/ 2990 h 22263"/>
                <a:gd name="connsiteX6" fmla="*/ 78354 w 193123"/>
                <a:gd name="connsiteY6" fmla="*/ 2990 h 22263"/>
                <a:gd name="connsiteX7" fmla="*/ 90121 w 193123"/>
                <a:gd name="connsiteY7" fmla="*/ 15630 h 22263"/>
                <a:gd name="connsiteX8" fmla="*/ 103293 w 193123"/>
                <a:gd name="connsiteY8" fmla="*/ 15630 h 22263"/>
                <a:gd name="connsiteX9" fmla="*/ 114625 w 193123"/>
                <a:gd name="connsiteY9" fmla="*/ 3475 h 22263"/>
                <a:gd name="connsiteX10" fmla="*/ 127797 w 193123"/>
                <a:gd name="connsiteY10" fmla="*/ 3475 h 22263"/>
                <a:gd name="connsiteX11" fmla="*/ 138547 w 193123"/>
                <a:gd name="connsiteY11" fmla="*/ 15048 h 22263"/>
                <a:gd name="connsiteX12" fmla="*/ 151719 w 193123"/>
                <a:gd name="connsiteY12" fmla="*/ 15048 h 22263"/>
                <a:gd name="connsiteX13" fmla="*/ 162470 w 193123"/>
                <a:gd name="connsiteY13" fmla="*/ 3475 h 22263"/>
                <a:gd name="connsiteX14" fmla="*/ 175642 w 193123"/>
                <a:gd name="connsiteY14" fmla="*/ 3475 h 22263"/>
                <a:gd name="connsiteX15" fmla="*/ 193124 w 193123"/>
                <a:gd name="connsiteY15" fmla="*/ 22264 h 222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93123" h="22263">
                  <a:moveTo>
                    <a:pt x="0" y="21925"/>
                  </a:moveTo>
                  <a:lnTo>
                    <a:pt x="17627" y="2942"/>
                  </a:lnTo>
                  <a:cubicBezTo>
                    <a:pt x="21259" y="-981"/>
                    <a:pt x="27215" y="-981"/>
                    <a:pt x="30799" y="2942"/>
                  </a:cubicBezTo>
                  <a:lnTo>
                    <a:pt x="41404" y="14370"/>
                  </a:lnTo>
                  <a:cubicBezTo>
                    <a:pt x="45036" y="18293"/>
                    <a:pt x="50993" y="18293"/>
                    <a:pt x="54576" y="14370"/>
                  </a:cubicBezTo>
                  <a:lnTo>
                    <a:pt x="65182" y="2990"/>
                  </a:lnTo>
                  <a:cubicBezTo>
                    <a:pt x="68814" y="-932"/>
                    <a:pt x="74722" y="-932"/>
                    <a:pt x="78354" y="2990"/>
                  </a:cubicBezTo>
                  <a:lnTo>
                    <a:pt x="90121" y="15630"/>
                  </a:lnTo>
                  <a:cubicBezTo>
                    <a:pt x="93753" y="19552"/>
                    <a:pt x="99661" y="19552"/>
                    <a:pt x="103293" y="15630"/>
                  </a:cubicBezTo>
                  <a:lnTo>
                    <a:pt x="114625" y="3475"/>
                  </a:lnTo>
                  <a:cubicBezTo>
                    <a:pt x="118257" y="-448"/>
                    <a:pt x="124165" y="-448"/>
                    <a:pt x="127797" y="3475"/>
                  </a:cubicBezTo>
                  <a:lnTo>
                    <a:pt x="138547" y="15048"/>
                  </a:lnTo>
                  <a:cubicBezTo>
                    <a:pt x="142179" y="18971"/>
                    <a:pt x="148087" y="18971"/>
                    <a:pt x="151719" y="15048"/>
                  </a:cubicBezTo>
                  <a:lnTo>
                    <a:pt x="162470" y="3475"/>
                  </a:lnTo>
                  <a:cubicBezTo>
                    <a:pt x="166102" y="-448"/>
                    <a:pt x="172058" y="-448"/>
                    <a:pt x="175642" y="3475"/>
                  </a:cubicBezTo>
                  <a:lnTo>
                    <a:pt x="193124" y="22264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592" name="Forma livre: Forma 591">
              <a:extLst>
                <a:ext uri="{FF2B5EF4-FFF2-40B4-BE49-F238E27FC236}">
                  <a16:creationId xmlns:a16="http://schemas.microsoft.com/office/drawing/2014/main" id="{CE8899F2-8DAC-D348-0E49-B19425313C8C}"/>
                </a:ext>
              </a:extLst>
            </p:cNvPr>
            <p:cNvSpPr/>
            <p:nvPr/>
          </p:nvSpPr>
          <p:spPr>
            <a:xfrm>
              <a:off x="7033028" y="1205672"/>
              <a:ext cx="193123" cy="22215"/>
            </a:xfrm>
            <a:custGeom>
              <a:avLst/>
              <a:gdLst>
                <a:gd name="connsiteX0" fmla="*/ 0 w 193123"/>
                <a:gd name="connsiteY0" fmla="*/ 21925 h 22215"/>
                <a:gd name="connsiteX1" fmla="*/ 17627 w 193123"/>
                <a:gd name="connsiteY1" fmla="*/ 2942 h 22215"/>
                <a:gd name="connsiteX2" fmla="*/ 30799 w 193123"/>
                <a:gd name="connsiteY2" fmla="*/ 2942 h 22215"/>
                <a:gd name="connsiteX3" fmla="*/ 41404 w 193123"/>
                <a:gd name="connsiteY3" fmla="*/ 14322 h 22215"/>
                <a:gd name="connsiteX4" fmla="*/ 54576 w 193123"/>
                <a:gd name="connsiteY4" fmla="*/ 14322 h 22215"/>
                <a:gd name="connsiteX5" fmla="*/ 65182 w 193123"/>
                <a:gd name="connsiteY5" fmla="*/ 2942 h 22215"/>
                <a:gd name="connsiteX6" fmla="*/ 78354 w 193123"/>
                <a:gd name="connsiteY6" fmla="*/ 2942 h 22215"/>
                <a:gd name="connsiteX7" fmla="*/ 90121 w 193123"/>
                <a:gd name="connsiteY7" fmla="*/ 15581 h 22215"/>
                <a:gd name="connsiteX8" fmla="*/ 103293 w 193123"/>
                <a:gd name="connsiteY8" fmla="*/ 15581 h 22215"/>
                <a:gd name="connsiteX9" fmla="*/ 114625 w 193123"/>
                <a:gd name="connsiteY9" fmla="*/ 3426 h 22215"/>
                <a:gd name="connsiteX10" fmla="*/ 127797 w 193123"/>
                <a:gd name="connsiteY10" fmla="*/ 3426 h 22215"/>
                <a:gd name="connsiteX11" fmla="*/ 138547 w 193123"/>
                <a:gd name="connsiteY11" fmla="*/ 15000 h 22215"/>
                <a:gd name="connsiteX12" fmla="*/ 151719 w 193123"/>
                <a:gd name="connsiteY12" fmla="*/ 15000 h 22215"/>
                <a:gd name="connsiteX13" fmla="*/ 162470 w 193123"/>
                <a:gd name="connsiteY13" fmla="*/ 3426 h 22215"/>
                <a:gd name="connsiteX14" fmla="*/ 175642 w 193123"/>
                <a:gd name="connsiteY14" fmla="*/ 3426 h 22215"/>
                <a:gd name="connsiteX15" fmla="*/ 193124 w 193123"/>
                <a:gd name="connsiteY15" fmla="*/ 22216 h 222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93123" h="22215">
                  <a:moveTo>
                    <a:pt x="0" y="21925"/>
                  </a:moveTo>
                  <a:lnTo>
                    <a:pt x="17627" y="2942"/>
                  </a:lnTo>
                  <a:cubicBezTo>
                    <a:pt x="21259" y="-981"/>
                    <a:pt x="27215" y="-981"/>
                    <a:pt x="30799" y="2942"/>
                  </a:cubicBezTo>
                  <a:lnTo>
                    <a:pt x="41404" y="14322"/>
                  </a:lnTo>
                  <a:cubicBezTo>
                    <a:pt x="45036" y="18245"/>
                    <a:pt x="50993" y="18245"/>
                    <a:pt x="54576" y="14322"/>
                  </a:cubicBezTo>
                  <a:lnTo>
                    <a:pt x="65182" y="2942"/>
                  </a:lnTo>
                  <a:cubicBezTo>
                    <a:pt x="68814" y="-981"/>
                    <a:pt x="74722" y="-981"/>
                    <a:pt x="78354" y="2942"/>
                  </a:cubicBezTo>
                  <a:lnTo>
                    <a:pt x="90121" y="15581"/>
                  </a:lnTo>
                  <a:cubicBezTo>
                    <a:pt x="93753" y="19504"/>
                    <a:pt x="99661" y="19504"/>
                    <a:pt x="103293" y="15581"/>
                  </a:cubicBezTo>
                  <a:lnTo>
                    <a:pt x="114625" y="3426"/>
                  </a:lnTo>
                  <a:cubicBezTo>
                    <a:pt x="118257" y="-496"/>
                    <a:pt x="124165" y="-496"/>
                    <a:pt x="127797" y="3426"/>
                  </a:cubicBezTo>
                  <a:lnTo>
                    <a:pt x="138547" y="15000"/>
                  </a:lnTo>
                  <a:cubicBezTo>
                    <a:pt x="142179" y="18923"/>
                    <a:pt x="148087" y="18923"/>
                    <a:pt x="151719" y="15000"/>
                  </a:cubicBezTo>
                  <a:lnTo>
                    <a:pt x="162470" y="3426"/>
                  </a:lnTo>
                  <a:cubicBezTo>
                    <a:pt x="166102" y="-496"/>
                    <a:pt x="172058" y="-496"/>
                    <a:pt x="175642" y="3426"/>
                  </a:cubicBezTo>
                  <a:lnTo>
                    <a:pt x="193124" y="22216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593" name="Gráfico 9">
              <a:extLst>
                <a:ext uri="{FF2B5EF4-FFF2-40B4-BE49-F238E27FC236}">
                  <a16:creationId xmlns:a16="http://schemas.microsoft.com/office/drawing/2014/main" id="{08907FF5-EA97-3F27-A5B3-C0EFA4D87EA8}"/>
                </a:ext>
              </a:extLst>
            </p:cNvPr>
            <p:cNvGrpSpPr/>
            <p:nvPr/>
          </p:nvGrpSpPr>
          <p:grpSpPr>
            <a:xfrm>
              <a:off x="7085280" y="993940"/>
              <a:ext cx="18740" cy="132929"/>
              <a:chOff x="7085280" y="993940"/>
              <a:chExt cx="18740" cy="132929"/>
            </a:xfrm>
            <a:noFill/>
          </p:grpSpPr>
          <p:sp>
            <p:nvSpPr>
              <p:cNvPr id="594" name="Forma livre: Forma 593">
                <a:extLst>
                  <a:ext uri="{FF2B5EF4-FFF2-40B4-BE49-F238E27FC236}">
                    <a16:creationId xmlns:a16="http://schemas.microsoft.com/office/drawing/2014/main" id="{295F2871-6443-95CF-EE33-833C9BF215B8}"/>
                  </a:ext>
                </a:extLst>
              </p:cNvPr>
              <p:cNvSpPr/>
              <p:nvPr/>
            </p:nvSpPr>
            <p:spPr>
              <a:xfrm>
                <a:off x="7085280" y="1041011"/>
                <a:ext cx="4842" cy="85859"/>
              </a:xfrm>
              <a:custGeom>
                <a:avLst/>
                <a:gdLst>
                  <a:gd name="connsiteX0" fmla="*/ 0 w 4842"/>
                  <a:gd name="connsiteY0" fmla="*/ 0 h 85859"/>
                  <a:gd name="connsiteX1" fmla="*/ 0 w 4842"/>
                  <a:gd name="connsiteY1" fmla="*/ 85860 h 858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842" h="85859">
                    <a:moveTo>
                      <a:pt x="0" y="0"/>
                    </a:moveTo>
                    <a:lnTo>
                      <a:pt x="0" y="8586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95" name="Forma livre: Forma 594">
                <a:extLst>
                  <a:ext uri="{FF2B5EF4-FFF2-40B4-BE49-F238E27FC236}">
                    <a16:creationId xmlns:a16="http://schemas.microsoft.com/office/drawing/2014/main" id="{DCC6E7DF-D828-AF0F-D5F3-B25F99E7D832}"/>
                  </a:ext>
                </a:extLst>
              </p:cNvPr>
              <p:cNvSpPr/>
              <p:nvPr/>
            </p:nvSpPr>
            <p:spPr>
              <a:xfrm>
                <a:off x="7085280" y="993940"/>
                <a:ext cx="18740" cy="60677"/>
              </a:xfrm>
              <a:custGeom>
                <a:avLst/>
                <a:gdLst>
                  <a:gd name="connsiteX0" fmla="*/ 18741 w 18740"/>
                  <a:gd name="connsiteY0" fmla="*/ 0 h 60677"/>
                  <a:gd name="connsiteX1" fmla="*/ 0 w 18740"/>
                  <a:gd name="connsiteY1" fmla="*/ 26150 h 60677"/>
                  <a:gd name="connsiteX2" fmla="*/ 0 w 18740"/>
                  <a:gd name="connsiteY2" fmla="*/ 60678 h 606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8740" h="60677">
                    <a:moveTo>
                      <a:pt x="18741" y="0"/>
                    </a:moveTo>
                    <a:cubicBezTo>
                      <a:pt x="1211" y="0"/>
                      <a:pt x="0" y="19806"/>
                      <a:pt x="0" y="26150"/>
                    </a:cubicBezTo>
                    <a:lnTo>
                      <a:pt x="0" y="60678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596" name="Gráfico 9">
              <a:extLst>
                <a:ext uri="{FF2B5EF4-FFF2-40B4-BE49-F238E27FC236}">
                  <a16:creationId xmlns:a16="http://schemas.microsoft.com/office/drawing/2014/main" id="{D81BEC80-95EB-058C-ED02-8B82873EA036}"/>
                </a:ext>
              </a:extLst>
            </p:cNvPr>
            <p:cNvGrpSpPr/>
            <p:nvPr/>
          </p:nvGrpSpPr>
          <p:grpSpPr>
            <a:xfrm>
              <a:off x="7167314" y="993940"/>
              <a:ext cx="18789" cy="132929"/>
              <a:chOff x="7167314" y="993940"/>
              <a:chExt cx="18789" cy="132929"/>
            </a:xfrm>
            <a:noFill/>
          </p:grpSpPr>
          <p:sp>
            <p:nvSpPr>
              <p:cNvPr id="597" name="Forma livre: Forma 596">
                <a:extLst>
                  <a:ext uri="{FF2B5EF4-FFF2-40B4-BE49-F238E27FC236}">
                    <a16:creationId xmlns:a16="http://schemas.microsoft.com/office/drawing/2014/main" id="{ADEF0BD9-891D-5FDB-3251-B140C9A47B93}"/>
                  </a:ext>
                </a:extLst>
              </p:cNvPr>
              <p:cNvSpPr/>
              <p:nvPr/>
            </p:nvSpPr>
            <p:spPr>
              <a:xfrm>
                <a:off x="7167314" y="1041011"/>
                <a:ext cx="4842" cy="85859"/>
              </a:xfrm>
              <a:custGeom>
                <a:avLst/>
                <a:gdLst>
                  <a:gd name="connsiteX0" fmla="*/ 0 w 4842"/>
                  <a:gd name="connsiteY0" fmla="*/ 0 h 85859"/>
                  <a:gd name="connsiteX1" fmla="*/ 0 w 4842"/>
                  <a:gd name="connsiteY1" fmla="*/ 85860 h 858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842" h="85859">
                    <a:moveTo>
                      <a:pt x="0" y="0"/>
                    </a:moveTo>
                    <a:lnTo>
                      <a:pt x="0" y="8586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98" name="Forma livre: Forma 597">
                <a:extLst>
                  <a:ext uri="{FF2B5EF4-FFF2-40B4-BE49-F238E27FC236}">
                    <a16:creationId xmlns:a16="http://schemas.microsoft.com/office/drawing/2014/main" id="{26721F16-E035-32F1-F5E0-5F108AEB8F94}"/>
                  </a:ext>
                </a:extLst>
              </p:cNvPr>
              <p:cNvSpPr/>
              <p:nvPr/>
            </p:nvSpPr>
            <p:spPr>
              <a:xfrm>
                <a:off x="7167362" y="993940"/>
                <a:ext cx="18740" cy="60677"/>
              </a:xfrm>
              <a:custGeom>
                <a:avLst/>
                <a:gdLst>
                  <a:gd name="connsiteX0" fmla="*/ 18741 w 18740"/>
                  <a:gd name="connsiteY0" fmla="*/ 0 h 60677"/>
                  <a:gd name="connsiteX1" fmla="*/ 0 w 18740"/>
                  <a:gd name="connsiteY1" fmla="*/ 26150 h 60677"/>
                  <a:gd name="connsiteX2" fmla="*/ 0 w 18740"/>
                  <a:gd name="connsiteY2" fmla="*/ 60678 h 606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8740" h="60677">
                    <a:moveTo>
                      <a:pt x="18741" y="0"/>
                    </a:moveTo>
                    <a:cubicBezTo>
                      <a:pt x="1211" y="0"/>
                      <a:pt x="0" y="19806"/>
                      <a:pt x="0" y="26150"/>
                    </a:cubicBezTo>
                    <a:lnTo>
                      <a:pt x="0" y="60678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599" name="Gráfico 9">
            <a:extLst>
              <a:ext uri="{FF2B5EF4-FFF2-40B4-BE49-F238E27FC236}">
                <a16:creationId xmlns:a16="http://schemas.microsoft.com/office/drawing/2014/main" id="{95B5D7F3-93E0-784F-1787-6E3D466E2B18}"/>
              </a:ext>
            </a:extLst>
          </p:cNvPr>
          <p:cNvGrpSpPr/>
          <p:nvPr/>
        </p:nvGrpSpPr>
        <p:grpSpPr>
          <a:xfrm>
            <a:off x="6964263" y="1539461"/>
            <a:ext cx="327603" cy="278208"/>
            <a:chOff x="6964263" y="1539461"/>
            <a:chExt cx="327603" cy="278208"/>
          </a:xfrm>
          <a:noFill/>
        </p:grpSpPr>
        <p:grpSp>
          <p:nvGrpSpPr>
            <p:cNvPr id="600" name="Gráfico 9">
              <a:extLst>
                <a:ext uri="{FF2B5EF4-FFF2-40B4-BE49-F238E27FC236}">
                  <a16:creationId xmlns:a16="http://schemas.microsoft.com/office/drawing/2014/main" id="{4340B245-526B-F5AE-D669-EE4B0394D77C}"/>
                </a:ext>
              </a:extLst>
            </p:cNvPr>
            <p:cNvGrpSpPr/>
            <p:nvPr/>
          </p:nvGrpSpPr>
          <p:grpSpPr>
            <a:xfrm>
              <a:off x="6964263" y="1539461"/>
              <a:ext cx="256222" cy="232687"/>
              <a:chOff x="6964263" y="1539461"/>
              <a:chExt cx="256222" cy="232687"/>
            </a:xfrm>
            <a:noFill/>
          </p:grpSpPr>
          <p:sp>
            <p:nvSpPr>
              <p:cNvPr id="601" name="Forma livre: Forma 600">
                <a:extLst>
                  <a:ext uri="{FF2B5EF4-FFF2-40B4-BE49-F238E27FC236}">
                    <a16:creationId xmlns:a16="http://schemas.microsoft.com/office/drawing/2014/main" id="{5F1553CC-1113-64E2-D1A3-3C9300B79CE5}"/>
                  </a:ext>
                </a:extLst>
              </p:cNvPr>
              <p:cNvSpPr/>
              <p:nvPr/>
            </p:nvSpPr>
            <p:spPr>
              <a:xfrm>
                <a:off x="7066055" y="1539461"/>
                <a:ext cx="154431" cy="232687"/>
              </a:xfrm>
              <a:custGeom>
                <a:avLst/>
                <a:gdLst>
                  <a:gd name="connsiteX0" fmla="*/ 0 w 154431"/>
                  <a:gd name="connsiteY0" fmla="*/ 232688 h 232687"/>
                  <a:gd name="connsiteX1" fmla="*/ 0 w 154431"/>
                  <a:gd name="connsiteY1" fmla="*/ 14528 h 232687"/>
                  <a:gd name="connsiteX2" fmla="*/ 14528 w 154431"/>
                  <a:gd name="connsiteY2" fmla="*/ 0 h 232687"/>
                  <a:gd name="connsiteX3" fmla="*/ 139903 w 154431"/>
                  <a:gd name="connsiteY3" fmla="*/ 0 h 232687"/>
                  <a:gd name="connsiteX4" fmla="*/ 154431 w 154431"/>
                  <a:gd name="connsiteY4" fmla="*/ 14528 h 232687"/>
                  <a:gd name="connsiteX5" fmla="*/ 154431 w 154431"/>
                  <a:gd name="connsiteY5" fmla="*/ 117288 h 2326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54431" h="232687">
                    <a:moveTo>
                      <a:pt x="0" y="232688"/>
                    </a:moveTo>
                    <a:lnTo>
                      <a:pt x="0" y="14528"/>
                    </a:lnTo>
                    <a:cubicBezTo>
                      <a:pt x="0" y="6538"/>
                      <a:pt x="6537" y="0"/>
                      <a:pt x="14528" y="0"/>
                    </a:cubicBezTo>
                    <a:lnTo>
                      <a:pt x="139903" y="0"/>
                    </a:lnTo>
                    <a:cubicBezTo>
                      <a:pt x="147894" y="0"/>
                      <a:pt x="154431" y="6538"/>
                      <a:pt x="154431" y="14528"/>
                    </a:cubicBezTo>
                    <a:lnTo>
                      <a:pt x="154431" y="117288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602" name="Forma livre: Forma 601">
                <a:extLst>
                  <a:ext uri="{FF2B5EF4-FFF2-40B4-BE49-F238E27FC236}">
                    <a16:creationId xmlns:a16="http://schemas.microsoft.com/office/drawing/2014/main" id="{B3BAE69A-A446-74DB-0A8C-C48FD6B2A037}"/>
                  </a:ext>
                </a:extLst>
              </p:cNvPr>
              <p:cNvSpPr/>
              <p:nvPr/>
            </p:nvSpPr>
            <p:spPr>
              <a:xfrm>
                <a:off x="6964263" y="1652439"/>
                <a:ext cx="77046" cy="119709"/>
              </a:xfrm>
              <a:custGeom>
                <a:avLst/>
                <a:gdLst>
                  <a:gd name="connsiteX0" fmla="*/ 0 w 77046"/>
                  <a:gd name="connsiteY0" fmla="*/ 119709 h 119709"/>
                  <a:gd name="connsiteX1" fmla="*/ 0 w 77046"/>
                  <a:gd name="connsiteY1" fmla="*/ 14528 h 119709"/>
                  <a:gd name="connsiteX2" fmla="*/ 14528 w 77046"/>
                  <a:gd name="connsiteY2" fmla="*/ 0 h 119709"/>
                  <a:gd name="connsiteX3" fmla="*/ 77046 w 77046"/>
                  <a:gd name="connsiteY3" fmla="*/ 0 h 1197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7046" h="119709">
                    <a:moveTo>
                      <a:pt x="0" y="119709"/>
                    </a:moveTo>
                    <a:lnTo>
                      <a:pt x="0" y="14528"/>
                    </a:lnTo>
                    <a:cubicBezTo>
                      <a:pt x="0" y="6538"/>
                      <a:pt x="6538" y="0"/>
                      <a:pt x="14528" y="0"/>
                    </a:cubicBezTo>
                    <a:lnTo>
                      <a:pt x="77046" y="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603" name="Forma livre: Forma 602">
                <a:extLst>
                  <a:ext uri="{FF2B5EF4-FFF2-40B4-BE49-F238E27FC236}">
                    <a16:creationId xmlns:a16="http://schemas.microsoft.com/office/drawing/2014/main" id="{1850E5B1-0BF9-51DD-0CA8-ACB23347B87B}"/>
                  </a:ext>
                </a:extLst>
              </p:cNvPr>
              <p:cNvSpPr/>
              <p:nvPr/>
            </p:nvSpPr>
            <p:spPr>
              <a:xfrm>
                <a:off x="7094868" y="1577040"/>
                <a:ext cx="96803" cy="4842"/>
              </a:xfrm>
              <a:custGeom>
                <a:avLst/>
                <a:gdLst>
                  <a:gd name="connsiteX0" fmla="*/ 0 w 96803"/>
                  <a:gd name="connsiteY0" fmla="*/ 0 h 4842"/>
                  <a:gd name="connsiteX1" fmla="*/ 96804 w 96803"/>
                  <a:gd name="connsiteY1" fmla="*/ 0 h 48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6803" h="4842">
                    <a:moveTo>
                      <a:pt x="0" y="0"/>
                    </a:moveTo>
                    <a:lnTo>
                      <a:pt x="96804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604" name="Forma livre: Forma 603">
                <a:extLst>
                  <a:ext uri="{FF2B5EF4-FFF2-40B4-BE49-F238E27FC236}">
                    <a16:creationId xmlns:a16="http://schemas.microsoft.com/office/drawing/2014/main" id="{5F725340-29C6-EE5B-1822-1E2ADDE8EC83}"/>
                  </a:ext>
                </a:extLst>
              </p:cNvPr>
              <p:cNvSpPr/>
              <p:nvPr/>
            </p:nvSpPr>
            <p:spPr>
              <a:xfrm>
                <a:off x="7094868" y="1614570"/>
                <a:ext cx="96803" cy="4842"/>
              </a:xfrm>
              <a:custGeom>
                <a:avLst/>
                <a:gdLst>
                  <a:gd name="connsiteX0" fmla="*/ 0 w 96803"/>
                  <a:gd name="connsiteY0" fmla="*/ 0 h 4842"/>
                  <a:gd name="connsiteX1" fmla="*/ 96804 w 96803"/>
                  <a:gd name="connsiteY1" fmla="*/ 0 h 48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6803" h="4842">
                    <a:moveTo>
                      <a:pt x="0" y="0"/>
                    </a:moveTo>
                    <a:lnTo>
                      <a:pt x="96804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605" name="Forma livre: Forma 604">
                <a:extLst>
                  <a:ext uri="{FF2B5EF4-FFF2-40B4-BE49-F238E27FC236}">
                    <a16:creationId xmlns:a16="http://schemas.microsoft.com/office/drawing/2014/main" id="{79FE8D6B-F203-B2B5-17CF-8CC9F6B6F99C}"/>
                  </a:ext>
                </a:extLst>
              </p:cNvPr>
              <p:cNvSpPr/>
              <p:nvPr/>
            </p:nvSpPr>
            <p:spPr>
              <a:xfrm>
                <a:off x="7094868" y="1652052"/>
                <a:ext cx="96803" cy="4842"/>
              </a:xfrm>
              <a:custGeom>
                <a:avLst/>
                <a:gdLst>
                  <a:gd name="connsiteX0" fmla="*/ 0 w 96803"/>
                  <a:gd name="connsiteY0" fmla="*/ 0 h 4842"/>
                  <a:gd name="connsiteX1" fmla="*/ 96804 w 96803"/>
                  <a:gd name="connsiteY1" fmla="*/ 0 h 48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6803" h="4842">
                    <a:moveTo>
                      <a:pt x="0" y="0"/>
                    </a:moveTo>
                    <a:lnTo>
                      <a:pt x="96804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606" name="Forma livre: Forma 605">
                <a:extLst>
                  <a:ext uri="{FF2B5EF4-FFF2-40B4-BE49-F238E27FC236}">
                    <a16:creationId xmlns:a16="http://schemas.microsoft.com/office/drawing/2014/main" id="{8B0474B7-0B2D-4B7E-3FD3-F59952B1C03F}"/>
                  </a:ext>
                </a:extLst>
              </p:cNvPr>
              <p:cNvSpPr/>
              <p:nvPr/>
            </p:nvSpPr>
            <p:spPr>
              <a:xfrm>
                <a:off x="7094868" y="1689534"/>
                <a:ext cx="62324" cy="4842"/>
              </a:xfrm>
              <a:custGeom>
                <a:avLst/>
                <a:gdLst>
                  <a:gd name="connsiteX0" fmla="*/ 0 w 62324"/>
                  <a:gd name="connsiteY0" fmla="*/ 0 h 4842"/>
                  <a:gd name="connsiteX1" fmla="*/ 62324 w 62324"/>
                  <a:gd name="connsiteY1" fmla="*/ 0 h 48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2324" h="4842">
                    <a:moveTo>
                      <a:pt x="0" y="0"/>
                    </a:moveTo>
                    <a:lnTo>
                      <a:pt x="62324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607" name="Forma livre: Forma 606">
                <a:extLst>
                  <a:ext uri="{FF2B5EF4-FFF2-40B4-BE49-F238E27FC236}">
                    <a16:creationId xmlns:a16="http://schemas.microsoft.com/office/drawing/2014/main" id="{AF59AAB4-5538-D840-678A-59DC2663A421}"/>
                  </a:ext>
                </a:extLst>
              </p:cNvPr>
              <p:cNvSpPr/>
              <p:nvPr/>
            </p:nvSpPr>
            <p:spPr>
              <a:xfrm>
                <a:off x="7094868" y="1727064"/>
                <a:ext cx="47409" cy="4842"/>
              </a:xfrm>
              <a:custGeom>
                <a:avLst/>
                <a:gdLst>
                  <a:gd name="connsiteX0" fmla="*/ 0 w 47409"/>
                  <a:gd name="connsiteY0" fmla="*/ 0 h 4842"/>
                  <a:gd name="connsiteX1" fmla="*/ 47409 w 47409"/>
                  <a:gd name="connsiteY1" fmla="*/ 0 h 48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409" h="4842">
                    <a:moveTo>
                      <a:pt x="0" y="0"/>
                    </a:moveTo>
                    <a:lnTo>
                      <a:pt x="47409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608" name="Forma livre: Forma 607">
                <a:extLst>
                  <a:ext uri="{FF2B5EF4-FFF2-40B4-BE49-F238E27FC236}">
                    <a16:creationId xmlns:a16="http://schemas.microsoft.com/office/drawing/2014/main" id="{2D5C6B38-32B5-46F4-47CC-7E290C0E9AAB}"/>
                  </a:ext>
                </a:extLst>
              </p:cNvPr>
              <p:cNvSpPr/>
              <p:nvPr/>
            </p:nvSpPr>
            <p:spPr>
              <a:xfrm>
                <a:off x="7094868" y="1764546"/>
                <a:ext cx="51622" cy="4842"/>
              </a:xfrm>
              <a:custGeom>
                <a:avLst/>
                <a:gdLst>
                  <a:gd name="connsiteX0" fmla="*/ 0 w 51622"/>
                  <a:gd name="connsiteY0" fmla="*/ 0 h 4842"/>
                  <a:gd name="connsiteX1" fmla="*/ 51622 w 51622"/>
                  <a:gd name="connsiteY1" fmla="*/ 0 h 48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1622" h="4842">
                    <a:moveTo>
                      <a:pt x="0" y="0"/>
                    </a:moveTo>
                    <a:lnTo>
                      <a:pt x="51622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609" name="Forma livre: Forma 608">
                <a:extLst>
                  <a:ext uri="{FF2B5EF4-FFF2-40B4-BE49-F238E27FC236}">
                    <a16:creationId xmlns:a16="http://schemas.microsoft.com/office/drawing/2014/main" id="{F6EEF05B-1863-1359-BC61-A7F184DC0BA7}"/>
                  </a:ext>
                </a:extLst>
              </p:cNvPr>
              <p:cNvSpPr/>
              <p:nvPr/>
            </p:nvSpPr>
            <p:spPr>
              <a:xfrm>
                <a:off x="6990946" y="1689534"/>
                <a:ext cx="50411" cy="4842"/>
              </a:xfrm>
              <a:custGeom>
                <a:avLst/>
                <a:gdLst>
                  <a:gd name="connsiteX0" fmla="*/ 0 w 50411"/>
                  <a:gd name="connsiteY0" fmla="*/ 0 h 4842"/>
                  <a:gd name="connsiteX1" fmla="*/ 50412 w 50411"/>
                  <a:gd name="connsiteY1" fmla="*/ 0 h 48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0411" h="4842">
                    <a:moveTo>
                      <a:pt x="0" y="0"/>
                    </a:moveTo>
                    <a:lnTo>
                      <a:pt x="50412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610" name="Forma livre: Forma 609">
                <a:extLst>
                  <a:ext uri="{FF2B5EF4-FFF2-40B4-BE49-F238E27FC236}">
                    <a16:creationId xmlns:a16="http://schemas.microsoft.com/office/drawing/2014/main" id="{56A35859-9468-B348-36F1-9476D84242D6}"/>
                  </a:ext>
                </a:extLst>
              </p:cNvPr>
              <p:cNvSpPr/>
              <p:nvPr/>
            </p:nvSpPr>
            <p:spPr>
              <a:xfrm>
                <a:off x="6990946" y="1727064"/>
                <a:ext cx="50411" cy="4842"/>
              </a:xfrm>
              <a:custGeom>
                <a:avLst/>
                <a:gdLst>
                  <a:gd name="connsiteX0" fmla="*/ 0 w 50411"/>
                  <a:gd name="connsiteY0" fmla="*/ 0 h 4842"/>
                  <a:gd name="connsiteX1" fmla="*/ 50412 w 50411"/>
                  <a:gd name="connsiteY1" fmla="*/ 0 h 48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0411" h="4842">
                    <a:moveTo>
                      <a:pt x="0" y="0"/>
                    </a:moveTo>
                    <a:lnTo>
                      <a:pt x="50412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611" name="Forma livre: Forma 610">
                <a:extLst>
                  <a:ext uri="{FF2B5EF4-FFF2-40B4-BE49-F238E27FC236}">
                    <a16:creationId xmlns:a16="http://schemas.microsoft.com/office/drawing/2014/main" id="{002A5BE8-7702-D490-E6A9-82E70C400925}"/>
                  </a:ext>
                </a:extLst>
              </p:cNvPr>
              <p:cNvSpPr/>
              <p:nvPr/>
            </p:nvSpPr>
            <p:spPr>
              <a:xfrm>
                <a:off x="6990946" y="1764546"/>
                <a:ext cx="50411" cy="4842"/>
              </a:xfrm>
              <a:custGeom>
                <a:avLst/>
                <a:gdLst>
                  <a:gd name="connsiteX0" fmla="*/ 0 w 50411"/>
                  <a:gd name="connsiteY0" fmla="*/ 0 h 4842"/>
                  <a:gd name="connsiteX1" fmla="*/ 50412 w 50411"/>
                  <a:gd name="connsiteY1" fmla="*/ 0 h 48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0411" h="4842">
                    <a:moveTo>
                      <a:pt x="0" y="0"/>
                    </a:moveTo>
                    <a:lnTo>
                      <a:pt x="50412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612" name="Forma livre: Forma 611">
              <a:extLst>
                <a:ext uri="{FF2B5EF4-FFF2-40B4-BE49-F238E27FC236}">
                  <a16:creationId xmlns:a16="http://schemas.microsoft.com/office/drawing/2014/main" id="{2C43EA79-AF4C-27B7-F399-D93B9B0EA4E2}"/>
                </a:ext>
              </a:extLst>
            </p:cNvPr>
            <p:cNvSpPr/>
            <p:nvPr/>
          </p:nvSpPr>
          <p:spPr>
            <a:xfrm>
              <a:off x="7165689" y="1678272"/>
              <a:ext cx="120876" cy="120876"/>
            </a:xfrm>
            <a:custGeom>
              <a:avLst/>
              <a:gdLst>
                <a:gd name="connsiteX0" fmla="*/ 120801 w 120876"/>
                <a:gd name="connsiteY0" fmla="*/ 57508 h 120876"/>
                <a:gd name="connsiteX1" fmla="*/ 63416 w 120876"/>
                <a:gd name="connsiteY1" fmla="*/ 120801 h 120876"/>
                <a:gd name="connsiteX2" fmla="*/ 75 w 120876"/>
                <a:gd name="connsiteY2" fmla="*/ 63416 h 120876"/>
                <a:gd name="connsiteX3" fmla="*/ 57460 w 120876"/>
                <a:gd name="connsiteY3" fmla="*/ 75 h 120876"/>
                <a:gd name="connsiteX4" fmla="*/ 120753 w 120876"/>
                <a:gd name="connsiteY4" fmla="*/ 57460 h 1208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0876" h="120876">
                  <a:moveTo>
                    <a:pt x="120801" y="57508"/>
                  </a:moveTo>
                  <a:cubicBezTo>
                    <a:pt x="122448" y="90826"/>
                    <a:pt x="96782" y="119155"/>
                    <a:pt x="63416" y="120801"/>
                  </a:cubicBezTo>
                  <a:cubicBezTo>
                    <a:pt x="30099" y="122448"/>
                    <a:pt x="1721" y="96733"/>
                    <a:pt x="75" y="63416"/>
                  </a:cubicBezTo>
                  <a:cubicBezTo>
                    <a:pt x="-1572" y="30099"/>
                    <a:pt x="24143" y="1721"/>
                    <a:pt x="57460" y="75"/>
                  </a:cubicBezTo>
                  <a:cubicBezTo>
                    <a:pt x="90777" y="-1572"/>
                    <a:pt x="119106" y="24143"/>
                    <a:pt x="120753" y="57460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13" name="Forma livre: Forma 612">
              <a:extLst>
                <a:ext uri="{FF2B5EF4-FFF2-40B4-BE49-F238E27FC236}">
                  <a16:creationId xmlns:a16="http://schemas.microsoft.com/office/drawing/2014/main" id="{2532CF99-93C5-F489-5720-4C4C4AF5CB3B}"/>
                </a:ext>
              </a:extLst>
            </p:cNvPr>
            <p:cNvSpPr/>
            <p:nvPr/>
          </p:nvSpPr>
          <p:spPr>
            <a:xfrm>
              <a:off x="7197402" y="1712439"/>
              <a:ext cx="17079" cy="27699"/>
            </a:xfrm>
            <a:custGeom>
              <a:avLst/>
              <a:gdLst>
                <a:gd name="connsiteX0" fmla="*/ 33 w 17079"/>
                <a:gd name="connsiteY0" fmla="*/ 27700 h 27699"/>
                <a:gd name="connsiteX1" fmla="*/ 17079 w 17079"/>
                <a:gd name="connsiteY1" fmla="*/ 0 h 276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7079" h="27699">
                  <a:moveTo>
                    <a:pt x="33" y="27700"/>
                  </a:moveTo>
                  <a:cubicBezTo>
                    <a:pt x="-548" y="15496"/>
                    <a:pt x="6522" y="4697"/>
                    <a:pt x="17079" y="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14" name="Forma livre: Forma 613">
              <a:extLst>
                <a:ext uri="{FF2B5EF4-FFF2-40B4-BE49-F238E27FC236}">
                  <a16:creationId xmlns:a16="http://schemas.microsoft.com/office/drawing/2014/main" id="{31D54294-10B4-8747-F2DA-8FDAFC85CADB}"/>
                </a:ext>
              </a:extLst>
            </p:cNvPr>
            <p:cNvSpPr/>
            <p:nvPr/>
          </p:nvSpPr>
          <p:spPr>
            <a:xfrm>
              <a:off x="7264408" y="1785514"/>
              <a:ext cx="27457" cy="32154"/>
            </a:xfrm>
            <a:custGeom>
              <a:avLst/>
              <a:gdLst>
                <a:gd name="connsiteX0" fmla="*/ 0 w 27457"/>
                <a:gd name="connsiteY0" fmla="*/ 0 h 32154"/>
                <a:gd name="connsiteX1" fmla="*/ 27458 w 27457"/>
                <a:gd name="connsiteY1" fmla="*/ 32155 h 321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7457" h="32154">
                  <a:moveTo>
                    <a:pt x="0" y="0"/>
                  </a:moveTo>
                  <a:lnTo>
                    <a:pt x="27458" y="32155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615" name="Gráfico 9">
            <a:extLst>
              <a:ext uri="{FF2B5EF4-FFF2-40B4-BE49-F238E27FC236}">
                <a16:creationId xmlns:a16="http://schemas.microsoft.com/office/drawing/2014/main" id="{A07D3CFC-FFAA-ED6C-2D4B-BE6DA5772DC1}"/>
              </a:ext>
            </a:extLst>
          </p:cNvPr>
          <p:cNvGrpSpPr/>
          <p:nvPr/>
        </p:nvGrpSpPr>
        <p:grpSpPr>
          <a:xfrm>
            <a:off x="7006151" y="2052149"/>
            <a:ext cx="261065" cy="307312"/>
            <a:chOff x="7006151" y="2052149"/>
            <a:chExt cx="261065" cy="307312"/>
          </a:xfrm>
          <a:noFill/>
        </p:grpSpPr>
        <p:sp>
          <p:nvSpPr>
            <p:cNvPr id="616" name="Forma livre: Forma 615">
              <a:extLst>
                <a:ext uri="{FF2B5EF4-FFF2-40B4-BE49-F238E27FC236}">
                  <a16:creationId xmlns:a16="http://schemas.microsoft.com/office/drawing/2014/main" id="{F8395196-DD3A-F52F-8A07-292481DB6D31}"/>
                </a:ext>
              </a:extLst>
            </p:cNvPr>
            <p:cNvSpPr/>
            <p:nvPr/>
          </p:nvSpPr>
          <p:spPr>
            <a:xfrm>
              <a:off x="7006151" y="2122367"/>
              <a:ext cx="203051" cy="219370"/>
            </a:xfrm>
            <a:custGeom>
              <a:avLst/>
              <a:gdLst>
                <a:gd name="connsiteX0" fmla="*/ 66102 w 203051"/>
                <a:gd name="connsiteY0" fmla="*/ 219370 h 219370"/>
                <a:gd name="connsiteX1" fmla="*/ 0 w 203051"/>
                <a:gd name="connsiteY1" fmla="*/ 219370 h 219370"/>
                <a:gd name="connsiteX2" fmla="*/ 0 w 203051"/>
                <a:gd name="connsiteY2" fmla="*/ 0 h 219370"/>
                <a:gd name="connsiteX3" fmla="*/ 203051 w 203051"/>
                <a:gd name="connsiteY3" fmla="*/ 0 h 219370"/>
                <a:gd name="connsiteX4" fmla="*/ 203051 w 203051"/>
                <a:gd name="connsiteY4" fmla="*/ 83487 h 2193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03051" h="219370">
                  <a:moveTo>
                    <a:pt x="66102" y="219370"/>
                  </a:moveTo>
                  <a:lnTo>
                    <a:pt x="0" y="219370"/>
                  </a:lnTo>
                  <a:lnTo>
                    <a:pt x="0" y="0"/>
                  </a:lnTo>
                  <a:lnTo>
                    <a:pt x="203051" y="0"/>
                  </a:lnTo>
                  <a:lnTo>
                    <a:pt x="203051" y="83487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17" name="Forma livre: Forma 616">
              <a:extLst>
                <a:ext uri="{FF2B5EF4-FFF2-40B4-BE49-F238E27FC236}">
                  <a16:creationId xmlns:a16="http://schemas.microsoft.com/office/drawing/2014/main" id="{BBC07EBD-B69C-7C36-88CB-B905AF574D9D}"/>
                </a:ext>
              </a:extLst>
            </p:cNvPr>
            <p:cNvSpPr/>
            <p:nvPr/>
          </p:nvSpPr>
          <p:spPr>
            <a:xfrm>
              <a:off x="7096951" y="2230406"/>
              <a:ext cx="170266" cy="129055"/>
            </a:xfrm>
            <a:custGeom>
              <a:avLst/>
              <a:gdLst>
                <a:gd name="connsiteX0" fmla="*/ 0 w 170266"/>
                <a:gd name="connsiteY0" fmla="*/ 0 h 129055"/>
                <a:gd name="connsiteX1" fmla="*/ 170266 w 170266"/>
                <a:gd name="connsiteY1" fmla="*/ 0 h 129055"/>
                <a:gd name="connsiteX2" fmla="*/ 170266 w 170266"/>
                <a:gd name="connsiteY2" fmla="*/ 129056 h 129055"/>
                <a:gd name="connsiteX3" fmla="*/ 0 w 170266"/>
                <a:gd name="connsiteY3" fmla="*/ 129056 h 1290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0266" h="129055">
                  <a:moveTo>
                    <a:pt x="0" y="0"/>
                  </a:moveTo>
                  <a:lnTo>
                    <a:pt x="170266" y="0"/>
                  </a:lnTo>
                  <a:lnTo>
                    <a:pt x="170266" y="129056"/>
                  </a:lnTo>
                  <a:lnTo>
                    <a:pt x="0" y="129056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18" name="Forma livre: Forma 617">
              <a:extLst>
                <a:ext uri="{FF2B5EF4-FFF2-40B4-BE49-F238E27FC236}">
                  <a16:creationId xmlns:a16="http://schemas.microsoft.com/office/drawing/2014/main" id="{C901ED64-330F-E901-6F14-CA3F6F512F6C}"/>
                </a:ext>
              </a:extLst>
            </p:cNvPr>
            <p:cNvSpPr/>
            <p:nvPr/>
          </p:nvSpPr>
          <p:spPr>
            <a:xfrm>
              <a:off x="7096805" y="2230406"/>
              <a:ext cx="170266" cy="129055"/>
            </a:xfrm>
            <a:custGeom>
              <a:avLst/>
              <a:gdLst>
                <a:gd name="connsiteX0" fmla="*/ 0 w 170266"/>
                <a:gd name="connsiteY0" fmla="*/ 0 h 129055"/>
                <a:gd name="connsiteX1" fmla="*/ 170266 w 170266"/>
                <a:gd name="connsiteY1" fmla="*/ 0 h 129055"/>
                <a:gd name="connsiteX2" fmla="*/ 170266 w 170266"/>
                <a:gd name="connsiteY2" fmla="*/ 129056 h 129055"/>
                <a:gd name="connsiteX3" fmla="*/ 0 w 170266"/>
                <a:gd name="connsiteY3" fmla="*/ 129056 h 1290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0266" h="129055">
                  <a:moveTo>
                    <a:pt x="0" y="0"/>
                  </a:moveTo>
                  <a:lnTo>
                    <a:pt x="170266" y="0"/>
                  </a:lnTo>
                  <a:lnTo>
                    <a:pt x="170266" y="129056"/>
                  </a:lnTo>
                  <a:lnTo>
                    <a:pt x="0" y="129056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19" name="Forma livre: Forma 618">
              <a:extLst>
                <a:ext uri="{FF2B5EF4-FFF2-40B4-BE49-F238E27FC236}">
                  <a16:creationId xmlns:a16="http://schemas.microsoft.com/office/drawing/2014/main" id="{C14204B4-2B44-02FC-1189-3DC55B56A28D}"/>
                </a:ext>
              </a:extLst>
            </p:cNvPr>
            <p:cNvSpPr/>
            <p:nvPr/>
          </p:nvSpPr>
          <p:spPr>
            <a:xfrm>
              <a:off x="7064263" y="2052149"/>
              <a:ext cx="86876" cy="46198"/>
            </a:xfrm>
            <a:custGeom>
              <a:avLst/>
              <a:gdLst>
                <a:gd name="connsiteX0" fmla="*/ 0 w 86876"/>
                <a:gd name="connsiteY0" fmla="*/ 46199 h 46198"/>
                <a:gd name="connsiteX1" fmla="*/ 43438 w 86876"/>
                <a:gd name="connsiteY1" fmla="*/ 0 h 46198"/>
                <a:gd name="connsiteX2" fmla="*/ 86877 w 86876"/>
                <a:gd name="connsiteY2" fmla="*/ 46199 h 461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86876" h="46198">
                  <a:moveTo>
                    <a:pt x="0" y="46199"/>
                  </a:moveTo>
                  <a:cubicBezTo>
                    <a:pt x="0" y="20775"/>
                    <a:pt x="19564" y="0"/>
                    <a:pt x="43438" y="0"/>
                  </a:cubicBezTo>
                  <a:cubicBezTo>
                    <a:pt x="67312" y="0"/>
                    <a:pt x="86877" y="20775"/>
                    <a:pt x="86877" y="46199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20" name="Forma livre: Forma 619">
              <a:extLst>
                <a:ext uri="{FF2B5EF4-FFF2-40B4-BE49-F238E27FC236}">
                  <a16:creationId xmlns:a16="http://schemas.microsoft.com/office/drawing/2014/main" id="{7038801E-E0A5-7A7E-88E4-7903DAE655A9}"/>
                </a:ext>
              </a:extLst>
            </p:cNvPr>
            <p:cNvSpPr/>
            <p:nvPr/>
          </p:nvSpPr>
          <p:spPr>
            <a:xfrm>
              <a:off x="7150607" y="2253408"/>
              <a:ext cx="62663" cy="34673"/>
            </a:xfrm>
            <a:custGeom>
              <a:avLst/>
              <a:gdLst>
                <a:gd name="connsiteX0" fmla="*/ 62663 w 62663"/>
                <a:gd name="connsiteY0" fmla="*/ 0 h 34673"/>
                <a:gd name="connsiteX1" fmla="*/ 31332 w 62663"/>
                <a:gd name="connsiteY1" fmla="*/ 34673 h 34673"/>
                <a:gd name="connsiteX2" fmla="*/ 0 w 62663"/>
                <a:gd name="connsiteY2" fmla="*/ 0 h 346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2663" h="34673">
                  <a:moveTo>
                    <a:pt x="62663" y="0"/>
                  </a:moveTo>
                  <a:cubicBezTo>
                    <a:pt x="62663" y="19080"/>
                    <a:pt x="48571" y="34673"/>
                    <a:pt x="31332" y="34673"/>
                  </a:cubicBezTo>
                  <a:cubicBezTo>
                    <a:pt x="14092" y="34673"/>
                    <a:pt x="0" y="19080"/>
                    <a:pt x="0" y="0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621" name="Gráfico 9">
            <a:extLst>
              <a:ext uri="{FF2B5EF4-FFF2-40B4-BE49-F238E27FC236}">
                <a16:creationId xmlns:a16="http://schemas.microsoft.com/office/drawing/2014/main" id="{C4D62B4F-2657-91C4-47CA-5F2F63E41497}"/>
              </a:ext>
            </a:extLst>
          </p:cNvPr>
          <p:cNvGrpSpPr/>
          <p:nvPr/>
        </p:nvGrpSpPr>
        <p:grpSpPr>
          <a:xfrm>
            <a:off x="6967555" y="2604014"/>
            <a:ext cx="321017" cy="296755"/>
            <a:chOff x="6967555" y="2604014"/>
            <a:chExt cx="321017" cy="296755"/>
          </a:xfrm>
          <a:noFill/>
        </p:grpSpPr>
        <p:sp>
          <p:nvSpPr>
            <p:cNvPr id="622" name="Forma livre: Forma 621">
              <a:extLst>
                <a:ext uri="{FF2B5EF4-FFF2-40B4-BE49-F238E27FC236}">
                  <a16:creationId xmlns:a16="http://schemas.microsoft.com/office/drawing/2014/main" id="{2031524C-50A8-5CFF-DFC1-1F83766B2999}"/>
                </a:ext>
              </a:extLst>
            </p:cNvPr>
            <p:cNvSpPr/>
            <p:nvPr/>
          </p:nvSpPr>
          <p:spPr>
            <a:xfrm>
              <a:off x="6967555" y="2634142"/>
              <a:ext cx="254334" cy="117813"/>
            </a:xfrm>
            <a:custGeom>
              <a:avLst/>
              <a:gdLst>
                <a:gd name="connsiteX0" fmla="*/ 0 w 254334"/>
                <a:gd name="connsiteY0" fmla="*/ 117813 h 117813"/>
                <a:gd name="connsiteX1" fmla="*/ 110412 w 254334"/>
                <a:gd name="connsiteY1" fmla="*/ 2510 h 117813"/>
                <a:gd name="connsiteX2" fmla="*/ 254335 w 254334"/>
                <a:gd name="connsiteY2" fmla="*/ 71615 h 1178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54334" h="117813">
                  <a:moveTo>
                    <a:pt x="0" y="117813"/>
                  </a:moveTo>
                  <a:cubicBezTo>
                    <a:pt x="-145" y="63915"/>
                    <a:pt x="45957" y="14230"/>
                    <a:pt x="110412" y="2510"/>
                  </a:cubicBezTo>
                  <a:cubicBezTo>
                    <a:pt x="174867" y="-9209"/>
                    <a:pt x="235497" y="21155"/>
                    <a:pt x="254335" y="71615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23" name="Forma livre: Forma 622">
              <a:extLst>
                <a:ext uri="{FF2B5EF4-FFF2-40B4-BE49-F238E27FC236}">
                  <a16:creationId xmlns:a16="http://schemas.microsoft.com/office/drawing/2014/main" id="{EE6D5136-11AB-94A7-4BD1-92AF080F34AD}"/>
                </a:ext>
              </a:extLst>
            </p:cNvPr>
            <p:cNvSpPr/>
            <p:nvPr/>
          </p:nvSpPr>
          <p:spPr>
            <a:xfrm>
              <a:off x="6967653" y="2735134"/>
              <a:ext cx="73753" cy="16385"/>
            </a:xfrm>
            <a:custGeom>
              <a:avLst/>
              <a:gdLst>
                <a:gd name="connsiteX0" fmla="*/ 73753 w 73753"/>
                <a:gd name="connsiteY0" fmla="*/ 6265 h 16385"/>
                <a:gd name="connsiteX1" fmla="*/ 0 w 73753"/>
                <a:gd name="connsiteY1" fmla="*/ 16386 h 163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3753" h="16385">
                  <a:moveTo>
                    <a:pt x="73753" y="6265"/>
                  </a:moveTo>
                  <a:cubicBezTo>
                    <a:pt x="73753" y="6265"/>
                    <a:pt x="41743" y="-13154"/>
                    <a:pt x="0" y="16386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24" name="Forma livre: Forma 623">
              <a:extLst>
                <a:ext uri="{FF2B5EF4-FFF2-40B4-BE49-F238E27FC236}">
                  <a16:creationId xmlns:a16="http://schemas.microsoft.com/office/drawing/2014/main" id="{5B4EBA11-6F2C-E805-12CC-B0EE72B4441D}"/>
                </a:ext>
              </a:extLst>
            </p:cNvPr>
            <p:cNvSpPr/>
            <p:nvPr/>
          </p:nvSpPr>
          <p:spPr>
            <a:xfrm>
              <a:off x="7145571" y="2701917"/>
              <a:ext cx="76319" cy="19917"/>
            </a:xfrm>
            <a:custGeom>
              <a:avLst/>
              <a:gdLst>
                <a:gd name="connsiteX0" fmla="*/ 0 w 76319"/>
                <a:gd name="connsiteY0" fmla="*/ 19918 h 19917"/>
                <a:gd name="connsiteX1" fmla="*/ 76320 w 76319"/>
                <a:gd name="connsiteY1" fmla="*/ 3840 h 199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6319" h="19917">
                  <a:moveTo>
                    <a:pt x="0" y="19918"/>
                  </a:moveTo>
                  <a:cubicBezTo>
                    <a:pt x="0" y="19918"/>
                    <a:pt x="24455" y="-10494"/>
                    <a:pt x="76320" y="384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25" name="Forma livre: Forma 624">
              <a:extLst>
                <a:ext uri="{FF2B5EF4-FFF2-40B4-BE49-F238E27FC236}">
                  <a16:creationId xmlns:a16="http://schemas.microsoft.com/office/drawing/2014/main" id="{FC85EF1C-05BA-7F1E-3D8F-C79FA4AABDC0}"/>
                </a:ext>
              </a:extLst>
            </p:cNvPr>
            <p:cNvSpPr/>
            <p:nvPr/>
          </p:nvSpPr>
          <p:spPr>
            <a:xfrm>
              <a:off x="7041260" y="2716651"/>
              <a:ext cx="104310" cy="24747"/>
            </a:xfrm>
            <a:custGeom>
              <a:avLst/>
              <a:gdLst>
                <a:gd name="connsiteX0" fmla="*/ 104310 w 104310"/>
                <a:gd name="connsiteY0" fmla="*/ 5183 h 24747"/>
                <a:gd name="connsiteX1" fmla="*/ 0 w 104310"/>
                <a:gd name="connsiteY1" fmla="*/ 24747 h 24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4310" h="24747">
                  <a:moveTo>
                    <a:pt x="104310" y="5183"/>
                  </a:moveTo>
                  <a:cubicBezTo>
                    <a:pt x="104310" y="5183"/>
                    <a:pt x="43293" y="-15156"/>
                    <a:pt x="0" y="24747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26" name="Forma livre: Forma 625">
              <a:extLst>
                <a:ext uri="{FF2B5EF4-FFF2-40B4-BE49-F238E27FC236}">
                  <a16:creationId xmlns:a16="http://schemas.microsoft.com/office/drawing/2014/main" id="{AE54ECE6-3A29-809E-0AAB-4B5BEC757D61}"/>
                </a:ext>
              </a:extLst>
            </p:cNvPr>
            <p:cNvSpPr/>
            <p:nvPr/>
          </p:nvSpPr>
          <p:spPr>
            <a:xfrm>
              <a:off x="7040047" y="2637331"/>
              <a:ext cx="35208" cy="103486"/>
            </a:xfrm>
            <a:custGeom>
              <a:avLst/>
              <a:gdLst>
                <a:gd name="connsiteX0" fmla="*/ 35209 w 35208"/>
                <a:gd name="connsiteY0" fmla="*/ 0 h 103486"/>
                <a:gd name="connsiteX1" fmla="*/ 1359 w 35208"/>
                <a:gd name="connsiteY1" fmla="*/ 103487 h 1034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5208" h="103486">
                  <a:moveTo>
                    <a:pt x="35209" y="0"/>
                  </a:moveTo>
                  <a:cubicBezTo>
                    <a:pt x="35209" y="0"/>
                    <a:pt x="-8133" y="21550"/>
                    <a:pt x="1359" y="103487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27" name="Forma livre: Forma 626">
              <a:extLst>
                <a:ext uri="{FF2B5EF4-FFF2-40B4-BE49-F238E27FC236}">
                  <a16:creationId xmlns:a16="http://schemas.microsoft.com/office/drawing/2014/main" id="{CDD4C6E3-09DD-3174-FD91-055A4230BBD1}"/>
                </a:ext>
              </a:extLst>
            </p:cNvPr>
            <p:cNvSpPr/>
            <p:nvPr/>
          </p:nvSpPr>
          <p:spPr>
            <a:xfrm>
              <a:off x="7075449" y="2637476"/>
              <a:ext cx="69733" cy="83583"/>
            </a:xfrm>
            <a:custGeom>
              <a:avLst/>
              <a:gdLst>
                <a:gd name="connsiteX0" fmla="*/ 0 w 69733"/>
                <a:gd name="connsiteY0" fmla="*/ 0 h 83583"/>
                <a:gd name="connsiteX1" fmla="*/ 69734 w 69733"/>
                <a:gd name="connsiteY1" fmla="*/ 83584 h 835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9733" h="83583">
                  <a:moveTo>
                    <a:pt x="0" y="0"/>
                  </a:moveTo>
                  <a:cubicBezTo>
                    <a:pt x="0" y="0"/>
                    <a:pt x="49831" y="3583"/>
                    <a:pt x="69734" y="83584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28" name="Forma livre: Forma 627">
              <a:extLst>
                <a:ext uri="{FF2B5EF4-FFF2-40B4-BE49-F238E27FC236}">
                  <a16:creationId xmlns:a16="http://schemas.microsoft.com/office/drawing/2014/main" id="{EE6B51B8-F4E1-BCD9-D53E-CC320F3505D2}"/>
                </a:ext>
              </a:extLst>
            </p:cNvPr>
            <p:cNvSpPr/>
            <p:nvPr/>
          </p:nvSpPr>
          <p:spPr>
            <a:xfrm>
              <a:off x="7070946" y="2604014"/>
              <a:ext cx="823" cy="4455"/>
            </a:xfrm>
            <a:custGeom>
              <a:avLst/>
              <a:gdLst>
                <a:gd name="connsiteX0" fmla="*/ 823 w 823"/>
                <a:gd name="connsiteY0" fmla="*/ 4455 h 4455"/>
                <a:gd name="connsiteX1" fmla="*/ 0 w 823"/>
                <a:gd name="connsiteY1" fmla="*/ 0 h 44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23" h="4455">
                  <a:moveTo>
                    <a:pt x="823" y="4455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29" name="Forma livre: Forma 628">
              <a:extLst>
                <a:ext uri="{FF2B5EF4-FFF2-40B4-BE49-F238E27FC236}">
                  <a16:creationId xmlns:a16="http://schemas.microsoft.com/office/drawing/2014/main" id="{3380F2EC-5349-48EF-C91B-0D97D4183A2D}"/>
                </a:ext>
              </a:extLst>
            </p:cNvPr>
            <p:cNvSpPr/>
            <p:nvPr/>
          </p:nvSpPr>
          <p:spPr>
            <a:xfrm>
              <a:off x="7070946" y="2604014"/>
              <a:ext cx="2421" cy="13268"/>
            </a:xfrm>
            <a:custGeom>
              <a:avLst/>
              <a:gdLst>
                <a:gd name="connsiteX0" fmla="*/ 2421 w 2421"/>
                <a:gd name="connsiteY0" fmla="*/ 13269 h 13268"/>
                <a:gd name="connsiteX1" fmla="*/ 0 w 2421"/>
                <a:gd name="connsiteY1" fmla="*/ 0 h 132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421" h="13268">
                  <a:moveTo>
                    <a:pt x="2421" y="13269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30" name="Forma livre: Forma 629">
              <a:extLst>
                <a:ext uri="{FF2B5EF4-FFF2-40B4-BE49-F238E27FC236}">
                  <a16:creationId xmlns:a16="http://schemas.microsoft.com/office/drawing/2014/main" id="{9BA1D44F-BD41-9EC2-1B28-48B10F0830FA}"/>
                </a:ext>
              </a:extLst>
            </p:cNvPr>
            <p:cNvSpPr/>
            <p:nvPr/>
          </p:nvSpPr>
          <p:spPr>
            <a:xfrm>
              <a:off x="7118016" y="2878009"/>
              <a:ext cx="4261" cy="22760"/>
            </a:xfrm>
            <a:custGeom>
              <a:avLst/>
              <a:gdLst>
                <a:gd name="connsiteX0" fmla="*/ 0 w 4261"/>
                <a:gd name="connsiteY0" fmla="*/ 0 h 22760"/>
                <a:gd name="connsiteX1" fmla="*/ 4262 w 4261"/>
                <a:gd name="connsiteY1" fmla="*/ 22760 h 227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261" h="22760">
                  <a:moveTo>
                    <a:pt x="0" y="0"/>
                  </a:moveTo>
                  <a:lnTo>
                    <a:pt x="4262" y="2276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31" name="Forma livre: Forma 630">
              <a:extLst>
                <a:ext uri="{FF2B5EF4-FFF2-40B4-BE49-F238E27FC236}">
                  <a16:creationId xmlns:a16="http://schemas.microsoft.com/office/drawing/2014/main" id="{7748B4DF-F192-5094-31E4-CCDEC84CBC80}"/>
                </a:ext>
              </a:extLst>
            </p:cNvPr>
            <p:cNvSpPr/>
            <p:nvPr/>
          </p:nvSpPr>
          <p:spPr>
            <a:xfrm>
              <a:off x="7119759" y="2887452"/>
              <a:ext cx="2518" cy="13317"/>
            </a:xfrm>
            <a:custGeom>
              <a:avLst/>
              <a:gdLst>
                <a:gd name="connsiteX0" fmla="*/ 0 w 2518"/>
                <a:gd name="connsiteY0" fmla="*/ 0 h 13317"/>
                <a:gd name="connsiteX1" fmla="*/ 2518 w 2518"/>
                <a:gd name="connsiteY1" fmla="*/ 13317 h 133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518" h="13317">
                  <a:moveTo>
                    <a:pt x="0" y="0"/>
                  </a:moveTo>
                  <a:lnTo>
                    <a:pt x="2518" y="13317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32" name="Forma livre: Forma 631">
              <a:extLst>
                <a:ext uri="{FF2B5EF4-FFF2-40B4-BE49-F238E27FC236}">
                  <a16:creationId xmlns:a16="http://schemas.microsoft.com/office/drawing/2014/main" id="{5D9129C1-39DB-54E1-DE84-FF1E30DC83A2}"/>
                </a:ext>
              </a:extLst>
            </p:cNvPr>
            <p:cNvSpPr/>
            <p:nvPr/>
          </p:nvSpPr>
          <p:spPr>
            <a:xfrm>
              <a:off x="7092302" y="2739558"/>
              <a:ext cx="18159" cy="97724"/>
            </a:xfrm>
            <a:custGeom>
              <a:avLst/>
              <a:gdLst>
                <a:gd name="connsiteX0" fmla="*/ 0 w 18159"/>
                <a:gd name="connsiteY0" fmla="*/ 0 h 97724"/>
                <a:gd name="connsiteX1" fmla="*/ 18160 w 18159"/>
                <a:gd name="connsiteY1" fmla="*/ 97724 h 977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159" h="97724">
                  <a:moveTo>
                    <a:pt x="0" y="0"/>
                  </a:moveTo>
                  <a:lnTo>
                    <a:pt x="18160" y="97724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33" name="Forma livre: Forma 632">
              <a:extLst>
                <a:ext uri="{FF2B5EF4-FFF2-40B4-BE49-F238E27FC236}">
                  <a16:creationId xmlns:a16="http://schemas.microsoft.com/office/drawing/2014/main" id="{A222A95D-5AF0-24FA-F5DC-BE373326A44E}"/>
                </a:ext>
              </a:extLst>
            </p:cNvPr>
            <p:cNvSpPr/>
            <p:nvPr/>
          </p:nvSpPr>
          <p:spPr>
            <a:xfrm>
              <a:off x="7009638" y="2755345"/>
              <a:ext cx="278934" cy="102082"/>
            </a:xfrm>
            <a:custGeom>
              <a:avLst/>
              <a:gdLst>
                <a:gd name="connsiteX0" fmla="*/ 278935 w 278934"/>
                <a:gd name="connsiteY0" fmla="*/ 0 h 102082"/>
                <a:gd name="connsiteX1" fmla="*/ 229492 w 278934"/>
                <a:gd name="connsiteY1" fmla="*/ 102082 h 102082"/>
                <a:gd name="connsiteX2" fmla="*/ 0 w 278934"/>
                <a:gd name="connsiteY2" fmla="*/ 102082 h 1020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78934" h="102082">
                  <a:moveTo>
                    <a:pt x="278935" y="0"/>
                  </a:moveTo>
                  <a:lnTo>
                    <a:pt x="229492" y="102082"/>
                  </a:lnTo>
                  <a:lnTo>
                    <a:pt x="0" y="102082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34" name="Forma livre: Forma 633">
              <a:extLst>
                <a:ext uri="{FF2B5EF4-FFF2-40B4-BE49-F238E27FC236}">
                  <a16:creationId xmlns:a16="http://schemas.microsoft.com/office/drawing/2014/main" id="{32C652CB-F384-6892-D820-B752006F0157}"/>
                </a:ext>
              </a:extLst>
            </p:cNvPr>
            <p:cNvSpPr/>
            <p:nvPr/>
          </p:nvSpPr>
          <p:spPr>
            <a:xfrm>
              <a:off x="7156757" y="2816798"/>
              <a:ext cx="101985" cy="4842"/>
            </a:xfrm>
            <a:custGeom>
              <a:avLst/>
              <a:gdLst>
                <a:gd name="connsiteX0" fmla="*/ 0 w 101985"/>
                <a:gd name="connsiteY0" fmla="*/ 0 h 4842"/>
                <a:gd name="connsiteX1" fmla="*/ 101986 w 101985"/>
                <a:gd name="connsiteY1" fmla="*/ 0 h 48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1985" h="4842">
                  <a:moveTo>
                    <a:pt x="0" y="0"/>
                  </a:moveTo>
                  <a:lnTo>
                    <a:pt x="101986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35" name="Forma livre: Forma 634">
              <a:extLst>
                <a:ext uri="{FF2B5EF4-FFF2-40B4-BE49-F238E27FC236}">
                  <a16:creationId xmlns:a16="http://schemas.microsoft.com/office/drawing/2014/main" id="{7788A556-5777-20E7-8F67-8AEC47B58CD8}"/>
                </a:ext>
              </a:extLst>
            </p:cNvPr>
            <p:cNvSpPr/>
            <p:nvPr/>
          </p:nvSpPr>
          <p:spPr>
            <a:xfrm>
              <a:off x="7030510" y="2857476"/>
              <a:ext cx="25811" cy="43050"/>
            </a:xfrm>
            <a:custGeom>
              <a:avLst/>
              <a:gdLst>
                <a:gd name="connsiteX0" fmla="*/ 0 w 25811"/>
                <a:gd name="connsiteY0" fmla="*/ 43051 h 43050"/>
                <a:gd name="connsiteX1" fmla="*/ 25811 w 25811"/>
                <a:gd name="connsiteY1" fmla="*/ 0 h 43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5811" h="43050">
                  <a:moveTo>
                    <a:pt x="0" y="43051"/>
                  </a:moveTo>
                  <a:lnTo>
                    <a:pt x="25811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36" name="Forma livre: Forma 635">
              <a:extLst>
                <a:ext uri="{FF2B5EF4-FFF2-40B4-BE49-F238E27FC236}">
                  <a16:creationId xmlns:a16="http://schemas.microsoft.com/office/drawing/2014/main" id="{8680575F-DD7B-02BF-E5D0-45923E5D8B7C}"/>
                </a:ext>
              </a:extLst>
            </p:cNvPr>
            <p:cNvSpPr/>
            <p:nvPr/>
          </p:nvSpPr>
          <p:spPr>
            <a:xfrm>
              <a:off x="7169154" y="2816992"/>
              <a:ext cx="24213" cy="40096"/>
            </a:xfrm>
            <a:custGeom>
              <a:avLst/>
              <a:gdLst>
                <a:gd name="connsiteX0" fmla="*/ 0 w 24213"/>
                <a:gd name="connsiteY0" fmla="*/ 40097 h 40096"/>
                <a:gd name="connsiteX1" fmla="*/ 24213 w 24213"/>
                <a:gd name="connsiteY1" fmla="*/ 0 h 400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4213" h="40096">
                  <a:moveTo>
                    <a:pt x="0" y="40097"/>
                  </a:moveTo>
                  <a:lnTo>
                    <a:pt x="24213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37" name="Forma livre: Forma 636">
              <a:extLst>
                <a:ext uri="{FF2B5EF4-FFF2-40B4-BE49-F238E27FC236}">
                  <a16:creationId xmlns:a16="http://schemas.microsoft.com/office/drawing/2014/main" id="{07B22F37-9EF5-2812-95D9-2272CFBAC498}"/>
                </a:ext>
              </a:extLst>
            </p:cNvPr>
            <p:cNvSpPr/>
            <p:nvPr/>
          </p:nvSpPr>
          <p:spPr>
            <a:xfrm>
              <a:off x="7233997" y="2857476"/>
              <a:ext cx="25811" cy="43050"/>
            </a:xfrm>
            <a:custGeom>
              <a:avLst/>
              <a:gdLst>
                <a:gd name="connsiteX0" fmla="*/ 25811 w 25811"/>
                <a:gd name="connsiteY0" fmla="*/ 43051 h 43050"/>
                <a:gd name="connsiteX1" fmla="*/ 0 w 25811"/>
                <a:gd name="connsiteY1" fmla="*/ 0 h 43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5811" h="43050">
                  <a:moveTo>
                    <a:pt x="25811" y="43051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654" name="Gráfico 9">
            <a:extLst>
              <a:ext uri="{FF2B5EF4-FFF2-40B4-BE49-F238E27FC236}">
                <a16:creationId xmlns:a16="http://schemas.microsoft.com/office/drawing/2014/main" id="{2F314D70-34FA-6D2D-2432-EF21FB2D21EA}"/>
              </a:ext>
            </a:extLst>
          </p:cNvPr>
          <p:cNvGrpSpPr/>
          <p:nvPr/>
        </p:nvGrpSpPr>
        <p:grpSpPr>
          <a:xfrm>
            <a:off x="7609098" y="984788"/>
            <a:ext cx="309790" cy="313075"/>
            <a:chOff x="7609098" y="984788"/>
            <a:chExt cx="309790" cy="313075"/>
          </a:xfrm>
          <a:noFill/>
        </p:grpSpPr>
        <p:sp>
          <p:nvSpPr>
            <p:cNvPr id="655" name="Forma livre: Forma 654">
              <a:extLst>
                <a:ext uri="{FF2B5EF4-FFF2-40B4-BE49-F238E27FC236}">
                  <a16:creationId xmlns:a16="http://schemas.microsoft.com/office/drawing/2014/main" id="{B2EB0F01-CFAF-74DC-7DC5-BD4B4DFB5D5A}"/>
                </a:ext>
              </a:extLst>
            </p:cNvPr>
            <p:cNvSpPr/>
            <p:nvPr/>
          </p:nvSpPr>
          <p:spPr>
            <a:xfrm>
              <a:off x="7654869" y="995248"/>
              <a:ext cx="4987" cy="31961"/>
            </a:xfrm>
            <a:custGeom>
              <a:avLst/>
              <a:gdLst>
                <a:gd name="connsiteX0" fmla="*/ 4988 w 4987"/>
                <a:gd name="connsiteY0" fmla="*/ 31961 h 31961"/>
                <a:gd name="connsiteX1" fmla="*/ 0 w 4987"/>
                <a:gd name="connsiteY1" fmla="*/ 0 h 319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987" h="31961">
                  <a:moveTo>
                    <a:pt x="4988" y="31961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56" name="Forma livre: Forma 655">
              <a:extLst>
                <a:ext uri="{FF2B5EF4-FFF2-40B4-BE49-F238E27FC236}">
                  <a16:creationId xmlns:a16="http://schemas.microsoft.com/office/drawing/2014/main" id="{92108E1B-D3CE-76BA-1C2E-5E99C7F7D4E6}"/>
                </a:ext>
              </a:extLst>
            </p:cNvPr>
            <p:cNvSpPr/>
            <p:nvPr/>
          </p:nvSpPr>
          <p:spPr>
            <a:xfrm>
              <a:off x="7609098" y="991705"/>
              <a:ext cx="103397" cy="106129"/>
            </a:xfrm>
            <a:custGeom>
              <a:avLst/>
              <a:gdLst>
                <a:gd name="connsiteX0" fmla="*/ 69015 w 103397"/>
                <a:gd name="connsiteY0" fmla="*/ 103688 h 106129"/>
                <a:gd name="connsiteX1" fmla="*/ 40928 w 103397"/>
                <a:gd name="connsiteY1" fmla="*/ 104705 h 106129"/>
                <a:gd name="connsiteX2" fmla="*/ 1412 w 103397"/>
                <a:gd name="connsiteY2" fmla="*/ 40928 h 106129"/>
                <a:gd name="connsiteX3" fmla="*/ 65189 w 103397"/>
                <a:gd name="connsiteY3" fmla="*/ 1412 h 106129"/>
                <a:gd name="connsiteX4" fmla="*/ 103398 w 103397"/>
                <a:gd name="connsiteY4" fmla="*/ 36327 h 1061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3397" h="106129">
                  <a:moveTo>
                    <a:pt x="69015" y="103688"/>
                  </a:moveTo>
                  <a:cubicBezTo>
                    <a:pt x="60201" y="106448"/>
                    <a:pt x="50565" y="106981"/>
                    <a:pt x="40928" y="104705"/>
                  </a:cubicBezTo>
                  <a:cubicBezTo>
                    <a:pt x="12405" y="97974"/>
                    <a:pt x="-5271" y="69451"/>
                    <a:pt x="1412" y="40928"/>
                  </a:cubicBezTo>
                  <a:cubicBezTo>
                    <a:pt x="8143" y="12405"/>
                    <a:pt x="36715" y="-5271"/>
                    <a:pt x="65189" y="1412"/>
                  </a:cubicBezTo>
                  <a:cubicBezTo>
                    <a:pt x="83785" y="5770"/>
                    <a:pt x="97732" y="19427"/>
                    <a:pt x="103398" y="36327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57" name="Forma livre: Forma 656">
              <a:extLst>
                <a:ext uri="{FF2B5EF4-FFF2-40B4-BE49-F238E27FC236}">
                  <a16:creationId xmlns:a16="http://schemas.microsoft.com/office/drawing/2014/main" id="{9A01C328-01E1-7B51-9183-52E50C67F908}"/>
                </a:ext>
              </a:extLst>
            </p:cNvPr>
            <p:cNvSpPr/>
            <p:nvPr/>
          </p:nvSpPr>
          <p:spPr>
            <a:xfrm>
              <a:off x="7674723" y="1009582"/>
              <a:ext cx="22905" cy="22760"/>
            </a:xfrm>
            <a:custGeom>
              <a:avLst/>
              <a:gdLst>
                <a:gd name="connsiteX0" fmla="*/ 22906 w 22905"/>
                <a:gd name="connsiteY0" fmla="*/ 0 h 22760"/>
                <a:gd name="connsiteX1" fmla="*/ 0 w 22905"/>
                <a:gd name="connsiteY1" fmla="*/ 22760 h 227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2905" h="22760">
                  <a:moveTo>
                    <a:pt x="22906" y="0"/>
                  </a:moveTo>
                  <a:lnTo>
                    <a:pt x="0" y="2276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58" name="Forma livre: Forma 657">
              <a:extLst>
                <a:ext uri="{FF2B5EF4-FFF2-40B4-BE49-F238E27FC236}">
                  <a16:creationId xmlns:a16="http://schemas.microsoft.com/office/drawing/2014/main" id="{E51AB938-E3A5-BA55-27D4-89BB970046FA}"/>
                </a:ext>
              </a:extLst>
            </p:cNvPr>
            <p:cNvSpPr/>
            <p:nvPr/>
          </p:nvSpPr>
          <p:spPr>
            <a:xfrm>
              <a:off x="7615934" y="1052149"/>
              <a:ext cx="30121" cy="13510"/>
            </a:xfrm>
            <a:custGeom>
              <a:avLst/>
              <a:gdLst>
                <a:gd name="connsiteX0" fmla="*/ 30121 w 30121"/>
                <a:gd name="connsiteY0" fmla="*/ 0 h 13510"/>
                <a:gd name="connsiteX1" fmla="*/ 0 w 30121"/>
                <a:gd name="connsiteY1" fmla="*/ 13511 h 135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0121" h="13510">
                  <a:moveTo>
                    <a:pt x="30121" y="0"/>
                  </a:moveTo>
                  <a:lnTo>
                    <a:pt x="0" y="13511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59" name="Forma livre: Forma 658">
              <a:extLst>
                <a:ext uri="{FF2B5EF4-FFF2-40B4-BE49-F238E27FC236}">
                  <a16:creationId xmlns:a16="http://schemas.microsoft.com/office/drawing/2014/main" id="{9434CC85-B094-CBE8-57A3-94CC1750942B}"/>
                </a:ext>
              </a:extLst>
            </p:cNvPr>
            <p:cNvSpPr/>
            <p:nvPr/>
          </p:nvSpPr>
          <p:spPr>
            <a:xfrm>
              <a:off x="7649300" y="1061931"/>
              <a:ext cx="8087" cy="29200"/>
            </a:xfrm>
            <a:custGeom>
              <a:avLst/>
              <a:gdLst>
                <a:gd name="connsiteX0" fmla="*/ 8087 w 8087"/>
                <a:gd name="connsiteY0" fmla="*/ 0 h 29200"/>
                <a:gd name="connsiteX1" fmla="*/ 0 w 8087"/>
                <a:gd name="connsiteY1" fmla="*/ 29201 h 29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087" h="29200">
                  <a:moveTo>
                    <a:pt x="8087" y="0"/>
                  </a:moveTo>
                  <a:lnTo>
                    <a:pt x="0" y="29201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60" name="Forma livre: Forma 659">
              <a:extLst>
                <a:ext uri="{FF2B5EF4-FFF2-40B4-BE49-F238E27FC236}">
                  <a16:creationId xmlns:a16="http://schemas.microsoft.com/office/drawing/2014/main" id="{20092D0C-AEA3-79F5-0106-05A2B667D925}"/>
                </a:ext>
              </a:extLst>
            </p:cNvPr>
            <p:cNvSpPr/>
            <p:nvPr/>
          </p:nvSpPr>
          <p:spPr>
            <a:xfrm>
              <a:off x="7620583" y="1021011"/>
              <a:ext cx="26198" cy="14769"/>
            </a:xfrm>
            <a:custGeom>
              <a:avLst/>
              <a:gdLst>
                <a:gd name="connsiteX0" fmla="*/ 26199 w 26198"/>
                <a:gd name="connsiteY0" fmla="*/ 14770 h 14769"/>
                <a:gd name="connsiteX1" fmla="*/ 0 w 26198"/>
                <a:gd name="connsiteY1" fmla="*/ 0 h 147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6198" h="14769">
                  <a:moveTo>
                    <a:pt x="26199" y="14770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61" name="Forma livre: Forma 660">
              <a:extLst>
                <a:ext uri="{FF2B5EF4-FFF2-40B4-BE49-F238E27FC236}">
                  <a16:creationId xmlns:a16="http://schemas.microsoft.com/office/drawing/2014/main" id="{D30D51E6-E671-B1DD-95F4-7045E48DE05F}"/>
                </a:ext>
              </a:extLst>
            </p:cNvPr>
            <p:cNvSpPr/>
            <p:nvPr/>
          </p:nvSpPr>
          <p:spPr>
            <a:xfrm>
              <a:off x="7671576" y="1050889"/>
              <a:ext cx="226682" cy="140339"/>
            </a:xfrm>
            <a:custGeom>
              <a:avLst/>
              <a:gdLst>
                <a:gd name="connsiteX0" fmla="*/ 113463 w 226682"/>
                <a:gd name="connsiteY0" fmla="*/ 140339 h 140339"/>
                <a:gd name="connsiteX1" fmla="*/ 226683 w 226682"/>
                <a:gd name="connsiteY1" fmla="*/ 0 h 140339"/>
                <a:gd name="connsiteX2" fmla="*/ 0 w 226682"/>
                <a:gd name="connsiteY2" fmla="*/ 0 h 140339"/>
                <a:gd name="connsiteX3" fmla="*/ 113220 w 226682"/>
                <a:gd name="connsiteY3" fmla="*/ 140339 h 1403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26682" h="140339">
                  <a:moveTo>
                    <a:pt x="113463" y="140339"/>
                  </a:moveTo>
                  <a:lnTo>
                    <a:pt x="226683" y="0"/>
                  </a:lnTo>
                  <a:lnTo>
                    <a:pt x="0" y="0"/>
                  </a:lnTo>
                  <a:lnTo>
                    <a:pt x="113220" y="140339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62" name="Forma livre: Forma 661">
              <a:extLst>
                <a:ext uri="{FF2B5EF4-FFF2-40B4-BE49-F238E27FC236}">
                  <a16:creationId xmlns:a16="http://schemas.microsoft.com/office/drawing/2014/main" id="{9F39671C-9635-D612-8900-3EDCA4961FBF}"/>
                </a:ext>
              </a:extLst>
            </p:cNvPr>
            <p:cNvSpPr/>
            <p:nvPr/>
          </p:nvSpPr>
          <p:spPr>
            <a:xfrm>
              <a:off x="7784941" y="1191229"/>
              <a:ext cx="4842" cy="105956"/>
            </a:xfrm>
            <a:custGeom>
              <a:avLst/>
              <a:gdLst>
                <a:gd name="connsiteX0" fmla="*/ 0 w 4842"/>
                <a:gd name="connsiteY0" fmla="*/ 0 h 105956"/>
                <a:gd name="connsiteX1" fmla="*/ 0 w 4842"/>
                <a:gd name="connsiteY1" fmla="*/ 105956 h 1059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842" h="105956">
                  <a:moveTo>
                    <a:pt x="0" y="0"/>
                  </a:moveTo>
                  <a:lnTo>
                    <a:pt x="0" y="105956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63" name="Forma livre: Forma 662">
              <a:extLst>
                <a:ext uri="{FF2B5EF4-FFF2-40B4-BE49-F238E27FC236}">
                  <a16:creationId xmlns:a16="http://schemas.microsoft.com/office/drawing/2014/main" id="{9779C095-9745-B47D-A0AE-E0A42D17E652}"/>
                </a:ext>
              </a:extLst>
            </p:cNvPr>
            <p:cNvSpPr/>
            <p:nvPr/>
          </p:nvSpPr>
          <p:spPr>
            <a:xfrm>
              <a:off x="7727992" y="1297863"/>
              <a:ext cx="113898" cy="4842"/>
            </a:xfrm>
            <a:custGeom>
              <a:avLst/>
              <a:gdLst>
                <a:gd name="connsiteX0" fmla="*/ 113898 w 113898"/>
                <a:gd name="connsiteY0" fmla="*/ 0 h 4842"/>
                <a:gd name="connsiteX1" fmla="*/ 0 w 113898"/>
                <a:gd name="connsiteY1" fmla="*/ 0 h 48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3898" h="4842">
                  <a:moveTo>
                    <a:pt x="113898" y="0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64" name="Forma livre: Forma 663">
              <a:extLst>
                <a:ext uri="{FF2B5EF4-FFF2-40B4-BE49-F238E27FC236}">
                  <a16:creationId xmlns:a16="http://schemas.microsoft.com/office/drawing/2014/main" id="{93D1949E-2D4F-244C-A438-81A242074610}"/>
                </a:ext>
              </a:extLst>
            </p:cNvPr>
            <p:cNvSpPr/>
            <p:nvPr/>
          </p:nvSpPr>
          <p:spPr>
            <a:xfrm>
              <a:off x="7704893" y="1089582"/>
              <a:ext cx="77820" cy="4842"/>
            </a:xfrm>
            <a:custGeom>
              <a:avLst/>
              <a:gdLst>
                <a:gd name="connsiteX0" fmla="*/ 0 w 77820"/>
                <a:gd name="connsiteY0" fmla="*/ 0 h 4842"/>
                <a:gd name="connsiteX1" fmla="*/ 77821 w 77820"/>
                <a:gd name="connsiteY1" fmla="*/ 0 h 48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7820" h="4842">
                  <a:moveTo>
                    <a:pt x="0" y="0"/>
                  </a:moveTo>
                  <a:lnTo>
                    <a:pt x="77821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65" name="Forma livre: Forma 664">
              <a:extLst>
                <a:ext uri="{FF2B5EF4-FFF2-40B4-BE49-F238E27FC236}">
                  <a16:creationId xmlns:a16="http://schemas.microsoft.com/office/drawing/2014/main" id="{A0636660-3212-5262-5F0E-15EC5FB22F30}"/>
                </a:ext>
              </a:extLst>
            </p:cNvPr>
            <p:cNvSpPr/>
            <p:nvPr/>
          </p:nvSpPr>
          <p:spPr>
            <a:xfrm>
              <a:off x="7807363" y="1089582"/>
              <a:ext cx="60871" cy="4842"/>
            </a:xfrm>
            <a:custGeom>
              <a:avLst/>
              <a:gdLst>
                <a:gd name="connsiteX0" fmla="*/ 0 w 60871"/>
                <a:gd name="connsiteY0" fmla="*/ 0 h 4842"/>
                <a:gd name="connsiteX1" fmla="*/ 60872 w 60871"/>
                <a:gd name="connsiteY1" fmla="*/ 0 h 48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871" h="4842">
                  <a:moveTo>
                    <a:pt x="0" y="0"/>
                  </a:moveTo>
                  <a:lnTo>
                    <a:pt x="60872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66" name="Forma livre: Forma 665">
              <a:extLst>
                <a:ext uri="{FF2B5EF4-FFF2-40B4-BE49-F238E27FC236}">
                  <a16:creationId xmlns:a16="http://schemas.microsoft.com/office/drawing/2014/main" id="{D9998643-A1A0-3A64-C832-5FD9447B21E0}"/>
                </a:ext>
              </a:extLst>
            </p:cNvPr>
            <p:cNvSpPr/>
            <p:nvPr/>
          </p:nvSpPr>
          <p:spPr>
            <a:xfrm>
              <a:off x="7784796" y="984788"/>
              <a:ext cx="134092" cy="160242"/>
            </a:xfrm>
            <a:custGeom>
              <a:avLst/>
              <a:gdLst>
                <a:gd name="connsiteX0" fmla="*/ 0 w 134092"/>
                <a:gd name="connsiteY0" fmla="*/ 160242 h 160242"/>
                <a:gd name="connsiteX1" fmla="*/ 66634 w 134092"/>
                <a:gd name="connsiteY1" fmla="*/ 0 h 160242"/>
                <a:gd name="connsiteX2" fmla="*/ 134092 w 134092"/>
                <a:gd name="connsiteY2" fmla="*/ 9831 h 1602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34092" h="160242">
                  <a:moveTo>
                    <a:pt x="0" y="160242"/>
                  </a:moveTo>
                  <a:lnTo>
                    <a:pt x="66634" y="0"/>
                  </a:lnTo>
                  <a:lnTo>
                    <a:pt x="134092" y="9831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667" name="Gráfico 9">
            <a:extLst>
              <a:ext uri="{FF2B5EF4-FFF2-40B4-BE49-F238E27FC236}">
                <a16:creationId xmlns:a16="http://schemas.microsoft.com/office/drawing/2014/main" id="{2B3CBA74-563C-EAF6-C124-039E23FAE3B1}"/>
              </a:ext>
            </a:extLst>
          </p:cNvPr>
          <p:cNvGrpSpPr/>
          <p:nvPr/>
        </p:nvGrpSpPr>
        <p:grpSpPr>
          <a:xfrm>
            <a:off x="7645533" y="1542464"/>
            <a:ext cx="236889" cy="272203"/>
            <a:chOff x="7645533" y="1542464"/>
            <a:chExt cx="236889" cy="272203"/>
          </a:xfrm>
          <a:noFill/>
        </p:grpSpPr>
        <p:sp>
          <p:nvSpPr>
            <p:cNvPr id="668" name="Forma livre: Forma 667">
              <a:extLst>
                <a:ext uri="{FF2B5EF4-FFF2-40B4-BE49-F238E27FC236}">
                  <a16:creationId xmlns:a16="http://schemas.microsoft.com/office/drawing/2014/main" id="{BF0750F9-B6B8-8BAD-D85A-C93A7FF3825A}"/>
                </a:ext>
              </a:extLst>
            </p:cNvPr>
            <p:cNvSpPr/>
            <p:nvPr/>
          </p:nvSpPr>
          <p:spPr>
            <a:xfrm>
              <a:off x="7722568" y="1542464"/>
              <a:ext cx="159854" cy="243050"/>
            </a:xfrm>
            <a:custGeom>
              <a:avLst/>
              <a:gdLst>
                <a:gd name="connsiteX0" fmla="*/ 0 w 159854"/>
                <a:gd name="connsiteY0" fmla="*/ 167458 h 243050"/>
                <a:gd name="connsiteX1" fmla="*/ 0 w 159854"/>
                <a:gd name="connsiteY1" fmla="*/ 24213 h 243050"/>
                <a:gd name="connsiteX2" fmla="*/ 24213 w 159854"/>
                <a:gd name="connsiteY2" fmla="*/ 0 h 243050"/>
                <a:gd name="connsiteX3" fmla="*/ 135642 w 159854"/>
                <a:gd name="connsiteY3" fmla="*/ 0 h 243050"/>
                <a:gd name="connsiteX4" fmla="*/ 159855 w 159854"/>
                <a:gd name="connsiteY4" fmla="*/ 24213 h 243050"/>
                <a:gd name="connsiteX5" fmla="*/ 159855 w 159854"/>
                <a:gd name="connsiteY5" fmla="*/ 218838 h 243050"/>
                <a:gd name="connsiteX6" fmla="*/ 135642 w 159854"/>
                <a:gd name="connsiteY6" fmla="*/ 243051 h 243050"/>
                <a:gd name="connsiteX7" fmla="*/ 14431 w 159854"/>
                <a:gd name="connsiteY7" fmla="*/ 243051 h 243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59854" h="243050">
                  <a:moveTo>
                    <a:pt x="0" y="167458"/>
                  </a:moveTo>
                  <a:lnTo>
                    <a:pt x="0" y="24213"/>
                  </a:lnTo>
                  <a:cubicBezTo>
                    <a:pt x="0" y="10896"/>
                    <a:pt x="10896" y="0"/>
                    <a:pt x="24213" y="0"/>
                  </a:cubicBezTo>
                  <a:lnTo>
                    <a:pt x="135642" y="0"/>
                  </a:lnTo>
                  <a:cubicBezTo>
                    <a:pt x="148959" y="0"/>
                    <a:pt x="159855" y="10896"/>
                    <a:pt x="159855" y="24213"/>
                  </a:cubicBezTo>
                  <a:lnTo>
                    <a:pt x="159855" y="218838"/>
                  </a:lnTo>
                  <a:cubicBezTo>
                    <a:pt x="159855" y="232155"/>
                    <a:pt x="148959" y="243051"/>
                    <a:pt x="135642" y="243051"/>
                  </a:cubicBezTo>
                  <a:lnTo>
                    <a:pt x="14431" y="243051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69" name="Forma livre: Forma 668">
              <a:extLst>
                <a:ext uri="{FF2B5EF4-FFF2-40B4-BE49-F238E27FC236}">
                  <a16:creationId xmlns:a16="http://schemas.microsoft.com/office/drawing/2014/main" id="{7B33B7CA-F95D-93C7-357B-41EE21BF932A}"/>
                </a:ext>
              </a:extLst>
            </p:cNvPr>
            <p:cNvSpPr/>
            <p:nvPr/>
          </p:nvSpPr>
          <p:spPr>
            <a:xfrm>
              <a:off x="7838840" y="1542706"/>
              <a:ext cx="4842" cy="242082"/>
            </a:xfrm>
            <a:custGeom>
              <a:avLst/>
              <a:gdLst>
                <a:gd name="connsiteX0" fmla="*/ 0 w 4842"/>
                <a:gd name="connsiteY0" fmla="*/ 0 h 242082"/>
                <a:gd name="connsiteX1" fmla="*/ 0 w 4842"/>
                <a:gd name="connsiteY1" fmla="*/ 242082 h 2420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842" h="242082">
                  <a:moveTo>
                    <a:pt x="0" y="0"/>
                  </a:moveTo>
                  <a:lnTo>
                    <a:pt x="0" y="242082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70" name="Forma livre: Forma 669">
              <a:extLst>
                <a:ext uri="{FF2B5EF4-FFF2-40B4-BE49-F238E27FC236}">
                  <a16:creationId xmlns:a16="http://schemas.microsoft.com/office/drawing/2014/main" id="{3FA1EE5D-7A8D-DDCD-5C6A-8DD308B0254D}"/>
                </a:ext>
              </a:extLst>
            </p:cNvPr>
            <p:cNvSpPr/>
            <p:nvPr/>
          </p:nvSpPr>
          <p:spPr>
            <a:xfrm>
              <a:off x="7694384" y="1670754"/>
              <a:ext cx="99259" cy="143913"/>
            </a:xfrm>
            <a:custGeom>
              <a:avLst/>
              <a:gdLst>
                <a:gd name="connsiteX0" fmla="*/ 0 w 99259"/>
                <a:gd name="connsiteY0" fmla="*/ 69628 h 143913"/>
                <a:gd name="connsiteX1" fmla="*/ 58741 w 99259"/>
                <a:gd name="connsiteY1" fmla="*/ 8950 h 143913"/>
                <a:gd name="connsiteX2" fmla="*/ 92107 w 99259"/>
                <a:gd name="connsiteY2" fmla="*/ 4591 h 143913"/>
                <a:gd name="connsiteX3" fmla="*/ 93947 w 99259"/>
                <a:gd name="connsiteY3" fmla="*/ 39119 h 143913"/>
                <a:gd name="connsiteX4" fmla="*/ 23148 w 99259"/>
                <a:gd name="connsiteY4" fmla="*/ 143913 h 1439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9259" h="143913">
                  <a:moveTo>
                    <a:pt x="0" y="69628"/>
                  </a:moveTo>
                  <a:lnTo>
                    <a:pt x="58741" y="8950"/>
                  </a:lnTo>
                  <a:cubicBezTo>
                    <a:pt x="68378" y="-978"/>
                    <a:pt x="83390" y="-2963"/>
                    <a:pt x="92107" y="4591"/>
                  </a:cubicBezTo>
                  <a:cubicBezTo>
                    <a:pt x="100872" y="12097"/>
                    <a:pt x="101695" y="27642"/>
                    <a:pt x="93947" y="39119"/>
                  </a:cubicBezTo>
                  <a:lnTo>
                    <a:pt x="23148" y="143913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71" name="Forma livre: Forma 670">
              <a:extLst>
                <a:ext uri="{FF2B5EF4-FFF2-40B4-BE49-F238E27FC236}">
                  <a16:creationId xmlns:a16="http://schemas.microsoft.com/office/drawing/2014/main" id="{C032BBBD-3B58-DB60-1B7F-CCE49604A66C}"/>
                </a:ext>
              </a:extLst>
            </p:cNvPr>
            <p:cNvSpPr/>
            <p:nvPr/>
          </p:nvSpPr>
          <p:spPr>
            <a:xfrm>
              <a:off x="7645533" y="1631083"/>
              <a:ext cx="78923" cy="183341"/>
            </a:xfrm>
            <a:custGeom>
              <a:avLst/>
              <a:gdLst>
                <a:gd name="connsiteX0" fmla="*/ 78924 w 78923"/>
                <a:gd name="connsiteY0" fmla="*/ 0 h 183341"/>
                <a:gd name="connsiteX1" fmla="*/ 376 w 78923"/>
                <a:gd name="connsiteY1" fmla="*/ 71380 h 183341"/>
                <a:gd name="connsiteX2" fmla="*/ 2749 w 78923"/>
                <a:gd name="connsiteY2" fmla="*/ 183341 h 1833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78923" h="183341">
                  <a:moveTo>
                    <a:pt x="78924" y="0"/>
                  </a:moveTo>
                  <a:cubicBezTo>
                    <a:pt x="78924" y="0"/>
                    <a:pt x="2023" y="61743"/>
                    <a:pt x="376" y="71380"/>
                  </a:cubicBezTo>
                  <a:cubicBezTo>
                    <a:pt x="-980" y="79274"/>
                    <a:pt x="1684" y="155254"/>
                    <a:pt x="2749" y="183341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672" name="Gráfico 9">
            <a:extLst>
              <a:ext uri="{FF2B5EF4-FFF2-40B4-BE49-F238E27FC236}">
                <a16:creationId xmlns:a16="http://schemas.microsoft.com/office/drawing/2014/main" id="{FF3875F3-56E9-FEDD-61B2-187E643426E6}"/>
              </a:ext>
            </a:extLst>
          </p:cNvPr>
          <p:cNvGrpSpPr/>
          <p:nvPr/>
        </p:nvGrpSpPr>
        <p:grpSpPr>
          <a:xfrm>
            <a:off x="7611866" y="2099219"/>
            <a:ext cx="304261" cy="233220"/>
            <a:chOff x="7611866" y="2099219"/>
            <a:chExt cx="304261" cy="233220"/>
          </a:xfrm>
        </p:grpSpPr>
        <p:grpSp>
          <p:nvGrpSpPr>
            <p:cNvPr id="673" name="Gráfico 9">
              <a:extLst>
                <a:ext uri="{FF2B5EF4-FFF2-40B4-BE49-F238E27FC236}">
                  <a16:creationId xmlns:a16="http://schemas.microsoft.com/office/drawing/2014/main" id="{655BF7BC-9664-133E-6FD7-CEBF7EE9C704}"/>
                </a:ext>
              </a:extLst>
            </p:cNvPr>
            <p:cNvGrpSpPr/>
            <p:nvPr/>
          </p:nvGrpSpPr>
          <p:grpSpPr>
            <a:xfrm>
              <a:off x="7611866" y="2099219"/>
              <a:ext cx="304261" cy="233220"/>
              <a:chOff x="7611866" y="2099219"/>
              <a:chExt cx="304261" cy="233220"/>
            </a:xfrm>
            <a:noFill/>
          </p:grpSpPr>
          <p:sp>
            <p:nvSpPr>
              <p:cNvPr id="674" name="Forma livre: Forma 673">
                <a:extLst>
                  <a:ext uri="{FF2B5EF4-FFF2-40B4-BE49-F238E27FC236}">
                    <a16:creationId xmlns:a16="http://schemas.microsoft.com/office/drawing/2014/main" id="{F8C85CA0-FBC1-89B8-2BE5-0F4F5E8810B5}"/>
                  </a:ext>
                </a:extLst>
              </p:cNvPr>
              <p:cNvSpPr/>
              <p:nvPr/>
            </p:nvSpPr>
            <p:spPr>
              <a:xfrm>
                <a:off x="7611866" y="2332440"/>
                <a:ext cx="304261" cy="4842"/>
              </a:xfrm>
              <a:custGeom>
                <a:avLst/>
                <a:gdLst>
                  <a:gd name="connsiteX0" fmla="*/ 0 w 304261"/>
                  <a:gd name="connsiteY0" fmla="*/ 0 h 4842"/>
                  <a:gd name="connsiteX1" fmla="*/ 304262 w 304261"/>
                  <a:gd name="connsiteY1" fmla="*/ 0 h 48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04261" h="4842">
                    <a:moveTo>
                      <a:pt x="0" y="0"/>
                    </a:moveTo>
                    <a:lnTo>
                      <a:pt x="304262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675" name="Forma livre: Forma 674">
                <a:extLst>
                  <a:ext uri="{FF2B5EF4-FFF2-40B4-BE49-F238E27FC236}">
                    <a16:creationId xmlns:a16="http://schemas.microsoft.com/office/drawing/2014/main" id="{3E384436-EE68-7E9C-26D9-BD054C220352}"/>
                  </a:ext>
                </a:extLst>
              </p:cNvPr>
              <p:cNvSpPr/>
              <p:nvPr/>
            </p:nvSpPr>
            <p:spPr>
              <a:xfrm>
                <a:off x="7619808" y="2099219"/>
                <a:ext cx="288377" cy="197627"/>
              </a:xfrm>
              <a:custGeom>
                <a:avLst/>
                <a:gdLst>
                  <a:gd name="connsiteX0" fmla="*/ 254480 w 288377"/>
                  <a:gd name="connsiteY0" fmla="*/ 0 h 197627"/>
                  <a:gd name="connsiteX1" fmla="*/ 288378 w 288377"/>
                  <a:gd name="connsiteY1" fmla="*/ 33898 h 197627"/>
                  <a:gd name="connsiteX2" fmla="*/ 288378 w 288377"/>
                  <a:gd name="connsiteY2" fmla="*/ 163729 h 197627"/>
                  <a:gd name="connsiteX3" fmla="*/ 254480 w 288377"/>
                  <a:gd name="connsiteY3" fmla="*/ 197627 h 197627"/>
                  <a:gd name="connsiteX4" fmla="*/ 33898 w 288377"/>
                  <a:gd name="connsiteY4" fmla="*/ 197627 h 197627"/>
                  <a:gd name="connsiteX5" fmla="*/ 0 w 288377"/>
                  <a:gd name="connsiteY5" fmla="*/ 163729 h 197627"/>
                  <a:gd name="connsiteX6" fmla="*/ 0 w 288377"/>
                  <a:gd name="connsiteY6" fmla="*/ 33898 h 197627"/>
                  <a:gd name="connsiteX7" fmla="*/ 33898 w 288377"/>
                  <a:gd name="connsiteY7" fmla="*/ 0 h 1976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88377" h="197627">
                    <a:moveTo>
                      <a:pt x="254480" y="0"/>
                    </a:moveTo>
                    <a:cubicBezTo>
                      <a:pt x="273201" y="0"/>
                      <a:pt x="288378" y="15177"/>
                      <a:pt x="288378" y="33898"/>
                    </a:cubicBezTo>
                    <a:lnTo>
                      <a:pt x="288378" y="163729"/>
                    </a:lnTo>
                    <a:cubicBezTo>
                      <a:pt x="288378" y="182450"/>
                      <a:pt x="273201" y="197627"/>
                      <a:pt x="254480" y="197627"/>
                    </a:cubicBezTo>
                    <a:lnTo>
                      <a:pt x="33898" y="197627"/>
                    </a:lnTo>
                    <a:cubicBezTo>
                      <a:pt x="15177" y="197627"/>
                      <a:pt x="0" y="182450"/>
                      <a:pt x="0" y="163729"/>
                    </a:cubicBezTo>
                    <a:lnTo>
                      <a:pt x="0" y="33898"/>
                    </a:lnTo>
                    <a:cubicBezTo>
                      <a:pt x="0" y="15177"/>
                      <a:pt x="15177" y="0"/>
                      <a:pt x="33898" y="0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676" name="Gráfico 9">
              <a:extLst>
                <a:ext uri="{FF2B5EF4-FFF2-40B4-BE49-F238E27FC236}">
                  <a16:creationId xmlns:a16="http://schemas.microsoft.com/office/drawing/2014/main" id="{64F078EB-D67A-BAE9-BFDC-C3C73B20F334}"/>
                </a:ext>
              </a:extLst>
            </p:cNvPr>
            <p:cNvGrpSpPr/>
            <p:nvPr/>
          </p:nvGrpSpPr>
          <p:grpSpPr>
            <a:xfrm>
              <a:off x="7693803" y="2150357"/>
              <a:ext cx="140339" cy="96077"/>
              <a:chOff x="7693803" y="2150357"/>
              <a:chExt cx="140339" cy="96077"/>
            </a:xfrm>
          </p:grpSpPr>
          <p:grpSp>
            <p:nvGrpSpPr>
              <p:cNvPr id="677" name="Gráfico 9">
                <a:extLst>
                  <a:ext uri="{FF2B5EF4-FFF2-40B4-BE49-F238E27FC236}">
                    <a16:creationId xmlns:a16="http://schemas.microsoft.com/office/drawing/2014/main" id="{CBBEB4A5-4C65-1AE9-A792-B78090D5ABA8}"/>
                  </a:ext>
                </a:extLst>
              </p:cNvPr>
              <p:cNvGrpSpPr/>
              <p:nvPr/>
            </p:nvGrpSpPr>
            <p:grpSpPr>
              <a:xfrm>
                <a:off x="7693803" y="2150357"/>
                <a:ext cx="140339" cy="66343"/>
                <a:chOff x="7693803" y="2150357"/>
                <a:chExt cx="140339" cy="66343"/>
              </a:xfrm>
              <a:noFill/>
            </p:grpSpPr>
            <p:sp>
              <p:nvSpPr>
                <p:cNvPr id="678" name="Forma livre: Forma 677">
                  <a:extLst>
                    <a:ext uri="{FF2B5EF4-FFF2-40B4-BE49-F238E27FC236}">
                      <a16:creationId xmlns:a16="http://schemas.microsoft.com/office/drawing/2014/main" id="{6205C498-BA6F-7C6E-0212-431E8A8C3ADA}"/>
                    </a:ext>
                  </a:extLst>
                </p:cNvPr>
                <p:cNvSpPr/>
                <p:nvPr/>
              </p:nvSpPr>
              <p:spPr>
                <a:xfrm>
                  <a:off x="7723295" y="2193311"/>
                  <a:ext cx="81404" cy="23389"/>
                </a:xfrm>
                <a:custGeom>
                  <a:avLst/>
                  <a:gdLst>
                    <a:gd name="connsiteX0" fmla="*/ 0 w 81404"/>
                    <a:gd name="connsiteY0" fmla="*/ 23196 h 23389"/>
                    <a:gd name="connsiteX1" fmla="*/ 40630 w 81404"/>
                    <a:gd name="connsiteY1" fmla="*/ 0 h 23389"/>
                    <a:gd name="connsiteX2" fmla="*/ 81404 w 81404"/>
                    <a:gd name="connsiteY2" fmla="*/ 23390 h 2338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81404" h="23389">
                      <a:moveTo>
                        <a:pt x="0" y="23196"/>
                      </a:moveTo>
                      <a:cubicBezTo>
                        <a:pt x="8233" y="9298"/>
                        <a:pt x="23341" y="0"/>
                        <a:pt x="40630" y="0"/>
                      </a:cubicBezTo>
                      <a:cubicBezTo>
                        <a:pt x="57918" y="0"/>
                        <a:pt x="73172" y="9395"/>
                        <a:pt x="81404" y="23390"/>
                      </a:cubicBez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679" name="Forma livre: Forma 678">
                  <a:extLst>
                    <a:ext uri="{FF2B5EF4-FFF2-40B4-BE49-F238E27FC236}">
                      <a16:creationId xmlns:a16="http://schemas.microsoft.com/office/drawing/2014/main" id="{0E65A449-8D88-AF64-C47D-60A06BC18897}"/>
                    </a:ext>
                  </a:extLst>
                </p:cNvPr>
                <p:cNvSpPr/>
                <p:nvPr/>
              </p:nvSpPr>
              <p:spPr>
                <a:xfrm>
                  <a:off x="7693803" y="2150357"/>
                  <a:ext cx="140339" cy="33656"/>
                </a:xfrm>
                <a:custGeom>
                  <a:avLst/>
                  <a:gdLst>
                    <a:gd name="connsiteX0" fmla="*/ 0 w 140339"/>
                    <a:gd name="connsiteY0" fmla="*/ 33463 h 33656"/>
                    <a:gd name="connsiteX1" fmla="*/ 70073 w 140339"/>
                    <a:gd name="connsiteY1" fmla="*/ 0 h 33656"/>
                    <a:gd name="connsiteX2" fmla="*/ 140339 w 140339"/>
                    <a:gd name="connsiteY2" fmla="*/ 33656 h 3365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40339" h="33656">
                      <a:moveTo>
                        <a:pt x="0" y="33463"/>
                      </a:moveTo>
                      <a:cubicBezTo>
                        <a:pt x="16562" y="13075"/>
                        <a:pt x="41792" y="0"/>
                        <a:pt x="70073" y="0"/>
                      </a:cubicBezTo>
                      <a:cubicBezTo>
                        <a:pt x="98354" y="0"/>
                        <a:pt x="123826" y="13123"/>
                        <a:pt x="140339" y="33656"/>
                      </a:cubicBez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680" name="Forma livre: Forma 679">
                <a:extLst>
                  <a:ext uri="{FF2B5EF4-FFF2-40B4-BE49-F238E27FC236}">
                    <a16:creationId xmlns:a16="http://schemas.microsoft.com/office/drawing/2014/main" id="{A916F134-9C76-B65F-D5DD-0E214934C942}"/>
                  </a:ext>
                </a:extLst>
              </p:cNvPr>
              <p:cNvSpPr/>
              <p:nvPr/>
            </p:nvSpPr>
            <p:spPr>
              <a:xfrm>
                <a:off x="7758113" y="2234716"/>
                <a:ext cx="11719" cy="11719"/>
              </a:xfrm>
              <a:custGeom>
                <a:avLst/>
                <a:gdLst>
                  <a:gd name="connsiteX0" fmla="*/ 11719 w 11719"/>
                  <a:gd name="connsiteY0" fmla="*/ 5860 h 11719"/>
                  <a:gd name="connsiteX1" fmla="*/ 5860 w 11719"/>
                  <a:gd name="connsiteY1" fmla="*/ 11719 h 11719"/>
                  <a:gd name="connsiteX2" fmla="*/ 0 w 11719"/>
                  <a:gd name="connsiteY2" fmla="*/ 5860 h 11719"/>
                  <a:gd name="connsiteX3" fmla="*/ 5860 w 11719"/>
                  <a:gd name="connsiteY3" fmla="*/ 0 h 11719"/>
                  <a:gd name="connsiteX4" fmla="*/ 11719 w 11719"/>
                  <a:gd name="connsiteY4" fmla="*/ 5860 h 117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1719" h="11719">
                    <a:moveTo>
                      <a:pt x="11719" y="5860"/>
                    </a:moveTo>
                    <a:cubicBezTo>
                      <a:pt x="11719" y="9104"/>
                      <a:pt x="9104" y="11719"/>
                      <a:pt x="5860" y="11719"/>
                    </a:cubicBezTo>
                    <a:cubicBezTo>
                      <a:pt x="2615" y="11719"/>
                      <a:pt x="0" y="9104"/>
                      <a:pt x="0" y="5860"/>
                    </a:cubicBezTo>
                    <a:cubicBezTo>
                      <a:pt x="0" y="2615"/>
                      <a:pt x="2615" y="0"/>
                      <a:pt x="5860" y="0"/>
                    </a:cubicBezTo>
                    <a:cubicBezTo>
                      <a:pt x="9104" y="0"/>
                      <a:pt x="11719" y="2615"/>
                      <a:pt x="11719" y="5860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681" name="Gráfico 9">
            <a:extLst>
              <a:ext uri="{FF2B5EF4-FFF2-40B4-BE49-F238E27FC236}">
                <a16:creationId xmlns:a16="http://schemas.microsoft.com/office/drawing/2014/main" id="{046A73CC-100F-278B-AC1F-606398654BB6}"/>
              </a:ext>
            </a:extLst>
          </p:cNvPr>
          <p:cNvGrpSpPr/>
          <p:nvPr/>
        </p:nvGrpSpPr>
        <p:grpSpPr>
          <a:xfrm>
            <a:off x="7615547" y="2632391"/>
            <a:ext cx="296949" cy="240000"/>
            <a:chOff x="7615547" y="2632391"/>
            <a:chExt cx="296949" cy="240000"/>
          </a:xfrm>
          <a:noFill/>
        </p:grpSpPr>
        <p:sp>
          <p:nvSpPr>
            <p:cNvPr id="682" name="Forma livre: Forma 681">
              <a:extLst>
                <a:ext uri="{FF2B5EF4-FFF2-40B4-BE49-F238E27FC236}">
                  <a16:creationId xmlns:a16="http://schemas.microsoft.com/office/drawing/2014/main" id="{44BD485E-A091-0895-700B-2EBE40052237}"/>
                </a:ext>
              </a:extLst>
            </p:cNvPr>
            <p:cNvSpPr/>
            <p:nvPr/>
          </p:nvSpPr>
          <p:spPr>
            <a:xfrm>
              <a:off x="7659808" y="2632391"/>
              <a:ext cx="208426" cy="72687"/>
            </a:xfrm>
            <a:custGeom>
              <a:avLst/>
              <a:gdLst>
                <a:gd name="connsiteX0" fmla="*/ 0 w 208426"/>
                <a:gd name="connsiteY0" fmla="*/ 72688 h 72687"/>
                <a:gd name="connsiteX1" fmla="*/ 0 w 208426"/>
                <a:gd name="connsiteY1" fmla="*/ 21647 h 72687"/>
                <a:gd name="connsiteX2" fmla="*/ 20533 w 208426"/>
                <a:gd name="connsiteY2" fmla="*/ 0 h 72687"/>
                <a:gd name="connsiteX3" fmla="*/ 187894 w 208426"/>
                <a:gd name="connsiteY3" fmla="*/ 0 h 72687"/>
                <a:gd name="connsiteX4" fmla="*/ 208426 w 208426"/>
                <a:gd name="connsiteY4" fmla="*/ 21647 h 72687"/>
                <a:gd name="connsiteX5" fmla="*/ 208426 w 208426"/>
                <a:gd name="connsiteY5" fmla="*/ 72688 h 726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8426" h="72687">
                  <a:moveTo>
                    <a:pt x="0" y="72688"/>
                  </a:moveTo>
                  <a:lnTo>
                    <a:pt x="0" y="21647"/>
                  </a:lnTo>
                  <a:cubicBezTo>
                    <a:pt x="0" y="9734"/>
                    <a:pt x="9249" y="0"/>
                    <a:pt x="20533" y="0"/>
                  </a:cubicBezTo>
                  <a:lnTo>
                    <a:pt x="187894" y="0"/>
                  </a:lnTo>
                  <a:cubicBezTo>
                    <a:pt x="199177" y="0"/>
                    <a:pt x="208426" y="9734"/>
                    <a:pt x="208426" y="21647"/>
                  </a:cubicBezTo>
                  <a:lnTo>
                    <a:pt x="208426" y="72688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83" name="Forma livre: Forma 682">
              <a:extLst>
                <a:ext uri="{FF2B5EF4-FFF2-40B4-BE49-F238E27FC236}">
                  <a16:creationId xmlns:a16="http://schemas.microsoft.com/office/drawing/2014/main" id="{22BB203A-E78B-8F6F-006F-23B2DB86F81B}"/>
                </a:ext>
              </a:extLst>
            </p:cNvPr>
            <p:cNvSpPr/>
            <p:nvPr/>
          </p:nvSpPr>
          <p:spPr>
            <a:xfrm>
              <a:off x="7678597" y="2762512"/>
              <a:ext cx="170799" cy="4842"/>
            </a:xfrm>
            <a:custGeom>
              <a:avLst/>
              <a:gdLst>
                <a:gd name="connsiteX0" fmla="*/ 0 w 170799"/>
                <a:gd name="connsiteY0" fmla="*/ 0 h 4842"/>
                <a:gd name="connsiteX1" fmla="*/ 170799 w 170799"/>
                <a:gd name="connsiteY1" fmla="*/ 0 h 48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70799" h="4842">
                  <a:moveTo>
                    <a:pt x="0" y="0"/>
                  </a:moveTo>
                  <a:lnTo>
                    <a:pt x="170799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84" name="Forma livre: Forma 683">
              <a:extLst>
                <a:ext uri="{FF2B5EF4-FFF2-40B4-BE49-F238E27FC236}">
                  <a16:creationId xmlns:a16="http://schemas.microsoft.com/office/drawing/2014/main" id="{DB50C21A-2178-3E0C-0519-681F733806E3}"/>
                </a:ext>
              </a:extLst>
            </p:cNvPr>
            <p:cNvSpPr/>
            <p:nvPr/>
          </p:nvSpPr>
          <p:spPr>
            <a:xfrm>
              <a:off x="7615547" y="2727549"/>
              <a:ext cx="296949" cy="114285"/>
            </a:xfrm>
            <a:custGeom>
              <a:avLst/>
              <a:gdLst>
                <a:gd name="connsiteX0" fmla="*/ 276417 w 296949"/>
                <a:gd name="connsiteY0" fmla="*/ 114286 h 114285"/>
                <a:gd name="connsiteX1" fmla="*/ 296949 w 296949"/>
                <a:gd name="connsiteY1" fmla="*/ 93753 h 114285"/>
                <a:gd name="connsiteX2" fmla="*/ 296949 w 296949"/>
                <a:gd name="connsiteY2" fmla="*/ 20533 h 114285"/>
                <a:gd name="connsiteX3" fmla="*/ 276417 w 296949"/>
                <a:gd name="connsiteY3" fmla="*/ 0 h 114285"/>
                <a:gd name="connsiteX4" fmla="*/ 254092 w 296949"/>
                <a:gd name="connsiteY4" fmla="*/ 0 h 114285"/>
                <a:gd name="connsiteX5" fmla="*/ 233560 w 296949"/>
                <a:gd name="connsiteY5" fmla="*/ 20533 h 114285"/>
                <a:gd name="connsiteX6" fmla="*/ 233560 w 296949"/>
                <a:gd name="connsiteY6" fmla="*/ 68087 h 114285"/>
                <a:gd name="connsiteX7" fmla="*/ 63390 w 296949"/>
                <a:gd name="connsiteY7" fmla="*/ 68087 h 114285"/>
                <a:gd name="connsiteX8" fmla="*/ 63390 w 296949"/>
                <a:gd name="connsiteY8" fmla="*/ 20533 h 114285"/>
                <a:gd name="connsiteX9" fmla="*/ 42857 w 296949"/>
                <a:gd name="connsiteY9" fmla="*/ 0 h 114285"/>
                <a:gd name="connsiteX10" fmla="*/ 20533 w 296949"/>
                <a:gd name="connsiteY10" fmla="*/ 0 h 114285"/>
                <a:gd name="connsiteX11" fmla="*/ 0 w 296949"/>
                <a:gd name="connsiteY11" fmla="*/ 20533 h 114285"/>
                <a:gd name="connsiteX12" fmla="*/ 0 w 296949"/>
                <a:gd name="connsiteY12" fmla="*/ 93753 h 114285"/>
                <a:gd name="connsiteX13" fmla="*/ 20533 w 296949"/>
                <a:gd name="connsiteY13" fmla="*/ 114286 h 114285"/>
                <a:gd name="connsiteX14" fmla="*/ 276417 w 296949"/>
                <a:gd name="connsiteY14" fmla="*/ 114286 h 1142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96949" h="114285">
                  <a:moveTo>
                    <a:pt x="276417" y="114286"/>
                  </a:moveTo>
                  <a:cubicBezTo>
                    <a:pt x="287700" y="114286"/>
                    <a:pt x="296949" y="105036"/>
                    <a:pt x="296949" y="93753"/>
                  </a:cubicBezTo>
                  <a:lnTo>
                    <a:pt x="296949" y="20533"/>
                  </a:lnTo>
                  <a:cubicBezTo>
                    <a:pt x="296949" y="9249"/>
                    <a:pt x="287700" y="0"/>
                    <a:pt x="276417" y="0"/>
                  </a:cubicBezTo>
                  <a:lnTo>
                    <a:pt x="254092" y="0"/>
                  </a:lnTo>
                  <a:cubicBezTo>
                    <a:pt x="242809" y="0"/>
                    <a:pt x="233560" y="9249"/>
                    <a:pt x="233560" y="20533"/>
                  </a:cubicBezTo>
                  <a:lnTo>
                    <a:pt x="233560" y="68087"/>
                  </a:lnTo>
                  <a:lnTo>
                    <a:pt x="63390" y="68087"/>
                  </a:lnTo>
                  <a:lnTo>
                    <a:pt x="63390" y="20533"/>
                  </a:lnTo>
                  <a:cubicBezTo>
                    <a:pt x="63390" y="9249"/>
                    <a:pt x="54141" y="0"/>
                    <a:pt x="42857" y="0"/>
                  </a:cubicBezTo>
                  <a:lnTo>
                    <a:pt x="20533" y="0"/>
                  </a:lnTo>
                  <a:cubicBezTo>
                    <a:pt x="9249" y="0"/>
                    <a:pt x="0" y="9249"/>
                    <a:pt x="0" y="20533"/>
                  </a:cubicBezTo>
                  <a:lnTo>
                    <a:pt x="0" y="93753"/>
                  </a:lnTo>
                  <a:cubicBezTo>
                    <a:pt x="0" y="105036"/>
                    <a:pt x="9249" y="114286"/>
                    <a:pt x="20533" y="114286"/>
                  </a:cubicBezTo>
                  <a:lnTo>
                    <a:pt x="276417" y="114286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685" name="Gráfico 9">
              <a:extLst>
                <a:ext uri="{FF2B5EF4-FFF2-40B4-BE49-F238E27FC236}">
                  <a16:creationId xmlns:a16="http://schemas.microsoft.com/office/drawing/2014/main" id="{33E57F3D-72CE-39DC-89BD-6461CE6FC4F5}"/>
                </a:ext>
              </a:extLst>
            </p:cNvPr>
            <p:cNvGrpSpPr/>
            <p:nvPr/>
          </p:nvGrpSpPr>
          <p:grpSpPr>
            <a:xfrm>
              <a:off x="7623295" y="2872391"/>
              <a:ext cx="281356" cy="4842"/>
              <a:chOff x="7623295" y="2872391"/>
              <a:chExt cx="281356" cy="4842"/>
            </a:xfrm>
          </p:grpSpPr>
          <p:sp>
            <p:nvSpPr>
              <p:cNvPr id="686" name="Forma livre: Forma 685">
                <a:extLst>
                  <a:ext uri="{FF2B5EF4-FFF2-40B4-BE49-F238E27FC236}">
                    <a16:creationId xmlns:a16="http://schemas.microsoft.com/office/drawing/2014/main" id="{8FE4B649-3A7A-9B62-DD6F-12FFBE2EFE2C}"/>
                  </a:ext>
                </a:extLst>
              </p:cNvPr>
              <p:cNvSpPr/>
              <p:nvPr/>
            </p:nvSpPr>
            <p:spPr>
              <a:xfrm>
                <a:off x="7623295" y="2872391"/>
                <a:ext cx="47506" cy="4842"/>
              </a:xfrm>
              <a:custGeom>
                <a:avLst/>
                <a:gdLst>
                  <a:gd name="connsiteX0" fmla="*/ 0 w 47506"/>
                  <a:gd name="connsiteY0" fmla="*/ 0 h 4842"/>
                  <a:gd name="connsiteX1" fmla="*/ 47506 w 47506"/>
                  <a:gd name="connsiteY1" fmla="*/ 0 h 48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506" h="4842">
                    <a:moveTo>
                      <a:pt x="0" y="0"/>
                    </a:moveTo>
                    <a:lnTo>
                      <a:pt x="47506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687" name="Forma livre: Forma 686">
                <a:extLst>
                  <a:ext uri="{FF2B5EF4-FFF2-40B4-BE49-F238E27FC236}">
                    <a16:creationId xmlns:a16="http://schemas.microsoft.com/office/drawing/2014/main" id="{488BA080-DBE7-3B3D-09E3-57C2839DFEF0}"/>
                  </a:ext>
                </a:extLst>
              </p:cNvPr>
              <p:cNvSpPr/>
              <p:nvPr/>
            </p:nvSpPr>
            <p:spPr>
              <a:xfrm>
                <a:off x="7857193" y="2872391"/>
                <a:ext cx="47457" cy="4842"/>
              </a:xfrm>
              <a:custGeom>
                <a:avLst/>
                <a:gdLst>
                  <a:gd name="connsiteX0" fmla="*/ 47458 w 47457"/>
                  <a:gd name="connsiteY0" fmla="*/ 0 h 4842"/>
                  <a:gd name="connsiteX1" fmla="*/ 0 w 47457"/>
                  <a:gd name="connsiteY1" fmla="*/ 0 h 48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457" h="4842">
                    <a:moveTo>
                      <a:pt x="47458" y="0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688" name="Gráfico 9">
            <a:extLst>
              <a:ext uri="{FF2B5EF4-FFF2-40B4-BE49-F238E27FC236}">
                <a16:creationId xmlns:a16="http://schemas.microsoft.com/office/drawing/2014/main" id="{4D0FF384-8772-2575-B4FE-401A93C44AD5}"/>
              </a:ext>
            </a:extLst>
          </p:cNvPr>
          <p:cNvGrpSpPr/>
          <p:nvPr/>
        </p:nvGrpSpPr>
        <p:grpSpPr>
          <a:xfrm>
            <a:off x="7661794" y="3099268"/>
            <a:ext cx="204358" cy="363486"/>
            <a:chOff x="7661794" y="3099268"/>
            <a:chExt cx="204358" cy="363486"/>
          </a:xfrm>
        </p:grpSpPr>
        <p:grpSp>
          <p:nvGrpSpPr>
            <p:cNvPr id="689" name="Gráfico 9">
              <a:extLst>
                <a:ext uri="{FF2B5EF4-FFF2-40B4-BE49-F238E27FC236}">
                  <a16:creationId xmlns:a16="http://schemas.microsoft.com/office/drawing/2014/main" id="{C6A80C33-C85E-17E9-F3FA-529C8691DA6F}"/>
                </a:ext>
              </a:extLst>
            </p:cNvPr>
            <p:cNvGrpSpPr/>
            <p:nvPr/>
          </p:nvGrpSpPr>
          <p:grpSpPr>
            <a:xfrm>
              <a:off x="7702326" y="3441157"/>
              <a:ext cx="123341" cy="21598"/>
              <a:chOff x="7702326" y="3441157"/>
              <a:chExt cx="123341" cy="21598"/>
            </a:xfrm>
          </p:grpSpPr>
          <p:sp>
            <p:nvSpPr>
              <p:cNvPr id="690" name="Forma livre: Forma 689">
                <a:extLst>
                  <a:ext uri="{FF2B5EF4-FFF2-40B4-BE49-F238E27FC236}">
                    <a16:creationId xmlns:a16="http://schemas.microsoft.com/office/drawing/2014/main" id="{9A1D61F3-7836-FB6D-68E4-E5B15A915806}"/>
                  </a:ext>
                </a:extLst>
              </p:cNvPr>
              <p:cNvSpPr/>
              <p:nvPr/>
            </p:nvSpPr>
            <p:spPr>
              <a:xfrm>
                <a:off x="7702326" y="3441157"/>
                <a:ext cx="4842" cy="21598"/>
              </a:xfrm>
              <a:custGeom>
                <a:avLst/>
                <a:gdLst>
                  <a:gd name="connsiteX0" fmla="*/ 0 w 4842"/>
                  <a:gd name="connsiteY0" fmla="*/ 21598 h 21598"/>
                  <a:gd name="connsiteX1" fmla="*/ 0 w 4842"/>
                  <a:gd name="connsiteY1" fmla="*/ 0 h 215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842" h="21598">
                    <a:moveTo>
                      <a:pt x="0" y="21598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691" name="Forma livre: Forma 690">
                <a:extLst>
                  <a:ext uri="{FF2B5EF4-FFF2-40B4-BE49-F238E27FC236}">
                    <a16:creationId xmlns:a16="http://schemas.microsoft.com/office/drawing/2014/main" id="{3C2AD1B3-576C-F7C4-A4EF-BA5488D8FD9D}"/>
                  </a:ext>
                </a:extLst>
              </p:cNvPr>
              <p:cNvSpPr/>
              <p:nvPr/>
            </p:nvSpPr>
            <p:spPr>
              <a:xfrm>
                <a:off x="7825668" y="3441157"/>
                <a:ext cx="4842" cy="21598"/>
              </a:xfrm>
              <a:custGeom>
                <a:avLst/>
                <a:gdLst>
                  <a:gd name="connsiteX0" fmla="*/ 0 w 4842"/>
                  <a:gd name="connsiteY0" fmla="*/ 21598 h 21598"/>
                  <a:gd name="connsiteX1" fmla="*/ 0 w 4842"/>
                  <a:gd name="connsiteY1" fmla="*/ 0 h 215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842" h="21598">
                    <a:moveTo>
                      <a:pt x="0" y="21598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692" name="Gráfico 9">
              <a:extLst>
                <a:ext uri="{FF2B5EF4-FFF2-40B4-BE49-F238E27FC236}">
                  <a16:creationId xmlns:a16="http://schemas.microsoft.com/office/drawing/2014/main" id="{B2FCC844-5E9B-9798-F22D-98731DE7AA2E}"/>
                </a:ext>
              </a:extLst>
            </p:cNvPr>
            <p:cNvGrpSpPr/>
            <p:nvPr/>
          </p:nvGrpSpPr>
          <p:grpSpPr>
            <a:xfrm>
              <a:off x="7702472" y="3240285"/>
              <a:ext cx="123050" cy="155060"/>
              <a:chOff x="7702472" y="3240285"/>
              <a:chExt cx="123050" cy="155060"/>
            </a:xfrm>
          </p:grpSpPr>
          <p:sp>
            <p:nvSpPr>
              <p:cNvPr id="693" name="Forma livre: Forma 692">
                <a:extLst>
                  <a:ext uri="{FF2B5EF4-FFF2-40B4-BE49-F238E27FC236}">
                    <a16:creationId xmlns:a16="http://schemas.microsoft.com/office/drawing/2014/main" id="{961940F0-0174-ABD7-3978-B348A29CCFA0}"/>
                  </a:ext>
                </a:extLst>
              </p:cNvPr>
              <p:cNvSpPr/>
              <p:nvPr/>
            </p:nvSpPr>
            <p:spPr>
              <a:xfrm>
                <a:off x="7825522" y="3240285"/>
                <a:ext cx="4842" cy="155060"/>
              </a:xfrm>
              <a:custGeom>
                <a:avLst/>
                <a:gdLst>
                  <a:gd name="connsiteX0" fmla="*/ 0 w 4842"/>
                  <a:gd name="connsiteY0" fmla="*/ 155061 h 155060"/>
                  <a:gd name="connsiteX1" fmla="*/ 0 w 4842"/>
                  <a:gd name="connsiteY1" fmla="*/ 0 h 1550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842" h="155060">
                    <a:moveTo>
                      <a:pt x="0" y="155061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694" name="Forma livre: Forma 693">
                <a:extLst>
                  <a:ext uri="{FF2B5EF4-FFF2-40B4-BE49-F238E27FC236}">
                    <a16:creationId xmlns:a16="http://schemas.microsoft.com/office/drawing/2014/main" id="{25755D0D-6972-C664-610F-3BB5D4B47C57}"/>
                  </a:ext>
                </a:extLst>
              </p:cNvPr>
              <p:cNvSpPr/>
              <p:nvPr/>
            </p:nvSpPr>
            <p:spPr>
              <a:xfrm>
                <a:off x="7702472" y="3240285"/>
                <a:ext cx="4842" cy="155060"/>
              </a:xfrm>
              <a:custGeom>
                <a:avLst/>
                <a:gdLst>
                  <a:gd name="connsiteX0" fmla="*/ 0 w 4842"/>
                  <a:gd name="connsiteY0" fmla="*/ 155061 h 155060"/>
                  <a:gd name="connsiteX1" fmla="*/ 0 w 4842"/>
                  <a:gd name="connsiteY1" fmla="*/ 0 h 1550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842" h="155060">
                    <a:moveTo>
                      <a:pt x="0" y="155061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695" name="Gráfico 9">
              <a:extLst>
                <a:ext uri="{FF2B5EF4-FFF2-40B4-BE49-F238E27FC236}">
                  <a16:creationId xmlns:a16="http://schemas.microsoft.com/office/drawing/2014/main" id="{1E88D19B-D509-7317-A6BD-FA2D96D3C8D3}"/>
                </a:ext>
              </a:extLst>
            </p:cNvPr>
            <p:cNvGrpSpPr/>
            <p:nvPr/>
          </p:nvGrpSpPr>
          <p:grpSpPr>
            <a:xfrm>
              <a:off x="7721794" y="3143820"/>
              <a:ext cx="84406" cy="55593"/>
              <a:chOff x="7721794" y="3143820"/>
              <a:chExt cx="84406" cy="55593"/>
            </a:xfrm>
          </p:grpSpPr>
          <p:sp>
            <p:nvSpPr>
              <p:cNvPr id="696" name="Forma livre: Forma 695">
                <a:extLst>
                  <a:ext uri="{FF2B5EF4-FFF2-40B4-BE49-F238E27FC236}">
                    <a16:creationId xmlns:a16="http://schemas.microsoft.com/office/drawing/2014/main" id="{8239D042-5B0D-D4BD-B70C-B6CCEDCC5AD1}"/>
                  </a:ext>
                </a:extLst>
              </p:cNvPr>
              <p:cNvSpPr/>
              <p:nvPr/>
            </p:nvSpPr>
            <p:spPr>
              <a:xfrm>
                <a:off x="7721794" y="3143820"/>
                <a:ext cx="4842" cy="55593"/>
              </a:xfrm>
              <a:custGeom>
                <a:avLst/>
                <a:gdLst>
                  <a:gd name="connsiteX0" fmla="*/ 0 w 4842"/>
                  <a:gd name="connsiteY0" fmla="*/ 55593 h 55593"/>
                  <a:gd name="connsiteX1" fmla="*/ 0 w 4842"/>
                  <a:gd name="connsiteY1" fmla="*/ 0 h 555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842" h="55593">
                    <a:moveTo>
                      <a:pt x="0" y="55593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697" name="Forma livre: Forma 696">
                <a:extLst>
                  <a:ext uri="{FF2B5EF4-FFF2-40B4-BE49-F238E27FC236}">
                    <a16:creationId xmlns:a16="http://schemas.microsoft.com/office/drawing/2014/main" id="{294FF0F9-B857-AD05-B63D-B5255C597EC4}"/>
                  </a:ext>
                </a:extLst>
              </p:cNvPr>
              <p:cNvSpPr/>
              <p:nvPr/>
            </p:nvSpPr>
            <p:spPr>
              <a:xfrm>
                <a:off x="7806200" y="3143820"/>
                <a:ext cx="4842" cy="55593"/>
              </a:xfrm>
              <a:custGeom>
                <a:avLst/>
                <a:gdLst>
                  <a:gd name="connsiteX0" fmla="*/ 0 w 4842"/>
                  <a:gd name="connsiteY0" fmla="*/ 55593 h 55593"/>
                  <a:gd name="connsiteX1" fmla="*/ 0 w 4842"/>
                  <a:gd name="connsiteY1" fmla="*/ 0 h 555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842" h="55593">
                    <a:moveTo>
                      <a:pt x="0" y="55593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698" name="Forma livre: Forma 697">
              <a:extLst>
                <a:ext uri="{FF2B5EF4-FFF2-40B4-BE49-F238E27FC236}">
                  <a16:creationId xmlns:a16="http://schemas.microsoft.com/office/drawing/2014/main" id="{DAC393E0-A451-A902-6889-A91DF178827C}"/>
                </a:ext>
              </a:extLst>
            </p:cNvPr>
            <p:cNvSpPr/>
            <p:nvPr/>
          </p:nvSpPr>
          <p:spPr>
            <a:xfrm>
              <a:off x="7721503" y="3099268"/>
              <a:ext cx="84891" cy="29443"/>
            </a:xfrm>
            <a:custGeom>
              <a:avLst/>
              <a:gdLst>
                <a:gd name="connsiteX0" fmla="*/ 84891 w 84891"/>
                <a:gd name="connsiteY0" fmla="*/ 29443 h 29443"/>
                <a:gd name="connsiteX1" fmla="*/ 84891 w 84891"/>
                <a:gd name="connsiteY1" fmla="*/ 6876 h 29443"/>
                <a:gd name="connsiteX2" fmla="*/ 42712 w 84891"/>
                <a:gd name="connsiteY2" fmla="*/ 0 h 29443"/>
                <a:gd name="connsiteX3" fmla="*/ 42179 w 84891"/>
                <a:gd name="connsiteY3" fmla="*/ 0 h 29443"/>
                <a:gd name="connsiteX4" fmla="*/ 0 w 84891"/>
                <a:gd name="connsiteY4" fmla="*/ 6876 h 29443"/>
                <a:gd name="connsiteX5" fmla="*/ 0 w 84891"/>
                <a:gd name="connsiteY5" fmla="*/ 29443 h 294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84891" h="29443">
                  <a:moveTo>
                    <a:pt x="84891" y="29443"/>
                  </a:moveTo>
                  <a:lnTo>
                    <a:pt x="84891" y="6876"/>
                  </a:lnTo>
                  <a:cubicBezTo>
                    <a:pt x="84891" y="6876"/>
                    <a:pt x="74383" y="0"/>
                    <a:pt x="42712" y="0"/>
                  </a:cubicBezTo>
                  <a:lnTo>
                    <a:pt x="42179" y="0"/>
                  </a:lnTo>
                  <a:cubicBezTo>
                    <a:pt x="10509" y="0"/>
                    <a:pt x="0" y="6876"/>
                    <a:pt x="0" y="6876"/>
                  </a:cubicBezTo>
                  <a:lnTo>
                    <a:pt x="0" y="29443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99" name="Forma livre: Forma 698">
              <a:extLst>
                <a:ext uri="{FF2B5EF4-FFF2-40B4-BE49-F238E27FC236}">
                  <a16:creationId xmlns:a16="http://schemas.microsoft.com/office/drawing/2014/main" id="{133CCD74-EF0C-6BDB-8C89-FC111DB3C447}"/>
                </a:ext>
              </a:extLst>
            </p:cNvPr>
            <p:cNvSpPr/>
            <p:nvPr/>
          </p:nvSpPr>
          <p:spPr>
            <a:xfrm>
              <a:off x="7661794" y="3200721"/>
              <a:ext cx="204358" cy="238014"/>
            </a:xfrm>
            <a:custGeom>
              <a:avLst/>
              <a:gdLst>
                <a:gd name="connsiteX0" fmla="*/ 170460 w 204358"/>
                <a:gd name="connsiteY0" fmla="*/ 0 h 238014"/>
                <a:gd name="connsiteX1" fmla="*/ 204358 w 204358"/>
                <a:gd name="connsiteY1" fmla="*/ 33898 h 238014"/>
                <a:gd name="connsiteX2" fmla="*/ 204358 w 204358"/>
                <a:gd name="connsiteY2" fmla="*/ 204116 h 238014"/>
                <a:gd name="connsiteX3" fmla="*/ 170460 w 204358"/>
                <a:gd name="connsiteY3" fmla="*/ 238015 h 238014"/>
                <a:gd name="connsiteX4" fmla="*/ 33898 w 204358"/>
                <a:gd name="connsiteY4" fmla="*/ 238015 h 238014"/>
                <a:gd name="connsiteX5" fmla="*/ 0 w 204358"/>
                <a:gd name="connsiteY5" fmla="*/ 204116 h 238014"/>
                <a:gd name="connsiteX6" fmla="*/ 0 w 204358"/>
                <a:gd name="connsiteY6" fmla="*/ 33898 h 238014"/>
                <a:gd name="connsiteX7" fmla="*/ 33898 w 204358"/>
                <a:gd name="connsiteY7" fmla="*/ 0 h 2380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04358" h="238014">
                  <a:moveTo>
                    <a:pt x="170460" y="0"/>
                  </a:moveTo>
                  <a:cubicBezTo>
                    <a:pt x="189182" y="0"/>
                    <a:pt x="204358" y="15177"/>
                    <a:pt x="204358" y="33898"/>
                  </a:cubicBezTo>
                  <a:lnTo>
                    <a:pt x="204358" y="204116"/>
                  </a:lnTo>
                  <a:cubicBezTo>
                    <a:pt x="204358" y="222838"/>
                    <a:pt x="189182" y="238015"/>
                    <a:pt x="170460" y="238015"/>
                  </a:cubicBezTo>
                  <a:lnTo>
                    <a:pt x="33898" y="238015"/>
                  </a:lnTo>
                  <a:cubicBezTo>
                    <a:pt x="15177" y="238015"/>
                    <a:pt x="0" y="222838"/>
                    <a:pt x="0" y="204116"/>
                  </a:cubicBezTo>
                  <a:lnTo>
                    <a:pt x="0" y="33898"/>
                  </a:lnTo>
                  <a:cubicBezTo>
                    <a:pt x="0" y="15177"/>
                    <a:pt x="15177" y="0"/>
                    <a:pt x="33898" y="0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700" name="Forma livre: Forma 699">
              <a:extLst>
                <a:ext uri="{FF2B5EF4-FFF2-40B4-BE49-F238E27FC236}">
                  <a16:creationId xmlns:a16="http://schemas.microsoft.com/office/drawing/2014/main" id="{080C6282-41FC-3977-D216-6D89C5695304}"/>
                </a:ext>
              </a:extLst>
            </p:cNvPr>
            <p:cNvSpPr/>
            <p:nvPr/>
          </p:nvSpPr>
          <p:spPr>
            <a:xfrm>
              <a:off x="7755547" y="3264595"/>
              <a:ext cx="16852" cy="7167"/>
            </a:xfrm>
            <a:custGeom>
              <a:avLst/>
              <a:gdLst>
                <a:gd name="connsiteX0" fmla="*/ 8426 w 16852"/>
                <a:gd name="connsiteY0" fmla="*/ 7167 h 7167"/>
                <a:gd name="connsiteX1" fmla="*/ 0 w 16852"/>
                <a:gd name="connsiteY1" fmla="*/ 3583 h 7167"/>
                <a:gd name="connsiteX2" fmla="*/ 8426 w 16852"/>
                <a:gd name="connsiteY2" fmla="*/ 0 h 7167"/>
                <a:gd name="connsiteX3" fmla="*/ 16852 w 16852"/>
                <a:gd name="connsiteY3" fmla="*/ 3583 h 7167"/>
                <a:gd name="connsiteX4" fmla="*/ 8426 w 16852"/>
                <a:gd name="connsiteY4" fmla="*/ 7167 h 71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852" h="7167">
                  <a:moveTo>
                    <a:pt x="8426" y="7167"/>
                  </a:moveTo>
                  <a:cubicBezTo>
                    <a:pt x="3002" y="7167"/>
                    <a:pt x="0" y="4504"/>
                    <a:pt x="0" y="3583"/>
                  </a:cubicBezTo>
                  <a:cubicBezTo>
                    <a:pt x="0" y="2663"/>
                    <a:pt x="3002" y="0"/>
                    <a:pt x="8426" y="0"/>
                  </a:cubicBezTo>
                  <a:cubicBezTo>
                    <a:pt x="13850" y="0"/>
                    <a:pt x="16852" y="2663"/>
                    <a:pt x="16852" y="3583"/>
                  </a:cubicBezTo>
                  <a:cubicBezTo>
                    <a:pt x="16852" y="4504"/>
                    <a:pt x="13850" y="7167"/>
                    <a:pt x="8426" y="7167"/>
                  </a:cubicBezTo>
                  <a:close/>
                </a:path>
              </a:pathLst>
            </a:custGeom>
            <a:solidFill>
              <a:srgbClr val="39434E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701" name="Gráfico 9">
            <a:extLst>
              <a:ext uri="{FF2B5EF4-FFF2-40B4-BE49-F238E27FC236}">
                <a16:creationId xmlns:a16="http://schemas.microsoft.com/office/drawing/2014/main" id="{B1922CA8-E633-28E8-20D8-9781981852C6}"/>
              </a:ext>
            </a:extLst>
          </p:cNvPr>
          <p:cNvGrpSpPr/>
          <p:nvPr/>
        </p:nvGrpSpPr>
        <p:grpSpPr>
          <a:xfrm>
            <a:off x="6320534" y="1050986"/>
            <a:ext cx="338547" cy="180678"/>
            <a:chOff x="6320534" y="1050986"/>
            <a:chExt cx="338547" cy="180678"/>
          </a:xfrm>
          <a:noFill/>
        </p:grpSpPr>
        <p:sp>
          <p:nvSpPr>
            <p:cNvPr id="702" name="Forma livre: Forma 701">
              <a:extLst>
                <a:ext uri="{FF2B5EF4-FFF2-40B4-BE49-F238E27FC236}">
                  <a16:creationId xmlns:a16="http://schemas.microsoft.com/office/drawing/2014/main" id="{B449ECB4-FF6E-BF0D-5ECF-A1BAE0B87164}"/>
                </a:ext>
              </a:extLst>
            </p:cNvPr>
            <p:cNvSpPr/>
            <p:nvPr/>
          </p:nvSpPr>
          <p:spPr>
            <a:xfrm>
              <a:off x="6631188" y="1097427"/>
              <a:ext cx="27893" cy="58111"/>
            </a:xfrm>
            <a:custGeom>
              <a:avLst/>
              <a:gdLst>
                <a:gd name="connsiteX0" fmla="*/ 0 w 27893"/>
                <a:gd name="connsiteY0" fmla="*/ 0 h 58111"/>
                <a:gd name="connsiteX1" fmla="*/ 27893 w 27893"/>
                <a:gd name="connsiteY1" fmla="*/ 0 h 58111"/>
                <a:gd name="connsiteX2" fmla="*/ 27893 w 27893"/>
                <a:gd name="connsiteY2" fmla="*/ 58111 h 58111"/>
                <a:gd name="connsiteX3" fmla="*/ 194 w 27893"/>
                <a:gd name="connsiteY3" fmla="*/ 58111 h 581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7893" h="58111">
                  <a:moveTo>
                    <a:pt x="0" y="0"/>
                  </a:moveTo>
                  <a:lnTo>
                    <a:pt x="27893" y="0"/>
                  </a:lnTo>
                  <a:lnTo>
                    <a:pt x="27893" y="58111"/>
                  </a:lnTo>
                  <a:lnTo>
                    <a:pt x="194" y="58111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703" name="Forma livre: Forma 702">
              <a:extLst>
                <a:ext uri="{FF2B5EF4-FFF2-40B4-BE49-F238E27FC236}">
                  <a16:creationId xmlns:a16="http://schemas.microsoft.com/office/drawing/2014/main" id="{2FFADC5D-53D9-9F06-1A5B-D82524555F9A}"/>
                </a:ext>
              </a:extLst>
            </p:cNvPr>
            <p:cNvSpPr/>
            <p:nvPr/>
          </p:nvSpPr>
          <p:spPr>
            <a:xfrm>
              <a:off x="6366539" y="1201543"/>
              <a:ext cx="217917" cy="30121"/>
            </a:xfrm>
            <a:custGeom>
              <a:avLst/>
              <a:gdLst>
                <a:gd name="connsiteX0" fmla="*/ 217918 w 217917"/>
                <a:gd name="connsiteY0" fmla="*/ 0 h 30121"/>
                <a:gd name="connsiteX1" fmla="*/ 217918 w 217917"/>
                <a:gd name="connsiteY1" fmla="*/ 30121 h 30121"/>
                <a:gd name="connsiteX2" fmla="*/ 0 w 217917"/>
                <a:gd name="connsiteY2" fmla="*/ 30121 h 30121"/>
                <a:gd name="connsiteX3" fmla="*/ 0 w 217917"/>
                <a:gd name="connsiteY3" fmla="*/ 194 h 301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17917" h="30121">
                  <a:moveTo>
                    <a:pt x="217918" y="0"/>
                  </a:moveTo>
                  <a:lnTo>
                    <a:pt x="217918" y="30121"/>
                  </a:lnTo>
                  <a:lnTo>
                    <a:pt x="0" y="30121"/>
                  </a:lnTo>
                  <a:lnTo>
                    <a:pt x="0" y="194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704" name="Forma livre: Forma 703">
              <a:extLst>
                <a:ext uri="{FF2B5EF4-FFF2-40B4-BE49-F238E27FC236}">
                  <a16:creationId xmlns:a16="http://schemas.microsoft.com/office/drawing/2014/main" id="{8557A2E0-363D-E886-BE47-60FD6B2BA2B2}"/>
                </a:ext>
              </a:extLst>
            </p:cNvPr>
            <p:cNvSpPr/>
            <p:nvPr/>
          </p:nvSpPr>
          <p:spPr>
            <a:xfrm>
              <a:off x="6320534" y="1050986"/>
              <a:ext cx="309927" cy="150121"/>
            </a:xfrm>
            <a:custGeom>
              <a:avLst/>
              <a:gdLst>
                <a:gd name="connsiteX0" fmla="*/ 276029 w 309927"/>
                <a:gd name="connsiteY0" fmla="*/ 0 h 150121"/>
                <a:gd name="connsiteX1" fmla="*/ 309928 w 309927"/>
                <a:gd name="connsiteY1" fmla="*/ 33898 h 150121"/>
                <a:gd name="connsiteX2" fmla="*/ 309928 w 309927"/>
                <a:gd name="connsiteY2" fmla="*/ 116223 h 150121"/>
                <a:gd name="connsiteX3" fmla="*/ 276029 w 309927"/>
                <a:gd name="connsiteY3" fmla="*/ 150121 h 150121"/>
                <a:gd name="connsiteX4" fmla="*/ 33898 w 309927"/>
                <a:gd name="connsiteY4" fmla="*/ 150121 h 150121"/>
                <a:gd name="connsiteX5" fmla="*/ 0 w 309927"/>
                <a:gd name="connsiteY5" fmla="*/ 116223 h 150121"/>
                <a:gd name="connsiteX6" fmla="*/ 0 w 309927"/>
                <a:gd name="connsiteY6" fmla="*/ 33898 h 150121"/>
                <a:gd name="connsiteX7" fmla="*/ 33898 w 309927"/>
                <a:gd name="connsiteY7" fmla="*/ 0 h 1501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09927" h="150121">
                  <a:moveTo>
                    <a:pt x="276029" y="0"/>
                  </a:moveTo>
                  <a:cubicBezTo>
                    <a:pt x="294751" y="0"/>
                    <a:pt x="309928" y="15177"/>
                    <a:pt x="309928" y="33898"/>
                  </a:cubicBezTo>
                  <a:lnTo>
                    <a:pt x="309928" y="116223"/>
                  </a:lnTo>
                  <a:cubicBezTo>
                    <a:pt x="309928" y="134944"/>
                    <a:pt x="294751" y="150121"/>
                    <a:pt x="276029" y="150121"/>
                  </a:cubicBezTo>
                  <a:lnTo>
                    <a:pt x="33898" y="150121"/>
                  </a:lnTo>
                  <a:cubicBezTo>
                    <a:pt x="15177" y="150121"/>
                    <a:pt x="0" y="134944"/>
                    <a:pt x="0" y="116223"/>
                  </a:cubicBezTo>
                  <a:lnTo>
                    <a:pt x="0" y="33898"/>
                  </a:lnTo>
                  <a:cubicBezTo>
                    <a:pt x="0" y="15177"/>
                    <a:pt x="15177" y="0"/>
                    <a:pt x="33898" y="0"/>
                  </a:cubicBez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705" name="Gráfico 9">
              <a:extLst>
                <a:ext uri="{FF2B5EF4-FFF2-40B4-BE49-F238E27FC236}">
                  <a16:creationId xmlns:a16="http://schemas.microsoft.com/office/drawing/2014/main" id="{88D765F8-01A0-A7EC-F00C-2F1177EB5147}"/>
                </a:ext>
              </a:extLst>
            </p:cNvPr>
            <p:cNvGrpSpPr/>
            <p:nvPr/>
          </p:nvGrpSpPr>
          <p:grpSpPr>
            <a:xfrm>
              <a:off x="6361454" y="1088081"/>
              <a:ext cx="228135" cy="84648"/>
              <a:chOff x="6361454" y="1088081"/>
              <a:chExt cx="228135" cy="84648"/>
            </a:xfrm>
            <a:noFill/>
          </p:grpSpPr>
          <p:sp>
            <p:nvSpPr>
              <p:cNvPr id="706" name="Forma livre: Forma 705">
                <a:extLst>
                  <a:ext uri="{FF2B5EF4-FFF2-40B4-BE49-F238E27FC236}">
                    <a16:creationId xmlns:a16="http://schemas.microsoft.com/office/drawing/2014/main" id="{3DD95062-4445-BDD4-34B9-8717CEB334DB}"/>
                  </a:ext>
                </a:extLst>
              </p:cNvPr>
              <p:cNvSpPr/>
              <p:nvPr/>
            </p:nvSpPr>
            <p:spPr>
              <a:xfrm>
                <a:off x="6361454" y="1088081"/>
                <a:ext cx="29878" cy="77481"/>
              </a:xfrm>
              <a:custGeom>
                <a:avLst/>
                <a:gdLst>
                  <a:gd name="connsiteX0" fmla="*/ 0 w 29878"/>
                  <a:gd name="connsiteY0" fmla="*/ 0 h 77481"/>
                  <a:gd name="connsiteX1" fmla="*/ 29879 w 29878"/>
                  <a:gd name="connsiteY1" fmla="*/ 0 h 77481"/>
                  <a:gd name="connsiteX2" fmla="*/ 29879 w 29878"/>
                  <a:gd name="connsiteY2" fmla="*/ 77482 h 77481"/>
                  <a:gd name="connsiteX3" fmla="*/ 0 w 29878"/>
                  <a:gd name="connsiteY3" fmla="*/ 77482 h 774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9878" h="77481">
                    <a:moveTo>
                      <a:pt x="0" y="0"/>
                    </a:moveTo>
                    <a:lnTo>
                      <a:pt x="29879" y="0"/>
                    </a:lnTo>
                    <a:lnTo>
                      <a:pt x="29879" y="77482"/>
                    </a:lnTo>
                    <a:lnTo>
                      <a:pt x="0" y="77482"/>
                    </a:lnTo>
                    <a:close/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07" name="Forma livre: Forma 706">
                <a:extLst>
                  <a:ext uri="{FF2B5EF4-FFF2-40B4-BE49-F238E27FC236}">
                    <a16:creationId xmlns:a16="http://schemas.microsoft.com/office/drawing/2014/main" id="{1F7684D2-FFBE-B7FC-9CB9-942854EEDD00}"/>
                  </a:ext>
                </a:extLst>
              </p:cNvPr>
              <p:cNvSpPr/>
              <p:nvPr/>
            </p:nvSpPr>
            <p:spPr>
              <a:xfrm>
                <a:off x="6411381" y="1088081"/>
                <a:ext cx="36755" cy="84648"/>
              </a:xfrm>
              <a:custGeom>
                <a:avLst/>
                <a:gdLst>
                  <a:gd name="connsiteX0" fmla="*/ 0 w 36755"/>
                  <a:gd name="connsiteY0" fmla="*/ 0 h 84648"/>
                  <a:gd name="connsiteX1" fmla="*/ 36755 w 36755"/>
                  <a:gd name="connsiteY1" fmla="*/ 0 h 84648"/>
                  <a:gd name="connsiteX2" fmla="*/ 36755 w 36755"/>
                  <a:gd name="connsiteY2" fmla="*/ 84649 h 846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6755" h="84648">
                    <a:moveTo>
                      <a:pt x="0" y="0"/>
                    </a:moveTo>
                    <a:lnTo>
                      <a:pt x="36755" y="0"/>
                    </a:lnTo>
                    <a:lnTo>
                      <a:pt x="36755" y="84649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08" name="Forma livre: Forma 707">
                <a:extLst>
                  <a:ext uri="{FF2B5EF4-FFF2-40B4-BE49-F238E27FC236}">
                    <a16:creationId xmlns:a16="http://schemas.microsoft.com/office/drawing/2014/main" id="{3368B18F-D6F9-4AAD-C031-D544B1A953A3}"/>
                  </a:ext>
                </a:extLst>
              </p:cNvPr>
              <p:cNvSpPr/>
              <p:nvPr/>
            </p:nvSpPr>
            <p:spPr>
              <a:xfrm>
                <a:off x="6559711" y="1088081"/>
                <a:ext cx="29878" cy="77481"/>
              </a:xfrm>
              <a:custGeom>
                <a:avLst/>
                <a:gdLst>
                  <a:gd name="connsiteX0" fmla="*/ 0 w 29878"/>
                  <a:gd name="connsiteY0" fmla="*/ 0 h 77481"/>
                  <a:gd name="connsiteX1" fmla="*/ 29879 w 29878"/>
                  <a:gd name="connsiteY1" fmla="*/ 0 h 77481"/>
                  <a:gd name="connsiteX2" fmla="*/ 29879 w 29878"/>
                  <a:gd name="connsiteY2" fmla="*/ 77482 h 77481"/>
                  <a:gd name="connsiteX3" fmla="*/ 0 w 29878"/>
                  <a:gd name="connsiteY3" fmla="*/ 77482 h 774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9878" h="77481">
                    <a:moveTo>
                      <a:pt x="0" y="0"/>
                    </a:moveTo>
                    <a:lnTo>
                      <a:pt x="29879" y="0"/>
                    </a:lnTo>
                    <a:lnTo>
                      <a:pt x="29879" y="77482"/>
                    </a:lnTo>
                    <a:lnTo>
                      <a:pt x="0" y="77482"/>
                    </a:lnTo>
                    <a:close/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709" name="Gráfico 9">
                <a:extLst>
                  <a:ext uri="{FF2B5EF4-FFF2-40B4-BE49-F238E27FC236}">
                    <a16:creationId xmlns:a16="http://schemas.microsoft.com/office/drawing/2014/main" id="{4C356500-FAAD-8ED5-A8D8-D7C29993FF8D}"/>
                  </a:ext>
                </a:extLst>
              </p:cNvPr>
              <p:cNvGrpSpPr/>
              <p:nvPr/>
            </p:nvGrpSpPr>
            <p:grpSpPr>
              <a:xfrm>
                <a:off x="6495594" y="1088081"/>
                <a:ext cx="37142" cy="77481"/>
                <a:chOff x="6495594" y="1088081"/>
                <a:chExt cx="37142" cy="77481"/>
              </a:xfrm>
              <a:noFill/>
            </p:grpSpPr>
            <p:sp>
              <p:nvSpPr>
                <p:cNvPr id="710" name="Forma livre: Forma 709">
                  <a:extLst>
                    <a:ext uri="{FF2B5EF4-FFF2-40B4-BE49-F238E27FC236}">
                      <a16:creationId xmlns:a16="http://schemas.microsoft.com/office/drawing/2014/main" id="{A1527684-3A5A-545E-DDA1-A149FE6DF4AB}"/>
                    </a:ext>
                  </a:extLst>
                </p:cNvPr>
                <p:cNvSpPr/>
                <p:nvPr/>
              </p:nvSpPr>
              <p:spPr>
                <a:xfrm>
                  <a:off x="6495594" y="1088081"/>
                  <a:ext cx="37142" cy="77481"/>
                </a:xfrm>
                <a:custGeom>
                  <a:avLst/>
                  <a:gdLst>
                    <a:gd name="connsiteX0" fmla="*/ 0 w 37142"/>
                    <a:gd name="connsiteY0" fmla="*/ 0 h 77481"/>
                    <a:gd name="connsiteX1" fmla="*/ 37143 w 37142"/>
                    <a:gd name="connsiteY1" fmla="*/ 0 h 77481"/>
                    <a:gd name="connsiteX2" fmla="*/ 37143 w 37142"/>
                    <a:gd name="connsiteY2" fmla="*/ 77482 h 77481"/>
                    <a:gd name="connsiteX3" fmla="*/ 0 w 37142"/>
                    <a:gd name="connsiteY3" fmla="*/ 77482 h 7748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37142" h="77481">
                      <a:moveTo>
                        <a:pt x="0" y="0"/>
                      </a:moveTo>
                      <a:lnTo>
                        <a:pt x="37143" y="0"/>
                      </a:lnTo>
                      <a:lnTo>
                        <a:pt x="37143" y="77482"/>
                      </a:lnTo>
                      <a:lnTo>
                        <a:pt x="0" y="77482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711" name="Forma livre: Forma 710">
                  <a:extLst>
                    <a:ext uri="{FF2B5EF4-FFF2-40B4-BE49-F238E27FC236}">
                      <a16:creationId xmlns:a16="http://schemas.microsoft.com/office/drawing/2014/main" id="{3BB7EBCA-2626-CE4D-82E7-6935F2F7815B}"/>
                    </a:ext>
                  </a:extLst>
                </p:cNvPr>
                <p:cNvSpPr/>
                <p:nvPr/>
              </p:nvSpPr>
              <p:spPr>
                <a:xfrm>
                  <a:off x="6495594" y="1125805"/>
                  <a:ext cx="36852" cy="4842"/>
                </a:xfrm>
                <a:custGeom>
                  <a:avLst/>
                  <a:gdLst>
                    <a:gd name="connsiteX0" fmla="*/ 0 w 36852"/>
                    <a:gd name="connsiteY0" fmla="*/ 0 h 4842"/>
                    <a:gd name="connsiteX1" fmla="*/ 36852 w 36852"/>
                    <a:gd name="connsiteY1" fmla="*/ 0 h 484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36852" h="4842">
                      <a:moveTo>
                        <a:pt x="0" y="0"/>
                      </a:moveTo>
                      <a:lnTo>
                        <a:pt x="36852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712" name="Gráfico 9">
                <a:extLst>
                  <a:ext uri="{FF2B5EF4-FFF2-40B4-BE49-F238E27FC236}">
                    <a16:creationId xmlns:a16="http://schemas.microsoft.com/office/drawing/2014/main" id="{28C859A8-C23D-B7DD-E023-970132508BD7}"/>
                  </a:ext>
                </a:extLst>
              </p:cNvPr>
              <p:cNvGrpSpPr/>
              <p:nvPr/>
            </p:nvGrpSpPr>
            <p:grpSpPr>
              <a:xfrm>
                <a:off x="6475304" y="1095151"/>
                <a:ext cx="4842" cy="62905"/>
                <a:chOff x="6475304" y="1095151"/>
                <a:chExt cx="4842" cy="62905"/>
              </a:xfrm>
            </p:grpSpPr>
            <p:sp>
              <p:nvSpPr>
                <p:cNvPr id="713" name="Forma livre: Forma 712">
                  <a:extLst>
                    <a:ext uri="{FF2B5EF4-FFF2-40B4-BE49-F238E27FC236}">
                      <a16:creationId xmlns:a16="http://schemas.microsoft.com/office/drawing/2014/main" id="{70143C4C-82DD-E4E2-0AB4-B2A132FDBC88}"/>
                    </a:ext>
                  </a:extLst>
                </p:cNvPr>
                <p:cNvSpPr/>
                <p:nvPr/>
              </p:nvSpPr>
              <p:spPr>
                <a:xfrm>
                  <a:off x="6475304" y="1095151"/>
                  <a:ext cx="4842" cy="24164"/>
                </a:xfrm>
                <a:custGeom>
                  <a:avLst/>
                  <a:gdLst>
                    <a:gd name="connsiteX0" fmla="*/ 0 w 4842"/>
                    <a:gd name="connsiteY0" fmla="*/ 0 h 24164"/>
                    <a:gd name="connsiteX1" fmla="*/ 0 w 4842"/>
                    <a:gd name="connsiteY1" fmla="*/ 24165 h 2416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842" h="24164">
                      <a:moveTo>
                        <a:pt x="0" y="0"/>
                      </a:moveTo>
                      <a:lnTo>
                        <a:pt x="0" y="24165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714" name="Forma livre: Forma 713">
                  <a:extLst>
                    <a:ext uri="{FF2B5EF4-FFF2-40B4-BE49-F238E27FC236}">
                      <a16:creationId xmlns:a16="http://schemas.microsoft.com/office/drawing/2014/main" id="{B3392421-F1C8-369A-C57D-67630ED89BFE}"/>
                    </a:ext>
                  </a:extLst>
                </p:cNvPr>
                <p:cNvSpPr/>
                <p:nvPr/>
              </p:nvSpPr>
              <p:spPr>
                <a:xfrm>
                  <a:off x="6475304" y="1133892"/>
                  <a:ext cx="4842" cy="24164"/>
                </a:xfrm>
                <a:custGeom>
                  <a:avLst/>
                  <a:gdLst>
                    <a:gd name="connsiteX0" fmla="*/ 0 w 4842"/>
                    <a:gd name="connsiteY0" fmla="*/ 0 h 24164"/>
                    <a:gd name="connsiteX1" fmla="*/ 0 w 4842"/>
                    <a:gd name="connsiteY1" fmla="*/ 24165 h 2416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842" h="24164">
                      <a:moveTo>
                        <a:pt x="0" y="0"/>
                      </a:moveTo>
                      <a:lnTo>
                        <a:pt x="0" y="24165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</p:grpSp>
      <p:grpSp>
        <p:nvGrpSpPr>
          <p:cNvPr id="715" name="Gráfico 9">
            <a:extLst>
              <a:ext uri="{FF2B5EF4-FFF2-40B4-BE49-F238E27FC236}">
                <a16:creationId xmlns:a16="http://schemas.microsoft.com/office/drawing/2014/main" id="{4F05D110-C80B-9C4C-B113-81E619C941C5}"/>
              </a:ext>
            </a:extLst>
          </p:cNvPr>
          <p:cNvGrpSpPr/>
          <p:nvPr/>
        </p:nvGrpSpPr>
        <p:grpSpPr>
          <a:xfrm>
            <a:off x="6339371" y="1562221"/>
            <a:ext cx="300920" cy="232736"/>
            <a:chOff x="6339371" y="1562221"/>
            <a:chExt cx="300920" cy="232736"/>
          </a:xfrm>
        </p:grpSpPr>
        <p:sp>
          <p:nvSpPr>
            <p:cNvPr id="716" name="Forma livre: Forma 715">
              <a:extLst>
                <a:ext uri="{FF2B5EF4-FFF2-40B4-BE49-F238E27FC236}">
                  <a16:creationId xmlns:a16="http://schemas.microsoft.com/office/drawing/2014/main" id="{147FED23-BBB9-6530-83C1-D85FB065C2A3}"/>
                </a:ext>
              </a:extLst>
            </p:cNvPr>
            <p:cNvSpPr/>
            <p:nvPr/>
          </p:nvSpPr>
          <p:spPr>
            <a:xfrm>
              <a:off x="6423342" y="1620866"/>
              <a:ext cx="173898" cy="174092"/>
            </a:xfrm>
            <a:custGeom>
              <a:avLst/>
              <a:gdLst>
                <a:gd name="connsiteX0" fmla="*/ 173898 w 173898"/>
                <a:gd name="connsiteY0" fmla="*/ 86973 h 174092"/>
                <a:gd name="connsiteX1" fmla="*/ 86973 w 173898"/>
                <a:gd name="connsiteY1" fmla="*/ 174092 h 174092"/>
                <a:gd name="connsiteX2" fmla="*/ 0 w 173898"/>
                <a:gd name="connsiteY2" fmla="*/ 86973 h 174092"/>
                <a:gd name="connsiteX3" fmla="*/ 86973 w 173898"/>
                <a:gd name="connsiteY3" fmla="*/ 0 h 174092"/>
                <a:gd name="connsiteX4" fmla="*/ 173898 w 173898"/>
                <a:gd name="connsiteY4" fmla="*/ 86973 h 1740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3898" h="174092">
                  <a:moveTo>
                    <a:pt x="173898" y="86973"/>
                  </a:moveTo>
                  <a:cubicBezTo>
                    <a:pt x="173898" y="135157"/>
                    <a:pt x="134964" y="174092"/>
                    <a:pt x="86973" y="174092"/>
                  </a:cubicBezTo>
                  <a:cubicBezTo>
                    <a:pt x="38983" y="174092"/>
                    <a:pt x="0" y="135157"/>
                    <a:pt x="0" y="86973"/>
                  </a:cubicBezTo>
                  <a:cubicBezTo>
                    <a:pt x="0" y="38789"/>
                    <a:pt x="38935" y="0"/>
                    <a:pt x="86973" y="0"/>
                  </a:cubicBezTo>
                  <a:cubicBezTo>
                    <a:pt x="135012" y="0"/>
                    <a:pt x="173898" y="38935"/>
                    <a:pt x="173898" y="86973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717" name="Forma livre: Forma 716">
              <a:extLst>
                <a:ext uri="{FF2B5EF4-FFF2-40B4-BE49-F238E27FC236}">
                  <a16:creationId xmlns:a16="http://schemas.microsoft.com/office/drawing/2014/main" id="{7665184C-4BB8-9A6A-6190-73C67EF2D7A5}"/>
                </a:ext>
              </a:extLst>
            </p:cNvPr>
            <p:cNvSpPr/>
            <p:nvPr/>
          </p:nvSpPr>
          <p:spPr>
            <a:xfrm>
              <a:off x="6456514" y="1654037"/>
              <a:ext cx="107554" cy="107748"/>
            </a:xfrm>
            <a:custGeom>
              <a:avLst/>
              <a:gdLst>
                <a:gd name="connsiteX0" fmla="*/ 107555 w 107554"/>
                <a:gd name="connsiteY0" fmla="*/ 53801 h 107748"/>
                <a:gd name="connsiteX1" fmla="*/ 53753 w 107554"/>
                <a:gd name="connsiteY1" fmla="*/ 107748 h 107748"/>
                <a:gd name="connsiteX2" fmla="*/ 0 w 107554"/>
                <a:gd name="connsiteY2" fmla="*/ 53801 h 107748"/>
                <a:gd name="connsiteX3" fmla="*/ 53753 w 107554"/>
                <a:gd name="connsiteY3" fmla="*/ 0 h 107748"/>
                <a:gd name="connsiteX4" fmla="*/ 107555 w 107554"/>
                <a:gd name="connsiteY4" fmla="*/ 53801 h 1077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7554" h="107748">
                  <a:moveTo>
                    <a:pt x="107555" y="53801"/>
                  </a:moveTo>
                  <a:cubicBezTo>
                    <a:pt x="107555" y="83632"/>
                    <a:pt x="83487" y="107748"/>
                    <a:pt x="53753" y="107748"/>
                  </a:cubicBezTo>
                  <a:cubicBezTo>
                    <a:pt x="24019" y="107748"/>
                    <a:pt x="0" y="83632"/>
                    <a:pt x="0" y="53801"/>
                  </a:cubicBezTo>
                  <a:cubicBezTo>
                    <a:pt x="0" y="23971"/>
                    <a:pt x="24068" y="0"/>
                    <a:pt x="53753" y="0"/>
                  </a:cubicBezTo>
                  <a:cubicBezTo>
                    <a:pt x="83438" y="0"/>
                    <a:pt x="107555" y="24068"/>
                    <a:pt x="107555" y="53801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718" name="Forma livre: Forma 717">
              <a:extLst>
                <a:ext uri="{FF2B5EF4-FFF2-40B4-BE49-F238E27FC236}">
                  <a16:creationId xmlns:a16="http://schemas.microsoft.com/office/drawing/2014/main" id="{045E7DC3-FE84-85CC-A38E-C4BEDB3497B6}"/>
                </a:ext>
              </a:extLst>
            </p:cNvPr>
            <p:cNvSpPr/>
            <p:nvPr/>
          </p:nvSpPr>
          <p:spPr>
            <a:xfrm>
              <a:off x="6367168" y="1571035"/>
              <a:ext cx="27118" cy="4842"/>
            </a:xfrm>
            <a:custGeom>
              <a:avLst/>
              <a:gdLst>
                <a:gd name="connsiteX0" fmla="*/ 0 w 27118"/>
                <a:gd name="connsiteY0" fmla="*/ 0 h 4842"/>
                <a:gd name="connsiteX1" fmla="*/ 27119 w 27118"/>
                <a:gd name="connsiteY1" fmla="*/ 0 h 48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7118" h="4842">
                  <a:moveTo>
                    <a:pt x="0" y="0"/>
                  </a:moveTo>
                  <a:lnTo>
                    <a:pt x="27119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719" name="Forma livre: Forma 718">
              <a:extLst>
                <a:ext uri="{FF2B5EF4-FFF2-40B4-BE49-F238E27FC236}">
                  <a16:creationId xmlns:a16="http://schemas.microsoft.com/office/drawing/2014/main" id="{EF48F1A1-8FC3-144E-2917-C5A582ACB776}"/>
                </a:ext>
              </a:extLst>
            </p:cNvPr>
            <p:cNvSpPr/>
            <p:nvPr/>
          </p:nvSpPr>
          <p:spPr>
            <a:xfrm>
              <a:off x="6339371" y="1562221"/>
              <a:ext cx="300920" cy="208958"/>
            </a:xfrm>
            <a:custGeom>
              <a:avLst/>
              <a:gdLst>
                <a:gd name="connsiteX0" fmla="*/ 79419 w 300920"/>
                <a:gd name="connsiteY0" fmla="*/ 208959 h 208958"/>
                <a:gd name="connsiteX1" fmla="*/ 14528 w 300920"/>
                <a:gd name="connsiteY1" fmla="*/ 208959 h 208958"/>
                <a:gd name="connsiteX2" fmla="*/ 0 w 300920"/>
                <a:gd name="connsiteY2" fmla="*/ 194431 h 208958"/>
                <a:gd name="connsiteX3" fmla="*/ 0 w 300920"/>
                <a:gd name="connsiteY3" fmla="*/ 53124 h 208958"/>
                <a:gd name="connsiteX4" fmla="*/ 14528 w 300920"/>
                <a:gd name="connsiteY4" fmla="*/ 38596 h 208958"/>
                <a:gd name="connsiteX5" fmla="*/ 92349 w 300920"/>
                <a:gd name="connsiteY5" fmla="*/ 38596 h 208958"/>
                <a:gd name="connsiteX6" fmla="*/ 130412 w 300920"/>
                <a:gd name="connsiteY6" fmla="*/ 0 h 208958"/>
                <a:gd name="connsiteX7" fmla="*/ 214625 w 300920"/>
                <a:gd name="connsiteY7" fmla="*/ 0 h 208958"/>
                <a:gd name="connsiteX8" fmla="*/ 251768 w 300920"/>
                <a:gd name="connsiteY8" fmla="*/ 38596 h 208958"/>
                <a:gd name="connsiteX9" fmla="*/ 286392 w 300920"/>
                <a:gd name="connsiteY9" fmla="*/ 38596 h 208958"/>
                <a:gd name="connsiteX10" fmla="*/ 300920 w 300920"/>
                <a:gd name="connsiteY10" fmla="*/ 53124 h 208958"/>
                <a:gd name="connsiteX11" fmla="*/ 300920 w 300920"/>
                <a:gd name="connsiteY11" fmla="*/ 194431 h 208958"/>
                <a:gd name="connsiteX12" fmla="*/ 286392 w 300920"/>
                <a:gd name="connsiteY12" fmla="*/ 208959 h 208958"/>
                <a:gd name="connsiteX13" fmla="*/ 262034 w 300920"/>
                <a:gd name="connsiteY13" fmla="*/ 208959 h 2089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00920" h="208958">
                  <a:moveTo>
                    <a:pt x="79419" y="208959"/>
                  </a:moveTo>
                  <a:lnTo>
                    <a:pt x="14528" y="208959"/>
                  </a:lnTo>
                  <a:cubicBezTo>
                    <a:pt x="6538" y="208959"/>
                    <a:pt x="0" y="202421"/>
                    <a:pt x="0" y="194431"/>
                  </a:cubicBezTo>
                  <a:lnTo>
                    <a:pt x="0" y="53124"/>
                  </a:lnTo>
                  <a:cubicBezTo>
                    <a:pt x="0" y="45133"/>
                    <a:pt x="6538" y="38596"/>
                    <a:pt x="14528" y="38596"/>
                  </a:cubicBezTo>
                  <a:lnTo>
                    <a:pt x="92349" y="38596"/>
                  </a:lnTo>
                  <a:lnTo>
                    <a:pt x="130412" y="0"/>
                  </a:lnTo>
                  <a:lnTo>
                    <a:pt x="214625" y="0"/>
                  </a:lnTo>
                  <a:lnTo>
                    <a:pt x="251768" y="38596"/>
                  </a:lnTo>
                  <a:lnTo>
                    <a:pt x="286392" y="38596"/>
                  </a:lnTo>
                  <a:cubicBezTo>
                    <a:pt x="294383" y="38596"/>
                    <a:pt x="300920" y="45133"/>
                    <a:pt x="300920" y="53124"/>
                  </a:cubicBezTo>
                  <a:lnTo>
                    <a:pt x="300920" y="194431"/>
                  </a:lnTo>
                  <a:cubicBezTo>
                    <a:pt x="300920" y="202421"/>
                    <a:pt x="294383" y="208959"/>
                    <a:pt x="286392" y="208959"/>
                  </a:cubicBezTo>
                  <a:lnTo>
                    <a:pt x="262034" y="208959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720" name="Forma livre: Forma 719">
              <a:extLst>
                <a:ext uri="{FF2B5EF4-FFF2-40B4-BE49-F238E27FC236}">
                  <a16:creationId xmlns:a16="http://schemas.microsoft.com/office/drawing/2014/main" id="{E69901B2-73AF-9F74-B3CE-15D333378956}"/>
                </a:ext>
              </a:extLst>
            </p:cNvPr>
            <p:cNvSpPr/>
            <p:nvPr/>
          </p:nvSpPr>
          <p:spPr>
            <a:xfrm>
              <a:off x="6376950" y="1633553"/>
              <a:ext cx="7554" cy="7554"/>
            </a:xfrm>
            <a:custGeom>
              <a:avLst/>
              <a:gdLst>
                <a:gd name="connsiteX0" fmla="*/ 7554 w 7554"/>
                <a:gd name="connsiteY0" fmla="*/ 3777 h 7554"/>
                <a:gd name="connsiteX1" fmla="*/ 3777 w 7554"/>
                <a:gd name="connsiteY1" fmla="*/ 7554 h 7554"/>
                <a:gd name="connsiteX2" fmla="*/ 0 w 7554"/>
                <a:gd name="connsiteY2" fmla="*/ 3777 h 7554"/>
                <a:gd name="connsiteX3" fmla="*/ 3777 w 7554"/>
                <a:gd name="connsiteY3" fmla="*/ 0 h 7554"/>
                <a:gd name="connsiteX4" fmla="*/ 7554 w 7554"/>
                <a:gd name="connsiteY4" fmla="*/ 3777 h 75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554" h="7554">
                  <a:moveTo>
                    <a:pt x="7554" y="3777"/>
                  </a:moveTo>
                  <a:cubicBezTo>
                    <a:pt x="7554" y="5860"/>
                    <a:pt x="5860" y="7554"/>
                    <a:pt x="3777" y="7554"/>
                  </a:cubicBezTo>
                  <a:cubicBezTo>
                    <a:pt x="1695" y="7554"/>
                    <a:pt x="0" y="5860"/>
                    <a:pt x="0" y="3777"/>
                  </a:cubicBezTo>
                  <a:cubicBezTo>
                    <a:pt x="0" y="1695"/>
                    <a:pt x="1695" y="0"/>
                    <a:pt x="3777" y="0"/>
                  </a:cubicBezTo>
                  <a:cubicBezTo>
                    <a:pt x="5860" y="0"/>
                    <a:pt x="7554" y="1695"/>
                    <a:pt x="7554" y="3777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721" name="Gráfico 9">
            <a:extLst>
              <a:ext uri="{FF2B5EF4-FFF2-40B4-BE49-F238E27FC236}">
                <a16:creationId xmlns:a16="http://schemas.microsoft.com/office/drawing/2014/main" id="{B436E181-204E-F8DC-09C4-795F9AF2CFEA}"/>
              </a:ext>
            </a:extLst>
          </p:cNvPr>
          <p:cNvGrpSpPr/>
          <p:nvPr/>
        </p:nvGrpSpPr>
        <p:grpSpPr>
          <a:xfrm>
            <a:off x="6371139" y="2072585"/>
            <a:ext cx="237336" cy="286537"/>
            <a:chOff x="6371139" y="2072585"/>
            <a:chExt cx="237336" cy="286537"/>
          </a:xfrm>
        </p:grpSpPr>
        <p:sp>
          <p:nvSpPr>
            <p:cNvPr id="722" name="Forma livre: Forma 721">
              <a:extLst>
                <a:ext uri="{FF2B5EF4-FFF2-40B4-BE49-F238E27FC236}">
                  <a16:creationId xmlns:a16="http://schemas.microsoft.com/office/drawing/2014/main" id="{FC4487ED-A0F3-5777-04CD-B7BB217C28BE}"/>
                </a:ext>
              </a:extLst>
            </p:cNvPr>
            <p:cNvSpPr/>
            <p:nvPr/>
          </p:nvSpPr>
          <p:spPr>
            <a:xfrm>
              <a:off x="6423439" y="2182948"/>
              <a:ext cx="132687" cy="132687"/>
            </a:xfrm>
            <a:custGeom>
              <a:avLst/>
              <a:gdLst>
                <a:gd name="connsiteX0" fmla="*/ 132688 w 132687"/>
                <a:gd name="connsiteY0" fmla="*/ 66344 h 132687"/>
                <a:gd name="connsiteX1" fmla="*/ 66344 w 132687"/>
                <a:gd name="connsiteY1" fmla="*/ 132688 h 132687"/>
                <a:gd name="connsiteX2" fmla="*/ 0 w 132687"/>
                <a:gd name="connsiteY2" fmla="*/ 66344 h 132687"/>
                <a:gd name="connsiteX3" fmla="*/ 66344 w 132687"/>
                <a:gd name="connsiteY3" fmla="*/ 0 h 132687"/>
                <a:gd name="connsiteX4" fmla="*/ 132688 w 132687"/>
                <a:gd name="connsiteY4" fmla="*/ 66344 h 1326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2687" h="132687">
                  <a:moveTo>
                    <a:pt x="132688" y="66344"/>
                  </a:moveTo>
                  <a:cubicBezTo>
                    <a:pt x="132688" y="103002"/>
                    <a:pt x="103002" y="132688"/>
                    <a:pt x="66344" y="132688"/>
                  </a:cubicBezTo>
                  <a:cubicBezTo>
                    <a:pt x="29685" y="132688"/>
                    <a:pt x="0" y="103002"/>
                    <a:pt x="0" y="66344"/>
                  </a:cubicBezTo>
                  <a:cubicBezTo>
                    <a:pt x="0" y="29685"/>
                    <a:pt x="29685" y="0"/>
                    <a:pt x="66344" y="0"/>
                  </a:cubicBezTo>
                  <a:cubicBezTo>
                    <a:pt x="103002" y="0"/>
                    <a:pt x="132688" y="29685"/>
                    <a:pt x="132688" y="66344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723" name="Forma livre: Forma 722">
              <a:extLst>
                <a:ext uri="{FF2B5EF4-FFF2-40B4-BE49-F238E27FC236}">
                  <a16:creationId xmlns:a16="http://schemas.microsoft.com/office/drawing/2014/main" id="{6314FBB6-3339-AF8E-8F13-B2701C375316}"/>
                </a:ext>
              </a:extLst>
            </p:cNvPr>
            <p:cNvSpPr/>
            <p:nvPr/>
          </p:nvSpPr>
          <p:spPr>
            <a:xfrm>
              <a:off x="6425522" y="2242821"/>
              <a:ext cx="128523" cy="22534"/>
            </a:xfrm>
            <a:custGeom>
              <a:avLst/>
              <a:gdLst>
                <a:gd name="connsiteX0" fmla="*/ 0 w 128523"/>
                <a:gd name="connsiteY0" fmla="*/ 12185 h 22534"/>
                <a:gd name="connsiteX1" fmla="*/ 58063 w 128523"/>
                <a:gd name="connsiteY1" fmla="*/ 9425 h 22534"/>
                <a:gd name="connsiteX2" fmla="*/ 128523 w 128523"/>
                <a:gd name="connsiteY2" fmla="*/ 8021 h 225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8523" h="22534">
                  <a:moveTo>
                    <a:pt x="0" y="12185"/>
                  </a:moveTo>
                  <a:cubicBezTo>
                    <a:pt x="0" y="12185"/>
                    <a:pt x="27070" y="-13287"/>
                    <a:pt x="58063" y="9425"/>
                  </a:cubicBezTo>
                  <a:cubicBezTo>
                    <a:pt x="58063" y="9425"/>
                    <a:pt x="96756" y="39837"/>
                    <a:pt x="128523" y="8021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724" name="Forma livre: Forma 723">
              <a:extLst>
                <a:ext uri="{FF2B5EF4-FFF2-40B4-BE49-F238E27FC236}">
                  <a16:creationId xmlns:a16="http://schemas.microsoft.com/office/drawing/2014/main" id="{45890178-0102-04CD-A90F-EF11104B2A1E}"/>
                </a:ext>
              </a:extLst>
            </p:cNvPr>
            <p:cNvSpPr/>
            <p:nvPr/>
          </p:nvSpPr>
          <p:spPr>
            <a:xfrm>
              <a:off x="6409396" y="2106144"/>
              <a:ext cx="36610" cy="4842"/>
            </a:xfrm>
            <a:custGeom>
              <a:avLst/>
              <a:gdLst>
                <a:gd name="connsiteX0" fmla="*/ 0 w 36610"/>
                <a:gd name="connsiteY0" fmla="*/ 0 h 4842"/>
                <a:gd name="connsiteX1" fmla="*/ 36610 w 36610"/>
                <a:gd name="connsiteY1" fmla="*/ 0 h 48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6610" h="4842">
                  <a:moveTo>
                    <a:pt x="0" y="0"/>
                  </a:moveTo>
                  <a:lnTo>
                    <a:pt x="3661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725" name="Forma livre: Forma 724">
              <a:extLst>
                <a:ext uri="{FF2B5EF4-FFF2-40B4-BE49-F238E27FC236}">
                  <a16:creationId xmlns:a16="http://schemas.microsoft.com/office/drawing/2014/main" id="{4A6F19BE-EC1B-6C41-69CB-5F73E3356931}"/>
                </a:ext>
              </a:extLst>
            </p:cNvPr>
            <p:cNvSpPr/>
            <p:nvPr/>
          </p:nvSpPr>
          <p:spPr>
            <a:xfrm>
              <a:off x="6371139" y="2072585"/>
              <a:ext cx="237336" cy="286537"/>
            </a:xfrm>
            <a:custGeom>
              <a:avLst/>
              <a:gdLst>
                <a:gd name="connsiteX0" fmla="*/ 0 w 237336"/>
                <a:gd name="connsiteY0" fmla="*/ 92397 h 286537"/>
                <a:gd name="connsiteX1" fmla="*/ 0 w 237336"/>
                <a:gd name="connsiteY1" fmla="*/ 267167 h 286537"/>
                <a:gd name="connsiteX2" fmla="*/ 19370 w 237336"/>
                <a:gd name="connsiteY2" fmla="*/ 286538 h 286537"/>
                <a:gd name="connsiteX3" fmla="*/ 217966 w 237336"/>
                <a:gd name="connsiteY3" fmla="*/ 286538 h 286537"/>
                <a:gd name="connsiteX4" fmla="*/ 237337 w 237336"/>
                <a:gd name="connsiteY4" fmla="*/ 267167 h 286537"/>
                <a:gd name="connsiteX5" fmla="*/ 237337 w 237336"/>
                <a:gd name="connsiteY5" fmla="*/ 19370 h 286537"/>
                <a:gd name="connsiteX6" fmla="*/ 217966 w 237336"/>
                <a:gd name="connsiteY6" fmla="*/ 0 h 286537"/>
                <a:gd name="connsiteX7" fmla="*/ 19370 w 237336"/>
                <a:gd name="connsiteY7" fmla="*/ 0 h 286537"/>
                <a:gd name="connsiteX8" fmla="*/ 0 w 237336"/>
                <a:gd name="connsiteY8" fmla="*/ 19370 h 286537"/>
                <a:gd name="connsiteX9" fmla="*/ 0 w 237336"/>
                <a:gd name="connsiteY9" fmla="*/ 68717 h 286537"/>
                <a:gd name="connsiteX10" fmla="*/ 234286 w 237336"/>
                <a:gd name="connsiteY10" fmla="*/ 68717 h 2865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37336" h="286537">
                  <a:moveTo>
                    <a:pt x="0" y="92397"/>
                  </a:moveTo>
                  <a:lnTo>
                    <a:pt x="0" y="267167"/>
                  </a:lnTo>
                  <a:cubicBezTo>
                    <a:pt x="0" y="277821"/>
                    <a:pt x="8717" y="286538"/>
                    <a:pt x="19370" y="286538"/>
                  </a:cubicBezTo>
                  <a:lnTo>
                    <a:pt x="217966" y="286538"/>
                  </a:lnTo>
                  <a:cubicBezTo>
                    <a:pt x="228620" y="286538"/>
                    <a:pt x="237337" y="277821"/>
                    <a:pt x="237337" y="267167"/>
                  </a:cubicBezTo>
                  <a:lnTo>
                    <a:pt x="237337" y="19370"/>
                  </a:lnTo>
                  <a:cubicBezTo>
                    <a:pt x="237337" y="8717"/>
                    <a:pt x="228620" y="0"/>
                    <a:pt x="217966" y="0"/>
                  </a:cubicBezTo>
                  <a:lnTo>
                    <a:pt x="19370" y="0"/>
                  </a:lnTo>
                  <a:cubicBezTo>
                    <a:pt x="8717" y="0"/>
                    <a:pt x="0" y="8717"/>
                    <a:pt x="0" y="19370"/>
                  </a:cubicBezTo>
                  <a:lnTo>
                    <a:pt x="0" y="68717"/>
                  </a:lnTo>
                  <a:lnTo>
                    <a:pt x="234286" y="68717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726" name="Forma livre: Forma 725">
              <a:extLst>
                <a:ext uri="{FF2B5EF4-FFF2-40B4-BE49-F238E27FC236}">
                  <a16:creationId xmlns:a16="http://schemas.microsoft.com/office/drawing/2014/main" id="{E75B63A8-35F3-A6E4-BF67-93B58F9D05BE}"/>
                </a:ext>
              </a:extLst>
            </p:cNvPr>
            <p:cNvSpPr/>
            <p:nvPr/>
          </p:nvSpPr>
          <p:spPr>
            <a:xfrm>
              <a:off x="6557822" y="2102318"/>
              <a:ext cx="7554" cy="7554"/>
            </a:xfrm>
            <a:custGeom>
              <a:avLst/>
              <a:gdLst>
                <a:gd name="connsiteX0" fmla="*/ 7554 w 7554"/>
                <a:gd name="connsiteY0" fmla="*/ 3777 h 7554"/>
                <a:gd name="connsiteX1" fmla="*/ 3777 w 7554"/>
                <a:gd name="connsiteY1" fmla="*/ 7554 h 7554"/>
                <a:gd name="connsiteX2" fmla="*/ 0 w 7554"/>
                <a:gd name="connsiteY2" fmla="*/ 3777 h 7554"/>
                <a:gd name="connsiteX3" fmla="*/ 3777 w 7554"/>
                <a:gd name="connsiteY3" fmla="*/ 0 h 7554"/>
                <a:gd name="connsiteX4" fmla="*/ 7554 w 7554"/>
                <a:gd name="connsiteY4" fmla="*/ 3777 h 75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554" h="7554">
                  <a:moveTo>
                    <a:pt x="7554" y="3777"/>
                  </a:moveTo>
                  <a:cubicBezTo>
                    <a:pt x="7554" y="5860"/>
                    <a:pt x="5860" y="7554"/>
                    <a:pt x="3777" y="7554"/>
                  </a:cubicBezTo>
                  <a:cubicBezTo>
                    <a:pt x="1695" y="7554"/>
                    <a:pt x="0" y="5860"/>
                    <a:pt x="0" y="3777"/>
                  </a:cubicBezTo>
                  <a:cubicBezTo>
                    <a:pt x="0" y="1695"/>
                    <a:pt x="1695" y="0"/>
                    <a:pt x="3777" y="0"/>
                  </a:cubicBezTo>
                  <a:cubicBezTo>
                    <a:pt x="5860" y="0"/>
                    <a:pt x="7554" y="1695"/>
                    <a:pt x="7554" y="3777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727" name="Forma livre: Forma 726">
              <a:extLst>
                <a:ext uri="{FF2B5EF4-FFF2-40B4-BE49-F238E27FC236}">
                  <a16:creationId xmlns:a16="http://schemas.microsoft.com/office/drawing/2014/main" id="{C3561F7A-A611-0232-FFFF-DD8D9B908ED6}"/>
                </a:ext>
              </a:extLst>
            </p:cNvPr>
            <p:cNvSpPr/>
            <p:nvPr/>
          </p:nvSpPr>
          <p:spPr>
            <a:xfrm>
              <a:off x="6522713" y="2102318"/>
              <a:ext cx="7554" cy="7554"/>
            </a:xfrm>
            <a:custGeom>
              <a:avLst/>
              <a:gdLst>
                <a:gd name="connsiteX0" fmla="*/ 7554 w 7554"/>
                <a:gd name="connsiteY0" fmla="*/ 3777 h 7554"/>
                <a:gd name="connsiteX1" fmla="*/ 3777 w 7554"/>
                <a:gd name="connsiteY1" fmla="*/ 7554 h 7554"/>
                <a:gd name="connsiteX2" fmla="*/ 0 w 7554"/>
                <a:gd name="connsiteY2" fmla="*/ 3777 h 7554"/>
                <a:gd name="connsiteX3" fmla="*/ 3777 w 7554"/>
                <a:gd name="connsiteY3" fmla="*/ 0 h 7554"/>
                <a:gd name="connsiteX4" fmla="*/ 7554 w 7554"/>
                <a:gd name="connsiteY4" fmla="*/ 3777 h 75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554" h="7554">
                  <a:moveTo>
                    <a:pt x="7554" y="3777"/>
                  </a:moveTo>
                  <a:cubicBezTo>
                    <a:pt x="7554" y="5860"/>
                    <a:pt x="5860" y="7554"/>
                    <a:pt x="3777" y="7554"/>
                  </a:cubicBezTo>
                  <a:cubicBezTo>
                    <a:pt x="1695" y="7554"/>
                    <a:pt x="0" y="5860"/>
                    <a:pt x="0" y="3777"/>
                  </a:cubicBezTo>
                  <a:cubicBezTo>
                    <a:pt x="0" y="1695"/>
                    <a:pt x="1695" y="0"/>
                    <a:pt x="3777" y="0"/>
                  </a:cubicBezTo>
                  <a:cubicBezTo>
                    <a:pt x="5860" y="0"/>
                    <a:pt x="7554" y="1695"/>
                    <a:pt x="7554" y="3777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728" name="Gráfico 9">
            <a:extLst>
              <a:ext uri="{FF2B5EF4-FFF2-40B4-BE49-F238E27FC236}">
                <a16:creationId xmlns:a16="http://schemas.microsoft.com/office/drawing/2014/main" id="{E33EDC3C-7797-61ED-CBA4-C74324822DA6}"/>
              </a:ext>
            </a:extLst>
          </p:cNvPr>
          <p:cNvGrpSpPr/>
          <p:nvPr/>
        </p:nvGrpSpPr>
        <p:grpSpPr>
          <a:xfrm>
            <a:off x="6307018" y="2600866"/>
            <a:ext cx="370223" cy="296772"/>
            <a:chOff x="6307018" y="2600866"/>
            <a:chExt cx="370223" cy="296772"/>
          </a:xfrm>
          <a:noFill/>
        </p:grpSpPr>
        <p:sp>
          <p:nvSpPr>
            <p:cNvPr id="729" name="Forma livre: Forma 728">
              <a:extLst>
                <a:ext uri="{FF2B5EF4-FFF2-40B4-BE49-F238E27FC236}">
                  <a16:creationId xmlns:a16="http://schemas.microsoft.com/office/drawing/2014/main" id="{1624B56D-920A-9434-2C23-561FE867048D}"/>
                </a:ext>
              </a:extLst>
            </p:cNvPr>
            <p:cNvSpPr/>
            <p:nvPr/>
          </p:nvSpPr>
          <p:spPr>
            <a:xfrm>
              <a:off x="6577967" y="2853311"/>
              <a:ext cx="64455" cy="4842"/>
            </a:xfrm>
            <a:custGeom>
              <a:avLst/>
              <a:gdLst>
                <a:gd name="connsiteX0" fmla="*/ 0 w 64455"/>
                <a:gd name="connsiteY0" fmla="*/ 0 h 4842"/>
                <a:gd name="connsiteX1" fmla="*/ 64455 w 64455"/>
                <a:gd name="connsiteY1" fmla="*/ 0 h 48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4455" h="4842">
                  <a:moveTo>
                    <a:pt x="0" y="0"/>
                  </a:moveTo>
                  <a:lnTo>
                    <a:pt x="64455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730" name="Forma livre: Forma 729">
              <a:extLst>
                <a:ext uri="{FF2B5EF4-FFF2-40B4-BE49-F238E27FC236}">
                  <a16:creationId xmlns:a16="http://schemas.microsoft.com/office/drawing/2014/main" id="{918C83B2-4886-A849-D67D-C09F12859179}"/>
                </a:ext>
              </a:extLst>
            </p:cNvPr>
            <p:cNvSpPr/>
            <p:nvPr/>
          </p:nvSpPr>
          <p:spPr>
            <a:xfrm>
              <a:off x="6466442" y="2683578"/>
              <a:ext cx="163196" cy="139176"/>
            </a:xfrm>
            <a:custGeom>
              <a:avLst/>
              <a:gdLst>
                <a:gd name="connsiteX0" fmla="*/ 0 w 163196"/>
                <a:gd name="connsiteY0" fmla="*/ 36998 h 139176"/>
                <a:gd name="connsiteX1" fmla="*/ 0 w 163196"/>
                <a:gd name="connsiteY1" fmla="*/ 0 h 139176"/>
                <a:gd name="connsiteX2" fmla="*/ 163196 w 163196"/>
                <a:gd name="connsiteY2" fmla="*/ 0 h 139176"/>
                <a:gd name="connsiteX3" fmla="*/ 163196 w 163196"/>
                <a:gd name="connsiteY3" fmla="*/ 105279 h 139176"/>
                <a:gd name="connsiteX4" fmla="*/ 129298 w 163196"/>
                <a:gd name="connsiteY4" fmla="*/ 139177 h 139176"/>
                <a:gd name="connsiteX5" fmla="*/ 96998 w 163196"/>
                <a:gd name="connsiteY5" fmla="*/ 139177 h 1391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63196" h="139176">
                  <a:moveTo>
                    <a:pt x="0" y="36998"/>
                  </a:moveTo>
                  <a:lnTo>
                    <a:pt x="0" y="0"/>
                  </a:lnTo>
                  <a:lnTo>
                    <a:pt x="163196" y="0"/>
                  </a:lnTo>
                  <a:lnTo>
                    <a:pt x="163196" y="105279"/>
                  </a:lnTo>
                  <a:cubicBezTo>
                    <a:pt x="163196" y="123923"/>
                    <a:pt x="147942" y="139177"/>
                    <a:pt x="129298" y="139177"/>
                  </a:cubicBezTo>
                  <a:lnTo>
                    <a:pt x="96998" y="139177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731" name="Forma livre: Forma 730">
              <a:extLst>
                <a:ext uri="{FF2B5EF4-FFF2-40B4-BE49-F238E27FC236}">
                  <a16:creationId xmlns:a16="http://schemas.microsoft.com/office/drawing/2014/main" id="{6F05BF36-692B-2126-6A86-FAE2EEF9860C}"/>
                </a:ext>
              </a:extLst>
            </p:cNvPr>
            <p:cNvSpPr/>
            <p:nvPr/>
          </p:nvSpPr>
          <p:spPr>
            <a:xfrm>
              <a:off x="6513041" y="2600866"/>
              <a:ext cx="12124" cy="53946"/>
            </a:xfrm>
            <a:custGeom>
              <a:avLst/>
              <a:gdLst>
                <a:gd name="connsiteX0" fmla="*/ 3619 w 12124"/>
                <a:gd name="connsiteY0" fmla="*/ 53947 h 53946"/>
                <a:gd name="connsiteX1" fmla="*/ 5943 w 12124"/>
                <a:gd name="connsiteY1" fmla="*/ 26731 h 53946"/>
                <a:gd name="connsiteX2" fmla="*/ 5943 w 12124"/>
                <a:gd name="connsiteY2" fmla="*/ 26731 h 53946"/>
                <a:gd name="connsiteX3" fmla="*/ 8558 w 12124"/>
                <a:gd name="connsiteY3" fmla="*/ 0 h 539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124" h="53946">
                  <a:moveTo>
                    <a:pt x="3619" y="53947"/>
                  </a:moveTo>
                  <a:cubicBezTo>
                    <a:pt x="14176" y="45860"/>
                    <a:pt x="14854" y="35157"/>
                    <a:pt x="5943" y="26731"/>
                  </a:cubicBezTo>
                  <a:lnTo>
                    <a:pt x="5943" y="26731"/>
                  </a:lnTo>
                  <a:cubicBezTo>
                    <a:pt x="-2773" y="18354"/>
                    <a:pt x="-1902" y="7990"/>
                    <a:pt x="8558" y="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732" name="Forma livre: Forma 731">
              <a:extLst>
                <a:ext uri="{FF2B5EF4-FFF2-40B4-BE49-F238E27FC236}">
                  <a16:creationId xmlns:a16="http://schemas.microsoft.com/office/drawing/2014/main" id="{7033DC32-F67B-5E19-0646-2C31DDB395A3}"/>
                </a:ext>
              </a:extLst>
            </p:cNvPr>
            <p:cNvSpPr/>
            <p:nvPr/>
          </p:nvSpPr>
          <p:spPr>
            <a:xfrm>
              <a:off x="6325979" y="2773747"/>
              <a:ext cx="95329" cy="110322"/>
            </a:xfrm>
            <a:custGeom>
              <a:avLst/>
              <a:gdLst>
                <a:gd name="connsiteX0" fmla="*/ 37848 w 95329"/>
                <a:gd name="connsiteY0" fmla="*/ 0 h 110322"/>
                <a:gd name="connsiteX1" fmla="*/ 9470 w 95329"/>
                <a:gd name="connsiteY1" fmla="*/ 15351 h 110322"/>
                <a:gd name="connsiteX2" fmla="*/ 27 w 95329"/>
                <a:gd name="connsiteY2" fmla="*/ 33753 h 110322"/>
                <a:gd name="connsiteX3" fmla="*/ 9470 w 95329"/>
                <a:gd name="connsiteY3" fmla="*/ 55642 h 110322"/>
                <a:gd name="connsiteX4" fmla="*/ 66613 w 95329"/>
                <a:gd name="connsiteY4" fmla="*/ 105811 h 110322"/>
                <a:gd name="connsiteX5" fmla="*/ 95330 w 95329"/>
                <a:gd name="connsiteY5" fmla="*/ 100823 h 1103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5329" h="110322">
                  <a:moveTo>
                    <a:pt x="37848" y="0"/>
                  </a:moveTo>
                  <a:cubicBezTo>
                    <a:pt x="28453" y="1792"/>
                    <a:pt x="17460" y="5956"/>
                    <a:pt x="9470" y="15351"/>
                  </a:cubicBezTo>
                  <a:cubicBezTo>
                    <a:pt x="9470" y="15351"/>
                    <a:pt x="511" y="24794"/>
                    <a:pt x="27" y="33753"/>
                  </a:cubicBezTo>
                  <a:cubicBezTo>
                    <a:pt x="27" y="33753"/>
                    <a:pt x="-990" y="43680"/>
                    <a:pt x="9470" y="55642"/>
                  </a:cubicBezTo>
                  <a:lnTo>
                    <a:pt x="66613" y="105811"/>
                  </a:lnTo>
                  <a:cubicBezTo>
                    <a:pt x="66613" y="105811"/>
                    <a:pt x="83368" y="118741"/>
                    <a:pt x="95330" y="100823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733" name="Forma livre: Forma 732">
              <a:extLst>
                <a:ext uri="{FF2B5EF4-FFF2-40B4-BE49-F238E27FC236}">
                  <a16:creationId xmlns:a16="http://schemas.microsoft.com/office/drawing/2014/main" id="{95EA69D0-6E3B-590A-5112-9A1591F67A5C}"/>
                </a:ext>
              </a:extLst>
            </p:cNvPr>
            <p:cNvSpPr/>
            <p:nvPr/>
          </p:nvSpPr>
          <p:spPr>
            <a:xfrm>
              <a:off x="6447701" y="2772495"/>
              <a:ext cx="95329" cy="111575"/>
            </a:xfrm>
            <a:custGeom>
              <a:avLst/>
              <a:gdLst>
                <a:gd name="connsiteX0" fmla="*/ 0 w 95329"/>
                <a:gd name="connsiteY0" fmla="*/ 102076 h 111575"/>
                <a:gd name="connsiteX1" fmla="*/ 28717 w 95329"/>
                <a:gd name="connsiteY1" fmla="*/ 107064 h 111575"/>
                <a:gd name="connsiteX2" fmla="*/ 85860 w 95329"/>
                <a:gd name="connsiteY2" fmla="*/ 56894 h 111575"/>
                <a:gd name="connsiteX3" fmla="*/ 95303 w 95329"/>
                <a:gd name="connsiteY3" fmla="*/ 35006 h 111575"/>
                <a:gd name="connsiteX4" fmla="*/ 85860 w 95329"/>
                <a:gd name="connsiteY4" fmla="*/ 16604 h 111575"/>
                <a:gd name="connsiteX5" fmla="*/ 38644 w 95329"/>
                <a:gd name="connsiteY5" fmla="*/ 236 h 111575"/>
                <a:gd name="connsiteX6" fmla="*/ 35835 w 95329"/>
                <a:gd name="connsiteY6" fmla="*/ 914 h 1115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95329" h="111575">
                  <a:moveTo>
                    <a:pt x="0" y="102076"/>
                  </a:moveTo>
                  <a:cubicBezTo>
                    <a:pt x="11913" y="119994"/>
                    <a:pt x="28717" y="107064"/>
                    <a:pt x="28717" y="107064"/>
                  </a:cubicBezTo>
                  <a:lnTo>
                    <a:pt x="85860" y="56894"/>
                  </a:lnTo>
                  <a:cubicBezTo>
                    <a:pt x="96320" y="44981"/>
                    <a:pt x="95303" y="35006"/>
                    <a:pt x="95303" y="35006"/>
                  </a:cubicBezTo>
                  <a:cubicBezTo>
                    <a:pt x="94818" y="26047"/>
                    <a:pt x="85860" y="16604"/>
                    <a:pt x="85860" y="16604"/>
                  </a:cubicBezTo>
                  <a:cubicBezTo>
                    <a:pt x="68959" y="-3251"/>
                    <a:pt x="38644" y="236"/>
                    <a:pt x="38644" y="236"/>
                  </a:cubicBezTo>
                  <a:lnTo>
                    <a:pt x="35835" y="914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734" name="Forma livre: Forma 733">
              <a:extLst>
                <a:ext uri="{FF2B5EF4-FFF2-40B4-BE49-F238E27FC236}">
                  <a16:creationId xmlns:a16="http://schemas.microsoft.com/office/drawing/2014/main" id="{7811669F-5BC3-FF1E-268C-CABDAD3E2A6F}"/>
                </a:ext>
              </a:extLst>
            </p:cNvPr>
            <p:cNvSpPr/>
            <p:nvPr/>
          </p:nvSpPr>
          <p:spPr>
            <a:xfrm>
              <a:off x="6483827" y="2826677"/>
              <a:ext cx="78310" cy="70961"/>
            </a:xfrm>
            <a:custGeom>
              <a:avLst/>
              <a:gdLst>
                <a:gd name="connsiteX0" fmla="*/ 53269 w 78310"/>
                <a:gd name="connsiteY0" fmla="*/ 0 h 70961"/>
                <a:gd name="connsiteX1" fmla="*/ 55690 w 78310"/>
                <a:gd name="connsiteY1" fmla="*/ 2712 h 70961"/>
                <a:gd name="connsiteX2" fmla="*/ 78063 w 78310"/>
                <a:gd name="connsiteY2" fmla="*/ 48426 h 70961"/>
                <a:gd name="connsiteX3" fmla="*/ 66150 w 78310"/>
                <a:gd name="connsiteY3" fmla="*/ 70315 h 70961"/>
                <a:gd name="connsiteX4" fmla="*/ 3341 w 78310"/>
                <a:gd name="connsiteY4" fmla="*/ 50218 h 70961"/>
                <a:gd name="connsiteX5" fmla="*/ 0 w 78310"/>
                <a:gd name="connsiteY5" fmla="*/ 47845 h 709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8310" h="70961">
                  <a:moveTo>
                    <a:pt x="53269" y="0"/>
                  </a:moveTo>
                  <a:lnTo>
                    <a:pt x="55690" y="2712"/>
                  </a:lnTo>
                  <a:cubicBezTo>
                    <a:pt x="55690" y="2712"/>
                    <a:pt x="77046" y="26537"/>
                    <a:pt x="78063" y="48426"/>
                  </a:cubicBezTo>
                  <a:cubicBezTo>
                    <a:pt x="78063" y="48426"/>
                    <a:pt x="81065" y="67797"/>
                    <a:pt x="66150" y="70315"/>
                  </a:cubicBezTo>
                  <a:cubicBezTo>
                    <a:pt x="66150" y="70315"/>
                    <a:pt x="40581" y="76562"/>
                    <a:pt x="3341" y="50218"/>
                  </a:cubicBezTo>
                  <a:lnTo>
                    <a:pt x="0" y="47845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735" name="Forma livre: Forma 734">
              <a:extLst>
                <a:ext uri="{FF2B5EF4-FFF2-40B4-BE49-F238E27FC236}">
                  <a16:creationId xmlns:a16="http://schemas.microsoft.com/office/drawing/2014/main" id="{DE243CB4-0A75-8F9A-E44C-62898DF2E55B}"/>
                </a:ext>
              </a:extLst>
            </p:cNvPr>
            <p:cNvSpPr/>
            <p:nvPr/>
          </p:nvSpPr>
          <p:spPr>
            <a:xfrm>
              <a:off x="6386821" y="2736459"/>
              <a:ext cx="95511" cy="153075"/>
            </a:xfrm>
            <a:custGeom>
              <a:avLst/>
              <a:gdLst>
                <a:gd name="connsiteX0" fmla="*/ 48434 w 95511"/>
                <a:gd name="connsiteY0" fmla="*/ 0 h 153075"/>
                <a:gd name="connsiteX1" fmla="*/ 93470 w 95511"/>
                <a:gd name="connsiteY1" fmla="*/ 21356 h 153075"/>
                <a:gd name="connsiteX2" fmla="*/ 91969 w 95511"/>
                <a:gd name="connsiteY2" fmla="*/ 54673 h 153075"/>
                <a:gd name="connsiteX3" fmla="*/ 57683 w 95511"/>
                <a:gd name="connsiteY3" fmla="*/ 145133 h 153075"/>
                <a:gd name="connsiteX4" fmla="*/ 47562 w 95511"/>
                <a:gd name="connsiteY4" fmla="*/ 153075 h 153075"/>
                <a:gd name="connsiteX5" fmla="*/ 47562 w 95511"/>
                <a:gd name="connsiteY5" fmla="*/ 153075 h 153075"/>
                <a:gd name="connsiteX6" fmla="*/ 37829 w 95511"/>
                <a:gd name="connsiteY6" fmla="*/ 145133 h 153075"/>
                <a:gd name="connsiteX7" fmla="*/ 3543 w 95511"/>
                <a:gd name="connsiteY7" fmla="*/ 54673 h 153075"/>
                <a:gd name="connsiteX8" fmla="*/ 2042 w 95511"/>
                <a:gd name="connsiteY8" fmla="*/ 21356 h 153075"/>
                <a:gd name="connsiteX9" fmla="*/ 47030 w 95511"/>
                <a:gd name="connsiteY9" fmla="*/ 0 h 153075"/>
                <a:gd name="connsiteX10" fmla="*/ 48434 w 95511"/>
                <a:gd name="connsiteY10" fmla="*/ 0 h 1530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95511" h="153075">
                  <a:moveTo>
                    <a:pt x="48434" y="0"/>
                  </a:moveTo>
                  <a:cubicBezTo>
                    <a:pt x="56473" y="194"/>
                    <a:pt x="84124" y="2325"/>
                    <a:pt x="93470" y="21356"/>
                  </a:cubicBezTo>
                  <a:cubicBezTo>
                    <a:pt x="93470" y="21356"/>
                    <a:pt x="98942" y="35254"/>
                    <a:pt x="91969" y="54673"/>
                  </a:cubicBezTo>
                  <a:lnTo>
                    <a:pt x="57683" y="145133"/>
                  </a:lnTo>
                  <a:cubicBezTo>
                    <a:pt x="57683" y="145133"/>
                    <a:pt x="55407" y="152639"/>
                    <a:pt x="47562" y="153075"/>
                  </a:cubicBezTo>
                  <a:lnTo>
                    <a:pt x="47562" y="153075"/>
                  </a:lnTo>
                  <a:cubicBezTo>
                    <a:pt x="39717" y="152639"/>
                    <a:pt x="37829" y="145133"/>
                    <a:pt x="37829" y="145133"/>
                  </a:cubicBezTo>
                  <a:lnTo>
                    <a:pt x="3543" y="54673"/>
                  </a:lnTo>
                  <a:cubicBezTo>
                    <a:pt x="-3431" y="35303"/>
                    <a:pt x="2042" y="21356"/>
                    <a:pt x="2042" y="21356"/>
                  </a:cubicBezTo>
                  <a:cubicBezTo>
                    <a:pt x="11339" y="2325"/>
                    <a:pt x="39039" y="194"/>
                    <a:pt x="47030" y="0"/>
                  </a:cubicBezTo>
                  <a:lnTo>
                    <a:pt x="48434" y="0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736" name="Forma livre: Forma 735">
              <a:extLst>
                <a:ext uri="{FF2B5EF4-FFF2-40B4-BE49-F238E27FC236}">
                  <a16:creationId xmlns:a16="http://schemas.microsoft.com/office/drawing/2014/main" id="{14F69281-7B9B-2F8A-1977-78077BB79D8B}"/>
                </a:ext>
              </a:extLst>
            </p:cNvPr>
            <p:cNvSpPr/>
            <p:nvPr/>
          </p:nvSpPr>
          <p:spPr>
            <a:xfrm>
              <a:off x="6562339" y="2600866"/>
              <a:ext cx="12124" cy="53946"/>
            </a:xfrm>
            <a:custGeom>
              <a:avLst/>
              <a:gdLst>
                <a:gd name="connsiteX0" fmla="*/ 3619 w 12124"/>
                <a:gd name="connsiteY0" fmla="*/ 53947 h 53946"/>
                <a:gd name="connsiteX1" fmla="*/ 5943 w 12124"/>
                <a:gd name="connsiteY1" fmla="*/ 26731 h 53946"/>
                <a:gd name="connsiteX2" fmla="*/ 5943 w 12124"/>
                <a:gd name="connsiteY2" fmla="*/ 26731 h 53946"/>
                <a:gd name="connsiteX3" fmla="*/ 8558 w 12124"/>
                <a:gd name="connsiteY3" fmla="*/ 0 h 539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124" h="53946">
                  <a:moveTo>
                    <a:pt x="3619" y="53947"/>
                  </a:moveTo>
                  <a:cubicBezTo>
                    <a:pt x="14176" y="45860"/>
                    <a:pt x="14854" y="35157"/>
                    <a:pt x="5943" y="26731"/>
                  </a:cubicBezTo>
                  <a:lnTo>
                    <a:pt x="5943" y="26731"/>
                  </a:lnTo>
                  <a:cubicBezTo>
                    <a:pt x="-2773" y="18354"/>
                    <a:pt x="-1902" y="7990"/>
                    <a:pt x="8558" y="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737" name="Forma livre: Forma 736">
              <a:extLst>
                <a:ext uri="{FF2B5EF4-FFF2-40B4-BE49-F238E27FC236}">
                  <a16:creationId xmlns:a16="http://schemas.microsoft.com/office/drawing/2014/main" id="{058BDE59-79DC-4338-C749-FC2D1B10D8FF}"/>
                </a:ext>
              </a:extLst>
            </p:cNvPr>
            <p:cNvSpPr/>
            <p:nvPr/>
          </p:nvSpPr>
          <p:spPr>
            <a:xfrm>
              <a:off x="6629832" y="2714619"/>
              <a:ext cx="47409" cy="59806"/>
            </a:xfrm>
            <a:custGeom>
              <a:avLst/>
              <a:gdLst>
                <a:gd name="connsiteX0" fmla="*/ 0 w 47409"/>
                <a:gd name="connsiteY0" fmla="*/ 3729 h 59806"/>
                <a:gd name="connsiteX1" fmla="*/ 15448 w 47409"/>
                <a:gd name="connsiteY1" fmla="*/ 0 h 59806"/>
                <a:gd name="connsiteX2" fmla="*/ 47409 w 47409"/>
                <a:gd name="connsiteY2" fmla="*/ 29879 h 59806"/>
                <a:gd name="connsiteX3" fmla="*/ 15448 w 47409"/>
                <a:gd name="connsiteY3" fmla="*/ 59806 h 59806"/>
                <a:gd name="connsiteX4" fmla="*/ 97 w 47409"/>
                <a:gd name="connsiteY4" fmla="*/ 56126 h 59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7409" h="59806">
                  <a:moveTo>
                    <a:pt x="0" y="3729"/>
                  </a:moveTo>
                  <a:cubicBezTo>
                    <a:pt x="4600" y="1356"/>
                    <a:pt x="9831" y="0"/>
                    <a:pt x="15448" y="0"/>
                  </a:cubicBezTo>
                  <a:cubicBezTo>
                    <a:pt x="33123" y="0"/>
                    <a:pt x="47409" y="13414"/>
                    <a:pt x="47409" y="29879"/>
                  </a:cubicBezTo>
                  <a:cubicBezTo>
                    <a:pt x="47409" y="46344"/>
                    <a:pt x="33123" y="59806"/>
                    <a:pt x="15448" y="59806"/>
                  </a:cubicBezTo>
                  <a:cubicBezTo>
                    <a:pt x="9879" y="59806"/>
                    <a:pt x="4649" y="58450"/>
                    <a:pt x="97" y="56126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738" name="Forma livre: Forma 737">
              <a:extLst>
                <a:ext uri="{FF2B5EF4-FFF2-40B4-BE49-F238E27FC236}">
                  <a16:creationId xmlns:a16="http://schemas.microsoft.com/office/drawing/2014/main" id="{883523DA-1FD9-41D5-B6BB-E95DFD2A25A9}"/>
                </a:ext>
              </a:extLst>
            </p:cNvPr>
            <p:cNvSpPr/>
            <p:nvPr/>
          </p:nvSpPr>
          <p:spPr>
            <a:xfrm>
              <a:off x="6307018" y="2826677"/>
              <a:ext cx="78310" cy="70961"/>
            </a:xfrm>
            <a:custGeom>
              <a:avLst/>
              <a:gdLst>
                <a:gd name="connsiteX0" fmla="*/ 25042 w 78310"/>
                <a:gd name="connsiteY0" fmla="*/ 0 h 70961"/>
                <a:gd name="connsiteX1" fmla="*/ 22620 w 78310"/>
                <a:gd name="connsiteY1" fmla="*/ 2712 h 70961"/>
                <a:gd name="connsiteX2" fmla="*/ 247 w 78310"/>
                <a:gd name="connsiteY2" fmla="*/ 48426 h 70961"/>
                <a:gd name="connsiteX3" fmla="*/ 12160 w 78310"/>
                <a:gd name="connsiteY3" fmla="*/ 70315 h 70961"/>
                <a:gd name="connsiteX4" fmla="*/ 74969 w 78310"/>
                <a:gd name="connsiteY4" fmla="*/ 50218 h 70961"/>
                <a:gd name="connsiteX5" fmla="*/ 78310 w 78310"/>
                <a:gd name="connsiteY5" fmla="*/ 47845 h 709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8310" h="70961">
                  <a:moveTo>
                    <a:pt x="25042" y="0"/>
                  </a:moveTo>
                  <a:lnTo>
                    <a:pt x="22620" y="2712"/>
                  </a:lnTo>
                  <a:cubicBezTo>
                    <a:pt x="22620" y="2712"/>
                    <a:pt x="1264" y="26537"/>
                    <a:pt x="247" y="48426"/>
                  </a:cubicBezTo>
                  <a:cubicBezTo>
                    <a:pt x="247" y="48426"/>
                    <a:pt x="-2755" y="67797"/>
                    <a:pt x="12160" y="70315"/>
                  </a:cubicBezTo>
                  <a:cubicBezTo>
                    <a:pt x="12160" y="70315"/>
                    <a:pt x="37729" y="76562"/>
                    <a:pt x="74969" y="50218"/>
                  </a:cubicBezTo>
                  <a:lnTo>
                    <a:pt x="78310" y="47845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739" name="Gráfico 9">
            <a:extLst>
              <a:ext uri="{FF2B5EF4-FFF2-40B4-BE49-F238E27FC236}">
                <a16:creationId xmlns:a16="http://schemas.microsoft.com/office/drawing/2014/main" id="{6997AE63-9A82-7213-2BFC-B9A6411EB4E4}"/>
              </a:ext>
            </a:extLst>
          </p:cNvPr>
          <p:cNvGrpSpPr/>
          <p:nvPr/>
        </p:nvGrpSpPr>
        <p:grpSpPr>
          <a:xfrm>
            <a:off x="6375062" y="3155151"/>
            <a:ext cx="273656" cy="279903"/>
            <a:chOff x="6375062" y="3155151"/>
            <a:chExt cx="273656" cy="279903"/>
          </a:xfrm>
          <a:noFill/>
        </p:grpSpPr>
        <p:sp>
          <p:nvSpPr>
            <p:cNvPr id="740" name="Forma livre: Forma 739">
              <a:extLst>
                <a:ext uri="{FF2B5EF4-FFF2-40B4-BE49-F238E27FC236}">
                  <a16:creationId xmlns:a16="http://schemas.microsoft.com/office/drawing/2014/main" id="{D9770AA4-F2DD-0950-5C8C-608F40C510E8}"/>
                </a:ext>
              </a:extLst>
            </p:cNvPr>
            <p:cNvSpPr/>
            <p:nvPr/>
          </p:nvSpPr>
          <p:spPr>
            <a:xfrm>
              <a:off x="6419420" y="3205806"/>
              <a:ext cx="149152" cy="184891"/>
            </a:xfrm>
            <a:custGeom>
              <a:avLst/>
              <a:gdLst>
                <a:gd name="connsiteX0" fmla="*/ 149153 w 149152"/>
                <a:gd name="connsiteY0" fmla="*/ 165472 h 184891"/>
                <a:gd name="connsiteX1" fmla="*/ 92446 w 149152"/>
                <a:gd name="connsiteY1" fmla="*/ 184891 h 184891"/>
                <a:gd name="connsiteX2" fmla="*/ 0 w 149152"/>
                <a:gd name="connsiteY2" fmla="*/ 92446 h 184891"/>
                <a:gd name="connsiteX3" fmla="*/ 92446 w 149152"/>
                <a:gd name="connsiteY3" fmla="*/ 0 h 184891"/>
                <a:gd name="connsiteX4" fmla="*/ 131187 w 149152"/>
                <a:gd name="connsiteY4" fmla="*/ 8475 h 1848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9152" h="184891">
                  <a:moveTo>
                    <a:pt x="149153" y="165472"/>
                  </a:moveTo>
                  <a:cubicBezTo>
                    <a:pt x="133511" y="177627"/>
                    <a:pt x="113802" y="184891"/>
                    <a:pt x="92446" y="184891"/>
                  </a:cubicBezTo>
                  <a:cubicBezTo>
                    <a:pt x="41404" y="184891"/>
                    <a:pt x="0" y="143487"/>
                    <a:pt x="0" y="92446"/>
                  </a:cubicBezTo>
                  <a:cubicBezTo>
                    <a:pt x="0" y="41404"/>
                    <a:pt x="41404" y="0"/>
                    <a:pt x="92446" y="0"/>
                  </a:cubicBezTo>
                  <a:cubicBezTo>
                    <a:pt x="106295" y="0"/>
                    <a:pt x="119419" y="3051"/>
                    <a:pt x="131187" y="8475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741" name="Forma livre: Forma 740">
              <a:extLst>
                <a:ext uri="{FF2B5EF4-FFF2-40B4-BE49-F238E27FC236}">
                  <a16:creationId xmlns:a16="http://schemas.microsoft.com/office/drawing/2014/main" id="{E4D684FC-A78F-5F11-40BD-DA74BC1DA1FB}"/>
                </a:ext>
              </a:extLst>
            </p:cNvPr>
            <p:cNvSpPr/>
            <p:nvPr/>
          </p:nvSpPr>
          <p:spPr>
            <a:xfrm>
              <a:off x="6375062" y="3155151"/>
              <a:ext cx="273656" cy="279903"/>
            </a:xfrm>
            <a:custGeom>
              <a:avLst/>
              <a:gdLst>
                <a:gd name="connsiteX0" fmla="*/ 273656 w 273656"/>
                <a:gd name="connsiteY0" fmla="*/ 143100 h 279903"/>
                <a:gd name="connsiteX1" fmla="*/ 136804 w 273656"/>
                <a:gd name="connsiteY1" fmla="*/ 279904 h 279903"/>
                <a:gd name="connsiteX2" fmla="*/ 0 w 273656"/>
                <a:gd name="connsiteY2" fmla="*/ 143100 h 279903"/>
                <a:gd name="connsiteX3" fmla="*/ 136804 w 273656"/>
                <a:gd name="connsiteY3" fmla="*/ 6296 h 279903"/>
                <a:gd name="connsiteX4" fmla="*/ 199710 w 273656"/>
                <a:gd name="connsiteY4" fmla="*/ 21647 h 279903"/>
                <a:gd name="connsiteX5" fmla="*/ 210605 w 273656"/>
                <a:gd name="connsiteY5" fmla="*/ 2083 h 279903"/>
                <a:gd name="connsiteX6" fmla="*/ 215206 w 273656"/>
                <a:gd name="connsiteY6" fmla="*/ 49 h 279903"/>
                <a:gd name="connsiteX7" fmla="*/ 220775 w 273656"/>
                <a:gd name="connsiteY7" fmla="*/ 4068 h 279903"/>
                <a:gd name="connsiteX8" fmla="*/ 234528 w 273656"/>
                <a:gd name="connsiteY8" fmla="*/ 60969 h 279903"/>
                <a:gd name="connsiteX9" fmla="*/ 229589 w 273656"/>
                <a:gd name="connsiteY9" fmla="*/ 69783 h 279903"/>
                <a:gd name="connsiteX10" fmla="*/ 173898 w 273656"/>
                <a:gd name="connsiteY10" fmla="*/ 87458 h 2799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73656" h="279903">
                  <a:moveTo>
                    <a:pt x="273656" y="143100"/>
                  </a:moveTo>
                  <a:cubicBezTo>
                    <a:pt x="273656" y="218645"/>
                    <a:pt x="212397" y="279904"/>
                    <a:pt x="136804" y="279904"/>
                  </a:cubicBezTo>
                  <a:cubicBezTo>
                    <a:pt x="61211" y="279904"/>
                    <a:pt x="0" y="218645"/>
                    <a:pt x="0" y="143100"/>
                  </a:cubicBezTo>
                  <a:cubicBezTo>
                    <a:pt x="0" y="67555"/>
                    <a:pt x="61259" y="6296"/>
                    <a:pt x="136804" y="6296"/>
                  </a:cubicBezTo>
                  <a:cubicBezTo>
                    <a:pt x="159661" y="6296"/>
                    <a:pt x="180775" y="11768"/>
                    <a:pt x="199710" y="21647"/>
                  </a:cubicBezTo>
                  <a:lnTo>
                    <a:pt x="210605" y="2083"/>
                  </a:lnTo>
                  <a:cubicBezTo>
                    <a:pt x="211816" y="-48"/>
                    <a:pt x="213995" y="-96"/>
                    <a:pt x="215206" y="49"/>
                  </a:cubicBezTo>
                  <a:cubicBezTo>
                    <a:pt x="217773" y="339"/>
                    <a:pt x="220242" y="2131"/>
                    <a:pt x="220775" y="4068"/>
                  </a:cubicBezTo>
                  <a:lnTo>
                    <a:pt x="234528" y="60969"/>
                  </a:lnTo>
                  <a:cubicBezTo>
                    <a:pt x="235593" y="64746"/>
                    <a:pt x="233366" y="68717"/>
                    <a:pt x="229589" y="69783"/>
                  </a:cubicBezTo>
                  <a:lnTo>
                    <a:pt x="173898" y="87458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742" name="Gráfico 9">
              <a:extLst>
                <a:ext uri="{FF2B5EF4-FFF2-40B4-BE49-F238E27FC236}">
                  <a16:creationId xmlns:a16="http://schemas.microsoft.com/office/drawing/2014/main" id="{62712C7A-B30C-4EDA-701C-722D5BE7264A}"/>
                </a:ext>
              </a:extLst>
            </p:cNvPr>
            <p:cNvGrpSpPr/>
            <p:nvPr/>
          </p:nvGrpSpPr>
          <p:grpSpPr>
            <a:xfrm>
              <a:off x="6475158" y="3268517"/>
              <a:ext cx="99467" cy="66731"/>
              <a:chOff x="6475158" y="3268517"/>
              <a:chExt cx="99467" cy="66731"/>
            </a:xfrm>
            <a:noFill/>
          </p:grpSpPr>
          <p:sp>
            <p:nvSpPr>
              <p:cNvPr id="743" name="Forma livre: Forma 742">
                <a:extLst>
                  <a:ext uri="{FF2B5EF4-FFF2-40B4-BE49-F238E27FC236}">
                    <a16:creationId xmlns:a16="http://schemas.microsoft.com/office/drawing/2014/main" id="{B7057EAA-B483-12FD-97FD-043C0C5C58AD}"/>
                  </a:ext>
                </a:extLst>
              </p:cNvPr>
              <p:cNvSpPr/>
              <p:nvPr/>
            </p:nvSpPr>
            <p:spPr>
              <a:xfrm>
                <a:off x="6524553" y="3268517"/>
                <a:ext cx="50072" cy="66731"/>
              </a:xfrm>
              <a:custGeom>
                <a:avLst/>
                <a:gdLst>
                  <a:gd name="connsiteX0" fmla="*/ 30847 w 50072"/>
                  <a:gd name="connsiteY0" fmla="*/ 66731 h 66731"/>
                  <a:gd name="connsiteX1" fmla="*/ 30847 w 50072"/>
                  <a:gd name="connsiteY1" fmla="*/ 0 h 66731"/>
                  <a:gd name="connsiteX2" fmla="*/ 0 w 50072"/>
                  <a:gd name="connsiteY2" fmla="*/ 45327 h 66731"/>
                  <a:gd name="connsiteX3" fmla="*/ 50073 w 50072"/>
                  <a:gd name="connsiteY3" fmla="*/ 45327 h 667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0072" h="66731">
                    <a:moveTo>
                      <a:pt x="30847" y="66731"/>
                    </a:moveTo>
                    <a:lnTo>
                      <a:pt x="30847" y="0"/>
                    </a:lnTo>
                    <a:lnTo>
                      <a:pt x="0" y="45327"/>
                    </a:lnTo>
                    <a:lnTo>
                      <a:pt x="50073" y="45327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44" name="Forma livre: Forma 743">
                <a:extLst>
                  <a:ext uri="{FF2B5EF4-FFF2-40B4-BE49-F238E27FC236}">
                    <a16:creationId xmlns:a16="http://schemas.microsoft.com/office/drawing/2014/main" id="{9FF1D691-1141-BBF3-DFC0-60064E698B67}"/>
                  </a:ext>
                </a:extLst>
              </p:cNvPr>
              <p:cNvSpPr/>
              <p:nvPr/>
            </p:nvSpPr>
            <p:spPr>
              <a:xfrm>
                <a:off x="6475158" y="3268614"/>
                <a:ext cx="38983" cy="60726"/>
              </a:xfrm>
              <a:custGeom>
                <a:avLst/>
                <a:gdLst>
                  <a:gd name="connsiteX0" fmla="*/ 0 w 38983"/>
                  <a:gd name="connsiteY0" fmla="*/ 18935 h 60726"/>
                  <a:gd name="connsiteX1" fmla="*/ 0 w 38983"/>
                  <a:gd name="connsiteY1" fmla="*/ 15448 h 60726"/>
                  <a:gd name="connsiteX2" fmla="*/ 16949 w 38983"/>
                  <a:gd name="connsiteY2" fmla="*/ 0 h 60726"/>
                  <a:gd name="connsiteX3" fmla="*/ 33898 w 38983"/>
                  <a:gd name="connsiteY3" fmla="*/ 15448 h 60726"/>
                  <a:gd name="connsiteX4" fmla="*/ 24891 w 38983"/>
                  <a:gd name="connsiteY4" fmla="*/ 30993 h 60726"/>
                  <a:gd name="connsiteX5" fmla="*/ 630 w 38983"/>
                  <a:gd name="connsiteY5" fmla="*/ 60726 h 60726"/>
                  <a:gd name="connsiteX6" fmla="*/ 38983 w 38983"/>
                  <a:gd name="connsiteY6" fmla="*/ 60726 h 607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8983" h="60726">
                    <a:moveTo>
                      <a:pt x="0" y="18935"/>
                    </a:moveTo>
                    <a:lnTo>
                      <a:pt x="0" y="15448"/>
                    </a:lnTo>
                    <a:cubicBezTo>
                      <a:pt x="0" y="6925"/>
                      <a:pt x="7603" y="0"/>
                      <a:pt x="16949" y="0"/>
                    </a:cubicBezTo>
                    <a:cubicBezTo>
                      <a:pt x="26295" y="0"/>
                      <a:pt x="33898" y="6925"/>
                      <a:pt x="33898" y="15448"/>
                    </a:cubicBezTo>
                    <a:cubicBezTo>
                      <a:pt x="33898" y="21647"/>
                      <a:pt x="29831" y="27119"/>
                      <a:pt x="24891" y="30993"/>
                    </a:cubicBezTo>
                    <a:cubicBezTo>
                      <a:pt x="18208" y="36126"/>
                      <a:pt x="2373" y="47942"/>
                      <a:pt x="630" y="60726"/>
                    </a:cubicBezTo>
                    <a:lnTo>
                      <a:pt x="38983" y="60726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746" name="Gráfico 10">
            <a:extLst>
              <a:ext uri="{FF2B5EF4-FFF2-40B4-BE49-F238E27FC236}">
                <a16:creationId xmlns:a16="http://schemas.microsoft.com/office/drawing/2014/main" id="{64455C01-A0E7-3972-5ABB-58767A5BC605}"/>
              </a:ext>
            </a:extLst>
          </p:cNvPr>
          <p:cNvGrpSpPr/>
          <p:nvPr/>
        </p:nvGrpSpPr>
        <p:grpSpPr>
          <a:xfrm>
            <a:off x="9394256" y="1000696"/>
            <a:ext cx="336852" cy="281476"/>
            <a:chOff x="9394256" y="1000696"/>
            <a:chExt cx="336852" cy="281476"/>
          </a:xfrm>
        </p:grpSpPr>
        <p:sp>
          <p:nvSpPr>
            <p:cNvPr id="747" name="Forma livre: Forma 746">
              <a:extLst>
                <a:ext uri="{FF2B5EF4-FFF2-40B4-BE49-F238E27FC236}">
                  <a16:creationId xmlns:a16="http://schemas.microsoft.com/office/drawing/2014/main" id="{3082D056-061F-E6A1-915E-7116F7FC0CF0}"/>
                </a:ext>
              </a:extLst>
            </p:cNvPr>
            <p:cNvSpPr/>
            <p:nvPr/>
          </p:nvSpPr>
          <p:spPr>
            <a:xfrm>
              <a:off x="9654014" y="1198395"/>
              <a:ext cx="76077" cy="4842"/>
            </a:xfrm>
            <a:custGeom>
              <a:avLst/>
              <a:gdLst>
                <a:gd name="connsiteX0" fmla="*/ 0 w 76077"/>
                <a:gd name="connsiteY0" fmla="*/ 0 h 4842"/>
                <a:gd name="connsiteX1" fmla="*/ 76078 w 76077"/>
                <a:gd name="connsiteY1" fmla="*/ 0 h 48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6077" h="4842">
                  <a:moveTo>
                    <a:pt x="0" y="0"/>
                  </a:moveTo>
                  <a:lnTo>
                    <a:pt x="76078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748" name="Forma livre: Forma 747">
              <a:extLst>
                <a:ext uri="{FF2B5EF4-FFF2-40B4-BE49-F238E27FC236}">
                  <a16:creationId xmlns:a16="http://schemas.microsoft.com/office/drawing/2014/main" id="{48C5E732-6723-4ABE-E454-EC8C4D6FDF1A}"/>
                </a:ext>
              </a:extLst>
            </p:cNvPr>
            <p:cNvSpPr/>
            <p:nvPr/>
          </p:nvSpPr>
          <p:spPr>
            <a:xfrm>
              <a:off x="9620600" y="1219170"/>
              <a:ext cx="109491" cy="20823"/>
            </a:xfrm>
            <a:custGeom>
              <a:avLst/>
              <a:gdLst>
                <a:gd name="connsiteX0" fmla="*/ 109492 w 109491"/>
                <a:gd name="connsiteY0" fmla="*/ 20823 h 20823"/>
                <a:gd name="connsiteX1" fmla="*/ 29056 w 109491"/>
                <a:gd name="connsiteY1" fmla="*/ 20823 h 20823"/>
                <a:gd name="connsiteX2" fmla="*/ 0 w 109491"/>
                <a:gd name="connsiteY2" fmla="*/ 0 h 208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09491" h="20823">
                  <a:moveTo>
                    <a:pt x="109492" y="20823"/>
                  </a:moveTo>
                  <a:lnTo>
                    <a:pt x="29056" y="20823"/>
                  </a:lnTo>
                  <a:cubicBezTo>
                    <a:pt x="13075" y="20823"/>
                    <a:pt x="0" y="11477"/>
                    <a:pt x="0" y="0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749" name="Forma livre: Forma 748">
              <a:extLst>
                <a:ext uri="{FF2B5EF4-FFF2-40B4-BE49-F238E27FC236}">
                  <a16:creationId xmlns:a16="http://schemas.microsoft.com/office/drawing/2014/main" id="{43AA2545-2DF0-24CC-BAAA-F033814E817D}"/>
                </a:ext>
              </a:extLst>
            </p:cNvPr>
            <p:cNvSpPr/>
            <p:nvPr/>
          </p:nvSpPr>
          <p:spPr>
            <a:xfrm>
              <a:off x="9466847" y="1188903"/>
              <a:ext cx="42808" cy="34043"/>
            </a:xfrm>
            <a:custGeom>
              <a:avLst/>
              <a:gdLst>
                <a:gd name="connsiteX0" fmla="*/ 0 w 42808"/>
                <a:gd name="connsiteY0" fmla="*/ 0 h 34043"/>
                <a:gd name="connsiteX1" fmla="*/ 20920 w 42808"/>
                <a:gd name="connsiteY1" fmla="*/ 34044 h 34043"/>
                <a:gd name="connsiteX2" fmla="*/ 42809 w 42808"/>
                <a:gd name="connsiteY2" fmla="*/ 20630 h 340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2808" h="34043">
                  <a:moveTo>
                    <a:pt x="0" y="0"/>
                  </a:moveTo>
                  <a:lnTo>
                    <a:pt x="20920" y="34044"/>
                  </a:lnTo>
                  <a:lnTo>
                    <a:pt x="42809" y="2063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750" name="Forma livre: Forma 749">
              <a:extLst>
                <a:ext uri="{FF2B5EF4-FFF2-40B4-BE49-F238E27FC236}">
                  <a16:creationId xmlns:a16="http://schemas.microsoft.com/office/drawing/2014/main" id="{212438E1-70E9-334F-2BC1-B9A0A311A279}"/>
                </a:ext>
              </a:extLst>
            </p:cNvPr>
            <p:cNvSpPr/>
            <p:nvPr/>
          </p:nvSpPr>
          <p:spPr>
            <a:xfrm>
              <a:off x="9394256" y="1000696"/>
              <a:ext cx="310653" cy="178279"/>
            </a:xfrm>
            <a:custGeom>
              <a:avLst/>
              <a:gdLst>
                <a:gd name="connsiteX0" fmla="*/ 235787 w 310653"/>
                <a:gd name="connsiteY0" fmla="*/ 4672 h 178279"/>
                <a:gd name="connsiteX1" fmla="*/ 278644 w 310653"/>
                <a:gd name="connsiteY1" fmla="*/ 14454 h 178279"/>
                <a:gd name="connsiteX2" fmla="*/ 310654 w 310653"/>
                <a:gd name="connsiteY2" fmla="*/ 68304 h 178279"/>
                <a:gd name="connsiteX3" fmla="*/ 165763 w 310653"/>
                <a:gd name="connsiteY3" fmla="*/ 156730 h 178279"/>
                <a:gd name="connsiteX4" fmla="*/ 112397 w 310653"/>
                <a:gd name="connsiteY4" fmla="*/ 138571 h 178279"/>
                <a:gd name="connsiteX5" fmla="*/ 47312 w 310653"/>
                <a:gd name="connsiteY5" fmla="*/ 178280 h 178279"/>
                <a:gd name="connsiteX6" fmla="*/ 0 w 310653"/>
                <a:gd name="connsiteY6" fmla="*/ 148353 h 178279"/>
                <a:gd name="connsiteX7" fmla="*/ 235787 w 310653"/>
                <a:gd name="connsiteY7" fmla="*/ 4624 h 1782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10653" h="178279">
                  <a:moveTo>
                    <a:pt x="235787" y="4672"/>
                  </a:moveTo>
                  <a:cubicBezTo>
                    <a:pt x="250702" y="-4432"/>
                    <a:pt x="270024" y="265"/>
                    <a:pt x="278644" y="14454"/>
                  </a:cubicBezTo>
                  <a:lnTo>
                    <a:pt x="310654" y="68304"/>
                  </a:lnTo>
                  <a:lnTo>
                    <a:pt x="165763" y="156730"/>
                  </a:lnTo>
                  <a:cubicBezTo>
                    <a:pt x="165763" y="156730"/>
                    <a:pt x="133366" y="125786"/>
                    <a:pt x="112397" y="138571"/>
                  </a:cubicBezTo>
                  <a:cubicBezTo>
                    <a:pt x="91429" y="151355"/>
                    <a:pt x="47312" y="178280"/>
                    <a:pt x="47312" y="178280"/>
                  </a:cubicBezTo>
                  <a:lnTo>
                    <a:pt x="0" y="148353"/>
                  </a:lnTo>
                  <a:lnTo>
                    <a:pt x="235787" y="4624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751" name="Forma livre: Forma 750">
              <a:extLst>
                <a:ext uri="{FF2B5EF4-FFF2-40B4-BE49-F238E27FC236}">
                  <a16:creationId xmlns:a16="http://schemas.microsoft.com/office/drawing/2014/main" id="{29AA8FC5-CED4-CEC0-23B1-3ED5E06B2930}"/>
                </a:ext>
              </a:extLst>
            </p:cNvPr>
            <p:cNvSpPr/>
            <p:nvPr/>
          </p:nvSpPr>
          <p:spPr>
            <a:xfrm>
              <a:off x="9731108" y="1156942"/>
              <a:ext cx="4842" cy="125230"/>
            </a:xfrm>
            <a:custGeom>
              <a:avLst/>
              <a:gdLst>
                <a:gd name="connsiteX0" fmla="*/ 0 w 4842"/>
                <a:gd name="connsiteY0" fmla="*/ 0 h 125230"/>
                <a:gd name="connsiteX1" fmla="*/ 0 w 4842"/>
                <a:gd name="connsiteY1" fmla="*/ 125230 h 1252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842" h="125230">
                  <a:moveTo>
                    <a:pt x="0" y="0"/>
                  </a:moveTo>
                  <a:lnTo>
                    <a:pt x="0" y="12523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752" name="Forma livre: Forma 751">
              <a:extLst>
                <a:ext uri="{FF2B5EF4-FFF2-40B4-BE49-F238E27FC236}">
                  <a16:creationId xmlns:a16="http://schemas.microsoft.com/office/drawing/2014/main" id="{874ACA66-EB44-847F-5A33-B48F6B202292}"/>
                </a:ext>
              </a:extLst>
            </p:cNvPr>
            <p:cNvSpPr/>
            <p:nvPr/>
          </p:nvSpPr>
          <p:spPr>
            <a:xfrm>
              <a:off x="9623941" y="1187257"/>
              <a:ext cx="7554" cy="7554"/>
            </a:xfrm>
            <a:custGeom>
              <a:avLst/>
              <a:gdLst>
                <a:gd name="connsiteX0" fmla="*/ 7555 w 7554"/>
                <a:gd name="connsiteY0" fmla="*/ 3777 h 7554"/>
                <a:gd name="connsiteX1" fmla="*/ 3777 w 7554"/>
                <a:gd name="connsiteY1" fmla="*/ 7554 h 7554"/>
                <a:gd name="connsiteX2" fmla="*/ 0 w 7554"/>
                <a:gd name="connsiteY2" fmla="*/ 3777 h 7554"/>
                <a:gd name="connsiteX3" fmla="*/ 3777 w 7554"/>
                <a:gd name="connsiteY3" fmla="*/ 0 h 7554"/>
                <a:gd name="connsiteX4" fmla="*/ 7555 w 7554"/>
                <a:gd name="connsiteY4" fmla="*/ 3777 h 75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554" h="7554">
                  <a:moveTo>
                    <a:pt x="7555" y="3777"/>
                  </a:moveTo>
                  <a:cubicBezTo>
                    <a:pt x="7555" y="5860"/>
                    <a:pt x="5860" y="7554"/>
                    <a:pt x="3777" y="7554"/>
                  </a:cubicBezTo>
                  <a:cubicBezTo>
                    <a:pt x="1695" y="7554"/>
                    <a:pt x="0" y="5860"/>
                    <a:pt x="0" y="3777"/>
                  </a:cubicBezTo>
                  <a:cubicBezTo>
                    <a:pt x="0" y="1695"/>
                    <a:pt x="1695" y="0"/>
                    <a:pt x="3777" y="0"/>
                  </a:cubicBezTo>
                  <a:cubicBezTo>
                    <a:pt x="5860" y="0"/>
                    <a:pt x="7555" y="1695"/>
                    <a:pt x="7555" y="3777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753" name="Forma livre: Forma 752">
              <a:extLst>
                <a:ext uri="{FF2B5EF4-FFF2-40B4-BE49-F238E27FC236}">
                  <a16:creationId xmlns:a16="http://schemas.microsoft.com/office/drawing/2014/main" id="{729A3B9E-B3EC-57AB-63D9-65CE698303C7}"/>
                </a:ext>
              </a:extLst>
            </p:cNvPr>
            <p:cNvSpPr/>
            <p:nvPr/>
          </p:nvSpPr>
          <p:spPr>
            <a:xfrm>
              <a:off x="9489365" y="1080526"/>
              <a:ext cx="210189" cy="139102"/>
            </a:xfrm>
            <a:custGeom>
              <a:avLst/>
              <a:gdLst>
                <a:gd name="connsiteX0" fmla="*/ 197191 w 210189"/>
                <a:gd name="connsiteY0" fmla="*/ 0 h 139102"/>
                <a:gd name="connsiteX1" fmla="*/ 207264 w 210189"/>
                <a:gd name="connsiteY1" fmla="*/ 16465 h 139102"/>
                <a:gd name="connsiteX2" fmla="*/ 202954 w 210189"/>
                <a:gd name="connsiteY2" fmla="*/ 41937 h 139102"/>
                <a:gd name="connsiteX3" fmla="*/ 169540 w 210189"/>
                <a:gd name="connsiteY3" fmla="*/ 62276 h 139102"/>
                <a:gd name="connsiteX4" fmla="*/ 159274 w 210189"/>
                <a:gd name="connsiteY4" fmla="*/ 92736 h 139102"/>
                <a:gd name="connsiteX5" fmla="*/ 159855 w 210189"/>
                <a:gd name="connsiteY5" fmla="*/ 93559 h 139102"/>
                <a:gd name="connsiteX6" fmla="*/ 162906 w 210189"/>
                <a:gd name="connsiteY6" fmla="*/ 97627 h 139102"/>
                <a:gd name="connsiteX7" fmla="*/ 153414 w 210189"/>
                <a:gd name="connsiteY7" fmla="*/ 134722 h 139102"/>
                <a:gd name="connsiteX8" fmla="*/ 116126 w 210189"/>
                <a:gd name="connsiteY8" fmla="*/ 126150 h 139102"/>
                <a:gd name="connsiteX9" fmla="*/ 114334 w 210189"/>
                <a:gd name="connsiteY9" fmla="*/ 122373 h 139102"/>
                <a:gd name="connsiteX10" fmla="*/ 113947 w 210189"/>
                <a:gd name="connsiteY10" fmla="*/ 121501 h 139102"/>
                <a:gd name="connsiteX11" fmla="*/ 80726 w 210189"/>
                <a:gd name="connsiteY11" fmla="*/ 116223 h 139102"/>
                <a:gd name="connsiteX12" fmla="*/ 48087 w 210189"/>
                <a:gd name="connsiteY12" fmla="*/ 136271 h 139102"/>
                <a:gd name="connsiteX13" fmla="*/ 21453 w 210189"/>
                <a:gd name="connsiteY13" fmla="*/ 129831 h 139102"/>
                <a:gd name="connsiteX14" fmla="*/ 0 w 210189"/>
                <a:gd name="connsiteY14" fmla="*/ 94915 h 1391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10189" h="139102">
                  <a:moveTo>
                    <a:pt x="197191" y="0"/>
                  </a:moveTo>
                  <a:lnTo>
                    <a:pt x="207264" y="16465"/>
                  </a:lnTo>
                  <a:cubicBezTo>
                    <a:pt x="212833" y="25569"/>
                    <a:pt x="209928" y="37530"/>
                    <a:pt x="202954" y="41937"/>
                  </a:cubicBezTo>
                  <a:lnTo>
                    <a:pt x="169540" y="62276"/>
                  </a:lnTo>
                  <a:cubicBezTo>
                    <a:pt x="145230" y="77094"/>
                    <a:pt x="159274" y="92736"/>
                    <a:pt x="159274" y="92736"/>
                  </a:cubicBezTo>
                  <a:lnTo>
                    <a:pt x="159855" y="93559"/>
                  </a:lnTo>
                  <a:cubicBezTo>
                    <a:pt x="160969" y="94770"/>
                    <a:pt x="162034" y="96174"/>
                    <a:pt x="162906" y="97627"/>
                  </a:cubicBezTo>
                  <a:cubicBezTo>
                    <a:pt x="170605" y="110218"/>
                    <a:pt x="166344" y="126828"/>
                    <a:pt x="153414" y="134722"/>
                  </a:cubicBezTo>
                  <a:cubicBezTo>
                    <a:pt x="140484" y="142615"/>
                    <a:pt x="123777" y="138741"/>
                    <a:pt x="116126" y="126150"/>
                  </a:cubicBezTo>
                  <a:cubicBezTo>
                    <a:pt x="115351" y="124891"/>
                    <a:pt x="114818" y="123729"/>
                    <a:pt x="114334" y="122373"/>
                  </a:cubicBezTo>
                  <a:lnTo>
                    <a:pt x="113947" y="121501"/>
                  </a:lnTo>
                  <a:cubicBezTo>
                    <a:pt x="113947" y="121501"/>
                    <a:pt x="105036" y="101404"/>
                    <a:pt x="80726" y="116223"/>
                  </a:cubicBezTo>
                  <a:lnTo>
                    <a:pt x="48087" y="136271"/>
                  </a:lnTo>
                  <a:cubicBezTo>
                    <a:pt x="38983" y="141840"/>
                    <a:pt x="27022" y="138935"/>
                    <a:pt x="21453" y="129831"/>
                  </a:cubicBezTo>
                  <a:lnTo>
                    <a:pt x="0" y="94915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754" name="Gráfico 10">
            <a:extLst>
              <a:ext uri="{FF2B5EF4-FFF2-40B4-BE49-F238E27FC236}">
                <a16:creationId xmlns:a16="http://schemas.microsoft.com/office/drawing/2014/main" id="{B4AC9F13-C85C-FE65-38B5-CB3C398AA901}"/>
              </a:ext>
            </a:extLst>
          </p:cNvPr>
          <p:cNvGrpSpPr/>
          <p:nvPr/>
        </p:nvGrpSpPr>
        <p:grpSpPr>
          <a:xfrm>
            <a:off x="9420454" y="2095490"/>
            <a:ext cx="295641" cy="237724"/>
            <a:chOff x="9420454" y="2095490"/>
            <a:chExt cx="295641" cy="237724"/>
          </a:xfrm>
          <a:noFill/>
        </p:grpSpPr>
        <p:sp>
          <p:nvSpPr>
            <p:cNvPr id="755" name="Forma livre: Forma 754">
              <a:extLst>
                <a:ext uri="{FF2B5EF4-FFF2-40B4-BE49-F238E27FC236}">
                  <a16:creationId xmlns:a16="http://schemas.microsoft.com/office/drawing/2014/main" id="{E4BF44B6-9656-BA40-BA18-D6A0E89FE1E8}"/>
                </a:ext>
              </a:extLst>
            </p:cNvPr>
            <p:cNvSpPr/>
            <p:nvPr/>
          </p:nvSpPr>
          <p:spPr>
            <a:xfrm>
              <a:off x="9477258" y="2333214"/>
              <a:ext cx="182082" cy="4842"/>
            </a:xfrm>
            <a:custGeom>
              <a:avLst/>
              <a:gdLst>
                <a:gd name="connsiteX0" fmla="*/ 0 w 182082"/>
                <a:gd name="connsiteY0" fmla="*/ 0 h 4842"/>
                <a:gd name="connsiteX1" fmla="*/ 182083 w 182082"/>
                <a:gd name="connsiteY1" fmla="*/ 0 h 48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2082" h="4842">
                  <a:moveTo>
                    <a:pt x="0" y="0"/>
                  </a:moveTo>
                  <a:lnTo>
                    <a:pt x="182083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756" name="Gráfico 10">
              <a:extLst>
                <a:ext uri="{FF2B5EF4-FFF2-40B4-BE49-F238E27FC236}">
                  <a16:creationId xmlns:a16="http://schemas.microsoft.com/office/drawing/2014/main" id="{4BDA7D14-BDA7-F4AF-D692-87B0A4AFAF61}"/>
                </a:ext>
              </a:extLst>
            </p:cNvPr>
            <p:cNvGrpSpPr/>
            <p:nvPr/>
          </p:nvGrpSpPr>
          <p:grpSpPr>
            <a:xfrm>
              <a:off x="9535999" y="2298153"/>
              <a:ext cx="64600" cy="33317"/>
              <a:chOff x="9535999" y="2298153"/>
              <a:chExt cx="64600" cy="33317"/>
            </a:xfrm>
          </p:grpSpPr>
          <p:sp>
            <p:nvSpPr>
              <p:cNvPr id="757" name="Forma livre: Forma 756">
                <a:extLst>
                  <a:ext uri="{FF2B5EF4-FFF2-40B4-BE49-F238E27FC236}">
                    <a16:creationId xmlns:a16="http://schemas.microsoft.com/office/drawing/2014/main" id="{5C6A3C19-1C99-FE94-7344-D2E2C108B4F2}"/>
                  </a:ext>
                </a:extLst>
              </p:cNvPr>
              <p:cNvSpPr/>
              <p:nvPr/>
            </p:nvSpPr>
            <p:spPr>
              <a:xfrm>
                <a:off x="9535999" y="2298153"/>
                <a:ext cx="4842" cy="33317"/>
              </a:xfrm>
              <a:custGeom>
                <a:avLst/>
                <a:gdLst>
                  <a:gd name="connsiteX0" fmla="*/ 0 w 4842"/>
                  <a:gd name="connsiteY0" fmla="*/ 0 h 33317"/>
                  <a:gd name="connsiteX1" fmla="*/ 0 w 4842"/>
                  <a:gd name="connsiteY1" fmla="*/ 33317 h 333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842" h="33317">
                    <a:moveTo>
                      <a:pt x="0" y="0"/>
                    </a:moveTo>
                    <a:lnTo>
                      <a:pt x="0" y="33317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58" name="Forma livre: Forma 757">
                <a:extLst>
                  <a:ext uri="{FF2B5EF4-FFF2-40B4-BE49-F238E27FC236}">
                    <a16:creationId xmlns:a16="http://schemas.microsoft.com/office/drawing/2014/main" id="{38738135-59FC-C829-3276-26774395FCBA}"/>
                  </a:ext>
                </a:extLst>
              </p:cNvPr>
              <p:cNvSpPr/>
              <p:nvPr/>
            </p:nvSpPr>
            <p:spPr>
              <a:xfrm>
                <a:off x="9600600" y="2298153"/>
                <a:ext cx="4842" cy="33317"/>
              </a:xfrm>
              <a:custGeom>
                <a:avLst/>
                <a:gdLst>
                  <a:gd name="connsiteX0" fmla="*/ 0 w 4842"/>
                  <a:gd name="connsiteY0" fmla="*/ 0 h 33317"/>
                  <a:gd name="connsiteX1" fmla="*/ 0 w 4842"/>
                  <a:gd name="connsiteY1" fmla="*/ 33317 h 333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842" h="33317">
                    <a:moveTo>
                      <a:pt x="0" y="0"/>
                    </a:moveTo>
                    <a:lnTo>
                      <a:pt x="0" y="33317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759" name="Gráfico 10">
              <a:extLst>
                <a:ext uri="{FF2B5EF4-FFF2-40B4-BE49-F238E27FC236}">
                  <a16:creationId xmlns:a16="http://schemas.microsoft.com/office/drawing/2014/main" id="{DBED6E92-5C48-D965-17DE-F25E35CA49BB}"/>
                </a:ext>
              </a:extLst>
            </p:cNvPr>
            <p:cNvGrpSpPr/>
            <p:nvPr/>
          </p:nvGrpSpPr>
          <p:grpSpPr>
            <a:xfrm>
              <a:off x="9528251" y="2133795"/>
              <a:ext cx="80096" cy="122905"/>
              <a:chOff x="9528251" y="2133795"/>
              <a:chExt cx="80096" cy="122905"/>
            </a:xfrm>
            <a:noFill/>
          </p:grpSpPr>
          <p:sp>
            <p:nvSpPr>
              <p:cNvPr id="760" name="Forma livre: Forma 759">
                <a:extLst>
                  <a:ext uri="{FF2B5EF4-FFF2-40B4-BE49-F238E27FC236}">
                    <a16:creationId xmlns:a16="http://schemas.microsoft.com/office/drawing/2014/main" id="{3175C8D7-DE00-036B-FF0F-1BB81D4FA9B7}"/>
                  </a:ext>
                </a:extLst>
              </p:cNvPr>
              <p:cNvSpPr/>
              <p:nvPr/>
            </p:nvSpPr>
            <p:spPr>
              <a:xfrm>
                <a:off x="9528251" y="2154715"/>
                <a:ext cx="78934" cy="40387"/>
              </a:xfrm>
              <a:custGeom>
                <a:avLst/>
                <a:gdLst>
                  <a:gd name="connsiteX0" fmla="*/ 40048 w 78934"/>
                  <a:gd name="connsiteY0" fmla="*/ 40387 h 40387"/>
                  <a:gd name="connsiteX1" fmla="*/ 0 w 78934"/>
                  <a:gd name="connsiteY1" fmla="*/ 20194 h 40387"/>
                  <a:gd name="connsiteX2" fmla="*/ 40048 w 78934"/>
                  <a:gd name="connsiteY2" fmla="*/ 0 h 40387"/>
                  <a:gd name="connsiteX3" fmla="*/ 78935 w 78934"/>
                  <a:gd name="connsiteY3" fmla="*/ 15303 h 403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8934" h="40387">
                    <a:moveTo>
                      <a:pt x="40048" y="40387"/>
                    </a:moveTo>
                    <a:cubicBezTo>
                      <a:pt x="17966" y="40387"/>
                      <a:pt x="0" y="31332"/>
                      <a:pt x="0" y="20194"/>
                    </a:cubicBezTo>
                    <a:cubicBezTo>
                      <a:pt x="0" y="9056"/>
                      <a:pt x="17966" y="0"/>
                      <a:pt x="40048" y="0"/>
                    </a:cubicBezTo>
                    <a:cubicBezTo>
                      <a:pt x="58789" y="0"/>
                      <a:pt x="74576" y="6489"/>
                      <a:pt x="78935" y="15303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61" name="Forma livre: Forma 760">
                <a:extLst>
                  <a:ext uri="{FF2B5EF4-FFF2-40B4-BE49-F238E27FC236}">
                    <a16:creationId xmlns:a16="http://schemas.microsoft.com/office/drawing/2014/main" id="{D390539A-4335-75F1-456F-E65DCD524E87}"/>
                  </a:ext>
                </a:extLst>
              </p:cNvPr>
              <p:cNvSpPr/>
              <p:nvPr/>
            </p:nvSpPr>
            <p:spPr>
              <a:xfrm>
                <a:off x="9528832" y="2195151"/>
                <a:ext cx="79515" cy="40387"/>
              </a:xfrm>
              <a:custGeom>
                <a:avLst/>
                <a:gdLst>
                  <a:gd name="connsiteX0" fmla="*/ 39467 w 79515"/>
                  <a:gd name="connsiteY0" fmla="*/ 0 h 40387"/>
                  <a:gd name="connsiteX1" fmla="*/ 79516 w 79515"/>
                  <a:gd name="connsiteY1" fmla="*/ 20194 h 40387"/>
                  <a:gd name="connsiteX2" fmla="*/ 39467 w 79515"/>
                  <a:gd name="connsiteY2" fmla="*/ 40387 h 40387"/>
                  <a:gd name="connsiteX3" fmla="*/ 0 w 79515"/>
                  <a:gd name="connsiteY3" fmla="*/ 23680 h 403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9515" h="40387">
                    <a:moveTo>
                      <a:pt x="39467" y="0"/>
                    </a:moveTo>
                    <a:cubicBezTo>
                      <a:pt x="61598" y="0"/>
                      <a:pt x="79516" y="9056"/>
                      <a:pt x="79516" y="20194"/>
                    </a:cubicBezTo>
                    <a:cubicBezTo>
                      <a:pt x="79516" y="31332"/>
                      <a:pt x="61598" y="40387"/>
                      <a:pt x="39467" y="40387"/>
                    </a:cubicBezTo>
                    <a:cubicBezTo>
                      <a:pt x="19709" y="40387"/>
                      <a:pt x="3245" y="33172"/>
                      <a:pt x="0" y="23680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62" name="Forma livre: Forma 761">
                <a:extLst>
                  <a:ext uri="{FF2B5EF4-FFF2-40B4-BE49-F238E27FC236}">
                    <a16:creationId xmlns:a16="http://schemas.microsoft.com/office/drawing/2014/main" id="{D5A52428-8157-CE63-1B6F-BCE53E147587}"/>
                  </a:ext>
                </a:extLst>
              </p:cNvPr>
              <p:cNvSpPr/>
              <p:nvPr/>
            </p:nvSpPr>
            <p:spPr>
              <a:xfrm>
                <a:off x="9568832" y="2133795"/>
                <a:ext cx="4842" cy="122905"/>
              </a:xfrm>
              <a:custGeom>
                <a:avLst/>
                <a:gdLst>
                  <a:gd name="connsiteX0" fmla="*/ 0 w 4842"/>
                  <a:gd name="connsiteY0" fmla="*/ 0 h 122905"/>
                  <a:gd name="connsiteX1" fmla="*/ 0 w 4842"/>
                  <a:gd name="connsiteY1" fmla="*/ 122906 h 1229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842" h="122905">
                    <a:moveTo>
                      <a:pt x="0" y="0"/>
                    </a:moveTo>
                    <a:lnTo>
                      <a:pt x="0" y="122906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763" name="Forma livre: Forma 762">
              <a:extLst>
                <a:ext uri="{FF2B5EF4-FFF2-40B4-BE49-F238E27FC236}">
                  <a16:creationId xmlns:a16="http://schemas.microsoft.com/office/drawing/2014/main" id="{6343460E-B3F7-EF79-C038-24EE9C01E450}"/>
                </a:ext>
              </a:extLst>
            </p:cNvPr>
            <p:cNvSpPr/>
            <p:nvPr/>
          </p:nvSpPr>
          <p:spPr>
            <a:xfrm>
              <a:off x="9420454" y="2095490"/>
              <a:ext cx="295641" cy="201743"/>
            </a:xfrm>
            <a:custGeom>
              <a:avLst/>
              <a:gdLst>
                <a:gd name="connsiteX0" fmla="*/ 271429 w 295641"/>
                <a:gd name="connsiteY0" fmla="*/ 0 h 201743"/>
                <a:gd name="connsiteX1" fmla="*/ 295642 w 295641"/>
                <a:gd name="connsiteY1" fmla="*/ 24213 h 201743"/>
                <a:gd name="connsiteX2" fmla="*/ 295642 w 295641"/>
                <a:gd name="connsiteY2" fmla="*/ 177530 h 201743"/>
                <a:gd name="connsiteX3" fmla="*/ 271429 w 295641"/>
                <a:gd name="connsiteY3" fmla="*/ 201743 h 201743"/>
                <a:gd name="connsiteX4" fmla="*/ 24213 w 295641"/>
                <a:gd name="connsiteY4" fmla="*/ 201743 h 201743"/>
                <a:gd name="connsiteX5" fmla="*/ 0 w 295641"/>
                <a:gd name="connsiteY5" fmla="*/ 177530 h 201743"/>
                <a:gd name="connsiteX6" fmla="*/ 0 w 295641"/>
                <a:gd name="connsiteY6" fmla="*/ 24213 h 201743"/>
                <a:gd name="connsiteX7" fmla="*/ 24213 w 295641"/>
                <a:gd name="connsiteY7" fmla="*/ 0 h 2017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95641" h="201743">
                  <a:moveTo>
                    <a:pt x="271429" y="0"/>
                  </a:moveTo>
                  <a:cubicBezTo>
                    <a:pt x="284801" y="0"/>
                    <a:pt x="295642" y="10841"/>
                    <a:pt x="295642" y="24213"/>
                  </a:cubicBezTo>
                  <a:lnTo>
                    <a:pt x="295642" y="177530"/>
                  </a:lnTo>
                  <a:cubicBezTo>
                    <a:pt x="295642" y="190903"/>
                    <a:pt x="284801" y="201743"/>
                    <a:pt x="271429" y="201743"/>
                  </a:cubicBezTo>
                  <a:lnTo>
                    <a:pt x="24213" y="201743"/>
                  </a:lnTo>
                  <a:cubicBezTo>
                    <a:pt x="10841" y="201743"/>
                    <a:pt x="0" y="190903"/>
                    <a:pt x="0" y="177530"/>
                  </a:cubicBezTo>
                  <a:lnTo>
                    <a:pt x="0" y="24213"/>
                  </a:lnTo>
                  <a:cubicBezTo>
                    <a:pt x="0" y="10840"/>
                    <a:pt x="10841" y="0"/>
                    <a:pt x="24213" y="0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764" name="Gráfico 10">
            <a:extLst>
              <a:ext uri="{FF2B5EF4-FFF2-40B4-BE49-F238E27FC236}">
                <a16:creationId xmlns:a16="http://schemas.microsoft.com/office/drawing/2014/main" id="{80610709-D66C-5698-A2EE-6ECC169E71D3}"/>
              </a:ext>
            </a:extLst>
          </p:cNvPr>
          <p:cNvGrpSpPr/>
          <p:nvPr/>
        </p:nvGrpSpPr>
        <p:grpSpPr>
          <a:xfrm>
            <a:off x="9445055" y="2587168"/>
            <a:ext cx="246482" cy="319314"/>
            <a:chOff x="9445055" y="2587168"/>
            <a:chExt cx="246482" cy="319314"/>
          </a:xfrm>
          <a:noFill/>
        </p:grpSpPr>
        <p:sp>
          <p:nvSpPr>
            <p:cNvPr id="765" name="Forma livre: Forma 764">
              <a:extLst>
                <a:ext uri="{FF2B5EF4-FFF2-40B4-BE49-F238E27FC236}">
                  <a16:creationId xmlns:a16="http://schemas.microsoft.com/office/drawing/2014/main" id="{A774FA80-C8D7-1F94-7ABF-0A709AFD7BC0}"/>
                </a:ext>
              </a:extLst>
            </p:cNvPr>
            <p:cNvSpPr/>
            <p:nvPr/>
          </p:nvSpPr>
          <p:spPr>
            <a:xfrm>
              <a:off x="9507864" y="2587168"/>
              <a:ext cx="183673" cy="181881"/>
            </a:xfrm>
            <a:custGeom>
              <a:avLst/>
              <a:gdLst>
                <a:gd name="connsiteX0" fmla="*/ 0 w 183673"/>
                <a:gd name="connsiteY0" fmla="*/ 34908 h 181881"/>
                <a:gd name="connsiteX1" fmla="*/ 5763 w 183673"/>
                <a:gd name="connsiteY1" fmla="*/ 16797 h 181881"/>
                <a:gd name="connsiteX2" fmla="*/ 36223 w 183673"/>
                <a:gd name="connsiteY2" fmla="*/ 1155 h 181881"/>
                <a:gd name="connsiteX3" fmla="*/ 166877 w 183673"/>
                <a:gd name="connsiteY3" fmla="*/ 43044 h 181881"/>
                <a:gd name="connsiteX4" fmla="*/ 182518 w 183673"/>
                <a:gd name="connsiteY4" fmla="*/ 73504 h 181881"/>
                <a:gd name="connsiteX5" fmla="*/ 147361 w 183673"/>
                <a:gd name="connsiteY5" fmla="*/ 181882 h 1818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3673" h="181881">
                  <a:moveTo>
                    <a:pt x="0" y="34908"/>
                  </a:moveTo>
                  <a:lnTo>
                    <a:pt x="5763" y="16797"/>
                  </a:lnTo>
                  <a:cubicBezTo>
                    <a:pt x="9831" y="4109"/>
                    <a:pt x="23535" y="-2913"/>
                    <a:pt x="36223" y="1155"/>
                  </a:cubicBezTo>
                  <a:lnTo>
                    <a:pt x="166877" y="43044"/>
                  </a:lnTo>
                  <a:cubicBezTo>
                    <a:pt x="179564" y="47111"/>
                    <a:pt x="186586" y="60816"/>
                    <a:pt x="182518" y="73504"/>
                  </a:cubicBezTo>
                  <a:lnTo>
                    <a:pt x="147361" y="181882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766" name="Gráfico 10">
              <a:extLst>
                <a:ext uri="{FF2B5EF4-FFF2-40B4-BE49-F238E27FC236}">
                  <a16:creationId xmlns:a16="http://schemas.microsoft.com/office/drawing/2014/main" id="{0A89D4F8-F63B-9B23-AC7D-8924EA71CB1A}"/>
                </a:ext>
              </a:extLst>
            </p:cNvPr>
            <p:cNvGrpSpPr/>
            <p:nvPr/>
          </p:nvGrpSpPr>
          <p:grpSpPr>
            <a:xfrm>
              <a:off x="9445055" y="2643868"/>
              <a:ext cx="185665" cy="262615"/>
              <a:chOff x="9445055" y="2643868"/>
              <a:chExt cx="185665" cy="262615"/>
            </a:xfrm>
            <a:noFill/>
          </p:grpSpPr>
          <p:sp>
            <p:nvSpPr>
              <p:cNvPr id="767" name="Forma livre: Forma 766">
                <a:extLst>
                  <a:ext uri="{FF2B5EF4-FFF2-40B4-BE49-F238E27FC236}">
                    <a16:creationId xmlns:a16="http://schemas.microsoft.com/office/drawing/2014/main" id="{8113D79F-6ACA-6273-D959-DBF74EB1E47C}"/>
                  </a:ext>
                </a:extLst>
              </p:cNvPr>
              <p:cNvSpPr/>
              <p:nvPr/>
            </p:nvSpPr>
            <p:spPr>
              <a:xfrm>
                <a:off x="9445055" y="2643868"/>
                <a:ext cx="185665" cy="262615"/>
              </a:xfrm>
              <a:custGeom>
                <a:avLst/>
                <a:gdLst>
                  <a:gd name="connsiteX0" fmla="*/ 161453 w 185665"/>
                  <a:gd name="connsiteY0" fmla="*/ 0 h 262615"/>
                  <a:gd name="connsiteX1" fmla="*/ 185666 w 185665"/>
                  <a:gd name="connsiteY1" fmla="*/ 24213 h 262615"/>
                  <a:gd name="connsiteX2" fmla="*/ 185666 w 185665"/>
                  <a:gd name="connsiteY2" fmla="*/ 238402 h 262615"/>
                  <a:gd name="connsiteX3" fmla="*/ 161453 w 185665"/>
                  <a:gd name="connsiteY3" fmla="*/ 262615 h 262615"/>
                  <a:gd name="connsiteX4" fmla="*/ 24213 w 185665"/>
                  <a:gd name="connsiteY4" fmla="*/ 262615 h 262615"/>
                  <a:gd name="connsiteX5" fmla="*/ 0 w 185665"/>
                  <a:gd name="connsiteY5" fmla="*/ 238402 h 262615"/>
                  <a:gd name="connsiteX6" fmla="*/ 0 w 185665"/>
                  <a:gd name="connsiteY6" fmla="*/ 24213 h 262615"/>
                  <a:gd name="connsiteX7" fmla="*/ 24213 w 185665"/>
                  <a:gd name="connsiteY7" fmla="*/ 0 h 2626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85665" h="262615">
                    <a:moveTo>
                      <a:pt x="161453" y="0"/>
                    </a:moveTo>
                    <a:cubicBezTo>
                      <a:pt x="174825" y="0"/>
                      <a:pt x="185666" y="10841"/>
                      <a:pt x="185666" y="24213"/>
                    </a:cubicBezTo>
                    <a:lnTo>
                      <a:pt x="185666" y="238402"/>
                    </a:lnTo>
                    <a:cubicBezTo>
                      <a:pt x="185666" y="251775"/>
                      <a:pt x="174825" y="262615"/>
                      <a:pt x="161453" y="262615"/>
                    </a:cubicBezTo>
                    <a:lnTo>
                      <a:pt x="24213" y="262615"/>
                    </a:lnTo>
                    <a:cubicBezTo>
                      <a:pt x="10841" y="262615"/>
                      <a:pt x="0" y="251775"/>
                      <a:pt x="0" y="238402"/>
                    </a:cubicBezTo>
                    <a:lnTo>
                      <a:pt x="0" y="24213"/>
                    </a:lnTo>
                    <a:cubicBezTo>
                      <a:pt x="0" y="10841"/>
                      <a:pt x="10841" y="0"/>
                      <a:pt x="24213" y="0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68" name="Forma livre: Forma 767">
                <a:extLst>
                  <a:ext uri="{FF2B5EF4-FFF2-40B4-BE49-F238E27FC236}">
                    <a16:creationId xmlns:a16="http://schemas.microsoft.com/office/drawing/2014/main" id="{88D44AAE-D522-4979-C6F0-13D5FF5F0BBC}"/>
                  </a:ext>
                </a:extLst>
              </p:cNvPr>
              <p:cNvSpPr/>
              <p:nvPr/>
            </p:nvSpPr>
            <p:spPr>
              <a:xfrm>
                <a:off x="9445055" y="2643868"/>
                <a:ext cx="185665" cy="262615"/>
              </a:xfrm>
              <a:custGeom>
                <a:avLst/>
                <a:gdLst>
                  <a:gd name="connsiteX0" fmla="*/ 161453 w 185665"/>
                  <a:gd name="connsiteY0" fmla="*/ 0 h 262615"/>
                  <a:gd name="connsiteX1" fmla="*/ 185666 w 185665"/>
                  <a:gd name="connsiteY1" fmla="*/ 24213 h 262615"/>
                  <a:gd name="connsiteX2" fmla="*/ 185666 w 185665"/>
                  <a:gd name="connsiteY2" fmla="*/ 238402 h 262615"/>
                  <a:gd name="connsiteX3" fmla="*/ 161453 w 185665"/>
                  <a:gd name="connsiteY3" fmla="*/ 262615 h 262615"/>
                  <a:gd name="connsiteX4" fmla="*/ 24213 w 185665"/>
                  <a:gd name="connsiteY4" fmla="*/ 262615 h 262615"/>
                  <a:gd name="connsiteX5" fmla="*/ 0 w 185665"/>
                  <a:gd name="connsiteY5" fmla="*/ 238402 h 262615"/>
                  <a:gd name="connsiteX6" fmla="*/ 0 w 185665"/>
                  <a:gd name="connsiteY6" fmla="*/ 24213 h 262615"/>
                  <a:gd name="connsiteX7" fmla="*/ 24213 w 185665"/>
                  <a:gd name="connsiteY7" fmla="*/ 0 h 2626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85665" h="262615">
                    <a:moveTo>
                      <a:pt x="161453" y="0"/>
                    </a:moveTo>
                    <a:cubicBezTo>
                      <a:pt x="174825" y="0"/>
                      <a:pt x="185666" y="10841"/>
                      <a:pt x="185666" y="24213"/>
                    </a:cubicBezTo>
                    <a:lnTo>
                      <a:pt x="185666" y="238402"/>
                    </a:lnTo>
                    <a:cubicBezTo>
                      <a:pt x="185666" y="251775"/>
                      <a:pt x="174825" y="262615"/>
                      <a:pt x="161453" y="262615"/>
                    </a:cubicBezTo>
                    <a:lnTo>
                      <a:pt x="24213" y="262615"/>
                    </a:lnTo>
                    <a:cubicBezTo>
                      <a:pt x="10841" y="262615"/>
                      <a:pt x="0" y="251775"/>
                      <a:pt x="0" y="238402"/>
                    </a:cubicBezTo>
                    <a:lnTo>
                      <a:pt x="0" y="24213"/>
                    </a:lnTo>
                    <a:cubicBezTo>
                      <a:pt x="0" y="10841"/>
                      <a:pt x="10841" y="0"/>
                      <a:pt x="24213" y="0"/>
                    </a:cubicBezTo>
                    <a:close/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769" name="Gráfico 10">
              <a:extLst>
                <a:ext uri="{FF2B5EF4-FFF2-40B4-BE49-F238E27FC236}">
                  <a16:creationId xmlns:a16="http://schemas.microsoft.com/office/drawing/2014/main" id="{F1490EC3-33CC-C56B-30EB-6F53B7C6B061}"/>
                </a:ext>
              </a:extLst>
            </p:cNvPr>
            <p:cNvGrpSpPr/>
            <p:nvPr/>
          </p:nvGrpSpPr>
          <p:grpSpPr>
            <a:xfrm>
              <a:off x="9478614" y="2672536"/>
              <a:ext cx="118498" cy="205326"/>
              <a:chOff x="9478614" y="2672536"/>
              <a:chExt cx="118498" cy="205326"/>
            </a:xfrm>
          </p:grpSpPr>
          <p:sp>
            <p:nvSpPr>
              <p:cNvPr id="770" name="Forma livre: Forma 769">
                <a:extLst>
                  <a:ext uri="{FF2B5EF4-FFF2-40B4-BE49-F238E27FC236}">
                    <a16:creationId xmlns:a16="http://schemas.microsoft.com/office/drawing/2014/main" id="{B8FD02D3-E7CD-036E-B9A1-AED262BC2C02}"/>
                  </a:ext>
                </a:extLst>
              </p:cNvPr>
              <p:cNvSpPr/>
              <p:nvPr/>
            </p:nvSpPr>
            <p:spPr>
              <a:xfrm>
                <a:off x="9478614" y="2672536"/>
                <a:ext cx="4842" cy="25326"/>
              </a:xfrm>
              <a:custGeom>
                <a:avLst/>
                <a:gdLst>
                  <a:gd name="connsiteX0" fmla="*/ 0 w 4842"/>
                  <a:gd name="connsiteY0" fmla="*/ 0 h 25326"/>
                  <a:gd name="connsiteX1" fmla="*/ 0 w 4842"/>
                  <a:gd name="connsiteY1" fmla="*/ 25327 h 253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842" h="25326">
                    <a:moveTo>
                      <a:pt x="0" y="0"/>
                    </a:moveTo>
                    <a:lnTo>
                      <a:pt x="0" y="25327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71" name="Forma livre: Forma 770">
                <a:extLst>
                  <a:ext uri="{FF2B5EF4-FFF2-40B4-BE49-F238E27FC236}">
                    <a16:creationId xmlns:a16="http://schemas.microsoft.com/office/drawing/2014/main" id="{95DD853C-74AF-6D93-CCD1-2D39596E7E6F}"/>
                  </a:ext>
                </a:extLst>
              </p:cNvPr>
              <p:cNvSpPr/>
              <p:nvPr/>
            </p:nvSpPr>
            <p:spPr>
              <a:xfrm>
                <a:off x="9597113" y="2852536"/>
                <a:ext cx="4842" cy="25326"/>
              </a:xfrm>
              <a:custGeom>
                <a:avLst/>
                <a:gdLst>
                  <a:gd name="connsiteX0" fmla="*/ 0 w 4842"/>
                  <a:gd name="connsiteY0" fmla="*/ 0 h 25326"/>
                  <a:gd name="connsiteX1" fmla="*/ 0 w 4842"/>
                  <a:gd name="connsiteY1" fmla="*/ 25327 h 253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842" h="25326">
                    <a:moveTo>
                      <a:pt x="0" y="0"/>
                    </a:moveTo>
                    <a:lnTo>
                      <a:pt x="0" y="25327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772" name="Gráfico 10">
              <a:extLst>
                <a:ext uri="{FF2B5EF4-FFF2-40B4-BE49-F238E27FC236}">
                  <a16:creationId xmlns:a16="http://schemas.microsoft.com/office/drawing/2014/main" id="{E03CC8AB-81ED-6C55-C9E2-972EFDB5353B}"/>
                </a:ext>
              </a:extLst>
            </p:cNvPr>
            <p:cNvGrpSpPr/>
            <p:nvPr/>
          </p:nvGrpSpPr>
          <p:grpSpPr>
            <a:xfrm>
              <a:off x="9480937" y="2733491"/>
              <a:ext cx="113852" cy="97882"/>
              <a:chOff x="9480937" y="2733491"/>
              <a:chExt cx="113852" cy="97882"/>
            </a:xfrm>
            <a:noFill/>
          </p:grpSpPr>
          <p:sp>
            <p:nvSpPr>
              <p:cNvPr id="773" name="Forma livre: Forma 772">
                <a:extLst>
                  <a:ext uri="{FF2B5EF4-FFF2-40B4-BE49-F238E27FC236}">
                    <a16:creationId xmlns:a16="http://schemas.microsoft.com/office/drawing/2014/main" id="{20531508-205E-C2CD-31B5-FC7BD986D38F}"/>
                  </a:ext>
                </a:extLst>
              </p:cNvPr>
              <p:cNvSpPr/>
              <p:nvPr/>
            </p:nvSpPr>
            <p:spPr>
              <a:xfrm>
                <a:off x="9480937" y="2733491"/>
                <a:ext cx="56902" cy="97882"/>
              </a:xfrm>
              <a:custGeom>
                <a:avLst/>
                <a:gdLst>
                  <a:gd name="connsiteX0" fmla="*/ 56902 w 56902"/>
                  <a:gd name="connsiteY0" fmla="*/ 97883 h 97882"/>
                  <a:gd name="connsiteX1" fmla="*/ 8767 w 56902"/>
                  <a:gd name="connsiteY1" fmla="*/ 49796 h 97882"/>
                  <a:gd name="connsiteX2" fmla="*/ 8379 w 56902"/>
                  <a:gd name="connsiteY2" fmla="*/ 8343 h 97882"/>
                  <a:gd name="connsiteX3" fmla="*/ 49832 w 56902"/>
                  <a:gd name="connsiteY3" fmla="*/ 8730 h 97882"/>
                  <a:gd name="connsiteX4" fmla="*/ 56902 w 56902"/>
                  <a:gd name="connsiteY4" fmla="*/ 15800 h 978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6902" h="97882">
                    <a:moveTo>
                      <a:pt x="56902" y="97883"/>
                    </a:moveTo>
                    <a:lnTo>
                      <a:pt x="8767" y="49796"/>
                    </a:lnTo>
                    <a:cubicBezTo>
                      <a:pt x="-2759" y="38270"/>
                      <a:pt x="-2953" y="19626"/>
                      <a:pt x="8379" y="8343"/>
                    </a:cubicBezTo>
                    <a:cubicBezTo>
                      <a:pt x="19662" y="-2941"/>
                      <a:pt x="38306" y="-2747"/>
                      <a:pt x="49832" y="8730"/>
                    </a:cubicBezTo>
                    <a:lnTo>
                      <a:pt x="56902" y="15800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74" name="Forma livre: Forma 773">
                <a:extLst>
                  <a:ext uri="{FF2B5EF4-FFF2-40B4-BE49-F238E27FC236}">
                    <a16:creationId xmlns:a16="http://schemas.microsoft.com/office/drawing/2014/main" id="{125CA4FE-B24B-1360-28E8-33DE8B059518}"/>
                  </a:ext>
                </a:extLst>
              </p:cNvPr>
              <p:cNvSpPr/>
              <p:nvPr/>
            </p:nvSpPr>
            <p:spPr>
              <a:xfrm>
                <a:off x="9537839" y="2733491"/>
                <a:ext cx="56950" cy="97882"/>
              </a:xfrm>
              <a:custGeom>
                <a:avLst/>
                <a:gdLst>
                  <a:gd name="connsiteX0" fmla="*/ 48 w 56950"/>
                  <a:gd name="connsiteY0" fmla="*/ 97883 h 97882"/>
                  <a:gd name="connsiteX1" fmla="*/ 48184 w 56950"/>
                  <a:gd name="connsiteY1" fmla="*/ 49796 h 97882"/>
                  <a:gd name="connsiteX2" fmla="*/ 48571 w 56950"/>
                  <a:gd name="connsiteY2" fmla="*/ 8343 h 97882"/>
                  <a:gd name="connsiteX3" fmla="*/ 7119 w 56950"/>
                  <a:gd name="connsiteY3" fmla="*/ 8730 h 97882"/>
                  <a:gd name="connsiteX4" fmla="*/ 0 w 56950"/>
                  <a:gd name="connsiteY4" fmla="*/ 15849 h 978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6950" h="97882">
                    <a:moveTo>
                      <a:pt x="48" y="97883"/>
                    </a:moveTo>
                    <a:lnTo>
                      <a:pt x="48184" y="49796"/>
                    </a:lnTo>
                    <a:cubicBezTo>
                      <a:pt x="59710" y="38270"/>
                      <a:pt x="59903" y="19626"/>
                      <a:pt x="48571" y="8343"/>
                    </a:cubicBezTo>
                    <a:cubicBezTo>
                      <a:pt x="37288" y="-2941"/>
                      <a:pt x="18644" y="-2747"/>
                      <a:pt x="7119" y="8730"/>
                    </a:cubicBezTo>
                    <a:lnTo>
                      <a:pt x="0" y="15849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775" name="Gráfico 10">
            <a:extLst>
              <a:ext uri="{FF2B5EF4-FFF2-40B4-BE49-F238E27FC236}">
                <a16:creationId xmlns:a16="http://schemas.microsoft.com/office/drawing/2014/main" id="{A4C0A7E0-44A5-B0FB-3FB3-E274752FCD8B}"/>
              </a:ext>
            </a:extLst>
          </p:cNvPr>
          <p:cNvGrpSpPr/>
          <p:nvPr/>
        </p:nvGrpSpPr>
        <p:grpSpPr>
          <a:xfrm>
            <a:off x="9439438" y="3108458"/>
            <a:ext cx="257675" cy="356524"/>
            <a:chOff x="9439438" y="3108458"/>
            <a:chExt cx="257675" cy="356524"/>
          </a:xfrm>
          <a:noFill/>
        </p:grpSpPr>
        <p:grpSp>
          <p:nvGrpSpPr>
            <p:cNvPr id="776" name="Gráfico 10">
              <a:extLst>
                <a:ext uri="{FF2B5EF4-FFF2-40B4-BE49-F238E27FC236}">
                  <a16:creationId xmlns:a16="http://schemas.microsoft.com/office/drawing/2014/main" id="{915BE141-5160-2E4D-62B6-6602C039E480}"/>
                </a:ext>
              </a:extLst>
            </p:cNvPr>
            <p:cNvGrpSpPr/>
            <p:nvPr/>
          </p:nvGrpSpPr>
          <p:grpSpPr>
            <a:xfrm>
              <a:off x="9480309" y="3433505"/>
              <a:ext cx="175835" cy="31476"/>
              <a:chOff x="9480309" y="3433505"/>
              <a:chExt cx="175835" cy="31476"/>
            </a:xfrm>
            <a:noFill/>
          </p:grpSpPr>
          <p:sp>
            <p:nvSpPr>
              <p:cNvPr id="777" name="Forma livre: Forma 776">
                <a:extLst>
                  <a:ext uri="{FF2B5EF4-FFF2-40B4-BE49-F238E27FC236}">
                    <a16:creationId xmlns:a16="http://schemas.microsoft.com/office/drawing/2014/main" id="{91CA11D9-7EA6-B74A-1C54-846C59DE68B1}"/>
                  </a:ext>
                </a:extLst>
              </p:cNvPr>
              <p:cNvSpPr/>
              <p:nvPr/>
            </p:nvSpPr>
            <p:spPr>
              <a:xfrm>
                <a:off x="9480939" y="3440866"/>
                <a:ext cx="174576" cy="24116"/>
              </a:xfrm>
              <a:custGeom>
                <a:avLst/>
                <a:gdLst>
                  <a:gd name="connsiteX0" fmla="*/ 174576 w 174576"/>
                  <a:gd name="connsiteY0" fmla="*/ 0 h 24116"/>
                  <a:gd name="connsiteX1" fmla="*/ 148281 w 174576"/>
                  <a:gd name="connsiteY1" fmla="*/ 24116 h 24116"/>
                  <a:gd name="connsiteX2" fmla="*/ 26296 w 174576"/>
                  <a:gd name="connsiteY2" fmla="*/ 24116 h 24116"/>
                  <a:gd name="connsiteX3" fmla="*/ 0 w 174576"/>
                  <a:gd name="connsiteY3" fmla="*/ 0 h 241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74576" h="24116">
                    <a:moveTo>
                      <a:pt x="174576" y="0"/>
                    </a:moveTo>
                    <a:cubicBezTo>
                      <a:pt x="173414" y="13269"/>
                      <a:pt x="161598" y="24116"/>
                      <a:pt x="148281" y="24116"/>
                    </a:cubicBezTo>
                    <a:lnTo>
                      <a:pt x="26296" y="24116"/>
                    </a:lnTo>
                    <a:cubicBezTo>
                      <a:pt x="12978" y="24116"/>
                      <a:pt x="1114" y="13269"/>
                      <a:pt x="0" y="0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78" name="Forma livre: Forma 777">
                <a:extLst>
                  <a:ext uri="{FF2B5EF4-FFF2-40B4-BE49-F238E27FC236}">
                    <a16:creationId xmlns:a16="http://schemas.microsoft.com/office/drawing/2014/main" id="{1B837F18-528B-E2B7-DBD4-5A3A3837EE30}"/>
                  </a:ext>
                </a:extLst>
              </p:cNvPr>
              <p:cNvSpPr/>
              <p:nvPr/>
            </p:nvSpPr>
            <p:spPr>
              <a:xfrm>
                <a:off x="9480309" y="3433505"/>
                <a:ext cx="175835" cy="31476"/>
              </a:xfrm>
              <a:custGeom>
                <a:avLst/>
                <a:gdLst>
                  <a:gd name="connsiteX0" fmla="*/ 175835 w 175835"/>
                  <a:gd name="connsiteY0" fmla="*/ 0 h 31476"/>
                  <a:gd name="connsiteX1" fmla="*/ 175206 w 175835"/>
                  <a:gd name="connsiteY1" fmla="*/ 7361 h 31476"/>
                  <a:gd name="connsiteX2" fmla="*/ 148911 w 175835"/>
                  <a:gd name="connsiteY2" fmla="*/ 31477 h 31476"/>
                  <a:gd name="connsiteX3" fmla="*/ 26925 w 175835"/>
                  <a:gd name="connsiteY3" fmla="*/ 31477 h 31476"/>
                  <a:gd name="connsiteX4" fmla="*/ 629 w 175835"/>
                  <a:gd name="connsiteY4" fmla="*/ 7361 h 31476"/>
                  <a:gd name="connsiteX5" fmla="*/ 0 w 175835"/>
                  <a:gd name="connsiteY5" fmla="*/ 0 h 314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75835" h="31476">
                    <a:moveTo>
                      <a:pt x="175835" y="0"/>
                    </a:moveTo>
                    <a:lnTo>
                      <a:pt x="175206" y="7361"/>
                    </a:lnTo>
                    <a:cubicBezTo>
                      <a:pt x="174044" y="20630"/>
                      <a:pt x="162228" y="31477"/>
                      <a:pt x="148911" y="31477"/>
                    </a:cubicBezTo>
                    <a:lnTo>
                      <a:pt x="26925" y="31477"/>
                    </a:lnTo>
                    <a:cubicBezTo>
                      <a:pt x="13608" y="31477"/>
                      <a:pt x="1743" y="20630"/>
                      <a:pt x="629" y="7361"/>
                    </a:cubicBezTo>
                    <a:lnTo>
                      <a:pt x="0" y="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779" name="Forma livre: Forma 778">
              <a:extLst>
                <a:ext uri="{FF2B5EF4-FFF2-40B4-BE49-F238E27FC236}">
                  <a16:creationId xmlns:a16="http://schemas.microsoft.com/office/drawing/2014/main" id="{B25BBCF2-E743-8818-B49D-1AC1C517EFE9}"/>
                </a:ext>
              </a:extLst>
            </p:cNvPr>
            <p:cNvSpPr/>
            <p:nvPr/>
          </p:nvSpPr>
          <p:spPr>
            <a:xfrm>
              <a:off x="9540987" y="3108458"/>
              <a:ext cx="142783" cy="138945"/>
            </a:xfrm>
            <a:custGeom>
              <a:avLst/>
              <a:gdLst>
                <a:gd name="connsiteX0" fmla="*/ 109540 w 142783"/>
                <a:gd name="connsiteY0" fmla="*/ 138413 h 138945"/>
                <a:gd name="connsiteX1" fmla="*/ 104407 w 142783"/>
                <a:gd name="connsiteY1" fmla="*/ 115265 h 138945"/>
                <a:gd name="connsiteX2" fmla="*/ 109443 w 142783"/>
                <a:gd name="connsiteY2" fmla="*/ 81948 h 138945"/>
                <a:gd name="connsiteX3" fmla="*/ 124358 w 142783"/>
                <a:gd name="connsiteY3" fmla="*/ 49890 h 138945"/>
                <a:gd name="connsiteX4" fmla="*/ 139419 w 142783"/>
                <a:gd name="connsiteY4" fmla="*/ 34878 h 138945"/>
                <a:gd name="connsiteX5" fmla="*/ 140000 w 142783"/>
                <a:gd name="connsiteY5" fmla="*/ 16282 h 138945"/>
                <a:gd name="connsiteX6" fmla="*/ 105521 w 142783"/>
                <a:gd name="connsiteY6" fmla="*/ 253 h 138945"/>
                <a:gd name="connsiteX7" fmla="*/ 91622 w 142783"/>
                <a:gd name="connsiteY7" fmla="*/ 12650 h 138945"/>
                <a:gd name="connsiteX8" fmla="*/ 89831 w 142783"/>
                <a:gd name="connsiteY8" fmla="*/ 33861 h 138945"/>
                <a:gd name="connsiteX9" fmla="*/ 74915 w 142783"/>
                <a:gd name="connsiteY9" fmla="*/ 65919 h 138945"/>
                <a:gd name="connsiteX10" fmla="*/ 52639 w 142783"/>
                <a:gd name="connsiteY10" fmla="*/ 91197 h 138945"/>
                <a:gd name="connsiteX11" fmla="*/ 2373 w 142783"/>
                <a:gd name="connsiteY11" fmla="*/ 133861 h 138945"/>
                <a:gd name="connsiteX12" fmla="*/ 0 w 142783"/>
                <a:gd name="connsiteY12" fmla="*/ 138946 h 1389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42783" h="138945">
                  <a:moveTo>
                    <a:pt x="109540" y="138413"/>
                  </a:moveTo>
                  <a:cubicBezTo>
                    <a:pt x="107942" y="124999"/>
                    <a:pt x="104407" y="115265"/>
                    <a:pt x="104407" y="115265"/>
                  </a:cubicBezTo>
                  <a:cubicBezTo>
                    <a:pt x="100630" y="99139"/>
                    <a:pt x="109443" y="81948"/>
                    <a:pt x="109443" y="81948"/>
                  </a:cubicBezTo>
                  <a:lnTo>
                    <a:pt x="124358" y="49890"/>
                  </a:lnTo>
                  <a:cubicBezTo>
                    <a:pt x="124358" y="49890"/>
                    <a:pt x="132203" y="50423"/>
                    <a:pt x="139419" y="34878"/>
                  </a:cubicBezTo>
                  <a:cubicBezTo>
                    <a:pt x="146634" y="19381"/>
                    <a:pt x="140000" y="16282"/>
                    <a:pt x="140000" y="16282"/>
                  </a:cubicBezTo>
                  <a:lnTo>
                    <a:pt x="105521" y="253"/>
                  </a:lnTo>
                  <a:cubicBezTo>
                    <a:pt x="105521" y="253"/>
                    <a:pt x="98838" y="-2846"/>
                    <a:pt x="91622" y="12650"/>
                  </a:cubicBezTo>
                  <a:cubicBezTo>
                    <a:pt x="84407" y="28147"/>
                    <a:pt x="89831" y="33861"/>
                    <a:pt x="89831" y="33861"/>
                  </a:cubicBezTo>
                  <a:lnTo>
                    <a:pt x="74915" y="65919"/>
                  </a:lnTo>
                  <a:cubicBezTo>
                    <a:pt x="74915" y="65919"/>
                    <a:pt x="67458" y="83740"/>
                    <a:pt x="52639" y="91197"/>
                  </a:cubicBezTo>
                  <a:cubicBezTo>
                    <a:pt x="52639" y="91197"/>
                    <a:pt x="16029" y="104563"/>
                    <a:pt x="2373" y="133861"/>
                  </a:cubicBezTo>
                  <a:lnTo>
                    <a:pt x="0" y="138946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780" name="Forma livre: Forma 779">
              <a:extLst>
                <a:ext uri="{FF2B5EF4-FFF2-40B4-BE49-F238E27FC236}">
                  <a16:creationId xmlns:a16="http://schemas.microsoft.com/office/drawing/2014/main" id="{18D9B6E2-BCD6-CA03-10FD-DE86E3635C31}"/>
                </a:ext>
              </a:extLst>
            </p:cNvPr>
            <p:cNvSpPr/>
            <p:nvPr/>
          </p:nvSpPr>
          <p:spPr>
            <a:xfrm>
              <a:off x="9631738" y="3144304"/>
              <a:ext cx="31670" cy="14721"/>
            </a:xfrm>
            <a:custGeom>
              <a:avLst/>
              <a:gdLst>
                <a:gd name="connsiteX0" fmla="*/ 0 w 31670"/>
                <a:gd name="connsiteY0" fmla="*/ 0 h 14721"/>
                <a:gd name="connsiteX1" fmla="*/ 31671 w 31670"/>
                <a:gd name="connsiteY1" fmla="*/ 14722 h 147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1670" h="14721">
                  <a:moveTo>
                    <a:pt x="0" y="0"/>
                  </a:moveTo>
                  <a:lnTo>
                    <a:pt x="31671" y="14722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781" name="Forma livre: Forma 780">
              <a:extLst>
                <a:ext uri="{FF2B5EF4-FFF2-40B4-BE49-F238E27FC236}">
                  <a16:creationId xmlns:a16="http://schemas.microsoft.com/office/drawing/2014/main" id="{F79DC1AA-733A-2DB8-0065-53327B9F8659}"/>
                </a:ext>
              </a:extLst>
            </p:cNvPr>
            <p:cNvSpPr/>
            <p:nvPr/>
          </p:nvSpPr>
          <p:spPr>
            <a:xfrm>
              <a:off x="9469510" y="3379704"/>
              <a:ext cx="197530" cy="4842"/>
            </a:xfrm>
            <a:custGeom>
              <a:avLst/>
              <a:gdLst>
                <a:gd name="connsiteX0" fmla="*/ 0 w 197530"/>
                <a:gd name="connsiteY0" fmla="*/ 0 h 4842"/>
                <a:gd name="connsiteX1" fmla="*/ 197530 w 197530"/>
                <a:gd name="connsiteY1" fmla="*/ 0 h 48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97530" h="4842">
                  <a:moveTo>
                    <a:pt x="0" y="0"/>
                  </a:moveTo>
                  <a:lnTo>
                    <a:pt x="19753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782" name="Forma livre: Forma 781">
              <a:extLst>
                <a:ext uri="{FF2B5EF4-FFF2-40B4-BE49-F238E27FC236}">
                  <a16:creationId xmlns:a16="http://schemas.microsoft.com/office/drawing/2014/main" id="{4CAF2E47-DCF2-F68E-FA90-87F46A8BC439}"/>
                </a:ext>
              </a:extLst>
            </p:cNvPr>
            <p:cNvSpPr/>
            <p:nvPr/>
          </p:nvSpPr>
          <p:spPr>
            <a:xfrm>
              <a:off x="9473287" y="3410890"/>
              <a:ext cx="190024" cy="4842"/>
            </a:xfrm>
            <a:custGeom>
              <a:avLst/>
              <a:gdLst>
                <a:gd name="connsiteX0" fmla="*/ 0 w 190024"/>
                <a:gd name="connsiteY0" fmla="*/ 0 h 4842"/>
                <a:gd name="connsiteX1" fmla="*/ 190024 w 190024"/>
                <a:gd name="connsiteY1" fmla="*/ 0 h 48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90024" h="4842">
                  <a:moveTo>
                    <a:pt x="0" y="0"/>
                  </a:moveTo>
                  <a:lnTo>
                    <a:pt x="190024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783" name="Forma livre: Forma 782">
              <a:extLst>
                <a:ext uri="{FF2B5EF4-FFF2-40B4-BE49-F238E27FC236}">
                  <a16:creationId xmlns:a16="http://schemas.microsoft.com/office/drawing/2014/main" id="{C8B54B82-FA82-BEFB-BF74-F30BAF51A2D2}"/>
                </a:ext>
              </a:extLst>
            </p:cNvPr>
            <p:cNvSpPr/>
            <p:nvPr/>
          </p:nvSpPr>
          <p:spPr>
            <a:xfrm>
              <a:off x="9439438" y="3248275"/>
              <a:ext cx="257675" cy="108668"/>
            </a:xfrm>
            <a:custGeom>
              <a:avLst/>
              <a:gdLst>
                <a:gd name="connsiteX0" fmla="*/ 223003 w 257675"/>
                <a:gd name="connsiteY0" fmla="*/ 108668 h 108668"/>
                <a:gd name="connsiteX1" fmla="*/ 224940 w 257675"/>
                <a:gd name="connsiteY1" fmla="*/ 86295 h 108668"/>
                <a:gd name="connsiteX2" fmla="*/ 226973 w 257675"/>
                <a:gd name="connsiteY2" fmla="*/ 86586 h 108668"/>
                <a:gd name="connsiteX3" fmla="*/ 230944 w 257675"/>
                <a:gd name="connsiteY3" fmla="*/ 86877 h 108668"/>
                <a:gd name="connsiteX4" fmla="*/ 257676 w 257675"/>
                <a:gd name="connsiteY4" fmla="*/ 61259 h 108668"/>
                <a:gd name="connsiteX5" fmla="*/ 230944 w 257675"/>
                <a:gd name="connsiteY5" fmla="*/ 35642 h 108668"/>
                <a:gd name="connsiteX6" fmla="*/ 229346 w 257675"/>
                <a:gd name="connsiteY6" fmla="*/ 35642 h 108668"/>
                <a:gd name="connsiteX7" fmla="*/ 232446 w 257675"/>
                <a:gd name="connsiteY7" fmla="*/ 0 h 108668"/>
                <a:gd name="connsiteX8" fmla="*/ 25230 w 257675"/>
                <a:gd name="connsiteY8" fmla="*/ 0 h 108668"/>
                <a:gd name="connsiteX9" fmla="*/ 28329 w 257675"/>
                <a:gd name="connsiteY9" fmla="*/ 35593 h 108668"/>
                <a:gd name="connsiteX10" fmla="*/ 26731 w 257675"/>
                <a:gd name="connsiteY10" fmla="*/ 35593 h 108668"/>
                <a:gd name="connsiteX11" fmla="*/ 0 w 257675"/>
                <a:gd name="connsiteY11" fmla="*/ 61259 h 108668"/>
                <a:gd name="connsiteX12" fmla="*/ 26731 w 257675"/>
                <a:gd name="connsiteY12" fmla="*/ 86877 h 108668"/>
                <a:gd name="connsiteX13" fmla="*/ 30702 w 257675"/>
                <a:gd name="connsiteY13" fmla="*/ 86586 h 108668"/>
                <a:gd name="connsiteX14" fmla="*/ 32736 w 257675"/>
                <a:gd name="connsiteY14" fmla="*/ 86295 h 108668"/>
                <a:gd name="connsiteX15" fmla="*/ 34673 w 257675"/>
                <a:gd name="connsiteY15" fmla="*/ 108668 h 1086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257675" h="108668">
                  <a:moveTo>
                    <a:pt x="223003" y="108668"/>
                  </a:moveTo>
                  <a:lnTo>
                    <a:pt x="224940" y="86295"/>
                  </a:lnTo>
                  <a:lnTo>
                    <a:pt x="226973" y="86586"/>
                  </a:lnTo>
                  <a:cubicBezTo>
                    <a:pt x="228281" y="86780"/>
                    <a:pt x="229589" y="86877"/>
                    <a:pt x="230944" y="86877"/>
                  </a:cubicBezTo>
                  <a:cubicBezTo>
                    <a:pt x="245714" y="86877"/>
                    <a:pt x="257676" y="75400"/>
                    <a:pt x="257676" y="61259"/>
                  </a:cubicBezTo>
                  <a:cubicBezTo>
                    <a:pt x="257676" y="47119"/>
                    <a:pt x="245714" y="35642"/>
                    <a:pt x="230944" y="35642"/>
                  </a:cubicBezTo>
                  <a:lnTo>
                    <a:pt x="229346" y="35642"/>
                  </a:lnTo>
                  <a:cubicBezTo>
                    <a:pt x="229346" y="35642"/>
                    <a:pt x="232446" y="0"/>
                    <a:pt x="232446" y="0"/>
                  </a:cubicBezTo>
                  <a:lnTo>
                    <a:pt x="25230" y="0"/>
                  </a:lnTo>
                  <a:lnTo>
                    <a:pt x="28329" y="35593"/>
                  </a:lnTo>
                  <a:lnTo>
                    <a:pt x="26731" y="35593"/>
                  </a:lnTo>
                  <a:cubicBezTo>
                    <a:pt x="11961" y="35593"/>
                    <a:pt x="0" y="47119"/>
                    <a:pt x="0" y="61259"/>
                  </a:cubicBezTo>
                  <a:cubicBezTo>
                    <a:pt x="0" y="75400"/>
                    <a:pt x="11961" y="86877"/>
                    <a:pt x="26731" y="86877"/>
                  </a:cubicBezTo>
                  <a:cubicBezTo>
                    <a:pt x="28087" y="86877"/>
                    <a:pt x="29395" y="86780"/>
                    <a:pt x="30702" y="86586"/>
                  </a:cubicBezTo>
                  <a:lnTo>
                    <a:pt x="32736" y="86295"/>
                  </a:lnTo>
                  <a:lnTo>
                    <a:pt x="34673" y="108668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784" name="Gráfico 10">
            <a:extLst>
              <a:ext uri="{FF2B5EF4-FFF2-40B4-BE49-F238E27FC236}">
                <a16:creationId xmlns:a16="http://schemas.microsoft.com/office/drawing/2014/main" id="{700EB4DE-8E01-5E13-A6CF-D154E57BA9B1}"/>
              </a:ext>
            </a:extLst>
          </p:cNvPr>
          <p:cNvGrpSpPr/>
          <p:nvPr/>
        </p:nvGrpSpPr>
        <p:grpSpPr>
          <a:xfrm>
            <a:off x="9436435" y="1525126"/>
            <a:ext cx="263728" cy="287167"/>
            <a:chOff x="9436435" y="1525126"/>
            <a:chExt cx="263728" cy="287167"/>
          </a:xfrm>
          <a:noFill/>
        </p:grpSpPr>
        <p:sp>
          <p:nvSpPr>
            <p:cNvPr id="785" name="Forma livre: Forma 784">
              <a:extLst>
                <a:ext uri="{FF2B5EF4-FFF2-40B4-BE49-F238E27FC236}">
                  <a16:creationId xmlns:a16="http://schemas.microsoft.com/office/drawing/2014/main" id="{B735EEB5-45ED-3A67-952A-09CD15BE4452}"/>
                </a:ext>
              </a:extLst>
            </p:cNvPr>
            <p:cNvSpPr/>
            <p:nvPr/>
          </p:nvSpPr>
          <p:spPr>
            <a:xfrm>
              <a:off x="9540648" y="1525126"/>
              <a:ext cx="55205" cy="88135"/>
            </a:xfrm>
            <a:custGeom>
              <a:avLst/>
              <a:gdLst>
                <a:gd name="connsiteX0" fmla="*/ 22663 w 55205"/>
                <a:gd name="connsiteY0" fmla="*/ 88136 h 88135"/>
                <a:gd name="connsiteX1" fmla="*/ 0 w 55205"/>
                <a:gd name="connsiteY1" fmla="*/ 27603 h 88135"/>
                <a:gd name="connsiteX2" fmla="*/ 27603 w 55205"/>
                <a:gd name="connsiteY2" fmla="*/ 0 h 88135"/>
                <a:gd name="connsiteX3" fmla="*/ 55206 w 55205"/>
                <a:gd name="connsiteY3" fmla="*/ 27603 h 88135"/>
                <a:gd name="connsiteX4" fmla="*/ 32688 w 55205"/>
                <a:gd name="connsiteY4" fmla="*/ 87845 h 88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205" h="88135">
                  <a:moveTo>
                    <a:pt x="22663" y="88136"/>
                  </a:moveTo>
                  <a:cubicBezTo>
                    <a:pt x="14722" y="71332"/>
                    <a:pt x="0" y="38741"/>
                    <a:pt x="0" y="27603"/>
                  </a:cubicBezTo>
                  <a:cubicBezTo>
                    <a:pt x="0" y="12349"/>
                    <a:pt x="12349" y="0"/>
                    <a:pt x="27603" y="0"/>
                  </a:cubicBezTo>
                  <a:cubicBezTo>
                    <a:pt x="42857" y="0"/>
                    <a:pt x="55206" y="12349"/>
                    <a:pt x="55206" y="27603"/>
                  </a:cubicBezTo>
                  <a:cubicBezTo>
                    <a:pt x="55206" y="38693"/>
                    <a:pt x="40629" y="70993"/>
                    <a:pt x="32688" y="87845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786" name="Gráfico 10">
              <a:extLst>
                <a:ext uri="{FF2B5EF4-FFF2-40B4-BE49-F238E27FC236}">
                  <a16:creationId xmlns:a16="http://schemas.microsoft.com/office/drawing/2014/main" id="{712E6482-1159-29A5-B126-863C411F898B}"/>
                </a:ext>
              </a:extLst>
            </p:cNvPr>
            <p:cNvGrpSpPr/>
            <p:nvPr/>
          </p:nvGrpSpPr>
          <p:grpSpPr>
            <a:xfrm>
              <a:off x="9475368" y="1560621"/>
              <a:ext cx="185814" cy="57732"/>
              <a:chOff x="9475368" y="1560621"/>
              <a:chExt cx="185814" cy="57732"/>
            </a:xfrm>
            <a:noFill/>
          </p:grpSpPr>
          <p:sp>
            <p:nvSpPr>
              <p:cNvPr id="787" name="Forma livre: Forma 786">
                <a:extLst>
                  <a:ext uri="{FF2B5EF4-FFF2-40B4-BE49-F238E27FC236}">
                    <a16:creationId xmlns:a16="http://schemas.microsoft.com/office/drawing/2014/main" id="{7EE8A804-620B-B113-4FCD-FFF0136A100D}"/>
                  </a:ext>
                </a:extLst>
              </p:cNvPr>
              <p:cNvSpPr/>
              <p:nvPr/>
            </p:nvSpPr>
            <p:spPr>
              <a:xfrm>
                <a:off x="9475368" y="1560621"/>
                <a:ext cx="91769" cy="57732"/>
              </a:xfrm>
              <a:custGeom>
                <a:avLst/>
                <a:gdLst>
                  <a:gd name="connsiteX0" fmla="*/ 39324 w 91769"/>
                  <a:gd name="connsiteY0" fmla="*/ 2617 h 57732"/>
                  <a:gd name="connsiteX1" fmla="*/ 91769 w 91769"/>
                  <a:gd name="connsiteY1" fmla="*/ 57580 h 57732"/>
                  <a:gd name="connsiteX2" fmla="*/ 15934 w 91769"/>
                  <a:gd name="connsiteY2" fmla="*/ 52641 h 57732"/>
                  <a:gd name="connsiteX3" fmla="*/ 2617 w 91769"/>
                  <a:gd name="connsiteY3" fmla="*/ 15934 h 57732"/>
                  <a:gd name="connsiteX4" fmla="*/ 39324 w 91769"/>
                  <a:gd name="connsiteY4" fmla="*/ 2617 h 577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91769" h="57732">
                    <a:moveTo>
                      <a:pt x="39324" y="2617"/>
                    </a:moveTo>
                    <a:cubicBezTo>
                      <a:pt x="53125" y="9057"/>
                      <a:pt x="91769" y="57580"/>
                      <a:pt x="91769" y="57580"/>
                    </a:cubicBezTo>
                    <a:cubicBezTo>
                      <a:pt x="91769" y="57580"/>
                      <a:pt x="29784" y="59082"/>
                      <a:pt x="15934" y="52641"/>
                    </a:cubicBezTo>
                    <a:cubicBezTo>
                      <a:pt x="2132" y="46200"/>
                      <a:pt x="-3872" y="29735"/>
                      <a:pt x="2617" y="15934"/>
                    </a:cubicBezTo>
                    <a:cubicBezTo>
                      <a:pt x="9057" y="2132"/>
                      <a:pt x="25522" y="-3872"/>
                      <a:pt x="39324" y="2617"/>
                    </a:cubicBezTo>
                    <a:close/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88" name="Forma livre: Forma 787">
                <a:extLst>
                  <a:ext uri="{FF2B5EF4-FFF2-40B4-BE49-F238E27FC236}">
                    <a16:creationId xmlns:a16="http://schemas.microsoft.com/office/drawing/2014/main" id="{D9C2E17C-BF7E-E672-0BB8-CB3D85BB0799}"/>
                  </a:ext>
                </a:extLst>
              </p:cNvPr>
              <p:cNvSpPr/>
              <p:nvPr/>
            </p:nvSpPr>
            <p:spPr>
              <a:xfrm>
                <a:off x="9569413" y="1560621"/>
                <a:ext cx="91769" cy="57732"/>
              </a:xfrm>
              <a:custGeom>
                <a:avLst/>
                <a:gdLst>
                  <a:gd name="connsiteX0" fmla="*/ 52445 w 91769"/>
                  <a:gd name="connsiteY0" fmla="*/ 2617 h 57732"/>
                  <a:gd name="connsiteX1" fmla="*/ 0 w 91769"/>
                  <a:gd name="connsiteY1" fmla="*/ 57580 h 57732"/>
                  <a:gd name="connsiteX2" fmla="*/ 75835 w 91769"/>
                  <a:gd name="connsiteY2" fmla="*/ 52641 h 57732"/>
                  <a:gd name="connsiteX3" fmla="*/ 89153 w 91769"/>
                  <a:gd name="connsiteY3" fmla="*/ 15934 h 57732"/>
                  <a:gd name="connsiteX4" fmla="*/ 52445 w 91769"/>
                  <a:gd name="connsiteY4" fmla="*/ 2617 h 577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91769" h="57732">
                    <a:moveTo>
                      <a:pt x="52445" y="2617"/>
                    </a:moveTo>
                    <a:cubicBezTo>
                      <a:pt x="38644" y="9057"/>
                      <a:pt x="0" y="57580"/>
                      <a:pt x="0" y="57580"/>
                    </a:cubicBezTo>
                    <a:cubicBezTo>
                      <a:pt x="0" y="57580"/>
                      <a:pt x="61985" y="59082"/>
                      <a:pt x="75835" y="52641"/>
                    </a:cubicBezTo>
                    <a:cubicBezTo>
                      <a:pt x="89637" y="46200"/>
                      <a:pt x="95642" y="29735"/>
                      <a:pt x="89153" y="15934"/>
                    </a:cubicBezTo>
                    <a:cubicBezTo>
                      <a:pt x="82712" y="2132"/>
                      <a:pt x="66247" y="-3872"/>
                      <a:pt x="52445" y="2617"/>
                    </a:cubicBezTo>
                    <a:close/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789" name="Forma livre: Forma 788">
              <a:extLst>
                <a:ext uri="{FF2B5EF4-FFF2-40B4-BE49-F238E27FC236}">
                  <a16:creationId xmlns:a16="http://schemas.microsoft.com/office/drawing/2014/main" id="{EA2F2DB2-E082-FC4A-B4B4-7FB27D23F19C}"/>
                </a:ext>
              </a:extLst>
            </p:cNvPr>
            <p:cNvSpPr/>
            <p:nvPr/>
          </p:nvSpPr>
          <p:spPr>
            <a:xfrm>
              <a:off x="9454062" y="1697814"/>
              <a:ext cx="228474" cy="114479"/>
            </a:xfrm>
            <a:custGeom>
              <a:avLst/>
              <a:gdLst>
                <a:gd name="connsiteX0" fmla="*/ 0 w 228474"/>
                <a:gd name="connsiteY0" fmla="*/ 0 h 114479"/>
                <a:gd name="connsiteX1" fmla="*/ 0 w 228474"/>
                <a:gd name="connsiteY1" fmla="*/ 114479 h 114479"/>
                <a:gd name="connsiteX2" fmla="*/ 228475 w 228474"/>
                <a:gd name="connsiteY2" fmla="*/ 114479 h 114479"/>
                <a:gd name="connsiteX3" fmla="*/ 228475 w 228474"/>
                <a:gd name="connsiteY3" fmla="*/ 0 h 1144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28474" h="114479">
                  <a:moveTo>
                    <a:pt x="0" y="0"/>
                  </a:moveTo>
                  <a:lnTo>
                    <a:pt x="0" y="114479"/>
                  </a:lnTo>
                  <a:lnTo>
                    <a:pt x="228475" y="114479"/>
                  </a:lnTo>
                  <a:lnTo>
                    <a:pt x="228475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790" name="Forma livre: Forma 789">
              <a:extLst>
                <a:ext uri="{FF2B5EF4-FFF2-40B4-BE49-F238E27FC236}">
                  <a16:creationId xmlns:a16="http://schemas.microsoft.com/office/drawing/2014/main" id="{DD68D490-EF2F-8A76-041C-0F3FC028C6FF}"/>
                </a:ext>
              </a:extLst>
            </p:cNvPr>
            <p:cNvSpPr/>
            <p:nvPr/>
          </p:nvSpPr>
          <p:spPr>
            <a:xfrm>
              <a:off x="9436435" y="1618201"/>
              <a:ext cx="263728" cy="56174"/>
            </a:xfrm>
            <a:custGeom>
              <a:avLst/>
              <a:gdLst>
                <a:gd name="connsiteX0" fmla="*/ 151768 w 263728"/>
                <a:gd name="connsiteY0" fmla="*/ 56174 h 56174"/>
                <a:gd name="connsiteX1" fmla="*/ 263729 w 263728"/>
                <a:gd name="connsiteY1" fmla="*/ 56174 h 56174"/>
                <a:gd name="connsiteX2" fmla="*/ 263729 w 263728"/>
                <a:gd name="connsiteY2" fmla="*/ 0 h 56174"/>
                <a:gd name="connsiteX3" fmla="*/ 0 w 263728"/>
                <a:gd name="connsiteY3" fmla="*/ 0 h 56174"/>
                <a:gd name="connsiteX4" fmla="*/ 0 w 263728"/>
                <a:gd name="connsiteY4" fmla="*/ 56174 h 56174"/>
                <a:gd name="connsiteX5" fmla="*/ 109395 w 263728"/>
                <a:gd name="connsiteY5" fmla="*/ 56174 h 56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63728" h="56174">
                  <a:moveTo>
                    <a:pt x="151768" y="56174"/>
                  </a:moveTo>
                  <a:lnTo>
                    <a:pt x="263729" y="56174"/>
                  </a:lnTo>
                  <a:lnTo>
                    <a:pt x="263729" y="0"/>
                  </a:lnTo>
                  <a:lnTo>
                    <a:pt x="0" y="0"/>
                  </a:lnTo>
                  <a:lnTo>
                    <a:pt x="0" y="56174"/>
                  </a:lnTo>
                  <a:lnTo>
                    <a:pt x="109395" y="56174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791" name="Gráfico 10">
              <a:extLst>
                <a:ext uri="{FF2B5EF4-FFF2-40B4-BE49-F238E27FC236}">
                  <a16:creationId xmlns:a16="http://schemas.microsoft.com/office/drawing/2014/main" id="{1B25772B-10E3-A870-B42F-1F77E8102D55}"/>
                </a:ext>
              </a:extLst>
            </p:cNvPr>
            <p:cNvGrpSpPr/>
            <p:nvPr/>
          </p:nvGrpSpPr>
          <p:grpSpPr>
            <a:xfrm>
              <a:off x="9548832" y="1620138"/>
              <a:ext cx="38934" cy="191816"/>
              <a:chOff x="9548832" y="1620138"/>
              <a:chExt cx="38934" cy="191816"/>
            </a:xfrm>
          </p:grpSpPr>
          <p:sp>
            <p:nvSpPr>
              <p:cNvPr id="792" name="Forma livre: Forma 791">
                <a:extLst>
                  <a:ext uri="{FF2B5EF4-FFF2-40B4-BE49-F238E27FC236}">
                    <a16:creationId xmlns:a16="http://schemas.microsoft.com/office/drawing/2014/main" id="{E2195D5E-3D18-326E-62A1-665305429D88}"/>
                  </a:ext>
                </a:extLst>
              </p:cNvPr>
              <p:cNvSpPr/>
              <p:nvPr/>
            </p:nvSpPr>
            <p:spPr>
              <a:xfrm>
                <a:off x="9548832" y="1620138"/>
                <a:ext cx="4842" cy="191816"/>
              </a:xfrm>
              <a:custGeom>
                <a:avLst/>
                <a:gdLst>
                  <a:gd name="connsiteX0" fmla="*/ 0 w 4842"/>
                  <a:gd name="connsiteY0" fmla="*/ 0 h 191816"/>
                  <a:gd name="connsiteX1" fmla="*/ 0 w 4842"/>
                  <a:gd name="connsiteY1" fmla="*/ 191816 h 1918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842" h="191816">
                    <a:moveTo>
                      <a:pt x="0" y="0"/>
                    </a:moveTo>
                    <a:lnTo>
                      <a:pt x="0" y="191816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93" name="Forma livre: Forma 792">
                <a:extLst>
                  <a:ext uri="{FF2B5EF4-FFF2-40B4-BE49-F238E27FC236}">
                    <a16:creationId xmlns:a16="http://schemas.microsoft.com/office/drawing/2014/main" id="{C05E1222-42C4-CE7B-C4AE-80B1CEB6D5BF}"/>
                  </a:ext>
                </a:extLst>
              </p:cNvPr>
              <p:cNvSpPr/>
              <p:nvPr/>
            </p:nvSpPr>
            <p:spPr>
              <a:xfrm>
                <a:off x="9587767" y="1620138"/>
                <a:ext cx="4842" cy="191816"/>
              </a:xfrm>
              <a:custGeom>
                <a:avLst/>
                <a:gdLst>
                  <a:gd name="connsiteX0" fmla="*/ 0 w 4842"/>
                  <a:gd name="connsiteY0" fmla="*/ 0 h 191816"/>
                  <a:gd name="connsiteX1" fmla="*/ 0 w 4842"/>
                  <a:gd name="connsiteY1" fmla="*/ 191816 h 1918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842" h="191816">
                    <a:moveTo>
                      <a:pt x="0" y="0"/>
                    </a:moveTo>
                    <a:lnTo>
                      <a:pt x="0" y="191816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794" name="Gráfico 10">
            <a:extLst>
              <a:ext uri="{FF2B5EF4-FFF2-40B4-BE49-F238E27FC236}">
                <a16:creationId xmlns:a16="http://schemas.microsoft.com/office/drawing/2014/main" id="{E09BB8E2-DCA7-63E5-F3B6-52D67C25CA2B}"/>
              </a:ext>
            </a:extLst>
          </p:cNvPr>
          <p:cNvGrpSpPr/>
          <p:nvPr/>
        </p:nvGrpSpPr>
        <p:grpSpPr>
          <a:xfrm>
            <a:off x="8162901" y="982366"/>
            <a:ext cx="291183" cy="326925"/>
            <a:chOff x="8162901" y="982366"/>
            <a:chExt cx="291183" cy="326925"/>
          </a:xfrm>
          <a:noFill/>
        </p:grpSpPr>
        <p:grpSp>
          <p:nvGrpSpPr>
            <p:cNvPr id="795" name="Gráfico 10">
              <a:extLst>
                <a:ext uri="{FF2B5EF4-FFF2-40B4-BE49-F238E27FC236}">
                  <a16:creationId xmlns:a16="http://schemas.microsoft.com/office/drawing/2014/main" id="{67C53E64-FB32-AA07-3133-09BABE29BFD8}"/>
                </a:ext>
              </a:extLst>
            </p:cNvPr>
            <p:cNvGrpSpPr/>
            <p:nvPr/>
          </p:nvGrpSpPr>
          <p:grpSpPr>
            <a:xfrm>
              <a:off x="8162901" y="982366"/>
              <a:ext cx="291183" cy="300581"/>
              <a:chOff x="8162901" y="982366"/>
              <a:chExt cx="291183" cy="300581"/>
            </a:xfrm>
            <a:noFill/>
          </p:grpSpPr>
          <p:sp>
            <p:nvSpPr>
              <p:cNvPr id="796" name="Forma livre: Forma 795">
                <a:extLst>
                  <a:ext uri="{FF2B5EF4-FFF2-40B4-BE49-F238E27FC236}">
                    <a16:creationId xmlns:a16="http://schemas.microsoft.com/office/drawing/2014/main" id="{6242FB2C-E6E1-41FD-905E-CA3A02F1899D}"/>
                  </a:ext>
                </a:extLst>
              </p:cNvPr>
              <p:cNvSpPr/>
              <p:nvPr/>
            </p:nvSpPr>
            <p:spPr>
              <a:xfrm>
                <a:off x="8162901" y="1065078"/>
                <a:ext cx="119296" cy="96271"/>
              </a:xfrm>
              <a:custGeom>
                <a:avLst/>
                <a:gdLst>
                  <a:gd name="connsiteX0" fmla="*/ 119296 w 119296"/>
                  <a:gd name="connsiteY0" fmla="*/ 0 h 96271"/>
                  <a:gd name="connsiteX1" fmla="*/ 10725 w 119296"/>
                  <a:gd name="connsiteY1" fmla="*/ 59128 h 96271"/>
                  <a:gd name="connsiteX2" fmla="*/ 2202 w 119296"/>
                  <a:gd name="connsiteY2" fmla="*/ 83341 h 96271"/>
                  <a:gd name="connsiteX3" fmla="*/ 28206 w 119296"/>
                  <a:gd name="connsiteY3" fmla="*/ 96271 h 962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9296" h="96271">
                    <a:moveTo>
                      <a:pt x="119296" y="0"/>
                    </a:moveTo>
                    <a:lnTo>
                      <a:pt x="10725" y="59128"/>
                    </a:lnTo>
                    <a:cubicBezTo>
                      <a:pt x="10725" y="59128"/>
                      <a:pt x="-5837" y="68620"/>
                      <a:pt x="2202" y="83341"/>
                    </a:cubicBezTo>
                    <a:cubicBezTo>
                      <a:pt x="2202" y="83341"/>
                      <a:pt x="8352" y="93705"/>
                      <a:pt x="28206" y="96271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97" name="Forma livre: Forma 796">
                <a:extLst>
                  <a:ext uri="{FF2B5EF4-FFF2-40B4-BE49-F238E27FC236}">
                    <a16:creationId xmlns:a16="http://schemas.microsoft.com/office/drawing/2014/main" id="{C89D4BA7-26E7-51F6-F95C-DFD26F5C65CC}"/>
                  </a:ext>
                </a:extLst>
              </p:cNvPr>
              <p:cNvSpPr/>
              <p:nvPr/>
            </p:nvSpPr>
            <p:spPr>
              <a:xfrm>
                <a:off x="8283601" y="982366"/>
                <a:ext cx="170482" cy="300581"/>
              </a:xfrm>
              <a:custGeom>
                <a:avLst/>
                <a:gdLst>
                  <a:gd name="connsiteX0" fmla="*/ 0 w 170482"/>
                  <a:gd name="connsiteY0" fmla="*/ 25763 h 300581"/>
                  <a:gd name="connsiteX1" fmla="*/ 25763 w 170482"/>
                  <a:gd name="connsiteY1" fmla="*/ 0 h 300581"/>
                  <a:gd name="connsiteX2" fmla="*/ 51525 w 170482"/>
                  <a:gd name="connsiteY2" fmla="*/ 25763 h 300581"/>
                  <a:gd name="connsiteX3" fmla="*/ 25763 w 170482"/>
                  <a:gd name="connsiteY3" fmla="*/ 51525 h 300581"/>
                  <a:gd name="connsiteX4" fmla="*/ 25763 w 170482"/>
                  <a:gd name="connsiteY4" fmla="*/ 69346 h 300581"/>
                  <a:gd name="connsiteX5" fmla="*/ 159758 w 170482"/>
                  <a:gd name="connsiteY5" fmla="*/ 141792 h 300581"/>
                  <a:gd name="connsiteX6" fmla="*/ 168281 w 170482"/>
                  <a:gd name="connsiteY6" fmla="*/ 166005 h 300581"/>
                  <a:gd name="connsiteX7" fmla="*/ 134480 w 170482"/>
                  <a:gd name="connsiteY7" fmla="*/ 179419 h 300581"/>
                  <a:gd name="connsiteX8" fmla="*/ 119710 w 170482"/>
                  <a:gd name="connsiteY8" fmla="*/ 179419 h 300581"/>
                  <a:gd name="connsiteX9" fmla="*/ 119710 w 170482"/>
                  <a:gd name="connsiteY9" fmla="*/ 300581 h 3005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70482" h="300581">
                    <a:moveTo>
                      <a:pt x="0" y="25763"/>
                    </a:moveTo>
                    <a:cubicBezTo>
                      <a:pt x="0" y="11525"/>
                      <a:pt x="11525" y="0"/>
                      <a:pt x="25763" y="0"/>
                    </a:cubicBezTo>
                    <a:cubicBezTo>
                      <a:pt x="40000" y="0"/>
                      <a:pt x="51525" y="11525"/>
                      <a:pt x="51525" y="25763"/>
                    </a:cubicBezTo>
                    <a:cubicBezTo>
                      <a:pt x="51525" y="40000"/>
                      <a:pt x="40000" y="51525"/>
                      <a:pt x="25763" y="51525"/>
                    </a:cubicBezTo>
                    <a:lnTo>
                      <a:pt x="25763" y="69346"/>
                    </a:lnTo>
                    <a:lnTo>
                      <a:pt x="159758" y="141792"/>
                    </a:lnTo>
                    <a:cubicBezTo>
                      <a:pt x="159758" y="141792"/>
                      <a:pt x="176320" y="151283"/>
                      <a:pt x="168281" y="166005"/>
                    </a:cubicBezTo>
                    <a:cubicBezTo>
                      <a:pt x="168281" y="166005"/>
                      <a:pt x="163342" y="179419"/>
                      <a:pt x="134480" y="179419"/>
                    </a:cubicBezTo>
                    <a:lnTo>
                      <a:pt x="119710" y="179419"/>
                    </a:lnTo>
                    <a:lnTo>
                      <a:pt x="119710" y="300581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798" name="Forma livre: Forma 797">
              <a:extLst>
                <a:ext uri="{FF2B5EF4-FFF2-40B4-BE49-F238E27FC236}">
                  <a16:creationId xmlns:a16="http://schemas.microsoft.com/office/drawing/2014/main" id="{1A9BC41B-3CD5-4478-4242-4CC083564D56}"/>
                </a:ext>
              </a:extLst>
            </p:cNvPr>
            <p:cNvSpPr/>
            <p:nvPr/>
          </p:nvSpPr>
          <p:spPr>
            <a:xfrm>
              <a:off x="8218420" y="1137765"/>
              <a:ext cx="167409" cy="171525"/>
            </a:xfrm>
            <a:custGeom>
              <a:avLst/>
              <a:gdLst>
                <a:gd name="connsiteX0" fmla="*/ 0 w 167409"/>
                <a:gd name="connsiteY0" fmla="*/ 171526 h 171525"/>
                <a:gd name="connsiteX1" fmla="*/ 0 w 167409"/>
                <a:gd name="connsiteY1" fmla="*/ 38160 h 171525"/>
                <a:gd name="connsiteX2" fmla="*/ 16029 w 167409"/>
                <a:gd name="connsiteY2" fmla="*/ 0 h 171525"/>
                <a:gd name="connsiteX3" fmla="*/ 167409 w 167409"/>
                <a:gd name="connsiteY3" fmla="*/ 0 h 171525"/>
                <a:gd name="connsiteX4" fmla="*/ 151380 w 167409"/>
                <a:gd name="connsiteY4" fmla="*/ 38160 h 171525"/>
                <a:gd name="connsiteX5" fmla="*/ 151380 w 167409"/>
                <a:gd name="connsiteY5" fmla="*/ 171526 h 171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67409" h="171525">
                  <a:moveTo>
                    <a:pt x="0" y="171526"/>
                  </a:moveTo>
                  <a:lnTo>
                    <a:pt x="0" y="38160"/>
                  </a:lnTo>
                  <a:cubicBezTo>
                    <a:pt x="0" y="5085"/>
                    <a:pt x="16029" y="0"/>
                    <a:pt x="16029" y="0"/>
                  </a:cubicBezTo>
                  <a:lnTo>
                    <a:pt x="167409" y="0"/>
                  </a:lnTo>
                  <a:cubicBezTo>
                    <a:pt x="167409" y="0"/>
                    <a:pt x="151380" y="6586"/>
                    <a:pt x="151380" y="38160"/>
                  </a:cubicBezTo>
                  <a:lnTo>
                    <a:pt x="151380" y="171526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799" name="Forma livre: Forma 798">
              <a:extLst>
                <a:ext uri="{FF2B5EF4-FFF2-40B4-BE49-F238E27FC236}">
                  <a16:creationId xmlns:a16="http://schemas.microsoft.com/office/drawing/2014/main" id="{46BB310D-5475-4B09-C922-0E9A970D6076}"/>
                </a:ext>
              </a:extLst>
            </p:cNvPr>
            <p:cNvSpPr/>
            <p:nvPr/>
          </p:nvSpPr>
          <p:spPr>
            <a:xfrm>
              <a:off x="8248492" y="1289872"/>
              <a:ext cx="4842" cy="19079"/>
            </a:xfrm>
            <a:custGeom>
              <a:avLst/>
              <a:gdLst>
                <a:gd name="connsiteX0" fmla="*/ 0 w 4842"/>
                <a:gd name="connsiteY0" fmla="*/ 19080 h 19079"/>
                <a:gd name="connsiteX1" fmla="*/ 0 w 4842"/>
                <a:gd name="connsiteY1" fmla="*/ 0 h 190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842" h="19079">
                  <a:moveTo>
                    <a:pt x="0" y="19080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00" name="Forma livre: Forma 799">
              <a:extLst>
                <a:ext uri="{FF2B5EF4-FFF2-40B4-BE49-F238E27FC236}">
                  <a16:creationId xmlns:a16="http://schemas.microsoft.com/office/drawing/2014/main" id="{C7511299-78F5-1DF6-6D82-A757F3E72226}"/>
                </a:ext>
              </a:extLst>
            </p:cNvPr>
            <p:cNvSpPr/>
            <p:nvPr/>
          </p:nvSpPr>
          <p:spPr>
            <a:xfrm>
              <a:off x="8278807" y="1289872"/>
              <a:ext cx="4842" cy="19079"/>
            </a:xfrm>
            <a:custGeom>
              <a:avLst/>
              <a:gdLst>
                <a:gd name="connsiteX0" fmla="*/ 0 w 4842"/>
                <a:gd name="connsiteY0" fmla="*/ 19080 h 19079"/>
                <a:gd name="connsiteX1" fmla="*/ 0 w 4842"/>
                <a:gd name="connsiteY1" fmla="*/ 0 h 190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842" h="19079">
                  <a:moveTo>
                    <a:pt x="0" y="19080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01" name="Forma livre: Forma 800">
              <a:extLst>
                <a:ext uri="{FF2B5EF4-FFF2-40B4-BE49-F238E27FC236}">
                  <a16:creationId xmlns:a16="http://schemas.microsoft.com/office/drawing/2014/main" id="{9BE08AEE-CB08-AA9C-EB2C-699612403931}"/>
                </a:ext>
              </a:extLst>
            </p:cNvPr>
            <p:cNvSpPr/>
            <p:nvPr/>
          </p:nvSpPr>
          <p:spPr>
            <a:xfrm>
              <a:off x="8309122" y="1289872"/>
              <a:ext cx="4842" cy="19079"/>
            </a:xfrm>
            <a:custGeom>
              <a:avLst/>
              <a:gdLst>
                <a:gd name="connsiteX0" fmla="*/ 0 w 4842"/>
                <a:gd name="connsiteY0" fmla="*/ 19080 h 19079"/>
                <a:gd name="connsiteX1" fmla="*/ 0 w 4842"/>
                <a:gd name="connsiteY1" fmla="*/ 0 h 190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842" h="19079">
                  <a:moveTo>
                    <a:pt x="0" y="19080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02" name="Forma livre: Forma 801">
              <a:extLst>
                <a:ext uri="{FF2B5EF4-FFF2-40B4-BE49-F238E27FC236}">
                  <a16:creationId xmlns:a16="http://schemas.microsoft.com/office/drawing/2014/main" id="{AA59F638-F6EE-3763-70B4-582B51827189}"/>
                </a:ext>
              </a:extLst>
            </p:cNvPr>
            <p:cNvSpPr/>
            <p:nvPr/>
          </p:nvSpPr>
          <p:spPr>
            <a:xfrm>
              <a:off x="8339485" y="1289872"/>
              <a:ext cx="4842" cy="19079"/>
            </a:xfrm>
            <a:custGeom>
              <a:avLst/>
              <a:gdLst>
                <a:gd name="connsiteX0" fmla="*/ 0 w 4842"/>
                <a:gd name="connsiteY0" fmla="*/ 19080 h 19079"/>
                <a:gd name="connsiteX1" fmla="*/ 0 w 4842"/>
                <a:gd name="connsiteY1" fmla="*/ 0 h 190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842" h="19079">
                  <a:moveTo>
                    <a:pt x="0" y="19080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803" name="Gráfico 10">
            <a:extLst>
              <a:ext uri="{FF2B5EF4-FFF2-40B4-BE49-F238E27FC236}">
                <a16:creationId xmlns:a16="http://schemas.microsoft.com/office/drawing/2014/main" id="{ABDB2698-7A78-CA82-C261-1B99B9064FF4}"/>
              </a:ext>
            </a:extLst>
          </p:cNvPr>
          <p:cNvGrpSpPr/>
          <p:nvPr/>
        </p:nvGrpSpPr>
        <p:grpSpPr>
          <a:xfrm>
            <a:off x="8161616" y="2071713"/>
            <a:ext cx="293753" cy="285278"/>
            <a:chOff x="8161616" y="2071713"/>
            <a:chExt cx="293753" cy="285278"/>
          </a:xfrm>
          <a:noFill/>
        </p:grpSpPr>
        <p:sp>
          <p:nvSpPr>
            <p:cNvPr id="804" name="Forma livre: Forma 803">
              <a:extLst>
                <a:ext uri="{FF2B5EF4-FFF2-40B4-BE49-F238E27FC236}">
                  <a16:creationId xmlns:a16="http://schemas.microsoft.com/office/drawing/2014/main" id="{8144539C-3FDE-0FF7-138A-EC56FAD9F0C2}"/>
                </a:ext>
              </a:extLst>
            </p:cNvPr>
            <p:cNvSpPr/>
            <p:nvPr/>
          </p:nvSpPr>
          <p:spPr>
            <a:xfrm>
              <a:off x="8299582" y="2071713"/>
              <a:ext cx="130847" cy="134527"/>
            </a:xfrm>
            <a:custGeom>
              <a:avLst/>
              <a:gdLst>
                <a:gd name="connsiteX0" fmla="*/ 34722 w 130847"/>
                <a:gd name="connsiteY0" fmla="*/ 0 h 134527"/>
                <a:gd name="connsiteX1" fmla="*/ 0 w 130847"/>
                <a:gd name="connsiteY1" fmla="*/ 34722 h 134527"/>
                <a:gd name="connsiteX2" fmla="*/ 34722 w 130847"/>
                <a:gd name="connsiteY2" fmla="*/ 69443 h 134527"/>
                <a:gd name="connsiteX3" fmla="*/ 40533 w 130847"/>
                <a:gd name="connsiteY3" fmla="*/ 69443 h 134527"/>
                <a:gd name="connsiteX4" fmla="*/ 40533 w 130847"/>
                <a:gd name="connsiteY4" fmla="*/ 75448 h 134527"/>
                <a:gd name="connsiteX5" fmla="*/ 70073 w 130847"/>
                <a:gd name="connsiteY5" fmla="*/ 110412 h 134527"/>
                <a:gd name="connsiteX6" fmla="*/ 107119 w 130847"/>
                <a:gd name="connsiteY6" fmla="*/ 110412 h 134527"/>
                <a:gd name="connsiteX7" fmla="*/ 130848 w 130847"/>
                <a:gd name="connsiteY7" fmla="*/ 134528 h 1345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30847" h="134527">
                  <a:moveTo>
                    <a:pt x="34722" y="0"/>
                  </a:moveTo>
                  <a:cubicBezTo>
                    <a:pt x="15545" y="0"/>
                    <a:pt x="0" y="15545"/>
                    <a:pt x="0" y="34722"/>
                  </a:cubicBezTo>
                  <a:cubicBezTo>
                    <a:pt x="0" y="53898"/>
                    <a:pt x="15545" y="69443"/>
                    <a:pt x="34722" y="69443"/>
                  </a:cubicBezTo>
                  <a:lnTo>
                    <a:pt x="40533" y="69443"/>
                  </a:lnTo>
                  <a:lnTo>
                    <a:pt x="40533" y="75448"/>
                  </a:lnTo>
                  <a:cubicBezTo>
                    <a:pt x="40533" y="75448"/>
                    <a:pt x="38402" y="110412"/>
                    <a:pt x="70073" y="110412"/>
                  </a:cubicBezTo>
                  <a:lnTo>
                    <a:pt x="107119" y="110412"/>
                  </a:lnTo>
                  <a:cubicBezTo>
                    <a:pt x="107119" y="110412"/>
                    <a:pt x="130848" y="109153"/>
                    <a:pt x="130848" y="134528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05" name="Forma livre: Forma 804">
              <a:extLst>
                <a:ext uri="{FF2B5EF4-FFF2-40B4-BE49-F238E27FC236}">
                  <a16:creationId xmlns:a16="http://schemas.microsoft.com/office/drawing/2014/main" id="{3435A292-19D0-25B5-B951-D63AB73DD645}"/>
                </a:ext>
              </a:extLst>
            </p:cNvPr>
            <p:cNvSpPr/>
            <p:nvPr/>
          </p:nvSpPr>
          <p:spPr>
            <a:xfrm>
              <a:off x="8364861" y="2088759"/>
              <a:ext cx="90508" cy="109830"/>
            </a:xfrm>
            <a:custGeom>
              <a:avLst/>
              <a:gdLst>
                <a:gd name="connsiteX0" fmla="*/ 90509 w 90508"/>
                <a:gd name="connsiteY0" fmla="*/ 109831 h 109830"/>
                <a:gd name="connsiteX1" fmla="*/ 56804 w 90508"/>
                <a:gd name="connsiteY1" fmla="*/ 59274 h 109830"/>
                <a:gd name="connsiteX2" fmla="*/ 22228 w 90508"/>
                <a:gd name="connsiteY2" fmla="*/ 59274 h 109830"/>
                <a:gd name="connsiteX3" fmla="*/ 0 w 90508"/>
                <a:gd name="connsiteY3" fmla="*/ 0 h 109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0508" h="109830">
                  <a:moveTo>
                    <a:pt x="90509" y="109831"/>
                  </a:moveTo>
                  <a:cubicBezTo>
                    <a:pt x="90509" y="57094"/>
                    <a:pt x="56804" y="59274"/>
                    <a:pt x="56804" y="59274"/>
                  </a:cubicBezTo>
                  <a:lnTo>
                    <a:pt x="22228" y="59274"/>
                  </a:lnTo>
                  <a:cubicBezTo>
                    <a:pt x="22228" y="59274"/>
                    <a:pt x="62082" y="0"/>
                    <a:pt x="0" y="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06" name="Forma livre: Forma 805">
              <a:extLst>
                <a:ext uri="{FF2B5EF4-FFF2-40B4-BE49-F238E27FC236}">
                  <a16:creationId xmlns:a16="http://schemas.microsoft.com/office/drawing/2014/main" id="{CBC50BAC-8892-C46C-FE7A-42058B0313DB}"/>
                </a:ext>
              </a:extLst>
            </p:cNvPr>
            <p:cNvSpPr/>
            <p:nvPr/>
          </p:nvSpPr>
          <p:spPr>
            <a:xfrm>
              <a:off x="8430381" y="2205224"/>
              <a:ext cx="4842" cy="10605"/>
            </a:xfrm>
            <a:custGeom>
              <a:avLst/>
              <a:gdLst>
                <a:gd name="connsiteX0" fmla="*/ 0 w 4842"/>
                <a:gd name="connsiteY0" fmla="*/ 0 h 10605"/>
                <a:gd name="connsiteX1" fmla="*/ 0 w 4842"/>
                <a:gd name="connsiteY1" fmla="*/ 10605 h 106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842" h="10605">
                  <a:moveTo>
                    <a:pt x="0" y="0"/>
                  </a:moveTo>
                  <a:lnTo>
                    <a:pt x="0" y="10605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07" name="Forma livre: Forma 806">
              <a:extLst>
                <a:ext uri="{FF2B5EF4-FFF2-40B4-BE49-F238E27FC236}">
                  <a16:creationId xmlns:a16="http://schemas.microsoft.com/office/drawing/2014/main" id="{53B3C8F2-C86F-8B11-CCA5-B1EF6AEBF389}"/>
                </a:ext>
              </a:extLst>
            </p:cNvPr>
            <p:cNvSpPr/>
            <p:nvPr/>
          </p:nvSpPr>
          <p:spPr>
            <a:xfrm>
              <a:off x="8455369" y="2198589"/>
              <a:ext cx="4842" cy="17239"/>
            </a:xfrm>
            <a:custGeom>
              <a:avLst/>
              <a:gdLst>
                <a:gd name="connsiteX0" fmla="*/ 0 w 4842"/>
                <a:gd name="connsiteY0" fmla="*/ 17240 h 17239"/>
                <a:gd name="connsiteX1" fmla="*/ 0 w 4842"/>
                <a:gd name="connsiteY1" fmla="*/ 0 h 172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842" h="17239">
                  <a:moveTo>
                    <a:pt x="0" y="17240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08" name="Forma livre: Forma 807">
              <a:extLst>
                <a:ext uri="{FF2B5EF4-FFF2-40B4-BE49-F238E27FC236}">
                  <a16:creationId xmlns:a16="http://schemas.microsoft.com/office/drawing/2014/main" id="{D65AADFA-3FA3-ACEF-5D9F-6494B681DF4E}"/>
                </a:ext>
              </a:extLst>
            </p:cNvPr>
            <p:cNvSpPr/>
            <p:nvPr/>
          </p:nvSpPr>
          <p:spPr>
            <a:xfrm>
              <a:off x="8161616" y="2239461"/>
              <a:ext cx="122179" cy="32445"/>
            </a:xfrm>
            <a:custGeom>
              <a:avLst/>
              <a:gdLst>
                <a:gd name="connsiteX0" fmla="*/ 122179 w 122179"/>
                <a:gd name="connsiteY0" fmla="*/ 32446 h 32445"/>
                <a:gd name="connsiteX1" fmla="*/ 0 w 122179"/>
                <a:gd name="connsiteY1" fmla="*/ 32446 h 32445"/>
                <a:gd name="connsiteX2" fmla="*/ 0 w 122179"/>
                <a:gd name="connsiteY2" fmla="*/ 0 h 32445"/>
                <a:gd name="connsiteX3" fmla="*/ 104649 w 122179"/>
                <a:gd name="connsiteY3" fmla="*/ 0 h 324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2179" h="32445">
                  <a:moveTo>
                    <a:pt x="122179" y="32446"/>
                  </a:moveTo>
                  <a:lnTo>
                    <a:pt x="0" y="32446"/>
                  </a:lnTo>
                  <a:lnTo>
                    <a:pt x="0" y="0"/>
                  </a:lnTo>
                  <a:lnTo>
                    <a:pt x="104649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09" name="Forma livre: Forma 808">
              <a:extLst>
                <a:ext uri="{FF2B5EF4-FFF2-40B4-BE49-F238E27FC236}">
                  <a16:creationId xmlns:a16="http://schemas.microsoft.com/office/drawing/2014/main" id="{B34A8E2B-5B18-FDCC-7B33-99C7583CD3CD}"/>
                </a:ext>
              </a:extLst>
            </p:cNvPr>
            <p:cNvSpPr/>
            <p:nvPr/>
          </p:nvSpPr>
          <p:spPr>
            <a:xfrm>
              <a:off x="8292899" y="2239461"/>
              <a:ext cx="110411" cy="32445"/>
            </a:xfrm>
            <a:custGeom>
              <a:avLst/>
              <a:gdLst>
                <a:gd name="connsiteX0" fmla="*/ 0 w 110411"/>
                <a:gd name="connsiteY0" fmla="*/ 0 h 32445"/>
                <a:gd name="connsiteX1" fmla="*/ 110412 w 110411"/>
                <a:gd name="connsiteY1" fmla="*/ 0 h 32445"/>
                <a:gd name="connsiteX2" fmla="*/ 110412 w 110411"/>
                <a:gd name="connsiteY2" fmla="*/ 32446 h 32445"/>
                <a:gd name="connsiteX3" fmla="*/ 17530 w 110411"/>
                <a:gd name="connsiteY3" fmla="*/ 32446 h 324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411" h="32445">
                  <a:moveTo>
                    <a:pt x="0" y="0"/>
                  </a:moveTo>
                  <a:lnTo>
                    <a:pt x="110412" y="0"/>
                  </a:lnTo>
                  <a:lnTo>
                    <a:pt x="110412" y="32446"/>
                  </a:lnTo>
                  <a:lnTo>
                    <a:pt x="17530" y="32446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10" name="Forma livre: Forma 809">
              <a:extLst>
                <a:ext uri="{FF2B5EF4-FFF2-40B4-BE49-F238E27FC236}">
                  <a16:creationId xmlns:a16="http://schemas.microsoft.com/office/drawing/2014/main" id="{6E4202E4-8C23-C376-67C2-29FF6FC9BA29}"/>
                </a:ext>
              </a:extLst>
            </p:cNvPr>
            <p:cNvSpPr/>
            <p:nvPr/>
          </p:nvSpPr>
          <p:spPr>
            <a:xfrm>
              <a:off x="8430236" y="2239219"/>
              <a:ext cx="4842" cy="32639"/>
            </a:xfrm>
            <a:custGeom>
              <a:avLst/>
              <a:gdLst>
                <a:gd name="connsiteX0" fmla="*/ 0 w 4842"/>
                <a:gd name="connsiteY0" fmla="*/ 0 h 32639"/>
                <a:gd name="connsiteX1" fmla="*/ 0 w 4842"/>
                <a:gd name="connsiteY1" fmla="*/ 32639 h 32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842" h="32639">
                  <a:moveTo>
                    <a:pt x="0" y="0"/>
                  </a:moveTo>
                  <a:lnTo>
                    <a:pt x="0" y="32639"/>
                  </a:lnTo>
                </a:path>
              </a:pathLst>
            </a:custGeom>
            <a:ln w="6350" cap="sq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11" name="Forma livre: Forma 810">
              <a:extLst>
                <a:ext uri="{FF2B5EF4-FFF2-40B4-BE49-F238E27FC236}">
                  <a16:creationId xmlns:a16="http://schemas.microsoft.com/office/drawing/2014/main" id="{E5A0A37C-4C1A-D840-6F03-0DB1274D0895}"/>
                </a:ext>
              </a:extLst>
            </p:cNvPr>
            <p:cNvSpPr/>
            <p:nvPr/>
          </p:nvSpPr>
          <p:spPr>
            <a:xfrm>
              <a:off x="8455321" y="2239219"/>
              <a:ext cx="4842" cy="32639"/>
            </a:xfrm>
            <a:custGeom>
              <a:avLst/>
              <a:gdLst>
                <a:gd name="connsiteX0" fmla="*/ 0 w 4842"/>
                <a:gd name="connsiteY0" fmla="*/ 0 h 32639"/>
                <a:gd name="connsiteX1" fmla="*/ 0 w 4842"/>
                <a:gd name="connsiteY1" fmla="*/ 32639 h 32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842" h="32639">
                  <a:moveTo>
                    <a:pt x="0" y="0"/>
                  </a:moveTo>
                  <a:lnTo>
                    <a:pt x="0" y="32639"/>
                  </a:lnTo>
                </a:path>
              </a:pathLst>
            </a:custGeom>
            <a:ln w="6350" cap="sq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12" name="Forma livre: Forma 811">
              <a:extLst>
                <a:ext uri="{FF2B5EF4-FFF2-40B4-BE49-F238E27FC236}">
                  <a16:creationId xmlns:a16="http://schemas.microsoft.com/office/drawing/2014/main" id="{06F1BEA5-DCEA-BBA2-CD45-107FA2F41785}"/>
                </a:ext>
              </a:extLst>
            </p:cNvPr>
            <p:cNvSpPr/>
            <p:nvPr/>
          </p:nvSpPr>
          <p:spPr>
            <a:xfrm>
              <a:off x="8242827" y="2146870"/>
              <a:ext cx="113559" cy="210121"/>
            </a:xfrm>
            <a:custGeom>
              <a:avLst/>
              <a:gdLst>
                <a:gd name="connsiteX0" fmla="*/ 113559 w 113559"/>
                <a:gd name="connsiteY0" fmla="*/ 210121 h 210121"/>
                <a:gd name="connsiteX1" fmla="*/ 0 w 113559"/>
                <a:gd name="connsiteY1" fmla="*/ 0 h 2101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3559" h="210121">
                  <a:moveTo>
                    <a:pt x="113559" y="210121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819" name="Gráfico 10">
            <a:extLst>
              <a:ext uri="{FF2B5EF4-FFF2-40B4-BE49-F238E27FC236}">
                <a16:creationId xmlns:a16="http://schemas.microsoft.com/office/drawing/2014/main" id="{A6AEDF66-8A2C-B817-5E99-024032ACE318}"/>
              </a:ext>
            </a:extLst>
          </p:cNvPr>
          <p:cNvGrpSpPr/>
          <p:nvPr/>
        </p:nvGrpSpPr>
        <p:grpSpPr>
          <a:xfrm>
            <a:off x="8150914" y="3159250"/>
            <a:ext cx="315206" cy="284036"/>
            <a:chOff x="8150914" y="3159250"/>
            <a:chExt cx="315206" cy="284036"/>
          </a:xfrm>
          <a:noFill/>
        </p:grpSpPr>
        <p:sp>
          <p:nvSpPr>
            <p:cNvPr id="820" name="Forma livre: Forma 819">
              <a:extLst>
                <a:ext uri="{FF2B5EF4-FFF2-40B4-BE49-F238E27FC236}">
                  <a16:creationId xmlns:a16="http://schemas.microsoft.com/office/drawing/2014/main" id="{D973D012-91AF-4BEE-B92A-56C49BF18D5E}"/>
                </a:ext>
              </a:extLst>
            </p:cNvPr>
            <p:cNvSpPr/>
            <p:nvPr/>
          </p:nvSpPr>
          <p:spPr>
            <a:xfrm>
              <a:off x="8285345" y="3159250"/>
              <a:ext cx="180774" cy="268153"/>
            </a:xfrm>
            <a:custGeom>
              <a:avLst/>
              <a:gdLst>
                <a:gd name="connsiteX0" fmla="*/ 11235 w 180774"/>
                <a:gd name="connsiteY0" fmla="*/ 194739 h 268153"/>
                <a:gd name="connsiteX1" fmla="*/ 26441 w 180774"/>
                <a:gd name="connsiteY1" fmla="*/ 268153 h 268153"/>
                <a:gd name="connsiteX2" fmla="*/ 180775 w 180774"/>
                <a:gd name="connsiteY2" fmla="*/ 236192 h 268153"/>
                <a:gd name="connsiteX3" fmla="*/ 143826 w 180774"/>
                <a:gd name="connsiteY3" fmla="*/ 57887 h 268153"/>
                <a:gd name="connsiteX4" fmla="*/ 57966 w 180774"/>
                <a:gd name="connsiteY4" fmla="*/ 1519 h 268153"/>
                <a:gd name="connsiteX5" fmla="*/ 45908 w 180774"/>
                <a:gd name="connsiteY5" fmla="*/ 4037 h 268153"/>
                <a:gd name="connsiteX6" fmla="*/ 0 w 180774"/>
                <a:gd name="connsiteY6" fmla="*/ 35320 h 2681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80774" h="268153">
                  <a:moveTo>
                    <a:pt x="11235" y="194739"/>
                  </a:moveTo>
                  <a:lnTo>
                    <a:pt x="26441" y="268153"/>
                  </a:lnTo>
                  <a:lnTo>
                    <a:pt x="180775" y="236192"/>
                  </a:lnTo>
                  <a:lnTo>
                    <a:pt x="143826" y="57887"/>
                  </a:lnTo>
                  <a:cubicBezTo>
                    <a:pt x="135739" y="18758"/>
                    <a:pt x="97095" y="-6617"/>
                    <a:pt x="57966" y="1519"/>
                  </a:cubicBezTo>
                  <a:lnTo>
                    <a:pt x="45908" y="4037"/>
                  </a:lnTo>
                  <a:cubicBezTo>
                    <a:pt x="26344" y="8105"/>
                    <a:pt x="10218" y="19775"/>
                    <a:pt x="0" y="35320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21" name="Forma livre: Forma 820">
              <a:extLst>
                <a:ext uri="{FF2B5EF4-FFF2-40B4-BE49-F238E27FC236}">
                  <a16:creationId xmlns:a16="http://schemas.microsoft.com/office/drawing/2014/main" id="{DDC34322-579F-2C4B-DEA3-44D44A7E9709}"/>
                </a:ext>
              </a:extLst>
            </p:cNvPr>
            <p:cNvSpPr/>
            <p:nvPr/>
          </p:nvSpPr>
          <p:spPr>
            <a:xfrm>
              <a:off x="8327739" y="3199821"/>
              <a:ext cx="43832" cy="43834"/>
            </a:xfrm>
            <a:custGeom>
              <a:avLst/>
              <a:gdLst>
                <a:gd name="connsiteX0" fmla="*/ 43369 w 43832"/>
                <a:gd name="connsiteY0" fmla="*/ 17509 h 43834"/>
                <a:gd name="connsiteX1" fmla="*/ 26371 w 43832"/>
                <a:gd name="connsiteY1" fmla="*/ 43369 h 43834"/>
                <a:gd name="connsiteX2" fmla="*/ 463 w 43832"/>
                <a:gd name="connsiteY2" fmla="*/ 26371 h 43834"/>
                <a:gd name="connsiteX3" fmla="*/ 17461 w 43832"/>
                <a:gd name="connsiteY3" fmla="*/ 463 h 43834"/>
                <a:gd name="connsiteX4" fmla="*/ 43369 w 43832"/>
                <a:gd name="connsiteY4" fmla="*/ 17461 h 438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3832" h="43834">
                  <a:moveTo>
                    <a:pt x="43369" y="17509"/>
                  </a:moveTo>
                  <a:cubicBezTo>
                    <a:pt x="45839" y="29325"/>
                    <a:pt x="38187" y="40948"/>
                    <a:pt x="26371" y="43369"/>
                  </a:cubicBezTo>
                  <a:cubicBezTo>
                    <a:pt x="14507" y="45839"/>
                    <a:pt x="2933" y="38236"/>
                    <a:pt x="463" y="26371"/>
                  </a:cubicBezTo>
                  <a:cubicBezTo>
                    <a:pt x="-2006" y="14507"/>
                    <a:pt x="5645" y="2933"/>
                    <a:pt x="17461" y="463"/>
                  </a:cubicBezTo>
                  <a:cubicBezTo>
                    <a:pt x="29325" y="-2006"/>
                    <a:pt x="40899" y="5645"/>
                    <a:pt x="43369" y="17461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22" name="Forma livre: Forma 821">
              <a:extLst>
                <a:ext uri="{FF2B5EF4-FFF2-40B4-BE49-F238E27FC236}">
                  <a16:creationId xmlns:a16="http://schemas.microsoft.com/office/drawing/2014/main" id="{C7AAAE67-5BD5-B739-E99B-C9ED79E5CB1C}"/>
                </a:ext>
              </a:extLst>
            </p:cNvPr>
            <p:cNvSpPr/>
            <p:nvPr/>
          </p:nvSpPr>
          <p:spPr>
            <a:xfrm>
              <a:off x="8254339" y="3208662"/>
              <a:ext cx="84934" cy="68483"/>
            </a:xfrm>
            <a:custGeom>
              <a:avLst/>
              <a:gdLst>
                <a:gd name="connsiteX0" fmla="*/ 78948 w 84934"/>
                <a:gd name="connsiteY0" fmla="*/ 0 h 68483"/>
                <a:gd name="connsiteX1" fmla="*/ 64566 w 84934"/>
                <a:gd name="connsiteY1" fmla="*/ 56416 h 68483"/>
                <a:gd name="connsiteX2" fmla="*/ 5873 w 84934"/>
                <a:gd name="connsiteY2" fmla="*/ 57046 h 68483"/>
                <a:gd name="connsiteX3" fmla="*/ 13 w 84934"/>
                <a:gd name="connsiteY3" fmla="*/ 38160 h 68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4934" h="68483">
                  <a:moveTo>
                    <a:pt x="78948" y="0"/>
                  </a:moveTo>
                  <a:cubicBezTo>
                    <a:pt x="90570" y="17918"/>
                    <a:pt x="85001" y="40581"/>
                    <a:pt x="64566" y="56416"/>
                  </a:cubicBezTo>
                  <a:cubicBezTo>
                    <a:pt x="44130" y="72252"/>
                    <a:pt x="17834" y="72542"/>
                    <a:pt x="5873" y="57046"/>
                  </a:cubicBezTo>
                  <a:cubicBezTo>
                    <a:pt x="1708" y="51671"/>
                    <a:pt x="-180" y="45085"/>
                    <a:pt x="13" y="38160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823" name="Gráfico 10">
              <a:extLst>
                <a:ext uri="{FF2B5EF4-FFF2-40B4-BE49-F238E27FC236}">
                  <a16:creationId xmlns:a16="http://schemas.microsoft.com/office/drawing/2014/main" id="{12F3074A-3CE6-F800-561F-0D8027D7F711}"/>
                </a:ext>
              </a:extLst>
            </p:cNvPr>
            <p:cNvGrpSpPr/>
            <p:nvPr/>
          </p:nvGrpSpPr>
          <p:grpSpPr>
            <a:xfrm>
              <a:off x="8150914" y="3211145"/>
              <a:ext cx="159550" cy="232141"/>
              <a:chOff x="8150914" y="3211145"/>
              <a:chExt cx="159550" cy="232141"/>
            </a:xfrm>
            <a:noFill/>
          </p:grpSpPr>
          <p:sp>
            <p:nvSpPr>
              <p:cNvPr id="824" name="Forma livre: Forma 823">
                <a:extLst>
                  <a:ext uri="{FF2B5EF4-FFF2-40B4-BE49-F238E27FC236}">
                    <a16:creationId xmlns:a16="http://schemas.microsoft.com/office/drawing/2014/main" id="{24B39D98-C636-00CA-B8C0-5DD09564ECC0}"/>
                  </a:ext>
                </a:extLst>
              </p:cNvPr>
              <p:cNvSpPr/>
              <p:nvPr/>
            </p:nvSpPr>
            <p:spPr>
              <a:xfrm>
                <a:off x="8150914" y="3211145"/>
                <a:ext cx="159550" cy="232141"/>
              </a:xfrm>
              <a:custGeom>
                <a:avLst/>
                <a:gdLst>
                  <a:gd name="connsiteX0" fmla="*/ 30847 w 159550"/>
                  <a:gd name="connsiteY0" fmla="*/ 39260 h 232141"/>
                  <a:gd name="connsiteX1" fmla="*/ 38935 w 159550"/>
                  <a:gd name="connsiteY1" fmla="*/ 108703 h 232141"/>
                  <a:gd name="connsiteX2" fmla="*/ 0 w 159550"/>
                  <a:gd name="connsiteY2" fmla="*/ 193691 h 232141"/>
                  <a:gd name="connsiteX3" fmla="*/ 16707 w 159550"/>
                  <a:gd name="connsiteY3" fmla="*/ 232142 h 232141"/>
                  <a:gd name="connsiteX4" fmla="*/ 55787 w 159550"/>
                  <a:gd name="connsiteY4" fmla="*/ 221197 h 232141"/>
                  <a:gd name="connsiteX5" fmla="*/ 50557 w 159550"/>
                  <a:gd name="connsiteY5" fmla="*/ 196306 h 232141"/>
                  <a:gd name="connsiteX6" fmla="*/ 71864 w 159550"/>
                  <a:gd name="connsiteY6" fmla="*/ 185991 h 232141"/>
                  <a:gd name="connsiteX7" fmla="*/ 65763 w 159550"/>
                  <a:gd name="connsiteY7" fmla="*/ 163134 h 232141"/>
                  <a:gd name="connsiteX8" fmla="*/ 85569 w 159550"/>
                  <a:gd name="connsiteY8" fmla="*/ 154902 h 232141"/>
                  <a:gd name="connsiteX9" fmla="*/ 94867 w 159550"/>
                  <a:gd name="connsiteY9" fmla="*/ 134611 h 232141"/>
                  <a:gd name="connsiteX10" fmla="*/ 153414 w 159550"/>
                  <a:gd name="connsiteY10" fmla="*/ 95435 h 232141"/>
                  <a:gd name="connsiteX11" fmla="*/ 120242 w 159550"/>
                  <a:gd name="connsiteY11" fmla="*/ 6137 h 232141"/>
                  <a:gd name="connsiteX12" fmla="*/ 30944 w 159550"/>
                  <a:gd name="connsiteY12" fmla="*/ 39309 h 2321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59550" h="232141">
                    <a:moveTo>
                      <a:pt x="30847" y="39260"/>
                    </a:moveTo>
                    <a:cubicBezTo>
                      <a:pt x="20000" y="62892"/>
                      <a:pt x="24019" y="89478"/>
                      <a:pt x="38935" y="108703"/>
                    </a:cubicBezTo>
                    <a:lnTo>
                      <a:pt x="0" y="193691"/>
                    </a:lnTo>
                    <a:lnTo>
                      <a:pt x="16707" y="232142"/>
                    </a:lnTo>
                    <a:lnTo>
                      <a:pt x="55787" y="221197"/>
                    </a:lnTo>
                    <a:lnTo>
                      <a:pt x="50557" y="196306"/>
                    </a:lnTo>
                    <a:lnTo>
                      <a:pt x="71864" y="185991"/>
                    </a:lnTo>
                    <a:lnTo>
                      <a:pt x="65763" y="163134"/>
                    </a:lnTo>
                    <a:lnTo>
                      <a:pt x="85569" y="154902"/>
                    </a:lnTo>
                    <a:lnTo>
                      <a:pt x="94867" y="134611"/>
                    </a:lnTo>
                    <a:cubicBezTo>
                      <a:pt x="119371" y="133594"/>
                      <a:pt x="142470" y="119260"/>
                      <a:pt x="153414" y="95435"/>
                    </a:cubicBezTo>
                    <a:cubicBezTo>
                      <a:pt x="168911" y="61633"/>
                      <a:pt x="154044" y="21633"/>
                      <a:pt x="120242" y="6137"/>
                    </a:cubicBezTo>
                    <a:cubicBezTo>
                      <a:pt x="86441" y="-9360"/>
                      <a:pt x="46441" y="5507"/>
                      <a:pt x="30944" y="39309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825" name="Forma livre: Forma 824">
                <a:extLst>
                  <a:ext uri="{FF2B5EF4-FFF2-40B4-BE49-F238E27FC236}">
                    <a16:creationId xmlns:a16="http://schemas.microsoft.com/office/drawing/2014/main" id="{F399A93A-0959-31E8-C751-9FB9FC455B69}"/>
                  </a:ext>
                </a:extLst>
              </p:cNvPr>
              <p:cNvSpPr/>
              <p:nvPr/>
            </p:nvSpPr>
            <p:spPr>
              <a:xfrm>
                <a:off x="8229613" y="3245473"/>
                <a:ext cx="39115" cy="39115"/>
              </a:xfrm>
              <a:custGeom>
                <a:avLst/>
                <a:gdLst>
                  <a:gd name="connsiteX0" fmla="*/ 27693 w 39115"/>
                  <a:gd name="connsiteY0" fmla="*/ 1785 h 39115"/>
                  <a:gd name="connsiteX1" fmla="*/ 37330 w 39115"/>
                  <a:gd name="connsiteY1" fmla="*/ 27693 h 39115"/>
                  <a:gd name="connsiteX2" fmla="*/ 11422 w 39115"/>
                  <a:gd name="connsiteY2" fmla="*/ 37330 h 39115"/>
                  <a:gd name="connsiteX3" fmla="*/ 1785 w 39115"/>
                  <a:gd name="connsiteY3" fmla="*/ 11422 h 39115"/>
                  <a:gd name="connsiteX4" fmla="*/ 27693 w 39115"/>
                  <a:gd name="connsiteY4" fmla="*/ 1785 h 391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9115" h="39115">
                    <a:moveTo>
                      <a:pt x="27693" y="1785"/>
                    </a:moveTo>
                    <a:cubicBezTo>
                      <a:pt x="37524" y="6289"/>
                      <a:pt x="41834" y="17911"/>
                      <a:pt x="37330" y="27693"/>
                    </a:cubicBezTo>
                    <a:cubicBezTo>
                      <a:pt x="32826" y="37524"/>
                      <a:pt x="21253" y="41834"/>
                      <a:pt x="11422" y="37330"/>
                    </a:cubicBezTo>
                    <a:cubicBezTo>
                      <a:pt x="1592" y="32826"/>
                      <a:pt x="-2718" y="21253"/>
                      <a:pt x="1785" y="11422"/>
                    </a:cubicBezTo>
                    <a:cubicBezTo>
                      <a:pt x="6289" y="1592"/>
                      <a:pt x="17863" y="-2718"/>
                      <a:pt x="27693" y="1785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826" name="Gráfico 10">
            <a:extLst>
              <a:ext uri="{FF2B5EF4-FFF2-40B4-BE49-F238E27FC236}">
                <a16:creationId xmlns:a16="http://schemas.microsoft.com/office/drawing/2014/main" id="{3B0DED8F-26A2-4C1F-D68E-00E30CE0B150}"/>
              </a:ext>
            </a:extLst>
          </p:cNvPr>
          <p:cNvGrpSpPr/>
          <p:nvPr/>
        </p:nvGrpSpPr>
        <p:grpSpPr>
          <a:xfrm>
            <a:off x="8143989" y="1535296"/>
            <a:ext cx="338353" cy="302421"/>
            <a:chOff x="8143989" y="1535296"/>
            <a:chExt cx="338353" cy="302421"/>
          </a:xfrm>
          <a:noFill/>
        </p:grpSpPr>
        <p:sp>
          <p:nvSpPr>
            <p:cNvPr id="827" name="Forma livre: Forma 826">
              <a:extLst>
                <a:ext uri="{FF2B5EF4-FFF2-40B4-BE49-F238E27FC236}">
                  <a16:creationId xmlns:a16="http://schemas.microsoft.com/office/drawing/2014/main" id="{1E35C103-727F-8EAB-8353-5C7E9E649A36}"/>
                </a:ext>
              </a:extLst>
            </p:cNvPr>
            <p:cNvSpPr/>
            <p:nvPr/>
          </p:nvSpPr>
          <p:spPr>
            <a:xfrm>
              <a:off x="8226168" y="1788419"/>
              <a:ext cx="14204" cy="49297"/>
            </a:xfrm>
            <a:custGeom>
              <a:avLst/>
              <a:gdLst>
                <a:gd name="connsiteX0" fmla="*/ 13608 w 14204"/>
                <a:gd name="connsiteY0" fmla="*/ 0 h 49297"/>
                <a:gd name="connsiteX1" fmla="*/ 0 w 14204"/>
                <a:gd name="connsiteY1" fmla="*/ 49298 h 492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4204" h="49297">
                  <a:moveTo>
                    <a:pt x="13608" y="0"/>
                  </a:moveTo>
                  <a:cubicBezTo>
                    <a:pt x="13608" y="0"/>
                    <a:pt x="18547" y="33753"/>
                    <a:pt x="0" y="49298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28" name="Forma livre: Forma 827">
              <a:extLst>
                <a:ext uri="{FF2B5EF4-FFF2-40B4-BE49-F238E27FC236}">
                  <a16:creationId xmlns:a16="http://schemas.microsoft.com/office/drawing/2014/main" id="{9D68B8D4-BA00-A121-CB32-E7F51B662BA1}"/>
                </a:ext>
              </a:extLst>
            </p:cNvPr>
            <p:cNvSpPr/>
            <p:nvPr/>
          </p:nvSpPr>
          <p:spPr>
            <a:xfrm>
              <a:off x="8195853" y="1680381"/>
              <a:ext cx="67118" cy="111089"/>
            </a:xfrm>
            <a:custGeom>
              <a:avLst/>
              <a:gdLst>
                <a:gd name="connsiteX0" fmla="*/ 57046 w 67118"/>
                <a:gd name="connsiteY0" fmla="*/ 0 h 111089"/>
                <a:gd name="connsiteX1" fmla="*/ 67119 w 67118"/>
                <a:gd name="connsiteY1" fmla="*/ 103245 h 111089"/>
                <a:gd name="connsiteX2" fmla="*/ 22760 w 67118"/>
                <a:gd name="connsiteY2" fmla="*/ 111090 h 111089"/>
                <a:gd name="connsiteX3" fmla="*/ 0 w 67118"/>
                <a:gd name="connsiteY3" fmla="*/ 28136 h 1110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7118" h="111089">
                  <a:moveTo>
                    <a:pt x="57046" y="0"/>
                  </a:moveTo>
                  <a:lnTo>
                    <a:pt x="67119" y="103245"/>
                  </a:lnTo>
                  <a:lnTo>
                    <a:pt x="22760" y="111090"/>
                  </a:lnTo>
                  <a:lnTo>
                    <a:pt x="0" y="28136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29" name="Forma livre: Forma 828">
              <a:extLst>
                <a:ext uri="{FF2B5EF4-FFF2-40B4-BE49-F238E27FC236}">
                  <a16:creationId xmlns:a16="http://schemas.microsoft.com/office/drawing/2014/main" id="{FBF7D8BF-DBDF-DAD9-08BD-81AAA5D28502}"/>
                </a:ext>
              </a:extLst>
            </p:cNvPr>
            <p:cNvSpPr/>
            <p:nvPr/>
          </p:nvSpPr>
          <p:spPr>
            <a:xfrm>
              <a:off x="8143989" y="1535296"/>
              <a:ext cx="244116" cy="152445"/>
            </a:xfrm>
            <a:custGeom>
              <a:avLst/>
              <a:gdLst>
                <a:gd name="connsiteX0" fmla="*/ 244116 w 244116"/>
                <a:gd name="connsiteY0" fmla="*/ 132107 h 152445"/>
                <a:gd name="connsiteX1" fmla="*/ 173317 w 244116"/>
                <a:gd name="connsiteY1" fmla="*/ 122179 h 152445"/>
                <a:gd name="connsiteX2" fmla="*/ 133995 w 244116"/>
                <a:gd name="connsiteY2" fmla="*/ 127361 h 152445"/>
                <a:gd name="connsiteX3" fmla="*/ 129492 w 244116"/>
                <a:gd name="connsiteY3" fmla="*/ 130266 h 152445"/>
                <a:gd name="connsiteX4" fmla="*/ 75884 w 244116"/>
                <a:gd name="connsiteY4" fmla="*/ 152446 h 152445"/>
                <a:gd name="connsiteX5" fmla="*/ 0 w 244116"/>
                <a:gd name="connsiteY5" fmla="*/ 76562 h 152445"/>
                <a:gd name="connsiteX6" fmla="*/ 0 w 244116"/>
                <a:gd name="connsiteY6" fmla="*/ 75884 h 152445"/>
                <a:gd name="connsiteX7" fmla="*/ 75884 w 244116"/>
                <a:gd name="connsiteY7" fmla="*/ 0 h 152445"/>
                <a:gd name="connsiteX8" fmla="*/ 129492 w 244116"/>
                <a:gd name="connsiteY8" fmla="*/ 22179 h 152445"/>
                <a:gd name="connsiteX9" fmla="*/ 133995 w 244116"/>
                <a:gd name="connsiteY9" fmla="*/ 25085 h 152445"/>
                <a:gd name="connsiteX10" fmla="*/ 173317 w 244116"/>
                <a:gd name="connsiteY10" fmla="*/ 30266 h 152445"/>
                <a:gd name="connsiteX11" fmla="*/ 244116 w 244116"/>
                <a:gd name="connsiteY11" fmla="*/ 20339 h 152445"/>
                <a:gd name="connsiteX12" fmla="*/ 244116 w 244116"/>
                <a:gd name="connsiteY12" fmla="*/ 132058 h 1524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44116" h="152445">
                  <a:moveTo>
                    <a:pt x="244116" y="132107"/>
                  </a:moveTo>
                  <a:cubicBezTo>
                    <a:pt x="244116" y="132107"/>
                    <a:pt x="203584" y="122179"/>
                    <a:pt x="173317" y="122179"/>
                  </a:cubicBezTo>
                  <a:cubicBezTo>
                    <a:pt x="143051" y="122179"/>
                    <a:pt x="137143" y="125908"/>
                    <a:pt x="133995" y="127361"/>
                  </a:cubicBezTo>
                  <a:cubicBezTo>
                    <a:pt x="131816" y="128378"/>
                    <a:pt x="129492" y="130266"/>
                    <a:pt x="129492" y="130266"/>
                  </a:cubicBezTo>
                  <a:cubicBezTo>
                    <a:pt x="115787" y="143971"/>
                    <a:pt x="96804" y="152446"/>
                    <a:pt x="75884" y="152446"/>
                  </a:cubicBezTo>
                  <a:cubicBezTo>
                    <a:pt x="33995" y="152446"/>
                    <a:pt x="0" y="118499"/>
                    <a:pt x="0" y="76562"/>
                  </a:cubicBezTo>
                  <a:lnTo>
                    <a:pt x="0" y="75884"/>
                  </a:lnTo>
                  <a:cubicBezTo>
                    <a:pt x="0" y="33995"/>
                    <a:pt x="33947" y="0"/>
                    <a:pt x="75884" y="0"/>
                  </a:cubicBezTo>
                  <a:cubicBezTo>
                    <a:pt x="96804" y="0"/>
                    <a:pt x="115739" y="8475"/>
                    <a:pt x="129492" y="22179"/>
                  </a:cubicBezTo>
                  <a:cubicBezTo>
                    <a:pt x="129492" y="22179"/>
                    <a:pt x="131816" y="24116"/>
                    <a:pt x="133995" y="25085"/>
                  </a:cubicBezTo>
                  <a:cubicBezTo>
                    <a:pt x="137143" y="26538"/>
                    <a:pt x="143099" y="30266"/>
                    <a:pt x="173317" y="30266"/>
                  </a:cubicBezTo>
                  <a:cubicBezTo>
                    <a:pt x="203535" y="30266"/>
                    <a:pt x="244116" y="20339"/>
                    <a:pt x="244116" y="20339"/>
                  </a:cubicBezTo>
                  <a:lnTo>
                    <a:pt x="244116" y="132058"/>
                  </a:ln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830" name="Gráfico 10">
              <a:extLst>
                <a:ext uri="{FF2B5EF4-FFF2-40B4-BE49-F238E27FC236}">
                  <a16:creationId xmlns:a16="http://schemas.microsoft.com/office/drawing/2014/main" id="{4A6F5224-D79D-98A6-D4E0-D0907FB9E5BA}"/>
                </a:ext>
              </a:extLst>
            </p:cNvPr>
            <p:cNvGrpSpPr/>
            <p:nvPr/>
          </p:nvGrpSpPr>
          <p:grpSpPr>
            <a:xfrm>
              <a:off x="8182972" y="1582996"/>
              <a:ext cx="69007" cy="57142"/>
              <a:chOff x="8182972" y="1582996"/>
              <a:chExt cx="69007" cy="57142"/>
            </a:xfrm>
          </p:grpSpPr>
          <p:sp>
            <p:nvSpPr>
              <p:cNvPr id="831" name="Forma livre: Forma 830">
                <a:extLst>
                  <a:ext uri="{FF2B5EF4-FFF2-40B4-BE49-F238E27FC236}">
                    <a16:creationId xmlns:a16="http://schemas.microsoft.com/office/drawing/2014/main" id="{08B427B7-E8F7-222A-2656-E4876C38DF08}"/>
                  </a:ext>
                </a:extLst>
              </p:cNvPr>
              <p:cNvSpPr/>
              <p:nvPr/>
            </p:nvSpPr>
            <p:spPr>
              <a:xfrm>
                <a:off x="8182972" y="1611567"/>
                <a:ext cx="69007" cy="4842"/>
              </a:xfrm>
              <a:custGeom>
                <a:avLst/>
                <a:gdLst>
                  <a:gd name="connsiteX0" fmla="*/ 0 w 69007"/>
                  <a:gd name="connsiteY0" fmla="*/ 0 h 4842"/>
                  <a:gd name="connsiteX1" fmla="*/ 69007 w 69007"/>
                  <a:gd name="connsiteY1" fmla="*/ 0 h 48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9007" h="4842">
                    <a:moveTo>
                      <a:pt x="0" y="0"/>
                    </a:moveTo>
                    <a:lnTo>
                      <a:pt x="69007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832" name="Forma livre: Forma 831">
                <a:extLst>
                  <a:ext uri="{FF2B5EF4-FFF2-40B4-BE49-F238E27FC236}">
                    <a16:creationId xmlns:a16="http://schemas.microsoft.com/office/drawing/2014/main" id="{9E708298-9EA7-2BEB-41EA-080D67881F83}"/>
                  </a:ext>
                </a:extLst>
              </p:cNvPr>
              <p:cNvSpPr/>
              <p:nvPr/>
            </p:nvSpPr>
            <p:spPr>
              <a:xfrm>
                <a:off x="8203117" y="1582996"/>
                <a:ext cx="28716" cy="4842"/>
              </a:xfrm>
              <a:custGeom>
                <a:avLst/>
                <a:gdLst>
                  <a:gd name="connsiteX0" fmla="*/ 0 w 28716"/>
                  <a:gd name="connsiteY0" fmla="*/ 0 h 4842"/>
                  <a:gd name="connsiteX1" fmla="*/ 28717 w 28716"/>
                  <a:gd name="connsiteY1" fmla="*/ 0 h 48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8716" h="4842">
                    <a:moveTo>
                      <a:pt x="0" y="0"/>
                    </a:moveTo>
                    <a:lnTo>
                      <a:pt x="28717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833" name="Forma livre: Forma 832">
                <a:extLst>
                  <a:ext uri="{FF2B5EF4-FFF2-40B4-BE49-F238E27FC236}">
                    <a16:creationId xmlns:a16="http://schemas.microsoft.com/office/drawing/2014/main" id="{F4115BB6-B8C3-D33E-7A81-7D3FF4BACFD1}"/>
                  </a:ext>
                </a:extLst>
              </p:cNvPr>
              <p:cNvSpPr/>
              <p:nvPr/>
            </p:nvSpPr>
            <p:spPr>
              <a:xfrm>
                <a:off x="8203117" y="1640139"/>
                <a:ext cx="28716" cy="4842"/>
              </a:xfrm>
              <a:custGeom>
                <a:avLst/>
                <a:gdLst>
                  <a:gd name="connsiteX0" fmla="*/ 0 w 28716"/>
                  <a:gd name="connsiteY0" fmla="*/ 0 h 4842"/>
                  <a:gd name="connsiteX1" fmla="*/ 28717 w 28716"/>
                  <a:gd name="connsiteY1" fmla="*/ 0 h 48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8716" h="4842">
                    <a:moveTo>
                      <a:pt x="0" y="0"/>
                    </a:moveTo>
                    <a:lnTo>
                      <a:pt x="28717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834" name="Forma livre: Forma 833">
              <a:extLst>
                <a:ext uri="{FF2B5EF4-FFF2-40B4-BE49-F238E27FC236}">
                  <a16:creationId xmlns:a16="http://schemas.microsoft.com/office/drawing/2014/main" id="{8AA48986-8321-DD7D-846B-597B283F5A28}"/>
                </a:ext>
              </a:extLst>
            </p:cNvPr>
            <p:cNvSpPr/>
            <p:nvPr/>
          </p:nvSpPr>
          <p:spPr>
            <a:xfrm>
              <a:off x="8354691" y="1562414"/>
              <a:ext cx="4842" cy="98305"/>
            </a:xfrm>
            <a:custGeom>
              <a:avLst/>
              <a:gdLst>
                <a:gd name="connsiteX0" fmla="*/ 0 w 4842"/>
                <a:gd name="connsiteY0" fmla="*/ 0 h 98305"/>
                <a:gd name="connsiteX1" fmla="*/ 0 w 4842"/>
                <a:gd name="connsiteY1" fmla="*/ 98305 h 983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842" h="98305">
                  <a:moveTo>
                    <a:pt x="0" y="0"/>
                  </a:moveTo>
                  <a:lnTo>
                    <a:pt x="0" y="98305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835" name="Gráfico 10">
              <a:extLst>
                <a:ext uri="{FF2B5EF4-FFF2-40B4-BE49-F238E27FC236}">
                  <a16:creationId xmlns:a16="http://schemas.microsoft.com/office/drawing/2014/main" id="{6570BEC0-B30D-7B51-DB83-E881788D9AAB}"/>
                </a:ext>
              </a:extLst>
            </p:cNvPr>
            <p:cNvGrpSpPr/>
            <p:nvPr/>
          </p:nvGrpSpPr>
          <p:grpSpPr>
            <a:xfrm>
              <a:off x="8418904" y="1583627"/>
              <a:ext cx="63438" cy="55844"/>
              <a:chOff x="8418904" y="1583627"/>
              <a:chExt cx="63438" cy="55844"/>
            </a:xfrm>
            <a:noFill/>
          </p:grpSpPr>
          <p:sp>
            <p:nvSpPr>
              <p:cNvPr id="836" name="Forma livre: Forma 835">
                <a:extLst>
                  <a:ext uri="{FF2B5EF4-FFF2-40B4-BE49-F238E27FC236}">
                    <a16:creationId xmlns:a16="http://schemas.microsoft.com/office/drawing/2014/main" id="{091FD4B6-943A-1580-3148-6C930C326B82}"/>
                  </a:ext>
                </a:extLst>
              </p:cNvPr>
              <p:cNvSpPr/>
              <p:nvPr/>
            </p:nvSpPr>
            <p:spPr>
              <a:xfrm>
                <a:off x="8418904" y="1583627"/>
                <a:ext cx="63438" cy="13519"/>
              </a:xfrm>
              <a:custGeom>
                <a:avLst/>
                <a:gdLst>
                  <a:gd name="connsiteX0" fmla="*/ 63438 w 63438"/>
                  <a:gd name="connsiteY0" fmla="*/ 8908 h 13519"/>
                  <a:gd name="connsiteX1" fmla="*/ 30944 w 63438"/>
                  <a:gd name="connsiteY1" fmla="*/ 7116 h 13519"/>
                  <a:gd name="connsiteX2" fmla="*/ 0 w 63438"/>
                  <a:gd name="connsiteY2" fmla="*/ 3533 h 135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63438" h="13519">
                    <a:moveTo>
                      <a:pt x="63438" y="8908"/>
                    </a:moveTo>
                    <a:cubicBezTo>
                      <a:pt x="63438" y="8908"/>
                      <a:pt x="48329" y="-9881"/>
                      <a:pt x="30944" y="7116"/>
                    </a:cubicBezTo>
                    <a:cubicBezTo>
                      <a:pt x="25472" y="12492"/>
                      <a:pt x="14915" y="19852"/>
                      <a:pt x="0" y="3533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837" name="Forma livre: Forma 836">
                <a:extLst>
                  <a:ext uri="{FF2B5EF4-FFF2-40B4-BE49-F238E27FC236}">
                    <a16:creationId xmlns:a16="http://schemas.microsoft.com/office/drawing/2014/main" id="{54615F57-C5DD-FE2E-63B3-7203F52A44A7}"/>
                  </a:ext>
                </a:extLst>
              </p:cNvPr>
              <p:cNvSpPr/>
              <p:nvPr/>
            </p:nvSpPr>
            <p:spPr>
              <a:xfrm>
                <a:off x="8418904" y="1625952"/>
                <a:ext cx="63438" cy="13519"/>
              </a:xfrm>
              <a:custGeom>
                <a:avLst/>
                <a:gdLst>
                  <a:gd name="connsiteX0" fmla="*/ 63438 w 63438"/>
                  <a:gd name="connsiteY0" fmla="*/ 8908 h 13519"/>
                  <a:gd name="connsiteX1" fmla="*/ 30944 w 63438"/>
                  <a:gd name="connsiteY1" fmla="*/ 7116 h 13519"/>
                  <a:gd name="connsiteX2" fmla="*/ 0 w 63438"/>
                  <a:gd name="connsiteY2" fmla="*/ 3533 h 135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63438" h="13519">
                    <a:moveTo>
                      <a:pt x="63438" y="8908"/>
                    </a:moveTo>
                    <a:cubicBezTo>
                      <a:pt x="63438" y="8908"/>
                      <a:pt x="48329" y="-9881"/>
                      <a:pt x="30944" y="7116"/>
                    </a:cubicBezTo>
                    <a:cubicBezTo>
                      <a:pt x="25472" y="12492"/>
                      <a:pt x="14915" y="19852"/>
                      <a:pt x="0" y="3533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838" name="Gráfico 10">
            <a:extLst>
              <a:ext uri="{FF2B5EF4-FFF2-40B4-BE49-F238E27FC236}">
                <a16:creationId xmlns:a16="http://schemas.microsoft.com/office/drawing/2014/main" id="{524D38A1-B40B-FEF6-21B4-011C1E4E8114}"/>
              </a:ext>
            </a:extLst>
          </p:cNvPr>
          <p:cNvGrpSpPr/>
          <p:nvPr/>
        </p:nvGrpSpPr>
        <p:grpSpPr>
          <a:xfrm>
            <a:off x="8790291" y="1009533"/>
            <a:ext cx="296264" cy="263772"/>
            <a:chOff x="8790291" y="1009533"/>
            <a:chExt cx="296264" cy="263772"/>
          </a:xfrm>
          <a:noFill/>
        </p:grpSpPr>
        <p:sp>
          <p:nvSpPr>
            <p:cNvPr id="839" name="Forma livre: Forma 838">
              <a:extLst>
                <a:ext uri="{FF2B5EF4-FFF2-40B4-BE49-F238E27FC236}">
                  <a16:creationId xmlns:a16="http://schemas.microsoft.com/office/drawing/2014/main" id="{3E4F95A7-6482-FCAA-123A-4C6F7FE282AC}"/>
                </a:ext>
              </a:extLst>
            </p:cNvPr>
            <p:cNvSpPr/>
            <p:nvPr/>
          </p:nvSpPr>
          <p:spPr>
            <a:xfrm>
              <a:off x="8964667" y="1073407"/>
              <a:ext cx="121888" cy="75738"/>
            </a:xfrm>
            <a:custGeom>
              <a:avLst/>
              <a:gdLst>
                <a:gd name="connsiteX0" fmla="*/ 0 w 121888"/>
                <a:gd name="connsiteY0" fmla="*/ 75739 h 75738"/>
                <a:gd name="connsiteX1" fmla="*/ 17869 w 121888"/>
                <a:gd name="connsiteY1" fmla="*/ 57869 h 75738"/>
                <a:gd name="connsiteX2" fmla="*/ 27022 w 121888"/>
                <a:gd name="connsiteY2" fmla="*/ 67022 h 75738"/>
                <a:gd name="connsiteX3" fmla="*/ 54867 w 121888"/>
                <a:gd name="connsiteY3" fmla="*/ 67022 h 75738"/>
                <a:gd name="connsiteX4" fmla="*/ 121889 w 121888"/>
                <a:gd name="connsiteY4" fmla="*/ 0 h 757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1888" h="75738">
                  <a:moveTo>
                    <a:pt x="0" y="75739"/>
                  </a:moveTo>
                  <a:lnTo>
                    <a:pt x="17869" y="57869"/>
                  </a:lnTo>
                  <a:lnTo>
                    <a:pt x="27022" y="67022"/>
                  </a:lnTo>
                  <a:cubicBezTo>
                    <a:pt x="34673" y="74673"/>
                    <a:pt x="47216" y="74673"/>
                    <a:pt x="54867" y="67022"/>
                  </a:cubicBezTo>
                  <a:lnTo>
                    <a:pt x="121889" y="0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40" name="Forma livre: Forma 839">
              <a:extLst>
                <a:ext uri="{FF2B5EF4-FFF2-40B4-BE49-F238E27FC236}">
                  <a16:creationId xmlns:a16="http://schemas.microsoft.com/office/drawing/2014/main" id="{295A66F8-7533-265C-200F-F305022011EA}"/>
                </a:ext>
              </a:extLst>
            </p:cNvPr>
            <p:cNvSpPr/>
            <p:nvPr/>
          </p:nvSpPr>
          <p:spPr>
            <a:xfrm>
              <a:off x="8818529" y="1169194"/>
              <a:ext cx="103765" cy="104007"/>
            </a:xfrm>
            <a:custGeom>
              <a:avLst/>
              <a:gdLst>
                <a:gd name="connsiteX0" fmla="*/ 81925 w 103765"/>
                <a:gd name="connsiteY0" fmla="*/ 0 h 104007"/>
                <a:gd name="connsiteX1" fmla="*/ 4249 w 103765"/>
                <a:gd name="connsiteY1" fmla="*/ 77676 h 104007"/>
                <a:gd name="connsiteX2" fmla="*/ 4249 w 103765"/>
                <a:gd name="connsiteY2" fmla="*/ 98208 h 104007"/>
                <a:gd name="connsiteX3" fmla="*/ 5799 w 103765"/>
                <a:gd name="connsiteY3" fmla="*/ 99758 h 104007"/>
                <a:gd name="connsiteX4" fmla="*/ 26332 w 103765"/>
                <a:gd name="connsiteY4" fmla="*/ 99758 h 104007"/>
                <a:gd name="connsiteX5" fmla="*/ 103765 w 103765"/>
                <a:gd name="connsiteY5" fmla="*/ 22324 h 1040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03765" h="104007">
                  <a:moveTo>
                    <a:pt x="81925" y="0"/>
                  </a:moveTo>
                  <a:lnTo>
                    <a:pt x="4249" y="77676"/>
                  </a:lnTo>
                  <a:cubicBezTo>
                    <a:pt x="-1416" y="83341"/>
                    <a:pt x="-1416" y="92591"/>
                    <a:pt x="4249" y="98208"/>
                  </a:cubicBezTo>
                  <a:lnTo>
                    <a:pt x="5799" y="99758"/>
                  </a:lnTo>
                  <a:cubicBezTo>
                    <a:pt x="11465" y="105424"/>
                    <a:pt x="20714" y="105424"/>
                    <a:pt x="26332" y="99758"/>
                  </a:cubicBezTo>
                  <a:lnTo>
                    <a:pt x="103765" y="22324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41" name="Forma livre: Forma 840">
              <a:extLst>
                <a:ext uri="{FF2B5EF4-FFF2-40B4-BE49-F238E27FC236}">
                  <a16:creationId xmlns:a16="http://schemas.microsoft.com/office/drawing/2014/main" id="{FD28278B-C0C1-6841-B7EE-3F42B73F8EDF}"/>
                </a:ext>
              </a:extLst>
            </p:cNvPr>
            <p:cNvSpPr/>
            <p:nvPr/>
          </p:nvSpPr>
          <p:spPr>
            <a:xfrm>
              <a:off x="8942682" y="1009533"/>
              <a:ext cx="79951" cy="117385"/>
            </a:xfrm>
            <a:custGeom>
              <a:avLst/>
              <a:gdLst>
                <a:gd name="connsiteX0" fmla="*/ 79952 w 79951"/>
                <a:gd name="connsiteY0" fmla="*/ 0 h 117385"/>
                <a:gd name="connsiteX1" fmla="*/ 12930 w 79951"/>
                <a:gd name="connsiteY1" fmla="*/ 67022 h 117385"/>
                <a:gd name="connsiteX2" fmla="*/ 12930 w 79951"/>
                <a:gd name="connsiteY2" fmla="*/ 94867 h 117385"/>
                <a:gd name="connsiteX3" fmla="*/ 17724 w 79951"/>
                <a:gd name="connsiteY3" fmla="*/ 99661 h 117385"/>
                <a:gd name="connsiteX4" fmla="*/ 0 w 79951"/>
                <a:gd name="connsiteY4" fmla="*/ 117385 h 1173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9951" h="117385">
                  <a:moveTo>
                    <a:pt x="79952" y="0"/>
                  </a:moveTo>
                  <a:lnTo>
                    <a:pt x="12930" y="67022"/>
                  </a:lnTo>
                  <a:cubicBezTo>
                    <a:pt x="5279" y="74673"/>
                    <a:pt x="5279" y="87216"/>
                    <a:pt x="12930" y="94867"/>
                  </a:cubicBezTo>
                  <a:lnTo>
                    <a:pt x="17724" y="99661"/>
                  </a:lnTo>
                  <a:lnTo>
                    <a:pt x="0" y="117385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42" name="Forma livre: Forma 841">
              <a:extLst>
                <a:ext uri="{FF2B5EF4-FFF2-40B4-BE49-F238E27FC236}">
                  <a16:creationId xmlns:a16="http://schemas.microsoft.com/office/drawing/2014/main" id="{DEF9D219-D5A4-8121-EE0A-DD144AF80BC2}"/>
                </a:ext>
              </a:extLst>
            </p:cNvPr>
            <p:cNvSpPr/>
            <p:nvPr/>
          </p:nvSpPr>
          <p:spPr>
            <a:xfrm>
              <a:off x="8994014" y="1031276"/>
              <a:ext cx="49152" cy="49200"/>
            </a:xfrm>
            <a:custGeom>
              <a:avLst/>
              <a:gdLst>
                <a:gd name="connsiteX0" fmla="*/ 0 w 49152"/>
                <a:gd name="connsiteY0" fmla="*/ 49201 h 49200"/>
                <a:gd name="connsiteX1" fmla="*/ 49153 w 49152"/>
                <a:gd name="connsiteY1" fmla="*/ 0 h 49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9152" h="49200">
                  <a:moveTo>
                    <a:pt x="0" y="49201"/>
                  </a:moveTo>
                  <a:lnTo>
                    <a:pt x="49153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43" name="Forma livre: Forma 842">
              <a:extLst>
                <a:ext uri="{FF2B5EF4-FFF2-40B4-BE49-F238E27FC236}">
                  <a16:creationId xmlns:a16="http://schemas.microsoft.com/office/drawing/2014/main" id="{72A788B2-F746-C9C7-27DA-122EB74294C0}"/>
                </a:ext>
              </a:extLst>
            </p:cNvPr>
            <p:cNvSpPr/>
            <p:nvPr/>
          </p:nvSpPr>
          <p:spPr>
            <a:xfrm>
              <a:off x="9015369" y="1052681"/>
              <a:ext cx="49201" cy="49152"/>
            </a:xfrm>
            <a:custGeom>
              <a:avLst/>
              <a:gdLst>
                <a:gd name="connsiteX0" fmla="*/ 0 w 49201"/>
                <a:gd name="connsiteY0" fmla="*/ 49153 h 49152"/>
                <a:gd name="connsiteX1" fmla="*/ 49201 w 49201"/>
                <a:gd name="connsiteY1" fmla="*/ 0 h 491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9201" h="49152">
                  <a:moveTo>
                    <a:pt x="0" y="49153"/>
                  </a:moveTo>
                  <a:lnTo>
                    <a:pt x="49201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44" name="Forma livre: Forma 843">
              <a:extLst>
                <a:ext uri="{FF2B5EF4-FFF2-40B4-BE49-F238E27FC236}">
                  <a16:creationId xmlns:a16="http://schemas.microsoft.com/office/drawing/2014/main" id="{3C662590-B2A0-8B9C-EFB4-F8E10CC44F51}"/>
                </a:ext>
              </a:extLst>
            </p:cNvPr>
            <p:cNvSpPr/>
            <p:nvPr/>
          </p:nvSpPr>
          <p:spPr>
            <a:xfrm>
              <a:off x="8790291" y="1020724"/>
              <a:ext cx="236453" cy="252581"/>
            </a:xfrm>
            <a:custGeom>
              <a:avLst/>
              <a:gdLst>
                <a:gd name="connsiteX0" fmla="*/ 23335 w 236453"/>
                <a:gd name="connsiteY0" fmla="*/ 10988 h 252581"/>
                <a:gd name="connsiteX1" fmla="*/ 4400 w 236453"/>
                <a:gd name="connsiteY1" fmla="*/ 3773 h 252581"/>
                <a:gd name="connsiteX2" fmla="*/ 5514 w 236453"/>
                <a:gd name="connsiteY2" fmla="*/ 45225 h 252581"/>
                <a:gd name="connsiteX3" fmla="*/ 78202 w 236453"/>
                <a:gd name="connsiteY3" fmla="*/ 136751 h 252581"/>
                <a:gd name="connsiteX4" fmla="*/ 95974 w 236453"/>
                <a:gd name="connsiteY4" fmla="*/ 132005 h 252581"/>
                <a:gd name="connsiteX5" fmla="*/ 209872 w 236453"/>
                <a:gd name="connsiteY5" fmla="*/ 248131 h 252581"/>
                <a:gd name="connsiteX6" fmla="*/ 230744 w 236453"/>
                <a:gd name="connsiteY6" fmla="*/ 248422 h 252581"/>
                <a:gd name="connsiteX7" fmla="*/ 232003 w 236453"/>
                <a:gd name="connsiteY7" fmla="*/ 247211 h 252581"/>
                <a:gd name="connsiteX8" fmla="*/ 232294 w 236453"/>
                <a:gd name="connsiteY8" fmla="*/ 226339 h 252581"/>
                <a:gd name="connsiteX9" fmla="*/ 23335 w 236453"/>
                <a:gd name="connsiteY9" fmla="*/ 10988 h 2525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36453" h="252581">
                  <a:moveTo>
                    <a:pt x="23335" y="10988"/>
                  </a:moveTo>
                  <a:cubicBezTo>
                    <a:pt x="15538" y="3240"/>
                    <a:pt x="8371" y="-4993"/>
                    <a:pt x="4400" y="3773"/>
                  </a:cubicBezTo>
                  <a:cubicBezTo>
                    <a:pt x="4400" y="3773"/>
                    <a:pt x="-6205" y="25564"/>
                    <a:pt x="5514" y="45225"/>
                  </a:cubicBezTo>
                  <a:lnTo>
                    <a:pt x="78202" y="136751"/>
                  </a:lnTo>
                  <a:lnTo>
                    <a:pt x="95974" y="132005"/>
                  </a:lnTo>
                  <a:lnTo>
                    <a:pt x="209872" y="248131"/>
                  </a:lnTo>
                  <a:cubicBezTo>
                    <a:pt x="215538" y="253942"/>
                    <a:pt x="224933" y="254087"/>
                    <a:pt x="230744" y="248422"/>
                  </a:cubicBezTo>
                  <a:lnTo>
                    <a:pt x="232003" y="247211"/>
                  </a:lnTo>
                  <a:cubicBezTo>
                    <a:pt x="237814" y="241545"/>
                    <a:pt x="237960" y="232150"/>
                    <a:pt x="232294" y="226339"/>
                  </a:cubicBezTo>
                  <a:lnTo>
                    <a:pt x="23335" y="10988"/>
                  </a:ln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845" name="Gráfico 10">
            <a:extLst>
              <a:ext uri="{FF2B5EF4-FFF2-40B4-BE49-F238E27FC236}">
                <a16:creationId xmlns:a16="http://schemas.microsoft.com/office/drawing/2014/main" id="{E5FDE8B1-C387-14DC-77B3-53109D2B0E1E}"/>
              </a:ext>
            </a:extLst>
          </p:cNvPr>
          <p:cNvGrpSpPr/>
          <p:nvPr/>
        </p:nvGrpSpPr>
        <p:grpSpPr>
          <a:xfrm>
            <a:off x="8798372" y="2093020"/>
            <a:ext cx="280048" cy="242663"/>
            <a:chOff x="8798372" y="2093020"/>
            <a:chExt cx="280048" cy="242663"/>
          </a:xfrm>
        </p:grpSpPr>
        <p:sp>
          <p:nvSpPr>
            <p:cNvPr id="846" name="Forma livre: Forma 845">
              <a:extLst>
                <a:ext uri="{FF2B5EF4-FFF2-40B4-BE49-F238E27FC236}">
                  <a16:creationId xmlns:a16="http://schemas.microsoft.com/office/drawing/2014/main" id="{F126B2CD-45AC-52A4-B648-C19368358875}"/>
                </a:ext>
              </a:extLst>
            </p:cNvPr>
            <p:cNvSpPr/>
            <p:nvPr/>
          </p:nvSpPr>
          <p:spPr>
            <a:xfrm>
              <a:off x="8798372" y="2214328"/>
              <a:ext cx="280048" cy="4842"/>
            </a:xfrm>
            <a:custGeom>
              <a:avLst/>
              <a:gdLst>
                <a:gd name="connsiteX0" fmla="*/ 0 w 280048"/>
                <a:gd name="connsiteY0" fmla="*/ 0 h 4842"/>
                <a:gd name="connsiteX1" fmla="*/ 280049 w 280048"/>
                <a:gd name="connsiteY1" fmla="*/ 0 h 48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80048" h="4842">
                  <a:moveTo>
                    <a:pt x="0" y="0"/>
                  </a:moveTo>
                  <a:lnTo>
                    <a:pt x="280049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847" name="Gráfico 10">
              <a:extLst>
                <a:ext uri="{FF2B5EF4-FFF2-40B4-BE49-F238E27FC236}">
                  <a16:creationId xmlns:a16="http://schemas.microsoft.com/office/drawing/2014/main" id="{D64A9BC8-ECA8-D9B2-6BA1-C6296E6190BA}"/>
                </a:ext>
              </a:extLst>
            </p:cNvPr>
            <p:cNvGrpSpPr/>
            <p:nvPr/>
          </p:nvGrpSpPr>
          <p:grpSpPr>
            <a:xfrm>
              <a:off x="8831302" y="2170744"/>
              <a:ext cx="214189" cy="87215"/>
              <a:chOff x="8831302" y="2170744"/>
              <a:chExt cx="214189" cy="87215"/>
            </a:xfrm>
          </p:grpSpPr>
          <p:grpSp>
            <p:nvGrpSpPr>
              <p:cNvPr id="848" name="Gráfico 10">
                <a:extLst>
                  <a:ext uri="{FF2B5EF4-FFF2-40B4-BE49-F238E27FC236}">
                    <a16:creationId xmlns:a16="http://schemas.microsoft.com/office/drawing/2014/main" id="{01A6AF00-3517-4095-A3FD-2AC9596BC478}"/>
                  </a:ext>
                </a:extLst>
              </p:cNvPr>
              <p:cNvGrpSpPr/>
              <p:nvPr/>
            </p:nvGrpSpPr>
            <p:grpSpPr>
              <a:xfrm>
                <a:off x="9023069" y="2170744"/>
                <a:ext cx="22421" cy="87215"/>
                <a:chOff x="9023069" y="2170744"/>
                <a:chExt cx="22421" cy="87215"/>
              </a:xfrm>
            </p:grpSpPr>
            <p:sp>
              <p:nvSpPr>
                <p:cNvPr id="849" name="Forma livre: Forma 848">
                  <a:extLst>
                    <a:ext uri="{FF2B5EF4-FFF2-40B4-BE49-F238E27FC236}">
                      <a16:creationId xmlns:a16="http://schemas.microsoft.com/office/drawing/2014/main" id="{A940304A-6C90-0052-C797-66B6E3268EC6}"/>
                    </a:ext>
                  </a:extLst>
                </p:cNvPr>
                <p:cNvSpPr/>
                <p:nvPr/>
              </p:nvSpPr>
              <p:spPr>
                <a:xfrm>
                  <a:off x="9023069" y="2170744"/>
                  <a:ext cx="22421" cy="41210"/>
                </a:xfrm>
                <a:custGeom>
                  <a:avLst/>
                  <a:gdLst>
                    <a:gd name="connsiteX0" fmla="*/ 0 w 22421"/>
                    <a:gd name="connsiteY0" fmla="*/ 41211 h 41210"/>
                    <a:gd name="connsiteX1" fmla="*/ 22421 w 22421"/>
                    <a:gd name="connsiteY1" fmla="*/ 0 h 4121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2421" h="41210">
                      <a:moveTo>
                        <a:pt x="0" y="41211"/>
                      </a:moveTo>
                      <a:lnTo>
                        <a:pt x="22421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850" name="Forma livre: Forma 849">
                  <a:extLst>
                    <a:ext uri="{FF2B5EF4-FFF2-40B4-BE49-F238E27FC236}">
                      <a16:creationId xmlns:a16="http://schemas.microsoft.com/office/drawing/2014/main" id="{A2176A5D-DB7D-D6FA-58A6-E90E20210955}"/>
                    </a:ext>
                  </a:extLst>
                </p:cNvPr>
                <p:cNvSpPr/>
                <p:nvPr/>
              </p:nvSpPr>
              <p:spPr>
                <a:xfrm>
                  <a:off x="9023069" y="2216749"/>
                  <a:ext cx="22421" cy="41210"/>
                </a:xfrm>
                <a:custGeom>
                  <a:avLst/>
                  <a:gdLst>
                    <a:gd name="connsiteX0" fmla="*/ 0 w 22421"/>
                    <a:gd name="connsiteY0" fmla="*/ 0 h 41210"/>
                    <a:gd name="connsiteX1" fmla="*/ 22421 w 22421"/>
                    <a:gd name="connsiteY1" fmla="*/ 41211 h 4121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2421" h="41210">
                      <a:moveTo>
                        <a:pt x="0" y="0"/>
                      </a:moveTo>
                      <a:lnTo>
                        <a:pt x="22421" y="41211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851" name="Gráfico 10">
                <a:extLst>
                  <a:ext uri="{FF2B5EF4-FFF2-40B4-BE49-F238E27FC236}">
                    <a16:creationId xmlns:a16="http://schemas.microsoft.com/office/drawing/2014/main" id="{D08E4996-69F1-DA8D-37E4-F77F6AE3F774}"/>
                  </a:ext>
                </a:extLst>
              </p:cNvPr>
              <p:cNvGrpSpPr/>
              <p:nvPr/>
            </p:nvGrpSpPr>
            <p:grpSpPr>
              <a:xfrm>
                <a:off x="8831302" y="2170744"/>
                <a:ext cx="22421" cy="87215"/>
                <a:chOff x="8831302" y="2170744"/>
                <a:chExt cx="22421" cy="87215"/>
              </a:xfrm>
            </p:grpSpPr>
            <p:sp>
              <p:nvSpPr>
                <p:cNvPr id="852" name="Forma livre: Forma 851">
                  <a:extLst>
                    <a:ext uri="{FF2B5EF4-FFF2-40B4-BE49-F238E27FC236}">
                      <a16:creationId xmlns:a16="http://schemas.microsoft.com/office/drawing/2014/main" id="{F9E89C14-32A6-7C31-CEFE-C8B0DECA5D8A}"/>
                    </a:ext>
                  </a:extLst>
                </p:cNvPr>
                <p:cNvSpPr/>
                <p:nvPr/>
              </p:nvSpPr>
              <p:spPr>
                <a:xfrm>
                  <a:off x="8831302" y="2170744"/>
                  <a:ext cx="22421" cy="41210"/>
                </a:xfrm>
                <a:custGeom>
                  <a:avLst/>
                  <a:gdLst>
                    <a:gd name="connsiteX0" fmla="*/ 22421 w 22421"/>
                    <a:gd name="connsiteY0" fmla="*/ 41211 h 41210"/>
                    <a:gd name="connsiteX1" fmla="*/ 0 w 22421"/>
                    <a:gd name="connsiteY1" fmla="*/ 0 h 4121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2421" h="41210">
                      <a:moveTo>
                        <a:pt x="22421" y="41211"/>
                      </a:moveTo>
                      <a:lnTo>
                        <a:pt x="0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853" name="Forma livre: Forma 852">
                  <a:extLst>
                    <a:ext uri="{FF2B5EF4-FFF2-40B4-BE49-F238E27FC236}">
                      <a16:creationId xmlns:a16="http://schemas.microsoft.com/office/drawing/2014/main" id="{A517ED6E-6D34-E6D6-3D47-E876DC4B643A}"/>
                    </a:ext>
                  </a:extLst>
                </p:cNvPr>
                <p:cNvSpPr/>
                <p:nvPr/>
              </p:nvSpPr>
              <p:spPr>
                <a:xfrm>
                  <a:off x="8831302" y="2216749"/>
                  <a:ext cx="22421" cy="41210"/>
                </a:xfrm>
                <a:custGeom>
                  <a:avLst/>
                  <a:gdLst>
                    <a:gd name="connsiteX0" fmla="*/ 22421 w 22421"/>
                    <a:gd name="connsiteY0" fmla="*/ 0 h 41210"/>
                    <a:gd name="connsiteX1" fmla="*/ 0 w 22421"/>
                    <a:gd name="connsiteY1" fmla="*/ 41211 h 4121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2421" h="41210">
                      <a:moveTo>
                        <a:pt x="22421" y="0"/>
                      </a:moveTo>
                      <a:lnTo>
                        <a:pt x="0" y="41211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grpSp>
          <p:nvGrpSpPr>
            <p:cNvPr id="854" name="Gráfico 10">
              <a:extLst>
                <a:ext uri="{FF2B5EF4-FFF2-40B4-BE49-F238E27FC236}">
                  <a16:creationId xmlns:a16="http://schemas.microsoft.com/office/drawing/2014/main" id="{D03319F5-47D4-118F-2C3A-AA39BA769CCD}"/>
                </a:ext>
              </a:extLst>
            </p:cNvPr>
            <p:cNvGrpSpPr/>
            <p:nvPr/>
          </p:nvGrpSpPr>
          <p:grpSpPr>
            <a:xfrm>
              <a:off x="8847137" y="2093020"/>
              <a:ext cx="182518" cy="242663"/>
              <a:chOff x="8847137" y="2093020"/>
              <a:chExt cx="182518" cy="242663"/>
            </a:xfrm>
          </p:grpSpPr>
          <p:sp>
            <p:nvSpPr>
              <p:cNvPr id="855" name="Forma livre: Forma 854">
                <a:extLst>
                  <a:ext uri="{FF2B5EF4-FFF2-40B4-BE49-F238E27FC236}">
                    <a16:creationId xmlns:a16="http://schemas.microsoft.com/office/drawing/2014/main" id="{9F03A8A2-A912-7646-CE88-91CA1185791A}"/>
                  </a:ext>
                </a:extLst>
              </p:cNvPr>
              <p:cNvSpPr/>
              <p:nvPr/>
            </p:nvSpPr>
            <p:spPr>
              <a:xfrm>
                <a:off x="8868493" y="2093020"/>
                <a:ext cx="139806" cy="242663"/>
              </a:xfrm>
              <a:custGeom>
                <a:avLst/>
                <a:gdLst>
                  <a:gd name="connsiteX0" fmla="*/ 0 w 139806"/>
                  <a:gd name="connsiteY0" fmla="*/ 0 h 242663"/>
                  <a:gd name="connsiteX1" fmla="*/ 139806 w 139806"/>
                  <a:gd name="connsiteY1" fmla="*/ 242664 h 2426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39806" h="242663">
                    <a:moveTo>
                      <a:pt x="0" y="0"/>
                    </a:moveTo>
                    <a:lnTo>
                      <a:pt x="139806" y="242664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856" name="Gráfico 10">
                <a:extLst>
                  <a:ext uri="{FF2B5EF4-FFF2-40B4-BE49-F238E27FC236}">
                    <a16:creationId xmlns:a16="http://schemas.microsoft.com/office/drawing/2014/main" id="{86A65027-9FC0-AFD0-CCAA-B37222FE38AA}"/>
                  </a:ext>
                </a:extLst>
              </p:cNvPr>
              <p:cNvGrpSpPr/>
              <p:nvPr/>
            </p:nvGrpSpPr>
            <p:grpSpPr>
              <a:xfrm>
                <a:off x="8847137" y="2099800"/>
                <a:ext cx="182518" cy="229104"/>
                <a:chOff x="8847137" y="2099800"/>
                <a:chExt cx="182518" cy="229104"/>
              </a:xfrm>
            </p:grpSpPr>
            <p:grpSp>
              <p:nvGrpSpPr>
                <p:cNvPr id="857" name="Gráfico 10">
                  <a:extLst>
                    <a:ext uri="{FF2B5EF4-FFF2-40B4-BE49-F238E27FC236}">
                      <a16:creationId xmlns:a16="http://schemas.microsoft.com/office/drawing/2014/main" id="{D6C3BDE4-BD33-726A-992C-C60FBD7A2A42}"/>
                    </a:ext>
                  </a:extLst>
                </p:cNvPr>
                <p:cNvGrpSpPr/>
                <p:nvPr/>
              </p:nvGrpSpPr>
              <p:grpSpPr>
                <a:xfrm>
                  <a:off x="8954110" y="2285369"/>
                  <a:ext cx="75544" cy="43535"/>
                  <a:chOff x="8954110" y="2285369"/>
                  <a:chExt cx="75544" cy="43535"/>
                </a:xfrm>
              </p:grpSpPr>
              <p:sp>
                <p:nvSpPr>
                  <p:cNvPr id="858" name="Forma livre: Forma 857">
                    <a:extLst>
                      <a:ext uri="{FF2B5EF4-FFF2-40B4-BE49-F238E27FC236}">
                        <a16:creationId xmlns:a16="http://schemas.microsoft.com/office/drawing/2014/main" id="{51C55813-588C-4973-FB31-C0C0BEEFF2E4}"/>
                      </a:ext>
                    </a:extLst>
                  </p:cNvPr>
                  <p:cNvSpPr/>
                  <p:nvPr/>
                </p:nvSpPr>
                <p:spPr>
                  <a:xfrm>
                    <a:off x="8982779" y="2285369"/>
                    <a:ext cx="46876" cy="1113"/>
                  </a:xfrm>
                  <a:custGeom>
                    <a:avLst/>
                    <a:gdLst>
                      <a:gd name="connsiteX0" fmla="*/ 0 w 46876"/>
                      <a:gd name="connsiteY0" fmla="*/ 1114 h 1113"/>
                      <a:gd name="connsiteX1" fmla="*/ 46877 w 46876"/>
                      <a:gd name="connsiteY1" fmla="*/ 0 h 111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46876" h="1113">
                        <a:moveTo>
                          <a:pt x="0" y="1114"/>
                        </a:moveTo>
                        <a:lnTo>
                          <a:pt x="46877" y="0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859" name="Forma livre: Forma 858">
                    <a:extLst>
                      <a:ext uri="{FF2B5EF4-FFF2-40B4-BE49-F238E27FC236}">
                        <a16:creationId xmlns:a16="http://schemas.microsoft.com/office/drawing/2014/main" id="{5237ADF1-F5F6-1455-508F-043015CF255B}"/>
                      </a:ext>
                    </a:extLst>
                  </p:cNvPr>
                  <p:cNvSpPr/>
                  <p:nvPr/>
                </p:nvSpPr>
                <p:spPr>
                  <a:xfrm>
                    <a:off x="8954110" y="2288904"/>
                    <a:ext cx="24455" cy="40000"/>
                  </a:xfrm>
                  <a:custGeom>
                    <a:avLst/>
                    <a:gdLst>
                      <a:gd name="connsiteX0" fmla="*/ 24455 w 24455"/>
                      <a:gd name="connsiteY0" fmla="*/ 0 h 40000"/>
                      <a:gd name="connsiteX1" fmla="*/ 0 w 24455"/>
                      <a:gd name="connsiteY1" fmla="*/ 40000 h 4000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24455" h="40000">
                        <a:moveTo>
                          <a:pt x="24455" y="0"/>
                        </a:moveTo>
                        <a:lnTo>
                          <a:pt x="0" y="40000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  <p:grpSp>
              <p:nvGrpSpPr>
                <p:cNvPr id="860" name="Gráfico 10">
                  <a:extLst>
                    <a:ext uri="{FF2B5EF4-FFF2-40B4-BE49-F238E27FC236}">
                      <a16:creationId xmlns:a16="http://schemas.microsoft.com/office/drawing/2014/main" id="{7C4128B7-4828-63DE-A29E-035495676659}"/>
                    </a:ext>
                  </a:extLst>
                </p:cNvPr>
                <p:cNvGrpSpPr/>
                <p:nvPr/>
              </p:nvGrpSpPr>
              <p:grpSpPr>
                <a:xfrm>
                  <a:off x="8847137" y="2099800"/>
                  <a:ext cx="75544" cy="43486"/>
                  <a:chOff x="8847137" y="2099800"/>
                  <a:chExt cx="75544" cy="43486"/>
                </a:xfrm>
              </p:grpSpPr>
              <p:sp>
                <p:nvSpPr>
                  <p:cNvPr id="861" name="Forma livre: Forma 860">
                    <a:extLst>
                      <a:ext uri="{FF2B5EF4-FFF2-40B4-BE49-F238E27FC236}">
                        <a16:creationId xmlns:a16="http://schemas.microsoft.com/office/drawing/2014/main" id="{B8845CB6-D3D6-7932-ED94-1B8523A7D5DA}"/>
                      </a:ext>
                    </a:extLst>
                  </p:cNvPr>
                  <p:cNvSpPr/>
                  <p:nvPr/>
                </p:nvSpPr>
                <p:spPr>
                  <a:xfrm>
                    <a:off x="8898227" y="2099800"/>
                    <a:ext cx="24455" cy="40000"/>
                  </a:xfrm>
                  <a:custGeom>
                    <a:avLst/>
                    <a:gdLst>
                      <a:gd name="connsiteX0" fmla="*/ 0 w 24455"/>
                      <a:gd name="connsiteY0" fmla="*/ 40000 h 40000"/>
                      <a:gd name="connsiteX1" fmla="*/ 24455 w 24455"/>
                      <a:gd name="connsiteY1" fmla="*/ 0 h 4000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24455" h="40000">
                        <a:moveTo>
                          <a:pt x="0" y="40000"/>
                        </a:moveTo>
                        <a:lnTo>
                          <a:pt x="24455" y="0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862" name="Forma livre: Forma 861">
                    <a:extLst>
                      <a:ext uri="{FF2B5EF4-FFF2-40B4-BE49-F238E27FC236}">
                        <a16:creationId xmlns:a16="http://schemas.microsoft.com/office/drawing/2014/main" id="{9D1EDFD9-9CDD-5CBF-0DF9-B982321200E2}"/>
                      </a:ext>
                    </a:extLst>
                  </p:cNvPr>
                  <p:cNvSpPr/>
                  <p:nvPr/>
                </p:nvSpPr>
                <p:spPr>
                  <a:xfrm>
                    <a:off x="8847137" y="2142173"/>
                    <a:ext cx="46876" cy="1113"/>
                  </a:xfrm>
                  <a:custGeom>
                    <a:avLst/>
                    <a:gdLst>
                      <a:gd name="connsiteX0" fmla="*/ 46877 w 46876"/>
                      <a:gd name="connsiteY0" fmla="*/ 0 h 1113"/>
                      <a:gd name="connsiteX1" fmla="*/ 0 w 46876"/>
                      <a:gd name="connsiteY1" fmla="*/ 1114 h 111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46876" h="1113">
                        <a:moveTo>
                          <a:pt x="46877" y="0"/>
                        </a:moveTo>
                        <a:lnTo>
                          <a:pt x="0" y="1114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</p:grpSp>
        </p:grpSp>
        <p:sp>
          <p:nvSpPr>
            <p:cNvPr id="863" name="Forma livre: Forma 862">
              <a:extLst>
                <a:ext uri="{FF2B5EF4-FFF2-40B4-BE49-F238E27FC236}">
                  <a16:creationId xmlns:a16="http://schemas.microsoft.com/office/drawing/2014/main" id="{E8558A0A-AB4E-B2EE-6E1F-4EADF790CD28}"/>
                </a:ext>
              </a:extLst>
            </p:cNvPr>
            <p:cNvSpPr/>
            <p:nvPr/>
          </p:nvSpPr>
          <p:spPr>
            <a:xfrm>
              <a:off x="8867718" y="2093456"/>
              <a:ext cx="141356" cy="241743"/>
            </a:xfrm>
            <a:custGeom>
              <a:avLst/>
              <a:gdLst>
                <a:gd name="connsiteX0" fmla="*/ 141356 w 141356"/>
                <a:gd name="connsiteY0" fmla="*/ 0 h 241743"/>
                <a:gd name="connsiteX1" fmla="*/ 0 w 141356"/>
                <a:gd name="connsiteY1" fmla="*/ 241743 h 2417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41356" h="241743">
                  <a:moveTo>
                    <a:pt x="141356" y="0"/>
                  </a:moveTo>
                  <a:lnTo>
                    <a:pt x="0" y="241743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864" name="Gráfico 10">
              <a:extLst>
                <a:ext uri="{FF2B5EF4-FFF2-40B4-BE49-F238E27FC236}">
                  <a16:creationId xmlns:a16="http://schemas.microsoft.com/office/drawing/2014/main" id="{B8BA076B-9DCC-9C6F-2DD1-404B53F480E9}"/>
                </a:ext>
              </a:extLst>
            </p:cNvPr>
            <p:cNvGrpSpPr/>
            <p:nvPr/>
          </p:nvGrpSpPr>
          <p:grpSpPr>
            <a:xfrm>
              <a:off x="8846701" y="2099897"/>
              <a:ext cx="183389" cy="228910"/>
              <a:chOff x="8846701" y="2099897"/>
              <a:chExt cx="183389" cy="228910"/>
            </a:xfrm>
          </p:grpSpPr>
          <p:grpSp>
            <p:nvGrpSpPr>
              <p:cNvPr id="865" name="Gráfico 10">
                <a:extLst>
                  <a:ext uri="{FF2B5EF4-FFF2-40B4-BE49-F238E27FC236}">
                    <a16:creationId xmlns:a16="http://schemas.microsoft.com/office/drawing/2014/main" id="{51A49DB4-18EA-32A6-171D-1F1BCB5EE25D}"/>
                  </a:ext>
                </a:extLst>
              </p:cNvPr>
              <p:cNvGrpSpPr/>
              <p:nvPr/>
            </p:nvGrpSpPr>
            <p:grpSpPr>
              <a:xfrm>
                <a:off x="8846701" y="2284788"/>
                <a:ext cx="75254" cy="44019"/>
                <a:chOff x="8846701" y="2284788"/>
                <a:chExt cx="75254" cy="44019"/>
              </a:xfrm>
            </p:grpSpPr>
            <p:sp>
              <p:nvSpPr>
                <p:cNvPr id="866" name="Forma livre: Forma 865">
                  <a:extLst>
                    <a:ext uri="{FF2B5EF4-FFF2-40B4-BE49-F238E27FC236}">
                      <a16:creationId xmlns:a16="http://schemas.microsoft.com/office/drawing/2014/main" id="{C83BF71B-5AFE-3710-B016-869F575DBE65}"/>
                    </a:ext>
                  </a:extLst>
                </p:cNvPr>
                <p:cNvSpPr/>
                <p:nvPr/>
              </p:nvSpPr>
              <p:spPr>
                <a:xfrm>
                  <a:off x="8897742" y="2288662"/>
                  <a:ext cx="24213" cy="40145"/>
                </a:xfrm>
                <a:custGeom>
                  <a:avLst/>
                  <a:gdLst>
                    <a:gd name="connsiteX0" fmla="*/ 0 w 24213"/>
                    <a:gd name="connsiteY0" fmla="*/ 0 h 40145"/>
                    <a:gd name="connsiteX1" fmla="*/ 24213 w 24213"/>
                    <a:gd name="connsiteY1" fmla="*/ 40145 h 4014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4213" h="40145">
                      <a:moveTo>
                        <a:pt x="0" y="0"/>
                      </a:moveTo>
                      <a:lnTo>
                        <a:pt x="24213" y="40145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867" name="Forma livre: Forma 866">
                  <a:extLst>
                    <a:ext uri="{FF2B5EF4-FFF2-40B4-BE49-F238E27FC236}">
                      <a16:creationId xmlns:a16="http://schemas.microsoft.com/office/drawing/2014/main" id="{89ED31C4-E4F1-BD32-E10A-3F3D80A0E506}"/>
                    </a:ext>
                  </a:extLst>
                </p:cNvPr>
                <p:cNvSpPr/>
                <p:nvPr/>
              </p:nvSpPr>
              <p:spPr>
                <a:xfrm>
                  <a:off x="8846701" y="2284788"/>
                  <a:ext cx="46876" cy="1404"/>
                </a:xfrm>
                <a:custGeom>
                  <a:avLst/>
                  <a:gdLst>
                    <a:gd name="connsiteX0" fmla="*/ 46877 w 46876"/>
                    <a:gd name="connsiteY0" fmla="*/ 1404 h 1404"/>
                    <a:gd name="connsiteX1" fmla="*/ 0 w 46876"/>
                    <a:gd name="connsiteY1" fmla="*/ 0 h 140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6876" h="1404">
                      <a:moveTo>
                        <a:pt x="46877" y="1404"/>
                      </a:moveTo>
                      <a:lnTo>
                        <a:pt x="0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868" name="Gráfico 10">
                <a:extLst>
                  <a:ext uri="{FF2B5EF4-FFF2-40B4-BE49-F238E27FC236}">
                    <a16:creationId xmlns:a16="http://schemas.microsoft.com/office/drawing/2014/main" id="{1F69B67C-986F-BF8B-0C57-E4C629A34B23}"/>
                  </a:ext>
                </a:extLst>
              </p:cNvPr>
              <p:cNvGrpSpPr/>
              <p:nvPr/>
            </p:nvGrpSpPr>
            <p:grpSpPr>
              <a:xfrm>
                <a:off x="8954837" y="2099897"/>
                <a:ext cx="75254" cy="44019"/>
                <a:chOff x="8954837" y="2099897"/>
                <a:chExt cx="75254" cy="44019"/>
              </a:xfrm>
            </p:grpSpPr>
            <p:sp>
              <p:nvSpPr>
                <p:cNvPr id="869" name="Forma livre: Forma 868">
                  <a:extLst>
                    <a:ext uri="{FF2B5EF4-FFF2-40B4-BE49-F238E27FC236}">
                      <a16:creationId xmlns:a16="http://schemas.microsoft.com/office/drawing/2014/main" id="{21A69AAA-CEAC-7D0F-A3DC-CF54C92DFB11}"/>
                    </a:ext>
                  </a:extLst>
                </p:cNvPr>
                <p:cNvSpPr/>
                <p:nvPr/>
              </p:nvSpPr>
              <p:spPr>
                <a:xfrm>
                  <a:off x="8983215" y="2142463"/>
                  <a:ext cx="46876" cy="1452"/>
                </a:xfrm>
                <a:custGeom>
                  <a:avLst/>
                  <a:gdLst>
                    <a:gd name="connsiteX0" fmla="*/ 0 w 46876"/>
                    <a:gd name="connsiteY0" fmla="*/ 0 h 1452"/>
                    <a:gd name="connsiteX1" fmla="*/ 46877 w 46876"/>
                    <a:gd name="connsiteY1" fmla="*/ 1453 h 145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6876" h="1452">
                      <a:moveTo>
                        <a:pt x="0" y="0"/>
                      </a:moveTo>
                      <a:lnTo>
                        <a:pt x="46877" y="1453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870" name="Forma livre: Forma 869">
                  <a:extLst>
                    <a:ext uri="{FF2B5EF4-FFF2-40B4-BE49-F238E27FC236}">
                      <a16:creationId xmlns:a16="http://schemas.microsoft.com/office/drawing/2014/main" id="{3D1BF26D-FF3A-2C00-B781-D01FFF066D9F}"/>
                    </a:ext>
                  </a:extLst>
                </p:cNvPr>
                <p:cNvSpPr/>
                <p:nvPr/>
              </p:nvSpPr>
              <p:spPr>
                <a:xfrm>
                  <a:off x="8954837" y="2099897"/>
                  <a:ext cx="24213" cy="40145"/>
                </a:xfrm>
                <a:custGeom>
                  <a:avLst/>
                  <a:gdLst>
                    <a:gd name="connsiteX0" fmla="*/ 24213 w 24213"/>
                    <a:gd name="connsiteY0" fmla="*/ 40145 h 40145"/>
                    <a:gd name="connsiteX1" fmla="*/ 0 w 24213"/>
                    <a:gd name="connsiteY1" fmla="*/ 0 h 4014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4213" h="40145">
                      <a:moveTo>
                        <a:pt x="24213" y="40145"/>
                      </a:moveTo>
                      <a:lnTo>
                        <a:pt x="0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</p:grpSp>
      <p:grpSp>
        <p:nvGrpSpPr>
          <p:cNvPr id="871" name="Gráfico 10">
            <a:extLst>
              <a:ext uri="{FF2B5EF4-FFF2-40B4-BE49-F238E27FC236}">
                <a16:creationId xmlns:a16="http://schemas.microsoft.com/office/drawing/2014/main" id="{DC6E9205-9E37-7876-0CF0-ED25314505B6}"/>
              </a:ext>
            </a:extLst>
          </p:cNvPr>
          <p:cNvGrpSpPr/>
          <p:nvPr/>
        </p:nvGrpSpPr>
        <p:grpSpPr>
          <a:xfrm>
            <a:off x="8816833" y="2585611"/>
            <a:ext cx="243185" cy="322460"/>
            <a:chOff x="8816833" y="2585611"/>
            <a:chExt cx="243185" cy="322460"/>
          </a:xfrm>
        </p:grpSpPr>
        <p:sp>
          <p:nvSpPr>
            <p:cNvPr id="872" name="Forma livre: Forma 871">
              <a:extLst>
                <a:ext uri="{FF2B5EF4-FFF2-40B4-BE49-F238E27FC236}">
                  <a16:creationId xmlns:a16="http://schemas.microsoft.com/office/drawing/2014/main" id="{06E7FE79-169B-1C21-5D23-487D1133B15F}"/>
                </a:ext>
              </a:extLst>
            </p:cNvPr>
            <p:cNvSpPr/>
            <p:nvPr/>
          </p:nvSpPr>
          <p:spPr>
            <a:xfrm>
              <a:off x="8816833" y="2585611"/>
              <a:ext cx="98004" cy="322460"/>
            </a:xfrm>
            <a:custGeom>
              <a:avLst/>
              <a:gdLst>
                <a:gd name="connsiteX0" fmla="*/ 98004 w 98004"/>
                <a:gd name="connsiteY0" fmla="*/ 151429 h 322460"/>
                <a:gd name="connsiteX1" fmla="*/ 86140 w 98004"/>
                <a:gd name="connsiteY1" fmla="*/ 130460 h 322460"/>
                <a:gd name="connsiteX2" fmla="*/ 85510 w 98004"/>
                <a:gd name="connsiteY2" fmla="*/ 129492 h 322460"/>
                <a:gd name="connsiteX3" fmla="*/ 78198 w 98004"/>
                <a:gd name="connsiteY3" fmla="*/ 62906 h 322460"/>
                <a:gd name="connsiteX4" fmla="*/ 78585 w 98004"/>
                <a:gd name="connsiteY4" fmla="*/ 62034 h 322460"/>
                <a:gd name="connsiteX5" fmla="*/ 85074 w 98004"/>
                <a:gd name="connsiteY5" fmla="*/ 42470 h 322460"/>
                <a:gd name="connsiteX6" fmla="*/ 53065 w 98004"/>
                <a:gd name="connsiteY6" fmla="*/ 0 h 322460"/>
                <a:gd name="connsiteX7" fmla="*/ 52871 w 98004"/>
                <a:gd name="connsiteY7" fmla="*/ 0 h 322460"/>
                <a:gd name="connsiteX8" fmla="*/ 20861 w 98004"/>
                <a:gd name="connsiteY8" fmla="*/ 42470 h 322460"/>
                <a:gd name="connsiteX9" fmla="*/ 27350 w 98004"/>
                <a:gd name="connsiteY9" fmla="*/ 62034 h 322460"/>
                <a:gd name="connsiteX10" fmla="*/ 27738 w 98004"/>
                <a:gd name="connsiteY10" fmla="*/ 62906 h 322460"/>
                <a:gd name="connsiteX11" fmla="*/ 20280 w 98004"/>
                <a:gd name="connsiteY11" fmla="*/ 129734 h 322460"/>
                <a:gd name="connsiteX12" fmla="*/ 19747 w 98004"/>
                <a:gd name="connsiteY12" fmla="*/ 130412 h 322460"/>
                <a:gd name="connsiteX13" fmla="*/ 377 w 98004"/>
                <a:gd name="connsiteY13" fmla="*/ 210944 h 322460"/>
                <a:gd name="connsiteX14" fmla="*/ 29045 w 98004"/>
                <a:gd name="connsiteY14" fmla="*/ 317821 h 322460"/>
                <a:gd name="connsiteX15" fmla="*/ 51563 w 98004"/>
                <a:gd name="connsiteY15" fmla="*/ 322421 h 322460"/>
                <a:gd name="connsiteX16" fmla="*/ 53839 w 98004"/>
                <a:gd name="connsiteY16" fmla="*/ 322421 h 322460"/>
                <a:gd name="connsiteX17" fmla="*/ 76939 w 98004"/>
                <a:gd name="connsiteY17" fmla="*/ 317821 h 322460"/>
                <a:gd name="connsiteX18" fmla="*/ 80861 w 98004"/>
                <a:gd name="connsiteY18" fmla="*/ 309685 h 3224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98004" h="322460">
                  <a:moveTo>
                    <a:pt x="98004" y="151429"/>
                  </a:moveTo>
                  <a:cubicBezTo>
                    <a:pt x="94953" y="143826"/>
                    <a:pt x="90595" y="135981"/>
                    <a:pt x="86140" y="130460"/>
                  </a:cubicBezTo>
                  <a:lnTo>
                    <a:pt x="85510" y="129492"/>
                  </a:lnTo>
                  <a:cubicBezTo>
                    <a:pt x="65994" y="99031"/>
                    <a:pt x="76116" y="67651"/>
                    <a:pt x="78198" y="62906"/>
                  </a:cubicBezTo>
                  <a:lnTo>
                    <a:pt x="78585" y="62034"/>
                  </a:lnTo>
                  <a:cubicBezTo>
                    <a:pt x="81588" y="55981"/>
                    <a:pt x="84057" y="49927"/>
                    <a:pt x="85074" y="42470"/>
                  </a:cubicBezTo>
                  <a:cubicBezTo>
                    <a:pt x="87786" y="22712"/>
                    <a:pt x="81830" y="0"/>
                    <a:pt x="53065" y="0"/>
                  </a:cubicBezTo>
                  <a:lnTo>
                    <a:pt x="52871" y="0"/>
                  </a:lnTo>
                  <a:cubicBezTo>
                    <a:pt x="24106" y="0"/>
                    <a:pt x="18149" y="22712"/>
                    <a:pt x="20861" y="42470"/>
                  </a:cubicBezTo>
                  <a:cubicBezTo>
                    <a:pt x="21878" y="49927"/>
                    <a:pt x="24348" y="55981"/>
                    <a:pt x="27350" y="62034"/>
                  </a:cubicBezTo>
                  <a:lnTo>
                    <a:pt x="27738" y="62906"/>
                  </a:lnTo>
                  <a:cubicBezTo>
                    <a:pt x="29820" y="67651"/>
                    <a:pt x="39796" y="99322"/>
                    <a:pt x="20280" y="129734"/>
                  </a:cubicBezTo>
                  <a:lnTo>
                    <a:pt x="19747" y="130412"/>
                  </a:lnTo>
                  <a:cubicBezTo>
                    <a:pt x="5946" y="147748"/>
                    <a:pt x="-1851" y="175303"/>
                    <a:pt x="377" y="210944"/>
                  </a:cubicBezTo>
                  <a:cubicBezTo>
                    <a:pt x="3428" y="260387"/>
                    <a:pt x="12726" y="286392"/>
                    <a:pt x="29045" y="317821"/>
                  </a:cubicBezTo>
                  <a:cubicBezTo>
                    <a:pt x="31806" y="323196"/>
                    <a:pt x="42508" y="322421"/>
                    <a:pt x="51563" y="322421"/>
                  </a:cubicBezTo>
                  <a:lnTo>
                    <a:pt x="53839" y="322421"/>
                  </a:lnTo>
                  <a:cubicBezTo>
                    <a:pt x="62895" y="322421"/>
                    <a:pt x="74178" y="323196"/>
                    <a:pt x="76939" y="317821"/>
                  </a:cubicBezTo>
                  <a:cubicBezTo>
                    <a:pt x="78198" y="315400"/>
                    <a:pt x="79699" y="312058"/>
                    <a:pt x="80861" y="309685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73" name="Forma livre: Forma 872">
              <a:extLst>
                <a:ext uri="{FF2B5EF4-FFF2-40B4-BE49-F238E27FC236}">
                  <a16:creationId xmlns:a16="http://schemas.microsoft.com/office/drawing/2014/main" id="{AB9485D6-B3E9-6C19-DA8B-10BF9D30E136}"/>
                </a:ext>
              </a:extLst>
            </p:cNvPr>
            <p:cNvSpPr/>
            <p:nvPr/>
          </p:nvSpPr>
          <p:spPr>
            <a:xfrm>
              <a:off x="8891011" y="2738832"/>
              <a:ext cx="169007" cy="169007"/>
            </a:xfrm>
            <a:custGeom>
              <a:avLst/>
              <a:gdLst>
                <a:gd name="connsiteX0" fmla="*/ 169007 w 169007"/>
                <a:gd name="connsiteY0" fmla="*/ 84504 h 169007"/>
                <a:gd name="connsiteX1" fmla="*/ 84504 w 169007"/>
                <a:gd name="connsiteY1" fmla="*/ 169007 h 169007"/>
                <a:gd name="connsiteX2" fmla="*/ 0 w 169007"/>
                <a:gd name="connsiteY2" fmla="*/ 84504 h 169007"/>
                <a:gd name="connsiteX3" fmla="*/ 84504 w 169007"/>
                <a:gd name="connsiteY3" fmla="*/ 0 h 169007"/>
                <a:gd name="connsiteX4" fmla="*/ 169007 w 169007"/>
                <a:gd name="connsiteY4" fmla="*/ 84504 h 1690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9007" h="169007">
                  <a:moveTo>
                    <a:pt x="169007" y="84504"/>
                  </a:moveTo>
                  <a:cubicBezTo>
                    <a:pt x="169007" y="131186"/>
                    <a:pt x="131187" y="169007"/>
                    <a:pt x="84504" y="169007"/>
                  </a:cubicBezTo>
                  <a:cubicBezTo>
                    <a:pt x="37821" y="169007"/>
                    <a:pt x="0" y="131186"/>
                    <a:pt x="0" y="84504"/>
                  </a:cubicBezTo>
                  <a:cubicBezTo>
                    <a:pt x="0" y="37821"/>
                    <a:pt x="37869" y="0"/>
                    <a:pt x="84504" y="0"/>
                  </a:cubicBezTo>
                  <a:cubicBezTo>
                    <a:pt x="131138" y="0"/>
                    <a:pt x="169007" y="37821"/>
                    <a:pt x="169007" y="84504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74" name="Forma livre: Forma 873">
              <a:extLst>
                <a:ext uri="{FF2B5EF4-FFF2-40B4-BE49-F238E27FC236}">
                  <a16:creationId xmlns:a16="http://schemas.microsoft.com/office/drawing/2014/main" id="{AA826917-AC44-292D-A36F-25B0C50E695F}"/>
                </a:ext>
              </a:extLst>
            </p:cNvPr>
            <p:cNvSpPr/>
            <p:nvPr/>
          </p:nvSpPr>
          <p:spPr>
            <a:xfrm>
              <a:off x="8848396" y="2658589"/>
              <a:ext cx="42760" cy="4842"/>
            </a:xfrm>
            <a:custGeom>
              <a:avLst/>
              <a:gdLst>
                <a:gd name="connsiteX0" fmla="*/ 0 w 42760"/>
                <a:gd name="connsiteY0" fmla="*/ 0 h 4842"/>
                <a:gd name="connsiteX1" fmla="*/ 42760 w 42760"/>
                <a:gd name="connsiteY1" fmla="*/ 0 h 48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2760" h="4842">
                  <a:moveTo>
                    <a:pt x="0" y="0"/>
                  </a:moveTo>
                  <a:lnTo>
                    <a:pt x="4276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75" name="Forma livre: Forma 874">
              <a:extLst>
                <a:ext uri="{FF2B5EF4-FFF2-40B4-BE49-F238E27FC236}">
                  <a16:creationId xmlns:a16="http://schemas.microsoft.com/office/drawing/2014/main" id="{5775E0E6-337C-EE5F-2CCB-1EB6D8B74976}"/>
                </a:ext>
              </a:extLst>
            </p:cNvPr>
            <p:cNvSpPr/>
            <p:nvPr/>
          </p:nvSpPr>
          <p:spPr>
            <a:xfrm>
              <a:off x="8846846" y="2697330"/>
              <a:ext cx="45811" cy="4842"/>
            </a:xfrm>
            <a:custGeom>
              <a:avLst/>
              <a:gdLst>
                <a:gd name="connsiteX0" fmla="*/ 0 w 45811"/>
                <a:gd name="connsiteY0" fmla="*/ 0 h 4842"/>
                <a:gd name="connsiteX1" fmla="*/ 45811 w 45811"/>
                <a:gd name="connsiteY1" fmla="*/ 0 h 48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5811" h="4842">
                  <a:moveTo>
                    <a:pt x="0" y="0"/>
                  </a:moveTo>
                  <a:lnTo>
                    <a:pt x="45811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76" name="Forma livre: Forma 875">
              <a:extLst>
                <a:ext uri="{FF2B5EF4-FFF2-40B4-BE49-F238E27FC236}">
                  <a16:creationId xmlns:a16="http://schemas.microsoft.com/office/drawing/2014/main" id="{DD81B8AA-D46E-918E-2A93-E8A9C198FFF1}"/>
                </a:ext>
              </a:extLst>
            </p:cNvPr>
            <p:cNvSpPr/>
            <p:nvPr/>
          </p:nvSpPr>
          <p:spPr>
            <a:xfrm>
              <a:off x="8935418" y="2784062"/>
              <a:ext cx="7554" cy="7554"/>
            </a:xfrm>
            <a:custGeom>
              <a:avLst/>
              <a:gdLst>
                <a:gd name="connsiteX0" fmla="*/ 7555 w 7554"/>
                <a:gd name="connsiteY0" fmla="*/ 3777 h 7554"/>
                <a:gd name="connsiteX1" fmla="*/ 3777 w 7554"/>
                <a:gd name="connsiteY1" fmla="*/ 7554 h 7554"/>
                <a:gd name="connsiteX2" fmla="*/ 0 w 7554"/>
                <a:gd name="connsiteY2" fmla="*/ 3777 h 7554"/>
                <a:gd name="connsiteX3" fmla="*/ 3777 w 7554"/>
                <a:gd name="connsiteY3" fmla="*/ 0 h 7554"/>
                <a:gd name="connsiteX4" fmla="*/ 7555 w 7554"/>
                <a:gd name="connsiteY4" fmla="*/ 3777 h 75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554" h="7554">
                  <a:moveTo>
                    <a:pt x="7555" y="3777"/>
                  </a:moveTo>
                  <a:cubicBezTo>
                    <a:pt x="7555" y="5860"/>
                    <a:pt x="5860" y="7554"/>
                    <a:pt x="3777" y="7554"/>
                  </a:cubicBezTo>
                  <a:cubicBezTo>
                    <a:pt x="1695" y="7554"/>
                    <a:pt x="0" y="5860"/>
                    <a:pt x="0" y="3777"/>
                  </a:cubicBezTo>
                  <a:cubicBezTo>
                    <a:pt x="0" y="1695"/>
                    <a:pt x="1695" y="0"/>
                    <a:pt x="3777" y="0"/>
                  </a:cubicBezTo>
                  <a:cubicBezTo>
                    <a:pt x="5860" y="0"/>
                    <a:pt x="7555" y="1695"/>
                    <a:pt x="7555" y="3777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77" name="Forma livre: Forma 876">
              <a:extLst>
                <a:ext uri="{FF2B5EF4-FFF2-40B4-BE49-F238E27FC236}">
                  <a16:creationId xmlns:a16="http://schemas.microsoft.com/office/drawing/2014/main" id="{C58339FE-EDB6-AA57-15E3-62C40E84A42E}"/>
                </a:ext>
              </a:extLst>
            </p:cNvPr>
            <p:cNvSpPr/>
            <p:nvPr/>
          </p:nvSpPr>
          <p:spPr>
            <a:xfrm>
              <a:off x="8972803" y="2771132"/>
              <a:ext cx="7554" cy="7554"/>
            </a:xfrm>
            <a:custGeom>
              <a:avLst/>
              <a:gdLst>
                <a:gd name="connsiteX0" fmla="*/ 7555 w 7554"/>
                <a:gd name="connsiteY0" fmla="*/ 3777 h 7554"/>
                <a:gd name="connsiteX1" fmla="*/ 3777 w 7554"/>
                <a:gd name="connsiteY1" fmla="*/ 7554 h 7554"/>
                <a:gd name="connsiteX2" fmla="*/ 0 w 7554"/>
                <a:gd name="connsiteY2" fmla="*/ 3777 h 7554"/>
                <a:gd name="connsiteX3" fmla="*/ 3777 w 7554"/>
                <a:gd name="connsiteY3" fmla="*/ 0 h 7554"/>
                <a:gd name="connsiteX4" fmla="*/ 7555 w 7554"/>
                <a:gd name="connsiteY4" fmla="*/ 3777 h 75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554" h="7554">
                  <a:moveTo>
                    <a:pt x="7555" y="3777"/>
                  </a:moveTo>
                  <a:cubicBezTo>
                    <a:pt x="7555" y="5860"/>
                    <a:pt x="5860" y="7554"/>
                    <a:pt x="3777" y="7554"/>
                  </a:cubicBezTo>
                  <a:cubicBezTo>
                    <a:pt x="1695" y="7554"/>
                    <a:pt x="0" y="5860"/>
                    <a:pt x="0" y="3777"/>
                  </a:cubicBezTo>
                  <a:cubicBezTo>
                    <a:pt x="0" y="1695"/>
                    <a:pt x="1695" y="0"/>
                    <a:pt x="3777" y="0"/>
                  </a:cubicBezTo>
                  <a:cubicBezTo>
                    <a:pt x="5860" y="0"/>
                    <a:pt x="7555" y="1695"/>
                    <a:pt x="7555" y="3777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78" name="Forma livre: Forma 877">
              <a:extLst>
                <a:ext uri="{FF2B5EF4-FFF2-40B4-BE49-F238E27FC236}">
                  <a16:creationId xmlns:a16="http://schemas.microsoft.com/office/drawing/2014/main" id="{F62FDAF0-27B7-370D-DC99-43EC8FBB057A}"/>
                </a:ext>
              </a:extLst>
            </p:cNvPr>
            <p:cNvSpPr/>
            <p:nvPr/>
          </p:nvSpPr>
          <p:spPr>
            <a:xfrm>
              <a:off x="8964135" y="2803723"/>
              <a:ext cx="7554" cy="7554"/>
            </a:xfrm>
            <a:custGeom>
              <a:avLst/>
              <a:gdLst>
                <a:gd name="connsiteX0" fmla="*/ 7554 w 7554"/>
                <a:gd name="connsiteY0" fmla="*/ 3777 h 7554"/>
                <a:gd name="connsiteX1" fmla="*/ 3777 w 7554"/>
                <a:gd name="connsiteY1" fmla="*/ 7555 h 7554"/>
                <a:gd name="connsiteX2" fmla="*/ 0 w 7554"/>
                <a:gd name="connsiteY2" fmla="*/ 3777 h 7554"/>
                <a:gd name="connsiteX3" fmla="*/ 3777 w 7554"/>
                <a:gd name="connsiteY3" fmla="*/ 0 h 7554"/>
                <a:gd name="connsiteX4" fmla="*/ 7554 w 7554"/>
                <a:gd name="connsiteY4" fmla="*/ 3777 h 75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554" h="7554">
                  <a:moveTo>
                    <a:pt x="7554" y="3777"/>
                  </a:moveTo>
                  <a:cubicBezTo>
                    <a:pt x="7554" y="5860"/>
                    <a:pt x="5860" y="7555"/>
                    <a:pt x="3777" y="7555"/>
                  </a:cubicBezTo>
                  <a:cubicBezTo>
                    <a:pt x="1695" y="7555"/>
                    <a:pt x="0" y="5860"/>
                    <a:pt x="0" y="3777"/>
                  </a:cubicBezTo>
                  <a:cubicBezTo>
                    <a:pt x="0" y="1695"/>
                    <a:pt x="1695" y="0"/>
                    <a:pt x="3777" y="0"/>
                  </a:cubicBezTo>
                  <a:cubicBezTo>
                    <a:pt x="5860" y="0"/>
                    <a:pt x="7554" y="1695"/>
                    <a:pt x="7554" y="3777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888" name="Gráfico 10">
            <a:extLst>
              <a:ext uri="{FF2B5EF4-FFF2-40B4-BE49-F238E27FC236}">
                <a16:creationId xmlns:a16="http://schemas.microsoft.com/office/drawing/2014/main" id="{8F229590-DF91-56B2-51E9-C75F7891DC1D}"/>
              </a:ext>
            </a:extLst>
          </p:cNvPr>
          <p:cNvGrpSpPr/>
          <p:nvPr/>
        </p:nvGrpSpPr>
        <p:grpSpPr>
          <a:xfrm>
            <a:off x="8801866" y="1534037"/>
            <a:ext cx="273067" cy="283897"/>
            <a:chOff x="8801866" y="1534037"/>
            <a:chExt cx="273067" cy="283897"/>
          </a:xfrm>
        </p:grpSpPr>
        <p:sp>
          <p:nvSpPr>
            <p:cNvPr id="889" name="Forma livre: Forma 888">
              <a:extLst>
                <a:ext uri="{FF2B5EF4-FFF2-40B4-BE49-F238E27FC236}">
                  <a16:creationId xmlns:a16="http://schemas.microsoft.com/office/drawing/2014/main" id="{7F6C217A-9888-F60A-888D-2E3D2413A834}"/>
                </a:ext>
              </a:extLst>
            </p:cNvPr>
            <p:cNvSpPr/>
            <p:nvPr/>
          </p:nvSpPr>
          <p:spPr>
            <a:xfrm>
              <a:off x="8801866" y="1736127"/>
              <a:ext cx="79888" cy="79888"/>
            </a:xfrm>
            <a:custGeom>
              <a:avLst/>
              <a:gdLst>
                <a:gd name="connsiteX0" fmla="*/ 235 w 79888"/>
                <a:gd name="connsiteY0" fmla="*/ 35634 h 79888"/>
                <a:gd name="connsiteX1" fmla="*/ 35683 w 79888"/>
                <a:gd name="connsiteY1" fmla="*/ 79654 h 79888"/>
                <a:gd name="connsiteX2" fmla="*/ 79654 w 79888"/>
                <a:gd name="connsiteY2" fmla="*/ 44206 h 79888"/>
                <a:gd name="connsiteX3" fmla="*/ 44206 w 79888"/>
                <a:gd name="connsiteY3" fmla="*/ 235 h 79888"/>
                <a:gd name="connsiteX4" fmla="*/ 235 w 79888"/>
                <a:gd name="connsiteY4" fmla="*/ 35634 h 798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9888" h="79888">
                  <a:moveTo>
                    <a:pt x="235" y="35634"/>
                  </a:moveTo>
                  <a:cubicBezTo>
                    <a:pt x="-2138" y="57571"/>
                    <a:pt x="13746" y="77281"/>
                    <a:pt x="35683" y="79654"/>
                  </a:cubicBezTo>
                  <a:cubicBezTo>
                    <a:pt x="57620" y="82027"/>
                    <a:pt x="77329" y="66143"/>
                    <a:pt x="79654" y="44206"/>
                  </a:cubicBezTo>
                  <a:cubicBezTo>
                    <a:pt x="82027" y="22269"/>
                    <a:pt x="66143" y="2608"/>
                    <a:pt x="44206" y="235"/>
                  </a:cubicBezTo>
                  <a:cubicBezTo>
                    <a:pt x="22269" y="-2138"/>
                    <a:pt x="2559" y="13746"/>
                    <a:pt x="235" y="35634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90" name="Forma livre: Forma 889">
              <a:extLst>
                <a:ext uri="{FF2B5EF4-FFF2-40B4-BE49-F238E27FC236}">
                  <a16:creationId xmlns:a16="http://schemas.microsoft.com/office/drawing/2014/main" id="{BB7BBA42-6D0F-57B5-A584-9ABC9E06B21F}"/>
                </a:ext>
              </a:extLst>
            </p:cNvPr>
            <p:cNvSpPr/>
            <p:nvPr/>
          </p:nvSpPr>
          <p:spPr>
            <a:xfrm>
              <a:off x="8935079" y="1652051"/>
              <a:ext cx="26440" cy="35157"/>
            </a:xfrm>
            <a:custGeom>
              <a:avLst/>
              <a:gdLst>
                <a:gd name="connsiteX0" fmla="*/ 26441 w 26440"/>
                <a:gd name="connsiteY0" fmla="*/ 0 h 35157"/>
                <a:gd name="connsiteX1" fmla="*/ 0 w 26440"/>
                <a:gd name="connsiteY1" fmla="*/ 35157 h 351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6440" h="35157">
                  <a:moveTo>
                    <a:pt x="26441" y="0"/>
                  </a:moveTo>
                  <a:lnTo>
                    <a:pt x="0" y="35157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91" name="Forma livre: Forma 890">
              <a:extLst>
                <a:ext uri="{FF2B5EF4-FFF2-40B4-BE49-F238E27FC236}">
                  <a16:creationId xmlns:a16="http://schemas.microsoft.com/office/drawing/2014/main" id="{E1FC738C-79AF-CA57-70D9-399768F6DB00}"/>
                </a:ext>
              </a:extLst>
            </p:cNvPr>
            <p:cNvSpPr/>
            <p:nvPr/>
          </p:nvSpPr>
          <p:spPr>
            <a:xfrm>
              <a:off x="8902633" y="1535780"/>
              <a:ext cx="78934" cy="101356"/>
            </a:xfrm>
            <a:custGeom>
              <a:avLst/>
              <a:gdLst>
                <a:gd name="connsiteX0" fmla="*/ 0 w 78934"/>
                <a:gd name="connsiteY0" fmla="*/ 101356 h 101356"/>
                <a:gd name="connsiteX1" fmla="*/ 70993 w 78934"/>
                <a:gd name="connsiteY1" fmla="*/ 0 h 101356"/>
                <a:gd name="connsiteX2" fmla="*/ 78935 w 78934"/>
                <a:gd name="connsiteY2" fmla="*/ 28039 h 1013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78934" h="101356">
                  <a:moveTo>
                    <a:pt x="0" y="101356"/>
                  </a:moveTo>
                  <a:lnTo>
                    <a:pt x="70993" y="0"/>
                  </a:lnTo>
                  <a:cubicBezTo>
                    <a:pt x="70993" y="0"/>
                    <a:pt x="75739" y="11574"/>
                    <a:pt x="78935" y="28039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92" name="Forma livre: Forma 891">
              <a:extLst>
                <a:ext uri="{FF2B5EF4-FFF2-40B4-BE49-F238E27FC236}">
                  <a16:creationId xmlns:a16="http://schemas.microsoft.com/office/drawing/2014/main" id="{B2678E29-DC36-C102-5E41-CCE87CD0493F}"/>
                </a:ext>
              </a:extLst>
            </p:cNvPr>
            <p:cNvSpPr/>
            <p:nvPr/>
          </p:nvSpPr>
          <p:spPr>
            <a:xfrm>
              <a:off x="8848105" y="1685756"/>
              <a:ext cx="20435" cy="29152"/>
            </a:xfrm>
            <a:custGeom>
              <a:avLst/>
              <a:gdLst>
                <a:gd name="connsiteX0" fmla="*/ 0 w 20435"/>
                <a:gd name="connsiteY0" fmla="*/ 29153 h 29152"/>
                <a:gd name="connsiteX1" fmla="*/ 20436 w 20435"/>
                <a:gd name="connsiteY1" fmla="*/ 0 h 291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0435" h="29152">
                  <a:moveTo>
                    <a:pt x="0" y="29153"/>
                  </a:moveTo>
                  <a:lnTo>
                    <a:pt x="20436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93" name="Forma livre: Forma 892">
              <a:extLst>
                <a:ext uri="{FF2B5EF4-FFF2-40B4-BE49-F238E27FC236}">
                  <a16:creationId xmlns:a16="http://schemas.microsoft.com/office/drawing/2014/main" id="{E584DAB1-B09F-6669-D9AA-8A8A3DE1A0AA}"/>
                </a:ext>
              </a:extLst>
            </p:cNvPr>
            <p:cNvSpPr/>
            <p:nvPr/>
          </p:nvSpPr>
          <p:spPr>
            <a:xfrm>
              <a:off x="8918197" y="1738088"/>
              <a:ext cx="63661" cy="79846"/>
            </a:xfrm>
            <a:custGeom>
              <a:avLst/>
              <a:gdLst>
                <a:gd name="connsiteX0" fmla="*/ 63662 w 63661"/>
                <a:gd name="connsiteY0" fmla="*/ 72075 h 79846"/>
                <a:gd name="connsiteX1" fmla="*/ 43081 w 63661"/>
                <a:gd name="connsiteY1" fmla="*/ 79726 h 79846"/>
                <a:gd name="connsiteX2" fmla="*/ 127 w 63661"/>
                <a:gd name="connsiteY2" fmla="*/ 43019 h 79846"/>
                <a:gd name="connsiteX3" fmla="*/ 36834 w 63661"/>
                <a:gd name="connsiteY3" fmla="*/ 113 h 79846"/>
                <a:gd name="connsiteX4" fmla="*/ 44872 w 63661"/>
                <a:gd name="connsiteY4" fmla="*/ 307 h 79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661" h="79846">
                  <a:moveTo>
                    <a:pt x="63662" y="72075"/>
                  </a:moveTo>
                  <a:cubicBezTo>
                    <a:pt x="57851" y="76385"/>
                    <a:pt x="50780" y="79145"/>
                    <a:pt x="43081" y="79726"/>
                  </a:cubicBezTo>
                  <a:cubicBezTo>
                    <a:pt x="21095" y="81421"/>
                    <a:pt x="1870" y="65004"/>
                    <a:pt x="127" y="43019"/>
                  </a:cubicBezTo>
                  <a:cubicBezTo>
                    <a:pt x="-1617" y="21033"/>
                    <a:pt x="14848" y="1808"/>
                    <a:pt x="36834" y="113"/>
                  </a:cubicBezTo>
                  <a:cubicBezTo>
                    <a:pt x="39546" y="-80"/>
                    <a:pt x="42257" y="-32"/>
                    <a:pt x="44872" y="307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94" name="Forma livre: Forma 893">
              <a:extLst>
                <a:ext uri="{FF2B5EF4-FFF2-40B4-BE49-F238E27FC236}">
                  <a16:creationId xmlns:a16="http://schemas.microsoft.com/office/drawing/2014/main" id="{B23C339D-539D-D3F8-9F05-7C9E048930D4}"/>
                </a:ext>
              </a:extLst>
            </p:cNvPr>
            <p:cNvSpPr/>
            <p:nvPr/>
          </p:nvSpPr>
          <p:spPr>
            <a:xfrm>
              <a:off x="8813863" y="1534037"/>
              <a:ext cx="140635" cy="209491"/>
            </a:xfrm>
            <a:custGeom>
              <a:avLst/>
              <a:gdLst>
                <a:gd name="connsiteX0" fmla="*/ 140635 w 140635"/>
                <a:gd name="connsiteY0" fmla="*/ 182373 h 209491"/>
                <a:gd name="connsiteX1" fmla="*/ 19618 w 140635"/>
                <a:gd name="connsiteY1" fmla="*/ 0 h 209491"/>
                <a:gd name="connsiteX2" fmla="*/ 8674 w 140635"/>
                <a:gd name="connsiteY2" fmla="*/ 85618 h 209491"/>
                <a:gd name="connsiteX3" fmla="*/ 94194 w 140635"/>
                <a:gd name="connsiteY3" fmla="*/ 209492 h 2094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0635" h="209491">
                  <a:moveTo>
                    <a:pt x="140635" y="182373"/>
                  </a:moveTo>
                  <a:lnTo>
                    <a:pt x="19618" y="0"/>
                  </a:lnTo>
                  <a:cubicBezTo>
                    <a:pt x="19618" y="0"/>
                    <a:pt x="-15927" y="43971"/>
                    <a:pt x="8674" y="85618"/>
                  </a:cubicBezTo>
                  <a:lnTo>
                    <a:pt x="94194" y="209492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895" name="Gráfico 10">
              <a:extLst>
                <a:ext uri="{FF2B5EF4-FFF2-40B4-BE49-F238E27FC236}">
                  <a16:creationId xmlns:a16="http://schemas.microsoft.com/office/drawing/2014/main" id="{67E36D15-8644-4769-661F-6205EDB5A884}"/>
                </a:ext>
              </a:extLst>
            </p:cNvPr>
            <p:cNvGrpSpPr/>
            <p:nvPr/>
          </p:nvGrpSpPr>
          <p:grpSpPr>
            <a:xfrm>
              <a:off x="9029558" y="1589146"/>
              <a:ext cx="44745" cy="195351"/>
              <a:chOff x="9029558" y="1589146"/>
              <a:chExt cx="44745" cy="195351"/>
            </a:xfrm>
          </p:grpSpPr>
          <p:sp>
            <p:nvSpPr>
              <p:cNvPr id="896" name="Forma livre: Forma 895">
                <a:extLst>
                  <a:ext uri="{FF2B5EF4-FFF2-40B4-BE49-F238E27FC236}">
                    <a16:creationId xmlns:a16="http://schemas.microsoft.com/office/drawing/2014/main" id="{72235ADE-5EA3-E4AA-BAC3-0C12D60B7DBD}"/>
                  </a:ext>
                </a:extLst>
              </p:cNvPr>
              <p:cNvSpPr/>
              <p:nvPr/>
            </p:nvSpPr>
            <p:spPr>
              <a:xfrm>
                <a:off x="9029558" y="1784497"/>
                <a:ext cx="44745" cy="4842"/>
              </a:xfrm>
              <a:custGeom>
                <a:avLst/>
                <a:gdLst>
                  <a:gd name="connsiteX0" fmla="*/ 44746 w 44745"/>
                  <a:gd name="connsiteY0" fmla="*/ 0 h 4842"/>
                  <a:gd name="connsiteX1" fmla="*/ 0 w 44745"/>
                  <a:gd name="connsiteY1" fmla="*/ 0 h 48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4745" h="4842">
                    <a:moveTo>
                      <a:pt x="44746" y="0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897" name="Forma livre: Forma 896">
                <a:extLst>
                  <a:ext uri="{FF2B5EF4-FFF2-40B4-BE49-F238E27FC236}">
                    <a16:creationId xmlns:a16="http://schemas.microsoft.com/office/drawing/2014/main" id="{ECF57470-A6C7-0CF9-27A8-3F0AA0AE2671}"/>
                  </a:ext>
                </a:extLst>
              </p:cNvPr>
              <p:cNvSpPr/>
              <p:nvPr/>
            </p:nvSpPr>
            <p:spPr>
              <a:xfrm>
                <a:off x="9029558" y="1756603"/>
                <a:ext cx="44745" cy="4842"/>
              </a:xfrm>
              <a:custGeom>
                <a:avLst/>
                <a:gdLst>
                  <a:gd name="connsiteX0" fmla="*/ 44746 w 44745"/>
                  <a:gd name="connsiteY0" fmla="*/ 0 h 4842"/>
                  <a:gd name="connsiteX1" fmla="*/ 0 w 44745"/>
                  <a:gd name="connsiteY1" fmla="*/ 0 h 48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4745" h="4842">
                    <a:moveTo>
                      <a:pt x="44746" y="0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898" name="Forma livre: Forma 897">
                <a:extLst>
                  <a:ext uri="{FF2B5EF4-FFF2-40B4-BE49-F238E27FC236}">
                    <a16:creationId xmlns:a16="http://schemas.microsoft.com/office/drawing/2014/main" id="{2202EC9A-3D4B-B349-5870-741D187B2C0C}"/>
                  </a:ext>
                </a:extLst>
              </p:cNvPr>
              <p:cNvSpPr/>
              <p:nvPr/>
            </p:nvSpPr>
            <p:spPr>
              <a:xfrm>
                <a:off x="9029558" y="1728710"/>
                <a:ext cx="44745" cy="4842"/>
              </a:xfrm>
              <a:custGeom>
                <a:avLst/>
                <a:gdLst>
                  <a:gd name="connsiteX0" fmla="*/ 44746 w 44745"/>
                  <a:gd name="connsiteY0" fmla="*/ 0 h 4842"/>
                  <a:gd name="connsiteX1" fmla="*/ 0 w 44745"/>
                  <a:gd name="connsiteY1" fmla="*/ 0 h 48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4745" h="4842">
                    <a:moveTo>
                      <a:pt x="44746" y="0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899" name="Forma livre: Forma 898">
                <a:extLst>
                  <a:ext uri="{FF2B5EF4-FFF2-40B4-BE49-F238E27FC236}">
                    <a16:creationId xmlns:a16="http://schemas.microsoft.com/office/drawing/2014/main" id="{69CA62BB-DF6D-BBEB-EF96-3A85A4049D08}"/>
                  </a:ext>
                </a:extLst>
              </p:cNvPr>
              <p:cNvSpPr/>
              <p:nvPr/>
            </p:nvSpPr>
            <p:spPr>
              <a:xfrm>
                <a:off x="9029558" y="1700768"/>
                <a:ext cx="44745" cy="4842"/>
              </a:xfrm>
              <a:custGeom>
                <a:avLst/>
                <a:gdLst>
                  <a:gd name="connsiteX0" fmla="*/ 44746 w 44745"/>
                  <a:gd name="connsiteY0" fmla="*/ 0 h 4842"/>
                  <a:gd name="connsiteX1" fmla="*/ 0 w 44745"/>
                  <a:gd name="connsiteY1" fmla="*/ 0 h 48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4745" h="4842">
                    <a:moveTo>
                      <a:pt x="44746" y="0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00" name="Forma livre: Forma 899">
                <a:extLst>
                  <a:ext uri="{FF2B5EF4-FFF2-40B4-BE49-F238E27FC236}">
                    <a16:creationId xmlns:a16="http://schemas.microsoft.com/office/drawing/2014/main" id="{411F67A1-0B95-A0EF-8A9A-9115BD5EEF6F}"/>
                  </a:ext>
                </a:extLst>
              </p:cNvPr>
              <p:cNvSpPr/>
              <p:nvPr/>
            </p:nvSpPr>
            <p:spPr>
              <a:xfrm>
                <a:off x="9029558" y="1672875"/>
                <a:ext cx="44745" cy="4842"/>
              </a:xfrm>
              <a:custGeom>
                <a:avLst/>
                <a:gdLst>
                  <a:gd name="connsiteX0" fmla="*/ 44746 w 44745"/>
                  <a:gd name="connsiteY0" fmla="*/ 0 h 4842"/>
                  <a:gd name="connsiteX1" fmla="*/ 0 w 44745"/>
                  <a:gd name="connsiteY1" fmla="*/ 0 h 48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4745" h="4842">
                    <a:moveTo>
                      <a:pt x="44746" y="0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01" name="Forma livre: Forma 900">
                <a:extLst>
                  <a:ext uri="{FF2B5EF4-FFF2-40B4-BE49-F238E27FC236}">
                    <a16:creationId xmlns:a16="http://schemas.microsoft.com/office/drawing/2014/main" id="{16D9CF04-4A51-B8B1-866E-2F83E0B574DE}"/>
                  </a:ext>
                </a:extLst>
              </p:cNvPr>
              <p:cNvSpPr/>
              <p:nvPr/>
            </p:nvSpPr>
            <p:spPr>
              <a:xfrm>
                <a:off x="9029558" y="1617039"/>
                <a:ext cx="44745" cy="4842"/>
              </a:xfrm>
              <a:custGeom>
                <a:avLst/>
                <a:gdLst>
                  <a:gd name="connsiteX0" fmla="*/ 44746 w 44745"/>
                  <a:gd name="connsiteY0" fmla="*/ 0 h 4842"/>
                  <a:gd name="connsiteX1" fmla="*/ 0 w 44745"/>
                  <a:gd name="connsiteY1" fmla="*/ 0 h 48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4745" h="4842">
                    <a:moveTo>
                      <a:pt x="44746" y="0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02" name="Forma livre: Forma 901">
                <a:extLst>
                  <a:ext uri="{FF2B5EF4-FFF2-40B4-BE49-F238E27FC236}">
                    <a16:creationId xmlns:a16="http://schemas.microsoft.com/office/drawing/2014/main" id="{E3FB58D0-D9BB-6171-EBED-5EB8B8AA7176}"/>
                  </a:ext>
                </a:extLst>
              </p:cNvPr>
              <p:cNvSpPr/>
              <p:nvPr/>
            </p:nvSpPr>
            <p:spPr>
              <a:xfrm>
                <a:off x="9029558" y="1644981"/>
                <a:ext cx="44745" cy="4842"/>
              </a:xfrm>
              <a:custGeom>
                <a:avLst/>
                <a:gdLst>
                  <a:gd name="connsiteX0" fmla="*/ 44746 w 44745"/>
                  <a:gd name="connsiteY0" fmla="*/ 0 h 4842"/>
                  <a:gd name="connsiteX1" fmla="*/ 0 w 44745"/>
                  <a:gd name="connsiteY1" fmla="*/ 0 h 48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4745" h="4842">
                    <a:moveTo>
                      <a:pt x="44746" y="0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03" name="Forma livre: Forma 902">
                <a:extLst>
                  <a:ext uri="{FF2B5EF4-FFF2-40B4-BE49-F238E27FC236}">
                    <a16:creationId xmlns:a16="http://schemas.microsoft.com/office/drawing/2014/main" id="{C0D004AA-1A3C-198F-A830-B21D1AB88CB6}"/>
                  </a:ext>
                </a:extLst>
              </p:cNvPr>
              <p:cNvSpPr/>
              <p:nvPr/>
            </p:nvSpPr>
            <p:spPr>
              <a:xfrm>
                <a:off x="9029558" y="1589146"/>
                <a:ext cx="44745" cy="4842"/>
              </a:xfrm>
              <a:custGeom>
                <a:avLst/>
                <a:gdLst>
                  <a:gd name="connsiteX0" fmla="*/ 44746 w 44745"/>
                  <a:gd name="connsiteY0" fmla="*/ 0 h 4842"/>
                  <a:gd name="connsiteX1" fmla="*/ 0 w 44745"/>
                  <a:gd name="connsiteY1" fmla="*/ 0 h 48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4745" h="4842">
                    <a:moveTo>
                      <a:pt x="44746" y="0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904" name="Forma livre: Forma 903">
              <a:extLst>
                <a:ext uri="{FF2B5EF4-FFF2-40B4-BE49-F238E27FC236}">
                  <a16:creationId xmlns:a16="http://schemas.microsoft.com/office/drawing/2014/main" id="{B87B3284-38BD-2EBC-101D-3AA5AA5FC293}"/>
                </a:ext>
              </a:extLst>
            </p:cNvPr>
            <p:cNvSpPr/>
            <p:nvPr/>
          </p:nvSpPr>
          <p:spPr>
            <a:xfrm>
              <a:off x="8898614" y="1682076"/>
              <a:ext cx="7554" cy="7554"/>
            </a:xfrm>
            <a:custGeom>
              <a:avLst/>
              <a:gdLst>
                <a:gd name="connsiteX0" fmla="*/ 7554 w 7554"/>
                <a:gd name="connsiteY0" fmla="*/ 3777 h 7554"/>
                <a:gd name="connsiteX1" fmla="*/ 3777 w 7554"/>
                <a:gd name="connsiteY1" fmla="*/ 7554 h 7554"/>
                <a:gd name="connsiteX2" fmla="*/ 0 w 7554"/>
                <a:gd name="connsiteY2" fmla="*/ 3777 h 7554"/>
                <a:gd name="connsiteX3" fmla="*/ 3777 w 7554"/>
                <a:gd name="connsiteY3" fmla="*/ 0 h 7554"/>
                <a:gd name="connsiteX4" fmla="*/ 7554 w 7554"/>
                <a:gd name="connsiteY4" fmla="*/ 3777 h 75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554" h="7554">
                  <a:moveTo>
                    <a:pt x="7554" y="3777"/>
                  </a:moveTo>
                  <a:cubicBezTo>
                    <a:pt x="7554" y="5860"/>
                    <a:pt x="5860" y="7554"/>
                    <a:pt x="3777" y="7554"/>
                  </a:cubicBezTo>
                  <a:cubicBezTo>
                    <a:pt x="1695" y="7554"/>
                    <a:pt x="0" y="5860"/>
                    <a:pt x="0" y="3777"/>
                  </a:cubicBezTo>
                  <a:cubicBezTo>
                    <a:pt x="0" y="1695"/>
                    <a:pt x="1695" y="0"/>
                    <a:pt x="3777" y="0"/>
                  </a:cubicBezTo>
                  <a:cubicBezTo>
                    <a:pt x="5860" y="0"/>
                    <a:pt x="7554" y="1695"/>
                    <a:pt x="7554" y="3777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05" name="Forma livre: Forma 904">
              <a:extLst>
                <a:ext uri="{FF2B5EF4-FFF2-40B4-BE49-F238E27FC236}">
                  <a16:creationId xmlns:a16="http://schemas.microsoft.com/office/drawing/2014/main" id="{63DBA7D8-F26C-CF46-0BC1-360D01CFCA68}"/>
                </a:ext>
              </a:extLst>
            </p:cNvPr>
            <p:cNvSpPr/>
            <p:nvPr/>
          </p:nvSpPr>
          <p:spPr>
            <a:xfrm>
              <a:off x="8982924" y="1561301"/>
              <a:ext cx="92009" cy="251041"/>
            </a:xfrm>
            <a:custGeom>
              <a:avLst/>
              <a:gdLst>
                <a:gd name="connsiteX0" fmla="*/ 92010 w 92009"/>
                <a:gd name="connsiteY0" fmla="*/ 251041 h 251041"/>
                <a:gd name="connsiteX1" fmla="*/ 34818 w 92009"/>
                <a:gd name="connsiteY1" fmla="*/ 251041 h 251041"/>
                <a:gd name="connsiteX2" fmla="*/ 17676 w 92009"/>
                <a:gd name="connsiteY2" fmla="*/ 236320 h 251041"/>
                <a:gd name="connsiteX3" fmla="*/ 0 w 92009"/>
                <a:gd name="connsiteY3" fmla="*/ 125714 h 251041"/>
                <a:gd name="connsiteX4" fmla="*/ 0 w 92009"/>
                <a:gd name="connsiteY4" fmla="*/ 125327 h 251041"/>
                <a:gd name="connsiteX5" fmla="*/ 17676 w 92009"/>
                <a:gd name="connsiteY5" fmla="*/ 14722 h 251041"/>
                <a:gd name="connsiteX6" fmla="*/ 34818 w 92009"/>
                <a:gd name="connsiteY6" fmla="*/ 0 h 251041"/>
                <a:gd name="connsiteX7" fmla="*/ 92010 w 92009"/>
                <a:gd name="connsiteY7" fmla="*/ 0 h 2510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2009" h="251041">
                  <a:moveTo>
                    <a:pt x="92010" y="251041"/>
                  </a:moveTo>
                  <a:lnTo>
                    <a:pt x="34818" y="251041"/>
                  </a:lnTo>
                  <a:cubicBezTo>
                    <a:pt x="25278" y="251041"/>
                    <a:pt x="17676" y="236320"/>
                    <a:pt x="17676" y="236320"/>
                  </a:cubicBezTo>
                  <a:cubicBezTo>
                    <a:pt x="7603" y="216368"/>
                    <a:pt x="0" y="187070"/>
                    <a:pt x="0" y="125714"/>
                  </a:cubicBezTo>
                  <a:lnTo>
                    <a:pt x="0" y="125327"/>
                  </a:lnTo>
                  <a:cubicBezTo>
                    <a:pt x="0" y="64019"/>
                    <a:pt x="7651" y="34722"/>
                    <a:pt x="17676" y="14722"/>
                  </a:cubicBezTo>
                  <a:cubicBezTo>
                    <a:pt x="17676" y="14722"/>
                    <a:pt x="25278" y="0"/>
                    <a:pt x="34818" y="0"/>
                  </a:cubicBezTo>
                  <a:lnTo>
                    <a:pt x="92010" y="0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907" name="Gráfico 11">
            <a:extLst>
              <a:ext uri="{FF2B5EF4-FFF2-40B4-BE49-F238E27FC236}">
                <a16:creationId xmlns:a16="http://schemas.microsoft.com/office/drawing/2014/main" id="{F4A318A4-8FFB-2384-8F64-5FF71BE4D854}"/>
              </a:ext>
            </a:extLst>
          </p:cNvPr>
          <p:cNvGrpSpPr/>
          <p:nvPr/>
        </p:nvGrpSpPr>
        <p:grpSpPr>
          <a:xfrm>
            <a:off x="9999358" y="1003625"/>
            <a:ext cx="278983" cy="285327"/>
            <a:chOff x="9999358" y="1003625"/>
            <a:chExt cx="278983" cy="285327"/>
          </a:xfrm>
        </p:grpSpPr>
        <p:sp>
          <p:nvSpPr>
            <p:cNvPr id="908" name="Forma livre: Forma 907">
              <a:extLst>
                <a:ext uri="{FF2B5EF4-FFF2-40B4-BE49-F238E27FC236}">
                  <a16:creationId xmlns:a16="http://schemas.microsoft.com/office/drawing/2014/main" id="{AE95F447-F00A-8A42-0500-9DAEFCD7360F}"/>
                </a:ext>
              </a:extLst>
            </p:cNvPr>
            <p:cNvSpPr/>
            <p:nvPr/>
          </p:nvSpPr>
          <p:spPr>
            <a:xfrm>
              <a:off x="10129334" y="1041785"/>
              <a:ext cx="7554" cy="7554"/>
            </a:xfrm>
            <a:custGeom>
              <a:avLst/>
              <a:gdLst>
                <a:gd name="connsiteX0" fmla="*/ 7554 w 7554"/>
                <a:gd name="connsiteY0" fmla="*/ 3777 h 7554"/>
                <a:gd name="connsiteX1" fmla="*/ 3777 w 7554"/>
                <a:gd name="connsiteY1" fmla="*/ 7554 h 7554"/>
                <a:gd name="connsiteX2" fmla="*/ 0 w 7554"/>
                <a:gd name="connsiteY2" fmla="*/ 3777 h 7554"/>
                <a:gd name="connsiteX3" fmla="*/ 3777 w 7554"/>
                <a:gd name="connsiteY3" fmla="*/ 0 h 7554"/>
                <a:gd name="connsiteX4" fmla="*/ 7554 w 7554"/>
                <a:gd name="connsiteY4" fmla="*/ 3777 h 75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554" h="7554">
                  <a:moveTo>
                    <a:pt x="7554" y="3777"/>
                  </a:moveTo>
                  <a:cubicBezTo>
                    <a:pt x="7554" y="5860"/>
                    <a:pt x="5860" y="7554"/>
                    <a:pt x="3777" y="7554"/>
                  </a:cubicBezTo>
                  <a:cubicBezTo>
                    <a:pt x="1695" y="7554"/>
                    <a:pt x="0" y="5860"/>
                    <a:pt x="0" y="3777"/>
                  </a:cubicBezTo>
                  <a:cubicBezTo>
                    <a:pt x="0" y="1695"/>
                    <a:pt x="1695" y="0"/>
                    <a:pt x="3777" y="0"/>
                  </a:cubicBezTo>
                  <a:cubicBezTo>
                    <a:pt x="5860" y="0"/>
                    <a:pt x="7554" y="1695"/>
                    <a:pt x="7554" y="3777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09" name="Forma livre: Forma 908">
              <a:extLst>
                <a:ext uri="{FF2B5EF4-FFF2-40B4-BE49-F238E27FC236}">
                  <a16:creationId xmlns:a16="http://schemas.microsoft.com/office/drawing/2014/main" id="{AE1ACF80-742A-F3B9-63C9-3DE9F0E4F066}"/>
                </a:ext>
              </a:extLst>
            </p:cNvPr>
            <p:cNvSpPr/>
            <p:nvPr/>
          </p:nvSpPr>
          <p:spPr>
            <a:xfrm>
              <a:off x="10160956" y="1041785"/>
              <a:ext cx="7554" cy="7554"/>
            </a:xfrm>
            <a:custGeom>
              <a:avLst/>
              <a:gdLst>
                <a:gd name="connsiteX0" fmla="*/ 7554 w 7554"/>
                <a:gd name="connsiteY0" fmla="*/ 3777 h 7554"/>
                <a:gd name="connsiteX1" fmla="*/ 3777 w 7554"/>
                <a:gd name="connsiteY1" fmla="*/ 7554 h 7554"/>
                <a:gd name="connsiteX2" fmla="*/ 0 w 7554"/>
                <a:gd name="connsiteY2" fmla="*/ 3777 h 7554"/>
                <a:gd name="connsiteX3" fmla="*/ 3777 w 7554"/>
                <a:gd name="connsiteY3" fmla="*/ 0 h 7554"/>
                <a:gd name="connsiteX4" fmla="*/ 7554 w 7554"/>
                <a:gd name="connsiteY4" fmla="*/ 3777 h 75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554" h="7554">
                  <a:moveTo>
                    <a:pt x="7554" y="3777"/>
                  </a:moveTo>
                  <a:cubicBezTo>
                    <a:pt x="7554" y="5860"/>
                    <a:pt x="5860" y="7554"/>
                    <a:pt x="3777" y="7554"/>
                  </a:cubicBezTo>
                  <a:cubicBezTo>
                    <a:pt x="1695" y="7554"/>
                    <a:pt x="0" y="5860"/>
                    <a:pt x="0" y="3777"/>
                  </a:cubicBezTo>
                  <a:cubicBezTo>
                    <a:pt x="0" y="1695"/>
                    <a:pt x="1695" y="0"/>
                    <a:pt x="3777" y="0"/>
                  </a:cubicBezTo>
                  <a:cubicBezTo>
                    <a:pt x="5860" y="0"/>
                    <a:pt x="7554" y="1695"/>
                    <a:pt x="7554" y="3777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10" name="Forma livre: Forma 909">
              <a:extLst>
                <a:ext uri="{FF2B5EF4-FFF2-40B4-BE49-F238E27FC236}">
                  <a16:creationId xmlns:a16="http://schemas.microsoft.com/office/drawing/2014/main" id="{068FD069-299D-B4B6-FD16-F6D6CE386FA7}"/>
                </a:ext>
              </a:extLst>
            </p:cNvPr>
            <p:cNvSpPr/>
            <p:nvPr/>
          </p:nvSpPr>
          <p:spPr>
            <a:xfrm>
              <a:off x="10192627" y="1041785"/>
              <a:ext cx="7554" cy="7554"/>
            </a:xfrm>
            <a:custGeom>
              <a:avLst/>
              <a:gdLst>
                <a:gd name="connsiteX0" fmla="*/ 7554 w 7554"/>
                <a:gd name="connsiteY0" fmla="*/ 3777 h 7554"/>
                <a:gd name="connsiteX1" fmla="*/ 3777 w 7554"/>
                <a:gd name="connsiteY1" fmla="*/ 7554 h 7554"/>
                <a:gd name="connsiteX2" fmla="*/ 0 w 7554"/>
                <a:gd name="connsiteY2" fmla="*/ 3777 h 7554"/>
                <a:gd name="connsiteX3" fmla="*/ 3777 w 7554"/>
                <a:gd name="connsiteY3" fmla="*/ 0 h 7554"/>
                <a:gd name="connsiteX4" fmla="*/ 7554 w 7554"/>
                <a:gd name="connsiteY4" fmla="*/ 3777 h 75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554" h="7554">
                  <a:moveTo>
                    <a:pt x="7554" y="3777"/>
                  </a:moveTo>
                  <a:cubicBezTo>
                    <a:pt x="7554" y="5860"/>
                    <a:pt x="5860" y="7554"/>
                    <a:pt x="3777" y="7554"/>
                  </a:cubicBezTo>
                  <a:cubicBezTo>
                    <a:pt x="1695" y="7554"/>
                    <a:pt x="0" y="5860"/>
                    <a:pt x="0" y="3777"/>
                  </a:cubicBezTo>
                  <a:cubicBezTo>
                    <a:pt x="0" y="1695"/>
                    <a:pt x="1695" y="0"/>
                    <a:pt x="3777" y="0"/>
                  </a:cubicBezTo>
                  <a:cubicBezTo>
                    <a:pt x="5860" y="0"/>
                    <a:pt x="7554" y="1695"/>
                    <a:pt x="7554" y="3777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11" name="Forma livre: Forma 910">
              <a:extLst>
                <a:ext uri="{FF2B5EF4-FFF2-40B4-BE49-F238E27FC236}">
                  <a16:creationId xmlns:a16="http://schemas.microsoft.com/office/drawing/2014/main" id="{C10DD477-5929-AC41-4A3F-075071E0A312}"/>
                </a:ext>
              </a:extLst>
            </p:cNvPr>
            <p:cNvSpPr/>
            <p:nvPr/>
          </p:nvSpPr>
          <p:spPr>
            <a:xfrm>
              <a:off x="10130980" y="1144884"/>
              <a:ext cx="142324" cy="112251"/>
            </a:xfrm>
            <a:custGeom>
              <a:avLst/>
              <a:gdLst>
                <a:gd name="connsiteX0" fmla="*/ 48 w 142324"/>
                <a:gd name="connsiteY0" fmla="*/ 48 h 112251"/>
                <a:gd name="connsiteX1" fmla="*/ 48 w 142324"/>
                <a:gd name="connsiteY1" fmla="*/ 43341 h 112251"/>
                <a:gd name="connsiteX2" fmla="*/ 71186 w 142324"/>
                <a:gd name="connsiteY2" fmla="*/ 112252 h 112251"/>
                <a:gd name="connsiteX3" fmla="*/ 142325 w 142324"/>
                <a:gd name="connsiteY3" fmla="*/ 43341 h 112251"/>
                <a:gd name="connsiteX4" fmla="*/ 142325 w 142324"/>
                <a:gd name="connsiteY4" fmla="*/ 0 h 112251"/>
                <a:gd name="connsiteX5" fmla="*/ 0 w 142324"/>
                <a:gd name="connsiteY5" fmla="*/ 0 h 1122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42324" h="112251">
                  <a:moveTo>
                    <a:pt x="48" y="48"/>
                  </a:moveTo>
                  <a:lnTo>
                    <a:pt x="48" y="43341"/>
                  </a:lnTo>
                  <a:cubicBezTo>
                    <a:pt x="48" y="81404"/>
                    <a:pt x="31913" y="112252"/>
                    <a:pt x="71186" y="112252"/>
                  </a:cubicBezTo>
                  <a:cubicBezTo>
                    <a:pt x="110460" y="112252"/>
                    <a:pt x="142325" y="81404"/>
                    <a:pt x="142325" y="43341"/>
                  </a:cubicBezTo>
                  <a:lnTo>
                    <a:pt x="142325" y="0"/>
                  </a:lnTo>
                  <a:cubicBezTo>
                    <a:pt x="142325" y="0"/>
                    <a:pt x="0" y="0"/>
                    <a:pt x="0" y="0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12" name="Forma livre: Forma 911">
              <a:extLst>
                <a:ext uri="{FF2B5EF4-FFF2-40B4-BE49-F238E27FC236}">
                  <a16:creationId xmlns:a16="http://schemas.microsoft.com/office/drawing/2014/main" id="{6921B2F4-B398-B04F-F0A3-FAFD738A73C2}"/>
                </a:ext>
              </a:extLst>
            </p:cNvPr>
            <p:cNvSpPr/>
            <p:nvPr/>
          </p:nvSpPr>
          <p:spPr>
            <a:xfrm>
              <a:off x="9999358" y="1003625"/>
              <a:ext cx="247748" cy="80629"/>
            </a:xfrm>
            <a:custGeom>
              <a:avLst/>
              <a:gdLst>
                <a:gd name="connsiteX0" fmla="*/ 247748 w 247748"/>
                <a:gd name="connsiteY0" fmla="*/ 80630 h 80629"/>
                <a:gd name="connsiteX1" fmla="*/ 40339 w 247748"/>
                <a:gd name="connsiteY1" fmla="*/ 80630 h 80629"/>
                <a:gd name="connsiteX2" fmla="*/ 0 w 247748"/>
                <a:gd name="connsiteY2" fmla="*/ 40291 h 80629"/>
                <a:gd name="connsiteX3" fmla="*/ 0 w 247748"/>
                <a:gd name="connsiteY3" fmla="*/ 40291 h 80629"/>
                <a:gd name="connsiteX4" fmla="*/ 40339 w 247748"/>
                <a:gd name="connsiteY4" fmla="*/ 0 h 80629"/>
                <a:gd name="connsiteX5" fmla="*/ 207409 w 247748"/>
                <a:gd name="connsiteY5" fmla="*/ 0 h 80629"/>
                <a:gd name="connsiteX6" fmla="*/ 247748 w 247748"/>
                <a:gd name="connsiteY6" fmla="*/ 40339 h 80629"/>
                <a:gd name="connsiteX7" fmla="*/ 247748 w 247748"/>
                <a:gd name="connsiteY7" fmla="*/ 80630 h 806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47748" h="80629">
                  <a:moveTo>
                    <a:pt x="247748" y="80630"/>
                  </a:moveTo>
                  <a:lnTo>
                    <a:pt x="40339" y="80630"/>
                  </a:lnTo>
                  <a:cubicBezTo>
                    <a:pt x="18160" y="80630"/>
                    <a:pt x="0" y="62470"/>
                    <a:pt x="0" y="40291"/>
                  </a:cubicBezTo>
                  <a:lnTo>
                    <a:pt x="0" y="40291"/>
                  </a:lnTo>
                  <a:cubicBezTo>
                    <a:pt x="0" y="18160"/>
                    <a:pt x="18160" y="0"/>
                    <a:pt x="40339" y="0"/>
                  </a:cubicBezTo>
                  <a:lnTo>
                    <a:pt x="207409" y="0"/>
                  </a:lnTo>
                  <a:cubicBezTo>
                    <a:pt x="229588" y="0"/>
                    <a:pt x="247748" y="18160"/>
                    <a:pt x="247748" y="40339"/>
                  </a:cubicBezTo>
                  <a:lnTo>
                    <a:pt x="247748" y="80630"/>
                  </a:ln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13" name="Forma livre: Forma 912">
              <a:extLst>
                <a:ext uri="{FF2B5EF4-FFF2-40B4-BE49-F238E27FC236}">
                  <a16:creationId xmlns:a16="http://schemas.microsoft.com/office/drawing/2014/main" id="{9C30E95A-1A91-AA58-9503-91D45545A5DE}"/>
                </a:ext>
              </a:extLst>
            </p:cNvPr>
            <p:cNvSpPr/>
            <p:nvPr/>
          </p:nvSpPr>
          <p:spPr>
            <a:xfrm>
              <a:off x="10000762" y="1084206"/>
              <a:ext cx="277578" cy="204745"/>
            </a:xfrm>
            <a:custGeom>
              <a:avLst/>
              <a:gdLst>
                <a:gd name="connsiteX0" fmla="*/ 47651 w 277578"/>
                <a:gd name="connsiteY0" fmla="*/ 20920 h 204745"/>
                <a:gd name="connsiteX1" fmla="*/ 22470 w 277578"/>
                <a:gd name="connsiteY1" fmla="*/ 155254 h 204745"/>
                <a:gd name="connsiteX2" fmla="*/ 0 w 277578"/>
                <a:gd name="connsiteY2" fmla="*/ 180049 h 204745"/>
                <a:gd name="connsiteX3" fmla="*/ 25230 w 277578"/>
                <a:gd name="connsiteY3" fmla="*/ 204746 h 204745"/>
                <a:gd name="connsiteX4" fmla="*/ 264988 w 277578"/>
                <a:gd name="connsiteY4" fmla="*/ 204746 h 204745"/>
                <a:gd name="connsiteX5" fmla="*/ 277579 w 277578"/>
                <a:gd name="connsiteY5" fmla="*/ 192155 h 204745"/>
                <a:gd name="connsiteX6" fmla="*/ 277579 w 277578"/>
                <a:gd name="connsiteY6" fmla="*/ 185908 h 204745"/>
                <a:gd name="connsiteX7" fmla="*/ 264988 w 277578"/>
                <a:gd name="connsiteY7" fmla="*/ 173366 h 204745"/>
                <a:gd name="connsiteX8" fmla="*/ 157094 w 277578"/>
                <a:gd name="connsiteY8" fmla="*/ 173366 h 204745"/>
                <a:gd name="connsiteX9" fmla="*/ 86392 w 277578"/>
                <a:gd name="connsiteY9" fmla="*/ 107070 h 204745"/>
                <a:gd name="connsiteX10" fmla="*/ 86392 w 277578"/>
                <a:gd name="connsiteY10" fmla="*/ 50412 h 204745"/>
                <a:gd name="connsiteX11" fmla="*/ 136804 w 277578"/>
                <a:gd name="connsiteY11" fmla="*/ 0 h 204745"/>
                <a:gd name="connsiteX12" fmla="*/ 141404 w 277578"/>
                <a:gd name="connsiteY12" fmla="*/ 0 h 2047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77578" h="204745">
                  <a:moveTo>
                    <a:pt x="47651" y="20920"/>
                  </a:moveTo>
                  <a:lnTo>
                    <a:pt x="22470" y="155254"/>
                  </a:lnTo>
                  <a:cubicBezTo>
                    <a:pt x="10024" y="156659"/>
                    <a:pt x="0" y="167894"/>
                    <a:pt x="0" y="180049"/>
                  </a:cubicBezTo>
                  <a:cubicBezTo>
                    <a:pt x="0" y="193172"/>
                    <a:pt x="11332" y="204746"/>
                    <a:pt x="25230" y="204746"/>
                  </a:cubicBezTo>
                  <a:lnTo>
                    <a:pt x="264988" y="204746"/>
                  </a:lnTo>
                  <a:cubicBezTo>
                    <a:pt x="271913" y="204746"/>
                    <a:pt x="277579" y="199080"/>
                    <a:pt x="277579" y="192155"/>
                  </a:cubicBezTo>
                  <a:lnTo>
                    <a:pt x="277579" y="185908"/>
                  </a:lnTo>
                  <a:cubicBezTo>
                    <a:pt x="277579" y="178983"/>
                    <a:pt x="271913" y="173366"/>
                    <a:pt x="264988" y="173366"/>
                  </a:cubicBezTo>
                  <a:lnTo>
                    <a:pt x="157094" y="173366"/>
                  </a:lnTo>
                  <a:cubicBezTo>
                    <a:pt x="124504" y="173366"/>
                    <a:pt x="86392" y="151525"/>
                    <a:pt x="86392" y="107070"/>
                  </a:cubicBezTo>
                  <a:lnTo>
                    <a:pt x="86392" y="50412"/>
                  </a:lnTo>
                  <a:cubicBezTo>
                    <a:pt x="86392" y="22663"/>
                    <a:pt x="109104" y="0"/>
                    <a:pt x="136804" y="0"/>
                  </a:cubicBezTo>
                  <a:lnTo>
                    <a:pt x="141404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14" name="Forma livre: Forma 913">
              <a:extLst>
                <a:ext uri="{FF2B5EF4-FFF2-40B4-BE49-F238E27FC236}">
                  <a16:creationId xmlns:a16="http://schemas.microsoft.com/office/drawing/2014/main" id="{497C0320-C83A-DB1A-4517-B0979A7D01E5}"/>
                </a:ext>
              </a:extLst>
            </p:cNvPr>
            <p:cNvSpPr/>
            <p:nvPr/>
          </p:nvSpPr>
          <p:spPr>
            <a:xfrm>
              <a:off x="10198922" y="1114327"/>
              <a:ext cx="4842" cy="30024"/>
            </a:xfrm>
            <a:custGeom>
              <a:avLst/>
              <a:gdLst>
                <a:gd name="connsiteX0" fmla="*/ 0 w 4842"/>
                <a:gd name="connsiteY0" fmla="*/ 30024 h 30024"/>
                <a:gd name="connsiteX1" fmla="*/ 0 w 4842"/>
                <a:gd name="connsiteY1" fmla="*/ 0 h 30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842" h="30024">
                  <a:moveTo>
                    <a:pt x="0" y="30024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15" name="Forma livre: Forma 914">
              <a:extLst>
                <a:ext uri="{FF2B5EF4-FFF2-40B4-BE49-F238E27FC236}">
                  <a16:creationId xmlns:a16="http://schemas.microsoft.com/office/drawing/2014/main" id="{3D3C7554-6B83-079D-CC03-84C22AB3C9FC}"/>
                </a:ext>
              </a:extLst>
            </p:cNvPr>
            <p:cNvSpPr/>
            <p:nvPr/>
          </p:nvSpPr>
          <p:spPr>
            <a:xfrm>
              <a:off x="10040326" y="1132774"/>
              <a:ext cx="46894" cy="24459"/>
            </a:xfrm>
            <a:custGeom>
              <a:avLst/>
              <a:gdLst>
                <a:gd name="connsiteX0" fmla="*/ 0 w 46894"/>
                <a:gd name="connsiteY0" fmla="*/ 15791 h 24459"/>
                <a:gd name="connsiteX1" fmla="*/ 25521 w 46894"/>
                <a:gd name="connsiteY1" fmla="*/ 149 h 24459"/>
                <a:gd name="connsiteX2" fmla="*/ 46828 w 46894"/>
                <a:gd name="connsiteY2" fmla="*/ 24459 h 244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6894" h="24459">
                  <a:moveTo>
                    <a:pt x="0" y="15791"/>
                  </a:moveTo>
                  <a:cubicBezTo>
                    <a:pt x="0" y="15791"/>
                    <a:pt x="2470" y="-1788"/>
                    <a:pt x="25521" y="149"/>
                  </a:cubicBezTo>
                  <a:cubicBezTo>
                    <a:pt x="25521" y="149"/>
                    <a:pt x="48281" y="246"/>
                    <a:pt x="46828" y="24459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16" name="Forma livre: Forma 915">
              <a:extLst>
                <a:ext uri="{FF2B5EF4-FFF2-40B4-BE49-F238E27FC236}">
                  <a16:creationId xmlns:a16="http://schemas.microsoft.com/office/drawing/2014/main" id="{310790C6-74F6-AE39-7246-34ABA80897AD}"/>
                </a:ext>
              </a:extLst>
            </p:cNvPr>
            <p:cNvSpPr/>
            <p:nvPr/>
          </p:nvSpPr>
          <p:spPr>
            <a:xfrm>
              <a:off x="10247106" y="1044690"/>
              <a:ext cx="22082" cy="4842"/>
            </a:xfrm>
            <a:custGeom>
              <a:avLst/>
              <a:gdLst>
                <a:gd name="connsiteX0" fmla="*/ 0 w 22082"/>
                <a:gd name="connsiteY0" fmla="*/ 0 h 4842"/>
                <a:gd name="connsiteX1" fmla="*/ 22082 w 22082"/>
                <a:gd name="connsiteY1" fmla="*/ 0 h 48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2082" h="4842">
                  <a:moveTo>
                    <a:pt x="0" y="0"/>
                  </a:moveTo>
                  <a:lnTo>
                    <a:pt x="22082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17" name="Forma livre: Forma 916">
              <a:extLst>
                <a:ext uri="{FF2B5EF4-FFF2-40B4-BE49-F238E27FC236}">
                  <a16:creationId xmlns:a16="http://schemas.microsoft.com/office/drawing/2014/main" id="{64DFE50E-3808-29A2-E27B-A86A16163368}"/>
                </a:ext>
              </a:extLst>
            </p:cNvPr>
            <p:cNvSpPr/>
            <p:nvPr/>
          </p:nvSpPr>
          <p:spPr>
            <a:xfrm>
              <a:off x="10173450" y="1085562"/>
              <a:ext cx="50944" cy="28474"/>
            </a:xfrm>
            <a:custGeom>
              <a:avLst/>
              <a:gdLst>
                <a:gd name="connsiteX0" fmla="*/ 50944 w 50944"/>
                <a:gd name="connsiteY0" fmla="*/ 0 h 28474"/>
                <a:gd name="connsiteX1" fmla="*/ 50944 w 50944"/>
                <a:gd name="connsiteY1" fmla="*/ 28475 h 28474"/>
                <a:gd name="connsiteX2" fmla="*/ 0 w 50944"/>
                <a:gd name="connsiteY2" fmla="*/ 28475 h 284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50944" h="28474">
                  <a:moveTo>
                    <a:pt x="50944" y="0"/>
                  </a:moveTo>
                  <a:lnTo>
                    <a:pt x="50944" y="28475"/>
                  </a:lnTo>
                  <a:lnTo>
                    <a:pt x="0" y="28475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918" name="Gráfico 11">
            <a:extLst>
              <a:ext uri="{FF2B5EF4-FFF2-40B4-BE49-F238E27FC236}">
                <a16:creationId xmlns:a16="http://schemas.microsoft.com/office/drawing/2014/main" id="{F001089B-27E4-01C8-0078-1B7D6CD394FD}"/>
              </a:ext>
            </a:extLst>
          </p:cNvPr>
          <p:cNvGrpSpPr/>
          <p:nvPr/>
        </p:nvGrpSpPr>
        <p:grpSpPr>
          <a:xfrm>
            <a:off x="11246629" y="989630"/>
            <a:ext cx="313503" cy="313298"/>
            <a:chOff x="11246629" y="989630"/>
            <a:chExt cx="313503" cy="313298"/>
          </a:xfrm>
          <a:noFill/>
        </p:grpSpPr>
        <p:sp>
          <p:nvSpPr>
            <p:cNvPr id="919" name="Forma livre: Forma 918">
              <a:extLst>
                <a:ext uri="{FF2B5EF4-FFF2-40B4-BE49-F238E27FC236}">
                  <a16:creationId xmlns:a16="http://schemas.microsoft.com/office/drawing/2014/main" id="{94E7B6EC-0219-8DA7-4529-F3EDE2059FCE}"/>
                </a:ext>
              </a:extLst>
            </p:cNvPr>
            <p:cNvSpPr/>
            <p:nvPr/>
          </p:nvSpPr>
          <p:spPr>
            <a:xfrm>
              <a:off x="11246629" y="1209920"/>
              <a:ext cx="108951" cy="93008"/>
            </a:xfrm>
            <a:custGeom>
              <a:avLst/>
              <a:gdLst>
                <a:gd name="connsiteX0" fmla="*/ 108952 w 108951"/>
                <a:gd name="connsiteY0" fmla="*/ 13559 h 93008"/>
                <a:gd name="connsiteX1" fmla="*/ 37329 w 108951"/>
                <a:gd name="connsiteY1" fmla="*/ 85182 h 93008"/>
                <a:gd name="connsiteX2" fmla="*/ 6094 w 108951"/>
                <a:gd name="connsiteY2" fmla="*/ 86731 h 93008"/>
                <a:gd name="connsiteX3" fmla="*/ 8031 w 108951"/>
                <a:gd name="connsiteY3" fmla="*/ 55932 h 93008"/>
                <a:gd name="connsiteX4" fmla="*/ 63964 w 108951"/>
                <a:gd name="connsiteY4" fmla="*/ 0 h 930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8951" h="93008">
                  <a:moveTo>
                    <a:pt x="108952" y="13559"/>
                  </a:moveTo>
                  <a:lnTo>
                    <a:pt x="37329" y="85182"/>
                  </a:lnTo>
                  <a:cubicBezTo>
                    <a:pt x="26918" y="95593"/>
                    <a:pt x="14520" y="95109"/>
                    <a:pt x="6094" y="86731"/>
                  </a:cubicBezTo>
                  <a:cubicBezTo>
                    <a:pt x="-2283" y="78354"/>
                    <a:pt x="-2380" y="66344"/>
                    <a:pt x="8031" y="55932"/>
                  </a:cubicBezTo>
                  <a:lnTo>
                    <a:pt x="63964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920" name="Gráfico 11">
              <a:extLst>
                <a:ext uri="{FF2B5EF4-FFF2-40B4-BE49-F238E27FC236}">
                  <a16:creationId xmlns:a16="http://schemas.microsoft.com/office/drawing/2014/main" id="{6F568BBD-31C4-E6E7-10A6-47CB84AD19A8}"/>
                </a:ext>
              </a:extLst>
            </p:cNvPr>
            <p:cNvGrpSpPr/>
            <p:nvPr/>
          </p:nvGrpSpPr>
          <p:grpSpPr>
            <a:xfrm>
              <a:off x="11297760" y="1006240"/>
              <a:ext cx="245762" cy="245811"/>
              <a:chOff x="11297760" y="1006240"/>
              <a:chExt cx="245762" cy="245811"/>
            </a:xfrm>
          </p:grpSpPr>
          <p:sp>
            <p:nvSpPr>
              <p:cNvPr id="921" name="Forma livre: Forma 920">
                <a:extLst>
                  <a:ext uri="{FF2B5EF4-FFF2-40B4-BE49-F238E27FC236}">
                    <a16:creationId xmlns:a16="http://schemas.microsoft.com/office/drawing/2014/main" id="{91DEC805-B18E-1B5F-9E7C-D0BBD00B1FE4}"/>
                  </a:ext>
                </a:extLst>
              </p:cNvPr>
              <p:cNvSpPr/>
              <p:nvPr/>
            </p:nvSpPr>
            <p:spPr>
              <a:xfrm>
                <a:off x="11385750" y="1094182"/>
                <a:ext cx="157772" cy="157869"/>
              </a:xfrm>
              <a:custGeom>
                <a:avLst/>
                <a:gdLst>
                  <a:gd name="connsiteX0" fmla="*/ 157773 w 157772"/>
                  <a:gd name="connsiteY0" fmla="*/ 0 h 157869"/>
                  <a:gd name="connsiteX1" fmla="*/ 0 w 157772"/>
                  <a:gd name="connsiteY1" fmla="*/ 157869 h 1578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57772" h="157869">
                    <a:moveTo>
                      <a:pt x="157773" y="0"/>
                    </a:moveTo>
                    <a:lnTo>
                      <a:pt x="0" y="157869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22" name="Forma livre: Forma 921">
                <a:extLst>
                  <a:ext uri="{FF2B5EF4-FFF2-40B4-BE49-F238E27FC236}">
                    <a16:creationId xmlns:a16="http://schemas.microsoft.com/office/drawing/2014/main" id="{382B889D-019F-D177-28D3-1E16EF7FED81}"/>
                  </a:ext>
                </a:extLst>
              </p:cNvPr>
              <p:cNvSpPr/>
              <p:nvPr/>
            </p:nvSpPr>
            <p:spPr>
              <a:xfrm>
                <a:off x="11356404" y="1064884"/>
                <a:ext cx="157820" cy="157820"/>
              </a:xfrm>
              <a:custGeom>
                <a:avLst/>
                <a:gdLst>
                  <a:gd name="connsiteX0" fmla="*/ 157821 w 157820"/>
                  <a:gd name="connsiteY0" fmla="*/ 0 h 157820"/>
                  <a:gd name="connsiteX1" fmla="*/ 0 w 157820"/>
                  <a:gd name="connsiteY1" fmla="*/ 157821 h 1578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57820" h="157820">
                    <a:moveTo>
                      <a:pt x="157821" y="0"/>
                    </a:moveTo>
                    <a:lnTo>
                      <a:pt x="0" y="157821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23" name="Forma livre: Forma 922">
                <a:extLst>
                  <a:ext uri="{FF2B5EF4-FFF2-40B4-BE49-F238E27FC236}">
                    <a16:creationId xmlns:a16="http://schemas.microsoft.com/office/drawing/2014/main" id="{6CC9C7D3-6D63-A570-5027-48C8D9765D67}"/>
                  </a:ext>
                </a:extLst>
              </p:cNvPr>
              <p:cNvSpPr/>
              <p:nvPr/>
            </p:nvSpPr>
            <p:spPr>
              <a:xfrm>
                <a:off x="11327106" y="1035538"/>
                <a:ext cx="157772" cy="157869"/>
              </a:xfrm>
              <a:custGeom>
                <a:avLst/>
                <a:gdLst>
                  <a:gd name="connsiteX0" fmla="*/ 157772 w 157772"/>
                  <a:gd name="connsiteY0" fmla="*/ 0 h 157869"/>
                  <a:gd name="connsiteX1" fmla="*/ 0 w 157772"/>
                  <a:gd name="connsiteY1" fmla="*/ 157869 h 1578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57772" h="157869">
                    <a:moveTo>
                      <a:pt x="157772" y="0"/>
                    </a:moveTo>
                    <a:lnTo>
                      <a:pt x="0" y="157869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24" name="Forma livre: Forma 923">
                <a:extLst>
                  <a:ext uri="{FF2B5EF4-FFF2-40B4-BE49-F238E27FC236}">
                    <a16:creationId xmlns:a16="http://schemas.microsoft.com/office/drawing/2014/main" id="{0D3AF872-2A26-EC4C-46A0-E82A12AC13CA}"/>
                  </a:ext>
                </a:extLst>
              </p:cNvPr>
              <p:cNvSpPr/>
              <p:nvPr/>
            </p:nvSpPr>
            <p:spPr>
              <a:xfrm>
                <a:off x="11297760" y="1006240"/>
                <a:ext cx="157772" cy="157820"/>
              </a:xfrm>
              <a:custGeom>
                <a:avLst/>
                <a:gdLst>
                  <a:gd name="connsiteX0" fmla="*/ 157772 w 157772"/>
                  <a:gd name="connsiteY0" fmla="*/ 0 h 157820"/>
                  <a:gd name="connsiteX1" fmla="*/ 0 w 157772"/>
                  <a:gd name="connsiteY1" fmla="*/ 157821 h 1578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57772" h="157820">
                    <a:moveTo>
                      <a:pt x="157772" y="0"/>
                    </a:moveTo>
                    <a:lnTo>
                      <a:pt x="0" y="157821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925" name="Gráfico 11">
              <a:extLst>
                <a:ext uri="{FF2B5EF4-FFF2-40B4-BE49-F238E27FC236}">
                  <a16:creationId xmlns:a16="http://schemas.microsoft.com/office/drawing/2014/main" id="{F20C58BD-C0FD-B5F9-3EEB-CB61DB8D3179}"/>
                </a:ext>
              </a:extLst>
            </p:cNvPr>
            <p:cNvGrpSpPr/>
            <p:nvPr/>
          </p:nvGrpSpPr>
          <p:grpSpPr>
            <a:xfrm>
              <a:off x="11282312" y="989630"/>
              <a:ext cx="277820" cy="277869"/>
              <a:chOff x="11282312" y="989630"/>
              <a:chExt cx="277820" cy="277869"/>
            </a:xfrm>
            <a:noFill/>
          </p:grpSpPr>
          <p:sp>
            <p:nvSpPr>
              <p:cNvPr id="926" name="Forma livre: Forma 925">
                <a:extLst>
                  <a:ext uri="{FF2B5EF4-FFF2-40B4-BE49-F238E27FC236}">
                    <a16:creationId xmlns:a16="http://schemas.microsoft.com/office/drawing/2014/main" id="{5DC2B10D-4300-534D-912D-6E9FBDF37C56}"/>
                  </a:ext>
                </a:extLst>
              </p:cNvPr>
              <p:cNvSpPr/>
              <p:nvPr/>
            </p:nvSpPr>
            <p:spPr>
              <a:xfrm>
                <a:off x="11282312" y="989630"/>
                <a:ext cx="277820" cy="277869"/>
              </a:xfrm>
              <a:custGeom>
                <a:avLst/>
                <a:gdLst>
                  <a:gd name="connsiteX0" fmla="*/ 9879 w 277820"/>
                  <a:gd name="connsiteY0" fmla="*/ 168814 h 277869"/>
                  <a:gd name="connsiteX1" fmla="*/ 9879 w 277820"/>
                  <a:gd name="connsiteY1" fmla="*/ 120872 h 277869"/>
                  <a:gd name="connsiteX2" fmla="*/ 120872 w 277820"/>
                  <a:gd name="connsiteY2" fmla="*/ 9879 h 277869"/>
                  <a:gd name="connsiteX3" fmla="*/ 168814 w 277820"/>
                  <a:gd name="connsiteY3" fmla="*/ 9879 h 277869"/>
                  <a:gd name="connsiteX4" fmla="*/ 267942 w 277820"/>
                  <a:gd name="connsiteY4" fmla="*/ 109007 h 277869"/>
                  <a:gd name="connsiteX5" fmla="*/ 267942 w 277820"/>
                  <a:gd name="connsiteY5" fmla="*/ 156949 h 277869"/>
                  <a:gd name="connsiteX6" fmla="*/ 156949 w 277820"/>
                  <a:gd name="connsiteY6" fmla="*/ 267990 h 277869"/>
                  <a:gd name="connsiteX7" fmla="*/ 109007 w 277820"/>
                  <a:gd name="connsiteY7" fmla="*/ 267990 h 277869"/>
                  <a:gd name="connsiteX8" fmla="*/ 9879 w 277820"/>
                  <a:gd name="connsiteY8" fmla="*/ 168814 h 2778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77820" h="277869">
                    <a:moveTo>
                      <a:pt x="9879" y="168814"/>
                    </a:moveTo>
                    <a:cubicBezTo>
                      <a:pt x="-3293" y="155642"/>
                      <a:pt x="-3293" y="134044"/>
                      <a:pt x="9879" y="120872"/>
                    </a:cubicBezTo>
                    <a:lnTo>
                      <a:pt x="120872" y="9879"/>
                    </a:lnTo>
                    <a:cubicBezTo>
                      <a:pt x="134044" y="-3293"/>
                      <a:pt x="155642" y="-3293"/>
                      <a:pt x="168814" y="9879"/>
                    </a:cubicBezTo>
                    <a:lnTo>
                      <a:pt x="267942" y="109007"/>
                    </a:lnTo>
                    <a:cubicBezTo>
                      <a:pt x="281114" y="122179"/>
                      <a:pt x="281114" y="143777"/>
                      <a:pt x="267942" y="156949"/>
                    </a:cubicBezTo>
                    <a:lnTo>
                      <a:pt x="156949" y="267990"/>
                    </a:lnTo>
                    <a:cubicBezTo>
                      <a:pt x="143777" y="281162"/>
                      <a:pt x="122179" y="281162"/>
                      <a:pt x="109007" y="267990"/>
                    </a:cubicBezTo>
                    <a:lnTo>
                      <a:pt x="9879" y="168814"/>
                    </a:ln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927" name="Gráfico 11">
                <a:extLst>
                  <a:ext uri="{FF2B5EF4-FFF2-40B4-BE49-F238E27FC236}">
                    <a16:creationId xmlns:a16="http://schemas.microsoft.com/office/drawing/2014/main" id="{9C28386E-5DDB-ECFF-3140-A2B0C578E479}"/>
                  </a:ext>
                </a:extLst>
              </p:cNvPr>
              <p:cNvGrpSpPr/>
              <p:nvPr/>
            </p:nvGrpSpPr>
            <p:grpSpPr>
              <a:xfrm>
                <a:off x="11297276" y="1004545"/>
                <a:ext cx="248184" cy="248329"/>
                <a:chOff x="11297276" y="1004545"/>
                <a:chExt cx="248184" cy="248329"/>
              </a:xfrm>
            </p:grpSpPr>
            <p:sp>
              <p:nvSpPr>
                <p:cNvPr id="928" name="Forma livre: Forma 927">
                  <a:extLst>
                    <a:ext uri="{FF2B5EF4-FFF2-40B4-BE49-F238E27FC236}">
                      <a16:creationId xmlns:a16="http://schemas.microsoft.com/office/drawing/2014/main" id="{B5F33BF2-1C12-96BA-9DAF-E3C15FCBBB75}"/>
                    </a:ext>
                  </a:extLst>
                </p:cNvPr>
                <p:cNvSpPr/>
                <p:nvPr/>
              </p:nvSpPr>
              <p:spPr>
                <a:xfrm>
                  <a:off x="11297276" y="1107305"/>
                  <a:ext cx="145472" cy="145569"/>
                </a:xfrm>
                <a:custGeom>
                  <a:avLst/>
                  <a:gdLst>
                    <a:gd name="connsiteX0" fmla="*/ 145472 w 145472"/>
                    <a:gd name="connsiteY0" fmla="*/ 145569 h 145569"/>
                    <a:gd name="connsiteX1" fmla="*/ 0 w 145472"/>
                    <a:gd name="connsiteY1" fmla="*/ 0 h 14556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45472" h="145569">
                      <a:moveTo>
                        <a:pt x="145472" y="145569"/>
                      </a:moveTo>
                      <a:lnTo>
                        <a:pt x="0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929" name="Forma livre: Forma 928">
                  <a:extLst>
                    <a:ext uri="{FF2B5EF4-FFF2-40B4-BE49-F238E27FC236}">
                      <a16:creationId xmlns:a16="http://schemas.microsoft.com/office/drawing/2014/main" id="{72707600-B178-A57F-222F-1241E15B3438}"/>
                    </a:ext>
                  </a:extLst>
                </p:cNvPr>
                <p:cNvSpPr/>
                <p:nvPr/>
              </p:nvSpPr>
              <p:spPr>
                <a:xfrm>
                  <a:off x="11399988" y="1004545"/>
                  <a:ext cx="145472" cy="145617"/>
                </a:xfrm>
                <a:custGeom>
                  <a:avLst/>
                  <a:gdLst>
                    <a:gd name="connsiteX0" fmla="*/ 145472 w 145472"/>
                    <a:gd name="connsiteY0" fmla="*/ 145618 h 145617"/>
                    <a:gd name="connsiteX1" fmla="*/ 0 w 145472"/>
                    <a:gd name="connsiteY1" fmla="*/ 0 h 14561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45472" h="145617">
                      <a:moveTo>
                        <a:pt x="145472" y="145618"/>
                      </a:moveTo>
                      <a:lnTo>
                        <a:pt x="0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</p:grpSp>
      <p:grpSp>
        <p:nvGrpSpPr>
          <p:cNvPr id="930" name="Gráfico 11">
            <a:extLst>
              <a:ext uri="{FF2B5EF4-FFF2-40B4-BE49-F238E27FC236}">
                <a16:creationId xmlns:a16="http://schemas.microsoft.com/office/drawing/2014/main" id="{0D1E9310-045A-4C76-4690-8C71682E3402}"/>
              </a:ext>
            </a:extLst>
          </p:cNvPr>
          <p:cNvGrpSpPr/>
          <p:nvPr/>
        </p:nvGrpSpPr>
        <p:grpSpPr>
          <a:xfrm>
            <a:off x="10596065" y="1005160"/>
            <a:ext cx="350133" cy="282290"/>
            <a:chOff x="10596065" y="1005160"/>
            <a:chExt cx="350133" cy="282290"/>
          </a:xfrm>
        </p:grpSpPr>
        <p:sp>
          <p:nvSpPr>
            <p:cNvPr id="931" name="Forma livre: Forma 930">
              <a:extLst>
                <a:ext uri="{FF2B5EF4-FFF2-40B4-BE49-F238E27FC236}">
                  <a16:creationId xmlns:a16="http://schemas.microsoft.com/office/drawing/2014/main" id="{21063517-6A04-4683-86C0-4CA0C9B78E93}"/>
                </a:ext>
              </a:extLst>
            </p:cNvPr>
            <p:cNvSpPr/>
            <p:nvPr/>
          </p:nvSpPr>
          <p:spPr>
            <a:xfrm>
              <a:off x="10874273" y="1005160"/>
              <a:ext cx="71924" cy="137787"/>
            </a:xfrm>
            <a:custGeom>
              <a:avLst/>
              <a:gdLst>
                <a:gd name="connsiteX0" fmla="*/ 2082 w 71924"/>
                <a:gd name="connsiteY0" fmla="*/ 137787 h 137787"/>
                <a:gd name="connsiteX1" fmla="*/ 58886 w 71924"/>
                <a:gd name="connsiteY1" fmla="*/ 80983 h 137787"/>
                <a:gd name="connsiteX2" fmla="*/ 58886 w 71924"/>
                <a:gd name="connsiteY2" fmla="*/ 17787 h 137787"/>
                <a:gd name="connsiteX3" fmla="*/ 54140 w 71924"/>
                <a:gd name="connsiteY3" fmla="*/ 13041 h 137787"/>
                <a:gd name="connsiteX4" fmla="*/ 0 w 71924"/>
                <a:gd name="connsiteY4" fmla="*/ 6068 h 1377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924" h="137787">
                  <a:moveTo>
                    <a:pt x="2082" y="137787"/>
                  </a:moveTo>
                  <a:lnTo>
                    <a:pt x="58886" y="80983"/>
                  </a:lnTo>
                  <a:cubicBezTo>
                    <a:pt x="76271" y="63598"/>
                    <a:pt x="76271" y="35172"/>
                    <a:pt x="58886" y="17787"/>
                  </a:cubicBezTo>
                  <a:lnTo>
                    <a:pt x="54140" y="13041"/>
                  </a:lnTo>
                  <a:cubicBezTo>
                    <a:pt x="39516" y="-1583"/>
                    <a:pt x="17094" y="-3908"/>
                    <a:pt x="0" y="6068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32" name="Forma livre: Forma 931">
              <a:extLst>
                <a:ext uri="{FF2B5EF4-FFF2-40B4-BE49-F238E27FC236}">
                  <a16:creationId xmlns:a16="http://schemas.microsoft.com/office/drawing/2014/main" id="{3E429D6F-092E-E2CA-8407-77F2595EBE61}"/>
                </a:ext>
              </a:extLst>
            </p:cNvPr>
            <p:cNvSpPr/>
            <p:nvPr/>
          </p:nvSpPr>
          <p:spPr>
            <a:xfrm>
              <a:off x="10807814" y="1139751"/>
              <a:ext cx="116870" cy="116900"/>
            </a:xfrm>
            <a:custGeom>
              <a:avLst/>
              <a:gdLst>
                <a:gd name="connsiteX0" fmla="*/ 71737 w 116870"/>
                <a:gd name="connsiteY0" fmla="*/ 0 h 116900"/>
                <a:gd name="connsiteX1" fmla="*/ 9316 w 116870"/>
                <a:gd name="connsiteY1" fmla="*/ 62421 h 116900"/>
                <a:gd name="connsiteX2" fmla="*/ 9316 w 116870"/>
                <a:gd name="connsiteY2" fmla="*/ 107603 h 116900"/>
                <a:gd name="connsiteX3" fmla="*/ 54449 w 116870"/>
                <a:gd name="connsiteY3" fmla="*/ 107603 h 116900"/>
                <a:gd name="connsiteX4" fmla="*/ 116871 w 116870"/>
                <a:gd name="connsiteY4" fmla="*/ 45182 h 116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6870" h="116900">
                  <a:moveTo>
                    <a:pt x="71737" y="0"/>
                  </a:moveTo>
                  <a:lnTo>
                    <a:pt x="9316" y="62421"/>
                  </a:lnTo>
                  <a:cubicBezTo>
                    <a:pt x="-3130" y="74818"/>
                    <a:pt x="-3081" y="95157"/>
                    <a:pt x="9316" y="107603"/>
                  </a:cubicBezTo>
                  <a:cubicBezTo>
                    <a:pt x="21713" y="120000"/>
                    <a:pt x="42052" y="120000"/>
                    <a:pt x="54449" y="107603"/>
                  </a:cubicBezTo>
                  <a:lnTo>
                    <a:pt x="116871" y="45182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33" name="Forma livre: Forma 932">
              <a:extLst>
                <a:ext uri="{FF2B5EF4-FFF2-40B4-BE49-F238E27FC236}">
                  <a16:creationId xmlns:a16="http://schemas.microsoft.com/office/drawing/2014/main" id="{5A07080F-955F-3803-F241-CCFFC49843E8}"/>
                </a:ext>
              </a:extLst>
            </p:cNvPr>
            <p:cNvSpPr/>
            <p:nvPr/>
          </p:nvSpPr>
          <p:spPr>
            <a:xfrm>
              <a:off x="10733402" y="1083770"/>
              <a:ext cx="66246" cy="66295"/>
            </a:xfrm>
            <a:custGeom>
              <a:avLst/>
              <a:gdLst>
                <a:gd name="connsiteX0" fmla="*/ 0 w 66246"/>
                <a:gd name="connsiteY0" fmla="*/ 0 h 66295"/>
                <a:gd name="connsiteX1" fmla="*/ 66247 w 66246"/>
                <a:gd name="connsiteY1" fmla="*/ 66295 h 662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6246" h="66295">
                  <a:moveTo>
                    <a:pt x="0" y="0"/>
                  </a:moveTo>
                  <a:lnTo>
                    <a:pt x="66247" y="66295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34" name="Forma livre: Forma 933">
              <a:extLst>
                <a:ext uri="{FF2B5EF4-FFF2-40B4-BE49-F238E27FC236}">
                  <a16:creationId xmlns:a16="http://schemas.microsoft.com/office/drawing/2014/main" id="{86CDA397-6997-1288-5800-CBAFACD3CB9F}"/>
                </a:ext>
              </a:extLst>
            </p:cNvPr>
            <p:cNvSpPr/>
            <p:nvPr/>
          </p:nvSpPr>
          <p:spPr>
            <a:xfrm>
              <a:off x="10822270" y="1053655"/>
              <a:ext cx="7542" cy="7560"/>
            </a:xfrm>
            <a:custGeom>
              <a:avLst/>
              <a:gdLst>
                <a:gd name="connsiteX0" fmla="*/ 6435 w 7542"/>
                <a:gd name="connsiteY0" fmla="*/ 6435 h 7560"/>
                <a:gd name="connsiteX1" fmla="*/ 1108 w 7542"/>
                <a:gd name="connsiteY1" fmla="*/ 6435 h 7560"/>
                <a:gd name="connsiteX2" fmla="*/ 1108 w 7542"/>
                <a:gd name="connsiteY2" fmla="*/ 1108 h 7560"/>
                <a:gd name="connsiteX3" fmla="*/ 6435 w 7542"/>
                <a:gd name="connsiteY3" fmla="*/ 1108 h 7560"/>
                <a:gd name="connsiteX4" fmla="*/ 6435 w 7542"/>
                <a:gd name="connsiteY4" fmla="*/ 6435 h 75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542" h="7560">
                  <a:moveTo>
                    <a:pt x="6435" y="6435"/>
                  </a:moveTo>
                  <a:cubicBezTo>
                    <a:pt x="4982" y="7936"/>
                    <a:pt x="2561" y="7936"/>
                    <a:pt x="1108" y="6435"/>
                  </a:cubicBezTo>
                  <a:cubicBezTo>
                    <a:pt x="-345" y="4933"/>
                    <a:pt x="-393" y="2561"/>
                    <a:pt x="1108" y="1108"/>
                  </a:cubicBezTo>
                  <a:cubicBezTo>
                    <a:pt x="2609" y="-393"/>
                    <a:pt x="4982" y="-345"/>
                    <a:pt x="6435" y="1108"/>
                  </a:cubicBezTo>
                  <a:cubicBezTo>
                    <a:pt x="7936" y="2609"/>
                    <a:pt x="7887" y="4982"/>
                    <a:pt x="6435" y="6435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35" name="Forma livre: Forma 934">
              <a:extLst>
                <a:ext uri="{FF2B5EF4-FFF2-40B4-BE49-F238E27FC236}">
                  <a16:creationId xmlns:a16="http://schemas.microsoft.com/office/drawing/2014/main" id="{56C31070-7146-BC2B-724C-0015F4FC0D83}"/>
                </a:ext>
              </a:extLst>
            </p:cNvPr>
            <p:cNvSpPr/>
            <p:nvPr/>
          </p:nvSpPr>
          <p:spPr>
            <a:xfrm>
              <a:off x="10596065" y="1008030"/>
              <a:ext cx="279421" cy="279421"/>
            </a:xfrm>
            <a:custGeom>
              <a:avLst/>
              <a:gdLst>
                <a:gd name="connsiteX0" fmla="*/ 37094 w 279421"/>
                <a:gd name="connsiteY0" fmla="*/ 242569 h 279421"/>
                <a:gd name="connsiteX1" fmla="*/ 54528 w 279421"/>
                <a:gd name="connsiteY1" fmla="*/ 249349 h 279421"/>
                <a:gd name="connsiteX2" fmla="*/ 73075 w 279421"/>
                <a:gd name="connsiteY2" fmla="*/ 255983 h 279421"/>
                <a:gd name="connsiteX3" fmla="*/ 73220 w 279421"/>
                <a:gd name="connsiteY3" fmla="*/ 256128 h 279421"/>
                <a:gd name="connsiteX4" fmla="*/ 81453 w 279421"/>
                <a:gd name="connsiteY4" fmla="*/ 279421 h 279421"/>
                <a:gd name="connsiteX5" fmla="*/ 86247 w 279421"/>
                <a:gd name="connsiteY5" fmla="*/ 216612 h 279421"/>
                <a:gd name="connsiteX6" fmla="*/ 133753 w 279421"/>
                <a:gd name="connsiteY6" fmla="*/ 169106 h 279421"/>
                <a:gd name="connsiteX7" fmla="*/ 156513 w 279421"/>
                <a:gd name="connsiteY7" fmla="*/ 169736 h 279421"/>
                <a:gd name="connsiteX8" fmla="*/ 201840 w 279421"/>
                <a:gd name="connsiteY8" fmla="*/ 147799 h 279421"/>
                <a:gd name="connsiteX9" fmla="*/ 260242 w 279421"/>
                <a:gd name="connsiteY9" fmla="*/ 85135 h 279421"/>
                <a:gd name="connsiteX10" fmla="*/ 262373 w 279421"/>
                <a:gd name="connsiteY10" fmla="*/ 20341 h 279421"/>
                <a:gd name="connsiteX11" fmla="*/ 259080 w 279421"/>
                <a:gd name="connsiteY11" fmla="*/ 17048 h 279421"/>
                <a:gd name="connsiteX12" fmla="*/ 194286 w 279421"/>
                <a:gd name="connsiteY12" fmla="*/ 19179 h 279421"/>
                <a:gd name="connsiteX13" fmla="*/ 131622 w 279421"/>
                <a:gd name="connsiteY13" fmla="*/ 77581 h 279421"/>
                <a:gd name="connsiteX14" fmla="*/ 109685 w 279421"/>
                <a:gd name="connsiteY14" fmla="*/ 122908 h 279421"/>
                <a:gd name="connsiteX15" fmla="*/ 110315 w 279421"/>
                <a:gd name="connsiteY15" fmla="*/ 145668 h 279421"/>
                <a:gd name="connsiteX16" fmla="*/ 62809 w 279421"/>
                <a:gd name="connsiteY16" fmla="*/ 193174 h 279421"/>
                <a:gd name="connsiteX17" fmla="*/ 0 w 279421"/>
                <a:gd name="connsiteY17" fmla="*/ 197968 h 279421"/>
                <a:gd name="connsiteX18" fmla="*/ 23293 w 279421"/>
                <a:gd name="connsiteY18" fmla="*/ 206201 h 279421"/>
                <a:gd name="connsiteX19" fmla="*/ 23438 w 279421"/>
                <a:gd name="connsiteY19" fmla="*/ 206346 h 279421"/>
                <a:gd name="connsiteX20" fmla="*/ 30073 w 279421"/>
                <a:gd name="connsiteY20" fmla="*/ 224893 h 279421"/>
                <a:gd name="connsiteX21" fmla="*/ 36852 w 279421"/>
                <a:gd name="connsiteY21" fmla="*/ 242327 h 279421"/>
                <a:gd name="connsiteX22" fmla="*/ 37143 w 279421"/>
                <a:gd name="connsiteY22" fmla="*/ 242617 h 2794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279421" h="279421">
                  <a:moveTo>
                    <a:pt x="37094" y="242569"/>
                  </a:moveTo>
                  <a:cubicBezTo>
                    <a:pt x="44939" y="250414"/>
                    <a:pt x="54528" y="249349"/>
                    <a:pt x="54528" y="249349"/>
                  </a:cubicBezTo>
                  <a:cubicBezTo>
                    <a:pt x="62663" y="248283"/>
                    <a:pt x="68039" y="250947"/>
                    <a:pt x="73075" y="255983"/>
                  </a:cubicBezTo>
                  <a:lnTo>
                    <a:pt x="73220" y="256128"/>
                  </a:lnTo>
                  <a:cubicBezTo>
                    <a:pt x="79419" y="262520"/>
                    <a:pt x="82179" y="270656"/>
                    <a:pt x="81453" y="279421"/>
                  </a:cubicBezTo>
                  <a:cubicBezTo>
                    <a:pt x="100194" y="260680"/>
                    <a:pt x="100097" y="237436"/>
                    <a:pt x="86247" y="216612"/>
                  </a:cubicBezTo>
                  <a:lnTo>
                    <a:pt x="133753" y="169106"/>
                  </a:lnTo>
                  <a:lnTo>
                    <a:pt x="156513" y="169736"/>
                  </a:lnTo>
                  <a:cubicBezTo>
                    <a:pt x="190557" y="171334"/>
                    <a:pt x="201840" y="147799"/>
                    <a:pt x="201840" y="147799"/>
                  </a:cubicBezTo>
                  <a:cubicBezTo>
                    <a:pt x="221598" y="117193"/>
                    <a:pt x="260242" y="85135"/>
                    <a:pt x="260242" y="85135"/>
                  </a:cubicBezTo>
                  <a:cubicBezTo>
                    <a:pt x="260242" y="85135"/>
                    <a:pt x="301937" y="59954"/>
                    <a:pt x="262373" y="20341"/>
                  </a:cubicBezTo>
                  <a:lnTo>
                    <a:pt x="259080" y="17048"/>
                  </a:lnTo>
                  <a:cubicBezTo>
                    <a:pt x="219516" y="-22516"/>
                    <a:pt x="194286" y="19179"/>
                    <a:pt x="194286" y="19179"/>
                  </a:cubicBezTo>
                  <a:cubicBezTo>
                    <a:pt x="194286" y="19179"/>
                    <a:pt x="162228" y="57823"/>
                    <a:pt x="131622" y="77581"/>
                  </a:cubicBezTo>
                  <a:cubicBezTo>
                    <a:pt x="131622" y="77581"/>
                    <a:pt x="108087" y="88864"/>
                    <a:pt x="109685" y="122908"/>
                  </a:cubicBezTo>
                  <a:lnTo>
                    <a:pt x="110315" y="145668"/>
                  </a:lnTo>
                  <a:lnTo>
                    <a:pt x="62809" y="193174"/>
                  </a:lnTo>
                  <a:cubicBezTo>
                    <a:pt x="41985" y="179324"/>
                    <a:pt x="18741" y="179227"/>
                    <a:pt x="0" y="197968"/>
                  </a:cubicBezTo>
                  <a:cubicBezTo>
                    <a:pt x="8765" y="197242"/>
                    <a:pt x="16852" y="200002"/>
                    <a:pt x="23293" y="206201"/>
                  </a:cubicBezTo>
                  <a:lnTo>
                    <a:pt x="23438" y="206346"/>
                  </a:lnTo>
                  <a:cubicBezTo>
                    <a:pt x="28475" y="211382"/>
                    <a:pt x="31138" y="216758"/>
                    <a:pt x="30073" y="224893"/>
                  </a:cubicBezTo>
                  <a:cubicBezTo>
                    <a:pt x="30073" y="224893"/>
                    <a:pt x="28959" y="234482"/>
                    <a:pt x="36852" y="242327"/>
                  </a:cubicBezTo>
                  <a:lnTo>
                    <a:pt x="37143" y="242617"/>
                  </a:ln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936" name="Gráfico 11">
            <a:extLst>
              <a:ext uri="{FF2B5EF4-FFF2-40B4-BE49-F238E27FC236}">
                <a16:creationId xmlns:a16="http://schemas.microsoft.com/office/drawing/2014/main" id="{40701899-4669-FACF-FC36-566DC3C5F17A}"/>
              </a:ext>
            </a:extLst>
          </p:cNvPr>
          <p:cNvGrpSpPr/>
          <p:nvPr/>
        </p:nvGrpSpPr>
        <p:grpSpPr>
          <a:xfrm>
            <a:off x="9956743" y="1544209"/>
            <a:ext cx="364261" cy="277721"/>
            <a:chOff x="9956743" y="1544209"/>
            <a:chExt cx="364261" cy="277721"/>
          </a:xfrm>
          <a:noFill/>
        </p:grpSpPr>
        <p:grpSp>
          <p:nvGrpSpPr>
            <p:cNvPr id="937" name="Gráfico 11">
              <a:extLst>
                <a:ext uri="{FF2B5EF4-FFF2-40B4-BE49-F238E27FC236}">
                  <a16:creationId xmlns:a16="http://schemas.microsoft.com/office/drawing/2014/main" id="{CA671B92-694D-8A6E-A0D0-91F4E2605965}"/>
                </a:ext>
              </a:extLst>
            </p:cNvPr>
            <p:cNvGrpSpPr/>
            <p:nvPr/>
          </p:nvGrpSpPr>
          <p:grpSpPr>
            <a:xfrm>
              <a:off x="9956743" y="1624787"/>
              <a:ext cx="238983" cy="75351"/>
              <a:chOff x="9956743" y="1624787"/>
              <a:chExt cx="238983" cy="75351"/>
            </a:xfrm>
            <a:noFill/>
          </p:grpSpPr>
          <p:sp>
            <p:nvSpPr>
              <p:cNvPr id="938" name="Forma livre: Forma 937">
                <a:extLst>
                  <a:ext uri="{FF2B5EF4-FFF2-40B4-BE49-F238E27FC236}">
                    <a16:creationId xmlns:a16="http://schemas.microsoft.com/office/drawing/2014/main" id="{BECC369D-B908-3184-5316-CAA811AB1D20}"/>
                  </a:ext>
                </a:extLst>
              </p:cNvPr>
              <p:cNvSpPr/>
              <p:nvPr/>
            </p:nvSpPr>
            <p:spPr>
              <a:xfrm>
                <a:off x="9956743" y="1624787"/>
                <a:ext cx="238983" cy="75351"/>
              </a:xfrm>
              <a:custGeom>
                <a:avLst/>
                <a:gdLst>
                  <a:gd name="connsiteX0" fmla="*/ 13705 w 238983"/>
                  <a:gd name="connsiteY0" fmla="*/ 0 h 75351"/>
                  <a:gd name="connsiteX1" fmla="*/ 225230 w 238983"/>
                  <a:gd name="connsiteY1" fmla="*/ 0 h 75351"/>
                  <a:gd name="connsiteX2" fmla="*/ 238983 w 238983"/>
                  <a:gd name="connsiteY2" fmla="*/ 13753 h 75351"/>
                  <a:gd name="connsiteX3" fmla="*/ 238983 w 238983"/>
                  <a:gd name="connsiteY3" fmla="*/ 61646 h 75351"/>
                  <a:gd name="connsiteX4" fmla="*/ 225279 w 238983"/>
                  <a:gd name="connsiteY4" fmla="*/ 75351 h 75351"/>
                  <a:gd name="connsiteX5" fmla="*/ 13705 w 238983"/>
                  <a:gd name="connsiteY5" fmla="*/ 75351 h 75351"/>
                  <a:gd name="connsiteX6" fmla="*/ 0 w 238983"/>
                  <a:gd name="connsiteY6" fmla="*/ 61646 h 75351"/>
                  <a:gd name="connsiteX7" fmla="*/ 0 w 238983"/>
                  <a:gd name="connsiteY7" fmla="*/ 13753 h 75351"/>
                  <a:gd name="connsiteX8" fmla="*/ 13705 w 238983"/>
                  <a:gd name="connsiteY8" fmla="*/ 48 h 753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38983" h="75351">
                    <a:moveTo>
                      <a:pt x="13705" y="0"/>
                    </a:moveTo>
                    <a:lnTo>
                      <a:pt x="225230" y="0"/>
                    </a:lnTo>
                    <a:cubicBezTo>
                      <a:pt x="232785" y="0"/>
                      <a:pt x="238983" y="6150"/>
                      <a:pt x="238983" y="13753"/>
                    </a:cubicBezTo>
                    <a:lnTo>
                      <a:pt x="238983" y="61646"/>
                    </a:lnTo>
                    <a:cubicBezTo>
                      <a:pt x="238983" y="69201"/>
                      <a:pt x="232833" y="75351"/>
                      <a:pt x="225279" y="75351"/>
                    </a:cubicBezTo>
                    <a:lnTo>
                      <a:pt x="13705" y="75351"/>
                    </a:lnTo>
                    <a:cubicBezTo>
                      <a:pt x="6150" y="75351"/>
                      <a:pt x="0" y="69201"/>
                      <a:pt x="0" y="61646"/>
                    </a:cubicBezTo>
                    <a:lnTo>
                      <a:pt x="0" y="13753"/>
                    </a:lnTo>
                    <a:cubicBezTo>
                      <a:pt x="0" y="6199"/>
                      <a:pt x="6150" y="48"/>
                      <a:pt x="13705" y="48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39" name="Forma livre: Forma 938">
                <a:extLst>
                  <a:ext uri="{FF2B5EF4-FFF2-40B4-BE49-F238E27FC236}">
                    <a16:creationId xmlns:a16="http://schemas.microsoft.com/office/drawing/2014/main" id="{3AD436D8-2D14-A3E4-BB58-380DEBD3A93D}"/>
                  </a:ext>
                </a:extLst>
              </p:cNvPr>
              <p:cNvSpPr/>
              <p:nvPr/>
            </p:nvSpPr>
            <p:spPr>
              <a:xfrm>
                <a:off x="9956743" y="1624787"/>
                <a:ext cx="238983" cy="75351"/>
              </a:xfrm>
              <a:custGeom>
                <a:avLst/>
                <a:gdLst>
                  <a:gd name="connsiteX0" fmla="*/ 13705 w 238983"/>
                  <a:gd name="connsiteY0" fmla="*/ 0 h 75351"/>
                  <a:gd name="connsiteX1" fmla="*/ 225230 w 238983"/>
                  <a:gd name="connsiteY1" fmla="*/ 0 h 75351"/>
                  <a:gd name="connsiteX2" fmla="*/ 238983 w 238983"/>
                  <a:gd name="connsiteY2" fmla="*/ 13753 h 75351"/>
                  <a:gd name="connsiteX3" fmla="*/ 238983 w 238983"/>
                  <a:gd name="connsiteY3" fmla="*/ 61646 h 75351"/>
                  <a:gd name="connsiteX4" fmla="*/ 225279 w 238983"/>
                  <a:gd name="connsiteY4" fmla="*/ 75351 h 75351"/>
                  <a:gd name="connsiteX5" fmla="*/ 13705 w 238983"/>
                  <a:gd name="connsiteY5" fmla="*/ 75351 h 75351"/>
                  <a:gd name="connsiteX6" fmla="*/ 0 w 238983"/>
                  <a:gd name="connsiteY6" fmla="*/ 61646 h 75351"/>
                  <a:gd name="connsiteX7" fmla="*/ 0 w 238983"/>
                  <a:gd name="connsiteY7" fmla="*/ 13753 h 75351"/>
                  <a:gd name="connsiteX8" fmla="*/ 13705 w 238983"/>
                  <a:gd name="connsiteY8" fmla="*/ 48 h 753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38983" h="75351">
                    <a:moveTo>
                      <a:pt x="13705" y="0"/>
                    </a:moveTo>
                    <a:lnTo>
                      <a:pt x="225230" y="0"/>
                    </a:lnTo>
                    <a:cubicBezTo>
                      <a:pt x="232785" y="0"/>
                      <a:pt x="238983" y="6150"/>
                      <a:pt x="238983" y="13753"/>
                    </a:cubicBezTo>
                    <a:lnTo>
                      <a:pt x="238983" y="61646"/>
                    </a:lnTo>
                    <a:cubicBezTo>
                      <a:pt x="238983" y="69201"/>
                      <a:pt x="232833" y="75351"/>
                      <a:pt x="225279" y="75351"/>
                    </a:cubicBezTo>
                    <a:lnTo>
                      <a:pt x="13705" y="75351"/>
                    </a:lnTo>
                    <a:cubicBezTo>
                      <a:pt x="6150" y="75351"/>
                      <a:pt x="0" y="69201"/>
                      <a:pt x="0" y="61646"/>
                    </a:cubicBezTo>
                    <a:lnTo>
                      <a:pt x="0" y="13753"/>
                    </a:lnTo>
                    <a:cubicBezTo>
                      <a:pt x="0" y="6199"/>
                      <a:pt x="6150" y="48"/>
                      <a:pt x="13705" y="48"/>
                    </a:cubicBezTo>
                    <a:close/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940" name="Forma livre: Forma 939">
              <a:extLst>
                <a:ext uri="{FF2B5EF4-FFF2-40B4-BE49-F238E27FC236}">
                  <a16:creationId xmlns:a16="http://schemas.microsoft.com/office/drawing/2014/main" id="{9A20154E-56AC-9F8D-62F8-B72C7D6B8217}"/>
                </a:ext>
              </a:extLst>
            </p:cNvPr>
            <p:cNvSpPr/>
            <p:nvPr/>
          </p:nvSpPr>
          <p:spPr>
            <a:xfrm>
              <a:off x="10196549" y="1573649"/>
              <a:ext cx="50750" cy="89007"/>
            </a:xfrm>
            <a:custGeom>
              <a:avLst/>
              <a:gdLst>
                <a:gd name="connsiteX0" fmla="*/ 0 w 50750"/>
                <a:gd name="connsiteY0" fmla="*/ 89007 h 89007"/>
                <a:gd name="connsiteX1" fmla="*/ 27797 w 50750"/>
                <a:gd name="connsiteY1" fmla="*/ 89007 h 89007"/>
                <a:gd name="connsiteX2" fmla="*/ 27797 w 50750"/>
                <a:gd name="connsiteY2" fmla="*/ 0 h 89007"/>
                <a:gd name="connsiteX3" fmla="*/ 50751 w 50750"/>
                <a:gd name="connsiteY3" fmla="*/ 0 h 890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0750" h="89007">
                  <a:moveTo>
                    <a:pt x="0" y="89007"/>
                  </a:moveTo>
                  <a:lnTo>
                    <a:pt x="27797" y="89007"/>
                  </a:lnTo>
                  <a:lnTo>
                    <a:pt x="27797" y="0"/>
                  </a:lnTo>
                  <a:lnTo>
                    <a:pt x="50751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41" name="Forma livre: Forma 940">
              <a:extLst>
                <a:ext uri="{FF2B5EF4-FFF2-40B4-BE49-F238E27FC236}">
                  <a16:creationId xmlns:a16="http://schemas.microsoft.com/office/drawing/2014/main" id="{F5E43C26-FF9F-8334-5248-DD9B63D6AE13}"/>
                </a:ext>
              </a:extLst>
            </p:cNvPr>
            <p:cNvSpPr/>
            <p:nvPr/>
          </p:nvSpPr>
          <p:spPr>
            <a:xfrm>
              <a:off x="10248801" y="1556555"/>
              <a:ext cx="72203" cy="34043"/>
            </a:xfrm>
            <a:custGeom>
              <a:avLst/>
              <a:gdLst>
                <a:gd name="connsiteX0" fmla="*/ 58499 w 72203"/>
                <a:gd name="connsiteY0" fmla="*/ 0 h 34043"/>
                <a:gd name="connsiteX1" fmla="*/ 72203 w 72203"/>
                <a:gd name="connsiteY1" fmla="*/ 13705 h 34043"/>
                <a:gd name="connsiteX2" fmla="*/ 72203 w 72203"/>
                <a:gd name="connsiteY2" fmla="*/ 20339 h 34043"/>
                <a:gd name="connsiteX3" fmla="*/ 58499 w 72203"/>
                <a:gd name="connsiteY3" fmla="*/ 34044 h 34043"/>
                <a:gd name="connsiteX4" fmla="*/ 13705 w 72203"/>
                <a:gd name="connsiteY4" fmla="*/ 34044 h 34043"/>
                <a:gd name="connsiteX5" fmla="*/ 0 w 72203"/>
                <a:gd name="connsiteY5" fmla="*/ 20339 h 34043"/>
                <a:gd name="connsiteX6" fmla="*/ 0 w 72203"/>
                <a:gd name="connsiteY6" fmla="*/ 13705 h 34043"/>
                <a:gd name="connsiteX7" fmla="*/ 13705 w 72203"/>
                <a:gd name="connsiteY7" fmla="*/ 0 h 340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2203" h="34043">
                  <a:moveTo>
                    <a:pt x="58499" y="0"/>
                  </a:moveTo>
                  <a:cubicBezTo>
                    <a:pt x="66068" y="0"/>
                    <a:pt x="72203" y="6136"/>
                    <a:pt x="72203" y="13705"/>
                  </a:cubicBezTo>
                  <a:lnTo>
                    <a:pt x="72203" y="20339"/>
                  </a:lnTo>
                  <a:cubicBezTo>
                    <a:pt x="72203" y="27908"/>
                    <a:pt x="66068" y="34044"/>
                    <a:pt x="58499" y="34044"/>
                  </a:cubicBezTo>
                  <a:lnTo>
                    <a:pt x="13705" y="34044"/>
                  </a:lnTo>
                  <a:cubicBezTo>
                    <a:pt x="6136" y="34044"/>
                    <a:pt x="0" y="27908"/>
                    <a:pt x="0" y="20339"/>
                  </a:cubicBezTo>
                  <a:lnTo>
                    <a:pt x="0" y="13705"/>
                  </a:lnTo>
                  <a:cubicBezTo>
                    <a:pt x="0" y="6136"/>
                    <a:pt x="6136" y="0"/>
                    <a:pt x="13705" y="0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42" name="Forma livre: Forma 941">
              <a:extLst>
                <a:ext uri="{FF2B5EF4-FFF2-40B4-BE49-F238E27FC236}">
                  <a16:creationId xmlns:a16="http://schemas.microsoft.com/office/drawing/2014/main" id="{C4D656A3-ED0D-8888-63FA-9CC4931357C9}"/>
                </a:ext>
              </a:extLst>
            </p:cNvPr>
            <p:cNvSpPr/>
            <p:nvPr/>
          </p:nvSpPr>
          <p:spPr>
            <a:xfrm>
              <a:off x="9987493" y="1544209"/>
              <a:ext cx="176080" cy="79561"/>
            </a:xfrm>
            <a:custGeom>
              <a:avLst/>
              <a:gdLst>
                <a:gd name="connsiteX0" fmla="*/ 0 w 176080"/>
                <a:gd name="connsiteY0" fmla="*/ 57528 h 79561"/>
                <a:gd name="connsiteX1" fmla="*/ 60920 w 176080"/>
                <a:gd name="connsiteY1" fmla="*/ 6196 h 79561"/>
                <a:gd name="connsiteX2" fmla="*/ 110509 w 176080"/>
                <a:gd name="connsiteY2" fmla="*/ 20288 h 79561"/>
                <a:gd name="connsiteX3" fmla="*/ 176078 w 176080"/>
                <a:gd name="connsiteY3" fmla="*/ 70990 h 79561"/>
                <a:gd name="connsiteX4" fmla="*/ 176078 w 176080"/>
                <a:gd name="connsiteY4" fmla="*/ 79562 h 795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6080" h="79561">
                  <a:moveTo>
                    <a:pt x="0" y="57528"/>
                  </a:moveTo>
                  <a:cubicBezTo>
                    <a:pt x="4649" y="-681"/>
                    <a:pt x="39758" y="-7945"/>
                    <a:pt x="60920" y="6196"/>
                  </a:cubicBezTo>
                  <a:cubicBezTo>
                    <a:pt x="86731" y="23436"/>
                    <a:pt x="110509" y="20288"/>
                    <a:pt x="110509" y="20288"/>
                  </a:cubicBezTo>
                  <a:cubicBezTo>
                    <a:pt x="177530" y="14089"/>
                    <a:pt x="176078" y="70990"/>
                    <a:pt x="176078" y="70990"/>
                  </a:cubicBezTo>
                  <a:lnTo>
                    <a:pt x="176078" y="79562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43" name="Forma livre: Forma 942">
              <a:extLst>
                <a:ext uri="{FF2B5EF4-FFF2-40B4-BE49-F238E27FC236}">
                  <a16:creationId xmlns:a16="http://schemas.microsoft.com/office/drawing/2014/main" id="{8A809ECB-276F-70D9-51DC-3F9E4596E981}"/>
                </a:ext>
              </a:extLst>
            </p:cNvPr>
            <p:cNvSpPr/>
            <p:nvPr/>
          </p:nvSpPr>
          <p:spPr>
            <a:xfrm>
              <a:off x="9991222" y="1655877"/>
              <a:ext cx="48862" cy="4842"/>
            </a:xfrm>
            <a:custGeom>
              <a:avLst/>
              <a:gdLst>
                <a:gd name="connsiteX0" fmla="*/ 0 w 48862"/>
                <a:gd name="connsiteY0" fmla="*/ 0 h 4842"/>
                <a:gd name="connsiteX1" fmla="*/ 48862 w 48862"/>
                <a:gd name="connsiteY1" fmla="*/ 0 h 48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8862" h="4842">
                  <a:moveTo>
                    <a:pt x="0" y="0"/>
                  </a:moveTo>
                  <a:lnTo>
                    <a:pt x="48862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944" name="Gráfico 11">
              <a:extLst>
                <a:ext uri="{FF2B5EF4-FFF2-40B4-BE49-F238E27FC236}">
                  <a16:creationId xmlns:a16="http://schemas.microsoft.com/office/drawing/2014/main" id="{0C85C72F-D6B6-FAF3-1762-E5311A62AAE0}"/>
                </a:ext>
              </a:extLst>
            </p:cNvPr>
            <p:cNvGrpSpPr/>
            <p:nvPr/>
          </p:nvGrpSpPr>
          <p:grpSpPr>
            <a:xfrm>
              <a:off x="9989430" y="1722608"/>
              <a:ext cx="173656" cy="99322"/>
              <a:chOff x="9989430" y="1722608"/>
              <a:chExt cx="173656" cy="99322"/>
            </a:xfrm>
          </p:grpSpPr>
          <p:sp>
            <p:nvSpPr>
              <p:cNvPr id="945" name="Forma livre: Forma 944">
                <a:extLst>
                  <a:ext uri="{FF2B5EF4-FFF2-40B4-BE49-F238E27FC236}">
                    <a16:creationId xmlns:a16="http://schemas.microsoft.com/office/drawing/2014/main" id="{623447F9-FD02-711E-F43C-1ACE954B9C6D}"/>
                  </a:ext>
                </a:extLst>
              </p:cNvPr>
              <p:cNvSpPr/>
              <p:nvPr/>
            </p:nvSpPr>
            <p:spPr>
              <a:xfrm>
                <a:off x="9989430" y="1722608"/>
                <a:ext cx="4842" cy="92009"/>
              </a:xfrm>
              <a:custGeom>
                <a:avLst/>
                <a:gdLst>
                  <a:gd name="connsiteX0" fmla="*/ 0 w 4842"/>
                  <a:gd name="connsiteY0" fmla="*/ 0 h 92009"/>
                  <a:gd name="connsiteX1" fmla="*/ 0 w 4842"/>
                  <a:gd name="connsiteY1" fmla="*/ 92010 h 920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842" h="92009">
                    <a:moveTo>
                      <a:pt x="0" y="0"/>
                    </a:moveTo>
                    <a:lnTo>
                      <a:pt x="0" y="9201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46" name="Forma livre: Forma 945">
                <a:extLst>
                  <a:ext uri="{FF2B5EF4-FFF2-40B4-BE49-F238E27FC236}">
                    <a16:creationId xmlns:a16="http://schemas.microsoft.com/office/drawing/2014/main" id="{020CFF74-B719-4618-6325-4B0E61C70A41}"/>
                  </a:ext>
                </a:extLst>
              </p:cNvPr>
              <p:cNvSpPr/>
              <p:nvPr/>
            </p:nvSpPr>
            <p:spPr>
              <a:xfrm>
                <a:off x="10024152" y="1722608"/>
                <a:ext cx="4842" cy="74915"/>
              </a:xfrm>
              <a:custGeom>
                <a:avLst/>
                <a:gdLst>
                  <a:gd name="connsiteX0" fmla="*/ 0 w 4842"/>
                  <a:gd name="connsiteY0" fmla="*/ 0 h 74915"/>
                  <a:gd name="connsiteX1" fmla="*/ 0 w 4842"/>
                  <a:gd name="connsiteY1" fmla="*/ 74915 h 749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842" h="74915">
                    <a:moveTo>
                      <a:pt x="0" y="0"/>
                    </a:moveTo>
                    <a:lnTo>
                      <a:pt x="0" y="74915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47" name="Forma livre: Forma 946">
                <a:extLst>
                  <a:ext uri="{FF2B5EF4-FFF2-40B4-BE49-F238E27FC236}">
                    <a16:creationId xmlns:a16="http://schemas.microsoft.com/office/drawing/2014/main" id="{9024E3D3-A612-2009-B838-A38226422B80}"/>
                  </a:ext>
                </a:extLst>
              </p:cNvPr>
              <p:cNvSpPr/>
              <p:nvPr/>
            </p:nvSpPr>
            <p:spPr>
              <a:xfrm>
                <a:off x="10163087" y="1722608"/>
                <a:ext cx="4842" cy="74915"/>
              </a:xfrm>
              <a:custGeom>
                <a:avLst/>
                <a:gdLst>
                  <a:gd name="connsiteX0" fmla="*/ 0 w 4842"/>
                  <a:gd name="connsiteY0" fmla="*/ 0 h 74915"/>
                  <a:gd name="connsiteX1" fmla="*/ 0 w 4842"/>
                  <a:gd name="connsiteY1" fmla="*/ 74915 h 749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842" h="74915">
                    <a:moveTo>
                      <a:pt x="0" y="0"/>
                    </a:moveTo>
                    <a:lnTo>
                      <a:pt x="0" y="74915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48" name="Forma livre: Forma 947">
                <a:extLst>
                  <a:ext uri="{FF2B5EF4-FFF2-40B4-BE49-F238E27FC236}">
                    <a16:creationId xmlns:a16="http://schemas.microsoft.com/office/drawing/2014/main" id="{67D69349-D07C-D960-6429-597F051C1EEF}"/>
                  </a:ext>
                </a:extLst>
              </p:cNvPr>
              <p:cNvSpPr/>
              <p:nvPr/>
            </p:nvSpPr>
            <p:spPr>
              <a:xfrm>
                <a:off x="10058874" y="1722608"/>
                <a:ext cx="4842" cy="99322"/>
              </a:xfrm>
              <a:custGeom>
                <a:avLst/>
                <a:gdLst>
                  <a:gd name="connsiteX0" fmla="*/ 0 w 4842"/>
                  <a:gd name="connsiteY0" fmla="*/ 0 h 99322"/>
                  <a:gd name="connsiteX1" fmla="*/ 0 w 4842"/>
                  <a:gd name="connsiteY1" fmla="*/ 99322 h 993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842" h="99322">
                    <a:moveTo>
                      <a:pt x="0" y="0"/>
                    </a:moveTo>
                    <a:lnTo>
                      <a:pt x="0" y="99322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49" name="Forma livre: Forma 948">
                <a:extLst>
                  <a:ext uri="{FF2B5EF4-FFF2-40B4-BE49-F238E27FC236}">
                    <a16:creationId xmlns:a16="http://schemas.microsoft.com/office/drawing/2014/main" id="{2269032D-59CC-D5C6-A1A0-7B5677C5F683}"/>
                  </a:ext>
                </a:extLst>
              </p:cNvPr>
              <p:cNvSpPr/>
              <p:nvPr/>
            </p:nvSpPr>
            <p:spPr>
              <a:xfrm>
                <a:off x="10093595" y="1722608"/>
                <a:ext cx="4842" cy="82227"/>
              </a:xfrm>
              <a:custGeom>
                <a:avLst/>
                <a:gdLst>
                  <a:gd name="connsiteX0" fmla="*/ 0 w 4842"/>
                  <a:gd name="connsiteY0" fmla="*/ 0 h 82227"/>
                  <a:gd name="connsiteX1" fmla="*/ 0 w 4842"/>
                  <a:gd name="connsiteY1" fmla="*/ 82228 h 822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842" h="82227">
                    <a:moveTo>
                      <a:pt x="0" y="0"/>
                    </a:moveTo>
                    <a:lnTo>
                      <a:pt x="0" y="82228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50" name="Forma livre: Forma 949">
                <a:extLst>
                  <a:ext uri="{FF2B5EF4-FFF2-40B4-BE49-F238E27FC236}">
                    <a16:creationId xmlns:a16="http://schemas.microsoft.com/office/drawing/2014/main" id="{F5300461-DF6B-E623-EDDD-3F87D19FBAEB}"/>
                  </a:ext>
                </a:extLst>
              </p:cNvPr>
              <p:cNvSpPr/>
              <p:nvPr/>
            </p:nvSpPr>
            <p:spPr>
              <a:xfrm>
                <a:off x="10128317" y="1722608"/>
                <a:ext cx="4842" cy="92009"/>
              </a:xfrm>
              <a:custGeom>
                <a:avLst/>
                <a:gdLst>
                  <a:gd name="connsiteX0" fmla="*/ 0 w 4842"/>
                  <a:gd name="connsiteY0" fmla="*/ 0 h 92009"/>
                  <a:gd name="connsiteX1" fmla="*/ 0 w 4842"/>
                  <a:gd name="connsiteY1" fmla="*/ 92010 h 920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842" h="92009">
                    <a:moveTo>
                      <a:pt x="0" y="0"/>
                    </a:moveTo>
                    <a:lnTo>
                      <a:pt x="0" y="9201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951" name="Gráfico 11">
            <a:extLst>
              <a:ext uri="{FF2B5EF4-FFF2-40B4-BE49-F238E27FC236}">
                <a16:creationId xmlns:a16="http://schemas.microsoft.com/office/drawing/2014/main" id="{5E7513CA-6197-F12B-E052-79F7C4952ECA}"/>
              </a:ext>
            </a:extLst>
          </p:cNvPr>
          <p:cNvGrpSpPr/>
          <p:nvPr/>
        </p:nvGrpSpPr>
        <p:grpSpPr>
          <a:xfrm>
            <a:off x="11218777" y="1567354"/>
            <a:ext cx="369249" cy="231428"/>
            <a:chOff x="11218777" y="1567354"/>
            <a:chExt cx="369249" cy="231428"/>
          </a:xfrm>
        </p:grpSpPr>
        <p:sp>
          <p:nvSpPr>
            <p:cNvPr id="952" name="Forma livre: Forma 951">
              <a:extLst>
                <a:ext uri="{FF2B5EF4-FFF2-40B4-BE49-F238E27FC236}">
                  <a16:creationId xmlns:a16="http://schemas.microsoft.com/office/drawing/2014/main" id="{7494A2CF-B2CE-80C0-A2B0-CEEC76B5A904}"/>
                </a:ext>
              </a:extLst>
            </p:cNvPr>
            <p:cNvSpPr/>
            <p:nvPr/>
          </p:nvSpPr>
          <p:spPr>
            <a:xfrm>
              <a:off x="11472191" y="1651034"/>
              <a:ext cx="115835" cy="34431"/>
            </a:xfrm>
            <a:custGeom>
              <a:avLst/>
              <a:gdLst>
                <a:gd name="connsiteX0" fmla="*/ 0 w 115835"/>
                <a:gd name="connsiteY0" fmla="*/ 34431 h 34431"/>
                <a:gd name="connsiteX1" fmla="*/ 115835 w 115835"/>
                <a:gd name="connsiteY1" fmla="*/ 0 h 344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5835" h="34431">
                  <a:moveTo>
                    <a:pt x="0" y="34431"/>
                  </a:moveTo>
                  <a:lnTo>
                    <a:pt x="115835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53" name="Forma livre: Forma 952">
              <a:extLst>
                <a:ext uri="{FF2B5EF4-FFF2-40B4-BE49-F238E27FC236}">
                  <a16:creationId xmlns:a16="http://schemas.microsoft.com/office/drawing/2014/main" id="{97742347-17A3-4A89-6696-9220E7896FA3}"/>
                </a:ext>
              </a:extLst>
            </p:cNvPr>
            <p:cNvSpPr/>
            <p:nvPr/>
          </p:nvSpPr>
          <p:spPr>
            <a:xfrm>
              <a:off x="11218777" y="1685369"/>
              <a:ext cx="253414" cy="54996"/>
            </a:xfrm>
            <a:custGeom>
              <a:avLst/>
              <a:gdLst>
                <a:gd name="connsiteX0" fmla="*/ 194867 w 253414"/>
                <a:gd name="connsiteY0" fmla="*/ 54867 h 54996"/>
                <a:gd name="connsiteX1" fmla="*/ 224843 w 253414"/>
                <a:gd name="connsiteY1" fmla="*/ 49831 h 54996"/>
                <a:gd name="connsiteX2" fmla="*/ 239080 w 253414"/>
                <a:gd name="connsiteY2" fmla="*/ 31961 h 54996"/>
                <a:gd name="connsiteX3" fmla="*/ 253414 w 253414"/>
                <a:gd name="connsiteY3" fmla="*/ 0 h 54996"/>
                <a:gd name="connsiteX4" fmla="*/ 0 w 253414"/>
                <a:gd name="connsiteY4" fmla="*/ 0 h 54996"/>
                <a:gd name="connsiteX5" fmla="*/ 14334 w 253414"/>
                <a:gd name="connsiteY5" fmla="*/ 31961 h 54996"/>
                <a:gd name="connsiteX6" fmla="*/ 28572 w 253414"/>
                <a:gd name="connsiteY6" fmla="*/ 49831 h 54996"/>
                <a:gd name="connsiteX7" fmla="*/ 58547 w 253414"/>
                <a:gd name="connsiteY7" fmla="*/ 54867 h 54996"/>
                <a:gd name="connsiteX8" fmla="*/ 194964 w 253414"/>
                <a:gd name="connsiteY8" fmla="*/ 54867 h 549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53414" h="54996">
                  <a:moveTo>
                    <a:pt x="194867" y="54867"/>
                  </a:moveTo>
                  <a:cubicBezTo>
                    <a:pt x="194867" y="54867"/>
                    <a:pt x="215351" y="56271"/>
                    <a:pt x="224843" y="49831"/>
                  </a:cubicBezTo>
                  <a:cubicBezTo>
                    <a:pt x="234334" y="43390"/>
                    <a:pt x="239080" y="31961"/>
                    <a:pt x="239080" y="31961"/>
                  </a:cubicBezTo>
                  <a:lnTo>
                    <a:pt x="253414" y="0"/>
                  </a:lnTo>
                  <a:lnTo>
                    <a:pt x="0" y="0"/>
                  </a:lnTo>
                  <a:lnTo>
                    <a:pt x="14334" y="31961"/>
                  </a:lnTo>
                  <a:cubicBezTo>
                    <a:pt x="14334" y="31961"/>
                    <a:pt x="19080" y="43390"/>
                    <a:pt x="28572" y="49831"/>
                  </a:cubicBezTo>
                  <a:cubicBezTo>
                    <a:pt x="38063" y="56271"/>
                    <a:pt x="58547" y="54867"/>
                    <a:pt x="58547" y="54867"/>
                  </a:cubicBezTo>
                  <a:lnTo>
                    <a:pt x="194964" y="54867"/>
                  </a:ln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954" name="Gráfico 11">
              <a:extLst>
                <a:ext uri="{FF2B5EF4-FFF2-40B4-BE49-F238E27FC236}">
                  <a16:creationId xmlns:a16="http://schemas.microsoft.com/office/drawing/2014/main" id="{61A15B50-43C8-479B-8838-4B1625C454B3}"/>
                </a:ext>
              </a:extLst>
            </p:cNvPr>
            <p:cNvGrpSpPr/>
            <p:nvPr/>
          </p:nvGrpSpPr>
          <p:grpSpPr>
            <a:xfrm>
              <a:off x="11273111" y="1780332"/>
              <a:ext cx="144649" cy="18450"/>
              <a:chOff x="11273111" y="1780332"/>
              <a:chExt cx="144649" cy="18450"/>
            </a:xfrm>
            <a:solidFill>
              <a:srgbClr val="394553"/>
            </a:solidFill>
          </p:grpSpPr>
          <p:sp>
            <p:nvSpPr>
              <p:cNvPr id="955" name="Forma livre: Forma 954">
                <a:extLst>
                  <a:ext uri="{FF2B5EF4-FFF2-40B4-BE49-F238E27FC236}">
                    <a16:creationId xmlns:a16="http://schemas.microsoft.com/office/drawing/2014/main" id="{C64AE9AE-0109-6502-8B44-3836335CF7C0}"/>
                  </a:ext>
                </a:extLst>
              </p:cNvPr>
              <p:cNvSpPr/>
              <p:nvPr/>
            </p:nvSpPr>
            <p:spPr>
              <a:xfrm>
                <a:off x="11273111" y="1780332"/>
                <a:ext cx="10266" cy="18450"/>
              </a:xfrm>
              <a:custGeom>
                <a:avLst/>
                <a:gdLst>
                  <a:gd name="connsiteX0" fmla="*/ 5133 w 10266"/>
                  <a:gd name="connsiteY0" fmla="*/ 18450 h 18450"/>
                  <a:gd name="connsiteX1" fmla="*/ 0 w 10266"/>
                  <a:gd name="connsiteY1" fmla="*/ 13317 h 18450"/>
                  <a:gd name="connsiteX2" fmla="*/ 5133 w 10266"/>
                  <a:gd name="connsiteY2" fmla="*/ 0 h 18450"/>
                  <a:gd name="connsiteX3" fmla="*/ 10266 w 10266"/>
                  <a:gd name="connsiteY3" fmla="*/ 13366 h 18450"/>
                  <a:gd name="connsiteX4" fmla="*/ 5133 w 10266"/>
                  <a:gd name="connsiteY4" fmla="*/ 18450 h 184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0266" h="18450">
                    <a:moveTo>
                      <a:pt x="5133" y="18450"/>
                    </a:moveTo>
                    <a:cubicBezTo>
                      <a:pt x="2276" y="18450"/>
                      <a:pt x="0" y="16126"/>
                      <a:pt x="0" y="13317"/>
                    </a:cubicBezTo>
                    <a:cubicBezTo>
                      <a:pt x="97" y="11525"/>
                      <a:pt x="2179" y="6295"/>
                      <a:pt x="5133" y="0"/>
                    </a:cubicBezTo>
                    <a:cubicBezTo>
                      <a:pt x="8087" y="6295"/>
                      <a:pt x="10170" y="11574"/>
                      <a:pt x="10266" y="13366"/>
                    </a:cubicBezTo>
                    <a:cubicBezTo>
                      <a:pt x="10266" y="16174"/>
                      <a:pt x="7942" y="18450"/>
                      <a:pt x="5133" y="18450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56" name="Forma livre: Forma 955">
                <a:extLst>
                  <a:ext uri="{FF2B5EF4-FFF2-40B4-BE49-F238E27FC236}">
                    <a16:creationId xmlns:a16="http://schemas.microsoft.com/office/drawing/2014/main" id="{C8D66ABA-369E-CD16-A096-9DA67BB9049D}"/>
                  </a:ext>
                </a:extLst>
              </p:cNvPr>
              <p:cNvSpPr/>
              <p:nvPr/>
            </p:nvSpPr>
            <p:spPr>
              <a:xfrm>
                <a:off x="11317905" y="1780332"/>
                <a:ext cx="10266" cy="18450"/>
              </a:xfrm>
              <a:custGeom>
                <a:avLst/>
                <a:gdLst>
                  <a:gd name="connsiteX0" fmla="*/ 5133 w 10266"/>
                  <a:gd name="connsiteY0" fmla="*/ 18450 h 18450"/>
                  <a:gd name="connsiteX1" fmla="*/ 0 w 10266"/>
                  <a:gd name="connsiteY1" fmla="*/ 13317 h 18450"/>
                  <a:gd name="connsiteX2" fmla="*/ 5133 w 10266"/>
                  <a:gd name="connsiteY2" fmla="*/ 0 h 18450"/>
                  <a:gd name="connsiteX3" fmla="*/ 10266 w 10266"/>
                  <a:gd name="connsiteY3" fmla="*/ 13366 h 18450"/>
                  <a:gd name="connsiteX4" fmla="*/ 5133 w 10266"/>
                  <a:gd name="connsiteY4" fmla="*/ 18450 h 184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0266" h="18450">
                    <a:moveTo>
                      <a:pt x="5133" y="18450"/>
                    </a:moveTo>
                    <a:cubicBezTo>
                      <a:pt x="2276" y="18450"/>
                      <a:pt x="0" y="16126"/>
                      <a:pt x="0" y="13317"/>
                    </a:cubicBezTo>
                    <a:cubicBezTo>
                      <a:pt x="97" y="11525"/>
                      <a:pt x="2179" y="6295"/>
                      <a:pt x="5133" y="0"/>
                    </a:cubicBezTo>
                    <a:cubicBezTo>
                      <a:pt x="8087" y="6295"/>
                      <a:pt x="10170" y="11574"/>
                      <a:pt x="10266" y="13366"/>
                    </a:cubicBezTo>
                    <a:cubicBezTo>
                      <a:pt x="10266" y="16174"/>
                      <a:pt x="7942" y="18450"/>
                      <a:pt x="5133" y="18450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57" name="Forma livre: Forma 956">
                <a:extLst>
                  <a:ext uri="{FF2B5EF4-FFF2-40B4-BE49-F238E27FC236}">
                    <a16:creationId xmlns:a16="http://schemas.microsoft.com/office/drawing/2014/main" id="{941361B4-C8D6-C476-3C66-007910DE199A}"/>
                  </a:ext>
                </a:extLst>
              </p:cNvPr>
              <p:cNvSpPr/>
              <p:nvPr/>
            </p:nvSpPr>
            <p:spPr>
              <a:xfrm>
                <a:off x="11362700" y="1780332"/>
                <a:ext cx="10266" cy="18450"/>
              </a:xfrm>
              <a:custGeom>
                <a:avLst/>
                <a:gdLst>
                  <a:gd name="connsiteX0" fmla="*/ 5133 w 10266"/>
                  <a:gd name="connsiteY0" fmla="*/ 18450 h 18450"/>
                  <a:gd name="connsiteX1" fmla="*/ 0 w 10266"/>
                  <a:gd name="connsiteY1" fmla="*/ 13317 h 18450"/>
                  <a:gd name="connsiteX2" fmla="*/ 5133 w 10266"/>
                  <a:gd name="connsiteY2" fmla="*/ 0 h 18450"/>
                  <a:gd name="connsiteX3" fmla="*/ 10266 w 10266"/>
                  <a:gd name="connsiteY3" fmla="*/ 13366 h 18450"/>
                  <a:gd name="connsiteX4" fmla="*/ 5133 w 10266"/>
                  <a:gd name="connsiteY4" fmla="*/ 18450 h 184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0266" h="18450">
                    <a:moveTo>
                      <a:pt x="5133" y="18450"/>
                    </a:moveTo>
                    <a:cubicBezTo>
                      <a:pt x="2276" y="18450"/>
                      <a:pt x="0" y="16126"/>
                      <a:pt x="0" y="13317"/>
                    </a:cubicBezTo>
                    <a:cubicBezTo>
                      <a:pt x="97" y="11525"/>
                      <a:pt x="2179" y="6295"/>
                      <a:pt x="5133" y="0"/>
                    </a:cubicBezTo>
                    <a:cubicBezTo>
                      <a:pt x="8087" y="6295"/>
                      <a:pt x="10170" y="11574"/>
                      <a:pt x="10266" y="13366"/>
                    </a:cubicBezTo>
                    <a:cubicBezTo>
                      <a:pt x="10266" y="16174"/>
                      <a:pt x="7942" y="18450"/>
                      <a:pt x="5133" y="18450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58" name="Forma livre: Forma 957">
                <a:extLst>
                  <a:ext uri="{FF2B5EF4-FFF2-40B4-BE49-F238E27FC236}">
                    <a16:creationId xmlns:a16="http://schemas.microsoft.com/office/drawing/2014/main" id="{32F56101-8FE0-285B-8C6C-8C73A4AB745D}"/>
                  </a:ext>
                </a:extLst>
              </p:cNvPr>
              <p:cNvSpPr/>
              <p:nvPr/>
            </p:nvSpPr>
            <p:spPr>
              <a:xfrm>
                <a:off x="11407494" y="1780332"/>
                <a:ext cx="10266" cy="18450"/>
              </a:xfrm>
              <a:custGeom>
                <a:avLst/>
                <a:gdLst>
                  <a:gd name="connsiteX0" fmla="*/ 5133 w 10266"/>
                  <a:gd name="connsiteY0" fmla="*/ 18450 h 18450"/>
                  <a:gd name="connsiteX1" fmla="*/ 0 w 10266"/>
                  <a:gd name="connsiteY1" fmla="*/ 13317 h 18450"/>
                  <a:gd name="connsiteX2" fmla="*/ 5133 w 10266"/>
                  <a:gd name="connsiteY2" fmla="*/ 0 h 18450"/>
                  <a:gd name="connsiteX3" fmla="*/ 10266 w 10266"/>
                  <a:gd name="connsiteY3" fmla="*/ 13366 h 18450"/>
                  <a:gd name="connsiteX4" fmla="*/ 5133 w 10266"/>
                  <a:gd name="connsiteY4" fmla="*/ 18450 h 184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0266" h="18450">
                    <a:moveTo>
                      <a:pt x="5133" y="18450"/>
                    </a:moveTo>
                    <a:cubicBezTo>
                      <a:pt x="2276" y="18450"/>
                      <a:pt x="0" y="16126"/>
                      <a:pt x="0" y="13317"/>
                    </a:cubicBezTo>
                    <a:cubicBezTo>
                      <a:pt x="97" y="11525"/>
                      <a:pt x="2179" y="6295"/>
                      <a:pt x="5133" y="0"/>
                    </a:cubicBezTo>
                    <a:cubicBezTo>
                      <a:pt x="8136" y="6295"/>
                      <a:pt x="10170" y="11574"/>
                      <a:pt x="10266" y="13366"/>
                    </a:cubicBezTo>
                    <a:cubicBezTo>
                      <a:pt x="10266" y="16174"/>
                      <a:pt x="7942" y="18450"/>
                      <a:pt x="5133" y="18450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959" name="Gráfico 11">
              <a:extLst>
                <a:ext uri="{FF2B5EF4-FFF2-40B4-BE49-F238E27FC236}">
                  <a16:creationId xmlns:a16="http://schemas.microsoft.com/office/drawing/2014/main" id="{52382E09-B194-1164-50AC-15A3A665B191}"/>
                </a:ext>
              </a:extLst>
            </p:cNvPr>
            <p:cNvGrpSpPr/>
            <p:nvPr/>
          </p:nvGrpSpPr>
          <p:grpSpPr>
            <a:xfrm>
              <a:off x="11279721" y="1567354"/>
              <a:ext cx="131416" cy="64697"/>
              <a:chOff x="11279721" y="1567354"/>
              <a:chExt cx="131416" cy="64697"/>
            </a:xfrm>
            <a:noFill/>
          </p:grpSpPr>
          <p:sp>
            <p:nvSpPr>
              <p:cNvPr id="960" name="Forma livre: Forma 959">
                <a:extLst>
                  <a:ext uri="{FF2B5EF4-FFF2-40B4-BE49-F238E27FC236}">
                    <a16:creationId xmlns:a16="http://schemas.microsoft.com/office/drawing/2014/main" id="{E4BEBD01-D5B5-81B3-01F2-BDCF23342C32}"/>
                  </a:ext>
                </a:extLst>
              </p:cNvPr>
              <p:cNvSpPr/>
              <p:nvPr/>
            </p:nvSpPr>
            <p:spPr>
              <a:xfrm>
                <a:off x="11279721" y="1567354"/>
                <a:ext cx="13498" cy="64697"/>
              </a:xfrm>
              <a:custGeom>
                <a:avLst/>
                <a:gdLst>
                  <a:gd name="connsiteX0" fmla="*/ 8887 w 13498"/>
                  <a:gd name="connsiteY0" fmla="*/ 0 h 64697"/>
                  <a:gd name="connsiteX1" fmla="*/ 7095 w 13498"/>
                  <a:gd name="connsiteY1" fmla="*/ 33123 h 64697"/>
                  <a:gd name="connsiteX2" fmla="*/ 3511 w 13498"/>
                  <a:gd name="connsiteY2" fmla="*/ 64697 h 646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3498" h="64697">
                    <a:moveTo>
                      <a:pt x="8887" y="0"/>
                    </a:moveTo>
                    <a:cubicBezTo>
                      <a:pt x="8887" y="0"/>
                      <a:pt x="-9854" y="15400"/>
                      <a:pt x="7095" y="33123"/>
                    </a:cubicBezTo>
                    <a:cubicBezTo>
                      <a:pt x="12470" y="38741"/>
                      <a:pt x="19831" y="49443"/>
                      <a:pt x="3511" y="64697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61" name="Forma livre: Forma 960">
                <a:extLst>
                  <a:ext uri="{FF2B5EF4-FFF2-40B4-BE49-F238E27FC236}">
                    <a16:creationId xmlns:a16="http://schemas.microsoft.com/office/drawing/2014/main" id="{11BFEE38-A277-EE54-C177-3D2BB8F42A48}"/>
                  </a:ext>
                </a:extLst>
              </p:cNvPr>
              <p:cNvSpPr/>
              <p:nvPr/>
            </p:nvSpPr>
            <p:spPr>
              <a:xfrm>
                <a:off x="11338682" y="1567354"/>
                <a:ext cx="13519" cy="64697"/>
              </a:xfrm>
              <a:custGeom>
                <a:avLst/>
                <a:gdLst>
                  <a:gd name="connsiteX0" fmla="*/ 8908 w 13519"/>
                  <a:gd name="connsiteY0" fmla="*/ 0 h 64697"/>
                  <a:gd name="connsiteX1" fmla="*/ 7116 w 13519"/>
                  <a:gd name="connsiteY1" fmla="*/ 33123 h 64697"/>
                  <a:gd name="connsiteX2" fmla="*/ 3533 w 13519"/>
                  <a:gd name="connsiteY2" fmla="*/ 64697 h 646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3519" h="64697">
                    <a:moveTo>
                      <a:pt x="8908" y="0"/>
                    </a:moveTo>
                    <a:cubicBezTo>
                      <a:pt x="8908" y="0"/>
                      <a:pt x="-9881" y="15400"/>
                      <a:pt x="7116" y="33123"/>
                    </a:cubicBezTo>
                    <a:cubicBezTo>
                      <a:pt x="12492" y="38741"/>
                      <a:pt x="19853" y="49443"/>
                      <a:pt x="3533" y="64697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62" name="Forma livre: Forma 961">
                <a:extLst>
                  <a:ext uri="{FF2B5EF4-FFF2-40B4-BE49-F238E27FC236}">
                    <a16:creationId xmlns:a16="http://schemas.microsoft.com/office/drawing/2014/main" id="{947A99A2-F01C-97C3-E8EB-6B7FD3B539AF}"/>
                  </a:ext>
                </a:extLst>
              </p:cNvPr>
              <p:cNvSpPr/>
              <p:nvPr/>
            </p:nvSpPr>
            <p:spPr>
              <a:xfrm>
                <a:off x="11397617" y="1567354"/>
                <a:ext cx="13519" cy="64697"/>
              </a:xfrm>
              <a:custGeom>
                <a:avLst/>
                <a:gdLst>
                  <a:gd name="connsiteX0" fmla="*/ 8908 w 13519"/>
                  <a:gd name="connsiteY0" fmla="*/ 0 h 64697"/>
                  <a:gd name="connsiteX1" fmla="*/ 7116 w 13519"/>
                  <a:gd name="connsiteY1" fmla="*/ 33123 h 64697"/>
                  <a:gd name="connsiteX2" fmla="*/ 3533 w 13519"/>
                  <a:gd name="connsiteY2" fmla="*/ 64697 h 646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3519" h="64697">
                    <a:moveTo>
                      <a:pt x="8908" y="0"/>
                    </a:moveTo>
                    <a:cubicBezTo>
                      <a:pt x="8908" y="0"/>
                      <a:pt x="-9881" y="15400"/>
                      <a:pt x="7116" y="33123"/>
                    </a:cubicBezTo>
                    <a:cubicBezTo>
                      <a:pt x="12492" y="38741"/>
                      <a:pt x="19853" y="49443"/>
                      <a:pt x="3533" y="64697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963" name="Gráfico 11">
            <a:extLst>
              <a:ext uri="{FF2B5EF4-FFF2-40B4-BE49-F238E27FC236}">
                <a16:creationId xmlns:a16="http://schemas.microsoft.com/office/drawing/2014/main" id="{F3AF3F9F-6504-FA71-92D3-CB18F2E24E1D}"/>
              </a:ext>
            </a:extLst>
          </p:cNvPr>
          <p:cNvGrpSpPr/>
          <p:nvPr/>
        </p:nvGrpSpPr>
        <p:grpSpPr>
          <a:xfrm>
            <a:off x="10615048" y="1527015"/>
            <a:ext cx="312106" cy="312106"/>
            <a:chOff x="10615048" y="1527015"/>
            <a:chExt cx="312106" cy="312106"/>
          </a:xfrm>
        </p:grpSpPr>
        <p:sp>
          <p:nvSpPr>
            <p:cNvPr id="964" name="Forma livre: Forma 963">
              <a:extLst>
                <a:ext uri="{FF2B5EF4-FFF2-40B4-BE49-F238E27FC236}">
                  <a16:creationId xmlns:a16="http://schemas.microsoft.com/office/drawing/2014/main" id="{66607321-D9EF-B7F3-3050-90D0F735449C}"/>
                </a:ext>
              </a:extLst>
            </p:cNvPr>
            <p:cNvSpPr/>
            <p:nvPr/>
          </p:nvSpPr>
          <p:spPr>
            <a:xfrm>
              <a:off x="10679261" y="1591277"/>
              <a:ext cx="183680" cy="183632"/>
            </a:xfrm>
            <a:custGeom>
              <a:avLst/>
              <a:gdLst>
                <a:gd name="connsiteX0" fmla="*/ 183680 w 183680"/>
                <a:gd name="connsiteY0" fmla="*/ 91816 h 183632"/>
                <a:gd name="connsiteX1" fmla="*/ 91816 w 183680"/>
                <a:gd name="connsiteY1" fmla="*/ 183632 h 183632"/>
                <a:gd name="connsiteX2" fmla="*/ 0 w 183680"/>
                <a:gd name="connsiteY2" fmla="*/ 91816 h 183632"/>
                <a:gd name="connsiteX3" fmla="*/ 91816 w 183680"/>
                <a:gd name="connsiteY3" fmla="*/ 0 h 183632"/>
                <a:gd name="connsiteX4" fmla="*/ 183680 w 183680"/>
                <a:gd name="connsiteY4" fmla="*/ 91816 h 1836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3680" h="183632">
                  <a:moveTo>
                    <a:pt x="183680" y="91816"/>
                  </a:moveTo>
                  <a:cubicBezTo>
                    <a:pt x="183680" y="142518"/>
                    <a:pt x="142567" y="183632"/>
                    <a:pt x="91816" y="183632"/>
                  </a:cubicBezTo>
                  <a:cubicBezTo>
                    <a:pt x="41065" y="183632"/>
                    <a:pt x="0" y="142518"/>
                    <a:pt x="0" y="91816"/>
                  </a:cubicBezTo>
                  <a:cubicBezTo>
                    <a:pt x="0" y="41114"/>
                    <a:pt x="41114" y="0"/>
                    <a:pt x="91816" y="0"/>
                  </a:cubicBezTo>
                  <a:cubicBezTo>
                    <a:pt x="142518" y="0"/>
                    <a:pt x="183680" y="41114"/>
                    <a:pt x="183680" y="91816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965" name="Gráfico 11">
              <a:extLst>
                <a:ext uri="{FF2B5EF4-FFF2-40B4-BE49-F238E27FC236}">
                  <a16:creationId xmlns:a16="http://schemas.microsoft.com/office/drawing/2014/main" id="{C30C78A4-950F-9DCE-155B-27711F54FB3C}"/>
                </a:ext>
              </a:extLst>
            </p:cNvPr>
            <p:cNvGrpSpPr/>
            <p:nvPr/>
          </p:nvGrpSpPr>
          <p:grpSpPr>
            <a:xfrm>
              <a:off x="10771126" y="1527015"/>
              <a:ext cx="4842" cy="312106"/>
              <a:chOff x="10771126" y="1527015"/>
              <a:chExt cx="4842" cy="312106"/>
            </a:xfrm>
          </p:grpSpPr>
          <p:sp>
            <p:nvSpPr>
              <p:cNvPr id="966" name="Forma livre: Forma 965">
                <a:extLst>
                  <a:ext uri="{FF2B5EF4-FFF2-40B4-BE49-F238E27FC236}">
                    <a16:creationId xmlns:a16="http://schemas.microsoft.com/office/drawing/2014/main" id="{A0277451-1F01-2CAF-908C-1C6B50942D45}"/>
                  </a:ext>
                </a:extLst>
              </p:cNvPr>
              <p:cNvSpPr/>
              <p:nvPr/>
            </p:nvSpPr>
            <p:spPr>
              <a:xfrm>
                <a:off x="10771126" y="1527015"/>
                <a:ext cx="4842" cy="34043"/>
              </a:xfrm>
              <a:custGeom>
                <a:avLst/>
                <a:gdLst>
                  <a:gd name="connsiteX0" fmla="*/ 0 w 4842"/>
                  <a:gd name="connsiteY0" fmla="*/ 34044 h 34043"/>
                  <a:gd name="connsiteX1" fmla="*/ 0 w 4842"/>
                  <a:gd name="connsiteY1" fmla="*/ 0 h 340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842" h="34043">
                    <a:moveTo>
                      <a:pt x="0" y="34044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67" name="Forma livre: Forma 966">
                <a:extLst>
                  <a:ext uri="{FF2B5EF4-FFF2-40B4-BE49-F238E27FC236}">
                    <a16:creationId xmlns:a16="http://schemas.microsoft.com/office/drawing/2014/main" id="{CE9B641F-F699-292D-13BD-FE9761555475}"/>
                  </a:ext>
                </a:extLst>
              </p:cNvPr>
              <p:cNvSpPr/>
              <p:nvPr/>
            </p:nvSpPr>
            <p:spPr>
              <a:xfrm>
                <a:off x="10771126" y="1805078"/>
                <a:ext cx="4842" cy="34043"/>
              </a:xfrm>
              <a:custGeom>
                <a:avLst/>
                <a:gdLst>
                  <a:gd name="connsiteX0" fmla="*/ 0 w 4842"/>
                  <a:gd name="connsiteY0" fmla="*/ 34044 h 34043"/>
                  <a:gd name="connsiteX1" fmla="*/ 0 w 4842"/>
                  <a:gd name="connsiteY1" fmla="*/ 0 h 340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842" h="34043">
                    <a:moveTo>
                      <a:pt x="0" y="34044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968" name="Gráfico 11">
              <a:extLst>
                <a:ext uri="{FF2B5EF4-FFF2-40B4-BE49-F238E27FC236}">
                  <a16:creationId xmlns:a16="http://schemas.microsoft.com/office/drawing/2014/main" id="{8E2832D1-4B09-8AB4-8103-2938964CC2A9}"/>
                </a:ext>
              </a:extLst>
            </p:cNvPr>
            <p:cNvGrpSpPr/>
            <p:nvPr/>
          </p:nvGrpSpPr>
          <p:grpSpPr>
            <a:xfrm>
              <a:off x="10615048" y="1683044"/>
              <a:ext cx="312106" cy="4842"/>
              <a:chOff x="10615048" y="1683044"/>
              <a:chExt cx="312106" cy="4842"/>
            </a:xfrm>
          </p:grpSpPr>
          <p:sp>
            <p:nvSpPr>
              <p:cNvPr id="969" name="Forma livre: Forma 968">
                <a:extLst>
                  <a:ext uri="{FF2B5EF4-FFF2-40B4-BE49-F238E27FC236}">
                    <a16:creationId xmlns:a16="http://schemas.microsoft.com/office/drawing/2014/main" id="{72FBBA7B-E903-0863-B8F4-A2FA2C72B28D}"/>
                  </a:ext>
                </a:extLst>
              </p:cNvPr>
              <p:cNvSpPr/>
              <p:nvPr/>
            </p:nvSpPr>
            <p:spPr>
              <a:xfrm>
                <a:off x="10893160" y="1683044"/>
                <a:ext cx="33995" cy="4842"/>
              </a:xfrm>
              <a:custGeom>
                <a:avLst/>
                <a:gdLst>
                  <a:gd name="connsiteX0" fmla="*/ 0 w 33995"/>
                  <a:gd name="connsiteY0" fmla="*/ 0 h 4842"/>
                  <a:gd name="connsiteX1" fmla="*/ 33995 w 33995"/>
                  <a:gd name="connsiteY1" fmla="*/ 0 h 48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3995" h="4842">
                    <a:moveTo>
                      <a:pt x="0" y="0"/>
                    </a:moveTo>
                    <a:lnTo>
                      <a:pt x="33995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70" name="Forma livre: Forma 969">
                <a:extLst>
                  <a:ext uri="{FF2B5EF4-FFF2-40B4-BE49-F238E27FC236}">
                    <a16:creationId xmlns:a16="http://schemas.microsoft.com/office/drawing/2014/main" id="{04210A06-9F99-2FE3-CB71-EABC9BC6F5B9}"/>
                  </a:ext>
                </a:extLst>
              </p:cNvPr>
              <p:cNvSpPr/>
              <p:nvPr/>
            </p:nvSpPr>
            <p:spPr>
              <a:xfrm>
                <a:off x="10615048" y="1683044"/>
                <a:ext cx="34043" cy="4842"/>
              </a:xfrm>
              <a:custGeom>
                <a:avLst/>
                <a:gdLst>
                  <a:gd name="connsiteX0" fmla="*/ 0 w 34043"/>
                  <a:gd name="connsiteY0" fmla="*/ 0 h 4842"/>
                  <a:gd name="connsiteX1" fmla="*/ 34044 w 34043"/>
                  <a:gd name="connsiteY1" fmla="*/ 0 h 48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4043" h="4842">
                    <a:moveTo>
                      <a:pt x="0" y="0"/>
                    </a:moveTo>
                    <a:lnTo>
                      <a:pt x="34044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971" name="Gráfico 11">
              <a:extLst>
                <a:ext uri="{FF2B5EF4-FFF2-40B4-BE49-F238E27FC236}">
                  <a16:creationId xmlns:a16="http://schemas.microsoft.com/office/drawing/2014/main" id="{522071E7-9670-2484-092B-2ADE98CC4BF4}"/>
                </a:ext>
              </a:extLst>
            </p:cNvPr>
            <p:cNvGrpSpPr/>
            <p:nvPr/>
          </p:nvGrpSpPr>
          <p:grpSpPr>
            <a:xfrm>
              <a:off x="10660762" y="1572729"/>
              <a:ext cx="220726" cy="220678"/>
              <a:chOff x="10660762" y="1572729"/>
              <a:chExt cx="220726" cy="220678"/>
            </a:xfrm>
          </p:grpSpPr>
          <p:sp>
            <p:nvSpPr>
              <p:cNvPr id="972" name="Forma livre: Forma 971">
                <a:extLst>
                  <a:ext uri="{FF2B5EF4-FFF2-40B4-BE49-F238E27FC236}">
                    <a16:creationId xmlns:a16="http://schemas.microsoft.com/office/drawing/2014/main" id="{84F1CCBE-793D-280D-948D-D59DB5D864C8}"/>
                  </a:ext>
                </a:extLst>
              </p:cNvPr>
              <p:cNvSpPr/>
              <p:nvPr/>
            </p:nvSpPr>
            <p:spPr>
              <a:xfrm>
                <a:off x="10857421" y="1572729"/>
                <a:ext cx="24067" cy="24067"/>
              </a:xfrm>
              <a:custGeom>
                <a:avLst/>
                <a:gdLst>
                  <a:gd name="connsiteX0" fmla="*/ 0 w 24067"/>
                  <a:gd name="connsiteY0" fmla="*/ 24068 h 24067"/>
                  <a:gd name="connsiteX1" fmla="*/ 24068 w 24067"/>
                  <a:gd name="connsiteY1" fmla="*/ 0 h 240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4067" h="24067">
                    <a:moveTo>
                      <a:pt x="0" y="24068"/>
                    </a:moveTo>
                    <a:lnTo>
                      <a:pt x="24068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73" name="Forma livre: Forma 972">
                <a:extLst>
                  <a:ext uri="{FF2B5EF4-FFF2-40B4-BE49-F238E27FC236}">
                    <a16:creationId xmlns:a16="http://schemas.microsoft.com/office/drawing/2014/main" id="{E70CF5D8-9261-41FF-0E2C-37EBC9BA7DEE}"/>
                  </a:ext>
                </a:extLst>
              </p:cNvPr>
              <p:cNvSpPr/>
              <p:nvPr/>
            </p:nvSpPr>
            <p:spPr>
              <a:xfrm>
                <a:off x="10660762" y="1769340"/>
                <a:ext cx="24067" cy="24067"/>
              </a:xfrm>
              <a:custGeom>
                <a:avLst/>
                <a:gdLst>
                  <a:gd name="connsiteX0" fmla="*/ 0 w 24067"/>
                  <a:gd name="connsiteY0" fmla="*/ 24068 h 24067"/>
                  <a:gd name="connsiteX1" fmla="*/ 24068 w 24067"/>
                  <a:gd name="connsiteY1" fmla="*/ 0 h 240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4067" h="24067">
                    <a:moveTo>
                      <a:pt x="0" y="24068"/>
                    </a:moveTo>
                    <a:lnTo>
                      <a:pt x="24068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974" name="Gráfico 11">
              <a:extLst>
                <a:ext uri="{FF2B5EF4-FFF2-40B4-BE49-F238E27FC236}">
                  <a16:creationId xmlns:a16="http://schemas.microsoft.com/office/drawing/2014/main" id="{EC10E04F-F344-B04B-6A53-41B6097BE437}"/>
                </a:ext>
              </a:extLst>
            </p:cNvPr>
            <p:cNvGrpSpPr/>
            <p:nvPr/>
          </p:nvGrpSpPr>
          <p:grpSpPr>
            <a:xfrm>
              <a:off x="10626912" y="1623335"/>
              <a:ext cx="288377" cy="119467"/>
              <a:chOff x="10626912" y="1623335"/>
              <a:chExt cx="288377" cy="119467"/>
            </a:xfrm>
          </p:grpSpPr>
          <p:sp>
            <p:nvSpPr>
              <p:cNvPr id="975" name="Forma livre: Forma 974">
                <a:extLst>
                  <a:ext uri="{FF2B5EF4-FFF2-40B4-BE49-F238E27FC236}">
                    <a16:creationId xmlns:a16="http://schemas.microsoft.com/office/drawing/2014/main" id="{56F9D2F7-D98F-D0E5-37E8-56F7C54BE74A}"/>
                  </a:ext>
                </a:extLst>
              </p:cNvPr>
              <p:cNvSpPr/>
              <p:nvPr/>
            </p:nvSpPr>
            <p:spPr>
              <a:xfrm>
                <a:off x="10883862" y="1729775"/>
                <a:ext cx="31428" cy="13026"/>
              </a:xfrm>
              <a:custGeom>
                <a:avLst/>
                <a:gdLst>
                  <a:gd name="connsiteX0" fmla="*/ 0 w 31428"/>
                  <a:gd name="connsiteY0" fmla="*/ 0 h 13026"/>
                  <a:gd name="connsiteX1" fmla="*/ 31429 w 31428"/>
                  <a:gd name="connsiteY1" fmla="*/ 13027 h 130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1428" h="13026">
                    <a:moveTo>
                      <a:pt x="0" y="0"/>
                    </a:moveTo>
                    <a:lnTo>
                      <a:pt x="31429" y="13027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76" name="Forma livre: Forma 975">
                <a:extLst>
                  <a:ext uri="{FF2B5EF4-FFF2-40B4-BE49-F238E27FC236}">
                    <a16:creationId xmlns:a16="http://schemas.microsoft.com/office/drawing/2014/main" id="{ED668620-3E7E-45EF-440A-90939C0EA019}"/>
                  </a:ext>
                </a:extLst>
              </p:cNvPr>
              <p:cNvSpPr/>
              <p:nvPr/>
            </p:nvSpPr>
            <p:spPr>
              <a:xfrm>
                <a:off x="10626912" y="1623335"/>
                <a:ext cx="31477" cy="13026"/>
              </a:xfrm>
              <a:custGeom>
                <a:avLst/>
                <a:gdLst>
                  <a:gd name="connsiteX0" fmla="*/ 0 w 31477"/>
                  <a:gd name="connsiteY0" fmla="*/ 0 h 13026"/>
                  <a:gd name="connsiteX1" fmla="*/ 31477 w 31477"/>
                  <a:gd name="connsiteY1" fmla="*/ 13027 h 130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1477" h="13026">
                    <a:moveTo>
                      <a:pt x="0" y="0"/>
                    </a:moveTo>
                    <a:lnTo>
                      <a:pt x="31477" y="13027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977" name="Gráfico 11">
              <a:extLst>
                <a:ext uri="{FF2B5EF4-FFF2-40B4-BE49-F238E27FC236}">
                  <a16:creationId xmlns:a16="http://schemas.microsoft.com/office/drawing/2014/main" id="{0D127325-5589-C16F-36DF-664D68B7C7F4}"/>
                </a:ext>
              </a:extLst>
            </p:cNvPr>
            <p:cNvGrpSpPr/>
            <p:nvPr/>
          </p:nvGrpSpPr>
          <p:grpSpPr>
            <a:xfrm>
              <a:off x="10626912" y="1623335"/>
              <a:ext cx="288377" cy="119467"/>
              <a:chOff x="10626912" y="1623335"/>
              <a:chExt cx="288377" cy="119467"/>
            </a:xfrm>
          </p:grpSpPr>
          <p:sp>
            <p:nvSpPr>
              <p:cNvPr id="978" name="Forma livre: Forma 977">
                <a:extLst>
                  <a:ext uri="{FF2B5EF4-FFF2-40B4-BE49-F238E27FC236}">
                    <a16:creationId xmlns:a16="http://schemas.microsoft.com/office/drawing/2014/main" id="{70EA0BE4-B92F-0616-1230-0638804FD25E}"/>
                  </a:ext>
                </a:extLst>
              </p:cNvPr>
              <p:cNvSpPr/>
              <p:nvPr/>
            </p:nvSpPr>
            <p:spPr>
              <a:xfrm>
                <a:off x="10883862" y="1623335"/>
                <a:ext cx="31428" cy="13026"/>
              </a:xfrm>
              <a:custGeom>
                <a:avLst/>
                <a:gdLst>
                  <a:gd name="connsiteX0" fmla="*/ 0 w 31428"/>
                  <a:gd name="connsiteY0" fmla="*/ 13027 h 13026"/>
                  <a:gd name="connsiteX1" fmla="*/ 31429 w 31428"/>
                  <a:gd name="connsiteY1" fmla="*/ 0 h 130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1428" h="13026">
                    <a:moveTo>
                      <a:pt x="0" y="13027"/>
                    </a:moveTo>
                    <a:lnTo>
                      <a:pt x="31429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79" name="Forma livre: Forma 978">
                <a:extLst>
                  <a:ext uri="{FF2B5EF4-FFF2-40B4-BE49-F238E27FC236}">
                    <a16:creationId xmlns:a16="http://schemas.microsoft.com/office/drawing/2014/main" id="{95EFA2CD-DEB9-2517-C258-51F5735A77CC}"/>
                  </a:ext>
                </a:extLst>
              </p:cNvPr>
              <p:cNvSpPr/>
              <p:nvPr/>
            </p:nvSpPr>
            <p:spPr>
              <a:xfrm>
                <a:off x="10626912" y="1729775"/>
                <a:ext cx="31477" cy="13026"/>
              </a:xfrm>
              <a:custGeom>
                <a:avLst/>
                <a:gdLst>
                  <a:gd name="connsiteX0" fmla="*/ 0 w 31477"/>
                  <a:gd name="connsiteY0" fmla="*/ 13027 h 13026"/>
                  <a:gd name="connsiteX1" fmla="*/ 31477 w 31477"/>
                  <a:gd name="connsiteY1" fmla="*/ 0 h 130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1477" h="13026">
                    <a:moveTo>
                      <a:pt x="0" y="13027"/>
                    </a:moveTo>
                    <a:lnTo>
                      <a:pt x="31477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980" name="Gráfico 11">
              <a:extLst>
                <a:ext uri="{FF2B5EF4-FFF2-40B4-BE49-F238E27FC236}">
                  <a16:creationId xmlns:a16="http://schemas.microsoft.com/office/drawing/2014/main" id="{1AE5762C-ABF2-A9BD-DF94-D25F80783602}"/>
                </a:ext>
              </a:extLst>
            </p:cNvPr>
            <p:cNvGrpSpPr/>
            <p:nvPr/>
          </p:nvGrpSpPr>
          <p:grpSpPr>
            <a:xfrm>
              <a:off x="10711416" y="1538879"/>
              <a:ext cx="119418" cy="288377"/>
              <a:chOff x="10711416" y="1538879"/>
              <a:chExt cx="119418" cy="288377"/>
            </a:xfrm>
          </p:grpSpPr>
          <p:sp>
            <p:nvSpPr>
              <p:cNvPr id="981" name="Forma livre: Forma 980">
                <a:extLst>
                  <a:ext uri="{FF2B5EF4-FFF2-40B4-BE49-F238E27FC236}">
                    <a16:creationId xmlns:a16="http://schemas.microsoft.com/office/drawing/2014/main" id="{B54DD814-1BE8-BCCD-4367-C6675FA0D3A6}"/>
                  </a:ext>
                </a:extLst>
              </p:cNvPr>
              <p:cNvSpPr/>
              <p:nvPr/>
            </p:nvSpPr>
            <p:spPr>
              <a:xfrm>
                <a:off x="10817808" y="1538879"/>
                <a:ext cx="13026" cy="31428"/>
              </a:xfrm>
              <a:custGeom>
                <a:avLst/>
                <a:gdLst>
                  <a:gd name="connsiteX0" fmla="*/ 0 w 13026"/>
                  <a:gd name="connsiteY0" fmla="*/ 31429 h 31428"/>
                  <a:gd name="connsiteX1" fmla="*/ 13027 w 13026"/>
                  <a:gd name="connsiteY1" fmla="*/ 0 h 314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3026" h="31428">
                    <a:moveTo>
                      <a:pt x="0" y="31429"/>
                    </a:moveTo>
                    <a:lnTo>
                      <a:pt x="13027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82" name="Forma livre: Forma 981">
                <a:extLst>
                  <a:ext uri="{FF2B5EF4-FFF2-40B4-BE49-F238E27FC236}">
                    <a16:creationId xmlns:a16="http://schemas.microsoft.com/office/drawing/2014/main" id="{F9C80F4D-1D28-F828-CF8B-6F64BD32F000}"/>
                  </a:ext>
                </a:extLst>
              </p:cNvPr>
              <p:cNvSpPr/>
              <p:nvPr/>
            </p:nvSpPr>
            <p:spPr>
              <a:xfrm>
                <a:off x="10711416" y="1795780"/>
                <a:ext cx="12978" cy="31477"/>
              </a:xfrm>
              <a:custGeom>
                <a:avLst/>
                <a:gdLst>
                  <a:gd name="connsiteX0" fmla="*/ 0 w 12978"/>
                  <a:gd name="connsiteY0" fmla="*/ 31477 h 31477"/>
                  <a:gd name="connsiteX1" fmla="*/ 12978 w 12978"/>
                  <a:gd name="connsiteY1" fmla="*/ 0 h 314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978" h="31477">
                    <a:moveTo>
                      <a:pt x="0" y="31477"/>
                    </a:moveTo>
                    <a:lnTo>
                      <a:pt x="12978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983" name="Gráfico 11">
              <a:extLst>
                <a:ext uri="{FF2B5EF4-FFF2-40B4-BE49-F238E27FC236}">
                  <a16:creationId xmlns:a16="http://schemas.microsoft.com/office/drawing/2014/main" id="{45BBEFEC-6F4E-272A-6B9E-003200FCFE85}"/>
                </a:ext>
              </a:extLst>
            </p:cNvPr>
            <p:cNvGrpSpPr/>
            <p:nvPr/>
          </p:nvGrpSpPr>
          <p:grpSpPr>
            <a:xfrm>
              <a:off x="10711416" y="1538879"/>
              <a:ext cx="119418" cy="288377"/>
              <a:chOff x="10711416" y="1538879"/>
              <a:chExt cx="119418" cy="288377"/>
            </a:xfrm>
          </p:grpSpPr>
          <p:sp>
            <p:nvSpPr>
              <p:cNvPr id="984" name="Forma livre: Forma 983">
                <a:extLst>
                  <a:ext uri="{FF2B5EF4-FFF2-40B4-BE49-F238E27FC236}">
                    <a16:creationId xmlns:a16="http://schemas.microsoft.com/office/drawing/2014/main" id="{81D18765-9178-A6C6-E2E2-D46A9C7E0775}"/>
                  </a:ext>
                </a:extLst>
              </p:cNvPr>
              <p:cNvSpPr/>
              <p:nvPr/>
            </p:nvSpPr>
            <p:spPr>
              <a:xfrm>
                <a:off x="10711416" y="1538879"/>
                <a:ext cx="12978" cy="31428"/>
              </a:xfrm>
              <a:custGeom>
                <a:avLst/>
                <a:gdLst>
                  <a:gd name="connsiteX0" fmla="*/ 12978 w 12978"/>
                  <a:gd name="connsiteY0" fmla="*/ 31429 h 31428"/>
                  <a:gd name="connsiteX1" fmla="*/ 0 w 12978"/>
                  <a:gd name="connsiteY1" fmla="*/ 0 h 314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978" h="31428">
                    <a:moveTo>
                      <a:pt x="12978" y="31429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85" name="Forma livre: Forma 984">
                <a:extLst>
                  <a:ext uri="{FF2B5EF4-FFF2-40B4-BE49-F238E27FC236}">
                    <a16:creationId xmlns:a16="http://schemas.microsoft.com/office/drawing/2014/main" id="{A24DC1B2-74FE-8F7E-70D6-902FAEA392F1}"/>
                  </a:ext>
                </a:extLst>
              </p:cNvPr>
              <p:cNvSpPr/>
              <p:nvPr/>
            </p:nvSpPr>
            <p:spPr>
              <a:xfrm>
                <a:off x="10817808" y="1795780"/>
                <a:ext cx="13026" cy="31477"/>
              </a:xfrm>
              <a:custGeom>
                <a:avLst/>
                <a:gdLst>
                  <a:gd name="connsiteX0" fmla="*/ 13027 w 13026"/>
                  <a:gd name="connsiteY0" fmla="*/ 31477 h 31477"/>
                  <a:gd name="connsiteX1" fmla="*/ 0 w 13026"/>
                  <a:gd name="connsiteY1" fmla="*/ 0 h 314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3026" h="31477">
                    <a:moveTo>
                      <a:pt x="13027" y="31477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986" name="Gráfico 11">
              <a:extLst>
                <a:ext uri="{FF2B5EF4-FFF2-40B4-BE49-F238E27FC236}">
                  <a16:creationId xmlns:a16="http://schemas.microsoft.com/office/drawing/2014/main" id="{0A684D9A-5AFE-1255-6EBB-73EFCF468AEC}"/>
                </a:ext>
              </a:extLst>
            </p:cNvPr>
            <p:cNvGrpSpPr/>
            <p:nvPr/>
          </p:nvGrpSpPr>
          <p:grpSpPr>
            <a:xfrm>
              <a:off x="10660762" y="1572729"/>
              <a:ext cx="220678" cy="220678"/>
              <a:chOff x="10660762" y="1572729"/>
              <a:chExt cx="220678" cy="220678"/>
            </a:xfrm>
          </p:grpSpPr>
          <p:sp>
            <p:nvSpPr>
              <p:cNvPr id="987" name="Forma livre: Forma 986">
                <a:extLst>
                  <a:ext uri="{FF2B5EF4-FFF2-40B4-BE49-F238E27FC236}">
                    <a16:creationId xmlns:a16="http://schemas.microsoft.com/office/drawing/2014/main" id="{935C3998-FBAF-C10C-60C3-D6618CC1B113}"/>
                  </a:ext>
                </a:extLst>
              </p:cNvPr>
              <p:cNvSpPr/>
              <p:nvPr/>
            </p:nvSpPr>
            <p:spPr>
              <a:xfrm>
                <a:off x="10857373" y="1769340"/>
                <a:ext cx="24067" cy="24067"/>
              </a:xfrm>
              <a:custGeom>
                <a:avLst/>
                <a:gdLst>
                  <a:gd name="connsiteX0" fmla="*/ 0 w 24067"/>
                  <a:gd name="connsiteY0" fmla="*/ 0 h 24067"/>
                  <a:gd name="connsiteX1" fmla="*/ 24068 w 24067"/>
                  <a:gd name="connsiteY1" fmla="*/ 24068 h 240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4067" h="24067">
                    <a:moveTo>
                      <a:pt x="0" y="0"/>
                    </a:moveTo>
                    <a:lnTo>
                      <a:pt x="24068" y="24068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88" name="Forma livre: Forma 987">
                <a:extLst>
                  <a:ext uri="{FF2B5EF4-FFF2-40B4-BE49-F238E27FC236}">
                    <a16:creationId xmlns:a16="http://schemas.microsoft.com/office/drawing/2014/main" id="{37DA8472-2D2E-8CED-D8B3-4866C14272B1}"/>
                  </a:ext>
                </a:extLst>
              </p:cNvPr>
              <p:cNvSpPr/>
              <p:nvPr/>
            </p:nvSpPr>
            <p:spPr>
              <a:xfrm>
                <a:off x="10660762" y="1572729"/>
                <a:ext cx="24067" cy="24067"/>
              </a:xfrm>
              <a:custGeom>
                <a:avLst/>
                <a:gdLst>
                  <a:gd name="connsiteX0" fmla="*/ 0 w 24067"/>
                  <a:gd name="connsiteY0" fmla="*/ 0 h 24067"/>
                  <a:gd name="connsiteX1" fmla="*/ 24068 w 24067"/>
                  <a:gd name="connsiteY1" fmla="*/ 24068 h 240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4067" h="24067">
                    <a:moveTo>
                      <a:pt x="0" y="0"/>
                    </a:moveTo>
                    <a:lnTo>
                      <a:pt x="24068" y="24068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989" name="Forma livre: Forma 988">
              <a:extLst>
                <a:ext uri="{FF2B5EF4-FFF2-40B4-BE49-F238E27FC236}">
                  <a16:creationId xmlns:a16="http://schemas.microsoft.com/office/drawing/2014/main" id="{1B2F1D3A-84DD-FF5F-95AA-C576B4557E50}"/>
                </a:ext>
              </a:extLst>
            </p:cNvPr>
            <p:cNvSpPr/>
            <p:nvPr/>
          </p:nvSpPr>
          <p:spPr>
            <a:xfrm>
              <a:off x="10808178" y="1653123"/>
              <a:ext cx="7524" cy="7560"/>
            </a:xfrm>
            <a:custGeom>
              <a:avLst/>
              <a:gdLst>
                <a:gd name="connsiteX0" fmla="*/ 6435 w 7524"/>
                <a:gd name="connsiteY0" fmla="*/ 6435 h 7560"/>
                <a:gd name="connsiteX1" fmla="*/ 1108 w 7524"/>
                <a:gd name="connsiteY1" fmla="*/ 6435 h 7560"/>
                <a:gd name="connsiteX2" fmla="*/ 1108 w 7524"/>
                <a:gd name="connsiteY2" fmla="*/ 1108 h 7560"/>
                <a:gd name="connsiteX3" fmla="*/ 6435 w 7524"/>
                <a:gd name="connsiteY3" fmla="*/ 1108 h 7560"/>
                <a:gd name="connsiteX4" fmla="*/ 6435 w 7524"/>
                <a:gd name="connsiteY4" fmla="*/ 6435 h 75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524" h="7560">
                  <a:moveTo>
                    <a:pt x="6435" y="6435"/>
                  </a:moveTo>
                  <a:cubicBezTo>
                    <a:pt x="4982" y="7936"/>
                    <a:pt x="2561" y="7936"/>
                    <a:pt x="1108" y="6435"/>
                  </a:cubicBezTo>
                  <a:cubicBezTo>
                    <a:pt x="-345" y="4982"/>
                    <a:pt x="-393" y="2561"/>
                    <a:pt x="1108" y="1108"/>
                  </a:cubicBezTo>
                  <a:cubicBezTo>
                    <a:pt x="2609" y="-393"/>
                    <a:pt x="4982" y="-345"/>
                    <a:pt x="6435" y="1108"/>
                  </a:cubicBezTo>
                  <a:cubicBezTo>
                    <a:pt x="7887" y="2561"/>
                    <a:pt x="7887" y="4982"/>
                    <a:pt x="6435" y="6435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990" name="Gráfico 11">
            <a:extLst>
              <a:ext uri="{FF2B5EF4-FFF2-40B4-BE49-F238E27FC236}">
                <a16:creationId xmlns:a16="http://schemas.microsoft.com/office/drawing/2014/main" id="{553C5C8B-95A0-DB8A-D886-48533C899076}"/>
              </a:ext>
            </a:extLst>
          </p:cNvPr>
          <p:cNvGrpSpPr/>
          <p:nvPr/>
        </p:nvGrpSpPr>
        <p:grpSpPr>
          <a:xfrm>
            <a:off x="9998099" y="2036749"/>
            <a:ext cx="281549" cy="339273"/>
            <a:chOff x="9998099" y="2036749"/>
            <a:chExt cx="281549" cy="339273"/>
          </a:xfrm>
        </p:grpSpPr>
        <p:sp>
          <p:nvSpPr>
            <p:cNvPr id="991" name="Forma livre: Forma 990">
              <a:extLst>
                <a:ext uri="{FF2B5EF4-FFF2-40B4-BE49-F238E27FC236}">
                  <a16:creationId xmlns:a16="http://schemas.microsoft.com/office/drawing/2014/main" id="{7DC7B408-C3BD-63BD-88CD-D14C9388F0B5}"/>
                </a:ext>
              </a:extLst>
            </p:cNvPr>
            <p:cNvSpPr/>
            <p:nvPr/>
          </p:nvSpPr>
          <p:spPr>
            <a:xfrm>
              <a:off x="10030544" y="2134909"/>
              <a:ext cx="216707" cy="176319"/>
            </a:xfrm>
            <a:custGeom>
              <a:avLst/>
              <a:gdLst>
                <a:gd name="connsiteX0" fmla="*/ 216707 w 216707"/>
                <a:gd name="connsiteY0" fmla="*/ 0 h 176319"/>
                <a:gd name="connsiteX1" fmla="*/ 216707 w 216707"/>
                <a:gd name="connsiteY1" fmla="*/ 151429 h 176319"/>
                <a:gd name="connsiteX2" fmla="*/ 191816 w 216707"/>
                <a:gd name="connsiteY2" fmla="*/ 176320 h 176319"/>
                <a:gd name="connsiteX3" fmla="*/ 24891 w 216707"/>
                <a:gd name="connsiteY3" fmla="*/ 176320 h 176319"/>
                <a:gd name="connsiteX4" fmla="*/ 0 w 216707"/>
                <a:gd name="connsiteY4" fmla="*/ 151429 h 176319"/>
                <a:gd name="connsiteX5" fmla="*/ 0 w 216707"/>
                <a:gd name="connsiteY5" fmla="*/ 21404 h 1763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16707" h="176319">
                  <a:moveTo>
                    <a:pt x="216707" y="0"/>
                  </a:moveTo>
                  <a:lnTo>
                    <a:pt x="216707" y="151429"/>
                  </a:lnTo>
                  <a:cubicBezTo>
                    <a:pt x="216707" y="165133"/>
                    <a:pt x="205472" y="176320"/>
                    <a:pt x="191816" y="176320"/>
                  </a:cubicBezTo>
                  <a:lnTo>
                    <a:pt x="24891" y="176320"/>
                  </a:lnTo>
                  <a:cubicBezTo>
                    <a:pt x="11186" y="176320"/>
                    <a:pt x="0" y="165133"/>
                    <a:pt x="0" y="151429"/>
                  </a:cubicBezTo>
                  <a:lnTo>
                    <a:pt x="0" y="21404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92" name="Forma livre: Forma 991">
              <a:extLst>
                <a:ext uri="{FF2B5EF4-FFF2-40B4-BE49-F238E27FC236}">
                  <a16:creationId xmlns:a16="http://schemas.microsoft.com/office/drawing/2014/main" id="{F37A3D47-2C31-063B-11DA-9179EC3993B6}"/>
                </a:ext>
              </a:extLst>
            </p:cNvPr>
            <p:cNvSpPr/>
            <p:nvPr/>
          </p:nvSpPr>
          <p:spPr>
            <a:xfrm>
              <a:off x="10065750" y="2179219"/>
              <a:ext cx="4842" cy="66247"/>
            </a:xfrm>
            <a:custGeom>
              <a:avLst/>
              <a:gdLst>
                <a:gd name="connsiteX0" fmla="*/ 0 w 4842"/>
                <a:gd name="connsiteY0" fmla="*/ 0 h 66247"/>
                <a:gd name="connsiteX1" fmla="*/ 0 w 4842"/>
                <a:gd name="connsiteY1" fmla="*/ 66247 h 662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842" h="66247">
                  <a:moveTo>
                    <a:pt x="0" y="0"/>
                  </a:moveTo>
                  <a:lnTo>
                    <a:pt x="0" y="66247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93" name="Forma livre: Forma 992">
              <a:extLst>
                <a:ext uri="{FF2B5EF4-FFF2-40B4-BE49-F238E27FC236}">
                  <a16:creationId xmlns:a16="http://schemas.microsoft.com/office/drawing/2014/main" id="{CDAD2BEB-890B-1016-95EC-A5629A838C41}"/>
                </a:ext>
              </a:extLst>
            </p:cNvPr>
            <p:cNvSpPr/>
            <p:nvPr/>
          </p:nvSpPr>
          <p:spPr>
            <a:xfrm>
              <a:off x="10015677" y="2133601"/>
              <a:ext cx="246440" cy="4842"/>
            </a:xfrm>
            <a:custGeom>
              <a:avLst/>
              <a:gdLst>
                <a:gd name="connsiteX0" fmla="*/ 0 w 246440"/>
                <a:gd name="connsiteY0" fmla="*/ 0 h 4842"/>
                <a:gd name="connsiteX1" fmla="*/ 246441 w 246440"/>
                <a:gd name="connsiteY1" fmla="*/ 0 h 48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46440" h="4842">
                  <a:moveTo>
                    <a:pt x="0" y="0"/>
                  </a:moveTo>
                  <a:lnTo>
                    <a:pt x="246441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994" name="Gráfico 11">
              <a:extLst>
                <a:ext uri="{FF2B5EF4-FFF2-40B4-BE49-F238E27FC236}">
                  <a16:creationId xmlns:a16="http://schemas.microsoft.com/office/drawing/2014/main" id="{91A73E72-E803-B527-2432-A0E6947E7E32}"/>
                </a:ext>
              </a:extLst>
            </p:cNvPr>
            <p:cNvGrpSpPr/>
            <p:nvPr/>
          </p:nvGrpSpPr>
          <p:grpSpPr>
            <a:xfrm>
              <a:off x="9998099" y="2186386"/>
              <a:ext cx="281549" cy="4842"/>
              <a:chOff x="9998099" y="2186386"/>
              <a:chExt cx="281549" cy="4842"/>
            </a:xfrm>
          </p:grpSpPr>
          <p:sp>
            <p:nvSpPr>
              <p:cNvPr id="995" name="Forma livre: Forma 994">
                <a:extLst>
                  <a:ext uri="{FF2B5EF4-FFF2-40B4-BE49-F238E27FC236}">
                    <a16:creationId xmlns:a16="http://schemas.microsoft.com/office/drawing/2014/main" id="{456A57D5-BD95-FF5D-79A9-B31DDB23BAAA}"/>
                  </a:ext>
                </a:extLst>
              </p:cNvPr>
              <p:cNvSpPr/>
              <p:nvPr/>
            </p:nvSpPr>
            <p:spPr>
              <a:xfrm>
                <a:off x="9998099" y="2186386"/>
                <a:ext cx="30944" cy="4842"/>
              </a:xfrm>
              <a:custGeom>
                <a:avLst/>
                <a:gdLst>
                  <a:gd name="connsiteX0" fmla="*/ 30944 w 30944"/>
                  <a:gd name="connsiteY0" fmla="*/ 0 h 4842"/>
                  <a:gd name="connsiteX1" fmla="*/ 0 w 30944"/>
                  <a:gd name="connsiteY1" fmla="*/ 0 h 48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0944" h="4842">
                    <a:moveTo>
                      <a:pt x="30944" y="0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96" name="Forma livre: Forma 995">
                <a:extLst>
                  <a:ext uri="{FF2B5EF4-FFF2-40B4-BE49-F238E27FC236}">
                    <a16:creationId xmlns:a16="http://schemas.microsoft.com/office/drawing/2014/main" id="{D1BDA6B8-EA57-B51B-73CB-5126CF304308}"/>
                  </a:ext>
                </a:extLst>
              </p:cNvPr>
              <p:cNvSpPr/>
              <p:nvPr/>
            </p:nvSpPr>
            <p:spPr>
              <a:xfrm>
                <a:off x="10248704" y="2186386"/>
                <a:ext cx="30944" cy="4842"/>
              </a:xfrm>
              <a:custGeom>
                <a:avLst/>
                <a:gdLst>
                  <a:gd name="connsiteX0" fmla="*/ 30944 w 30944"/>
                  <a:gd name="connsiteY0" fmla="*/ 0 h 4842"/>
                  <a:gd name="connsiteX1" fmla="*/ 0 w 30944"/>
                  <a:gd name="connsiteY1" fmla="*/ 0 h 48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0944" h="4842">
                    <a:moveTo>
                      <a:pt x="30944" y="0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997" name="Gráfico 11">
              <a:extLst>
                <a:ext uri="{FF2B5EF4-FFF2-40B4-BE49-F238E27FC236}">
                  <a16:creationId xmlns:a16="http://schemas.microsoft.com/office/drawing/2014/main" id="{1454B359-9076-A4F3-3D44-8EF114E9028E}"/>
                </a:ext>
              </a:extLst>
            </p:cNvPr>
            <p:cNvGrpSpPr/>
            <p:nvPr/>
          </p:nvGrpSpPr>
          <p:grpSpPr>
            <a:xfrm>
              <a:off x="10066573" y="2357572"/>
              <a:ext cx="144600" cy="18450"/>
              <a:chOff x="10066573" y="2357572"/>
              <a:chExt cx="144600" cy="18450"/>
            </a:xfrm>
            <a:solidFill>
              <a:srgbClr val="394553"/>
            </a:solidFill>
          </p:grpSpPr>
          <p:sp>
            <p:nvSpPr>
              <p:cNvPr id="998" name="Forma livre: Forma 997">
                <a:extLst>
                  <a:ext uri="{FF2B5EF4-FFF2-40B4-BE49-F238E27FC236}">
                    <a16:creationId xmlns:a16="http://schemas.microsoft.com/office/drawing/2014/main" id="{D822D3CD-19EE-BC58-8F26-E0808DB6766B}"/>
                  </a:ext>
                </a:extLst>
              </p:cNvPr>
              <p:cNvSpPr/>
              <p:nvPr/>
            </p:nvSpPr>
            <p:spPr>
              <a:xfrm>
                <a:off x="10066573" y="2357572"/>
                <a:ext cx="10266" cy="18450"/>
              </a:xfrm>
              <a:custGeom>
                <a:avLst/>
                <a:gdLst>
                  <a:gd name="connsiteX0" fmla="*/ 5133 w 10266"/>
                  <a:gd name="connsiteY0" fmla="*/ 18450 h 18450"/>
                  <a:gd name="connsiteX1" fmla="*/ 0 w 10266"/>
                  <a:gd name="connsiteY1" fmla="*/ 13317 h 18450"/>
                  <a:gd name="connsiteX2" fmla="*/ 5133 w 10266"/>
                  <a:gd name="connsiteY2" fmla="*/ 0 h 18450"/>
                  <a:gd name="connsiteX3" fmla="*/ 10266 w 10266"/>
                  <a:gd name="connsiteY3" fmla="*/ 13366 h 18450"/>
                  <a:gd name="connsiteX4" fmla="*/ 5133 w 10266"/>
                  <a:gd name="connsiteY4" fmla="*/ 18450 h 184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0266" h="18450">
                    <a:moveTo>
                      <a:pt x="5133" y="18450"/>
                    </a:moveTo>
                    <a:cubicBezTo>
                      <a:pt x="2276" y="18450"/>
                      <a:pt x="0" y="16126"/>
                      <a:pt x="0" y="13317"/>
                    </a:cubicBezTo>
                    <a:cubicBezTo>
                      <a:pt x="97" y="11525"/>
                      <a:pt x="2179" y="6295"/>
                      <a:pt x="5133" y="0"/>
                    </a:cubicBezTo>
                    <a:cubicBezTo>
                      <a:pt x="8087" y="6295"/>
                      <a:pt x="10169" y="11574"/>
                      <a:pt x="10266" y="13366"/>
                    </a:cubicBezTo>
                    <a:cubicBezTo>
                      <a:pt x="10266" y="16174"/>
                      <a:pt x="7942" y="18450"/>
                      <a:pt x="5133" y="18450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99" name="Forma livre: Forma 998">
                <a:extLst>
                  <a:ext uri="{FF2B5EF4-FFF2-40B4-BE49-F238E27FC236}">
                    <a16:creationId xmlns:a16="http://schemas.microsoft.com/office/drawing/2014/main" id="{031FBC0D-7AD5-D022-4E37-D4923E7A5225}"/>
                  </a:ext>
                </a:extLst>
              </p:cNvPr>
              <p:cNvSpPr/>
              <p:nvPr/>
            </p:nvSpPr>
            <p:spPr>
              <a:xfrm>
                <a:off x="10111368" y="2357572"/>
                <a:ext cx="10266" cy="18450"/>
              </a:xfrm>
              <a:custGeom>
                <a:avLst/>
                <a:gdLst>
                  <a:gd name="connsiteX0" fmla="*/ 5133 w 10266"/>
                  <a:gd name="connsiteY0" fmla="*/ 18450 h 18450"/>
                  <a:gd name="connsiteX1" fmla="*/ 0 w 10266"/>
                  <a:gd name="connsiteY1" fmla="*/ 13317 h 18450"/>
                  <a:gd name="connsiteX2" fmla="*/ 5133 w 10266"/>
                  <a:gd name="connsiteY2" fmla="*/ 0 h 18450"/>
                  <a:gd name="connsiteX3" fmla="*/ 10266 w 10266"/>
                  <a:gd name="connsiteY3" fmla="*/ 13366 h 18450"/>
                  <a:gd name="connsiteX4" fmla="*/ 5133 w 10266"/>
                  <a:gd name="connsiteY4" fmla="*/ 18450 h 184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0266" h="18450">
                    <a:moveTo>
                      <a:pt x="5133" y="18450"/>
                    </a:moveTo>
                    <a:cubicBezTo>
                      <a:pt x="2276" y="18450"/>
                      <a:pt x="0" y="16126"/>
                      <a:pt x="0" y="13317"/>
                    </a:cubicBezTo>
                    <a:cubicBezTo>
                      <a:pt x="97" y="11525"/>
                      <a:pt x="2179" y="6295"/>
                      <a:pt x="5133" y="0"/>
                    </a:cubicBezTo>
                    <a:cubicBezTo>
                      <a:pt x="8087" y="6295"/>
                      <a:pt x="10169" y="11574"/>
                      <a:pt x="10266" y="13366"/>
                    </a:cubicBezTo>
                    <a:cubicBezTo>
                      <a:pt x="10266" y="16174"/>
                      <a:pt x="7942" y="18450"/>
                      <a:pt x="5133" y="18450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000" name="Forma livre: Forma 999">
                <a:extLst>
                  <a:ext uri="{FF2B5EF4-FFF2-40B4-BE49-F238E27FC236}">
                    <a16:creationId xmlns:a16="http://schemas.microsoft.com/office/drawing/2014/main" id="{253E89E2-0E2E-56E3-9F8B-C645D717761D}"/>
                  </a:ext>
                </a:extLst>
              </p:cNvPr>
              <p:cNvSpPr/>
              <p:nvPr/>
            </p:nvSpPr>
            <p:spPr>
              <a:xfrm>
                <a:off x="10156162" y="2357572"/>
                <a:ext cx="10266" cy="18450"/>
              </a:xfrm>
              <a:custGeom>
                <a:avLst/>
                <a:gdLst>
                  <a:gd name="connsiteX0" fmla="*/ 5133 w 10266"/>
                  <a:gd name="connsiteY0" fmla="*/ 18450 h 18450"/>
                  <a:gd name="connsiteX1" fmla="*/ 0 w 10266"/>
                  <a:gd name="connsiteY1" fmla="*/ 13317 h 18450"/>
                  <a:gd name="connsiteX2" fmla="*/ 5133 w 10266"/>
                  <a:gd name="connsiteY2" fmla="*/ 0 h 18450"/>
                  <a:gd name="connsiteX3" fmla="*/ 10266 w 10266"/>
                  <a:gd name="connsiteY3" fmla="*/ 13366 h 18450"/>
                  <a:gd name="connsiteX4" fmla="*/ 5133 w 10266"/>
                  <a:gd name="connsiteY4" fmla="*/ 18450 h 184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0266" h="18450">
                    <a:moveTo>
                      <a:pt x="5133" y="18450"/>
                    </a:moveTo>
                    <a:cubicBezTo>
                      <a:pt x="2276" y="18450"/>
                      <a:pt x="0" y="16126"/>
                      <a:pt x="0" y="13317"/>
                    </a:cubicBezTo>
                    <a:cubicBezTo>
                      <a:pt x="97" y="11525"/>
                      <a:pt x="2179" y="6295"/>
                      <a:pt x="5133" y="0"/>
                    </a:cubicBezTo>
                    <a:cubicBezTo>
                      <a:pt x="8087" y="6295"/>
                      <a:pt x="10169" y="11574"/>
                      <a:pt x="10266" y="13366"/>
                    </a:cubicBezTo>
                    <a:cubicBezTo>
                      <a:pt x="10266" y="16174"/>
                      <a:pt x="7942" y="18450"/>
                      <a:pt x="5133" y="18450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001" name="Forma livre: Forma 1000">
                <a:extLst>
                  <a:ext uri="{FF2B5EF4-FFF2-40B4-BE49-F238E27FC236}">
                    <a16:creationId xmlns:a16="http://schemas.microsoft.com/office/drawing/2014/main" id="{DFB8760B-6D32-ECC7-5B5E-D0957C0917F8}"/>
                  </a:ext>
                </a:extLst>
              </p:cNvPr>
              <p:cNvSpPr/>
              <p:nvPr/>
            </p:nvSpPr>
            <p:spPr>
              <a:xfrm>
                <a:off x="10200907" y="2357572"/>
                <a:ext cx="10266" cy="18450"/>
              </a:xfrm>
              <a:custGeom>
                <a:avLst/>
                <a:gdLst>
                  <a:gd name="connsiteX0" fmla="*/ 5133 w 10266"/>
                  <a:gd name="connsiteY0" fmla="*/ 18450 h 18450"/>
                  <a:gd name="connsiteX1" fmla="*/ 0 w 10266"/>
                  <a:gd name="connsiteY1" fmla="*/ 13317 h 18450"/>
                  <a:gd name="connsiteX2" fmla="*/ 5133 w 10266"/>
                  <a:gd name="connsiteY2" fmla="*/ 0 h 18450"/>
                  <a:gd name="connsiteX3" fmla="*/ 10266 w 10266"/>
                  <a:gd name="connsiteY3" fmla="*/ 13366 h 18450"/>
                  <a:gd name="connsiteX4" fmla="*/ 5133 w 10266"/>
                  <a:gd name="connsiteY4" fmla="*/ 18450 h 184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0266" h="18450">
                    <a:moveTo>
                      <a:pt x="5133" y="18450"/>
                    </a:moveTo>
                    <a:cubicBezTo>
                      <a:pt x="2276" y="18450"/>
                      <a:pt x="0" y="16126"/>
                      <a:pt x="0" y="13317"/>
                    </a:cubicBezTo>
                    <a:cubicBezTo>
                      <a:pt x="97" y="11525"/>
                      <a:pt x="2179" y="6295"/>
                      <a:pt x="5133" y="0"/>
                    </a:cubicBezTo>
                    <a:cubicBezTo>
                      <a:pt x="8087" y="6295"/>
                      <a:pt x="10170" y="11574"/>
                      <a:pt x="10266" y="13366"/>
                    </a:cubicBezTo>
                    <a:cubicBezTo>
                      <a:pt x="10266" y="16174"/>
                      <a:pt x="7942" y="18450"/>
                      <a:pt x="5133" y="18450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002" name="Gráfico 11">
              <a:extLst>
                <a:ext uri="{FF2B5EF4-FFF2-40B4-BE49-F238E27FC236}">
                  <a16:creationId xmlns:a16="http://schemas.microsoft.com/office/drawing/2014/main" id="{8B84ACF8-D072-385D-9923-D2D7E858E657}"/>
                </a:ext>
              </a:extLst>
            </p:cNvPr>
            <p:cNvGrpSpPr/>
            <p:nvPr/>
          </p:nvGrpSpPr>
          <p:grpSpPr>
            <a:xfrm>
              <a:off x="10102653" y="2036749"/>
              <a:ext cx="72454" cy="64697"/>
              <a:chOff x="10102653" y="2036749"/>
              <a:chExt cx="72454" cy="64697"/>
            </a:xfrm>
            <a:noFill/>
          </p:grpSpPr>
          <p:sp>
            <p:nvSpPr>
              <p:cNvPr id="1003" name="Forma livre: Forma 1002">
                <a:extLst>
                  <a:ext uri="{FF2B5EF4-FFF2-40B4-BE49-F238E27FC236}">
                    <a16:creationId xmlns:a16="http://schemas.microsoft.com/office/drawing/2014/main" id="{0A6930FE-8EEB-CCBB-1ADF-5E5269411B55}"/>
                  </a:ext>
                </a:extLst>
              </p:cNvPr>
              <p:cNvSpPr/>
              <p:nvPr/>
            </p:nvSpPr>
            <p:spPr>
              <a:xfrm>
                <a:off x="10102653" y="2036749"/>
                <a:ext cx="13519" cy="64697"/>
              </a:xfrm>
              <a:custGeom>
                <a:avLst/>
                <a:gdLst>
                  <a:gd name="connsiteX0" fmla="*/ 8908 w 13519"/>
                  <a:gd name="connsiteY0" fmla="*/ 0 h 64697"/>
                  <a:gd name="connsiteX1" fmla="*/ 7116 w 13519"/>
                  <a:gd name="connsiteY1" fmla="*/ 33124 h 64697"/>
                  <a:gd name="connsiteX2" fmla="*/ 3533 w 13519"/>
                  <a:gd name="connsiteY2" fmla="*/ 64697 h 646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3519" h="64697">
                    <a:moveTo>
                      <a:pt x="8908" y="0"/>
                    </a:moveTo>
                    <a:cubicBezTo>
                      <a:pt x="8908" y="0"/>
                      <a:pt x="-9881" y="15400"/>
                      <a:pt x="7116" y="33124"/>
                    </a:cubicBezTo>
                    <a:cubicBezTo>
                      <a:pt x="12492" y="38741"/>
                      <a:pt x="19852" y="49443"/>
                      <a:pt x="3533" y="64697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004" name="Forma livre: Forma 1003">
                <a:extLst>
                  <a:ext uri="{FF2B5EF4-FFF2-40B4-BE49-F238E27FC236}">
                    <a16:creationId xmlns:a16="http://schemas.microsoft.com/office/drawing/2014/main" id="{EBC66D69-3E3E-1FA3-75ED-16618B55548B}"/>
                  </a:ext>
                </a:extLst>
              </p:cNvPr>
              <p:cNvSpPr/>
              <p:nvPr/>
            </p:nvSpPr>
            <p:spPr>
              <a:xfrm>
                <a:off x="10161588" y="2036749"/>
                <a:ext cx="13519" cy="64697"/>
              </a:xfrm>
              <a:custGeom>
                <a:avLst/>
                <a:gdLst>
                  <a:gd name="connsiteX0" fmla="*/ 8908 w 13519"/>
                  <a:gd name="connsiteY0" fmla="*/ 0 h 64697"/>
                  <a:gd name="connsiteX1" fmla="*/ 7116 w 13519"/>
                  <a:gd name="connsiteY1" fmla="*/ 33124 h 64697"/>
                  <a:gd name="connsiteX2" fmla="*/ 3533 w 13519"/>
                  <a:gd name="connsiteY2" fmla="*/ 64697 h 646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3519" h="64697">
                    <a:moveTo>
                      <a:pt x="8908" y="0"/>
                    </a:moveTo>
                    <a:cubicBezTo>
                      <a:pt x="8908" y="0"/>
                      <a:pt x="-9881" y="15400"/>
                      <a:pt x="7116" y="33124"/>
                    </a:cubicBezTo>
                    <a:cubicBezTo>
                      <a:pt x="12492" y="38741"/>
                      <a:pt x="19852" y="49443"/>
                      <a:pt x="3533" y="64697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005" name="Gráfico 11">
            <a:extLst>
              <a:ext uri="{FF2B5EF4-FFF2-40B4-BE49-F238E27FC236}">
                <a16:creationId xmlns:a16="http://schemas.microsoft.com/office/drawing/2014/main" id="{9C6B24B0-AFE3-30FD-CC52-0012CF1B8344}"/>
              </a:ext>
            </a:extLst>
          </p:cNvPr>
          <p:cNvGrpSpPr/>
          <p:nvPr/>
        </p:nvGrpSpPr>
        <p:grpSpPr>
          <a:xfrm>
            <a:off x="11273789" y="2061204"/>
            <a:ext cx="259128" cy="290363"/>
            <a:chOff x="11273789" y="2061204"/>
            <a:chExt cx="259128" cy="290363"/>
          </a:xfrm>
        </p:grpSpPr>
        <p:grpSp>
          <p:nvGrpSpPr>
            <p:cNvPr id="1006" name="Gráfico 11">
              <a:extLst>
                <a:ext uri="{FF2B5EF4-FFF2-40B4-BE49-F238E27FC236}">
                  <a16:creationId xmlns:a16="http://schemas.microsoft.com/office/drawing/2014/main" id="{EB3F0828-1409-0036-1109-94B2782361F9}"/>
                </a:ext>
              </a:extLst>
            </p:cNvPr>
            <p:cNvGrpSpPr/>
            <p:nvPr/>
          </p:nvGrpSpPr>
          <p:grpSpPr>
            <a:xfrm>
              <a:off x="11314709" y="2338783"/>
              <a:ext cx="177336" cy="12784"/>
              <a:chOff x="11314709" y="2338783"/>
              <a:chExt cx="177336" cy="12784"/>
            </a:xfrm>
          </p:grpSpPr>
          <p:sp>
            <p:nvSpPr>
              <p:cNvPr id="1007" name="Forma livre: Forma 1006">
                <a:extLst>
                  <a:ext uri="{FF2B5EF4-FFF2-40B4-BE49-F238E27FC236}">
                    <a16:creationId xmlns:a16="http://schemas.microsoft.com/office/drawing/2014/main" id="{5CD00FEF-556C-4B5E-9CB9-AE35430EDCA1}"/>
                  </a:ext>
                </a:extLst>
              </p:cNvPr>
              <p:cNvSpPr/>
              <p:nvPr/>
            </p:nvSpPr>
            <p:spPr>
              <a:xfrm>
                <a:off x="11492046" y="2338783"/>
                <a:ext cx="4842" cy="12784"/>
              </a:xfrm>
              <a:custGeom>
                <a:avLst/>
                <a:gdLst>
                  <a:gd name="connsiteX0" fmla="*/ 0 w 4842"/>
                  <a:gd name="connsiteY0" fmla="*/ 12784 h 12784"/>
                  <a:gd name="connsiteX1" fmla="*/ 0 w 4842"/>
                  <a:gd name="connsiteY1" fmla="*/ 0 h 127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842" h="12784">
                    <a:moveTo>
                      <a:pt x="0" y="12784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008" name="Forma livre: Forma 1007">
                <a:extLst>
                  <a:ext uri="{FF2B5EF4-FFF2-40B4-BE49-F238E27FC236}">
                    <a16:creationId xmlns:a16="http://schemas.microsoft.com/office/drawing/2014/main" id="{28DB125D-D068-CC32-7D2C-16FC0613AA42}"/>
                  </a:ext>
                </a:extLst>
              </p:cNvPr>
              <p:cNvSpPr/>
              <p:nvPr/>
            </p:nvSpPr>
            <p:spPr>
              <a:xfrm>
                <a:off x="11314709" y="2338783"/>
                <a:ext cx="4842" cy="12784"/>
              </a:xfrm>
              <a:custGeom>
                <a:avLst/>
                <a:gdLst>
                  <a:gd name="connsiteX0" fmla="*/ 0 w 4842"/>
                  <a:gd name="connsiteY0" fmla="*/ 12784 h 12784"/>
                  <a:gd name="connsiteX1" fmla="*/ 0 w 4842"/>
                  <a:gd name="connsiteY1" fmla="*/ 0 h 127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842" h="12784">
                    <a:moveTo>
                      <a:pt x="0" y="12784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009" name="Forma livre: Forma 1008">
              <a:extLst>
                <a:ext uri="{FF2B5EF4-FFF2-40B4-BE49-F238E27FC236}">
                  <a16:creationId xmlns:a16="http://schemas.microsoft.com/office/drawing/2014/main" id="{7D976E17-C99A-FE50-CDBD-F4891C1CF17A}"/>
                </a:ext>
              </a:extLst>
            </p:cNvPr>
            <p:cNvSpPr/>
            <p:nvPr/>
          </p:nvSpPr>
          <p:spPr>
            <a:xfrm>
              <a:off x="11273789" y="2095345"/>
              <a:ext cx="259128" cy="156803"/>
            </a:xfrm>
            <a:custGeom>
              <a:avLst/>
              <a:gdLst>
                <a:gd name="connsiteX0" fmla="*/ 259128 w 259128"/>
                <a:gd name="connsiteY0" fmla="*/ 136223 h 156803"/>
                <a:gd name="connsiteX1" fmla="*/ 238547 w 259128"/>
                <a:gd name="connsiteY1" fmla="*/ 156804 h 156803"/>
                <a:gd name="connsiteX2" fmla="*/ 20726 w 259128"/>
                <a:gd name="connsiteY2" fmla="*/ 156804 h 156803"/>
                <a:gd name="connsiteX3" fmla="*/ 97 w 259128"/>
                <a:gd name="connsiteY3" fmla="*/ 136223 h 156803"/>
                <a:gd name="connsiteX4" fmla="*/ 0 w 259128"/>
                <a:gd name="connsiteY4" fmla="*/ 20581 h 156803"/>
                <a:gd name="connsiteX5" fmla="*/ 20581 w 259128"/>
                <a:gd name="connsiteY5" fmla="*/ 0 h 156803"/>
                <a:gd name="connsiteX6" fmla="*/ 238354 w 259128"/>
                <a:gd name="connsiteY6" fmla="*/ 0 h 156803"/>
                <a:gd name="connsiteX7" fmla="*/ 258983 w 259128"/>
                <a:gd name="connsiteY7" fmla="*/ 20581 h 156803"/>
                <a:gd name="connsiteX8" fmla="*/ 259080 w 259128"/>
                <a:gd name="connsiteY8" fmla="*/ 136223 h 156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59128" h="156803">
                  <a:moveTo>
                    <a:pt x="259128" y="136223"/>
                  </a:moveTo>
                  <a:cubicBezTo>
                    <a:pt x="259128" y="147554"/>
                    <a:pt x="249879" y="156804"/>
                    <a:pt x="238547" y="156804"/>
                  </a:cubicBezTo>
                  <a:lnTo>
                    <a:pt x="20726" y="156804"/>
                  </a:lnTo>
                  <a:cubicBezTo>
                    <a:pt x="9395" y="156804"/>
                    <a:pt x="145" y="147554"/>
                    <a:pt x="97" y="136223"/>
                  </a:cubicBezTo>
                  <a:lnTo>
                    <a:pt x="0" y="20581"/>
                  </a:lnTo>
                  <a:cubicBezTo>
                    <a:pt x="0" y="9249"/>
                    <a:pt x="9249" y="0"/>
                    <a:pt x="20581" y="0"/>
                  </a:cubicBezTo>
                  <a:lnTo>
                    <a:pt x="238354" y="0"/>
                  </a:lnTo>
                  <a:cubicBezTo>
                    <a:pt x="249685" y="0"/>
                    <a:pt x="258935" y="9249"/>
                    <a:pt x="258983" y="20581"/>
                  </a:cubicBezTo>
                  <a:lnTo>
                    <a:pt x="259080" y="136223"/>
                  </a:ln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10" name="Forma livre: Forma 1009">
              <a:extLst>
                <a:ext uri="{FF2B5EF4-FFF2-40B4-BE49-F238E27FC236}">
                  <a16:creationId xmlns:a16="http://schemas.microsoft.com/office/drawing/2014/main" id="{A6D95AE1-5973-F979-7AC7-50CABD5D91C2}"/>
                </a:ext>
              </a:extLst>
            </p:cNvPr>
            <p:cNvSpPr/>
            <p:nvPr/>
          </p:nvSpPr>
          <p:spPr>
            <a:xfrm>
              <a:off x="11273886" y="2282754"/>
              <a:ext cx="258983" cy="53801"/>
            </a:xfrm>
            <a:custGeom>
              <a:avLst/>
              <a:gdLst>
                <a:gd name="connsiteX0" fmla="*/ 0 w 258983"/>
                <a:gd name="connsiteY0" fmla="*/ 0 h 53801"/>
                <a:gd name="connsiteX1" fmla="*/ 258983 w 258983"/>
                <a:gd name="connsiteY1" fmla="*/ 0 h 53801"/>
                <a:gd name="connsiteX2" fmla="*/ 258983 w 258983"/>
                <a:gd name="connsiteY2" fmla="*/ 34528 h 53801"/>
                <a:gd name="connsiteX3" fmla="*/ 239806 w 258983"/>
                <a:gd name="connsiteY3" fmla="*/ 53802 h 53801"/>
                <a:gd name="connsiteX4" fmla="*/ 19274 w 258983"/>
                <a:gd name="connsiteY4" fmla="*/ 53802 h 53801"/>
                <a:gd name="connsiteX5" fmla="*/ 0 w 258983"/>
                <a:gd name="connsiteY5" fmla="*/ 34722 h 53801"/>
                <a:gd name="connsiteX6" fmla="*/ 0 w 258983"/>
                <a:gd name="connsiteY6" fmla="*/ 28136 h 538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58983" h="53801">
                  <a:moveTo>
                    <a:pt x="0" y="0"/>
                  </a:moveTo>
                  <a:lnTo>
                    <a:pt x="258983" y="0"/>
                  </a:lnTo>
                  <a:lnTo>
                    <a:pt x="258983" y="34528"/>
                  </a:lnTo>
                  <a:cubicBezTo>
                    <a:pt x="258983" y="45133"/>
                    <a:pt x="250363" y="53753"/>
                    <a:pt x="239806" y="53802"/>
                  </a:cubicBezTo>
                  <a:lnTo>
                    <a:pt x="19274" y="53802"/>
                  </a:lnTo>
                  <a:cubicBezTo>
                    <a:pt x="8717" y="53802"/>
                    <a:pt x="48" y="45327"/>
                    <a:pt x="0" y="34722"/>
                  </a:cubicBezTo>
                  <a:lnTo>
                    <a:pt x="0" y="28136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11" name="Forma livre: Forma 1010">
              <a:extLst>
                <a:ext uri="{FF2B5EF4-FFF2-40B4-BE49-F238E27FC236}">
                  <a16:creationId xmlns:a16="http://schemas.microsoft.com/office/drawing/2014/main" id="{E3C58A5A-EA6D-73B2-2C99-15E187D4ABE6}"/>
                </a:ext>
              </a:extLst>
            </p:cNvPr>
            <p:cNvSpPr/>
            <p:nvPr/>
          </p:nvSpPr>
          <p:spPr>
            <a:xfrm>
              <a:off x="11403378" y="2098105"/>
              <a:ext cx="4842" cy="152348"/>
            </a:xfrm>
            <a:custGeom>
              <a:avLst/>
              <a:gdLst>
                <a:gd name="connsiteX0" fmla="*/ 0 w 4842"/>
                <a:gd name="connsiteY0" fmla="*/ 0 h 152348"/>
                <a:gd name="connsiteX1" fmla="*/ 0 w 4842"/>
                <a:gd name="connsiteY1" fmla="*/ 152349 h 1523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842" h="152348">
                  <a:moveTo>
                    <a:pt x="0" y="0"/>
                  </a:moveTo>
                  <a:lnTo>
                    <a:pt x="0" y="152349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012" name="Gráfico 11">
              <a:extLst>
                <a:ext uri="{FF2B5EF4-FFF2-40B4-BE49-F238E27FC236}">
                  <a16:creationId xmlns:a16="http://schemas.microsoft.com/office/drawing/2014/main" id="{5B2465B1-F2C7-5F58-DCBA-0A890F2F7E29}"/>
                </a:ext>
              </a:extLst>
            </p:cNvPr>
            <p:cNvGrpSpPr/>
            <p:nvPr/>
          </p:nvGrpSpPr>
          <p:grpSpPr>
            <a:xfrm>
              <a:off x="11344540" y="2252681"/>
              <a:ext cx="117675" cy="28813"/>
              <a:chOff x="11344540" y="2252681"/>
              <a:chExt cx="117675" cy="28813"/>
            </a:xfrm>
          </p:grpSpPr>
          <p:sp>
            <p:nvSpPr>
              <p:cNvPr id="1013" name="Forma livre: Forma 1012">
                <a:extLst>
                  <a:ext uri="{FF2B5EF4-FFF2-40B4-BE49-F238E27FC236}">
                    <a16:creationId xmlns:a16="http://schemas.microsoft.com/office/drawing/2014/main" id="{B4C88C40-4F54-1192-D9C0-0CCBEA09C671}"/>
                  </a:ext>
                </a:extLst>
              </p:cNvPr>
              <p:cNvSpPr/>
              <p:nvPr/>
            </p:nvSpPr>
            <p:spPr>
              <a:xfrm>
                <a:off x="11344540" y="2252681"/>
                <a:ext cx="4842" cy="28813"/>
              </a:xfrm>
              <a:custGeom>
                <a:avLst/>
                <a:gdLst>
                  <a:gd name="connsiteX0" fmla="*/ 0 w 4842"/>
                  <a:gd name="connsiteY0" fmla="*/ 0 h 28813"/>
                  <a:gd name="connsiteX1" fmla="*/ 0 w 4842"/>
                  <a:gd name="connsiteY1" fmla="*/ 28814 h 288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842" h="28813">
                    <a:moveTo>
                      <a:pt x="0" y="0"/>
                    </a:moveTo>
                    <a:lnTo>
                      <a:pt x="0" y="28814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014" name="Forma livre: Forma 1013">
                <a:extLst>
                  <a:ext uri="{FF2B5EF4-FFF2-40B4-BE49-F238E27FC236}">
                    <a16:creationId xmlns:a16="http://schemas.microsoft.com/office/drawing/2014/main" id="{A3DBE9A8-779B-A9EF-94C7-D3419F37DD15}"/>
                  </a:ext>
                </a:extLst>
              </p:cNvPr>
              <p:cNvSpPr/>
              <p:nvPr/>
            </p:nvSpPr>
            <p:spPr>
              <a:xfrm>
                <a:off x="11462215" y="2252681"/>
                <a:ext cx="4842" cy="28813"/>
              </a:xfrm>
              <a:custGeom>
                <a:avLst/>
                <a:gdLst>
                  <a:gd name="connsiteX0" fmla="*/ 0 w 4842"/>
                  <a:gd name="connsiteY0" fmla="*/ 0 h 28813"/>
                  <a:gd name="connsiteX1" fmla="*/ 0 w 4842"/>
                  <a:gd name="connsiteY1" fmla="*/ 28814 h 288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842" h="28813">
                    <a:moveTo>
                      <a:pt x="0" y="0"/>
                    </a:moveTo>
                    <a:lnTo>
                      <a:pt x="0" y="28814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015" name="Forma livre: Forma 1014">
              <a:extLst>
                <a:ext uri="{FF2B5EF4-FFF2-40B4-BE49-F238E27FC236}">
                  <a16:creationId xmlns:a16="http://schemas.microsoft.com/office/drawing/2014/main" id="{77E61189-A5CE-3A19-F431-A80DE4E268F2}"/>
                </a:ext>
              </a:extLst>
            </p:cNvPr>
            <p:cNvSpPr/>
            <p:nvPr/>
          </p:nvSpPr>
          <p:spPr>
            <a:xfrm>
              <a:off x="11367736" y="2061204"/>
              <a:ext cx="71283" cy="32445"/>
            </a:xfrm>
            <a:custGeom>
              <a:avLst/>
              <a:gdLst>
                <a:gd name="connsiteX0" fmla="*/ 0 w 71283"/>
                <a:gd name="connsiteY0" fmla="*/ 32446 h 32445"/>
                <a:gd name="connsiteX1" fmla="*/ 0 w 71283"/>
                <a:gd name="connsiteY1" fmla="*/ 12833 h 32445"/>
                <a:gd name="connsiteX2" fmla="*/ 12833 w 71283"/>
                <a:gd name="connsiteY2" fmla="*/ 0 h 32445"/>
                <a:gd name="connsiteX3" fmla="*/ 58450 w 71283"/>
                <a:gd name="connsiteY3" fmla="*/ 0 h 32445"/>
                <a:gd name="connsiteX4" fmla="*/ 71283 w 71283"/>
                <a:gd name="connsiteY4" fmla="*/ 12833 h 32445"/>
                <a:gd name="connsiteX5" fmla="*/ 71283 w 71283"/>
                <a:gd name="connsiteY5" fmla="*/ 32446 h 324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1283" h="32445">
                  <a:moveTo>
                    <a:pt x="0" y="32446"/>
                  </a:moveTo>
                  <a:lnTo>
                    <a:pt x="0" y="12833"/>
                  </a:lnTo>
                  <a:cubicBezTo>
                    <a:pt x="0" y="5763"/>
                    <a:pt x="5763" y="0"/>
                    <a:pt x="12833" y="0"/>
                  </a:cubicBezTo>
                  <a:lnTo>
                    <a:pt x="58450" y="0"/>
                  </a:lnTo>
                  <a:cubicBezTo>
                    <a:pt x="65521" y="0"/>
                    <a:pt x="71283" y="5763"/>
                    <a:pt x="71283" y="12833"/>
                  </a:cubicBezTo>
                  <a:lnTo>
                    <a:pt x="71283" y="32446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016" name="Gráfico 11">
              <a:extLst>
                <a:ext uri="{FF2B5EF4-FFF2-40B4-BE49-F238E27FC236}">
                  <a16:creationId xmlns:a16="http://schemas.microsoft.com/office/drawing/2014/main" id="{16C6E87C-1D7A-F18B-DFBF-972EBE160F4C}"/>
                </a:ext>
              </a:extLst>
            </p:cNvPr>
            <p:cNvGrpSpPr/>
            <p:nvPr/>
          </p:nvGrpSpPr>
          <p:grpSpPr>
            <a:xfrm>
              <a:off x="11305315" y="2124739"/>
              <a:ext cx="196077" cy="96803"/>
              <a:chOff x="11305315" y="2124739"/>
              <a:chExt cx="196077" cy="96803"/>
            </a:xfrm>
            <a:solidFill>
              <a:srgbClr val="394553"/>
            </a:solidFill>
          </p:grpSpPr>
          <p:grpSp>
            <p:nvGrpSpPr>
              <p:cNvPr id="1017" name="Gráfico 11">
                <a:extLst>
                  <a:ext uri="{FF2B5EF4-FFF2-40B4-BE49-F238E27FC236}">
                    <a16:creationId xmlns:a16="http://schemas.microsoft.com/office/drawing/2014/main" id="{29EF2D1D-F122-F58C-2271-118216116BCF}"/>
                  </a:ext>
                </a:extLst>
              </p:cNvPr>
              <p:cNvGrpSpPr/>
              <p:nvPr/>
            </p:nvGrpSpPr>
            <p:grpSpPr>
              <a:xfrm>
                <a:off x="11305315" y="2124739"/>
                <a:ext cx="68426" cy="96803"/>
                <a:chOff x="11305315" y="2124739"/>
                <a:chExt cx="68426" cy="96803"/>
              </a:xfrm>
              <a:solidFill>
                <a:srgbClr val="394553"/>
              </a:solidFill>
            </p:grpSpPr>
            <p:grpSp>
              <p:nvGrpSpPr>
                <p:cNvPr id="1018" name="Gráfico 11">
                  <a:extLst>
                    <a:ext uri="{FF2B5EF4-FFF2-40B4-BE49-F238E27FC236}">
                      <a16:creationId xmlns:a16="http://schemas.microsoft.com/office/drawing/2014/main" id="{AFCA1810-C463-B21D-7943-6B37906DF26D}"/>
                    </a:ext>
                  </a:extLst>
                </p:cNvPr>
                <p:cNvGrpSpPr/>
                <p:nvPr/>
              </p:nvGrpSpPr>
              <p:grpSpPr>
                <a:xfrm>
                  <a:off x="11305315" y="2124739"/>
                  <a:ext cx="68426" cy="4164"/>
                  <a:chOff x="11305315" y="2124739"/>
                  <a:chExt cx="68426" cy="4164"/>
                </a:xfrm>
                <a:solidFill>
                  <a:srgbClr val="394553"/>
                </a:solidFill>
              </p:grpSpPr>
              <p:sp>
                <p:nvSpPr>
                  <p:cNvPr id="1019" name="Forma livre: Forma 1018">
                    <a:extLst>
                      <a:ext uri="{FF2B5EF4-FFF2-40B4-BE49-F238E27FC236}">
                        <a16:creationId xmlns:a16="http://schemas.microsoft.com/office/drawing/2014/main" id="{F28ED929-4CC0-8741-DCF3-6C6B7E65140A}"/>
                      </a:ext>
                    </a:extLst>
                  </p:cNvPr>
                  <p:cNvSpPr/>
                  <p:nvPr/>
                </p:nvSpPr>
                <p:spPr>
                  <a:xfrm>
                    <a:off x="11305315" y="2124739"/>
                    <a:ext cx="4164" cy="4164"/>
                  </a:xfrm>
                  <a:custGeom>
                    <a:avLst/>
                    <a:gdLst>
                      <a:gd name="connsiteX0" fmla="*/ 0 w 4164"/>
                      <a:gd name="connsiteY0" fmla="*/ 0 h 4164"/>
                      <a:gd name="connsiteX1" fmla="*/ 4165 w 4164"/>
                      <a:gd name="connsiteY1" fmla="*/ 0 h 4164"/>
                      <a:gd name="connsiteX2" fmla="*/ 4165 w 4164"/>
                      <a:gd name="connsiteY2" fmla="*/ 4165 h 4164"/>
                      <a:gd name="connsiteX3" fmla="*/ 0 w 4164"/>
                      <a:gd name="connsiteY3" fmla="*/ 4165 h 416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4164" h="4164">
                        <a:moveTo>
                          <a:pt x="0" y="0"/>
                        </a:moveTo>
                        <a:lnTo>
                          <a:pt x="4165" y="0"/>
                        </a:lnTo>
                        <a:lnTo>
                          <a:pt x="4165" y="4165"/>
                        </a:lnTo>
                        <a:lnTo>
                          <a:pt x="0" y="4165"/>
                        </a:lnTo>
                        <a:close/>
                      </a:path>
                    </a:pathLst>
                  </a:custGeom>
                  <a:solidFill>
                    <a:srgbClr val="394553"/>
                  </a:solidFill>
                  <a:ln w="6350" cap="flat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1020" name="Forma livre: Forma 1019">
                    <a:extLst>
                      <a:ext uri="{FF2B5EF4-FFF2-40B4-BE49-F238E27FC236}">
                        <a16:creationId xmlns:a16="http://schemas.microsoft.com/office/drawing/2014/main" id="{21EB676B-983B-C2F2-542C-B52782F7557B}"/>
                      </a:ext>
                    </a:extLst>
                  </p:cNvPr>
                  <p:cNvSpPr/>
                  <p:nvPr/>
                </p:nvSpPr>
                <p:spPr>
                  <a:xfrm>
                    <a:off x="11337470" y="2124739"/>
                    <a:ext cx="4164" cy="4164"/>
                  </a:xfrm>
                  <a:custGeom>
                    <a:avLst/>
                    <a:gdLst>
                      <a:gd name="connsiteX0" fmla="*/ 0 w 4164"/>
                      <a:gd name="connsiteY0" fmla="*/ 0 h 4164"/>
                      <a:gd name="connsiteX1" fmla="*/ 4165 w 4164"/>
                      <a:gd name="connsiteY1" fmla="*/ 0 h 4164"/>
                      <a:gd name="connsiteX2" fmla="*/ 4165 w 4164"/>
                      <a:gd name="connsiteY2" fmla="*/ 4165 h 4164"/>
                      <a:gd name="connsiteX3" fmla="*/ 0 w 4164"/>
                      <a:gd name="connsiteY3" fmla="*/ 4165 h 416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4164" h="4164">
                        <a:moveTo>
                          <a:pt x="0" y="0"/>
                        </a:moveTo>
                        <a:lnTo>
                          <a:pt x="4165" y="0"/>
                        </a:lnTo>
                        <a:lnTo>
                          <a:pt x="4165" y="4165"/>
                        </a:lnTo>
                        <a:lnTo>
                          <a:pt x="0" y="4165"/>
                        </a:lnTo>
                        <a:close/>
                      </a:path>
                    </a:pathLst>
                  </a:custGeom>
                  <a:solidFill>
                    <a:srgbClr val="394553"/>
                  </a:solidFill>
                  <a:ln w="6350" cap="flat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1021" name="Forma livre: Forma 1020">
                    <a:extLst>
                      <a:ext uri="{FF2B5EF4-FFF2-40B4-BE49-F238E27FC236}">
                        <a16:creationId xmlns:a16="http://schemas.microsoft.com/office/drawing/2014/main" id="{A1088321-AFE9-08D9-14C4-AA3A2F2FE8D3}"/>
                      </a:ext>
                    </a:extLst>
                  </p:cNvPr>
                  <p:cNvSpPr/>
                  <p:nvPr/>
                </p:nvSpPr>
                <p:spPr>
                  <a:xfrm>
                    <a:off x="11369576" y="2124739"/>
                    <a:ext cx="4164" cy="4164"/>
                  </a:xfrm>
                  <a:custGeom>
                    <a:avLst/>
                    <a:gdLst>
                      <a:gd name="connsiteX0" fmla="*/ 0 w 4164"/>
                      <a:gd name="connsiteY0" fmla="*/ 0 h 4164"/>
                      <a:gd name="connsiteX1" fmla="*/ 4165 w 4164"/>
                      <a:gd name="connsiteY1" fmla="*/ 0 h 4164"/>
                      <a:gd name="connsiteX2" fmla="*/ 4165 w 4164"/>
                      <a:gd name="connsiteY2" fmla="*/ 4165 h 4164"/>
                      <a:gd name="connsiteX3" fmla="*/ 0 w 4164"/>
                      <a:gd name="connsiteY3" fmla="*/ 4165 h 416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4164" h="4164">
                        <a:moveTo>
                          <a:pt x="0" y="0"/>
                        </a:moveTo>
                        <a:lnTo>
                          <a:pt x="4165" y="0"/>
                        </a:lnTo>
                        <a:lnTo>
                          <a:pt x="4165" y="4165"/>
                        </a:lnTo>
                        <a:lnTo>
                          <a:pt x="0" y="4165"/>
                        </a:lnTo>
                        <a:close/>
                      </a:path>
                    </a:pathLst>
                  </a:custGeom>
                  <a:solidFill>
                    <a:srgbClr val="394553"/>
                  </a:solidFill>
                  <a:ln w="6350" cap="flat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  <p:grpSp>
              <p:nvGrpSpPr>
                <p:cNvPr id="1022" name="Gráfico 11">
                  <a:extLst>
                    <a:ext uri="{FF2B5EF4-FFF2-40B4-BE49-F238E27FC236}">
                      <a16:creationId xmlns:a16="http://schemas.microsoft.com/office/drawing/2014/main" id="{5B496A2D-8AA4-A4EC-44F2-B792556031DB}"/>
                    </a:ext>
                  </a:extLst>
                </p:cNvPr>
                <p:cNvGrpSpPr/>
                <p:nvPr/>
              </p:nvGrpSpPr>
              <p:grpSpPr>
                <a:xfrm>
                  <a:off x="11305315" y="2155635"/>
                  <a:ext cx="68426" cy="4164"/>
                  <a:chOff x="11305315" y="2155635"/>
                  <a:chExt cx="68426" cy="4164"/>
                </a:xfrm>
                <a:solidFill>
                  <a:srgbClr val="394553"/>
                </a:solidFill>
              </p:grpSpPr>
              <p:sp>
                <p:nvSpPr>
                  <p:cNvPr id="1023" name="Forma livre: Forma 1022">
                    <a:extLst>
                      <a:ext uri="{FF2B5EF4-FFF2-40B4-BE49-F238E27FC236}">
                        <a16:creationId xmlns:a16="http://schemas.microsoft.com/office/drawing/2014/main" id="{553D91C1-904F-46D1-424C-72C17BA34966}"/>
                      </a:ext>
                    </a:extLst>
                  </p:cNvPr>
                  <p:cNvSpPr/>
                  <p:nvPr/>
                </p:nvSpPr>
                <p:spPr>
                  <a:xfrm>
                    <a:off x="11305315" y="2155635"/>
                    <a:ext cx="4164" cy="4164"/>
                  </a:xfrm>
                  <a:custGeom>
                    <a:avLst/>
                    <a:gdLst>
                      <a:gd name="connsiteX0" fmla="*/ 0 w 4164"/>
                      <a:gd name="connsiteY0" fmla="*/ 0 h 4164"/>
                      <a:gd name="connsiteX1" fmla="*/ 4165 w 4164"/>
                      <a:gd name="connsiteY1" fmla="*/ 0 h 4164"/>
                      <a:gd name="connsiteX2" fmla="*/ 4165 w 4164"/>
                      <a:gd name="connsiteY2" fmla="*/ 4165 h 4164"/>
                      <a:gd name="connsiteX3" fmla="*/ 0 w 4164"/>
                      <a:gd name="connsiteY3" fmla="*/ 4165 h 416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4164" h="4164">
                        <a:moveTo>
                          <a:pt x="0" y="0"/>
                        </a:moveTo>
                        <a:lnTo>
                          <a:pt x="4165" y="0"/>
                        </a:lnTo>
                        <a:lnTo>
                          <a:pt x="4165" y="4165"/>
                        </a:lnTo>
                        <a:lnTo>
                          <a:pt x="0" y="4165"/>
                        </a:lnTo>
                        <a:close/>
                      </a:path>
                    </a:pathLst>
                  </a:custGeom>
                  <a:solidFill>
                    <a:srgbClr val="394553"/>
                  </a:solidFill>
                  <a:ln w="6350" cap="flat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1024" name="Forma livre: Forma 1023">
                    <a:extLst>
                      <a:ext uri="{FF2B5EF4-FFF2-40B4-BE49-F238E27FC236}">
                        <a16:creationId xmlns:a16="http://schemas.microsoft.com/office/drawing/2014/main" id="{8A54167D-3D07-3EA9-8757-68BFA6D8AD64}"/>
                      </a:ext>
                    </a:extLst>
                  </p:cNvPr>
                  <p:cNvSpPr/>
                  <p:nvPr/>
                </p:nvSpPr>
                <p:spPr>
                  <a:xfrm>
                    <a:off x="11337470" y="2155635"/>
                    <a:ext cx="4164" cy="4164"/>
                  </a:xfrm>
                  <a:custGeom>
                    <a:avLst/>
                    <a:gdLst>
                      <a:gd name="connsiteX0" fmla="*/ 0 w 4164"/>
                      <a:gd name="connsiteY0" fmla="*/ 0 h 4164"/>
                      <a:gd name="connsiteX1" fmla="*/ 4165 w 4164"/>
                      <a:gd name="connsiteY1" fmla="*/ 0 h 4164"/>
                      <a:gd name="connsiteX2" fmla="*/ 4165 w 4164"/>
                      <a:gd name="connsiteY2" fmla="*/ 4165 h 4164"/>
                      <a:gd name="connsiteX3" fmla="*/ 0 w 4164"/>
                      <a:gd name="connsiteY3" fmla="*/ 4165 h 416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4164" h="4164">
                        <a:moveTo>
                          <a:pt x="0" y="0"/>
                        </a:moveTo>
                        <a:lnTo>
                          <a:pt x="4165" y="0"/>
                        </a:lnTo>
                        <a:lnTo>
                          <a:pt x="4165" y="4165"/>
                        </a:lnTo>
                        <a:lnTo>
                          <a:pt x="0" y="4165"/>
                        </a:lnTo>
                        <a:close/>
                      </a:path>
                    </a:pathLst>
                  </a:custGeom>
                  <a:solidFill>
                    <a:srgbClr val="394553"/>
                  </a:solidFill>
                  <a:ln w="6350" cap="flat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1025" name="Forma livre: Forma 1024">
                    <a:extLst>
                      <a:ext uri="{FF2B5EF4-FFF2-40B4-BE49-F238E27FC236}">
                        <a16:creationId xmlns:a16="http://schemas.microsoft.com/office/drawing/2014/main" id="{AE6ABE00-7109-4263-E0E4-120EEF5AEED0}"/>
                      </a:ext>
                    </a:extLst>
                  </p:cNvPr>
                  <p:cNvSpPr/>
                  <p:nvPr/>
                </p:nvSpPr>
                <p:spPr>
                  <a:xfrm>
                    <a:off x="11369576" y="2155635"/>
                    <a:ext cx="4164" cy="4164"/>
                  </a:xfrm>
                  <a:custGeom>
                    <a:avLst/>
                    <a:gdLst>
                      <a:gd name="connsiteX0" fmla="*/ 0 w 4164"/>
                      <a:gd name="connsiteY0" fmla="*/ 0 h 4164"/>
                      <a:gd name="connsiteX1" fmla="*/ 4165 w 4164"/>
                      <a:gd name="connsiteY1" fmla="*/ 0 h 4164"/>
                      <a:gd name="connsiteX2" fmla="*/ 4165 w 4164"/>
                      <a:gd name="connsiteY2" fmla="*/ 4165 h 4164"/>
                      <a:gd name="connsiteX3" fmla="*/ 0 w 4164"/>
                      <a:gd name="connsiteY3" fmla="*/ 4165 h 416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4164" h="4164">
                        <a:moveTo>
                          <a:pt x="0" y="0"/>
                        </a:moveTo>
                        <a:lnTo>
                          <a:pt x="4165" y="0"/>
                        </a:lnTo>
                        <a:lnTo>
                          <a:pt x="4165" y="4165"/>
                        </a:lnTo>
                        <a:lnTo>
                          <a:pt x="0" y="4165"/>
                        </a:lnTo>
                        <a:close/>
                      </a:path>
                    </a:pathLst>
                  </a:custGeom>
                  <a:solidFill>
                    <a:srgbClr val="394553"/>
                  </a:solidFill>
                  <a:ln w="6350" cap="flat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  <p:grpSp>
              <p:nvGrpSpPr>
                <p:cNvPr id="1026" name="Gráfico 11">
                  <a:extLst>
                    <a:ext uri="{FF2B5EF4-FFF2-40B4-BE49-F238E27FC236}">
                      <a16:creationId xmlns:a16="http://schemas.microsoft.com/office/drawing/2014/main" id="{B0C11249-8754-80E5-F058-4AC9A562FF26}"/>
                    </a:ext>
                  </a:extLst>
                </p:cNvPr>
                <p:cNvGrpSpPr/>
                <p:nvPr/>
              </p:nvGrpSpPr>
              <p:grpSpPr>
                <a:xfrm>
                  <a:off x="11305315" y="2186483"/>
                  <a:ext cx="68426" cy="4164"/>
                  <a:chOff x="11305315" y="2186483"/>
                  <a:chExt cx="68426" cy="4164"/>
                </a:xfrm>
                <a:solidFill>
                  <a:srgbClr val="394553"/>
                </a:solidFill>
              </p:grpSpPr>
              <p:sp>
                <p:nvSpPr>
                  <p:cNvPr id="1027" name="Forma livre: Forma 1026">
                    <a:extLst>
                      <a:ext uri="{FF2B5EF4-FFF2-40B4-BE49-F238E27FC236}">
                        <a16:creationId xmlns:a16="http://schemas.microsoft.com/office/drawing/2014/main" id="{8D079258-BA82-525D-CD06-1E10840EC25F}"/>
                      </a:ext>
                    </a:extLst>
                  </p:cNvPr>
                  <p:cNvSpPr/>
                  <p:nvPr/>
                </p:nvSpPr>
                <p:spPr>
                  <a:xfrm>
                    <a:off x="11305315" y="2186483"/>
                    <a:ext cx="4164" cy="4164"/>
                  </a:xfrm>
                  <a:custGeom>
                    <a:avLst/>
                    <a:gdLst>
                      <a:gd name="connsiteX0" fmla="*/ 0 w 4164"/>
                      <a:gd name="connsiteY0" fmla="*/ 0 h 4164"/>
                      <a:gd name="connsiteX1" fmla="*/ 4165 w 4164"/>
                      <a:gd name="connsiteY1" fmla="*/ 0 h 4164"/>
                      <a:gd name="connsiteX2" fmla="*/ 4165 w 4164"/>
                      <a:gd name="connsiteY2" fmla="*/ 4165 h 4164"/>
                      <a:gd name="connsiteX3" fmla="*/ 0 w 4164"/>
                      <a:gd name="connsiteY3" fmla="*/ 4165 h 416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4164" h="4164">
                        <a:moveTo>
                          <a:pt x="0" y="0"/>
                        </a:moveTo>
                        <a:lnTo>
                          <a:pt x="4165" y="0"/>
                        </a:lnTo>
                        <a:lnTo>
                          <a:pt x="4165" y="4165"/>
                        </a:lnTo>
                        <a:lnTo>
                          <a:pt x="0" y="4165"/>
                        </a:lnTo>
                        <a:close/>
                      </a:path>
                    </a:pathLst>
                  </a:custGeom>
                  <a:solidFill>
                    <a:srgbClr val="394553"/>
                  </a:solidFill>
                  <a:ln w="6350" cap="flat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1028" name="Forma livre: Forma 1027">
                    <a:extLst>
                      <a:ext uri="{FF2B5EF4-FFF2-40B4-BE49-F238E27FC236}">
                        <a16:creationId xmlns:a16="http://schemas.microsoft.com/office/drawing/2014/main" id="{3AAD6CB9-E5D3-4895-923A-B91096A48071}"/>
                      </a:ext>
                    </a:extLst>
                  </p:cNvPr>
                  <p:cNvSpPr/>
                  <p:nvPr/>
                </p:nvSpPr>
                <p:spPr>
                  <a:xfrm>
                    <a:off x="11337470" y="2186483"/>
                    <a:ext cx="4164" cy="4164"/>
                  </a:xfrm>
                  <a:custGeom>
                    <a:avLst/>
                    <a:gdLst>
                      <a:gd name="connsiteX0" fmla="*/ 0 w 4164"/>
                      <a:gd name="connsiteY0" fmla="*/ 0 h 4164"/>
                      <a:gd name="connsiteX1" fmla="*/ 4165 w 4164"/>
                      <a:gd name="connsiteY1" fmla="*/ 0 h 4164"/>
                      <a:gd name="connsiteX2" fmla="*/ 4165 w 4164"/>
                      <a:gd name="connsiteY2" fmla="*/ 4165 h 4164"/>
                      <a:gd name="connsiteX3" fmla="*/ 0 w 4164"/>
                      <a:gd name="connsiteY3" fmla="*/ 4165 h 416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4164" h="4164">
                        <a:moveTo>
                          <a:pt x="0" y="0"/>
                        </a:moveTo>
                        <a:lnTo>
                          <a:pt x="4165" y="0"/>
                        </a:lnTo>
                        <a:lnTo>
                          <a:pt x="4165" y="4165"/>
                        </a:lnTo>
                        <a:lnTo>
                          <a:pt x="0" y="4165"/>
                        </a:lnTo>
                        <a:close/>
                      </a:path>
                    </a:pathLst>
                  </a:custGeom>
                  <a:solidFill>
                    <a:srgbClr val="394553"/>
                  </a:solidFill>
                  <a:ln w="6350" cap="flat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1029" name="Forma livre: Forma 1028">
                    <a:extLst>
                      <a:ext uri="{FF2B5EF4-FFF2-40B4-BE49-F238E27FC236}">
                        <a16:creationId xmlns:a16="http://schemas.microsoft.com/office/drawing/2014/main" id="{1F75F072-CDC8-64AD-704D-DD07D16452E7}"/>
                      </a:ext>
                    </a:extLst>
                  </p:cNvPr>
                  <p:cNvSpPr/>
                  <p:nvPr/>
                </p:nvSpPr>
                <p:spPr>
                  <a:xfrm>
                    <a:off x="11369576" y="2186483"/>
                    <a:ext cx="4164" cy="4164"/>
                  </a:xfrm>
                  <a:custGeom>
                    <a:avLst/>
                    <a:gdLst>
                      <a:gd name="connsiteX0" fmla="*/ 0 w 4164"/>
                      <a:gd name="connsiteY0" fmla="*/ 0 h 4164"/>
                      <a:gd name="connsiteX1" fmla="*/ 4165 w 4164"/>
                      <a:gd name="connsiteY1" fmla="*/ 0 h 4164"/>
                      <a:gd name="connsiteX2" fmla="*/ 4165 w 4164"/>
                      <a:gd name="connsiteY2" fmla="*/ 4165 h 4164"/>
                      <a:gd name="connsiteX3" fmla="*/ 0 w 4164"/>
                      <a:gd name="connsiteY3" fmla="*/ 4165 h 416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4164" h="4164">
                        <a:moveTo>
                          <a:pt x="0" y="0"/>
                        </a:moveTo>
                        <a:lnTo>
                          <a:pt x="4165" y="0"/>
                        </a:lnTo>
                        <a:lnTo>
                          <a:pt x="4165" y="4165"/>
                        </a:lnTo>
                        <a:lnTo>
                          <a:pt x="0" y="4165"/>
                        </a:lnTo>
                        <a:close/>
                      </a:path>
                    </a:pathLst>
                  </a:custGeom>
                  <a:solidFill>
                    <a:srgbClr val="394553"/>
                  </a:solidFill>
                  <a:ln w="6350" cap="flat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  <p:grpSp>
              <p:nvGrpSpPr>
                <p:cNvPr id="1030" name="Gráfico 11">
                  <a:extLst>
                    <a:ext uri="{FF2B5EF4-FFF2-40B4-BE49-F238E27FC236}">
                      <a16:creationId xmlns:a16="http://schemas.microsoft.com/office/drawing/2014/main" id="{6155534B-4A42-27C0-EA83-C486DFA60FE7}"/>
                    </a:ext>
                  </a:extLst>
                </p:cNvPr>
                <p:cNvGrpSpPr/>
                <p:nvPr/>
              </p:nvGrpSpPr>
              <p:grpSpPr>
                <a:xfrm>
                  <a:off x="11305315" y="2217379"/>
                  <a:ext cx="68426" cy="4164"/>
                  <a:chOff x="11305315" y="2217379"/>
                  <a:chExt cx="68426" cy="4164"/>
                </a:xfrm>
                <a:solidFill>
                  <a:srgbClr val="394553"/>
                </a:solidFill>
              </p:grpSpPr>
              <p:sp>
                <p:nvSpPr>
                  <p:cNvPr id="1031" name="Forma livre: Forma 1030">
                    <a:extLst>
                      <a:ext uri="{FF2B5EF4-FFF2-40B4-BE49-F238E27FC236}">
                        <a16:creationId xmlns:a16="http://schemas.microsoft.com/office/drawing/2014/main" id="{FB099D28-33D5-ECA6-E9E6-F45FEF1E1CA1}"/>
                      </a:ext>
                    </a:extLst>
                  </p:cNvPr>
                  <p:cNvSpPr/>
                  <p:nvPr/>
                </p:nvSpPr>
                <p:spPr>
                  <a:xfrm>
                    <a:off x="11305315" y="2217379"/>
                    <a:ext cx="4164" cy="4164"/>
                  </a:xfrm>
                  <a:custGeom>
                    <a:avLst/>
                    <a:gdLst>
                      <a:gd name="connsiteX0" fmla="*/ 0 w 4164"/>
                      <a:gd name="connsiteY0" fmla="*/ 0 h 4164"/>
                      <a:gd name="connsiteX1" fmla="*/ 4165 w 4164"/>
                      <a:gd name="connsiteY1" fmla="*/ 0 h 4164"/>
                      <a:gd name="connsiteX2" fmla="*/ 4165 w 4164"/>
                      <a:gd name="connsiteY2" fmla="*/ 4165 h 4164"/>
                      <a:gd name="connsiteX3" fmla="*/ 0 w 4164"/>
                      <a:gd name="connsiteY3" fmla="*/ 4165 h 416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4164" h="4164">
                        <a:moveTo>
                          <a:pt x="0" y="0"/>
                        </a:moveTo>
                        <a:lnTo>
                          <a:pt x="4165" y="0"/>
                        </a:lnTo>
                        <a:lnTo>
                          <a:pt x="4165" y="4165"/>
                        </a:lnTo>
                        <a:lnTo>
                          <a:pt x="0" y="4165"/>
                        </a:lnTo>
                        <a:close/>
                      </a:path>
                    </a:pathLst>
                  </a:custGeom>
                  <a:solidFill>
                    <a:srgbClr val="394553"/>
                  </a:solidFill>
                  <a:ln w="6350" cap="flat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1032" name="Forma livre: Forma 1031">
                    <a:extLst>
                      <a:ext uri="{FF2B5EF4-FFF2-40B4-BE49-F238E27FC236}">
                        <a16:creationId xmlns:a16="http://schemas.microsoft.com/office/drawing/2014/main" id="{7282EBAF-6947-1DE0-D5DC-0ABD408788B9}"/>
                      </a:ext>
                    </a:extLst>
                  </p:cNvPr>
                  <p:cNvSpPr/>
                  <p:nvPr/>
                </p:nvSpPr>
                <p:spPr>
                  <a:xfrm>
                    <a:off x="11337470" y="2217379"/>
                    <a:ext cx="4164" cy="4164"/>
                  </a:xfrm>
                  <a:custGeom>
                    <a:avLst/>
                    <a:gdLst>
                      <a:gd name="connsiteX0" fmla="*/ 0 w 4164"/>
                      <a:gd name="connsiteY0" fmla="*/ 0 h 4164"/>
                      <a:gd name="connsiteX1" fmla="*/ 4165 w 4164"/>
                      <a:gd name="connsiteY1" fmla="*/ 0 h 4164"/>
                      <a:gd name="connsiteX2" fmla="*/ 4165 w 4164"/>
                      <a:gd name="connsiteY2" fmla="*/ 4165 h 4164"/>
                      <a:gd name="connsiteX3" fmla="*/ 0 w 4164"/>
                      <a:gd name="connsiteY3" fmla="*/ 4165 h 416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4164" h="4164">
                        <a:moveTo>
                          <a:pt x="0" y="0"/>
                        </a:moveTo>
                        <a:lnTo>
                          <a:pt x="4165" y="0"/>
                        </a:lnTo>
                        <a:lnTo>
                          <a:pt x="4165" y="4165"/>
                        </a:lnTo>
                        <a:lnTo>
                          <a:pt x="0" y="4165"/>
                        </a:lnTo>
                        <a:close/>
                      </a:path>
                    </a:pathLst>
                  </a:custGeom>
                  <a:solidFill>
                    <a:srgbClr val="394553"/>
                  </a:solidFill>
                  <a:ln w="6350" cap="flat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1033" name="Forma livre: Forma 1032">
                    <a:extLst>
                      <a:ext uri="{FF2B5EF4-FFF2-40B4-BE49-F238E27FC236}">
                        <a16:creationId xmlns:a16="http://schemas.microsoft.com/office/drawing/2014/main" id="{9E2CFB7D-AAA5-414E-66C5-CD6CFF11461C}"/>
                      </a:ext>
                    </a:extLst>
                  </p:cNvPr>
                  <p:cNvSpPr/>
                  <p:nvPr/>
                </p:nvSpPr>
                <p:spPr>
                  <a:xfrm>
                    <a:off x="11369576" y="2217379"/>
                    <a:ext cx="4164" cy="4164"/>
                  </a:xfrm>
                  <a:custGeom>
                    <a:avLst/>
                    <a:gdLst>
                      <a:gd name="connsiteX0" fmla="*/ 0 w 4164"/>
                      <a:gd name="connsiteY0" fmla="*/ 0 h 4164"/>
                      <a:gd name="connsiteX1" fmla="*/ 4165 w 4164"/>
                      <a:gd name="connsiteY1" fmla="*/ 0 h 4164"/>
                      <a:gd name="connsiteX2" fmla="*/ 4165 w 4164"/>
                      <a:gd name="connsiteY2" fmla="*/ 4165 h 4164"/>
                      <a:gd name="connsiteX3" fmla="*/ 0 w 4164"/>
                      <a:gd name="connsiteY3" fmla="*/ 4165 h 416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4164" h="4164">
                        <a:moveTo>
                          <a:pt x="0" y="0"/>
                        </a:moveTo>
                        <a:lnTo>
                          <a:pt x="4165" y="0"/>
                        </a:lnTo>
                        <a:lnTo>
                          <a:pt x="4165" y="4165"/>
                        </a:lnTo>
                        <a:lnTo>
                          <a:pt x="0" y="4165"/>
                        </a:lnTo>
                        <a:close/>
                      </a:path>
                    </a:pathLst>
                  </a:custGeom>
                  <a:solidFill>
                    <a:srgbClr val="394553"/>
                  </a:solidFill>
                  <a:ln w="6350" cap="flat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</p:grpSp>
          <p:grpSp>
            <p:nvGrpSpPr>
              <p:cNvPr id="1034" name="Gráfico 11">
                <a:extLst>
                  <a:ext uri="{FF2B5EF4-FFF2-40B4-BE49-F238E27FC236}">
                    <a16:creationId xmlns:a16="http://schemas.microsoft.com/office/drawing/2014/main" id="{8EF1041F-6FBF-43C8-1FEB-5724FFCC1CE8}"/>
                  </a:ext>
                </a:extLst>
              </p:cNvPr>
              <p:cNvGrpSpPr/>
              <p:nvPr/>
            </p:nvGrpSpPr>
            <p:grpSpPr>
              <a:xfrm>
                <a:off x="11432966" y="2124739"/>
                <a:ext cx="68426" cy="96803"/>
                <a:chOff x="11432966" y="2124739"/>
                <a:chExt cx="68426" cy="96803"/>
              </a:xfrm>
              <a:solidFill>
                <a:srgbClr val="394553"/>
              </a:solidFill>
            </p:grpSpPr>
            <p:grpSp>
              <p:nvGrpSpPr>
                <p:cNvPr id="1035" name="Gráfico 11">
                  <a:extLst>
                    <a:ext uri="{FF2B5EF4-FFF2-40B4-BE49-F238E27FC236}">
                      <a16:creationId xmlns:a16="http://schemas.microsoft.com/office/drawing/2014/main" id="{8D7A2C2C-D142-C036-59E1-BF6EBAC7A563}"/>
                    </a:ext>
                  </a:extLst>
                </p:cNvPr>
                <p:cNvGrpSpPr/>
                <p:nvPr/>
              </p:nvGrpSpPr>
              <p:grpSpPr>
                <a:xfrm>
                  <a:off x="11432966" y="2124739"/>
                  <a:ext cx="68426" cy="4164"/>
                  <a:chOff x="11432966" y="2124739"/>
                  <a:chExt cx="68426" cy="4164"/>
                </a:xfrm>
                <a:solidFill>
                  <a:srgbClr val="394553"/>
                </a:solidFill>
              </p:grpSpPr>
              <p:sp>
                <p:nvSpPr>
                  <p:cNvPr id="1036" name="Forma livre: Forma 1035">
                    <a:extLst>
                      <a:ext uri="{FF2B5EF4-FFF2-40B4-BE49-F238E27FC236}">
                        <a16:creationId xmlns:a16="http://schemas.microsoft.com/office/drawing/2014/main" id="{B2F4E839-DDD3-0DFD-DD95-E2BC9A311654}"/>
                      </a:ext>
                    </a:extLst>
                  </p:cNvPr>
                  <p:cNvSpPr/>
                  <p:nvPr/>
                </p:nvSpPr>
                <p:spPr>
                  <a:xfrm>
                    <a:off x="11432966" y="2124739"/>
                    <a:ext cx="4164" cy="4164"/>
                  </a:xfrm>
                  <a:custGeom>
                    <a:avLst/>
                    <a:gdLst>
                      <a:gd name="connsiteX0" fmla="*/ 0 w 4164"/>
                      <a:gd name="connsiteY0" fmla="*/ 0 h 4164"/>
                      <a:gd name="connsiteX1" fmla="*/ 4165 w 4164"/>
                      <a:gd name="connsiteY1" fmla="*/ 0 h 4164"/>
                      <a:gd name="connsiteX2" fmla="*/ 4165 w 4164"/>
                      <a:gd name="connsiteY2" fmla="*/ 4165 h 4164"/>
                      <a:gd name="connsiteX3" fmla="*/ 0 w 4164"/>
                      <a:gd name="connsiteY3" fmla="*/ 4165 h 416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4164" h="4164">
                        <a:moveTo>
                          <a:pt x="0" y="0"/>
                        </a:moveTo>
                        <a:lnTo>
                          <a:pt x="4165" y="0"/>
                        </a:lnTo>
                        <a:lnTo>
                          <a:pt x="4165" y="4165"/>
                        </a:lnTo>
                        <a:lnTo>
                          <a:pt x="0" y="4165"/>
                        </a:lnTo>
                        <a:close/>
                      </a:path>
                    </a:pathLst>
                  </a:custGeom>
                  <a:solidFill>
                    <a:srgbClr val="394553"/>
                  </a:solidFill>
                  <a:ln w="6350" cap="flat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1037" name="Forma livre: Forma 1036">
                    <a:extLst>
                      <a:ext uri="{FF2B5EF4-FFF2-40B4-BE49-F238E27FC236}">
                        <a16:creationId xmlns:a16="http://schemas.microsoft.com/office/drawing/2014/main" id="{A73FA651-C64F-4284-F81B-F3885792EE02}"/>
                      </a:ext>
                    </a:extLst>
                  </p:cNvPr>
                  <p:cNvSpPr/>
                  <p:nvPr/>
                </p:nvSpPr>
                <p:spPr>
                  <a:xfrm>
                    <a:off x="11465073" y="2124739"/>
                    <a:ext cx="4164" cy="4164"/>
                  </a:xfrm>
                  <a:custGeom>
                    <a:avLst/>
                    <a:gdLst>
                      <a:gd name="connsiteX0" fmla="*/ 0 w 4164"/>
                      <a:gd name="connsiteY0" fmla="*/ 0 h 4164"/>
                      <a:gd name="connsiteX1" fmla="*/ 4165 w 4164"/>
                      <a:gd name="connsiteY1" fmla="*/ 0 h 4164"/>
                      <a:gd name="connsiteX2" fmla="*/ 4165 w 4164"/>
                      <a:gd name="connsiteY2" fmla="*/ 4165 h 4164"/>
                      <a:gd name="connsiteX3" fmla="*/ 0 w 4164"/>
                      <a:gd name="connsiteY3" fmla="*/ 4165 h 416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4164" h="4164">
                        <a:moveTo>
                          <a:pt x="0" y="0"/>
                        </a:moveTo>
                        <a:lnTo>
                          <a:pt x="4165" y="0"/>
                        </a:lnTo>
                        <a:lnTo>
                          <a:pt x="4165" y="4165"/>
                        </a:lnTo>
                        <a:lnTo>
                          <a:pt x="0" y="4165"/>
                        </a:lnTo>
                        <a:close/>
                      </a:path>
                    </a:pathLst>
                  </a:custGeom>
                  <a:solidFill>
                    <a:srgbClr val="394553"/>
                  </a:solidFill>
                  <a:ln w="6350" cap="flat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1038" name="Forma livre: Forma 1037">
                    <a:extLst>
                      <a:ext uri="{FF2B5EF4-FFF2-40B4-BE49-F238E27FC236}">
                        <a16:creationId xmlns:a16="http://schemas.microsoft.com/office/drawing/2014/main" id="{4226162C-A28A-00E5-1FC4-A6D559F8216D}"/>
                      </a:ext>
                    </a:extLst>
                  </p:cNvPr>
                  <p:cNvSpPr/>
                  <p:nvPr/>
                </p:nvSpPr>
                <p:spPr>
                  <a:xfrm>
                    <a:off x="11497228" y="2124739"/>
                    <a:ext cx="4164" cy="4164"/>
                  </a:xfrm>
                  <a:custGeom>
                    <a:avLst/>
                    <a:gdLst>
                      <a:gd name="connsiteX0" fmla="*/ 0 w 4164"/>
                      <a:gd name="connsiteY0" fmla="*/ 0 h 4164"/>
                      <a:gd name="connsiteX1" fmla="*/ 4165 w 4164"/>
                      <a:gd name="connsiteY1" fmla="*/ 0 h 4164"/>
                      <a:gd name="connsiteX2" fmla="*/ 4165 w 4164"/>
                      <a:gd name="connsiteY2" fmla="*/ 4165 h 4164"/>
                      <a:gd name="connsiteX3" fmla="*/ 0 w 4164"/>
                      <a:gd name="connsiteY3" fmla="*/ 4165 h 416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4164" h="4164">
                        <a:moveTo>
                          <a:pt x="0" y="0"/>
                        </a:moveTo>
                        <a:lnTo>
                          <a:pt x="4165" y="0"/>
                        </a:lnTo>
                        <a:lnTo>
                          <a:pt x="4165" y="4165"/>
                        </a:lnTo>
                        <a:lnTo>
                          <a:pt x="0" y="4165"/>
                        </a:lnTo>
                        <a:close/>
                      </a:path>
                    </a:pathLst>
                  </a:custGeom>
                  <a:solidFill>
                    <a:srgbClr val="394553"/>
                  </a:solidFill>
                  <a:ln w="6350" cap="flat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  <p:grpSp>
              <p:nvGrpSpPr>
                <p:cNvPr id="1039" name="Gráfico 11">
                  <a:extLst>
                    <a:ext uri="{FF2B5EF4-FFF2-40B4-BE49-F238E27FC236}">
                      <a16:creationId xmlns:a16="http://schemas.microsoft.com/office/drawing/2014/main" id="{D99FEF9A-3839-AA3F-1708-277A91D9B2DB}"/>
                    </a:ext>
                  </a:extLst>
                </p:cNvPr>
                <p:cNvGrpSpPr/>
                <p:nvPr/>
              </p:nvGrpSpPr>
              <p:grpSpPr>
                <a:xfrm>
                  <a:off x="11432966" y="2155635"/>
                  <a:ext cx="68426" cy="4164"/>
                  <a:chOff x="11432966" y="2155635"/>
                  <a:chExt cx="68426" cy="4164"/>
                </a:xfrm>
                <a:solidFill>
                  <a:srgbClr val="394553"/>
                </a:solidFill>
              </p:grpSpPr>
              <p:sp>
                <p:nvSpPr>
                  <p:cNvPr id="1040" name="Forma livre: Forma 1039">
                    <a:extLst>
                      <a:ext uri="{FF2B5EF4-FFF2-40B4-BE49-F238E27FC236}">
                        <a16:creationId xmlns:a16="http://schemas.microsoft.com/office/drawing/2014/main" id="{A1482C4B-FBBC-4864-A6B3-20D2F57896A7}"/>
                      </a:ext>
                    </a:extLst>
                  </p:cNvPr>
                  <p:cNvSpPr/>
                  <p:nvPr/>
                </p:nvSpPr>
                <p:spPr>
                  <a:xfrm>
                    <a:off x="11432966" y="2155635"/>
                    <a:ext cx="4164" cy="4164"/>
                  </a:xfrm>
                  <a:custGeom>
                    <a:avLst/>
                    <a:gdLst>
                      <a:gd name="connsiteX0" fmla="*/ 0 w 4164"/>
                      <a:gd name="connsiteY0" fmla="*/ 0 h 4164"/>
                      <a:gd name="connsiteX1" fmla="*/ 4165 w 4164"/>
                      <a:gd name="connsiteY1" fmla="*/ 0 h 4164"/>
                      <a:gd name="connsiteX2" fmla="*/ 4165 w 4164"/>
                      <a:gd name="connsiteY2" fmla="*/ 4165 h 4164"/>
                      <a:gd name="connsiteX3" fmla="*/ 0 w 4164"/>
                      <a:gd name="connsiteY3" fmla="*/ 4165 h 416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4164" h="4164">
                        <a:moveTo>
                          <a:pt x="0" y="0"/>
                        </a:moveTo>
                        <a:lnTo>
                          <a:pt x="4165" y="0"/>
                        </a:lnTo>
                        <a:lnTo>
                          <a:pt x="4165" y="4165"/>
                        </a:lnTo>
                        <a:lnTo>
                          <a:pt x="0" y="4165"/>
                        </a:lnTo>
                        <a:close/>
                      </a:path>
                    </a:pathLst>
                  </a:custGeom>
                  <a:solidFill>
                    <a:srgbClr val="394553"/>
                  </a:solidFill>
                  <a:ln w="6350" cap="flat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1041" name="Forma livre: Forma 1040">
                    <a:extLst>
                      <a:ext uri="{FF2B5EF4-FFF2-40B4-BE49-F238E27FC236}">
                        <a16:creationId xmlns:a16="http://schemas.microsoft.com/office/drawing/2014/main" id="{19D59A61-6DF7-F6BF-13AE-53E277DA8499}"/>
                      </a:ext>
                    </a:extLst>
                  </p:cNvPr>
                  <p:cNvSpPr/>
                  <p:nvPr/>
                </p:nvSpPr>
                <p:spPr>
                  <a:xfrm>
                    <a:off x="11465073" y="2155635"/>
                    <a:ext cx="4164" cy="4164"/>
                  </a:xfrm>
                  <a:custGeom>
                    <a:avLst/>
                    <a:gdLst>
                      <a:gd name="connsiteX0" fmla="*/ 0 w 4164"/>
                      <a:gd name="connsiteY0" fmla="*/ 0 h 4164"/>
                      <a:gd name="connsiteX1" fmla="*/ 4165 w 4164"/>
                      <a:gd name="connsiteY1" fmla="*/ 0 h 4164"/>
                      <a:gd name="connsiteX2" fmla="*/ 4165 w 4164"/>
                      <a:gd name="connsiteY2" fmla="*/ 4165 h 4164"/>
                      <a:gd name="connsiteX3" fmla="*/ 0 w 4164"/>
                      <a:gd name="connsiteY3" fmla="*/ 4165 h 416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4164" h="4164">
                        <a:moveTo>
                          <a:pt x="0" y="0"/>
                        </a:moveTo>
                        <a:lnTo>
                          <a:pt x="4165" y="0"/>
                        </a:lnTo>
                        <a:lnTo>
                          <a:pt x="4165" y="4165"/>
                        </a:lnTo>
                        <a:lnTo>
                          <a:pt x="0" y="4165"/>
                        </a:lnTo>
                        <a:close/>
                      </a:path>
                    </a:pathLst>
                  </a:custGeom>
                  <a:solidFill>
                    <a:srgbClr val="394553"/>
                  </a:solidFill>
                  <a:ln w="6350" cap="flat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1042" name="Forma livre: Forma 1041">
                    <a:extLst>
                      <a:ext uri="{FF2B5EF4-FFF2-40B4-BE49-F238E27FC236}">
                        <a16:creationId xmlns:a16="http://schemas.microsoft.com/office/drawing/2014/main" id="{ACC7412E-C71F-8E2A-4A86-CD7D3ADA5850}"/>
                      </a:ext>
                    </a:extLst>
                  </p:cNvPr>
                  <p:cNvSpPr/>
                  <p:nvPr/>
                </p:nvSpPr>
                <p:spPr>
                  <a:xfrm>
                    <a:off x="11497228" y="2155635"/>
                    <a:ext cx="4164" cy="4164"/>
                  </a:xfrm>
                  <a:custGeom>
                    <a:avLst/>
                    <a:gdLst>
                      <a:gd name="connsiteX0" fmla="*/ 0 w 4164"/>
                      <a:gd name="connsiteY0" fmla="*/ 0 h 4164"/>
                      <a:gd name="connsiteX1" fmla="*/ 4165 w 4164"/>
                      <a:gd name="connsiteY1" fmla="*/ 0 h 4164"/>
                      <a:gd name="connsiteX2" fmla="*/ 4165 w 4164"/>
                      <a:gd name="connsiteY2" fmla="*/ 4165 h 4164"/>
                      <a:gd name="connsiteX3" fmla="*/ 0 w 4164"/>
                      <a:gd name="connsiteY3" fmla="*/ 4165 h 416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4164" h="4164">
                        <a:moveTo>
                          <a:pt x="0" y="0"/>
                        </a:moveTo>
                        <a:lnTo>
                          <a:pt x="4165" y="0"/>
                        </a:lnTo>
                        <a:lnTo>
                          <a:pt x="4165" y="4165"/>
                        </a:lnTo>
                        <a:lnTo>
                          <a:pt x="0" y="4165"/>
                        </a:lnTo>
                        <a:close/>
                      </a:path>
                    </a:pathLst>
                  </a:custGeom>
                  <a:solidFill>
                    <a:srgbClr val="394553"/>
                  </a:solidFill>
                  <a:ln w="6350" cap="flat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  <p:grpSp>
              <p:nvGrpSpPr>
                <p:cNvPr id="1043" name="Gráfico 11">
                  <a:extLst>
                    <a:ext uri="{FF2B5EF4-FFF2-40B4-BE49-F238E27FC236}">
                      <a16:creationId xmlns:a16="http://schemas.microsoft.com/office/drawing/2014/main" id="{2992B16F-D0F7-2B7C-C822-8E66867C0003}"/>
                    </a:ext>
                  </a:extLst>
                </p:cNvPr>
                <p:cNvGrpSpPr/>
                <p:nvPr/>
              </p:nvGrpSpPr>
              <p:grpSpPr>
                <a:xfrm>
                  <a:off x="11432966" y="2186483"/>
                  <a:ext cx="68426" cy="4164"/>
                  <a:chOff x="11432966" y="2186483"/>
                  <a:chExt cx="68426" cy="4164"/>
                </a:xfrm>
                <a:solidFill>
                  <a:srgbClr val="394553"/>
                </a:solidFill>
              </p:grpSpPr>
              <p:sp>
                <p:nvSpPr>
                  <p:cNvPr id="1044" name="Forma livre: Forma 1043">
                    <a:extLst>
                      <a:ext uri="{FF2B5EF4-FFF2-40B4-BE49-F238E27FC236}">
                        <a16:creationId xmlns:a16="http://schemas.microsoft.com/office/drawing/2014/main" id="{38117038-8C4C-2D25-10D8-C0A9CC93D1B4}"/>
                      </a:ext>
                    </a:extLst>
                  </p:cNvPr>
                  <p:cNvSpPr/>
                  <p:nvPr/>
                </p:nvSpPr>
                <p:spPr>
                  <a:xfrm>
                    <a:off x="11432966" y="2186483"/>
                    <a:ext cx="4164" cy="4164"/>
                  </a:xfrm>
                  <a:custGeom>
                    <a:avLst/>
                    <a:gdLst>
                      <a:gd name="connsiteX0" fmla="*/ 0 w 4164"/>
                      <a:gd name="connsiteY0" fmla="*/ 0 h 4164"/>
                      <a:gd name="connsiteX1" fmla="*/ 4165 w 4164"/>
                      <a:gd name="connsiteY1" fmla="*/ 0 h 4164"/>
                      <a:gd name="connsiteX2" fmla="*/ 4165 w 4164"/>
                      <a:gd name="connsiteY2" fmla="*/ 4165 h 4164"/>
                      <a:gd name="connsiteX3" fmla="*/ 0 w 4164"/>
                      <a:gd name="connsiteY3" fmla="*/ 4165 h 416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4164" h="4164">
                        <a:moveTo>
                          <a:pt x="0" y="0"/>
                        </a:moveTo>
                        <a:lnTo>
                          <a:pt x="4165" y="0"/>
                        </a:lnTo>
                        <a:lnTo>
                          <a:pt x="4165" y="4165"/>
                        </a:lnTo>
                        <a:lnTo>
                          <a:pt x="0" y="4165"/>
                        </a:lnTo>
                        <a:close/>
                      </a:path>
                    </a:pathLst>
                  </a:custGeom>
                  <a:solidFill>
                    <a:srgbClr val="394553"/>
                  </a:solidFill>
                  <a:ln w="6350" cap="flat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1045" name="Forma livre: Forma 1044">
                    <a:extLst>
                      <a:ext uri="{FF2B5EF4-FFF2-40B4-BE49-F238E27FC236}">
                        <a16:creationId xmlns:a16="http://schemas.microsoft.com/office/drawing/2014/main" id="{0ED2CD72-F537-2707-933A-73CD42D7FC29}"/>
                      </a:ext>
                    </a:extLst>
                  </p:cNvPr>
                  <p:cNvSpPr/>
                  <p:nvPr/>
                </p:nvSpPr>
                <p:spPr>
                  <a:xfrm>
                    <a:off x="11465073" y="2186483"/>
                    <a:ext cx="4164" cy="4164"/>
                  </a:xfrm>
                  <a:custGeom>
                    <a:avLst/>
                    <a:gdLst>
                      <a:gd name="connsiteX0" fmla="*/ 0 w 4164"/>
                      <a:gd name="connsiteY0" fmla="*/ 0 h 4164"/>
                      <a:gd name="connsiteX1" fmla="*/ 4165 w 4164"/>
                      <a:gd name="connsiteY1" fmla="*/ 0 h 4164"/>
                      <a:gd name="connsiteX2" fmla="*/ 4165 w 4164"/>
                      <a:gd name="connsiteY2" fmla="*/ 4165 h 4164"/>
                      <a:gd name="connsiteX3" fmla="*/ 0 w 4164"/>
                      <a:gd name="connsiteY3" fmla="*/ 4165 h 416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4164" h="4164">
                        <a:moveTo>
                          <a:pt x="0" y="0"/>
                        </a:moveTo>
                        <a:lnTo>
                          <a:pt x="4165" y="0"/>
                        </a:lnTo>
                        <a:lnTo>
                          <a:pt x="4165" y="4165"/>
                        </a:lnTo>
                        <a:lnTo>
                          <a:pt x="0" y="4165"/>
                        </a:lnTo>
                        <a:close/>
                      </a:path>
                    </a:pathLst>
                  </a:custGeom>
                  <a:solidFill>
                    <a:srgbClr val="394553"/>
                  </a:solidFill>
                  <a:ln w="6350" cap="flat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1046" name="Forma livre: Forma 1045">
                    <a:extLst>
                      <a:ext uri="{FF2B5EF4-FFF2-40B4-BE49-F238E27FC236}">
                        <a16:creationId xmlns:a16="http://schemas.microsoft.com/office/drawing/2014/main" id="{46C15442-5814-D5A6-B917-F113A1B33994}"/>
                      </a:ext>
                    </a:extLst>
                  </p:cNvPr>
                  <p:cNvSpPr/>
                  <p:nvPr/>
                </p:nvSpPr>
                <p:spPr>
                  <a:xfrm>
                    <a:off x="11497228" y="2186483"/>
                    <a:ext cx="4164" cy="4164"/>
                  </a:xfrm>
                  <a:custGeom>
                    <a:avLst/>
                    <a:gdLst>
                      <a:gd name="connsiteX0" fmla="*/ 0 w 4164"/>
                      <a:gd name="connsiteY0" fmla="*/ 0 h 4164"/>
                      <a:gd name="connsiteX1" fmla="*/ 4165 w 4164"/>
                      <a:gd name="connsiteY1" fmla="*/ 0 h 4164"/>
                      <a:gd name="connsiteX2" fmla="*/ 4165 w 4164"/>
                      <a:gd name="connsiteY2" fmla="*/ 4165 h 4164"/>
                      <a:gd name="connsiteX3" fmla="*/ 0 w 4164"/>
                      <a:gd name="connsiteY3" fmla="*/ 4165 h 416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4164" h="4164">
                        <a:moveTo>
                          <a:pt x="0" y="0"/>
                        </a:moveTo>
                        <a:lnTo>
                          <a:pt x="4165" y="0"/>
                        </a:lnTo>
                        <a:lnTo>
                          <a:pt x="4165" y="4165"/>
                        </a:lnTo>
                        <a:lnTo>
                          <a:pt x="0" y="4165"/>
                        </a:lnTo>
                        <a:close/>
                      </a:path>
                    </a:pathLst>
                  </a:custGeom>
                  <a:solidFill>
                    <a:srgbClr val="394553"/>
                  </a:solidFill>
                  <a:ln w="6350" cap="flat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  <p:grpSp>
              <p:nvGrpSpPr>
                <p:cNvPr id="1047" name="Gráfico 11">
                  <a:extLst>
                    <a:ext uri="{FF2B5EF4-FFF2-40B4-BE49-F238E27FC236}">
                      <a16:creationId xmlns:a16="http://schemas.microsoft.com/office/drawing/2014/main" id="{65818B7F-1060-2322-D9DF-E456AEA99BE8}"/>
                    </a:ext>
                  </a:extLst>
                </p:cNvPr>
                <p:cNvGrpSpPr/>
                <p:nvPr/>
              </p:nvGrpSpPr>
              <p:grpSpPr>
                <a:xfrm>
                  <a:off x="11432966" y="2217379"/>
                  <a:ext cx="68426" cy="4164"/>
                  <a:chOff x="11432966" y="2217379"/>
                  <a:chExt cx="68426" cy="4164"/>
                </a:xfrm>
                <a:solidFill>
                  <a:srgbClr val="394553"/>
                </a:solidFill>
              </p:grpSpPr>
              <p:sp>
                <p:nvSpPr>
                  <p:cNvPr id="1048" name="Forma livre: Forma 1047">
                    <a:extLst>
                      <a:ext uri="{FF2B5EF4-FFF2-40B4-BE49-F238E27FC236}">
                        <a16:creationId xmlns:a16="http://schemas.microsoft.com/office/drawing/2014/main" id="{4144E19A-E033-AECC-1D6C-60B7A25A3992}"/>
                      </a:ext>
                    </a:extLst>
                  </p:cNvPr>
                  <p:cNvSpPr/>
                  <p:nvPr/>
                </p:nvSpPr>
                <p:spPr>
                  <a:xfrm>
                    <a:off x="11432966" y="2217379"/>
                    <a:ext cx="4164" cy="4164"/>
                  </a:xfrm>
                  <a:custGeom>
                    <a:avLst/>
                    <a:gdLst>
                      <a:gd name="connsiteX0" fmla="*/ 0 w 4164"/>
                      <a:gd name="connsiteY0" fmla="*/ 0 h 4164"/>
                      <a:gd name="connsiteX1" fmla="*/ 4165 w 4164"/>
                      <a:gd name="connsiteY1" fmla="*/ 0 h 4164"/>
                      <a:gd name="connsiteX2" fmla="*/ 4165 w 4164"/>
                      <a:gd name="connsiteY2" fmla="*/ 4165 h 4164"/>
                      <a:gd name="connsiteX3" fmla="*/ 0 w 4164"/>
                      <a:gd name="connsiteY3" fmla="*/ 4165 h 416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4164" h="4164">
                        <a:moveTo>
                          <a:pt x="0" y="0"/>
                        </a:moveTo>
                        <a:lnTo>
                          <a:pt x="4165" y="0"/>
                        </a:lnTo>
                        <a:lnTo>
                          <a:pt x="4165" y="4165"/>
                        </a:lnTo>
                        <a:lnTo>
                          <a:pt x="0" y="4165"/>
                        </a:lnTo>
                        <a:close/>
                      </a:path>
                    </a:pathLst>
                  </a:custGeom>
                  <a:solidFill>
                    <a:srgbClr val="394553"/>
                  </a:solidFill>
                  <a:ln w="6350" cap="flat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1049" name="Forma livre: Forma 1048">
                    <a:extLst>
                      <a:ext uri="{FF2B5EF4-FFF2-40B4-BE49-F238E27FC236}">
                        <a16:creationId xmlns:a16="http://schemas.microsoft.com/office/drawing/2014/main" id="{6E7F1B03-D5D4-FBCF-E84C-7AEE7E0F2792}"/>
                      </a:ext>
                    </a:extLst>
                  </p:cNvPr>
                  <p:cNvSpPr/>
                  <p:nvPr/>
                </p:nvSpPr>
                <p:spPr>
                  <a:xfrm>
                    <a:off x="11465073" y="2217379"/>
                    <a:ext cx="4164" cy="4164"/>
                  </a:xfrm>
                  <a:custGeom>
                    <a:avLst/>
                    <a:gdLst>
                      <a:gd name="connsiteX0" fmla="*/ 0 w 4164"/>
                      <a:gd name="connsiteY0" fmla="*/ 0 h 4164"/>
                      <a:gd name="connsiteX1" fmla="*/ 4165 w 4164"/>
                      <a:gd name="connsiteY1" fmla="*/ 0 h 4164"/>
                      <a:gd name="connsiteX2" fmla="*/ 4165 w 4164"/>
                      <a:gd name="connsiteY2" fmla="*/ 4165 h 4164"/>
                      <a:gd name="connsiteX3" fmla="*/ 0 w 4164"/>
                      <a:gd name="connsiteY3" fmla="*/ 4165 h 416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4164" h="4164">
                        <a:moveTo>
                          <a:pt x="0" y="0"/>
                        </a:moveTo>
                        <a:lnTo>
                          <a:pt x="4165" y="0"/>
                        </a:lnTo>
                        <a:lnTo>
                          <a:pt x="4165" y="4165"/>
                        </a:lnTo>
                        <a:lnTo>
                          <a:pt x="0" y="4165"/>
                        </a:lnTo>
                        <a:close/>
                      </a:path>
                    </a:pathLst>
                  </a:custGeom>
                  <a:solidFill>
                    <a:srgbClr val="394553"/>
                  </a:solidFill>
                  <a:ln w="6350" cap="flat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1050" name="Forma livre: Forma 1049">
                    <a:extLst>
                      <a:ext uri="{FF2B5EF4-FFF2-40B4-BE49-F238E27FC236}">
                        <a16:creationId xmlns:a16="http://schemas.microsoft.com/office/drawing/2014/main" id="{A954437D-134E-8255-E7BA-18EB997342BB}"/>
                      </a:ext>
                    </a:extLst>
                  </p:cNvPr>
                  <p:cNvSpPr/>
                  <p:nvPr/>
                </p:nvSpPr>
                <p:spPr>
                  <a:xfrm>
                    <a:off x="11497228" y="2217379"/>
                    <a:ext cx="4164" cy="4164"/>
                  </a:xfrm>
                  <a:custGeom>
                    <a:avLst/>
                    <a:gdLst>
                      <a:gd name="connsiteX0" fmla="*/ 0 w 4164"/>
                      <a:gd name="connsiteY0" fmla="*/ 0 h 4164"/>
                      <a:gd name="connsiteX1" fmla="*/ 4165 w 4164"/>
                      <a:gd name="connsiteY1" fmla="*/ 0 h 4164"/>
                      <a:gd name="connsiteX2" fmla="*/ 4165 w 4164"/>
                      <a:gd name="connsiteY2" fmla="*/ 4165 h 4164"/>
                      <a:gd name="connsiteX3" fmla="*/ 0 w 4164"/>
                      <a:gd name="connsiteY3" fmla="*/ 4165 h 416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4164" h="4164">
                        <a:moveTo>
                          <a:pt x="0" y="0"/>
                        </a:moveTo>
                        <a:lnTo>
                          <a:pt x="4165" y="0"/>
                        </a:lnTo>
                        <a:lnTo>
                          <a:pt x="4165" y="4165"/>
                        </a:lnTo>
                        <a:lnTo>
                          <a:pt x="0" y="4165"/>
                        </a:lnTo>
                        <a:close/>
                      </a:path>
                    </a:pathLst>
                  </a:custGeom>
                  <a:solidFill>
                    <a:srgbClr val="394553"/>
                  </a:solidFill>
                  <a:ln w="6350" cap="flat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</p:grpSp>
        </p:grpSp>
        <p:sp>
          <p:nvSpPr>
            <p:cNvPr id="1051" name="Forma livre: Forma 1050">
              <a:extLst>
                <a:ext uri="{FF2B5EF4-FFF2-40B4-BE49-F238E27FC236}">
                  <a16:creationId xmlns:a16="http://schemas.microsoft.com/office/drawing/2014/main" id="{43879F7B-D32C-80C9-A64B-D4AB0D6C4D8A}"/>
                </a:ext>
              </a:extLst>
            </p:cNvPr>
            <p:cNvSpPr/>
            <p:nvPr/>
          </p:nvSpPr>
          <p:spPr>
            <a:xfrm>
              <a:off x="11459964" y="2305908"/>
              <a:ext cx="7524" cy="7560"/>
            </a:xfrm>
            <a:custGeom>
              <a:avLst/>
              <a:gdLst>
                <a:gd name="connsiteX0" fmla="*/ 6416 w 7524"/>
                <a:gd name="connsiteY0" fmla="*/ 6435 h 7560"/>
                <a:gd name="connsiteX1" fmla="*/ 1090 w 7524"/>
                <a:gd name="connsiteY1" fmla="*/ 6435 h 7560"/>
                <a:gd name="connsiteX2" fmla="*/ 1090 w 7524"/>
                <a:gd name="connsiteY2" fmla="*/ 1108 h 7560"/>
                <a:gd name="connsiteX3" fmla="*/ 6416 w 7524"/>
                <a:gd name="connsiteY3" fmla="*/ 1108 h 7560"/>
                <a:gd name="connsiteX4" fmla="*/ 6416 w 7524"/>
                <a:gd name="connsiteY4" fmla="*/ 6435 h 75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524" h="7560">
                  <a:moveTo>
                    <a:pt x="6416" y="6435"/>
                  </a:moveTo>
                  <a:cubicBezTo>
                    <a:pt x="4964" y="7936"/>
                    <a:pt x="2542" y="7936"/>
                    <a:pt x="1090" y="6435"/>
                  </a:cubicBezTo>
                  <a:cubicBezTo>
                    <a:pt x="-363" y="4982"/>
                    <a:pt x="-363" y="2561"/>
                    <a:pt x="1090" y="1108"/>
                  </a:cubicBezTo>
                  <a:cubicBezTo>
                    <a:pt x="2542" y="-393"/>
                    <a:pt x="4964" y="-345"/>
                    <a:pt x="6416" y="1108"/>
                  </a:cubicBezTo>
                  <a:cubicBezTo>
                    <a:pt x="7918" y="2609"/>
                    <a:pt x="7869" y="4982"/>
                    <a:pt x="6416" y="6435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52" name="Forma livre: Forma 1051">
              <a:extLst>
                <a:ext uri="{FF2B5EF4-FFF2-40B4-BE49-F238E27FC236}">
                  <a16:creationId xmlns:a16="http://schemas.microsoft.com/office/drawing/2014/main" id="{E4BFE975-1B35-FB4F-4CE5-A3B1820031DE}"/>
                </a:ext>
              </a:extLst>
            </p:cNvPr>
            <p:cNvSpPr/>
            <p:nvPr/>
          </p:nvSpPr>
          <p:spPr>
            <a:xfrm>
              <a:off x="11491441" y="2305908"/>
              <a:ext cx="7524" cy="7560"/>
            </a:xfrm>
            <a:custGeom>
              <a:avLst/>
              <a:gdLst>
                <a:gd name="connsiteX0" fmla="*/ 6416 w 7524"/>
                <a:gd name="connsiteY0" fmla="*/ 6435 h 7560"/>
                <a:gd name="connsiteX1" fmla="*/ 1090 w 7524"/>
                <a:gd name="connsiteY1" fmla="*/ 6435 h 7560"/>
                <a:gd name="connsiteX2" fmla="*/ 1090 w 7524"/>
                <a:gd name="connsiteY2" fmla="*/ 1108 h 7560"/>
                <a:gd name="connsiteX3" fmla="*/ 6416 w 7524"/>
                <a:gd name="connsiteY3" fmla="*/ 1108 h 7560"/>
                <a:gd name="connsiteX4" fmla="*/ 6416 w 7524"/>
                <a:gd name="connsiteY4" fmla="*/ 6435 h 75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524" h="7560">
                  <a:moveTo>
                    <a:pt x="6416" y="6435"/>
                  </a:moveTo>
                  <a:cubicBezTo>
                    <a:pt x="4964" y="7936"/>
                    <a:pt x="2542" y="7936"/>
                    <a:pt x="1090" y="6435"/>
                  </a:cubicBezTo>
                  <a:cubicBezTo>
                    <a:pt x="-363" y="4982"/>
                    <a:pt x="-363" y="2561"/>
                    <a:pt x="1090" y="1108"/>
                  </a:cubicBezTo>
                  <a:cubicBezTo>
                    <a:pt x="2542" y="-393"/>
                    <a:pt x="4964" y="-345"/>
                    <a:pt x="6416" y="1108"/>
                  </a:cubicBezTo>
                  <a:cubicBezTo>
                    <a:pt x="7918" y="2609"/>
                    <a:pt x="7869" y="4982"/>
                    <a:pt x="6416" y="6435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053" name="Gráfico 11">
            <a:extLst>
              <a:ext uri="{FF2B5EF4-FFF2-40B4-BE49-F238E27FC236}">
                <a16:creationId xmlns:a16="http://schemas.microsoft.com/office/drawing/2014/main" id="{966213D2-5DC3-C2D5-4035-556681BAA625}"/>
              </a:ext>
            </a:extLst>
          </p:cNvPr>
          <p:cNvGrpSpPr/>
          <p:nvPr/>
        </p:nvGrpSpPr>
        <p:grpSpPr>
          <a:xfrm>
            <a:off x="10625169" y="2057784"/>
            <a:ext cx="291895" cy="277754"/>
            <a:chOff x="10625169" y="2057784"/>
            <a:chExt cx="291895" cy="277754"/>
          </a:xfrm>
          <a:noFill/>
        </p:grpSpPr>
        <p:sp>
          <p:nvSpPr>
            <p:cNvPr id="1054" name="Forma livre: Forma 1053">
              <a:extLst>
                <a:ext uri="{FF2B5EF4-FFF2-40B4-BE49-F238E27FC236}">
                  <a16:creationId xmlns:a16="http://schemas.microsoft.com/office/drawing/2014/main" id="{70F1F727-437D-7422-4713-9765403BB0F1}"/>
                </a:ext>
              </a:extLst>
            </p:cNvPr>
            <p:cNvSpPr/>
            <p:nvPr/>
          </p:nvSpPr>
          <p:spPr>
            <a:xfrm>
              <a:off x="10809285" y="2057784"/>
              <a:ext cx="107778" cy="87536"/>
            </a:xfrm>
            <a:custGeom>
              <a:avLst/>
              <a:gdLst>
                <a:gd name="connsiteX0" fmla="*/ 55642 w 107778"/>
                <a:gd name="connsiteY0" fmla="*/ 87101 h 87536"/>
                <a:gd name="connsiteX1" fmla="*/ 80823 w 107778"/>
                <a:gd name="connsiteY1" fmla="*/ 55140 h 87536"/>
                <a:gd name="connsiteX2" fmla="*/ 101114 w 107778"/>
                <a:gd name="connsiteY2" fmla="*/ 45600 h 87536"/>
                <a:gd name="connsiteX3" fmla="*/ 98160 w 107778"/>
                <a:gd name="connsiteY3" fmla="*/ 6665 h 87536"/>
                <a:gd name="connsiteX4" fmla="*/ 59225 w 107778"/>
                <a:gd name="connsiteY4" fmla="*/ 9619 h 87536"/>
                <a:gd name="connsiteX5" fmla="*/ 52784 w 107778"/>
                <a:gd name="connsiteY5" fmla="*/ 30975 h 87536"/>
                <a:gd name="connsiteX6" fmla="*/ 0 w 107778"/>
                <a:gd name="connsiteY6" fmla="*/ 87537 h 875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7778" h="87536">
                  <a:moveTo>
                    <a:pt x="55642" y="87101"/>
                  </a:moveTo>
                  <a:lnTo>
                    <a:pt x="80823" y="55140"/>
                  </a:lnTo>
                  <a:cubicBezTo>
                    <a:pt x="88378" y="54946"/>
                    <a:pt x="95787" y="51750"/>
                    <a:pt x="101114" y="45600"/>
                  </a:cubicBezTo>
                  <a:cubicBezTo>
                    <a:pt x="111041" y="34026"/>
                    <a:pt x="109734" y="16592"/>
                    <a:pt x="98160" y="6665"/>
                  </a:cubicBezTo>
                  <a:cubicBezTo>
                    <a:pt x="86586" y="-3262"/>
                    <a:pt x="69153" y="-1955"/>
                    <a:pt x="59225" y="9619"/>
                  </a:cubicBezTo>
                  <a:cubicBezTo>
                    <a:pt x="53947" y="15721"/>
                    <a:pt x="51864" y="23517"/>
                    <a:pt x="52784" y="30975"/>
                  </a:cubicBezTo>
                  <a:lnTo>
                    <a:pt x="0" y="87537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55" name="Forma livre: Forma 1054">
              <a:extLst>
                <a:ext uri="{FF2B5EF4-FFF2-40B4-BE49-F238E27FC236}">
                  <a16:creationId xmlns:a16="http://schemas.microsoft.com/office/drawing/2014/main" id="{219248DB-42AF-A075-1CAE-BAA0960D7AD0}"/>
                </a:ext>
              </a:extLst>
            </p:cNvPr>
            <p:cNvSpPr/>
            <p:nvPr/>
          </p:nvSpPr>
          <p:spPr>
            <a:xfrm>
              <a:off x="10647736" y="2198250"/>
              <a:ext cx="238692" cy="137288"/>
            </a:xfrm>
            <a:custGeom>
              <a:avLst/>
              <a:gdLst>
                <a:gd name="connsiteX0" fmla="*/ 0 w 238692"/>
                <a:gd name="connsiteY0" fmla="*/ 0 h 137288"/>
                <a:gd name="connsiteX1" fmla="*/ 68717 w 238692"/>
                <a:gd name="connsiteY1" fmla="*/ 106828 h 137288"/>
                <a:gd name="connsiteX2" fmla="*/ 30363 w 238692"/>
                <a:gd name="connsiteY2" fmla="*/ 137288 h 137288"/>
                <a:gd name="connsiteX3" fmla="*/ 208329 w 238692"/>
                <a:gd name="connsiteY3" fmla="*/ 137288 h 137288"/>
                <a:gd name="connsiteX4" fmla="*/ 169927 w 238692"/>
                <a:gd name="connsiteY4" fmla="*/ 106828 h 137288"/>
                <a:gd name="connsiteX5" fmla="*/ 238693 w 238692"/>
                <a:gd name="connsiteY5" fmla="*/ 0 h 1372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38692" h="137288">
                  <a:moveTo>
                    <a:pt x="0" y="0"/>
                  </a:moveTo>
                  <a:cubicBezTo>
                    <a:pt x="0" y="47797"/>
                    <a:pt x="28136" y="87797"/>
                    <a:pt x="68717" y="106828"/>
                  </a:cubicBezTo>
                  <a:cubicBezTo>
                    <a:pt x="54044" y="113705"/>
                    <a:pt x="41017" y="125375"/>
                    <a:pt x="30363" y="137288"/>
                  </a:cubicBezTo>
                  <a:lnTo>
                    <a:pt x="208329" y="137288"/>
                  </a:lnTo>
                  <a:cubicBezTo>
                    <a:pt x="197676" y="125375"/>
                    <a:pt x="184601" y="113656"/>
                    <a:pt x="169927" y="106828"/>
                  </a:cubicBezTo>
                  <a:cubicBezTo>
                    <a:pt x="210557" y="87797"/>
                    <a:pt x="238693" y="47797"/>
                    <a:pt x="238693" y="0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56" name="Forma livre: Forma 1055">
              <a:extLst>
                <a:ext uri="{FF2B5EF4-FFF2-40B4-BE49-F238E27FC236}">
                  <a16:creationId xmlns:a16="http://schemas.microsoft.com/office/drawing/2014/main" id="{45560615-7D8E-EFD1-2294-6B1F9B44238E}"/>
                </a:ext>
              </a:extLst>
            </p:cNvPr>
            <p:cNvSpPr/>
            <p:nvPr/>
          </p:nvSpPr>
          <p:spPr>
            <a:xfrm>
              <a:off x="10625169" y="2167984"/>
              <a:ext cx="283874" cy="29200"/>
            </a:xfrm>
            <a:custGeom>
              <a:avLst/>
              <a:gdLst>
                <a:gd name="connsiteX0" fmla="*/ 43245 w 283874"/>
                <a:gd name="connsiteY0" fmla="*/ 29201 h 29200"/>
                <a:gd name="connsiteX1" fmla="*/ 16029 w 283874"/>
                <a:gd name="connsiteY1" fmla="*/ 29201 h 29200"/>
                <a:gd name="connsiteX2" fmla="*/ 0 w 283874"/>
                <a:gd name="connsiteY2" fmla="*/ 14625 h 29200"/>
                <a:gd name="connsiteX3" fmla="*/ 16029 w 283874"/>
                <a:gd name="connsiteY3" fmla="*/ 0 h 29200"/>
                <a:gd name="connsiteX4" fmla="*/ 267845 w 283874"/>
                <a:gd name="connsiteY4" fmla="*/ 0 h 29200"/>
                <a:gd name="connsiteX5" fmla="*/ 283874 w 283874"/>
                <a:gd name="connsiteY5" fmla="*/ 14625 h 29200"/>
                <a:gd name="connsiteX6" fmla="*/ 267845 w 283874"/>
                <a:gd name="connsiteY6" fmla="*/ 29201 h 29200"/>
                <a:gd name="connsiteX7" fmla="*/ 187167 w 283874"/>
                <a:gd name="connsiteY7" fmla="*/ 29201 h 29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3874" h="29200">
                  <a:moveTo>
                    <a:pt x="43245" y="29201"/>
                  </a:moveTo>
                  <a:lnTo>
                    <a:pt x="16029" y="29201"/>
                  </a:lnTo>
                  <a:cubicBezTo>
                    <a:pt x="7216" y="29201"/>
                    <a:pt x="0" y="22615"/>
                    <a:pt x="0" y="14625"/>
                  </a:cubicBezTo>
                  <a:cubicBezTo>
                    <a:pt x="0" y="6634"/>
                    <a:pt x="7216" y="0"/>
                    <a:pt x="16029" y="0"/>
                  </a:cubicBezTo>
                  <a:lnTo>
                    <a:pt x="267845" y="0"/>
                  </a:lnTo>
                  <a:cubicBezTo>
                    <a:pt x="276659" y="0"/>
                    <a:pt x="283874" y="6586"/>
                    <a:pt x="283874" y="14625"/>
                  </a:cubicBezTo>
                  <a:cubicBezTo>
                    <a:pt x="283874" y="22663"/>
                    <a:pt x="276659" y="29201"/>
                    <a:pt x="267845" y="29201"/>
                  </a:cubicBezTo>
                  <a:lnTo>
                    <a:pt x="187167" y="29201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057" name="Gráfico 11">
            <a:extLst>
              <a:ext uri="{FF2B5EF4-FFF2-40B4-BE49-F238E27FC236}">
                <a16:creationId xmlns:a16="http://schemas.microsoft.com/office/drawing/2014/main" id="{1A11D3D6-74D8-032D-6C85-964AC2253BDC}"/>
              </a:ext>
            </a:extLst>
          </p:cNvPr>
          <p:cNvGrpSpPr/>
          <p:nvPr/>
        </p:nvGrpSpPr>
        <p:grpSpPr>
          <a:xfrm>
            <a:off x="10032627" y="2579122"/>
            <a:ext cx="212542" cy="344842"/>
            <a:chOff x="10032627" y="2579122"/>
            <a:chExt cx="212542" cy="344842"/>
          </a:xfrm>
        </p:grpSpPr>
        <p:sp>
          <p:nvSpPr>
            <p:cNvPr id="1058" name="Forma livre: Forma 1057">
              <a:extLst>
                <a:ext uri="{FF2B5EF4-FFF2-40B4-BE49-F238E27FC236}">
                  <a16:creationId xmlns:a16="http://schemas.microsoft.com/office/drawing/2014/main" id="{C60A05F5-B955-4139-F152-C11097475159}"/>
                </a:ext>
              </a:extLst>
            </p:cNvPr>
            <p:cNvSpPr/>
            <p:nvPr/>
          </p:nvSpPr>
          <p:spPr>
            <a:xfrm>
              <a:off x="10049576" y="2609291"/>
              <a:ext cx="178644" cy="252639"/>
            </a:xfrm>
            <a:custGeom>
              <a:avLst/>
              <a:gdLst>
                <a:gd name="connsiteX0" fmla="*/ 242 w 178644"/>
                <a:gd name="connsiteY0" fmla="*/ 231526 h 252639"/>
                <a:gd name="connsiteX1" fmla="*/ 0 w 178644"/>
                <a:gd name="connsiteY1" fmla="*/ 224794 h 252639"/>
                <a:gd name="connsiteX2" fmla="*/ 0 w 178644"/>
                <a:gd name="connsiteY2" fmla="*/ 86489 h 252639"/>
                <a:gd name="connsiteX3" fmla="*/ 86489 w 178644"/>
                <a:gd name="connsiteY3" fmla="*/ 0 h 252639"/>
                <a:gd name="connsiteX4" fmla="*/ 92155 w 178644"/>
                <a:gd name="connsiteY4" fmla="*/ 0 h 252639"/>
                <a:gd name="connsiteX5" fmla="*/ 178644 w 178644"/>
                <a:gd name="connsiteY5" fmla="*/ 86489 h 252639"/>
                <a:gd name="connsiteX6" fmla="*/ 178644 w 178644"/>
                <a:gd name="connsiteY6" fmla="*/ 224794 h 252639"/>
                <a:gd name="connsiteX7" fmla="*/ 173995 w 178644"/>
                <a:gd name="connsiteY7" fmla="*/ 252639 h 252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8644" h="252639">
                  <a:moveTo>
                    <a:pt x="242" y="231526"/>
                  </a:moveTo>
                  <a:cubicBezTo>
                    <a:pt x="48" y="229298"/>
                    <a:pt x="0" y="227070"/>
                    <a:pt x="0" y="224794"/>
                  </a:cubicBezTo>
                  <a:lnTo>
                    <a:pt x="0" y="86489"/>
                  </a:lnTo>
                  <a:cubicBezTo>
                    <a:pt x="0" y="38935"/>
                    <a:pt x="38935" y="0"/>
                    <a:pt x="86489" y="0"/>
                  </a:cubicBezTo>
                  <a:lnTo>
                    <a:pt x="92155" y="0"/>
                  </a:lnTo>
                  <a:cubicBezTo>
                    <a:pt x="139709" y="0"/>
                    <a:pt x="178644" y="38935"/>
                    <a:pt x="178644" y="86489"/>
                  </a:cubicBezTo>
                  <a:lnTo>
                    <a:pt x="178644" y="224794"/>
                  </a:lnTo>
                  <a:cubicBezTo>
                    <a:pt x="178644" y="234528"/>
                    <a:pt x="176998" y="243874"/>
                    <a:pt x="173995" y="252639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59" name="Forma livre: Forma 1058">
              <a:extLst>
                <a:ext uri="{FF2B5EF4-FFF2-40B4-BE49-F238E27FC236}">
                  <a16:creationId xmlns:a16="http://schemas.microsoft.com/office/drawing/2014/main" id="{601764C4-7BF1-4BCA-C12B-D1E01599360C}"/>
                </a:ext>
              </a:extLst>
            </p:cNvPr>
            <p:cNvSpPr/>
            <p:nvPr/>
          </p:nvSpPr>
          <p:spPr>
            <a:xfrm>
              <a:off x="10032627" y="2863529"/>
              <a:ext cx="212542" cy="60435"/>
            </a:xfrm>
            <a:custGeom>
              <a:avLst/>
              <a:gdLst>
                <a:gd name="connsiteX0" fmla="*/ 0 w 212542"/>
                <a:gd name="connsiteY0" fmla="*/ 0 h 60435"/>
                <a:gd name="connsiteX1" fmla="*/ 212542 w 212542"/>
                <a:gd name="connsiteY1" fmla="*/ 0 h 60435"/>
                <a:gd name="connsiteX2" fmla="*/ 212542 w 212542"/>
                <a:gd name="connsiteY2" fmla="*/ 60436 h 60435"/>
                <a:gd name="connsiteX3" fmla="*/ 0 w 212542"/>
                <a:gd name="connsiteY3" fmla="*/ 60436 h 604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12542" h="60435">
                  <a:moveTo>
                    <a:pt x="0" y="0"/>
                  </a:moveTo>
                  <a:lnTo>
                    <a:pt x="212542" y="0"/>
                  </a:lnTo>
                  <a:lnTo>
                    <a:pt x="212542" y="60436"/>
                  </a:lnTo>
                  <a:lnTo>
                    <a:pt x="0" y="60436"/>
                  </a:ln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060" name="Gráfico 11">
              <a:extLst>
                <a:ext uri="{FF2B5EF4-FFF2-40B4-BE49-F238E27FC236}">
                  <a16:creationId xmlns:a16="http://schemas.microsoft.com/office/drawing/2014/main" id="{F2089E24-2C2F-15A1-BC9B-6DBA914130E9}"/>
                </a:ext>
              </a:extLst>
            </p:cNvPr>
            <p:cNvGrpSpPr/>
            <p:nvPr/>
          </p:nvGrpSpPr>
          <p:grpSpPr>
            <a:xfrm>
              <a:off x="10099987" y="2801737"/>
              <a:ext cx="91961" cy="60145"/>
              <a:chOff x="10099987" y="2801737"/>
              <a:chExt cx="91961" cy="60145"/>
            </a:xfrm>
            <a:noFill/>
          </p:grpSpPr>
          <p:sp>
            <p:nvSpPr>
              <p:cNvPr id="1061" name="Forma livre: Forma 1060">
                <a:extLst>
                  <a:ext uri="{FF2B5EF4-FFF2-40B4-BE49-F238E27FC236}">
                    <a16:creationId xmlns:a16="http://schemas.microsoft.com/office/drawing/2014/main" id="{B387D199-011A-3112-9008-2C8448E38F0E}"/>
                  </a:ext>
                </a:extLst>
              </p:cNvPr>
              <p:cNvSpPr/>
              <p:nvPr/>
            </p:nvSpPr>
            <p:spPr>
              <a:xfrm>
                <a:off x="10099987" y="2801737"/>
                <a:ext cx="70702" cy="60145"/>
              </a:xfrm>
              <a:custGeom>
                <a:avLst/>
                <a:gdLst>
                  <a:gd name="connsiteX0" fmla="*/ 0 w 70702"/>
                  <a:gd name="connsiteY0" fmla="*/ 0 h 60145"/>
                  <a:gd name="connsiteX1" fmla="*/ 70702 w 70702"/>
                  <a:gd name="connsiteY1" fmla="*/ 0 h 60145"/>
                  <a:gd name="connsiteX2" fmla="*/ 70702 w 70702"/>
                  <a:gd name="connsiteY2" fmla="*/ 30073 h 60145"/>
                  <a:gd name="connsiteX3" fmla="*/ 35351 w 70702"/>
                  <a:gd name="connsiteY3" fmla="*/ 60145 h 60145"/>
                  <a:gd name="connsiteX4" fmla="*/ 0 w 70702"/>
                  <a:gd name="connsiteY4" fmla="*/ 30073 h 60145"/>
                  <a:gd name="connsiteX5" fmla="*/ 0 w 70702"/>
                  <a:gd name="connsiteY5" fmla="*/ 0 h 601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70702" h="60145">
                    <a:moveTo>
                      <a:pt x="0" y="0"/>
                    </a:moveTo>
                    <a:lnTo>
                      <a:pt x="70702" y="0"/>
                    </a:lnTo>
                    <a:lnTo>
                      <a:pt x="70702" y="30073"/>
                    </a:lnTo>
                    <a:cubicBezTo>
                      <a:pt x="70702" y="46634"/>
                      <a:pt x="54818" y="60145"/>
                      <a:pt x="35351" y="60145"/>
                    </a:cubicBezTo>
                    <a:cubicBezTo>
                      <a:pt x="15884" y="60145"/>
                      <a:pt x="0" y="46634"/>
                      <a:pt x="0" y="30073"/>
                    </a:cubicBezTo>
                    <a:lnTo>
                      <a:pt x="0" y="0"/>
                    </a:lnTo>
                    <a:close/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062" name="Forma livre: Forma 1061">
                <a:extLst>
                  <a:ext uri="{FF2B5EF4-FFF2-40B4-BE49-F238E27FC236}">
                    <a16:creationId xmlns:a16="http://schemas.microsoft.com/office/drawing/2014/main" id="{D3CD82A6-6DF7-77F2-C2A7-5E55D59157AF}"/>
                  </a:ext>
                </a:extLst>
              </p:cNvPr>
              <p:cNvSpPr/>
              <p:nvPr/>
            </p:nvSpPr>
            <p:spPr>
              <a:xfrm>
                <a:off x="10171513" y="2818202"/>
                <a:ext cx="20435" cy="4842"/>
              </a:xfrm>
              <a:custGeom>
                <a:avLst/>
                <a:gdLst>
                  <a:gd name="connsiteX0" fmla="*/ 0 w 20435"/>
                  <a:gd name="connsiteY0" fmla="*/ 0 h 4842"/>
                  <a:gd name="connsiteX1" fmla="*/ 20436 w 20435"/>
                  <a:gd name="connsiteY1" fmla="*/ 0 h 48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0435" h="4842">
                    <a:moveTo>
                      <a:pt x="0" y="0"/>
                    </a:moveTo>
                    <a:lnTo>
                      <a:pt x="20436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063" name="Forma livre: Forma 1062">
              <a:extLst>
                <a:ext uri="{FF2B5EF4-FFF2-40B4-BE49-F238E27FC236}">
                  <a16:creationId xmlns:a16="http://schemas.microsoft.com/office/drawing/2014/main" id="{372F7018-8C6F-740B-9E87-8DB83F6C866D}"/>
                </a:ext>
              </a:extLst>
            </p:cNvPr>
            <p:cNvSpPr/>
            <p:nvPr/>
          </p:nvSpPr>
          <p:spPr>
            <a:xfrm>
              <a:off x="10096840" y="2647451"/>
              <a:ext cx="84067" cy="112058"/>
            </a:xfrm>
            <a:custGeom>
              <a:avLst/>
              <a:gdLst>
                <a:gd name="connsiteX0" fmla="*/ 84068 w 84067"/>
                <a:gd name="connsiteY0" fmla="*/ 42034 h 112058"/>
                <a:gd name="connsiteX1" fmla="*/ 42034 w 84067"/>
                <a:gd name="connsiteY1" fmla="*/ 0 h 112058"/>
                <a:gd name="connsiteX2" fmla="*/ 0 w 84067"/>
                <a:gd name="connsiteY2" fmla="*/ 42034 h 112058"/>
                <a:gd name="connsiteX3" fmla="*/ 27990 w 84067"/>
                <a:gd name="connsiteY3" fmla="*/ 81598 h 112058"/>
                <a:gd name="connsiteX4" fmla="*/ 27990 w 84067"/>
                <a:gd name="connsiteY4" fmla="*/ 112058 h 112058"/>
                <a:gd name="connsiteX5" fmla="*/ 55981 w 84067"/>
                <a:gd name="connsiteY5" fmla="*/ 112058 h 112058"/>
                <a:gd name="connsiteX6" fmla="*/ 55981 w 84067"/>
                <a:gd name="connsiteY6" fmla="*/ 81598 h 112058"/>
                <a:gd name="connsiteX7" fmla="*/ 83971 w 84067"/>
                <a:gd name="connsiteY7" fmla="*/ 42034 h 1120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4067" h="112058">
                  <a:moveTo>
                    <a:pt x="84068" y="42034"/>
                  </a:moveTo>
                  <a:cubicBezTo>
                    <a:pt x="84068" y="18838"/>
                    <a:pt x="65278" y="0"/>
                    <a:pt x="42034" y="0"/>
                  </a:cubicBezTo>
                  <a:cubicBezTo>
                    <a:pt x="18789" y="0"/>
                    <a:pt x="0" y="18789"/>
                    <a:pt x="0" y="42034"/>
                  </a:cubicBezTo>
                  <a:cubicBezTo>
                    <a:pt x="0" y="60339"/>
                    <a:pt x="11719" y="75835"/>
                    <a:pt x="27990" y="81598"/>
                  </a:cubicBezTo>
                  <a:lnTo>
                    <a:pt x="27990" y="112058"/>
                  </a:lnTo>
                  <a:lnTo>
                    <a:pt x="55981" y="112058"/>
                  </a:lnTo>
                  <a:lnTo>
                    <a:pt x="55981" y="81598"/>
                  </a:lnTo>
                  <a:cubicBezTo>
                    <a:pt x="72300" y="75835"/>
                    <a:pt x="83971" y="60339"/>
                    <a:pt x="83971" y="42034"/>
                  </a:cubicBez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64" name="Forma livre: Forma 1063">
              <a:extLst>
                <a:ext uri="{FF2B5EF4-FFF2-40B4-BE49-F238E27FC236}">
                  <a16:creationId xmlns:a16="http://schemas.microsoft.com/office/drawing/2014/main" id="{E582FE83-1BAB-DE0D-0A51-25F5B24F1C83}"/>
                </a:ext>
              </a:extLst>
            </p:cNvPr>
            <p:cNvSpPr/>
            <p:nvPr/>
          </p:nvSpPr>
          <p:spPr>
            <a:xfrm>
              <a:off x="10102748" y="2579122"/>
              <a:ext cx="72203" cy="4842"/>
            </a:xfrm>
            <a:custGeom>
              <a:avLst/>
              <a:gdLst>
                <a:gd name="connsiteX0" fmla="*/ 0 w 72203"/>
                <a:gd name="connsiteY0" fmla="*/ 4843 h 4842"/>
                <a:gd name="connsiteX1" fmla="*/ 33269 w 72203"/>
                <a:gd name="connsiteY1" fmla="*/ 0 h 4842"/>
                <a:gd name="connsiteX2" fmla="*/ 38935 w 72203"/>
                <a:gd name="connsiteY2" fmla="*/ 0 h 4842"/>
                <a:gd name="connsiteX3" fmla="*/ 72203 w 72203"/>
                <a:gd name="connsiteY3" fmla="*/ 4843 h 48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2203" h="4842">
                  <a:moveTo>
                    <a:pt x="0" y="4843"/>
                  </a:moveTo>
                  <a:cubicBezTo>
                    <a:pt x="10557" y="1695"/>
                    <a:pt x="21743" y="0"/>
                    <a:pt x="33269" y="0"/>
                  </a:cubicBezTo>
                  <a:lnTo>
                    <a:pt x="38935" y="0"/>
                  </a:lnTo>
                  <a:cubicBezTo>
                    <a:pt x="50509" y="0"/>
                    <a:pt x="61647" y="1695"/>
                    <a:pt x="72203" y="4843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65" name="Forma livre: Forma 1064">
              <a:extLst>
                <a:ext uri="{FF2B5EF4-FFF2-40B4-BE49-F238E27FC236}">
                  <a16:creationId xmlns:a16="http://schemas.microsoft.com/office/drawing/2014/main" id="{E4BC1728-4EE9-5E8A-B921-59AADF27D090}"/>
                </a:ext>
              </a:extLst>
            </p:cNvPr>
            <p:cNvSpPr/>
            <p:nvPr/>
          </p:nvSpPr>
          <p:spPr>
            <a:xfrm>
              <a:off x="10187009" y="2743093"/>
              <a:ext cx="7554" cy="7554"/>
            </a:xfrm>
            <a:custGeom>
              <a:avLst/>
              <a:gdLst>
                <a:gd name="connsiteX0" fmla="*/ 7554 w 7554"/>
                <a:gd name="connsiteY0" fmla="*/ 3777 h 7554"/>
                <a:gd name="connsiteX1" fmla="*/ 3777 w 7554"/>
                <a:gd name="connsiteY1" fmla="*/ 7554 h 7554"/>
                <a:gd name="connsiteX2" fmla="*/ 0 w 7554"/>
                <a:gd name="connsiteY2" fmla="*/ 3777 h 7554"/>
                <a:gd name="connsiteX3" fmla="*/ 3777 w 7554"/>
                <a:gd name="connsiteY3" fmla="*/ 0 h 7554"/>
                <a:gd name="connsiteX4" fmla="*/ 7554 w 7554"/>
                <a:gd name="connsiteY4" fmla="*/ 3777 h 75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554" h="7554">
                  <a:moveTo>
                    <a:pt x="7554" y="3777"/>
                  </a:moveTo>
                  <a:cubicBezTo>
                    <a:pt x="7554" y="5860"/>
                    <a:pt x="5860" y="7554"/>
                    <a:pt x="3777" y="7554"/>
                  </a:cubicBezTo>
                  <a:cubicBezTo>
                    <a:pt x="1695" y="7554"/>
                    <a:pt x="0" y="5860"/>
                    <a:pt x="0" y="3777"/>
                  </a:cubicBezTo>
                  <a:cubicBezTo>
                    <a:pt x="0" y="1695"/>
                    <a:pt x="1695" y="0"/>
                    <a:pt x="3777" y="0"/>
                  </a:cubicBezTo>
                  <a:cubicBezTo>
                    <a:pt x="5860" y="0"/>
                    <a:pt x="7554" y="1695"/>
                    <a:pt x="7554" y="3777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066" name="Gráfico 11">
            <a:extLst>
              <a:ext uri="{FF2B5EF4-FFF2-40B4-BE49-F238E27FC236}">
                <a16:creationId xmlns:a16="http://schemas.microsoft.com/office/drawing/2014/main" id="{448FBEC9-98C8-6EEE-A9D4-23D8E3E8959D}"/>
              </a:ext>
            </a:extLst>
          </p:cNvPr>
          <p:cNvGrpSpPr/>
          <p:nvPr/>
        </p:nvGrpSpPr>
        <p:grpSpPr>
          <a:xfrm>
            <a:off x="11243862" y="2600139"/>
            <a:ext cx="318983" cy="302711"/>
            <a:chOff x="11243862" y="2600139"/>
            <a:chExt cx="318983" cy="302711"/>
          </a:xfrm>
          <a:noFill/>
        </p:grpSpPr>
        <p:sp>
          <p:nvSpPr>
            <p:cNvPr id="1067" name="Forma livre: Forma 1066">
              <a:extLst>
                <a:ext uri="{FF2B5EF4-FFF2-40B4-BE49-F238E27FC236}">
                  <a16:creationId xmlns:a16="http://schemas.microsoft.com/office/drawing/2014/main" id="{37818518-0F8F-799C-FD6C-C0644F6AD7D7}"/>
                </a:ext>
              </a:extLst>
            </p:cNvPr>
            <p:cNvSpPr/>
            <p:nvPr/>
          </p:nvSpPr>
          <p:spPr>
            <a:xfrm>
              <a:off x="11272648" y="2817476"/>
              <a:ext cx="259764" cy="64503"/>
            </a:xfrm>
            <a:custGeom>
              <a:avLst/>
              <a:gdLst>
                <a:gd name="connsiteX0" fmla="*/ 259737 w 259764"/>
                <a:gd name="connsiteY0" fmla="*/ 57675 h 64503"/>
                <a:gd name="connsiteX1" fmla="*/ 253490 w 259764"/>
                <a:gd name="connsiteY1" fmla="*/ 64504 h 64503"/>
                <a:gd name="connsiteX2" fmla="*/ 6275 w 259764"/>
                <a:gd name="connsiteY2" fmla="*/ 64504 h 64503"/>
                <a:gd name="connsiteX3" fmla="*/ 28 w 259764"/>
                <a:gd name="connsiteY3" fmla="*/ 57675 h 64503"/>
                <a:gd name="connsiteX4" fmla="*/ 4628 w 259764"/>
                <a:gd name="connsiteY4" fmla="*/ 6828 h 64503"/>
                <a:gd name="connsiteX5" fmla="*/ 12086 w 259764"/>
                <a:gd name="connsiteY5" fmla="*/ 0 h 64503"/>
                <a:gd name="connsiteX6" fmla="*/ 247776 w 259764"/>
                <a:gd name="connsiteY6" fmla="*/ 0 h 64503"/>
                <a:gd name="connsiteX7" fmla="*/ 255234 w 259764"/>
                <a:gd name="connsiteY7" fmla="*/ 6828 h 64503"/>
                <a:gd name="connsiteX8" fmla="*/ 259737 w 259764"/>
                <a:gd name="connsiteY8" fmla="*/ 57675 h 64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59764" h="64503">
                  <a:moveTo>
                    <a:pt x="259737" y="57675"/>
                  </a:moveTo>
                  <a:cubicBezTo>
                    <a:pt x="260076" y="61453"/>
                    <a:pt x="257267" y="64504"/>
                    <a:pt x="253490" y="64504"/>
                  </a:cubicBezTo>
                  <a:lnTo>
                    <a:pt x="6275" y="64504"/>
                  </a:lnTo>
                  <a:cubicBezTo>
                    <a:pt x="2497" y="64504"/>
                    <a:pt x="-311" y="61404"/>
                    <a:pt x="28" y="57675"/>
                  </a:cubicBezTo>
                  <a:lnTo>
                    <a:pt x="4628" y="6828"/>
                  </a:lnTo>
                  <a:cubicBezTo>
                    <a:pt x="4967" y="3051"/>
                    <a:pt x="8357" y="0"/>
                    <a:pt x="12086" y="0"/>
                  </a:cubicBezTo>
                  <a:lnTo>
                    <a:pt x="247776" y="0"/>
                  </a:lnTo>
                  <a:cubicBezTo>
                    <a:pt x="251553" y="0"/>
                    <a:pt x="254895" y="3099"/>
                    <a:pt x="255234" y="6828"/>
                  </a:cubicBezTo>
                  <a:lnTo>
                    <a:pt x="259737" y="57675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bevel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68" name="Forma livre: Forma 1067">
              <a:extLst>
                <a:ext uri="{FF2B5EF4-FFF2-40B4-BE49-F238E27FC236}">
                  <a16:creationId xmlns:a16="http://schemas.microsoft.com/office/drawing/2014/main" id="{BE436C98-4103-9FB9-D6AD-7FB667AF22CE}"/>
                </a:ext>
              </a:extLst>
            </p:cNvPr>
            <p:cNvSpPr/>
            <p:nvPr/>
          </p:nvSpPr>
          <p:spPr>
            <a:xfrm>
              <a:off x="11243862" y="2786677"/>
              <a:ext cx="69007" cy="4842"/>
            </a:xfrm>
            <a:custGeom>
              <a:avLst/>
              <a:gdLst>
                <a:gd name="connsiteX0" fmla="*/ 69007 w 69007"/>
                <a:gd name="connsiteY0" fmla="*/ 0 h 4842"/>
                <a:gd name="connsiteX1" fmla="*/ 0 w 69007"/>
                <a:gd name="connsiteY1" fmla="*/ 0 h 48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9007" h="4842">
                  <a:moveTo>
                    <a:pt x="69007" y="0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69" name="Forma livre: Forma 1068">
              <a:extLst>
                <a:ext uri="{FF2B5EF4-FFF2-40B4-BE49-F238E27FC236}">
                  <a16:creationId xmlns:a16="http://schemas.microsoft.com/office/drawing/2014/main" id="{A38BC9FA-EC27-6A27-6549-3A78810BA999}"/>
                </a:ext>
              </a:extLst>
            </p:cNvPr>
            <p:cNvSpPr/>
            <p:nvPr/>
          </p:nvSpPr>
          <p:spPr>
            <a:xfrm>
              <a:off x="11447058" y="2786677"/>
              <a:ext cx="115786" cy="4842"/>
            </a:xfrm>
            <a:custGeom>
              <a:avLst/>
              <a:gdLst>
                <a:gd name="connsiteX0" fmla="*/ 115787 w 115786"/>
                <a:gd name="connsiteY0" fmla="*/ 0 h 4842"/>
                <a:gd name="connsiteX1" fmla="*/ 0 w 115786"/>
                <a:gd name="connsiteY1" fmla="*/ 0 h 48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5786" h="4842">
                  <a:moveTo>
                    <a:pt x="115787" y="0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070" name="Gráfico 11">
              <a:extLst>
                <a:ext uri="{FF2B5EF4-FFF2-40B4-BE49-F238E27FC236}">
                  <a16:creationId xmlns:a16="http://schemas.microsoft.com/office/drawing/2014/main" id="{76E5C63C-004E-8655-3F42-D3B1B9B7543D}"/>
                </a:ext>
              </a:extLst>
            </p:cNvPr>
            <p:cNvGrpSpPr/>
            <p:nvPr/>
          </p:nvGrpSpPr>
          <p:grpSpPr>
            <a:xfrm>
              <a:off x="11295484" y="2883142"/>
              <a:ext cx="214092" cy="19709"/>
              <a:chOff x="11295484" y="2883142"/>
              <a:chExt cx="214092" cy="19709"/>
            </a:xfrm>
          </p:grpSpPr>
          <p:sp>
            <p:nvSpPr>
              <p:cNvPr id="1071" name="Forma livre: Forma 1070">
                <a:extLst>
                  <a:ext uri="{FF2B5EF4-FFF2-40B4-BE49-F238E27FC236}">
                    <a16:creationId xmlns:a16="http://schemas.microsoft.com/office/drawing/2014/main" id="{1C51641C-05FC-7F1B-C39F-A9A50ADA159D}"/>
                  </a:ext>
                </a:extLst>
              </p:cNvPr>
              <p:cNvSpPr/>
              <p:nvPr/>
            </p:nvSpPr>
            <p:spPr>
              <a:xfrm>
                <a:off x="11295484" y="2883142"/>
                <a:ext cx="4842" cy="19709"/>
              </a:xfrm>
              <a:custGeom>
                <a:avLst/>
                <a:gdLst>
                  <a:gd name="connsiteX0" fmla="*/ 0 w 4842"/>
                  <a:gd name="connsiteY0" fmla="*/ 0 h 19709"/>
                  <a:gd name="connsiteX1" fmla="*/ 0 w 4842"/>
                  <a:gd name="connsiteY1" fmla="*/ 19709 h 197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842" h="19709">
                    <a:moveTo>
                      <a:pt x="0" y="0"/>
                    </a:moveTo>
                    <a:lnTo>
                      <a:pt x="0" y="19709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072" name="Forma livre: Forma 1071">
                <a:extLst>
                  <a:ext uri="{FF2B5EF4-FFF2-40B4-BE49-F238E27FC236}">
                    <a16:creationId xmlns:a16="http://schemas.microsoft.com/office/drawing/2014/main" id="{3CDBE611-5264-D328-1FBF-AF62DA058C68}"/>
                  </a:ext>
                </a:extLst>
              </p:cNvPr>
              <p:cNvSpPr/>
              <p:nvPr/>
            </p:nvSpPr>
            <p:spPr>
              <a:xfrm>
                <a:off x="11509576" y="2883142"/>
                <a:ext cx="4842" cy="19709"/>
              </a:xfrm>
              <a:custGeom>
                <a:avLst/>
                <a:gdLst>
                  <a:gd name="connsiteX0" fmla="*/ 0 w 4842"/>
                  <a:gd name="connsiteY0" fmla="*/ 0 h 19709"/>
                  <a:gd name="connsiteX1" fmla="*/ 0 w 4842"/>
                  <a:gd name="connsiteY1" fmla="*/ 19709 h 197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842" h="19709">
                    <a:moveTo>
                      <a:pt x="0" y="0"/>
                    </a:moveTo>
                    <a:lnTo>
                      <a:pt x="0" y="19709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073" name="Forma livre: Forma 1072">
              <a:extLst>
                <a:ext uri="{FF2B5EF4-FFF2-40B4-BE49-F238E27FC236}">
                  <a16:creationId xmlns:a16="http://schemas.microsoft.com/office/drawing/2014/main" id="{E6C8631A-8BDD-BF28-8B84-8A1D35C263F5}"/>
                </a:ext>
              </a:extLst>
            </p:cNvPr>
            <p:cNvSpPr/>
            <p:nvPr/>
          </p:nvSpPr>
          <p:spPr>
            <a:xfrm>
              <a:off x="11287591" y="2600139"/>
              <a:ext cx="184455" cy="216561"/>
            </a:xfrm>
            <a:custGeom>
              <a:avLst/>
              <a:gdLst>
                <a:gd name="connsiteX0" fmla="*/ 55496 w 184455"/>
                <a:gd name="connsiteY0" fmla="*/ 193898 h 216561"/>
                <a:gd name="connsiteX1" fmla="*/ 55496 w 184455"/>
                <a:gd name="connsiteY1" fmla="*/ 164601 h 216561"/>
                <a:gd name="connsiteX2" fmla="*/ 0 w 184455"/>
                <a:gd name="connsiteY2" fmla="*/ 19225 h 216561"/>
                <a:gd name="connsiteX3" fmla="*/ 92542 w 184455"/>
                <a:gd name="connsiteY3" fmla="*/ 0 h 216561"/>
                <a:gd name="connsiteX4" fmla="*/ 184455 w 184455"/>
                <a:gd name="connsiteY4" fmla="*/ 18935 h 216561"/>
                <a:gd name="connsiteX5" fmla="*/ 129588 w 184455"/>
                <a:gd name="connsiteY5" fmla="*/ 164601 h 216561"/>
                <a:gd name="connsiteX6" fmla="*/ 129588 w 184455"/>
                <a:gd name="connsiteY6" fmla="*/ 216562 h 2165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84455" h="216561">
                  <a:moveTo>
                    <a:pt x="55496" y="193898"/>
                  </a:moveTo>
                  <a:lnTo>
                    <a:pt x="55496" y="164601"/>
                  </a:lnTo>
                  <a:lnTo>
                    <a:pt x="0" y="19225"/>
                  </a:lnTo>
                  <a:cubicBezTo>
                    <a:pt x="28329" y="6876"/>
                    <a:pt x="59613" y="0"/>
                    <a:pt x="92542" y="0"/>
                  </a:cubicBezTo>
                  <a:cubicBezTo>
                    <a:pt x="125472" y="0"/>
                    <a:pt x="156271" y="6731"/>
                    <a:pt x="184455" y="18935"/>
                  </a:cubicBezTo>
                  <a:lnTo>
                    <a:pt x="129588" y="164601"/>
                  </a:lnTo>
                  <a:lnTo>
                    <a:pt x="129588" y="216562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74" name="Forma livre: Forma 1073">
              <a:extLst>
                <a:ext uri="{FF2B5EF4-FFF2-40B4-BE49-F238E27FC236}">
                  <a16:creationId xmlns:a16="http://schemas.microsoft.com/office/drawing/2014/main" id="{C788D6BC-9C22-E647-3E6B-DDF7D53EDBA3}"/>
                </a:ext>
              </a:extLst>
            </p:cNvPr>
            <p:cNvSpPr/>
            <p:nvPr/>
          </p:nvSpPr>
          <p:spPr>
            <a:xfrm>
              <a:off x="11330351" y="2633795"/>
              <a:ext cx="98934" cy="49104"/>
            </a:xfrm>
            <a:custGeom>
              <a:avLst/>
              <a:gdLst>
                <a:gd name="connsiteX0" fmla="*/ 14383 w 98934"/>
                <a:gd name="connsiteY0" fmla="*/ 49007 h 49104"/>
                <a:gd name="connsiteX1" fmla="*/ 0 w 98934"/>
                <a:gd name="connsiteY1" fmla="*/ 7458 h 49104"/>
                <a:gd name="connsiteX2" fmla="*/ 51768 w 98934"/>
                <a:gd name="connsiteY2" fmla="*/ 0 h 49104"/>
                <a:gd name="connsiteX3" fmla="*/ 98935 w 98934"/>
                <a:gd name="connsiteY3" fmla="*/ 7312 h 49104"/>
                <a:gd name="connsiteX4" fmla="*/ 84407 w 98934"/>
                <a:gd name="connsiteY4" fmla="*/ 49104 h 49104"/>
                <a:gd name="connsiteX5" fmla="*/ 42276 w 98934"/>
                <a:gd name="connsiteY5" fmla="*/ 45521 h 49104"/>
                <a:gd name="connsiteX6" fmla="*/ 38450 w 98934"/>
                <a:gd name="connsiteY6" fmla="*/ 26392 h 491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98934" h="49104">
                  <a:moveTo>
                    <a:pt x="14383" y="49007"/>
                  </a:moveTo>
                  <a:lnTo>
                    <a:pt x="0" y="7458"/>
                  </a:lnTo>
                  <a:cubicBezTo>
                    <a:pt x="16368" y="2470"/>
                    <a:pt x="33269" y="0"/>
                    <a:pt x="51768" y="0"/>
                  </a:cubicBezTo>
                  <a:cubicBezTo>
                    <a:pt x="67797" y="0"/>
                    <a:pt x="84455" y="3535"/>
                    <a:pt x="98935" y="7312"/>
                  </a:cubicBezTo>
                  <a:lnTo>
                    <a:pt x="84407" y="49104"/>
                  </a:lnTo>
                  <a:cubicBezTo>
                    <a:pt x="73075" y="46392"/>
                    <a:pt x="56755" y="45182"/>
                    <a:pt x="42276" y="45521"/>
                  </a:cubicBezTo>
                  <a:lnTo>
                    <a:pt x="38450" y="26392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075" name="Gráfico 11">
            <a:extLst>
              <a:ext uri="{FF2B5EF4-FFF2-40B4-BE49-F238E27FC236}">
                <a16:creationId xmlns:a16="http://schemas.microsoft.com/office/drawing/2014/main" id="{A1315D32-2950-3DC1-AAA2-207F6C37B678}"/>
              </a:ext>
            </a:extLst>
          </p:cNvPr>
          <p:cNvGrpSpPr/>
          <p:nvPr/>
        </p:nvGrpSpPr>
        <p:grpSpPr>
          <a:xfrm>
            <a:off x="10672385" y="2569921"/>
            <a:ext cx="197481" cy="363196"/>
            <a:chOff x="10672385" y="2569921"/>
            <a:chExt cx="197481" cy="363196"/>
          </a:xfrm>
        </p:grpSpPr>
        <p:sp>
          <p:nvSpPr>
            <p:cNvPr id="1076" name="Forma livre: Forma 1075">
              <a:extLst>
                <a:ext uri="{FF2B5EF4-FFF2-40B4-BE49-F238E27FC236}">
                  <a16:creationId xmlns:a16="http://schemas.microsoft.com/office/drawing/2014/main" id="{CB5650AE-D5E5-41B9-B722-EC88B4B20BD7}"/>
                </a:ext>
              </a:extLst>
            </p:cNvPr>
            <p:cNvSpPr/>
            <p:nvPr/>
          </p:nvSpPr>
          <p:spPr>
            <a:xfrm>
              <a:off x="10709576" y="2882754"/>
              <a:ext cx="123050" cy="47263"/>
            </a:xfrm>
            <a:custGeom>
              <a:avLst/>
              <a:gdLst>
                <a:gd name="connsiteX0" fmla="*/ 0 w 123050"/>
                <a:gd name="connsiteY0" fmla="*/ 0 h 47263"/>
                <a:gd name="connsiteX1" fmla="*/ 123051 w 123050"/>
                <a:gd name="connsiteY1" fmla="*/ 0 h 47263"/>
                <a:gd name="connsiteX2" fmla="*/ 123051 w 123050"/>
                <a:gd name="connsiteY2" fmla="*/ 47264 h 47263"/>
                <a:gd name="connsiteX3" fmla="*/ 0 w 123050"/>
                <a:gd name="connsiteY3" fmla="*/ 47264 h 472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3050" h="47263">
                  <a:moveTo>
                    <a:pt x="0" y="0"/>
                  </a:moveTo>
                  <a:lnTo>
                    <a:pt x="123051" y="0"/>
                  </a:lnTo>
                  <a:lnTo>
                    <a:pt x="123051" y="47264"/>
                  </a:lnTo>
                  <a:lnTo>
                    <a:pt x="0" y="47264"/>
                  </a:ln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77" name="Forma livre: Forma 1076">
              <a:extLst>
                <a:ext uri="{FF2B5EF4-FFF2-40B4-BE49-F238E27FC236}">
                  <a16:creationId xmlns:a16="http://schemas.microsoft.com/office/drawing/2014/main" id="{1030DAB3-2760-202F-4542-53B35EC88925}"/>
                </a:ext>
              </a:extLst>
            </p:cNvPr>
            <p:cNvSpPr/>
            <p:nvPr/>
          </p:nvSpPr>
          <p:spPr>
            <a:xfrm>
              <a:off x="10754419" y="2750987"/>
              <a:ext cx="30508" cy="102179"/>
            </a:xfrm>
            <a:custGeom>
              <a:avLst/>
              <a:gdLst>
                <a:gd name="connsiteX0" fmla="*/ 0 w 30508"/>
                <a:gd name="connsiteY0" fmla="*/ 0 h 102179"/>
                <a:gd name="connsiteX1" fmla="*/ 30363 w 30508"/>
                <a:gd name="connsiteY1" fmla="*/ 18111 h 102179"/>
                <a:gd name="connsiteX2" fmla="*/ 1646 w 30508"/>
                <a:gd name="connsiteY2" fmla="*/ 34479 h 102179"/>
                <a:gd name="connsiteX3" fmla="*/ 30508 w 30508"/>
                <a:gd name="connsiteY3" fmla="*/ 51187 h 102179"/>
                <a:gd name="connsiteX4" fmla="*/ 1646 w 30508"/>
                <a:gd name="connsiteY4" fmla="*/ 67700 h 102179"/>
                <a:gd name="connsiteX5" fmla="*/ 18257 w 30508"/>
                <a:gd name="connsiteY5" fmla="*/ 78693 h 102179"/>
                <a:gd name="connsiteX6" fmla="*/ 18257 w 30508"/>
                <a:gd name="connsiteY6" fmla="*/ 102179 h 1021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0508" h="102179">
                  <a:moveTo>
                    <a:pt x="0" y="0"/>
                  </a:moveTo>
                  <a:lnTo>
                    <a:pt x="30363" y="18111"/>
                  </a:lnTo>
                  <a:lnTo>
                    <a:pt x="1646" y="34479"/>
                  </a:lnTo>
                  <a:lnTo>
                    <a:pt x="30508" y="51187"/>
                  </a:lnTo>
                  <a:lnTo>
                    <a:pt x="1646" y="67700"/>
                  </a:lnTo>
                  <a:lnTo>
                    <a:pt x="18257" y="78693"/>
                  </a:lnTo>
                  <a:lnTo>
                    <a:pt x="18257" y="102179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078" name="Gráfico 11">
              <a:extLst>
                <a:ext uri="{FF2B5EF4-FFF2-40B4-BE49-F238E27FC236}">
                  <a16:creationId xmlns:a16="http://schemas.microsoft.com/office/drawing/2014/main" id="{2E54F3D8-7E73-B9DE-425B-3467DB7FBF28}"/>
                </a:ext>
              </a:extLst>
            </p:cNvPr>
            <p:cNvGrpSpPr/>
            <p:nvPr/>
          </p:nvGrpSpPr>
          <p:grpSpPr>
            <a:xfrm>
              <a:off x="10722942" y="2772003"/>
              <a:ext cx="96319" cy="109782"/>
              <a:chOff x="10722942" y="2772003"/>
              <a:chExt cx="96319" cy="109782"/>
            </a:xfrm>
          </p:grpSpPr>
          <p:sp>
            <p:nvSpPr>
              <p:cNvPr id="1079" name="Forma livre: Forma 1078">
                <a:extLst>
                  <a:ext uri="{FF2B5EF4-FFF2-40B4-BE49-F238E27FC236}">
                    <a16:creationId xmlns:a16="http://schemas.microsoft.com/office/drawing/2014/main" id="{CF09CD06-377A-E30F-23FF-FCB3FE8B473E}"/>
                  </a:ext>
                </a:extLst>
              </p:cNvPr>
              <p:cNvSpPr/>
              <p:nvPr/>
            </p:nvSpPr>
            <p:spPr>
              <a:xfrm>
                <a:off x="10722942" y="2772003"/>
                <a:ext cx="4842" cy="109782"/>
              </a:xfrm>
              <a:custGeom>
                <a:avLst/>
                <a:gdLst>
                  <a:gd name="connsiteX0" fmla="*/ 0 w 4842"/>
                  <a:gd name="connsiteY0" fmla="*/ 0 h 109782"/>
                  <a:gd name="connsiteX1" fmla="*/ 0 w 4842"/>
                  <a:gd name="connsiteY1" fmla="*/ 109782 h 1097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842" h="109782">
                    <a:moveTo>
                      <a:pt x="0" y="0"/>
                    </a:moveTo>
                    <a:lnTo>
                      <a:pt x="0" y="109782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080" name="Forma livre: Forma 1079">
                <a:extLst>
                  <a:ext uri="{FF2B5EF4-FFF2-40B4-BE49-F238E27FC236}">
                    <a16:creationId xmlns:a16="http://schemas.microsoft.com/office/drawing/2014/main" id="{785A0F32-A413-276F-2406-DF0E9CD7A0D0}"/>
                  </a:ext>
                </a:extLst>
              </p:cNvPr>
              <p:cNvSpPr/>
              <p:nvPr/>
            </p:nvSpPr>
            <p:spPr>
              <a:xfrm>
                <a:off x="10819261" y="2772003"/>
                <a:ext cx="4842" cy="109782"/>
              </a:xfrm>
              <a:custGeom>
                <a:avLst/>
                <a:gdLst>
                  <a:gd name="connsiteX0" fmla="*/ 0 w 4842"/>
                  <a:gd name="connsiteY0" fmla="*/ 0 h 109782"/>
                  <a:gd name="connsiteX1" fmla="*/ 0 w 4842"/>
                  <a:gd name="connsiteY1" fmla="*/ 109782 h 1097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842" h="109782">
                    <a:moveTo>
                      <a:pt x="0" y="0"/>
                    </a:moveTo>
                    <a:lnTo>
                      <a:pt x="0" y="109782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081" name="Forma livre: Forma 1080">
              <a:extLst>
                <a:ext uri="{FF2B5EF4-FFF2-40B4-BE49-F238E27FC236}">
                  <a16:creationId xmlns:a16="http://schemas.microsoft.com/office/drawing/2014/main" id="{6BA2CD39-3457-94F2-65D3-F9E90F6CA964}"/>
                </a:ext>
              </a:extLst>
            </p:cNvPr>
            <p:cNvSpPr/>
            <p:nvPr/>
          </p:nvSpPr>
          <p:spPr>
            <a:xfrm>
              <a:off x="10741537" y="2610890"/>
              <a:ext cx="59176" cy="4842"/>
            </a:xfrm>
            <a:custGeom>
              <a:avLst/>
              <a:gdLst>
                <a:gd name="connsiteX0" fmla="*/ 0 w 59176"/>
                <a:gd name="connsiteY0" fmla="*/ 0 h 4842"/>
                <a:gd name="connsiteX1" fmla="*/ 59177 w 59176"/>
                <a:gd name="connsiteY1" fmla="*/ 0 h 48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9176" h="4842">
                  <a:moveTo>
                    <a:pt x="0" y="0"/>
                  </a:moveTo>
                  <a:lnTo>
                    <a:pt x="59177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82" name="Forma livre: Forma 1081">
              <a:extLst>
                <a:ext uri="{FF2B5EF4-FFF2-40B4-BE49-F238E27FC236}">
                  <a16:creationId xmlns:a16="http://schemas.microsoft.com/office/drawing/2014/main" id="{4FC1D20E-FBF3-024C-55AD-CBBAFF84CFCB}"/>
                </a:ext>
              </a:extLst>
            </p:cNvPr>
            <p:cNvSpPr/>
            <p:nvPr/>
          </p:nvSpPr>
          <p:spPr>
            <a:xfrm>
              <a:off x="10717954" y="2569921"/>
              <a:ext cx="106343" cy="78450"/>
            </a:xfrm>
            <a:custGeom>
              <a:avLst/>
              <a:gdLst>
                <a:gd name="connsiteX0" fmla="*/ 53317 w 106343"/>
                <a:gd name="connsiteY0" fmla="*/ 0 h 78450"/>
                <a:gd name="connsiteX1" fmla="*/ 53027 w 106343"/>
                <a:gd name="connsiteY1" fmla="*/ 0 h 78450"/>
                <a:gd name="connsiteX2" fmla="*/ 0 w 106343"/>
                <a:gd name="connsiteY2" fmla="*/ 16949 h 78450"/>
                <a:gd name="connsiteX3" fmla="*/ 0 w 106343"/>
                <a:gd name="connsiteY3" fmla="*/ 58111 h 78450"/>
                <a:gd name="connsiteX4" fmla="*/ 48862 w 106343"/>
                <a:gd name="connsiteY4" fmla="*/ 78450 h 78450"/>
                <a:gd name="connsiteX5" fmla="*/ 57482 w 106343"/>
                <a:gd name="connsiteY5" fmla="*/ 78450 h 78450"/>
                <a:gd name="connsiteX6" fmla="*/ 106344 w 106343"/>
                <a:gd name="connsiteY6" fmla="*/ 58111 h 78450"/>
                <a:gd name="connsiteX7" fmla="*/ 106344 w 106343"/>
                <a:gd name="connsiteY7" fmla="*/ 16949 h 78450"/>
                <a:gd name="connsiteX8" fmla="*/ 53317 w 106343"/>
                <a:gd name="connsiteY8" fmla="*/ 0 h 78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06343" h="78450">
                  <a:moveTo>
                    <a:pt x="53317" y="0"/>
                  </a:moveTo>
                  <a:lnTo>
                    <a:pt x="53027" y="0"/>
                  </a:lnTo>
                  <a:cubicBezTo>
                    <a:pt x="10412" y="0"/>
                    <a:pt x="0" y="16949"/>
                    <a:pt x="0" y="16949"/>
                  </a:cubicBezTo>
                  <a:lnTo>
                    <a:pt x="0" y="58111"/>
                  </a:lnTo>
                  <a:lnTo>
                    <a:pt x="48862" y="78450"/>
                  </a:lnTo>
                  <a:lnTo>
                    <a:pt x="57482" y="78450"/>
                  </a:lnTo>
                  <a:lnTo>
                    <a:pt x="106344" y="58111"/>
                  </a:lnTo>
                  <a:lnTo>
                    <a:pt x="106344" y="16949"/>
                  </a:lnTo>
                  <a:cubicBezTo>
                    <a:pt x="106344" y="16949"/>
                    <a:pt x="95932" y="0"/>
                    <a:pt x="53317" y="0"/>
                  </a:cubicBez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83" name="Forma livre: Forma 1082">
              <a:extLst>
                <a:ext uri="{FF2B5EF4-FFF2-40B4-BE49-F238E27FC236}">
                  <a16:creationId xmlns:a16="http://schemas.microsoft.com/office/drawing/2014/main" id="{B02C61B8-0852-63FE-13E7-4641FCE193DB}"/>
                </a:ext>
              </a:extLst>
            </p:cNvPr>
            <p:cNvSpPr/>
            <p:nvPr/>
          </p:nvSpPr>
          <p:spPr>
            <a:xfrm>
              <a:off x="10771126" y="2649679"/>
              <a:ext cx="4842" cy="46924"/>
            </a:xfrm>
            <a:custGeom>
              <a:avLst/>
              <a:gdLst>
                <a:gd name="connsiteX0" fmla="*/ 0 w 4842"/>
                <a:gd name="connsiteY0" fmla="*/ 0 h 46924"/>
                <a:gd name="connsiteX1" fmla="*/ 0 w 4842"/>
                <a:gd name="connsiteY1" fmla="*/ 46925 h 469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842" h="46924">
                  <a:moveTo>
                    <a:pt x="0" y="0"/>
                  </a:moveTo>
                  <a:lnTo>
                    <a:pt x="0" y="46925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84" name="Forma livre: Forma 1083">
              <a:extLst>
                <a:ext uri="{FF2B5EF4-FFF2-40B4-BE49-F238E27FC236}">
                  <a16:creationId xmlns:a16="http://schemas.microsoft.com/office/drawing/2014/main" id="{B2ECC69C-45AB-11E6-F8E2-AFC869E23753}"/>
                </a:ext>
              </a:extLst>
            </p:cNvPr>
            <p:cNvSpPr/>
            <p:nvPr/>
          </p:nvSpPr>
          <p:spPr>
            <a:xfrm>
              <a:off x="10755774" y="2672778"/>
              <a:ext cx="30653" cy="4842"/>
            </a:xfrm>
            <a:custGeom>
              <a:avLst/>
              <a:gdLst>
                <a:gd name="connsiteX0" fmla="*/ 0 w 30653"/>
                <a:gd name="connsiteY0" fmla="*/ 0 h 4842"/>
                <a:gd name="connsiteX1" fmla="*/ 30654 w 30653"/>
                <a:gd name="connsiteY1" fmla="*/ 0 h 48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0653" h="4842">
                  <a:moveTo>
                    <a:pt x="0" y="0"/>
                  </a:moveTo>
                  <a:lnTo>
                    <a:pt x="30654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85" name="Forma livre: Forma 1084">
              <a:extLst>
                <a:ext uri="{FF2B5EF4-FFF2-40B4-BE49-F238E27FC236}">
                  <a16:creationId xmlns:a16="http://schemas.microsoft.com/office/drawing/2014/main" id="{96A50680-1502-536B-F78B-3116CE994DB3}"/>
                </a:ext>
              </a:extLst>
            </p:cNvPr>
            <p:cNvSpPr/>
            <p:nvPr/>
          </p:nvSpPr>
          <p:spPr>
            <a:xfrm>
              <a:off x="10672433" y="2697572"/>
              <a:ext cx="197336" cy="52832"/>
            </a:xfrm>
            <a:custGeom>
              <a:avLst/>
              <a:gdLst>
                <a:gd name="connsiteX0" fmla="*/ 197337 w 197336"/>
                <a:gd name="connsiteY0" fmla="*/ 28136 h 52832"/>
                <a:gd name="connsiteX1" fmla="*/ 169492 w 197336"/>
                <a:gd name="connsiteY1" fmla="*/ 52833 h 52832"/>
                <a:gd name="connsiteX2" fmla="*/ 27845 w 197336"/>
                <a:gd name="connsiteY2" fmla="*/ 52833 h 52832"/>
                <a:gd name="connsiteX3" fmla="*/ 0 w 197336"/>
                <a:gd name="connsiteY3" fmla="*/ 28136 h 52832"/>
                <a:gd name="connsiteX4" fmla="*/ 0 w 197336"/>
                <a:gd name="connsiteY4" fmla="*/ 24697 h 52832"/>
                <a:gd name="connsiteX5" fmla="*/ 27845 w 197336"/>
                <a:gd name="connsiteY5" fmla="*/ 0 h 52832"/>
                <a:gd name="connsiteX6" fmla="*/ 169492 w 197336"/>
                <a:gd name="connsiteY6" fmla="*/ 0 h 52832"/>
                <a:gd name="connsiteX7" fmla="*/ 197337 w 197336"/>
                <a:gd name="connsiteY7" fmla="*/ 24697 h 52832"/>
                <a:gd name="connsiteX8" fmla="*/ 197337 w 197336"/>
                <a:gd name="connsiteY8" fmla="*/ 28136 h 528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97336" h="52832">
                  <a:moveTo>
                    <a:pt x="197337" y="28136"/>
                  </a:moveTo>
                  <a:cubicBezTo>
                    <a:pt x="197337" y="41743"/>
                    <a:pt x="184794" y="52833"/>
                    <a:pt x="169492" y="52833"/>
                  </a:cubicBezTo>
                  <a:lnTo>
                    <a:pt x="27845" y="52833"/>
                  </a:lnTo>
                  <a:cubicBezTo>
                    <a:pt x="12542" y="52833"/>
                    <a:pt x="0" y="41695"/>
                    <a:pt x="0" y="28136"/>
                  </a:cubicBezTo>
                  <a:lnTo>
                    <a:pt x="0" y="24697"/>
                  </a:lnTo>
                  <a:cubicBezTo>
                    <a:pt x="0" y="11090"/>
                    <a:pt x="12542" y="0"/>
                    <a:pt x="27845" y="0"/>
                  </a:cubicBezTo>
                  <a:lnTo>
                    <a:pt x="169492" y="0"/>
                  </a:lnTo>
                  <a:cubicBezTo>
                    <a:pt x="184794" y="0"/>
                    <a:pt x="197337" y="11138"/>
                    <a:pt x="197337" y="24697"/>
                  </a:cubicBezTo>
                  <a:lnTo>
                    <a:pt x="197337" y="28136"/>
                  </a:ln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086" name="Gráfico 11">
              <a:extLst>
                <a:ext uri="{FF2B5EF4-FFF2-40B4-BE49-F238E27FC236}">
                  <a16:creationId xmlns:a16="http://schemas.microsoft.com/office/drawing/2014/main" id="{9659EECB-65DB-A1A6-EE27-B1C8E8B4E198}"/>
                </a:ext>
              </a:extLst>
            </p:cNvPr>
            <p:cNvGrpSpPr/>
            <p:nvPr/>
          </p:nvGrpSpPr>
          <p:grpSpPr>
            <a:xfrm>
              <a:off x="10672385" y="2764982"/>
              <a:ext cx="197481" cy="168135"/>
              <a:chOff x="10672385" y="2764982"/>
              <a:chExt cx="197481" cy="168135"/>
            </a:xfrm>
          </p:grpSpPr>
          <p:grpSp>
            <p:nvGrpSpPr>
              <p:cNvPr id="1087" name="Gráfico 11">
                <a:extLst>
                  <a:ext uri="{FF2B5EF4-FFF2-40B4-BE49-F238E27FC236}">
                    <a16:creationId xmlns:a16="http://schemas.microsoft.com/office/drawing/2014/main" id="{68D39638-F8C0-BF60-8B58-BC9E9DCC809D}"/>
                  </a:ext>
                </a:extLst>
              </p:cNvPr>
              <p:cNvGrpSpPr/>
              <p:nvPr/>
            </p:nvGrpSpPr>
            <p:grpSpPr>
              <a:xfrm>
                <a:off x="10672385" y="2764982"/>
                <a:ext cx="4842" cy="168135"/>
                <a:chOff x="10672385" y="2764982"/>
                <a:chExt cx="4842" cy="168135"/>
              </a:xfrm>
            </p:grpSpPr>
            <p:sp>
              <p:nvSpPr>
                <p:cNvPr id="1088" name="Forma livre: Forma 1087">
                  <a:extLst>
                    <a:ext uri="{FF2B5EF4-FFF2-40B4-BE49-F238E27FC236}">
                      <a16:creationId xmlns:a16="http://schemas.microsoft.com/office/drawing/2014/main" id="{A0566981-C509-51F0-EB5E-8E75CD541F13}"/>
                    </a:ext>
                  </a:extLst>
                </p:cNvPr>
                <p:cNvSpPr/>
                <p:nvPr/>
              </p:nvSpPr>
              <p:spPr>
                <a:xfrm>
                  <a:off x="10672385" y="2807355"/>
                  <a:ext cx="4842" cy="125762"/>
                </a:xfrm>
                <a:custGeom>
                  <a:avLst/>
                  <a:gdLst>
                    <a:gd name="connsiteX0" fmla="*/ 0 w 4842"/>
                    <a:gd name="connsiteY0" fmla="*/ 0 h 125762"/>
                    <a:gd name="connsiteX1" fmla="*/ 0 w 4842"/>
                    <a:gd name="connsiteY1" fmla="*/ 125763 h 12576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842" h="125762">
                      <a:moveTo>
                        <a:pt x="0" y="0"/>
                      </a:moveTo>
                      <a:lnTo>
                        <a:pt x="0" y="125763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089" name="Forma livre: Forma 1088">
                  <a:extLst>
                    <a:ext uri="{FF2B5EF4-FFF2-40B4-BE49-F238E27FC236}">
                      <a16:creationId xmlns:a16="http://schemas.microsoft.com/office/drawing/2014/main" id="{016E32FD-C180-607C-ACE4-3EA348677492}"/>
                    </a:ext>
                  </a:extLst>
                </p:cNvPr>
                <p:cNvSpPr/>
                <p:nvPr/>
              </p:nvSpPr>
              <p:spPr>
                <a:xfrm>
                  <a:off x="10672385" y="2764982"/>
                  <a:ext cx="4842" cy="90799"/>
                </a:xfrm>
                <a:custGeom>
                  <a:avLst/>
                  <a:gdLst>
                    <a:gd name="connsiteX0" fmla="*/ 0 w 4842"/>
                    <a:gd name="connsiteY0" fmla="*/ 0 h 90799"/>
                    <a:gd name="connsiteX1" fmla="*/ 0 w 4842"/>
                    <a:gd name="connsiteY1" fmla="*/ 90799 h 9079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842" h="90799">
                      <a:moveTo>
                        <a:pt x="0" y="0"/>
                      </a:moveTo>
                      <a:lnTo>
                        <a:pt x="0" y="90799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1090" name="Gráfico 11">
                <a:extLst>
                  <a:ext uri="{FF2B5EF4-FFF2-40B4-BE49-F238E27FC236}">
                    <a16:creationId xmlns:a16="http://schemas.microsoft.com/office/drawing/2014/main" id="{11522040-1690-0ACC-076D-83383347C43D}"/>
                  </a:ext>
                </a:extLst>
              </p:cNvPr>
              <p:cNvGrpSpPr/>
              <p:nvPr/>
            </p:nvGrpSpPr>
            <p:grpSpPr>
              <a:xfrm>
                <a:off x="10869867" y="2764982"/>
                <a:ext cx="4842" cy="168135"/>
                <a:chOff x="10869867" y="2764982"/>
                <a:chExt cx="4842" cy="168135"/>
              </a:xfrm>
            </p:grpSpPr>
            <p:sp>
              <p:nvSpPr>
                <p:cNvPr id="1091" name="Forma livre: Forma 1090">
                  <a:extLst>
                    <a:ext uri="{FF2B5EF4-FFF2-40B4-BE49-F238E27FC236}">
                      <a16:creationId xmlns:a16="http://schemas.microsoft.com/office/drawing/2014/main" id="{3FA1669C-2B9D-8C4B-76D8-884B53852CC3}"/>
                    </a:ext>
                  </a:extLst>
                </p:cNvPr>
                <p:cNvSpPr/>
                <p:nvPr/>
              </p:nvSpPr>
              <p:spPr>
                <a:xfrm>
                  <a:off x="10869867" y="2807355"/>
                  <a:ext cx="4842" cy="125762"/>
                </a:xfrm>
                <a:custGeom>
                  <a:avLst/>
                  <a:gdLst>
                    <a:gd name="connsiteX0" fmla="*/ 0 w 4842"/>
                    <a:gd name="connsiteY0" fmla="*/ 0 h 125762"/>
                    <a:gd name="connsiteX1" fmla="*/ 0 w 4842"/>
                    <a:gd name="connsiteY1" fmla="*/ 125763 h 12576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842" h="125762">
                      <a:moveTo>
                        <a:pt x="0" y="0"/>
                      </a:moveTo>
                      <a:lnTo>
                        <a:pt x="0" y="125763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092" name="Forma livre: Forma 1091">
                  <a:extLst>
                    <a:ext uri="{FF2B5EF4-FFF2-40B4-BE49-F238E27FC236}">
                      <a16:creationId xmlns:a16="http://schemas.microsoft.com/office/drawing/2014/main" id="{E1F505C2-04E9-3A56-5AB2-93EB4028C714}"/>
                    </a:ext>
                  </a:extLst>
                </p:cNvPr>
                <p:cNvSpPr/>
                <p:nvPr/>
              </p:nvSpPr>
              <p:spPr>
                <a:xfrm>
                  <a:off x="10869867" y="2764982"/>
                  <a:ext cx="4842" cy="90799"/>
                </a:xfrm>
                <a:custGeom>
                  <a:avLst/>
                  <a:gdLst>
                    <a:gd name="connsiteX0" fmla="*/ 0 w 4842"/>
                    <a:gd name="connsiteY0" fmla="*/ 0 h 90799"/>
                    <a:gd name="connsiteX1" fmla="*/ 0 w 4842"/>
                    <a:gd name="connsiteY1" fmla="*/ 90799 h 9079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842" h="90799">
                      <a:moveTo>
                        <a:pt x="0" y="0"/>
                      </a:moveTo>
                      <a:lnTo>
                        <a:pt x="0" y="90799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grpSp>
          <p:nvGrpSpPr>
            <p:cNvPr id="1093" name="Gráfico 11">
              <a:extLst>
                <a:ext uri="{FF2B5EF4-FFF2-40B4-BE49-F238E27FC236}">
                  <a16:creationId xmlns:a16="http://schemas.microsoft.com/office/drawing/2014/main" id="{650BF42E-62DE-01A6-D67F-EFF752279CD8}"/>
                </a:ext>
              </a:extLst>
            </p:cNvPr>
            <p:cNvGrpSpPr/>
            <p:nvPr/>
          </p:nvGrpSpPr>
          <p:grpSpPr>
            <a:xfrm>
              <a:off x="10701440" y="2720236"/>
              <a:ext cx="139370" cy="7554"/>
              <a:chOff x="10701440" y="2720236"/>
              <a:chExt cx="139370" cy="7554"/>
            </a:xfrm>
            <a:solidFill>
              <a:srgbClr val="394553"/>
            </a:solidFill>
          </p:grpSpPr>
          <p:sp>
            <p:nvSpPr>
              <p:cNvPr id="1094" name="Forma livre: Forma 1093">
                <a:extLst>
                  <a:ext uri="{FF2B5EF4-FFF2-40B4-BE49-F238E27FC236}">
                    <a16:creationId xmlns:a16="http://schemas.microsoft.com/office/drawing/2014/main" id="{E2B6B830-2153-86ED-78FF-DC96AA1F54F0}"/>
                  </a:ext>
                </a:extLst>
              </p:cNvPr>
              <p:cNvSpPr/>
              <p:nvPr/>
            </p:nvSpPr>
            <p:spPr>
              <a:xfrm>
                <a:off x="10701440" y="2720236"/>
                <a:ext cx="7554" cy="7554"/>
              </a:xfrm>
              <a:custGeom>
                <a:avLst/>
                <a:gdLst>
                  <a:gd name="connsiteX0" fmla="*/ 7554 w 7554"/>
                  <a:gd name="connsiteY0" fmla="*/ 3777 h 7554"/>
                  <a:gd name="connsiteX1" fmla="*/ 3777 w 7554"/>
                  <a:gd name="connsiteY1" fmla="*/ 7554 h 7554"/>
                  <a:gd name="connsiteX2" fmla="*/ 0 w 7554"/>
                  <a:gd name="connsiteY2" fmla="*/ 3777 h 7554"/>
                  <a:gd name="connsiteX3" fmla="*/ 3777 w 7554"/>
                  <a:gd name="connsiteY3" fmla="*/ 0 h 7554"/>
                  <a:gd name="connsiteX4" fmla="*/ 7554 w 7554"/>
                  <a:gd name="connsiteY4" fmla="*/ 3777 h 75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554" h="7554">
                    <a:moveTo>
                      <a:pt x="7554" y="3777"/>
                    </a:moveTo>
                    <a:cubicBezTo>
                      <a:pt x="7554" y="5860"/>
                      <a:pt x="5860" y="7554"/>
                      <a:pt x="3777" y="7554"/>
                    </a:cubicBezTo>
                    <a:cubicBezTo>
                      <a:pt x="1695" y="7554"/>
                      <a:pt x="0" y="5860"/>
                      <a:pt x="0" y="3777"/>
                    </a:cubicBezTo>
                    <a:cubicBezTo>
                      <a:pt x="0" y="1695"/>
                      <a:pt x="1695" y="0"/>
                      <a:pt x="3777" y="0"/>
                    </a:cubicBezTo>
                    <a:cubicBezTo>
                      <a:pt x="5860" y="0"/>
                      <a:pt x="7554" y="1695"/>
                      <a:pt x="7554" y="3777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095" name="Forma livre: Forma 1094">
                <a:extLst>
                  <a:ext uri="{FF2B5EF4-FFF2-40B4-BE49-F238E27FC236}">
                    <a16:creationId xmlns:a16="http://schemas.microsoft.com/office/drawing/2014/main" id="{AF61C54C-BC57-D1DD-560E-4AFC90263B29}"/>
                  </a:ext>
                </a:extLst>
              </p:cNvPr>
              <p:cNvSpPr/>
              <p:nvPr/>
            </p:nvSpPr>
            <p:spPr>
              <a:xfrm>
                <a:off x="10833256" y="2720236"/>
                <a:ext cx="7554" cy="7554"/>
              </a:xfrm>
              <a:custGeom>
                <a:avLst/>
                <a:gdLst>
                  <a:gd name="connsiteX0" fmla="*/ 7554 w 7554"/>
                  <a:gd name="connsiteY0" fmla="*/ 3777 h 7554"/>
                  <a:gd name="connsiteX1" fmla="*/ 3777 w 7554"/>
                  <a:gd name="connsiteY1" fmla="*/ 7554 h 7554"/>
                  <a:gd name="connsiteX2" fmla="*/ 0 w 7554"/>
                  <a:gd name="connsiteY2" fmla="*/ 3777 h 7554"/>
                  <a:gd name="connsiteX3" fmla="*/ 3777 w 7554"/>
                  <a:gd name="connsiteY3" fmla="*/ 0 h 7554"/>
                  <a:gd name="connsiteX4" fmla="*/ 7554 w 7554"/>
                  <a:gd name="connsiteY4" fmla="*/ 3777 h 75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554" h="7554">
                    <a:moveTo>
                      <a:pt x="7554" y="3777"/>
                    </a:moveTo>
                    <a:cubicBezTo>
                      <a:pt x="7554" y="5860"/>
                      <a:pt x="5860" y="7554"/>
                      <a:pt x="3777" y="7554"/>
                    </a:cubicBezTo>
                    <a:cubicBezTo>
                      <a:pt x="1695" y="7554"/>
                      <a:pt x="0" y="5860"/>
                      <a:pt x="0" y="3777"/>
                    </a:cubicBezTo>
                    <a:cubicBezTo>
                      <a:pt x="0" y="1695"/>
                      <a:pt x="1695" y="0"/>
                      <a:pt x="3777" y="0"/>
                    </a:cubicBezTo>
                    <a:cubicBezTo>
                      <a:pt x="5860" y="0"/>
                      <a:pt x="7554" y="1695"/>
                      <a:pt x="7554" y="3777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096" name="Gráfico 11">
            <a:extLst>
              <a:ext uri="{FF2B5EF4-FFF2-40B4-BE49-F238E27FC236}">
                <a16:creationId xmlns:a16="http://schemas.microsoft.com/office/drawing/2014/main" id="{2B861E68-D948-2BA3-38EA-086D1F623D81}"/>
              </a:ext>
            </a:extLst>
          </p:cNvPr>
          <p:cNvGrpSpPr/>
          <p:nvPr/>
        </p:nvGrpSpPr>
        <p:grpSpPr>
          <a:xfrm>
            <a:off x="9978535" y="3167220"/>
            <a:ext cx="320672" cy="252290"/>
            <a:chOff x="9978535" y="3167220"/>
            <a:chExt cx="320672" cy="252290"/>
          </a:xfrm>
          <a:noFill/>
        </p:grpSpPr>
        <p:sp>
          <p:nvSpPr>
            <p:cNvPr id="1097" name="Forma livre: Forma 1096">
              <a:extLst>
                <a:ext uri="{FF2B5EF4-FFF2-40B4-BE49-F238E27FC236}">
                  <a16:creationId xmlns:a16="http://schemas.microsoft.com/office/drawing/2014/main" id="{AA87B34A-CA87-4590-1200-E4C901FCB2CF}"/>
                </a:ext>
              </a:extLst>
            </p:cNvPr>
            <p:cNvSpPr/>
            <p:nvPr/>
          </p:nvSpPr>
          <p:spPr>
            <a:xfrm>
              <a:off x="9978535" y="3167220"/>
              <a:ext cx="320672" cy="252290"/>
            </a:xfrm>
            <a:custGeom>
              <a:avLst/>
              <a:gdLst>
                <a:gd name="connsiteX0" fmla="*/ 90896 w 320672"/>
                <a:gd name="connsiteY0" fmla="*/ 69191 h 252290"/>
                <a:gd name="connsiteX1" fmla="*/ 63438 w 320672"/>
                <a:gd name="connsiteY1" fmla="*/ 75583 h 252290"/>
                <a:gd name="connsiteX2" fmla="*/ 47312 w 320672"/>
                <a:gd name="connsiteY2" fmla="*/ 94082 h 252290"/>
                <a:gd name="connsiteX3" fmla="*/ 34624 w 320672"/>
                <a:gd name="connsiteY3" fmla="*/ 169094 h 252290"/>
                <a:gd name="connsiteX4" fmla="*/ 16271 w 320672"/>
                <a:gd name="connsiteY4" fmla="*/ 185220 h 252290"/>
                <a:gd name="connsiteX5" fmla="*/ 48 w 320672"/>
                <a:gd name="connsiteY5" fmla="*/ 166673 h 252290"/>
                <a:gd name="connsiteX6" fmla="*/ 8910 w 320672"/>
                <a:gd name="connsiteY6" fmla="*/ 85268 h 252290"/>
                <a:gd name="connsiteX7" fmla="*/ 34285 w 320672"/>
                <a:gd name="connsiteY7" fmla="*/ 43331 h 252290"/>
                <a:gd name="connsiteX8" fmla="*/ 103874 w 320672"/>
                <a:gd name="connsiteY8" fmla="*/ 26479 h 252290"/>
                <a:gd name="connsiteX9" fmla="*/ 148281 w 320672"/>
                <a:gd name="connsiteY9" fmla="*/ 26479 h 252290"/>
                <a:gd name="connsiteX10" fmla="*/ 211767 w 320672"/>
                <a:gd name="connsiteY10" fmla="*/ 15825 h 252290"/>
                <a:gd name="connsiteX11" fmla="*/ 316562 w 320672"/>
                <a:gd name="connsiteY11" fmla="*/ 7109 h 252290"/>
                <a:gd name="connsiteX12" fmla="*/ 316562 w 320672"/>
                <a:gd name="connsiteY12" fmla="*/ 22121 h 252290"/>
                <a:gd name="connsiteX13" fmla="*/ 275254 w 320672"/>
                <a:gd name="connsiteY13" fmla="*/ 80765 h 252290"/>
                <a:gd name="connsiteX14" fmla="*/ 247506 w 320672"/>
                <a:gd name="connsiteY14" fmla="*/ 252290 h 252290"/>
                <a:gd name="connsiteX15" fmla="*/ 101549 w 320672"/>
                <a:gd name="connsiteY15" fmla="*/ 252290 h 252290"/>
                <a:gd name="connsiteX16" fmla="*/ 78353 w 320672"/>
                <a:gd name="connsiteY16" fmla="*/ 100862 h 2522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20672" h="252290">
                  <a:moveTo>
                    <a:pt x="90896" y="69191"/>
                  </a:moveTo>
                  <a:lnTo>
                    <a:pt x="63438" y="75583"/>
                  </a:lnTo>
                  <a:cubicBezTo>
                    <a:pt x="49007" y="81346"/>
                    <a:pt x="47312" y="94082"/>
                    <a:pt x="47312" y="94082"/>
                  </a:cubicBezTo>
                  <a:lnTo>
                    <a:pt x="34624" y="169094"/>
                  </a:lnTo>
                  <a:cubicBezTo>
                    <a:pt x="33898" y="178634"/>
                    <a:pt x="25666" y="185898"/>
                    <a:pt x="16271" y="185220"/>
                  </a:cubicBezTo>
                  <a:cubicBezTo>
                    <a:pt x="6925" y="184494"/>
                    <a:pt x="-678" y="176261"/>
                    <a:pt x="48" y="166673"/>
                  </a:cubicBezTo>
                  <a:lnTo>
                    <a:pt x="8910" y="85268"/>
                  </a:lnTo>
                  <a:cubicBezTo>
                    <a:pt x="8910" y="85268"/>
                    <a:pt x="11864" y="59409"/>
                    <a:pt x="34285" y="43331"/>
                  </a:cubicBezTo>
                  <a:cubicBezTo>
                    <a:pt x="53123" y="29869"/>
                    <a:pt x="62276" y="26479"/>
                    <a:pt x="103874" y="26479"/>
                  </a:cubicBezTo>
                  <a:lnTo>
                    <a:pt x="148281" y="26479"/>
                  </a:lnTo>
                  <a:cubicBezTo>
                    <a:pt x="148281" y="26479"/>
                    <a:pt x="187021" y="27883"/>
                    <a:pt x="211767" y="15825"/>
                  </a:cubicBezTo>
                  <a:cubicBezTo>
                    <a:pt x="246489" y="-1124"/>
                    <a:pt x="275545" y="-5143"/>
                    <a:pt x="316562" y="7109"/>
                  </a:cubicBezTo>
                  <a:cubicBezTo>
                    <a:pt x="316562" y="7109"/>
                    <a:pt x="325811" y="14034"/>
                    <a:pt x="316562" y="22121"/>
                  </a:cubicBezTo>
                  <a:cubicBezTo>
                    <a:pt x="316562" y="22121"/>
                    <a:pt x="282566" y="44397"/>
                    <a:pt x="275254" y="80765"/>
                  </a:cubicBezTo>
                  <a:lnTo>
                    <a:pt x="247506" y="252290"/>
                  </a:lnTo>
                  <a:lnTo>
                    <a:pt x="101549" y="252290"/>
                  </a:lnTo>
                  <a:lnTo>
                    <a:pt x="78353" y="100862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98" name="Forma livre: Forma 1097">
              <a:extLst>
                <a:ext uri="{FF2B5EF4-FFF2-40B4-BE49-F238E27FC236}">
                  <a16:creationId xmlns:a16="http://schemas.microsoft.com/office/drawing/2014/main" id="{AB6C1C77-58C6-19D1-48C4-2C7EE0F6A80C}"/>
                </a:ext>
              </a:extLst>
            </p:cNvPr>
            <p:cNvSpPr/>
            <p:nvPr/>
          </p:nvSpPr>
          <p:spPr>
            <a:xfrm>
              <a:off x="10120278" y="3258057"/>
              <a:ext cx="26634" cy="4842"/>
            </a:xfrm>
            <a:custGeom>
              <a:avLst/>
              <a:gdLst>
                <a:gd name="connsiteX0" fmla="*/ 0 w 26634"/>
                <a:gd name="connsiteY0" fmla="*/ 0 h 4842"/>
                <a:gd name="connsiteX1" fmla="*/ 26634 w 26634"/>
                <a:gd name="connsiteY1" fmla="*/ 0 h 48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6634" h="4842">
                  <a:moveTo>
                    <a:pt x="0" y="0"/>
                  </a:moveTo>
                  <a:lnTo>
                    <a:pt x="26634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99" name="Forma livre: Forma 1098">
              <a:extLst>
                <a:ext uri="{FF2B5EF4-FFF2-40B4-BE49-F238E27FC236}">
                  <a16:creationId xmlns:a16="http://schemas.microsoft.com/office/drawing/2014/main" id="{010656EB-8FB1-A1B7-7260-AA8178D0E409}"/>
                </a:ext>
              </a:extLst>
            </p:cNvPr>
            <p:cNvSpPr/>
            <p:nvPr/>
          </p:nvSpPr>
          <p:spPr>
            <a:xfrm>
              <a:off x="10120278" y="3289340"/>
              <a:ext cx="26634" cy="4842"/>
            </a:xfrm>
            <a:custGeom>
              <a:avLst/>
              <a:gdLst>
                <a:gd name="connsiteX0" fmla="*/ 0 w 26634"/>
                <a:gd name="connsiteY0" fmla="*/ 0 h 4842"/>
                <a:gd name="connsiteX1" fmla="*/ 26634 w 26634"/>
                <a:gd name="connsiteY1" fmla="*/ 0 h 48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6634" h="4842">
                  <a:moveTo>
                    <a:pt x="0" y="0"/>
                  </a:moveTo>
                  <a:lnTo>
                    <a:pt x="26634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00" name="Forma livre: Forma 1099">
              <a:extLst>
                <a:ext uri="{FF2B5EF4-FFF2-40B4-BE49-F238E27FC236}">
                  <a16:creationId xmlns:a16="http://schemas.microsoft.com/office/drawing/2014/main" id="{A4F303D2-6868-1663-F3DE-ED33EBF8930B}"/>
                </a:ext>
              </a:extLst>
            </p:cNvPr>
            <p:cNvSpPr/>
            <p:nvPr/>
          </p:nvSpPr>
          <p:spPr>
            <a:xfrm>
              <a:off x="10120278" y="3320575"/>
              <a:ext cx="26634" cy="4842"/>
            </a:xfrm>
            <a:custGeom>
              <a:avLst/>
              <a:gdLst>
                <a:gd name="connsiteX0" fmla="*/ 0 w 26634"/>
                <a:gd name="connsiteY0" fmla="*/ 0 h 4842"/>
                <a:gd name="connsiteX1" fmla="*/ 26634 w 26634"/>
                <a:gd name="connsiteY1" fmla="*/ 0 h 48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6634" h="4842">
                  <a:moveTo>
                    <a:pt x="0" y="0"/>
                  </a:moveTo>
                  <a:lnTo>
                    <a:pt x="26634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01" name="Forma livre: Forma 1100">
              <a:extLst>
                <a:ext uri="{FF2B5EF4-FFF2-40B4-BE49-F238E27FC236}">
                  <a16:creationId xmlns:a16="http://schemas.microsoft.com/office/drawing/2014/main" id="{C31DC67F-E68D-F731-A21C-07A865C39CBB}"/>
                </a:ext>
              </a:extLst>
            </p:cNvPr>
            <p:cNvSpPr/>
            <p:nvPr/>
          </p:nvSpPr>
          <p:spPr>
            <a:xfrm>
              <a:off x="10120278" y="3351858"/>
              <a:ext cx="26634" cy="4842"/>
            </a:xfrm>
            <a:custGeom>
              <a:avLst/>
              <a:gdLst>
                <a:gd name="connsiteX0" fmla="*/ 0 w 26634"/>
                <a:gd name="connsiteY0" fmla="*/ 0 h 4842"/>
                <a:gd name="connsiteX1" fmla="*/ 26634 w 26634"/>
                <a:gd name="connsiteY1" fmla="*/ 0 h 48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6634" h="4842">
                  <a:moveTo>
                    <a:pt x="0" y="0"/>
                  </a:moveTo>
                  <a:lnTo>
                    <a:pt x="26634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02" name="Forma livre: Forma 1101">
              <a:extLst>
                <a:ext uri="{FF2B5EF4-FFF2-40B4-BE49-F238E27FC236}">
                  <a16:creationId xmlns:a16="http://schemas.microsoft.com/office/drawing/2014/main" id="{A3808CB3-8807-CA72-F2BF-1546413633A2}"/>
                </a:ext>
              </a:extLst>
            </p:cNvPr>
            <p:cNvSpPr/>
            <p:nvPr/>
          </p:nvSpPr>
          <p:spPr>
            <a:xfrm>
              <a:off x="10120278" y="3383142"/>
              <a:ext cx="26634" cy="4842"/>
            </a:xfrm>
            <a:custGeom>
              <a:avLst/>
              <a:gdLst>
                <a:gd name="connsiteX0" fmla="*/ 0 w 26634"/>
                <a:gd name="connsiteY0" fmla="*/ 0 h 4842"/>
                <a:gd name="connsiteX1" fmla="*/ 26634 w 26634"/>
                <a:gd name="connsiteY1" fmla="*/ 0 h 48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6634" h="4842">
                  <a:moveTo>
                    <a:pt x="0" y="0"/>
                  </a:moveTo>
                  <a:lnTo>
                    <a:pt x="26634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103" name="Gráfico 11">
            <a:extLst>
              <a:ext uri="{FF2B5EF4-FFF2-40B4-BE49-F238E27FC236}">
                <a16:creationId xmlns:a16="http://schemas.microsoft.com/office/drawing/2014/main" id="{F001D1FD-7782-71A9-961E-DB2881592E64}"/>
              </a:ext>
            </a:extLst>
          </p:cNvPr>
          <p:cNvGrpSpPr/>
          <p:nvPr/>
        </p:nvGrpSpPr>
        <p:grpSpPr>
          <a:xfrm>
            <a:off x="11283910" y="3138396"/>
            <a:ext cx="238886" cy="309927"/>
            <a:chOff x="11283910" y="3138396"/>
            <a:chExt cx="238886" cy="309927"/>
          </a:xfrm>
        </p:grpSpPr>
        <p:grpSp>
          <p:nvGrpSpPr>
            <p:cNvPr id="1104" name="Gráfico 11">
              <a:extLst>
                <a:ext uri="{FF2B5EF4-FFF2-40B4-BE49-F238E27FC236}">
                  <a16:creationId xmlns:a16="http://schemas.microsoft.com/office/drawing/2014/main" id="{6F64C907-D9F0-5CE6-3893-634CE93B9B61}"/>
                </a:ext>
              </a:extLst>
            </p:cNvPr>
            <p:cNvGrpSpPr/>
            <p:nvPr/>
          </p:nvGrpSpPr>
          <p:grpSpPr>
            <a:xfrm>
              <a:off x="11321247" y="3431084"/>
              <a:ext cx="164261" cy="17239"/>
              <a:chOff x="11321247" y="3431084"/>
              <a:chExt cx="164261" cy="17239"/>
            </a:xfrm>
          </p:grpSpPr>
          <p:sp>
            <p:nvSpPr>
              <p:cNvPr id="1105" name="Forma livre: Forma 1104">
                <a:extLst>
                  <a:ext uri="{FF2B5EF4-FFF2-40B4-BE49-F238E27FC236}">
                    <a16:creationId xmlns:a16="http://schemas.microsoft.com/office/drawing/2014/main" id="{BAFC0989-BDA2-2EEC-E6F7-3006B2F79299}"/>
                  </a:ext>
                </a:extLst>
              </p:cNvPr>
              <p:cNvSpPr/>
              <p:nvPr/>
            </p:nvSpPr>
            <p:spPr>
              <a:xfrm>
                <a:off x="11321247" y="3431084"/>
                <a:ext cx="4842" cy="17239"/>
              </a:xfrm>
              <a:custGeom>
                <a:avLst/>
                <a:gdLst>
                  <a:gd name="connsiteX0" fmla="*/ 0 w 4842"/>
                  <a:gd name="connsiteY0" fmla="*/ 0 h 17239"/>
                  <a:gd name="connsiteX1" fmla="*/ 0 w 4842"/>
                  <a:gd name="connsiteY1" fmla="*/ 17240 h 172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842" h="17239">
                    <a:moveTo>
                      <a:pt x="0" y="0"/>
                    </a:moveTo>
                    <a:lnTo>
                      <a:pt x="0" y="1724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106" name="Forma livre: Forma 1105">
                <a:extLst>
                  <a:ext uri="{FF2B5EF4-FFF2-40B4-BE49-F238E27FC236}">
                    <a16:creationId xmlns:a16="http://schemas.microsoft.com/office/drawing/2014/main" id="{DB888882-14EB-EB98-2E45-02B2221A7272}"/>
                  </a:ext>
                </a:extLst>
              </p:cNvPr>
              <p:cNvSpPr/>
              <p:nvPr/>
            </p:nvSpPr>
            <p:spPr>
              <a:xfrm>
                <a:off x="11485508" y="3431084"/>
                <a:ext cx="4842" cy="17239"/>
              </a:xfrm>
              <a:custGeom>
                <a:avLst/>
                <a:gdLst>
                  <a:gd name="connsiteX0" fmla="*/ 0 w 4842"/>
                  <a:gd name="connsiteY0" fmla="*/ 0 h 17239"/>
                  <a:gd name="connsiteX1" fmla="*/ 0 w 4842"/>
                  <a:gd name="connsiteY1" fmla="*/ 17240 h 172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842" h="17239">
                    <a:moveTo>
                      <a:pt x="0" y="0"/>
                    </a:moveTo>
                    <a:lnTo>
                      <a:pt x="0" y="1724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107" name="Forma livre: Forma 1106">
              <a:extLst>
                <a:ext uri="{FF2B5EF4-FFF2-40B4-BE49-F238E27FC236}">
                  <a16:creationId xmlns:a16="http://schemas.microsoft.com/office/drawing/2014/main" id="{2DCA917A-5433-97DA-5FF4-96144F704F45}"/>
                </a:ext>
              </a:extLst>
            </p:cNvPr>
            <p:cNvSpPr/>
            <p:nvPr/>
          </p:nvSpPr>
          <p:spPr>
            <a:xfrm>
              <a:off x="11385993" y="3371374"/>
              <a:ext cx="34769" cy="34770"/>
            </a:xfrm>
            <a:custGeom>
              <a:avLst/>
              <a:gdLst>
                <a:gd name="connsiteX0" fmla="*/ 34770 w 34769"/>
                <a:gd name="connsiteY0" fmla="*/ 17385 h 34770"/>
                <a:gd name="connsiteX1" fmla="*/ 17385 w 34769"/>
                <a:gd name="connsiteY1" fmla="*/ 34770 h 34770"/>
                <a:gd name="connsiteX2" fmla="*/ 0 w 34769"/>
                <a:gd name="connsiteY2" fmla="*/ 17385 h 34770"/>
                <a:gd name="connsiteX3" fmla="*/ 17385 w 34769"/>
                <a:gd name="connsiteY3" fmla="*/ 0 h 34770"/>
                <a:gd name="connsiteX4" fmla="*/ 34770 w 34769"/>
                <a:gd name="connsiteY4" fmla="*/ 17385 h 347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769" h="34770">
                  <a:moveTo>
                    <a:pt x="34770" y="17385"/>
                  </a:moveTo>
                  <a:cubicBezTo>
                    <a:pt x="34770" y="26973"/>
                    <a:pt x="26973" y="34770"/>
                    <a:pt x="17385" y="34770"/>
                  </a:cubicBezTo>
                  <a:cubicBezTo>
                    <a:pt x="7797" y="34770"/>
                    <a:pt x="0" y="26973"/>
                    <a:pt x="0" y="17385"/>
                  </a:cubicBezTo>
                  <a:cubicBezTo>
                    <a:pt x="0" y="7797"/>
                    <a:pt x="7797" y="0"/>
                    <a:pt x="17385" y="0"/>
                  </a:cubicBezTo>
                  <a:cubicBezTo>
                    <a:pt x="26973" y="0"/>
                    <a:pt x="34770" y="7797"/>
                    <a:pt x="34770" y="17385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08" name="Forma livre: Forma 1107">
              <a:extLst>
                <a:ext uri="{FF2B5EF4-FFF2-40B4-BE49-F238E27FC236}">
                  <a16:creationId xmlns:a16="http://schemas.microsoft.com/office/drawing/2014/main" id="{4C696ECC-9C3F-3EE6-0ED9-DEF88928BD43}"/>
                </a:ext>
              </a:extLst>
            </p:cNvPr>
            <p:cNvSpPr/>
            <p:nvPr/>
          </p:nvSpPr>
          <p:spPr>
            <a:xfrm>
              <a:off x="11283910" y="3247548"/>
              <a:ext cx="238886" cy="4842"/>
            </a:xfrm>
            <a:custGeom>
              <a:avLst/>
              <a:gdLst>
                <a:gd name="connsiteX0" fmla="*/ 0 w 238886"/>
                <a:gd name="connsiteY0" fmla="*/ 0 h 4842"/>
                <a:gd name="connsiteX1" fmla="*/ 238886 w 238886"/>
                <a:gd name="connsiteY1" fmla="*/ 0 h 48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38886" h="4842">
                  <a:moveTo>
                    <a:pt x="0" y="0"/>
                  </a:moveTo>
                  <a:lnTo>
                    <a:pt x="238886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09" name="Forma livre: Forma 1108">
              <a:extLst>
                <a:ext uri="{FF2B5EF4-FFF2-40B4-BE49-F238E27FC236}">
                  <a16:creationId xmlns:a16="http://schemas.microsoft.com/office/drawing/2014/main" id="{C0D72C6C-0C9D-407A-805A-9725D082B186}"/>
                </a:ext>
              </a:extLst>
            </p:cNvPr>
            <p:cNvSpPr/>
            <p:nvPr/>
          </p:nvSpPr>
          <p:spPr>
            <a:xfrm>
              <a:off x="11283910" y="3169195"/>
              <a:ext cx="238886" cy="4842"/>
            </a:xfrm>
            <a:custGeom>
              <a:avLst/>
              <a:gdLst>
                <a:gd name="connsiteX0" fmla="*/ 0 w 238886"/>
                <a:gd name="connsiteY0" fmla="*/ 0 h 4842"/>
                <a:gd name="connsiteX1" fmla="*/ 238886 w 238886"/>
                <a:gd name="connsiteY1" fmla="*/ 0 h 48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38886" h="4842">
                  <a:moveTo>
                    <a:pt x="0" y="0"/>
                  </a:moveTo>
                  <a:lnTo>
                    <a:pt x="238886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110" name="Gráfico 11">
              <a:extLst>
                <a:ext uri="{FF2B5EF4-FFF2-40B4-BE49-F238E27FC236}">
                  <a16:creationId xmlns:a16="http://schemas.microsoft.com/office/drawing/2014/main" id="{DEC992C4-F2ED-ED92-4291-A2A1E6E60B73}"/>
                </a:ext>
              </a:extLst>
            </p:cNvPr>
            <p:cNvGrpSpPr/>
            <p:nvPr/>
          </p:nvGrpSpPr>
          <p:grpSpPr>
            <a:xfrm>
              <a:off x="11324346" y="3317960"/>
              <a:ext cx="158063" cy="25859"/>
              <a:chOff x="11324346" y="3317960"/>
              <a:chExt cx="158063" cy="25859"/>
            </a:xfrm>
          </p:grpSpPr>
          <p:sp>
            <p:nvSpPr>
              <p:cNvPr id="1111" name="Forma livre: Forma 1110">
                <a:extLst>
                  <a:ext uri="{FF2B5EF4-FFF2-40B4-BE49-F238E27FC236}">
                    <a16:creationId xmlns:a16="http://schemas.microsoft.com/office/drawing/2014/main" id="{42CE5FC8-DE88-8D94-A82D-B0D483C3F046}"/>
                  </a:ext>
                </a:extLst>
              </p:cNvPr>
              <p:cNvSpPr/>
              <p:nvPr/>
            </p:nvSpPr>
            <p:spPr>
              <a:xfrm>
                <a:off x="11482409" y="3317960"/>
                <a:ext cx="4842" cy="25859"/>
              </a:xfrm>
              <a:custGeom>
                <a:avLst/>
                <a:gdLst>
                  <a:gd name="connsiteX0" fmla="*/ 0 w 4842"/>
                  <a:gd name="connsiteY0" fmla="*/ 0 h 25859"/>
                  <a:gd name="connsiteX1" fmla="*/ 0 w 4842"/>
                  <a:gd name="connsiteY1" fmla="*/ 25860 h 258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842" h="25859">
                    <a:moveTo>
                      <a:pt x="0" y="0"/>
                    </a:moveTo>
                    <a:lnTo>
                      <a:pt x="0" y="2586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112" name="Forma livre: Forma 1111">
                <a:extLst>
                  <a:ext uri="{FF2B5EF4-FFF2-40B4-BE49-F238E27FC236}">
                    <a16:creationId xmlns:a16="http://schemas.microsoft.com/office/drawing/2014/main" id="{E13199F6-062E-2AF3-1508-F3E5F983C9C7}"/>
                  </a:ext>
                </a:extLst>
              </p:cNvPr>
              <p:cNvSpPr/>
              <p:nvPr/>
            </p:nvSpPr>
            <p:spPr>
              <a:xfrm>
                <a:off x="11324346" y="3317960"/>
                <a:ext cx="4842" cy="25859"/>
              </a:xfrm>
              <a:custGeom>
                <a:avLst/>
                <a:gdLst>
                  <a:gd name="connsiteX0" fmla="*/ 0 w 4842"/>
                  <a:gd name="connsiteY0" fmla="*/ 0 h 25859"/>
                  <a:gd name="connsiteX1" fmla="*/ 0 w 4842"/>
                  <a:gd name="connsiteY1" fmla="*/ 25860 h 258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842" h="25859">
                    <a:moveTo>
                      <a:pt x="0" y="0"/>
                    </a:moveTo>
                    <a:lnTo>
                      <a:pt x="0" y="2586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113" name="Forma livre: Forma 1112">
              <a:extLst>
                <a:ext uri="{FF2B5EF4-FFF2-40B4-BE49-F238E27FC236}">
                  <a16:creationId xmlns:a16="http://schemas.microsoft.com/office/drawing/2014/main" id="{9B20A61B-543E-7B50-DC01-41F9D30B558B}"/>
                </a:ext>
              </a:extLst>
            </p:cNvPr>
            <p:cNvSpPr/>
            <p:nvPr/>
          </p:nvSpPr>
          <p:spPr>
            <a:xfrm>
              <a:off x="11304249" y="3345127"/>
              <a:ext cx="198208" cy="85956"/>
            </a:xfrm>
            <a:custGeom>
              <a:avLst/>
              <a:gdLst>
                <a:gd name="connsiteX0" fmla="*/ 198208 w 198208"/>
                <a:gd name="connsiteY0" fmla="*/ 85956 h 85956"/>
                <a:gd name="connsiteX1" fmla="*/ 0 w 198208"/>
                <a:gd name="connsiteY1" fmla="*/ 85956 h 85956"/>
                <a:gd name="connsiteX2" fmla="*/ 3438 w 198208"/>
                <a:gd name="connsiteY2" fmla="*/ 0 h 85956"/>
                <a:gd name="connsiteX3" fmla="*/ 194818 w 198208"/>
                <a:gd name="connsiteY3" fmla="*/ 0 h 85956"/>
                <a:gd name="connsiteX4" fmla="*/ 198208 w 198208"/>
                <a:gd name="connsiteY4" fmla="*/ 85956 h 859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8208" h="85956">
                  <a:moveTo>
                    <a:pt x="198208" y="85956"/>
                  </a:moveTo>
                  <a:lnTo>
                    <a:pt x="0" y="85956"/>
                  </a:lnTo>
                  <a:lnTo>
                    <a:pt x="3438" y="0"/>
                  </a:lnTo>
                  <a:lnTo>
                    <a:pt x="194818" y="0"/>
                  </a:lnTo>
                  <a:lnTo>
                    <a:pt x="198208" y="85956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14" name="Forma livre: Forma 1113">
              <a:extLst>
                <a:ext uri="{FF2B5EF4-FFF2-40B4-BE49-F238E27FC236}">
                  <a16:creationId xmlns:a16="http://schemas.microsoft.com/office/drawing/2014/main" id="{119EBCFB-65F2-E82E-8BDB-1F6CE446AFC3}"/>
                </a:ext>
              </a:extLst>
            </p:cNvPr>
            <p:cNvSpPr/>
            <p:nvPr/>
          </p:nvSpPr>
          <p:spPr>
            <a:xfrm>
              <a:off x="11301876" y="3248614"/>
              <a:ext cx="203002" cy="68135"/>
            </a:xfrm>
            <a:custGeom>
              <a:avLst/>
              <a:gdLst>
                <a:gd name="connsiteX0" fmla="*/ 203003 w 203002"/>
                <a:gd name="connsiteY0" fmla="*/ 291 h 68135"/>
                <a:gd name="connsiteX1" fmla="*/ 201598 w 203002"/>
                <a:gd name="connsiteY1" fmla="*/ 50315 h 68135"/>
                <a:gd name="connsiteX2" fmla="*/ 183245 w 203002"/>
                <a:gd name="connsiteY2" fmla="*/ 68136 h 68135"/>
                <a:gd name="connsiteX3" fmla="*/ 19758 w 203002"/>
                <a:gd name="connsiteY3" fmla="*/ 68136 h 68135"/>
                <a:gd name="connsiteX4" fmla="*/ 1404 w 203002"/>
                <a:gd name="connsiteY4" fmla="*/ 50315 h 68135"/>
                <a:gd name="connsiteX5" fmla="*/ 0 w 203002"/>
                <a:gd name="connsiteY5" fmla="*/ 0 h 68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3002" h="68135">
                  <a:moveTo>
                    <a:pt x="203003" y="291"/>
                  </a:moveTo>
                  <a:lnTo>
                    <a:pt x="201598" y="50315"/>
                  </a:lnTo>
                  <a:cubicBezTo>
                    <a:pt x="201308" y="60097"/>
                    <a:pt x="193075" y="68136"/>
                    <a:pt x="183245" y="68136"/>
                  </a:cubicBezTo>
                  <a:lnTo>
                    <a:pt x="19758" y="68136"/>
                  </a:lnTo>
                  <a:cubicBezTo>
                    <a:pt x="9927" y="68136"/>
                    <a:pt x="1695" y="60097"/>
                    <a:pt x="1404" y="50315"/>
                  </a:cubicBezTo>
                  <a:lnTo>
                    <a:pt x="0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15" name="Forma livre: Forma 1114">
              <a:extLst>
                <a:ext uri="{FF2B5EF4-FFF2-40B4-BE49-F238E27FC236}">
                  <a16:creationId xmlns:a16="http://schemas.microsoft.com/office/drawing/2014/main" id="{E639C8E3-DCA9-F64D-2551-CCF8D6AFF2D1}"/>
                </a:ext>
              </a:extLst>
            </p:cNvPr>
            <p:cNvSpPr/>
            <p:nvPr/>
          </p:nvSpPr>
          <p:spPr>
            <a:xfrm>
              <a:off x="11324491" y="3138396"/>
              <a:ext cx="157772" cy="28765"/>
            </a:xfrm>
            <a:custGeom>
              <a:avLst/>
              <a:gdLst>
                <a:gd name="connsiteX0" fmla="*/ 157772 w 157772"/>
                <a:gd name="connsiteY0" fmla="*/ 28765 h 28765"/>
                <a:gd name="connsiteX1" fmla="*/ 137191 w 157772"/>
                <a:gd name="connsiteY1" fmla="*/ 0 h 28765"/>
                <a:gd name="connsiteX2" fmla="*/ 20581 w 157772"/>
                <a:gd name="connsiteY2" fmla="*/ 0 h 28765"/>
                <a:gd name="connsiteX3" fmla="*/ 0 w 157772"/>
                <a:gd name="connsiteY3" fmla="*/ 28765 h 287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7772" h="28765">
                  <a:moveTo>
                    <a:pt x="157772" y="28765"/>
                  </a:moveTo>
                  <a:lnTo>
                    <a:pt x="137191" y="0"/>
                  </a:lnTo>
                  <a:lnTo>
                    <a:pt x="20581" y="0"/>
                  </a:lnTo>
                  <a:lnTo>
                    <a:pt x="0" y="28765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116" name="Gráfico 11">
              <a:extLst>
                <a:ext uri="{FF2B5EF4-FFF2-40B4-BE49-F238E27FC236}">
                  <a16:creationId xmlns:a16="http://schemas.microsoft.com/office/drawing/2014/main" id="{22933A28-1AB6-0410-75C0-EADD61464A57}"/>
                </a:ext>
              </a:extLst>
            </p:cNvPr>
            <p:cNvGrpSpPr/>
            <p:nvPr/>
          </p:nvGrpSpPr>
          <p:grpSpPr>
            <a:xfrm>
              <a:off x="11352579" y="3384982"/>
              <a:ext cx="101549" cy="7554"/>
              <a:chOff x="11352579" y="3384982"/>
              <a:chExt cx="101549" cy="7554"/>
            </a:xfrm>
            <a:solidFill>
              <a:srgbClr val="394553"/>
            </a:solidFill>
          </p:grpSpPr>
          <p:sp>
            <p:nvSpPr>
              <p:cNvPr id="1117" name="Forma livre: Forma 1116">
                <a:extLst>
                  <a:ext uri="{FF2B5EF4-FFF2-40B4-BE49-F238E27FC236}">
                    <a16:creationId xmlns:a16="http://schemas.microsoft.com/office/drawing/2014/main" id="{58A13339-0C2D-1182-A4A8-6194DE8CFB13}"/>
                  </a:ext>
                </a:extLst>
              </p:cNvPr>
              <p:cNvSpPr/>
              <p:nvPr/>
            </p:nvSpPr>
            <p:spPr>
              <a:xfrm>
                <a:off x="11352579" y="3384982"/>
                <a:ext cx="7554" cy="7554"/>
              </a:xfrm>
              <a:custGeom>
                <a:avLst/>
                <a:gdLst>
                  <a:gd name="connsiteX0" fmla="*/ 7554 w 7554"/>
                  <a:gd name="connsiteY0" fmla="*/ 3777 h 7554"/>
                  <a:gd name="connsiteX1" fmla="*/ 3777 w 7554"/>
                  <a:gd name="connsiteY1" fmla="*/ 7554 h 7554"/>
                  <a:gd name="connsiteX2" fmla="*/ 0 w 7554"/>
                  <a:gd name="connsiteY2" fmla="*/ 3777 h 7554"/>
                  <a:gd name="connsiteX3" fmla="*/ 3777 w 7554"/>
                  <a:gd name="connsiteY3" fmla="*/ 0 h 7554"/>
                  <a:gd name="connsiteX4" fmla="*/ 7554 w 7554"/>
                  <a:gd name="connsiteY4" fmla="*/ 3777 h 75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554" h="7554">
                    <a:moveTo>
                      <a:pt x="7554" y="3777"/>
                    </a:moveTo>
                    <a:cubicBezTo>
                      <a:pt x="7554" y="5860"/>
                      <a:pt x="5860" y="7554"/>
                      <a:pt x="3777" y="7554"/>
                    </a:cubicBezTo>
                    <a:cubicBezTo>
                      <a:pt x="1695" y="7554"/>
                      <a:pt x="0" y="5860"/>
                      <a:pt x="0" y="3777"/>
                    </a:cubicBezTo>
                    <a:cubicBezTo>
                      <a:pt x="0" y="1695"/>
                      <a:pt x="1695" y="0"/>
                      <a:pt x="3777" y="0"/>
                    </a:cubicBezTo>
                    <a:cubicBezTo>
                      <a:pt x="5860" y="0"/>
                      <a:pt x="7554" y="1695"/>
                      <a:pt x="7554" y="3777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118" name="Forma livre: Forma 1117">
                <a:extLst>
                  <a:ext uri="{FF2B5EF4-FFF2-40B4-BE49-F238E27FC236}">
                    <a16:creationId xmlns:a16="http://schemas.microsoft.com/office/drawing/2014/main" id="{4AEC2487-BAC3-29CE-1CB7-30AED272547F}"/>
                  </a:ext>
                </a:extLst>
              </p:cNvPr>
              <p:cNvSpPr/>
              <p:nvPr/>
            </p:nvSpPr>
            <p:spPr>
              <a:xfrm>
                <a:off x="11446574" y="3384982"/>
                <a:ext cx="7554" cy="7554"/>
              </a:xfrm>
              <a:custGeom>
                <a:avLst/>
                <a:gdLst>
                  <a:gd name="connsiteX0" fmla="*/ 7554 w 7554"/>
                  <a:gd name="connsiteY0" fmla="*/ 3777 h 7554"/>
                  <a:gd name="connsiteX1" fmla="*/ 3777 w 7554"/>
                  <a:gd name="connsiteY1" fmla="*/ 7554 h 7554"/>
                  <a:gd name="connsiteX2" fmla="*/ 0 w 7554"/>
                  <a:gd name="connsiteY2" fmla="*/ 3777 h 7554"/>
                  <a:gd name="connsiteX3" fmla="*/ 3777 w 7554"/>
                  <a:gd name="connsiteY3" fmla="*/ 0 h 7554"/>
                  <a:gd name="connsiteX4" fmla="*/ 7554 w 7554"/>
                  <a:gd name="connsiteY4" fmla="*/ 3777 h 75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554" h="7554">
                    <a:moveTo>
                      <a:pt x="7554" y="3777"/>
                    </a:moveTo>
                    <a:cubicBezTo>
                      <a:pt x="7554" y="5860"/>
                      <a:pt x="5860" y="7554"/>
                      <a:pt x="3777" y="7554"/>
                    </a:cubicBezTo>
                    <a:cubicBezTo>
                      <a:pt x="1695" y="7554"/>
                      <a:pt x="0" y="5860"/>
                      <a:pt x="0" y="3777"/>
                    </a:cubicBezTo>
                    <a:cubicBezTo>
                      <a:pt x="0" y="1695"/>
                      <a:pt x="1695" y="0"/>
                      <a:pt x="3777" y="0"/>
                    </a:cubicBezTo>
                    <a:cubicBezTo>
                      <a:pt x="5860" y="0"/>
                      <a:pt x="7554" y="1695"/>
                      <a:pt x="7554" y="3777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119" name="Gráfico 11">
              <a:extLst>
                <a:ext uri="{FF2B5EF4-FFF2-40B4-BE49-F238E27FC236}">
                  <a16:creationId xmlns:a16="http://schemas.microsoft.com/office/drawing/2014/main" id="{7FEC7413-58EE-5D3C-5775-9B8FA6C1869B}"/>
                </a:ext>
              </a:extLst>
            </p:cNvPr>
            <p:cNvGrpSpPr/>
            <p:nvPr/>
          </p:nvGrpSpPr>
          <p:grpSpPr>
            <a:xfrm>
              <a:off x="11299600" y="3170357"/>
              <a:ext cx="207506" cy="54963"/>
              <a:chOff x="11299600" y="3170357"/>
              <a:chExt cx="207506" cy="54963"/>
            </a:xfrm>
          </p:grpSpPr>
          <p:sp>
            <p:nvSpPr>
              <p:cNvPr id="1120" name="Forma livre: Forma 1119">
                <a:extLst>
                  <a:ext uri="{FF2B5EF4-FFF2-40B4-BE49-F238E27FC236}">
                    <a16:creationId xmlns:a16="http://schemas.microsoft.com/office/drawing/2014/main" id="{133CA4AE-174D-93FE-A1E1-1029F0580E64}"/>
                  </a:ext>
                </a:extLst>
              </p:cNvPr>
              <p:cNvSpPr/>
              <p:nvPr/>
            </p:nvSpPr>
            <p:spPr>
              <a:xfrm>
                <a:off x="11299600" y="3170357"/>
                <a:ext cx="1549" cy="54963"/>
              </a:xfrm>
              <a:custGeom>
                <a:avLst/>
                <a:gdLst>
                  <a:gd name="connsiteX0" fmla="*/ 1550 w 1549"/>
                  <a:gd name="connsiteY0" fmla="*/ 54964 h 54963"/>
                  <a:gd name="connsiteX1" fmla="*/ 0 w 1549"/>
                  <a:gd name="connsiteY1" fmla="*/ 0 h 549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549" h="54963">
                    <a:moveTo>
                      <a:pt x="1550" y="54964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121" name="Forma livre: Forma 1120">
                <a:extLst>
                  <a:ext uri="{FF2B5EF4-FFF2-40B4-BE49-F238E27FC236}">
                    <a16:creationId xmlns:a16="http://schemas.microsoft.com/office/drawing/2014/main" id="{5990E875-F19E-543F-4CB5-D1E24D2F4BDA}"/>
                  </a:ext>
                </a:extLst>
              </p:cNvPr>
              <p:cNvSpPr/>
              <p:nvPr/>
            </p:nvSpPr>
            <p:spPr>
              <a:xfrm>
                <a:off x="11505557" y="3170357"/>
                <a:ext cx="1549" cy="54963"/>
              </a:xfrm>
              <a:custGeom>
                <a:avLst/>
                <a:gdLst>
                  <a:gd name="connsiteX0" fmla="*/ 0 w 1549"/>
                  <a:gd name="connsiteY0" fmla="*/ 54964 h 54963"/>
                  <a:gd name="connsiteX1" fmla="*/ 1550 w 1549"/>
                  <a:gd name="connsiteY1" fmla="*/ 0 h 549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549" h="54963">
                    <a:moveTo>
                      <a:pt x="0" y="54964"/>
                    </a:moveTo>
                    <a:lnTo>
                      <a:pt x="155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122" name="Gráfico 11">
            <a:extLst>
              <a:ext uri="{FF2B5EF4-FFF2-40B4-BE49-F238E27FC236}">
                <a16:creationId xmlns:a16="http://schemas.microsoft.com/office/drawing/2014/main" id="{FDB0E07F-C9D1-D9BE-85A6-61CA7CA3B472}"/>
              </a:ext>
            </a:extLst>
          </p:cNvPr>
          <p:cNvGrpSpPr/>
          <p:nvPr/>
        </p:nvGrpSpPr>
        <p:grpSpPr>
          <a:xfrm>
            <a:off x="10607596" y="3129824"/>
            <a:ext cx="327015" cy="327046"/>
            <a:chOff x="10607596" y="3129824"/>
            <a:chExt cx="327015" cy="327046"/>
          </a:xfrm>
          <a:noFill/>
        </p:grpSpPr>
        <p:sp>
          <p:nvSpPr>
            <p:cNvPr id="1123" name="Forma livre: Forma 1122">
              <a:extLst>
                <a:ext uri="{FF2B5EF4-FFF2-40B4-BE49-F238E27FC236}">
                  <a16:creationId xmlns:a16="http://schemas.microsoft.com/office/drawing/2014/main" id="{3DC5FC2F-D3E1-EF2F-3794-6B301DDF6F2F}"/>
                </a:ext>
              </a:extLst>
            </p:cNvPr>
            <p:cNvSpPr/>
            <p:nvPr/>
          </p:nvSpPr>
          <p:spPr>
            <a:xfrm>
              <a:off x="10779697" y="3220333"/>
              <a:ext cx="64455" cy="80145"/>
            </a:xfrm>
            <a:custGeom>
              <a:avLst/>
              <a:gdLst>
                <a:gd name="connsiteX0" fmla="*/ 0 w 64455"/>
                <a:gd name="connsiteY0" fmla="*/ 40484 h 80145"/>
                <a:gd name="connsiteX1" fmla="*/ 40484 w 64455"/>
                <a:gd name="connsiteY1" fmla="*/ 0 h 80145"/>
                <a:gd name="connsiteX2" fmla="*/ 64455 w 64455"/>
                <a:gd name="connsiteY2" fmla="*/ 23971 h 80145"/>
                <a:gd name="connsiteX3" fmla="*/ 8232 w 64455"/>
                <a:gd name="connsiteY3" fmla="*/ 80145 h 801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4455" h="80145">
                  <a:moveTo>
                    <a:pt x="0" y="40484"/>
                  </a:moveTo>
                  <a:lnTo>
                    <a:pt x="40484" y="0"/>
                  </a:lnTo>
                  <a:lnTo>
                    <a:pt x="64455" y="23971"/>
                  </a:lnTo>
                  <a:lnTo>
                    <a:pt x="8232" y="80145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24" name="Forma livre: Forma 1123">
              <a:extLst>
                <a:ext uri="{FF2B5EF4-FFF2-40B4-BE49-F238E27FC236}">
                  <a16:creationId xmlns:a16="http://schemas.microsoft.com/office/drawing/2014/main" id="{A43E5224-9922-81DC-DFF0-4D94001B34D0}"/>
                </a:ext>
              </a:extLst>
            </p:cNvPr>
            <p:cNvSpPr/>
            <p:nvPr/>
          </p:nvSpPr>
          <p:spPr>
            <a:xfrm>
              <a:off x="10607596" y="3264019"/>
              <a:ext cx="192851" cy="192851"/>
            </a:xfrm>
            <a:custGeom>
              <a:avLst/>
              <a:gdLst>
                <a:gd name="connsiteX0" fmla="*/ 77040 w 192851"/>
                <a:gd name="connsiteY0" fmla="*/ 185805 h 192851"/>
                <a:gd name="connsiteX1" fmla="*/ 42803 w 192851"/>
                <a:gd name="connsiteY1" fmla="*/ 185805 h 192851"/>
                <a:gd name="connsiteX2" fmla="*/ 7064 w 192851"/>
                <a:gd name="connsiteY2" fmla="*/ 150067 h 192851"/>
                <a:gd name="connsiteX3" fmla="*/ 7064 w 192851"/>
                <a:gd name="connsiteY3" fmla="*/ 115829 h 192851"/>
                <a:gd name="connsiteX4" fmla="*/ 115829 w 192851"/>
                <a:gd name="connsiteY4" fmla="*/ 7064 h 192851"/>
                <a:gd name="connsiteX5" fmla="*/ 150067 w 192851"/>
                <a:gd name="connsiteY5" fmla="*/ 7064 h 192851"/>
                <a:gd name="connsiteX6" fmla="*/ 185805 w 192851"/>
                <a:gd name="connsiteY6" fmla="*/ 42803 h 192851"/>
                <a:gd name="connsiteX7" fmla="*/ 185805 w 192851"/>
                <a:gd name="connsiteY7" fmla="*/ 77040 h 192851"/>
                <a:gd name="connsiteX8" fmla="*/ 77040 w 192851"/>
                <a:gd name="connsiteY8" fmla="*/ 185805 h 1928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92851" h="192851">
                  <a:moveTo>
                    <a:pt x="77040" y="185805"/>
                  </a:moveTo>
                  <a:cubicBezTo>
                    <a:pt x="67645" y="195200"/>
                    <a:pt x="52197" y="195200"/>
                    <a:pt x="42803" y="185805"/>
                  </a:cubicBezTo>
                  <a:lnTo>
                    <a:pt x="7064" y="150067"/>
                  </a:lnTo>
                  <a:cubicBezTo>
                    <a:pt x="-2379" y="140672"/>
                    <a:pt x="-2331" y="125224"/>
                    <a:pt x="7064" y="115829"/>
                  </a:cubicBezTo>
                  <a:lnTo>
                    <a:pt x="115829" y="7064"/>
                  </a:lnTo>
                  <a:cubicBezTo>
                    <a:pt x="125224" y="-2331"/>
                    <a:pt x="140672" y="-2379"/>
                    <a:pt x="150067" y="7064"/>
                  </a:cubicBezTo>
                  <a:lnTo>
                    <a:pt x="185805" y="42803"/>
                  </a:lnTo>
                  <a:cubicBezTo>
                    <a:pt x="195200" y="52246"/>
                    <a:pt x="195200" y="67645"/>
                    <a:pt x="185805" y="77040"/>
                  </a:cubicBezTo>
                  <a:lnTo>
                    <a:pt x="77040" y="185805"/>
                  </a:ln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25" name="Forma livre: Forma 1124">
              <a:extLst>
                <a:ext uri="{FF2B5EF4-FFF2-40B4-BE49-F238E27FC236}">
                  <a16:creationId xmlns:a16="http://schemas.microsoft.com/office/drawing/2014/main" id="{36A8517A-3856-8393-47BA-77D000C3B9DE}"/>
                </a:ext>
              </a:extLst>
            </p:cNvPr>
            <p:cNvSpPr/>
            <p:nvPr/>
          </p:nvSpPr>
          <p:spPr>
            <a:xfrm>
              <a:off x="10709733" y="3318844"/>
              <a:ext cx="35908" cy="35908"/>
            </a:xfrm>
            <a:custGeom>
              <a:avLst/>
              <a:gdLst>
                <a:gd name="connsiteX0" fmla="*/ 5266 w 35908"/>
                <a:gd name="connsiteY0" fmla="*/ 5266 h 35908"/>
                <a:gd name="connsiteX1" fmla="*/ 5266 w 35908"/>
                <a:gd name="connsiteY1" fmla="*/ 30642 h 35908"/>
                <a:gd name="connsiteX2" fmla="*/ 30642 w 35908"/>
                <a:gd name="connsiteY2" fmla="*/ 30642 h 35908"/>
                <a:gd name="connsiteX3" fmla="*/ 30642 w 35908"/>
                <a:gd name="connsiteY3" fmla="*/ 5266 h 35908"/>
                <a:gd name="connsiteX4" fmla="*/ 5266 w 35908"/>
                <a:gd name="connsiteY4" fmla="*/ 5266 h 359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5908" h="35908">
                  <a:moveTo>
                    <a:pt x="5266" y="5266"/>
                  </a:moveTo>
                  <a:cubicBezTo>
                    <a:pt x="-1755" y="12288"/>
                    <a:pt x="-1755" y="23668"/>
                    <a:pt x="5266" y="30642"/>
                  </a:cubicBezTo>
                  <a:cubicBezTo>
                    <a:pt x="12288" y="37664"/>
                    <a:pt x="23668" y="37664"/>
                    <a:pt x="30642" y="30642"/>
                  </a:cubicBezTo>
                  <a:cubicBezTo>
                    <a:pt x="37663" y="23620"/>
                    <a:pt x="37663" y="12288"/>
                    <a:pt x="30642" y="5266"/>
                  </a:cubicBezTo>
                  <a:cubicBezTo>
                    <a:pt x="23620" y="-1755"/>
                    <a:pt x="12288" y="-1755"/>
                    <a:pt x="5266" y="5266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126" name="Gráfico 11">
              <a:extLst>
                <a:ext uri="{FF2B5EF4-FFF2-40B4-BE49-F238E27FC236}">
                  <a16:creationId xmlns:a16="http://schemas.microsoft.com/office/drawing/2014/main" id="{A4C7C93A-BD11-F956-D0FC-35FECCC192C2}"/>
                </a:ext>
              </a:extLst>
            </p:cNvPr>
            <p:cNvGrpSpPr/>
            <p:nvPr/>
          </p:nvGrpSpPr>
          <p:grpSpPr>
            <a:xfrm>
              <a:off x="10833352" y="3129824"/>
              <a:ext cx="101260" cy="101308"/>
              <a:chOff x="10833352" y="3129824"/>
              <a:chExt cx="101260" cy="101308"/>
            </a:xfrm>
            <a:noFill/>
          </p:grpSpPr>
          <p:sp>
            <p:nvSpPr>
              <p:cNvPr id="1127" name="Forma livre: Forma 1126">
                <a:extLst>
                  <a:ext uri="{FF2B5EF4-FFF2-40B4-BE49-F238E27FC236}">
                    <a16:creationId xmlns:a16="http://schemas.microsoft.com/office/drawing/2014/main" id="{45ECA42A-DBFC-F891-FAF0-A353313C8E14}"/>
                  </a:ext>
                </a:extLst>
              </p:cNvPr>
              <p:cNvSpPr/>
              <p:nvPr/>
            </p:nvSpPr>
            <p:spPr>
              <a:xfrm>
                <a:off x="10833352" y="3129824"/>
                <a:ext cx="101211" cy="67602"/>
              </a:xfrm>
              <a:custGeom>
                <a:avLst/>
                <a:gdLst>
                  <a:gd name="connsiteX0" fmla="*/ 101212 w 101211"/>
                  <a:gd name="connsiteY0" fmla="*/ 0 h 67602"/>
                  <a:gd name="connsiteX1" fmla="*/ 50558 w 101211"/>
                  <a:gd name="connsiteY1" fmla="*/ 8959 h 67602"/>
                  <a:gd name="connsiteX2" fmla="*/ 1986 w 101211"/>
                  <a:gd name="connsiteY2" fmla="*/ 67603 h 676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01211" h="67602">
                    <a:moveTo>
                      <a:pt x="101212" y="0"/>
                    </a:moveTo>
                    <a:cubicBezTo>
                      <a:pt x="100001" y="920"/>
                      <a:pt x="89638" y="5811"/>
                      <a:pt x="50558" y="8959"/>
                    </a:cubicBezTo>
                    <a:cubicBezTo>
                      <a:pt x="13657" y="11913"/>
                      <a:pt x="-6682" y="41259"/>
                      <a:pt x="1986" y="67603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128" name="Forma livre: Forma 1127">
                <a:extLst>
                  <a:ext uri="{FF2B5EF4-FFF2-40B4-BE49-F238E27FC236}">
                    <a16:creationId xmlns:a16="http://schemas.microsoft.com/office/drawing/2014/main" id="{958142D6-E02E-17DE-1B6D-1F70339A99C6}"/>
                  </a:ext>
                </a:extLst>
              </p:cNvPr>
              <p:cNvSpPr/>
              <p:nvPr/>
            </p:nvSpPr>
            <p:spPr>
              <a:xfrm>
                <a:off x="10861876" y="3129921"/>
                <a:ext cx="72736" cy="101211"/>
              </a:xfrm>
              <a:custGeom>
                <a:avLst/>
                <a:gdLst>
                  <a:gd name="connsiteX0" fmla="*/ 72736 w 72736"/>
                  <a:gd name="connsiteY0" fmla="*/ 0 h 101211"/>
                  <a:gd name="connsiteX1" fmla="*/ 63777 w 72736"/>
                  <a:gd name="connsiteY1" fmla="*/ 50654 h 101211"/>
                  <a:gd name="connsiteX2" fmla="*/ 5133 w 72736"/>
                  <a:gd name="connsiteY2" fmla="*/ 99225 h 101211"/>
                  <a:gd name="connsiteX3" fmla="*/ 5036 w 72736"/>
                  <a:gd name="connsiteY3" fmla="*/ 99032 h 101211"/>
                  <a:gd name="connsiteX4" fmla="*/ 27022 w 72736"/>
                  <a:gd name="connsiteY4" fmla="*/ 63971 h 101211"/>
                  <a:gd name="connsiteX5" fmla="*/ 31622 w 72736"/>
                  <a:gd name="connsiteY5" fmla="*/ 41114 h 101211"/>
                  <a:gd name="connsiteX6" fmla="*/ 31525 w 72736"/>
                  <a:gd name="connsiteY6" fmla="*/ 41017 h 101211"/>
                  <a:gd name="connsiteX7" fmla="*/ 8668 w 72736"/>
                  <a:gd name="connsiteY7" fmla="*/ 45618 h 101211"/>
                  <a:gd name="connsiteX8" fmla="*/ 0 w 72736"/>
                  <a:gd name="connsiteY8" fmla="*/ 46877 h 1012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72736" h="101211">
                    <a:moveTo>
                      <a:pt x="72736" y="0"/>
                    </a:moveTo>
                    <a:cubicBezTo>
                      <a:pt x="71816" y="1211"/>
                      <a:pt x="66925" y="11574"/>
                      <a:pt x="63777" y="50654"/>
                    </a:cubicBezTo>
                    <a:cubicBezTo>
                      <a:pt x="60823" y="87554"/>
                      <a:pt x="31477" y="107894"/>
                      <a:pt x="5133" y="99225"/>
                    </a:cubicBezTo>
                    <a:lnTo>
                      <a:pt x="5036" y="99032"/>
                    </a:lnTo>
                    <a:cubicBezTo>
                      <a:pt x="23971" y="85617"/>
                      <a:pt x="25860" y="76562"/>
                      <a:pt x="27022" y="63971"/>
                    </a:cubicBezTo>
                    <a:cubicBezTo>
                      <a:pt x="28136" y="52058"/>
                      <a:pt x="31622" y="41114"/>
                      <a:pt x="31622" y="41114"/>
                    </a:cubicBezTo>
                    <a:lnTo>
                      <a:pt x="31525" y="41017"/>
                    </a:lnTo>
                    <a:cubicBezTo>
                      <a:pt x="31525" y="41017"/>
                      <a:pt x="20581" y="44504"/>
                      <a:pt x="8668" y="45618"/>
                    </a:cubicBezTo>
                    <a:cubicBezTo>
                      <a:pt x="5617" y="45908"/>
                      <a:pt x="2760" y="46247"/>
                      <a:pt x="0" y="46877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130" name="Gráfico 13">
            <a:extLst>
              <a:ext uri="{FF2B5EF4-FFF2-40B4-BE49-F238E27FC236}">
                <a16:creationId xmlns:a16="http://schemas.microsoft.com/office/drawing/2014/main" id="{2ED05A93-76CC-B4B9-DA21-3B74C9AA2E52}"/>
              </a:ext>
            </a:extLst>
          </p:cNvPr>
          <p:cNvGrpSpPr/>
          <p:nvPr/>
        </p:nvGrpSpPr>
        <p:grpSpPr>
          <a:xfrm>
            <a:off x="6343840" y="4730919"/>
            <a:ext cx="297949" cy="292859"/>
            <a:chOff x="6343840" y="4730919"/>
            <a:chExt cx="297949" cy="292859"/>
          </a:xfrm>
          <a:noFill/>
        </p:grpSpPr>
        <p:grpSp>
          <p:nvGrpSpPr>
            <p:cNvPr id="1131" name="Gráfico 13">
              <a:extLst>
                <a:ext uri="{FF2B5EF4-FFF2-40B4-BE49-F238E27FC236}">
                  <a16:creationId xmlns:a16="http://schemas.microsoft.com/office/drawing/2014/main" id="{9F4EA275-0F6E-005A-02D2-FC33FEBC0662}"/>
                </a:ext>
              </a:extLst>
            </p:cNvPr>
            <p:cNvGrpSpPr/>
            <p:nvPr/>
          </p:nvGrpSpPr>
          <p:grpSpPr>
            <a:xfrm>
              <a:off x="6410312" y="4730919"/>
              <a:ext cx="176479" cy="117346"/>
              <a:chOff x="6410312" y="4730919"/>
              <a:chExt cx="176479" cy="117346"/>
            </a:xfrm>
            <a:noFill/>
          </p:grpSpPr>
          <p:sp>
            <p:nvSpPr>
              <p:cNvPr id="1132" name="Forma livre: Forma 1131">
                <a:extLst>
                  <a:ext uri="{FF2B5EF4-FFF2-40B4-BE49-F238E27FC236}">
                    <a16:creationId xmlns:a16="http://schemas.microsoft.com/office/drawing/2014/main" id="{B1A79520-0292-4A1E-EB5A-C047367CEFF7}"/>
                  </a:ext>
                </a:extLst>
              </p:cNvPr>
              <p:cNvSpPr/>
              <p:nvPr/>
            </p:nvSpPr>
            <p:spPr>
              <a:xfrm>
                <a:off x="6410312" y="4730919"/>
                <a:ext cx="176479" cy="117346"/>
              </a:xfrm>
              <a:custGeom>
                <a:avLst/>
                <a:gdLst>
                  <a:gd name="connsiteX0" fmla="*/ 0 w 176479"/>
                  <a:gd name="connsiteY0" fmla="*/ 84570 h 117346"/>
                  <a:gd name="connsiteX1" fmla="*/ 37085 w 176479"/>
                  <a:gd name="connsiteY1" fmla="*/ 16384 h 117346"/>
                  <a:gd name="connsiteX2" fmla="*/ 64752 w 176479"/>
                  <a:gd name="connsiteY2" fmla="*/ 0 h 117346"/>
                  <a:gd name="connsiteX3" fmla="*/ 102819 w 176479"/>
                  <a:gd name="connsiteY3" fmla="*/ 3287 h 117346"/>
                  <a:gd name="connsiteX4" fmla="*/ 131614 w 176479"/>
                  <a:gd name="connsiteY4" fmla="*/ 26244 h 117346"/>
                  <a:gd name="connsiteX5" fmla="*/ 150941 w 176479"/>
                  <a:gd name="connsiteY5" fmla="*/ 59945 h 117346"/>
                  <a:gd name="connsiteX6" fmla="*/ 168699 w 176479"/>
                  <a:gd name="connsiteY6" fmla="*/ 49791 h 117346"/>
                  <a:gd name="connsiteX7" fmla="*/ 173654 w 176479"/>
                  <a:gd name="connsiteY7" fmla="*/ 50428 h 117346"/>
                  <a:gd name="connsiteX8" fmla="*/ 176352 w 176479"/>
                  <a:gd name="connsiteY8" fmla="*/ 56707 h 117346"/>
                  <a:gd name="connsiteX9" fmla="*/ 159084 w 176479"/>
                  <a:gd name="connsiteY9" fmla="*/ 112139 h 117346"/>
                  <a:gd name="connsiteX10" fmla="*/ 150402 w 176479"/>
                  <a:gd name="connsiteY10" fmla="*/ 117094 h 117346"/>
                  <a:gd name="connsiteX11" fmla="*/ 94038 w 176479"/>
                  <a:gd name="connsiteY11" fmla="*/ 103751 h 117346"/>
                  <a:gd name="connsiteX12" fmla="*/ 89770 w 176479"/>
                  <a:gd name="connsiteY12" fmla="*/ 98404 h 117346"/>
                  <a:gd name="connsiteX13" fmla="*/ 92468 w 176479"/>
                  <a:gd name="connsiteY13" fmla="*/ 93351 h 117346"/>
                  <a:gd name="connsiteX14" fmla="*/ 110079 w 176479"/>
                  <a:gd name="connsiteY14" fmla="*/ 83295 h 117346"/>
                  <a:gd name="connsiteX15" fmla="*/ 93596 w 176479"/>
                  <a:gd name="connsiteY15" fmla="*/ 54451 h 117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176479" h="117346">
                    <a:moveTo>
                      <a:pt x="0" y="84570"/>
                    </a:moveTo>
                    <a:lnTo>
                      <a:pt x="37085" y="16384"/>
                    </a:lnTo>
                    <a:cubicBezTo>
                      <a:pt x="37085" y="16384"/>
                      <a:pt x="46896" y="0"/>
                      <a:pt x="64752" y="0"/>
                    </a:cubicBezTo>
                    <a:lnTo>
                      <a:pt x="102819" y="3287"/>
                    </a:lnTo>
                    <a:cubicBezTo>
                      <a:pt x="102819" y="3287"/>
                      <a:pt x="119056" y="4317"/>
                      <a:pt x="131614" y="26244"/>
                    </a:cubicBezTo>
                    <a:lnTo>
                      <a:pt x="150941" y="59945"/>
                    </a:lnTo>
                    <a:lnTo>
                      <a:pt x="168699" y="49791"/>
                    </a:lnTo>
                    <a:cubicBezTo>
                      <a:pt x="170759" y="48613"/>
                      <a:pt x="172722" y="49692"/>
                      <a:pt x="173654" y="50428"/>
                    </a:cubicBezTo>
                    <a:cubicBezTo>
                      <a:pt x="175665" y="51998"/>
                      <a:pt x="176891" y="54745"/>
                      <a:pt x="176352" y="56707"/>
                    </a:cubicBezTo>
                    <a:lnTo>
                      <a:pt x="159084" y="112139"/>
                    </a:lnTo>
                    <a:cubicBezTo>
                      <a:pt x="158054" y="115916"/>
                      <a:pt x="154179" y="118124"/>
                      <a:pt x="150402" y="117094"/>
                    </a:cubicBezTo>
                    <a:lnTo>
                      <a:pt x="94038" y="103751"/>
                    </a:lnTo>
                    <a:cubicBezTo>
                      <a:pt x="91928" y="103162"/>
                      <a:pt x="90113" y="100857"/>
                      <a:pt x="89770" y="98404"/>
                    </a:cubicBezTo>
                    <a:cubicBezTo>
                      <a:pt x="89525" y="96294"/>
                      <a:pt x="90457" y="94479"/>
                      <a:pt x="92468" y="93351"/>
                    </a:cubicBezTo>
                    <a:lnTo>
                      <a:pt x="110079" y="83295"/>
                    </a:lnTo>
                    <a:lnTo>
                      <a:pt x="93596" y="54451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133" name="Forma livre: Forma 1132">
                <a:extLst>
                  <a:ext uri="{FF2B5EF4-FFF2-40B4-BE49-F238E27FC236}">
                    <a16:creationId xmlns:a16="http://schemas.microsoft.com/office/drawing/2014/main" id="{61E3E794-E5A8-4D14-EFE6-94E598E86372}"/>
                  </a:ext>
                </a:extLst>
              </p:cNvPr>
              <p:cNvSpPr/>
              <p:nvPr/>
            </p:nvSpPr>
            <p:spPr>
              <a:xfrm>
                <a:off x="6448673" y="4736714"/>
                <a:ext cx="73680" cy="100114"/>
              </a:xfrm>
              <a:custGeom>
                <a:avLst/>
                <a:gdLst>
                  <a:gd name="connsiteX0" fmla="*/ 0 w 73680"/>
                  <a:gd name="connsiteY0" fmla="*/ 100115 h 100114"/>
                  <a:gd name="connsiteX1" fmla="*/ 46553 w 73680"/>
                  <a:gd name="connsiteY1" fmla="*/ 15544 h 100114"/>
                  <a:gd name="connsiteX2" fmla="*/ 73680 w 73680"/>
                  <a:gd name="connsiteY2" fmla="*/ 583 h 1001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73680" h="100114">
                    <a:moveTo>
                      <a:pt x="0" y="100115"/>
                    </a:moveTo>
                    <a:lnTo>
                      <a:pt x="46553" y="15544"/>
                    </a:lnTo>
                    <a:cubicBezTo>
                      <a:pt x="46553" y="15544"/>
                      <a:pt x="56805" y="-3538"/>
                      <a:pt x="73680" y="583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134" name="Gráfico 13">
              <a:extLst>
                <a:ext uri="{FF2B5EF4-FFF2-40B4-BE49-F238E27FC236}">
                  <a16:creationId xmlns:a16="http://schemas.microsoft.com/office/drawing/2014/main" id="{FFDD4372-A175-FD8C-783A-C624CE208205}"/>
                </a:ext>
              </a:extLst>
            </p:cNvPr>
            <p:cNvGrpSpPr/>
            <p:nvPr/>
          </p:nvGrpSpPr>
          <p:grpSpPr>
            <a:xfrm>
              <a:off x="6491473" y="4855960"/>
              <a:ext cx="150316" cy="167818"/>
              <a:chOff x="6491473" y="4855960"/>
              <a:chExt cx="150316" cy="167818"/>
            </a:xfrm>
            <a:noFill/>
          </p:grpSpPr>
          <p:sp>
            <p:nvSpPr>
              <p:cNvPr id="1135" name="Forma livre: Forma 1134">
                <a:extLst>
                  <a:ext uri="{FF2B5EF4-FFF2-40B4-BE49-F238E27FC236}">
                    <a16:creationId xmlns:a16="http://schemas.microsoft.com/office/drawing/2014/main" id="{0377F05B-D97D-6EBF-B951-D84019B37448}"/>
                  </a:ext>
                </a:extLst>
              </p:cNvPr>
              <p:cNvSpPr/>
              <p:nvPr/>
            </p:nvSpPr>
            <p:spPr>
              <a:xfrm>
                <a:off x="6491473" y="4855960"/>
                <a:ext cx="150316" cy="167818"/>
              </a:xfrm>
              <a:custGeom>
                <a:avLst/>
                <a:gdLst>
                  <a:gd name="connsiteX0" fmla="*/ 105885 w 150316"/>
                  <a:gd name="connsiteY0" fmla="*/ 0 h 167818"/>
                  <a:gd name="connsiteX1" fmla="*/ 146159 w 150316"/>
                  <a:gd name="connsiteY1" fmla="*/ 66371 h 167818"/>
                  <a:gd name="connsiteX2" fmla="*/ 146355 w 150316"/>
                  <a:gd name="connsiteY2" fmla="*/ 98551 h 167818"/>
                  <a:gd name="connsiteX3" fmla="*/ 124378 w 150316"/>
                  <a:gd name="connsiteY3" fmla="*/ 129750 h 167818"/>
                  <a:gd name="connsiteX4" fmla="*/ 90040 w 150316"/>
                  <a:gd name="connsiteY4" fmla="*/ 142847 h 167818"/>
                  <a:gd name="connsiteX5" fmla="*/ 51189 w 150316"/>
                  <a:gd name="connsiteY5" fmla="*/ 142847 h 167818"/>
                  <a:gd name="connsiteX6" fmla="*/ 51189 w 150316"/>
                  <a:gd name="connsiteY6" fmla="*/ 163303 h 167818"/>
                  <a:gd name="connsiteX7" fmla="*/ 48000 w 150316"/>
                  <a:gd name="connsiteY7" fmla="*/ 167276 h 167818"/>
                  <a:gd name="connsiteX8" fmla="*/ 41231 w 150316"/>
                  <a:gd name="connsiteY8" fmla="*/ 166443 h 167818"/>
                  <a:gd name="connsiteX9" fmla="*/ 2036 w 150316"/>
                  <a:gd name="connsiteY9" fmla="*/ 123618 h 167818"/>
                  <a:gd name="connsiteX10" fmla="*/ 2085 w 150316"/>
                  <a:gd name="connsiteY10" fmla="*/ 113611 h 167818"/>
                  <a:gd name="connsiteX11" fmla="*/ 41966 w 150316"/>
                  <a:gd name="connsiteY11" fmla="*/ 71571 h 167818"/>
                  <a:gd name="connsiteX12" fmla="*/ 48736 w 150316"/>
                  <a:gd name="connsiteY12" fmla="*/ 70590 h 167818"/>
                  <a:gd name="connsiteX13" fmla="*/ 51777 w 150316"/>
                  <a:gd name="connsiteY13" fmla="*/ 75446 h 167818"/>
                  <a:gd name="connsiteX14" fmla="*/ 51777 w 150316"/>
                  <a:gd name="connsiteY14" fmla="*/ 95706 h 167818"/>
                  <a:gd name="connsiteX15" fmla="*/ 84840 w 150316"/>
                  <a:gd name="connsiteY15" fmla="*/ 95706 h 1678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150316" h="167818">
                    <a:moveTo>
                      <a:pt x="105885" y="0"/>
                    </a:moveTo>
                    <a:lnTo>
                      <a:pt x="146159" y="66371"/>
                    </a:lnTo>
                    <a:cubicBezTo>
                      <a:pt x="146159" y="66371"/>
                      <a:pt x="155381" y="83099"/>
                      <a:pt x="146355" y="98551"/>
                    </a:cubicBezTo>
                    <a:lnTo>
                      <a:pt x="124378" y="129750"/>
                    </a:lnTo>
                    <a:cubicBezTo>
                      <a:pt x="124378" y="129750"/>
                      <a:pt x="115303" y="143043"/>
                      <a:pt x="90040" y="142847"/>
                    </a:cubicBezTo>
                    <a:lnTo>
                      <a:pt x="51189" y="142847"/>
                    </a:lnTo>
                    <a:lnTo>
                      <a:pt x="51189" y="163303"/>
                    </a:lnTo>
                    <a:cubicBezTo>
                      <a:pt x="51189" y="165707"/>
                      <a:pt x="49128" y="166835"/>
                      <a:pt x="48000" y="167276"/>
                    </a:cubicBezTo>
                    <a:cubicBezTo>
                      <a:pt x="45646" y="168258"/>
                      <a:pt x="42604" y="167865"/>
                      <a:pt x="41231" y="166443"/>
                    </a:cubicBezTo>
                    <a:lnTo>
                      <a:pt x="2036" y="123618"/>
                    </a:lnTo>
                    <a:cubicBezTo>
                      <a:pt x="-711" y="120822"/>
                      <a:pt x="-662" y="116358"/>
                      <a:pt x="2085" y="113611"/>
                    </a:cubicBezTo>
                    <a:lnTo>
                      <a:pt x="41966" y="71571"/>
                    </a:lnTo>
                    <a:cubicBezTo>
                      <a:pt x="43536" y="70050"/>
                      <a:pt x="46430" y="69609"/>
                      <a:pt x="48736" y="70590"/>
                    </a:cubicBezTo>
                    <a:cubicBezTo>
                      <a:pt x="50698" y="71424"/>
                      <a:pt x="51777" y="73141"/>
                      <a:pt x="51777" y="75446"/>
                    </a:cubicBezTo>
                    <a:lnTo>
                      <a:pt x="51777" y="95706"/>
                    </a:lnTo>
                    <a:lnTo>
                      <a:pt x="84840" y="95706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136" name="Forma livre: Forma 1135">
                <a:extLst>
                  <a:ext uri="{FF2B5EF4-FFF2-40B4-BE49-F238E27FC236}">
                    <a16:creationId xmlns:a16="http://schemas.microsoft.com/office/drawing/2014/main" id="{2BB95B1E-0698-605C-3504-49CBB51625F6}"/>
                  </a:ext>
                </a:extLst>
              </p:cNvPr>
              <p:cNvSpPr/>
              <p:nvPr/>
            </p:nvSpPr>
            <p:spPr>
              <a:xfrm>
                <a:off x="6559635" y="4878378"/>
                <a:ext cx="54531" cy="113708"/>
              </a:xfrm>
              <a:custGeom>
                <a:avLst/>
                <a:gdLst>
                  <a:gd name="connsiteX0" fmla="*/ 0 w 54531"/>
                  <a:gd name="connsiteY0" fmla="*/ 0 h 113708"/>
                  <a:gd name="connsiteX1" fmla="*/ 49692 w 54531"/>
                  <a:gd name="connsiteY1" fmla="*/ 82755 h 113708"/>
                  <a:gd name="connsiteX2" fmla="*/ 49006 w 54531"/>
                  <a:gd name="connsiteY2" fmla="*/ 113709 h 1137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54531" h="113708">
                    <a:moveTo>
                      <a:pt x="0" y="0"/>
                    </a:moveTo>
                    <a:lnTo>
                      <a:pt x="49692" y="82755"/>
                    </a:lnTo>
                    <a:cubicBezTo>
                      <a:pt x="49692" y="82755"/>
                      <a:pt x="61024" y="101249"/>
                      <a:pt x="49006" y="113709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137" name="Gráfico 13">
              <a:extLst>
                <a:ext uri="{FF2B5EF4-FFF2-40B4-BE49-F238E27FC236}">
                  <a16:creationId xmlns:a16="http://schemas.microsoft.com/office/drawing/2014/main" id="{6A5975DA-8EE6-782B-6E59-1AA16631745F}"/>
                </a:ext>
              </a:extLst>
            </p:cNvPr>
            <p:cNvGrpSpPr/>
            <p:nvPr/>
          </p:nvGrpSpPr>
          <p:grpSpPr>
            <a:xfrm>
              <a:off x="6343840" y="4844375"/>
              <a:ext cx="122738" cy="153058"/>
              <a:chOff x="6343840" y="4844375"/>
              <a:chExt cx="122738" cy="153058"/>
            </a:xfrm>
            <a:noFill/>
          </p:grpSpPr>
          <p:sp>
            <p:nvSpPr>
              <p:cNvPr id="1138" name="Forma livre: Forma 1137">
                <a:extLst>
                  <a:ext uri="{FF2B5EF4-FFF2-40B4-BE49-F238E27FC236}">
                    <a16:creationId xmlns:a16="http://schemas.microsoft.com/office/drawing/2014/main" id="{E671C840-9BF8-2943-A05A-F0F475D80109}"/>
                  </a:ext>
                </a:extLst>
              </p:cNvPr>
              <p:cNvSpPr/>
              <p:nvPr/>
            </p:nvSpPr>
            <p:spPr>
              <a:xfrm>
                <a:off x="6343840" y="4844375"/>
                <a:ext cx="122590" cy="153058"/>
              </a:xfrm>
              <a:custGeom>
                <a:avLst/>
                <a:gdLst>
                  <a:gd name="connsiteX0" fmla="*/ 122591 w 122590"/>
                  <a:gd name="connsiteY0" fmla="*/ 153058 h 153058"/>
                  <a:gd name="connsiteX1" fmla="*/ 44937 w 122590"/>
                  <a:gd name="connsiteY1" fmla="*/ 153058 h 153058"/>
                  <a:gd name="connsiteX2" fmla="*/ 17271 w 122590"/>
                  <a:gd name="connsiteY2" fmla="*/ 136968 h 153058"/>
                  <a:gd name="connsiteX3" fmla="*/ 1818 w 122590"/>
                  <a:gd name="connsiteY3" fmla="*/ 102041 h 153058"/>
                  <a:gd name="connsiteX4" fmla="*/ 8048 w 122590"/>
                  <a:gd name="connsiteY4" fmla="*/ 65741 h 153058"/>
                  <a:gd name="connsiteX5" fmla="*/ 28259 w 122590"/>
                  <a:gd name="connsiteY5" fmla="*/ 32531 h 153058"/>
                  <a:gd name="connsiteX6" fmla="*/ 10795 w 122590"/>
                  <a:gd name="connsiteY6" fmla="*/ 21886 h 153058"/>
                  <a:gd name="connsiteX7" fmla="*/ 8980 w 122590"/>
                  <a:gd name="connsiteY7" fmla="*/ 17226 h 153058"/>
                  <a:gd name="connsiteX8" fmla="*/ 13199 w 122590"/>
                  <a:gd name="connsiteY8" fmla="*/ 11830 h 153058"/>
                  <a:gd name="connsiteX9" fmla="*/ 70102 w 122590"/>
                  <a:gd name="connsiteY9" fmla="*/ 204 h 153058"/>
                  <a:gd name="connsiteX10" fmla="*/ 78638 w 122590"/>
                  <a:gd name="connsiteY10" fmla="*/ 5404 h 153058"/>
                  <a:gd name="connsiteX11" fmla="*/ 94139 w 122590"/>
                  <a:gd name="connsiteY11" fmla="*/ 61228 h 153058"/>
                  <a:gd name="connsiteX12" fmla="*/ 91539 w 122590"/>
                  <a:gd name="connsiteY12" fmla="*/ 67556 h 153058"/>
                  <a:gd name="connsiteX13" fmla="*/ 85800 w 122590"/>
                  <a:gd name="connsiteY13" fmla="*/ 67654 h 153058"/>
                  <a:gd name="connsiteX14" fmla="*/ 68484 w 122590"/>
                  <a:gd name="connsiteY14" fmla="*/ 57107 h 153058"/>
                  <a:gd name="connsiteX15" fmla="*/ 51167 w 122590"/>
                  <a:gd name="connsiteY15" fmla="*/ 85461 h 1530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122590" h="153058">
                    <a:moveTo>
                      <a:pt x="122591" y="153058"/>
                    </a:moveTo>
                    <a:lnTo>
                      <a:pt x="44937" y="153058"/>
                    </a:lnTo>
                    <a:cubicBezTo>
                      <a:pt x="44937" y="153058"/>
                      <a:pt x="25855" y="152666"/>
                      <a:pt x="17271" y="136968"/>
                    </a:cubicBezTo>
                    <a:lnTo>
                      <a:pt x="1818" y="102041"/>
                    </a:lnTo>
                    <a:cubicBezTo>
                      <a:pt x="1818" y="102041"/>
                      <a:pt x="-5098" y="87276"/>
                      <a:pt x="8048" y="65741"/>
                    </a:cubicBezTo>
                    <a:lnTo>
                      <a:pt x="28259" y="32531"/>
                    </a:lnTo>
                    <a:lnTo>
                      <a:pt x="10795" y="21886"/>
                    </a:lnTo>
                    <a:cubicBezTo>
                      <a:pt x="8735" y="20660"/>
                      <a:pt x="8784" y="18403"/>
                      <a:pt x="8980" y="17226"/>
                    </a:cubicBezTo>
                    <a:cubicBezTo>
                      <a:pt x="9373" y="14675"/>
                      <a:pt x="11237" y="12320"/>
                      <a:pt x="13199" y="11830"/>
                    </a:cubicBezTo>
                    <a:lnTo>
                      <a:pt x="70102" y="204"/>
                    </a:lnTo>
                    <a:cubicBezTo>
                      <a:pt x="73880" y="-728"/>
                      <a:pt x="77755" y="1626"/>
                      <a:pt x="78638" y="5404"/>
                    </a:cubicBezTo>
                    <a:lnTo>
                      <a:pt x="94139" y="61228"/>
                    </a:lnTo>
                    <a:cubicBezTo>
                      <a:pt x="94630" y="63337"/>
                      <a:pt x="93502" y="66084"/>
                      <a:pt x="91539" y="67556"/>
                    </a:cubicBezTo>
                    <a:cubicBezTo>
                      <a:pt x="89822" y="68831"/>
                      <a:pt x="87762" y="68831"/>
                      <a:pt x="85800" y="67654"/>
                    </a:cubicBezTo>
                    <a:lnTo>
                      <a:pt x="68484" y="57107"/>
                    </a:lnTo>
                    <a:lnTo>
                      <a:pt x="51167" y="85461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139" name="Forma livre: Forma 1138">
                <a:extLst>
                  <a:ext uri="{FF2B5EF4-FFF2-40B4-BE49-F238E27FC236}">
                    <a16:creationId xmlns:a16="http://schemas.microsoft.com/office/drawing/2014/main" id="{C633BE83-257E-3C55-5147-730C48AF4651}"/>
                  </a:ext>
                </a:extLst>
              </p:cNvPr>
              <p:cNvSpPr/>
              <p:nvPr/>
            </p:nvSpPr>
            <p:spPr>
              <a:xfrm>
                <a:off x="6343892" y="4936949"/>
                <a:ext cx="122685" cy="16531"/>
              </a:xfrm>
              <a:custGeom>
                <a:avLst/>
                <a:gdLst>
                  <a:gd name="connsiteX0" fmla="*/ 122686 w 122685"/>
                  <a:gd name="connsiteY0" fmla="*/ 16531 h 16531"/>
                  <a:gd name="connsiteX1" fmla="*/ 26195 w 122685"/>
                  <a:gd name="connsiteY1" fmla="*/ 16531 h 16531"/>
                  <a:gd name="connsiteX2" fmla="*/ 0 w 122685"/>
                  <a:gd name="connsiteY2" fmla="*/ 0 h 165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22685" h="16531">
                    <a:moveTo>
                      <a:pt x="122686" y="16531"/>
                    </a:moveTo>
                    <a:lnTo>
                      <a:pt x="26195" y="16531"/>
                    </a:lnTo>
                    <a:cubicBezTo>
                      <a:pt x="26195" y="16531"/>
                      <a:pt x="4513" y="16777"/>
                      <a:pt x="0" y="0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140" name="Gráfico 13">
            <a:extLst>
              <a:ext uri="{FF2B5EF4-FFF2-40B4-BE49-F238E27FC236}">
                <a16:creationId xmlns:a16="http://schemas.microsoft.com/office/drawing/2014/main" id="{114DF66B-0145-8A96-0C42-3770B21A32DA}"/>
              </a:ext>
            </a:extLst>
          </p:cNvPr>
          <p:cNvGrpSpPr/>
          <p:nvPr/>
        </p:nvGrpSpPr>
        <p:grpSpPr>
          <a:xfrm>
            <a:off x="7620541" y="4731115"/>
            <a:ext cx="297467" cy="292464"/>
            <a:chOff x="7620541" y="4731115"/>
            <a:chExt cx="297467" cy="292464"/>
          </a:xfrm>
          <a:noFill/>
        </p:grpSpPr>
        <p:sp>
          <p:nvSpPr>
            <p:cNvPr id="1141" name="Forma livre: Forma 1140">
              <a:extLst>
                <a:ext uri="{FF2B5EF4-FFF2-40B4-BE49-F238E27FC236}">
                  <a16:creationId xmlns:a16="http://schemas.microsoft.com/office/drawing/2014/main" id="{D5A3C7F7-1E4A-AC1B-507A-B87A5C514C83}"/>
                </a:ext>
              </a:extLst>
            </p:cNvPr>
            <p:cNvSpPr/>
            <p:nvPr/>
          </p:nvSpPr>
          <p:spPr>
            <a:xfrm>
              <a:off x="7620541" y="4770359"/>
              <a:ext cx="297467" cy="127787"/>
            </a:xfrm>
            <a:custGeom>
              <a:avLst/>
              <a:gdLst>
                <a:gd name="connsiteX0" fmla="*/ 0 w 297467"/>
                <a:gd name="connsiteY0" fmla="*/ 127787 h 127787"/>
                <a:gd name="connsiteX1" fmla="*/ 148734 w 297467"/>
                <a:gd name="connsiteY1" fmla="*/ 0 h 127787"/>
                <a:gd name="connsiteX2" fmla="*/ 297468 w 297467"/>
                <a:gd name="connsiteY2" fmla="*/ 127787 h 1277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97467" h="127787">
                  <a:moveTo>
                    <a:pt x="0" y="127787"/>
                  </a:moveTo>
                  <a:cubicBezTo>
                    <a:pt x="10939" y="55432"/>
                    <a:pt x="73337" y="0"/>
                    <a:pt x="148734" y="0"/>
                  </a:cubicBezTo>
                  <a:cubicBezTo>
                    <a:pt x="224131" y="0"/>
                    <a:pt x="286529" y="55432"/>
                    <a:pt x="297468" y="127787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42" name="Forma livre: Forma 1141">
              <a:extLst>
                <a:ext uri="{FF2B5EF4-FFF2-40B4-BE49-F238E27FC236}">
                  <a16:creationId xmlns:a16="http://schemas.microsoft.com/office/drawing/2014/main" id="{94F23B2F-ABAB-2524-2AB2-5CE949D9F9FA}"/>
                </a:ext>
              </a:extLst>
            </p:cNvPr>
            <p:cNvSpPr/>
            <p:nvPr/>
          </p:nvSpPr>
          <p:spPr>
            <a:xfrm>
              <a:off x="7706828" y="4882638"/>
              <a:ext cx="124844" cy="18452"/>
            </a:xfrm>
            <a:custGeom>
              <a:avLst/>
              <a:gdLst>
                <a:gd name="connsiteX0" fmla="*/ 124844 w 124844"/>
                <a:gd name="connsiteY0" fmla="*/ 18452 h 18452"/>
                <a:gd name="connsiteX1" fmla="*/ 0 w 124844"/>
                <a:gd name="connsiteY1" fmla="*/ 18207 h 184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4844" h="18452">
                  <a:moveTo>
                    <a:pt x="124844" y="18452"/>
                  </a:moveTo>
                  <a:cubicBezTo>
                    <a:pt x="124844" y="18452"/>
                    <a:pt x="59062" y="-22901"/>
                    <a:pt x="0" y="18207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143" name="Gráfico 13">
              <a:extLst>
                <a:ext uri="{FF2B5EF4-FFF2-40B4-BE49-F238E27FC236}">
                  <a16:creationId xmlns:a16="http://schemas.microsoft.com/office/drawing/2014/main" id="{158CCD9C-97CA-CFA2-45D5-E2F9007C856C}"/>
                </a:ext>
              </a:extLst>
            </p:cNvPr>
            <p:cNvGrpSpPr/>
            <p:nvPr/>
          </p:nvGrpSpPr>
          <p:grpSpPr>
            <a:xfrm>
              <a:off x="7620982" y="4885678"/>
              <a:ext cx="296535" cy="15265"/>
              <a:chOff x="7620982" y="4885678"/>
              <a:chExt cx="296535" cy="15265"/>
            </a:xfrm>
            <a:noFill/>
          </p:grpSpPr>
          <p:sp>
            <p:nvSpPr>
              <p:cNvPr id="1144" name="Forma livre: Forma 1143">
                <a:extLst>
                  <a:ext uri="{FF2B5EF4-FFF2-40B4-BE49-F238E27FC236}">
                    <a16:creationId xmlns:a16="http://schemas.microsoft.com/office/drawing/2014/main" id="{19DFF63B-0576-C6FC-D82F-80DD0BEC5868}"/>
                  </a:ext>
                </a:extLst>
              </p:cNvPr>
              <p:cNvSpPr/>
              <p:nvPr/>
            </p:nvSpPr>
            <p:spPr>
              <a:xfrm>
                <a:off x="7620982" y="4885678"/>
                <a:ext cx="84913" cy="15265"/>
              </a:xfrm>
              <a:custGeom>
                <a:avLst/>
                <a:gdLst>
                  <a:gd name="connsiteX0" fmla="*/ 84914 w 84913"/>
                  <a:gd name="connsiteY0" fmla="*/ 15265 h 15265"/>
                  <a:gd name="connsiteX1" fmla="*/ 0 w 84913"/>
                  <a:gd name="connsiteY1" fmla="*/ 12371 h 152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84913" h="15265">
                    <a:moveTo>
                      <a:pt x="84914" y="15265"/>
                    </a:moveTo>
                    <a:cubicBezTo>
                      <a:pt x="84914" y="15265"/>
                      <a:pt x="53372" y="-17062"/>
                      <a:pt x="0" y="12371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145" name="Forma livre: Forma 1144">
                <a:extLst>
                  <a:ext uri="{FF2B5EF4-FFF2-40B4-BE49-F238E27FC236}">
                    <a16:creationId xmlns:a16="http://schemas.microsoft.com/office/drawing/2014/main" id="{DF416A04-EC3B-B1CB-DF1A-D9E94ADA0BE7}"/>
                  </a:ext>
                </a:extLst>
              </p:cNvPr>
              <p:cNvSpPr/>
              <p:nvPr/>
            </p:nvSpPr>
            <p:spPr>
              <a:xfrm>
                <a:off x="7832604" y="4885678"/>
                <a:ext cx="84913" cy="15265"/>
              </a:xfrm>
              <a:custGeom>
                <a:avLst/>
                <a:gdLst>
                  <a:gd name="connsiteX0" fmla="*/ 0 w 84913"/>
                  <a:gd name="connsiteY0" fmla="*/ 15265 h 15265"/>
                  <a:gd name="connsiteX1" fmla="*/ 84914 w 84913"/>
                  <a:gd name="connsiteY1" fmla="*/ 12371 h 152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84913" h="15265">
                    <a:moveTo>
                      <a:pt x="0" y="15265"/>
                    </a:moveTo>
                    <a:cubicBezTo>
                      <a:pt x="0" y="15265"/>
                      <a:pt x="31542" y="-17062"/>
                      <a:pt x="84914" y="12371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146" name="Gráfico 13">
              <a:extLst>
                <a:ext uri="{FF2B5EF4-FFF2-40B4-BE49-F238E27FC236}">
                  <a16:creationId xmlns:a16="http://schemas.microsoft.com/office/drawing/2014/main" id="{B35C6626-73DA-F287-9B9C-A95A0A9B89EC}"/>
                </a:ext>
              </a:extLst>
            </p:cNvPr>
            <p:cNvGrpSpPr/>
            <p:nvPr/>
          </p:nvGrpSpPr>
          <p:grpSpPr>
            <a:xfrm>
              <a:off x="7706092" y="4770408"/>
              <a:ext cx="126315" cy="129602"/>
              <a:chOff x="7706092" y="4770408"/>
              <a:chExt cx="126315" cy="129602"/>
            </a:xfrm>
            <a:noFill/>
          </p:grpSpPr>
          <p:sp>
            <p:nvSpPr>
              <p:cNvPr id="1147" name="Forma livre: Forma 1146">
                <a:extLst>
                  <a:ext uri="{FF2B5EF4-FFF2-40B4-BE49-F238E27FC236}">
                    <a16:creationId xmlns:a16="http://schemas.microsoft.com/office/drawing/2014/main" id="{22EBBFEA-8C48-4EB0-2787-9F245B678322}"/>
                  </a:ext>
                </a:extLst>
              </p:cNvPr>
              <p:cNvSpPr/>
              <p:nvPr/>
            </p:nvSpPr>
            <p:spPr>
              <a:xfrm>
                <a:off x="7706092" y="4770408"/>
                <a:ext cx="62201" cy="129602"/>
              </a:xfrm>
              <a:custGeom>
                <a:avLst/>
                <a:gdLst>
                  <a:gd name="connsiteX0" fmla="*/ 62201 w 62201"/>
                  <a:gd name="connsiteY0" fmla="*/ 0 h 129602"/>
                  <a:gd name="connsiteX1" fmla="*/ 0 w 62201"/>
                  <a:gd name="connsiteY1" fmla="*/ 129603 h 1296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2201" h="129602">
                    <a:moveTo>
                      <a:pt x="62201" y="0"/>
                    </a:moveTo>
                    <a:cubicBezTo>
                      <a:pt x="62201" y="0"/>
                      <a:pt x="6132" y="17414"/>
                      <a:pt x="0" y="129603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148" name="Forma livre: Forma 1147">
                <a:extLst>
                  <a:ext uri="{FF2B5EF4-FFF2-40B4-BE49-F238E27FC236}">
                    <a16:creationId xmlns:a16="http://schemas.microsoft.com/office/drawing/2014/main" id="{38550A4E-A832-A724-047F-E38B9DC0B55C}"/>
                  </a:ext>
                </a:extLst>
              </p:cNvPr>
              <p:cNvSpPr/>
              <p:nvPr/>
            </p:nvSpPr>
            <p:spPr>
              <a:xfrm>
                <a:off x="7770207" y="4770408"/>
                <a:ext cx="62201" cy="129602"/>
              </a:xfrm>
              <a:custGeom>
                <a:avLst/>
                <a:gdLst>
                  <a:gd name="connsiteX0" fmla="*/ 0 w 62201"/>
                  <a:gd name="connsiteY0" fmla="*/ 0 h 129602"/>
                  <a:gd name="connsiteX1" fmla="*/ 62201 w 62201"/>
                  <a:gd name="connsiteY1" fmla="*/ 129603 h 1296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2201" h="129602">
                    <a:moveTo>
                      <a:pt x="0" y="0"/>
                    </a:moveTo>
                    <a:cubicBezTo>
                      <a:pt x="0" y="0"/>
                      <a:pt x="56069" y="17414"/>
                      <a:pt x="62201" y="129603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149" name="Forma livre: Forma 1148">
              <a:extLst>
                <a:ext uri="{FF2B5EF4-FFF2-40B4-BE49-F238E27FC236}">
                  <a16:creationId xmlns:a16="http://schemas.microsoft.com/office/drawing/2014/main" id="{7E9795A6-99E8-ADF8-E7AB-F77177C7C084}"/>
                </a:ext>
              </a:extLst>
            </p:cNvPr>
            <p:cNvSpPr/>
            <p:nvPr/>
          </p:nvSpPr>
          <p:spPr>
            <a:xfrm>
              <a:off x="7724733" y="4939745"/>
              <a:ext cx="44149" cy="83834"/>
            </a:xfrm>
            <a:custGeom>
              <a:avLst/>
              <a:gdLst>
                <a:gd name="connsiteX0" fmla="*/ 0 w 44149"/>
                <a:gd name="connsiteY0" fmla="*/ 57688 h 83834"/>
                <a:gd name="connsiteX1" fmla="*/ 0 w 44149"/>
                <a:gd name="connsiteY1" fmla="*/ 64213 h 83834"/>
                <a:gd name="connsiteX2" fmla="*/ 19622 w 44149"/>
                <a:gd name="connsiteY2" fmla="*/ 83834 h 83834"/>
                <a:gd name="connsiteX3" fmla="*/ 24527 w 44149"/>
                <a:gd name="connsiteY3" fmla="*/ 83834 h 83834"/>
                <a:gd name="connsiteX4" fmla="*/ 44149 w 44149"/>
                <a:gd name="connsiteY4" fmla="*/ 64213 h 83834"/>
                <a:gd name="connsiteX5" fmla="*/ 44149 w 44149"/>
                <a:gd name="connsiteY5" fmla="*/ 0 h 838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149" h="83834">
                  <a:moveTo>
                    <a:pt x="0" y="57688"/>
                  </a:moveTo>
                  <a:lnTo>
                    <a:pt x="0" y="64213"/>
                  </a:lnTo>
                  <a:cubicBezTo>
                    <a:pt x="0" y="75005"/>
                    <a:pt x="8830" y="83834"/>
                    <a:pt x="19622" y="83834"/>
                  </a:cubicBezTo>
                  <a:lnTo>
                    <a:pt x="24527" y="83834"/>
                  </a:lnTo>
                  <a:cubicBezTo>
                    <a:pt x="35319" y="83834"/>
                    <a:pt x="44149" y="75005"/>
                    <a:pt x="44149" y="64213"/>
                  </a:cubicBezTo>
                  <a:lnTo>
                    <a:pt x="44149" y="0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50" name="Forma livre: Forma 1149">
              <a:extLst>
                <a:ext uri="{FF2B5EF4-FFF2-40B4-BE49-F238E27FC236}">
                  <a16:creationId xmlns:a16="http://schemas.microsoft.com/office/drawing/2014/main" id="{0D9EB86E-4071-77F8-72F2-92DD0ED0E499}"/>
                </a:ext>
              </a:extLst>
            </p:cNvPr>
            <p:cNvSpPr/>
            <p:nvPr/>
          </p:nvSpPr>
          <p:spPr>
            <a:xfrm>
              <a:off x="7768882" y="4905652"/>
              <a:ext cx="4905" cy="42334"/>
            </a:xfrm>
            <a:custGeom>
              <a:avLst/>
              <a:gdLst>
                <a:gd name="connsiteX0" fmla="*/ 0 w 4905"/>
                <a:gd name="connsiteY0" fmla="*/ 42334 h 42334"/>
                <a:gd name="connsiteX1" fmla="*/ 0 w 4905"/>
                <a:gd name="connsiteY1" fmla="*/ 0 h 423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905" h="42334">
                  <a:moveTo>
                    <a:pt x="0" y="42334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51" name="Forma livre: Forma 1150">
              <a:extLst>
                <a:ext uri="{FF2B5EF4-FFF2-40B4-BE49-F238E27FC236}">
                  <a16:creationId xmlns:a16="http://schemas.microsoft.com/office/drawing/2014/main" id="{FACE5ECE-6A7D-7FE3-12DE-16E8031EF96A}"/>
                </a:ext>
              </a:extLst>
            </p:cNvPr>
            <p:cNvSpPr/>
            <p:nvPr/>
          </p:nvSpPr>
          <p:spPr>
            <a:xfrm>
              <a:off x="7769275" y="4731115"/>
              <a:ext cx="4905" cy="14471"/>
            </a:xfrm>
            <a:custGeom>
              <a:avLst/>
              <a:gdLst>
                <a:gd name="connsiteX0" fmla="*/ 0 w 4905"/>
                <a:gd name="connsiteY0" fmla="*/ 14471 h 14471"/>
                <a:gd name="connsiteX1" fmla="*/ 0 w 4905"/>
                <a:gd name="connsiteY1" fmla="*/ 0 h 144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905" h="14471">
                  <a:moveTo>
                    <a:pt x="0" y="14471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152" name="Gráfico 13">
            <a:extLst>
              <a:ext uri="{FF2B5EF4-FFF2-40B4-BE49-F238E27FC236}">
                <a16:creationId xmlns:a16="http://schemas.microsoft.com/office/drawing/2014/main" id="{99CEBDEB-5E4B-AA64-F80F-FBDBB3DEFCE4}"/>
              </a:ext>
            </a:extLst>
          </p:cNvPr>
          <p:cNvGrpSpPr/>
          <p:nvPr/>
        </p:nvGrpSpPr>
        <p:grpSpPr>
          <a:xfrm>
            <a:off x="7037567" y="4724836"/>
            <a:ext cx="186864" cy="304973"/>
            <a:chOff x="7037567" y="4724836"/>
            <a:chExt cx="186864" cy="304973"/>
          </a:xfrm>
          <a:noFill/>
        </p:grpSpPr>
        <p:sp>
          <p:nvSpPr>
            <p:cNvPr id="1153" name="Forma livre: Forma 1152">
              <a:extLst>
                <a:ext uri="{FF2B5EF4-FFF2-40B4-BE49-F238E27FC236}">
                  <a16:creationId xmlns:a16="http://schemas.microsoft.com/office/drawing/2014/main" id="{ECC3EDC6-3CBF-4086-8760-9530CABE72B2}"/>
                </a:ext>
              </a:extLst>
            </p:cNvPr>
            <p:cNvSpPr/>
            <p:nvPr/>
          </p:nvSpPr>
          <p:spPr>
            <a:xfrm>
              <a:off x="7131024" y="4956914"/>
              <a:ext cx="4905" cy="71178"/>
            </a:xfrm>
            <a:custGeom>
              <a:avLst/>
              <a:gdLst>
                <a:gd name="connsiteX0" fmla="*/ 0 w 4905"/>
                <a:gd name="connsiteY0" fmla="*/ 0 h 71178"/>
                <a:gd name="connsiteX1" fmla="*/ 0 w 4905"/>
                <a:gd name="connsiteY1" fmla="*/ 71178 h 711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905" h="71178">
                  <a:moveTo>
                    <a:pt x="0" y="0"/>
                  </a:moveTo>
                  <a:lnTo>
                    <a:pt x="0" y="71178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54" name="Forma livre: Forma 1153">
              <a:extLst>
                <a:ext uri="{FF2B5EF4-FFF2-40B4-BE49-F238E27FC236}">
                  <a16:creationId xmlns:a16="http://schemas.microsoft.com/office/drawing/2014/main" id="{75964B68-2440-9350-CB61-94A369C8C6B9}"/>
                </a:ext>
              </a:extLst>
            </p:cNvPr>
            <p:cNvSpPr/>
            <p:nvPr/>
          </p:nvSpPr>
          <p:spPr>
            <a:xfrm>
              <a:off x="7069902" y="5029810"/>
              <a:ext cx="122293" cy="4905"/>
            </a:xfrm>
            <a:custGeom>
              <a:avLst/>
              <a:gdLst>
                <a:gd name="connsiteX0" fmla="*/ 0 w 122293"/>
                <a:gd name="connsiteY0" fmla="*/ 0 h 4905"/>
                <a:gd name="connsiteX1" fmla="*/ 122293 w 122293"/>
                <a:gd name="connsiteY1" fmla="*/ 0 h 49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2293" h="4905">
                  <a:moveTo>
                    <a:pt x="0" y="0"/>
                  </a:moveTo>
                  <a:lnTo>
                    <a:pt x="122293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55" name="Forma livre: Forma 1154">
              <a:extLst>
                <a:ext uri="{FF2B5EF4-FFF2-40B4-BE49-F238E27FC236}">
                  <a16:creationId xmlns:a16="http://schemas.microsoft.com/office/drawing/2014/main" id="{0781692D-1A60-41E0-E952-561E50D2DDCD}"/>
                </a:ext>
              </a:extLst>
            </p:cNvPr>
            <p:cNvSpPr/>
            <p:nvPr/>
          </p:nvSpPr>
          <p:spPr>
            <a:xfrm>
              <a:off x="7037567" y="4724836"/>
              <a:ext cx="186864" cy="207697"/>
            </a:xfrm>
            <a:custGeom>
              <a:avLst/>
              <a:gdLst>
                <a:gd name="connsiteX0" fmla="*/ 93604 w 186864"/>
                <a:gd name="connsiteY0" fmla="*/ 207698 h 207697"/>
                <a:gd name="connsiteX1" fmla="*/ 186513 w 186864"/>
                <a:gd name="connsiteY1" fmla="*/ 110422 h 207697"/>
                <a:gd name="connsiteX2" fmla="*/ 175329 w 186864"/>
                <a:gd name="connsiteY2" fmla="*/ 49 h 207697"/>
                <a:gd name="connsiteX3" fmla="*/ 116758 w 186864"/>
                <a:gd name="connsiteY3" fmla="*/ 49 h 207697"/>
                <a:gd name="connsiteX4" fmla="*/ 95125 w 186864"/>
                <a:gd name="connsiteY4" fmla="*/ 49202 h 207697"/>
                <a:gd name="connsiteX5" fmla="*/ 134515 w 186864"/>
                <a:gd name="connsiteY5" fmla="*/ 38508 h 207697"/>
                <a:gd name="connsiteX6" fmla="*/ 61718 w 186864"/>
                <a:gd name="connsiteY6" fmla="*/ 150647 h 207697"/>
                <a:gd name="connsiteX7" fmla="*/ 74031 w 186864"/>
                <a:gd name="connsiteY7" fmla="*/ 75103 h 207697"/>
                <a:gd name="connsiteX8" fmla="*/ 40625 w 186864"/>
                <a:gd name="connsiteY8" fmla="*/ 85306 h 207697"/>
                <a:gd name="connsiteX9" fmla="*/ 65446 w 186864"/>
                <a:gd name="connsiteY9" fmla="*/ 0 h 207697"/>
                <a:gd name="connsiteX10" fmla="*/ 11535 w 186864"/>
                <a:gd name="connsiteY10" fmla="*/ 0 h 207697"/>
                <a:gd name="connsiteX11" fmla="*/ 351 w 186864"/>
                <a:gd name="connsiteY11" fmla="*/ 110373 h 207697"/>
                <a:gd name="connsiteX12" fmla="*/ 93260 w 186864"/>
                <a:gd name="connsiteY12" fmla="*/ 207648 h 207697"/>
                <a:gd name="connsiteX13" fmla="*/ 93555 w 186864"/>
                <a:gd name="connsiteY13" fmla="*/ 207648 h 2076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86864" h="207697">
                  <a:moveTo>
                    <a:pt x="93604" y="207698"/>
                  </a:moveTo>
                  <a:cubicBezTo>
                    <a:pt x="145111" y="207698"/>
                    <a:pt x="191370" y="165167"/>
                    <a:pt x="186513" y="110422"/>
                  </a:cubicBezTo>
                  <a:lnTo>
                    <a:pt x="175329" y="49"/>
                  </a:lnTo>
                  <a:lnTo>
                    <a:pt x="116758" y="49"/>
                  </a:lnTo>
                  <a:lnTo>
                    <a:pt x="95125" y="49202"/>
                  </a:lnTo>
                  <a:lnTo>
                    <a:pt x="134515" y="38508"/>
                  </a:lnTo>
                  <a:lnTo>
                    <a:pt x="61718" y="150647"/>
                  </a:lnTo>
                  <a:lnTo>
                    <a:pt x="74031" y="75103"/>
                  </a:lnTo>
                  <a:lnTo>
                    <a:pt x="40625" y="85306"/>
                  </a:lnTo>
                  <a:lnTo>
                    <a:pt x="65446" y="0"/>
                  </a:lnTo>
                  <a:lnTo>
                    <a:pt x="11535" y="0"/>
                  </a:lnTo>
                  <a:lnTo>
                    <a:pt x="351" y="110373"/>
                  </a:lnTo>
                  <a:cubicBezTo>
                    <a:pt x="-4506" y="165069"/>
                    <a:pt x="41802" y="207648"/>
                    <a:pt x="93260" y="207648"/>
                  </a:cubicBezTo>
                  <a:lnTo>
                    <a:pt x="93555" y="207648"/>
                  </a:ln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156" name="Gráfico 13">
            <a:extLst>
              <a:ext uri="{FF2B5EF4-FFF2-40B4-BE49-F238E27FC236}">
                <a16:creationId xmlns:a16="http://schemas.microsoft.com/office/drawing/2014/main" id="{DD5BB611-44E3-B930-1254-A365CCAB8029}"/>
              </a:ext>
            </a:extLst>
          </p:cNvPr>
          <p:cNvGrpSpPr/>
          <p:nvPr/>
        </p:nvGrpSpPr>
        <p:grpSpPr>
          <a:xfrm>
            <a:off x="6331923" y="4184254"/>
            <a:ext cx="321798" cy="265729"/>
            <a:chOff x="6331923" y="4184254"/>
            <a:chExt cx="321798" cy="265729"/>
          </a:xfrm>
          <a:noFill/>
        </p:grpSpPr>
        <p:sp>
          <p:nvSpPr>
            <p:cNvPr id="1157" name="Forma livre: Forma 1156">
              <a:extLst>
                <a:ext uri="{FF2B5EF4-FFF2-40B4-BE49-F238E27FC236}">
                  <a16:creationId xmlns:a16="http://schemas.microsoft.com/office/drawing/2014/main" id="{B52F69F7-EC8F-0A40-EF6E-E798C631CE49}"/>
                </a:ext>
              </a:extLst>
            </p:cNvPr>
            <p:cNvSpPr/>
            <p:nvPr/>
          </p:nvSpPr>
          <p:spPr>
            <a:xfrm>
              <a:off x="6331923" y="4184254"/>
              <a:ext cx="251160" cy="260284"/>
            </a:xfrm>
            <a:custGeom>
              <a:avLst/>
              <a:gdLst>
                <a:gd name="connsiteX0" fmla="*/ 251160 w 251160"/>
                <a:gd name="connsiteY0" fmla="*/ 99777 h 260284"/>
                <a:gd name="connsiteX1" fmla="*/ 251160 w 251160"/>
                <a:gd name="connsiteY1" fmla="*/ 51017 h 260284"/>
                <a:gd name="connsiteX2" fmla="*/ 124256 w 251160"/>
                <a:gd name="connsiteY2" fmla="*/ 0 h 260284"/>
                <a:gd name="connsiteX3" fmla="*/ 0 w 251160"/>
                <a:gd name="connsiteY3" fmla="*/ 45768 h 260284"/>
                <a:gd name="connsiteX4" fmla="*/ 0 w 251160"/>
                <a:gd name="connsiteY4" fmla="*/ 187046 h 260284"/>
                <a:gd name="connsiteX5" fmla="*/ 118124 w 251160"/>
                <a:gd name="connsiteY5" fmla="*/ 260284 h 260284"/>
                <a:gd name="connsiteX6" fmla="*/ 179442 w 251160"/>
                <a:gd name="connsiteY6" fmla="*/ 230606 h 2602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51160" h="260284">
                  <a:moveTo>
                    <a:pt x="251160" y="99777"/>
                  </a:moveTo>
                  <a:lnTo>
                    <a:pt x="251160" y="51017"/>
                  </a:lnTo>
                  <a:lnTo>
                    <a:pt x="124256" y="0"/>
                  </a:lnTo>
                  <a:lnTo>
                    <a:pt x="0" y="45768"/>
                  </a:lnTo>
                  <a:lnTo>
                    <a:pt x="0" y="187046"/>
                  </a:lnTo>
                  <a:lnTo>
                    <a:pt x="118124" y="260284"/>
                  </a:lnTo>
                  <a:lnTo>
                    <a:pt x="179442" y="230606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58" name="Forma livre: Forma 1157">
              <a:extLst>
                <a:ext uri="{FF2B5EF4-FFF2-40B4-BE49-F238E27FC236}">
                  <a16:creationId xmlns:a16="http://schemas.microsoft.com/office/drawing/2014/main" id="{0620AE09-B97D-5A6B-C209-2FB82229EB3F}"/>
                </a:ext>
              </a:extLst>
            </p:cNvPr>
            <p:cNvSpPr/>
            <p:nvPr/>
          </p:nvSpPr>
          <p:spPr>
            <a:xfrm>
              <a:off x="6331923" y="4230022"/>
              <a:ext cx="250571" cy="61465"/>
            </a:xfrm>
            <a:custGeom>
              <a:avLst/>
              <a:gdLst>
                <a:gd name="connsiteX0" fmla="*/ 0 w 250571"/>
                <a:gd name="connsiteY0" fmla="*/ 0 h 61465"/>
                <a:gd name="connsiteX1" fmla="*/ 117829 w 250571"/>
                <a:gd name="connsiteY1" fmla="*/ 61466 h 61465"/>
                <a:gd name="connsiteX2" fmla="*/ 250571 w 250571"/>
                <a:gd name="connsiteY2" fmla="*/ 5592 h 614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50571" h="61465">
                  <a:moveTo>
                    <a:pt x="0" y="0"/>
                  </a:moveTo>
                  <a:lnTo>
                    <a:pt x="117829" y="61466"/>
                  </a:lnTo>
                  <a:lnTo>
                    <a:pt x="250571" y="5592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59" name="Forma livre: Forma 1158">
              <a:extLst>
                <a:ext uri="{FF2B5EF4-FFF2-40B4-BE49-F238E27FC236}">
                  <a16:creationId xmlns:a16="http://schemas.microsoft.com/office/drawing/2014/main" id="{D3A1F551-458C-AE9E-40F3-F2E690CB9D1C}"/>
                </a:ext>
              </a:extLst>
            </p:cNvPr>
            <p:cNvSpPr/>
            <p:nvPr/>
          </p:nvSpPr>
          <p:spPr>
            <a:xfrm>
              <a:off x="6449850" y="4291978"/>
              <a:ext cx="4905" cy="151726"/>
            </a:xfrm>
            <a:custGeom>
              <a:avLst/>
              <a:gdLst>
                <a:gd name="connsiteX0" fmla="*/ 0 w 4905"/>
                <a:gd name="connsiteY0" fmla="*/ 0 h 151726"/>
                <a:gd name="connsiteX1" fmla="*/ 0 w 4905"/>
                <a:gd name="connsiteY1" fmla="*/ 151726 h 1517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905" h="151726">
                  <a:moveTo>
                    <a:pt x="0" y="0"/>
                  </a:moveTo>
                  <a:lnTo>
                    <a:pt x="0" y="151726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60" name="Forma livre: Forma 1159">
              <a:extLst>
                <a:ext uri="{FF2B5EF4-FFF2-40B4-BE49-F238E27FC236}">
                  <a16:creationId xmlns:a16="http://schemas.microsoft.com/office/drawing/2014/main" id="{FB277014-E2A1-6193-F016-EC8964236C30}"/>
                </a:ext>
              </a:extLst>
            </p:cNvPr>
            <p:cNvSpPr/>
            <p:nvPr/>
          </p:nvSpPr>
          <p:spPr>
            <a:xfrm>
              <a:off x="6390396" y="4208683"/>
              <a:ext cx="125187" cy="51801"/>
            </a:xfrm>
            <a:custGeom>
              <a:avLst/>
              <a:gdLst>
                <a:gd name="connsiteX0" fmla="*/ 125188 w 125187"/>
                <a:gd name="connsiteY0" fmla="*/ 0 h 51801"/>
                <a:gd name="connsiteX1" fmla="*/ 0 w 125187"/>
                <a:gd name="connsiteY1" fmla="*/ 51802 h 518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187" h="51801">
                  <a:moveTo>
                    <a:pt x="125188" y="0"/>
                  </a:moveTo>
                  <a:lnTo>
                    <a:pt x="0" y="51802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61" name="Forma livre: Forma 1160">
              <a:extLst>
                <a:ext uri="{FF2B5EF4-FFF2-40B4-BE49-F238E27FC236}">
                  <a16:creationId xmlns:a16="http://schemas.microsoft.com/office/drawing/2014/main" id="{ABF83B92-BB85-9F75-1250-475C6BBF9709}"/>
                </a:ext>
              </a:extLst>
            </p:cNvPr>
            <p:cNvSpPr/>
            <p:nvPr/>
          </p:nvSpPr>
          <p:spPr>
            <a:xfrm>
              <a:off x="6390396" y="4261171"/>
              <a:ext cx="4905" cy="51654"/>
            </a:xfrm>
            <a:custGeom>
              <a:avLst/>
              <a:gdLst>
                <a:gd name="connsiteX0" fmla="*/ 0 w 4905"/>
                <a:gd name="connsiteY0" fmla="*/ 0 h 51654"/>
                <a:gd name="connsiteX1" fmla="*/ 0 w 4905"/>
                <a:gd name="connsiteY1" fmla="*/ 51655 h 516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905" h="51654">
                  <a:moveTo>
                    <a:pt x="0" y="0"/>
                  </a:moveTo>
                  <a:lnTo>
                    <a:pt x="0" y="51655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bevel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162" name="Gráfico 13">
              <a:extLst>
                <a:ext uri="{FF2B5EF4-FFF2-40B4-BE49-F238E27FC236}">
                  <a16:creationId xmlns:a16="http://schemas.microsoft.com/office/drawing/2014/main" id="{7160695C-257F-AA62-C2A7-FF598070861D}"/>
                </a:ext>
              </a:extLst>
            </p:cNvPr>
            <p:cNvGrpSpPr/>
            <p:nvPr/>
          </p:nvGrpSpPr>
          <p:grpSpPr>
            <a:xfrm>
              <a:off x="6525908" y="4308728"/>
              <a:ext cx="127814" cy="141255"/>
              <a:chOff x="6525908" y="4308728"/>
              <a:chExt cx="127814" cy="141255"/>
            </a:xfrm>
            <a:noFill/>
          </p:grpSpPr>
          <p:sp>
            <p:nvSpPr>
              <p:cNvPr id="1163" name="Forma livre: Forma 1162">
                <a:extLst>
                  <a:ext uri="{FF2B5EF4-FFF2-40B4-BE49-F238E27FC236}">
                    <a16:creationId xmlns:a16="http://schemas.microsoft.com/office/drawing/2014/main" id="{17FF9F75-023C-7395-9174-9E469D280A79}"/>
                  </a:ext>
                </a:extLst>
              </p:cNvPr>
              <p:cNvSpPr/>
              <p:nvPr/>
            </p:nvSpPr>
            <p:spPr>
              <a:xfrm>
                <a:off x="6525908" y="4308728"/>
                <a:ext cx="122445" cy="122444"/>
              </a:xfrm>
              <a:custGeom>
                <a:avLst/>
                <a:gdLst>
                  <a:gd name="connsiteX0" fmla="*/ 122369 w 122445"/>
                  <a:gd name="connsiteY0" fmla="*/ 58255 h 122444"/>
                  <a:gd name="connsiteX1" fmla="*/ 64239 w 122445"/>
                  <a:gd name="connsiteY1" fmla="*/ 122369 h 122444"/>
                  <a:gd name="connsiteX2" fmla="*/ 76 w 122445"/>
                  <a:gd name="connsiteY2" fmla="*/ 64239 h 122444"/>
                  <a:gd name="connsiteX3" fmla="*/ 58206 w 122445"/>
                  <a:gd name="connsiteY3" fmla="*/ 76 h 122444"/>
                  <a:gd name="connsiteX4" fmla="*/ 122369 w 122445"/>
                  <a:gd name="connsiteY4" fmla="*/ 58206 h 1224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2445" h="122444">
                    <a:moveTo>
                      <a:pt x="122369" y="58255"/>
                    </a:moveTo>
                    <a:cubicBezTo>
                      <a:pt x="124037" y="92004"/>
                      <a:pt x="98038" y="120750"/>
                      <a:pt x="64239" y="122369"/>
                    </a:cubicBezTo>
                    <a:cubicBezTo>
                      <a:pt x="30490" y="124037"/>
                      <a:pt x="1744" y="97989"/>
                      <a:pt x="76" y="64239"/>
                    </a:cubicBezTo>
                    <a:cubicBezTo>
                      <a:pt x="-1592" y="30490"/>
                      <a:pt x="24456" y="1744"/>
                      <a:pt x="58206" y="76"/>
                    </a:cubicBezTo>
                    <a:cubicBezTo>
                      <a:pt x="91955" y="-1592"/>
                      <a:pt x="120701" y="24456"/>
                      <a:pt x="122369" y="58206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164" name="Forma livre: Forma 1163">
                <a:extLst>
                  <a:ext uri="{FF2B5EF4-FFF2-40B4-BE49-F238E27FC236}">
                    <a16:creationId xmlns:a16="http://schemas.microsoft.com/office/drawing/2014/main" id="{360C2CD3-7CF7-D1D0-6CB2-4D3042659A2A}"/>
                  </a:ext>
                </a:extLst>
              </p:cNvPr>
              <p:cNvSpPr/>
              <p:nvPr/>
            </p:nvSpPr>
            <p:spPr>
              <a:xfrm>
                <a:off x="6558031" y="4343338"/>
                <a:ext cx="17301" cy="28059"/>
              </a:xfrm>
              <a:custGeom>
                <a:avLst/>
                <a:gdLst>
                  <a:gd name="connsiteX0" fmla="*/ 34 w 17301"/>
                  <a:gd name="connsiteY0" fmla="*/ 28059 h 28059"/>
                  <a:gd name="connsiteX1" fmla="*/ 17301 w 17301"/>
                  <a:gd name="connsiteY1" fmla="*/ 0 h 280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7301" h="28059">
                    <a:moveTo>
                      <a:pt x="34" y="28059"/>
                    </a:moveTo>
                    <a:cubicBezTo>
                      <a:pt x="-555" y="15697"/>
                      <a:pt x="6607" y="4758"/>
                      <a:pt x="17301" y="0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165" name="Forma livre: Forma 1164">
                <a:extLst>
                  <a:ext uri="{FF2B5EF4-FFF2-40B4-BE49-F238E27FC236}">
                    <a16:creationId xmlns:a16="http://schemas.microsoft.com/office/drawing/2014/main" id="{7787B8D6-BB03-7077-D6A4-E712784F0BB3}"/>
                  </a:ext>
                </a:extLst>
              </p:cNvPr>
              <p:cNvSpPr/>
              <p:nvPr/>
            </p:nvSpPr>
            <p:spPr>
              <a:xfrm>
                <a:off x="6626055" y="4417558"/>
                <a:ext cx="27666" cy="32425"/>
              </a:xfrm>
              <a:custGeom>
                <a:avLst/>
                <a:gdLst>
                  <a:gd name="connsiteX0" fmla="*/ 0 w 27666"/>
                  <a:gd name="connsiteY0" fmla="*/ 0 h 32425"/>
                  <a:gd name="connsiteX1" fmla="*/ 27667 w 27666"/>
                  <a:gd name="connsiteY1" fmla="*/ 32425 h 324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7666" h="32425">
                    <a:moveTo>
                      <a:pt x="0" y="0"/>
                    </a:moveTo>
                    <a:lnTo>
                      <a:pt x="27667" y="32425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166" name="Gráfico 13">
            <a:extLst>
              <a:ext uri="{FF2B5EF4-FFF2-40B4-BE49-F238E27FC236}">
                <a16:creationId xmlns:a16="http://schemas.microsoft.com/office/drawing/2014/main" id="{39D416CF-6376-CC6A-4BA6-E04277A73C89}"/>
              </a:ext>
            </a:extLst>
          </p:cNvPr>
          <p:cNvGrpSpPr/>
          <p:nvPr/>
        </p:nvGrpSpPr>
        <p:grpSpPr>
          <a:xfrm>
            <a:off x="7607002" y="4176748"/>
            <a:ext cx="324475" cy="280740"/>
            <a:chOff x="7607002" y="4176748"/>
            <a:chExt cx="324475" cy="280740"/>
          </a:xfrm>
          <a:noFill/>
        </p:grpSpPr>
        <p:sp>
          <p:nvSpPr>
            <p:cNvPr id="1167" name="Forma livre: Forma 1166">
              <a:extLst>
                <a:ext uri="{FF2B5EF4-FFF2-40B4-BE49-F238E27FC236}">
                  <a16:creationId xmlns:a16="http://schemas.microsoft.com/office/drawing/2014/main" id="{C5B278D7-C476-60FA-EAF4-D3E78E4935B6}"/>
                </a:ext>
              </a:extLst>
            </p:cNvPr>
            <p:cNvSpPr/>
            <p:nvPr/>
          </p:nvSpPr>
          <p:spPr>
            <a:xfrm>
              <a:off x="7785092" y="4289623"/>
              <a:ext cx="146385" cy="167865"/>
            </a:xfrm>
            <a:custGeom>
              <a:avLst/>
              <a:gdLst>
                <a:gd name="connsiteX0" fmla="*/ 73560 w 146385"/>
                <a:gd name="connsiteY0" fmla="*/ 167865 h 167865"/>
                <a:gd name="connsiteX1" fmla="*/ 146112 w 146385"/>
                <a:gd name="connsiteY1" fmla="*/ 23105 h 167865"/>
                <a:gd name="connsiteX2" fmla="*/ 73560 w 146385"/>
                <a:gd name="connsiteY2" fmla="*/ 0 h 167865"/>
                <a:gd name="connsiteX3" fmla="*/ 72923 w 146385"/>
                <a:gd name="connsiteY3" fmla="*/ 0 h 167865"/>
                <a:gd name="connsiteX4" fmla="*/ 273 w 146385"/>
                <a:gd name="connsiteY4" fmla="*/ 23105 h 167865"/>
                <a:gd name="connsiteX5" fmla="*/ 72923 w 146385"/>
                <a:gd name="connsiteY5" fmla="*/ 167865 h 167865"/>
                <a:gd name="connsiteX6" fmla="*/ 73560 w 146385"/>
                <a:gd name="connsiteY6" fmla="*/ 167865 h 1678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6385" h="167865">
                  <a:moveTo>
                    <a:pt x="73560" y="167865"/>
                  </a:moveTo>
                  <a:cubicBezTo>
                    <a:pt x="154844" y="133380"/>
                    <a:pt x="146112" y="23105"/>
                    <a:pt x="146112" y="23105"/>
                  </a:cubicBezTo>
                  <a:cubicBezTo>
                    <a:pt x="91367" y="29580"/>
                    <a:pt x="73560" y="0"/>
                    <a:pt x="73560" y="0"/>
                  </a:cubicBezTo>
                  <a:lnTo>
                    <a:pt x="72923" y="0"/>
                  </a:lnTo>
                  <a:cubicBezTo>
                    <a:pt x="72923" y="0"/>
                    <a:pt x="55116" y="29629"/>
                    <a:pt x="273" y="23105"/>
                  </a:cubicBezTo>
                  <a:cubicBezTo>
                    <a:pt x="273" y="23105"/>
                    <a:pt x="-8459" y="133380"/>
                    <a:pt x="72923" y="167865"/>
                  </a:cubicBezTo>
                  <a:lnTo>
                    <a:pt x="73560" y="167865"/>
                  </a:ln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68" name="Forma livre: Forma 1167">
              <a:extLst>
                <a:ext uri="{FF2B5EF4-FFF2-40B4-BE49-F238E27FC236}">
                  <a16:creationId xmlns:a16="http://schemas.microsoft.com/office/drawing/2014/main" id="{CBF9088A-BA3A-7E10-CB1B-9BE681687BA4}"/>
                </a:ext>
              </a:extLst>
            </p:cNvPr>
            <p:cNvSpPr/>
            <p:nvPr/>
          </p:nvSpPr>
          <p:spPr>
            <a:xfrm>
              <a:off x="7828287" y="4345840"/>
              <a:ext cx="62986" cy="45669"/>
            </a:xfrm>
            <a:custGeom>
              <a:avLst/>
              <a:gdLst>
                <a:gd name="connsiteX0" fmla="*/ 0 w 62986"/>
                <a:gd name="connsiteY0" fmla="*/ 23252 h 45669"/>
                <a:gd name="connsiteX1" fmla="*/ 27618 w 62986"/>
                <a:gd name="connsiteY1" fmla="*/ 45670 h 45669"/>
                <a:gd name="connsiteX2" fmla="*/ 62986 w 62986"/>
                <a:gd name="connsiteY2" fmla="*/ 0 h 456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2986" h="45669">
                  <a:moveTo>
                    <a:pt x="0" y="23252"/>
                  </a:moveTo>
                  <a:lnTo>
                    <a:pt x="27618" y="45670"/>
                  </a:lnTo>
                  <a:lnTo>
                    <a:pt x="62986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169" name="Gráfico 13">
              <a:extLst>
                <a:ext uri="{FF2B5EF4-FFF2-40B4-BE49-F238E27FC236}">
                  <a16:creationId xmlns:a16="http://schemas.microsoft.com/office/drawing/2014/main" id="{009938F4-A79B-5979-B145-627E6BE4E03E}"/>
                </a:ext>
              </a:extLst>
            </p:cNvPr>
            <p:cNvGrpSpPr/>
            <p:nvPr/>
          </p:nvGrpSpPr>
          <p:grpSpPr>
            <a:xfrm>
              <a:off x="7607002" y="4176748"/>
              <a:ext cx="251110" cy="260284"/>
              <a:chOff x="7607002" y="4176748"/>
              <a:chExt cx="251110" cy="260284"/>
            </a:xfrm>
            <a:noFill/>
          </p:grpSpPr>
          <p:sp>
            <p:nvSpPr>
              <p:cNvPr id="1170" name="Forma livre: Forma 1169">
                <a:extLst>
                  <a:ext uri="{FF2B5EF4-FFF2-40B4-BE49-F238E27FC236}">
                    <a16:creationId xmlns:a16="http://schemas.microsoft.com/office/drawing/2014/main" id="{5064F494-C085-8E6F-CF9D-D568725A0F3F}"/>
                  </a:ext>
                </a:extLst>
              </p:cNvPr>
              <p:cNvSpPr/>
              <p:nvPr/>
            </p:nvSpPr>
            <p:spPr>
              <a:xfrm>
                <a:off x="7607002" y="4176748"/>
                <a:ext cx="251110" cy="260284"/>
              </a:xfrm>
              <a:custGeom>
                <a:avLst/>
                <a:gdLst>
                  <a:gd name="connsiteX0" fmla="*/ 251111 w 251110"/>
                  <a:gd name="connsiteY0" fmla="*/ 89868 h 260284"/>
                  <a:gd name="connsiteX1" fmla="*/ 251111 w 251110"/>
                  <a:gd name="connsiteY1" fmla="*/ 51017 h 260284"/>
                  <a:gd name="connsiteX2" fmla="*/ 124256 w 251110"/>
                  <a:gd name="connsiteY2" fmla="*/ 0 h 260284"/>
                  <a:gd name="connsiteX3" fmla="*/ 0 w 251110"/>
                  <a:gd name="connsiteY3" fmla="*/ 45768 h 260284"/>
                  <a:gd name="connsiteX4" fmla="*/ 0 w 251110"/>
                  <a:gd name="connsiteY4" fmla="*/ 187046 h 260284"/>
                  <a:gd name="connsiteX5" fmla="*/ 118124 w 251110"/>
                  <a:gd name="connsiteY5" fmla="*/ 260284 h 260284"/>
                  <a:gd name="connsiteX6" fmla="*/ 171103 w 251110"/>
                  <a:gd name="connsiteY6" fmla="*/ 234825 h 2602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51110" h="260284">
                    <a:moveTo>
                      <a:pt x="251111" y="89868"/>
                    </a:moveTo>
                    <a:lnTo>
                      <a:pt x="251111" y="51017"/>
                    </a:lnTo>
                    <a:lnTo>
                      <a:pt x="124256" y="0"/>
                    </a:lnTo>
                    <a:lnTo>
                      <a:pt x="0" y="45768"/>
                    </a:lnTo>
                    <a:lnTo>
                      <a:pt x="0" y="187046"/>
                    </a:lnTo>
                    <a:lnTo>
                      <a:pt x="118124" y="260284"/>
                    </a:lnTo>
                    <a:lnTo>
                      <a:pt x="171103" y="234825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171" name="Forma livre: Forma 1170">
                <a:extLst>
                  <a:ext uri="{FF2B5EF4-FFF2-40B4-BE49-F238E27FC236}">
                    <a16:creationId xmlns:a16="http://schemas.microsoft.com/office/drawing/2014/main" id="{718020F2-ACD8-AD4C-4815-A8A859BD1B9A}"/>
                  </a:ext>
                </a:extLst>
              </p:cNvPr>
              <p:cNvSpPr/>
              <p:nvPr/>
            </p:nvSpPr>
            <p:spPr>
              <a:xfrm>
                <a:off x="7607002" y="4222516"/>
                <a:ext cx="250571" cy="61465"/>
              </a:xfrm>
              <a:custGeom>
                <a:avLst/>
                <a:gdLst>
                  <a:gd name="connsiteX0" fmla="*/ 0 w 250571"/>
                  <a:gd name="connsiteY0" fmla="*/ 0 h 61465"/>
                  <a:gd name="connsiteX1" fmla="*/ 117829 w 250571"/>
                  <a:gd name="connsiteY1" fmla="*/ 61466 h 61465"/>
                  <a:gd name="connsiteX2" fmla="*/ 250571 w 250571"/>
                  <a:gd name="connsiteY2" fmla="*/ 5592 h 614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50571" h="61465">
                    <a:moveTo>
                      <a:pt x="0" y="0"/>
                    </a:moveTo>
                    <a:lnTo>
                      <a:pt x="117829" y="61466"/>
                    </a:lnTo>
                    <a:lnTo>
                      <a:pt x="250571" y="5592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172" name="Forma livre: Forma 1171">
                <a:extLst>
                  <a:ext uri="{FF2B5EF4-FFF2-40B4-BE49-F238E27FC236}">
                    <a16:creationId xmlns:a16="http://schemas.microsoft.com/office/drawing/2014/main" id="{D3B8705E-6644-61C2-747D-2EE9AB095C52}"/>
                  </a:ext>
                </a:extLst>
              </p:cNvPr>
              <p:cNvSpPr/>
              <p:nvPr/>
            </p:nvSpPr>
            <p:spPr>
              <a:xfrm>
                <a:off x="7724929" y="4284423"/>
                <a:ext cx="4905" cy="151775"/>
              </a:xfrm>
              <a:custGeom>
                <a:avLst/>
                <a:gdLst>
                  <a:gd name="connsiteX0" fmla="*/ 0 w 4905"/>
                  <a:gd name="connsiteY0" fmla="*/ 0 h 151775"/>
                  <a:gd name="connsiteX1" fmla="*/ 0 w 4905"/>
                  <a:gd name="connsiteY1" fmla="*/ 151775 h 1517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905" h="151775">
                    <a:moveTo>
                      <a:pt x="0" y="0"/>
                    </a:moveTo>
                    <a:lnTo>
                      <a:pt x="0" y="151775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173" name="Forma livre: Forma 1172">
                <a:extLst>
                  <a:ext uri="{FF2B5EF4-FFF2-40B4-BE49-F238E27FC236}">
                    <a16:creationId xmlns:a16="http://schemas.microsoft.com/office/drawing/2014/main" id="{AC2FD132-AEB0-ED00-CAFB-6B306D69C62A}"/>
                  </a:ext>
                </a:extLst>
              </p:cNvPr>
              <p:cNvSpPr/>
              <p:nvPr/>
            </p:nvSpPr>
            <p:spPr>
              <a:xfrm>
                <a:off x="7665475" y="4201178"/>
                <a:ext cx="125187" cy="51801"/>
              </a:xfrm>
              <a:custGeom>
                <a:avLst/>
                <a:gdLst>
                  <a:gd name="connsiteX0" fmla="*/ 125188 w 125187"/>
                  <a:gd name="connsiteY0" fmla="*/ 0 h 51801"/>
                  <a:gd name="connsiteX1" fmla="*/ 0 w 125187"/>
                  <a:gd name="connsiteY1" fmla="*/ 51802 h 518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5187" h="51801">
                    <a:moveTo>
                      <a:pt x="125188" y="0"/>
                    </a:moveTo>
                    <a:lnTo>
                      <a:pt x="0" y="51802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174" name="Forma livre: Forma 1173">
                <a:extLst>
                  <a:ext uri="{FF2B5EF4-FFF2-40B4-BE49-F238E27FC236}">
                    <a16:creationId xmlns:a16="http://schemas.microsoft.com/office/drawing/2014/main" id="{1FFE48B5-F9F3-68AB-BD23-809A290AABF1}"/>
                  </a:ext>
                </a:extLst>
              </p:cNvPr>
              <p:cNvSpPr/>
              <p:nvPr/>
            </p:nvSpPr>
            <p:spPr>
              <a:xfrm>
                <a:off x="7665475" y="4253666"/>
                <a:ext cx="4905" cy="51654"/>
              </a:xfrm>
              <a:custGeom>
                <a:avLst/>
                <a:gdLst>
                  <a:gd name="connsiteX0" fmla="*/ 0 w 4905"/>
                  <a:gd name="connsiteY0" fmla="*/ 0 h 51654"/>
                  <a:gd name="connsiteX1" fmla="*/ 0 w 4905"/>
                  <a:gd name="connsiteY1" fmla="*/ 51655 h 516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905" h="51654">
                    <a:moveTo>
                      <a:pt x="0" y="0"/>
                    </a:moveTo>
                    <a:lnTo>
                      <a:pt x="0" y="51655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bevel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175" name="Gráfico 13">
            <a:extLst>
              <a:ext uri="{FF2B5EF4-FFF2-40B4-BE49-F238E27FC236}">
                <a16:creationId xmlns:a16="http://schemas.microsoft.com/office/drawing/2014/main" id="{75724EFA-334F-9B5F-007F-9138786F3C68}"/>
              </a:ext>
            </a:extLst>
          </p:cNvPr>
          <p:cNvGrpSpPr/>
          <p:nvPr/>
        </p:nvGrpSpPr>
        <p:grpSpPr>
          <a:xfrm>
            <a:off x="6967868" y="4167624"/>
            <a:ext cx="326311" cy="298988"/>
            <a:chOff x="6967868" y="4167624"/>
            <a:chExt cx="326311" cy="298988"/>
          </a:xfrm>
        </p:grpSpPr>
        <p:sp>
          <p:nvSpPr>
            <p:cNvPr id="1176" name="Forma livre: Forma 1175">
              <a:extLst>
                <a:ext uri="{FF2B5EF4-FFF2-40B4-BE49-F238E27FC236}">
                  <a16:creationId xmlns:a16="http://schemas.microsoft.com/office/drawing/2014/main" id="{DC0710C4-6EEF-074C-3757-F8912C74235F}"/>
                </a:ext>
              </a:extLst>
            </p:cNvPr>
            <p:cNvSpPr/>
            <p:nvPr/>
          </p:nvSpPr>
          <p:spPr>
            <a:xfrm>
              <a:off x="6967868" y="4167624"/>
              <a:ext cx="251160" cy="260284"/>
            </a:xfrm>
            <a:custGeom>
              <a:avLst/>
              <a:gdLst>
                <a:gd name="connsiteX0" fmla="*/ 251160 w 251160"/>
                <a:gd name="connsiteY0" fmla="*/ 93057 h 260284"/>
                <a:gd name="connsiteX1" fmla="*/ 251160 w 251160"/>
                <a:gd name="connsiteY1" fmla="*/ 51017 h 260284"/>
                <a:gd name="connsiteX2" fmla="*/ 124256 w 251160"/>
                <a:gd name="connsiteY2" fmla="*/ 0 h 260284"/>
                <a:gd name="connsiteX3" fmla="*/ 0 w 251160"/>
                <a:gd name="connsiteY3" fmla="*/ 45768 h 260284"/>
                <a:gd name="connsiteX4" fmla="*/ 0 w 251160"/>
                <a:gd name="connsiteY4" fmla="*/ 187046 h 260284"/>
                <a:gd name="connsiteX5" fmla="*/ 118124 w 251160"/>
                <a:gd name="connsiteY5" fmla="*/ 260284 h 260284"/>
                <a:gd name="connsiteX6" fmla="*/ 158545 w 251160"/>
                <a:gd name="connsiteY6" fmla="*/ 241447 h 2602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51160" h="260284">
                  <a:moveTo>
                    <a:pt x="251160" y="93057"/>
                  </a:moveTo>
                  <a:lnTo>
                    <a:pt x="251160" y="51017"/>
                  </a:lnTo>
                  <a:lnTo>
                    <a:pt x="124256" y="0"/>
                  </a:lnTo>
                  <a:lnTo>
                    <a:pt x="0" y="45768"/>
                  </a:lnTo>
                  <a:lnTo>
                    <a:pt x="0" y="187046"/>
                  </a:lnTo>
                  <a:lnTo>
                    <a:pt x="118124" y="260284"/>
                  </a:lnTo>
                  <a:lnTo>
                    <a:pt x="158545" y="241447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77" name="Forma livre: Forma 1176">
              <a:extLst>
                <a:ext uri="{FF2B5EF4-FFF2-40B4-BE49-F238E27FC236}">
                  <a16:creationId xmlns:a16="http://schemas.microsoft.com/office/drawing/2014/main" id="{33D8432E-4D89-866F-29D0-FC8030F37EDA}"/>
                </a:ext>
              </a:extLst>
            </p:cNvPr>
            <p:cNvSpPr/>
            <p:nvPr/>
          </p:nvSpPr>
          <p:spPr>
            <a:xfrm>
              <a:off x="6967868" y="4213392"/>
              <a:ext cx="250620" cy="61465"/>
            </a:xfrm>
            <a:custGeom>
              <a:avLst/>
              <a:gdLst>
                <a:gd name="connsiteX0" fmla="*/ 0 w 250620"/>
                <a:gd name="connsiteY0" fmla="*/ 0 h 61465"/>
                <a:gd name="connsiteX1" fmla="*/ 117829 w 250620"/>
                <a:gd name="connsiteY1" fmla="*/ 61466 h 61465"/>
                <a:gd name="connsiteX2" fmla="*/ 250620 w 250620"/>
                <a:gd name="connsiteY2" fmla="*/ 5592 h 614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50620" h="61465">
                  <a:moveTo>
                    <a:pt x="0" y="0"/>
                  </a:moveTo>
                  <a:lnTo>
                    <a:pt x="117829" y="61466"/>
                  </a:lnTo>
                  <a:lnTo>
                    <a:pt x="250620" y="5592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78" name="Forma livre: Forma 1177">
              <a:extLst>
                <a:ext uri="{FF2B5EF4-FFF2-40B4-BE49-F238E27FC236}">
                  <a16:creationId xmlns:a16="http://schemas.microsoft.com/office/drawing/2014/main" id="{8CA78CFC-B1C8-F7A5-5109-977FBEAA12CC}"/>
                </a:ext>
              </a:extLst>
            </p:cNvPr>
            <p:cNvSpPr/>
            <p:nvPr/>
          </p:nvSpPr>
          <p:spPr>
            <a:xfrm>
              <a:off x="7085796" y="4275299"/>
              <a:ext cx="4905" cy="151775"/>
            </a:xfrm>
            <a:custGeom>
              <a:avLst/>
              <a:gdLst>
                <a:gd name="connsiteX0" fmla="*/ 0 w 4905"/>
                <a:gd name="connsiteY0" fmla="*/ 0 h 151775"/>
                <a:gd name="connsiteX1" fmla="*/ 0 w 4905"/>
                <a:gd name="connsiteY1" fmla="*/ 151775 h 151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905" h="151775">
                  <a:moveTo>
                    <a:pt x="0" y="0"/>
                  </a:moveTo>
                  <a:lnTo>
                    <a:pt x="0" y="151775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79" name="Forma livre: Forma 1178">
              <a:extLst>
                <a:ext uri="{FF2B5EF4-FFF2-40B4-BE49-F238E27FC236}">
                  <a16:creationId xmlns:a16="http://schemas.microsoft.com/office/drawing/2014/main" id="{8ACD7EA7-472A-67D4-28C2-DCC2586F6BB5}"/>
                </a:ext>
              </a:extLst>
            </p:cNvPr>
            <p:cNvSpPr/>
            <p:nvPr/>
          </p:nvSpPr>
          <p:spPr>
            <a:xfrm>
              <a:off x="7026341" y="4192004"/>
              <a:ext cx="125236" cy="51850"/>
            </a:xfrm>
            <a:custGeom>
              <a:avLst/>
              <a:gdLst>
                <a:gd name="connsiteX0" fmla="*/ 125237 w 125236"/>
                <a:gd name="connsiteY0" fmla="*/ 0 h 51850"/>
                <a:gd name="connsiteX1" fmla="*/ 0 w 125236"/>
                <a:gd name="connsiteY1" fmla="*/ 51851 h 518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236" h="51850">
                  <a:moveTo>
                    <a:pt x="125237" y="0"/>
                  </a:moveTo>
                  <a:lnTo>
                    <a:pt x="0" y="51851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80" name="Forma livre: Forma 1179">
              <a:extLst>
                <a:ext uri="{FF2B5EF4-FFF2-40B4-BE49-F238E27FC236}">
                  <a16:creationId xmlns:a16="http://schemas.microsoft.com/office/drawing/2014/main" id="{336ECAA8-B14E-1C00-EC8F-9C47CABD77A8}"/>
                </a:ext>
              </a:extLst>
            </p:cNvPr>
            <p:cNvSpPr/>
            <p:nvPr/>
          </p:nvSpPr>
          <p:spPr>
            <a:xfrm>
              <a:off x="7026341" y="4244542"/>
              <a:ext cx="4905" cy="51654"/>
            </a:xfrm>
            <a:custGeom>
              <a:avLst/>
              <a:gdLst>
                <a:gd name="connsiteX0" fmla="*/ 0 w 4905"/>
                <a:gd name="connsiteY0" fmla="*/ 0 h 51654"/>
                <a:gd name="connsiteX1" fmla="*/ 0 w 4905"/>
                <a:gd name="connsiteY1" fmla="*/ 51655 h 516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905" h="51654">
                  <a:moveTo>
                    <a:pt x="0" y="0"/>
                  </a:moveTo>
                  <a:lnTo>
                    <a:pt x="0" y="51655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bevel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81" name="Forma livre: Forma 1180">
              <a:extLst>
                <a:ext uri="{FF2B5EF4-FFF2-40B4-BE49-F238E27FC236}">
                  <a16:creationId xmlns:a16="http://schemas.microsoft.com/office/drawing/2014/main" id="{F6542807-C43E-25A7-343D-313572A39DEE}"/>
                </a:ext>
              </a:extLst>
            </p:cNvPr>
            <p:cNvSpPr/>
            <p:nvPr/>
          </p:nvSpPr>
          <p:spPr>
            <a:xfrm>
              <a:off x="7150940" y="4323471"/>
              <a:ext cx="143239" cy="143141"/>
            </a:xfrm>
            <a:custGeom>
              <a:avLst/>
              <a:gdLst>
                <a:gd name="connsiteX0" fmla="*/ 143240 w 143239"/>
                <a:gd name="connsiteY0" fmla="*/ 71571 h 143141"/>
                <a:gd name="connsiteX1" fmla="*/ 71571 w 143239"/>
                <a:gd name="connsiteY1" fmla="*/ 143142 h 143141"/>
                <a:gd name="connsiteX2" fmla="*/ 0 w 143239"/>
                <a:gd name="connsiteY2" fmla="*/ 71571 h 143141"/>
                <a:gd name="connsiteX3" fmla="*/ 71571 w 143239"/>
                <a:gd name="connsiteY3" fmla="*/ 0 h 143141"/>
                <a:gd name="connsiteX4" fmla="*/ 143240 w 143239"/>
                <a:gd name="connsiteY4" fmla="*/ 71571 h 143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3239" h="143141">
                  <a:moveTo>
                    <a:pt x="143240" y="71571"/>
                  </a:moveTo>
                  <a:cubicBezTo>
                    <a:pt x="143240" y="111109"/>
                    <a:pt x="111207" y="143142"/>
                    <a:pt x="71571" y="143142"/>
                  </a:cubicBezTo>
                  <a:cubicBezTo>
                    <a:pt x="31935" y="143142"/>
                    <a:pt x="0" y="111109"/>
                    <a:pt x="0" y="71571"/>
                  </a:cubicBezTo>
                  <a:cubicBezTo>
                    <a:pt x="0" y="32033"/>
                    <a:pt x="32033" y="0"/>
                    <a:pt x="71571" y="0"/>
                  </a:cubicBezTo>
                  <a:cubicBezTo>
                    <a:pt x="111109" y="0"/>
                    <a:pt x="143240" y="32033"/>
                    <a:pt x="143240" y="71571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82" name="Forma livre: Forma 1181">
              <a:extLst>
                <a:ext uri="{FF2B5EF4-FFF2-40B4-BE49-F238E27FC236}">
                  <a16:creationId xmlns:a16="http://schemas.microsoft.com/office/drawing/2014/main" id="{7B89324A-07F1-9EB4-58C8-9AE93CC3111D}"/>
                </a:ext>
              </a:extLst>
            </p:cNvPr>
            <p:cNvSpPr/>
            <p:nvPr/>
          </p:nvSpPr>
          <p:spPr>
            <a:xfrm>
              <a:off x="7198131" y="4353787"/>
              <a:ext cx="65733" cy="82509"/>
            </a:xfrm>
            <a:custGeom>
              <a:avLst/>
              <a:gdLst>
                <a:gd name="connsiteX0" fmla="*/ 24429 w 65733"/>
                <a:gd name="connsiteY0" fmla="*/ 0 h 82509"/>
                <a:gd name="connsiteX1" fmla="*/ 65733 w 65733"/>
                <a:gd name="connsiteY1" fmla="*/ 41255 h 82509"/>
                <a:gd name="connsiteX2" fmla="*/ 24429 w 65733"/>
                <a:gd name="connsiteY2" fmla="*/ 82510 h 82509"/>
                <a:gd name="connsiteX3" fmla="*/ 0 w 65733"/>
                <a:gd name="connsiteY3" fmla="*/ 74514 h 825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5733" h="82509">
                  <a:moveTo>
                    <a:pt x="24429" y="0"/>
                  </a:moveTo>
                  <a:cubicBezTo>
                    <a:pt x="47240" y="0"/>
                    <a:pt x="65733" y="18445"/>
                    <a:pt x="65733" y="41255"/>
                  </a:cubicBezTo>
                  <a:cubicBezTo>
                    <a:pt x="65733" y="64065"/>
                    <a:pt x="47289" y="82510"/>
                    <a:pt x="24429" y="82510"/>
                  </a:cubicBezTo>
                  <a:cubicBezTo>
                    <a:pt x="15256" y="82510"/>
                    <a:pt x="6819" y="79518"/>
                    <a:pt x="0" y="74514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83" name="Forma livre: Forma 1182">
              <a:extLst>
                <a:ext uri="{FF2B5EF4-FFF2-40B4-BE49-F238E27FC236}">
                  <a16:creationId xmlns:a16="http://schemas.microsoft.com/office/drawing/2014/main" id="{79D0EC45-FC87-2D3F-8318-77AA7EF114CB}"/>
                </a:ext>
              </a:extLst>
            </p:cNvPr>
            <p:cNvSpPr/>
            <p:nvPr/>
          </p:nvSpPr>
          <p:spPr>
            <a:xfrm>
              <a:off x="7203674" y="4286533"/>
              <a:ext cx="37772" cy="19425"/>
            </a:xfrm>
            <a:custGeom>
              <a:avLst/>
              <a:gdLst>
                <a:gd name="connsiteX0" fmla="*/ 37772 w 37772"/>
                <a:gd name="connsiteY0" fmla="*/ 19426 h 19425"/>
                <a:gd name="connsiteX1" fmla="*/ 37772 w 37772"/>
                <a:gd name="connsiteY1" fmla="*/ 0 h 19425"/>
                <a:gd name="connsiteX2" fmla="*/ 0 w 37772"/>
                <a:gd name="connsiteY2" fmla="*/ 0 h 19425"/>
                <a:gd name="connsiteX3" fmla="*/ 0 w 37772"/>
                <a:gd name="connsiteY3" fmla="*/ 19426 h 194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7772" h="19425">
                  <a:moveTo>
                    <a:pt x="37772" y="19426"/>
                  </a:moveTo>
                  <a:lnTo>
                    <a:pt x="37772" y="0"/>
                  </a:lnTo>
                  <a:lnTo>
                    <a:pt x="0" y="0"/>
                  </a:lnTo>
                  <a:lnTo>
                    <a:pt x="0" y="19426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84" name="Forma livre: Forma 1183">
              <a:extLst>
                <a:ext uri="{FF2B5EF4-FFF2-40B4-BE49-F238E27FC236}">
                  <a16:creationId xmlns:a16="http://schemas.microsoft.com/office/drawing/2014/main" id="{6D55927F-0F72-D4E5-9654-ADFF00897B14}"/>
                </a:ext>
              </a:extLst>
            </p:cNvPr>
            <p:cNvSpPr/>
            <p:nvPr/>
          </p:nvSpPr>
          <p:spPr>
            <a:xfrm>
              <a:off x="7268917" y="4322048"/>
              <a:ext cx="12999" cy="15452"/>
            </a:xfrm>
            <a:custGeom>
              <a:avLst/>
              <a:gdLst>
                <a:gd name="connsiteX0" fmla="*/ 13000 w 12999"/>
                <a:gd name="connsiteY0" fmla="*/ 0 h 15452"/>
                <a:gd name="connsiteX1" fmla="*/ 0 w 12999"/>
                <a:gd name="connsiteY1" fmla="*/ 15452 h 154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999" h="15452">
                  <a:moveTo>
                    <a:pt x="13000" y="0"/>
                  </a:moveTo>
                  <a:lnTo>
                    <a:pt x="0" y="15452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85" name="Forma livre: Forma 1184">
              <a:extLst>
                <a:ext uri="{FF2B5EF4-FFF2-40B4-BE49-F238E27FC236}">
                  <a16:creationId xmlns:a16="http://schemas.microsoft.com/office/drawing/2014/main" id="{4269C023-6DF1-FA8A-1C3B-F0B133BDAFBE}"/>
                </a:ext>
              </a:extLst>
            </p:cNvPr>
            <p:cNvSpPr/>
            <p:nvPr/>
          </p:nvSpPr>
          <p:spPr>
            <a:xfrm>
              <a:off x="7188026" y="4395189"/>
              <a:ext cx="34436" cy="18787"/>
            </a:xfrm>
            <a:custGeom>
              <a:avLst/>
              <a:gdLst>
                <a:gd name="connsiteX0" fmla="*/ 34436 w 34436"/>
                <a:gd name="connsiteY0" fmla="*/ 0 h 18787"/>
                <a:gd name="connsiteX1" fmla="*/ 0 w 34436"/>
                <a:gd name="connsiteY1" fmla="*/ 18788 h 187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4436" h="18787">
                  <a:moveTo>
                    <a:pt x="34436" y="0"/>
                  </a:moveTo>
                  <a:lnTo>
                    <a:pt x="0" y="18788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86" name="Forma livre: Forma 1185">
              <a:extLst>
                <a:ext uri="{FF2B5EF4-FFF2-40B4-BE49-F238E27FC236}">
                  <a16:creationId xmlns:a16="http://schemas.microsoft.com/office/drawing/2014/main" id="{6FC8FC31-CF2A-3224-60A9-1EBBAA3F5760}"/>
                </a:ext>
              </a:extLst>
            </p:cNvPr>
            <p:cNvSpPr/>
            <p:nvPr/>
          </p:nvSpPr>
          <p:spPr>
            <a:xfrm>
              <a:off x="7215987" y="4388468"/>
              <a:ext cx="13146" cy="13146"/>
            </a:xfrm>
            <a:custGeom>
              <a:avLst/>
              <a:gdLst>
                <a:gd name="connsiteX0" fmla="*/ 13147 w 13146"/>
                <a:gd name="connsiteY0" fmla="*/ 6573 h 13146"/>
                <a:gd name="connsiteX1" fmla="*/ 6573 w 13146"/>
                <a:gd name="connsiteY1" fmla="*/ 13147 h 13146"/>
                <a:gd name="connsiteX2" fmla="*/ 0 w 13146"/>
                <a:gd name="connsiteY2" fmla="*/ 6573 h 13146"/>
                <a:gd name="connsiteX3" fmla="*/ 6573 w 13146"/>
                <a:gd name="connsiteY3" fmla="*/ 0 h 13146"/>
                <a:gd name="connsiteX4" fmla="*/ 13147 w 13146"/>
                <a:gd name="connsiteY4" fmla="*/ 6573 h 131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146" h="13146">
                  <a:moveTo>
                    <a:pt x="13147" y="6573"/>
                  </a:moveTo>
                  <a:cubicBezTo>
                    <a:pt x="13147" y="10203"/>
                    <a:pt x="10203" y="13147"/>
                    <a:pt x="6573" y="13147"/>
                  </a:cubicBezTo>
                  <a:cubicBezTo>
                    <a:pt x="2943" y="13147"/>
                    <a:pt x="0" y="10203"/>
                    <a:pt x="0" y="6573"/>
                  </a:cubicBezTo>
                  <a:cubicBezTo>
                    <a:pt x="0" y="2943"/>
                    <a:pt x="2943" y="0"/>
                    <a:pt x="6573" y="0"/>
                  </a:cubicBezTo>
                  <a:cubicBezTo>
                    <a:pt x="10203" y="0"/>
                    <a:pt x="13147" y="2943"/>
                    <a:pt x="13147" y="6573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187" name="Gráfico 13">
            <a:extLst>
              <a:ext uri="{FF2B5EF4-FFF2-40B4-BE49-F238E27FC236}">
                <a16:creationId xmlns:a16="http://schemas.microsoft.com/office/drawing/2014/main" id="{C72D48B5-1748-4C45-EF17-2323ABEEA821}"/>
              </a:ext>
            </a:extLst>
          </p:cNvPr>
          <p:cNvGrpSpPr/>
          <p:nvPr/>
        </p:nvGrpSpPr>
        <p:grpSpPr>
          <a:xfrm>
            <a:off x="6307081" y="5856283"/>
            <a:ext cx="371496" cy="260284"/>
            <a:chOff x="6307081" y="5856283"/>
            <a:chExt cx="371496" cy="260284"/>
          </a:xfrm>
          <a:noFill/>
        </p:grpSpPr>
        <p:sp>
          <p:nvSpPr>
            <p:cNvPr id="1188" name="Forma livre: Forma 1187">
              <a:extLst>
                <a:ext uri="{FF2B5EF4-FFF2-40B4-BE49-F238E27FC236}">
                  <a16:creationId xmlns:a16="http://schemas.microsoft.com/office/drawing/2014/main" id="{9233514C-770B-2967-04C4-F02DD24D59A2}"/>
                </a:ext>
              </a:extLst>
            </p:cNvPr>
            <p:cNvSpPr/>
            <p:nvPr/>
          </p:nvSpPr>
          <p:spPr>
            <a:xfrm>
              <a:off x="6355960" y="5856283"/>
              <a:ext cx="260284" cy="260284"/>
            </a:xfrm>
            <a:custGeom>
              <a:avLst/>
              <a:gdLst>
                <a:gd name="connsiteX0" fmla="*/ 260186 w 260284"/>
                <a:gd name="connsiteY0" fmla="*/ 124844 h 260284"/>
                <a:gd name="connsiteX1" fmla="*/ 260284 w 260284"/>
                <a:gd name="connsiteY1" fmla="*/ 130142 h 260284"/>
                <a:gd name="connsiteX2" fmla="*/ 130142 w 260284"/>
                <a:gd name="connsiteY2" fmla="*/ 260284 h 260284"/>
                <a:gd name="connsiteX3" fmla="*/ 0 w 260284"/>
                <a:gd name="connsiteY3" fmla="*/ 130142 h 260284"/>
                <a:gd name="connsiteX4" fmla="*/ 130142 w 260284"/>
                <a:gd name="connsiteY4" fmla="*/ 0 h 260284"/>
                <a:gd name="connsiteX5" fmla="*/ 224769 w 260284"/>
                <a:gd name="connsiteY5" fmla="*/ 40814 h 2602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60284" h="260284">
                  <a:moveTo>
                    <a:pt x="260186" y="124844"/>
                  </a:moveTo>
                  <a:cubicBezTo>
                    <a:pt x="260235" y="126610"/>
                    <a:pt x="260284" y="128376"/>
                    <a:pt x="260284" y="130142"/>
                  </a:cubicBezTo>
                  <a:cubicBezTo>
                    <a:pt x="260284" y="202007"/>
                    <a:pt x="202007" y="260284"/>
                    <a:pt x="130142" y="260284"/>
                  </a:cubicBezTo>
                  <a:cubicBezTo>
                    <a:pt x="58277" y="260284"/>
                    <a:pt x="0" y="202007"/>
                    <a:pt x="0" y="130142"/>
                  </a:cubicBezTo>
                  <a:cubicBezTo>
                    <a:pt x="0" y="58277"/>
                    <a:pt x="58277" y="0"/>
                    <a:pt x="130142" y="0"/>
                  </a:cubicBezTo>
                  <a:cubicBezTo>
                    <a:pt x="167424" y="0"/>
                    <a:pt x="201075" y="15698"/>
                    <a:pt x="224769" y="40814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89" name="Forma livre: Forma 1188">
              <a:extLst>
                <a:ext uri="{FF2B5EF4-FFF2-40B4-BE49-F238E27FC236}">
                  <a16:creationId xmlns:a16="http://schemas.microsoft.com/office/drawing/2014/main" id="{E3D684EF-B074-06A9-37C4-BB93F946012E}"/>
                </a:ext>
              </a:extLst>
            </p:cNvPr>
            <p:cNvSpPr/>
            <p:nvPr/>
          </p:nvSpPr>
          <p:spPr>
            <a:xfrm>
              <a:off x="6469276" y="5907587"/>
              <a:ext cx="209301" cy="81594"/>
            </a:xfrm>
            <a:custGeom>
              <a:avLst/>
              <a:gdLst>
                <a:gd name="connsiteX0" fmla="*/ 129652 w 209301"/>
                <a:gd name="connsiteY0" fmla="*/ 21297 h 81594"/>
                <a:gd name="connsiteX1" fmla="*/ 173556 w 209301"/>
                <a:gd name="connsiteY1" fmla="*/ 3735 h 81594"/>
                <a:gd name="connsiteX2" fmla="*/ 206618 w 209301"/>
                <a:gd name="connsiteY2" fmla="*/ 5305 h 81594"/>
                <a:gd name="connsiteX3" fmla="*/ 199064 w 209301"/>
                <a:gd name="connsiteY3" fmla="*/ 25614 h 81594"/>
                <a:gd name="connsiteX4" fmla="*/ 68088 w 209301"/>
                <a:gd name="connsiteY4" fmla="*/ 78004 h 81594"/>
                <a:gd name="connsiteX5" fmla="*/ 32965 w 209301"/>
                <a:gd name="connsiteY5" fmla="*/ 76631 h 81594"/>
                <a:gd name="connsiteX6" fmla="*/ 0 w 209301"/>
                <a:gd name="connsiteY6" fmla="*/ 47100 h 81594"/>
                <a:gd name="connsiteX7" fmla="*/ 22369 w 209301"/>
                <a:gd name="connsiteY7" fmla="*/ 45138 h 81594"/>
                <a:gd name="connsiteX8" fmla="*/ 38606 w 209301"/>
                <a:gd name="connsiteY8" fmla="*/ 50435 h 81594"/>
                <a:gd name="connsiteX9" fmla="*/ 60975 w 209301"/>
                <a:gd name="connsiteY9" fmla="*/ 48375 h 81594"/>
                <a:gd name="connsiteX10" fmla="*/ 81578 w 209301"/>
                <a:gd name="connsiteY10" fmla="*/ 39545 h 81594"/>
                <a:gd name="connsiteX11" fmla="*/ 38361 w 209301"/>
                <a:gd name="connsiteY11" fmla="*/ 3147 h 81594"/>
                <a:gd name="connsiteX12" fmla="*/ 72895 w 209301"/>
                <a:gd name="connsiteY12" fmla="*/ 4030 h 81594"/>
                <a:gd name="connsiteX13" fmla="*/ 129701 w 209301"/>
                <a:gd name="connsiteY13" fmla="*/ 21248 h 815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09301" h="81594">
                  <a:moveTo>
                    <a:pt x="129652" y="21297"/>
                  </a:moveTo>
                  <a:lnTo>
                    <a:pt x="173556" y="3735"/>
                  </a:lnTo>
                  <a:cubicBezTo>
                    <a:pt x="173556" y="3735"/>
                    <a:pt x="195532" y="-5634"/>
                    <a:pt x="206618" y="5305"/>
                  </a:cubicBezTo>
                  <a:cubicBezTo>
                    <a:pt x="206618" y="5305"/>
                    <a:pt x="216233" y="17716"/>
                    <a:pt x="199064" y="25614"/>
                  </a:cubicBezTo>
                  <a:lnTo>
                    <a:pt x="68088" y="78004"/>
                  </a:lnTo>
                  <a:cubicBezTo>
                    <a:pt x="68088" y="78004"/>
                    <a:pt x="44640" y="86932"/>
                    <a:pt x="32965" y="76631"/>
                  </a:cubicBezTo>
                  <a:lnTo>
                    <a:pt x="0" y="47100"/>
                  </a:lnTo>
                  <a:cubicBezTo>
                    <a:pt x="0" y="47100"/>
                    <a:pt x="8928" y="41115"/>
                    <a:pt x="22369" y="45138"/>
                  </a:cubicBezTo>
                  <a:lnTo>
                    <a:pt x="38606" y="50435"/>
                  </a:lnTo>
                  <a:cubicBezTo>
                    <a:pt x="38606" y="50435"/>
                    <a:pt x="48711" y="53869"/>
                    <a:pt x="60975" y="48375"/>
                  </a:cubicBezTo>
                  <a:lnTo>
                    <a:pt x="81578" y="39545"/>
                  </a:lnTo>
                  <a:lnTo>
                    <a:pt x="38361" y="3147"/>
                  </a:lnTo>
                  <a:cubicBezTo>
                    <a:pt x="38361" y="3147"/>
                    <a:pt x="54549" y="-3427"/>
                    <a:pt x="72895" y="4030"/>
                  </a:cubicBezTo>
                  <a:cubicBezTo>
                    <a:pt x="72895" y="4030"/>
                    <a:pt x="118663" y="22719"/>
                    <a:pt x="129701" y="21248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90" name="Forma livre: Forma 1189">
              <a:extLst>
                <a:ext uri="{FF2B5EF4-FFF2-40B4-BE49-F238E27FC236}">
                  <a16:creationId xmlns:a16="http://schemas.microsoft.com/office/drawing/2014/main" id="{6592ED1D-8BFD-2347-EE64-2900465EFD88}"/>
                </a:ext>
              </a:extLst>
            </p:cNvPr>
            <p:cNvSpPr/>
            <p:nvPr/>
          </p:nvSpPr>
          <p:spPr>
            <a:xfrm>
              <a:off x="6307081" y="5998885"/>
              <a:ext cx="161949" cy="41969"/>
            </a:xfrm>
            <a:custGeom>
              <a:avLst/>
              <a:gdLst>
                <a:gd name="connsiteX0" fmla="*/ 15423 w 161949"/>
                <a:gd name="connsiteY0" fmla="*/ 0 h 41969"/>
                <a:gd name="connsiteX1" fmla="*/ 161949 w 161949"/>
                <a:gd name="connsiteY1" fmla="*/ 3041 h 419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61949" h="41969">
                  <a:moveTo>
                    <a:pt x="15423" y="0"/>
                  </a:moveTo>
                  <a:cubicBezTo>
                    <a:pt x="15423" y="0"/>
                    <a:pt x="-70177" y="92370"/>
                    <a:pt x="161949" y="3041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191" name="Gráfico 13">
            <a:extLst>
              <a:ext uri="{FF2B5EF4-FFF2-40B4-BE49-F238E27FC236}">
                <a16:creationId xmlns:a16="http://schemas.microsoft.com/office/drawing/2014/main" id="{093311AD-0304-6DEC-4173-304238C49032}"/>
              </a:ext>
            </a:extLst>
          </p:cNvPr>
          <p:cNvGrpSpPr/>
          <p:nvPr/>
        </p:nvGrpSpPr>
        <p:grpSpPr>
          <a:xfrm>
            <a:off x="7560988" y="5886298"/>
            <a:ext cx="416523" cy="200296"/>
            <a:chOff x="7560988" y="5886298"/>
            <a:chExt cx="416523" cy="200296"/>
          </a:xfrm>
          <a:noFill/>
        </p:grpSpPr>
        <p:sp>
          <p:nvSpPr>
            <p:cNvPr id="1192" name="Forma livre: Forma 1191">
              <a:extLst>
                <a:ext uri="{FF2B5EF4-FFF2-40B4-BE49-F238E27FC236}">
                  <a16:creationId xmlns:a16="http://schemas.microsoft.com/office/drawing/2014/main" id="{F5802309-DA46-AE9D-1B2F-0F946593B712}"/>
                </a:ext>
              </a:extLst>
            </p:cNvPr>
            <p:cNvSpPr/>
            <p:nvPr/>
          </p:nvSpPr>
          <p:spPr>
            <a:xfrm>
              <a:off x="7663611" y="6015466"/>
              <a:ext cx="40421" cy="41500"/>
            </a:xfrm>
            <a:custGeom>
              <a:avLst/>
              <a:gdLst>
                <a:gd name="connsiteX0" fmla="*/ 40421 w 40421"/>
                <a:gd name="connsiteY0" fmla="*/ 41500 h 41500"/>
                <a:gd name="connsiteX1" fmla="*/ 19622 w 40421"/>
                <a:gd name="connsiteY1" fmla="*/ 41500 h 41500"/>
                <a:gd name="connsiteX2" fmla="*/ 0 w 40421"/>
                <a:gd name="connsiteY2" fmla="*/ 21878 h 41500"/>
                <a:gd name="connsiteX3" fmla="*/ 0 w 40421"/>
                <a:gd name="connsiteY3" fmla="*/ 0 h 41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0421" h="41500">
                  <a:moveTo>
                    <a:pt x="40421" y="41500"/>
                  </a:moveTo>
                  <a:lnTo>
                    <a:pt x="19622" y="41500"/>
                  </a:lnTo>
                  <a:cubicBezTo>
                    <a:pt x="8830" y="41500"/>
                    <a:pt x="0" y="32670"/>
                    <a:pt x="0" y="21878"/>
                  </a:cubicBezTo>
                  <a:lnTo>
                    <a:pt x="0" y="0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93" name="Forma livre: Forma 1192">
              <a:extLst>
                <a:ext uri="{FF2B5EF4-FFF2-40B4-BE49-F238E27FC236}">
                  <a16:creationId xmlns:a16="http://schemas.microsoft.com/office/drawing/2014/main" id="{9E28F826-1B36-E144-192E-76928D3F0B47}"/>
                </a:ext>
              </a:extLst>
            </p:cNvPr>
            <p:cNvSpPr/>
            <p:nvPr/>
          </p:nvSpPr>
          <p:spPr>
            <a:xfrm>
              <a:off x="7764124" y="6056966"/>
              <a:ext cx="115278" cy="4905"/>
            </a:xfrm>
            <a:custGeom>
              <a:avLst/>
              <a:gdLst>
                <a:gd name="connsiteX0" fmla="*/ 115278 w 115278"/>
                <a:gd name="connsiteY0" fmla="*/ 0 h 4905"/>
                <a:gd name="connsiteX1" fmla="*/ 0 w 115278"/>
                <a:gd name="connsiteY1" fmla="*/ 0 h 49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5278" h="4905">
                  <a:moveTo>
                    <a:pt x="115278" y="0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94" name="Forma livre: Forma 1193">
              <a:extLst>
                <a:ext uri="{FF2B5EF4-FFF2-40B4-BE49-F238E27FC236}">
                  <a16:creationId xmlns:a16="http://schemas.microsoft.com/office/drawing/2014/main" id="{E8ECD5A2-4106-EC95-BF78-72D315E735E3}"/>
                </a:ext>
              </a:extLst>
            </p:cNvPr>
            <p:cNvSpPr/>
            <p:nvPr/>
          </p:nvSpPr>
          <p:spPr>
            <a:xfrm>
              <a:off x="7660766" y="5886298"/>
              <a:ext cx="316746" cy="170667"/>
            </a:xfrm>
            <a:custGeom>
              <a:avLst/>
              <a:gdLst>
                <a:gd name="connsiteX0" fmla="*/ 0 w 316746"/>
                <a:gd name="connsiteY0" fmla="*/ 7 h 170667"/>
                <a:gd name="connsiteX1" fmla="*/ 196366 w 316746"/>
                <a:gd name="connsiteY1" fmla="*/ 7 h 170667"/>
                <a:gd name="connsiteX2" fmla="*/ 316746 w 316746"/>
                <a:gd name="connsiteY2" fmla="*/ 110134 h 170667"/>
                <a:gd name="connsiteX3" fmla="*/ 316746 w 316746"/>
                <a:gd name="connsiteY3" fmla="*/ 151046 h 170667"/>
                <a:gd name="connsiteX4" fmla="*/ 297124 w 316746"/>
                <a:gd name="connsiteY4" fmla="*/ 170668 h 170667"/>
                <a:gd name="connsiteX5" fmla="*/ 278876 w 316746"/>
                <a:gd name="connsiteY5" fmla="*/ 170668 h 1706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16746" h="170667">
                  <a:moveTo>
                    <a:pt x="0" y="7"/>
                  </a:moveTo>
                  <a:lnTo>
                    <a:pt x="196366" y="7"/>
                  </a:lnTo>
                  <a:cubicBezTo>
                    <a:pt x="196366" y="7"/>
                    <a:pt x="259107" y="-2839"/>
                    <a:pt x="316746" y="110134"/>
                  </a:cubicBezTo>
                  <a:lnTo>
                    <a:pt x="316746" y="151046"/>
                  </a:lnTo>
                  <a:cubicBezTo>
                    <a:pt x="316746" y="161838"/>
                    <a:pt x="307916" y="170668"/>
                    <a:pt x="297124" y="170668"/>
                  </a:cubicBezTo>
                  <a:lnTo>
                    <a:pt x="278876" y="170668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95" name="Forma livre: Forma 1194">
              <a:extLst>
                <a:ext uri="{FF2B5EF4-FFF2-40B4-BE49-F238E27FC236}">
                  <a16:creationId xmlns:a16="http://schemas.microsoft.com/office/drawing/2014/main" id="{FB7E4C5A-6647-18F1-9B47-8461465D351E}"/>
                </a:ext>
              </a:extLst>
            </p:cNvPr>
            <p:cNvSpPr/>
            <p:nvPr/>
          </p:nvSpPr>
          <p:spPr>
            <a:xfrm>
              <a:off x="7880089" y="6027680"/>
              <a:ext cx="58963" cy="58914"/>
            </a:xfrm>
            <a:custGeom>
              <a:avLst/>
              <a:gdLst>
                <a:gd name="connsiteX0" fmla="*/ 58964 w 58963"/>
                <a:gd name="connsiteY0" fmla="*/ 29482 h 58914"/>
                <a:gd name="connsiteX1" fmla="*/ 29482 w 58963"/>
                <a:gd name="connsiteY1" fmla="*/ 58915 h 58914"/>
                <a:gd name="connsiteX2" fmla="*/ 0 w 58963"/>
                <a:gd name="connsiteY2" fmla="*/ 29482 h 58914"/>
                <a:gd name="connsiteX3" fmla="*/ 29482 w 58963"/>
                <a:gd name="connsiteY3" fmla="*/ 0 h 58914"/>
                <a:gd name="connsiteX4" fmla="*/ 58964 w 58963"/>
                <a:gd name="connsiteY4" fmla="*/ 29482 h 589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8963" h="58914">
                  <a:moveTo>
                    <a:pt x="58964" y="29482"/>
                  </a:moveTo>
                  <a:cubicBezTo>
                    <a:pt x="58964" y="45768"/>
                    <a:pt x="45768" y="58915"/>
                    <a:pt x="29482" y="58915"/>
                  </a:cubicBezTo>
                  <a:cubicBezTo>
                    <a:pt x="13196" y="58915"/>
                    <a:pt x="0" y="45719"/>
                    <a:pt x="0" y="29482"/>
                  </a:cubicBezTo>
                  <a:cubicBezTo>
                    <a:pt x="0" y="13245"/>
                    <a:pt x="13196" y="0"/>
                    <a:pt x="29482" y="0"/>
                  </a:cubicBezTo>
                  <a:cubicBezTo>
                    <a:pt x="45768" y="0"/>
                    <a:pt x="58964" y="13196"/>
                    <a:pt x="58964" y="29482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96" name="Forma livre: Forma 1195">
              <a:extLst>
                <a:ext uri="{FF2B5EF4-FFF2-40B4-BE49-F238E27FC236}">
                  <a16:creationId xmlns:a16="http://schemas.microsoft.com/office/drawing/2014/main" id="{C58B36EA-339B-26E7-6B56-F3B2F2A6D1EC}"/>
                </a:ext>
              </a:extLst>
            </p:cNvPr>
            <p:cNvSpPr/>
            <p:nvPr/>
          </p:nvSpPr>
          <p:spPr>
            <a:xfrm>
              <a:off x="7704670" y="6027680"/>
              <a:ext cx="58963" cy="58914"/>
            </a:xfrm>
            <a:custGeom>
              <a:avLst/>
              <a:gdLst>
                <a:gd name="connsiteX0" fmla="*/ 58964 w 58963"/>
                <a:gd name="connsiteY0" fmla="*/ 29482 h 58914"/>
                <a:gd name="connsiteX1" fmla="*/ 29482 w 58963"/>
                <a:gd name="connsiteY1" fmla="*/ 58915 h 58914"/>
                <a:gd name="connsiteX2" fmla="*/ 0 w 58963"/>
                <a:gd name="connsiteY2" fmla="*/ 29482 h 58914"/>
                <a:gd name="connsiteX3" fmla="*/ 29482 w 58963"/>
                <a:gd name="connsiteY3" fmla="*/ 0 h 58914"/>
                <a:gd name="connsiteX4" fmla="*/ 58964 w 58963"/>
                <a:gd name="connsiteY4" fmla="*/ 29482 h 589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8963" h="58914">
                  <a:moveTo>
                    <a:pt x="58964" y="29482"/>
                  </a:moveTo>
                  <a:cubicBezTo>
                    <a:pt x="58964" y="45768"/>
                    <a:pt x="45768" y="58915"/>
                    <a:pt x="29482" y="58915"/>
                  </a:cubicBezTo>
                  <a:cubicBezTo>
                    <a:pt x="13196" y="58915"/>
                    <a:pt x="0" y="45719"/>
                    <a:pt x="0" y="29482"/>
                  </a:cubicBezTo>
                  <a:cubicBezTo>
                    <a:pt x="0" y="13245"/>
                    <a:pt x="13196" y="0"/>
                    <a:pt x="29482" y="0"/>
                  </a:cubicBezTo>
                  <a:cubicBezTo>
                    <a:pt x="45768" y="0"/>
                    <a:pt x="58964" y="13196"/>
                    <a:pt x="58964" y="29482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97" name="Forma livre: Forma 1196">
              <a:extLst>
                <a:ext uri="{FF2B5EF4-FFF2-40B4-BE49-F238E27FC236}">
                  <a16:creationId xmlns:a16="http://schemas.microsoft.com/office/drawing/2014/main" id="{A354EC59-41A6-70BD-4C88-8C0A7268165D}"/>
                </a:ext>
              </a:extLst>
            </p:cNvPr>
            <p:cNvSpPr/>
            <p:nvPr/>
          </p:nvSpPr>
          <p:spPr>
            <a:xfrm>
              <a:off x="7861203" y="5919809"/>
              <a:ext cx="100464" cy="54990"/>
            </a:xfrm>
            <a:custGeom>
              <a:avLst/>
              <a:gdLst>
                <a:gd name="connsiteX0" fmla="*/ 0 w 100464"/>
                <a:gd name="connsiteY0" fmla="*/ 0 h 54990"/>
                <a:gd name="connsiteX1" fmla="*/ 0 w 100464"/>
                <a:gd name="connsiteY1" fmla="*/ 30610 h 54990"/>
                <a:gd name="connsiteX2" fmla="*/ 23203 w 100464"/>
                <a:gd name="connsiteY2" fmla="*/ 54990 h 54990"/>
                <a:gd name="connsiteX3" fmla="*/ 100464 w 100464"/>
                <a:gd name="connsiteY3" fmla="*/ 54990 h 549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0464" h="54990">
                  <a:moveTo>
                    <a:pt x="0" y="0"/>
                  </a:moveTo>
                  <a:lnTo>
                    <a:pt x="0" y="30610"/>
                  </a:lnTo>
                  <a:cubicBezTo>
                    <a:pt x="0" y="30610"/>
                    <a:pt x="0" y="54990"/>
                    <a:pt x="23203" y="54990"/>
                  </a:cubicBezTo>
                  <a:lnTo>
                    <a:pt x="100464" y="54990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98" name="Forma livre: Forma 1197">
              <a:extLst>
                <a:ext uri="{FF2B5EF4-FFF2-40B4-BE49-F238E27FC236}">
                  <a16:creationId xmlns:a16="http://schemas.microsoft.com/office/drawing/2014/main" id="{E6643EC4-7818-5AAA-D580-F9436204AD26}"/>
                </a:ext>
              </a:extLst>
            </p:cNvPr>
            <p:cNvSpPr/>
            <p:nvPr/>
          </p:nvSpPr>
          <p:spPr>
            <a:xfrm>
              <a:off x="7590078" y="5918435"/>
              <a:ext cx="129111" cy="4905"/>
            </a:xfrm>
            <a:custGeom>
              <a:avLst/>
              <a:gdLst>
                <a:gd name="connsiteX0" fmla="*/ 129112 w 129111"/>
                <a:gd name="connsiteY0" fmla="*/ 0 h 4905"/>
                <a:gd name="connsiteX1" fmla="*/ 0 w 129111"/>
                <a:gd name="connsiteY1" fmla="*/ 0 h 49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9111" h="4905">
                  <a:moveTo>
                    <a:pt x="129112" y="0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99" name="Forma livre: Forma 1198">
              <a:extLst>
                <a:ext uri="{FF2B5EF4-FFF2-40B4-BE49-F238E27FC236}">
                  <a16:creationId xmlns:a16="http://schemas.microsoft.com/office/drawing/2014/main" id="{0E3F54BC-6555-6960-732E-8016CC2FC239}"/>
                </a:ext>
              </a:extLst>
            </p:cNvPr>
            <p:cNvSpPr/>
            <p:nvPr/>
          </p:nvSpPr>
          <p:spPr>
            <a:xfrm>
              <a:off x="7621277" y="6014092"/>
              <a:ext cx="65242" cy="4905"/>
            </a:xfrm>
            <a:custGeom>
              <a:avLst/>
              <a:gdLst>
                <a:gd name="connsiteX0" fmla="*/ 65243 w 65242"/>
                <a:gd name="connsiteY0" fmla="*/ 0 h 4905"/>
                <a:gd name="connsiteX1" fmla="*/ 0 w 65242"/>
                <a:gd name="connsiteY1" fmla="*/ 0 h 49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5242" h="4905">
                  <a:moveTo>
                    <a:pt x="65243" y="0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00" name="Forma livre: Forma 1199">
              <a:extLst>
                <a:ext uri="{FF2B5EF4-FFF2-40B4-BE49-F238E27FC236}">
                  <a16:creationId xmlns:a16="http://schemas.microsoft.com/office/drawing/2014/main" id="{3A7A4329-F88B-FD8C-072D-6AEFCBC9FDDB}"/>
                </a:ext>
              </a:extLst>
            </p:cNvPr>
            <p:cNvSpPr/>
            <p:nvPr/>
          </p:nvSpPr>
          <p:spPr>
            <a:xfrm>
              <a:off x="7560988" y="5982206"/>
              <a:ext cx="158201" cy="4905"/>
            </a:xfrm>
            <a:custGeom>
              <a:avLst/>
              <a:gdLst>
                <a:gd name="connsiteX0" fmla="*/ 158201 w 158201"/>
                <a:gd name="connsiteY0" fmla="*/ 0 h 4905"/>
                <a:gd name="connsiteX1" fmla="*/ 0 w 158201"/>
                <a:gd name="connsiteY1" fmla="*/ 0 h 49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8201" h="4905">
                  <a:moveTo>
                    <a:pt x="158201" y="0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01" name="Forma livre: Forma 1200">
              <a:extLst>
                <a:ext uri="{FF2B5EF4-FFF2-40B4-BE49-F238E27FC236}">
                  <a16:creationId xmlns:a16="http://schemas.microsoft.com/office/drawing/2014/main" id="{E37FD305-2A91-BD5D-8679-F0AAAB0EB412}"/>
                </a:ext>
              </a:extLst>
            </p:cNvPr>
            <p:cNvSpPr/>
            <p:nvPr/>
          </p:nvSpPr>
          <p:spPr>
            <a:xfrm>
              <a:off x="7627703" y="5950321"/>
              <a:ext cx="124206" cy="4905"/>
            </a:xfrm>
            <a:custGeom>
              <a:avLst/>
              <a:gdLst>
                <a:gd name="connsiteX0" fmla="*/ 124206 w 124206"/>
                <a:gd name="connsiteY0" fmla="*/ 0 h 4905"/>
                <a:gd name="connsiteX1" fmla="*/ 0 w 124206"/>
                <a:gd name="connsiteY1" fmla="*/ 0 h 49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4206" h="4905">
                  <a:moveTo>
                    <a:pt x="124206" y="0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sp>
        <p:nvSpPr>
          <p:cNvPr id="1202" name="Forma livre: Forma 1201">
            <a:extLst>
              <a:ext uri="{FF2B5EF4-FFF2-40B4-BE49-F238E27FC236}">
                <a16:creationId xmlns:a16="http://schemas.microsoft.com/office/drawing/2014/main" id="{87DA59DF-6F29-7DB5-9791-CFF5BA57ACE9}"/>
              </a:ext>
            </a:extLst>
          </p:cNvPr>
          <p:cNvSpPr/>
          <p:nvPr/>
        </p:nvSpPr>
        <p:spPr>
          <a:xfrm>
            <a:off x="6966127" y="5848486"/>
            <a:ext cx="329978" cy="275977"/>
          </a:xfrm>
          <a:custGeom>
            <a:avLst/>
            <a:gdLst>
              <a:gd name="connsiteX0" fmla="*/ 131687 w 329978"/>
              <a:gd name="connsiteY0" fmla="*/ 223638 h 275977"/>
              <a:gd name="connsiteX1" fmla="*/ 225235 w 329978"/>
              <a:gd name="connsiteY1" fmla="*/ 223638 h 275977"/>
              <a:gd name="connsiteX2" fmla="*/ 225235 w 329978"/>
              <a:gd name="connsiteY2" fmla="*/ 265138 h 275977"/>
              <a:gd name="connsiteX3" fmla="*/ 231465 w 329978"/>
              <a:gd name="connsiteY3" fmla="*/ 274998 h 275977"/>
              <a:gd name="connsiteX4" fmla="*/ 245200 w 329978"/>
              <a:gd name="connsiteY4" fmla="*/ 272840 h 275977"/>
              <a:gd name="connsiteX5" fmla="*/ 325748 w 329978"/>
              <a:gd name="connsiteY5" fmla="*/ 192587 h 275977"/>
              <a:gd name="connsiteX6" fmla="*/ 325748 w 329978"/>
              <a:gd name="connsiteY6" fmla="*/ 172229 h 275977"/>
              <a:gd name="connsiteX7" fmla="*/ 245200 w 329978"/>
              <a:gd name="connsiteY7" fmla="*/ 91632 h 275977"/>
              <a:gd name="connsiteX8" fmla="*/ 231366 w 329978"/>
              <a:gd name="connsiteY8" fmla="*/ 90013 h 275977"/>
              <a:gd name="connsiteX9" fmla="*/ 225284 w 329978"/>
              <a:gd name="connsiteY9" fmla="*/ 98156 h 275977"/>
              <a:gd name="connsiteX10" fmla="*/ 225284 w 329978"/>
              <a:gd name="connsiteY10" fmla="*/ 137989 h 275977"/>
              <a:gd name="connsiteX11" fmla="*/ 104658 w 329978"/>
              <a:gd name="connsiteY11" fmla="*/ 137989 h 275977"/>
              <a:gd name="connsiteX12" fmla="*/ 104658 w 329978"/>
              <a:gd name="connsiteY12" fmla="*/ 177821 h 275977"/>
              <a:gd name="connsiteX13" fmla="*/ 98575 w 329978"/>
              <a:gd name="connsiteY13" fmla="*/ 185964 h 275977"/>
              <a:gd name="connsiteX14" fmla="*/ 84742 w 329978"/>
              <a:gd name="connsiteY14" fmla="*/ 184345 h 275977"/>
              <a:gd name="connsiteX15" fmla="*/ 4194 w 329978"/>
              <a:gd name="connsiteY15" fmla="*/ 103748 h 275977"/>
              <a:gd name="connsiteX16" fmla="*/ 4194 w 329978"/>
              <a:gd name="connsiteY16" fmla="*/ 83391 h 275977"/>
              <a:gd name="connsiteX17" fmla="*/ 84742 w 329978"/>
              <a:gd name="connsiteY17" fmla="*/ 3137 h 275977"/>
              <a:gd name="connsiteX18" fmla="*/ 98477 w 329978"/>
              <a:gd name="connsiteY18" fmla="*/ 979 h 275977"/>
              <a:gd name="connsiteX19" fmla="*/ 104707 w 329978"/>
              <a:gd name="connsiteY19" fmla="*/ 10839 h 275977"/>
              <a:gd name="connsiteX20" fmla="*/ 104707 w 329978"/>
              <a:gd name="connsiteY20" fmla="*/ 52339 h 275977"/>
              <a:gd name="connsiteX21" fmla="*/ 198206 w 329978"/>
              <a:gd name="connsiteY21" fmla="*/ 52339 h 2759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329978" h="275977">
                <a:moveTo>
                  <a:pt x="131687" y="223638"/>
                </a:moveTo>
                <a:lnTo>
                  <a:pt x="225235" y="223638"/>
                </a:lnTo>
                <a:cubicBezTo>
                  <a:pt x="225235" y="223638"/>
                  <a:pt x="225235" y="265138"/>
                  <a:pt x="225235" y="265138"/>
                </a:cubicBezTo>
                <a:cubicBezTo>
                  <a:pt x="225235" y="269799"/>
                  <a:pt x="227442" y="273281"/>
                  <a:pt x="231465" y="274998"/>
                </a:cubicBezTo>
                <a:cubicBezTo>
                  <a:pt x="236076" y="276912"/>
                  <a:pt x="242060" y="275930"/>
                  <a:pt x="245200" y="272840"/>
                </a:cubicBezTo>
                <a:lnTo>
                  <a:pt x="325748" y="192587"/>
                </a:lnTo>
                <a:cubicBezTo>
                  <a:pt x="331389" y="186994"/>
                  <a:pt x="331389" y="177870"/>
                  <a:pt x="325748" y="172229"/>
                </a:cubicBezTo>
                <a:lnTo>
                  <a:pt x="245200" y="91632"/>
                </a:lnTo>
                <a:cubicBezTo>
                  <a:pt x="242306" y="88738"/>
                  <a:pt x="236174" y="88051"/>
                  <a:pt x="231366" y="90013"/>
                </a:cubicBezTo>
                <a:cubicBezTo>
                  <a:pt x="229110" y="90945"/>
                  <a:pt x="225284" y="93251"/>
                  <a:pt x="225284" y="98156"/>
                </a:cubicBezTo>
                <a:lnTo>
                  <a:pt x="225284" y="137989"/>
                </a:lnTo>
                <a:cubicBezTo>
                  <a:pt x="225284" y="137989"/>
                  <a:pt x="104658" y="137989"/>
                  <a:pt x="104658" y="137989"/>
                </a:cubicBezTo>
                <a:lnTo>
                  <a:pt x="104658" y="177821"/>
                </a:lnTo>
                <a:cubicBezTo>
                  <a:pt x="104658" y="182727"/>
                  <a:pt x="100832" y="185032"/>
                  <a:pt x="98575" y="185964"/>
                </a:cubicBezTo>
                <a:cubicBezTo>
                  <a:pt x="93719" y="187926"/>
                  <a:pt x="87636" y="187289"/>
                  <a:pt x="84742" y="184345"/>
                </a:cubicBezTo>
                <a:lnTo>
                  <a:pt x="4194" y="103748"/>
                </a:lnTo>
                <a:cubicBezTo>
                  <a:pt x="-1398" y="98107"/>
                  <a:pt x="-1398" y="88983"/>
                  <a:pt x="4194" y="83391"/>
                </a:cubicBezTo>
                <a:lnTo>
                  <a:pt x="84742" y="3137"/>
                </a:lnTo>
                <a:cubicBezTo>
                  <a:pt x="87881" y="47"/>
                  <a:pt x="93866" y="-934"/>
                  <a:pt x="98477" y="979"/>
                </a:cubicBezTo>
                <a:cubicBezTo>
                  <a:pt x="102500" y="2696"/>
                  <a:pt x="104707" y="6179"/>
                  <a:pt x="104707" y="10839"/>
                </a:cubicBezTo>
                <a:lnTo>
                  <a:pt x="104707" y="52339"/>
                </a:lnTo>
                <a:cubicBezTo>
                  <a:pt x="104707" y="52339"/>
                  <a:pt x="198206" y="52339"/>
                  <a:pt x="198206" y="52339"/>
                </a:cubicBezTo>
              </a:path>
            </a:pathLst>
          </a:custGeom>
          <a:noFill/>
          <a:ln w="6350" cap="flat">
            <a:solidFill>
              <a:schemeClr val="accent2"/>
            </a:solidFill>
            <a:prstDash val="solid"/>
            <a:miter/>
          </a:ln>
        </p:spPr>
        <p:txBody>
          <a:bodyPr rtlCol="0" anchor="ctr"/>
          <a:lstStyle/>
          <a:p>
            <a:endParaRPr lang="pt-PT"/>
          </a:p>
        </p:txBody>
      </p:sp>
      <p:grpSp>
        <p:nvGrpSpPr>
          <p:cNvPr id="1203" name="Gráfico 13">
            <a:extLst>
              <a:ext uri="{FF2B5EF4-FFF2-40B4-BE49-F238E27FC236}">
                <a16:creationId xmlns:a16="http://schemas.microsoft.com/office/drawing/2014/main" id="{8122E12C-FD1D-9511-9F96-C9AEA9528EA5}"/>
              </a:ext>
            </a:extLst>
          </p:cNvPr>
          <p:cNvGrpSpPr/>
          <p:nvPr/>
        </p:nvGrpSpPr>
        <p:grpSpPr>
          <a:xfrm>
            <a:off x="6355665" y="3618947"/>
            <a:ext cx="274313" cy="298595"/>
            <a:chOff x="6355665" y="3618947"/>
            <a:chExt cx="274313" cy="298595"/>
          </a:xfrm>
        </p:grpSpPr>
        <p:sp>
          <p:nvSpPr>
            <p:cNvPr id="1204" name="Forma livre: Forma 1203">
              <a:extLst>
                <a:ext uri="{FF2B5EF4-FFF2-40B4-BE49-F238E27FC236}">
                  <a16:creationId xmlns:a16="http://schemas.microsoft.com/office/drawing/2014/main" id="{CFEC67B1-1236-919F-8498-467D2FA29F55}"/>
                </a:ext>
              </a:extLst>
            </p:cNvPr>
            <p:cNvSpPr/>
            <p:nvPr/>
          </p:nvSpPr>
          <p:spPr>
            <a:xfrm>
              <a:off x="6355665" y="3660006"/>
              <a:ext cx="135979" cy="251012"/>
            </a:xfrm>
            <a:custGeom>
              <a:avLst/>
              <a:gdLst>
                <a:gd name="connsiteX0" fmla="*/ 135980 w 135979"/>
                <a:gd name="connsiteY0" fmla="*/ 251013 h 251012"/>
                <a:gd name="connsiteX1" fmla="*/ 14716 w 135979"/>
                <a:gd name="connsiteY1" fmla="*/ 251013 h 251012"/>
                <a:gd name="connsiteX2" fmla="*/ 0 w 135979"/>
                <a:gd name="connsiteY2" fmla="*/ 236296 h 251012"/>
                <a:gd name="connsiteX3" fmla="*/ 0 w 135979"/>
                <a:gd name="connsiteY3" fmla="*/ 14716 h 251012"/>
                <a:gd name="connsiteX4" fmla="*/ 14716 w 135979"/>
                <a:gd name="connsiteY4" fmla="*/ 0 h 251012"/>
                <a:gd name="connsiteX5" fmla="*/ 32769 w 135979"/>
                <a:gd name="connsiteY5" fmla="*/ 0 h 2510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35979" h="251012">
                  <a:moveTo>
                    <a:pt x="135980" y="251013"/>
                  </a:moveTo>
                  <a:lnTo>
                    <a:pt x="14716" y="251013"/>
                  </a:lnTo>
                  <a:cubicBezTo>
                    <a:pt x="6622" y="251013"/>
                    <a:pt x="0" y="244391"/>
                    <a:pt x="0" y="236296"/>
                  </a:cubicBezTo>
                  <a:lnTo>
                    <a:pt x="0" y="14716"/>
                  </a:lnTo>
                  <a:cubicBezTo>
                    <a:pt x="0" y="6622"/>
                    <a:pt x="6622" y="0"/>
                    <a:pt x="14716" y="0"/>
                  </a:cubicBezTo>
                  <a:lnTo>
                    <a:pt x="32769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05" name="Forma livre: Forma 1204">
              <a:extLst>
                <a:ext uri="{FF2B5EF4-FFF2-40B4-BE49-F238E27FC236}">
                  <a16:creationId xmlns:a16="http://schemas.microsoft.com/office/drawing/2014/main" id="{BD1115B0-41CE-2668-3FC5-457494C7DA1C}"/>
                </a:ext>
              </a:extLst>
            </p:cNvPr>
            <p:cNvSpPr/>
            <p:nvPr/>
          </p:nvSpPr>
          <p:spPr>
            <a:xfrm>
              <a:off x="6533145" y="3660006"/>
              <a:ext cx="33455" cy="97324"/>
            </a:xfrm>
            <a:custGeom>
              <a:avLst/>
              <a:gdLst>
                <a:gd name="connsiteX0" fmla="*/ 0 w 33455"/>
                <a:gd name="connsiteY0" fmla="*/ 0 h 97324"/>
                <a:gd name="connsiteX1" fmla="*/ 18739 w 33455"/>
                <a:gd name="connsiteY1" fmla="*/ 0 h 97324"/>
                <a:gd name="connsiteX2" fmla="*/ 33455 w 33455"/>
                <a:gd name="connsiteY2" fmla="*/ 14716 h 97324"/>
                <a:gd name="connsiteX3" fmla="*/ 33455 w 33455"/>
                <a:gd name="connsiteY3" fmla="*/ 97325 h 973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455" h="97324">
                  <a:moveTo>
                    <a:pt x="0" y="0"/>
                  </a:moveTo>
                  <a:lnTo>
                    <a:pt x="18739" y="0"/>
                  </a:lnTo>
                  <a:cubicBezTo>
                    <a:pt x="26833" y="0"/>
                    <a:pt x="33455" y="6622"/>
                    <a:pt x="33455" y="14716"/>
                  </a:cubicBezTo>
                  <a:lnTo>
                    <a:pt x="33455" y="97325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06" name="Forma livre: Forma 1205">
              <a:extLst>
                <a:ext uri="{FF2B5EF4-FFF2-40B4-BE49-F238E27FC236}">
                  <a16:creationId xmlns:a16="http://schemas.microsoft.com/office/drawing/2014/main" id="{B46B0214-85DF-1E7B-DB98-EC5028B9553F}"/>
                </a:ext>
              </a:extLst>
            </p:cNvPr>
            <p:cNvSpPr/>
            <p:nvPr/>
          </p:nvSpPr>
          <p:spPr>
            <a:xfrm>
              <a:off x="6494294" y="3781858"/>
              <a:ext cx="135685" cy="135685"/>
            </a:xfrm>
            <a:custGeom>
              <a:avLst/>
              <a:gdLst>
                <a:gd name="connsiteX0" fmla="*/ 135685 w 135685"/>
                <a:gd name="connsiteY0" fmla="*/ 67843 h 135685"/>
                <a:gd name="connsiteX1" fmla="*/ 67843 w 135685"/>
                <a:gd name="connsiteY1" fmla="*/ 135685 h 135685"/>
                <a:gd name="connsiteX2" fmla="*/ 0 w 135685"/>
                <a:gd name="connsiteY2" fmla="*/ 67843 h 135685"/>
                <a:gd name="connsiteX3" fmla="*/ 67843 w 135685"/>
                <a:gd name="connsiteY3" fmla="*/ 0 h 135685"/>
                <a:gd name="connsiteX4" fmla="*/ 135685 w 135685"/>
                <a:gd name="connsiteY4" fmla="*/ 67843 h 1356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5685" h="135685">
                  <a:moveTo>
                    <a:pt x="135685" y="67843"/>
                  </a:moveTo>
                  <a:cubicBezTo>
                    <a:pt x="135685" y="105320"/>
                    <a:pt x="105320" y="135685"/>
                    <a:pt x="67843" y="135685"/>
                  </a:cubicBezTo>
                  <a:cubicBezTo>
                    <a:pt x="30365" y="135685"/>
                    <a:pt x="0" y="105320"/>
                    <a:pt x="0" y="67843"/>
                  </a:cubicBezTo>
                  <a:cubicBezTo>
                    <a:pt x="0" y="30365"/>
                    <a:pt x="30365" y="0"/>
                    <a:pt x="67843" y="0"/>
                  </a:cubicBezTo>
                  <a:cubicBezTo>
                    <a:pt x="105320" y="0"/>
                    <a:pt x="135685" y="30365"/>
                    <a:pt x="135685" y="67843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07" name="Forma livre: Forma 1206">
              <a:extLst>
                <a:ext uri="{FF2B5EF4-FFF2-40B4-BE49-F238E27FC236}">
                  <a16:creationId xmlns:a16="http://schemas.microsoft.com/office/drawing/2014/main" id="{0BA30BEA-86BB-2982-06FE-AC336EE80B8F}"/>
                </a:ext>
              </a:extLst>
            </p:cNvPr>
            <p:cNvSpPr/>
            <p:nvPr/>
          </p:nvSpPr>
          <p:spPr>
            <a:xfrm>
              <a:off x="6531085" y="3823800"/>
              <a:ext cx="62937" cy="45718"/>
            </a:xfrm>
            <a:custGeom>
              <a:avLst/>
              <a:gdLst>
                <a:gd name="connsiteX0" fmla="*/ 0 w 62937"/>
                <a:gd name="connsiteY0" fmla="*/ 23301 h 45718"/>
                <a:gd name="connsiteX1" fmla="*/ 27618 w 62937"/>
                <a:gd name="connsiteY1" fmla="*/ 45719 h 45718"/>
                <a:gd name="connsiteX2" fmla="*/ 62937 w 62937"/>
                <a:gd name="connsiteY2" fmla="*/ 0 h 457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2937" h="45718">
                  <a:moveTo>
                    <a:pt x="0" y="23301"/>
                  </a:moveTo>
                  <a:lnTo>
                    <a:pt x="27618" y="45719"/>
                  </a:lnTo>
                  <a:lnTo>
                    <a:pt x="62937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08" name="Forma livre: Forma 1207">
              <a:extLst>
                <a:ext uri="{FF2B5EF4-FFF2-40B4-BE49-F238E27FC236}">
                  <a16:creationId xmlns:a16="http://schemas.microsoft.com/office/drawing/2014/main" id="{5BDAD161-1238-0DDA-BD91-32C54973F5FC}"/>
                </a:ext>
              </a:extLst>
            </p:cNvPr>
            <p:cNvSpPr/>
            <p:nvPr/>
          </p:nvSpPr>
          <p:spPr>
            <a:xfrm>
              <a:off x="6411833" y="3618947"/>
              <a:ext cx="98109" cy="61465"/>
            </a:xfrm>
            <a:custGeom>
              <a:avLst/>
              <a:gdLst>
                <a:gd name="connsiteX0" fmla="*/ 98109 w 98109"/>
                <a:gd name="connsiteY0" fmla="*/ 24037 h 61465"/>
                <a:gd name="connsiteX1" fmla="*/ 73533 w 98109"/>
                <a:gd name="connsiteY1" fmla="*/ 24037 h 61465"/>
                <a:gd name="connsiteX2" fmla="*/ 49055 w 98109"/>
                <a:gd name="connsiteY2" fmla="*/ 0 h 61465"/>
                <a:gd name="connsiteX3" fmla="*/ 24576 w 98109"/>
                <a:gd name="connsiteY3" fmla="*/ 24037 h 61465"/>
                <a:gd name="connsiteX4" fmla="*/ 0 w 98109"/>
                <a:gd name="connsiteY4" fmla="*/ 24037 h 61465"/>
                <a:gd name="connsiteX5" fmla="*/ 0 w 98109"/>
                <a:gd name="connsiteY5" fmla="*/ 61466 h 61465"/>
                <a:gd name="connsiteX6" fmla="*/ 98109 w 98109"/>
                <a:gd name="connsiteY6" fmla="*/ 61466 h 61465"/>
                <a:gd name="connsiteX7" fmla="*/ 98109 w 98109"/>
                <a:gd name="connsiteY7" fmla="*/ 24037 h 614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8109" h="61465">
                  <a:moveTo>
                    <a:pt x="98109" y="24037"/>
                  </a:moveTo>
                  <a:lnTo>
                    <a:pt x="73533" y="24037"/>
                  </a:lnTo>
                  <a:cubicBezTo>
                    <a:pt x="73288" y="10743"/>
                    <a:pt x="62447" y="0"/>
                    <a:pt x="49055" y="0"/>
                  </a:cubicBezTo>
                  <a:cubicBezTo>
                    <a:pt x="35663" y="0"/>
                    <a:pt x="24822" y="10743"/>
                    <a:pt x="24576" y="24037"/>
                  </a:cubicBezTo>
                  <a:lnTo>
                    <a:pt x="0" y="24037"/>
                  </a:lnTo>
                  <a:lnTo>
                    <a:pt x="0" y="61466"/>
                  </a:lnTo>
                  <a:lnTo>
                    <a:pt x="98109" y="61466"/>
                  </a:lnTo>
                  <a:lnTo>
                    <a:pt x="98109" y="24037"/>
                  </a:ln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209" name="Gráfico 13">
              <a:extLst>
                <a:ext uri="{FF2B5EF4-FFF2-40B4-BE49-F238E27FC236}">
                  <a16:creationId xmlns:a16="http://schemas.microsoft.com/office/drawing/2014/main" id="{C7A98779-06AD-F69B-4698-5DB06DF088B3}"/>
                </a:ext>
              </a:extLst>
            </p:cNvPr>
            <p:cNvGrpSpPr/>
            <p:nvPr/>
          </p:nvGrpSpPr>
          <p:grpSpPr>
            <a:xfrm>
              <a:off x="6399717" y="3734128"/>
              <a:ext cx="131172" cy="4218"/>
              <a:chOff x="6399717" y="3734128"/>
              <a:chExt cx="131172" cy="4218"/>
            </a:xfrm>
            <a:solidFill>
              <a:srgbClr val="394553"/>
            </a:solidFill>
          </p:grpSpPr>
          <p:sp>
            <p:nvSpPr>
              <p:cNvPr id="1210" name="Forma livre: Forma 1209">
                <a:extLst>
                  <a:ext uri="{FF2B5EF4-FFF2-40B4-BE49-F238E27FC236}">
                    <a16:creationId xmlns:a16="http://schemas.microsoft.com/office/drawing/2014/main" id="{06B2CEF2-5AE8-1351-3999-5FFFF24F525F}"/>
                  </a:ext>
                </a:extLst>
              </p:cNvPr>
              <p:cNvSpPr/>
              <p:nvPr/>
            </p:nvSpPr>
            <p:spPr>
              <a:xfrm>
                <a:off x="6399717" y="3734128"/>
                <a:ext cx="4218" cy="4218"/>
              </a:xfrm>
              <a:custGeom>
                <a:avLst/>
                <a:gdLst>
                  <a:gd name="connsiteX0" fmla="*/ 0 w 4218"/>
                  <a:gd name="connsiteY0" fmla="*/ 0 h 4218"/>
                  <a:gd name="connsiteX1" fmla="*/ 4219 w 4218"/>
                  <a:gd name="connsiteY1" fmla="*/ 0 h 4218"/>
                  <a:gd name="connsiteX2" fmla="*/ 4219 w 4218"/>
                  <a:gd name="connsiteY2" fmla="*/ 4219 h 4218"/>
                  <a:gd name="connsiteX3" fmla="*/ 0 w 4218"/>
                  <a:gd name="connsiteY3" fmla="*/ 4219 h 42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218" h="4218">
                    <a:moveTo>
                      <a:pt x="0" y="0"/>
                    </a:moveTo>
                    <a:lnTo>
                      <a:pt x="4219" y="0"/>
                    </a:lnTo>
                    <a:lnTo>
                      <a:pt x="4219" y="4219"/>
                    </a:lnTo>
                    <a:lnTo>
                      <a:pt x="0" y="4219"/>
                    </a:ln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11" name="Forma livre: Forma 1210">
                <a:extLst>
                  <a:ext uri="{FF2B5EF4-FFF2-40B4-BE49-F238E27FC236}">
                    <a16:creationId xmlns:a16="http://schemas.microsoft.com/office/drawing/2014/main" id="{7A8281AF-F7A5-9C86-D774-3B975E6BC710}"/>
                  </a:ext>
                </a:extLst>
              </p:cNvPr>
              <p:cNvSpPr/>
              <p:nvPr/>
            </p:nvSpPr>
            <p:spPr>
              <a:xfrm>
                <a:off x="6431210" y="3736237"/>
                <a:ext cx="99679" cy="4905"/>
              </a:xfrm>
              <a:custGeom>
                <a:avLst/>
                <a:gdLst>
                  <a:gd name="connsiteX0" fmla="*/ 0 w 99679"/>
                  <a:gd name="connsiteY0" fmla="*/ 0 h 4905"/>
                  <a:gd name="connsiteX1" fmla="*/ 99679 w 99679"/>
                  <a:gd name="connsiteY1" fmla="*/ 0 h 49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9679" h="4905">
                    <a:moveTo>
                      <a:pt x="0" y="0"/>
                    </a:moveTo>
                    <a:lnTo>
                      <a:pt x="99679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212" name="Gráfico 13">
              <a:extLst>
                <a:ext uri="{FF2B5EF4-FFF2-40B4-BE49-F238E27FC236}">
                  <a16:creationId xmlns:a16="http://schemas.microsoft.com/office/drawing/2014/main" id="{0E61F0E5-6FF4-AC4E-BD55-6D4B8A00D5DE}"/>
                </a:ext>
              </a:extLst>
            </p:cNvPr>
            <p:cNvGrpSpPr/>
            <p:nvPr/>
          </p:nvGrpSpPr>
          <p:grpSpPr>
            <a:xfrm>
              <a:off x="6399717" y="3773617"/>
              <a:ext cx="106644" cy="4218"/>
              <a:chOff x="6399717" y="3773617"/>
              <a:chExt cx="106644" cy="4218"/>
            </a:xfrm>
            <a:solidFill>
              <a:srgbClr val="394553"/>
            </a:solidFill>
          </p:grpSpPr>
          <p:sp>
            <p:nvSpPr>
              <p:cNvPr id="1213" name="Forma livre: Forma 1212">
                <a:extLst>
                  <a:ext uri="{FF2B5EF4-FFF2-40B4-BE49-F238E27FC236}">
                    <a16:creationId xmlns:a16="http://schemas.microsoft.com/office/drawing/2014/main" id="{B4E35313-B011-E08F-32BC-591BE0BA0651}"/>
                  </a:ext>
                </a:extLst>
              </p:cNvPr>
              <p:cNvSpPr/>
              <p:nvPr/>
            </p:nvSpPr>
            <p:spPr>
              <a:xfrm>
                <a:off x="6399717" y="3773617"/>
                <a:ext cx="4218" cy="4218"/>
              </a:xfrm>
              <a:custGeom>
                <a:avLst/>
                <a:gdLst>
                  <a:gd name="connsiteX0" fmla="*/ 0 w 4218"/>
                  <a:gd name="connsiteY0" fmla="*/ 0 h 4218"/>
                  <a:gd name="connsiteX1" fmla="*/ 4219 w 4218"/>
                  <a:gd name="connsiteY1" fmla="*/ 0 h 4218"/>
                  <a:gd name="connsiteX2" fmla="*/ 4219 w 4218"/>
                  <a:gd name="connsiteY2" fmla="*/ 4219 h 4218"/>
                  <a:gd name="connsiteX3" fmla="*/ 0 w 4218"/>
                  <a:gd name="connsiteY3" fmla="*/ 4219 h 42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218" h="4218">
                    <a:moveTo>
                      <a:pt x="0" y="0"/>
                    </a:moveTo>
                    <a:lnTo>
                      <a:pt x="4219" y="0"/>
                    </a:lnTo>
                    <a:lnTo>
                      <a:pt x="4219" y="4219"/>
                    </a:lnTo>
                    <a:lnTo>
                      <a:pt x="0" y="4219"/>
                    </a:ln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14" name="Forma livre: Forma 1213">
                <a:extLst>
                  <a:ext uri="{FF2B5EF4-FFF2-40B4-BE49-F238E27FC236}">
                    <a16:creationId xmlns:a16="http://schemas.microsoft.com/office/drawing/2014/main" id="{5D6FC521-A150-9C23-EF94-2AAF748DCD1B}"/>
                  </a:ext>
                </a:extLst>
              </p:cNvPr>
              <p:cNvSpPr/>
              <p:nvPr/>
            </p:nvSpPr>
            <p:spPr>
              <a:xfrm>
                <a:off x="6431210" y="3775775"/>
                <a:ext cx="75151" cy="4905"/>
              </a:xfrm>
              <a:custGeom>
                <a:avLst/>
                <a:gdLst>
                  <a:gd name="connsiteX0" fmla="*/ 0 w 75151"/>
                  <a:gd name="connsiteY0" fmla="*/ 0 h 4905"/>
                  <a:gd name="connsiteX1" fmla="*/ 75152 w 75151"/>
                  <a:gd name="connsiteY1" fmla="*/ 0 h 49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75151" h="4905">
                    <a:moveTo>
                      <a:pt x="0" y="0"/>
                    </a:moveTo>
                    <a:lnTo>
                      <a:pt x="75152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215" name="Gráfico 13">
              <a:extLst>
                <a:ext uri="{FF2B5EF4-FFF2-40B4-BE49-F238E27FC236}">
                  <a16:creationId xmlns:a16="http://schemas.microsoft.com/office/drawing/2014/main" id="{05A14DA0-9EE1-DE71-2EF2-2A41EBA4BE50}"/>
                </a:ext>
              </a:extLst>
            </p:cNvPr>
            <p:cNvGrpSpPr/>
            <p:nvPr/>
          </p:nvGrpSpPr>
          <p:grpSpPr>
            <a:xfrm>
              <a:off x="6399717" y="3813155"/>
              <a:ext cx="76672" cy="4218"/>
              <a:chOff x="6399717" y="3813155"/>
              <a:chExt cx="76672" cy="4218"/>
            </a:xfrm>
            <a:solidFill>
              <a:srgbClr val="394553"/>
            </a:solidFill>
          </p:grpSpPr>
          <p:sp>
            <p:nvSpPr>
              <p:cNvPr id="1216" name="Forma livre: Forma 1215">
                <a:extLst>
                  <a:ext uri="{FF2B5EF4-FFF2-40B4-BE49-F238E27FC236}">
                    <a16:creationId xmlns:a16="http://schemas.microsoft.com/office/drawing/2014/main" id="{44CE55F2-0BB3-5E65-7BC7-6E4C5DA5C808}"/>
                  </a:ext>
                </a:extLst>
              </p:cNvPr>
              <p:cNvSpPr/>
              <p:nvPr/>
            </p:nvSpPr>
            <p:spPr>
              <a:xfrm>
                <a:off x="6399717" y="3813155"/>
                <a:ext cx="4218" cy="4218"/>
              </a:xfrm>
              <a:custGeom>
                <a:avLst/>
                <a:gdLst>
                  <a:gd name="connsiteX0" fmla="*/ 0 w 4218"/>
                  <a:gd name="connsiteY0" fmla="*/ 0 h 4218"/>
                  <a:gd name="connsiteX1" fmla="*/ 4219 w 4218"/>
                  <a:gd name="connsiteY1" fmla="*/ 0 h 4218"/>
                  <a:gd name="connsiteX2" fmla="*/ 4219 w 4218"/>
                  <a:gd name="connsiteY2" fmla="*/ 4219 h 4218"/>
                  <a:gd name="connsiteX3" fmla="*/ 0 w 4218"/>
                  <a:gd name="connsiteY3" fmla="*/ 4219 h 42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218" h="4218">
                    <a:moveTo>
                      <a:pt x="0" y="0"/>
                    </a:moveTo>
                    <a:lnTo>
                      <a:pt x="4219" y="0"/>
                    </a:lnTo>
                    <a:lnTo>
                      <a:pt x="4219" y="4219"/>
                    </a:lnTo>
                    <a:lnTo>
                      <a:pt x="0" y="4219"/>
                    </a:ln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17" name="Forma livre: Forma 1216">
                <a:extLst>
                  <a:ext uri="{FF2B5EF4-FFF2-40B4-BE49-F238E27FC236}">
                    <a16:creationId xmlns:a16="http://schemas.microsoft.com/office/drawing/2014/main" id="{AAB685AC-16DA-3460-D5F2-C7D117062F61}"/>
                  </a:ext>
                </a:extLst>
              </p:cNvPr>
              <p:cNvSpPr/>
              <p:nvPr/>
            </p:nvSpPr>
            <p:spPr>
              <a:xfrm>
                <a:off x="6431210" y="3815264"/>
                <a:ext cx="45179" cy="4905"/>
              </a:xfrm>
              <a:custGeom>
                <a:avLst/>
                <a:gdLst>
                  <a:gd name="connsiteX0" fmla="*/ 0 w 45179"/>
                  <a:gd name="connsiteY0" fmla="*/ 0 h 4905"/>
                  <a:gd name="connsiteX1" fmla="*/ 45179 w 45179"/>
                  <a:gd name="connsiteY1" fmla="*/ 0 h 49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5179" h="4905">
                    <a:moveTo>
                      <a:pt x="0" y="0"/>
                    </a:moveTo>
                    <a:lnTo>
                      <a:pt x="45179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218" name="Gráfico 13">
              <a:extLst>
                <a:ext uri="{FF2B5EF4-FFF2-40B4-BE49-F238E27FC236}">
                  <a16:creationId xmlns:a16="http://schemas.microsoft.com/office/drawing/2014/main" id="{0AB8C023-8C95-AA46-116A-6100AF37651A}"/>
                </a:ext>
              </a:extLst>
            </p:cNvPr>
            <p:cNvGrpSpPr/>
            <p:nvPr/>
          </p:nvGrpSpPr>
          <p:grpSpPr>
            <a:xfrm>
              <a:off x="6399717" y="3852693"/>
              <a:ext cx="69853" cy="4218"/>
              <a:chOff x="6399717" y="3852693"/>
              <a:chExt cx="69853" cy="4218"/>
            </a:xfrm>
            <a:solidFill>
              <a:srgbClr val="394553"/>
            </a:solidFill>
          </p:grpSpPr>
          <p:sp>
            <p:nvSpPr>
              <p:cNvPr id="1219" name="Forma livre: Forma 1218">
                <a:extLst>
                  <a:ext uri="{FF2B5EF4-FFF2-40B4-BE49-F238E27FC236}">
                    <a16:creationId xmlns:a16="http://schemas.microsoft.com/office/drawing/2014/main" id="{B2D78C76-D155-AAFA-86E2-800392BEA4FB}"/>
                  </a:ext>
                </a:extLst>
              </p:cNvPr>
              <p:cNvSpPr/>
              <p:nvPr/>
            </p:nvSpPr>
            <p:spPr>
              <a:xfrm>
                <a:off x="6399717" y="3852693"/>
                <a:ext cx="4218" cy="4218"/>
              </a:xfrm>
              <a:custGeom>
                <a:avLst/>
                <a:gdLst>
                  <a:gd name="connsiteX0" fmla="*/ 0 w 4218"/>
                  <a:gd name="connsiteY0" fmla="*/ 0 h 4218"/>
                  <a:gd name="connsiteX1" fmla="*/ 4219 w 4218"/>
                  <a:gd name="connsiteY1" fmla="*/ 0 h 4218"/>
                  <a:gd name="connsiteX2" fmla="*/ 4219 w 4218"/>
                  <a:gd name="connsiteY2" fmla="*/ 4219 h 4218"/>
                  <a:gd name="connsiteX3" fmla="*/ 0 w 4218"/>
                  <a:gd name="connsiteY3" fmla="*/ 4219 h 42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218" h="4218">
                    <a:moveTo>
                      <a:pt x="0" y="0"/>
                    </a:moveTo>
                    <a:lnTo>
                      <a:pt x="4219" y="0"/>
                    </a:lnTo>
                    <a:lnTo>
                      <a:pt x="4219" y="4219"/>
                    </a:lnTo>
                    <a:lnTo>
                      <a:pt x="0" y="4219"/>
                    </a:ln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20" name="Forma livre: Forma 1219">
                <a:extLst>
                  <a:ext uri="{FF2B5EF4-FFF2-40B4-BE49-F238E27FC236}">
                    <a16:creationId xmlns:a16="http://schemas.microsoft.com/office/drawing/2014/main" id="{F767A6F4-2257-5E5B-42F6-2E738D0193EE}"/>
                  </a:ext>
                </a:extLst>
              </p:cNvPr>
              <p:cNvSpPr/>
              <p:nvPr/>
            </p:nvSpPr>
            <p:spPr>
              <a:xfrm>
                <a:off x="6431210" y="3854802"/>
                <a:ext cx="38360" cy="4905"/>
              </a:xfrm>
              <a:custGeom>
                <a:avLst/>
                <a:gdLst>
                  <a:gd name="connsiteX0" fmla="*/ 0 w 38360"/>
                  <a:gd name="connsiteY0" fmla="*/ 0 h 4905"/>
                  <a:gd name="connsiteX1" fmla="*/ 38361 w 38360"/>
                  <a:gd name="connsiteY1" fmla="*/ 0 h 49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8360" h="4905">
                    <a:moveTo>
                      <a:pt x="0" y="0"/>
                    </a:moveTo>
                    <a:lnTo>
                      <a:pt x="38361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221" name="Gráfico 13">
            <a:extLst>
              <a:ext uri="{FF2B5EF4-FFF2-40B4-BE49-F238E27FC236}">
                <a16:creationId xmlns:a16="http://schemas.microsoft.com/office/drawing/2014/main" id="{5B10731E-40C4-EC23-A067-6FE83C8539D4}"/>
              </a:ext>
            </a:extLst>
          </p:cNvPr>
          <p:cNvGrpSpPr/>
          <p:nvPr/>
        </p:nvGrpSpPr>
        <p:grpSpPr>
          <a:xfrm>
            <a:off x="7623876" y="3648478"/>
            <a:ext cx="290747" cy="239583"/>
            <a:chOff x="7623876" y="3648478"/>
            <a:chExt cx="290747" cy="239583"/>
          </a:xfrm>
          <a:noFill/>
        </p:grpSpPr>
        <p:sp>
          <p:nvSpPr>
            <p:cNvPr id="1222" name="Forma livre: Forma 1221">
              <a:extLst>
                <a:ext uri="{FF2B5EF4-FFF2-40B4-BE49-F238E27FC236}">
                  <a16:creationId xmlns:a16="http://schemas.microsoft.com/office/drawing/2014/main" id="{221133CA-BF73-54F6-67DD-A656A00D2724}"/>
                </a:ext>
              </a:extLst>
            </p:cNvPr>
            <p:cNvSpPr/>
            <p:nvPr/>
          </p:nvSpPr>
          <p:spPr>
            <a:xfrm>
              <a:off x="7623876" y="3648478"/>
              <a:ext cx="263080" cy="198867"/>
            </a:xfrm>
            <a:custGeom>
              <a:avLst/>
              <a:gdLst>
                <a:gd name="connsiteX0" fmla="*/ 158692 w 263080"/>
                <a:gd name="connsiteY0" fmla="*/ 198868 h 198867"/>
                <a:gd name="connsiteX1" fmla="*/ 14716 w 263080"/>
                <a:gd name="connsiteY1" fmla="*/ 198868 h 198867"/>
                <a:gd name="connsiteX2" fmla="*/ 0 w 263080"/>
                <a:gd name="connsiteY2" fmla="*/ 184151 h 198867"/>
                <a:gd name="connsiteX3" fmla="*/ 0 w 263080"/>
                <a:gd name="connsiteY3" fmla="*/ 14716 h 198867"/>
                <a:gd name="connsiteX4" fmla="*/ 14716 w 263080"/>
                <a:gd name="connsiteY4" fmla="*/ 0 h 198867"/>
                <a:gd name="connsiteX5" fmla="*/ 248364 w 263080"/>
                <a:gd name="connsiteY5" fmla="*/ 0 h 198867"/>
                <a:gd name="connsiteX6" fmla="*/ 263080 w 263080"/>
                <a:gd name="connsiteY6" fmla="*/ 14716 h 198867"/>
                <a:gd name="connsiteX7" fmla="*/ 263080 w 263080"/>
                <a:gd name="connsiteY7" fmla="*/ 85944 h 1988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63080" h="198867">
                  <a:moveTo>
                    <a:pt x="158692" y="198868"/>
                  </a:moveTo>
                  <a:lnTo>
                    <a:pt x="14716" y="198868"/>
                  </a:lnTo>
                  <a:cubicBezTo>
                    <a:pt x="6622" y="198868"/>
                    <a:pt x="0" y="192245"/>
                    <a:pt x="0" y="184151"/>
                  </a:cubicBezTo>
                  <a:lnTo>
                    <a:pt x="0" y="14716"/>
                  </a:lnTo>
                  <a:cubicBezTo>
                    <a:pt x="0" y="6622"/>
                    <a:pt x="6622" y="0"/>
                    <a:pt x="14716" y="0"/>
                  </a:cubicBezTo>
                  <a:lnTo>
                    <a:pt x="248364" y="0"/>
                  </a:lnTo>
                  <a:cubicBezTo>
                    <a:pt x="256458" y="0"/>
                    <a:pt x="263080" y="6622"/>
                    <a:pt x="263080" y="14716"/>
                  </a:cubicBezTo>
                  <a:lnTo>
                    <a:pt x="263080" y="85944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23" name="Forma livre: Forma 1222">
              <a:extLst>
                <a:ext uri="{FF2B5EF4-FFF2-40B4-BE49-F238E27FC236}">
                  <a16:creationId xmlns:a16="http://schemas.microsoft.com/office/drawing/2014/main" id="{5109CBCE-8119-1EB9-7FD4-1D11D4A16EB6}"/>
                </a:ext>
              </a:extLst>
            </p:cNvPr>
            <p:cNvSpPr/>
            <p:nvPr/>
          </p:nvSpPr>
          <p:spPr>
            <a:xfrm>
              <a:off x="7659686" y="3678058"/>
              <a:ext cx="4905" cy="137255"/>
            </a:xfrm>
            <a:custGeom>
              <a:avLst/>
              <a:gdLst>
                <a:gd name="connsiteX0" fmla="*/ 0 w 4905"/>
                <a:gd name="connsiteY0" fmla="*/ 0 h 137255"/>
                <a:gd name="connsiteX1" fmla="*/ 0 w 4905"/>
                <a:gd name="connsiteY1" fmla="*/ 137255 h 1372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905" h="137255">
                  <a:moveTo>
                    <a:pt x="0" y="0"/>
                  </a:moveTo>
                  <a:lnTo>
                    <a:pt x="0" y="137255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24" name="Forma livre: Forma 1223">
              <a:extLst>
                <a:ext uri="{FF2B5EF4-FFF2-40B4-BE49-F238E27FC236}">
                  <a16:creationId xmlns:a16="http://schemas.microsoft.com/office/drawing/2014/main" id="{55435C96-36FF-FD1B-E393-1E07034B1CD7}"/>
                </a:ext>
              </a:extLst>
            </p:cNvPr>
            <p:cNvSpPr/>
            <p:nvPr/>
          </p:nvSpPr>
          <p:spPr>
            <a:xfrm>
              <a:off x="7691768" y="3678058"/>
              <a:ext cx="4905" cy="102671"/>
            </a:xfrm>
            <a:custGeom>
              <a:avLst/>
              <a:gdLst>
                <a:gd name="connsiteX0" fmla="*/ 0 w 4905"/>
                <a:gd name="connsiteY0" fmla="*/ 0 h 102671"/>
                <a:gd name="connsiteX1" fmla="*/ 0 w 4905"/>
                <a:gd name="connsiteY1" fmla="*/ 102671 h 1026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905" h="102671">
                  <a:moveTo>
                    <a:pt x="0" y="0"/>
                  </a:moveTo>
                  <a:lnTo>
                    <a:pt x="0" y="102671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25" name="Forma livre: Forma 1224">
              <a:extLst>
                <a:ext uri="{FF2B5EF4-FFF2-40B4-BE49-F238E27FC236}">
                  <a16:creationId xmlns:a16="http://schemas.microsoft.com/office/drawing/2014/main" id="{A606392E-A005-1C8C-AE1B-78082F866177}"/>
                </a:ext>
              </a:extLst>
            </p:cNvPr>
            <p:cNvSpPr/>
            <p:nvPr/>
          </p:nvSpPr>
          <p:spPr>
            <a:xfrm>
              <a:off x="7755883" y="3678058"/>
              <a:ext cx="4905" cy="102671"/>
            </a:xfrm>
            <a:custGeom>
              <a:avLst/>
              <a:gdLst>
                <a:gd name="connsiteX0" fmla="*/ 0 w 4905"/>
                <a:gd name="connsiteY0" fmla="*/ 0 h 102671"/>
                <a:gd name="connsiteX1" fmla="*/ 0 w 4905"/>
                <a:gd name="connsiteY1" fmla="*/ 102671 h 1026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905" h="102671">
                  <a:moveTo>
                    <a:pt x="0" y="0"/>
                  </a:moveTo>
                  <a:lnTo>
                    <a:pt x="0" y="102671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26" name="Forma livre: Forma 1225">
              <a:extLst>
                <a:ext uri="{FF2B5EF4-FFF2-40B4-BE49-F238E27FC236}">
                  <a16:creationId xmlns:a16="http://schemas.microsoft.com/office/drawing/2014/main" id="{7D6651A5-AE60-2790-69E0-36CCA956921D}"/>
                </a:ext>
              </a:extLst>
            </p:cNvPr>
            <p:cNvSpPr/>
            <p:nvPr/>
          </p:nvSpPr>
          <p:spPr>
            <a:xfrm>
              <a:off x="7723801" y="3677224"/>
              <a:ext cx="4905" cy="102671"/>
            </a:xfrm>
            <a:custGeom>
              <a:avLst/>
              <a:gdLst>
                <a:gd name="connsiteX0" fmla="*/ 0 w 4905"/>
                <a:gd name="connsiteY0" fmla="*/ 0 h 102671"/>
                <a:gd name="connsiteX1" fmla="*/ 0 w 4905"/>
                <a:gd name="connsiteY1" fmla="*/ 102671 h 1026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905" h="102671">
                  <a:moveTo>
                    <a:pt x="0" y="0"/>
                  </a:moveTo>
                  <a:lnTo>
                    <a:pt x="0" y="102671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27" name="Forma livre: Forma 1226">
              <a:extLst>
                <a:ext uri="{FF2B5EF4-FFF2-40B4-BE49-F238E27FC236}">
                  <a16:creationId xmlns:a16="http://schemas.microsoft.com/office/drawing/2014/main" id="{DBB91F56-D600-4D4D-AAF9-3E349B20258E}"/>
                </a:ext>
              </a:extLst>
            </p:cNvPr>
            <p:cNvSpPr/>
            <p:nvPr/>
          </p:nvSpPr>
          <p:spPr>
            <a:xfrm>
              <a:off x="7787964" y="3677224"/>
              <a:ext cx="4905" cy="82215"/>
            </a:xfrm>
            <a:custGeom>
              <a:avLst/>
              <a:gdLst>
                <a:gd name="connsiteX0" fmla="*/ 0 w 4905"/>
                <a:gd name="connsiteY0" fmla="*/ 0 h 82215"/>
                <a:gd name="connsiteX1" fmla="*/ 0 w 4905"/>
                <a:gd name="connsiteY1" fmla="*/ 82216 h 822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905" h="82215">
                  <a:moveTo>
                    <a:pt x="0" y="0"/>
                  </a:moveTo>
                  <a:lnTo>
                    <a:pt x="0" y="82216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28" name="Forma livre: Forma 1227">
              <a:extLst>
                <a:ext uri="{FF2B5EF4-FFF2-40B4-BE49-F238E27FC236}">
                  <a16:creationId xmlns:a16="http://schemas.microsoft.com/office/drawing/2014/main" id="{572ECA06-271F-0C7E-1EAB-526B59B36922}"/>
                </a:ext>
              </a:extLst>
            </p:cNvPr>
            <p:cNvSpPr/>
            <p:nvPr/>
          </p:nvSpPr>
          <p:spPr>
            <a:xfrm>
              <a:off x="7820046" y="3677224"/>
              <a:ext cx="4905" cy="60827"/>
            </a:xfrm>
            <a:custGeom>
              <a:avLst/>
              <a:gdLst>
                <a:gd name="connsiteX0" fmla="*/ 0 w 4905"/>
                <a:gd name="connsiteY0" fmla="*/ 0 h 60827"/>
                <a:gd name="connsiteX1" fmla="*/ 0 w 4905"/>
                <a:gd name="connsiteY1" fmla="*/ 60828 h 608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905" h="60827">
                  <a:moveTo>
                    <a:pt x="0" y="0"/>
                  </a:moveTo>
                  <a:lnTo>
                    <a:pt x="0" y="60828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29" name="Forma livre: Forma 1228">
              <a:extLst>
                <a:ext uri="{FF2B5EF4-FFF2-40B4-BE49-F238E27FC236}">
                  <a16:creationId xmlns:a16="http://schemas.microsoft.com/office/drawing/2014/main" id="{C0C20B4B-B618-DE9A-A91C-4B1109CB6C36}"/>
                </a:ext>
              </a:extLst>
            </p:cNvPr>
            <p:cNvSpPr/>
            <p:nvPr/>
          </p:nvSpPr>
          <p:spPr>
            <a:xfrm>
              <a:off x="7852079" y="3678058"/>
              <a:ext cx="4905" cy="48367"/>
            </a:xfrm>
            <a:custGeom>
              <a:avLst/>
              <a:gdLst>
                <a:gd name="connsiteX0" fmla="*/ 0 w 4905"/>
                <a:gd name="connsiteY0" fmla="*/ 0 h 48367"/>
                <a:gd name="connsiteX1" fmla="*/ 0 w 4905"/>
                <a:gd name="connsiteY1" fmla="*/ 48368 h 483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905" h="48367">
                  <a:moveTo>
                    <a:pt x="0" y="0"/>
                  </a:moveTo>
                  <a:lnTo>
                    <a:pt x="0" y="48368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30" name="Forma livre: Forma 1229">
              <a:extLst>
                <a:ext uri="{FF2B5EF4-FFF2-40B4-BE49-F238E27FC236}">
                  <a16:creationId xmlns:a16="http://schemas.microsoft.com/office/drawing/2014/main" id="{123CE498-EA5C-857C-9EC7-13966C4A5B50}"/>
                </a:ext>
              </a:extLst>
            </p:cNvPr>
            <p:cNvSpPr/>
            <p:nvPr/>
          </p:nvSpPr>
          <p:spPr>
            <a:xfrm>
              <a:off x="7793851" y="3748256"/>
              <a:ext cx="120772" cy="120772"/>
            </a:xfrm>
            <a:custGeom>
              <a:avLst/>
              <a:gdLst>
                <a:gd name="connsiteX0" fmla="*/ 120773 w 120772"/>
                <a:gd name="connsiteY0" fmla="*/ 60386 h 120772"/>
                <a:gd name="connsiteX1" fmla="*/ 60386 w 120772"/>
                <a:gd name="connsiteY1" fmla="*/ 120773 h 120772"/>
                <a:gd name="connsiteX2" fmla="*/ 0 w 120772"/>
                <a:gd name="connsiteY2" fmla="*/ 60386 h 120772"/>
                <a:gd name="connsiteX3" fmla="*/ 60386 w 120772"/>
                <a:gd name="connsiteY3" fmla="*/ 0 h 120772"/>
                <a:gd name="connsiteX4" fmla="*/ 120773 w 120772"/>
                <a:gd name="connsiteY4" fmla="*/ 60386 h 1207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0772" h="120772">
                  <a:moveTo>
                    <a:pt x="120773" y="60386"/>
                  </a:moveTo>
                  <a:cubicBezTo>
                    <a:pt x="120773" y="93744"/>
                    <a:pt x="93744" y="120773"/>
                    <a:pt x="60386" y="120773"/>
                  </a:cubicBezTo>
                  <a:cubicBezTo>
                    <a:pt x="27029" y="120773"/>
                    <a:pt x="0" y="93744"/>
                    <a:pt x="0" y="60386"/>
                  </a:cubicBezTo>
                  <a:cubicBezTo>
                    <a:pt x="0" y="27029"/>
                    <a:pt x="27029" y="0"/>
                    <a:pt x="60386" y="0"/>
                  </a:cubicBezTo>
                  <a:cubicBezTo>
                    <a:pt x="93744" y="0"/>
                    <a:pt x="120773" y="27029"/>
                    <a:pt x="120773" y="60386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31" name="Forma livre: Forma 1230">
              <a:extLst>
                <a:ext uri="{FF2B5EF4-FFF2-40B4-BE49-F238E27FC236}">
                  <a16:creationId xmlns:a16="http://schemas.microsoft.com/office/drawing/2014/main" id="{9458A44D-360E-21A0-3D91-A5FA5CBA6AAF}"/>
                </a:ext>
              </a:extLst>
            </p:cNvPr>
            <p:cNvSpPr/>
            <p:nvPr/>
          </p:nvSpPr>
          <p:spPr>
            <a:xfrm>
              <a:off x="7890145" y="3857255"/>
              <a:ext cx="24282" cy="30806"/>
            </a:xfrm>
            <a:custGeom>
              <a:avLst/>
              <a:gdLst>
                <a:gd name="connsiteX0" fmla="*/ 0 w 24282"/>
                <a:gd name="connsiteY0" fmla="*/ 0 h 30806"/>
                <a:gd name="connsiteX1" fmla="*/ 24282 w 24282"/>
                <a:gd name="connsiteY1" fmla="*/ 30806 h 30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4282" h="30806">
                  <a:moveTo>
                    <a:pt x="0" y="0"/>
                  </a:moveTo>
                  <a:lnTo>
                    <a:pt x="24282" y="30806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32" name="Forma livre: Forma 1231">
              <a:extLst>
                <a:ext uri="{FF2B5EF4-FFF2-40B4-BE49-F238E27FC236}">
                  <a16:creationId xmlns:a16="http://schemas.microsoft.com/office/drawing/2014/main" id="{27C32168-72A7-1181-50E0-BC628185D553}"/>
                </a:ext>
              </a:extLst>
            </p:cNvPr>
            <p:cNvSpPr/>
            <p:nvPr/>
          </p:nvSpPr>
          <p:spPr>
            <a:xfrm>
              <a:off x="7827846" y="3777051"/>
              <a:ext cx="53077" cy="64310"/>
            </a:xfrm>
            <a:custGeom>
              <a:avLst/>
              <a:gdLst>
                <a:gd name="connsiteX0" fmla="*/ 33651 w 53077"/>
                <a:gd name="connsiteY0" fmla="*/ 64311 h 64310"/>
                <a:gd name="connsiteX1" fmla="*/ 33651 w 53077"/>
                <a:gd name="connsiteY1" fmla="*/ 0 h 64310"/>
                <a:gd name="connsiteX2" fmla="*/ 0 w 53077"/>
                <a:gd name="connsiteY2" fmla="*/ 43708 h 64310"/>
                <a:gd name="connsiteX3" fmla="*/ 53077 w 53077"/>
                <a:gd name="connsiteY3" fmla="*/ 43708 h 643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3077" h="64310">
                  <a:moveTo>
                    <a:pt x="33651" y="64311"/>
                  </a:moveTo>
                  <a:lnTo>
                    <a:pt x="33651" y="0"/>
                  </a:lnTo>
                  <a:lnTo>
                    <a:pt x="0" y="43708"/>
                  </a:lnTo>
                  <a:lnTo>
                    <a:pt x="53077" y="43708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233" name="Gráfico 13">
            <a:extLst>
              <a:ext uri="{FF2B5EF4-FFF2-40B4-BE49-F238E27FC236}">
                <a16:creationId xmlns:a16="http://schemas.microsoft.com/office/drawing/2014/main" id="{AA292912-1196-2664-DAFD-ECDA478ECDDA}"/>
              </a:ext>
            </a:extLst>
          </p:cNvPr>
          <p:cNvGrpSpPr/>
          <p:nvPr/>
        </p:nvGrpSpPr>
        <p:grpSpPr>
          <a:xfrm>
            <a:off x="6980818" y="3631549"/>
            <a:ext cx="300460" cy="273436"/>
            <a:chOff x="6980818" y="3631549"/>
            <a:chExt cx="300460" cy="273436"/>
          </a:xfrm>
        </p:grpSpPr>
        <p:sp>
          <p:nvSpPr>
            <p:cNvPr id="1234" name="Forma livre: Forma 1233">
              <a:extLst>
                <a:ext uri="{FF2B5EF4-FFF2-40B4-BE49-F238E27FC236}">
                  <a16:creationId xmlns:a16="http://schemas.microsoft.com/office/drawing/2014/main" id="{E6CDD5DF-9669-241B-4F53-BC1E8E5B244E}"/>
                </a:ext>
              </a:extLst>
            </p:cNvPr>
            <p:cNvSpPr/>
            <p:nvPr/>
          </p:nvSpPr>
          <p:spPr>
            <a:xfrm>
              <a:off x="6980818" y="3631549"/>
              <a:ext cx="300460" cy="245223"/>
            </a:xfrm>
            <a:custGeom>
              <a:avLst/>
              <a:gdLst>
                <a:gd name="connsiteX0" fmla="*/ 49251 w 300460"/>
                <a:gd name="connsiteY0" fmla="*/ 237823 h 245223"/>
                <a:gd name="connsiteX1" fmla="*/ 0 w 300460"/>
                <a:gd name="connsiteY1" fmla="*/ 232917 h 245223"/>
                <a:gd name="connsiteX2" fmla="*/ 22320 w 300460"/>
                <a:gd name="connsiteY2" fmla="*/ 183274 h 245223"/>
                <a:gd name="connsiteX3" fmla="*/ 16581 w 300460"/>
                <a:gd name="connsiteY3" fmla="*/ 139125 h 245223"/>
                <a:gd name="connsiteX4" fmla="*/ 158839 w 300460"/>
                <a:gd name="connsiteY4" fmla="*/ 6 h 245223"/>
                <a:gd name="connsiteX5" fmla="*/ 163745 w 300460"/>
                <a:gd name="connsiteY5" fmla="*/ 153 h 245223"/>
                <a:gd name="connsiteX6" fmla="*/ 279465 w 300460"/>
                <a:gd name="connsiteY6" fmla="*/ 93602 h 245223"/>
                <a:gd name="connsiteX7" fmla="*/ 280446 w 300460"/>
                <a:gd name="connsiteY7" fmla="*/ 101549 h 245223"/>
                <a:gd name="connsiteX8" fmla="*/ 283880 w 300460"/>
                <a:gd name="connsiteY8" fmla="*/ 139174 h 245223"/>
                <a:gd name="connsiteX9" fmla="*/ 279121 w 300460"/>
                <a:gd name="connsiteY9" fmla="*/ 183323 h 245223"/>
                <a:gd name="connsiteX10" fmla="*/ 300460 w 300460"/>
                <a:gd name="connsiteY10" fmla="*/ 232966 h 245223"/>
                <a:gd name="connsiteX11" fmla="*/ 251209 w 300460"/>
                <a:gd name="connsiteY11" fmla="*/ 237872 h 2452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00460" h="245223">
                  <a:moveTo>
                    <a:pt x="49251" y="237823"/>
                  </a:moveTo>
                  <a:cubicBezTo>
                    <a:pt x="15354" y="256856"/>
                    <a:pt x="0" y="232917"/>
                    <a:pt x="0" y="232917"/>
                  </a:cubicBezTo>
                  <a:cubicBezTo>
                    <a:pt x="23890" y="212069"/>
                    <a:pt x="21584" y="199217"/>
                    <a:pt x="22320" y="183274"/>
                  </a:cubicBezTo>
                  <a:cubicBezTo>
                    <a:pt x="23105" y="166546"/>
                    <a:pt x="21486" y="162867"/>
                    <a:pt x="16581" y="139125"/>
                  </a:cubicBezTo>
                  <a:cubicBezTo>
                    <a:pt x="-1423" y="-3134"/>
                    <a:pt x="158839" y="6"/>
                    <a:pt x="158839" y="6"/>
                  </a:cubicBezTo>
                  <a:lnTo>
                    <a:pt x="163745" y="153"/>
                  </a:lnTo>
                  <a:cubicBezTo>
                    <a:pt x="163745" y="153"/>
                    <a:pt x="269605" y="987"/>
                    <a:pt x="279465" y="93602"/>
                  </a:cubicBezTo>
                  <a:lnTo>
                    <a:pt x="280446" y="101549"/>
                  </a:lnTo>
                  <a:cubicBezTo>
                    <a:pt x="282997" y="119748"/>
                    <a:pt x="283536" y="123084"/>
                    <a:pt x="283880" y="139174"/>
                  </a:cubicBezTo>
                  <a:cubicBezTo>
                    <a:pt x="285057" y="159188"/>
                    <a:pt x="280299" y="167822"/>
                    <a:pt x="279121" y="183323"/>
                  </a:cubicBezTo>
                  <a:cubicBezTo>
                    <a:pt x="277895" y="199266"/>
                    <a:pt x="276521" y="212167"/>
                    <a:pt x="300460" y="232966"/>
                  </a:cubicBezTo>
                  <a:cubicBezTo>
                    <a:pt x="300460" y="232966"/>
                    <a:pt x="285155" y="256905"/>
                    <a:pt x="251209" y="237872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35" name="Forma livre: Forma 1234">
              <a:extLst>
                <a:ext uri="{FF2B5EF4-FFF2-40B4-BE49-F238E27FC236}">
                  <a16:creationId xmlns:a16="http://schemas.microsoft.com/office/drawing/2014/main" id="{D2B148ED-D5FD-FD3A-E40C-758D3210D45A}"/>
                </a:ext>
              </a:extLst>
            </p:cNvPr>
            <p:cNvSpPr/>
            <p:nvPr/>
          </p:nvSpPr>
          <p:spPr>
            <a:xfrm>
              <a:off x="7150597" y="3772489"/>
              <a:ext cx="81877" cy="83049"/>
            </a:xfrm>
            <a:custGeom>
              <a:avLst/>
              <a:gdLst>
                <a:gd name="connsiteX0" fmla="*/ 0 w 81877"/>
                <a:gd name="connsiteY0" fmla="*/ 83050 h 83049"/>
                <a:gd name="connsiteX1" fmla="*/ 81872 w 81877"/>
                <a:gd name="connsiteY1" fmla="*/ 20161 h 83049"/>
                <a:gd name="connsiteX2" fmla="*/ 76133 w 81877"/>
                <a:gd name="connsiteY2" fmla="*/ 0 h 830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81877" h="83049">
                  <a:moveTo>
                    <a:pt x="0" y="83050"/>
                  </a:moveTo>
                  <a:cubicBezTo>
                    <a:pt x="76525" y="83050"/>
                    <a:pt x="81872" y="20161"/>
                    <a:pt x="81872" y="20161"/>
                  </a:cubicBezTo>
                  <a:cubicBezTo>
                    <a:pt x="81872" y="20161"/>
                    <a:pt x="82265" y="6819"/>
                    <a:pt x="76133" y="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36" name="Forma livre: Forma 1235">
              <a:extLst>
                <a:ext uri="{FF2B5EF4-FFF2-40B4-BE49-F238E27FC236}">
                  <a16:creationId xmlns:a16="http://schemas.microsoft.com/office/drawing/2014/main" id="{1064BC17-F0E0-0D17-89D5-9374A5563B85}"/>
                </a:ext>
              </a:extLst>
            </p:cNvPr>
            <p:cNvSpPr/>
            <p:nvPr/>
          </p:nvSpPr>
          <p:spPr>
            <a:xfrm>
              <a:off x="7119300" y="3847738"/>
              <a:ext cx="25704" cy="16482"/>
            </a:xfrm>
            <a:custGeom>
              <a:avLst/>
              <a:gdLst>
                <a:gd name="connsiteX0" fmla="*/ 25705 w 25704"/>
                <a:gd name="connsiteY0" fmla="*/ 8241 h 16482"/>
                <a:gd name="connsiteX1" fmla="*/ 12852 w 25704"/>
                <a:gd name="connsiteY1" fmla="*/ 16482 h 16482"/>
                <a:gd name="connsiteX2" fmla="*/ 0 w 25704"/>
                <a:gd name="connsiteY2" fmla="*/ 8241 h 16482"/>
                <a:gd name="connsiteX3" fmla="*/ 12852 w 25704"/>
                <a:gd name="connsiteY3" fmla="*/ 0 h 16482"/>
                <a:gd name="connsiteX4" fmla="*/ 25705 w 25704"/>
                <a:gd name="connsiteY4" fmla="*/ 8241 h 1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704" h="16482">
                  <a:moveTo>
                    <a:pt x="25705" y="8241"/>
                  </a:moveTo>
                  <a:cubicBezTo>
                    <a:pt x="25705" y="12803"/>
                    <a:pt x="19965" y="16482"/>
                    <a:pt x="12852" y="16482"/>
                  </a:cubicBezTo>
                  <a:cubicBezTo>
                    <a:pt x="5739" y="16482"/>
                    <a:pt x="0" y="12803"/>
                    <a:pt x="0" y="8241"/>
                  </a:cubicBezTo>
                  <a:cubicBezTo>
                    <a:pt x="0" y="3679"/>
                    <a:pt x="5739" y="0"/>
                    <a:pt x="12852" y="0"/>
                  </a:cubicBezTo>
                  <a:cubicBezTo>
                    <a:pt x="19965" y="0"/>
                    <a:pt x="25705" y="3679"/>
                    <a:pt x="25705" y="8241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37" name="Forma livre: Forma 1236">
              <a:extLst>
                <a:ext uri="{FF2B5EF4-FFF2-40B4-BE49-F238E27FC236}">
                  <a16:creationId xmlns:a16="http://schemas.microsoft.com/office/drawing/2014/main" id="{6D3CABDE-2D22-D64F-CB9F-D57392ED4270}"/>
                </a:ext>
              </a:extLst>
            </p:cNvPr>
            <p:cNvSpPr/>
            <p:nvPr/>
          </p:nvSpPr>
          <p:spPr>
            <a:xfrm>
              <a:off x="7042186" y="3690927"/>
              <a:ext cx="182501" cy="214057"/>
            </a:xfrm>
            <a:custGeom>
              <a:avLst/>
              <a:gdLst>
                <a:gd name="connsiteX0" fmla="*/ 4071 w 182501"/>
                <a:gd name="connsiteY0" fmla="*/ 62479 h 214057"/>
                <a:gd name="connsiteX1" fmla="*/ 100317 w 182501"/>
                <a:gd name="connsiteY1" fmla="*/ 7930 h 214057"/>
                <a:gd name="connsiteX2" fmla="*/ 114346 w 182501"/>
                <a:gd name="connsiteY2" fmla="*/ 7047 h 214057"/>
                <a:gd name="connsiteX3" fmla="*/ 174978 w 182501"/>
                <a:gd name="connsiteY3" fmla="*/ 41827 h 214057"/>
                <a:gd name="connsiteX4" fmla="*/ 177480 w 182501"/>
                <a:gd name="connsiteY4" fmla="*/ 42710 h 214057"/>
                <a:gd name="connsiteX5" fmla="*/ 180963 w 182501"/>
                <a:gd name="connsiteY5" fmla="*/ 106726 h 214057"/>
                <a:gd name="connsiteX6" fmla="*/ 89378 w 182501"/>
                <a:gd name="connsiteY6" fmla="*/ 214058 h 214057"/>
                <a:gd name="connsiteX7" fmla="*/ 87514 w 182501"/>
                <a:gd name="connsiteY7" fmla="*/ 214058 h 214057"/>
                <a:gd name="connsiteX8" fmla="*/ 0 w 182501"/>
                <a:gd name="connsiteY8" fmla="*/ 106726 h 214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82501" h="214057">
                  <a:moveTo>
                    <a:pt x="4071" y="62479"/>
                  </a:moveTo>
                  <a:cubicBezTo>
                    <a:pt x="4071" y="62479"/>
                    <a:pt x="73337" y="77391"/>
                    <a:pt x="100317" y="7930"/>
                  </a:cubicBezTo>
                  <a:cubicBezTo>
                    <a:pt x="104143" y="-1881"/>
                    <a:pt x="104486" y="-3058"/>
                    <a:pt x="114346" y="7047"/>
                  </a:cubicBezTo>
                  <a:cubicBezTo>
                    <a:pt x="137549" y="30937"/>
                    <a:pt x="174929" y="41827"/>
                    <a:pt x="174978" y="41827"/>
                  </a:cubicBezTo>
                  <a:lnTo>
                    <a:pt x="177480" y="42710"/>
                  </a:lnTo>
                  <a:cubicBezTo>
                    <a:pt x="177480" y="42710"/>
                    <a:pt x="185868" y="74301"/>
                    <a:pt x="180963" y="106726"/>
                  </a:cubicBezTo>
                  <a:cubicBezTo>
                    <a:pt x="180963" y="106726"/>
                    <a:pt x="163646" y="214058"/>
                    <a:pt x="89378" y="214058"/>
                  </a:cubicBezTo>
                  <a:lnTo>
                    <a:pt x="87514" y="214058"/>
                  </a:lnTo>
                  <a:cubicBezTo>
                    <a:pt x="13245" y="214058"/>
                    <a:pt x="0" y="106726"/>
                    <a:pt x="0" y="106726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238" name="Gráfico 13">
              <a:extLst>
                <a:ext uri="{FF2B5EF4-FFF2-40B4-BE49-F238E27FC236}">
                  <a16:creationId xmlns:a16="http://schemas.microsoft.com/office/drawing/2014/main" id="{E5225954-9539-211E-E6FD-A8246124FE4E}"/>
                </a:ext>
              </a:extLst>
            </p:cNvPr>
            <p:cNvGrpSpPr/>
            <p:nvPr/>
          </p:nvGrpSpPr>
          <p:grpSpPr>
            <a:xfrm>
              <a:off x="7090995" y="3779552"/>
              <a:ext cx="82362" cy="7652"/>
              <a:chOff x="7090995" y="3779552"/>
              <a:chExt cx="82362" cy="7652"/>
            </a:xfrm>
            <a:solidFill>
              <a:srgbClr val="394553"/>
            </a:solidFill>
          </p:grpSpPr>
          <p:sp>
            <p:nvSpPr>
              <p:cNvPr id="1239" name="Forma livre: Forma 1238">
                <a:extLst>
                  <a:ext uri="{FF2B5EF4-FFF2-40B4-BE49-F238E27FC236}">
                    <a16:creationId xmlns:a16="http://schemas.microsoft.com/office/drawing/2014/main" id="{B2D3A955-AB52-EEF5-ABD4-A26DC7C91AA9}"/>
                  </a:ext>
                </a:extLst>
              </p:cNvPr>
              <p:cNvSpPr/>
              <p:nvPr/>
            </p:nvSpPr>
            <p:spPr>
              <a:xfrm>
                <a:off x="7090995" y="3779552"/>
                <a:ext cx="7652" cy="7652"/>
              </a:xfrm>
              <a:custGeom>
                <a:avLst/>
                <a:gdLst>
                  <a:gd name="connsiteX0" fmla="*/ 7653 w 7652"/>
                  <a:gd name="connsiteY0" fmla="*/ 3826 h 7652"/>
                  <a:gd name="connsiteX1" fmla="*/ 3826 w 7652"/>
                  <a:gd name="connsiteY1" fmla="*/ 7653 h 7652"/>
                  <a:gd name="connsiteX2" fmla="*/ 0 w 7652"/>
                  <a:gd name="connsiteY2" fmla="*/ 3826 h 7652"/>
                  <a:gd name="connsiteX3" fmla="*/ 3826 w 7652"/>
                  <a:gd name="connsiteY3" fmla="*/ 0 h 7652"/>
                  <a:gd name="connsiteX4" fmla="*/ 7653 w 7652"/>
                  <a:gd name="connsiteY4" fmla="*/ 3826 h 76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652" h="7652">
                    <a:moveTo>
                      <a:pt x="7653" y="3826"/>
                    </a:moveTo>
                    <a:cubicBezTo>
                      <a:pt x="7653" y="5936"/>
                      <a:pt x="5936" y="7653"/>
                      <a:pt x="3826" y="7653"/>
                    </a:cubicBezTo>
                    <a:cubicBezTo>
                      <a:pt x="1717" y="7653"/>
                      <a:pt x="0" y="5936"/>
                      <a:pt x="0" y="3826"/>
                    </a:cubicBezTo>
                    <a:cubicBezTo>
                      <a:pt x="0" y="1717"/>
                      <a:pt x="1717" y="0"/>
                      <a:pt x="3826" y="0"/>
                    </a:cubicBezTo>
                    <a:cubicBezTo>
                      <a:pt x="5936" y="0"/>
                      <a:pt x="7653" y="1717"/>
                      <a:pt x="7653" y="3826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40" name="Forma livre: Forma 1239">
                <a:extLst>
                  <a:ext uri="{FF2B5EF4-FFF2-40B4-BE49-F238E27FC236}">
                    <a16:creationId xmlns:a16="http://schemas.microsoft.com/office/drawing/2014/main" id="{0D4F41F3-9165-62EA-8276-F83E9B7C9E50}"/>
                  </a:ext>
                </a:extLst>
              </p:cNvPr>
              <p:cNvSpPr/>
              <p:nvPr/>
            </p:nvSpPr>
            <p:spPr>
              <a:xfrm>
                <a:off x="7165706" y="3779552"/>
                <a:ext cx="7652" cy="7652"/>
              </a:xfrm>
              <a:custGeom>
                <a:avLst/>
                <a:gdLst>
                  <a:gd name="connsiteX0" fmla="*/ 7653 w 7652"/>
                  <a:gd name="connsiteY0" fmla="*/ 3826 h 7652"/>
                  <a:gd name="connsiteX1" fmla="*/ 3826 w 7652"/>
                  <a:gd name="connsiteY1" fmla="*/ 7653 h 7652"/>
                  <a:gd name="connsiteX2" fmla="*/ 0 w 7652"/>
                  <a:gd name="connsiteY2" fmla="*/ 3826 h 7652"/>
                  <a:gd name="connsiteX3" fmla="*/ 3826 w 7652"/>
                  <a:gd name="connsiteY3" fmla="*/ 0 h 7652"/>
                  <a:gd name="connsiteX4" fmla="*/ 7653 w 7652"/>
                  <a:gd name="connsiteY4" fmla="*/ 3826 h 76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652" h="7652">
                    <a:moveTo>
                      <a:pt x="7653" y="3826"/>
                    </a:moveTo>
                    <a:cubicBezTo>
                      <a:pt x="7653" y="5936"/>
                      <a:pt x="5936" y="7653"/>
                      <a:pt x="3826" y="7653"/>
                    </a:cubicBezTo>
                    <a:cubicBezTo>
                      <a:pt x="1717" y="7653"/>
                      <a:pt x="0" y="5936"/>
                      <a:pt x="0" y="3826"/>
                    </a:cubicBezTo>
                    <a:cubicBezTo>
                      <a:pt x="0" y="1717"/>
                      <a:pt x="1717" y="0"/>
                      <a:pt x="3826" y="0"/>
                    </a:cubicBezTo>
                    <a:cubicBezTo>
                      <a:pt x="5936" y="0"/>
                      <a:pt x="7653" y="1717"/>
                      <a:pt x="7653" y="3826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241" name="Gráfico 13">
            <a:extLst>
              <a:ext uri="{FF2B5EF4-FFF2-40B4-BE49-F238E27FC236}">
                <a16:creationId xmlns:a16="http://schemas.microsoft.com/office/drawing/2014/main" id="{E2BB0FA5-737B-038F-9CC1-24933DBF42C9}"/>
              </a:ext>
            </a:extLst>
          </p:cNvPr>
          <p:cNvGrpSpPr/>
          <p:nvPr/>
        </p:nvGrpSpPr>
        <p:grpSpPr>
          <a:xfrm>
            <a:off x="6363760" y="5282245"/>
            <a:ext cx="258076" cy="299282"/>
            <a:chOff x="6363760" y="5282245"/>
            <a:chExt cx="258076" cy="299282"/>
          </a:xfrm>
          <a:noFill/>
        </p:grpSpPr>
        <p:sp>
          <p:nvSpPr>
            <p:cNvPr id="1242" name="Forma livre: Forma 1241">
              <a:extLst>
                <a:ext uri="{FF2B5EF4-FFF2-40B4-BE49-F238E27FC236}">
                  <a16:creationId xmlns:a16="http://schemas.microsoft.com/office/drawing/2014/main" id="{E186CFB3-FB7E-F7FB-D121-A6F34C91E198}"/>
                </a:ext>
              </a:extLst>
            </p:cNvPr>
            <p:cNvSpPr/>
            <p:nvPr/>
          </p:nvSpPr>
          <p:spPr>
            <a:xfrm>
              <a:off x="6363760" y="5393060"/>
              <a:ext cx="258076" cy="188468"/>
            </a:xfrm>
            <a:custGeom>
              <a:avLst/>
              <a:gdLst>
                <a:gd name="connsiteX0" fmla="*/ 226535 w 258076"/>
                <a:gd name="connsiteY0" fmla="*/ 0 h 188468"/>
                <a:gd name="connsiteX1" fmla="*/ 243360 w 258076"/>
                <a:gd name="connsiteY1" fmla="*/ 0 h 188468"/>
                <a:gd name="connsiteX2" fmla="*/ 258077 w 258076"/>
                <a:gd name="connsiteY2" fmla="*/ 14716 h 188468"/>
                <a:gd name="connsiteX3" fmla="*/ 258077 w 258076"/>
                <a:gd name="connsiteY3" fmla="*/ 173752 h 188468"/>
                <a:gd name="connsiteX4" fmla="*/ 243360 w 258076"/>
                <a:gd name="connsiteY4" fmla="*/ 188468 h 188468"/>
                <a:gd name="connsiteX5" fmla="*/ 14716 w 258076"/>
                <a:gd name="connsiteY5" fmla="*/ 188468 h 188468"/>
                <a:gd name="connsiteX6" fmla="*/ 0 w 258076"/>
                <a:gd name="connsiteY6" fmla="*/ 173752 h 188468"/>
                <a:gd name="connsiteX7" fmla="*/ 0 w 258076"/>
                <a:gd name="connsiteY7" fmla="*/ 14716 h 188468"/>
                <a:gd name="connsiteX8" fmla="*/ 14716 w 258076"/>
                <a:gd name="connsiteY8" fmla="*/ 0 h 188468"/>
                <a:gd name="connsiteX9" fmla="*/ 106203 w 258076"/>
                <a:gd name="connsiteY9" fmla="*/ 0 h 1884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58076" h="188468">
                  <a:moveTo>
                    <a:pt x="226535" y="0"/>
                  </a:moveTo>
                  <a:lnTo>
                    <a:pt x="243360" y="0"/>
                  </a:lnTo>
                  <a:cubicBezTo>
                    <a:pt x="251454" y="0"/>
                    <a:pt x="258077" y="6622"/>
                    <a:pt x="258077" y="14716"/>
                  </a:cubicBezTo>
                  <a:lnTo>
                    <a:pt x="258077" y="173752"/>
                  </a:lnTo>
                  <a:cubicBezTo>
                    <a:pt x="258077" y="181846"/>
                    <a:pt x="251454" y="188468"/>
                    <a:pt x="243360" y="188468"/>
                  </a:cubicBezTo>
                  <a:lnTo>
                    <a:pt x="14716" y="188468"/>
                  </a:lnTo>
                  <a:cubicBezTo>
                    <a:pt x="6622" y="188468"/>
                    <a:pt x="0" y="181846"/>
                    <a:pt x="0" y="173752"/>
                  </a:cubicBezTo>
                  <a:lnTo>
                    <a:pt x="0" y="14716"/>
                  </a:lnTo>
                  <a:cubicBezTo>
                    <a:pt x="0" y="6622"/>
                    <a:pt x="6622" y="0"/>
                    <a:pt x="14716" y="0"/>
                  </a:cubicBezTo>
                  <a:lnTo>
                    <a:pt x="106203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43" name="Forma livre: Forma 1242">
              <a:extLst>
                <a:ext uri="{FF2B5EF4-FFF2-40B4-BE49-F238E27FC236}">
                  <a16:creationId xmlns:a16="http://schemas.microsoft.com/office/drawing/2014/main" id="{27A5F408-449E-97E0-1B98-24AA5AD39B6C}"/>
                </a:ext>
              </a:extLst>
            </p:cNvPr>
            <p:cNvSpPr/>
            <p:nvPr/>
          </p:nvSpPr>
          <p:spPr>
            <a:xfrm>
              <a:off x="6482079" y="5462129"/>
              <a:ext cx="24085" cy="119203"/>
            </a:xfrm>
            <a:custGeom>
              <a:avLst/>
              <a:gdLst>
                <a:gd name="connsiteX0" fmla="*/ 0 w 24085"/>
                <a:gd name="connsiteY0" fmla="*/ 119203 h 119203"/>
                <a:gd name="connsiteX1" fmla="*/ 0 w 24085"/>
                <a:gd name="connsiteY1" fmla="*/ 18543 h 119203"/>
                <a:gd name="connsiteX2" fmla="*/ 24086 w 24085"/>
                <a:gd name="connsiteY2" fmla="*/ 0 h 119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4085" h="119203">
                  <a:moveTo>
                    <a:pt x="0" y="119203"/>
                  </a:moveTo>
                  <a:lnTo>
                    <a:pt x="0" y="18543"/>
                  </a:lnTo>
                  <a:lnTo>
                    <a:pt x="24086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44" name="Forma livre: Forma 1243">
              <a:extLst>
                <a:ext uri="{FF2B5EF4-FFF2-40B4-BE49-F238E27FC236}">
                  <a16:creationId xmlns:a16="http://schemas.microsoft.com/office/drawing/2014/main" id="{7636C736-4FF1-CAC7-E150-9B563B556735}"/>
                </a:ext>
              </a:extLst>
            </p:cNvPr>
            <p:cNvSpPr/>
            <p:nvPr/>
          </p:nvSpPr>
          <p:spPr>
            <a:xfrm>
              <a:off x="6421987" y="5530658"/>
              <a:ext cx="59650" cy="4905"/>
            </a:xfrm>
            <a:custGeom>
              <a:avLst/>
              <a:gdLst>
                <a:gd name="connsiteX0" fmla="*/ 59651 w 59650"/>
                <a:gd name="connsiteY0" fmla="*/ 0 h 4905"/>
                <a:gd name="connsiteX1" fmla="*/ 0 w 59650"/>
                <a:gd name="connsiteY1" fmla="*/ 0 h 49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9650" h="4905">
                  <a:moveTo>
                    <a:pt x="59651" y="0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45" name="Forma livre: Forma 1244">
              <a:extLst>
                <a:ext uri="{FF2B5EF4-FFF2-40B4-BE49-F238E27FC236}">
                  <a16:creationId xmlns:a16="http://schemas.microsoft.com/office/drawing/2014/main" id="{265ABC7B-FA9F-3E58-4E63-32AE37D8CD67}"/>
                </a:ext>
              </a:extLst>
            </p:cNvPr>
            <p:cNvSpPr/>
            <p:nvPr/>
          </p:nvSpPr>
          <p:spPr>
            <a:xfrm>
              <a:off x="6537070" y="5496761"/>
              <a:ext cx="37428" cy="49"/>
            </a:xfrm>
            <a:custGeom>
              <a:avLst/>
              <a:gdLst>
                <a:gd name="connsiteX0" fmla="*/ 37429 w 37428"/>
                <a:gd name="connsiteY0" fmla="*/ 49 h 49"/>
                <a:gd name="connsiteX1" fmla="*/ 0 w 37428"/>
                <a:gd name="connsiteY1" fmla="*/ 0 h 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7428" h="49">
                  <a:moveTo>
                    <a:pt x="37429" y="49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46" name="Forma livre: Forma 1245">
              <a:extLst>
                <a:ext uri="{FF2B5EF4-FFF2-40B4-BE49-F238E27FC236}">
                  <a16:creationId xmlns:a16="http://schemas.microsoft.com/office/drawing/2014/main" id="{1981B081-E18C-78F1-F1DE-34581F497958}"/>
                </a:ext>
              </a:extLst>
            </p:cNvPr>
            <p:cNvSpPr/>
            <p:nvPr/>
          </p:nvSpPr>
          <p:spPr>
            <a:xfrm>
              <a:off x="6364152" y="5437945"/>
              <a:ext cx="96588" cy="49"/>
            </a:xfrm>
            <a:custGeom>
              <a:avLst/>
              <a:gdLst>
                <a:gd name="connsiteX0" fmla="*/ 96589 w 96588"/>
                <a:gd name="connsiteY0" fmla="*/ 49 h 49"/>
                <a:gd name="connsiteX1" fmla="*/ 0 w 96588"/>
                <a:gd name="connsiteY1" fmla="*/ 0 h 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6588" h="49">
                  <a:moveTo>
                    <a:pt x="96589" y="49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47" name="Forma livre: Forma 1246">
              <a:extLst>
                <a:ext uri="{FF2B5EF4-FFF2-40B4-BE49-F238E27FC236}">
                  <a16:creationId xmlns:a16="http://schemas.microsoft.com/office/drawing/2014/main" id="{3B864E70-4D7A-7594-CEC0-BD333A25C8C9}"/>
                </a:ext>
              </a:extLst>
            </p:cNvPr>
            <p:cNvSpPr/>
            <p:nvPr/>
          </p:nvSpPr>
          <p:spPr>
            <a:xfrm>
              <a:off x="6421301" y="5393256"/>
              <a:ext cx="4905" cy="188271"/>
            </a:xfrm>
            <a:custGeom>
              <a:avLst/>
              <a:gdLst>
                <a:gd name="connsiteX0" fmla="*/ 0 w 4905"/>
                <a:gd name="connsiteY0" fmla="*/ 188272 h 188271"/>
                <a:gd name="connsiteX1" fmla="*/ 0 w 4905"/>
                <a:gd name="connsiteY1" fmla="*/ 0 h 1882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905" h="188271">
                  <a:moveTo>
                    <a:pt x="0" y="188272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48" name="Forma livre: Forma 1247">
              <a:extLst>
                <a:ext uri="{FF2B5EF4-FFF2-40B4-BE49-F238E27FC236}">
                  <a16:creationId xmlns:a16="http://schemas.microsoft.com/office/drawing/2014/main" id="{77FF687F-8B55-8A62-B254-222689E8BB26}"/>
                </a:ext>
              </a:extLst>
            </p:cNvPr>
            <p:cNvSpPr/>
            <p:nvPr/>
          </p:nvSpPr>
          <p:spPr>
            <a:xfrm>
              <a:off x="6574744" y="5453004"/>
              <a:ext cx="46945" cy="127493"/>
            </a:xfrm>
            <a:custGeom>
              <a:avLst/>
              <a:gdLst>
                <a:gd name="connsiteX0" fmla="*/ 0 w 46945"/>
                <a:gd name="connsiteY0" fmla="*/ 127493 h 127493"/>
                <a:gd name="connsiteX1" fmla="*/ 0 w 46945"/>
                <a:gd name="connsiteY1" fmla="*/ 0 h 127493"/>
                <a:gd name="connsiteX2" fmla="*/ 46945 w 46945"/>
                <a:gd name="connsiteY2" fmla="*/ 0 h 1274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6945" h="127493">
                  <a:moveTo>
                    <a:pt x="0" y="127493"/>
                  </a:moveTo>
                  <a:lnTo>
                    <a:pt x="0" y="0"/>
                  </a:lnTo>
                  <a:lnTo>
                    <a:pt x="46945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49" name="Forma livre: Forma 1248">
              <a:extLst>
                <a:ext uri="{FF2B5EF4-FFF2-40B4-BE49-F238E27FC236}">
                  <a16:creationId xmlns:a16="http://schemas.microsoft.com/office/drawing/2014/main" id="{6064E022-8EEF-5DB9-244B-E98F592929B9}"/>
                </a:ext>
              </a:extLst>
            </p:cNvPr>
            <p:cNvSpPr/>
            <p:nvPr/>
          </p:nvSpPr>
          <p:spPr>
            <a:xfrm>
              <a:off x="6476144" y="5282245"/>
              <a:ext cx="108803" cy="176057"/>
            </a:xfrm>
            <a:custGeom>
              <a:avLst/>
              <a:gdLst>
                <a:gd name="connsiteX0" fmla="*/ 108803 w 108803"/>
                <a:gd name="connsiteY0" fmla="*/ 54402 h 176057"/>
                <a:gd name="connsiteX1" fmla="*/ 54402 w 108803"/>
                <a:gd name="connsiteY1" fmla="*/ 176057 h 176057"/>
                <a:gd name="connsiteX2" fmla="*/ 0 w 108803"/>
                <a:gd name="connsiteY2" fmla="*/ 54402 h 176057"/>
                <a:gd name="connsiteX3" fmla="*/ 54402 w 108803"/>
                <a:gd name="connsiteY3" fmla="*/ 0 h 176057"/>
                <a:gd name="connsiteX4" fmla="*/ 108803 w 108803"/>
                <a:gd name="connsiteY4" fmla="*/ 54402 h 176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8803" h="176057">
                  <a:moveTo>
                    <a:pt x="108803" y="54402"/>
                  </a:moveTo>
                  <a:cubicBezTo>
                    <a:pt x="108803" y="84423"/>
                    <a:pt x="54402" y="176057"/>
                    <a:pt x="54402" y="176057"/>
                  </a:cubicBezTo>
                  <a:cubicBezTo>
                    <a:pt x="54402" y="176057"/>
                    <a:pt x="0" y="84423"/>
                    <a:pt x="0" y="54402"/>
                  </a:cubicBezTo>
                  <a:cubicBezTo>
                    <a:pt x="0" y="24380"/>
                    <a:pt x="24331" y="0"/>
                    <a:pt x="54402" y="0"/>
                  </a:cubicBezTo>
                  <a:cubicBezTo>
                    <a:pt x="84472" y="0"/>
                    <a:pt x="108803" y="24331"/>
                    <a:pt x="108803" y="54402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50" name="Forma livre: Forma 1249">
              <a:extLst>
                <a:ext uri="{FF2B5EF4-FFF2-40B4-BE49-F238E27FC236}">
                  <a16:creationId xmlns:a16="http://schemas.microsoft.com/office/drawing/2014/main" id="{70BDC635-CF69-036D-580C-167E58644B32}"/>
                </a:ext>
              </a:extLst>
            </p:cNvPr>
            <p:cNvSpPr/>
            <p:nvPr/>
          </p:nvSpPr>
          <p:spPr>
            <a:xfrm>
              <a:off x="6507244" y="5313395"/>
              <a:ext cx="46503" cy="46503"/>
            </a:xfrm>
            <a:custGeom>
              <a:avLst/>
              <a:gdLst>
                <a:gd name="connsiteX0" fmla="*/ 46504 w 46503"/>
                <a:gd name="connsiteY0" fmla="*/ 23252 h 46503"/>
                <a:gd name="connsiteX1" fmla="*/ 23252 w 46503"/>
                <a:gd name="connsiteY1" fmla="*/ 46504 h 46503"/>
                <a:gd name="connsiteX2" fmla="*/ 0 w 46503"/>
                <a:gd name="connsiteY2" fmla="*/ 23252 h 46503"/>
                <a:gd name="connsiteX3" fmla="*/ 23252 w 46503"/>
                <a:gd name="connsiteY3" fmla="*/ 0 h 46503"/>
                <a:gd name="connsiteX4" fmla="*/ 46504 w 46503"/>
                <a:gd name="connsiteY4" fmla="*/ 23252 h 46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6503" h="46503">
                  <a:moveTo>
                    <a:pt x="46504" y="23252"/>
                  </a:moveTo>
                  <a:cubicBezTo>
                    <a:pt x="46504" y="36104"/>
                    <a:pt x="36104" y="46504"/>
                    <a:pt x="23252" y="46504"/>
                  </a:cubicBezTo>
                  <a:cubicBezTo>
                    <a:pt x="10400" y="46504"/>
                    <a:pt x="0" y="36104"/>
                    <a:pt x="0" y="23252"/>
                  </a:cubicBezTo>
                  <a:cubicBezTo>
                    <a:pt x="0" y="10400"/>
                    <a:pt x="10400" y="0"/>
                    <a:pt x="23252" y="0"/>
                  </a:cubicBezTo>
                  <a:cubicBezTo>
                    <a:pt x="36104" y="0"/>
                    <a:pt x="46504" y="10400"/>
                    <a:pt x="46504" y="23252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251" name="Gráfico 13">
            <a:extLst>
              <a:ext uri="{FF2B5EF4-FFF2-40B4-BE49-F238E27FC236}">
                <a16:creationId xmlns:a16="http://schemas.microsoft.com/office/drawing/2014/main" id="{081D13D6-5493-93C7-201D-410CDE628E0D}"/>
              </a:ext>
            </a:extLst>
          </p:cNvPr>
          <p:cNvGrpSpPr/>
          <p:nvPr/>
        </p:nvGrpSpPr>
        <p:grpSpPr>
          <a:xfrm>
            <a:off x="7633933" y="5291614"/>
            <a:ext cx="270683" cy="280543"/>
            <a:chOff x="7633933" y="5291614"/>
            <a:chExt cx="270683" cy="280543"/>
          </a:xfrm>
          <a:noFill/>
        </p:grpSpPr>
        <p:sp>
          <p:nvSpPr>
            <p:cNvPr id="1252" name="Forma livre: Forma 1251">
              <a:extLst>
                <a:ext uri="{FF2B5EF4-FFF2-40B4-BE49-F238E27FC236}">
                  <a16:creationId xmlns:a16="http://schemas.microsoft.com/office/drawing/2014/main" id="{1657BAB4-4837-BF4F-B96F-1DEFE1740177}"/>
                </a:ext>
              </a:extLst>
            </p:cNvPr>
            <p:cNvSpPr/>
            <p:nvPr/>
          </p:nvSpPr>
          <p:spPr>
            <a:xfrm>
              <a:off x="7633933" y="5291614"/>
              <a:ext cx="270683" cy="280543"/>
            </a:xfrm>
            <a:custGeom>
              <a:avLst/>
              <a:gdLst>
                <a:gd name="connsiteX0" fmla="*/ 0 w 270683"/>
                <a:gd name="connsiteY0" fmla="*/ 54990 h 280543"/>
                <a:gd name="connsiteX1" fmla="*/ 136764 w 270683"/>
                <a:gd name="connsiteY1" fmla="*/ 0 h 280543"/>
                <a:gd name="connsiteX2" fmla="*/ 270684 w 270683"/>
                <a:gd name="connsiteY2" fmla="*/ 49349 h 280543"/>
                <a:gd name="connsiteX3" fmla="*/ 270684 w 270683"/>
                <a:gd name="connsiteY3" fmla="*/ 201615 h 280543"/>
                <a:gd name="connsiteX4" fmla="*/ 143338 w 270683"/>
                <a:gd name="connsiteY4" fmla="*/ 280544 h 280543"/>
                <a:gd name="connsiteX5" fmla="*/ 0 w 270683"/>
                <a:gd name="connsiteY5" fmla="*/ 203283 h 280543"/>
                <a:gd name="connsiteX6" fmla="*/ 0 w 270683"/>
                <a:gd name="connsiteY6" fmla="*/ 54990 h 2805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70683" h="280543">
                  <a:moveTo>
                    <a:pt x="0" y="54990"/>
                  </a:moveTo>
                  <a:lnTo>
                    <a:pt x="136764" y="0"/>
                  </a:lnTo>
                  <a:lnTo>
                    <a:pt x="270684" y="49349"/>
                  </a:lnTo>
                  <a:lnTo>
                    <a:pt x="270684" y="201615"/>
                  </a:lnTo>
                  <a:lnTo>
                    <a:pt x="143338" y="280544"/>
                  </a:lnTo>
                  <a:lnTo>
                    <a:pt x="0" y="203283"/>
                  </a:lnTo>
                  <a:lnTo>
                    <a:pt x="0" y="54990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53" name="Forma livre: Forma 1252">
              <a:extLst>
                <a:ext uri="{FF2B5EF4-FFF2-40B4-BE49-F238E27FC236}">
                  <a16:creationId xmlns:a16="http://schemas.microsoft.com/office/drawing/2014/main" id="{73DBD101-6397-64DA-A465-A445227A4DD9}"/>
                </a:ext>
              </a:extLst>
            </p:cNvPr>
            <p:cNvSpPr/>
            <p:nvPr/>
          </p:nvSpPr>
          <p:spPr>
            <a:xfrm>
              <a:off x="7634521" y="5340963"/>
              <a:ext cx="270095" cy="66272"/>
            </a:xfrm>
            <a:custGeom>
              <a:avLst/>
              <a:gdLst>
                <a:gd name="connsiteX0" fmla="*/ 270095 w 270095"/>
                <a:gd name="connsiteY0" fmla="*/ 0 h 66272"/>
                <a:gd name="connsiteX1" fmla="*/ 143092 w 270095"/>
                <a:gd name="connsiteY1" fmla="*/ 66273 h 66272"/>
                <a:gd name="connsiteX2" fmla="*/ 0 w 270095"/>
                <a:gd name="connsiteY2" fmla="*/ 6034 h 662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70095" h="66272">
                  <a:moveTo>
                    <a:pt x="270095" y="0"/>
                  </a:moveTo>
                  <a:lnTo>
                    <a:pt x="143092" y="66273"/>
                  </a:lnTo>
                  <a:lnTo>
                    <a:pt x="0" y="6034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54" name="Forma livre: Forma 1253">
              <a:extLst>
                <a:ext uri="{FF2B5EF4-FFF2-40B4-BE49-F238E27FC236}">
                  <a16:creationId xmlns:a16="http://schemas.microsoft.com/office/drawing/2014/main" id="{FB7D64E9-5900-A0F6-177F-79D8380B2F23}"/>
                </a:ext>
              </a:extLst>
            </p:cNvPr>
            <p:cNvSpPr/>
            <p:nvPr/>
          </p:nvSpPr>
          <p:spPr>
            <a:xfrm>
              <a:off x="7777516" y="5407727"/>
              <a:ext cx="4905" cy="163548"/>
            </a:xfrm>
            <a:custGeom>
              <a:avLst/>
              <a:gdLst>
                <a:gd name="connsiteX0" fmla="*/ 0 w 4905"/>
                <a:gd name="connsiteY0" fmla="*/ 0 h 163548"/>
                <a:gd name="connsiteX1" fmla="*/ 0 w 4905"/>
                <a:gd name="connsiteY1" fmla="*/ 163548 h 1635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905" h="163548">
                  <a:moveTo>
                    <a:pt x="0" y="0"/>
                  </a:moveTo>
                  <a:lnTo>
                    <a:pt x="0" y="163548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55" name="Forma livre: Forma 1254">
              <a:extLst>
                <a:ext uri="{FF2B5EF4-FFF2-40B4-BE49-F238E27FC236}">
                  <a16:creationId xmlns:a16="http://schemas.microsoft.com/office/drawing/2014/main" id="{0792FE52-390A-1CBC-7D1E-226888964ACA}"/>
                </a:ext>
              </a:extLst>
            </p:cNvPr>
            <p:cNvSpPr/>
            <p:nvPr/>
          </p:nvSpPr>
          <p:spPr>
            <a:xfrm>
              <a:off x="7706632" y="5317957"/>
              <a:ext cx="134949" cy="55824"/>
            </a:xfrm>
            <a:custGeom>
              <a:avLst/>
              <a:gdLst>
                <a:gd name="connsiteX0" fmla="*/ 0 w 134949"/>
                <a:gd name="connsiteY0" fmla="*/ 0 h 55824"/>
                <a:gd name="connsiteX1" fmla="*/ 134949 w 134949"/>
                <a:gd name="connsiteY1" fmla="*/ 55824 h 558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34949" h="55824">
                  <a:moveTo>
                    <a:pt x="0" y="0"/>
                  </a:moveTo>
                  <a:lnTo>
                    <a:pt x="134949" y="55824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56" name="Forma livre: Forma 1255">
              <a:extLst>
                <a:ext uri="{FF2B5EF4-FFF2-40B4-BE49-F238E27FC236}">
                  <a16:creationId xmlns:a16="http://schemas.microsoft.com/office/drawing/2014/main" id="{1F2FDE18-4D69-5231-354B-D797996B5732}"/>
                </a:ext>
              </a:extLst>
            </p:cNvPr>
            <p:cNvSpPr/>
            <p:nvPr/>
          </p:nvSpPr>
          <p:spPr>
            <a:xfrm>
              <a:off x="7841581" y="5374566"/>
              <a:ext cx="4905" cy="55677"/>
            </a:xfrm>
            <a:custGeom>
              <a:avLst/>
              <a:gdLst>
                <a:gd name="connsiteX0" fmla="*/ 0 w 4905"/>
                <a:gd name="connsiteY0" fmla="*/ 0 h 55677"/>
                <a:gd name="connsiteX1" fmla="*/ 0 w 4905"/>
                <a:gd name="connsiteY1" fmla="*/ 55677 h 556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905" h="55677">
                  <a:moveTo>
                    <a:pt x="0" y="0"/>
                  </a:moveTo>
                  <a:lnTo>
                    <a:pt x="0" y="55677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bevel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257" name="Gráfico 13">
            <a:extLst>
              <a:ext uri="{FF2B5EF4-FFF2-40B4-BE49-F238E27FC236}">
                <a16:creationId xmlns:a16="http://schemas.microsoft.com/office/drawing/2014/main" id="{7C74E49A-E503-E592-66D4-02378F69DA4C}"/>
              </a:ext>
            </a:extLst>
          </p:cNvPr>
          <p:cNvGrpSpPr/>
          <p:nvPr/>
        </p:nvGrpSpPr>
        <p:grpSpPr>
          <a:xfrm>
            <a:off x="6952465" y="5289015"/>
            <a:ext cx="357167" cy="285774"/>
            <a:chOff x="6952465" y="5289015"/>
            <a:chExt cx="357167" cy="285774"/>
          </a:xfrm>
          <a:noFill/>
        </p:grpSpPr>
        <p:sp>
          <p:nvSpPr>
            <p:cNvPr id="1258" name="Forma livre: Forma 1257">
              <a:extLst>
                <a:ext uri="{FF2B5EF4-FFF2-40B4-BE49-F238E27FC236}">
                  <a16:creationId xmlns:a16="http://schemas.microsoft.com/office/drawing/2014/main" id="{813A0B0E-7A5D-460C-BEBA-0A65C27EBA20}"/>
                </a:ext>
              </a:extLst>
            </p:cNvPr>
            <p:cNvSpPr/>
            <p:nvPr/>
          </p:nvSpPr>
          <p:spPr>
            <a:xfrm>
              <a:off x="6952465" y="5289015"/>
              <a:ext cx="221776" cy="209904"/>
            </a:xfrm>
            <a:custGeom>
              <a:avLst/>
              <a:gdLst>
                <a:gd name="connsiteX0" fmla="*/ 126463 w 221776"/>
                <a:gd name="connsiteY0" fmla="*/ 209905 h 209904"/>
                <a:gd name="connsiteX1" fmla="*/ 0 w 221776"/>
                <a:gd name="connsiteY1" fmla="*/ 140100 h 209904"/>
                <a:gd name="connsiteX2" fmla="*/ 77359 w 221776"/>
                <a:gd name="connsiteY2" fmla="*/ 0 h 209904"/>
                <a:gd name="connsiteX3" fmla="*/ 221776 w 221776"/>
                <a:gd name="connsiteY3" fmla="*/ 79714 h 209904"/>
                <a:gd name="connsiteX4" fmla="*/ 154179 w 221776"/>
                <a:gd name="connsiteY4" fmla="*/ 201811 h 2099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21776" h="209904">
                  <a:moveTo>
                    <a:pt x="126463" y="209905"/>
                  </a:moveTo>
                  <a:lnTo>
                    <a:pt x="0" y="140100"/>
                  </a:lnTo>
                  <a:lnTo>
                    <a:pt x="77359" y="0"/>
                  </a:lnTo>
                  <a:lnTo>
                    <a:pt x="221776" y="79714"/>
                  </a:lnTo>
                  <a:lnTo>
                    <a:pt x="154179" y="201811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59" name="Forma livre: Forma 1258">
              <a:extLst>
                <a:ext uri="{FF2B5EF4-FFF2-40B4-BE49-F238E27FC236}">
                  <a16:creationId xmlns:a16="http://schemas.microsoft.com/office/drawing/2014/main" id="{08DEAD24-CBBD-2C4F-4846-CC940118410F}"/>
                </a:ext>
              </a:extLst>
            </p:cNvPr>
            <p:cNvSpPr/>
            <p:nvPr/>
          </p:nvSpPr>
          <p:spPr>
            <a:xfrm>
              <a:off x="7059698" y="5322421"/>
              <a:ext cx="57786" cy="65389"/>
            </a:xfrm>
            <a:custGeom>
              <a:avLst/>
              <a:gdLst>
                <a:gd name="connsiteX0" fmla="*/ 57786 w 57786"/>
                <a:gd name="connsiteY0" fmla="*/ 17169 h 65389"/>
                <a:gd name="connsiteX1" fmla="*/ 31150 w 57786"/>
                <a:gd name="connsiteY1" fmla="*/ 65390 h 65389"/>
                <a:gd name="connsiteX2" fmla="*/ 0 w 57786"/>
                <a:gd name="connsiteY2" fmla="*/ 48221 h 65389"/>
                <a:gd name="connsiteX3" fmla="*/ 26637 w 57786"/>
                <a:gd name="connsiteY3" fmla="*/ 0 h 653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7786" h="65389">
                  <a:moveTo>
                    <a:pt x="57786" y="17169"/>
                  </a:moveTo>
                  <a:lnTo>
                    <a:pt x="31150" y="65390"/>
                  </a:lnTo>
                  <a:lnTo>
                    <a:pt x="0" y="48221"/>
                  </a:lnTo>
                  <a:lnTo>
                    <a:pt x="26637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60" name="Forma livre: Forma 1259">
              <a:extLst>
                <a:ext uri="{FF2B5EF4-FFF2-40B4-BE49-F238E27FC236}">
                  <a16:creationId xmlns:a16="http://schemas.microsoft.com/office/drawing/2014/main" id="{0CCC9B76-557C-C90E-574C-DCEFDA477FF6}"/>
                </a:ext>
              </a:extLst>
            </p:cNvPr>
            <p:cNvSpPr/>
            <p:nvPr/>
          </p:nvSpPr>
          <p:spPr>
            <a:xfrm>
              <a:off x="6957468" y="5467721"/>
              <a:ext cx="74072" cy="40862"/>
            </a:xfrm>
            <a:custGeom>
              <a:avLst/>
              <a:gdLst>
                <a:gd name="connsiteX0" fmla="*/ 74073 w 74072"/>
                <a:gd name="connsiteY0" fmla="*/ 40863 h 40862"/>
                <a:gd name="connsiteX1" fmla="*/ 0 w 74072"/>
                <a:gd name="connsiteY1" fmla="*/ 0 h 408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4072" h="40862">
                  <a:moveTo>
                    <a:pt x="74073" y="40863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61" name="Forma livre: Forma 1260">
              <a:extLst>
                <a:ext uri="{FF2B5EF4-FFF2-40B4-BE49-F238E27FC236}">
                  <a16:creationId xmlns:a16="http://schemas.microsoft.com/office/drawing/2014/main" id="{2839C830-E725-651E-64CC-B127FB555129}"/>
                </a:ext>
              </a:extLst>
            </p:cNvPr>
            <p:cNvSpPr/>
            <p:nvPr/>
          </p:nvSpPr>
          <p:spPr>
            <a:xfrm>
              <a:off x="6984399" y="5482584"/>
              <a:ext cx="75740" cy="42137"/>
            </a:xfrm>
            <a:custGeom>
              <a:avLst/>
              <a:gdLst>
                <a:gd name="connsiteX0" fmla="*/ 75740 w 75740"/>
                <a:gd name="connsiteY0" fmla="*/ 42138 h 42137"/>
                <a:gd name="connsiteX1" fmla="*/ 0 w 75740"/>
                <a:gd name="connsiteY1" fmla="*/ 0 h 421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5740" h="42137">
                  <a:moveTo>
                    <a:pt x="75740" y="42138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62" name="Forma livre: Forma 1261">
              <a:extLst>
                <a:ext uri="{FF2B5EF4-FFF2-40B4-BE49-F238E27FC236}">
                  <a16:creationId xmlns:a16="http://schemas.microsoft.com/office/drawing/2014/main" id="{61C8D2F4-7FB2-1F85-F312-9628DE1BD16A}"/>
                </a:ext>
              </a:extLst>
            </p:cNvPr>
            <p:cNvSpPr/>
            <p:nvPr/>
          </p:nvSpPr>
          <p:spPr>
            <a:xfrm>
              <a:off x="7137009" y="5346801"/>
              <a:ext cx="111844" cy="153884"/>
            </a:xfrm>
            <a:custGeom>
              <a:avLst/>
              <a:gdLst>
                <a:gd name="connsiteX0" fmla="*/ 0 w 111844"/>
                <a:gd name="connsiteY0" fmla="*/ 153885 h 153884"/>
                <a:gd name="connsiteX1" fmla="*/ 85110 w 111844"/>
                <a:gd name="connsiteY1" fmla="*/ 196 h 153884"/>
                <a:gd name="connsiteX2" fmla="*/ 111845 w 111844"/>
                <a:gd name="connsiteY2" fmla="*/ 0 h 1538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11844" h="153884">
                  <a:moveTo>
                    <a:pt x="0" y="153885"/>
                  </a:moveTo>
                  <a:lnTo>
                    <a:pt x="85110" y="196"/>
                  </a:lnTo>
                  <a:lnTo>
                    <a:pt x="111845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63" name="Forma livre: Forma 1262">
              <a:extLst>
                <a:ext uri="{FF2B5EF4-FFF2-40B4-BE49-F238E27FC236}">
                  <a16:creationId xmlns:a16="http://schemas.microsoft.com/office/drawing/2014/main" id="{45FF742C-7974-9CEA-167F-42C6A05123F8}"/>
                </a:ext>
              </a:extLst>
            </p:cNvPr>
            <p:cNvSpPr/>
            <p:nvPr/>
          </p:nvSpPr>
          <p:spPr>
            <a:xfrm>
              <a:off x="7078749" y="5514684"/>
              <a:ext cx="60105" cy="60105"/>
            </a:xfrm>
            <a:custGeom>
              <a:avLst/>
              <a:gdLst>
                <a:gd name="connsiteX0" fmla="*/ 56346 w 60105"/>
                <a:gd name="connsiteY0" fmla="*/ 44573 h 60105"/>
                <a:gd name="connsiteX1" fmla="*/ 15533 w 60105"/>
                <a:gd name="connsiteY1" fmla="*/ 56346 h 60105"/>
                <a:gd name="connsiteX2" fmla="*/ 3760 w 60105"/>
                <a:gd name="connsiteY2" fmla="*/ 15533 h 60105"/>
                <a:gd name="connsiteX3" fmla="*/ 44573 w 60105"/>
                <a:gd name="connsiteY3" fmla="*/ 3760 h 60105"/>
                <a:gd name="connsiteX4" fmla="*/ 56346 w 60105"/>
                <a:gd name="connsiteY4" fmla="*/ 44573 h 601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105" h="60105">
                  <a:moveTo>
                    <a:pt x="56346" y="44573"/>
                  </a:moveTo>
                  <a:cubicBezTo>
                    <a:pt x="48350" y="59093"/>
                    <a:pt x="30053" y="64391"/>
                    <a:pt x="15533" y="56346"/>
                  </a:cubicBezTo>
                  <a:cubicBezTo>
                    <a:pt x="1013" y="48350"/>
                    <a:pt x="-4285" y="30053"/>
                    <a:pt x="3760" y="15533"/>
                  </a:cubicBezTo>
                  <a:cubicBezTo>
                    <a:pt x="11756" y="1013"/>
                    <a:pt x="30053" y="-4285"/>
                    <a:pt x="44573" y="3760"/>
                  </a:cubicBezTo>
                  <a:cubicBezTo>
                    <a:pt x="59093" y="11756"/>
                    <a:pt x="64391" y="30053"/>
                    <a:pt x="56346" y="44573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64" name="Forma livre: Forma 1263">
              <a:extLst>
                <a:ext uri="{FF2B5EF4-FFF2-40B4-BE49-F238E27FC236}">
                  <a16:creationId xmlns:a16="http://schemas.microsoft.com/office/drawing/2014/main" id="{E960B410-149F-C406-E64B-F4C0B2E49470}"/>
                </a:ext>
              </a:extLst>
            </p:cNvPr>
            <p:cNvSpPr/>
            <p:nvPr/>
          </p:nvSpPr>
          <p:spPr>
            <a:xfrm>
              <a:off x="7249933" y="5330270"/>
              <a:ext cx="59699" cy="34338"/>
            </a:xfrm>
            <a:custGeom>
              <a:avLst/>
              <a:gdLst>
                <a:gd name="connsiteX0" fmla="*/ 48564 w 59699"/>
                <a:gd name="connsiteY0" fmla="*/ 0 h 34338"/>
                <a:gd name="connsiteX1" fmla="*/ 59700 w 59699"/>
                <a:gd name="connsiteY1" fmla="*/ 11135 h 34338"/>
                <a:gd name="connsiteX2" fmla="*/ 59700 w 59699"/>
                <a:gd name="connsiteY2" fmla="*/ 23203 h 34338"/>
                <a:gd name="connsiteX3" fmla="*/ 48564 w 59699"/>
                <a:gd name="connsiteY3" fmla="*/ 34338 h 34338"/>
                <a:gd name="connsiteX4" fmla="*/ 11135 w 59699"/>
                <a:gd name="connsiteY4" fmla="*/ 34338 h 34338"/>
                <a:gd name="connsiteX5" fmla="*/ 0 w 59699"/>
                <a:gd name="connsiteY5" fmla="*/ 23203 h 34338"/>
                <a:gd name="connsiteX6" fmla="*/ 0 w 59699"/>
                <a:gd name="connsiteY6" fmla="*/ 11135 h 34338"/>
                <a:gd name="connsiteX7" fmla="*/ 11135 w 59699"/>
                <a:gd name="connsiteY7" fmla="*/ 0 h 343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9699" h="34338">
                  <a:moveTo>
                    <a:pt x="48564" y="0"/>
                  </a:moveTo>
                  <a:cubicBezTo>
                    <a:pt x="54714" y="0"/>
                    <a:pt x="59700" y="4985"/>
                    <a:pt x="59700" y="11135"/>
                  </a:cubicBezTo>
                  <a:lnTo>
                    <a:pt x="59700" y="23203"/>
                  </a:lnTo>
                  <a:cubicBezTo>
                    <a:pt x="59700" y="29353"/>
                    <a:pt x="54714" y="34338"/>
                    <a:pt x="48564" y="34338"/>
                  </a:cubicBezTo>
                  <a:lnTo>
                    <a:pt x="11135" y="34338"/>
                  </a:lnTo>
                  <a:cubicBezTo>
                    <a:pt x="4985" y="34338"/>
                    <a:pt x="0" y="29353"/>
                    <a:pt x="0" y="23203"/>
                  </a:cubicBezTo>
                  <a:lnTo>
                    <a:pt x="0" y="11135"/>
                  </a:lnTo>
                  <a:cubicBezTo>
                    <a:pt x="0" y="4985"/>
                    <a:pt x="4985" y="0"/>
                    <a:pt x="11135" y="0"/>
                  </a:cubicBez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266" name="Gráfico 14">
            <a:extLst>
              <a:ext uri="{FF2B5EF4-FFF2-40B4-BE49-F238E27FC236}">
                <a16:creationId xmlns:a16="http://schemas.microsoft.com/office/drawing/2014/main" id="{747A8CE0-0F1B-7F0E-270B-CDB2AD26CA84}"/>
              </a:ext>
            </a:extLst>
          </p:cNvPr>
          <p:cNvGrpSpPr/>
          <p:nvPr/>
        </p:nvGrpSpPr>
        <p:grpSpPr>
          <a:xfrm>
            <a:off x="8167146" y="3643998"/>
            <a:ext cx="304968" cy="262262"/>
            <a:chOff x="8167146" y="3643998"/>
            <a:chExt cx="304968" cy="262262"/>
          </a:xfrm>
          <a:noFill/>
        </p:grpSpPr>
        <p:sp>
          <p:nvSpPr>
            <p:cNvPr id="1267" name="Forma livre: Forma 1266">
              <a:extLst>
                <a:ext uri="{FF2B5EF4-FFF2-40B4-BE49-F238E27FC236}">
                  <a16:creationId xmlns:a16="http://schemas.microsoft.com/office/drawing/2014/main" id="{4C5E5D32-CEDF-B1FD-BC12-93497A170386}"/>
                </a:ext>
              </a:extLst>
            </p:cNvPr>
            <p:cNvSpPr/>
            <p:nvPr/>
          </p:nvSpPr>
          <p:spPr>
            <a:xfrm>
              <a:off x="8201941" y="3681737"/>
              <a:ext cx="26453" cy="71031"/>
            </a:xfrm>
            <a:custGeom>
              <a:avLst/>
              <a:gdLst>
                <a:gd name="connsiteX0" fmla="*/ 26454 w 26453"/>
                <a:gd name="connsiteY0" fmla="*/ 0 h 71031"/>
                <a:gd name="connsiteX1" fmla="*/ 12228 w 26453"/>
                <a:gd name="connsiteY1" fmla="*/ 9271 h 71031"/>
                <a:gd name="connsiteX2" fmla="*/ 13356 w 26453"/>
                <a:gd name="connsiteY2" fmla="*/ 71031 h 710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6453" h="71031">
                  <a:moveTo>
                    <a:pt x="26454" y="0"/>
                  </a:moveTo>
                  <a:cubicBezTo>
                    <a:pt x="21254" y="2011"/>
                    <a:pt x="16398" y="5102"/>
                    <a:pt x="12228" y="9271"/>
                  </a:cubicBezTo>
                  <a:cubicBezTo>
                    <a:pt x="-4500" y="25999"/>
                    <a:pt x="-4009" y="53715"/>
                    <a:pt x="13356" y="71031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68" name="Forma livre: Forma 1267">
              <a:extLst>
                <a:ext uri="{FF2B5EF4-FFF2-40B4-BE49-F238E27FC236}">
                  <a16:creationId xmlns:a16="http://schemas.microsoft.com/office/drawing/2014/main" id="{93FB54FC-CAB1-DD3D-F95A-C37D4D80162C}"/>
                </a:ext>
              </a:extLst>
            </p:cNvPr>
            <p:cNvSpPr/>
            <p:nvPr/>
          </p:nvSpPr>
          <p:spPr>
            <a:xfrm>
              <a:off x="8167146" y="3643998"/>
              <a:ext cx="304968" cy="262262"/>
            </a:xfrm>
            <a:custGeom>
              <a:avLst/>
              <a:gdLst>
                <a:gd name="connsiteX0" fmla="*/ 281504 w 304968"/>
                <a:gd name="connsiteY0" fmla="*/ 133445 h 262262"/>
                <a:gd name="connsiteX1" fmla="*/ 282584 w 304968"/>
                <a:gd name="connsiteY1" fmla="*/ 22385 h 262262"/>
                <a:gd name="connsiteX2" fmla="*/ 171524 w 304968"/>
                <a:gd name="connsiteY2" fmla="*/ 23464 h 262262"/>
                <a:gd name="connsiteX3" fmla="*/ 152392 w 304968"/>
                <a:gd name="connsiteY3" fmla="*/ 42448 h 262262"/>
                <a:gd name="connsiteX4" fmla="*/ 133408 w 304968"/>
                <a:gd name="connsiteY4" fmla="*/ 23464 h 262262"/>
                <a:gd name="connsiteX5" fmla="*/ 22348 w 304968"/>
                <a:gd name="connsiteY5" fmla="*/ 22385 h 262262"/>
                <a:gd name="connsiteX6" fmla="*/ 23427 w 304968"/>
                <a:gd name="connsiteY6" fmla="*/ 133445 h 262262"/>
                <a:gd name="connsiteX7" fmla="*/ 152441 w 304968"/>
                <a:gd name="connsiteY7" fmla="*/ 262262 h 262262"/>
                <a:gd name="connsiteX8" fmla="*/ 281504 w 304968"/>
                <a:gd name="connsiteY8" fmla="*/ 133445 h 2622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04968" h="262262">
                  <a:moveTo>
                    <a:pt x="281504" y="133445"/>
                  </a:moveTo>
                  <a:cubicBezTo>
                    <a:pt x="312360" y="102589"/>
                    <a:pt x="312850" y="52603"/>
                    <a:pt x="282584" y="22385"/>
                  </a:cubicBezTo>
                  <a:cubicBezTo>
                    <a:pt x="252366" y="-7833"/>
                    <a:pt x="202379" y="-7342"/>
                    <a:pt x="171524" y="23464"/>
                  </a:cubicBezTo>
                  <a:lnTo>
                    <a:pt x="152392" y="42448"/>
                  </a:lnTo>
                  <a:lnTo>
                    <a:pt x="133408" y="23464"/>
                  </a:lnTo>
                  <a:cubicBezTo>
                    <a:pt x="102553" y="-7391"/>
                    <a:pt x="52566" y="-7882"/>
                    <a:pt x="22348" y="22385"/>
                  </a:cubicBezTo>
                  <a:cubicBezTo>
                    <a:pt x="-7869" y="52652"/>
                    <a:pt x="-7379" y="102638"/>
                    <a:pt x="23427" y="133445"/>
                  </a:cubicBezTo>
                  <a:lnTo>
                    <a:pt x="152441" y="262262"/>
                  </a:lnTo>
                  <a:lnTo>
                    <a:pt x="281504" y="133445"/>
                  </a:ln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269" name="Gráfico 14">
            <a:extLst>
              <a:ext uri="{FF2B5EF4-FFF2-40B4-BE49-F238E27FC236}">
                <a16:creationId xmlns:a16="http://schemas.microsoft.com/office/drawing/2014/main" id="{0EB06C02-E354-0187-A574-78F08B5735A8}"/>
              </a:ext>
            </a:extLst>
          </p:cNvPr>
          <p:cNvGrpSpPr/>
          <p:nvPr/>
        </p:nvGrpSpPr>
        <p:grpSpPr>
          <a:xfrm>
            <a:off x="8147356" y="4193427"/>
            <a:ext cx="344560" cy="276717"/>
            <a:chOff x="8147356" y="4193427"/>
            <a:chExt cx="344560" cy="276717"/>
          </a:xfrm>
          <a:noFill/>
        </p:grpSpPr>
        <p:sp>
          <p:nvSpPr>
            <p:cNvPr id="1270" name="Forma livre: Forma 1269">
              <a:extLst>
                <a:ext uri="{FF2B5EF4-FFF2-40B4-BE49-F238E27FC236}">
                  <a16:creationId xmlns:a16="http://schemas.microsoft.com/office/drawing/2014/main" id="{C5A09B18-4563-3ECB-97B8-F5B2CCED7FBF}"/>
                </a:ext>
              </a:extLst>
            </p:cNvPr>
            <p:cNvSpPr/>
            <p:nvPr/>
          </p:nvSpPr>
          <p:spPr>
            <a:xfrm>
              <a:off x="8221022" y="4282037"/>
              <a:ext cx="109307" cy="94069"/>
            </a:xfrm>
            <a:custGeom>
              <a:avLst/>
              <a:gdLst>
                <a:gd name="connsiteX0" fmla="*/ 100968 w 109307"/>
                <a:gd name="connsiteY0" fmla="*/ 47860 h 94069"/>
                <a:gd name="connsiteX1" fmla="*/ 54710 w 109307"/>
                <a:gd name="connsiteY1" fmla="*/ 94070 h 94069"/>
                <a:gd name="connsiteX2" fmla="*/ 8402 w 109307"/>
                <a:gd name="connsiteY2" fmla="*/ 47860 h 94069"/>
                <a:gd name="connsiteX3" fmla="*/ 8010 w 109307"/>
                <a:gd name="connsiteY3" fmla="*/ 8028 h 94069"/>
                <a:gd name="connsiteX4" fmla="*/ 47842 w 109307"/>
                <a:gd name="connsiteY4" fmla="*/ 8420 h 94069"/>
                <a:gd name="connsiteX5" fmla="*/ 54661 w 109307"/>
                <a:gd name="connsiteY5" fmla="*/ 15239 h 94069"/>
                <a:gd name="connsiteX6" fmla="*/ 61479 w 109307"/>
                <a:gd name="connsiteY6" fmla="*/ 8420 h 94069"/>
                <a:gd name="connsiteX7" fmla="*/ 101312 w 109307"/>
                <a:gd name="connsiteY7" fmla="*/ 8028 h 94069"/>
                <a:gd name="connsiteX8" fmla="*/ 109308 w 109307"/>
                <a:gd name="connsiteY8" fmla="*/ 26570 h 940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09307" h="94069">
                  <a:moveTo>
                    <a:pt x="100968" y="47860"/>
                  </a:moveTo>
                  <a:lnTo>
                    <a:pt x="54710" y="94070"/>
                  </a:lnTo>
                  <a:lnTo>
                    <a:pt x="8402" y="47860"/>
                  </a:lnTo>
                  <a:cubicBezTo>
                    <a:pt x="-2635" y="36774"/>
                    <a:pt x="-2831" y="18869"/>
                    <a:pt x="8010" y="8028"/>
                  </a:cubicBezTo>
                  <a:cubicBezTo>
                    <a:pt x="18851" y="-2813"/>
                    <a:pt x="36805" y="-2666"/>
                    <a:pt x="47842" y="8420"/>
                  </a:cubicBezTo>
                  <a:lnTo>
                    <a:pt x="54661" y="15239"/>
                  </a:lnTo>
                  <a:lnTo>
                    <a:pt x="61479" y="8420"/>
                  </a:lnTo>
                  <a:cubicBezTo>
                    <a:pt x="72566" y="-2666"/>
                    <a:pt x="90471" y="-2813"/>
                    <a:pt x="101312" y="8028"/>
                  </a:cubicBezTo>
                  <a:cubicBezTo>
                    <a:pt x="106413" y="13130"/>
                    <a:pt x="109062" y="19801"/>
                    <a:pt x="109308" y="26570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71" name="Forma livre: Forma 1270">
              <a:extLst>
                <a:ext uri="{FF2B5EF4-FFF2-40B4-BE49-F238E27FC236}">
                  <a16:creationId xmlns:a16="http://schemas.microsoft.com/office/drawing/2014/main" id="{61D461A1-65CC-05D4-0476-F9812E51158F}"/>
                </a:ext>
              </a:extLst>
            </p:cNvPr>
            <p:cNvSpPr/>
            <p:nvPr/>
          </p:nvSpPr>
          <p:spPr>
            <a:xfrm>
              <a:off x="8147356" y="4193427"/>
              <a:ext cx="256458" cy="256605"/>
            </a:xfrm>
            <a:custGeom>
              <a:avLst/>
              <a:gdLst>
                <a:gd name="connsiteX0" fmla="*/ 256458 w 256458"/>
                <a:gd name="connsiteY0" fmla="*/ 135783 h 256605"/>
                <a:gd name="connsiteX1" fmla="*/ 128376 w 256458"/>
                <a:gd name="connsiteY1" fmla="*/ 256605 h 256605"/>
                <a:gd name="connsiteX2" fmla="*/ 0 w 256458"/>
                <a:gd name="connsiteY2" fmla="*/ 128327 h 256605"/>
                <a:gd name="connsiteX3" fmla="*/ 128327 w 256458"/>
                <a:gd name="connsiteY3" fmla="*/ 0 h 256605"/>
                <a:gd name="connsiteX4" fmla="*/ 255968 w 256458"/>
                <a:gd name="connsiteY4" fmla="*/ 115180 h 2566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6458" h="256605">
                  <a:moveTo>
                    <a:pt x="256458" y="135783"/>
                  </a:moveTo>
                  <a:cubicBezTo>
                    <a:pt x="252583" y="203185"/>
                    <a:pt x="196709" y="256605"/>
                    <a:pt x="128376" y="256605"/>
                  </a:cubicBezTo>
                  <a:cubicBezTo>
                    <a:pt x="60043" y="256605"/>
                    <a:pt x="0" y="199162"/>
                    <a:pt x="0" y="128327"/>
                  </a:cubicBezTo>
                  <a:cubicBezTo>
                    <a:pt x="0" y="57492"/>
                    <a:pt x="57443" y="0"/>
                    <a:pt x="128327" y="0"/>
                  </a:cubicBezTo>
                  <a:cubicBezTo>
                    <a:pt x="194747" y="0"/>
                    <a:pt x="249394" y="50477"/>
                    <a:pt x="255968" y="115180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72" name="Forma livre: Forma 1271">
              <a:extLst>
                <a:ext uri="{FF2B5EF4-FFF2-40B4-BE49-F238E27FC236}">
                  <a16:creationId xmlns:a16="http://schemas.microsoft.com/office/drawing/2014/main" id="{14C8386E-68E1-AFB9-9444-6F66F0D9A006}"/>
                </a:ext>
              </a:extLst>
            </p:cNvPr>
            <p:cNvSpPr/>
            <p:nvPr/>
          </p:nvSpPr>
          <p:spPr>
            <a:xfrm>
              <a:off x="8180909" y="4226931"/>
              <a:ext cx="189253" cy="189596"/>
            </a:xfrm>
            <a:custGeom>
              <a:avLst/>
              <a:gdLst>
                <a:gd name="connsiteX0" fmla="*/ 189253 w 189253"/>
                <a:gd name="connsiteY0" fmla="*/ 102721 h 189596"/>
                <a:gd name="connsiteX1" fmla="*/ 94774 w 189253"/>
                <a:gd name="connsiteY1" fmla="*/ 189596 h 189596"/>
                <a:gd name="connsiteX2" fmla="*/ 0 w 189253"/>
                <a:gd name="connsiteY2" fmla="*/ 94823 h 189596"/>
                <a:gd name="connsiteX3" fmla="*/ 94774 w 189253"/>
                <a:gd name="connsiteY3" fmla="*/ 0 h 189596"/>
                <a:gd name="connsiteX4" fmla="*/ 188566 w 189253"/>
                <a:gd name="connsiteY4" fmla="*/ 80989 h 1895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9253" h="189596">
                  <a:moveTo>
                    <a:pt x="189253" y="102721"/>
                  </a:moveTo>
                  <a:cubicBezTo>
                    <a:pt x="185231" y="151383"/>
                    <a:pt x="144466" y="189596"/>
                    <a:pt x="94774" y="189596"/>
                  </a:cubicBezTo>
                  <a:cubicBezTo>
                    <a:pt x="42432" y="189596"/>
                    <a:pt x="0" y="147164"/>
                    <a:pt x="0" y="94823"/>
                  </a:cubicBezTo>
                  <a:cubicBezTo>
                    <a:pt x="0" y="42481"/>
                    <a:pt x="42432" y="0"/>
                    <a:pt x="94774" y="0"/>
                  </a:cubicBezTo>
                  <a:cubicBezTo>
                    <a:pt x="142455" y="0"/>
                    <a:pt x="181895" y="35172"/>
                    <a:pt x="188566" y="80989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273" name="Gráfico 14">
              <a:extLst>
                <a:ext uri="{FF2B5EF4-FFF2-40B4-BE49-F238E27FC236}">
                  <a16:creationId xmlns:a16="http://schemas.microsoft.com/office/drawing/2014/main" id="{B7BCB7B9-51F2-7D65-931C-5B7F5B08C6EE}"/>
                </a:ext>
              </a:extLst>
            </p:cNvPr>
            <p:cNvGrpSpPr/>
            <p:nvPr/>
          </p:nvGrpSpPr>
          <p:grpSpPr>
            <a:xfrm>
              <a:off x="8166487" y="4443066"/>
              <a:ext cx="216969" cy="27078"/>
              <a:chOff x="8166487" y="4443066"/>
              <a:chExt cx="216969" cy="27078"/>
            </a:xfrm>
          </p:grpSpPr>
          <p:grpSp>
            <p:nvGrpSpPr>
              <p:cNvPr id="1274" name="Gráfico 14">
                <a:extLst>
                  <a:ext uri="{FF2B5EF4-FFF2-40B4-BE49-F238E27FC236}">
                    <a16:creationId xmlns:a16="http://schemas.microsoft.com/office/drawing/2014/main" id="{0EB6A922-1607-B3A9-B5AD-F422AC320E88}"/>
                  </a:ext>
                </a:extLst>
              </p:cNvPr>
              <p:cNvGrpSpPr/>
              <p:nvPr/>
            </p:nvGrpSpPr>
            <p:grpSpPr>
              <a:xfrm>
                <a:off x="8166487" y="4443066"/>
                <a:ext cx="15256" cy="27078"/>
                <a:chOff x="8166487" y="4443066"/>
                <a:chExt cx="15256" cy="27078"/>
              </a:xfrm>
            </p:grpSpPr>
            <p:sp>
              <p:nvSpPr>
                <p:cNvPr id="1275" name="Forma livre: Forma 1274">
                  <a:extLst>
                    <a:ext uri="{FF2B5EF4-FFF2-40B4-BE49-F238E27FC236}">
                      <a16:creationId xmlns:a16="http://schemas.microsoft.com/office/drawing/2014/main" id="{1324FECD-DB82-79C4-F09F-E8D2B591DACE}"/>
                    </a:ext>
                  </a:extLst>
                </p:cNvPr>
                <p:cNvSpPr/>
                <p:nvPr/>
              </p:nvSpPr>
              <p:spPr>
                <a:xfrm>
                  <a:off x="8166487" y="4457783"/>
                  <a:ext cx="6965" cy="12361"/>
                </a:xfrm>
                <a:custGeom>
                  <a:avLst/>
                  <a:gdLst>
                    <a:gd name="connsiteX0" fmla="*/ 0 w 6965"/>
                    <a:gd name="connsiteY0" fmla="*/ 12362 h 12361"/>
                    <a:gd name="connsiteX1" fmla="*/ 6966 w 6965"/>
                    <a:gd name="connsiteY1" fmla="*/ 0 h 1236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6965" h="12361">
                      <a:moveTo>
                        <a:pt x="0" y="12362"/>
                      </a:moveTo>
                      <a:lnTo>
                        <a:pt x="6966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276" name="Forma livre: Forma 1275">
                  <a:extLst>
                    <a:ext uri="{FF2B5EF4-FFF2-40B4-BE49-F238E27FC236}">
                      <a16:creationId xmlns:a16="http://schemas.microsoft.com/office/drawing/2014/main" id="{6012C46B-65E8-1EB1-BBD8-CCA4FCB88B8D}"/>
                    </a:ext>
                  </a:extLst>
                </p:cNvPr>
                <p:cNvSpPr/>
                <p:nvPr/>
              </p:nvSpPr>
              <p:spPr>
                <a:xfrm>
                  <a:off x="8171736" y="4443066"/>
                  <a:ext cx="10007" cy="17757"/>
                </a:xfrm>
                <a:custGeom>
                  <a:avLst/>
                  <a:gdLst>
                    <a:gd name="connsiteX0" fmla="*/ 0 w 10007"/>
                    <a:gd name="connsiteY0" fmla="*/ 17758 h 17757"/>
                    <a:gd name="connsiteX1" fmla="*/ 10007 w 10007"/>
                    <a:gd name="connsiteY1" fmla="*/ 0 h 1775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0007" h="17757">
                      <a:moveTo>
                        <a:pt x="0" y="17758"/>
                      </a:moveTo>
                      <a:lnTo>
                        <a:pt x="10007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1277" name="Gráfico 14">
                <a:extLst>
                  <a:ext uri="{FF2B5EF4-FFF2-40B4-BE49-F238E27FC236}">
                    <a16:creationId xmlns:a16="http://schemas.microsoft.com/office/drawing/2014/main" id="{54E3EAD7-545B-8D91-480D-9BF6B0FF1ACD}"/>
                  </a:ext>
                </a:extLst>
              </p:cNvPr>
              <p:cNvGrpSpPr/>
              <p:nvPr/>
            </p:nvGrpSpPr>
            <p:grpSpPr>
              <a:xfrm>
                <a:off x="8368200" y="4443066"/>
                <a:ext cx="15256" cy="27078"/>
                <a:chOff x="8368200" y="4443066"/>
                <a:chExt cx="15256" cy="27078"/>
              </a:xfrm>
            </p:grpSpPr>
            <p:sp>
              <p:nvSpPr>
                <p:cNvPr id="1278" name="Forma livre: Forma 1277">
                  <a:extLst>
                    <a:ext uri="{FF2B5EF4-FFF2-40B4-BE49-F238E27FC236}">
                      <a16:creationId xmlns:a16="http://schemas.microsoft.com/office/drawing/2014/main" id="{44BCFB94-0C6D-F757-FEB6-111415568565}"/>
                    </a:ext>
                  </a:extLst>
                </p:cNvPr>
                <p:cNvSpPr/>
                <p:nvPr/>
              </p:nvSpPr>
              <p:spPr>
                <a:xfrm>
                  <a:off x="8376491" y="4457783"/>
                  <a:ext cx="6965" cy="12361"/>
                </a:xfrm>
                <a:custGeom>
                  <a:avLst/>
                  <a:gdLst>
                    <a:gd name="connsiteX0" fmla="*/ 6966 w 6965"/>
                    <a:gd name="connsiteY0" fmla="*/ 12362 h 12361"/>
                    <a:gd name="connsiteX1" fmla="*/ 0 w 6965"/>
                    <a:gd name="connsiteY1" fmla="*/ 0 h 1236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6965" h="12361">
                      <a:moveTo>
                        <a:pt x="6966" y="12362"/>
                      </a:moveTo>
                      <a:lnTo>
                        <a:pt x="0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279" name="Forma livre: Forma 1278">
                  <a:extLst>
                    <a:ext uri="{FF2B5EF4-FFF2-40B4-BE49-F238E27FC236}">
                      <a16:creationId xmlns:a16="http://schemas.microsoft.com/office/drawing/2014/main" id="{F0E8D198-8023-4F85-BE92-FCFECE577231}"/>
                    </a:ext>
                  </a:extLst>
                </p:cNvPr>
                <p:cNvSpPr/>
                <p:nvPr/>
              </p:nvSpPr>
              <p:spPr>
                <a:xfrm>
                  <a:off x="8368200" y="4443066"/>
                  <a:ext cx="10007" cy="17757"/>
                </a:xfrm>
                <a:custGeom>
                  <a:avLst/>
                  <a:gdLst>
                    <a:gd name="connsiteX0" fmla="*/ 10007 w 10007"/>
                    <a:gd name="connsiteY0" fmla="*/ 17758 h 17757"/>
                    <a:gd name="connsiteX1" fmla="*/ 0 w 10007"/>
                    <a:gd name="connsiteY1" fmla="*/ 0 h 1775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0007" h="17757">
                      <a:moveTo>
                        <a:pt x="10007" y="17758"/>
                      </a:moveTo>
                      <a:lnTo>
                        <a:pt x="0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grpSp>
          <p:nvGrpSpPr>
            <p:cNvPr id="1280" name="Gráfico 14">
              <a:extLst>
                <a:ext uri="{FF2B5EF4-FFF2-40B4-BE49-F238E27FC236}">
                  <a16:creationId xmlns:a16="http://schemas.microsoft.com/office/drawing/2014/main" id="{43400FE4-F069-24E4-C2DF-0D530545F9C1}"/>
                </a:ext>
              </a:extLst>
            </p:cNvPr>
            <p:cNvGrpSpPr/>
            <p:nvPr/>
          </p:nvGrpSpPr>
          <p:grpSpPr>
            <a:xfrm>
              <a:off x="8279117" y="4300121"/>
              <a:ext cx="212799" cy="57639"/>
              <a:chOff x="8279117" y="4300121"/>
              <a:chExt cx="212799" cy="57639"/>
            </a:xfrm>
          </p:grpSpPr>
          <p:sp>
            <p:nvSpPr>
              <p:cNvPr id="1281" name="Forma livre: Forma 1280">
                <a:extLst>
                  <a:ext uri="{FF2B5EF4-FFF2-40B4-BE49-F238E27FC236}">
                    <a16:creationId xmlns:a16="http://schemas.microsoft.com/office/drawing/2014/main" id="{CA954638-4DE0-B895-2ED1-DFCB83CC2C66}"/>
                  </a:ext>
                </a:extLst>
              </p:cNvPr>
              <p:cNvSpPr/>
              <p:nvPr/>
            </p:nvSpPr>
            <p:spPr>
              <a:xfrm>
                <a:off x="8279117" y="4328965"/>
                <a:ext cx="189596" cy="49"/>
              </a:xfrm>
              <a:custGeom>
                <a:avLst/>
                <a:gdLst>
                  <a:gd name="connsiteX0" fmla="*/ 0 w 189596"/>
                  <a:gd name="connsiteY0" fmla="*/ 0 h 49"/>
                  <a:gd name="connsiteX1" fmla="*/ 189596 w 189596"/>
                  <a:gd name="connsiteY1" fmla="*/ 49 h 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89596" h="49">
                    <a:moveTo>
                      <a:pt x="0" y="0"/>
                    </a:moveTo>
                    <a:lnTo>
                      <a:pt x="189596" y="49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82" name="Forma livre: Forma 1281">
                <a:extLst>
                  <a:ext uri="{FF2B5EF4-FFF2-40B4-BE49-F238E27FC236}">
                    <a16:creationId xmlns:a16="http://schemas.microsoft.com/office/drawing/2014/main" id="{1DA5E98A-7D82-8C8F-24BD-0435919EA4AE}"/>
                  </a:ext>
                </a:extLst>
              </p:cNvPr>
              <p:cNvSpPr/>
              <p:nvPr/>
            </p:nvSpPr>
            <p:spPr>
              <a:xfrm>
                <a:off x="8468714" y="4300121"/>
                <a:ext cx="23202" cy="28893"/>
              </a:xfrm>
              <a:custGeom>
                <a:avLst/>
                <a:gdLst>
                  <a:gd name="connsiteX0" fmla="*/ 0 w 23202"/>
                  <a:gd name="connsiteY0" fmla="*/ 28893 h 28893"/>
                  <a:gd name="connsiteX1" fmla="*/ 23203 w 23202"/>
                  <a:gd name="connsiteY1" fmla="*/ 0 h 288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3202" h="28893">
                    <a:moveTo>
                      <a:pt x="0" y="28893"/>
                    </a:moveTo>
                    <a:lnTo>
                      <a:pt x="23203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83" name="Forma livre: Forma 1282">
                <a:extLst>
                  <a:ext uri="{FF2B5EF4-FFF2-40B4-BE49-F238E27FC236}">
                    <a16:creationId xmlns:a16="http://schemas.microsoft.com/office/drawing/2014/main" id="{4620875E-FF60-AE3E-D882-DCEC7D2BD13D}"/>
                  </a:ext>
                </a:extLst>
              </p:cNvPr>
              <p:cNvSpPr/>
              <p:nvPr/>
            </p:nvSpPr>
            <p:spPr>
              <a:xfrm>
                <a:off x="8468714" y="4328916"/>
                <a:ext cx="23202" cy="28844"/>
              </a:xfrm>
              <a:custGeom>
                <a:avLst/>
                <a:gdLst>
                  <a:gd name="connsiteX0" fmla="*/ 23203 w 23202"/>
                  <a:gd name="connsiteY0" fmla="*/ 28844 h 28844"/>
                  <a:gd name="connsiteX1" fmla="*/ 0 w 23202"/>
                  <a:gd name="connsiteY1" fmla="*/ 0 h 28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3202" h="28844">
                    <a:moveTo>
                      <a:pt x="23203" y="28844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84" name="Forma livre: Forma 1283">
                <a:extLst>
                  <a:ext uri="{FF2B5EF4-FFF2-40B4-BE49-F238E27FC236}">
                    <a16:creationId xmlns:a16="http://schemas.microsoft.com/office/drawing/2014/main" id="{1DCA3758-4CE9-B882-7298-B6E5E659EAC2}"/>
                  </a:ext>
                </a:extLst>
              </p:cNvPr>
              <p:cNvSpPr/>
              <p:nvPr/>
            </p:nvSpPr>
            <p:spPr>
              <a:xfrm>
                <a:off x="8425006" y="4300121"/>
                <a:ext cx="23202" cy="28893"/>
              </a:xfrm>
              <a:custGeom>
                <a:avLst/>
                <a:gdLst>
                  <a:gd name="connsiteX0" fmla="*/ 0 w 23202"/>
                  <a:gd name="connsiteY0" fmla="*/ 28893 h 28893"/>
                  <a:gd name="connsiteX1" fmla="*/ 23203 w 23202"/>
                  <a:gd name="connsiteY1" fmla="*/ 0 h 288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3202" h="28893">
                    <a:moveTo>
                      <a:pt x="0" y="28893"/>
                    </a:moveTo>
                    <a:lnTo>
                      <a:pt x="23203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85" name="Forma livre: Forma 1284">
                <a:extLst>
                  <a:ext uri="{FF2B5EF4-FFF2-40B4-BE49-F238E27FC236}">
                    <a16:creationId xmlns:a16="http://schemas.microsoft.com/office/drawing/2014/main" id="{A381E8B8-9D36-826E-6DD0-A565B5E3F1DC}"/>
                  </a:ext>
                </a:extLst>
              </p:cNvPr>
              <p:cNvSpPr/>
              <p:nvPr/>
            </p:nvSpPr>
            <p:spPr>
              <a:xfrm>
                <a:off x="8425006" y="4328916"/>
                <a:ext cx="23202" cy="28844"/>
              </a:xfrm>
              <a:custGeom>
                <a:avLst/>
                <a:gdLst>
                  <a:gd name="connsiteX0" fmla="*/ 23203 w 23202"/>
                  <a:gd name="connsiteY0" fmla="*/ 28844 h 28844"/>
                  <a:gd name="connsiteX1" fmla="*/ 0 w 23202"/>
                  <a:gd name="connsiteY1" fmla="*/ 0 h 28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3202" h="28844">
                    <a:moveTo>
                      <a:pt x="23203" y="28844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286" name="Gráfico 14">
            <a:extLst>
              <a:ext uri="{FF2B5EF4-FFF2-40B4-BE49-F238E27FC236}">
                <a16:creationId xmlns:a16="http://schemas.microsoft.com/office/drawing/2014/main" id="{C6F5CF21-B36A-B99F-ABA7-8098A60A51BC}"/>
              </a:ext>
            </a:extLst>
          </p:cNvPr>
          <p:cNvGrpSpPr/>
          <p:nvPr/>
        </p:nvGrpSpPr>
        <p:grpSpPr>
          <a:xfrm>
            <a:off x="8176347" y="4747424"/>
            <a:ext cx="286577" cy="281943"/>
            <a:chOff x="8176347" y="4747424"/>
            <a:chExt cx="286577" cy="281943"/>
          </a:xfrm>
          <a:noFill/>
        </p:grpSpPr>
        <p:grpSp>
          <p:nvGrpSpPr>
            <p:cNvPr id="1287" name="Gráfico 14">
              <a:extLst>
                <a:ext uri="{FF2B5EF4-FFF2-40B4-BE49-F238E27FC236}">
                  <a16:creationId xmlns:a16="http://schemas.microsoft.com/office/drawing/2014/main" id="{3658E90A-BD2E-7A0C-3FEF-2629DA05AD72}"/>
                </a:ext>
              </a:extLst>
            </p:cNvPr>
            <p:cNvGrpSpPr/>
            <p:nvPr/>
          </p:nvGrpSpPr>
          <p:grpSpPr>
            <a:xfrm>
              <a:off x="8176347" y="4778748"/>
              <a:ext cx="286577" cy="250620"/>
              <a:chOff x="8176347" y="4778748"/>
              <a:chExt cx="286577" cy="250620"/>
            </a:xfrm>
            <a:noFill/>
          </p:grpSpPr>
          <p:grpSp>
            <p:nvGrpSpPr>
              <p:cNvPr id="1288" name="Gráfico 14">
                <a:extLst>
                  <a:ext uri="{FF2B5EF4-FFF2-40B4-BE49-F238E27FC236}">
                    <a16:creationId xmlns:a16="http://schemas.microsoft.com/office/drawing/2014/main" id="{7BCF1B7B-3D9F-EC30-719A-43A67486C183}"/>
                  </a:ext>
                </a:extLst>
              </p:cNvPr>
              <p:cNvGrpSpPr/>
              <p:nvPr/>
            </p:nvGrpSpPr>
            <p:grpSpPr>
              <a:xfrm>
                <a:off x="8334205" y="4778748"/>
                <a:ext cx="128719" cy="250620"/>
                <a:chOff x="8334205" y="4778748"/>
                <a:chExt cx="128719" cy="250620"/>
              </a:xfrm>
              <a:noFill/>
            </p:grpSpPr>
            <p:sp>
              <p:nvSpPr>
                <p:cNvPr id="1289" name="Forma livre: Forma 1288">
                  <a:extLst>
                    <a:ext uri="{FF2B5EF4-FFF2-40B4-BE49-F238E27FC236}">
                      <a16:creationId xmlns:a16="http://schemas.microsoft.com/office/drawing/2014/main" id="{CB3629A2-B347-B308-3D30-6FC03E6ADA48}"/>
                    </a:ext>
                  </a:extLst>
                </p:cNvPr>
                <p:cNvSpPr/>
                <p:nvPr/>
              </p:nvSpPr>
              <p:spPr>
                <a:xfrm>
                  <a:off x="8401614" y="4778748"/>
                  <a:ext cx="61310" cy="250031"/>
                </a:xfrm>
                <a:custGeom>
                  <a:avLst/>
                  <a:gdLst>
                    <a:gd name="connsiteX0" fmla="*/ 27610 w 61310"/>
                    <a:gd name="connsiteY0" fmla="*/ 83001 h 250031"/>
                    <a:gd name="connsiteX1" fmla="*/ 27610 w 61310"/>
                    <a:gd name="connsiteY1" fmla="*/ 19328 h 250031"/>
                    <a:gd name="connsiteX2" fmla="*/ 43946 w 61310"/>
                    <a:gd name="connsiteY2" fmla="*/ 0 h 250031"/>
                    <a:gd name="connsiteX3" fmla="*/ 61311 w 61310"/>
                    <a:gd name="connsiteY3" fmla="*/ 19131 h 250031"/>
                    <a:gd name="connsiteX4" fmla="*/ 61311 w 61310"/>
                    <a:gd name="connsiteY4" fmla="*/ 142700 h 250031"/>
                    <a:gd name="connsiteX5" fmla="*/ 4653 w 61310"/>
                    <a:gd name="connsiteY5" fmla="*/ 216675 h 250031"/>
                    <a:gd name="connsiteX6" fmla="*/ 336 w 61310"/>
                    <a:gd name="connsiteY6" fmla="*/ 250032 h 25003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61310" h="250031">
                      <a:moveTo>
                        <a:pt x="27610" y="83001"/>
                      </a:moveTo>
                      <a:lnTo>
                        <a:pt x="27610" y="19328"/>
                      </a:lnTo>
                      <a:cubicBezTo>
                        <a:pt x="27561" y="8781"/>
                        <a:pt x="34429" y="49"/>
                        <a:pt x="43946" y="0"/>
                      </a:cubicBezTo>
                      <a:cubicBezTo>
                        <a:pt x="53462" y="0"/>
                        <a:pt x="61262" y="8536"/>
                        <a:pt x="61311" y="19131"/>
                      </a:cubicBezTo>
                      <a:lnTo>
                        <a:pt x="61311" y="142700"/>
                      </a:lnTo>
                      <a:lnTo>
                        <a:pt x="4653" y="216675"/>
                      </a:lnTo>
                      <a:cubicBezTo>
                        <a:pt x="4653" y="216675"/>
                        <a:pt x="-1479" y="223837"/>
                        <a:pt x="336" y="250032"/>
                      </a:cubicBez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290" name="Forma livre: Forma 1289">
                  <a:extLst>
                    <a:ext uri="{FF2B5EF4-FFF2-40B4-BE49-F238E27FC236}">
                      <a16:creationId xmlns:a16="http://schemas.microsoft.com/office/drawing/2014/main" id="{3EAFA75A-29A5-2B4A-095E-699626FE367A}"/>
                    </a:ext>
                  </a:extLst>
                </p:cNvPr>
                <p:cNvSpPr/>
                <p:nvPr/>
              </p:nvSpPr>
              <p:spPr>
                <a:xfrm>
                  <a:off x="8334205" y="4879060"/>
                  <a:ext cx="107113" cy="150308"/>
                </a:xfrm>
                <a:custGeom>
                  <a:avLst/>
                  <a:gdLst>
                    <a:gd name="connsiteX0" fmla="*/ 0 w 107113"/>
                    <a:gd name="connsiteY0" fmla="*/ 150308 h 150308"/>
                    <a:gd name="connsiteX1" fmla="*/ 0 w 107113"/>
                    <a:gd name="connsiteY1" fmla="*/ 92915 h 150308"/>
                    <a:gd name="connsiteX2" fmla="*/ 26097 w 107113"/>
                    <a:gd name="connsiteY2" fmla="*/ 55486 h 150308"/>
                    <a:gd name="connsiteX3" fmla="*/ 51262 w 107113"/>
                    <a:gd name="connsiteY3" fmla="*/ 33853 h 150308"/>
                    <a:gd name="connsiteX4" fmla="*/ 73484 w 107113"/>
                    <a:gd name="connsiteY4" fmla="*/ 9767 h 150308"/>
                    <a:gd name="connsiteX5" fmla="*/ 102819 w 107113"/>
                    <a:gd name="connsiteY5" fmla="*/ 3439 h 150308"/>
                    <a:gd name="connsiteX6" fmla="*/ 98894 w 107113"/>
                    <a:gd name="connsiteY6" fmla="*/ 33166 h 150308"/>
                    <a:gd name="connsiteX7" fmla="*/ 67696 w 107113"/>
                    <a:gd name="connsiteY7" fmla="*/ 66965 h 15030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07113" h="150308">
                      <a:moveTo>
                        <a:pt x="0" y="150308"/>
                      </a:moveTo>
                      <a:lnTo>
                        <a:pt x="0" y="92915"/>
                      </a:lnTo>
                      <a:cubicBezTo>
                        <a:pt x="49" y="70595"/>
                        <a:pt x="26097" y="55486"/>
                        <a:pt x="26097" y="55486"/>
                      </a:cubicBezTo>
                      <a:cubicBezTo>
                        <a:pt x="37870" y="47588"/>
                        <a:pt x="51262" y="33853"/>
                        <a:pt x="51262" y="33853"/>
                      </a:cubicBezTo>
                      <a:lnTo>
                        <a:pt x="73484" y="9767"/>
                      </a:lnTo>
                      <a:cubicBezTo>
                        <a:pt x="82608" y="-142"/>
                        <a:pt x="95853" y="-2988"/>
                        <a:pt x="102819" y="3439"/>
                      </a:cubicBezTo>
                      <a:cubicBezTo>
                        <a:pt x="109834" y="9865"/>
                        <a:pt x="108068" y="23257"/>
                        <a:pt x="98894" y="33166"/>
                      </a:cubicBezTo>
                      <a:lnTo>
                        <a:pt x="67696" y="66965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1291" name="Gráfico 14">
                <a:extLst>
                  <a:ext uri="{FF2B5EF4-FFF2-40B4-BE49-F238E27FC236}">
                    <a16:creationId xmlns:a16="http://schemas.microsoft.com/office/drawing/2014/main" id="{3E8BC180-AB48-ADA9-25E8-B9A3B5BD679F}"/>
                  </a:ext>
                </a:extLst>
              </p:cNvPr>
              <p:cNvGrpSpPr/>
              <p:nvPr/>
            </p:nvGrpSpPr>
            <p:grpSpPr>
              <a:xfrm>
                <a:off x="8176347" y="4778748"/>
                <a:ext cx="128719" cy="250620"/>
                <a:chOff x="8176347" y="4778748"/>
                <a:chExt cx="128719" cy="250620"/>
              </a:xfrm>
              <a:noFill/>
            </p:grpSpPr>
            <p:sp>
              <p:nvSpPr>
                <p:cNvPr id="1292" name="Forma livre: Forma 1291">
                  <a:extLst>
                    <a:ext uri="{FF2B5EF4-FFF2-40B4-BE49-F238E27FC236}">
                      <a16:creationId xmlns:a16="http://schemas.microsoft.com/office/drawing/2014/main" id="{99B9EC03-9B0B-BBD6-4E10-180A7674B5FD}"/>
                    </a:ext>
                  </a:extLst>
                </p:cNvPr>
                <p:cNvSpPr/>
                <p:nvPr/>
              </p:nvSpPr>
              <p:spPr>
                <a:xfrm>
                  <a:off x="8176347" y="4778748"/>
                  <a:ext cx="61310" cy="250031"/>
                </a:xfrm>
                <a:custGeom>
                  <a:avLst/>
                  <a:gdLst>
                    <a:gd name="connsiteX0" fmla="*/ 33701 w 61310"/>
                    <a:gd name="connsiteY0" fmla="*/ 83001 h 250031"/>
                    <a:gd name="connsiteX1" fmla="*/ 33701 w 61310"/>
                    <a:gd name="connsiteY1" fmla="*/ 19328 h 250031"/>
                    <a:gd name="connsiteX2" fmla="*/ 17365 w 61310"/>
                    <a:gd name="connsiteY2" fmla="*/ 0 h 250031"/>
                    <a:gd name="connsiteX3" fmla="*/ 0 w 61310"/>
                    <a:gd name="connsiteY3" fmla="*/ 19131 h 250031"/>
                    <a:gd name="connsiteX4" fmla="*/ 0 w 61310"/>
                    <a:gd name="connsiteY4" fmla="*/ 142700 h 250031"/>
                    <a:gd name="connsiteX5" fmla="*/ 56658 w 61310"/>
                    <a:gd name="connsiteY5" fmla="*/ 216675 h 250031"/>
                    <a:gd name="connsiteX6" fmla="*/ 60975 w 61310"/>
                    <a:gd name="connsiteY6" fmla="*/ 250032 h 25003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61310" h="250031">
                      <a:moveTo>
                        <a:pt x="33701" y="83001"/>
                      </a:moveTo>
                      <a:lnTo>
                        <a:pt x="33701" y="19328"/>
                      </a:lnTo>
                      <a:cubicBezTo>
                        <a:pt x="33750" y="8781"/>
                        <a:pt x="26882" y="49"/>
                        <a:pt x="17365" y="0"/>
                      </a:cubicBezTo>
                      <a:cubicBezTo>
                        <a:pt x="7849" y="0"/>
                        <a:pt x="49" y="8536"/>
                        <a:pt x="0" y="19131"/>
                      </a:cubicBezTo>
                      <a:lnTo>
                        <a:pt x="0" y="142700"/>
                      </a:lnTo>
                      <a:cubicBezTo>
                        <a:pt x="0" y="142700"/>
                        <a:pt x="56658" y="216675"/>
                        <a:pt x="56658" y="216675"/>
                      </a:cubicBezTo>
                      <a:cubicBezTo>
                        <a:pt x="56658" y="216675"/>
                        <a:pt x="62790" y="223837"/>
                        <a:pt x="60975" y="250032"/>
                      </a:cubicBez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293" name="Forma livre: Forma 1292">
                  <a:extLst>
                    <a:ext uri="{FF2B5EF4-FFF2-40B4-BE49-F238E27FC236}">
                      <a16:creationId xmlns:a16="http://schemas.microsoft.com/office/drawing/2014/main" id="{5CE35A4F-7591-143B-E261-07836B97E7A1}"/>
                    </a:ext>
                  </a:extLst>
                </p:cNvPr>
                <p:cNvSpPr/>
                <p:nvPr/>
              </p:nvSpPr>
              <p:spPr>
                <a:xfrm>
                  <a:off x="8197953" y="4879060"/>
                  <a:ext cx="107113" cy="150308"/>
                </a:xfrm>
                <a:custGeom>
                  <a:avLst/>
                  <a:gdLst>
                    <a:gd name="connsiteX0" fmla="*/ 107114 w 107113"/>
                    <a:gd name="connsiteY0" fmla="*/ 150308 h 150308"/>
                    <a:gd name="connsiteX1" fmla="*/ 107114 w 107113"/>
                    <a:gd name="connsiteY1" fmla="*/ 92915 h 150308"/>
                    <a:gd name="connsiteX2" fmla="*/ 81017 w 107113"/>
                    <a:gd name="connsiteY2" fmla="*/ 55486 h 150308"/>
                    <a:gd name="connsiteX3" fmla="*/ 55851 w 107113"/>
                    <a:gd name="connsiteY3" fmla="*/ 33853 h 150308"/>
                    <a:gd name="connsiteX4" fmla="*/ 33630 w 107113"/>
                    <a:gd name="connsiteY4" fmla="*/ 9767 h 150308"/>
                    <a:gd name="connsiteX5" fmla="*/ 4295 w 107113"/>
                    <a:gd name="connsiteY5" fmla="*/ 3439 h 150308"/>
                    <a:gd name="connsiteX6" fmla="*/ 8219 w 107113"/>
                    <a:gd name="connsiteY6" fmla="*/ 33166 h 150308"/>
                    <a:gd name="connsiteX7" fmla="*/ 39418 w 107113"/>
                    <a:gd name="connsiteY7" fmla="*/ 66965 h 15030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07113" h="150308">
                      <a:moveTo>
                        <a:pt x="107114" y="150308"/>
                      </a:moveTo>
                      <a:lnTo>
                        <a:pt x="107114" y="92915"/>
                      </a:lnTo>
                      <a:cubicBezTo>
                        <a:pt x="107065" y="70595"/>
                        <a:pt x="81017" y="55486"/>
                        <a:pt x="81017" y="55486"/>
                      </a:cubicBezTo>
                      <a:cubicBezTo>
                        <a:pt x="69243" y="47588"/>
                        <a:pt x="55851" y="33853"/>
                        <a:pt x="55851" y="33853"/>
                      </a:cubicBezTo>
                      <a:lnTo>
                        <a:pt x="33630" y="9767"/>
                      </a:lnTo>
                      <a:cubicBezTo>
                        <a:pt x="24505" y="-142"/>
                        <a:pt x="11261" y="-2988"/>
                        <a:pt x="4295" y="3439"/>
                      </a:cubicBezTo>
                      <a:cubicBezTo>
                        <a:pt x="-2720" y="9865"/>
                        <a:pt x="-954" y="23257"/>
                        <a:pt x="8219" y="33166"/>
                      </a:cubicBezTo>
                      <a:lnTo>
                        <a:pt x="39418" y="66965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sp>
          <p:nvSpPr>
            <p:cNvPr id="1294" name="Forma livre: Forma 1293">
              <a:extLst>
                <a:ext uri="{FF2B5EF4-FFF2-40B4-BE49-F238E27FC236}">
                  <a16:creationId xmlns:a16="http://schemas.microsoft.com/office/drawing/2014/main" id="{DFD37149-F6B0-44F5-2DC7-1B4E525AC1C9}"/>
                </a:ext>
              </a:extLst>
            </p:cNvPr>
            <p:cNvSpPr/>
            <p:nvPr/>
          </p:nvSpPr>
          <p:spPr>
            <a:xfrm>
              <a:off x="8244164" y="4747424"/>
              <a:ext cx="150945" cy="129825"/>
            </a:xfrm>
            <a:custGeom>
              <a:avLst/>
              <a:gdLst>
                <a:gd name="connsiteX0" fmla="*/ 84891 w 150945"/>
                <a:gd name="connsiteY0" fmla="*/ 11603 h 129825"/>
                <a:gd name="connsiteX1" fmla="*/ 139881 w 150945"/>
                <a:gd name="connsiteY1" fmla="*/ 11064 h 129825"/>
                <a:gd name="connsiteX2" fmla="*/ 139342 w 150945"/>
                <a:gd name="connsiteY2" fmla="*/ 66054 h 129825"/>
                <a:gd name="connsiteX3" fmla="*/ 75473 w 150945"/>
                <a:gd name="connsiteY3" fmla="*/ 129825 h 129825"/>
                <a:gd name="connsiteX4" fmla="*/ 11603 w 150945"/>
                <a:gd name="connsiteY4" fmla="*/ 66054 h 129825"/>
                <a:gd name="connsiteX5" fmla="*/ 11064 w 150945"/>
                <a:gd name="connsiteY5" fmla="*/ 11064 h 129825"/>
                <a:gd name="connsiteX6" fmla="*/ 66054 w 150945"/>
                <a:gd name="connsiteY6" fmla="*/ 11603 h 129825"/>
                <a:gd name="connsiteX7" fmla="*/ 75473 w 150945"/>
                <a:gd name="connsiteY7" fmla="*/ 20973 h 129825"/>
                <a:gd name="connsiteX8" fmla="*/ 84940 w 150945"/>
                <a:gd name="connsiteY8" fmla="*/ 11603 h 1298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50945" h="129825">
                  <a:moveTo>
                    <a:pt x="84891" y="11603"/>
                  </a:moveTo>
                  <a:cubicBezTo>
                    <a:pt x="100147" y="-3653"/>
                    <a:pt x="124920" y="-3898"/>
                    <a:pt x="139881" y="11064"/>
                  </a:cubicBezTo>
                  <a:cubicBezTo>
                    <a:pt x="154843" y="26025"/>
                    <a:pt x="154598" y="50749"/>
                    <a:pt x="139342" y="66054"/>
                  </a:cubicBezTo>
                  <a:lnTo>
                    <a:pt x="75473" y="129825"/>
                  </a:lnTo>
                  <a:lnTo>
                    <a:pt x="11603" y="66054"/>
                  </a:lnTo>
                  <a:cubicBezTo>
                    <a:pt x="-3653" y="50798"/>
                    <a:pt x="-3898" y="26025"/>
                    <a:pt x="11064" y="11064"/>
                  </a:cubicBezTo>
                  <a:cubicBezTo>
                    <a:pt x="26025" y="-3898"/>
                    <a:pt x="50749" y="-3653"/>
                    <a:pt x="66054" y="11603"/>
                  </a:cubicBezTo>
                  <a:lnTo>
                    <a:pt x="75473" y="20973"/>
                  </a:lnTo>
                  <a:lnTo>
                    <a:pt x="84940" y="11603"/>
                  </a:ln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295" name="Gráfico 14">
            <a:extLst>
              <a:ext uri="{FF2B5EF4-FFF2-40B4-BE49-F238E27FC236}">
                <a16:creationId xmlns:a16="http://schemas.microsoft.com/office/drawing/2014/main" id="{63F30995-0535-6FBC-5D1F-6B7479DF9E18}"/>
              </a:ext>
            </a:extLst>
          </p:cNvPr>
          <p:cNvGrpSpPr/>
          <p:nvPr/>
        </p:nvGrpSpPr>
        <p:grpSpPr>
          <a:xfrm>
            <a:off x="8145814" y="5303808"/>
            <a:ext cx="347619" cy="282397"/>
            <a:chOff x="8145814" y="5303808"/>
            <a:chExt cx="347619" cy="282397"/>
          </a:xfrm>
          <a:noFill/>
        </p:grpSpPr>
        <p:sp>
          <p:nvSpPr>
            <p:cNvPr id="1296" name="Forma livre: Forma 1295">
              <a:extLst>
                <a:ext uri="{FF2B5EF4-FFF2-40B4-BE49-F238E27FC236}">
                  <a16:creationId xmlns:a16="http://schemas.microsoft.com/office/drawing/2014/main" id="{2D2E7F22-7A3D-591B-4CD9-32B4A75A828D}"/>
                </a:ext>
              </a:extLst>
            </p:cNvPr>
            <p:cNvSpPr/>
            <p:nvPr/>
          </p:nvSpPr>
          <p:spPr>
            <a:xfrm>
              <a:off x="8145814" y="5303808"/>
              <a:ext cx="232365" cy="199821"/>
            </a:xfrm>
            <a:custGeom>
              <a:avLst/>
              <a:gdLst>
                <a:gd name="connsiteX0" fmla="*/ 191580 w 232365"/>
                <a:gd name="connsiteY0" fmla="*/ 124571 h 199821"/>
                <a:gd name="connsiteX1" fmla="*/ 214489 w 232365"/>
                <a:gd name="connsiteY1" fmla="*/ 101663 h 199821"/>
                <a:gd name="connsiteX2" fmla="*/ 215323 w 232365"/>
                <a:gd name="connsiteY2" fmla="*/ 17043 h 199821"/>
                <a:gd name="connsiteX3" fmla="*/ 130703 w 232365"/>
                <a:gd name="connsiteY3" fmla="*/ 17877 h 199821"/>
                <a:gd name="connsiteX4" fmla="*/ 116134 w 232365"/>
                <a:gd name="connsiteY4" fmla="*/ 32348 h 199821"/>
                <a:gd name="connsiteX5" fmla="*/ 101663 w 232365"/>
                <a:gd name="connsiteY5" fmla="*/ 17877 h 199821"/>
                <a:gd name="connsiteX6" fmla="*/ 17043 w 232365"/>
                <a:gd name="connsiteY6" fmla="*/ 17043 h 199821"/>
                <a:gd name="connsiteX7" fmla="*/ 17877 w 232365"/>
                <a:gd name="connsiteY7" fmla="*/ 101663 h 199821"/>
                <a:gd name="connsiteX8" fmla="*/ 116183 w 232365"/>
                <a:gd name="connsiteY8" fmla="*/ 199821 h 1998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32365" h="199821">
                  <a:moveTo>
                    <a:pt x="191580" y="124571"/>
                  </a:moveTo>
                  <a:lnTo>
                    <a:pt x="214489" y="101663"/>
                  </a:lnTo>
                  <a:cubicBezTo>
                    <a:pt x="237986" y="78166"/>
                    <a:pt x="238378" y="40099"/>
                    <a:pt x="215323" y="17043"/>
                  </a:cubicBezTo>
                  <a:cubicBezTo>
                    <a:pt x="192267" y="-6012"/>
                    <a:pt x="154200" y="-5620"/>
                    <a:pt x="130703" y="17877"/>
                  </a:cubicBezTo>
                  <a:lnTo>
                    <a:pt x="116134" y="32348"/>
                  </a:lnTo>
                  <a:lnTo>
                    <a:pt x="101663" y="17877"/>
                  </a:lnTo>
                  <a:cubicBezTo>
                    <a:pt x="78166" y="-5620"/>
                    <a:pt x="40099" y="-6012"/>
                    <a:pt x="17043" y="17043"/>
                  </a:cubicBezTo>
                  <a:cubicBezTo>
                    <a:pt x="-6012" y="40099"/>
                    <a:pt x="-5620" y="78166"/>
                    <a:pt x="17877" y="101663"/>
                  </a:cubicBezTo>
                  <a:lnTo>
                    <a:pt x="116183" y="199821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297" name="Gráfico 14">
              <a:extLst>
                <a:ext uri="{FF2B5EF4-FFF2-40B4-BE49-F238E27FC236}">
                  <a16:creationId xmlns:a16="http://schemas.microsoft.com/office/drawing/2014/main" id="{EEA57797-775A-53CA-44C3-CC90D47B8E70}"/>
                </a:ext>
              </a:extLst>
            </p:cNvPr>
            <p:cNvGrpSpPr/>
            <p:nvPr/>
          </p:nvGrpSpPr>
          <p:grpSpPr>
            <a:xfrm>
              <a:off x="8337149" y="5428477"/>
              <a:ext cx="156284" cy="157728"/>
              <a:chOff x="8337149" y="5428477"/>
              <a:chExt cx="156284" cy="157728"/>
            </a:xfrm>
            <a:noFill/>
          </p:grpSpPr>
          <p:grpSp>
            <p:nvGrpSpPr>
              <p:cNvPr id="1298" name="Gráfico 14">
                <a:extLst>
                  <a:ext uri="{FF2B5EF4-FFF2-40B4-BE49-F238E27FC236}">
                    <a16:creationId xmlns:a16="http://schemas.microsoft.com/office/drawing/2014/main" id="{116452DC-BE66-44E9-4738-84ABA732070E}"/>
                  </a:ext>
                </a:extLst>
              </p:cNvPr>
              <p:cNvGrpSpPr/>
              <p:nvPr/>
            </p:nvGrpSpPr>
            <p:grpSpPr>
              <a:xfrm>
                <a:off x="8337149" y="5428477"/>
                <a:ext cx="156284" cy="157728"/>
                <a:chOff x="8337149" y="5428477"/>
                <a:chExt cx="156284" cy="157728"/>
              </a:xfrm>
              <a:noFill/>
            </p:grpSpPr>
            <p:sp>
              <p:nvSpPr>
                <p:cNvPr id="1299" name="Forma livre: Forma 1298">
                  <a:extLst>
                    <a:ext uri="{FF2B5EF4-FFF2-40B4-BE49-F238E27FC236}">
                      <a16:creationId xmlns:a16="http://schemas.microsoft.com/office/drawing/2014/main" id="{1DBC7A8B-7FF3-5C88-E36D-FDF8A3639BEB}"/>
                    </a:ext>
                  </a:extLst>
                </p:cNvPr>
                <p:cNvSpPr/>
                <p:nvPr/>
              </p:nvSpPr>
              <p:spPr>
                <a:xfrm>
                  <a:off x="8337149" y="5428477"/>
                  <a:ext cx="156284" cy="157728"/>
                </a:xfrm>
                <a:custGeom>
                  <a:avLst/>
                  <a:gdLst>
                    <a:gd name="connsiteX0" fmla="*/ 20211 w 156284"/>
                    <a:gd name="connsiteY0" fmla="*/ 66812 h 157728"/>
                    <a:gd name="connsiteX1" fmla="*/ 0 w 156284"/>
                    <a:gd name="connsiteY1" fmla="*/ 0 h 157728"/>
                    <a:gd name="connsiteX2" fmla="*/ 66911 w 156284"/>
                    <a:gd name="connsiteY2" fmla="*/ 23154 h 157728"/>
                    <a:gd name="connsiteX3" fmla="*/ 153492 w 156284"/>
                    <a:gd name="connsiteY3" fmla="*/ 109735 h 157728"/>
                    <a:gd name="connsiteX4" fmla="*/ 150206 w 156284"/>
                    <a:gd name="connsiteY4" fmla="*/ 130436 h 157728"/>
                    <a:gd name="connsiteX5" fmla="*/ 128965 w 156284"/>
                    <a:gd name="connsiteY5" fmla="*/ 151628 h 157728"/>
                    <a:gd name="connsiteX6" fmla="*/ 108313 w 156284"/>
                    <a:gd name="connsiteY6" fmla="*/ 154915 h 157728"/>
                    <a:gd name="connsiteX7" fmla="*/ 20211 w 156284"/>
                    <a:gd name="connsiteY7" fmla="*/ 66812 h 15772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56284" h="157728">
                      <a:moveTo>
                        <a:pt x="20211" y="66812"/>
                      </a:moveTo>
                      <a:lnTo>
                        <a:pt x="0" y="0"/>
                      </a:lnTo>
                      <a:lnTo>
                        <a:pt x="66911" y="23154"/>
                      </a:lnTo>
                      <a:lnTo>
                        <a:pt x="153492" y="109735"/>
                      </a:lnTo>
                      <a:cubicBezTo>
                        <a:pt x="158251" y="114543"/>
                        <a:pt x="156779" y="123814"/>
                        <a:pt x="150206" y="130436"/>
                      </a:cubicBezTo>
                      <a:lnTo>
                        <a:pt x="128965" y="151628"/>
                      </a:lnTo>
                      <a:cubicBezTo>
                        <a:pt x="122392" y="158201"/>
                        <a:pt x="113071" y="159722"/>
                        <a:pt x="108313" y="154915"/>
                      </a:cubicBezTo>
                      <a:lnTo>
                        <a:pt x="20211" y="66812"/>
                      </a:lnTo>
                      <a:close/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300" name="Forma livre: Forma 1299">
                  <a:extLst>
                    <a:ext uri="{FF2B5EF4-FFF2-40B4-BE49-F238E27FC236}">
                      <a16:creationId xmlns:a16="http://schemas.microsoft.com/office/drawing/2014/main" id="{D2F41996-8193-F58E-4B53-6BB8FBCB17B7}"/>
                    </a:ext>
                  </a:extLst>
                </p:cNvPr>
                <p:cNvSpPr/>
                <p:nvPr/>
              </p:nvSpPr>
              <p:spPr>
                <a:xfrm>
                  <a:off x="8365404" y="5457468"/>
                  <a:ext cx="37428" cy="37379"/>
                </a:xfrm>
                <a:custGeom>
                  <a:avLst/>
                  <a:gdLst>
                    <a:gd name="connsiteX0" fmla="*/ 0 w 37428"/>
                    <a:gd name="connsiteY0" fmla="*/ 37380 h 37379"/>
                    <a:gd name="connsiteX1" fmla="*/ 37429 w 37428"/>
                    <a:gd name="connsiteY1" fmla="*/ 0 h 3737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37428" h="37379">
                      <a:moveTo>
                        <a:pt x="0" y="37380"/>
                      </a:moveTo>
                      <a:lnTo>
                        <a:pt x="37429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301" name="Forma livre: Forma 1300">
                  <a:extLst>
                    <a:ext uri="{FF2B5EF4-FFF2-40B4-BE49-F238E27FC236}">
                      <a16:creationId xmlns:a16="http://schemas.microsoft.com/office/drawing/2014/main" id="{C28C8156-D6C9-5BFF-4482-B14DEC1C0D78}"/>
                    </a:ext>
                  </a:extLst>
                </p:cNvPr>
                <p:cNvSpPr/>
                <p:nvPr/>
              </p:nvSpPr>
              <p:spPr>
                <a:xfrm>
                  <a:off x="8344311" y="5436767"/>
                  <a:ext cx="12459" cy="12116"/>
                </a:xfrm>
                <a:custGeom>
                  <a:avLst/>
                  <a:gdLst>
                    <a:gd name="connsiteX0" fmla="*/ 0 w 12459"/>
                    <a:gd name="connsiteY0" fmla="*/ 12117 h 12116"/>
                    <a:gd name="connsiteX1" fmla="*/ 12460 w 12459"/>
                    <a:gd name="connsiteY1" fmla="*/ 0 h 1211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2459" h="12116">
                      <a:moveTo>
                        <a:pt x="0" y="12117"/>
                      </a:moveTo>
                      <a:lnTo>
                        <a:pt x="12460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1302" name="Forma livre: Forma 1301">
                <a:extLst>
                  <a:ext uri="{FF2B5EF4-FFF2-40B4-BE49-F238E27FC236}">
                    <a16:creationId xmlns:a16="http://schemas.microsoft.com/office/drawing/2014/main" id="{44E83990-110A-0ED0-0261-4F54ED51AA05}"/>
                  </a:ext>
                </a:extLst>
              </p:cNvPr>
              <p:cNvSpPr/>
              <p:nvPr/>
            </p:nvSpPr>
            <p:spPr>
              <a:xfrm>
                <a:off x="8383555" y="5477483"/>
                <a:ext cx="49054" cy="49005"/>
              </a:xfrm>
              <a:custGeom>
                <a:avLst/>
                <a:gdLst>
                  <a:gd name="connsiteX0" fmla="*/ 0 w 49054"/>
                  <a:gd name="connsiteY0" fmla="*/ 0 h 49005"/>
                  <a:gd name="connsiteX1" fmla="*/ 49055 w 49054"/>
                  <a:gd name="connsiteY1" fmla="*/ 49006 h 490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9054" h="49005">
                    <a:moveTo>
                      <a:pt x="0" y="0"/>
                    </a:moveTo>
                    <a:lnTo>
                      <a:pt x="49055" y="49006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303" name="Forma livre: Forma 1302">
                <a:extLst>
                  <a:ext uri="{FF2B5EF4-FFF2-40B4-BE49-F238E27FC236}">
                    <a16:creationId xmlns:a16="http://schemas.microsoft.com/office/drawing/2014/main" id="{D25C6194-61CD-5140-4BF9-C98BFF05DB1C}"/>
                  </a:ext>
                </a:extLst>
              </p:cNvPr>
              <p:cNvSpPr/>
              <p:nvPr/>
            </p:nvSpPr>
            <p:spPr>
              <a:xfrm>
                <a:off x="8427900" y="5520651"/>
                <a:ext cx="43168" cy="43168"/>
              </a:xfrm>
              <a:custGeom>
                <a:avLst/>
                <a:gdLst>
                  <a:gd name="connsiteX0" fmla="*/ 43168 w 43168"/>
                  <a:gd name="connsiteY0" fmla="*/ 0 h 43168"/>
                  <a:gd name="connsiteX1" fmla="*/ 0 w 43168"/>
                  <a:gd name="connsiteY1" fmla="*/ 43168 h 431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3168" h="43168">
                    <a:moveTo>
                      <a:pt x="43168" y="0"/>
                    </a:moveTo>
                    <a:lnTo>
                      <a:pt x="0" y="43168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304" name="Gráfico 14">
            <a:extLst>
              <a:ext uri="{FF2B5EF4-FFF2-40B4-BE49-F238E27FC236}">
                <a16:creationId xmlns:a16="http://schemas.microsoft.com/office/drawing/2014/main" id="{91BDE70B-023B-E9D5-3020-69D03D8E33E0}"/>
              </a:ext>
            </a:extLst>
          </p:cNvPr>
          <p:cNvGrpSpPr/>
          <p:nvPr/>
        </p:nvGrpSpPr>
        <p:grpSpPr>
          <a:xfrm>
            <a:off x="8151379" y="5882018"/>
            <a:ext cx="336515" cy="239294"/>
            <a:chOff x="8151379" y="5882018"/>
            <a:chExt cx="336515" cy="239294"/>
          </a:xfrm>
          <a:noFill/>
        </p:grpSpPr>
        <p:sp>
          <p:nvSpPr>
            <p:cNvPr id="1305" name="Forma livre: Forma 1304">
              <a:extLst>
                <a:ext uri="{FF2B5EF4-FFF2-40B4-BE49-F238E27FC236}">
                  <a16:creationId xmlns:a16="http://schemas.microsoft.com/office/drawing/2014/main" id="{592A297B-A75A-5B34-926C-6093EBB3E60E}"/>
                </a:ext>
              </a:extLst>
            </p:cNvPr>
            <p:cNvSpPr/>
            <p:nvPr/>
          </p:nvSpPr>
          <p:spPr>
            <a:xfrm>
              <a:off x="8274978" y="5953117"/>
              <a:ext cx="168932" cy="168196"/>
            </a:xfrm>
            <a:custGeom>
              <a:avLst/>
              <a:gdLst>
                <a:gd name="connsiteX0" fmla="*/ 121085 w 168932"/>
                <a:gd name="connsiteY0" fmla="*/ 7554 h 168196"/>
                <a:gd name="connsiteX1" fmla="*/ 144190 w 168932"/>
                <a:gd name="connsiteY1" fmla="*/ 23988 h 168196"/>
                <a:gd name="connsiteX2" fmla="*/ 144190 w 168932"/>
                <a:gd name="connsiteY2" fmla="*/ 143436 h 168196"/>
                <a:gd name="connsiteX3" fmla="*/ 24742 w 168932"/>
                <a:gd name="connsiteY3" fmla="*/ 143436 h 168196"/>
                <a:gd name="connsiteX4" fmla="*/ 24742 w 168932"/>
                <a:gd name="connsiteY4" fmla="*/ 23988 h 168196"/>
                <a:gd name="connsiteX5" fmla="*/ 73355 w 168932"/>
                <a:gd name="connsiteY5" fmla="*/ 0 h 1681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68932" h="168196">
                  <a:moveTo>
                    <a:pt x="121085" y="7554"/>
                  </a:moveTo>
                  <a:cubicBezTo>
                    <a:pt x="129425" y="11577"/>
                    <a:pt x="137274" y="17071"/>
                    <a:pt x="144190" y="23988"/>
                  </a:cubicBezTo>
                  <a:cubicBezTo>
                    <a:pt x="177204" y="56953"/>
                    <a:pt x="177155" y="110471"/>
                    <a:pt x="144190" y="143436"/>
                  </a:cubicBezTo>
                  <a:cubicBezTo>
                    <a:pt x="111176" y="176450"/>
                    <a:pt x="57707" y="176450"/>
                    <a:pt x="24742" y="143436"/>
                  </a:cubicBezTo>
                  <a:cubicBezTo>
                    <a:pt x="-8272" y="110422"/>
                    <a:pt x="-8223" y="56953"/>
                    <a:pt x="24742" y="23988"/>
                  </a:cubicBezTo>
                  <a:cubicBezTo>
                    <a:pt x="38428" y="10302"/>
                    <a:pt x="55597" y="2306"/>
                    <a:pt x="73355" y="0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306" name="Forma livre: Forma 1305">
              <a:extLst>
                <a:ext uri="{FF2B5EF4-FFF2-40B4-BE49-F238E27FC236}">
                  <a16:creationId xmlns:a16="http://schemas.microsoft.com/office/drawing/2014/main" id="{CA9ED25E-D40D-FC81-3E4E-2FE0FAD2CB93}"/>
                </a:ext>
              </a:extLst>
            </p:cNvPr>
            <p:cNvSpPr/>
            <p:nvPr/>
          </p:nvSpPr>
          <p:spPr>
            <a:xfrm>
              <a:off x="8419168" y="5912696"/>
              <a:ext cx="64408" cy="64408"/>
            </a:xfrm>
            <a:custGeom>
              <a:avLst/>
              <a:gdLst>
                <a:gd name="connsiteX0" fmla="*/ 0 w 64408"/>
                <a:gd name="connsiteY0" fmla="*/ 64409 h 64408"/>
                <a:gd name="connsiteX1" fmla="*/ 64409 w 64408"/>
                <a:gd name="connsiteY1" fmla="*/ 0 h 644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4408" h="64408">
                  <a:moveTo>
                    <a:pt x="0" y="64409"/>
                  </a:moveTo>
                  <a:lnTo>
                    <a:pt x="64409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307" name="Forma livre: Forma 1306">
              <a:extLst>
                <a:ext uri="{FF2B5EF4-FFF2-40B4-BE49-F238E27FC236}">
                  <a16:creationId xmlns:a16="http://schemas.microsoft.com/office/drawing/2014/main" id="{A5EA8D82-52DA-3ED8-1E9E-B574DB66593E}"/>
                </a:ext>
              </a:extLst>
            </p:cNvPr>
            <p:cNvSpPr/>
            <p:nvPr/>
          </p:nvSpPr>
          <p:spPr>
            <a:xfrm>
              <a:off x="8153292" y="6031065"/>
              <a:ext cx="70736" cy="70736"/>
            </a:xfrm>
            <a:custGeom>
              <a:avLst/>
              <a:gdLst>
                <a:gd name="connsiteX0" fmla="*/ 70737 w 70736"/>
                <a:gd name="connsiteY0" fmla="*/ 70737 h 70736"/>
                <a:gd name="connsiteX1" fmla="*/ 0 w 70736"/>
                <a:gd name="connsiteY1" fmla="*/ 0 h 707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0736" h="70736">
                  <a:moveTo>
                    <a:pt x="70737" y="70737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308" name="Forma livre: Forma 1307">
              <a:extLst>
                <a:ext uri="{FF2B5EF4-FFF2-40B4-BE49-F238E27FC236}">
                  <a16:creationId xmlns:a16="http://schemas.microsoft.com/office/drawing/2014/main" id="{2C550651-C0BD-83C6-35F3-07FC1E09F3BF}"/>
                </a:ext>
              </a:extLst>
            </p:cNvPr>
            <p:cNvSpPr/>
            <p:nvPr/>
          </p:nvSpPr>
          <p:spPr>
            <a:xfrm>
              <a:off x="8151379" y="6026258"/>
              <a:ext cx="77457" cy="77457"/>
            </a:xfrm>
            <a:custGeom>
              <a:avLst/>
              <a:gdLst>
                <a:gd name="connsiteX0" fmla="*/ 77457 w 77457"/>
                <a:gd name="connsiteY0" fmla="*/ 0 h 77457"/>
                <a:gd name="connsiteX1" fmla="*/ 0 w 77457"/>
                <a:gd name="connsiteY1" fmla="*/ 77457 h 774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7457" h="77457">
                  <a:moveTo>
                    <a:pt x="77457" y="0"/>
                  </a:moveTo>
                  <a:lnTo>
                    <a:pt x="0" y="77457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309" name="Forma livre: Forma 1308">
              <a:extLst>
                <a:ext uri="{FF2B5EF4-FFF2-40B4-BE49-F238E27FC236}">
                  <a16:creationId xmlns:a16="http://schemas.microsoft.com/office/drawing/2014/main" id="{CF0C9EC1-E46C-CDC5-4304-9320885F5F79}"/>
                </a:ext>
              </a:extLst>
            </p:cNvPr>
            <p:cNvSpPr/>
            <p:nvPr/>
          </p:nvSpPr>
          <p:spPr>
            <a:xfrm>
              <a:off x="8204125" y="5882018"/>
              <a:ext cx="168950" cy="168177"/>
            </a:xfrm>
            <a:custGeom>
              <a:avLst/>
              <a:gdLst>
                <a:gd name="connsiteX0" fmla="*/ 47669 w 168950"/>
                <a:gd name="connsiteY0" fmla="*/ 160525 h 168177"/>
                <a:gd name="connsiteX1" fmla="*/ 24760 w 168950"/>
                <a:gd name="connsiteY1" fmla="*/ 144190 h 168177"/>
                <a:gd name="connsiteX2" fmla="*/ 24760 w 168950"/>
                <a:gd name="connsiteY2" fmla="*/ 24742 h 168177"/>
                <a:gd name="connsiteX3" fmla="*/ 144209 w 168950"/>
                <a:gd name="connsiteY3" fmla="*/ 24742 h 168177"/>
                <a:gd name="connsiteX4" fmla="*/ 144209 w 168950"/>
                <a:gd name="connsiteY4" fmla="*/ 144190 h 168177"/>
                <a:gd name="connsiteX5" fmla="*/ 95644 w 168950"/>
                <a:gd name="connsiteY5" fmla="*/ 168178 h 1681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68950" h="168177">
                  <a:moveTo>
                    <a:pt x="47669" y="160525"/>
                  </a:moveTo>
                  <a:cubicBezTo>
                    <a:pt x="39379" y="156503"/>
                    <a:pt x="31628" y="151058"/>
                    <a:pt x="24760" y="144190"/>
                  </a:cubicBezTo>
                  <a:cubicBezTo>
                    <a:pt x="-8253" y="111176"/>
                    <a:pt x="-8253" y="57707"/>
                    <a:pt x="24760" y="24742"/>
                  </a:cubicBezTo>
                  <a:cubicBezTo>
                    <a:pt x="57725" y="-8272"/>
                    <a:pt x="111195" y="-8223"/>
                    <a:pt x="144209" y="24742"/>
                  </a:cubicBezTo>
                  <a:cubicBezTo>
                    <a:pt x="177173" y="57707"/>
                    <a:pt x="177222" y="111176"/>
                    <a:pt x="144209" y="144190"/>
                  </a:cubicBezTo>
                  <a:cubicBezTo>
                    <a:pt x="130571" y="157827"/>
                    <a:pt x="113402" y="165823"/>
                    <a:pt x="95644" y="168178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310" name="Forma livre: Forma 1309">
              <a:extLst>
                <a:ext uri="{FF2B5EF4-FFF2-40B4-BE49-F238E27FC236}">
                  <a16:creationId xmlns:a16="http://schemas.microsoft.com/office/drawing/2014/main" id="{C51408D2-6B0D-BFD4-A1F3-30976034BF3D}"/>
                </a:ext>
              </a:extLst>
            </p:cNvPr>
            <p:cNvSpPr/>
            <p:nvPr/>
          </p:nvSpPr>
          <p:spPr>
            <a:xfrm>
              <a:off x="8428587" y="5908575"/>
              <a:ext cx="59307" cy="59307"/>
            </a:xfrm>
            <a:custGeom>
              <a:avLst/>
              <a:gdLst>
                <a:gd name="connsiteX0" fmla="*/ 59307 w 59307"/>
                <a:gd name="connsiteY0" fmla="*/ 59307 h 59307"/>
                <a:gd name="connsiteX1" fmla="*/ 59307 w 59307"/>
                <a:gd name="connsiteY1" fmla="*/ 98 h 59307"/>
                <a:gd name="connsiteX2" fmla="*/ 0 w 59307"/>
                <a:gd name="connsiteY2" fmla="*/ 0 h 593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59307" h="59307">
                  <a:moveTo>
                    <a:pt x="59307" y="59307"/>
                  </a:moveTo>
                  <a:lnTo>
                    <a:pt x="59307" y="98"/>
                  </a:lnTo>
                  <a:lnTo>
                    <a:pt x="0" y="0"/>
                  </a:lnTo>
                </a:path>
              </a:pathLst>
            </a:custGeom>
            <a:noFill/>
            <a:ln w="6350" cap="sq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311" name="Gráfico 14">
            <a:extLst>
              <a:ext uri="{FF2B5EF4-FFF2-40B4-BE49-F238E27FC236}">
                <a16:creationId xmlns:a16="http://schemas.microsoft.com/office/drawing/2014/main" id="{EE21CD1B-5990-96EA-B2D8-5DCA9E3D95B7}"/>
              </a:ext>
            </a:extLst>
          </p:cNvPr>
          <p:cNvGrpSpPr/>
          <p:nvPr/>
        </p:nvGrpSpPr>
        <p:grpSpPr>
          <a:xfrm>
            <a:off x="8852616" y="3618947"/>
            <a:ext cx="212112" cy="312380"/>
            <a:chOff x="8852616" y="3618947"/>
            <a:chExt cx="212112" cy="312380"/>
          </a:xfrm>
          <a:noFill/>
        </p:grpSpPr>
        <p:grpSp>
          <p:nvGrpSpPr>
            <p:cNvPr id="1312" name="Gráfico 14">
              <a:extLst>
                <a:ext uri="{FF2B5EF4-FFF2-40B4-BE49-F238E27FC236}">
                  <a16:creationId xmlns:a16="http://schemas.microsoft.com/office/drawing/2014/main" id="{C8EC7B43-CC70-5DC3-E6A0-024FA165D573}"/>
                </a:ext>
              </a:extLst>
            </p:cNvPr>
            <p:cNvGrpSpPr/>
            <p:nvPr/>
          </p:nvGrpSpPr>
          <p:grpSpPr>
            <a:xfrm>
              <a:off x="8876358" y="3618947"/>
              <a:ext cx="164529" cy="128719"/>
              <a:chOff x="8876358" y="3618947"/>
              <a:chExt cx="164529" cy="128719"/>
            </a:xfrm>
            <a:noFill/>
          </p:grpSpPr>
          <p:sp>
            <p:nvSpPr>
              <p:cNvPr id="1313" name="Forma livre: Forma 1312">
                <a:extLst>
                  <a:ext uri="{FF2B5EF4-FFF2-40B4-BE49-F238E27FC236}">
                    <a16:creationId xmlns:a16="http://schemas.microsoft.com/office/drawing/2014/main" id="{1BB9BF3F-C795-1D0F-4E31-6882E4FC6063}"/>
                  </a:ext>
                </a:extLst>
              </p:cNvPr>
              <p:cNvSpPr/>
              <p:nvPr/>
            </p:nvSpPr>
            <p:spPr>
              <a:xfrm>
                <a:off x="8876358" y="3618947"/>
                <a:ext cx="164529" cy="128719"/>
              </a:xfrm>
              <a:custGeom>
                <a:avLst/>
                <a:gdLst>
                  <a:gd name="connsiteX0" fmla="*/ 164530 w 164529"/>
                  <a:gd name="connsiteY0" fmla="*/ 35565 h 128719"/>
                  <a:gd name="connsiteX1" fmla="*/ 143093 w 164529"/>
                  <a:gd name="connsiteY1" fmla="*/ 0 h 128719"/>
                  <a:gd name="connsiteX2" fmla="*/ 21437 w 164529"/>
                  <a:gd name="connsiteY2" fmla="*/ 0 h 128719"/>
                  <a:gd name="connsiteX3" fmla="*/ 0 w 164529"/>
                  <a:gd name="connsiteY3" fmla="*/ 35565 h 128719"/>
                  <a:gd name="connsiteX4" fmla="*/ 82412 w 164529"/>
                  <a:gd name="connsiteY4" fmla="*/ 128720 h 128719"/>
                  <a:gd name="connsiteX5" fmla="*/ 164530 w 164529"/>
                  <a:gd name="connsiteY5" fmla="*/ 35565 h 1287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64529" h="128719">
                    <a:moveTo>
                      <a:pt x="164530" y="35565"/>
                    </a:moveTo>
                    <a:lnTo>
                      <a:pt x="143093" y="0"/>
                    </a:lnTo>
                    <a:lnTo>
                      <a:pt x="21437" y="0"/>
                    </a:lnTo>
                    <a:lnTo>
                      <a:pt x="0" y="35565"/>
                    </a:lnTo>
                    <a:lnTo>
                      <a:pt x="82412" y="128720"/>
                    </a:lnTo>
                    <a:lnTo>
                      <a:pt x="164530" y="35565"/>
                    </a:lnTo>
                    <a:close/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314" name="Forma livre: Forma 1313">
                <a:extLst>
                  <a:ext uri="{FF2B5EF4-FFF2-40B4-BE49-F238E27FC236}">
                    <a16:creationId xmlns:a16="http://schemas.microsoft.com/office/drawing/2014/main" id="{B69B11AC-3B9C-A866-8820-AD52410BA750}"/>
                  </a:ext>
                </a:extLst>
              </p:cNvPr>
              <p:cNvSpPr/>
              <p:nvPr/>
            </p:nvSpPr>
            <p:spPr>
              <a:xfrm>
                <a:off x="8876358" y="3654512"/>
                <a:ext cx="163303" cy="4905"/>
              </a:xfrm>
              <a:custGeom>
                <a:avLst/>
                <a:gdLst>
                  <a:gd name="connsiteX0" fmla="*/ 0 w 163303"/>
                  <a:gd name="connsiteY0" fmla="*/ 0 h 4905"/>
                  <a:gd name="connsiteX1" fmla="*/ 163303 w 163303"/>
                  <a:gd name="connsiteY1" fmla="*/ 0 h 49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63303" h="4905">
                    <a:moveTo>
                      <a:pt x="0" y="0"/>
                    </a:moveTo>
                    <a:lnTo>
                      <a:pt x="163303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315" name="Forma livre: Forma 1314">
                <a:extLst>
                  <a:ext uri="{FF2B5EF4-FFF2-40B4-BE49-F238E27FC236}">
                    <a16:creationId xmlns:a16="http://schemas.microsoft.com/office/drawing/2014/main" id="{3AA50B98-1D46-E749-3635-D647AB3845A0}"/>
                  </a:ext>
                </a:extLst>
              </p:cNvPr>
              <p:cNvSpPr/>
              <p:nvPr/>
            </p:nvSpPr>
            <p:spPr>
              <a:xfrm>
                <a:off x="8922617" y="3654512"/>
                <a:ext cx="36006" cy="90996"/>
              </a:xfrm>
              <a:custGeom>
                <a:avLst/>
                <a:gdLst>
                  <a:gd name="connsiteX0" fmla="*/ 0 w 36006"/>
                  <a:gd name="connsiteY0" fmla="*/ 0 h 90996"/>
                  <a:gd name="connsiteX1" fmla="*/ 36006 w 36006"/>
                  <a:gd name="connsiteY1" fmla="*/ 90996 h 909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6006" h="90996">
                    <a:moveTo>
                      <a:pt x="0" y="0"/>
                    </a:moveTo>
                    <a:lnTo>
                      <a:pt x="36006" y="90996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316" name="Forma livre: Forma 1315">
                <a:extLst>
                  <a:ext uri="{FF2B5EF4-FFF2-40B4-BE49-F238E27FC236}">
                    <a16:creationId xmlns:a16="http://schemas.microsoft.com/office/drawing/2014/main" id="{E6FDC541-EA8B-95FD-60A1-D02730487916}"/>
                  </a:ext>
                </a:extLst>
              </p:cNvPr>
              <p:cNvSpPr/>
              <p:nvPr/>
            </p:nvSpPr>
            <p:spPr>
              <a:xfrm>
                <a:off x="8922960" y="3619879"/>
                <a:ext cx="16923" cy="33700"/>
              </a:xfrm>
              <a:custGeom>
                <a:avLst/>
                <a:gdLst>
                  <a:gd name="connsiteX0" fmla="*/ 16924 w 16923"/>
                  <a:gd name="connsiteY0" fmla="*/ 0 h 33700"/>
                  <a:gd name="connsiteX1" fmla="*/ 0 w 16923"/>
                  <a:gd name="connsiteY1" fmla="*/ 33701 h 337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6923" h="33700">
                    <a:moveTo>
                      <a:pt x="16924" y="0"/>
                    </a:moveTo>
                    <a:lnTo>
                      <a:pt x="0" y="33701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317" name="Forma livre: Forma 1316">
                <a:extLst>
                  <a:ext uri="{FF2B5EF4-FFF2-40B4-BE49-F238E27FC236}">
                    <a16:creationId xmlns:a16="http://schemas.microsoft.com/office/drawing/2014/main" id="{F7CDC968-A0F1-88E0-DC6C-A65E7E3D4613}"/>
                  </a:ext>
                </a:extLst>
              </p:cNvPr>
              <p:cNvSpPr/>
              <p:nvPr/>
            </p:nvSpPr>
            <p:spPr>
              <a:xfrm>
                <a:off x="8977607" y="3619879"/>
                <a:ext cx="16923" cy="33700"/>
              </a:xfrm>
              <a:custGeom>
                <a:avLst/>
                <a:gdLst>
                  <a:gd name="connsiteX0" fmla="*/ 16924 w 16923"/>
                  <a:gd name="connsiteY0" fmla="*/ 33701 h 33700"/>
                  <a:gd name="connsiteX1" fmla="*/ 0 w 16923"/>
                  <a:gd name="connsiteY1" fmla="*/ 0 h 337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6923" h="33700">
                    <a:moveTo>
                      <a:pt x="16924" y="33701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318" name="Forma livre: Forma 1317">
                <a:extLst>
                  <a:ext uri="{FF2B5EF4-FFF2-40B4-BE49-F238E27FC236}">
                    <a16:creationId xmlns:a16="http://schemas.microsoft.com/office/drawing/2014/main" id="{47330A05-2080-37BD-0807-4A6F5D72FC0A}"/>
                  </a:ext>
                </a:extLst>
              </p:cNvPr>
              <p:cNvSpPr/>
              <p:nvPr/>
            </p:nvSpPr>
            <p:spPr>
              <a:xfrm>
                <a:off x="8958917" y="3654512"/>
                <a:ext cx="36006" cy="90996"/>
              </a:xfrm>
              <a:custGeom>
                <a:avLst/>
                <a:gdLst>
                  <a:gd name="connsiteX0" fmla="*/ 36006 w 36006"/>
                  <a:gd name="connsiteY0" fmla="*/ 0 h 90996"/>
                  <a:gd name="connsiteX1" fmla="*/ 0 w 36006"/>
                  <a:gd name="connsiteY1" fmla="*/ 90996 h 909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6006" h="90996">
                    <a:moveTo>
                      <a:pt x="36006" y="0"/>
                    </a:moveTo>
                    <a:lnTo>
                      <a:pt x="0" y="90996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319" name="Forma livre: Forma 1318">
              <a:extLst>
                <a:ext uri="{FF2B5EF4-FFF2-40B4-BE49-F238E27FC236}">
                  <a16:creationId xmlns:a16="http://schemas.microsoft.com/office/drawing/2014/main" id="{DCAC12EE-2BC4-84ED-F75B-02275611D0E4}"/>
                </a:ext>
              </a:extLst>
            </p:cNvPr>
            <p:cNvSpPr/>
            <p:nvPr/>
          </p:nvSpPr>
          <p:spPr>
            <a:xfrm>
              <a:off x="8852616" y="3730056"/>
              <a:ext cx="212112" cy="201271"/>
            </a:xfrm>
            <a:custGeom>
              <a:avLst/>
              <a:gdLst>
                <a:gd name="connsiteX0" fmla="*/ 153100 w 212112"/>
                <a:gd name="connsiteY0" fmla="*/ 147 h 201271"/>
                <a:gd name="connsiteX1" fmla="*/ 212113 w 212112"/>
                <a:gd name="connsiteY1" fmla="*/ 95215 h 201271"/>
                <a:gd name="connsiteX2" fmla="*/ 106056 w 212112"/>
                <a:gd name="connsiteY2" fmla="*/ 201271 h 201271"/>
                <a:gd name="connsiteX3" fmla="*/ 0 w 212112"/>
                <a:gd name="connsiteY3" fmla="*/ 95215 h 201271"/>
                <a:gd name="connsiteX4" fmla="*/ 59258 w 212112"/>
                <a:gd name="connsiteY4" fmla="*/ 0 h 2012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12112" h="201271">
                  <a:moveTo>
                    <a:pt x="153100" y="147"/>
                  </a:moveTo>
                  <a:cubicBezTo>
                    <a:pt x="188076" y="17513"/>
                    <a:pt x="212113" y="53568"/>
                    <a:pt x="212113" y="95215"/>
                  </a:cubicBezTo>
                  <a:cubicBezTo>
                    <a:pt x="212113" y="153786"/>
                    <a:pt x="164628" y="201271"/>
                    <a:pt x="106056" y="201271"/>
                  </a:cubicBezTo>
                  <a:cubicBezTo>
                    <a:pt x="47485" y="201271"/>
                    <a:pt x="0" y="153786"/>
                    <a:pt x="0" y="95215"/>
                  </a:cubicBezTo>
                  <a:cubicBezTo>
                    <a:pt x="0" y="53421"/>
                    <a:pt x="24135" y="17316"/>
                    <a:pt x="59258" y="0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320" name="Forma livre: Forma 1319">
              <a:extLst>
                <a:ext uri="{FF2B5EF4-FFF2-40B4-BE49-F238E27FC236}">
                  <a16:creationId xmlns:a16="http://schemas.microsoft.com/office/drawing/2014/main" id="{F97582F8-7D75-C368-D862-A1DB64F3D23E}"/>
                </a:ext>
              </a:extLst>
            </p:cNvPr>
            <p:cNvSpPr/>
            <p:nvPr/>
          </p:nvSpPr>
          <p:spPr>
            <a:xfrm>
              <a:off x="8882490" y="3749089"/>
              <a:ext cx="152265" cy="152265"/>
            </a:xfrm>
            <a:custGeom>
              <a:avLst/>
              <a:gdLst>
                <a:gd name="connsiteX0" fmla="*/ 152266 w 152265"/>
                <a:gd name="connsiteY0" fmla="*/ 76133 h 152265"/>
                <a:gd name="connsiteX1" fmla="*/ 76133 w 152265"/>
                <a:gd name="connsiteY1" fmla="*/ 152266 h 152265"/>
                <a:gd name="connsiteX2" fmla="*/ 0 w 152265"/>
                <a:gd name="connsiteY2" fmla="*/ 76133 h 152265"/>
                <a:gd name="connsiteX3" fmla="*/ 76133 w 152265"/>
                <a:gd name="connsiteY3" fmla="*/ 0 h 152265"/>
                <a:gd name="connsiteX4" fmla="*/ 152266 w 152265"/>
                <a:gd name="connsiteY4" fmla="*/ 76133 h 1522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2265" h="152265">
                  <a:moveTo>
                    <a:pt x="152266" y="76133"/>
                  </a:moveTo>
                  <a:cubicBezTo>
                    <a:pt x="152266" y="118173"/>
                    <a:pt x="118173" y="152266"/>
                    <a:pt x="76133" y="152266"/>
                  </a:cubicBezTo>
                  <a:cubicBezTo>
                    <a:pt x="34093" y="152266"/>
                    <a:pt x="0" y="118173"/>
                    <a:pt x="0" y="76133"/>
                  </a:cubicBezTo>
                  <a:cubicBezTo>
                    <a:pt x="0" y="34093"/>
                    <a:pt x="34093" y="0"/>
                    <a:pt x="76133" y="0"/>
                  </a:cubicBezTo>
                  <a:cubicBezTo>
                    <a:pt x="118173" y="0"/>
                    <a:pt x="152266" y="34093"/>
                    <a:pt x="152266" y="76133"/>
                  </a:cubicBez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321" name="Gráfico 14">
            <a:extLst>
              <a:ext uri="{FF2B5EF4-FFF2-40B4-BE49-F238E27FC236}">
                <a16:creationId xmlns:a16="http://schemas.microsoft.com/office/drawing/2014/main" id="{CE3020FC-38E1-63FB-0EB7-24516BA7EA53}"/>
              </a:ext>
            </a:extLst>
          </p:cNvPr>
          <p:cNvGrpSpPr/>
          <p:nvPr/>
        </p:nvGrpSpPr>
        <p:grpSpPr>
          <a:xfrm>
            <a:off x="8860710" y="4159356"/>
            <a:ext cx="195826" cy="344832"/>
            <a:chOff x="8860710" y="4159356"/>
            <a:chExt cx="195826" cy="344832"/>
          </a:xfrm>
          <a:noFill/>
        </p:grpSpPr>
        <p:sp>
          <p:nvSpPr>
            <p:cNvPr id="1322" name="Forma livre: Forma 1321">
              <a:extLst>
                <a:ext uri="{FF2B5EF4-FFF2-40B4-BE49-F238E27FC236}">
                  <a16:creationId xmlns:a16="http://schemas.microsoft.com/office/drawing/2014/main" id="{164F87D5-9658-55C8-3F7C-361E4DF86D0D}"/>
                </a:ext>
              </a:extLst>
            </p:cNvPr>
            <p:cNvSpPr/>
            <p:nvPr/>
          </p:nvSpPr>
          <p:spPr>
            <a:xfrm>
              <a:off x="8958623" y="4302819"/>
              <a:ext cx="4905" cy="78781"/>
            </a:xfrm>
            <a:custGeom>
              <a:avLst/>
              <a:gdLst>
                <a:gd name="connsiteX0" fmla="*/ 0 w 4905"/>
                <a:gd name="connsiteY0" fmla="*/ 0 h 78781"/>
                <a:gd name="connsiteX1" fmla="*/ 0 w 4905"/>
                <a:gd name="connsiteY1" fmla="*/ 78782 h 787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905" h="78781">
                  <a:moveTo>
                    <a:pt x="0" y="0"/>
                  </a:moveTo>
                  <a:lnTo>
                    <a:pt x="0" y="78782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323" name="Forma livre: Forma 1322">
              <a:extLst>
                <a:ext uri="{FF2B5EF4-FFF2-40B4-BE49-F238E27FC236}">
                  <a16:creationId xmlns:a16="http://schemas.microsoft.com/office/drawing/2014/main" id="{5841B5F8-5669-194A-5C75-513D73B4E6D7}"/>
                </a:ext>
              </a:extLst>
            </p:cNvPr>
            <p:cNvSpPr/>
            <p:nvPr/>
          </p:nvSpPr>
          <p:spPr>
            <a:xfrm>
              <a:off x="8887396" y="4404460"/>
              <a:ext cx="142454" cy="99728"/>
            </a:xfrm>
            <a:custGeom>
              <a:avLst/>
              <a:gdLst>
                <a:gd name="connsiteX0" fmla="*/ 125335 w 142454"/>
                <a:gd name="connsiteY0" fmla="*/ 31640 h 99728"/>
                <a:gd name="connsiteX1" fmla="*/ 117437 w 142454"/>
                <a:gd name="connsiteY1" fmla="*/ 99728 h 99728"/>
                <a:gd name="connsiteX2" fmla="*/ 24871 w 142454"/>
                <a:gd name="connsiteY2" fmla="*/ 99728 h 99728"/>
                <a:gd name="connsiteX3" fmla="*/ 17120 w 142454"/>
                <a:gd name="connsiteY3" fmla="*/ 30120 h 99728"/>
                <a:gd name="connsiteX4" fmla="*/ 0 w 142454"/>
                <a:gd name="connsiteY4" fmla="*/ 30120 h 99728"/>
                <a:gd name="connsiteX5" fmla="*/ 0 w 142454"/>
                <a:gd name="connsiteY5" fmla="*/ 0 h 99728"/>
                <a:gd name="connsiteX6" fmla="*/ 142455 w 142454"/>
                <a:gd name="connsiteY6" fmla="*/ 0 h 99728"/>
                <a:gd name="connsiteX7" fmla="*/ 142455 w 142454"/>
                <a:gd name="connsiteY7" fmla="*/ 30120 h 99728"/>
                <a:gd name="connsiteX8" fmla="*/ 59062 w 142454"/>
                <a:gd name="connsiteY8" fmla="*/ 30120 h 997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2454" h="99728">
                  <a:moveTo>
                    <a:pt x="125335" y="31640"/>
                  </a:moveTo>
                  <a:lnTo>
                    <a:pt x="117437" y="99728"/>
                  </a:lnTo>
                  <a:lnTo>
                    <a:pt x="24871" y="99728"/>
                  </a:lnTo>
                  <a:lnTo>
                    <a:pt x="17120" y="30120"/>
                  </a:lnTo>
                  <a:lnTo>
                    <a:pt x="0" y="30120"/>
                  </a:lnTo>
                  <a:lnTo>
                    <a:pt x="0" y="0"/>
                  </a:lnTo>
                  <a:lnTo>
                    <a:pt x="142455" y="0"/>
                  </a:lnTo>
                  <a:lnTo>
                    <a:pt x="142455" y="30120"/>
                  </a:lnTo>
                  <a:lnTo>
                    <a:pt x="59062" y="30120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324" name="Gráfico 14">
              <a:extLst>
                <a:ext uri="{FF2B5EF4-FFF2-40B4-BE49-F238E27FC236}">
                  <a16:creationId xmlns:a16="http://schemas.microsoft.com/office/drawing/2014/main" id="{DFE3A0EC-E3CA-7903-0478-5AB82E845889}"/>
                </a:ext>
              </a:extLst>
            </p:cNvPr>
            <p:cNvGrpSpPr/>
            <p:nvPr/>
          </p:nvGrpSpPr>
          <p:grpSpPr>
            <a:xfrm>
              <a:off x="8860710" y="4307165"/>
              <a:ext cx="195826" cy="41719"/>
              <a:chOff x="8860710" y="4307165"/>
              <a:chExt cx="195826" cy="41719"/>
            </a:xfrm>
            <a:noFill/>
          </p:grpSpPr>
          <p:grpSp>
            <p:nvGrpSpPr>
              <p:cNvPr id="1325" name="Gráfico 14">
                <a:extLst>
                  <a:ext uri="{FF2B5EF4-FFF2-40B4-BE49-F238E27FC236}">
                    <a16:creationId xmlns:a16="http://schemas.microsoft.com/office/drawing/2014/main" id="{CC0C802F-45F6-72B7-A866-FE9F3B765A96}"/>
                  </a:ext>
                </a:extLst>
              </p:cNvPr>
              <p:cNvGrpSpPr/>
              <p:nvPr/>
            </p:nvGrpSpPr>
            <p:grpSpPr>
              <a:xfrm>
                <a:off x="8860710" y="4307165"/>
                <a:ext cx="97275" cy="41719"/>
                <a:chOff x="8860710" y="4307165"/>
                <a:chExt cx="97275" cy="41719"/>
              </a:xfrm>
              <a:noFill/>
            </p:grpSpPr>
            <p:sp>
              <p:nvSpPr>
                <p:cNvPr id="1326" name="Forma livre: Forma 1325">
                  <a:extLst>
                    <a:ext uri="{FF2B5EF4-FFF2-40B4-BE49-F238E27FC236}">
                      <a16:creationId xmlns:a16="http://schemas.microsoft.com/office/drawing/2014/main" id="{146F2FE3-1D4C-F97A-E2C9-9A0A3780FCDB}"/>
                    </a:ext>
                  </a:extLst>
                </p:cNvPr>
                <p:cNvSpPr/>
                <p:nvPr/>
              </p:nvSpPr>
              <p:spPr>
                <a:xfrm>
                  <a:off x="8931986" y="4339168"/>
                  <a:ext cx="25999" cy="9663"/>
                </a:xfrm>
                <a:custGeom>
                  <a:avLst/>
                  <a:gdLst>
                    <a:gd name="connsiteX0" fmla="*/ 25999 w 25999"/>
                    <a:gd name="connsiteY0" fmla="*/ 9664 h 9663"/>
                    <a:gd name="connsiteX1" fmla="*/ 0 w 25999"/>
                    <a:gd name="connsiteY1" fmla="*/ 0 h 966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5999" h="9663">
                      <a:moveTo>
                        <a:pt x="25999" y="9664"/>
                      </a:moveTo>
                      <a:lnTo>
                        <a:pt x="0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327" name="Forma livre: Forma 1326">
                  <a:extLst>
                    <a:ext uri="{FF2B5EF4-FFF2-40B4-BE49-F238E27FC236}">
                      <a16:creationId xmlns:a16="http://schemas.microsoft.com/office/drawing/2014/main" id="{215BC173-9B2F-8F2F-5DB3-9B1E05E5D776}"/>
                    </a:ext>
                  </a:extLst>
                </p:cNvPr>
                <p:cNvSpPr/>
                <p:nvPr/>
              </p:nvSpPr>
              <p:spPr>
                <a:xfrm>
                  <a:off x="8860710" y="4307165"/>
                  <a:ext cx="70042" cy="41719"/>
                </a:xfrm>
                <a:custGeom>
                  <a:avLst/>
                  <a:gdLst>
                    <a:gd name="connsiteX0" fmla="*/ 69462 w 70042"/>
                    <a:gd name="connsiteY0" fmla="*/ 31611 h 41719"/>
                    <a:gd name="connsiteX1" fmla="*/ 26244 w 70042"/>
                    <a:gd name="connsiteY1" fmla="*/ 34946 h 41719"/>
                    <a:gd name="connsiteX2" fmla="*/ 0 w 70042"/>
                    <a:gd name="connsiteY2" fmla="*/ 5366 h 41719"/>
                    <a:gd name="connsiteX3" fmla="*/ 39146 w 70042"/>
                    <a:gd name="connsiteY3" fmla="*/ 657 h 41719"/>
                    <a:gd name="connsiteX4" fmla="*/ 69462 w 70042"/>
                    <a:gd name="connsiteY4" fmla="*/ 31611 h 4171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70042" h="41719">
                      <a:moveTo>
                        <a:pt x="69462" y="31611"/>
                      </a:moveTo>
                      <a:cubicBezTo>
                        <a:pt x="65194" y="43531"/>
                        <a:pt x="41795" y="45248"/>
                        <a:pt x="26244" y="34946"/>
                      </a:cubicBezTo>
                      <a:cubicBezTo>
                        <a:pt x="6181" y="21604"/>
                        <a:pt x="0" y="5366"/>
                        <a:pt x="0" y="5366"/>
                      </a:cubicBezTo>
                      <a:cubicBezTo>
                        <a:pt x="0" y="5366"/>
                        <a:pt x="17365" y="-2237"/>
                        <a:pt x="39146" y="657"/>
                      </a:cubicBezTo>
                      <a:cubicBezTo>
                        <a:pt x="57639" y="3159"/>
                        <a:pt x="73288" y="21064"/>
                        <a:pt x="69462" y="31611"/>
                      </a:cubicBezTo>
                      <a:close/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1328" name="Gráfico 14">
                <a:extLst>
                  <a:ext uri="{FF2B5EF4-FFF2-40B4-BE49-F238E27FC236}">
                    <a16:creationId xmlns:a16="http://schemas.microsoft.com/office/drawing/2014/main" id="{EB40C56B-8836-F0F2-5E69-00EDF434C852}"/>
                  </a:ext>
                </a:extLst>
              </p:cNvPr>
              <p:cNvGrpSpPr/>
              <p:nvPr/>
            </p:nvGrpSpPr>
            <p:grpSpPr>
              <a:xfrm>
                <a:off x="8959261" y="4307165"/>
                <a:ext cx="97275" cy="41719"/>
                <a:chOff x="8959261" y="4307165"/>
                <a:chExt cx="97275" cy="41719"/>
              </a:xfrm>
              <a:noFill/>
            </p:grpSpPr>
            <p:sp>
              <p:nvSpPr>
                <p:cNvPr id="1329" name="Forma livre: Forma 1328">
                  <a:extLst>
                    <a:ext uri="{FF2B5EF4-FFF2-40B4-BE49-F238E27FC236}">
                      <a16:creationId xmlns:a16="http://schemas.microsoft.com/office/drawing/2014/main" id="{B2CD982E-7F7F-0A7E-0FB8-D2343BBCCBA3}"/>
                    </a:ext>
                  </a:extLst>
                </p:cNvPr>
                <p:cNvSpPr/>
                <p:nvPr/>
              </p:nvSpPr>
              <p:spPr>
                <a:xfrm>
                  <a:off x="8986494" y="4307165"/>
                  <a:ext cx="70042" cy="41719"/>
                </a:xfrm>
                <a:custGeom>
                  <a:avLst/>
                  <a:gdLst>
                    <a:gd name="connsiteX0" fmla="*/ 581 w 70042"/>
                    <a:gd name="connsiteY0" fmla="*/ 31611 h 41719"/>
                    <a:gd name="connsiteX1" fmla="*/ 43798 w 70042"/>
                    <a:gd name="connsiteY1" fmla="*/ 34946 h 41719"/>
                    <a:gd name="connsiteX2" fmla="*/ 70042 w 70042"/>
                    <a:gd name="connsiteY2" fmla="*/ 5366 h 41719"/>
                    <a:gd name="connsiteX3" fmla="*/ 30896 w 70042"/>
                    <a:gd name="connsiteY3" fmla="*/ 657 h 41719"/>
                    <a:gd name="connsiteX4" fmla="*/ 581 w 70042"/>
                    <a:gd name="connsiteY4" fmla="*/ 31611 h 4171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70042" h="41719">
                      <a:moveTo>
                        <a:pt x="581" y="31611"/>
                      </a:moveTo>
                      <a:cubicBezTo>
                        <a:pt x="4848" y="43531"/>
                        <a:pt x="28248" y="45248"/>
                        <a:pt x="43798" y="34946"/>
                      </a:cubicBezTo>
                      <a:cubicBezTo>
                        <a:pt x="63861" y="21604"/>
                        <a:pt x="70042" y="5366"/>
                        <a:pt x="70042" y="5366"/>
                      </a:cubicBezTo>
                      <a:cubicBezTo>
                        <a:pt x="70042" y="5366"/>
                        <a:pt x="52677" y="-2237"/>
                        <a:pt x="30896" y="657"/>
                      </a:cubicBezTo>
                      <a:cubicBezTo>
                        <a:pt x="12403" y="3159"/>
                        <a:pt x="-3246" y="21064"/>
                        <a:pt x="581" y="31611"/>
                      </a:cubicBezTo>
                      <a:close/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330" name="Forma livre: Forma 1329">
                  <a:extLst>
                    <a:ext uri="{FF2B5EF4-FFF2-40B4-BE49-F238E27FC236}">
                      <a16:creationId xmlns:a16="http://schemas.microsoft.com/office/drawing/2014/main" id="{B5EFEB25-E578-F99F-73C7-5F3680442B7D}"/>
                    </a:ext>
                  </a:extLst>
                </p:cNvPr>
                <p:cNvSpPr/>
                <p:nvPr/>
              </p:nvSpPr>
              <p:spPr>
                <a:xfrm>
                  <a:off x="8959261" y="4339168"/>
                  <a:ext cx="25999" cy="9663"/>
                </a:xfrm>
                <a:custGeom>
                  <a:avLst/>
                  <a:gdLst>
                    <a:gd name="connsiteX0" fmla="*/ 0 w 25999"/>
                    <a:gd name="connsiteY0" fmla="*/ 9664 h 9663"/>
                    <a:gd name="connsiteX1" fmla="*/ 25999 w 25999"/>
                    <a:gd name="connsiteY1" fmla="*/ 0 h 966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5999" h="9663">
                      <a:moveTo>
                        <a:pt x="0" y="9664"/>
                      </a:moveTo>
                      <a:lnTo>
                        <a:pt x="25999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grpSp>
          <p:nvGrpSpPr>
            <p:cNvPr id="1331" name="Gráfico 14">
              <a:extLst>
                <a:ext uri="{FF2B5EF4-FFF2-40B4-BE49-F238E27FC236}">
                  <a16:creationId xmlns:a16="http://schemas.microsoft.com/office/drawing/2014/main" id="{34F689AC-FAD7-8310-C21E-57BBE58B6744}"/>
                </a:ext>
              </a:extLst>
            </p:cNvPr>
            <p:cNvGrpSpPr/>
            <p:nvPr/>
          </p:nvGrpSpPr>
          <p:grpSpPr>
            <a:xfrm>
              <a:off x="8873437" y="4159356"/>
              <a:ext cx="170297" cy="146405"/>
              <a:chOff x="8873437" y="4159356"/>
              <a:chExt cx="170297" cy="146405"/>
            </a:xfrm>
            <a:noFill/>
          </p:grpSpPr>
          <p:sp>
            <p:nvSpPr>
              <p:cNvPr id="1332" name="Forma livre: Forma 1331">
                <a:extLst>
                  <a:ext uri="{FF2B5EF4-FFF2-40B4-BE49-F238E27FC236}">
                    <a16:creationId xmlns:a16="http://schemas.microsoft.com/office/drawing/2014/main" id="{E4BF72F7-98AF-9E81-D55B-22C0045AFC14}"/>
                  </a:ext>
                </a:extLst>
              </p:cNvPr>
              <p:cNvSpPr/>
              <p:nvPr/>
            </p:nvSpPr>
            <p:spPr>
              <a:xfrm>
                <a:off x="8902099" y="4188571"/>
                <a:ext cx="10020" cy="25115"/>
              </a:xfrm>
              <a:custGeom>
                <a:avLst/>
                <a:gdLst>
                  <a:gd name="connsiteX0" fmla="*/ 10020 w 10020"/>
                  <a:gd name="connsiteY0" fmla="*/ 0 h 25115"/>
                  <a:gd name="connsiteX1" fmla="*/ 4085 w 10020"/>
                  <a:gd name="connsiteY1" fmla="*/ 3483 h 25115"/>
                  <a:gd name="connsiteX2" fmla="*/ 4722 w 10020"/>
                  <a:gd name="connsiteY2" fmla="*/ 25116 h 251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0020" h="25115">
                    <a:moveTo>
                      <a:pt x="10020" y="0"/>
                    </a:moveTo>
                    <a:cubicBezTo>
                      <a:pt x="8107" y="540"/>
                      <a:pt x="5998" y="1619"/>
                      <a:pt x="4085" y="3483"/>
                    </a:cubicBezTo>
                    <a:cubicBezTo>
                      <a:pt x="-1606" y="9173"/>
                      <a:pt x="-1311" y="19082"/>
                      <a:pt x="4722" y="25116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333" name="Forma livre: Forma 1332">
                <a:extLst>
                  <a:ext uri="{FF2B5EF4-FFF2-40B4-BE49-F238E27FC236}">
                    <a16:creationId xmlns:a16="http://schemas.microsoft.com/office/drawing/2014/main" id="{A2AE293E-105A-6860-D3D6-22045337D389}"/>
                  </a:ext>
                </a:extLst>
              </p:cNvPr>
              <p:cNvSpPr/>
              <p:nvPr/>
            </p:nvSpPr>
            <p:spPr>
              <a:xfrm>
                <a:off x="8873437" y="4159356"/>
                <a:ext cx="170297" cy="146405"/>
              </a:xfrm>
              <a:custGeom>
                <a:avLst/>
                <a:gdLst>
                  <a:gd name="connsiteX0" fmla="*/ 157198 w 170297"/>
                  <a:gd name="connsiteY0" fmla="*/ 74492 h 146405"/>
                  <a:gd name="connsiteX1" fmla="*/ 157787 w 170297"/>
                  <a:gd name="connsiteY1" fmla="*/ 12487 h 146405"/>
                  <a:gd name="connsiteX2" fmla="*/ 95782 w 170297"/>
                  <a:gd name="connsiteY2" fmla="*/ 13124 h 146405"/>
                  <a:gd name="connsiteX3" fmla="*/ 85088 w 170297"/>
                  <a:gd name="connsiteY3" fmla="*/ 23720 h 146405"/>
                  <a:gd name="connsiteX4" fmla="*/ 74492 w 170297"/>
                  <a:gd name="connsiteY4" fmla="*/ 13124 h 146405"/>
                  <a:gd name="connsiteX5" fmla="*/ 12487 w 170297"/>
                  <a:gd name="connsiteY5" fmla="*/ 12487 h 146405"/>
                  <a:gd name="connsiteX6" fmla="*/ 13124 w 170297"/>
                  <a:gd name="connsiteY6" fmla="*/ 74492 h 146405"/>
                  <a:gd name="connsiteX7" fmla="*/ 85137 w 170297"/>
                  <a:gd name="connsiteY7" fmla="*/ 146406 h 146405"/>
                  <a:gd name="connsiteX8" fmla="*/ 157198 w 170297"/>
                  <a:gd name="connsiteY8" fmla="*/ 74492 h 1464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70297" h="146405">
                    <a:moveTo>
                      <a:pt x="157198" y="74492"/>
                    </a:moveTo>
                    <a:cubicBezTo>
                      <a:pt x="174416" y="57273"/>
                      <a:pt x="174711" y="29361"/>
                      <a:pt x="157787" y="12487"/>
                    </a:cubicBezTo>
                    <a:cubicBezTo>
                      <a:pt x="140912" y="-4388"/>
                      <a:pt x="113000" y="-4143"/>
                      <a:pt x="95782" y="13124"/>
                    </a:cubicBezTo>
                    <a:lnTo>
                      <a:pt x="85088" y="23720"/>
                    </a:lnTo>
                    <a:lnTo>
                      <a:pt x="74492" y="13124"/>
                    </a:lnTo>
                    <a:cubicBezTo>
                      <a:pt x="57274" y="-4094"/>
                      <a:pt x="29361" y="-4388"/>
                      <a:pt x="12487" y="12487"/>
                    </a:cubicBezTo>
                    <a:cubicBezTo>
                      <a:pt x="-4388" y="29361"/>
                      <a:pt x="-4143" y="57273"/>
                      <a:pt x="13124" y="74492"/>
                    </a:cubicBezTo>
                    <a:lnTo>
                      <a:pt x="85137" y="146406"/>
                    </a:lnTo>
                    <a:lnTo>
                      <a:pt x="157198" y="74492"/>
                    </a:lnTo>
                    <a:close/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334" name="Gráfico 14">
            <a:extLst>
              <a:ext uri="{FF2B5EF4-FFF2-40B4-BE49-F238E27FC236}">
                <a16:creationId xmlns:a16="http://schemas.microsoft.com/office/drawing/2014/main" id="{367E6FFF-663F-CFE2-4C5E-B2927DFA6CAA}"/>
              </a:ext>
            </a:extLst>
          </p:cNvPr>
          <p:cNvGrpSpPr/>
          <p:nvPr/>
        </p:nvGrpSpPr>
        <p:grpSpPr>
          <a:xfrm>
            <a:off x="8833975" y="4712131"/>
            <a:ext cx="249296" cy="352556"/>
            <a:chOff x="8833975" y="4712131"/>
            <a:chExt cx="249296" cy="352556"/>
          </a:xfrm>
        </p:grpSpPr>
        <p:sp>
          <p:nvSpPr>
            <p:cNvPr id="1335" name="Forma livre: Forma 1334">
              <a:extLst>
                <a:ext uri="{FF2B5EF4-FFF2-40B4-BE49-F238E27FC236}">
                  <a16:creationId xmlns:a16="http://schemas.microsoft.com/office/drawing/2014/main" id="{2F62A12C-F2F2-7DE0-5D26-C5575A1E8B27}"/>
                </a:ext>
              </a:extLst>
            </p:cNvPr>
            <p:cNvSpPr/>
            <p:nvPr/>
          </p:nvSpPr>
          <p:spPr>
            <a:xfrm>
              <a:off x="8865147" y="4821643"/>
              <a:ext cx="186915" cy="160779"/>
            </a:xfrm>
            <a:custGeom>
              <a:avLst/>
              <a:gdLst>
                <a:gd name="connsiteX0" fmla="*/ 172552 w 186915"/>
                <a:gd name="connsiteY0" fmla="*/ 81801 h 160779"/>
                <a:gd name="connsiteX1" fmla="*/ 173239 w 186915"/>
                <a:gd name="connsiteY1" fmla="*/ 13713 h 160779"/>
                <a:gd name="connsiteX2" fmla="*/ 105151 w 186915"/>
                <a:gd name="connsiteY2" fmla="*/ 14400 h 160779"/>
                <a:gd name="connsiteX3" fmla="*/ 93427 w 186915"/>
                <a:gd name="connsiteY3" fmla="*/ 26026 h 160779"/>
                <a:gd name="connsiteX4" fmla="*/ 81801 w 186915"/>
                <a:gd name="connsiteY4" fmla="*/ 14400 h 160779"/>
                <a:gd name="connsiteX5" fmla="*/ 13713 w 186915"/>
                <a:gd name="connsiteY5" fmla="*/ 13713 h 160779"/>
                <a:gd name="connsiteX6" fmla="*/ 14400 w 186915"/>
                <a:gd name="connsiteY6" fmla="*/ 81801 h 160779"/>
                <a:gd name="connsiteX7" fmla="*/ 93476 w 186915"/>
                <a:gd name="connsiteY7" fmla="*/ 160779 h 160779"/>
                <a:gd name="connsiteX8" fmla="*/ 172552 w 186915"/>
                <a:gd name="connsiteY8" fmla="*/ 81801 h 1607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86915" h="160779">
                  <a:moveTo>
                    <a:pt x="172552" y="81801"/>
                  </a:moveTo>
                  <a:cubicBezTo>
                    <a:pt x="191438" y="62866"/>
                    <a:pt x="191733" y="32256"/>
                    <a:pt x="173239" y="13713"/>
                  </a:cubicBezTo>
                  <a:cubicBezTo>
                    <a:pt x="154696" y="-4829"/>
                    <a:pt x="124037" y="-4535"/>
                    <a:pt x="105151" y="14400"/>
                  </a:cubicBezTo>
                  <a:lnTo>
                    <a:pt x="93427" y="26026"/>
                  </a:lnTo>
                  <a:lnTo>
                    <a:pt x="81801" y="14400"/>
                  </a:lnTo>
                  <a:cubicBezTo>
                    <a:pt x="62915" y="-4486"/>
                    <a:pt x="32256" y="-4829"/>
                    <a:pt x="13713" y="13713"/>
                  </a:cubicBezTo>
                  <a:cubicBezTo>
                    <a:pt x="-4830" y="32256"/>
                    <a:pt x="-4535" y="62866"/>
                    <a:pt x="14400" y="81801"/>
                  </a:cubicBezTo>
                  <a:lnTo>
                    <a:pt x="93476" y="160779"/>
                  </a:lnTo>
                  <a:lnTo>
                    <a:pt x="172552" y="81801"/>
                  </a:ln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336" name="Gráfico 14">
              <a:extLst>
                <a:ext uri="{FF2B5EF4-FFF2-40B4-BE49-F238E27FC236}">
                  <a16:creationId xmlns:a16="http://schemas.microsoft.com/office/drawing/2014/main" id="{434F1964-7FCB-B5A9-D0AF-63CE03ABF340}"/>
                </a:ext>
              </a:extLst>
            </p:cNvPr>
            <p:cNvGrpSpPr/>
            <p:nvPr/>
          </p:nvGrpSpPr>
          <p:grpSpPr>
            <a:xfrm>
              <a:off x="8958623" y="4712131"/>
              <a:ext cx="4905" cy="352556"/>
              <a:chOff x="8958623" y="4712131"/>
              <a:chExt cx="4905" cy="352556"/>
            </a:xfrm>
          </p:grpSpPr>
          <p:sp>
            <p:nvSpPr>
              <p:cNvPr id="1337" name="Forma livre: Forma 1336">
                <a:extLst>
                  <a:ext uri="{FF2B5EF4-FFF2-40B4-BE49-F238E27FC236}">
                    <a16:creationId xmlns:a16="http://schemas.microsoft.com/office/drawing/2014/main" id="{01120612-2B0D-8553-7824-CB9D8C829769}"/>
                  </a:ext>
                </a:extLst>
              </p:cNvPr>
              <p:cNvSpPr/>
              <p:nvPr/>
            </p:nvSpPr>
            <p:spPr>
              <a:xfrm>
                <a:off x="8958623" y="5015044"/>
                <a:ext cx="4905" cy="49643"/>
              </a:xfrm>
              <a:custGeom>
                <a:avLst/>
                <a:gdLst>
                  <a:gd name="connsiteX0" fmla="*/ 0 w 4905"/>
                  <a:gd name="connsiteY0" fmla="*/ 49643 h 49643"/>
                  <a:gd name="connsiteX1" fmla="*/ 0 w 4905"/>
                  <a:gd name="connsiteY1" fmla="*/ 0 h 496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905" h="49643">
                    <a:moveTo>
                      <a:pt x="0" y="49643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338" name="Forma livre: Forma 1337">
                <a:extLst>
                  <a:ext uri="{FF2B5EF4-FFF2-40B4-BE49-F238E27FC236}">
                    <a16:creationId xmlns:a16="http://schemas.microsoft.com/office/drawing/2014/main" id="{DCB0101A-76E2-4E6B-BD6C-B0DFA2D8BA59}"/>
                  </a:ext>
                </a:extLst>
              </p:cNvPr>
              <p:cNvSpPr/>
              <p:nvPr/>
            </p:nvSpPr>
            <p:spPr>
              <a:xfrm>
                <a:off x="8958623" y="4712131"/>
                <a:ext cx="4905" cy="49594"/>
              </a:xfrm>
              <a:custGeom>
                <a:avLst/>
                <a:gdLst>
                  <a:gd name="connsiteX0" fmla="*/ 0 w 4905"/>
                  <a:gd name="connsiteY0" fmla="*/ 49594 h 49594"/>
                  <a:gd name="connsiteX1" fmla="*/ 0 w 4905"/>
                  <a:gd name="connsiteY1" fmla="*/ 0 h 495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905" h="49594">
                    <a:moveTo>
                      <a:pt x="0" y="49594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339" name="Gráfico 14">
              <a:extLst>
                <a:ext uri="{FF2B5EF4-FFF2-40B4-BE49-F238E27FC236}">
                  <a16:creationId xmlns:a16="http://schemas.microsoft.com/office/drawing/2014/main" id="{47B70C21-EEB3-F2FD-1E49-BD72C0B9ADF3}"/>
                </a:ext>
              </a:extLst>
            </p:cNvPr>
            <p:cNvGrpSpPr/>
            <p:nvPr/>
          </p:nvGrpSpPr>
          <p:grpSpPr>
            <a:xfrm>
              <a:off x="8833975" y="4763737"/>
              <a:ext cx="249296" cy="249295"/>
              <a:chOff x="8833975" y="4763737"/>
              <a:chExt cx="249296" cy="249295"/>
            </a:xfrm>
          </p:grpSpPr>
          <p:sp>
            <p:nvSpPr>
              <p:cNvPr id="1340" name="Forma livre: Forma 1339">
                <a:extLst>
                  <a:ext uri="{FF2B5EF4-FFF2-40B4-BE49-F238E27FC236}">
                    <a16:creationId xmlns:a16="http://schemas.microsoft.com/office/drawing/2014/main" id="{92428F6E-6102-331C-69EF-732CE6AA9162}"/>
                  </a:ext>
                </a:extLst>
              </p:cNvPr>
              <p:cNvSpPr/>
              <p:nvPr/>
            </p:nvSpPr>
            <p:spPr>
              <a:xfrm>
                <a:off x="9048197" y="4977959"/>
                <a:ext cx="35074" cy="35074"/>
              </a:xfrm>
              <a:custGeom>
                <a:avLst/>
                <a:gdLst>
                  <a:gd name="connsiteX0" fmla="*/ 35074 w 35074"/>
                  <a:gd name="connsiteY0" fmla="*/ 35074 h 35074"/>
                  <a:gd name="connsiteX1" fmla="*/ 0 w 35074"/>
                  <a:gd name="connsiteY1" fmla="*/ 0 h 350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5074" h="35074">
                    <a:moveTo>
                      <a:pt x="35074" y="35074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341" name="Forma livre: Forma 1340">
                <a:extLst>
                  <a:ext uri="{FF2B5EF4-FFF2-40B4-BE49-F238E27FC236}">
                    <a16:creationId xmlns:a16="http://schemas.microsoft.com/office/drawing/2014/main" id="{C1653754-B927-6780-7D6F-CB79D135D9A8}"/>
                  </a:ext>
                </a:extLst>
              </p:cNvPr>
              <p:cNvSpPr/>
              <p:nvPr/>
            </p:nvSpPr>
            <p:spPr>
              <a:xfrm>
                <a:off x="8833975" y="4763737"/>
                <a:ext cx="35074" cy="35074"/>
              </a:xfrm>
              <a:custGeom>
                <a:avLst/>
                <a:gdLst>
                  <a:gd name="connsiteX0" fmla="*/ 35074 w 35074"/>
                  <a:gd name="connsiteY0" fmla="*/ 35074 h 35074"/>
                  <a:gd name="connsiteX1" fmla="*/ 0 w 35074"/>
                  <a:gd name="connsiteY1" fmla="*/ 0 h 350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5074" h="35074">
                    <a:moveTo>
                      <a:pt x="35074" y="35074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342" name="Gráfico 14">
              <a:extLst>
                <a:ext uri="{FF2B5EF4-FFF2-40B4-BE49-F238E27FC236}">
                  <a16:creationId xmlns:a16="http://schemas.microsoft.com/office/drawing/2014/main" id="{82C856A8-F42A-EF4A-5AFA-82C396CD6DCF}"/>
                </a:ext>
              </a:extLst>
            </p:cNvPr>
            <p:cNvGrpSpPr/>
            <p:nvPr/>
          </p:nvGrpSpPr>
          <p:grpSpPr>
            <a:xfrm>
              <a:off x="8833975" y="4763737"/>
              <a:ext cx="249296" cy="249295"/>
              <a:chOff x="8833975" y="4763737"/>
              <a:chExt cx="249296" cy="249295"/>
            </a:xfrm>
          </p:grpSpPr>
          <p:sp>
            <p:nvSpPr>
              <p:cNvPr id="1343" name="Forma livre: Forma 1342">
                <a:extLst>
                  <a:ext uri="{FF2B5EF4-FFF2-40B4-BE49-F238E27FC236}">
                    <a16:creationId xmlns:a16="http://schemas.microsoft.com/office/drawing/2014/main" id="{F26FD2DA-71CB-B5F1-4CA8-8FAD1F79276D}"/>
                  </a:ext>
                </a:extLst>
              </p:cNvPr>
              <p:cNvSpPr/>
              <p:nvPr/>
            </p:nvSpPr>
            <p:spPr>
              <a:xfrm>
                <a:off x="8833975" y="4977959"/>
                <a:ext cx="35074" cy="35074"/>
              </a:xfrm>
              <a:custGeom>
                <a:avLst/>
                <a:gdLst>
                  <a:gd name="connsiteX0" fmla="*/ 0 w 35074"/>
                  <a:gd name="connsiteY0" fmla="*/ 35074 h 35074"/>
                  <a:gd name="connsiteX1" fmla="*/ 35074 w 35074"/>
                  <a:gd name="connsiteY1" fmla="*/ 0 h 350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5074" h="35074">
                    <a:moveTo>
                      <a:pt x="0" y="35074"/>
                    </a:moveTo>
                    <a:lnTo>
                      <a:pt x="35074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344" name="Forma livre: Forma 1343">
                <a:extLst>
                  <a:ext uri="{FF2B5EF4-FFF2-40B4-BE49-F238E27FC236}">
                    <a16:creationId xmlns:a16="http://schemas.microsoft.com/office/drawing/2014/main" id="{3BA948D6-4EB2-ADDC-8676-2C3455CA8AEA}"/>
                  </a:ext>
                </a:extLst>
              </p:cNvPr>
              <p:cNvSpPr/>
              <p:nvPr/>
            </p:nvSpPr>
            <p:spPr>
              <a:xfrm>
                <a:off x="9048197" y="4763737"/>
                <a:ext cx="35074" cy="35074"/>
              </a:xfrm>
              <a:custGeom>
                <a:avLst/>
                <a:gdLst>
                  <a:gd name="connsiteX0" fmla="*/ 0 w 35074"/>
                  <a:gd name="connsiteY0" fmla="*/ 35074 h 35074"/>
                  <a:gd name="connsiteX1" fmla="*/ 35074 w 35074"/>
                  <a:gd name="connsiteY1" fmla="*/ 0 h 350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5074" h="35074">
                    <a:moveTo>
                      <a:pt x="0" y="35074"/>
                    </a:moveTo>
                    <a:lnTo>
                      <a:pt x="35074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345" name="Gráfico 14">
              <a:extLst>
                <a:ext uri="{FF2B5EF4-FFF2-40B4-BE49-F238E27FC236}">
                  <a16:creationId xmlns:a16="http://schemas.microsoft.com/office/drawing/2014/main" id="{91E5598E-FA19-59A8-140E-4AF7B663AC48}"/>
                </a:ext>
              </a:extLst>
            </p:cNvPr>
            <p:cNvGrpSpPr/>
            <p:nvPr/>
          </p:nvGrpSpPr>
          <p:grpSpPr>
            <a:xfrm>
              <a:off x="8887592" y="4723021"/>
              <a:ext cx="142160" cy="330824"/>
              <a:chOff x="8887592" y="4723021"/>
              <a:chExt cx="142160" cy="330824"/>
            </a:xfrm>
            <a:solidFill>
              <a:srgbClr val="394553"/>
            </a:solidFill>
          </p:grpSpPr>
          <p:sp>
            <p:nvSpPr>
              <p:cNvPr id="1346" name="Forma livre: Forma 1345">
                <a:extLst>
                  <a:ext uri="{FF2B5EF4-FFF2-40B4-BE49-F238E27FC236}">
                    <a16:creationId xmlns:a16="http://schemas.microsoft.com/office/drawing/2014/main" id="{8844C597-965A-65B3-BD05-0AA47A13BBE1}"/>
                  </a:ext>
                </a:extLst>
              </p:cNvPr>
              <p:cNvSpPr/>
              <p:nvPr/>
            </p:nvSpPr>
            <p:spPr>
              <a:xfrm>
                <a:off x="8905104" y="4765208"/>
                <a:ext cx="8829" cy="8829"/>
              </a:xfrm>
              <a:custGeom>
                <a:avLst/>
                <a:gdLst>
                  <a:gd name="connsiteX0" fmla="*/ 8830 w 8829"/>
                  <a:gd name="connsiteY0" fmla="*/ 4415 h 8829"/>
                  <a:gd name="connsiteX1" fmla="*/ 4415 w 8829"/>
                  <a:gd name="connsiteY1" fmla="*/ 8830 h 8829"/>
                  <a:gd name="connsiteX2" fmla="*/ 0 w 8829"/>
                  <a:gd name="connsiteY2" fmla="*/ 4415 h 8829"/>
                  <a:gd name="connsiteX3" fmla="*/ 4415 w 8829"/>
                  <a:gd name="connsiteY3" fmla="*/ 0 h 8829"/>
                  <a:gd name="connsiteX4" fmla="*/ 8830 w 8829"/>
                  <a:gd name="connsiteY4" fmla="*/ 4415 h 88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829" h="8829">
                    <a:moveTo>
                      <a:pt x="8830" y="4415"/>
                    </a:moveTo>
                    <a:cubicBezTo>
                      <a:pt x="8830" y="6868"/>
                      <a:pt x="6868" y="8830"/>
                      <a:pt x="4415" y="8830"/>
                    </a:cubicBezTo>
                    <a:cubicBezTo>
                      <a:pt x="1962" y="8830"/>
                      <a:pt x="0" y="6868"/>
                      <a:pt x="0" y="4415"/>
                    </a:cubicBezTo>
                    <a:cubicBezTo>
                      <a:pt x="0" y="1962"/>
                      <a:pt x="2011" y="0"/>
                      <a:pt x="4415" y="0"/>
                    </a:cubicBezTo>
                    <a:cubicBezTo>
                      <a:pt x="6819" y="0"/>
                      <a:pt x="8830" y="1962"/>
                      <a:pt x="8830" y="4415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347" name="Forma livre: Forma 1346">
                <a:extLst>
                  <a:ext uri="{FF2B5EF4-FFF2-40B4-BE49-F238E27FC236}">
                    <a16:creationId xmlns:a16="http://schemas.microsoft.com/office/drawing/2014/main" id="{BE876FCA-F5CD-650C-8B75-57828042A918}"/>
                  </a:ext>
                </a:extLst>
              </p:cNvPr>
              <p:cNvSpPr/>
              <p:nvPr/>
            </p:nvSpPr>
            <p:spPr>
              <a:xfrm>
                <a:off x="8887592" y="4723021"/>
                <a:ext cx="8829" cy="8829"/>
              </a:xfrm>
              <a:custGeom>
                <a:avLst/>
                <a:gdLst>
                  <a:gd name="connsiteX0" fmla="*/ 8830 w 8829"/>
                  <a:gd name="connsiteY0" fmla="*/ 4415 h 8829"/>
                  <a:gd name="connsiteX1" fmla="*/ 4415 w 8829"/>
                  <a:gd name="connsiteY1" fmla="*/ 8830 h 8829"/>
                  <a:gd name="connsiteX2" fmla="*/ 0 w 8829"/>
                  <a:gd name="connsiteY2" fmla="*/ 4415 h 8829"/>
                  <a:gd name="connsiteX3" fmla="*/ 4415 w 8829"/>
                  <a:gd name="connsiteY3" fmla="*/ 0 h 8829"/>
                  <a:gd name="connsiteX4" fmla="*/ 8830 w 8829"/>
                  <a:gd name="connsiteY4" fmla="*/ 4415 h 88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829" h="8829">
                    <a:moveTo>
                      <a:pt x="8830" y="4415"/>
                    </a:moveTo>
                    <a:cubicBezTo>
                      <a:pt x="8830" y="6868"/>
                      <a:pt x="6868" y="8830"/>
                      <a:pt x="4415" y="8830"/>
                    </a:cubicBezTo>
                    <a:cubicBezTo>
                      <a:pt x="1962" y="8830"/>
                      <a:pt x="0" y="6868"/>
                      <a:pt x="0" y="4415"/>
                    </a:cubicBezTo>
                    <a:cubicBezTo>
                      <a:pt x="0" y="1962"/>
                      <a:pt x="2011" y="0"/>
                      <a:pt x="4415" y="0"/>
                    </a:cubicBezTo>
                    <a:cubicBezTo>
                      <a:pt x="6819" y="0"/>
                      <a:pt x="8830" y="1962"/>
                      <a:pt x="8830" y="4415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348" name="Forma livre: Forma 1347">
                <a:extLst>
                  <a:ext uri="{FF2B5EF4-FFF2-40B4-BE49-F238E27FC236}">
                    <a16:creationId xmlns:a16="http://schemas.microsoft.com/office/drawing/2014/main" id="{F1844FA8-46F7-F835-6CC6-11F53F797FAC}"/>
                  </a:ext>
                </a:extLst>
              </p:cNvPr>
              <p:cNvSpPr/>
              <p:nvPr/>
            </p:nvSpPr>
            <p:spPr>
              <a:xfrm>
                <a:off x="9020922" y="5045016"/>
                <a:ext cx="8829" cy="8829"/>
              </a:xfrm>
              <a:custGeom>
                <a:avLst/>
                <a:gdLst>
                  <a:gd name="connsiteX0" fmla="*/ 8830 w 8829"/>
                  <a:gd name="connsiteY0" fmla="*/ 4415 h 8829"/>
                  <a:gd name="connsiteX1" fmla="*/ 4415 w 8829"/>
                  <a:gd name="connsiteY1" fmla="*/ 8830 h 8829"/>
                  <a:gd name="connsiteX2" fmla="*/ 0 w 8829"/>
                  <a:gd name="connsiteY2" fmla="*/ 4415 h 8829"/>
                  <a:gd name="connsiteX3" fmla="*/ 4415 w 8829"/>
                  <a:gd name="connsiteY3" fmla="*/ 0 h 8829"/>
                  <a:gd name="connsiteX4" fmla="*/ 8830 w 8829"/>
                  <a:gd name="connsiteY4" fmla="*/ 4415 h 88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829" h="8829">
                    <a:moveTo>
                      <a:pt x="8830" y="4415"/>
                    </a:moveTo>
                    <a:cubicBezTo>
                      <a:pt x="8830" y="6868"/>
                      <a:pt x="6868" y="8830"/>
                      <a:pt x="4415" y="8830"/>
                    </a:cubicBezTo>
                    <a:cubicBezTo>
                      <a:pt x="1962" y="8830"/>
                      <a:pt x="0" y="6868"/>
                      <a:pt x="0" y="4415"/>
                    </a:cubicBezTo>
                    <a:cubicBezTo>
                      <a:pt x="0" y="1962"/>
                      <a:pt x="2011" y="0"/>
                      <a:pt x="4415" y="0"/>
                    </a:cubicBezTo>
                    <a:cubicBezTo>
                      <a:pt x="6819" y="0"/>
                      <a:pt x="8830" y="1962"/>
                      <a:pt x="8830" y="4415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349" name="Forma livre: Forma 1348">
                <a:extLst>
                  <a:ext uri="{FF2B5EF4-FFF2-40B4-BE49-F238E27FC236}">
                    <a16:creationId xmlns:a16="http://schemas.microsoft.com/office/drawing/2014/main" id="{34B5F0B8-7EB0-B4B2-EE2D-9A377DB8EBAA}"/>
                  </a:ext>
                </a:extLst>
              </p:cNvPr>
              <p:cNvSpPr/>
              <p:nvPr/>
            </p:nvSpPr>
            <p:spPr>
              <a:xfrm>
                <a:off x="9003361" y="5002829"/>
                <a:ext cx="8829" cy="8829"/>
              </a:xfrm>
              <a:custGeom>
                <a:avLst/>
                <a:gdLst>
                  <a:gd name="connsiteX0" fmla="*/ 8830 w 8829"/>
                  <a:gd name="connsiteY0" fmla="*/ 4415 h 8829"/>
                  <a:gd name="connsiteX1" fmla="*/ 4415 w 8829"/>
                  <a:gd name="connsiteY1" fmla="*/ 8830 h 8829"/>
                  <a:gd name="connsiteX2" fmla="*/ 0 w 8829"/>
                  <a:gd name="connsiteY2" fmla="*/ 4415 h 8829"/>
                  <a:gd name="connsiteX3" fmla="*/ 4415 w 8829"/>
                  <a:gd name="connsiteY3" fmla="*/ 0 h 8829"/>
                  <a:gd name="connsiteX4" fmla="*/ 8830 w 8829"/>
                  <a:gd name="connsiteY4" fmla="*/ 4415 h 88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829" h="8829">
                    <a:moveTo>
                      <a:pt x="8830" y="4415"/>
                    </a:moveTo>
                    <a:cubicBezTo>
                      <a:pt x="8830" y="6868"/>
                      <a:pt x="6868" y="8830"/>
                      <a:pt x="4415" y="8830"/>
                    </a:cubicBezTo>
                    <a:cubicBezTo>
                      <a:pt x="1962" y="8830"/>
                      <a:pt x="0" y="6868"/>
                      <a:pt x="0" y="4415"/>
                    </a:cubicBezTo>
                    <a:cubicBezTo>
                      <a:pt x="0" y="1962"/>
                      <a:pt x="2011" y="0"/>
                      <a:pt x="4415" y="0"/>
                    </a:cubicBezTo>
                    <a:cubicBezTo>
                      <a:pt x="6819" y="0"/>
                      <a:pt x="8830" y="1962"/>
                      <a:pt x="8830" y="4415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350" name="Gráfico 14">
              <a:extLst>
                <a:ext uri="{FF2B5EF4-FFF2-40B4-BE49-F238E27FC236}">
                  <a16:creationId xmlns:a16="http://schemas.microsoft.com/office/drawing/2014/main" id="{5182ACEC-7475-9119-813E-5709DC72FF1B}"/>
                </a:ext>
              </a:extLst>
            </p:cNvPr>
            <p:cNvGrpSpPr/>
            <p:nvPr/>
          </p:nvGrpSpPr>
          <p:grpSpPr>
            <a:xfrm>
              <a:off x="8887543" y="4723021"/>
              <a:ext cx="142160" cy="330824"/>
              <a:chOff x="8887543" y="4723021"/>
              <a:chExt cx="142160" cy="330824"/>
            </a:xfrm>
            <a:solidFill>
              <a:srgbClr val="394553"/>
            </a:solidFill>
          </p:grpSpPr>
          <p:sp>
            <p:nvSpPr>
              <p:cNvPr id="1351" name="Forma livre: Forma 1350">
                <a:extLst>
                  <a:ext uri="{FF2B5EF4-FFF2-40B4-BE49-F238E27FC236}">
                    <a16:creationId xmlns:a16="http://schemas.microsoft.com/office/drawing/2014/main" id="{36462150-BE35-FAFF-2B82-0FCF36D0AA33}"/>
                  </a:ext>
                </a:extLst>
              </p:cNvPr>
              <p:cNvSpPr/>
              <p:nvPr/>
            </p:nvSpPr>
            <p:spPr>
              <a:xfrm>
                <a:off x="9003312" y="4765208"/>
                <a:ext cx="8829" cy="8829"/>
              </a:xfrm>
              <a:custGeom>
                <a:avLst/>
                <a:gdLst>
                  <a:gd name="connsiteX0" fmla="*/ 0 w 8829"/>
                  <a:gd name="connsiteY0" fmla="*/ 4415 h 8829"/>
                  <a:gd name="connsiteX1" fmla="*/ 4415 w 8829"/>
                  <a:gd name="connsiteY1" fmla="*/ 8830 h 8829"/>
                  <a:gd name="connsiteX2" fmla="*/ 8830 w 8829"/>
                  <a:gd name="connsiteY2" fmla="*/ 4415 h 8829"/>
                  <a:gd name="connsiteX3" fmla="*/ 4415 w 8829"/>
                  <a:gd name="connsiteY3" fmla="*/ 0 h 8829"/>
                  <a:gd name="connsiteX4" fmla="*/ 0 w 8829"/>
                  <a:gd name="connsiteY4" fmla="*/ 4415 h 88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829" h="8829">
                    <a:moveTo>
                      <a:pt x="0" y="4415"/>
                    </a:moveTo>
                    <a:cubicBezTo>
                      <a:pt x="0" y="6868"/>
                      <a:pt x="1962" y="8830"/>
                      <a:pt x="4415" y="8830"/>
                    </a:cubicBezTo>
                    <a:cubicBezTo>
                      <a:pt x="6868" y="8830"/>
                      <a:pt x="8830" y="6868"/>
                      <a:pt x="8830" y="4415"/>
                    </a:cubicBezTo>
                    <a:cubicBezTo>
                      <a:pt x="8830" y="1962"/>
                      <a:pt x="6819" y="0"/>
                      <a:pt x="4415" y="0"/>
                    </a:cubicBezTo>
                    <a:cubicBezTo>
                      <a:pt x="2011" y="0"/>
                      <a:pt x="0" y="1962"/>
                      <a:pt x="0" y="4415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352" name="Forma livre: Forma 1351">
                <a:extLst>
                  <a:ext uri="{FF2B5EF4-FFF2-40B4-BE49-F238E27FC236}">
                    <a16:creationId xmlns:a16="http://schemas.microsoft.com/office/drawing/2014/main" id="{05DAB3E7-9D64-7D40-A0E1-BCE2703E9450}"/>
                  </a:ext>
                </a:extLst>
              </p:cNvPr>
              <p:cNvSpPr/>
              <p:nvPr/>
            </p:nvSpPr>
            <p:spPr>
              <a:xfrm>
                <a:off x="9020873" y="4723021"/>
                <a:ext cx="8829" cy="8829"/>
              </a:xfrm>
              <a:custGeom>
                <a:avLst/>
                <a:gdLst>
                  <a:gd name="connsiteX0" fmla="*/ 0 w 8829"/>
                  <a:gd name="connsiteY0" fmla="*/ 4415 h 8829"/>
                  <a:gd name="connsiteX1" fmla="*/ 4415 w 8829"/>
                  <a:gd name="connsiteY1" fmla="*/ 8830 h 8829"/>
                  <a:gd name="connsiteX2" fmla="*/ 8830 w 8829"/>
                  <a:gd name="connsiteY2" fmla="*/ 4415 h 8829"/>
                  <a:gd name="connsiteX3" fmla="*/ 4415 w 8829"/>
                  <a:gd name="connsiteY3" fmla="*/ 0 h 8829"/>
                  <a:gd name="connsiteX4" fmla="*/ 0 w 8829"/>
                  <a:gd name="connsiteY4" fmla="*/ 4415 h 88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829" h="8829">
                    <a:moveTo>
                      <a:pt x="0" y="4415"/>
                    </a:moveTo>
                    <a:cubicBezTo>
                      <a:pt x="0" y="6868"/>
                      <a:pt x="1962" y="8830"/>
                      <a:pt x="4415" y="8830"/>
                    </a:cubicBezTo>
                    <a:cubicBezTo>
                      <a:pt x="6868" y="8830"/>
                      <a:pt x="8830" y="6868"/>
                      <a:pt x="8830" y="4415"/>
                    </a:cubicBezTo>
                    <a:cubicBezTo>
                      <a:pt x="8830" y="1962"/>
                      <a:pt x="6819" y="0"/>
                      <a:pt x="4415" y="0"/>
                    </a:cubicBezTo>
                    <a:cubicBezTo>
                      <a:pt x="2011" y="0"/>
                      <a:pt x="0" y="1962"/>
                      <a:pt x="0" y="4415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353" name="Forma livre: Forma 1352">
                <a:extLst>
                  <a:ext uri="{FF2B5EF4-FFF2-40B4-BE49-F238E27FC236}">
                    <a16:creationId xmlns:a16="http://schemas.microsoft.com/office/drawing/2014/main" id="{C72D482D-151E-3B70-F96F-5887AD1F4BBB}"/>
                  </a:ext>
                </a:extLst>
              </p:cNvPr>
              <p:cNvSpPr/>
              <p:nvPr/>
            </p:nvSpPr>
            <p:spPr>
              <a:xfrm>
                <a:off x="8887543" y="5045016"/>
                <a:ext cx="8829" cy="8829"/>
              </a:xfrm>
              <a:custGeom>
                <a:avLst/>
                <a:gdLst>
                  <a:gd name="connsiteX0" fmla="*/ 0 w 8829"/>
                  <a:gd name="connsiteY0" fmla="*/ 4415 h 8829"/>
                  <a:gd name="connsiteX1" fmla="*/ 4415 w 8829"/>
                  <a:gd name="connsiteY1" fmla="*/ 8830 h 8829"/>
                  <a:gd name="connsiteX2" fmla="*/ 8830 w 8829"/>
                  <a:gd name="connsiteY2" fmla="*/ 4415 h 8829"/>
                  <a:gd name="connsiteX3" fmla="*/ 4415 w 8829"/>
                  <a:gd name="connsiteY3" fmla="*/ 0 h 8829"/>
                  <a:gd name="connsiteX4" fmla="*/ 0 w 8829"/>
                  <a:gd name="connsiteY4" fmla="*/ 4415 h 88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829" h="8829">
                    <a:moveTo>
                      <a:pt x="0" y="4415"/>
                    </a:moveTo>
                    <a:cubicBezTo>
                      <a:pt x="0" y="6868"/>
                      <a:pt x="1962" y="8830"/>
                      <a:pt x="4415" y="8830"/>
                    </a:cubicBezTo>
                    <a:cubicBezTo>
                      <a:pt x="6868" y="8830"/>
                      <a:pt x="8830" y="6868"/>
                      <a:pt x="8830" y="4415"/>
                    </a:cubicBezTo>
                    <a:cubicBezTo>
                      <a:pt x="8830" y="1962"/>
                      <a:pt x="6819" y="0"/>
                      <a:pt x="4415" y="0"/>
                    </a:cubicBezTo>
                    <a:cubicBezTo>
                      <a:pt x="2011" y="0"/>
                      <a:pt x="0" y="1962"/>
                      <a:pt x="0" y="4415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354" name="Forma livre: Forma 1353">
                <a:extLst>
                  <a:ext uri="{FF2B5EF4-FFF2-40B4-BE49-F238E27FC236}">
                    <a16:creationId xmlns:a16="http://schemas.microsoft.com/office/drawing/2014/main" id="{26665689-9B82-896F-3030-89BA54D266CB}"/>
                  </a:ext>
                </a:extLst>
              </p:cNvPr>
              <p:cNvSpPr/>
              <p:nvPr/>
            </p:nvSpPr>
            <p:spPr>
              <a:xfrm>
                <a:off x="8905104" y="5002829"/>
                <a:ext cx="8829" cy="8829"/>
              </a:xfrm>
              <a:custGeom>
                <a:avLst/>
                <a:gdLst>
                  <a:gd name="connsiteX0" fmla="*/ 0 w 8829"/>
                  <a:gd name="connsiteY0" fmla="*/ 4415 h 8829"/>
                  <a:gd name="connsiteX1" fmla="*/ 4415 w 8829"/>
                  <a:gd name="connsiteY1" fmla="*/ 8830 h 8829"/>
                  <a:gd name="connsiteX2" fmla="*/ 8830 w 8829"/>
                  <a:gd name="connsiteY2" fmla="*/ 4415 h 8829"/>
                  <a:gd name="connsiteX3" fmla="*/ 4415 w 8829"/>
                  <a:gd name="connsiteY3" fmla="*/ 0 h 8829"/>
                  <a:gd name="connsiteX4" fmla="*/ 0 w 8829"/>
                  <a:gd name="connsiteY4" fmla="*/ 4415 h 88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829" h="8829">
                    <a:moveTo>
                      <a:pt x="0" y="4415"/>
                    </a:moveTo>
                    <a:cubicBezTo>
                      <a:pt x="0" y="6868"/>
                      <a:pt x="1962" y="8830"/>
                      <a:pt x="4415" y="8830"/>
                    </a:cubicBezTo>
                    <a:cubicBezTo>
                      <a:pt x="6868" y="8830"/>
                      <a:pt x="8830" y="6868"/>
                      <a:pt x="8830" y="4415"/>
                    </a:cubicBezTo>
                    <a:cubicBezTo>
                      <a:pt x="8830" y="1962"/>
                      <a:pt x="6819" y="0"/>
                      <a:pt x="4415" y="0"/>
                    </a:cubicBezTo>
                    <a:cubicBezTo>
                      <a:pt x="2011" y="0"/>
                      <a:pt x="0" y="1962"/>
                      <a:pt x="0" y="4415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355" name="Gráfico 14">
            <a:extLst>
              <a:ext uri="{FF2B5EF4-FFF2-40B4-BE49-F238E27FC236}">
                <a16:creationId xmlns:a16="http://schemas.microsoft.com/office/drawing/2014/main" id="{2D55256A-9CF1-7982-31A1-0EFD4B4E4172}"/>
              </a:ext>
            </a:extLst>
          </p:cNvPr>
          <p:cNvGrpSpPr/>
          <p:nvPr/>
        </p:nvGrpSpPr>
        <p:grpSpPr>
          <a:xfrm>
            <a:off x="8837114" y="5283282"/>
            <a:ext cx="249681" cy="323459"/>
            <a:chOff x="8837114" y="5283282"/>
            <a:chExt cx="249681" cy="323459"/>
          </a:xfrm>
          <a:noFill/>
        </p:grpSpPr>
        <p:sp>
          <p:nvSpPr>
            <p:cNvPr id="1356" name="Forma livre: Forma 1355">
              <a:extLst>
                <a:ext uri="{FF2B5EF4-FFF2-40B4-BE49-F238E27FC236}">
                  <a16:creationId xmlns:a16="http://schemas.microsoft.com/office/drawing/2014/main" id="{D8C6E9AF-996C-1C6C-7BA5-662C45D18765}"/>
                </a:ext>
              </a:extLst>
            </p:cNvPr>
            <p:cNvSpPr/>
            <p:nvPr/>
          </p:nvSpPr>
          <p:spPr>
            <a:xfrm>
              <a:off x="8900738" y="5283282"/>
              <a:ext cx="186057" cy="184242"/>
            </a:xfrm>
            <a:custGeom>
              <a:avLst/>
              <a:gdLst>
                <a:gd name="connsiteX0" fmla="*/ 0 w 186057"/>
                <a:gd name="connsiteY0" fmla="*/ 35361 h 184242"/>
                <a:gd name="connsiteX1" fmla="*/ 5838 w 186057"/>
                <a:gd name="connsiteY1" fmla="*/ 17015 h 184242"/>
                <a:gd name="connsiteX2" fmla="*/ 36693 w 186057"/>
                <a:gd name="connsiteY2" fmla="*/ 1170 h 184242"/>
                <a:gd name="connsiteX3" fmla="*/ 169043 w 186057"/>
                <a:gd name="connsiteY3" fmla="*/ 43602 h 184242"/>
                <a:gd name="connsiteX4" fmla="*/ 184887 w 186057"/>
                <a:gd name="connsiteY4" fmla="*/ 74458 h 184242"/>
                <a:gd name="connsiteX5" fmla="*/ 149274 w 186057"/>
                <a:gd name="connsiteY5" fmla="*/ 184242 h 1842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6057" h="184242">
                  <a:moveTo>
                    <a:pt x="0" y="35361"/>
                  </a:moveTo>
                  <a:lnTo>
                    <a:pt x="5838" y="17015"/>
                  </a:lnTo>
                  <a:cubicBezTo>
                    <a:pt x="9958" y="4162"/>
                    <a:pt x="23841" y="-2951"/>
                    <a:pt x="36693" y="1170"/>
                  </a:cubicBezTo>
                  <a:lnTo>
                    <a:pt x="169043" y="43602"/>
                  </a:lnTo>
                  <a:cubicBezTo>
                    <a:pt x="181895" y="47723"/>
                    <a:pt x="189008" y="61605"/>
                    <a:pt x="184887" y="74458"/>
                  </a:cubicBezTo>
                  <a:lnTo>
                    <a:pt x="149274" y="184242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357" name="Gráfico 14">
              <a:extLst>
                <a:ext uri="{FF2B5EF4-FFF2-40B4-BE49-F238E27FC236}">
                  <a16:creationId xmlns:a16="http://schemas.microsoft.com/office/drawing/2014/main" id="{CAB62D59-A1F8-9CBE-8C5A-31F4ADD20FB6}"/>
                </a:ext>
              </a:extLst>
            </p:cNvPr>
            <p:cNvGrpSpPr/>
            <p:nvPr/>
          </p:nvGrpSpPr>
          <p:grpSpPr>
            <a:xfrm>
              <a:off x="8837114" y="5340718"/>
              <a:ext cx="188075" cy="266023"/>
              <a:chOff x="8837114" y="5340718"/>
              <a:chExt cx="188075" cy="266023"/>
            </a:xfrm>
            <a:noFill/>
          </p:grpSpPr>
          <p:sp>
            <p:nvSpPr>
              <p:cNvPr id="1358" name="Forma livre: Forma 1357">
                <a:extLst>
                  <a:ext uri="{FF2B5EF4-FFF2-40B4-BE49-F238E27FC236}">
                    <a16:creationId xmlns:a16="http://schemas.microsoft.com/office/drawing/2014/main" id="{32B72BE8-9FED-8F25-CA5D-B63EC2A60443}"/>
                  </a:ext>
                </a:extLst>
              </p:cNvPr>
              <p:cNvSpPr/>
              <p:nvPr/>
            </p:nvSpPr>
            <p:spPr>
              <a:xfrm>
                <a:off x="8837114" y="5340718"/>
                <a:ext cx="188075" cy="266023"/>
              </a:xfrm>
              <a:custGeom>
                <a:avLst/>
                <a:gdLst>
                  <a:gd name="connsiteX0" fmla="*/ 163548 w 188075"/>
                  <a:gd name="connsiteY0" fmla="*/ 0 h 266023"/>
                  <a:gd name="connsiteX1" fmla="*/ 188076 w 188075"/>
                  <a:gd name="connsiteY1" fmla="*/ 24527 h 266023"/>
                  <a:gd name="connsiteX2" fmla="*/ 188076 w 188075"/>
                  <a:gd name="connsiteY2" fmla="*/ 241496 h 266023"/>
                  <a:gd name="connsiteX3" fmla="*/ 163548 w 188075"/>
                  <a:gd name="connsiteY3" fmla="*/ 266024 h 266023"/>
                  <a:gd name="connsiteX4" fmla="*/ 24527 w 188075"/>
                  <a:gd name="connsiteY4" fmla="*/ 266024 h 266023"/>
                  <a:gd name="connsiteX5" fmla="*/ 0 w 188075"/>
                  <a:gd name="connsiteY5" fmla="*/ 241496 h 266023"/>
                  <a:gd name="connsiteX6" fmla="*/ 0 w 188075"/>
                  <a:gd name="connsiteY6" fmla="*/ 24527 h 266023"/>
                  <a:gd name="connsiteX7" fmla="*/ 24527 w 188075"/>
                  <a:gd name="connsiteY7" fmla="*/ 0 h 2660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88075" h="266023">
                    <a:moveTo>
                      <a:pt x="163548" y="0"/>
                    </a:moveTo>
                    <a:cubicBezTo>
                      <a:pt x="177095" y="0"/>
                      <a:pt x="188076" y="10981"/>
                      <a:pt x="188076" y="24527"/>
                    </a:cubicBezTo>
                    <a:lnTo>
                      <a:pt x="188076" y="241496"/>
                    </a:lnTo>
                    <a:cubicBezTo>
                      <a:pt x="188076" y="255042"/>
                      <a:pt x="177095" y="266024"/>
                      <a:pt x="163548" y="266024"/>
                    </a:cubicBezTo>
                    <a:lnTo>
                      <a:pt x="24527" y="266024"/>
                    </a:lnTo>
                    <a:cubicBezTo>
                      <a:pt x="10981" y="266024"/>
                      <a:pt x="0" y="255042"/>
                      <a:pt x="0" y="241496"/>
                    </a:cubicBezTo>
                    <a:lnTo>
                      <a:pt x="0" y="24527"/>
                    </a:lnTo>
                    <a:cubicBezTo>
                      <a:pt x="0" y="10981"/>
                      <a:pt x="10981" y="0"/>
                      <a:pt x="24527" y="0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359" name="Forma livre: Forma 1358">
                <a:extLst>
                  <a:ext uri="{FF2B5EF4-FFF2-40B4-BE49-F238E27FC236}">
                    <a16:creationId xmlns:a16="http://schemas.microsoft.com/office/drawing/2014/main" id="{D96A9697-388D-5A5C-496D-01388B0AAE1B}"/>
                  </a:ext>
                </a:extLst>
              </p:cNvPr>
              <p:cNvSpPr/>
              <p:nvPr/>
            </p:nvSpPr>
            <p:spPr>
              <a:xfrm>
                <a:off x="8837114" y="5340718"/>
                <a:ext cx="188075" cy="266023"/>
              </a:xfrm>
              <a:custGeom>
                <a:avLst/>
                <a:gdLst>
                  <a:gd name="connsiteX0" fmla="*/ 163548 w 188075"/>
                  <a:gd name="connsiteY0" fmla="*/ 0 h 266023"/>
                  <a:gd name="connsiteX1" fmla="*/ 188076 w 188075"/>
                  <a:gd name="connsiteY1" fmla="*/ 24527 h 266023"/>
                  <a:gd name="connsiteX2" fmla="*/ 188076 w 188075"/>
                  <a:gd name="connsiteY2" fmla="*/ 241496 h 266023"/>
                  <a:gd name="connsiteX3" fmla="*/ 163548 w 188075"/>
                  <a:gd name="connsiteY3" fmla="*/ 266024 h 266023"/>
                  <a:gd name="connsiteX4" fmla="*/ 24527 w 188075"/>
                  <a:gd name="connsiteY4" fmla="*/ 266024 h 266023"/>
                  <a:gd name="connsiteX5" fmla="*/ 0 w 188075"/>
                  <a:gd name="connsiteY5" fmla="*/ 241496 h 266023"/>
                  <a:gd name="connsiteX6" fmla="*/ 0 w 188075"/>
                  <a:gd name="connsiteY6" fmla="*/ 24527 h 266023"/>
                  <a:gd name="connsiteX7" fmla="*/ 24527 w 188075"/>
                  <a:gd name="connsiteY7" fmla="*/ 0 h 2660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88075" h="266023">
                    <a:moveTo>
                      <a:pt x="163548" y="0"/>
                    </a:moveTo>
                    <a:cubicBezTo>
                      <a:pt x="177095" y="0"/>
                      <a:pt x="188076" y="10981"/>
                      <a:pt x="188076" y="24527"/>
                    </a:cubicBezTo>
                    <a:lnTo>
                      <a:pt x="188076" y="241496"/>
                    </a:lnTo>
                    <a:cubicBezTo>
                      <a:pt x="188076" y="255042"/>
                      <a:pt x="177095" y="266024"/>
                      <a:pt x="163548" y="266024"/>
                    </a:cubicBezTo>
                    <a:lnTo>
                      <a:pt x="24527" y="266024"/>
                    </a:lnTo>
                    <a:cubicBezTo>
                      <a:pt x="10981" y="266024"/>
                      <a:pt x="0" y="255042"/>
                      <a:pt x="0" y="241496"/>
                    </a:cubicBezTo>
                    <a:lnTo>
                      <a:pt x="0" y="24527"/>
                    </a:lnTo>
                    <a:cubicBezTo>
                      <a:pt x="0" y="10981"/>
                      <a:pt x="10981" y="0"/>
                      <a:pt x="24527" y="0"/>
                    </a:cubicBezTo>
                    <a:close/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360" name="Gráfico 14">
              <a:extLst>
                <a:ext uri="{FF2B5EF4-FFF2-40B4-BE49-F238E27FC236}">
                  <a16:creationId xmlns:a16="http://schemas.microsoft.com/office/drawing/2014/main" id="{1EA59660-5EE7-0C70-E26C-86FA94F4FE68}"/>
                </a:ext>
              </a:extLst>
            </p:cNvPr>
            <p:cNvGrpSpPr/>
            <p:nvPr/>
          </p:nvGrpSpPr>
          <p:grpSpPr>
            <a:xfrm>
              <a:off x="8871109" y="5369759"/>
              <a:ext cx="120036" cy="207991"/>
              <a:chOff x="8871109" y="5369759"/>
              <a:chExt cx="120036" cy="207991"/>
            </a:xfrm>
          </p:grpSpPr>
          <p:sp>
            <p:nvSpPr>
              <p:cNvPr id="1361" name="Forma livre: Forma 1360">
                <a:extLst>
                  <a:ext uri="{FF2B5EF4-FFF2-40B4-BE49-F238E27FC236}">
                    <a16:creationId xmlns:a16="http://schemas.microsoft.com/office/drawing/2014/main" id="{3632C2E5-10CD-D4CE-A7C5-E666C30F9FAA}"/>
                  </a:ext>
                </a:extLst>
              </p:cNvPr>
              <p:cNvSpPr/>
              <p:nvPr/>
            </p:nvSpPr>
            <p:spPr>
              <a:xfrm>
                <a:off x="8871109" y="5369759"/>
                <a:ext cx="4905" cy="25655"/>
              </a:xfrm>
              <a:custGeom>
                <a:avLst/>
                <a:gdLst>
                  <a:gd name="connsiteX0" fmla="*/ 0 w 4905"/>
                  <a:gd name="connsiteY0" fmla="*/ 0 h 25655"/>
                  <a:gd name="connsiteX1" fmla="*/ 0 w 4905"/>
                  <a:gd name="connsiteY1" fmla="*/ 25656 h 256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905" h="25655">
                    <a:moveTo>
                      <a:pt x="0" y="0"/>
                    </a:moveTo>
                    <a:lnTo>
                      <a:pt x="0" y="25656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362" name="Forma livre: Forma 1361">
                <a:extLst>
                  <a:ext uri="{FF2B5EF4-FFF2-40B4-BE49-F238E27FC236}">
                    <a16:creationId xmlns:a16="http://schemas.microsoft.com/office/drawing/2014/main" id="{34C70D05-4E82-5DCD-044B-7B894B5122CA}"/>
                  </a:ext>
                </a:extLst>
              </p:cNvPr>
              <p:cNvSpPr/>
              <p:nvPr/>
            </p:nvSpPr>
            <p:spPr>
              <a:xfrm>
                <a:off x="8991146" y="5552095"/>
                <a:ext cx="4905" cy="25655"/>
              </a:xfrm>
              <a:custGeom>
                <a:avLst/>
                <a:gdLst>
                  <a:gd name="connsiteX0" fmla="*/ 0 w 4905"/>
                  <a:gd name="connsiteY0" fmla="*/ 0 h 25655"/>
                  <a:gd name="connsiteX1" fmla="*/ 0 w 4905"/>
                  <a:gd name="connsiteY1" fmla="*/ 25656 h 256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905" h="25655">
                    <a:moveTo>
                      <a:pt x="0" y="0"/>
                    </a:moveTo>
                    <a:lnTo>
                      <a:pt x="0" y="25656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363" name="Gráfico 14">
              <a:extLst>
                <a:ext uri="{FF2B5EF4-FFF2-40B4-BE49-F238E27FC236}">
                  <a16:creationId xmlns:a16="http://schemas.microsoft.com/office/drawing/2014/main" id="{8CE647D1-70E4-232D-434F-00D582A3B530}"/>
                </a:ext>
              </a:extLst>
            </p:cNvPr>
            <p:cNvGrpSpPr/>
            <p:nvPr/>
          </p:nvGrpSpPr>
          <p:grpSpPr>
            <a:xfrm>
              <a:off x="8873463" y="5431505"/>
              <a:ext cx="115330" cy="99153"/>
              <a:chOff x="8873463" y="5431505"/>
              <a:chExt cx="115330" cy="99153"/>
            </a:xfrm>
            <a:noFill/>
          </p:grpSpPr>
          <p:sp>
            <p:nvSpPr>
              <p:cNvPr id="1364" name="Forma livre: Forma 1363">
                <a:extLst>
                  <a:ext uri="{FF2B5EF4-FFF2-40B4-BE49-F238E27FC236}">
                    <a16:creationId xmlns:a16="http://schemas.microsoft.com/office/drawing/2014/main" id="{035A55FA-E0CF-63F0-2F97-29D290E988B3}"/>
                  </a:ext>
                </a:extLst>
              </p:cNvPr>
              <p:cNvSpPr/>
              <p:nvPr/>
            </p:nvSpPr>
            <p:spPr>
              <a:xfrm>
                <a:off x="8873463" y="5431505"/>
                <a:ext cx="57640" cy="99153"/>
              </a:xfrm>
              <a:custGeom>
                <a:avLst/>
                <a:gdLst>
                  <a:gd name="connsiteX0" fmla="*/ 57641 w 57640"/>
                  <a:gd name="connsiteY0" fmla="*/ 99153 h 99153"/>
                  <a:gd name="connsiteX1" fmla="*/ 8880 w 57640"/>
                  <a:gd name="connsiteY1" fmla="*/ 50442 h 99153"/>
                  <a:gd name="connsiteX2" fmla="*/ 8488 w 57640"/>
                  <a:gd name="connsiteY2" fmla="*/ 8451 h 99153"/>
                  <a:gd name="connsiteX3" fmla="*/ 50479 w 57640"/>
                  <a:gd name="connsiteY3" fmla="*/ 8843 h 99153"/>
                  <a:gd name="connsiteX4" fmla="*/ 57641 w 57640"/>
                  <a:gd name="connsiteY4" fmla="*/ 16006 h 991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7640" h="99153">
                    <a:moveTo>
                      <a:pt x="57641" y="99153"/>
                    </a:moveTo>
                    <a:lnTo>
                      <a:pt x="8880" y="50442"/>
                    </a:lnTo>
                    <a:cubicBezTo>
                      <a:pt x="-2795" y="38767"/>
                      <a:pt x="-2991" y="19881"/>
                      <a:pt x="8488" y="8451"/>
                    </a:cubicBezTo>
                    <a:cubicBezTo>
                      <a:pt x="19918" y="-2979"/>
                      <a:pt x="38804" y="-2782"/>
                      <a:pt x="50479" y="8843"/>
                    </a:cubicBezTo>
                    <a:lnTo>
                      <a:pt x="57641" y="16006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365" name="Forma livre: Forma 1364">
                <a:extLst>
                  <a:ext uri="{FF2B5EF4-FFF2-40B4-BE49-F238E27FC236}">
                    <a16:creationId xmlns:a16="http://schemas.microsoft.com/office/drawing/2014/main" id="{17083257-543B-FD1B-C6C8-F054FA755707}"/>
                  </a:ext>
                </a:extLst>
              </p:cNvPr>
              <p:cNvSpPr/>
              <p:nvPr/>
            </p:nvSpPr>
            <p:spPr>
              <a:xfrm>
                <a:off x="8931103" y="5431505"/>
                <a:ext cx="57689" cy="99153"/>
              </a:xfrm>
              <a:custGeom>
                <a:avLst/>
                <a:gdLst>
                  <a:gd name="connsiteX0" fmla="*/ 49 w 57689"/>
                  <a:gd name="connsiteY0" fmla="*/ 99153 h 99153"/>
                  <a:gd name="connsiteX1" fmla="*/ 48809 w 57689"/>
                  <a:gd name="connsiteY1" fmla="*/ 50442 h 99153"/>
                  <a:gd name="connsiteX2" fmla="*/ 49202 w 57689"/>
                  <a:gd name="connsiteY2" fmla="*/ 8451 h 99153"/>
                  <a:gd name="connsiteX3" fmla="*/ 7211 w 57689"/>
                  <a:gd name="connsiteY3" fmla="*/ 8843 h 99153"/>
                  <a:gd name="connsiteX4" fmla="*/ 0 w 57689"/>
                  <a:gd name="connsiteY4" fmla="*/ 16054 h 991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7689" h="99153">
                    <a:moveTo>
                      <a:pt x="49" y="99153"/>
                    </a:moveTo>
                    <a:lnTo>
                      <a:pt x="48809" y="50442"/>
                    </a:lnTo>
                    <a:cubicBezTo>
                      <a:pt x="60484" y="38767"/>
                      <a:pt x="60681" y="19881"/>
                      <a:pt x="49202" y="8451"/>
                    </a:cubicBezTo>
                    <a:cubicBezTo>
                      <a:pt x="37772" y="-2979"/>
                      <a:pt x="18886" y="-2782"/>
                      <a:pt x="7211" y="8843"/>
                    </a:cubicBezTo>
                    <a:lnTo>
                      <a:pt x="0" y="16054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366" name="Gráfico 14">
            <a:extLst>
              <a:ext uri="{FF2B5EF4-FFF2-40B4-BE49-F238E27FC236}">
                <a16:creationId xmlns:a16="http://schemas.microsoft.com/office/drawing/2014/main" id="{AC871177-F68D-BF34-3A47-DF19DC8BC8C3}"/>
              </a:ext>
            </a:extLst>
          </p:cNvPr>
          <p:cNvGrpSpPr/>
          <p:nvPr/>
        </p:nvGrpSpPr>
        <p:grpSpPr>
          <a:xfrm>
            <a:off x="8794339" y="5882037"/>
            <a:ext cx="328568" cy="239276"/>
            <a:chOff x="8794339" y="5882037"/>
            <a:chExt cx="328568" cy="239276"/>
          </a:xfrm>
          <a:noFill/>
        </p:grpSpPr>
        <p:sp>
          <p:nvSpPr>
            <p:cNvPr id="1367" name="Forma livre: Forma 1366">
              <a:extLst>
                <a:ext uri="{FF2B5EF4-FFF2-40B4-BE49-F238E27FC236}">
                  <a16:creationId xmlns:a16="http://schemas.microsoft.com/office/drawing/2014/main" id="{C84C7125-6A4C-C6D4-4966-40804893B64A}"/>
                </a:ext>
              </a:extLst>
            </p:cNvPr>
            <p:cNvSpPr/>
            <p:nvPr/>
          </p:nvSpPr>
          <p:spPr>
            <a:xfrm>
              <a:off x="8909991" y="5953117"/>
              <a:ext cx="168932" cy="168196"/>
            </a:xfrm>
            <a:custGeom>
              <a:avLst/>
              <a:gdLst>
                <a:gd name="connsiteX0" fmla="*/ 121085 w 168932"/>
                <a:gd name="connsiteY0" fmla="*/ 7554 h 168196"/>
                <a:gd name="connsiteX1" fmla="*/ 144190 w 168932"/>
                <a:gd name="connsiteY1" fmla="*/ 23988 h 168196"/>
                <a:gd name="connsiteX2" fmla="*/ 144190 w 168932"/>
                <a:gd name="connsiteY2" fmla="*/ 143436 h 168196"/>
                <a:gd name="connsiteX3" fmla="*/ 24742 w 168932"/>
                <a:gd name="connsiteY3" fmla="*/ 143436 h 168196"/>
                <a:gd name="connsiteX4" fmla="*/ 24742 w 168932"/>
                <a:gd name="connsiteY4" fmla="*/ 23988 h 168196"/>
                <a:gd name="connsiteX5" fmla="*/ 73355 w 168932"/>
                <a:gd name="connsiteY5" fmla="*/ 0 h 1681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68932" h="168196">
                  <a:moveTo>
                    <a:pt x="121085" y="7554"/>
                  </a:moveTo>
                  <a:cubicBezTo>
                    <a:pt x="129425" y="11577"/>
                    <a:pt x="137273" y="17071"/>
                    <a:pt x="144190" y="23988"/>
                  </a:cubicBezTo>
                  <a:cubicBezTo>
                    <a:pt x="177204" y="56953"/>
                    <a:pt x="177155" y="110471"/>
                    <a:pt x="144190" y="143436"/>
                  </a:cubicBezTo>
                  <a:cubicBezTo>
                    <a:pt x="111176" y="176450"/>
                    <a:pt x="57707" y="176450"/>
                    <a:pt x="24742" y="143436"/>
                  </a:cubicBezTo>
                  <a:cubicBezTo>
                    <a:pt x="-8272" y="110422"/>
                    <a:pt x="-8223" y="56953"/>
                    <a:pt x="24742" y="23988"/>
                  </a:cubicBezTo>
                  <a:cubicBezTo>
                    <a:pt x="38379" y="10302"/>
                    <a:pt x="55597" y="2306"/>
                    <a:pt x="73355" y="0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368" name="Forma livre: Forma 1367">
              <a:extLst>
                <a:ext uri="{FF2B5EF4-FFF2-40B4-BE49-F238E27FC236}">
                  <a16:creationId xmlns:a16="http://schemas.microsoft.com/office/drawing/2014/main" id="{709AD4E6-92CB-3826-9BE5-DCDA45DF13C9}"/>
                </a:ext>
              </a:extLst>
            </p:cNvPr>
            <p:cNvSpPr/>
            <p:nvPr/>
          </p:nvSpPr>
          <p:spPr>
            <a:xfrm>
              <a:off x="9054231" y="5912696"/>
              <a:ext cx="64359" cy="64408"/>
            </a:xfrm>
            <a:custGeom>
              <a:avLst/>
              <a:gdLst>
                <a:gd name="connsiteX0" fmla="*/ 0 w 64359"/>
                <a:gd name="connsiteY0" fmla="*/ 64409 h 64408"/>
                <a:gd name="connsiteX1" fmla="*/ 64360 w 64359"/>
                <a:gd name="connsiteY1" fmla="*/ 0 h 644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4359" h="64408">
                  <a:moveTo>
                    <a:pt x="0" y="64409"/>
                  </a:moveTo>
                  <a:lnTo>
                    <a:pt x="6436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369" name="Forma livre: Forma 1368">
              <a:extLst>
                <a:ext uri="{FF2B5EF4-FFF2-40B4-BE49-F238E27FC236}">
                  <a16:creationId xmlns:a16="http://schemas.microsoft.com/office/drawing/2014/main" id="{408DA86E-D9A7-7DC5-8E9B-7F86957EFFEA}"/>
                </a:ext>
              </a:extLst>
            </p:cNvPr>
            <p:cNvSpPr/>
            <p:nvPr/>
          </p:nvSpPr>
          <p:spPr>
            <a:xfrm>
              <a:off x="8839156" y="5882037"/>
              <a:ext cx="168932" cy="168159"/>
            </a:xfrm>
            <a:custGeom>
              <a:avLst/>
              <a:gdLst>
                <a:gd name="connsiteX0" fmla="*/ 47651 w 168932"/>
                <a:gd name="connsiteY0" fmla="*/ 160507 h 168159"/>
                <a:gd name="connsiteX1" fmla="*/ 24742 w 168932"/>
                <a:gd name="connsiteY1" fmla="*/ 144172 h 168159"/>
                <a:gd name="connsiteX2" fmla="*/ 24742 w 168932"/>
                <a:gd name="connsiteY2" fmla="*/ 24724 h 168159"/>
                <a:gd name="connsiteX3" fmla="*/ 144190 w 168932"/>
                <a:gd name="connsiteY3" fmla="*/ 24724 h 168159"/>
                <a:gd name="connsiteX4" fmla="*/ 144190 w 168932"/>
                <a:gd name="connsiteY4" fmla="*/ 144172 h 168159"/>
                <a:gd name="connsiteX5" fmla="*/ 95626 w 168932"/>
                <a:gd name="connsiteY5" fmla="*/ 168159 h 1681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68932" h="168159">
                  <a:moveTo>
                    <a:pt x="47651" y="160507"/>
                  </a:moveTo>
                  <a:cubicBezTo>
                    <a:pt x="39360" y="156484"/>
                    <a:pt x="31610" y="151039"/>
                    <a:pt x="24742" y="144172"/>
                  </a:cubicBezTo>
                  <a:cubicBezTo>
                    <a:pt x="-8272" y="111158"/>
                    <a:pt x="-8223" y="57688"/>
                    <a:pt x="24742" y="24724"/>
                  </a:cubicBezTo>
                  <a:cubicBezTo>
                    <a:pt x="57707" y="-8241"/>
                    <a:pt x="111176" y="-8241"/>
                    <a:pt x="144190" y="24724"/>
                  </a:cubicBezTo>
                  <a:cubicBezTo>
                    <a:pt x="177155" y="57688"/>
                    <a:pt x="177204" y="111158"/>
                    <a:pt x="144190" y="144172"/>
                  </a:cubicBezTo>
                  <a:cubicBezTo>
                    <a:pt x="130553" y="157809"/>
                    <a:pt x="113384" y="165805"/>
                    <a:pt x="95626" y="168159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370" name="Forma livre: Forma 1369">
              <a:extLst>
                <a:ext uri="{FF2B5EF4-FFF2-40B4-BE49-F238E27FC236}">
                  <a16:creationId xmlns:a16="http://schemas.microsoft.com/office/drawing/2014/main" id="{5F976221-16F3-C9C4-F14E-803F96205FA9}"/>
                </a:ext>
              </a:extLst>
            </p:cNvPr>
            <p:cNvSpPr/>
            <p:nvPr/>
          </p:nvSpPr>
          <p:spPr>
            <a:xfrm>
              <a:off x="9063600" y="5908575"/>
              <a:ext cx="59307" cy="59307"/>
            </a:xfrm>
            <a:custGeom>
              <a:avLst/>
              <a:gdLst>
                <a:gd name="connsiteX0" fmla="*/ 59307 w 59307"/>
                <a:gd name="connsiteY0" fmla="*/ 59307 h 59307"/>
                <a:gd name="connsiteX1" fmla="*/ 59307 w 59307"/>
                <a:gd name="connsiteY1" fmla="*/ 98 h 59307"/>
                <a:gd name="connsiteX2" fmla="*/ 0 w 59307"/>
                <a:gd name="connsiteY2" fmla="*/ 0 h 593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59307" h="59307">
                  <a:moveTo>
                    <a:pt x="59307" y="59307"/>
                  </a:moveTo>
                  <a:lnTo>
                    <a:pt x="59307" y="98"/>
                  </a:lnTo>
                  <a:lnTo>
                    <a:pt x="0" y="0"/>
                  </a:lnTo>
                </a:path>
              </a:pathLst>
            </a:custGeom>
            <a:noFill/>
            <a:ln w="6350" cap="sq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371" name="Forma livre: Forma 1370">
              <a:extLst>
                <a:ext uri="{FF2B5EF4-FFF2-40B4-BE49-F238E27FC236}">
                  <a16:creationId xmlns:a16="http://schemas.microsoft.com/office/drawing/2014/main" id="{4A6E1392-CCB3-EC56-8DB8-9D04B1B7B99E}"/>
                </a:ext>
              </a:extLst>
            </p:cNvPr>
            <p:cNvSpPr/>
            <p:nvPr/>
          </p:nvSpPr>
          <p:spPr>
            <a:xfrm>
              <a:off x="8798606" y="6027092"/>
              <a:ext cx="64408" cy="64408"/>
            </a:xfrm>
            <a:custGeom>
              <a:avLst/>
              <a:gdLst>
                <a:gd name="connsiteX0" fmla="*/ 64409 w 64408"/>
                <a:gd name="connsiteY0" fmla="*/ 0 h 64408"/>
                <a:gd name="connsiteX1" fmla="*/ 0 w 64408"/>
                <a:gd name="connsiteY1" fmla="*/ 64409 h 644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4408" h="64408">
                  <a:moveTo>
                    <a:pt x="64409" y="0"/>
                  </a:moveTo>
                  <a:lnTo>
                    <a:pt x="0" y="64409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372" name="Forma livre: Forma 1371">
              <a:extLst>
                <a:ext uri="{FF2B5EF4-FFF2-40B4-BE49-F238E27FC236}">
                  <a16:creationId xmlns:a16="http://schemas.microsoft.com/office/drawing/2014/main" id="{1513CEEB-5B85-14FE-3242-877CA04A8942}"/>
                </a:ext>
              </a:extLst>
            </p:cNvPr>
            <p:cNvSpPr/>
            <p:nvPr/>
          </p:nvSpPr>
          <p:spPr>
            <a:xfrm>
              <a:off x="8794339" y="6036314"/>
              <a:ext cx="59307" cy="59307"/>
            </a:xfrm>
            <a:custGeom>
              <a:avLst/>
              <a:gdLst>
                <a:gd name="connsiteX0" fmla="*/ 0 w 59307"/>
                <a:gd name="connsiteY0" fmla="*/ 0 h 59307"/>
                <a:gd name="connsiteX1" fmla="*/ 0 w 59307"/>
                <a:gd name="connsiteY1" fmla="*/ 59160 h 59307"/>
                <a:gd name="connsiteX2" fmla="*/ 59307 w 59307"/>
                <a:gd name="connsiteY2" fmla="*/ 59307 h 593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59307" h="59307">
                  <a:moveTo>
                    <a:pt x="0" y="0"/>
                  </a:moveTo>
                  <a:lnTo>
                    <a:pt x="0" y="59160"/>
                  </a:lnTo>
                  <a:lnTo>
                    <a:pt x="59307" y="59307"/>
                  </a:lnTo>
                </a:path>
              </a:pathLst>
            </a:custGeom>
            <a:noFill/>
            <a:ln w="6350" cap="sq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373" name="Gráfico 14">
            <a:extLst>
              <a:ext uri="{FF2B5EF4-FFF2-40B4-BE49-F238E27FC236}">
                <a16:creationId xmlns:a16="http://schemas.microsoft.com/office/drawing/2014/main" id="{37DF9271-E916-83D5-613A-9AF11D4A2FC4}"/>
              </a:ext>
            </a:extLst>
          </p:cNvPr>
          <p:cNvGrpSpPr/>
          <p:nvPr/>
        </p:nvGrpSpPr>
        <p:grpSpPr>
          <a:xfrm>
            <a:off x="9399913" y="3688065"/>
            <a:ext cx="395344" cy="174193"/>
            <a:chOff x="9399913" y="3688065"/>
            <a:chExt cx="395344" cy="174193"/>
          </a:xfrm>
          <a:noFill/>
        </p:grpSpPr>
        <p:sp>
          <p:nvSpPr>
            <p:cNvPr id="1374" name="Forma livre: Forma 1373">
              <a:extLst>
                <a:ext uri="{FF2B5EF4-FFF2-40B4-BE49-F238E27FC236}">
                  <a16:creationId xmlns:a16="http://schemas.microsoft.com/office/drawing/2014/main" id="{350B0A5C-2626-A55C-AF96-EFD731166737}"/>
                </a:ext>
              </a:extLst>
            </p:cNvPr>
            <p:cNvSpPr/>
            <p:nvPr/>
          </p:nvSpPr>
          <p:spPr>
            <a:xfrm>
              <a:off x="9503054" y="3699664"/>
              <a:ext cx="189061" cy="162594"/>
            </a:xfrm>
            <a:custGeom>
              <a:avLst/>
              <a:gdLst>
                <a:gd name="connsiteX0" fmla="*/ 174515 w 189061"/>
                <a:gd name="connsiteY0" fmla="*/ 82733 h 162594"/>
                <a:gd name="connsiteX1" fmla="*/ 175201 w 189061"/>
                <a:gd name="connsiteY1" fmla="*/ 13860 h 162594"/>
                <a:gd name="connsiteX2" fmla="*/ 106329 w 189061"/>
                <a:gd name="connsiteY2" fmla="*/ 14547 h 162594"/>
                <a:gd name="connsiteX3" fmla="*/ 94506 w 189061"/>
                <a:gd name="connsiteY3" fmla="*/ 26320 h 162594"/>
                <a:gd name="connsiteX4" fmla="*/ 82733 w 189061"/>
                <a:gd name="connsiteY4" fmla="*/ 14547 h 162594"/>
                <a:gd name="connsiteX5" fmla="*/ 13860 w 189061"/>
                <a:gd name="connsiteY5" fmla="*/ 13860 h 162594"/>
                <a:gd name="connsiteX6" fmla="*/ 14547 w 189061"/>
                <a:gd name="connsiteY6" fmla="*/ 82733 h 162594"/>
                <a:gd name="connsiteX7" fmla="*/ 94506 w 189061"/>
                <a:gd name="connsiteY7" fmla="*/ 162594 h 162594"/>
                <a:gd name="connsiteX8" fmla="*/ 174515 w 189061"/>
                <a:gd name="connsiteY8" fmla="*/ 82733 h 1625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89061" h="162594">
                  <a:moveTo>
                    <a:pt x="174515" y="82733"/>
                  </a:moveTo>
                  <a:cubicBezTo>
                    <a:pt x="193646" y="63602"/>
                    <a:pt x="193940" y="32599"/>
                    <a:pt x="175201" y="13860"/>
                  </a:cubicBezTo>
                  <a:cubicBezTo>
                    <a:pt x="156462" y="-4879"/>
                    <a:pt x="125460" y="-4584"/>
                    <a:pt x="106329" y="14547"/>
                  </a:cubicBezTo>
                  <a:lnTo>
                    <a:pt x="94506" y="26320"/>
                  </a:lnTo>
                  <a:lnTo>
                    <a:pt x="82733" y="14547"/>
                  </a:lnTo>
                  <a:cubicBezTo>
                    <a:pt x="63602" y="-4584"/>
                    <a:pt x="32648" y="-4879"/>
                    <a:pt x="13860" y="13860"/>
                  </a:cubicBezTo>
                  <a:cubicBezTo>
                    <a:pt x="-4879" y="32599"/>
                    <a:pt x="-4584" y="63602"/>
                    <a:pt x="14547" y="82733"/>
                  </a:cubicBezTo>
                  <a:lnTo>
                    <a:pt x="94506" y="162594"/>
                  </a:lnTo>
                  <a:lnTo>
                    <a:pt x="174515" y="82733"/>
                  </a:ln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375" name="Gráfico 14">
              <a:extLst>
                <a:ext uri="{FF2B5EF4-FFF2-40B4-BE49-F238E27FC236}">
                  <a16:creationId xmlns:a16="http://schemas.microsoft.com/office/drawing/2014/main" id="{3DD071EE-A216-7D72-5EDE-DE3CEEAC9824}"/>
                </a:ext>
              </a:extLst>
            </p:cNvPr>
            <p:cNvGrpSpPr/>
            <p:nvPr/>
          </p:nvGrpSpPr>
          <p:grpSpPr>
            <a:xfrm>
              <a:off x="9399913" y="3688065"/>
              <a:ext cx="395344" cy="139854"/>
              <a:chOff x="9399913" y="3688065"/>
              <a:chExt cx="395344" cy="139854"/>
            </a:xfrm>
            <a:noFill/>
          </p:grpSpPr>
          <p:grpSp>
            <p:nvGrpSpPr>
              <p:cNvPr id="1376" name="Gráfico 14">
                <a:extLst>
                  <a:ext uri="{FF2B5EF4-FFF2-40B4-BE49-F238E27FC236}">
                    <a16:creationId xmlns:a16="http://schemas.microsoft.com/office/drawing/2014/main" id="{CAA83FDF-8275-05A2-4E33-46E7C186D08A}"/>
                  </a:ext>
                </a:extLst>
              </p:cNvPr>
              <p:cNvGrpSpPr/>
              <p:nvPr/>
            </p:nvGrpSpPr>
            <p:grpSpPr>
              <a:xfrm>
                <a:off x="9399913" y="3688065"/>
                <a:ext cx="124359" cy="139854"/>
                <a:chOff x="9399913" y="3688065"/>
                <a:chExt cx="124359" cy="139854"/>
              </a:xfrm>
              <a:noFill/>
            </p:grpSpPr>
            <p:sp>
              <p:nvSpPr>
                <p:cNvPr id="1377" name="Forma livre: Forma 1376">
                  <a:extLst>
                    <a:ext uri="{FF2B5EF4-FFF2-40B4-BE49-F238E27FC236}">
                      <a16:creationId xmlns:a16="http://schemas.microsoft.com/office/drawing/2014/main" id="{834B6180-EDE0-2F8C-49B5-814DFAA60ED7}"/>
                    </a:ext>
                  </a:extLst>
                </p:cNvPr>
                <p:cNvSpPr/>
                <p:nvPr/>
              </p:nvSpPr>
              <p:spPr>
                <a:xfrm>
                  <a:off x="9399913" y="3688065"/>
                  <a:ext cx="110477" cy="63623"/>
                </a:xfrm>
                <a:custGeom>
                  <a:avLst/>
                  <a:gdLst>
                    <a:gd name="connsiteX0" fmla="*/ 110478 w 110477"/>
                    <a:gd name="connsiteY0" fmla="*/ 32965 h 63623"/>
                    <a:gd name="connsiteX1" fmla="*/ 51955 w 110477"/>
                    <a:gd name="connsiteY1" fmla="*/ 12558 h 63623"/>
                    <a:gd name="connsiteX2" fmla="*/ 2851 w 110477"/>
                    <a:gd name="connsiteY2" fmla="*/ 0 h 63623"/>
                    <a:gd name="connsiteX3" fmla="*/ 65347 w 110477"/>
                    <a:gd name="connsiteY3" fmla="*/ 63624 h 6362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10477" h="63623">
                      <a:moveTo>
                        <a:pt x="110478" y="32965"/>
                      </a:moveTo>
                      <a:cubicBezTo>
                        <a:pt x="110478" y="32965"/>
                        <a:pt x="79230" y="12313"/>
                        <a:pt x="51955" y="12558"/>
                      </a:cubicBezTo>
                      <a:cubicBezTo>
                        <a:pt x="28556" y="12803"/>
                        <a:pt x="20119" y="10988"/>
                        <a:pt x="2851" y="0"/>
                      </a:cubicBezTo>
                      <a:cubicBezTo>
                        <a:pt x="2851" y="0"/>
                        <a:pt x="-20302" y="60484"/>
                        <a:pt x="65347" y="63624"/>
                      </a:cubicBez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378" name="Forma livre: Forma 1377">
                  <a:extLst>
                    <a:ext uri="{FF2B5EF4-FFF2-40B4-BE49-F238E27FC236}">
                      <a16:creationId xmlns:a16="http://schemas.microsoft.com/office/drawing/2014/main" id="{CF4D49B4-AE8C-539F-582D-F83DAD04E4B3}"/>
                    </a:ext>
                  </a:extLst>
                </p:cNvPr>
                <p:cNvSpPr/>
                <p:nvPr/>
              </p:nvSpPr>
              <p:spPr>
                <a:xfrm>
                  <a:off x="9418276" y="3742860"/>
                  <a:ext cx="63417" cy="49692"/>
                </a:xfrm>
                <a:custGeom>
                  <a:avLst/>
                  <a:gdLst>
                    <a:gd name="connsiteX0" fmla="*/ 578 w 63417"/>
                    <a:gd name="connsiteY0" fmla="*/ 0 h 49692"/>
                    <a:gd name="connsiteX1" fmla="*/ 63417 w 63417"/>
                    <a:gd name="connsiteY1" fmla="*/ 49692 h 496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63417" h="49692">
                      <a:moveTo>
                        <a:pt x="578" y="0"/>
                      </a:moveTo>
                      <a:cubicBezTo>
                        <a:pt x="578" y="0"/>
                        <a:pt x="-10410" y="48123"/>
                        <a:pt x="63417" y="49692"/>
                      </a:cubicBez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379" name="Forma livre: Forma 1378">
                  <a:extLst>
                    <a:ext uri="{FF2B5EF4-FFF2-40B4-BE49-F238E27FC236}">
                      <a16:creationId xmlns:a16="http://schemas.microsoft.com/office/drawing/2014/main" id="{9CBD748D-146F-7C20-2BEC-92FE871C0707}"/>
                    </a:ext>
                  </a:extLst>
                </p:cNvPr>
                <p:cNvSpPr/>
                <p:nvPr/>
              </p:nvSpPr>
              <p:spPr>
                <a:xfrm>
                  <a:off x="9451416" y="3789952"/>
                  <a:ext cx="72856" cy="37968"/>
                </a:xfrm>
                <a:custGeom>
                  <a:avLst/>
                  <a:gdLst>
                    <a:gd name="connsiteX0" fmla="*/ 10 w 72856"/>
                    <a:gd name="connsiteY0" fmla="*/ 0 h 37968"/>
                    <a:gd name="connsiteX1" fmla="*/ 48378 w 72856"/>
                    <a:gd name="connsiteY1" fmla="*/ 37968 h 37968"/>
                    <a:gd name="connsiteX2" fmla="*/ 72857 w 72856"/>
                    <a:gd name="connsiteY2" fmla="*/ 37968 h 3796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72856" h="37968">
                      <a:moveTo>
                        <a:pt x="10" y="0"/>
                      </a:moveTo>
                      <a:cubicBezTo>
                        <a:pt x="10" y="0"/>
                        <a:pt x="-1952" y="37968"/>
                        <a:pt x="48378" y="37968"/>
                      </a:cubicBezTo>
                      <a:lnTo>
                        <a:pt x="72857" y="37968"/>
                      </a:ln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1380" name="Gráfico 14">
                <a:extLst>
                  <a:ext uri="{FF2B5EF4-FFF2-40B4-BE49-F238E27FC236}">
                    <a16:creationId xmlns:a16="http://schemas.microsoft.com/office/drawing/2014/main" id="{20D591D5-3519-7FD5-0C57-68993EDF9F46}"/>
                  </a:ext>
                </a:extLst>
              </p:cNvPr>
              <p:cNvGrpSpPr/>
              <p:nvPr/>
            </p:nvGrpSpPr>
            <p:grpSpPr>
              <a:xfrm>
                <a:off x="9670898" y="3688065"/>
                <a:ext cx="124359" cy="139854"/>
                <a:chOff x="9670898" y="3688065"/>
                <a:chExt cx="124359" cy="139854"/>
              </a:xfrm>
              <a:noFill/>
            </p:grpSpPr>
            <p:sp>
              <p:nvSpPr>
                <p:cNvPr id="1381" name="Forma livre: Forma 1380">
                  <a:extLst>
                    <a:ext uri="{FF2B5EF4-FFF2-40B4-BE49-F238E27FC236}">
                      <a16:creationId xmlns:a16="http://schemas.microsoft.com/office/drawing/2014/main" id="{48ACCF6E-B056-6CD0-3920-A432947473DB}"/>
                    </a:ext>
                  </a:extLst>
                </p:cNvPr>
                <p:cNvSpPr/>
                <p:nvPr/>
              </p:nvSpPr>
              <p:spPr>
                <a:xfrm>
                  <a:off x="9684780" y="3688065"/>
                  <a:ext cx="110477" cy="63623"/>
                </a:xfrm>
                <a:custGeom>
                  <a:avLst/>
                  <a:gdLst>
                    <a:gd name="connsiteX0" fmla="*/ 0 w 110477"/>
                    <a:gd name="connsiteY0" fmla="*/ 32965 h 63623"/>
                    <a:gd name="connsiteX1" fmla="*/ 58522 w 110477"/>
                    <a:gd name="connsiteY1" fmla="*/ 12558 h 63623"/>
                    <a:gd name="connsiteX2" fmla="*/ 107626 w 110477"/>
                    <a:gd name="connsiteY2" fmla="*/ 0 h 63623"/>
                    <a:gd name="connsiteX3" fmla="*/ 45130 w 110477"/>
                    <a:gd name="connsiteY3" fmla="*/ 63624 h 6362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10477" h="63623">
                      <a:moveTo>
                        <a:pt x="0" y="32965"/>
                      </a:moveTo>
                      <a:cubicBezTo>
                        <a:pt x="0" y="32965"/>
                        <a:pt x="31248" y="12313"/>
                        <a:pt x="58522" y="12558"/>
                      </a:cubicBezTo>
                      <a:cubicBezTo>
                        <a:pt x="81921" y="12803"/>
                        <a:pt x="90359" y="10988"/>
                        <a:pt x="107626" y="0"/>
                      </a:cubicBezTo>
                      <a:cubicBezTo>
                        <a:pt x="107626" y="0"/>
                        <a:pt x="130780" y="60484"/>
                        <a:pt x="45130" y="63624"/>
                      </a:cubicBez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382" name="Forma livre: Forma 1381">
                  <a:extLst>
                    <a:ext uri="{FF2B5EF4-FFF2-40B4-BE49-F238E27FC236}">
                      <a16:creationId xmlns:a16="http://schemas.microsoft.com/office/drawing/2014/main" id="{8EC129BA-69A2-33DF-CEC6-FCF66E9F82A6}"/>
                    </a:ext>
                  </a:extLst>
                </p:cNvPr>
                <p:cNvSpPr/>
                <p:nvPr/>
              </p:nvSpPr>
              <p:spPr>
                <a:xfrm>
                  <a:off x="9713477" y="3742860"/>
                  <a:ext cx="63417" cy="49692"/>
                </a:xfrm>
                <a:custGeom>
                  <a:avLst/>
                  <a:gdLst>
                    <a:gd name="connsiteX0" fmla="*/ 62839 w 63417"/>
                    <a:gd name="connsiteY0" fmla="*/ 0 h 49692"/>
                    <a:gd name="connsiteX1" fmla="*/ 0 w 63417"/>
                    <a:gd name="connsiteY1" fmla="*/ 49692 h 496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63417" h="49692">
                      <a:moveTo>
                        <a:pt x="62839" y="0"/>
                      </a:moveTo>
                      <a:cubicBezTo>
                        <a:pt x="62839" y="0"/>
                        <a:pt x="73827" y="48123"/>
                        <a:pt x="0" y="49692"/>
                      </a:cubicBez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383" name="Forma livre: Forma 1382">
                  <a:extLst>
                    <a:ext uri="{FF2B5EF4-FFF2-40B4-BE49-F238E27FC236}">
                      <a16:creationId xmlns:a16="http://schemas.microsoft.com/office/drawing/2014/main" id="{7C4496C0-775E-40DF-6104-44EAA111D90B}"/>
                    </a:ext>
                  </a:extLst>
                </p:cNvPr>
                <p:cNvSpPr/>
                <p:nvPr/>
              </p:nvSpPr>
              <p:spPr>
                <a:xfrm>
                  <a:off x="9670898" y="3789952"/>
                  <a:ext cx="72856" cy="37968"/>
                </a:xfrm>
                <a:custGeom>
                  <a:avLst/>
                  <a:gdLst>
                    <a:gd name="connsiteX0" fmla="*/ 72846 w 72856"/>
                    <a:gd name="connsiteY0" fmla="*/ 0 h 37968"/>
                    <a:gd name="connsiteX1" fmla="*/ 24478 w 72856"/>
                    <a:gd name="connsiteY1" fmla="*/ 37968 h 37968"/>
                    <a:gd name="connsiteX2" fmla="*/ 0 w 72856"/>
                    <a:gd name="connsiteY2" fmla="*/ 37968 h 3796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72856" h="37968">
                      <a:moveTo>
                        <a:pt x="72846" y="0"/>
                      </a:moveTo>
                      <a:cubicBezTo>
                        <a:pt x="72846" y="0"/>
                        <a:pt x="74808" y="37968"/>
                        <a:pt x="24478" y="37968"/>
                      </a:cubicBezTo>
                      <a:lnTo>
                        <a:pt x="0" y="37968"/>
                      </a:ln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</p:grpSp>
      <p:grpSp>
        <p:nvGrpSpPr>
          <p:cNvPr id="1391" name="Gráfico 14">
            <a:extLst>
              <a:ext uri="{FF2B5EF4-FFF2-40B4-BE49-F238E27FC236}">
                <a16:creationId xmlns:a16="http://schemas.microsoft.com/office/drawing/2014/main" id="{2FAC81BB-4F97-1C58-5809-508B3C534D4F}"/>
              </a:ext>
            </a:extLst>
          </p:cNvPr>
          <p:cNvGrpSpPr/>
          <p:nvPr/>
        </p:nvGrpSpPr>
        <p:grpSpPr>
          <a:xfrm>
            <a:off x="9439163" y="4770408"/>
            <a:ext cx="316795" cy="236002"/>
            <a:chOff x="9439163" y="4770408"/>
            <a:chExt cx="316795" cy="236002"/>
          </a:xfrm>
          <a:noFill/>
        </p:grpSpPr>
        <p:sp>
          <p:nvSpPr>
            <p:cNvPr id="1392" name="Forma livre: Forma 1391">
              <a:extLst>
                <a:ext uri="{FF2B5EF4-FFF2-40B4-BE49-F238E27FC236}">
                  <a16:creationId xmlns:a16="http://schemas.microsoft.com/office/drawing/2014/main" id="{FCBCD481-CFC4-0704-0CDC-8A0C3FCD43AD}"/>
                </a:ext>
              </a:extLst>
            </p:cNvPr>
            <p:cNvSpPr/>
            <p:nvPr/>
          </p:nvSpPr>
          <p:spPr>
            <a:xfrm>
              <a:off x="9458343" y="4770408"/>
              <a:ext cx="278434" cy="89819"/>
            </a:xfrm>
            <a:custGeom>
              <a:avLst/>
              <a:gdLst>
                <a:gd name="connsiteX0" fmla="*/ 0 w 278434"/>
                <a:gd name="connsiteY0" fmla="*/ 89819 h 89819"/>
                <a:gd name="connsiteX1" fmla="*/ 0 w 278434"/>
                <a:gd name="connsiteY1" fmla="*/ 34584 h 89819"/>
                <a:gd name="connsiteX2" fmla="*/ 34584 w 278434"/>
                <a:gd name="connsiteY2" fmla="*/ 0 h 89819"/>
                <a:gd name="connsiteX3" fmla="*/ 243851 w 278434"/>
                <a:gd name="connsiteY3" fmla="*/ 0 h 89819"/>
                <a:gd name="connsiteX4" fmla="*/ 278435 w 278434"/>
                <a:gd name="connsiteY4" fmla="*/ 34584 h 89819"/>
                <a:gd name="connsiteX5" fmla="*/ 278435 w 278434"/>
                <a:gd name="connsiteY5" fmla="*/ 89819 h 898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78434" h="89819">
                  <a:moveTo>
                    <a:pt x="0" y="89819"/>
                  </a:moveTo>
                  <a:lnTo>
                    <a:pt x="0" y="34584"/>
                  </a:lnTo>
                  <a:cubicBezTo>
                    <a:pt x="0" y="15550"/>
                    <a:pt x="15550" y="0"/>
                    <a:pt x="34584" y="0"/>
                  </a:cubicBezTo>
                  <a:lnTo>
                    <a:pt x="243851" y="0"/>
                  </a:lnTo>
                  <a:cubicBezTo>
                    <a:pt x="262884" y="0"/>
                    <a:pt x="278435" y="15550"/>
                    <a:pt x="278435" y="34584"/>
                  </a:cubicBezTo>
                  <a:lnTo>
                    <a:pt x="278435" y="89819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393" name="Forma livre: Forma 1392">
              <a:extLst>
                <a:ext uri="{FF2B5EF4-FFF2-40B4-BE49-F238E27FC236}">
                  <a16:creationId xmlns:a16="http://schemas.microsoft.com/office/drawing/2014/main" id="{96222476-B355-EB73-8888-27BBB0A0443A}"/>
                </a:ext>
              </a:extLst>
            </p:cNvPr>
            <p:cNvSpPr/>
            <p:nvPr/>
          </p:nvSpPr>
          <p:spPr>
            <a:xfrm>
              <a:off x="9439163" y="4883774"/>
              <a:ext cx="316795" cy="122636"/>
            </a:xfrm>
            <a:custGeom>
              <a:avLst/>
              <a:gdLst>
                <a:gd name="connsiteX0" fmla="*/ 0 w 316795"/>
                <a:gd name="connsiteY0" fmla="*/ 122637 h 122636"/>
                <a:gd name="connsiteX1" fmla="*/ 0 w 316795"/>
                <a:gd name="connsiteY1" fmla="*/ 24724 h 122636"/>
                <a:gd name="connsiteX2" fmla="*/ 24724 w 316795"/>
                <a:gd name="connsiteY2" fmla="*/ 0 h 122636"/>
                <a:gd name="connsiteX3" fmla="*/ 292072 w 316795"/>
                <a:gd name="connsiteY3" fmla="*/ 0 h 122636"/>
                <a:gd name="connsiteX4" fmla="*/ 316795 w 316795"/>
                <a:gd name="connsiteY4" fmla="*/ 24724 h 122636"/>
                <a:gd name="connsiteX5" fmla="*/ 316795 w 316795"/>
                <a:gd name="connsiteY5" fmla="*/ 122637 h 1226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16795" h="122636">
                  <a:moveTo>
                    <a:pt x="0" y="122637"/>
                  </a:moveTo>
                  <a:lnTo>
                    <a:pt x="0" y="24724"/>
                  </a:lnTo>
                  <a:cubicBezTo>
                    <a:pt x="0" y="11135"/>
                    <a:pt x="11136" y="0"/>
                    <a:pt x="24724" y="0"/>
                  </a:cubicBezTo>
                  <a:lnTo>
                    <a:pt x="292072" y="0"/>
                  </a:lnTo>
                  <a:cubicBezTo>
                    <a:pt x="305660" y="0"/>
                    <a:pt x="316795" y="11135"/>
                    <a:pt x="316795" y="24724"/>
                  </a:cubicBezTo>
                  <a:lnTo>
                    <a:pt x="316795" y="122637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394" name="Gráfico 14">
              <a:extLst>
                <a:ext uri="{FF2B5EF4-FFF2-40B4-BE49-F238E27FC236}">
                  <a16:creationId xmlns:a16="http://schemas.microsoft.com/office/drawing/2014/main" id="{6A8F953F-B309-99F2-AF92-3F31EFF29227}"/>
                </a:ext>
              </a:extLst>
            </p:cNvPr>
            <p:cNvGrpSpPr/>
            <p:nvPr/>
          </p:nvGrpSpPr>
          <p:grpSpPr>
            <a:xfrm>
              <a:off x="9501659" y="4808180"/>
              <a:ext cx="191852" cy="52047"/>
              <a:chOff x="9501659" y="4808180"/>
              <a:chExt cx="191852" cy="52047"/>
            </a:xfrm>
            <a:noFill/>
          </p:grpSpPr>
          <p:sp>
            <p:nvSpPr>
              <p:cNvPr id="1395" name="Forma livre: Forma 1394">
                <a:extLst>
                  <a:ext uri="{FF2B5EF4-FFF2-40B4-BE49-F238E27FC236}">
                    <a16:creationId xmlns:a16="http://schemas.microsoft.com/office/drawing/2014/main" id="{6778C572-76A5-6C8E-3312-243A26D50A66}"/>
                  </a:ext>
                </a:extLst>
              </p:cNvPr>
              <p:cNvSpPr/>
              <p:nvPr/>
            </p:nvSpPr>
            <p:spPr>
              <a:xfrm>
                <a:off x="9501659" y="4808180"/>
                <a:ext cx="75789" cy="52047"/>
              </a:xfrm>
              <a:custGeom>
                <a:avLst/>
                <a:gdLst>
                  <a:gd name="connsiteX0" fmla="*/ 0 w 75789"/>
                  <a:gd name="connsiteY0" fmla="*/ 52047 h 52047"/>
                  <a:gd name="connsiteX1" fmla="*/ 0 w 75789"/>
                  <a:gd name="connsiteY1" fmla="*/ 14815 h 52047"/>
                  <a:gd name="connsiteX2" fmla="*/ 14814 w 75789"/>
                  <a:gd name="connsiteY2" fmla="*/ 0 h 52047"/>
                  <a:gd name="connsiteX3" fmla="*/ 60975 w 75789"/>
                  <a:gd name="connsiteY3" fmla="*/ 0 h 52047"/>
                  <a:gd name="connsiteX4" fmla="*/ 75789 w 75789"/>
                  <a:gd name="connsiteY4" fmla="*/ 14815 h 52047"/>
                  <a:gd name="connsiteX5" fmla="*/ 75789 w 75789"/>
                  <a:gd name="connsiteY5" fmla="*/ 52047 h 520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75789" h="52047">
                    <a:moveTo>
                      <a:pt x="0" y="52047"/>
                    </a:moveTo>
                    <a:lnTo>
                      <a:pt x="0" y="14815"/>
                    </a:lnTo>
                    <a:cubicBezTo>
                      <a:pt x="0" y="6671"/>
                      <a:pt x="6671" y="0"/>
                      <a:pt x="14814" y="0"/>
                    </a:cubicBezTo>
                    <a:lnTo>
                      <a:pt x="60975" y="0"/>
                    </a:lnTo>
                    <a:cubicBezTo>
                      <a:pt x="69118" y="0"/>
                      <a:pt x="75789" y="6671"/>
                      <a:pt x="75789" y="14815"/>
                    </a:cubicBezTo>
                    <a:lnTo>
                      <a:pt x="75789" y="52047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396" name="Forma livre: Forma 1395">
                <a:extLst>
                  <a:ext uri="{FF2B5EF4-FFF2-40B4-BE49-F238E27FC236}">
                    <a16:creationId xmlns:a16="http://schemas.microsoft.com/office/drawing/2014/main" id="{3B56B1BC-3C3A-D1C4-DE93-8BB6FB261CCD}"/>
                  </a:ext>
                </a:extLst>
              </p:cNvPr>
              <p:cNvSpPr/>
              <p:nvPr/>
            </p:nvSpPr>
            <p:spPr>
              <a:xfrm>
                <a:off x="9617722" y="4808180"/>
                <a:ext cx="75789" cy="52047"/>
              </a:xfrm>
              <a:custGeom>
                <a:avLst/>
                <a:gdLst>
                  <a:gd name="connsiteX0" fmla="*/ 0 w 75789"/>
                  <a:gd name="connsiteY0" fmla="*/ 52047 h 52047"/>
                  <a:gd name="connsiteX1" fmla="*/ 0 w 75789"/>
                  <a:gd name="connsiteY1" fmla="*/ 14815 h 52047"/>
                  <a:gd name="connsiteX2" fmla="*/ 14815 w 75789"/>
                  <a:gd name="connsiteY2" fmla="*/ 0 h 52047"/>
                  <a:gd name="connsiteX3" fmla="*/ 60975 w 75789"/>
                  <a:gd name="connsiteY3" fmla="*/ 0 h 52047"/>
                  <a:gd name="connsiteX4" fmla="*/ 75790 w 75789"/>
                  <a:gd name="connsiteY4" fmla="*/ 14815 h 52047"/>
                  <a:gd name="connsiteX5" fmla="*/ 75790 w 75789"/>
                  <a:gd name="connsiteY5" fmla="*/ 52047 h 520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75789" h="52047">
                    <a:moveTo>
                      <a:pt x="0" y="52047"/>
                    </a:moveTo>
                    <a:lnTo>
                      <a:pt x="0" y="14815"/>
                    </a:lnTo>
                    <a:cubicBezTo>
                      <a:pt x="0" y="6671"/>
                      <a:pt x="6672" y="0"/>
                      <a:pt x="14815" y="0"/>
                    </a:cubicBezTo>
                    <a:lnTo>
                      <a:pt x="60975" y="0"/>
                    </a:lnTo>
                    <a:cubicBezTo>
                      <a:pt x="69118" y="0"/>
                      <a:pt x="75790" y="6671"/>
                      <a:pt x="75790" y="14815"/>
                    </a:cubicBezTo>
                    <a:lnTo>
                      <a:pt x="75790" y="52047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397" name="Forma livre: Forma 1396">
              <a:extLst>
                <a:ext uri="{FF2B5EF4-FFF2-40B4-BE49-F238E27FC236}">
                  <a16:creationId xmlns:a16="http://schemas.microsoft.com/office/drawing/2014/main" id="{38A36857-24E1-D719-2078-1628467B7F35}"/>
                </a:ext>
              </a:extLst>
            </p:cNvPr>
            <p:cNvSpPr/>
            <p:nvPr/>
          </p:nvSpPr>
          <p:spPr>
            <a:xfrm>
              <a:off x="9440929" y="4966038"/>
              <a:ext cx="313312" cy="4905"/>
            </a:xfrm>
            <a:custGeom>
              <a:avLst/>
              <a:gdLst>
                <a:gd name="connsiteX0" fmla="*/ 0 w 313312"/>
                <a:gd name="connsiteY0" fmla="*/ 0 h 4905"/>
                <a:gd name="connsiteX1" fmla="*/ 313313 w 313312"/>
                <a:gd name="connsiteY1" fmla="*/ 0 h 49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13312" h="4905">
                  <a:moveTo>
                    <a:pt x="0" y="0"/>
                  </a:moveTo>
                  <a:lnTo>
                    <a:pt x="313313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sp>
        <p:nvSpPr>
          <p:cNvPr id="1398" name="Forma livre: Forma 1397">
            <a:extLst>
              <a:ext uri="{FF2B5EF4-FFF2-40B4-BE49-F238E27FC236}">
                <a16:creationId xmlns:a16="http://schemas.microsoft.com/office/drawing/2014/main" id="{BEE6309E-4768-8189-799E-D023F535DB53}"/>
              </a:ext>
            </a:extLst>
          </p:cNvPr>
          <p:cNvSpPr/>
          <p:nvPr/>
        </p:nvSpPr>
        <p:spPr>
          <a:xfrm>
            <a:off x="9427782" y="5308882"/>
            <a:ext cx="339564" cy="272253"/>
          </a:xfrm>
          <a:custGeom>
            <a:avLst/>
            <a:gdLst>
              <a:gd name="connsiteX0" fmla="*/ 0 w 339564"/>
              <a:gd name="connsiteY0" fmla="*/ 162518 h 272253"/>
              <a:gd name="connsiteX1" fmla="*/ 43070 w 339564"/>
              <a:gd name="connsiteY1" fmla="*/ 162518 h 272253"/>
              <a:gd name="connsiteX2" fmla="*/ 64752 w 339564"/>
              <a:gd name="connsiteY2" fmla="*/ 84865 h 272253"/>
              <a:gd name="connsiteX3" fmla="*/ 101985 w 339564"/>
              <a:gd name="connsiteY3" fmla="*/ 272254 h 272253"/>
              <a:gd name="connsiteX4" fmla="*/ 138089 w 339564"/>
              <a:gd name="connsiteY4" fmla="*/ 0 h 272253"/>
              <a:gd name="connsiteX5" fmla="*/ 167816 w 339564"/>
              <a:gd name="connsiteY5" fmla="*/ 163205 h 272253"/>
              <a:gd name="connsiteX6" fmla="*/ 269703 w 339564"/>
              <a:gd name="connsiteY6" fmla="*/ 163205 h 272253"/>
              <a:gd name="connsiteX7" fmla="*/ 210592 w 339564"/>
              <a:gd name="connsiteY7" fmla="*/ 103996 h 272253"/>
              <a:gd name="connsiteX8" fmla="*/ 210101 w 339564"/>
              <a:gd name="connsiteY8" fmla="*/ 53077 h 272253"/>
              <a:gd name="connsiteX9" fmla="*/ 260971 w 339564"/>
              <a:gd name="connsiteY9" fmla="*/ 53568 h 272253"/>
              <a:gd name="connsiteX10" fmla="*/ 269703 w 339564"/>
              <a:gd name="connsiteY10" fmla="*/ 62300 h 272253"/>
              <a:gd name="connsiteX11" fmla="*/ 278435 w 339564"/>
              <a:gd name="connsiteY11" fmla="*/ 53568 h 272253"/>
              <a:gd name="connsiteX12" fmla="*/ 329304 w 339564"/>
              <a:gd name="connsiteY12" fmla="*/ 53077 h 272253"/>
              <a:gd name="connsiteX13" fmla="*/ 328814 w 339564"/>
              <a:gd name="connsiteY13" fmla="*/ 103996 h 272253"/>
              <a:gd name="connsiteX14" fmla="*/ 315029 w 339564"/>
              <a:gd name="connsiteY14" fmla="*/ 117780 h 2722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339564" h="272253">
                <a:moveTo>
                  <a:pt x="0" y="162518"/>
                </a:moveTo>
                <a:lnTo>
                  <a:pt x="43070" y="162518"/>
                </a:lnTo>
                <a:lnTo>
                  <a:pt x="64752" y="84865"/>
                </a:lnTo>
                <a:lnTo>
                  <a:pt x="101985" y="272254"/>
                </a:lnTo>
                <a:lnTo>
                  <a:pt x="138089" y="0"/>
                </a:lnTo>
                <a:lnTo>
                  <a:pt x="167816" y="163205"/>
                </a:lnTo>
                <a:lnTo>
                  <a:pt x="269703" y="163205"/>
                </a:lnTo>
                <a:lnTo>
                  <a:pt x="210592" y="103996"/>
                </a:lnTo>
                <a:cubicBezTo>
                  <a:pt x="196464" y="89868"/>
                  <a:pt x="196219" y="66960"/>
                  <a:pt x="210101" y="53077"/>
                </a:cubicBezTo>
                <a:cubicBezTo>
                  <a:pt x="223984" y="39244"/>
                  <a:pt x="246843" y="39440"/>
                  <a:pt x="260971" y="53568"/>
                </a:cubicBezTo>
                <a:lnTo>
                  <a:pt x="269703" y="62300"/>
                </a:lnTo>
                <a:lnTo>
                  <a:pt x="278435" y="53568"/>
                </a:lnTo>
                <a:cubicBezTo>
                  <a:pt x="292562" y="39440"/>
                  <a:pt x="315471" y="39195"/>
                  <a:pt x="329304" y="53077"/>
                </a:cubicBezTo>
                <a:cubicBezTo>
                  <a:pt x="343187" y="66960"/>
                  <a:pt x="342942" y="89819"/>
                  <a:pt x="328814" y="103996"/>
                </a:cubicBezTo>
                <a:lnTo>
                  <a:pt x="315029" y="117780"/>
                </a:lnTo>
              </a:path>
            </a:pathLst>
          </a:custGeom>
          <a:noFill/>
          <a:ln w="6350" cap="rnd">
            <a:solidFill>
              <a:schemeClr val="accent2"/>
            </a:solidFill>
            <a:prstDash val="solid"/>
            <a:round/>
          </a:ln>
        </p:spPr>
        <p:txBody>
          <a:bodyPr rtlCol="0" anchor="ctr"/>
          <a:lstStyle/>
          <a:p>
            <a:endParaRPr lang="pt-PT"/>
          </a:p>
        </p:txBody>
      </p:sp>
      <p:grpSp>
        <p:nvGrpSpPr>
          <p:cNvPr id="1399" name="Gráfico 14">
            <a:extLst>
              <a:ext uri="{FF2B5EF4-FFF2-40B4-BE49-F238E27FC236}">
                <a16:creationId xmlns:a16="http://schemas.microsoft.com/office/drawing/2014/main" id="{EA116FEC-A92B-B4B2-EAA6-64D24A42ADF0}"/>
              </a:ext>
            </a:extLst>
          </p:cNvPr>
          <p:cNvGrpSpPr/>
          <p:nvPr/>
        </p:nvGrpSpPr>
        <p:grpSpPr>
          <a:xfrm>
            <a:off x="9424839" y="5882037"/>
            <a:ext cx="345492" cy="239276"/>
            <a:chOff x="9424839" y="5882037"/>
            <a:chExt cx="345492" cy="239276"/>
          </a:xfrm>
          <a:noFill/>
        </p:grpSpPr>
        <p:sp>
          <p:nvSpPr>
            <p:cNvPr id="1400" name="Forma livre: Forma 1399">
              <a:extLst>
                <a:ext uri="{FF2B5EF4-FFF2-40B4-BE49-F238E27FC236}">
                  <a16:creationId xmlns:a16="http://schemas.microsoft.com/office/drawing/2014/main" id="{9E599E30-41B2-8541-4142-D01116FD4FDF}"/>
                </a:ext>
              </a:extLst>
            </p:cNvPr>
            <p:cNvSpPr/>
            <p:nvPr/>
          </p:nvSpPr>
          <p:spPr>
            <a:xfrm>
              <a:off x="9548457" y="5953117"/>
              <a:ext cx="168895" cy="168196"/>
            </a:xfrm>
            <a:custGeom>
              <a:avLst/>
              <a:gdLst>
                <a:gd name="connsiteX0" fmla="*/ 121067 w 168895"/>
                <a:gd name="connsiteY0" fmla="*/ 7554 h 168196"/>
                <a:gd name="connsiteX1" fmla="*/ 144172 w 168895"/>
                <a:gd name="connsiteY1" fmla="*/ 23988 h 168196"/>
                <a:gd name="connsiteX2" fmla="*/ 144172 w 168895"/>
                <a:gd name="connsiteY2" fmla="*/ 143436 h 168196"/>
                <a:gd name="connsiteX3" fmla="*/ 24724 w 168895"/>
                <a:gd name="connsiteY3" fmla="*/ 143436 h 168196"/>
                <a:gd name="connsiteX4" fmla="*/ 24724 w 168895"/>
                <a:gd name="connsiteY4" fmla="*/ 23988 h 168196"/>
                <a:gd name="connsiteX5" fmla="*/ 73337 w 168895"/>
                <a:gd name="connsiteY5" fmla="*/ 0 h 1681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68895" h="168196">
                  <a:moveTo>
                    <a:pt x="121067" y="7554"/>
                  </a:moveTo>
                  <a:cubicBezTo>
                    <a:pt x="129406" y="11577"/>
                    <a:pt x="137255" y="17071"/>
                    <a:pt x="144172" y="23988"/>
                  </a:cubicBezTo>
                  <a:cubicBezTo>
                    <a:pt x="177137" y="56953"/>
                    <a:pt x="177137" y="110471"/>
                    <a:pt x="144172" y="143436"/>
                  </a:cubicBezTo>
                  <a:cubicBezTo>
                    <a:pt x="111158" y="176450"/>
                    <a:pt x="57688" y="176450"/>
                    <a:pt x="24724" y="143436"/>
                  </a:cubicBezTo>
                  <a:cubicBezTo>
                    <a:pt x="-8241" y="110422"/>
                    <a:pt x="-8241" y="56953"/>
                    <a:pt x="24724" y="23988"/>
                  </a:cubicBezTo>
                  <a:cubicBezTo>
                    <a:pt x="38410" y="10351"/>
                    <a:pt x="55579" y="2306"/>
                    <a:pt x="73337" y="0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01" name="Forma livre: Forma 1400">
              <a:extLst>
                <a:ext uri="{FF2B5EF4-FFF2-40B4-BE49-F238E27FC236}">
                  <a16:creationId xmlns:a16="http://schemas.microsoft.com/office/drawing/2014/main" id="{E95C6112-CE9F-89F1-3695-DE6B5C11AAE4}"/>
                </a:ext>
              </a:extLst>
            </p:cNvPr>
            <p:cNvSpPr/>
            <p:nvPr/>
          </p:nvSpPr>
          <p:spPr>
            <a:xfrm>
              <a:off x="9426752" y="6031065"/>
              <a:ext cx="70736" cy="70736"/>
            </a:xfrm>
            <a:custGeom>
              <a:avLst/>
              <a:gdLst>
                <a:gd name="connsiteX0" fmla="*/ 70737 w 70736"/>
                <a:gd name="connsiteY0" fmla="*/ 70737 h 70736"/>
                <a:gd name="connsiteX1" fmla="*/ 0 w 70736"/>
                <a:gd name="connsiteY1" fmla="*/ 0 h 707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0736" h="70736">
                  <a:moveTo>
                    <a:pt x="70737" y="70737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02" name="Forma livre: Forma 1401">
              <a:extLst>
                <a:ext uri="{FF2B5EF4-FFF2-40B4-BE49-F238E27FC236}">
                  <a16:creationId xmlns:a16="http://schemas.microsoft.com/office/drawing/2014/main" id="{854487C4-FFC7-1DA3-9353-40390B1F4F88}"/>
                </a:ext>
              </a:extLst>
            </p:cNvPr>
            <p:cNvSpPr/>
            <p:nvPr/>
          </p:nvSpPr>
          <p:spPr>
            <a:xfrm>
              <a:off x="9424839" y="6026159"/>
              <a:ext cx="77555" cy="77555"/>
            </a:xfrm>
            <a:custGeom>
              <a:avLst/>
              <a:gdLst>
                <a:gd name="connsiteX0" fmla="*/ 77556 w 77555"/>
                <a:gd name="connsiteY0" fmla="*/ 0 h 77555"/>
                <a:gd name="connsiteX1" fmla="*/ 0 w 77555"/>
                <a:gd name="connsiteY1" fmla="*/ 77555 h 775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7555" h="77555">
                  <a:moveTo>
                    <a:pt x="77556" y="0"/>
                  </a:moveTo>
                  <a:lnTo>
                    <a:pt x="0" y="77555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03" name="Forma livre: Forma 1402">
              <a:extLst>
                <a:ext uri="{FF2B5EF4-FFF2-40B4-BE49-F238E27FC236}">
                  <a16:creationId xmlns:a16="http://schemas.microsoft.com/office/drawing/2014/main" id="{673268F8-483A-D42F-9296-772A0CDD01F3}"/>
                </a:ext>
              </a:extLst>
            </p:cNvPr>
            <p:cNvSpPr/>
            <p:nvPr/>
          </p:nvSpPr>
          <p:spPr>
            <a:xfrm>
              <a:off x="9697681" y="5901462"/>
              <a:ext cx="70736" cy="70736"/>
            </a:xfrm>
            <a:custGeom>
              <a:avLst/>
              <a:gdLst>
                <a:gd name="connsiteX0" fmla="*/ 0 w 70736"/>
                <a:gd name="connsiteY0" fmla="*/ 0 h 70736"/>
                <a:gd name="connsiteX1" fmla="*/ 70737 w 70736"/>
                <a:gd name="connsiteY1" fmla="*/ 70737 h 707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0736" h="70736">
                  <a:moveTo>
                    <a:pt x="0" y="0"/>
                  </a:moveTo>
                  <a:lnTo>
                    <a:pt x="70737" y="70737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04" name="Forma livre: Forma 1403">
              <a:extLst>
                <a:ext uri="{FF2B5EF4-FFF2-40B4-BE49-F238E27FC236}">
                  <a16:creationId xmlns:a16="http://schemas.microsoft.com/office/drawing/2014/main" id="{842468B5-1576-CB38-F984-DCF16D6791A7}"/>
                </a:ext>
              </a:extLst>
            </p:cNvPr>
            <p:cNvSpPr/>
            <p:nvPr/>
          </p:nvSpPr>
          <p:spPr>
            <a:xfrm>
              <a:off x="9477603" y="5882037"/>
              <a:ext cx="168932" cy="168159"/>
            </a:xfrm>
            <a:custGeom>
              <a:avLst/>
              <a:gdLst>
                <a:gd name="connsiteX0" fmla="*/ 47651 w 168932"/>
                <a:gd name="connsiteY0" fmla="*/ 160507 h 168159"/>
                <a:gd name="connsiteX1" fmla="*/ 24742 w 168932"/>
                <a:gd name="connsiteY1" fmla="*/ 144172 h 168159"/>
                <a:gd name="connsiteX2" fmla="*/ 24742 w 168932"/>
                <a:gd name="connsiteY2" fmla="*/ 24724 h 168159"/>
                <a:gd name="connsiteX3" fmla="*/ 144190 w 168932"/>
                <a:gd name="connsiteY3" fmla="*/ 24724 h 168159"/>
                <a:gd name="connsiteX4" fmla="*/ 144190 w 168932"/>
                <a:gd name="connsiteY4" fmla="*/ 144172 h 168159"/>
                <a:gd name="connsiteX5" fmla="*/ 95626 w 168932"/>
                <a:gd name="connsiteY5" fmla="*/ 168159 h 1681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68932" h="168159">
                  <a:moveTo>
                    <a:pt x="47651" y="160507"/>
                  </a:moveTo>
                  <a:cubicBezTo>
                    <a:pt x="39360" y="156484"/>
                    <a:pt x="31610" y="151039"/>
                    <a:pt x="24742" y="144172"/>
                  </a:cubicBezTo>
                  <a:cubicBezTo>
                    <a:pt x="-8272" y="111158"/>
                    <a:pt x="-8223" y="57688"/>
                    <a:pt x="24742" y="24724"/>
                  </a:cubicBezTo>
                  <a:cubicBezTo>
                    <a:pt x="57707" y="-8241"/>
                    <a:pt x="111176" y="-8241"/>
                    <a:pt x="144190" y="24724"/>
                  </a:cubicBezTo>
                  <a:cubicBezTo>
                    <a:pt x="177155" y="57688"/>
                    <a:pt x="177204" y="111158"/>
                    <a:pt x="144190" y="144172"/>
                  </a:cubicBezTo>
                  <a:cubicBezTo>
                    <a:pt x="130553" y="157809"/>
                    <a:pt x="113384" y="165805"/>
                    <a:pt x="95626" y="168159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05" name="Forma livre: Forma 1404">
              <a:extLst>
                <a:ext uri="{FF2B5EF4-FFF2-40B4-BE49-F238E27FC236}">
                  <a16:creationId xmlns:a16="http://schemas.microsoft.com/office/drawing/2014/main" id="{B633AFD0-E100-B749-8086-A5B67DDB64C7}"/>
                </a:ext>
              </a:extLst>
            </p:cNvPr>
            <p:cNvSpPr/>
            <p:nvPr/>
          </p:nvSpPr>
          <p:spPr>
            <a:xfrm>
              <a:off x="9692776" y="5899549"/>
              <a:ext cx="77555" cy="77555"/>
            </a:xfrm>
            <a:custGeom>
              <a:avLst/>
              <a:gdLst>
                <a:gd name="connsiteX0" fmla="*/ 0 w 77555"/>
                <a:gd name="connsiteY0" fmla="*/ 77555 h 77555"/>
                <a:gd name="connsiteX1" fmla="*/ 77556 w 77555"/>
                <a:gd name="connsiteY1" fmla="*/ 0 h 775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7555" h="77555">
                  <a:moveTo>
                    <a:pt x="0" y="77555"/>
                  </a:moveTo>
                  <a:lnTo>
                    <a:pt x="77556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427" name="Gráfico 15">
            <a:extLst>
              <a:ext uri="{FF2B5EF4-FFF2-40B4-BE49-F238E27FC236}">
                <a16:creationId xmlns:a16="http://schemas.microsoft.com/office/drawing/2014/main" id="{F3D3851A-7D32-C549-FAD5-0869314D20EC}"/>
              </a:ext>
            </a:extLst>
          </p:cNvPr>
          <p:cNvGrpSpPr/>
          <p:nvPr/>
        </p:nvGrpSpPr>
        <p:grpSpPr>
          <a:xfrm>
            <a:off x="11241497" y="4218935"/>
            <a:ext cx="346816" cy="189694"/>
            <a:chOff x="11241497" y="4218935"/>
            <a:chExt cx="346816" cy="189694"/>
          </a:xfrm>
          <a:noFill/>
        </p:grpSpPr>
        <p:sp>
          <p:nvSpPr>
            <p:cNvPr id="1428" name="Forma livre: Forma 1427">
              <a:extLst>
                <a:ext uri="{FF2B5EF4-FFF2-40B4-BE49-F238E27FC236}">
                  <a16:creationId xmlns:a16="http://schemas.microsoft.com/office/drawing/2014/main" id="{AD757047-567C-2EBC-C11D-B4C2EB01AC2D}"/>
                </a:ext>
              </a:extLst>
            </p:cNvPr>
            <p:cNvSpPr/>
            <p:nvPr/>
          </p:nvSpPr>
          <p:spPr>
            <a:xfrm>
              <a:off x="11241497" y="4233063"/>
              <a:ext cx="128964" cy="143092"/>
            </a:xfrm>
            <a:custGeom>
              <a:avLst/>
              <a:gdLst>
                <a:gd name="connsiteX0" fmla="*/ 128965 w 128964"/>
                <a:gd name="connsiteY0" fmla="*/ 143093 h 143092"/>
                <a:gd name="connsiteX1" fmla="*/ 16679 w 128964"/>
                <a:gd name="connsiteY1" fmla="*/ 143093 h 143092"/>
                <a:gd name="connsiteX2" fmla="*/ 0 w 128964"/>
                <a:gd name="connsiteY2" fmla="*/ 126414 h 143092"/>
                <a:gd name="connsiteX3" fmla="*/ 0 w 128964"/>
                <a:gd name="connsiteY3" fmla="*/ 16679 h 143092"/>
                <a:gd name="connsiteX4" fmla="*/ 16679 w 128964"/>
                <a:gd name="connsiteY4" fmla="*/ 0 h 143092"/>
                <a:gd name="connsiteX5" fmla="*/ 128621 w 128964"/>
                <a:gd name="connsiteY5" fmla="*/ 0 h 1430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28964" h="143092">
                  <a:moveTo>
                    <a:pt x="128965" y="143093"/>
                  </a:moveTo>
                  <a:lnTo>
                    <a:pt x="16679" y="143093"/>
                  </a:lnTo>
                  <a:cubicBezTo>
                    <a:pt x="7505" y="143093"/>
                    <a:pt x="0" y="135587"/>
                    <a:pt x="0" y="126414"/>
                  </a:cubicBezTo>
                  <a:lnTo>
                    <a:pt x="0" y="16679"/>
                  </a:lnTo>
                  <a:cubicBezTo>
                    <a:pt x="0" y="7505"/>
                    <a:pt x="7505" y="0"/>
                    <a:pt x="16679" y="0"/>
                  </a:cubicBezTo>
                  <a:lnTo>
                    <a:pt x="128621" y="0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29" name="Forma livre: Forma 1428">
              <a:extLst>
                <a:ext uri="{FF2B5EF4-FFF2-40B4-BE49-F238E27FC236}">
                  <a16:creationId xmlns:a16="http://schemas.microsoft.com/office/drawing/2014/main" id="{CD2CFCEB-1E0B-85F3-650E-9E1D563504BF}"/>
                </a:ext>
              </a:extLst>
            </p:cNvPr>
            <p:cNvSpPr/>
            <p:nvPr/>
          </p:nvSpPr>
          <p:spPr>
            <a:xfrm>
              <a:off x="11544557" y="4233063"/>
              <a:ext cx="43756" cy="143092"/>
            </a:xfrm>
            <a:custGeom>
              <a:avLst/>
              <a:gdLst>
                <a:gd name="connsiteX0" fmla="*/ 589 w 43756"/>
                <a:gd name="connsiteY0" fmla="*/ 0 h 143092"/>
                <a:gd name="connsiteX1" fmla="*/ 27078 w 43756"/>
                <a:gd name="connsiteY1" fmla="*/ 0 h 143092"/>
                <a:gd name="connsiteX2" fmla="*/ 43757 w 43756"/>
                <a:gd name="connsiteY2" fmla="*/ 16679 h 143092"/>
                <a:gd name="connsiteX3" fmla="*/ 43757 w 43756"/>
                <a:gd name="connsiteY3" fmla="*/ 126414 h 143092"/>
                <a:gd name="connsiteX4" fmla="*/ 27078 w 43756"/>
                <a:gd name="connsiteY4" fmla="*/ 143093 h 143092"/>
                <a:gd name="connsiteX5" fmla="*/ 0 w 43756"/>
                <a:gd name="connsiteY5" fmla="*/ 143093 h 1430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3756" h="143092">
                  <a:moveTo>
                    <a:pt x="589" y="0"/>
                  </a:moveTo>
                  <a:lnTo>
                    <a:pt x="27078" y="0"/>
                  </a:lnTo>
                  <a:cubicBezTo>
                    <a:pt x="36251" y="0"/>
                    <a:pt x="43757" y="7505"/>
                    <a:pt x="43757" y="16679"/>
                  </a:cubicBezTo>
                  <a:lnTo>
                    <a:pt x="43757" y="126414"/>
                  </a:lnTo>
                  <a:cubicBezTo>
                    <a:pt x="43757" y="135587"/>
                    <a:pt x="36251" y="143093"/>
                    <a:pt x="27078" y="143093"/>
                  </a:cubicBezTo>
                  <a:lnTo>
                    <a:pt x="0" y="143093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30" name="Forma livre: Forma 1429">
              <a:extLst>
                <a:ext uri="{FF2B5EF4-FFF2-40B4-BE49-F238E27FC236}">
                  <a16:creationId xmlns:a16="http://schemas.microsoft.com/office/drawing/2014/main" id="{3C755465-E92D-3C9E-8652-F2A3E4179363}"/>
                </a:ext>
              </a:extLst>
            </p:cNvPr>
            <p:cNvSpPr/>
            <p:nvPr/>
          </p:nvSpPr>
          <p:spPr>
            <a:xfrm>
              <a:off x="11264160" y="4408629"/>
              <a:ext cx="21584" cy="4905"/>
            </a:xfrm>
            <a:custGeom>
              <a:avLst/>
              <a:gdLst>
                <a:gd name="connsiteX0" fmla="*/ 0 w 21584"/>
                <a:gd name="connsiteY0" fmla="*/ 0 h 4905"/>
                <a:gd name="connsiteX1" fmla="*/ 21584 w 21584"/>
                <a:gd name="connsiteY1" fmla="*/ 0 h 49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1584" h="4905">
                  <a:moveTo>
                    <a:pt x="0" y="0"/>
                  </a:moveTo>
                  <a:lnTo>
                    <a:pt x="21584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31" name="Forma livre: Forma 1430">
              <a:extLst>
                <a:ext uri="{FF2B5EF4-FFF2-40B4-BE49-F238E27FC236}">
                  <a16:creationId xmlns:a16="http://schemas.microsoft.com/office/drawing/2014/main" id="{08A88E63-B325-9D81-8252-D5B93D3D00FA}"/>
                </a:ext>
              </a:extLst>
            </p:cNvPr>
            <p:cNvSpPr/>
            <p:nvPr/>
          </p:nvSpPr>
          <p:spPr>
            <a:xfrm>
              <a:off x="11531460" y="4408629"/>
              <a:ext cx="21584" cy="4905"/>
            </a:xfrm>
            <a:custGeom>
              <a:avLst/>
              <a:gdLst>
                <a:gd name="connsiteX0" fmla="*/ 0 w 21584"/>
                <a:gd name="connsiteY0" fmla="*/ 0 h 4905"/>
                <a:gd name="connsiteX1" fmla="*/ 21584 w 21584"/>
                <a:gd name="connsiteY1" fmla="*/ 0 h 49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1584" h="4905">
                  <a:moveTo>
                    <a:pt x="0" y="0"/>
                  </a:moveTo>
                  <a:lnTo>
                    <a:pt x="21584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32" name="Forma livre: Forma 1431">
              <a:extLst>
                <a:ext uri="{FF2B5EF4-FFF2-40B4-BE49-F238E27FC236}">
                  <a16:creationId xmlns:a16="http://schemas.microsoft.com/office/drawing/2014/main" id="{9F7E4D32-2C5A-0231-BFDC-FCCDF52E85C1}"/>
                </a:ext>
              </a:extLst>
            </p:cNvPr>
            <p:cNvSpPr/>
            <p:nvPr/>
          </p:nvSpPr>
          <p:spPr>
            <a:xfrm>
              <a:off x="11371835" y="4218935"/>
              <a:ext cx="171004" cy="171004"/>
            </a:xfrm>
            <a:custGeom>
              <a:avLst/>
              <a:gdLst>
                <a:gd name="connsiteX0" fmla="*/ 171005 w 171004"/>
                <a:gd name="connsiteY0" fmla="*/ 85502 h 171004"/>
                <a:gd name="connsiteX1" fmla="*/ 85502 w 171004"/>
                <a:gd name="connsiteY1" fmla="*/ 171005 h 171004"/>
                <a:gd name="connsiteX2" fmla="*/ 0 w 171004"/>
                <a:gd name="connsiteY2" fmla="*/ 85502 h 171004"/>
                <a:gd name="connsiteX3" fmla="*/ 85502 w 171004"/>
                <a:gd name="connsiteY3" fmla="*/ 0 h 171004"/>
                <a:gd name="connsiteX4" fmla="*/ 171005 w 171004"/>
                <a:gd name="connsiteY4" fmla="*/ 85502 h 1710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1004" h="171004">
                  <a:moveTo>
                    <a:pt x="171005" y="85502"/>
                  </a:moveTo>
                  <a:cubicBezTo>
                    <a:pt x="171005" y="132693"/>
                    <a:pt x="132742" y="171005"/>
                    <a:pt x="85502" y="171005"/>
                  </a:cubicBezTo>
                  <a:cubicBezTo>
                    <a:pt x="38263" y="171005"/>
                    <a:pt x="0" y="132742"/>
                    <a:pt x="0" y="85502"/>
                  </a:cubicBezTo>
                  <a:cubicBezTo>
                    <a:pt x="0" y="38263"/>
                    <a:pt x="38263" y="0"/>
                    <a:pt x="85502" y="0"/>
                  </a:cubicBezTo>
                  <a:cubicBezTo>
                    <a:pt x="132742" y="0"/>
                    <a:pt x="171005" y="38263"/>
                    <a:pt x="171005" y="85502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33" name="Forma livre: Forma 1432">
              <a:extLst>
                <a:ext uri="{FF2B5EF4-FFF2-40B4-BE49-F238E27FC236}">
                  <a16:creationId xmlns:a16="http://schemas.microsoft.com/office/drawing/2014/main" id="{1AD1651C-AF61-383D-2FA3-7C6023F3C153}"/>
                </a:ext>
              </a:extLst>
            </p:cNvPr>
            <p:cNvSpPr/>
            <p:nvPr/>
          </p:nvSpPr>
          <p:spPr>
            <a:xfrm>
              <a:off x="11409510" y="4256560"/>
              <a:ext cx="95656" cy="95705"/>
            </a:xfrm>
            <a:custGeom>
              <a:avLst/>
              <a:gdLst>
                <a:gd name="connsiteX0" fmla="*/ 95657 w 95656"/>
                <a:gd name="connsiteY0" fmla="*/ 47877 h 95705"/>
                <a:gd name="connsiteX1" fmla="*/ 47828 w 95656"/>
                <a:gd name="connsiteY1" fmla="*/ 95706 h 95705"/>
                <a:gd name="connsiteX2" fmla="*/ 0 w 95656"/>
                <a:gd name="connsiteY2" fmla="*/ 47877 h 95705"/>
                <a:gd name="connsiteX3" fmla="*/ 47828 w 95656"/>
                <a:gd name="connsiteY3" fmla="*/ 0 h 95705"/>
                <a:gd name="connsiteX4" fmla="*/ 95657 w 95656"/>
                <a:gd name="connsiteY4" fmla="*/ 47877 h 957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5656" h="95705">
                  <a:moveTo>
                    <a:pt x="95657" y="47877"/>
                  </a:moveTo>
                  <a:cubicBezTo>
                    <a:pt x="95657" y="74318"/>
                    <a:pt x="74220" y="95706"/>
                    <a:pt x="47828" y="95706"/>
                  </a:cubicBezTo>
                  <a:cubicBezTo>
                    <a:pt x="21437" y="95706"/>
                    <a:pt x="0" y="74269"/>
                    <a:pt x="0" y="47877"/>
                  </a:cubicBezTo>
                  <a:cubicBezTo>
                    <a:pt x="0" y="21486"/>
                    <a:pt x="21437" y="0"/>
                    <a:pt x="47828" y="0"/>
                  </a:cubicBezTo>
                  <a:cubicBezTo>
                    <a:pt x="74220" y="0"/>
                    <a:pt x="95657" y="21437"/>
                    <a:pt x="95657" y="47877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34" name="Forma livre: Forma 1433">
              <a:extLst>
                <a:ext uri="{FF2B5EF4-FFF2-40B4-BE49-F238E27FC236}">
                  <a16:creationId xmlns:a16="http://schemas.microsoft.com/office/drawing/2014/main" id="{6BBAD70E-20A3-0FAB-E072-B2CF4B06EBA5}"/>
                </a:ext>
              </a:extLst>
            </p:cNvPr>
            <p:cNvSpPr/>
            <p:nvPr/>
          </p:nvSpPr>
          <p:spPr>
            <a:xfrm>
              <a:off x="11284714" y="4274269"/>
              <a:ext cx="4905" cy="60337"/>
            </a:xfrm>
            <a:custGeom>
              <a:avLst/>
              <a:gdLst>
                <a:gd name="connsiteX0" fmla="*/ 0 w 4905"/>
                <a:gd name="connsiteY0" fmla="*/ 0 h 60337"/>
                <a:gd name="connsiteX1" fmla="*/ 0 w 4905"/>
                <a:gd name="connsiteY1" fmla="*/ 60337 h 603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905" h="60337">
                  <a:moveTo>
                    <a:pt x="0" y="0"/>
                  </a:moveTo>
                  <a:lnTo>
                    <a:pt x="0" y="60337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35" name="Forma livre: Forma 1434">
              <a:extLst>
                <a:ext uri="{FF2B5EF4-FFF2-40B4-BE49-F238E27FC236}">
                  <a16:creationId xmlns:a16="http://schemas.microsoft.com/office/drawing/2014/main" id="{A53345E2-8C6C-42C0-5366-855E4C0888E1}"/>
                </a:ext>
              </a:extLst>
            </p:cNvPr>
            <p:cNvSpPr/>
            <p:nvPr/>
          </p:nvSpPr>
          <p:spPr>
            <a:xfrm>
              <a:off x="11324988" y="4274269"/>
              <a:ext cx="4905" cy="60337"/>
            </a:xfrm>
            <a:custGeom>
              <a:avLst/>
              <a:gdLst>
                <a:gd name="connsiteX0" fmla="*/ 0 w 4905"/>
                <a:gd name="connsiteY0" fmla="*/ 0 h 60337"/>
                <a:gd name="connsiteX1" fmla="*/ 0 w 4905"/>
                <a:gd name="connsiteY1" fmla="*/ 60337 h 603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905" h="60337">
                  <a:moveTo>
                    <a:pt x="0" y="0"/>
                  </a:moveTo>
                  <a:lnTo>
                    <a:pt x="0" y="60337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448" name="Gráfico 15">
            <a:extLst>
              <a:ext uri="{FF2B5EF4-FFF2-40B4-BE49-F238E27FC236}">
                <a16:creationId xmlns:a16="http://schemas.microsoft.com/office/drawing/2014/main" id="{9D98A9F7-003C-DBBD-A23D-B6E251EAF9D9}"/>
              </a:ext>
            </a:extLst>
          </p:cNvPr>
          <p:cNvGrpSpPr/>
          <p:nvPr/>
        </p:nvGrpSpPr>
        <p:grpSpPr>
          <a:xfrm>
            <a:off x="11285548" y="5795669"/>
            <a:ext cx="258567" cy="318690"/>
            <a:chOff x="11285548" y="5795669"/>
            <a:chExt cx="258567" cy="318690"/>
          </a:xfrm>
          <a:noFill/>
        </p:grpSpPr>
        <p:sp>
          <p:nvSpPr>
            <p:cNvPr id="1449" name="Forma livre: Forma 1448">
              <a:extLst>
                <a:ext uri="{FF2B5EF4-FFF2-40B4-BE49-F238E27FC236}">
                  <a16:creationId xmlns:a16="http://schemas.microsoft.com/office/drawing/2014/main" id="{C63BEFEE-D663-3E77-7C61-A38FA265E709}"/>
                </a:ext>
              </a:extLst>
            </p:cNvPr>
            <p:cNvSpPr/>
            <p:nvPr/>
          </p:nvSpPr>
          <p:spPr>
            <a:xfrm>
              <a:off x="11304582" y="5939234"/>
              <a:ext cx="239485" cy="40224"/>
            </a:xfrm>
            <a:custGeom>
              <a:avLst/>
              <a:gdLst>
                <a:gd name="connsiteX0" fmla="*/ 0 w 239485"/>
                <a:gd name="connsiteY0" fmla="*/ 0 h 40224"/>
                <a:gd name="connsiteX1" fmla="*/ 239485 w 239485"/>
                <a:gd name="connsiteY1" fmla="*/ 0 h 40224"/>
                <a:gd name="connsiteX2" fmla="*/ 239485 w 239485"/>
                <a:gd name="connsiteY2" fmla="*/ 40225 h 40224"/>
                <a:gd name="connsiteX3" fmla="*/ 0 w 239485"/>
                <a:gd name="connsiteY3" fmla="*/ 40225 h 402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9485" h="40224">
                  <a:moveTo>
                    <a:pt x="0" y="0"/>
                  </a:moveTo>
                  <a:lnTo>
                    <a:pt x="239485" y="0"/>
                  </a:lnTo>
                  <a:lnTo>
                    <a:pt x="239485" y="40225"/>
                  </a:lnTo>
                  <a:lnTo>
                    <a:pt x="0" y="40225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50" name="Forma livre: Forma 1449">
              <a:extLst>
                <a:ext uri="{FF2B5EF4-FFF2-40B4-BE49-F238E27FC236}">
                  <a16:creationId xmlns:a16="http://schemas.microsoft.com/office/drawing/2014/main" id="{8C0DE30B-46ED-D82B-74CF-7620C0B46B51}"/>
                </a:ext>
              </a:extLst>
            </p:cNvPr>
            <p:cNvSpPr/>
            <p:nvPr/>
          </p:nvSpPr>
          <p:spPr>
            <a:xfrm>
              <a:off x="11304631" y="6002466"/>
              <a:ext cx="239485" cy="111893"/>
            </a:xfrm>
            <a:custGeom>
              <a:avLst/>
              <a:gdLst>
                <a:gd name="connsiteX0" fmla="*/ 239485 w 239485"/>
                <a:gd name="connsiteY0" fmla="*/ 0 h 111893"/>
                <a:gd name="connsiteX1" fmla="*/ 239485 w 239485"/>
                <a:gd name="connsiteY1" fmla="*/ 97177 h 111893"/>
                <a:gd name="connsiteX2" fmla="*/ 224769 w 239485"/>
                <a:gd name="connsiteY2" fmla="*/ 111894 h 111893"/>
                <a:gd name="connsiteX3" fmla="*/ 14716 w 239485"/>
                <a:gd name="connsiteY3" fmla="*/ 111894 h 111893"/>
                <a:gd name="connsiteX4" fmla="*/ 0 w 239485"/>
                <a:gd name="connsiteY4" fmla="*/ 97177 h 111893"/>
                <a:gd name="connsiteX5" fmla="*/ 0 w 239485"/>
                <a:gd name="connsiteY5" fmla="*/ 0 h 1118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39485" h="111893">
                  <a:moveTo>
                    <a:pt x="239485" y="0"/>
                  </a:moveTo>
                  <a:lnTo>
                    <a:pt x="239485" y="97177"/>
                  </a:lnTo>
                  <a:cubicBezTo>
                    <a:pt x="239485" y="105271"/>
                    <a:pt x="232863" y="111894"/>
                    <a:pt x="224769" y="111894"/>
                  </a:cubicBezTo>
                  <a:lnTo>
                    <a:pt x="14716" y="111894"/>
                  </a:lnTo>
                  <a:cubicBezTo>
                    <a:pt x="6622" y="111894"/>
                    <a:pt x="0" y="105271"/>
                    <a:pt x="0" y="97177"/>
                  </a:cubicBezTo>
                  <a:lnTo>
                    <a:pt x="0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51" name="Forma livre: Forma 1450">
              <a:extLst>
                <a:ext uri="{FF2B5EF4-FFF2-40B4-BE49-F238E27FC236}">
                  <a16:creationId xmlns:a16="http://schemas.microsoft.com/office/drawing/2014/main" id="{8B2A69DD-FEE3-53D9-81A7-B4F24D48A6F6}"/>
                </a:ext>
              </a:extLst>
            </p:cNvPr>
            <p:cNvSpPr/>
            <p:nvPr/>
          </p:nvSpPr>
          <p:spPr>
            <a:xfrm rot="-1469398">
              <a:off x="11283743" y="5843360"/>
              <a:ext cx="239485" cy="43266"/>
            </a:xfrm>
            <a:custGeom>
              <a:avLst/>
              <a:gdLst>
                <a:gd name="connsiteX0" fmla="*/ 0 w 239485"/>
                <a:gd name="connsiteY0" fmla="*/ 0 h 43266"/>
                <a:gd name="connsiteX1" fmla="*/ 239485 w 239485"/>
                <a:gd name="connsiteY1" fmla="*/ 0 h 43266"/>
                <a:gd name="connsiteX2" fmla="*/ 239485 w 239485"/>
                <a:gd name="connsiteY2" fmla="*/ 43266 h 43266"/>
                <a:gd name="connsiteX3" fmla="*/ 0 w 239485"/>
                <a:gd name="connsiteY3" fmla="*/ 43266 h 432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9485" h="43266">
                  <a:moveTo>
                    <a:pt x="0" y="0"/>
                  </a:moveTo>
                  <a:lnTo>
                    <a:pt x="239485" y="0"/>
                  </a:lnTo>
                  <a:lnTo>
                    <a:pt x="239485" y="43266"/>
                  </a:lnTo>
                  <a:lnTo>
                    <a:pt x="0" y="43266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52" name="Forma livre: Forma 1451">
              <a:extLst>
                <a:ext uri="{FF2B5EF4-FFF2-40B4-BE49-F238E27FC236}">
                  <a16:creationId xmlns:a16="http://schemas.microsoft.com/office/drawing/2014/main" id="{24D9DFA2-F6E9-2025-6FA6-0DC42442907D}"/>
                </a:ext>
              </a:extLst>
            </p:cNvPr>
            <p:cNvSpPr/>
            <p:nvPr/>
          </p:nvSpPr>
          <p:spPr>
            <a:xfrm>
              <a:off x="11347701" y="6027925"/>
              <a:ext cx="153295" cy="4905"/>
            </a:xfrm>
            <a:custGeom>
              <a:avLst/>
              <a:gdLst>
                <a:gd name="connsiteX0" fmla="*/ 0 w 153295"/>
                <a:gd name="connsiteY0" fmla="*/ 0 h 4905"/>
                <a:gd name="connsiteX1" fmla="*/ 153296 w 153295"/>
                <a:gd name="connsiteY1" fmla="*/ 0 h 49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3295" h="4905">
                  <a:moveTo>
                    <a:pt x="0" y="0"/>
                  </a:moveTo>
                  <a:lnTo>
                    <a:pt x="153296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53" name="Forma livre: Forma 1452">
              <a:extLst>
                <a:ext uri="{FF2B5EF4-FFF2-40B4-BE49-F238E27FC236}">
                  <a16:creationId xmlns:a16="http://schemas.microsoft.com/office/drawing/2014/main" id="{4A28A8EE-7B47-852E-A846-00A2E53EBADC}"/>
                </a:ext>
              </a:extLst>
            </p:cNvPr>
            <p:cNvSpPr/>
            <p:nvPr/>
          </p:nvSpPr>
          <p:spPr>
            <a:xfrm>
              <a:off x="11347701" y="6066139"/>
              <a:ext cx="153295" cy="4905"/>
            </a:xfrm>
            <a:custGeom>
              <a:avLst/>
              <a:gdLst>
                <a:gd name="connsiteX0" fmla="*/ 0 w 153295"/>
                <a:gd name="connsiteY0" fmla="*/ 0 h 4905"/>
                <a:gd name="connsiteX1" fmla="*/ 153296 w 153295"/>
                <a:gd name="connsiteY1" fmla="*/ 0 h 49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3295" h="4905">
                  <a:moveTo>
                    <a:pt x="0" y="0"/>
                  </a:moveTo>
                  <a:lnTo>
                    <a:pt x="153296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54" name="Forma livre: Forma 1453">
              <a:extLst>
                <a:ext uri="{FF2B5EF4-FFF2-40B4-BE49-F238E27FC236}">
                  <a16:creationId xmlns:a16="http://schemas.microsoft.com/office/drawing/2014/main" id="{01BE909E-3D10-1F99-2270-58038D95AE0C}"/>
                </a:ext>
              </a:extLst>
            </p:cNvPr>
            <p:cNvSpPr/>
            <p:nvPr/>
          </p:nvSpPr>
          <p:spPr>
            <a:xfrm>
              <a:off x="11341520" y="5938596"/>
              <a:ext cx="30659" cy="41696"/>
            </a:xfrm>
            <a:custGeom>
              <a:avLst/>
              <a:gdLst>
                <a:gd name="connsiteX0" fmla="*/ 0 w 30659"/>
                <a:gd name="connsiteY0" fmla="*/ 0 h 41696"/>
                <a:gd name="connsiteX1" fmla="*/ 30659 w 30659"/>
                <a:gd name="connsiteY1" fmla="*/ 41696 h 416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0659" h="41696">
                  <a:moveTo>
                    <a:pt x="0" y="0"/>
                  </a:moveTo>
                  <a:lnTo>
                    <a:pt x="30659" y="41696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55" name="Forma livre: Forma 1454">
              <a:extLst>
                <a:ext uri="{FF2B5EF4-FFF2-40B4-BE49-F238E27FC236}">
                  <a16:creationId xmlns:a16="http://schemas.microsoft.com/office/drawing/2014/main" id="{997D35F8-5D96-C451-430C-B109404A8468}"/>
                </a:ext>
              </a:extLst>
            </p:cNvPr>
            <p:cNvSpPr/>
            <p:nvPr/>
          </p:nvSpPr>
          <p:spPr>
            <a:xfrm>
              <a:off x="11405929" y="5938596"/>
              <a:ext cx="30659" cy="41696"/>
            </a:xfrm>
            <a:custGeom>
              <a:avLst/>
              <a:gdLst>
                <a:gd name="connsiteX0" fmla="*/ 0 w 30659"/>
                <a:gd name="connsiteY0" fmla="*/ 0 h 41696"/>
                <a:gd name="connsiteX1" fmla="*/ 30659 w 30659"/>
                <a:gd name="connsiteY1" fmla="*/ 41696 h 416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0659" h="41696">
                  <a:moveTo>
                    <a:pt x="0" y="0"/>
                  </a:moveTo>
                  <a:lnTo>
                    <a:pt x="30659" y="41696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56" name="Forma livre: Forma 1455">
              <a:extLst>
                <a:ext uri="{FF2B5EF4-FFF2-40B4-BE49-F238E27FC236}">
                  <a16:creationId xmlns:a16="http://schemas.microsoft.com/office/drawing/2014/main" id="{66E3F7F4-0FC2-90C7-33A6-73A77E722B2D}"/>
                </a:ext>
              </a:extLst>
            </p:cNvPr>
            <p:cNvSpPr/>
            <p:nvPr/>
          </p:nvSpPr>
          <p:spPr>
            <a:xfrm>
              <a:off x="11470288" y="5938596"/>
              <a:ext cx="30659" cy="41696"/>
            </a:xfrm>
            <a:custGeom>
              <a:avLst/>
              <a:gdLst>
                <a:gd name="connsiteX0" fmla="*/ 0 w 30659"/>
                <a:gd name="connsiteY0" fmla="*/ 0 h 41696"/>
                <a:gd name="connsiteX1" fmla="*/ 30659 w 30659"/>
                <a:gd name="connsiteY1" fmla="*/ 41696 h 416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0659" h="41696">
                  <a:moveTo>
                    <a:pt x="0" y="0"/>
                  </a:moveTo>
                  <a:lnTo>
                    <a:pt x="30659" y="41696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57" name="Forma livre: Forma 1456">
              <a:extLst>
                <a:ext uri="{FF2B5EF4-FFF2-40B4-BE49-F238E27FC236}">
                  <a16:creationId xmlns:a16="http://schemas.microsoft.com/office/drawing/2014/main" id="{9AFD35A6-5685-09A0-EFAF-0B73E88C8200}"/>
                </a:ext>
              </a:extLst>
            </p:cNvPr>
            <p:cNvSpPr/>
            <p:nvPr/>
          </p:nvSpPr>
          <p:spPr>
            <a:xfrm>
              <a:off x="11458564" y="5811790"/>
              <a:ext cx="10007" cy="51654"/>
            </a:xfrm>
            <a:custGeom>
              <a:avLst/>
              <a:gdLst>
                <a:gd name="connsiteX0" fmla="*/ 10007 w 10007"/>
                <a:gd name="connsiteY0" fmla="*/ 0 h 51654"/>
                <a:gd name="connsiteX1" fmla="*/ 0 w 10007"/>
                <a:gd name="connsiteY1" fmla="*/ 51655 h 516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007" h="51654">
                  <a:moveTo>
                    <a:pt x="10007" y="0"/>
                  </a:moveTo>
                  <a:lnTo>
                    <a:pt x="0" y="51655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58" name="Forma livre: Forma 1457">
              <a:extLst>
                <a:ext uri="{FF2B5EF4-FFF2-40B4-BE49-F238E27FC236}">
                  <a16:creationId xmlns:a16="http://schemas.microsoft.com/office/drawing/2014/main" id="{00F0675C-43D8-D247-2AAC-362D21C2EC01}"/>
                </a:ext>
              </a:extLst>
            </p:cNvPr>
            <p:cNvSpPr/>
            <p:nvPr/>
          </p:nvSpPr>
          <p:spPr>
            <a:xfrm>
              <a:off x="11397540" y="5838721"/>
              <a:ext cx="9565" cy="49545"/>
            </a:xfrm>
            <a:custGeom>
              <a:avLst/>
              <a:gdLst>
                <a:gd name="connsiteX0" fmla="*/ 9566 w 9565"/>
                <a:gd name="connsiteY0" fmla="*/ 0 h 49545"/>
                <a:gd name="connsiteX1" fmla="*/ 0 w 9565"/>
                <a:gd name="connsiteY1" fmla="*/ 49545 h 495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65" h="49545">
                  <a:moveTo>
                    <a:pt x="9566" y="0"/>
                  </a:moveTo>
                  <a:lnTo>
                    <a:pt x="0" y="49545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59" name="Forma livre: Forma 1458">
              <a:extLst>
                <a:ext uri="{FF2B5EF4-FFF2-40B4-BE49-F238E27FC236}">
                  <a16:creationId xmlns:a16="http://schemas.microsoft.com/office/drawing/2014/main" id="{B0192183-1D7C-C484-6659-5134C39A9290}"/>
                </a:ext>
              </a:extLst>
            </p:cNvPr>
            <p:cNvSpPr/>
            <p:nvPr/>
          </p:nvSpPr>
          <p:spPr>
            <a:xfrm>
              <a:off x="11335437" y="5869576"/>
              <a:ext cx="9467" cy="48907"/>
            </a:xfrm>
            <a:custGeom>
              <a:avLst/>
              <a:gdLst>
                <a:gd name="connsiteX0" fmla="*/ 9468 w 9467"/>
                <a:gd name="connsiteY0" fmla="*/ 0 h 48907"/>
                <a:gd name="connsiteX1" fmla="*/ 0 w 9467"/>
                <a:gd name="connsiteY1" fmla="*/ 48907 h 489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467" h="48907">
                  <a:moveTo>
                    <a:pt x="9468" y="0"/>
                  </a:moveTo>
                  <a:lnTo>
                    <a:pt x="0" y="48907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460" name="Gráfico 15">
            <a:extLst>
              <a:ext uri="{FF2B5EF4-FFF2-40B4-BE49-F238E27FC236}">
                <a16:creationId xmlns:a16="http://schemas.microsoft.com/office/drawing/2014/main" id="{DC4DD3A2-1960-7675-22F2-ACDA0B7E467A}"/>
              </a:ext>
            </a:extLst>
          </p:cNvPr>
          <p:cNvGrpSpPr/>
          <p:nvPr/>
        </p:nvGrpSpPr>
        <p:grpSpPr>
          <a:xfrm>
            <a:off x="11268134" y="4721206"/>
            <a:ext cx="293543" cy="268182"/>
            <a:chOff x="11268134" y="4721206"/>
            <a:chExt cx="293543" cy="268182"/>
          </a:xfrm>
        </p:grpSpPr>
        <p:sp>
          <p:nvSpPr>
            <p:cNvPr id="1461" name="Forma livre: Forma 1460">
              <a:extLst>
                <a:ext uri="{FF2B5EF4-FFF2-40B4-BE49-F238E27FC236}">
                  <a16:creationId xmlns:a16="http://schemas.microsoft.com/office/drawing/2014/main" id="{B6E2AC89-A90B-4F2F-F74A-70188AFFEC85}"/>
                </a:ext>
              </a:extLst>
            </p:cNvPr>
            <p:cNvSpPr/>
            <p:nvPr/>
          </p:nvSpPr>
          <p:spPr>
            <a:xfrm>
              <a:off x="11347995" y="4721206"/>
              <a:ext cx="53960" cy="4905"/>
            </a:xfrm>
            <a:custGeom>
              <a:avLst/>
              <a:gdLst>
                <a:gd name="connsiteX0" fmla="*/ 0 w 53960"/>
                <a:gd name="connsiteY0" fmla="*/ 0 h 4905"/>
                <a:gd name="connsiteX1" fmla="*/ 53960 w 53960"/>
                <a:gd name="connsiteY1" fmla="*/ 0 h 49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3960" h="4905">
                  <a:moveTo>
                    <a:pt x="0" y="0"/>
                  </a:moveTo>
                  <a:lnTo>
                    <a:pt x="5396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62" name="Forma livre: Forma 1461">
              <a:extLst>
                <a:ext uri="{FF2B5EF4-FFF2-40B4-BE49-F238E27FC236}">
                  <a16:creationId xmlns:a16="http://schemas.microsoft.com/office/drawing/2014/main" id="{3656CDB8-FEBB-DF04-5769-4A13AF1CFB12}"/>
                </a:ext>
              </a:extLst>
            </p:cNvPr>
            <p:cNvSpPr/>
            <p:nvPr/>
          </p:nvSpPr>
          <p:spPr>
            <a:xfrm>
              <a:off x="11347995" y="4754710"/>
              <a:ext cx="53960" cy="4905"/>
            </a:xfrm>
            <a:custGeom>
              <a:avLst/>
              <a:gdLst>
                <a:gd name="connsiteX0" fmla="*/ 0 w 53960"/>
                <a:gd name="connsiteY0" fmla="*/ 0 h 4905"/>
                <a:gd name="connsiteX1" fmla="*/ 53960 w 53960"/>
                <a:gd name="connsiteY1" fmla="*/ 0 h 49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3960" h="4905">
                  <a:moveTo>
                    <a:pt x="0" y="0"/>
                  </a:moveTo>
                  <a:lnTo>
                    <a:pt x="5396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63" name="Forma livre: Forma 1462">
              <a:extLst>
                <a:ext uri="{FF2B5EF4-FFF2-40B4-BE49-F238E27FC236}">
                  <a16:creationId xmlns:a16="http://schemas.microsoft.com/office/drawing/2014/main" id="{0BA60A38-4B4A-B656-024D-293C1D7FEA6A}"/>
                </a:ext>
              </a:extLst>
            </p:cNvPr>
            <p:cNvSpPr/>
            <p:nvPr/>
          </p:nvSpPr>
          <p:spPr>
            <a:xfrm>
              <a:off x="11347995" y="4788264"/>
              <a:ext cx="53960" cy="4905"/>
            </a:xfrm>
            <a:custGeom>
              <a:avLst/>
              <a:gdLst>
                <a:gd name="connsiteX0" fmla="*/ 0 w 53960"/>
                <a:gd name="connsiteY0" fmla="*/ 0 h 4905"/>
                <a:gd name="connsiteX1" fmla="*/ 53960 w 53960"/>
                <a:gd name="connsiteY1" fmla="*/ 0 h 49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3960" h="4905">
                  <a:moveTo>
                    <a:pt x="0" y="0"/>
                  </a:moveTo>
                  <a:lnTo>
                    <a:pt x="5396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64" name="Forma livre: Forma 1463">
              <a:extLst>
                <a:ext uri="{FF2B5EF4-FFF2-40B4-BE49-F238E27FC236}">
                  <a16:creationId xmlns:a16="http://schemas.microsoft.com/office/drawing/2014/main" id="{315B8174-00C8-EBCD-EAB2-E312C5DD6FC0}"/>
                </a:ext>
              </a:extLst>
            </p:cNvPr>
            <p:cNvSpPr/>
            <p:nvPr/>
          </p:nvSpPr>
          <p:spPr>
            <a:xfrm>
              <a:off x="11347995" y="4821964"/>
              <a:ext cx="53960" cy="4905"/>
            </a:xfrm>
            <a:custGeom>
              <a:avLst/>
              <a:gdLst>
                <a:gd name="connsiteX0" fmla="*/ 0 w 53960"/>
                <a:gd name="connsiteY0" fmla="*/ 0 h 4905"/>
                <a:gd name="connsiteX1" fmla="*/ 53960 w 53960"/>
                <a:gd name="connsiteY1" fmla="*/ 0 h 49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3960" h="4905">
                  <a:moveTo>
                    <a:pt x="0" y="0"/>
                  </a:moveTo>
                  <a:lnTo>
                    <a:pt x="5396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65" name="Forma livre: Forma 1464">
              <a:extLst>
                <a:ext uri="{FF2B5EF4-FFF2-40B4-BE49-F238E27FC236}">
                  <a16:creationId xmlns:a16="http://schemas.microsoft.com/office/drawing/2014/main" id="{4EFA8357-FB40-5F1A-FA13-32EE1CB362FD}"/>
                </a:ext>
              </a:extLst>
            </p:cNvPr>
            <p:cNvSpPr/>
            <p:nvPr/>
          </p:nvSpPr>
          <p:spPr>
            <a:xfrm>
              <a:off x="11347995" y="4855518"/>
              <a:ext cx="53960" cy="4905"/>
            </a:xfrm>
            <a:custGeom>
              <a:avLst/>
              <a:gdLst>
                <a:gd name="connsiteX0" fmla="*/ 0 w 53960"/>
                <a:gd name="connsiteY0" fmla="*/ 0 h 4905"/>
                <a:gd name="connsiteX1" fmla="*/ 53960 w 53960"/>
                <a:gd name="connsiteY1" fmla="*/ 0 h 49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3960" h="4905">
                  <a:moveTo>
                    <a:pt x="0" y="0"/>
                  </a:moveTo>
                  <a:lnTo>
                    <a:pt x="5396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66" name="Forma livre: Forma 1465">
              <a:extLst>
                <a:ext uri="{FF2B5EF4-FFF2-40B4-BE49-F238E27FC236}">
                  <a16:creationId xmlns:a16="http://schemas.microsoft.com/office/drawing/2014/main" id="{CB08DC3F-2C49-9394-AB42-CB8C07651AF9}"/>
                </a:ext>
              </a:extLst>
            </p:cNvPr>
            <p:cNvSpPr/>
            <p:nvPr/>
          </p:nvSpPr>
          <p:spPr>
            <a:xfrm>
              <a:off x="11347995" y="4888973"/>
              <a:ext cx="53960" cy="4905"/>
            </a:xfrm>
            <a:custGeom>
              <a:avLst/>
              <a:gdLst>
                <a:gd name="connsiteX0" fmla="*/ 0 w 53960"/>
                <a:gd name="connsiteY0" fmla="*/ 0 h 4905"/>
                <a:gd name="connsiteX1" fmla="*/ 53960 w 53960"/>
                <a:gd name="connsiteY1" fmla="*/ 0 h 49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3960" h="4905">
                  <a:moveTo>
                    <a:pt x="0" y="0"/>
                  </a:moveTo>
                  <a:lnTo>
                    <a:pt x="5396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67" name="Forma livre: Forma 1466">
              <a:extLst>
                <a:ext uri="{FF2B5EF4-FFF2-40B4-BE49-F238E27FC236}">
                  <a16:creationId xmlns:a16="http://schemas.microsoft.com/office/drawing/2014/main" id="{22F4902B-203D-6331-48D6-7EA185275486}"/>
                </a:ext>
              </a:extLst>
            </p:cNvPr>
            <p:cNvSpPr/>
            <p:nvPr/>
          </p:nvSpPr>
          <p:spPr>
            <a:xfrm>
              <a:off x="11347995" y="4922477"/>
              <a:ext cx="53960" cy="4905"/>
            </a:xfrm>
            <a:custGeom>
              <a:avLst/>
              <a:gdLst>
                <a:gd name="connsiteX0" fmla="*/ 0 w 53960"/>
                <a:gd name="connsiteY0" fmla="*/ 0 h 4905"/>
                <a:gd name="connsiteX1" fmla="*/ 53960 w 53960"/>
                <a:gd name="connsiteY1" fmla="*/ 0 h 49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3960" h="4905">
                  <a:moveTo>
                    <a:pt x="0" y="0"/>
                  </a:moveTo>
                  <a:lnTo>
                    <a:pt x="5396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68" name="Forma livre: Forma 1467">
              <a:extLst>
                <a:ext uri="{FF2B5EF4-FFF2-40B4-BE49-F238E27FC236}">
                  <a16:creationId xmlns:a16="http://schemas.microsoft.com/office/drawing/2014/main" id="{AFEEBB87-AF55-6D34-F791-C57C2F1AAF5E}"/>
                </a:ext>
              </a:extLst>
            </p:cNvPr>
            <p:cNvSpPr/>
            <p:nvPr/>
          </p:nvSpPr>
          <p:spPr>
            <a:xfrm>
              <a:off x="11347995" y="4955933"/>
              <a:ext cx="53960" cy="4905"/>
            </a:xfrm>
            <a:custGeom>
              <a:avLst/>
              <a:gdLst>
                <a:gd name="connsiteX0" fmla="*/ 0 w 53960"/>
                <a:gd name="connsiteY0" fmla="*/ 0 h 4905"/>
                <a:gd name="connsiteX1" fmla="*/ 53960 w 53960"/>
                <a:gd name="connsiteY1" fmla="*/ 0 h 49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3960" h="4905">
                  <a:moveTo>
                    <a:pt x="0" y="0"/>
                  </a:moveTo>
                  <a:lnTo>
                    <a:pt x="5396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69" name="Forma livre: Forma 1468">
              <a:extLst>
                <a:ext uri="{FF2B5EF4-FFF2-40B4-BE49-F238E27FC236}">
                  <a16:creationId xmlns:a16="http://schemas.microsoft.com/office/drawing/2014/main" id="{BE791A75-18B0-7760-720A-E7C336A66E3C}"/>
                </a:ext>
              </a:extLst>
            </p:cNvPr>
            <p:cNvSpPr/>
            <p:nvPr/>
          </p:nvSpPr>
          <p:spPr>
            <a:xfrm>
              <a:off x="11507717" y="4788509"/>
              <a:ext cx="53960" cy="4905"/>
            </a:xfrm>
            <a:custGeom>
              <a:avLst/>
              <a:gdLst>
                <a:gd name="connsiteX0" fmla="*/ 0 w 53960"/>
                <a:gd name="connsiteY0" fmla="*/ 0 h 4905"/>
                <a:gd name="connsiteX1" fmla="*/ 53960 w 53960"/>
                <a:gd name="connsiteY1" fmla="*/ 0 h 49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3960" h="4905">
                  <a:moveTo>
                    <a:pt x="0" y="0"/>
                  </a:moveTo>
                  <a:lnTo>
                    <a:pt x="5396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70" name="Forma livre: Forma 1469">
              <a:extLst>
                <a:ext uri="{FF2B5EF4-FFF2-40B4-BE49-F238E27FC236}">
                  <a16:creationId xmlns:a16="http://schemas.microsoft.com/office/drawing/2014/main" id="{6B05C809-CA62-625F-9DF9-6E753D65C0E6}"/>
                </a:ext>
              </a:extLst>
            </p:cNvPr>
            <p:cNvSpPr/>
            <p:nvPr/>
          </p:nvSpPr>
          <p:spPr>
            <a:xfrm>
              <a:off x="11507717" y="4821964"/>
              <a:ext cx="53960" cy="4905"/>
            </a:xfrm>
            <a:custGeom>
              <a:avLst/>
              <a:gdLst>
                <a:gd name="connsiteX0" fmla="*/ 0 w 53960"/>
                <a:gd name="connsiteY0" fmla="*/ 0 h 4905"/>
                <a:gd name="connsiteX1" fmla="*/ 53960 w 53960"/>
                <a:gd name="connsiteY1" fmla="*/ 0 h 49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3960" h="4905">
                  <a:moveTo>
                    <a:pt x="0" y="0"/>
                  </a:moveTo>
                  <a:lnTo>
                    <a:pt x="5396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71" name="Forma livre: Forma 1470">
              <a:extLst>
                <a:ext uri="{FF2B5EF4-FFF2-40B4-BE49-F238E27FC236}">
                  <a16:creationId xmlns:a16="http://schemas.microsoft.com/office/drawing/2014/main" id="{FBA77192-4B6D-A0C0-BE21-0DB074A84D75}"/>
                </a:ext>
              </a:extLst>
            </p:cNvPr>
            <p:cNvSpPr/>
            <p:nvPr/>
          </p:nvSpPr>
          <p:spPr>
            <a:xfrm>
              <a:off x="11507717" y="4855518"/>
              <a:ext cx="53960" cy="4905"/>
            </a:xfrm>
            <a:custGeom>
              <a:avLst/>
              <a:gdLst>
                <a:gd name="connsiteX0" fmla="*/ 0 w 53960"/>
                <a:gd name="connsiteY0" fmla="*/ 0 h 4905"/>
                <a:gd name="connsiteX1" fmla="*/ 53960 w 53960"/>
                <a:gd name="connsiteY1" fmla="*/ 0 h 49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3960" h="4905">
                  <a:moveTo>
                    <a:pt x="0" y="0"/>
                  </a:moveTo>
                  <a:lnTo>
                    <a:pt x="5396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72" name="Forma livre: Forma 1471">
              <a:extLst>
                <a:ext uri="{FF2B5EF4-FFF2-40B4-BE49-F238E27FC236}">
                  <a16:creationId xmlns:a16="http://schemas.microsoft.com/office/drawing/2014/main" id="{FEBC3A48-2A98-44EB-A946-1C6EFB044C95}"/>
                </a:ext>
              </a:extLst>
            </p:cNvPr>
            <p:cNvSpPr/>
            <p:nvPr/>
          </p:nvSpPr>
          <p:spPr>
            <a:xfrm>
              <a:off x="11507717" y="4888973"/>
              <a:ext cx="53960" cy="4905"/>
            </a:xfrm>
            <a:custGeom>
              <a:avLst/>
              <a:gdLst>
                <a:gd name="connsiteX0" fmla="*/ 0 w 53960"/>
                <a:gd name="connsiteY0" fmla="*/ 0 h 4905"/>
                <a:gd name="connsiteX1" fmla="*/ 53960 w 53960"/>
                <a:gd name="connsiteY1" fmla="*/ 0 h 49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3960" h="4905">
                  <a:moveTo>
                    <a:pt x="0" y="0"/>
                  </a:moveTo>
                  <a:lnTo>
                    <a:pt x="5396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73" name="Forma livre: Forma 1472">
              <a:extLst>
                <a:ext uri="{FF2B5EF4-FFF2-40B4-BE49-F238E27FC236}">
                  <a16:creationId xmlns:a16="http://schemas.microsoft.com/office/drawing/2014/main" id="{83EC15CA-7F7D-8BE6-46A2-5556C8820B0F}"/>
                </a:ext>
              </a:extLst>
            </p:cNvPr>
            <p:cNvSpPr/>
            <p:nvPr/>
          </p:nvSpPr>
          <p:spPr>
            <a:xfrm>
              <a:off x="11507717" y="4922477"/>
              <a:ext cx="53960" cy="4905"/>
            </a:xfrm>
            <a:custGeom>
              <a:avLst/>
              <a:gdLst>
                <a:gd name="connsiteX0" fmla="*/ 0 w 53960"/>
                <a:gd name="connsiteY0" fmla="*/ 0 h 4905"/>
                <a:gd name="connsiteX1" fmla="*/ 53960 w 53960"/>
                <a:gd name="connsiteY1" fmla="*/ 0 h 49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3960" h="4905">
                  <a:moveTo>
                    <a:pt x="0" y="0"/>
                  </a:moveTo>
                  <a:lnTo>
                    <a:pt x="5396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74" name="Forma livre: Forma 1473">
              <a:extLst>
                <a:ext uri="{FF2B5EF4-FFF2-40B4-BE49-F238E27FC236}">
                  <a16:creationId xmlns:a16="http://schemas.microsoft.com/office/drawing/2014/main" id="{5E70FBA3-1B32-1691-DAD7-325DF22144EA}"/>
                </a:ext>
              </a:extLst>
            </p:cNvPr>
            <p:cNvSpPr/>
            <p:nvPr/>
          </p:nvSpPr>
          <p:spPr>
            <a:xfrm>
              <a:off x="11507717" y="4955933"/>
              <a:ext cx="53960" cy="4905"/>
            </a:xfrm>
            <a:custGeom>
              <a:avLst/>
              <a:gdLst>
                <a:gd name="connsiteX0" fmla="*/ 0 w 53960"/>
                <a:gd name="connsiteY0" fmla="*/ 0 h 4905"/>
                <a:gd name="connsiteX1" fmla="*/ 53960 w 53960"/>
                <a:gd name="connsiteY1" fmla="*/ 0 h 49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3960" h="4905">
                  <a:moveTo>
                    <a:pt x="0" y="0"/>
                  </a:moveTo>
                  <a:lnTo>
                    <a:pt x="5396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75" name="Forma livre: Forma 1474">
              <a:extLst>
                <a:ext uri="{FF2B5EF4-FFF2-40B4-BE49-F238E27FC236}">
                  <a16:creationId xmlns:a16="http://schemas.microsoft.com/office/drawing/2014/main" id="{8F75E0B0-001C-725D-3036-9EF952FC843F}"/>
                </a:ext>
              </a:extLst>
            </p:cNvPr>
            <p:cNvSpPr/>
            <p:nvPr/>
          </p:nvSpPr>
          <p:spPr>
            <a:xfrm>
              <a:off x="11427856" y="4855518"/>
              <a:ext cx="53960" cy="4905"/>
            </a:xfrm>
            <a:custGeom>
              <a:avLst/>
              <a:gdLst>
                <a:gd name="connsiteX0" fmla="*/ 0 w 53960"/>
                <a:gd name="connsiteY0" fmla="*/ 0 h 4905"/>
                <a:gd name="connsiteX1" fmla="*/ 53960 w 53960"/>
                <a:gd name="connsiteY1" fmla="*/ 0 h 49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3960" h="4905">
                  <a:moveTo>
                    <a:pt x="0" y="0"/>
                  </a:moveTo>
                  <a:lnTo>
                    <a:pt x="5396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76" name="Forma livre: Forma 1475">
              <a:extLst>
                <a:ext uri="{FF2B5EF4-FFF2-40B4-BE49-F238E27FC236}">
                  <a16:creationId xmlns:a16="http://schemas.microsoft.com/office/drawing/2014/main" id="{498166AF-F9E1-B4A6-BB6C-CDA030AB1D9F}"/>
                </a:ext>
              </a:extLst>
            </p:cNvPr>
            <p:cNvSpPr/>
            <p:nvPr/>
          </p:nvSpPr>
          <p:spPr>
            <a:xfrm>
              <a:off x="11427856" y="4888973"/>
              <a:ext cx="53960" cy="4905"/>
            </a:xfrm>
            <a:custGeom>
              <a:avLst/>
              <a:gdLst>
                <a:gd name="connsiteX0" fmla="*/ 0 w 53960"/>
                <a:gd name="connsiteY0" fmla="*/ 0 h 4905"/>
                <a:gd name="connsiteX1" fmla="*/ 53960 w 53960"/>
                <a:gd name="connsiteY1" fmla="*/ 0 h 49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3960" h="4905">
                  <a:moveTo>
                    <a:pt x="0" y="0"/>
                  </a:moveTo>
                  <a:lnTo>
                    <a:pt x="5396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77" name="Forma livre: Forma 1476">
              <a:extLst>
                <a:ext uri="{FF2B5EF4-FFF2-40B4-BE49-F238E27FC236}">
                  <a16:creationId xmlns:a16="http://schemas.microsoft.com/office/drawing/2014/main" id="{8AD729DF-9B36-D25A-59E0-7C02757B1BA3}"/>
                </a:ext>
              </a:extLst>
            </p:cNvPr>
            <p:cNvSpPr/>
            <p:nvPr/>
          </p:nvSpPr>
          <p:spPr>
            <a:xfrm>
              <a:off x="11427856" y="4922477"/>
              <a:ext cx="53960" cy="4905"/>
            </a:xfrm>
            <a:custGeom>
              <a:avLst/>
              <a:gdLst>
                <a:gd name="connsiteX0" fmla="*/ 0 w 53960"/>
                <a:gd name="connsiteY0" fmla="*/ 0 h 4905"/>
                <a:gd name="connsiteX1" fmla="*/ 53960 w 53960"/>
                <a:gd name="connsiteY1" fmla="*/ 0 h 49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3960" h="4905">
                  <a:moveTo>
                    <a:pt x="0" y="0"/>
                  </a:moveTo>
                  <a:lnTo>
                    <a:pt x="5396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78" name="Forma livre: Forma 1477">
              <a:extLst>
                <a:ext uri="{FF2B5EF4-FFF2-40B4-BE49-F238E27FC236}">
                  <a16:creationId xmlns:a16="http://schemas.microsoft.com/office/drawing/2014/main" id="{BEAB4E87-0DC8-6FD9-1D13-BA72943EFF03}"/>
                </a:ext>
              </a:extLst>
            </p:cNvPr>
            <p:cNvSpPr/>
            <p:nvPr/>
          </p:nvSpPr>
          <p:spPr>
            <a:xfrm>
              <a:off x="11427856" y="4955933"/>
              <a:ext cx="53960" cy="4905"/>
            </a:xfrm>
            <a:custGeom>
              <a:avLst/>
              <a:gdLst>
                <a:gd name="connsiteX0" fmla="*/ 0 w 53960"/>
                <a:gd name="connsiteY0" fmla="*/ 0 h 4905"/>
                <a:gd name="connsiteX1" fmla="*/ 53960 w 53960"/>
                <a:gd name="connsiteY1" fmla="*/ 0 h 49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3960" h="4905">
                  <a:moveTo>
                    <a:pt x="0" y="0"/>
                  </a:moveTo>
                  <a:lnTo>
                    <a:pt x="5396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79" name="Forma livre: Forma 1478">
              <a:extLst>
                <a:ext uri="{FF2B5EF4-FFF2-40B4-BE49-F238E27FC236}">
                  <a16:creationId xmlns:a16="http://schemas.microsoft.com/office/drawing/2014/main" id="{96ECDCD2-D112-568B-530E-8CE03461D147}"/>
                </a:ext>
              </a:extLst>
            </p:cNvPr>
            <p:cNvSpPr/>
            <p:nvPr/>
          </p:nvSpPr>
          <p:spPr>
            <a:xfrm>
              <a:off x="11268134" y="4821964"/>
              <a:ext cx="53960" cy="4905"/>
            </a:xfrm>
            <a:custGeom>
              <a:avLst/>
              <a:gdLst>
                <a:gd name="connsiteX0" fmla="*/ 0 w 53960"/>
                <a:gd name="connsiteY0" fmla="*/ 0 h 4905"/>
                <a:gd name="connsiteX1" fmla="*/ 53960 w 53960"/>
                <a:gd name="connsiteY1" fmla="*/ 0 h 49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3960" h="4905">
                  <a:moveTo>
                    <a:pt x="0" y="0"/>
                  </a:moveTo>
                  <a:lnTo>
                    <a:pt x="5396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80" name="Forma livre: Forma 1479">
              <a:extLst>
                <a:ext uri="{FF2B5EF4-FFF2-40B4-BE49-F238E27FC236}">
                  <a16:creationId xmlns:a16="http://schemas.microsoft.com/office/drawing/2014/main" id="{D2FF2E3D-EF03-29EE-D707-EFF5BBEC646D}"/>
                </a:ext>
              </a:extLst>
            </p:cNvPr>
            <p:cNvSpPr/>
            <p:nvPr/>
          </p:nvSpPr>
          <p:spPr>
            <a:xfrm>
              <a:off x="11268134" y="4855518"/>
              <a:ext cx="53960" cy="4905"/>
            </a:xfrm>
            <a:custGeom>
              <a:avLst/>
              <a:gdLst>
                <a:gd name="connsiteX0" fmla="*/ 0 w 53960"/>
                <a:gd name="connsiteY0" fmla="*/ 0 h 4905"/>
                <a:gd name="connsiteX1" fmla="*/ 53960 w 53960"/>
                <a:gd name="connsiteY1" fmla="*/ 0 h 49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3960" h="4905">
                  <a:moveTo>
                    <a:pt x="0" y="0"/>
                  </a:moveTo>
                  <a:lnTo>
                    <a:pt x="5396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81" name="Forma livre: Forma 1480">
              <a:extLst>
                <a:ext uri="{FF2B5EF4-FFF2-40B4-BE49-F238E27FC236}">
                  <a16:creationId xmlns:a16="http://schemas.microsoft.com/office/drawing/2014/main" id="{9FFB3A23-8869-5A97-ACB6-93735F6A9A88}"/>
                </a:ext>
              </a:extLst>
            </p:cNvPr>
            <p:cNvSpPr/>
            <p:nvPr/>
          </p:nvSpPr>
          <p:spPr>
            <a:xfrm>
              <a:off x="11268134" y="4888973"/>
              <a:ext cx="53960" cy="4905"/>
            </a:xfrm>
            <a:custGeom>
              <a:avLst/>
              <a:gdLst>
                <a:gd name="connsiteX0" fmla="*/ 0 w 53960"/>
                <a:gd name="connsiteY0" fmla="*/ 0 h 4905"/>
                <a:gd name="connsiteX1" fmla="*/ 53960 w 53960"/>
                <a:gd name="connsiteY1" fmla="*/ 0 h 49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3960" h="4905">
                  <a:moveTo>
                    <a:pt x="0" y="0"/>
                  </a:moveTo>
                  <a:lnTo>
                    <a:pt x="5396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82" name="Forma livre: Forma 1481">
              <a:extLst>
                <a:ext uri="{FF2B5EF4-FFF2-40B4-BE49-F238E27FC236}">
                  <a16:creationId xmlns:a16="http://schemas.microsoft.com/office/drawing/2014/main" id="{A34AE982-7DFD-FF1E-E07F-E464A701329C}"/>
                </a:ext>
              </a:extLst>
            </p:cNvPr>
            <p:cNvSpPr/>
            <p:nvPr/>
          </p:nvSpPr>
          <p:spPr>
            <a:xfrm>
              <a:off x="11268134" y="4922477"/>
              <a:ext cx="53960" cy="4905"/>
            </a:xfrm>
            <a:custGeom>
              <a:avLst/>
              <a:gdLst>
                <a:gd name="connsiteX0" fmla="*/ 0 w 53960"/>
                <a:gd name="connsiteY0" fmla="*/ 0 h 4905"/>
                <a:gd name="connsiteX1" fmla="*/ 53960 w 53960"/>
                <a:gd name="connsiteY1" fmla="*/ 0 h 49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3960" h="4905">
                  <a:moveTo>
                    <a:pt x="0" y="0"/>
                  </a:moveTo>
                  <a:lnTo>
                    <a:pt x="5396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83" name="Forma livre: Forma 1482">
              <a:extLst>
                <a:ext uri="{FF2B5EF4-FFF2-40B4-BE49-F238E27FC236}">
                  <a16:creationId xmlns:a16="http://schemas.microsoft.com/office/drawing/2014/main" id="{6D710B6A-30AC-CEA6-DE56-E4C4AB783939}"/>
                </a:ext>
              </a:extLst>
            </p:cNvPr>
            <p:cNvSpPr/>
            <p:nvPr/>
          </p:nvSpPr>
          <p:spPr>
            <a:xfrm>
              <a:off x="11268134" y="4955933"/>
              <a:ext cx="53960" cy="4905"/>
            </a:xfrm>
            <a:custGeom>
              <a:avLst/>
              <a:gdLst>
                <a:gd name="connsiteX0" fmla="*/ 0 w 53960"/>
                <a:gd name="connsiteY0" fmla="*/ 0 h 4905"/>
                <a:gd name="connsiteX1" fmla="*/ 53960 w 53960"/>
                <a:gd name="connsiteY1" fmla="*/ 0 h 49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3960" h="4905">
                  <a:moveTo>
                    <a:pt x="0" y="0"/>
                  </a:moveTo>
                  <a:lnTo>
                    <a:pt x="5396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84" name="Forma livre: Forma 1483">
              <a:extLst>
                <a:ext uri="{FF2B5EF4-FFF2-40B4-BE49-F238E27FC236}">
                  <a16:creationId xmlns:a16="http://schemas.microsoft.com/office/drawing/2014/main" id="{F4A6119D-2018-3B3E-7231-A89452032A2C}"/>
                </a:ext>
              </a:extLst>
            </p:cNvPr>
            <p:cNvSpPr/>
            <p:nvPr/>
          </p:nvSpPr>
          <p:spPr>
            <a:xfrm>
              <a:off x="11347995" y="4989388"/>
              <a:ext cx="53960" cy="4905"/>
            </a:xfrm>
            <a:custGeom>
              <a:avLst/>
              <a:gdLst>
                <a:gd name="connsiteX0" fmla="*/ 0 w 53960"/>
                <a:gd name="connsiteY0" fmla="*/ 0 h 4905"/>
                <a:gd name="connsiteX1" fmla="*/ 53960 w 53960"/>
                <a:gd name="connsiteY1" fmla="*/ 0 h 49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3960" h="4905">
                  <a:moveTo>
                    <a:pt x="0" y="0"/>
                  </a:moveTo>
                  <a:lnTo>
                    <a:pt x="5396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85" name="Forma livre: Forma 1484">
              <a:extLst>
                <a:ext uri="{FF2B5EF4-FFF2-40B4-BE49-F238E27FC236}">
                  <a16:creationId xmlns:a16="http://schemas.microsoft.com/office/drawing/2014/main" id="{6557A804-A031-77AD-DEF9-84D9D5CAE9D4}"/>
                </a:ext>
              </a:extLst>
            </p:cNvPr>
            <p:cNvSpPr/>
            <p:nvPr/>
          </p:nvSpPr>
          <p:spPr>
            <a:xfrm>
              <a:off x="11507717" y="4989388"/>
              <a:ext cx="53960" cy="4905"/>
            </a:xfrm>
            <a:custGeom>
              <a:avLst/>
              <a:gdLst>
                <a:gd name="connsiteX0" fmla="*/ 0 w 53960"/>
                <a:gd name="connsiteY0" fmla="*/ 0 h 4905"/>
                <a:gd name="connsiteX1" fmla="*/ 53960 w 53960"/>
                <a:gd name="connsiteY1" fmla="*/ 0 h 49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3960" h="4905">
                  <a:moveTo>
                    <a:pt x="0" y="0"/>
                  </a:moveTo>
                  <a:lnTo>
                    <a:pt x="5396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86" name="Forma livre: Forma 1485">
              <a:extLst>
                <a:ext uri="{FF2B5EF4-FFF2-40B4-BE49-F238E27FC236}">
                  <a16:creationId xmlns:a16="http://schemas.microsoft.com/office/drawing/2014/main" id="{64806E97-FC86-8906-84EC-4DAEE8FB44E6}"/>
                </a:ext>
              </a:extLst>
            </p:cNvPr>
            <p:cNvSpPr/>
            <p:nvPr/>
          </p:nvSpPr>
          <p:spPr>
            <a:xfrm>
              <a:off x="11427856" y="4989388"/>
              <a:ext cx="53960" cy="4905"/>
            </a:xfrm>
            <a:custGeom>
              <a:avLst/>
              <a:gdLst>
                <a:gd name="connsiteX0" fmla="*/ 0 w 53960"/>
                <a:gd name="connsiteY0" fmla="*/ 0 h 4905"/>
                <a:gd name="connsiteX1" fmla="*/ 53960 w 53960"/>
                <a:gd name="connsiteY1" fmla="*/ 0 h 49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3960" h="4905">
                  <a:moveTo>
                    <a:pt x="0" y="0"/>
                  </a:moveTo>
                  <a:lnTo>
                    <a:pt x="5396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87" name="Forma livre: Forma 1486">
              <a:extLst>
                <a:ext uri="{FF2B5EF4-FFF2-40B4-BE49-F238E27FC236}">
                  <a16:creationId xmlns:a16="http://schemas.microsoft.com/office/drawing/2014/main" id="{D9199E91-389A-D034-08BD-3B6934FDE1D0}"/>
                </a:ext>
              </a:extLst>
            </p:cNvPr>
            <p:cNvSpPr/>
            <p:nvPr/>
          </p:nvSpPr>
          <p:spPr>
            <a:xfrm>
              <a:off x="11268134" y="4989388"/>
              <a:ext cx="53960" cy="4905"/>
            </a:xfrm>
            <a:custGeom>
              <a:avLst/>
              <a:gdLst>
                <a:gd name="connsiteX0" fmla="*/ 0 w 53960"/>
                <a:gd name="connsiteY0" fmla="*/ 0 h 4905"/>
                <a:gd name="connsiteX1" fmla="*/ 53960 w 53960"/>
                <a:gd name="connsiteY1" fmla="*/ 0 h 49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3960" h="4905">
                  <a:moveTo>
                    <a:pt x="0" y="0"/>
                  </a:moveTo>
                  <a:lnTo>
                    <a:pt x="5396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499" name="Gráfico 15">
            <a:extLst>
              <a:ext uri="{FF2B5EF4-FFF2-40B4-BE49-F238E27FC236}">
                <a16:creationId xmlns:a16="http://schemas.microsoft.com/office/drawing/2014/main" id="{D1FF03E6-4CFB-41B6-7840-EB97BE6FED56}"/>
              </a:ext>
            </a:extLst>
          </p:cNvPr>
          <p:cNvGrpSpPr/>
          <p:nvPr/>
        </p:nvGrpSpPr>
        <p:grpSpPr>
          <a:xfrm>
            <a:off x="10654607" y="4185578"/>
            <a:ext cx="241152" cy="256408"/>
            <a:chOff x="10654607" y="4185578"/>
            <a:chExt cx="241152" cy="256408"/>
          </a:xfrm>
          <a:noFill/>
        </p:grpSpPr>
        <p:grpSp>
          <p:nvGrpSpPr>
            <p:cNvPr id="1500" name="Gráfico 15">
              <a:extLst>
                <a:ext uri="{FF2B5EF4-FFF2-40B4-BE49-F238E27FC236}">
                  <a16:creationId xmlns:a16="http://schemas.microsoft.com/office/drawing/2014/main" id="{2E85435D-29E9-6017-D526-C2C1A58FA4E1}"/>
                </a:ext>
              </a:extLst>
            </p:cNvPr>
            <p:cNvGrpSpPr/>
            <p:nvPr/>
          </p:nvGrpSpPr>
          <p:grpSpPr>
            <a:xfrm>
              <a:off x="10654607" y="4185578"/>
              <a:ext cx="167472" cy="256408"/>
              <a:chOff x="10654607" y="4185578"/>
              <a:chExt cx="167472" cy="256408"/>
            </a:xfrm>
            <a:noFill/>
          </p:grpSpPr>
          <p:grpSp>
            <p:nvGrpSpPr>
              <p:cNvPr id="1501" name="Gráfico 15">
                <a:extLst>
                  <a:ext uri="{FF2B5EF4-FFF2-40B4-BE49-F238E27FC236}">
                    <a16:creationId xmlns:a16="http://schemas.microsoft.com/office/drawing/2014/main" id="{BECA2C12-DB7F-8A3C-3B34-209C716569CD}"/>
                  </a:ext>
                </a:extLst>
              </p:cNvPr>
              <p:cNvGrpSpPr/>
              <p:nvPr/>
            </p:nvGrpSpPr>
            <p:grpSpPr>
              <a:xfrm>
                <a:off x="10731573" y="4185578"/>
                <a:ext cx="90505" cy="256408"/>
                <a:chOff x="10731573" y="4185578"/>
                <a:chExt cx="90505" cy="256408"/>
              </a:xfrm>
              <a:noFill/>
            </p:grpSpPr>
            <p:sp>
              <p:nvSpPr>
                <p:cNvPr id="1502" name="Forma livre: Forma 1501">
                  <a:extLst>
                    <a:ext uri="{FF2B5EF4-FFF2-40B4-BE49-F238E27FC236}">
                      <a16:creationId xmlns:a16="http://schemas.microsoft.com/office/drawing/2014/main" id="{417B8439-79BA-558C-B2CF-96AC24941E46}"/>
                    </a:ext>
                  </a:extLst>
                </p:cNvPr>
                <p:cNvSpPr/>
                <p:nvPr/>
              </p:nvSpPr>
              <p:spPr>
                <a:xfrm>
                  <a:off x="10731573" y="4185578"/>
                  <a:ext cx="90505" cy="175910"/>
                </a:xfrm>
                <a:custGeom>
                  <a:avLst/>
                  <a:gdLst>
                    <a:gd name="connsiteX0" fmla="*/ 2992 w 90505"/>
                    <a:gd name="connsiteY0" fmla="*/ 175910 h 175910"/>
                    <a:gd name="connsiteX1" fmla="*/ 0 w 90505"/>
                    <a:gd name="connsiteY1" fmla="*/ 173163 h 175910"/>
                    <a:gd name="connsiteX2" fmla="*/ 0 w 90505"/>
                    <a:gd name="connsiteY2" fmla="*/ 83246 h 175910"/>
                    <a:gd name="connsiteX3" fmla="*/ 90506 w 90505"/>
                    <a:gd name="connsiteY3" fmla="*/ 0 h 175910"/>
                    <a:gd name="connsiteX4" fmla="*/ 90506 w 90505"/>
                    <a:gd name="connsiteY4" fmla="*/ 81186 h 17591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90505" h="175910">
                      <a:moveTo>
                        <a:pt x="2992" y="175910"/>
                      </a:moveTo>
                      <a:lnTo>
                        <a:pt x="0" y="173163"/>
                      </a:lnTo>
                      <a:lnTo>
                        <a:pt x="0" y="83246"/>
                      </a:lnTo>
                      <a:lnTo>
                        <a:pt x="90506" y="0"/>
                      </a:lnTo>
                      <a:lnTo>
                        <a:pt x="90506" y="81186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503" name="Forma livre: Forma 1502">
                  <a:extLst>
                    <a:ext uri="{FF2B5EF4-FFF2-40B4-BE49-F238E27FC236}">
                      <a16:creationId xmlns:a16="http://schemas.microsoft.com/office/drawing/2014/main" id="{21133BE9-BC9F-4A08-AE6A-6A1B980D67FF}"/>
                    </a:ext>
                  </a:extLst>
                </p:cNvPr>
                <p:cNvSpPr/>
                <p:nvPr/>
              </p:nvSpPr>
              <p:spPr>
                <a:xfrm>
                  <a:off x="10754923" y="4308705"/>
                  <a:ext cx="67155" cy="133281"/>
                </a:xfrm>
                <a:custGeom>
                  <a:avLst/>
                  <a:gdLst>
                    <a:gd name="connsiteX0" fmla="*/ 67156 w 67155"/>
                    <a:gd name="connsiteY0" fmla="*/ 0 h 133281"/>
                    <a:gd name="connsiteX1" fmla="*/ 67156 w 67155"/>
                    <a:gd name="connsiteY1" fmla="*/ 133282 h 133281"/>
                    <a:gd name="connsiteX2" fmla="*/ 0 w 67155"/>
                    <a:gd name="connsiteY2" fmla="*/ 71522 h 13328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67155" h="133281">
                      <a:moveTo>
                        <a:pt x="67156" y="0"/>
                      </a:moveTo>
                      <a:lnTo>
                        <a:pt x="67156" y="133282"/>
                      </a:lnTo>
                      <a:lnTo>
                        <a:pt x="0" y="71522"/>
                      </a:ln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1504" name="Forma livre: Forma 1503">
                <a:extLst>
                  <a:ext uri="{FF2B5EF4-FFF2-40B4-BE49-F238E27FC236}">
                    <a16:creationId xmlns:a16="http://schemas.microsoft.com/office/drawing/2014/main" id="{2C11BB76-DDAC-D02C-ED41-DECA3C9DDD02}"/>
                  </a:ext>
                </a:extLst>
              </p:cNvPr>
              <p:cNvSpPr/>
              <p:nvPr/>
            </p:nvSpPr>
            <p:spPr>
              <a:xfrm>
                <a:off x="10654607" y="4276721"/>
                <a:ext cx="50477" cy="74170"/>
              </a:xfrm>
              <a:custGeom>
                <a:avLst/>
                <a:gdLst>
                  <a:gd name="connsiteX0" fmla="*/ 50477 w 50477"/>
                  <a:gd name="connsiteY0" fmla="*/ 74171 h 74170"/>
                  <a:gd name="connsiteX1" fmla="*/ 11430 w 50477"/>
                  <a:gd name="connsiteY1" fmla="*/ 74171 h 74170"/>
                  <a:gd name="connsiteX2" fmla="*/ 0 w 50477"/>
                  <a:gd name="connsiteY2" fmla="*/ 62741 h 74170"/>
                  <a:gd name="connsiteX3" fmla="*/ 0 w 50477"/>
                  <a:gd name="connsiteY3" fmla="*/ 11430 h 74170"/>
                  <a:gd name="connsiteX4" fmla="*/ 11430 w 50477"/>
                  <a:gd name="connsiteY4" fmla="*/ 0 h 74170"/>
                  <a:gd name="connsiteX5" fmla="*/ 50477 w 50477"/>
                  <a:gd name="connsiteY5" fmla="*/ 0 h 741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50477" h="74170">
                    <a:moveTo>
                      <a:pt x="50477" y="74171"/>
                    </a:moveTo>
                    <a:lnTo>
                      <a:pt x="11430" y="74171"/>
                    </a:lnTo>
                    <a:cubicBezTo>
                      <a:pt x="5151" y="74171"/>
                      <a:pt x="0" y="69020"/>
                      <a:pt x="0" y="62741"/>
                    </a:cubicBezTo>
                    <a:lnTo>
                      <a:pt x="0" y="11430"/>
                    </a:lnTo>
                    <a:cubicBezTo>
                      <a:pt x="0" y="5151"/>
                      <a:pt x="5151" y="0"/>
                      <a:pt x="11430" y="0"/>
                    </a:cubicBezTo>
                    <a:lnTo>
                      <a:pt x="50477" y="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505" name="Forma livre: Forma 1504">
              <a:extLst>
                <a:ext uri="{FF2B5EF4-FFF2-40B4-BE49-F238E27FC236}">
                  <a16:creationId xmlns:a16="http://schemas.microsoft.com/office/drawing/2014/main" id="{9823E1E2-9308-F3F6-CFAF-D13DA268C8CA}"/>
                </a:ext>
              </a:extLst>
            </p:cNvPr>
            <p:cNvSpPr/>
            <p:nvPr/>
          </p:nvSpPr>
          <p:spPr>
            <a:xfrm>
              <a:off x="10668391" y="4187834"/>
              <a:ext cx="227368" cy="243801"/>
            </a:xfrm>
            <a:custGeom>
              <a:avLst/>
              <a:gdLst>
                <a:gd name="connsiteX0" fmla="*/ 227369 w 227368"/>
                <a:gd name="connsiteY0" fmla="*/ 0 h 243801"/>
                <a:gd name="connsiteX1" fmla="*/ 0 w 227368"/>
                <a:gd name="connsiteY1" fmla="*/ 243802 h 2438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27368" h="243801">
                  <a:moveTo>
                    <a:pt x="227369" y="0"/>
                  </a:moveTo>
                  <a:lnTo>
                    <a:pt x="0" y="243802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506" name="Gráfico 15">
            <a:extLst>
              <a:ext uri="{FF2B5EF4-FFF2-40B4-BE49-F238E27FC236}">
                <a16:creationId xmlns:a16="http://schemas.microsoft.com/office/drawing/2014/main" id="{4E07D5C3-69DB-3955-1251-819AFA506A7C}"/>
              </a:ext>
            </a:extLst>
          </p:cNvPr>
          <p:cNvGrpSpPr/>
          <p:nvPr/>
        </p:nvGrpSpPr>
        <p:grpSpPr>
          <a:xfrm>
            <a:off x="10624965" y="5260513"/>
            <a:ext cx="300374" cy="300374"/>
            <a:chOff x="10624965" y="5260513"/>
            <a:chExt cx="300374" cy="300374"/>
          </a:xfrm>
          <a:noFill/>
        </p:grpSpPr>
        <p:sp>
          <p:nvSpPr>
            <p:cNvPr id="1507" name="Forma livre: Forma 1506">
              <a:extLst>
                <a:ext uri="{FF2B5EF4-FFF2-40B4-BE49-F238E27FC236}">
                  <a16:creationId xmlns:a16="http://schemas.microsoft.com/office/drawing/2014/main" id="{8CFD5AD8-1B32-4681-D568-709BEB92B8C4}"/>
                </a:ext>
              </a:extLst>
            </p:cNvPr>
            <p:cNvSpPr/>
            <p:nvPr/>
          </p:nvSpPr>
          <p:spPr>
            <a:xfrm>
              <a:off x="10624965" y="5324137"/>
              <a:ext cx="236750" cy="236750"/>
            </a:xfrm>
            <a:custGeom>
              <a:avLst/>
              <a:gdLst>
                <a:gd name="connsiteX0" fmla="*/ 127309 w 236750"/>
                <a:gd name="connsiteY0" fmla="*/ 0 h 236750"/>
                <a:gd name="connsiteX1" fmla="*/ 12178 w 236750"/>
                <a:gd name="connsiteY1" fmla="*/ 115131 h 236750"/>
                <a:gd name="connsiteX2" fmla="*/ 12178 w 236750"/>
                <a:gd name="connsiteY2" fmla="*/ 174144 h 236750"/>
                <a:gd name="connsiteX3" fmla="*/ 62606 w 236750"/>
                <a:gd name="connsiteY3" fmla="*/ 224573 h 236750"/>
                <a:gd name="connsiteX4" fmla="*/ 121619 w 236750"/>
                <a:gd name="connsiteY4" fmla="*/ 224573 h 236750"/>
                <a:gd name="connsiteX5" fmla="*/ 236750 w 236750"/>
                <a:gd name="connsiteY5" fmla="*/ 109441 h 236750"/>
                <a:gd name="connsiteX6" fmla="*/ 127358 w 236750"/>
                <a:gd name="connsiteY6" fmla="*/ 49 h 236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36750" h="236750">
                  <a:moveTo>
                    <a:pt x="127309" y="0"/>
                  </a:moveTo>
                  <a:lnTo>
                    <a:pt x="12178" y="115131"/>
                  </a:lnTo>
                  <a:cubicBezTo>
                    <a:pt x="-4059" y="131369"/>
                    <a:pt x="-4059" y="157907"/>
                    <a:pt x="12178" y="174144"/>
                  </a:cubicBezTo>
                  <a:lnTo>
                    <a:pt x="62606" y="224573"/>
                  </a:lnTo>
                  <a:cubicBezTo>
                    <a:pt x="78843" y="240810"/>
                    <a:pt x="105382" y="240810"/>
                    <a:pt x="121619" y="224573"/>
                  </a:cubicBezTo>
                  <a:lnTo>
                    <a:pt x="236750" y="109441"/>
                  </a:lnTo>
                  <a:lnTo>
                    <a:pt x="127358" y="49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08" name="Forma livre: Forma 1507">
              <a:extLst>
                <a:ext uri="{FF2B5EF4-FFF2-40B4-BE49-F238E27FC236}">
                  <a16:creationId xmlns:a16="http://schemas.microsoft.com/office/drawing/2014/main" id="{96AF15B5-BCFA-20E2-9B5E-83C323DDF2BF}"/>
                </a:ext>
              </a:extLst>
            </p:cNvPr>
            <p:cNvSpPr/>
            <p:nvPr/>
          </p:nvSpPr>
          <p:spPr>
            <a:xfrm>
              <a:off x="10779794" y="5260513"/>
              <a:ext cx="145545" cy="145545"/>
            </a:xfrm>
            <a:custGeom>
              <a:avLst/>
              <a:gdLst>
                <a:gd name="connsiteX0" fmla="*/ 0 w 145545"/>
                <a:gd name="connsiteY0" fmla="*/ 54451 h 145545"/>
                <a:gd name="connsiteX1" fmla="*/ 54500 w 145545"/>
                <a:gd name="connsiteY1" fmla="*/ 0 h 145545"/>
                <a:gd name="connsiteX2" fmla="*/ 145545 w 145545"/>
                <a:gd name="connsiteY2" fmla="*/ 91046 h 145545"/>
                <a:gd name="connsiteX3" fmla="*/ 91046 w 145545"/>
                <a:gd name="connsiteY3" fmla="*/ 145545 h 1455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5545" h="145545">
                  <a:moveTo>
                    <a:pt x="0" y="54451"/>
                  </a:moveTo>
                  <a:lnTo>
                    <a:pt x="54500" y="0"/>
                  </a:lnTo>
                  <a:lnTo>
                    <a:pt x="145545" y="91046"/>
                  </a:lnTo>
                  <a:lnTo>
                    <a:pt x="91046" y="145545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509" name="Gráfico 15">
              <a:extLst>
                <a:ext uri="{FF2B5EF4-FFF2-40B4-BE49-F238E27FC236}">
                  <a16:creationId xmlns:a16="http://schemas.microsoft.com/office/drawing/2014/main" id="{EE52AABE-DF48-75CB-77E3-1D0F1E961B43}"/>
                </a:ext>
              </a:extLst>
            </p:cNvPr>
            <p:cNvGrpSpPr/>
            <p:nvPr/>
          </p:nvGrpSpPr>
          <p:grpSpPr>
            <a:xfrm>
              <a:off x="10832149" y="5306016"/>
              <a:ext cx="47775" cy="47549"/>
              <a:chOff x="10832149" y="5306016"/>
              <a:chExt cx="47775" cy="47549"/>
            </a:xfrm>
            <a:noFill/>
          </p:grpSpPr>
          <p:sp>
            <p:nvSpPr>
              <p:cNvPr id="1510" name="Forma livre: Forma 1509">
                <a:extLst>
                  <a:ext uri="{FF2B5EF4-FFF2-40B4-BE49-F238E27FC236}">
                    <a16:creationId xmlns:a16="http://schemas.microsoft.com/office/drawing/2014/main" id="{A76F4DF4-BF53-1886-0F36-D0C6B0B3C85D}"/>
                  </a:ext>
                </a:extLst>
              </p:cNvPr>
              <p:cNvSpPr/>
              <p:nvPr/>
            </p:nvSpPr>
            <p:spPr>
              <a:xfrm rot="-2701201">
                <a:off x="10833033" y="5306900"/>
                <a:ext cx="4267" cy="4267"/>
              </a:xfrm>
              <a:custGeom>
                <a:avLst/>
                <a:gdLst>
                  <a:gd name="connsiteX0" fmla="*/ 0 w 4267"/>
                  <a:gd name="connsiteY0" fmla="*/ 0 h 4267"/>
                  <a:gd name="connsiteX1" fmla="*/ 4268 w 4267"/>
                  <a:gd name="connsiteY1" fmla="*/ 0 h 4267"/>
                  <a:gd name="connsiteX2" fmla="*/ 4268 w 4267"/>
                  <a:gd name="connsiteY2" fmla="*/ 4268 h 4267"/>
                  <a:gd name="connsiteX3" fmla="*/ 0 w 4267"/>
                  <a:gd name="connsiteY3" fmla="*/ 4268 h 42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267" h="4267">
                    <a:moveTo>
                      <a:pt x="0" y="0"/>
                    </a:moveTo>
                    <a:lnTo>
                      <a:pt x="4268" y="0"/>
                    </a:lnTo>
                    <a:lnTo>
                      <a:pt x="4268" y="4268"/>
                    </a:lnTo>
                    <a:lnTo>
                      <a:pt x="0" y="4268"/>
                    </a:ln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511" name="Forma livre: Forma 1510">
                <a:extLst>
                  <a:ext uri="{FF2B5EF4-FFF2-40B4-BE49-F238E27FC236}">
                    <a16:creationId xmlns:a16="http://schemas.microsoft.com/office/drawing/2014/main" id="{49FA51CB-6C4D-E7FC-90BF-D085D61210E5}"/>
                  </a:ext>
                </a:extLst>
              </p:cNvPr>
              <p:cNvSpPr/>
              <p:nvPr/>
            </p:nvSpPr>
            <p:spPr>
              <a:xfrm rot="-2698799">
                <a:off x="10874772" y="5348414"/>
                <a:ext cx="4267" cy="4267"/>
              </a:xfrm>
              <a:custGeom>
                <a:avLst/>
                <a:gdLst>
                  <a:gd name="connsiteX0" fmla="*/ 0 w 4267"/>
                  <a:gd name="connsiteY0" fmla="*/ 0 h 4267"/>
                  <a:gd name="connsiteX1" fmla="*/ 4268 w 4267"/>
                  <a:gd name="connsiteY1" fmla="*/ 0 h 4267"/>
                  <a:gd name="connsiteX2" fmla="*/ 4268 w 4267"/>
                  <a:gd name="connsiteY2" fmla="*/ 4268 h 4267"/>
                  <a:gd name="connsiteX3" fmla="*/ 0 w 4267"/>
                  <a:gd name="connsiteY3" fmla="*/ 4268 h 42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267" h="4267">
                    <a:moveTo>
                      <a:pt x="0" y="0"/>
                    </a:moveTo>
                    <a:lnTo>
                      <a:pt x="4268" y="0"/>
                    </a:lnTo>
                    <a:lnTo>
                      <a:pt x="4268" y="4268"/>
                    </a:lnTo>
                    <a:lnTo>
                      <a:pt x="0" y="4268"/>
                    </a:ln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512" name="Gráfico 15">
            <a:extLst>
              <a:ext uri="{FF2B5EF4-FFF2-40B4-BE49-F238E27FC236}">
                <a16:creationId xmlns:a16="http://schemas.microsoft.com/office/drawing/2014/main" id="{A61094C2-3FF1-7D1F-72F9-74590B1CC306}"/>
              </a:ext>
            </a:extLst>
          </p:cNvPr>
          <p:cNvGrpSpPr/>
          <p:nvPr/>
        </p:nvGrpSpPr>
        <p:grpSpPr>
          <a:xfrm>
            <a:off x="10663927" y="5814095"/>
            <a:ext cx="222512" cy="305071"/>
            <a:chOff x="10663927" y="5814095"/>
            <a:chExt cx="222512" cy="305071"/>
          </a:xfrm>
          <a:noFill/>
        </p:grpSpPr>
        <p:grpSp>
          <p:nvGrpSpPr>
            <p:cNvPr id="1513" name="Gráfico 15">
              <a:extLst>
                <a:ext uri="{FF2B5EF4-FFF2-40B4-BE49-F238E27FC236}">
                  <a16:creationId xmlns:a16="http://schemas.microsoft.com/office/drawing/2014/main" id="{CFE81C46-6048-A8E1-F1B5-49D431F5A395}"/>
                </a:ext>
              </a:extLst>
            </p:cNvPr>
            <p:cNvGrpSpPr/>
            <p:nvPr/>
          </p:nvGrpSpPr>
          <p:grpSpPr>
            <a:xfrm>
              <a:off x="10701601" y="5864818"/>
              <a:ext cx="147164" cy="142651"/>
              <a:chOff x="10701601" y="5864818"/>
              <a:chExt cx="147164" cy="142651"/>
            </a:xfrm>
          </p:grpSpPr>
          <p:sp>
            <p:nvSpPr>
              <p:cNvPr id="1514" name="Forma livre: Forma 1513">
                <a:extLst>
                  <a:ext uri="{FF2B5EF4-FFF2-40B4-BE49-F238E27FC236}">
                    <a16:creationId xmlns:a16="http://schemas.microsoft.com/office/drawing/2014/main" id="{1EA2768A-C3C5-3E22-16E6-39D3CE575F71}"/>
                  </a:ext>
                </a:extLst>
              </p:cNvPr>
              <p:cNvSpPr/>
              <p:nvPr/>
            </p:nvSpPr>
            <p:spPr>
              <a:xfrm>
                <a:off x="10701601" y="5900481"/>
                <a:ext cx="147164" cy="4905"/>
              </a:xfrm>
              <a:custGeom>
                <a:avLst/>
                <a:gdLst>
                  <a:gd name="connsiteX0" fmla="*/ 0 w 147164"/>
                  <a:gd name="connsiteY0" fmla="*/ 0 h 4905"/>
                  <a:gd name="connsiteX1" fmla="*/ 147164 w 147164"/>
                  <a:gd name="connsiteY1" fmla="*/ 0 h 49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47164" h="4905">
                    <a:moveTo>
                      <a:pt x="0" y="0"/>
                    </a:moveTo>
                    <a:lnTo>
                      <a:pt x="147164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515" name="Forma livre: Forma 1514">
                <a:extLst>
                  <a:ext uri="{FF2B5EF4-FFF2-40B4-BE49-F238E27FC236}">
                    <a16:creationId xmlns:a16="http://schemas.microsoft.com/office/drawing/2014/main" id="{300C1C0F-C8E3-1FA7-3DF0-4603A2ECDED1}"/>
                  </a:ext>
                </a:extLst>
              </p:cNvPr>
              <p:cNvSpPr/>
              <p:nvPr/>
            </p:nvSpPr>
            <p:spPr>
              <a:xfrm>
                <a:off x="10701601" y="5864818"/>
                <a:ext cx="147164" cy="4905"/>
              </a:xfrm>
              <a:custGeom>
                <a:avLst/>
                <a:gdLst>
                  <a:gd name="connsiteX0" fmla="*/ 0 w 147164"/>
                  <a:gd name="connsiteY0" fmla="*/ 0 h 4905"/>
                  <a:gd name="connsiteX1" fmla="*/ 147164 w 147164"/>
                  <a:gd name="connsiteY1" fmla="*/ 0 h 49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47164" h="4905">
                    <a:moveTo>
                      <a:pt x="0" y="0"/>
                    </a:moveTo>
                    <a:lnTo>
                      <a:pt x="147164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516" name="Forma livre: Forma 1515">
                <a:extLst>
                  <a:ext uri="{FF2B5EF4-FFF2-40B4-BE49-F238E27FC236}">
                    <a16:creationId xmlns:a16="http://schemas.microsoft.com/office/drawing/2014/main" id="{2AEC7B8A-7C73-A5C4-3D3F-3A1A778DB423}"/>
                  </a:ext>
                </a:extLst>
              </p:cNvPr>
              <p:cNvSpPr/>
              <p:nvPr/>
            </p:nvSpPr>
            <p:spPr>
              <a:xfrm>
                <a:off x="10701601" y="5936144"/>
                <a:ext cx="147164" cy="4905"/>
              </a:xfrm>
              <a:custGeom>
                <a:avLst/>
                <a:gdLst>
                  <a:gd name="connsiteX0" fmla="*/ 0 w 147164"/>
                  <a:gd name="connsiteY0" fmla="*/ 0 h 4905"/>
                  <a:gd name="connsiteX1" fmla="*/ 147164 w 147164"/>
                  <a:gd name="connsiteY1" fmla="*/ 0 h 49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47164" h="4905">
                    <a:moveTo>
                      <a:pt x="0" y="0"/>
                    </a:moveTo>
                    <a:lnTo>
                      <a:pt x="147164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517" name="Forma livre: Forma 1516">
                <a:extLst>
                  <a:ext uri="{FF2B5EF4-FFF2-40B4-BE49-F238E27FC236}">
                    <a16:creationId xmlns:a16="http://schemas.microsoft.com/office/drawing/2014/main" id="{D819D893-924B-FF9D-24B6-25DD71C34237}"/>
                  </a:ext>
                </a:extLst>
              </p:cNvPr>
              <p:cNvSpPr/>
              <p:nvPr/>
            </p:nvSpPr>
            <p:spPr>
              <a:xfrm>
                <a:off x="10701601" y="5971806"/>
                <a:ext cx="147164" cy="4905"/>
              </a:xfrm>
              <a:custGeom>
                <a:avLst/>
                <a:gdLst>
                  <a:gd name="connsiteX0" fmla="*/ 0 w 147164"/>
                  <a:gd name="connsiteY0" fmla="*/ 0 h 4905"/>
                  <a:gd name="connsiteX1" fmla="*/ 147164 w 147164"/>
                  <a:gd name="connsiteY1" fmla="*/ 0 h 49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47164" h="4905">
                    <a:moveTo>
                      <a:pt x="0" y="0"/>
                    </a:moveTo>
                    <a:lnTo>
                      <a:pt x="147164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518" name="Forma livre: Forma 1517">
                <a:extLst>
                  <a:ext uri="{FF2B5EF4-FFF2-40B4-BE49-F238E27FC236}">
                    <a16:creationId xmlns:a16="http://schemas.microsoft.com/office/drawing/2014/main" id="{B2C4E200-8E37-7CB8-353F-5616C055E57B}"/>
                  </a:ext>
                </a:extLst>
              </p:cNvPr>
              <p:cNvSpPr/>
              <p:nvPr/>
            </p:nvSpPr>
            <p:spPr>
              <a:xfrm>
                <a:off x="10701601" y="6007469"/>
                <a:ext cx="105467" cy="4905"/>
              </a:xfrm>
              <a:custGeom>
                <a:avLst/>
                <a:gdLst>
                  <a:gd name="connsiteX0" fmla="*/ 0 w 105467"/>
                  <a:gd name="connsiteY0" fmla="*/ 0 h 4905"/>
                  <a:gd name="connsiteX1" fmla="*/ 105468 w 105467"/>
                  <a:gd name="connsiteY1" fmla="*/ 0 h 49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05467" h="4905">
                    <a:moveTo>
                      <a:pt x="0" y="0"/>
                    </a:moveTo>
                    <a:lnTo>
                      <a:pt x="105468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519" name="Gráfico 15">
              <a:extLst>
                <a:ext uri="{FF2B5EF4-FFF2-40B4-BE49-F238E27FC236}">
                  <a16:creationId xmlns:a16="http://schemas.microsoft.com/office/drawing/2014/main" id="{DEC156E6-1F93-F9BE-0074-9FC0A80728E3}"/>
                </a:ext>
              </a:extLst>
            </p:cNvPr>
            <p:cNvGrpSpPr/>
            <p:nvPr/>
          </p:nvGrpSpPr>
          <p:grpSpPr>
            <a:xfrm>
              <a:off x="10663927" y="5814095"/>
              <a:ext cx="222512" cy="305071"/>
              <a:chOff x="10663927" y="5814095"/>
              <a:chExt cx="222512" cy="305071"/>
            </a:xfrm>
            <a:noFill/>
          </p:grpSpPr>
          <p:sp>
            <p:nvSpPr>
              <p:cNvPr id="1520" name="Forma livre: Forma 1519">
                <a:extLst>
                  <a:ext uri="{FF2B5EF4-FFF2-40B4-BE49-F238E27FC236}">
                    <a16:creationId xmlns:a16="http://schemas.microsoft.com/office/drawing/2014/main" id="{2AE47929-763C-58CE-1C99-E13C0544A07B}"/>
                  </a:ext>
                </a:extLst>
              </p:cNvPr>
              <p:cNvSpPr/>
              <p:nvPr/>
            </p:nvSpPr>
            <p:spPr>
              <a:xfrm>
                <a:off x="10663927" y="5814095"/>
                <a:ext cx="222512" cy="305071"/>
              </a:xfrm>
              <a:custGeom>
                <a:avLst/>
                <a:gdLst>
                  <a:gd name="connsiteX0" fmla="*/ 207796 w 222512"/>
                  <a:gd name="connsiteY0" fmla="*/ 0 h 305071"/>
                  <a:gd name="connsiteX1" fmla="*/ 222512 w 222512"/>
                  <a:gd name="connsiteY1" fmla="*/ 14716 h 305071"/>
                  <a:gd name="connsiteX2" fmla="*/ 222512 w 222512"/>
                  <a:gd name="connsiteY2" fmla="*/ 290355 h 305071"/>
                  <a:gd name="connsiteX3" fmla="*/ 207796 w 222512"/>
                  <a:gd name="connsiteY3" fmla="*/ 305071 h 305071"/>
                  <a:gd name="connsiteX4" fmla="*/ 14716 w 222512"/>
                  <a:gd name="connsiteY4" fmla="*/ 305071 h 305071"/>
                  <a:gd name="connsiteX5" fmla="*/ 0 w 222512"/>
                  <a:gd name="connsiteY5" fmla="*/ 290355 h 305071"/>
                  <a:gd name="connsiteX6" fmla="*/ 0 w 222512"/>
                  <a:gd name="connsiteY6" fmla="*/ 14716 h 305071"/>
                  <a:gd name="connsiteX7" fmla="*/ 14716 w 222512"/>
                  <a:gd name="connsiteY7" fmla="*/ 0 h 3050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22512" h="305071">
                    <a:moveTo>
                      <a:pt x="207796" y="0"/>
                    </a:moveTo>
                    <a:cubicBezTo>
                      <a:pt x="215923" y="0"/>
                      <a:pt x="222512" y="6589"/>
                      <a:pt x="222512" y="14716"/>
                    </a:cubicBezTo>
                    <a:lnTo>
                      <a:pt x="222512" y="290355"/>
                    </a:lnTo>
                    <a:cubicBezTo>
                      <a:pt x="222512" y="298482"/>
                      <a:pt x="215923" y="305071"/>
                      <a:pt x="207796" y="305071"/>
                    </a:cubicBezTo>
                    <a:lnTo>
                      <a:pt x="14716" y="305071"/>
                    </a:lnTo>
                    <a:cubicBezTo>
                      <a:pt x="6589" y="305071"/>
                      <a:pt x="0" y="298482"/>
                      <a:pt x="0" y="290355"/>
                    </a:cubicBezTo>
                    <a:lnTo>
                      <a:pt x="0" y="14716"/>
                    </a:lnTo>
                    <a:cubicBezTo>
                      <a:pt x="0" y="6589"/>
                      <a:pt x="6589" y="0"/>
                      <a:pt x="14716" y="0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521" name="Forma livre: Forma 1520">
                <a:extLst>
                  <a:ext uri="{FF2B5EF4-FFF2-40B4-BE49-F238E27FC236}">
                    <a16:creationId xmlns:a16="http://schemas.microsoft.com/office/drawing/2014/main" id="{4FB2CB7F-D31B-2510-CCEE-819F6F81E771}"/>
                  </a:ext>
                </a:extLst>
              </p:cNvPr>
              <p:cNvSpPr/>
              <p:nvPr/>
            </p:nvSpPr>
            <p:spPr>
              <a:xfrm>
                <a:off x="10665202" y="6055837"/>
                <a:ext cx="219912" cy="4905"/>
              </a:xfrm>
              <a:custGeom>
                <a:avLst/>
                <a:gdLst>
                  <a:gd name="connsiteX0" fmla="*/ 0 w 219912"/>
                  <a:gd name="connsiteY0" fmla="*/ 0 h 4905"/>
                  <a:gd name="connsiteX1" fmla="*/ 219912 w 219912"/>
                  <a:gd name="connsiteY1" fmla="*/ 0 h 49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19912" h="4905">
                    <a:moveTo>
                      <a:pt x="0" y="0"/>
                    </a:moveTo>
                    <a:lnTo>
                      <a:pt x="219912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522" name="Forma livre: Forma 1521">
                <a:extLst>
                  <a:ext uri="{FF2B5EF4-FFF2-40B4-BE49-F238E27FC236}">
                    <a16:creationId xmlns:a16="http://schemas.microsoft.com/office/drawing/2014/main" id="{97D1DB13-2D70-4F32-4EFB-42B440DB1DB9}"/>
                  </a:ext>
                </a:extLst>
              </p:cNvPr>
              <p:cNvSpPr/>
              <p:nvPr/>
            </p:nvSpPr>
            <p:spPr>
              <a:xfrm>
                <a:off x="10764293" y="6088164"/>
                <a:ext cx="21731" cy="4905"/>
              </a:xfrm>
              <a:custGeom>
                <a:avLst/>
                <a:gdLst>
                  <a:gd name="connsiteX0" fmla="*/ 0 w 21731"/>
                  <a:gd name="connsiteY0" fmla="*/ 0 h 4905"/>
                  <a:gd name="connsiteX1" fmla="*/ 21731 w 21731"/>
                  <a:gd name="connsiteY1" fmla="*/ 0 h 49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1731" h="4905">
                    <a:moveTo>
                      <a:pt x="0" y="0"/>
                    </a:moveTo>
                    <a:lnTo>
                      <a:pt x="21731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523" name="Gráfico 15">
            <a:extLst>
              <a:ext uri="{FF2B5EF4-FFF2-40B4-BE49-F238E27FC236}">
                <a16:creationId xmlns:a16="http://schemas.microsoft.com/office/drawing/2014/main" id="{237AEC5B-7A9A-0FB9-2CE1-3F533523633B}"/>
              </a:ext>
            </a:extLst>
          </p:cNvPr>
          <p:cNvGrpSpPr/>
          <p:nvPr/>
        </p:nvGrpSpPr>
        <p:grpSpPr>
          <a:xfrm>
            <a:off x="10646316" y="4721402"/>
            <a:ext cx="257684" cy="267740"/>
            <a:chOff x="10646316" y="4721402"/>
            <a:chExt cx="257684" cy="267740"/>
          </a:xfrm>
        </p:grpSpPr>
        <p:sp>
          <p:nvSpPr>
            <p:cNvPr id="1524" name="Forma livre: Forma 1523">
              <a:extLst>
                <a:ext uri="{FF2B5EF4-FFF2-40B4-BE49-F238E27FC236}">
                  <a16:creationId xmlns:a16="http://schemas.microsoft.com/office/drawing/2014/main" id="{C4412B01-A64D-3FD8-6E30-B512A4F35997}"/>
                </a:ext>
              </a:extLst>
            </p:cNvPr>
            <p:cNvSpPr/>
            <p:nvPr/>
          </p:nvSpPr>
          <p:spPr>
            <a:xfrm>
              <a:off x="10646316" y="4917621"/>
              <a:ext cx="4905" cy="71521"/>
            </a:xfrm>
            <a:custGeom>
              <a:avLst/>
              <a:gdLst>
                <a:gd name="connsiteX0" fmla="*/ 0 w 4905"/>
                <a:gd name="connsiteY0" fmla="*/ 71522 h 71521"/>
                <a:gd name="connsiteX1" fmla="*/ 0 w 4905"/>
                <a:gd name="connsiteY1" fmla="*/ 0 h 715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905" h="71521">
                  <a:moveTo>
                    <a:pt x="0" y="71522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25" name="Forma livre: Forma 1524">
              <a:extLst>
                <a:ext uri="{FF2B5EF4-FFF2-40B4-BE49-F238E27FC236}">
                  <a16:creationId xmlns:a16="http://schemas.microsoft.com/office/drawing/2014/main" id="{8C2DB784-6351-4CB9-FA9E-CC94A4E32C4A}"/>
                </a:ext>
              </a:extLst>
            </p:cNvPr>
            <p:cNvSpPr/>
            <p:nvPr/>
          </p:nvSpPr>
          <p:spPr>
            <a:xfrm>
              <a:off x="10683107" y="4851790"/>
              <a:ext cx="4905" cy="137353"/>
            </a:xfrm>
            <a:custGeom>
              <a:avLst/>
              <a:gdLst>
                <a:gd name="connsiteX0" fmla="*/ 0 w 4905"/>
                <a:gd name="connsiteY0" fmla="*/ 137353 h 137353"/>
                <a:gd name="connsiteX1" fmla="*/ 0 w 4905"/>
                <a:gd name="connsiteY1" fmla="*/ 0 h 1373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905" h="137353">
                  <a:moveTo>
                    <a:pt x="0" y="137353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26" name="Forma livre: Forma 1525">
              <a:extLst>
                <a:ext uri="{FF2B5EF4-FFF2-40B4-BE49-F238E27FC236}">
                  <a16:creationId xmlns:a16="http://schemas.microsoft.com/office/drawing/2014/main" id="{37631EFF-F8F5-FD33-11B2-E95D11D1897E}"/>
                </a:ext>
              </a:extLst>
            </p:cNvPr>
            <p:cNvSpPr/>
            <p:nvPr/>
          </p:nvSpPr>
          <p:spPr>
            <a:xfrm>
              <a:off x="10756738" y="4788460"/>
              <a:ext cx="4905" cy="200682"/>
            </a:xfrm>
            <a:custGeom>
              <a:avLst/>
              <a:gdLst>
                <a:gd name="connsiteX0" fmla="*/ 0 w 4905"/>
                <a:gd name="connsiteY0" fmla="*/ 200683 h 200682"/>
                <a:gd name="connsiteX1" fmla="*/ 0 w 4905"/>
                <a:gd name="connsiteY1" fmla="*/ 0 h 2006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905" h="200682">
                  <a:moveTo>
                    <a:pt x="0" y="200683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27" name="Forma livre: Forma 1526">
              <a:extLst>
                <a:ext uri="{FF2B5EF4-FFF2-40B4-BE49-F238E27FC236}">
                  <a16:creationId xmlns:a16="http://schemas.microsoft.com/office/drawing/2014/main" id="{E10791C2-6413-9BEE-5BAB-7A9B591E02DE}"/>
                </a:ext>
              </a:extLst>
            </p:cNvPr>
            <p:cNvSpPr/>
            <p:nvPr/>
          </p:nvSpPr>
          <p:spPr>
            <a:xfrm>
              <a:off x="10793579" y="4891475"/>
              <a:ext cx="4905" cy="97667"/>
            </a:xfrm>
            <a:custGeom>
              <a:avLst/>
              <a:gdLst>
                <a:gd name="connsiteX0" fmla="*/ 0 w 4905"/>
                <a:gd name="connsiteY0" fmla="*/ 97668 h 97667"/>
                <a:gd name="connsiteX1" fmla="*/ 0 w 4905"/>
                <a:gd name="connsiteY1" fmla="*/ 0 h 976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905" h="97667">
                  <a:moveTo>
                    <a:pt x="0" y="97668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28" name="Forma livre: Forma 1527">
              <a:extLst>
                <a:ext uri="{FF2B5EF4-FFF2-40B4-BE49-F238E27FC236}">
                  <a16:creationId xmlns:a16="http://schemas.microsoft.com/office/drawing/2014/main" id="{F0FC5E35-24D0-50F2-1E9B-50F6AB02D870}"/>
                </a:ext>
              </a:extLst>
            </p:cNvPr>
            <p:cNvSpPr/>
            <p:nvPr/>
          </p:nvSpPr>
          <p:spPr>
            <a:xfrm>
              <a:off x="10830370" y="4847326"/>
              <a:ext cx="4905" cy="141817"/>
            </a:xfrm>
            <a:custGeom>
              <a:avLst/>
              <a:gdLst>
                <a:gd name="connsiteX0" fmla="*/ 0 w 4905"/>
                <a:gd name="connsiteY0" fmla="*/ 141817 h 141817"/>
                <a:gd name="connsiteX1" fmla="*/ 0 w 4905"/>
                <a:gd name="connsiteY1" fmla="*/ 0 h 1418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905" h="141817">
                  <a:moveTo>
                    <a:pt x="0" y="141817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29" name="Forma livre: Forma 1528">
              <a:extLst>
                <a:ext uri="{FF2B5EF4-FFF2-40B4-BE49-F238E27FC236}">
                  <a16:creationId xmlns:a16="http://schemas.microsoft.com/office/drawing/2014/main" id="{ED12DC4E-98B6-4A95-FF9A-CAC24CC8F878}"/>
                </a:ext>
              </a:extLst>
            </p:cNvPr>
            <p:cNvSpPr/>
            <p:nvPr/>
          </p:nvSpPr>
          <p:spPr>
            <a:xfrm>
              <a:off x="10867210" y="4810535"/>
              <a:ext cx="4905" cy="178608"/>
            </a:xfrm>
            <a:custGeom>
              <a:avLst/>
              <a:gdLst>
                <a:gd name="connsiteX0" fmla="*/ 0 w 4905"/>
                <a:gd name="connsiteY0" fmla="*/ 178608 h 178608"/>
                <a:gd name="connsiteX1" fmla="*/ 0 w 4905"/>
                <a:gd name="connsiteY1" fmla="*/ 0 h 1786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905" h="178608">
                  <a:moveTo>
                    <a:pt x="0" y="178608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30" name="Forma livre: Forma 1529">
              <a:extLst>
                <a:ext uri="{FF2B5EF4-FFF2-40B4-BE49-F238E27FC236}">
                  <a16:creationId xmlns:a16="http://schemas.microsoft.com/office/drawing/2014/main" id="{7B5877C8-2037-9899-38A7-B54F5C67C827}"/>
                </a:ext>
              </a:extLst>
            </p:cNvPr>
            <p:cNvSpPr/>
            <p:nvPr/>
          </p:nvSpPr>
          <p:spPr>
            <a:xfrm>
              <a:off x="10904001" y="4887354"/>
              <a:ext cx="4905" cy="101788"/>
            </a:xfrm>
            <a:custGeom>
              <a:avLst/>
              <a:gdLst>
                <a:gd name="connsiteX0" fmla="*/ 0 w 4905"/>
                <a:gd name="connsiteY0" fmla="*/ 101789 h 101788"/>
                <a:gd name="connsiteX1" fmla="*/ 0 w 4905"/>
                <a:gd name="connsiteY1" fmla="*/ 0 h 1017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905" h="101788">
                  <a:moveTo>
                    <a:pt x="0" y="101789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31" name="Forma livre: Forma 1530">
              <a:extLst>
                <a:ext uri="{FF2B5EF4-FFF2-40B4-BE49-F238E27FC236}">
                  <a16:creationId xmlns:a16="http://schemas.microsoft.com/office/drawing/2014/main" id="{B8736477-ED25-6ED8-B819-DB3642AE841C}"/>
                </a:ext>
              </a:extLst>
            </p:cNvPr>
            <p:cNvSpPr/>
            <p:nvPr/>
          </p:nvSpPr>
          <p:spPr>
            <a:xfrm>
              <a:off x="10719947" y="4721402"/>
              <a:ext cx="4905" cy="267740"/>
            </a:xfrm>
            <a:custGeom>
              <a:avLst/>
              <a:gdLst>
                <a:gd name="connsiteX0" fmla="*/ 0 w 4905"/>
                <a:gd name="connsiteY0" fmla="*/ 267741 h 267740"/>
                <a:gd name="connsiteX1" fmla="*/ 0 w 4905"/>
                <a:gd name="connsiteY1" fmla="*/ 0 h 2677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905" h="267740">
                  <a:moveTo>
                    <a:pt x="0" y="267741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543" name="Gráfico 15">
            <a:extLst>
              <a:ext uri="{FF2B5EF4-FFF2-40B4-BE49-F238E27FC236}">
                <a16:creationId xmlns:a16="http://schemas.microsoft.com/office/drawing/2014/main" id="{4687CDDA-FA7B-4DBA-4BCE-970BABD03A1D}"/>
              </a:ext>
            </a:extLst>
          </p:cNvPr>
          <p:cNvGrpSpPr/>
          <p:nvPr/>
        </p:nvGrpSpPr>
        <p:grpSpPr>
          <a:xfrm>
            <a:off x="10001737" y="4185578"/>
            <a:ext cx="267446" cy="256408"/>
            <a:chOff x="10001737" y="4185578"/>
            <a:chExt cx="267446" cy="256408"/>
          </a:xfrm>
          <a:noFill/>
        </p:grpSpPr>
        <p:sp>
          <p:nvSpPr>
            <p:cNvPr id="1544" name="Forma livre: Forma 1543">
              <a:extLst>
                <a:ext uri="{FF2B5EF4-FFF2-40B4-BE49-F238E27FC236}">
                  <a16:creationId xmlns:a16="http://schemas.microsoft.com/office/drawing/2014/main" id="{DEC625E5-B852-3ACA-FB3D-9A7704C0F91F}"/>
                </a:ext>
              </a:extLst>
            </p:cNvPr>
            <p:cNvSpPr/>
            <p:nvPr/>
          </p:nvSpPr>
          <p:spPr>
            <a:xfrm>
              <a:off x="10078704" y="4185578"/>
              <a:ext cx="90505" cy="256408"/>
            </a:xfrm>
            <a:custGeom>
              <a:avLst/>
              <a:gdLst>
                <a:gd name="connsiteX0" fmla="*/ 0 w 90505"/>
                <a:gd name="connsiteY0" fmla="*/ 83246 h 256408"/>
                <a:gd name="connsiteX1" fmla="*/ 90506 w 90505"/>
                <a:gd name="connsiteY1" fmla="*/ 0 h 256408"/>
                <a:gd name="connsiteX2" fmla="*/ 90506 w 90505"/>
                <a:gd name="connsiteY2" fmla="*/ 256409 h 256408"/>
                <a:gd name="connsiteX3" fmla="*/ 0 w 90505"/>
                <a:gd name="connsiteY3" fmla="*/ 173163 h 256408"/>
                <a:gd name="connsiteX4" fmla="*/ 0 w 90505"/>
                <a:gd name="connsiteY4" fmla="*/ 83246 h 2564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0505" h="256408">
                  <a:moveTo>
                    <a:pt x="0" y="83246"/>
                  </a:moveTo>
                  <a:lnTo>
                    <a:pt x="90506" y="0"/>
                  </a:lnTo>
                  <a:lnTo>
                    <a:pt x="90506" y="256409"/>
                  </a:lnTo>
                  <a:lnTo>
                    <a:pt x="0" y="173163"/>
                  </a:lnTo>
                  <a:lnTo>
                    <a:pt x="0" y="83246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45" name="Forma livre: Forma 1544">
              <a:extLst>
                <a:ext uri="{FF2B5EF4-FFF2-40B4-BE49-F238E27FC236}">
                  <a16:creationId xmlns:a16="http://schemas.microsoft.com/office/drawing/2014/main" id="{71573984-70B4-84EE-C4B8-A2756F3EDC98}"/>
                </a:ext>
              </a:extLst>
            </p:cNvPr>
            <p:cNvSpPr/>
            <p:nvPr/>
          </p:nvSpPr>
          <p:spPr>
            <a:xfrm>
              <a:off x="10001737" y="4276721"/>
              <a:ext cx="50477" cy="74170"/>
            </a:xfrm>
            <a:custGeom>
              <a:avLst/>
              <a:gdLst>
                <a:gd name="connsiteX0" fmla="*/ 50477 w 50477"/>
                <a:gd name="connsiteY0" fmla="*/ 74171 h 74170"/>
                <a:gd name="connsiteX1" fmla="*/ 11430 w 50477"/>
                <a:gd name="connsiteY1" fmla="*/ 74171 h 74170"/>
                <a:gd name="connsiteX2" fmla="*/ 0 w 50477"/>
                <a:gd name="connsiteY2" fmla="*/ 62741 h 74170"/>
                <a:gd name="connsiteX3" fmla="*/ 0 w 50477"/>
                <a:gd name="connsiteY3" fmla="*/ 11430 h 74170"/>
                <a:gd name="connsiteX4" fmla="*/ 11430 w 50477"/>
                <a:gd name="connsiteY4" fmla="*/ 0 h 74170"/>
                <a:gd name="connsiteX5" fmla="*/ 50477 w 50477"/>
                <a:gd name="connsiteY5" fmla="*/ 0 h 741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0477" h="74170">
                  <a:moveTo>
                    <a:pt x="50477" y="74171"/>
                  </a:moveTo>
                  <a:lnTo>
                    <a:pt x="11430" y="74171"/>
                  </a:lnTo>
                  <a:cubicBezTo>
                    <a:pt x="5151" y="74171"/>
                    <a:pt x="0" y="69020"/>
                    <a:pt x="0" y="62741"/>
                  </a:cubicBezTo>
                  <a:lnTo>
                    <a:pt x="0" y="11430"/>
                  </a:lnTo>
                  <a:cubicBezTo>
                    <a:pt x="0" y="5151"/>
                    <a:pt x="5151" y="0"/>
                    <a:pt x="11430" y="0"/>
                  </a:cubicBezTo>
                  <a:lnTo>
                    <a:pt x="50477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46" name="Forma livre: Forma 1545">
              <a:extLst>
                <a:ext uri="{FF2B5EF4-FFF2-40B4-BE49-F238E27FC236}">
                  <a16:creationId xmlns:a16="http://schemas.microsoft.com/office/drawing/2014/main" id="{EB1B6747-596B-AC0D-134D-BC30689D2835}"/>
                </a:ext>
              </a:extLst>
            </p:cNvPr>
            <p:cNvSpPr/>
            <p:nvPr/>
          </p:nvSpPr>
          <p:spPr>
            <a:xfrm>
              <a:off x="10239800" y="4233651"/>
              <a:ext cx="29383" cy="160310"/>
            </a:xfrm>
            <a:custGeom>
              <a:avLst/>
              <a:gdLst>
                <a:gd name="connsiteX0" fmla="*/ 0 w 29383"/>
                <a:gd name="connsiteY0" fmla="*/ 0 h 160310"/>
                <a:gd name="connsiteX1" fmla="*/ 29384 w 29383"/>
                <a:gd name="connsiteY1" fmla="*/ 80597 h 160310"/>
                <a:gd name="connsiteX2" fmla="*/ 785 w 29383"/>
                <a:gd name="connsiteY2" fmla="*/ 160311 h 1603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9383" h="160310">
                  <a:moveTo>
                    <a:pt x="0" y="0"/>
                  </a:moveTo>
                  <a:cubicBezTo>
                    <a:pt x="18346" y="21780"/>
                    <a:pt x="29384" y="49889"/>
                    <a:pt x="29384" y="80597"/>
                  </a:cubicBezTo>
                  <a:cubicBezTo>
                    <a:pt x="29384" y="111305"/>
                    <a:pt x="18641" y="138629"/>
                    <a:pt x="785" y="160311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47" name="Forma livre: Forma 1546">
              <a:extLst>
                <a:ext uri="{FF2B5EF4-FFF2-40B4-BE49-F238E27FC236}">
                  <a16:creationId xmlns:a16="http://schemas.microsoft.com/office/drawing/2014/main" id="{634F41D1-E30E-922E-0784-A0A9FA89EA7B}"/>
                </a:ext>
              </a:extLst>
            </p:cNvPr>
            <p:cNvSpPr/>
            <p:nvPr/>
          </p:nvSpPr>
          <p:spPr>
            <a:xfrm>
              <a:off x="10213458" y="4260926"/>
              <a:ext cx="17855" cy="105761"/>
            </a:xfrm>
            <a:custGeom>
              <a:avLst/>
              <a:gdLst>
                <a:gd name="connsiteX0" fmla="*/ 0 w 17855"/>
                <a:gd name="connsiteY0" fmla="*/ 0 h 105761"/>
                <a:gd name="connsiteX1" fmla="*/ 17856 w 17855"/>
                <a:gd name="connsiteY1" fmla="*/ 52979 h 105761"/>
                <a:gd name="connsiteX2" fmla="*/ 147 w 17855"/>
                <a:gd name="connsiteY2" fmla="*/ 105762 h 1057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7855" h="105761">
                  <a:moveTo>
                    <a:pt x="0" y="0"/>
                  </a:moveTo>
                  <a:cubicBezTo>
                    <a:pt x="11184" y="14716"/>
                    <a:pt x="17856" y="33063"/>
                    <a:pt x="17856" y="52979"/>
                  </a:cubicBezTo>
                  <a:cubicBezTo>
                    <a:pt x="17856" y="72895"/>
                    <a:pt x="11283" y="91095"/>
                    <a:pt x="147" y="105762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563" name="Gráfico 15">
            <a:extLst>
              <a:ext uri="{FF2B5EF4-FFF2-40B4-BE49-F238E27FC236}">
                <a16:creationId xmlns:a16="http://schemas.microsoft.com/office/drawing/2014/main" id="{A5B2593E-0FF8-555B-AA7D-E3F06EBFD905}"/>
              </a:ext>
            </a:extLst>
          </p:cNvPr>
          <p:cNvGrpSpPr/>
          <p:nvPr/>
        </p:nvGrpSpPr>
        <p:grpSpPr>
          <a:xfrm>
            <a:off x="9964946" y="4759910"/>
            <a:ext cx="340979" cy="193520"/>
            <a:chOff x="9964946" y="4759910"/>
            <a:chExt cx="340979" cy="193520"/>
          </a:xfrm>
          <a:noFill/>
        </p:grpSpPr>
        <p:sp>
          <p:nvSpPr>
            <p:cNvPr id="1564" name="Forma livre: Forma 1563">
              <a:extLst>
                <a:ext uri="{FF2B5EF4-FFF2-40B4-BE49-F238E27FC236}">
                  <a16:creationId xmlns:a16="http://schemas.microsoft.com/office/drawing/2014/main" id="{A09977FE-165F-C1D6-4DF0-036F91FCABE4}"/>
                </a:ext>
              </a:extLst>
            </p:cNvPr>
            <p:cNvSpPr/>
            <p:nvPr/>
          </p:nvSpPr>
          <p:spPr>
            <a:xfrm>
              <a:off x="9964946" y="4832020"/>
              <a:ext cx="340979" cy="121410"/>
            </a:xfrm>
            <a:custGeom>
              <a:avLst/>
              <a:gdLst>
                <a:gd name="connsiteX0" fmla="*/ 0 w 340979"/>
                <a:gd name="connsiteY0" fmla="*/ 0 h 121410"/>
                <a:gd name="connsiteX1" fmla="*/ 340979 w 340979"/>
                <a:gd name="connsiteY1" fmla="*/ 0 h 121410"/>
                <a:gd name="connsiteX2" fmla="*/ 340979 w 340979"/>
                <a:gd name="connsiteY2" fmla="*/ 121410 h 121410"/>
                <a:gd name="connsiteX3" fmla="*/ 205539 w 340979"/>
                <a:gd name="connsiteY3" fmla="*/ 121410 h 121410"/>
                <a:gd name="connsiteX4" fmla="*/ 177235 w 340979"/>
                <a:gd name="connsiteY4" fmla="*/ 80401 h 121410"/>
                <a:gd name="connsiteX5" fmla="*/ 165413 w 340979"/>
                <a:gd name="connsiteY5" fmla="*/ 80401 h 121410"/>
                <a:gd name="connsiteX6" fmla="*/ 136029 w 340979"/>
                <a:gd name="connsiteY6" fmla="*/ 121410 h 121410"/>
                <a:gd name="connsiteX7" fmla="*/ 0 w 340979"/>
                <a:gd name="connsiteY7" fmla="*/ 121410 h 121410"/>
                <a:gd name="connsiteX8" fmla="*/ 0 w 340979"/>
                <a:gd name="connsiteY8" fmla="*/ 0 h 1214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40979" h="121410">
                  <a:moveTo>
                    <a:pt x="0" y="0"/>
                  </a:moveTo>
                  <a:lnTo>
                    <a:pt x="340979" y="0"/>
                  </a:lnTo>
                  <a:lnTo>
                    <a:pt x="340979" y="121410"/>
                  </a:lnTo>
                  <a:lnTo>
                    <a:pt x="205539" y="121410"/>
                  </a:lnTo>
                  <a:lnTo>
                    <a:pt x="177235" y="80401"/>
                  </a:lnTo>
                  <a:lnTo>
                    <a:pt x="165413" y="80401"/>
                  </a:lnTo>
                  <a:lnTo>
                    <a:pt x="136029" y="121410"/>
                  </a:lnTo>
                  <a:lnTo>
                    <a:pt x="0" y="12141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565" name="Gráfico 15">
              <a:extLst>
                <a:ext uri="{FF2B5EF4-FFF2-40B4-BE49-F238E27FC236}">
                  <a16:creationId xmlns:a16="http://schemas.microsoft.com/office/drawing/2014/main" id="{6EDAC38D-EA91-0B7A-AE14-B693520D114B}"/>
                </a:ext>
              </a:extLst>
            </p:cNvPr>
            <p:cNvGrpSpPr/>
            <p:nvPr/>
          </p:nvGrpSpPr>
          <p:grpSpPr>
            <a:xfrm>
              <a:off x="9980546" y="4759910"/>
              <a:ext cx="309780" cy="47386"/>
              <a:chOff x="9980546" y="4759910"/>
              <a:chExt cx="309780" cy="47386"/>
            </a:xfrm>
            <a:noFill/>
          </p:grpSpPr>
          <p:sp>
            <p:nvSpPr>
              <p:cNvPr id="1566" name="Forma livre: Forma 1565">
                <a:extLst>
                  <a:ext uri="{FF2B5EF4-FFF2-40B4-BE49-F238E27FC236}">
                    <a16:creationId xmlns:a16="http://schemas.microsoft.com/office/drawing/2014/main" id="{F959F85F-964F-049D-A6F3-9A1B8EDFFEEB}"/>
                  </a:ext>
                </a:extLst>
              </p:cNvPr>
              <p:cNvSpPr/>
              <p:nvPr/>
            </p:nvSpPr>
            <p:spPr>
              <a:xfrm>
                <a:off x="9980546" y="4759910"/>
                <a:ext cx="93939" cy="47386"/>
              </a:xfrm>
              <a:custGeom>
                <a:avLst/>
                <a:gdLst>
                  <a:gd name="connsiteX0" fmla="*/ 0 w 93939"/>
                  <a:gd name="connsiteY0" fmla="*/ 47387 h 47386"/>
                  <a:gd name="connsiteX1" fmla="*/ 93940 w 93939"/>
                  <a:gd name="connsiteY1" fmla="*/ 0 h 47386"/>
                  <a:gd name="connsiteX2" fmla="*/ 93940 w 93939"/>
                  <a:gd name="connsiteY2" fmla="*/ 46553 h 473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93939" h="47386">
                    <a:moveTo>
                      <a:pt x="0" y="47387"/>
                    </a:moveTo>
                    <a:lnTo>
                      <a:pt x="93940" y="0"/>
                    </a:lnTo>
                    <a:lnTo>
                      <a:pt x="93940" y="46553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567" name="Forma livre: Forma 1566">
                <a:extLst>
                  <a:ext uri="{FF2B5EF4-FFF2-40B4-BE49-F238E27FC236}">
                    <a16:creationId xmlns:a16="http://schemas.microsoft.com/office/drawing/2014/main" id="{EF953992-9EDE-E469-B98D-9B2077A72C5F}"/>
                  </a:ext>
                </a:extLst>
              </p:cNvPr>
              <p:cNvSpPr/>
              <p:nvPr/>
            </p:nvSpPr>
            <p:spPr>
              <a:xfrm>
                <a:off x="10196386" y="4759910"/>
                <a:ext cx="93939" cy="47386"/>
              </a:xfrm>
              <a:custGeom>
                <a:avLst/>
                <a:gdLst>
                  <a:gd name="connsiteX0" fmla="*/ 93940 w 93939"/>
                  <a:gd name="connsiteY0" fmla="*/ 47387 h 47386"/>
                  <a:gd name="connsiteX1" fmla="*/ 0 w 93939"/>
                  <a:gd name="connsiteY1" fmla="*/ 0 h 47386"/>
                  <a:gd name="connsiteX2" fmla="*/ 0 w 93939"/>
                  <a:gd name="connsiteY2" fmla="*/ 46553 h 473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93939" h="47386">
                    <a:moveTo>
                      <a:pt x="93940" y="47387"/>
                    </a:moveTo>
                    <a:lnTo>
                      <a:pt x="0" y="0"/>
                    </a:lnTo>
                    <a:lnTo>
                      <a:pt x="0" y="46553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568" name="Gráfico 15">
              <a:extLst>
                <a:ext uri="{FF2B5EF4-FFF2-40B4-BE49-F238E27FC236}">
                  <a16:creationId xmlns:a16="http://schemas.microsoft.com/office/drawing/2014/main" id="{FBAEDAD9-1506-66B5-B4A7-52C6093151A3}"/>
                </a:ext>
              </a:extLst>
            </p:cNvPr>
            <p:cNvGrpSpPr/>
            <p:nvPr/>
          </p:nvGrpSpPr>
          <p:grpSpPr>
            <a:xfrm>
              <a:off x="10000707" y="4866751"/>
              <a:ext cx="269457" cy="51703"/>
              <a:chOff x="10000707" y="4866751"/>
              <a:chExt cx="269457" cy="51703"/>
            </a:xfrm>
            <a:noFill/>
          </p:grpSpPr>
          <p:sp>
            <p:nvSpPr>
              <p:cNvPr id="1569" name="Forma livre: Forma 1568">
                <a:extLst>
                  <a:ext uri="{FF2B5EF4-FFF2-40B4-BE49-F238E27FC236}">
                    <a16:creationId xmlns:a16="http://schemas.microsoft.com/office/drawing/2014/main" id="{5E877C38-F85C-5D19-6D62-381ADA826032}"/>
                  </a:ext>
                </a:extLst>
              </p:cNvPr>
              <p:cNvSpPr/>
              <p:nvPr/>
            </p:nvSpPr>
            <p:spPr>
              <a:xfrm>
                <a:off x="10000707" y="4866751"/>
                <a:ext cx="79321" cy="51703"/>
              </a:xfrm>
              <a:custGeom>
                <a:avLst/>
                <a:gdLst>
                  <a:gd name="connsiteX0" fmla="*/ 0 w 79321"/>
                  <a:gd name="connsiteY0" fmla="*/ 0 h 51703"/>
                  <a:gd name="connsiteX1" fmla="*/ 79321 w 79321"/>
                  <a:gd name="connsiteY1" fmla="*/ 0 h 51703"/>
                  <a:gd name="connsiteX2" fmla="*/ 79321 w 79321"/>
                  <a:gd name="connsiteY2" fmla="*/ 51704 h 51703"/>
                  <a:gd name="connsiteX3" fmla="*/ 0 w 79321"/>
                  <a:gd name="connsiteY3" fmla="*/ 51704 h 517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9321" h="51703">
                    <a:moveTo>
                      <a:pt x="0" y="0"/>
                    </a:moveTo>
                    <a:lnTo>
                      <a:pt x="79321" y="0"/>
                    </a:lnTo>
                    <a:lnTo>
                      <a:pt x="79321" y="51704"/>
                    </a:lnTo>
                    <a:lnTo>
                      <a:pt x="0" y="51704"/>
                    </a:ln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570" name="Forma livre: Forma 1569">
                <a:extLst>
                  <a:ext uri="{FF2B5EF4-FFF2-40B4-BE49-F238E27FC236}">
                    <a16:creationId xmlns:a16="http://schemas.microsoft.com/office/drawing/2014/main" id="{199F1E22-3701-AEBE-0E53-85A469C17A79}"/>
                  </a:ext>
                </a:extLst>
              </p:cNvPr>
              <p:cNvSpPr/>
              <p:nvPr/>
            </p:nvSpPr>
            <p:spPr>
              <a:xfrm>
                <a:off x="10190843" y="4866751"/>
                <a:ext cx="79321" cy="51703"/>
              </a:xfrm>
              <a:custGeom>
                <a:avLst/>
                <a:gdLst>
                  <a:gd name="connsiteX0" fmla="*/ 0 w 79321"/>
                  <a:gd name="connsiteY0" fmla="*/ 0 h 51703"/>
                  <a:gd name="connsiteX1" fmla="*/ 79321 w 79321"/>
                  <a:gd name="connsiteY1" fmla="*/ 0 h 51703"/>
                  <a:gd name="connsiteX2" fmla="*/ 79321 w 79321"/>
                  <a:gd name="connsiteY2" fmla="*/ 51704 h 51703"/>
                  <a:gd name="connsiteX3" fmla="*/ 0 w 79321"/>
                  <a:gd name="connsiteY3" fmla="*/ 51704 h 517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9321" h="51703">
                    <a:moveTo>
                      <a:pt x="0" y="0"/>
                    </a:moveTo>
                    <a:lnTo>
                      <a:pt x="79321" y="0"/>
                    </a:lnTo>
                    <a:lnTo>
                      <a:pt x="79321" y="51704"/>
                    </a:lnTo>
                    <a:lnTo>
                      <a:pt x="0" y="51704"/>
                    </a:ln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572" name="Gráfico 17">
            <a:extLst>
              <a:ext uri="{FF2B5EF4-FFF2-40B4-BE49-F238E27FC236}">
                <a16:creationId xmlns:a16="http://schemas.microsoft.com/office/drawing/2014/main" id="{6714832E-6D7C-A4D7-ECC3-9DA7AD94E19C}"/>
              </a:ext>
            </a:extLst>
          </p:cNvPr>
          <p:cNvGrpSpPr/>
          <p:nvPr/>
        </p:nvGrpSpPr>
        <p:grpSpPr>
          <a:xfrm>
            <a:off x="2020226" y="5318187"/>
            <a:ext cx="365230" cy="210346"/>
            <a:chOff x="2020226" y="5318187"/>
            <a:chExt cx="365230" cy="210346"/>
          </a:xfrm>
          <a:noFill/>
        </p:grpSpPr>
        <p:sp>
          <p:nvSpPr>
            <p:cNvPr id="1573" name="Forma livre: Forma 1572">
              <a:extLst>
                <a:ext uri="{FF2B5EF4-FFF2-40B4-BE49-F238E27FC236}">
                  <a16:creationId xmlns:a16="http://schemas.microsoft.com/office/drawing/2014/main" id="{359ACEDE-6B56-8C10-232C-0DA1AC3704EB}"/>
                </a:ext>
              </a:extLst>
            </p:cNvPr>
            <p:cNvSpPr/>
            <p:nvPr/>
          </p:nvSpPr>
          <p:spPr>
            <a:xfrm>
              <a:off x="2020226" y="5318187"/>
              <a:ext cx="311432" cy="210346"/>
            </a:xfrm>
            <a:custGeom>
              <a:avLst/>
              <a:gdLst>
                <a:gd name="connsiteX0" fmla="*/ 311432 w 311432"/>
                <a:gd name="connsiteY0" fmla="*/ 82044 h 210346"/>
                <a:gd name="connsiteX1" fmla="*/ 311432 w 311432"/>
                <a:gd name="connsiteY1" fmla="*/ 190766 h 210346"/>
                <a:gd name="connsiteX2" fmla="*/ 291852 w 311432"/>
                <a:gd name="connsiteY2" fmla="*/ 210347 h 210346"/>
                <a:gd name="connsiteX3" fmla="*/ 19581 w 311432"/>
                <a:gd name="connsiteY3" fmla="*/ 210347 h 210346"/>
                <a:gd name="connsiteX4" fmla="*/ 0 w 311432"/>
                <a:gd name="connsiteY4" fmla="*/ 190766 h 210346"/>
                <a:gd name="connsiteX5" fmla="*/ 0 w 311432"/>
                <a:gd name="connsiteY5" fmla="*/ 19581 h 210346"/>
                <a:gd name="connsiteX6" fmla="*/ 19581 w 311432"/>
                <a:gd name="connsiteY6" fmla="*/ 0 h 210346"/>
                <a:gd name="connsiteX7" fmla="*/ 291852 w 311432"/>
                <a:gd name="connsiteY7" fmla="*/ 0 h 210346"/>
                <a:gd name="connsiteX8" fmla="*/ 311432 w 311432"/>
                <a:gd name="connsiteY8" fmla="*/ 19581 h 210346"/>
                <a:gd name="connsiteX9" fmla="*/ 311432 w 311432"/>
                <a:gd name="connsiteY9" fmla="*/ 57127 h 2103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11432" h="210346">
                  <a:moveTo>
                    <a:pt x="311432" y="82044"/>
                  </a:moveTo>
                  <a:lnTo>
                    <a:pt x="311432" y="190766"/>
                  </a:lnTo>
                  <a:cubicBezTo>
                    <a:pt x="311432" y="201535"/>
                    <a:pt x="302621" y="210347"/>
                    <a:pt x="291852" y="210347"/>
                  </a:cubicBezTo>
                  <a:lnTo>
                    <a:pt x="19581" y="210347"/>
                  </a:lnTo>
                  <a:cubicBezTo>
                    <a:pt x="8811" y="210347"/>
                    <a:pt x="0" y="201535"/>
                    <a:pt x="0" y="190766"/>
                  </a:cubicBezTo>
                  <a:lnTo>
                    <a:pt x="0" y="19581"/>
                  </a:lnTo>
                  <a:cubicBezTo>
                    <a:pt x="0" y="8811"/>
                    <a:pt x="8811" y="0"/>
                    <a:pt x="19581" y="0"/>
                  </a:cubicBezTo>
                  <a:lnTo>
                    <a:pt x="291852" y="0"/>
                  </a:lnTo>
                  <a:cubicBezTo>
                    <a:pt x="302621" y="0"/>
                    <a:pt x="311432" y="8811"/>
                    <a:pt x="311432" y="19581"/>
                  </a:cubicBezTo>
                  <a:lnTo>
                    <a:pt x="311432" y="57127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74" name="Forma livre: Forma 1573">
              <a:extLst>
                <a:ext uri="{FF2B5EF4-FFF2-40B4-BE49-F238E27FC236}">
                  <a16:creationId xmlns:a16="http://schemas.microsoft.com/office/drawing/2014/main" id="{CD2BC49D-2885-FC0C-08A7-20D32B4B480A}"/>
                </a:ext>
              </a:extLst>
            </p:cNvPr>
            <p:cNvSpPr/>
            <p:nvPr/>
          </p:nvSpPr>
          <p:spPr>
            <a:xfrm>
              <a:off x="2122536" y="5361265"/>
              <a:ext cx="172702" cy="126002"/>
            </a:xfrm>
            <a:custGeom>
              <a:avLst/>
              <a:gdLst>
                <a:gd name="connsiteX0" fmla="*/ 172703 w 172702"/>
                <a:gd name="connsiteY0" fmla="*/ 53798 h 126002"/>
                <a:gd name="connsiteX1" fmla="*/ 172703 w 172702"/>
                <a:gd name="connsiteY1" fmla="*/ 126002 h 126002"/>
                <a:gd name="connsiteX2" fmla="*/ 0 w 172702"/>
                <a:gd name="connsiteY2" fmla="*/ 126002 h 126002"/>
                <a:gd name="connsiteX3" fmla="*/ 0 w 172702"/>
                <a:gd name="connsiteY3" fmla="*/ 0 h 126002"/>
                <a:gd name="connsiteX4" fmla="*/ 172703 w 172702"/>
                <a:gd name="connsiteY4" fmla="*/ 0 h 126002"/>
                <a:gd name="connsiteX5" fmla="*/ 172703 w 172702"/>
                <a:gd name="connsiteY5" fmla="*/ 29861 h 1260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72702" h="126002">
                  <a:moveTo>
                    <a:pt x="172703" y="53798"/>
                  </a:moveTo>
                  <a:lnTo>
                    <a:pt x="172703" y="126002"/>
                  </a:lnTo>
                  <a:lnTo>
                    <a:pt x="0" y="126002"/>
                  </a:lnTo>
                  <a:lnTo>
                    <a:pt x="0" y="0"/>
                  </a:lnTo>
                  <a:lnTo>
                    <a:pt x="172703" y="0"/>
                  </a:lnTo>
                  <a:lnTo>
                    <a:pt x="172703" y="29861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75" name="Forma livre: Forma 1574">
              <a:extLst>
                <a:ext uri="{FF2B5EF4-FFF2-40B4-BE49-F238E27FC236}">
                  <a16:creationId xmlns:a16="http://schemas.microsoft.com/office/drawing/2014/main" id="{C624A842-D6AF-6D05-8A5D-2325CC51AD52}"/>
                </a:ext>
              </a:extLst>
            </p:cNvPr>
            <p:cNvSpPr/>
            <p:nvPr/>
          </p:nvSpPr>
          <p:spPr>
            <a:xfrm>
              <a:off x="2053709" y="5360286"/>
              <a:ext cx="34217" cy="76658"/>
            </a:xfrm>
            <a:custGeom>
              <a:avLst/>
              <a:gdLst>
                <a:gd name="connsiteX0" fmla="*/ 0 w 34217"/>
                <a:gd name="connsiteY0" fmla="*/ 0 h 76658"/>
                <a:gd name="connsiteX1" fmla="*/ 34217 w 34217"/>
                <a:gd name="connsiteY1" fmla="*/ 0 h 76658"/>
                <a:gd name="connsiteX2" fmla="*/ 34217 w 34217"/>
                <a:gd name="connsiteY2" fmla="*/ 76659 h 76658"/>
                <a:gd name="connsiteX3" fmla="*/ 0 w 34217"/>
                <a:gd name="connsiteY3" fmla="*/ 76659 h 766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4217" h="76658">
                  <a:moveTo>
                    <a:pt x="0" y="0"/>
                  </a:moveTo>
                  <a:lnTo>
                    <a:pt x="34217" y="0"/>
                  </a:lnTo>
                  <a:lnTo>
                    <a:pt x="34217" y="76659"/>
                  </a:lnTo>
                  <a:lnTo>
                    <a:pt x="0" y="76659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76" name="Forma livre: Forma 1575">
              <a:extLst>
                <a:ext uri="{FF2B5EF4-FFF2-40B4-BE49-F238E27FC236}">
                  <a16:creationId xmlns:a16="http://schemas.microsoft.com/office/drawing/2014/main" id="{8590D2F9-5D37-1F11-340A-0901B95A2BC2}"/>
                </a:ext>
              </a:extLst>
            </p:cNvPr>
            <p:cNvSpPr/>
            <p:nvPr/>
          </p:nvSpPr>
          <p:spPr>
            <a:xfrm>
              <a:off x="2053709" y="5399203"/>
              <a:ext cx="34217" cy="4895"/>
            </a:xfrm>
            <a:custGeom>
              <a:avLst/>
              <a:gdLst>
                <a:gd name="connsiteX0" fmla="*/ 34217 w 34217"/>
                <a:gd name="connsiteY0" fmla="*/ 0 h 4895"/>
                <a:gd name="connsiteX1" fmla="*/ 0 w 34217"/>
                <a:gd name="connsiteY1" fmla="*/ 0 h 48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4217" h="4895">
                  <a:moveTo>
                    <a:pt x="34217" y="0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77" name="Forma livre: Forma 1576">
              <a:extLst>
                <a:ext uri="{FF2B5EF4-FFF2-40B4-BE49-F238E27FC236}">
                  <a16:creationId xmlns:a16="http://schemas.microsoft.com/office/drawing/2014/main" id="{61E2F2D9-9D01-6060-A972-03B7E28554DB}"/>
                </a:ext>
              </a:extLst>
            </p:cNvPr>
            <p:cNvSpPr/>
            <p:nvPr/>
          </p:nvSpPr>
          <p:spPr>
            <a:xfrm>
              <a:off x="2242321" y="5376636"/>
              <a:ext cx="143135" cy="61287"/>
            </a:xfrm>
            <a:custGeom>
              <a:avLst/>
              <a:gdLst>
                <a:gd name="connsiteX0" fmla="*/ 0 w 143135"/>
                <a:gd name="connsiteY0" fmla="*/ 61288 h 61287"/>
                <a:gd name="connsiteX1" fmla="*/ 143136 w 143135"/>
                <a:gd name="connsiteY1" fmla="*/ 0 h 612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43135" h="61287">
                  <a:moveTo>
                    <a:pt x="0" y="61288"/>
                  </a:moveTo>
                  <a:lnTo>
                    <a:pt x="143136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78" name="Forma livre: Forma 1577">
              <a:extLst>
                <a:ext uri="{FF2B5EF4-FFF2-40B4-BE49-F238E27FC236}">
                  <a16:creationId xmlns:a16="http://schemas.microsoft.com/office/drawing/2014/main" id="{B943E95A-33DE-9235-B9F3-D62BDFB896D6}"/>
                </a:ext>
              </a:extLst>
            </p:cNvPr>
            <p:cNvSpPr/>
            <p:nvPr/>
          </p:nvSpPr>
          <p:spPr>
            <a:xfrm>
              <a:off x="2172124" y="5392154"/>
              <a:ext cx="45231" cy="48119"/>
            </a:xfrm>
            <a:custGeom>
              <a:avLst/>
              <a:gdLst>
                <a:gd name="connsiteX0" fmla="*/ 0 w 45231"/>
                <a:gd name="connsiteY0" fmla="*/ 0 h 48119"/>
                <a:gd name="connsiteX1" fmla="*/ 9252 w 45231"/>
                <a:gd name="connsiteY1" fmla="*/ 36910 h 48119"/>
                <a:gd name="connsiteX2" fmla="*/ 45232 w 45231"/>
                <a:gd name="connsiteY2" fmla="*/ 48120 h 481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5231" h="48119">
                  <a:moveTo>
                    <a:pt x="0" y="0"/>
                  </a:moveTo>
                  <a:cubicBezTo>
                    <a:pt x="0" y="0"/>
                    <a:pt x="37448" y="12679"/>
                    <a:pt x="9252" y="36910"/>
                  </a:cubicBezTo>
                  <a:cubicBezTo>
                    <a:pt x="9252" y="36910"/>
                    <a:pt x="-6168" y="45770"/>
                    <a:pt x="45232" y="4812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579" name="Gráfico 17">
            <a:extLst>
              <a:ext uri="{FF2B5EF4-FFF2-40B4-BE49-F238E27FC236}">
                <a16:creationId xmlns:a16="http://schemas.microsoft.com/office/drawing/2014/main" id="{D6811315-40D0-4D3D-6771-3645D6A81EFB}"/>
              </a:ext>
            </a:extLst>
          </p:cNvPr>
          <p:cNvGrpSpPr/>
          <p:nvPr/>
        </p:nvGrpSpPr>
        <p:grpSpPr>
          <a:xfrm>
            <a:off x="2111962" y="5854799"/>
            <a:ext cx="181758" cy="252494"/>
            <a:chOff x="2111962" y="5854799"/>
            <a:chExt cx="181758" cy="252494"/>
          </a:xfrm>
          <a:noFill/>
        </p:grpSpPr>
        <p:sp>
          <p:nvSpPr>
            <p:cNvPr id="1580" name="Forma livre: Forma 1579">
              <a:extLst>
                <a:ext uri="{FF2B5EF4-FFF2-40B4-BE49-F238E27FC236}">
                  <a16:creationId xmlns:a16="http://schemas.microsoft.com/office/drawing/2014/main" id="{4221B425-E6A2-A3B5-D558-8E6FE2F6416A}"/>
                </a:ext>
              </a:extLst>
            </p:cNvPr>
            <p:cNvSpPr/>
            <p:nvPr/>
          </p:nvSpPr>
          <p:spPr>
            <a:xfrm>
              <a:off x="2111962" y="5854799"/>
              <a:ext cx="181758" cy="252494"/>
            </a:xfrm>
            <a:custGeom>
              <a:avLst/>
              <a:gdLst>
                <a:gd name="connsiteX0" fmla="*/ 162178 w 181758"/>
                <a:gd name="connsiteY0" fmla="*/ 0 h 252494"/>
                <a:gd name="connsiteX1" fmla="*/ 181759 w 181758"/>
                <a:gd name="connsiteY1" fmla="*/ 19581 h 252494"/>
                <a:gd name="connsiteX2" fmla="*/ 181759 w 181758"/>
                <a:gd name="connsiteY2" fmla="*/ 232913 h 252494"/>
                <a:gd name="connsiteX3" fmla="*/ 162178 w 181758"/>
                <a:gd name="connsiteY3" fmla="*/ 252494 h 252494"/>
                <a:gd name="connsiteX4" fmla="*/ 19581 w 181758"/>
                <a:gd name="connsiteY4" fmla="*/ 252494 h 252494"/>
                <a:gd name="connsiteX5" fmla="*/ 0 w 181758"/>
                <a:gd name="connsiteY5" fmla="*/ 232913 h 252494"/>
                <a:gd name="connsiteX6" fmla="*/ 0 w 181758"/>
                <a:gd name="connsiteY6" fmla="*/ 19581 h 252494"/>
                <a:gd name="connsiteX7" fmla="*/ 19581 w 181758"/>
                <a:gd name="connsiteY7" fmla="*/ 0 h 2524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81758" h="252494">
                  <a:moveTo>
                    <a:pt x="162178" y="0"/>
                  </a:moveTo>
                  <a:cubicBezTo>
                    <a:pt x="172992" y="0"/>
                    <a:pt x="181759" y="8767"/>
                    <a:pt x="181759" y="19581"/>
                  </a:cubicBezTo>
                  <a:lnTo>
                    <a:pt x="181759" y="232913"/>
                  </a:lnTo>
                  <a:cubicBezTo>
                    <a:pt x="181759" y="243728"/>
                    <a:pt x="172992" y="252494"/>
                    <a:pt x="162178" y="252494"/>
                  </a:cubicBezTo>
                  <a:lnTo>
                    <a:pt x="19581" y="252494"/>
                  </a:lnTo>
                  <a:cubicBezTo>
                    <a:pt x="8767" y="252494"/>
                    <a:pt x="0" y="243728"/>
                    <a:pt x="0" y="232913"/>
                  </a:cubicBezTo>
                  <a:lnTo>
                    <a:pt x="0" y="19581"/>
                  </a:lnTo>
                  <a:cubicBezTo>
                    <a:pt x="0" y="8767"/>
                    <a:pt x="8767" y="0"/>
                    <a:pt x="19581" y="0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81" name="Forma livre: Forma 1580">
              <a:extLst>
                <a:ext uri="{FF2B5EF4-FFF2-40B4-BE49-F238E27FC236}">
                  <a16:creationId xmlns:a16="http://schemas.microsoft.com/office/drawing/2014/main" id="{72A7011C-A42C-AFBF-625F-E516F99CE4E4}"/>
                </a:ext>
              </a:extLst>
            </p:cNvPr>
            <p:cNvSpPr/>
            <p:nvPr/>
          </p:nvSpPr>
          <p:spPr>
            <a:xfrm>
              <a:off x="2113186" y="5938017"/>
              <a:ext cx="180192" cy="4895"/>
            </a:xfrm>
            <a:custGeom>
              <a:avLst/>
              <a:gdLst>
                <a:gd name="connsiteX0" fmla="*/ 0 w 180192"/>
                <a:gd name="connsiteY0" fmla="*/ 0 h 4895"/>
                <a:gd name="connsiteX1" fmla="*/ 180192 w 180192"/>
                <a:gd name="connsiteY1" fmla="*/ 0 h 48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0192" h="4895">
                  <a:moveTo>
                    <a:pt x="0" y="0"/>
                  </a:moveTo>
                  <a:lnTo>
                    <a:pt x="180192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82" name="Forma livre: Forma 1581">
              <a:extLst>
                <a:ext uri="{FF2B5EF4-FFF2-40B4-BE49-F238E27FC236}">
                  <a16:creationId xmlns:a16="http://schemas.microsoft.com/office/drawing/2014/main" id="{F1047249-C0AD-61A0-B8A8-571BC6471BC8}"/>
                </a:ext>
              </a:extLst>
            </p:cNvPr>
            <p:cNvSpPr/>
            <p:nvPr/>
          </p:nvSpPr>
          <p:spPr>
            <a:xfrm>
              <a:off x="2172663" y="5938898"/>
              <a:ext cx="4895" cy="167415"/>
            </a:xfrm>
            <a:custGeom>
              <a:avLst/>
              <a:gdLst>
                <a:gd name="connsiteX0" fmla="*/ 0 w 4895"/>
                <a:gd name="connsiteY0" fmla="*/ 0 h 167415"/>
                <a:gd name="connsiteX1" fmla="*/ 0 w 4895"/>
                <a:gd name="connsiteY1" fmla="*/ 167416 h 1674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895" h="167415">
                  <a:moveTo>
                    <a:pt x="0" y="0"/>
                  </a:moveTo>
                  <a:lnTo>
                    <a:pt x="0" y="167416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83" name="Forma livre: Forma 1582">
              <a:extLst>
                <a:ext uri="{FF2B5EF4-FFF2-40B4-BE49-F238E27FC236}">
                  <a16:creationId xmlns:a16="http://schemas.microsoft.com/office/drawing/2014/main" id="{7FD787AD-B15F-F664-751A-25240BC74023}"/>
                </a:ext>
              </a:extLst>
            </p:cNvPr>
            <p:cNvSpPr/>
            <p:nvPr/>
          </p:nvSpPr>
          <p:spPr>
            <a:xfrm>
              <a:off x="2233363" y="5938702"/>
              <a:ext cx="4895" cy="167366"/>
            </a:xfrm>
            <a:custGeom>
              <a:avLst/>
              <a:gdLst>
                <a:gd name="connsiteX0" fmla="*/ 0 w 4895"/>
                <a:gd name="connsiteY0" fmla="*/ 0 h 167366"/>
                <a:gd name="connsiteX1" fmla="*/ 0 w 4895"/>
                <a:gd name="connsiteY1" fmla="*/ 167367 h 1673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895" h="167366">
                  <a:moveTo>
                    <a:pt x="0" y="0"/>
                  </a:moveTo>
                  <a:lnTo>
                    <a:pt x="0" y="167367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84" name="Forma livre: Forma 1583">
              <a:extLst>
                <a:ext uri="{FF2B5EF4-FFF2-40B4-BE49-F238E27FC236}">
                  <a16:creationId xmlns:a16="http://schemas.microsoft.com/office/drawing/2014/main" id="{F95B52B2-8BFD-BE24-C72C-E7F541E3BECC}"/>
                </a:ext>
              </a:extLst>
            </p:cNvPr>
            <p:cNvSpPr/>
            <p:nvPr/>
          </p:nvSpPr>
          <p:spPr>
            <a:xfrm>
              <a:off x="2225041" y="5882114"/>
              <a:ext cx="4895" cy="30301"/>
            </a:xfrm>
            <a:custGeom>
              <a:avLst/>
              <a:gdLst>
                <a:gd name="connsiteX0" fmla="*/ 0 w 4895"/>
                <a:gd name="connsiteY0" fmla="*/ 0 h 30301"/>
                <a:gd name="connsiteX1" fmla="*/ 0 w 4895"/>
                <a:gd name="connsiteY1" fmla="*/ 30301 h 303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895" h="30301">
                  <a:moveTo>
                    <a:pt x="0" y="0"/>
                  </a:moveTo>
                  <a:lnTo>
                    <a:pt x="0" y="30301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85" name="Forma livre: Forma 1584">
              <a:extLst>
                <a:ext uri="{FF2B5EF4-FFF2-40B4-BE49-F238E27FC236}">
                  <a16:creationId xmlns:a16="http://schemas.microsoft.com/office/drawing/2014/main" id="{811C7E20-4E7B-38DC-AB5F-3FBA0F1781E4}"/>
                </a:ext>
              </a:extLst>
            </p:cNvPr>
            <p:cNvSpPr/>
            <p:nvPr/>
          </p:nvSpPr>
          <p:spPr>
            <a:xfrm>
              <a:off x="2258818" y="5882114"/>
              <a:ext cx="4895" cy="30301"/>
            </a:xfrm>
            <a:custGeom>
              <a:avLst/>
              <a:gdLst>
                <a:gd name="connsiteX0" fmla="*/ 0 w 4895"/>
                <a:gd name="connsiteY0" fmla="*/ 0 h 30301"/>
                <a:gd name="connsiteX1" fmla="*/ 0 w 4895"/>
                <a:gd name="connsiteY1" fmla="*/ 30301 h 303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895" h="30301">
                  <a:moveTo>
                    <a:pt x="0" y="0"/>
                  </a:moveTo>
                  <a:lnTo>
                    <a:pt x="0" y="30301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86" name="Forma livre: Forma 1585">
              <a:extLst>
                <a:ext uri="{FF2B5EF4-FFF2-40B4-BE49-F238E27FC236}">
                  <a16:creationId xmlns:a16="http://schemas.microsoft.com/office/drawing/2014/main" id="{4ED0E8C1-414B-580C-A80C-9318F473336A}"/>
                </a:ext>
              </a:extLst>
            </p:cNvPr>
            <p:cNvSpPr/>
            <p:nvPr/>
          </p:nvSpPr>
          <p:spPr>
            <a:xfrm>
              <a:off x="2113186" y="5994312"/>
              <a:ext cx="180192" cy="4895"/>
            </a:xfrm>
            <a:custGeom>
              <a:avLst/>
              <a:gdLst>
                <a:gd name="connsiteX0" fmla="*/ 0 w 180192"/>
                <a:gd name="connsiteY0" fmla="*/ 0 h 4895"/>
                <a:gd name="connsiteX1" fmla="*/ 180192 w 180192"/>
                <a:gd name="connsiteY1" fmla="*/ 0 h 48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0192" h="4895">
                  <a:moveTo>
                    <a:pt x="0" y="0"/>
                  </a:moveTo>
                  <a:lnTo>
                    <a:pt x="180192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87" name="Forma livre: Forma 1586">
              <a:extLst>
                <a:ext uri="{FF2B5EF4-FFF2-40B4-BE49-F238E27FC236}">
                  <a16:creationId xmlns:a16="http://schemas.microsoft.com/office/drawing/2014/main" id="{264766F2-9C8E-79E0-0752-D16DD646E953}"/>
                </a:ext>
              </a:extLst>
            </p:cNvPr>
            <p:cNvSpPr/>
            <p:nvPr/>
          </p:nvSpPr>
          <p:spPr>
            <a:xfrm>
              <a:off x="2113186" y="6050607"/>
              <a:ext cx="119051" cy="4895"/>
            </a:xfrm>
            <a:custGeom>
              <a:avLst/>
              <a:gdLst>
                <a:gd name="connsiteX0" fmla="*/ 0 w 119051"/>
                <a:gd name="connsiteY0" fmla="*/ 0 h 4895"/>
                <a:gd name="connsiteX1" fmla="*/ 119051 w 119051"/>
                <a:gd name="connsiteY1" fmla="*/ 0 h 48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9051" h="4895">
                  <a:moveTo>
                    <a:pt x="0" y="0"/>
                  </a:moveTo>
                  <a:lnTo>
                    <a:pt x="119051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588" name="Gráfico 17">
            <a:extLst>
              <a:ext uri="{FF2B5EF4-FFF2-40B4-BE49-F238E27FC236}">
                <a16:creationId xmlns:a16="http://schemas.microsoft.com/office/drawing/2014/main" id="{D743BBE1-6657-4851-1563-BD4EFE69DE25}"/>
              </a:ext>
            </a:extLst>
          </p:cNvPr>
          <p:cNvGrpSpPr/>
          <p:nvPr/>
        </p:nvGrpSpPr>
        <p:grpSpPr>
          <a:xfrm>
            <a:off x="2033297" y="4731155"/>
            <a:ext cx="339139" cy="269088"/>
            <a:chOff x="2033297" y="4731155"/>
            <a:chExt cx="339139" cy="269088"/>
          </a:xfrm>
        </p:grpSpPr>
        <p:sp>
          <p:nvSpPr>
            <p:cNvPr id="1589" name="Forma livre: Forma 1588">
              <a:extLst>
                <a:ext uri="{FF2B5EF4-FFF2-40B4-BE49-F238E27FC236}">
                  <a16:creationId xmlns:a16="http://schemas.microsoft.com/office/drawing/2014/main" id="{865F9A49-883B-356D-F1E8-CF7589CCC6DA}"/>
                </a:ext>
              </a:extLst>
            </p:cNvPr>
            <p:cNvSpPr/>
            <p:nvPr/>
          </p:nvSpPr>
          <p:spPr>
            <a:xfrm>
              <a:off x="2106773" y="5000244"/>
              <a:ext cx="96190" cy="4895"/>
            </a:xfrm>
            <a:custGeom>
              <a:avLst/>
              <a:gdLst>
                <a:gd name="connsiteX0" fmla="*/ 96191 w 96190"/>
                <a:gd name="connsiteY0" fmla="*/ 0 h 4895"/>
                <a:gd name="connsiteX1" fmla="*/ 0 w 96190"/>
                <a:gd name="connsiteY1" fmla="*/ 0 h 48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6190" h="4895">
                  <a:moveTo>
                    <a:pt x="96191" y="0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90" name="Forma livre: Forma 1589">
              <a:extLst>
                <a:ext uri="{FF2B5EF4-FFF2-40B4-BE49-F238E27FC236}">
                  <a16:creationId xmlns:a16="http://schemas.microsoft.com/office/drawing/2014/main" id="{4F2273D4-E7B0-4378-056D-B67AA2036149}"/>
                </a:ext>
              </a:extLst>
            </p:cNvPr>
            <p:cNvSpPr/>
            <p:nvPr/>
          </p:nvSpPr>
          <p:spPr>
            <a:xfrm>
              <a:off x="2246727" y="4731155"/>
              <a:ext cx="125708" cy="268990"/>
            </a:xfrm>
            <a:custGeom>
              <a:avLst/>
              <a:gdLst>
                <a:gd name="connsiteX0" fmla="*/ 0 w 125708"/>
                <a:gd name="connsiteY0" fmla="*/ 233501 h 268990"/>
                <a:gd name="connsiteX1" fmla="*/ 0 w 125708"/>
                <a:gd name="connsiteY1" fmla="*/ 244515 h 268990"/>
                <a:gd name="connsiteX2" fmla="*/ 24476 w 125708"/>
                <a:gd name="connsiteY2" fmla="*/ 268991 h 268990"/>
                <a:gd name="connsiteX3" fmla="*/ 101233 w 125708"/>
                <a:gd name="connsiteY3" fmla="*/ 268991 h 268990"/>
                <a:gd name="connsiteX4" fmla="*/ 125709 w 125708"/>
                <a:gd name="connsiteY4" fmla="*/ 244515 h 268990"/>
                <a:gd name="connsiteX5" fmla="*/ 125709 w 125708"/>
                <a:gd name="connsiteY5" fmla="*/ 24476 h 268990"/>
                <a:gd name="connsiteX6" fmla="*/ 101233 w 125708"/>
                <a:gd name="connsiteY6" fmla="*/ 0 h 268990"/>
                <a:gd name="connsiteX7" fmla="*/ 24476 w 125708"/>
                <a:gd name="connsiteY7" fmla="*/ 0 h 268990"/>
                <a:gd name="connsiteX8" fmla="*/ 0 w 125708"/>
                <a:gd name="connsiteY8" fmla="*/ 24476 h 268990"/>
                <a:gd name="connsiteX9" fmla="*/ 0 w 125708"/>
                <a:gd name="connsiteY9" fmla="*/ 42392 h 2689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25708" h="268990">
                  <a:moveTo>
                    <a:pt x="0" y="233501"/>
                  </a:moveTo>
                  <a:lnTo>
                    <a:pt x="0" y="244515"/>
                  </a:lnTo>
                  <a:cubicBezTo>
                    <a:pt x="0" y="257977"/>
                    <a:pt x="11014" y="268991"/>
                    <a:pt x="24476" y="268991"/>
                  </a:cubicBezTo>
                  <a:lnTo>
                    <a:pt x="101233" y="268991"/>
                  </a:lnTo>
                  <a:cubicBezTo>
                    <a:pt x="114695" y="268991"/>
                    <a:pt x="125709" y="257977"/>
                    <a:pt x="125709" y="244515"/>
                  </a:cubicBezTo>
                  <a:lnTo>
                    <a:pt x="125709" y="24476"/>
                  </a:lnTo>
                  <a:cubicBezTo>
                    <a:pt x="125709" y="11014"/>
                    <a:pt x="114695" y="0"/>
                    <a:pt x="101233" y="0"/>
                  </a:cubicBezTo>
                  <a:lnTo>
                    <a:pt x="24476" y="0"/>
                  </a:lnTo>
                  <a:cubicBezTo>
                    <a:pt x="11014" y="0"/>
                    <a:pt x="0" y="11014"/>
                    <a:pt x="0" y="24476"/>
                  </a:cubicBezTo>
                  <a:lnTo>
                    <a:pt x="0" y="42392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91" name="Forma livre: Forma 1590">
              <a:extLst>
                <a:ext uri="{FF2B5EF4-FFF2-40B4-BE49-F238E27FC236}">
                  <a16:creationId xmlns:a16="http://schemas.microsoft.com/office/drawing/2014/main" id="{7C92A30C-0905-C2AB-D70A-E24BF3BAB902}"/>
                </a:ext>
              </a:extLst>
            </p:cNvPr>
            <p:cNvSpPr/>
            <p:nvPr/>
          </p:nvSpPr>
          <p:spPr>
            <a:xfrm>
              <a:off x="2033297" y="4798415"/>
              <a:ext cx="243095" cy="164968"/>
            </a:xfrm>
            <a:custGeom>
              <a:avLst/>
              <a:gdLst>
                <a:gd name="connsiteX0" fmla="*/ 24476 w 243095"/>
                <a:gd name="connsiteY0" fmla="*/ 0 h 164968"/>
                <a:gd name="connsiteX1" fmla="*/ 218619 w 243095"/>
                <a:gd name="connsiteY1" fmla="*/ 0 h 164968"/>
                <a:gd name="connsiteX2" fmla="*/ 243095 w 243095"/>
                <a:gd name="connsiteY2" fmla="*/ 24476 h 164968"/>
                <a:gd name="connsiteX3" fmla="*/ 243095 w 243095"/>
                <a:gd name="connsiteY3" fmla="*/ 140492 h 164968"/>
                <a:gd name="connsiteX4" fmla="*/ 218619 w 243095"/>
                <a:gd name="connsiteY4" fmla="*/ 164968 h 164968"/>
                <a:gd name="connsiteX5" fmla="*/ 24476 w 243095"/>
                <a:gd name="connsiteY5" fmla="*/ 164968 h 164968"/>
                <a:gd name="connsiteX6" fmla="*/ 0 w 243095"/>
                <a:gd name="connsiteY6" fmla="*/ 140492 h 164968"/>
                <a:gd name="connsiteX7" fmla="*/ 0 w 243095"/>
                <a:gd name="connsiteY7" fmla="*/ 24476 h 164968"/>
                <a:gd name="connsiteX8" fmla="*/ 24476 w 243095"/>
                <a:gd name="connsiteY8" fmla="*/ 0 h 164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43095" h="164968">
                  <a:moveTo>
                    <a:pt x="24476" y="0"/>
                  </a:moveTo>
                  <a:lnTo>
                    <a:pt x="218619" y="0"/>
                  </a:lnTo>
                  <a:cubicBezTo>
                    <a:pt x="232130" y="0"/>
                    <a:pt x="243095" y="10965"/>
                    <a:pt x="243095" y="24476"/>
                  </a:cubicBezTo>
                  <a:lnTo>
                    <a:pt x="243095" y="140492"/>
                  </a:lnTo>
                  <a:cubicBezTo>
                    <a:pt x="243095" y="154003"/>
                    <a:pt x="232130" y="164968"/>
                    <a:pt x="218619" y="164968"/>
                  </a:cubicBezTo>
                  <a:lnTo>
                    <a:pt x="24476" y="164968"/>
                  </a:lnTo>
                  <a:cubicBezTo>
                    <a:pt x="10965" y="164968"/>
                    <a:pt x="0" y="154003"/>
                    <a:pt x="0" y="140492"/>
                  </a:cubicBezTo>
                  <a:lnTo>
                    <a:pt x="0" y="24476"/>
                  </a:lnTo>
                  <a:cubicBezTo>
                    <a:pt x="0" y="10965"/>
                    <a:pt x="10965" y="0"/>
                    <a:pt x="24476" y="0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92" name="Forma livre: Forma 1591">
              <a:extLst>
                <a:ext uri="{FF2B5EF4-FFF2-40B4-BE49-F238E27FC236}">
                  <a16:creationId xmlns:a16="http://schemas.microsoft.com/office/drawing/2014/main" id="{0D59A369-CE09-1773-E5EF-9A60C4C8E867}"/>
                </a:ext>
              </a:extLst>
            </p:cNvPr>
            <p:cNvSpPr/>
            <p:nvPr/>
          </p:nvSpPr>
          <p:spPr>
            <a:xfrm>
              <a:off x="2287308" y="4768016"/>
              <a:ext cx="44497" cy="4895"/>
            </a:xfrm>
            <a:custGeom>
              <a:avLst/>
              <a:gdLst>
                <a:gd name="connsiteX0" fmla="*/ 44497 w 44497"/>
                <a:gd name="connsiteY0" fmla="*/ 0 h 4895"/>
                <a:gd name="connsiteX1" fmla="*/ 0 w 44497"/>
                <a:gd name="connsiteY1" fmla="*/ 0 h 48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4497" h="4895">
                  <a:moveTo>
                    <a:pt x="44497" y="0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93" name="Forma livre: Forma 1592">
              <a:extLst>
                <a:ext uri="{FF2B5EF4-FFF2-40B4-BE49-F238E27FC236}">
                  <a16:creationId xmlns:a16="http://schemas.microsoft.com/office/drawing/2014/main" id="{2169F8B7-F519-34D2-EF9B-BA535BC3B2DB}"/>
                </a:ext>
              </a:extLst>
            </p:cNvPr>
            <p:cNvSpPr/>
            <p:nvPr/>
          </p:nvSpPr>
          <p:spPr>
            <a:xfrm>
              <a:off x="2305714" y="4953495"/>
              <a:ext cx="7636" cy="7636"/>
            </a:xfrm>
            <a:custGeom>
              <a:avLst/>
              <a:gdLst>
                <a:gd name="connsiteX0" fmla="*/ 7636 w 7636"/>
                <a:gd name="connsiteY0" fmla="*/ 3818 h 7636"/>
                <a:gd name="connsiteX1" fmla="*/ 3818 w 7636"/>
                <a:gd name="connsiteY1" fmla="*/ 7636 h 7636"/>
                <a:gd name="connsiteX2" fmla="*/ 0 w 7636"/>
                <a:gd name="connsiteY2" fmla="*/ 3818 h 7636"/>
                <a:gd name="connsiteX3" fmla="*/ 3818 w 7636"/>
                <a:gd name="connsiteY3" fmla="*/ 0 h 7636"/>
                <a:gd name="connsiteX4" fmla="*/ 7636 w 7636"/>
                <a:gd name="connsiteY4" fmla="*/ 3818 h 76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36" h="7636">
                  <a:moveTo>
                    <a:pt x="7636" y="3818"/>
                  </a:moveTo>
                  <a:cubicBezTo>
                    <a:pt x="7636" y="5923"/>
                    <a:pt x="5923" y="7636"/>
                    <a:pt x="3818" y="7636"/>
                  </a:cubicBezTo>
                  <a:cubicBezTo>
                    <a:pt x="1713" y="7636"/>
                    <a:pt x="0" y="5923"/>
                    <a:pt x="0" y="3818"/>
                  </a:cubicBezTo>
                  <a:cubicBezTo>
                    <a:pt x="0" y="1713"/>
                    <a:pt x="1713" y="0"/>
                    <a:pt x="3818" y="0"/>
                  </a:cubicBezTo>
                  <a:cubicBezTo>
                    <a:pt x="5923" y="0"/>
                    <a:pt x="7636" y="1713"/>
                    <a:pt x="7636" y="3818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594" name="Gráfico 17">
            <a:extLst>
              <a:ext uri="{FF2B5EF4-FFF2-40B4-BE49-F238E27FC236}">
                <a16:creationId xmlns:a16="http://schemas.microsoft.com/office/drawing/2014/main" id="{1737427A-EA3F-1D73-FF3C-717533F97A55}"/>
              </a:ext>
            </a:extLst>
          </p:cNvPr>
          <p:cNvGrpSpPr/>
          <p:nvPr/>
        </p:nvGrpSpPr>
        <p:grpSpPr>
          <a:xfrm>
            <a:off x="2049059" y="3632478"/>
            <a:ext cx="307565" cy="235703"/>
            <a:chOff x="2049059" y="3632478"/>
            <a:chExt cx="307565" cy="235703"/>
          </a:xfrm>
          <a:noFill/>
        </p:grpSpPr>
        <p:sp>
          <p:nvSpPr>
            <p:cNvPr id="1595" name="Forma livre: Forma 1594">
              <a:extLst>
                <a:ext uri="{FF2B5EF4-FFF2-40B4-BE49-F238E27FC236}">
                  <a16:creationId xmlns:a16="http://schemas.microsoft.com/office/drawing/2014/main" id="{C8531880-0B50-2E15-F2F7-268F1D90ECCD}"/>
                </a:ext>
              </a:extLst>
            </p:cNvPr>
            <p:cNvSpPr/>
            <p:nvPr/>
          </p:nvSpPr>
          <p:spPr>
            <a:xfrm>
              <a:off x="2049059" y="3868181"/>
              <a:ext cx="307565" cy="4895"/>
            </a:xfrm>
            <a:custGeom>
              <a:avLst/>
              <a:gdLst>
                <a:gd name="connsiteX0" fmla="*/ 0 w 307565"/>
                <a:gd name="connsiteY0" fmla="*/ 0 h 4895"/>
                <a:gd name="connsiteX1" fmla="*/ 307565 w 307565"/>
                <a:gd name="connsiteY1" fmla="*/ 0 h 48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07565" h="4895">
                  <a:moveTo>
                    <a:pt x="0" y="0"/>
                  </a:moveTo>
                  <a:lnTo>
                    <a:pt x="307565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96" name="Forma livre: Forma 1595">
              <a:extLst>
                <a:ext uri="{FF2B5EF4-FFF2-40B4-BE49-F238E27FC236}">
                  <a16:creationId xmlns:a16="http://schemas.microsoft.com/office/drawing/2014/main" id="{60EFBC4C-05CC-4723-8BA6-EB707984A301}"/>
                </a:ext>
              </a:extLst>
            </p:cNvPr>
            <p:cNvSpPr/>
            <p:nvPr/>
          </p:nvSpPr>
          <p:spPr>
            <a:xfrm>
              <a:off x="2057087" y="3632478"/>
              <a:ext cx="291508" cy="199772"/>
            </a:xfrm>
            <a:custGeom>
              <a:avLst/>
              <a:gdLst>
                <a:gd name="connsiteX0" fmla="*/ 257243 w 291508"/>
                <a:gd name="connsiteY0" fmla="*/ 0 h 199772"/>
                <a:gd name="connsiteX1" fmla="*/ 291509 w 291508"/>
                <a:gd name="connsiteY1" fmla="*/ 34266 h 199772"/>
                <a:gd name="connsiteX2" fmla="*/ 291509 w 291508"/>
                <a:gd name="connsiteY2" fmla="*/ 165507 h 199772"/>
                <a:gd name="connsiteX3" fmla="*/ 257243 w 291508"/>
                <a:gd name="connsiteY3" fmla="*/ 199773 h 199772"/>
                <a:gd name="connsiteX4" fmla="*/ 34267 w 291508"/>
                <a:gd name="connsiteY4" fmla="*/ 199773 h 199772"/>
                <a:gd name="connsiteX5" fmla="*/ 0 w 291508"/>
                <a:gd name="connsiteY5" fmla="*/ 165507 h 199772"/>
                <a:gd name="connsiteX6" fmla="*/ 0 w 291508"/>
                <a:gd name="connsiteY6" fmla="*/ 34266 h 199772"/>
                <a:gd name="connsiteX7" fmla="*/ 34267 w 291508"/>
                <a:gd name="connsiteY7" fmla="*/ 0 h 1997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91508" h="199772">
                  <a:moveTo>
                    <a:pt x="257243" y="0"/>
                  </a:moveTo>
                  <a:cubicBezTo>
                    <a:pt x="276167" y="0"/>
                    <a:pt x="291509" y="15342"/>
                    <a:pt x="291509" y="34266"/>
                  </a:cubicBezTo>
                  <a:lnTo>
                    <a:pt x="291509" y="165507"/>
                  </a:lnTo>
                  <a:cubicBezTo>
                    <a:pt x="291509" y="184431"/>
                    <a:pt x="276167" y="199773"/>
                    <a:pt x="257243" y="199773"/>
                  </a:cubicBezTo>
                  <a:lnTo>
                    <a:pt x="34267" y="199773"/>
                  </a:lnTo>
                  <a:cubicBezTo>
                    <a:pt x="15342" y="199773"/>
                    <a:pt x="0" y="184431"/>
                    <a:pt x="0" y="165507"/>
                  </a:cubicBezTo>
                  <a:lnTo>
                    <a:pt x="0" y="34266"/>
                  </a:lnTo>
                  <a:cubicBezTo>
                    <a:pt x="0" y="15342"/>
                    <a:pt x="15342" y="0"/>
                    <a:pt x="34267" y="0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601" name="Gráfico 17">
            <a:extLst>
              <a:ext uri="{FF2B5EF4-FFF2-40B4-BE49-F238E27FC236}">
                <a16:creationId xmlns:a16="http://schemas.microsoft.com/office/drawing/2014/main" id="{5F4BD2AA-41AC-C287-7D0A-D9B604A1C4EA}"/>
              </a:ext>
            </a:extLst>
          </p:cNvPr>
          <p:cNvGrpSpPr/>
          <p:nvPr/>
        </p:nvGrpSpPr>
        <p:grpSpPr>
          <a:xfrm>
            <a:off x="1420173" y="5270361"/>
            <a:ext cx="287494" cy="306047"/>
            <a:chOff x="1420173" y="5270361"/>
            <a:chExt cx="287494" cy="306047"/>
          </a:xfrm>
        </p:grpSpPr>
        <p:grpSp>
          <p:nvGrpSpPr>
            <p:cNvPr id="1602" name="Gráfico 17">
              <a:extLst>
                <a:ext uri="{FF2B5EF4-FFF2-40B4-BE49-F238E27FC236}">
                  <a16:creationId xmlns:a16="http://schemas.microsoft.com/office/drawing/2014/main" id="{66C0D9C2-5DDC-6FFD-C58C-0A2A94B292CB}"/>
                </a:ext>
              </a:extLst>
            </p:cNvPr>
            <p:cNvGrpSpPr/>
            <p:nvPr/>
          </p:nvGrpSpPr>
          <p:grpSpPr>
            <a:xfrm>
              <a:off x="1420173" y="5270361"/>
              <a:ext cx="287494" cy="224640"/>
              <a:chOff x="1420173" y="5270361"/>
              <a:chExt cx="287494" cy="224640"/>
            </a:xfrm>
          </p:grpSpPr>
          <p:sp>
            <p:nvSpPr>
              <p:cNvPr id="1603" name="Forma livre: Forma 1602">
                <a:extLst>
                  <a:ext uri="{FF2B5EF4-FFF2-40B4-BE49-F238E27FC236}">
                    <a16:creationId xmlns:a16="http://schemas.microsoft.com/office/drawing/2014/main" id="{8CE13FF6-A9C1-7F89-49FB-199FB846D6F8}"/>
                  </a:ext>
                </a:extLst>
              </p:cNvPr>
              <p:cNvSpPr/>
              <p:nvPr/>
            </p:nvSpPr>
            <p:spPr>
              <a:xfrm>
                <a:off x="1459433" y="5442868"/>
                <a:ext cx="208926" cy="4895"/>
              </a:xfrm>
              <a:custGeom>
                <a:avLst/>
                <a:gdLst>
                  <a:gd name="connsiteX0" fmla="*/ 208927 w 208926"/>
                  <a:gd name="connsiteY0" fmla="*/ 0 h 4895"/>
                  <a:gd name="connsiteX1" fmla="*/ 0 w 208926"/>
                  <a:gd name="connsiteY1" fmla="*/ 0 h 48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08926" h="4895">
                    <a:moveTo>
                      <a:pt x="208927" y="0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604" name="Forma livre: Forma 1603">
                <a:extLst>
                  <a:ext uri="{FF2B5EF4-FFF2-40B4-BE49-F238E27FC236}">
                    <a16:creationId xmlns:a16="http://schemas.microsoft.com/office/drawing/2014/main" id="{C38B512E-F5B6-B478-B9C7-AD36423F28F7}"/>
                  </a:ext>
                </a:extLst>
              </p:cNvPr>
              <p:cNvSpPr/>
              <p:nvPr/>
            </p:nvSpPr>
            <p:spPr>
              <a:xfrm>
                <a:off x="1420173" y="5346090"/>
                <a:ext cx="287494" cy="148911"/>
              </a:xfrm>
              <a:custGeom>
                <a:avLst/>
                <a:gdLst>
                  <a:gd name="connsiteX0" fmla="*/ 43567 w 287494"/>
                  <a:gd name="connsiteY0" fmla="*/ 148912 h 148911"/>
                  <a:gd name="connsiteX1" fmla="*/ 14686 w 287494"/>
                  <a:gd name="connsiteY1" fmla="*/ 148912 h 148911"/>
                  <a:gd name="connsiteX2" fmla="*/ 0 w 287494"/>
                  <a:gd name="connsiteY2" fmla="*/ 134226 h 148911"/>
                  <a:gd name="connsiteX3" fmla="*/ 0 w 287494"/>
                  <a:gd name="connsiteY3" fmla="*/ 14686 h 148911"/>
                  <a:gd name="connsiteX4" fmla="*/ 14686 w 287494"/>
                  <a:gd name="connsiteY4" fmla="*/ 0 h 148911"/>
                  <a:gd name="connsiteX5" fmla="*/ 272809 w 287494"/>
                  <a:gd name="connsiteY5" fmla="*/ 0 h 148911"/>
                  <a:gd name="connsiteX6" fmla="*/ 287495 w 287494"/>
                  <a:gd name="connsiteY6" fmla="*/ 14686 h 148911"/>
                  <a:gd name="connsiteX7" fmla="*/ 287495 w 287494"/>
                  <a:gd name="connsiteY7" fmla="*/ 134226 h 148911"/>
                  <a:gd name="connsiteX8" fmla="*/ 272809 w 287494"/>
                  <a:gd name="connsiteY8" fmla="*/ 148912 h 148911"/>
                  <a:gd name="connsiteX9" fmla="*/ 243389 w 287494"/>
                  <a:gd name="connsiteY9" fmla="*/ 148912 h 1489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87494" h="148911">
                    <a:moveTo>
                      <a:pt x="43567" y="148912"/>
                    </a:moveTo>
                    <a:lnTo>
                      <a:pt x="14686" y="148912"/>
                    </a:lnTo>
                    <a:cubicBezTo>
                      <a:pt x="6609" y="148912"/>
                      <a:pt x="0" y="142303"/>
                      <a:pt x="0" y="134226"/>
                    </a:cubicBezTo>
                    <a:lnTo>
                      <a:pt x="0" y="14686"/>
                    </a:lnTo>
                    <a:cubicBezTo>
                      <a:pt x="0" y="6609"/>
                      <a:pt x="6609" y="0"/>
                      <a:pt x="14686" y="0"/>
                    </a:cubicBezTo>
                    <a:lnTo>
                      <a:pt x="272809" y="0"/>
                    </a:lnTo>
                    <a:cubicBezTo>
                      <a:pt x="280886" y="0"/>
                      <a:pt x="287495" y="6609"/>
                      <a:pt x="287495" y="14686"/>
                    </a:cubicBezTo>
                    <a:lnTo>
                      <a:pt x="287495" y="134226"/>
                    </a:lnTo>
                    <a:cubicBezTo>
                      <a:pt x="287495" y="142303"/>
                      <a:pt x="280886" y="148912"/>
                      <a:pt x="272809" y="148912"/>
                    </a:cubicBezTo>
                    <a:lnTo>
                      <a:pt x="243389" y="148912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605" name="Forma livre: Forma 1604">
                <a:extLst>
                  <a:ext uri="{FF2B5EF4-FFF2-40B4-BE49-F238E27FC236}">
                    <a16:creationId xmlns:a16="http://schemas.microsoft.com/office/drawing/2014/main" id="{121EAA43-9FA6-4C7A-ACE4-221D18B7FA5B}"/>
                  </a:ext>
                </a:extLst>
              </p:cNvPr>
              <p:cNvSpPr/>
              <p:nvPr/>
            </p:nvSpPr>
            <p:spPr>
              <a:xfrm>
                <a:off x="1489342" y="5270361"/>
                <a:ext cx="149156" cy="75043"/>
              </a:xfrm>
              <a:custGeom>
                <a:avLst/>
                <a:gdLst>
                  <a:gd name="connsiteX0" fmla="*/ 0 w 149156"/>
                  <a:gd name="connsiteY0" fmla="*/ 75043 h 75043"/>
                  <a:gd name="connsiteX1" fmla="*/ 0 w 149156"/>
                  <a:gd name="connsiteY1" fmla="*/ 0 h 75043"/>
                  <a:gd name="connsiteX2" fmla="*/ 149157 w 149156"/>
                  <a:gd name="connsiteY2" fmla="*/ 0 h 75043"/>
                  <a:gd name="connsiteX3" fmla="*/ 149157 w 149156"/>
                  <a:gd name="connsiteY3" fmla="*/ 75043 h 750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49156" h="75043">
                    <a:moveTo>
                      <a:pt x="0" y="75043"/>
                    </a:moveTo>
                    <a:lnTo>
                      <a:pt x="0" y="0"/>
                    </a:lnTo>
                    <a:lnTo>
                      <a:pt x="149157" y="0"/>
                    </a:lnTo>
                    <a:lnTo>
                      <a:pt x="149157" y="75043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606" name="Forma livre: Forma 1605">
                <a:extLst>
                  <a:ext uri="{FF2B5EF4-FFF2-40B4-BE49-F238E27FC236}">
                    <a16:creationId xmlns:a16="http://schemas.microsoft.com/office/drawing/2014/main" id="{0DFE68EB-9740-9F06-1FAD-849963442FA6}"/>
                  </a:ext>
                </a:extLst>
              </p:cNvPr>
              <p:cNvSpPr/>
              <p:nvPr/>
            </p:nvSpPr>
            <p:spPr>
              <a:xfrm>
                <a:off x="1461048" y="5384224"/>
                <a:ext cx="7636" cy="7636"/>
              </a:xfrm>
              <a:custGeom>
                <a:avLst/>
                <a:gdLst>
                  <a:gd name="connsiteX0" fmla="*/ 7636 w 7636"/>
                  <a:gd name="connsiteY0" fmla="*/ 3818 h 7636"/>
                  <a:gd name="connsiteX1" fmla="*/ 3818 w 7636"/>
                  <a:gd name="connsiteY1" fmla="*/ 7636 h 7636"/>
                  <a:gd name="connsiteX2" fmla="*/ 0 w 7636"/>
                  <a:gd name="connsiteY2" fmla="*/ 3818 h 7636"/>
                  <a:gd name="connsiteX3" fmla="*/ 3818 w 7636"/>
                  <a:gd name="connsiteY3" fmla="*/ 0 h 7636"/>
                  <a:gd name="connsiteX4" fmla="*/ 7636 w 7636"/>
                  <a:gd name="connsiteY4" fmla="*/ 3818 h 76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636" h="7636">
                    <a:moveTo>
                      <a:pt x="7636" y="3818"/>
                    </a:moveTo>
                    <a:cubicBezTo>
                      <a:pt x="7636" y="5923"/>
                      <a:pt x="5923" y="7636"/>
                      <a:pt x="3818" y="7636"/>
                    </a:cubicBezTo>
                    <a:cubicBezTo>
                      <a:pt x="1713" y="7636"/>
                      <a:pt x="0" y="5923"/>
                      <a:pt x="0" y="3818"/>
                    </a:cubicBezTo>
                    <a:cubicBezTo>
                      <a:pt x="0" y="1713"/>
                      <a:pt x="1713" y="0"/>
                      <a:pt x="3818" y="0"/>
                    </a:cubicBezTo>
                    <a:cubicBezTo>
                      <a:pt x="5923" y="0"/>
                      <a:pt x="7636" y="1713"/>
                      <a:pt x="7636" y="3818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607" name="Gráfico 17">
              <a:extLst>
                <a:ext uri="{FF2B5EF4-FFF2-40B4-BE49-F238E27FC236}">
                  <a16:creationId xmlns:a16="http://schemas.microsoft.com/office/drawing/2014/main" id="{53F24A53-B397-F90A-2916-2943C2A73AA1}"/>
                </a:ext>
              </a:extLst>
            </p:cNvPr>
            <p:cNvGrpSpPr/>
            <p:nvPr/>
          </p:nvGrpSpPr>
          <p:grpSpPr>
            <a:xfrm>
              <a:off x="1490615" y="5444239"/>
              <a:ext cx="146611" cy="132170"/>
              <a:chOff x="1490615" y="5444239"/>
              <a:chExt cx="146611" cy="132170"/>
            </a:xfrm>
          </p:grpSpPr>
          <p:sp>
            <p:nvSpPr>
              <p:cNvPr id="1608" name="Forma livre: Forma 1607">
                <a:extLst>
                  <a:ext uri="{FF2B5EF4-FFF2-40B4-BE49-F238E27FC236}">
                    <a16:creationId xmlns:a16="http://schemas.microsoft.com/office/drawing/2014/main" id="{C58E1017-5E92-69CE-C50F-D8D564DF6416}"/>
                  </a:ext>
                </a:extLst>
              </p:cNvPr>
              <p:cNvSpPr/>
              <p:nvPr/>
            </p:nvSpPr>
            <p:spPr>
              <a:xfrm>
                <a:off x="1490615" y="5444239"/>
                <a:ext cx="4895" cy="107841"/>
              </a:xfrm>
              <a:custGeom>
                <a:avLst/>
                <a:gdLst>
                  <a:gd name="connsiteX0" fmla="*/ 0 w 4895"/>
                  <a:gd name="connsiteY0" fmla="*/ 0 h 107841"/>
                  <a:gd name="connsiteX1" fmla="*/ 0 w 4895"/>
                  <a:gd name="connsiteY1" fmla="*/ 107841 h 1078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895" h="107841">
                    <a:moveTo>
                      <a:pt x="0" y="0"/>
                    </a:moveTo>
                    <a:lnTo>
                      <a:pt x="0" y="107841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609" name="Forma livre: Forma 1608">
                <a:extLst>
                  <a:ext uri="{FF2B5EF4-FFF2-40B4-BE49-F238E27FC236}">
                    <a16:creationId xmlns:a16="http://schemas.microsoft.com/office/drawing/2014/main" id="{D97FB88B-2642-7259-D28A-FA1C73F4FE97}"/>
                  </a:ext>
                </a:extLst>
              </p:cNvPr>
              <p:cNvSpPr/>
              <p:nvPr/>
            </p:nvSpPr>
            <p:spPr>
              <a:xfrm>
                <a:off x="1527280" y="5444239"/>
                <a:ext cx="4895" cy="89337"/>
              </a:xfrm>
              <a:custGeom>
                <a:avLst/>
                <a:gdLst>
                  <a:gd name="connsiteX0" fmla="*/ 0 w 4895"/>
                  <a:gd name="connsiteY0" fmla="*/ 0 h 89337"/>
                  <a:gd name="connsiteX1" fmla="*/ 0 w 4895"/>
                  <a:gd name="connsiteY1" fmla="*/ 89337 h 893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895" h="89337">
                    <a:moveTo>
                      <a:pt x="0" y="0"/>
                    </a:moveTo>
                    <a:lnTo>
                      <a:pt x="0" y="89337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610" name="Forma livre: Forma 1609">
                <a:extLst>
                  <a:ext uri="{FF2B5EF4-FFF2-40B4-BE49-F238E27FC236}">
                    <a16:creationId xmlns:a16="http://schemas.microsoft.com/office/drawing/2014/main" id="{B83BBA3D-4F73-8EEA-3041-5D369BC45D3F}"/>
                  </a:ext>
                </a:extLst>
              </p:cNvPr>
              <p:cNvSpPr/>
              <p:nvPr/>
            </p:nvSpPr>
            <p:spPr>
              <a:xfrm>
                <a:off x="1563896" y="5444239"/>
                <a:ext cx="4895" cy="132170"/>
              </a:xfrm>
              <a:custGeom>
                <a:avLst/>
                <a:gdLst>
                  <a:gd name="connsiteX0" fmla="*/ 0 w 4895"/>
                  <a:gd name="connsiteY0" fmla="*/ 0 h 132170"/>
                  <a:gd name="connsiteX1" fmla="*/ 0 w 4895"/>
                  <a:gd name="connsiteY1" fmla="*/ 132170 h 1321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895" h="132170">
                    <a:moveTo>
                      <a:pt x="0" y="0"/>
                    </a:moveTo>
                    <a:lnTo>
                      <a:pt x="0" y="13217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611" name="Forma livre: Forma 1610">
                <a:extLst>
                  <a:ext uri="{FF2B5EF4-FFF2-40B4-BE49-F238E27FC236}">
                    <a16:creationId xmlns:a16="http://schemas.microsoft.com/office/drawing/2014/main" id="{3EB8C32D-E5E6-8240-9DC6-007576ED036C}"/>
                  </a:ext>
                </a:extLst>
              </p:cNvPr>
              <p:cNvSpPr/>
              <p:nvPr/>
            </p:nvSpPr>
            <p:spPr>
              <a:xfrm>
                <a:off x="1600561" y="5444239"/>
                <a:ext cx="4895" cy="78323"/>
              </a:xfrm>
              <a:custGeom>
                <a:avLst/>
                <a:gdLst>
                  <a:gd name="connsiteX0" fmla="*/ 0 w 4895"/>
                  <a:gd name="connsiteY0" fmla="*/ 0 h 78323"/>
                  <a:gd name="connsiteX1" fmla="*/ 0 w 4895"/>
                  <a:gd name="connsiteY1" fmla="*/ 78323 h 783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895" h="78323">
                    <a:moveTo>
                      <a:pt x="0" y="0"/>
                    </a:moveTo>
                    <a:lnTo>
                      <a:pt x="0" y="78323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612" name="Forma livre: Forma 1611">
                <a:extLst>
                  <a:ext uri="{FF2B5EF4-FFF2-40B4-BE49-F238E27FC236}">
                    <a16:creationId xmlns:a16="http://schemas.microsoft.com/office/drawing/2014/main" id="{F149601F-D214-57CC-134D-DFEB8F1BC878}"/>
                  </a:ext>
                </a:extLst>
              </p:cNvPr>
              <p:cNvSpPr/>
              <p:nvPr/>
            </p:nvSpPr>
            <p:spPr>
              <a:xfrm>
                <a:off x="1637226" y="5444239"/>
                <a:ext cx="4895" cy="108918"/>
              </a:xfrm>
              <a:custGeom>
                <a:avLst/>
                <a:gdLst>
                  <a:gd name="connsiteX0" fmla="*/ 0 w 4895"/>
                  <a:gd name="connsiteY0" fmla="*/ 0 h 108918"/>
                  <a:gd name="connsiteX1" fmla="*/ 0 w 4895"/>
                  <a:gd name="connsiteY1" fmla="*/ 108918 h 1089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895" h="108918">
                    <a:moveTo>
                      <a:pt x="0" y="0"/>
                    </a:moveTo>
                    <a:lnTo>
                      <a:pt x="0" y="108918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631" name="Gráfico 17">
            <a:extLst>
              <a:ext uri="{FF2B5EF4-FFF2-40B4-BE49-F238E27FC236}">
                <a16:creationId xmlns:a16="http://schemas.microsoft.com/office/drawing/2014/main" id="{C42B089C-7D0E-6909-7C24-8B432DEC3D94}"/>
              </a:ext>
            </a:extLst>
          </p:cNvPr>
          <p:cNvGrpSpPr/>
          <p:nvPr/>
        </p:nvGrpSpPr>
        <p:grpSpPr>
          <a:xfrm>
            <a:off x="1403481" y="4738400"/>
            <a:ext cx="320831" cy="254550"/>
            <a:chOff x="1403481" y="4738400"/>
            <a:chExt cx="320831" cy="254550"/>
          </a:xfrm>
          <a:noFill/>
        </p:grpSpPr>
        <p:sp>
          <p:nvSpPr>
            <p:cNvPr id="1632" name="Forma livre: Forma 1631">
              <a:extLst>
                <a:ext uri="{FF2B5EF4-FFF2-40B4-BE49-F238E27FC236}">
                  <a16:creationId xmlns:a16="http://schemas.microsoft.com/office/drawing/2014/main" id="{76D38854-8B6D-51CE-6DF3-BCA5FEB59998}"/>
                </a:ext>
              </a:extLst>
            </p:cNvPr>
            <p:cNvSpPr/>
            <p:nvPr/>
          </p:nvSpPr>
          <p:spPr>
            <a:xfrm>
              <a:off x="1495461" y="4770513"/>
              <a:ext cx="33287" cy="33287"/>
            </a:xfrm>
            <a:custGeom>
              <a:avLst/>
              <a:gdLst>
                <a:gd name="connsiteX0" fmla="*/ 0 w 33287"/>
                <a:gd name="connsiteY0" fmla="*/ 0 h 33287"/>
                <a:gd name="connsiteX1" fmla="*/ 33287 w 33287"/>
                <a:gd name="connsiteY1" fmla="*/ 0 h 33287"/>
                <a:gd name="connsiteX2" fmla="*/ 33287 w 33287"/>
                <a:gd name="connsiteY2" fmla="*/ 33287 h 33287"/>
                <a:gd name="connsiteX3" fmla="*/ 0 w 33287"/>
                <a:gd name="connsiteY3" fmla="*/ 33287 h 332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287" h="33287">
                  <a:moveTo>
                    <a:pt x="0" y="0"/>
                  </a:moveTo>
                  <a:lnTo>
                    <a:pt x="33287" y="0"/>
                  </a:lnTo>
                  <a:lnTo>
                    <a:pt x="33287" y="33287"/>
                  </a:lnTo>
                  <a:lnTo>
                    <a:pt x="0" y="33287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33" name="Forma livre: Forma 1632">
              <a:extLst>
                <a:ext uri="{FF2B5EF4-FFF2-40B4-BE49-F238E27FC236}">
                  <a16:creationId xmlns:a16="http://schemas.microsoft.com/office/drawing/2014/main" id="{9F7D6252-8204-63F3-B81F-9F9475071A65}"/>
                </a:ext>
              </a:extLst>
            </p:cNvPr>
            <p:cNvSpPr/>
            <p:nvPr/>
          </p:nvSpPr>
          <p:spPr>
            <a:xfrm>
              <a:off x="1495853" y="4831213"/>
              <a:ext cx="33287" cy="33287"/>
            </a:xfrm>
            <a:custGeom>
              <a:avLst/>
              <a:gdLst>
                <a:gd name="connsiteX0" fmla="*/ 0 w 33287"/>
                <a:gd name="connsiteY0" fmla="*/ 0 h 33287"/>
                <a:gd name="connsiteX1" fmla="*/ 33287 w 33287"/>
                <a:gd name="connsiteY1" fmla="*/ 0 h 33287"/>
                <a:gd name="connsiteX2" fmla="*/ 33287 w 33287"/>
                <a:gd name="connsiteY2" fmla="*/ 33287 h 33287"/>
                <a:gd name="connsiteX3" fmla="*/ 0 w 33287"/>
                <a:gd name="connsiteY3" fmla="*/ 33287 h 332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287" h="33287">
                  <a:moveTo>
                    <a:pt x="0" y="0"/>
                  </a:moveTo>
                  <a:lnTo>
                    <a:pt x="33287" y="0"/>
                  </a:lnTo>
                  <a:lnTo>
                    <a:pt x="33287" y="33287"/>
                  </a:lnTo>
                  <a:lnTo>
                    <a:pt x="0" y="33287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34" name="Forma livre: Forma 1633">
              <a:extLst>
                <a:ext uri="{FF2B5EF4-FFF2-40B4-BE49-F238E27FC236}">
                  <a16:creationId xmlns:a16="http://schemas.microsoft.com/office/drawing/2014/main" id="{2EB65033-B3DD-81BE-4E8F-5E1BE5644648}"/>
                </a:ext>
              </a:extLst>
            </p:cNvPr>
            <p:cNvSpPr/>
            <p:nvPr/>
          </p:nvSpPr>
          <p:spPr>
            <a:xfrm>
              <a:off x="1558218" y="4770513"/>
              <a:ext cx="33287" cy="33287"/>
            </a:xfrm>
            <a:custGeom>
              <a:avLst/>
              <a:gdLst>
                <a:gd name="connsiteX0" fmla="*/ 0 w 33287"/>
                <a:gd name="connsiteY0" fmla="*/ 0 h 33287"/>
                <a:gd name="connsiteX1" fmla="*/ 33287 w 33287"/>
                <a:gd name="connsiteY1" fmla="*/ 0 h 33287"/>
                <a:gd name="connsiteX2" fmla="*/ 33287 w 33287"/>
                <a:gd name="connsiteY2" fmla="*/ 33287 h 33287"/>
                <a:gd name="connsiteX3" fmla="*/ 0 w 33287"/>
                <a:gd name="connsiteY3" fmla="*/ 33287 h 332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287" h="33287">
                  <a:moveTo>
                    <a:pt x="0" y="0"/>
                  </a:moveTo>
                  <a:lnTo>
                    <a:pt x="33287" y="0"/>
                  </a:lnTo>
                  <a:lnTo>
                    <a:pt x="33287" y="33287"/>
                  </a:lnTo>
                  <a:lnTo>
                    <a:pt x="0" y="33287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35" name="Forma livre: Forma 1634">
              <a:extLst>
                <a:ext uri="{FF2B5EF4-FFF2-40B4-BE49-F238E27FC236}">
                  <a16:creationId xmlns:a16="http://schemas.microsoft.com/office/drawing/2014/main" id="{DD02ACA1-9905-3CEA-B9BE-2978272DD836}"/>
                </a:ext>
              </a:extLst>
            </p:cNvPr>
            <p:cNvSpPr/>
            <p:nvPr/>
          </p:nvSpPr>
          <p:spPr>
            <a:xfrm>
              <a:off x="1619946" y="4770513"/>
              <a:ext cx="33287" cy="28832"/>
            </a:xfrm>
            <a:custGeom>
              <a:avLst/>
              <a:gdLst>
                <a:gd name="connsiteX0" fmla="*/ 0 w 33287"/>
                <a:gd name="connsiteY0" fmla="*/ 27070 h 28832"/>
                <a:gd name="connsiteX1" fmla="*/ 0 w 33287"/>
                <a:gd name="connsiteY1" fmla="*/ 0 h 28832"/>
                <a:gd name="connsiteX2" fmla="*/ 33287 w 33287"/>
                <a:gd name="connsiteY2" fmla="*/ 0 h 28832"/>
                <a:gd name="connsiteX3" fmla="*/ 33287 w 33287"/>
                <a:gd name="connsiteY3" fmla="*/ 28833 h 288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287" h="28832">
                  <a:moveTo>
                    <a:pt x="0" y="27070"/>
                  </a:moveTo>
                  <a:lnTo>
                    <a:pt x="0" y="0"/>
                  </a:lnTo>
                  <a:lnTo>
                    <a:pt x="33287" y="0"/>
                  </a:lnTo>
                  <a:lnTo>
                    <a:pt x="33287" y="28833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36" name="Forma livre: Forma 1635">
              <a:extLst>
                <a:ext uri="{FF2B5EF4-FFF2-40B4-BE49-F238E27FC236}">
                  <a16:creationId xmlns:a16="http://schemas.microsoft.com/office/drawing/2014/main" id="{759D9D62-A4FD-6571-1B52-73827D2D6C50}"/>
                </a:ext>
              </a:extLst>
            </p:cNvPr>
            <p:cNvSpPr/>
            <p:nvPr/>
          </p:nvSpPr>
          <p:spPr>
            <a:xfrm>
              <a:off x="1565542" y="4816381"/>
              <a:ext cx="158769" cy="176569"/>
            </a:xfrm>
            <a:custGeom>
              <a:avLst/>
              <a:gdLst>
                <a:gd name="connsiteX0" fmla="*/ 63313 w 158769"/>
                <a:gd name="connsiteY0" fmla="*/ 176570 h 176569"/>
                <a:gd name="connsiteX1" fmla="*/ 4228 w 158769"/>
                <a:gd name="connsiteY1" fmla="*/ 117387 h 176569"/>
                <a:gd name="connsiteX2" fmla="*/ 4326 w 158769"/>
                <a:gd name="connsiteY2" fmla="*/ 96631 h 176569"/>
                <a:gd name="connsiteX3" fmla="*/ 5942 w 158769"/>
                <a:gd name="connsiteY3" fmla="*/ 95016 h 176569"/>
                <a:gd name="connsiteX4" fmla="*/ 26697 w 158769"/>
                <a:gd name="connsiteY4" fmla="*/ 95114 h 176569"/>
                <a:gd name="connsiteX5" fmla="*/ 53523 w 158769"/>
                <a:gd name="connsiteY5" fmla="*/ 121890 h 176569"/>
                <a:gd name="connsiteX6" fmla="*/ 53523 w 158769"/>
                <a:gd name="connsiteY6" fmla="*/ 86890 h 176569"/>
                <a:gd name="connsiteX7" fmla="*/ 53523 w 158769"/>
                <a:gd name="connsiteY7" fmla="*/ 14686 h 176569"/>
                <a:gd name="connsiteX8" fmla="*/ 68209 w 158769"/>
                <a:gd name="connsiteY8" fmla="*/ 0 h 176569"/>
                <a:gd name="connsiteX9" fmla="*/ 69432 w 158769"/>
                <a:gd name="connsiteY9" fmla="*/ 0 h 176569"/>
                <a:gd name="connsiteX10" fmla="*/ 84118 w 158769"/>
                <a:gd name="connsiteY10" fmla="*/ 14686 h 176569"/>
                <a:gd name="connsiteX11" fmla="*/ 84118 w 158769"/>
                <a:gd name="connsiteY11" fmla="*/ 69854 h 176569"/>
                <a:gd name="connsiteX12" fmla="*/ 140413 w 158769"/>
                <a:gd name="connsiteY12" fmla="*/ 79155 h 176569"/>
                <a:gd name="connsiteX13" fmla="*/ 158770 w 158769"/>
                <a:gd name="connsiteY13" fmla="*/ 106911 h 176569"/>
                <a:gd name="connsiteX14" fmla="*/ 153385 w 158769"/>
                <a:gd name="connsiteY14" fmla="*/ 174220 h 1765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58769" h="176569">
                  <a:moveTo>
                    <a:pt x="63313" y="176570"/>
                  </a:moveTo>
                  <a:lnTo>
                    <a:pt x="4228" y="117387"/>
                  </a:lnTo>
                  <a:cubicBezTo>
                    <a:pt x="-1450" y="111659"/>
                    <a:pt x="-1401" y="102310"/>
                    <a:pt x="4326" y="96631"/>
                  </a:cubicBezTo>
                  <a:lnTo>
                    <a:pt x="5942" y="95016"/>
                  </a:lnTo>
                  <a:cubicBezTo>
                    <a:pt x="11669" y="89337"/>
                    <a:pt x="21019" y="89386"/>
                    <a:pt x="26697" y="95114"/>
                  </a:cubicBezTo>
                  <a:lnTo>
                    <a:pt x="53523" y="121890"/>
                  </a:lnTo>
                  <a:lnTo>
                    <a:pt x="53523" y="86890"/>
                  </a:lnTo>
                  <a:cubicBezTo>
                    <a:pt x="53523" y="86890"/>
                    <a:pt x="53523" y="14686"/>
                    <a:pt x="53523" y="14686"/>
                  </a:cubicBezTo>
                  <a:cubicBezTo>
                    <a:pt x="53523" y="6609"/>
                    <a:pt x="60132" y="0"/>
                    <a:pt x="68209" y="0"/>
                  </a:cubicBezTo>
                  <a:lnTo>
                    <a:pt x="69432" y="0"/>
                  </a:lnTo>
                  <a:cubicBezTo>
                    <a:pt x="77509" y="0"/>
                    <a:pt x="84118" y="6609"/>
                    <a:pt x="84118" y="14686"/>
                  </a:cubicBezTo>
                  <a:lnTo>
                    <a:pt x="84118" y="69854"/>
                  </a:lnTo>
                  <a:lnTo>
                    <a:pt x="140413" y="79155"/>
                  </a:lnTo>
                  <a:cubicBezTo>
                    <a:pt x="140413" y="79155"/>
                    <a:pt x="158770" y="82827"/>
                    <a:pt x="158770" y="106911"/>
                  </a:cubicBezTo>
                  <a:lnTo>
                    <a:pt x="153385" y="174220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37" name="Forma livre: Forma 1636">
              <a:extLst>
                <a:ext uri="{FF2B5EF4-FFF2-40B4-BE49-F238E27FC236}">
                  <a16:creationId xmlns:a16="http://schemas.microsoft.com/office/drawing/2014/main" id="{E4EBA55D-4CBF-3427-9764-F657FB322062}"/>
                </a:ext>
              </a:extLst>
            </p:cNvPr>
            <p:cNvSpPr/>
            <p:nvPr/>
          </p:nvSpPr>
          <p:spPr>
            <a:xfrm>
              <a:off x="1403481" y="4738400"/>
              <a:ext cx="283823" cy="207458"/>
            </a:xfrm>
            <a:custGeom>
              <a:avLst/>
              <a:gdLst>
                <a:gd name="connsiteX0" fmla="*/ 149352 w 283823"/>
                <a:gd name="connsiteY0" fmla="*/ 207458 h 207458"/>
                <a:gd name="connsiteX1" fmla="*/ 14686 w 283823"/>
                <a:gd name="connsiteY1" fmla="*/ 207458 h 207458"/>
                <a:gd name="connsiteX2" fmla="*/ 0 w 283823"/>
                <a:gd name="connsiteY2" fmla="*/ 192773 h 207458"/>
                <a:gd name="connsiteX3" fmla="*/ 0 w 283823"/>
                <a:gd name="connsiteY3" fmla="*/ 14686 h 207458"/>
                <a:gd name="connsiteX4" fmla="*/ 14686 w 283823"/>
                <a:gd name="connsiteY4" fmla="*/ 0 h 207458"/>
                <a:gd name="connsiteX5" fmla="*/ 269138 w 283823"/>
                <a:gd name="connsiteY5" fmla="*/ 0 h 207458"/>
                <a:gd name="connsiteX6" fmla="*/ 283823 w 283823"/>
                <a:gd name="connsiteY6" fmla="*/ 14686 h 207458"/>
                <a:gd name="connsiteX7" fmla="*/ 283823 w 283823"/>
                <a:gd name="connsiteY7" fmla="*/ 132709 h 2074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3823" h="207458">
                  <a:moveTo>
                    <a:pt x="149352" y="207458"/>
                  </a:moveTo>
                  <a:lnTo>
                    <a:pt x="14686" y="207458"/>
                  </a:lnTo>
                  <a:cubicBezTo>
                    <a:pt x="6608" y="207458"/>
                    <a:pt x="0" y="200850"/>
                    <a:pt x="0" y="192773"/>
                  </a:cubicBezTo>
                  <a:lnTo>
                    <a:pt x="0" y="14686"/>
                  </a:lnTo>
                  <a:cubicBezTo>
                    <a:pt x="0" y="6609"/>
                    <a:pt x="6608" y="0"/>
                    <a:pt x="14686" y="0"/>
                  </a:cubicBezTo>
                  <a:lnTo>
                    <a:pt x="269138" y="0"/>
                  </a:lnTo>
                  <a:cubicBezTo>
                    <a:pt x="277215" y="0"/>
                    <a:pt x="283823" y="6609"/>
                    <a:pt x="283823" y="14686"/>
                  </a:cubicBezTo>
                  <a:lnTo>
                    <a:pt x="283823" y="132709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38" name="Forma livre: Forma 1637">
              <a:extLst>
                <a:ext uri="{FF2B5EF4-FFF2-40B4-BE49-F238E27FC236}">
                  <a16:creationId xmlns:a16="http://schemas.microsoft.com/office/drawing/2014/main" id="{AE1ABDD3-CE4C-08E6-049D-F292CFADBF91}"/>
                </a:ext>
              </a:extLst>
            </p:cNvPr>
            <p:cNvSpPr/>
            <p:nvPr/>
          </p:nvSpPr>
          <p:spPr>
            <a:xfrm>
              <a:off x="1460999" y="4738596"/>
              <a:ext cx="4895" cy="207115"/>
            </a:xfrm>
            <a:custGeom>
              <a:avLst/>
              <a:gdLst>
                <a:gd name="connsiteX0" fmla="*/ 0 w 4895"/>
                <a:gd name="connsiteY0" fmla="*/ 0 h 207115"/>
                <a:gd name="connsiteX1" fmla="*/ 0 w 4895"/>
                <a:gd name="connsiteY1" fmla="*/ 207116 h 2071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895" h="207115">
                  <a:moveTo>
                    <a:pt x="0" y="0"/>
                  </a:moveTo>
                  <a:lnTo>
                    <a:pt x="0" y="207116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39" name="Forma livre: Forma 1638">
              <a:extLst>
                <a:ext uri="{FF2B5EF4-FFF2-40B4-BE49-F238E27FC236}">
                  <a16:creationId xmlns:a16="http://schemas.microsoft.com/office/drawing/2014/main" id="{4225679F-FE85-2104-CCF9-1996DEFE5B52}"/>
                </a:ext>
              </a:extLst>
            </p:cNvPr>
            <p:cNvSpPr/>
            <p:nvPr/>
          </p:nvSpPr>
          <p:spPr>
            <a:xfrm>
              <a:off x="1433194" y="4831311"/>
              <a:ext cx="4895" cy="21685"/>
            </a:xfrm>
            <a:custGeom>
              <a:avLst/>
              <a:gdLst>
                <a:gd name="connsiteX0" fmla="*/ 0 w 4895"/>
                <a:gd name="connsiteY0" fmla="*/ 0 h 21685"/>
                <a:gd name="connsiteX1" fmla="*/ 0 w 4895"/>
                <a:gd name="connsiteY1" fmla="*/ 21686 h 216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895" h="21685">
                  <a:moveTo>
                    <a:pt x="0" y="0"/>
                  </a:moveTo>
                  <a:lnTo>
                    <a:pt x="0" y="21686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640" name="Gráfico 17">
            <a:extLst>
              <a:ext uri="{FF2B5EF4-FFF2-40B4-BE49-F238E27FC236}">
                <a16:creationId xmlns:a16="http://schemas.microsoft.com/office/drawing/2014/main" id="{673E0FA6-6C19-CEA7-FB17-B3B815E10A7B}"/>
              </a:ext>
            </a:extLst>
          </p:cNvPr>
          <p:cNvGrpSpPr/>
          <p:nvPr/>
        </p:nvGrpSpPr>
        <p:grpSpPr>
          <a:xfrm>
            <a:off x="1418313" y="3631547"/>
            <a:ext cx="291166" cy="237563"/>
            <a:chOff x="1418313" y="3631547"/>
            <a:chExt cx="291166" cy="237563"/>
          </a:xfrm>
          <a:noFill/>
        </p:grpSpPr>
        <p:sp>
          <p:nvSpPr>
            <p:cNvPr id="1641" name="Forma livre: Forma 1640">
              <a:extLst>
                <a:ext uri="{FF2B5EF4-FFF2-40B4-BE49-F238E27FC236}">
                  <a16:creationId xmlns:a16="http://schemas.microsoft.com/office/drawing/2014/main" id="{5E5789E5-3F4F-F0DD-AF19-7E706EF333A8}"/>
                </a:ext>
              </a:extLst>
            </p:cNvPr>
            <p:cNvSpPr/>
            <p:nvPr/>
          </p:nvSpPr>
          <p:spPr>
            <a:xfrm>
              <a:off x="1506231" y="3869111"/>
              <a:ext cx="115869" cy="4895"/>
            </a:xfrm>
            <a:custGeom>
              <a:avLst/>
              <a:gdLst>
                <a:gd name="connsiteX0" fmla="*/ 0 w 115869"/>
                <a:gd name="connsiteY0" fmla="*/ 0 h 4895"/>
                <a:gd name="connsiteX1" fmla="*/ 115869 w 115869"/>
                <a:gd name="connsiteY1" fmla="*/ 0 h 48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5869" h="4895">
                  <a:moveTo>
                    <a:pt x="0" y="0"/>
                  </a:moveTo>
                  <a:lnTo>
                    <a:pt x="115869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42" name="Forma livre: Forma 1641">
              <a:extLst>
                <a:ext uri="{FF2B5EF4-FFF2-40B4-BE49-F238E27FC236}">
                  <a16:creationId xmlns:a16="http://schemas.microsoft.com/office/drawing/2014/main" id="{95C878C1-07D4-75EB-75A8-122B6E99BC34}"/>
                </a:ext>
              </a:extLst>
            </p:cNvPr>
            <p:cNvSpPr/>
            <p:nvPr/>
          </p:nvSpPr>
          <p:spPr>
            <a:xfrm>
              <a:off x="1418313" y="3631547"/>
              <a:ext cx="291166" cy="200654"/>
            </a:xfrm>
            <a:custGeom>
              <a:avLst/>
              <a:gdLst>
                <a:gd name="connsiteX0" fmla="*/ 256900 w 291166"/>
                <a:gd name="connsiteY0" fmla="*/ 0 h 200654"/>
                <a:gd name="connsiteX1" fmla="*/ 291166 w 291166"/>
                <a:gd name="connsiteY1" fmla="*/ 34266 h 200654"/>
                <a:gd name="connsiteX2" fmla="*/ 291166 w 291166"/>
                <a:gd name="connsiteY2" fmla="*/ 166388 h 200654"/>
                <a:gd name="connsiteX3" fmla="*/ 256900 w 291166"/>
                <a:gd name="connsiteY3" fmla="*/ 200654 h 200654"/>
                <a:gd name="connsiteX4" fmla="*/ 34266 w 291166"/>
                <a:gd name="connsiteY4" fmla="*/ 200654 h 200654"/>
                <a:gd name="connsiteX5" fmla="*/ 0 w 291166"/>
                <a:gd name="connsiteY5" fmla="*/ 166388 h 200654"/>
                <a:gd name="connsiteX6" fmla="*/ 0 w 291166"/>
                <a:gd name="connsiteY6" fmla="*/ 34266 h 200654"/>
                <a:gd name="connsiteX7" fmla="*/ 34266 w 291166"/>
                <a:gd name="connsiteY7" fmla="*/ 0 h 2006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91166" h="200654">
                  <a:moveTo>
                    <a:pt x="256900" y="0"/>
                  </a:moveTo>
                  <a:cubicBezTo>
                    <a:pt x="275825" y="0"/>
                    <a:pt x="291166" y="15342"/>
                    <a:pt x="291166" y="34266"/>
                  </a:cubicBezTo>
                  <a:lnTo>
                    <a:pt x="291166" y="166388"/>
                  </a:lnTo>
                  <a:cubicBezTo>
                    <a:pt x="291166" y="185313"/>
                    <a:pt x="275825" y="200654"/>
                    <a:pt x="256900" y="200654"/>
                  </a:cubicBezTo>
                  <a:lnTo>
                    <a:pt x="34266" y="200654"/>
                  </a:lnTo>
                  <a:cubicBezTo>
                    <a:pt x="15342" y="200654"/>
                    <a:pt x="0" y="185313"/>
                    <a:pt x="0" y="166388"/>
                  </a:cubicBezTo>
                  <a:lnTo>
                    <a:pt x="0" y="34266"/>
                  </a:lnTo>
                  <a:cubicBezTo>
                    <a:pt x="0" y="15342"/>
                    <a:pt x="15342" y="0"/>
                    <a:pt x="34266" y="0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643" name="Gráfico 17">
            <a:extLst>
              <a:ext uri="{FF2B5EF4-FFF2-40B4-BE49-F238E27FC236}">
                <a16:creationId xmlns:a16="http://schemas.microsoft.com/office/drawing/2014/main" id="{4A6DE9CA-91C9-1D89-8D03-1652B6EA03CB}"/>
              </a:ext>
            </a:extLst>
          </p:cNvPr>
          <p:cNvGrpSpPr/>
          <p:nvPr/>
        </p:nvGrpSpPr>
        <p:grpSpPr>
          <a:xfrm>
            <a:off x="1411705" y="4196992"/>
            <a:ext cx="304432" cy="222046"/>
            <a:chOff x="1411705" y="4196992"/>
            <a:chExt cx="304432" cy="222046"/>
          </a:xfrm>
          <a:noFill/>
        </p:grpSpPr>
        <p:sp>
          <p:nvSpPr>
            <p:cNvPr id="1644" name="Forma livre: Forma 1643">
              <a:extLst>
                <a:ext uri="{FF2B5EF4-FFF2-40B4-BE49-F238E27FC236}">
                  <a16:creationId xmlns:a16="http://schemas.microsoft.com/office/drawing/2014/main" id="{E14A50F9-A412-5632-73C6-212606C738A2}"/>
                </a:ext>
              </a:extLst>
            </p:cNvPr>
            <p:cNvSpPr/>
            <p:nvPr/>
          </p:nvSpPr>
          <p:spPr>
            <a:xfrm>
              <a:off x="1411705" y="4196992"/>
              <a:ext cx="304432" cy="222046"/>
            </a:xfrm>
            <a:custGeom>
              <a:avLst/>
              <a:gdLst>
                <a:gd name="connsiteX0" fmla="*/ 289747 w 304432"/>
                <a:gd name="connsiteY0" fmla="*/ 0 h 222046"/>
                <a:gd name="connsiteX1" fmla="*/ 304432 w 304432"/>
                <a:gd name="connsiteY1" fmla="*/ 14686 h 222046"/>
                <a:gd name="connsiteX2" fmla="*/ 304432 w 304432"/>
                <a:gd name="connsiteY2" fmla="*/ 207360 h 222046"/>
                <a:gd name="connsiteX3" fmla="*/ 289747 w 304432"/>
                <a:gd name="connsiteY3" fmla="*/ 222046 h 222046"/>
                <a:gd name="connsiteX4" fmla="*/ 14686 w 304432"/>
                <a:gd name="connsiteY4" fmla="*/ 222046 h 222046"/>
                <a:gd name="connsiteX5" fmla="*/ 0 w 304432"/>
                <a:gd name="connsiteY5" fmla="*/ 207360 h 222046"/>
                <a:gd name="connsiteX6" fmla="*/ 0 w 304432"/>
                <a:gd name="connsiteY6" fmla="*/ 14686 h 222046"/>
                <a:gd name="connsiteX7" fmla="*/ 14686 w 304432"/>
                <a:gd name="connsiteY7" fmla="*/ 0 h 222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04432" h="222046">
                  <a:moveTo>
                    <a:pt x="289747" y="0"/>
                  </a:moveTo>
                  <a:cubicBezTo>
                    <a:pt x="297857" y="0"/>
                    <a:pt x="304432" y="6575"/>
                    <a:pt x="304432" y="14686"/>
                  </a:cubicBezTo>
                  <a:lnTo>
                    <a:pt x="304432" y="207360"/>
                  </a:lnTo>
                  <a:cubicBezTo>
                    <a:pt x="304432" y="215471"/>
                    <a:pt x="297857" y="222046"/>
                    <a:pt x="289747" y="222046"/>
                  </a:cubicBezTo>
                  <a:lnTo>
                    <a:pt x="14686" y="222046"/>
                  </a:lnTo>
                  <a:cubicBezTo>
                    <a:pt x="6575" y="222046"/>
                    <a:pt x="0" y="215471"/>
                    <a:pt x="0" y="207360"/>
                  </a:cubicBezTo>
                  <a:lnTo>
                    <a:pt x="0" y="14686"/>
                  </a:lnTo>
                  <a:cubicBezTo>
                    <a:pt x="0" y="6575"/>
                    <a:pt x="6575" y="0"/>
                    <a:pt x="14686" y="0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45" name="Forma livre: Forma 1644">
              <a:extLst>
                <a:ext uri="{FF2B5EF4-FFF2-40B4-BE49-F238E27FC236}">
                  <a16:creationId xmlns:a16="http://schemas.microsoft.com/office/drawing/2014/main" id="{BBD46F0C-1B40-AB2D-E699-CAB133DD6B8C}"/>
                </a:ext>
              </a:extLst>
            </p:cNvPr>
            <p:cNvSpPr/>
            <p:nvPr/>
          </p:nvSpPr>
          <p:spPr>
            <a:xfrm>
              <a:off x="1474853" y="4198264"/>
              <a:ext cx="4895" cy="219500"/>
            </a:xfrm>
            <a:custGeom>
              <a:avLst/>
              <a:gdLst>
                <a:gd name="connsiteX0" fmla="*/ 0 w 4895"/>
                <a:gd name="connsiteY0" fmla="*/ 0 h 219500"/>
                <a:gd name="connsiteX1" fmla="*/ 0 w 4895"/>
                <a:gd name="connsiteY1" fmla="*/ 219501 h 219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895" h="219500">
                  <a:moveTo>
                    <a:pt x="0" y="0"/>
                  </a:moveTo>
                  <a:lnTo>
                    <a:pt x="0" y="219501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46" name="Forma livre: Forma 1645">
              <a:extLst>
                <a:ext uri="{FF2B5EF4-FFF2-40B4-BE49-F238E27FC236}">
                  <a16:creationId xmlns:a16="http://schemas.microsoft.com/office/drawing/2014/main" id="{90853A6D-2A50-4DF3-F8BF-ED918276DA59}"/>
                </a:ext>
              </a:extLst>
            </p:cNvPr>
            <p:cNvSpPr/>
            <p:nvPr/>
          </p:nvSpPr>
          <p:spPr>
            <a:xfrm>
              <a:off x="1442642" y="4297147"/>
              <a:ext cx="4895" cy="21685"/>
            </a:xfrm>
            <a:custGeom>
              <a:avLst/>
              <a:gdLst>
                <a:gd name="connsiteX0" fmla="*/ 0 w 4895"/>
                <a:gd name="connsiteY0" fmla="*/ 0 h 21685"/>
                <a:gd name="connsiteX1" fmla="*/ 0 w 4895"/>
                <a:gd name="connsiteY1" fmla="*/ 21686 h 216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895" h="21685">
                  <a:moveTo>
                    <a:pt x="0" y="0"/>
                  </a:moveTo>
                  <a:lnTo>
                    <a:pt x="0" y="21686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647" name="Gráfico 17">
            <a:extLst>
              <a:ext uri="{FF2B5EF4-FFF2-40B4-BE49-F238E27FC236}">
                <a16:creationId xmlns:a16="http://schemas.microsoft.com/office/drawing/2014/main" id="{152039D9-19E9-E1CE-58E4-7AC50E0CF4A2}"/>
              </a:ext>
            </a:extLst>
          </p:cNvPr>
          <p:cNvGrpSpPr/>
          <p:nvPr/>
        </p:nvGrpSpPr>
        <p:grpSpPr>
          <a:xfrm>
            <a:off x="779147" y="5267228"/>
            <a:ext cx="287494" cy="312313"/>
            <a:chOff x="779147" y="5267228"/>
            <a:chExt cx="287494" cy="312313"/>
          </a:xfrm>
        </p:grpSpPr>
        <p:sp>
          <p:nvSpPr>
            <p:cNvPr id="1648" name="Forma livre: Forma 1647">
              <a:extLst>
                <a:ext uri="{FF2B5EF4-FFF2-40B4-BE49-F238E27FC236}">
                  <a16:creationId xmlns:a16="http://schemas.microsoft.com/office/drawing/2014/main" id="{2A60F084-B1DB-9164-A0EC-57129F66146E}"/>
                </a:ext>
              </a:extLst>
            </p:cNvPr>
            <p:cNvSpPr/>
            <p:nvPr/>
          </p:nvSpPr>
          <p:spPr>
            <a:xfrm>
              <a:off x="887772" y="5491135"/>
              <a:ext cx="70246" cy="4895"/>
            </a:xfrm>
            <a:custGeom>
              <a:avLst/>
              <a:gdLst>
                <a:gd name="connsiteX0" fmla="*/ 0 w 70246"/>
                <a:gd name="connsiteY0" fmla="*/ 0 h 4895"/>
                <a:gd name="connsiteX1" fmla="*/ 70246 w 70246"/>
                <a:gd name="connsiteY1" fmla="*/ 0 h 48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0246" h="4895">
                  <a:moveTo>
                    <a:pt x="0" y="0"/>
                  </a:moveTo>
                  <a:lnTo>
                    <a:pt x="70246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49" name="Forma livre: Forma 1648">
              <a:extLst>
                <a:ext uri="{FF2B5EF4-FFF2-40B4-BE49-F238E27FC236}">
                  <a16:creationId xmlns:a16="http://schemas.microsoft.com/office/drawing/2014/main" id="{B5A5CD92-1EE5-526E-A660-A832FC0CDD8F}"/>
                </a:ext>
              </a:extLst>
            </p:cNvPr>
            <p:cNvSpPr/>
            <p:nvPr/>
          </p:nvSpPr>
          <p:spPr>
            <a:xfrm>
              <a:off x="818456" y="5439735"/>
              <a:ext cx="208926" cy="4895"/>
            </a:xfrm>
            <a:custGeom>
              <a:avLst/>
              <a:gdLst>
                <a:gd name="connsiteX0" fmla="*/ 208927 w 208926"/>
                <a:gd name="connsiteY0" fmla="*/ 0 h 4895"/>
                <a:gd name="connsiteX1" fmla="*/ 0 w 208926"/>
                <a:gd name="connsiteY1" fmla="*/ 0 h 48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08926" h="4895">
                  <a:moveTo>
                    <a:pt x="208927" y="0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50" name="Forma livre: Forma 1649">
              <a:extLst>
                <a:ext uri="{FF2B5EF4-FFF2-40B4-BE49-F238E27FC236}">
                  <a16:creationId xmlns:a16="http://schemas.microsoft.com/office/drawing/2014/main" id="{6A6CDBDD-19CD-37BF-CE7C-98E63B53A747}"/>
                </a:ext>
              </a:extLst>
            </p:cNvPr>
            <p:cNvSpPr/>
            <p:nvPr/>
          </p:nvSpPr>
          <p:spPr>
            <a:xfrm>
              <a:off x="887233" y="5490498"/>
              <a:ext cx="71323" cy="4895"/>
            </a:xfrm>
            <a:custGeom>
              <a:avLst/>
              <a:gdLst>
                <a:gd name="connsiteX0" fmla="*/ 0 w 71323"/>
                <a:gd name="connsiteY0" fmla="*/ 0 h 4895"/>
                <a:gd name="connsiteX1" fmla="*/ 71323 w 71323"/>
                <a:gd name="connsiteY1" fmla="*/ 0 h 48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1323" h="4895">
                  <a:moveTo>
                    <a:pt x="0" y="0"/>
                  </a:moveTo>
                  <a:lnTo>
                    <a:pt x="71323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51" name="Forma livre: Forma 1650">
              <a:extLst>
                <a:ext uri="{FF2B5EF4-FFF2-40B4-BE49-F238E27FC236}">
                  <a16:creationId xmlns:a16="http://schemas.microsoft.com/office/drawing/2014/main" id="{7B91B825-FE1D-370D-29E6-265DDFBFCC91}"/>
                </a:ext>
              </a:extLst>
            </p:cNvPr>
            <p:cNvSpPr/>
            <p:nvPr/>
          </p:nvSpPr>
          <p:spPr>
            <a:xfrm>
              <a:off x="887233" y="5528974"/>
              <a:ext cx="71323" cy="4895"/>
            </a:xfrm>
            <a:custGeom>
              <a:avLst/>
              <a:gdLst>
                <a:gd name="connsiteX0" fmla="*/ 0 w 71323"/>
                <a:gd name="connsiteY0" fmla="*/ 0 h 4895"/>
                <a:gd name="connsiteX1" fmla="*/ 71323 w 71323"/>
                <a:gd name="connsiteY1" fmla="*/ 0 h 48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1323" h="4895">
                  <a:moveTo>
                    <a:pt x="0" y="0"/>
                  </a:moveTo>
                  <a:lnTo>
                    <a:pt x="71323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52" name="Forma livre: Forma 1651">
              <a:extLst>
                <a:ext uri="{FF2B5EF4-FFF2-40B4-BE49-F238E27FC236}">
                  <a16:creationId xmlns:a16="http://schemas.microsoft.com/office/drawing/2014/main" id="{1B8EF879-0EF3-E6EF-72D2-1B1BFA5E37F3}"/>
                </a:ext>
              </a:extLst>
            </p:cNvPr>
            <p:cNvSpPr/>
            <p:nvPr/>
          </p:nvSpPr>
          <p:spPr>
            <a:xfrm>
              <a:off x="779147" y="5342957"/>
              <a:ext cx="287494" cy="148911"/>
            </a:xfrm>
            <a:custGeom>
              <a:avLst/>
              <a:gdLst>
                <a:gd name="connsiteX0" fmla="*/ 44987 w 287494"/>
                <a:gd name="connsiteY0" fmla="*/ 148912 h 148911"/>
                <a:gd name="connsiteX1" fmla="*/ 14686 w 287494"/>
                <a:gd name="connsiteY1" fmla="*/ 148912 h 148911"/>
                <a:gd name="connsiteX2" fmla="*/ 0 w 287494"/>
                <a:gd name="connsiteY2" fmla="*/ 134226 h 148911"/>
                <a:gd name="connsiteX3" fmla="*/ 0 w 287494"/>
                <a:gd name="connsiteY3" fmla="*/ 14686 h 148911"/>
                <a:gd name="connsiteX4" fmla="*/ 14686 w 287494"/>
                <a:gd name="connsiteY4" fmla="*/ 0 h 148911"/>
                <a:gd name="connsiteX5" fmla="*/ 272809 w 287494"/>
                <a:gd name="connsiteY5" fmla="*/ 0 h 148911"/>
                <a:gd name="connsiteX6" fmla="*/ 287495 w 287494"/>
                <a:gd name="connsiteY6" fmla="*/ 14686 h 148911"/>
                <a:gd name="connsiteX7" fmla="*/ 287495 w 287494"/>
                <a:gd name="connsiteY7" fmla="*/ 134226 h 148911"/>
                <a:gd name="connsiteX8" fmla="*/ 272809 w 287494"/>
                <a:gd name="connsiteY8" fmla="*/ 148912 h 148911"/>
                <a:gd name="connsiteX9" fmla="*/ 242018 w 287494"/>
                <a:gd name="connsiteY9" fmla="*/ 148912 h 1489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87494" h="148911">
                  <a:moveTo>
                    <a:pt x="44987" y="148912"/>
                  </a:moveTo>
                  <a:lnTo>
                    <a:pt x="14686" y="148912"/>
                  </a:lnTo>
                  <a:cubicBezTo>
                    <a:pt x="6609" y="148912"/>
                    <a:pt x="0" y="142303"/>
                    <a:pt x="0" y="134226"/>
                  </a:cubicBezTo>
                  <a:lnTo>
                    <a:pt x="0" y="14686"/>
                  </a:lnTo>
                  <a:cubicBezTo>
                    <a:pt x="0" y="6609"/>
                    <a:pt x="6609" y="0"/>
                    <a:pt x="14686" y="0"/>
                  </a:cubicBezTo>
                  <a:lnTo>
                    <a:pt x="272809" y="0"/>
                  </a:lnTo>
                  <a:cubicBezTo>
                    <a:pt x="280886" y="0"/>
                    <a:pt x="287495" y="6609"/>
                    <a:pt x="287495" y="14686"/>
                  </a:cubicBezTo>
                  <a:lnTo>
                    <a:pt x="287495" y="134226"/>
                  </a:lnTo>
                  <a:cubicBezTo>
                    <a:pt x="287495" y="142303"/>
                    <a:pt x="280886" y="148912"/>
                    <a:pt x="272809" y="148912"/>
                  </a:cubicBezTo>
                  <a:lnTo>
                    <a:pt x="242018" y="148912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53" name="Forma livre: Forma 1652">
              <a:extLst>
                <a:ext uri="{FF2B5EF4-FFF2-40B4-BE49-F238E27FC236}">
                  <a16:creationId xmlns:a16="http://schemas.microsoft.com/office/drawing/2014/main" id="{51BFACB1-DEEE-04C8-C1DD-94512B642C4A}"/>
                </a:ext>
              </a:extLst>
            </p:cNvPr>
            <p:cNvSpPr/>
            <p:nvPr/>
          </p:nvSpPr>
          <p:spPr>
            <a:xfrm>
              <a:off x="848316" y="5439931"/>
              <a:ext cx="149156" cy="139610"/>
            </a:xfrm>
            <a:custGeom>
              <a:avLst/>
              <a:gdLst>
                <a:gd name="connsiteX0" fmla="*/ 149157 w 149156"/>
                <a:gd name="connsiteY0" fmla="*/ 0 h 139610"/>
                <a:gd name="connsiteX1" fmla="*/ 149157 w 149156"/>
                <a:gd name="connsiteY1" fmla="*/ 139611 h 139610"/>
                <a:gd name="connsiteX2" fmla="*/ 0 w 149156"/>
                <a:gd name="connsiteY2" fmla="*/ 139611 h 139610"/>
                <a:gd name="connsiteX3" fmla="*/ 0 w 149156"/>
                <a:gd name="connsiteY3" fmla="*/ 0 h 1396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9156" h="139610">
                  <a:moveTo>
                    <a:pt x="149157" y="0"/>
                  </a:moveTo>
                  <a:lnTo>
                    <a:pt x="149157" y="139611"/>
                  </a:lnTo>
                  <a:lnTo>
                    <a:pt x="0" y="139611"/>
                  </a:lnTo>
                  <a:lnTo>
                    <a:pt x="0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54" name="Forma livre: Forma 1653">
              <a:extLst>
                <a:ext uri="{FF2B5EF4-FFF2-40B4-BE49-F238E27FC236}">
                  <a16:creationId xmlns:a16="http://schemas.microsoft.com/office/drawing/2014/main" id="{97AC4106-A554-01DE-CFC4-C749DCAD074D}"/>
                </a:ext>
              </a:extLst>
            </p:cNvPr>
            <p:cNvSpPr/>
            <p:nvPr/>
          </p:nvSpPr>
          <p:spPr>
            <a:xfrm>
              <a:off x="848316" y="5267228"/>
              <a:ext cx="149156" cy="75043"/>
            </a:xfrm>
            <a:custGeom>
              <a:avLst/>
              <a:gdLst>
                <a:gd name="connsiteX0" fmla="*/ 0 w 149156"/>
                <a:gd name="connsiteY0" fmla="*/ 75043 h 75043"/>
                <a:gd name="connsiteX1" fmla="*/ 0 w 149156"/>
                <a:gd name="connsiteY1" fmla="*/ 0 h 75043"/>
                <a:gd name="connsiteX2" fmla="*/ 149157 w 149156"/>
                <a:gd name="connsiteY2" fmla="*/ 0 h 75043"/>
                <a:gd name="connsiteX3" fmla="*/ 149157 w 149156"/>
                <a:gd name="connsiteY3" fmla="*/ 75043 h 750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9156" h="75043">
                  <a:moveTo>
                    <a:pt x="0" y="75043"/>
                  </a:moveTo>
                  <a:lnTo>
                    <a:pt x="0" y="0"/>
                  </a:lnTo>
                  <a:lnTo>
                    <a:pt x="149157" y="0"/>
                  </a:lnTo>
                  <a:lnTo>
                    <a:pt x="149157" y="75043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55" name="Forma livre: Forma 1654">
              <a:extLst>
                <a:ext uri="{FF2B5EF4-FFF2-40B4-BE49-F238E27FC236}">
                  <a16:creationId xmlns:a16="http://schemas.microsoft.com/office/drawing/2014/main" id="{B2E879AC-DB50-B0DF-322F-FE51BC976A4E}"/>
                </a:ext>
              </a:extLst>
            </p:cNvPr>
            <p:cNvSpPr/>
            <p:nvPr/>
          </p:nvSpPr>
          <p:spPr>
            <a:xfrm>
              <a:off x="820022" y="5381091"/>
              <a:ext cx="7636" cy="7636"/>
            </a:xfrm>
            <a:custGeom>
              <a:avLst/>
              <a:gdLst>
                <a:gd name="connsiteX0" fmla="*/ 7637 w 7636"/>
                <a:gd name="connsiteY0" fmla="*/ 3818 h 7636"/>
                <a:gd name="connsiteX1" fmla="*/ 3818 w 7636"/>
                <a:gd name="connsiteY1" fmla="*/ 7636 h 7636"/>
                <a:gd name="connsiteX2" fmla="*/ 0 w 7636"/>
                <a:gd name="connsiteY2" fmla="*/ 3818 h 7636"/>
                <a:gd name="connsiteX3" fmla="*/ 3818 w 7636"/>
                <a:gd name="connsiteY3" fmla="*/ 0 h 7636"/>
                <a:gd name="connsiteX4" fmla="*/ 7637 w 7636"/>
                <a:gd name="connsiteY4" fmla="*/ 3818 h 76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36" h="7636">
                  <a:moveTo>
                    <a:pt x="7637" y="3818"/>
                  </a:moveTo>
                  <a:cubicBezTo>
                    <a:pt x="7637" y="5923"/>
                    <a:pt x="5923" y="7636"/>
                    <a:pt x="3818" y="7636"/>
                  </a:cubicBezTo>
                  <a:cubicBezTo>
                    <a:pt x="1713" y="7636"/>
                    <a:pt x="0" y="5923"/>
                    <a:pt x="0" y="3818"/>
                  </a:cubicBezTo>
                  <a:cubicBezTo>
                    <a:pt x="0" y="1713"/>
                    <a:pt x="1713" y="0"/>
                    <a:pt x="3818" y="0"/>
                  </a:cubicBezTo>
                  <a:cubicBezTo>
                    <a:pt x="5923" y="0"/>
                    <a:pt x="7637" y="1713"/>
                    <a:pt x="7637" y="3818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688" name="Gráfico 17">
            <a:extLst>
              <a:ext uri="{FF2B5EF4-FFF2-40B4-BE49-F238E27FC236}">
                <a16:creationId xmlns:a16="http://schemas.microsoft.com/office/drawing/2014/main" id="{5A205C55-2D0A-EC58-3984-C5C1946BCC3C}"/>
              </a:ext>
            </a:extLst>
          </p:cNvPr>
          <p:cNvGrpSpPr/>
          <p:nvPr/>
        </p:nvGrpSpPr>
        <p:grpSpPr>
          <a:xfrm>
            <a:off x="777385" y="3631596"/>
            <a:ext cx="290970" cy="237465"/>
            <a:chOff x="777385" y="3631596"/>
            <a:chExt cx="290970" cy="237465"/>
          </a:xfrm>
          <a:noFill/>
        </p:grpSpPr>
        <p:sp>
          <p:nvSpPr>
            <p:cNvPr id="1689" name="Forma livre: Forma 1688">
              <a:extLst>
                <a:ext uri="{FF2B5EF4-FFF2-40B4-BE49-F238E27FC236}">
                  <a16:creationId xmlns:a16="http://schemas.microsoft.com/office/drawing/2014/main" id="{B74611E8-8BBA-87A0-EC22-B44FF3E29484}"/>
                </a:ext>
              </a:extLst>
            </p:cNvPr>
            <p:cNvSpPr/>
            <p:nvPr/>
          </p:nvSpPr>
          <p:spPr>
            <a:xfrm>
              <a:off x="863736" y="3869062"/>
              <a:ext cx="118316" cy="4895"/>
            </a:xfrm>
            <a:custGeom>
              <a:avLst/>
              <a:gdLst>
                <a:gd name="connsiteX0" fmla="*/ 0 w 118316"/>
                <a:gd name="connsiteY0" fmla="*/ 0 h 4895"/>
                <a:gd name="connsiteX1" fmla="*/ 118317 w 118316"/>
                <a:gd name="connsiteY1" fmla="*/ 0 h 48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8316" h="4895">
                  <a:moveTo>
                    <a:pt x="0" y="0"/>
                  </a:moveTo>
                  <a:lnTo>
                    <a:pt x="118317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690" name="Gráfico 17">
              <a:extLst>
                <a:ext uri="{FF2B5EF4-FFF2-40B4-BE49-F238E27FC236}">
                  <a16:creationId xmlns:a16="http://schemas.microsoft.com/office/drawing/2014/main" id="{A34E0989-1544-C15B-5E27-01DD4061EC77}"/>
                </a:ext>
              </a:extLst>
            </p:cNvPr>
            <p:cNvGrpSpPr/>
            <p:nvPr/>
          </p:nvGrpSpPr>
          <p:grpSpPr>
            <a:xfrm>
              <a:off x="902359" y="3831369"/>
              <a:ext cx="41119" cy="36665"/>
              <a:chOff x="902359" y="3831369"/>
              <a:chExt cx="41119" cy="36665"/>
            </a:xfrm>
          </p:grpSpPr>
          <p:sp>
            <p:nvSpPr>
              <p:cNvPr id="1691" name="Forma livre: Forma 1690">
                <a:extLst>
                  <a:ext uri="{FF2B5EF4-FFF2-40B4-BE49-F238E27FC236}">
                    <a16:creationId xmlns:a16="http://schemas.microsoft.com/office/drawing/2014/main" id="{C352A2B0-B2B3-1A02-DB7F-C3BE94D9ACF6}"/>
                  </a:ext>
                </a:extLst>
              </p:cNvPr>
              <p:cNvSpPr/>
              <p:nvPr/>
            </p:nvSpPr>
            <p:spPr>
              <a:xfrm>
                <a:off x="902359" y="3831369"/>
                <a:ext cx="4895" cy="36665"/>
              </a:xfrm>
              <a:custGeom>
                <a:avLst/>
                <a:gdLst>
                  <a:gd name="connsiteX0" fmla="*/ 0 w 4895"/>
                  <a:gd name="connsiteY0" fmla="*/ 0 h 36665"/>
                  <a:gd name="connsiteX1" fmla="*/ 0 w 4895"/>
                  <a:gd name="connsiteY1" fmla="*/ 36665 h 366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895" h="36665">
                    <a:moveTo>
                      <a:pt x="0" y="0"/>
                    </a:moveTo>
                    <a:lnTo>
                      <a:pt x="0" y="36665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692" name="Forma livre: Forma 1691">
                <a:extLst>
                  <a:ext uri="{FF2B5EF4-FFF2-40B4-BE49-F238E27FC236}">
                    <a16:creationId xmlns:a16="http://schemas.microsoft.com/office/drawing/2014/main" id="{7A60D6F8-9A40-C62B-57E5-143FC99D9B6E}"/>
                  </a:ext>
                </a:extLst>
              </p:cNvPr>
              <p:cNvSpPr/>
              <p:nvPr/>
            </p:nvSpPr>
            <p:spPr>
              <a:xfrm>
                <a:off x="943479" y="3831369"/>
                <a:ext cx="4895" cy="36665"/>
              </a:xfrm>
              <a:custGeom>
                <a:avLst/>
                <a:gdLst>
                  <a:gd name="connsiteX0" fmla="*/ 0 w 4895"/>
                  <a:gd name="connsiteY0" fmla="*/ 0 h 36665"/>
                  <a:gd name="connsiteX1" fmla="*/ 0 w 4895"/>
                  <a:gd name="connsiteY1" fmla="*/ 36665 h 366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895" h="36665">
                    <a:moveTo>
                      <a:pt x="0" y="0"/>
                    </a:moveTo>
                    <a:lnTo>
                      <a:pt x="0" y="36665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693" name="Forma livre: Forma 1692">
              <a:extLst>
                <a:ext uri="{FF2B5EF4-FFF2-40B4-BE49-F238E27FC236}">
                  <a16:creationId xmlns:a16="http://schemas.microsoft.com/office/drawing/2014/main" id="{EFF02772-F1F8-02C1-E429-3E89FC74AA52}"/>
                </a:ext>
              </a:extLst>
            </p:cNvPr>
            <p:cNvSpPr/>
            <p:nvPr/>
          </p:nvSpPr>
          <p:spPr>
            <a:xfrm>
              <a:off x="777385" y="3631596"/>
              <a:ext cx="290970" cy="198402"/>
            </a:xfrm>
            <a:custGeom>
              <a:avLst/>
              <a:gdLst>
                <a:gd name="connsiteX0" fmla="*/ 266494 w 290970"/>
                <a:gd name="connsiteY0" fmla="*/ 0 h 198402"/>
                <a:gd name="connsiteX1" fmla="*/ 290970 w 290970"/>
                <a:gd name="connsiteY1" fmla="*/ 24476 h 198402"/>
                <a:gd name="connsiteX2" fmla="*/ 290970 w 290970"/>
                <a:gd name="connsiteY2" fmla="*/ 173926 h 198402"/>
                <a:gd name="connsiteX3" fmla="*/ 266494 w 290970"/>
                <a:gd name="connsiteY3" fmla="*/ 198402 h 198402"/>
                <a:gd name="connsiteX4" fmla="*/ 24476 w 290970"/>
                <a:gd name="connsiteY4" fmla="*/ 198402 h 198402"/>
                <a:gd name="connsiteX5" fmla="*/ 0 w 290970"/>
                <a:gd name="connsiteY5" fmla="*/ 173926 h 198402"/>
                <a:gd name="connsiteX6" fmla="*/ 0 w 290970"/>
                <a:gd name="connsiteY6" fmla="*/ 24476 h 198402"/>
                <a:gd name="connsiteX7" fmla="*/ 24476 w 290970"/>
                <a:gd name="connsiteY7" fmla="*/ 0 h 1984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90970" h="198402">
                  <a:moveTo>
                    <a:pt x="266494" y="0"/>
                  </a:moveTo>
                  <a:cubicBezTo>
                    <a:pt x="280012" y="0"/>
                    <a:pt x="290970" y="10958"/>
                    <a:pt x="290970" y="24476"/>
                  </a:cubicBezTo>
                  <a:lnTo>
                    <a:pt x="290970" y="173926"/>
                  </a:lnTo>
                  <a:cubicBezTo>
                    <a:pt x="290970" y="187444"/>
                    <a:pt x="280012" y="198402"/>
                    <a:pt x="266494" y="198402"/>
                  </a:cubicBezTo>
                  <a:lnTo>
                    <a:pt x="24476" y="198402"/>
                  </a:lnTo>
                  <a:cubicBezTo>
                    <a:pt x="10958" y="198402"/>
                    <a:pt x="0" y="187444"/>
                    <a:pt x="0" y="173926"/>
                  </a:cubicBezTo>
                  <a:lnTo>
                    <a:pt x="0" y="24476"/>
                  </a:lnTo>
                  <a:cubicBezTo>
                    <a:pt x="0" y="10958"/>
                    <a:pt x="10958" y="0"/>
                    <a:pt x="24476" y="0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94" name="Forma livre: Forma 1693">
              <a:extLst>
                <a:ext uri="{FF2B5EF4-FFF2-40B4-BE49-F238E27FC236}">
                  <a16:creationId xmlns:a16="http://schemas.microsoft.com/office/drawing/2014/main" id="{CBD49A61-A690-4270-424E-6F2D5361EF16}"/>
                </a:ext>
              </a:extLst>
            </p:cNvPr>
            <p:cNvSpPr/>
            <p:nvPr/>
          </p:nvSpPr>
          <p:spPr>
            <a:xfrm>
              <a:off x="982151" y="3670709"/>
              <a:ext cx="47238" cy="68239"/>
            </a:xfrm>
            <a:custGeom>
              <a:avLst/>
              <a:gdLst>
                <a:gd name="connsiteX0" fmla="*/ 0 w 47238"/>
                <a:gd name="connsiteY0" fmla="*/ 28001 h 68239"/>
                <a:gd name="connsiteX1" fmla="*/ 0 w 47238"/>
                <a:gd name="connsiteY1" fmla="*/ 68239 h 68239"/>
                <a:gd name="connsiteX2" fmla="*/ 22763 w 47238"/>
                <a:gd name="connsiteY2" fmla="*/ 68239 h 68239"/>
                <a:gd name="connsiteX3" fmla="*/ 47239 w 47238"/>
                <a:gd name="connsiteY3" fmla="*/ 43763 h 68239"/>
                <a:gd name="connsiteX4" fmla="*/ 47239 w 47238"/>
                <a:gd name="connsiteY4" fmla="*/ 24476 h 68239"/>
                <a:gd name="connsiteX5" fmla="*/ 22763 w 47238"/>
                <a:gd name="connsiteY5" fmla="*/ 0 h 68239"/>
                <a:gd name="connsiteX6" fmla="*/ 0 w 47238"/>
                <a:gd name="connsiteY6" fmla="*/ 0 h 682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7238" h="68239">
                  <a:moveTo>
                    <a:pt x="0" y="28001"/>
                  </a:moveTo>
                  <a:lnTo>
                    <a:pt x="0" y="68239"/>
                  </a:lnTo>
                  <a:lnTo>
                    <a:pt x="22763" y="68239"/>
                  </a:lnTo>
                  <a:cubicBezTo>
                    <a:pt x="36224" y="68239"/>
                    <a:pt x="47239" y="57225"/>
                    <a:pt x="47239" y="43763"/>
                  </a:cubicBezTo>
                  <a:lnTo>
                    <a:pt x="47239" y="24476"/>
                  </a:lnTo>
                  <a:cubicBezTo>
                    <a:pt x="47239" y="11014"/>
                    <a:pt x="36224" y="0"/>
                    <a:pt x="22763" y="0"/>
                  </a:cubicBezTo>
                  <a:lnTo>
                    <a:pt x="0" y="0"/>
                  </a:lnTo>
                </a:path>
              </a:pathLst>
            </a:custGeom>
            <a:noFill/>
            <a:ln w="6350" cap="sq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695" name="Gráfico 17">
              <a:extLst>
                <a:ext uri="{FF2B5EF4-FFF2-40B4-BE49-F238E27FC236}">
                  <a16:creationId xmlns:a16="http://schemas.microsoft.com/office/drawing/2014/main" id="{F29ABCEB-3281-E3B8-6FAC-E4CDEF63CCB0}"/>
                </a:ext>
              </a:extLst>
            </p:cNvPr>
            <p:cNvGrpSpPr/>
            <p:nvPr/>
          </p:nvGrpSpPr>
          <p:grpSpPr>
            <a:xfrm>
              <a:off x="904856" y="3670660"/>
              <a:ext cx="43371" cy="68239"/>
              <a:chOff x="904856" y="3670660"/>
              <a:chExt cx="43371" cy="68239"/>
            </a:xfrm>
            <a:noFill/>
          </p:grpSpPr>
          <p:sp>
            <p:nvSpPr>
              <p:cNvPr id="1696" name="Forma livre: Forma 1695">
                <a:extLst>
                  <a:ext uri="{FF2B5EF4-FFF2-40B4-BE49-F238E27FC236}">
                    <a16:creationId xmlns:a16="http://schemas.microsoft.com/office/drawing/2014/main" id="{35585569-0BE7-C5B7-CF37-E7451C1BCAFB}"/>
                  </a:ext>
                </a:extLst>
              </p:cNvPr>
              <p:cNvSpPr/>
              <p:nvPr/>
            </p:nvSpPr>
            <p:spPr>
              <a:xfrm>
                <a:off x="904856" y="3670660"/>
                <a:ext cx="43371" cy="68239"/>
              </a:xfrm>
              <a:custGeom>
                <a:avLst/>
                <a:gdLst>
                  <a:gd name="connsiteX0" fmla="*/ 0 w 43371"/>
                  <a:gd name="connsiteY0" fmla="*/ 0 h 68239"/>
                  <a:gd name="connsiteX1" fmla="*/ 43371 w 43371"/>
                  <a:gd name="connsiteY1" fmla="*/ 0 h 68239"/>
                  <a:gd name="connsiteX2" fmla="*/ 43371 w 43371"/>
                  <a:gd name="connsiteY2" fmla="*/ 68239 h 68239"/>
                  <a:gd name="connsiteX3" fmla="*/ 0 w 43371"/>
                  <a:gd name="connsiteY3" fmla="*/ 68239 h 682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3371" h="68239">
                    <a:moveTo>
                      <a:pt x="0" y="0"/>
                    </a:moveTo>
                    <a:lnTo>
                      <a:pt x="43371" y="0"/>
                    </a:lnTo>
                    <a:lnTo>
                      <a:pt x="43371" y="68239"/>
                    </a:lnTo>
                    <a:lnTo>
                      <a:pt x="0" y="68239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697" name="Forma livre: Forma 1696">
                <a:extLst>
                  <a:ext uri="{FF2B5EF4-FFF2-40B4-BE49-F238E27FC236}">
                    <a16:creationId xmlns:a16="http://schemas.microsoft.com/office/drawing/2014/main" id="{DEDB46ED-2A16-BEBE-6FA4-E15D1C1F5114}"/>
                  </a:ext>
                </a:extLst>
              </p:cNvPr>
              <p:cNvSpPr/>
              <p:nvPr/>
            </p:nvSpPr>
            <p:spPr>
              <a:xfrm>
                <a:off x="904856" y="3704780"/>
                <a:ext cx="43224" cy="4895"/>
              </a:xfrm>
              <a:custGeom>
                <a:avLst/>
                <a:gdLst>
                  <a:gd name="connsiteX0" fmla="*/ 43225 w 43224"/>
                  <a:gd name="connsiteY0" fmla="*/ 0 h 4895"/>
                  <a:gd name="connsiteX1" fmla="*/ 0 w 43224"/>
                  <a:gd name="connsiteY1" fmla="*/ 0 h 48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3224" h="4895">
                    <a:moveTo>
                      <a:pt x="43225" y="0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698" name="Gráfico 17">
            <a:extLst>
              <a:ext uri="{FF2B5EF4-FFF2-40B4-BE49-F238E27FC236}">
                <a16:creationId xmlns:a16="http://schemas.microsoft.com/office/drawing/2014/main" id="{CD2C2F88-7C7F-E8EE-43D8-9B89BFEA7528}"/>
              </a:ext>
            </a:extLst>
          </p:cNvPr>
          <p:cNvGrpSpPr/>
          <p:nvPr/>
        </p:nvGrpSpPr>
        <p:grpSpPr>
          <a:xfrm>
            <a:off x="777385" y="4189257"/>
            <a:ext cx="290970" cy="237514"/>
            <a:chOff x="777385" y="4189257"/>
            <a:chExt cx="290970" cy="237514"/>
          </a:xfrm>
          <a:noFill/>
        </p:grpSpPr>
        <p:sp>
          <p:nvSpPr>
            <p:cNvPr id="1699" name="Forma livre: Forma 1698">
              <a:extLst>
                <a:ext uri="{FF2B5EF4-FFF2-40B4-BE49-F238E27FC236}">
                  <a16:creationId xmlns:a16="http://schemas.microsoft.com/office/drawing/2014/main" id="{0094BB6F-9D8F-1CB8-47E0-0CFD3DF7F26D}"/>
                </a:ext>
              </a:extLst>
            </p:cNvPr>
            <p:cNvSpPr/>
            <p:nvPr/>
          </p:nvSpPr>
          <p:spPr>
            <a:xfrm>
              <a:off x="863736" y="4426772"/>
              <a:ext cx="118316" cy="4895"/>
            </a:xfrm>
            <a:custGeom>
              <a:avLst/>
              <a:gdLst>
                <a:gd name="connsiteX0" fmla="*/ 0 w 118316"/>
                <a:gd name="connsiteY0" fmla="*/ 0 h 4895"/>
                <a:gd name="connsiteX1" fmla="*/ 118317 w 118316"/>
                <a:gd name="connsiteY1" fmla="*/ 0 h 48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8316" h="4895">
                  <a:moveTo>
                    <a:pt x="0" y="0"/>
                  </a:moveTo>
                  <a:lnTo>
                    <a:pt x="118317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700" name="Gráfico 17">
              <a:extLst>
                <a:ext uri="{FF2B5EF4-FFF2-40B4-BE49-F238E27FC236}">
                  <a16:creationId xmlns:a16="http://schemas.microsoft.com/office/drawing/2014/main" id="{1192D2B2-5A90-266C-B59B-74DFA25E3C4B}"/>
                </a:ext>
              </a:extLst>
            </p:cNvPr>
            <p:cNvGrpSpPr/>
            <p:nvPr/>
          </p:nvGrpSpPr>
          <p:grpSpPr>
            <a:xfrm>
              <a:off x="902359" y="4389030"/>
              <a:ext cx="41119" cy="36713"/>
              <a:chOff x="902359" y="4389030"/>
              <a:chExt cx="41119" cy="36713"/>
            </a:xfrm>
          </p:grpSpPr>
          <p:sp>
            <p:nvSpPr>
              <p:cNvPr id="1701" name="Forma livre: Forma 1700">
                <a:extLst>
                  <a:ext uri="{FF2B5EF4-FFF2-40B4-BE49-F238E27FC236}">
                    <a16:creationId xmlns:a16="http://schemas.microsoft.com/office/drawing/2014/main" id="{07D65EDE-013A-DE07-3879-09CBE8FAD05D}"/>
                  </a:ext>
                </a:extLst>
              </p:cNvPr>
              <p:cNvSpPr/>
              <p:nvPr/>
            </p:nvSpPr>
            <p:spPr>
              <a:xfrm>
                <a:off x="902359" y="4389030"/>
                <a:ext cx="4895" cy="36713"/>
              </a:xfrm>
              <a:custGeom>
                <a:avLst/>
                <a:gdLst>
                  <a:gd name="connsiteX0" fmla="*/ 0 w 4895"/>
                  <a:gd name="connsiteY0" fmla="*/ 0 h 36713"/>
                  <a:gd name="connsiteX1" fmla="*/ 0 w 4895"/>
                  <a:gd name="connsiteY1" fmla="*/ 36714 h 367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895" h="36713">
                    <a:moveTo>
                      <a:pt x="0" y="0"/>
                    </a:moveTo>
                    <a:lnTo>
                      <a:pt x="0" y="36714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702" name="Forma livre: Forma 1701">
                <a:extLst>
                  <a:ext uri="{FF2B5EF4-FFF2-40B4-BE49-F238E27FC236}">
                    <a16:creationId xmlns:a16="http://schemas.microsoft.com/office/drawing/2014/main" id="{4705DBC9-8B96-3A64-078C-449940C2F5C5}"/>
                  </a:ext>
                </a:extLst>
              </p:cNvPr>
              <p:cNvSpPr/>
              <p:nvPr/>
            </p:nvSpPr>
            <p:spPr>
              <a:xfrm>
                <a:off x="943479" y="4389030"/>
                <a:ext cx="4895" cy="36713"/>
              </a:xfrm>
              <a:custGeom>
                <a:avLst/>
                <a:gdLst>
                  <a:gd name="connsiteX0" fmla="*/ 0 w 4895"/>
                  <a:gd name="connsiteY0" fmla="*/ 0 h 36713"/>
                  <a:gd name="connsiteX1" fmla="*/ 0 w 4895"/>
                  <a:gd name="connsiteY1" fmla="*/ 36714 h 367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895" h="36713">
                    <a:moveTo>
                      <a:pt x="0" y="0"/>
                    </a:moveTo>
                    <a:lnTo>
                      <a:pt x="0" y="36714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703" name="Forma livre: Forma 1702">
              <a:extLst>
                <a:ext uri="{FF2B5EF4-FFF2-40B4-BE49-F238E27FC236}">
                  <a16:creationId xmlns:a16="http://schemas.microsoft.com/office/drawing/2014/main" id="{ECBC9436-225D-DE2F-28A2-C195359CEE44}"/>
                </a:ext>
              </a:extLst>
            </p:cNvPr>
            <p:cNvSpPr/>
            <p:nvPr/>
          </p:nvSpPr>
          <p:spPr>
            <a:xfrm>
              <a:off x="777385" y="4189257"/>
              <a:ext cx="290970" cy="198402"/>
            </a:xfrm>
            <a:custGeom>
              <a:avLst/>
              <a:gdLst>
                <a:gd name="connsiteX0" fmla="*/ 266494 w 290970"/>
                <a:gd name="connsiteY0" fmla="*/ 0 h 198402"/>
                <a:gd name="connsiteX1" fmla="*/ 290970 w 290970"/>
                <a:gd name="connsiteY1" fmla="*/ 24476 h 198402"/>
                <a:gd name="connsiteX2" fmla="*/ 290970 w 290970"/>
                <a:gd name="connsiteY2" fmla="*/ 173926 h 198402"/>
                <a:gd name="connsiteX3" fmla="*/ 266494 w 290970"/>
                <a:gd name="connsiteY3" fmla="*/ 198402 h 198402"/>
                <a:gd name="connsiteX4" fmla="*/ 24476 w 290970"/>
                <a:gd name="connsiteY4" fmla="*/ 198402 h 198402"/>
                <a:gd name="connsiteX5" fmla="*/ 0 w 290970"/>
                <a:gd name="connsiteY5" fmla="*/ 173926 h 198402"/>
                <a:gd name="connsiteX6" fmla="*/ 0 w 290970"/>
                <a:gd name="connsiteY6" fmla="*/ 24476 h 198402"/>
                <a:gd name="connsiteX7" fmla="*/ 24476 w 290970"/>
                <a:gd name="connsiteY7" fmla="*/ 0 h 1984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90970" h="198402">
                  <a:moveTo>
                    <a:pt x="266494" y="0"/>
                  </a:moveTo>
                  <a:cubicBezTo>
                    <a:pt x="280012" y="0"/>
                    <a:pt x="290970" y="10958"/>
                    <a:pt x="290970" y="24476"/>
                  </a:cubicBezTo>
                  <a:lnTo>
                    <a:pt x="290970" y="173926"/>
                  </a:lnTo>
                  <a:cubicBezTo>
                    <a:pt x="290970" y="187444"/>
                    <a:pt x="280012" y="198402"/>
                    <a:pt x="266494" y="198402"/>
                  </a:cubicBezTo>
                  <a:lnTo>
                    <a:pt x="24476" y="198402"/>
                  </a:lnTo>
                  <a:cubicBezTo>
                    <a:pt x="10958" y="198402"/>
                    <a:pt x="0" y="187444"/>
                    <a:pt x="0" y="173926"/>
                  </a:cubicBezTo>
                  <a:lnTo>
                    <a:pt x="0" y="24476"/>
                  </a:lnTo>
                  <a:cubicBezTo>
                    <a:pt x="0" y="10958"/>
                    <a:pt x="10958" y="0"/>
                    <a:pt x="24476" y="0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04" name="Forma livre: Forma 1703">
              <a:extLst>
                <a:ext uri="{FF2B5EF4-FFF2-40B4-BE49-F238E27FC236}">
                  <a16:creationId xmlns:a16="http://schemas.microsoft.com/office/drawing/2014/main" id="{E7F16610-9AEC-35E0-1CF1-30F784DE6066}"/>
                </a:ext>
              </a:extLst>
            </p:cNvPr>
            <p:cNvSpPr/>
            <p:nvPr/>
          </p:nvSpPr>
          <p:spPr>
            <a:xfrm>
              <a:off x="982151" y="4228370"/>
              <a:ext cx="47238" cy="68239"/>
            </a:xfrm>
            <a:custGeom>
              <a:avLst/>
              <a:gdLst>
                <a:gd name="connsiteX0" fmla="*/ 0 w 47238"/>
                <a:gd name="connsiteY0" fmla="*/ 28001 h 68239"/>
                <a:gd name="connsiteX1" fmla="*/ 0 w 47238"/>
                <a:gd name="connsiteY1" fmla="*/ 68239 h 68239"/>
                <a:gd name="connsiteX2" fmla="*/ 22763 w 47238"/>
                <a:gd name="connsiteY2" fmla="*/ 68239 h 68239"/>
                <a:gd name="connsiteX3" fmla="*/ 47239 w 47238"/>
                <a:gd name="connsiteY3" fmla="*/ 43763 h 68239"/>
                <a:gd name="connsiteX4" fmla="*/ 47239 w 47238"/>
                <a:gd name="connsiteY4" fmla="*/ 24476 h 68239"/>
                <a:gd name="connsiteX5" fmla="*/ 22763 w 47238"/>
                <a:gd name="connsiteY5" fmla="*/ 0 h 68239"/>
                <a:gd name="connsiteX6" fmla="*/ 0 w 47238"/>
                <a:gd name="connsiteY6" fmla="*/ 0 h 682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7238" h="68239">
                  <a:moveTo>
                    <a:pt x="0" y="28001"/>
                  </a:moveTo>
                  <a:lnTo>
                    <a:pt x="0" y="68239"/>
                  </a:lnTo>
                  <a:lnTo>
                    <a:pt x="22763" y="68239"/>
                  </a:lnTo>
                  <a:cubicBezTo>
                    <a:pt x="36224" y="68239"/>
                    <a:pt x="47239" y="57225"/>
                    <a:pt x="47239" y="43763"/>
                  </a:cubicBezTo>
                  <a:lnTo>
                    <a:pt x="47239" y="24476"/>
                  </a:lnTo>
                  <a:cubicBezTo>
                    <a:pt x="47239" y="11014"/>
                    <a:pt x="36224" y="0"/>
                    <a:pt x="22763" y="0"/>
                  </a:cubicBezTo>
                  <a:lnTo>
                    <a:pt x="0" y="0"/>
                  </a:lnTo>
                </a:path>
              </a:pathLst>
            </a:custGeom>
            <a:noFill/>
            <a:ln w="6350" cap="sq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705" name="Gráfico 17">
              <a:extLst>
                <a:ext uri="{FF2B5EF4-FFF2-40B4-BE49-F238E27FC236}">
                  <a16:creationId xmlns:a16="http://schemas.microsoft.com/office/drawing/2014/main" id="{4DAE88DF-F69F-2618-89F6-9BD9BCFD2B91}"/>
                </a:ext>
              </a:extLst>
            </p:cNvPr>
            <p:cNvGrpSpPr/>
            <p:nvPr/>
          </p:nvGrpSpPr>
          <p:grpSpPr>
            <a:xfrm>
              <a:off x="902947" y="4228370"/>
              <a:ext cx="45378" cy="68190"/>
              <a:chOff x="902947" y="4228370"/>
              <a:chExt cx="45378" cy="68190"/>
            </a:xfrm>
          </p:grpSpPr>
          <p:sp>
            <p:nvSpPr>
              <p:cNvPr id="1706" name="Forma livre: Forma 1705">
                <a:extLst>
                  <a:ext uri="{FF2B5EF4-FFF2-40B4-BE49-F238E27FC236}">
                    <a16:creationId xmlns:a16="http://schemas.microsoft.com/office/drawing/2014/main" id="{70B381B3-FF00-5947-4944-D65C3802EE5E}"/>
                  </a:ext>
                </a:extLst>
              </p:cNvPr>
              <p:cNvSpPr/>
              <p:nvPr/>
            </p:nvSpPr>
            <p:spPr>
              <a:xfrm>
                <a:off x="902947" y="4228370"/>
                <a:ext cx="4895" cy="68190"/>
              </a:xfrm>
              <a:custGeom>
                <a:avLst/>
                <a:gdLst>
                  <a:gd name="connsiteX0" fmla="*/ 0 w 4895"/>
                  <a:gd name="connsiteY0" fmla="*/ 0 h 68190"/>
                  <a:gd name="connsiteX1" fmla="*/ 0 w 4895"/>
                  <a:gd name="connsiteY1" fmla="*/ 68190 h 681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895" h="68190">
                    <a:moveTo>
                      <a:pt x="0" y="0"/>
                    </a:moveTo>
                    <a:lnTo>
                      <a:pt x="0" y="68190"/>
                    </a:lnTo>
                  </a:path>
                </a:pathLst>
              </a:custGeom>
              <a:ln w="6350" cap="sq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707" name="Forma livre: Forma 1706">
                <a:extLst>
                  <a:ext uri="{FF2B5EF4-FFF2-40B4-BE49-F238E27FC236}">
                    <a16:creationId xmlns:a16="http://schemas.microsoft.com/office/drawing/2014/main" id="{6B0AF555-4954-BB59-31DE-3A3E4AD65FC7}"/>
                  </a:ext>
                </a:extLst>
              </p:cNvPr>
              <p:cNvSpPr/>
              <p:nvPr/>
            </p:nvSpPr>
            <p:spPr>
              <a:xfrm>
                <a:off x="948325" y="4228370"/>
                <a:ext cx="4895" cy="68190"/>
              </a:xfrm>
              <a:custGeom>
                <a:avLst/>
                <a:gdLst>
                  <a:gd name="connsiteX0" fmla="*/ 0 w 4895"/>
                  <a:gd name="connsiteY0" fmla="*/ 0 h 68190"/>
                  <a:gd name="connsiteX1" fmla="*/ 0 w 4895"/>
                  <a:gd name="connsiteY1" fmla="*/ 68190 h 681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895" h="68190">
                    <a:moveTo>
                      <a:pt x="0" y="0"/>
                    </a:moveTo>
                    <a:lnTo>
                      <a:pt x="0" y="68190"/>
                    </a:lnTo>
                  </a:path>
                </a:pathLst>
              </a:custGeom>
              <a:ln w="6350" cap="sq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708" name="Forma livre: Forma 1707">
              <a:extLst>
                <a:ext uri="{FF2B5EF4-FFF2-40B4-BE49-F238E27FC236}">
                  <a16:creationId xmlns:a16="http://schemas.microsoft.com/office/drawing/2014/main" id="{35F026B0-767C-0EB9-D829-6468DB99B0BD}"/>
                </a:ext>
              </a:extLst>
            </p:cNvPr>
            <p:cNvSpPr/>
            <p:nvPr/>
          </p:nvSpPr>
          <p:spPr>
            <a:xfrm>
              <a:off x="903241" y="4262489"/>
              <a:ext cx="44791" cy="4895"/>
            </a:xfrm>
            <a:custGeom>
              <a:avLst/>
              <a:gdLst>
                <a:gd name="connsiteX0" fmla="*/ 44791 w 44791"/>
                <a:gd name="connsiteY0" fmla="*/ 0 h 4895"/>
                <a:gd name="connsiteX1" fmla="*/ 0 w 44791"/>
                <a:gd name="connsiteY1" fmla="*/ 0 h 48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4791" h="4895">
                  <a:moveTo>
                    <a:pt x="44791" y="0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710" name="Gráfico 18">
            <a:extLst>
              <a:ext uri="{FF2B5EF4-FFF2-40B4-BE49-F238E27FC236}">
                <a16:creationId xmlns:a16="http://schemas.microsoft.com/office/drawing/2014/main" id="{D3CB0104-B353-9906-5C25-0168E3F39F33}"/>
              </a:ext>
            </a:extLst>
          </p:cNvPr>
          <p:cNvGrpSpPr/>
          <p:nvPr/>
        </p:nvGrpSpPr>
        <p:grpSpPr>
          <a:xfrm>
            <a:off x="3906998" y="4168283"/>
            <a:ext cx="340509" cy="284581"/>
            <a:chOff x="3906998" y="4168283"/>
            <a:chExt cx="340509" cy="284581"/>
          </a:xfrm>
        </p:grpSpPr>
        <p:sp>
          <p:nvSpPr>
            <p:cNvPr id="1711" name="Forma livre: Forma 1710">
              <a:extLst>
                <a:ext uri="{FF2B5EF4-FFF2-40B4-BE49-F238E27FC236}">
                  <a16:creationId xmlns:a16="http://schemas.microsoft.com/office/drawing/2014/main" id="{F6A1E2E0-9B88-5CC5-7DB3-4DA38B0DCCCC}"/>
                </a:ext>
              </a:extLst>
            </p:cNvPr>
            <p:cNvSpPr/>
            <p:nvPr/>
          </p:nvSpPr>
          <p:spPr>
            <a:xfrm>
              <a:off x="4169577" y="4368128"/>
              <a:ext cx="76903" cy="4895"/>
            </a:xfrm>
            <a:custGeom>
              <a:avLst/>
              <a:gdLst>
                <a:gd name="connsiteX0" fmla="*/ 0 w 76903"/>
                <a:gd name="connsiteY0" fmla="*/ 0 h 4895"/>
                <a:gd name="connsiteX1" fmla="*/ 76904 w 76903"/>
                <a:gd name="connsiteY1" fmla="*/ 0 h 48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6903" h="4895">
                  <a:moveTo>
                    <a:pt x="0" y="0"/>
                  </a:moveTo>
                  <a:lnTo>
                    <a:pt x="76904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12" name="Forma livre: Forma 1711">
              <a:extLst>
                <a:ext uri="{FF2B5EF4-FFF2-40B4-BE49-F238E27FC236}">
                  <a16:creationId xmlns:a16="http://schemas.microsoft.com/office/drawing/2014/main" id="{A8C0274A-5C41-4E6F-1240-8DEA1D7C416A}"/>
                </a:ext>
              </a:extLst>
            </p:cNvPr>
            <p:cNvSpPr/>
            <p:nvPr/>
          </p:nvSpPr>
          <p:spPr>
            <a:xfrm>
              <a:off x="4135800" y="4389128"/>
              <a:ext cx="110680" cy="21049"/>
            </a:xfrm>
            <a:custGeom>
              <a:avLst/>
              <a:gdLst>
                <a:gd name="connsiteX0" fmla="*/ 110680 w 110680"/>
                <a:gd name="connsiteY0" fmla="*/ 21049 h 21049"/>
                <a:gd name="connsiteX1" fmla="*/ 29371 w 110680"/>
                <a:gd name="connsiteY1" fmla="*/ 21049 h 21049"/>
                <a:gd name="connsiteX2" fmla="*/ 0 w 110680"/>
                <a:gd name="connsiteY2" fmla="*/ 0 h 210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10680" h="21049">
                  <a:moveTo>
                    <a:pt x="110680" y="21049"/>
                  </a:moveTo>
                  <a:lnTo>
                    <a:pt x="29371" y="21049"/>
                  </a:lnTo>
                  <a:cubicBezTo>
                    <a:pt x="13217" y="21049"/>
                    <a:pt x="0" y="11602"/>
                    <a:pt x="0" y="0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13" name="Forma livre: Forma 1712">
              <a:extLst>
                <a:ext uri="{FF2B5EF4-FFF2-40B4-BE49-F238E27FC236}">
                  <a16:creationId xmlns:a16="http://schemas.microsoft.com/office/drawing/2014/main" id="{EEE628D1-A7FB-E8D3-FFF7-7123E9BE6F8B}"/>
                </a:ext>
              </a:extLst>
            </p:cNvPr>
            <p:cNvSpPr/>
            <p:nvPr/>
          </p:nvSpPr>
          <p:spPr>
            <a:xfrm>
              <a:off x="3980377" y="4358582"/>
              <a:ext cx="43273" cy="34364"/>
            </a:xfrm>
            <a:custGeom>
              <a:avLst/>
              <a:gdLst>
                <a:gd name="connsiteX0" fmla="*/ 0 w 43273"/>
                <a:gd name="connsiteY0" fmla="*/ 0 h 34364"/>
                <a:gd name="connsiteX1" fmla="*/ 21147 w 43273"/>
                <a:gd name="connsiteY1" fmla="*/ 34364 h 34364"/>
                <a:gd name="connsiteX2" fmla="*/ 43274 w 43273"/>
                <a:gd name="connsiteY2" fmla="*/ 20854 h 343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3273" h="34364">
                  <a:moveTo>
                    <a:pt x="0" y="0"/>
                  </a:moveTo>
                  <a:lnTo>
                    <a:pt x="21147" y="34364"/>
                  </a:lnTo>
                  <a:lnTo>
                    <a:pt x="43274" y="20854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14" name="Forma livre: Forma 1713">
              <a:extLst>
                <a:ext uri="{FF2B5EF4-FFF2-40B4-BE49-F238E27FC236}">
                  <a16:creationId xmlns:a16="http://schemas.microsoft.com/office/drawing/2014/main" id="{BE9FAF0D-9EB8-FB47-C339-3FB37369E136}"/>
                </a:ext>
              </a:extLst>
            </p:cNvPr>
            <p:cNvSpPr/>
            <p:nvPr/>
          </p:nvSpPr>
          <p:spPr>
            <a:xfrm>
              <a:off x="3906998" y="4168283"/>
              <a:ext cx="314026" cy="180215"/>
            </a:xfrm>
            <a:custGeom>
              <a:avLst/>
              <a:gdLst>
                <a:gd name="connsiteX0" fmla="*/ 238347 w 314026"/>
                <a:gd name="connsiteY0" fmla="*/ 4723 h 180215"/>
                <a:gd name="connsiteX1" fmla="*/ 281670 w 314026"/>
                <a:gd name="connsiteY1" fmla="*/ 14611 h 180215"/>
                <a:gd name="connsiteX2" fmla="*/ 314027 w 314026"/>
                <a:gd name="connsiteY2" fmla="*/ 69046 h 180215"/>
                <a:gd name="connsiteX3" fmla="*/ 167563 w 314026"/>
                <a:gd name="connsiteY3" fmla="*/ 158432 h 180215"/>
                <a:gd name="connsiteX4" fmla="*/ 113617 w 314026"/>
                <a:gd name="connsiteY4" fmla="*/ 140075 h 180215"/>
                <a:gd name="connsiteX5" fmla="*/ 47826 w 314026"/>
                <a:gd name="connsiteY5" fmla="*/ 180216 h 180215"/>
                <a:gd name="connsiteX6" fmla="*/ 0 w 314026"/>
                <a:gd name="connsiteY6" fmla="*/ 149963 h 180215"/>
                <a:gd name="connsiteX7" fmla="*/ 238347 w 314026"/>
                <a:gd name="connsiteY7" fmla="*/ 4674 h 1802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14026" h="180215">
                  <a:moveTo>
                    <a:pt x="238347" y="4723"/>
                  </a:moveTo>
                  <a:cubicBezTo>
                    <a:pt x="253424" y="-4480"/>
                    <a:pt x="272956" y="268"/>
                    <a:pt x="281670" y="14611"/>
                  </a:cubicBezTo>
                  <a:lnTo>
                    <a:pt x="314027" y="69046"/>
                  </a:lnTo>
                  <a:lnTo>
                    <a:pt x="167563" y="158432"/>
                  </a:lnTo>
                  <a:cubicBezTo>
                    <a:pt x="167563" y="158432"/>
                    <a:pt x="134814" y="127152"/>
                    <a:pt x="113617" y="140075"/>
                  </a:cubicBezTo>
                  <a:cubicBezTo>
                    <a:pt x="92421" y="152998"/>
                    <a:pt x="47826" y="180216"/>
                    <a:pt x="47826" y="180216"/>
                  </a:cubicBezTo>
                  <a:lnTo>
                    <a:pt x="0" y="149963"/>
                  </a:lnTo>
                  <a:lnTo>
                    <a:pt x="238347" y="4674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15" name="Forma livre: Forma 1714">
              <a:extLst>
                <a:ext uri="{FF2B5EF4-FFF2-40B4-BE49-F238E27FC236}">
                  <a16:creationId xmlns:a16="http://schemas.microsoft.com/office/drawing/2014/main" id="{066A063D-0EAF-C54C-B3B7-0FB073500180}"/>
                </a:ext>
              </a:extLst>
            </p:cNvPr>
            <p:cNvSpPr/>
            <p:nvPr/>
          </p:nvSpPr>
          <p:spPr>
            <a:xfrm>
              <a:off x="4247508" y="4326225"/>
              <a:ext cx="4895" cy="126638"/>
            </a:xfrm>
            <a:custGeom>
              <a:avLst/>
              <a:gdLst>
                <a:gd name="connsiteX0" fmla="*/ 0 w 4895"/>
                <a:gd name="connsiteY0" fmla="*/ 0 h 126638"/>
                <a:gd name="connsiteX1" fmla="*/ 0 w 4895"/>
                <a:gd name="connsiteY1" fmla="*/ 126639 h 1266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895" h="126638">
                  <a:moveTo>
                    <a:pt x="0" y="0"/>
                  </a:moveTo>
                  <a:lnTo>
                    <a:pt x="0" y="126639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16" name="Forma livre: Forma 1715">
              <a:extLst>
                <a:ext uri="{FF2B5EF4-FFF2-40B4-BE49-F238E27FC236}">
                  <a16:creationId xmlns:a16="http://schemas.microsoft.com/office/drawing/2014/main" id="{04382558-B997-D6EB-59C9-5BECD657194F}"/>
                </a:ext>
              </a:extLst>
            </p:cNvPr>
            <p:cNvSpPr/>
            <p:nvPr/>
          </p:nvSpPr>
          <p:spPr>
            <a:xfrm>
              <a:off x="4139178" y="4356918"/>
              <a:ext cx="7636" cy="7636"/>
            </a:xfrm>
            <a:custGeom>
              <a:avLst/>
              <a:gdLst>
                <a:gd name="connsiteX0" fmla="*/ 7636 w 7636"/>
                <a:gd name="connsiteY0" fmla="*/ 3818 h 7636"/>
                <a:gd name="connsiteX1" fmla="*/ 3818 w 7636"/>
                <a:gd name="connsiteY1" fmla="*/ 7637 h 7636"/>
                <a:gd name="connsiteX2" fmla="*/ 0 w 7636"/>
                <a:gd name="connsiteY2" fmla="*/ 3818 h 7636"/>
                <a:gd name="connsiteX3" fmla="*/ 3818 w 7636"/>
                <a:gd name="connsiteY3" fmla="*/ 0 h 7636"/>
                <a:gd name="connsiteX4" fmla="*/ 7636 w 7636"/>
                <a:gd name="connsiteY4" fmla="*/ 3818 h 76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36" h="7636">
                  <a:moveTo>
                    <a:pt x="7636" y="3818"/>
                  </a:moveTo>
                  <a:cubicBezTo>
                    <a:pt x="7636" y="5923"/>
                    <a:pt x="5923" y="7637"/>
                    <a:pt x="3818" y="7637"/>
                  </a:cubicBezTo>
                  <a:cubicBezTo>
                    <a:pt x="1713" y="7637"/>
                    <a:pt x="0" y="5923"/>
                    <a:pt x="0" y="3818"/>
                  </a:cubicBezTo>
                  <a:cubicBezTo>
                    <a:pt x="0" y="1713"/>
                    <a:pt x="1713" y="0"/>
                    <a:pt x="3818" y="0"/>
                  </a:cubicBezTo>
                  <a:cubicBezTo>
                    <a:pt x="5923" y="0"/>
                    <a:pt x="7636" y="1713"/>
                    <a:pt x="7636" y="3818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17" name="Forma livre: Forma 1716">
              <a:extLst>
                <a:ext uri="{FF2B5EF4-FFF2-40B4-BE49-F238E27FC236}">
                  <a16:creationId xmlns:a16="http://schemas.microsoft.com/office/drawing/2014/main" id="{C2C4F506-F049-F362-7CAC-1545A7208F3E}"/>
                </a:ext>
              </a:extLst>
            </p:cNvPr>
            <p:cNvSpPr/>
            <p:nvPr/>
          </p:nvSpPr>
          <p:spPr>
            <a:xfrm>
              <a:off x="4003140" y="4248979"/>
              <a:ext cx="212471" cy="140612"/>
            </a:xfrm>
            <a:custGeom>
              <a:avLst/>
              <a:gdLst>
                <a:gd name="connsiteX0" fmla="*/ 199332 w 212471"/>
                <a:gd name="connsiteY0" fmla="*/ 0 h 140612"/>
                <a:gd name="connsiteX1" fmla="*/ 209515 w 212471"/>
                <a:gd name="connsiteY1" fmla="*/ 16644 h 140612"/>
                <a:gd name="connsiteX2" fmla="*/ 205158 w 212471"/>
                <a:gd name="connsiteY2" fmla="*/ 42392 h 140612"/>
                <a:gd name="connsiteX3" fmla="*/ 171381 w 212471"/>
                <a:gd name="connsiteY3" fmla="*/ 62952 h 140612"/>
                <a:gd name="connsiteX4" fmla="*/ 161003 w 212471"/>
                <a:gd name="connsiteY4" fmla="*/ 93743 h 140612"/>
                <a:gd name="connsiteX5" fmla="*/ 161591 w 212471"/>
                <a:gd name="connsiteY5" fmla="*/ 94575 h 140612"/>
                <a:gd name="connsiteX6" fmla="*/ 164675 w 212471"/>
                <a:gd name="connsiteY6" fmla="*/ 98687 h 140612"/>
                <a:gd name="connsiteX7" fmla="*/ 155080 w 212471"/>
                <a:gd name="connsiteY7" fmla="*/ 136184 h 140612"/>
                <a:gd name="connsiteX8" fmla="*/ 117387 w 212471"/>
                <a:gd name="connsiteY8" fmla="*/ 127520 h 140612"/>
                <a:gd name="connsiteX9" fmla="*/ 115576 w 212471"/>
                <a:gd name="connsiteY9" fmla="*/ 123702 h 140612"/>
                <a:gd name="connsiteX10" fmla="*/ 115184 w 212471"/>
                <a:gd name="connsiteY10" fmla="*/ 122820 h 140612"/>
                <a:gd name="connsiteX11" fmla="*/ 81603 w 212471"/>
                <a:gd name="connsiteY11" fmla="*/ 117485 h 140612"/>
                <a:gd name="connsiteX12" fmla="*/ 48609 w 212471"/>
                <a:gd name="connsiteY12" fmla="*/ 137751 h 140612"/>
                <a:gd name="connsiteX13" fmla="*/ 21686 w 212471"/>
                <a:gd name="connsiteY13" fmla="*/ 131240 h 140612"/>
                <a:gd name="connsiteX14" fmla="*/ 0 w 212471"/>
                <a:gd name="connsiteY14" fmla="*/ 95946 h 1406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12471" h="140612">
                  <a:moveTo>
                    <a:pt x="199332" y="0"/>
                  </a:moveTo>
                  <a:lnTo>
                    <a:pt x="209515" y="16644"/>
                  </a:lnTo>
                  <a:cubicBezTo>
                    <a:pt x="215144" y="25847"/>
                    <a:pt x="212207" y="37938"/>
                    <a:pt x="205158" y="42392"/>
                  </a:cubicBezTo>
                  <a:lnTo>
                    <a:pt x="171381" y="62952"/>
                  </a:lnTo>
                  <a:cubicBezTo>
                    <a:pt x="146807" y="77932"/>
                    <a:pt x="161003" y="93743"/>
                    <a:pt x="161003" y="93743"/>
                  </a:cubicBezTo>
                  <a:lnTo>
                    <a:pt x="161591" y="94575"/>
                  </a:lnTo>
                  <a:cubicBezTo>
                    <a:pt x="162716" y="95799"/>
                    <a:pt x="163793" y="97219"/>
                    <a:pt x="164675" y="98687"/>
                  </a:cubicBezTo>
                  <a:cubicBezTo>
                    <a:pt x="172458" y="111415"/>
                    <a:pt x="168150" y="128205"/>
                    <a:pt x="155080" y="136184"/>
                  </a:cubicBezTo>
                  <a:cubicBezTo>
                    <a:pt x="142010" y="144164"/>
                    <a:pt x="125121" y="140247"/>
                    <a:pt x="117387" y="127520"/>
                  </a:cubicBezTo>
                  <a:cubicBezTo>
                    <a:pt x="116604" y="126247"/>
                    <a:pt x="116065" y="125072"/>
                    <a:pt x="115576" y="123702"/>
                  </a:cubicBezTo>
                  <a:lnTo>
                    <a:pt x="115184" y="122820"/>
                  </a:lnTo>
                  <a:cubicBezTo>
                    <a:pt x="115184" y="122820"/>
                    <a:pt x="106177" y="102505"/>
                    <a:pt x="81603" y="117485"/>
                  </a:cubicBezTo>
                  <a:lnTo>
                    <a:pt x="48609" y="137751"/>
                  </a:lnTo>
                  <a:cubicBezTo>
                    <a:pt x="39406" y="143380"/>
                    <a:pt x="27315" y="140443"/>
                    <a:pt x="21686" y="131240"/>
                  </a:cubicBezTo>
                  <a:lnTo>
                    <a:pt x="0" y="95946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718" name="Gráfico 18">
            <a:extLst>
              <a:ext uri="{FF2B5EF4-FFF2-40B4-BE49-F238E27FC236}">
                <a16:creationId xmlns:a16="http://schemas.microsoft.com/office/drawing/2014/main" id="{E74E0F90-FB80-FC2F-04F3-8C7DC22A1414}"/>
              </a:ext>
            </a:extLst>
          </p:cNvPr>
          <p:cNvGrpSpPr/>
          <p:nvPr/>
        </p:nvGrpSpPr>
        <p:grpSpPr>
          <a:xfrm>
            <a:off x="3274049" y="4196453"/>
            <a:ext cx="331649" cy="231591"/>
            <a:chOff x="3274049" y="4196453"/>
            <a:chExt cx="331649" cy="231591"/>
          </a:xfrm>
        </p:grpSpPr>
        <p:sp>
          <p:nvSpPr>
            <p:cNvPr id="1719" name="Forma livre: Forma 1718">
              <a:extLst>
                <a:ext uri="{FF2B5EF4-FFF2-40B4-BE49-F238E27FC236}">
                  <a16:creationId xmlns:a16="http://schemas.microsoft.com/office/drawing/2014/main" id="{A8BBD938-1E51-B5A6-2DF8-2ACD7AAF7362}"/>
                </a:ext>
              </a:extLst>
            </p:cNvPr>
            <p:cNvSpPr/>
            <p:nvPr/>
          </p:nvSpPr>
          <p:spPr>
            <a:xfrm>
              <a:off x="3392856" y="4312812"/>
              <a:ext cx="94036" cy="61287"/>
            </a:xfrm>
            <a:custGeom>
              <a:avLst/>
              <a:gdLst>
                <a:gd name="connsiteX0" fmla="*/ 81799 w 94036"/>
                <a:gd name="connsiteY0" fmla="*/ 12238 h 61287"/>
                <a:gd name="connsiteX1" fmla="*/ 81799 w 94036"/>
                <a:gd name="connsiteY1" fmla="*/ 49050 h 61287"/>
                <a:gd name="connsiteX2" fmla="*/ 12238 w 94036"/>
                <a:gd name="connsiteY2" fmla="*/ 49050 h 61287"/>
                <a:gd name="connsiteX3" fmla="*/ 12238 w 94036"/>
                <a:gd name="connsiteY3" fmla="*/ 12238 h 61287"/>
                <a:gd name="connsiteX4" fmla="*/ 81799 w 94036"/>
                <a:gd name="connsiteY4" fmla="*/ 12238 h 61287"/>
                <a:gd name="connsiteX5" fmla="*/ 94037 w 94036"/>
                <a:gd name="connsiteY5" fmla="*/ 0 h 61287"/>
                <a:gd name="connsiteX6" fmla="*/ 0 w 94036"/>
                <a:gd name="connsiteY6" fmla="*/ 0 h 61287"/>
                <a:gd name="connsiteX7" fmla="*/ 0 w 94036"/>
                <a:gd name="connsiteY7" fmla="*/ 61288 h 61287"/>
                <a:gd name="connsiteX8" fmla="*/ 94037 w 94036"/>
                <a:gd name="connsiteY8" fmla="*/ 61288 h 61287"/>
                <a:gd name="connsiteX9" fmla="*/ 94037 w 94036"/>
                <a:gd name="connsiteY9" fmla="*/ 0 h 61287"/>
                <a:gd name="connsiteX10" fmla="*/ 94037 w 94036"/>
                <a:gd name="connsiteY10" fmla="*/ 0 h 612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94036" h="61287">
                  <a:moveTo>
                    <a:pt x="81799" y="12238"/>
                  </a:moveTo>
                  <a:lnTo>
                    <a:pt x="81799" y="49050"/>
                  </a:lnTo>
                  <a:lnTo>
                    <a:pt x="12238" y="49050"/>
                  </a:lnTo>
                  <a:lnTo>
                    <a:pt x="12238" y="12238"/>
                  </a:lnTo>
                  <a:lnTo>
                    <a:pt x="81799" y="12238"/>
                  </a:lnTo>
                  <a:moveTo>
                    <a:pt x="94037" y="0"/>
                  </a:moveTo>
                  <a:lnTo>
                    <a:pt x="0" y="0"/>
                  </a:lnTo>
                  <a:lnTo>
                    <a:pt x="0" y="61288"/>
                  </a:lnTo>
                  <a:lnTo>
                    <a:pt x="94037" y="61288"/>
                  </a:lnTo>
                  <a:lnTo>
                    <a:pt x="94037" y="0"/>
                  </a:lnTo>
                  <a:lnTo>
                    <a:pt x="94037" y="0"/>
                  </a:ln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720" name="Gráfico 18">
              <a:extLst>
                <a:ext uri="{FF2B5EF4-FFF2-40B4-BE49-F238E27FC236}">
                  <a16:creationId xmlns:a16="http://schemas.microsoft.com/office/drawing/2014/main" id="{96B89097-3074-C046-5FC5-D1F6D8BB8A2C}"/>
                </a:ext>
              </a:extLst>
            </p:cNvPr>
            <p:cNvGrpSpPr/>
            <p:nvPr/>
          </p:nvGrpSpPr>
          <p:grpSpPr>
            <a:xfrm>
              <a:off x="3392807" y="4396961"/>
              <a:ext cx="94134" cy="4895"/>
              <a:chOff x="3392807" y="4396961"/>
              <a:chExt cx="94134" cy="4895"/>
            </a:xfrm>
          </p:grpSpPr>
          <p:sp>
            <p:nvSpPr>
              <p:cNvPr id="1721" name="Forma livre: Forma 1720">
                <a:extLst>
                  <a:ext uri="{FF2B5EF4-FFF2-40B4-BE49-F238E27FC236}">
                    <a16:creationId xmlns:a16="http://schemas.microsoft.com/office/drawing/2014/main" id="{FEB6BAD3-D2B6-A5BB-8836-0BDB6A46F32F}"/>
                  </a:ext>
                </a:extLst>
              </p:cNvPr>
              <p:cNvSpPr/>
              <p:nvPr/>
            </p:nvSpPr>
            <p:spPr>
              <a:xfrm>
                <a:off x="3392807" y="4396961"/>
                <a:ext cx="22909" cy="4895"/>
              </a:xfrm>
              <a:custGeom>
                <a:avLst/>
                <a:gdLst>
                  <a:gd name="connsiteX0" fmla="*/ 0 w 22909"/>
                  <a:gd name="connsiteY0" fmla="*/ 0 h 4895"/>
                  <a:gd name="connsiteX1" fmla="*/ 22910 w 22909"/>
                  <a:gd name="connsiteY1" fmla="*/ 0 h 48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2909" h="4895">
                    <a:moveTo>
                      <a:pt x="0" y="0"/>
                    </a:moveTo>
                    <a:lnTo>
                      <a:pt x="2291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722" name="Forma livre: Forma 1721">
                <a:extLst>
                  <a:ext uri="{FF2B5EF4-FFF2-40B4-BE49-F238E27FC236}">
                    <a16:creationId xmlns:a16="http://schemas.microsoft.com/office/drawing/2014/main" id="{192A0C17-4907-4889-5D6E-60D3C44940C5}"/>
                  </a:ext>
                </a:extLst>
              </p:cNvPr>
              <p:cNvSpPr/>
              <p:nvPr/>
            </p:nvSpPr>
            <p:spPr>
              <a:xfrm>
                <a:off x="3428444" y="4396961"/>
                <a:ext cx="22860" cy="4895"/>
              </a:xfrm>
              <a:custGeom>
                <a:avLst/>
                <a:gdLst>
                  <a:gd name="connsiteX0" fmla="*/ 0 w 22860"/>
                  <a:gd name="connsiteY0" fmla="*/ 0 h 4895"/>
                  <a:gd name="connsiteX1" fmla="*/ 22861 w 22860"/>
                  <a:gd name="connsiteY1" fmla="*/ 0 h 48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2860" h="4895">
                    <a:moveTo>
                      <a:pt x="0" y="0"/>
                    </a:moveTo>
                    <a:lnTo>
                      <a:pt x="22861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723" name="Forma livre: Forma 1722">
                <a:extLst>
                  <a:ext uri="{FF2B5EF4-FFF2-40B4-BE49-F238E27FC236}">
                    <a16:creationId xmlns:a16="http://schemas.microsoft.com/office/drawing/2014/main" id="{00731160-6083-0B3F-91BB-E0FBAD545374}"/>
                  </a:ext>
                </a:extLst>
              </p:cNvPr>
              <p:cNvSpPr/>
              <p:nvPr/>
            </p:nvSpPr>
            <p:spPr>
              <a:xfrm>
                <a:off x="3464081" y="4396961"/>
                <a:ext cx="22860" cy="4895"/>
              </a:xfrm>
              <a:custGeom>
                <a:avLst/>
                <a:gdLst>
                  <a:gd name="connsiteX0" fmla="*/ 0 w 22860"/>
                  <a:gd name="connsiteY0" fmla="*/ 0 h 4895"/>
                  <a:gd name="connsiteX1" fmla="*/ 22861 w 22860"/>
                  <a:gd name="connsiteY1" fmla="*/ 0 h 48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2860" h="4895">
                    <a:moveTo>
                      <a:pt x="0" y="0"/>
                    </a:moveTo>
                    <a:lnTo>
                      <a:pt x="22861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724" name="Forma livre: Forma 1723">
              <a:extLst>
                <a:ext uri="{FF2B5EF4-FFF2-40B4-BE49-F238E27FC236}">
                  <a16:creationId xmlns:a16="http://schemas.microsoft.com/office/drawing/2014/main" id="{E91047D3-5EA6-BA8F-5BDE-8726D62C1BFC}"/>
                </a:ext>
              </a:extLst>
            </p:cNvPr>
            <p:cNvSpPr/>
            <p:nvPr/>
          </p:nvSpPr>
          <p:spPr>
            <a:xfrm>
              <a:off x="3274049" y="4282952"/>
              <a:ext cx="331649" cy="4895"/>
            </a:xfrm>
            <a:custGeom>
              <a:avLst/>
              <a:gdLst>
                <a:gd name="connsiteX0" fmla="*/ 0 w 331649"/>
                <a:gd name="connsiteY0" fmla="*/ 0 h 4895"/>
                <a:gd name="connsiteX1" fmla="*/ 331650 w 331649"/>
                <a:gd name="connsiteY1" fmla="*/ 0 h 48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31649" h="4895">
                  <a:moveTo>
                    <a:pt x="0" y="0"/>
                  </a:moveTo>
                  <a:lnTo>
                    <a:pt x="33165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25" name="Forma livre: Forma 1724">
              <a:extLst>
                <a:ext uri="{FF2B5EF4-FFF2-40B4-BE49-F238E27FC236}">
                  <a16:creationId xmlns:a16="http://schemas.microsoft.com/office/drawing/2014/main" id="{BD6EAD79-2EAC-6C36-848F-459959137840}"/>
                </a:ext>
              </a:extLst>
            </p:cNvPr>
            <p:cNvSpPr/>
            <p:nvPr/>
          </p:nvSpPr>
          <p:spPr>
            <a:xfrm>
              <a:off x="3542747" y="4260874"/>
              <a:ext cx="4895" cy="22028"/>
            </a:xfrm>
            <a:custGeom>
              <a:avLst/>
              <a:gdLst>
                <a:gd name="connsiteX0" fmla="*/ 0 w 4895"/>
                <a:gd name="connsiteY0" fmla="*/ 0 h 22028"/>
                <a:gd name="connsiteX1" fmla="*/ 0 w 4895"/>
                <a:gd name="connsiteY1" fmla="*/ 22028 h 220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895" h="22028">
                  <a:moveTo>
                    <a:pt x="0" y="0"/>
                  </a:moveTo>
                  <a:lnTo>
                    <a:pt x="0" y="22028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26" name="Forma livre: Forma 1725">
              <a:extLst>
                <a:ext uri="{FF2B5EF4-FFF2-40B4-BE49-F238E27FC236}">
                  <a16:creationId xmlns:a16="http://schemas.microsoft.com/office/drawing/2014/main" id="{AD7BA167-D964-0BC8-972F-B1C684336E24}"/>
                </a:ext>
              </a:extLst>
            </p:cNvPr>
            <p:cNvSpPr/>
            <p:nvPr/>
          </p:nvSpPr>
          <p:spPr>
            <a:xfrm>
              <a:off x="3296665" y="4196453"/>
              <a:ext cx="286466" cy="25846"/>
            </a:xfrm>
            <a:custGeom>
              <a:avLst/>
              <a:gdLst>
                <a:gd name="connsiteX0" fmla="*/ 0 w 286466"/>
                <a:gd name="connsiteY0" fmla="*/ 25847 h 25846"/>
                <a:gd name="connsiteX1" fmla="*/ 0 w 286466"/>
                <a:gd name="connsiteY1" fmla="*/ 0 h 25846"/>
                <a:gd name="connsiteX2" fmla="*/ 286467 w 286466"/>
                <a:gd name="connsiteY2" fmla="*/ 0 h 25846"/>
                <a:gd name="connsiteX3" fmla="*/ 286467 w 286466"/>
                <a:gd name="connsiteY3" fmla="*/ 25847 h 25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86466" h="25846">
                  <a:moveTo>
                    <a:pt x="0" y="25847"/>
                  </a:moveTo>
                  <a:lnTo>
                    <a:pt x="0" y="0"/>
                  </a:lnTo>
                  <a:lnTo>
                    <a:pt x="286467" y="0"/>
                  </a:lnTo>
                  <a:lnTo>
                    <a:pt x="286467" y="25847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27" name="Forma livre: Forma 1726">
              <a:extLst>
                <a:ext uri="{FF2B5EF4-FFF2-40B4-BE49-F238E27FC236}">
                  <a16:creationId xmlns:a16="http://schemas.microsoft.com/office/drawing/2014/main" id="{4693E482-3FFE-9A85-AA5B-4A2A615AC6F3}"/>
                </a:ext>
              </a:extLst>
            </p:cNvPr>
            <p:cNvSpPr/>
            <p:nvPr/>
          </p:nvSpPr>
          <p:spPr>
            <a:xfrm>
              <a:off x="3274147" y="4243986"/>
              <a:ext cx="331502" cy="184059"/>
            </a:xfrm>
            <a:custGeom>
              <a:avLst/>
              <a:gdLst>
                <a:gd name="connsiteX0" fmla="*/ 0 w 331502"/>
                <a:gd name="connsiteY0" fmla="*/ 0 h 184059"/>
                <a:gd name="connsiteX1" fmla="*/ 331503 w 331502"/>
                <a:gd name="connsiteY1" fmla="*/ 0 h 184059"/>
                <a:gd name="connsiteX2" fmla="*/ 331503 w 331502"/>
                <a:gd name="connsiteY2" fmla="*/ 184059 h 184059"/>
                <a:gd name="connsiteX3" fmla="*/ 0 w 331502"/>
                <a:gd name="connsiteY3" fmla="*/ 184059 h 1840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1502" h="184059">
                  <a:moveTo>
                    <a:pt x="0" y="0"/>
                  </a:moveTo>
                  <a:lnTo>
                    <a:pt x="331503" y="0"/>
                  </a:lnTo>
                  <a:lnTo>
                    <a:pt x="331503" y="184059"/>
                  </a:lnTo>
                  <a:lnTo>
                    <a:pt x="0" y="184059"/>
                  </a:ln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728" name="Gráfico 18">
              <a:extLst>
                <a:ext uri="{FF2B5EF4-FFF2-40B4-BE49-F238E27FC236}">
                  <a16:creationId xmlns:a16="http://schemas.microsoft.com/office/drawing/2014/main" id="{E86813CC-57F0-E231-A4B9-CA9978BF6CF3}"/>
                </a:ext>
              </a:extLst>
            </p:cNvPr>
            <p:cNvGrpSpPr/>
            <p:nvPr/>
          </p:nvGrpSpPr>
          <p:grpSpPr>
            <a:xfrm>
              <a:off x="3420318" y="4340421"/>
              <a:ext cx="39112" cy="6167"/>
              <a:chOff x="3420318" y="4340421"/>
              <a:chExt cx="39112" cy="6167"/>
            </a:xfrm>
            <a:solidFill>
              <a:srgbClr val="394553"/>
            </a:solidFill>
          </p:grpSpPr>
          <p:sp>
            <p:nvSpPr>
              <p:cNvPr id="1729" name="Forma livre: Forma 1728">
                <a:extLst>
                  <a:ext uri="{FF2B5EF4-FFF2-40B4-BE49-F238E27FC236}">
                    <a16:creationId xmlns:a16="http://schemas.microsoft.com/office/drawing/2014/main" id="{C5F21C92-9A81-545F-F982-4F095784538E}"/>
                  </a:ext>
                </a:extLst>
              </p:cNvPr>
              <p:cNvSpPr/>
              <p:nvPr/>
            </p:nvSpPr>
            <p:spPr>
              <a:xfrm>
                <a:off x="3420318" y="4340421"/>
                <a:ext cx="6167" cy="6167"/>
              </a:xfrm>
              <a:custGeom>
                <a:avLst/>
                <a:gdLst>
                  <a:gd name="connsiteX0" fmla="*/ 6168 w 6167"/>
                  <a:gd name="connsiteY0" fmla="*/ 3084 h 6167"/>
                  <a:gd name="connsiteX1" fmla="*/ 3084 w 6167"/>
                  <a:gd name="connsiteY1" fmla="*/ 6168 h 6167"/>
                  <a:gd name="connsiteX2" fmla="*/ 0 w 6167"/>
                  <a:gd name="connsiteY2" fmla="*/ 3084 h 6167"/>
                  <a:gd name="connsiteX3" fmla="*/ 3084 w 6167"/>
                  <a:gd name="connsiteY3" fmla="*/ 0 h 6167"/>
                  <a:gd name="connsiteX4" fmla="*/ 6168 w 6167"/>
                  <a:gd name="connsiteY4" fmla="*/ 3084 h 61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167" h="6167">
                    <a:moveTo>
                      <a:pt x="6168" y="3084"/>
                    </a:moveTo>
                    <a:cubicBezTo>
                      <a:pt x="6168" y="4797"/>
                      <a:pt x="4797" y="6168"/>
                      <a:pt x="3084" y="6168"/>
                    </a:cubicBezTo>
                    <a:cubicBezTo>
                      <a:pt x="1371" y="6168"/>
                      <a:pt x="0" y="4797"/>
                      <a:pt x="0" y="3084"/>
                    </a:cubicBezTo>
                    <a:cubicBezTo>
                      <a:pt x="0" y="1371"/>
                      <a:pt x="1371" y="0"/>
                      <a:pt x="3084" y="0"/>
                    </a:cubicBezTo>
                    <a:cubicBezTo>
                      <a:pt x="4797" y="0"/>
                      <a:pt x="6168" y="1371"/>
                      <a:pt x="6168" y="3084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730" name="Forma livre: Forma 1729">
                <a:extLst>
                  <a:ext uri="{FF2B5EF4-FFF2-40B4-BE49-F238E27FC236}">
                    <a16:creationId xmlns:a16="http://schemas.microsoft.com/office/drawing/2014/main" id="{EEC534D9-1C21-CD13-CAE4-2CC3B1CA625D}"/>
                  </a:ext>
                </a:extLst>
              </p:cNvPr>
              <p:cNvSpPr/>
              <p:nvPr/>
            </p:nvSpPr>
            <p:spPr>
              <a:xfrm>
                <a:off x="3453263" y="4340421"/>
                <a:ext cx="6167" cy="6167"/>
              </a:xfrm>
              <a:custGeom>
                <a:avLst/>
                <a:gdLst>
                  <a:gd name="connsiteX0" fmla="*/ 6168 w 6167"/>
                  <a:gd name="connsiteY0" fmla="*/ 3084 h 6167"/>
                  <a:gd name="connsiteX1" fmla="*/ 3084 w 6167"/>
                  <a:gd name="connsiteY1" fmla="*/ 6168 h 6167"/>
                  <a:gd name="connsiteX2" fmla="*/ 0 w 6167"/>
                  <a:gd name="connsiteY2" fmla="*/ 3084 h 6167"/>
                  <a:gd name="connsiteX3" fmla="*/ 3084 w 6167"/>
                  <a:gd name="connsiteY3" fmla="*/ 0 h 6167"/>
                  <a:gd name="connsiteX4" fmla="*/ 6168 w 6167"/>
                  <a:gd name="connsiteY4" fmla="*/ 3084 h 61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167" h="6167">
                    <a:moveTo>
                      <a:pt x="6168" y="3084"/>
                    </a:moveTo>
                    <a:cubicBezTo>
                      <a:pt x="6168" y="4797"/>
                      <a:pt x="4797" y="6168"/>
                      <a:pt x="3084" y="6168"/>
                    </a:cubicBezTo>
                    <a:cubicBezTo>
                      <a:pt x="1371" y="6168"/>
                      <a:pt x="0" y="4797"/>
                      <a:pt x="0" y="3084"/>
                    </a:cubicBezTo>
                    <a:cubicBezTo>
                      <a:pt x="0" y="1371"/>
                      <a:pt x="1371" y="0"/>
                      <a:pt x="3084" y="0"/>
                    </a:cubicBezTo>
                    <a:cubicBezTo>
                      <a:pt x="4797" y="0"/>
                      <a:pt x="6168" y="1371"/>
                      <a:pt x="6168" y="3084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731" name="Gráfico 18">
              <a:extLst>
                <a:ext uri="{FF2B5EF4-FFF2-40B4-BE49-F238E27FC236}">
                  <a16:creationId xmlns:a16="http://schemas.microsoft.com/office/drawing/2014/main" id="{C0CFB6D2-3280-ED40-1E22-40CE3D878E8B}"/>
                </a:ext>
              </a:extLst>
            </p:cNvPr>
            <p:cNvGrpSpPr/>
            <p:nvPr/>
          </p:nvGrpSpPr>
          <p:grpSpPr>
            <a:xfrm>
              <a:off x="3299798" y="4318442"/>
              <a:ext cx="280201" cy="74406"/>
              <a:chOff x="3299798" y="4318442"/>
              <a:chExt cx="280201" cy="74406"/>
            </a:xfrm>
          </p:grpSpPr>
          <p:grpSp>
            <p:nvGrpSpPr>
              <p:cNvPr id="1732" name="Gráfico 18">
                <a:extLst>
                  <a:ext uri="{FF2B5EF4-FFF2-40B4-BE49-F238E27FC236}">
                    <a16:creationId xmlns:a16="http://schemas.microsoft.com/office/drawing/2014/main" id="{6EA2A2C6-87A0-A11F-6BB9-BF6B93B1B604}"/>
                  </a:ext>
                </a:extLst>
              </p:cNvPr>
              <p:cNvGrpSpPr/>
              <p:nvPr/>
            </p:nvGrpSpPr>
            <p:grpSpPr>
              <a:xfrm>
                <a:off x="3299798" y="4318442"/>
                <a:ext cx="74407" cy="74406"/>
                <a:chOff x="3299798" y="4318442"/>
                <a:chExt cx="74407" cy="74406"/>
              </a:xfrm>
            </p:grpSpPr>
            <p:sp>
              <p:nvSpPr>
                <p:cNvPr id="1733" name="Forma livre: Forma 1732">
                  <a:extLst>
                    <a:ext uri="{FF2B5EF4-FFF2-40B4-BE49-F238E27FC236}">
                      <a16:creationId xmlns:a16="http://schemas.microsoft.com/office/drawing/2014/main" id="{6976E2E8-0614-A5E3-E2D8-6AABDC0CD7D3}"/>
                    </a:ext>
                  </a:extLst>
                </p:cNvPr>
                <p:cNvSpPr/>
                <p:nvPr/>
              </p:nvSpPr>
              <p:spPr>
                <a:xfrm>
                  <a:off x="3299798" y="4318442"/>
                  <a:ext cx="74407" cy="74406"/>
                </a:xfrm>
                <a:custGeom>
                  <a:avLst/>
                  <a:gdLst>
                    <a:gd name="connsiteX0" fmla="*/ 74407 w 74407"/>
                    <a:gd name="connsiteY0" fmla="*/ 37203 h 74406"/>
                    <a:gd name="connsiteX1" fmla="*/ 37204 w 74407"/>
                    <a:gd name="connsiteY1" fmla="*/ 74407 h 74406"/>
                    <a:gd name="connsiteX2" fmla="*/ 0 w 74407"/>
                    <a:gd name="connsiteY2" fmla="*/ 37203 h 74406"/>
                    <a:gd name="connsiteX3" fmla="*/ 37204 w 74407"/>
                    <a:gd name="connsiteY3" fmla="*/ 0 h 74406"/>
                    <a:gd name="connsiteX4" fmla="*/ 74407 w 74407"/>
                    <a:gd name="connsiteY4" fmla="*/ 37203 h 7440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74407" h="74406">
                      <a:moveTo>
                        <a:pt x="74407" y="37203"/>
                      </a:moveTo>
                      <a:cubicBezTo>
                        <a:pt x="74407" y="57763"/>
                        <a:pt x="57763" y="74407"/>
                        <a:pt x="37204" y="74407"/>
                      </a:cubicBezTo>
                      <a:cubicBezTo>
                        <a:pt x="16644" y="74407"/>
                        <a:pt x="0" y="57763"/>
                        <a:pt x="0" y="37203"/>
                      </a:cubicBezTo>
                      <a:cubicBezTo>
                        <a:pt x="0" y="16644"/>
                        <a:pt x="16644" y="0"/>
                        <a:pt x="37204" y="0"/>
                      </a:cubicBezTo>
                      <a:cubicBezTo>
                        <a:pt x="57763" y="0"/>
                        <a:pt x="74407" y="16644"/>
                        <a:pt x="74407" y="37203"/>
                      </a:cubicBezTo>
                      <a:close/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734" name="Forma livre: Forma 1733">
                  <a:extLst>
                    <a:ext uri="{FF2B5EF4-FFF2-40B4-BE49-F238E27FC236}">
                      <a16:creationId xmlns:a16="http://schemas.microsoft.com/office/drawing/2014/main" id="{134D6896-CCDC-A54B-2584-3FFD8AAE30A6}"/>
                    </a:ext>
                  </a:extLst>
                </p:cNvPr>
                <p:cNvSpPr/>
                <p:nvPr/>
              </p:nvSpPr>
              <p:spPr>
                <a:xfrm>
                  <a:off x="3332596" y="4351240"/>
                  <a:ext cx="8811" cy="8811"/>
                </a:xfrm>
                <a:custGeom>
                  <a:avLst/>
                  <a:gdLst>
                    <a:gd name="connsiteX0" fmla="*/ 8811 w 8811"/>
                    <a:gd name="connsiteY0" fmla="*/ 4406 h 8811"/>
                    <a:gd name="connsiteX1" fmla="*/ 4406 w 8811"/>
                    <a:gd name="connsiteY1" fmla="*/ 8811 h 8811"/>
                    <a:gd name="connsiteX2" fmla="*/ 0 w 8811"/>
                    <a:gd name="connsiteY2" fmla="*/ 4406 h 8811"/>
                    <a:gd name="connsiteX3" fmla="*/ 4406 w 8811"/>
                    <a:gd name="connsiteY3" fmla="*/ 0 h 8811"/>
                    <a:gd name="connsiteX4" fmla="*/ 8811 w 8811"/>
                    <a:gd name="connsiteY4" fmla="*/ 4406 h 881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8811" h="8811">
                      <a:moveTo>
                        <a:pt x="8811" y="4406"/>
                      </a:moveTo>
                      <a:cubicBezTo>
                        <a:pt x="8811" y="6853"/>
                        <a:pt x="6853" y="8811"/>
                        <a:pt x="4406" y="8811"/>
                      </a:cubicBezTo>
                      <a:cubicBezTo>
                        <a:pt x="1958" y="8811"/>
                        <a:pt x="0" y="6853"/>
                        <a:pt x="0" y="4406"/>
                      </a:cubicBezTo>
                      <a:cubicBezTo>
                        <a:pt x="0" y="1958"/>
                        <a:pt x="2007" y="0"/>
                        <a:pt x="4406" y="0"/>
                      </a:cubicBezTo>
                      <a:cubicBezTo>
                        <a:pt x="6804" y="0"/>
                        <a:pt x="8811" y="1958"/>
                        <a:pt x="8811" y="4406"/>
                      </a:cubicBezTo>
                      <a:close/>
                    </a:path>
                  </a:pathLst>
                </a:custGeom>
                <a:solidFill>
                  <a:srgbClr val="394553"/>
                </a:solidFill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1735" name="Gráfico 18">
                <a:extLst>
                  <a:ext uri="{FF2B5EF4-FFF2-40B4-BE49-F238E27FC236}">
                    <a16:creationId xmlns:a16="http://schemas.microsoft.com/office/drawing/2014/main" id="{3ACCF69E-3264-EB47-227A-A5456CACD6B0}"/>
                  </a:ext>
                </a:extLst>
              </p:cNvPr>
              <p:cNvGrpSpPr/>
              <p:nvPr/>
            </p:nvGrpSpPr>
            <p:grpSpPr>
              <a:xfrm>
                <a:off x="3505592" y="4318442"/>
                <a:ext cx="74406" cy="74406"/>
                <a:chOff x="3505592" y="4318442"/>
                <a:chExt cx="74406" cy="74406"/>
              </a:xfrm>
            </p:grpSpPr>
            <p:sp>
              <p:nvSpPr>
                <p:cNvPr id="1736" name="Forma livre: Forma 1735">
                  <a:extLst>
                    <a:ext uri="{FF2B5EF4-FFF2-40B4-BE49-F238E27FC236}">
                      <a16:creationId xmlns:a16="http://schemas.microsoft.com/office/drawing/2014/main" id="{905EBF5C-E3C5-8DF7-8218-D5665E164885}"/>
                    </a:ext>
                  </a:extLst>
                </p:cNvPr>
                <p:cNvSpPr/>
                <p:nvPr/>
              </p:nvSpPr>
              <p:spPr>
                <a:xfrm>
                  <a:off x="3505592" y="4318442"/>
                  <a:ext cx="74406" cy="74406"/>
                </a:xfrm>
                <a:custGeom>
                  <a:avLst/>
                  <a:gdLst>
                    <a:gd name="connsiteX0" fmla="*/ 74407 w 74406"/>
                    <a:gd name="connsiteY0" fmla="*/ 37203 h 74406"/>
                    <a:gd name="connsiteX1" fmla="*/ 37203 w 74406"/>
                    <a:gd name="connsiteY1" fmla="*/ 74407 h 74406"/>
                    <a:gd name="connsiteX2" fmla="*/ 0 w 74406"/>
                    <a:gd name="connsiteY2" fmla="*/ 37203 h 74406"/>
                    <a:gd name="connsiteX3" fmla="*/ 37203 w 74406"/>
                    <a:gd name="connsiteY3" fmla="*/ 0 h 74406"/>
                    <a:gd name="connsiteX4" fmla="*/ 74407 w 74406"/>
                    <a:gd name="connsiteY4" fmla="*/ 37203 h 7440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74406" h="74406">
                      <a:moveTo>
                        <a:pt x="74407" y="37203"/>
                      </a:moveTo>
                      <a:cubicBezTo>
                        <a:pt x="74407" y="57763"/>
                        <a:pt x="57763" y="74407"/>
                        <a:pt x="37203" y="74407"/>
                      </a:cubicBezTo>
                      <a:cubicBezTo>
                        <a:pt x="16644" y="74407"/>
                        <a:pt x="0" y="57763"/>
                        <a:pt x="0" y="37203"/>
                      </a:cubicBezTo>
                      <a:cubicBezTo>
                        <a:pt x="0" y="16644"/>
                        <a:pt x="16644" y="0"/>
                        <a:pt x="37203" y="0"/>
                      </a:cubicBezTo>
                      <a:cubicBezTo>
                        <a:pt x="57763" y="0"/>
                        <a:pt x="74407" y="16644"/>
                        <a:pt x="74407" y="37203"/>
                      </a:cubicBezTo>
                      <a:close/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737" name="Forma livre: Forma 1736">
                  <a:extLst>
                    <a:ext uri="{FF2B5EF4-FFF2-40B4-BE49-F238E27FC236}">
                      <a16:creationId xmlns:a16="http://schemas.microsoft.com/office/drawing/2014/main" id="{764D40AB-3C48-E225-7B60-EFD9F45AF196}"/>
                    </a:ext>
                  </a:extLst>
                </p:cNvPr>
                <p:cNvSpPr/>
                <p:nvPr/>
              </p:nvSpPr>
              <p:spPr>
                <a:xfrm>
                  <a:off x="3538390" y="4351240"/>
                  <a:ext cx="8811" cy="8811"/>
                </a:xfrm>
                <a:custGeom>
                  <a:avLst/>
                  <a:gdLst>
                    <a:gd name="connsiteX0" fmla="*/ 8811 w 8811"/>
                    <a:gd name="connsiteY0" fmla="*/ 4406 h 8811"/>
                    <a:gd name="connsiteX1" fmla="*/ 4406 w 8811"/>
                    <a:gd name="connsiteY1" fmla="*/ 8811 h 8811"/>
                    <a:gd name="connsiteX2" fmla="*/ 0 w 8811"/>
                    <a:gd name="connsiteY2" fmla="*/ 4406 h 8811"/>
                    <a:gd name="connsiteX3" fmla="*/ 4406 w 8811"/>
                    <a:gd name="connsiteY3" fmla="*/ 0 h 8811"/>
                    <a:gd name="connsiteX4" fmla="*/ 8811 w 8811"/>
                    <a:gd name="connsiteY4" fmla="*/ 4406 h 881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8811" h="8811">
                      <a:moveTo>
                        <a:pt x="8811" y="4406"/>
                      </a:moveTo>
                      <a:cubicBezTo>
                        <a:pt x="8811" y="6853"/>
                        <a:pt x="6853" y="8811"/>
                        <a:pt x="4406" y="8811"/>
                      </a:cubicBezTo>
                      <a:cubicBezTo>
                        <a:pt x="1958" y="8811"/>
                        <a:pt x="0" y="6853"/>
                        <a:pt x="0" y="4406"/>
                      </a:cubicBezTo>
                      <a:cubicBezTo>
                        <a:pt x="0" y="1958"/>
                        <a:pt x="2007" y="0"/>
                        <a:pt x="4406" y="0"/>
                      </a:cubicBezTo>
                      <a:cubicBezTo>
                        <a:pt x="6804" y="0"/>
                        <a:pt x="8811" y="1958"/>
                        <a:pt x="8811" y="4406"/>
                      </a:cubicBezTo>
                      <a:close/>
                    </a:path>
                  </a:pathLst>
                </a:custGeom>
                <a:solidFill>
                  <a:srgbClr val="394553"/>
                </a:solidFill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</p:grpSp>
      <p:grpSp>
        <p:nvGrpSpPr>
          <p:cNvPr id="1738" name="Gráfico 18">
            <a:extLst>
              <a:ext uri="{FF2B5EF4-FFF2-40B4-BE49-F238E27FC236}">
                <a16:creationId xmlns:a16="http://schemas.microsoft.com/office/drawing/2014/main" id="{96286950-A7AE-DB49-D95C-4686F0BFCAB9}"/>
              </a:ext>
            </a:extLst>
          </p:cNvPr>
          <p:cNvGrpSpPr/>
          <p:nvPr/>
        </p:nvGrpSpPr>
        <p:grpSpPr>
          <a:xfrm>
            <a:off x="2676003" y="4189600"/>
            <a:ext cx="253032" cy="253375"/>
            <a:chOff x="2676003" y="4189600"/>
            <a:chExt cx="253032" cy="253375"/>
          </a:xfrm>
          <a:noFill/>
        </p:grpSpPr>
        <p:sp>
          <p:nvSpPr>
            <p:cNvPr id="1739" name="Forma livre: Forma 1738">
              <a:extLst>
                <a:ext uri="{FF2B5EF4-FFF2-40B4-BE49-F238E27FC236}">
                  <a16:creationId xmlns:a16="http://schemas.microsoft.com/office/drawing/2014/main" id="{D0F4E5E4-59E9-ECC6-4750-87AACDE87B29}"/>
                </a:ext>
              </a:extLst>
            </p:cNvPr>
            <p:cNvSpPr/>
            <p:nvPr/>
          </p:nvSpPr>
          <p:spPr>
            <a:xfrm>
              <a:off x="2676003" y="4189600"/>
              <a:ext cx="253032" cy="253081"/>
            </a:xfrm>
            <a:custGeom>
              <a:avLst/>
              <a:gdLst>
                <a:gd name="connsiteX0" fmla="*/ 194095 w 253032"/>
                <a:gd name="connsiteY0" fmla="*/ 3671 h 253081"/>
                <a:gd name="connsiteX1" fmla="*/ 194095 w 253032"/>
                <a:gd name="connsiteY1" fmla="*/ 96533 h 253081"/>
                <a:gd name="connsiteX2" fmla="*/ 58938 w 253032"/>
                <a:gd name="connsiteY2" fmla="*/ 96533 h 253081"/>
                <a:gd name="connsiteX3" fmla="*/ 58938 w 253032"/>
                <a:gd name="connsiteY3" fmla="*/ 0 h 253081"/>
                <a:gd name="connsiteX4" fmla="*/ 195563 w 253032"/>
                <a:gd name="connsiteY4" fmla="*/ 0 h 253081"/>
                <a:gd name="connsiteX5" fmla="*/ 253033 w 253032"/>
                <a:gd name="connsiteY5" fmla="*/ 56491 h 253081"/>
                <a:gd name="connsiteX6" fmla="*/ 253033 w 253032"/>
                <a:gd name="connsiteY6" fmla="*/ 238396 h 253081"/>
                <a:gd name="connsiteX7" fmla="*/ 238347 w 253032"/>
                <a:gd name="connsiteY7" fmla="*/ 253082 h 253081"/>
                <a:gd name="connsiteX8" fmla="*/ 14686 w 253032"/>
                <a:gd name="connsiteY8" fmla="*/ 253082 h 253081"/>
                <a:gd name="connsiteX9" fmla="*/ 0 w 253032"/>
                <a:gd name="connsiteY9" fmla="*/ 238396 h 253081"/>
                <a:gd name="connsiteX10" fmla="*/ 0 w 253032"/>
                <a:gd name="connsiteY10" fmla="*/ 14686 h 253081"/>
                <a:gd name="connsiteX11" fmla="*/ 14686 w 253032"/>
                <a:gd name="connsiteY11" fmla="*/ 0 h 253081"/>
                <a:gd name="connsiteX12" fmla="*/ 36029 w 253032"/>
                <a:gd name="connsiteY12" fmla="*/ 0 h 2530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53032" h="253081">
                  <a:moveTo>
                    <a:pt x="194095" y="3671"/>
                  </a:moveTo>
                  <a:lnTo>
                    <a:pt x="194095" y="96533"/>
                  </a:lnTo>
                  <a:lnTo>
                    <a:pt x="58938" y="96533"/>
                  </a:lnTo>
                  <a:lnTo>
                    <a:pt x="58938" y="0"/>
                  </a:lnTo>
                  <a:lnTo>
                    <a:pt x="195563" y="0"/>
                  </a:lnTo>
                  <a:lnTo>
                    <a:pt x="253033" y="56491"/>
                  </a:lnTo>
                  <a:lnTo>
                    <a:pt x="253033" y="238396"/>
                  </a:lnTo>
                  <a:cubicBezTo>
                    <a:pt x="253033" y="246473"/>
                    <a:pt x="246424" y="253082"/>
                    <a:pt x="238347" y="253082"/>
                  </a:cubicBezTo>
                  <a:lnTo>
                    <a:pt x="14686" y="253082"/>
                  </a:lnTo>
                  <a:cubicBezTo>
                    <a:pt x="6609" y="253082"/>
                    <a:pt x="0" y="246473"/>
                    <a:pt x="0" y="238396"/>
                  </a:cubicBezTo>
                  <a:lnTo>
                    <a:pt x="0" y="14686"/>
                  </a:lnTo>
                  <a:cubicBezTo>
                    <a:pt x="0" y="6609"/>
                    <a:pt x="6609" y="0"/>
                    <a:pt x="14686" y="0"/>
                  </a:cubicBezTo>
                  <a:lnTo>
                    <a:pt x="36029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40" name="Forma livre: Forma 1739">
              <a:extLst>
                <a:ext uri="{FF2B5EF4-FFF2-40B4-BE49-F238E27FC236}">
                  <a16:creationId xmlns:a16="http://schemas.microsoft.com/office/drawing/2014/main" id="{C199DFC4-F7DA-BEEE-30CC-1D8FB73FD997}"/>
                </a:ext>
              </a:extLst>
            </p:cNvPr>
            <p:cNvSpPr/>
            <p:nvPr/>
          </p:nvSpPr>
          <p:spPr>
            <a:xfrm>
              <a:off x="2829125" y="4210845"/>
              <a:ext cx="4895" cy="53210"/>
            </a:xfrm>
            <a:custGeom>
              <a:avLst/>
              <a:gdLst>
                <a:gd name="connsiteX0" fmla="*/ 0 w 4895"/>
                <a:gd name="connsiteY0" fmla="*/ 0 h 53210"/>
                <a:gd name="connsiteX1" fmla="*/ 0 w 4895"/>
                <a:gd name="connsiteY1" fmla="*/ 53211 h 532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895" h="53210">
                  <a:moveTo>
                    <a:pt x="0" y="0"/>
                  </a:moveTo>
                  <a:lnTo>
                    <a:pt x="0" y="53211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41" name="Forma livre: Forma 1740">
              <a:extLst>
                <a:ext uri="{FF2B5EF4-FFF2-40B4-BE49-F238E27FC236}">
                  <a16:creationId xmlns:a16="http://schemas.microsoft.com/office/drawing/2014/main" id="{513723A1-D39B-C32A-1CBB-219E718AFCF2}"/>
                </a:ext>
              </a:extLst>
            </p:cNvPr>
            <p:cNvSpPr/>
            <p:nvPr/>
          </p:nvSpPr>
          <p:spPr>
            <a:xfrm>
              <a:off x="2711787" y="4329848"/>
              <a:ext cx="181513" cy="113128"/>
            </a:xfrm>
            <a:custGeom>
              <a:avLst/>
              <a:gdLst>
                <a:gd name="connsiteX0" fmla="*/ 0 w 181513"/>
                <a:gd name="connsiteY0" fmla="*/ 113128 h 113128"/>
                <a:gd name="connsiteX1" fmla="*/ 0 w 181513"/>
                <a:gd name="connsiteY1" fmla="*/ 15469 h 113128"/>
                <a:gd name="connsiteX2" fmla="*/ 15469 w 181513"/>
                <a:gd name="connsiteY2" fmla="*/ 0 h 113128"/>
                <a:gd name="connsiteX3" fmla="*/ 166045 w 181513"/>
                <a:gd name="connsiteY3" fmla="*/ 0 h 113128"/>
                <a:gd name="connsiteX4" fmla="*/ 181514 w 181513"/>
                <a:gd name="connsiteY4" fmla="*/ 15469 h 113128"/>
                <a:gd name="connsiteX5" fmla="*/ 181514 w 181513"/>
                <a:gd name="connsiteY5" fmla="*/ 113128 h 1131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1513" h="113128">
                  <a:moveTo>
                    <a:pt x="0" y="113128"/>
                  </a:moveTo>
                  <a:lnTo>
                    <a:pt x="0" y="15469"/>
                  </a:lnTo>
                  <a:cubicBezTo>
                    <a:pt x="0" y="7000"/>
                    <a:pt x="6951" y="0"/>
                    <a:pt x="15469" y="0"/>
                  </a:cubicBezTo>
                  <a:lnTo>
                    <a:pt x="166045" y="0"/>
                  </a:lnTo>
                  <a:cubicBezTo>
                    <a:pt x="174563" y="0"/>
                    <a:pt x="181514" y="6951"/>
                    <a:pt x="181514" y="15469"/>
                  </a:cubicBezTo>
                  <a:lnTo>
                    <a:pt x="181514" y="113128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742" name="Gráfico 18">
              <a:extLst>
                <a:ext uri="{FF2B5EF4-FFF2-40B4-BE49-F238E27FC236}">
                  <a16:creationId xmlns:a16="http://schemas.microsoft.com/office/drawing/2014/main" id="{2150FEDA-72A3-622C-40C4-5D88A3A63706}"/>
                </a:ext>
              </a:extLst>
            </p:cNvPr>
            <p:cNvGrpSpPr/>
            <p:nvPr/>
          </p:nvGrpSpPr>
          <p:grpSpPr>
            <a:xfrm>
              <a:off x="2745907" y="4368813"/>
              <a:ext cx="113274" cy="34119"/>
              <a:chOff x="2745907" y="4368813"/>
              <a:chExt cx="113274" cy="34119"/>
            </a:xfrm>
          </p:grpSpPr>
          <p:sp>
            <p:nvSpPr>
              <p:cNvPr id="1743" name="Forma livre: Forma 1742">
                <a:extLst>
                  <a:ext uri="{FF2B5EF4-FFF2-40B4-BE49-F238E27FC236}">
                    <a16:creationId xmlns:a16="http://schemas.microsoft.com/office/drawing/2014/main" id="{A887F393-B3CB-8476-D18C-CD0C1F5B2762}"/>
                  </a:ext>
                </a:extLst>
              </p:cNvPr>
              <p:cNvSpPr/>
              <p:nvPr/>
            </p:nvSpPr>
            <p:spPr>
              <a:xfrm>
                <a:off x="2745907" y="4368813"/>
                <a:ext cx="113274" cy="4895"/>
              </a:xfrm>
              <a:custGeom>
                <a:avLst/>
                <a:gdLst>
                  <a:gd name="connsiteX0" fmla="*/ 0 w 113274"/>
                  <a:gd name="connsiteY0" fmla="*/ 0 h 4895"/>
                  <a:gd name="connsiteX1" fmla="*/ 113275 w 113274"/>
                  <a:gd name="connsiteY1" fmla="*/ 0 h 48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3274" h="4895">
                    <a:moveTo>
                      <a:pt x="0" y="0"/>
                    </a:moveTo>
                    <a:lnTo>
                      <a:pt x="113275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744" name="Forma livre: Forma 1743">
                <a:extLst>
                  <a:ext uri="{FF2B5EF4-FFF2-40B4-BE49-F238E27FC236}">
                    <a16:creationId xmlns:a16="http://schemas.microsoft.com/office/drawing/2014/main" id="{D65BFD74-452B-4113-5399-51B93F7D7A19}"/>
                  </a:ext>
                </a:extLst>
              </p:cNvPr>
              <p:cNvSpPr/>
              <p:nvPr/>
            </p:nvSpPr>
            <p:spPr>
              <a:xfrm>
                <a:off x="2745907" y="4402933"/>
                <a:ext cx="113274" cy="4895"/>
              </a:xfrm>
              <a:custGeom>
                <a:avLst/>
                <a:gdLst>
                  <a:gd name="connsiteX0" fmla="*/ 0 w 113274"/>
                  <a:gd name="connsiteY0" fmla="*/ 0 h 4895"/>
                  <a:gd name="connsiteX1" fmla="*/ 113275 w 113274"/>
                  <a:gd name="connsiteY1" fmla="*/ 0 h 48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3274" h="4895">
                    <a:moveTo>
                      <a:pt x="0" y="0"/>
                    </a:moveTo>
                    <a:lnTo>
                      <a:pt x="113275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757" name="Gráfico 18">
            <a:extLst>
              <a:ext uri="{FF2B5EF4-FFF2-40B4-BE49-F238E27FC236}">
                <a16:creationId xmlns:a16="http://schemas.microsoft.com/office/drawing/2014/main" id="{F24C8AA8-79B4-D330-CB7E-1662B7A68BF7}"/>
              </a:ext>
            </a:extLst>
          </p:cNvPr>
          <p:cNvGrpSpPr/>
          <p:nvPr/>
        </p:nvGrpSpPr>
        <p:grpSpPr>
          <a:xfrm>
            <a:off x="3241349" y="3670269"/>
            <a:ext cx="397049" cy="224102"/>
            <a:chOff x="3241349" y="3670269"/>
            <a:chExt cx="397049" cy="224102"/>
          </a:xfrm>
        </p:grpSpPr>
        <p:sp>
          <p:nvSpPr>
            <p:cNvPr id="1758" name="Forma livre: Forma 1757">
              <a:extLst>
                <a:ext uri="{FF2B5EF4-FFF2-40B4-BE49-F238E27FC236}">
                  <a16:creationId xmlns:a16="http://schemas.microsoft.com/office/drawing/2014/main" id="{62305980-DA96-4B8D-ABB1-664BFB7ACB31}"/>
                </a:ext>
              </a:extLst>
            </p:cNvPr>
            <p:cNvSpPr/>
            <p:nvPr/>
          </p:nvSpPr>
          <p:spPr>
            <a:xfrm>
              <a:off x="3340918" y="3685444"/>
              <a:ext cx="100008" cy="46602"/>
            </a:xfrm>
            <a:custGeom>
              <a:avLst/>
              <a:gdLst>
                <a:gd name="connsiteX0" fmla="*/ 0 w 100008"/>
                <a:gd name="connsiteY0" fmla="*/ 46602 h 46602"/>
                <a:gd name="connsiteX1" fmla="*/ 7783 w 100008"/>
                <a:gd name="connsiteY1" fmla="*/ 18798 h 46602"/>
                <a:gd name="connsiteX2" fmla="*/ 32847 w 100008"/>
                <a:gd name="connsiteY2" fmla="*/ 0 h 46602"/>
                <a:gd name="connsiteX3" fmla="*/ 100009 w 100008"/>
                <a:gd name="connsiteY3" fmla="*/ 0 h 466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0008" h="46602">
                  <a:moveTo>
                    <a:pt x="0" y="46602"/>
                  </a:moveTo>
                  <a:lnTo>
                    <a:pt x="7783" y="18798"/>
                  </a:lnTo>
                  <a:cubicBezTo>
                    <a:pt x="10818" y="8469"/>
                    <a:pt x="22077" y="0"/>
                    <a:pt x="32847" y="0"/>
                  </a:cubicBezTo>
                  <a:lnTo>
                    <a:pt x="100009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59" name="Forma livre: Forma 1758">
              <a:extLst>
                <a:ext uri="{FF2B5EF4-FFF2-40B4-BE49-F238E27FC236}">
                  <a16:creationId xmlns:a16="http://schemas.microsoft.com/office/drawing/2014/main" id="{F7367683-DF7D-6D8C-6747-B791D1F505AE}"/>
                </a:ext>
              </a:extLst>
            </p:cNvPr>
            <p:cNvSpPr/>
            <p:nvPr/>
          </p:nvSpPr>
          <p:spPr>
            <a:xfrm>
              <a:off x="3299455" y="3732487"/>
              <a:ext cx="193751" cy="126051"/>
            </a:xfrm>
            <a:custGeom>
              <a:avLst/>
              <a:gdLst>
                <a:gd name="connsiteX0" fmla="*/ 0 w 193751"/>
                <a:gd name="connsiteY0" fmla="*/ 108037 h 126051"/>
                <a:gd name="connsiteX1" fmla="*/ 0 w 193751"/>
                <a:gd name="connsiteY1" fmla="*/ 24476 h 126051"/>
                <a:gd name="connsiteX2" fmla="*/ 24476 w 193751"/>
                <a:gd name="connsiteY2" fmla="*/ 0 h 126051"/>
                <a:gd name="connsiteX3" fmla="*/ 193752 w 193751"/>
                <a:gd name="connsiteY3" fmla="*/ 0 h 126051"/>
                <a:gd name="connsiteX4" fmla="*/ 193752 w 193751"/>
                <a:gd name="connsiteY4" fmla="*/ 126051 h 126051"/>
                <a:gd name="connsiteX5" fmla="*/ 165947 w 193751"/>
                <a:gd name="connsiteY5" fmla="*/ 126051 h 1260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93751" h="126051">
                  <a:moveTo>
                    <a:pt x="0" y="108037"/>
                  </a:moveTo>
                  <a:lnTo>
                    <a:pt x="0" y="24476"/>
                  </a:lnTo>
                  <a:cubicBezTo>
                    <a:pt x="0" y="11014"/>
                    <a:pt x="11014" y="0"/>
                    <a:pt x="24476" y="0"/>
                  </a:cubicBezTo>
                  <a:lnTo>
                    <a:pt x="193752" y="0"/>
                  </a:lnTo>
                  <a:lnTo>
                    <a:pt x="193752" y="126051"/>
                  </a:lnTo>
                  <a:lnTo>
                    <a:pt x="165947" y="126051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60" name="Forma livre: Forma 1759">
              <a:extLst>
                <a:ext uri="{FF2B5EF4-FFF2-40B4-BE49-F238E27FC236}">
                  <a16:creationId xmlns:a16="http://schemas.microsoft.com/office/drawing/2014/main" id="{A3D85F72-3076-254A-7A02-94ABD7A3F3BA}"/>
                </a:ext>
              </a:extLst>
            </p:cNvPr>
            <p:cNvSpPr/>
            <p:nvPr/>
          </p:nvSpPr>
          <p:spPr>
            <a:xfrm>
              <a:off x="3571971" y="3722452"/>
              <a:ext cx="66427" cy="146072"/>
            </a:xfrm>
            <a:custGeom>
              <a:avLst/>
              <a:gdLst>
                <a:gd name="connsiteX0" fmla="*/ 66428 w 66427"/>
                <a:gd name="connsiteY0" fmla="*/ 146024 h 146072"/>
                <a:gd name="connsiteX1" fmla="*/ 24329 w 66427"/>
                <a:gd name="connsiteY1" fmla="*/ 141471 h 146072"/>
                <a:gd name="connsiteX2" fmla="*/ 0 w 66427"/>
                <a:gd name="connsiteY2" fmla="*/ 114352 h 146072"/>
                <a:gd name="connsiteX3" fmla="*/ 0 w 66427"/>
                <a:gd name="connsiteY3" fmla="*/ 31672 h 146072"/>
                <a:gd name="connsiteX4" fmla="*/ 24329 w 66427"/>
                <a:gd name="connsiteY4" fmla="*/ 4553 h 146072"/>
                <a:gd name="connsiteX5" fmla="*/ 66428 w 66427"/>
                <a:gd name="connsiteY5" fmla="*/ 0 h 146072"/>
                <a:gd name="connsiteX6" fmla="*/ 66428 w 66427"/>
                <a:gd name="connsiteY6" fmla="*/ 146073 h 1460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6427" h="146072">
                  <a:moveTo>
                    <a:pt x="66428" y="146024"/>
                  </a:moveTo>
                  <a:lnTo>
                    <a:pt x="24329" y="141471"/>
                  </a:lnTo>
                  <a:cubicBezTo>
                    <a:pt x="10965" y="140003"/>
                    <a:pt x="0" y="127814"/>
                    <a:pt x="0" y="114352"/>
                  </a:cubicBezTo>
                  <a:lnTo>
                    <a:pt x="0" y="31672"/>
                  </a:lnTo>
                  <a:cubicBezTo>
                    <a:pt x="0" y="18210"/>
                    <a:pt x="10965" y="6021"/>
                    <a:pt x="24329" y="4553"/>
                  </a:cubicBezTo>
                  <a:lnTo>
                    <a:pt x="66428" y="0"/>
                  </a:lnTo>
                  <a:lnTo>
                    <a:pt x="66428" y="146073"/>
                  </a:ln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61" name="Forma livre: Forma 1760">
              <a:extLst>
                <a:ext uri="{FF2B5EF4-FFF2-40B4-BE49-F238E27FC236}">
                  <a16:creationId xmlns:a16="http://schemas.microsoft.com/office/drawing/2014/main" id="{0C2528E3-C229-E9EB-0511-D2BB9D4C9E88}"/>
                </a:ext>
              </a:extLst>
            </p:cNvPr>
            <p:cNvSpPr/>
            <p:nvPr/>
          </p:nvSpPr>
          <p:spPr>
            <a:xfrm>
              <a:off x="3241349" y="3733368"/>
              <a:ext cx="29224" cy="60308"/>
            </a:xfrm>
            <a:custGeom>
              <a:avLst/>
              <a:gdLst>
                <a:gd name="connsiteX0" fmla="*/ 0 w 29224"/>
                <a:gd name="connsiteY0" fmla="*/ 0 h 60308"/>
                <a:gd name="connsiteX1" fmla="*/ 19875 w 29224"/>
                <a:gd name="connsiteY1" fmla="*/ 6266 h 60308"/>
                <a:gd name="connsiteX2" fmla="*/ 29224 w 29224"/>
                <a:gd name="connsiteY2" fmla="*/ 18993 h 60308"/>
                <a:gd name="connsiteX3" fmla="*/ 29224 w 29224"/>
                <a:gd name="connsiteY3" fmla="*/ 41315 h 60308"/>
                <a:gd name="connsiteX4" fmla="*/ 19875 w 29224"/>
                <a:gd name="connsiteY4" fmla="*/ 54043 h 60308"/>
                <a:gd name="connsiteX5" fmla="*/ 0 w 29224"/>
                <a:gd name="connsiteY5" fmla="*/ 60309 h 60308"/>
                <a:gd name="connsiteX6" fmla="*/ 0 w 29224"/>
                <a:gd name="connsiteY6" fmla="*/ 49 h 603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9224" h="60308">
                  <a:moveTo>
                    <a:pt x="0" y="0"/>
                  </a:moveTo>
                  <a:lnTo>
                    <a:pt x="19875" y="6266"/>
                  </a:lnTo>
                  <a:cubicBezTo>
                    <a:pt x="25014" y="7881"/>
                    <a:pt x="29224" y="13609"/>
                    <a:pt x="29224" y="18993"/>
                  </a:cubicBezTo>
                  <a:lnTo>
                    <a:pt x="29224" y="41315"/>
                  </a:lnTo>
                  <a:cubicBezTo>
                    <a:pt x="29224" y="46700"/>
                    <a:pt x="25014" y="52428"/>
                    <a:pt x="19875" y="54043"/>
                  </a:cubicBezTo>
                  <a:lnTo>
                    <a:pt x="0" y="60309"/>
                  </a:lnTo>
                  <a:lnTo>
                    <a:pt x="0" y="49"/>
                  </a:ln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62" name="Forma livre: Forma 1761">
              <a:extLst>
                <a:ext uri="{FF2B5EF4-FFF2-40B4-BE49-F238E27FC236}">
                  <a16:creationId xmlns:a16="http://schemas.microsoft.com/office/drawing/2014/main" id="{A8D4F57C-159A-164C-5D88-2B6802316B79}"/>
                </a:ext>
              </a:extLst>
            </p:cNvPr>
            <p:cNvSpPr/>
            <p:nvPr/>
          </p:nvSpPr>
          <p:spPr>
            <a:xfrm>
              <a:off x="3441122" y="3670269"/>
              <a:ext cx="141960" cy="29371"/>
            </a:xfrm>
            <a:custGeom>
              <a:avLst/>
              <a:gdLst>
                <a:gd name="connsiteX0" fmla="*/ 127275 w 141960"/>
                <a:gd name="connsiteY0" fmla="*/ 0 h 29371"/>
                <a:gd name="connsiteX1" fmla="*/ 0 w 141960"/>
                <a:gd name="connsiteY1" fmla="*/ 0 h 29371"/>
                <a:gd name="connsiteX2" fmla="*/ 0 w 141960"/>
                <a:gd name="connsiteY2" fmla="*/ 29371 h 29371"/>
                <a:gd name="connsiteX3" fmla="*/ 127275 w 141960"/>
                <a:gd name="connsiteY3" fmla="*/ 29371 h 29371"/>
                <a:gd name="connsiteX4" fmla="*/ 141961 w 141960"/>
                <a:gd name="connsiteY4" fmla="*/ 14686 h 29371"/>
                <a:gd name="connsiteX5" fmla="*/ 127275 w 141960"/>
                <a:gd name="connsiteY5" fmla="*/ 0 h 293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41960" h="29371">
                  <a:moveTo>
                    <a:pt x="127275" y="0"/>
                  </a:moveTo>
                  <a:lnTo>
                    <a:pt x="0" y="0"/>
                  </a:lnTo>
                  <a:lnTo>
                    <a:pt x="0" y="29371"/>
                  </a:lnTo>
                  <a:lnTo>
                    <a:pt x="127275" y="29371"/>
                  </a:lnTo>
                  <a:cubicBezTo>
                    <a:pt x="135401" y="29371"/>
                    <a:pt x="141961" y="22812"/>
                    <a:pt x="141961" y="14686"/>
                  </a:cubicBezTo>
                  <a:cubicBezTo>
                    <a:pt x="141961" y="6560"/>
                    <a:pt x="135401" y="0"/>
                    <a:pt x="127275" y="0"/>
                  </a:cubicBez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763" name="Gráfico 18">
              <a:extLst>
                <a:ext uri="{FF2B5EF4-FFF2-40B4-BE49-F238E27FC236}">
                  <a16:creationId xmlns:a16="http://schemas.microsoft.com/office/drawing/2014/main" id="{60B74BEB-52EC-26B0-AA64-4F2C5F45D7D2}"/>
                </a:ext>
              </a:extLst>
            </p:cNvPr>
            <p:cNvGrpSpPr/>
            <p:nvPr/>
          </p:nvGrpSpPr>
          <p:grpSpPr>
            <a:xfrm>
              <a:off x="3523753" y="3773802"/>
              <a:ext cx="17133" cy="43322"/>
              <a:chOff x="3523753" y="3773802"/>
              <a:chExt cx="17133" cy="43322"/>
            </a:xfrm>
          </p:grpSpPr>
          <p:sp>
            <p:nvSpPr>
              <p:cNvPr id="1764" name="Forma livre: Forma 1763">
                <a:extLst>
                  <a:ext uri="{FF2B5EF4-FFF2-40B4-BE49-F238E27FC236}">
                    <a16:creationId xmlns:a16="http://schemas.microsoft.com/office/drawing/2014/main" id="{77ABA608-56C4-CD70-3CAD-8F0745DA6826}"/>
                  </a:ext>
                </a:extLst>
              </p:cNvPr>
              <p:cNvSpPr/>
              <p:nvPr/>
            </p:nvSpPr>
            <p:spPr>
              <a:xfrm>
                <a:off x="3523753" y="3773802"/>
                <a:ext cx="17133" cy="4895"/>
              </a:xfrm>
              <a:custGeom>
                <a:avLst/>
                <a:gdLst>
                  <a:gd name="connsiteX0" fmla="*/ 0 w 17133"/>
                  <a:gd name="connsiteY0" fmla="*/ 0 h 4895"/>
                  <a:gd name="connsiteX1" fmla="*/ 17133 w 17133"/>
                  <a:gd name="connsiteY1" fmla="*/ 0 h 48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7133" h="4895">
                    <a:moveTo>
                      <a:pt x="0" y="0"/>
                    </a:moveTo>
                    <a:lnTo>
                      <a:pt x="17133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765" name="Forma livre: Forma 1764">
                <a:extLst>
                  <a:ext uri="{FF2B5EF4-FFF2-40B4-BE49-F238E27FC236}">
                    <a16:creationId xmlns:a16="http://schemas.microsoft.com/office/drawing/2014/main" id="{C35CF660-EFA8-4119-853A-11FA7843C258}"/>
                  </a:ext>
                </a:extLst>
              </p:cNvPr>
              <p:cNvSpPr/>
              <p:nvPr/>
            </p:nvSpPr>
            <p:spPr>
              <a:xfrm>
                <a:off x="3523753" y="3795488"/>
                <a:ext cx="17133" cy="4895"/>
              </a:xfrm>
              <a:custGeom>
                <a:avLst/>
                <a:gdLst>
                  <a:gd name="connsiteX0" fmla="*/ 0 w 17133"/>
                  <a:gd name="connsiteY0" fmla="*/ 0 h 4895"/>
                  <a:gd name="connsiteX1" fmla="*/ 17133 w 17133"/>
                  <a:gd name="connsiteY1" fmla="*/ 0 h 48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7133" h="4895">
                    <a:moveTo>
                      <a:pt x="0" y="0"/>
                    </a:moveTo>
                    <a:lnTo>
                      <a:pt x="17133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766" name="Forma livre: Forma 1765">
                <a:extLst>
                  <a:ext uri="{FF2B5EF4-FFF2-40B4-BE49-F238E27FC236}">
                    <a16:creationId xmlns:a16="http://schemas.microsoft.com/office/drawing/2014/main" id="{92056460-2CA7-A52F-38FD-391CC54CFDE9}"/>
                  </a:ext>
                </a:extLst>
              </p:cNvPr>
              <p:cNvSpPr/>
              <p:nvPr/>
            </p:nvSpPr>
            <p:spPr>
              <a:xfrm>
                <a:off x="3523753" y="3817125"/>
                <a:ext cx="17133" cy="4895"/>
              </a:xfrm>
              <a:custGeom>
                <a:avLst/>
                <a:gdLst>
                  <a:gd name="connsiteX0" fmla="*/ 0 w 17133"/>
                  <a:gd name="connsiteY0" fmla="*/ 0 h 4895"/>
                  <a:gd name="connsiteX1" fmla="*/ 17133 w 17133"/>
                  <a:gd name="connsiteY1" fmla="*/ 0 h 48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7133" h="4895">
                    <a:moveTo>
                      <a:pt x="0" y="0"/>
                    </a:moveTo>
                    <a:lnTo>
                      <a:pt x="17133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767" name="Forma livre: Forma 1766">
              <a:extLst>
                <a:ext uri="{FF2B5EF4-FFF2-40B4-BE49-F238E27FC236}">
                  <a16:creationId xmlns:a16="http://schemas.microsoft.com/office/drawing/2014/main" id="{A11D9B4A-02CC-1BF4-55C1-D710E82B09AC}"/>
                </a:ext>
              </a:extLst>
            </p:cNvPr>
            <p:cNvSpPr/>
            <p:nvPr/>
          </p:nvSpPr>
          <p:spPr>
            <a:xfrm>
              <a:off x="3269888" y="3748347"/>
              <a:ext cx="31182" cy="4895"/>
            </a:xfrm>
            <a:custGeom>
              <a:avLst/>
              <a:gdLst>
                <a:gd name="connsiteX0" fmla="*/ 0 w 31182"/>
                <a:gd name="connsiteY0" fmla="*/ 0 h 4895"/>
                <a:gd name="connsiteX1" fmla="*/ 31182 w 31182"/>
                <a:gd name="connsiteY1" fmla="*/ 0 h 48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1182" h="4895">
                  <a:moveTo>
                    <a:pt x="0" y="0"/>
                  </a:moveTo>
                  <a:lnTo>
                    <a:pt x="31182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68" name="Forma livre: Forma 1767">
              <a:extLst>
                <a:ext uri="{FF2B5EF4-FFF2-40B4-BE49-F238E27FC236}">
                  <a16:creationId xmlns:a16="http://schemas.microsoft.com/office/drawing/2014/main" id="{5F5B64B2-9AE5-7A88-31E9-B5D8BF798A58}"/>
                </a:ext>
              </a:extLst>
            </p:cNvPr>
            <p:cNvSpPr/>
            <p:nvPr/>
          </p:nvSpPr>
          <p:spPr>
            <a:xfrm>
              <a:off x="3269252" y="3780655"/>
              <a:ext cx="30007" cy="4895"/>
            </a:xfrm>
            <a:custGeom>
              <a:avLst/>
              <a:gdLst>
                <a:gd name="connsiteX0" fmla="*/ 0 w 30007"/>
                <a:gd name="connsiteY0" fmla="*/ 0 h 4895"/>
                <a:gd name="connsiteX1" fmla="*/ 30008 w 30007"/>
                <a:gd name="connsiteY1" fmla="*/ 0 h 48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0007" h="4895">
                  <a:moveTo>
                    <a:pt x="0" y="0"/>
                  </a:moveTo>
                  <a:lnTo>
                    <a:pt x="30008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69" name="Forma livre: Forma 1768">
              <a:extLst>
                <a:ext uri="{FF2B5EF4-FFF2-40B4-BE49-F238E27FC236}">
                  <a16:creationId xmlns:a16="http://schemas.microsoft.com/office/drawing/2014/main" id="{136B11CC-730F-37C1-6308-2D801D9A6FCB}"/>
                </a:ext>
              </a:extLst>
            </p:cNvPr>
            <p:cNvSpPr/>
            <p:nvPr/>
          </p:nvSpPr>
          <p:spPr>
            <a:xfrm>
              <a:off x="3287854" y="3840719"/>
              <a:ext cx="164968" cy="53651"/>
            </a:xfrm>
            <a:custGeom>
              <a:avLst/>
              <a:gdLst>
                <a:gd name="connsiteX0" fmla="*/ 392 w 164968"/>
                <a:gd name="connsiteY0" fmla="*/ 53602 h 53651"/>
                <a:gd name="connsiteX1" fmla="*/ 31280 w 164968"/>
                <a:gd name="connsiteY1" fmla="*/ 53602 h 53651"/>
                <a:gd name="connsiteX2" fmla="*/ 82631 w 164968"/>
                <a:gd name="connsiteY2" fmla="*/ 27022 h 53651"/>
                <a:gd name="connsiteX3" fmla="*/ 144800 w 164968"/>
                <a:gd name="connsiteY3" fmla="*/ 53602 h 53651"/>
                <a:gd name="connsiteX4" fmla="*/ 164968 w 164968"/>
                <a:gd name="connsiteY4" fmla="*/ 53505 h 53651"/>
                <a:gd name="connsiteX5" fmla="*/ 149695 w 164968"/>
                <a:gd name="connsiteY5" fmla="*/ 9790 h 53651"/>
                <a:gd name="connsiteX6" fmla="*/ 143968 w 164968"/>
                <a:gd name="connsiteY6" fmla="*/ 2839 h 53651"/>
                <a:gd name="connsiteX7" fmla="*/ 133786 w 164968"/>
                <a:gd name="connsiteY7" fmla="*/ 0 h 53651"/>
                <a:gd name="connsiteX8" fmla="*/ 0 w 164968"/>
                <a:gd name="connsiteY8" fmla="*/ 0 h 53651"/>
                <a:gd name="connsiteX9" fmla="*/ 343 w 164968"/>
                <a:gd name="connsiteY9" fmla="*/ 53651 h 536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64968" h="53651">
                  <a:moveTo>
                    <a:pt x="392" y="53602"/>
                  </a:moveTo>
                  <a:lnTo>
                    <a:pt x="31280" y="53602"/>
                  </a:lnTo>
                  <a:cubicBezTo>
                    <a:pt x="44155" y="29567"/>
                    <a:pt x="64519" y="27022"/>
                    <a:pt x="82631" y="27022"/>
                  </a:cubicBezTo>
                  <a:cubicBezTo>
                    <a:pt x="103044" y="27022"/>
                    <a:pt x="126002" y="26091"/>
                    <a:pt x="144800" y="53602"/>
                  </a:cubicBezTo>
                  <a:lnTo>
                    <a:pt x="164968" y="53505"/>
                  </a:lnTo>
                  <a:lnTo>
                    <a:pt x="149695" y="9790"/>
                  </a:lnTo>
                  <a:cubicBezTo>
                    <a:pt x="149695" y="9790"/>
                    <a:pt x="147639" y="5727"/>
                    <a:pt x="143968" y="2839"/>
                  </a:cubicBezTo>
                  <a:cubicBezTo>
                    <a:pt x="140296" y="-49"/>
                    <a:pt x="133786" y="0"/>
                    <a:pt x="133786" y="0"/>
                  </a:cubicBezTo>
                  <a:lnTo>
                    <a:pt x="0" y="0"/>
                  </a:lnTo>
                  <a:lnTo>
                    <a:pt x="343" y="53651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70" name="Forma livre: Forma 1769">
              <a:extLst>
                <a:ext uri="{FF2B5EF4-FFF2-40B4-BE49-F238E27FC236}">
                  <a16:creationId xmlns:a16="http://schemas.microsoft.com/office/drawing/2014/main" id="{C8AF9C2D-CFFD-3754-91DC-50EC5632A46C}"/>
                </a:ext>
              </a:extLst>
            </p:cNvPr>
            <p:cNvSpPr/>
            <p:nvPr/>
          </p:nvSpPr>
          <p:spPr>
            <a:xfrm>
              <a:off x="3420220" y="3762152"/>
              <a:ext cx="7636" cy="7636"/>
            </a:xfrm>
            <a:custGeom>
              <a:avLst/>
              <a:gdLst>
                <a:gd name="connsiteX0" fmla="*/ 7636 w 7636"/>
                <a:gd name="connsiteY0" fmla="*/ 3818 h 7636"/>
                <a:gd name="connsiteX1" fmla="*/ 3818 w 7636"/>
                <a:gd name="connsiteY1" fmla="*/ 7637 h 7636"/>
                <a:gd name="connsiteX2" fmla="*/ 0 w 7636"/>
                <a:gd name="connsiteY2" fmla="*/ 3818 h 7636"/>
                <a:gd name="connsiteX3" fmla="*/ 3818 w 7636"/>
                <a:gd name="connsiteY3" fmla="*/ 0 h 7636"/>
                <a:gd name="connsiteX4" fmla="*/ 7636 w 7636"/>
                <a:gd name="connsiteY4" fmla="*/ 3818 h 76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36" h="7636">
                  <a:moveTo>
                    <a:pt x="7636" y="3818"/>
                  </a:moveTo>
                  <a:cubicBezTo>
                    <a:pt x="7636" y="5923"/>
                    <a:pt x="5923" y="7637"/>
                    <a:pt x="3818" y="7637"/>
                  </a:cubicBezTo>
                  <a:cubicBezTo>
                    <a:pt x="1713" y="7637"/>
                    <a:pt x="0" y="5923"/>
                    <a:pt x="0" y="3818"/>
                  </a:cubicBezTo>
                  <a:cubicBezTo>
                    <a:pt x="0" y="1713"/>
                    <a:pt x="1713" y="0"/>
                    <a:pt x="3818" y="0"/>
                  </a:cubicBezTo>
                  <a:cubicBezTo>
                    <a:pt x="5923" y="0"/>
                    <a:pt x="7636" y="1713"/>
                    <a:pt x="7636" y="3818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71" name="Forma livre: Forma 1770">
              <a:extLst>
                <a:ext uri="{FF2B5EF4-FFF2-40B4-BE49-F238E27FC236}">
                  <a16:creationId xmlns:a16="http://schemas.microsoft.com/office/drawing/2014/main" id="{E32AF812-78D5-71FA-79F2-6B71737D910E}"/>
                </a:ext>
              </a:extLst>
            </p:cNvPr>
            <p:cNvSpPr/>
            <p:nvPr/>
          </p:nvSpPr>
          <p:spPr>
            <a:xfrm>
              <a:off x="3453556" y="3762152"/>
              <a:ext cx="7636" cy="7636"/>
            </a:xfrm>
            <a:custGeom>
              <a:avLst/>
              <a:gdLst>
                <a:gd name="connsiteX0" fmla="*/ 7636 w 7636"/>
                <a:gd name="connsiteY0" fmla="*/ 3818 h 7636"/>
                <a:gd name="connsiteX1" fmla="*/ 3818 w 7636"/>
                <a:gd name="connsiteY1" fmla="*/ 7637 h 7636"/>
                <a:gd name="connsiteX2" fmla="*/ 0 w 7636"/>
                <a:gd name="connsiteY2" fmla="*/ 3818 h 7636"/>
                <a:gd name="connsiteX3" fmla="*/ 3818 w 7636"/>
                <a:gd name="connsiteY3" fmla="*/ 0 h 7636"/>
                <a:gd name="connsiteX4" fmla="*/ 7636 w 7636"/>
                <a:gd name="connsiteY4" fmla="*/ 3818 h 76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36" h="7636">
                  <a:moveTo>
                    <a:pt x="7636" y="3818"/>
                  </a:moveTo>
                  <a:cubicBezTo>
                    <a:pt x="7636" y="5923"/>
                    <a:pt x="5923" y="7637"/>
                    <a:pt x="3818" y="7637"/>
                  </a:cubicBezTo>
                  <a:cubicBezTo>
                    <a:pt x="1713" y="7637"/>
                    <a:pt x="0" y="5923"/>
                    <a:pt x="0" y="3818"/>
                  </a:cubicBezTo>
                  <a:cubicBezTo>
                    <a:pt x="0" y="1713"/>
                    <a:pt x="1713" y="0"/>
                    <a:pt x="3818" y="0"/>
                  </a:cubicBezTo>
                  <a:cubicBezTo>
                    <a:pt x="5923" y="0"/>
                    <a:pt x="7636" y="1713"/>
                    <a:pt x="7636" y="3818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72" name="Forma livre: Forma 1771">
              <a:extLst>
                <a:ext uri="{FF2B5EF4-FFF2-40B4-BE49-F238E27FC236}">
                  <a16:creationId xmlns:a16="http://schemas.microsoft.com/office/drawing/2014/main" id="{DCD80908-A137-385B-AD01-6E989A9E1B78}"/>
                </a:ext>
              </a:extLst>
            </p:cNvPr>
            <p:cNvSpPr/>
            <p:nvPr/>
          </p:nvSpPr>
          <p:spPr>
            <a:xfrm>
              <a:off x="3474214" y="3699836"/>
              <a:ext cx="4895" cy="32406"/>
            </a:xfrm>
            <a:custGeom>
              <a:avLst/>
              <a:gdLst>
                <a:gd name="connsiteX0" fmla="*/ 0 w 4895"/>
                <a:gd name="connsiteY0" fmla="*/ 32406 h 32406"/>
                <a:gd name="connsiteX1" fmla="*/ 0 w 4895"/>
                <a:gd name="connsiteY1" fmla="*/ 0 h 324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895" h="32406">
                  <a:moveTo>
                    <a:pt x="0" y="32406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73" name="Forma livre: Forma 1772">
              <a:extLst>
                <a:ext uri="{FF2B5EF4-FFF2-40B4-BE49-F238E27FC236}">
                  <a16:creationId xmlns:a16="http://schemas.microsoft.com/office/drawing/2014/main" id="{91B5EA80-9624-8258-BBCD-47B78671693E}"/>
                </a:ext>
              </a:extLst>
            </p:cNvPr>
            <p:cNvSpPr/>
            <p:nvPr/>
          </p:nvSpPr>
          <p:spPr>
            <a:xfrm>
              <a:off x="3299260" y="3764061"/>
              <a:ext cx="89435" cy="46944"/>
            </a:xfrm>
            <a:custGeom>
              <a:avLst/>
              <a:gdLst>
                <a:gd name="connsiteX0" fmla="*/ 0 w 89435"/>
                <a:gd name="connsiteY0" fmla="*/ 0 h 46944"/>
                <a:gd name="connsiteX1" fmla="*/ 89435 w 89435"/>
                <a:gd name="connsiteY1" fmla="*/ 0 h 46944"/>
                <a:gd name="connsiteX2" fmla="*/ 89435 w 89435"/>
                <a:gd name="connsiteY2" fmla="*/ 46945 h 46944"/>
                <a:gd name="connsiteX3" fmla="*/ 0 w 89435"/>
                <a:gd name="connsiteY3" fmla="*/ 46945 h 46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9435" h="46944">
                  <a:moveTo>
                    <a:pt x="0" y="0"/>
                  </a:moveTo>
                  <a:lnTo>
                    <a:pt x="89435" y="0"/>
                  </a:lnTo>
                  <a:lnTo>
                    <a:pt x="89435" y="46945"/>
                  </a:lnTo>
                  <a:lnTo>
                    <a:pt x="0" y="46945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774" name="Gráfico 18">
              <a:extLst>
                <a:ext uri="{FF2B5EF4-FFF2-40B4-BE49-F238E27FC236}">
                  <a16:creationId xmlns:a16="http://schemas.microsoft.com/office/drawing/2014/main" id="{32276A94-D3D1-DD29-4FDA-634D4CBE5282}"/>
                </a:ext>
              </a:extLst>
            </p:cNvPr>
            <p:cNvGrpSpPr/>
            <p:nvPr/>
          </p:nvGrpSpPr>
          <p:grpSpPr>
            <a:xfrm>
              <a:off x="3493060" y="3750403"/>
              <a:ext cx="78616" cy="90120"/>
              <a:chOff x="3493060" y="3750403"/>
              <a:chExt cx="78616" cy="90120"/>
            </a:xfrm>
          </p:grpSpPr>
          <p:sp>
            <p:nvSpPr>
              <p:cNvPr id="1775" name="Forma livre: Forma 1774">
                <a:extLst>
                  <a:ext uri="{FF2B5EF4-FFF2-40B4-BE49-F238E27FC236}">
                    <a16:creationId xmlns:a16="http://schemas.microsoft.com/office/drawing/2014/main" id="{C2A368B2-A831-C827-E562-50C1296AC53A}"/>
                  </a:ext>
                </a:extLst>
              </p:cNvPr>
              <p:cNvSpPr/>
              <p:nvPr/>
            </p:nvSpPr>
            <p:spPr>
              <a:xfrm>
                <a:off x="3493060" y="3750403"/>
                <a:ext cx="55707" cy="4895"/>
              </a:xfrm>
              <a:custGeom>
                <a:avLst/>
                <a:gdLst>
                  <a:gd name="connsiteX0" fmla="*/ 0 w 55707"/>
                  <a:gd name="connsiteY0" fmla="*/ 0 h 4895"/>
                  <a:gd name="connsiteX1" fmla="*/ 55707 w 55707"/>
                  <a:gd name="connsiteY1" fmla="*/ 0 h 48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5707" h="4895">
                    <a:moveTo>
                      <a:pt x="0" y="0"/>
                    </a:moveTo>
                    <a:lnTo>
                      <a:pt x="55707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776" name="Forma livre: Forma 1775">
                <a:extLst>
                  <a:ext uri="{FF2B5EF4-FFF2-40B4-BE49-F238E27FC236}">
                    <a16:creationId xmlns:a16="http://schemas.microsoft.com/office/drawing/2014/main" id="{917DC479-6B31-664C-9C05-8F58E32FB13B}"/>
                  </a:ext>
                </a:extLst>
              </p:cNvPr>
              <p:cNvSpPr/>
              <p:nvPr/>
            </p:nvSpPr>
            <p:spPr>
              <a:xfrm>
                <a:off x="3493207" y="3840524"/>
                <a:ext cx="78470" cy="4895"/>
              </a:xfrm>
              <a:custGeom>
                <a:avLst/>
                <a:gdLst>
                  <a:gd name="connsiteX0" fmla="*/ 0 w 78470"/>
                  <a:gd name="connsiteY0" fmla="*/ 0 h 4895"/>
                  <a:gd name="connsiteX1" fmla="*/ 78470 w 78470"/>
                  <a:gd name="connsiteY1" fmla="*/ 0 h 48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78470" h="4895">
                    <a:moveTo>
                      <a:pt x="0" y="0"/>
                    </a:moveTo>
                    <a:lnTo>
                      <a:pt x="7847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777" name="Gráfico 18">
            <a:extLst>
              <a:ext uri="{FF2B5EF4-FFF2-40B4-BE49-F238E27FC236}">
                <a16:creationId xmlns:a16="http://schemas.microsoft.com/office/drawing/2014/main" id="{54AFC48E-000B-31A3-B3B1-5C8AF5EEE5E1}"/>
              </a:ext>
            </a:extLst>
          </p:cNvPr>
          <p:cNvGrpSpPr/>
          <p:nvPr/>
        </p:nvGrpSpPr>
        <p:grpSpPr>
          <a:xfrm>
            <a:off x="2684925" y="3629198"/>
            <a:ext cx="235250" cy="306231"/>
            <a:chOff x="2684925" y="3629198"/>
            <a:chExt cx="235250" cy="306231"/>
          </a:xfrm>
        </p:grpSpPr>
        <p:sp>
          <p:nvSpPr>
            <p:cNvPr id="1778" name="Forma livre: Forma 1777">
              <a:extLst>
                <a:ext uri="{FF2B5EF4-FFF2-40B4-BE49-F238E27FC236}">
                  <a16:creationId xmlns:a16="http://schemas.microsoft.com/office/drawing/2014/main" id="{2F457191-95F3-8DBD-9A90-A20F65F29EB4}"/>
                </a:ext>
              </a:extLst>
            </p:cNvPr>
            <p:cNvSpPr/>
            <p:nvPr/>
          </p:nvSpPr>
          <p:spPr>
            <a:xfrm>
              <a:off x="2699659" y="3674576"/>
              <a:ext cx="175088" cy="175137"/>
            </a:xfrm>
            <a:custGeom>
              <a:avLst/>
              <a:gdLst>
                <a:gd name="connsiteX0" fmla="*/ 99018 w 175088"/>
                <a:gd name="connsiteY0" fmla="*/ 166584 h 175137"/>
                <a:gd name="connsiteX1" fmla="*/ 57506 w 175088"/>
                <a:gd name="connsiteY1" fmla="*/ 166584 h 175137"/>
                <a:gd name="connsiteX2" fmla="*/ 8554 w 175088"/>
                <a:gd name="connsiteY2" fmla="*/ 117632 h 175137"/>
                <a:gd name="connsiteX3" fmla="*/ 8554 w 175088"/>
                <a:gd name="connsiteY3" fmla="*/ 76071 h 175137"/>
                <a:gd name="connsiteX4" fmla="*/ 84626 w 175088"/>
                <a:gd name="connsiteY4" fmla="*/ 0 h 175137"/>
                <a:gd name="connsiteX5" fmla="*/ 175089 w 175088"/>
                <a:gd name="connsiteY5" fmla="*/ 90463 h 175137"/>
                <a:gd name="connsiteX6" fmla="*/ 99018 w 175088"/>
                <a:gd name="connsiteY6" fmla="*/ 166535 h 1751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75088" h="175137">
                  <a:moveTo>
                    <a:pt x="99018" y="166584"/>
                  </a:moveTo>
                  <a:cubicBezTo>
                    <a:pt x="87612" y="177989"/>
                    <a:pt x="68912" y="177989"/>
                    <a:pt x="57506" y="166584"/>
                  </a:cubicBezTo>
                  <a:lnTo>
                    <a:pt x="8554" y="117632"/>
                  </a:lnTo>
                  <a:cubicBezTo>
                    <a:pt x="-2851" y="106226"/>
                    <a:pt x="-2851" y="87526"/>
                    <a:pt x="8554" y="76071"/>
                  </a:cubicBezTo>
                  <a:lnTo>
                    <a:pt x="84626" y="0"/>
                  </a:lnTo>
                  <a:lnTo>
                    <a:pt x="175089" y="90463"/>
                  </a:lnTo>
                  <a:lnTo>
                    <a:pt x="99018" y="166535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79" name="Forma livre: Forma 1778">
              <a:extLst>
                <a:ext uri="{FF2B5EF4-FFF2-40B4-BE49-F238E27FC236}">
                  <a16:creationId xmlns:a16="http://schemas.microsoft.com/office/drawing/2014/main" id="{B9CC726A-1984-D8C9-8844-3058A3D270CD}"/>
                </a:ext>
              </a:extLst>
            </p:cNvPr>
            <p:cNvSpPr/>
            <p:nvPr/>
          </p:nvSpPr>
          <p:spPr>
            <a:xfrm>
              <a:off x="2813362" y="3629198"/>
              <a:ext cx="106813" cy="122869"/>
            </a:xfrm>
            <a:custGeom>
              <a:avLst/>
              <a:gdLst>
                <a:gd name="connsiteX0" fmla="*/ 0 w 106813"/>
                <a:gd name="connsiteY0" fmla="*/ 41609 h 122869"/>
                <a:gd name="connsiteX1" fmla="*/ 41609 w 106813"/>
                <a:gd name="connsiteY1" fmla="*/ 0 h 122869"/>
                <a:gd name="connsiteX2" fmla="*/ 106813 w 106813"/>
                <a:gd name="connsiteY2" fmla="*/ 65155 h 122869"/>
                <a:gd name="connsiteX3" fmla="*/ 49099 w 106813"/>
                <a:gd name="connsiteY3" fmla="*/ 122869 h 1228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6813" h="122869">
                  <a:moveTo>
                    <a:pt x="0" y="41609"/>
                  </a:moveTo>
                  <a:lnTo>
                    <a:pt x="41609" y="0"/>
                  </a:lnTo>
                  <a:lnTo>
                    <a:pt x="106813" y="65155"/>
                  </a:lnTo>
                  <a:lnTo>
                    <a:pt x="49099" y="122869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80" name="Forma livre: Forma 1779">
              <a:extLst>
                <a:ext uri="{FF2B5EF4-FFF2-40B4-BE49-F238E27FC236}">
                  <a16:creationId xmlns:a16="http://schemas.microsoft.com/office/drawing/2014/main" id="{2CE504D3-C05B-926C-DE04-019952B5518E}"/>
                </a:ext>
              </a:extLst>
            </p:cNvPr>
            <p:cNvSpPr/>
            <p:nvPr/>
          </p:nvSpPr>
          <p:spPr>
            <a:xfrm>
              <a:off x="2684925" y="3836608"/>
              <a:ext cx="230404" cy="98821"/>
            </a:xfrm>
            <a:custGeom>
              <a:avLst/>
              <a:gdLst>
                <a:gd name="connsiteX0" fmla="*/ 230405 w 230404"/>
                <a:gd name="connsiteY0" fmla="*/ 55071 h 98821"/>
                <a:gd name="connsiteX1" fmla="*/ 216404 w 230404"/>
                <a:gd name="connsiteY1" fmla="*/ 25798 h 98821"/>
                <a:gd name="connsiteX2" fmla="*/ 214691 w 230404"/>
                <a:gd name="connsiteY2" fmla="*/ 24084 h 98821"/>
                <a:gd name="connsiteX3" fmla="*/ 145571 w 230404"/>
                <a:gd name="connsiteY3" fmla="*/ 24182 h 98821"/>
                <a:gd name="connsiteX4" fmla="*/ 85213 w 230404"/>
                <a:gd name="connsiteY4" fmla="*/ 84540 h 98821"/>
                <a:gd name="connsiteX5" fmla="*/ 15995 w 230404"/>
                <a:gd name="connsiteY5" fmla="*/ 84540 h 98821"/>
                <a:gd name="connsiteX6" fmla="*/ 14282 w 230404"/>
                <a:gd name="connsiteY6" fmla="*/ 82778 h 98821"/>
                <a:gd name="connsiteX7" fmla="*/ 14282 w 230404"/>
                <a:gd name="connsiteY7" fmla="*/ 13560 h 98821"/>
                <a:gd name="connsiteX8" fmla="*/ 27792 w 230404"/>
                <a:gd name="connsiteY8" fmla="*/ 0 h 988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30404" h="98821">
                  <a:moveTo>
                    <a:pt x="230405" y="55071"/>
                  </a:moveTo>
                  <a:cubicBezTo>
                    <a:pt x="229230" y="44350"/>
                    <a:pt x="224579" y="33973"/>
                    <a:pt x="216404" y="25798"/>
                  </a:cubicBezTo>
                  <a:lnTo>
                    <a:pt x="214691" y="24084"/>
                  </a:lnTo>
                  <a:cubicBezTo>
                    <a:pt x="195649" y="5042"/>
                    <a:pt x="164613" y="5140"/>
                    <a:pt x="145571" y="24182"/>
                  </a:cubicBezTo>
                  <a:lnTo>
                    <a:pt x="85213" y="84540"/>
                  </a:lnTo>
                  <a:cubicBezTo>
                    <a:pt x="66171" y="103582"/>
                    <a:pt x="35037" y="103582"/>
                    <a:pt x="15995" y="84540"/>
                  </a:cubicBezTo>
                  <a:lnTo>
                    <a:pt x="14282" y="82778"/>
                  </a:lnTo>
                  <a:cubicBezTo>
                    <a:pt x="-4761" y="63735"/>
                    <a:pt x="-4761" y="32602"/>
                    <a:pt x="14282" y="13560"/>
                  </a:cubicBezTo>
                  <a:lnTo>
                    <a:pt x="27792" y="0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81" name="Forma livre: Forma 1780">
              <a:extLst>
                <a:ext uri="{FF2B5EF4-FFF2-40B4-BE49-F238E27FC236}">
                  <a16:creationId xmlns:a16="http://schemas.microsoft.com/office/drawing/2014/main" id="{52736803-1FAD-80F1-BC6F-3C38B049A670}"/>
                </a:ext>
              </a:extLst>
            </p:cNvPr>
            <p:cNvSpPr/>
            <p:nvPr/>
          </p:nvSpPr>
          <p:spPr>
            <a:xfrm>
              <a:off x="2692059" y="3795439"/>
              <a:ext cx="61875" cy="61875"/>
            </a:xfrm>
            <a:custGeom>
              <a:avLst/>
              <a:gdLst>
                <a:gd name="connsiteX0" fmla="*/ 61875 w 61875"/>
                <a:gd name="connsiteY0" fmla="*/ 42392 h 61875"/>
                <a:gd name="connsiteX1" fmla="*/ 42392 w 61875"/>
                <a:gd name="connsiteY1" fmla="*/ 61875 h 61875"/>
                <a:gd name="connsiteX2" fmla="*/ 0 w 61875"/>
                <a:gd name="connsiteY2" fmla="*/ 19483 h 61875"/>
                <a:gd name="connsiteX3" fmla="*/ 19434 w 61875"/>
                <a:gd name="connsiteY3" fmla="*/ 0 h 61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1875" h="61875">
                  <a:moveTo>
                    <a:pt x="61875" y="42392"/>
                  </a:moveTo>
                  <a:lnTo>
                    <a:pt x="42392" y="61875"/>
                  </a:lnTo>
                  <a:lnTo>
                    <a:pt x="0" y="19483"/>
                  </a:lnTo>
                  <a:lnTo>
                    <a:pt x="19434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782" name="Gráfico 18">
              <a:extLst>
                <a:ext uri="{FF2B5EF4-FFF2-40B4-BE49-F238E27FC236}">
                  <a16:creationId xmlns:a16="http://schemas.microsoft.com/office/drawing/2014/main" id="{5DC35A35-E8DF-4AF6-3927-07D6DA298493}"/>
                </a:ext>
              </a:extLst>
            </p:cNvPr>
            <p:cNvGrpSpPr/>
            <p:nvPr/>
          </p:nvGrpSpPr>
          <p:grpSpPr>
            <a:xfrm>
              <a:off x="2838178" y="3684264"/>
              <a:ext cx="26891" cy="26891"/>
              <a:chOff x="2838178" y="3684264"/>
              <a:chExt cx="26891" cy="26891"/>
            </a:xfrm>
            <a:solidFill>
              <a:srgbClr val="FFD100"/>
            </a:solidFill>
          </p:grpSpPr>
          <p:sp>
            <p:nvSpPr>
              <p:cNvPr id="1783" name="Forma livre: Forma 1782">
                <a:extLst>
                  <a:ext uri="{FF2B5EF4-FFF2-40B4-BE49-F238E27FC236}">
                    <a16:creationId xmlns:a16="http://schemas.microsoft.com/office/drawing/2014/main" id="{42138558-4CC1-07B2-9776-AD50987BD207}"/>
                  </a:ext>
                </a:extLst>
              </p:cNvPr>
              <p:cNvSpPr/>
              <p:nvPr/>
            </p:nvSpPr>
            <p:spPr>
              <a:xfrm rot="-2699400">
                <a:off x="2838725" y="3684811"/>
                <a:ext cx="2643" cy="2643"/>
              </a:xfrm>
              <a:custGeom>
                <a:avLst/>
                <a:gdLst>
                  <a:gd name="connsiteX0" fmla="*/ 0 w 2643"/>
                  <a:gd name="connsiteY0" fmla="*/ 0 h 2643"/>
                  <a:gd name="connsiteX1" fmla="*/ 2643 w 2643"/>
                  <a:gd name="connsiteY1" fmla="*/ 0 h 2643"/>
                  <a:gd name="connsiteX2" fmla="*/ 2643 w 2643"/>
                  <a:gd name="connsiteY2" fmla="*/ 2643 h 2643"/>
                  <a:gd name="connsiteX3" fmla="*/ 0 w 2643"/>
                  <a:gd name="connsiteY3" fmla="*/ 2643 h 26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643" h="2643">
                    <a:moveTo>
                      <a:pt x="0" y="0"/>
                    </a:moveTo>
                    <a:lnTo>
                      <a:pt x="2643" y="0"/>
                    </a:lnTo>
                    <a:lnTo>
                      <a:pt x="2643" y="2643"/>
                    </a:lnTo>
                    <a:lnTo>
                      <a:pt x="0" y="2643"/>
                    </a:lnTo>
                    <a:close/>
                  </a:path>
                </a:pathLst>
              </a:custGeom>
              <a:solidFill>
                <a:srgbClr val="FFD100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784" name="Forma livre: Forma 1783">
                <a:extLst>
                  <a:ext uri="{FF2B5EF4-FFF2-40B4-BE49-F238E27FC236}">
                    <a16:creationId xmlns:a16="http://schemas.microsoft.com/office/drawing/2014/main" id="{5CE498E9-4F29-5D31-17B9-56AC955388BD}"/>
                  </a:ext>
                </a:extLst>
              </p:cNvPr>
              <p:cNvSpPr/>
              <p:nvPr/>
            </p:nvSpPr>
            <p:spPr>
              <a:xfrm rot="-2701801">
                <a:off x="2861879" y="3707964"/>
                <a:ext cx="2643" cy="2643"/>
              </a:xfrm>
              <a:custGeom>
                <a:avLst/>
                <a:gdLst>
                  <a:gd name="connsiteX0" fmla="*/ 0 w 2643"/>
                  <a:gd name="connsiteY0" fmla="*/ 0 h 2643"/>
                  <a:gd name="connsiteX1" fmla="*/ 2643 w 2643"/>
                  <a:gd name="connsiteY1" fmla="*/ 0 h 2643"/>
                  <a:gd name="connsiteX2" fmla="*/ 2643 w 2643"/>
                  <a:gd name="connsiteY2" fmla="*/ 2643 h 2643"/>
                  <a:gd name="connsiteX3" fmla="*/ 0 w 2643"/>
                  <a:gd name="connsiteY3" fmla="*/ 2643 h 26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643" h="2643">
                    <a:moveTo>
                      <a:pt x="0" y="0"/>
                    </a:moveTo>
                    <a:lnTo>
                      <a:pt x="2643" y="0"/>
                    </a:lnTo>
                    <a:lnTo>
                      <a:pt x="2643" y="2643"/>
                    </a:lnTo>
                    <a:lnTo>
                      <a:pt x="0" y="2643"/>
                    </a:lnTo>
                    <a:close/>
                  </a:path>
                </a:pathLst>
              </a:custGeom>
              <a:solidFill>
                <a:srgbClr val="FFD100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785" name="Gráfico 18">
            <a:extLst>
              <a:ext uri="{FF2B5EF4-FFF2-40B4-BE49-F238E27FC236}">
                <a16:creationId xmlns:a16="http://schemas.microsoft.com/office/drawing/2014/main" id="{432B33C1-D49E-5AFB-5805-4968703EA8BA}"/>
              </a:ext>
            </a:extLst>
          </p:cNvPr>
          <p:cNvGrpSpPr/>
          <p:nvPr/>
        </p:nvGrpSpPr>
        <p:grpSpPr>
          <a:xfrm>
            <a:off x="3934803" y="5290922"/>
            <a:ext cx="284851" cy="260582"/>
            <a:chOff x="3934803" y="5290922"/>
            <a:chExt cx="284851" cy="260582"/>
          </a:xfrm>
        </p:grpSpPr>
        <p:sp>
          <p:nvSpPr>
            <p:cNvPr id="1786" name="Forma livre: Forma 1785">
              <a:extLst>
                <a:ext uri="{FF2B5EF4-FFF2-40B4-BE49-F238E27FC236}">
                  <a16:creationId xmlns:a16="http://schemas.microsoft.com/office/drawing/2014/main" id="{8119AE2D-3DDF-6A70-6552-56E5694071A0}"/>
                </a:ext>
              </a:extLst>
            </p:cNvPr>
            <p:cNvSpPr/>
            <p:nvPr/>
          </p:nvSpPr>
          <p:spPr>
            <a:xfrm>
              <a:off x="4019976" y="5466550"/>
              <a:ext cx="99183" cy="84954"/>
            </a:xfrm>
            <a:custGeom>
              <a:avLst/>
              <a:gdLst>
                <a:gd name="connsiteX0" fmla="*/ 98789 w 99183"/>
                <a:gd name="connsiteY0" fmla="*/ 35159 h 84954"/>
                <a:gd name="connsiteX1" fmla="*/ 55809 w 99183"/>
                <a:gd name="connsiteY1" fmla="*/ 84307 h 84954"/>
                <a:gd name="connsiteX2" fmla="*/ 395 w 99183"/>
                <a:gd name="connsiteY2" fmla="*/ 49796 h 84954"/>
                <a:gd name="connsiteX3" fmla="*/ 43375 w 99183"/>
                <a:gd name="connsiteY3" fmla="*/ 648 h 84954"/>
                <a:gd name="connsiteX4" fmla="*/ 98789 w 99183"/>
                <a:gd name="connsiteY4" fmla="*/ 35159 h 849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9183" h="84954">
                  <a:moveTo>
                    <a:pt x="98789" y="35159"/>
                  </a:moveTo>
                  <a:cubicBezTo>
                    <a:pt x="102215" y="58265"/>
                    <a:pt x="82977" y="80244"/>
                    <a:pt x="55809" y="84307"/>
                  </a:cubicBezTo>
                  <a:cubicBezTo>
                    <a:pt x="28640" y="88370"/>
                    <a:pt x="3822" y="72901"/>
                    <a:pt x="395" y="49796"/>
                  </a:cubicBezTo>
                  <a:cubicBezTo>
                    <a:pt x="-3032" y="26690"/>
                    <a:pt x="16207" y="4711"/>
                    <a:pt x="43375" y="648"/>
                  </a:cubicBezTo>
                  <a:cubicBezTo>
                    <a:pt x="70543" y="-3415"/>
                    <a:pt x="95362" y="12054"/>
                    <a:pt x="98789" y="35159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87" name="Forma livre: Forma 1786">
              <a:extLst>
                <a:ext uri="{FF2B5EF4-FFF2-40B4-BE49-F238E27FC236}">
                  <a16:creationId xmlns:a16="http://schemas.microsoft.com/office/drawing/2014/main" id="{069DE405-25DF-5AD3-C479-A4510CBFE54A}"/>
                </a:ext>
              </a:extLst>
            </p:cNvPr>
            <p:cNvSpPr/>
            <p:nvPr/>
          </p:nvSpPr>
          <p:spPr>
            <a:xfrm>
              <a:off x="4119107" y="5290922"/>
              <a:ext cx="100547" cy="216808"/>
            </a:xfrm>
            <a:custGeom>
              <a:avLst/>
              <a:gdLst>
                <a:gd name="connsiteX0" fmla="*/ 490 w 100547"/>
                <a:gd name="connsiteY0" fmla="*/ 65204 h 216808"/>
                <a:gd name="connsiteX1" fmla="*/ 100547 w 100547"/>
                <a:gd name="connsiteY1" fmla="*/ 100449 h 216808"/>
                <a:gd name="connsiteX2" fmla="*/ 100547 w 100547"/>
                <a:gd name="connsiteY2" fmla="*/ 35784 h 216808"/>
                <a:gd name="connsiteX3" fmla="*/ 0 w 100547"/>
                <a:gd name="connsiteY3" fmla="*/ 0 h 216808"/>
                <a:gd name="connsiteX4" fmla="*/ 0 w 100547"/>
                <a:gd name="connsiteY4" fmla="*/ 216808 h 2168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0547" h="216808">
                  <a:moveTo>
                    <a:pt x="490" y="65204"/>
                  </a:moveTo>
                  <a:lnTo>
                    <a:pt x="100547" y="100449"/>
                  </a:lnTo>
                  <a:lnTo>
                    <a:pt x="100547" y="35784"/>
                  </a:lnTo>
                  <a:lnTo>
                    <a:pt x="0" y="0"/>
                  </a:lnTo>
                  <a:lnTo>
                    <a:pt x="0" y="216808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788" name="Gráfico 18">
              <a:extLst>
                <a:ext uri="{FF2B5EF4-FFF2-40B4-BE49-F238E27FC236}">
                  <a16:creationId xmlns:a16="http://schemas.microsoft.com/office/drawing/2014/main" id="{FC1AA39B-8E34-429A-8562-D80AC24345DF}"/>
                </a:ext>
              </a:extLst>
            </p:cNvPr>
            <p:cNvGrpSpPr/>
            <p:nvPr/>
          </p:nvGrpSpPr>
          <p:grpSpPr>
            <a:xfrm>
              <a:off x="3934803" y="5313342"/>
              <a:ext cx="142303" cy="7636"/>
              <a:chOff x="3934803" y="5313342"/>
              <a:chExt cx="142303" cy="7636"/>
            </a:xfrm>
            <a:solidFill>
              <a:srgbClr val="394553"/>
            </a:solidFill>
          </p:grpSpPr>
          <p:sp>
            <p:nvSpPr>
              <p:cNvPr id="1789" name="Forma livre: Forma 1788">
                <a:extLst>
                  <a:ext uri="{FF2B5EF4-FFF2-40B4-BE49-F238E27FC236}">
                    <a16:creationId xmlns:a16="http://schemas.microsoft.com/office/drawing/2014/main" id="{20AA0095-EC5D-69D0-1DCA-641D2CFDA2D0}"/>
                  </a:ext>
                </a:extLst>
              </p:cNvPr>
              <p:cNvSpPr/>
              <p:nvPr/>
            </p:nvSpPr>
            <p:spPr>
              <a:xfrm>
                <a:off x="3964909" y="5317160"/>
                <a:ext cx="112197" cy="4895"/>
              </a:xfrm>
              <a:custGeom>
                <a:avLst/>
                <a:gdLst>
                  <a:gd name="connsiteX0" fmla="*/ 112198 w 112197"/>
                  <a:gd name="connsiteY0" fmla="*/ 0 h 4895"/>
                  <a:gd name="connsiteX1" fmla="*/ 0 w 112197"/>
                  <a:gd name="connsiteY1" fmla="*/ 0 h 48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2197" h="4895">
                    <a:moveTo>
                      <a:pt x="112198" y="0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790" name="Forma livre: Forma 1789">
                <a:extLst>
                  <a:ext uri="{FF2B5EF4-FFF2-40B4-BE49-F238E27FC236}">
                    <a16:creationId xmlns:a16="http://schemas.microsoft.com/office/drawing/2014/main" id="{A839A103-65D7-093F-AEA6-4141B86F5461}"/>
                  </a:ext>
                </a:extLst>
              </p:cNvPr>
              <p:cNvSpPr/>
              <p:nvPr/>
            </p:nvSpPr>
            <p:spPr>
              <a:xfrm>
                <a:off x="3934803" y="5313342"/>
                <a:ext cx="7636" cy="7636"/>
              </a:xfrm>
              <a:custGeom>
                <a:avLst/>
                <a:gdLst>
                  <a:gd name="connsiteX0" fmla="*/ 7636 w 7636"/>
                  <a:gd name="connsiteY0" fmla="*/ 3818 h 7636"/>
                  <a:gd name="connsiteX1" fmla="*/ 3818 w 7636"/>
                  <a:gd name="connsiteY1" fmla="*/ 7636 h 7636"/>
                  <a:gd name="connsiteX2" fmla="*/ 0 w 7636"/>
                  <a:gd name="connsiteY2" fmla="*/ 3818 h 7636"/>
                  <a:gd name="connsiteX3" fmla="*/ 3818 w 7636"/>
                  <a:gd name="connsiteY3" fmla="*/ 0 h 7636"/>
                  <a:gd name="connsiteX4" fmla="*/ 7636 w 7636"/>
                  <a:gd name="connsiteY4" fmla="*/ 3818 h 76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636" h="7636">
                    <a:moveTo>
                      <a:pt x="7636" y="3818"/>
                    </a:moveTo>
                    <a:cubicBezTo>
                      <a:pt x="7636" y="5923"/>
                      <a:pt x="5923" y="7636"/>
                      <a:pt x="3818" y="7636"/>
                    </a:cubicBezTo>
                    <a:cubicBezTo>
                      <a:pt x="1713" y="7636"/>
                      <a:pt x="0" y="5923"/>
                      <a:pt x="0" y="3818"/>
                    </a:cubicBezTo>
                    <a:cubicBezTo>
                      <a:pt x="0" y="1713"/>
                      <a:pt x="1713" y="0"/>
                      <a:pt x="3818" y="0"/>
                    </a:cubicBezTo>
                    <a:cubicBezTo>
                      <a:pt x="5923" y="0"/>
                      <a:pt x="7636" y="1713"/>
                      <a:pt x="7636" y="3818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791" name="Gráfico 18">
              <a:extLst>
                <a:ext uri="{FF2B5EF4-FFF2-40B4-BE49-F238E27FC236}">
                  <a16:creationId xmlns:a16="http://schemas.microsoft.com/office/drawing/2014/main" id="{80D9D1FB-B29C-A316-1EEE-5A364FDBF068}"/>
                </a:ext>
              </a:extLst>
            </p:cNvPr>
            <p:cNvGrpSpPr/>
            <p:nvPr/>
          </p:nvGrpSpPr>
          <p:grpSpPr>
            <a:xfrm>
              <a:off x="3934803" y="5363958"/>
              <a:ext cx="142303" cy="7636"/>
              <a:chOff x="3934803" y="5363958"/>
              <a:chExt cx="142303" cy="7636"/>
            </a:xfrm>
            <a:solidFill>
              <a:srgbClr val="394553"/>
            </a:solidFill>
          </p:grpSpPr>
          <p:sp>
            <p:nvSpPr>
              <p:cNvPr id="1792" name="Forma livre: Forma 1791">
                <a:extLst>
                  <a:ext uri="{FF2B5EF4-FFF2-40B4-BE49-F238E27FC236}">
                    <a16:creationId xmlns:a16="http://schemas.microsoft.com/office/drawing/2014/main" id="{BD8052AD-CBB7-EFF0-DFF0-8BC703B0C8AA}"/>
                  </a:ext>
                </a:extLst>
              </p:cNvPr>
              <p:cNvSpPr/>
              <p:nvPr/>
            </p:nvSpPr>
            <p:spPr>
              <a:xfrm>
                <a:off x="3964909" y="5367776"/>
                <a:ext cx="112197" cy="4895"/>
              </a:xfrm>
              <a:custGeom>
                <a:avLst/>
                <a:gdLst>
                  <a:gd name="connsiteX0" fmla="*/ 112198 w 112197"/>
                  <a:gd name="connsiteY0" fmla="*/ 0 h 4895"/>
                  <a:gd name="connsiteX1" fmla="*/ 0 w 112197"/>
                  <a:gd name="connsiteY1" fmla="*/ 0 h 48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2197" h="4895">
                    <a:moveTo>
                      <a:pt x="112198" y="0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793" name="Forma livre: Forma 1792">
                <a:extLst>
                  <a:ext uri="{FF2B5EF4-FFF2-40B4-BE49-F238E27FC236}">
                    <a16:creationId xmlns:a16="http://schemas.microsoft.com/office/drawing/2014/main" id="{1CFBD3EF-6872-EC20-48F3-9B8E86C489C8}"/>
                  </a:ext>
                </a:extLst>
              </p:cNvPr>
              <p:cNvSpPr/>
              <p:nvPr/>
            </p:nvSpPr>
            <p:spPr>
              <a:xfrm>
                <a:off x="3934803" y="5363958"/>
                <a:ext cx="7636" cy="7636"/>
              </a:xfrm>
              <a:custGeom>
                <a:avLst/>
                <a:gdLst>
                  <a:gd name="connsiteX0" fmla="*/ 7636 w 7636"/>
                  <a:gd name="connsiteY0" fmla="*/ 3818 h 7636"/>
                  <a:gd name="connsiteX1" fmla="*/ 3818 w 7636"/>
                  <a:gd name="connsiteY1" fmla="*/ 7636 h 7636"/>
                  <a:gd name="connsiteX2" fmla="*/ 0 w 7636"/>
                  <a:gd name="connsiteY2" fmla="*/ 3818 h 7636"/>
                  <a:gd name="connsiteX3" fmla="*/ 3818 w 7636"/>
                  <a:gd name="connsiteY3" fmla="*/ 0 h 7636"/>
                  <a:gd name="connsiteX4" fmla="*/ 7636 w 7636"/>
                  <a:gd name="connsiteY4" fmla="*/ 3818 h 76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636" h="7636">
                    <a:moveTo>
                      <a:pt x="7636" y="3818"/>
                    </a:moveTo>
                    <a:cubicBezTo>
                      <a:pt x="7636" y="5923"/>
                      <a:pt x="5923" y="7636"/>
                      <a:pt x="3818" y="7636"/>
                    </a:cubicBezTo>
                    <a:cubicBezTo>
                      <a:pt x="1713" y="7636"/>
                      <a:pt x="0" y="5923"/>
                      <a:pt x="0" y="3818"/>
                    </a:cubicBezTo>
                    <a:cubicBezTo>
                      <a:pt x="0" y="1713"/>
                      <a:pt x="1713" y="0"/>
                      <a:pt x="3818" y="0"/>
                    </a:cubicBezTo>
                    <a:cubicBezTo>
                      <a:pt x="5923" y="0"/>
                      <a:pt x="7636" y="1713"/>
                      <a:pt x="7636" y="3818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794" name="Gráfico 18">
              <a:extLst>
                <a:ext uri="{FF2B5EF4-FFF2-40B4-BE49-F238E27FC236}">
                  <a16:creationId xmlns:a16="http://schemas.microsoft.com/office/drawing/2014/main" id="{10BC04FA-0939-4FD1-CCE9-AE06AC0CEA1C}"/>
                </a:ext>
              </a:extLst>
            </p:cNvPr>
            <p:cNvGrpSpPr/>
            <p:nvPr/>
          </p:nvGrpSpPr>
          <p:grpSpPr>
            <a:xfrm>
              <a:off x="3934803" y="5416043"/>
              <a:ext cx="142303" cy="7636"/>
              <a:chOff x="3934803" y="5416043"/>
              <a:chExt cx="142303" cy="7636"/>
            </a:xfrm>
            <a:solidFill>
              <a:srgbClr val="394553"/>
            </a:solidFill>
          </p:grpSpPr>
          <p:sp>
            <p:nvSpPr>
              <p:cNvPr id="1795" name="Forma livre: Forma 1794">
                <a:extLst>
                  <a:ext uri="{FF2B5EF4-FFF2-40B4-BE49-F238E27FC236}">
                    <a16:creationId xmlns:a16="http://schemas.microsoft.com/office/drawing/2014/main" id="{8DDBB237-D40F-182A-A3D6-A94C2BCF81D8}"/>
                  </a:ext>
                </a:extLst>
              </p:cNvPr>
              <p:cNvSpPr/>
              <p:nvPr/>
            </p:nvSpPr>
            <p:spPr>
              <a:xfrm>
                <a:off x="3964909" y="5419861"/>
                <a:ext cx="112197" cy="4895"/>
              </a:xfrm>
              <a:custGeom>
                <a:avLst/>
                <a:gdLst>
                  <a:gd name="connsiteX0" fmla="*/ 112198 w 112197"/>
                  <a:gd name="connsiteY0" fmla="*/ 0 h 4895"/>
                  <a:gd name="connsiteX1" fmla="*/ 0 w 112197"/>
                  <a:gd name="connsiteY1" fmla="*/ 0 h 48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2197" h="4895">
                    <a:moveTo>
                      <a:pt x="112198" y="0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796" name="Forma livre: Forma 1795">
                <a:extLst>
                  <a:ext uri="{FF2B5EF4-FFF2-40B4-BE49-F238E27FC236}">
                    <a16:creationId xmlns:a16="http://schemas.microsoft.com/office/drawing/2014/main" id="{2DDC370D-26D8-7A1F-968D-11DB341D2B65}"/>
                  </a:ext>
                </a:extLst>
              </p:cNvPr>
              <p:cNvSpPr/>
              <p:nvPr/>
            </p:nvSpPr>
            <p:spPr>
              <a:xfrm>
                <a:off x="3934803" y="5416043"/>
                <a:ext cx="7636" cy="7636"/>
              </a:xfrm>
              <a:custGeom>
                <a:avLst/>
                <a:gdLst>
                  <a:gd name="connsiteX0" fmla="*/ 7636 w 7636"/>
                  <a:gd name="connsiteY0" fmla="*/ 3818 h 7636"/>
                  <a:gd name="connsiteX1" fmla="*/ 3818 w 7636"/>
                  <a:gd name="connsiteY1" fmla="*/ 7636 h 7636"/>
                  <a:gd name="connsiteX2" fmla="*/ 0 w 7636"/>
                  <a:gd name="connsiteY2" fmla="*/ 3818 h 7636"/>
                  <a:gd name="connsiteX3" fmla="*/ 3818 w 7636"/>
                  <a:gd name="connsiteY3" fmla="*/ 0 h 7636"/>
                  <a:gd name="connsiteX4" fmla="*/ 7636 w 7636"/>
                  <a:gd name="connsiteY4" fmla="*/ 3818 h 76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636" h="7636">
                    <a:moveTo>
                      <a:pt x="7636" y="3818"/>
                    </a:moveTo>
                    <a:cubicBezTo>
                      <a:pt x="7636" y="5923"/>
                      <a:pt x="5923" y="7636"/>
                      <a:pt x="3818" y="7636"/>
                    </a:cubicBezTo>
                    <a:cubicBezTo>
                      <a:pt x="1713" y="7636"/>
                      <a:pt x="0" y="5923"/>
                      <a:pt x="0" y="3818"/>
                    </a:cubicBezTo>
                    <a:cubicBezTo>
                      <a:pt x="0" y="1713"/>
                      <a:pt x="1713" y="0"/>
                      <a:pt x="3818" y="0"/>
                    </a:cubicBezTo>
                    <a:cubicBezTo>
                      <a:pt x="5923" y="0"/>
                      <a:pt x="7636" y="1713"/>
                      <a:pt x="7636" y="3818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826" name="Gráfico 18">
            <a:extLst>
              <a:ext uri="{FF2B5EF4-FFF2-40B4-BE49-F238E27FC236}">
                <a16:creationId xmlns:a16="http://schemas.microsoft.com/office/drawing/2014/main" id="{7386386E-9395-D1DF-4098-8972631557BA}"/>
              </a:ext>
            </a:extLst>
          </p:cNvPr>
          <p:cNvGrpSpPr/>
          <p:nvPr/>
        </p:nvGrpSpPr>
        <p:grpSpPr>
          <a:xfrm>
            <a:off x="2620100" y="5238788"/>
            <a:ext cx="364887" cy="364888"/>
            <a:chOff x="2620100" y="5238788"/>
            <a:chExt cx="364887" cy="364888"/>
          </a:xfrm>
          <a:noFill/>
        </p:grpSpPr>
        <p:sp>
          <p:nvSpPr>
            <p:cNvPr id="1827" name="Forma livre: Forma 1826">
              <a:extLst>
                <a:ext uri="{FF2B5EF4-FFF2-40B4-BE49-F238E27FC236}">
                  <a16:creationId xmlns:a16="http://schemas.microsoft.com/office/drawing/2014/main" id="{1CB13FD4-46DD-425B-7D48-83A9606F239D}"/>
                </a:ext>
              </a:extLst>
            </p:cNvPr>
            <p:cNvSpPr/>
            <p:nvPr/>
          </p:nvSpPr>
          <p:spPr>
            <a:xfrm>
              <a:off x="2620100" y="5238788"/>
              <a:ext cx="364887" cy="364888"/>
            </a:xfrm>
            <a:custGeom>
              <a:avLst/>
              <a:gdLst>
                <a:gd name="connsiteX0" fmla="*/ 0 w 364887"/>
                <a:gd name="connsiteY0" fmla="*/ 242312 h 364888"/>
                <a:gd name="connsiteX1" fmla="*/ 35539 w 364887"/>
                <a:gd name="connsiteY1" fmla="*/ 277851 h 364888"/>
                <a:gd name="connsiteX2" fmla="*/ 53798 w 364887"/>
                <a:gd name="connsiteY2" fmla="*/ 282306 h 364888"/>
                <a:gd name="connsiteX3" fmla="*/ 58253 w 364887"/>
                <a:gd name="connsiteY3" fmla="*/ 300565 h 364888"/>
                <a:gd name="connsiteX4" fmla="*/ 122576 w 364887"/>
                <a:gd name="connsiteY4" fmla="*/ 364888 h 364888"/>
                <a:gd name="connsiteX5" fmla="*/ 364888 w 364887"/>
                <a:gd name="connsiteY5" fmla="*/ 122576 h 364888"/>
                <a:gd name="connsiteX6" fmla="*/ 300565 w 364887"/>
                <a:gd name="connsiteY6" fmla="*/ 58253 h 364888"/>
                <a:gd name="connsiteX7" fmla="*/ 282306 w 364887"/>
                <a:gd name="connsiteY7" fmla="*/ 53798 h 364888"/>
                <a:gd name="connsiteX8" fmla="*/ 277851 w 364887"/>
                <a:gd name="connsiteY8" fmla="*/ 35539 h 364888"/>
                <a:gd name="connsiteX9" fmla="*/ 242312 w 364887"/>
                <a:gd name="connsiteY9" fmla="*/ 0 h 364888"/>
                <a:gd name="connsiteX10" fmla="*/ 0 w 364887"/>
                <a:gd name="connsiteY10" fmla="*/ 242312 h 3648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64887" h="364888">
                  <a:moveTo>
                    <a:pt x="0" y="242312"/>
                  </a:moveTo>
                  <a:lnTo>
                    <a:pt x="35539" y="277851"/>
                  </a:lnTo>
                  <a:cubicBezTo>
                    <a:pt x="41756" y="275844"/>
                    <a:pt x="48854" y="277362"/>
                    <a:pt x="53798" y="282306"/>
                  </a:cubicBezTo>
                  <a:cubicBezTo>
                    <a:pt x="58742" y="287250"/>
                    <a:pt x="60211" y="294299"/>
                    <a:pt x="58253" y="300565"/>
                  </a:cubicBezTo>
                  <a:lnTo>
                    <a:pt x="122576" y="364888"/>
                  </a:lnTo>
                  <a:lnTo>
                    <a:pt x="364888" y="122576"/>
                  </a:lnTo>
                  <a:lnTo>
                    <a:pt x="300565" y="58253"/>
                  </a:lnTo>
                  <a:cubicBezTo>
                    <a:pt x="294348" y="60211"/>
                    <a:pt x="287250" y="58742"/>
                    <a:pt x="282306" y="53798"/>
                  </a:cubicBezTo>
                  <a:cubicBezTo>
                    <a:pt x="277362" y="48854"/>
                    <a:pt x="275844" y="41805"/>
                    <a:pt x="277851" y="35539"/>
                  </a:cubicBezTo>
                  <a:lnTo>
                    <a:pt x="242312" y="0"/>
                  </a:lnTo>
                  <a:lnTo>
                    <a:pt x="0" y="242312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828" name="Gráfico 18">
              <a:extLst>
                <a:ext uri="{FF2B5EF4-FFF2-40B4-BE49-F238E27FC236}">
                  <a16:creationId xmlns:a16="http://schemas.microsoft.com/office/drawing/2014/main" id="{8191DBC9-3A46-3A9A-A062-A3D56DA42C50}"/>
                </a:ext>
              </a:extLst>
            </p:cNvPr>
            <p:cNvGrpSpPr/>
            <p:nvPr/>
          </p:nvGrpSpPr>
          <p:grpSpPr>
            <a:xfrm>
              <a:off x="2743557" y="5363126"/>
              <a:ext cx="214507" cy="214458"/>
              <a:chOff x="2743557" y="5363126"/>
              <a:chExt cx="214507" cy="214458"/>
            </a:xfrm>
          </p:grpSpPr>
          <p:sp>
            <p:nvSpPr>
              <p:cNvPr id="1829" name="Forma livre: Forma 1828">
                <a:extLst>
                  <a:ext uri="{FF2B5EF4-FFF2-40B4-BE49-F238E27FC236}">
                    <a16:creationId xmlns:a16="http://schemas.microsoft.com/office/drawing/2014/main" id="{752686AE-4C15-AE60-CADC-491490BFA8F9}"/>
                  </a:ext>
                </a:extLst>
              </p:cNvPr>
              <p:cNvSpPr/>
              <p:nvPr/>
            </p:nvSpPr>
            <p:spPr>
              <a:xfrm>
                <a:off x="2743557" y="5552570"/>
                <a:ext cx="25014" cy="25014"/>
              </a:xfrm>
              <a:custGeom>
                <a:avLst/>
                <a:gdLst>
                  <a:gd name="connsiteX0" fmla="*/ 0 w 25014"/>
                  <a:gd name="connsiteY0" fmla="*/ 0 h 25014"/>
                  <a:gd name="connsiteX1" fmla="*/ 25014 w 25014"/>
                  <a:gd name="connsiteY1" fmla="*/ 25015 h 250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5014" h="25014">
                    <a:moveTo>
                      <a:pt x="0" y="0"/>
                    </a:moveTo>
                    <a:lnTo>
                      <a:pt x="25014" y="25015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830" name="Forma livre: Forma 1829">
                <a:extLst>
                  <a:ext uri="{FF2B5EF4-FFF2-40B4-BE49-F238E27FC236}">
                    <a16:creationId xmlns:a16="http://schemas.microsoft.com/office/drawing/2014/main" id="{2097393B-6904-67F6-A7C9-AE6176243567}"/>
                  </a:ext>
                </a:extLst>
              </p:cNvPr>
              <p:cNvSpPr/>
              <p:nvPr/>
            </p:nvSpPr>
            <p:spPr>
              <a:xfrm>
                <a:off x="2767250" y="5528877"/>
                <a:ext cx="25014" cy="25014"/>
              </a:xfrm>
              <a:custGeom>
                <a:avLst/>
                <a:gdLst>
                  <a:gd name="connsiteX0" fmla="*/ 0 w 25014"/>
                  <a:gd name="connsiteY0" fmla="*/ 0 h 25014"/>
                  <a:gd name="connsiteX1" fmla="*/ 25014 w 25014"/>
                  <a:gd name="connsiteY1" fmla="*/ 25015 h 250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5014" h="25014">
                    <a:moveTo>
                      <a:pt x="0" y="0"/>
                    </a:moveTo>
                    <a:lnTo>
                      <a:pt x="25014" y="25015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831" name="Forma livre: Forma 1830">
                <a:extLst>
                  <a:ext uri="{FF2B5EF4-FFF2-40B4-BE49-F238E27FC236}">
                    <a16:creationId xmlns:a16="http://schemas.microsoft.com/office/drawing/2014/main" id="{8BF6D836-66BC-F37C-E2CA-975021B37581}"/>
                  </a:ext>
                </a:extLst>
              </p:cNvPr>
              <p:cNvSpPr/>
              <p:nvPr/>
            </p:nvSpPr>
            <p:spPr>
              <a:xfrm>
                <a:off x="2790893" y="5505233"/>
                <a:ext cx="25063" cy="25014"/>
              </a:xfrm>
              <a:custGeom>
                <a:avLst/>
                <a:gdLst>
                  <a:gd name="connsiteX0" fmla="*/ 0 w 25063"/>
                  <a:gd name="connsiteY0" fmla="*/ 0 h 25014"/>
                  <a:gd name="connsiteX1" fmla="*/ 25063 w 25063"/>
                  <a:gd name="connsiteY1" fmla="*/ 25014 h 250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5063" h="25014">
                    <a:moveTo>
                      <a:pt x="0" y="0"/>
                    </a:moveTo>
                    <a:lnTo>
                      <a:pt x="25063" y="25014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832" name="Forma livre: Forma 1831">
                <a:extLst>
                  <a:ext uri="{FF2B5EF4-FFF2-40B4-BE49-F238E27FC236}">
                    <a16:creationId xmlns:a16="http://schemas.microsoft.com/office/drawing/2014/main" id="{31F52B14-CABC-C300-2FD9-49BDEEAF962F}"/>
                  </a:ext>
                </a:extLst>
              </p:cNvPr>
              <p:cNvSpPr/>
              <p:nvPr/>
            </p:nvSpPr>
            <p:spPr>
              <a:xfrm>
                <a:off x="2814586" y="5481541"/>
                <a:ext cx="25014" cy="25014"/>
              </a:xfrm>
              <a:custGeom>
                <a:avLst/>
                <a:gdLst>
                  <a:gd name="connsiteX0" fmla="*/ 0 w 25014"/>
                  <a:gd name="connsiteY0" fmla="*/ 0 h 25014"/>
                  <a:gd name="connsiteX1" fmla="*/ 25014 w 25014"/>
                  <a:gd name="connsiteY1" fmla="*/ 25014 h 250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5014" h="25014">
                    <a:moveTo>
                      <a:pt x="0" y="0"/>
                    </a:moveTo>
                    <a:lnTo>
                      <a:pt x="25014" y="25014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833" name="Forma livre: Forma 1832">
                <a:extLst>
                  <a:ext uri="{FF2B5EF4-FFF2-40B4-BE49-F238E27FC236}">
                    <a16:creationId xmlns:a16="http://schemas.microsoft.com/office/drawing/2014/main" id="{8F05FD0A-813D-6090-1ED0-517470BBC41A}"/>
                  </a:ext>
                </a:extLst>
              </p:cNvPr>
              <p:cNvSpPr/>
              <p:nvPr/>
            </p:nvSpPr>
            <p:spPr>
              <a:xfrm>
                <a:off x="2838279" y="5457848"/>
                <a:ext cx="25014" cy="25014"/>
              </a:xfrm>
              <a:custGeom>
                <a:avLst/>
                <a:gdLst>
                  <a:gd name="connsiteX0" fmla="*/ 0 w 25014"/>
                  <a:gd name="connsiteY0" fmla="*/ 0 h 25014"/>
                  <a:gd name="connsiteX1" fmla="*/ 25014 w 25014"/>
                  <a:gd name="connsiteY1" fmla="*/ 25014 h 250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5014" h="25014">
                    <a:moveTo>
                      <a:pt x="0" y="0"/>
                    </a:moveTo>
                    <a:lnTo>
                      <a:pt x="25014" y="25014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834" name="Forma livre: Forma 1833">
                <a:extLst>
                  <a:ext uri="{FF2B5EF4-FFF2-40B4-BE49-F238E27FC236}">
                    <a16:creationId xmlns:a16="http://schemas.microsoft.com/office/drawing/2014/main" id="{8D185BBD-2180-39BE-0729-DC4F02227ED6}"/>
                  </a:ext>
                </a:extLst>
              </p:cNvPr>
              <p:cNvSpPr/>
              <p:nvPr/>
            </p:nvSpPr>
            <p:spPr>
              <a:xfrm>
                <a:off x="2861972" y="5434155"/>
                <a:ext cx="25014" cy="25014"/>
              </a:xfrm>
              <a:custGeom>
                <a:avLst/>
                <a:gdLst>
                  <a:gd name="connsiteX0" fmla="*/ 0 w 25014"/>
                  <a:gd name="connsiteY0" fmla="*/ 0 h 25014"/>
                  <a:gd name="connsiteX1" fmla="*/ 25014 w 25014"/>
                  <a:gd name="connsiteY1" fmla="*/ 25014 h 250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5014" h="25014">
                    <a:moveTo>
                      <a:pt x="0" y="0"/>
                    </a:moveTo>
                    <a:lnTo>
                      <a:pt x="25014" y="25014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835" name="Forma livre: Forma 1834">
                <a:extLst>
                  <a:ext uri="{FF2B5EF4-FFF2-40B4-BE49-F238E27FC236}">
                    <a16:creationId xmlns:a16="http://schemas.microsoft.com/office/drawing/2014/main" id="{C94B94A7-A837-711A-D9A0-370A8C8E2FC1}"/>
                  </a:ext>
                </a:extLst>
              </p:cNvPr>
              <p:cNvSpPr/>
              <p:nvPr/>
            </p:nvSpPr>
            <p:spPr>
              <a:xfrm>
                <a:off x="2885664" y="5410462"/>
                <a:ext cx="25014" cy="25014"/>
              </a:xfrm>
              <a:custGeom>
                <a:avLst/>
                <a:gdLst>
                  <a:gd name="connsiteX0" fmla="*/ 0 w 25014"/>
                  <a:gd name="connsiteY0" fmla="*/ 0 h 25014"/>
                  <a:gd name="connsiteX1" fmla="*/ 25014 w 25014"/>
                  <a:gd name="connsiteY1" fmla="*/ 25015 h 250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5014" h="25014">
                    <a:moveTo>
                      <a:pt x="0" y="0"/>
                    </a:moveTo>
                    <a:lnTo>
                      <a:pt x="25014" y="25015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836" name="Forma livre: Forma 1835">
                <a:extLst>
                  <a:ext uri="{FF2B5EF4-FFF2-40B4-BE49-F238E27FC236}">
                    <a16:creationId xmlns:a16="http://schemas.microsoft.com/office/drawing/2014/main" id="{219E0F63-6BA4-998B-C33B-ED15020B1080}"/>
                  </a:ext>
                </a:extLst>
              </p:cNvPr>
              <p:cNvSpPr/>
              <p:nvPr/>
            </p:nvSpPr>
            <p:spPr>
              <a:xfrm>
                <a:off x="2909357" y="5386770"/>
                <a:ext cx="25014" cy="25014"/>
              </a:xfrm>
              <a:custGeom>
                <a:avLst/>
                <a:gdLst>
                  <a:gd name="connsiteX0" fmla="*/ 0 w 25014"/>
                  <a:gd name="connsiteY0" fmla="*/ 0 h 25014"/>
                  <a:gd name="connsiteX1" fmla="*/ 25014 w 25014"/>
                  <a:gd name="connsiteY1" fmla="*/ 25015 h 250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5014" h="25014">
                    <a:moveTo>
                      <a:pt x="0" y="0"/>
                    </a:moveTo>
                    <a:lnTo>
                      <a:pt x="25014" y="25015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837" name="Forma livre: Forma 1836">
                <a:extLst>
                  <a:ext uri="{FF2B5EF4-FFF2-40B4-BE49-F238E27FC236}">
                    <a16:creationId xmlns:a16="http://schemas.microsoft.com/office/drawing/2014/main" id="{8975C5C9-7386-5450-999C-18FB859F2524}"/>
                  </a:ext>
                </a:extLst>
              </p:cNvPr>
              <p:cNvSpPr/>
              <p:nvPr/>
            </p:nvSpPr>
            <p:spPr>
              <a:xfrm>
                <a:off x="2933050" y="5363126"/>
                <a:ext cx="25014" cy="25014"/>
              </a:xfrm>
              <a:custGeom>
                <a:avLst/>
                <a:gdLst>
                  <a:gd name="connsiteX0" fmla="*/ 0 w 25014"/>
                  <a:gd name="connsiteY0" fmla="*/ 0 h 25014"/>
                  <a:gd name="connsiteX1" fmla="*/ 25014 w 25014"/>
                  <a:gd name="connsiteY1" fmla="*/ 25014 h 250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5014" h="25014">
                    <a:moveTo>
                      <a:pt x="0" y="0"/>
                    </a:moveTo>
                    <a:lnTo>
                      <a:pt x="25014" y="25014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838" name="Gráfico 18">
              <a:extLst>
                <a:ext uri="{FF2B5EF4-FFF2-40B4-BE49-F238E27FC236}">
                  <a16:creationId xmlns:a16="http://schemas.microsoft.com/office/drawing/2014/main" id="{9ECCF053-6CF6-09FA-4357-CF29E3D4EE43}"/>
                </a:ext>
              </a:extLst>
            </p:cNvPr>
            <p:cNvGrpSpPr/>
            <p:nvPr/>
          </p:nvGrpSpPr>
          <p:grpSpPr>
            <a:xfrm>
              <a:off x="2670412" y="5289200"/>
              <a:ext cx="235297" cy="235357"/>
              <a:chOff x="2670412" y="5289200"/>
              <a:chExt cx="235297" cy="235357"/>
            </a:xfrm>
            <a:noFill/>
          </p:grpSpPr>
          <p:sp>
            <p:nvSpPr>
              <p:cNvPr id="1839" name="Forma livre: Forma 1838">
                <a:extLst>
                  <a:ext uri="{FF2B5EF4-FFF2-40B4-BE49-F238E27FC236}">
                    <a16:creationId xmlns:a16="http://schemas.microsoft.com/office/drawing/2014/main" id="{7AA3902F-EFA5-30BB-51FD-511D7721C76E}"/>
                  </a:ext>
                </a:extLst>
              </p:cNvPr>
              <p:cNvSpPr/>
              <p:nvPr/>
            </p:nvSpPr>
            <p:spPr>
              <a:xfrm rot="-2700000">
                <a:off x="2688821" y="5451005"/>
                <a:ext cx="41168" cy="69120"/>
              </a:xfrm>
              <a:custGeom>
                <a:avLst/>
                <a:gdLst>
                  <a:gd name="connsiteX0" fmla="*/ 0 w 41168"/>
                  <a:gd name="connsiteY0" fmla="*/ 0 h 69120"/>
                  <a:gd name="connsiteX1" fmla="*/ 41169 w 41168"/>
                  <a:gd name="connsiteY1" fmla="*/ 0 h 69120"/>
                  <a:gd name="connsiteX2" fmla="*/ 41169 w 41168"/>
                  <a:gd name="connsiteY2" fmla="*/ 69120 h 69120"/>
                  <a:gd name="connsiteX3" fmla="*/ 0 w 41168"/>
                  <a:gd name="connsiteY3" fmla="*/ 69120 h 691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168" h="69120">
                    <a:moveTo>
                      <a:pt x="0" y="0"/>
                    </a:moveTo>
                    <a:lnTo>
                      <a:pt x="41169" y="0"/>
                    </a:lnTo>
                    <a:lnTo>
                      <a:pt x="41169" y="69120"/>
                    </a:lnTo>
                    <a:lnTo>
                      <a:pt x="0" y="69120"/>
                    </a:lnTo>
                    <a:close/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840" name="Forma livre: Forma 1839">
                <a:extLst>
                  <a:ext uri="{FF2B5EF4-FFF2-40B4-BE49-F238E27FC236}">
                    <a16:creationId xmlns:a16="http://schemas.microsoft.com/office/drawing/2014/main" id="{D5A12EC9-E304-6F5D-BC75-27BAAE597417}"/>
                  </a:ext>
                </a:extLst>
              </p:cNvPr>
              <p:cNvSpPr/>
              <p:nvPr/>
            </p:nvSpPr>
            <p:spPr>
              <a:xfrm rot="-2700000">
                <a:off x="2846150" y="5293640"/>
                <a:ext cx="41168" cy="69071"/>
              </a:xfrm>
              <a:custGeom>
                <a:avLst/>
                <a:gdLst>
                  <a:gd name="connsiteX0" fmla="*/ 0 w 41168"/>
                  <a:gd name="connsiteY0" fmla="*/ 0 h 69071"/>
                  <a:gd name="connsiteX1" fmla="*/ 41169 w 41168"/>
                  <a:gd name="connsiteY1" fmla="*/ 0 h 69071"/>
                  <a:gd name="connsiteX2" fmla="*/ 41169 w 41168"/>
                  <a:gd name="connsiteY2" fmla="*/ 69071 h 69071"/>
                  <a:gd name="connsiteX3" fmla="*/ 0 w 41168"/>
                  <a:gd name="connsiteY3" fmla="*/ 69071 h 690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168" h="69071">
                    <a:moveTo>
                      <a:pt x="0" y="0"/>
                    </a:moveTo>
                    <a:lnTo>
                      <a:pt x="41169" y="0"/>
                    </a:lnTo>
                    <a:lnTo>
                      <a:pt x="41169" y="69071"/>
                    </a:lnTo>
                    <a:lnTo>
                      <a:pt x="0" y="69071"/>
                    </a:lnTo>
                    <a:close/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841" name="Forma livre: Forma 1840">
                <a:extLst>
                  <a:ext uri="{FF2B5EF4-FFF2-40B4-BE49-F238E27FC236}">
                    <a16:creationId xmlns:a16="http://schemas.microsoft.com/office/drawing/2014/main" id="{C86C01D1-BA73-E549-7659-480CD466ECA0}"/>
                  </a:ext>
                </a:extLst>
              </p:cNvPr>
              <p:cNvSpPr/>
              <p:nvPr/>
            </p:nvSpPr>
            <p:spPr>
              <a:xfrm rot="-2700000">
                <a:off x="2793641" y="5346160"/>
                <a:ext cx="41168" cy="69120"/>
              </a:xfrm>
              <a:custGeom>
                <a:avLst/>
                <a:gdLst>
                  <a:gd name="connsiteX0" fmla="*/ 0 w 41168"/>
                  <a:gd name="connsiteY0" fmla="*/ 0 h 69120"/>
                  <a:gd name="connsiteX1" fmla="*/ 41169 w 41168"/>
                  <a:gd name="connsiteY1" fmla="*/ 0 h 69120"/>
                  <a:gd name="connsiteX2" fmla="*/ 41169 w 41168"/>
                  <a:gd name="connsiteY2" fmla="*/ 69120 h 69120"/>
                  <a:gd name="connsiteX3" fmla="*/ 0 w 41168"/>
                  <a:gd name="connsiteY3" fmla="*/ 69120 h 691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168" h="69120">
                    <a:moveTo>
                      <a:pt x="0" y="0"/>
                    </a:moveTo>
                    <a:lnTo>
                      <a:pt x="41169" y="0"/>
                    </a:lnTo>
                    <a:lnTo>
                      <a:pt x="41169" y="69120"/>
                    </a:lnTo>
                    <a:lnTo>
                      <a:pt x="0" y="69120"/>
                    </a:lnTo>
                    <a:close/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842" name="Forma livre: Forma 1841">
                <a:extLst>
                  <a:ext uri="{FF2B5EF4-FFF2-40B4-BE49-F238E27FC236}">
                    <a16:creationId xmlns:a16="http://schemas.microsoft.com/office/drawing/2014/main" id="{E4B4E50C-CD84-8D01-E4DF-5F7D426EB18D}"/>
                  </a:ext>
                </a:extLst>
              </p:cNvPr>
              <p:cNvSpPr/>
              <p:nvPr/>
            </p:nvSpPr>
            <p:spPr>
              <a:xfrm rot="-2700000">
                <a:off x="2741297" y="5398526"/>
                <a:ext cx="41168" cy="69120"/>
              </a:xfrm>
              <a:custGeom>
                <a:avLst/>
                <a:gdLst>
                  <a:gd name="connsiteX0" fmla="*/ 0 w 41168"/>
                  <a:gd name="connsiteY0" fmla="*/ 0 h 69120"/>
                  <a:gd name="connsiteX1" fmla="*/ 41169 w 41168"/>
                  <a:gd name="connsiteY1" fmla="*/ 0 h 69120"/>
                  <a:gd name="connsiteX2" fmla="*/ 41169 w 41168"/>
                  <a:gd name="connsiteY2" fmla="*/ 69120 h 69120"/>
                  <a:gd name="connsiteX3" fmla="*/ 0 w 41168"/>
                  <a:gd name="connsiteY3" fmla="*/ 69120 h 691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168" h="69120">
                    <a:moveTo>
                      <a:pt x="0" y="0"/>
                    </a:moveTo>
                    <a:lnTo>
                      <a:pt x="41169" y="0"/>
                    </a:lnTo>
                    <a:lnTo>
                      <a:pt x="41169" y="69120"/>
                    </a:lnTo>
                    <a:lnTo>
                      <a:pt x="0" y="69120"/>
                    </a:lnTo>
                    <a:close/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843" name="Gráfico 18">
            <a:extLst>
              <a:ext uri="{FF2B5EF4-FFF2-40B4-BE49-F238E27FC236}">
                <a16:creationId xmlns:a16="http://schemas.microsoft.com/office/drawing/2014/main" id="{658E6839-2C93-D148-37EE-6D702B478093}"/>
              </a:ext>
            </a:extLst>
          </p:cNvPr>
          <p:cNvGrpSpPr/>
          <p:nvPr/>
        </p:nvGrpSpPr>
        <p:grpSpPr>
          <a:xfrm>
            <a:off x="3963097" y="5824400"/>
            <a:ext cx="228263" cy="286173"/>
            <a:chOff x="3963097" y="5824400"/>
            <a:chExt cx="228263" cy="286173"/>
          </a:xfrm>
          <a:noFill/>
        </p:grpSpPr>
        <p:sp>
          <p:nvSpPr>
            <p:cNvPr id="1844" name="Forma livre: Forma 1843">
              <a:extLst>
                <a:ext uri="{FF2B5EF4-FFF2-40B4-BE49-F238E27FC236}">
                  <a16:creationId xmlns:a16="http://schemas.microsoft.com/office/drawing/2014/main" id="{8B6EAC09-6BBE-4C1A-2542-B49814405C63}"/>
                </a:ext>
              </a:extLst>
            </p:cNvPr>
            <p:cNvSpPr/>
            <p:nvPr/>
          </p:nvSpPr>
          <p:spPr>
            <a:xfrm>
              <a:off x="3963097" y="5862730"/>
              <a:ext cx="98540" cy="247843"/>
            </a:xfrm>
            <a:custGeom>
              <a:avLst/>
              <a:gdLst>
                <a:gd name="connsiteX0" fmla="*/ 98540 w 98540"/>
                <a:gd name="connsiteY0" fmla="*/ 223368 h 247843"/>
                <a:gd name="connsiteX1" fmla="*/ 74064 w 98540"/>
                <a:gd name="connsiteY1" fmla="*/ 247844 h 247843"/>
                <a:gd name="connsiteX2" fmla="*/ 24476 w 98540"/>
                <a:gd name="connsiteY2" fmla="*/ 247844 h 247843"/>
                <a:gd name="connsiteX3" fmla="*/ 0 w 98540"/>
                <a:gd name="connsiteY3" fmla="*/ 223368 h 247843"/>
                <a:gd name="connsiteX4" fmla="*/ 0 w 98540"/>
                <a:gd name="connsiteY4" fmla="*/ 0 h 247843"/>
                <a:gd name="connsiteX5" fmla="*/ 98540 w 98540"/>
                <a:gd name="connsiteY5" fmla="*/ 0 h 247843"/>
                <a:gd name="connsiteX6" fmla="*/ 98540 w 98540"/>
                <a:gd name="connsiteY6" fmla="*/ 223368 h 2478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98540" h="247843">
                  <a:moveTo>
                    <a:pt x="98540" y="223368"/>
                  </a:moveTo>
                  <a:cubicBezTo>
                    <a:pt x="98540" y="236830"/>
                    <a:pt x="87526" y="247844"/>
                    <a:pt x="74064" y="247844"/>
                  </a:cubicBezTo>
                  <a:lnTo>
                    <a:pt x="24476" y="247844"/>
                  </a:lnTo>
                  <a:cubicBezTo>
                    <a:pt x="11014" y="247844"/>
                    <a:pt x="0" y="236830"/>
                    <a:pt x="0" y="223368"/>
                  </a:cubicBezTo>
                  <a:lnTo>
                    <a:pt x="0" y="0"/>
                  </a:lnTo>
                  <a:lnTo>
                    <a:pt x="98540" y="0"/>
                  </a:lnTo>
                  <a:lnTo>
                    <a:pt x="98540" y="223368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45" name="Forma livre: Forma 1844">
              <a:extLst>
                <a:ext uri="{FF2B5EF4-FFF2-40B4-BE49-F238E27FC236}">
                  <a16:creationId xmlns:a16="http://schemas.microsoft.com/office/drawing/2014/main" id="{9AE68E2C-DB3E-3D50-10E5-D5AF3FDAEDCD}"/>
                </a:ext>
              </a:extLst>
            </p:cNvPr>
            <p:cNvSpPr/>
            <p:nvPr/>
          </p:nvSpPr>
          <p:spPr>
            <a:xfrm>
              <a:off x="3990510" y="5824400"/>
              <a:ext cx="43714" cy="37742"/>
            </a:xfrm>
            <a:custGeom>
              <a:avLst/>
              <a:gdLst>
                <a:gd name="connsiteX0" fmla="*/ 0 w 43714"/>
                <a:gd name="connsiteY0" fmla="*/ 37742 h 37742"/>
                <a:gd name="connsiteX1" fmla="*/ 0 w 43714"/>
                <a:gd name="connsiteY1" fmla="*/ 4895 h 37742"/>
                <a:gd name="connsiteX2" fmla="*/ 4895 w 43714"/>
                <a:gd name="connsiteY2" fmla="*/ 0 h 37742"/>
                <a:gd name="connsiteX3" fmla="*/ 38819 w 43714"/>
                <a:gd name="connsiteY3" fmla="*/ 0 h 37742"/>
                <a:gd name="connsiteX4" fmla="*/ 43714 w 43714"/>
                <a:gd name="connsiteY4" fmla="*/ 4895 h 37742"/>
                <a:gd name="connsiteX5" fmla="*/ 43714 w 43714"/>
                <a:gd name="connsiteY5" fmla="*/ 37742 h 377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3714" h="37742">
                  <a:moveTo>
                    <a:pt x="0" y="37742"/>
                  </a:moveTo>
                  <a:lnTo>
                    <a:pt x="0" y="4895"/>
                  </a:lnTo>
                  <a:cubicBezTo>
                    <a:pt x="0" y="2203"/>
                    <a:pt x="2203" y="0"/>
                    <a:pt x="4895" y="0"/>
                  </a:cubicBezTo>
                  <a:lnTo>
                    <a:pt x="38819" y="0"/>
                  </a:lnTo>
                  <a:cubicBezTo>
                    <a:pt x="41511" y="0"/>
                    <a:pt x="43714" y="2203"/>
                    <a:pt x="43714" y="4895"/>
                  </a:cubicBezTo>
                  <a:lnTo>
                    <a:pt x="43714" y="37742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846" name="Gráfico 18">
              <a:extLst>
                <a:ext uri="{FF2B5EF4-FFF2-40B4-BE49-F238E27FC236}">
                  <a16:creationId xmlns:a16="http://schemas.microsoft.com/office/drawing/2014/main" id="{E4A480A2-5A4C-AB77-5D96-93F078EF512A}"/>
                </a:ext>
              </a:extLst>
            </p:cNvPr>
            <p:cNvGrpSpPr/>
            <p:nvPr/>
          </p:nvGrpSpPr>
          <p:grpSpPr>
            <a:xfrm>
              <a:off x="3995406" y="5894059"/>
              <a:ext cx="33923" cy="33923"/>
              <a:chOff x="3995406" y="5894059"/>
              <a:chExt cx="33923" cy="33923"/>
            </a:xfrm>
          </p:grpSpPr>
          <p:sp>
            <p:nvSpPr>
              <p:cNvPr id="1847" name="Forma livre: Forma 1846">
                <a:extLst>
                  <a:ext uri="{FF2B5EF4-FFF2-40B4-BE49-F238E27FC236}">
                    <a16:creationId xmlns:a16="http://schemas.microsoft.com/office/drawing/2014/main" id="{BE621D22-6156-68DE-0955-A8BCF73D3E15}"/>
                  </a:ext>
                </a:extLst>
              </p:cNvPr>
              <p:cNvSpPr/>
              <p:nvPr/>
            </p:nvSpPr>
            <p:spPr>
              <a:xfrm>
                <a:off x="4012392" y="5894059"/>
                <a:ext cx="4895" cy="33923"/>
              </a:xfrm>
              <a:custGeom>
                <a:avLst/>
                <a:gdLst>
                  <a:gd name="connsiteX0" fmla="*/ 0 w 4895"/>
                  <a:gd name="connsiteY0" fmla="*/ 0 h 33923"/>
                  <a:gd name="connsiteX1" fmla="*/ 0 w 4895"/>
                  <a:gd name="connsiteY1" fmla="*/ 33924 h 339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895" h="33923">
                    <a:moveTo>
                      <a:pt x="0" y="0"/>
                    </a:moveTo>
                    <a:lnTo>
                      <a:pt x="0" y="33924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848" name="Forma livre: Forma 1847">
                <a:extLst>
                  <a:ext uri="{FF2B5EF4-FFF2-40B4-BE49-F238E27FC236}">
                    <a16:creationId xmlns:a16="http://schemas.microsoft.com/office/drawing/2014/main" id="{C4424AB1-3CDB-6147-435B-89927C375184}"/>
                  </a:ext>
                </a:extLst>
              </p:cNvPr>
              <p:cNvSpPr/>
              <p:nvPr/>
            </p:nvSpPr>
            <p:spPr>
              <a:xfrm>
                <a:off x="3995406" y="5910996"/>
                <a:ext cx="33923" cy="4895"/>
              </a:xfrm>
              <a:custGeom>
                <a:avLst/>
                <a:gdLst>
                  <a:gd name="connsiteX0" fmla="*/ 33924 w 33923"/>
                  <a:gd name="connsiteY0" fmla="*/ 0 h 4895"/>
                  <a:gd name="connsiteX1" fmla="*/ 0 w 33923"/>
                  <a:gd name="connsiteY1" fmla="*/ 0 h 48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3923" h="4895">
                    <a:moveTo>
                      <a:pt x="33924" y="0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849" name="Forma livre: Forma 1848">
              <a:extLst>
                <a:ext uri="{FF2B5EF4-FFF2-40B4-BE49-F238E27FC236}">
                  <a16:creationId xmlns:a16="http://schemas.microsoft.com/office/drawing/2014/main" id="{36C67245-B37D-5442-E02C-3DEBF9B11865}"/>
                </a:ext>
              </a:extLst>
            </p:cNvPr>
            <p:cNvSpPr/>
            <p:nvPr/>
          </p:nvSpPr>
          <p:spPr>
            <a:xfrm>
              <a:off x="3995406" y="6062356"/>
              <a:ext cx="33923" cy="4895"/>
            </a:xfrm>
            <a:custGeom>
              <a:avLst/>
              <a:gdLst>
                <a:gd name="connsiteX0" fmla="*/ 33924 w 33923"/>
                <a:gd name="connsiteY0" fmla="*/ 0 h 4895"/>
                <a:gd name="connsiteX1" fmla="*/ 0 w 33923"/>
                <a:gd name="connsiteY1" fmla="*/ 0 h 48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3923" h="4895">
                  <a:moveTo>
                    <a:pt x="33924" y="0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50" name="Forma livre: Forma 1849">
              <a:extLst>
                <a:ext uri="{FF2B5EF4-FFF2-40B4-BE49-F238E27FC236}">
                  <a16:creationId xmlns:a16="http://schemas.microsoft.com/office/drawing/2014/main" id="{D06EE4C8-14E9-ACF0-DC2D-2BDE5389F7E4}"/>
                </a:ext>
              </a:extLst>
            </p:cNvPr>
            <p:cNvSpPr/>
            <p:nvPr/>
          </p:nvSpPr>
          <p:spPr>
            <a:xfrm>
              <a:off x="3967944" y="5959557"/>
              <a:ext cx="88896" cy="4895"/>
            </a:xfrm>
            <a:custGeom>
              <a:avLst/>
              <a:gdLst>
                <a:gd name="connsiteX0" fmla="*/ 0 w 88896"/>
                <a:gd name="connsiteY0" fmla="*/ 0 h 4895"/>
                <a:gd name="connsiteX1" fmla="*/ 88897 w 88896"/>
                <a:gd name="connsiteY1" fmla="*/ 0 h 48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8896" h="4895">
                  <a:moveTo>
                    <a:pt x="0" y="0"/>
                  </a:moveTo>
                  <a:lnTo>
                    <a:pt x="88897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51" name="Forma livre: Forma 1850">
              <a:extLst>
                <a:ext uri="{FF2B5EF4-FFF2-40B4-BE49-F238E27FC236}">
                  <a16:creationId xmlns:a16="http://schemas.microsoft.com/office/drawing/2014/main" id="{2580FF39-1A67-87D6-2215-EEF94A13BF66}"/>
                </a:ext>
              </a:extLst>
            </p:cNvPr>
            <p:cNvSpPr/>
            <p:nvPr/>
          </p:nvSpPr>
          <p:spPr>
            <a:xfrm>
              <a:off x="4092820" y="5862730"/>
              <a:ext cx="98540" cy="247843"/>
            </a:xfrm>
            <a:custGeom>
              <a:avLst/>
              <a:gdLst>
                <a:gd name="connsiteX0" fmla="*/ 98540 w 98540"/>
                <a:gd name="connsiteY0" fmla="*/ 223368 h 247843"/>
                <a:gd name="connsiteX1" fmla="*/ 74064 w 98540"/>
                <a:gd name="connsiteY1" fmla="*/ 247844 h 247843"/>
                <a:gd name="connsiteX2" fmla="*/ 24476 w 98540"/>
                <a:gd name="connsiteY2" fmla="*/ 247844 h 247843"/>
                <a:gd name="connsiteX3" fmla="*/ 0 w 98540"/>
                <a:gd name="connsiteY3" fmla="*/ 223368 h 247843"/>
                <a:gd name="connsiteX4" fmla="*/ 0 w 98540"/>
                <a:gd name="connsiteY4" fmla="*/ 0 h 247843"/>
                <a:gd name="connsiteX5" fmla="*/ 98540 w 98540"/>
                <a:gd name="connsiteY5" fmla="*/ 0 h 247843"/>
                <a:gd name="connsiteX6" fmla="*/ 98540 w 98540"/>
                <a:gd name="connsiteY6" fmla="*/ 223368 h 2478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98540" h="247843">
                  <a:moveTo>
                    <a:pt x="98540" y="223368"/>
                  </a:moveTo>
                  <a:cubicBezTo>
                    <a:pt x="98540" y="236830"/>
                    <a:pt x="87526" y="247844"/>
                    <a:pt x="74064" y="247844"/>
                  </a:cubicBezTo>
                  <a:lnTo>
                    <a:pt x="24476" y="247844"/>
                  </a:lnTo>
                  <a:cubicBezTo>
                    <a:pt x="11014" y="247844"/>
                    <a:pt x="0" y="236830"/>
                    <a:pt x="0" y="223368"/>
                  </a:cubicBezTo>
                  <a:lnTo>
                    <a:pt x="0" y="0"/>
                  </a:lnTo>
                  <a:lnTo>
                    <a:pt x="98540" y="0"/>
                  </a:lnTo>
                  <a:lnTo>
                    <a:pt x="98540" y="223368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52" name="Forma livre: Forma 1851">
              <a:extLst>
                <a:ext uri="{FF2B5EF4-FFF2-40B4-BE49-F238E27FC236}">
                  <a16:creationId xmlns:a16="http://schemas.microsoft.com/office/drawing/2014/main" id="{4CD9412F-98AE-6497-7358-8988AF87A848}"/>
                </a:ext>
              </a:extLst>
            </p:cNvPr>
            <p:cNvSpPr/>
            <p:nvPr/>
          </p:nvSpPr>
          <p:spPr>
            <a:xfrm>
              <a:off x="4120233" y="5824400"/>
              <a:ext cx="43714" cy="37742"/>
            </a:xfrm>
            <a:custGeom>
              <a:avLst/>
              <a:gdLst>
                <a:gd name="connsiteX0" fmla="*/ 0 w 43714"/>
                <a:gd name="connsiteY0" fmla="*/ 37742 h 37742"/>
                <a:gd name="connsiteX1" fmla="*/ 0 w 43714"/>
                <a:gd name="connsiteY1" fmla="*/ 4895 h 37742"/>
                <a:gd name="connsiteX2" fmla="*/ 4895 w 43714"/>
                <a:gd name="connsiteY2" fmla="*/ 0 h 37742"/>
                <a:gd name="connsiteX3" fmla="*/ 38819 w 43714"/>
                <a:gd name="connsiteY3" fmla="*/ 0 h 37742"/>
                <a:gd name="connsiteX4" fmla="*/ 43714 w 43714"/>
                <a:gd name="connsiteY4" fmla="*/ 4895 h 37742"/>
                <a:gd name="connsiteX5" fmla="*/ 43714 w 43714"/>
                <a:gd name="connsiteY5" fmla="*/ 37742 h 377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3714" h="37742">
                  <a:moveTo>
                    <a:pt x="0" y="37742"/>
                  </a:moveTo>
                  <a:lnTo>
                    <a:pt x="0" y="4895"/>
                  </a:lnTo>
                  <a:cubicBezTo>
                    <a:pt x="0" y="2203"/>
                    <a:pt x="2203" y="0"/>
                    <a:pt x="4895" y="0"/>
                  </a:cubicBezTo>
                  <a:lnTo>
                    <a:pt x="38819" y="0"/>
                  </a:lnTo>
                  <a:cubicBezTo>
                    <a:pt x="41511" y="0"/>
                    <a:pt x="43714" y="2203"/>
                    <a:pt x="43714" y="4895"/>
                  </a:cubicBezTo>
                  <a:lnTo>
                    <a:pt x="43714" y="37742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853" name="Gráfico 18">
              <a:extLst>
                <a:ext uri="{FF2B5EF4-FFF2-40B4-BE49-F238E27FC236}">
                  <a16:creationId xmlns:a16="http://schemas.microsoft.com/office/drawing/2014/main" id="{F133D899-BB35-1A49-AC38-BDFB1F102646}"/>
                </a:ext>
              </a:extLst>
            </p:cNvPr>
            <p:cNvGrpSpPr/>
            <p:nvPr/>
          </p:nvGrpSpPr>
          <p:grpSpPr>
            <a:xfrm>
              <a:off x="4125128" y="5894059"/>
              <a:ext cx="33923" cy="33923"/>
              <a:chOff x="4125128" y="5894059"/>
              <a:chExt cx="33923" cy="33923"/>
            </a:xfrm>
          </p:grpSpPr>
          <p:sp>
            <p:nvSpPr>
              <p:cNvPr id="1854" name="Forma livre: Forma 1853">
                <a:extLst>
                  <a:ext uri="{FF2B5EF4-FFF2-40B4-BE49-F238E27FC236}">
                    <a16:creationId xmlns:a16="http://schemas.microsoft.com/office/drawing/2014/main" id="{88DF7724-4099-CD37-9C84-7FDC70B121CB}"/>
                  </a:ext>
                </a:extLst>
              </p:cNvPr>
              <p:cNvSpPr/>
              <p:nvPr/>
            </p:nvSpPr>
            <p:spPr>
              <a:xfrm>
                <a:off x="4142115" y="5894059"/>
                <a:ext cx="4895" cy="33923"/>
              </a:xfrm>
              <a:custGeom>
                <a:avLst/>
                <a:gdLst>
                  <a:gd name="connsiteX0" fmla="*/ 0 w 4895"/>
                  <a:gd name="connsiteY0" fmla="*/ 0 h 33923"/>
                  <a:gd name="connsiteX1" fmla="*/ 0 w 4895"/>
                  <a:gd name="connsiteY1" fmla="*/ 33924 h 339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895" h="33923">
                    <a:moveTo>
                      <a:pt x="0" y="0"/>
                    </a:moveTo>
                    <a:lnTo>
                      <a:pt x="0" y="33924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855" name="Forma livre: Forma 1854">
                <a:extLst>
                  <a:ext uri="{FF2B5EF4-FFF2-40B4-BE49-F238E27FC236}">
                    <a16:creationId xmlns:a16="http://schemas.microsoft.com/office/drawing/2014/main" id="{CDABC648-66AF-42E0-1DE8-7904AE42F910}"/>
                  </a:ext>
                </a:extLst>
              </p:cNvPr>
              <p:cNvSpPr/>
              <p:nvPr/>
            </p:nvSpPr>
            <p:spPr>
              <a:xfrm>
                <a:off x="4125128" y="5910996"/>
                <a:ext cx="33923" cy="4895"/>
              </a:xfrm>
              <a:custGeom>
                <a:avLst/>
                <a:gdLst>
                  <a:gd name="connsiteX0" fmla="*/ 33924 w 33923"/>
                  <a:gd name="connsiteY0" fmla="*/ 0 h 4895"/>
                  <a:gd name="connsiteX1" fmla="*/ 0 w 33923"/>
                  <a:gd name="connsiteY1" fmla="*/ 0 h 48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3923" h="4895">
                    <a:moveTo>
                      <a:pt x="33924" y="0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856" name="Forma livre: Forma 1855">
              <a:extLst>
                <a:ext uri="{FF2B5EF4-FFF2-40B4-BE49-F238E27FC236}">
                  <a16:creationId xmlns:a16="http://schemas.microsoft.com/office/drawing/2014/main" id="{933B67E9-7B42-5C6B-6845-8085B4B739BB}"/>
                </a:ext>
              </a:extLst>
            </p:cNvPr>
            <p:cNvSpPr/>
            <p:nvPr/>
          </p:nvSpPr>
          <p:spPr>
            <a:xfrm>
              <a:off x="4125128" y="6062356"/>
              <a:ext cx="33923" cy="4895"/>
            </a:xfrm>
            <a:custGeom>
              <a:avLst/>
              <a:gdLst>
                <a:gd name="connsiteX0" fmla="*/ 33924 w 33923"/>
                <a:gd name="connsiteY0" fmla="*/ 0 h 4895"/>
                <a:gd name="connsiteX1" fmla="*/ 0 w 33923"/>
                <a:gd name="connsiteY1" fmla="*/ 0 h 48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3923" h="4895">
                  <a:moveTo>
                    <a:pt x="33924" y="0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57" name="Forma livre: Forma 1856">
              <a:extLst>
                <a:ext uri="{FF2B5EF4-FFF2-40B4-BE49-F238E27FC236}">
                  <a16:creationId xmlns:a16="http://schemas.microsoft.com/office/drawing/2014/main" id="{1447DA11-C240-9E69-AEE8-58B5FF05BA01}"/>
                </a:ext>
              </a:extLst>
            </p:cNvPr>
            <p:cNvSpPr/>
            <p:nvPr/>
          </p:nvSpPr>
          <p:spPr>
            <a:xfrm>
              <a:off x="4097666" y="5959557"/>
              <a:ext cx="88896" cy="4895"/>
            </a:xfrm>
            <a:custGeom>
              <a:avLst/>
              <a:gdLst>
                <a:gd name="connsiteX0" fmla="*/ 0 w 88896"/>
                <a:gd name="connsiteY0" fmla="*/ 0 h 4895"/>
                <a:gd name="connsiteX1" fmla="*/ 88897 w 88896"/>
                <a:gd name="connsiteY1" fmla="*/ 0 h 48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8896" h="4895">
                  <a:moveTo>
                    <a:pt x="0" y="0"/>
                  </a:moveTo>
                  <a:lnTo>
                    <a:pt x="88897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858" name="Gráfico 18">
            <a:extLst>
              <a:ext uri="{FF2B5EF4-FFF2-40B4-BE49-F238E27FC236}">
                <a16:creationId xmlns:a16="http://schemas.microsoft.com/office/drawing/2014/main" id="{6E5AA02A-93EA-4DF9-F10B-83357ECF52B0}"/>
              </a:ext>
            </a:extLst>
          </p:cNvPr>
          <p:cNvGrpSpPr/>
          <p:nvPr/>
        </p:nvGrpSpPr>
        <p:grpSpPr>
          <a:xfrm>
            <a:off x="3298397" y="5812260"/>
            <a:ext cx="282975" cy="310453"/>
            <a:chOff x="3298397" y="5812260"/>
            <a:chExt cx="282975" cy="310453"/>
          </a:xfrm>
        </p:grpSpPr>
        <p:grpSp>
          <p:nvGrpSpPr>
            <p:cNvPr id="1859" name="Gráfico 18">
              <a:extLst>
                <a:ext uri="{FF2B5EF4-FFF2-40B4-BE49-F238E27FC236}">
                  <a16:creationId xmlns:a16="http://schemas.microsoft.com/office/drawing/2014/main" id="{484CA5EA-AC55-69A4-955C-168CF8D9F3FB}"/>
                </a:ext>
              </a:extLst>
            </p:cNvPr>
            <p:cNvGrpSpPr/>
            <p:nvPr/>
          </p:nvGrpSpPr>
          <p:grpSpPr>
            <a:xfrm>
              <a:off x="3429031" y="5961515"/>
              <a:ext cx="152341" cy="156420"/>
              <a:chOff x="3429031" y="5961515"/>
              <a:chExt cx="152341" cy="156420"/>
            </a:xfrm>
            <a:noFill/>
          </p:grpSpPr>
          <p:sp>
            <p:nvSpPr>
              <p:cNvPr id="1860" name="Forma livre: Forma 1859">
                <a:extLst>
                  <a:ext uri="{FF2B5EF4-FFF2-40B4-BE49-F238E27FC236}">
                    <a16:creationId xmlns:a16="http://schemas.microsoft.com/office/drawing/2014/main" id="{B8B45783-19AA-0D17-520B-BCBD8D69C2F5}"/>
                  </a:ext>
                </a:extLst>
              </p:cNvPr>
              <p:cNvSpPr/>
              <p:nvPr/>
            </p:nvSpPr>
            <p:spPr>
              <a:xfrm>
                <a:off x="3429031" y="6022362"/>
                <a:ext cx="150625" cy="95573"/>
              </a:xfrm>
              <a:custGeom>
                <a:avLst/>
                <a:gdLst>
                  <a:gd name="connsiteX0" fmla="*/ 0 w 150625"/>
                  <a:gd name="connsiteY0" fmla="*/ 91932 h 95573"/>
                  <a:gd name="connsiteX1" fmla="*/ 142744 w 150625"/>
                  <a:gd name="connsiteY1" fmla="*/ 47924 h 95573"/>
                  <a:gd name="connsiteX2" fmla="*/ 150625 w 150625"/>
                  <a:gd name="connsiteY2" fmla="*/ 0 h 955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50625" h="95573">
                    <a:moveTo>
                      <a:pt x="0" y="91932"/>
                    </a:moveTo>
                    <a:cubicBezTo>
                      <a:pt x="136527" y="111170"/>
                      <a:pt x="142744" y="47924"/>
                      <a:pt x="142744" y="47924"/>
                    </a:cubicBezTo>
                    <a:lnTo>
                      <a:pt x="150625" y="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861" name="Forma livre: Forma 1860">
                <a:extLst>
                  <a:ext uri="{FF2B5EF4-FFF2-40B4-BE49-F238E27FC236}">
                    <a16:creationId xmlns:a16="http://schemas.microsoft.com/office/drawing/2014/main" id="{3003343E-E77E-49A4-A8CA-19B424B843B5}"/>
                  </a:ext>
                </a:extLst>
              </p:cNvPr>
              <p:cNvSpPr/>
              <p:nvPr/>
            </p:nvSpPr>
            <p:spPr>
              <a:xfrm>
                <a:off x="3505690" y="5961515"/>
                <a:ext cx="50241" cy="100309"/>
              </a:xfrm>
              <a:custGeom>
                <a:avLst/>
                <a:gdLst>
                  <a:gd name="connsiteX0" fmla="*/ 0 w 50241"/>
                  <a:gd name="connsiteY0" fmla="*/ 97023 h 100309"/>
                  <a:gd name="connsiteX1" fmla="*/ 16203 w 50241"/>
                  <a:gd name="connsiteY1" fmla="*/ 0 h 100309"/>
                  <a:gd name="connsiteX2" fmla="*/ 35099 w 50241"/>
                  <a:gd name="connsiteY2" fmla="*/ 3133 h 100309"/>
                  <a:gd name="connsiteX3" fmla="*/ 49784 w 50241"/>
                  <a:gd name="connsiteY3" fmla="*/ 31476 h 100309"/>
                  <a:gd name="connsiteX4" fmla="*/ 42001 w 50241"/>
                  <a:gd name="connsiteY4" fmla="*/ 78078 h 100309"/>
                  <a:gd name="connsiteX5" fmla="*/ 18895 w 50241"/>
                  <a:gd name="connsiteY5" fmla="*/ 100107 h 100309"/>
                  <a:gd name="connsiteX6" fmla="*/ 0 w 50241"/>
                  <a:gd name="connsiteY6" fmla="*/ 96974 h 1003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50241" h="100309">
                    <a:moveTo>
                      <a:pt x="0" y="97023"/>
                    </a:moveTo>
                    <a:lnTo>
                      <a:pt x="16203" y="0"/>
                    </a:lnTo>
                    <a:lnTo>
                      <a:pt x="35099" y="3133"/>
                    </a:lnTo>
                    <a:cubicBezTo>
                      <a:pt x="45476" y="4846"/>
                      <a:pt x="52085" y="17623"/>
                      <a:pt x="49784" y="31476"/>
                    </a:cubicBezTo>
                    <a:lnTo>
                      <a:pt x="42001" y="78078"/>
                    </a:lnTo>
                    <a:cubicBezTo>
                      <a:pt x="39700" y="91932"/>
                      <a:pt x="29273" y="101869"/>
                      <a:pt x="18895" y="100107"/>
                    </a:cubicBezTo>
                    <a:lnTo>
                      <a:pt x="0" y="96974"/>
                    </a:ln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862" name="Forma livre: Forma 1861">
                <a:extLst>
                  <a:ext uri="{FF2B5EF4-FFF2-40B4-BE49-F238E27FC236}">
                    <a16:creationId xmlns:a16="http://schemas.microsoft.com/office/drawing/2014/main" id="{341AFAC0-D995-754E-9CC5-56A600AA9EEC}"/>
                  </a:ext>
                </a:extLst>
              </p:cNvPr>
              <p:cNvSpPr/>
              <p:nvPr/>
            </p:nvSpPr>
            <p:spPr>
              <a:xfrm>
                <a:off x="3544950" y="5984082"/>
                <a:ext cx="36422" cy="65255"/>
              </a:xfrm>
              <a:custGeom>
                <a:avLst/>
                <a:gdLst>
                  <a:gd name="connsiteX0" fmla="*/ 10574 w 36422"/>
                  <a:gd name="connsiteY0" fmla="*/ 0 h 65255"/>
                  <a:gd name="connsiteX1" fmla="*/ 15077 w 36422"/>
                  <a:gd name="connsiteY1" fmla="*/ 636 h 65255"/>
                  <a:gd name="connsiteX2" fmla="*/ 36078 w 36422"/>
                  <a:gd name="connsiteY2" fmla="*/ 30057 h 65255"/>
                  <a:gd name="connsiteX3" fmla="*/ 33777 w 36422"/>
                  <a:gd name="connsiteY3" fmla="*/ 43910 h 65255"/>
                  <a:gd name="connsiteX4" fmla="*/ 4357 w 36422"/>
                  <a:gd name="connsiteY4" fmla="*/ 64910 h 65255"/>
                  <a:gd name="connsiteX5" fmla="*/ 0 w 36422"/>
                  <a:gd name="connsiteY5" fmla="*/ 63980 h 652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36422" h="65255">
                    <a:moveTo>
                      <a:pt x="10574" y="0"/>
                    </a:moveTo>
                    <a:lnTo>
                      <a:pt x="15077" y="636"/>
                    </a:lnTo>
                    <a:cubicBezTo>
                      <a:pt x="28931" y="2937"/>
                      <a:pt x="38378" y="16203"/>
                      <a:pt x="36078" y="30057"/>
                    </a:cubicBezTo>
                    <a:lnTo>
                      <a:pt x="33777" y="43910"/>
                    </a:lnTo>
                    <a:cubicBezTo>
                      <a:pt x="31476" y="57763"/>
                      <a:pt x="18210" y="67211"/>
                      <a:pt x="4357" y="64910"/>
                    </a:cubicBezTo>
                    <a:lnTo>
                      <a:pt x="0" y="6398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863" name="Forma livre: Forma 1862">
              <a:extLst>
                <a:ext uri="{FF2B5EF4-FFF2-40B4-BE49-F238E27FC236}">
                  <a16:creationId xmlns:a16="http://schemas.microsoft.com/office/drawing/2014/main" id="{B0F16CDD-9A70-94F3-E101-3A8A1A65A6C4}"/>
                </a:ext>
              </a:extLst>
            </p:cNvPr>
            <p:cNvSpPr/>
            <p:nvPr/>
          </p:nvSpPr>
          <p:spPr>
            <a:xfrm>
              <a:off x="3341358" y="5836785"/>
              <a:ext cx="168982" cy="27295"/>
            </a:xfrm>
            <a:custGeom>
              <a:avLst/>
              <a:gdLst>
                <a:gd name="connsiteX0" fmla="*/ 0 w 168982"/>
                <a:gd name="connsiteY0" fmla="*/ 0 h 27295"/>
                <a:gd name="connsiteX1" fmla="*/ 930 w 168982"/>
                <a:gd name="connsiteY1" fmla="*/ 5630 h 27295"/>
                <a:gd name="connsiteX2" fmla="*/ 36812 w 168982"/>
                <a:gd name="connsiteY2" fmla="*/ 22714 h 27295"/>
                <a:gd name="connsiteX3" fmla="*/ 48511 w 168982"/>
                <a:gd name="connsiteY3" fmla="*/ 17182 h 27295"/>
                <a:gd name="connsiteX4" fmla="*/ 48952 w 168982"/>
                <a:gd name="connsiteY4" fmla="*/ 16986 h 27295"/>
                <a:gd name="connsiteX5" fmla="*/ 84344 w 168982"/>
                <a:gd name="connsiteY5" fmla="*/ 11602 h 27295"/>
                <a:gd name="connsiteX6" fmla="*/ 84687 w 168982"/>
                <a:gd name="connsiteY6" fmla="*/ 11602 h 27295"/>
                <a:gd name="connsiteX7" fmla="*/ 120079 w 168982"/>
                <a:gd name="connsiteY7" fmla="*/ 16986 h 27295"/>
                <a:gd name="connsiteX8" fmla="*/ 120520 w 168982"/>
                <a:gd name="connsiteY8" fmla="*/ 17182 h 27295"/>
                <a:gd name="connsiteX9" fmla="*/ 132219 w 168982"/>
                <a:gd name="connsiteY9" fmla="*/ 22714 h 27295"/>
                <a:gd name="connsiteX10" fmla="*/ 168101 w 168982"/>
                <a:gd name="connsiteY10" fmla="*/ 5630 h 27295"/>
                <a:gd name="connsiteX11" fmla="*/ 168982 w 168982"/>
                <a:gd name="connsiteY11" fmla="*/ 294 h 272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68982" h="27295">
                  <a:moveTo>
                    <a:pt x="0" y="0"/>
                  </a:moveTo>
                  <a:lnTo>
                    <a:pt x="930" y="5630"/>
                  </a:lnTo>
                  <a:cubicBezTo>
                    <a:pt x="6119" y="32553"/>
                    <a:pt x="25945" y="29224"/>
                    <a:pt x="36812" y="22714"/>
                  </a:cubicBezTo>
                  <a:cubicBezTo>
                    <a:pt x="42392" y="19336"/>
                    <a:pt x="48511" y="17182"/>
                    <a:pt x="48511" y="17182"/>
                  </a:cubicBezTo>
                  <a:lnTo>
                    <a:pt x="48952" y="16986"/>
                  </a:lnTo>
                  <a:cubicBezTo>
                    <a:pt x="59330" y="13511"/>
                    <a:pt x="70882" y="11602"/>
                    <a:pt x="84344" y="11602"/>
                  </a:cubicBezTo>
                  <a:lnTo>
                    <a:pt x="84687" y="11602"/>
                  </a:lnTo>
                  <a:cubicBezTo>
                    <a:pt x="98149" y="11602"/>
                    <a:pt x="109701" y="13511"/>
                    <a:pt x="120079" y="16986"/>
                  </a:cubicBezTo>
                  <a:lnTo>
                    <a:pt x="120520" y="17182"/>
                  </a:lnTo>
                  <a:cubicBezTo>
                    <a:pt x="120520" y="17182"/>
                    <a:pt x="126639" y="19336"/>
                    <a:pt x="132219" y="22714"/>
                  </a:cubicBezTo>
                  <a:cubicBezTo>
                    <a:pt x="143087" y="29273"/>
                    <a:pt x="162912" y="32553"/>
                    <a:pt x="168101" y="5630"/>
                  </a:cubicBezTo>
                  <a:lnTo>
                    <a:pt x="168982" y="294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64" name="Forma livre: Forma 1863">
              <a:extLst>
                <a:ext uri="{FF2B5EF4-FFF2-40B4-BE49-F238E27FC236}">
                  <a16:creationId xmlns:a16="http://schemas.microsoft.com/office/drawing/2014/main" id="{45C48DDD-6145-1CF2-EED4-A7FDDE16B45B}"/>
                </a:ext>
              </a:extLst>
            </p:cNvPr>
            <p:cNvSpPr/>
            <p:nvPr/>
          </p:nvSpPr>
          <p:spPr>
            <a:xfrm>
              <a:off x="3302380" y="5812260"/>
              <a:ext cx="246990" cy="132757"/>
            </a:xfrm>
            <a:custGeom>
              <a:avLst/>
              <a:gdLst>
                <a:gd name="connsiteX0" fmla="*/ 245801 w 246990"/>
                <a:gd name="connsiteY0" fmla="*/ 132758 h 132757"/>
                <a:gd name="connsiteX1" fmla="*/ 124547 w 246990"/>
                <a:gd name="connsiteY1" fmla="*/ 0 h 132757"/>
                <a:gd name="connsiteX2" fmla="*/ 122442 w 246990"/>
                <a:gd name="connsiteY2" fmla="*/ 0 h 132757"/>
                <a:gd name="connsiteX3" fmla="*/ 1188 w 246990"/>
                <a:gd name="connsiteY3" fmla="*/ 132758 h 1327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6990" h="132757">
                  <a:moveTo>
                    <a:pt x="245801" y="132758"/>
                  </a:moveTo>
                  <a:cubicBezTo>
                    <a:pt x="253976" y="61826"/>
                    <a:pt x="220689" y="0"/>
                    <a:pt x="124547" y="0"/>
                  </a:cubicBezTo>
                  <a:lnTo>
                    <a:pt x="122442" y="0"/>
                  </a:lnTo>
                  <a:cubicBezTo>
                    <a:pt x="26349" y="0"/>
                    <a:pt x="-6987" y="61826"/>
                    <a:pt x="1188" y="132758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65" name="Forma livre: Forma 1864">
              <a:extLst>
                <a:ext uri="{FF2B5EF4-FFF2-40B4-BE49-F238E27FC236}">
                  <a16:creationId xmlns:a16="http://schemas.microsoft.com/office/drawing/2014/main" id="{FEF6967B-E55C-4EA4-F573-C072BB6F9BFE}"/>
                </a:ext>
              </a:extLst>
            </p:cNvPr>
            <p:cNvSpPr/>
            <p:nvPr/>
          </p:nvSpPr>
          <p:spPr>
            <a:xfrm>
              <a:off x="3298397" y="5960291"/>
              <a:ext cx="52996" cy="100496"/>
            </a:xfrm>
            <a:custGeom>
              <a:avLst/>
              <a:gdLst>
                <a:gd name="connsiteX0" fmla="*/ 52996 w 52996"/>
                <a:gd name="connsiteY0" fmla="*/ 96337 h 100496"/>
                <a:gd name="connsiteX1" fmla="*/ 33024 w 52996"/>
                <a:gd name="connsiteY1" fmla="*/ 0 h 100496"/>
                <a:gd name="connsiteX2" fmla="*/ 14275 w 52996"/>
                <a:gd name="connsiteY2" fmla="*/ 3867 h 100496"/>
                <a:gd name="connsiteX3" fmla="*/ 716 w 52996"/>
                <a:gd name="connsiteY3" fmla="*/ 32749 h 100496"/>
                <a:gd name="connsiteX4" fmla="*/ 10310 w 52996"/>
                <a:gd name="connsiteY4" fmla="*/ 79057 h 100496"/>
                <a:gd name="connsiteX5" fmla="*/ 34248 w 52996"/>
                <a:gd name="connsiteY5" fmla="*/ 100205 h 100496"/>
                <a:gd name="connsiteX6" fmla="*/ 52996 w 52996"/>
                <a:gd name="connsiteY6" fmla="*/ 96289 h 1004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2996" h="100496">
                  <a:moveTo>
                    <a:pt x="52996" y="96337"/>
                  </a:moveTo>
                  <a:lnTo>
                    <a:pt x="33024" y="0"/>
                  </a:lnTo>
                  <a:lnTo>
                    <a:pt x="14275" y="3867"/>
                  </a:lnTo>
                  <a:cubicBezTo>
                    <a:pt x="3947" y="6021"/>
                    <a:pt x="-2172" y="18993"/>
                    <a:pt x="716" y="32749"/>
                  </a:cubicBezTo>
                  <a:lnTo>
                    <a:pt x="10310" y="79057"/>
                  </a:lnTo>
                  <a:cubicBezTo>
                    <a:pt x="13150" y="92813"/>
                    <a:pt x="23968" y="102310"/>
                    <a:pt x="34248" y="100205"/>
                  </a:cubicBezTo>
                  <a:lnTo>
                    <a:pt x="52996" y="96289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66" name="Forma livre: Forma 1865">
              <a:extLst>
                <a:ext uri="{FF2B5EF4-FFF2-40B4-BE49-F238E27FC236}">
                  <a16:creationId xmlns:a16="http://schemas.microsoft.com/office/drawing/2014/main" id="{0AC1DFA6-74D0-07FF-D6A7-118EA5BCE8E6}"/>
                </a:ext>
              </a:extLst>
            </p:cNvPr>
            <p:cNvSpPr/>
            <p:nvPr/>
          </p:nvSpPr>
          <p:spPr>
            <a:xfrm>
              <a:off x="3414484" y="6101958"/>
              <a:ext cx="30854" cy="20755"/>
            </a:xfrm>
            <a:custGeom>
              <a:avLst/>
              <a:gdLst>
                <a:gd name="connsiteX0" fmla="*/ 17778 w 30854"/>
                <a:gd name="connsiteY0" fmla="*/ 20756 h 20755"/>
                <a:gd name="connsiteX1" fmla="*/ 13910 w 30854"/>
                <a:gd name="connsiteY1" fmla="*/ 20413 h 20755"/>
                <a:gd name="connsiteX2" fmla="*/ 2456 w 30854"/>
                <a:gd name="connsiteY2" fmla="*/ 14098 h 20755"/>
                <a:gd name="connsiteX3" fmla="*/ 57 w 30854"/>
                <a:gd name="connsiteY3" fmla="*/ 7587 h 20755"/>
                <a:gd name="connsiteX4" fmla="*/ 13078 w 30854"/>
                <a:gd name="connsiteY4" fmla="*/ 0 h 20755"/>
                <a:gd name="connsiteX5" fmla="*/ 16945 w 30854"/>
                <a:gd name="connsiteY5" fmla="*/ 343 h 20755"/>
                <a:gd name="connsiteX6" fmla="*/ 30799 w 30854"/>
                <a:gd name="connsiteY6" fmla="*/ 13168 h 20755"/>
                <a:gd name="connsiteX7" fmla="*/ 17778 w 30854"/>
                <a:gd name="connsiteY7" fmla="*/ 20756 h 207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0854" h="20755">
                  <a:moveTo>
                    <a:pt x="17778" y="20756"/>
                  </a:moveTo>
                  <a:cubicBezTo>
                    <a:pt x="16505" y="20756"/>
                    <a:pt x="15183" y="20658"/>
                    <a:pt x="13910" y="20413"/>
                  </a:cubicBezTo>
                  <a:cubicBezTo>
                    <a:pt x="9260" y="19581"/>
                    <a:pt x="5099" y="17280"/>
                    <a:pt x="2456" y="14098"/>
                  </a:cubicBezTo>
                  <a:cubicBezTo>
                    <a:pt x="1379" y="12825"/>
                    <a:pt x="-335" y="10280"/>
                    <a:pt x="57" y="7587"/>
                  </a:cubicBezTo>
                  <a:cubicBezTo>
                    <a:pt x="644" y="3867"/>
                    <a:pt x="5638" y="0"/>
                    <a:pt x="13078" y="0"/>
                  </a:cubicBezTo>
                  <a:cubicBezTo>
                    <a:pt x="14351" y="0"/>
                    <a:pt x="15673" y="98"/>
                    <a:pt x="16945" y="343"/>
                  </a:cubicBezTo>
                  <a:cubicBezTo>
                    <a:pt x="25757" y="1958"/>
                    <a:pt x="31484" y="8469"/>
                    <a:pt x="30799" y="13168"/>
                  </a:cubicBezTo>
                  <a:cubicBezTo>
                    <a:pt x="30212" y="16888"/>
                    <a:pt x="25218" y="20756"/>
                    <a:pt x="17778" y="20756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867" name="Gráfico 18">
            <a:extLst>
              <a:ext uri="{FF2B5EF4-FFF2-40B4-BE49-F238E27FC236}">
                <a16:creationId xmlns:a16="http://schemas.microsoft.com/office/drawing/2014/main" id="{E4D24D78-E24D-22FC-A085-FA0C3066FA38}"/>
              </a:ext>
            </a:extLst>
          </p:cNvPr>
          <p:cNvGrpSpPr/>
          <p:nvPr/>
        </p:nvGrpSpPr>
        <p:grpSpPr>
          <a:xfrm>
            <a:off x="2639044" y="5823519"/>
            <a:ext cx="326999" cy="287935"/>
            <a:chOff x="2639044" y="5823519"/>
            <a:chExt cx="326999" cy="287935"/>
          </a:xfrm>
        </p:grpSpPr>
        <p:grpSp>
          <p:nvGrpSpPr>
            <p:cNvPr id="1868" name="Gráfico 18">
              <a:extLst>
                <a:ext uri="{FF2B5EF4-FFF2-40B4-BE49-F238E27FC236}">
                  <a16:creationId xmlns:a16="http://schemas.microsoft.com/office/drawing/2014/main" id="{77EF73E0-58DC-CE36-88CB-2B144258532B}"/>
                </a:ext>
              </a:extLst>
            </p:cNvPr>
            <p:cNvGrpSpPr/>
            <p:nvPr/>
          </p:nvGrpSpPr>
          <p:grpSpPr>
            <a:xfrm>
              <a:off x="2645017" y="5823519"/>
              <a:ext cx="144995" cy="94183"/>
              <a:chOff x="2645017" y="5823519"/>
              <a:chExt cx="144995" cy="94183"/>
            </a:xfrm>
            <a:noFill/>
          </p:grpSpPr>
          <p:sp>
            <p:nvSpPr>
              <p:cNvPr id="1869" name="Forma livre: Forma 1868">
                <a:extLst>
                  <a:ext uri="{FF2B5EF4-FFF2-40B4-BE49-F238E27FC236}">
                    <a16:creationId xmlns:a16="http://schemas.microsoft.com/office/drawing/2014/main" id="{85E6AE9E-283C-76CA-DC31-2B71BD613A7F}"/>
                  </a:ext>
                </a:extLst>
              </p:cNvPr>
              <p:cNvSpPr/>
              <p:nvPr/>
            </p:nvSpPr>
            <p:spPr>
              <a:xfrm>
                <a:off x="2748109" y="5841093"/>
                <a:ext cx="11356" cy="58987"/>
              </a:xfrm>
              <a:custGeom>
                <a:avLst/>
                <a:gdLst>
                  <a:gd name="connsiteX0" fmla="*/ 0 w 11356"/>
                  <a:gd name="connsiteY0" fmla="*/ 0 h 58987"/>
                  <a:gd name="connsiteX1" fmla="*/ 11357 w 11356"/>
                  <a:gd name="connsiteY1" fmla="*/ 29518 h 58987"/>
                  <a:gd name="connsiteX2" fmla="*/ 0 w 11356"/>
                  <a:gd name="connsiteY2" fmla="*/ 58987 h 589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1356" h="58987">
                    <a:moveTo>
                      <a:pt x="0" y="0"/>
                    </a:moveTo>
                    <a:cubicBezTo>
                      <a:pt x="7049" y="7832"/>
                      <a:pt x="11357" y="18161"/>
                      <a:pt x="11357" y="29518"/>
                    </a:cubicBezTo>
                    <a:cubicBezTo>
                      <a:pt x="11357" y="40875"/>
                      <a:pt x="7049" y="51155"/>
                      <a:pt x="0" y="58987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870" name="Forma livre: Forma 1869">
                <a:extLst>
                  <a:ext uri="{FF2B5EF4-FFF2-40B4-BE49-F238E27FC236}">
                    <a16:creationId xmlns:a16="http://schemas.microsoft.com/office/drawing/2014/main" id="{1CD5F039-630B-7141-D33E-060683D7B459}"/>
                  </a:ext>
                </a:extLst>
              </p:cNvPr>
              <p:cNvSpPr/>
              <p:nvPr/>
            </p:nvSpPr>
            <p:spPr>
              <a:xfrm>
                <a:off x="2772634" y="5823519"/>
                <a:ext cx="17377" cy="94183"/>
              </a:xfrm>
              <a:custGeom>
                <a:avLst/>
                <a:gdLst>
                  <a:gd name="connsiteX0" fmla="*/ 0 w 17377"/>
                  <a:gd name="connsiteY0" fmla="*/ 0 h 94183"/>
                  <a:gd name="connsiteX1" fmla="*/ 17378 w 17377"/>
                  <a:gd name="connsiteY1" fmla="*/ 47092 h 94183"/>
                  <a:gd name="connsiteX2" fmla="*/ 0 w 17377"/>
                  <a:gd name="connsiteY2" fmla="*/ 94184 h 941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7377" h="94183">
                    <a:moveTo>
                      <a:pt x="0" y="0"/>
                    </a:moveTo>
                    <a:cubicBezTo>
                      <a:pt x="10818" y="12679"/>
                      <a:pt x="17378" y="29126"/>
                      <a:pt x="17378" y="47092"/>
                    </a:cubicBezTo>
                    <a:cubicBezTo>
                      <a:pt x="17378" y="65057"/>
                      <a:pt x="10818" y="81456"/>
                      <a:pt x="0" y="94184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871" name="Forma livre: Forma 1870">
                <a:extLst>
                  <a:ext uri="{FF2B5EF4-FFF2-40B4-BE49-F238E27FC236}">
                    <a16:creationId xmlns:a16="http://schemas.microsoft.com/office/drawing/2014/main" id="{7F56830C-A2B1-7F0D-045A-61829E4F9CD2}"/>
                  </a:ext>
                </a:extLst>
              </p:cNvPr>
              <p:cNvSpPr/>
              <p:nvPr/>
            </p:nvSpPr>
            <p:spPr>
              <a:xfrm>
                <a:off x="2675563" y="5841142"/>
                <a:ext cx="11356" cy="58987"/>
              </a:xfrm>
              <a:custGeom>
                <a:avLst/>
                <a:gdLst>
                  <a:gd name="connsiteX0" fmla="*/ 11357 w 11356"/>
                  <a:gd name="connsiteY0" fmla="*/ 58987 h 58987"/>
                  <a:gd name="connsiteX1" fmla="*/ 0 w 11356"/>
                  <a:gd name="connsiteY1" fmla="*/ 29469 h 58987"/>
                  <a:gd name="connsiteX2" fmla="*/ 11357 w 11356"/>
                  <a:gd name="connsiteY2" fmla="*/ 0 h 589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1356" h="58987">
                    <a:moveTo>
                      <a:pt x="11357" y="58987"/>
                    </a:moveTo>
                    <a:cubicBezTo>
                      <a:pt x="4308" y="51155"/>
                      <a:pt x="0" y="40826"/>
                      <a:pt x="0" y="29469"/>
                    </a:cubicBezTo>
                    <a:cubicBezTo>
                      <a:pt x="0" y="18112"/>
                      <a:pt x="4308" y="7832"/>
                      <a:pt x="11357" y="0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872" name="Forma livre: Forma 1871">
                <a:extLst>
                  <a:ext uri="{FF2B5EF4-FFF2-40B4-BE49-F238E27FC236}">
                    <a16:creationId xmlns:a16="http://schemas.microsoft.com/office/drawing/2014/main" id="{72424159-9FF8-7689-AE74-7CB2B75D5B77}"/>
                  </a:ext>
                </a:extLst>
              </p:cNvPr>
              <p:cNvSpPr/>
              <p:nvPr/>
            </p:nvSpPr>
            <p:spPr>
              <a:xfrm>
                <a:off x="2645017" y="5823519"/>
                <a:ext cx="17377" cy="94183"/>
              </a:xfrm>
              <a:custGeom>
                <a:avLst/>
                <a:gdLst>
                  <a:gd name="connsiteX0" fmla="*/ 17378 w 17377"/>
                  <a:gd name="connsiteY0" fmla="*/ 94184 h 94183"/>
                  <a:gd name="connsiteX1" fmla="*/ 0 w 17377"/>
                  <a:gd name="connsiteY1" fmla="*/ 47092 h 94183"/>
                  <a:gd name="connsiteX2" fmla="*/ 17378 w 17377"/>
                  <a:gd name="connsiteY2" fmla="*/ 0 h 941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7377" h="94183">
                    <a:moveTo>
                      <a:pt x="17378" y="94184"/>
                    </a:moveTo>
                    <a:cubicBezTo>
                      <a:pt x="6560" y="81505"/>
                      <a:pt x="0" y="65057"/>
                      <a:pt x="0" y="47092"/>
                    </a:cubicBezTo>
                    <a:cubicBezTo>
                      <a:pt x="0" y="29126"/>
                      <a:pt x="6560" y="12728"/>
                      <a:pt x="17378" y="0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873" name="Forma livre: Forma 1872">
              <a:extLst>
                <a:ext uri="{FF2B5EF4-FFF2-40B4-BE49-F238E27FC236}">
                  <a16:creationId xmlns:a16="http://schemas.microsoft.com/office/drawing/2014/main" id="{73C848AD-85A3-8649-BA54-FA81DFA787D3}"/>
                </a:ext>
              </a:extLst>
            </p:cNvPr>
            <p:cNvSpPr/>
            <p:nvPr/>
          </p:nvSpPr>
          <p:spPr>
            <a:xfrm>
              <a:off x="2639044" y="5976298"/>
              <a:ext cx="326999" cy="105050"/>
            </a:xfrm>
            <a:custGeom>
              <a:avLst/>
              <a:gdLst>
                <a:gd name="connsiteX0" fmla="*/ 302523 w 326999"/>
                <a:gd name="connsiteY0" fmla="*/ 0 h 105050"/>
                <a:gd name="connsiteX1" fmla="*/ 326999 w 326999"/>
                <a:gd name="connsiteY1" fmla="*/ 24476 h 105050"/>
                <a:gd name="connsiteX2" fmla="*/ 326999 w 326999"/>
                <a:gd name="connsiteY2" fmla="*/ 80575 h 105050"/>
                <a:gd name="connsiteX3" fmla="*/ 302523 w 326999"/>
                <a:gd name="connsiteY3" fmla="*/ 105051 h 105050"/>
                <a:gd name="connsiteX4" fmla="*/ 24476 w 326999"/>
                <a:gd name="connsiteY4" fmla="*/ 105051 h 105050"/>
                <a:gd name="connsiteX5" fmla="*/ 0 w 326999"/>
                <a:gd name="connsiteY5" fmla="*/ 80575 h 105050"/>
                <a:gd name="connsiteX6" fmla="*/ 0 w 326999"/>
                <a:gd name="connsiteY6" fmla="*/ 24476 h 105050"/>
                <a:gd name="connsiteX7" fmla="*/ 24476 w 326999"/>
                <a:gd name="connsiteY7" fmla="*/ 0 h 105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26999" h="105050">
                  <a:moveTo>
                    <a:pt x="302523" y="0"/>
                  </a:moveTo>
                  <a:cubicBezTo>
                    <a:pt x="316041" y="0"/>
                    <a:pt x="326999" y="10958"/>
                    <a:pt x="326999" y="24476"/>
                  </a:cubicBezTo>
                  <a:lnTo>
                    <a:pt x="326999" y="80575"/>
                  </a:lnTo>
                  <a:cubicBezTo>
                    <a:pt x="326999" y="94093"/>
                    <a:pt x="316041" y="105051"/>
                    <a:pt x="302523" y="105051"/>
                  </a:cubicBezTo>
                  <a:lnTo>
                    <a:pt x="24476" y="105051"/>
                  </a:lnTo>
                  <a:cubicBezTo>
                    <a:pt x="10958" y="105051"/>
                    <a:pt x="0" y="94093"/>
                    <a:pt x="0" y="80575"/>
                  </a:cubicBezTo>
                  <a:lnTo>
                    <a:pt x="0" y="24476"/>
                  </a:lnTo>
                  <a:cubicBezTo>
                    <a:pt x="0" y="10958"/>
                    <a:pt x="10958" y="0"/>
                    <a:pt x="24476" y="0"/>
                  </a:cubicBez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74" name="Forma livre: Forma 1873">
              <a:extLst>
                <a:ext uri="{FF2B5EF4-FFF2-40B4-BE49-F238E27FC236}">
                  <a16:creationId xmlns:a16="http://schemas.microsoft.com/office/drawing/2014/main" id="{E317983E-590D-F970-5570-F97E57E492BE}"/>
                </a:ext>
              </a:extLst>
            </p:cNvPr>
            <p:cNvSpPr/>
            <p:nvPr/>
          </p:nvSpPr>
          <p:spPr>
            <a:xfrm>
              <a:off x="2717514" y="5873401"/>
              <a:ext cx="4895" cy="102799"/>
            </a:xfrm>
            <a:custGeom>
              <a:avLst/>
              <a:gdLst>
                <a:gd name="connsiteX0" fmla="*/ 0 w 4895"/>
                <a:gd name="connsiteY0" fmla="*/ 102799 h 102799"/>
                <a:gd name="connsiteX1" fmla="*/ 0 w 4895"/>
                <a:gd name="connsiteY1" fmla="*/ 0 h 1027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895" h="102799">
                  <a:moveTo>
                    <a:pt x="0" y="102799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875" name="Gráfico 18">
              <a:extLst>
                <a:ext uri="{FF2B5EF4-FFF2-40B4-BE49-F238E27FC236}">
                  <a16:creationId xmlns:a16="http://schemas.microsoft.com/office/drawing/2014/main" id="{17C71C7C-C4EF-E07A-275B-A6AEB9F5F665}"/>
                </a:ext>
              </a:extLst>
            </p:cNvPr>
            <p:cNvGrpSpPr/>
            <p:nvPr/>
          </p:nvGrpSpPr>
          <p:grpSpPr>
            <a:xfrm>
              <a:off x="2664891" y="6111455"/>
              <a:ext cx="275305" cy="4895"/>
              <a:chOff x="2664891" y="6111455"/>
              <a:chExt cx="275305" cy="4895"/>
            </a:xfrm>
          </p:grpSpPr>
          <p:sp>
            <p:nvSpPr>
              <p:cNvPr id="1876" name="Forma livre: Forma 1875">
                <a:extLst>
                  <a:ext uri="{FF2B5EF4-FFF2-40B4-BE49-F238E27FC236}">
                    <a16:creationId xmlns:a16="http://schemas.microsoft.com/office/drawing/2014/main" id="{ABAA0DBF-548F-DD0F-B925-D189DE097173}"/>
                  </a:ext>
                </a:extLst>
              </p:cNvPr>
              <p:cNvSpPr/>
              <p:nvPr/>
            </p:nvSpPr>
            <p:spPr>
              <a:xfrm>
                <a:off x="2664891" y="6111455"/>
                <a:ext cx="50371" cy="4895"/>
              </a:xfrm>
              <a:custGeom>
                <a:avLst/>
                <a:gdLst>
                  <a:gd name="connsiteX0" fmla="*/ 0 w 50371"/>
                  <a:gd name="connsiteY0" fmla="*/ 0 h 4895"/>
                  <a:gd name="connsiteX1" fmla="*/ 50372 w 50371"/>
                  <a:gd name="connsiteY1" fmla="*/ 0 h 48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0371" h="4895">
                    <a:moveTo>
                      <a:pt x="0" y="0"/>
                    </a:moveTo>
                    <a:lnTo>
                      <a:pt x="50372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877" name="Forma livre: Forma 1876">
                <a:extLst>
                  <a:ext uri="{FF2B5EF4-FFF2-40B4-BE49-F238E27FC236}">
                    <a16:creationId xmlns:a16="http://schemas.microsoft.com/office/drawing/2014/main" id="{242295E8-505C-1CF5-7083-8423206BAFCA}"/>
                  </a:ext>
                </a:extLst>
              </p:cNvPr>
              <p:cNvSpPr/>
              <p:nvPr/>
            </p:nvSpPr>
            <p:spPr>
              <a:xfrm>
                <a:off x="2889776" y="6111455"/>
                <a:ext cx="50420" cy="4895"/>
              </a:xfrm>
              <a:custGeom>
                <a:avLst/>
                <a:gdLst>
                  <a:gd name="connsiteX0" fmla="*/ 0 w 50420"/>
                  <a:gd name="connsiteY0" fmla="*/ 0 h 4895"/>
                  <a:gd name="connsiteX1" fmla="*/ 50421 w 50420"/>
                  <a:gd name="connsiteY1" fmla="*/ 0 h 48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0420" h="4895">
                    <a:moveTo>
                      <a:pt x="0" y="0"/>
                    </a:moveTo>
                    <a:lnTo>
                      <a:pt x="50421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878" name="Forma livre: Forma 1877">
              <a:extLst>
                <a:ext uri="{FF2B5EF4-FFF2-40B4-BE49-F238E27FC236}">
                  <a16:creationId xmlns:a16="http://schemas.microsoft.com/office/drawing/2014/main" id="{3D4332D3-6AD2-3C86-C8A1-A5F4B1B639E9}"/>
                </a:ext>
              </a:extLst>
            </p:cNvPr>
            <p:cNvSpPr/>
            <p:nvPr/>
          </p:nvSpPr>
          <p:spPr>
            <a:xfrm>
              <a:off x="2920714" y="6025054"/>
              <a:ext cx="7636" cy="7636"/>
            </a:xfrm>
            <a:custGeom>
              <a:avLst/>
              <a:gdLst>
                <a:gd name="connsiteX0" fmla="*/ 7636 w 7636"/>
                <a:gd name="connsiteY0" fmla="*/ 3818 h 7636"/>
                <a:gd name="connsiteX1" fmla="*/ 3818 w 7636"/>
                <a:gd name="connsiteY1" fmla="*/ 7636 h 7636"/>
                <a:gd name="connsiteX2" fmla="*/ 0 w 7636"/>
                <a:gd name="connsiteY2" fmla="*/ 3818 h 7636"/>
                <a:gd name="connsiteX3" fmla="*/ 3818 w 7636"/>
                <a:gd name="connsiteY3" fmla="*/ 0 h 7636"/>
                <a:gd name="connsiteX4" fmla="*/ 7636 w 7636"/>
                <a:gd name="connsiteY4" fmla="*/ 3818 h 76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36" h="7636">
                  <a:moveTo>
                    <a:pt x="7636" y="3818"/>
                  </a:moveTo>
                  <a:cubicBezTo>
                    <a:pt x="7636" y="5923"/>
                    <a:pt x="5923" y="7636"/>
                    <a:pt x="3818" y="7636"/>
                  </a:cubicBezTo>
                  <a:cubicBezTo>
                    <a:pt x="1713" y="7636"/>
                    <a:pt x="0" y="5923"/>
                    <a:pt x="0" y="3818"/>
                  </a:cubicBezTo>
                  <a:cubicBezTo>
                    <a:pt x="0" y="1713"/>
                    <a:pt x="1713" y="0"/>
                    <a:pt x="3818" y="0"/>
                  </a:cubicBezTo>
                  <a:cubicBezTo>
                    <a:pt x="5923" y="0"/>
                    <a:pt x="7636" y="1713"/>
                    <a:pt x="7636" y="3818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79" name="Forma livre: Forma 1878">
              <a:extLst>
                <a:ext uri="{FF2B5EF4-FFF2-40B4-BE49-F238E27FC236}">
                  <a16:creationId xmlns:a16="http://schemas.microsoft.com/office/drawing/2014/main" id="{5282178A-3141-CFF5-D615-E22EF2F63C60}"/>
                </a:ext>
              </a:extLst>
            </p:cNvPr>
            <p:cNvSpPr/>
            <p:nvPr/>
          </p:nvSpPr>
          <p:spPr>
            <a:xfrm>
              <a:off x="2827607" y="6025054"/>
              <a:ext cx="7636" cy="7636"/>
            </a:xfrm>
            <a:custGeom>
              <a:avLst/>
              <a:gdLst>
                <a:gd name="connsiteX0" fmla="*/ 7637 w 7636"/>
                <a:gd name="connsiteY0" fmla="*/ 3818 h 7636"/>
                <a:gd name="connsiteX1" fmla="*/ 3818 w 7636"/>
                <a:gd name="connsiteY1" fmla="*/ 7636 h 7636"/>
                <a:gd name="connsiteX2" fmla="*/ 0 w 7636"/>
                <a:gd name="connsiteY2" fmla="*/ 3818 h 7636"/>
                <a:gd name="connsiteX3" fmla="*/ 3818 w 7636"/>
                <a:gd name="connsiteY3" fmla="*/ 0 h 7636"/>
                <a:gd name="connsiteX4" fmla="*/ 7637 w 7636"/>
                <a:gd name="connsiteY4" fmla="*/ 3818 h 76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36" h="7636">
                  <a:moveTo>
                    <a:pt x="7637" y="3818"/>
                  </a:moveTo>
                  <a:cubicBezTo>
                    <a:pt x="7637" y="5923"/>
                    <a:pt x="5923" y="7636"/>
                    <a:pt x="3818" y="7636"/>
                  </a:cubicBezTo>
                  <a:cubicBezTo>
                    <a:pt x="1713" y="7636"/>
                    <a:pt x="0" y="5923"/>
                    <a:pt x="0" y="3818"/>
                  </a:cubicBezTo>
                  <a:cubicBezTo>
                    <a:pt x="0" y="1713"/>
                    <a:pt x="1713" y="0"/>
                    <a:pt x="3818" y="0"/>
                  </a:cubicBezTo>
                  <a:cubicBezTo>
                    <a:pt x="5923" y="0"/>
                    <a:pt x="7637" y="1713"/>
                    <a:pt x="7637" y="3818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80" name="Forma livre: Forma 1879">
              <a:extLst>
                <a:ext uri="{FF2B5EF4-FFF2-40B4-BE49-F238E27FC236}">
                  <a16:creationId xmlns:a16="http://schemas.microsoft.com/office/drawing/2014/main" id="{BE0784FD-90DD-848A-6BDC-0FA59EDE2B67}"/>
                </a:ext>
              </a:extLst>
            </p:cNvPr>
            <p:cNvSpPr/>
            <p:nvPr/>
          </p:nvSpPr>
          <p:spPr>
            <a:xfrm>
              <a:off x="2789865" y="6025054"/>
              <a:ext cx="7636" cy="7636"/>
            </a:xfrm>
            <a:custGeom>
              <a:avLst/>
              <a:gdLst>
                <a:gd name="connsiteX0" fmla="*/ 7636 w 7636"/>
                <a:gd name="connsiteY0" fmla="*/ 3818 h 7636"/>
                <a:gd name="connsiteX1" fmla="*/ 3818 w 7636"/>
                <a:gd name="connsiteY1" fmla="*/ 7636 h 7636"/>
                <a:gd name="connsiteX2" fmla="*/ 0 w 7636"/>
                <a:gd name="connsiteY2" fmla="*/ 3818 h 7636"/>
                <a:gd name="connsiteX3" fmla="*/ 3818 w 7636"/>
                <a:gd name="connsiteY3" fmla="*/ 0 h 7636"/>
                <a:gd name="connsiteX4" fmla="*/ 7636 w 7636"/>
                <a:gd name="connsiteY4" fmla="*/ 3818 h 76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36" h="7636">
                  <a:moveTo>
                    <a:pt x="7636" y="3818"/>
                  </a:moveTo>
                  <a:cubicBezTo>
                    <a:pt x="7636" y="5923"/>
                    <a:pt x="5923" y="7636"/>
                    <a:pt x="3818" y="7636"/>
                  </a:cubicBezTo>
                  <a:cubicBezTo>
                    <a:pt x="1713" y="7636"/>
                    <a:pt x="0" y="5923"/>
                    <a:pt x="0" y="3818"/>
                  </a:cubicBezTo>
                  <a:cubicBezTo>
                    <a:pt x="0" y="1713"/>
                    <a:pt x="1713" y="0"/>
                    <a:pt x="3818" y="0"/>
                  </a:cubicBezTo>
                  <a:cubicBezTo>
                    <a:pt x="5923" y="0"/>
                    <a:pt x="7636" y="1713"/>
                    <a:pt x="7636" y="3818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81" name="Forma livre: Forma 1880">
              <a:extLst>
                <a:ext uri="{FF2B5EF4-FFF2-40B4-BE49-F238E27FC236}">
                  <a16:creationId xmlns:a16="http://schemas.microsoft.com/office/drawing/2014/main" id="{838BCCE7-4EE6-6BC7-E737-A7B060660414}"/>
                </a:ext>
              </a:extLst>
            </p:cNvPr>
            <p:cNvSpPr/>
            <p:nvPr/>
          </p:nvSpPr>
          <p:spPr>
            <a:xfrm>
              <a:off x="2752123" y="6025054"/>
              <a:ext cx="7636" cy="7636"/>
            </a:xfrm>
            <a:custGeom>
              <a:avLst/>
              <a:gdLst>
                <a:gd name="connsiteX0" fmla="*/ 7637 w 7636"/>
                <a:gd name="connsiteY0" fmla="*/ 3818 h 7636"/>
                <a:gd name="connsiteX1" fmla="*/ 3818 w 7636"/>
                <a:gd name="connsiteY1" fmla="*/ 7636 h 7636"/>
                <a:gd name="connsiteX2" fmla="*/ 0 w 7636"/>
                <a:gd name="connsiteY2" fmla="*/ 3818 h 7636"/>
                <a:gd name="connsiteX3" fmla="*/ 3818 w 7636"/>
                <a:gd name="connsiteY3" fmla="*/ 0 h 7636"/>
                <a:gd name="connsiteX4" fmla="*/ 7637 w 7636"/>
                <a:gd name="connsiteY4" fmla="*/ 3818 h 76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36" h="7636">
                  <a:moveTo>
                    <a:pt x="7637" y="3818"/>
                  </a:moveTo>
                  <a:cubicBezTo>
                    <a:pt x="7637" y="5923"/>
                    <a:pt x="5923" y="7636"/>
                    <a:pt x="3818" y="7636"/>
                  </a:cubicBezTo>
                  <a:cubicBezTo>
                    <a:pt x="1713" y="7636"/>
                    <a:pt x="0" y="5923"/>
                    <a:pt x="0" y="3818"/>
                  </a:cubicBezTo>
                  <a:cubicBezTo>
                    <a:pt x="0" y="1713"/>
                    <a:pt x="1713" y="0"/>
                    <a:pt x="3818" y="0"/>
                  </a:cubicBezTo>
                  <a:cubicBezTo>
                    <a:pt x="5923" y="0"/>
                    <a:pt x="7637" y="1713"/>
                    <a:pt x="7637" y="3818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82" name="Forma livre: Forma 1881">
              <a:extLst>
                <a:ext uri="{FF2B5EF4-FFF2-40B4-BE49-F238E27FC236}">
                  <a16:creationId xmlns:a16="http://schemas.microsoft.com/office/drawing/2014/main" id="{EFB98784-2EA7-3863-518F-DD716D79ADC7}"/>
                </a:ext>
              </a:extLst>
            </p:cNvPr>
            <p:cNvSpPr/>
            <p:nvPr/>
          </p:nvSpPr>
          <p:spPr>
            <a:xfrm>
              <a:off x="2714381" y="6025054"/>
              <a:ext cx="7636" cy="7636"/>
            </a:xfrm>
            <a:custGeom>
              <a:avLst/>
              <a:gdLst>
                <a:gd name="connsiteX0" fmla="*/ 7637 w 7636"/>
                <a:gd name="connsiteY0" fmla="*/ 3818 h 7636"/>
                <a:gd name="connsiteX1" fmla="*/ 3818 w 7636"/>
                <a:gd name="connsiteY1" fmla="*/ 7636 h 7636"/>
                <a:gd name="connsiteX2" fmla="*/ 0 w 7636"/>
                <a:gd name="connsiteY2" fmla="*/ 3818 h 7636"/>
                <a:gd name="connsiteX3" fmla="*/ 3818 w 7636"/>
                <a:gd name="connsiteY3" fmla="*/ 0 h 7636"/>
                <a:gd name="connsiteX4" fmla="*/ 7637 w 7636"/>
                <a:gd name="connsiteY4" fmla="*/ 3818 h 76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36" h="7636">
                  <a:moveTo>
                    <a:pt x="7637" y="3818"/>
                  </a:moveTo>
                  <a:cubicBezTo>
                    <a:pt x="7637" y="5923"/>
                    <a:pt x="5923" y="7636"/>
                    <a:pt x="3818" y="7636"/>
                  </a:cubicBezTo>
                  <a:cubicBezTo>
                    <a:pt x="1713" y="7636"/>
                    <a:pt x="0" y="5923"/>
                    <a:pt x="0" y="3818"/>
                  </a:cubicBezTo>
                  <a:cubicBezTo>
                    <a:pt x="0" y="1713"/>
                    <a:pt x="1713" y="0"/>
                    <a:pt x="3818" y="0"/>
                  </a:cubicBezTo>
                  <a:cubicBezTo>
                    <a:pt x="5923" y="0"/>
                    <a:pt x="7637" y="1713"/>
                    <a:pt x="7637" y="3818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83" name="Forma livre: Forma 1882">
              <a:extLst>
                <a:ext uri="{FF2B5EF4-FFF2-40B4-BE49-F238E27FC236}">
                  <a16:creationId xmlns:a16="http://schemas.microsoft.com/office/drawing/2014/main" id="{844B0B1D-3338-0017-CD4C-AB6B6A53D0A7}"/>
                </a:ext>
              </a:extLst>
            </p:cNvPr>
            <p:cNvSpPr/>
            <p:nvPr/>
          </p:nvSpPr>
          <p:spPr>
            <a:xfrm>
              <a:off x="2676640" y="6025054"/>
              <a:ext cx="7636" cy="7636"/>
            </a:xfrm>
            <a:custGeom>
              <a:avLst/>
              <a:gdLst>
                <a:gd name="connsiteX0" fmla="*/ 7637 w 7636"/>
                <a:gd name="connsiteY0" fmla="*/ 3818 h 7636"/>
                <a:gd name="connsiteX1" fmla="*/ 3818 w 7636"/>
                <a:gd name="connsiteY1" fmla="*/ 7636 h 7636"/>
                <a:gd name="connsiteX2" fmla="*/ 0 w 7636"/>
                <a:gd name="connsiteY2" fmla="*/ 3818 h 7636"/>
                <a:gd name="connsiteX3" fmla="*/ 3818 w 7636"/>
                <a:gd name="connsiteY3" fmla="*/ 0 h 7636"/>
                <a:gd name="connsiteX4" fmla="*/ 7637 w 7636"/>
                <a:gd name="connsiteY4" fmla="*/ 3818 h 76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36" h="7636">
                  <a:moveTo>
                    <a:pt x="7637" y="3818"/>
                  </a:moveTo>
                  <a:cubicBezTo>
                    <a:pt x="7637" y="5923"/>
                    <a:pt x="5923" y="7636"/>
                    <a:pt x="3818" y="7636"/>
                  </a:cubicBezTo>
                  <a:cubicBezTo>
                    <a:pt x="1713" y="7636"/>
                    <a:pt x="0" y="5923"/>
                    <a:pt x="0" y="3818"/>
                  </a:cubicBezTo>
                  <a:cubicBezTo>
                    <a:pt x="0" y="1713"/>
                    <a:pt x="1713" y="0"/>
                    <a:pt x="3818" y="0"/>
                  </a:cubicBezTo>
                  <a:cubicBezTo>
                    <a:pt x="5923" y="0"/>
                    <a:pt x="7637" y="1713"/>
                    <a:pt x="7637" y="3818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892" name="Gráfico 18">
            <a:extLst>
              <a:ext uri="{FF2B5EF4-FFF2-40B4-BE49-F238E27FC236}">
                <a16:creationId xmlns:a16="http://schemas.microsoft.com/office/drawing/2014/main" id="{3086FF61-6497-ED91-C751-AD6B4D209A93}"/>
              </a:ext>
            </a:extLst>
          </p:cNvPr>
          <p:cNvGrpSpPr/>
          <p:nvPr/>
        </p:nvGrpSpPr>
        <p:grpSpPr>
          <a:xfrm>
            <a:off x="3329953" y="4703645"/>
            <a:ext cx="219843" cy="314173"/>
            <a:chOff x="3329953" y="4703645"/>
            <a:chExt cx="219843" cy="314173"/>
          </a:xfrm>
          <a:noFill/>
        </p:grpSpPr>
        <p:grpSp>
          <p:nvGrpSpPr>
            <p:cNvPr id="1893" name="Gráfico 18">
              <a:extLst>
                <a:ext uri="{FF2B5EF4-FFF2-40B4-BE49-F238E27FC236}">
                  <a16:creationId xmlns:a16="http://schemas.microsoft.com/office/drawing/2014/main" id="{C6620776-7A12-3CCF-2F86-DF8DA99446DA}"/>
                </a:ext>
              </a:extLst>
            </p:cNvPr>
            <p:cNvGrpSpPr/>
            <p:nvPr/>
          </p:nvGrpSpPr>
          <p:grpSpPr>
            <a:xfrm>
              <a:off x="3426780" y="4764296"/>
              <a:ext cx="123016" cy="84099"/>
              <a:chOff x="3426780" y="4764296"/>
              <a:chExt cx="123016" cy="84099"/>
            </a:xfrm>
            <a:noFill/>
          </p:grpSpPr>
          <p:sp>
            <p:nvSpPr>
              <p:cNvPr id="1894" name="Forma livre: Forma 1893">
                <a:extLst>
                  <a:ext uri="{FF2B5EF4-FFF2-40B4-BE49-F238E27FC236}">
                    <a16:creationId xmlns:a16="http://schemas.microsoft.com/office/drawing/2014/main" id="{67552DBF-BE6A-A1AD-CCCD-0447DE637A84}"/>
                  </a:ext>
                </a:extLst>
              </p:cNvPr>
              <p:cNvSpPr/>
              <p:nvPr/>
            </p:nvSpPr>
            <p:spPr>
              <a:xfrm>
                <a:off x="3426780" y="4764296"/>
                <a:ext cx="123016" cy="84099"/>
              </a:xfrm>
              <a:custGeom>
                <a:avLst/>
                <a:gdLst>
                  <a:gd name="connsiteX0" fmla="*/ 0 w 123016"/>
                  <a:gd name="connsiteY0" fmla="*/ 0 h 84099"/>
                  <a:gd name="connsiteX1" fmla="*/ 123016 w 123016"/>
                  <a:gd name="connsiteY1" fmla="*/ 0 h 84099"/>
                  <a:gd name="connsiteX2" fmla="*/ 123016 w 123016"/>
                  <a:gd name="connsiteY2" fmla="*/ 84099 h 84099"/>
                  <a:gd name="connsiteX3" fmla="*/ 0 w 123016"/>
                  <a:gd name="connsiteY3" fmla="*/ 84099 h 840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23016" h="84099">
                    <a:moveTo>
                      <a:pt x="0" y="0"/>
                    </a:moveTo>
                    <a:lnTo>
                      <a:pt x="123016" y="0"/>
                    </a:lnTo>
                    <a:lnTo>
                      <a:pt x="123016" y="84099"/>
                    </a:lnTo>
                    <a:lnTo>
                      <a:pt x="0" y="84099"/>
                    </a:lnTo>
                    <a:close/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895" name="Forma livre: Forma 1894">
                <a:extLst>
                  <a:ext uri="{FF2B5EF4-FFF2-40B4-BE49-F238E27FC236}">
                    <a16:creationId xmlns:a16="http://schemas.microsoft.com/office/drawing/2014/main" id="{ACBEFA90-CBAE-BEF5-6C2A-D4ABC7004AEB}"/>
                  </a:ext>
                </a:extLst>
              </p:cNvPr>
              <p:cNvSpPr/>
              <p:nvPr/>
            </p:nvSpPr>
            <p:spPr>
              <a:xfrm>
                <a:off x="3429129" y="4766646"/>
                <a:ext cx="118316" cy="47581"/>
              </a:xfrm>
              <a:custGeom>
                <a:avLst/>
                <a:gdLst>
                  <a:gd name="connsiteX0" fmla="*/ 118317 w 118316"/>
                  <a:gd name="connsiteY0" fmla="*/ 0 h 47581"/>
                  <a:gd name="connsiteX1" fmla="*/ 59330 w 118316"/>
                  <a:gd name="connsiteY1" fmla="*/ 47581 h 47581"/>
                  <a:gd name="connsiteX2" fmla="*/ 58987 w 118316"/>
                  <a:gd name="connsiteY2" fmla="*/ 47581 h 47581"/>
                  <a:gd name="connsiteX3" fmla="*/ 0 w 118316"/>
                  <a:gd name="connsiteY3" fmla="*/ 0 h 475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8316" h="47581">
                    <a:moveTo>
                      <a:pt x="118317" y="0"/>
                    </a:moveTo>
                    <a:lnTo>
                      <a:pt x="59330" y="47581"/>
                    </a:lnTo>
                    <a:lnTo>
                      <a:pt x="58987" y="47581"/>
                    </a:lnTo>
                    <a:lnTo>
                      <a:pt x="0" y="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896" name="Gráfico 18">
              <a:extLst>
                <a:ext uri="{FF2B5EF4-FFF2-40B4-BE49-F238E27FC236}">
                  <a16:creationId xmlns:a16="http://schemas.microsoft.com/office/drawing/2014/main" id="{838C165C-C0E3-BF2E-E7FE-95815B94153F}"/>
                </a:ext>
              </a:extLst>
            </p:cNvPr>
            <p:cNvGrpSpPr/>
            <p:nvPr/>
          </p:nvGrpSpPr>
          <p:grpSpPr>
            <a:xfrm>
              <a:off x="3329953" y="4703645"/>
              <a:ext cx="176276" cy="314173"/>
              <a:chOff x="3329953" y="4703645"/>
              <a:chExt cx="176276" cy="314173"/>
            </a:xfrm>
            <a:noFill/>
          </p:grpSpPr>
          <p:sp>
            <p:nvSpPr>
              <p:cNvPr id="1897" name="Forma livre: Forma 1896">
                <a:extLst>
                  <a:ext uri="{FF2B5EF4-FFF2-40B4-BE49-F238E27FC236}">
                    <a16:creationId xmlns:a16="http://schemas.microsoft.com/office/drawing/2014/main" id="{B5D687DB-E813-56B2-4EB7-C5341B81B096}"/>
                  </a:ext>
                </a:extLst>
              </p:cNvPr>
              <p:cNvSpPr/>
              <p:nvPr/>
            </p:nvSpPr>
            <p:spPr>
              <a:xfrm>
                <a:off x="3329953" y="4703645"/>
                <a:ext cx="176276" cy="314173"/>
              </a:xfrm>
              <a:custGeom>
                <a:avLst/>
                <a:gdLst>
                  <a:gd name="connsiteX0" fmla="*/ 176276 w 176276"/>
                  <a:gd name="connsiteY0" fmla="*/ 168150 h 314173"/>
                  <a:gd name="connsiteX1" fmla="*/ 176276 w 176276"/>
                  <a:gd name="connsiteY1" fmla="*/ 299929 h 314173"/>
                  <a:gd name="connsiteX2" fmla="*/ 161835 w 176276"/>
                  <a:gd name="connsiteY2" fmla="*/ 314174 h 314173"/>
                  <a:gd name="connsiteX3" fmla="*/ 14441 w 176276"/>
                  <a:gd name="connsiteY3" fmla="*/ 314174 h 314173"/>
                  <a:gd name="connsiteX4" fmla="*/ 0 w 176276"/>
                  <a:gd name="connsiteY4" fmla="*/ 299929 h 314173"/>
                  <a:gd name="connsiteX5" fmla="*/ 0 w 176276"/>
                  <a:gd name="connsiteY5" fmla="*/ 14245 h 314173"/>
                  <a:gd name="connsiteX6" fmla="*/ 14441 w 176276"/>
                  <a:gd name="connsiteY6" fmla="*/ 0 h 314173"/>
                  <a:gd name="connsiteX7" fmla="*/ 161835 w 176276"/>
                  <a:gd name="connsiteY7" fmla="*/ 0 h 314173"/>
                  <a:gd name="connsiteX8" fmla="*/ 176276 w 176276"/>
                  <a:gd name="connsiteY8" fmla="*/ 14245 h 314173"/>
                  <a:gd name="connsiteX9" fmla="*/ 176276 w 176276"/>
                  <a:gd name="connsiteY9" fmla="*/ 36763 h 3141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76276" h="314173">
                    <a:moveTo>
                      <a:pt x="176276" y="168150"/>
                    </a:moveTo>
                    <a:lnTo>
                      <a:pt x="176276" y="299929"/>
                    </a:lnTo>
                    <a:cubicBezTo>
                      <a:pt x="176276" y="307761"/>
                      <a:pt x="169765" y="314174"/>
                      <a:pt x="161835" y="314174"/>
                    </a:cubicBezTo>
                    <a:lnTo>
                      <a:pt x="14441" y="314174"/>
                    </a:lnTo>
                    <a:cubicBezTo>
                      <a:pt x="6511" y="314174"/>
                      <a:pt x="0" y="307761"/>
                      <a:pt x="0" y="299929"/>
                    </a:cubicBezTo>
                    <a:lnTo>
                      <a:pt x="0" y="14245"/>
                    </a:lnTo>
                    <a:cubicBezTo>
                      <a:pt x="0" y="6413"/>
                      <a:pt x="6511" y="0"/>
                      <a:pt x="14441" y="0"/>
                    </a:cubicBezTo>
                    <a:lnTo>
                      <a:pt x="161835" y="0"/>
                    </a:lnTo>
                    <a:cubicBezTo>
                      <a:pt x="169765" y="0"/>
                      <a:pt x="176276" y="6413"/>
                      <a:pt x="176276" y="14245"/>
                    </a:cubicBezTo>
                    <a:lnTo>
                      <a:pt x="176276" y="36763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898" name="Forma livre: Forma 1897">
                <a:extLst>
                  <a:ext uri="{FF2B5EF4-FFF2-40B4-BE49-F238E27FC236}">
                    <a16:creationId xmlns:a16="http://schemas.microsoft.com/office/drawing/2014/main" id="{38E4B0FD-5265-C637-0DA0-9B086F3CDBEF}"/>
                  </a:ext>
                </a:extLst>
              </p:cNvPr>
              <p:cNvSpPr/>
              <p:nvPr/>
            </p:nvSpPr>
            <p:spPr>
              <a:xfrm>
                <a:off x="3329953" y="4953349"/>
                <a:ext cx="176276" cy="4895"/>
              </a:xfrm>
              <a:custGeom>
                <a:avLst/>
                <a:gdLst>
                  <a:gd name="connsiteX0" fmla="*/ 0 w 176276"/>
                  <a:gd name="connsiteY0" fmla="*/ 0 h 4895"/>
                  <a:gd name="connsiteX1" fmla="*/ 176276 w 176276"/>
                  <a:gd name="connsiteY1" fmla="*/ 0 h 48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76276" h="4895">
                    <a:moveTo>
                      <a:pt x="0" y="0"/>
                    </a:moveTo>
                    <a:lnTo>
                      <a:pt x="176276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899" name="Forma livre: Forma 1898">
                <a:extLst>
                  <a:ext uri="{FF2B5EF4-FFF2-40B4-BE49-F238E27FC236}">
                    <a16:creationId xmlns:a16="http://schemas.microsoft.com/office/drawing/2014/main" id="{0F9DF207-06E8-948A-FA6F-1BC357DAE2C9}"/>
                  </a:ext>
                </a:extLst>
              </p:cNvPr>
              <p:cNvSpPr/>
              <p:nvPr/>
            </p:nvSpPr>
            <p:spPr>
              <a:xfrm>
                <a:off x="3406171" y="4985363"/>
                <a:ext cx="23937" cy="4895"/>
              </a:xfrm>
              <a:custGeom>
                <a:avLst/>
                <a:gdLst>
                  <a:gd name="connsiteX0" fmla="*/ 0 w 23937"/>
                  <a:gd name="connsiteY0" fmla="*/ 0 h 4895"/>
                  <a:gd name="connsiteX1" fmla="*/ 23938 w 23937"/>
                  <a:gd name="connsiteY1" fmla="*/ 0 h 48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3937" h="4895">
                    <a:moveTo>
                      <a:pt x="0" y="0"/>
                    </a:moveTo>
                    <a:lnTo>
                      <a:pt x="23938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900" name="Gráfico 18">
            <a:extLst>
              <a:ext uri="{FF2B5EF4-FFF2-40B4-BE49-F238E27FC236}">
                <a16:creationId xmlns:a16="http://schemas.microsoft.com/office/drawing/2014/main" id="{2EFF103A-7957-A19F-EA45-545E9CBEA9E1}"/>
              </a:ext>
            </a:extLst>
          </p:cNvPr>
          <p:cNvGrpSpPr/>
          <p:nvPr/>
        </p:nvGrpSpPr>
        <p:grpSpPr>
          <a:xfrm>
            <a:off x="2635804" y="4694032"/>
            <a:ext cx="333421" cy="333479"/>
            <a:chOff x="2635804" y="4694032"/>
            <a:chExt cx="333421" cy="333479"/>
          </a:xfrm>
        </p:grpSpPr>
        <p:sp>
          <p:nvSpPr>
            <p:cNvPr id="1901" name="Forma livre: Forma 1900">
              <a:extLst>
                <a:ext uri="{FF2B5EF4-FFF2-40B4-BE49-F238E27FC236}">
                  <a16:creationId xmlns:a16="http://schemas.microsoft.com/office/drawing/2014/main" id="{D2B77127-90E1-F548-F848-342D0607D25D}"/>
                </a:ext>
              </a:extLst>
            </p:cNvPr>
            <p:cNvSpPr/>
            <p:nvPr/>
          </p:nvSpPr>
          <p:spPr>
            <a:xfrm>
              <a:off x="2707406" y="4765691"/>
              <a:ext cx="47556" cy="47605"/>
            </a:xfrm>
            <a:custGeom>
              <a:avLst/>
              <a:gdLst>
                <a:gd name="connsiteX0" fmla="*/ 18284 w 47556"/>
                <a:gd name="connsiteY0" fmla="*/ 47606 h 47605"/>
                <a:gd name="connsiteX1" fmla="*/ 5360 w 47556"/>
                <a:gd name="connsiteY1" fmla="*/ 34682 h 47605"/>
                <a:gd name="connsiteX2" fmla="*/ 5360 w 47556"/>
                <a:gd name="connsiteY2" fmla="*/ 8738 h 47605"/>
                <a:gd name="connsiteX3" fmla="*/ 8738 w 47556"/>
                <a:gd name="connsiteY3" fmla="*/ 5360 h 47605"/>
                <a:gd name="connsiteX4" fmla="*/ 34682 w 47556"/>
                <a:gd name="connsiteY4" fmla="*/ 5360 h 47605"/>
                <a:gd name="connsiteX5" fmla="*/ 47557 w 47556"/>
                <a:gd name="connsiteY5" fmla="*/ 18235 h 476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7556" h="47605">
                  <a:moveTo>
                    <a:pt x="18284" y="47606"/>
                  </a:moveTo>
                  <a:lnTo>
                    <a:pt x="5360" y="34682"/>
                  </a:lnTo>
                  <a:cubicBezTo>
                    <a:pt x="-1787" y="27535"/>
                    <a:pt x="-1787" y="15885"/>
                    <a:pt x="5360" y="8738"/>
                  </a:cubicBezTo>
                  <a:lnTo>
                    <a:pt x="8738" y="5360"/>
                  </a:lnTo>
                  <a:cubicBezTo>
                    <a:pt x="15885" y="-1787"/>
                    <a:pt x="27535" y="-1787"/>
                    <a:pt x="34682" y="5360"/>
                  </a:cubicBezTo>
                  <a:lnTo>
                    <a:pt x="47557" y="18235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02" name="Forma livre: Forma 1901">
              <a:extLst>
                <a:ext uri="{FF2B5EF4-FFF2-40B4-BE49-F238E27FC236}">
                  <a16:creationId xmlns:a16="http://schemas.microsoft.com/office/drawing/2014/main" id="{9DCAA1CE-3EB6-4A2C-A360-6EEA279E59EB}"/>
                </a:ext>
              </a:extLst>
            </p:cNvPr>
            <p:cNvSpPr/>
            <p:nvPr/>
          </p:nvSpPr>
          <p:spPr>
            <a:xfrm>
              <a:off x="2721553" y="4779839"/>
              <a:ext cx="123579" cy="123579"/>
            </a:xfrm>
            <a:custGeom>
              <a:avLst/>
              <a:gdLst>
                <a:gd name="connsiteX0" fmla="*/ 67431 w 123579"/>
                <a:gd name="connsiteY0" fmla="*/ 123579 h 123579"/>
                <a:gd name="connsiteX1" fmla="*/ 6682 w 123579"/>
                <a:gd name="connsiteY1" fmla="*/ 62830 h 123579"/>
                <a:gd name="connsiteX2" fmla="*/ 6682 w 123579"/>
                <a:gd name="connsiteY2" fmla="*/ 30424 h 123579"/>
                <a:gd name="connsiteX3" fmla="*/ 30424 w 123579"/>
                <a:gd name="connsiteY3" fmla="*/ 6682 h 123579"/>
                <a:gd name="connsiteX4" fmla="*/ 62830 w 123579"/>
                <a:gd name="connsiteY4" fmla="*/ 6682 h 123579"/>
                <a:gd name="connsiteX5" fmla="*/ 123579 w 123579"/>
                <a:gd name="connsiteY5" fmla="*/ 67431 h 1235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23579" h="123579">
                  <a:moveTo>
                    <a:pt x="67431" y="123579"/>
                  </a:moveTo>
                  <a:lnTo>
                    <a:pt x="6682" y="62830"/>
                  </a:lnTo>
                  <a:cubicBezTo>
                    <a:pt x="-2227" y="53921"/>
                    <a:pt x="-2227" y="39333"/>
                    <a:pt x="6682" y="30424"/>
                  </a:cubicBezTo>
                  <a:lnTo>
                    <a:pt x="30424" y="6682"/>
                  </a:lnTo>
                  <a:cubicBezTo>
                    <a:pt x="39333" y="-2227"/>
                    <a:pt x="53921" y="-2227"/>
                    <a:pt x="62830" y="6682"/>
                  </a:cubicBezTo>
                  <a:lnTo>
                    <a:pt x="123579" y="67431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03" name="Forma livre: Forma 1902">
              <a:extLst>
                <a:ext uri="{FF2B5EF4-FFF2-40B4-BE49-F238E27FC236}">
                  <a16:creationId xmlns:a16="http://schemas.microsoft.com/office/drawing/2014/main" id="{D529B6F7-A44C-B41E-6272-81EAC5573DF0}"/>
                </a:ext>
              </a:extLst>
            </p:cNvPr>
            <p:cNvSpPr/>
            <p:nvPr/>
          </p:nvSpPr>
          <p:spPr>
            <a:xfrm>
              <a:off x="2826519" y="4884595"/>
              <a:ext cx="99793" cy="100158"/>
            </a:xfrm>
            <a:custGeom>
              <a:avLst/>
              <a:gdLst>
                <a:gd name="connsiteX0" fmla="*/ 37460 w 99793"/>
                <a:gd name="connsiteY0" fmla="*/ 89265 h 100158"/>
                <a:gd name="connsiteX1" fmla="*/ 2606 w 99793"/>
                <a:gd name="connsiteY1" fmla="*/ 97587 h 100158"/>
                <a:gd name="connsiteX2" fmla="*/ 33985 w 99793"/>
                <a:gd name="connsiteY2" fmla="*/ 34243 h 100158"/>
                <a:gd name="connsiteX3" fmla="*/ 97182 w 99793"/>
                <a:gd name="connsiteY3" fmla="*/ 2571 h 100158"/>
                <a:gd name="connsiteX4" fmla="*/ 89496 w 99793"/>
                <a:gd name="connsiteY4" fmla="*/ 36641 h 1001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9793" h="100158">
                  <a:moveTo>
                    <a:pt x="37460" y="89265"/>
                  </a:moveTo>
                  <a:cubicBezTo>
                    <a:pt x="21698" y="99447"/>
                    <a:pt x="8236" y="103118"/>
                    <a:pt x="2606" y="97587"/>
                  </a:cubicBezTo>
                  <a:cubicBezTo>
                    <a:pt x="-6156" y="88824"/>
                    <a:pt x="7893" y="60481"/>
                    <a:pt x="33985" y="34243"/>
                  </a:cubicBezTo>
                  <a:cubicBezTo>
                    <a:pt x="60076" y="8005"/>
                    <a:pt x="88370" y="-6142"/>
                    <a:pt x="97182" y="2571"/>
                  </a:cubicBezTo>
                  <a:cubicBezTo>
                    <a:pt x="102664" y="8054"/>
                    <a:pt x="99238" y="21173"/>
                    <a:pt x="89496" y="36641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04" name="Forma livre: Forma 1903">
              <a:extLst>
                <a:ext uri="{FF2B5EF4-FFF2-40B4-BE49-F238E27FC236}">
                  <a16:creationId xmlns:a16="http://schemas.microsoft.com/office/drawing/2014/main" id="{41CE304F-37EE-05BB-C4C9-DFF5158BFBAA}"/>
                </a:ext>
              </a:extLst>
            </p:cNvPr>
            <p:cNvSpPr/>
            <p:nvPr/>
          </p:nvSpPr>
          <p:spPr>
            <a:xfrm>
              <a:off x="2809951" y="4868280"/>
              <a:ext cx="113601" cy="113705"/>
            </a:xfrm>
            <a:custGeom>
              <a:avLst/>
              <a:gdLst>
                <a:gd name="connsiteX0" fmla="*/ 19027 w 113601"/>
                <a:gd name="connsiteY0" fmla="*/ 113706 h 113705"/>
                <a:gd name="connsiteX1" fmla="*/ 18390 w 113601"/>
                <a:gd name="connsiteY1" fmla="*/ 19669 h 113705"/>
                <a:gd name="connsiteX2" fmla="*/ 113602 w 113601"/>
                <a:gd name="connsiteY2" fmla="*/ 18739 h 1137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13601" h="113705">
                  <a:moveTo>
                    <a:pt x="19027" y="113706"/>
                  </a:moveTo>
                  <a:cubicBezTo>
                    <a:pt x="-5939" y="86537"/>
                    <a:pt x="-6526" y="45271"/>
                    <a:pt x="18390" y="19669"/>
                  </a:cubicBezTo>
                  <a:cubicBezTo>
                    <a:pt x="43650" y="-6276"/>
                    <a:pt x="85748" y="-6520"/>
                    <a:pt x="113602" y="18739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905" name="Gráfico 18">
              <a:extLst>
                <a:ext uri="{FF2B5EF4-FFF2-40B4-BE49-F238E27FC236}">
                  <a16:creationId xmlns:a16="http://schemas.microsoft.com/office/drawing/2014/main" id="{5AA7CE93-FB88-73DD-D786-F2847DF9BE17}"/>
                </a:ext>
              </a:extLst>
            </p:cNvPr>
            <p:cNvGrpSpPr/>
            <p:nvPr/>
          </p:nvGrpSpPr>
          <p:grpSpPr>
            <a:xfrm>
              <a:off x="2859524" y="4917761"/>
              <a:ext cx="49098" cy="49098"/>
              <a:chOff x="2859524" y="4917761"/>
              <a:chExt cx="49098" cy="49098"/>
            </a:xfrm>
          </p:grpSpPr>
          <p:sp>
            <p:nvSpPr>
              <p:cNvPr id="1906" name="Forma livre: Forma 1905">
                <a:extLst>
                  <a:ext uri="{FF2B5EF4-FFF2-40B4-BE49-F238E27FC236}">
                    <a16:creationId xmlns:a16="http://schemas.microsoft.com/office/drawing/2014/main" id="{65254D51-4AAF-3DE6-09D6-4F0597DE2288}"/>
                  </a:ext>
                </a:extLst>
              </p:cNvPr>
              <p:cNvSpPr/>
              <p:nvPr/>
            </p:nvSpPr>
            <p:spPr>
              <a:xfrm>
                <a:off x="2892224" y="4917761"/>
                <a:ext cx="16398" cy="48854"/>
              </a:xfrm>
              <a:custGeom>
                <a:avLst/>
                <a:gdLst>
                  <a:gd name="connsiteX0" fmla="*/ 0 w 16398"/>
                  <a:gd name="connsiteY0" fmla="*/ 0 h 48854"/>
                  <a:gd name="connsiteX1" fmla="*/ 16399 w 16398"/>
                  <a:gd name="connsiteY1" fmla="*/ 48854 h 488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6398" h="48854">
                    <a:moveTo>
                      <a:pt x="0" y="0"/>
                    </a:moveTo>
                    <a:lnTo>
                      <a:pt x="16399" y="48854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907" name="Forma livre: Forma 1906">
                <a:extLst>
                  <a:ext uri="{FF2B5EF4-FFF2-40B4-BE49-F238E27FC236}">
                    <a16:creationId xmlns:a16="http://schemas.microsoft.com/office/drawing/2014/main" id="{6E4FE9B1-A888-5717-7736-E9BAADD000CE}"/>
                  </a:ext>
                </a:extLst>
              </p:cNvPr>
              <p:cNvSpPr/>
              <p:nvPr/>
            </p:nvSpPr>
            <p:spPr>
              <a:xfrm>
                <a:off x="2859524" y="4950461"/>
                <a:ext cx="48854" cy="16398"/>
              </a:xfrm>
              <a:custGeom>
                <a:avLst/>
                <a:gdLst>
                  <a:gd name="connsiteX0" fmla="*/ 0 w 48854"/>
                  <a:gd name="connsiteY0" fmla="*/ 0 h 16398"/>
                  <a:gd name="connsiteX1" fmla="*/ 48854 w 48854"/>
                  <a:gd name="connsiteY1" fmla="*/ 16399 h 163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8854" h="16398">
                    <a:moveTo>
                      <a:pt x="0" y="0"/>
                    </a:moveTo>
                    <a:lnTo>
                      <a:pt x="48854" y="16399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908" name="Gráfico 18">
              <a:extLst>
                <a:ext uri="{FF2B5EF4-FFF2-40B4-BE49-F238E27FC236}">
                  <a16:creationId xmlns:a16="http://schemas.microsoft.com/office/drawing/2014/main" id="{F8170325-BFC5-9FC2-3172-52E459DAB2E2}"/>
                </a:ext>
              </a:extLst>
            </p:cNvPr>
            <p:cNvGrpSpPr/>
            <p:nvPr/>
          </p:nvGrpSpPr>
          <p:grpSpPr>
            <a:xfrm>
              <a:off x="2910826" y="4969013"/>
              <a:ext cx="58399" cy="58497"/>
              <a:chOff x="2910826" y="4969013"/>
              <a:chExt cx="58399" cy="58497"/>
            </a:xfrm>
            <a:noFill/>
          </p:grpSpPr>
          <p:sp>
            <p:nvSpPr>
              <p:cNvPr id="1909" name="Forma livre: Forma 1908">
                <a:extLst>
                  <a:ext uri="{FF2B5EF4-FFF2-40B4-BE49-F238E27FC236}">
                    <a16:creationId xmlns:a16="http://schemas.microsoft.com/office/drawing/2014/main" id="{3422F2C4-E822-9E34-F324-B2D505EF113D}"/>
                  </a:ext>
                </a:extLst>
              </p:cNvPr>
              <p:cNvSpPr/>
              <p:nvPr/>
            </p:nvSpPr>
            <p:spPr>
              <a:xfrm>
                <a:off x="2910826" y="4969013"/>
                <a:ext cx="34755" cy="34853"/>
              </a:xfrm>
              <a:custGeom>
                <a:avLst/>
                <a:gdLst>
                  <a:gd name="connsiteX0" fmla="*/ 34756 w 34755"/>
                  <a:gd name="connsiteY0" fmla="*/ 0 h 34853"/>
                  <a:gd name="connsiteX1" fmla="*/ 24084 w 34755"/>
                  <a:gd name="connsiteY1" fmla="*/ 24133 h 34853"/>
                  <a:gd name="connsiteX2" fmla="*/ 0 w 34755"/>
                  <a:gd name="connsiteY2" fmla="*/ 34854 h 348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4755" h="34853">
                    <a:moveTo>
                      <a:pt x="34756" y="0"/>
                    </a:moveTo>
                    <a:cubicBezTo>
                      <a:pt x="34315" y="8762"/>
                      <a:pt x="30742" y="17427"/>
                      <a:pt x="24084" y="24133"/>
                    </a:cubicBezTo>
                    <a:cubicBezTo>
                      <a:pt x="17378" y="30840"/>
                      <a:pt x="8762" y="34364"/>
                      <a:pt x="0" y="34854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910" name="Forma livre: Forma 1909">
                <a:extLst>
                  <a:ext uri="{FF2B5EF4-FFF2-40B4-BE49-F238E27FC236}">
                    <a16:creationId xmlns:a16="http://schemas.microsoft.com/office/drawing/2014/main" id="{23EAE0FB-BA7D-EB15-C9E5-BCE81791B71F}"/>
                  </a:ext>
                </a:extLst>
              </p:cNvPr>
              <p:cNvSpPr/>
              <p:nvPr/>
            </p:nvSpPr>
            <p:spPr>
              <a:xfrm>
                <a:off x="2913714" y="4971951"/>
                <a:ext cx="55511" cy="55560"/>
              </a:xfrm>
              <a:custGeom>
                <a:avLst/>
                <a:gdLst>
                  <a:gd name="connsiteX0" fmla="*/ 55512 w 55511"/>
                  <a:gd name="connsiteY0" fmla="*/ 0 h 55560"/>
                  <a:gd name="connsiteX1" fmla="*/ 37987 w 55511"/>
                  <a:gd name="connsiteY1" fmla="*/ 38036 h 55560"/>
                  <a:gd name="connsiteX2" fmla="*/ 0 w 55511"/>
                  <a:gd name="connsiteY2" fmla="*/ 55561 h 555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55511" h="55560">
                    <a:moveTo>
                      <a:pt x="55512" y="0"/>
                    </a:moveTo>
                    <a:cubicBezTo>
                      <a:pt x="54386" y="13853"/>
                      <a:pt x="48609" y="27413"/>
                      <a:pt x="37987" y="38036"/>
                    </a:cubicBezTo>
                    <a:cubicBezTo>
                      <a:pt x="27364" y="48658"/>
                      <a:pt x="13853" y="54435"/>
                      <a:pt x="0" y="55561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911" name="Forma livre: Forma 1910">
              <a:extLst>
                <a:ext uri="{FF2B5EF4-FFF2-40B4-BE49-F238E27FC236}">
                  <a16:creationId xmlns:a16="http://schemas.microsoft.com/office/drawing/2014/main" id="{A70C18A6-65F0-DF0C-D2C8-CBA0022CD2D4}"/>
                </a:ext>
              </a:extLst>
            </p:cNvPr>
            <p:cNvSpPr/>
            <p:nvPr/>
          </p:nvSpPr>
          <p:spPr>
            <a:xfrm>
              <a:off x="2902987" y="4961273"/>
              <a:ext cx="11125" cy="11125"/>
            </a:xfrm>
            <a:custGeom>
              <a:avLst/>
              <a:gdLst>
                <a:gd name="connsiteX0" fmla="*/ 5293 w 11125"/>
                <a:gd name="connsiteY0" fmla="*/ 11119 h 11125"/>
                <a:gd name="connsiteX1" fmla="*/ 6 w 11125"/>
                <a:gd name="connsiteY1" fmla="*/ 5293 h 11125"/>
                <a:gd name="connsiteX2" fmla="*/ 5832 w 11125"/>
                <a:gd name="connsiteY2" fmla="*/ 7 h 11125"/>
                <a:gd name="connsiteX3" fmla="*/ 11119 w 11125"/>
                <a:gd name="connsiteY3" fmla="*/ 5832 h 11125"/>
                <a:gd name="connsiteX4" fmla="*/ 5293 w 11125"/>
                <a:gd name="connsiteY4" fmla="*/ 11119 h 111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125" h="11125">
                  <a:moveTo>
                    <a:pt x="5293" y="11119"/>
                  </a:moveTo>
                  <a:cubicBezTo>
                    <a:pt x="2258" y="10972"/>
                    <a:pt x="-140" y="8328"/>
                    <a:pt x="6" y="5293"/>
                  </a:cubicBezTo>
                  <a:cubicBezTo>
                    <a:pt x="153" y="2209"/>
                    <a:pt x="2797" y="-140"/>
                    <a:pt x="5832" y="7"/>
                  </a:cubicBezTo>
                  <a:cubicBezTo>
                    <a:pt x="8916" y="153"/>
                    <a:pt x="11265" y="2797"/>
                    <a:pt x="11119" y="5832"/>
                  </a:cubicBezTo>
                  <a:cubicBezTo>
                    <a:pt x="10972" y="8916"/>
                    <a:pt x="8328" y="11265"/>
                    <a:pt x="5293" y="11119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912" name="Gráfico 18">
              <a:extLst>
                <a:ext uri="{FF2B5EF4-FFF2-40B4-BE49-F238E27FC236}">
                  <a16:creationId xmlns:a16="http://schemas.microsoft.com/office/drawing/2014/main" id="{EFD23E9E-0213-E74D-818D-50ECEE8248C8}"/>
                </a:ext>
              </a:extLst>
            </p:cNvPr>
            <p:cNvGrpSpPr/>
            <p:nvPr/>
          </p:nvGrpSpPr>
          <p:grpSpPr>
            <a:xfrm>
              <a:off x="2635804" y="4694032"/>
              <a:ext cx="307138" cy="307314"/>
              <a:chOff x="2635804" y="4694032"/>
              <a:chExt cx="307138" cy="307314"/>
            </a:xfrm>
            <a:noFill/>
          </p:grpSpPr>
          <p:sp>
            <p:nvSpPr>
              <p:cNvPr id="1913" name="Forma livre: Forma 1912">
                <a:extLst>
                  <a:ext uri="{FF2B5EF4-FFF2-40B4-BE49-F238E27FC236}">
                    <a16:creationId xmlns:a16="http://schemas.microsoft.com/office/drawing/2014/main" id="{E35D7223-69E0-2964-E416-796A43EB2BE5}"/>
                  </a:ext>
                </a:extLst>
              </p:cNvPr>
              <p:cNvSpPr/>
              <p:nvPr/>
            </p:nvSpPr>
            <p:spPr>
              <a:xfrm>
                <a:off x="2806264" y="4786472"/>
                <a:ext cx="21538" cy="21538"/>
              </a:xfrm>
              <a:custGeom>
                <a:avLst/>
                <a:gdLst>
                  <a:gd name="connsiteX0" fmla="*/ 21539 w 21538"/>
                  <a:gd name="connsiteY0" fmla="*/ 0 h 21538"/>
                  <a:gd name="connsiteX1" fmla="*/ 0 w 21538"/>
                  <a:gd name="connsiteY1" fmla="*/ 21539 h 215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1538" h="21538">
                    <a:moveTo>
                      <a:pt x="21539" y="0"/>
                    </a:moveTo>
                    <a:lnTo>
                      <a:pt x="0" y="21539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914" name="Forma livre: Forma 1913">
                <a:extLst>
                  <a:ext uri="{FF2B5EF4-FFF2-40B4-BE49-F238E27FC236}">
                    <a16:creationId xmlns:a16="http://schemas.microsoft.com/office/drawing/2014/main" id="{32E27671-9FCA-67E9-BC85-07BCA75F79F3}"/>
                  </a:ext>
                </a:extLst>
              </p:cNvPr>
              <p:cNvSpPr/>
              <p:nvPr/>
            </p:nvSpPr>
            <p:spPr>
              <a:xfrm>
                <a:off x="2830202" y="4810409"/>
                <a:ext cx="21538" cy="21538"/>
              </a:xfrm>
              <a:custGeom>
                <a:avLst/>
                <a:gdLst>
                  <a:gd name="connsiteX0" fmla="*/ 21539 w 21538"/>
                  <a:gd name="connsiteY0" fmla="*/ 0 h 21538"/>
                  <a:gd name="connsiteX1" fmla="*/ 0 w 21538"/>
                  <a:gd name="connsiteY1" fmla="*/ 21539 h 215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1538" h="21538">
                    <a:moveTo>
                      <a:pt x="21539" y="0"/>
                    </a:moveTo>
                    <a:lnTo>
                      <a:pt x="0" y="21539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915" name="Forma livre: Forma 1914">
                <a:extLst>
                  <a:ext uri="{FF2B5EF4-FFF2-40B4-BE49-F238E27FC236}">
                    <a16:creationId xmlns:a16="http://schemas.microsoft.com/office/drawing/2014/main" id="{7E3CF4F9-69C0-C552-83DE-97F4E1BEA117}"/>
                  </a:ext>
                </a:extLst>
              </p:cNvPr>
              <p:cNvSpPr/>
              <p:nvPr/>
            </p:nvSpPr>
            <p:spPr>
              <a:xfrm rot="-2700000">
                <a:off x="2823172" y="4722165"/>
                <a:ext cx="109946" cy="73330"/>
              </a:xfrm>
              <a:custGeom>
                <a:avLst/>
                <a:gdLst>
                  <a:gd name="connsiteX0" fmla="*/ 0 w 109946"/>
                  <a:gd name="connsiteY0" fmla="*/ 0 h 73330"/>
                  <a:gd name="connsiteX1" fmla="*/ 109946 w 109946"/>
                  <a:gd name="connsiteY1" fmla="*/ 0 h 73330"/>
                  <a:gd name="connsiteX2" fmla="*/ 109946 w 109946"/>
                  <a:gd name="connsiteY2" fmla="*/ 73330 h 73330"/>
                  <a:gd name="connsiteX3" fmla="*/ 0 w 109946"/>
                  <a:gd name="connsiteY3" fmla="*/ 73330 h 733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09946" h="73330">
                    <a:moveTo>
                      <a:pt x="0" y="0"/>
                    </a:moveTo>
                    <a:lnTo>
                      <a:pt x="109946" y="0"/>
                    </a:lnTo>
                    <a:lnTo>
                      <a:pt x="109946" y="73330"/>
                    </a:lnTo>
                    <a:lnTo>
                      <a:pt x="0" y="73330"/>
                    </a:ln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916" name="Forma livre: Forma 1915">
                <a:extLst>
                  <a:ext uri="{FF2B5EF4-FFF2-40B4-BE49-F238E27FC236}">
                    <a16:creationId xmlns:a16="http://schemas.microsoft.com/office/drawing/2014/main" id="{65712021-83AA-00AB-EFDF-52077D2AB5D2}"/>
                  </a:ext>
                </a:extLst>
              </p:cNvPr>
              <p:cNvSpPr/>
              <p:nvPr/>
            </p:nvSpPr>
            <p:spPr>
              <a:xfrm>
                <a:off x="2839258" y="4745890"/>
                <a:ext cx="51938" cy="51938"/>
              </a:xfrm>
              <a:custGeom>
                <a:avLst/>
                <a:gdLst>
                  <a:gd name="connsiteX0" fmla="*/ 0 w 51938"/>
                  <a:gd name="connsiteY0" fmla="*/ 0 h 51938"/>
                  <a:gd name="connsiteX1" fmla="*/ 51938 w 51938"/>
                  <a:gd name="connsiteY1" fmla="*/ 51938 h 519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1938" h="51938">
                    <a:moveTo>
                      <a:pt x="0" y="0"/>
                    </a:moveTo>
                    <a:lnTo>
                      <a:pt x="51938" y="51938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917" name="Forma livre: Forma 1916">
                <a:extLst>
                  <a:ext uri="{FF2B5EF4-FFF2-40B4-BE49-F238E27FC236}">
                    <a16:creationId xmlns:a16="http://schemas.microsoft.com/office/drawing/2014/main" id="{CCD8DE4F-930C-5779-350E-C4D6CAA0382A}"/>
                  </a:ext>
                </a:extLst>
              </p:cNvPr>
              <p:cNvSpPr/>
              <p:nvPr/>
            </p:nvSpPr>
            <p:spPr>
              <a:xfrm>
                <a:off x="2839405" y="4719995"/>
                <a:ext cx="77588" cy="77588"/>
              </a:xfrm>
              <a:custGeom>
                <a:avLst/>
                <a:gdLst>
                  <a:gd name="connsiteX0" fmla="*/ 77589 w 77588"/>
                  <a:gd name="connsiteY0" fmla="*/ 0 h 77588"/>
                  <a:gd name="connsiteX1" fmla="*/ 0 w 77588"/>
                  <a:gd name="connsiteY1" fmla="*/ 77589 h 775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77588" h="77588">
                    <a:moveTo>
                      <a:pt x="77589" y="0"/>
                    </a:moveTo>
                    <a:lnTo>
                      <a:pt x="0" y="77589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918" name="Forma livre: Forma 1917">
                <a:extLst>
                  <a:ext uri="{FF2B5EF4-FFF2-40B4-BE49-F238E27FC236}">
                    <a16:creationId xmlns:a16="http://schemas.microsoft.com/office/drawing/2014/main" id="{E46D51D4-59D0-48F8-3881-62B7A8CE60E3}"/>
                  </a:ext>
                </a:extLst>
              </p:cNvPr>
              <p:cNvSpPr/>
              <p:nvPr/>
            </p:nvSpPr>
            <p:spPr>
              <a:xfrm>
                <a:off x="2865154" y="4719995"/>
                <a:ext cx="51938" cy="51889"/>
              </a:xfrm>
              <a:custGeom>
                <a:avLst/>
                <a:gdLst>
                  <a:gd name="connsiteX0" fmla="*/ 0 w 51938"/>
                  <a:gd name="connsiteY0" fmla="*/ 0 h 51889"/>
                  <a:gd name="connsiteX1" fmla="*/ 51938 w 51938"/>
                  <a:gd name="connsiteY1" fmla="*/ 51889 h 518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1938" h="51889">
                    <a:moveTo>
                      <a:pt x="0" y="0"/>
                    </a:moveTo>
                    <a:lnTo>
                      <a:pt x="51938" y="51889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1919" name="Gráfico 18">
                <a:extLst>
                  <a:ext uri="{FF2B5EF4-FFF2-40B4-BE49-F238E27FC236}">
                    <a16:creationId xmlns:a16="http://schemas.microsoft.com/office/drawing/2014/main" id="{A072B4EB-0AB5-B015-20F9-0F62648F7A43}"/>
                  </a:ext>
                </a:extLst>
              </p:cNvPr>
              <p:cNvGrpSpPr/>
              <p:nvPr/>
            </p:nvGrpSpPr>
            <p:grpSpPr>
              <a:xfrm>
                <a:off x="2635804" y="4863375"/>
                <a:ext cx="136732" cy="137971"/>
                <a:chOff x="2635804" y="4863375"/>
                <a:chExt cx="136732" cy="137971"/>
              </a:xfrm>
              <a:noFill/>
            </p:grpSpPr>
            <p:sp>
              <p:nvSpPr>
                <p:cNvPr id="1920" name="Forma livre: Forma 1919">
                  <a:extLst>
                    <a:ext uri="{FF2B5EF4-FFF2-40B4-BE49-F238E27FC236}">
                      <a16:creationId xmlns:a16="http://schemas.microsoft.com/office/drawing/2014/main" id="{39483090-51E4-479F-F6EF-A1DC171F86F2}"/>
                    </a:ext>
                  </a:extLst>
                </p:cNvPr>
                <p:cNvSpPr/>
                <p:nvPr/>
              </p:nvSpPr>
              <p:spPr>
                <a:xfrm>
                  <a:off x="2751047" y="4887313"/>
                  <a:ext cx="21489" cy="21538"/>
                </a:xfrm>
                <a:custGeom>
                  <a:avLst/>
                  <a:gdLst>
                    <a:gd name="connsiteX0" fmla="*/ 0 w 21489"/>
                    <a:gd name="connsiteY0" fmla="*/ 21539 h 21538"/>
                    <a:gd name="connsiteX1" fmla="*/ 21490 w 21489"/>
                    <a:gd name="connsiteY1" fmla="*/ 0 h 2153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1489" h="21538">
                      <a:moveTo>
                        <a:pt x="0" y="21539"/>
                      </a:moveTo>
                      <a:lnTo>
                        <a:pt x="21490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921" name="Forma livre: Forma 1920">
                  <a:extLst>
                    <a:ext uri="{FF2B5EF4-FFF2-40B4-BE49-F238E27FC236}">
                      <a16:creationId xmlns:a16="http://schemas.microsoft.com/office/drawing/2014/main" id="{BFAD0D6E-A488-C34F-D7B5-0C1EF771CFC6}"/>
                    </a:ext>
                  </a:extLst>
                </p:cNvPr>
                <p:cNvSpPr/>
                <p:nvPr/>
              </p:nvSpPr>
              <p:spPr>
                <a:xfrm>
                  <a:off x="2727109" y="4863375"/>
                  <a:ext cx="21489" cy="21538"/>
                </a:xfrm>
                <a:custGeom>
                  <a:avLst/>
                  <a:gdLst>
                    <a:gd name="connsiteX0" fmla="*/ 0 w 21489"/>
                    <a:gd name="connsiteY0" fmla="*/ 21539 h 21538"/>
                    <a:gd name="connsiteX1" fmla="*/ 21490 w 21489"/>
                    <a:gd name="connsiteY1" fmla="*/ 0 h 2153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1489" h="21538">
                      <a:moveTo>
                        <a:pt x="0" y="21539"/>
                      </a:moveTo>
                      <a:lnTo>
                        <a:pt x="21490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922" name="Forma livre: Forma 1921">
                  <a:extLst>
                    <a:ext uri="{FF2B5EF4-FFF2-40B4-BE49-F238E27FC236}">
                      <a16:creationId xmlns:a16="http://schemas.microsoft.com/office/drawing/2014/main" id="{5BF9B5EF-1DA0-FCD6-931C-4F338A77C8EB}"/>
                    </a:ext>
                  </a:extLst>
                </p:cNvPr>
                <p:cNvSpPr/>
                <p:nvPr/>
              </p:nvSpPr>
              <p:spPr>
                <a:xfrm rot="-2700000">
                  <a:off x="2645629" y="4899884"/>
                  <a:ext cx="109946" cy="73330"/>
                </a:xfrm>
                <a:custGeom>
                  <a:avLst/>
                  <a:gdLst>
                    <a:gd name="connsiteX0" fmla="*/ 0 w 109946"/>
                    <a:gd name="connsiteY0" fmla="*/ 0 h 73330"/>
                    <a:gd name="connsiteX1" fmla="*/ 109946 w 109946"/>
                    <a:gd name="connsiteY1" fmla="*/ 0 h 73330"/>
                    <a:gd name="connsiteX2" fmla="*/ 109946 w 109946"/>
                    <a:gd name="connsiteY2" fmla="*/ 73330 h 73330"/>
                    <a:gd name="connsiteX3" fmla="*/ 0 w 109946"/>
                    <a:gd name="connsiteY3" fmla="*/ 73330 h 7333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09946" h="73330">
                      <a:moveTo>
                        <a:pt x="0" y="0"/>
                      </a:moveTo>
                      <a:lnTo>
                        <a:pt x="109946" y="0"/>
                      </a:lnTo>
                      <a:lnTo>
                        <a:pt x="109946" y="73330"/>
                      </a:lnTo>
                      <a:lnTo>
                        <a:pt x="0" y="73330"/>
                      </a:lnTo>
                      <a:close/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923" name="Forma livre: Forma 1922">
                  <a:extLst>
                    <a:ext uri="{FF2B5EF4-FFF2-40B4-BE49-F238E27FC236}">
                      <a16:creationId xmlns:a16="http://schemas.microsoft.com/office/drawing/2014/main" id="{C8B44415-ED50-1387-8B90-3F7C2CD132DB}"/>
                    </a:ext>
                  </a:extLst>
                </p:cNvPr>
                <p:cNvSpPr/>
                <p:nvPr/>
              </p:nvSpPr>
              <p:spPr>
                <a:xfrm>
                  <a:off x="2687605" y="4897495"/>
                  <a:ext cx="51938" cy="51938"/>
                </a:xfrm>
                <a:custGeom>
                  <a:avLst/>
                  <a:gdLst>
                    <a:gd name="connsiteX0" fmla="*/ 51938 w 51938"/>
                    <a:gd name="connsiteY0" fmla="*/ 51938 h 51938"/>
                    <a:gd name="connsiteX1" fmla="*/ 0 w 51938"/>
                    <a:gd name="connsiteY1" fmla="*/ 0 h 5193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51938" h="51938">
                      <a:moveTo>
                        <a:pt x="51938" y="51938"/>
                      </a:moveTo>
                      <a:lnTo>
                        <a:pt x="0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924" name="Forma livre: Forma 1923">
                  <a:extLst>
                    <a:ext uri="{FF2B5EF4-FFF2-40B4-BE49-F238E27FC236}">
                      <a16:creationId xmlns:a16="http://schemas.microsoft.com/office/drawing/2014/main" id="{EAC45F5B-6FBA-0B19-B2A6-60317777D736}"/>
                    </a:ext>
                  </a:extLst>
                </p:cNvPr>
                <p:cNvSpPr/>
                <p:nvPr/>
              </p:nvSpPr>
              <p:spPr>
                <a:xfrm>
                  <a:off x="2661856" y="4897739"/>
                  <a:ext cx="77539" cy="77588"/>
                </a:xfrm>
                <a:custGeom>
                  <a:avLst/>
                  <a:gdLst>
                    <a:gd name="connsiteX0" fmla="*/ 0 w 77539"/>
                    <a:gd name="connsiteY0" fmla="*/ 77589 h 77588"/>
                    <a:gd name="connsiteX1" fmla="*/ 77540 w 77539"/>
                    <a:gd name="connsiteY1" fmla="*/ 0 h 7758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77539" h="77588">
                      <a:moveTo>
                        <a:pt x="0" y="77589"/>
                      </a:moveTo>
                      <a:lnTo>
                        <a:pt x="77540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925" name="Forma livre: Forma 1924">
                  <a:extLst>
                    <a:ext uri="{FF2B5EF4-FFF2-40B4-BE49-F238E27FC236}">
                      <a16:creationId xmlns:a16="http://schemas.microsoft.com/office/drawing/2014/main" id="{44D7E3F1-5719-907D-A0D0-C9156F218062}"/>
                    </a:ext>
                  </a:extLst>
                </p:cNvPr>
                <p:cNvSpPr/>
                <p:nvPr/>
              </p:nvSpPr>
              <p:spPr>
                <a:xfrm>
                  <a:off x="2661709" y="4923439"/>
                  <a:ext cx="51938" cy="51938"/>
                </a:xfrm>
                <a:custGeom>
                  <a:avLst/>
                  <a:gdLst>
                    <a:gd name="connsiteX0" fmla="*/ 51938 w 51938"/>
                    <a:gd name="connsiteY0" fmla="*/ 51938 h 51938"/>
                    <a:gd name="connsiteX1" fmla="*/ 0 w 51938"/>
                    <a:gd name="connsiteY1" fmla="*/ 0 h 5193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51938" h="51938">
                      <a:moveTo>
                        <a:pt x="51938" y="51938"/>
                      </a:moveTo>
                      <a:lnTo>
                        <a:pt x="0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</p:grpSp>
      <p:grpSp>
        <p:nvGrpSpPr>
          <p:cNvPr id="1927" name="Gráfico 19">
            <a:extLst>
              <a:ext uri="{FF2B5EF4-FFF2-40B4-BE49-F238E27FC236}">
                <a16:creationId xmlns:a16="http://schemas.microsoft.com/office/drawing/2014/main" id="{002BCB30-07C8-3ECB-7F94-5EECB08407F0}"/>
              </a:ext>
            </a:extLst>
          </p:cNvPr>
          <p:cNvGrpSpPr/>
          <p:nvPr/>
        </p:nvGrpSpPr>
        <p:grpSpPr>
          <a:xfrm>
            <a:off x="5800525" y="4710180"/>
            <a:ext cx="251734" cy="315518"/>
            <a:chOff x="5800525" y="4710180"/>
            <a:chExt cx="251734" cy="315518"/>
          </a:xfrm>
          <a:noFill/>
        </p:grpSpPr>
        <p:grpSp>
          <p:nvGrpSpPr>
            <p:cNvPr id="1928" name="Gráfico 19">
              <a:extLst>
                <a:ext uri="{FF2B5EF4-FFF2-40B4-BE49-F238E27FC236}">
                  <a16:creationId xmlns:a16="http://schemas.microsoft.com/office/drawing/2014/main" id="{96B9355A-C429-EDA1-BC94-0DF8E4DC7A65}"/>
                </a:ext>
              </a:extLst>
            </p:cNvPr>
            <p:cNvGrpSpPr/>
            <p:nvPr/>
          </p:nvGrpSpPr>
          <p:grpSpPr>
            <a:xfrm>
              <a:off x="5800525" y="4813933"/>
              <a:ext cx="216612" cy="211766"/>
              <a:chOff x="5800525" y="4813933"/>
              <a:chExt cx="216612" cy="211766"/>
            </a:xfrm>
            <a:noFill/>
          </p:grpSpPr>
          <p:sp>
            <p:nvSpPr>
              <p:cNvPr id="1929" name="Forma livre: Forma 1928">
                <a:extLst>
                  <a:ext uri="{FF2B5EF4-FFF2-40B4-BE49-F238E27FC236}">
                    <a16:creationId xmlns:a16="http://schemas.microsoft.com/office/drawing/2014/main" id="{42D846F5-8704-86D6-AA83-22DEA95F2B2F}"/>
                  </a:ext>
                </a:extLst>
              </p:cNvPr>
              <p:cNvSpPr/>
              <p:nvPr/>
            </p:nvSpPr>
            <p:spPr>
              <a:xfrm>
                <a:off x="5800525" y="4920110"/>
                <a:ext cx="216612" cy="4895"/>
              </a:xfrm>
              <a:custGeom>
                <a:avLst/>
                <a:gdLst>
                  <a:gd name="connsiteX0" fmla="*/ 216612 w 216612"/>
                  <a:gd name="connsiteY0" fmla="*/ 0 h 4895"/>
                  <a:gd name="connsiteX1" fmla="*/ 0 w 216612"/>
                  <a:gd name="connsiteY1" fmla="*/ 0 h 48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16612" h="4895">
                    <a:moveTo>
                      <a:pt x="216612" y="0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930" name="Forma livre: Forma 1929">
                <a:extLst>
                  <a:ext uri="{FF2B5EF4-FFF2-40B4-BE49-F238E27FC236}">
                    <a16:creationId xmlns:a16="http://schemas.microsoft.com/office/drawing/2014/main" id="{393348E5-D40A-4048-F7AF-6D7F7829AF8F}"/>
                  </a:ext>
                </a:extLst>
              </p:cNvPr>
              <p:cNvSpPr/>
              <p:nvPr/>
            </p:nvSpPr>
            <p:spPr>
              <a:xfrm>
                <a:off x="5854987" y="4813933"/>
                <a:ext cx="45449" cy="211766"/>
              </a:xfrm>
              <a:custGeom>
                <a:avLst/>
                <a:gdLst>
                  <a:gd name="connsiteX0" fmla="*/ 45449 w 45449"/>
                  <a:gd name="connsiteY0" fmla="*/ 0 h 211766"/>
                  <a:gd name="connsiteX1" fmla="*/ 45449 w 45449"/>
                  <a:gd name="connsiteY1" fmla="*/ 211766 h 2117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5449" h="211766">
                    <a:moveTo>
                      <a:pt x="45449" y="0"/>
                    </a:moveTo>
                    <a:cubicBezTo>
                      <a:pt x="45449" y="0"/>
                      <a:pt x="-56811" y="91442"/>
                      <a:pt x="45449" y="211766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931" name="Forma livre: Forma 1930">
                <a:extLst>
                  <a:ext uri="{FF2B5EF4-FFF2-40B4-BE49-F238E27FC236}">
                    <a16:creationId xmlns:a16="http://schemas.microsoft.com/office/drawing/2014/main" id="{05EC127A-C342-DC33-664C-E7911C56F069}"/>
                  </a:ext>
                </a:extLst>
              </p:cNvPr>
              <p:cNvSpPr/>
              <p:nvPr/>
            </p:nvSpPr>
            <p:spPr>
              <a:xfrm>
                <a:off x="5917325" y="4892305"/>
                <a:ext cx="45453" cy="133394"/>
              </a:xfrm>
              <a:custGeom>
                <a:avLst/>
                <a:gdLst>
                  <a:gd name="connsiteX0" fmla="*/ 43029 w 45453"/>
                  <a:gd name="connsiteY0" fmla="*/ 0 h 133394"/>
                  <a:gd name="connsiteX1" fmla="*/ 0 w 45453"/>
                  <a:gd name="connsiteY1" fmla="*/ 133394 h 1333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5453" h="133394">
                    <a:moveTo>
                      <a:pt x="43029" y="0"/>
                    </a:moveTo>
                    <a:cubicBezTo>
                      <a:pt x="50029" y="35980"/>
                      <a:pt x="43665" y="82044"/>
                      <a:pt x="0" y="133394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932" name="Forma livre: Forma 1931">
                <a:extLst>
                  <a:ext uri="{FF2B5EF4-FFF2-40B4-BE49-F238E27FC236}">
                    <a16:creationId xmlns:a16="http://schemas.microsoft.com/office/drawing/2014/main" id="{DC9B840E-CC24-A4CE-E8EF-7781EA410035}"/>
                  </a:ext>
                </a:extLst>
              </p:cNvPr>
              <p:cNvSpPr/>
              <p:nvPr/>
            </p:nvSpPr>
            <p:spPr>
              <a:xfrm>
                <a:off x="5827400" y="4964596"/>
                <a:ext cx="162863" cy="22578"/>
              </a:xfrm>
              <a:custGeom>
                <a:avLst/>
                <a:gdLst>
                  <a:gd name="connsiteX0" fmla="*/ 162863 w 162863"/>
                  <a:gd name="connsiteY0" fmla="*/ 22480 h 22578"/>
                  <a:gd name="connsiteX1" fmla="*/ 0 w 162863"/>
                  <a:gd name="connsiteY1" fmla="*/ 22578 h 225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62863" h="22578">
                    <a:moveTo>
                      <a:pt x="162863" y="22480"/>
                    </a:moveTo>
                    <a:cubicBezTo>
                      <a:pt x="130946" y="3732"/>
                      <a:pt x="71812" y="-17024"/>
                      <a:pt x="0" y="22578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933" name="Forma livre: Forma 1932">
                <a:extLst>
                  <a:ext uri="{FF2B5EF4-FFF2-40B4-BE49-F238E27FC236}">
                    <a16:creationId xmlns:a16="http://schemas.microsoft.com/office/drawing/2014/main" id="{98B8BC84-315E-BD3C-9BA1-432061EA9F48}"/>
                  </a:ext>
                </a:extLst>
              </p:cNvPr>
              <p:cNvSpPr/>
              <p:nvPr/>
            </p:nvSpPr>
            <p:spPr>
              <a:xfrm>
                <a:off x="5826127" y="4852507"/>
                <a:ext cx="82190" cy="23252"/>
              </a:xfrm>
              <a:custGeom>
                <a:avLst/>
                <a:gdLst>
                  <a:gd name="connsiteX0" fmla="*/ 82190 w 82190"/>
                  <a:gd name="connsiteY0" fmla="*/ 23252 h 23252"/>
                  <a:gd name="connsiteX1" fmla="*/ 0 w 82190"/>
                  <a:gd name="connsiteY1" fmla="*/ 0 h 232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82190" h="23252">
                    <a:moveTo>
                      <a:pt x="82190" y="23252"/>
                    </a:moveTo>
                    <a:cubicBezTo>
                      <a:pt x="57665" y="23007"/>
                      <a:pt x="29910" y="16742"/>
                      <a:pt x="0" y="0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934" name="Forma livre: Forma 1933">
              <a:extLst>
                <a:ext uri="{FF2B5EF4-FFF2-40B4-BE49-F238E27FC236}">
                  <a16:creationId xmlns:a16="http://schemas.microsoft.com/office/drawing/2014/main" id="{06F09A0C-806A-22FB-D543-C69F557CD8FE}"/>
                </a:ext>
              </a:extLst>
            </p:cNvPr>
            <p:cNvSpPr/>
            <p:nvPr/>
          </p:nvSpPr>
          <p:spPr>
            <a:xfrm>
              <a:off x="5803756" y="4814912"/>
              <a:ext cx="210101" cy="210101"/>
            </a:xfrm>
            <a:custGeom>
              <a:avLst/>
              <a:gdLst>
                <a:gd name="connsiteX0" fmla="*/ 195416 w 210101"/>
                <a:gd name="connsiteY0" fmla="*/ 51448 h 210101"/>
                <a:gd name="connsiteX1" fmla="*/ 210102 w 210101"/>
                <a:gd name="connsiteY1" fmla="*/ 105051 h 210101"/>
                <a:gd name="connsiteX2" fmla="*/ 105051 w 210101"/>
                <a:gd name="connsiteY2" fmla="*/ 210102 h 210101"/>
                <a:gd name="connsiteX3" fmla="*/ 0 w 210101"/>
                <a:gd name="connsiteY3" fmla="*/ 105051 h 210101"/>
                <a:gd name="connsiteX4" fmla="*/ 105051 w 210101"/>
                <a:gd name="connsiteY4" fmla="*/ 0 h 210101"/>
                <a:gd name="connsiteX5" fmla="*/ 105051 w 210101"/>
                <a:gd name="connsiteY5" fmla="*/ 205990 h 2101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10101" h="210101">
                  <a:moveTo>
                    <a:pt x="195416" y="51448"/>
                  </a:moveTo>
                  <a:cubicBezTo>
                    <a:pt x="204766" y="67162"/>
                    <a:pt x="210102" y="85470"/>
                    <a:pt x="210102" y="105051"/>
                  </a:cubicBezTo>
                  <a:cubicBezTo>
                    <a:pt x="210102" y="163059"/>
                    <a:pt x="163059" y="210102"/>
                    <a:pt x="105051" y="210102"/>
                  </a:cubicBezTo>
                  <a:cubicBezTo>
                    <a:pt x="47043" y="210102"/>
                    <a:pt x="0" y="163059"/>
                    <a:pt x="0" y="105051"/>
                  </a:cubicBezTo>
                  <a:cubicBezTo>
                    <a:pt x="0" y="47043"/>
                    <a:pt x="47043" y="0"/>
                    <a:pt x="105051" y="0"/>
                  </a:cubicBezTo>
                  <a:lnTo>
                    <a:pt x="105051" y="20599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935" name="Gráfico 19">
              <a:extLst>
                <a:ext uri="{FF2B5EF4-FFF2-40B4-BE49-F238E27FC236}">
                  <a16:creationId xmlns:a16="http://schemas.microsoft.com/office/drawing/2014/main" id="{EC55CFB9-34AD-7D03-4F92-9F3DCD31E5B7}"/>
                </a:ext>
              </a:extLst>
            </p:cNvPr>
            <p:cNvGrpSpPr/>
            <p:nvPr/>
          </p:nvGrpSpPr>
          <p:grpSpPr>
            <a:xfrm>
              <a:off x="5938038" y="4710180"/>
              <a:ext cx="114221" cy="168026"/>
              <a:chOff x="5938038" y="4710180"/>
              <a:chExt cx="114221" cy="168026"/>
            </a:xfrm>
            <a:noFill/>
          </p:grpSpPr>
          <p:sp>
            <p:nvSpPr>
              <p:cNvPr id="1936" name="Forma livre: Forma 1935">
                <a:extLst>
                  <a:ext uri="{FF2B5EF4-FFF2-40B4-BE49-F238E27FC236}">
                    <a16:creationId xmlns:a16="http://schemas.microsoft.com/office/drawing/2014/main" id="{E49029C9-73D4-CED7-9B21-9EDD414D3943}"/>
                  </a:ext>
                </a:extLst>
              </p:cNvPr>
              <p:cNvSpPr/>
              <p:nvPr/>
            </p:nvSpPr>
            <p:spPr>
              <a:xfrm>
                <a:off x="5938038" y="4710180"/>
                <a:ext cx="114221" cy="168026"/>
              </a:xfrm>
              <a:custGeom>
                <a:avLst/>
                <a:gdLst>
                  <a:gd name="connsiteX0" fmla="*/ 108324 w 114221"/>
                  <a:gd name="connsiteY0" fmla="*/ 80990 h 168026"/>
                  <a:gd name="connsiteX1" fmla="*/ 2294 w 114221"/>
                  <a:gd name="connsiteY1" fmla="*/ 168027 h 168026"/>
                  <a:gd name="connsiteX2" fmla="*/ 8119 w 114221"/>
                  <a:gd name="connsiteY2" fmla="*/ 31010 h 168026"/>
                  <a:gd name="connsiteX3" fmla="*/ 83212 w 114221"/>
                  <a:gd name="connsiteY3" fmla="*/ 5898 h 168026"/>
                  <a:gd name="connsiteX4" fmla="*/ 108324 w 114221"/>
                  <a:gd name="connsiteY4" fmla="*/ 80990 h 1680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14221" h="168026">
                    <a:moveTo>
                      <a:pt x="108324" y="80990"/>
                    </a:moveTo>
                    <a:cubicBezTo>
                      <a:pt x="94519" y="108648"/>
                      <a:pt x="2294" y="168027"/>
                      <a:pt x="2294" y="168027"/>
                    </a:cubicBezTo>
                    <a:cubicBezTo>
                      <a:pt x="2294" y="168027"/>
                      <a:pt x="-5685" y="58668"/>
                      <a:pt x="8119" y="31010"/>
                    </a:cubicBezTo>
                    <a:cubicBezTo>
                      <a:pt x="21924" y="3352"/>
                      <a:pt x="55554" y="-7907"/>
                      <a:pt x="83212" y="5898"/>
                    </a:cubicBezTo>
                    <a:cubicBezTo>
                      <a:pt x="110869" y="19702"/>
                      <a:pt x="122128" y="53332"/>
                      <a:pt x="108324" y="80990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937" name="Forma livre: Forma 1936">
                <a:extLst>
                  <a:ext uri="{FF2B5EF4-FFF2-40B4-BE49-F238E27FC236}">
                    <a16:creationId xmlns:a16="http://schemas.microsoft.com/office/drawing/2014/main" id="{4835F512-DF77-7933-FE53-F2D4C41D4A81}"/>
                  </a:ext>
                </a:extLst>
              </p:cNvPr>
              <p:cNvSpPr/>
              <p:nvPr/>
            </p:nvSpPr>
            <p:spPr>
              <a:xfrm>
                <a:off x="5972385" y="4742235"/>
                <a:ext cx="47799" cy="47842"/>
              </a:xfrm>
              <a:custGeom>
                <a:avLst/>
                <a:gdLst>
                  <a:gd name="connsiteX0" fmla="*/ 45292 w 47799"/>
                  <a:gd name="connsiteY0" fmla="*/ 34593 h 47842"/>
                  <a:gd name="connsiteX1" fmla="*/ 13228 w 47799"/>
                  <a:gd name="connsiteY1" fmla="*/ 45313 h 47842"/>
                  <a:gd name="connsiteX2" fmla="*/ 2508 w 47799"/>
                  <a:gd name="connsiteY2" fmla="*/ 13250 h 47842"/>
                  <a:gd name="connsiteX3" fmla="*/ 34571 w 47799"/>
                  <a:gd name="connsiteY3" fmla="*/ 2529 h 47842"/>
                  <a:gd name="connsiteX4" fmla="*/ 45292 w 47799"/>
                  <a:gd name="connsiteY4" fmla="*/ 34593 h 478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7799" h="47842">
                    <a:moveTo>
                      <a:pt x="45292" y="34593"/>
                    </a:moveTo>
                    <a:cubicBezTo>
                      <a:pt x="39417" y="46390"/>
                      <a:pt x="25026" y="51236"/>
                      <a:pt x="13228" y="45313"/>
                    </a:cubicBezTo>
                    <a:cubicBezTo>
                      <a:pt x="1431" y="39439"/>
                      <a:pt x="-3367" y="25047"/>
                      <a:pt x="2508" y="13250"/>
                    </a:cubicBezTo>
                    <a:cubicBezTo>
                      <a:pt x="8382" y="1452"/>
                      <a:pt x="22774" y="-3394"/>
                      <a:pt x="34571" y="2529"/>
                    </a:cubicBezTo>
                    <a:cubicBezTo>
                      <a:pt x="46369" y="8403"/>
                      <a:pt x="51166" y="22795"/>
                      <a:pt x="45292" y="34593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938" name="Gráfico 19">
            <a:extLst>
              <a:ext uri="{FF2B5EF4-FFF2-40B4-BE49-F238E27FC236}">
                <a16:creationId xmlns:a16="http://schemas.microsoft.com/office/drawing/2014/main" id="{144065EB-D3EF-202A-0FCA-036BFD15A1F1}"/>
              </a:ext>
            </a:extLst>
          </p:cNvPr>
          <p:cNvGrpSpPr/>
          <p:nvPr/>
        </p:nvGrpSpPr>
        <p:grpSpPr>
          <a:xfrm>
            <a:off x="4485431" y="4728316"/>
            <a:ext cx="330425" cy="279270"/>
            <a:chOff x="4485431" y="4728316"/>
            <a:chExt cx="330425" cy="279270"/>
          </a:xfrm>
          <a:noFill/>
        </p:grpSpPr>
        <p:sp>
          <p:nvSpPr>
            <p:cNvPr id="1939" name="Forma livre: Forma 1938">
              <a:extLst>
                <a:ext uri="{FF2B5EF4-FFF2-40B4-BE49-F238E27FC236}">
                  <a16:creationId xmlns:a16="http://schemas.microsoft.com/office/drawing/2014/main" id="{042C029C-BA73-134E-0FAC-0C50E86D7DA2}"/>
                </a:ext>
              </a:extLst>
            </p:cNvPr>
            <p:cNvSpPr/>
            <p:nvPr/>
          </p:nvSpPr>
          <p:spPr>
            <a:xfrm>
              <a:off x="4485431" y="4870375"/>
              <a:ext cx="165212" cy="137212"/>
            </a:xfrm>
            <a:custGeom>
              <a:avLst/>
              <a:gdLst>
                <a:gd name="connsiteX0" fmla="*/ 104023 w 165212"/>
                <a:gd name="connsiteY0" fmla="*/ 0 h 137212"/>
                <a:gd name="connsiteX1" fmla="*/ 46358 w 165212"/>
                <a:gd name="connsiteY1" fmla="*/ 25455 h 137212"/>
                <a:gd name="connsiteX2" fmla="*/ 0 w 165212"/>
                <a:gd name="connsiteY2" fmla="*/ 127667 h 137212"/>
                <a:gd name="connsiteX3" fmla="*/ 83218 w 165212"/>
                <a:gd name="connsiteY3" fmla="*/ 90855 h 137212"/>
                <a:gd name="connsiteX4" fmla="*/ 165213 w 165212"/>
                <a:gd name="connsiteY4" fmla="*/ 137212 h 137212"/>
                <a:gd name="connsiteX5" fmla="*/ 165213 w 165212"/>
                <a:gd name="connsiteY5" fmla="*/ 87820 h 1372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65212" h="137212">
                  <a:moveTo>
                    <a:pt x="104023" y="0"/>
                  </a:moveTo>
                  <a:lnTo>
                    <a:pt x="46358" y="25455"/>
                  </a:lnTo>
                  <a:lnTo>
                    <a:pt x="0" y="127667"/>
                  </a:lnTo>
                  <a:lnTo>
                    <a:pt x="83218" y="90855"/>
                  </a:lnTo>
                  <a:lnTo>
                    <a:pt x="165213" y="137212"/>
                  </a:lnTo>
                  <a:lnTo>
                    <a:pt x="165213" y="8782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40" name="Forma livre: Forma 1939">
              <a:extLst>
                <a:ext uri="{FF2B5EF4-FFF2-40B4-BE49-F238E27FC236}">
                  <a16:creationId xmlns:a16="http://schemas.microsoft.com/office/drawing/2014/main" id="{181C373E-1C33-4C84-F9DA-9CAD8B96DEAD}"/>
                </a:ext>
              </a:extLst>
            </p:cNvPr>
            <p:cNvSpPr/>
            <p:nvPr/>
          </p:nvSpPr>
          <p:spPr>
            <a:xfrm>
              <a:off x="4568649" y="4905375"/>
              <a:ext cx="21392" cy="55854"/>
            </a:xfrm>
            <a:custGeom>
              <a:avLst/>
              <a:gdLst>
                <a:gd name="connsiteX0" fmla="*/ 21392 w 21392"/>
                <a:gd name="connsiteY0" fmla="*/ 0 h 55854"/>
                <a:gd name="connsiteX1" fmla="*/ 0 w 21392"/>
                <a:gd name="connsiteY1" fmla="*/ 55854 h 558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1392" h="55854">
                  <a:moveTo>
                    <a:pt x="21392" y="0"/>
                  </a:moveTo>
                  <a:lnTo>
                    <a:pt x="0" y="55854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41" name="Forma livre: Forma 1940">
              <a:extLst>
                <a:ext uri="{FF2B5EF4-FFF2-40B4-BE49-F238E27FC236}">
                  <a16:creationId xmlns:a16="http://schemas.microsoft.com/office/drawing/2014/main" id="{833E6095-BADA-839E-905F-8BB320C2EA2F}"/>
                </a:ext>
              </a:extLst>
            </p:cNvPr>
            <p:cNvSpPr/>
            <p:nvPr/>
          </p:nvSpPr>
          <p:spPr>
            <a:xfrm>
              <a:off x="4650644" y="4869836"/>
              <a:ext cx="165212" cy="137750"/>
            </a:xfrm>
            <a:custGeom>
              <a:avLst/>
              <a:gdLst>
                <a:gd name="connsiteX0" fmla="*/ 61582 w 165212"/>
                <a:gd name="connsiteY0" fmla="*/ 0 h 137750"/>
                <a:gd name="connsiteX1" fmla="*/ 118855 w 165212"/>
                <a:gd name="connsiteY1" fmla="*/ 25993 h 137750"/>
                <a:gd name="connsiteX2" fmla="*/ 165213 w 165212"/>
                <a:gd name="connsiteY2" fmla="*/ 128205 h 137750"/>
                <a:gd name="connsiteX3" fmla="*/ 82043 w 165212"/>
                <a:gd name="connsiteY3" fmla="*/ 91393 h 137750"/>
                <a:gd name="connsiteX4" fmla="*/ 0 w 165212"/>
                <a:gd name="connsiteY4" fmla="*/ 137751 h 137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5212" h="137750">
                  <a:moveTo>
                    <a:pt x="61582" y="0"/>
                  </a:moveTo>
                  <a:lnTo>
                    <a:pt x="118855" y="25993"/>
                  </a:lnTo>
                  <a:lnTo>
                    <a:pt x="165213" y="128205"/>
                  </a:lnTo>
                  <a:lnTo>
                    <a:pt x="82043" y="91393"/>
                  </a:lnTo>
                  <a:lnTo>
                    <a:pt x="0" y="137751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42" name="Forma livre: Forma 1941">
              <a:extLst>
                <a:ext uri="{FF2B5EF4-FFF2-40B4-BE49-F238E27FC236}">
                  <a16:creationId xmlns:a16="http://schemas.microsoft.com/office/drawing/2014/main" id="{61C1CE8C-6714-FE90-7370-2AC3B382B05C}"/>
                </a:ext>
              </a:extLst>
            </p:cNvPr>
            <p:cNvSpPr/>
            <p:nvPr/>
          </p:nvSpPr>
          <p:spPr>
            <a:xfrm>
              <a:off x="4711295" y="4905375"/>
              <a:ext cx="21392" cy="55854"/>
            </a:xfrm>
            <a:custGeom>
              <a:avLst/>
              <a:gdLst>
                <a:gd name="connsiteX0" fmla="*/ 0 w 21392"/>
                <a:gd name="connsiteY0" fmla="*/ 0 h 55854"/>
                <a:gd name="connsiteX1" fmla="*/ 21392 w 21392"/>
                <a:gd name="connsiteY1" fmla="*/ 55854 h 558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1392" h="55854">
                  <a:moveTo>
                    <a:pt x="0" y="0"/>
                  </a:moveTo>
                  <a:lnTo>
                    <a:pt x="21392" y="55854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43" name="Forma livre: Forma 1942">
              <a:extLst>
                <a:ext uri="{FF2B5EF4-FFF2-40B4-BE49-F238E27FC236}">
                  <a16:creationId xmlns:a16="http://schemas.microsoft.com/office/drawing/2014/main" id="{47F0E954-FEC7-E1DD-9E34-21433D1CC667}"/>
                </a:ext>
              </a:extLst>
            </p:cNvPr>
            <p:cNvSpPr/>
            <p:nvPr/>
          </p:nvSpPr>
          <p:spPr>
            <a:xfrm>
              <a:off x="4586860" y="4728316"/>
              <a:ext cx="127568" cy="206430"/>
            </a:xfrm>
            <a:custGeom>
              <a:avLst/>
              <a:gdLst>
                <a:gd name="connsiteX0" fmla="*/ 127569 w 127568"/>
                <a:gd name="connsiteY0" fmla="*/ 63784 h 206430"/>
                <a:gd name="connsiteX1" fmla="*/ 63784 w 127568"/>
                <a:gd name="connsiteY1" fmla="*/ 206430 h 206430"/>
                <a:gd name="connsiteX2" fmla="*/ 0 w 127568"/>
                <a:gd name="connsiteY2" fmla="*/ 63784 h 206430"/>
                <a:gd name="connsiteX3" fmla="*/ 63784 w 127568"/>
                <a:gd name="connsiteY3" fmla="*/ 0 h 206430"/>
                <a:gd name="connsiteX4" fmla="*/ 127569 w 127568"/>
                <a:gd name="connsiteY4" fmla="*/ 63784 h 2064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7568" h="206430">
                  <a:moveTo>
                    <a:pt x="127569" y="63784"/>
                  </a:moveTo>
                  <a:cubicBezTo>
                    <a:pt x="127569" y="99030"/>
                    <a:pt x="63784" y="206430"/>
                    <a:pt x="63784" y="206430"/>
                  </a:cubicBezTo>
                  <a:cubicBezTo>
                    <a:pt x="63784" y="206430"/>
                    <a:pt x="0" y="98981"/>
                    <a:pt x="0" y="63784"/>
                  </a:cubicBezTo>
                  <a:cubicBezTo>
                    <a:pt x="0" y="28588"/>
                    <a:pt x="28539" y="0"/>
                    <a:pt x="63784" y="0"/>
                  </a:cubicBezTo>
                  <a:cubicBezTo>
                    <a:pt x="99030" y="0"/>
                    <a:pt x="127569" y="28539"/>
                    <a:pt x="127569" y="63784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44" name="Forma livre: Forma 1943">
              <a:extLst>
                <a:ext uri="{FF2B5EF4-FFF2-40B4-BE49-F238E27FC236}">
                  <a16:creationId xmlns:a16="http://schemas.microsoft.com/office/drawing/2014/main" id="{6DB79D28-4CAE-7FA9-7AD0-8171690569E3}"/>
                </a:ext>
              </a:extLst>
            </p:cNvPr>
            <p:cNvSpPr/>
            <p:nvPr/>
          </p:nvSpPr>
          <p:spPr>
            <a:xfrm>
              <a:off x="4617650" y="4759107"/>
              <a:ext cx="65987" cy="65987"/>
            </a:xfrm>
            <a:custGeom>
              <a:avLst/>
              <a:gdLst>
                <a:gd name="connsiteX0" fmla="*/ 65987 w 65987"/>
                <a:gd name="connsiteY0" fmla="*/ 32994 h 65987"/>
                <a:gd name="connsiteX1" fmla="*/ 32994 w 65987"/>
                <a:gd name="connsiteY1" fmla="*/ 65987 h 65987"/>
                <a:gd name="connsiteX2" fmla="*/ 0 w 65987"/>
                <a:gd name="connsiteY2" fmla="*/ 32994 h 65987"/>
                <a:gd name="connsiteX3" fmla="*/ 32994 w 65987"/>
                <a:gd name="connsiteY3" fmla="*/ 0 h 65987"/>
                <a:gd name="connsiteX4" fmla="*/ 65987 w 65987"/>
                <a:gd name="connsiteY4" fmla="*/ 32994 h 659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5987" h="65987">
                  <a:moveTo>
                    <a:pt x="65987" y="32994"/>
                  </a:moveTo>
                  <a:cubicBezTo>
                    <a:pt x="65987" y="51204"/>
                    <a:pt x="51204" y="65987"/>
                    <a:pt x="32994" y="65987"/>
                  </a:cubicBezTo>
                  <a:cubicBezTo>
                    <a:pt x="14783" y="65987"/>
                    <a:pt x="0" y="51204"/>
                    <a:pt x="0" y="32994"/>
                  </a:cubicBezTo>
                  <a:cubicBezTo>
                    <a:pt x="0" y="14784"/>
                    <a:pt x="14783" y="0"/>
                    <a:pt x="32994" y="0"/>
                  </a:cubicBezTo>
                  <a:cubicBezTo>
                    <a:pt x="51204" y="0"/>
                    <a:pt x="65987" y="14784"/>
                    <a:pt x="65987" y="32994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945" name="Gráfico 19">
            <a:extLst>
              <a:ext uri="{FF2B5EF4-FFF2-40B4-BE49-F238E27FC236}">
                <a16:creationId xmlns:a16="http://schemas.microsoft.com/office/drawing/2014/main" id="{C808F093-E3DD-992C-8788-D56845A48A96}"/>
              </a:ext>
            </a:extLst>
          </p:cNvPr>
          <p:cNvGrpSpPr/>
          <p:nvPr/>
        </p:nvGrpSpPr>
        <p:grpSpPr>
          <a:xfrm>
            <a:off x="5207962" y="4716910"/>
            <a:ext cx="161149" cy="302033"/>
            <a:chOff x="5207962" y="4716910"/>
            <a:chExt cx="161149" cy="302033"/>
          </a:xfrm>
          <a:noFill/>
        </p:grpSpPr>
        <p:sp>
          <p:nvSpPr>
            <p:cNvPr id="1946" name="Forma livre: Forma 1945">
              <a:extLst>
                <a:ext uri="{FF2B5EF4-FFF2-40B4-BE49-F238E27FC236}">
                  <a16:creationId xmlns:a16="http://schemas.microsoft.com/office/drawing/2014/main" id="{B1947031-FED0-7AF6-B610-115B262251EA}"/>
                </a:ext>
              </a:extLst>
            </p:cNvPr>
            <p:cNvSpPr/>
            <p:nvPr/>
          </p:nvSpPr>
          <p:spPr>
            <a:xfrm>
              <a:off x="5207962" y="4716910"/>
              <a:ext cx="161149" cy="260767"/>
            </a:xfrm>
            <a:custGeom>
              <a:avLst/>
              <a:gdLst>
                <a:gd name="connsiteX0" fmla="*/ 161150 w 161149"/>
                <a:gd name="connsiteY0" fmla="*/ 80575 h 260767"/>
                <a:gd name="connsiteX1" fmla="*/ 80575 w 161149"/>
                <a:gd name="connsiteY1" fmla="*/ 260767 h 260767"/>
                <a:gd name="connsiteX2" fmla="*/ 0 w 161149"/>
                <a:gd name="connsiteY2" fmla="*/ 80575 h 260767"/>
                <a:gd name="connsiteX3" fmla="*/ 80575 w 161149"/>
                <a:gd name="connsiteY3" fmla="*/ 0 h 260767"/>
                <a:gd name="connsiteX4" fmla="*/ 161150 w 161149"/>
                <a:gd name="connsiteY4" fmla="*/ 80575 h 2607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1149" h="260767">
                  <a:moveTo>
                    <a:pt x="161150" y="80575"/>
                  </a:moveTo>
                  <a:cubicBezTo>
                    <a:pt x="161150" y="125072"/>
                    <a:pt x="80575" y="260767"/>
                    <a:pt x="80575" y="260767"/>
                  </a:cubicBezTo>
                  <a:cubicBezTo>
                    <a:pt x="80575" y="260767"/>
                    <a:pt x="0" y="125072"/>
                    <a:pt x="0" y="80575"/>
                  </a:cubicBezTo>
                  <a:cubicBezTo>
                    <a:pt x="0" y="36078"/>
                    <a:pt x="36078" y="0"/>
                    <a:pt x="80575" y="0"/>
                  </a:cubicBezTo>
                  <a:cubicBezTo>
                    <a:pt x="125072" y="0"/>
                    <a:pt x="161150" y="36078"/>
                    <a:pt x="161150" y="80575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47" name="Forma livre: Forma 1946">
              <a:extLst>
                <a:ext uri="{FF2B5EF4-FFF2-40B4-BE49-F238E27FC236}">
                  <a16:creationId xmlns:a16="http://schemas.microsoft.com/office/drawing/2014/main" id="{2A6F7CD8-97F7-C43A-D859-217753B1EF19}"/>
                </a:ext>
              </a:extLst>
            </p:cNvPr>
            <p:cNvSpPr/>
            <p:nvPr/>
          </p:nvSpPr>
          <p:spPr>
            <a:xfrm>
              <a:off x="5250403" y="4759401"/>
              <a:ext cx="76169" cy="76169"/>
            </a:xfrm>
            <a:custGeom>
              <a:avLst/>
              <a:gdLst>
                <a:gd name="connsiteX0" fmla="*/ 76169 w 76169"/>
                <a:gd name="connsiteY0" fmla="*/ 38085 h 76169"/>
                <a:gd name="connsiteX1" fmla="*/ 38085 w 76169"/>
                <a:gd name="connsiteY1" fmla="*/ 76169 h 76169"/>
                <a:gd name="connsiteX2" fmla="*/ 0 w 76169"/>
                <a:gd name="connsiteY2" fmla="*/ 38085 h 76169"/>
                <a:gd name="connsiteX3" fmla="*/ 38085 w 76169"/>
                <a:gd name="connsiteY3" fmla="*/ 0 h 76169"/>
                <a:gd name="connsiteX4" fmla="*/ 76169 w 76169"/>
                <a:gd name="connsiteY4" fmla="*/ 38085 h 761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169" h="76169">
                  <a:moveTo>
                    <a:pt x="76169" y="38085"/>
                  </a:moveTo>
                  <a:cubicBezTo>
                    <a:pt x="76169" y="59134"/>
                    <a:pt x="59134" y="76169"/>
                    <a:pt x="38085" y="76169"/>
                  </a:cubicBezTo>
                  <a:cubicBezTo>
                    <a:pt x="17035" y="76169"/>
                    <a:pt x="0" y="59085"/>
                    <a:pt x="0" y="38085"/>
                  </a:cubicBezTo>
                  <a:cubicBezTo>
                    <a:pt x="0" y="17084"/>
                    <a:pt x="17035" y="0"/>
                    <a:pt x="38085" y="0"/>
                  </a:cubicBezTo>
                  <a:cubicBezTo>
                    <a:pt x="59134" y="0"/>
                    <a:pt x="76169" y="17035"/>
                    <a:pt x="76169" y="38085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48" name="Forma livre: Forma 1947">
              <a:extLst>
                <a:ext uri="{FF2B5EF4-FFF2-40B4-BE49-F238E27FC236}">
                  <a16:creationId xmlns:a16="http://schemas.microsoft.com/office/drawing/2014/main" id="{7644C246-1BF8-3BDF-90B6-A48A828349CF}"/>
                </a:ext>
              </a:extLst>
            </p:cNvPr>
            <p:cNvSpPr/>
            <p:nvPr/>
          </p:nvSpPr>
          <p:spPr>
            <a:xfrm>
              <a:off x="5244921" y="5018944"/>
              <a:ext cx="87183" cy="4895"/>
            </a:xfrm>
            <a:custGeom>
              <a:avLst/>
              <a:gdLst>
                <a:gd name="connsiteX0" fmla="*/ 0 w 87183"/>
                <a:gd name="connsiteY0" fmla="*/ 0 h 4895"/>
                <a:gd name="connsiteX1" fmla="*/ 87183 w 87183"/>
                <a:gd name="connsiteY1" fmla="*/ 0 h 48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7183" h="4895">
                  <a:moveTo>
                    <a:pt x="0" y="0"/>
                  </a:moveTo>
                  <a:lnTo>
                    <a:pt x="87183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949" name="Gráfico 19">
            <a:extLst>
              <a:ext uri="{FF2B5EF4-FFF2-40B4-BE49-F238E27FC236}">
                <a16:creationId xmlns:a16="http://schemas.microsoft.com/office/drawing/2014/main" id="{DBF9CB04-65B8-94B3-BC62-7F0893A0434C}"/>
              </a:ext>
            </a:extLst>
          </p:cNvPr>
          <p:cNvGrpSpPr/>
          <p:nvPr/>
        </p:nvGrpSpPr>
        <p:grpSpPr>
          <a:xfrm>
            <a:off x="5809826" y="3626701"/>
            <a:ext cx="238934" cy="297383"/>
            <a:chOff x="5809826" y="3626701"/>
            <a:chExt cx="238934" cy="297383"/>
          </a:xfrm>
        </p:grpSpPr>
        <p:sp>
          <p:nvSpPr>
            <p:cNvPr id="1950" name="Forma livre: Forma 1949">
              <a:extLst>
                <a:ext uri="{FF2B5EF4-FFF2-40B4-BE49-F238E27FC236}">
                  <a16:creationId xmlns:a16="http://schemas.microsoft.com/office/drawing/2014/main" id="{6CD62403-2621-5B5E-D375-F9D4FD007D73}"/>
                </a:ext>
              </a:extLst>
            </p:cNvPr>
            <p:cNvSpPr/>
            <p:nvPr/>
          </p:nvSpPr>
          <p:spPr>
            <a:xfrm>
              <a:off x="5849233" y="3627240"/>
              <a:ext cx="53259" cy="230514"/>
            </a:xfrm>
            <a:custGeom>
              <a:avLst/>
              <a:gdLst>
                <a:gd name="connsiteX0" fmla="*/ 0 w 53259"/>
                <a:gd name="connsiteY0" fmla="*/ 0 h 230514"/>
                <a:gd name="connsiteX1" fmla="*/ 53260 w 53259"/>
                <a:gd name="connsiteY1" fmla="*/ 230515 h 2305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3259" h="230514">
                  <a:moveTo>
                    <a:pt x="0" y="0"/>
                  </a:moveTo>
                  <a:lnTo>
                    <a:pt x="53260" y="230515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51" name="Forma livre: Forma 1950">
              <a:extLst>
                <a:ext uri="{FF2B5EF4-FFF2-40B4-BE49-F238E27FC236}">
                  <a16:creationId xmlns:a16="http://schemas.microsoft.com/office/drawing/2014/main" id="{268ADDC7-46B1-7B52-D4E5-C4487A3C4F30}"/>
                </a:ext>
              </a:extLst>
            </p:cNvPr>
            <p:cNvSpPr/>
            <p:nvPr/>
          </p:nvSpPr>
          <p:spPr>
            <a:xfrm>
              <a:off x="5837778" y="3768319"/>
              <a:ext cx="43860" cy="31378"/>
            </a:xfrm>
            <a:custGeom>
              <a:avLst/>
              <a:gdLst>
                <a:gd name="connsiteX0" fmla="*/ 43861 w 43860"/>
                <a:gd name="connsiteY0" fmla="*/ 0 h 31378"/>
                <a:gd name="connsiteX1" fmla="*/ 0 w 43860"/>
                <a:gd name="connsiteY1" fmla="*/ 10182 h 31378"/>
                <a:gd name="connsiteX2" fmla="*/ 4308 w 43860"/>
                <a:gd name="connsiteY2" fmla="*/ 31378 h 313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3860" h="31378">
                  <a:moveTo>
                    <a:pt x="43861" y="0"/>
                  </a:moveTo>
                  <a:lnTo>
                    <a:pt x="0" y="10182"/>
                  </a:lnTo>
                  <a:lnTo>
                    <a:pt x="4308" y="31378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52" name="Forma livre: Forma 1951">
              <a:extLst>
                <a:ext uri="{FF2B5EF4-FFF2-40B4-BE49-F238E27FC236}">
                  <a16:creationId xmlns:a16="http://schemas.microsoft.com/office/drawing/2014/main" id="{0087AE70-C7BC-9181-9FDB-7BC027A4B001}"/>
                </a:ext>
              </a:extLst>
            </p:cNvPr>
            <p:cNvSpPr/>
            <p:nvPr/>
          </p:nvSpPr>
          <p:spPr>
            <a:xfrm>
              <a:off x="5811735" y="3726025"/>
              <a:ext cx="59525" cy="13755"/>
            </a:xfrm>
            <a:custGeom>
              <a:avLst/>
              <a:gdLst>
                <a:gd name="connsiteX0" fmla="*/ 0 w 59525"/>
                <a:gd name="connsiteY0" fmla="*/ 13756 h 13755"/>
                <a:gd name="connsiteX1" fmla="*/ 59526 w 59525"/>
                <a:gd name="connsiteY1" fmla="*/ 0 h 137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9525" h="13755">
                  <a:moveTo>
                    <a:pt x="0" y="13756"/>
                  </a:moveTo>
                  <a:lnTo>
                    <a:pt x="59526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53" name="Forma livre: Forma 1952">
              <a:extLst>
                <a:ext uri="{FF2B5EF4-FFF2-40B4-BE49-F238E27FC236}">
                  <a16:creationId xmlns:a16="http://schemas.microsoft.com/office/drawing/2014/main" id="{12AA9C7C-751A-A11B-676E-EEAE054F886A}"/>
                </a:ext>
              </a:extLst>
            </p:cNvPr>
            <p:cNvSpPr/>
            <p:nvPr/>
          </p:nvSpPr>
          <p:spPr>
            <a:xfrm>
              <a:off x="5861226" y="3659646"/>
              <a:ext cx="71469" cy="16741"/>
            </a:xfrm>
            <a:custGeom>
              <a:avLst/>
              <a:gdLst>
                <a:gd name="connsiteX0" fmla="*/ 0 w 71469"/>
                <a:gd name="connsiteY0" fmla="*/ 16742 h 16741"/>
                <a:gd name="connsiteX1" fmla="*/ 71470 w 71469"/>
                <a:gd name="connsiteY1" fmla="*/ 0 h 167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1469" h="16741">
                  <a:moveTo>
                    <a:pt x="0" y="16742"/>
                  </a:moveTo>
                  <a:lnTo>
                    <a:pt x="7147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54" name="Forma livre: Forma 1953">
              <a:extLst>
                <a:ext uri="{FF2B5EF4-FFF2-40B4-BE49-F238E27FC236}">
                  <a16:creationId xmlns:a16="http://schemas.microsoft.com/office/drawing/2014/main" id="{B8422B15-7FF6-85B3-C4F3-378E3CCF97DF}"/>
                </a:ext>
              </a:extLst>
            </p:cNvPr>
            <p:cNvSpPr/>
            <p:nvPr/>
          </p:nvSpPr>
          <p:spPr>
            <a:xfrm>
              <a:off x="5888688" y="3787704"/>
              <a:ext cx="41462" cy="9398"/>
            </a:xfrm>
            <a:custGeom>
              <a:avLst/>
              <a:gdLst>
                <a:gd name="connsiteX0" fmla="*/ 0 w 41462"/>
                <a:gd name="connsiteY0" fmla="*/ 9399 h 9398"/>
                <a:gd name="connsiteX1" fmla="*/ 41462 w 41462"/>
                <a:gd name="connsiteY1" fmla="*/ 0 h 93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1462" h="9398">
                  <a:moveTo>
                    <a:pt x="0" y="9399"/>
                  </a:moveTo>
                  <a:lnTo>
                    <a:pt x="41462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55" name="Forma livre: Forma 1954">
              <a:extLst>
                <a:ext uri="{FF2B5EF4-FFF2-40B4-BE49-F238E27FC236}">
                  <a16:creationId xmlns:a16="http://schemas.microsoft.com/office/drawing/2014/main" id="{A67A3438-2B7D-091A-37A1-42881BDB204F}"/>
                </a:ext>
              </a:extLst>
            </p:cNvPr>
            <p:cNvSpPr/>
            <p:nvPr/>
          </p:nvSpPr>
          <p:spPr>
            <a:xfrm>
              <a:off x="5809826" y="3626701"/>
              <a:ext cx="166191" cy="297383"/>
            </a:xfrm>
            <a:custGeom>
              <a:avLst/>
              <a:gdLst>
                <a:gd name="connsiteX0" fmla="*/ 166192 w 166191"/>
                <a:gd name="connsiteY0" fmla="*/ 188906 h 297383"/>
                <a:gd name="connsiteX1" fmla="*/ 166192 w 166191"/>
                <a:gd name="connsiteY1" fmla="*/ 277802 h 297383"/>
                <a:gd name="connsiteX2" fmla="*/ 146611 w 166191"/>
                <a:gd name="connsiteY2" fmla="*/ 297383 h 297383"/>
                <a:gd name="connsiteX3" fmla="*/ 19581 w 166191"/>
                <a:gd name="connsiteY3" fmla="*/ 297383 h 297383"/>
                <a:gd name="connsiteX4" fmla="*/ 0 w 166191"/>
                <a:gd name="connsiteY4" fmla="*/ 277802 h 297383"/>
                <a:gd name="connsiteX5" fmla="*/ 0 w 166191"/>
                <a:gd name="connsiteY5" fmla="*/ 19581 h 297383"/>
                <a:gd name="connsiteX6" fmla="*/ 19581 w 166191"/>
                <a:gd name="connsiteY6" fmla="*/ 0 h 297383"/>
                <a:gd name="connsiteX7" fmla="*/ 146611 w 166191"/>
                <a:gd name="connsiteY7" fmla="*/ 0 h 297383"/>
                <a:gd name="connsiteX8" fmla="*/ 166192 w 166191"/>
                <a:gd name="connsiteY8" fmla="*/ 19581 h 297383"/>
                <a:gd name="connsiteX9" fmla="*/ 166192 w 166191"/>
                <a:gd name="connsiteY9" fmla="*/ 28343 h 2973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66191" h="297383">
                  <a:moveTo>
                    <a:pt x="166192" y="188906"/>
                  </a:moveTo>
                  <a:lnTo>
                    <a:pt x="166192" y="277802"/>
                  </a:lnTo>
                  <a:cubicBezTo>
                    <a:pt x="166192" y="288572"/>
                    <a:pt x="157381" y="297383"/>
                    <a:pt x="146611" y="297383"/>
                  </a:cubicBezTo>
                  <a:lnTo>
                    <a:pt x="19581" y="297383"/>
                  </a:lnTo>
                  <a:cubicBezTo>
                    <a:pt x="8811" y="297383"/>
                    <a:pt x="0" y="288572"/>
                    <a:pt x="0" y="277802"/>
                  </a:cubicBezTo>
                  <a:lnTo>
                    <a:pt x="0" y="19581"/>
                  </a:lnTo>
                  <a:cubicBezTo>
                    <a:pt x="0" y="8811"/>
                    <a:pt x="8811" y="0"/>
                    <a:pt x="19581" y="0"/>
                  </a:cubicBezTo>
                  <a:lnTo>
                    <a:pt x="146611" y="0"/>
                  </a:lnTo>
                  <a:cubicBezTo>
                    <a:pt x="157381" y="0"/>
                    <a:pt x="166192" y="8811"/>
                    <a:pt x="166192" y="19581"/>
                  </a:cubicBezTo>
                  <a:lnTo>
                    <a:pt x="166192" y="28343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56" name="Forma livre: Forma 1955">
              <a:extLst>
                <a:ext uri="{FF2B5EF4-FFF2-40B4-BE49-F238E27FC236}">
                  <a16:creationId xmlns:a16="http://schemas.microsoft.com/office/drawing/2014/main" id="{B6B30DFD-C6E8-CA08-70A4-F888494BC842}"/>
                </a:ext>
              </a:extLst>
            </p:cNvPr>
            <p:cNvSpPr/>
            <p:nvPr/>
          </p:nvSpPr>
          <p:spPr>
            <a:xfrm>
              <a:off x="5809826" y="3857950"/>
              <a:ext cx="166191" cy="4895"/>
            </a:xfrm>
            <a:custGeom>
              <a:avLst/>
              <a:gdLst>
                <a:gd name="connsiteX0" fmla="*/ 0 w 166191"/>
                <a:gd name="connsiteY0" fmla="*/ 0 h 4895"/>
                <a:gd name="connsiteX1" fmla="*/ 166192 w 166191"/>
                <a:gd name="connsiteY1" fmla="*/ 0 h 48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66191" h="4895">
                  <a:moveTo>
                    <a:pt x="0" y="0"/>
                  </a:moveTo>
                  <a:lnTo>
                    <a:pt x="166192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57" name="Forma livre: Forma 1956">
              <a:extLst>
                <a:ext uri="{FF2B5EF4-FFF2-40B4-BE49-F238E27FC236}">
                  <a16:creationId xmlns:a16="http://schemas.microsoft.com/office/drawing/2014/main" id="{56C5872D-84DE-5158-1865-0DE8070E5A34}"/>
                </a:ext>
              </a:extLst>
            </p:cNvPr>
            <p:cNvSpPr/>
            <p:nvPr/>
          </p:nvSpPr>
          <p:spPr>
            <a:xfrm>
              <a:off x="5882079" y="3889426"/>
              <a:ext cx="21685" cy="4895"/>
            </a:xfrm>
            <a:custGeom>
              <a:avLst/>
              <a:gdLst>
                <a:gd name="connsiteX0" fmla="*/ 0 w 21685"/>
                <a:gd name="connsiteY0" fmla="*/ 0 h 4895"/>
                <a:gd name="connsiteX1" fmla="*/ 21686 w 21685"/>
                <a:gd name="connsiteY1" fmla="*/ 0 h 48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1685" h="4895">
                  <a:moveTo>
                    <a:pt x="0" y="0"/>
                  </a:moveTo>
                  <a:lnTo>
                    <a:pt x="21686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58" name="Forma livre: Forma 1957">
              <a:extLst>
                <a:ext uri="{FF2B5EF4-FFF2-40B4-BE49-F238E27FC236}">
                  <a16:creationId xmlns:a16="http://schemas.microsoft.com/office/drawing/2014/main" id="{CC1C325F-9D9B-C391-B54B-53EE46F58059}"/>
                </a:ext>
              </a:extLst>
            </p:cNvPr>
            <p:cNvSpPr/>
            <p:nvPr/>
          </p:nvSpPr>
          <p:spPr>
            <a:xfrm>
              <a:off x="5929318" y="3674821"/>
              <a:ext cx="119442" cy="119442"/>
            </a:xfrm>
            <a:custGeom>
              <a:avLst/>
              <a:gdLst>
                <a:gd name="connsiteX0" fmla="*/ 119443 w 119442"/>
                <a:gd name="connsiteY0" fmla="*/ 59721 h 119442"/>
                <a:gd name="connsiteX1" fmla="*/ 59721 w 119442"/>
                <a:gd name="connsiteY1" fmla="*/ 119443 h 119442"/>
                <a:gd name="connsiteX2" fmla="*/ 0 w 119442"/>
                <a:gd name="connsiteY2" fmla="*/ 59721 h 119442"/>
                <a:gd name="connsiteX3" fmla="*/ 59721 w 119442"/>
                <a:gd name="connsiteY3" fmla="*/ 0 h 119442"/>
                <a:gd name="connsiteX4" fmla="*/ 119443 w 119442"/>
                <a:gd name="connsiteY4" fmla="*/ 59721 h 119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9442" h="119442">
                  <a:moveTo>
                    <a:pt x="119443" y="59721"/>
                  </a:moveTo>
                  <a:cubicBezTo>
                    <a:pt x="119443" y="92705"/>
                    <a:pt x="92705" y="119443"/>
                    <a:pt x="59721" y="119443"/>
                  </a:cubicBezTo>
                  <a:cubicBezTo>
                    <a:pt x="26738" y="119443"/>
                    <a:pt x="0" y="92705"/>
                    <a:pt x="0" y="59721"/>
                  </a:cubicBezTo>
                  <a:cubicBezTo>
                    <a:pt x="0" y="26738"/>
                    <a:pt x="26738" y="0"/>
                    <a:pt x="59721" y="0"/>
                  </a:cubicBezTo>
                  <a:cubicBezTo>
                    <a:pt x="92705" y="0"/>
                    <a:pt x="119443" y="26738"/>
                    <a:pt x="119443" y="59721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59" name="Forma livre: Forma 1958">
              <a:extLst>
                <a:ext uri="{FF2B5EF4-FFF2-40B4-BE49-F238E27FC236}">
                  <a16:creationId xmlns:a16="http://schemas.microsoft.com/office/drawing/2014/main" id="{BE142649-A611-169B-B999-6B76FE85D04B}"/>
                </a:ext>
              </a:extLst>
            </p:cNvPr>
            <p:cNvSpPr/>
            <p:nvPr/>
          </p:nvSpPr>
          <p:spPr>
            <a:xfrm>
              <a:off x="5977683" y="3716920"/>
              <a:ext cx="24133" cy="25699"/>
            </a:xfrm>
            <a:custGeom>
              <a:avLst/>
              <a:gdLst>
                <a:gd name="connsiteX0" fmla="*/ 12091 w 24133"/>
                <a:gd name="connsiteY0" fmla="*/ 0 h 25699"/>
                <a:gd name="connsiteX1" fmla="*/ 24133 w 24133"/>
                <a:gd name="connsiteY1" fmla="*/ 25651 h 25699"/>
                <a:gd name="connsiteX2" fmla="*/ 12140 w 24133"/>
                <a:gd name="connsiteY2" fmla="*/ 20168 h 25699"/>
                <a:gd name="connsiteX3" fmla="*/ 0 w 24133"/>
                <a:gd name="connsiteY3" fmla="*/ 25700 h 25699"/>
                <a:gd name="connsiteX4" fmla="*/ 12091 w 24133"/>
                <a:gd name="connsiteY4" fmla="*/ 0 h 256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133" h="25699">
                  <a:moveTo>
                    <a:pt x="12091" y="0"/>
                  </a:moveTo>
                  <a:lnTo>
                    <a:pt x="24133" y="25651"/>
                  </a:lnTo>
                  <a:lnTo>
                    <a:pt x="12140" y="20168"/>
                  </a:lnTo>
                  <a:lnTo>
                    <a:pt x="0" y="25700"/>
                  </a:lnTo>
                  <a:lnTo>
                    <a:pt x="12091" y="0"/>
                  </a:lnTo>
                  <a:close/>
                </a:path>
              </a:pathLst>
            </a:custGeom>
            <a:solidFill>
              <a:srgbClr val="2C333D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960" name="Gráfico 19">
            <a:extLst>
              <a:ext uri="{FF2B5EF4-FFF2-40B4-BE49-F238E27FC236}">
                <a16:creationId xmlns:a16="http://schemas.microsoft.com/office/drawing/2014/main" id="{BB2EB435-D7A0-5B6E-4DB4-2DF1E8A646D0}"/>
              </a:ext>
            </a:extLst>
          </p:cNvPr>
          <p:cNvGrpSpPr/>
          <p:nvPr/>
        </p:nvGrpSpPr>
        <p:grpSpPr>
          <a:xfrm>
            <a:off x="4496298" y="3626505"/>
            <a:ext cx="308739" cy="297774"/>
            <a:chOff x="4496298" y="3626505"/>
            <a:chExt cx="308739" cy="297774"/>
          </a:xfrm>
        </p:grpSpPr>
        <p:sp>
          <p:nvSpPr>
            <p:cNvPr id="1961" name="Forma livre: Forma 1960">
              <a:extLst>
                <a:ext uri="{FF2B5EF4-FFF2-40B4-BE49-F238E27FC236}">
                  <a16:creationId xmlns:a16="http://schemas.microsoft.com/office/drawing/2014/main" id="{93E23555-9DB9-EE7E-3010-AD4C9D6998F7}"/>
                </a:ext>
              </a:extLst>
            </p:cNvPr>
            <p:cNvSpPr/>
            <p:nvPr/>
          </p:nvSpPr>
          <p:spPr>
            <a:xfrm>
              <a:off x="4496298" y="3756473"/>
              <a:ext cx="204619" cy="166975"/>
            </a:xfrm>
            <a:custGeom>
              <a:avLst/>
              <a:gdLst>
                <a:gd name="connsiteX0" fmla="*/ 204619 w 204619"/>
                <a:gd name="connsiteY0" fmla="*/ 166975 h 166975"/>
                <a:gd name="connsiteX1" fmla="*/ 48560 w 204619"/>
                <a:gd name="connsiteY1" fmla="*/ 166975 h 166975"/>
                <a:gd name="connsiteX2" fmla="*/ 0 w 204619"/>
                <a:gd name="connsiteY2" fmla="*/ 118415 h 166975"/>
                <a:gd name="connsiteX3" fmla="*/ 0 w 204619"/>
                <a:gd name="connsiteY3" fmla="*/ 113666 h 166975"/>
                <a:gd name="connsiteX4" fmla="*/ 48560 w 204619"/>
                <a:gd name="connsiteY4" fmla="*/ 65106 h 166975"/>
                <a:gd name="connsiteX5" fmla="*/ 91687 w 204619"/>
                <a:gd name="connsiteY5" fmla="*/ 65106 h 166975"/>
                <a:gd name="connsiteX6" fmla="*/ 119443 w 204619"/>
                <a:gd name="connsiteY6" fmla="*/ 37350 h 166975"/>
                <a:gd name="connsiteX7" fmla="*/ 119443 w 204619"/>
                <a:gd name="connsiteY7" fmla="*/ 27756 h 166975"/>
                <a:gd name="connsiteX8" fmla="*/ 91687 w 204619"/>
                <a:gd name="connsiteY8" fmla="*/ 0 h 166975"/>
                <a:gd name="connsiteX9" fmla="*/ 72547 w 204619"/>
                <a:gd name="connsiteY9" fmla="*/ 0 h 166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04619" h="166975">
                  <a:moveTo>
                    <a:pt x="204619" y="166975"/>
                  </a:moveTo>
                  <a:lnTo>
                    <a:pt x="48560" y="166975"/>
                  </a:lnTo>
                  <a:cubicBezTo>
                    <a:pt x="21833" y="166975"/>
                    <a:pt x="0" y="145143"/>
                    <a:pt x="0" y="118415"/>
                  </a:cubicBezTo>
                  <a:lnTo>
                    <a:pt x="0" y="113666"/>
                  </a:lnTo>
                  <a:cubicBezTo>
                    <a:pt x="0" y="86939"/>
                    <a:pt x="21833" y="65106"/>
                    <a:pt x="48560" y="65106"/>
                  </a:cubicBezTo>
                  <a:lnTo>
                    <a:pt x="91687" y="65106"/>
                  </a:lnTo>
                  <a:cubicBezTo>
                    <a:pt x="106960" y="65106"/>
                    <a:pt x="119443" y="52623"/>
                    <a:pt x="119443" y="37350"/>
                  </a:cubicBezTo>
                  <a:lnTo>
                    <a:pt x="119443" y="27756"/>
                  </a:lnTo>
                  <a:cubicBezTo>
                    <a:pt x="119443" y="12483"/>
                    <a:pt x="106960" y="0"/>
                    <a:pt x="91687" y="0"/>
                  </a:cubicBezTo>
                  <a:lnTo>
                    <a:pt x="72547" y="0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62" name="Forma livre: Forma 1961">
              <a:extLst>
                <a:ext uri="{FF2B5EF4-FFF2-40B4-BE49-F238E27FC236}">
                  <a16:creationId xmlns:a16="http://schemas.microsoft.com/office/drawing/2014/main" id="{20659C4E-E3A5-CF23-ED39-18E437DB9C53}"/>
                </a:ext>
              </a:extLst>
            </p:cNvPr>
            <p:cNvSpPr/>
            <p:nvPr/>
          </p:nvSpPr>
          <p:spPr>
            <a:xfrm>
              <a:off x="4659945" y="3689457"/>
              <a:ext cx="145093" cy="234822"/>
            </a:xfrm>
            <a:custGeom>
              <a:avLst/>
              <a:gdLst>
                <a:gd name="connsiteX0" fmla="*/ 145094 w 145093"/>
                <a:gd name="connsiteY0" fmla="*/ 72547 h 234822"/>
                <a:gd name="connsiteX1" fmla="*/ 72547 w 145093"/>
                <a:gd name="connsiteY1" fmla="*/ 234823 h 234822"/>
                <a:gd name="connsiteX2" fmla="*/ 0 w 145093"/>
                <a:gd name="connsiteY2" fmla="*/ 72547 h 234822"/>
                <a:gd name="connsiteX3" fmla="*/ 72547 w 145093"/>
                <a:gd name="connsiteY3" fmla="*/ 0 h 234822"/>
                <a:gd name="connsiteX4" fmla="*/ 145094 w 145093"/>
                <a:gd name="connsiteY4" fmla="*/ 72547 h 2348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5093" h="234822">
                  <a:moveTo>
                    <a:pt x="145094" y="72547"/>
                  </a:moveTo>
                  <a:cubicBezTo>
                    <a:pt x="145094" y="112638"/>
                    <a:pt x="72547" y="234823"/>
                    <a:pt x="72547" y="234823"/>
                  </a:cubicBezTo>
                  <a:cubicBezTo>
                    <a:pt x="72547" y="234823"/>
                    <a:pt x="0" y="112638"/>
                    <a:pt x="0" y="72547"/>
                  </a:cubicBezTo>
                  <a:cubicBezTo>
                    <a:pt x="0" y="32455"/>
                    <a:pt x="32504" y="0"/>
                    <a:pt x="72547" y="0"/>
                  </a:cubicBezTo>
                  <a:cubicBezTo>
                    <a:pt x="112590" y="0"/>
                    <a:pt x="145094" y="32504"/>
                    <a:pt x="145094" y="72547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63" name="Forma livre: Forma 1962">
              <a:extLst>
                <a:ext uri="{FF2B5EF4-FFF2-40B4-BE49-F238E27FC236}">
                  <a16:creationId xmlns:a16="http://schemas.microsoft.com/office/drawing/2014/main" id="{7825E444-3DD0-4B79-8D62-D34FB3B27542}"/>
                </a:ext>
              </a:extLst>
            </p:cNvPr>
            <p:cNvSpPr/>
            <p:nvPr/>
          </p:nvSpPr>
          <p:spPr>
            <a:xfrm>
              <a:off x="4701456" y="3731018"/>
              <a:ext cx="61973" cy="61973"/>
            </a:xfrm>
            <a:custGeom>
              <a:avLst/>
              <a:gdLst>
                <a:gd name="connsiteX0" fmla="*/ 61973 w 61973"/>
                <a:gd name="connsiteY0" fmla="*/ 30987 h 61973"/>
                <a:gd name="connsiteX1" fmla="*/ 30987 w 61973"/>
                <a:gd name="connsiteY1" fmla="*/ 61973 h 61973"/>
                <a:gd name="connsiteX2" fmla="*/ 0 w 61973"/>
                <a:gd name="connsiteY2" fmla="*/ 30987 h 61973"/>
                <a:gd name="connsiteX3" fmla="*/ 30987 w 61973"/>
                <a:gd name="connsiteY3" fmla="*/ 0 h 61973"/>
                <a:gd name="connsiteX4" fmla="*/ 61973 w 61973"/>
                <a:gd name="connsiteY4" fmla="*/ 30987 h 619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1973" h="61973">
                  <a:moveTo>
                    <a:pt x="61973" y="30987"/>
                  </a:moveTo>
                  <a:cubicBezTo>
                    <a:pt x="61973" y="48120"/>
                    <a:pt x="48120" y="61973"/>
                    <a:pt x="30987" y="61973"/>
                  </a:cubicBezTo>
                  <a:cubicBezTo>
                    <a:pt x="13853" y="61973"/>
                    <a:pt x="0" y="48071"/>
                    <a:pt x="0" y="30987"/>
                  </a:cubicBezTo>
                  <a:cubicBezTo>
                    <a:pt x="0" y="13902"/>
                    <a:pt x="13853" y="0"/>
                    <a:pt x="30987" y="0"/>
                  </a:cubicBezTo>
                  <a:cubicBezTo>
                    <a:pt x="48120" y="0"/>
                    <a:pt x="61973" y="13853"/>
                    <a:pt x="61973" y="30987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64" name="Forma livre: Forma 1963">
              <a:extLst>
                <a:ext uri="{FF2B5EF4-FFF2-40B4-BE49-F238E27FC236}">
                  <a16:creationId xmlns:a16="http://schemas.microsoft.com/office/drawing/2014/main" id="{A5A300A1-2111-7633-DF3F-1CA9CA074B04}"/>
                </a:ext>
              </a:extLst>
            </p:cNvPr>
            <p:cNvSpPr/>
            <p:nvPr/>
          </p:nvSpPr>
          <p:spPr>
            <a:xfrm>
              <a:off x="4499040" y="3626505"/>
              <a:ext cx="80232" cy="129820"/>
            </a:xfrm>
            <a:custGeom>
              <a:avLst/>
              <a:gdLst>
                <a:gd name="connsiteX0" fmla="*/ 80232 w 80232"/>
                <a:gd name="connsiteY0" fmla="*/ 40092 h 129820"/>
                <a:gd name="connsiteX1" fmla="*/ 40092 w 80232"/>
                <a:gd name="connsiteY1" fmla="*/ 129821 h 129820"/>
                <a:gd name="connsiteX2" fmla="*/ 0 w 80232"/>
                <a:gd name="connsiteY2" fmla="*/ 40092 h 129820"/>
                <a:gd name="connsiteX3" fmla="*/ 40092 w 80232"/>
                <a:gd name="connsiteY3" fmla="*/ 0 h 129820"/>
                <a:gd name="connsiteX4" fmla="*/ 80232 w 80232"/>
                <a:gd name="connsiteY4" fmla="*/ 40092 h 1298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0232" h="129820">
                  <a:moveTo>
                    <a:pt x="80232" y="40092"/>
                  </a:moveTo>
                  <a:cubicBezTo>
                    <a:pt x="80232" y="62267"/>
                    <a:pt x="40092" y="129821"/>
                    <a:pt x="40092" y="129821"/>
                  </a:cubicBezTo>
                  <a:cubicBezTo>
                    <a:pt x="40092" y="129821"/>
                    <a:pt x="0" y="62267"/>
                    <a:pt x="0" y="40092"/>
                  </a:cubicBezTo>
                  <a:cubicBezTo>
                    <a:pt x="0" y="17916"/>
                    <a:pt x="17965" y="0"/>
                    <a:pt x="40092" y="0"/>
                  </a:cubicBezTo>
                  <a:cubicBezTo>
                    <a:pt x="62218" y="0"/>
                    <a:pt x="80232" y="17965"/>
                    <a:pt x="80232" y="40092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65" name="Forma livre: Forma 1964">
              <a:extLst>
                <a:ext uri="{FF2B5EF4-FFF2-40B4-BE49-F238E27FC236}">
                  <a16:creationId xmlns:a16="http://schemas.microsoft.com/office/drawing/2014/main" id="{13E60CC2-1ECD-CEA9-4DEA-AB46E3001A02}"/>
                </a:ext>
              </a:extLst>
            </p:cNvPr>
            <p:cNvSpPr/>
            <p:nvPr/>
          </p:nvSpPr>
          <p:spPr>
            <a:xfrm>
              <a:off x="4534530" y="3659352"/>
              <a:ext cx="9251" cy="9300"/>
            </a:xfrm>
            <a:custGeom>
              <a:avLst/>
              <a:gdLst>
                <a:gd name="connsiteX0" fmla="*/ 9252 w 9251"/>
                <a:gd name="connsiteY0" fmla="*/ 4650 h 9300"/>
                <a:gd name="connsiteX1" fmla="*/ 4650 w 9251"/>
                <a:gd name="connsiteY1" fmla="*/ 9301 h 9300"/>
                <a:gd name="connsiteX2" fmla="*/ 0 w 9251"/>
                <a:gd name="connsiteY2" fmla="*/ 4650 h 9300"/>
                <a:gd name="connsiteX3" fmla="*/ 4650 w 9251"/>
                <a:gd name="connsiteY3" fmla="*/ 0 h 9300"/>
                <a:gd name="connsiteX4" fmla="*/ 9252 w 9251"/>
                <a:gd name="connsiteY4" fmla="*/ 4650 h 9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251" h="9300">
                  <a:moveTo>
                    <a:pt x="9252" y="4650"/>
                  </a:moveTo>
                  <a:cubicBezTo>
                    <a:pt x="9252" y="7196"/>
                    <a:pt x="7196" y="9301"/>
                    <a:pt x="4650" y="9301"/>
                  </a:cubicBezTo>
                  <a:cubicBezTo>
                    <a:pt x="2105" y="9301"/>
                    <a:pt x="0" y="7245"/>
                    <a:pt x="0" y="4650"/>
                  </a:cubicBezTo>
                  <a:cubicBezTo>
                    <a:pt x="0" y="2056"/>
                    <a:pt x="2056" y="0"/>
                    <a:pt x="4650" y="0"/>
                  </a:cubicBezTo>
                  <a:cubicBezTo>
                    <a:pt x="7245" y="0"/>
                    <a:pt x="9252" y="2056"/>
                    <a:pt x="9252" y="4650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966" name="Gráfico 19">
            <a:extLst>
              <a:ext uri="{FF2B5EF4-FFF2-40B4-BE49-F238E27FC236}">
                <a16:creationId xmlns:a16="http://schemas.microsoft.com/office/drawing/2014/main" id="{2BC4A90B-D817-BE0B-E8E4-87E75E20044E}"/>
              </a:ext>
            </a:extLst>
          </p:cNvPr>
          <p:cNvGrpSpPr/>
          <p:nvPr/>
        </p:nvGrpSpPr>
        <p:grpSpPr>
          <a:xfrm>
            <a:off x="5148192" y="3624204"/>
            <a:ext cx="280641" cy="294299"/>
            <a:chOff x="5148192" y="3624204"/>
            <a:chExt cx="280641" cy="294299"/>
          </a:xfrm>
          <a:noFill/>
        </p:grpSpPr>
        <p:sp>
          <p:nvSpPr>
            <p:cNvPr id="1967" name="Forma livre: Forma 1966">
              <a:extLst>
                <a:ext uri="{FF2B5EF4-FFF2-40B4-BE49-F238E27FC236}">
                  <a16:creationId xmlns:a16="http://schemas.microsoft.com/office/drawing/2014/main" id="{285749D7-932D-D772-F4AE-744FEB2DFE53}"/>
                </a:ext>
              </a:extLst>
            </p:cNvPr>
            <p:cNvSpPr/>
            <p:nvPr/>
          </p:nvSpPr>
          <p:spPr>
            <a:xfrm>
              <a:off x="5148192" y="3716185"/>
              <a:ext cx="280641" cy="202318"/>
            </a:xfrm>
            <a:custGeom>
              <a:avLst/>
              <a:gdLst>
                <a:gd name="connsiteX0" fmla="*/ 232032 w 280641"/>
                <a:gd name="connsiteY0" fmla="*/ 39162 h 202318"/>
                <a:gd name="connsiteX1" fmla="*/ 280642 w 280641"/>
                <a:gd name="connsiteY1" fmla="*/ 39162 h 202318"/>
                <a:gd name="connsiteX2" fmla="*/ 280642 w 280641"/>
                <a:gd name="connsiteY2" fmla="*/ 202318 h 202318"/>
                <a:gd name="connsiteX3" fmla="*/ 48952 w 280641"/>
                <a:gd name="connsiteY3" fmla="*/ 202318 h 202318"/>
                <a:gd name="connsiteX4" fmla="*/ 0 w 280641"/>
                <a:gd name="connsiteY4" fmla="*/ 161542 h 202318"/>
                <a:gd name="connsiteX5" fmla="*/ 48952 w 280641"/>
                <a:gd name="connsiteY5" fmla="*/ 120765 h 202318"/>
                <a:gd name="connsiteX6" fmla="*/ 88554 w 280641"/>
                <a:gd name="connsiteY6" fmla="*/ 137555 h 202318"/>
                <a:gd name="connsiteX7" fmla="*/ 88554 w 280641"/>
                <a:gd name="connsiteY7" fmla="*/ 16791 h 202318"/>
                <a:gd name="connsiteX8" fmla="*/ 48952 w 280641"/>
                <a:gd name="connsiteY8" fmla="*/ 0 h 202318"/>
                <a:gd name="connsiteX9" fmla="*/ 0 w 280641"/>
                <a:gd name="connsiteY9" fmla="*/ 40777 h 202318"/>
                <a:gd name="connsiteX10" fmla="*/ 0 w 280641"/>
                <a:gd name="connsiteY10" fmla="*/ 158653 h 2023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80641" h="202318">
                  <a:moveTo>
                    <a:pt x="232032" y="39162"/>
                  </a:moveTo>
                  <a:lnTo>
                    <a:pt x="280642" y="39162"/>
                  </a:lnTo>
                  <a:lnTo>
                    <a:pt x="280642" y="202318"/>
                  </a:lnTo>
                  <a:lnTo>
                    <a:pt x="48952" y="202318"/>
                  </a:lnTo>
                  <a:cubicBezTo>
                    <a:pt x="21930" y="202318"/>
                    <a:pt x="0" y="184059"/>
                    <a:pt x="0" y="161542"/>
                  </a:cubicBezTo>
                  <a:cubicBezTo>
                    <a:pt x="0" y="139024"/>
                    <a:pt x="21930" y="120765"/>
                    <a:pt x="48952" y="120765"/>
                  </a:cubicBezTo>
                  <a:cubicBezTo>
                    <a:pt x="65204" y="120765"/>
                    <a:pt x="79645" y="127373"/>
                    <a:pt x="88554" y="137555"/>
                  </a:cubicBezTo>
                  <a:lnTo>
                    <a:pt x="88554" y="16791"/>
                  </a:lnTo>
                  <a:cubicBezTo>
                    <a:pt x="79645" y="6609"/>
                    <a:pt x="65253" y="0"/>
                    <a:pt x="48952" y="0"/>
                  </a:cubicBezTo>
                  <a:cubicBezTo>
                    <a:pt x="21930" y="0"/>
                    <a:pt x="0" y="18259"/>
                    <a:pt x="0" y="40777"/>
                  </a:cubicBezTo>
                  <a:lnTo>
                    <a:pt x="0" y="158653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68" name="Forma livre: Forma 1967">
              <a:extLst>
                <a:ext uri="{FF2B5EF4-FFF2-40B4-BE49-F238E27FC236}">
                  <a16:creationId xmlns:a16="http://schemas.microsoft.com/office/drawing/2014/main" id="{82C54583-D7ED-4934-CB2A-59E8234D0DA9}"/>
                </a:ext>
              </a:extLst>
            </p:cNvPr>
            <p:cNvSpPr/>
            <p:nvPr/>
          </p:nvSpPr>
          <p:spPr>
            <a:xfrm>
              <a:off x="5238263" y="3755347"/>
              <a:ext cx="31720" cy="4895"/>
            </a:xfrm>
            <a:custGeom>
              <a:avLst/>
              <a:gdLst>
                <a:gd name="connsiteX0" fmla="*/ 0 w 31720"/>
                <a:gd name="connsiteY0" fmla="*/ 0 h 4895"/>
                <a:gd name="connsiteX1" fmla="*/ 31721 w 31720"/>
                <a:gd name="connsiteY1" fmla="*/ 0 h 48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1720" h="4895">
                  <a:moveTo>
                    <a:pt x="0" y="0"/>
                  </a:moveTo>
                  <a:lnTo>
                    <a:pt x="31721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69" name="Forma livre: Forma 1968">
              <a:extLst>
                <a:ext uri="{FF2B5EF4-FFF2-40B4-BE49-F238E27FC236}">
                  <a16:creationId xmlns:a16="http://schemas.microsoft.com/office/drawing/2014/main" id="{18DFCD14-1082-91AF-72F0-18AA509A074E}"/>
                </a:ext>
              </a:extLst>
            </p:cNvPr>
            <p:cNvSpPr/>
            <p:nvPr/>
          </p:nvSpPr>
          <p:spPr>
            <a:xfrm>
              <a:off x="5276299" y="3624204"/>
              <a:ext cx="126687" cy="205059"/>
            </a:xfrm>
            <a:custGeom>
              <a:avLst/>
              <a:gdLst>
                <a:gd name="connsiteX0" fmla="*/ 126688 w 126687"/>
                <a:gd name="connsiteY0" fmla="*/ 63344 h 205059"/>
                <a:gd name="connsiteX1" fmla="*/ 63344 w 126687"/>
                <a:gd name="connsiteY1" fmla="*/ 205060 h 205059"/>
                <a:gd name="connsiteX2" fmla="*/ 0 w 126687"/>
                <a:gd name="connsiteY2" fmla="*/ 63344 h 205059"/>
                <a:gd name="connsiteX3" fmla="*/ 63344 w 126687"/>
                <a:gd name="connsiteY3" fmla="*/ 0 h 205059"/>
                <a:gd name="connsiteX4" fmla="*/ 126688 w 126687"/>
                <a:gd name="connsiteY4" fmla="*/ 63344 h 2050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6687" h="205059">
                  <a:moveTo>
                    <a:pt x="126688" y="63344"/>
                  </a:moveTo>
                  <a:cubicBezTo>
                    <a:pt x="126688" y="98345"/>
                    <a:pt x="63344" y="205060"/>
                    <a:pt x="63344" y="205060"/>
                  </a:cubicBezTo>
                  <a:cubicBezTo>
                    <a:pt x="63344" y="205060"/>
                    <a:pt x="0" y="98345"/>
                    <a:pt x="0" y="63344"/>
                  </a:cubicBezTo>
                  <a:cubicBezTo>
                    <a:pt x="0" y="28343"/>
                    <a:pt x="28343" y="0"/>
                    <a:pt x="63344" y="0"/>
                  </a:cubicBezTo>
                  <a:cubicBezTo>
                    <a:pt x="98344" y="0"/>
                    <a:pt x="126688" y="28343"/>
                    <a:pt x="126688" y="63344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70" name="Forma livre: Forma 1969">
              <a:extLst>
                <a:ext uri="{FF2B5EF4-FFF2-40B4-BE49-F238E27FC236}">
                  <a16:creationId xmlns:a16="http://schemas.microsoft.com/office/drawing/2014/main" id="{B64C8EDE-5A02-8B68-6DD9-3F772AAF8E5E}"/>
                </a:ext>
              </a:extLst>
            </p:cNvPr>
            <p:cNvSpPr/>
            <p:nvPr/>
          </p:nvSpPr>
          <p:spPr>
            <a:xfrm>
              <a:off x="5312523" y="3660478"/>
              <a:ext cx="54140" cy="54140"/>
            </a:xfrm>
            <a:custGeom>
              <a:avLst/>
              <a:gdLst>
                <a:gd name="connsiteX0" fmla="*/ 54141 w 54140"/>
                <a:gd name="connsiteY0" fmla="*/ 27070 h 54140"/>
                <a:gd name="connsiteX1" fmla="*/ 27070 w 54140"/>
                <a:gd name="connsiteY1" fmla="*/ 54141 h 54140"/>
                <a:gd name="connsiteX2" fmla="*/ 0 w 54140"/>
                <a:gd name="connsiteY2" fmla="*/ 27070 h 54140"/>
                <a:gd name="connsiteX3" fmla="*/ 27070 w 54140"/>
                <a:gd name="connsiteY3" fmla="*/ 0 h 54140"/>
                <a:gd name="connsiteX4" fmla="*/ 54141 w 54140"/>
                <a:gd name="connsiteY4" fmla="*/ 27070 h 541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4140" h="54140">
                  <a:moveTo>
                    <a:pt x="54141" y="27070"/>
                  </a:moveTo>
                  <a:cubicBezTo>
                    <a:pt x="54141" y="42001"/>
                    <a:pt x="42050" y="54141"/>
                    <a:pt x="27070" y="54141"/>
                  </a:cubicBezTo>
                  <a:cubicBezTo>
                    <a:pt x="12091" y="54141"/>
                    <a:pt x="0" y="42001"/>
                    <a:pt x="0" y="27070"/>
                  </a:cubicBezTo>
                  <a:cubicBezTo>
                    <a:pt x="0" y="12140"/>
                    <a:pt x="12091" y="0"/>
                    <a:pt x="27070" y="0"/>
                  </a:cubicBezTo>
                  <a:cubicBezTo>
                    <a:pt x="42050" y="0"/>
                    <a:pt x="54141" y="12140"/>
                    <a:pt x="54141" y="27070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971" name="Gráfico 19">
            <a:extLst>
              <a:ext uri="{FF2B5EF4-FFF2-40B4-BE49-F238E27FC236}">
                <a16:creationId xmlns:a16="http://schemas.microsoft.com/office/drawing/2014/main" id="{C5CDA800-914E-D0DA-F846-B475D06C9F0C}"/>
              </a:ext>
            </a:extLst>
          </p:cNvPr>
          <p:cNvGrpSpPr/>
          <p:nvPr/>
        </p:nvGrpSpPr>
        <p:grpSpPr>
          <a:xfrm>
            <a:off x="5776784" y="4152298"/>
            <a:ext cx="299194" cy="338747"/>
            <a:chOff x="5776784" y="4152298"/>
            <a:chExt cx="299194" cy="338747"/>
          </a:xfrm>
          <a:noFill/>
        </p:grpSpPr>
        <p:sp>
          <p:nvSpPr>
            <p:cNvPr id="1972" name="Forma livre: Forma 1971">
              <a:extLst>
                <a:ext uri="{FF2B5EF4-FFF2-40B4-BE49-F238E27FC236}">
                  <a16:creationId xmlns:a16="http://schemas.microsoft.com/office/drawing/2014/main" id="{0FBAC67A-2D80-A6D8-09EC-3BB443909C00}"/>
                </a:ext>
              </a:extLst>
            </p:cNvPr>
            <p:cNvSpPr/>
            <p:nvPr/>
          </p:nvSpPr>
          <p:spPr>
            <a:xfrm>
              <a:off x="5826568" y="4269342"/>
              <a:ext cx="64078" cy="221703"/>
            </a:xfrm>
            <a:custGeom>
              <a:avLst/>
              <a:gdLst>
                <a:gd name="connsiteX0" fmla="*/ 0 w 64078"/>
                <a:gd name="connsiteY0" fmla="*/ 0 h 221703"/>
                <a:gd name="connsiteX1" fmla="*/ 64078 w 64078"/>
                <a:gd name="connsiteY1" fmla="*/ 221703 h 2217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4078" h="221703">
                  <a:moveTo>
                    <a:pt x="0" y="0"/>
                  </a:moveTo>
                  <a:lnTo>
                    <a:pt x="64078" y="221703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73" name="Forma livre: Forma 1972">
              <a:extLst>
                <a:ext uri="{FF2B5EF4-FFF2-40B4-BE49-F238E27FC236}">
                  <a16:creationId xmlns:a16="http://schemas.microsoft.com/office/drawing/2014/main" id="{AB81638B-B8CE-E8C1-81A1-D036F8FD8D87}"/>
                </a:ext>
              </a:extLst>
            </p:cNvPr>
            <p:cNvSpPr/>
            <p:nvPr/>
          </p:nvSpPr>
          <p:spPr>
            <a:xfrm>
              <a:off x="5776784" y="4371995"/>
              <a:ext cx="78959" cy="22762"/>
            </a:xfrm>
            <a:custGeom>
              <a:avLst/>
              <a:gdLst>
                <a:gd name="connsiteX0" fmla="*/ 0 w 78959"/>
                <a:gd name="connsiteY0" fmla="*/ 22763 h 22762"/>
                <a:gd name="connsiteX1" fmla="*/ 78960 w 78959"/>
                <a:gd name="connsiteY1" fmla="*/ 0 h 227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8959" h="22762">
                  <a:moveTo>
                    <a:pt x="0" y="22763"/>
                  </a:moveTo>
                  <a:lnTo>
                    <a:pt x="7896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74" name="Forma livre: Forma 1973">
              <a:extLst>
                <a:ext uri="{FF2B5EF4-FFF2-40B4-BE49-F238E27FC236}">
                  <a16:creationId xmlns:a16="http://schemas.microsoft.com/office/drawing/2014/main" id="{F26B7374-0C8A-1D8E-C09D-50E6B7E3C150}"/>
                </a:ext>
              </a:extLst>
            </p:cNvPr>
            <p:cNvSpPr/>
            <p:nvPr/>
          </p:nvSpPr>
          <p:spPr>
            <a:xfrm>
              <a:off x="5882422" y="4320301"/>
              <a:ext cx="64176" cy="160709"/>
            </a:xfrm>
            <a:custGeom>
              <a:avLst/>
              <a:gdLst>
                <a:gd name="connsiteX0" fmla="*/ 64176 w 64176"/>
                <a:gd name="connsiteY0" fmla="*/ 0 h 160709"/>
                <a:gd name="connsiteX1" fmla="*/ 0 w 64176"/>
                <a:gd name="connsiteY1" fmla="*/ 19140 h 160709"/>
                <a:gd name="connsiteX2" fmla="*/ 40581 w 64176"/>
                <a:gd name="connsiteY2" fmla="*/ 160709 h 1607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4176" h="160709">
                  <a:moveTo>
                    <a:pt x="64176" y="0"/>
                  </a:moveTo>
                  <a:lnTo>
                    <a:pt x="0" y="19140"/>
                  </a:lnTo>
                  <a:lnTo>
                    <a:pt x="40581" y="160709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75" name="Forma livre: Forma 1974">
              <a:extLst>
                <a:ext uri="{FF2B5EF4-FFF2-40B4-BE49-F238E27FC236}">
                  <a16:creationId xmlns:a16="http://schemas.microsoft.com/office/drawing/2014/main" id="{8B856675-03F7-10B3-7337-A984710442EA}"/>
                </a:ext>
              </a:extLst>
            </p:cNvPr>
            <p:cNvSpPr/>
            <p:nvPr/>
          </p:nvSpPr>
          <p:spPr>
            <a:xfrm>
              <a:off x="5859366" y="4259503"/>
              <a:ext cx="71127" cy="47287"/>
            </a:xfrm>
            <a:custGeom>
              <a:avLst/>
              <a:gdLst>
                <a:gd name="connsiteX0" fmla="*/ 0 w 71127"/>
                <a:gd name="connsiteY0" fmla="*/ 0 h 47287"/>
                <a:gd name="connsiteX1" fmla="*/ 13560 w 71127"/>
                <a:gd name="connsiteY1" fmla="*/ 47288 h 47287"/>
                <a:gd name="connsiteX2" fmla="*/ 71127 w 71127"/>
                <a:gd name="connsiteY2" fmla="*/ 29910 h 472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71127" h="47287">
                  <a:moveTo>
                    <a:pt x="0" y="0"/>
                  </a:moveTo>
                  <a:lnTo>
                    <a:pt x="13560" y="47288"/>
                  </a:lnTo>
                  <a:lnTo>
                    <a:pt x="71127" y="2991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76" name="Forma livre: Forma 1975">
              <a:extLst>
                <a:ext uri="{FF2B5EF4-FFF2-40B4-BE49-F238E27FC236}">
                  <a16:creationId xmlns:a16="http://schemas.microsoft.com/office/drawing/2014/main" id="{DD51F052-4F92-918C-EDE1-6A6821303EE9}"/>
                </a:ext>
              </a:extLst>
            </p:cNvPr>
            <p:cNvSpPr/>
            <p:nvPr/>
          </p:nvSpPr>
          <p:spPr>
            <a:xfrm>
              <a:off x="5905332" y="4368960"/>
              <a:ext cx="170646" cy="49147"/>
            </a:xfrm>
            <a:custGeom>
              <a:avLst/>
              <a:gdLst>
                <a:gd name="connsiteX0" fmla="*/ 0 w 170646"/>
                <a:gd name="connsiteY0" fmla="*/ 49148 h 49147"/>
                <a:gd name="connsiteX1" fmla="*/ 170647 w 170646"/>
                <a:gd name="connsiteY1" fmla="*/ 0 h 491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70646" h="49147">
                  <a:moveTo>
                    <a:pt x="0" y="49148"/>
                  </a:moveTo>
                  <a:lnTo>
                    <a:pt x="170647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77" name="Forma livre: Forma 1976">
              <a:extLst>
                <a:ext uri="{FF2B5EF4-FFF2-40B4-BE49-F238E27FC236}">
                  <a16:creationId xmlns:a16="http://schemas.microsoft.com/office/drawing/2014/main" id="{01D26134-D76B-9281-EF1F-99583F0B4B10}"/>
                </a:ext>
              </a:extLst>
            </p:cNvPr>
            <p:cNvSpPr/>
            <p:nvPr/>
          </p:nvSpPr>
          <p:spPr>
            <a:xfrm>
              <a:off x="5925059" y="4152298"/>
              <a:ext cx="122331" cy="197912"/>
            </a:xfrm>
            <a:custGeom>
              <a:avLst/>
              <a:gdLst>
                <a:gd name="connsiteX0" fmla="*/ 122331 w 122331"/>
                <a:gd name="connsiteY0" fmla="*/ 61141 h 197912"/>
                <a:gd name="connsiteX1" fmla="*/ 61141 w 122331"/>
                <a:gd name="connsiteY1" fmla="*/ 197913 h 197912"/>
                <a:gd name="connsiteX2" fmla="*/ 0 w 122331"/>
                <a:gd name="connsiteY2" fmla="*/ 61141 h 197912"/>
                <a:gd name="connsiteX3" fmla="*/ 61141 w 122331"/>
                <a:gd name="connsiteY3" fmla="*/ 0 h 197912"/>
                <a:gd name="connsiteX4" fmla="*/ 122331 w 122331"/>
                <a:gd name="connsiteY4" fmla="*/ 61141 h 1979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2331" h="197912">
                  <a:moveTo>
                    <a:pt x="122331" y="61141"/>
                  </a:moveTo>
                  <a:cubicBezTo>
                    <a:pt x="122331" y="94918"/>
                    <a:pt x="61141" y="197913"/>
                    <a:pt x="61141" y="197913"/>
                  </a:cubicBezTo>
                  <a:cubicBezTo>
                    <a:pt x="61141" y="197913"/>
                    <a:pt x="0" y="94918"/>
                    <a:pt x="0" y="61141"/>
                  </a:cubicBezTo>
                  <a:cubicBezTo>
                    <a:pt x="0" y="27364"/>
                    <a:pt x="27364" y="0"/>
                    <a:pt x="61141" y="0"/>
                  </a:cubicBezTo>
                  <a:cubicBezTo>
                    <a:pt x="94918" y="0"/>
                    <a:pt x="122331" y="27364"/>
                    <a:pt x="122331" y="61141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78" name="Forma livre: Forma 1977">
              <a:extLst>
                <a:ext uri="{FF2B5EF4-FFF2-40B4-BE49-F238E27FC236}">
                  <a16:creationId xmlns:a16="http://schemas.microsoft.com/office/drawing/2014/main" id="{8ACA10BA-9129-3FEF-65BE-C3FACC317E10}"/>
                </a:ext>
              </a:extLst>
            </p:cNvPr>
            <p:cNvSpPr/>
            <p:nvPr/>
          </p:nvSpPr>
          <p:spPr>
            <a:xfrm>
              <a:off x="5960109" y="4187299"/>
              <a:ext cx="52231" cy="52280"/>
            </a:xfrm>
            <a:custGeom>
              <a:avLst/>
              <a:gdLst>
                <a:gd name="connsiteX0" fmla="*/ 52232 w 52231"/>
                <a:gd name="connsiteY0" fmla="*/ 26140 h 52280"/>
                <a:gd name="connsiteX1" fmla="*/ 26091 w 52231"/>
                <a:gd name="connsiteY1" fmla="*/ 52281 h 52280"/>
                <a:gd name="connsiteX2" fmla="*/ 0 w 52231"/>
                <a:gd name="connsiteY2" fmla="*/ 26140 h 52280"/>
                <a:gd name="connsiteX3" fmla="*/ 26091 w 52231"/>
                <a:gd name="connsiteY3" fmla="*/ 0 h 52280"/>
                <a:gd name="connsiteX4" fmla="*/ 52232 w 52231"/>
                <a:gd name="connsiteY4" fmla="*/ 26140 h 522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2231" h="52280">
                  <a:moveTo>
                    <a:pt x="52232" y="26140"/>
                  </a:moveTo>
                  <a:cubicBezTo>
                    <a:pt x="52232" y="40581"/>
                    <a:pt x="40532" y="52281"/>
                    <a:pt x="26091" y="52281"/>
                  </a:cubicBezTo>
                  <a:cubicBezTo>
                    <a:pt x="11651" y="52281"/>
                    <a:pt x="0" y="40581"/>
                    <a:pt x="0" y="26140"/>
                  </a:cubicBezTo>
                  <a:cubicBezTo>
                    <a:pt x="0" y="11700"/>
                    <a:pt x="11700" y="0"/>
                    <a:pt x="26091" y="0"/>
                  </a:cubicBezTo>
                  <a:cubicBezTo>
                    <a:pt x="40483" y="0"/>
                    <a:pt x="52232" y="11700"/>
                    <a:pt x="52232" y="26140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79" name="Forma livre: Forma 1978">
              <a:extLst>
                <a:ext uri="{FF2B5EF4-FFF2-40B4-BE49-F238E27FC236}">
                  <a16:creationId xmlns:a16="http://schemas.microsoft.com/office/drawing/2014/main" id="{CCC090DB-883D-C069-0903-4B3139485E7E}"/>
                </a:ext>
              </a:extLst>
            </p:cNvPr>
            <p:cNvSpPr/>
            <p:nvPr/>
          </p:nvSpPr>
          <p:spPr>
            <a:xfrm>
              <a:off x="6030404" y="4381883"/>
              <a:ext cx="12531" cy="44056"/>
            </a:xfrm>
            <a:custGeom>
              <a:avLst/>
              <a:gdLst>
                <a:gd name="connsiteX0" fmla="*/ 0 w 12531"/>
                <a:gd name="connsiteY0" fmla="*/ 0 h 44056"/>
                <a:gd name="connsiteX1" fmla="*/ 12532 w 12531"/>
                <a:gd name="connsiteY1" fmla="*/ 44057 h 44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31" h="44056">
                  <a:moveTo>
                    <a:pt x="0" y="0"/>
                  </a:moveTo>
                  <a:lnTo>
                    <a:pt x="12532" y="44057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980" name="Gráfico 19">
            <a:extLst>
              <a:ext uri="{FF2B5EF4-FFF2-40B4-BE49-F238E27FC236}">
                <a16:creationId xmlns:a16="http://schemas.microsoft.com/office/drawing/2014/main" id="{B0BAD7C3-8959-7A9E-F53B-18F772AA7019}"/>
              </a:ext>
            </a:extLst>
          </p:cNvPr>
          <p:cNvGrpSpPr/>
          <p:nvPr/>
        </p:nvGrpSpPr>
        <p:grpSpPr>
          <a:xfrm>
            <a:off x="4485823" y="4168772"/>
            <a:ext cx="329665" cy="305728"/>
            <a:chOff x="4485823" y="4168772"/>
            <a:chExt cx="329665" cy="305728"/>
          </a:xfrm>
        </p:grpSpPr>
        <p:sp>
          <p:nvSpPr>
            <p:cNvPr id="1981" name="Forma livre: Forma 1980">
              <a:extLst>
                <a:ext uri="{FF2B5EF4-FFF2-40B4-BE49-F238E27FC236}">
                  <a16:creationId xmlns:a16="http://schemas.microsoft.com/office/drawing/2014/main" id="{7AA0D0A5-CFA0-D51C-B7F0-CADAD8F47BC3}"/>
                </a:ext>
              </a:extLst>
            </p:cNvPr>
            <p:cNvSpPr/>
            <p:nvPr/>
          </p:nvSpPr>
          <p:spPr>
            <a:xfrm>
              <a:off x="4485823" y="4215055"/>
              <a:ext cx="88309" cy="259445"/>
            </a:xfrm>
            <a:custGeom>
              <a:avLst/>
              <a:gdLst>
                <a:gd name="connsiteX0" fmla="*/ 88309 w 88309"/>
                <a:gd name="connsiteY0" fmla="*/ 259445 h 259445"/>
                <a:gd name="connsiteX1" fmla="*/ 0 w 88309"/>
                <a:gd name="connsiteY1" fmla="*/ 227627 h 259445"/>
                <a:gd name="connsiteX2" fmla="*/ 0 w 88309"/>
                <a:gd name="connsiteY2" fmla="*/ 0 h 259445"/>
                <a:gd name="connsiteX3" fmla="*/ 88309 w 88309"/>
                <a:gd name="connsiteY3" fmla="*/ 31819 h 259445"/>
                <a:gd name="connsiteX4" fmla="*/ 88309 w 88309"/>
                <a:gd name="connsiteY4" fmla="*/ 259445 h 2594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309" h="259445">
                  <a:moveTo>
                    <a:pt x="88309" y="259445"/>
                  </a:moveTo>
                  <a:lnTo>
                    <a:pt x="0" y="227627"/>
                  </a:lnTo>
                  <a:lnTo>
                    <a:pt x="0" y="0"/>
                  </a:lnTo>
                  <a:lnTo>
                    <a:pt x="88309" y="31819"/>
                  </a:lnTo>
                  <a:lnTo>
                    <a:pt x="88309" y="259445"/>
                  </a:ln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82" name="Forma livre: Forma 1981">
              <a:extLst>
                <a:ext uri="{FF2B5EF4-FFF2-40B4-BE49-F238E27FC236}">
                  <a16:creationId xmlns:a16="http://schemas.microsoft.com/office/drawing/2014/main" id="{7923678C-E15D-2BBE-7451-A4124E73439F}"/>
                </a:ext>
              </a:extLst>
            </p:cNvPr>
            <p:cNvSpPr/>
            <p:nvPr/>
          </p:nvSpPr>
          <p:spPr>
            <a:xfrm>
              <a:off x="4661903" y="4332246"/>
              <a:ext cx="88260" cy="142254"/>
            </a:xfrm>
            <a:custGeom>
              <a:avLst/>
              <a:gdLst>
                <a:gd name="connsiteX0" fmla="*/ 88260 w 88260"/>
                <a:gd name="connsiteY0" fmla="*/ 0 h 142254"/>
                <a:gd name="connsiteX1" fmla="*/ 88260 w 88260"/>
                <a:gd name="connsiteY1" fmla="*/ 142254 h 142254"/>
                <a:gd name="connsiteX2" fmla="*/ 0 w 88260"/>
                <a:gd name="connsiteY2" fmla="*/ 110436 h 1422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88260" h="142254">
                  <a:moveTo>
                    <a:pt x="88260" y="0"/>
                  </a:moveTo>
                  <a:lnTo>
                    <a:pt x="88260" y="142254"/>
                  </a:lnTo>
                  <a:lnTo>
                    <a:pt x="0" y="110436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83" name="Forma livre: Forma 1982">
              <a:extLst>
                <a:ext uri="{FF2B5EF4-FFF2-40B4-BE49-F238E27FC236}">
                  <a16:creationId xmlns:a16="http://schemas.microsoft.com/office/drawing/2014/main" id="{7CC2A5BE-7056-37E4-6B86-7AD145573375}"/>
                </a:ext>
              </a:extLst>
            </p:cNvPr>
            <p:cNvSpPr/>
            <p:nvPr/>
          </p:nvSpPr>
          <p:spPr>
            <a:xfrm>
              <a:off x="4661903" y="4215055"/>
              <a:ext cx="34364" cy="11944"/>
            </a:xfrm>
            <a:custGeom>
              <a:avLst/>
              <a:gdLst>
                <a:gd name="connsiteX0" fmla="*/ 0 w 34364"/>
                <a:gd name="connsiteY0" fmla="*/ 0 h 11944"/>
                <a:gd name="connsiteX1" fmla="*/ 34364 w 34364"/>
                <a:gd name="connsiteY1" fmla="*/ 11944 h 11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4364" h="11944">
                  <a:moveTo>
                    <a:pt x="0" y="0"/>
                  </a:moveTo>
                  <a:lnTo>
                    <a:pt x="34364" y="11944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84" name="Forma livre: Forma 1983">
              <a:extLst>
                <a:ext uri="{FF2B5EF4-FFF2-40B4-BE49-F238E27FC236}">
                  <a16:creationId xmlns:a16="http://schemas.microsoft.com/office/drawing/2014/main" id="{CFE6C8C3-8A91-449E-6D86-74DD2AE7D30D}"/>
                </a:ext>
              </a:extLst>
            </p:cNvPr>
            <p:cNvSpPr/>
            <p:nvPr/>
          </p:nvSpPr>
          <p:spPr>
            <a:xfrm>
              <a:off x="4573643" y="4215055"/>
              <a:ext cx="88260" cy="259445"/>
            </a:xfrm>
            <a:custGeom>
              <a:avLst/>
              <a:gdLst>
                <a:gd name="connsiteX0" fmla="*/ 0 w 88260"/>
                <a:gd name="connsiteY0" fmla="*/ 259445 h 259445"/>
                <a:gd name="connsiteX1" fmla="*/ 88260 w 88260"/>
                <a:gd name="connsiteY1" fmla="*/ 227627 h 259445"/>
                <a:gd name="connsiteX2" fmla="*/ 88260 w 88260"/>
                <a:gd name="connsiteY2" fmla="*/ 0 h 259445"/>
                <a:gd name="connsiteX3" fmla="*/ 0 w 88260"/>
                <a:gd name="connsiteY3" fmla="*/ 31819 h 2594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8260" h="259445">
                  <a:moveTo>
                    <a:pt x="0" y="259445"/>
                  </a:moveTo>
                  <a:lnTo>
                    <a:pt x="88260" y="227627"/>
                  </a:lnTo>
                  <a:lnTo>
                    <a:pt x="88260" y="0"/>
                  </a:lnTo>
                  <a:lnTo>
                    <a:pt x="0" y="31819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85" name="Forma livre: Forma 1984">
              <a:extLst>
                <a:ext uri="{FF2B5EF4-FFF2-40B4-BE49-F238E27FC236}">
                  <a16:creationId xmlns:a16="http://schemas.microsoft.com/office/drawing/2014/main" id="{93AFCE7E-AA9B-DD88-17A1-05C86C1532AB}"/>
                </a:ext>
              </a:extLst>
            </p:cNvPr>
            <p:cNvSpPr/>
            <p:nvPr/>
          </p:nvSpPr>
          <p:spPr>
            <a:xfrm>
              <a:off x="4524152" y="4302433"/>
              <a:ext cx="174220" cy="65498"/>
            </a:xfrm>
            <a:custGeom>
              <a:avLst/>
              <a:gdLst>
                <a:gd name="connsiteX0" fmla="*/ 0 w 174220"/>
                <a:gd name="connsiteY0" fmla="*/ 39016 h 65498"/>
                <a:gd name="connsiteX1" fmla="*/ 82337 w 174220"/>
                <a:gd name="connsiteY1" fmla="*/ 23008 h 65498"/>
                <a:gd name="connsiteX2" fmla="*/ 174220 w 174220"/>
                <a:gd name="connsiteY2" fmla="*/ 65499 h 654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74220" h="65498">
                  <a:moveTo>
                    <a:pt x="0" y="39016"/>
                  </a:moveTo>
                  <a:cubicBezTo>
                    <a:pt x="8762" y="9694"/>
                    <a:pt x="30350" y="-23202"/>
                    <a:pt x="82337" y="23008"/>
                  </a:cubicBezTo>
                  <a:cubicBezTo>
                    <a:pt x="82337" y="23008"/>
                    <a:pt x="118072" y="53114"/>
                    <a:pt x="174220" y="65499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custDash>
                <a:ds d="377250" sp="301500"/>
              </a:custDash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86" name="Forma livre: Forma 1985">
              <a:extLst>
                <a:ext uri="{FF2B5EF4-FFF2-40B4-BE49-F238E27FC236}">
                  <a16:creationId xmlns:a16="http://schemas.microsoft.com/office/drawing/2014/main" id="{7878E03C-447D-1EAE-F3A8-0903BC0D6B4E}"/>
                </a:ext>
              </a:extLst>
            </p:cNvPr>
            <p:cNvSpPr/>
            <p:nvPr/>
          </p:nvSpPr>
          <p:spPr>
            <a:xfrm>
              <a:off x="4720818" y="4168772"/>
              <a:ext cx="94670" cy="94670"/>
            </a:xfrm>
            <a:custGeom>
              <a:avLst/>
              <a:gdLst>
                <a:gd name="connsiteX0" fmla="*/ 91563 w 94670"/>
                <a:gd name="connsiteY0" fmla="*/ 64150 h 94670"/>
                <a:gd name="connsiteX1" fmla="*/ 30520 w 94670"/>
                <a:gd name="connsiteY1" fmla="*/ 91563 h 94670"/>
                <a:gd name="connsiteX2" fmla="*/ 3107 w 94670"/>
                <a:gd name="connsiteY2" fmla="*/ 30520 h 94670"/>
                <a:gd name="connsiteX3" fmla="*/ 64150 w 94670"/>
                <a:gd name="connsiteY3" fmla="*/ 3107 h 94670"/>
                <a:gd name="connsiteX4" fmla="*/ 91563 w 94670"/>
                <a:gd name="connsiteY4" fmla="*/ 64150 h 946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4670" h="94670">
                  <a:moveTo>
                    <a:pt x="91563" y="64150"/>
                  </a:moveTo>
                  <a:cubicBezTo>
                    <a:pt x="82263" y="88577"/>
                    <a:pt x="54947" y="100864"/>
                    <a:pt x="30520" y="91563"/>
                  </a:cubicBezTo>
                  <a:cubicBezTo>
                    <a:pt x="6093" y="82263"/>
                    <a:pt x="-6194" y="54947"/>
                    <a:pt x="3107" y="30520"/>
                  </a:cubicBezTo>
                  <a:cubicBezTo>
                    <a:pt x="12408" y="6093"/>
                    <a:pt x="39723" y="-6194"/>
                    <a:pt x="64150" y="3107"/>
                  </a:cubicBezTo>
                  <a:cubicBezTo>
                    <a:pt x="88577" y="12408"/>
                    <a:pt x="100864" y="39723"/>
                    <a:pt x="91563" y="64150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87" name="Forma livre: Forma 1986">
              <a:extLst>
                <a:ext uri="{FF2B5EF4-FFF2-40B4-BE49-F238E27FC236}">
                  <a16:creationId xmlns:a16="http://schemas.microsoft.com/office/drawing/2014/main" id="{D09EEEA7-7524-4B02-BD5C-FCDABA7A34D6}"/>
                </a:ext>
              </a:extLst>
            </p:cNvPr>
            <p:cNvSpPr/>
            <p:nvPr/>
          </p:nvSpPr>
          <p:spPr>
            <a:xfrm>
              <a:off x="4709876" y="4260335"/>
              <a:ext cx="41462" cy="109064"/>
            </a:xfrm>
            <a:custGeom>
              <a:avLst/>
              <a:gdLst>
                <a:gd name="connsiteX0" fmla="*/ 0 w 41462"/>
                <a:gd name="connsiteY0" fmla="*/ 109065 h 109064"/>
                <a:gd name="connsiteX1" fmla="*/ 41462 w 41462"/>
                <a:gd name="connsiteY1" fmla="*/ 0 h 1090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1462" h="109064">
                  <a:moveTo>
                    <a:pt x="0" y="109065"/>
                  </a:moveTo>
                  <a:lnTo>
                    <a:pt x="41462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88" name="Forma livre: Forma 1987">
              <a:extLst>
                <a:ext uri="{FF2B5EF4-FFF2-40B4-BE49-F238E27FC236}">
                  <a16:creationId xmlns:a16="http://schemas.microsoft.com/office/drawing/2014/main" id="{EC070CA6-75B1-E488-2F0F-718F60E53144}"/>
                </a:ext>
              </a:extLst>
            </p:cNvPr>
            <p:cNvSpPr/>
            <p:nvPr/>
          </p:nvSpPr>
          <p:spPr>
            <a:xfrm>
              <a:off x="4747716" y="4194229"/>
              <a:ext cx="28245" cy="14119"/>
            </a:xfrm>
            <a:custGeom>
              <a:avLst/>
              <a:gdLst>
                <a:gd name="connsiteX0" fmla="*/ 0 w 28245"/>
                <a:gd name="connsiteY0" fmla="*/ 14119 h 14119"/>
                <a:gd name="connsiteX1" fmla="*/ 28245 w 28245"/>
                <a:gd name="connsiteY1" fmla="*/ 1441 h 141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8245" h="14119">
                  <a:moveTo>
                    <a:pt x="0" y="14119"/>
                  </a:moveTo>
                  <a:cubicBezTo>
                    <a:pt x="4308" y="2811"/>
                    <a:pt x="16937" y="-2867"/>
                    <a:pt x="28245" y="1441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89" name="Forma livre: Forma 1988">
              <a:extLst>
                <a:ext uri="{FF2B5EF4-FFF2-40B4-BE49-F238E27FC236}">
                  <a16:creationId xmlns:a16="http://schemas.microsoft.com/office/drawing/2014/main" id="{0D9841B2-64F9-DF82-BDE4-6943B9A6D462}"/>
                </a:ext>
              </a:extLst>
            </p:cNvPr>
            <p:cNvSpPr/>
            <p:nvPr/>
          </p:nvSpPr>
          <p:spPr>
            <a:xfrm>
              <a:off x="4515194" y="4361617"/>
              <a:ext cx="9496" cy="9496"/>
            </a:xfrm>
            <a:custGeom>
              <a:avLst/>
              <a:gdLst>
                <a:gd name="connsiteX0" fmla="*/ 9497 w 9496"/>
                <a:gd name="connsiteY0" fmla="*/ 4748 h 9496"/>
                <a:gd name="connsiteX1" fmla="*/ 4748 w 9496"/>
                <a:gd name="connsiteY1" fmla="*/ 9497 h 9496"/>
                <a:gd name="connsiteX2" fmla="*/ 0 w 9496"/>
                <a:gd name="connsiteY2" fmla="*/ 4748 h 9496"/>
                <a:gd name="connsiteX3" fmla="*/ 4748 w 9496"/>
                <a:gd name="connsiteY3" fmla="*/ 0 h 9496"/>
                <a:gd name="connsiteX4" fmla="*/ 9497 w 9496"/>
                <a:gd name="connsiteY4" fmla="*/ 4748 h 94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496" h="9496">
                  <a:moveTo>
                    <a:pt x="9497" y="4748"/>
                  </a:moveTo>
                  <a:cubicBezTo>
                    <a:pt x="9497" y="7392"/>
                    <a:pt x="7392" y="9497"/>
                    <a:pt x="4748" y="9497"/>
                  </a:cubicBezTo>
                  <a:cubicBezTo>
                    <a:pt x="2105" y="9497"/>
                    <a:pt x="0" y="7392"/>
                    <a:pt x="0" y="4748"/>
                  </a:cubicBezTo>
                  <a:cubicBezTo>
                    <a:pt x="0" y="2105"/>
                    <a:pt x="2105" y="0"/>
                    <a:pt x="4748" y="0"/>
                  </a:cubicBezTo>
                  <a:cubicBezTo>
                    <a:pt x="7392" y="0"/>
                    <a:pt x="9497" y="2105"/>
                    <a:pt x="9497" y="4748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990" name="Gráfico 19">
            <a:extLst>
              <a:ext uri="{FF2B5EF4-FFF2-40B4-BE49-F238E27FC236}">
                <a16:creationId xmlns:a16="http://schemas.microsoft.com/office/drawing/2014/main" id="{80E5FF63-1BC9-1AF3-FE61-6BDCC58991C6}"/>
              </a:ext>
            </a:extLst>
          </p:cNvPr>
          <p:cNvGrpSpPr/>
          <p:nvPr/>
        </p:nvGrpSpPr>
        <p:grpSpPr>
          <a:xfrm>
            <a:off x="5140310" y="4195131"/>
            <a:ext cx="296453" cy="253032"/>
            <a:chOff x="5140310" y="4195131"/>
            <a:chExt cx="296453" cy="253032"/>
          </a:xfrm>
          <a:noFill/>
        </p:grpSpPr>
        <p:sp>
          <p:nvSpPr>
            <p:cNvPr id="1991" name="Forma livre: Forma 1990">
              <a:extLst>
                <a:ext uri="{FF2B5EF4-FFF2-40B4-BE49-F238E27FC236}">
                  <a16:creationId xmlns:a16="http://schemas.microsoft.com/office/drawing/2014/main" id="{2F1C3C86-6710-2C9C-C18D-37ED8FE9BE82}"/>
                </a:ext>
              </a:extLst>
            </p:cNvPr>
            <p:cNvSpPr/>
            <p:nvPr/>
          </p:nvSpPr>
          <p:spPr>
            <a:xfrm>
              <a:off x="5172815" y="4211334"/>
              <a:ext cx="88358" cy="88358"/>
            </a:xfrm>
            <a:custGeom>
              <a:avLst/>
              <a:gdLst>
                <a:gd name="connsiteX0" fmla="*/ 0 w 88358"/>
                <a:gd name="connsiteY0" fmla="*/ 0 h 88358"/>
                <a:gd name="connsiteX1" fmla="*/ 88358 w 88358"/>
                <a:gd name="connsiteY1" fmla="*/ 88358 h 883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8358" h="88358">
                  <a:moveTo>
                    <a:pt x="0" y="0"/>
                  </a:moveTo>
                  <a:lnTo>
                    <a:pt x="88358" y="88358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92" name="Forma livre: Forma 1991">
              <a:extLst>
                <a:ext uri="{FF2B5EF4-FFF2-40B4-BE49-F238E27FC236}">
                  <a16:creationId xmlns:a16="http://schemas.microsoft.com/office/drawing/2014/main" id="{F6C11147-9A0B-2AA4-7ECC-035730F0F597}"/>
                </a:ext>
              </a:extLst>
            </p:cNvPr>
            <p:cNvSpPr/>
            <p:nvPr/>
          </p:nvSpPr>
          <p:spPr>
            <a:xfrm>
              <a:off x="5140310" y="4242321"/>
              <a:ext cx="102554" cy="102603"/>
            </a:xfrm>
            <a:custGeom>
              <a:avLst/>
              <a:gdLst>
                <a:gd name="connsiteX0" fmla="*/ 0 w 102554"/>
                <a:gd name="connsiteY0" fmla="*/ 0 h 102603"/>
                <a:gd name="connsiteX1" fmla="*/ 102554 w 102554"/>
                <a:gd name="connsiteY1" fmla="*/ 102603 h 1026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2554" h="102603">
                  <a:moveTo>
                    <a:pt x="0" y="0"/>
                  </a:moveTo>
                  <a:lnTo>
                    <a:pt x="102554" y="102603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93" name="Forma livre: Forma 1992">
              <a:extLst>
                <a:ext uri="{FF2B5EF4-FFF2-40B4-BE49-F238E27FC236}">
                  <a16:creationId xmlns:a16="http://schemas.microsoft.com/office/drawing/2014/main" id="{EBF90712-4272-D5C1-A866-1C74277E5116}"/>
                </a:ext>
              </a:extLst>
            </p:cNvPr>
            <p:cNvSpPr/>
            <p:nvPr/>
          </p:nvSpPr>
          <p:spPr>
            <a:xfrm>
              <a:off x="5264159" y="4195131"/>
              <a:ext cx="172604" cy="253032"/>
            </a:xfrm>
            <a:custGeom>
              <a:avLst/>
              <a:gdLst>
                <a:gd name="connsiteX0" fmla="*/ 0 w 172604"/>
                <a:gd name="connsiteY0" fmla="*/ 253033 h 253032"/>
                <a:gd name="connsiteX1" fmla="*/ 0 w 172604"/>
                <a:gd name="connsiteY1" fmla="*/ 178038 h 253032"/>
                <a:gd name="connsiteX2" fmla="*/ 73917 w 172604"/>
                <a:gd name="connsiteY2" fmla="*/ 58400 h 253032"/>
                <a:gd name="connsiteX3" fmla="*/ 74603 w 172604"/>
                <a:gd name="connsiteY3" fmla="*/ 57861 h 253032"/>
                <a:gd name="connsiteX4" fmla="*/ 45966 w 172604"/>
                <a:gd name="connsiteY4" fmla="*/ 25406 h 253032"/>
                <a:gd name="connsiteX5" fmla="*/ 172605 w 172604"/>
                <a:gd name="connsiteY5" fmla="*/ 0 h 253032"/>
                <a:gd name="connsiteX6" fmla="*/ 131534 w 172604"/>
                <a:gd name="connsiteY6" fmla="*/ 122380 h 253032"/>
                <a:gd name="connsiteX7" fmla="*/ 104463 w 172604"/>
                <a:gd name="connsiteY7" fmla="*/ 91687 h 253032"/>
                <a:gd name="connsiteX8" fmla="*/ 103582 w 172604"/>
                <a:gd name="connsiteY8" fmla="*/ 92323 h 253032"/>
                <a:gd name="connsiteX9" fmla="*/ 44938 w 172604"/>
                <a:gd name="connsiteY9" fmla="*/ 178038 h 253032"/>
                <a:gd name="connsiteX10" fmla="*/ 44938 w 172604"/>
                <a:gd name="connsiteY10" fmla="*/ 253033 h 2530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72604" h="253032">
                  <a:moveTo>
                    <a:pt x="0" y="253033"/>
                  </a:moveTo>
                  <a:lnTo>
                    <a:pt x="0" y="178038"/>
                  </a:lnTo>
                  <a:cubicBezTo>
                    <a:pt x="0" y="122821"/>
                    <a:pt x="46162" y="79498"/>
                    <a:pt x="73917" y="58400"/>
                  </a:cubicBezTo>
                  <a:lnTo>
                    <a:pt x="74603" y="57861"/>
                  </a:lnTo>
                  <a:lnTo>
                    <a:pt x="45966" y="25406"/>
                  </a:lnTo>
                  <a:lnTo>
                    <a:pt x="172605" y="0"/>
                  </a:lnTo>
                  <a:lnTo>
                    <a:pt x="131534" y="122380"/>
                  </a:lnTo>
                  <a:lnTo>
                    <a:pt x="104463" y="91687"/>
                  </a:lnTo>
                  <a:lnTo>
                    <a:pt x="103582" y="92323"/>
                  </a:lnTo>
                  <a:cubicBezTo>
                    <a:pt x="82680" y="107792"/>
                    <a:pt x="44938" y="140884"/>
                    <a:pt x="44938" y="178038"/>
                  </a:cubicBezTo>
                  <a:lnTo>
                    <a:pt x="44938" y="253033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994" name="Gráfico 19">
            <a:extLst>
              <a:ext uri="{FF2B5EF4-FFF2-40B4-BE49-F238E27FC236}">
                <a16:creationId xmlns:a16="http://schemas.microsoft.com/office/drawing/2014/main" id="{9A1238C7-3362-5916-7920-3D300E83B023}"/>
              </a:ext>
            </a:extLst>
          </p:cNvPr>
          <p:cNvGrpSpPr/>
          <p:nvPr/>
        </p:nvGrpSpPr>
        <p:grpSpPr>
          <a:xfrm>
            <a:off x="5764105" y="5798210"/>
            <a:ext cx="324551" cy="324600"/>
            <a:chOff x="5764105" y="5798210"/>
            <a:chExt cx="324551" cy="324600"/>
          </a:xfrm>
          <a:noFill/>
        </p:grpSpPr>
        <p:sp>
          <p:nvSpPr>
            <p:cNvPr id="1995" name="Forma livre: Forma 1994">
              <a:extLst>
                <a:ext uri="{FF2B5EF4-FFF2-40B4-BE49-F238E27FC236}">
                  <a16:creationId xmlns:a16="http://schemas.microsoft.com/office/drawing/2014/main" id="{E1175653-BA1B-CC7D-B490-B0180DA8F0AD}"/>
                </a:ext>
              </a:extLst>
            </p:cNvPr>
            <p:cNvSpPr/>
            <p:nvPr/>
          </p:nvSpPr>
          <p:spPr>
            <a:xfrm>
              <a:off x="5826960" y="6012179"/>
              <a:ext cx="67406" cy="47777"/>
            </a:xfrm>
            <a:custGeom>
              <a:avLst/>
              <a:gdLst>
                <a:gd name="connsiteX0" fmla="*/ 67407 w 67406"/>
                <a:gd name="connsiteY0" fmla="*/ 13657 h 47777"/>
                <a:gd name="connsiteX1" fmla="*/ 0 w 67406"/>
                <a:gd name="connsiteY1" fmla="*/ 47777 h 47777"/>
                <a:gd name="connsiteX2" fmla="*/ 23791 w 67406"/>
                <a:gd name="connsiteY2" fmla="*/ 0 h 477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7406" h="47777">
                  <a:moveTo>
                    <a:pt x="67407" y="13657"/>
                  </a:moveTo>
                  <a:lnTo>
                    <a:pt x="0" y="47777"/>
                  </a:lnTo>
                  <a:lnTo>
                    <a:pt x="23791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96" name="Forma livre: Forma 1995">
              <a:extLst>
                <a:ext uri="{FF2B5EF4-FFF2-40B4-BE49-F238E27FC236}">
                  <a16:creationId xmlns:a16="http://schemas.microsoft.com/office/drawing/2014/main" id="{5BECB777-EB2A-3BC8-95EC-A1F835385214}"/>
                </a:ext>
              </a:extLst>
            </p:cNvPr>
            <p:cNvSpPr/>
            <p:nvPr/>
          </p:nvSpPr>
          <p:spPr>
            <a:xfrm>
              <a:off x="5958298" y="6011935"/>
              <a:ext cx="67553" cy="48021"/>
            </a:xfrm>
            <a:custGeom>
              <a:avLst/>
              <a:gdLst>
                <a:gd name="connsiteX0" fmla="*/ 43616 w 67553"/>
                <a:gd name="connsiteY0" fmla="*/ 0 h 48021"/>
                <a:gd name="connsiteX1" fmla="*/ 67554 w 67553"/>
                <a:gd name="connsiteY1" fmla="*/ 48022 h 48021"/>
                <a:gd name="connsiteX2" fmla="*/ 0 w 67553"/>
                <a:gd name="connsiteY2" fmla="*/ 13853 h 480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7553" h="48021">
                  <a:moveTo>
                    <a:pt x="43616" y="0"/>
                  </a:moveTo>
                  <a:lnTo>
                    <a:pt x="67554" y="48022"/>
                  </a:lnTo>
                  <a:lnTo>
                    <a:pt x="0" y="13853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97" name="Forma livre: Forma 1996">
              <a:extLst>
                <a:ext uri="{FF2B5EF4-FFF2-40B4-BE49-F238E27FC236}">
                  <a16:creationId xmlns:a16="http://schemas.microsoft.com/office/drawing/2014/main" id="{74A2CA6F-DBC5-1DB0-0A73-3D39A0385F08}"/>
                </a:ext>
              </a:extLst>
            </p:cNvPr>
            <p:cNvSpPr/>
            <p:nvPr/>
          </p:nvSpPr>
          <p:spPr>
            <a:xfrm>
              <a:off x="5958444" y="5861065"/>
              <a:ext cx="67406" cy="48217"/>
            </a:xfrm>
            <a:custGeom>
              <a:avLst/>
              <a:gdLst>
                <a:gd name="connsiteX0" fmla="*/ 0 w 67406"/>
                <a:gd name="connsiteY0" fmla="*/ 34120 h 48217"/>
                <a:gd name="connsiteX1" fmla="*/ 67407 w 67406"/>
                <a:gd name="connsiteY1" fmla="*/ 0 h 48217"/>
                <a:gd name="connsiteX2" fmla="*/ 43372 w 67406"/>
                <a:gd name="connsiteY2" fmla="*/ 48218 h 482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7406" h="48217">
                  <a:moveTo>
                    <a:pt x="0" y="34120"/>
                  </a:moveTo>
                  <a:lnTo>
                    <a:pt x="67407" y="0"/>
                  </a:lnTo>
                  <a:lnTo>
                    <a:pt x="43372" y="48218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98" name="Forma livre: Forma 1997">
              <a:extLst>
                <a:ext uri="{FF2B5EF4-FFF2-40B4-BE49-F238E27FC236}">
                  <a16:creationId xmlns:a16="http://schemas.microsoft.com/office/drawing/2014/main" id="{D763C51F-9870-9165-9AC6-26425B83F2A4}"/>
                </a:ext>
              </a:extLst>
            </p:cNvPr>
            <p:cNvSpPr/>
            <p:nvPr/>
          </p:nvSpPr>
          <p:spPr>
            <a:xfrm>
              <a:off x="5826960" y="5861065"/>
              <a:ext cx="67210" cy="48217"/>
            </a:xfrm>
            <a:custGeom>
              <a:avLst/>
              <a:gdLst>
                <a:gd name="connsiteX0" fmla="*/ 24035 w 67210"/>
                <a:gd name="connsiteY0" fmla="*/ 48218 h 48217"/>
                <a:gd name="connsiteX1" fmla="*/ 0 w 67210"/>
                <a:gd name="connsiteY1" fmla="*/ 0 h 48217"/>
                <a:gd name="connsiteX2" fmla="*/ 67211 w 67210"/>
                <a:gd name="connsiteY2" fmla="*/ 34022 h 482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7210" h="48217">
                  <a:moveTo>
                    <a:pt x="24035" y="48218"/>
                  </a:moveTo>
                  <a:lnTo>
                    <a:pt x="0" y="0"/>
                  </a:lnTo>
                  <a:lnTo>
                    <a:pt x="67211" y="34022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99" name="Forma livre: Forma 1998">
              <a:extLst>
                <a:ext uri="{FF2B5EF4-FFF2-40B4-BE49-F238E27FC236}">
                  <a16:creationId xmlns:a16="http://schemas.microsoft.com/office/drawing/2014/main" id="{75E0FCA6-8A88-2216-4E4C-AEB37762CF1E}"/>
                </a:ext>
              </a:extLst>
            </p:cNvPr>
            <p:cNvSpPr/>
            <p:nvPr/>
          </p:nvSpPr>
          <p:spPr>
            <a:xfrm>
              <a:off x="5764105" y="5798210"/>
              <a:ext cx="324551" cy="324600"/>
            </a:xfrm>
            <a:custGeom>
              <a:avLst/>
              <a:gdLst>
                <a:gd name="connsiteX0" fmla="*/ 162276 w 324551"/>
                <a:gd name="connsiteY0" fmla="*/ 0 h 324600"/>
                <a:gd name="connsiteX1" fmla="*/ 202367 w 324551"/>
                <a:gd name="connsiteY1" fmla="*/ 122184 h 324600"/>
                <a:gd name="connsiteX2" fmla="*/ 324551 w 324551"/>
                <a:gd name="connsiteY2" fmla="*/ 162276 h 324600"/>
                <a:gd name="connsiteX3" fmla="*/ 202367 w 324551"/>
                <a:gd name="connsiteY3" fmla="*/ 202368 h 324600"/>
                <a:gd name="connsiteX4" fmla="*/ 162276 w 324551"/>
                <a:gd name="connsiteY4" fmla="*/ 324601 h 324600"/>
                <a:gd name="connsiteX5" fmla="*/ 122184 w 324551"/>
                <a:gd name="connsiteY5" fmla="*/ 202368 h 324600"/>
                <a:gd name="connsiteX6" fmla="*/ 0 w 324551"/>
                <a:gd name="connsiteY6" fmla="*/ 162276 h 324600"/>
                <a:gd name="connsiteX7" fmla="*/ 122184 w 324551"/>
                <a:gd name="connsiteY7" fmla="*/ 122184 h 324600"/>
                <a:gd name="connsiteX8" fmla="*/ 162276 w 324551"/>
                <a:gd name="connsiteY8" fmla="*/ 0 h 324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24551" h="324600">
                  <a:moveTo>
                    <a:pt x="162276" y="0"/>
                  </a:moveTo>
                  <a:lnTo>
                    <a:pt x="202367" y="122184"/>
                  </a:lnTo>
                  <a:lnTo>
                    <a:pt x="324551" y="162276"/>
                  </a:lnTo>
                  <a:lnTo>
                    <a:pt x="202367" y="202368"/>
                  </a:lnTo>
                  <a:lnTo>
                    <a:pt x="162276" y="324601"/>
                  </a:lnTo>
                  <a:lnTo>
                    <a:pt x="122184" y="202368"/>
                  </a:lnTo>
                  <a:lnTo>
                    <a:pt x="0" y="162276"/>
                  </a:lnTo>
                  <a:lnTo>
                    <a:pt x="122184" y="122184"/>
                  </a:lnTo>
                  <a:lnTo>
                    <a:pt x="162276" y="0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00" name="Forma livre: Forma 1999">
              <a:extLst>
                <a:ext uri="{FF2B5EF4-FFF2-40B4-BE49-F238E27FC236}">
                  <a16:creationId xmlns:a16="http://schemas.microsoft.com/office/drawing/2014/main" id="{E9252CC7-DB6C-D824-F752-992850EA044F}"/>
                </a:ext>
              </a:extLst>
            </p:cNvPr>
            <p:cNvSpPr/>
            <p:nvPr/>
          </p:nvSpPr>
          <p:spPr>
            <a:xfrm>
              <a:off x="5905136" y="5939192"/>
              <a:ext cx="42588" cy="42637"/>
            </a:xfrm>
            <a:custGeom>
              <a:avLst/>
              <a:gdLst>
                <a:gd name="connsiteX0" fmla="*/ 42588 w 42588"/>
                <a:gd name="connsiteY0" fmla="*/ 21294 h 42637"/>
                <a:gd name="connsiteX1" fmla="*/ 21294 w 42588"/>
                <a:gd name="connsiteY1" fmla="*/ 42637 h 42637"/>
                <a:gd name="connsiteX2" fmla="*/ 0 w 42588"/>
                <a:gd name="connsiteY2" fmla="*/ 21294 h 42637"/>
                <a:gd name="connsiteX3" fmla="*/ 21294 w 42588"/>
                <a:gd name="connsiteY3" fmla="*/ 0 h 42637"/>
                <a:gd name="connsiteX4" fmla="*/ 42588 w 42588"/>
                <a:gd name="connsiteY4" fmla="*/ 21294 h 426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2588" h="42637">
                  <a:moveTo>
                    <a:pt x="42588" y="21294"/>
                  </a:moveTo>
                  <a:cubicBezTo>
                    <a:pt x="42588" y="33043"/>
                    <a:pt x="33043" y="42637"/>
                    <a:pt x="21294" y="42637"/>
                  </a:cubicBezTo>
                  <a:cubicBezTo>
                    <a:pt x="9546" y="42637"/>
                    <a:pt x="0" y="33092"/>
                    <a:pt x="0" y="21294"/>
                  </a:cubicBezTo>
                  <a:cubicBezTo>
                    <a:pt x="0" y="9497"/>
                    <a:pt x="9546" y="0"/>
                    <a:pt x="21294" y="0"/>
                  </a:cubicBezTo>
                  <a:cubicBezTo>
                    <a:pt x="33043" y="0"/>
                    <a:pt x="42588" y="9546"/>
                    <a:pt x="42588" y="21294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2001" name="Gráfico 19">
            <a:extLst>
              <a:ext uri="{FF2B5EF4-FFF2-40B4-BE49-F238E27FC236}">
                <a16:creationId xmlns:a16="http://schemas.microsoft.com/office/drawing/2014/main" id="{461DCB30-6EDE-478A-8700-8FF2E4BA3022}"/>
              </a:ext>
            </a:extLst>
          </p:cNvPr>
          <p:cNvGrpSpPr/>
          <p:nvPr/>
        </p:nvGrpSpPr>
        <p:grpSpPr>
          <a:xfrm>
            <a:off x="4521900" y="5808246"/>
            <a:ext cx="257536" cy="298656"/>
            <a:chOff x="4521900" y="5808246"/>
            <a:chExt cx="257536" cy="298656"/>
          </a:xfrm>
          <a:noFill/>
        </p:grpSpPr>
        <p:sp>
          <p:nvSpPr>
            <p:cNvPr id="2002" name="Forma livre: Forma 2001">
              <a:extLst>
                <a:ext uri="{FF2B5EF4-FFF2-40B4-BE49-F238E27FC236}">
                  <a16:creationId xmlns:a16="http://schemas.microsoft.com/office/drawing/2014/main" id="{74E8C8CB-CAED-5BC7-EA01-7CD2D0516037}"/>
                </a:ext>
              </a:extLst>
            </p:cNvPr>
            <p:cNvSpPr/>
            <p:nvPr/>
          </p:nvSpPr>
          <p:spPr>
            <a:xfrm>
              <a:off x="4521900" y="5918828"/>
              <a:ext cx="257536" cy="188073"/>
            </a:xfrm>
            <a:custGeom>
              <a:avLst/>
              <a:gdLst>
                <a:gd name="connsiteX0" fmla="*/ 226060 w 257536"/>
                <a:gd name="connsiteY0" fmla="*/ 0 h 188073"/>
                <a:gd name="connsiteX1" fmla="*/ 242851 w 257536"/>
                <a:gd name="connsiteY1" fmla="*/ 0 h 188073"/>
                <a:gd name="connsiteX2" fmla="*/ 257536 w 257536"/>
                <a:gd name="connsiteY2" fmla="*/ 14686 h 188073"/>
                <a:gd name="connsiteX3" fmla="*/ 257536 w 257536"/>
                <a:gd name="connsiteY3" fmla="*/ 173388 h 188073"/>
                <a:gd name="connsiteX4" fmla="*/ 242851 w 257536"/>
                <a:gd name="connsiteY4" fmla="*/ 188074 h 188073"/>
                <a:gd name="connsiteX5" fmla="*/ 14686 w 257536"/>
                <a:gd name="connsiteY5" fmla="*/ 188074 h 188073"/>
                <a:gd name="connsiteX6" fmla="*/ 0 w 257536"/>
                <a:gd name="connsiteY6" fmla="*/ 173388 h 188073"/>
                <a:gd name="connsiteX7" fmla="*/ 0 w 257536"/>
                <a:gd name="connsiteY7" fmla="*/ 14686 h 188073"/>
                <a:gd name="connsiteX8" fmla="*/ 14686 w 257536"/>
                <a:gd name="connsiteY8" fmla="*/ 0 h 188073"/>
                <a:gd name="connsiteX9" fmla="*/ 105981 w 257536"/>
                <a:gd name="connsiteY9" fmla="*/ 0 h 1880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57536" h="188073">
                  <a:moveTo>
                    <a:pt x="226060" y="0"/>
                  </a:moveTo>
                  <a:lnTo>
                    <a:pt x="242851" y="0"/>
                  </a:lnTo>
                  <a:cubicBezTo>
                    <a:pt x="250928" y="0"/>
                    <a:pt x="257536" y="6609"/>
                    <a:pt x="257536" y="14686"/>
                  </a:cubicBezTo>
                  <a:lnTo>
                    <a:pt x="257536" y="173388"/>
                  </a:lnTo>
                  <a:cubicBezTo>
                    <a:pt x="257536" y="181465"/>
                    <a:pt x="250928" y="188074"/>
                    <a:pt x="242851" y="188074"/>
                  </a:cubicBezTo>
                  <a:lnTo>
                    <a:pt x="14686" y="188074"/>
                  </a:lnTo>
                  <a:cubicBezTo>
                    <a:pt x="6609" y="188074"/>
                    <a:pt x="0" y="181465"/>
                    <a:pt x="0" y="173388"/>
                  </a:cubicBezTo>
                  <a:lnTo>
                    <a:pt x="0" y="14686"/>
                  </a:lnTo>
                  <a:cubicBezTo>
                    <a:pt x="0" y="6609"/>
                    <a:pt x="6609" y="0"/>
                    <a:pt x="14686" y="0"/>
                  </a:cubicBezTo>
                  <a:lnTo>
                    <a:pt x="105981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03" name="Forma livre: Forma 2002">
              <a:extLst>
                <a:ext uri="{FF2B5EF4-FFF2-40B4-BE49-F238E27FC236}">
                  <a16:creationId xmlns:a16="http://schemas.microsoft.com/office/drawing/2014/main" id="{C9081DA2-DD75-13F0-A8EC-718CEB18BED5}"/>
                </a:ext>
              </a:extLst>
            </p:cNvPr>
            <p:cNvSpPr/>
            <p:nvPr/>
          </p:nvSpPr>
          <p:spPr>
            <a:xfrm>
              <a:off x="4639972" y="5987801"/>
              <a:ext cx="24035" cy="118904"/>
            </a:xfrm>
            <a:custGeom>
              <a:avLst/>
              <a:gdLst>
                <a:gd name="connsiteX0" fmla="*/ 0 w 24035"/>
                <a:gd name="connsiteY0" fmla="*/ 118904 h 118904"/>
                <a:gd name="connsiteX1" fmla="*/ 0 w 24035"/>
                <a:gd name="connsiteY1" fmla="*/ 18455 h 118904"/>
                <a:gd name="connsiteX2" fmla="*/ 24035 w 24035"/>
                <a:gd name="connsiteY2" fmla="*/ 0 h 1189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4035" h="118904">
                  <a:moveTo>
                    <a:pt x="0" y="118904"/>
                  </a:moveTo>
                  <a:lnTo>
                    <a:pt x="0" y="18455"/>
                  </a:lnTo>
                  <a:lnTo>
                    <a:pt x="24035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04" name="Forma livre: Forma 2003">
              <a:extLst>
                <a:ext uri="{FF2B5EF4-FFF2-40B4-BE49-F238E27FC236}">
                  <a16:creationId xmlns:a16="http://schemas.microsoft.com/office/drawing/2014/main" id="{FF523117-2303-4F09-4AA1-735E8AC1A651}"/>
                </a:ext>
              </a:extLst>
            </p:cNvPr>
            <p:cNvSpPr/>
            <p:nvPr/>
          </p:nvSpPr>
          <p:spPr>
            <a:xfrm>
              <a:off x="4579957" y="6056138"/>
              <a:ext cx="59574" cy="4895"/>
            </a:xfrm>
            <a:custGeom>
              <a:avLst/>
              <a:gdLst>
                <a:gd name="connsiteX0" fmla="*/ 59575 w 59574"/>
                <a:gd name="connsiteY0" fmla="*/ 0 h 4895"/>
                <a:gd name="connsiteX1" fmla="*/ 0 w 59574"/>
                <a:gd name="connsiteY1" fmla="*/ 0 h 48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9574" h="4895">
                  <a:moveTo>
                    <a:pt x="59575" y="0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05" name="Forma livre: Forma 2004">
              <a:extLst>
                <a:ext uri="{FF2B5EF4-FFF2-40B4-BE49-F238E27FC236}">
                  <a16:creationId xmlns:a16="http://schemas.microsoft.com/office/drawing/2014/main" id="{1D77450A-154C-34A8-D3D5-2D415C301086}"/>
                </a:ext>
              </a:extLst>
            </p:cNvPr>
            <p:cNvSpPr/>
            <p:nvPr/>
          </p:nvSpPr>
          <p:spPr>
            <a:xfrm>
              <a:off x="4694848" y="6022312"/>
              <a:ext cx="37350" cy="48"/>
            </a:xfrm>
            <a:custGeom>
              <a:avLst/>
              <a:gdLst>
                <a:gd name="connsiteX0" fmla="*/ 37350 w 37350"/>
                <a:gd name="connsiteY0" fmla="*/ 49 h 48"/>
                <a:gd name="connsiteX1" fmla="*/ 0 w 37350"/>
                <a:gd name="connsiteY1" fmla="*/ 0 h 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7350" h="48">
                  <a:moveTo>
                    <a:pt x="37350" y="49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06" name="Forma livre: Forma 2005">
              <a:extLst>
                <a:ext uri="{FF2B5EF4-FFF2-40B4-BE49-F238E27FC236}">
                  <a16:creationId xmlns:a16="http://schemas.microsoft.com/office/drawing/2014/main" id="{57AEA49F-CC09-EA3F-4E59-42BF0C864CEA}"/>
                </a:ext>
              </a:extLst>
            </p:cNvPr>
            <p:cNvSpPr/>
            <p:nvPr/>
          </p:nvSpPr>
          <p:spPr>
            <a:xfrm>
              <a:off x="4522243" y="5963619"/>
              <a:ext cx="96435" cy="48"/>
            </a:xfrm>
            <a:custGeom>
              <a:avLst/>
              <a:gdLst>
                <a:gd name="connsiteX0" fmla="*/ 96435 w 96435"/>
                <a:gd name="connsiteY0" fmla="*/ 49 h 48"/>
                <a:gd name="connsiteX1" fmla="*/ 0 w 96435"/>
                <a:gd name="connsiteY1" fmla="*/ 0 h 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6435" h="48">
                  <a:moveTo>
                    <a:pt x="96435" y="49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07" name="Forma livre: Forma 2006">
              <a:extLst>
                <a:ext uri="{FF2B5EF4-FFF2-40B4-BE49-F238E27FC236}">
                  <a16:creationId xmlns:a16="http://schemas.microsoft.com/office/drawing/2014/main" id="{38BCCB2C-1DD1-268B-980E-31CFBEB869A8}"/>
                </a:ext>
              </a:extLst>
            </p:cNvPr>
            <p:cNvSpPr/>
            <p:nvPr/>
          </p:nvSpPr>
          <p:spPr>
            <a:xfrm>
              <a:off x="4579321" y="5919024"/>
              <a:ext cx="4895" cy="187877"/>
            </a:xfrm>
            <a:custGeom>
              <a:avLst/>
              <a:gdLst>
                <a:gd name="connsiteX0" fmla="*/ 0 w 4895"/>
                <a:gd name="connsiteY0" fmla="*/ 187878 h 187877"/>
                <a:gd name="connsiteX1" fmla="*/ 0 w 4895"/>
                <a:gd name="connsiteY1" fmla="*/ 0 h 1878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895" h="187877">
                  <a:moveTo>
                    <a:pt x="0" y="187878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08" name="Forma livre: Forma 2007">
              <a:extLst>
                <a:ext uri="{FF2B5EF4-FFF2-40B4-BE49-F238E27FC236}">
                  <a16:creationId xmlns:a16="http://schemas.microsoft.com/office/drawing/2014/main" id="{0CE728C7-978A-6360-251A-B752DC0CBFE1}"/>
                </a:ext>
              </a:extLst>
            </p:cNvPr>
            <p:cNvSpPr/>
            <p:nvPr/>
          </p:nvSpPr>
          <p:spPr>
            <a:xfrm>
              <a:off x="4732394" y="5978696"/>
              <a:ext cx="46847" cy="127177"/>
            </a:xfrm>
            <a:custGeom>
              <a:avLst/>
              <a:gdLst>
                <a:gd name="connsiteX0" fmla="*/ 0 w 46847"/>
                <a:gd name="connsiteY0" fmla="*/ 127177 h 127177"/>
                <a:gd name="connsiteX1" fmla="*/ 0 w 46847"/>
                <a:gd name="connsiteY1" fmla="*/ 0 h 127177"/>
                <a:gd name="connsiteX2" fmla="*/ 46847 w 46847"/>
                <a:gd name="connsiteY2" fmla="*/ 0 h 1271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6847" h="127177">
                  <a:moveTo>
                    <a:pt x="0" y="127177"/>
                  </a:moveTo>
                  <a:lnTo>
                    <a:pt x="0" y="0"/>
                  </a:lnTo>
                  <a:lnTo>
                    <a:pt x="46847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09" name="Forma livre: Forma 2008">
              <a:extLst>
                <a:ext uri="{FF2B5EF4-FFF2-40B4-BE49-F238E27FC236}">
                  <a16:creationId xmlns:a16="http://schemas.microsoft.com/office/drawing/2014/main" id="{5928039D-F7B5-C118-ADDD-2B46061C76CD}"/>
                </a:ext>
              </a:extLst>
            </p:cNvPr>
            <p:cNvSpPr/>
            <p:nvPr/>
          </p:nvSpPr>
          <p:spPr>
            <a:xfrm>
              <a:off x="4634000" y="5808246"/>
              <a:ext cx="108575" cy="175688"/>
            </a:xfrm>
            <a:custGeom>
              <a:avLst/>
              <a:gdLst>
                <a:gd name="connsiteX0" fmla="*/ 108575 w 108575"/>
                <a:gd name="connsiteY0" fmla="*/ 54288 h 175688"/>
                <a:gd name="connsiteX1" fmla="*/ 54288 w 108575"/>
                <a:gd name="connsiteY1" fmla="*/ 175689 h 175688"/>
                <a:gd name="connsiteX2" fmla="*/ 0 w 108575"/>
                <a:gd name="connsiteY2" fmla="*/ 54288 h 175688"/>
                <a:gd name="connsiteX3" fmla="*/ 54288 w 108575"/>
                <a:gd name="connsiteY3" fmla="*/ 0 h 175688"/>
                <a:gd name="connsiteX4" fmla="*/ 108575 w 108575"/>
                <a:gd name="connsiteY4" fmla="*/ 54288 h 1756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8575" h="175688">
                  <a:moveTo>
                    <a:pt x="108575" y="54288"/>
                  </a:moveTo>
                  <a:cubicBezTo>
                    <a:pt x="108575" y="84246"/>
                    <a:pt x="54288" y="175689"/>
                    <a:pt x="54288" y="175689"/>
                  </a:cubicBezTo>
                  <a:cubicBezTo>
                    <a:pt x="54288" y="175689"/>
                    <a:pt x="0" y="84246"/>
                    <a:pt x="0" y="54288"/>
                  </a:cubicBezTo>
                  <a:cubicBezTo>
                    <a:pt x="0" y="24329"/>
                    <a:pt x="24280" y="0"/>
                    <a:pt x="54288" y="0"/>
                  </a:cubicBezTo>
                  <a:cubicBezTo>
                    <a:pt x="84295" y="0"/>
                    <a:pt x="108575" y="24280"/>
                    <a:pt x="108575" y="54288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10" name="Forma livre: Forma 2009">
              <a:extLst>
                <a:ext uri="{FF2B5EF4-FFF2-40B4-BE49-F238E27FC236}">
                  <a16:creationId xmlns:a16="http://schemas.microsoft.com/office/drawing/2014/main" id="{4C03E7BD-03AC-F6DF-E64E-D8A2F3EF92F8}"/>
                </a:ext>
              </a:extLst>
            </p:cNvPr>
            <p:cNvSpPr/>
            <p:nvPr/>
          </p:nvSpPr>
          <p:spPr>
            <a:xfrm>
              <a:off x="4665085" y="5839330"/>
              <a:ext cx="46406" cy="46406"/>
            </a:xfrm>
            <a:custGeom>
              <a:avLst/>
              <a:gdLst>
                <a:gd name="connsiteX0" fmla="*/ 46406 w 46406"/>
                <a:gd name="connsiteY0" fmla="*/ 23203 h 46406"/>
                <a:gd name="connsiteX1" fmla="*/ 23203 w 46406"/>
                <a:gd name="connsiteY1" fmla="*/ 46406 h 46406"/>
                <a:gd name="connsiteX2" fmla="*/ 0 w 46406"/>
                <a:gd name="connsiteY2" fmla="*/ 23203 h 46406"/>
                <a:gd name="connsiteX3" fmla="*/ 23203 w 46406"/>
                <a:gd name="connsiteY3" fmla="*/ 0 h 46406"/>
                <a:gd name="connsiteX4" fmla="*/ 46406 w 46406"/>
                <a:gd name="connsiteY4" fmla="*/ 23203 h 464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6406" h="46406">
                  <a:moveTo>
                    <a:pt x="46406" y="23203"/>
                  </a:moveTo>
                  <a:cubicBezTo>
                    <a:pt x="46406" y="36029"/>
                    <a:pt x="36029" y="46406"/>
                    <a:pt x="23203" y="46406"/>
                  </a:cubicBezTo>
                  <a:cubicBezTo>
                    <a:pt x="10378" y="46406"/>
                    <a:pt x="0" y="36029"/>
                    <a:pt x="0" y="23203"/>
                  </a:cubicBezTo>
                  <a:cubicBezTo>
                    <a:pt x="0" y="10378"/>
                    <a:pt x="10378" y="0"/>
                    <a:pt x="23203" y="0"/>
                  </a:cubicBezTo>
                  <a:cubicBezTo>
                    <a:pt x="36029" y="0"/>
                    <a:pt x="46406" y="10378"/>
                    <a:pt x="46406" y="23203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2011" name="Gráfico 19">
            <a:extLst>
              <a:ext uri="{FF2B5EF4-FFF2-40B4-BE49-F238E27FC236}">
                <a16:creationId xmlns:a16="http://schemas.microsoft.com/office/drawing/2014/main" id="{97CE5B17-D7F0-147F-C6B1-F773AE738609}"/>
              </a:ext>
            </a:extLst>
          </p:cNvPr>
          <p:cNvGrpSpPr/>
          <p:nvPr/>
        </p:nvGrpSpPr>
        <p:grpSpPr>
          <a:xfrm>
            <a:off x="5143835" y="5820581"/>
            <a:ext cx="289354" cy="288131"/>
            <a:chOff x="5143835" y="5820581"/>
            <a:chExt cx="289354" cy="288131"/>
          </a:xfrm>
          <a:noFill/>
        </p:grpSpPr>
        <p:sp>
          <p:nvSpPr>
            <p:cNvPr id="2012" name="Forma livre: Forma 2011">
              <a:extLst>
                <a:ext uri="{FF2B5EF4-FFF2-40B4-BE49-F238E27FC236}">
                  <a16:creationId xmlns:a16="http://schemas.microsoft.com/office/drawing/2014/main" id="{B55D3C0D-55C0-3A1E-D8CE-646BD15DBC7C}"/>
                </a:ext>
              </a:extLst>
            </p:cNvPr>
            <p:cNvSpPr/>
            <p:nvPr/>
          </p:nvSpPr>
          <p:spPr>
            <a:xfrm>
              <a:off x="5324761" y="5820581"/>
              <a:ext cx="88309" cy="137261"/>
            </a:xfrm>
            <a:custGeom>
              <a:avLst/>
              <a:gdLst>
                <a:gd name="connsiteX0" fmla="*/ 88309 w 88309"/>
                <a:gd name="connsiteY0" fmla="*/ 135989 h 137261"/>
                <a:gd name="connsiteX1" fmla="*/ 88309 w 88309"/>
                <a:gd name="connsiteY1" fmla="*/ 0 h 137261"/>
                <a:gd name="connsiteX2" fmla="*/ 0 w 88309"/>
                <a:gd name="connsiteY2" fmla="*/ 31819 h 137261"/>
                <a:gd name="connsiteX3" fmla="*/ 0 w 88309"/>
                <a:gd name="connsiteY3" fmla="*/ 137261 h 1372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8309" h="137261">
                  <a:moveTo>
                    <a:pt x="88309" y="135989"/>
                  </a:moveTo>
                  <a:lnTo>
                    <a:pt x="88309" y="0"/>
                  </a:lnTo>
                  <a:lnTo>
                    <a:pt x="0" y="31819"/>
                  </a:lnTo>
                  <a:lnTo>
                    <a:pt x="0" y="137261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13" name="Forma livre: Forma 2012">
              <a:extLst>
                <a:ext uri="{FF2B5EF4-FFF2-40B4-BE49-F238E27FC236}">
                  <a16:creationId xmlns:a16="http://schemas.microsoft.com/office/drawing/2014/main" id="{D28791A9-FD17-AEF1-540C-A9763D1F6D04}"/>
                </a:ext>
              </a:extLst>
            </p:cNvPr>
            <p:cNvSpPr/>
            <p:nvPr/>
          </p:nvSpPr>
          <p:spPr>
            <a:xfrm>
              <a:off x="5143835" y="5820581"/>
              <a:ext cx="88260" cy="259445"/>
            </a:xfrm>
            <a:custGeom>
              <a:avLst/>
              <a:gdLst>
                <a:gd name="connsiteX0" fmla="*/ 88260 w 88260"/>
                <a:gd name="connsiteY0" fmla="*/ 0 h 259445"/>
                <a:gd name="connsiteX1" fmla="*/ 0 w 88260"/>
                <a:gd name="connsiteY1" fmla="*/ 31819 h 259445"/>
                <a:gd name="connsiteX2" fmla="*/ 0 w 88260"/>
                <a:gd name="connsiteY2" fmla="*/ 259445 h 259445"/>
                <a:gd name="connsiteX3" fmla="*/ 88260 w 88260"/>
                <a:gd name="connsiteY3" fmla="*/ 227627 h 2594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8260" h="259445">
                  <a:moveTo>
                    <a:pt x="88260" y="0"/>
                  </a:moveTo>
                  <a:lnTo>
                    <a:pt x="0" y="31819"/>
                  </a:lnTo>
                  <a:lnTo>
                    <a:pt x="0" y="259445"/>
                  </a:lnTo>
                  <a:lnTo>
                    <a:pt x="88260" y="227627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14" name="Forma livre: Forma 2013">
              <a:extLst>
                <a:ext uri="{FF2B5EF4-FFF2-40B4-BE49-F238E27FC236}">
                  <a16:creationId xmlns:a16="http://schemas.microsoft.com/office/drawing/2014/main" id="{A4A5F0A9-9130-8A37-18F0-6DCE72B51CD6}"/>
                </a:ext>
              </a:extLst>
            </p:cNvPr>
            <p:cNvSpPr/>
            <p:nvPr/>
          </p:nvSpPr>
          <p:spPr>
            <a:xfrm>
              <a:off x="5232095" y="5820581"/>
              <a:ext cx="88260" cy="253766"/>
            </a:xfrm>
            <a:custGeom>
              <a:avLst/>
              <a:gdLst>
                <a:gd name="connsiteX0" fmla="*/ 72400 w 88260"/>
                <a:gd name="connsiteY0" fmla="*/ 253767 h 253766"/>
                <a:gd name="connsiteX1" fmla="*/ 0 w 88260"/>
                <a:gd name="connsiteY1" fmla="*/ 227627 h 253766"/>
                <a:gd name="connsiteX2" fmla="*/ 0 w 88260"/>
                <a:gd name="connsiteY2" fmla="*/ 0 h 253766"/>
                <a:gd name="connsiteX3" fmla="*/ 88260 w 88260"/>
                <a:gd name="connsiteY3" fmla="*/ 31819 h 2537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8260" h="253766">
                  <a:moveTo>
                    <a:pt x="72400" y="253767"/>
                  </a:moveTo>
                  <a:lnTo>
                    <a:pt x="0" y="227627"/>
                  </a:lnTo>
                  <a:lnTo>
                    <a:pt x="0" y="0"/>
                  </a:lnTo>
                  <a:lnTo>
                    <a:pt x="88260" y="31819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15" name="Forma livre: Forma 2014">
              <a:extLst>
                <a:ext uri="{FF2B5EF4-FFF2-40B4-BE49-F238E27FC236}">
                  <a16:creationId xmlns:a16="http://schemas.microsoft.com/office/drawing/2014/main" id="{5299B286-C0C7-2D22-4991-F7FBAD908242}"/>
                </a:ext>
              </a:extLst>
            </p:cNvPr>
            <p:cNvSpPr/>
            <p:nvPr/>
          </p:nvSpPr>
          <p:spPr>
            <a:xfrm>
              <a:off x="5314188" y="5970668"/>
              <a:ext cx="113274" cy="113274"/>
            </a:xfrm>
            <a:custGeom>
              <a:avLst/>
              <a:gdLst>
                <a:gd name="connsiteX0" fmla="*/ 113275 w 113274"/>
                <a:gd name="connsiteY0" fmla="*/ 56637 h 113274"/>
                <a:gd name="connsiteX1" fmla="*/ 56637 w 113274"/>
                <a:gd name="connsiteY1" fmla="*/ 113275 h 113274"/>
                <a:gd name="connsiteX2" fmla="*/ 0 w 113274"/>
                <a:gd name="connsiteY2" fmla="*/ 56637 h 113274"/>
                <a:gd name="connsiteX3" fmla="*/ 56637 w 113274"/>
                <a:gd name="connsiteY3" fmla="*/ 0 h 113274"/>
                <a:gd name="connsiteX4" fmla="*/ 113275 w 113274"/>
                <a:gd name="connsiteY4" fmla="*/ 56637 h 1132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3274" h="113274">
                  <a:moveTo>
                    <a:pt x="113275" y="56637"/>
                  </a:moveTo>
                  <a:cubicBezTo>
                    <a:pt x="113275" y="87918"/>
                    <a:pt x="87918" y="113275"/>
                    <a:pt x="56637" y="113275"/>
                  </a:cubicBezTo>
                  <a:cubicBezTo>
                    <a:pt x="25357" y="113275"/>
                    <a:pt x="0" y="87918"/>
                    <a:pt x="0" y="56637"/>
                  </a:cubicBezTo>
                  <a:cubicBezTo>
                    <a:pt x="0" y="25357"/>
                    <a:pt x="25357" y="0"/>
                    <a:pt x="56637" y="0"/>
                  </a:cubicBezTo>
                  <a:cubicBezTo>
                    <a:pt x="87918" y="0"/>
                    <a:pt x="113275" y="25357"/>
                    <a:pt x="113275" y="56637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16" name="Forma livre: Forma 2015">
              <a:extLst>
                <a:ext uri="{FF2B5EF4-FFF2-40B4-BE49-F238E27FC236}">
                  <a16:creationId xmlns:a16="http://schemas.microsoft.com/office/drawing/2014/main" id="{7033EC1A-614E-C2E5-B355-29F2F4CDE1C7}"/>
                </a:ext>
              </a:extLst>
            </p:cNvPr>
            <p:cNvSpPr/>
            <p:nvPr/>
          </p:nvSpPr>
          <p:spPr>
            <a:xfrm>
              <a:off x="5343902" y="6002144"/>
              <a:ext cx="17231" cy="25161"/>
            </a:xfrm>
            <a:custGeom>
              <a:avLst/>
              <a:gdLst>
                <a:gd name="connsiteX0" fmla="*/ 0 w 17231"/>
                <a:gd name="connsiteY0" fmla="*/ 25161 h 25161"/>
                <a:gd name="connsiteX1" fmla="*/ 17231 w 17231"/>
                <a:gd name="connsiteY1" fmla="*/ 0 h 251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7231" h="25161">
                  <a:moveTo>
                    <a:pt x="0" y="25161"/>
                  </a:moveTo>
                  <a:cubicBezTo>
                    <a:pt x="0" y="13707"/>
                    <a:pt x="7147" y="3916"/>
                    <a:pt x="17231" y="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17" name="Forma livre: Forma 2016">
              <a:extLst>
                <a:ext uri="{FF2B5EF4-FFF2-40B4-BE49-F238E27FC236}">
                  <a16:creationId xmlns:a16="http://schemas.microsoft.com/office/drawing/2014/main" id="{DC3946DC-CB62-4B2A-AEC9-BD3EB19E3FE4}"/>
                </a:ext>
              </a:extLst>
            </p:cNvPr>
            <p:cNvSpPr/>
            <p:nvPr/>
          </p:nvSpPr>
          <p:spPr>
            <a:xfrm>
              <a:off x="5404504" y="6072880"/>
              <a:ext cx="28685" cy="35832"/>
            </a:xfrm>
            <a:custGeom>
              <a:avLst/>
              <a:gdLst>
                <a:gd name="connsiteX0" fmla="*/ 0 w 28685"/>
                <a:gd name="connsiteY0" fmla="*/ 0 h 35832"/>
                <a:gd name="connsiteX1" fmla="*/ 28686 w 28685"/>
                <a:gd name="connsiteY1" fmla="*/ 35833 h 358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8685" h="35832">
                  <a:moveTo>
                    <a:pt x="0" y="0"/>
                  </a:moveTo>
                  <a:lnTo>
                    <a:pt x="28686" y="35833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2029" name="Gráfico 19">
            <a:extLst>
              <a:ext uri="{FF2B5EF4-FFF2-40B4-BE49-F238E27FC236}">
                <a16:creationId xmlns:a16="http://schemas.microsoft.com/office/drawing/2014/main" id="{7FE1A082-4CC6-E751-7849-635F2C29FBE6}"/>
              </a:ext>
            </a:extLst>
          </p:cNvPr>
          <p:cNvGrpSpPr/>
          <p:nvPr/>
        </p:nvGrpSpPr>
        <p:grpSpPr>
          <a:xfrm>
            <a:off x="4476913" y="5262774"/>
            <a:ext cx="347509" cy="302865"/>
            <a:chOff x="4476913" y="5262774"/>
            <a:chExt cx="347509" cy="302865"/>
          </a:xfrm>
          <a:noFill/>
        </p:grpSpPr>
        <p:sp>
          <p:nvSpPr>
            <p:cNvPr id="2030" name="Forma livre: Forma 2029">
              <a:extLst>
                <a:ext uri="{FF2B5EF4-FFF2-40B4-BE49-F238E27FC236}">
                  <a16:creationId xmlns:a16="http://schemas.microsoft.com/office/drawing/2014/main" id="{75F5CCC5-B369-4255-90DA-BF9DF679A53B}"/>
                </a:ext>
              </a:extLst>
            </p:cNvPr>
            <p:cNvSpPr/>
            <p:nvPr/>
          </p:nvSpPr>
          <p:spPr>
            <a:xfrm>
              <a:off x="4663714" y="5449917"/>
              <a:ext cx="4895" cy="115624"/>
            </a:xfrm>
            <a:custGeom>
              <a:avLst/>
              <a:gdLst>
                <a:gd name="connsiteX0" fmla="*/ 0 w 4895"/>
                <a:gd name="connsiteY0" fmla="*/ 0 h 115624"/>
                <a:gd name="connsiteX1" fmla="*/ 0 w 4895"/>
                <a:gd name="connsiteY1" fmla="*/ 115624 h 1156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895" h="115624">
                  <a:moveTo>
                    <a:pt x="0" y="0"/>
                  </a:moveTo>
                  <a:lnTo>
                    <a:pt x="0" y="115624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31" name="Forma livre: Forma 2030">
              <a:extLst>
                <a:ext uri="{FF2B5EF4-FFF2-40B4-BE49-F238E27FC236}">
                  <a16:creationId xmlns:a16="http://schemas.microsoft.com/office/drawing/2014/main" id="{FA833599-0322-07E6-3689-9A6F7E62A83A}"/>
                </a:ext>
              </a:extLst>
            </p:cNvPr>
            <p:cNvSpPr/>
            <p:nvPr/>
          </p:nvSpPr>
          <p:spPr>
            <a:xfrm>
              <a:off x="4628616" y="5262774"/>
              <a:ext cx="35098" cy="32014"/>
            </a:xfrm>
            <a:custGeom>
              <a:avLst/>
              <a:gdLst>
                <a:gd name="connsiteX0" fmla="*/ 0 w 35098"/>
                <a:gd name="connsiteY0" fmla="*/ 32014 h 32014"/>
                <a:gd name="connsiteX1" fmla="*/ 0 w 35098"/>
                <a:gd name="connsiteY1" fmla="*/ 0 h 32014"/>
                <a:gd name="connsiteX2" fmla="*/ 35099 w 35098"/>
                <a:gd name="connsiteY2" fmla="*/ 0 h 32014"/>
                <a:gd name="connsiteX3" fmla="*/ 35099 w 35098"/>
                <a:gd name="connsiteY3" fmla="*/ 32014 h 320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5098" h="32014">
                  <a:moveTo>
                    <a:pt x="0" y="32014"/>
                  </a:moveTo>
                  <a:lnTo>
                    <a:pt x="0" y="0"/>
                  </a:lnTo>
                  <a:lnTo>
                    <a:pt x="35099" y="0"/>
                  </a:lnTo>
                  <a:lnTo>
                    <a:pt x="35099" y="32014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32" name="Forma livre: Forma 2031">
              <a:extLst>
                <a:ext uri="{FF2B5EF4-FFF2-40B4-BE49-F238E27FC236}">
                  <a16:creationId xmlns:a16="http://schemas.microsoft.com/office/drawing/2014/main" id="{7C9C51EF-092D-1E25-4157-24053D7117EC}"/>
                </a:ext>
              </a:extLst>
            </p:cNvPr>
            <p:cNvSpPr/>
            <p:nvPr/>
          </p:nvSpPr>
          <p:spPr>
            <a:xfrm>
              <a:off x="4628616" y="5449917"/>
              <a:ext cx="4895" cy="115624"/>
            </a:xfrm>
            <a:custGeom>
              <a:avLst/>
              <a:gdLst>
                <a:gd name="connsiteX0" fmla="*/ 0 w 4895"/>
                <a:gd name="connsiteY0" fmla="*/ 115624 h 115624"/>
                <a:gd name="connsiteX1" fmla="*/ 0 w 4895"/>
                <a:gd name="connsiteY1" fmla="*/ 0 h 1156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895" h="115624">
                  <a:moveTo>
                    <a:pt x="0" y="115624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33" name="Forma livre: Forma 2032">
              <a:extLst>
                <a:ext uri="{FF2B5EF4-FFF2-40B4-BE49-F238E27FC236}">
                  <a16:creationId xmlns:a16="http://schemas.microsoft.com/office/drawing/2014/main" id="{676C5F96-F36E-50B5-1509-798C1B4140B9}"/>
                </a:ext>
              </a:extLst>
            </p:cNvPr>
            <p:cNvSpPr/>
            <p:nvPr/>
          </p:nvSpPr>
          <p:spPr>
            <a:xfrm>
              <a:off x="4476913" y="5352356"/>
              <a:ext cx="235214" cy="97463"/>
            </a:xfrm>
            <a:custGeom>
              <a:avLst/>
              <a:gdLst>
                <a:gd name="connsiteX0" fmla="*/ 235214 w 235214"/>
                <a:gd name="connsiteY0" fmla="*/ 61777 h 97463"/>
                <a:gd name="connsiteX1" fmla="*/ 235214 w 235214"/>
                <a:gd name="connsiteY1" fmla="*/ 97463 h 97463"/>
                <a:gd name="connsiteX2" fmla="*/ 38917 w 235214"/>
                <a:gd name="connsiteY2" fmla="*/ 97463 h 97463"/>
                <a:gd name="connsiteX3" fmla="*/ 0 w 235214"/>
                <a:gd name="connsiteY3" fmla="*/ 48707 h 97463"/>
                <a:gd name="connsiteX4" fmla="*/ 38917 w 235214"/>
                <a:gd name="connsiteY4" fmla="*/ 0 h 97463"/>
                <a:gd name="connsiteX5" fmla="*/ 89925 w 235214"/>
                <a:gd name="connsiteY5" fmla="*/ 0 h 974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35214" h="97463">
                  <a:moveTo>
                    <a:pt x="235214" y="61777"/>
                  </a:moveTo>
                  <a:lnTo>
                    <a:pt x="235214" y="97463"/>
                  </a:lnTo>
                  <a:lnTo>
                    <a:pt x="38917" y="97463"/>
                  </a:lnTo>
                  <a:lnTo>
                    <a:pt x="0" y="48707"/>
                  </a:lnTo>
                  <a:lnTo>
                    <a:pt x="38917" y="0"/>
                  </a:lnTo>
                  <a:lnTo>
                    <a:pt x="89925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34" name="Forma livre: Forma 2033">
              <a:extLst>
                <a:ext uri="{FF2B5EF4-FFF2-40B4-BE49-F238E27FC236}">
                  <a16:creationId xmlns:a16="http://schemas.microsoft.com/office/drawing/2014/main" id="{5D9F3F9D-6A05-A35A-0961-302CF4439EB8}"/>
                </a:ext>
              </a:extLst>
            </p:cNvPr>
            <p:cNvSpPr/>
            <p:nvPr/>
          </p:nvSpPr>
          <p:spPr>
            <a:xfrm>
              <a:off x="4589209" y="5295180"/>
              <a:ext cx="235214" cy="96924"/>
            </a:xfrm>
            <a:custGeom>
              <a:avLst/>
              <a:gdLst>
                <a:gd name="connsiteX0" fmla="*/ 0 w 235214"/>
                <a:gd name="connsiteY0" fmla="*/ 96925 h 96924"/>
                <a:gd name="connsiteX1" fmla="*/ 0 w 235214"/>
                <a:gd name="connsiteY1" fmla="*/ 0 h 96924"/>
                <a:gd name="connsiteX2" fmla="*/ 196297 w 235214"/>
                <a:gd name="connsiteY2" fmla="*/ 0 h 96924"/>
                <a:gd name="connsiteX3" fmla="*/ 235214 w 235214"/>
                <a:gd name="connsiteY3" fmla="*/ 48756 h 96924"/>
                <a:gd name="connsiteX4" fmla="*/ 196297 w 235214"/>
                <a:gd name="connsiteY4" fmla="*/ 96925 h 96924"/>
                <a:gd name="connsiteX5" fmla="*/ 0 w 235214"/>
                <a:gd name="connsiteY5" fmla="*/ 96925 h 969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35214" h="96924">
                  <a:moveTo>
                    <a:pt x="0" y="96925"/>
                  </a:moveTo>
                  <a:lnTo>
                    <a:pt x="0" y="0"/>
                  </a:lnTo>
                  <a:lnTo>
                    <a:pt x="196297" y="0"/>
                  </a:lnTo>
                  <a:lnTo>
                    <a:pt x="235214" y="48756"/>
                  </a:lnTo>
                  <a:lnTo>
                    <a:pt x="196297" y="96925"/>
                  </a:lnTo>
                  <a:lnTo>
                    <a:pt x="0" y="96925"/>
                  </a:ln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35" name="Forma livre: Forma 2034">
              <a:extLst>
                <a:ext uri="{FF2B5EF4-FFF2-40B4-BE49-F238E27FC236}">
                  <a16:creationId xmlns:a16="http://schemas.microsoft.com/office/drawing/2014/main" id="{6CED24D8-A96E-5CC3-9A0B-56D52DA8B47C}"/>
                </a:ext>
              </a:extLst>
            </p:cNvPr>
            <p:cNvSpPr/>
            <p:nvPr/>
          </p:nvSpPr>
          <p:spPr>
            <a:xfrm>
              <a:off x="4581377" y="5565640"/>
              <a:ext cx="130946" cy="4895"/>
            </a:xfrm>
            <a:custGeom>
              <a:avLst/>
              <a:gdLst>
                <a:gd name="connsiteX0" fmla="*/ 0 w 130946"/>
                <a:gd name="connsiteY0" fmla="*/ 0 h 4895"/>
                <a:gd name="connsiteX1" fmla="*/ 130946 w 130946"/>
                <a:gd name="connsiteY1" fmla="*/ 0 h 48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30946" h="4895">
                  <a:moveTo>
                    <a:pt x="0" y="0"/>
                  </a:moveTo>
                  <a:lnTo>
                    <a:pt x="130946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0" name="Agrupar 9">
            <a:extLst>
              <a:ext uri="{FF2B5EF4-FFF2-40B4-BE49-F238E27FC236}">
                <a16:creationId xmlns:a16="http://schemas.microsoft.com/office/drawing/2014/main" id="{103EACA5-FAE6-49BA-598F-BC9772C0200F}"/>
              </a:ext>
            </a:extLst>
          </p:cNvPr>
          <p:cNvGrpSpPr/>
          <p:nvPr/>
        </p:nvGrpSpPr>
        <p:grpSpPr>
          <a:xfrm>
            <a:off x="8217694" y="2604295"/>
            <a:ext cx="281938" cy="281890"/>
            <a:chOff x="8411368" y="2550318"/>
            <a:chExt cx="560546" cy="560451"/>
          </a:xfrm>
        </p:grpSpPr>
        <p:sp>
          <p:nvSpPr>
            <p:cNvPr id="5" name="Forma livre: Forma 4">
              <a:extLst>
                <a:ext uri="{FF2B5EF4-FFF2-40B4-BE49-F238E27FC236}">
                  <a16:creationId xmlns:a16="http://schemas.microsoft.com/office/drawing/2014/main" id="{B144E232-B5BD-35F2-4D69-A12BF84728B6}"/>
                </a:ext>
              </a:extLst>
            </p:cNvPr>
            <p:cNvSpPr/>
            <p:nvPr/>
          </p:nvSpPr>
          <p:spPr>
            <a:xfrm>
              <a:off x="8411368" y="2550318"/>
              <a:ext cx="560546" cy="560451"/>
            </a:xfrm>
            <a:custGeom>
              <a:avLst/>
              <a:gdLst>
                <a:gd name="connsiteX0" fmla="*/ 280226 w 560546"/>
                <a:gd name="connsiteY0" fmla="*/ 0 h 560451"/>
                <a:gd name="connsiteX1" fmla="*/ 0 w 560546"/>
                <a:gd name="connsiteY1" fmla="*/ 280226 h 560451"/>
                <a:gd name="connsiteX2" fmla="*/ 280226 w 560546"/>
                <a:gd name="connsiteY2" fmla="*/ 560451 h 560451"/>
                <a:gd name="connsiteX3" fmla="*/ 560546 w 560546"/>
                <a:gd name="connsiteY3" fmla="*/ 280226 h 560451"/>
                <a:gd name="connsiteX4" fmla="*/ 280226 w 560546"/>
                <a:gd name="connsiteY4" fmla="*/ 0 h 560451"/>
                <a:gd name="connsiteX5" fmla="*/ 280226 w 560546"/>
                <a:gd name="connsiteY5" fmla="*/ 0 h 5604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60546" h="560451">
                  <a:moveTo>
                    <a:pt x="280226" y="0"/>
                  </a:moveTo>
                  <a:cubicBezTo>
                    <a:pt x="125444" y="0"/>
                    <a:pt x="0" y="125444"/>
                    <a:pt x="0" y="280226"/>
                  </a:cubicBezTo>
                  <a:cubicBezTo>
                    <a:pt x="0" y="435007"/>
                    <a:pt x="125444" y="560451"/>
                    <a:pt x="280226" y="560451"/>
                  </a:cubicBezTo>
                  <a:cubicBezTo>
                    <a:pt x="435007" y="560451"/>
                    <a:pt x="560546" y="435007"/>
                    <a:pt x="560546" y="280226"/>
                  </a:cubicBezTo>
                  <a:cubicBezTo>
                    <a:pt x="560546" y="125444"/>
                    <a:pt x="435102" y="0"/>
                    <a:pt x="280226" y="0"/>
                  </a:cubicBezTo>
                  <a:lnTo>
                    <a:pt x="280226" y="0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" name="Forma livre: Forma 5">
              <a:extLst>
                <a:ext uri="{FF2B5EF4-FFF2-40B4-BE49-F238E27FC236}">
                  <a16:creationId xmlns:a16="http://schemas.microsoft.com/office/drawing/2014/main" id="{D51FA065-8BC2-E64D-E9FF-E4727B23EA57}"/>
                </a:ext>
              </a:extLst>
            </p:cNvPr>
            <p:cNvSpPr/>
            <p:nvPr/>
          </p:nvSpPr>
          <p:spPr>
            <a:xfrm>
              <a:off x="8535193" y="2674143"/>
              <a:ext cx="312896" cy="312801"/>
            </a:xfrm>
            <a:custGeom>
              <a:avLst/>
              <a:gdLst>
                <a:gd name="connsiteX0" fmla="*/ 156401 w 312896"/>
                <a:gd name="connsiteY0" fmla="*/ 23813 h 312801"/>
                <a:gd name="connsiteX1" fmla="*/ 156401 w 312896"/>
                <a:gd name="connsiteY1" fmla="*/ 0 h 312801"/>
                <a:gd name="connsiteX2" fmla="*/ 0 w 312896"/>
                <a:gd name="connsiteY2" fmla="*/ 156401 h 312801"/>
                <a:gd name="connsiteX3" fmla="*/ 156401 w 312896"/>
                <a:gd name="connsiteY3" fmla="*/ 312801 h 312801"/>
                <a:gd name="connsiteX4" fmla="*/ 312896 w 312896"/>
                <a:gd name="connsiteY4" fmla="*/ 156401 h 312801"/>
                <a:gd name="connsiteX5" fmla="*/ 156401 w 312896"/>
                <a:gd name="connsiteY5" fmla="*/ 0 h 312801"/>
                <a:gd name="connsiteX6" fmla="*/ 156401 w 312896"/>
                <a:gd name="connsiteY6" fmla="*/ 0 h 3128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12896" h="312801">
                  <a:moveTo>
                    <a:pt x="156401" y="23813"/>
                  </a:moveTo>
                  <a:lnTo>
                    <a:pt x="156401" y="0"/>
                  </a:lnTo>
                  <a:cubicBezTo>
                    <a:pt x="70009" y="0"/>
                    <a:pt x="0" y="70009"/>
                    <a:pt x="0" y="156401"/>
                  </a:cubicBezTo>
                  <a:cubicBezTo>
                    <a:pt x="0" y="242792"/>
                    <a:pt x="70009" y="312801"/>
                    <a:pt x="156401" y="312801"/>
                  </a:cubicBezTo>
                  <a:cubicBezTo>
                    <a:pt x="242792" y="312801"/>
                    <a:pt x="312896" y="242792"/>
                    <a:pt x="312896" y="156401"/>
                  </a:cubicBezTo>
                  <a:cubicBezTo>
                    <a:pt x="312896" y="70009"/>
                    <a:pt x="242888" y="0"/>
                    <a:pt x="156401" y="0"/>
                  </a:cubicBezTo>
                  <a:lnTo>
                    <a:pt x="156401" y="0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7" name="Gráfico 2">
              <a:extLst>
                <a:ext uri="{FF2B5EF4-FFF2-40B4-BE49-F238E27FC236}">
                  <a16:creationId xmlns:a16="http://schemas.microsoft.com/office/drawing/2014/main" id="{FE5D310D-6191-A3C8-FBB9-01FB0E67CA45}"/>
                </a:ext>
              </a:extLst>
            </p:cNvPr>
            <p:cNvGrpSpPr/>
            <p:nvPr/>
          </p:nvGrpSpPr>
          <p:grpSpPr>
            <a:xfrm>
              <a:off x="8648255" y="2756820"/>
              <a:ext cx="86772" cy="147446"/>
              <a:chOff x="8648255" y="2756820"/>
              <a:chExt cx="86772" cy="147446"/>
            </a:xfrm>
            <a:noFill/>
          </p:grpSpPr>
          <p:sp>
            <p:nvSpPr>
              <p:cNvPr id="8" name="Forma livre: Forma 7">
                <a:extLst>
                  <a:ext uri="{FF2B5EF4-FFF2-40B4-BE49-F238E27FC236}">
                    <a16:creationId xmlns:a16="http://schemas.microsoft.com/office/drawing/2014/main" id="{1D0CED86-61C6-D22E-AF93-A92D018AC7EF}"/>
                  </a:ext>
                </a:extLst>
              </p:cNvPr>
              <p:cNvSpPr/>
              <p:nvPr/>
            </p:nvSpPr>
            <p:spPr>
              <a:xfrm>
                <a:off x="8648255" y="2756820"/>
                <a:ext cx="86772" cy="73723"/>
              </a:xfrm>
              <a:custGeom>
                <a:avLst/>
                <a:gdLst>
                  <a:gd name="connsiteX0" fmla="*/ 86773 w 86772"/>
                  <a:gd name="connsiteY0" fmla="*/ 36862 h 73723"/>
                  <a:gd name="connsiteX1" fmla="*/ 43339 w 86772"/>
                  <a:gd name="connsiteY1" fmla="*/ 73724 h 73723"/>
                  <a:gd name="connsiteX2" fmla="*/ 0 w 86772"/>
                  <a:gd name="connsiteY2" fmla="*/ 36862 h 73723"/>
                  <a:gd name="connsiteX3" fmla="*/ 43339 w 86772"/>
                  <a:gd name="connsiteY3" fmla="*/ 0 h 73723"/>
                  <a:gd name="connsiteX4" fmla="*/ 86773 w 86772"/>
                  <a:gd name="connsiteY4" fmla="*/ 36862 h 737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6772" h="73723">
                    <a:moveTo>
                      <a:pt x="86773" y="36862"/>
                    </a:moveTo>
                    <a:cubicBezTo>
                      <a:pt x="86773" y="57245"/>
                      <a:pt x="67342" y="73724"/>
                      <a:pt x="43339" y="73724"/>
                    </a:cubicBezTo>
                    <a:cubicBezTo>
                      <a:pt x="19336" y="73724"/>
                      <a:pt x="0" y="57245"/>
                      <a:pt x="0" y="36862"/>
                    </a:cubicBezTo>
                    <a:cubicBezTo>
                      <a:pt x="0" y="16478"/>
                      <a:pt x="19431" y="0"/>
                      <a:pt x="43339" y="0"/>
                    </a:cubicBezTo>
                    <a:cubicBezTo>
                      <a:pt x="67246" y="0"/>
                      <a:pt x="86773" y="16478"/>
                      <a:pt x="86773" y="36862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" name="Forma livre: Forma 8">
                <a:extLst>
                  <a:ext uri="{FF2B5EF4-FFF2-40B4-BE49-F238E27FC236}">
                    <a16:creationId xmlns:a16="http://schemas.microsoft.com/office/drawing/2014/main" id="{3B6E28D7-9BD0-56AE-688E-187809381F30}"/>
                  </a:ext>
                </a:extLst>
              </p:cNvPr>
              <p:cNvSpPr/>
              <p:nvPr/>
            </p:nvSpPr>
            <p:spPr>
              <a:xfrm>
                <a:off x="8648255" y="2830543"/>
                <a:ext cx="86772" cy="73723"/>
              </a:xfrm>
              <a:custGeom>
                <a:avLst/>
                <a:gdLst>
                  <a:gd name="connsiteX0" fmla="*/ 86773 w 86772"/>
                  <a:gd name="connsiteY0" fmla="*/ 36862 h 73723"/>
                  <a:gd name="connsiteX1" fmla="*/ 43339 w 86772"/>
                  <a:gd name="connsiteY1" fmla="*/ 73724 h 73723"/>
                  <a:gd name="connsiteX2" fmla="*/ 0 w 86772"/>
                  <a:gd name="connsiteY2" fmla="*/ 36862 h 73723"/>
                  <a:gd name="connsiteX3" fmla="*/ 43339 w 86772"/>
                  <a:gd name="connsiteY3" fmla="*/ 0 h 73723"/>
                  <a:gd name="connsiteX4" fmla="*/ 86773 w 86772"/>
                  <a:gd name="connsiteY4" fmla="*/ 36862 h 737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6772" h="73723">
                    <a:moveTo>
                      <a:pt x="86773" y="36862"/>
                    </a:moveTo>
                    <a:cubicBezTo>
                      <a:pt x="86773" y="57245"/>
                      <a:pt x="67342" y="73724"/>
                      <a:pt x="43339" y="73724"/>
                    </a:cubicBezTo>
                    <a:cubicBezTo>
                      <a:pt x="19336" y="73724"/>
                      <a:pt x="0" y="57245"/>
                      <a:pt x="0" y="36862"/>
                    </a:cubicBezTo>
                    <a:cubicBezTo>
                      <a:pt x="0" y="16478"/>
                      <a:pt x="19431" y="0"/>
                      <a:pt x="43339" y="0"/>
                    </a:cubicBezTo>
                    <a:cubicBezTo>
                      <a:pt x="67246" y="0"/>
                      <a:pt x="86773" y="16478"/>
                      <a:pt x="86773" y="36862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926" name="Agrupar 1925">
            <a:extLst>
              <a:ext uri="{FF2B5EF4-FFF2-40B4-BE49-F238E27FC236}">
                <a16:creationId xmlns:a16="http://schemas.microsoft.com/office/drawing/2014/main" id="{8E5A8B87-024F-F313-C1C4-BCD7E82484D5}"/>
              </a:ext>
            </a:extLst>
          </p:cNvPr>
          <p:cNvGrpSpPr/>
          <p:nvPr/>
        </p:nvGrpSpPr>
        <p:grpSpPr>
          <a:xfrm>
            <a:off x="8836818" y="3120371"/>
            <a:ext cx="218282" cy="318154"/>
            <a:chOff x="8373268" y="2002688"/>
            <a:chExt cx="426434" cy="621544"/>
          </a:xfrm>
        </p:grpSpPr>
        <p:sp>
          <p:nvSpPr>
            <p:cNvPr id="14" name="Forma livre: Forma 13">
              <a:extLst>
                <a:ext uri="{FF2B5EF4-FFF2-40B4-BE49-F238E27FC236}">
                  <a16:creationId xmlns:a16="http://schemas.microsoft.com/office/drawing/2014/main" id="{496AC095-47B7-38D2-1716-A2D698183FFC}"/>
                </a:ext>
              </a:extLst>
            </p:cNvPr>
            <p:cNvSpPr/>
            <p:nvPr/>
          </p:nvSpPr>
          <p:spPr>
            <a:xfrm>
              <a:off x="8373268" y="2002688"/>
              <a:ext cx="426434" cy="621544"/>
            </a:xfrm>
            <a:custGeom>
              <a:avLst/>
              <a:gdLst>
                <a:gd name="connsiteX0" fmla="*/ 327660 w 426434"/>
                <a:gd name="connsiteY0" fmla="*/ 58141 h 621544"/>
                <a:gd name="connsiteX1" fmla="*/ 327660 w 426434"/>
                <a:gd name="connsiteY1" fmla="*/ 28708 h 621544"/>
                <a:gd name="connsiteX2" fmla="*/ 293942 w 426434"/>
                <a:gd name="connsiteY2" fmla="*/ 1276 h 621544"/>
                <a:gd name="connsiteX3" fmla="*/ 0 w 426434"/>
                <a:gd name="connsiteY3" fmla="*/ 101765 h 621544"/>
                <a:gd name="connsiteX4" fmla="*/ 0 w 426434"/>
                <a:gd name="connsiteY4" fmla="*/ 621545 h 621544"/>
                <a:gd name="connsiteX5" fmla="*/ 397859 w 426434"/>
                <a:gd name="connsiteY5" fmla="*/ 621545 h 621544"/>
                <a:gd name="connsiteX6" fmla="*/ 426434 w 426434"/>
                <a:gd name="connsiteY6" fmla="*/ 592970 h 621544"/>
                <a:gd name="connsiteX7" fmla="*/ 426434 w 426434"/>
                <a:gd name="connsiteY7" fmla="*/ 130340 h 621544"/>
                <a:gd name="connsiteX8" fmla="*/ 397859 w 426434"/>
                <a:gd name="connsiteY8" fmla="*/ 101765 h 621544"/>
                <a:gd name="connsiteX9" fmla="*/ 571 w 426434"/>
                <a:gd name="connsiteY9" fmla="*/ 101765 h 6215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26434" h="621544">
                  <a:moveTo>
                    <a:pt x="327660" y="58141"/>
                  </a:moveTo>
                  <a:lnTo>
                    <a:pt x="327660" y="28708"/>
                  </a:lnTo>
                  <a:cubicBezTo>
                    <a:pt x="327660" y="7753"/>
                    <a:pt x="311372" y="-4058"/>
                    <a:pt x="293942" y="1276"/>
                  </a:cubicBezTo>
                  <a:lnTo>
                    <a:pt x="0" y="101765"/>
                  </a:lnTo>
                  <a:lnTo>
                    <a:pt x="0" y="621545"/>
                  </a:lnTo>
                  <a:lnTo>
                    <a:pt x="397859" y="621545"/>
                  </a:lnTo>
                  <a:cubicBezTo>
                    <a:pt x="413575" y="621545"/>
                    <a:pt x="426434" y="608686"/>
                    <a:pt x="426434" y="592970"/>
                  </a:cubicBezTo>
                  <a:lnTo>
                    <a:pt x="426434" y="130340"/>
                  </a:lnTo>
                  <a:cubicBezTo>
                    <a:pt x="426434" y="114624"/>
                    <a:pt x="413575" y="101765"/>
                    <a:pt x="397859" y="101765"/>
                  </a:cubicBezTo>
                  <a:lnTo>
                    <a:pt x="571" y="101765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5" name="Gráfico 11">
              <a:extLst>
                <a:ext uri="{FF2B5EF4-FFF2-40B4-BE49-F238E27FC236}">
                  <a16:creationId xmlns:a16="http://schemas.microsoft.com/office/drawing/2014/main" id="{65699670-58B5-577F-930C-EF186E9FB7FF}"/>
                </a:ext>
              </a:extLst>
            </p:cNvPr>
            <p:cNvGrpSpPr/>
            <p:nvPr/>
          </p:nvGrpSpPr>
          <p:grpSpPr>
            <a:xfrm>
              <a:off x="8426513" y="2204370"/>
              <a:ext cx="313372" cy="313372"/>
              <a:chOff x="8426513" y="2204370"/>
              <a:chExt cx="313372" cy="313372"/>
            </a:xfrm>
            <a:noFill/>
          </p:grpSpPr>
          <p:sp>
            <p:nvSpPr>
              <p:cNvPr id="16" name="Forma livre: Forma 15">
                <a:extLst>
                  <a:ext uri="{FF2B5EF4-FFF2-40B4-BE49-F238E27FC236}">
                    <a16:creationId xmlns:a16="http://schemas.microsoft.com/office/drawing/2014/main" id="{7B255FFE-E38C-9CAD-E38D-A3E6D3AB0AA6}"/>
                  </a:ext>
                </a:extLst>
              </p:cNvPr>
              <p:cNvSpPr/>
              <p:nvPr/>
            </p:nvSpPr>
            <p:spPr>
              <a:xfrm>
                <a:off x="8586437" y="2212657"/>
                <a:ext cx="9525" cy="300228"/>
              </a:xfrm>
              <a:custGeom>
                <a:avLst/>
                <a:gdLst>
                  <a:gd name="connsiteX0" fmla="*/ 0 w 9525"/>
                  <a:gd name="connsiteY0" fmla="*/ 300228 h 300228"/>
                  <a:gd name="connsiteX1" fmla="*/ 0 w 9525"/>
                  <a:gd name="connsiteY1" fmla="*/ 0 h 3002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525" h="300228">
                    <a:moveTo>
                      <a:pt x="0" y="300228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7" name="Forma livre: Forma 16">
                <a:extLst>
                  <a:ext uri="{FF2B5EF4-FFF2-40B4-BE49-F238E27FC236}">
                    <a16:creationId xmlns:a16="http://schemas.microsoft.com/office/drawing/2014/main" id="{71C33746-22AD-EF1B-6908-CB79A306F9AB}"/>
                  </a:ext>
                </a:extLst>
              </p:cNvPr>
              <p:cNvSpPr/>
              <p:nvPr/>
            </p:nvSpPr>
            <p:spPr>
              <a:xfrm>
                <a:off x="8436323" y="2364390"/>
                <a:ext cx="300228" cy="9525"/>
              </a:xfrm>
              <a:custGeom>
                <a:avLst/>
                <a:gdLst>
                  <a:gd name="connsiteX0" fmla="*/ 300228 w 300228"/>
                  <a:gd name="connsiteY0" fmla="*/ 0 h 9525"/>
                  <a:gd name="connsiteX1" fmla="*/ 0 w 300228"/>
                  <a:gd name="connsiteY1" fmla="*/ 0 h 9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00228" h="9525">
                    <a:moveTo>
                      <a:pt x="300228" y="0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18" name="Gráfico 11">
                <a:extLst>
                  <a:ext uri="{FF2B5EF4-FFF2-40B4-BE49-F238E27FC236}">
                    <a16:creationId xmlns:a16="http://schemas.microsoft.com/office/drawing/2014/main" id="{D76822CD-3B99-70A2-3DAF-5A4603DF03BD}"/>
                  </a:ext>
                </a:extLst>
              </p:cNvPr>
              <p:cNvGrpSpPr/>
              <p:nvPr/>
            </p:nvGrpSpPr>
            <p:grpSpPr>
              <a:xfrm>
                <a:off x="8510565" y="2218658"/>
                <a:ext cx="151743" cy="289083"/>
                <a:chOff x="8510565" y="2218658"/>
                <a:chExt cx="151743" cy="289083"/>
              </a:xfrm>
              <a:noFill/>
            </p:grpSpPr>
            <p:sp>
              <p:nvSpPr>
                <p:cNvPr id="19" name="Forma livre: Forma 18">
                  <a:extLst>
                    <a:ext uri="{FF2B5EF4-FFF2-40B4-BE49-F238E27FC236}">
                      <a16:creationId xmlns:a16="http://schemas.microsoft.com/office/drawing/2014/main" id="{E7AB6CFD-01BF-44DE-F297-123BE20A4E76}"/>
                    </a:ext>
                  </a:extLst>
                </p:cNvPr>
                <p:cNvSpPr/>
                <p:nvPr/>
              </p:nvSpPr>
              <p:spPr>
                <a:xfrm>
                  <a:off x="8510565" y="2218658"/>
                  <a:ext cx="63965" cy="289083"/>
                </a:xfrm>
                <a:custGeom>
                  <a:avLst/>
                  <a:gdLst>
                    <a:gd name="connsiteX0" fmla="*/ 63966 w 63965"/>
                    <a:gd name="connsiteY0" fmla="*/ 0 h 289083"/>
                    <a:gd name="connsiteX1" fmla="*/ 63966 w 63965"/>
                    <a:gd name="connsiteY1" fmla="*/ 289084 h 28908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63965" h="289083">
                      <a:moveTo>
                        <a:pt x="63966" y="0"/>
                      </a:moveTo>
                      <a:cubicBezTo>
                        <a:pt x="63966" y="0"/>
                        <a:pt x="-79957" y="124873"/>
                        <a:pt x="63966" y="289084"/>
                      </a:cubicBez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0" name="Forma livre: Forma 19">
                  <a:extLst>
                    <a:ext uri="{FF2B5EF4-FFF2-40B4-BE49-F238E27FC236}">
                      <a16:creationId xmlns:a16="http://schemas.microsoft.com/office/drawing/2014/main" id="{83380BA5-24F0-29A3-2672-AA5EB54EBCC1}"/>
                    </a:ext>
                  </a:extLst>
                </p:cNvPr>
                <p:cNvSpPr/>
                <p:nvPr/>
              </p:nvSpPr>
              <p:spPr>
                <a:xfrm>
                  <a:off x="8598343" y="2218658"/>
                  <a:ext cx="63965" cy="289083"/>
                </a:xfrm>
                <a:custGeom>
                  <a:avLst/>
                  <a:gdLst>
                    <a:gd name="connsiteX0" fmla="*/ 0 w 63965"/>
                    <a:gd name="connsiteY0" fmla="*/ 0 h 289083"/>
                    <a:gd name="connsiteX1" fmla="*/ 0 w 63965"/>
                    <a:gd name="connsiteY1" fmla="*/ 289084 h 28908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63965" h="289083">
                      <a:moveTo>
                        <a:pt x="0" y="0"/>
                      </a:moveTo>
                      <a:cubicBezTo>
                        <a:pt x="0" y="0"/>
                        <a:pt x="143923" y="124873"/>
                        <a:pt x="0" y="289084"/>
                      </a:cubicBez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21" name="Forma livre: Forma 20">
                <a:extLst>
                  <a:ext uri="{FF2B5EF4-FFF2-40B4-BE49-F238E27FC236}">
                    <a16:creationId xmlns:a16="http://schemas.microsoft.com/office/drawing/2014/main" id="{110DBD55-715F-5C7F-128D-219D7D495CD1}"/>
                  </a:ext>
                </a:extLst>
              </p:cNvPr>
              <p:cNvSpPr/>
              <p:nvPr/>
            </p:nvSpPr>
            <p:spPr>
              <a:xfrm>
                <a:off x="8426513" y="2204370"/>
                <a:ext cx="313372" cy="313372"/>
              </a:xfrm>
              <a:custGeom>
                <a:avLst/>
                <a:gdLst>
                  <a:gd name="connsiteX0" fmla="*/ 156686 w 313372"/>
                  <a:gd name="connsiteY0" fmla="*/ 0 h 313372"/>
                  <a:gd name="connsiteX1" fmla="*/ 0 w 313372"/>
                  <a:gd name="connsiteY1" fmla="*/ 156686 h 313372"/>
                  <a:gd name="connsiteX2" fmla="*/ 156686 w 313372"/>
                  <a:gd name="connsiteY2" fmla="*/ 313373 h 313372"/>
                  <a:gd name="connsiteX3" fmla="*/ 313373 w 313372"/>
                  <a:gd name="connsiteY3" fmla="*/ 156686 h 313372"/>
                  <a:gd name="connsiteX4" fmla="*/ 156686 w 313372"/>
                  <a:gd name="connsiteY4" fmla="*/ 0 h 313372"/>
                  <a:gd name="connsiteX5" fmla="*/ 156686 w 313372"/>
                  <a:gd name="connsiteY5" fmla="*/ 0 h 3133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313372" h="313372">
                    <a:moveTo>
                      <a:pt x="156686" y="0"/>
                    </a:moveTo>
                    <a:cubicBezTo>
                      <a:pt x="70104" y="0"/>
                      <a:pt x="0" y="70104"/>
                      <a:pt x="0" y="156686"/>
                    </a:cubicBezTo>
                    <a:cubicBezTo>
                      <a:pt x="0" y="243269"/>
                      <a:pt x="70104" y="313373"/>
                      <a:pt x="156686" y="313373"/>
                    </a:cubicBezTo>
                    <a:cubicBezTo>
                      <a:pt x="243269" y="313373"/>
                      <a:pt x="313373" y="243269"/>
                      <a:pt x="313373" y="156686"/>
                    </a:cubicBezTo>
                    <a:cubicBezTo>
                      <a:pt x="313373" y="70104"/>
                      <a:pt x="243269" y="0"/>
                      <a:pt x="156686" y="0"/>
                    </a:cubicBezTo>
                    <a:lnTo>
                      <a:pt x="156686" y="0"/>
                    </a:ln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2048" name="Agrupar 2047">
            <a:extLst>
              <a:ext uri="{FF2B5EF4-FFF2-40B4-BE49-F238E27FC236}">
                <a16:creationId xmlns:a16="http://schemas.microsoft.com/office/drawing/2014/main" id="{D7562428-9601-1BF4-1166-4A684920A381}"/>
              </a:ext>
            </a:extLst>
          </p:cNvPr>
          <p:cNvGrpSpPr/>
          <p:nvPr/>
        </p:nvGrpSpPr>
        <p:grpSpPr>
          <a:xfrm>
            <a:off x="10013232" y="3624264"/>
            <a:ext cx="324955" cy="282604"/>
            <a:chOff x="10941920" y="3659980"/>
            <a:chExt cx="620674" cy="539781"/>
          </a:xfrm>
        </p:grpSpPr>
        <p:sp>
          <p:nvSpPr>
            <p:cNvPr id="270" name="Forma livre: Forma 269">
              <a:extLst>
                <a:ext uri="{FF2B5EF4-FFF2-40B4-BE49-F238E27FC236}">
                  <a16:creationId xmlns:a16="http://schemas.microsoft.com/office/drawing/2014/main" id="{C2DB015A-7969-39C3-2D22-575F316EFE86}"/>
                </a:ext>
              </a:extLst>
            </p:cNvPr>
            <p:cNvSpPr/>
            <p:nvPr/>
          </p:nvSpPr>
          <p:spPr>
            <a:xfrm>
              <a:off x="10941920" y="3834859"/>
              <a:ext cx="620674" cy="364902"/>
            </a:xfrm>
            <a:custGeom>
              <a:avLst/>
              <a:gdLst>
                <a:gd name="connsiteX0" fmla="*/ 482174 w 620674"/>
                <a:gd name="connsiteY0" fmla="*/ 0 h 364902"/>
                <a:gd name="connsiteX1" fmla="*/ 442169 w 620674"/>
                <a:gd name="connsiteY1" fmla="*/ 2572 h 364902"/>
                <a:gd name="connsiteX2" fmla="*/ 377875 w 620674"/>
                <a:gd name="connsiteY2" fmla="*/ 51816 h 364902"/>
                <a:gd name="connsiteX3" fmla="*/ 242716 w 620674"/>
                <a:gd name="connsiteY3" fmla="*/ 51816 h 364902"/>
                <a:gd name="connsiteX4" fmla="*/ 178422 w 620674"/>
                <a:gd name="connsiteY4" fmla="*/ 2572 h 364902"/>
                <a:gd name="connsiteX5" fmla="*/ 138417 w 620674"/>
                <a:gd name="connsiteY5" fmla="*/ 0 h 364902"/>
                <a:gd name="connsiteX6" fmla="*/ 62026 w 620674"/>
                <a:gd name="connsiteY6" fmla="*/ 27241 h 364902"/>
                <a:gd name="connsiteX7" fmla="*/ 400 w 620674"/>
                <a:gd name="connsiteY7" fmla="*/ 316897 h 364902"/>
                <a:gd name="connsiteX8" fmla="*/ 48215 w 620674"/>
                <a:gd name="connsiteY8" fmla="*/ 364903 h 364902"/>
                <a:gd name="connsiteX9" fmla="*/ 80505 w 620674"/>
                <a:gd name="connsiteY9" fmla="*/ 357949 h 364902"/>
                <a:gd name="connsiteX10" fmla="*/ 172993 w 620674"/>
                <a:gd name="connsiteY10" fmla="*/ 288131 h 364902"/>
                <a:gd name="connsiteX11" fmla="*/ 244906 w 620674"/>
                <a:gd name="connsiteY11" fmla="*/ 247078 h 364902"/>
                <a:gd name="connsiteX12" fmla="*/ 375970 w 620674"/>
                <a:gd name="connsiteY12" fmla="*/ 247078 h 364902"/>
                <a:gd name="connsiteX13" fmla="*/ 447789 w 620674"/>
                <a:gd name="connsiteY13" fmla="*/ 288131 h 364902"/>
                <a:gd name="connsiteX14" fmla="*/ 540181 w 620674"/>
                <a:gd name="connsiteY14" fmla="*/ 357949 h 364902"/>
                <a:gd name="connsiteX15" fmla="*/ 572471 w 620674"/>
                <a:gd name="connsiteY15" fmla="*/ 364903 h 364902"/>
                <a:gd name="connsiteX16" fmla="*/ 620287 w 620674"/>
                <a:gd name="connsiteY16" fmla="*/ 316897 h 364902"/>
                <a:gd name="connsiteX17" fmla="*/ 558660 w 620674"/>
                <a:gd name="connsiteY17" fmla="*/ 27241 h 364902"/>
                <a:gd name="connsiteX18" fmla="*/ 482269 w 620674"/>
                <a:gd name="connsiteY18" fmla="*/ 0 h 364902"/>
                <a:gd name="connsiteX19" fmla="*/ 482269 w 620674"/>
                <a:gd name="connsiteY19" fmla="*/ 0 h 3649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620674" h="364902">
                  <a:moveTo>
                    <a:pt x="482174" y="0"/>
                  </a:moveTo>
                  <a:cubicBezTo>
                    <a:pt x="460171" y="0"/>
                    <a:pt x="442169" y="2572"/>
                    <a:pt x="442169" y="2572"/>
                  </a:cubicBezTo>
                  <a:cubicBezTo>
                    <a:pt x="392925" y="5334"/>
                    <a:pt x="377875" y="51816"/>
                    <a:pt x="377875" y="51816"/>
                  </a:cubicBezTo>
                  <a:lnTo>
                    <a:pt x="242716" y="51816"/>
                  </a:lnTo>
                  <a:cubicBezTo>
                    <a:pt x="242716" y="51816"/>
                    <a:pt x="227666" y="5334"/>
                    <a:pt x="178422" y="2572"/>
                  </a:cubicBezTo>
                  <a:cubicBezTo>
                    <a:pt x="178422" y="2572"/>
                    <a:pt x="160420" y="0"/>
                    <a:pt x="138417" y="0"/>
                  </a:cubicBezTo>
                  <a:cubicBezTo>
                    <a:pt x="108604" y="0"/>
                    <a:pt x="71456" y="4763"/>
                    <a:pt x="62026" y="27241"/>
                  </a:cubicBezTo>
                  <a:cubicBezTo>
                    <a:pt x="62026" y="27241"/>
                    <a:pt x="-5792" y="134017"/>
                    <a:pt x="400" y="316897"/>
                  </a:cubicBezTo>
                  <a:cubicBezTo>
                    <a:pt x="400" y="316897"/>
                    <a:pt x="4686" y="364903"/>
                    <a:pt x="48215" y="364903"/>
                  </a:cubicBezTo>
                  <a:cubicBezTo>
                    <a:pt x="57169" y="364903"/>
                    <a:pt x="67837" y="362903"/>
                    <a:pt x="80505" y="357949"/>
                  </a:cubicBezTo>
                  <a:cubicBezTo>
                    <a:pt x="80505" y="357949"/>
                    <a:pt x="150323" y="312801"/>
                    <a:pt x="172993" y="288131"/>
                  </a:cubicBezTo>
                  <a:cubicBezTo>
                    <a:pt x="172993" y="288131"/>
                    <a:pt x="220141" y="247078"/>
                    <a:pt x="244906" y="247078"/>
                  </a:cubicBezTo>
                  <a:lnTo>
                    <a:pt x="375970" y="247078"/>
                  </a:lnTo>
                  <a:cubicBezTo>
                    <a:pt x="400640" y="247078"/>
                    <a:pt x="447789" y="288131"/>
                    <a:pt x="447789" y="288131"/>
                  </a:cubicBezTo>
                  <a:cubicBezTo>
                    <a:pt x="470363" y="312801"/>
                    <a:pt x="540181" y="357949"/>
                    <a:pt x="540181" y="357949"/>
                  </a:cubicBezTo>
                  <a:cubicBezTo>
                    <a:pt x="552850" y="362903"/>
                    <a:pt x="563422" y="364903"/>
                    <a:pt x="572471" y="364903"/>
                  </a:cubicBezTo>
                  <a:cubicBezTo>
                    <a:pt x="616096" y="364903"/>
                    <a:pt x="620287" y="316897"/>
                    <a:pt x="620287" y="316897"/>
                  </a:cubicBezTo>
                  <a:cubicBezTo>
                    <a:pt x="626383" y="134112"/>
                    <a:pt x="558660" y="27241"/>
                    <a:pt x="558660" y="27241"/>
                  </a:cubicBezTo>
                  <a:cubicBezTo>
                    <a:pt x="549230" y="4763"/>
                    <a:pt x="512083" y="0"/>
                    <a:pt x="482269" y="0"/>
                  </a:cubicBezTo>
                  <a:lnTo>
                    <a:pt x="482269" y="0"/>
                  </a:ln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412" name="Gráfico 2045">
              <a:extLst>
                <a:ext uri="{FF2B5EF4-FFF2-40B4-BE49-F238E27FC236}">
                  <a16:creationId xmlns:a16="http://schemas.microsoft.com/office/drawing/2014/main" id="{87C4D1F1-2522-0F3D-812D-A0A61B6AA50C}"/>
                </a:ext>
              </a:extLst>
            </p:cNvPr>
            <p:cNvGrpSpPr/>
            <p:nvPr/>
          </p:nvGrpSpPr>
          <p:grpSpPr>
            <a:xfrm>
              <a:off x="11357420" y="3961351"/>
              <a:ext cx="105536" cy="14859"/>
              <a:chOff x="11357420" y="3961351"/>
              <a:chExt cx="105536" cy="14859"/>
            </a:xfrm>
            <a:solidFill>
              <a:srgbClr val="394553"/>
            </a:solidFill>
          </p:grpSpPr>
          <p:sp>
            <p:nvSpPr>
              <p:cNvPr id="586" name="Forma livre: Forma 585">
                <a:extLst>
                  <a:ext uri="{FF2B5EF4-FFF2-40B4-BE49-F238E27FC236}">
                    <a16:creationId xmlns:a16="http://schemas.microsoft.com/office/drawing/2014/main" id="{B5A01501-204A-C202-7F08-6D6861694476}"/>
                  </a:ext>
                </a:extLst>
              </p:cNvPr>
              <p:cNvSpPr/>
              <p:nvPr/>
            </p:nvSpPr>
            <p:spPr>
              <a:xfrm>
                <a:off x="11448098" y="3961351"/>
                <a:ext cx="14858" cy="14859"/>
              </a:xfrm>
              <a:custGeom>
                <a:avLst/>
                <a:gdLst>
                  <a:gd name="connsiteX0" fmla="*/ 14859 w 14858"/>
                  <a:gd name="connsiteY0" fmla="*/ 7429 h 14859"/>
                  <a:gd name="connsiteX1" fmla="*/ 7429 w 14858"/>
                  <a:gd name="connsiteY1" fmla="*/ 14859 h 14859"/>
                  <a:gd name="connsiteX2" fmla="*/ 0 w 14858"/>
                  <a:gd name="connsiteY2" fmla="*/ 7429 h 14859"/>
                  <a:gd name="connsiteX3" fmla="*/ 7429 w 14858"/>
                  <a:gd name="connsiteY3" fmla="*/ 0 h 14859"/>
                  <a:gd name="connsiteX4" fmla="*/ 14859 w 14858"/>
                  <a:gd name="connsiteY4" fmla="*/ 7429 h 148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4858" h="14859">
                    <a:moveTo>
                      <a:pt x="14859" y="7429"/>
                    </a:moveTo>
                    <a:cubicBezTo>
                      <a:pt x="14859" y="11525"/>
                      <a:pt x="11525" y="14859"/>
                      <a:pt x="7429" y="14859"/>
                    </a:cubicBezTo>
                    <a:cubicBezTo>
                      <a:pt x="3334" y="14859"/>
                      <a:pt x="0" y="11525"/>
                      <a:pt x="0" y="7429"/>
                    </a:cubicBezTo>
                    <a:cubicBezTo>
                      <a:pt x="0" y="3334"/>
                      <a:pt x="3334" y="0"/>
                      <a:pt x="7429" y="0"/>
                    </a:cubicBezTo>
                    <a:cubicBezTo>
                      <a:pt x="11525" y="0"/>
                      <a:pt x="14859" y="3334"/>
                      <a:pt x="14859" y="7429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45" name="Forma livre: Forma 744">
                <a:extLst>
                  <a:ext uri="{FF2B5EF4-FFF2-40B4-BE49-F238E27FC236}">
                    <a16:creationId xmlns:a16="http://schemas.microsoft.com/office/drawing/2014/main" id="{9291A9B5-6B00-8FC3-8568-82BBEAA3AE7B}"/>
                  </a:ext>
                </a:extLst>
              </p:cNvPr>
              <p:cNvSpPr/>
              <p:nvPr/>
            </p:nvSpPr>
            <p:spPr>
              <a:xfrm>
                <a:off x="11357420" y="3961351"/>
                <a:ext cx="14858" cy="14859"/>
              </a:xfrm>
              <a:custGeom>
                <a:avLst/>
                <a:gdLst>
                  <a:gd name="connsiteX0" fmla="*/ 14859 w 14858"/>
                  <a:gd name="connsiteY0" fmla="*/ 7429 h 14859"/>
                  <a:gd name="connsiteX1" fmla="*/ 7429 w 14858"/>
                  <a:gd name="connsiteY1" fmla="*/ 14859 h 14859"/>
                  <a:gd name="connsiteX2" fmla="*/ 0 w 14858"/>
                  <a:gd name="connsiteY2" fmla="*/ 7429 h 14859"/>
                  <a:gd name="connsiteX3" fmla="*/ 7429 w 14858"/>
                  <a:gd name="connsiteY3" fmla="*/ 0 h 14859"/>
                  <a:gd name="connsiteX4" fmla="*/ 14859 w 14858"/>
                  <a:gd name="connsiteY4" fmla="*/ 7429 h 148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4858" h="14859">
                    <a:moveTo>
                      <a:pt x="14859" y="7429"/>
                    </a:moveTo>
                    <a:cubicBezTo>
                      <a:pt x="14859" y="11525"/>
                      <a:pt x="11525" y="14859"/>
                      <a:pt x="7429" y="14859"/>
                    </a:cubicBezTo>
                    <a:cubicBezTo>
                      <a:pt x="3334" y="14859"/>
                      <a:pt x="0" y="11525"/>
                      <a:pt x="0" y="7429"/>
                    </a:cubicBezTo>
                    <a:cubicBezTo>
                      <a:pt x="0" y="3334"/>
                      <a:pt x="3334" y="0"/>
                      <a:pt x="7429" y="0"/>
                    </a:cubicBezTo>
                    <a:cubicBezTo>
                      <a:pt x="11525" y="0"/>
                      <a:pt x="14859" y="3334"/>
                      <a:pt x="14859" y="7429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906" name="Gráfico 2045">
              <a:extLst>
                <a:ext uri="{FF2B5EF4-FFF2-40B4-BE49-F238E27FC236}">
                  <a16:creationId xmlns:a16="http://schemas.microsoft.com/office/drawing/2014/main" id="{20FF510D-D457-A901-99EA-5438631E2D81}"/>
                </a:ext>
              </a:extLst>
            </p:cNvPr>
            <p:cNvGrpSpPr/>
            <p:nvPr/>
          </p:nvGrpSpPr>
          <p:grpSpPr>
            <a:xfrm>
              <a:off x="11402758" y="3916012"/>
              <a:ext cx="14859" cy="105632"/>
              <a:chOff x="11402758" y="3916012"/>
              <a:chExt cx="14859" cy="105632"/>
            </a:xfrm>
            <a:solidFill>
              <a:srgbClr val="394553"/>
            </a:solidFill>
          </p:grpSpPr>
          <p:sp>
            <p:nvSpPr>
              <p:cNvPr id="1129" name="Forma livre: Forma 1128">
                <a:extLst>
                  <a:ext uri="{FF2B5EF4-FFF2-40B4-BE49-F238E27FC236}">
                    <a16:creationId xmlns:a16="http://schemas.microsoft.com/office/drawing/2014/main" id="{E09D4819-22E5-A41C-94C1-40FE0603F96A}"/>
                  </a:ext>
                </a:extLst>
              </p:cNvPr>
              <p:cNvSpPr/>
              <p:nvPr/>
            </p:nvSpPr>
            <p:spPr>
              <a:xfrm>
                <a:off x="11402758" y="4006785"/>
                <a:ext cx="14859" cy="14859"/>
              </a:xfrm>
              <a:custGeom>
                <a:avLst/>
                <a:gdLst>
                  <a:gd name="connsiteX0" fmla="*/ 7429 w 14859"/>
                  <a:gd name="connsiteY0" fmla="*/ 14859 h 14859"/>
                  <a:gd name="connsiteX1" fmla="*/ 0 w 14859"/>
                  <a:gd name="connsiteY1" fmla="*/ 7429 h 14859"/>
                  <a:gd name="connsiteX2" fmla="*/ 7429 w 14859"/>
                  <a:gd name="connsiteY2" fmla="*/ 0 h 14859"/>
                  <a:gd name="connsiteX3" fmla="*/ 14859 w 14859"/>
                  <a:gd name="connsiteY3" fmla="*/ 7429 h 14859"/>
                  <a:gd name="connsiteX4" fmla="*/ 7429 w 14859"/>
                  <a:gd name="connsiteY4" fmla="*/ 14859 h 148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4859" h="14859">
                    <a:moveTo>
                      <a:pt x="7429" y="14859"/>
                    </a:moveTo>
                    <a:cubicBezTo>
                      <a:pt x="3334" y="14859"/>
                      <a:pt x="0" y="11525"/>
                      <a:pt x="0" y="7429"/>
                    </a:cubicBezTo>
                    <a:cubicBezTo>
                      <a:pt x="0" y="3334"/>
                      <a:pt x="3334" y="0"/>
                      <a:pt x="7429" y="0"/>
                    </a:cubicBezTo>
                    <a:cubicBezTo>
                      <a:pt x="11525" y="0"/>
                      <a:pt x="14859" y="3334"/>
                      <a:pt x="14859" y="7429"/>
                    </a:cubicBezTo>
                    <a:cubicBezTo>
                      <a:pt x="14859" y="11525"/>
                      <a:pt x="11525" y="14859"/>
                      <a:pt x="7429" y="14859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65" name="Forma livre: Forma 1264">
                <a:extLst>
                  <a:ext uri="{FF2B5EF4-FFF2-40B4-BE49-F238E27FC236}">
                    <a16:creationId xmlns:a16="http://schemas.microsoft.com/office/drawing/2014/main" id="{06D01FEB-A1FB-5D57-2AF3-6CEA196D4B22}"/>
                  </a:ext>
                </a:extLst>
              </p:cNvPr>
              <p:cNvSpPr/>
              <p:nvPr/>
            </p:nvSpPr>
            <p:spPr>
              <a:xfrm>
                <a:off x="11402758" y="3916012"/>
                <a:ext cx="14859" cy="14859"/>
              </a:xfrm>
              <a:custGeom>
                <a:avLst/>
                <a:gdLst>
                  <a:gd name="connsiteX0" fmla="*/ 7429 w 14859"/>
                  <a:gd name="connsiteY0" fmla="*/ 14859 h 14859"/>
                  <a:gd name="connsiteX1" fmla="*/ 0 w 14859"/>
                  <a:gd name="connsiteY1" fmla="*/ 7430 h 14859"/>
                  <a:gd name="connsiteX2" fmla="*/ 7429 w 14859"/>
                  <a:gd name="connsiteY2" fmla="*/ 0 h 14859"/>
                  <a:gd name="connsiteX3" fmla="*/ 14859 w 14859"/>
                  <a:gd name="connsiteY3" fmla="*/ 7430 h 14859"/>
                  <a:gd name="connsiteX4" fmla="*/ 7429 w 14859"/>
                  <a:gd name="connsiteY4" fmla="*/ 14859 h 148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4859" h="14859">
                    <a:moveTo>
                      <a:pt x="7429" y="14859"/>
                    </a:moveTo>
                    <a:cubicBezTo>
                      <a:pt x="3334" y="14859"/>
                      <a:pt x="0" y="11525"/>
                      <a:pt x="0" y="7430"/>
                    </a:cubicBezTo>
                    <a:cubicBezTo>
                      <a:pt x="0" y="3334"/>
                      <a:pt x="3334" y="0"/>
                      <a:pt x="7429" y="0"/>
                    </a:cubicBezTo>
                    <a:cubicBezTo>
                      <a:pt x="11525" y="0"/>
                      <a:pt x="14859" y="3334"/>
                      <a:pt x="14859" y="7430"/>
                    </a:cubicBezTo>
                    <a:cubicBezTo>
                      <a:pt x="14859" y="11525"/>
                      <a:pt x="11525" y="14859"/>
                      <a:pt x="7429" y="14859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406" name="Forma livre: Forma 1405">
              <a:extLst>
                <a:ext uri="{FF2B5EF4-FFF2-40B4-BE49-F238E27FC236}">
                  <a16:creationId xmlns:a16="http://schemas.microsoft.com/office/drawing/2014/main" id="{6050E4BC-0691-DB5D-D409-7360233F7E0C}"/>
                </a:ext>
              </a:extLst>
            </p:cNvPr>
            <p:cNvSpPr/>
            <p:nvPr/>
          </p:nvSpPr>
          <p:spPr>
            <a:xfrm>
              <a:off x="11030712" y="3975067"/>
              <a:ext cx="110299" cy="9525"/>
            </a:xfrm>
            <a:custGeom>
              <a:avLst/>
              <a:gdLst>
                <a:gd name="connsiteX0" fmla="*/ 0 w 110299"/>
                <a:gd name="connsiteY0" fmla="*/ 0 h 9525"/>
                <a:gd name="connsiteX1" fmla="*/ 110300 w 110299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0299" h="9525">
                  <a:moveTo>
                    <a:pt x="0" y="0"/>
                  </a:moveTo>
                  <a:lnTo>
                    <a:pt x="11030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71" name="Forma livre: Forma 1570">
              <a:extLst>
                <a:ext uri="{FF2B5EF4-FFF2-40B4-BE49-F238E27FC236}">
                  <a16:creationId xmlns:a16="http://schemas.microsoft.com/office/drawing/2014/main" id="{092158F9-F91D-89A8-9F34-E7017E5E56DC}"/>
                </a:ext>
              </a:extLst>
            </p:cNvPr>
            <p:cNvSpPr/>
            <p:nvPr/>
          </p:nvSpPr>
          <p:spPr>
            <a:xfrm>
              <a:off x="11085862" y="3919917"/>
              <a:ext cx="9525" cy="110299"/>
            </a:xfrm>
            <a:custGeom>
              <a:avLst/>
              <a:gdLst>
                <a:gd name="connsiteX0" fmla="*/ 0 w 9525"/>
                <a:gd name="connsiteY0" fmla="*/ 0 h 110299"/>
                <a:gd name="connsiteX1" fmla="*/ 0 w 9525"/>
                <a:gd name="connsiteY1" fmla="*/ 110299 h 1102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110299">
                  <a:moveTo>
                    <a:pt x="0" y="0"/>
                  </a:moveTo>
                  <a:lnTo>
                    <a:pt x="0" y="110299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09" name="Forma livre: Forma 1708">
              <a:extLst>
                <a:ext uri="{FF2B5EF4-FFF2-40B4-BE49-F238E27FC236}">
                  <a16:creationId xmlns:a16="http://schemas.microsoft.com/office/drawing/2014/main" id="{EA3645A8-9EB2-35E0-5705-9282C375F3A7}"/>
                </a:ext>
              </a:extLst>
            </p:cNvPr>
            <p:cNvSpPr/>
            <p:nvPr/>
          </p:nvSpPr>
          <p:spPr>
            <a:xfrm>
              <a:off x="11246549" y="3659980"/>
              <a:ext cx="57351" cy="188499"/>
            </a:xfrm>
            <a:custGeom>
              <a:avLst/>
              <a:gdLst>
                <a:gd name="connsiteX0" fmla="*/ 6001 w 57351"/>
                <a:gd name="connsiteY0" fmla="*/ 0 h 188499"/>
                <a:gd name="connsiteX1" fmla="*/ 39148 w 57351"/>
                <a:gd name="connsiteY1" fmla="*/ 111347 h 188499"/>
                <a:gd name="connsiteX2" fmla="*/ 0 w 57351"/>
                <a:gd name="connsiteY2" fmla="*/ 188500 h 1884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57351" h="188499">
                  <a:moveTo>
                    <a:pt x="6001" y="0"/>
                  </a:moveTo>
                  <a:cubicBezTo>
                    <a:pt x="6001" y="0"/>
                    <a:pt x="94488" y="56007"/>
                    <a:pt x="39148" y="111347"/>
                  </a:cubicBezTo>
                  <a:cubicBezTo>
                    <a:pt x="12287" y="138208"/>
                    <a:pt x="0" y="143828"/>
                    <a:pt x="0" y="18850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2062" name="Agrupar 2061">
            <a:extLst>
              <a:ext uri="{FF2B5EF4-FFF2-40B4-BE49-F238E27FC236}">
                <a16:creationId xmlns:a16="http://schemas.microsoft.com/office/drawing/2014/main" id="{CAE526C9-816A-DD8E-F7E3-3A20E95E2B5B}"/>
              </a:ext>
            </a:extLst>
          </p:cNvPr>
          <p:cNvGrpSpPr/>
          <p:nvPr/>
        </p:nvGrpSpPr>
        <p:grpSpPr>
          <a:xfrm>
            <a:off x="10598943" y="3698822"/>
            <a:ext cx="340520" cy="197664"/>
            <a:chOff x="11151393" y="3440906"/>
            <a:chExt cx="678179" cy="393668"/>
          </a:xfrm>
        </p:grpSpPr>
        <p:sp>
          <p:nvSpPr>
            <p:cNvPr id="2052" name="Forma livre: Forma 2051">
              <a:extLst>
                <a:ext uri="{FF2B5EF4-FFF2-40B4-BE49-F238E27FC236}">
                  <a16:creationId xmlns:a16="http://schemas.microsoft.com/office/drawing/2014/main" id="{6EFC0CFC-AD83-3968-7012-0C3AE54C21AC}"/>
                </a:ext>
              </a:extLst>
            </p:cNvPr>
            <p:cNvSpPr/>
            <p:nvPr/>
          </p:nvSpPr>
          <p:spPr>
            <a:xfrm>
              <a:off x="11278266" y="3630453"/>
              <a:ext cx="424529" cy="186213"/>
            </a:xfrm>
            <a:custGeom>
              <a:avLst/>
              <a:gdLst>
                <a:gd name="connsiteX0" fmla="*/ 0 w 424529"/>
                <a:gd name="connsiteY0" fmla="*/ 186214 h 186213"/>
                <a:gd name="connsiteX1" fmla="*/ 0 w 424529"/>
                <a:gd name="connsiteY1" fmla="*/ 0 h 186213"/>
                <a:gd name="connsiteX2" fmla="*/ 424529 w 424529"/>
                <a:gd name="connsiteY2" fmla="*/ 0 h 186213"/>
                <a:gd name="connsiteX3" fmla="*/ 424529 w 424529"/>
                <a:gd name="connsiteY3" fmla="*/ 186214 h 1862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24529" h="186213">
                  <a:moveTo>
                    <a:pt x="0" y="186214"/>
                  </a:moveTo>
                  <a:lnTo>
                    <a:pt x="0" y="0"/>
                  </a:lnTo>
                  <a:lnTo>
                    <a:pt x="424529" y="0"/>
                  </a:lnTo>
                  <a:lnTo>
                    <a:pt x="424529" y="186214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53" name="Forma livre: Forma 2052">
              <a:extLst>
                <a:ext uri="{FF2B5EF4-FFF2-40B4-BE49-F238E27FC236}">
                  <a16:creationId xmlns:a16="http://schemas.microsoft.com/office/drawing/2014/main" id="{560441C8-62BC-8420-5E89-3CDB273BA416}"/>
                </a:ext>
              </a:extLst>
            </p:cNvPr>
            <p:cNvSpPr/>
            <p:nvPr/>
          </p:nvSpPr>
          <p:spPr>
            <a:xfrm>
              <a:off x="11422665" y="3637026"/>
              <a:ext cx="9525" cy="93440"/>
            </a:xfrm>
            <a:custGeom>
              <a:avLst/>
              <a:gdLst>
                <a:gd name="connsiteX0" fmla="*/ 0 w 9525"/>
                <a:gd name="connsiteY0" fmla="*/ 0 h 93440"/>
                <a:gd name="connsiteX1" fmla="*/ 0 w 9525"/>
                <a:gd name="connsiteY1" fmla="*/ 93440 h 934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93440">
                  <a:moveTo>
                    <a:pt x="0" y="0"/>
                  </a:moveTo>
                  <a:lnTo>
                    <a:pt x="0" y="9344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54" name="Forma livre: Forma 2053">
              <a:extLst>
                <a:ext uri="{FF2B5EF4-FFF2-40B4-BE49-F238E27FC236}">
                  <a16:creationId xmlns:a16="http://schemas.microsoft.com/office/drawing/2014/main" id="{F31E2D77-9989-B044-D1A3-16CBFD1CD05D}"/>
                </a:ext>
              </a:extLst>
            </p:cNvPr>
            <p:cNvSpPr/>
            <p:nvPr/>
          </p:nvSpPr>
          <p:spPr>
            <a:xfrm>
              <a:off x="11490483" y="3637026"/>
              <a:ext cx="9525" cy="93440"/>
            </a:xfrm>
            <a:custGeom>
              <a:avLst/>
              <a:gdLst>
                <a:gd name="connsiteX0" fmla="*/ 0 w 9525"/>
                <a:gd name="connsiteY0" fmla="*/ 0 h 93440"/>
                <a:gd name="connsiteX1" fmla="*/ 0 w 9525"/>
                <a:gd name="connsiteY1" fmla="*/ 93440 h 934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93440">
                  <a:moveTo>
                    <a:pt x="0" y="0"/>
                  </a:moveTo>
                  <a:lnTo>
                    <a:pt x="0" y="9344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55" name="Forma livre: Forma 2054">
              <a:extLst>
                <a:ext uri="{FF2B5EF4-FFF2-40B4-BE49-F238E27FC236}">
                  <a16:creationId xmlns:a16="http://schemas.microsoft.com/office/drawing/2014/main" id="{A4EE3568-2C7C-D31E-3FD0-DC32EE500B40}"/>
                </a:ext>
              </a:extLst>
            </p:cNvPr>
            <p:cNvSpPr/>
            <p:nvPr/>
          </p:nvSpPr>
          <p:spPr>
            <a:xfrm>
              <a:off x="11558396" y="3637026"/>
              <a:ext cx="9525" cy="93440"/>
            </a:xfrm>
            <a:custGeom>
              <a:avLst/>
              <a:gdLst>
                <a:gd name="connsiteX0" fmla="*/ 0 w 9525"/>
                <a:gd name="connsiteY0" fmla="*/ 0 h 93440"/>
                <a:gd name="connsiteX1" fmla="*/ 0 w 9525"/>
                <a:gd name="connsiteY1" fmla="*/ 93440 h 934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93440">
                  <a:moveTo>
                    <a:pt x="0" y="0"/>
                  </a:moveTo>
                  <a:lnTo>
                    <a:pt x="0" y="9344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56" name="Forma livre: Forma 2055">
              <a:extLst>
                <a:ext uri="{FF2B5EF4-FFF2-40B4-BE49-F238E27FC236}">
                  <a16:creationId xmlns:a16="http://schemas.microsoft.com/office/drawing/2014/main" id="{6A72953E-D42A-4E1E-A02C-38B2CAB07E36}"/>
                </a:ext>
              </a:extLst>
            </p:cNvPr>
            <p:cNvSpPr/>
            <p:nvPr/>
          </p:nvSpPr>
          <p:spPr>
            <a:xfrm>
              <a:off x="11626214" y="3637026"/>
              <a:ext cx="9525" cy="93440"/>
            </a:xfrm>
            <a:custGeom>
              <a:avLst/>
              <a:gdLst>
                <a:gd name="connsiteX0" fmla="*/ 0 w 9525"/>
                <a:gd name="connsiteY0" fmla="*/ 0 h 93440"/>
                <a:gd name="connsiteX1" fmla="*/ 0 w 9525"/>
                <a:gd name="connsiteY1" fmla="*/ 93440 h 934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93440">
                  <a:moveTo>
                    <a:pt x="0" y="0"/>
                  </a:moveTo>
                  <a:lnTo>
                    <a:pt x="0" y="9344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57" name="Forma livre: Forma 2056">
              <a:extLst>
                <a:ext uri="{FF2B5EF4-FFF2-40B4-BE49-F238E27FC236}">
                  <a16:creationId xmlns:a16="http://schemas.microsoft.com/office/drawing/2014/main" id="{DDF015EB-8FDB-84D1-0BD6-32FC826268C1}"/>
                </a:ext>
              </a:extLst>
            </p:cNvPr>
            <p:cNvSpPr/>
            <p:nvPr/>
          </p:nvSpPr>
          <p:spPr>
            <a:xfrm>
              <a:off x="11354752" y="3637026"/>
              <a:ext cx="9525" cy="93440"/>
            </a:xfrm>
            <a:custGeom>
              <a:avLst/>
              <a:gdLst>
                <a:gd name="connsiteX0" fmla="*/ 0 w 9525"/>
                <a:gd name="connsiteY0" fmla="*/ 0 h 93440"/>
                <a:gd name="connsiteX1" fmla="*/ 0 w 9525"/>
                <a:gd name="connsiteY1" fmla="*/ 93440 h 934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93440">
                  <a:moveTo>
                    <a:pt x="0" y="0"/>
                  </a:moveTo>
                  <a:lnTo>
                    <a:pt x="0" y="9344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58" name="Forma livre: Forma 2057">
              <a:extLst>
                <a:ext uri="{FF2B5EF4-FFF2-40B4-BE49-F238E27FC236}">
                  <a16:creationId xmlns:a16="http://schemas.microsoft.com/office/drawing/2014/main" id="{57CF4235-0E19-A34C-B6D1-41D1703F30A8}"/>
                </a:ext>
              </a:extLst>
            </p:cNvPr>
            <p:cNvSpPr/>
            <p:nvPr/>
          </p:nvSpPr>
          <p:spPr>
            <a:xfrm>
              <a:off x="11151393" y="3440906"/>
              <a:ext cx="678179" cy="393668"/>
            </a:xfrm>
            <a:custGeom>
              <a:avLst/>
              <a:gdLst>
                <a:gd name="connsiteX0" fmla="*/ 630555 w 678179"/>
                <a:gd name="connsiteY0" fmla="*/ 0 h 393668"/>
                <a:gd name="connsiteX1" fmla="*/ 47625 w 678179"/>
                <a:gd name="connsiteY1" fmla="*/ 0 h 393668"/>
                <a:gd name="connsiteX2" fmla="*/ 0 w 678179"/>
                <a:gd name="connsiteY2" fmla="*/ 47625 h 393668"/>
                <a:gd name="connsiteX3" fmla="*/ 0 w 678179"/>
                <a:gd name="connsiteY3" fmla="*/ 346043 h 393668"/>
                <a:gd name="connsiteX4" fmla="*/ 47625 w 678179"/>
                <a:gd name="connsiteY4" fmla="*/ 393668 h 393668"/>
                <a:gd name="connsiteX5" fmla="*/ 630555 w 678179"/>
                <a:gd name="connsiteY5" fmla="*/ 393668 h 393668"/>
                <a:gd name="connsiteX6" fmla="*/ 678180 w 678179"/>
                <a:gd name="connsiteY6" fmla="*/ 346043 h 393668"/>
                <a:gd name="connsiteX7" fmla="*/ 678180 w 678179"/>
                <a:gd name="connsiteY7" fmla="*/ 47625 h 393668"/>
                <a:gd name="connsiteX8" fmla="*/ 630555 w 678179"/>
                <a:gd name="connsiteY8" fmla="*/ 0 h 393668"/>
                <a:gd name="connsiteX9" fmla="*/ 630555 w 678179"/>
                <a:gd name="connsiteY9" fmla="*/ 0 h 3936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678179" h="393668">
                  <a:moveTo>
                    <a:pt x="630555" y="0"/>
                  </a:moveTo>
                  <a:lnTo>
                    <a:pt x="47625" y="0"/>
                  </a:lnTo>
                  <a:cubicBezTo>
                    <a:pt x="21431" y="0"/>
                    <a:pt x="0" y="21431"/>
                    <a:pt x="0" y="47625"/>
                  </a:cubicBezTo>
                  <a:lnTo>
                    <a:pt x="0" y="346043"/>
                  </a:lnTo>
                  <a:cubicBezTo>
                    <a:pt x="0" y="372237"/>
                    <a:pt x="21431" y="393668"/>
                    <a:pt x="47625" y="393668"/>
                  </a:cubicBezTo>
                  <a:lnTo>
                    <a:pt x="630555" y="393668"/>
                  </a:lnTo>
                  <a:cubicBezTo>
                    <a:pt x="656749" y="393668"/>
                    <a:pt x="678180" y="372237"/>
                    <a:pt x="678180" y="346043"/>
                  </a:cubicBezTo>
                  <a:lnTo>
                    <a:pt x="678180" y="47625"/>
                  </a:lnTo>
                  <a:cubicBezTo>
                    <a:pt x="678180" y="21431"/>
                    <a:pt x="656749" y="0"/>
                    <a:pt x="630555" y="0"/>
                  </a:cubicBezTo>
                  <a:lnTo>
                    <a:pt x="630555" y="0"/>
                  </a:ln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59" name="Forma livre: Forma 2058">
              <a:extLst>
                <a:ext uri="{FF2B5EF4-FFF2-40B4-BE49-F238E27FC236}">
                  <a16:creationId xmlns:a16="http://schemas.microsoft.com/office/drawing/2014/main" id="{43AF8C53-D496-5F34-6037-EDACB2A0E434}"/>
                </a:ext>
              </a:extLst>
            </p:cNvPr>
            <p:cNvSpPr/>
            <p:nvPr/>
          </p:nvSpPr>
          <p:spPr>
            <a:xfrm>
              <a:off x="11233975" y="3517772"/>
              <a:ext cx="17145" cy="17145"/>
            </a:xfrm>
            <a:custGeom>
              <a:avLst/>
              <a:gdLst>
                <a:gd name="connsiteX0" fmla="*/ 17145 w 17145"/>
                <a:gd name="connsiteY0" fmla="*/ 8573 h 17145"/>
                <a:gd name="connsiteX1" fmla="*/ 8572 w 17145"/>
                <a:gd name="connsiteY1" fmla="*/ 17145 h 17145"/>
                <a:gd name="connsiteX2" fmla="*/ 0 w 17145"/>
                <a:gd name="connsiteY2" fmla="*/ 8573 h 17145"/>
                <a:gd name="connsiteX3" fmla="*/ 8572 w 17145"/>
                <a:gd name="connsiteY3" fmla="*/ 0 h 17145"/>
                <a:gd name="connsiteX4" fmla="*/ 17145 w 17145"/>
                <a:gd name="connsiteY4" fmla="*/ 8573 h 171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145" h="17145">
                  <a:moveTo>
                    <a:pt x="17145" y="8573"/>
                  </a:moveTo>
                  <a:cubicBezTo>
                    <a:pt x="17145" y="13335"/>
                    <a:pt x="13335" y="17145"/>
                    <a:pt x="8572" y="17145"/>
                  </a:cubicBezTo>
                  <a:cubicBezTo>
                    <a:pt x="3810" y="17145"/>
                    <a:pt x="0" y="13335"/>
                    <a:pt x="0" y="8573"/>
                  </a:cubicBezTo>
                  <a:cubicBezTo>
                    <a:pt x="0" y="3810"/>
                    <a:pt x="3905" y="0"/>
                    <a:pt x="8572" y="0"/>
                  </a:cubicBezTo>
                  <a:cubicBezTo>
                    <a:pt x="13240" y="0"/>
                    <a:pt x="17145" y="3810"/>
                    <a:pt x="17145" y="8573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60" name="Forma livre: Forma 2059">
              <a:extLst>
                <a:ext uri="{FF2B5EF4-FFF2-40B4-BE49-F238E27FC236}">
                  <a16:creationId xmlns:a16="http://schemas.microsoft.com/office/drawing/2014/main" id="{B17F875F-6124-0F80-16B5-D6F73240F708}"/>
                </a:ext>
              </a:extLst>
            </p:cNvPr>
            <p:cNvSpPr/>
            <p:nvPr/>
          </p:nvSpPr>
          <p:spPr>
            <a:xfrm>
              <a:off x="11611736" y="3526726"/>
              <a:ext cx="53625" cy="9525"/>
            </a:xfrm>
            <a:custGeom>
              <a:avLst/>
              <a:gdLst>
                <a:gd name="connsiteX0" fmla="*/ 0 w 53625"/>
                <a:gd name="connsiteY0" fmla="*/ 0 h 9525"/>
                <a:gd name="connsiteX1" fmla="*/ 53626 w 53625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3625" h="9525">
                  <a:moveTo>
                    <a:pt x="0" y="0"/>
                  </a:moveTo>
                  <a:lnTo>
                    <a:pt x="53626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61" name="Forma livre: Forma 2060">
              <a:extLst>
                <a:ext uri="{FF2B5EF4-FFF2-40B4-BE49-F238E27FC236}">
                  <a16:creationId xmlns:a16="http://schemas.microsoft.com/office/drawing/2014/main" id="{22B631EC-D837-B455-FA52-933378F37BD6}"/>
                </a:ext>
              </a:extLst>
            </p:cNvPr>
            <p:cNvSpPr/>
            <p:nvPr/>
          </p:nvSpPr>
          <p:spPr>
            <a:xfrm>
              <a:off x="11695080" y="3526726"/>
              <a:ext cx="53625" cy="9525"/>
            </a:xfrm>
            <a:custGeom>
              <a:avLst/>
              <a:gdLst>
                <a:gd name="connsiteX0" fmla="*/ 0 w 53625"/>
                <a:gd name="connsiteY0" fmla="*/ 0 h 9525"/>
                <a:gd name="connsiteX1" fmla="*/ 53626 w 53625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3625" h="9525">
                  <a:moveTo>
                    <a:pt x="0" y="0"/>
                  </a:moveTo>
                  <a:lnTo>
                    <a:pt x="53626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2085" name="Agrupar 2084">
            <a:extLst>
              <a:ext uri="{FF2B5EF4-FFF2-40B4-BE49-F238E27FC236}">
                <a16:creationId xmlns:a16="http://schemas.microsoft.com/office/drawing/2014/main" id="{04FCECAE-A2F7-3839-112C-79D5BC0D304F}"/>
              </a:ext>
            </a:extLst>
          </p:cNvPr>
          <p:cNvGrpSpPr/>
          <p:nvPr/>
        </p:nvGrpSpPr>
        <p:grpSpPr>
          <a:xfrm>
            <a:off x="11249278" y="3621881"/>
            <a:ext cx="323062" cy="276605"/>
            <a:chOff x="11513596" y="3429000"/>
            <a:chExt cx="620649" cy="531399"/>
          </a:xfrm>
        </p:grpSpPr>
        <p:sp>
          <p:nvSpPr>
            <p:cNvPr id="2066" name="Forma livre: Forma 2065">
              <a:extLst>
                <a:ext uri="{FF2B5EF4-FFF2-40B4-BE49-F238E27FC236}">
                  <a16:creationId xmlns:a16="http://schemas.microsoft.com/office/drawing/2014/main" id="{539AFBFA-04E3-106D-F2C2-0AF2C2715F2B}"/>
                </a:ext>
              </a:extLst>
            </p:cNvPr>
            <p:cNvSpPr/>
            <p:nvPr/>
          </p:nvSpPr>
          <p:spPr>
            <a:xfrm>
              <a:off x="11603130" y="3518820"/>
              <a:ext cx="441578" cy="441579"/>
            </a:xfrm>
            <a:custGeom>
              <a:avLst/>
              <a:gdLst>
                <a:gd name="connsiteX0" fmla="*/ 220790 w 441578"/>
                <a:gd name="connsiteY0" fmla="*/ 0 h 441579"/>
                <a:gd name="connsiteX1" fmla="*/ 0 w 441578"/>
                <a:gd name="connsiteY1" fmla="*/ 220790 h 441579"/>
                <a:gd name="connsiteX2" fmla="*/ 220790 w 441578"/>
                <a:gd name="connsiteY2" fmla="*/ 441579 h 441579"/>
                <a:gd name="connsiteX3" fmla="*/ 441579 w 441578"/>
                <a:gd name="connsiteY3" fmla="*/ 220790 h 441579"/>
                <a:gd name="connsiteX4" fmla="*/ 220790 w 441578"/>
                <a:gd name="connsiteY4" fmla="*/ 0 h 441579"/>
                <a:gd name="connsiteX5" fmla="*/ 220790 w 441578"/>
                <a:gd name="connsiteY5" fmla="*/ 0 h 4415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1578" h="441579">
                  <a:moveTo>
                    <a:pt x="220790" y="0"/>
                  </a:moveTo>
                  <a:cubicBezTo>
                    <a:pt x="98870" y="0"/>
                    <a:pt x="0" y="98869"/>
                    <a:pt x="0" y="220790"/>
                  </a:cubicBezTo>
                  <a:cubicBezTo>
                    <a:pt x="0" y="342710"/>
                    <a:pt x="98870" y="441579"/>
                    <a:pt x="220790" y="441579"/>
                  </a:cubicBezTo>
                  <a:cubicBezTo>
                    <a:pt x="342710" y="441579"/>
                    <a:pt x="441579" y="342710"/>
                    <a:pt x="441579" y="220790"/>
                  </a:cubicBezTo>
                  <a:cubicBezTo>
                    <a:pt x="441579" y="98869"/>
                    <a:pt x="342710" y="0"/>
                    <a:pt x="220790" y="0"/>
                  </a:cubicBezTo>
                  <a:lnTo>
                    <a:pt x="220790" y="0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67" name="Forma livre: Forma 2066">
              <a:extLst>
                <a:ext uri="{FF2B5EF4-FFF2-40B4-BE49-F238E27FC236}">
                  <a16:creationId xmlns:a16="http://schemas.microsoft.com/office/drawing/2014/main" id="{339BE470-BC19-F00E-50D0-A29ABCE498B3}"/>
                </a:ext>
              </a:extLst>
            </p:cNvPr>
            <p:cNvSpPr/>
            <p:nvPr/>
          </p:nvSpPr>
          <p:spPr>
            <a:xfrm>
              <a:off x="11679235" y="3594830"/>
              <a:ext cx="289369" cy="289369"/>
            </a:xfrm>
            <a:custGeom>
              <a:avLst/>
              <a:gdLst>
                <a:gd name="connsiteX0" fmla="*/ 144685 w 289369"/>
                <a:gd name="connsiteY0" fmla="*/ 0 h 289369"/>
                <a:gd name="connsiteX1" fmla="*/ 0 w 289369"/>
                <a:gd name="connsiteY1" fmla="*/ 144685 h 289369"/>
                <a:gd name="connsiteX2" fmla="*/ 144685 w 289369"/>
                <a:gd name="connsiteY2" fmla="*/ 289370 h 289369"/>
                <a:gd name="connsiteX3" fmla="*/ 289370 w 289369"/>
                <a:gd name="connsiteY3" fmla="*/ 144685 h 289369"/>
                <a:gd name="connsiteX4" fmla="*/ 144685 w 289369"/>
                <a:gd name="connsiteY4" fmla="*/ 0 h 289369"/>
                <a:gd name="connsiteX5" fmla="*/ 144685 w 289369"/>
                <a:gd name="connsiteY5" fmla="*/ 0 h 2893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89369" h="289369">
                  <a:moveTo>
                    <a:pt x="144685" y="0"/>
                  </a:moveTo>
                  <a:cubicBezTo>
                    <a:pt x="64770" y="0"/>
                    <a:pt x="0" y="64770"/>
                    <a:pt x="0" y="144685"/>
                  </a:cubicBezTo>
                  <a:cubicBezTo>
                    <a:pt x="0" y="224600"/>
                    <a:pt x="64770" y="289370"/>
                    <a:pt x="144685" y="289370"/>
                  </a:cubicBezTo>
                  <a:cubicBezTo>
                    <a:pt x="224600" y="289370"/>
                    <a:pt x="289370" y="224600"/>
                    <a:pt x="289370" y="144685"/>
                  </a:cubicBezTo>
                  <a:cubicBezTo>
                    <a:pt x="289370" y="64770"/>
                    <a:pt x="224600" y="0"/>
                    <a:pt x="144685" y="0"/>
                  </a:cubicBezTo>
                  <a:lnTo>
                    <a:pt x="144685" y="0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2068" name="Gráfico 2063">
              <a:extLst>
                <a:ext uri="{FF2B5EF4-FFF2-40B4-BE49-F238E27FC236}">
                  <a16:creationId xmlns:a16="http://schemas.microsoft.com/office/drawing/2014/main" id="{D2E69A70-BF7B-C470-4F9A-A8958ED12976}"/>
                </a:ext>
              </a:extLst>
            </p:cNvPr>
            <p:cNvGrpSpPr/>
            <p:nvPr/>
          </p:nvGrpSpPr>
          <p:grpSpPr>
            <a:xfrm>
              <a:off x="11513596" y="3429000"/>
              <a:ext cx="620649" cy="529780"/>
              <a:chOff x="11513596" y="3429000"/>
              <a:chExt cx="620649" cy="529780"/>
            </a:xfrm>
          </p:grpSpPr>
          <p:sp>
            <p:nvSpPr>
              <p:cNvPr id="2069" name="Forma livre: Forma 2068">
                <a:extLst>
                  <a:ext uri="{FF2B5EF4-FFF2-40B4-BE49-F238E27FC236}">
                    <a16:creationId xmlns:a16="http://schemas.microsoft.com/office/drawing/2014/main" id="{B0F2CFD5-09DB-141C-EC5A-1B1C772D7798}"/>
                  </a:ext>
                </a:extLst>
              </p:cNvPr>
              <p:cNvSpPr/>
              <p:nvPr/>
            </p:nvSpPr>
            <p:spPr>
              <a:xfrm>
                <a:off x="11823920" y="3429000"/>
                <a:ext cx="9525" cy="50768"/>
              </a:xfrm>
              <a:custGeom>
                <a:avLst/>
                <a:gdLst>
                  <a:gd name="connsiteX0" fmla="*/ 0 w 9525"/>
                  <a:gd name="connsiteY0" fmla="*/ 0 h 50768"/>
                  <a:gd name="connsiteX1" fmla="*/ 0 w 9525"/>
                  <a:gd name="connsiteY1" fmla="*/ 50768 h 507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525" h="50768">
                    <a:moveTo>
                      <a:pt x="0" y="0"/>
                    </a:moveTo>
                    <a:lnTo>
                      <a:pt x="0" y="50768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070" name="Forma livre: Forma 2069">
                <a:extLst>
                  <a:ext uri="{FF2B5EF4-FFF2-40B4-BE49-F238E27FC236}">
                    <a16:creationId xmlns:a16="http://schemas.microsoft.com/office/drawing/2014/main" id="{D9A3285A-6BE8-A89A-8F35-32CDBD81447F}"/>
                  </a:ext>
                </a:extLst>
              </p:cNvPr>
              <p:cNvSpPr/>
              <p:nvPr/>
            </p:nvSpPr>
            <p:spPr>
              <a:xfrm>
                <a:off x="12083572" y="3739324"/>
                <a:ext cx="50672" cy="9525"/>
              </a:xfrm>
              <a:custGeom>
                <a:avLst/>
                <a:gdLst>
                  <a:gd name="connsiteX0" fmla="*/ 50673 w 50672"/>
                  <a:gd name="connsiteY0" fmla="*/ 0 h 9525"/>
                  <a:gd name="connsiteX1" fmla="*/ 0 w 50672"/>
                  <a:gd name="connsiteY1" fmla="*/ 0 h 9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0672" h="9525">
                    <a:moveTo>
                      <a:pt x="50673" y="0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071" name="Forma livre: Forma 2070">
                <a:extLst>
                  <a:ext uri="{FF2B5EF4-FFF2-40B4-BE49-F238E27FC236}">
                    <a16:creationId xmlns:a16="http://schemas.microsoft.com/office/drawing/2014/main" id="{A47F278F-A3CF-0358-4048-44AF762AE28D}"/>
                  </a:ext>
                </a:extLst>
              </p:cNvPr>
              <p:cNvSpPr/>
              <p:nvPr/>
            </p:nvSpPr>
            <p:spPr>
              <a:xfrm>
                <a:off x="11513596" y="3739324"/>
                <a:ext cx="50768" cy="9525"/>
              </a:xfrm>
              <a:custGeom>
                <a:avLst/>
                <a:gdLst>
                  <a:gd name="connsiteX0" fmla="*/ 50768 w 50768"/>
                  <a:gd name="connsiteY0" fmla="*/ 0 h 9525"/>
                  <a:gd name="connsiteX1" fmla="*/ 0 w 50768"/>
                  <a:gd name="connsiteY1" fmla="*/ 0 h 9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0768" h="9525">
                    <a:moveTo>
                      <a:pt x="50768" y="0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072" name="Forma livre: Forma 2071">
                <a:extLst>
                  <a:ext uri="{FF2B5EF4-FFF2-40B4-BE49-F238E27FC236}">
                    <a16:creationId xmlns:a16="http://schemas.microsoft.com/office/drawing/2014/main" id="{4025B721-EE15-7B89-4C46-A7D0CB149BDC}"/>
                  </a:ext>
                </a:extLst>
              </p:cNvPr>
              <p:cNvSpPr/>
              <p:nvPr/>
            </p:nvSpPr>
            <p:spPr>
              <a:xfrm>
                <a:off x="12007467" y="3922871"/>
                <a:ext cx="35909" cy="35909"/>
              </a:xfrm>
              <a:custGeom>
                <a:avLst/>
                <a:gdLst>
                  <a:gd name="connsiteX0" fmla="*/ 35909 w 35909"/>
                  <a:gd name="connsiteY0" fmla="*/ 35909 h 35909"/>
                  <a:gd name="connsiteX1" fmla="*/ 0 w 35909"/>
                  <a:gd name="connsiteY1" fmla="*/ 0 h 359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5909" h="35909">
                    <a:moveTo>
                      <a:pt x="35909" y="35909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073" name="Forma livre: Forma 2072">
                <a:extLst>
                  <a:ext uri="{FF2B5EF4-FFF2-40B4-BE49-F238E27FC236}">
                    <a16:creationId xmlns:a16="http://schemas.microsoft.com/office/drawing/2014/main" id="{3DE92016-1998-3A50-89D7-32350963C40D}"/>
                  </a:ext>
                </a:extLst>
              </p:cNvPr>
              <p:cNvSpPr/>
              <p:nvPr/>
            </p:nvSpPr>
            <p:spPr>
              <a:xfrm>
                <a:off x="11604464" y="3519868"/>
                <a:ext cx="35909" cy="35909"/>
              </a:xfrm>
              <a:custGeom>
                <a:avLst/>
                <a:gdLst>
                  <a:gd name="connsiteX0" fmla="*/ 35909 w 35909"/>
                  <a:gd name="connsiteY0" fmla="*/ 35909 h 35909"/>
                  <a:gd name="connsiteX1" fmla="*/ 0 w 35909"/>
                  <a:gd name="connsiteY1" fmla="*/ 0 h 359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5909" h="35909">
                    <a:moveTo>
                      <a:pt x="35909" y="35909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074" name="Forma livre: Forma 2073">
                <a:extLst>
                  <a:ext uri="{FF2B5EF4-FFF2-40B4-BE49-F238E27FC236}">
                    <a16:creationId xmlns:a16="http://schemas.microsoft.com/office/drawing/2014/main" id="{A1CB4CC0-107C-067E-150A-F6EFC2AA81E0}"/>
                  </a:ext>
                </a:extLst>
              </p:cNvPr>
              <p:cNvSpPr/>
              <p:nvPr/>
            </p:nvSpPr>
            <p:spPr>
              <a:xfrm>
                <a:off x="11604464" y="3922871"/>
                <a:ext cx="35909" cy="35909"/>
              </a:xfrm>
              <a:custGeom>
                <a:avLst/>
                <a:gdLst>
                  <a:gd name="connsiteX0" fmla="*/ 0 w 35909"/>
                  <a:gd name="connsiteY0" fmla="*/ 35909 h 35909"/>
                  <a:gd name="connsiteX1" fmla="*/ 35909 w 35909"/>
                  <a:gd name="connsiteY1" fmla="*/ 0 h 359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5909" h="35909">
                    <a:moveTo>
                      <a:pt x="0" y="35909"/>
                    </a:moveTo>
                    <a:lnTo>
                      <a:pt x="35909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075" name="Forma livre: Forma 2074">
                <a:extLst>
                  <a:ext uri="{FF2B5EF4-FFF2-40B4-BE49-F238E27FC236}">
                    <a16:creationId xmlns:a16="http://schemas.microsoft.com/office/drawing/2014/main" id="{193D2484-CD70-32C7-34E1-DAB4C8BF0042}"/>
                  </a:ext>
                </a:extLst>
              </p:cNvPr>
              <p:cNvSpPr/>
              <p:nvPr/>
            </p:nvSpPr>
            <p:spPr>
              <a:xfrm>
                <a:off x="12007562" y="3519868"/>
                <a:ext cx="35813" cy="35909"/>
              </a:xfrm>
              <a:custGeom>
                <a:avLst/>
                <a:gdLst>
                  <a:gd name="connsiteX0" fmla="*/ 0 w 35813"/>
                  <a:gd name="connsiteY0" fmla="*/ 35909 h 35909"/>
                  <a:gd name="connsiteX1" fmla="*/ 35814 w 35813"/>
                  <a:gd name="connsiteY1" fmla="*/ 0 h 359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5813" h="35909">
                    <a:moveTo>
                      <a:pt x="0" y="35909"/>
                    </a:moveTo>
                    <a:lnTo>
                      <a:pt x="35814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076" name="Forma livre: Forma 2075">
                <a:extLst>
                  <a:ext uri="{FF2B5EF4-FFF2-40B4-BE49-F238E27FC236}">
                    <a16:creationId xmlns:a16="http://schemas.microsoft.com/office/drawing/2014/main" id="{5CAC794A-379C-CBBA-E20F-1123A72EDE04}"/>
                  </a:ext>
                </a:extLst>
              </p:cNvPr>
              <p:cNvSpPr/>
              <p:nvPr/>
            </p:nvSpPr>
            <p:spPr>
              <a:xfrm>
                <a:off x="11604464" y="3922871"/>
                <a:ext cx="35909" cy="35909"/>
              </a:xfrm>
              <a:custGeom>
                <a:avLst/>
                <a:gdLst>
                  <a:gd name="connsiteX0" fmla="*/ 0 w 35909"/>
                  <a:gd name="connsiteY0" fmla="*/ 35909 h 35909"/>
                  <a:gd name="connsiteX1" fmla="*/ 35909 w 35909"/>
                  <a:gd name="connsiteY1" fmla="*/ 0 h 359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5909" h="35909">
                    <a:moveTo>
                      <a:pt x="0" y="35909"/>
                    </a:moveTo>
                    <a:lnTo>
                      <a:pt x="35909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077" name="Forma livre: Forma 2076">
                <a:extLst>
                  <a:ext uri="{FF2B5EF4-FFF2-40B4-BE49-F238E27FC236}">
                    <a16:creationId xmlns:a16="http://schemas.microsoft.com/office/drawing/2014/main" id="{EB48FBB5-52A0-98BC-BD61-71A4B72ABD49}"/>
                  </a:ext>
                </a:extLst>
              </p:cNvPr>
              <p:cNvSpPr/>
              <p:nvPr/>
            </p:nvSpPr>
            <p:spPr>
              <a:xfrm>
                <a:off x="12007562" y="3519868"/>
                <a:ext cx="35813" cy="35909"/>
              </a:xfrm>
              <a:custGeom>
                <a:avLst/>
                <a:gdLst>
                  <a:gd name="connsiteX0" fmla="*/ 0 w 35813"/>
                  <a:gd name="connsiteY0" fmla="*/ 35909 h 35909"/>
                  <a:gd name="connsiteX1" fmla="*/ 35814 w 35813"/>
                  <a:gd name="connsiteY1" fmla="*/ 0 h 359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5813" h="35909">
                    <a:moveTo>
                      <a:pt x="0" y="35909"/>
                    </a:moveTo>
                    <a:lnTo>
                      <a:pt x="35814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078" name="Forma livre: Forma 2077">
                <a:extLst>
                  <a:ext uri="{FF2B5EF4-FFF2-40B4-BE49-F238E27FC236}">
                    <a16:creationId xmlns:a16="http://schemas.microsoft.com/office/drawing/2014/main" id="{A161FF9B-8F3B-D146-2350-563C5ED61ED8}"/>
                  </a:ext>
                </a:extLst>
              </p:cNvPr>
              <p:cNvSpPr/>
              <p:nvPr/>
            </p:nvSpPr>
            <p:spPr>
              <a:xfrm>
                <a:off x="11925457" y="3453669"/>
                <a:ext cx="19811" cy="46767"/>
              </a:xfrm>
              <a:custGeom>
                <a:avLst/>
                <a:gdLst>
                  <a:gd name="connsiteX0" fmla="*/ 0 w 19811"/>
                  <a:gd name="connsiteY0" fmla="*/ 46768 h 46767"/>
                  <a:gd name="connsiteX1" fmla="*/ 19812 w 19811"/>
                  <a:gd name="connsiteY1" fmla="*/ 0 h 467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9811" h="46767">
                    <a:moveTo>
                      <a:pt x="0" y="46768"/>
                    </a:moveTo>
                    <a:lnTo>
                      <a:pt x="19812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079" name="Forma livre: Forma 2078">
                <a:extLst>
                  <a:ext uri="{FF2B5EF4-FFF2-40B4-BE49-F238E27FC236}">
                    <a16:creationId xmlns:a16="http://schemas.microsoft.com/office/drawing/2014/main" id="{CD00324A-1460-AD4F-7AA2-004481A4B11B}"/>
                  </a:ext>
                </a:extLst>
              </p:cNvPr>
              <p:cNvSpPr/>
              <p:nvPr/>
            </p:nvSpPr>
            <p:spPr>
              <a:xfrm>
                <a:off x="11536170" y="3836574"/>
                <a:ext cx="47053" cy="18954"/>
              </a:xfrm>
              <a:custGeom>
                <a:avLst/>
                <a:gdLst>
                  <a:gd name="connsiteX0" fmla="*/ 0 w 47053"/>
                  <a:gd name="connsiteY0" fmla="*/ 18955 h 18954"/>
                  <a:gd name="connsiteX1" fmla="*/ 47054 w 47053"/>
                  <a:gd name="connsiteY1" fmla="*/ 0 h 189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053" h="18954">
                    <a:moveTo>
                      <a:pt x="0" y="18955"/>
                    </a:moveTo>
                    <a:lnTo>
                      <a:pt x="47054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080" name="Forma livre: Forma 2079">
                <a:extLst>
                  <a:ext uri="{FF2B5EF4-FFF2-40B4-BE49-F238E27FC236}">
                    <a16:creationId xmlns:a16="http://schemas.microsoft.com/office/drawing/2014/main" id="{DBB98E65-701C-6BBB-17D7-B74E58C4A78B}"/>
                  </a:ext>
                </a:extLst>
              </p:cNvPr>
              <p:cNvSpPr/>
              <p:nvPr/>
            </p:nvSpPr>
            <p:spPr>
              <a:xfrm>
                <a:off x="12064712" y="3623119"/>
                <a:ext cx="46958" cy="19050"/>
              </a:xfrm>
              <a:custGeom>
                <a:avLst/>
                <a:gdLst>
                  <a:gd name="connsiteX0" fmla="*/ 0 w 46958"/>
                  <a:gd name="connsiteY0" fmla="*/ 19050 h 19050"/>
                  <a:gd name="connsiteX1" fmla="*/ 46958 w 46958"/>
                  <a:gd name="connsiteY1" fmla="*/ 0 h 19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6958" h="19050">
                    <a:moveTo>
                      <a:pt x="0" y="19050"/>
                    </a:moveTo>
                    <a:lnTo>
                      <a:pt x="46958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081" name="Forma livre: Forma 2080">
                <a:extLst>
                  <a:ext uri="{FF2B5EF4-FFF2-40B4-BE49-F238E27FC236}">
                    <a16:creationId xmlns:a16="http://schemas.microsoft.com/office/drawing/2014/main" id="{5CC506A9-DFE8-FFB9-1350-00F8BD26CD89}"/>
                  </a:ext>
                </a:extLst>
              </p:cNvPr>
              <p:cNvSpPr/>
              <p:nvPr/>
            </p:nvSpPr>
            <p:spPr>
              <a:xfrm>
                <a:off x="11538265" y="3618071"/>
                <a:ext cx="46767" cy="19811"/>
              </a:xfrm>
              <a:custGeom>
                <a:avLst/>
                <a:gdLst>
                  <a:gd name="connsiteX0" fmla="*/ 0 w 46767"/>
                  <a:gd name="connsiteY0" fmla="*/ 0 h 19811"/>
                  <a:gd name="connsiteX1" fmla="*/ 46768 w 46767"/>
                  <a:gd name="connsiteY1" fmla="*/ 19812 h 198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6767" h="19811">
                    <a:moveTo>
                      <a:pt x="0" y="0"/>
                    </a:moveTo>
                    <a:lnTo>
                      <a:pt x="46768" y="19812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082" name="Forma livre: Forma 2081">
                <a:extLst>
                  <a:ext uri="{FF2B5EF4-FFF2-40B4-BE49-F238E27FC236}">
                    <a16:creationId xmlns:a16="http://schemas.microsoft.com/office/drawing/2014/main" id="{9A08F7C9-727B-0CDA-BD8A-DA0064E3811C}"/>
                  </a:ext>
                </a:extLst>
              </p:cNvPr>
              <p:cNvSpPr/>
              <p:nvPr/>
            </p:nvSpPr>
            <p:spPr>
              <a:xfrm>
                <a:off x="12062902" y="3840861"/>
                <a:ext cx="46767" cy="19811"/>
              </a:xfrm>
              <a:custGeom>
                <a:avLst/>
                <a:gdLst>
                  <a:gd name="connsiteX0" fmla="*/ 0 w 46767"/>
                  <a:gd name="connsiteY0" fmla="*/ 0 h 19811"/>
                  <a:gd name="connsiteX1" fmla="*/ 46768 w 46767"/>
                  <a:gd name="connsiteY1" fmla="*/ 19812 h 198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6767" h="19811">
                    <a:moveTo>
                      <a:pt x="0" y="0"/>
                    </a:moveTo>
                    <a:lnTo>
                      <a:pt x="46768" y="19812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083" name="Forma livre: Forma 2082">
                <a:extLst>
                  <a:ext uri="{FF2B5EF4-FFF2-40B4-BE49-F238E27FC236}">
                    <a16:creationId xmlns:a16="http://schemas.microsoft.com/office/drawing/2014/main" id="{F5AA4182-3987-6F8A-6433-7F06515DBB28}"/>
                  </a:ext>
                </a:extLst>
              </p:cNvPr>
              <p:cNvSpPr/>
              <p:nvPr/>
            </p:nvSpPr>
            <p:spPr>
              <a:xfrm>
                <a:off x="11707715" y="3451574"/>
                <a:ext cx="19050" cy="47053"/>
              </a:xfrm>
              <a:custGeom>
                <a:avLst/>
                <a:gdLst>
                  <a:gd name="connsiteX0" fmla="*/ 0 w 19050"/>
                  <a:gd name="connsiteY0" fmla="*/ 0 h 47053"/>
                  <a:gd name="connsiteX1" fmla="*/ 19050 w 19050"/>
                  <a:gd name="connsiteY1" fmla="*/ 47054 h 470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9050" h="47053">
                    <a:moveTo>
                      <a:pt x="0" y="0"/>
                    </a:moveTo>
                    <a:lnTo>
                      <a:pt x="19050" y="47054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2084" name="Forma livre: Forma 2083">
              <a:extLst>
                <a:ext uri="{FF2B5EF4-FFF2-40B4-BE49-F238E27FC236}">
                  <a16:creationId xmlns:a16="http://schemas.microsoft.com/office/drawing/2014/main" id="{1A47E206-0272-98FE-05DD-711AF00926CD}"/>
                </a:ext>
              </a:extLst>
            </p:cNvPr>
            <p:cNvSpPr/>
            <p:nvPr/>
          </p:nvSpPr>
          <p:spPr>
            <a:xfrm>
              <a:off x="11850590" y="3697795"/>
              <a:ext cx="17144" cy="17145"/>
            </a:xfrm>
            <a:custGeom>
              <a:avLst/>
              <a:gdLst>
                <a:gd name="connsiteX0" fmla="*/ 17145 w 17144"/>
                <a:gd name="connsiteY0" fmla="*/ 8573 h 17145"/>
                <a:gd name="connsiteX1" fmla="*/ 8572 w 17144"/>
                <a:gd name="connsiteY1" fmla="*/ 17145 h 17145"/>
                <a:gd name="connsiteX2" fmla="*/ 0 w 17144"/>
                <a:gd name="connsiteY2" fmla="*/ 8573 h 17145"/>
                <a:gd name="connsiteX3" fmla="*/ 8572 w 17144"/>
                <a:gd name="connsiteY3" fmla="*/ 0 h 17145"/>
                <a:gd name="connsiteX4" fmla="*/ 17145 w 17144"/>
                <a:gd name="connsiteY4" fmla="*/ 8573 h 171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144" h="17145">
                  <a:moveTo>
                    <a:pt x="17145" y="8573"/>
                  </a:moveTo>
                  <a:cubicBezTo>
                    <a:pt x="17145" y="13335"/>
                    <a:pt x="13335" y="17145"/>
                    <a:pt x="8572" y="17145"/>
                  </a:cubicBezTo>
                  <a:cubicBezTo>
                    <a:pt x="3810" y="17145"/>
                    <a:pt x="0" y="13335"/>
                    <a:pt x="0" y="8573"/>
                  </a:cubicBezTo>
                  <a:cubicBezTo>
                    <a:pt x="0" y="3810"/>
                    <a:pt x="3905" y="0"/>
                    <a:pt x="8572" y="0"/>
                  </a:cubicBezTo>
                  <a:cubicBezTo>
                    <a:pt x="13240" y="0"/>
                    <a:pt x="17145" y="3810"/>
                    <a:pt x="17145" y="8573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2095" name="Agrupar 2094">
            <a:extLst>
              <a:ext uri="{FF2B5EF4-FFF2-40B4-BE49-F238E27FC236}">
                <a16:creationId xmlns:a16="http://schemas.microsoft.com/office/drawing/2014/main" id="{B7AE9B89-6AC5-DEB1-247D-F720082FCBA4}"/>
              </a:ext>
            </a:extLst>
          </p:cNvPr>
          <p:cNvGrpSpPr/>
          <p:nvPr/>
        </p:nvGrpSpPr>
        <p:grpSpPr>
          <a:xfrm>
            <a:off x="9469318" y="4174330"/>
            <a:ext cx="253739" cy="309564"/>
            <a:chOff x="8833008" y="3820001"/>
            <a:chExt cx="497871" cy="607408"/>
          </a:xfrm>
        </p:grpSpPr>
        <p:sp>
          <p:nvSpPr>
            <p:cNvPr id="2089" name="Forma livre: Forma 2088">
              <a:extLst>
                <a:ext uri="{FF2B5EF4-FFF2-40B4-BE49-F238E27FC236}">
                  <a16:creationId xmlns:a16="http://schemas.microsoft.com/office/drawing/2014/main" id="{96B5F2A0-4BFE-EF80-029D-51529FC9DD2C}"/>
                </a:ext>
              </a:extLst>
            </p:cNvPr>
            <p:cNvSpPr/>
            <p:nvPr/>
          </p:nvSpPr>
          <p:spPr>
            <a:xfrm>
              <a:off x="8987122" y="3820001"/>
              <a:ext cx="189547" cy="126110"/>
            </a:xfrm>
            <a:custGeom>
              <a:avLst/>
              <a:gdLst>
                <a:gd name="connsiteX0" fmla="*/ 0 w 189547"/>
                <a:gd name="connsiteY0" fmla="*/ 126111 h 126110"/>
                <a:gd name="connsiteX1" fmla="*/ 0 w 189547"/>
                <a:gd name="connsiteY1" fmla="*/ 95250 h 126110"/>
                <a:gd name="connsiteX2" fmla="*/ 94774 w 189547"/>
                <a:gd name="connsiteY2" fmla="*/ 0 h 126110"/>
                <a:gd name="connsiteX3" fmla="*/ 189548 w 189547"/>
                <a:gd name="connsiteY3" fmla="*/ 95250 h 126110"/>
                <a:gd name="connsiteX4" fmla="*/ 189548 w 189547"/>
                <a:gd name="connsiteY4" fmla="*/ 126111 h 1261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9547" h="126110">
                  <a:moveTo>
                    <a:pt x="0" y="126111"/>
                  </a:moveTo>
                  <a:lnTo>
                    <a:pt x="0" y="95250"/>
                  </a:lnTo>
                  <a:cubicBezTo>
                    <a:pt x="0" y="42863"/>
                    <a:pt x="42672" y="0"/>
                    <a:pt x="94774" y="0"/>
                  </a:cubicBezTo>
                  <a:cubicBezTo>
                    <a:pt x="146875" y="0"/>
                    <a:pt x="189548" y="42863"/>
                    <a:pt x="189548" y="95250"/>
                  </a:cubicBezTo>
                  <a:lnTo>
                    <a:pt x="189548" y="126111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90" name="Forma livre: Forma 2089">
              <a:extLst>
                <a:ext uri="{FF2B5EF4-FFF2-40B4-BE49-F238E27FC236}">
                  <a16:creationId xmlns:a16="http://schemas.microsoft.com/office/drawing/2014/main" id="{4FB3BC20-72E4-ABDE-4DFF-D9A1A4C22390}"/>
                </a:ext>
              </a:extLst>
            </p:cNvPr>
            <p:cNvSpPr/>
            <p:nvPr/>
          </p:nvSpPr>
          <p:spPr>
            <a:xfrm>
              <a:off x="8833008" y="3975544"/>
              <a:ext cx="497871" cy="451865"/>
            </a:xfrm>
            <a:custGeom>
              <a:avLst/>
              <a:gdLst>
                <a:gd name="connsiteX0" fmla="*/ 476060 w 497871"/>
                <a:gd name="connsiteY0" fmla="*/ 0 h 451865"/>
                <a:gd name="connsiteX1" fmla="*/ 21812 w 497871"/>
                <a:gd name="connsiteY1" fmla="*/ 0 h 451865"/>
                <a:gd name="connsiteX2" fmla="*/ 0 w 497871"/>
                <a:gd name="connsiteY2" fmla="*/ 451866 h 451865"/>
                <a:gd name="connsiteX3" fmla="*/ 497872 w 497871"/>
                <a:gd name="connsiteY3" fmla="*/ 451866 h 451865"/>
                <a:gd name="connsiteX4" fmla="*/ 476060 w 497871"/>
                <a:gd name="connsiteY4" fmla="*/ 0 h 451865"/>
                <a:gd name="connsiteX5" fmla="*/ 476060 w 497871"/>
                <a:gd name="connsiteY5" fmla="*/ 0 h 4518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97871" h="451865">
                  <a:moveTo>
                    <a:pt x="476060" y="0"/>
                  </a:moveTo>
                  <a:lnTo>
                    <a:pt x="21812" y="0"/>
                  </a:lnTo>
                  <a:lnTo>
                    <a:pt x="0" y="451866"/>
                  </a:lnTo>
                  <a:lnTo>
                    <a:pt x="497872" y="451866"/>
                  </a:lnTo>
                  <a:lnTo>
                    <a:pt x="476060" y="0"/>
                  </a:lnTo>
                  <a:lnTo>
                    <a:pt x="476060" y="0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91" name="Forma livre: Forma 2090">
              <a:extLst>
                <a:ext uri="{FF2B5EF4-FFF2-40B4-BE49-F238E27FC236}">
                  <a16:creationId xmlns:a16="http://schemas.microsoft.com/office/drawing/2014/main" id="{D617B0B4-5325-F1A7-89F5-87E846F2DBC7}"/>
                </a:ext>
              </a:extLst>
            </p:cNvPr>
            <p:cNvSpPr/>
            <p:nvPr/>
          </p:nvSpPr>
          <p:spPr>
            <a:xfrm>
              <a:off x="8968152" y="4133501"/>
              <a:ext cx="227582" cy="200659"/>
            </a:xfrm>
            <a:custGeom>
              <a:avLst/>
              <a:gdLst>
                <a:gd name="connsiteX0" fmla="*/ 210041 w 227582"/>
                <a:gd name="connsiteY0" fmla="*/ 102075 h 200659"/>
                <a:gd name="connsiteX1" fmla="*/ 210899 w 227582"/>
                <a:gd name="connsiteY1" fmla="*/ 17112 h 200659"/>
                <a:gd name="connsiteX2" fmla="*/ 128031 w 227582"/>
                <a:gd name="connsiteY2" fmla="*/ 17970 h 200659"/>
                <a:gd name="connsiteX3" fmla="*/ 113744 w 227582"/>
                <a:gd name="connsiteY3" fmla="*/ 32448 h 200659"/>
                <a:gd name="connsiteX4" fmla="*/ 99551 w 227582"/>
                <a:gd name="connsiteY4" fmla="*/ 17970 h 200659"/>
                <a:gd name="connsiteX5" fmla="*/ 16684 w 227582"/>
                <a:gd name="connsiteY5" fmla="*/ 17112 h 200659"/>
                <a:gd name="connsiteX6" fmla="*/ 17541 w 227582"/>
                <a:gd name="connsiteY6" fmla="*/ 102075 h 200659"/>
                <a:gd name="connsiteX7" fmla="*/ 113839 w 227582"/>
                <a:gd name="connsiteY7" fmla="*/ 200659 h 200659"/>
                <a:gd name="connsiteX8" fmla="*/ 210137 w 227582"/>
                <a:gd name="connsiteY8" fmla="*/ 102075 h 2006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27582" h="200659">
                  <a:moveTo>
                    <a:pt x="210041" y="102075"/>
                  </a:moveTo>
                  <a:cubicBezTo>
                    <a:pt x="233092" y="78453"/>
                    <a:pt x="233473" y="40163"/>
                    <a:pt x="210899" y="17112"/>
                  </a:cubicBezTo>
                  <a:cubicBezTo>
                    <a:pt x="188324" y="-6033"/>
                    <a:pt x="150986" y="-5652"/>
                    <a:pt x="128031" y="17970"/>
                  </a:cubicBezTo>
                  <a:lnTo>
                    <a:pt x="113744" y="32448"/>
                  </a:lnTo>
                  <a:lnTo>
                    <a:pt x="99551" y="17970"/>
                  </a:lnTo>
                  <a:cubicBezTo>
                    <a:pt x="76501" y="-5652"/>
                    <a:pt x="39258" y="-6033"/>
                    <a:pt x="16684" y="17112"/>
                  </a:cubicBezTo>
                  <a:cubicBezTo>
                    <a:pt x="-5890" y="40258"/>
                    <a:pt x="-5509" y="78549"/>
                    <a:pt x="17541" y="102075"/>
                  </a:cubicBezTo>
                  <a:lnTo>
                    <a:pt x="113839" y="200659"/>
                  </a:lnTo>
                  <a:lnTo>
                    <a:pt x="210137" y="102075"/>
                  </a:ln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2092" name="Gráfico 2086">
              <a:extLst>
                <a:ext uri="{FF2B5EF4-FFF2-40B4-BE49-F238E27FC236}">
                  <a16:creationId xmlns:a16="http://schemas.microsoft.com/office/drawing/2014/main" id="{678852D8-E142-403D-66C9-C20E85131513}"/>
                </a:ext>
              </a:extLst>
            </p:cNvPr>
            <p:cNvGrpSpPr/>
            <p:nvPr/>
          </p:nvGrpSpPr>
          <p:grpSpPr>
            <a:xfrm>
              <a:off x="8979217" y="4048601"/>
              <a:ext cx="205358" cy="14858"/>
              <a:chOff x="8979217" y="4048601"/>
              <a:chExt cx="205358" cy="14858"/>
            </a:xfrm>
            <a:solidFill>
              <a:srgbClr val="394553"/>
            </a:solidFill>
          </p:grpSpPr>
          <p:sp>
            <p:nvSpPr>
              <p:cNvPr id="2093" name="Forma livre: Forma 2092">
                <a:extLst>
                  <a:ext uri="{FF2B5EF4-FFF2-40B4-BE49-F238E27FC236}">
                    <a16:creationId xmlns:a16="http://schemas.microsoft.com/office/drawing/2014/main" id="{D19E22DB-DF86-6D0A-9928-3FC8D0EBB088}"/>
                  </a:ext>
                </a:extLst>
              </p:cNvPr>
              <p:cNvSpPr/>
              <p:nvPr/>
            </p:nvSpPr>
            <p:spPr>
              <a:xfrm>
                <a:off x="8979217" y="4048601"/>
                <a:ext cx="14858" cy="14858"/>
              </a:xfrm>
              <a:custGeom>
                <a:avLst/>
                <a:gdLst>
                  <a:gd name="connsiteX0" fmla="*/ 14859 w 14858"/>
                  <a:gd name="connsiteY0" fmla="*/ 7430 h 14858"/>
                  <a:gd name="connsiteX1" fmla="*/ 7429 w 14858"/>
                  <a:gd name="connsiteY1" fmla="*/ 14859 h 14858"/>
                  <a:gd name="connsiteX2" fmla="*/ 0 w 14858"/>
                  <a:gd name="connsiteY2" fmla="*/ 7430 h 14858"/>
                  <a:gd name="connsiteX3" fmla="*/ 7429 w 14858"/>
                  <a:gd name="connsiteY3" fmla="*/ 0 h 14858"/>
                  <a:gd name="connsiteX4" fmla="*/ 14859 w 14858"/>
                  <a:gd name="connsiteY4" fmla="*/ 7430 h 148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4858" h="14858">
                    <a:moveTo>
                      <a:pt x="14859" y="7430"/>
                    </a:moveTo>
                    <a:cubicBezTo>
                      <a:pt x="14859" y="11525"/>
                      <a:pt x="11525" y="14859"/>
                      <a:pt x="7429" y="14859"/>
                    </a:cubicBezTo>
                    <a:cubicBezTo>
                      <a:pt x="3334" y="14859"/>
                      <a:pt x="0" y="11525"/>
                      <a:pt x="0" y="7430"/>
                    </a:cubicBezTo>
                    <a:cubicBezTo>
                      <a:pt x="0" y="3334"/>
                      <a:pt x="3334" y="0"/>
                      <a:pt x="7429" y="0"/>
                    </a:cubicBezTo>
                    <a:cubicBezTo>
                      <a:pt x="11525" y="0"/>
                      <a:pt x="14859" y="3334"/>
                      <a:pt x="14859" y="7430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094" name="Forma livre: Forma 2093">
                <a:extLst>
                  <a:ext uri="{FF2B5EF4-FFF2-40B4-BE49-F238E27FC236}">
                    <a16:creationId xmlns:a16="http://schemas.microsoft.com/office/drawing/2014/main" id="{EDC8DFD3-D53D-AB4A-F0D3-F440FCA3D964}"/>
                  </a:ext>
                </a:extLst>
              </p:cNvPr>
              <p:cNvSpPr/>
              <p:nvPr/>
            </p:nvSpPr>
            <p:spPr>
              <a:xfrm>
                <a:off x="9169716" y="4048601"/>
                <a:ext cx="14859" cy="14858"/>
              </a:xfrm>
              <a:custGeom>
                <a:avLst/>
                <a:gdLst>
                  <a:gd name="connsiteX0" fmla="*/ 14859 w 14859"/>
                  <a:gd name="connsiteY0" fmla="*/ 7430 h 14858"/>
                  <a:gd name="connsiteX1" fmla="*/ 7430 w 14859"/>
                  <a:gd name="connsiteY1" fmla="*/ 14859 h 14858"/>
                  <a:gd name="connsiteX2" fmla="*/ 0 w 14859"/>
                  <a:gd name="connsiteY2" fmla="*/ 7430 h 14858"/>
                  <a:gd name="connsiteX3" fmla="*/ 7430 w 14859"/>
                  <a:gd name="connsiteY3" fmla="*/ 0 h 14858"/>
                  <a:gd name="connsiteX4" fmla="*/ 14859 w 14859"/>
                  <a:gd name="connsiteY4" fmla="*/ 7430 h 148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4859" h="14858">
                    <a:moveTo>
                      <a:pt x="14859" y="7430"/>
                    </a:moveTo>
                    <a:cubicBezTo>
                      <a:pt x="14859" y="11525"/>
                      <a:pt x="11525" y="14859"/>
                      <a:pt x="7430" y="14859"/>
                    </a:cubicBezTo>
                    <a:cubicBezTo>
                      <a:pt x="3334" y="14859"/>
                      <a:pt x="0" y="11525"/>
                      <a:pt x="0" y="7430"/>
                    </a:cubicBezTo>
                    <a:cubicBezTo>
                      <a:pt x="0" y="3334"/>
                      <a:pt x="3334" y="0"/>
                      <a:pt x="7430" y="0"/>
                    </a:cubicBezTo>
                    <a:cubicBezTo>
                      <a:pt x="11525" y="0"/>
                      <a:pt x="14859" y="3334"/>
                      <a:pt x="14859" y="7430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2108" name="Agrupar 2107">
            <a:extLst>
              <a:ext uri="{FF2B5EF4-FFF2-40B4-BE49-F238E27FC236}">
                <a16:creationId xmlns:a16="http://schemas.microsoft.com/office/drawing/2014/main" id="{23EACB95-390D-B6BC-BBE3-DC1443B07509}"/>
              </a:ext>
            </a:extLst>
          </p:cNvPr>
          <p:cNvGrpSpPr/>
          <p:nvPr/>
        </p:nvGrpSpPr>
        <p:grpSpPr>
          <a:xfrm>
            <a:off x="9978100" y="5848486"/>
            <a:ext cx="299023" cy="283272"/>
            <a:chOff x="9779252" y="6036468"/>
            <a:chExt cx="593121" cy="561879"/>
          </a:xfrm>
        </p:grpSpPr>
        <p:sp>
          <p:nvSpPr>
            <p:cNvPr id="2099" name="Forma livre: Forma 2098">
              <a:extLst>
                <a:ext uri="{FF2B5EF4-FFF2-40B4-BE49-F238E27FC236}">
                  <a16:creationId xmlns:a16="http://schemas.microsoft.com/office/drawing/2014/main" id="{AE5D014C-153A-5990-C60A-EA9B4CDFD0AF}"/>
                </a:ext>
              </a:extLst>
            </p:cNvPr>
            <p:cNvSpPr/>
            <p:nvPr/>
          </p:nvSpPr>
          <p:spPr>
            <a:xfrm>
              <a:off x="9857643" y="6036468"/>
              <a:ext cx="317277" cy="119634"/>
            </a:xfrm>
            <a:custGeom>
              <a:avLst/>
              <a:gdLst>
                <a:gd name="connsiteX0" fmla="*/ 317278 w 317277"/>
                <a:gd name="connsiteY0" fmla="*/ 0 h 119634"/>
                <a:gd name="connsiteX1" fmla="*/ 0 w 317277"/>
                <a:gd name="connsiteY1" fmla="*/ 119634 h 1196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17277" h="119634">
                  <a:moveTo>
                    <a:pt x="317278" y="0"/>
                  </a:moveTo>
                  <a:lnTo>
                    <a:pt x="0" y="119634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00" name="Forma livre: Forma 2099">
              <a:extLst>
                <a:ext uri="{FF2B5EF4-FFF2-40B4-BE49-F238E27FC236}">
                  <a16:creationId xmlns:a16="http://schemas.microsoft.com/office/drawing/2014/main" id="{0EE1C4B2-0C3F-1396-8BAF-2BA11E48C6E1}"/>
                </a:ext>
              </a:extLst>
            </p:cNvPr>
            <p:cNvSpPr/>
            <p:nvPr/>
          </p:nvSpPr>
          <p:spPr>
            <a:xfrm>
              <a:off x="9779252" y="6199726"/>
              <a:ext cx="593121" cy="398621"/>
            </a:xfrm>
            <a:custGeom>
              <a:avLst/>
              <a:gdLst>
                <a:gd name="connsiteX0" fmla="*/ 545497 w 593121"/>
                <a:gd name="connsiteY0" fmla="*/ 0 h 398621"/>
                <a:gd name="connsiteX1" fmla="*/ 47625 w 593121"/>
                <a:gd name="connsiteY1" fmla="*/ 0 h 398621"/>
                <a:gd name="connsiteX2" fmla="*/ 0 w 593121"/>
                <a:gd name="connsiteY2" fmla="*/ 47625 h 398621"/>
                <a:gd name="connsiteX3" fmla="*/ 0 w 593121"/>
                <a:gd name="connsiteY3" fmla="*/ 350996 h 398621"/>
                <a:gd name="connsiteX4" fmla="*/ 47625 w 593121"/>
                <a:gd name="connsiteY4" fmla="*/ 398621 h 398621"/>
                <a:gd name="connsiteX5" fmla="*/ 545497 w 593121"/>
                <a:gd name="connsiteY5" fmla="*/ 398621 h 398621"/>
                <a:gd name="connsiteX6" fmla="*/ 593122 w 593121"/>
                <a:gd name="connsiteY6" fmla="*/ 350996 h 398621"/>
                <a:gd name="connsiteX7" fmla="*/ 593122 w 593121"/>
                <a:gd name="connsiteY7" fmla="*/ 47625 h 398621"/>
                <a:gd name="connsiteX8" fmla="*/ 545497 w 593121"/>
                <a:gd name="connsiteY8" fmla="*/ 0 h 398621"/>
                <a:gd name="connsiteX9" fmla="*/ 545497 w 593121"/>
                <a:gd name="connsiteY9" fmla="*/ 0 h 3986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93121" h="398621">
                  <a:moveTo>
                    <a:pt x="545497" y="0"/>
                  </a:moveTo>
                  <a:lnTo>
                    <a:pt x="47625" y="0"/>
                  </a:lnTo>
                  <a:cubicBezTo>
                    <a:pt x="21431" y="0"/>
                    <a:pt x="0" y="21431"/>
                    <a:pt x="0" y="47625"/>
                  </a:cubicBezTo>
                  <a:lnTo>
                    <a:pt x="0" y="350996"/>
                  </a:lnTo>
                  <a:cubicBezTo>
                    <a:pt x="0" y="377190"/>
                    <a:pt x="21431" y="398621"/>
                    <a:pt x="47625" y="398621"/>
                  </a:cubicBezTo>
                  <a:lnTo>
                    <a:pt x="545497" y="398621"/>
                  </a:lnTo>
                  <a:cubicBezTo>
                    <a:pt x="571691" y="398621"/>
                    <a:pt x="593122" y="377190"/>
                    <a:pt x="593122" y="350996"/>
                  </a:cubicBezTo>
                  <a:lnTo>
                    <a:pt x="593122" y="47625"/>
                  </a:lnTo>
                  <a:cubicBezTo>
                    <a:pt x="593122" y="21431"/>
                    <a:pt x="571691" y="0"/>
                    <a:pt x="545497" y="0"/>
                  </a:cubicBezTo>
                  <a:lnTo>
                    <a:pt x="545497" y="0"/>
                  </a:ln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01" name="Forma livre: Forma 2100">
              <a:extLst>
                <a:ext uri="{FF2B5EF4-FFF2-40B4-BE49-F238E27FC236}">
                  <a16:creationId xmlns:a16="http://schemas.microsoft.com/office/drawing/2014/main" id="{72314CE1-51F1-0D0C-7A89-62A1A5AF747B}"/>
                </a:ext>
              </a:extLst>
            </p:cNvPr>
            <p:cNvSpPr/>
            <p:nvPr/>
          </p:nvSpPr>
          <p:spPr>
            <a:xfrm>
              <a:off x="10189970" y="6268211"/>
              <a:ext cx="9525" cy="51149"/>
            </a:xfrm>
            <a:custGeom>
              <a:avLst/>
              <a:gdLst>
                <a:gd name="connsiteX0" fmla="*/ 0 w 9525"/>
                <a:gd name="connsiteY0" fmla="*/ 0 h 51149"/>
                <a:gd name="connsiteX1" fmla="*/ 0 w 9525"/>
                <a:gd name="connsiteY1" fmla="*/ 51149 h 511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51149">
                  <a:moveTo>
                    <a:pt x="0" y="0"/>
                  </a:moveTo>
                  <a:lnTo>
                    <a:pt x="0" y="51149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02" name="Forma livre: Forma 2101">
              <a:extLst>
                <a:ext uri="{FF2B5EF4-FFF2-40B4-BE49-F238E27FC236}">
                  <a16:creationId xmlns:a16="http://schemas.microsoft.com/office/drawing/2014/main" id="{D0D1478F-56CF-7522-8B4A-0A6C4DAE840E}"/>
                </a:ext>
              </a:extLst>
            </p:cNvPr>
            <p:cNvSpPr/>
            <p:nvPr/>
          </p:nvSpPr>
          <p:spPr>
            <a:xfrm>
              <a:off x="9801445" y="6321646"/>
              <a:ext cx="553783" cy="9525"/>
            </a:xfrm>
            <a:custGeom>
              <a:avLst/>
              <a:gdLst>
                <a:gd name="connsiteX0" fmla="*/ 553784 w 553783"/>
                <a:gd name="connsiteY0" fmla="*/ 0 h 9525"/>
                <a:gd name="connsiteX1" fmla="*/ 0 w 553783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53783" h="9525">
                  <a:moveTo>
                    <a:pt x="553784" y="0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03" name="Forma livre: Forma 2102">
              <a:extLst>
                <a:ext uri="{FF2B5EF4-FFF2-40B4-BE49-F238E27FC236}">
                  <a16:creationId xmlns:a16="http://schemas.microsoft.com/office/drawing/2014/main" id="{9C8DBA28-FE70-9EB3-5BAB-E5B6D88F542B}"/>
                </a:ext>
              </a:extLst>
            </p:cNvPr>
            <p:cNvSpPr/>
            <p:nvPr/>
          </p:nvSpPr>
          <p:spPr>
            <a:xfrm>
              <a:off x="10150155" y="6386607"/>
              <a:ext cx="130683" cy="130587"/>
            </a:xfrm>
            <a:custGeom>
              <a:avLst/>
              <a:gdLst>
                <a:gd name="connsiteX0" fmla="*/ 130683 w 130683"/>
                <a:gd name="connsiteY0" fmla="*/ 65246 h 130587"/>
                <a:gd name="connsiteX1" fmla="*/ 65342 w 130683"/>
                <a:gd name="connsiteY1" fmla="*/ 130588 h 130587"/>
                <a:gd name="connsiteX2" fmla="*/ 0 w 130683"/>
                <a:gd name="connsiteY2" fmla="*/ 65246 h 130587"/>
                <a:gd name="connsiteX3" fmla="*/ 65342 w 130683"/>
                <a:gd name="connsiteY3" fmla="*/ 0 h 130587"/>
                <a:gd name="connsiteX4" fmla="*/ 130683 w 130683"/>
                <a:gd name="connsiteY4" fmla="*/ 65246 h 1305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0683" h="130587">
                  <a:moveTo>
                    <a:pt x="130683" y="65246"/>
                  </a:moveTo>
                  <a:cubicBezTo>
                    <a:pt x="130683" y="101346"/>
                    <a:pt x="101441" y="130588"/>
                    <a:pt x="65342" y="130588"/>
                  </a:cubicBezTo>
                  <a:cubicBezTo>
                    <a:pt x="29242" y="130588"/>
                    <a:pt x="0" y="101346"/>
                    <a:pt x="0" y="65246"/>
                  </a:cubicBezTo>
                  <a:cubicBezTo>
                    <a:pt x="0" y="29147"/>
                    <a:pt x="29242" y="0"/>
                    <a:pt x="65342" y="0"/>
                  </a:cubicBezTo>
                  <a:cubicBezTo>
                    <a:pt x="101441" y="0"/>
                    <a:pt x="130683" y="29242"/>
                    <a:pt x="130683" y="65246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04" name="Forma livre: Forma 2103">
              <a:extLst>
                <a:ext uri="{FF2B5EF4-FFF2-40B4-BE49-F238E27FC236}">
                  <a16:creationId xmlns:a16="http://schemas.microsoft.com/office/drawing/2014/main" id="{B9581F99-BD67-15B3-1F7E-2419D51E2528}"/>
                </a:ext>
              </a:extLst>
            </p:cNvPr>
            <p:cNvSpPr/>
            <p:nvPr/>
          </p:nvSpPr>
          <p:spPr>
            <a:xfrm>
              <a:off x="9870120" y="6387464"/>
              <a:ext cx="9525" cy="128777"/>
            </a:xfrm>
            <a:custGeom>
              <a:avLst/>
              <a:gdLst>
                <a:gd name="connsiteX0" fmla="*/ 0 w 9525"/>
                <a:gd name="connsiteY0" fmla="*/ 0 h 128777"/>
                <a:gd name="connsiteX1" fmla="*/ 0 w 9525"/>
                <a:gd name="connsiteY1" fmla="*/ 128778 h 1287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128777">
                  <a:moveTo>
                    <a:pt x="0" y="0"/>
                  </a:moveTo>
                  <a:lnTo>
                    <a:pt x="0" y="128778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05" name="Forma livre: Forma 2104">
              <a:extLst>
                <a:ext uri="{FF2B5EF4-FFF2-40B4-BE49-F238E27FC236}">
                  <a16:creationId xmlns:a16="http://schemas.microsoft.com/office/drawing/2014/main" id="{FDBCDD50-3AD1-FD90-DE2E-3CA177DEACB1}"/>
                </a:ext>
              </a:extLst>
            </p:cNvPr>
            <p:cNvSpPr/>
            <p:nvPr/>
          </p:nvSpPr>
          <p:spPr>
            <a:xfrm>
              <a:off x="9939367" y="6387464"/>
              <a:ext cx="9525" cy="128777"/>
            </a:xfrm>
            <a:custGeom>
              <a:avLst/>
              <a:gdLst>
                <a:gd name="connsiteX0" fmla="*/ 0 w 9525"/>
                <a:gd name="connsiteY0" fmla="*/ 0 h 128777"/>
                <a:gd name="connsiteX1" fmla="*/ 0 w 9525"/>
                <a:gd name="connsiteY1" fmla="*/ 128778 h 1287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128777">
                  <a:moveTo>
                    <a:pt x="0" y="0"/>
                  </a:moveTo>
                  <a:lnTo>
                    <a:pt x="0" y="128778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06" name="Forma livre: Forma 2105">
              <a:extLst>
                <a:ext uri="{FF2B5EF4-FFF2-40B4-BE49-F238E27FC236}">
                  <a16:creationId xmlns:a16="http://schemas.microsoft.com/office/drawing/2014/main" id="{C2367F79-CC5C-6476-A108-8BEBD4E84070}"/>
                </a:ext>
              </a:extLst>
            </p:cNvPr>
            <p:cNvSpPr/>
            <p:nvPr/>
          </p:nvSpPr>
          <p:spPr>
            <a:xfrm>
              <a:off x="10008519" y="6387464"/>
              <a:ext cx="9525" cy="128777"/>
            </a:xfrm>
            <a:custGeom>
              <a:avLst/>
              <a:gdLst>
                <a:gd name="connsiteX0" fmla="*/ 0 w 9525"/>
                <a:gd name="connsiteY0" fmla="*/ 0 h 128777"/>
                <a:gd name="connsiteX1" fmla="*/ 0 w 9525"/>
                <a:gd name="connsiteY1" fmla="*/ 128778 h 1287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128777">
                  <a:moveTo>
                    <a:pt x="0" y="0"/>
                  </a:moveTo>
                  <a:lnTo>
                    <a:pt x="0" y="128778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07" name="Forma livre: Forma 2106">
              <a:extLst>
                <a:ext uri="{FF2B5EF4-FFF2-40B4-BE49-F238E27FC236}">
                  <a16:creationId xmlns:a16="http://schemas.microsoft.com/office/drawing/2014/main" id="{AAD218FC-C067-12DD-4477-59CC602EDC0E}"/>
                </a:ext>
              </a:extLst>
            </p:cNvPr>
            <p:cNvSpPr/>
            <p:nvPr/>
          </p:nvSpPr>
          <p:spPr>
            <a:xfrm>
              <a:off x="10077765" y="6387464"/>
              <a:ext cx="9525" cy="128777"/>
            </a:xfrm>
            <a:custGeom>
              <a:avLst/>
              <a:gdLst>
                <a:gd name="connsiteX0" fmla="*/ 0 w 9525"/>
                <a:gd name="connsiteY0" fmla="*/ 0 h 128777"/>
                <a:gd name="connsiteX1" fmla="*/ 0 w 9525"/>
                <a:gd name="connsiteY1" fmla="*/ 128778 h 1287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128777">
                  <a:moveTo>
                    <a:pt x="0" y="0"/>
                  </a:moveTo>
                  <a:lnTo>
                    <a:pt x="0" y="128778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2116" name="Agrupar 2115">
            <a:extLst>
              <a:ext uri="{FF2B5EF4-FFF2-40B4-BE49-F238E27FC236}">
                <a16:creationId xmlns:a16="http://schemas.microsoft.com/office/drawing/2014/main" id="{F0ECA34E-A068-AD97-3923-02E873882AD2}"/>
              </a:ext>
            </a:extLst>
          </p:cNvPr>
          <p:cNvGrpSpPr/>
          <p:nvPr/>
        </p:nvGrpSpPr>
        <p:grpSpPr>
          <a:xfrm>
            <a:off x="10038188" y="5268906"/>
            <a:ext cx="209121" cy="312229"/>
            <a:chOff x="9560177" y="4996938"/>
            <a:chExt cx="418052" cy="624173"/>
          </a:xfrm>
        </p:grpSpPr>
        <p:sp>
          <p:nvSpPr>
            <p:cNvPr id="2112" name="Forma livre: Forma 2111">
              <a:extLst>
                <a:ext uri="{FF2B5EF4-FFF2-40B4-BE49-F238E27FC236}">
                  <a16:creationId xmlns:a16="http://schemas.microsoft.com/office/drawing/2014/main" id="{C68D2E76-F925-E6FC-4B8E-9F4B9D273D21}"/>
                </a:ext>
              </a:extLst>
            </p:cNvPr>
            <p:cNvSpPr/>
            <p:nvPr/>
          </p:nvSpPr>
          <p:spPr>
            <a:xfrm>
              <a:off x="9560177" y="4996938"/>
              <a:ext cx="418052" cy="624173"/>
            </a:xfrm>
            <a:custGeom>
              <a:avLst/>
              <a:gdLst>
                <a:gd name="connsiteX0" fmla="*/ 370427 w 418052"/>
                <a:gd name="connsiteY0" fmla="*/ 0 h 624173"/>
                <a:gd name="connsiteX1" fmla="*/ 47625 w 418052"/>
                <a:gd name="connsiteY1" fmla="*/ 0 h 624173"/>
                <a:gd name="connsiteX2" fmla="*/ 0 w 418052"/>
                <a:gd name="connsiteY2" fmla="*/ 47625 h 624173"/>
                <a:gd name="connsiteX3" fmla="*/ 0 w 418052"/>
                <a:gd name="connsiteY3" fmla="*/ 576548 h 624173"/>
                <a:gd name="connsiteX4" fmla="*/ 47625 w 418052"/>
                <a:gd name="connsiteY4" fmla="*/ 624173 h 624173"/>
                <a:gd name="connsiteX5" fmla="*/ 370427 w 418052"/>
                <a:gd name="connsiteY5" fmla="*/ 624173 h 624173"/>
                <a:gd name="connsiteX6" fmla="*/ 418052 w 418052"/>
                <a:gd name="connsiteY6" fmla="*/ 576548 h 624173"/>
                <a:gd name="connsiteX7" fmla="*/ 418052 w 418052"/>
                <a:gd name="connsiteY7" fmla="*/ 47625 h 624173"/>
                <a:gd name="connsiteX8" fmla="*/ 370427 w 418052"/>
                <a:gd name="connsiteY8" fmla="*/ 0 h 624173"/>
                <a:gd name="connsiteX9" fmla="*/ 370427 w 418052"/>
                <a:gd name="connsiteY9" fmla="*/ 0 h 6241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18052" h="624173">
                  <a:moveTo>
                    <a:pt x="370427" y="0"/>
                  </a:moveTo>
                  <a:lnTo>
                    <a:pt x="47625" y="0"/>
                  </a:lnTo>
                  <a:cubicBezTo>
                    <a:pt x="21431" y="0"/>
                    <a:pt x="0" y="21431"/>
                    <a:pt x="0" y="47625"/>
                  </a:cubicBezTo>
                  <a:lnTo>
                    <a:pt x="0" y="576548"/>
                  </a:lnTo>
                  <a:cubicBezTo>
                    <a:pt x="0" y="602742"/>
                    <a:pt x="21431" y="624173"/>
                    <a:pt x="47625" y="624173"/>
                  </a:cubicBezTo>
                  <a:lnTo>
                    <a:pt x="370427" y="624173"/>
                  </a:lnTo>
                  <a:cubicBezTo>
                    <a:pt x="396621" y="624173"/>
                    <a:pt x="418052" y="602742"/>
                    <a:pt x="418052" y="576548"/>
                  </a:cubicBezTo>
                  <a:lnTo>
                    <a:pt x="418052" y="47625"/>
                  </a:lnTo>
                  <a:cubicBezTo>
                    <a:pt x="418052" y="21431"/>
                    <a:pt x="396621" y="0"/>
                    <a:pt x="370427" y="0"/>
                  </a:cubicBezTo>
                  <a:lnTo>
                    <a:pt x="370427" y="0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13" name="Forma livre: Forma 2112">
              <a:extLst>
                <a:ext uri="{FF2B5EF4-FFF2-40B4-BE49-F238E27FC236}">
                  <a16:creationId xmlns:a16="http://schemas.microsoft.com/office/drawing/2014/main" id="{032F061E-3A2A-33CD-7816-2ABC1CC05BFC}"/>
                </a:ext>
              </a:extLst>
            </p:cNvPr>
            <p:cNvSpPr/>
            <p:nvPr/>
          </p:nvSpPr>
          <p:spPr>
            <a:xfrm>
              <a:off x="9656760" y="5282212"/>
              <a:ext cx="224885" cy="225170"/>
            </a:xfrm>
            <a:custGeom>
              <a:avLst/>
              <a:gdLst>
                <a:gd name="connsiteX0" fmla="*/ 224885 w 224885"/>
                <a:gd name="connsiteY0" fmla="*/ 112395 h 225170"/>
                <a:gd name="connsiteX1" fmla="*/ 112395 w 224885"/>
                <a:gd name="connsiteY1" fmla="*/ 225171 h 225170"/>
                <a:gd name="connsiteX2" fmla="*/ 0 w 224885"/>
                <a:gd name="connsiteY2" fmla="*/ 112395 h 225170"/>
                <a:gd name="connsiteX3" fmla="*/ 112395 w 224885"/>
                <a:gd name="connsiteY3" fmla="*/ 0 h 225170"/>
                <a:gd name="connsiteX4" fmla="*/ 224885 w 224885"/>
                <a:gd name="connsiteY4" fmla="*/ 112395 h 2251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24885" h="225170">
                  <a:moveTo>
                    <a:pt x="224885" y="112395"/>
                  </a:moveTo>
                  <a:cubicBezTo>
                    <a:pt x="224885" y="174689"/>
                    <a:pt x="174498" y="225171"/>
                    <a:pt x="112395" y="225171"/>
                  </a:cubicBezTo>
                  <a:cubicBezTo>
                    <a:pt x="50292" y="225171"/>
                    <a:pt x="0" y="174593"/>
                    <a:pt x="0" y="112395"/>
                  </a:cubicBezTo>
                  <a:cubicBezTo>
                    <a:pt x="0" y="50197"/>
                    <a:pt x="50292" y="0"/>
                    <a:pt x="112395" y="0"/>
                  </a:cubicBezTo>
                  <a:cubicBezTo>
                    <a:pt x="174498" y="0"/>
                    <a:pt x="224885" y="50387"/>
                    <a:pt x="224885" y="112395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14" name="Forma livre: Forma 2113">
              <a:extLst>
                <a:ext uri="{FF2B5EF4-FFF2-40B4-BE49-F238E27FC236}">
                  <a16:creationId xmlns:a16="http://schemas.microsoft.com/office/drawing/2014/main" id="{7359EE1E-9212-A8EE-F9B0-964EFAB94312}"/>
                </a:ext>
              </a:extLst>
            </p:cNvPr>
            <p:cNvSpPr/>
            <p:nvPr/>
          </p:nvSpPr>
          <p:spPr>
            <a:xfrm>
              <a:off x="9719149" y="5102189"/>
              <a:ext cx="100012" cy="100012"/>
            </a:xfrm>
            <a:custGeom>
              <a:avLst/>
              <a:gdLst>
                <a:gd name="connsiteX0" fmla="*/ 100013 w 100012"/>
                <a:gd name="connsiteY0" fmla="*/ 50006 h 100012"/>
                <a:gd name="connsiteX1" fmla="*/ 50006 w 100012"/>
                <a:gd name="connsiteY1" fmla="*/ 100012 h 100012"/>
                <a:gd name="connsiteX2" fmla="*/ 0 w 100012"/>
                <a:gd name="connsiteY2" fmla="*/ 50006 h 100012"/>
                <a:gd name="connsiteX3" fmla="*/ 50006 w 100012"/>
                <a:gd name="connsiteY3" fmla="*/ 0 h 100012"/>
                <a:gd name="connsiteX4" fmla="*/ 100013 w 100012"/>
                <a:gd name="connsiteY4" fmla="*/ 50006 h 1000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0012" h="100012">
                  <a:moveTo>
                    <a:pt x="100013" y="50006"/>
                  </a:moveTo>
                  <a:cubicBezTo>
                    <a:pt x="100013" y="77629"/>
                    <a:pt x="77629" y="100012"/>
                    <a:pt x="50006" y="100012"/>
                  </a:cubicBezTo>
                  <a:cubicBezTo>
                    <a:pt x="22384" y="100012"/>
                    <a:pt x="0" y="77629"/>
                    <a:pt x="0" y="50006"/>
                  </a:cubicBezTo>
                  <a:cubicBezTo>
                    <a:pt x="0" y="22384"/>
                    <a:pt x="22384" y="0"/>
                    <a:pt x="50006" y="0"/>
                  </a:cubicBezTo>
                  <a:cubicBezTo>
                    <a:pt x="77629" y="0"/>
                    <a:pt x="100013" y="22384"/>
                    <a:pt x="100013" y="50006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15" name="Forma livre: Forma 2114">
              <a:extLst>
                <a:ext uri="{FF2B5EF4-FFF2-40B4-BE49-F238E27FC236}">
                  <a16:creationId xmlns:a16="http://schemas.microsoft.com/office/drawing/2014/main" id="{12AEA91F-4CC5-4206-C1C9-7A24C4C9BB95}"/>
                </a:ext>
              </a:extLst>
            </p:cNvPr>
            <p:cNvSpPr/>
            <p:nvPr/>
          </p:nvSpPr>
          <p:spPr>
            <a:xfrm>
              <a:off x="9758582" y="5384224"/>
              <a:ext cx="21145" cy="21145"/>
            </a:xfrm>
            <a:custGeom>
              <a:avLst/>
              <a:gdLst>
                <a:gd name="connsiteX0" fmla="*/ 21145 w 21145"/>
                <a:gd name="connsiteY0" fmla="*/ 10573 h 21145"/>
                <a:gd name="connsiteX1" fmla="*/ 10573 w 21145"/>
                <a:gd name="connsiteY1" fmla="*/ 21146 h 21145"/>
                <a:gd name="connsiteX2" fmla="*/ 0 w 21145"/>
                <a:gd name="connsiteY2" fmla="*/ 10573 h 21145"/>
                <a:gd name="connsiteX3" fmla="*/ 10573 w 21145"/>
                <a:gd name="connsiteY3" fmla="*/ 0 h 21145"/>
                <a:gd name="connsiteX4" fmla="*/ 21145 w 21145"/>
                <a:gd name="connsiteY4" fmla="*/ 10573 h 211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1145" h="21145">
                  <a:moveTo>
                    <a:pt x="21145" y="10573"/>
                  </a:moveTo>
                  <a:cubicBezTo>
                    <a:pt x="21145" y="16478"/>
                    <a:pt x="16383" y="21146"/>
                    <a:pt x="10573" y="21146"/>
                  </a:cubicBezTo>
                  <a:cubicBezTo>
                    <a:pt x="4763" y="21146"/>
                    <a:pt x="0" y="16383"/>
                    <a:pt x="0" y="10573"/>
                  </a:cubicBezTo>
                  <a:cubicBezTo>
                    <a:pt x="0" y="4763"/>
                    <a:pt x="4763" y="0"/>
                    <a:pt x="10573" y="0"/>
                  </a:cubicBezTo>
                  <a:cubicBezTo>
                    <a:pt x="16383" y="0"/>
                    <a:pt x="21145" y="4763"/>
                    <a:pt x="21145" y="10573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2131" name="Agrupar 2130">
            <a:extLst>
              <a:ext uri="{FF2B5EF4-FFF2-40B4-BE49-F238E27FC236}">
                <a16:creationId xmlns:a16="http://schemas.microsoft.com/office/drawing/2014/main" id="{9E8440FA-B927-D518-036E-D75B0F0D3431}"/>
              </a:ext>
            </a:extLst>
          </p:cNvPr>
          <p:cNvGrpSpPr/>
          <p:nvPr/>
        </p:nvGrpSpPr>
        <p:grpSpPr>
          <a:xfrm>
            <a:off x="11249026" y="5284428"/>
            <a:ext cx="321468" cy="243242"/>
            <a:chOff x="11089481" y="3988593"/>
            <a:chExt cx="625887" cy="473583"/>
          </a:xfrm>
        </p:grpSpPr>
        <p:sp>
          <p:nvSpPr>
            <p:cNvPr id="2120" name="Forma livre: Forma 2119">
              <a:extLst>
                <a:ext uri="{FF2B5EF4-FFF2-40B4-BE49-F238E27FC236}">
                  <a16:creationId xmlns:a16="http://schemas.microsoft.com/office/drawing/2014/main" id="{3D960CB1-8DA1-EBBE-E3A1-283FB72C1A9D}"/>
                </a:ext>
              </a:extLst>
            </p:cNvPr>
            <p:cNvSpPr/>
            <p:nvPr/>
          </p:nvSpPr>
          <p:spPr>
            <a:xfrm>
              <a:off x="11089481" y="3988593"/>
              <a:ext cx="625887" cy="473583"/>
            </a:xfrm>
            <a:custGeom>
              <a:avLst/>
              <a:gdLst>
                <a:gd name="connsiteX0" fmla="*/ 578263 w 625887"/>
                <a:gd name="connsiteY0" fmla="*/ 0 h 473583"/>
                <a:gd name="connsiteX1" fmla="*/ 47625 w 625887"/>
                <a:gd name="connsiteY1" fmla="*/ 0 h 473583"/>
                <a:gd name="connsiteX2" fmla="*/ 0 w 625887"/>
                <a:gd name="connsiteY2" fmla="*/ 47625 h 473583"/>
                <a:gd name="connsiteX3" fmla="*/ 0 w 625887"/>
                <a:gd name="connsiteY3" fmla="*/ 425958 h 473583"/>
                <a:gd name="connsiteX4" fmla="*/ 47625 w 625887"/>
                <a:gd name="connsiteY4" fmla="*/ 473583 h 473583"/>
                <a:gd name="connsiteX5" fmla="*/ 578263 w 625887"/>
                <a:gd name="connsiteY5" fmla="*/ 473583 h 473583"/>
                <a:gd name="connsiteX6" fmla="*/ 625888 w 625887"/>
                <a:gd name="connsiteY6" fmla="*/ 425958 h 473583"/>
                <a:gd name="connsiteX7" fmla="*/ 625888 w 625887"/>
                <a:gd name="connsiteY7" fmla="*/ 47625 h 473583"/>
                <a:gd name="connsiteX8" fmla="*/ 578263 w 625887"/>
                <a:gd name="connsiteY8" fmla="*/ 0 h 473583"/>
                <a:gd name="connsiteX9" fmla="*/ 578263 w 625887"/>
                <a:gd name="connsiteY9" fmla="*/ 0 h 4735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625887" h="473583">
                  <a:moveTo>
                    <a:pt x="578263" y="0"/>
                  </a:moveTo>
                  <a:lnTo>
                    <a:pt x="47625" y="0"/>
                  </a:lnTo>
                  <a:cubicBezTo>
                    <a:pt x="21431" y="0"/>
                    <a:pt x="0" y="21431"/>
                    <a:pt x="0" y="47625"/>
                  </a:cubicBezTo>
                  <a:lnTo>
                    <a:pt x="0" y="425958"/>
                  </a:lnTo>
                  <a:cubicBezTo>
                    <a:pt x="0" y="452152"/>
                    <a:pt x="21431" y="473583"/>
                    <a:pt x="47625" y="473583"/>
                  </a:cubicBezTo>
                  <a:lnTo>
                    <a:pt x="578263" y="473583"/>
                  </a:lnTo>
                  <a:cubicBezTo>
                    <a:pt x="604457" y="473583"/>
                    <a:pt x="625888" y="452152"/>
                    <a:pt x="625888" y="425958"/>
                  </a:cubicBezTo>
                  <a:lnTo>
                    <a:pt x="625888" y="47625"/>
                  </a:lnTo>
                  <a:cubicBezTo>
                    <a:pt x="625888" y="21431"/>
                    <a:pt x="604457" y="0"/>
                    <a:pt x="578263" y="0"/>
                  </a:cubicBezTo>
                  <a:lnTo>
                    <a:pt x="578263" y="0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21" name="Forma livre: Forma 2120">
              <a:extLst>
                <a:ext uri="{FF2B5EF4-FFF2-40B4-BE49-F238E27FC236}">
                  <a16:creationId xmlns:a16="http://schemas.microsoft.com/office/drawing/2014/main" id="{3FC1F072-5AAB-8B9A-4301-4E4D9A22D633}"/>
                </a:ext>
              </a:extLst>
            </p:cNvPr>
            <p:cNvSpPr/>
            <p:nvPr/>
          </p:nvSpPr>
          <p:spPr>
            <a:xfrm>
              <a:off x="11159204" y="4055458"/>
              <a:ext cx="486537" cy="290226"/>
            </a:xfrm>
            <a:custGeom>
              <a:avLst/>
              <a:gdLst>
                <a:gd name="connsiteX0" fmla="*/ 486442 w 486537"/>
                <a:gd name="connsiteY0" fmla="*/ 0 h 290226"/>
                <a:gd name="connsiteX1" fmla="*/ 0 w 486537"/>
                <a:gd name="connsiteY1" fmla="*/ 0 h 290226"/>
                <a:gd name="connsiteX2" fmla="*/ 0 w 486537"/>
                <a:gd name="connsiteY2" fmla="*/ 290227 h 290226"/>
                <a:gd name="connsiteX3" fmla="*/ 486537 w 486537"/>
                <a:gd name="connsiteY3" fmla="*/ 290227 h 290226"/>
                <a:gd name="connsiteX4" fmla="*/ 486537 w 486537"/>
                <a:gd name="connsiteY4" fmla="*/ 0 h 290226"/>
                <a:gd name="connsiteX5" fmla="*/ 486537 w 486537"/>
                <a:gd name="connsiteY5" fmla="*/ 0 h 2902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86537" h="290226">
                  <a:moveTo>
                    <a:pt x="486442" y="0"/>
                  </a:moveTo>
                  <a:lnTo>
                    <a:pt x="0" y="0"/>
                  </a:lnTo>
                  <a:lnTo>
                    <a:pt x="0" y="290227"/>
                  </a:lnTo>
                  <a:lnTo>
                    <a:pt x="486537" y="290227"/>
                  </a:lnTo>
                  <a:lnTo>
                    <a:pt x="486537" y="0"/>
                  </a:lnTo>
                  <a:lnTo>
                    <a:pt x="486537" y="0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22" name="Forma livre: Forma 2121">
              <a:extLst>
                <a:ext uri="{FF2B5EF4-FFF2-40B4-BE49-F238E27FC236}">
                  <a16:creationId xmlns:a16="http://schemas.microsoft.com/office/drawing/2014/main" id="{D6EB8822-F1AB-103A-2D9B-9071AAF03E1F}"/>
                </a:ext>
              </a:extLst>
            </p:cNvPr>
            <p:cNvSpPr/>
            <p:nvPr/>
          </p:nvSpPr>
          <p:spPr>
            <a:xfrm>
              <a:off x="11369040" y="4386833"/>
              <a:ext cx="66770" cy="9525"/>
            </a:xfrm>
            <a:custGeom>
              <a:avLst/>
              <a:gdLst>
                <a:gd name="connsiteX0" fmla="*/ 0 w 66770"/>
                <a:gd name="connsiteY0" fmla="*/ 0 h 9525"/>
                <a:gd name="connsiteX1" fmla="*/ 66770 w 66770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6770" h="9525">
                  <a:moveTo>
                    <a:pt x="0" y="0"/>
                  </a:moveTo>
                  <a:lnTo>
                    <a:pt x="6677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23" name="Forma livre: Forma 2122">
              <a:extLst>
                <a:ext uri="{FF2B5EF4-FFF2-40B4-BE49-F238E27FC236}">
                  <a16:creationId xmlns:a16="http://schemas.microsoft.com/office/drawing/2014/main" id="{DC89B070-9AFF-AD9B-7755-E90F0A862996}"/>
                </a:ext>
              </a:extLst>
            </p:cNvPr>
            <p:cNvSpPr/>
            <p:nvPr/>
          </p:nvSpPr>
          <p:spPr>
            <a:xfrm>
              <a:off x="11450002" y="4169092"/>
              <a:ext cx="9525" cy="163068"/>
            </a:xfrm>
            <a:custGeom>
              <a:avLst/>
              <a:gdLst>
                <a:gd name="connsiteX0" fmla="*/ 0 w 9525"/>
                <a:gd name="connsiteY0" fmla="*/ 0 h 163068"/>
                <a:gd name="connsiteX1" fmla="*/ 0 w 9525"/>
                <a:gd name="connsiteY1" fmla="*/ 163068 h 1630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163068">
                  <a:moveTo>
                    <a:pt x="0" y="0"/>
                  </a:moveTo>
                  <a:lnTo>
                    <a:pt x="0" y="163068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24" name="Forma livre: Forma 2123">
              <a:extLst>
                <a:ext uri="{FF2B5EF4-FFF2-40B4-BE49-F238E27FC236}">
                  <a16:creationId xmlns:a16="http://schemas.microsoft.com/office/drawing/2014/main" id="{C9758BEE-8D78-A4B7-DC2E-39BD4DB85BE9}"/>
                </a:ext>
              </a:extLst>
            </p:cNvPr>
            <p:cNvSpPr/>
            <p:nvPr/>
          </p:nvSpPr>
          <p:spPr>
            <a:xfrm>
              <a:off x="11318367" y="4237793"/>
              <a:ext cx="131635" cy="79126"/>
            </a:xfrm>
            <a:custGeom>
              <a:avLst/>
              <a:gdLst>
                <a:gd name="connsiteX0" fmla="*/ 131635 w 131635"/>
                <a:gd name="connsiteY0" fmla="*/ 79126 h 79126"/>
                <a:gd name="connsiteX1" fmla="*/ 33147 w 131635"/>
                <a:gd name="connsiteY1" fmla="*/ 450 h 79126"/>
                <a:gd name="connsiteX2" fmla="*/ 0 w 131635"/>
                <a:gd name="connsiteY2" fmla="*/ 450 h 791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31635" h="79126">
                  <a:moveTo>
                    <a:pt x="131635" y="79126"/>
                  </a:moveTo>
                  <a:cubicBezTo>
                    <a:pt x="131635" y="-10790"/>
                    <a:pt x="33147" y="450"/>
                    <a:pt x="33147" y="450"/>
                  </a:cubicBezTo>
                  <a:lnTo>
                    <a:pt x="0" y="450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2125" name="Gráfico 2117">
              <a:extLst>
                <a:ext uri="{FF2B5EF4-FFF2-40B4-BE49-F238E27FC236}">
                  <a16:creationId xmlns:a16="http://schemas.microsoft.com/office/drawing/2014/main" id="{6D4265DA-12B1-4E36-E739-93B24C3E756A}"/>
                </a:ext>
              </a:extLst>
            </p:cNvPr>
            <p:cNvGrpSpPr/>
            <p:nvPr/>
          </p:nvGrpSpPr>
          <p:grpSpPr>
            <a:xfrm>
              <a:off x="11437715" y="4149089"/>
              <a:ext cx="24574" cy="21240"/>
              <a:chOff x="11437715" y="4149089"/>
              <a:chExt cx="24574" cy="21240"/>
            </a:xfrm>
          </p:grpSpPr>
          <p:sp>
            <p:nvSpPr>
              <p:cNvPr id="2126" name="Forma livre: Forma 2125">
                <a:extLst>
                  <a:ext uri="{FF2B5EF4-FFF2-40B4-BE49-F238E27FC236}">
                    <a16:creationId xmlns:a16="http://schemas.microsoft.com/office/drawing/2014/main" id="{10081FBA-9AA0-4426-6152-C33D3D359D9B}"/>
                  </a:ext>
                </a:extLst>
              </p:cNvPr>
              <p:cNvSpPr/>
              <p:nvPr/>
            </p:nvSpPr>
            <p:spPr>
              <a:xfrm>
                <a:off x="11437715" y="4149089"/>
                <a:ext cx="24574" cy="21240"/>
              </a:xfrm>
              <a:custGeom>
                <a:avLst/>
                <a:gdLst>
                  <a:gd name="connsiteX0" fmla="*/ 0 w 24574"/>
                  <a:gd name="connsiteY0" fmla="*/ 21241 h 21240"/>
                  <a:gd name="connsiteX1" fmla="*/ 12287 w 24574"/>
                  <a:gd name="connsiteY1" fmla="*/ 0 h 21240"/>
                  <a:gd name="connsiteX2" fmla="*/ 24574 w 24574"/>
                  <a:gd name="connsiteY2" fmla="*/ 21241 h 21240"/>
                  <a:gd name="connsiteX3" fmla="*/ 0 w 24574"/>
                  <a:gd name="connsiteY3" fmla="*/ 21241 h 212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4574" h="21240">
                    <a:moveTo>
                      <a:pt x="0" y="21241"/>
                    </a:moveTo>
                    <a:lnTo>
                      <a:pt x="12287" y="0"/>
                    </a:lnTo>
                    <a:lnTo>
                      <a:pt x="24574" y="21241"/>
                    </a:lnTo>
                    <a:lnTo>
                      <a:pt x="0" y="21241"/>
                    </a:lnTo>
                    <a:close/>
                  </a:path>
                </a:pathLst>
              </a:custGeom>
              <a:solidFill>
                <a:srgbClr val="39434E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127" name="Forma livre: Forma 2126">
                <a:extLst>
                  <a:ext uri="{FF2B5EF4-FFF2-40B4-BE49-F238E27FC236}">
                    <a16:creationId xmlns:a16="http://schemas.microsoft.com/office/drawing/2014/main" id="{5FB0E498-8DAF-804B-6D4F-08E2565A2F47}"/>
                  </a:ext>
                </a:extLst>
              </p:cNvPr>
              <p:cNvSpPr/>
              <p:nvPr/>
            </p:nvSpPr>
            <p:spPr>
              <a:xfrm>
                <a:off x="11437715" y="4149089"/>
                <a:ext cx="24574" cy="21240"/>
              </a:xfrm>
              <a:custGeom>
                <a:avLst/>
                <a:gdLst>
                  <a:gd name="connsiteX0" fmla="*/ 0 w 24574"/>
                  <a:gd name="connsiteY0" fmla="*/ 21241 h 21240"/>
                  <a:gd name="connsiteX1" fmla="*/ 12287 w 24574"/>
                  <a:gd name="connsiteY1" fmla="*/ 0 h 21240"/>
                  <a:gd name="connsiteX2" fmla="*/ 24574 w 24574"/>
                  <a:gd name="connsiteY2" fmla="*/ 21241 h 21240"/>
                  <a:gd name="connsiteX3" fmla="*/ 0 w 24574"/>
                  <a:gd name="connsiteY3" fmla="*/ 21241 h 212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4574" h="21240">
                    <a:moveTo>
                      <a:pt x="0" y="21241"/>
                    </a:moveTo>
                    <a:lnTo>
                      <a:pt x="12287" y="0"/>
                    </a:lnTo>
                    <a:lnTo>
                      <a:pt x="24574" y="21241"/>
                    </a:lnTo>
                    <a:lnTo>
                      <a:pt x="0" y="21241"/>
                    </a:ln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2128" name="Gráfico 2117">
              <a:extLst>
                <a:ext uri="{FF2B5EF4-FFF2-40B4-BE49-F238E27FC236}">
                  <a16:creationId xmlns:a16="http://schemas.microsoft.com/office/drawing/2014/main" id="{E91D2467-63DD-EFDE-F91D-2B2E92DC9893}"/>
                </a:ext>
              </a:extLst>
            </p:cNvPr>
            <p:cNvGrpSpPr/>
            <p:nvPr/>
          </p:nvGrpSpPr>
          <p:grpSpPr>
            <a:xfrm>
              <a:off x="11306936" y="4225480"/>
              <a:ext cx="21240" cy="24574"/>
              <a:chOff x="11306936" y="4225480"/>
              <a:chExt cx="21240" cy="24574"/>
            </a:xfrm>
          </p:grpSpPr>
          <p:sp>
            <p:nvSpPr>
              <p:cNvPr id="2129" name="Forma livre: Forma 2128">
                <a:extLst>
                  <a:ext uri="{FF2B5EF4-FFF2-40B4-BE49-F238E27FC236}">
                    <a16:creationId xmlns:a16="http://schemas.microsoft.com/office/drawing/2014/main" id="{42457547-A238-DAD2-140B-D839A20A0585}"/>
                  </a:ext>
                </a:extLst>
              </p:cNvPr>
              <p:cNvSpPr/>
              <p:nvPr/>
            </p:nvSpPr>
            <p:spPr>
              <a:xfrm>
                <a:off x="11306936" y="4225480"/>
                <a:ext cx="21240" cy="24574"/>
              </a:xfrm>
              <a:custGeom>
                <a:avLst/>
                <a:gdLst>
                  <a:gd name="connsiteX0" fmla="*/ 21241 w 21240"/>
                  <a:gd name="connsiteY0" fmla="*/ 24575 h 24574"/>
                  <a:gd name="connsiteX1" fmla="*/ 0 w 21240"/>
                  <a:gd name="connsiteY1" fmla="*/ 12287 h 24574"/>
                  <a:gd name="connsiteX2" fmla="*/ 21241 w 21240"/>
                  <a:gd name="connsiteY2" fmla="*/ 0 h 24574"/>
                  <a:gd name="connsiteX3" fmla="*/ 21241 w 21240"/>
                  <a:gd name="connsiteY3" fmla="*/ 24575 h 245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1240" h="24574">
                    <a:moveTo>
                      <a:pt x="21241" y="24575"/>
                    </a:moveTo>
                    <a:lnTo>
                      <a:pt x="0" y="12287"/>
                    </a:lnTo>
                    <a:lnTo>
                      <a:pt x="21241" y="0"/>
                    </a:lnTo>
                    <a:lnTo>
                      <a:pt x="21241" y="24575"/>
                    </a:lnTo>
                    <a:close/>
                  </a:path>
                </a:pathLst>
              </a:custGeom>
              <a:solidFill>
                <a:srgbClr val="39434E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130" name="Forma livre: Forma 2129">
                <a:extLst>
                  <a:ext uri="{FF2B5EF4-FFF2-40B4-BE49-F238E27FC236}">
                    <a16:creationId xmlns:a16="http://schemas.microsoft.com/office/drawing/2014/main" id="{429D6B82-7C81-ACD5-7F82-6301AB84093B}"/>
                  </a:ext>
                </a:extLst>
              </p:cNvPr>
              <p:cNvSpPr/>
              <p:nvPr/>
            </p:nvSpPr>
            <p:spPr>
              <a:xfrm>
                <a:off x="11306936" y="4225480"/>
                <a:ext cx="21240" cy="24574"/>
              </a:xfrm>
              <a:custGeom>
                <a:avLst/>
                <a:gdLst>
                  <a:gd name="connsiteX0" fmla="*/ 21241 w 21240"/>
                  <a:gd name="connsiteY0" fmla="*/ 24575 h 24574"/>
                  <a:gd name="connsiteX1" fmla="*/ 0 w 21240"/>
                  <a:gd name="connsiteY1" fmla="*/ 12287 h 24574"/>
                  <a:gd name="connsiteX2" fmla="*/ 21241 w 21240"/>
                  <a:gd name="connsiteY2" fmla="*/ 0 h 24574"/>
                  <a:gd name="connsiteX3" fmla="*/ 21241 w 21240"/>
                  <a:gd name="connsiteY3" fmla="*/ 24575 h 245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1240" h="24574">
                    <a:moveTo>
                      <a:pt x="21241" y="24575"/>
                    </a:moveTo>
                    <a:lnTo>
                      <a:pt x="0" y="12287"/>
                    </a:lnTo>
                    <a:lnTo>
                      <a:pt x="21241" y="0"/>
                    </a:lnTo>
                    <a:lnTo>
                      <a:pt x="21241" y="24575"/>
                    </a:ln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2163" name="Agrupar 2162">
            <a:extLst>
              <a:ext uri="{FF2B5EF4-FFF2-40B4-BE49-F238E27FC236}">
                <a16:creationId xmlns:a16="http://schemas.microsoft.com/office/drawing/2014/main" id="{37469EE1-4963-16F8-D283-D72354521F9B}"/>
              </a:ext>
            </a:extLst>
          </p:cNvPr>
          <p:cNvGrpSpPr/>
          <p:nvPr/>
        </p:nvGrpSpPr>
        <p:grpSpPr>
          <a:xfrm>
            <a:off x="3278981" y="5287977"/>
            <a:ext cx="291623" cy="291623"/>
            <a:chOff x="3530600" y="5308882"/>
            <a:chExt cx="571023" cy="571023"/>
          </a:xfrm>
        </p:grpSpPr>
        <p:sp>
          <p:nvSpPr>
            <p:cNvPr id="2135" name="Forma livre: Forma 2134">
              <a:extLst>
                <a:ext uri="{FF2B5EF4-FFF2-40B4-BE49-F238E27FC236}">
                  <a16:creationId xmlns:a16="http://schemas.microsoft.com/office/drawing/2014/main" id="{518ABC69-050C-65FC-4C1F-75907374266D}"/>
                </a:ext>
              </a:extLst>
            </p:cNvPr>
            <p:cNvSpPr/>
            <p:nvPr/>
          </p:nvSpPr>
          <p:spPr>
            <a:xfrm>
              <a:off x="3592893" y="5370127"/>
              <a:ext cx="448627" cy="448627"/>
            </a:xfrm>
            <a:custGeom>
              <a:avLst/>
              <a:gdLst>
                <a:gd name="connsiteX0" fmla="*/ 383572 w 448627"/>
                <a:gd name="connsiteY0" fmla="*/ 0 h 448627"/>
                <a:gd name="connsiteX1" fmla="*/ 65056 w 448627"/>
                <a:gd name="connsiteY1" fmla="*/ 0 h 448627"/>
                <a:gd name="connsiteX2" fmla="*/ 0 w 448627"/>
                <a:gd name="connsiteY2" fmla="*/ 65056 h 448627"/>
                <a:gd name="connsiteX3" fmla="*/ 0 w 448627"/>
                <a:gd name="connsiteY3" fmla="*/ 383572 h 448627"/>
                <a:gd name="connsiteX4" fmla="*/ 65056 w 448627"/>
                <a:gd name="connsiteY4" fmla="*/ 448628 h 448627"/>
                <a:gd name="connsiteX5" fmla="*/ 383572 w 448627"/>
                <a:gd name="connsiteY5" fmla="*/ 448628 h 448627"/>
                <a:gd name="connsiteX6" fmla="*/ 448628 w 448627"/>
                <a:gd name="connsiteY6" fmla="*/ 383572 h 448627"/>
                <a:gd name="connsiteX7" fmla="*/ 448628 w 448627"/>
                <a:gd name="connsiteY7" fmla="*/ 65056 h 448627"/>
                <a:gd name="connsiteX8" fmla="*/ 383572 w 448627"/>
                <a:gd name="connsiteY8" fmla="*/ 0 h 448627"/>
                <a:gd name="connsiteX9" fmla="*/ 383572 w 448627"/>
                <a:gd name="connsiteY9" fmla="*/ 0 h 4486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48627" h="448627">
                  <a:moveTo>
                    <a:pt x="383572" y="0"/>
                  </a:moveTo>
                  <a:lnTo>
                    <a:pt x="65056" y="0"/>
                  </a:lnTo>
                  <a:cubicBezTo>
                    <a:pt x="29337" y="0"/>
                    <a:pt x="0" y="29242"/>
                    <a:pt x="0" y="65056"/>
                  </a:cubicBezTo>
                  <a:lnTo>
                    <a:pt x="0" y="383572"/>
                  </a:lnTo>
                  <a:cubicBezTo>
                    <a:pt x="0" y="419291"/>
                    <a:pt x="29242" y="448628"/>
                    <a:pt x="65056" y="448628"/>
                  </a:cubicBezTo>
                  <a:lnTo>
                    <a:pt x="383572" y="448628"/>
                  </a:lnTo>
                  <a:cubicBezTo>
                    <a:pt x="419291" y="448628"/>
                    <a:pt x="448628" y="419386"/>
                    <a:pt x="448628" y="383572"/>
                  </a:cubicBezTo>
                  <a:lnTo>
                    <a:pt x="448628" y="65056"/>
                  </a:lnTo>
                  <a:cubicBezTo>
                    <a:pt x="448628" y="29337"/>
                    <a:pt x="419386" y="0"/>
                    <a:pt x="383572" y="0"/>
                  </a:cubicBezTo>
                  <a:lnTo>
                    <a:pt x="383572" y="0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36" name="Forma livre: Forma 2135">
              <a:extLst>
                <a:ext uri="{FF2B5EF4-FFF2-40B4-BE49-F238E27FC236}">
                  <a16:creationId xmlns:a16="http://schemas.microsoft.com/office/drawing/2014/main" id="{982CE860-D836-6F4D-B643-0895720166B7}"/>
                </a:ext>
              </a:extLst>
            </p:cNvPr>
            <p:cNvSpPr/>
            <p:nvPr/>
          </p:nvSpPr>
          <p:spPr>
            <a:xfrm>
              <a:off x="3664807" y="5441946"/>
              <a:ext cx="304800" cy="304895"/>
            </a:xfrm>
            <a:custGeom>
              <a:avLst/>
              <a:gdLst>
                <a:gd name="connsiteX0" fmla="*/ 276225 w 304800"/>
                <a:gd name="connsiteY0" fmla="*/ 0 h 304895"/>
                <a:gd name="connsiteX1" fmla="*/ 28575 w 304800"/>
                <a:gd name="connsiteY1" fmla="*/ 0 h 304895"/>
                <a:gd name="connsiteX2" fmla="*/ 0 w 304800"/>
                <a:gd name="connsiteY2" fmla="*/ 28575 h 304895"/>
                <a:gd name="connsiteX3" fmla="*/ 0 w 304800"/>
                <a:gd name="connsiteY3" fmla="*/ 276320 h 304895"/>
                <a:gd name="connsiteX4" fmla="*/ 28575 w 304800"/>
                <a:gd name="connsiteY4" fmla="*/ 304895 h 304895"/>
                <a:gd name="connsiteX5" fmla="*/ 276225 w 304800"/>
                <a:gd name="connsiteY5" fmla="*/ 304895 h 304895"/>
                <a:gd name="connsiteX6" fmla="*/ 304800 w 304800"/>
                <a:gd name="connsiteY6" fmla="*/ 276320 h 304895"/>
                <a:gd name="connsiteX7" fmla="*/ 304800 w 304800"/>
                <a:gd name="connsiteY7" fmla="*/ 28575 h 304895"/>
                <a:gd name="connsiteX8" fmla="*/ 276225 w 304800"/>
                <a:gd name="connsiteY8" fmla="*/ 0 h 304895"/>
                <a:gd name="connsiteX9" fmla="*/ 276225 w 304800"/>
                <a:gd name="connsiteY9" fmla="*/ 0 h 3048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04800" h="304895">
                  <a:moveTo>
                    <a:pt x="276225" y="0"/>
                  </a:moveTo>
                  <a:lnTo>
                    <a:pt x="28575" y="0"/>
                  </a:lnTo>
                  <a:cubicBezTo>
                    <a:pt x="12859" y="0"/>
                    <a:pt x="0" y="12859"/>
                    <a:pt x="0" y="28575"/>
                  </a:cubicBezTo>
                  <a:lnTo>
                    <a:pt x="0" y="276320"/>
                  </a:lnTo>
                  <a:cubicBezTo>
                    <a:pt x="0" y="292037"/>
                    <a:pt x="12859" y="304895"/>
                    <a:pt x="28575" y="304895"/>
                  </a:cubicBezTo>
                  <a:lnTo>
                    <a:pt x="276225" y="304895"/>
                  </a:lnTo>
                  <a:cubicBezTo>
                    <a:pt x="291941" y="304895"/>
                    <a:pt x="304800" y="292037"/>
                    <a:pt x="304800" y="276320"/>
                  </a:cubicBezTo>
                  <a:lnTo>
                    <a:pt x="304800" y="28575"/>
                  </a:lnTo>
                  <a:cubicBezTo>
                    <a:pt x="304800" y="12859"/>
                    <a:pt x="291941" y="0"/>
                    <a:pt x="276225" y="0"/>
                  </a:cubicBezTo>
                  <a:lnTo>
                    <a:pt x="276225" y="0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2137" name="Gráfico 2132">
              <a:extLst>
                <a:ext uri="{FF2B5EF4-FFF2-40B4-BE49-F238E27FC236}">
                  <a16:creationId xmlns:a16="http://schemas.microsoft.com/office/drawing/2014/main" id="{EE343FD8-69E5-F9A8-C2DB-EE7332D66203}"/>
                </a:ext>
              </a:extLst>
            </p:cNvPr>
            <p:cNvGrpSpPr/>
            <p:nvPr/>
          </p:nvGrpSpPr>
          <p:grpSpPr>
            <a:xfrm>
              <a:off x="3694049" y="5308882"/>
              <a:ext cx="246316" cy="571023"/>
              <a:chOff x="3694049" y="5308882"/>
              <a:chExt cx="246316" cy="571023"/>
            </a:xfrm>
          </p:grpSpPr>
          <p:grpSp>
            <p:nvGrpSpPr>
              <p:cNvPr id="2138" name="Gráfico 2132">
                <a:extLst>
                  <a:ext uri="{FF2B5EF4-FFF2-40B4-BE49-F238E27FC236}">
                    <a16:creationId xmlns:a16="http://schemas.microsoft.com/office/drawing/2014/main" id="{D3843C75-CAE3-6DAB-BE23-BAEF04AC37FD}"/>
                  </a:ext>
                </a:extLst>
              </p:cNvPr>
              <p:cNvGrpSpPr/>
              <p:nvPr/>
            </p:nvGrpSpPr>
            <p:grpSpPr>
              <a:xfrm>
                <a:off x="3694049" y="5308882"/>
                <a:ext cx="246316" cy="69818"/>
                <a:chOff x="3694049" y="5308882"/>
                <a:chExt cx="246316" cy="69818"/>
              </a:xfrm>
            </p:grpSpPr>
            <p:sp>
              <p:nvSpPr>
                <p:cNvPr id="2139" name="Forma livre: Forma 2138">
                  <a:extLst>
                    <a:ext uri="{FF2B5EF4-FFF2-40B4-BE49-F238E27FC236}">
                      <a16:creationId xmlns:a16="http://schemas.microsoft.com/office/drawing/2014/main" id="{02235890-30C0-6F55-A09B-3710298F9BA8}"/>
                    </a:ext>
                  </a:extLst>
                </p:cNvPr>
                <p:cNvSpPr/>
                <p:nvPr/>
              </p:nvSpPr>
              <p:spPr>
                <a:xfrm>
                  <a:off x="3694049" y="5308882"/>
                  <a:ext cx="9525" cy="69818"/>
                </a:xfrm>
                <a:custGeom>
                  <a:avLst/>
                  <a:gdLst>
                    <a:gd name="connsiteX0" fmla="*/ 0 w 9525"/>
                    <a:gd name="connsiteY0" fmla="*/ 69818 h 69818"/>
                    <a:gd name="connsiteX1" fmla="*/ 0 w 9525"/>
                    <a:gd name="connsiteY1" fmla="*/ 0 h 6981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9525" h="69818">
                      <a:moveTo>
                        <a:pt x="0" y="69818"/>
                      </a:moveTo>
                      <a:lnTo>
                        <a:pt x="0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140" name="Forma livre: Forma 2139">
                  <a:extLst>
                    <a:ext uri="{FF2B5EF4-FFF2-40B4-BE49-F238E27FC236}">
                      <a16:creationId xmlns:a16="http://schemas.microsoft.com/office/drawing/2014/main" id="{BE7C93F7-8B31-5506-1B11-70F0CB764D7F}"/>
                    </a:ext>
                  </a:extLst>
                </p:cNvPr>
                <p:cNvSpPr/>
                <p:nvPr/>
              </p:nvSpPr>
              <p:spPr>
                <a:xfrm>
                  <a:off x="3755675" y="5308882"/>
                  <a:ext cx="9525" cy="69818"/>
                </a:xfrm>
                <a:custGeom>
                  <a:avLst/>
                  <a:gdLst>
                    <a:gd name="connsiteX0" fmla="*/ 0 w 9525"/>
                    <a:gd name="connsiteY0" fmla="*/ 69818 h 69818"/>
                    <a:gd name="connsiteX1" fmla="*/ 0 w 9525"/>
                    <a:gd name="connsiteY1" fmla="*/ 0 h 6981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9525" h="69818">
                      <a:moveTo>
                        <a:pt x="0" y="69818"/>
                      </a:moveTo>
                      <a:lnTo>
                        <a:pt x="0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141" name="Forma livre: Forma 2140">
                  <a:extLst>
                    <a:ext uri="{FF2B5EF4-FFF2-40B4-BE49-F238E27FC236}">
                      <a16:creationId xmlns:a16="http://schemas.microsoft.com/office/drawing/2014/main" id="{96ED8EE9-512A-A675-B283-7B7069C6D575}"/>
                    </a:ext>
                  </a:extLst>
                </p:cNvPr>
                <p:cNvSpPr/>
                <p:nvPr/>
              </p:nvSpPr>
              <p:spPr>
                <a:xfrm>
                  <a:off x="3817207" y="5308882"/>
                  <a:ext cx="9525" cy="69818"/>
                </a:xfrm>
                <a:custGeom>
                  <a:avLst/>
                  <a:gdLst>
                    <a:gd name="connsiteX0" fmla="*/ 0 w 9525"/>
                    <a:gd name="connsiteY0" fmla="*/ 69818 h 69818"/>
                    <a:gd name="connsiteX1" fmla="*/ 0 w 9525"/>
                    <a:gd name="connsiteY1" fmla="*/ 0 h 6981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9525" h="69818">
                      <a:moveTo>
                        <a:pt x="0" y="69818"/>
                      </a:moveTo>
                      <a:lnTo>
                        <a:pt x="0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142" name="Forma livre: Forma 2141">
                  <a:extLst>
                    <a:ext uri="{FF2B5EF4-FFF2-40B4-BE49-F238E27FC236}">
                      <a16:creationId xmlns:a16="http://schemas.microsoft.com/office/drawing/2014/main" id="{67A2096B-9710-DE84-C6FE-90093E419870}"/>
                    </a:ext>
                  </a:extLst>
                </p:cNvPr>
                <p:cNvSpPr/>
                <p:nvPr/>
              </p:nvSpPr>
              <p:spPr>
                <a:xfrm>
                  <a:off x="3878834" y="5308882"/>
                  <a:ext cx="9525" cy="69818"/>
                </a:xfrm>
                <a:custGeom>
                  <a:avLst/>
                  <a:gdLst>
                    <a:gd name="connsiteX0" fmla="*/ 0 w 9525"/>
                    <a:gd name="connsiteY0" fmla="*/ 69818 h 69818"/>
                    <a:gd name="connsiteX1" fmla="*/ 0 w 9525"/>
                    <a:gd name="connsiteY1" fmla="*/ 0 h 6981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9525" h="69818">
                      <a:moveTo>
                        <a:pt x="0" y="69818"/>
                      </a:moveTo>
                      <a:lnTo>
                        <a:pt x="0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143" name="Forma livre: Forma 2142">
                  <a:extLst>
                    <a:ext uri="{FF2B5EF4-FFF2-40B4-BE49-F238E27FC236}">
                      <a16:creationId xmlns:a16="http://schemas.microsoft.com/office/drawing/2014/main" id="{2EFC171A-50B2-5092-E85C-08D0D98FF890}"/>
                    </a:ext>
                  </a:extLst>
                </p:cNvPr>
                <p:cNvSpPr/>
                <p:nvPr/>
              </p:nvSpPr>
              <p:spPr>
                <a:xfrm>
                  <a:off x="3940365" y="5308882"/>
                  <a:ext cx="9525" cy="69818"/>
                </a:xfrm>
                <a:custGeom>
                  <a:avLst/>
                  <a:gdLst>
                    <a:gd name="connsiteX0" fmla="*/ 0 w 9525"/>
                    <a:gd name="connsiteY0" fmla="*/ 69818 h 69818"/>
                    <a:gd name="connsiteX1" fmla="*/ 0 w 9525"/>
                    <a:gd name="connsiteY1" fmla="*/ 0 h 6981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9525" h="69818">
                      <a:moveTo>
                        <a:pt x="0" y="69818"/>
                      </a:moveTo>
                      <a:lnTo>
                        <a:pt x="0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2144" name="Gráfico 2132">
                <a:extLst>
                  <a:ext uri="{FF2B5EF4-FFF2-40B4-BE49-F238E27FC236}">
                    <a16:creationId xmlns:a16="http://schemas.microsoft.com/office/drawing/2014/main" id="{6A918EBE-BA00-6BC8-1342-B404785D6148}"/>
                  </a:ext>
                </a:extLst>
              </p:cNvPr>
              <p:cNvGrpSpPr/>
              <p:nvPr/>
            </p:nvGrpSpPr>
            <p:grpSpPr>
              <a:xfrm>
                <a:off x="3694049" y="5810182"/>
                <a:ext cx="246316" cy="69723"/>
                <a:chOff x="3694049" y="5810182"/>
                <a:chExt cx="246316" cy="69723"/>
              </a:xfrm>
            </p:grpSpPr>
            <p:sp>
              <p:nvSpPr>
                <p:cNvPr id="2145" name="Forma livre: Forma 2144">
                  <a:extLst>
                    <a:ext uri="{FF2B5EF4-FFF2-40B4-BE49-F238E27FC236}">
                      <a16:creationId xmlns:a16="http://schemas.microsoft.com/office/drawing/2014/main" id="{9D7DA656-5A03-F989-0B83-975329C6DC7A}"/>
                    </a:ext>
                  </a:extLst>
                </p:cNvPr>
                <p:cNvSpPr/>
                <p:nvPr/>
              </p:nvSpPr>
              <p:spPr>
                <a:xfrm>
                  <a:off x="3694049" y="5810182"/>
                  <a:ext cx="9525" cy="69723"/>
                </a:xfrm>
                <a:custGeom>
                  <a:avLst/>
                  <a:gdLst>
                    <a:gd name="connsiteX0" fmla="*/ 0 w 9525"/>
                    <a:gd name="connsiteY0" fmla="*/ 69723 h 69723"/>
                    <a:gd name="connsiteX1" fmla="*/ 0 w 9525"/>
                    <a:gd name="connsiteY1" fmla="*/ 0 h 6972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9525" h="69723">
                      <a:moveTo>
                        <a:pt x="0" y="69723"/>
                      </a:moveTo>
                      <a:lnTo>
                        <a:pt x="0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146" name="Forma livre: Forma 2145">
                  <a:extLst>
                    <a:ext uri="{FF2B5EF4-FFF2-40B4-BE49-F238E27FC236}">
                      <a16:creationId xmlns:a16="http://schemas.microsoft.com/office/drawing/2014/main" id="{A71A8B17-69AE-01C2-DBA7-CB1A88D964C7}"/>
                    </a:ext>
                  </a:extLst>
                </p:cNvPr>
                <p:cNvSpPr/>
                <p:nvPr/>
              </p:nvSpPr>
              <p:spPr>
                <a:xfrm>
                  <a:off x="3755675" y="5810182"/>
                  <a:ext cx="9525" cy="69723"/>
                </a:xfrm>
                <a:custGeom>
                  <a:avLst/>
                  <a:gdLst>
                    <a:gd name="connsiteX0" fmla="*/ 0 w 9525"/>
                    <a:gd name="connsiteY0" fmla="*/ 69723 h 69723"/>
                    <a:gd name="connsiteX1" fmla="*/ 0 w 9525"/>
                    <a:gd name="connsiteY1" fmla="*/ 0 h 6972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9525" h="69723">
                      <a:moveTo>
                        <a:pt x="0" y="69723"/>
                      </a:moveTo>
                      <a:lnTo>
                        <a:pt x="0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147" name="Forma livre: Forma 2146">
                  <a:extLst>
                    <a:ext uri="{FF2B5EF4-FFF2-40B4-BE49-F238E27FC236}">
                      <a16:creationId xmlns:a16="http://schemas.microsoft.com/office/drawing/2014/main" id="{546E40C5-88F4-B160-DF50-E2DEFE16507A}"/>
                    </a:ext>
                  </a:extLst>
                </p:cNvPr>
                <p:cNvSpPr/>
                <p:nvPr/>
              </p:nvSpPr>
              <p:spPr>
                <a:xfrm>
                  <a:off x="3817207" y="5810182"/>
                  <a:ext cx="9525" cy="69723"/>
                </a:xfrm>
                <a:custGeom>
                  <a:avLst/>
                  <a:gdLst>
                    <a:gd name="connsiteX0" fmla="*/ 0 w 9525"/>
                    <a:gd name="connsiteY0" fmla="*/ 69723 h 69723"/>
                    <a:gd name="connsiteX1" fmla="*/ 0 w 9525"/>
                    <a:gd name="connsiteY1" fmla="*/ 0 h 6972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9525" h="69723">
                      <a:moveTo>
                        <a:pt x="0" y="69723"/>
                      </a:moveTo>
                      <a:lnTo>
                        <a:pt x="0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148" name="Forma livre: Forma 2147">
                  <a:extLst>
                    <a:ext uri="{FF2B5EF4-FFF2-40B4-BE49-F238E27FC236}">
                      <a16:creationId xmlns:a16="http://schemas.microsoft.com/office/drawing/2014/main" id="{A6272B9C-C7F0-9780-B26A-22D33A2A7B3D}"/>
                    </a:ext>
                  </a:extLst>
                </p:cNvPr>
                <p:cNvSpPr/>
                <p:nvPr/>
              </p:nvSpPr>
              <p:spPr>
                <a:xfrm>
                  <a:off x="3878834" y="5810182"/>
                  <a:ext cx="9525" cy="69723"/>
                </a:xfrm>
                <a:custGeom>
                  <a:avLst/>
                  <a:gdLst>
                    <a:gd name="connsiteX0" fmla="*/ 0 w 9525"/>
                    <a:gd name="connsiteY0" fmla="*/ 69723 h 69723"/>
                    <a:gd name="connsiteX1" fmla="*/ 0 w 9525"/>
                    <a:gd name="connsiteY1" fmla="*/ 0 h 6972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9525" h="69723">
                      <a:moveTo>
                        <a:pt x="0" y="69723"/>
                      </a:moveTo>
                      <a:lnTo>
                        <a:pt x="0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149" name="Forma livre: Forma 2148">
                  <a:extLst>
                    <a:ext uri="{FF2B5EF4-FFF2-40B4-BE49-F238E27FC236}">
                      <a16:creationId xmlns:a16="http://schemas.microsoft.com/office/drawing/2014/main" id="{41CC8422-C0FF-8CBC-188D-CF30DA07E73E}"/>
                    </a:ext>
                  </a:extLst>
                </p:cNvPr>
                <p:cNvSpPr/>
                <p:nvPr/>
              </p:nvSpPr>
              <p:spPr>
                <a:xfrm>
                  <a:off x="3940365" y="5810182"/>
                  <a:ext cx="9525" cy="69723"/>
                </a:xfrm>
                <a:custGeom>
                  <a:avLst/>
                  <a:gdLst>
                    <a:gd name="connsiteX0" fmla="*/ 0 w 9525"/>
                    <a:gd name="connsiteY0" fmla="*/ 69723 h 69723"/>
                    <a:gd name="connsiteX1" fmla="*/ 0 w 9525"/>
                    <a:gd name="connsiteY1" fmla="*/ 0 h 6972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9525" h="69723">
                      <a:moveTo>
                        <a:pt x="0" y="69723"/>
                      </a:moveTo>
                      <a:lnTo>
                        <a:pt x="0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grpSp>
          <p:nvGrpSpPr>
            <p:cNvPr id="2150" name="Gráfico 2132">
              <a:extLst>
                <a:ext uri="{FF2B5EF4-FFF2-40B4-BE49-F238E27FC236}">
                  <a16:creationId xmlns:a16="http://schemas.microsoft.com/office/drawing/2014/main" id="{AD291E61-684B-4FA3-B338-93DB9F74D135}"/>
                </a:ext>
              </a:extLst>
            </p:cNvPr>
            <p:cNvGrpSpPr/>
            <p:nvPr/>
          </p:nvGrpSpPr>
          <p:grpSpPr>
            <a:xfrm>
              <a:off x="3530600" y="5471283"/>
              <a:ext cx="571023" cy="246316"/>
              <a:chOff x="3530600" y="5471283"/>
              <a:chExt cx="571023" cy="246316"/>
            </a:xfrm>
          </p:grpSpPr>
          <p:grpSp>
            <p:nvGrpSpPr>
              <p:cNvPr id="2151" name="Gráfico 2132">
                <a:extLst>
                  <a:ext uri="{FF2B5EF4-FFF2-40B4-BE49-F238E27FC236}">
                    <a16:creationId xmlns:a16="http://schemas.microsoft.com/office/drawing/2014/main" id="{44E970CD-9235-D519-0B9B-4646E429B6AC}"/>
                  </a:ext>
                </a:extLst>
              </p:cNvPr>
              <p:cNvGrpSpPr/>
              <p:nvPr/>
            </p:nvGrpSpPr>
            <p:grpSpPr>
              <a:xfrm>
                <a:off x="4031900" y="5471283"/>
                <a:ext cx="69723" cy="246316"/>
                <a:chOff x="4031900" y="5471283"/>
                <a:chExt cx="69723" cy="246316"/>
              </a:xfrm>
            </p:grpSpPr>
            <p:sp>
              <p:nvSpPr>
                <p:cNvPr id="2152" name="Forma livre: Forma 2151">
                  <a:extLst>
                    <a:ext uri="{FF2B5EF4-FFF2-40B4-BE49-F238E27FC236}">
                      <a16:creationId xmlns:a16="http://schemas.microsoft.com/office/drawing/2014/main" id="{8C61B6EA-0871-C856-2F37-5A599F934429}"/>
                    </a:ext>
                  </a:extLst>
                </p:cNvPr>
                <p:cNvSpPr/>
                <p:nvPr/>
              </p:nvSpPr>
              <p:spPr>
                <a:xfrm>
                  <a:off x="4031900" y="5471283"/>
                  <a:ext cx="69723" cy="9525"/>
                </a:xfrm>
                <a:custGeom>
                  <a:avLst/>
                  <a:gdLst>
                    <a:gd name="connsiteX0" fmla="*/ 0 w 69723"/>
                    <a:gd name="connsiteY0" fmla="*/ 0 h 9525"/>
                    <a:gd name="connsiteX1" fmla="*/ 69723 w 69723"/>
                    <a:gd name="connsiteY1" fmla="*/ 0 h 952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69723" h="9525">
                      <a:moveTo>
                        <a:pt x="0" y="0"/>
                      </a:moveTo>
                      <a:lnTo>
                        <a:pt x="69723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153" name="Forma livre: Forma 2152">
                  <a:extLst>
                    <a:ext uri="{FF2B5EF4-FFF2-40B4-BE49-F238E27FC236}">
                      <a16:creationId xmlns:a16="http://schemas.microsoft.com/office/drawing/2014/main" id="{EFF1806D-B999-E74E-C565-35C1A88C130A}"/>
                    </a:ext>
                  </a:extLst>
                </p:cNvPr>
                <p:cNvSpPr/>
                <p:nvPr/>
              </p:nvSpPr>
              <p:spPr>
                <a:xfrm>
                  <a:off x="4031900" y="5532814"/>
                  <a:ext cx="69723" cy="9525"/>
                </a:xfrm>
                <a:custGeom>
                  <a:avLst/>
                  <a:gdLst>
                    <a:gd name="connsiteX0" fmla="*/ 0 w 69723"/>
                    <a:gd name="connsiteY0" fmla="*/ 0 h 9525"/>
                    <a:gd name="connsiteX1" fmla="*/ 69723 w 69723"/>
                    <a:gd name="connsiteY1" fmla="*/ 0 h 952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69723" h="9525">
                      <a:moveTo>
                        <a:pt x="0" y="0"/>
                      </a:moveTo>
                      <a:lnTo>
                        <a:pt x="69723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154" name="Forma livre: Forma 2153">
                  <a:extLst>
                    <a:ext uri="{FF2B5EF4-FFF2-40B4-BE49-F238E27FC236}">
                      <a16:creationId xmlns:a16="http://schemas.microsoft.com/office/drawing/2014/main" id="{CAD5AFC3-FC64-35C4-2C05-F0A81593254E}"/>
                    </a:ext>
                  </a:extLst>
                </p:cNvPr>
                <p:cNvSpPr/>
                <p:nvPr/>
              </p:nvSpPr>
              <p:spPr>
                <a:xfrm>
                  <a:off x="4031900" y="5594441"/>
                  <a:ext cx="69723" cy="9525"/>
                </a:xfrm>
                <a:custGeom>
                  <a:avLst/>
                  <a:gdLst>
                    <a:gd name="connsiteX0" fmla="*/ 0 w 69723"/>
                    <a:gd name="connsiteY0" fmla="*/ 0 h 9525"/>
                    <a:gd name="connsiteX1" fmla="*/ 69723 w 69723"/>
                    <a:gd name="connsiteY1" fmla="*/ 0 h 952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69723" h="9525">
                      <a:moveTo>
                        <a:pt x="0" y="0"/>
                      </a:moveTo>
                      <a:lnTo>
                        <a:pt x="69723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155" name="Forma livre: Forma 2154">
                  <a:extLst>
                    <a:ext uri="{FF2B5EF4-FFF2-40B4-BE49-F238E27FC236}">
                      <a16:creationId xmlns:a16="http://schemas.microsoft.com/office/drawing/2014/main" id="{981B9D64-3D09-BB26-FA23-5828C3BA8416}"/>
                    </a:ext>
                  </a:extLst>
                </p:cNvPr>
                <p:cNvSpPr/>
                <p:nvPr/>
              </p:nvSpPr>
              <p:spPr>
                <a:xfrm>
                  <a:off x="4031900" y="5655973"/>
                  <a:ext cx="69723" cy="9525"/>
                </a:xfrm>
                <a:custGeom>
                  <a:avLst/>
                  <a:gdLst>
                    <a:gd name="connsiteX0" fmla="*/ 0 w 69723"/>
                    <a:gd name="connsiteY0" fmla="*/ 0 h 9525"/>
                    <a:gd name="connsiteX1" fmla="*/ 69723 w 69723"/>
                    <a:gd name="connsiteY1" fmla="*/ 0 h 952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69723" h="9525">
                      <a:moveTo>
                        <a:pt x="0" y="0"/>
                      </a:moveTo>
                      <a:lnTo>
                        <a:pt x="69723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156" name="Forma livre: Forma 2155">
                  <a:extLst>
                    <a:ext uri="{FF2B5EF4-FFF2-40B4-BE49-F238E27FC236}">
                      <a16:creationId xmlns:a16="http://schemas.microsoft.com/office/drawing/2014/main" id="{7447F827-4612-0B29-F836-1940086F57C5}"/>
                    </a:ext>
                  </a:extLst>
                </p:cNvPr>
                <p:cNvSpPr/>
                <p:nvPr/>
              </p:nvSpPr>
              <p:spPr>
                <a:xfrm>
                  <a:off x="4031900" y="5717599"/>
                  <a:ext cx="69723" cy="9525"/>
                </a:xfrm>
                <a:custGeom>
                  <a:avLst/>
                  <a:gdLst>
                    <a:gd name="connsiteX0" fmla="*/ 0 w 69723"/>
                    <a:gd name="connsiteY0" fmla="*/ 0 h 9525"/>
                    <a:gd name="connsiteX1" fmla="*/ 69723 w 69723"/>
                    <a:gd name="connsiteY1" fmla="*/ 0 h 952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69723" h="9525">
                      <a:moveTo>
                        <a:pt x="0" y="0"/>
                      </a:moveTo>
                      <a:lnTo>
                        <a:pt x="69723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2157" name="Gráfico 2132">
                <a:extLst>
                  <a:ext uri="{FF2B5EF4-FFF2-40B4-BE49-F238E27FC236}">
                    <a16:creationId xmlns:a16="http://schemas.microsoft.com/office/drawing/2014/main" id="{9F1D8CEB-4DCA-9A23-A051-C713B3B6DC7E}"/>
                  </a:ext>
                </a:extLst>
              </p:cNvPr>
              <p:cNvGrpSpPr/>
              <p:nvPr/>
            </p:nvGrpSpPr>
            <p:grpSpPr>
              <a:xfrm>
                <a:off x="3530600" y="5471283"/>
                <a:ext cx="69818" cy="246316"/>
                <a:chOff x="3530600" y="5471283"/>
                <a:chExt cx="69818" cy="246316"/>
              </a:xfrm>
            </p:grpSpPr>
            <p:sp>
              <p:nvSpPr>
                <p:cNvPr id="2158" name="Forma livre: Forma 2157">
                  <a:extLst>
                    <a:ext uri="{FF2B5EF4-FFF2-40B4-BE49-F238E27FC236}">
                      <a16:creationId xmlns:a16="http://schemas.microsoft.com/office/drawing/2014/main" id="{20D67DDC-3D9A-8AEA-80B5-E69099E64198}"/>
                    </a:ext>
                  </a:extLst>
                </p:cNvPr>
                <p:cNvSpPr/>
                <p:nvPr/>
              </p:nvSpPr>
              <p:spPr>
                <a:xfrm>
                  <a:off x="3530600" y="5471283"/>
                  <a:ext cx="69818" cy="9525"/>
                </a:xfrm>
                <a:custGeom>
                  <a:avLst/>
                  <a:gdLst>
                    <a:gd name="connsiteX0" fmla="*/ 0 w 69818"/>
                    <a:gd name="connsiteY0" fmla="*/ 0 h 9525"/>
                    <a:gd name="connsiteX1" fmla="*/ 69818 w 69818"/>
                    <a:gd name="connsiteY1" fmla="*/ 0 h 952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69818" h="9525">
                      <a:moveTo>
                        <a:pt x="0" y="0"/>
                      </a:moveTo>
                      <a:lnTo>
                        <a:pt x="69818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159" name="Forma livre: Forma 2158">
                  <a:extLst>
                    <a:ext uri="{FF2B5EF4-FFF2-40B4-BE49-F238E27FC236}">
                      <a16:creationId xmlns:a16="http://schemas.microsoft.com/office/drawing/2014/main" id="{8E11DC17-4200-671C-01CB-F92318C17BF0}"/>
                    </a:ext>
                  </a:extLst>
                </p:cNvPr>
                <p:cNvSpPr/>
                <p:nvPr/>
              </p:nvSpPr>
              <p:spPr>
                <a:xfrm>
                  <a:off x="3530600" y="5532814"/>
                  <a:ext cx="69818" cy="9525"/>
                </a:xfrm>
                <a:custGeom>
                  <a:avLst/>
                  <a:gdLst>
                    <a:gd name="connsiteX0" fmla="*/ 0 w 69818"/>
                    <a:gd name="connsiteY0" fmla="*/ 0 h 9525"/>
                    <a:gd name="connsiteX1" fmla="*/ 69818 w 69818"/>
                    <a:gd name="connsiteY1" fmla="*/ 0 h 952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69818" h="9525">
                      <a:moveTo>
                        <a:pt x="0" y="0"/>
                      </a:moveTo>
                      <a:lnTo>
                        <a:pt x="69818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160" name="Forma livre: Forma 2159">
                  <a:extLst>
                    <a:ext uri="{FF2B5EF4-FFF2-40B4-BE49-F238E27FC236}">
                      <a16:creationId xmlns:a16="http://schemas.microsoft.com/office/drawing/2014/main" id="{B4D8E39A-771E-D109-16E8-C9B87522372F}"/>
                    </a:ext>
                  </a:extLst>
                </p:cNvPr>
                <p:cNvSpPr/>
                <p:nvPr/>
              </p:nvSpPr>
              <p:spPr>
                <a:xfrm>
                  <a:off x="3530600" y="5594441"/>
                  <a:ext cx="69818" cy="9525"/>
                </a:xfrm>
                <a:custGeom>
                  <a:avLst/>
                  <a:gdLst>
                    <a:gd name="connsiteX0" fmla="*/ 0 w 69818"/>
                    <a:gd name="connsiteY0" fmla="*/ 0 h 9525"/>
                    <a:gd name="connsiteX1" fmla="*/ 69818 w 69818"/>
                    <a:gd name="connsiteY1" fmla="*/ 0 h 952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69818" h="9525">
                      <a:moveTo>
                        <a:pt x="0" y="0"/>
                      </a:moveTo>
                      <a:lnTo>
                        <a:pt x="69818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161" name="Forma livre: Forma 2160">
                  <a:extLst>
                    <a:ext uri="{FF2B5EF4-FFF2-40B4-BE49-F238E27FC236}">
                      <a16:creationId xmlns:a16="http://schemas.microsoft.com/office/drawing/2014/main" id="{ED029313-4FC7-D5E3-B32E-E45F282BDBA0}"/>
                    </a:ext>
                  </a:extLst>
                </p:cNvPr>
                <p:cNvSpPr/>
                <p:nvPr/>
              </p:nvSpPr>
              <p:spPr>
                <a:xfrm>
                  <a:off x="3530600" y="5655973"/>
                  <a:ext cx="69818" cy="9525"/>
                </a:xfrm>
                <a:custGeom>
                  <a:avLst/>
                  <a:gdLst>
                    <a:gd name="connsiteX0" fmla="*/ 0 w 69818"/>
                    <a:gd name="connsiteY0" fmla="*/ 0 h 9525"/>
                    <a:gd name="connsiteX1" fmla="*/ 69818 w 69818"/>
                    <a:gd name="connsiteY1" fmla="*/ 0 h 952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69818" h="9525">
                      <a:moveTo>
                        <a:pt x="0" y="0"/>
                      </a:moveTo>
                      <a:lnTo>
                        <a:pt x="69818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162" name="Forma livre: Forma 2161">
                  <a:extLst>
                    <a:ext uri="{FF2B5EF4-FFF2-40B4-BE49-F238E27FC236}">
                      <a16:creationId xmlns:a16="http://schemas.microsoft.com/office/drawing/2014/main" id="{F083B228-9285-FEE4-C29F-BF19D9A060AD}"/>
                    </a:ext>
                  </a:extLst>
                </p:cNvPr>
                <p:cNvSpPr/>
                <p:nvPr/>
              </p:nvSpPr>
              <p:spPr>
                <a:xfrm>
                  <a:off x="3530600" y="5717599"/>
                  <a:ext cx="69818" cy="9525"/>
                </a:xfrm>
                <a:custGeom>
                  <a:avLst/>
                  <a:gdLst>
                    <a:gd name="connsiteX0" fmla="*/ 0 w 69818"/>
                    <a:gd name="connsiteY0" fmla="*/ 0 h 9525"/>
                    <a:gd name="connsiteX1" fmla="*/ 69818 w 69818"/>
                    <a:gd name="connsiteY1" fmla="*/ 0 h 952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69818" h="9525">
                      <a:moveTo>
                        <a:pt x="0" y="0"/>
                      </a:moveTo>
                      <a:lnTo>
                        <a:pt x="69818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</p:grpSp>
      <p:grpSp>
        <p:nvGrpSpPr>
          <p:cNvPr id="2174" name="Agrupar 2173">
            <a:extLst>
              <a:ext uri="{FF2B5EF4-FFF2-40B4-BE49-F238E27FC236}">
                <a16:creationId xmlns:a16="http://schemas.microsoft.com/office/drawing/2014/main" id="{CAF9D3C8-2796-1CC4-A581-8A28AD9A31C9}"/>
              </a:ext>
            </a:extLst>
          </p:cNvPr>
          <p:cNvGrpSpPr/>
          <p:nvPr/>
        </p:nvGrpSpPr>
        <p:grpSpPr>
          <a:xfrm>
            <a:off x="3950496" y="4719637"/>
            <a:ext cx="278608" cy="278608"/>
            <a:chOff x="3766343" y="4777863"/>
            <a:chExt cx="522255" cy="522255"/>
          </a:xfrm>
        </p:grpSpPr>
        <p:sp>
          <p:nvSpPr>
            <p:cNvPr id="2167" name="Forma livre: Forma 2166">
              <a:extLst>
                <a:ext uri="{FF2B5EF4-FFF2-40B4-BE49-F238E27FC236}">
                  <a16:creationId xmlns:a16="http://schemas.microsoft.com/office/drawing/2014/main" id="{C2784EB5-B8CD-F586-90BB-D711696D07A4}"/>
                </a:ext>
              </a:extLst>
            </p:cNvPr>
            <p:cNvSpPr/>
            <p:nvPr/>
          </p:nvSpPr>
          <p:spPr>
            <a:xfrm>
              <a:off x="3766343" y="4777863"/>
              <a:ext cx="522255" cy="522255"/>
            </a:xfrm>
            <a:custGeom>
              <a:avLst/>
              <a:gdLst>
                <a:gd name="connsiteX0" fmla="*/ 455581 w 522255"/>
                <a:gd name="connsiteY0" fmla="*/ 0 h 522255"/>
                <a:gd name="connsiteX1" fmla="*/ 66675 w 522255"/>
                <a:gd name="connsiteY1" fmla="*/ 0 h 522255"/>
                <a:gd name="connsiteX2" fmla="*/ 0 w 522255"/>
                <a:gd name="connsiteY2" fmla="*/ 66675 h 522255"/>
                <a:gd name="connsiteX3" fmla="*/ 0 w 522255"/>
                <a:gd name="connsiteY3" fmla="*/ 455581 h 522255"/>
                <a:gd name="connsiteX4" fmla="*/ 66675 w 522255"/>
                <a:gd name="connsiteY4" fmla="*/ 522256 h 522255"/>
                <a:gd name="connsiteX5" fmla="*/ 455581 w 522255"/>
                <a:gd name="connsiteY5" fmla="*/ 522256 h 522255"/>
                <a:gd name="connsiteX6" fmla="*/ 522256 w 522255"/>
                <a:gd name="connsiteY6" fmla="*/ 455581 h 522255"/>
                <a:gd name="connsiteX7" fmla="*/ 522256 w 522255"/>
                <a:gd name="connsiteY7" fmla="*/ 66675 h 522255"/>
                <a:gd name="connsiteX8" fmla="*/ 455581 w 522255"/>
                <a:gd name="connsiteY8" fmla="*/ 0 h 522255"/>
                <a:gd name="connsiteX9" fmla="*/ 455581 w 522255"/>
                <a:gd name="connsiteY9" fmla="*/ 0 h 5222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22255" h="522255">
                  <a:moveTo>
                    <a:pt x="455581" y="0"/>
                  </a:moveTo>
                  <a:lnTo>
                    <a:pt x="66675" y="0"/>
                  </a:lnTo>
                  <a:cubicBezTo>
                    <a:pt x="30004" y="0"/>
                    <a:pt x="0" y="30004"/>
                    <a:pt x="0" y="66675"/>
                  </a:cubicBezTo>
                  <a:lnTo>
                    <a:pt x="0" y="455581"/>
                  </a:lnTo>
                  <a:cubicBezTo>
                    <a:pt x="0" y="492252"/>
                    <a:pt x="30004" y="522256"/>
                    <a:pt x="66675" y="522256"/>
                  </a:cubicBezTo>
                  <a:lnTo>
                    <a:pt x="455581" y="522256"/>
                  </a:lnTo>
                  <a:cubicBezTo>
                    <a:pt x="492252" y="522256"/>
                    <a:pt x="522256" y="492252"/>
                    <a:pt x="522256" y="455581"/>
                  </a:cubicBezTo>
                  <a:lnTo>
                    <a:pt x="522256" y="66675"/>
                  </a:lnTo>
                  <a:cubicBezTo>
                    <a:pt x="522256" y="30004"/>
                    <a:pt x="492252" y="0"/>
                    <a:pt x="455581" y="0"/>
                  </a:cubicBezTo>
                  <a:lnTo>
                    <a:pt x="455581" y="0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68" name="Forma livre: Forma 2167">
              <a:extLst>
                <a:ext uri="{FF2B5EF4-FFF2-40B4-BE49-F238E27FC236}">
                  <a16:creationId xmlns:a16="http://schemas.microsoft.com/office/drawing/2014/main" id="{1ABD81FE-CBBB-6C3F-2C9F-C5134E31F478}"/>
                </a:ext>
              </a:extLst>
            </p:cNvPr>
            <p:cNvSpPr/>
            <p:nvPr/>
          </p:nvSpPr>
          <p:spPr>
            <a:xfrm>
              <a:off x="3852734" y="4899021"/>
              <a:ext cx="349472" cy="278034"/>
            </a:xfrm>
            <a:custGeom>
              <a:avLst/>
              <a:gdLst>
                <a:gd name="connsiteX0" fmla="*/ 262223 w 349472"/>
                <a:gd name="connsiteY0" fmla="*/ 278035 h 278034"/>
                <a:gd name="connsiteX1" fmla="*/ 262223 w 349472"/>
                <a:gd name="connsiteY1" fmla="*/ 225362 h 278034"/>
                <a:gd name="connsiteX2" fmla="*/ 296799 w 349472"/>
                <a:gd name="connsiteY2" fmla="*/ 225362 h 278034"/>
                <a:gd name="connsiteX3" fmla="*/ 296799 w 349472"/>
                <a:gd name="connsiteY3" fmla="*/ 172784 h 278034"/>
                <a:gd name="connsiteX4" fmla="*/ 349472 w 349472"/>
                <a:gd name="connsiteY4" fmla="*/ 172784 h 278034"/>
                <a:gd name="connsiteX5" fmla="*/ 349472 w 349472"/>
                <a:gd name="connsiteY5" fmla="*/ 0 h 278034"/>
                <a:gd name="connsiteX6" fmla="*/ 0 w 349472"/>
                <a:gd name="connsiteY6" fmla="*/ 0 h 278034"/>
                <a:gd name="connsiteX7" fmla="*/ 0 w 349472"/>
                <a:gd name="connsiteY7" fmla="*/ 172784 h 278034"/>
                <a:gd name="connsiteX8" fmla="*/ 52673 w 349472"/>
                <a:gd name="connsiteY8" fmla="*/ 172784 h 278034"/>
                <a:gd name="connsiteX9" fmla="*/ 52673 w 349472"/>
                <a:gd name="connsiteY9" fmla="*/ 225362 h 278034"/>
                <a:gd name="connsiteX10" fmla="*/ 87249 w 349472"/>
                <a:gd name="connsiteY10" fmla="*/ 225362 h 278034"/>
                <a:gd name="connsiteX11" fmla="*/ 87249 w 349472"/>
                <a:gd name="connsiteY11" fmla="*/ 278035 h 278034"/>
                <a:gd name="connsiteX12" fmla="*/ 262223 w 349472"/>
                <a:gd name="connsiteY12" fmla="*/ 278035 h 2780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49472" h="278034">
                  <a:moveTo>
                    <a:pt x="262223" y="278035"/>
                  </a:moveTo>
                  <a:lnTo>
                    <a:pt x="262223" y="225362"/>
                  </a:lnTo>
                  <a:lnTo>
                    <a:pt x="296799" y="225362"/>
                  </a:lnTo>
                  <a:lnTo>
                    <a:pt x="296799" y="172784"/>
                  </a:lnTo>
                  <a:lnTo>
                    <a:pt x="349472" y="172784"/>
                  </a:lnTo>
                  <a:lnTo>
                    <a:pt x="349472" y="0"/>
                  </a:lnTo>
                  <a:lnTo>
                    <a:pt x="0" y="0"/>
                  </a:lnTo>
                  <a:lnTo>
                    <a:pt x="0" y="172784"/>
                  </a:lnTo>
                  <a:lnTo>
                    <a:pt x="52673" y="172784"/>
                  </a:lnTo>
                  <a:lnTo>
                    <a:pt x="52673" y="225362"/>
                  </a:lnTo>
                  <a:lnTo>
                    <a:pt x="87249" y="225362"/>
                  </a:lnTo>
                  <a:lnTo>
                    <a:pt x="87249" y="278035"/>
                  </a:lnTo>
                  <a:lnTo>
                    <a:pt x="262223" y="278035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2169" name="Gráfico 2164">
              <a:extLst>
                <a:ext uri="{FF2B5EF4-FFF2-40B4-BE49-F238E27FC236}">
                  <a16:creationId xmlns:a16="http://schemas.microsoft.com/office/drawing/2014/main" id="{30E0867A-CBA8-B605-0853-B64D0E47D4BE}"/>
                </a:ext>
              </a:extLst>
            </p:cNvPr>
            <p:cNvGrpSpPr/>
            <p:nvPr/>
          </p:nvGrpSpPr>
          <p:grpSpPr>
            <a:xfrm>
              <a:off x="3930840" y="4940550"/>
              <a:ext cx="193262" cy="87439"/>
              <a:chOff x="3930840" y="4940550"/>
              <a:chExt cx="193262" cy="87439"/>
            </a:xfrm>
          </p:grpSpPr>
          <p:sp>
            <p:nvSpPr>
              <p:cNvPr id="2170" name="Forma livre: Forma 2169">
                <a:extLst>
                  <a:ext uri="{FF2B5EF4-FFF2-40B4-BE49-F238E27FC236}">
                    <a16:creationId xmlns:a16="http://schemas.microsoft.com/office/drawing/2014/main" id="{9C04D398-9539-690D-C5EC-D4CCC90F327F}"/>
                  </a:ext>
                </a:extLst>
              </p:cNvPr>
              <p:cNvSpPr/>
              <p:nvPr/>
            </p:nvSpPr>
            <p:spPr>
              <a:xfrm>
                <a:off x="3930840" y="4940550"/>
                <a:ext cx="9525" cy="87439"/>
              </a:xfrm>
              <a:custGeom>
                <a:avLst/>
                <a:gdLst>
                  <a:gd name="connsiteX0" fmla="*/ 0 w 9525"/>
                  <a:gd name="connsiteY0" fmla="*/ 0 h 87439"/>
                  <a:gd name="connsiteX1" fmla="*/ 0 w 9525"/>
                  <a:gd name="connsiteY1" fmla="*/ 87440 h 874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525" h="87439">
                    <a:moveTo>
                      <a:pt x="0" y="0"/>
                    </a:moveTo>
                    <a:lnTo>
                      <a:pt x="0" y="8744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171" name="Forma livre: Forma 2170">
                <a:extLst>
                  <a:ext uri="{FF2B5EF4-FFF2-40B4-BE49-F238E27FC236}">
                    <a16:creationId xmlns:a16="http://schemas.microsoft.com/office/drawing/2014/main" id="{D75A3251-CD97-ED16-BDBA-99121C5306BE}"/>
                  </a:ext>
                </a:extLst>
              </p:cNvPr>
              <p:cNvSpPr/>
              <p:nvPr/>
            </p:nvSpPr>
            <p:spPr>
              <a:xfrm>
                <a:off x="3995229" y="4940550"/>
                <a:ext cx="9525" cy="87439"/>
              </a:xfrm>
              <a:custGeom>
                <a:avLst/>
                <a:gdLst>
                  <a:gd name="connsiteX0" fmla="*/ 0 w 9525"/>
                  <a:gd name="connsiteY0" fmla="*/ 0 h 87439"/>
                  <a:gd name="connsiteX1" fmla="*/ 0 w 9525"/>
                  <a:gd name="connsiteY1" fmla="*/ 87440 h 874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525" h="87439">
                    <a:moveTo>
                      <a:pt x="0" y="0"/>
                    </a:moveTo>
                    <a:lnTo>
                      <a:pt x="0" y="8744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172" name="Forma livre: Forma 2171">
                <a:extLst>
                  <a:ext uri="{FF2B5EF4-FFF2-40B4-BE49-F238E27FC236}">
                    <a16:creationId xmlns:a16="http://schemas.microsoft.com/office/drawing/2014/main" id="{F0A981C4-4D94-C55E-B84C-593ED7A335F7}"/>
                  </a:ext>
                </a:extLst>
              </p:cNvPr>
              <p:cNvSpPr/>
              <p:nvPr/>
            </p:nvSpPr>
            <p:spPr>
              <a:xfrm>
                <a:off x="4059713" y="4940550"/>
                <a:ext cx="9525" cy="87439"/>
              </a:xfrm>
              <a:custGeom>
                <a:avLst/>
                <a:gdLst>
                  <a:gd name="connsiteX0" fmla="*/ 0 w 9525"/>
                  <a:gd name="connsiteY0" fmla="*/ 0 h 87439"/>
                  <a:gd name="connsiteX1" fmla="*/ 0 w 9525"/>
                  <a:gd name="connsiteY1" fmla="*/ 87440 h 874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525" h="87439">
                    <a:moveTo>
                      <a:pt x="0" y="0"/>
                    </a:moveTo>
                    <a:lnTo>
                      <a:pt x="0" y="8744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173" name="Forma livre: Forma 2172">
                <a:extLst>
                  <a:ext uri="{FF2B5EF4-FFF2-40B4-BE49-F238E27FC236}">
                    <a16:creationId xmlns:a16="http://schemas.microsoft.com/office/drawing/2014/main" id="{AD4BF68F-5D4A-3FFF-7EB9-94D583383EA7}"/>
                  </a:ext>
                </a:extLst>
              </p:cNvPr>
              <p:cNvSpPr/>
              <p:nvPr/>
            </p:nvSpPr>
            <p:spPr>
              <a:xfrm>
                <a:off x="4124102" y="4940550"/>
                <a:ext cx="9525" cy="87439"/>
              </a:xfrm>
              <a:custGeom>
                <a:avLst/>
                <a:gdLst>
                  <a:gd name="connsiteX0" fmla="*/ 0 w 9525"/>
                  <a:gd name="connsiteY0" fmla="*/ 0 h 87439"/>
                  <a:gd name="connsiteX1" fmla="*/ 0 w 9525"/>
                  <a:gd name="connsiteY1" fmla="*/ 87440 h 874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525" h="87439">
                    <a:moveTo>
                      <a:pt x="0" y="0"/>
                    </a:moveTo>
                    <a:lnTo>
                      <a:pt x="0" y="8744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2189" name="Agrupar 2188">
            <a:extLst>
              <a:ext uri="{FF2B5EF4-FFF2-40B4-BE49-F238E27FC236}">
                <a16:creationId xmlns:a16="http://schemas.microsoft.com/office/drawing/2014/main" id="{50811038-96DF-5680-172B-9B4FF2F2A24E}"/>
              </a:ext>
            </a:extLst>
          </p:cNvPr>
          <p:cNvGrpSpPr/>
          <p:nvPr/>
        </p:nvGrpSpPr>
        <p:grpSpPr>
          <a:xfrm>
            <a:off x="3967727" y="3629025"/>
            <a:ext cx="251848" cy="307246"/>
            <a:chOff x="3681888" y="3637121"/>
            <a:chExt cx="496252" cy="605408"/>
          </a:xfrm>
        </p:grpSpPr>
        <p:grpSp>
          <p:nvGrpSpPr>
            <p:cNvPr id="2178" name="Gráfico 2175">
              <a:extLst>
                <a:ext uri="{FF2B5EF4-FFF2-40B4-BE49-F238E27FC236}">
                  <a16:creationId xmlns:a16="http://schemas.microsoft.com/office/drawing/2014/main" id="{B7CC0E07-82D2-3897-8A68-7F6A0F8D9C71}"/>
                </a:ext>
              </a:extLst>
            </p:cNvPr>
            <p:cNvGrpSpPr/>
            <p:nvPr/>
          </p:nvGrpSpPr>
          <p:grpSpPr>
            <a:xfrm>
              <a:off x="3768756" y="3726275"/>
              <a:ext cx="322516" cy="322516"/>
              <a:chOff x="3768756" y="3726275"/>
              <a:chExt cx="322516" cy="322516"/>
            </a:xfrm>
          </p:grpSpPr>
          <p:sp>
            <p:nvSpPr>
              <p:cNvPr id="2179" name="Forma livre: Forma 2178">
                <a:extLst>
                  <a:ext uri="{FF2B5EF4-FFF2-40B4-BE49-F238E27FC236}">
                    <a16:creationId xmlns:a16="http://schemas.microsoft.com/office/drawing/2014/main" id="{E9963927-ABAA-82E0-AA28-26D10744BCC8}"/>
                  </a:ext>
                </a:extLst>
              </p:cNvPr>
              <p:cNvSpPr/>
              <p:nvPr/>
            </p:nvSpPr>
            <p:spPr>
              <a:xfrm>
                <a:off x="3768756" y="3726275"/>
                <a:ext cx="322516" cy="322516"/>
              </a:xfrm>
              <a:custGeom>
                <a:avLst/>
                <a:gdLst>
                  <a:gd name="connsiteX0" fmla="*/ 52007 w 322516"/>
                  <a:gd name="connsiteY0" fmla="*/ 279845 h 322516"/>
                  <a:gd name="connsiteX1" fmla="*/ 0 w 322516"/>
                  <a:gd name="connsiteY1" fmla="*/ 161258 h 322516"/>
                  <a:gd name="connsiteX2" fmla="*/ 161258 w 322516"/>
                  <a:gd name="connsiteY2" fmla="*/ 0 h 322516"/>
                  <a:gd name="connsiteX3" fmla="*/ 322517 w 322516"/>
                  <a:gd name="connsiteY3" fmla="*/ 161258 h 322516"/>
                  <a:gd name="connsiteX4" fmla="*/ 161258 w 322516"/>
                  <a:gd name="connsiteY4" fmla="*/ 322517 h 322516"/>
                  <a:gd name="connsiteX5" fmla="*/ 152686 w 322516"/>
                  <a:gd name="connsiteY5" fmla="*/ 322326 h 3225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322516" h="322516">
                    <a:moveTo>
                      <a:pt x="52007" y="279845"/>
                    </a:moveTo>
                    <a:cubicBezTo>
                      <a:pt x="20003" y="250412"/>
                      <a:pt x="0" y="208121"/>
                      <a:pt x="0" y="161258"/>
                    </a:cubicBezTo>
                    <a:cubicBezTo>
                      <a:pt x="0" y="72200"/>
                      <a:pt x="72200" y="0"/>
                      <a:pt x="161258" y="0"/>
                    </a:cubicBezTo>
                    <a:cubicBezTo>
                      <a:pt x="250317" y="0"/>
                      <a:pt x="322517" y="72200"/>
                      <a:pt x="322517" y="161258"/>
                    </a:cubicBezTo>
                    <a:cubicBezTo>
                      <a:pt x="322517" y="250317"/>
                      <a:pt x="250317" y="322517"/>
                      <a:pt x="161258" y="322517"/>
                    </a:cubicBezTo>
                    <a:cubicBezTo>
                      <a:pt x="158401" y="322517"/>
                      <a:pt x="155543" y="322517"/>
                      <a:pt x="152686" y="322326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180" name="Forma livre: Forma 2179">
                <a:extLst>
                  <a:ext uri="{FF2B5EF4-FFF2-40B4-BE49-F238E27FC236}">
                    <a16:creationId xmlns:a16="http://schemas.microsoft.com/office/drawing/2014/main" id="{6320EE2D-2061-E413-72E1-66985C537732}"/>
                  </a:ext>
                </a:extLst>
              </p:cNvPr>
              <p:cNvSpPr/>
              <p:nvPr/>
            </p:nvSpPr>
            <p:spPr>
              <a:xfrm>
                <a:off x="3872102" y="3829526"/>
                <a:ext cx="115824" cy="115823"/>
              </a:xfrm>
              <a:custGeom>
                <a:avLst/>
                <a:gdLst>
                  <a:gd name="connsiteX0" fmla="*/ 115824 w 115824"/>
                  <a:gd name="connsiteY0" fmla="*/ 57912 h 115823"/>
                  <a:gd name="connsiteX1" fmla="*/ 57912 w 115824"/>
                  <a:gd name="connsiteY1" fmla="*/ 115824 h 115823"/>
                  <a:gd name="connsiteX2" fmla="*/ 0 w 115824"/>
                  <a:gd name="connsiteY2" fmla="*/ 57912 h 115823"/>
                  <a:gd name="connsiteX3" fmla="*/ 57912 w 115824"/>
                  <a:gd name="connsiteY3" fmla="*/ 0 h 115823"/>
                  <a:gd name="connsiteX4" fmla="*/ 115824 w 115824"/>
                  <a:gd name="connsiteY4" fmla="*/ 57912 h 1158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15824" h="115823">
                    <a:moveTo>
                      <a:pt x="115824" y="57912"/>
                    </a:moveTo>
                    <a:cubicBezTo>
                      <a:pt x="115824" y="89916"/>
                      <a:pt x="89821" y="115824"/>
                      <a:pt x="57912" y="115824"/>
                    </a:cubicBezTo>
                    <a:cubicBezTo>
                      <a:pt x="26003" y="115824"/>
                      <a:pt x="0" y="89916"/>
                      <a:pt x="0" y="57912"/>
                    </a:cubicBezTo>
                    <a:cubicBezTo>
                      <a:pt x="0" y="25908"/>
                      <a:pt x="25908" y="0"/>
                      <a:pt x="57912" y="0"/>
                    </a:cubicBezTo>
                    <a:cubicBezTo>
                      <a:pt x="89916" y="0"/>
                      <a:pt x="115824" y="25908"/>
                      <a:pt x="115824" y="57912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181" name="Forma livre: Forma 2180">
                <a:extLst>
                  <a:ext uri="{FF2B5EF4-FFF2-40B4-BE49-F238E27FC236}">
                    <a16:creationId xmlns:a16="http://schemas.microsoft.com/office/drawing/2014/main" id="{3E88928B-457B-2D35-F9D9-C7BCB6DE3546}"/>
                  </a:ext>
                </a:extLst>
              </p:cNvPr>
              <p:cNvSpPr/>
              <p:nvPr/>
            </p:nvSpPr>
            <p:spPr>
              <a:xfrm>
                <a:off x="3922585" y="3880104"/>
                <a:ext cx="14858" cy="14858"/>
              </a:xfrm>
              <a:custGeom>
                <a:avLst/>
                <a:gdLst>
                  <a:gd name="connsiteX0" fmla="*/ 14859 w 14858"/>
                  <a:gd name="connsiteY0" fmla="*/ 7430 h 14858"/>
                  <a:gd name="connsiteX1" fmla="*/ 7429 w 14858"/>
                  <a:gd name="connsiteY1" fmla="*/ 14859 h 14858"/>
                  <a:gd name="connsiteX2" fmla="*/ 0 w 14858"/>
                  <a:gd name="connsiteY2" fmla="*/ 7430 h 14858"/>
                  <a:gd name="connsiteX3" fmla="*/ 7429 w 14858"/>
                  <a:gd name="connsiteY3" fmla="*/ 0 h 14858"/>
                  <a:gd name="connsiteX4" fmla="*/ 14859 w 14858"/>
                  <a:gd name="connsiteY4" fmla="*/ 7430 h 148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4858" h="14858">
                    <a:moveTo>
                      <a:pt x="14859" y="7430"/>
                    </a:moveTo>
                    <a:cubicBezTo>
                      <a:pt x="14859" y="11525"/>
                      <a:pt x="11525" y="14859"/>
                      <a:pt x="7429" y="14859"/>
                    </a:cubicBezTo>
                    <a:cubicBezTo>
                      <a:pt x="3334" y="14859"/>
                      <a:pt x="0" y="11525"/>
                      <a:pt x="0" y="7430"/>
                    </a:cubicBezTo>
                    <a:cubicBezTo>
                      <a:pt x="0" y="3334"/>
                      <a:pt x="3334" y="0"/>
                      <a:pt x="7429" y="0"/>
                    </a:cubicBezTo>
                    <a:cubicBezTo>
                      <a:pt x="11525" y="0"/>
                      <a:pt x="14859" y="3334"/>
                      <a:pt x="14859" y="7430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2182" name="Forma livre: Forma 2181">
              <a:extLst>
                <a:ext uri="{FF2B5EF4-FFF2-40B4-BE49-F238E27FC236}">
                  <a16:creationId xmlns:a16="http://schemas.microsoft.com/office/drawing/2014/main" id="{4B48C8C2-951A-632D-DE1B-3A9A2966649A}"/>
                </a:ext>
              </a:extLst>
            </p:cNvPr>
            <p:cNvSpPr/>
            <p:nvPr/>
          </p:nvSpPr>
          <p:spPr>
            <a:xfrm>
              <a:off x="3681888" y="3637121"/>
              <a:ext cx="496252" cy="605408"/>
            </a:xfrm>
            <a:custGeom>
              <a:avLst/>
              <a:gdLst>
                <a:gd name="connsiteX0" fmla="*/ 448628 w 496252"/>
                <a:gd name="connsiteY0" fmla="*/ 0 h 605408"/>
                <a:gd name="connsiteX1" fmla="*/ 47625 w 496252"/>
                <a:gd name="connsiteY1" fmla="*/ 0 h 605408"/>
                <a:gd name="connsiteX2" fmla="*/ 0 w 496252"/>
                <a:gd name="connsiteY2" fmla="*/ 47625 h 605408"/>
                <a:gd name="connsiteX3" fmla="*/ 0 w 496252"/>
                <a:gd name="connsiteY3" fmla="*/ 557784 h 605408"/>
                <a:gd name="connsiteX4" fmla="*/ 47625 w 496252"/>
                <a:gd name="connsiteY4" fmla="*/ 605409 h 605408"/>
                <a:gd name="connsiteX5" fmla="*/ 448628 w 496252"/>
                <a:gd name="connsiteY5" fmla="*/ 605409 h 605408"/>
                <a:gd name="connsiteX6" fmla="*/ 496253 w 496252"/>
                <a:gd name="connsiteY6" fmla="*/ 557784 h 605408"/>
                <a:gd name="connsiteX7" fmla="*/ 496253 w 496252"/>
                <a:gd name="connsiteY7" fmla="*/ 47625 h 605408"/>
                <a:gd name="connsiteX8" fmla="*/ 448628 w 496252"/>
                <a:gd name="connsiteY8" fmla="*/ 0 h 605408"/>
                <a:gd name="connsiteX9" fmla="*/ 448628 w 496252"/>
                <a:gd name="connsiteY9" fmla="*/ 0 h 6054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96252" h="605408">
                  <a:moveTo>
                    <a:pt x="448628" y="0"/>
                  </a:moveTo>
                  <a:lnTo>
                    <a:pt x="47625" y="0"/>
                  </a:lnTo>
                  <a:cubicBezTo>
                    <a:pt x="21431" y="0"/>
                    <a:pt x="0" y="21431"/>
                    <a:pt x="0" y="47625"/>
                  </a:cubicBezTo>
                  <a:lnTo>
                    <a:pt x="0" y="557784"/>
                  </a:lnTo>
                  <a:cubicBezTo>
                    <a:pt x="0" y="583978"/>
                    <a:pt x="21431" y="605409"/>
                    <a:pt x="47625" y="605409"/>
                  </a:cubicBezTo>
                  <a:lnTo>
                    <a:pt x="448628" y="605409"/>
                  </a:lnTo>
                  <a:cubicBezTo>
                    <a:pt x="474821" y="605409"/>
                    <a:pt x="496253" y="583978"/>
                    <a:pt x="496253" y="557784"/>
                  </a:cubicBezTo>
                  <a:lnTo>
                    <a:pt x="496253" y="47625"/>
                  </a:lnTo>
                  <a:cubicBezTo>
                    <a:pt x="496253" y="21431"/>
                    <a:pt x="474821" y="0"/>
                    <a:pt x="448628" y="0"/>
                  </a:cubicBezTo>
                  <a:lnTo>
                    <a:pt x="448628" y="0"/>
                  </a:ln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83" name="Forma livre: Forma 2182">
              <a:extLst>
                <a:ext uri="{FF2B5EF4-FFF2-40B4-BE49-F238E27FC236}">
                  <a16:creationId xmlns:a16="http://schemas.microsoft.com/office/drawing/2014/main" id="{B365CC65-B22E-C12C-E5FD-856433B3DE91}"/>
                </a:ext>
              </a:extLst>
            </p:cNvPr>
            <p:cNvSpPr/>
            <p:nvPr/>
          </p:nvSpPr>
          <p:spPr>
            <a:xfrm>
              <a:off x="3751992" y="3994880"/>
              <a:ext cx="147637" cy="176403"/>
            </a:xfrm>
            <a:custGeom>
              <a:avLst/>
              <a:gdLst>
                <a:gd name="connsiteX0" fmla="*/ 0 w 147637"/>
                <a:gd name="connsiteY0" fmla="*/ 134017 h 176403"/>
                <a:gd name="connsiteX1" fmla="*/ 147638 w 147637"/>
                <a:gd name="connsiteY1" fmla="*/ 0 h 176403"/>
                <a:gd name="connsiteX2" fmla="*/ 54197 w 147637"/>
                <a:gd name="connsiteY2" fmla="*/ 176403 h 176403"/>
                <a:gd name="connsiteX3" fmla="*/ 0 w 147637"/>
                <a:gd name="connsiteY3" fmla="*/ 134017 h 1764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7637" h="176403">
                  <a:moveTo>
                    <a:pt x="0" y="134017"/>
                  </a:moveTo>
                  <a:lnTo>
                    <a:pt x="147638" y="0"/>
                  </a:lnTo>
                  <a:lnTo>
                    <a:pt x="54197" y="176403"/>
                  </a:lnTo>
                  <a:lnTo>
                    <a:pt x="0" y="134017"/>
                  </a:ln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2184" name="Gráfico 2175">
              <a:extLst>
                <a:ext uri="{FF2B5EF4-FFF2-40B4-BE49-F238E27FC236}">
                  <a16:creationId xmlns:a16="http://schemas.microsoft.com/office/drawing/2014/main" id="{7BCECD52-A4A4-4721-3100-B7B48DBE67DD}"/>
                </a:ext>
              </a:extLst>
            </p:cNvPr>
            <p:cNvGrpSpPr/>
            <p:nvPr/>
          </p:nvGrpSpPr>
          <p:grpSpPr>
            <a:xfrm>
              <a:off x="3751516" y="3704748"/>
              <a:ext cx="356997" cy="469868"/>
              <a:chOff x="3751516" y="3704748"/>
              <a:chExt cx="356997" cy="469868"/>
            </a:xfrm>
            <a:solidFill>
              <a:srgbClr val="394553"/>
            </a:solidFill>
          </p:grpSpPr>
          <p:grpSp>
            <p:nvGrpSpPr>
              <p:cNvPr id="2185" name="Gráfico 2175">
                <a:extLst>
                  <a:ext uri="{FF2B5EF4-FFF2-40B4-BE49-F238E27FC236}">
                    <a16:creationId xmlns:a16="http://schemas.microsoft.com/office/drawing/2014/main" id="{B9574EFB-23DC-9A14-DEF4-DCDC660E2F84}"/>
                  </a:ext>
                </a:extLst>
              </p:cNvPr>
              <p:cNvGrpSpPr/>
              <p:nvPr/>
            </p:nvGrpSpPr>
            <p:grpSpPr>
              <a:xfrm>
                <a:off x="3751516" y="3704748"/>
                <a:ext cx="356997" cy="14858"/>
                <a:chOff x="3751516" y="3704748"/>
                <a:chExt cx="356997" cy="14858"/>
              </a:xfrm>
              <a:solidFill>
                <a:srgbClr val="394553"/>
              </a:solidFill>
            </p:grpSpPr>
            <p:sp>
              <p:nvSpPr>
                <p:cNvPr id="2186" name="Forma livre: Forma 2185">
                  <a:extLst>
                    <a:ext uri="{FF2B5EF4-FFF2-40B4-BE49-F238E27FC236}">
                      <a16:creationId xmlns:a16="http://schemas.microsoft.com/office/drawing/2014/main" id="{57A9A103-F9F5-A033-31ED-B4E816F267CC}"/>
                    </a:ext>
                  </a:extLst>
                </p:cNvPr>
                <p:cNvSpPr/>
                <p:nvPr/>
              </p:nvSpPr>
              <p:spPr>
                <a:xfrm>
                  <a:off x="3751516" y="3704748"/>
                  <a:ext cx="14858" cy="14858"/>
                </a:xfrm>
                <a:custGeom>
                  <a:avLst/>
                  <a:gdLst>
                    <a:gd name="connsiteX0" fmla="*/ 14859 w 14858"/>
                    <a:gd name="connsiteY0" fmla="*/ 7429 h 14858"/>
                    <a:gd name="connsiteX1" fmla="*/ 7429 w 14858"/>
                    <a:gd name="connsiteY1" fmla="*/ 14859 h 14858"/>
                    <a:gd name="connsiteX2" fmla="*/ 0 w 14858"/>
                    <a:gd name="connsiteY2" fmla="*/ 7429 h 14858"/>
                    <a:gd name="connsiteX3" fmla="*/ 7429 w 14858"/>
                    <a:gd name="connsiteY3" fmla="*/ 0 h 14858"/>
                    <a:gd name="connsiteX4" fmla="*/ 14859 w 14858"/>
                    <a:gd name="connsiteY4" fmla="*/ 7429 h 1485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4858" h="14858">
                      <a:moveTo>
                        <a:pt x="14859" y="7429"/>
                      </a:moveTo>
                      <a:cubicBezTo>
                        <a:pt x="14859" y="11525"/>
                        <a:pt x="11525" y="14859"/>
                        <a:pt x="7429" y="14859"/>
                      </a:cubicBezTo>
                      <a:cubicBezTo>
                        <a:pt x="3334" y="14859"/>
                        <a:pt x="0" y="11525"/>
                        <a:pt x="0" y="7429"/>
                      </a:cubicBezTo>
                      <a:cubicBezTo>
                        <a:pt x="0" y="3334"/>
                        <a:pt x="3334" y="0"/>
                        <a:pt x="7429" y="0"/>
                      </a:cubicBezTo>
                      <a:cubicBezTo>
                        <a:pt x="11525" y="0"/>
                        <a:pt x="14859" y="3334"/>
                        <a:pt x="14859" y="7429"/>
                      </a:cubicBezTo>
                      <a:close/>
                    </a:path>
                  </a:pathLst>
                </a:custGeom>
                <a:solidFill>
                  <a:srgbClr val="394553"/>
                </a:solidFill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187" name="Forma livre: Forma 2186">
                  <a:extLst>
                    <a:ext uri="{FF2B5EF4-FFF2-40B4-BE49-F238E27FC236}">
                      <a16:creationId xmlns:a16="http://schemas.microsoft.com/office/drawing/2014/main" id="{B4E6020C-B22A-0A4F-1FD9-B9FD297F2466}"/>
                    </a:ext>
                  </a:extLst>
                </p:cNvPr>
                <p:cNvSpPr/>
                <p:nvPr/>
              </p:nvSpPr>
              <p:spPr>
                <a:xfrm>
                  <a:off x="4093653" y="3704748"/>
                  <a:ext cx="14859" cy="14858"/>
                </a:xfrm>
                <a:custGeom>
                  <a:avLst/>
                  <a:gdLst>
                    <a:gd name="connsiteX0" fmla="*/ 14859 w 14859"/>
                    <a:gd name="connsiteY0" fmla="*/ 7429 h 14858"/>
                    <a:gd name="connsiteX1" fmla="*/ 7429 w 14859"/>
                    <a:gd name="connsiteY1" fmla="*/ 14859 h 14858"/>
                    <a:gd name="connsiteX2" fmla="*/ 0 w 14859"/>
                    <a:gd name="connsiteY2" fmla="*/ 7429 h 14858"/>
                    <a:gd name="connsiteX3" fmla="*/ 7429 w 14859"/>
                    <a:gd name="connsiteY3" fmla="*/ 0 h 14858"/>
                    <a:gd name="connsiteX4" fmla="*/ 14859 w 14859"/>
                    <a:gd name="connsiteY4" fmla="*/ 7429 h 1485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4859" h="14858">
                      <a:moveTo>
                        <a:pt x="14859" y="7429"/>
                      </a:moveTo>
                      <a:cubicBezTo>
                        <a:pt x="14859" y="11525"/>
                        <a:pt x="11525" y="14859"/>
                        <a:pt x="7429" y="14859"/>
                      </a:cubicBezTo>
                      <a:cubicBezTo>
                        <a:pt x="3334" y="14859"/>
                        <a:pt x="0" y="11525"/>
                        <a:pt x="0" y="7429"/>
                      </a:cubicBezTo>
                      <a:cubicBezTo>
                        <a:pt x="0" y="3334"/>
                        <a:pt x="3334" y="0"/>
                        <a:pt x="7429" y="0"/>
                      </a:cubicBezTo>
                      <a:cubicBezTo>
                        <a:pt x="11525" y="0"/>
                        <a:pt x="14859" y="3334"/>
                        <a:pt x="14859" y="7429"/>
                      </a:cubicBezTo>
                      <a:close/>
                    </a:path>
                  </a:pathLst>
                </a:custGeom>
                <a:solidFill>
                  <a:srgbClr val="394553"/>
                </a:solidFill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2188" name="Forma livre: Forma 2187">
                <a:extLst>
                  <a:ext uri="{FF2B5EF4-FFF2-40B4-BE49-F238E27FC236}">
                    <a16:creationId xmlns:a16="http://schemas.microsoft.com/office/drawing/2014/main" id="{A88716E5-1C39-22C0-4900-A6D54B2801EC}"/>
                  </a:ext>
                </a:extLst>
              </p:cNvPr>
              <p:cNvSpPr/>
              <p:nvPr/>
            </p:nvSpPr>
            <p:spPr>
              <a:xfrm>
                <a:off x="4093653" y="4159757"/>
                <a:ext cx="14859" cy="14859"/>
              </a:xfrm>
              <a:custGeom>
                <a:avLst/>
                <a:gdLst>
                  <a:gd name="connsiteX0" fmla="*/ 14859 w 14859"/>
                  <a:gd name="connsiteY0" fmla="*/ 7430 h 14859"/>
                  <a:gd name="connsiteX1" fmla="*/ 7429 w 14859"/>
                  <a:gd name="connsiteY1" fmla="*/ 14859 h 14859"/>
                  <a:gd name="connsiteX2" fmla="*/ 0 w 14859"/>
                  <a:gd name="connsiteY2" fmla="*/ 7430 h 14859"/>
                  <a:gd name="connsiteX3" fmla="*/ 7429 w 14859"/>
                  <a:gd name="connsiteY3" fmla="*/ 0 h 14859"/>
                  <a:gd name="connsiteX4" fmla="*/ 14859 w 14859"/>
                  <a:gd name="connsiteY4" fmla="*/ 7430 h 148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4859" h="14859">
                    <a:moveTo>
                      <a:pt x="14859" y="7430"/>
                    </a:moveTo>
                    <a:cubicBezTo>
                      <a:pt x="14859" y="11525"/>
                      <a:pt x="11525" y="14859"/>
                      <a:pt x="7429" y="14859"/>
                    </a:cubicBezTo>
                    <a:cubicBezTo>
                      <a:pt x="3334" y="14859"/>
                      <a:pt x="0" y="11525"/>
                      <a:pt x="0" y="7430"/>
                    </a:cubicBezTo>
                    <a:cubicBezTo>
                      <a:pt x="0" y="3334"/>
                      <a:pt x="3334" y="0"/>
                      <a:pt x="7429" y="0"/>
                    </a:cubicBezTo>
                    <a:cubicBezTo>
                      <a:pt x="11525" y="0"/>
                      <a:pt x="14859" y="3334"/>
                      <a:pt x="14859" y="7430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2196" name="Agrupar 2195">
            <a:extLst>
              <a:ext uri="{FF2B5EF4-FFF2-40B4-BE49-F238E27FC236}">
                <a16:creationId xmlns:a16="http://schemas.microsoft.com/office/drawing/2014/main" id="{CCA0B480-3006-858F-438D-1F10B323437C}"/>
              </a:ext>
            </a:extLst>
          </p:cNvPr>
          <p:cNvGrpSpPr/>
          <p:nvPr/>
        </p:nvGrpSpPr>
        <p:grpSpPr>
          <a:xfrm>
            <a:off x="2083403" y="4164807"/>
            <a:ext cx="177164" cy="307182"/>
            <a:chOff x="2331052" y="4164806"/>
            <a:chExt cx="345757" cy="599503"/>
          </a:xfrm>
        </p:grpSpPr>
        <p:sp>
          <p:nvSpPr>
            <p:cNvPr id="2193" name="Forma livre: Forma 2192">
              <a:extLst>
                <a:ext uri="{FF2B5EF4-FFF2-40B4-BE49-F238E27FC236}">
                  <a16:creationId xmlns:a16="http://schemas.microsoft.com/office/drawing/2014/main" id="{DBB7EE18-2EDE-5AD4-7FF7-6336F8A60FBB}"/>
                </a:ext>
              </a:extLst>
            </p:cNvPr>
            <p:cNvSpPr/>
            <p:nvPr/>
          </p:nvSpPr>
          <p:spPr>
            <a:xfrm>
              <a:off x="2331243" y="4164806"/>
              <a:ext cx="345566" cy="599503"/>
            </a:xfrm>
            <a:custGeom>
              <a:avLst/>
              <a:gdLst>
                <a:gd name="connsiteX0" fmla="*/ 297942 w 345566"/>
                <a:gd name="connsiteY0" fmla="*/ 0 h 599503"/>
                <a:gd name="connsiteX1" fmla="*/ 47625 w 345566"/>
                <a:gd name="connsiteY1" fmla="*/ 0 h 599503"/>
                <a:gd name="connsiteX2" fmla="*/ 0 w 345566"/>
                <a:gd name="connsiteY2" fmla="*/ 47625 h 599503"/>
                <a:gd name="connsiteX3" fmla="*/ 0 w 345566"/>
                <a:gd name="connsiteY3" fmla="*/ 551879 h 599503"/>
                <a:gd name="connsiteX4" fmla="*/ 47625 w 345566"/>
                <a:gd name="connsiteY4" fmla="*/ 599504 h 599503"/>
                <a:gd name="connsiteX5" fmla="*/ 297942 w 345566"/>
                <a:gd name="connsiteY5" fmla="*/ 599504 h 599503"/>
                <a:gd name="connsiteX6" fmla="*/ 345567 w 345566"/>
                <a:gd name="connsiteY6" fmla="*/ 551879 h 599503"/>
                <a:gd name="connsiteX7" fmla="*/ 345567 w 345566"/>
                <a:gd name="connsiteY7" fmla="*/ 47625 h 599503"/>
                <a:gd name="connsiteX8" fmla="*/ 297942 w 345566"/>
                <a:gd name="connsiteY8" fmla="*/ 0 h 599503"/>
                <a:gd name="connsiteX9" fmla="*/ 297942 w 345566"/>
                <a:gd name="connsiteY9" fmla="*/ 0 h 599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45566" h="599503">
                  <a:moveTo>
                    <a:pt x="297942" y="0"/>
                  </a:moveTo>
                  <a:lnTo>
                    <a:pt x="47625" y="0"/>
                  </a:lnTo>
                  <a:cubicBezTo>
                    <a:pt x="21431" y="0"/>
                    <a:pt x="0" y="21431"/>
                    <a:pt x="0" y="47625"/>
                  </a:cubicBezTo>
                  <a:lnTo>
                    <a:pt x="0" y="551879"/>
                  </a:lnTo>
                  <a:cubicBezTo>
                    <a:pt x="0" y="578072"/>
                    <a:pt x="21431" y="599504"/>
                    <a:pt x="47625" y="599504"/>
                  </a:cubicBezTo>
                  <a:lnTo>
                    <a:pt x="297942" y="599504"/>
                  </a:lnTo>
                  <a:cubicBezTo>
                    <a:pt x="324136" y="599504"/>
                    <a:pt x="345567" y="578072"/>
                    <a:pt x="345567" y="551879"/>
                  </a:cubicBezTo>
                  <a:lnTo>
                    <a:pt x="345567" y="47625"/>
                  </a:lnTo>
                  <a:cubicBezTo>
                    <a:pt x="345567" y="21431"/>
                    <a:pt x="324136" y="0"/>
                    <a:pt x="297942" y="0"/>
                  </a:cubicBezTo>
                  <a:lnTo>
                    <a:pt x="297942" y="0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94" name="Forma livre: Forma 2193">
              <a:extLst>
                <a:ext uri="{FF2B5EF4-FFF2-40B4-BE49-F238E27FC236}">
                  <a16:creationId xmlns:a16="http://schemas.microsoft.com/office/drawing/2014/main" id="{78BA009B-3122-DD78-E5CB-560DFB94F828}"/>
                </a:ext>
              </a:extLst>
            </p:cNvPr>
            <p:cNvSpPr/>
            <p:nvPr/>
          </p:nvSpPr>
          <p:spPr>
            <a:xfrm>
              <a:off x="2331052" y="4625244"/>
              <a:ext cx="345757" cy="9525"/>
            </a:xfrm>
            <a:custGeom>
              <a:avLst/>
              <a:gdLst>
                <a:gd name="connsiteX0" fmla="*/ 0 w 345757"/>
                <a:gd name="connsiteY0" fmla="*/ 0 h 9525"/>
                <a:gd name="connsiteX1" fmla="*/ 345758 w 345757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45757" h="9525">
                  <a:moveTo>
                    <a:pt x="0" y="0"/>
                  </a:moveTo>
                  <a:lnTo>
                    <a:pt x="345758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95" name="Forma livre: Forma 2194">
              <a:extLst>
                <a:ext uri="{FF2B5EF4-FFF2-40B4-BE49-F238E27FC236}">
                  <a16:creationId xmlns:a16="http://schemas.microsoft.com/office/drawing/2014/main" id="{EE3C3B14-5729-0199-78FD-66E9D584D1EB}"/>
                </a:ext>
              </a:extLst>
            </p:cNvPr>
            <p:cNvSpPr/>
            <p:nvPr/>
          </p:nvSpPr>
          <p:spPr>
            <a:xfrm>
              <a:off x="2482881" y="4686395"/>
              <a:ext cx="42290" cy="9525"/>
            </a:xfrm>
            <a:custGeom>
              <a:avLst/>
              <a:gdLst>
                <a:gd name="connsiteX0" fmla="*/ 0 w 42290"/>
                <a:gd name="connsiteY0" fmla="*/ 0 h 9525"/>
                <a:gd name="connsiteX1" fmla="*/ 42291 w 42290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2290" h="9525">
                  <a:moveTo>
                    <a:pt x="0" y="0"/>
                  </a:moveTo>
                  <a:lnTo>
                    <a:pt x="42291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2215" name="Agrupar 2214">
            <a:extLst>
              <a:ext uri="{FF2B5EF4-FFF2-40B4-BE49-F238E27FC236}">
                <a16:creationId xmlns:a16="http://schemas.microsoft.com/office/drawing/2014/main" id="{14EB0203-243F-FD39-5F75-FABCAED1DACE}"/>
              </a:ext>
            </a:extLst>
          </p:cNvPr>
          <p:cNvGrpSpPr/>
          <p:nvPr/>
        </p:nvGrpSpPr>
        <p:grpSpPr>
          <a:xfrm>
            <a:off x="826783" y="4715612"/>
            <a:ext cx="171245" cy="296920"/>
            <a:chOff x="345090" y="4569618"/>
            <a:chExt cx="345757" cy="599503"/>
          </a:xfrm>
        </p:grpSpPr>
        <p:sp>
          <p:nvSpPr>
            <p:cNvPr id="2200" name="Forma livre: Forma 2199">
              <a:extLst>
                <a:ext uri="{FF2B5EF4-FFF2-40B4-BE49-F238E27FC236}">
                  <a16:creationId xmlns:a16="http://schemas.microsoft.com/office/drawing/2014/main" id="{44DB1B44-CA90-D9D2-330D-74A56780C37E}"/>
                </a:ext>
              </a:extLst>
            </p:cNvPr>
            <p:cNvSpPr/>
            <p:nvPr/>
          </p:nvSpPr>
          <p:spPr>
            <a:xfrm>
              <a:off x="345281" y="4569618"/>
              <a:ext cx="345566" cy="599503"/>
            </a:xfrm>
            <a:custGeom>
              <a:avLst/>
              <a:gdLst>
                <a:gd name="connsiteX0" fmla="*/ 297942 w 345566"/>
                <a:gd name="connsiteY0" fmla="*/ 0 h 599503"/>
                <a:gd name="connsiteX1" fmla="*/ 47625 w 345566"/>
                <a:gd name="connsiteY1" fmla="*/ 0 h 599503"/>
                <a:gd name="connsiteX2" fmla="*/ 0 w 345566"/>
                <a:gd name="connsiteY2" fmla="*/ 47625 h 599503"/>
                <a:gd name="connsiteX3" fmla="*/ 0 w 345566"/>
                <a:gd name="connsiteY3" fmla="*/ 551879 h 599503"/>
                <a:gd name="connsiteX4" fmla="*/ 47625 w 345566"/>
                <a:gd name="connsiteY4" fmla="*/ 599504 h 599503"/>
                <a:gd name="connsiteX5" fmla="*/ 297942 w 345566"/>
                <a:gd name="connsiteY5" fmla="*/ 599504 h 599503"/>
                <a:gd name="connsiteX6" fmla="*/ 345567 w 345566"/>
                <a:gd name="connsiteY6" fmla="*/ 551879 h 599503"/>
                <a:gd name="connsiteX7" fmla="*/ 345567 w 345566"/>
                <a:gd name="connsiteY7" fmla="*/ 47625 h 599503"/>
                <a:gd name="connsiteX8" fmla="*/ 297942 w 345566"/>
                <a:gd name="connsiteY8" fmla="*/ 0 h 599503"/>
                <a:gd name="connsiteX9" fmla="*/ 297942 w 345566"/>
                <a:gd name="connsiteY9" fmla="*/ 0 h 599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45566" h="599503">
                  <a:moveTo>
                    <a:pt x="297942" y="0"/>
                  </a:moveTo>
                  <a:lnTo>
                    <a:pt x="47625" y="0"/>
                  </a:lnTo>
                  <a:cubicBezTo>
                    <a:pt x="21431" y="0"/>
                    <a:pt x="0" y="21431"/>
                    <a:pt x="0" y="47625"/>
                  </a:cubicBezTo>
                  <a:lnTo>
                    <a:pt x="0" y="551879"/>
                  </a:lnTo>
                  <a:cubicBezTo>
                    <a:pt x="0" y="578072"/>
                    <a:pt x="21431" y="599504"/>
                    <a:pt x="47625" y="599504"/>
                  </a:cubicBezTo>
                  <a:lnTo>
                    <a:pt x="297942" y="599504"/>
                  </a:lnTo>
                  <a:cubicBezTo>
                    <a:pt x="324136" y="599504"/>
                    <a:pt x="345567" y="578072"/>
                    <a:pt x="345567" y="551879"/>
                  </a:cubicBezTo>
                  <a:lnTo>
                    <a:pt x="345567" y="47625"/>
                  </a:lnTo>
                  <a:cubicBezTo>
                    <a:pt x="345567" y="21431"/>
                    <a:pt x="324136" y="0"/>
                    <a:pt x="297942" y="0"/>
                  </a:cubicBezTo>
                  <a:lnTo>
                    <a:pt x="297942" y="0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201" name="Forma livre: Forma 2200">
              <a:extLst>
                <a:ext uri="{FF2B5EF4-FFF2-40B4-BE49-F238E27FC236}">
                  <a16:creationId xmlns:a16="http://schemas.microsoft.com/office/drawing/2014/main" id="{D70B0A81-8906-3B60-FF76-A3B3B5B8E245}"/>
                </a:ext>
              </a:extLst>
            </p:cNvPr>
            <p:cNvSpPr/>
            <p:nvPr/>
          </p:nvSpPr>
          <p:spPr>
            <a:xfrm>
              <a:off x="345090" y="4883752"/>
              <a:ext cx="345757" cy="9525"/>
            </a:xfrm>
            <a:custGeom>
              <a:avLst/>
              <a:gdLst>
                <a:gd name="connsiteX0" fmla="*/ 0 w 345757"/>
                <a:gd name="connsiteY0" fmla="*/ 0 h 9525"/>
                <a:gd name="connsiteX1" fmla="*/ 345758 w 345757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45757" h="9525">
                  <a:moveTo>
                    <a:pt x="0" y="0"/>
                  </a:moveTo>
                  <a:lnTo>
                    <a:pt x="345758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2202" name="Gráfico 2197">
              <a:extLst>
                <a:ext uri="{FF2B5EF4-FFF2-40B4-BE49-F238E27FC236}">
                  <a16:creationId xmlns:a16="http://schemas.microsoft.com/office/drawing/2014/main" id="{51EF7601-43F4-BBBE-9DD7-5054A1DA2290}"/>
                </a:ext>
              </a:extLst>
            </p:cNvPr>
            <p:cNvGrpSpPr/>
            <p:nvPr/>
          </p:nvGrpSpPr>
          <p:grpSpPr>
            <a:xfrm>
              <a:off x="417480" y="4946713"/>
              <a:ext cx="201167" cy="142684"/>
              <a:chOff x="417480" y="4946713"/>
              <a:chExt cx="201167" cy="142684"/>
            </a:xfrm>
          </p:grpSpPr>
          <p:grpSp>
            <p:nvGrpSpPr>
              <p:cNvPr id="2203" name="Gráfico 2197">
                <a:extLst>
                  <a:ext uri="{FF2B5EF4-FFF2-40B4-BE49-F238E27FC236}">
                    <a16:creationId xmlns:a16="http://schemas.microsoft.com/office/drawing/2014/main" id="{81ECCFF1-E9BF-5310-9697-849168DCA99F}"/>
                  </a:ext>
                </a:extLst>
              </p:cNvPr>
              <p:cNvGrpSpPr/>
              <p:nvPr/>
            </p:nvGrpSpPr>
            <p:grpSpPr>
              <a:xfrm>
                <a:off x="417480" y="4946713"/>
                <a:ext cx="201167" cy="9525"/>
                <a:chOff x="417480" y="4946713"/>
                <a:chExt cx="201167" cy="9525"/>
              </a:xfrm>
            </p:grpSpPr>
            <p:sp>
              <p:nvSpPr>
                <p:cNvPr id="2204" name="Forma livre: Forma 2203">
                  <a:extLst>
                    <a:ext uri="{FF2B5EF4-FFF2-40B4-BE49-F238E27FC236}">
                      <a16:creationId xmlns:a16="http://schemas.microsoft.com/office/drawing/2014/main" id="{2452D122-4760-A2D0-C741-23781053A061}"/>
                    </a:ext>
                  </a:extLst>
                </p:cNvPr>
                <p:cNvSpPr/>
                <p:nvPr/>
              </p:nvSpPr>
              <p:spPr>
                <a:xfrm>
                  <a:off x="417480" y="4946713"/>
                  <a:ext cx="41624" cy="9525"/>
                </a:xfrm>
                <a:custGeom>
                  <a:avLst/>
                  <a:gdLst>
                    <a:gd name="connsiteX0" fmla="*/ 0 w 41624"/>
                    <a:gd name="connsiteY0" fmla="*/ 0 h 9525"/>
                    <a:gd name="connsiteX1" fmla="*/ 41624 w 41624"/>
                    <a:gd name="connsiteY1" fmla="*/ 0 h 952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1624" h="9525">
                      <a:moveTo>
                        <a:pt x="0" y="0"/>
                      </a:moveTo>
                      <a:lnTo>
                        <a:pt x="41624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205" name="Forma livre: Forma 2204">
                  <a:extLst>
                    <a:ext uri="{FF2B5EF4-FFF2-40B4-BE49-F238E27FC236}">
                      <a16:creationId xmlns:a16="http://schemas.microsoft.com/office/drawing/2014/main" id="{D20C1D45-D2C8-523C-46FD-9B9B3940A463}"/>
                    </a:ext>
                  </a:extLst>
                </p:cNvPr>
                <p:cNvSpPr/>
                <p:nvPr/>
              </p:nvSpPr>
              <p:spPr>
                <a:xfrm>
                  <a:off x="497205" y="4946713"/>
                  <a:ext cx="41719" cy="9525"/>
                </a:xfrm>
                <a:custGeom>
                  <a:avLst/>
                  <a:gdLst>
                    <a:gd name="connsiteX0" fmla="*/ 0 w 41719"/>
                    <a:gd name="connsiteY0" fmla="*/ 0 h 9525"/>
                    <a:gd name="connsiteX1" fmla="*/ 41720 w 41719"/>
                    <a:gd name="connsiteY1" fmla="*/ 0 h 952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1719" h="9525">
                      <a:moveTo>
                        <a:pt x="0" y="0"/>
                      </a:moveTo>
                      <a:lnTo>
                        <a:pt x="41720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206" name="Forma livre: Forma 2205">
                  <a:extLst>
                    <a:ext uri="{FF2B5EF4-FFF2-40B4-BE49-F238E27FC236}">
                      <a16:creationId xmlns:a16="http://schemas.microsoft.com/office/drawing/2014/main" id="{72AFE970-4F1C-8300-D5EC-ECD623A63EF8}"/>
                    </a:ext>
                  </a:extLst>
                </p:cNvPr>
                <p:cNvSpPr/>
                <p:nvPr/>
              </p:nvSpPr>
              <p:spPr>
                <a:xfrm>
                  <a:off x="577024" y="4946713"/>
                  <a:ext cx="41624" cy="9525"/>
                </a:xfrm>
                <a:custGeom>
                  <a:avLst/>
                  <a:gdLst>
                    <a:gd name="connsiteX0" fmla="*/ 0 w 41624"/>
                    <a:gd name="connsiteY0" fmla="*/ 0 h 9525"/>
                    <a:gd name="connsiteX1" fmla="*/ 41624 w 41624"/>
                    <a:gd name="connsiteY1" fmla="*/ 0 h 952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1624" h="9525">
                      <a:moveTo>
                        <a:pt x="0" y="0"/>
                      </a:moveTo>
                      <a:lnTo>
                        <a:pt x="41624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2207" name="Gráfico 2197">
                <a:extLst>
                  <a:ext uri="{FF2B5EF4-FFF2-40B4-BE49-F238E27FC236}">
                    <a16:creationId xmlns:a16="http://schemas.microsoft.com/office/drawing/2014/main" id="{86FCEEBC-8183-2225-4D6A-9973C34F1781}"/>
                  </a:ext>
                </a:extLst>
              </p:cNvPr>
              <p:cNvGrpSpPr/>
              <p:nvPr/>
            </p:nvGrpSpPr>
            <p:grpSpPr>
              <a:xfrm>
                <a:off x="417480" y="5018055"/>
                <a:ext cx="201167" cy="9525"/>
                <a:chOff x="417480" y="5018055"/>
                <a:chExt cx="201167" cy="9525"/>
              </a:xfrm>
            </p:grpSpPr>
            <p:sp>
              <p:nvSpPr>
                <p:cNvPr id="2208" name="Forma livre: Forma 2207">
                  <a:extLst>
                    <a:ext uri="{FF2B5EF4-FFF2-40B4-BE49-F238E27FC236}">
                      <a16:creationId xmlns:a16="http://schemas.microsoft.com/office/drawing/2014/main" id="{7ECE165F-CED5-F27A-90D7-A69B5316919C}"/>
                    </a:ext>
                  </a:extLst>
                </p:cNvPr>
                <p:cNvSpPr/>
                <p:nvPr/>
              </p:nvSpPr>
              <p:spPr>
                <a:xfrm>
                  <a:off x="417480" y="5018055"/>
                  <a:ext cx="41624" cy="9525"/>
                </a:xfrm>
                <a:custGeom>
                  <a:avLst/>
                  <a:gdLst>
                    <a:gd name="connsiteX0" fmla="*/ 0 w 41624"/>
                    <a:gd name="connsiteY0" fmla="*/ 0 h 9525"/>
                    <a:gd name="connsiteX1" fmla="*/ 41624 w 41624"/>
                    <a:gd name="connsiteY1" fmla="*/ 0 h 952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1624" h="9525">
                      <a:moveTo>
                        <a:pt x="0" y="0"/>
                      </a:moveTo>
                      <a:lnTo>
                        <a:pt x="41624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209" name="Forma livre: Forma 2208">
                  <a:extLst>
                    <a:ext uri="{FF2B5EF4-FFF2-40B4-BE49-F238E27FC236}">
                      <a16:creationId xmlns:a16="http://schemas.microsoft.com/office/drawing/2014/main" id="{83448142-DBEF-B7BA-6F99-5296CE7F12E5}"/>
                    </a:ext>
                  </a:extLst>
                </p:cNvPr>
                <p:cNvSpPr/>
                <p:nvPr/>
              </p:nvSpPr>
              <p:spPr>
                <a:xfrm>
                  <a:off x="497205" y="5018055"/>
                  <a:ext cx="41719" cy="9525"/>
                </a:xfrm>
                <a:custGeom>
                  <a:avLst/>
                  <a:gdLst>
                    <a:gd name="connsiteX0" fmla="*/ 0 w 41719"/>
                    <a:gd name="connsiteY0" fmla="*/ 0 h 9525"/>
                    <a:gd name="connsiteX1" fmla="*/ 41720 w 41719"/>
                    <a:gd name="connsiteY1" fmla="*/ 0 h 952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1719" h="9525">
                      <a:moveTo>
                        <a:pt x="0" y="0"/>
                      </a:moveTo>
                      <a:lnTo>
                        <a:pt x="41720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210" name="Forma livre: Forma 2209">
                  <a:extLst>
                    <a:ext uri="{FF2B5EF4-FFF2-40B4-BE49-F238E27FC236}">
                      <a16:creationId xmlns:a16="http://schemas.microsoft.com/office/drawing/2014/main" id="{BB3DD8C7-C251-1F66-8AE7-93D477A8392D}"/>
                    </a:ext>
                  </a:extLst>
                </p:cNvPr>
                <p:cNvSpPr/>
                <p:nvPr/>
              </p:nvSpPr>
              <p:spPr>
                <a:xfrm>
                  <a:off x="577024" y="5018055"/>
                  <a:ext cx="41624" cy="9525"/>
                </a:xfrm>
                <a:custGeom>
                  <a:avLst/>
                  <a:gdLst>
                    <a:gd name="connsiteX0" fmla="*/ 0 w 41624"/>
                    <a:gd name="connsiteY0" fmla="*/ 0 h 9525"/>
                    <a:gd name="connsiteX1" fmla="*/ 41624 w 41624"/>
                    <a:gd name="connsiteY1" fmla="*/ 0 h 952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1624" h="9525">
                      <a:moveTo>
                        <a:pt x="0" y="0"/>
                      </a:moveTo>
                      <a:lnTo>
                        <a:pt x="41624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2211" name="Gráfico 2197">
                <a:extLst>
                  <a:ext uri="{FF2B5EF4-FFF2-40B4-BE49-F238E27FC236}">
                    <a16:creationId xmlns:a16="http://schemas.microsoft.com/office/drawing/2014/main" id="{647D4424-67CC-F175-1061-35092FAAAE70}"/>
                  </a:ext>
                </a:extLst>
              </p:cNvPr>
              <p:cNvGrpSpPr/>
              <p:nvPr/>
            </p:nvGrpSpPr>
            <p:grpSpPr>
              <a:xfrm>
                <a:off x="417480" y="5089397"/>
                <a:ext cx="201167" cy="9525"/>
                <a:chOff x="417480" y="5089397"/>
                <a:chExt cx="201167" cy="9525"/>
              </a:xfrm>
            </p:grpSpPr>
            <p:sp>
              <p:nvSpPr>
                <p:cNvPr id="2212" name="Forma livre: Forma 2211">
                  <a:extLst>
                    <a:ext uri="{FF2B5EF4-FFF2-40B4-BE49-F238E27FC236}">
                      <a16:creationId xmlns:a16="http://schemas.microsoft.com/office/drawing/2014/main" id="{71850DAD-4349-0892-0774-A8FB8D805EB4}"/>
                    </a:ext>
                  </a:extLst>
                </p:cNvPr>
                <p:cNvSpPr/>
                <p:nvPr/>
              </p:nvSpPr>
              <p:spPr>
                <a:xfrm>
                  <a:off x="417480" y="5089397"/>
                  <a:ext cx="41624" cy="9525"/>
                </a:xfrm>
                <a:custGeom>
                  <a:avLst/>
                  <a:gdLst>
                    <a:gd name="connsiteX0" fmla="*/ 0 w 41624"/>
                    <a:gd name="connsiteY0" fmla="*/ 0 h 9525"/>
                    <a:gd name="connsiteX1" fmla="*/ 41624 w 41624"/>
                    <a:gd name="connsiteY1" fmla="*/ 0 h 952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1624" h="9525">
                      <a:moveTo>
                        <a:pt x="0" y="0"/>
                      </a:moveTo>
                      <a:lnTo>
                        <a:pt x="41624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213" name="Forma livre: Forma 2212">
                  <a:extLst>
                    <a:ext uri="{FF2B5EF4-FFF2-40B4-BE49-F238E27FC236}">
                      <a16:creationId xmlns:a16="http://schemas.microsoft.com/office/drawing/2014/main" id="{3F19A144-8A8B-9CDF-8B36-8331D717D4A8}"/>
                    </a:ext>
                  </a:extLst>
                </p:cNvPr>
                <p:cNvSpPr/>
                <p:nvPr/>
              </p:nvSpPr>
              <p:spPr>
                <a:xfrm>
                  <a:off x="497205" y="5089397"/>
                  <a:ext cx="41719" cy="9525"/>
                </a:xfrm>
                <a:custGeom>
                  <a:avLst/>
                  <a:gdLst>
                    <a:gd name="connsiteX0" fmla="*/ 0 w 41719"/>
                    <a:gd name="connsiteY0" fmla="*/ 0 h 9525"/>
                    <a:gd name="connsiteX1" fmla="*/ 41720 w 41719"/>
                    <a:gd name="connsiteY1" fmla="*/ 0 h 952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1719" h="9525">
                      <a:moveTo>
                        <a:pt x="0" y="0"/>
                      </a:moveTo>
                      <a:lnTo>
                        <a:pt x="41720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214" name="Forma livre: Forma 2213">
                  <a:extLst>
                    <a:ext uri="{FF2B5EF4-FFF2-40B4-BE49-F238E27FC236}">
                      <a16:creationId xmlns:a16="http://schemas.microsoft.com/office/drawing/2014/main" id="{C1AD5A33-3E37-C4C8-6AC5-91626A6670AA}"/>
                    </a:ext>
                  </a:extLst>
                </p:cNvPr>
                <p:cNvSpPr/>
                <p:nvPr/>
              </p:nvSpPr>
              <p:spPr>
                <a:xfrm>
                  <a:off x="577024" y="5089397"/>
                  <a:ext cx="41624" cy="9525"/>
                </a:xfrm>
                <a:custGeom>
                  <a:avLst/>
                  <a:gdLst>
                    <a:gd name="connsiteX0" fmla="*/ 0 w 41624"/>
                    <a:gd name="connsiteY0" fmla="*/ 0 h 9525"/>
                    <a:gd name="connsiteX1" fmla="*/ 41624 w 41624"/>
                    <a:gd name="connsiteY1" fmla="*/ 0 h 952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1624" h="9525">
                      <a:moveTo>
                        <a:pt x="0" y="0"/>
                      </a:moveTo>
                      <a:lnTo>
                        <a:pt x="41624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</p:grpSp>
      <p:grpSp>
        <p:nvGrpSpPr>
          <p:cNvPr id="2234" name="Agrupar 2233">
            <a:extLst>
              <a:ext uri="{FF2B5EF4-FFF2-40B4-BE49-F238E27FC236}">
                <a16:creationId xmlns:a16="http://schemas.microsoft.com/office/drawing/2014/main" id="{54EC4B74-AD99-AD44-ABF8-9292CE17E914}"/>
              </a:ext>
            </a:extLst>
          </p:cNvPr>
          <p:cNvGrpSpPr/>
          <p:nvPr/>
        </p:nvGrpSpPr>
        <p:grpSpPr>
          <a:xfrm>
            <a:off x="752289" y="5847180"/>
            <a:ext cx="337211" cy="272253"/>
            <a:chOff x="234156" y="5128419"/>
            <a:chExt cx="607694" cy="490632"/>
          </a:xfrm>
        </p:grpSpPr>
        <p:sp>
          <p:nvSpPr>
            <p:cNvPr id="2219" name="Forma livre: Forma 2218">
              <a:extLst>
                <a:ext uri="{FF2B5EF4-FFF2-40B4-BE49-F238E27FC236}">
                  <a16:creationId xmlns:a16="http://schemas.microsoft.com/office/drawing/2014/main" id="{06EA1FD8-3FE1-887D-6309-4810386D77C6}"/>
                </a:ext>
              </a:extLst>
            </p:cNvPr>
            <p:cNvSpPr/>
            <p:nvPr/>
          </p:nvSpPr>
          <p:spPr>
            <a:xfrm>
              <a:off x="234156" y="5128419"/>
              <a:ext cx="185356" cy="441483"/>
            </a:xfrm>
            <a:custGeom>
              <a:avLst/>
              <a:gdLst>
                <a:gd name="connsiteX0" fmla="*/ 92678 w 185356"/>
                <a:gd name="connsiteY0" fmla="*/ 0 h 441483"/>
                <a:gd name="connsiteX1" fmla="*/ 0 w 185356"/>
                <a:gd name="connsiteY1" fmla="*/ 90202 h 441483"/>
                <a:gd name="connsiteX2" fmla="*/ 0 w 185356"/>
                <a:gd name="connsiteY2" fmla="*/ 351282 h 441483"/>
                <a:gd name="connsiteX3" fmla="*/ 92678 w 185356"/>
                <a:gd name="connsiteY3" fmla="*/ 441484 h 441483"/>
                <a:gd name="connsiteX4" fmla="*/ 185356 w 185356"/>
                <a:gd name="connsiteY4" fmla="*/ 351282 h 441483"/>
                <a:gd name="connsiteX5" fmla="*/ 185356 w 185356"/>
                <a:gd name="connsiteY5" fmla="*/ 90202 h 441483"/>
                <a:gd name="connsiteX6" fmla="*/ 92678 w 185356"/>
                <a:gd name="connsiteY6" fmla="*/ 0 h 441483"/>
                <a:gd name="connsiteX7" fmla="*/ 92678 w 185356"/>
                <a:gd name="connsiteY7" fmla="*/ 0 h 441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85356" h="441483">
                  <a:moveTo>
                    <a:pt x="92678" y="0"/>
                  </a:moveTo>
                  <a:cubicBezTo>
                    <a:pt x="41720" y="0"/>
                    <a:pt x="0" y="40577"/>
                    <a:pt x="0" y="90202"/>
                  </a:cubicBezTo>
                  <a:lnTo>
                    <a:pt x="0" y="351282"/>
                  </a:lnTo>
                  <a:cubicBezTo>
                    <a:pt x="0" y="400907"/>
                    <a:pt x="41720" y="441484"/>
                    <a:pt x="92678" y="441484"/>
                  </a:cubicBezTo>
                  <a:cubicBezTo>
                    <a:pt x="143637" y="441484"/>
                    <a:pt x="185356" y="400907"/>
                    <a:pt x="185356" y="351282"/>
                  </a:cubicBezTo>
                  <a:lnTo>
                    <a:pt x="185356" y="90202"/>
                  </a:lnTo>
                  <a:cubicBezTo>
                    <a:pt x="185356" y="40577"/>
                    <a:pt x="143637" y="0"/>
                    <a:pt x="92678" y="0"/>
                  </a:cubicBezTo>
                  <a:lnTo>
                    <a:pt x="92678" y="0"/>
                  </a:ln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220" name="Forma livre: Forma 2219">
              <a:extLst>
                <a:ext uri="{FF2B5EF4-FFF2-40B4-BE49-F238E27FC236}">
                  <a16:creationId xmlns:a16="http://schemas.microsoft.com/office/drawing/2014/main" id="{778BBFEB-38A0-634F-7704-660AD3B1B367}"/>
                </a:ext>
              </a:extLst>
            </p:cNvPr>
            <p:cNvSpPr/>
            <p:nvPr/>
          </p:nvSpPr>
          <p:spPr>
            <a:xfrm>
              <a:off x="532860" y="5300821"/>
              <a:ext cx="245173" cy="9525"/>
            </a:xfrm>
            <a:custGeom>
              <a:avLst/>
              <a:gdLst>
                <a:gd name="connsiteX0" fmla="*/ 245173 w 245173"/>
                <a:gd name="connsiteY0" fmla="*/ 0 h 9525"/>
                <a:gd name="connsiteX1" fmla="*/ 0 w 245173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45173" h="9525">
                  <a:moveTo>
                    <a:pt x="245173" y="0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221" name="Forma livre: Forma 2220">
              <a:extLst>
                <a:ext uri="{FF2B5EF4-FFF2-40B4-BE49-F238E27FC236}">
                  <a16:creationId xmlns:a16="http://schemas.microsoft.com/office/drawing/2014/main" id="{03D4308C-A932-6F77-BA5E-BE8611006A82}"/>
                </a:ext>
              </a:extLst>
            </p:cNvPr>
            <p:cNvSpPr/>
            <p:nvPr/>
          </p:nvSpPr>
          <p:spPr>
            <a:xfrm>
              <a:off x="328453" y="5220526"/>
              <a:ext cx="513397" cy="398525"/>
            </a:xfrm>
            <a:custGeom>
              <a:avLst/>
              <a:gdLst>
                <a:gd name="connsiteX0" fmla="*/ 572 w 513397"/>
                <a:gd name="connsiteY0" fmla="*/ 398431 h 398525"/>
                <a:gd name="connsiteX1" fmla="*/ 446723 w 513397"/>
                <a:gd name="connsiteY1" fmla="*/ 398431 h 398525"/>
                <a:gd name="connsiteX2" fmla="*/ 513398 w 513397"/>
                <a:gd name="connsiteY2" fmla="*/ 331756 h 398525"/>
                <a:gd name="connsiteX3" fmla="*/ 513398 w 513397"/>
                <a:gd name="connsiteY3" fmla="*/ 66675 h 398525"/>
                <a:gd name="connsiteX4" fmla="*/ 446723 w 513397"/>
                <a:gd name="connsiteY4" fmla="*/ 0 h 398525"/>
                <a:gd name="connsiteX5" fmla="*/ 141542 w 513397"/>
                <a:gd name="connsiteY5" fmla="*/ 0 h 398525"/>
                <a:gd name="connsiteX6" fmla="*/ 141542 w 513397"/>
                <a:gd name="connsiteY6" fmla="*/ 243459 h 398525"/>
                <a:gd name="connsiteX7" fmla="*/ 0 w 513397"/>
                <a:gd name="connsiteY7" fmla="*/ 398526 h 398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13397" h="398525">
                  <a:moveTo>
                    <a:pt x="572" y="398431"/>
                  </a:moveTo>
                  <a:lnTo>
                    <a:pt x="446723" y="398431"/>
                  </a:lnTo>
                  <a:cubicBezTo>
                    <a:pt x="483394" y="398431"/>
                    <a:pt x="513398" y="368427"/>
                    <a:pt x="513398" y="331756"/>
                  </a:cubicBezTo>
                  <a:lnTo>
                    <a:pt x="513398" y="66675"/>
                  </a:lnTo>
                  <a:cubicBezTo>
                    <a:pt x="513398" y="30004"/>
                    <a:pt x="483394" y="0"/>
                    <a:pt x="446723" y="0"/>
                  </a:cubicBezTo>
                  <a:lnTo>
                    <a:pt x="141542" y="0"/>
                  </a:lnTo>
                  <a:lnTo>
                    <a:pt x="141542" y="243459"/>
                  </a:lnTo>
                  <a:cubicBezTo>
                    <a:pt x="141542" y="394240"/>
                    <a:pt x="0" y="398526"/>
                    <a:pt x="0" y="398526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2222" name="Gráfico 2216">
              <a:extLst>
                <a:ext uri="{FF2B5EF4-FFF2-40B4-BE49-F238E27FC236}">
                  <a16:creationId xmlns:a16="http://schemas.microsoft.com/office/drawing/2014/main" id="{75062BF1-0035-09CE-2BDC-51CD41BF7FD4}"/>
                </a:ext>
              </a:extLst>
            </p:cNvPr>
            <p:cNvGrpSpPr/>
            <p:nvPr/>
          </p:nvGrpSpPr>
          <p:grpSpPr>
            <a:xfrm>
              <a:off x="532955" y="5393119"/>
              <a:ext cx="245554" cy="9525"/>
              <a:chOff x="532955" y="5393119"/>
              <a:chExt cx="245554" cy="9525"/>
            </a:xfrm>
          </p:grpSpPr>
          <p:sp>
            <p:nvSpPr>
              <p:cNvPr id="2223" name="Forma livre: Forma 2222">
                <a:extLst>
                  <a:ext uri="{FF2B5EF4-FFF2-40B4-BE49-F238E27FC236}">
                    <a16:creationId xmlns:a16="http://schemas.microsoft.com/office/drawing/2014/main" id="{3BB6CA18-B475-F734-584A-2BC1FBB89DAD}"/>
                  </a:ext>
                </a:extLst>
              </p:cNvPr>
              <p:cNvSpPr/>
              <p:nvPr/>
            </p:nvSpPr>
            <p:spPr>
              <a:xfrm>
                <a:off x="532955" y="5393119"/>
                <a:ext cx="62960" cy="9525"/>
              </a:xfrm>
              <a:custGeom>
                <a:avLst/>
                <a:gdLst>
                  <a:gd name="connsiteX0" fmla="*/ 62960 w 62960"/>
                  <a:gd name="connsiteY0" fmla="*/ 0 h 9525"/>
                  <a:gd name="connsiteX1" fmla="*/ 0 w 62960"/>
                  <a:gd name="connsiteY1" fmla="*/ 0 h 9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2960" h="9525">
                    <a:moveTo>
                      <a:pt x="62960" y="0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224" name="Forma livre: Forma 2223">
                <a:extLst>
                  <a:ext uri="{FF2B5EF4-FFF2-40B4-BE49-F238E27FC236}">
                    <a16:creationId xmlns:a16="http://schemas.microsoft.com/office/drawing/2014/main" id="{21C6DB5B-348B-DB72-D050-02B8FA63C494}"/>
                  </a:ext>
                </a:extLst>
              </p:cNvPr>
              <p:cNvSpPr/>
              <p:nvPr/>
            </p:nvSpPr>
            <p:spPr>
              <a:xfrm>
                <a:off x="624205" y="5393119"/>
                <a:ext cx="63055" cy="9525"/>
              </a:xfrm>
              <a:custGeom>
                <a:avLst/>
                <a:gdLst>
                  <a:gd name="connsiteX0" fmla="*/ 63055 w 63055"/>
                  <a:gd name="connsiteY0" fmla="*/ 0 h 9525"/>
                  <a:gd name="connsiteX1" fmla="*/ 0 w 63055"/>
                  <a:gd name="connsiteY1" fmla="*/ 0 h 9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3055" h="9525">
                    <a:moveTo>
                      <a:pt x="63055" y="0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225" name="Forma livre: Forma 2224">
                <a:extLst>
                  <a:ext uri="{FF2B5EF4-FFF2-40B4-BE49-F238E27FC236}">
                    <a16:creationId xmlns:a16="http://schemas.microsoft.com/office/drawing/2014/main" id="{38B5B381-9C07-ED62-633A-4A3BACB702E7}"/>
                  </a:ext>
                </a:extLst>
              </p:cNvPr>
              <p:cNvSpPr/>
              <p:nvPr/>
            </p:nvSpPr>
            <p:spPr>
              <a:xfrm>
                <a:off x="715454" y="5393119"/>
                <a:ext cx="63055" cy="9525"/>
              </a:xfrm>
              <a:custGeom>
                <a:avLst/>
                <a:gdLst>
                  <a:gd name="connsiteX0" fmla="*/ 63056 w 63055"/>
                  <a:gd name="connsiteY0" fmla="*/ 0 h 9525"/>
                  <a:gd name="connsiteX1" fmla="*/ 0 w 63055"/>
                  <a:gd name="connsiteY1" fmla="*/ 0 h 9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3055" h="9525">
                    <a:moveTo>
                      <a:pt x="63056" y="0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2226" name="Gráfico 2216">
              <a:extLst>
                <a:ext uri="{FF2B5EF4-FFF2-40B4-BE49-F238E27FC236}">
                  <a16:creationId xmlns:a16="http://schemas.microsoft.com/office/drawing/2014/main" id="{39854218-5B38-45F3-B060-2438B6E6E400}"/>
                </a:ext>
              </a:extLst>
            </p:cNvPr>
            <p:cNvGrpSpPr/>
            <p:nvPr/>
          </p:nvGrpSpPr>
          <p:grpSpPr>
            <a:xfrm>
              <a:off x="532955" y="5464651"/>
              <a:ext cx="245554" cy="9525"/>
              <a:chOff x="532955" y="5464651"/>
              <a:chExt cx="245554" cy="9525"/>
            </a:xfrm>
          </p:grpSpPr>
          <p:sp>
            <p:nvSpPr>
              <p:cNvPr id="2227" name="Forma livre: Forma 2226">
                <a:extLst>
                  <a:ext uri="{FF2B5EF4-FFF2-40B4-BE49-F238E27FC236}">
                    <a16:creationId xmlns:a16="http://schemas.microsoft.com/office/drawing/2014/main" id="{4E63501C-1A02-6610-0BBA-EA0E276128B2}"/>
                  </a:ext>
                </a:extLst>
              </p:cNvPr>
              <p:cNvSpPr/>
              <p:nvPr/>
            </p:nvSpPr>
            <p:spPr>
              <a:xfrm>
                <a:off x="532955" y="5464651"/>
                <a:ext cx="62960" cy="9525"/>
              </a:xfrm>
              <a:custGeom>
                <a:avLst/>
                <a:gdLst>
                  <a:gd name="connsiteX0" fmla="*/ 62960 w 62960"/>
                  <a:gd name="connsiteY0" fmla="*/ 0 h 9525"/>
                  <a:gd name="connsiteX1" fmla="*/ 0 w 62960"/>
                  <a:gd name="connsiteY1" fmla="*/ 0 h 9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2960" h="9525">
                    <a:moveTo>
                      <a:pt x="62960" y="0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228" name="Forma livre: Forma 2227">
                <a:extLst>
                  <a:ext uri="{FF2B5EF4-FFF2-40B4-BE49-F238E27FC236}">
                    <a16:creationId xmlns:a16="http://schemas.microsoft.com/office/drawing/2014/main" id="{CB1252C1-837C-39FA-F0F5-A74AA0B425D8}"/>
                  </a:ext>
                </a:extLst>
              </p:cNvPr>
              <p:cNvSpPr/>
              <p:nvPr/>
            </p:nvSpPr>
            <p:spPr>
              <a:xfrm>
                <a:off x="624205" y="5464651"/>
                <a:ext cx="63055" cy="9525"/>
              </a:xfrm>
              <a:custGeom>
                <a:avLst/>
                <a:gdLst>
                  <a:gd name="connsiteX0" fmla="*/ 63055 w 63055"/>
                  <a:gd name="connsiteY0" fmla="*/ 0 h 9525"/>
                  <a:gd name="connsiteX1" fmla="*/ 0 w 63055"/>
                  <a:gd name="connsiteY1" fmla="*/ 0 h 9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3055" h="9525">
                    <a:moveTo>
                      <a:pt x="63055" y="0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229" name="Forma livre: Forma 2228">
                <a:extLst>
                  <a:ext uri="{FF2B5EF4-FFF2-40B4-BE49-F238E27FC236}">
                    <a16:creationId xmlns:a16="http://schemas.microsoft.com/office/drawing/2014/main" id="{02397488-8A46-8A5B-CA46-1EC6B0008375}"/>
                  </a:ext>
                </a:extLst>
              </p:cNvPr>
              <p:cNvSpPr/>
              <p:nvPr/>
            </p:nvSpPr>
            <p:spPr>
              <a:xfrm>
                <a:off x="715454" y="5464651"/>
                <a:ext cx="63055" cy="9525"/>
              </a:xfrm>
              <a:custGeom>
                <a:avLst/>
                <a:gdLst>
                  <a:gd name="connsiteX0" fmla="*/ 63056 w 63055"/>
                  <a:gd name="connsiteY0" fmla="*/ 0 h 9525"/>
                  <a:gd name="connsiteX1" fmla="*/ 0 w 63055"/>
                  <a:gd name="connsiteY1" fmla="*/ 0 h 9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3055" h="9525">
                    <a:moveTo>
                      <a:pt x="63056" y="0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2230" name="Gráfico 2216">
              <a:extLst>
                <a:ext uri="{FF2B5EF4-FFF2-40B4-BE49-F238E27FC236}">
                  <a16:creationId xmlns:a16="http://schemas.microsoft.com/office/drawing/2014/main" id="{4D61D20E-D47B-7C64-7A47-AF6B10B138E3}"/>
                </a:ext>
              </a:extLst>
            </p:cNvPr>
            <p:cNvGrpSpPr/>
            <p:nvPr/>
          </p:nvGrpSpPr>
          <p:grpSpPr>
            <a:xfrm>
              <a:off x="532955" y="5536089"/>
              <a:ext cx="245554" cy="9525"/>
              <a:chOff x="532955" y="5536089"/>
              <a:chExt cx="245554" cy="9525"/>
            </a:xfrm>
          </p:grpSpPr>
          <p:sp>
            <p:nvSpPr>
              <p:cNvPr id="2231" name="Forma livre: Forma 2230">
                <a:extLst>
                  <a:ext uri="{FF2B5EF4-FFF2-40B4-BE49-F238E27FC236}">
                    <a16:creationId xmlns:a16="http://schemas.microsoft.com/office/drawing/2014/main" id="{EDC7CF33-C793-E3F6-59EE-4DD9B3175368}"/>
                  </a:ext>
                </a:extLst>
              </p:cNvPr>
              <p:cNvSpPr/>
              <p:nvPr/>
            </p:nvSpPr>
            <p:spPr>
              <a:xfrm>
                <a:off x="532955" y="5536089"/>
                <a:ext cx="62960" cy="9525"/>
              </a:xfrm>
              <a:custGeom>
                <a:avLst/>
                <a:gdLst>
                  <a:gd name="connsiteX0" fmla="*/ 62960 w 62960"/>
                  <a:gd name="connsiteY0" fmla="*/ 0 h 9525"/>
                  <a:gd name="connsiteX1" fmla="*/ 0 w 62960"/>
                  <a:gd name="connsiteY1" fmla="*/ 0 h 9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2960" h="9525">
                    <a:moveTo>
                      <a:pt x="62960" y="0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232" name="Forma livre: Forma 2231">
                <a:extLst>
                  <a:ext uri="{FF2B5EF4-FFF2-40B4-BE49-F238E27FC236}">
                    <a16:creationId xmlns:a16="http://schemas.microsoft.com/office/drawing/2014/main" id="{9D0E750E-F8BD-6E86-5F64-37855938C14D}"/>
                  </a:ext>
                </a:extLst>
              </p:cNvPr>
              <p:cNvSpPr/>
              <p:nvPr/>
            </p:nvSpPr>
            <p:spPr>
              <a:xfrm>
                <a:off x="624205" y="5536089"/>
                <a:ext cx="63055" cy="9525"/>
              </a:xfrm>
              <a:custGeom>
                <a:avLst/>
                <a:gdLst>
                  <a:gd name="connsiteX0" fmla="*/ 63055 w 63055"/>
                  <a:gd name="connsiteY0" fmla="*/ 0 h 9525"/>
                  <a:gd name="connsiteX1" fmla="*/ 0 w 63055"/>
                  <a:gd name="connsiteY1" fmla="*/ 0 h 9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3055" h="9525">
                    <a:moveTo>
                      <a:pt x="63055" y="0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233" name="Forma livre: Forma 2232">
                <a:extLst>
                  <a:ext uri="{FF2B5EF4-FFF2-40B4-BE49-F238E27FC236}">
                    <a16:creationId xmlns:a16="http://schemas.microsoft.com/office/drawing/2014/main" id="{BAF91FD7-7970-044C-E11A-60CD2C5A47F7}"/>
                  </a:ext>
                </a:extLst>
              </p:cNvPr>
              <p:cNvSpPr/>
              <p:nvPr/>
            </p:nvSpPr>
            <p:spPr>
              <a:xfrm>
                <a:off x="715454" y="5536089"/>
                <a:ext cx="63055" cy="9525"/>
              </a:xfrm>
              <a:custGeom>
                <a:avLst/>
                <a:gdLst>
                  <a:gd name="connsiteX0" fmla="*/ 63056 w 63055"/>
                  <a:gd name="connsiteY0" fmla="*/ 0 h 9525"/>
                  <a:gd name="connsiteX1" fmla="*/ 0 w 63055"/>
                  <a:gd name="connsiteY1" fmla="*/ 0 h 9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3055" h="9525">
                    <a:moveTo>
                      <a:pt x="63056" y="0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2255" name="Agrupar 2254">
            <a:extLst>
              <a:ext uri="{FF2B5EF4-FFF2-40B4-BE49-F238E27FC236}">
                <a16:creationId xmlns:a16="http://schemas.microsoft.com/office/drawing/2014/main" id="{5795D4E6-834A-9EF1-7D77-B64AD6925A88}"/>
              </a:ext>
            </a:extLst>
          </p:cNvPr>
          <p:cNvGrpSpPr/>
          <p:nvPr/>
        </p:nvGrpSpPr>
        <p:grpSpPr>
          <a:xfrm>
            <a:off x="1393030" y="5845032"/>
            <a:ext cx="329979" cy="279431"/>
            <a:chOff x="1916905" y="5998380"/>
            <a:chExt cx="653510" cy="553402"/>
          </a:xfrm>
        </p:grpSpPr>
        <p:sp>
          <p:nvSpPr>
            <p:cNvPr id="2238" name="Forma livre: Forma 2237">
              <a:extLst>
                <a:ext uri="{FF2B5EF4-FFF2-40B4-BE49-F238E27FC236}">
                  <a16:creationId xmlns:a16="http://schemas.microsoft.com/office/drawing/2014/main" id="{84DD5637-3B6A-E4E7-54B7-431F3521CC96}"/>
                </a:ext>
              </a:extLst>
            </p:cNvPr>
            <p:cNvSpPr/>
            <p:nvPr/>
          </p:nvSpPr>
          <p:spPr>
            <a:xfrm>
              <a:off x="1916905" y="6110299"/>
              <a:ext cx="185356" cy="441483"/>
            </a:xfrm>
            <a:custGeom>
              <a:avLst/>
              <a:gdLst>
                <a:gd name="connsiteX0" fmla="*/ 92678 w 185356"/>
                <a:gd name="connsiteY0" fmla="*/ 0 h 441483"/>
                <a:gd name="connsiteX1" fmla="*/ 0 w 185356"/>
                <a:gd name="connsiteY1" fmla="*/ 90202 h 441483"/>
                <a:gd name="connsiteX2" fmla="*/ 0 w 185356"/>
                <a:gd name="connsiteY2" fmla="*/ 351282 h 441483"/>
                <a:gd name="connsiteX3" fmla="*/ 92678 w 185356"/>
                <a:gd name="connsiteY3" fmla="*/ 441484 h 441483"/>
                <a:gd name="connsiteX4" fmla="*/ 185356 w 185356"/>
                <a:gd name="connsiteY4" fmla="*/ 351282 h 441483"/>
                <a:gd name="connsiteX5" fmla="*/ 185356 w 185356"/>
                <a:gd name="connsiteY5" fmla="*/ 90202 h 441483"/>
                <a:gd name="connsiteX6" fmla="*/ 92678 w 185356"/>
                <a:gd name="connsiteY6" fmla="*/ 0 h 441483"/>
                <a:gd name="connsiteX7" fmla="*/ 92678 w 185356"/>
                <a:gd name="connsiteY7" fmla="*/ 0 h 441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85356" h="441483">
                  <a:moveTo>
                    <a:pt x="92678" y="0"/>
                  </a:moveTo>
                  <a:cubicBezTo>
                    <a:pt x="41720" y="0"/>
                    <a:pt x="0" y="40577"/>
                    <a:pt x="0" y="90202"/>
                  </a:cubicBezTo>
                  <a:lnTo>
                    <a:pt x="0" y="351282"/>
                  </a:lnTo>
                  <a:cubicBezTo>
                    <a:pt x="0" y="400907"/>
                    <a:pt x="41720" y="441484"/>
                    <a:pt x="92678" y="441484"/>
                  </a:cubicBezTo>
                  <a:cubicBezTo>
                    <a:pt x="143637" y="441484"/>
                    <a:pt x="185356" y="400907"/>
                    <a:pt x="185356" y="351282"/>
                  </a:cubicBezTo>
                  <a:lnTo>
                    <a:pt x="185356" y="90202"/>
                  </a:lnTo>
                  <a:cubicBezTo>
                    <a:pt x="185356" y="40577"/>
                    <a:pt x="143637" y="0"/>
                    <a:pt x="92678" y="0"/>
                  </a:cubicBezTo>
                  <a:lnTo>
                    <a:pt x="92678" y="0"/>
                  </a:ln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239" name="Forma livre: Forma 2238">
              <a:extLst>
                <a:ext uri="{FF2B5EF4-FFF2-40B4-BE49-F238E27FC236}">
                  <a16:creationId xmlns:a16="http://schemas.microsoft.com/office/drawing/2014/main" id="{7E9BAD4A-F58E-B973-F84E-0BBD6C25C227}"/>
                </a:ext>
              </a:extLst>
            </p:cNvPr>
            <p:cNvSpPr/>
            <p:nvPr/>
          </p:nvSpPr>
          <p:spPr>
            <a:xfrm>
              <a:off x="2156935" y="6131634"/>
              <a:ext cx="413480" cy="398430"/>
            </a:xfrm>
            <a:custGeom>
              <a:avLst/>
              <a:gdLst>
                <a:gd name="connsiteX0" fmla="*/ 68866 w 413480"/>
                <a:gd name="connsiteY0" fmla="*/ 0 h 398430"/>
                <a:gd name="connsiteX1" fmla="*/ 0 w 413480"/>
                <a:gd name="connsiteY1" fmla="*/ 0 h 398430"/>
                <a:gd name="connsiteX2" fmla="*/ 0 w 413480"/>
                <a:gd name="connsiteY2" fmla="*/ 398431 h 398430"/>
                <a:gd name="connsiteX3" fmla="*/ 346805 w 413480"/>
                <a:gd name="connsiteY3" fmla="*/ 398431 h 398430"/>
                <a:gd name="connsiteX4" fmla="*/ 413480 w 413480"/>
                <a:gd name="connsiteY4" fmla="*/ 331756 h 398430"/>
                <a:gd name="connsiteX5" fmla="*/ 413480 w 413480"/>
                <a:gd name="connsiteY5" fmla="*/ 66675 h 398430"/>
                <a:gd name="connsiteX6" fmla="*/ 346805 w 413480"/>
                <a:gd name="connsiteY6" fmla="*/ 0 h 398430"/>
                <a:gd name="connsiteX7" fmla="*/ 340233 w 413480"/>
                <a:gd name="connsiteY7" fmla="*/ 0 h 3984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13480" h="398430">
                  <a:moveTo>
                    <a:pt x="68866" y="0"/>
                  </a:moveTo>
                  <a:lnTo>
                    <a:pt x="0" y="0"/>
                  </a:lnTo>
                  <a:lnTo>
                    <a:pt x="0" y="398431"/>
                  </a:lnTo>
                  <a:lnTo>
                    <a:pt x="346805" y="398431"/>
                  </a:lnTo>
                  <a:cubicBezTo>
                    <a:pt x="383476" y="398431"/>
                    <a:pt x="413480" y="368427"/>
                    <a:pt x="413480" y="331756"/>
                  </a:cubicBezTo>
                  <a:lnTo>
                    <a:pt x="413480" y="66675"/>
                  </a:lnTo>
                  <a:cubicBezTo>
                    <a:pt x="413480" y="30004"/>
                    <a:pt x="383476" y="0"/>
                    <a:pt x="346805" y="0"/>
                  </a:cubicBezTo>
                  <a:lnTo>
                    <a:pt x="340233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240" name="Forma livre: Forma 2239">
              <a:extLst>
                <a:ext uri="{FF2B5EF4-FFF2-40B4-BE49-F238E27FC236}">
                  <a16:creationId xmlns:a16="http://schemas.microsoft.com/office/drawing/2014/main" id="{FE6DB08B-67BD-E79B-5055-813E711572C1}"/>
                </a:ext>
              </a:extLst>
            </p:cNvPr>
            <p:cNvSpPr/>
            <p:nvPr/>
          </p:nvSpPr>
          <p:spPr>
            <a:xfrm>
              <a:off x="2228467" y="5998380"/>
              <a:ext cx="339756" cy="218503"/>
            </a:xfrm>
            <a:custGeom>
              <a:avLst/>
              <a:gdLst>
                <a:gd name="connsiteX0" fmla="*/ 266700 w 339756"/>
                <a:gd name="connsiteY0" fmla="*/ 214979 h 218503"/>
                <a:gd name="connsiteX1" fmla="*/ 266700 w 339756"/>
                <a:gd name="connsiteY1" fmla="*/ 28575 h 218503"/>
                <a:gd name="connsiteX2" fmla="*/ 238125 w 339756"/>
                <a:gd name="connsiteY2" fmla="*/ 0 h 218503"/>
                <a:gd name="connsiteX3" fmla="*/ 28575 w 339756"/>
                <a:gd name="connsiteY3" fmla="*/ 0 h 218503"/>
                <a:gd name="connsiteX4" fmla="*/ 0 w 339756"/>
                <a:gd name="connsiteY4" fmla="*/ 28575 h 218503"/>
                <a:gd name="connsiteX5" fmla="*/ 0 w 339756"/>
                <a:gd name="connsiteY5" fmla="*/ 218504 h 218503"/>
                <a:gd name="connsiteX6" fmla="*/ 339757 w 339756"/>
                <a:gd name="connsiteY6" fmla="*/ 218504 h 218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39756" h="218503">
                  <a:moveTo>
                    <a:pt x="266700" y="214979"/>
                  </a:moveTo>
                  <a:lnTo>
                    <a:pt x="266700" y="28575"/>
                  </a:lnTo>
                  <a:cubicBezTo>
                    <a:pt x="266700" y="12859"/>
                    <a:pt x="253841" y="0"/>
                    <a:pt x="238125" y="0"/>
                  </a:cubicBezTo>
                  <a:lnTo>
                    <a:pt x="28575" y="0"/>
                  </a:lnTo>
                  <a:cubicBezTo>
                    <a:pt x="12859" y="0"/>
                    <a:pt x="0" y="12859"/>
                    <a:pt x="0" y="28575"/>
                  </a:cubicBezTo>
                  <a:lnTo>
                    <a:pt x="0" y="218504"/>
                  </a:lnTo>
                  <a:lnTo>
                    <a:pt x="339757" y="218504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241" name="Forma livre: Forma 2240">
              <a:extLst>
                <a:ext uri="{FF2B5EF4-FFF2-40B4-BE49-F238E27FC236}">
                  <a16:creationId xmlns:a16="http://schemas.microsoft.com/office/drawing/2014/main" id="{9CF6EF15-B211-7670-49A5-01809FC1E974}"/>
                </a:ext>
              </a:extLst>
            </p:cNvPr>
            <p:cNvSpPr/>
            <p:nvPr/>
          </p:nvSpPr>
          <p:spPr>
            <a:xfrm>
              <a:off x="2296476" y="6144208"/>
              <a:ext cx="130968" cy="9525"/>
            </a:xfrm>
            <a:custGeom>
              <a:avLst/>
              <a:gdLst>
                <a:gd name="connsiteX0" fmla="*/ 130969 w 130968"/>
                <a:gd name="connsiteY0" fmla="*/ 0 h 9525"/>
                <a:gd name="connsiteX1" fmla="*/ 0 w 130968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30968" h="9525">
                  <a:moveTo>
                    <a:pt x="130969" y="0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242" name="Forma livre: Forma 2241">
              <a:extLst>
                <a:ext uri="{FF2B5EF4-FFF2-40B4-BE49-F238E27FC236}">
                  <a16:creationId xmlns:a16="http://schemas.microsoft.com/office/drawing/2014/main" id="{30CC6FD2-D5AD-023A-66D3-B3505CCDC88B}"/>
                </a:ext>
              </a:extLst>
            </p:cNvPr>
            <p:cNvSpPr/>
            <p:nvPr/>
          </p:nvSpPr>
          <p:spPr>
            <a:xfrm>
              <a:off x="2296476" y="6073532"/>
              <a:ext cx="130968" cy="9525"/>
            </a:xfrm>
            <a:custGeom>
              <a:avLst/>
              <a:gdLst>
                <a:gd name="connsiteX0" fmla="*/ 130969 w 130968"/>
                <a:gd name="connsiteY0" fmla="*/ 0 h 9525"/>
                <a:gd name="connsiteX1" fmla="*/ 0 w 130968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30968" h="9525">
                  <a:moveTo>
                    <a:pt x="130969" y="0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2243" name="Gráfico 2235">
              <a:extLst>
                <a:ext uri="{FF2B5EF4-FFF2-40B4-BE49-F238E27FC236}">
                  <a16:creationId xmlns:a16="http://schemas.microsoft.com/office/drawing/2014/main" id="{B6982AC8-0B49-C8D1-1DC1-A99EAD9FB3AC}"/>
                </a:ext>
              </a:extLst>
            </p:cNvPr>
            <p:cNvGrpSpPr/>
            <p:nvPr/>
          </p:nvGrpSpPr>
          <p:grpSpPr>
            <a:xfrm>
              <a:off x="2241803" y="6302704"/>
              <a:ext cx="245649" cy="9525"/>
              <a:chOff x="2241803" y="6302704"/>
              <a:chExt cx="245649" cy="9525"/>
            </a:xfrm>
          </p:grpSpPr>
          <p:sp>
            <p:nvSpPr>
              <p:cNvPr id="2244" name="Forma livre: Forma 2243">
                <a:extLst>
                  <a:ext uri="{FF2B5EF4-FFF2-40B4-BE49-F238E27FC236}">
                    <a16:creationId xmlns:a16="http://schemas.microsoft.com/office/drawing/2014/main" id="{113ED9C3-C685-E203-435D-91621DD314A6}"/>
                  </a:ext>
                </a:extLst>
              </p:cNvPr>
              <p:cNvSpPr/>
              <p:nvPr/>
            </p:nvSpPr>
            <p:spPr>
              <a:xfrm>
                <a:off x="2241803" y="6302704"/>
                <a:ext cx="63055" cy="9525"/>
              </a:xfrm>
              <a:custGeom>
                <a:avLst/>
                <a:gdLst>
                  <a:gd name="connsiteX0" fmla="*/ 63055 w 63055"/>
                  <a:gd name="connsiteY0" fmla="*/ 0 h 9525"/>
                  <a:gd name="connsiteX1" fmla="*/ 0 w 63055"/>
                  <a:gd name="connsiteY1" fmla="*/ 0 h 9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3055" h="9525">
                    <a:moveTo>
                      <a:pt x="63055" y="0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245" name="Forma livre: Forma 2244">
                <a:extLst>
                  <a:ext uri="{FF2B5EF4-FFF2-40B4-BE49-F238E27FC236}">
                    <a16:creationId xmlns:a16="http://schemas.microsoft.com/office/drawing/2014/main" id="{5EAFBCFF-52F9-C9F9-C01B-3433DD482208}"/>
                  </a:ext>
                </a:extLst>
              </p:cNvPr>
              <p:cNvSpPr/>
              <p:nvPr/>
            </p:nvSpPr>
            <p:spPr>
              <a:xfrm>
                <a:off x="2333147" y="6302704"/>
                <a:ext cx="62960" cy="9525"/>
              </a:xfrm>
              <a:custGeom>
                <a:avLst/>
                <a:gdLst>
                  <a:gd name="connsiteX0" fmla="*/ 62960 w 62960"/>
                  <a:gd name="connsiteY0" fmla="*/ 0 h 9525"/>
                  <a:gd name="connsiteX1" fmla="*/ 0 w 62960"/>
                  <a:gd name="connsiteY1" fmla="*/ 0 h 9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2960" h="9525">
                    <a:moveTo>
                      <a:pt x="62960" y="0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246" name="Forma livre: Forma 2245">
                <a:extLst>
                  <a:ext uri="{FF2B5EF4-FFF2-40B4-BE49-F238E27FC236}">
                    <a16:creationId xmlns:a16="http://schemas.microsoft.com/office/drawing/2014/main" id="{966FC67D-CFE0-41E0-B519-61EB8ACC30B0}"/>
                  </a:ext>
                </a:extLst>
              </p:cNvPr>
              <p:cNvSpPr/>
              <p:nvPr/>
            </p:nvSpPr>
            <p:spPr>
              <a:xfrm>
                <a:off x="2424397" y="6302704"/>
                <a:ext cx="63055" cy="9525"/>
              </a:xfrm>
              <a:custGeom>
                <a:avLst/>
                <a:gdLst>
                  <a:gd name="connsiteX0" fmla="*/ 63056 w 63055"/>
                  <a:gd name="connsiteY0" fmla="*/ 0 h 9525"/>
                  <a:gd name="connsiteX1" fmla="*/ 0 w 63055"/>
                  <a:gd name="connsiteY1" fmla="*/ 0 h 9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3055" h="9525">
                    <a:moveTo>
                      <a:pt x="63056" y="0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2247" name="Gráfico 2235">
              <a:extLst>
                <a:ext uri="{FF2B5EF4-FFF2-40B4-BE49-F238E27FC236}">
                  <a16:creationId xmlns:a16="http://schemas.microsoft.com/office/drawing/2014/main" id="{F3B08077-99DE-59E2-4847-12C1D39E2F9A}"/>
                </a:ext>
              </a:extLst>
            </p:cNvPr>
            <p:cNvGrpSpPr/>
            <p:nvPr/>
          </p:nvGrpSpPr>
          <p:grpSpPr>
            <a:xfrm>
              <a:off x="2241803" y="6374141"/>
              <a:ext cx="245649" cy="9525"/>
              <a:chOff x="2241803" y="6374141"/>
              <a:chExt cx="245649" cy="9525"/>
            </a:xfrm>
          </p:grpSpPr>
          <p:sp>
            <p:nvSpPr>
              <p:cNvPr id="2248" name="Forma livre: Forma 2247">
                <a:extLst>
                  <a:ext uri="{FF2B5EF4-FFF2-40B4-BE49-F238E27FC236}">
                    <a16:creationId xmlns:a16="http://schemas.microsoft.com/office/drawing/2014/main" id="{288BBA9E-4011-381B-99F8-F723CC199849}"/>
                  </a:ext>
                </a:extLst>
              </p:cNvPr>
              <p:cNvSpPr/>
              <p:nvPr/>
            </p:nvSpPr>
            <p:spPr>
              <a:xfrm>
                <a:off x="2241803" y="6374141"/>
                <a:ext cx="63055" cy="9525"/>
              </a:xfrm>
              <a:custGeom>
                <a:avLst/>
                <a:gdLst>
                  <a:gd name="connsiteX0" fmla="*/ 63055 w 63055"/>
                  <a:gd name="connsiteY0" fmla="*/ 0 h 9525"/>
                  <a:gd name="connsiteX1" fmla="*/ 0 w 63055"/>
                  <a:gd name="connsiteY1" fmla="*/ 0 h 9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3055" h="9525">
                    <a:moveTo>
                      <a:pt x="63055" y="0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249" name="Forma livre: Forma 2248">
                <a:extLst>
                  <a:ext uri="{FF2B5EF4-FFF2-40B4-BE49-F238E27FC236}">
                    <a16:creationId xmlns:a16="http://schemas.microsoft.com/office/drawing/2014/main" id="{561E8EA3-FDEA-1671-FA2E-3DC0140FBD4E}"/>
                  </a:ext>
                </a:extLst>
              </p:cNvPr>
              <p:cNvSpPr/>
              <p:nvPr/>
            </p:nvSpPr>
            <p:spPr>
              <a:xfrm>
                <a:off x="2333147" y="6374141"/>
                <a:ext cx="62960" cy="9525"/>
              </a:xfrm>
              <a:custGeom>
                <a:avLst/>
                <a:gdLst>
                  <a:gd name="connsiteX0" fmla="*/ 62960 w 62960"/>
                  <a:gd name="connsiteY0" fmla="*/ 0 h 9525"/>
                  <a:gd name="connsiteX1" fmla="*/ 0 w 62960"/>
                  <a:gd name="connsiteY1" fmla="*/ 0 h 9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2960" h="9525">
                    <a:moveTo>
                      <a:pt x="62960" y="0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250" name="Forma livre: Forma 2249">
                <a:extLst>
                  <a:ext uri="{FF2B5EF4-FFF2-40B4-BE49-F238E27FC236}">
                    <a16:creationId xmlns:a16="http://schemas.microsoft.com/office/drawing/2014/main" id="{D44FF5BE-228C-487F-4969-7A65A9AEA900}"/>
                  </a:ext>
                </a:extLst>
              </p:cNvPr>
              <p:cNvSpPr/>
              <p:nvPr/>
            </p:nvSpPr>
            <p:spPr>
              <a:xfrm>
                <a:off x="2424397" y="6374141"/>
                <a:ext cx="63055" cy="9525"/>
              </a:xfrm>
              <a:custGeom>
                <a:avLst/>
                <a:gdLst>
                  <a:gd name="connsiteX0" fmla="*/ 63056 w 63055"/>
                  <a:gd name="connsiteY0" fmla="*/ 0 h 9525"/>
                  <a:gd name="connsiteX1" fmla="*/ 0 w 63055"/>
                  <a:gd name="connsiteY1" fmla="*/ 0 h 9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3055" h="9525">
                    <a:moveTo>
                      <a:pt x="63056" y="0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2251" name="Gráfico 2235">
              <a:extLst>
                <a:ext uri="{FF2B5EF4-FFF2-40B4-BE49-F238E27FC236}">
                  <a16:creationId xmlns:a16="http://schemas.microsoft.com/office/drawing/2014/main" id="{9545910C-B72C-FAB0-0231-DA82FABAB723}"/>
                </a:ext>
              </a:extLst>
            </p:cNvPr>
            <p:cNvGrpSpPr/>
            <p:nvPr/>
          </p:nvGrpSpPr>
          <p:grpSpPr>
            <a:xfrm>
              <a:off x="2241803" y="6445674"/>
              <a:ext cx="245649" cy="9525"/>
              <a:chOff x="2241803" y="6445674"/>
              <a:chExt cx="245649" cy="9525"/>
            </a:xfrm>
          </p:grpSpPr>
          <p:sp>
            <p:nvSpPr>
              <p:cNvPr id="2252" name="Forma livre: Forma 2251">
                <a:extLst>
                  <a:ext uri="{FF2B5EF4-FFF2-40B4-BE49-F238E27FC236}">
                    <a16:creationId xmlns:a16="http://schemas.microsoft.com/office/drawing/2014/main" id="{160C2650-B5F6-CF2B-0BEA-C43AFDA1F829}"/>
                  </a:ext>
                </a:extLst>
              </p:cNvPr>
              <p:cNvSpPr/>
              <p:nvPr/>
            </p:nvSpPr>
            <p:spPr>
              <a:xfrm>
                <a:off x="2241803" y="6445674"/>
                <a:ext cx="63055" cy="9525"/>
              </a:xfrm>
              <a:custGeom>
                <a:avLst/>
                <a:gdLst>
                  <a:gd name="connsiteX0" fmla="*/ 63055 w 63055"/>
                  <a:gd name="connsiteY0" fmla="*/ 0 h 9525"/>
                  <a:gd name="connsiteX1" fmla="*/ 0 w 63055"/>
                  <a:gd name="connsiteY1" fmla="*/ 0 h 9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3055" h="9525">
                    <a:moveTo>
                      <a:pt x="63055" y="0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253" name="Forma livre: Forma 2252">
                <a:extLst>
                  <a:ext uri="{FF2B5EF4-FFF2-40B4-BE49-F238E27FC236}">
                    <a16:creationId xmlns:a16="http://schemas.microsoft.com/office/drawing/2014/main" id="{0ADAD7CF-95C5-80A3-4D79-7AA85AABBE64}"/>
                  </a:ext>
                </a:extLst>
              </p:cNvPr>
              <p:cNvSpPr/>
              <p:nvPr/>
            </p:nvSpPr>
            <p:spPr>
              <a:xfrm>
                <a:off x="2333147" y="6445674"/>
                <a:ext cx="62960" cy="9525"/>
              </a:xfrm>
              <a:custGeom>
                <a:avLst/>
                <a:gdLst>
                  <a:gd name="connsiteX0" fmla="*/ 62960 w 62960"/>
                  <a:gd name="connsiteY0" fmla="*/ 0 h 9525"/>
                  <a:gd name="connsiteX1" fmla="*/ 0 w 62960"/>
                  <a:gd name="connsiteY1" fmla="*/ 0 h 9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2960" h="9525">
                    <a:moveTo>
                      <a:pt x="62960" y="0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254" name="Forma livre: Forma 2253">
                <a:extLst>
                  <a:ext uri="{FF2B5EF4-FFF2-40B4-BE49-F238E27FC236}">
                    <a16:creationId xmlns:a16="http://schemas.microsoft.com/office/drawing/2014/main" id="{2F8F2F26-A453-352F-DC5A-9596C42D1AA9}"/>
                  </a:ext>
                </a:extLst>
              </p:cNvPr>
              <p:cNvSpPr/>
              <p:nvPr/>
            </p:nvSpPr>
            <p:spPr>
              <a:xfrm>
                <a:off x="2424397" y="6445674"/>
                <a:ext cx="63055" cy="9525"/>
              </a:xfrm>
              <a:custGeom>
                <a:avLst/>
                <a:gdLst>
                  <a:gd name="connsiteX0" fmla="*/ 63056 w 63055"/>
                  <a:gd name="connsiteY0" fmla="*/ 0 h 9525"/>
                  <a:gd name="connsiteX1" fmla="*/ 0 w 63055"/>
                  <a:gd name="connsiteY1" fmla="*/ 0 h 9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3055" h="9525">
                    <a:moveTo>
                      <a:pt x="63056" y="0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2256" name="Agrupar 2255">
            <a:extLst>
              <a:ext uri="{FF2B5EF4-FFF2-40B4-BE49-F238E27FC236}">
                <a16:creationId xmlns:a16="http://schemas.microsoft.com/office/drawing/2014/main" id="{FEF69340-A3BB-3236-EEEC-C1240EED1012}"/>
              </a:ext>
            </a:extLst>
          </p:cNvPr>
          <p:cNvGrpSpPr/>
          <p:nvPr/>
        </p:nvGrpSpPr>
        <p:grpSpPr>
          <a:xfrm>
            <a:off x="6966127" y="3156747"/>
            <a:ext cx="337211" cy="272253"/>
            <a:chOff x="234156" y="5128419"/>
            <a:chExt cx="607694" cy="490632"/>
          </a:xfrm>
        </p:grpSpPr>
        <p:sp>
          <p:nvSpPr>
            <p:cNvPr id="2257" name="Forma livre: Forma 2256">
              <a:extLst>
                <a:ext uri="{FF2B5EF4-FFF2-40B4-BE49-F238E27FC236}">
                  <a16:creationId xmlns:a16="http://schemas.microsoft.com/office/drawing/2014/main" id="{14526295-80A9-8C2A-F603-4D6553A48222}"/>
                </a:ext>
              </a:extLst>
            </p:cNvPr>
            <p:cNvSpPr/>
            <p:nvPr/>
          </p:nvSpPr>
          <p:spPr>
            <a:xfrm>
              <a:off x="234156" y="5128419"/>
              <a:ext cx="185356" cy="441483"/>
            </a:xfrm>
            <a:custGeom>
              <a:avLst/>
              <a:gdLst>
                <a:gd name="connsiteX0" fmla="*/ 92678 w 185356"/>
                <a:gd name="connsiteY0" fmla="*/ 0 h 441483"/>
                <a:gd name="connsiteX1" fmla="*/ 0 w 185356"/>
                <a:gd name="connsiteY1" fmla="*/ 90202 h 441483"/>
                <a:gd name="connsiteX2" fmla="*/ 0 w 185356"/>
                <a:gd name="connsiteY2" fmla="*/ 351282 h 441483"/>
                <a:gd name="connsiteX3" fmla="*/ 92678 w 185356"/>
                <a:gd name="connsiteY3" fmla="*/ 441484 h 441483"/>
                <a:gd name="connsiteX4" fmla="*/ 185356 w 185356"/>
                <a:gd name="connsiteY4" fmla="*/ 351282 h 441483"/>
                <a:gd name="connsiteX5" fmla="*/ 185356 w 185356"/>
                <a:gd name="connsiteY5" fmla="*/ 90202 h 441483"/>
                <a:gd name="connsiteX6" fmla="*/ 92678 w 185356"/>
                <a:gd name="connsiteY6" fmla="*/ 0 h 441483"/>
                <a:gd name="connsiteX7" fmla="*/ 92678 w 185356"/>
                <a:gd name="connsiteY7" fmla="*/ 0 h 441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85356" h="441483">
                  <a:moveTo>
                    <a:pt x="92678" y="0"/>
                  </a:moveTo>
                  <a:cubicBezTo>
                    <a:pt x="41720" y="0"/>
                    <a:pt x="0" y="40577"/>
                    <a:pt x="0" y="90202"/>
                  </a:cubicBezTo>
                  <a:lnTo>
                    <a:pt x="0" y="351282"/>
                  </a:lnTo>
                  <a:cubicBezTo>
                    <a:pt x="0" y="400907"/>
                    <a:pt x="41720" y="441484"/>
                    <a:pt x="92678" y="441484"/>
                  </a:cubicBezTo>
                  <a:cubicBezTo>
                    <a:pt x="143637" y="441484"/>
                    <a:pt x="185356" y="400907"/>
                    <a:pt x="185356" y="351282"/>
                  </a:cubicBezTo>
                  <a:lnTo>
                    <a:pt x="185356" y="90202"/>
                  </a:lnTo>
                  <a:cubicBezTo>
                    <a:pt x="185356" y="40577"/>
                    <a:pt x="143637" y="0"/>
                    <a:pt x="92678" y="0"/>
                  </a:cubicBezTo>
                  <a:lnTo>
                    <a:pt x="92678" y="0"/>
                  </a:ln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258" name="Forma livre: Forma 2257">
              <a:extLst>
                <a:ext uri="{FF2B5EF4-FFF2-40B4-BE49-F238E27FC236}">
                  <a16:creationId xmlns:a16="http://schemas.microsoft.com/office/drawing/2014/main" id="{0C5A9312-956A-F0E9-25A6-6533842EABC9}"/>
                </a:ext>
              </a:extLst>
            </p:cNvPr>
            <p:cNvSpPr/>
            <p:nvPr/>
          </p:nvSpPr>
          <p:spPr>
            <a:xfrm>
              <a:off x="532860" y="5300821"/>
              <a:ext cx="245173" cy="9525"/>
            </a:xfrm>
            <a:custGeom>
              <a:avLst/>
              <a:gdLst>
                <a:gd name="connsiteX0" fmla="*/ 245173 w 245173"/>
                <a:gd name="connsiteY0" fmla="*/ 0 h 9525"/>
                <a:gd name="connsiteX1" fmla="*/ 0 w 245173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45173" h="9525">
                  <a:moveTo>
                    <a:pt x="245173" y="0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259" name="Forma livre: Forma 2258">
              <a:extLst>
                <a:ext uri="{FF2B5EF4-FFF2-40B4-BE49-F238E27FC236}">
                  <a16:creationId xmlns:a16="http://schemas.microsoft.com/office/drawing/2014/main" id="{17B1D6CC-BBDD-80EC-A3FE-9C93691104AA}"/>
                </a:ext>
              </a:extLst>
            </p:cNvPr>
            <p:cNvSpPr/>
            <p:nvPr/>
          </p:nvSpPr>
          <p:spPr>
            <a:xfrm>
              <a:off x="328453" y="5220526"/>
              <a:ext cx="513397" cy="398525"/>
            </a:xfrm>
            <a:custGeom>
              <a:avLst/>
              <a:gdLst>
                <a:gd name="connsiteX0" fmla="*/ 572 w 513397"/>
                <a:gd name="connsiteY0" fmla="*/ 398431 h 398525"/>
                <a:gd name="connsiteX1" fmla="*/ 446723 w 513397"/>
                <a:gd name="connsiteY1" fmla="*/ 398431 h 398525"/>
                <a:gd name="connsiteX2" fmla="*/ 513398 w 513397"/>
                <a:gd name="connsiteY2" fmla="*/ 331756 h 398525"/>
                <a:gd name="connsiteX3" fmla="*/ 513398 w 513397"/>
                <a:gd name="connsiteY3" fmla="*/ 66675 h 398525"/>
                <a:gd name="connsiteX4" fmla="*/ 446723 w 513397"/>
                <a:gd name="connsiteY4" fmla="*/ 0 h 398525"/>
                <a:gd name="connsiteX5" fmla="*/ 141542 w 513397"/>
                <a:gd name="connsiteY5" fmla="*/ 0 h 398525"/>
                <a:gd name="connsiteX6" fmla="*/ 141542 w 513397"/>
                <a:gd name="connsiteY6" fmla="*/ 243459 h 398525"/>
                <a:gd name="connsiteX7" fmla="*/ 0 w 513397"/>
                <a:gd name="connsiteY7" fmla="*/ 398526 h 398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13397" h="398525">
                  <a:moveTo>
                    <a:pt x="572" y="398431"/>
                  </a:moveTo>
                  <a:lnTo>
                    <a:pt x="446723" y="398431"/>
                  </a:lnTo>
                  <a:cubicBezTo>
                    <a:pt x="483394" y="398431"/>
                    <a:pt x="513398" y="368427"/>
                    <a:pt x="513398" y="331756"/>
                  </a:cubicBezTo>
                  <a:lnTo>
                    <a:pt x="513398" y="66675"/>
                  </a:lnTo>
                  <a:cubicBezTo>
                    <a:pt x="513398" y="30004"/>
                    <a:pt x="483394" y="0"/>
                    <a:pt x="446723" y="0"/>
                  </a:cubicBezTo>
                  <a:lnTo>
                    <a:pt x="141542" y="0"/>
                  </a:lnTo>
                  <a:lnTo>
                    <a:pt x="141542" y="243459"/>
                  </a:lnTo>
                  <a:cubicBezTo>
                    <a:pt x="141542" y="394240"/>
                    <a:pt x="0" y="398526"/>
                    <a:pt x="0" y="398526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2260" name="Gráfico 2216">
              <a:extLst>
                <a:ext uri="{FF2B5EF4-FFF2-40B4-BE49-F238E27FC236}">
                  <a16:creationId xmlns:a16="http://schemas.microsoft.com/office/drawing/2014/main" id="{AEE573E5-7E73-1432-9453-D8A1F34734EE}"/>
                </a:ext>
              </a:extLst>
            </p:cNvPr>
            <p:cNvGrpSpPr/>
            <p:nvPr/>
          </p:nvGrpSpPr>
          <p:grpSpPr>
            <a:xfrm>
              <a:off x="532955" y="5393119"/>
              <a:ext cx="245554" cy="9525"/>
              <a:chOff x="532955" y="5393119"/>
              <a:chExt cx="245554" cy="9525"/>
            </a:xfrm>
          </p:grpSpPr>
          <p:sp>
            <p:nvSpPr>
              <p:cNvPr id="2269" name="Forma livre: Forma 2268">
                <a:extLst>
                  <a:ext uri="{FF2B5EF4-FFF2-40B4-BE49-F238E27FC236}">
                    <a16:creationId xmlns:a16="http://schemas.microsoft.com/office/drawing/2014/main" id="{9776F27C-35CB-2165-CB2C-439C9C8ED616}"/>
                  </a:ext>
                </a:extLst>
              </p:cNvPr>
              <p:cNvSpPr/>
              <p:nvPr/>
            </p:nvSpPr>
            <p:spPr>
              <a:xfrm>
                <a:off x="532955" y="5393119"/>
                <a:ext cx="62960" cy="9525"/>
              </a:xfrm>
              <a:custGeom>
                <a:avLst/>
                <a:gdLst>
                  <a:gd name="connsiteX0" fmla="*/ 62960 w 62960"/>
                  <a:gd name="connsiteY0" fmla="*/ 0 h 9525"/>
                  <a:gd name="connsiteX1" fmla="*/ 0 w 62960"/>
                  <a:gd name="connsiteY1" fmla="*/ 0 h 9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2960" h="9525">
                    <a:moveTo>
                      <a:pt x="62960" y="0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270" name="Forma livre: Forma 2269">
                <a:extLst>
                  <a:ext uri="{FF2B5EF4-FFF2-40B4-BE49-F238E27FC236}">
                    <a16:creationId xmlns:a16="http://schemas.microsoft.com/office/drawing/2014/main" id="{BE498BD3-2357-CCEA-3D4B-66F7F7194B27}"/>
                  </a:ext>
                </a:extLst>
              </p:cNvPr>
              <p:cNvSpPr/>
              <p:nvPr/>
            </p:nvSpPr>
            <p:spPr>
              <a:xfrm>
                <a:off x="624205" y="5393119"/>
                <a:ext cx="63055" cy="9525"/>
              </a:xfrm>
              <a:custGeom>
                <a:avLst/>
                <a:gdLst>
                  <a:gd name="connsiteX0" fmla="*/ 63055 w 63055"/>
                  <a:gd name="connsiteY0" fmla="*/ 0 h 9525"/>
                  <a:gd name="connsiteX1" fmla="*/ 0 w 63055"/>
                  <a:gd name="connsiteY1" fmla="*/ 0 h 9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3055" h="9525">
                    <a:moveTo>
                      <a:pt x="63055" y="0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271" name="Forma livre: Forma 2270">
                <a:extLst>
                  <a:ext uri="{FF2B5EF4-FFF2-40B4-BE49-F238E27FC236}">
                    <a16:creationId xmlns:a16="http://schemas.microsoft.com/office/drawing/2014/main" id="{CA6241EC-88E8-DF01-438F-288D2A8F325A}"/>
                  </a:ext>
                </a:extLst>
              </p:cNvPr>
              <p:cNvSpPr/>
              <p:nvPr/>
            </p:nvSpPr>
            <p:spPr>
              <a:xfrm>
                <a:off x="715454" y="5393119"/>
                <a:ext cx="63055" cy="9525"/>
              </a:xfrm>
              <a:custGeom>
                <a:avLst/>
                <a:gdLst>
                  <a:gd name="connsiteX0" fmla="*/ 63056 w 63055"/>
                  <a:gd name="connsiteY0" fmla="*/ 0 h 9525"/>
                  <a:gd name="connsiteX1" fmla="*/ 0 w 63055"/>
                  <a:gd name="connsiteY1" fmla="*/ 0 h 9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3055" h="9525">
                    <a:moveTo>
                      <a:pt x="63056" y="0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2261" name="Gráfico 2216">
              <a:extLst>
                <a:ext uri="{FF2B5EF4-FFF2-40B4-BE49-F238E27FC236}">
                  <a16:creationId xmlns:a16="http://schemas.microsoft.com/office/drawing/2014/main" id="{41BDF734-EF8B-42CC-A7A0-4E3F888EA55D}"/>
                </a:ext>
              </a:extLst>
            </p:cNvPr>
            <p:cNvGrpSpPr/>
            <p:nvPr/>
          </p:nvGrpSpPr>
          <p:grpSpPr>
            <a:xfrm>
              <a:off x="532955" y="5464651"/>
              <a:ext cx="245554" cy="9525"/>
              <a:chOff x="532955" y="5464651"/>
              <a:chExt cx="245554" cy="9525"/>
            </a:xfrm>
          </p:grpSpPr>
          <p:sp>
            <p:nvSpPr>
              <p:cNvPr id="2266" name="Forma livre: Forma 2265">
                <a:extLst>
                  <a:ext uri="{FF2B5EF4-FFF2-40B4-BE49-F238E27FC236}">
                    <a16:creationId xmlns:a16="http://schemas.microsoft.com/office/drawing/2014/main" id="{ADDDD6BB-E6C4-7921-E63E-089DB477FDB3}"/>
                  </a:ext>
                </a:extLst>
              </p:cNvPr>
              <p:cNvSpPr/>
              <p:nvPr/>
            </p:nvSpPr>
            <p:spPr>
              <a:xfrm>
                <a:off x="532955" y="5464651"/>
                <a:ext cx="62960" cy="9525"/>
              </a:xfrm>
              <a:custGeom>
                <a:avLst/>
                <a:gdLst>
                  <a:gd name="connsiteX0" fmla="*/ 62960 w 62960"/>
                  <a:gd name="connsiteY0" fmla="*/ 0 h 9525"/>
                  <a:gd name="connsiteX1" fmla="*/ 0 w 62960"/>
                  <a:gd name="connsiteY1" fmla="*/ 0 h 9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2960" h="9525">
                    <a:moveTo>
                      <a:pt x="62960" y="0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267" name="Forma livre: Forma 2266">
                <a:extLst>
                  <a:ext uri="{FF2B5EF4-FFF2-40B4-BE49-F238E27FC236}">
                    <a16:creationId xmlns:a16="http://schemas.microsoft.com/office/drawing/2014/main" id="{F03E4532-DAAF-AF36-2DC3-9DA1B9F25A3D}"/>
                  </a:ext>
                </a:extLst>
              </p:cNvPr>
              <p:cNvSpPr/>
              <p:nvPr/>
            </p:nvSpPr>
            <p:spPr>
              <a:xfrm>
                <a:off x="624205" y="5464651"/>
                <a:ext cx="63055" cy="9525"/>
              </a:xfrm>
              <a:custGeom>
                <a:avLst/>
                <a:gdLst>
                  <a:gd name="connsiteX0" fmla="*/ 63055 w 63055"/>
                  <a:gd name="connsiteY0" fmla="*/ 0 h 9525"/>
                  <a:gd name="connsiteX1" fmla="*/ 0 w 63055"/>
                  <a:gd name="connsiteY1" fmla="*/ 0 h 9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3055" h="9525">
                    <a:moveTo>
                      <a:pt x="63055" y="0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268" name="Forma livre: Forma 2267">
                <a:extLst>
                  <a:ext uri="{FF2B5EF4-FFF2-40B4-BE49-F238E27FC236}">
                    <a16:creationId xmlns:a16="http://schemas.microsoft.com/office/drawing/2014/main" id="{9C8371D0-FC09-F5E2-E125-AA3D91F51153}"/>
                  </a:ext>
                </a:extLst>
              </p:cNvPr>
              <p:cNvSpPr/>
              <p:nvPr/>
            </p:nvSpPr>
            <p:spPr>
              <a:xfrm>
                <a:off x="715454" y="5464651"/>
                <a:ext cx="63055" cy="9525"/>
              </a:xfrm>
              <a:custGeom>
                <a:avLst/>
                <a:gdLst>
                  <a:gd name="connsiteX0" fmla="*/ 63056 w 63055"/>
                  <a:gd name="connsiteY0" fmla="*/ 0 h 9525"/>
                  <a:gd name="connsiteX1" fmla="*/ 0 w 63055"/>
                  <a:gd name="connsiteY1" fmla="*/ 0 h 9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3055" h="9525">
                    <a:moveTo>
                      <a:pt x="63056" y="0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2262" name="Gráfico 2216">
              <a:extLst>
                <a:ext uri="{FF2B5EF4-FFF2-40B4-BE49-F238E27FC236}">
                  <a16:creationId xmlns:a16="http://schemas.microsoft.com/office/drawing/2014/main" id="{DDBD9DA4-9A09-3313-5E64-1FDE1D104102}"/>
                </a:ext>
              </a:extLst>
            </p:cNvPr>
            <p:cNvGrpSpPr/>
            <p:nvPr/>
          </p:nvGrpSpPr>
          <p:grpSpPr>
            <a:xfrm>
              <a:off x="532955" y="5536089"/>
              <a:ext cx="245554" cy="9525"/>
              <a:chOff x="532955" y="5536089"/>
              <a:chExt cx="245554" cy="9525"/>
            </a:xfrm>
          </p:grpSpPr>
          <p:sp>
            <p:nvSpPr>
              <p:cNvPr id="2263" name="Forma livre: Forma 2262">
                <a:extLst>
                  <a:ext uri="{FF2B5EF4-FFF2-40B4-BE49-F238E27FC236}">
                    <a16:creationId xmlns:a16="http://schemas.microsoft.com/office/drawing/2014/main" id="{C5C7791F-7F17-066E-BBA5-27A3E37C4F3D}"/>
                  </a:ext>
                </a:extLst>
              </p:cNvPr>
              <p:cNvSpPr/>
              <p:nvPr/>
            </p:nvSpPr>
            <p:spPr>
              <a:xfrm>
                <a:off x="532955" y="5536089"/>
                <a:ext cx="62960" cy="9525"/>
              </a:xfrm>
              <a:custGeom>
                <a:avLst/>
                <a:gdLst>
                  <a:gd name="connsiteX0" fmla="*/ 62960 w 62960"/>
                  <a:gd name="connsiteY0" fmla="*/ 0 h 9525"/>
                  <a:gd name="connsiteX1" fmla="*/ 0 w 62960"/>
                  <a:gd name="connsiteY1" fmla="*/ 0 h 9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2960" h="9525">
                    <a:moveTo>
                      <a:pt x="62960" y="0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264" name="Forma livre: Forma 2263">
                <a:extLst>
                  <a:ext uri="{FF2B5EF4-FFF2-40B4-BE49-F238E27FC236}">
                    <a16:creationId xmlns:a16="http://schemas.microsoft.com/office/drawing/2014/main" id="{888236E6-8945-ABC4-0843-C532F1FF709F}"/>
                  </a:ext>
                </a:extLst>
              </p:cNvPr>
              <p:cNvSpPr/>
              <p:nvPr/>
            </p:nvSpPr>
            <p:spPr>
              <a:xfrm>
                <a:off x="624205" y="5536089"/>
                <a:ext cx="63055" cy="9525"/>
              </a:xfrm>
              <a:custGeom>
                <a:avLst/>
                <a:gdLst>
                  <a:gd name="connsiteX0" fmla="*/ 63055 w 63055"/>
                  <a:gd name="connsiteY0" fmla="*/ 0 h 9525"/>
                  <a:gd name="connsiteX1" fmla="*/ 0 w 63055"/>
                  <a:gd name="connsiteY1" fmla="*/ 0 h 9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3055" h="9525">
                    <a:moveTo>
                      <a:pt x="63055" y="0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265" name="Forma livre: Forma 2264">
                <a:extLst>
                  <a:ext uri="{FF2B5EF4-FFF2-40B4-BE49-F238E27FC236}">
                    <a16:creationId xmlns:a16="http://schemas.microsoft.com/office/drawing/2014/main" id="{3B0BAA42-051D-C47B-7EF4-55BA9BCCDF0D}"/>
                  </a:ext>
                </a:extLst>
              </p:cNvPr>
              <p:cNvSpPr/>
              <p:nvPr/>
            </p:nvSpPr>
            <p:spPr>
              <a:xfrm>
                <a:off x="715454" y="5536089"/>
                <a:ext cx="63055" cy="9525"/>
              </a:xfrm>
              <a:custGeom>
                <a:avLst/>
                <a:gdLst>
                  <a:gd name="connsiteX0" fmla="*/ 63056 w 63055"/>
                  <a:gd name="connsiteY0" fmla="*/ 0 h 9525"/>
                  <a:gd name="connsiteX1" fmla="*/ 0 w 63055"/>
                  <a:gd name="connsiteY1" fmla="*/ 0 h 9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3055" h="9525">
                    <a:moveTo>
                      <a:pt x="63056" y="0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2285" name="Agrupar 2284">
            <a:extLst>
              <a:ext uri="{FF2B5EF4-FFF2-40B4-BE49-F238E27FC236}">
                <a16:creationId xmlns:a16="http://schemas.microsoft.com/office/drawing/2014/main" id="{886D9263-524E-1879-5594-7785C76137E6}"/>
              </a:ext>
            </a:extLst>
          </p:cNvPr>
          <p:cNvGrpSpPr/>
          <p:nvPr/>
        </p:nvGrpSpPr>
        <p:grpSpPr>
          <a:xfrm>
            <a:off x="5783100" y="5308882"/>
            <a:ext cx="278607" cy="278560"/>
            <a:chOff x="5722143" y="5166401"/>
            <a:chExt cx="560546" cy="560451"/>
          </a:xfrm>
        </p:grpSpPr>
        <p:grpSp>
          <p:nvGrpSpPr>
            <p:cNvPr id="2275" name="Gráfico 2272">
              <a:extLst>
                <a:ext uri="{FF2B5EF4-FFF2-40B4-BE49-F238E27FC236}">
                  <a16:creationId xmlns:a16="http://schemas.microsoft.com/office/drawing/2014/main" id="{70F0A8A2-0DA2-B5AB-4166-2B488B4E1438}"/>
                </a:ext>
              </a:extLst>
            </p:cNvPr>
            <p:cNvGrpSpPr/>
            <p:nvPr/>
          </p:nvGrpSpPr>
          <p:grpSpPr>
            <a:xfrm>
              <a:off x="5863875" y="5306990"/>
              <a:ext cx="277082" cy="276891"/>
              <a:chOff x="5863875" y="5306990"/>
              <a:chExt cx="277082" cy="276891"/>
            </a:xfrm>
            <a:noFill/>
          </p:grpSpPr>
          <p:sp>
            <p:nvSpPr>
              <p:cNvPr id="2276" name="Forma livre: Forma 2275">
                <a:extLst>
                  <a:ext uri="{FF2B5EF4-FFF2-40B4-BE49-F238E27FC236}">
                    <a16:creationId xmlns:a16="http://schemas.microsoft.com/office/drawing/2014/main" id="{F4D7A910-02E0-5004-309C-022191299554}"/>
                  </a:ext>
                </a:extLst>
              </p:cNvPr>
              <p:cNvSpPr/>
              <p:nvPr/>
            </p:nvSpPr>
            <p:spPr>
              <a:xfrm>
                <a:off x="5973507" y="5306990"/>
                <a:ext cx="167449" cy="167354"/>
              </a:xfrm>
              <a:custGeom>
                <a:avLst/>
                <a:gdLst>
                  <a:gd name="connsiteX0" fmla="*/ 0 w 167449"/>
                  <a:gd name="connsiteY0" fmla="*/ 110490 h 167354"/>
                  <a:gd name="connsiteX1" fmla="*/ 167450 w 167449"/>
                  <a:gd name="connsiteY1" fmla="*/ 0 h 167354"/>
                  <a:gd name="connsiteX2" fmla="*/ 56864 w 167449"/>
                  <a:gd name="connsiteY2" fmla="*/ 167354 h 167354"/>
                  <a:gd name="connsiteX3" fmla="*/ 0 w 167449"/>
                  <a:gd name="connsiteY3" fmla="*/ 110490 h 1673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67449" h="167354">
                    <a:moveTo>
                      <a:pt x="0" y="110490"/>
                    </a:moveTo>
                    <a:lnTo>
                      <a:pt x="167450" y="0"/>
                    </a:lnTo>
                    <a:lnTo>
                      <a:pt x="56864" y="167354"/>
                    </a:lnTo>
                    <a:lnTo>
                      <a:pt x="0" y="110490"/>
                    </a:lnTo>
                    <a:close/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277" name="Forma livre: Forma 2276">
                <a:extLst>
                  <a:ext uri="{FF2B5EF4-FFF2-40B4-BE49-F238E27FC236}">
                    <a16:creationId xmlns:a16="http://schemas.microsoft.com/office/drawing/2014/main" id="{21F20F41-C79B-44AD-5CA9-3A8CB3C8D5F0}"/>
                  </a:ext>
                </a:extLst>
              </p:cNvPr>
              <p:cNvSpPr/>
              <p:nvPr/>
            </p:nvSpPr>
            <p:spPr>
              <a:xfrm>
                <a:off x="5863875" y="5417575"/>
                <a:ext cx="166401" cy="166306"/>
              </a:xfrm>
              <a:custGeom>
                <a:avLst/>
                <a:gdLst>
                  <a:gd name="connsiteX0" fmla="*/ 166402 w 166401"/>
                  <a:gd name="connsiteY0" fmla="*/ 56864 h 166306"/>
                  <a:gd name="connsiteX1" fmla="*/ 0 w 166401"/>
                  <a:gd name="connsiteY1" fmla="*/ 166307 h 166306"/>
                  <a:gd name="connsiteX2" fmla="*/ 109538 w 166401"/>
                  <a:gd name="connsiteY2" fmla="*/ 0 h 1663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66401" h="166306">
                    <a:moveTo>
                      <a:pt x="166402" y="56864"/>
                    </a:moveTo>
                    <a:lnTo>
                      <a:pt x="0" y="166307"/>
                    </a:lnTo>
                    <a:lnTo>
                      <a:pt x="109538" y="0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2278" name="Forma livre: Forma 2277">
              <a:extLst>
                <a:ext uri="{FF2B5EF4-FFF2-40B4-BE49-F238E27FC236}">
                  <a16:creationId xmlns:a16="http://schemas.microsoft.com/office/drawing/2014/main" id="{7B33C21B-DE57-CB10-9A9D-C13E75078290}"/>
                </a:ext>
              </a:extLst>
            </p:cNvPr>
            <p:cNvSpPr/>
            <p:nvPr/>
          </p:nvSpPr>
          <p:spPr>
            <a:xfrm>
              <a:off x="5722143" y="5166401"/>
              <a:ext cx="560546" cy="560451"/>
            </a:xfrm>
            <a:custGeom>
              <a:avLst/>
              <a:gdLst>
                <a:gd name="connsiteX0" fmla="*/ 280226 w 560546"/>
                <a:gd name="connsiteY0" fmla="*/ 0 h 560451"/>
                <a:gd name="connsiteX1" fmla="*/ 0 w 560546"/>
                <a:gd name="connsiteY1" fmla="*/ 280226 h 560451"/>
                <a:gd name="connsiteX2" fmla="*/ 280226 w 560546"/>
                <a:gd name="connsiteY2" fmla="*/ 560451 h 560451"/>
                <a:gd name="connsiteX3" fmla="*/ 560546 w 560546"/>
                <a:gd name="connsiteY3" fmla="*/ 280226 h 560451"/>
                <a:gd name="connsiteX4" fmla="*/ 280226 w 560546"/>
                <a:gd name="connsiteY4" fmla="*/ 0 h 560451"/>
                <a:gd name="connsiteX5" fmla="*/ 280226 w 560546"/>
                <a:gd name="connsiteY5" fmla="*/ 0 h 5604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60546" h="560451">
                  <a:moveTo>
                    <a:pt x="280226" y="0"/>
                  </a:moveTo>
                  <a:cubicBezTo>
                    <a:pt x="125444" y="0"/>
                    <a:pt x="0" y="125444"/>
                    <a:pt x="0" y="280226"/>
                  </a:cubicBezTo>
                  <a:cubicBezTo>
                    <a:pt x="0" y="435007"/>
                    <a:pt x="125444" y="560451"/>
                    <a:pt x="280226" y="560451"/>
                  </a:cubicBezTo>
                  <a:cubicBezTo>
                    <a:pt x="435007" y="560451"/>
                    <a:pt x="560546" y="435007"/>
                    <a:pt x="560546" y="280226"/>
                  </a:cubicBezTo>
                  <a:cubicBezTo>
                    <a:pt x="560546" y="125444"/>
                    <a:pt x="435102" y="0"/>
                    <a:pt x="280226" y="0"/>
                  </a:cubicBezTo>
                  <a:lnTo>
                    <a:pt x="280226" y="0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2279" name="Gráfico 2272">
              <a:extLst>
                <a:ext uri="{FF2B5EF4-FFF2-40B4-BE49-F238E27FC236}">
                  <a16:creationId xmlns:a16="http://schemas.microsoft.com/office/drawing/2014/main" id="{CE1ECC79-EF15-6A81-0E26-911EF957E5E6}"/>
                </a:ext>
              </a:extLst>
            </p:cNvPr>
            <p:cNvGrpSpPr/>
            <p:nvPr/>
          </p:nvGrpSpPr>
          <p:grpSpPr>
            <a:xfrm>
              <a:off x="5995034" y="5242315"/>
              <a:ext cx="14858" cy="408622"/>
              <a:chOff x="5995034" y="5242315"/>
              <a:chExt cx="14858" cy="408622"/>
            </a:xfrm>
            <a:solidFill>
              <a:srgbClr val="394553"/>
            </a:solidFill>
          </p:grpSpPr>
          <p:sp>
            <p:nvSpPr>
              <p:cNvPr id="2280" name="Forma livre: Forma 2279">
                <a:extLst>
                  <a:ext uri="{FF2B5EF4-FFF2-40B4-BE49-F238E27FC236}">
                    <a16:creationId xmlns:a16="http://schemas.microsoft.com/office/drawing/2014/main" id="{A8C24C28-C38E-6149-67F7-2455FECB57F4}"/>
                  </a:ext>
                </a:extLst>
              </p:cNvPr>
              <p:cNvSpPr/>
              <p:nvPr/>
            </p:nvSpPr>
            <p:spPr>
              <a:xfrm>
                <a:off x="5995034" y="5242315"/>
                <a:ext cx="14858" cy="14858"/>
              </a:xfrm>
              <a:custGeom>
                <a:avLst/>
                <a:gdLst>
                  <a:gd name="connsiteX0" fmla="*/ 14859 w 14858"/>
                  <a:gd name="connsiteY0" fmla="*/ 7429 h 14858"/>
                  <a:gd name="connsiteX1" fmla="*/ 7430 w 14858"/>
                  <a:gd name="connsiteY1" fmla="*/ 14859 h 14858"/>
                  <a:gd name="connsiteX2" fmla="*/ 0 w 14858"/>
                  <a:gd name="connsiteY2" fmla="*/ 7429 h 14858"/>
                  <a:gd name="connsiteX3" fmla="*/ 7430 w 14858"/>
                  <a:gd name="connsiteY3" fmla="*/ 0 h 14858"/>
                  <a:gd name="connsiteX4" fmla="*/ 14859 w 14858"/>
                  <a:gd name="connsiteY4" fmla="*/ 7429 h 148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4858" h="14858">
                    <a:moveTo>
                      <a:pt x="14859" y="7429"/>
                    </a:moveTo>
                    <a:cubicBezTo>
                      <a:pt x="14859" y="11525"/>
                      <a:pt x="11525" y="14859"/>
                      <a:pt x="7430" y="14859"/>
                    </a:cubicBezTo>
                    <a:cubicBezTo>
                      <a:pt x="3334" y="14859"/>
                      <a:pt x="0" y="11525"/>
                      <a:pt x="0" y="7429"/>
                    </a:cubicBezTo>
                    <a:cubicBezTo>
                      <a:pt x="0" y="3334"/>
                      <a:pt x="3334" y="0"/>
                      <a:pt x="7430" y="0"/>
                    </a:cubicBezTo>
                    <a:cubicBezTo>
                      <a:pt x="11525" y="0"/>
                      <a:pt x="14859" y="3334"/>
                      <a:pt x="14859" y="7429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281" name="Forma livre: Forma 2280">
                <a:extLst>
                  <a:ext uri="{FF2B5EF4-FFF2-40B4-BE49-F238E27FC236}">
                    <a16:creationId xmlns:a16="http://schemas.microsoft.com/office/drawing/2014/main" id="{E42FBC1A-7EBF-B0A7-C36F-D737D7E1F041}"/>
                  </a:ext>
                </a:extLst>
              </p:cNvPr>
              <p:cNvSpPr/>
              <p:nvPr/>
            </p:nvSpPr>
            <p:spPr>
              <a:xfrm>
                <a:off x="5995034" y="5636079"/>
                <a:ext cx="14858" cy="14858"/>
              </a:xfrm>
              <a:custGeom>
                <a:avLst/>
                <a:gdLst>
                  <a:gd name="connsiteX0" fmla="*/ 14859 w 14858"/>
                  <a:gd name="connsiteY0" fmla="*/ 7429 h 14858"/>
                  <a:gd name="connsiteX1" fmla="*/ 7430 w 14858"/>
                  <a:gd name="connsiteY1" fmla="*/ 14859 h 14858"/>
                  <a:gd name="connsiteX2" fmla="*/ 0 w 14858"/>
                  <a:gd name="connsiteY2" fmla="*/ 7429 h 14858"/>
                  <a:gd name="connsiteX3" fmla="*/ 7430 w 14858"/>
                  <a:gd name="connsiteY3" fmla="*/ 0 h 14858"/>
                  <a:gd name="connsiteX4" fmla="*/ 14859 w 14858"/>
                  <a:gd name="connsiteY4" fmla="*/ 7429 h 148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4858" h="14858">
                    <a:moveTo>
                      <a:pt x="14859" y="7429"/>
                    </a:moveTo>
                    <a:cubicBezTo>
                      <a:pt x="14859" y="11525"/>
                      <a:pt x="11525" y="14859"/>
                      <a:pt x="7430" y="14859"/>
                    </a:cubicBezTo>
                    <a:cubicBezTo>
                      <a:pt x="3334" y="14859"/>
                      <a:pt x="0" y="11525"/>
                      <a:pt x="0" y="7429"/>
                    </a:cubicBezTo>
                    <a:cubicBezTo>
                      <a:pt x="0" y="3334"/>
                      <a:pt x="3334" y="0"/>
                      <a:pt x="7430" y="0"/>
                    </a:cubicBezTo>
                    <a:cubicBezTo>
                      <a:pt x="11525" y="0"/>
                      <a:pt x="14859" y="3334"/>
                      <a:pt x="14859" y="7429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2282" name="Gráfico 2272">
              <a:extLst>
                <a:ext uri="{FF2B5EF4-FFF2-40B4-BE49-F238E27FC236}">
                  <a16:creationId xmlns:a16="http://schemas.microsoft.com/office/drawing/2014/main" id="{CFF5BB69-FC1B-6783-FCBE-2782166C2F3E}"/>
                </a:ext>
              </a:extLst>
            </p:cNvPr>
            <p:cNvGrpSpPr/>
            <p:nvPr/>
          </p:nvGrpSpPr>
          <p:grpSpPr>
            <a:xfrm>
              <a:off x="5798152" y="5439197"/>
              <a:ext cx="408527" cy="14859"/>
              <a:chOff x="5798152" y="5439197"/>
              <a:chExt cx="408527" cy="14859"/>
            </a:xfrm>
            <a:solidFill>
              <a:srgbClr val="394553"/>
            </a:solidFill>
          </p:grpSpPr>
          <p:sp>
            <p:nvSpPr>
              <p:cNvPr id="2283" name="Forma livre: Forma 2282">
                <a:extLst>
                  <a:ext uri="{FF2B5EF4-FFF2-40B4-BE49-F238E27FC236}">
                    <a16:creationId xmlns:a16="http://schemas.microsoft.com/office/drawing/2014/main" id="{5C61A830-FFC9-FD86-021A-E0DBCA3BE6EA}"/>
                  </a:ext>
                </a:extLst>
              </p:cNvPr>
              <p:cNvSpPr/>
              <p:nvPr/>
            </p:nvSpPr>
            <p:spPr>
              <a:xfrm>
                <a:off x="6191821" y="5439197"/>
                <a:ext cx="14858" cy="14859"/>
              </a:xfrm>
              <a:custGeom>
                <a:avLst/>
                <a:gdLst>
                  <a:gd name="connsiteX0" fmla="*/ 7429 w 14858"/>
                  <a:gd name="connsiteY0" fmla="*/ 14859 h 14859"/>
                  <a:gd name="connsiteX1" fmla="*/ 0 w 14858"/>
                  <a:gd name="connsiteY1" fmla="*/ 7430 h 14859"/>
                  <a:gd name="connsiteX2" fmla="*/ 7429 w 14858"/>
                  <a:gd name="connsiteY2" fmla="*/ 0 h 14859"/>
                  <a:gd name="connsiteX3" fmla="*/ 14859 w 14858"/>
                  <a:gd name="connsiteY3" fmla="*/ 7430 h 14859"/>
                  <a:gd name="connsiteX4" fmla="*/ 7429 w 14858"/>
                  <a:gd name="connsiteY4" fmla="*/ 14859 h 148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4858" h="14859">
                    <a:moveTo>
                      <a:pt x="7429" y="14859"/>
                    </a:moveTo>
                    <a:cubicBezTo>
                      <a:pt x="3334" y="14859"/>
                      <a:pt x="0" y="11525"/>
                      <a:pt x="0" y="7430"/>
                    </a:cubicBezTo>
                    <a:cubicBezTo>
                      <a:pt x="0" y="3334"/>
                      <a:pt x="3334" y="0"/>
                      <a:pt x="7429" y="0"/>
                    </a:cubicBezTo>
                    <a:cubicBezTo>
                      <a:pt x="11525" y="0"/>
                      <a:pt x="14859" y="3334"/>
                      <a:pt x="14859" y="7430"/>
                    </a:cubicBezTo>
                    <a:cubicBezTo>
                      <a:pt x="14859" y="11525"/>
                      <a:pt x="11525" y="14859"/>
                      <a:pt x="7429" y="14859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284" name="Forma livre: Forma 2283">
                <a:extLst>
                  <a:ext uri="{FF2B5EF4-FFF2-40B4-BE49-F238E27FC236}">
                    <a16:creationId xmlns:a16="http://schemas.microsoft.com/office/drawing/2014/main" id="{C8BF37C7-7120-312C-D204-6CBDF620B354}"/>
                  </a:ext>
                </a:extLst>
              </p:cNvPr>
              <p:cNvSpPr/>
              <p:nvPr/>
            </p:nvSpPr>
            <p:spPr>
              <a:xfrm>
                <a:off x="5798152" y="5439197"/>
                <a:ext cx="14859" cy="14859"/>
              </a:xfrm>
              <a:custGeom>
                <a:avLst/>
                <a:gdLst>
                  <a:gd name="connsiteX0" fmla="*/ 7430 w 14859"/>
                  <a:gd name="connsiteY0" fmla="*/ 14859 h 14859"/>
                  <a:gd name="connsiteX1" fmla="*/ 0 w 14859"/>
                  <a:gd name="connsiteY1" fmla="*/ 7430 h 14859"/>
                  <a:gd name="connsiteX2" fmla="*/ 7430 w 14859"/>
                  <a:gd name="connsiteY2" fmla="*/ 0 h 14859"/>
                  <a:gd name="connsiteX3" fmla="*/ 14859 w 14859"/>
                  <a:gd name="connsiteY3" fmla="*/ 7430 h 14859"/>
                  <a:gd name="connsiteX4" fmla="*/ 7430 w 14859"/>
                  <a:gd name="connsiteY4" fmla="*/ 14859 h 148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4859" h="14859">
                    <a:moveTo>
                      <a:pt x="7430" y="14859"/>
                    </a:moveTo>
                    <a:cubicBezTo>
                      <a:pt x="3334" y="14859"/>
                      <a:pt x="0" y="11525"/>
                      <a:pt x="0" y="7430"/>
                    </a:cubicBezTo>
                    <a:cubicBezTo>
                      <a:pt x="0" y="3334"/>
                      <a:pt x="3334" y="0"/>
                      <a:pt x="7430" y="0"/>
                    </a:cubicBezTo>
                    <a:cubicBezTo>
                      <a:pt x="11525" y="0"/>
                      <a:pt x="14859" y="3334"/>
                      <a:pt x="14859" y="7430"/>
                    </a:cubicBezTo>
                    <a:cubicBezTo>
                      <a:pt x="14859" y="11525"/>
                      <a:pt x="11525" y="14859"/>
                      <a:pt x="7430" y="14859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2297" name="Agrupar 2296">
            <a:extLst>
              <a:ext uri="{FF2B5EF4-FFF2-40B4-BE49-F238E27FC236}">
                <a16:creationId xmlns:a16="http://schemas.microsoft.com/office/drawing/2014/main" id="{8E1799BB-8F1D-5E1D-F9A5-7419A569D5E2}"/>
              </a:ext>
            </a:extLst>
          </p:cNvPr>
          <p:cNvGrpSpPr/>
          <p:nvPr/>
        </p:nvGrpSpPr>
        <p:grpSpPr>
          <a:xfrm>
            <a:off x="5107780" y="5270734"/>
            <a:ext cx="339563" cy="277572"/>
            <a:chOff x="5736431" y="4140993"/>
            <a:chExt cx="605218" cy="494728"/>
          </a:xfrm>
        </p:grpSpPr>
        <p:sp>
          <p:nvSpPr>
            <p:cNvPr id="2289" name="Forma livre: Forma 2288">
              <a:extLst>
                <a:ext uri="{FF2B5EF4-FFF2-40B4-BE49-F238E27FC236}">
                  <a16:creationId xmlns:a16="http://schemas.microsoft.com/office/drawing/2014/main" id="{B61FF046-AF69-CB33-AF6B-E4DC6398533D}"/>
                </a:ext>
              </a:extLst>
            </p:cNvPr>
            <p:cNvSpPr/>
            <p:nvPr/>
          </p:nvSpPr>
          <p:spPr>
            <a:xfrm>
              <a:off x="5736431" y="4140993"/>
              <a:ext cx="605218" cy="494728"/>
            </a:xfrm>
            <a:custGeom>
              <a:avLst/>
              <a:gdLst>
                <a:gd name="connsiteX0" fmla="*/ 557594 w 605218"/>
                <a:gd name="connsiteY0" fmla="*/ 0 h 494728"/>
                <a:gd name="connsiteX1" fmla="*/ 47625 w 605218"/>
                <a:gd name="connsiteY1" fmla="*/ 0 h 494728"/>
                <a:gd name="connsiteX2" fmla="*/ 0 w 605218"/>
                <a:gd name="connsiteY2" fmla="*/ 47625 h 494728"/>
                <a:gd name="connsiteX3" fmla="*/ 0 w 605218"/>
                <a:gd name="connsiteY3" fmla="*/ 447104 h 494728"/>
                <a:gd name="connsiteX4" fmla="*/ 47625 w 605218"/>
                <a:gd name="connsiteY4" fmla="*/ 494729 h 494728"/>
                <a:gd name="connsiteX5" fmla="*/ 557594 w 605218"/>
                <a:gd name="connsiteY5" fmla="*/ 494729 h 494728"/>
                <a:gd name="connsiteX6" fmla="*/ 605219 w 605218"/>
                <a:gd name="connsiteY6" fmla="*/ 447104 h 494728"/>
                <a:gd name="connsiteX7" fmla="*/ 605219 w 605218"/>
                <a:gd name="connsiteY7" fmla="*/ 47625 h 494728"/>
                <a:gd name="connsiteX8" fmla="*/ 557594 w 605218"/>
                <a:gd name="connsiteY8" fmla="*/ 0 h 494728"/>
                <a:gd name="connsiteX9" fmla="*/ 557594 w 605218"/>
                <a:gd name="connsiteY9" fmla="*/ 0 h 4947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605218" h="494728">
                  <a:moveTo>
                    <a:pt x="557594" y="0"/>
                  </a:moveTo>
                  <a:lnTo>
                    <a:pt x="47625" y="0"/>
                  </a:lnTo>
                  <a:cubicBezTo>
                    <a:pt x="21431" y="0"/>
                    <a:pt x="0" y="21431"/>
                    <a:pt x="0" y="47625"/>
                  </a:cubicBezTo>
                  <a:lnTo>
                    <a:pt x="0" y="447104"/>
                  </a:lnTo>
                  <a:cubicBezTo>
                    <a:pt x="0" y="473297"/>
                    <a:pt x="21431" y="494729"/>
                    <a:pt x="47625" y="494729"/>
                  </a:cubicBezTo>
                  <a:lnTo>
                    <a:pt x="557594" y="494729"/>
                  </a:lnTo>
                  <a:cubicBezTo>
                    <a:pt x="583787" y="494729"/>
                    <a:pt x="605219" y="473297"/>
                    <a:pt x="605219" y="447104"/>
                  </a:cubicBezTo>
                  <a:lnTo>
                    <a:pt x="605219" y="47625"/>
                  </a:lnTo>
                  <a:cubicBezTo>
                    <a:pt x="605219" y="21431"/>
                    <a:pt x="583787" y="0"/>
                    <a:pt x="557594" y="0"/>
                  </a:cubicBezTo>
                  <a:lnTo>
                    <a:pt x="557594" y="0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290" name="Forma livre: Forma 2289">
              <a:extLst>
                <a:ext uri="{FF2B5EF4-FFF2-40B4-BE49-F238E27FC236}">
                  <a16:creationId xmlns:a16="http://schemas.microsoft.com/office/drawing/2014/main" id="{0F5F5B61-6742-A9ED-0B6B-EF1116F73213}"/>
                </a:ext>
              </a:extLst>
            </p:cNvPr>
            <p:cNvSpPr/>
            <p:nvPr/>
          </p:nvSpPr>
          <p:spPr>
            <a:xfrm>
              <a:off x="6197917" y="4141660"/>
              <a:ext cx="51244" cy="195262"/>
            </a:xfrm>
            <a:custGeom>
              <a:avLst/>
              <a:gdLst>
                <a:gd name="connsiteX0" fmla="*/ 51245 w 51244"/>
                <a:gd name="connsiteY0" fmla="*/ 0 h 195262"/>
                <a:gd name="connsiteX1" fmla="*/ 0 w 51244"/>
                <a:gd name="connsiteY1" fmla="*/ 195263 h 1952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1244" h="195262">
                  <a:moveTo>
                    <a:pt x="51245" y="0"/>
                  </a:moveTo>
                  <a:lnTo>
                    <a:pt x="0" y="195263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291" name="Forma livre: Forma 2290">
              <a:extLst>
                <a:ext uri="{FF2B5EF4-FFF2-40B4-BE49-F238E27FC236}">
                  <a16:creationId xmlns:a16="http://schemas.microsoft.com/office/drawing/2014/main" id="{FF3AFA5A-8ECB-D139-8000-ECE579D725B5}"/>
                </a:ext>
              </a:extLst>
            </p:cNvPr>
            <p:cNvSpPr/>
            <p:nvPr/>
          </p:nvSpPr>
          <p:spPr>
            <a:xfrm>
              <a:off x="5795200" y="4363783"/>
              <a:ext cx="100869" cy="27241"/>
            </a:xfrm>
            <a:custGeom>
              <a:avLst/>
              <a:gdLst>
                <a:gd name="connsiteX0" fmla="*/ 100870 w 100869"/>
                <a:gd name="connsiteY0" fmla="*/ 27242 h 27241"/>
                <a:gd name="connsiteX1" fmla="*/ 0 w 100869"/>
                <a:gd name="connsiteY1" fmla="*/ 0 h 272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0869" h="27241">
                  <a:moveTo>
                    <a:pt x="100870" y="27242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292" name="Forma livre: Forma 2291">
              <a:extLst>
                <a:ext uri="{FF2B5EF4-FFF2-40B4-BE49-F238E27FC236}">
                  <a16:creationId xmlns:a16="http://schemas.microsoft.com/office/drawing/2014/main" id="{00B549AA-39F9-9BD4-CD82-53A38C0B1BFF}"/>
                </a:ext>
              </a:extLst>
            </p:cNvPr>
            <p:cNvSpPr/>
            <p:nvPr/>
          </p:nvSpPr>
          <p:spPr>
            <a:xfrm>
              <a:off x="5795200" y="4230623"/>
              <a:ext cx="540353" cy="150304"/>
            </a:xfrm>
            <a:custGeom>
              <a:avLst/>
              <a:gdLst>
                <a:gd name="connsiteX0" fmla="*/ 540353 w 540353"/>
                <a:gd name="connsiteY0" fmla="*/ 150305 h 150304"/>
                <a:gd name="connsiteX1" fmla="*/ 0 w 540353"/>
                <a:gd name="connsiteY1" fmla="*/ 0 h 1503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40353" h="150304">
                  <a:moveTo>
                    <a:pt x="540353" y="150305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293" name="Forma livre: Forma 2292">
              <a:extLst>
                <a:ext uri="{FF2B5EF4-FFF2-40B4-BE49-F238E27FC236}">
                  <a16:creationId xmlns:a16="http://schemas.microsoft.com/office/drawing/2014/main" id="{8EBE9340-3DDC-B9F1-07A2-6C4A2D4DB055}"/>
                </a:ext>
              </a:extLst>
            </p:cNvPr>
            <p:cNvSpPr/>
            <p:nvPr/>
          </p:nvSpPr>
          <p:spPr>
            <a:xfrm>
              <a:off x="5862351" y="4140993"/>
              <a:ext cx="106013" cy="379285"/>
            </a:xfrm>
            <a:custGeom>
              <a:avLst/>
              <a:gdLst>
                <a:gd name="connsiteX0" fmla="*/ 0 w 106013"/>
                <a:gd name="connsiteY0" fmla="*/ 379286 h 379285"/>
                <a:gd name="connsiteX1" fmla="*/ 106013 w 106013"/>
                <a:gd name="connsiteY1" fmla="*/ 0 h 3792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6013" h="379285">
                  <a:moveTo>
                    <a:pt x="0" y="379286"/>
                  </a:moveTo>
                  <a:lnTo>
                    <a:pt x="106013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294" name="Forma livre: Forma 2293">
              <a:extLst>
                <a:ext uri="{FF2B5EF4-FFF2-40B4-BE49-F238E27FC236}">
                  <a16:creationId xmlns:a16="http://schemas.microsoft.com/office/drawing/2014/main" id="{8CC8C6C7-508D-0CE6-47AC-DA117860CC9D}"/>
                </a:ext>
              </a:extLst>
            </p:cNvPr>
            <p:cNvSpPr/>
            <p:nvPr/>
          </p:nvSpPr>
          <p:spPr>
            <a:xfrm>
              <a:off x="6021895" y="4570094"/>
              <a:ext cx="34194" cy="9525"/>
            </a:xfrm>
            <a:custGeom>
              <a:avLst/>
              <a:gdLst>
                <a:gd name="connsiteX0" fmla="*/ 0 w 34194"/>
                <a:gd name="connsiteY0" fmla="*/ 0 h 9525"/>
                <a:gd name="connsiteX1" fmla="*/ 34195 w 34194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4194" h="9525">
                  <a:moveTo>
                    <a:pt x="0" y="0"/>
                  </a:moveTo>
                  <a:lnTo>
                    <a:pt x="34195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295" name="Forma livre: Forma 2294">
              <a:extLst>
                <a:ext uri="{FF2B5EF4-FFF2-40B4-BE49-F238E27FC236}">
                  <a16:creationId xmlns:a16="http://schemas.microsoft.com/office/drawing/2014/main" id="{DFB88CE0-3EE5-EF89-B52F-DDFF2A7FB647}"/>
                </a:ext>
              </a:extLst>
            </p:cNvPr>
            <p:cNvSpPr/>
            <p:nvPr/>
          </p:nvSpPr>
          <p:spPr>
            <a:xfrm>
              <a:off x="5736431" y="4521802"/>
              <a:ext cx="599122" cy="9525"/>
            </a:xfrm>
            <a:custGeom>
              <a:avLst/>
              <a:gdLst>
                <a:gd name="connsiteX0" fmla="*/ 0 w 599122"/>
                <a:gd name="connsiteY0" fmla="*/ 0 h 9525"/>
                <a:gd name="connsiteX1" fmla="*/ 599123 w 599122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99122" h="9525">
                  <a:moveTo>
                    <a:pt x="0" y="0"/>
                  </a:moveTo>
                  <a:lnTo>
                    <a:pt x="599123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296" name="Forma livre: Forma 2295">
              <a:extLst>
                <a:ext uri="{FF2B5EF4-FFF2-40B4-BE49-F238E27FC236}">
                  <a16:creationId xmlns:a16="http://schemas.microsoft.com/office/drawing/2014/main" id="{8F46390C-3AD3-140B-37F4-7685C478D2C7}"/>
                </a:ext>
              </a:extLst>
            </p:cNvPr>
            <p:cNvSpPr/>
            <p:nvPr/>
          </p:nvSpPr>
          <p:spPr>
            <a:xfrm>
              <a:off x="6015608" y="4384547"/>
              <a:ext cx="46863" cy="50101"/>
            </a:xfrm>
            <a:custGeom>
              <a:avLst/>
              <a:gdLst>
                <a:gd name="connsiteX0" fmla="*/ 23432 w 46863"/>
                <a:gd name="connsiteY0" fmla="*/ 0 h 50101"/>
                <a:gd name="connsiteX1" fmla="*/ 46863 w 46863"/>
                <a:gd name="connsiteY1" fmla="*/ 50006 h 50101"/>
                <a:gd name="connsiteX2" fmla="*/ 23622 w 46863"/>
                <a:gd name="connsiteY2" fmla="*/ 39338 h 50101"/>
                <a:gd name="connsiteX3" fmla="*/ 0 w 46863"/>
                <a:gd name="connsiteY3" fmla="*/ 50102 h 50101"/>
                <a:gd name="connsiteX4" fmla="*/ 23432 w 46863"/>
                <a:gd name="connsiteY4" fmla="*/ 0 h 501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6863" h="50101">
                  <a:moveTo>
                    <a:pt x="23432" y="0"/>
                  </a:moveTo>
                  <a:lnTo>
                    <a:pt x="46863" y="50006"/>
                  </a:lnTo>
                  <a:lnTo>
                    <a:pt x="23622" y="39338"/>
                  </a:lnTo>
                  <a:lnTo>
                    <a:pt x="0" y="50102"/>
                  </a:lnTo>
                  <a:lnTo>
                    <a:pt x="23432" y="0"/>
                  </a:lnTo>
                  <a:close/>
                </a:path>
              </a:pathLst>
            </a:custGeom>
            <a:solidFill>
              <a:srgbClr val="2C333D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19668583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áfico 2">
            <a:extLst>
              <a:ext uri="{FF2B5EF4-FFF2-40B4-BE49-F238E27FC236}">
                <a16:creationId xmlns:a16="http://schemas.microsoft.com/office/drawing/2014/main" id="{09F20EDE-5BA9-9B49-E3B4-ADAC8F5B7C9E}"/>
              </a:ext>
            </a:extLst>
          </p:cNvPr>
          <p:cNvGrpSpPr/>
          <p:nvPr/>
        </p:nvGrpSpPr>
        <p:grpSpPr>
          <a:xfrm>
            <a:off x="824389" y="3128724"/>
            <a:ext cx="204835" cy="283559"/>
            <a:chOff x="824389" y="3128724"/>
            <a:chExt cx="204835" cy="283559"/>
          </a:xfrm>
        </p:grpSpPr>
        <p:sp>
          <p:nvSpPr>
            <p:cNvPr id="23" name="Forma livre: Forma 22">
              <a:extLst>
                <a:ext uri="{FF2B5EF4-FFF2-40B4-BE49-F238E27FC236}">
                  <a16:creationId xmlns:a16="http://schemas.microsoft.com/office/drawing/2014/main" id="{63C0E4B6-0B22-0823-591F-E2E526034AB8}"/>
                </a:ext>
              </a:extLst>
            </p:cNvPr>
            <p:cNvSpPr/>
            <p:nvPr/>
          </p:nvSpPr>
          <p:spPr>
            <a:xfrm>
              <a:off x="824389" y="3168586"/>
              <a:ext cx="204835" cy="243697"/>
            </a:xfrm>
            <a:custGeom>
              <a:avLst/>
              <a:gdLst>
                <a:gd name="connsiteX0" fmla="*/ 173022 w 204835"/>
                <a:gd name="connsiteY0" fmla="*/ 0 h 243697"/>
                <a:gd name="connsiteX1" fmla="*/ 190548 w 204835"/>
                <a:gd name="connsiteY1" fmla="*/ 0 h 243697"/>
                <a:gd name="connsiteX2" fmla="*/ 204835 w 204835"/>
                <a:gd name="connsiteY2" fmla="*/ 14288 h 243697"/>
                <a:gd name="connsiteX3" fmla="*/ 204835 w 204835"/>
                <a:gd name="connsiteY3" fmla="*/ 229410 h 243697"/>
                <a:gd name="connsiteX4" fmla="*/ 190548 w 204835"/>
                <a:gd name="connsiteY4" fmla="*/ 243697 h 243697"/>
                <a:gd name="connsiteX5" fmla="*/ 14288 w 204835"/>
                <a:gd name="connsiteY5" fmla="*/ 243697 h 243697"/>
                <a:gd name="connsiteX6" fmla="*/ 0 w 204835"/>
                <a:gd name="connsiteY6" fmla="*/ 229410 h 243697"/>
                <a:gd name="connsiteX7" fmla="*/ 0 w 204835"/>
                <a:gd name="connsiteY7" fmla="*/ 14288 h 243697"/>
                <a:gd name="connsiteX8" fmla="*/ 14288 w 204835"/>
                <a:gd name="connsiteY8" fmla="*/ 0 h 243697"/>
                <a:gd name="connsiteX9" fmla="*/ 31814 w 204835"/>
                <a:gd name="connsiteY9" fmla="*/ 0 h 2436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04835" h="243697">
                  <a:moveTo>
                    <a:pt x="173022" y="0"/>
                  </a:moveTo>
                  <a:lnTo>
                    <a:pt x="190548" y="0"/>
                  </a:lnTo>
                  <a:cubicBezTo>
                    <a:pt x="198406" y="0"/>
                    <a:pt x="204835" y="6429"/>
                    <a:pt x="204835" y="14288"/>
                  </a:cubicBezTo>
                  <a:lnTo>
                    <a:pt x="204835" y="229410"/>
                  </a:lnTo>
                  <a:cubicBezTo>
                    <a:pt x="204835" y="237268"/>
                    <a:pt x="198406" y="243697"/>
                    <a:pt x="190548" y="243697"/>
                  </a:cubicBezTo>
                  <a:lnTo>
                    <a:pt x="14288" y="243697"/>
                  </a:lnTo>
                  <a:cubicBezTo>
                    <a:pt x="6429" y="243697"/>
                    <a:pt x="0" y="237268"/>
                    <a:pt x="0" y="229410"/>
                  </a:cubicBezTo>
                  <a:lnTo>
                    <a:pt x="0" y="14288"/>
                  </a:lnTo>
                  <a:cubicBezTo>
                    <a:pt x="0" y="6429"/>
                    <a:pt x="6429" y="0"/>
                    <a:pt x="14288" y="0"/>
                  </a:cubicBezTo>
                  <a:lnTo>
                    <a:pt x="31814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4" name="Forma livre: Forma 23">
              <a:extLst>
                <a:ext uri="{FF2B5EF4-FFF2-40B4-BE49-F238E27FC236}">
                  <a16:creationId xmlns:a16="http://schemas.microsoft.com/office/drawing/2014/main" id="{4C4663AA-8B32-1465-373C-423B0165C5F2}"/>
                </a:ext>
              </a:extLst>
            </p:cNvPr>
            <p:cNvSpPr/>
            <p:nvPr/>
          </p:nvSpPr>
          <p:spPr>
            <a:xfrm>
              <a:off x="879205" y="3128724"/>
              <a:ext cx="95250" cy="59674"/>
            </a:xfrm>
            <a:custGeom>
              <a:avLst/>
              <a:gdLst>
                <a:gd name="connsiteX0" fmla="*/ 95250 w 95250"/>
                <a:gd name="connsiteY0" fmla="*/ 23336 h 59674"/>
                <a:gd name="connsiteX1" fmla="*/ 71390 w 95250"/>
                <a:gd name="connsiteY1" fmla="*/ 23336 h 59674"/>
                <a:gd name="connsiteX2" fmla="*/ 47625 w 95250"/>
                <a:gd name="connsiteY2" fmla="*/ 0 h 59674"/>
                <a:gd name="connsiteX3" fmla="*/ 23860 w 95250"/>
                <a:gd name="connsiteY3" fmla="*/ 23336 h 59674"/>
                <a:gd name="connsiteX4" fmla="*/ 0 w 95250"/>
                <a:gd name="connsiteY4" fmla="*/ 23336 h 59674"/>
                <a:gd name="connsiteX5" fmla="*/ 0 w 95250"/>
                <a:gd name="connsiteY5" fmla="*/ 59674 h 59674"/>
                <a:gd name="connsiteX6" fmla="*/ 95250 w 95250"/>
                <a:gd name="connsiteY6" fmla="*/ 59674 h 59674"/>
                <a:gd name="connsiteX7" fmla="*/ 95250 w 95250"/>
                <a:gd name="connsiteY7" fmla="*/ 23336 h 596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5250" h="59674">
                  <a:moveTo>
                    <a:pt x="95250" y="23336"/>
                  </a:moveTo>
                  <a:lnTo>
                    <a:pt x="71390" y="23336"/>
                  </a:lnTo>
                  <a:cubicBezTo>
                    <a:pt x="71152" y="10430"/>
                    <a:pt x="60627" y="0"/>
                    <a:pt x="47625" y="0"/>
                  </a:cubicBezTo>
                  <a:cubicBezTo>
                    <a:pt x="34623" y="0"/>
                    <a:pt x="24098" y="10430"/>
                    <a:pt x="23860" y="23336"/>
                  </a:cubicBezTo>
                  <a:lnTo>
                    <a:pt x="0" y="23336"/>
                  </a:lnTo>
                  <a:lnTo>
                    <a:pt x="0" y="59674"/>
                  </a:lnTo>
                  <a:lnTo>
                    <a:pt x="95250" y="59674"/>
                  </a:lnTo>
                  <a:lnTo>
                    <a:pt x="95250" y="23336"/>
                  </a:ln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25" name="Gráfico 2">
              <a:extLst>
                <a:ext uri="{FF2B5EF4-FFF2-40B4-BE49-F238E27FC236}">
                  <a16:creationId xmlns:a16="http://schemas.microsoft.com/office/drawing/2014/main" id="{DE77E4D5-7A83-7F8A-DCC2-59E7D0BBBA44}"/>
                </a:ext>
              </a:extLst>
            </p:cNvPr>
            <p:cNvGrpSpPr/>
            <p:nvPr/>
          </p:nvGrpSpPr>
          <p:grpSpPr>
            <a:xfrm>
              <a:off x="864870" y="3240500"/>
              <a:ext cx="127396" cy="119586"/>
              <a:chOff x="864870" y="3240500"/>
              <a:chExt cx="127396" cy="119586"/>
            </a:xfrm>
            <a:solidFill>
              <a:srgbClr val="394553"/>
            </a:solidFill>
          </p:grpSpPr>
          <p:grpSp>
            <p:nvGrpSpPr>
              <p:cNvPr id="26" name="Gráfico 2">
                <a:extLst>
                  <a:ext uri="{FF2B5EF4-FFF2-40B4-BE49-F238E27FC236}">
                    <a16:creationId xmlns:a16="http://schemas.microsoft.com/office/drawing/2014/main" id="{3C8CD9C0-546E-BF5E-1422-9935E87D9C1F}"/>
                  </a:ext>
                </a:extLst>
              </p:cNvPr>
              <p:cNvGrpSpPr/>
              <p:nvPr/>
            </p:nvGrpSpPr>
            <p:grpSpPr>
              <a:xfrm>
                <a:off x="864870" y="3240500"/>
                <a:ext cx="127396" cy="4095"/>
                <a:chOff x="864870" y="3240500"/>
                <a:chExt cx="127396" cy="4095"/>
              </a:xfrm>
              <a:solidFill>
                <a:srgbClr val="394553"/>
              </a:solidFill>
            </p:grpSpPr>
            <p:sp>
              <p:nvSpPr>
                <p:cNvPr id="27" name="Forma livre: Forma 26">
                  <a:extLst>
                    <a:ext uri="{FF2B5EF4-FFF2-40B4-BE49-F238E27FC236}">
                      <a16:creationId xmlns:a16="http://schemas.microsoft.com/office/drawing/2014/main" id="{C9A4BDCA-6825-9B76-5DA0-EA4B8C25AD02}"/>
                    </a:ext>
                  </a:extLst>
                </p:cNvPr>
                <p:cNvSpPr/>
                <p:nvPr/>
              </p:nvSpPr>
              <p:spPr>
                <a:xfrm>
                  <a:off x="864870" y="3240500"/>
                  <a:ext cx="4095" cy="4095"/>
                </a:xfrm>
                <a:custGeom>
                  <a:avLst/>
                  <a:gdLst>
                    <a:gd name="connsiteX0" fmla="*/ 0 w 4095"/>
                    <a:gd name="connsiteY0" fmla="*/ 0 h 4095"/>
                    <a:gd name="connsiteX1" fmla="*/ 4096 w 4095"/>
                    <a:gd name="connsiteY1" fmla="*/ 0 h 4095"/>
                    <a:gd name="connsiteX2" fmla="*/ 4096 w 4095"/>
                    <a:gd name="connsiteY2" fmla="*/ 4096 h 4095"/>
                    <a:gd name="connsiteX3" fmla="*/ 0 w 4095"/>
                    <a:gd name="connsiteY3" fmla="*/ 4096 h 409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095" h="4095">
                      <a:moveTo>
                        <a:pt x="0" y="0"/>
                      </a:moveTo>
                      <a:lnTo>
                        <a:pt x="4096" y="0"/>
                      </a:lnTo>
                      <a:lnTo>
                        <a:pt x="4096" y="4096"/>
                      </a:lnTo>
                      <a:lnTo>
                        <a:pt x="0" y="4096"/>
                      </a:lnTo>
                      <a:close/>
                    </a:path>
                  </a:pathLst>
                </a:custGeom>
                <a:solidFill>
                  <a:srgbClr val="394553"/>
                </a:solidFill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8" name="Forma livre: Forma 27">
                  <a:extLst>
                    <a:ext uri="{FF2B5EF4-FFF2-40B4-BE49-F238E27FC236}">
                      <a16:creationId xmlns:a16="http://schemas.microsoft.com/office/drawing/2014/main" id="{4243908D-0A15-D12A-9330-25355E2F78B0}"/>
                    </a:ext>
                  </a:extLst>
                </p:cNvPr>
                <p:cNvSpPr/>
                <p:nvPr/>
              </p:nvSpPr>
              <p:spPr>
                <a:xfrm>
                  <a:off x="895445" y="3242548"/>
                  <a:ext cx="96821" cy="4762"/>
                </a:xfrm>
                <a:custGeom>
                  <a:avLst/>
                  <a:gdLst>
                    <a:gd name="connsiteX0" fmla="*/ 0 w 96821"/>
                    <a:gd name="connsiteY0" fmla="*/ 0 h 4762"/>
                    <a:gd name="connsiteX1" fmla="*/ 96822 w 96821"/>
                    <a:gd name="connsiteY1" fmla="*/ 0 h 476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96821" h="4762">
                      <a:moveTo>
                        <a:pt x="0" y="0"/>
                      </a:moveTo>
                      <a:lnTo>
                        <a:pt x="96822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29" name="Gráfico 2">
                <a:extLst>
                  <a:ext uri="{FF2B5EF4-FFF2-40B4-BE49-F238E27FC236}">
                    <a16:creationId xmlns:a16="http://schemas.microsoft.com/office/drawing/2014/main" id="{94AC7BC1-B57A-88EB-03B1-EF953BDFFF30}"/>
                  </a:ext>
                </a:extLst>
              </p:cNvPr>
              <p:cNvGrpSpPr/>
              <p:nvPr/>
            </p:nvGrpSpPr>
            <p:grpSpPr>
              <a:xfrm>
                <a:off x="864870" y="3279028"/>
                <a:ext cx="127396" cy="4095"/>
                <a:chOff x="864870" y="3279028"/>
                <a:chExt cx="127396" cy="4095"/>
              </a:xfrm>
              <a:solidFill>
                <a:srgbClr val="394553"/>
              </a:solidFill>
            </p:grpSpPr>
            <p:sp>
              <p:nvSpPr>
                <p:cNvPr id="30" name="Forma livre: Forma 29">
                  <a:extLst>
                    <a:ext uri="{FF2B5EF4-FFF2-40B4-BE49-F238E27FC236}">
                      <a16:creationId xmlns:a16="http://schemas.microsoft.com/office/drawing/2014/main" id="{3CFD80A7-CA01-1C5A-2F5B-262467E7C216}"/>
                    </a:ext>
                  </a:extLst>
                </p:cNvPr>
                <p:cNvSpPr/>
                <p:nvPr/>
              </p:nvSpPr>
              <p:spPr>
                <a:xfrm>
                  <a:off x="864870" y="3279028"/>
                  <a:ext cx="4095" cy="4095"/>
                </a:xfrm>
                <a:custGeom>
                  <a:avLst/>
                  <a:gdLst>
                    <a:gd name="connsiteX0" fmla="*/ 0 w 4095"/>
                    <a:gd name="connsiteY0" fmla="*/ 0 h 4095"/>
                    <a:gd name="connsiteX1" fmla="*/ 4096 w 4095"/>
                    <a:gd name="connsiteY1" fmla="*/ 0 h 4095"/>
                    <a:gd name="connsiteX2" fmla="*/ 4096 w 4095"/>
                    <a:gd name="connsiteY2" fmla="*/ 4096 h 4095"/>
                    <a:gd name="connsiteX3" fmla="*/ 0 w 4095"/>
                    <a:gd name="connsiteY3" fmla="*/ 4096 h 409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095" h="4095">
                      <a:moveTo>
                        <a:pt x="0" y="0"/>
                      </a:moveTo>
                      <a:lnTo>
                        <a:pt x="4096" y="0"/>
                      </a:lnTo>
                      <a:lnTo>
                        <a:pt x="4096" y="4096"/>
                      </a:lnTo>
                      <a:lnTo>
                        <a:pt x="0" y="4096"/>
                      </a:lnTo>
                      <a:close/>
                    </a:path>
                  </a:pathLst>
                </a:custGeom>
                <a:solidFill>
                  <a:srgbClr val="394553"/>
                </a:solidFill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31" name="Forma livre: Forma 30">
                  <a:extLst>
                    <a:ext uri="{FF2B5EF4-FFF2-40B4-BE49-F238E27FC236}">
                      <a16:creationId xmlns:a16="http://schemas.microsoft.com/office/drawing/2014/main" id="{B5C24A8A-DDEE-BD11-A08D-9394F61C2840}"/>
                    </a:ext>
                  </a:extLst>
                </p:cNvPr>
                <p:cNvSpPr/>
                <p:nvPr/>
              </p:nvSpPr>
              <p:spPr>
                <a:xfrm>
                  <a:off x="895445" y="3281076"/>
                  <a:ext cx="96821" cy="4762"/>
                </a:xfrm>
                <a:custGeom>
                  <a:avLst/>
                  <a:gdLst>
                    <a:gd name="connsiteX0" fmla="*/ 0 w 96821"/>
                    <a:gd name="connsiteY0" fmla="*/ 0 h 4762"/>
                    <a:gd name="connsiteX1" fmla="*/ 96822 w 96821"/>
                    <a:gd name="connsiteY1" fmla="*/ 0 h 476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96821" h="4762">
                      <a:moveTo>
                        <a:pt x="0" y="0"/>
                      </a:moveTo>
                      <a:lnTo>
                        <a:pt x="96822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32" name="Gráfico 2">
                <a:extLst>
                  <a:ext uri="{FF2B5EF4-FFF2-40B4-BE49-F238E27FC236}">
                    <a16:creationId xmlns:a16="http://schemas.microsoft.com/office/drawing/2014/main" id="{6AD53CA9-0CCB-DF2E-68F4-8944F30C1683}"/>
                  </a:ext>
                </a:extLst>
              </p:cNvPr>
              <p:cNvGrpSpPr/>
              <p:nvPr/>
            </p:nvGrpSpPr>
            <p:grpSpPr>
              <a:xfrm>
                <a:off x="864870" y="3317509"/>
                <a:ext cx="127396" cy="4095"/>
                <a:chOff x="864870" y="3317509"/>
                <a:chExt cx="127396" cy="4095"/>
              </a:xfrm>
              <a:solidFill>
                <a:srgbClr val="394553"/>
              </a:solidFill>
            </p:grpSpPr>
            <p:sp>
              <p:nvSpPr>
                <p:cNvPr id="33" name="Forma livre: Forma 32">
                  <a:extLst>
                    <a:ext uri="{FF2B5EF4-FFF2-40B4-BE49-F238E27FC236}">
                      <a16:creationId xmlns:a16="http://schemas.microsoft.com/office/drawing/2014/main" id="{9D4A817E-6C33-E5FD-ACE1-EB6901097308}"/>
                    </a:ext>
                  </a:extLst>
                </p:cNvPr>
                <p:cNvSpPr/>
                <p:nvPr/>
              </p:nvSpPr>
              <p:spPr>
                <a:xfrm>
                  <a:off x="864870" y="3317509"/>
                  <a:ext cx="4095" cy="4095"/>
                </a:xfrm>
                <a:custGeom>
                  <a:avLst/>
                  <a:gdLst>
                    <a:gd name="connsiteX0" fmla="*/ 0 w 4095"/>
                    <a:gd name="connsiteY0" fmla="*/ 0 h 4095"/>
                    <a:gd name="connsiteX1" fmla="*/ 4096 w 4095"/>
                    <a:gd name="connsiteY1" fmla="*/ 0 h 4095"/>
                    <a:gd name="connsiteX2" fmla="*/ 4096 w 4095"/>
                    <a:gd name="connsiteY2" fmla="*/ 4096 h 4095"/>
                    <a:gd name="connsiteX3" fmla="*/ 0 w 4095"/>
                    <a:gd name="connsiteY3" fmla="*/ 4096 h 409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095" h="4095">
                      <a:moveTo>
                        <a:pt x="0" y="0"/>
                      </a:moveTo>
                      <a:lnTo>
                        <a:pt x="4096" y="0"/>
                      </a:lnTo>
                      <a:lnTo>
                        <a:pt x="4096" y="4096"/>
                      </a:lnTo>
                      <a:lnTo>
                        <a:pt x="0" y="4096"/>
                      </a:lnTo>
                      <a:close/>
                    </a:path>
                  </a:pathLst>
                </a:custGeom>
                <a:solidFill>
                  <a:srgbClr val="394553"/>
                </a:solidFill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34" name="Forma livre: Forma 33">
                  <a:extLst>
                    <a:ext uri="{FF2B5EF4-FFF2-40B4-BE49-F238E27FC236}">
                      <a16:creationId xmlns:a16="http://schemas.microsoft.com/office/drawing/2014/main" id="{BB0C0C18-98E8-09A0-6566-2CB6707C6676}"/>
                    </a:ext>
                  </a:extLst>
                </p:cNvPr>
                <p:cNvSpPr/>
                <p:nvPr/>
              </p:nvSpPr>
              <p:spPr>
                <a:xfrm>
                  <a:off x="895445" y="3319557"/>
                  <a:ext cx="96821" cy="4762"/>
                </a:xfrm>
                <a:custGeom>
                  <a:avLst/>
                  <a:gdLst>
                    <a:gd name="connsiteX0" fmla="*/ 0 w 96821"/>
                    <a:gd name="connsiteY0" fmla="*/ 0 h 4762"/>
                    <a:gd name="connsiteX1" fmla="*/ 96822 w 96821"/>
                    <a:gd name="connsiteY1" fmla="*/ 0 h 476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96821" h="4762">
                      <a:moveTo>
                        <a:pt x="0" y="0"/>
                      </a:moveTo>
                      <a:lnTo>
                        <a:pt x="96822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35" name="Gráfico 2">
                <a:extLst>
                  <a:ext uri="{FF2B5EF4-FFF2-40B4-BE49-F238E27FC236}">
                    <a16:creationId xmlns:a16="http://schemas.microsoft.com/office/drawing/2014/main" id="{84ED0616-0524-D031-3AE0-BD1B07E6B903}"/>
                  </a:ext>
                </a:extLst>
              </p:cNvPr>
              <p:cNvGrpSpPr/>
              <p:nvPr/>
            </p:nvGrpSpPr>
            <p:grpSpPr>
              <a:xfrm>
                <a:off x="864870" y="3355990"/>
                <a:ext cx="127396" cy="4095"/>
                <a:chOff x="864870" y="3355990"/>
                <a:chExt cx="127396" cy="4095"/>
              </a:xfrm>
              <a:solidFill>
                <a:srgbClr val="394553"/>
              </a:solidFill>
            </p:grpSpPr>
            <p:sp>
              <p:nvSpPr>
                <p:cNvPr id="36" name="Forma livre: Forma 35">
                  <a:extLst>
                    <a:ext uri="{FF2B5EF4-FFF2-40B4-BE49-F238E27FC236}">
                      <a16:creationId xmlns:a16="http://schemas.microsoft.com/office/drawing/2014/main" id="{87C887D1-EAB9-FCE1-264B-CCF5841D0190}"/>
                    </a:ext>
                  </a:extLst>
                </p:cNvPr>
                <p:cNvSpPr/>
                <p:nvPr/>
              </p:nvSpPr>
              <p:spPr>
                <a:xfrm>
                  <a:off x="864870" y="3355990"/>
                  <a:ext cx="4095" cy="4095"/>
                </a:xfrm>
                <a:custGeom>
                  <a:avLst/>
                  <a:gdLst>
                    <a:gd name="connsiteX0" fmla="*/ 0 w 4095"/>
                    <a:gd name="connsiteY0" fmla="*/ 0 h 4095"/>
                    <a:gd name="connsiteX1" fmla="*/ 4096 w 4095"/>
                    <a:gd name="connsiteY1" fmla="*/ 0 h 4095"/>
                    <a:gd name="connsiteX2" fmla="*/ 4096 w 4095"/>
                    <a:gd name="connsiteY2" fmla="*/ 4096 h 4095"/>
                    <a:gd name="connsiteX3" fmla="*/ 0 w 4095"/>
                    <a:gd name="connsiteY3" fmla="*/ 4096 h 409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095" h="4095">
                      <a:moveTo>
                        <a:pt x="0" y="0"/>
                      </a:moveTo>
                      <a:lnTo>
                        <a:pt x="4096" y="0"/>
                      </a:lnTo>
                      <a:lnTo>
                        <a:pt x="4096" y="4096"/>
                      </a:lnTo>
                      <a:lnTo>
                        <a:pt x="0" y="4096"/>
                      </a:lnTo>
                      <a:close/>
                    </a:path>
                  </a:pathLst>
                </a:custGeom>
                <a:solidFill>
                  <a:srgbClr val="394553"/>
                </a:solidFill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37" name="Forma livre: Forma 36">
                  <a:extLst>
                    <a:ext uri="{FF2B5EF4-FFF2-40B4-BE49-F238E27FC236}">
                      <a16:creationId xmlns:a16="http://schemas.microsoft.com/office/drawing/2014/main" id="{D5B2D939-D0CC-17CD-9C28-EC95121630C7}"/>
                    </a:ext>
                  </a:extLst>
                </p:cNvPr>
                <p:cNvSpPr/>
                <p:nvPr/>
              </p:nvSpPr>
              <p:spPr>
                <a:xfrm>
                  <a:off x="895445" y="3358038"/>
                  <a:ext cx="96821" cy="4762"/>
                </a:xfrm>
                <a:custGeom>
                  <a:avLst/>
                  <a:gdLst>
                    <a:gd name="connsiteX0" fmla="*/ 0 w 96821"/>
                    <a:gd name="connsiteY0" fmla="*/ 0 h 4762"/>
                    <a:gd name="connsiteX1" fmla="*/ 96822 w 96821"/>
                    <a:gd name="connsiteY1" fmla="*/ 0 h 476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96821" h="4762">
                      <a:moveTo>
                        <a:pt x="0" y="0"/>
                      </a:moveTo>
                      <a:lnTo>
                        <a:pt x="96822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</p:grpSp>
      <p:grpSp>
        <p:nvGrpSpPr>
          <p:cNvPr id="38" name="Gráfico 2">
            <a:extLst>
              <a:ext uri="{FF2B5EF4-FFF2-40B4-BE49-F238E27FC236}">
                <a16:creationId xmlns:a16="http://schemas.microsoft.com/office/drawing/2014/main" id="{196C8480-D8EA-46EE-30E1-E7C7B080D752}"/>
              </a:ext>
            </a:extLst>
          </p:cNvPr>
          <p:cNvGrpSpPr/>
          <p:nvPr/>
        </p:nvGrpSpPr>
        <p:grpSpPr>
          <a:xfrm>
            <a:off x="809435" y="2603134"/>
            <a:ext cx="250025" cy="276627"/>
            <a:chOff x="809435" y="2603134"/>
            <a:chExt cx="250025" cy="276627"/>
          </a:xfrm>
          <a:noFill/>
        </p:grpSpPr>
        <p:sp>
          <p:nvSpPr>
            <p:cNvPr id="39" name="Forma livre: Forma 38">
              <a:extLst>
                <a:ext uri="{FF2B5EF4-FFF2-40B4-BE49-F238E27FC236}">
                  <a16:creationId xmlns:a16="http://schemas.microsoft.com/office/drawing/2014/main" id="{AF80D1A5-6C4F-6A9F-3C87-9AFFA9FBE54B}"/>
                </a:ext>
              </a:extLst>
            </p:cNvPr>
            <p:cNvSpPr/>
            <p:nvPr/>
          </p:nvSpPr>
          <p:spPr>
            <a:xfrm>
              <a:off x="809435" y="2603134"/>
              <a:ext cx="118681" cy="260794"/>
            </a:xfrm>
            <a:custGeom>
              <a:avLst/>
              <a:gdLst>
                <a:gd name="connsiteX0" fmla="*/ 86249 w 118681"/>
                <a:gd name="connsiteY0" fmla="*/ 255127 h 260794"/>
                <a:gd name="connsiteX1" fmla="*/ 61532 w 118681"/>
                <a:gd name="connsiteY1" fmla="*/ 260795 h 260794"/>
                <a:gd name="connsiteX2" fmla="*/ 57150 w 118681"/>
                <a:gd name="connsiteY2" fmla="*/ 260795 h 260794"/>
                <a:gd name="connsiteX3" fmla="*/ 0 w 118681"/>
                <a:gd name="connsiteY3" fmla="*/ 203645 h 260794"/>
                <a:gd name="connsiteX4" fmla="*/ 0 w 118681"/>
                <a:gd name="connsiteY4" fmla="*/ 57150 h 260794"/>
                <a:gd name="connsiteX5" fmla="*/ 57150 w 118681"/>
                <a:gd name="connsiteY5" fmla="*/ 0 h 260794"/>
                <a:gd name="connsiteX6" fmla="*/ 61532 w 118681"/>
                <a:gd name="connsiteY6" fmla="*/ 0 h 260794"/>
                <a:gd name="connsiteX7" fmla="*/ 118682 w 118681"/>
                <a:gd name="connsiteY7" fmla="*/ 57150 h 260794"/>
                <a:gd name="connsiteX8" fmla="*/ 118682 w 118681"/>
                <a:gd name="connsiteY8" fmla="*/ 94345 h 2607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8681" h="260794">
                  <a:moveTo>
                    <a:pt x="86249" y="255127"/>
                  </a:moveTo>
                  <a:cubicBezTo>
                    <a:pt x="78772" y="258747"/>
                    <a:pt x="70390" y="260795"/>
                    <a:pt x="61532" y="260795"/>
                  </a:cubicBezTo>
                  <a:lnTo>
                    <a:pt x="57150" y="260795"/>
                  </a:lnTo>
                  <a:cubicBezTo>
                    <a:pt x="25718" y="260795"/>
                    <a:pt x="0" y="235077"/>
                    <a:pt x="0" y="203645"/>
                  </a:cubicBezTo>
                  <a:lnTo>
                    <a:pt x="0" y="57150"/>
                  </a:lnTo>
                  <a:cubicBezTo>
                    <a:pt x="0" y="25717"/>
                    <a:pt x="25718" y="0"/>
                    <a:pt x="57150" y="0"/>
                  </a:cubicBezTo>
                  <a:lnTo>
                    <a:pt x="61532" y="0"/>
                  </a:lnTo>
                  <a:cubicBezTo>
                    <a:pt x="92964" y="0"/>
                    <a:pt x="118682" y="25717"/>
                    <a:pt x="118682" y="57150"/>
                  </a:cubicBezTo>
                  <a:lnTo>
                    <a:pt x="118682" y="94345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0" name="Forma livre: Forma 39">
              <a:extLst>
                <a:ext uri="{FF2B5EF4-FFF2-40B4-BE49-F238E27FC236}">
                  <a16:creationId xmlns:a16="http://schemas.microsoft.com/office/drawing/2014/main" id="{BAF4A98B-D5DD-FBB8-541A-371D8DC0E02F}"/>
                </a:ext>
              </a:extLst>
            </p:cNvPr>
            <p:cNvSpPr/>
            <p:nvPr/>
          </p:nvSpPr>
          <p:spPr>
            <a:xfrm>
              <a:off x="811149" y="2733484"/>
              <a:ext cx="74676" cy="47"/>
            </a:xfrm>
            <a:custGeom>
              <a:avLst/>
              <a:gdLst>
                <a:gd name="connsiteX0" fmla="*/ 0 w 74676"/>
                <a:gd name="connsiteY0" fmla="*/ 48 h 47"/>
                <a:gd name="connsiteX1" fmla="*/ 74676 w 74676"/>
                <a:gd name="connsiteY1" fmla="*/ 0 h 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4676" h="47">
                  <a:moveTo>
                    <a:pt x="0" y="48"/>
                  </a:moveTo>
                  <a:lnTo>
                    <a:pt x="74676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1" name="Forma livre: Forma 40">
              <a:extLst>
                <a:ext uri="{FF2B5EF4-FFF2-40B4-BE49-F238E27FC236}">
                  <a16:creationId xmlns:a16="http://schemas.microsoft.com/office/drawing/2014/main" id="{C4ADD817-7497-AA16-46E0-52578C3C1910}"/>
                </a:ext>
              </a:extLst>
            </p:cNvPr>
            <p:cNvSpPr/>
            <p:nvPr/>
          </p:nvSpPr>
          <p:spPr>
            <a:xfrm rot="-4603200">
              <a:off x="893273" y="2713574"/>
              <a:ext cx="150876" cy="150875"/>
            </a:xfrm>
            <a:custGeom>
              <a:avLst/>
              <a:gdLst>
                <a:gd name="connsiteX0" fmla="*/ 150876 w 150876"/>
                <a:gd name="connsiteY0" fmla="*/ 75438 h 150875"/>
                <a:gd name="connsiteX1" fmla="*/ 75438 w 150876"/>
                <a:gd name="connsiteY1" fmla="*/ 150876 h 150875"/>
                <a:gd name="connsiteX2" fmla="*/ 0 w 150876"/>
                <a:gd name="connsiteY2" fmla="*/ 75438 h 150875"/>
                <a:gd name="connsiteX3" fmla="*/ 75438 w 150876"/>
                <a:gd name="connsiteY3" fmla="*/ 0 h 150875"/>
                <a:gd name="connsiteX4" fmla="*/ 150876 w 150876"/>
                <a:gd name="connsiteY4" fmla="*/ 75438 h 150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0876" h="150875">
                  <a:moveTo>
                    <a:pt x="150876" y="75438"/>
                  </a:moveTo>
                  <a:cubicBezTo>
                    <a:pt x="150876" y="117101"/>
                    <a:pt x="117101" y="150876"/>
                    <a:pt x="75438" y="150876"/>
                  </a:cubicBezTo>
                  <a:cubicBezTo>
                    <a:pt x="33775" y="150876"/>
                    <a:pt x="0" y="117101"/>
                    <a:pt x="0" y="75438"/>
                  </a:cubicBezTo>
                  <a:cubicBezTo>
                    <a:pt x="0" y="33775"/>
                    <a:pt x="33775" y="0"/>
                    <a:pt x="75438" y="0"/>
                  </a:cubicBezTo>
                  <a:cubicBezTo>
                    <a:pt x="117101" y="0"/>
                    <a:pt x="150876" y="33775"/>
                    <a:pt x="150876" y="75438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2" name="Forma livre: Forma 41">
              <a:extLst>
                <a:ext uri="{FF2B5EF4-FFF2-40B4-BE49-F238E27FC236}">
                  <a16:creationId xmlns:a16="http://schemas.microsoft.com/office/drawing/2014/main" id="{0D6F08A3-BB53-6E14-F35B-C34E19667C17}"/>
                </a:ext>
              </a:extLst>
            </p:cNvPr>
            <p:cNvSpPr/>
            <p:nvPr/>
          </p:nvSpPr>
          <p:spPr>
            <a:xfrm>
              <a:off x="923592" y="2730246"/>
              <a:ext cx="90249" cy="117681"/>
            </a:xfrm>
            <a:custGeom>
              <a:avLst/>
              <a:gdLst>
                <a:gd name="connsiteX0" fmla="*/ 90249 w 90249"/>
                <a:gd name="connsiteY0" fmla="*/ 0 h 117681"/>
                <a:gd name="connsiteX1" fmla="*/ 0 w 90249"/>
                <a:gd name="connsiteY1" fmla="*/ 117681 h 1176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0249" h="117681">
                  <a:moveTo>
                    <a:pt x="90249" y="0"/>
                  </a:moveTo>
                  <a:lnTo>
                    <a:pt x="0" y="117681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43" name="Gráfico 2">
            <a:extLst>
              <a:ext uri="{FF2B5EF4-FFF2-40B4-BE49-F238E27FC236}">
                <a16:creationId xmlns:a16="http://schemas.microsoft.com/office/drawing/2014/main" id="{2B4EE134-07C0-9F62-CA83-ACD5A1BF44AE}"/>
              </a:ext>
            </a:extLst>
          </p:cNvPr>
          <p:cNvGrpSpPr/>
          <p:nvPr/>
        </p:nvGrpSpPr>
        <p:grpSpPr>
          <a:xfrm>
            <a:off x="785527" y="2055875"/>
            <a:ext cx="282559" cy="282559"/>
            <a:chOff x="785527" y="2055875"/>
            <a:chExt cx="282559" cy="282559"/>
          </a:xfrm>
          <a:noFill/>
        </p:grpSpPr>
        <p:grpSp>
          <p:nvGrpSpPr>
            <p:cNvPr id="44" name="Gráfico 2">
              <a:extLst>
                <a:ext uri="{FF2B5EF4-FFF2-40B4-BE49-F238E27FC236}">
                  <a16:creationId xmlns:a16="http://schemas.microsoft.com/office/drawing/2014/main" id="{0BBCC147-45FF-B06A-D6A6-B94786C7C1B6}"/>
                </a:ext>
              </a:extLst>
            </p:cNvPr>
            <p:cNvGrpSpPr/>
            <p:nvPr/>
          </p:nvGrpSpPr>
          <p:grpSpPr>
            <a:xfrm>
              <a:off x="785527" y="2055875"/>
              <a:ext cx="282559" cy="282559"/>
              <a:chOff x="785527" y="2055875"/>
              <a:chExt cx="282559" cy="282559"/>
            </a:xfrm>
            <a:noFill/>
          </p:grpSpPr>
          <p:grpSp>
            <p:nvGrpSpPr>
              <p:cNvPr id="45" name="Gráfico 2">
                <a:extLst>
                  <a:ext uri="{FF2B5EF4-FFF2-40B4-BE49-F238E27FC236}">
                    <a16:creationId xmlns:a16="http://schemas.microsoft.com/office/drawing/2014/main" id="{368F556D-1B40-965B-BAEE-185BA1AEA5F9}"/>
                  </a:ext>
                </a:extLst>
              </p:cNvPr>
              <p:cNvGrpSpPr/>
              <p:nvPr/>
            </p:nvGrpSpPr>
            <p:grpSpPr>
              <a:xfrm>
                <a:off x="785527" y="2055876"/>
                <a:ext cx="282559" cy="282559"/>
                <a:chOff x="785527" y="2055876"/>
                <a:chExt cx="282559" cy="282559"/>
              </a:xfrm>
            </p:grpSpPr>
            <p:sp>
              <p:nvSpPr>
                <p:cNvPr id="46" name="Forma livre: Forma 45">
                  <a:extLst>
                    <a:ext uri="{FF2B5EF4-FFF2-40B4-BE49-F238E27FC236}">
                      <a16:creationId xmlns:a16="http://schemas.microsoft.com/office/drawing/2014/main" id="{B92FF058-6821-539F-32FD-474B873EA574}"/>
                    </a:ext>
                  </a:extLst>
                </p:cNvPr>
                <p:cNvSpPr/>
                <p:nvPr/>
              </p:nvSpPr>
              <p:spPr>
                <a:xfrm>
                  <a:off x="926830" y="2055876"/>
                  <a:ext cx="4762" cy="282559"/>
                </a:xfrm>
                <a:custGeom>
                  <a:avLst/>
                  <a:gdLst>
                    <a:gd name="connsiteX0" fmla="*/ 0 w 4762"/>
                    <a:gd name="connsiteY0" fmla="*/ 0 h 282559"/>
                    <a:gd name="connsiteX1" fmla="*/ 0 w 4762"/>
                    <a:gd name="connsiteY1" fmla="*/ 282559 h 28255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762" h="282559">
                      <a:moveTo>
                        <a:pt x="0" y="0"/>
                      </a:moveTo>
                      <a:lnTo>
                        <a:pt x="0" y="282559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47" name="Forma livre: Forma 46">
                  <a:extLst>
                    <a:ext uri="{FF2B5EF4-FFF2-40B4-BE49-F238E27FC236}">
                      <a16:creationId xmlns:a16="http://schemas.microsoft.com/office/drawing/2014/main" id="{4008D6FD-FC8C-1B47-7808-A3A22999125C}"/>
                    </a:ext>
                  </a:extLst>
                </p:cNvPr>
                <p:cNvSpPr/>
                <p:nvPr/>
              </p:nvSpPr>
              <p:spPr>
                <a:xfrm>
                  <a:off x="785527" y="2197179"/>
                  <a:ext cx="282559" cy="4762"/>
                </a:xfrm>
                <a:custGeom>
                  <a:avLst/>
                  <a:gdLst>
                    <a:gd name="connsiteX0" fmla="*/ 282559 w 282559"/>
                    <a:gd name="connsiteY0" fmla="*/ 0 h 4762"/>
                    <a:gd name="connsiteX1" fmla="*/ 0 w 282559"/>
                    <a:gd name="connsiteY1" fmla="*/ 0 h 476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82559" h="4762">
                      <a:moveTo>
                        <a:pt x="282559" y="0"/>
                      </a:moveTo>
                      <a:lnTo>
                        <a:pt x="0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48" name="Forma livre: Forma 47">
                <a:extLst>
                  <a:ext uri="{FF2B5EF4-FFF2-40B4-BE49-F238E27FC236}">
                    <a16:creationId xmlns:a16="http://schemas.microsoft.com/office/drawing/2014/main" id="{D6556AB6-4D20-F70E-5310-15C9CD7DF4DD}"/>
                  </a:ext>
                </a:extLst>
              </p:cNvPr>
              <p:cNvSpPr/>
              <p:nvPr/>
            </p:nvSpPr>
            <p:spPr>
              <a:xfrm>
                <a:off x="785527" y="2055875"/>
                <a:ext cx="98393" cy="98393"/>
              </a:xfrm>
              <a:custGeom>
                <a:avLst/>
                <a:gdLst>
                  <a:gd name="connsiteX0" fmla="*/ 0 w 98393"/>
                  <a:gd name="connsiteY0" fmla="*/ 98393 h 98393"/>
                  <a:gd name="connsiteX1" fmla="*/ 98393 w 98393"/>
                  <a:gd name="connsiteY1" fmla="*/ 98393 h 98393"/>
                  <a:gd name="connsiteX2" fmla="*/ 98393 w 98393"/>
                  <a:gd name="connsiteY2" fmla="*/ 0 h 983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98393" h="98393">
                    <a:moveTo>
                      <a:pt x="0" y="98393"/>
                    </a:moveTo>
                    <a:lnTo>
                      <a:pt x="98393" y="98393"/>
                    </a:lnTo>
                    <a:lnTo>
                      <a:pt x="98393" y="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9" name="Forma livre: Forma 48">
                <a:extLst>
                  <a:ext uri="{FF2B5EF4-FFF2-40B4-BE49-F238E27FC236}">
                    <a16:creationId xmlns:a16="http://schemas.microsoft.com/office/drawing/2014/main" id="{74660591-8C18-8165-3890-5D7ACB9F10AC}"/>
                  </a:ext>
                </a:extLst>
              </p:cNvPr>
              <p:cNvSpPr/>
              <p:nvPr/>
            </p:nvSpPr>
            <p:spPr>
              <a:xfrm>
                <a:off x="969693" y="2055875"/>
                <a:ext cx="98393" cy="98393"/>
              </a:xfrm>
              <a:custGeom>
                <a:avLst/>
                <a:gdLst>
                  <a:gd name="connsiteX0" fmla="*/ 98393 w 98393"/>
                  <a:gd name="connsiteY0" fmla="*/ 98393 h 98393"/>
                  <a:gd name="connsiteX1" fmla="*/ 0 w 98393"/>
                  <a:gd name="connsiteY1" fmla="*/ 98393 h 98393"/>
                  <a:gd name="connsiteX2" fmla="*/ 0 w 98393"/>
                  <a:gd name="connsiteY2" fmla="*/ 0 h 983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98393" h="98393">
                    <a:moveTo>
                      <a:pt x="98393" y="98393"/>
                    </a:moveTo>
                    <a:lnTo>
                      <a:pt x="0" y="98393"/>
                    </a:lnTo>
                    <a:lnTo>
                      <a:pt x="0" y="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50" name="Forma livre: Forma 49">
              <a:extLst>
                <a:ext uri="{FF2B5EF4-FFF2-40B4-BE49-F238E27FC236}">
                  <a16:creationId xmlns:a16="http://schemas.microsoft.com/office/drawing/2014/main" id="{587396D1-754D-143F-84A7-5E82F075AC70}"/>
                </a:ext>
              </a:extLst>
            </p:cNvPr>
            <p:cNvSpPr/>
            <p:nvPr/>
          </p:nvSpPr>
          <p:spPr>
            <a:xfrm>
              <a:off x="785527" y="2240089"/>
              <a:ext cx="98393" cy="98345"/>
            </a:xfrm>
            <a:custGeom>
              <a:avLst/>
              <a:gdLst>
                <a:gd name="connsiteX0" fmla="*/ 0 w 98393"/>
                <a:gd name="connsiteY0" fmla="*/ 0 h 98345"/>
                <a:gd name="connsiteX1" fmla="*/ 98393 w 98393"/>
                <a:gd name="connsiteY1" fmla="*/ 0 h 98345"/>
                <a:gd name="connsiteX2" fmla="*/ 98393 w 98393"/>
                <a:gd name="connsiteY2" fmla="*/ 98346 h 983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8393" h="98345">
                  <a:moveTo>
                    <a:pt x="0" y="0"/>
                  </a:moveTo>
                  <a:lnTo>
                    <a:pt x="98393" y="0"/>
                  </a:lnTo>
                  <a:lnTo>
                    <a:pt x="98393" y="98346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51" name="Forma livre: Forma 50">
              <a:extLst>
                <a:ext uri="{FF2B5EF4-FFF2-40B4-BE49-F238E27FC236}">
                  <a16:creationId xmlns:a16="http://schemas.microsoft.com/office/drawing/2014/main" id="{8574ED59-AD8C-9A50-4FA9-A48A3E5F561C}"/>
                </a:ext>
              </a:extLst>
            </p:cNvPr>
            <p:cNvSpPr/>
            <p:nvPr/>
          </p:nvSpPr>
          <p:spPr>
            <a:xfrm>
              <a:off x="969693" y="2240089"/>
              <a:ext cx="98393" cy="98345"/>
            </a:xfrm>
            <a:custGeom>
              <a:avLst/>
              <a:gdLst>
                <a:gd name="connsiteX0" fmla="*/ 98393 w 98393"/>
                <a:gd name="connsiteY0" fmla="*/ 0 h 98345"/>
                <a:gd name="connsiteX1" fmla="*/ 0 w 98393"/>
                <a:gd name="connsiteY1" fmla="*/ 0 h 98345"/>
                <a:gd name="connsiteX2" fmla="*/ 0 w 98393"/>
                <a:gd name="connsiteY2" fmla="*/ 98346 h 983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8393" h="98345">
                  <a:moveTo>
                    <a:pt x="98393" y="0"/>
                  </a:moveTo>
                  <a:lnTo>
                    <a:pt x="0" y="0"/>
                  </a:lnTo>
                  <a:lnTo>
                    <a:pt x="0" y="98346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52" name="Gráfico 2">
            <a:extLst>
              <a:ext uri="{FF2B5EF4-FFF2-40B4-BE49-F238E27FC236}">
                <a16:creationId xmlns:a16="http://schemas.microsoft.com/office/drawing/2014/main" id="{4D4E430D-EC62-633B-547B-02D4AD026D85}"/>
              </a:ext>
            </a:extLst>
          </p:cNvPr>
          <p:cNvGrpSpPr/>
          <p:nvPr/>
        </p:nvGrpSpPr>
        <p:grpSpPr>
          <a:xfrm>
            <a:off x="791480" y="1510474"/>
            <a:ext cx="270700" cy="300037"/>
            <a:chOff x="791480" y="1510474"/>
            <a:chExt cx="270700" cy="300037"/>
          </a:xfrm>
        </p:grpSpPr>
        <p:sp>
          <p:nvSpPr>
            <p:cNvPr id="53" name="Forma livre: Forma 52">
              <a:extLst>
                <a:ext uri="{FF2B5EF4-FFF2-40B4-BE49-F238E27FC236}">
                  <a16:creationId xmlns:a16="http://schemas.microsoft.com/office/drawing/2014/main" id="{1BF7531E-86B7-1C3C-9703-C9C38E650B99}"/>
                </a:ext>
              </a:extLst>
            </p:cNvPr>
            <p:cNvSpPr/>
            <p:nvPr/>
          </p:nvSpPr>
          <p:spPr>
            <a:xfrm>
              <a:off x="840677" y="1632346"/>
              <a:ext cx="137112" cy="53200"/>
            </a:xfrm>
            <a:custGeom>
              <a:avLst/>
              <a:gdLst>
                <a:gd name="connsiteX0" fmla="*/ 0 w 137112"/>
                <a:gd name="connsiteY0" fmla="*/ 53197 h 53200"/>
                <a:gd name="connsiteX1" fmla="*/ 137112 w 137112"/>
                <a:gd name="connsiteY1" fmla="*/ 0 h 53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37112" h="53200">
                  <a:moveTo>
                    <a:pt x="0" y="53197"/>
                  </a:moveTo>
                  <a:cubicBezTo>
                    <a:pt x="0" y="53197"/>
                    <a:pt x="111062" y="54626"/>
                    <a:pt x="137112" y="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54" name="Forma livre: Forma 53">
              <a:extLst>
                <a:ext uri="{FF2B5EF4-FFF2-40B4-BE49-F238E27FC236}">
                  <a16:creationId xmlns:a16="http://schemas.microsoft.com/office/drawing/2014/main" id="{BADA3B7E-BE03-13C5-6E95-F37C20E0E282}"/>
                </a:ext>
              </a:extLst>
            </p:cNvPr>
            <p:cNvSpPr/>
            <p:nvPr/>
          </p:nvSpPr>
          <p:spPr>
            <a:xfrm>
              <a:off x="845249" y="1719119"/>
              <a:ext cx="163068" cy="91392"/>
            </a:xfrm>
            <a:custGeom>
              <a:avLst/>
              <a:gdLst>
                <a:gd name="connsiteX0" fmla="*/ 163068 w 163068"/>
                <a:gd name="connsiteY0" fmla="*/ 0 h 91392"/>
                <a:gd name="connsiteX1" fmla="*/ 80582 w 163068"/>
                <a:gd name="connsiteY1" fmla="*/ 91392 h 91392"/>
                <a:gd name="connsiteX2" fmla="*/ 78867 w 163068"/>
                <a:gd name="connsiteY2" fmla="*/ 91392 h 91392"/>
                <a:gd name="connsiteX3" fmla="*/ 0 w 163068"/>
                <a:gd name="connsiteY3" fmla="*/ 0 h 913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63068" h="91392">
                  <a:moveTo>
                    <a:pt x="163068" y="0"/>
                  </a:moveTo>
                  <a:cubicBezTo>
                    <a:pt x="163068" y="0"/>
                    <a:pt x="147495" y="91392"/>
                    <a:pt x="80582" y="91392"/>
                  </a:cubicBezTo>
                  <a:lnTo>
                    <a:pt x="78867" y="91392"/>
                  </a:lnTo>
                  <a:cubicBezTo>
                    <a:pt x="11954" y="91392"/>
                    <a:pt x="0" y="0"/>
                    <a:pt x="0" y="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55" name="Forma livre: Forma 54">
              <a:extLst>
                <a:ext uri="{FF2B5EF4-FFF2-40B4-BE49-F238E27FC236}">
                  <a16:creationId xmlns:a16="http://schemas.microsoft.com/office/drawing/2014/main" id="{C00C1638-B121-72A0-F997-1E716F5B3064}"/>
                </a:ext>
              </a:extLst>
            </p:cNvPr>
            <p:cNvSpPr/>
            <p:nvPr/>
          </p:nvSpPr>
          <p:spPr>
            <a:xfrm>
              <a:off x="964168" y="1651635"/>
              <a:ext cx="48339" cy="36575"/>
            </a:xfrm>
            <a:custGeom>
              <a:avLst/>
              <a:gdLst>
                <a:gd name="connsiteX0" fmla="*/ 0 w 48339"/>
                <a:gd name="connsiteY0" fmla="*/ 0 h 36575"/>
                <a:gd name="connsiteX1" fmla="*/ 48339 w 48339"/>
                <a:gd name="connsiteY1" fmla="*/ 36576 h 365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8339" h="36575">
                  <a:moveTo>
                    <a:pt x="0" y="0"/>
                  </a:moveTo>
                  <a:cubicBezTo>
                    <a:pt x="0" y="0"/>
                    <a:pt x="14430" y="27051"/>
                    <a:pt x="48339" y="36576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56" name="Gráfico 2">
              <a:extLst>
                <a:ext uri="{FF2B5EF4-FFF2-40B4-BE49-F238E27FC236}">
                  <a16:creationId xmlns:a16="http://schemas.microsoft.com/office/drawing/2014/main" id="{D28DB7D1-38E7-54F5-D840-A8C3B689BDB5}"/>
                </a:ext>
              </a:extLst>
            </p:cNvPr>
            <p:cNvGrpSpPr/>
            <p:nvPr/>
          </p:nvGrpSpPr>
          <p:grpSpPr>
            <a:xfrm>
              <a:off x="887492" y="1712356"/>
              <a:ext cx="78628" cy="7429"/>
              <a:chOff x="887492" y="1712356"/>
              <a:chExt cx="78628" cy="7429"/>
            </a:xfrm>
            <a:solidFill>
              <a:srgbClr val="394553"/>
            </a:solidFill>
          </p:grpSpPr>
          <p:sp>
            <p:nvSpPr>
              <p:cNvPr id="57" name="Forma livre: Forma 56">
                <a:extLst>
                  <a:ext uri="{FF2B5EF4-FFF2-40B4-BE49-F238E27FC236}">
                    <a16:creationId xmlns:a16="http://schemas.microsoft.com/office/drawing/2014/main" id="{11630124-B11D-38D6-F0FC-1D5851CA0048}"/>
                  </a:ext>
                </a:extLst>
              </p:cNvPr>
              <p:cNvSpPr/>
              <p:nvPr/>
            </p:nvSpPr>
            <p:spPr>
              <a:xfrm>
                <a:off x="887492" y="1712356"/>
                <a:ext cx="7429" cy="7429"/>
              </a:xfrm>
              <a:custGeom>
                <a:avLst/>
                <a:gdLst>
                  <a:gd name="connsiteX0" fmla="*/ 7430 w 7429"/>
                  <a:gd name="connsiteY0" fmla="*/ 3715 h 7429"/>
                  <a:gd name="connsiteX1" fmla="*/ 3715 w 7429"/>
                  <a:gd name="connsiteY1" fmla="*/ 7429 h 7429"/>
                  <a:gd name="connsiteX2" fmla="*/ 0 w 7429"/>
                  <a:gd name="connsiteY2" fmla="*/ 3715 h 7429"/>
                  <a:gd name="connsiteX3" fmla="*/ 3715 w 7429"/>
                  <a:gd name="connsiteY3" fmla="*/ 0 h 7429"/>
                  <a:gd name="connsiteX4" fmla="*/ 7430 w 7429"/>
                  <a:gd name="connsiteY4" fmla="*/ 3715 h 74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429" h="7429">
                    <a:moveTo>
                      <a:pt x="7430" y="3715"/>
                    </a:moveTo>
                    <a:cubicBezTo>
                      <a:pt x="7430" y="5763"/>
                      <a:pt x="5763" y="7429"/>
                      <a:pt x="3715" y="7429"/>
                    </a:cubicBezTo>
                    <a:cubicBezTo>
                      <a:pt x="1667" y="7429"/>
                      <a:pt x="0" y="5763"/>
                      <a:pt x="0" y="3715"/>
                    </a:cubicBezTo>
                    <a:cubicBezTo>
                      <a:pt x="0" y="1667"/>
                      <a:pt x="1667" y="0"/>
                      <a:pt x="3715" y="0"/>
                    </a:cubicBezTo>
                    <a:cubicBezTo>
                      <a:pt x="5763" y="0"/>
                      <a:pt x="7430" y="1667"/>
                      <a:pt x="7430" y="3715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8" name="Forma livre: Forma 57">
                <a:extLst>
                  <a:ext uri="{FF2B5EF4-FFF2-40B4-BE49-F238E27FC236}">
                    <a16:creationId xmlns:a16="http://schemas.microsoft.com/office/drawing/2014/main" id="{00161E67-D020-6B29-E3AF-DB8802AF0FD0}"/>
                  </a:ext>
                </a:extLst>
              </p:cNvPr>
              <p:cNvSpPr/>
              <p:nvPr/>
            </p:nvSpPr>
            <p:spPr>
              <a:xfrm>
                <a:off x="958691" y="1712356"/>
                <a:ext cx="7429" cy="7429"/>
              </a:xfrm>
              <a:custGeom>
                <a:avLst/>
                <a:gdLst>
                  <a:gd name="connsiteX0" fmla="*/ 7430 w 7429"/>
                  <a:gd name="connsiteY0" fmla="*/ 3715 h 7429"/>
                  <a:gd name="connsiteX1" fmla="*/ 3715 w 7429"/>
                  <a:gd name="connsiteY1" fmla="*/ 7429 h 7429"/>
                  <a:gd name="connsiteX2" fmla="*/ 0 w 7429"/>
                  <a:gd name="connsiteY2" fmla="*/ 3715 h 7429"/>
                  <a:gd name="connsiteX3" fmla="*/ 3715 w 7429"/>
                  <a:gd name="connsiteY3" fmla="*/ 0 h 7429"/>
                  <a:gd name="connsiteX4" fmla="*/ 7430 w 7429"/>
                  <a:gd name="connsiteY4" fmla="*/ 3715 h 74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429" h="7429">
                    <a:moveTo>
                      <a:pt x="7430" y="3715"/>
                    </a:moveTo>
                    <a:cubicBezTo>
                      <a:pt x="7430" y="5763"/>
                      <a:pt x="5763" y="7429"/>
                      <a:pt x="3715" y="7429"/>
                    </a:cubicBezTo>
                    <a:cubicBezTo>
                      <a:pt x="1667" y="7429"/>
                      <a:pt x="0" y="5763"/>
                      <a:pt x="0" y="3715"/>
                    </a:cubicBezTo>
                    <a:cubicBezTo>
                      <a:pt x="0" y="1667"/>
                      <a:pt x="1667" y="0"/>
                      <a:pt x="3715" y="0"/>
                    </a:cubicBezTo>
                    <a:cubicBezTo>
                      <a:pt x="5763" y="0"/>
                      <a:pt x="7430" y="1667"/>
                      <a:pt x="7430" y="3715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59" name="Gráfico 2">
              <a:extLst>
                <a:ext uri="{FF2B5EF4-FFF2-40B4-BE49-F238E27FC236}">
                  <a16:creationId xmlns:a16="http://schemas.microsoft.com/office/drawing/2014/main" id="{FEFF7392-D3B6-70A6-2CDE-207DDB976FF6}"/>
                </a:ext>
              </a:extLst>
            </p:cNvPr>
            <p:cNvGrpSpPr/>
            <p:nvPr/>
          </p:nvGrpSpPr>
          <p:grpSpPr>
            <a:xfrm>
              <a:off x="791480" y="1602819"/>
              <a:ext cx="270700" cy="187574"/>
              <a:chOff x="791480" y="1602819"/>
              <a:chExt cx="270700" cy="187574"/>
            </a:xfrm>
            <a:noFill/>
          </p:grpSpPr>
          <p:sp>
            <p:nvSpPr>
              <p:cNvPr id="60" name="Forma livre: Forma 59">
                <a:extLst>
                  <a:ext uri="{FF2B5EF4-FFF2-40B4-BE49-F238E27FC236}">
                    <a16:creationId xmlns:a16="http://schemas.microsoft.com/office/drawing/2014/main" id="{75D6C30F-E4DB-75D1-C8FC-1B375143EC6D}"/>
                  </a:ext>
                </a:extLst>
              </p:cNvPr>
              <p:cNvSpPr/>
              <p:nvPr/>
            </p:nvSpPr>
            <p:spPr>
              <a:xfrm>
                <a:off x="791480" y="1602819"/>
                <a:ext cx="44338" cy="187574"/>
              </a:xfrm>
              <a:custGeom>
                <a:avLst/>
                <a:gdLst>
                  <a:gd name="connsiteX0" fmla="*/ 43720 w 44338"/>
                  <a:gd name="connsiteY0" fmla="*/ 0 h 187574"/>
                  <a:gd name="connsiteX1" fmla="*/ 14907 w 44338"/>
                  <a:gd name="connsiteY1" fmla="*/ 92059 h 187574"/>
                  <a:gd name="connsiteX2" fmla="*/ 20098 w 44338"/>
                  <a:gd name="connsiteY2" fmla="*/ 131826 h 187574"/>
                  <a:gd name="connsiteX3" fmla="*/ 0 w 44338"/>
                  <a:gd name="connsiteY3" fmla="*/ 176546 h 187574"/>
                  <a:gd name="connsiteX4" fmla="*/ 44339 w 44338"/>
                  <a:gd name="connsiteY4" fmla="*/ 180975 h 1875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4338" h="187574">
                    <a:moveTo>
                      <a:pt x="43720" y="0"/>
                    </a:moveTo>
                    <a:cubicBezTo>
                      <a:pt x="23193" y="18526"/>
                      <a:pt x="9287" y="47292"/>
                      <a:pt x="14907" y="92059"/>
                    </a:cubicBezTo>
                    <a:cubicBezTo>
                      <a:pt x="19336" y="113443"/>
                      <a:pt x="20812" y="116729"/>
                      <a:pt x="20098" y="131826"/>
                    </a:cubicBezTo>
                    <a:cubicBezTo>
                      <a:pt x="19431" y="146209"/>
                      <a:pt x="21527" y="157782"/>
                      <a:pt x="0" y="176546"/>
                    </a:cubicBezTo>
                    <a:cubicBezTo>
                      <a:pt x="0" y="176546"/>
                      <a:pt x="13811" y="198072"/>
                      <a:pt x="44339" y="180975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61" name="Forma livre: Forma 60">
                <a:extLst>
                  <a:ext uri="{FF2B5EF4-FFF2-40B4-BE49-F238E27FC236}">
                    <a16:creationId xmlns:a16="http://schemas.microsoft.com/office/drawing/2014/main" id="{4B49D853-A5D6-BBBA-94DC-877FC39029B8}"/>
                  </a:ext>
                </a:extLst>
              </p:cNvPr>
              <p:cNvSpPr/>
              <p:nvPr/>
            </p:nvSpPr>
            <p:spPr>
              <a:xfrm>
                <a:off x="1017842" y="1602819"/>
                <a:ext cx="44338" cy="187574"/>
              </a:xfrm>
              <a:custGeom>
                <a:avLst/>
                <a:gdLst>
                  <a:gd name="connsiteX0" fmla="*/ 619 w 44338"/>
                  <a:gd name="connsiteY0" fmla="*/ 0 h 187574"/>
                  <a:gd name="connsiteX1" fmla="*/ 29432 w 44338"/>
                  <a:gd name="connsiteY1" fmla="*/ 92059 h 187574"/>
                  <a:gd name="connsiteX2" fmla="*/ 24241 w 44338"/>
                  <a:gd name="connsiteY2" fmla="*/ 131826 h 187574"/>
                  <a:gd name="connsiteX3" fmla="*/ 44339 w 44338"/>
                  <a:gd name="connsiteY3" fmla="*/ 176546 h 187574"/>
                  <a:gd name="connsiteX4" fmla="*/ 0 w 44338"/>
                  <a:gd name="connsiteY4" fmla="*/ 180975 h 1875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4338" h="187574">
                    <a:moveTo>
                      <a:pt x="619" y="0"/>
                    </a:moveTo>
                    <a:cubicBezTo>
                      <a:pt x="21146" y="18526"/>
                      <a:pt x="35052" y="47292"/>
                      <a:pt x="29432" y="92059"/>
                    </a:cubicBezTo>
                    <a:cubicBezTo>
                      <a:pt x="25003" y="113443"/>
                      <a:pt x="23527" y="116729"/>
                      <a:pt x="24241" y="131826"/>
                    </a:cubicBezTo>
                    <a:cubicBezTo>
                      <a:pt x="24908" y="146209"/>
                      <a:pt x="22812" y="157782"/>
                      <a:pt x="44339" y="176546"/>
                    </a:cubicBezTo>
                    <a:cubicBezTo>
                      <a:pt x="44339" y="176546"/>
                      <a:pt x="30528" y="198072"/>
                      <a:pt x="0" y="180975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62" name="Forma livre: Forma 61">
              <a:extLst>
                <a:ext uri="{FF2B5EF4-FFF2-40B4-BE49-F238E27FC236}">
                  <a16:creationId xmlns:a16="http://schemas.microsoft.com/office/drawing/2014/main" id="{9A693768-AEFD-B59C-EF4E-2773D3760789}"/>
                </a:ext>
              </a:extLst>
            </p:cNvPr>
            <p:cNvSpPr/>
            <p:nvPr/>
          </p:nvSpPr>
          <p:spPr>
            <a:xfrm>
              <a:off x="826437" y="1510474"/>
              <a:ext cx="200787" cy="132159"/>
            </a:xfrm>
            <a:custGeom>
              <a:avLst/>
              <a:gdLst>
                <a:gd name="connsiteX0" fmla="*/ 180451 w 200787"/>
                <a:gd name="connsiteY0" fmla="*/ 132159 h 132159"/>
                <a:gd name="connsiteX1" fmla="*/ 20336 w 200787"/>
                <a:gd name="connsiteY1" fmla="*/ 132159 h 132159"/>
                <a:gd name="connsiteX2" fmla="*/ 0 w 200787"/>
                <a:gd name="connsiteY2" fmla="*/ 52864 h 132159"/>
                <a:gd name="connsiteX3" fmla="*/ 100108 w 200787"/>
                <a:gd name="connsiteY3" fmla="*/ 0 h 132159"/>
                <a:gd name="connsiteX4" fmla="*/ 100679 w 200787"/>
                <a:gd name="connsiteY4" fmla="*/ 0 h 132159"/>
                <a:gd name="connsiteX5" fmla="*/ 200787 w 200787"/>
                <a:gd name="connsiteY5" fmla="*/ 52864 h 132159"/>
                <a:gd name="connsiteX6" fmla="*/ 180451 w 200787"/>
                <a:gd name="connsiteY6" fmla="*/ 132159 h 1321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0787" h="132159">
                  <a:moveTo>
                    <a:pt x="180451" y="132159"/>
                  </a:moveTo>
                  <a:cubicBezTo>
                    <a:pt x="99060" y="95536"/>
                    <a:pt x="38338" y="122253"/>
                    <a:pt x="20336" y="132159"/>
                  </a:cubicBezTo>
                  <a:lnTo>
                    <a:pt x="0" y="52864"/>
                  </a:lnTo>
                  <a:cubicBezTo>
                    <a:pt x="0" y="52864"/>
                    <a:pt x="31528" y="1333"/>
                    <a:pt x="100108" y="0"/>
                  </a:cubicBezTo>
                  <a:lnTo>
                    <a:pt x="100679" y="0"/>
                  </a:lnTo>
                  <a:cubicBezTo>
                    <a:pt x="169259" y="1333"/>
                    <a:pt x="200787" y="52864"/>
                    <a:pt x="200787" y="52864"/>
                  </a:cubicBezTo>
                  <a:lnTo>
                    <a:pt x="180451" y="132159"/>
                  </a:ln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63" name="Gráfico 2">
              <a:extLst>
                <a:ext uri="{FF2B5EF4-FFF2-40B4-BE49-F238E27FC236}">
                  <a16:creationId xmlns:a16="http://schemas.microsoft.com/office/drawing/2014/main" id="{09B50C41-2303-880D-7816-9A1CE23B3EA2}"/>
                </a:ext>
              </a:extLst>
            </p:cNvPr>
            <p:cNvGrpSpPr/>
            <p:nvPr/>
          </p:nvGrpSpPr>
          <p:grpSpPr>
            <a:xfrm>
              <a:off x="896445" y="1537382"/>
              <a:ext cx="60721" cy="60721"/>
              <a:chOff x="896445" y="1537382"/>
              <a:chExt cx="60721" cy="60721"/>
            </a:xfrm>
          </p:grpSpPr>
          <p:sp>
            <p:nvSpPr>
              <p:cNvPr id="64" name="Forma livre: Forma 63">
                <a:extLst>
                  <a:ext uri="{FF2B5EF4-FFF2-40B4-BE49-F238E27FC236}">
                    <a16:creationId xmlns:a16="http://schemas.microsoft.com/office/drawing/2014/main" id="{C864234A-E883-42C1-59FF-B5E3C10C1E39}"/>
                  </a:ext>
                </a:extLst>
              </p:cNvPr>
              <p:cNvSpPr/>
              <p:nvPr/>
            </p:nvSpPr>
            <p:spPr>
              <a:xfrm>
                <a:off x="926830" y="1537382"/>
                <a:ext cx="4762" cy="60721"/>
              </a:xfrm>
              <a:custGeom>
                <a:avLst/>
                <a:gdLst>
                  <a:gd name="connsiteX0" fmla="*/ 0 w 4762"/>
                  <a:gd name="connsiteY0" fmla="*/ 0 h 60721"/>
                  <a:gd name="connsiteX1" fmla="*/ 0 w 4762"/>
                  <a:gd name="connsiteY1" fmla="*/ 60722 h 607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62" h="60721">
                    <a:moveTo>
                      <a:pt x="0" y="0"/>
                    </a:moveTo>
                    <a:lnTo>
                      <a:pt x="0" y="60722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65" name="Forma livre: Forma 64">
                <a:extLst>
                  <a:ext uri="{FF2B5EF4-FFF2-40B4-BE49-F238E27FC236}">
                    <a16:creationId xmlns:a16="http://schemas.microsoft.com/office/drawing/2014/main" id="{94FC68E4-D853-88E4-7B9C-977BD339704B}"/>
                  </a:ext>
                </a:extLst>
              </p:cNvPr>
              <p:cNvSpPr/>
              <p:nvPr/>
            </p:nvSpPr>
            <p:spPr>
              <a:xfrm>
                <a:off x="896445" y="1567719"/>
                <a:ext cx="60721" cy="4762"/>
              </a:xfrm>
              <a:custGeom>
                <a:avLst/>
                <a:gdLst>
                  <a:gd name="connsiteX0" fmla="*/ 60722 w 60721"/>
                  <a:gd name="connsiteY0" fmla="*/ 0 h 4762"/>
                  <a:gd name="connsiteX1" fmla="*/ 0 w 60721"/>
                  <a:gd name="connsiteY1" fmla="*/ 0 h 47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0721" h="4762">
                    <a:moveTo>
                      <a:pt x="60722" y="0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66" name="Gráfico 2">
            <a:extLst>
              <a:ext uri="{FF2B5EF4-FFF2-40B4-BE49-F238E27FC236}">
                <a16:creationId xmlns:a16="http://schemas.microsoft.com/office/drawing/2014/main" id="{FD093442-4F54-A76A-1E55-A657D0B2BFF2}"/>
              </a:ext>
            </a:extLst>
          </p:cNvPr>
          <p:cNvGrpSpPr/>
          <p:nvPr/>
        </p:nvGrpSpPr>
        <p:grpSpPr>
          <a:xfrm>
            <a:off x="772716" y="996537"/>
            <a:ext cx="308197" cy="254618"/>
            <a:chOff x="772716" y="996537"/>
            <a:chExt cx="308197" cy="254618"/>
          </a:xfrm>
          <a:noFill/>
        </p:grpSpPr>
        <p:sp>
          <p:nvSpPr>
            <p:cNvPr id="67" name="Forma livre: Forma 66">
              <a:extLst>
                <a:ext uri="{FF2B5EF4-FFF2-40B4-BE49-F238E27FC236}">
                  <a16:creationId xmlns:a16="http://schemas.microsoft.com/office/drawing/2014/main" id="{980E8B1D-B16F-F817-66D8-04E8AF5A0C1B}"/>
                </a:ext>
              </a:extLst>
            </p:cNvPr>
            <p:cNvSpPr/>
            <p:nvPr/>
          </p:nvSpPr>
          <p:spPr>
            <a:xfrm>
              <a:off x="784864" y="996537"/>
              <a:ext cx="296048" cy="254618"/>
            </a:xfrm>
            <a:custGeom>
              <a:avLst/>
              <a:gdLst>
                <a:gd name="connsiteX0" fmla="*/ 55669 w 296048"/>
                <a:gd name="connsiteY0" fmla="*/ 162417 h 254618"/>
                <a:gd name="connsiteX1" fmla="*/ 148014 w 296048"/>
                <a:gd name="connsiteY1" fmla="*/ 254619 h 254618"/>
                <a:gd name="connsiteX2" fmla="*/ 273268 w 296048"/>
                <a:gd name="connsiteY2" fmla="*/ 129556 h 254618"/>
                <a:gd name="connsiteX3" fmla="*/ 274316 w 296048"/>
                <a:gd name="connsiteY3" fmla="*/ 21733 h 254618"/>
                <a:gd name="connsiteX4" fmla="*/ 166493 w 296048"/>
                <a:gd name="connsiteY4" fmla="*/ 22780 h 254618"/>
                <a:gd name="connsiteX5" fmla="*/ 148014 w 296048"/>
                <a:gd name="connsiteY5" fmla="*/ 41259 h 254618"/>
                <a:gd name="connsiteX6" fmla="*/ 129536 w 296048"/>
                <a:gd name="connsiteY6" fmla="*/ 22780 h 254618"/>
                <a:gd name="connsiteX7" fmla="*/ 21713 w 296048"/>
                <a:gd name="connsiteY7" fmla="*/ 21733 h 254618"/>
                <a:gd name="connsiteX8" fmla="*/ 9521 w 296048"/>
                <a:gd name="connsiteY8" fmla="*/ 111934 h 2546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96048" h="254618">
                  <a:moveTo>
                    <a:pt x="55669" y="162417"/>
                  </a:moveTo>
                  <a:lnTo>
                    <a:pt x="148014" y="254619"/>
                  </a:lnTo>
                  <a:lnTo>
                    <a:pt x="273268" y="129556"/>
                  </a:lnTo>
                  <a:cubicBezTo>
                    <a:pt x="303224" y="99599"/>
                    <a:pt x="303700" y="51070"/>
                    <a:pt x="274316" y="21733"/>
                  </a:cubicBezTo>
                  <a:cubicBezTo>
                    <a:pt x="244931" y="-7604"/>
                    <a:pt x="196401" y="-7128"/>
                    <a:pt x="166493" y="22780"/>
                  </a:cubicBezTo>
                  <a:lnTo>
                    <a:pt x="148014" y="41259"/>
                  </a:lnTo>
                  <a:lnTo>
                    <a:pt x="129536" y="22780"/>
                  </a:lnTo>
                  <a:cubicBezTo>
                    <a:pt x="99579" y="-7176"/>
                    <a:pt x="51050" y="-7652"/>
                    <a:pt x="21713" y="21733"/>
                  </a:cubicBezTo>
                  <a:cubicBezTo>
                    <a:pt x="-2386" y="45831"/>
                    <a:pt x="-6386" y="82883"/>
                    <a:pt x="9521" y="111934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8" name="Forma livre: Forma 67">
              <a:extLst>
                <a:ext uri="{FF2B5EF4-FFF2-40B4-BE49-F238E27FC236}">
                  <a16:creationId xmlns:a16="http://schemas.microsoft.com/office/drawing/2014/main" id="{825A6CE9-1787-2A37-607C-F613D31F252C}"/>
                </a:ext>
              </a:extLst>
            </p:cNvPr>
            <p:cNvSpPr/>
            <p:nvPr/>
          </p:nvSpPr>
          <p:spPr>
            <a:xfrm>
              <a:off x="772716" y="1074515"/>
              <a:ext cx="219122" cy="90154"/>
            </a:xfrm>
            <a:custGeom>
              <a:avLst/>
              <a:gdLst>
                <a:gd name="connsiteX0" fmla="*/ 0 w 219122"/>
                <a:gd name="connsiteY0" fmla="*/ 59388 h 90154"/>
                <a:gd name="connsiteX1" fmla="*/ 86344 w 219122"/>
                <a:gd name="connsiteY1" fmla="*/ 59388 h 90154"/>
                <a:gd name="connsiteX2" fmla="*/ 106823 w 219122"/>
                <a:gd name="connsiteY2" fmla="*/ 31671 h 90154"/>
                <a:gd name="connsiteX3" fmla="*/ 135588 w 219122"/>
                <a:gd name="connsiteY3" fmla="*/ 90154 h 90154"/>
                <a:gd name="connsiteX4" fmla="*/ 163259 w 219122"/>
                <a:gd name="connsiteY4" fmla="*/ 0 h 90154"/>
                <a:gd name="connsiteX5" fmla="*/ 184833 w 219122"/>
                <a:gd name="connsiteY5" fmla="*/ 59817 h 90154"/>
                <a:gd name="connsiteX6" fmla="*/ 219123 w 219122"/>
                <a:gd name="connsiteY6" fmla="*/ 59817 h 901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19122" h="90154">
                  <a:moveTo>
                    <a:pt x="0" y="59388"/>
                  </a:moveTo>
                  <a:lnTo>
                    <a:pt x="86344" y="59388"/>
                  </a:lnTo>
                  <a:lnTo>
                    <a:pt x="106823" y="31671"/>
                  </a:lnTo>
                  <a:lnTo>
                    <a:pt x="135588" y="90154"/>
                  </a:lnTo>
                  <a:lnTo>
                    <a:pt x="163259" y="0"/>
                  </a:lnTo>
                  <a:lnTo>
                    <a:pt x="184833" y="59817"/>
                  </a:lnTo>
                  <a:lnTo>
                    <a:pt x="219123" y="59817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69" name="Gráfico 2">
            <a:extLst>
              <a:ext uri="{FF2B5EF4-FFF2-40B4-BE49-F238E27FC236}">
                <a16:creationId xmlns:a16="http://schemas.microsoft.com/office/drawing/2014/main" id="{9153AA43-5555-0091-6E56-7CD572846513}"/>
              </a:ext>
            </a:extLst>
          </p:cNvPr>
          <p:cNvGrpSpPr/>
          <p:nvPr/>
        </p:nvGrpSpPr>
        <p:grpSpPr>
          <a:xfrm>
            <a:off x="1402867" y="3125581"/>
            <a:ext cx="289106" cy="289768"/>
            <a:chOff x="1402867" y="3125581"/>
            <a:chExt cx="289106" cy="289768"/>
          </a:xfrm>
          <a:noFill/>
        </p:grpSpPr>
        <p:sp>
          <p:nvSpPr>
            <p:cNvPr id="70" name="Forma livre: Forma 69">
              <a:extLst>
                <a:ext uri="{FF2B5EF4-FFF2-40B4-BE49-F238E27FC236}">
                  <a16:creationId xmlns:a16="http://schemas.microsoft.com/office/drawing/2014/main" id="{74BD6D3A-ADDB-E1AC-3DAC-0C5A45A73FC5}"/>
                </a:ext>
              </a:extLst>
            </p:cNvPr>
            <p:cNvSpPr/>
            <p:nvPr/>
          </p:nvSpPr>
          <p:spPr>
            <a:xfrm>
              <a:off x="1529191" y="3125581"/>
              <a:ext cx="162782" cy="196310"/>
            </a:xfrm>
            <a:custGeom>
              <a:avLst/>
              <a:gdLst>
                <a:gd name="connsiteX0" fmla="*/ 64770 w 162782"/>
                <a:gd name="connsiteY0" fmla="*/ 196263 h 196310"/>
                <a:gd name="connsiteX1" fmla="*/ 131445 w 162782"/>
                <a:gd name="connsiteY1" fmla="*/ 145590 h 196310"/>
                <a:gd name="connsiteX2" fmla="*/ 162782 w 162782"/>
                <a:gd name="connsiteY2" fmla="*/ 81391 h 196310"/>
                <a:gd name="connsiteX3" fmla="*/ 81391 w 162782"/>
                <a:gd name="connsiteY3" fmla="*/ 0 h 196310"/>
                <a:gd name="connsiteX4" fmla="*/ 0 w 162782"/>
                <a:gd name="connsiteY4" fmla="*/ 81391 h 196310"/>
                <a:gd name="connsiteX5" fmla="*/ 64722 w 162782"/>
                <a:gd name="connsiteY5" fmla="*/ 161115 h 196310"/>
                <a:gd name="connsiteX6" fmla="*/ 64722 w 162782"/>
                <a:gd name="connsiteY6" fmla="*/ 196310 h 1963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62782" h="196310">
                  <a:moveTo>
                    <a:pt x="64770" y="196263"/>
                  </a:moveTo>
                  <a:lnTo>
                    <a:pt x="131445" y="145590"/>
                  </a:lnTo>
                  <a:cubicBezTo>
                    <a:pt x="150543" y="130683"/>
                    <a:pt x="162782" y="107490"/>
                    <a:pt x="162782" y="81391"/>
                  </a:cubicBezTo>
                  <a:cubicBezTo>
                    <a:pt x="162782" y="36433"/>
                    <a:pt x="126349" y="0"/>
                    <a:pt x="81391" y="0"/>
                  </a:cubicBezTo>
                  <a:cubicBezTo>
                    <a:pt x="36433" y="0"/>
                    <a:pt x="0" y="36433"/>
                    <a:pt x="0" y="81391"/>
                  </a:cubicBezTo>
                  <a:cubicBezTo>
                    <a:pt x="0" y="120682"/>
                    <a:pt x="27765" y="153448"/>
                    <a:pt x="64722" y="161115"/>
                  </a:cubicBezTo>
                  <a:lnTo>
                    <a:pt x="64722" y="196310"/>
                  </a:ln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71" name="Forma livre: Forma 70">
              <a:extLst>
                <a:ext uri="{FF2B5EF4-FFF2-40B4-BE49-F238E27FC236}">
                  <a16:creationId xmlns:a16="http://schemas.microsoft.com/office/drawing/2014/main" id="{B709285A-E711-05F5-8A1B-31B290AAD1E5}"/>
                </a:ext>
              </a:extLst>
            </p:cNvPr>
            <p:cNvSpPr/>
            <p:nvPr/>
          </p:nvSpPr>
          <p:spPr>
            <a:xfrm>
              <a:off x="1572102" y="3168062"/>
              <a:ext cx="79533" cy="79486"/>
            </a:xfrm>
            <a:custGeom>
              <a:avLst/>
              <a:gdLst>
                <a:gd name="connsiteX0" fmla="*/ 79534 w 79533"/>
                <a:gd name="connsiteY0" fmla="*/ 26289 h 79486"/>
                <a:gd name="connsiteX1" fmla="*/ 53197 w 79533"/>
                <a:gd name="connsiteY1" fmla="*/ 26289 h 79486"/>
                <a:gd name="connsiteX2" fmla="*/ 53197 w 79533"/>
                <a:gd name="connsiteY2" fmla="*/ 0 h 79486"/>
                <a:gd name="connsiteX3" fmla="*/ 26337 w 79533"/>
                <a:gd name="connsiteY3" fmla="*/ 0 h 79486"/>
                <a:gd name="connsiteX4" fmla="*/ 26337 w 79533"/>
                <a:gd name="connsiteY4" fmla="*/ 26289 h 79486"/>
                <a:gd name="connsiteX5" fmla="*/ 0 w 79533"/>
                <a:gd name="connsiteY5" fmla="*/ 26289 h 79486"/>
                <a:gd name="connsiteX6" fmla="*/ 0 w 79533"/>
                <a:gd name="connsiteY6" fmla="*/ 53150 h 79486"/>
                <a:gd name="connsiteX7" fmla="*/ 26337 w 79533"/>
                <a:gd name="connsiteY7" fmla="*/ 53150 h 79486"/>
                <a:gd name="connsiteX8" fmla="*/ 26337 w 79533"/>
                <a:gd name="connsiteY8" fmla="*/ 79486 h 79486"/>
                <a:gd name="connsiteX9" fmla="*/ 53197 w 79533"/>
                <a:gd name="connsiteY9" fmla="*/ 79486 h 79486"/>
                <a:gd name="connsiteX10" fmla="*/ 53197 w 79533"/>
                <a:gd name="connsiteY10" fmla="*/ 53150 h 79486"/>
                <a:gd name="connsiteX11" fmla="*/ 79534 w 79533"/>
                <a:gd name="connsiteY11" fmla="*/ 53150 h 79486"/>
                <a:gd name="connsiteX12" fmla="*/ 79534 w 79533"/>
                <a:gd name="connsiteY12" fmla="*/ 26289 h 794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79533" h="79486">
                  <a:moveTo>
                    <a:pt x="79534" y="26289"/>
                  </a:moveTo>
                  <a:lnTo>
                    <a:pt x="53197" y="26289"/>
                  </a:lnTo>
                  <a:lnTo>
                    <a:pt x="53197" y="0"/>
                  </a:lnTo>
                  <a:lnTo>
                    <a:pt x="26337" y="0"/>
                  </a:lnTo>
                  <a:lnTo>
                    <a:pt x="26337" y="26289"/>
                  </a:lnTo>
                  <a:lnTo>
                    <a:pt x="0" y="26289"/>
                  </a:lnTo>
                  <a:lnTo>
                    <a:pt x="0" y="53150"/>
                  </a:lnTo>
                  <a:lnTo>
                    <a:pt x="26337" y="53150"/>
                  </a:lnTo>
                  <a:lnTo>
                    <a:pt x="26337" y="79486"/>
                  </a:lnTo>
                  <a:lnTo>
                    <a:pt x="53197" y="79486"/>
                  </a:lnTo>
                  <a:lnTo>
                    <a:pt x="53197" y="53150"/>
                  </a:lnTo>
                  <a:lnTo>
                    <a:pt x="79534" y="53150"/>
                  </a:lnTo>
                  <a:lnTo>
                    <a:pt x="79534" y="26289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72" name="Forma livre: Forma 71">
              <a:extLst>
                <a:ext uri="{FF2B5EF4-FFF2-40B4-BE49-F238E27FC236}">
                  <a16:creationId xmlns:a16="http://schemas.microsoft.com/office/drawing/2014/main" id="{60BDFAE4-C986-2007-225A-157B9171CA9E}"/>
                </a:ext>
              </a:extLst>
            </p:cNvPr>
            <p:cNvSpPr/>
            <p:nvPr/>
          </p:nvSpPr>
          <p:spPr>
            <a:xfrm>
              <a:off x="1402867" y="3159082"/>
              <a:ext cx="193221" cy="256267"/>
            </a:xfrm>
            <a:custGeom>
              <a:avLst/>
              <a:gdLst>
                <a:gd name="connsiteX0" fmla="*/ 154709 w 193221"/>
                <a:gd name="connsiteY0" fmla="*/ 177858 h 256267"/>
                <a:gd name="connsiteX1" fmla="*/ 137802 w 193221"/>
                <a:gd name="connsiteY1" fmla="*/ 173191 h 256267"/>
                <a:gd name="connsiteX2" fmla="*/ 110370 w 193221"/>
                <a:gd name="connsiteY2" fmla="*/ 181430 h 256267"/>
                <a:gd name="connsiteX3" fmla="*/ 79747 w 193221"/>
                <a:gd name="connsiteY3" fmla="*/ 139091 h 256267"/>
                <a:gd name="connsiteX4" fmla="*/ 79747 w 193221"/>
                <a:gd name="connsiteY4" fmla="*/ 139091 h 256267"/>
                <a:gd name="connsiteX5" fmla="*/ 79604 w 193221"/>
                <a:gd name="connsiteY5" fmla="*/ 138853 h 256267"/>
                <a:gd name="connsiteX6" fmla="*/ 79461 w 193221"/>
                <a:gd name="connsiteY6" fmla="*/ 138615 h 256267"/>
                <a:gd name="connsiteX7" fmla="*/ 79461 w 193221"/>
                <a:gd name="connsiteY7" fmla="*/ 138615 h 256267"/>
                <a:gd name="connsiteX8" fmla="*/ 53553 w 193221"/>
                <a:gd name="connsiteY8" fmla="*/ 93228 h 256267"/>
                <a:gd name="connsiteX9" fmla="*/ 72413 w 193221"/>
                <a:gd name="connsiteY9" fmla="*/ 71654 h 256267"/>
                <a:gd name="connsiteX10" fmla="*/ 75127 w 193221"/>
                <a:gd name="connsiteY10" fmla="*/ 54366 h 256267"/>
                <a:gd name="connsiteX11" fmla="*/ 56839 w 193221"/>
                <a:gd name="connsiteY11" fmla="*/ 7885 h 256267"/>
                <a:gd name="connsiteX12" fmla="*/ 47409 w 193221"/>
                <a:gd name="connsiteY12" fmla="*/ 74 h 256267"/>
                <a:gd name="connsiteX13" fmla="*/ 13500 w 193221"/>
                <a:gd name="connsiteY13" fmla="*/ 14695 h 256267"/>
                <a:gd name="connsiteX14" fmla="*/ 261 w 193221"/>
                <a:gd name="connsiteY14" fmla="*/ 32078 h 256267"/>
                <a:gd name="connsiteX15" fmla="*/ 46124 w 193221"/>
                <a:gd name="connsiteY15" fmla="*/ 160380 h 256267"/>
                <a:gd name="connsiteX16" fmla="*/ 144041 w 193221"/>
                <a:gd name="connsiteY16" fmla="*/ 255153 h 256267"/>
                <a:gd name="connsiteX17" fmla="*/ 165329 w 193221"/>
                <a:gd name="connsiteY17" fmla="*/ 250343 h 256267"/>
                <a:gd name="connsiteX18" fmla="*/ 192666 w 193221"/>
                <a:gd name="connsiteY18" fmla="*/ 225531 h 256267"/>
                <a:gd name="connsiteX19" fmla="*/ 189475 w 193221"/>
                <a:gd name="connsiteY19" fmla="*/ 213720 h 256267"/>
                <a:gd name="connsiteX20" fmla="*/ 154709 w 193221"/>
                <a:gd name="connsiteY20" fmla="*/ 177858 h 2562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93221" h="256267">
                  <a:moveTo>
                    <a:pt x="154709" y="177858"/>
                  </a:moveTo>
                  <a:cubicBezTo>
                    <a:pt x="154709" y="177858"/>
                    <a:pt x="148994" y="169857"/>
                    <a:pt x="137802" y="173191"/>
                  </a:cubicBezTo>
                  <a:lnTo>
                    <a:pt x="110370" y="181430"/>
                  </a:lnTo>
                  <a:cubicBezTo>
                    <a:pt x="110370" y="181430"/>
                    <a:pt x="90177" y="156808"/>
                    <a:pt x="79747" y="139091"/>
                  </a:cubicBezTo>
                  <a:lnTo>
                    <a:pt x="79747" y="139091"/>
                  </a:lnTo>
                  <a:cubicBezTo>
                    <a:pt x="79747" y="139091"/>
                    <a:pt x="79652" y="138948"/>
                    <a:pt x="79604" y="138853"/>
                  </a:cubicBezTo>
                  <a:cubicBezTo>
                    <a:pt x="79556" y="138758"/>
                    <a:pt x="79509" y="138710"/>
                    <a:pt x="79461" y="138615"/>
                  </a:cubicBezTo>
                  <a:lnTo>
                    <a:pt x="79461" y="138615"/>
                  </a:lnTo>
                  <a:cubicBezTo>
                    <a:pt x="67602" y="121803"/>
                    <a:pt x="53553" y="93228"/>
                    <a:pt x="53553" y="93228"/>
                  </a:cubicBezTo>
                  <a:lnTo>
                    <a:pt x="72413" y="71654"/>
                  </a:lnTo>
                  <a:cubicBezTo>
                    <a:pt x="80080" y="62844"/>
                    <a:pt x="75127" y="54366"/>
                    <a:pt x="75127" y="54366"/>
                  </a:cubicBezTo>
                  <a:lnTo>
                    <a:pt x="56839" y="7885"/>
                  </a:lnTo>
                  <a:cubicBezTo>
                    <a:pt x="53458" y="74"/>
                    <a:pt x="47409" y="74"/>
                    <a:pt x="47409" y="74"/>
                  </a:cubicBezTo>
                  <a:cubicBezTo>
                    <a:pt x="39932" y="-1212"/>
                    <a:pt x="13500" y="14695"/>
                    <a:pt x="13500" y="14695"/>
                  </a:cubicBezTo>
                  <a:cubicBezTo>
                    <a:pt x="-311" y="22505"/>
                    <a:pt x="261" y="32078"/>
                    <a:pt x="261" y="32078"/>
                  </a:cubicBezTo>
                  <a:cubicBezTo>
                    <a:pt x="-3883" y="88990"/>
                    <a:pt x="42695" y="154808"/>
                    <a:pt x="46124" y="160380"/>
                  </a:cubicBezTo>
                  <a:cubicBezTo>
                    <a:pt x="50934" y="167238"/>
                    <a:pt x="90510" y="235437"/>
                    <a:pt x="144041" y="255153"/>
                  </a:cubicBezTo>
                  <a:cubicBezTo>
                    <a:pt x="144041" y="255153"/>
                    <a:pt x="152518" y="259725"/>
                    <a:pt x="165329" y="250343"/>
                  </a:cubicBezTo>
                  <a:cubicBezTo>
                    <a:pt x="165329" y="250343"/>
                    <a:pt x="190713" y="232865"/>
                    <a:pt x="192666" y="225531"/>
                  </a:cubicBezTo>
                  <a:cubicBezTo>
                    <a:pt x="192666" y="225531"/>
                    <a:pt x="195190" y="220006"/>
                    <a:pt x="189475" y="213720"/>
                  </a:cubicBezTo>
                  <a:lnTo>
                    <a:pt x="154709" y="177858"/>
                  </a:lnTo>
                  <a:close/>
                </a:path>
              </a:pathLst>
            </a:custGeom>
            <a:noFill/>
            <a:ln w="6350" cap="sq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73" name="Gráfico 2">
            <a:extLst>
              <a:ext uri="{FF2B5EF4-FFF2-40B4-BE49-F238E27FC236}">
                <a16:creationId xmlns:a16="http://schemas.microsoft.com/office/drawing/2014/main" id="{2856E250-655E-5038-A3B4-326617DBA00D}"/>
              </a:ext>
            </a:extLst>
          </p:cNvPr>
          <p:cNvGrpSpPr/>
          <p:nvPr/>
        </p:nvGrpSpPr>
        <p:grpSpPr>
          <a:xfrm>
            <a:off x="1392127" y="2578608"/>
            <a:ext cx="310610" cy="310419"/>
            <a:chOff x="1392127" y="2578608"/>
            <a:chExt cx="310610" cy="310419"/>
          </a:xfrm>
        </p:grpSpPr>
        <p:sp>
          <p:nvSpPr>
            <p:cNvPr id="74" name="Forma livre: Forma 73">
              <a:extLst>
                <a:ext uri="{FF2B5EF4-FFF2-40B4-BE49-F238E27FC236}">
                  <a16:creationId xmlns:a16="http://schemas.microsoft.com/office/drawing/2014/main" id="{8FE9B33C-786A-CE1E-19EF-DA06825C3A6D}"/>
                </a:ext>
              </a:extLst>
            </p:cNvPr>
            <p:cNvSpPr/>
            <p:nvPr/>
          </p:nvSpPr>
          <p:spPr>
            <a:xfrm>
              <a:off x="1488805" y="2726245"/>
              <a:ext cx="117014" cy="67055"/>
            </a:xfrm>
            <a:custGeom>
              <a:avLst/>
              <a:gdLst>
                <a:gd name="connsiteX0" fmla="*/ 117015 w 117014"/>
                <a:gd name="connsiteY0" fmla="*/ 0 h 67055"/>
                <a:gd name="connsiteX1" fmla="*/ 49959 w 117014"/>
                <a:gd name="connsiteY1" fmla="*/ 67056 h 67055"/>
                <a:gd name="connsiteX2" fmla="*/ 0 w 117014"/>
                <a:gd name="connsiteY2" fmla="*/ 17050 h 670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17014" h="67055">
                  <a:moveTo>
                    <a:pt x="117015" y="0"/>
                  </a:moveTo>
                  <a:lnTo>
                    <a:pt x="49959" y="67056"/>
                  </a:lnTo>
                  <a:lnTo>
                    <a:pt x="0" y="17050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75" name="Gráfico 2">
              <a:extLst>
                <a:ext uri="{FF2B5EF4-FFF2-40B4-BE49-F238E27FC236}">
                  <a16:creationId xmlns:a16="http://schemas.microsoft.com/office/drawing/2014/main" id="{D0DC1BDF-ECFE-FBE2-A82E-7B9B84848F3E}"/>
                </a:ext>
              </a:extLst>
            </p:cNvPr>
            <p:cNvGrpSpPr/>
            <p:nvPr/>
          </p:nvGrpSpPr>
          <p:grpSpPr>
            <a:xfrm>
              <a:off x="1440609" y="2627042"/>
              <a:ext cx="213645" cy="213598"/>
              <a:chOff x="1440609" y="2627042"/>
              <a:chExt cx="213645" cy="213598"/>
            </a:xfrm>
            <a:solidFill>
              <a:srgbClr val="394553"/>
            </a:solidFill>
          </p:grpSpPr>
          <p:grpSp>
            <p:nvGrpSpPr>
              <p:cNvPr id="76" name="Gráfico 2">
                <a:extLst>
                  <a:ext uri="{FF2B5EF4-FFF2-40B4-BE49-F238E27FC236}">
                    <a16:creationId xmlns:a16="http://schemas.microsoft.com/office/drawing/2014/main" id="{9CBE29D4-10C4-0E0C-B936-1ACE15900F6E}"/>
                  </a:ext>
                </a:extLst>
              </p:cNvPr>
              <p:cNvGrpSpPr/>
              <p:nvPr/>
            </p:nvGrpSpPr>
            <p:grpSpPr>
              <a:xfrm>
                <a:off x="1440609" y="2773679"/>
                <a:ext cx="66960" cy="66960"/>
                <a:chOff x="1440609" y="2773679"/>
                <a:chExt cx="66960" cy="66960"/>
              </a:xfrm>
              <a:solidFill>
                <a:srgbClr val="394553"/>
              </a:solidFill>
            </p:grpSpPr>
            <p:grpSp>
              <p:nvGrpSpPr>
                <p:cNvPr id="77" name="Gráfico 2">
                  <a:extLst>
                    <a:ext uri="{FF2B5EF4-FFF2-40B4-BE49-F238E27FC236}">
                      <a16:creationId xmlns:a16="http://schemas.microsoft.com/office/drawing/2014/main" id="{E5F6D3FD-00E2-8F75-CC80-721829AF68ED}"/>
                    </a:ext>
                  </a:extLst>
                </p:cNvPr>
                <p:cNvGrpSpPr/>
                <p:nvPr/>
              </p:nvGrpSpPr>
              <p:grpSpPr>
                <a:xfrm>
                  <a:off x="1454182" y="2773679"/>
                  <a:ext cx="53387" cy="53387"/>
                  <a:chOff x="1454182" y="2773679"/>
                  <a:chExt cx="53387" cy="53387"/>
                </a:xfrm>
                <a:solidFill>
                  <a:srgbClr val="394553"/>
                </a:solidFill>
              </p:grpSpPr>
              <p:sp>
                <p:nvSpPr>
                  <p:cNvPr id="78" name="Forma livre: Forma 77">
                    <a:extLst>
                      <a:ext uri="{FF2B5EF4-FFF2-40B4-BE49-F238E27FC236}">
                        <a16:creationId xmlns:a16="http://schemas.microsoft.com/office/drawing/2014/main" id="{8B989150-A142-9DCE-F1D5-FB92DCE551FD}"/>
                      </a:ext>
                    </a:extLst>
                  </p:cNvPr>
                  <p:cNvSpPr/>
                  <p:nvPr/>
                </p:nvSpPr>
                <p:spPr>
                  <a:xfrm>
                    <a:off x="1454182" y="2773679"/>
                    <a:ext cx="7429" cy="7429"/>
                  </a:xfrm>
                  <a:custGeom>
                    <a:avLst/>
                    <a:gdLst>
                      <a:gd name="connsiteX0" fmla="*/ 7429 w 7429"/>
                      <a:gd name="connsiteY0" fmla="*/ 3715 h 7429"/>
                      <a:gd name="connsiteX1" fmla="*/ 3715 w 7429"/>
                      <a:gd name="connsiteY1" fmla="*/ 7429 h 7429"/>
                      <a:gd name="connsiteX2" fmla="*/ 0 w 7429"/>
                      <a:gd name="connsiteY2" fmla="*/ 3715 h 7429"/>
                      <a:gd name="connsiteX3" fmla="*/ 3715 w 7429"/>
                      <a:gd name="connsiteY3" fmla="*/ 0 h 7429"/>
                      <a:gd name="connsiteX4" fmla="*/ 7429 w 7429"/>
                      <a:gd name="connsiteY4" fmla="*/ 3715 h 742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7429" h="7429">
                        <a:moveTo>
                          <a:pt x="7429" y="3715"/>
                        </a:moveTo>
                        <a:cubicBezTo>
                          <a:pt x="7429" y="5763"/>
                          <a:pt x="5763" y="7429"/>
                          <a:pt x="3715" y="7429"/>
                        </a:cubicBezTo>
                        <a:cubicBezTo>
                          <a:pt x="1667" y="7429"/>
                          <a:pt x="0" y="5763"/>
                          <a:pt x="0" y="3715"/>
                        </a:cubicBezTo>
                        <a:cubicBezTo>
                          <a:pt x="0" y="1667"/>
                          <a:pt x="1667" y="0"/>
                          <a:pt x="3715" y="0"/>
                        </a:cubicBezTo>
                        <a:cubicBezTo>
                          <a:pt x="5763" y="0"/>
                          <a:pt x="7429" y="1667"/>
                          <a:pt x="7429" y="3715"/>
                        </a:cubicBezTo>
                        <a:close/>
                      </a:path>
                    </a:pathLst>
                  </a:custGeom>
                  <a:solidFill>
                    <a:srgbClr val="394553"/>
                  </a:solidFill>
                  <a:ln w="6350" cap="flat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79" name="Forma livre: Forma 78">
                    <a:extLst>
                      <a:ext uri="{FF2B5EF4-FFF2-40B4-BE49-F238E27FC236}">
                        <a16:creationId xmlns:a16="http://schemas.microsoft.com/office/drawing/2014/main" id="{0F2966E6-0793-9614-06EA-24993D1944F4}"/>
                      </a:ext>
                    </a:extLst>
                  </p:cNvPr>
                  <p:cNvSpPr/>
                  <p:nvPr/>
                </p:nvSpPr>
                <p:spPr>
                  <a:xfrm>
                    <a:off x="1477185" y="2796682"/>
                    <a:ext cx="7429" cy="7429"/>
                  </a:xfrm>
                  <a:custGeom>
                    <a:avLst/>
                    <a:gdLst>
                      <a:gd name="connsiteX0" fmla="*/ 7429 w 7429"/>
                      <a:gd name="connsiteY0" fmla="*/ 3715 h 7429"/>
                      <a:gd name="connsiteX1" fmla="*/ 3715 w 7429"/>
                      <a:gd name="connsiteY1" fmla="*/ 7429 h 7429"/>
                      <a:gd name="connsiteX2" fmla="*/ 0 w 7429"/>
                      <a:gd name="connsiteY2" fmla="*/ 3715 h 7429"/>
                      <a:gd name="connsiteX3" fmla="*/ 3715 w 7429"/>
                      <a:gd name="connsiteY3" fmla="*/ 0 h 7429"/>
                      <a:gd name="connsiteX4" fmla="*/ 7429 w 7429"/>
                      <a:gd name="connsiteY4" fmla="*/ 3715 h 742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7429" h="7429">
                        <a:moveTo>
                          <a:pt x="7429" y="3715"/>
                        </a:moveTo>
                        <a:cubicBezTo>
                          <a:pt x="7429" y="5763"/>
                          <a:pt x="5763" y="7429"/>
                          <a:pt x="3715" y="7429"/>
                        </a:cubicBezTo>
                        <a:cubicBezTo>
                          <a:pt x="1667" y="7429"/>
                          <a:pt x="0" y="5763"/>
                          <a:pt x="0" y="3715"/>
                        </a:cubicBezTo>
                        <a:cubicBezTo>
                          <a:pt x="0" y="1667"/>
                          <a:pt x="1667" y="0"/>
                          <a:pt x="3715" y="0"/>
                        </a:cubicBezTo>
                        <a:cubicBezTo>
                          <a:pt x="5763" y="0"/>
                          <a:pt x="7429" y="1667"/>
                          <a:pt x="7429" y="3715"/>
                        </a:cubicBezTo>
                        <a:close/>
                      </a:path>
                    </a:pathLst>
                  </a:custGeom>
                  <a:solidFill>
                    <a:srgbClr val="394553"/>
                  </a:solidFill>
                  <a:ln w="6350" cap="flat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80" name="Forma livre: Forma 79">
                    <a:extLst>
                      <a:ext uri="{FF2B5EF4-FFF2-40B4-BE49-F238E27FC236}">
                        <a16:creationId xmlns:a16="http://schemas.microsoft.com/office/drawing/2014/main" id="{DACDA1EB-BE22-0FCB-CDAE-8BB63C9D0195}"/>
                      </a:ext>
                    </a:extLst>
                  </p:cNvPr>
                  <p:cNvSpPr/>
                  <p:nvPr/>
                </p:nvSpPr>
                <p:spPr>
                  <a:xfrm>
                    <a:off x="1500140" y="2819638"/>
                    <a:ext cx="7429" cy="7429"/>
                  </a:xfrm>
                  <a:custGeom>
                    <a:avLst/>
                    <a:gdLst>
                      <a:gd name="connsiteX0" fmla="*/ 7429 w 7429"/>
                      <a:gd name="connsiteY0" fmla="*/ 3715 h 7429"/>
                      <a:gd name="connsiteX1" fmla="*/ 3715 w 7429"/>
                      <a:gd name="connsiteY1" fmla="*/ 7429 h 7429"/>
                      <a:gd name="connsiteX2" fmla="*/ 0 w 7429"/>
                      <a:gd name="connsiteY2" fmla="*/ 3715 h 7429"/>
                      <a:gd name="connsiteX3" fmla="*/ 3715 w 7429"/>
                      <a:gd name="connsiteY3" fmla="*/ 0 h 7429"/>
                      <a:gd name="connsiteX4" fmla="*/ 7429 w 7429"/>
                      <a:gd name="connsiteY4" fmla="*/ 3715 h 742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7429" h="7429">
                        <a:moveTo>
                          <a:pt x="7429" y="3715"/>
                        </a:moveTo>
                        <a:cubicBezTo>
                          <a:pt x="7429" y="5763"/>
                          <a:pt x="5763" y="7429"/>
                          <a:pt x="3715" y="7429"/>
                        </a:cubicBezTo>
                        <a:cubicBezTo>
                          <a:pt x="1667" y="7429"/>
                          <a:pt x="0" y="5763"/>
                          <a:pt x="0" y="3715"/>
                        </a:cubicBezTo>
                        <a:cubicBezTo>
                          <a:pt x="0" y="1667"/>
                          <a:pt x="1667" y="0"/>
                          <a:pt x="3715" y="0"/>
                        </a:cubicBezTo>
                        <a:cubicBezTo>
                          <a:pt x="5763" y="0"/>
                          <a:pt x="7429" y="1667"/>
                          <a:pt x="7429" y="3715"/>
                        </a:cubicBezTo>
                        <a:close/>
                      </a:path>
                    </a:pathLst>
                  </a:custGeom>
                  <a:solidFill>
                    <a:srgbClr val="394553"/>
                  </a:solidFill>
                  <a:ln w="6350" cap="flat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  <p:grpSp>
              <p:nvGrpSpPr>
                <p:cNvPr id="81" name="Gráfico 2">
                  <a:extLst>
                    <a:ext uri="{FF2B5EF4-FFF2-40B4-BE49-F238E27FC236}">
                      <a16:creationId xmlns:a16="http://schemas.microsoft.com/office/drawing/2014/main" id="{16956BA5-5256-2395-F8F2-5FCACFBD8B9C}"/>
                    </a:ext>
                  </a:extLst>
                </p:cNvPr>
                <p:cNvGrpSpPr/>
                <p:nvPr/>
              </p:nvGrpSpPr>
              <p:grpSpPr>
                <a:xfrm>
                  <a:off x="1440609" y="2810208"/>
                  <a:ext cx="30432" cy="30432"/>
                  <a:chOff x="1440609" y="2810208"/>
                  <a:chExt cx="30432" cy="30432"/>
                </a:xfrm>
                <a:solidFill>
                  <a:srgbClr val="394553"/>
                </a:solidFill>
              </p:grpSpPr>
              <p:sp>
                <p:nvSpPr>
                  <p:cNvPr id="82" name="Forma livre: Forma 81">
                    <a:extLst>
                      <a:ext uri="{FF2B5EF4-FFF2-40B4-BE49-F238E27FC236}">
                        <a16:creationId xmlns:a16="http://schemas.microsoft.com/office/drawing/2014/main" id="{218E0397-15CE-E965-0CD9-4B91AD5312D3}"/>
                      </a:ext>
                    </a:extLst>
                  </p:cNvPr>
                  <p:cNvSpPr/>
                  <p:nvPr/>
                </p:nvSpPr>
                <p:spPr>
                  <a:xfrm>
                    <a:off x="1440609" y="2810208"/>
                    <a:ext cx="7429" cy="7429"/>
                  </a:xfrm>
                  <a:custGeom>
                    <a:avLst/>
                    <a:gdLst>
                      <a:gd name="connsiteX0" fmla="*/ 7429 w 7429"/>
                      <a:gd name="connsiteY0" fmla="*/ 3715 h 7429"/>
                      <a:gd name="connsiteX1" fmla="*/ 3715 w 7429"/>
                      <a:gd name="connsiteY1" fmla="*/ 7429 h 7429"/>
                      <a:gd name="connsiteX2" fmla="*/ 0 w 7429"/>
                      <a:gd name="connsiteY2" fmla="*/ 3715 h 7429"/>
                      <a:gd name="connsiteX3" fmla="*/ 3715 w 7429"/>
                      <a:gd name="connsiteY3" fmla="*/ 0 h 7429"/>
                      <a:gd name="connsiteX4" fmla="*/ 7429 w 7429"/>
                      <a:gd name="connsiteY4" fmla="*/ 3715 h 742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7429" h="7429">
                        <a:moveTo>
                          <a:pt x="7429" y="3715"/>
                        </a:moveTo>
                        <a:cubicBezTo>
                          <a:pt x="7429" y="5763"/>
                          <a:pt x="5763" y="7429"/>
                          <a:pt x="3715" y="7429"/>
                        </a:cubicBezTo>
                        <a:cubicBezTo>
                          <a:pt x="1667" y="7429"/>
                          <a:pt x="0" y="5763"/>
                          <a:pt x="0" y="3715"/>
                        </a:cubicBezTo>
                        <a:cubicBezTo>
                          <a:pt x="0" y="1667"/>
                          <a:pt x="1667" y="0"/>
                          <a:pt x="3715" y="0"/>
                        </a:cubicBezTo>
                        <a:cubicBezTo>
                          <a:pt x="5763" y="0"/>
                          <a:pt x="7429" y="1667"/>
                          <a:pt x="7429" y="3715"/>
                        </a:cubicBezTo>
                        <a:close/>
                      </a:path>
                    </a:pathLst>
                  </a:custGeom>
                  <a:solidFill>
                    <a:srgbClr val="394553"/>
                  </a:solidFill>
                  <a:ln w="6350" cap="flat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83" name="Forma livre: Forma 82">
                    <a:extLst>
                      <a:ext uri="{FF2B5EF4-FFF2-40B4-BE49-F238E27FC236}">
                        <a16:creationId xmlns:a16="http://schemas.microsoft.com/office/drawing/2014/main" id="{CF7F1BB9-934E-E8D3-2E8A-FD86B3A76097}"/>
                      </a:ext>
                    </a:extLst>
                  </p:cNvPr>
                  <p:cNvSpPr/>
                  <p:nvPr/>
                </p:nvSpPr>
                <p:spPr>
                  <a:xfrm>
                    <a:off x="1463612" y="2833211"/>
                    <a:ext cx="7429" cy="7429"/>
                  </a:xfrm>
                  <a:custGeom>
                    <a:avLst/>
                    <a:gdLst>
                      <a:gd name="connsiteX0" fmla="*/ 7429 w 7429"/>
                      <a:gd name="connsiteY0" fmla="*/ 3715 h 7429"/>
                      <a:gd name="connsiteX1" fmla="*/ 3715 w 7429"/>
                      <a:gd name="connsiteY1" fmla="*/ 7429 h 7429"/>
                      <a:gd name="connsiteX2" fmla="*/ 0 w 7429"/>
                      <a:gd name="connsiteY2" fmla="*/ 3715 h 7429"/>
                      <a:gd name="connsiteX3" fmla="*/ 3715 w 7429"/>
                      <a:gd name="connsiteY3" fmla="*/ 0 h 7429"/>
                      <a:gd name="connsiteX4" fmla="*/ 7429 w 7429"/>
                      <a:gd name="connsiteY4" fmla="*/ 3715 h 742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7429" h="7429">
                        <a:moveTo>
                          <a:pt x="7429" y="3715"/>
                        </a:moveTo>
                        <a:cubicBezTo>
                          <a:pt x="7429" y="5763"/>
                          <a:pt x="5763" y="7429"/>
                          <a:pt x="3715" y="7429"/>
                        </a:cubicBezTo>
                        <a:cubicBezTo>
                          <a:pt x="1667" y="7429"/>
                          <a:pt x="0" y="5763"/>
                          <a:pt x="0" y="3715"/>
                        </a:cubicBezTo>
                        <a:cubicBezTo>
                          <a:pt x="0" y="1667"/>
                          <a:pt x="1667" y="0"/>
                          <a:pt x="3715" y="0"/>
                        </a:cubicBezTo>
                        <a:cubicBezTo>
                          <a:pt x="5763" y="0"/>
                          <a:pt x="7429" y="1667"/>
                          <a:pt x="7429" y="3715"/>
                        </a:cubicBezTo>
                        <a:close/>
                      </a:path>
                    </a:pathLst>
                  </a:custGeom>
                  <a:solidFill>
                    <a:srgbClr val="394553"/>
                  </a:solidFill>
                  <a:ln w="6350" cap="flat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</p:grpSp>
          <p:grpSp>
            <p:nvGrpSpPr>
              <p:cNvPr id="84" name="Gráfico 2">
                <a:extLst>
                  <a:ext uri="{FF2B5EF4-FFF2-40B4-BE49-F238E27FC236}">
                    <a16:creationId xmlns:a16="http://schemas.microsoft.com/office/drawing/2014/main" id="{5976147A-AA5C-51C1-3D35-59680A52698F}"/>
                  </a:ext>
                </a:extLst>
              </p:cNvPr>
              <p:cNvGrpSpPr/>
              <p:nvPr/>
            </p:nvGrpSpPr>
            <p:grpSpPr>
              <a:xfrm>
                <a:off x="1587294" y="2627042"/>
                <a:ext cx="66960" cy="66913"/>
                <a:chOff x="1587294" y="2627042"/>
                <a:chExt cx="66960" cy="66913"/>
              </a:xfrm>
              <a:solidFill>
                <a:srgbClr val="394553"/>
              </a:solidFill>
            </p:grpSpPr>
            <p:grpSp>
              <p:nvGrpSpPr>
                <p:cNvPr id="85" name="Gráfico 2">
                  <a:extLst>
                    <a:ext uri="{FF2B5EF4-FFF2-40B4-BE49-F238E27FC236}">
                      <a16:creationId xmlns:a16="http://schemas.microsoft.com/office/drawing/2014/main" id="{6A2EEA1C-8634-B59B-9F10-24F3FB6DE111}"/>
                    </a:ext>
                  </a:extLst>
                </p:cNvPr>
                <p:cNvGrpSpPr/>
                <p:nvPr/>
              </p:nvGrpSpPr>
              <p:grpSpPr>
                <a:xfrm>
                  <a:off x="1587294" y="2640568"/>
                  <a:ext cx="53387" cy="53387"/>
                  <a:chOff x="1587294" y="2640568"/>
                  <a:chExt cx="53387" cy="53387"/>
                </a:xfrm>
                <a:solidFill>
                  <a:srgbClr val="394553"/>
                </a:solidFill>
              </p:grpSpPr>
              <p:sp>
                <p:nvSpPr>
                  <p:cNvPr id="86" name="Forma livre: Forma 85">
                    <a:extLst>
                      <a:ext uri="{FF2B5EF4-FFF2-40B4-BE49-F238E27FC236}">
                        <a16:creationId xmlns:a16="http://schemas.microsoft.com/office/drawing/2014/main" id="{596DC159-C94A-991D-3085-72C9FA93EB28}"/>
                      </a:ext>
                    </a:extLst>
                  </p:cNvPr>
                  <p:cNvSpPr/>
                  <p:nvPr/>
                </p:nvSpPr>
                <p:spPr>
                  <a:xfrm>
                    <a:off x="1633252" y="2686526"/>
                    <a:ext cx="7429" cy="7429"/>
                  </a:xfrm>
                  <a:custGeom>
                    <a:avLst/>
                    <a:gdLst>
                      <a:gd name="connsiteX0" fmla="*/ 0 w 7429"/>
                      <a:gd name="connsiteY0" fmla="*/ 3715 h 7429"/>
                      <a:gd name="connsiteX1" fmla="*/ 3715 w 7429"/>
                      <a:gd name="connsiteY1" fmla="*/ 0 h 7429"/>
                      <a:gd name="connsiteX2" fmla="*/ 7429 w 7429"/>
                      <a:gd name="connsiteY2" fmla="*/ 3715 h 7429"/>
                      <a:gd name="connsiteX3" fmla="*/ 3715 w 7429"/>
                      <a:gd name="connsiteY3" fmla="*/ 7429 h 7429"/>
                      <a:gd name="connsiteX4" fmla="*/ 0 w 7429"/>
                      <a:gd name="connsiteY4" fmla="*/ 3715 h 742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7429" h="7429">
                        <a:moveTo>
                          <a:pt x="0" y="3715"/>
                        </a:moveTo>
                        <a:cubicBezTo>
                          <a:pt x="0" y="1667"/>
                          <a:pt x="1667" y="0"/>
                          <a:pt x="3715" y="0"/>
                        </a:cubicBezTo>
                        <a:cubicBezTo>
                          <a:pt x="5763" y="0"/>
                          <a:pt x="7429" y="1667"/>
                          <a:pt x="7429" y="3715"/>
                        </a:cubicBezTo>
                        <a:cubicBezTo>
                          <a:pt x="7429" y="5763"/>
                          <a:pt x="5763" y="7429"/>
                          <a:pt x="3715" y="7429"/>
                        </a:cubicBezTo>
                        <a:cubicBezTo>
                          <a:pt x="1667" y="7429"/>
                          <a:pt x="0" y="5763"/>
                          <a:pt x="0" y="3715"/>
                        </a:cubicBezTo>
                        <a:close/>
                      </a:path>
                    </a:pathLst>
                  </a:custGeom>
                  <a:solidFill>
                    <a:srgbClr val="394553"/>
                  </a:solidFill>
                  <a:ln w="6350" cap="flat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87" name="Forma livre: Forma 86">
                    <a:extLst>
                      <a:ext uri="{FF2B5EF4-FFF2-40B4-BE49-F238E27FC236}">
                        <a16:creationId xmlns:a16="http://schemas.microsoft.com/office/drawing/2014/main" id="{B337188C-B8D1-32A9-F2D5-364EB8E59B1A}"/>
                      </a:ext>
                    </a:extLst>
                  </p:cNvPr>
                  <p:cNvSpPr/>
                  <p:nvPr/>
                </p:nvSpPr>
                <p:spPr>
                  <a:xfrm>
                    <a:off x="1610297" y="2663570"/>
                    <a:ext cx="7429" cy="7429"/>
                  </a:xfrm>
                  <a:custGeom>
                    <a:avLst/>
                    <a:gdLst>
                      <a:gd name="connsiteX0" fmla="*/ 0 w 7429"/>
                      <a:gd name="connsiteY0" fmla="*/ 3715 h 7429"/>
                      <a:gd name="connsiteX1" fmla="*/ 3715 w 7429"/>
                      <a:gd name="connsiteY1" fmla="*/ 0 h 7429"/>
                      <a:gd name="connsiteX2" fmla="*/ 7429 w 7429"/>
                      <a:gd name="connsiteY2" fmla="*/ 3715 h 7429"/>
                      <a:gd name="connsiteX3" fmla="*/ 3715 w 7429"/>
                      <a:gd name="connsiteY3" fmla="*/ 7429 h 7429"/>
                      <a:gd name="connsiteX4" fmla="*/ 0 w 7429"/>
                      <a:gd name="connsiteY4" fmla="*/ 3715 h 742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7429" h="7429">
                        <a:moveTo>
                          <a:pt x="0" y="3715"/>
                        </a:moveTo>
                        <a:cubicBezTo>
                          <a:pt x="0" y="1667"/>
                          <a:pt x="1667" y="0"/>
                          <a:pt x="3715" y="0"/>
                        </a:cubicBezTo>
                        <a:cubicBezTo>
                          <a:pt x="5763" y="0"/>
                          <a:pt x="7429" y="1667"/>
                          <a:pt x="7429" y="3715"/>
                        </a:cubicBezTo>
                        <a:cubicBezTo>
                          <a:pt x="7429" y="5763"/>
                          <a:pt x="5763" y="7429"/>
                          <a:pt x="3715" y="7429"/>
                        </a:cubicBezTo>
                        <a:cubicBezTo>
                          <a:pt x="1667" y="7429"/>
                          <a:pt x="0" y="5763"/>
                          <a:pt x="0" y="3715"/>
                        </a:cubicBezTo>
                        <a:close/>
                      </a:path>
                    </a:pathLst>
                  </a:custGeom>
                  <a:solidFill>
                    <a:srgbClr val="394553"/>
                  </a:solidFill>
                  <a:ln w="6350" cap="flat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88" name="Forma livre: Forma 87">
                    <a:extLst>
                      <a:ext uri="{FF2B5EF4-FFF2-40B4-BE49-F238E27FC236}">
                        <a16:creationId xmlns:a16="http://schemas.microsoft.com/office/drawing/2014/main" id="{7D3AC58B-1473-0864-DE5A-EE9AD3CA69C8}"/>
                      </a:ext>
                    </a:extLst>
                  </p:cNvPr>
                  <p:cNvSpPr/>
                  <p:nvPr/>
                </p:nvSpPr>
                <p:spPr>
                  <a:xfrm>
                    <a:off x="1587294" y="2640568"/>
                    <a:ext cx="7429" cy="7429"/>
                  </a:xfrm>
                  <a:custGeom>
                    <a:avLst/>
                    <a:gdLst>
                      <a:gd name="connsiteX0" fmla="*/ 0 w 7429"/>
                      <a:gd name="connsiteY0" fmla="*/ 3715 h 7429"/>
                      <a:gd name="connsiteX1" fmla="*/ 3715 w 7429"/>
                      <a:gd name="connsiteY1" fmla="*/ 0 h 7429"/>
                      <a:gd name="connsiteX2" fmla="*/ 7430 w 7429"/>
                      <a:gd name="connsiteY2" fmla="*/ 3715 h 7429"/>
                      <a:gd name="connsiteX3" fmla="*/ 3715 w 7429"/>
                      <a:gd name="connsiteY3" fmla="*/ 7429 h 7429"/>
                      <a:gd name="connsiteX4" fmla="*/ 0 w 7429"/>
                      <a:gd name="connsiteY4" fmla="*/ 3715 h 742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7429" h="7429">
                        <a:moveTo>
                          <a:pt x="0" y="3715"/>
                        </a:moveTo>
                        <a:cubicBezTo>
                          <a:pt x="0" y="1667"/>
                          <a:pt x="1667" y="0"/>
                          <a:pt x="3715" y="0"/>
                        </a:cubicBezTo>
                        <a:cubicBezTo>
                          <a:pt x="5763" y="0"/>
                          <a:pt x="7430" y="1667"/>
                          <a:pt x="7430" y="3715"/>
                        </a:cubicBezTo>
                        <a:cubicBezTo>
                          <a:pt x="7430" y="5763"/>
                          <a:pt x="5763" y="7429"/>
                          <a:pt x="3715" y="7429"/>
                        </a:cubicBezTo>
                        <a:cubicBezTo>
                          <a:pt x="1667" y="7429"/>
                          <a:pt x="0" y="5763"/>
                          <a:pt x="0" y="3715"/>
                        </a:cubicBezTo>
                        <a:close/>
                      </a:path>
                    </a:pathLst>
                  </a:custGeom>
                  <a:solidFill>
                    <a:srgbClr val="394553"/>
                  </a:solidFill>
                  <a:ln w="6350" cap="flat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  <p:grpSp>
              <p:nvGrpSpPr>
                <p:cNvPr id="89" name="Gráfico 2">
                  <a:extLst>
                    <a:ext uri="{FF2B5EF4-FFF2-40B4-BE49-F238E27FC236}">
                      <a16:creationId xmlns:a16="http://schemas.microsoft.com/office/drawing/2014/main" id="{C8AEC278-0846-FDBD-C3A2-FB1843544718}"/>
                    </a:ext>
                  </a:extLst>
                </p:cNvPr>
                <p:cNvGrpSpPr/>
                <p:nvPr/>
              </p:nvGrpSpPr>
              <p:grpSpPr>
                <a:xfrm>
                  <a:off x="1623822" y="2627042"/>
                  <a:ext cx="30432" cy="30384"/>
                  <a:chOff x="1623822" y="2627042"/>
                  <a:chExt cx="30432" cy="30384"/>
                </a:xfrm>
                <a:solidFill>
                  <a:srgbClr val="394553"/>
                </a:solidFill>
              </p:grpSpPr>
              <p:sp>
                <p:nvSpPr>
                  <p:cNvPr id="90" name="Forma livre: Forma 89">
                    <a:extLst>
                      <a:ext uri="{FF2B5EF4-FFF2-40B4-BE49-F238E27FC236}">
                        <a16:creationId xmlns:a16="http://schemas.microsoft.com/office/drawing/2014/main" id="{15BD5DDF-5CD0-B65E-4AF1-76261255D831}"/>
                      </a:ext>
                    </a:extLst>
                  </p:cNvPr>
                  <p:cNvSpPr/>
                  <p:nvPr/>
                </p:nvSpPr>
                <p:spPr>
                  <a:xfrm>
                    <a:off x="1646825" y="2649997"/>
                    <a:ext cx="7429" cy="7429"/>
                  </a:xfrm>
                  <a:custGeom>
                    <a:avLst/>
                    <a:gdLst>
                      <a:gd name="connsiteX0" fmla="*/ 0 w 7429"/>
                      <a:gd name="connsiteY0" fmla="*/ 3715 h 7429"/>
                      <a:gd name="connsiteX1" fmla="*/ 3715 w 7429"/>
                      <a:gd name="connsiteY1" fmla="*/ 0 h 7429"/>
                      <a:gd name="connsiteX2" fmla="*/ 7430 w 7429"/>
                      <a:gd name="connsiteY2" fmla="*/ 3715 h 7429"/>
                      <a:gd name="connsiteX3" fmla="*/ 3715 w 7429"/>
                      <a:gd name="connsiteY3" fmla="*/ 7429 h 7429"/>
                      <a:gd name="connsiteX4" fmla="*/ 0 w 7429"/>
                      <a:gd name="connsiteY4" fmla="*/ 3715 h 742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7429" h="7429">
                        <a:moveTo>
                          <a:pt x="0" y="3715"/>
                        </a:moveTo>
                        <a:cubicBezTo>
                          <a:pt x="0" y="1667"/>
                          <a:pt x="1667" y="0"/>
                          <a:pt x="3715" y="0"/>
                        </a:cubicBezTo>
                        <a:cubicBezTo>
                          <a:pt x="5763" y="0"/>
                          <a:pt x="7430" y="1667"/>
                          <a:pt x="7430" y="3715"/>
                        </a:cubicBezTo>
                        <a:cubicBezTo>
                          <a:pt x="7430" y="5763"/>
                          <a:pt x="5763" y="7429"/>
                          <a:pt x="3715" y="7429"/>
                        </a:cubicBezTo>
                        <a:cubicBezTo>
                          <a:pt x="1667" y="7429"/>
                          <a:pt x="0" y="5763"/>
                          <a:pt x="0" y="3715"/>
                        </a:cubicBezTo>
                        <a:close/>
                      </a:path>
                    </a:pathLst>
                  </a:custGeom>
                  <a:solidFill>
                    <a:srgbClr val="394553"/>
                  </a:solidFill>
                  <a:ln w="6350" cap="flat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91" name="Forma livre: Forma 90">
                    <a:extLst>
                      <a:ext uri="{FF2B5EF4-FFF2-40B4-BE49-F238E27FC236}">
                        <a16:creationId xmlns:a16="http://schemas.microsoft.com/office/drawing/2014/main" id="{72ADA813-EB3B-8731-33E1-E164F850C0E7}"/>
                      </a:ext>
                    </a:extLst>
                  </p:cNvPr>
                  <p:cNvSpPr/>
                  <p:nvPr/>
                </p:nvSpPr>
                <p:spPr>
                  <a:xfrm>
                    <a:off x="1623822" y="2627042"/>
                    <a:ext cx="7429" cy="7429"/>
                  </a:xfrm>
                  <a:custGeom>
                    <a:avLst/>
                    <a:gdLst>
                      <a:gd name="connsiteX0" fmla="*/ 0 w 7429"/>
                      <a:gd name="connsiteY0" fmla="*/ 3715 h 7429"/>
                      <a:gd name="connsiteX1" fmla="*/ 3715 w 7429"/>
                      <a:gd name="connsiteY1" fmla="*/ 0 h 7429"/>
                      <a:gd name="connsiteX2" fmla="*/ 7429 w 7429"/>
                      <a:gd name="connsiteY2" fmla="*/ 3715 h 7429"/>
                      <a:gd name="connsiteX3" fmla="*/ 3715 w 7429"/>
                      <a:gd name="connsiteY3" fmla="*/ 7430 h 7429"/>
                      <a:gd name="connsiteX4" fmla="*/ 0 w 7429"/>
                      <a:gd name="connsiteY4" fmla="*/ 3715 h 742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7429" h="7429">
                        <a:moveTo>
                          <a:pt x="0" y="3715"/>
                        </a:moveTo>
                        <a:cubicBezTo>
                          <a:pt x="0" y="1667"/>
                          <a:pt x="1667" y="0"/>
                          <a:pt x="3715" y="0"/>
                        </a:cubicBezTo>
                        <a:cubicBezTo>
                          <a:pt x="5763" y="0"/>
                          <a:pt x="7429" y="1667"/>
                          <a:pt x="7429" y="3715"/>
                        </a:cubicBezTo>
                        <a:cubicBezTo>
                          <a:pt x="7429" y="5763"/>
                          <a:pt x="5763" y="7430"/>
                          <a:pt x="3715" y="7430"/>
                        </a:cubicBezTo>
                        <a:cubicBezTo>
                          <a:pt x="1667" y="7430"/>
                          <a:pt x="0" y="5763"/>
                          <a:pt x="0" y="3715"/>
                        </a:cubicBezTo>
                        <a:close/>
                      </a:path>
                    </a:pathLst>
                  </a:custGeom>
                  <a:solidFill>
                    <a:srgbClr val="394553"/>
                  </a:solidFill>
                  <a:ln w="6350" cap="flat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</p:grpSp>
        </p:grpSp>
        <p:sp>
          <p:nvSpPr>
            <p:cNvPr id="92" name="Forma livre: Forma 91">
              <a:extLst>
                <a:ext uri="{FF2B5EF4-FFF2-40B4-BE49-F238E27FC236}">
                  <a16:creationId xmlns:a16="http://schemas.microsoft.com/office/drawing/2014/main" id="{9876AABC-1EDC-733B-00A2-4E8A837C06D7}"/>
                </a:ext>
              </a:extLst>
            </p:cNvPr>
            <p:cNvSpPr/>
            <p:nvPr/>
          </p:nvSpPr>
          <p:spPr>
            <a:xfrm>
              <a:off x="1392127" y="2578608"/>
              <a:ext cx="310610" cy="310419"/>
            </a:xfrm>
            <a:custGeom>
              <a:avLst/>
              <a:gdLst>
                <a:gd name="connsiteX0" fmla="*/ 100203 w 310610"/>
                <a:gd name="connsiteY0" fmla="*/ 310420 h 310419"/>
                <a:gd name="connsiteX1" fmla="*/ 34671 w 310610"/>
                <a:gd name="connsiteY1" fmla="*/ 275701 h 310419"/>
                <a:gd name="connsiteX2" fmla="*/ 0 w 310610"/>
                <a:gd name="connsiteY2" fmla="*/ 210407 h 310419"/>
                <a:gd name="connsiteX3" fmla="*/ 210407 w 310610"/>
                <a:gd name="connsiteY3" fmla="*/ 0 h 310419"/>
                <a:gd name="connsiteX4" fmla="*/ 275939 w 310610"/>
                <a:gd name="connsiteY4" fmla="*/ 34719 h 310419"/>
                <a:gd name="connsiteX5" fmla="*/ 310610 w 310610"/>
                <a:gd name="connsiteY5" fmla="*/ 100013 h 310419"/>
                <a:gd name="connsiteX6" fmla="*/ 100203 w 310610"/>
                <a:gd name="connsiteY6" fmla="*/ 310420 h 3104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10610" h="310419">
                  <a:moveTo>
                    <a:pt x="100203" y="310420"/>
                  </a:moveTo>
                  <a:cubicBezTo>
                    <a:pt x="76105" y="305800"/>
                    <a:pt x="53197" y="294227"/>
                    <a:pt x="34671" y="275701"/>
                  </a:cubicBezTo>
                  <a:cubicBezTo>
                    <a:pt x="16193" y="257223"/>
                    <a:pt x="4667" y="234410"/>
                    <a:pt x="0" y="210407"/>
                  </a:cubicBezTo>
                  <a:lnTo>
                    <a:pt x="210407" y="0"/>
                  </a:lnTo>
                  <a:cubicBezTo>
                    <a:pt x="234506" y="4620"/>
                    <a:pt x="257413" y="16192"/>
                    <a:pt x="275939" y="34719"/>
                  </a:cubicBezTo>
                  <a:cubicBezTo>
                    <a:pt x="294418" y="53197"/>
                    <a:pt x="305943" y="76009"/>
                    <a:pt x="310610" y="100013"/>
                  </a:cubicBezTo>
                  <a:lnTo>
                    <a:pt x="100203" y="310420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93" name="Gráfico 2">
            <a:extLst>
              <a:ext uri="{FF2B5EF4-FFF2-40B4-BE49-F238E27FC236}">
                <a16:creationId xmlns:a16="http://schemas.microsoft.com/office/drawing/2014/main" id="{B3D708B9-62EF-033A-81A6-BDB70A01D9F0}"/>
              </a:ext>
            </a:extLst>
          </p:cNvPr>
          <p:cNvGrpSpPr/>
          <p:nvPr/>
        </p:nvGrpSpPr>
        <p:grpSpPr>
          <a:xfrm>
            <a:off x="1448657" y="2055865"/>
            <a:ext cx="197643" cy="282617"/>
            <a:chOff x="1448657" y="2055865"/>
            <a:chExt cx="197643" cy="282617"/>
          </a:xfrm>
          <a:noFill/>
        </p:grpSpPr>
        <p:sp>
          <p:nvSpPr>
            <p:cNvPr id="94" name="Forma livre: Forma 93">
              <a:extLst>
                <a:ext uri="{FF2B5EF4-FFF2-40B4-BE49-F238E27FC236}">
                  <a16:creationId xmlns:a16="http://schemas.microsoft.com/office/drawing/2014/main" id="{659BCBF6-D684-D2A3-34BB-E0AA5AB8CFDA}"/>
                </a:ext>
              </a:extLst>
            </p:cNvPr>
            <p:cNvSpPr/>
            <p:nvPr/>
          </p:nvSpPr>
          <p:spPr>
            <a:xfrm>
              <a:off x="1475897" y="2055865"/>
              <a:ext cx="170403" cy="282569"/>
            </a:xfrm>
            <a:custGeom>
              <a:avLst/>
              <a:gdLst>
                <a:gd name="connsiteX0" fmla="*/ 112063 w 170403"/>
                <a:gd name="connsiteY0" fmla="*/ 148315 h 282569"/>
                <a:gd name="connsiteX1" fmla="*/ 143163 w 170403"/>
                <a:gd name="connsiteY1" fmla="*/ 76401 h 282569"/>
                <a:gd name="connsiteX2" fmla="*/ 71773 w 170403"/>
                <a:gd name="connsiteY2" fmla="*/ 11 h 282569"/>
                <a:gd name="connsiteX3" fmla="*/ 71392 w 170403"/>
                <a:gd name="connsiteY3" fmla="*/ 11 h 282569"/>
                <a:gd name="connsiteX4" fmla="*/ 2 w 170403"/>
                <a:gd name="connsiteY4" fmla="*/ 76401 h 282569"/>
                <a:gd name="connsiteX5" fmla="*/ 36673 w 170403"/>
                <a:gd name="connsiteY5" fmla="*/ 155649 h 282569"/>
                <a:gd name="connsiteX6" fmla="*/ 144734 w 170403"/>
                <a:gd name="connsiteY6" fmla="*/ 282570 h 282569"/>
                <a:gd name="connsiteX7" fmla="*/ 170404 w 170403"/>
                <a:gd name="connsiteY7" fmla="*/ 217609 h 282569"/>
                <a:gd name="connsiteX8" fmla="*/ 54818 w 170403"/>
                <a:gd name="connsiteY8" fmla="*/ 81592 h 282569"/>
                <a:gd name="connsiteX9" fmla="*/ 48008 w 170403"/>
                <a:gd name="connsiteY9" fmla="*/ 50636 h 282569"/>
                <a:gd name="connsiteX10" fmla="*/ 71439 w 170403"/>
                <a:gd name="connsiteY10" fmla="*/ 44588 h 282569"/>
                <a:gd name="connsiteX11" fmla="*/ 71820 w 170403"/>
                <a:gd name="connsiteY11" fmla="*/ 44588 h 282569"/>
                <a:gd name="connsiteX12" fmla="*/ 95252 w 170403"/>
                <a:gd name="connsiteY12" fmla="*/ 50636 h 282569"/>
                <a:gd name="connsiteX13" fmla="*/ 88441 w 170403"/>
                <a:gd name="connsiteY13" fmla="*/ 81592 h 282569"/>
                <a:gd name="connsiteX14" fmla="*/ 72011 w 170403"/>
                <a:gd name="connsiteY14" fmla="*/ 100928 h 2825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70403" h="282569">
                  <a:moveTo>
                    <a:pt x="112063" y="148315"/>
                  </a:moveTo>
                  <a:cubicBezTo>
                    <a:pt x="143924" y="104690"/>
                    <a:pt x="143163" y="76401"/>
                    <a:pt x="143163" y="76401"/>
                  </a:cubicBezTo>
                  <a:cubicBezTo>
                    <a:pt x="143163" y="-2656"/>
                    <a:pt x="71773" y="11"/>
                    <a:pt x="71773" y="11"/>
                  </a:cubicBezTo>
                  <a:lnTo>
                    <a:pt x="71392" y="11"/>
                  </a:lnTo>
                  <a:cubicBezTo>
                    <a:pt x="71392" y="11"/>
                    <a:pt x="2" y="-2656"/>
                    <a:pt x="2" y="76401"/>
                  </a:cubicBezTo>
                  <a:cubicBezTo>
                    <a:pt x="2" y="76401"/>
                    <a:pt x="-856" y="107834"/>
                    <a:pt x="36673" y="155649"/>
                  </a:cubicBezTo>
                  <a:lnTo>
                    <a:pt x="144734" y="282570"/>
                  </a:lnTo>
                  <a:lnTo>
                    <a:pt x="170404" y="217609"/>
                  </a:lnTo>
                  <a:lnTo>
                    <a:pt x="54818" y="81592"/>
                  </a:lnTo>
                  <a:cubicBezTo>
                    <a:pt x="54818" y="81592"/>
                    <a:pt x="35720" y="60542"/>
                    <a:pt x="48008" y="50636"/>
                  </a:cubicBezTo>
                  <a:cubicBezTo>
                    <a:pt x="48008" y="50636"/>
                    <a:pt x="56294" y="44588"/>
                    <a:pt x="71439" y="44588"/>
                  </a:cubicBezTo>
                  <a:lnTo>
                    <a:pt x="71820" y="44588"/>
                  </a:lnTo>
                  <a:cubicBezTo>
                    <a:pt x="86917" y="44588"/>
                    <a:pt x="95252" y="50636"/>
                    <a:pt x="95252" y="50636"/>
                  </a:cubicBezTo>
                  <a:cubicBezTo>
                    <a:pt x="107539" y="60542"/>
                    <a:pt x="88441" y="81592"/>
                    <a:pt x="88441" y="81592"/>
                  </a:cubicBezTo>
                  <a:lnTo>
                    <a:pt x="72011" y="100928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5" name="Forma livre: Forma 94">
              <a:extLst>
                <a:ext uri="{FF2B5EF4-FFF2-40B4-BE49-F238E27FC236}">
                  <a16:creationId xmlns:a16="http://schemas.microsoft.com/office/drawing/2014/main" id="{3941D471-FD77-FF09-4008-3753F3B2D32F}"/>
                </a:ext>
              </a:extLst>
            </p:cNvPr>
            <p:cNvSpPr/>
            <p:nvPr/>
          </p:nvSpPr>
          <p:spPr>
            <a:xfrm>
              <a:off x="1448657" y="2221325"/>
              <a:ext cx="84391" cy="117157"/>
            </a:xfrm>
            <a:custGeom>
              <a:avLst/>
              <a:gdLst>
                <a:gd name="connsiteX0" fmla="*/ 44387 w 84391"/>
                <a:gd name="connsiteY0" fmla="*/ 0 h 117157"/>
                <a:gd name="connsiteX1" fmla="*/ 0 w 84391"/>
                <a:gd name="connsiteY1" fmla="*/ 52149 h 117157"/>
                <a:gd name="connsiteX2" fmla="*/ 25670 w 84391"/>
                <a:gd name="connsiteY2" fmla="*/ 117157 h 117157"/>
                <a:gd name="connsiteX3" fmla="*/ 84392 w 84391"/>
                <a:gd name="connsiteY3" fmla="*/ 48196 h 1171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4391" h="117157">
                  <a:moveTo>
                    <a:pt x="44387" y="0"/>
                  </a:moveTo>
                  <a:lnTo>
                    <a:pt x="0" y="52149"/>
                  </a:lnTo>
                  <a:lnTo>
                    <a:pt x="25670" y="117157"/>
                  </a:lnTo>
                  <a:lnTo>
                    <a:pt x="84392" y="48196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96" name="Gráfico 2">
            <a:extLst>
              <a:ext uri="{FF2B5EF4-FFF2-40B4-BE49-F238E27FC236}">
                <a16:creationId xmlns:a16="http://schemas.microsoft.com/office/drawing/2014/main" id="{D638A421-E7A7-30EE-DF1D-122C8FDBA997}"/>
              </a:ext>
            </a:extLst>
          </p:cNvPr>
          <p:cNvGrpSpPr/>
          <p:nvPr/>
        </p:nvGrpSpPr>
        <p:grpSpPr>
          <a:xfrm>
            <a:off x="1445276" y="1535953"/>
            <a:ext cx="204311" cy="249126"/>
            <a:chOff x="1445276" y="1535953"/>
            <a:chExt cx="204311" cy="249126"/>
          </a:xfrm>
          <a:noFill/>
        </p:grpSpPr>
        <p:sp>
          <p:nvSpPr>
            <p:cNvPr id="97" name="Forma livre: Forma 96">
              <a:extLst>
                <a:ext uri="{FF2B5EF4-FFF2-40B4-BE49-F238E27FC236}">
                  <a16:creationId xmlns:a16="http://schemas.microsoft.com/office/drawing/2014/main" id="{D582DD4A-8B2A-723C-AB23-59B6944B93EB}"/>
                </a:ext>
              </a:extLst>
            </p:cNvPr>
            <p:cNvSpPr/>
            <p:nvPr/>
          </p:nvSpPr>
          <p:spPr>
            <a:xfrm>
              <a:off x="1526477" y="1646777"/>
              <a:ext cx="64722" cy="72723"/>
            </a:xfrm>
            <a:custGeom>
              <a:avLst/>
              <a:gdLst>
                <a:gd name="connsiteX0" fmla="*/ 0 w 64722"/>
                <a:gd name="connsiteY0" fmla="*/ 0 h 72723"/>
                <a:gd name="connsiteX1" fmla="*/ 64722 w 64722"/>
                <a:gd name="connsiteY1" fmla="*/ 72723 h 727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4722" h="72723">
                  <a:moveTo>
                    <a:pt x="0" y="0"/>
                  </a:moveTo>
                  <a:lnTo>
                    <a:pt x="64722" y="72723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8" name="Forma livre: Forma 97">
              <a:extLst>
                <a:ext uri="{FF2B5EF4-FFF2-40B4-BE49-F238E27FC236}">
                  <a16:creationId xmlns:a16="http://schemas.microsoft.com/office/drawing/2014/main" id="{2CFCB17A-1066-C705-8957-6C0E4A14F68D}"/>
                </a:ext>
              </a:extLst>
            </p:cNvPr>
            <p:cNvSpPr/>
            <p:nvPr/>
          </p:nvSpPr>
          <p:spPr>
            <a:xfrm>
              <a:off x="1532001" y="1655111"/>
              <a:ext cx="117490" cy="129968"/>
            </a:xfrm>
            <a:custGeom>
              <a:avLst/>
              <a:gdLst>
                <a:gd name="connsiteX0" fmla="*/ 0 w 117490"/>
                <a:gd name="connsiteY0" fmla="*/ 129969 h 129968"/>
                <a:gd name="connsiteX1" fmla="*/ 117491 w 117490"/>
                <a:gd name="connsiteY1" fmla="*/ 0 h 129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490" h="129968">
                  <a:moveTo>
                    <a:pt x="0" y="129969"/>
                  </a:moveTo>
                  <a:lnTo>
                    <a:pt x="117491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9" name="Forma livre: Forma 98">
              <a:extLst>
                <a:ext uri="{FF2B5EF4-FFF2-40B4-BE49-F238E27FC236}">
                  <a16:creationId xmlns:a16="http://schemas.microsoft.com/office/drawing/2014/main" id="{049CE239-D6E3-A82B-34F9-470504381C2D}"/>
                </a:ext>
              </a:extLst>
            </p:cNvPr>
            <p:cNvSpPr/>
            <p:nvPr/>
          </p:nvSpPr>
          <p:spPr>
            <a:xfrm>
              <a:off x="1445276" y="1535953"/>
              <a:ext cx="144637" cy="195691"/>
            </a:xfrm>
            <a:custGeom>
              <a:avLst/>
              <a:gdLst>
                <a:gd name="connsiteX0" fmla="*/ 571 w 144637"/>
                <a:gd name="connsiteY0" fmla="*/ 110299 h 195691"/>
                <a:gd name="connsiteX1" fmla="*/ 87487 w 144637"/>
                <a:gd name="connsiteY1" fmla="*/ 110299 h 195691"/>
                <a:gd name="connsiteX2" fmla="*/ 144637 w 144637"/>
                <a:gd name="connsiteY2" fmla="*/ 55150 h 195691"/>
                <a:gd name="connsiteX3" fmla="*/ 87487 w 144637"/>
                <a:gd name="connsiteY3" fmla="*/ 0 h 195691"/>
                <a:gd name="connsiteX4" fmla="*/ 0 w 144637"/>
                <a:gd name="connsiteY4" fmla="*/ 0 h 195691"/>
                <a:gd name="connsiteX5" fmla="*/ 0 w 144637"/>
                <a:gd name="connsiteY5" fmla="*/ 195691 h 1956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44637" h="195691">
                  <a:moveTo>
                    <a:pt x="571" y="110299"/>
                  </a:moveTo>
                  <a:lnTo>
                    <a:pt x="87487" y="110299"/>
                  </a:lnTo>
                  <a:cubicBezTo>
                    <a:pt x="118920" y="110299"/>
                    <a:pt x="144637" y="85487"/>
                    <a:pt x="144637" y="55150"/>
                  </a:cubicBezTo>
                  <a:cubicBezTo>
                    <a:pt x="144637" y="24813"/>
                    <a:pt x="118920" y="0"/>
                    <a:pt x="87487" y="0"/>
                  </a:cubicBezTo>
                  <a:lnTo>
                    <a:pt x="0" y="0"/>
                  </a:lnTo>
                  <a:lnTo>
                    <a:pt x="0" y="195691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0" name="Forma livre: Forma 99">
              <a:extLst>
                <a:ext uri="{FF2B5EF4-FFF2-40B4-BE49-F238E27FC236}">
                  <a16:creationId xmlns:a16="http://schemas.microsoft.com/office/drawing/2014/main" id="{3BAB95FF-827B-C617-2344-B3123821FFE0}"/>
                </a:ext>
              </a:extLst>
            </p:cNvPr>
            <p:cNvSpPr/>
            <p:nvPr/>
          </p:nvSpPr>
          <p:spPr>
            <a:xfrm>
              <a:off x="1607963" y="1738264"/>
              <a:ext cx="41624" cy="46815"/>
            </a:xfrm>
            <a:custGeom>
              <a:avLst/>
              <a:gdLst>
                <a:gd name="connsiteX0" fmla="*/ 0 w 41624"/>
                <a:gd name="connsiteY0" fmla="*/ 0 h 46815"/>
                <a:gd name="connsiteX1" fmla="*/ 41624 w 41624"/>
                <a:gd name="connsiteY1" fmla="*/ 46815 h 468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1624" h="46815">
                  <a:moveTo>
                    <a:pt x="0" y="0"/>
                  </a:moveTo>
                  <a:lnTo>
                    <a:pt x="41624" y="46815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01" name="Gráfico 2">
            <a:extLst>
              <a:ext uri="{FF2B5EF4-FFF2-40B4-BE49-F238E27FC236}">
                <a16:creationId xmlns:a16="http://schemas.microsoft.com/office/drawing/2014/main" id="{243F34AF-7EF3-70A3-B2AB-0BCC8B655E8A}"/>
              </a:ext>
            </a:extLst>
          </p:cNvPr>
          <p:cNvGrpSpPr/>
          <p:nvPr/>
        </p:nvGrpSpPr>
        <p:grpSpPr>
          <a:xfrm>
            <a:off x="1399481" y="996537"/>
            <a:ext cx="296032" cy="254618"/>
            <a:chOff x="1399481" y="996537"/>
            <a:chExt cx="296032" cy="254618"/>
          </a:xfrm>
          <a:noFill/>
        </p:grpSpPr>
        <p:sp>
          <p:nvSpPr>
            <p:cNvPr id="102" name="Forma livre: Forma 101">
              <a:extLst>
                <a:ext uri="{FF2B5EF4-FFF2-40B4-BE49-F238E27FC236}">
                  <a16:creationId xmlns:a16="http://schemas.microsoft.com/office/drawing/2014/main" id="{EE9CC7B5-C0FF-F890-ECC7-11478C04C449}"/>
                </a:ext>
              </a:extLst>
            </p:cNvPr>
            <p:cNvSpPr/>
            <p:nvPr/>
          </p:nvSpPr>
          <p:spPr>
            <a:xfrm>
              <a:off x="1399481" y="996537"/>
              <a:ext cx="296032" cy="254618"/>
            </a:xfrm>
            <a:custGeom>
              <a:avLst/>
              <a:gdLst>
                <a:gd name="connsiteX0" fmla="*/ 147998 w 296032"/>
                <a:gd name="connsiteY0" fmla="*/ 254619 h 254618"/>
                <a:gd name="connsiteX1" fmla="*/ 273252 w 296032"/>
                <a:gd name="connsiteY1" fmla="*/ 129556 h 254618"/>
                <a:gd name="connsiteX2" fmla="*/ 274300 w 296032"/>
                <a:gd name="connsiteY2" fmla="*/ 21733 h 254618"/>
                <a:gd name="connsiteX3" fmla="*/ 166477 w 296032"/>
                <a:gd name="connsiteY3" fmla="*/ 22780 h 254618"/>
                <a:gd name="connsiteX4" fmla="*/ 147998 w 296032"/>
                <a:gd name="connsiteY4" fmla="*/ 41259 h 254618"/>
                <a:gd name="connsiteX5" fmla="*/ 129520 w 296032"/>
                <a:gd name="connsiteY5" fmla="*/ 22780 h 254618"/>
                <a:gd name="connsiteX6" fmla="*/ 21697 w 296032"/>
                <a:gd name="connsiteY6" fmla="*/ 21733 h 254618"/>
                <a:gd name="connsiteX7" fmla="*/ 22745 w 296032"/>
                <a:gd name="connsiteY7" fmla="*/ 129556 h 254618"/>
                <a:gd name="connsiteX8" fmla="*/ 148046 w 296032"/>
                <a:gd name="connsiteY8" fmla="*/ 254619 h 2546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96032" h="254618">
                  <a:moveTo>
                    <a:pt x="147998" y="254619"/>
                  </a:moveTo>
                  <a:lnTo>
                    <a:pt x="273252" y="129556"/>
                  </a:lnTo>
                  <a:cubicBezTo>
                    <a:pt x="303208" y="99599"/>
                    <a:pt x="303685" y="51070"/>
                    <a:pt x="274300" y="21733"/>
                  </a:cubicBezTo>
                  <a:cubicBezTo>
                    <a:pt x="244963" y="-7604"/>
                    <a:pt x="196385" y="-7128"/>
                    <a:pt x="166477" y="22780"/>
                  </a:cubicBezTo>
                  <a:lnTo>
                    <a:pt x="147998" y="41259"/>
                  </a:lnTo>
                  <a:lnTo>
                    <a:pt x="129520" y="22780"/>
                  </a:lnTo>
                  <a:cubicBezTo>
                    <a:pt x="99564" y="-7176"/>
                    <a:pt x="51034" y="-7652"/>
                    <a:pt x="21697" y="21733"/>
                  </a:cubicBezTo>
                  <a:cubicBezTo>
                    <a:pt x="-7640" y="51117"/>
                    <a:pt x="-7164" y="99647"/>
                    <a:pt x="22745" y="129556"/>
                  </a:cubicBezTo>
                  <a:lnTo>
                    <a:pt x="148046" y="254619"/>
                  </a:ln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03" name="Gráfico 2">
              <a:extLst>
                <a:ext uri="{FF2B5EF4-FFF2-40B4-BE49-F238E27FC236}">
                  <a16:creationId xmlns:a16="http://schemas.microsoft.com/office/drawing/2014/main" id="{CF1B0089-940A-B30D-6D61-FC030459DE16}"/>
                </a:ext>
              </a:extLst>
            </p:cNvPr>
            <p:cNvGrpSpPr/>
            <p:nvPr/>
          </p:nvGrpSpPr>
          <p:grpSpPr>
            <a:xfrm>
              <a:off x="1472899" y="1080563"/>
              <a:ext cx="149066" cy="74818"/>
              <a:chOff x="1472899" y="1080563"/>
              <a:chExt cx="149066" cy="74818"/>
            </a:xfrm>
            <a:noFill/>
          </p:grpSpPr>
          <p:grpSp>
            <p:nvGrpSpPr>
              <p:cNvPr id="104" name="Gráfico 2">
                <a:extLst>
                  <a:ext uri="{FF2B5EF4-FFF2-40B4-BE49-F238E27FC236}">
                    <a16:creationId xmlns:a16="http://schemas.microsoft.com/office/drawing/2014/main" id="{B8ACBF7E-C945-26B8-EE29-9A014F3ACFD8}"/>
                  </a:ext>
                </a:extLst>
              </p:cNvPr>
              <p:cNvGrpSpPr/>
              <p:nvPr/>
            </p:nvGrpSpPr>
            <p:grpSpPr>
              <a:xfrm>
                <a:off x="1472899" y="1080563"/>
                <a:ext cx="149066" cy="16097"/>
                <a:chOff x="1472899" y="1080563"/>
                <a:chExt cx="149066" cy="16097"/>
              </a:xfrm>
              <a:noFill/>
            </p:grpSpPr>
            <p:sp>
              <p:nvSpPr>
                <p:cNvPr id="105" name="Forma livre: Forma 104">
                  <a:extLst>
                    <a:ext uri="{FF2B5EF4-FFF2-40B4-BE49-F238E27FC236}">
                      <a16:creationId xmlns:a16="http://schemas.microsoft.com/office/drawing/2014/main" id="{DAE376D2-F601-34E1-41BE-69181BF00CA0}"/>
                    </a:ext>
                  </a:extLst>
                </p:cNvPr>
                <p:cNvSpPr/>
                <p:nvPr/>
              </p:nvSpPr>
              <p:spPr>
                <a:xfrm>
                  <a:off x="1580626" y="1080563"/>
                  <a:ext cx="41338" cy="16097"/>
                </a:xfrm>
                <a:custGeom>
                  <a:avLst/>
                  <a:gdLst>
                    <a:gd name="connsiteX0" fmla="*/ 0 w 41338"/>
                    <a:gd name="connsiteY0" fmla="*/ 16097 h 16097"/>
                    <a:gd name="connsiteX1" fmla="*/ 20669 w 41338"/>
                    <a:gd name="connsiteY1" fmla="*/ 0 h 16097"/>
                    <a:gd name="connsiteX2" fmla="*/ 41339 w 41338"/>
                    <a:gd name="connsiteY2" fmla="*/ 16097 h 1609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41338" h="16097">
                      <a:moveTo>
                        <a:pt x="0" y="16097"/>
                      </a:moveTo>
                      <a:cubicBezTo>
                        <a:pt x="2381" y="6858"/>
                        <a:pt x="10716" y="0"/>
                        <a:pt x="20669" y="0"/>
                      </a:cubicBezTo>
                      <a:cubicBezTo>
                        <a:pt x="30623" y="0"/>
                        <a:pt x="38957" y="6858"/>
                        <a:pt x="41339" y="16097"/>
                      </a:cubicBez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06" name="Forma livre: Forma 105">
                  <a:extLst>
                    <a:ext uri="{FF2B5EF4-FFF2-40B4-BE49-F238E27FC236}">
                      <a16:creationId xmlns:a16="http://schemas.microsoft.com/office/drawing/2014/main" id="{46AA7859-561D-81A2-0542-8F62D32ED6EC}"/>
                    </a:ext>
                  </a:extLst>
                </p:cNvPr>
                <p:cNvSpPr/>
                <p:nvPr/>
              </p:nvSpPr>
              <p:spPr>
                <a:xfrm>
                  <a:off x="1472899" y="1080563"/>
                  <a:ext cx="41338" cy="16097"/>
                </a:xfrm>
                <a:custGeom>
                  <a:avLst/>
                  <a:gdLst>
                    <a:gd name="connsiteX0" fmla="*/ 0 w 41338"/>
                    <a:gd name="connsiteY0" fmla="*/ 16097 h 16097"/>
                    <a:gd name="connsiteX1" fmla="*/ 20669 w 41338"/>
                    <a:gd name="connsiteY1" fmla="*/ 0 h 16097"/>
                    <a:gd name="connsiteX2" fmla="*/ 41338 w 41338"/>
                    <a:gd name="connsiteY2" fmla="*/ 16097 h 1609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41338" h="16097">
                      <a:moveTo>
                        <a:pt x="0" y="16097"/>
                      </a:moveTo>
                      <a:cubicBezTo>
                        <a:pt x="2381" y="6858"/>
                        <a:pt x="10716" y="0"/>
                        <a:pt x="20669" y="0"/>
                      </a:cubicBezTo>
                      <a:cubicBezTo>
                        <a:pt x="30623" y="0"/>
                        <a:pt x="38957" y="6858"/>
                        <a:pt x="41338" y="16097"/>
                      </a:cubicBez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107" name="Gráfico 2">
                <a:extLst>
                  <a:ext uri="{FF2B5EF4-FFF2-40B4-BE49-F238E27FC236}">
                    <a16:creationId xmlns:a16="http://schemas.microsoft.com/office/drawing/2014/main" id="{03DFAEC9-E1CA-4010-ACC1-4F5D5F4BF09A}"/>
                  </a:ext>
                </a:extLst>
              </p:cNvPr>
              <p:cNvGrpSpPr/>
              <p:nvPr/>
            </p:nvGrpSpPr>
            <p:grpSpPr>
              <a:xfrm>
                <a:off x="1512665" y="1137761"/>
                <a:ext cx="69580" cy="17621"/>
                <a:chOff x="1512665" y="1137761"/>
                <a:chExt cx="69580" cy="17621"/>
              </a:xfrm>
              <a:noFill/>
            </p:grpSpPr>
            <p:sp>
              <p:nvSpPr>
                <p:cNvPr id="108" name="Forma livre: Forma 107">
                  <a:extLst>
                    <a:ext uri="{FF2B5EF4-FFF2-40B4-BE49-F238E27FC236}">
                      <a16:creationId xmlns:a16="http://schemas.microsoft.com/office/drawing/2014/main" id="{D1D7423A-0449-89C2-2B56-631EC674D1B0}"/>
                    </a:ext>
                  </a:extLst>
                </p:cNvPr>
                <p:cNvSpPr/>
                <p:nvPr/>
              </p:nvSpPr>
              <p:spPr>
                <a:xfrm>
                  <a:off x="1512665" y="1137761"/>
                  <a:ext cx="33670" cy="17621"/>
                </a:xfrm>
                <a:custGeom>
                  <a:avLst/>
                  <a:gdLst>
                    <a:gd name="connsiteX0" fmla="*/ 0 w 33670"/>
                    <a:gd name="connsiteY0" fmla="*/ 0 h 17621"/>
                    <a:gd name="connsiteX1" fmla="*/ 33671 w 33670"/>
                    <a:gd name="connsiteY1" fmla="*/ 17621 h 1762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33670" h="17621">
                      <a:moveTo>
                        <a:pt x="0" y="0"/>
                      </a:moveTo>
                      <a:cubicBezTo>
                        <a:pt x="0" y="0"/>
                        <a:pt x="10192" y="17621"/>
                        <a:pt x="33671" y="17621"/>
                      </a:cubicBez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09" name="Forma livre: Forma 108">
                  <a:extLst>
                    <a:ext uri="{FF2B5EF4-FFF2-40B4-BE49-F238E27FC236}">
                      <a16:creationId xmlns:a16="http://schemas.microsoft.com/office/drawing/2014/main" id="{5D3E6F1E-1BD3-8DAD-F33C-F65D1557535B}"/>
                    </a:ext>
                  </a:extLst>
                </p:cNvPr>
                <p:cNvSpPr/>
                <p:nvPr/>
              </p:nvSpPr>
              <p:spPr>
                <a:xfrm>
                  <a:off x="1548575" y="1137761"/>
                  <a:ext cx="33670" cy="17621"/>
                </a:xfrm>
                <a:custGeom>
                  <a:avLst/>
                  <a:gdLst>
                    <a:gd name="connsiteX0" fmla="*/ 33671 w 33670"/>
                    <a:gd name="connsiteY0" fmla="*/ 0 h 17621"/>
                    <a:gd name="connsiteX1" fmla="*/ 0 w 33670"/>
                    <a:gd name="connsiteY1" fmla="*/ 17621 h 1762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33670" h="17621">
                      <a:moveTo>
                        <a:pt x="33671" y="0"/>
                      </a:moveTo>
                      <a:cubicBezTo>
                        <a:pt x="33671" y="0"/>
                        <a:pt x="23479" y="17621"/>
                        <a:pt x="0" y="17621"/>
                      </a:cubicBez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</p:grpSp>
      <p:grpSp>
        <p:nvGrpSpPr>
          <p:cNvPr id="110" name="Gráfico 2">
            <a:extLst>
              <a:ext uri="{FF2B5EF4-FFF2-40B4-BE49-F238E27FC236}">
                <a16:creationId xmlns:a16="http://schemas.microsoft.com/office/drawing/2014/main" id="{AECE9342-FF92-1BD4-E4D4-79757912F1C9}"/>
              </a:ext>
            </a:extLst>
          </p:cNvPr>
          <p:cNvGrpSpPr/>
          <p:nvPr/>
        </p:nvGrpSpPr>
        <p:grpSpPr>
          <a:xfrm>
            <a:off x="2067948" y="3130962"/>
            <a:ext cx="200222" cy="279034"/>
            <a:chOff x="2067948" y="3130962"/>
            <a:chExt cx="200222" cy="279034"/>
          </a:xfrm>
          <a:noFill/>
        </p:grpSpPr>
        <p:grpSp>
          <p:nvGrpSpPr>
            <p:cNvPr id="111" name="Gráfico 2">
              <a:extLst>
                <a:ext uri="{FF2B5EF4-FFF2-40B4-BE49-F238E27FC236}">
                  <a16:creationId xmlns:a16="http://schemas.microsoft.com/office/drawing/2014/main" id="{4039AA80-BDC9-EA45-DCF5-2FA87EE3AF90}"/>
                </a:ext>
              </a:extLst>
            </p:cNvPr>
            <p:cNvGrpSpPr/>
            <p:nvPr/>
          </p:nvGrpSpPr>
          <p:grpSpPr>
            <a:xfrm>
              <a:off x="2067948" y="3200304"/>
              <a:ext cx="147098" cy="209692"/>
              <a:chOff x="2067948" y="3200304"/>
              <a:chExt cx="147098" cy="209692"/>
            </a:xfrm>
            <a:noFill/>
          </p:grpSpPr>
          <p:sp>
            <p:nvSpPr>
              <p:cNvPr id="112" name="Forma livre: Forma 111">
                <a:extLst>
                  <a:ext uri="{FF2B5EF4-FFF2-40B4-BE49-F238E27FC236}">
                    <a16:creationId xmlns:a16="http://schemas.microsoft.com/office/drawing/2014/main" id="{8701DEB3-7E9B-E29C-3ECD-A59C1A1EBF67}"/>
                  </a:ext>
                </a:extLst>
              </p:cNvPr>
              <p:cNvSpPr/>
              <p:nvPr/>
            </p:nvSpPr>
            <p:spPr>
              <a:xfrm>
                <a:off x="2067948" y="3200304"/>
                <a:ext cx="147098" cy="209692"/>
              </a:xfrm>
              <a:custGeom>
                <a:avLst/>
                <a:gdLst>
                  <a:gd name="connsiteX0" fmla="*/ 121469 w 147098"/>
                  <a:gd name="connsiteY0" fmla="*/ 72057 h 209692"/>
                  <a:gd name="connsiteX1" fmla="*/ 73606 w 147098"/>
                  <a:gd name="connsiteY1" fmla="*/ 0 h 209692"/>
                  <a:gd name="connsiteX2" fmla="*/ 73606 w 147098"/>
                  <a:gd name="connsiteY2" fmla="*/ 0 h 209692"/>
                  <a:gd name="connsiteX3" fmla="*/ 25742 w 147098"/>
                  <a:gd name="connsiteY3" fmla="*/ 72057 h 209692"/>
                  <a:gd name="connsiteX4" fmla="*/ 73225 w 147098"/>
                  <a:gd name="connsiteY4" fmla="*/ 209693 h 209692"/>
                  <a:gd name="connsiteX5" fmla="*/ 73987 w 147098"/>
                  <a:gd name="connsiteY5" fmla="*/ 209693 h 209692"/>
                  <a:gd name="connsiteX6" fmla="*/ 121469 w 147098"/>
                  <a:gd name="connsiteY6" fmla="*/ 72057 h 2096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47098" h="209692">
                    <a:moveTo>
                      <a:pt x="121469" y="72057"/>
                    </a:moveTo>
                    <a:cubicBezTo>
                      <a:pt x="78035" y="21003"/>
                      <a:pt x="73987" y="2572"/>
                      <a:pt x="73606" y="0"/>
                    </a:cubicBezTo>
                    <a:lnTo>
                      <a:pt x="73606" y="0"/>
                    </a:lnTo>
                    <a:cubicBezTo>
                      <a:pt x="73225" y="2524"/>
                      <a:pt x="69224" y="21003"/>
                      <a:pt x="25742" y="72057"/>
                    </a:cubicBezTo>
                    <a:cubicBezTo>
                      <a:pt x="-25026" y="131683"/>
                      <a:pt x="3740" y="209502"/>
                      <a:pt x="73225" y="209693"/>
                    </a:cubicBezTo>
                    <a:lnTo>
                      <a:pt x="73987" y="209693"/>
                    </a:lnTo>
                    <a:cubicBezTo>
                      <a:pt x="142995" y="209502"/>
                      <a:pt x="172237" y="131683"/>
                      <a:pt x="121469" y="72057"/>
                    </a:cubicBezTo>
                    <a:close/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13" name="Forma livre: Forma 112">
                <a:extLst>
                  <a:ext uri="{FF2B5EF4-FFF2-40B4-BE49-F238E27FC236}">
                    <a16:creationId xmlns:a16="http://schemas.microsoft.com/office/drawing/2014/main" id="{C21CB474-C868-99B0-0706-B2C2999E4A87}"/>
                  </a:ext>
                </a:extLst>
              </p:cNvPr>
              <p:cNvSpPr/>
              <p:nvPr/>
            </p:nvSpPr>
            <p:spPr>
              <a:xfrm>
                <a:off x="2100644" y="3337607"/>
                <a:ext cx="20383" cy="33718"/>
              </a:xfrm>
              <a:custGeom>
                <a:avLst/>
                <a:gdLst>
                  <a:gd name="connsiteX0" fmla="*/ 0 w 20383"/>
                  <a:gd name="connsiteY0" fmla="*/ 0 h 33718"/>
                  <a:gd name="connsiteX1" fmla="*/ 20384 w 20383"/>
                  <a:gd name="connsiteY1" fmla="*/ 33719 h 337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0383" h="33718">
                    <a:moveTo>
                      <a:pt x="0" y="0"/>
                    </a:moveTo>
                    <a:cubicBezTo>
                      <a:pt x="0" y="0"/>
                      <a:pt x="333" y="22384"/>
                      <a:pt x="20384" y="33719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14" name="Forma livre: Forma 113">
              <a:extLst>
                <a:ext uri="{FF2B5EF4-FFF2-40B4-BE49-F238E27FC236}">
                  <a16:creationId xmlns:a16="http://schemas.microsoft.com/office/drawing/2014/main" id="{2BEAB91B-ECC1-EC25-D7EE-FA946DBCC028}"/>
                </a:ext>
              </a:extLst>
            </p:cNvPr>
            <p:cNvSpPr/>
            <p:nvPr/>
          </p:nvSpPr>
          <p:spPr>
            <a:xfrm>
              <a:off x="2193665" y="3130962"/>
              <a:ext cx="74505" cy="106298"/>
            </a:xfrm>
            <a:custGeom>
              <a:avLst/>
              <a:gdLst>
                <a:gd name="connsiteX0" fmla="*/ 61522 w 74505"/>
                <a:gd name="connsiteY0" fmla="*/ 36528 h 106298"/>
                <a:gd name="connsiteX1" fmla="*/ 37281 w 74505"/>
                <a:gd name="connsiteY1" fmla="*/ 0 h 106298"/>
                <a:gd name="connsiteX2" fmla="*/ 37281 w 74505"/>
                <a:gd name="connsiteY2" fmla="*/ 0 h 106298"/>
                <a:gd name="connsiteX3" fmla="*/ 13040 w 74505"/>
                <a:gd name="connsiteY3" fmla="*/ 36528 h 106298"/>
                <a:gd name="connsiteX4" fmla="*/ 37091 w 74505"/>
                <a:gd name="connsiteY4" fmla="*/ 106299 h 106298"/>
                <a:gd name="connsiteX5" fmla="*/ 37472 w 74505"/>
                <a:gd name="connsiteY5" fmla="*/ 106299 h 106298"/>
                <a:gd name="connsiteX6" fmla="*/ 61522 w 74505"/>
                <a:gd name="connsiteY6" fmla="*/ 36528 h 1062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4505" h="106298">
                  <a:moveTo>
                    <a:pt x="61522" y="36528"/>
                  </a:moveTo>
                  <a:cubicBezTo>
                    <a:pt x="39519" y="10668"/>
                    <a:pt x="37472" y="1286"/>
                    <a:pt x="37281" y="0"/>
                  </a:cubicBezTo>
                  <a:lnTo>
                    <a:pt x="37281" y="0"/>
                  </a:lnTo>
                  <a:cubicBezTo>
                    <a:pt x="37091" y="1286"/>
                    <a:pt x="35043" y="10620"/>
                    <a:pt x="13040" y="36528"/>
                  </a:cubicBezTo>
                  <a:cubicBezTo>
                    <a:pt x="-12678" y="66723"/>
                    <a:pt x="1896" y="106204"/>
                    <a:pt x="37091" y="106299"/>
                  </a:cubicBezTo>
                  <a:lnTo>
                    <a:pt x="37472" y="106299"/>
                  </a:lnTo>
                  <a:cubicBezTo>
                    <a:pt x="72428" y="106204"/>
                    <a:pt x="87240" y="66770"/>
                    <a:pt x="61522" y="36528"/>
                  </a:cubicBez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15" name="Gráfico 2">
            <a:extLst>
              <a:ext uri="{FF2B5EF4-FFF2-40B4-BE49-F238E27FC236}">
                <a16:creationId xmlns:a16="http://schemas.microsoft.com/office/drawing/2014/main" id="{CC80CE8E-9981-0CDC-A2FD-112642637363}"/>
              </a:ext>
            </a:extLst>
          </p:cNvPr>
          <p:cNvGrpSpPr/>
          <p:nvPr/>
        </p:nvGrpSpPr>
        <p:grpSpPr>
          <a:xfrm>
            <a:off x="2042589" y="2607563"/>
            <a:ext cx="250936" cy="252460"/>
            <a:chOff x="2042589" y="2607563"/>
            <a:chExt cx="250936" cy="252460"/>
          </a:xfrm>
          <a:noFill/>
        </p:grpSpPr>
        <p:grpSp>
          <p:nvGrpSpPr>
            <p:cNvPr id="116" name="Gráfico 2">
              <a:extLst>
                <a:ext uri="{FF2B5EF4-FFF2-40B4-BE49-F238E27FC236}">
                  <a16:creationId xmlns:a16="http://schemas.microsoft.com/office/drawing/2014/main" id="{EC1196CE-7043-88C7-2CCC-683DDFF59803}"/>
                </a:ext>
              </a:extLst>
            </p:cNvPr>
            <p:cNvGrpSpPr/>
            <p:nvPr/>
          </p:nvGrpSpPr>
          <p:grpSpPr>
            <a:xfrm>
              <a:off x="2047254" y="2607563"/>
              <a:ext cx="246270" cy="248231"/>
              <a:chOff x="2047254" y="2607563"/>
              <a:chExt cx="246270" cy="248231"/>
            </a:xfrm>
            <a:noFill/>
          </p:grpSpPr>
          <p:sp>
            <p:nvSpPr>
              <p:cNvPr id="117" name="Forma livre: Forma 116">
                <a:extLst>
                  <a:ext uri="{FF2B5EF4-FFF2-40B4-BE49-F238E27FC236}">
                    <a16:creationId xmlns:a16="http://schemas.microsoft.com/office/drawing/2014/main" id="{9449B03E-9C79-0730-6A6D-F0DD9579DB83}"/>
                  </a:ext>
                </a:extLst>
              </p:cNvPr>
              <p:cNvSpPr/>
              <p:nvPr/>
            </p:nvSpPr>
            <p:spPr>
              <a:xfrm>
                <a:off x="2047254" y="2607563"/>
                <a:ext cx="246270" cy="248231"/>
              </a:xfrm>
              <a:custGeom>
                <a:avLst/>
                <a:gdLst>
                  <a:gd name="connsiteX0" fmla="*/ 18528 w 246270"/>
                  <a:gd name="connsiteY0" fmla="*/ 197263 h 248231"/>
                  <a:gd name="connsiteX1" fmla="*/ 48436 w 246270"/>
                  <a:gd name="connsiteY1" fmla="*/ 51673 h 248231"/>
                  <a:gd name="connsiteX2" fmla="*/ 246271 w 246270"/>
                  <a:gd name="connsiteY2" fmla="*/ 0 h 248231"/>
                  <a:gd name="connsiteX3" fmla="*/ 193693 w 246270"/>
                  <a:gd name="connsiteY3" fmla="*/ 196025 h 248231"/>
                  <a:gd name="connsiteX4" fmla="*/ 33149 w 246270"/>
                  <a:gd name="connsiteY4" fmla="*/ 215170 h 2482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46270" h="248231">
                    <a:moveTo>
                      <a:pt x="18528" y="197263"/>
                    </a:moveTo>
                    <a:cubicBezTo>
                      <a:pt x="-8856" y="155781"/>
                      <a:pt x="-11238" y="94583"/>
                      <a:pt x="48436" y="51673"/>
                    </a:cubicBezTo>
                    <a:cubicBezTo>
                      <a:pt x="99824" y="14764"/>
                      <a:pt x="246271" y="0"/>
                      <a:pt x="246271" y="0"/>
                    </a:cubicBezTo>
                    <a:cubicBezTo>
                      <a:pt x="246271" y="0"/>
                      <a:pt x="232745" y="140875"/>
                      <a:pt x="193693" y="196025"/>
                    </a:cubicBezTo>
                    <a:cubicBezTo>
                      <a:pt x="140734" y="270891"/>
                      <a:pt x="71773" y="253984"/>
                      <a:pt x="33149" y="215170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18" name="Forma livre: Forma 117">
                <a:extLst>
                  <a:ext uri="{FF2B5EF4-FFF2-40B4-BE49-F238E27FC236}">
                    <a16:creationId xmlns:a16="http://schemas.microsoft.com/office/drawing/2014/main" id="{0B6F32BD-9950-C8E9-9A1F-0CE8A3772923}"/>
                  </a:ext>
                </a:extLst>
              </p:cNvPr>
              <p:cNvSpPr/>
              <p:nvPr/>
            </p:nvSpPr>
            <p:spPr>
              <a:xfrm>
                <a:off x="2122551" y="2782062"/>
                <a:ext cx="76962" cy="7191"/>
              </a:xfrm>
              <a:custGeom>
                <a:avLst/>
                <a:gdLst>
                  <a:gd name="connsiteX0" fmla="*/ 0 w 76962"/>
                  <a:gd name="connsiteY0" fmla="*/ 0 h 7191"/>
                  <a:gd name="connsiteX1" fmla="*/ 76962 w 76962"/>
                  <a:gd name="connsiteY1" fmla="*/ 7191 h 71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76962" h="7191">
                    <a:moveTo>
                      <a:pt x="0" y="0"/>
                    </a:moveTo>
                    <a:lnTo>
                      <a:pt x="76962" y="7191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19" name="Forma livre: Forma 118">
                <a:extLst>
                  <a:ext uri="{FF2B5EF4-FFF2-40B4-BE49-F238E27FC236}">
                    <a16:creationId xmlns:a16="http://schemas.microsoft.com/office/drawing/2014/main" id="{D3896EC3-F418-2E00-70BE-B45D8ABEC7F6}"/>
                  </a:ext>
                </a:extLst>
              </p:cNvPr>
              <p:cNvSpPr/>
              <p:nvPr/>
            </p:nvSpPr>
            <p:spPr>
              <a:xfrm>
                <a:off x="2172320" y="2731674"/>
                <a:ext cx="50101" cy="2714"/>
              </a:xfrm>
              <a:custGeom>
                <a:avLst/>
                <a:gdLst>
                  <a:gd name="connsiteX0" fmla="*/ 0 w 50101"/>
                  <a:gd name="connsiteY0" fmla="*/ 0 h 2714"/>
                  <a:gd name="connsiteX1" fmla="*/ 50101 w 50101"/>
                  <a:gd name="connsiteY1" fmla="*/ 2715 h 27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0101" h="2714">
                    <a:moveTo>
                      <a:pt x="0" y="0"/>
                    </a:moveTo>
                    <a:lnTo>
                      <a:pt x="50101" y="2715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20" name="Forma livre: Forma 119">
              <a:extLst>
                <a:ext uri="{FF2B5EF4-FFF2-40B4-BE49-F238E27FC236}">
                  <a16:creationId xmlns:a16="http://schemas.microsoft.com/office/drawing/2014/main" id="{B2DCDF1B-813D-4098-3E2B-7252CB36DCAD}"/>
                </a:ext>
              </a:extLst>
            </p:cNvPr>
            <p:cNvSpPr/>
            <p:nvPr/>
          </p:nvSpPr>
          <p:spPr>
            <a:xfrm>
              <a:off x="2042589" y="2668381"/>
              <a:ext cx="191643" cy="191642"/>
            </a:xfrm>
            <a:custGeom>
              <a:avLst/>
              <a:gdLst>
                <a:gd name="connsiteX0" fmla="*/ 191643 w 191643"/>
                <a:gd name="connsiteY0" fmla="*/ 0 h 191642"/>
                <a:gd name="connsiteX1" fmla="*/ 0 w 191643"/>
                <a:gd name="connsiteY1" fmla="*/ 191643 h 1916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91643" h="191642">
                  <a:moveTo>
                    <a:pt x="191643" y="0"/>
                  </a:moveTo>
                  <a:lnTo>
                    <a:pt x="0" y="191643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1" name="Forma livre: Forma 120">
              <a:extLst>
                <a:ext uri="{FF2B5EF4-FFF2-40B4-BE49-F238E27FC236}">
                  <a16:creationId xmlns:a16="http://schemas.microsoft.com/office/drawing/2014/main" id="{240F0C08-7AD8-9E02-6752-2C306FC10980}"/>
                </a:ext>
              </a:extLst>
            </p:cNvPr>
            <p:cNvSpPr/>
            <p:nvPr/>
          </p:nvSpPr>
          <p:spPr>
            <a:xfrm>
              <a:off x="2165985" y="2674191"/>
              <a:ext cx="1571" cy="26955"/>
            </a:xfrm>
            <a:custGeom>
              <a:avLst/>
              <a:gdLst>
                <a:gd name="connsiteX0" fmla="*/ 1572 w 1571"/>
                <a:gd name="connsiteY0" fmla="*/ 26956 h 26955"/>
                <a:gd name="connsiteX1" fmla="*/ 0 w 1571"/>
                <a:gd name="connsiteY1" fmla="*/ 0 h 26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71" h="26955">
                  <a:moveTo>
                    <a:pt x="1572" y="26956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2" name="Forma livre: Forma 121">
              <a:extLst>
                <a:ext uri="{FF2B5EF4-FFF2-40B4-BE49-F238E27FC236}">
                  <a16:creationId xmlns:a16="http://schemas.microsoft.com/office/drawing/2014/main" id="{89064B15-3AFE-F905-2631-AAECE69D3749}"/>
                </a:ext>
              </a:extLst>
            </p:cNvPr>
            <p:cNvSpPr/>
            <p:nvPr/>
          </p:nvSpPr>
          <p:spPr>
            <a:xfrm>
              <a:off x="2110931" y="2696765"/>
              <a:ext cx="5429" cy="55578"/>
            </a:xfrm>
            <a:custGeom>
              <a:avLst/>
              <a:gdLst>
                <a:gd name="connsiteX0" fmla="*/ 5429 w 5429"/>
                <a:gd name="connsiteY0" fmla="*/ 55578 h 55578"/>
                <a:gd name="connsiteX1" fmla="*/ 0 w 5429"/>
                <a:gd name="connsiteY1" fmla="*/ 0 h 555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429" h="55578">
                  <a:moveTo>
                    <a:pt x="5429" y="55578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23" name="Gráfico 2">
            <a:extLst>
              <a:ext uri="{FF2B5EF4-FFF2-40B4-BE49-F238E27FC236}">
                <a16:creationId xmlns:a16="http://schemas.microsoft.com/office/drawing/2014/main" id="{FAC24A22-1A46-F519-F970-18A88FF9A988}"/>
              </a:ext>
            </a:extLst>
          </p:cNvPr>
          <p:cNvGrpSpPr/>
          <p:nvPr/>
        </p:nvGrpSpPr>
        <p:grpSpPr>
          <a:xfrm>
            <a:off x="2023453" y="2053542"/>
            <a:ext cx="289170" cy="287326"/>
            <a:chOff x="2023453" y="2053542"/>
            <a:chExt cx="289170" cy="287326"/>
          </a:xfrm>
          <a:noFill/>
        </p:grpSpPr>
        <p:sp>
          <p:nvSpPr>
            <p:cNvPr id="124" name="Forma livre: Forma 123">
              <a:extLst>
                <a:ext uri="{FF2B5EF4-FFF2-40B4-BE49-F238E27FC236}">
                  <a16:creationId xmlns:a16="http://schemas.microsoft.com/office/drawing/2014/main" id="{C639A12E-C5C0-77B4-90A4-9013E876E9EB}"/>
                </a:ext>
              </a:extLst>
            </p:cNvPr>
            <p:cNvSpPr/>
            <p:nvPr/>
          </p:nvSpPr>
          <p:spPr>
            <a:xfrm>
              <a:off x="2186321" y="2053542"/>
              <a:ext cx="4762" cy="31861"/>
            </a:xfrm>
            <a:custGeom>
              <a:avLst/>
              <a:gdLst>
                <a:gd name="connsiteX0" fmla="*/ 0 w 4762"/>
                <a:gd name="connsiteY0" fmla="*/ 31861 h 31861"/>
                <a:gd name="connsiteX1" fmla="*/ 0 w 4762"/>
                <a:gd name="connsiteY1" fmla="*/ 0 h 31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762" h="31861">
                  <a:moveTo>
                    <a:pt x="0" y="31861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5" name="Forma livre: Forma 124">
              <a:extLst>
                <a:ext uri="{FF2B5EF4-FFF2-40B4-BE49-F238E27FC236}">
                  <a16:creationId xmlns:a16="http://schemas.microsoft.com/office/drawing/2014/main" id="{F6058A32-299E-E9A7-D199-CEB262C9CACB}"/>
                </a:ext>
              </a:extLst>
            </p:cNvPr>
            <p:cNvSpPr/>
            <p:nvPr/>
          </p:nvSpPr>
          <p:spPr>
            <a:xfrm>
              <a:off x="2280762" y="2179843"/>
              <a:ext cx="31861" cy="4762"/>
            </a:xfrm>
            <a:custGeom>
              <a:avLst/>
              <a:gdLst>
                <a:gd name="connsiteX0" fmla="*/ 0 w 31861"/>
                <a:gd name="connsiteY0" fmla="*/ 0 h 4762"/>
                <a:gd name="connsiteX1" fmla="*/ 31861 w 31861"/>
                <a:gd name="connsiteY1" fmla="*/ 0 h 47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1861" h="4762">
                  <a:moveTo>
                    <a:pt x="0" y="0"/>
                  </a:moveTo>
                  <a:lnTo>
                    <a:pt x="31861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6" name="Forma livre: Forma 125">
              <a:extLst>
                <a:ext uri="{FF2B5EF4-FFF2-40B4-BE49-F238E27FC236}">
                  <a16:creationId xmlns:a16="http://schemas.microsoft.com/office/drawing/2014/main" id="{A259FF5B-7479-D92E-1255-33D852BB9E00}"/>
                </a:ext>
              </a:extLst>
            </p:cNvPr>
            <p:cNvSpPr/>
            <p:nvPr/>
          </p:nvSpPr>
          <p:spPr>
            <a:xfrm>
              <a:off x="2253092" y="2246614"/>
              <a:ext cx="22574" cy="22526"/>
            </a:xfrm>
            <a:custGeom>
              <a:avLst/>
              <a:gdLst>
                <a:gd name="connsiteX0" fmla="*/ 0 w 22574"/>
                <a:gd name="connsiteY0" fmla="*/ 0 h 22526"/>
                <a:gd name="connsiteX1" fmla="*/ 22574 w 22574"/>
                <a:gd name="connsiteY1" fmla="*/ 22527 h 225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2574" h="22526">
                  <a:moveTo>
                    <a:pt x="0" y="0"/>
                  </a:moveTo>
                  <a:lnTo>
                    <a:pt x="22574" y="22527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7" name="Forma livre: Forma 126">
              <a:extLst>
                <a:ext uri="{FF2B5EF4-FFF2-40B4-BE49-F238E27FC236}">
                  <a16:creationId xmlns:a16="http://schemas.microsoft.com/office/drawing/2014/main" id="{B993A083-E5E8-A628-6547-8B39EB7F94DD}"/>
                </a:ext>
              </a:extLst>
            </p:cNvPr>
            <p:cNvSpPr/>
            <p:nvPr/>
          </p:nvSpPr>
          <p:spPr>
            <a:xfrm>
              <a:off x="2097024" y="2090499"/>
              <a:ext cx="22526" cy="22574"/>
            </a:xfrm>
            <a:custGeom>
              <a:avLst/>
              <a:gdLst>
                <a:gd name="connsiteX0" fmla="*/ 0 w 22526"/>
                <a:gd name="connsiteY0" fmla="*/ 0 h 22574"/>
                <a:gd name="connsiteX1" fmla="*/ 22527 w 22526"/>
                <a:gd name="connsiteY1" fmla="*/ 22574 h 225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2526" h="22574">
                  <a:moveTo>
                    <a:pt x="0" y="0"/>
                  </a:moveTo>
                  <a:lnTo>
                    <a:pt x="22527" y="22574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8" name="Forma livre: Forma 127">
              <a:extLst>
                <a:ext uri="{FF2B5EF4-FFF2-40B4-BE49-F238E27FC236}">
                  <a16:creationId xmlns:a16="http://schemas.microsoft.com/office/drawing/2014/main" id="{7AF468C2-F254-2E12-95B1-6A4260A7A1F6}"/>
                </a:ext>
              </a:extLst>
            </p:cNvPr>
            <p:cNvSpPr/>
            <p:nvPr/>
          </p:nvSpPr>
          <p:spPr>
            <a:xfrm>
              <a:off x="2253092" y="2090499"/>
              <a:ext cx="22574" cy="22574"/>
            </a:xfrm>
            <a:custGeom>
              <a:avLst/>
              <a:gdLst>
                <a:gd name="connsiteX0" fmla="*/ 22574 w 22574"/>
                <a:gd name="connsiteY0" fmla="*/ 0 h 22574"/>
                <a:gd name="connsiteX1" fmla="*/ 0 w 22574"/>
                <a:gd name="connsiteY1" fmla="*/ 22574 h 225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2574" h="22574">
                  <a:moveTo>
                    <a:pt x="22574" y="0"/>
                  </a:moveTo>
                  <a:lnTo>
                    <a:pt x="0" y="22574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9" name="Forma livre: Forma 128">
              <a:extLst>
                <a:ext uri="{FF2B5EF4-FFF2-40B4-BE49-F238E27FC236}">
                  <a16:creationId xmlns:a16="http://schemas.microsoft.com/office/drawing/2014/main" id="{1443D53D-A0DB-A1E0-E748-326E6F36B385}"/>
                </a:ext>
              </a:extLst>
            </p:cNvPr>
            <p:cNvSpPr/>
            <p:nvPr/>
          </p:nvSpPr>
          <p:spPr>
            <a:xfrm>
              <a:off x="2223040" y="2063448"/>
              <a:ext cx="12382" cy="29384"/>
            </a:xfrm>
            <a:custGeom>
              <a:avLst/>
              <a:gdLst>
                <a:gd name="connsiteX0" fmla="*/ 12383 w 12382"/>
                <a:gd name="connsiteY0" fmla="*/ 0 h 29384"/>
                <a:gd name="connsiteX1" fmla="*/ 0 w 12382"/>
                <a:gd name="connsiteY1" fmla="*/ 29385 h 293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82" h="29384">
                  <a:moveTo>
                    <a:pt x="12383" y="0"/>
                  </a:moveTo>
                  <a:lnTo>
                    <a:pt x="0" y="29385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30" name="Forma livre: Forma 129">
              <a:extLst>
                <a:ext uri="{FF2B5EF4-FFF2-40B4-BE49-F238E27FC236}">
                  <a16:creationId xmlns:a16="http://schemas.microsoft.com/office/drawing/2014/main" id="{0E4F513F-B362-50B5-EEFC-DCF2D9D0C7D1}"/>
                </a:ext>
              </a:extLst>
            </p:cNvPr>
            <p:cNvSpPr/>
            <p:nvPr/>
          </p:nvSpPr>
          <p:spPr>
            <a:xfrm>
              <a:off x="2273808" y="2132266"/>
              <a:ext cx="29527" cy="12001"/>
            </a:xfrm>
            <a:custGeom>
              <a:avLst/>
              <a:gdLst>
                <a:gd name="connsiteX0" fmla="*/ 29528 w 29527"/>
                <a:gd name="connsiteY0" fmla="*/ 0 h 12001"/>
                <a:gd name="connsiteX1" fmla="*/ 0 w 29527"/>
                <a:gd name="connsiteY1" fmla="*/ 12002 h 120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9527" h="12001">
                  <a:moveTo>
                    <a:pt x="29528" y="0"/>
                  </a:moveTo>
                  <a:lnTo>
                    <a:pt x="0" y="12002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31" name="Forma livre: Forma 130">
              <a:extLst>
                <a:ext uri="{FF2B5EF4-FFF2-40B4-BE49-F238E27FC236}">
                  <a16:creationId xmlns:a16="http://schemas.microsoft.com/office/drawing/2014/main" id="{DDC4F5D4-5057-FC78-BD9E-84649A78F049}"/>
                </a:ext>
              </a:extLst>
            </p:cNvPr>
            <p:cNvSpPr/>
            <p:nvPr/>
          </p:nvSpPr>
          <p:spPr>
            <a:xfrm>
              <a:off x="2221897" y="2267331"/>
              <a:ext cx="12001" cy="29527"/>
            </a:xfrm>
            <a:custGeom>
              <a:avLst/>
              <a:gdLst>
                <a:gd name="connsiteX0" fmla="*/ 0 w 12001"/>
                <a:gd name="connsiteY0" fmla="*/ 0 h 29527"/>
                <a:gd name="connsiteX1" fmla="*/ 12001 w 12001"/>
                <a:gd name="connsiteY1" fmla="*/ 29527 h 295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01" h="29527">
                  <a:moveTo>
                    <a:pt x="0" y="0"/>
                  </a:moveTo>
                  <a:lnTo>
                    <a:pt x="12001" y="29527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32" name="Forma livre: Forma 131">
              <a:extLst>
                <a:ext uri="{FF2B5EF4-FFF2-40B4-BE49-F238E27FC236}">
                  <a16:creationId xmlns:a16="http://schemas.microsoft.com/office/drawing/2014/main" id="{D223E6A1-EAE3-C53B-E2C5-9343562ABCDA}"/>
                </a:ext>
              </a:extLst>
            </p:cNvPr>
            <p:cNvSpPr/>
            <p:nvPr/>
          </p:nvSpPr>
          <p:spPr>
            <a:xfrm>
              <a:off x="2138792" y="2062829"/>
              <a:ext cx="11953" cy="29527"/>
            </a:xfrm>
            <a:custGeom>
              <a:avLst/>
              <a:gdLst>
                <a:gd name="connsiteX0" fmla="*/ 0 w 11953"/>
                <a:gd name="connsiteY0" fmla="*/ 0 h 29527"/>
                <a:gd name="connsiteX1" fmla="*/ 11954 w 11953"/>
                <a:gd name="connsiteY1" fmla="*/ 29527 h 295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953" h="29527">
                  <a:moveTo>
                    <a:pt x="0" y="0"/>
                  </a:moveTo>
                  <a:lnTo>
                    <a:pt x="11954" y="29527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33" name="Forma livre: Forma 132">
              <a:extLst>
                <a:ext uri="{FF2B5EF4-FFF2-40B4-BE49-F238E27FC236}">
                  <a16:creationId xmlns:a16="http://schemas.microsoft.com/office/drawing/2014/main" id="{AE3C9C92-CC45-317C-7F2A-FF8B1399687D}"/>
                </a:ext>
              </a:extLst>
            </p:cNvPr>
            <p:cNvSpPr/>
            <p:nvPr/>
          </p:nvSpPr>
          <p:spPr>
            <a:xfrm>
              <a:off x="2273332" y="2216562"/>
              <a:ext cx="29384" cy="12382"/>
            </a:xfrm>
            <a:custGeom>
              <a:avLst/>
              <a:gdLst>
                <a:gd name="connsiteX0" fmla="*/ 0 w 29384"/>
                <a:gd name="connsiteY0" fmla="*/ 0 h 12382"/>
                <a:gd name="connsiteX1" fmla="*/ 29385 w 29384"/>
                <a:gd name="connsiteY1" fmla="*/ 12382 h 123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9384" h="12382">
                  <a:moveTo>
                    <a:pt x="0" y="0"/>
                  </a:moveTo>
                  <a:lnTo>
                    <a:pt x="29385" y="12382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34" name="Forma livre: Forma 133">
              <a:extLst>
                <a:ext uri="{FF2B5EF4-FFF2-40B4-BE49-F238E27FC236}">
                  <a16:creationId xmlns:a16="http://schemas.microsoft.com/office/drawing/2014/main" id="{BB7C3C8C-48CE-0F71-9132-F39CD9E57E1C}"/>
                </a:ext>
              </a:extLst>
            </p:cNvPr>
            <p:cNvSpPr/>
            <p:nvPr/>
          </p:nvSpPr>
          <p:spPr>
            <a:xfrm>
              <a:off x="2023453" y="2112220"/>
              <a:ext cx="179058" cy="228648"/>
            </a:xfrm>
            <a:custGeom>
              <a:avLst/>
              <a:gdLst>
                <a:gd name="connsiteX0" fmla="*/ 143200 w 179058"/>
                <a:gd name="connsiteY0" fmla="*/ 157635 h 228648"/>
                <a:gd name="connsiteX1" fmla="*/ 127864 w 179058"/>
                <a:gd name="connsiteY1" fmla="*/ 153872 h 228648"/>
                <a:gd name="connsiteX2" fmla="*/ 103290 w 179058"/>
                <a:gd name="connsiteY2" fmla="*/ 162016 h 228648"/>
                <a:gd name="connsiteX3" fmla="*/ 74572 w 179058"/>
                <a:gd name="connsiteY3" fmla="*/ 124583 h 228648"/>
                <a:gd name="connsiteX4" fmla="*/ 74572 w 179058"/>
                <a:gd name="connsiteY4" fmla="*/ 124583 h 228648"/>
                <a:gd name="connsiteX5" fmla="*/ 74429 w 179058"/>
                <a:gd name="connsiteY5" fmla="*/ 124392 h 228648"/>
                <a:gd name="connsiteX6" fmla="*/ 74286 w 179058"/>
                <a:gd name="connsiteY6" fmla="*/ 124202 h 228648"/>
                <a:gd name="connsiteX7" fmla="*/ 74286 w 179058"/>
                <a:gd name="connsiteY7" fmla="*/ 124202 h 228648"/>
                <a:gd name="connsiteX8" fmla="*/ 49759 w 179058"/>
                <a:gd name="connsiteY8" fmla="*/ 83911 h 228648"/>
                <a:gd name="connsiteX9" fmla="*/ 66190 w 179058"/>
                <a:gd name="connsiteY9" fmla="*/ 63956 h 228648"/>
                <a:gd name="connsiteX10" fmla="*/ 68190 w 179058"/>
                <a:gd name="connsiteY10" fmla="*/ 48288 h 228648"/>
                <a:gd name="connsiteX11" fmla="*/ 50474 w 179058"/>
                <a:gd name="connsiteY11" fmla="*/ 6854 h 228648"/>
                <a:gd name="connsiteX12" fmla="*/ 41758 w 179058"/>
                <a:gd name="connsiteY12" fmla="*/ 44 h 228648"/>
                <a:gd name="connsiteX13" fmla="*/ 11564 w 179058"/>
                <a:gd name="connsiteY13" fmla="*/ 14093 h 228648"/>
                <a:gd name="connsiteX14" fmla="*/ 87 w 179058"/>
                <a:gd name="connsiteY14" fmla="*/ 30142 h 228648"/>
                <a:gd name="connsiteX15" fmla="*/ 44759 w 179058"/>
                <a:gd name="connsiteY15" fmla="*/ 144776 h 228648"/>
                <a:gd name="connsiteX16" fmla="*/ 135532 w 179058"/>
                <a:gd name="connsiteY16" fmla="*/ 227786 h 228648"/>
                <a:gd name="connsiteX17" fmla="*/ 154630 w 179058"/>
                <a:gd name="connsiteY17" fmla="*/ 222881 h 228648"/>
                <a:gd name="connsiteX18" fmla="*/ 178633 w 179058"/>
                <a:gd name="connsiteY18" fmla="*/ 199783 h 228648"/>
                <a:gd name="connsiteX19" fmla="*/ 175442 w 179058"/>
                <a:gd name="connsiteY19" fmla="*/ 189210 h 228648"/>
                <a:gd name="connsiteX20" fmla="*/ 143152 w 179058"/>
                <a:gd name="connsiteY20" fmla="*/ 157730 h 2286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79058" h="228648">
                  <a:moveTo>
                    <a:pt x="143200" y="157635"/>
                  </a:moveTo>
                  <a:cubicBezTo>
                    <a:pt x="143200" y="157635"/>
                    <a:pt x="137818" y="150586"/>
                    <a:pt x="127864" y="153872"/>
                  </a:cubicBezTo>
                  <a:lnTo>
                    <a:pt x="103290" y="162016"/>
                  </a:lnTo>
                  <a:cubicBezTo>
                    <a:pt x="103290" y="162016"/>
                    <a:pt x="84430" y="140347"/>
                    <a:pt x="74572" y="124583"/>
                  </a:cubicBezTo>
                  <a:lnTo>
                    <a:pt x="74572" y="124583"/>
                  </a:lnTo>
                  <a:cubicBezTo>
                    <a:pt x="74572" y="124583"/>
                    <a:pt x="74477" y="124440"/>
                    <a:pt x="74429" y="124392"/>
                  </a:cubicBezTo>
                  <a:cubicBezTo>
                    <a:pt x="74429" y="124345"/>
                    <a:pt x="74334" y="124250"/>
                    <a:pt x="74286" y="124202"/>
                  </a:cubicBezTo>
                  <a:lnTo>
                    <a:pt x="74286" y="124202"/>
                  </a:lnTo>
                  <a:cubicBezTo>
                    <a:pt x="63190" y="109343"/>
                    <a:pt x="49759" y="83911"/>
                    <a:pt x="49759" y="83911"/>
                  </a:cubicBezTo>
                  <a:lnTo>
                    <a:pt x="66190" y="63956"/>
                  </a:lnTo>
                  <a:cubicBezTo>
                    <a:pt x="72858" y="55812"/>
                    <a:pt x="68190" y="48288"/>
                    <a:pt x="68190" y="48288"/>
                  </a:cubicBezTo>
                  <a:lnTo>
                    <a:pt x="50474" y="6854"/>
                  </a:lnTo>
                  <a:cubicBezTo>
                    <a:pt x="47235" y="-99"/>
                    <a:pt x="41758" y="44"/>
                    <a:pt x="41758" y="44"/>
                  </a:cubicBezTo>
                  <a:cubicBezTo>
                    <a:pt x="34948" y="-909"/>
                    <a:pt x="11564" y="14093"/>
                    <a:pt x="11564" y="14093"/>
                  </a:cubicBezTo>
                  <a:cubicBezTo>
                    <a:pt x="-723" y="21475"/>
                    <a:pt x="87" y="30142"/>
                    <a:pt x="87" y="30142"/>
                  </a:cubicBezTo>
                  <a:cubicBezTo>
                    <a:pt x="-2199" y="81577"/>
                    <a:pt x="41520" y="139823"/>
                    <a:pt x="44759" y="144776"/>
                  </a:cubicBezTo>
                  <a:cubicBezTo>
                    <a:pt x="49235" y="150872"/>
                    <a:pt x="86716" y="211356"/>
                    <a:pt x="135532" y="227786"/>
                  </a:cubicBezTo>
                  <a:cubicBezTo>
                    <a:pt x="135532" y="227786"/>
                    <a:pt x="143295" y="231692"/>
                    <a:pt x="154630" y="222881"/>
                  </a:cubicBezTo>
                  <a:cubicBezTo>
                    <a:pt x="154630" y="222881"/>
                    <a:pt x="177109" y="206450"/>
                    <a:pt x="178633" y="199783"/>
                  </a:cubicBezTo>
                  <a:cubicBezTo>
                    <a:pt x="178633" y="199783"/>
                    <a:pt x="180776" y="194734"/>
                    <a:pt x="175442" y="189210"/>
                  </a:cubicBezTo>
                  <a:lnTo>
                    <a:pt x="143152" y="157730"/>
                  </a:lnTo>
                  <a:close/>
                </a:path>
              </a:pathLst>
            </a:custGeom>
            <a:noFill/>
            <a:ln w="6350" cap="sq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35" name="Gráfico 2">
              <a:extLst>
                <a:ext uri="{FF2B5EF4-FFF2-40B4-BE49-F238E27FC236}">
                  <a16:creationId xmlns:a16="http://schemas.microsoft.com/office/drawing/2014/main" id="{1BA06500-4615-5F40-EF9C-11FB1627F409}"/>
                </a:ext>
              </a:extLst>
            </p:cNvPr>
            <p:cNvGrpSpPr/>
            <p:nvPr/>
          </p:nvGrpSpPr>
          <p:grpSpPr>
            <a:xfrm>
              <a:off x="2138934" y="2142505"/>
              <a:ext cx="97821" cy="72008"/>
              <a:chOff x="2138934" y="2142505"/>
              <a:chExt cx="97821" cy="72008"/>
            </a:xfrm>
            <a:noFill/>
          </p:grpSpPr>
          <p:sp>
            <p:nvSpPr>
              <p:cNvPr id="136" name="Forma livre: Forma 135">
                <a:extLst>
                  <a:ext uri="{FF2B5EF4-FFF2-40B4-BE49-F238E27FC236}">
                    <a16:creationId xmlns:a16="http://schemas.microsoft.com/office/drawing/2014/main" id="{690FC6AD-4336-1154-B938-906B709FD2F7}"/>
                  </a:ext>
                </a:extLst>
              </p:cNvPr>
              <p:cNvSpPr/>
              <p:nvPr/>
            </p:nvSpPr>
            <p:spPr>
              <a:xfrm>
                <a:off x="2187512" y="2142505"/>
                <a:ext cx="49244" cy="72008"/>
              </a:xfrm>
              <a:custGeom>
                <a:avLst/>
                <a:gdLst>
                  <a:gd name="connsiteX0" fmla="*/ 30337 w 49244"/>
                  <a:gd name="connsiteY0" fmla="*/ 72009 h 72008"/>
                  <a:gd name="connsiteX1" fmla="*/ 30337 w 49244"/>
                  <a:gd name="connsiteY1" fmla="*/ 0 h 72008"/>
                  <a:gd name="connsiteX2" fmla="*/ 0 w 49244"/>
                  <a:gd name="connsiteY2" fmla="*/ 48911 h 72008"/>
                  <a:gd name="connsiteX3" fmla="*/ 49244 w 49244"/>
                  <a:gd name="connsiteY3" fmla="*/ 48911 h 720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9244" h="72008">
                    <a:moveTo>
                      <a:pt x="30337" y="72009"/>
                    </a:moveTo>
                    <a:lnTo>
                      <a:pt x="30337" y="0"/>
                    </a:lnTo>
                    <a:lnTo>
                      <a:pt x="0" y="48911"/>
                    </a:lnTo>
                    <a:lnTo>
                      <a:pt x="49244" y="48911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37" name="Forma livre: Forma 136">
                <a:extLst>
                  <a:ext uri="{FF2B5EF4-FFF2-40B4-BE49-F238E27FC236}">
                    <a16:creationId xmlns:a16="http://schemas.microsoft.com/office/drawing/2014/main" id="{24BD0063-8F72-D6AC-9267-82D96679A9DE}"/>
                  </a:ext>
                </a:extLst>
              </p:cNvPr>
              <p:cNvSpPr/>
              <p:nvPr/>
            </p:nvSpPr>
            <p:spPr>
              <a:xfrm>
                <a:off x="2138934" y="2142601"/>
                <a:ext cx="38338" cy="65531"/>
              </a:xfrm>
              <a:custGeom>
                <a:avLst/>
                <a:gdLst>
                  <a:gd name="connsiteX0" fmla="*/ 0 w 38338"/>
                  <a:gd name="connsiteY0" fmla="*/ 20431 h 65531"/>
                  <a:gd name="connsiteX1" fmla="*/ 0 w 38338"/>
                  <a:gd name="connsiteY1" fmla="*/ 16669 h 65531"/>
                  <a:gd name="connsiteX2" fmla="*/ 16669 w 38338"/>
                  <a:gd name="connsiteY2" fmla="*/ 0 h 65531"/>
                  <a:gd name="connsiteX3" fmla="*/ 33338 w 38338"/>
                  <a:gd name="connsiteY3" fmla="*/ 16669 h 65531"/>
                  <a:gd name="connsiteX4" fmla="*/ 24479 w 38338"/>
                  <a:gd name="connsiteY4" fmla="*/ 33433 h 65531"/>
                  <a:gd name="connsiteX5" fmla="*/ 619 w 38338"/>
                  <a:gd name="connsiteY5" fmla="*/ 65532 h 65531"/>
                  <a:gd name="connsiteX6" fmla="*/ 38338 w 38338"/>
                  <a:gd name="connsiteY6" fmla="*/ 65532 h 655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8338" h="65531">
                    <a:moveTo>
                      <a:pt x="0" y="20431"/>
                    </a:moveTo>
                    <a:lnTo>
                      <a:pt x="0" y="16669"/>
                    </a:lnTo>
                    <a:cubicBezTo>
                      <a:pt x="0" y="7477"/>
                      <a:pt x="7477" y="0"/>
                      <a:pt x="16669" y="0"/>
                    </a:cubicBezTo>
                    <a:cubicBezTo>
                      <a:pt x="25860" y="0"/>
                      <a:pt x="33338" y="7477"/>
                      <a:pt x="33338" y="16669"/>
                    </a:cubicBezTo>
                    <a:cubicBezTo>
                      <a:pt x="33338" y="23384"/>
                      <a:pt x="29337" y="29289"/>
                      <a:pt x="24479" y="33433"/>
                    </a:cubicBezTo>
                    <a:cubicBezTo>
                      <a:pt x="17907" y="39005"/>
                      <a:pt x="2334" y="51721"/>
                      <a:pt x="619" y="65532"/>
                    </a:cubicBezTo>
                    <a:lnTo>
                      <a:pt x="38338" y="65532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38" name="Gráfico 2">
            <a:extLst>
              <a:ext uri="{FF2B5EF4-FFF2-40B4-BE49-F238E27FC236}">
                <a16:creationId xmlns:a16="http://schemas.microsoft.com/office/drawing/2014/main" id="{E28CC1C7-DC2B-F418-B1B1-9E1049E7B6F2}"/>
              </a:ext>
            </a:extLst>
          </p:cNvPr>
          <p:cNvGrpSpPr/>
          <p:nvPr/>
        </p:nvGrpSpPr>
        <p:grpSpPr>
          <a:xfrm>
            <a:off x="2042065" y="1506474"/>
            <a:ext cx="251983" cy="308086"/>
            <a:chOff x="2042065" y="1506474"/>
            <a:chExt cx="251983" cy="308086"/>
          </a:xfrm>
          <a:noFill/>
        </p:grpSpPr>
        <p:sp>
          <p:nvSpPr>
            <p:cNvPr id="139" name="Forma livre: Forma 138">
              <a:extLst>
                <a:ext uri="{FF2B5EF4-FFF2-40B4-BE49-F238E27FC236}">
                  <a16:creationId xmlns:a16="http://schemas.microsoft.com/office/drawing/2014/main" id="{F49CD60A-3736-3F65-5F70-7D8386214D07}"/>
                </a:ext>
              </a:extLst>
            </p:cNvPr>
            <p:cNvSpPr/>
            <p:nvPr/>
          </p:nvSpPr>
          <p:spPr>
            <a:xfrm>
              <a:off x="2142173" y="1583864"/>
              <a:ext cx="151876" cy="230695"/>
            </a:xfrm>
            <a:custGeom>
              <a:avLst/>
              <a:gdLst>
                <a:gd name="connsiteX0" fmla="*/ 0 w 151876"/>
                <a:gd name="connsiteY0" fmla="*/ 230695 h 230695"/>
                <a:gd name="connsiteX1" fmla="*/ 0 w 151876"/>
                <a:gd name="connsiteY1" fmla="*/ 14288 h 230695"/>
                <a:gd name="connsiteX2" fmla="*/ 14288 w 151876"/>
                <a:gd name="connsiteY2" fmla="*/ 0 h 230695"/>
                <a:gd name="connsiteX3" fmla="*/ 137589 w 151876"/>
                <a:gd name="connsiteY3" fmla="*/ 0 h 230695"/>
                <a:gd name="connsiteX4" fmla="*/ 151876 w 151876"/>
                <a:gd name="connsiteY4" fmla="*/ 14288 h 230695"/>
                <a:gd name="connsiteX5" fmla="*/ 151876 w 151876"/>
                <a:gd name="connsiteY5" fmla="*/ 230695 h 2306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51876" h="230695">
                  <a:moveTo>
                    <a:pt x="0" y="230695"/>
                  </a:moveTo>
                  <a:lnTo>
                    <a:pt x="0" y="14288"/>
                  </a:lnTo>
                  <a:cubicBezTo>
                    <a:pt x="0" y="6429"/>
                    <a:pt x="6429" y="0"/>
                    <a:pt x="14288" y="0"/>
                  </a:cubicBezTo>
                  <a:lnTo>
                    <a:pt x="137589" y="0"/>
                  </a:lnTo>
                  <a:cubicBezTo>
                    <a:pt x="145447" y="0"/>
                    <a:pt x="151876" y="6429"/>
                    <a:pt x="151876" y="14288"/>
                  </a:cubicBezTo>
                  <a:lnTo>
                    <a:pt x="151876" y="230695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0" name="Forma livre: Forma 139">
              <a:extLst>
                <a:ext uri="{FF2B5EF4-FFF2-40B4-BE49-F238E27FC236}">
                  <a16:creationId xmlns:a16="http://schemas.microsoft.com/office/drawing/2014/main" id="{FE96252A-FE20-46E2-28A2-A912ED18560E}"/>
                </a:ext>
              </a:extLst>
            </p:cNvPr>
            <p:cNvSpPr/>
            <p:nvPr/>
          </p:nvSpPr>
          <p:spPr>
            <a:xfrm>
              <a:off x="2042065" y="1694926"/>
              <a:ext cx="75771" cy="119633"/>
            </a:xfrm>
            <a:custGeom>
              <a:avLst/>
              <a:gdLst>
                <a:gd name="connsiteX0" fmla="*/ 0 w 75771"/>
                <a:gd name="connsiteY0" fmla="*/ 119634 h 119633"/>
                <a:gd name="connsiteX1" fmla="*/ 0 w 75771"/>
                <a:gd name="connsiteY1" fmla="*/ 14288 h 119633"/>
                <a:gd name="connsiteX2" fmla="*/ 14288 w 75771"/>
                <a:gd name="connsiteY2" fmla="*/ 0 h 119633"/>
                <a:gd name="connsiteX3" fmla="*/ 75771 w 75771"/>
                <a:gd name="connsiteY3" fmla="*/ 0 h 1196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5771" h="119633">
                  <a:moveTo>
                    <a:pt x="0" y="119634"/>
                  </a:moveTo>
                  <a:lnTo>
                    <a:pt x="0" y="14288"/>
                  </a:lnTo>
                  <a:cubicBezTo>
                    <a:pt x="0" y="6429"/>
                    <a:pt x="6429" y="0"/>
                    <a:pt x="14288" y="0"/>
                  </a:cubicBezTo>
                  <a:lnTo>
                    <a:pt x="75771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1" name="Forma livre: Forma 140">
              <a:extLst>
                <a:ext uri="{FF2B5EF4-FFF2-40B4-BE49-F238E27FC236}">
                  <a16:creationId xmlns:a16="http://schemas.microsoft.com/office/drawing/2014/main" id="{BF62E59D-7AF9-ED82-122A-FEA75A83358F}"/>
                </a:ext>
              </a:extLst>
            </p:cNvPr>
            <p:cNvSpPr/>
            <p:nvPr/>
          </p:nvSpPr>
          <p:spPr>
            <a:xfrm>
              <a:off x="2190465" y="1506474"/>
              <a:ext cx="4762" cy="49720"/>
            </a:xfrm>
            <a:custGeom>
              <a:avLst/>
              <a:gdLst>
                <a:gd name="connsiteX0" fmla="*/ 0 w 4762"/>
                <a:gd name="connsiteY0" fmla="*/ 49721 h 49720"/>
                <a:gd name="connsiteX1" fmla="*/ 0 w 4762"/>
                <a:gd name="connsiteY1" fmla="*/ 0 h 497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762" h="49720">
                  <a:moveTo>
                    <a:pt x="0" y="49721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2" name="Forma livre: Forma 141">
              <a:extLst>
                <a:ext uri="{FF2B5EF4-FFF2-40B4-BE49-F238E27FC236}">
                  <a16:creationId xmlns:a16="http://schemas.microsoft.com/office/drawing/2014/main" id="{AFF4002C-0A70-6291-8731-30D5E0A0BAEE}"/>
                </a:ext>
              </a:extLst>
            </p:cNvPr>
            <p:cNvSpPr/>
            <p:nvPr/>
          </p:nvSpPr>
          <p:spPr>
            <a:xfrm>
              <a:off x="2245757" y="1506474"/>
              <a:ext cx="4762" cy="49720"/>
            </a:xfrm>
            <a:custGeom>
              <a:avLst/>
              <a:gdLst>
                <a:gd name="connsiteX0" fmla="*/ 0 w 4762"/>
                <a:gd name="connsiteY0" fmla="*/ 49721 h 49720"/>
                <a:gd name="connsiteX1" fmla="*/ 0 w 4762"/>
                <a:gd name="connsiteY1" fmla="*/ 0 h 497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762" h="49720">
                  <a:moveTo>
                    <a:pt x="0" y="49721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3" name="Forma livre: Forma 142">
              <a:extLst>
                <a:ext uri="{FF2B5EF4-FFF2-40B4-BE49-F238E27FC236}">
                  <a16:creationId xmlns:a16="http://schemas.microsoft.com/office/drawing/2014/main" id="{813950C8-5B5D-B147-CC2B-07D0EE47CC4F}"/>
                </a:ext>
              </a:extLst>
            </p:cNvPr>
            <p:cNvSpPr/>
            <p:nvPr/>
          </p:nvSpPr>
          <p:spPr>
            <a:xfrm>
              <a:off x="2192941" y="1531334"/>
              <a:ext cx="50530" cy="4762"/>
            </a:xfrm>
            <a:custGeom>
              <a:avLst/>
              <a:gdLst>
                <a:gd name="connsiteX0" fmla="*/ 50530 w 50530"/>
                <a:gd name="connsiteY0" fmla="*/ 0 h 4762"/>
                <a:gd name="connsiteX1" fmla="*/ 0 w 50530"/>
                <a:gd name="connsiteY1" fmla="*/ 0 h 47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0530" h="4762">
                  <a:moveTo>
                    <a:pt x="50530" y="0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4" name="Forma livre: Forma 143">
              <a:extLst>
                <a:ext uri="{FF2B5EF4-FFF2-40B4-BE49-F238E27FC236}">
                  <a16:creationId xmlns:a16="http://schemas.microsoft.com/office/drawing/2014/main" id="{C7CA8A71-8963-D64E-D4C4-1F8BD0B3E43A}"/>
                </a:ext>
              </a:extLst>
            </p:cNvPr>
            <p:cNvSpPr/>
            <p:nvPr/>
          </p:nvSpPr>
          <p:spPr>
            <a:xfrm>
              <a:off x="2170510" y="1620821"/>
              <a:ext cx="95202" cy="4762"/>
            </a:xfrm>
            <a:custGeom>
              <a:avLst/>
              <a:gdLst>
                <a:gd name="connsiteX0" fmla="*/ 0 w 95202"/>
                <a:gd name="connsiteY0" fmla="*/ 0 h 4762"/>
                <a:gd name="connsiteX1" fmla="*/ 95202 w 95202"/>
                <a:gd name="connsiteY1" fmla="*/ 0 h 47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02" h="4762">
                  <a:moveTo>
                    <a:pt x="0" y="0"/>
                  </a:moveTo>
                  <a:lnTo>
                    <a:pt x="95202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5" name="Forma livre: Forma 144">
              <a:extLst>
                <a:ext uri="{FF2B5EF4-FFF2-40B4-BE49-F238E27FC236}">
                  <a16:creationId xmlns:a16="http://schemas.microsoft.com/office/drawing/2014/main" id="{858CFB53-AF68-E26A-D8CA-3CE2B2DA9C2B}"/>
                </a:ext>
              </a:extLst>
            </p:cNvPr>
            <p:cNvSpPr/>
            <p:nvPr/>
          </p:nvSpPr>
          <p:spPr>
            <a:xfrm>
              <a:off x="2170510" y="1657683"/>
              <a:ext cx="95202" cy="4762"/>
            </a:xfrm>
            <a:custGeom>
              <a:avLst/>
              <a:gdLst>
                <a:gd name="connsiteX0" fmla="*/ 0 w 95202"/>
                <a:gd name="connsiteY0" fmla="*/ 0 h 4762"/>
                <a:gd name="connsiteX1" fmla="*/ 95202 w 95202"/>
                <a:gd name="connsiteY1" fmla="*/ 0 h 47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02" h="4762">
                  <a:moveTo>
                    <a:pt x="0" y="0"/>
                  </a:moveTo>
                  <a:lnTo>
                    <a:pt x="95202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6" name="Forma livre: Forma 145">
              <a:extLst>
                <a:ext uri="{FF2B5EF4-FFF2-40B4-BE49-F238E27FC236}">
                  <a16:creationId xmlns:a16="http://schemas.microsoft.com/office/drawing/2014/main" id="{A2EB3124-74CA-153E-4AD8-7F19366C21ED}"/>
                </a:ext>
              </a:extLst>
            </p:cNvPr>
            <p:cNvSpPr/>
            <p:nvPr/>
          </p:nvSpPr>
          <p:spPr>
            <a:xfrm>
              <a:off x="2170510" y="1694545"/>
              <a:ext cx="95202" cy="4762"/>
            </a:xfrm>
            <a:custGeom>
              <a:avLst/>
              <a:gdLst>
                <a:gd name="connsiteX0" fmla="*/ 0 w 95202"/>
                <a:gd name="connsiteY0" fmla="*/ 0 h 4762"/>
                <a:gd name="connsiteX1" fmla="*/ 95202 w 95202"/>
                <a:gd name="connsiteY1" fmla="*/ 0 h 47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02" h="4762">
                  <a:moveTo>
                    <a:pt x="0" y="0"/>
                  </a:moveTo>
                  <a:lnTo>
                    <a:pt x="95202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7" name="Forma livre: Forma 146">
              <a:extLst>
                <a:ext uri="{FF2B5EF4-FFF2-40B4-BE49-F238E27FC236}">
                  <a16:creationId xmlns:a16="http://schemas.microsoft.com/office/drawing/2014/main" id="{316CAE16-ADFE-6CDF-8845-7177E570CEBE}"/>
                </a:ext>
              </a:extLst>
            </p:cNvPr>
            <p:cNvSpPr/>
            <p:nvPr/>
          </p:nvSpPr>
          <p:spPr>
            <a:xfrm>
              <a:off x="2170510" y="1731454"/>
              <a:ext cx="95202" cy="4762"/>
            </a:xfrm>
            <a:custGeom>
              <a:avLst/>
              <a:gdLst>
                <a:gd name="connsiteX0" fmla="*/ 0 w 95202"/>
                <a:gd name="connsiteY0" fmla="*/ 0 h 4762"/>
                <a:gd name="connsiteX1" fmla="*/ 95202 w 95202"/>
                <a:gd name="connsiteY1" fmla="*/ 0 h 47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02" h="4762">
                  <a:moveTo>
                    <a:pt x="0" y="0"/>
                  </a:moveTo>
                  <a:lnTo>
                    <a:pt x="95202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8" name="Forma livre: Forma 147">
              <a:extLst>
                <a:ext uri="{FF2B5EF4-FFF2-40B4-BE49-F238E27FC236}">
                  <a16:creationId xmlns:a16="http://schemas.microsoft.com/office/drawing/2014/main" id="{C51A4EB0-9586-046F-507C-FBAA0F3346C4}"/>
                </a:ext>
              </a:extLst>
            </p:cNvPr>
            <p:cNvSpPr/>
            <p:nvPr/>
          </p:nvSpPr>
          <p:spPr>
            <a:xfrm>
              <a:off x="2170510" y="1768316"/>
              <a:ext cx="95202" cy="4762"/>
            </a:xfrm>
            <a:custGeom>
              <a:avLst/>
              <a:gdLst>
                <a:gd name="connsiteX0" fmla="*/ 0 w 95202"/>
                <a:gd name="connsiteY0" fmla="*/ 0 h 4762"/>
                <a:gd name="connsiteX1" fmla="*/ 95202 w 95202"/>
                <a:gd name="connsiteY1" fmla="*/ 0 h 47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02" h="4762">
                  <a:moveTo>
                    <a:pt x="0" y="0"/>
                  </a:moveTo>
                  <a:lnTo>
                    <a:pt x="95202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9" name="Forma livre: Forma 148">
              <a:extLst>
                <a:ext uri="{FF2B5EF4-FFF2-40B4-BE49-F238E27FC236}">
                  <a16:creationId xmlns:a16="http://schemas.microsoft.com/office/drawing/2014/main" id="{107352AC-AB21-F250-344D-286592C905E6}"/>
                </a:ext>
              </a:extLst>
            </p:cNvPr>
            <p:cNvSpPr/>
            <p:nvPr/>
          </p:nvSpPr>
          <p:spPr>
            <a:xfrm>
              <a:off x="2170510" y="1805178"/>
              <a:ext cx="95202" cy="4762"/>
            </a:xfrm>
            <a:custGeom>
              <a:avLst/>
              <a:gdLst>
                <a:gd name="connsiteX0" fmla="*/ 0 w 95202"/>
                <a:gd name="connsiteY0" fmla="*/ 0 h 4762"/>
                <a:gd name="connsiteX1" fmla="*/ 95202 w 95202"/>
                <a:gd name="connsiteY1" fmla="*/ 0 h 47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02" h="4762">
                  <a:moveTo>
                    <a:pt x="0" y="0"/>
                  </a:moveTo>
                  <a:lnTo>
                    <a:pt x="95202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0" name="Forma livre: Forma 149">
              <a:extLst>
                <a:ext uri="{FF2B5EF4-FFF2-40B4-BE49-F238E27FC236}">
                  <a16:creationId xmlns:a16="http://schemas.microsoft.com/office/drawing/2014/main" id="{9483B7D3-3660-36EF-ADDD-C042101E133E}"/>
                </a:ext>
              </a:extLst>
            </p:cNvPr>
            <p:cNvSpPr/>
            <p:nvPr/>
          </p:nvSpPr>
          <p:spPr>
            <a:xfrm>
              <a:off x="2068307" y="1731454"/>
              <a:ext cx="49530" cy="4762"/>
            </a:xfrm>
            <a:custGeom>
              <a:avLst/>
              <a:gdLst>
                <a:gd name="connsiteX0" fmla="*/ 0 w 49530"/>
                <a:gd name="connsiteY0" fmla="*/ 0 h 4762"/>
                <a:gd name="connsiteX1" fmla="*/ 49530 w 49530"/>
                <a:gd name="connsiteY1" fmla="*/ 0 h 47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9530" h="4762">
                  <a:moveTo>
                    <a:pt x="0" y="0"/>
                  </a:moveTo>
                  <a:lnTo>
                    <a:pt x="4953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1" name="Forma livre: Forma 150">
              <a:extLst>
                <a:ext uri="{FF2B5EF4-FFF2-40B4-BE49-F238E27FC236}">
                  <a16:creationId xmlns:a16="http://schemas.microsoft.com/office/drawing/2014/main" id="{A9646B32-64AF-BB71-4A30-E2A6F2E9A180}"/>
                </a:ext>
              </a:extLst>
            </p:cNvPr>
            <p:cNvSpPr/>
            <p:nvPr/>
          </p:nvSpPr>
          <p:spPr>
            <a:xfrm>
              <a:off x="2068307" y="1768316"/>
              <a:ext cx="49530" cy="4762"/>
            </a:xfrm>
            <a:custGeom>
              <a:avLst/>
              <a:gdLst>
                <a:gd name="connsiteX0" fmla="*/ 0 w 49530"/>
                <a:gd name="connsiteY0" fmla="*/ 0 h 4762"/>
                <a:gd name="connsiteX1" fmla="*/ 49530 w 49530"/>
                <a:gd name="connsiteY1" fmla="*/ 0 h 47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9530" h="4762">
                  <a:moveTo>
                    <a:pt x="0" y="0"/>
                  </a:moveTo>
                  <a:lnTo>
                    <a:pt x="4953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2" name="Forma livre: Forma 151">
              <a:extLst>
                <a:ext uri="{FF2B5EF4-FFF2-40B4-BE49-F238E27FC236}">
                  <a16:creationId xmlns:a16="http://schemas.microsoft.com/office/drawing/2014/main" id="{151514B3-DF27-DA20-988A-02CC18D432AF}"/>
                </a:ext>
              </a:extLst>
            </p:cNvPr>
            <p:cNvSpPr/>
            <p:nvPr/>
          </p:nvSpPr>
          <p:spPr>
            <a:xfrm>
              <a:off x="2068307" y="1805178"/>
              <a:ext cx="49530" cy="4762"/>
            </a:xfrm>
            <a:custGeom>
              <a:avLst/>
              <a:gdLst>
                <a:gd name="connsiteX0" fmla="*/ 0 w 49530"/>
                <a:gd name="connsiteY0" fmla="*/ 0 h 4762"/>
                <a:gd name="connsiteX1" fmla="*/ 49530 w 49530"/>
                <a:gd name="connsiteY1" fmla="*/ 0 h 47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9530" h="4762">
                  <a:moveTo>
                    <a:pt x="0" y="0"/>
                  </a:moveTo>
                  <a:lnTo>
                    <a:pt x="4953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53" name="Gráfico 2">
            <a:extLst>
              <a:ext uri="{FF2B5EF4-FFF2-40B4-BE49-F238E27FC236}">
                <a16:creationId xmlns:a16="http://schemas.microsoft.com/office/drawing/2014/main" id="{7EB24362-E465-5773-9C85-2BD703265DA9}"/>
              </a:ext>
            </a:extLst>
          </p:cNvPr>
          <p:cNvGrpSpPr/>
          <p:nvPr/>
        </p:nvGrpSpPr>
        <p:grpSpPr>
          <a:xfrm>
            <a:off x="2020083" y="996537"/>
            <a:ext cx="296032" cy="254618"/>
            <a:chOff x="2020083" y="996537"/>
            <a:chExt cx="296032" cy="254618"/>
          </a:xfrm>
          <a:noFill/>
        </p:grpSpPr>
        <p:sp>
          <p:nvSpPr>
            <p:cNvPr id="154" name="Forma livre: Forma 153">
              <a:extLst>
                <a:ext uri="{FF2B5EF4-FFF2-40B4-BE49-F238E27FC236}">
                  <a16:creationId xmlns:a16="http://schemas.microsoft.com/office/drawing/2014/main" id="{C9BD8471-8020-09BC-6EBB-A3DBE522B406}"/>
                </a:ext>
              </a:extLst>
            </p:cNvPr>
            <p:cNvSpPr/>
            <p:nvPr/>
          </p:nvSpPr>
          <p:spPr>
            <a:xfrm>
              <a:off x="2020083" y="996537"/>
              <a:ext cx="296032" cy="254618"/>
            </a:xfrm>
            <a:custGeom>
              <a:avLst/>
              <a:gdLst>
                <a:gd name="connsiteX0" fmla="*/ 147998 w 296032"/>
                <a:gd name="connsiteY0" fmla="*/ 254619 h 254618"/>
                <a:gd name="connsiteX1" fmla="*/ 273252 w 296032"/>
                <a:gd name="connsiteY1" fmla="*/ 129556 h 254618"/>
                <a:gd name="connsiteX2" fmla="*/ 274300 w 296032"/>
                <a:gd name="connsiteY2" fmla="*/ 21733 h 254618"/>
                <a:gd name="connsiteX3" fmla="*/ 166477 w 296032"/>
                <a:gd name="connsiteY3" fmla="*/ 22780 h 254618"/>
                <a:gd name="connsiteX4" fmla="*/ 147998 w 296032"/>
                <a:gd name="connsiteY4" fmla="*/ 41259 h 254618"/>
                <a:gd name="connsiteX5" fmla="*/ 129520 w 296032"/>
                <a:gd name="connsiteY5" fmla="*/ 22780 h 254618"/>
                <a:gd name="connsiteX6" fmla="*/ 21697 w 296032"/>
                <a:gd name="connsiteY6" fmla="*/ 21733 h 254618"/>
                <a:gd name="connsiteX7" fmla="*/ 22745 w 296032"/>
                <a:gd name="connsiteY7" fmla="*/ 129556 h 254618"/>
                <a:gd name="connsiteX8" fmla="*/ 147998 w 296032"/>
                <a:gd name="connsiteY8" fmla="*/ 254619 h 2546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96032" h="254618">
                  <a:moveTo>
                    <a:pt x="147998" y="254619"/>
                  </a:moveTo>
                  <a:lnTo>
                    <a:pt x="273252" y="129556"/>
                  </a:lnTo>
                  <a:cubicBezTo>
                    <a:pt x="303208" y="99599"/>
                    <a:pt x="303685" y="51070"/>
                    <a:pt x="274300" y="21733"/>
                  </a:cubicBezTo>
                  <a:cubicBezTo>
                    <a:pt x="244915" y="-7604"/>
                    <a:pt x="196385" y="-7128"/>
                    <a:pt x="166477" y="22780"/>
                  </a:cubicBezTo>
                  <a:lnTo>
                    <a:pt x="147998" y="41259"/>
                  </a:lnTo>
                  <a:lnTo>
                    <a:pt x="129520" y="22780"/>
                  </a:lnTo>
                  <a:cubicBezTo>
                    <a:pt x="99564" y="-7176"/>
                    <a:pt x="51034" y="-7652"/>
                    <a:pt x="21697" y="21733"/>
                  </a:cubicBezTo>
                  <a:cubicBezTo>
                    <a:pt x="-7640" y="51117"/>
                    <a:pt x="-7164" y="99647"/>
                    <a:pt x="22745" y="129556"/>
                  </a:cubicBezTo>
                  <a:lnTo>
                    <a:pt x="147998" y="254619"/>
                  </a:ln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55" name="Gráfico 2">
              <a:extLst>
                <a:ext uri="{FF2B5EF4-FFF2-40B4-BE49-F238E27FC236}">
                  <a16:creationId xmlns:a16="http://schemas.microsoft.com/office/drawing/2014/main" id="{A140303A-6EF3-482F-07D5-D46D04CAB8B1}"/>
                </a:ext>
              </a:extLst>
            </p:cNvPr>
            <p:cNvGrpSpPr/>
            <p:nvPr/>
          </p:nvGrpSpPr>
          <p:grpSpPr>
            <a:xfrm>
              <a:off x="2093500" y="1080611"/>
              <a:ext cx="149114" cy="16097"/>
              <a:chOff x="2093500" y="1080611"/>
              <a:chExt cx="149114" cy="16097"/>
            </a:xfrm>
            <a:noFill/>
          </p:grpSpPr>
          <p:sp>
            <p:nvSpPr>
              <p:cNvPr id="156" name="Forma livre: Forma 155">
                <a:extLst>
                  <a:ext uri="{FF2B5EF4-FFF2-40B4-BE49-F238E27FC236}">
                    <a16:creationId xmlns:a16="http://schemas.microsoft.com/office/drawing/2014/main" id="{C1C3E9BF-EC6A-3194-2AA9-32527BC8CEFF}"/>
                  </a:ext>
                </a:extLst>
              </p:cNvPr>
              <p:cNvSpPr/>
              <p:nvPr/>
            </p:nvSpPr>
            <p:spPr>
              <a:xfrm>
                <a:off x="2093500" y="1080611"/>
                <a:ext cx="41338" cy="16097"/>
              </a:xfrm>
              <a:custGeom>
                <a:avLst/>
                <a:gdLst>
                  <a:gd name="connsiteX0" fmla="*/ 41339 w 41338"/>
                  <a:gd name="connsiteY0" fmla="*/ 0 h 16097"/>
                  <a:gd name="connsiteX1" fmla="*/ 20669 w 41338"/>
                  <a:gd name="connsiteY1" fmla="*/ 16097 h 16097"/>
                  <a:gd name="connsiteX2" fmla="*/ 0 w 41338"/>
                  <a:gd name="connsiteY2" fmla="*/ 0 h 160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41338" h="16097">
                    <a:moveTo>
                      <a:pt x="41339" y="0"/>
                    </a:moveTo>
                    <a:cubicBezTo>
                      <a:pt x="38957" y="9239"/>
                      <a:pt x="30623" y="16097"/>
                      <a:pt x="20669" y="16097"/>
                    </a:cubicBezTo>
                    <a:cubicBezTo>
                      <a:pt x="10716" y="16097"/>
                      <a:pt x="2381" y="9239"/>
                      <a:pt x="0" y="0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57" name="Forma livre: Forma 156">
                <a:extLst>
                  <a:ext uri="{FF2B5EF4-FFF2-40B4-BE49-F238E27FC236}">
                    <a16:creationId xmlns:a16="http://schemas.microsoft.com/office/drawing/2014/main" id="{88C5BEEA-3A52-9796-325F-42064DDF05FB}"/>
                  </a:ext>
                </a:extLst>
              </p:cNvPr>
              <p:cNvSpPr/>
              <p:nvPr/>
            </p:nvSpPr>
            <p:spPr>
              <a:xfrm>
                <a:off x="2201276" y="1080611"/>
                <a:ext cx="41338" cy="16097"/>
              </a:xfrm>
              <a:custGeom>
                <a:avLst/>
                <a:gdLst>
                  <a:gd name="connsiteX0" fmla="*/ 41339 w 41338"/>
                  <a:gd name="connsiteY0" fmla="*/ 0 h 16097"/>
                  <a:gd name="connsiteX1" fmla="*/ 20669 w 41338"/>
                  <a:gd name="connsiteY1" fmla="*/ 16097 h 16097"/>
                  <a:gd name="connsiteX2" fmla="*/ 0 w 41338"/>
                  <a:gd name="connsiteY2" fmla="*/ 0 h 160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41338" h="16097">
                    <a:moveTo>
                      <a:pt x="41339" y="0"/>
                    </a:moveTo>
                    <a:cubicBezTo>
                      <a:pt x="38957" y="9239"/>
                      <a:pt x="30623" y="16097"/>
                      <a:pt x="20669" y="16097"/>
                    </a:cubicBezTo>
                    <a:cubicBezTo>
                      <a:pt x="10716" y="16097"/>
                      <a:pt x="2381" y="9239"/>
                      <a:pt x="0" y="0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58" name="Gráfico 2">
              <a:extLst>
                <a:ext uri="{FF2B5EF4-FFF2-40B4-BE49-F238E27FC236}">
                  <a16:creationId xmlns:a16="http://schemas.microsoft.com/office/drawing/2014/main" id="{0576C932-51C5-78BA-08D1-AE016DD831CC}"/>
                </a:ext>
              </a:extLst>
            </p:cNvPr>
            <p:cNvGrpSpPr/>
            <p:nvPr/>
          </p:nvGrpSpPr>
          <p:grpSpPr>
            <a:xfrm>
              <a:off x="2133267" y="1137761"/>
              <a:ext cx="69580" cy="17621"/>
              <a:chOff x="2133267" y="1137761"/>
              <a:chExt cx="69580" cy="17621"/>
            </a:xfrm>
            <a:noFill/>
          </p:grpSpPr>
          <p:sp>
            <p:nvSpPr>
              <p:cNvPr id="159" name="Forma livre: Forma 158">
                <a:extLst>
                  <a:ext uri="{FF2B5EF4-FFF2-40B4-BE49-F238E27FC236}">
                    <a16:creationId xmlns:a16="http://schemas.microsoft.com/office/drawing/2014/main" id="{677E86D8-2464-124D-10AE-B01597CFBF6E}"/>
                  </a:ext>
                </a:extLst>
              </p:cNvPr>
              <p:cNvSpPr/>
              <p:nvPr/>
            </p:nvSpPr>
            <p:spPr>
              <a:xfrm>
                <a:off x="2169176" y="1137761"/>
                <a:ext cx="33670" cy="17621"/>
              </a:xfrm>
              <a:custGeom>
                <a:avLst/>
                <a:gdLst>
                  <a:gd name="connsiteX0" fmla="*/ 33671 w 33670"/>
                  <a:gd name="connsiteY0" fmla="*/ 17621 h 17621"/>
                  <a:gd name="connsiteX1" fmla="*/ 0 w 33670"/>
                  <a:gd name="connsiteY1" fmla="*/ 0 h 176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3670" h="17621">
                    <a:moveTo>
                      <a:pt x="33671" y="17621"/>
                    </a:moveTo>
                    <a:cubicBezTo>
                      <a:pt x="33671" y="17621"/>
                      <a:pt x="23479" y="0"/>
                      <a:pt x="0" y="0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60" name="Forma livre: Forma 159">
                <a:extLst>
                  <a:ext uri="{FF2B5EF4-FFF2-40B4-BE49-F238E27FC236}">
                    <a16:creationId xmlns:a16="http://schemas.microsoft.com/office/drawing/2014/main" id="{056E4E0D-1AF3-62C4-9050-12F909D1D820}"/>
                  </a:ext>
                </a:extLst>
              </p:cNvPr>
              <p:cNvSpPr/>
              <p:nvPr/>
            </p:nvSpPr>
            <p:spPr>
              <a:xfrm>
                <a:off x="2133267" y="1137761"/>
                <a:ext cx="33670" cy="17621"/>
              </a:xfrm>
              <a:custGeom>
                <a:avLst/>
                <a:gdLst>
                  <a:gd name="connsiteX0" fmla="*/ 0 w 33670"/>
                  <a:gd name="connsiteY0" fmla="*/ 17621 h 17621"/>
                  <a:gd name="connsiteX1" fmla="*/ 33671 w 33670"/>
                  <a:gd name="connsiteY1" fmla="*/ 0 h 176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3670" h="17621">
                    <a:moveTo>
                      <a:pt x="0" y="17621"/>
                    </a:moveTo>
                    <a:cubicBezTo>
                      <a:pt x="0" y="17621"/>
                      <a:pt x="10192" y="0"/>
                      <a:pt x="33671" y="0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62" name="Gráfico 4">
            <a:extLst>
              <a:ext uri="{FF2B5EF4-FFF2-40B4-BE49-F238E27FC236}">
                <a16:creationId xmlns:a16="http://schemas.microsoft.com/office/drawing/2014/main" id="{5B909A96-94B6-9820-EAA5-18145D391C36}"/>
              </a:ext>
            </a:extLst>
          </p:cNvPr>
          <p:cNvGrpSpPr/>
          <p:nvPr/>
        </p:nvGrpSpPr>
        <p:grpSpPr>
          <a:xfrm>
            <a:off x="3835554" y="2085785"/>
            <a:ext cx="303268" cy="256174"/>
            <a:chOff x="3835554" y="2085785"/>
            <a:chExt cx="303268" cy="256174"/>
          </a:xfrm>
        </p:grpSpPr>
        <p:sp>
          <p:nvSpPr>
            <p:cNvPr id="163" name="Forma livre: Forma 162">
              <a:extLst>
                <a:ext uri="{FF2B5EF4-FFF2-40B4-BE49-F238E27FC236}">
                  <a16:creationId xmlns:a16="http://schemas.microsoft.com/office/drawing/2014/main" id="{6C27A704-1A9C-F240-3EAE-DED2EB8E1D3A}"/>
                </a:ext>
              </a:extLst>
            </p:cNvPr>
            <p:cNvSpPr/>
            <p:nvPr/>
          </p:nvSpPr>
          <p:spPr>
            <a:xfrm>
              <a:off x="3930948" y="2273617"/>
              <a:ext cx="76130" cy="68341"/>
            </a:xfrm>
            <a:custGeom>
              <a:avLst/>
              <a:gdLst>
                <a:gd name="connsiteX0" fmla="*/ 33898 w 76130"/>
                <a:gd name="connsiteY0" fmla="*/ 11906 h 68341"/>
                <a:gd name="connsiteX1" fmla="*/ 33898 w 76130"/>
                <a:gd name="connsiteY1" fmla="*/ 11906 h 68341"/>
                <a:gd name="connsiteX2" fmla="*/ 46328 w 76130"/>
                <a:gd name="connsiteY2" fmla="*/ 14478 h 68341"/>
                <a:gd name="connsiteX3" fmla="*/ 62854 w 76130"/>
                <a:gd name="connsiteY3" fmla="*/ 44625 h 68341"/>
                <a:gd name="connsiteX4" fmla="*/ 42233 w 76130"/>
                <a:gd name="connsiteY4" fmla="*/ 56436 h 68341"/>
                <a:gd name="connsiteX5" fmla="*/ 29755 w 76130"/>
                <a:gd name="connsiteY5" fmla="*/ 53864 h 68341"/>
                <a:gd name="connsiteX6" fmla="*/ 13229 w 76130"/>
                <a:gd name="connsiteY6" fmla="*/ 23717 h 68341"/>
                <a:gd name="connsiteX7" fmla="*/ 33898 w 76130"/>
                <a:gd name="connsiteY7" fmla="*/ 11906 h 68341"/>
                <a:gd name="connsiteX8" fmla="*/ 33898 w 76130"/>
                <a:gd name="connsiteY8" fmla="*/ 0 h 68341"/>
                <a:gd name="connsiteX9" fmla="*/ 2275 w 76130"/>
                <a:gd name="connsiteY9" fmla="*/ 19098 h 68341"/>
                <a:gd name="connsiteX10" fmla="*/ 25135 w 76130"/>
                <a:gd name="connsiteY10" fmla="*/ 64818 h 68341"/>
                <a:gd name="connsiteX11" fmla="*/ 42233 w 76130"/>
                <a:gd name="connsiteY11" fmla="*/ 68342 h 68341"/>
                <a:gd name="connsiteX12" fmla="*/ 73856 w 76130"/>
                <a:gd name="connsiteY12" fmla="*/ 49244 h 68341"/>
                <a:gd name="connsiteX13" fmla="*/ 50996 w 76130"/>
                <a:gd name="connsiteY13" fmla="*/ 3524 h 68341"/>
                <a:gd name="connsiteX14" fmla="*/ 33946 w 76130"/>
                <a:gd name="connsiteY14" fmla="*/ 0 h 68341"/>
                <a:gd name="connsiteX15" fmla="*/ 33946 w 76130"/>
                <a:gd name="connsiteY15" fmla="*/ 0 h 683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76130" h="68341">
                  <a:moveTo>
                    <a:pt x="33898" y="11906"/>
                  </a:moveTo>
                  <a:lnTo>
                    <a:pt x="33898" y="11906"/>
                  </a:lnTo>
                  <a:cubicBezTo>
                    <a:pt x="38089" y="11906"/>
                    <a:pt x="42280" y="12763"/>
                    <a:pt x="46328" y="14478"/>
                  </a:cubicBezTo>
                  <a:cubicBezTo>
                    <a:pt x="59997" y="20241"/>
                    <a:pt x="67426" y="33766"/>
                    <a:pt x="62854" y="44625"/>
                  </a:cubicBezTo>
                  <a:cubicBezTo>
                    <a:pt x="59759" y="51911"/>
                    <a:pt x="51853" y="56436"/>
                    <a:pt x="42233" y="56436"/>
                  </a:cubicBezTo>
                  <a:cubicBezTo>
                    <a:pt x="38042" y="56436"/>
                    <a:pt x="33851" y="55578"/>
                    <a:pt x="29755" y="53864"/>
                  </a:cubicBezTo>
                  <a:cubicBezTo>
                    <a:pt x="16086" y="48101"/>
                    <a:pt x="8657" y="34576"/>
                    <a:pt x="13229" y="23717"/>
                  </a:cubicBezTo>
                  <a:cubicBezTo>
                    <a:pt x="16325" y="16431"/>
                    <a:pt x="24230" y="11906"/>
                    <a:pt x="33898" y="11906"/>
                  </a:cubicBezTo>
                  <a:moveTo>
                    <a:pt x="33898" y="0"/>
                  </a:moveTo>
                  <a:cubicBezTo>
                    <a:pt x="19944" y="0"/>
                    <a:pt x="7371" y="7001"/>
                    <a:pt x="2275" y="19098"/>
                  </a:cubicBezTo>
                  <a:cubicBezTo>
                    <a:pt x="-4868" y="36052"/>
                    <a:pt x="5371" y="56483"/>
                    <a:pt x="25135" y="64818"/>
                  </a:cubicBezTo>
                  <a:cubicBezTo>
                    <a:pt x="30803" y="67199"/>
                    <a:pt x="36613" y="68342"/>
                    <a:pt x="42233" y="68342"/>
                  </a:cubicBezTo>
                  <a:cubicBezTo>
                    <a:pt x="56187" y="68342"/>
                    <a:pt x="68760" y="61341"/>
                    <a:pt x="73856" y="49244"/>
                  </a:cubicBezTo>
                  <a:cubicBezTo>
                    <a:pt x="80999" y="32290"/>
                    <a:pt x="70760" y="11811"/>
                    <a:pt x="50996" y="3524"/>
                  </a:cubicBezTo>
                  <a:cubicBezTo>
                    <a:pt x="45328" y="1143"/>
                    <a:pt x="39518" y="0"/>
                    <a:pt x="33946" y="0"/>
                  </a:cubicBezTo>
                  <a:lnTo>
                    <a:pt x="33946" y="0"/>
                  </a:ln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4" name="Forma livre: Forma 163">
              <a:extLst>
                <a:ext uri="{FF2B5EF4-FFF2-40B4-BE49-F238E27FC236}">
                  <a16:creationId xmlns:a16="http://schemas.microsoft.com/office/drawing/2014/main" id="{AE4DAF6D-C629-2C73-3648-3ACED8857D44}"/>
                </a:ext>
              </a:extLst>
            </p:cNvPr>
            <p:cNvSpPr/>
            <p:nvPr/>
          </p:nvSpPr>
          <p:spPr>
            <a:xfrm>
              <a:off x="3835554" y="2225469"/>
              <a:ext cx="100479" cy="69199"/>
            </a:xfrm>
            <a:custGeom>
              <a:avLst/>
              <a:gdLst>
                <a:gd name="connsiteX0" fmla="*/ 134 w 100479"/>
                <a:gd name="connsiteY0" fmla="*/ 0 h 69199"/>
                <a:gd name="connsiteX1" fmla="*/ 26328 w 100479"/>
                <a:gd name="connsiteY1" fmla="*/ 22622 h 69199"/>
                <a:gd name="connsiteX2" fmla="*/ 72143 w 100479"/>
                <a:gd name="connsiteY2" fmla="*/ 25575 h 69199"/>
                <a:gd name="connsiteX3" fmla="*/ 75715 w 100479"/>
                <a:gd name="connsiteY3" fmla="*/ 46434 h 69199"/>
                <a:gd name="connsiteX4" fmla="*/ 100480 w 100479"/>
                <a:gd name="connsiteY4" fmla="*/ 69199 h 691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0479" h="69199">
                  <a:moveTo>
                    <a:pt x="134" y="0"/>
                  </a:moveTo>
                  <a:cubicBezTo>
                    <a:pt x="134" y="0"/>
                    <a:pt x="-3438" y="32766"/>
                    <a:pt x="26328" y="22622"/>
                  </a:cubicBezTo>
                  <a:cubicBezTo>
                    <a:pt x="26328" y="22622"/>
                    <a:pt x="64999" y="8334"/>
                    <a:pt x="72143" y="25575"/>
                  </a:cubicBezTo>
                  <a:cubicBezTo>
                    <a:pt x="72143" y="25575"/>
                    <a:pt x="76905" y="32718"/>
                    <a:pt x="75715" y="46434"/>
                  </a:cubicBezTo>
                  <a:cubicBezTo>
                    <a:pt x="75715" y="46434"/>
                    <a:pt x="72952" y="64675"/>
                    <a:pt x="100480" y="69199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5" name="Forma livre: Forma 164">
              <a:extLst>
                <a:ext uri="{FF2B5EF4-FFF2-40B4-BE49-F238E27FC236}">
                  <a16:creationId xmlns:a16="http://schemas.microsoft.com/office/drawing/2014/main" id="{7D6561A6-B635-FD4E-B434-253B8C710908}"/>
                </a:ext>
              </a:extLst>
            </p:cNvPr>
            <p:cNvSpPr/>
            <p:nvPr/>
          </p:nvSpPr>
          <p:spPr>
            <a:xfrm>
              <a:off x="3952954" y="2172033"/>
              <a:ext cx="73172" cy="71437"/>
            </a:xfrm>
            <a:custGeom>
              <a:avLst/>
              <a:gdLst>
                <a:gd name="connsiteX0" fmla="*/ 31038 w 73172"/>
                <a:gd name="connsiteY0" fmla="*/ 11954 h 71437"/>
                <a:gd name="connsiteX1" fmla="*/ 31038 w 73172"/>
                <a:gd name="connsiteY1" fmla="*/ 11954 h 71437"/>
                <a:gd name="connsiteX2" fmla="*/ 50421 w 73172"/>
                <a:gd name="connsiteY2" fmla="*/ 19479 h 71437"/>
                <a:gd name="connsiteX3" fmla="*/ 57041 w 73172"/>
                <a:gd name="connsiteY3" fmla="*/ 53197 h 71437"/>
                <a:gd name="connsiteX4" fmla="*/ 42087 w 73172"/>
                <a:gd name="connsiteY4" fmla="*/ 59531 h 71437"/>
                <a:gd name="connsiteX5" fmla="*/ 22656 w 73172"/>
                <a:gd name="connsiteY5" fmla="*/ 51959 h 71437"/>
                <a:gd name="connsiteX6" fmla="*/ 16036 w 73172"/>
                <a:gd name="connsiteY6" fmla="*/ 18240 h 71437"/>
                <a:gd name="connsiteX7" fmla="*/ 30990 w 73172"/>
                <a:gd name="connsiteY7" fmla="*/ 11906 h 71437"/>
                <a:gd name="connsiteX8" fmla="*/ 31038 w 73172"/>
                <a:gd name="connsiteY8" fmla="*/ 48 h 71437"/>
                <a:gd name="connsiteX9" fmla="*/ 7035 w 73172"/>
                <a:gd name="connsiteY9" fmla="*/ 10573 h 71437"/>
                <a:gd name="connsiteX10" fmla="*/ 14988 w 73172"/>
                <a:gd name="connsiteY10" fmla="*/ 61055 h 71437"/>
                <a:gd name="connsiteX11" fmla="*/ 42134 w 73172"/>
                <a:gd name="connsiteY11" fmla="*/ 71438 h 71437"/>
                <a:gd name="connsiteX12" fmla="*/ 66138 w 73172"/>
                <a:gd name="connsiteY12" fmla="*/ 60912 h 71437"/>
                <a:gd name="connsiteX13" fmla="*/ 58184 w 73172"/>
                <a:gd name="connsiteY13" fmla="*/ 10382 h 71437"/>
                <a:gd name="connsiteX14" fmla="*/ 31085 w 73172"/>
                <a:gd name="connsiteY14" fmla="*/ 0 h 71437"/>
                <a:gd name="connsiteX15" fmla="*/ 31085 w 73172"/>
                <a:gd name="connsiteY15" fmla="*/ 0 h 714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73172" h="71437">
                  <a:moveTo>
                    <a:pt x="31038" y="11954"/>
                  </a:moveTo>
                  <a:lnTo>
                    <a:pt x="31038" y="11954"/>
                  </a:lnTo>
                  <a:cubicBezTo>
                    <a:pt x="37848" y="11954"/>
                    <a:pt x="44706" y="14621"/>
                    <a:pt x="50421" y="19479"/>
                  </a:cubicBezTo>
                  <a:cubicBezTo>
                    <a:pt x="61708" y="29099"/>
                    <a:pt x="64709" y="44244"/>
                    <a:pt x="57041" y="53197"/>
                  </a:cubicBezTo>
                  <a:cubicBezTo>
                    <a:pt x="53564" y="57293"/>
                    <a:pt x="48230" y="59531"/>
                    <a:pt x="42087" y="59531"/>
                  </a:cubicBezTo>
                  <a:cubicBezTo>
                    <a:pt x="35276" y="59531"/>
                    <a:pt x="28418" y="56864"/>
                    <a:pt x="22656" y="51959"/>
                  </a:cubicBezTo>
                  <a:cubicBezTo>
                    <a:pt x="11369" y="42339"/>
                    <a:pt x="8368" y="27194"/>
                    <a:pt x="16036" y="18240"/>
                  </a:cubicBezTo>
                  <a:cubicBezTo>
                    <a:pt x="19513" y="14145"/>
                    <a:pt x="24847" y="11906"/>
                    <a:pt x="30990" y="11906"/>
                  </a:cubicBezTo>
                  <a:moveTo>
                    <a:pt x="31038" y="48"/>
                  </a:moveTo>
                  <a:cubicBezTo>
                    <a:pt x="21751" y="48"/>
                    <a:pt x="12988" y="3572"/>
                    <a:pt x="7035" y="10573"/>
                  </a:cubicBezTo>
                  <a:cubicBezTo>
                    <a:pt x="-4871" y="24574"/>
                    <a:pt x="-1300" y="47149"/>
                    <a:pt x="14988" y="61055"/>
                  </a:cubicBezTo>
                  <a:cubicBezTo>
                    <a:pt x="23132" y="68009"/>
                    <a:pt x="32895" y="71438"/>
                    <a:pt x="42134" y="71438"/>
                  </a:cubicBezTo>
                  <a:cubicBezTo>
                    <a:pt x="51374" y="71438"/>
                    <a:pt x="60184" y="67913"/>
                    <a:pt x="66138" y="60912"/>
                  </a:cubicBezTo>
                  <a:cubicBezTo>
                    <a:pt x="78044" y="46911"/>
                    <a:pt x="74472" y="24289"/>
                    <a:pt x="58184" y="10382"/>
                  </a:cubicBezTo>
                  <a:cubicBezTo>
                    <a:pt x="50040" y="3477"/>
                    <a:pt x="40277" y="0"/>
                    <a:pt x="31085" y="0"/>
                  </a:cubicBezTo>
                  <a:lnTo>
                    <a:pt x="31085" y="0"/>
                  </a:ln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6" name="Forma livre: Forma 165">
              <a:extLst>
                <a:ext uri="{FF2B5EF4-FFF2-40B4-BE49-F238E27FC236}">
                  <a16:creationId xmlns:a16="http://schemas.microsoft.com/office/drawing/2014/main" id="{662AAF49-C299-C5B6-9521-30A447B5F86B}"/>
                </a:ext>
              </a:extLst>
            </p:cNvPr>
            <p:cNvSpPr/>
            <p:nvPr/>
          </p:nvSpPr>
          <p:spPr>
            <a:xfrm>
              <a:off x="3886075" y="2085785"/>
              <a:ext cx="75342" cy="100631"/>
            </a:xfrm>
            <a:custGeom>
              <a:avLst/>
              <a:gdLst>
                <a:gd name="connsiteX0" fmla="*/ 75343 w 75342"/>
                <a:gd name="connsiteY0" fmla="*/ 100632 h 100631"/>
                <a:gd name="connsiteX1" fmla="*/ 64675 w 75342"/>
                <a:gd name="connsiteY1" fmla="*/ 98822 h 100631"/>
                <a:gd name="connsiteX2" fmla="*/ 49197 w 75342"/>
                <a:gd name="connsiteY2" fmla="*/ 75771 h 100631"/>
                <a:gd name="connsiteX3" fmla="*/ 51245 w 75342"/>
                <a:gd name="connsiteY3" fmla="*/ 47625 h 100631"/>
                <a:gd name="connsiteX4" fmla="*/ 22384 w 75342"/>
                <a:gd name="connsiteY4" fmla="*/ 30432 h 100631"/>
                <a:gd name="connsiteX5" fmla="*/ 0 w 75342"/>
                <a:gd name="connsiteY5" fmla="*/ 0 h 1006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5342" h="100631">
                  <a:moveTo>
                    <a:pt x="75343" y="100632"/>
                  </a:moveTo>
                  <a:cubicBezTo>
                    <a:pt x="72581" y="100393"/>
                    <a:pt x="68675" y="99870"/>
                    <a:pt x="64675" y="98822"/>
                  </a:cubicBezTo>
                  <a:cubicBezTo>
                    <a:pt x="54245" y="96107"/>
                    <a:pt x="43053" y="89916"/>
                    <a:pt x="49197" y="75771"/>
                  </a:cubicBezTo>
                  <a:cubicBezTo>
                    <a:pt x="49197" y="75771"/>
                    <a:pt x="59293" y="59531"/>
                    <a:pt x="51245" y="47625"/>
                  </a:cubicBezTo>
                  <a:cubicBezTo>
                    <a:pt x="51245" y="47625"/>
                    <a:pt x="45577" y="34242"/>
                    <a:pt x="22384" y="30432"/>
                  </a:cubicBezTo>
                  <a:cubicBezTo>
                    <a:pt x="22384" y="30432"/>
                    <a:pt x="3048" y="29194"/>
                    <a:pt x="0" y="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7" name="Forma livre: Forma 166">
              <a:extLst>
                <a:ext uri="{FF2B5EF4-FFF2-40B4-BE49-F238E27FC236}">
                  <a16:creationId xmlns:a16="http://schemas.microsoft.com/office/drawing/2014/main" id="{D5277DFD-437B-8DD5-C756-DEBE92020E5C}"/>
                </a:ext>
              </a:extLst>
            </p:cNvPr>
            <p:cNvSpPr/>
            <p:nvPr/>
          </p:nvSpPr>
          <p:spPr>
            <a:xfrm>
              <a:off x="4071495" y="2192274"/>
              <a:ext cx="67327" cy="76962"/>
            </a:xfrm>
            <a:custGeom>
              <a:avLst/>
              <a:gdLst>
                <a:gd name="connsiteX0" fmla="*/ 31131 w 67327"/>
                <a:gd name="connsiteY0" fmla="*/ 11906 h 76962"/>
                <a:gd name="connsiteX1" fmla="*/ 54324 w 67327"/>
                <a:gd name="connsiteY1" fmla="*/ 33004 h 76962"/>
                <a:gd name="connsiteX2" fmla="*/ 40561 w 67327"/>
                <a:gd name="connsiteY2" fmla="*/ 64532 h 76962"/>
                <a:gd name="connsiteX3" fmla="*/ 36227 w 67327"/>
                <a:gd name="connsiteY3" fmla="*/ 65103 h 76962"/>
                <a:gd name="connsiteX4" fmla="*/ 13033 w 67327"/>
                <a:gd name="connsiteY4" fmla="*/ 44005 h 76962"/>
                <a:gd name="connsiteX5" fmla="*/ 26797 w 67327"/>
                <a:gd name="connsiteY5" fmla="*/ 12525 h 76962"/>
                <a:gd name="connsiteX6" fmla="*/ 31178 w 67327"/>
                <a:gd name="connsiteY6" fmla="*/ 11954 h 76962"/>
                <a:gd name="connsiteX7" fmla="*/ 31131 w 67327"/>
                <a:gd name="connsiteY7" fmla="*/ 0 h 76962"/>
                <a:gd name="connsiteX8" fmla="*/ 23701 w 67327"/>
                <a:gd name="connsiteY8" fmla="*/ 952 h 76962"/>
                <a:gd name="connsiteX9" fmla="*/ 1508 w 67327"/>
                <a:gd name="connsiteY9" fmla="*/ 47006 h 76962"/>
                <a:gd name="connsiteX10" fmla="*/ 36227 w 67327"/>
                <a:gd name="connsiteY10" fmla="*/ 76962 h 76962"/>
                <a:gd name="connsiteX11" fmla="*/ 43608 w 67327"/>
                <a:gd name="connsiteY11" fmla="*/ 76009 h 76962"/>
                <a:gd name="connsiteX12" fmla="*/ 65802 w 67327"/>
                <a:gd name="connsiteY12" fmla="*/ 29956 h 76962"/>
                <a:gd name="connsiteX13" fmla="*/ 31083 w 67327"/>
                <a:gd name="connsiteY13" fmla="*/ 0 h 76962"/>
                <a:gd name="connsiteX14" fmla="*/ 31083 w 67327"/>
                <a:gd name="connsiteY14" fmla="*/ 0 h 76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67327" h="76962">
                  <a:moveTo>
                    <a:pt x="31131" y="11906"/>
                  </a:moveTo>
                  <a:cubicBezTo>
                    <a:pt x="41323" y="11906"/>
                    <a:pt x="51086" y="20764"/>
                    <a:pt x="54324" y="33004"/>
                  </a:cubicBezTo>
                  <a:cubicBezTo>
                    <a:pt x="58134" y="47339"/>
                    <a:pt x="51943" y="61484"/>
                    <a:pt x="40561" y="64532"/>
                  </a:cubicBezTo>
                  <a:cubicBezTo>
                    <a:pt x="39132" y="64913"/>
                    <a:pt x="37703" y="65103"/>
                    <a:pt x="36227" y="65103"/>
                  </a:cubicBezTo>
                  <a:cubicBezTo>
                    <a:pt x="26035" y="65103"/>
                    <a:pt x="16272" y="56197"/>
                    <a:pt x="13033" y="44005"/>
                  </a:cubicBezTo>
                  <a:cubicBezTo>
                    <a:pt x="9223" y="29670"/>
                    <a:pt x="15415" y="15526"/>
                    <a:pt x="26797" y="12525"/>
                  </a:cubicBezTo>
                  <a:cubicBezTo>
                    <a:pt x="28226" y="12144"/>
                    <a:pt x="29702" y="11954"/>
                    <a:pt x="31178" y="11954"/>
                  </a:cubicBezTo>
                  <a:moveTo>
                    <a:pt x="31131" y="0"/>
                  </a:moveTo>
                  <a:cubicBezTo>
                    <a:pt x="28654" y="0"/>
                    <a:pt x="26178" y="333"/>
                    <a:pt x="23701" y="952"/>
                  </a:cubicBezTo>
                  <a:cubicBezTo>
                    <a:pt x="5937" y="5667"/>
                    <a:pt x="-3969" y="26289"/>
                    <a:pt x="1508" y="47006"/>
                  </a:cubicBezTo>
                  <a:cubicBezTo>
                    <a:pt x="6270" y="64865"/>
                    <a:pt x="20891" y="76962"/>
                    <a:pt x="36227" y="76962"/>
                  </a:cubicBezTo>
                  <a:cubicBezTo>
                    <a:pt x="38703" y="76962"/>
                    <a:pt x="41180" y="76629"/>
                    <a:pt x="43608" y="76009"/>
                  </a:cubicBezTo>
                  <a:cubicBezTo>
                    <a:pt x="61373" y="71295"/>
                    <a:pt x="71326" y="50673"/>
                    <a:pt x="65802" y="29956"/>
                  </a:cubicBezTo>
                  <a:cubicBezTo>
                    <a:pt x="61087" y="12097"/>
                    <a:pt x="46418" y="0"/>
                    <a:pt x="31083" y="0"/>
                  </a:cubicBezTo>
                  <a:lnTo>
                    <a:pt x="31083" y="0"/>
                  </a:ln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8" name="Forma livre: Forma 167">
              <a:extLst>
                <a:ext uri="{FF2B5EF4-FFF2-40B4-BE49-F238E27FC236}">
                  <a16:creationId xmlns:a16="http://schemas.microsoft.com/office/drawing/2014/main" id="{C4817897-B61C-CD4B-3DDB-4F278D03476C}"/>
                </a:ext>
              </a:extLst>
            </p:cNvPr>
            <p:cNvSpPr/>
            <p:nvPr/>
          </p:nvSpPr>
          <p:spPr>
            <a:xfrm>
              <a:off x="4017187" y="2088404"/>
              <a:ext cx="77771" cy="107965"/>
            </a:xfrm>
            <a:custGeom>
              <a:avLst/>
              <a:gdLst>
                <a:gd name="connsiteX0" fmla="*/ 77772 w 77771"/>
                <a:gd name="connsiteY0" fmla="*/ 107966 h 107965"/>
                <a:gd name="connsiteX1" fmla="*/ 49292 w 77771"/>
                <a:gd name="connsiteY1" fmla="*/ 73152 h 107965"/>
                <a:gd name="connsiteX2" fmla="*/ 26241 w 77771"/>
                <a:gd name="connsiteY2" fmla="*/ 56102 h 107965"/>
                <a:gd name="connsiteX3" fmla="*/ 30623 w 77771"/>
                <a:gd name="connsiteY3" fmla="*/ 26718 h 107965"/>
                <a:gd name="connsiteX4" fmla="*/ 0 w 77771"/>
                <a:gd name="connsiteY4" fmla="*/ 0 h 1079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7771" h="107965">
                  <a:moveTo>
                    <a:pt x="77772" y="107966"/>
                  </a:moveTo>
                  <a:cubicBezTo>
                    <a:pt x="76915" y="94964"/>
                    <a:pt x="72390" y="62103"/>
                    <a:pt x="49292" y="73152"/>
                  </a:cubicBezTo>
                  <a:cubicBezTo>
                    <a:pt x="49292" y="73152"/>
                    <a:pt x="27432" y="81105"/>
                    <a:pt x="26241" y="56102"/>
                  </a:cubicBezTo>
                  <a:cubicBezTo>
                    <a:pt x="25622" y="42624"/>
                    <a:pt x="32242" y="35481"/>
                    <a:pt x="30623" y="26718"/>
                  </a:cubicBezTo>
                  <a:cubicBezTo>
                    <a:pt x="27765" y="11097"/>
                    <a:pt x="14335" y="6096"/>
                    <a:pt x="0" y="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69" name="Gráfico 4">
            <a:extLst>
              <a:ext uri="{FF2B5EF4-FFF2-40B4-BE49-F238E27FC236}">
                <a16:creationId xmlns:a16="http://schemas.microsoft.com/office/drawing/2014/main" id="{A1C51E29-D579-B63A-F0E1-44BD57C4CD70}"/>
              </a:ext>
            </a:extLst>
          </p:cNvPr>
          <p:cNvGrpSpPr/>
          <p:nvPr/>
        </p:nvGrpSpPr>
        <p:grpSpPr>
          <a:xfrm>
            <a:off x="3854211" y="3131773"/>
            <a:ext cx="265953" cy="282845"/>
            <a:chOff x="3854211" y="3131773"/>
            <a:chExt cx="265953" cy="282845"/>
          </a:xfrm>
        </p:grpSpPr>
        <p:sp>
          <p:nvSpPr>
            <p:cNvPr id="170" name="Forma livre: Forma 169">
              <a:extLst>
                <a:ext uri="{FF2B5EF4-FFF2-40B4-BE49-F238E27FC236}">
                  <a16:creationId xmlns:a16="http://schemas.microsoft.com/office/drawing/2014/main" id="{B3E534F9-ECDE-BF5B-1110-08D9A377F9E5}"/>
                </a:ext>
              </a:extLst>
            </p:cNvPr>
            <p:cNvSpPr/>
            <p:nvPr/>
          </p:nvSpPr>
          <p:spPr>
            <a:xfrm>
              <a:off x="3854211" y="3192685"/>
              <a:ext cx="265953" cy="221932"/>
            </a:xfrm>
            <a:custGeom>
              <a:avLst/>
              <a:gdLst>
                <a:gd name="connsiteX0" fmla="*/ 217744 w 265953"/>
                <a:gd name="connsiteY0" fmla="*/ 0 h 221932"/>
                <a:gd name="connsiteX1" fmla="*/ 236365 w 265953"/>
                <a:gd name="connsiteY1" fmla="*/ 0 h 221932"/>
                <a:gd name="connsiteX2" fmla="*/ 265655 w 265953"/>
                <a:gd name="connsiteY2" fmla="*/ 33480 h 221932"/>
                <a:gd name="connsiteX3" fmla="*/ 245128 w 265953"/>
                <a:gd name="connsiteY3" fmla="*/ 188452 h 221932"/>
                <a:gd name="connsiteX4" fmla="*/ 206933 w 265953"/>
                <a:gd name="connsiteY4" fmla="*/ 221933 h 221932"/>
                <a:gd name="connsiteX5" fmla="*/ 59010 w 265953"/>
                <a:gd name="connsiteY5" fmla="*/ 221933 h 221932"/>
                <a:gd name="connsiteX6" fmla="*/ 20815 w 265953"/>
                <a:gd name="connsiteY6" fmla="*/ 188452 h 221932"/>
                <a:gd name="connsiteX7" fmla="*/ 288 w 265953"/>
                <a:gd name="connsiteY7" fmla="*/ 33480 h 221932"/>
                <a:gd name="connsiteX8" fmla="*/ 29578 w 265953"/>
                <a:gd name="connsiteY8" fmla="*/ 0 h 221932"/>
                <a:gd name="connsiteX9" fmla="*/ 47437 w 265953"/>
                <a:gd name="connsiteY9" fmla="*/ 0 h 2219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65953" h="221932">
                  <a:moveTo>
                    <a:pt x="217744" y="0"/>
                  </a:moveTo>
                  <a:lnTo>
                    <a:pt x="236365" y="0"/>
                  </a:lnTo>
                  <a:cubicBezTo>
                    <a:pt x="254939" y="0"/>
                    <a:pt x="268131" y="15050"/>
                    <a:pt x="265655" y="33480"/>
                  </a:cubicBezTo>
                  <a:lnTo>
                    <a:pt x="245128" y="188452"/>
                  </a:lnTo>
                  <a:cubicBezTo>
                    <a:pt x="242700" y="206835"/>
                    <a:pt x="225507" y="221933"/>
                    <a:pt x="206933" y="221933"/>
                  </a:cubicBezTo>
                  <a:lnTo>
                    <a:pt x="59010" y="221933"/>
                  </a:lnTo>
                  <a:cubicBezTo>
                    <a:pt x="40436" y="221933"/>
                    <a:pt x="23243" y="206883"/>
                    <a:pt x="20815" y="188452"/>
                  </a:cubicBezTo>
                  <a:lnTo>
                    <a:pt x="288" y="33480"/>
                  </a:lnTo>
                  <a:cubicBezTo>
                    <a:pt x="-2141" y="15097"/>
                    <a:pt x="11051" y="0"/>
                    <a:pt x="29578" y="0"/>
                  </a:cubicBezTo>
                  <a:lnTo>
                    <a:pt x="47437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1" name="Forma livre: Forma 170">
              <a:extLst>
                <a:ext uri="{FF2B5EF4-FFF2-40B4-BE49-F238E27FC236}">
                  <a16:creationId xmlns:a16="http://schemas.microsoft.com/office/drawing/2014/main" id="{E500EE43-E63E-509B-EB03-E8B53C2DD668}"/>
                </a:ext>
              </a:extLst>
            </p:cNvPr>
            <p:cNvSpPr/>
            <p:nvPr/>
          </p:nvSpPr>
          <p:spPr>
            <a:xfrm>
              <a:off x="3987183" y="3314272"/>
              <a:ext cx="4762" cy="99107"/>
            </a:xfrm>
            <a:custGeom>
              <a:avLst/>
              <a:gdLst>
                <a:gd name="connsiteX0" fmla="*/ 0 w 4762"/>
                <a:gd name="connsiteY0" fmla="*/ 99108 h 99107"/>
                <a:gd name="connsiteX1" fmla="*/ 0 w 4762"/>
                <a:gd name="connsiteY1" fmla="*/ 0 h 991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762" h="99107">
                  <a:moveTo>
                    <a:pt x="0" y="99108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2" name="Forma livre: Forma 171">
              <a:extLst>
                <a:ext uri="{FF2B5EF4-FFF2-40B4-BE49-F238E27FC236}">
                  <a16:creationId xmlns:a16="http://schemas.microsoft.com/office/drawing/2014/main" id="{8E4F518E-259E-798D-AD03-224EF19BE82D}"/>
                </a:ext>
              </a:extLst>
            </p:cNvPr>
            <p:cNvSpPr/>
            <p:nvPr/>
          </p:nvSpPr>
          <p:spPr>
            <a:xfrm>
              <a:off x="3925080" y="3131773"/>
              <a:ext cx="124206" cy="124206"/>
            </a:xfrm>
            <a:custGeom>
              <a:avLst/>
              <a:gdLst>
                <a:gd name="connsiteX0" fmla="*/ 124206 w 124206"/>
                <a:gd name="connsiteY0" fmla="*/ 62103 h 124206"/>
                <a:gd name="connsiteX1" fmla="*/ 62103 w 124206"/>
                <a:gd name="connsiteY1" fmla="*/ 124206 h 124206"/>
                <a:gd name="connsiteX2" fmla="*/ 0 w 124206"/>
                <a:gd name="connsiteY2" fmla="*/ 62103 h 124206"/>
                <a:gd name="connsiteX3" fmla="*/ 62103 w 124206"/>
                <a:gd name="connsiteY3" fmla="*/ 0 h 124206"/>
                <a:gd name="connsiteX4" fmla="*/ 124206 w 124206"/>
                <a:gd name="connsiteY4" fmla="*/ 62103 h 1242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4206" h="124206">
                  <a:moveTo>
                    <a:pt x="124206" y="62103"/>
                  </a:moveTo>
                  <a:cubicBezTo>
                    <a:pt x="124206" y="96393"/>
                    <a:pt x="96393" y="124206"/>
                    <a:pt x="62103" y="124206"/>
                  </a:cubicBezTo>
                  <a:cubicBezTo>
                    <a:pt x="27813" y="124206"/>
                    <a:pt x="0" y="96393"/>
                    <a:pt x="0" y="62103"/>
                  </a:cubicBezTo>
                  <a:cubicBezTo>
                    <a:pt x="0" y="27813"/>
                    <a:pt x="27813" y="0"/>
                    <a:pt x="62103" y="0"/>
                  </a:cubicBezTo>
                  <a:cubicBezTo>
                    <a:pt x="96393" y="0"/>
                    <a:pt x="124206" y="27813"/>
                    <a:pt x="124206" y="62103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3" name="Forma livre: Forma 172">
              <a:extLst>
                <a:ext uri="{FF2B5EF4-FFF2-40B4-BE49-F238E27FC236}">
                  <a16:creationId xmlns:a16="http://schemas.microsoft.com/office/drawing/2014/main" id="{184DD2DA-B479-BF05-ADD3-66FFB35C57C9}"/>
                </a:ext>
              </a:extLst>
            </p:cNvPr>
            <p:cNvSpPr/>
            <p:nvPr/>
          </p:nvSpPr>
          <p:spPr>
            <a:xfrm>
              <a:off x="3983087" y="3171492"/>
              <a:ext cx="29337" cy="26050"/>
            </a:xfrm>
            <a:custGeom>
              <a:avLst/>
              <a:gdLst>
                <a:gd name="connsiteX0" fmla="*/ 0 w 29337"/>
                <a:gd name="connsiteY0" fmla="*/ 26051 h 26050"/>
                <a:gd name="connsiteX1" fmla="*/ 29337 w 29337"/>
                <a:gd name="connsiteY1" fmla="*/ 0 h 26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9337" h="26050">
                  <a:moveTo>
                    <a:pt x="0" y="26051"/>
                  </a:moveTo>
                  <a:lnTo>
                    <a:pt x="29337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74" name="Gráfico 4">
              <a:extLst>
                <a:ext uri="{FF2B5EF4-FFF2-40B4-BE49-F238E27FC236}">
                  <a16:creationId xmlns:a16="http://schemas.microsoft.com/office/drawing/2014/main" id="{D5929DDB-5CFE-497B-1B04-492FF6270EB5}"/>
                </a:ext>
              </a:extLst>
            </p:cNvPr>
            <p:cNvGrpSpPr/>
            <p:nvPr/>
          </p:nvGrpSpPr>
          <p:grpSpPr>
            <a:xfrm>
              <a:off x="3910411" y="3286887"/>
              <a:ext cx="153590" cy="84010"/>
              <a:chOff x="3910411" y="3286887"/>
              <a:chExt cx="153590" cy="84010"/>
            </a:xfrm>
            <a:solidFill>
              <a:srgbClr val="394553"/>
            </a:solidFill>
          </p:grpSpPr>
          <p:grpSp>
            <p:nvGrpSpPr>
              <p:cNvPr id="175" name="Gráfico 4">
                <a:extLst>
                  <a:ext uri="{FF2B5EF4-FFF2-40B4-BE49-F238E27FC236}">
                    <a16:creationId xmlns:a16="http://schemas.microsoft.com/office/drawing/2014/main" id="{104A9FBE-3692-A4C5-AB4E-436DFAB6A949}"/>
                  </a:ext>
                </a:extLst>
              </p:cNvPr>
              <p:cNvGrpSpPr/>
              <p:nvPr/>
            </p:nvGrpSpPr>
            <p:grpSpPr>
              <a:xfrm>
                <a:off x="3910411" y="3286887"/>
                <a:ext cx="39052" cy="84010"/>
                <a:chOff x="3910411" y="3286887"/>
                <a:chExt cx="39052" cy="84010"/>
              </a:xfrm>
              <a:solidFill>
                <a:srgbClr val="394553"/>
              </a:solidFill>
            </p:grpSpPr>
            <p:grpSp>
              <p:nvGrpSpPr>
                <p:cNvPr id="176" name="Gráfico 4">
                  <a:extLst>
                    <a:ext uri="{FF2B5EF4-FFF2-40B4-BE49-F238E27FC236}">
                      <a16:creationId xmlns:a16="http://schemas.microsoft.com/office/drawing/2014/main" id="{835D5C8E-E31D-E231-A5BD-8D6755E0ABE0}"/>
                    </a:ext>
                  </a:extLst>
                </p:cNvPr>
                <p:cNvGrpSpPr/>
                <p:nvPr/>
              </p:nvGrpSpPr>
              <p:grpSpPr>
                <a:xfrm>
                  <a:off x="3910411" y="3286887"/>
                  <a:ext cx="39052" cy="7429"/>
                  <a:chOff x="3910411" y="3286887"/>
                  <a:chExt cx="39052" cy="7429"/>
                </a:xfrm>
                <a:solidFill>
                  <a:srgbClr val="394553"/>
                </a:solidFill>
              </p:grpSpPr>
              <p:sp>
                <p:nvSpPr>
                  <p:cNvPr id="177" name="Forma livre: Forma 176">
                    <a:extLst>
                      <a:ext uri="{FF2B5EF4-FFF2-40B4-BE49-F238E27FC236}">
                        <a16:creationId xmlns:a16="http://schemas.microsoft.com/office/drawing/2014/main" id="{447DA122-69A7-373F-D1A6-7547B2A964B9}"/>
                      </a:ext>
                    </a:extLst>
                  </p:cNvPr>
                  <p:cNvSpPr/>
                  <p:nvPr/>
                </p:nvSpPr>
                <p:spPr>
                  <a:xfrm>
                    <a:off x="3942034" y="3286887"/>
                    <a:ext cx="7429" cy="7429"/>
                  </a:xfrm>
                  <a:custGeom>
                    <a:avLst/>
                    <a:gdLst>
                      <a:gd name="connsiteX0" fmla="*/ 7429 w 7429"/>
                      <a:gd name="connsiteY0" fmla="*/ 3715 h 7429"/>
                      <a:gd name="connsiteX1" fmla="*/ 3715 w 7429"/>
                      <a:gd name="connsiteY1" fmla="*/ 7429 h 7429"/>
                      <a:gd name="connsiteX2" fmla="*/ 0 w 7429"/>
                      <a:gd name="connsiteY2" fmla="*/ 3715 h 7429"/>
                      <a:gd name="connsiteX3" fmla="*/ 3715 w 7429"/>
                      <a:gd name="connsiteY3" fmla="*/ 0 h 7429"/>
                      <a:gd name="connsiteX4" fmla="*/ 7429 w 7429"/>
                      <a:gd name="connsiteY4" fmla="*/ 3715 h 742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7429" h="7429">
                        <a:moveTo>
                          <a:pt x="7429" y="3715"/>
                        </a:moveTo>
                        <a:cubicBezTo>
                          <a:pt x="7429" y="5763"/>
                          <a:pt x="5763" y="7429"/>
                          <a:pt x="3715" y="7429"/>
                        </a:cubicBezTo>
                        <a:cubicBezTo>
                          <a:pt x="1667" y="7429"/>
                          <a:pt x="0" y="5763"/>
                          <a:pt x="0" y="3715"/>
                        </a:cubicBezTo>
                        <a:cubicBezTo>
                          <a:pt x="0" y="1667"/>
                          <a:pt x="1667" y="0"/>
                          <a:pt x="3715" y="0"/>
                        </a:cubicBezTo>
                        <a:cubicBezTo>
                          <a:pt x="5763" y="0"/>
                          <a:pt x="7429" y="1667"/>
                          <a:pt x="7429" y="3715"/>
                        </a:cubicBezTo>
                        <a:close/>
                      </a:path>
                    </a:pathLst>
                  </a:custGeom>
                  <a:solidFill>
                    <a:srgbClr val="394553"/>
                  </a:solidFill>
                  <a:ln w="6350" cap="flat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178" name="Forma livre: Forma 177">
                    <a:extLst>
                      <a:ext uri="{FF2B5EF4-FFF2-40B4-BE49-F238E27FC236}">
                        <a16:creationId xmlns:a16="http://schemas.microsoft.com/office/drawing/2014/main" id="{A44BBD5C-5EC8-1FF6-3C86-BFC7A0EEE38A}"/>
                      </a:ext>
                    </a:extLst>
                  </p:cNvPr>
                  <p:cNvSpPr/>
                  <p:nvPr/>
                </p:nvSpPr>
                <p:spPr>
                  <a:xfrm>
                    <a:off x="3910411" y="3286887"/>
                    <a:ext cx="7429" cy="7429"/>
                  </a:xfrm>
                  <a:custGeom>
                    <a:avLst/>
                    <a:gdLst>
                      <a:gd name="connsiteX0" fmla="*/ 7429 w 7429"/>
                      <a:gd name="connsiteY0" fmla="*/ 3715 h 7429"/>
                      <a:gd name="connsiteX1" fmla="*/ 3715 w 7429"/>
                      <a:gd name="connsiteY1" fmla="*/ 7429 h 7429"/>
                      <a:gd name="connsiteX2" fmla="*/ 0 w 7429"/>
                      <a:gd name="connsiteY2" fmla="*/ 3715 h 7429"/>
                      <a:gd name="connsiteX3" fmla="*/ 3715 w 7429"/>
                      <a:gd name="connsiteY3" fmla="*/ 0 h 7429"/>
                      <a:gd name="connsiteX4" fmla="*/ 7429 w 7429"/>
                      <a:gd name="connsiteY4" fmla="*/ 3715 h 742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7429" h="7429">
                        <a:moveTo>
                          <a:pt x="7429" y="3715"/>
                        </a:moveTo>
                        <a:cubicBezTo>
                          <a:pt x="7429" y="5763"/>
                          <a:pt x="5763" y="7429"/>
                          <a:pt x="3715" y="7429"/>
                        </a:cubicBezTo>
                        <a:cubicBezTo>
                          <a:pt x="1667" y="7429"/>
                          <a:pt x="0" y="5763"/>
                          <a:pt x="0" y="3715"/>
                        </a:cubicBezTo>
                        <a:cubicBezTo>
                          <a:pt x="0" y="1667"/>
                          <a:pt x="1667" y="0"/>
                          <a:pt x="3715" y="0"/>
                        </a:cubicBezTo>
                        <a:cubicBezTo>
                          <a:pt x="5763" y="0"/>
                          <a:pt x="7429" y="1667"/>
                          <a:pt x="7429" y="3715"/>
                        </a:cubicBezTo>
                        <a:close/>
                      </a:path>
                    </a:pathLst>
                  </a:custGeom>
                  <a:solidFill>
                    <a:srgbClr val="394553"/>
                  </a:solidFill>
                  <a:ln w="6350" cap="flat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  <p:grpSp>
              <p:nvGrpSpPr>
                <p:cNvPr id="179" name="Gráfico 4">
                  <a:extLst>
                    <a:ext uri="{FF2B5EF4-FFF2-40B4-BE49-F238E27FC236}">
                      <a16:creationId xmlns:a16="http://schemas.microsoft.com/office/drawing/2014/main" id="{85912673-4229-13F4-872D-B1C2086AB301}"/>
                    </a:ext>
                  </a:extLst>
                </p:cNvPr>
                <p:cNvGrpSpPr/>
                <p:nvPr/>
              </p:nvGrpSpPr>
              <p:grpSpPr>
                <a:xfrm>
                  <a:off x="3910411" y="3325178"/>
                  <a:ext cx="39052" cy="7429"/>
                  <a:chOff x="3910411" y="3325178"/>
                  <a:chExt cx="39052" cy="7429"/>
                </a:xfrm>
                <a:solidFill>
                  <a:srgbClr val="394553"/>
                </a:solidFill>
              </p:grpSpPr>
              <p:sp>
                <p:nvSpPr>
                  <p:cNvPr id="180" name="Forma livre: Forma 179">
                    <a:extLst>
                      <a:ext uri="{FF2B5EF4-FFF2-40B4-BE49-F238E27FC236}">
                        <a16:creationId xmlns:a16="http://schemas.microsoft.com/office/drawing/2014/main" id="{46586567-EAE0-59BF-E746-FF855988EBF6}"/>
                      </a:ext>
                    </a:extLst>
                  </p:cNvPr>
                  <p:cNvSpPr/>
                  <p:nvPr/>
                </p:nvSpPr>
                <p:spPr>
                  <a:xfrm>
                    <a:off x="3942034" y="3325178"/>
                    <a:ext cx="7429" cy="7429"/>
                  </a:xfrm>
                  <a:custGeom>
                    <a:avLst/>
                    <a:gdLst>
                      <a:gd name="connsiteX0" fmla="*/ 7429 w 7429"/>
                      <a:gd name="connsiteY0" fmla="*/ 3715 h 7429"/>
                      <a:gd name="connsiteX1" fmla="*/ 3715 w 7429"/>
                      <a:gd name="connsiteY1" fmla="*/ 7429 h 7429"/>
                      <a:gd name="connsiteX2" fmla="*/ 0 w 7429"/>
                      <a:gd name="connsiteY2" fmla="*/ 3715 h 7429"/>
                      <a:gd name="connsiteX3" fmla="*/ 3715 w 7429"/>
                      <a:gd name="connsiteY3" fmla="*/ 0 h 7429"/>
                      <a:gd name="connsiteX4" fmla="*/ 7429 w 7429"/>
                      <a:gd name="connsiteY4" fmla="*/ 3715 h 742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7429" h="7429">
                        <a:moveTo>
                          <a:pt x="7429" y="3715"/>
                        </a:moveTo>
                        <a:cubicBezTo>
                          <a:pt x="7429" y="5763"/>
                          <a:pt x="5763" y="7429"/>
                          <a:pt x="3715" y="7429"/>
                        </a:cubicBezTo>
                        <a:cubicBezTo>
                          <a:pt x="1667" y="7429"/>
                          <a:pt x="0" y="5763"/>
                          <a:pt x="0" y="3715"/>
                        </a:cubicBezTo>
                        <a:cubicBezTo>
                          <a:pt x="0" y="1667"/>
                          <a:pt x="1667" y="0"/>
                          <a:pt x="3715" y="0"/>
                        </a:cubicBezTo>
                        <a:cubicBezTo>
                          <a:pt x="5763" y="0"/>
                          <a:pt x="7429" y="1667"/>
                          <a:pt x="7429" y="3715"/>
                        </a:cubicBezTo>
                        <a:close/>
                      </a:path>
                    </a:pathLst>
                  </a:custGeom>
                  <a:solidFill>
                    <a:srgbClr val="394553"/>
                  </a:solidFill>
                  <a:ln w="6350" cap="flat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181" name="Forma livre: Forma 180">
                    <a:extLst>
                      <a:ext uri="{FF2B5EF4-FFF2-40B4-BE49-F238E27FC236}">
                        <a16:creationId xmlns:a16="http://schemas.microsoft.com/office/drawing/2014/main" id="{47DD90AC-EF10-F418-17AB-1BE06CD77027}"/>
                      </a:ext>
                    </a:extLst>
                  </p:cNvPr>
                  <p:cNvSpPr/>
                  <p:nvPr/>
                </p:nvSpPr>
                <p:spPr>
                  <a:xfrm>
                    <a:off x="3910411" y="3325178"/>
                    <a:ext cx="7429" cy="7429"/>
                  </a:xfrm>
                  <a:custGeom>
                    <a:avLst/>
                    <a:gdLst>
                      <a:gd name="connsiteX0" fmla="*/ 7429 w 7429"/>
                      <a:gd name="connsiteY0" fmla="*/ 3715 h 7429"/>
                      <a:gd name="connsiteX1" fmla="*/ 3715 w 7429"/>
                      <a:gd name="connsiteY1" fmla="*/ 7429 h 7429"/>
                      <a:gd name="connsiteX2" fmla="*/ 0 w 7429"/>
                      <a:gd name="connsiteY2" fmla="*/ 3715 h 7429"/>
                      <a:gd name="connsiteX3" fmla="*/ 3715 w 7429"/>
                      <a:gd name="connsiteY3" fmla="*/ 0 h 7429"/>
                      <a:gd name="connsiteX4" fmla="*/ 7429 w 7429"/>
                      <a:gd name="connsiteY4" fmla="*/ 3715 h 742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7429" h="7429">
                        <a:moveTo>
                          <a:pt x="7429" y="3715"/>
                        </a:moveTo>
                        <a:cubicBezTo>
                          <a:pt x="7429" y="5763"/>
                          <a:pt x="5763" y="7429"/>
                          <a:pt x="3715" y="7429"/>
                        </a:cubicBezTo>
                        <a:cubicBezTo>
                          <a:pt x="1667" y="7429"/>
                          <a:pt x="0" y="5763"/>
                          <a:pt x="0" y="3715"/>
                        </a:cubicBezTo>
                        <a:cubicBezTo>
                          <a:pt x="0" y="1667"/>
                          <a:pt x="1667" y="0"/>
                          <a:pt x="3715" y="0"/>
                        </a:cubicBezTo>
                        <a:cubicBezTo>
                          <a:pt x="5763" y="0"/>
                          <a:pt x="7429" y="1667"/>
                          <a:pt x="7429" y="3715"/>
                        </a:cubicBezTo>
                        <a:close/>
                      </a:path>
                    </a:pathLst>
                  </a:custGeom>
                  <a:solidFill>
                    <a:srgbClr val="394553"/>
                  </a:solidFill>
                  <a:ln w="6350" cap="flat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  <p:grpSp>
              <p:nvGrpSpPr>
                <p:cNvPr id="182" name="Gráfico 4">
                  <a:extLst>
                    <a:ext uri="{FF2B5EF4-FFF2-40B4-BE49-F238E27FC236}">
                      <a16:creationId xmlns:a16="http://schemas.microsoft.com/office/drawing/2014/main" id="{8C8B28A7-6849-8BCF-19F7-00CDD44DAA45}"/>
                    </a:ext>
                  </a:extLst>
                </p:cNvPr>
                <p:cNvGrpSpPr/>
                <p:nvPr/>
              </p:nvGrpSpPr>
              <p:grpSpPr>
                <a:xfrm>
                  <a:off x="3910411" y="3363468"/>
                  <a:ext cx="39052" cy="7429"/>
                  <a:chOff x="3910411" y="3363468"/>
                  <a:chExt cx="39052" cy="7429"/>
                </a:xfrm>
                <a:solidFill>
                  <a:srgbClr val="394553"/>
                </a:solidFill>
              </p:grpSpPr>
              <p:sp>
                <p:nvSpPr>
                  <p:cNvPr id="183" name="Forma livre: Forma 182">
                    <a:extLst>
                      <a:ext uri="{FF2B5EF4-FFF2-40B4-BE49-F238E27FC236}">
                        <a16:creationId xmlns:a16="http://schemas.microsoft.com/office/drawing/2014/main" id="{B152F75A-2AC1-26F2-E1EB-DDB6BCFA4B1F}"/>
                      </a:ext>
                    </a:extLst>
                  </p:cNvPr>
                  <p:cNvSpPr/>
                  <p:nvPr/>
                </p:nvSpPr>
                <p:spPr>
                  <a:xfrm>
                    <a:off x="3942034" y="3363468"/>
                    <a:ext cx="7429" cy="7429"/>
                  </a:xfrm>
                  <a:custGeom>
                    <a:avLst/>
                    <a:gdLst>
                      <a:gd name="connsiteX0" fmla="*/ 7429 w 7429"/>
                      <a:gd name="connsiteY0" fmla="*/ 3715 h 7429"/>
                      <a:gd name="connsiteX1" fmla="*/ 3715 w 7429"/>
                      <a:gd name="connsiteY1" fmla="*/ 7429 h 7429"/>
                      <a:gd name="connsiteX2" fmla="*/ 0 w 7429"/>
                      <a:gd name="connsiteY2" fmla="*/ 3715 h 7429"/>
                      <a:gd name="connsiteX3" fmla="*/ 3715 w 7429"/>
                      <a:gd name="connsiteY3" fmla="*/ 0 h 7429"/>
                      <a:gd name="connsiteX4" fmla="*/ 7429 w 7429"/>
                      <a:gd name="connsiteY4" fmla="*/ 3715 h 742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7429" h="7429">
                        <a:moveTo>
                          <a:pt x="7429" y="3715"/>
                        </a:moveTo>
                        <a:cubicBezTo>
                          <a:pt x="7429" y="5763"/>
                          <a:pt x="5763" y="7429"/>
                          <a:pt x="3715" y="7429"/>
                        </a:cubicBezTo>
                        <a:cubicBezTo>
                          <a:pt x="1667" y="7429"/>
                          <a:pt x="0" y="5763"/>
                          <a:pt x="0" y="3715"/>
                        </a:cubicBezTo>
                        <a:cubicBezTo>
                          <a:pt x="0" y="1667"/>
                          <a:pt x="1667" y="0"/>
                          <a:pt x="3715" y="0"/>
                        </a:cubicBezTo>
                        <a:cubicBezTo>
                          <a:pt x="5763" y="0"/>
                          <a:pt x="7429" y="1667"/>
                          <a:pt x="7429" y="3715"/>
                        </a:cubicBezTo>
                        <a:close/>
                      </a:path>
                    </a:pathLst>
                  </a:custGeom>
                  <a:solidFill>
                    <a:srgbClr val="394553"/>
                  </a:solidFill>
                  <a:ln w="6350" cap="flat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184" name="Forma livre: Forma 183">
                    <a:extLst>
                      <a:ext uri="{FF2B5EF4-FFF2-40B4-BE49-F238E27FC236}">
                        <a16:creationId xmlns:a16="http://schemas.microsoft.com/office/drawing/2014/main" id="{5F320F79-86E7-BD23-FCF4-402DCCADEBCD}"/>
                      </a:ext>
                    </a:extLst>
                  </p:cNvPr>
                  <p:cNvSpPr/>
                  <p:nvPr/>
                </p:nvSpPr>
                <p:spPr>
                  <a:xfrm>
                    <a:off x="3910411" y="3363468"/>
                    <a:ext cx="7429" cy="7429"/>
                  </a:xfrm>
                  <a:custGeom>
                    <a:avLst/>
                    <a:gdLst>
                      <a:gd name="connsiteX0" fmla="*/ 7429 w 7429"/>
                      <a:gd name="connsiteY0" fmla="*/ 3715 h 7429"/>
                      <a:gd name="connsiteX1" fmla="*/ 3715 w 7429"/>
                      <a:gd name="connsiteY1" fmla="*/ 7429 h 7429"/>
                      <a:gd name="connsiteX2" fmla="*/ 0 w 7429"/>
                      <a:gd name="connsiteY2" fmla="*/ 3715 h 7429"/>
                      <a:gd name="connsiteX3" fmla="*/ 3715 w 7429"/>
                      <a:gd name="connsiteY3" fmla="*/ 0 h 7429"/>
                      <a:gd name="connsiteX4" fmla="*/ 7429 w 7429"/>
                      <a:gd name="connsiteY4" fmla="*/ 3715 h 742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7429" h="7429">
                        <a:moveTo>
                          <a:pt x="7429" y="3715"/>
                        </a:moveTo>
                        <a:cubicBezTo>
                          <a:pt x="7429" y="5763"/>
                          <a:pt x="5763" y="7429"/>
                          <a:pt x="3715" y="7429"/>
                        </a:cubicBezTo>
                        <a:cubicBezTo>
                          <a:pt x="1667" y="7429"/>
                          <a:pt x="0" y="5763"/>
                          <a:pt x="0" y="3715"/>
                        </a:cubicBezTo>
                        <a:cubicBezTo>
                          <a:pt x="0" y="1667"/>
                          <a:pt x="1667" y="0"/>
                          <a:pt x="3715" y="0"/>
                        </a:cubicBezTo>
                        <a:cubicBezTo>
                          <a:pt x="5763" y="0"/>
                          <a:pt x="7429" y="1667"/>
                          <a:pt x="7429" y="3715"/>
                        </a:cubicBezTo>
                        <a:close/>
                      </a:path>
                    </a:pathLst>
                  </a:custGeom>
                  <a:solidFill>
                    <a:srgbClr val="394553"/>
                  </a:solidFill>
                  <a:ln w="6350" cap="flat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</p:grpSp>
          <p:grpSp>
            <p:nvGrpSpPr>
              <p:cNvPr id="185" name="Gráfico 4">
                <a:extLst>
                  <a:ext uri="{FF2B5EF4-FFF2-40B4-BE49-F238E27FC236}">
                    <a16:creationId xmlns:a16="http://schemas.microsoft.com/office/drawing/2014/main" id="{318E30BC-2BC4-B5AB-607C-F2E7A18CA3D9}"/>
                  </a:ext>
                </a:extLst>
              </p:cNvPr>
              <p:cNvGrpSpPr/>
              <p:nvPr/>
            </p:nvGrpSpPr>
            <p:grpSpPr>
              <a:xfrm>
                <a:off x="4024949" y="3286887"/>
                <a:ext cx="39052" cy="84010"/>
                <a:chOff x="4024949" y="3286887"/>
                <a:chExt cx="39052" cy="84010"/>
              </a:xfrm>
              <a:solidFill>
                <a:srgbClr val="394553"/>
              </a:solidFill>
            </p:grpSpPr>
            <p:grpSp>
              <p:nvGrpSpPr>
                <p:cNvPr id="186" name="Gráfico 4">
                  <a:extLst>
                    <a:ext uri="{FF2B5EF4-FFF2-40B4-BE49-F238E27FC236}">
                      <a16:creationId xmlns:a16="http://schemas.microsoft.com/office/drawing/2014/main" id="{9E6645C5-B3C3-5035-7DF6-7BDA2F3F8876}"/>
                    </a:ext>
                  </a:extLst>
                </p:cNvPr>
                <p:cNvGrpSpPr/>
                <p:nvPr/>
              </p:nvGrpSpPr>
              <p:grpSpPr>
                <a:xfrm>
                  <a:off x="4024949" y="3286887"/>
                  <a:ext cx="39052" cy="7429"/>
                  <a:chOff x="4024949" y="3286887"/>
                  <a:chExt cx="39052" cy="7429"/>
                </a:xfrm>
                <a:solidFill>
                  <a:srgbClr val="394553"/>
                </a:solidFill>
              </p:grpSpPr>
              <p:sp>
                <p:nvSpPr>
                  <p:cNvPr id="187" name="Forma livre: Forma 186">
                    <a:extLst>
                      <a:ext uri="{FF2B5EF4-FFF2-40B4-BE49-F238E27FC236}">
                        <a16:creationId xmlns:a16="http://schemas.microsoft.com/office/drawing/2014/main" id="{EA097D19-7DB9-0D64-71D0-81E14126C451}"/>
                      </a:ext>
                    </a:extLst>
                  </p:cNvPr>
                  <p:cNvSpPr/>
                  <p:nvPr/>
                </p:nvSpPr>
                <p:spPr>
                  <a:xfrm>
                    <a:off x="4056573" y="3286887"/>
                    <a:ext cx="7429" cy="7429"/>
                  </a:xfrm>
                  <a:custGeom>
                    <a:avLst/>
                    <a:gdLst>
                      <a:gd name="connsiteX0" fmla="*/ 7429 w 7429"/>
                      <a:gd name="connsiteY0" fmla="*/ 3715 h 7429"/>
                      <a:gd name="connsiteX1" fmla="*/ 3715 w 7429"/>
                      <a:gd name="connsiteY1" fmla="*/ 7429 h 7429"/>
                      <a:gd name="connsiteX2" fmla="*/ 0 w 7429"/>
                      <a:gd name="connsiteY2" fmla="*/ 3715 h 7429"/>
                      <a:gd name="connsiteX3" fmla="*/ 3715 w 7429"/>
                      <a:gd name="connsiteY3" fmla="*/ 0 h 7429"/>
                      <a:gd name="connsiteX4" fmla="*/ 7429 w 7429"/>
                      <a:gd name="connsiteY4" fmla="*/ 3715 h 742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7429" h="7429">
                        <a:moveTo>
                          <a:pt x="7429" y="3715"/>
                        </a:moveTo>
                        <a:cubicBezTo>
                          <a:pt x="7429" y="5763"/>
                          <a:pt x="5763" y="7429"/>
                          <a:pt x="3715" y="7429"/>
                        </a:cubicBezTo>
                        <a:cubicBezTo>
                          <a:pt x="1667" y="7429"/>
                          <a:pt x="0" y="5763"/>
                          <a:pt x="0" y="3715"/>
                        </a:cubicBezTo>
                        <a:cubicBezTo>
                          <a:pt x="0" y="1667"/>
                          <a:pt x="1667" y="0"/>
                          <a:pt x="3715" y="0"/>
                        </a:cubicBezTo>
                        <a:cubicBezTo>
                          <a:pt x="5763" y="0"/>
                          <a:pt x="7429" y="1667"/>
                          <a:pt x="7429" y="3715"/>
                        </a:cubicBezTo>
                        <a:close/>
                      </a:path>
                    </a:pathLst>
                  </a:custGeom>
                  <a:solidFill>
                    <a:srgbClr val="394553"/>
                  </a:solidFill>
                  <a:ln w="6350" cap="flat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188" name="Forma livre: Forma 187">
                    <a:extLst>
                      <a:ext uri="{FF2B5EF4-FFF2-40B4-BE49-F238E27FC236}">
                        <a16:creationId xmlns:a16="http://schemas.microsoft.com/office/drawing/2014/main" id="{E6ACEAC6-3936-045C-7687-610313835AC9}"/>
                      </a:ext>
                    </a:extLst>
                  </p:cNvPr>
                  <p:cNvSpPr/>
                  <p:nvPr/>
                </p:nvSpPr>
                <p:spPr>
                  <a:xfrm>
                    <a:off x="4024949" y="3286887"/>
                    <a:ext cx="7429" cy="7429"/>
                  </a:xfrm>
                  <a:custGeom>
                    <a:avLst/>
                    <a:gdLst>
                      <a:gd name="connsiteX0" fmla="*/ 7429 w 7429"/>
                      <a:gd name="connsiteY0" fmla="*/ 3715 h 7429"/>
                      <a:gd name="connsiteX1" fmla="*/ 3715 w 7429"/>
                      <a:gd name="connsiteY1" fmla="*/ 7429 h 7429"/>
                      <a:gd name="connsiteX2" fmla="*/ 0 w 7429"/>
                      <a:gd name="connsiteY2" fmla="*/ 3715 h 7429"/>
                      <a:gd name="connsiteX3" fmla="*/ 3715 w 7429"/>
                      <a:gd name="connsiteY3" fmla="*/ 0 h 7429"/>
                      <a:gd name="connsiteX4" fmla="*/ 7429 w 7429"/>
                      <a:gd name="connsiteY4" fmla="*/ 3715 h 742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7429" h="7429">
                        <a:moveTo>
                          <a:pt x="7429" y="3715"/>
                        </a:moveTo>
                        <a:cubicBezTo>
                          <a:pt x="7429" y="5763"/>
                          <a:pt x="5763" y="7429"/>
                          <a:pt x="3715" y="7429"/>
                        </a:cubicBezTo>
                        <a:cubicBezTo>
                          <a:pt x="1667" y="7429"/>
                          <a:pt x="0" y="5763"/>
                          <a:pt x="0" y="3715"/>
                        </a:cubicBezTo>
                        <a:cubicBezTo>
                          <a:pt x="0" y="1667"/>
                          <a:pt x="1667" y="0"/>
                          <a:pt x="3715" y="0"/>
                        </a:cubicBezTo>
                        <a:cubicBezTo>
                          <a:pt x="5763" y="0"/>
                          <a:pt x="7429" y="1667"/>
                          <a:pt x="7429" y="3715"/>
                        </a:cubicBezTo>
                        <a:close/>
                      </a:path>
                    </a:pathLst>
                  </a:custGeom>
                  <a:solidFill>
                    <a:srgbClr val="394553"/>
                  </a:solidFill>
                  <a:ln w="6350" cap="flat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  <p:grpSp>
              <p:nvGrpSpPr>
                <p:cNvPr id="189" name="Gráfico 4">
                  <a:extLst>
                    <a:ext uri="{FF2B5EF4-FFF2-40B4-BE49-F238E27FC236}">
                      <a16:creationId xmlns:a16="http://schemas.microsoft.com/office/drawing/2014/main" id="{3908664F-7D64-64FA-2229-E5F3484B6AF7}"/>
                    </a:ext>
                  </a:extLst>
                </p:cNvPr>
                <p:cNvGrpSpPr/>
                <p:nvPr/>
              </p:nvGrpSpPr>
              <p:grpSpPr>
                <a:xfrm>
                  <a:off x="4024949" y="3325178"/>
                  <a:ext cx="39052" cy="7429"/>
                  <a:chOff x="4024949" y="3325178"/>
                  <a:chExt cx="39052" cy="7429"/>
                </a:xfrm>
                <a:solidFill>
                  <a:srgbClr val="394553"/>
                </a:solidFill>
              </p:grpSpPr>
              <p:sp>
                <p:nvSpPr>
                  <p:cNvPr id="190" name="Forma livre: Forma 189">
                    <a:extLst>
                      <a:ext uri="{FF2B5EF4-FFF2-40B4-BE49-F238E27FC236}">
                        <a16:creationId xmlns:a16="http://schemas.microsoft.com/office/drawing/2014/main" id="{B11F2422-3A38-58AD-E077-D4AC9FD97B49}"/>
                      </a:ext>
                    </a:extLst>
                  </p:cNvPr>
                  <p:cNvSpPr/>
                  <p:nvPr/>
                </p:nvSpPr>
                <p:spPr>
                  <a:xfrm>
                    <a:off x="4056573" y="3325178"/>
                    <a:ext cx="7429" cy="7429"/>
                  </a:xfrm>
                  <a:custGeom>
                    <a:avLst/>
                    <a:gdLst>
                      <a:gd name="connsiteX0" fmla="*/ 7429 w 7429"/>
                      <a:gd name="connsiteY0" fmla="*/ 3715 h 7429"/>
                      <a:gd name="connsiteX1" fmla="*/ 3715 w 7429"/>
                      <a:gd name="connsiteY1" fmla="*/ 7429 h 7429"/>
                      <a:gd name="connsiteX2" fmla="*/ 0 w 7429"/>
                      <a:gd name="connsiteY2" fmla="*/ 3715 h 7429"/>
                      <a:gd name="connsiteX3" fmla="*/ 3715 w 7429"/>
                      <a:gd name="connsiteY3" fmla="*/ 0 h 7429"/>
                      <a:gd name="connsiteX4" fmla="*/ 7429 w 7429"/>
                      <a:gd name="connsiteY4" fmla="*/ 3715 h 742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7429" h="7429">
                        <a:moveTo>
                          <a:pt x="7429" y="3715"/>
                        </a:moveTo>
                        <a:cubicBezTo>
                          <a:pt x="7429" y="5763"/>
                          <a:pt x="5763" y="7429"/>
                          <a:pt x="3715" y="7429"/>
                        </a:cubicBezTo>
                        <a:cubicBezTo>
                          <a:pt x="1667" y="7429"/>
                          <a:pt x="0" y="5763"/>
                          <a:pt x="0" y="3715"/>
                        </a:cubicBezTo>
                        <a:cubicBezTo>
                          <a:pt x="0" y="1667"/>
                          <a:pt x="1667" y="0"/>
                          <a:pt x="3715" y="0"/>
                        </a:cubicBezTo>
                        <a:cubicBezTo>
                          <a:pt x="5763" y="0"/>
                          <a:pt x="7429" y="1667"/>
                          <a:pt x="7429" y="3715"/>
                        </a:cubicBezTo>
                        <a:close/>
                      </a:path>
                    </a:pathLst>
                  </a:custGeom>
                  <a:solidFill>
                    <a:srgbClr val="394553"/>
                  </a:solidFill>
                  <a:ln w="6350" cap="flat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191" name="Forma livre: Forma 190">
                    <a:extLst>
                      <a:ext uri="{FF2B5EF4-FFF2-40B4-BE49-F238E27FC236}">
                        <a16:creationId xmlns:a16="http://schemas.microsoft.com/office/drawing/2014/main" id="{92FBD1CE-E554-703B-BCF2-9D35368A6811}"/>
                      </a:ext>
                    </a:extLst>
                  </p:cNvPr>
                  <p:cNvSpPr/>
                  <p:nvPr/>
                </p:nvSpPr>
                <p:spPr>
                  <a:xfrm>
                    <a:off x="4024949" y="3325178"/>
                    <a:ext cx="7429" cy="7429"/>
                  </a:xfrm>
                  <a:custGeom>
                    <a:avLst/>
                    <a:gdLst>
                      <a:gd name="connsiteX0" fmla="*/ 7429 w 7429"/>
                      <a:gd name="connsiteY0" fmla="*/ 3715 h 7429"/>
                      <a:gd name="connsiteX1" fmla="*/ 3715 w 7429"/>
                      <a:gd name="connsiteY1" fmla="*/ 7429 h 7429"/>
                      <a:gd name="connsiteX2" fmla="*/ 0 w 7429"/>
                      <a:gd name="connsiteY2" fmla="*/ 3715 h 7429"/>
                      <a:gd name="connsiteX3" fmla="*/ 3715 w 7429"/>
                      <a:gd name="connsiteY3" fmla="*/ 0 h 7429"/>
                      <a:gd name="connsiteX4" fmla="*/ 7429 w 7429"/>
                      <a:gd name="connsiteY4" fmla="*/ 3715 h 742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7429" h="7429">
                        <a:moveTo>
                          <a:pt x="7429" y="3715"/>
                        </a:moveTo>
                        <a:cubicBezTo>
                          <a:pt x="7429" y="5763"/>
                          <a:pt x="5763" y="7429"/>
                          <a:pt x="3715" y="7429"/>
                        </a:cubicBezTo>
                        <a:cubicBezTo>
                          <a:pt x="1667" y="7429"/>
                          <a:pt x="0" y="5763"/>
                          <a:pt x="0" y="3715"/>
                        </a:cubicBezTo>
                        <a:cubicBezTo>
                          <a:pt x="0" y="1667"/>
                          <a:pt x="1667" y="0"/>
                          <a:pt x="3715" y="0"/>
                        </a:cubicBezTo>
                        <a:cubicBezTo>
                          <a:pt x="5763" y="0"/>
                          <a:pt x="7429" y="1667"/>
                          <a:pt x="7429" y="3715"/>
                        </a:cubicBezTo>
                        <a:close/>
                      </a:path>
                    </a:pathLst>
                  </a:custGeom>
                  <a:solidFill>
                    <a:srgbClr val="394553"/>
                  </a:solidFill>
                  <a:ln w="6350" cap="flat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  <p:grpSp>
              <p:nvGrpSpPr>
                <p:cNvPr id="192" name="Gráfico 4">
                  <a:extLst>
                    <a:ext uri="{FF2B5EF4-FFF2-40B4-BE49-F238E27FC236}">
                      <a16:creationId xmlns:a16="http://schemas.microsoft.com/office/drawing/2014/main" id="{30DA65D8-5570-C547-5426-CF1B26D91951}"/>
                    </a:ext>
                  </a:extLst>
                </p:cNvPr>
                <p:cNvGrpSpPr/>
                <p:nvPr/>
              </p:nvGrpSpPr>
              <p:grpSpPr>
                <a:xfrm>
                  <a:off x="4024949" y="3363468"/>
                  <a:ext cx="39052" cy="7429"/>
                  <a:chOff x="4024949" y="3363468"/>
                  <a:chExt cx="39052" cy="7429"/>
                </a:xfrm>
                <a:solidFill>
                  <a:srgbClr val="394553"/>
                </a:solidFill>
              </p:grpSpPr>
              <p:sp>
                <p:nvSpPr>
                  <p:cNvPr id="193" name="Forma livre: Forma 192">
                    <a:extLst>
                      <a:ext uri="{FF2B5EF4-FFF2-40B4-BE49-F238E27FC236}">
                        <a16:creationId xmlns:a16="http://schemas.microsoft.com/office/drawing/2014/main" id="{CF27F274-81B6-913D-64FB-295AC3A6715F}"/>
                      </a:ext>
                    </a:extLst>
                  </p:cNvPr>
                  <p:cNvSpPr/>
                  <p:nvPr/>
                </p:nvSpPr>
                <p:spPr>
                  <a:xfrm>
                    <a:off x="4056573" y="3363468"/>
                    <a:ext cx="7429" cy="7429"/>
                  </a:xfrm>
                  <a:custGeom>
                    <a:avLst/>
                    <a:gdLst>
                      <a:gd name="connsiteX0" fmla="*/ 7429 w 7429"/>
                      <a:gd name="connsiteY0" fmla="*/ 3715 h 7429"/>
                      <a:gd name="connsiteX1" fmla="*/ 3715 w 7429"/>
                      <a:gd name="connsiteY1" fmla="*/ 7429 h 7429"/>
                      <a:gd name="connsiteX2" fmla="*/ 0 w 7429"/>
                      <a:gd name="connsiteY2" fmla="*/ 3715 h 7429"/>
                      <a:gd name="connsiteX3" fmla="*/ 3715 w 7429"/>
                      <a:gd name="connsiteY3" fmla="*/ 0 h 7429"/>
                      <a:gd name="connsiteX4" fmla="*/ 7429 w 7429"/>
                      <a:gd name="connsiteY4" fmla="*/ 3715 h 742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7429" h="7429">
                        <a:moveTo>
                          <a:pt x="7429" y="3715"/>
                        </a:moveTo>
                        <a:cubicBezTo>
                          <a:pt x="7429" y="5763"/>
                          <a:pt x="5763" y="7429"/>
                          <a:pt x="3715" y="7429"/>
                        </a:cubicBezTo>
                        <a:cubicBezTo>
                          <a:pt x="1667" y="7429"/>
                          <a:pt x="0" y="5763"/>
                          <a:pt x="0" y="3715"/>
                        </a:cubicBezTo>
                        <a:cubicBezTo>
                          <a:pt x="0" y="1667"/>
                          <a:pt x="1667" y="0"/>
                          <a:pt x="3715" y="0"/>
                        </a:cubicBezTo>
                        <a:cubicBezTo>
                          <a:pt x="5763" y="0"/>
                          <a:pt x="7429" y="1667"/>
                          <a:pt x="7429" y="3715"/>
                        </a:cubicBezTo>
                        <a:close/>
                      </a:path>
                    </a:pathLst>
                  </a:custGeom>
                  <a:solidFill>
                    <a:srgbClr val="394553"/>
                  </a:solidFill>
                  <a:ln w="6350" cap="flat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194" name="Forma livre: Forma 193">
                    <a:extLst>
                      <a:ext uri="{FF2B5EF4-FFF2-40B4-BE49-F238E27FC236}">
                        <a16:creationId xmlns:a16="http://schemas.microsoft.com/office/drawing/2014/main" id="{15E3254E-968B-A1C5-76B8-7648A308CAE8}"/>
                      </a:ext>
                    </a:extLst>
                  </p:cNvPr>
                  <p:cNvSpPr/>
                  <p:nvPr/>
                </p:nvSpPr>
                <p:spPr>
                  <a:xfrm>
                    <a:off x="4024949" y="3363468"/>
                    <a:ext cx="7429" cy="7429"/>
                  </a:xfrm>
                  <a:custGeom>
                    <a:avLst/>
                    <a:gdLst>
                      <a:gd name="connsiteX0" fmla="*/ 7429 w 7429"/>
                      <a:gd name="connsiteY0" fmla="*/ 3715 h 7429"/>
                      <a:gd name="connsiteX1" fmla="*/ 3715 w 7429"/>
                      <a:gd name="connsiteY1" fmla="*/ 7429 h 7429"/>
                      <a:gd name="connsiteX2" fmla="*/ 0 w 7429"/>
                      <a:gd name="connsiteY2" fmla="*/ 3715 h 7429"/>
                      <a:gd name="connsiteX3" fmla="*/ 3715 w 7429"/>
                      <a:gd name="connsiteY3" fmla="*/ 0 h 7429"/>
                      <a:gd name="connsiteX4" fmla="*/ 7429 w 7429"/>
                      <a:gd name="connsiteY4" fmla="*/ 3715 h 742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7429" h="7429">
                        <a:moveTo>
                          <a:pt x="7429" y="3715"/>
                        </a:moveTo>
                        <a:cubicBezTo>
                          <a:pt x="7429" y="5763"/>
                          <a:pt x="5763" y="7429"/>
                          <a:pt x="3715" y="7429"/>
                        </a:cubicBezTo>
                        <a:cubicBezTo>
                          <a:pt x="1667" y="7429"/>
                          <a:pt x="0" y="5763"/>
                          <a:pt x="0" y="3715"/>
                        </a:cubicBezTo>
                        <a:cubicBezTo>
                          <a:pt x="0" y="1667"/>
                          <a:pt x="1667" y="0"/>
                          <a:pt x="3715" y="0"/>
                        </a:cubicBezTo>
                        <a:cubicBezTo>
                          <a:pt x="5763" y="0"/>
                          <a:pt x="7429" y="1667"/>
                          <a:pt x="7429" y="3715"/>
                        </a:cubicBezTo>
                        <a:close/>
                      </a:path>
                    </a:pathLst>
                  </a:custGeom>
                  <a:solidFill>
                    <a:srgbClr val="394553"/>
                  </a:solidFill>
                  <a:ln w="6350" cap="flat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</p:grpSp>
        </p:grpSp>
      </p:grpSp>
      <p:grpSp>
        <p:nvGrpSpPr>
          <p:cNvPr id="195" name="Gráfico 4">
            <a:extLst>
              <a:ext uri="{FF2B5EF4-FFF2-40B4-BE49-F238E27FC236}">
                <a16:creationId xmlns:a16="http://schemas.microsoft.com/office/drawing/2014/main" id="{A31963E9-0AB9-EB12-32CC-A66067224F4D}"/>
              </a:ext>
            </a:extLst>
          </p:cNvPr>
          <p:cNvGrpSpPr/>
          <p:nvPr/>
        </p:nvGrpSpPr>
        <p:grpSpPr>
          <a:xfrm>
            <a:off x="3840641" y="1006888"/>
            <a:ext cx="293169" cy="307467"/>
            <a:chOff x="3840641" y="1006888"/>
            <a:chExt cx="293169" cy="307467"/>
          </a:xfrm>
        </p:grpSpPr>
        <p:sp>
          <p:nvSpPr>
            <p:cNvPr id="196" name="Forma livre: Forma 195">
              <a:extLst>
                <a:ext uri="{FF2B5EF4-FFF2-40B4-BE49-F238E27FC236}">
                  <a16:creationId xmlns:a16="http://schemas.microsoft.com/office/drawing/2014/main" id="{AC88AF4B-72A6-5E5C-63BA-D2D555D17891}"/>
                </a:ext>
              </a:extLst>
            </p:cNvPr>
            <p:cNvSpPr/>
            <p:nvPr/>
          </p:nvSpPr>
          <p:spPr>
            <a:xfrm>
              <a:off x="3975991" y="1220438"/>
              <a:ext cx="68008" cy="4762"/>
            </a:xfrm>
            <a:custGeom>
              <a:avLst/>
              <a:gdLst>
                <a:gd name="connsiteX0" fmla="*/ 68008 w 68008"/>
                <a:gd name="connsiteY0" fmla="*/ 0 h 4762"/>
                <a:gd name="connsiteX1" fmla="*/ 0 w 68008"/>
                <a:gd name="connsiteY1" fmla="*/ 0 h 47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8008" h="4762">
                  <a:moveTo>
                    <a:pt x="68008" y="0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7" name="Forma livre: Forma 196">
              <a:extLst>
                <a:ext uri="{FF2B5EF4-FFF2-40B4-BE49-F238E27FC236}">
                  <a16:creationId xmlns:a16="http://schemas.microsoft.com/office/drawing/2014/main" id="{2985529C-3361-DA29-7A81-D3E1743FD896}"/>
                </a:ext>
              </a:extLst>
            </p:cNvPr>
            <p:cNvSpPr/>
            <p:nvPr/>
          </p:nvSpPr>
          <p:spPr>
            <a:xfrm>
              <a:off x="3871549" y="1006888"/>
              <a:ext cx="207740" cy="213550"/>
            </a:xfrm>
            <a:custGeom>
              <a:avLst/>
              <a:gdLst>
                <a:gd name="connsiteX0" fmla="*/ 81963 w 207740"/>
                <a:gd name="connsiteY0" fmla="*/ 213551 h 213550"/>
                <a:gd name="connsiteX1" fmla="*/ 14288 w 207740"/>
                <a:gd name="connsiteY1" fmla="*/ 213551 h 213550"/>
                <a:gd name="connsiteX2" fmla="*/ 0 w 207740"/>
                <a:gd name="connsiteY2" fmla="*/ 199263 h 213550"/>
                <a:gd name="connsiteX3" fmla="*/ 0 w 207740"/>
                <a:gd name="connsiteY3" fmla="*/ 14288 h 213550"/>
                <a:gd name="connsiteX4" fmla="*/ 14288 w 207740"/>
                <a:gd name="connsiteY4" fmla="*/ 0 h 213550"/>
                <a:gd name="connsiteX5" fmla="*/ 193453 w 207740"/>
                <a:gd name="connsiteY5" fmla="*/ 0 h 213550"/>
                <a:gd name="connsiteX6" fmla="*/ 207740 w 207740"/>
                <a:gd name="connsiteY6" fmla="*/ 14288 h 213550"/>
                <a:gd name="connsiteX7" fmla="*/ 207740 w 207740"/>
                <a:gd name="connsiteY7" fmla="*/ 111252 h 2135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07740" h="213550">
                  <a:moveTo>
                    <a:pt x="81963" y="213551"/>
                  </a:moveTo>
                  <a:lnTo>
                    <a:pt x="14288" y="213551"/>
                  </a:lnTo>
                  <a:cubicBezTo>
                    <a:pt x="6429" y="213551"/>
                    <a:pt x="0" y="207121"/>
                    <a:pt x="0" y="199263"/>
                  </a:cubicBezTo>
                  <a:lnTo>
                    <a:pt x="0" y="14288"/>
                  </a:lnTo>
                  <a:cubicBezTo>
                    <a:pt x="0" y="6429"/>
                    <a:pt x="6429" y="0"/>
                    <a:pt x="14288" y="0"/>
                  </a:cubicBezTo>
                  <a:lnTo>
                    <a:pt x="193453" y="0"/>
                  </a:lnTo>
                  <a:cubicBezTo>
                    <a:pt x="201311" y="0"/>
                    <a:pt x="207740" y="6429"/>
                    <a:pt x="207740" y="14288"/>
                  </a:cubicBezTo>
                  <a:lnTo>
                    <a:pt x="207740" y="111252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8" name="Forma livre: Forma 197">
              <a:extLst>
                <a:ext uri="{FF2B5EF4-FFF2-40B4-BE49-F238E27FC236}">
                  <a16:creationId xmlns:a16="http://schemas.microsoft.com/office/drawing/2014/main" id="{F2CF1DAF-E1E3-8FC4-3716-CA6B02E826D7}"/>
                </a:ext>
              </a:extLst>
            </p:cNvPr>
            <p:cNvSpPr/>
            <p:nvPr/>
          </p:nvSpPr>
          <p:spPr>
            <a:xfrm>
              <a:off x="3840641" y="1006888"/>
              <a:ext cx="193452" cy="199263"/>
            </a:xfrm>
            <a:custGeom>
              <a:avLst/>
              <a:gdLst>
                <a:gd name="connsiteX0" fmla="*/ 0 w 193452"/>
                <a:gd name="connsiteY0" fmla="*/ 199263 h 199263"/>
                <a:gd name="connsiteX1" fmla="*/ 0 w 193452"/>
                <a:gd name="connsiteY1" fmla="*/ 14288 h 199263"/>
                <a:gd name="connsiteX2" fmla="*/ 14288 w 193452"/>
                <a:gd name="connsiteY2" fmla="*/ 0 h 199263"/>
                <a:gd name="connsiteX3" fmla="*/ 193453 w 193452"/>
                <a:gd name="connsiteY3" fmla="*/ 0 h 1992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3452" h="199263">
                  <a:moveTo>
                    <a:pt x="0" y="199263"/>
                  </a:moveTo>
                  <a:lnTo>
                    <a:pt x="0" y="14288"/>
                  </a:lnTo>
                  <a:cubicBezTo>
                    <a:pt x="0" y="6429"/>
                    <a:pt x="6429" y="0"/>
                    <a:pt x="14288" y="0"/>
                  </a:cubicBezTo>
                  <a:lnTo>
                    <a:pt x="193453" y="0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9" name="Forma livre: Forma 198">
              <a:extLst>
                <a:ext uri="{FF2B5EF4-FFF2-40B4-BE49-F238E27FC236}">
                  <a16:creationId xmlns:a16="http://schemas.microsoft.com/office/drawing/2014/main" id="{E2DE9011-C9CE-D71C-1F2D-FCB454F56E3A}"/>
                </a:ext>
              </a:extLst>
            </p:cNvPr>
            <p:cNvSpPr/>
            <p:nvPr/>
          </p:nvSpPr>
          <p:spPr>
            <a:xfrm>
              <a:off x="4041599" y="1123664"/>
              <a:ext cx="92211" cy="136445"/>
            </a:xfrm>
            <a:custGeom>
              <a:avLst/>
              <a:gdLst>
                <a:gd name="connsiteX0" fmla="*/ 84173 w 92211"/>
                <a:gd name="connsiteY0" fmla="*/ 87821 h 136445"/>
                <a:gd name="connsiteX1" fmla="*/ 84173 w 92211"/>
                <a:gd name="connsiteY1" fmla="*/ 28289 h 136445"/>
                <a:gd name="connsiteX2" fmla="*/ 91460 w 92211"/>
                <a:gd name="connsiteY2" fmla="*/ 14240 h 136445"/>
                <a:gd name="connsiteX3" fmla="*/ 63790 w 92211"/>
                <a:gd name="connsiteY3" fmla="*/ 0 h 136445"/>
                <a:gd name="connsiteX4" fmla="*/ 56503 w 92211"/>
                <a:gd name="connsiteY4" fmla="*/ 14049 h 136445"/>
                <a:gd name="connsiteX5" fmla="*/ 8021 w 92211"/>
                <a:gd name="connsiteY5" fmla="*/ 48625 h 136445"/>
                <a:gd name="connsiteX6" fmla="*/ 8021 w 92211"/>
                <a:gd name="connsiteY6" fmla="*/ 108156 h 136445"/>
                <a:gd name="connsiteX7" fmla="*/ 734 w 92211"/>
                <a:gd name="connsiteY7" fmla="*/ 122206 h 136445"/>
                <a:gd name="connsiteX8" fmla="*/ 28404 w 92211"/>
                <a:gd name="connsiteY8" fmla="*/ 136446 h 136445"/>
                <a:gd name="connsiteX9" fmla="*/ 35691 w 92211"/>
                <a:gd name="connsiteY9" fmla="*/ 122396 h 136445"/>
                <a:gd name="connsiteX10" fmla="*/ 84125 w 92211"/>
                <a:gd name="connsiteY10" fmla="*/ 87821 h 1364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92211" h="136445">
                  <a:moveTo>
                    <a:pt x="84173" y="87821"/>
                  </a:moveTo>
                  <a:cubicBezTo>
                    <a:pt x="95222" y="66389"/>
                    <a:pt x="94555" y="42958"/>
                    <a:pt x="84173" y="28289"/>
                  </a:cubicBezTo>
                  <a:lnTo>
                    <a:pt x="91460" y="14240"/>
                  </a:lnTo>
                  <a:lnTo>
                    <a:pt x="63790" y="0"/>
                  </a:lnTo>
                  <a:lnTo>
                    <a:pt x="56503" y="14049"/>
                  </a:lnTo>
                  <a:cubicBezTo>
                    <a:pt x="38548" y="14097"/>
                    <a:pt x="19070" y="27194"/>
                    <a:pt x="8021" y="48625"/>
                  </a:cubicBezTo>
                  <a:cubicBezTo>
                    <a:pt x="-2981" y="70056"/>
                    <a:pt x="-2362" y="93488"/>
                    <a:pt x="8021" y="108156"/>
                  </a:cubicBezTo>
                  <a:lnTo>
                    <a:pt x="734" y="122206"/>
                  </a:lnTo>
                  <a:lnTo>
                    <a:pt x="28404" y="136446"/>
                  </a:lnTo>
                  <a:lnTo>
                    <a:pt x="35691" y="122396"/>
                  </a:lnTo>
                  <a:cubicBezTo>
                    <a:pt x="53645" y="122349"/>
                    <a:pt x="73124" y="109252"/>
                    <a:pt x="84125" y="87821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200" name="Gráfico 4">
              <a:extLst>
                <a:ext uri="{FF2B5EF4-FFF2-40B4-BE49-F238E27FC236}">
                  <a16:creationId xmlns:a16="http://schemas.microsoft.com/office/drawing/2014/main" id="{6ED65179-CF94-5F45-C946-73C41E698ABE}"/>
                </a:ext>
              </a:extLst>
            </p:cNvPr>
            <p:cNvGrpSpPr/>
            <p:nvPr/>
          </p:nvGrpSpPr>
          <p:grpSpPr>
            <a:xfrm>
              <a:off x="3913888" y="1052179"/>
              <a:ext cx="123063" cy="123491"/>
              <a:chOff x="3913888" y="1052179"/>
              <a:chExt cx="123063" cy="123491"/>
            </a:xfrm>
            <a:noFill/>
          </p:grpSpPr>
          <p:sp>
            <p:nvSpPr>
              <p:cNvPr id="201" name="Forma livre: Forma 200">
                <a:extLst>
                  <a:ext uri="{FF2B5EF4-FFF2-40B4-BE49-F238E27FC236}">
                    <a16:creationId xmlns:a16="http://schemas.microsoft.com/office/drawing/2014/main" id="{F89E9558-426A-29AA-6BE5-3CD3CDA9AAD6}"/>
                  </a:ext>
                </a:extLst>
              </p:cNvPr>
              <p:cNvSpPr/>
              <p:nvPr/>
            </p:nvSpPr>
            <p:spPr>
              <a:xfrm>
                <a:off x="3913888" y="1052179"/>
                <a:ext cx="123063" cy="122967"/>
              </a:xfrm>
              <a:custGeom>
                <a:avLst/>
                <a:gdLst>
                  <a:gd name="connsiteX0" fmla="*/ 123063 w 123063"/>
                  <a:gd name="connsiteY0" fmla="*/ 61484 h 122967"/>
                  <a:gd name="connsiteX1" fmla="*/ 61532 w 123063"/>
                  <a:gd name="connsiteY1" fmla="*/ 122968 h 122967"/>
                  <a:gd name="connsiteX2" fmla="*/ 0 w 123063"/>
                  <a:gd name="connsiteY2" fmla="*/ 61484 h 122967"/>
                  <a:gd name="connsiteX3" fmla="*/ 61532 w 123063"/>
                  <a:gd name="connsiteY3" fmla="*/ 0 h 122967"/>
                  <a:gd name="connsiteX4" fmla="*/ 123063 w 123063"/>
                  <a:gd name="connsiteY4" fmla="*/ 61484 h 1229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3063" h="122967">
                    <a:moveTo>
                      <a:pt x="123063" y="61484"/>
                    </a:moveTo>
                    <a:cubicBezTo>
                      <a:pt x="123063" y="95441"/>
                      <a:pt x="95488" y="122968"/>
                      <a:pt x="61532" y="122968"/>
                    </a:cubicBezTo>
                    <a:cubicBezTo>
                      <a:pt x="27575" y="122968"/>
                      <a:pt x="0" y="95441"/>
                      <a:pt x="0" y="61484"/>
                    </a:cubicBezTo>
                    <a:cubicBezTo>
                      <a:pt x="0" y="27527"/>
                      <a:pt x="27527" y="0"/>
                      <a:pt x="61532" y="0"/>
                    </a:cubicBezTo>
                    <a:cubicBezTo>
                      <a:pt x="95536" y="0"/>
                      <a:pt x="123063" y="27527"/>
                      <a:pt x="123063" y="61484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202" name="Gráfico 4">
                <a:extLst>
                  <a:ext uri="{FF2B5EF4-FFF2-40B4-BE49-F238E27FC236}">
                    <a16:creationId xmlns:a16="http://schemas.microsoft.com/office/drawing/2014/main" id="{340AECF4-ACC2-E1DE-FF9C-420AD652BC33}"/>
                  </a:ext>
                </a:extLst>
              </p:cNvPr>
              <p:cNvGrpSpPr/>
              <p:nvPr/>
            </p:nvGrpSpPr>
            <p:grpSpPr>
              <a:xfrm>
                <a:off x="3913983" y="1113663"/>
                <a:ext cx="122967" cy="4762"/>
                <a:chOff x="3913983" y="1113663"/>
                <a:chExt cx="122967" cy="4762"/>
              </a:xfrm>
            </p:grpSpPr>
            <p:sp>
              <p:nvSpPr>
                <p:cNvPr id="203" name="Forma livre: Forma 202">
                  <a:extLst>
                    <a:ext uri="{FF2B5EF4-FFF2-40B4-BE49-F238E27FC236}">
                      <a16:creationId xmlns:a16="http://schemas.microsoft.com/office/drawing/2014/main" id="{D271EA08-6456-E5A4-A9A6-225593ACFB98}"/>
                    </a:ext>
                  </a:extLst>
                </p:cNvPr>
                <p:cNvSpPr/>
                <p:nvPr/>
              </p:nvSpPr>
              <p:spPr>
                <a:xfrm>
                  <a:off x="4016186" y="1113663"/>
                  <a:ext cx="20764" cy="4762"/>
                </a:xfrm>
                <a:custGeom>
                  <a:avLst/>
                  <a:gdLst>
                    <a:gd name="connsiteX0" fmla="*/ 0 w 20764"/>
                    <a:gd name="connsiteY0" fmla="*/ 0 h 4762"/>
                    <a:gd name="connsiteX1" fmla="*/ 20765 w 20764"/>
                    <a:gd name="connsiteY1" fmla="*/ 0 h 476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0764" h="4762">
                      <a:moveTo>
                        <a:pt x="0" y="0"/>
                      </a:moveTo>
                      <a:lnTo>
                        <a:pt x="20765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04" name="Forma livre: Forma 203">
                  <a:extLst>
                    <a:ext uri="{FF2B5EF4-FFF2-40B4-BE49-F238E27FC236}">
                      <a16:creationId xmlns:a16="http://schemas.microsoft.com/office/drawing/2014/main" id="{EEE000D4-2231-4640-5576-7544D11536BA}"/>
                    </a:ext>
                  </a:extLst>
                </p:cNvPr>
                <p:cNvSpPr/>
                <p:nvPr/>
              </p:nvSpPr>
              <p:spPr>
                <a:xfrm>
                  <a:off x="3913983" y="1113663"/>
                  <a:ext cx="20716" cy="4762"/>
                </a:xfrm>
                <a:custGeom>
                  <a:avLst/>
                  <a:gdLst>
                    <a:gd name="connsiteX0" fmla="*/ 0 w 20716"/>
                    <a:gd name="connsiteY0" fmla="*/ 0 h 4762"/>
                    <a:gd name="connsiteX1" fmla="*/ 20717 w 20716"/>
                    <a:gd name="connsiteY1" fmla="*/ 0 h 476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0716" h="4762">
                      <a:moveTo>
                        <a:pt x="0" y="0"/>
                      </a:moveTo>
                      <a:lnTo>
                        <a:pt x="20717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205" name="Gráfico 4">
                <a:extLst>
                  <a:ext uri="{FF2B5EF4-FFF2-40B4-BE49-F238E27FC236}">
                    <a16:creationId xmlns:a16="http://schemas.microsoft.com/office/drawing/2014/main" id="{FF702799-24F9-ADED-ECE4-09B24E94B2A5}"/>
                  </a:ext>
                </a:extLst>
              </p:cNvPr>
              <p:cNvGrpSpPr/>
              <p:nvPr/>
            </p:nvGrpSpPr>
            <p:grpSpPr>
              <a:xfrm>
                <a:off x="3975467" y="1052179"/>
                <a:ext cx="4762" cy="123491"/>
                <a:chOff x="3975467" y="1052179"/>
                <a:chExt cx="4762" cy="123491"/>
              </a:xfrm>
            </p:grpSpPr>
            <p:sp>
              <p:nvSpPr>
                <p:cNvPr id="206" name="Forma livre: Forma 205">
                  <a:extLst>
                    <a:ext uri="{FF2B5EF4-FFF2-40B4-BE49-F238E27FC236}">
                      <a16:creationId xmlns:a16="http://schemas.microsoft.com/office/drawing/2014/main" id="{BDE7BC6C-C76D-879C-D8BB-C522228AC32B}"/>
                    </a:ext>
                  </a:extLst>
                </p:cNvPr>
                <p:cNvSpPr/>
                <p:nvPr/>
              </p:nvSpPr>
              <p:spPr>
                <a:xfrm>
                  <a:off x="3975467" y="1154144"/>
                  <a:ext cx="4762" cy="21526"/>
                </a:xfrm>
                <a:custGeom>
                  <a:avLst/>
                  <a:gdLst>
                    <a:gd name="connsiteX0" fmla="*/ 0 w 4762"/>
                    <a:gd name="connsiteY0" fmla="*/ 0 h 21526"/>
                    <a:gd name="connsiteX1" fmla="*/ 0 w 4762"/>
                    <a:gd name="connsiteY1" fmla="*/ 21527 h 2152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762" h="21526">
                      <a:moveTo>
                        <a:pt x="0" y="0"/>
                      </a:moveTo>
                      <a:lnTo>
                        <a:pt x="0" y="21527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07" name="Forma livre: Forma 206">
                  <a:extLst>
                    <a:ext uri="{FF2B5EF4-FFF2-40B4-BE49-F238E27FC236}">
                      <a16:creationId xmlns:a16="http://schemas.microsoft.com/office/drawing/2014/main" id="{5FE62384-E85A-6BFF-4371-ED420E4718A9}"/>
                    </a:ext>
                  </a:extLst>
                </p:cNvPr>
                <p:cNvSpPr/>
                <p:nvPr/>
              </p:nvSpPr>
              <p:spPr>
                <a:xfrm>
                  <a:off x="3975467" y="1052179"/>
                  <a:ext cx="4762" cy="21002"/>
                </a:xfrm>
                <a:custGeom>
                  <a:avLst/>
                  <a:gdLst>
                    <a:gd name="connsiteX0" fmla="*/ 0 w 4762"/>
                    <a:gd name="connsiteY0" fmla="*/ 0 h 21002"/>
                    <a:gd name="connsiteX1" fmla="*/ 0 w 4762"/>
                    <a:gd name="connsiteY1" fmla="*/ 21003 h 2100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762" h="21002">
                      <a:moveTo>
                        <a:pt x="0" y="0"/>
                      </a:moveTo>
                      <a:lnTo>
                        <a:pt x="0" y="21003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sp>
          <p:nvSpPr>
            <p:cNvPr id="208" name="Forma livre: Forma 207">
              <a:extLst>
                <a:ext uri="{FF2B5EF4-FFF2-40B4-BE49-F238E27FC236}">
                  <a16:creationId xmlns:a16="http://schemas.microsoft.com/office/drawing/2014/main" id="{D47620E2-85D0-7326-C61D-29B56F86D6EB}"/>
                </a:ext>
              </a:extLst>
            </p:cNvPr>
            <p:cNvSpPr/>
            <p:nvPr/>
          </p:nvSpPr>
          <p:spPr>
            <a:xfrm>
              <a:off x="3975467" y="1175432"/>
              <a:ext cx="80009" cy="138922"/>
            </a:xfrm>
            <a:custGeom>
              <a:avLst/>
              <a:gdLst>
                <a:gd name="connsiteX0" fmla="*/ 0 w 80009"/>
                <a:gd name="connsiteY0" fmla="*/ 0 h 138922"/>
                <a:gd name="connsiteX1" fmla="*/ 0 w 80009"/>
                <a:gd name="connsiteY1" fmla="*/ 108966 h 138922"/>
                <a:gd name="connsiteX2" fmla="*/ 30051 w 80009"/>
                <a:gd name="connsiteY2" fmla="*/ 138922 h 138922"/>
                <a:gd name="connsiteX3" fmla="*/ 57483 w 80009"/>
                <a:gd name="connsiteY3" fmla="*/ 122444 h 138922"/>
                <a:gd name="connsiteX4" fmla="*/ 80010 w 80009"/>
                <a:gd name="connsiteY4" fmla="*/ 77629 h 1389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0009" h="138922">
                  <a:moveTo>
                    <a:pt x="0" y="0"/>
                  </a:moveTo>
                  <a:lnTo>
                    <a:pt x="0" y="108966"/>
                  </a:lnTo>
                  <a:cubicBezTo>
                    <a:pt x="0" y="125540"/>
                    <a:pt x="13478" y="138922"/>
                    <a:pt x="30051" y="138922"/>
                  </a:cubicBezTo>
                  <a:cubicBezTo>
                    <a:pt x="41767" y="138922"/>
                    <a:pt x="52578" y="132207"/>
                    <a:pt x="57483" y="122444"/>
                  </a:cubicBezTo>
                  <a:lnTo>
                    <a:pt x="80010" y="77629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9" name="Forma livre: Forma 208">
              <a:extLst>
                <a:ext uri="{FF2B5EF4-FFF2-40B4-BE49-F238E27FC236}">
                  <a16:creationId xmlns:a16="http://schemas.microsoft.com/office/drawing/2014/main" id="{513F58C4-8D55-E634-3328-0E7A6E667FC2}"/>
                </a:ext>
              </a:extLst>
            </p:cNvPr>
            <p:cNvSpPr/>
            <p:nvPr/>
          </p:nvSpPr>
          <p:spPr>
            <a:xfrm>
              <a:off x="3976229" y="1089660"/>
              <a:ext cx="22955" cy="22907"/>
            </a:xfrm>
            <a:custGeom>
              <a:avLst/>
              <a:gdLst>
                <a:gd name="connsiteX0" fmla="*/ 0 w 22955"/>
                <a:gd name="connsiteY0" fmla="*/ 22908 h 22907"/>
                <a:gd name="connsiteX1" fmla="*/ 22955 w 22955"/>
                <a:gd name="connsiteY1" fmla="*/ 0 h 229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2955" h="22907">
                  <a:moveTo>
                    <a:pt x="0" y="22908"/>
                  </a:moveTo>
                  <a:lnTo>
                    <a:pt x="22955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0" name="Forma livre: Forma 209">
              <a:extLst>
                <a:ext uri="{FF2B5EF4-FFF2-40B4-BE49-F238E27FC236}">
                  <a16:creationId xmlns:a16="http://schemas.microsoft.com/office/drawing/2014/main" id="{659D6A8F-932E-E65C-1B52-1DDEFC39A462}"/>
                </a:ext>
              </a:extLst>
            </p:cNvPr>
            <p:cNvSpPr/>
            <p:nvPr/>
          </p:nvSpPr>
          <p:spPr>
            <a:xfrm>
              <a:off x="3971181" y="1109377"/>
              <a:ext cx="8572" cy="8572"/>
            </a:xfrm>
            <a:custGeom>
              <a:avLst/>
              <a:gdLst>
                <a:gd name="connsiteX0" fmla="*/ 8572 w 8572"/>
                <a:gd name="connsiteY0" fmla="*/ 4286 h 8572"/>
                <a:gd name="connsiteX1" fmla="*/ 4286 w 8572"/>
                <a:gd name="connsiteY1" fmla="*/ 8572 h 8572"/>
                <a:gd name="connsiteX2" fmla="*/ 0 w 8572"/>
                <a:gd name="connsiteY2" fmla="*/ 4286 h 8572"/>
                <a:gd name="connsiteX3" fmla="*/ 4286 w 8572"/>
                <a:gd name="connsiteY3" fmla="*/ 0 h 8572"/>
                <a:gd name="connsiteX4" fmla="*/ 8572 w 8572"/>
                <a:gd name="connsiteY4" fmla="*/ 4286 h 85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572" h="8572">
                  <a:moveTo>
                    <a:pt x="8572" y="4286"/>
                  </a:moveTo>
                  <a:cubicBezTo>
                    <a:pt x="8572" y="6667"/>
                    <a:pt x="6667" y="8572"/>
                    <a:pt x="4286" y="8572"/>
                  </a:cubicBezTo>
                  <a:cubicBezTo>
                    <a:pt x="1905" y="8572"/>
                    <a:pt x="0" y="6667"/>
                    <a:pt x="0" y="4286"/>
                  </a:cubicBezTo>
                  <a:cubicBezTo>
                    <a:pt x="0" y="1905"/>
                    <a:pt x="1952" y="0"/>
                    <a:pt x="4286" y="0"/>
                  </a:cubicBezTo>
                  <a:cubicBezTo>
                    <a:pt x="6620" y="0"/>
                    <a:pt x="8572" y="1905"/>
                    <a:pt x="8572" y="4286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211" name="Gráfico 4">
            <a:extLst>
              <a:ext uri="{FF2B5EF4-FFF2-40B4-BE49-F238E27FC236}">
                <a16:creationId xmlns:a16="http://schemas.microsoft.com/office/drawing/2014/main" id="{CF699E9F-68C6-0292-2B33-6C37AB0EA67E}"/>
              </a:ext>
            </a:extLst>
          </p:cNvPr>
          <p:cNvGrpSpPr/>
          <p:nvPr/>
        </p:nvGrpSpPr>
        <p:grpSpPr>
          <a:xfrm>
            <a:off x="3867475" y="1558942"/>
            <a:ext cx="239462" cy="259437"/>
            <a:chOff x="3867475" y="1558942"/>
            <a:chExt cx="239462" cy="259437"/>
          </a:xfrm>
          <a:noFill/>
        </p:grpSpPr>
        <p:grpSp>
          <p:nvGrpSpPr>
            <p:cNvPr id="212" name="Gráfico 4">
              <a:extLst>
                <a:ext uri="{FF2B5EF4-FFF2-40B4-BE49-F238E27FC236}">
                  <a16:creationId xmlns:a16="http://schemas.microsoft.com/office/drawing/2014/main" id="{840BAFAE-EBA3-759A-7459-818719C9DAF2}"/>
                </a:ext>
              </a:extLst>
            </p:cNvPr>
            <p:cNvGrpSpPr/>
            <p:nvPr/>
          </p:nvGrpSpPr>
          <p:grpSpPr>
            <a:xfrm>
              <a:off x="3917460" y="1620774"/>
              <a:ext cx="139541" cy="15049"/>
              <a:chOff x="3917460" y="1620774"/>
              <a:chExt cx="139541" cy="15049"/>
            </a:xfrm>
            <a:noFill/>
          </p:grpSpPr>
          <p:sp>
            <p:nvSpPr>
              <p:cNvPr id="213" name="Forma livre: Forma 212">
                <a:extLst>
                  <a:ext uri="{FF2B5EF4-FFF2-40B4-BE49-F238E27FC236}">
                    <a16:creationId xmlns:a16="http://schemas.microsoft.com/office/drawing/2014/main" id="{6EF20F4F-8928-57E8-02E3-997F76CAC672}"/>
                  </a:ext>
                </a:extLst>
              </p:cNvPr>
              <p:cNvSpPr/>
              <p:nvPr/>
            </p:nvSpPr>
            <p:spPr>
              <a:xfrm>
                <a:off x="3917460" y="1620774"/>
                <a:ext cx="38671" cy="15049"/>
              </a:xfrm>
              <a:custGeom>
                <a:avLst/>
                <a:gdLst>
                  <a:gd name="connsiteX0" fmla="*/ 38672 w 38671"/>
                  <a:gd name="connsiteY0" fmla="*/ 0 h 15049"/>
                  <a:gd name="connsiteX1" fmla="*/ 19336 w 38671"/>
                  <a:gd name="connsiteY1" fmla="*/ 15049 h 15049"/>
                  <a:gd name="connsiteX2" fmla="*/ 0 w 38671"/>
                  <a:gd name="connsiteY2" fmla="*/ 0 h 150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8671" h="15049">
                    <a:moveTo>
                      <a:pt x="38672" y="0"/>
                    </a:moveTo>
                    <a:cubicBezTo>
                      <a:pt x="36433" y="8620"/>
                      <a:pt x="28670" y="15049"/>
                      <a:pt x="19336" y="15049"/>
                    </a:cubicBezTo>
                    <a:cubicBezTo>
                      <a:pt x="10001" y="15049"/>
                      <a:pt x="2238" y="8620"/>
                      <a:pt x="0" y="0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14" name="Forma livre: Forma 213">
                <a:extLst>
                  <a:ext uri="{FF2B5EF4-FFF2-40B4-BE49-F238E27FC236}">
                    <a16:creationId xmlns:a16="http://schemas.microsoft.com/office/drawing/2014/main" id="{BBC721C5-3E28-83A8-130F-084B3AF5D452}"/>
                  </a:ext>
                </a:extLst>
              </p:cNvPr>
              <p:cNvSpPr/>
              <p:nvPr/>
            </p:nvSpPr>
            <p:spPr>
              <a:xfrm>
                <a:off x="4018330" y="1620774"/>
                <a:ext cx="38671" cy="15049"/>
              </a:xfrm>
              <a:custGeom>
                <a:avLst/>
                <a:gdLst>
                  <a:gd name="connsiteX0" fmla="*/ 38671 w 38671"/>
                  <a:gd name="connsiteY0" fmla="*/ 0 h 15049"/>
                  <a:gd name="connsiteX1" fmla="*/ 19336 w 38671"/>
                  <a:gd name="connsiteY1" fmla="*/ 15049 h 15049"/>
                  <a:gd name="connsiteX2" fmla="*/ 0 w 38671"/>
                  <a:gd name="connsiteY2" fmla="*/ 0 h 150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8671" h="15049">
                    <a:moveTo>
                      <a:pt x="38671" y="0"/>
                    </a:moveTo>
                    <a:cubicBezTo>
                      <a:pt x="36433" y="8620"/>
                      <a:pt x="28670" y="15049"/>
                      <a:pt x="19336" y="15049"/>
                    </a:cubicBezTo>
                    <a:cubicBezTo>
                      <a:pt x="10001" y="15049"/>
                      <a:pt x="2238" y="8620"/>
                      <a:pt x="0" y="0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215" name="Gráfico 4">
              <a:extLst>
                <a:ext uri="{FF2B5EF4-FFF2-40B4-BE49-F238E27FC236}">
                  <a16:creationId xmlns:a16="http://schemas.microsoft.com/office/drawing/2014/main" id="{150B91CA-4365-F2A1-9551-B7DE508587E5}"/>
                </a:ext>
              </a:extLst>
            </p:cNvPr>
            <p:cNvGrpSpPr/>
            <p:nvPr/>
          </p:nvGrpSpPr>
          <p:grpSpPr>
            <a:xfrm>
              <a:off x="3867475" y="1558942"/>
              <a:ext cx="239462" cy="259437"/>
              <a:chOff x="3867475" y="1558942"/>
              <a:chExt cx="239462" cy="259437"/>
            </a:xfrm>
            <a:noFill/>
          </p:grpSpPr>
          <p:sp>
            <p:nvSpPr>
              <p:cNvPr id="216" name="Forma livre: Forma 215">
                <a:extLst>
                  <a:ext uri="{FF2B5EF4-FFF2-40B4-BE49-F238E27FC236}">
                    <a16:creationId xmlns:a16="http://schemas.microsoft.com/office/drawing/2014/main" id="{E106C0A1-4242-2033-BD8A-2E41D748A59D}"/>
                  </a:ext>
                </a:extLst>
              </p:cNvPr>
              <p:cNvSpPr/>
              <p:nvPr/>
            </p:nvSpPr>
            <p:spPr>
              <a:xfrm>
                <a:off x="3867475" y="1558942"/>
                <a:ext cx="153044" cy="259390"/>
              </a:xfrm>
              <a:custGeom>
                <a:avLst/>
                <a:gdLst>
                  <a:gd name="connsiteX0" fmla="*/ 153045 w 153044"/>
                  <a:gd name="connsiteY0" fmla="*/ 35781 h 259390"/>
                  <a:gd name="connsiteX1" fmla="*/ 115516 w 153044"/>
                  <a:gd name="connsiteY1" fmla="*/ 20731 h 259390"/>
                  <a:gd name="connsiteX2" fmla="*/ 27458 w 153044"/>
                  <a:gd name="connsiteY2" fmla="*/ 13540 h 259390"/>
                  <a:gd name="connsiteX3" fmla="*/ 25410 w 153044"/>
                  <a:gd name="connsiteY3" fmla="*/ 15159 h 259390"/>
                  <a:gd name="connsiteX4" fmla="*/ 12361 w 153044"/>
                  <a:gd name="connsiteY4" fmla="*/ 106599 h 259390"/>
                  <a:gd name="connsiteX5" fmla="*/ 25410 w 153044"/>
                  <a:gd name="connsiteY5" fmla="*/ 124649 h 259390"/>
                  <a:gd name="connsiteX6" fmla="*/ 39459 w 153044"/>
                  <a:gd name="connsiteY6" fmla="*/ 141794 h 259390"/>
                  <a:gd name="connsiteX7" fmla="*/ 39840 w 153044"/>
                  <a:gd name="connsiteY7" fmla="*/ 142175 h 259390"/>
                  <a:gd name="connsiteX8" fmla="*/ 50222 w 153044"/>
                  <a:gd name="connsiteY8" fmla="*/ 216613 h 259390"/>
                  <a:gd name="connsiteX9" fmla="*/ 76559 w 153044"/>
                  <a:gd name="connsiteY9" fmla="*/ 256046 h 259390"/>
                  <a:gd name="connsiteX10" fmla="*/ 89370 w 153044"/>
                  <a:gd name="connsiteY10" fmla="*/ 259332 h 259390"/>
                  <a:gd name="connsiteX11" fmla="*/ 99514 w 153044"/>
                  <a:gd name="connsiteY11" fmla="*/ 208802 h 259390"/>
                  <a:gd name="connsiteX12" fmla="*/ 119422 w 153044"/>
                  <a:gd name="connsiteY12" fmla="*/ 156796 h 2593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53044" h="259390">
                    <a:moveTo>
                      <a:pt x="153045" y="35781"/>
                    </a:moveTo>
                    <a:cubicBezTo>
                      <a:pt x="129756" y="32209"/>
                      <a:pt x="115516" y="20731"/>
                      <a:pt x="115516" y="20731"/>
                    </a:cubicBezTo>
                    <a:cubicBezTo>
                      <a:pt x="88799" y="-2367"/>
                      <a:pt x="55318" y="-8130"/>
                      <a:pt x="27458" y="13540"/>
                    </a:cubicBezTo>
                    <a:lnTo>
                      <a:pt x="25410" y="15159"/>
                    </a:lnTo>
                    <a:cubicBezTo>
                      <a:pt x="-2451" y="36828"/>
                      <a:pt x="-8309" y="77976"/>
                      <a:pt x="12361" y="106599"/>
                    </a:cubicBezTo>
                    <a:lnTo>
                      <a:pt x="25410" y="124649"/>
                    </a:lnTo>
                    <a:cubicBezTo>
                      <a:pt x="30744" y="131793"/>
                      <a:pt x="31934" y="132793"/>
                      <a:pt x="39459" y="141794"/>
                    </a:cubicBezTo>
                    <a:lnTo>
                      <a:pt x="39840" y="142175"/>
                    </a:lnTo>
                    <a:cubicBezTo>
                      <a:pt x="39840" y="142175"/>
                      <a:pt x="49365" y="148795"/>
                      <a:pt x="50222" y="216613"/>
                    </a:cubicBezTo>
                    <a:cubicBezTo>
                      <a:pt x="50222" y="216613"/>
                      <a:pt x="50222" y="246950"/>
                      <a:pt x="76559" y="256046"/>
                    </a:cubicBezTo>
                    <a:cubicBezTo>
                      <a:pt x="76559" y="256046"/>
                      <a:pt x="84751" y="259904"/>
                      <a:pt x="89370" y="259332"/>
                    </a:cubicBezTo>
                    <a:cubicBezTo>
                      <a:pt x="98705" y="258190"/>
                      <a:pt x="100467" y="244664"/>
                      <a:pt x="99514" y="208802"/>
                    </a:cubicBezTo>
                    <a:cubicBezTo>
                      <a:pt x="99514" y="208802"/>
                      <a:pt x="97514" y="156796"/>
                      <a:pt x="119422" y="156796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17" name="Forma livre: Forma 216">
                <a:extLst>
                  <a:ext uri="{FF2B5EF4-FFF2-40B4-BE49-F238E27FC236}">
                    <a16:creationId xmlns:a16="http://schemas.microsoft.com/office/drawing/2014/main" id="{2EB3D0A6-2265-1AC7-451D-9C0EFCACF9C9}"/>
                  </a:ext>
                </a:extLst>
              </p:cNvPr>
              <p:cNvSpPr/>
              <p:nvPr/>
            </p:nvSpPr>
            <p:spPr>
              <a:xfrm>
                <a:off x="3987516" y="1558995"/>
                <a:ext cx="119421" cy="259385"/>
              </a:xfrm>
              <a:custGeom>
                <a:avLst/>
                <a:gdLst>
                  <a:gd name="connsiteX0" fmla="*/ 22003 w 119421"/>
                  <a:gd name="connsiteY0" fmla="*/ 8296 h 259385"/>
                  <a:gd name="connsiteX1" fmla="*/ 91964 w 119421"/>
                  <a:gd name="connsiteY1" fmla="*/ 13535 h 259385"/>
                  <a:gd name="connsiteX2" fmla="*/ 94012 w 119421"/>
                  <a:gd name="connsiteY2" fmla="*/ 15154 h 259385"/>
                  <a:gd name="connsiteX3" fmla="*/ 107061 w 119421"/>
                  <a:gd name="connsiteY3" fmla="*/ 106594 h 259385"/>
                  <a:gd name="connsiteX4" fmla="*/ 94012 w 119421"/>
                  <a:gd name="connsiteY4" fmla="*/ 124644 h 259385"/>
                  <a:gd name="connsiteX5" fmla="*/ 79962 w 119421"/>
                  <a:gd name="connsiteY5" fmla="*/ 141789 h 259385"/>
                  <a:gd name="connsiteX6" fmla="*/ 79581 w 119421"/>
                  <a:gd name="connsiteY6" fmla="*/ 142170 h 259385"/>
                  <a:gd name="connsiteX7" fmla="*/ 69199 w 119421"/>
                  <a:gd name="connsiteY7" fmla="*/ 216608 h 259385"/>
                  <a:gd name="connsiteX8" fmla="*/ 42863 w 119421"/>
                  <a:gd name="connsiteY8" fmla="*/ 256042 h 259385"/>
                  <a:gd name="connsiteX9" fmla="*/ 30051 w 119421"/>
                  <a:gd name="connsiteY9" fmla="*/ 259328 h 259385"/>
                  <a:gd name="connsiteX10" fmla="*/ 19907 w 119421"/>
                  <a:gd name="connsiteY10" fmla="*/ 208798 h 259385"/>
                  <a:gd name="connsiteX11" fmla="*/ 0 w 119421"/>
                  <a:gd name="connsiteY11" fmla="*/ 156791 h 2593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19421" h="259385">
                    <a:moveTo>
                      <a:pt x="22003" y="8296"/>
                    </a:moveTo>
                    <a:cubicBezTo>
                      <a:pt x="44815" y="-3562"/>
                      <a:pt x="70104" y="-3467"/>
                      <a:pt x="91964" y="13535"/>
                    </a:cubicBezTo>
                    <a:lnTo>
                      <a:pt x="94012" y="15154"/>
                    </a:lnTo>
                    <a:cubicBezTo>
                      <a:pt x="121872" y="36824"/>
                      <a:pt x="127730" y="77972"/>
                      <a:pt x="107061" y="106594"/>
                    </a:cubicBezTo>
                    <a:lnTo>
                      <a:pt x="94012" y="124644"/>
                    </a:lnTo>
                    <a:cubicBezTo>
                      <a:pt x="88678" y="131788"/>
                      <a:pt x="87487" y="132788"/>
                      <a:pt x="79962" y="141789"/>
                    </a:cubicBezTo>
                    <a:lnTo>
                      <a:pt x="79581" y="142170"/>
                    </a:lnTo>
                    <a:cubicBezTo>
                      <a:pt x="79581" y="142170"/>
                      <a:pt x="70056" y="148790"/>
                      <a:pt x="69199" y="216608"/>
                    </a:cubicBezTo>
                    <a:cubicBezTo>
                      <a:pt x="69199" y="216608"/>
                      <a:pt x="69199" y="246945"/>
                      <a:pt x="42863" y="256042"/>
                    </a:cubicBezTo>
                    <a:cubicBezTo>
                      <a:pt x="42863" y="256042"/>
                      <a:pt x="34671" y="259899"/>
                      <a:pt x="30051" y="259328"/>
                    </a:cubicBezTo>
                    <a:cubicBezTo>
                      <a:pt x="20717" y="258185"/>
                      <a:pt x="18955" y="244659"/>
                      <a:pt x="19907" y="208798"/>
                    </a:cubicBezTo>
                    <a:cubicBezTo>
                      <a:pt x="19907" y="208798"/>
                      <a:pt x="21908" y="156791"/>
                      <a:pt x="0" y="156791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218" name="Forma livre: Forma 217">
              <a:extLst>
                <a:ext uri="{FF2B5EF4-FFF2-40B4-BE49-F238E27FC236}">
                  <a16:creationId xmlns:a16="http://schemas.microsoft.com/office/drawing/2014/main" id="{97DA8285-DA71-2C48-F712-104D23469205}"/>
                </a:ext>
              </a:extLst>
            </p:cNvPr>
            <p:cNvSpPr/>
            <p:nvPr/>
          </p:nvSpPr>
          <p:spPr>
            <a:xfrm>
              <a:off x="3952988" y="1664303"/>
              <a:ext cx="68484" cy="16954"/>
            </a:xfrm>
            <a:custGeom>
              <a:avLst/>
              <a:gdLst>
                <a:gd name="connsiteX0" fmla="*/ 68485 w 68484"/>
                <a:gd name="connsiteY0" fmla="*/ 16954 h 16954"/>
                <a:gd name="connsiteX1" fmla="*/ 34242 w 68484"/>
                <a:gd name="connsiteY1" fmla="*/ 0 h 16954"/>
                <a:gd name="connsiteX2" fmla="*/ 0 w 68484"/>
                <a:gd name="connsiteY2" fmla="*/ 16954 h 169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8484" h="16954">
                  <a:moveTo>
                    <a:pt x="68485" y="16954"/>
                  </a:moveTo>
                  <a:cubicBezTo>
                    <a:pt x="61341" y="6810"/>
                    <a:pt x="48673" y="0"/>
                    <a:pt x="34242" y="0"/>
                  </a:cubicBezTo>
                  <a:cubicBezTo>
                    <a:pt x="19812" y="0"/>
                    <a:pt x="7144" y="6763"/>
                    <a:pt x="0" y="16954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219" name="Gráfico 4">
            <a:extLst>
              <a:ext uri="{FF2B5EF4-FFF2-40B4-BE49-F238E27FC236}">
                <a16:creationId xmlns:a16="http://schemas.microsoft.com/office/drawing/2014/main" id="{96F479BB-5896-5901-DADB-5F65F2F4DCC0}"/>
              </a:ext>
            </a:extLst>
          </p:cNvPr>
          <p:cNvGrpSpPr/>
          <p:nvPr/>
        </p:nvGrpSpPr>
        <p:grpSpPr>
          <a:xfrm>
            <a:off x="3830342" y="2587490"/>
            <a:ext cx="313694" cy="313658"/>
            <a:chOff x="3830342" y="2587490"/>
            <a:chExt cx="313694" cy="313658"/>
          </a:xfrm>
          <a:noFill/>
        </p:grpSpPr>
        <p:sp>
          <p:nvSpPr>
            <p:cNvPr id="220" name="Forma livre: Forma 219">
              <a:extLst>
                <a:ext uri="{FF2B5EF4-FFF2-40B4-BE49-F238E27FC236}">
                  <a16:creationId xmlns:a16="http://schemas.microsoft.com/office/drawing/2014/main" id="{39498191-969A-673E-0C3D-4FE39B11C5D8}"/>
                </a:ext>
              </a:extLst>
            </p:cNvPr>
            <p:cNvSpPr/>
            <p:nvPr/>
          </p:nvSpPr>
          <p:spPr>
            <a:xfrm>
              <a:off x="3830342" y="2587490"/>
              <a:ext cx="313694" cy="313658"/>
            </a:xfrm>
            <a:custGeom>
              <a:avLst/>
              <a:gdLst>
                <a:gd name="connsiteX0" fmla="*/ 6965 w 313694"/>
                <a:gd name="connsiteY0" fmla="*/ 228195 h 313658"/>
                <a:gd name="connsiteX1" fmla="*/ 6965 w 313694"/>
                <a:gd name="connsiteY1" fmla="*/ 194524 h 313658"/>
                <a:gd name="connsiteX2" fmla="*/ 194560 w 313694"/>
                <a:gd name="connsiteY2" fmla="*/ 6929 h 313658"/>
                <a:gd name="connsiteX3" fmla="*/ 228231 w 313694"/>
                <a:gd name="connsiteY3" fmla="*/ 6929 h 313658"/>
                <a:gd name="connsiteX4" fmla="*/ 306765 w 313694"/>
                <a:gd name="connsiteY4" fmla="*/ 85463 h 313658"/>
                <a:gd name="connsiteX5" fmla="*/ 306765 w 313694"/>
                <a:gd name="connsiteY5" fmla="*/ 119134 h 313658"/>
                <a:gd name="connsiteX6" fmla="*/ 119170 w 313694"/>
                <a:gd name="connsiteY6" fmla="*/ 306729 h 313658"/>
                <a:gd name="connsiteX7" fmla="*/ 85499 w 313694"/>
                <a:gd name="connsiteY7" fmla="*/ 306729 h 313658"/>
                <a:gd name="connsiteX8" fmla="*/ 6965 w 313694"/>
                <a:gd name="connsiteY8" fmla="*/ 228195 h 3136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13694" h="313658">
                  <a:moveTo>
                    <a:pt x="6965" y="228195"/>
                  </a:moveTo>
                  <a:cubicBezTo>
                    <a:pt x="-2322" y="218956"/>
                    <a:pt x="-2322" y="203764"/>
                    <a:pt x="6965" y="194524"/>
                  </a:cubicBezTo>
                  <a:lnTo>
                    <a:pt x="194560" y="6929"/>
                  </a:lnTo>
                  <a:cubicBezTo>
                    <a:pt x="203799" y="-2310"/>
                    <a:pt x="218992" y="-2310"/>
                    <a:pt x="228231" y="6929"/>
                  </a:cubicBezTo>
                  <a:lnTo>
                    <a:pt x="306765" y="85463"/>
                  </a:lnTo>
                  <a:cubicBezTo>
                    <a:pt x="316004" y="94702"/>
                    <a:pt x="316004" y="109895"/>
                    <a:pt x="306765" y="119134"/>
                  </a:cubicBezTo>
                  <a:lnTo>
                    <a:pt x="119170" y="306729"/>
                  </a:lnTo>
                  <a:cubicBezTo>
                    <a:pt x="109930" y="315968"/>
                    <a:pt x="94738" y="315968"/>
                    <a:pt x="85499" y="306729"/>
                  </a:cubicBezTo>
                  <a:lnTo>
                    <a:pt x="6965" y="228195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21" name="Forma livre: Forma 220">
              <a:extLst>
                <a:ext uri="{FF2B5EF4-FFF2-40B4-BE49-F238E27FC236}">
                  <a16:creationId xmlns:a16="http://schemas.microsoft.com/office/drawing/2014/main" id="{0E7E01AC-8703-91D1-5261-9B1E1FFDD3EC}"/>
                </a:ext>
              </a:extLst>
            </p:cNvPr>
            <p:cNvSpPr/>
            <p:nvPr/>
          </p:nvSpPr>
          <p:spPr>
            <a:xfrm>
              <a:off x="3931128" y="2688241"/>
              <a:ext cx="18145" cy="18145"/>
            </a:xfrm>
            <a:custGeom>
              <a:avLst/>
              <a:gdLst>
                <a:gd name="connsiteX0" fmla="*/ 0 w 18145"/>
                <a:gd name="connsiteY0" fmla="*/ 0 h 18145"/>
                <a:gd name="connsiteX1" fmla="*/ 18145 w 18145"/>
                <a:gd name="connsiteY1" fmla="*/ 18145 h 181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145" h="18145">
                  <a:moveTo>
                    <a:pt x="0" y="0"/>
                  </a:moveTo>
                  <a:lnTo>
                    <a:pt x="18145" y="18145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22" name="Forma livre: Forma 221">
              <a:extLst>
                <a:ext uri="{FF2B5EF4-FFF2-40B4-BE49-F238E27FC236}">
                  <a16:creationId xmlns:a16="http://schemas.microsoft.com/office/drawing/2014/main" id="{A8889065-33BA-39FF-9D50-943A148B36A8}"/>
                </a:ext>
              </a:extLst>
            </p:cNvPr>
            <p:cNvSpPr/>
            <p:nvPr/>
          </p:nvSpPr>
          <p:spPr>
            <a:xfrm>
              <a:off x="4025235" y="2782348"/>
              <a:ext cx="18097" cy="18097"/>
            </a:xfrm>
            <a:custGeom>
              <a:avLst/>
              <a:gdLst>
                <a:gd name="connsiteX0" fmla="*/ 0 w 18097"/>
                <a:gd name="connsiteY0" fmla="*/ 0 h 18097"/>
                <a:gd name="connsiteX1" fmla="*/ 18098 w 18097"/>
                <a:gd name="connsiteY1" fmla="*/ 18097 h 180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097" h="18097">
                  <a:moveTo>
                    <a:pt x="0" y="0"/>
                  </a:moveTo>
                  <a:lnTo>
                    <a:pt x="18098" y="18097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23" name="Forma livre: Forma 222">
              <a:extLst>
                <a:ext uri="{FF2B5EF4-FFF2-40B4-BE49-F238E27FC236}">
                  <a16:creationId xmlns:a16="http://schemas.microsoft.com/office/drawing/2014/main" id="{FD87C98C-8ABC-84B2-A3AF-8EC349DBD08F}"/>
                </a:ext>
              </a:extLst>
            </p:cNvPr>
            <p:cNvSpPr/>
            <p:nvPr/>
          </p:nvSpPr>
          <p:spPr>
            <a:xfrm>
              <a:off x="3962513" y="2719626"/>
              <a:ext cx="18097" cy="18097"/>
            </a:xfrm>
            <a:custGeom>
              <a:avLst/>
              <a:gdLst>
                <a:gd name="connsiteX0" fmla="*/ 0 w 18097"/>
                <a:gd name="connsiteY0" fmla="*/ 0 h 18097"/>
                <a:gd name="connsiteX1" fmla="*/ 18097 w 18097"/>
                <a:gd name="connsiteY1" fmla="*/ 18098 h 180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097" h="18097">
                  <a:moveTo>
                    <a:pt x="0" y="0"/>
                  </a:moveTo>
                  <a:lnTo>
                    <a:pt x="18097" y="18098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24" name="Forma livre: Forma 223">
              <a:extLst>
                <a:ext uri="{FF2B5EF4-FFF2-40B4-BE49-F238E27FC236}">
                  <a16:creationId xmlns:a16="http://schemas.microsoft.com/office/drawing/2014/main" id="{C6341A0F-F137-FEC6-DA89-0DCD65AB430C}"/>
                </a:ext>
              </a:extLst>
            </p:cNvPr>
            <p:cNvSpPr/>
            <p:nvPr/>
          </p:nvSpPr>
          <p:spPr>
            <a:xfrm>
              <a:off x="3993850" y="2750963"/>
              <a:ext cx="18145" cy="18145"/>
            </a:xfrm>
            <a:custGeom>
              <a:avLst/>
              <a:gdLst>
                <a:gd name="connsiteX0" fmla="*/ 0 w 18145"/>
                <a:gd name="connsiteY0" fmla="*/ 0 h 18145"/>
                <a:gd name="connsiteX1" fmla="*/ 18145 w 18145"/>
                <a:gd name="connsiteY1" fmla="*/ 18145 h 181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145" h="18145">
                  <a:moveTo>
                    <a:pt x="0" y="0"/>
                  </a:moveTo>
                  <a:lnTo>
                    <a:pt x="18145" y="18145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225" name="Gráfico 4">
              <a:extLst>
                <a:ext uri="{FF2B5EF4-FFF2-40B4-BE49-F238E27FC236}">
                  <a16:creationId xmlns:a16="http://schemas.microsoft.com/office/drawing/2014/main" id="{DCD8F428-DDDB-1972-2187-D8A1156B67AE}"/>
                </a:ext>
              </a:extLst>
            </p:cNvPr>
            <p:cNvGrpSpPr/>
            <p:nvPr/>
          </p:nvGrpSpPr>
          <p:grpSpPr>
            <a:xfrm>
              <a:off x="3884015" y="2754094"/>
              <a:ext cx="93416" cy="93416"/>
              <a:chOff x="3884015" y="2754094"/>
              <a:chExt cx="93416" cy="93416"/>
            </a:xfrm>
            <a:noFill/>
          </p:grpSpPr>
          <p:sp>
            <p:nvSpPr>
              <p:cNvPr id="226" name="Forma livre: Forma 225">
                <a:extLst>
                  <a:ext uri="{FF2B5EF4-FFF2-40B4-BE49-F238E27FC236}">
                    <a16:creationId xmlns:a16="http://schemas.microsoft.com/office/drawing/2014/main" id="{17CF2731-541E-8C1F-AD7A-CFEC609338DD}"/>
                  </a:ext>
                </a:extLst>
              </p:cNvPr>
              <p:cNvSpPr/>
              <p:nvPr/>
            </p:nvSpPr>
            <p:spPr>
              <a:xfrm>
                <a:off x="3884015" y="2754094"/>
                <a:ext cx="93416" cy="93416"/>
              </a:xfrm>
              <a:custGeom>
                <a:avLst/>
                <a:gdLst>
                  <a:gd name="connsiteX0" fmla="*/ 79736 w 93416"/>
                  <a:gd name="connsiteY0" fmla="*/ 13680 h 93416"/>
                  <a:gd name="connsiteX1" fmla="*/ 79736 w 93416"/>
                  <a:gd name="connsiteY1" fmla="*/ 79736 h 93416"/>
                  <a:gd name="connsiteX2" fmla="*/ 13680 w 93416"/>
                  <a:gd name="connsiteY2" fmla="*/ 79736 h 93416"/>
                  <a:gd name="connsiteX3" fmla="*/ 13680 w 93416"/>
                  <a:gd name="connsiteY3" fmla="*/ 13680 h 93416"/>
                  <a:gd name="connsiteX4" fmla="*/ 79736 w 93416"/>
                  <a:gd name="connsiteY4" fmla="*/ 13680 h 934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93416" h="93416">
                    <a:moveTo>
                      <a:pt x="79736" y="13680"/>
                    </a:moveTo>
                    <a:cubicBezTo>
                      <a:pt x="97977" y="31921"/>
                      <a:pt x="97977" y="61496"/>
                      <a:pt x="79736" y="79736"/>
                    </a:cubicBezTo>
                    <a:cubicBezTo>
                      <a:pt x="61496" y="97977"/>
                      <a:pt x="31921" y="97977"/>
                      <a:pt x="13680" y="79736"/>
                    </a:cubicBezTo>
                    <a:cubicBezTo>
                      <a:pt x="-4560" y="61496"/>
                      <a:pt x="-4560" y="31921"/>
                      <a:pt x="13680" y="13680"/>
                    </a:cubicBezTo>
                    <a:cubicBezTo>
                      <a:pt x="31921" y="-4560"/>
                      <a:pt x="61496" y="-4560"/>
                      <a:pt x="79736" y="13680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27" name="Forma livre: Forma 226">
                <a:extLst>
                  <a:ext uri="{FF2B5EF4-FFF2-40B4-BE49-F238E27FC236}">
                    <a16:creationId xmlns:a16="http://schemas.microsoft.com/office/drawing/2014/main" id="{47AACB47-B0F3-8C20-80B1-68BCA0F6B66E}"/>
                  </a:ext>
                </a:extLst>
              </p:cNvPr>
              <p:cNvSpPr/>
              <p:nvPr/>
            </p:nvSpPr>
            <p:spPr>
              <a:xfrm>
                <a:off x="3912307" y="2790397"/>
                <a:ext cx="7772" cy="25431"/>
              </a:xfrm>
              <a:custGeom>
                <a:avLst/>
                <a:gdLst>
                  <a:gd name="connsiteX0" fmla="*/ 7773 w 7772"/>
                  <a:gd name="connsiteY0" fmla="*/ 25432 h 25431"/>
                  <a:gd name="connsiteX1" fmla="*/ 5391 w 7772"/>
                  <a:gd name="connsiteY1" fmla="*/ 23431 h 25431"/>
                  <a:gd name="connsiteX2" fmla="*/ 581 w 7772"/>
                  <a:gd name="connsiteY2" fmla="*/ 5858 h 25431"/>
                  <a:gd name="connsiteX3" fmla="*/ 3248 w 7772"/>
                  <a:gd name="connsiteY3" fmla="*/ 0 h 254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772" h="25431">
                    <a:moveTo>
                      <a:pt x="7773" y="25432"/>
                    </a:moveTo>
                    <a:cubicBezTo>
                      <a:pt x="6915" y="24860"/>
                      <a:pt x="6106" y="24146"/>
                      <a:pt x="5391" y="23431"/>
                    </a:cubicBezTo>
                    <a:cubicBezTo>
                      <a:pt x="629" y="18669"/>
                      <a:pt x="-990" y="11954"/>
                      <a:pt x="581" y="5858"/>
                    </a:cubicBezTo>
                    <a:cubicBezTo>
                      <a:pt x="1105" y="3762"/>
                      <a:pt x="2010" y="1810"/>
                      <a:pt x="3248" y="0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228" name="Gráfico 4">
              <a:extLst>
                <a:ext uri="{FF2B5EF4-FFF2-40B4-BE49-F238E27FC236}">
                  <a16:creationId xmlns:a16="http://schemas.microsoft.com/office/drawing/2014/main" id="{39E468E0-3DC6-ACA9-C470-3872DE582F3C}"/>
                </a:ext>
              </a:extLst>
            </p:cNvPr>
            <p:cNvGrpSpPr/>
            <p:nvPr/>
          </p:nvGrpSpPr>
          <p:grpSpPr>
            <a:xfrm>
              <a:off x="3995982" y="2642176"/>
              <a:ext cx="93416" cy="93416"/>
              <a:chOff x="3995982" y="2642176"/>
              <a:chExt cx="93416" cy="93416"/>
            </a:xfrm>
            <a:noFill/>
          </p:grpSpPr>
          <p:sp>
            <p:nvSpPr>
              <p:cNvPr id="229" name="Forma livre: Forma 228">
                <a:extLst>
                  <a:ext uri="{FF2B5EF4-FFF2-40B4-BE49-F238E27FC236}">
                    <a16:creationId xmlns:a16="http://schemas.microsoft.com/office/drawing/2014/main" id="{77A8249E-3D0C-87BE-E407-34B58A8114E5}"/>
                  </a:ext>
                </a:extLst>
              </p:cNvPr>
              <p:cNvSpPr/>
              <p:nvPr/>
            </p:nvSpPr>
            <p:spPr>
              <a:xfrm>
                <a:off x="3995982" y="2642176"/>
                <a:ext cx="93416" cy="93416"/>
              </a:xfrm>
              <a:custGeom>
                <a:avLst/>
                <a:gdLst>
                  <a:gd name="connsiteX0" fmla="*/ 79736 w 93416"/>
                  <a:gd name="connsiteY0" fmla="*/ 13680 h 93416"/>
                  <a:gd name="connsiteX1" fmla="*/ 79736 w 93416"/>
                  <a:gd name="connsiteY1" fmla="*/ 79736 h 93416"/>
                  <a:gd name="connsiteX2" fmla="*/ 13680 w 93416"/>
                  <a:gd name="connsiteY2" fmla="*/ 79736 h 93416"/>
                  <a:gd name="connsiteX3" fmla="*/ 13680 w 93416"/>
                  <a:gd name="connsiteY3" fmla="*/ 13680 h 93416"/>
                  <a:gd name="connsiteX4" fmla="*/ 79736 w 93416"/>
                  <a:gd name="connsiteY4" fmla="*/ 13680 h 934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93416" h="93416">
                    <a:moveTo>
                      <a:pt x="79736" y="13680"/>
                    </a:moveTo>
                    <a:cubicBezTo>
                      <a:pt x="97977" y="31921"/>
                      <a:pt x="97977" y="61496"/>
                      <a:pt x="79736" y="79736"/>
                    </a:cubicBezTo>
                    <a:cubicBezTo>
                      <a:pt x="61496" y="97977"/>
                      <a:pt x="31921" y="97977"/>
                      <a:pt x="13680" y="79736"/>
                    </a:cubicBezTo>
                    <a:cubicBezTo>
                      <a:pt x="-4560" y="61496"/>
                      <a:pt x="-4560" y="31921"/>
                      <a:pt x="13680" y="13680"/>
                    </a:cubicBezTo>
                    <a:cubicBezTo>
                      <a:pt x="31921" y="-4560"/>
                      <a:pt x="61496" y="-4560"/>
                      <a:pt x="79736" y="13680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30" name="Forma livre: Forma 229">
                <a:extLst>
                  <a:ext uri="{FF2B5EF4-FFF2-40B4-BE49-F238E27FC236}">
                    <a16:creationId xmlns:a16="http://schemas.microsoft.com/office/drawing/2014/main" id="{40325B2F-8127-DA4F-94B8-9AEAFA68EDC6}"/>
                  </a:ext>
                </a:extLst>
              </p:cNvPr>
              <p:cNvSpPr/>
              <p:nvPr/>
            </p:nvSpPr>
            <p:spPr>
              <a:xfrm>
                <a:off x="4024273" y="2678478"/>
                <a:ext cx="7772" cy="25431"/>
              </a:xfrm>
              <a:custGeom>
                <a:avLst/>
                <a:gdLst>
                  <a:gd name="connsiteX0" fmla="*/ 7773 w 7772"/>
                  <a:gd name="connsiteY0" fmla="*/ 25432 h 25431"/>
                  <a:gd name="connsiteX1" fmla="*/ 5391 w 7772"/>
                  <a:gd name="connsiteY1" fmla="*/ 23431 h 25431"/>
                  <a:gd name="connsiteX2" fmla="*/ 581 w 7772"/>
                  <a:gd name="connsiteY2" fmla="*/ 5858 h 25431"/>
                  <a:gd name="connsiteX3" fmla="*/ 3248 w 7772"/>
                  <a:gd name="connsiteY3" fmla="*/ 0 h 254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772" h="25431">
                    <a:moveTo>
                      <a:pt x="7773" y="25432"/>
                    </a:moveTo>
                    <a:cubicBezTo>
                      <a:pt x="6915" y="24860"/>
                      <a:pt x="6153" y="24146"/>
                      <a:pt x="5391" y="23431"/>
                    </a:cubicBezTo>
                    <a:cubicBezTo>
                      <a:pt x="629" y="18669"/>
                      <a:pt x="-990" y="11954"/>
                      <a:pt x="581" y="5858"/>
                    </a:cubicBezTo>
                    <a:cubicBezTo>
                      <a:pt x="1105" y="3762"/>
                      <a:pt x="1962" y="1810"/>
                      <a:pt x="3248" y="0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231" name="Gráfico 4">
            <a:extLst>
              <a:ext uri="{FF2B5EF4-FFF2-40B4-BE49-F238E27FC236}">
                <a16:creationId xmlns:a16="http://schemas.microsoft.com/office/drawing/2014/main" id="{803947CC-D29D-ED78-A084-6F7F89897527}"/>
              </a:ext>
            </a:extLst>
          </p:cNvPr>
          <p:cNvGrpSpPr/>
          <p:nvPr/>
        </p:nvGrpSpPr>
        <p:grpSpPr>
          <a:xfrm>
            <a:off x="3246471" y="2079450"/>
            <a:ext cx="231028" cy="268843"/>
            <a:chOff x="3246471" y="2079450"/>
            <a:chExt cx="231028" cy="268843"/>
          </a:xfrm>
          <a:noFill/>
        </p:grpSpPr>
        <p:grpSp>
          <p:nvGrpSpPr>
            <p:cNvPr id="232" name="Gráfico 4">
              <a:extLst>
                <a:ext uri="{FF2B5EF4-FFF2-40B4-BE49-F238E27FC236}">
                  <a16:creationId xmlns:a16="http://schemas.microsoft.com/office/drawing/2014/main" id="{73E9E449-8A82-1A69-A910-617F0A46833E}"/>
                </a:ext>
              </a:extLst>
            </p:cNvPr>
            <p:cNvGrpSpPr/>
            <p:nvPr/>
          </p:nvGrpSpPr>
          <p:grpSpPr>
            <a:xfrm>
              <a:off x="3246471" y="2079450"/>
              <a:ext cx="104013" cy="268843"/>
              <a:chOff x="3246471" y="2079450"/>
              <a:chExt cx="104013" cy="268843"/>
            </a:xfrm>
            <a:noFill/>
          </p:grpSpPr>
          <p:grpSp>
            <p:nvGrpSpPr>
              <p:cNvPr id="233" name="Gráfico 4">
                <a:extLst>
                  <a:ext uri="{FF2B5EF4-FFF2-40B4-BE49-F238E27FC236}">
                    <a16:creationId xmlns:a16="http://schemas.microsoft.com/office/drawing/2014/main" id="{C10818D6-A41E-1BD1-DDE3-97C254E3A2D1}"/>
                  </a:ext>
                </a:extLst>
              </p:cNvPr>
              <p:cNvGrpSpPr/>
              <p:nvPr/>
            </p:nvGrpSpPr>
            <p:grpSpPr>
              <a:xfrm>
                <a:off x="3259554" y="2085785"/>
                <a:ext cx="77895" cy="179355"/>
                <a:chOff x="3259554" y="2085785"/>
                <a:chExt cx="77895" cy="179355"/>
              </a:xfrm>
              <a:noFill/>
            </p:grpSpPr>
            <p:sp>
              <p:nvSpPr>
                <p:cNvPr id="234" name="Forma livre: Forma 233">
                  <a:extLst>
                    <a:ext uri="{FF2B5EF4-FFF2-40B4-BE49-F238E27FC236}">
                      <a16:creationId xmlns:a16="http://schemas.microsoft.com/office/drawing/2014/main" id="{2A1D4F06-47BC-26C4-C92F-8A99833FF2DC}"/>
                    </a:ext>
                  </a:extLst>
                </p:cNvPr>
                <p:cNvSpPr/>
                <p:nvPr/>
              </p:nvSpPr>
              <p:spPr>
                <a:xfrm>
                  <a:off x="3259554" y="2085785"/>
                  <a:ext cx="38590" cy="179355"/>
                </a:xfrm>
                <a:custGeom>
                  <a:avLst/>
                  <a:gdLst>
                    <a:gd name="connsiteX0" fmla="*/ 14 w 38590"/>
                    <a:gd name="connsiteY0" fmla="*/ 0 h 179355"/>
                    <a:gd name="connsiteX1" fmla="*/ 14 w 38590"/>
                    <a:gd name="connsiteY1" fmla="*/ 101155 h 179355"/>
                    <a:gd name="connsiteX2" fmla="*/ 38590 w 38590"/>
                    <a:gd name="connsiteY2" fmla="*/ 179356 h 17935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38590" h="179355">
                      <a:moveTo>
                        <a:pt x="14" y="0"/>
                      </a:moveTo>
                      <a:lnTo>
                        <a:pt x="14" y="101155"/>
                      </a:lnTo>
                      <a:cubicBezTo>
                        <a:pt x="14" y="101155"/>
                        <a:pt x="-1891" y="151828"/>
                        <a:pt x="38590" y="179356"/>
                      </a:cubicBez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35" name="Forma livre: Forma 234">
                  <a:extLst>
                    <a:ext uri="{FF2B5EF4-FFF2-40B4-BE49-F238E27FC236}">
                      <a16:creationId xmlns:a16="http://schemas.microsoft.com/office/drawing/2014/main" id="{77A123AB-EB0D-50A0-8512-D9C5FFD7673A}"/>
                    </a:ext>
                  </a:extLst>
                </p:cNvPr>
                <p:cNvSpPr/>
                <p:nvPr/>
              </p:nvSpPr>
              <p:spPr>
                <a:xfrm>
                  <a:off x="3298858" y="2085785"/>
                  <a:ext cx="38590" cy="179355"/>
                </a:xfrm>
                <a:custGeom>
                  <a:avLst/>
                  <a:gdLst>
                    <a:gd name="connsiteX0" fmla="*/ 38576 w 38590"/>
                    <a:gd name="connsiteY0" fmla="*/ 0 h 179355"/>
                    <a:gd name="connsiteX1" fmla="*/ 38576 w 38590"/>
                    <a:gd name="connsiteY1" fmla="*/ 101155 h 179355"/>
                    <a:gd name="connsiteX2" fmla="*/ 0 w 38590"/>
                    <a:gd name="connsiteY2" fmla="*/ 179356 h 17935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38590" h="179355">
                      <a:moveTo>
                        <a:pt x="38576" y="0"/>
                      </a:moveTo>
                      <a:lnTo>
                        <a:pt x="38576" y="101155"/>
                      </a:lnTo>
                      <a:cubicBezTo>
                        <a:pt x="38576" y="101155"/>
                        <a:pt x="40481" y="151828"/>
                        <a:pt x="0" y="179356"/>
                      </a:cubicBez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236" name="Forma livre: Forma 235">
                <a:extLst>
                  <a:ext uri="{FF2B5EF4-FFF2-40B4-BE49-F238E27FC236}">
                    <a16:creationId xmlns:a16="http://schemas.microsoft.com/office/drawing/2014/main" id="{EA85E803-5E8D-ED81-1A28-4F983D627D0A}"/>
                  </a:ext>
                </a:extLst>
              </p:cNvPr>
              <p:cNvSpPr/>
              <p:nvPr/>
            </p:nvSpPr>
            <p:spPr>
              <a:xfrm>
                <a:off x="3246471" y="2079450"/>
                <a:ext cx="104013" cy="11239"/>
              </a:xfrm>
              <a:custGeom>
                <a:avLst/>
                <a:gdLst>
                  <a:gd name="connsiteX0" fmla="*/ 0 w 104013"/>
                  <a:gd name="connsiteY0" fmla="*/ 0 h 11239"/>
                  <a:gd name="connsiteX1" fmla="*/ 104013 w 104013"/>
                  <a:gd name="connsiteY1" fmla="*/ 143 h 112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04013" h="11239">
                    <a:moveTo>
                      <a:pt x="0" y="0"/>
                    </a:moveTo>
                    <a:cubicBezTo>
                      <a:pt x="0" y="0"/>
                      <a:pt x="43244" y="25194"/>
                      <a:pt x="104013" y="143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37" name="Forma livre: Forma 236">
                <a:extLst>
                  <a:ext uri="{FF2B5EF4-FFF2-40B4-BE49-F238E27FC236}">
                    <a16:creationId xmlns:a16="http://schemas.microsoft.com/office/drawing/2014/main" id="{36CB9490-3614-C829-24B2-38D65EC7CD6F}"/>
                  </a:ext>
                </a:extLst>
              </p:cNvPr>
              <p:cNvSpPr/>
              <p:nvPr/>
            </p:nvSpPr>
            <p:spPr>
              <a:xfrm>
                <a:off x="3260425" y="2177510"/>
                <a:ext cx="76152" cy="4762"/>
              </a:xfrm>
              <a:custGeom>
                <a:avLst/>
                <a:gdLst>
                  <a:gd name="connsiteX0" fmla="*/ 0 w 76152"/>
                  <a:gd name="connsiteY0" fmla="*/ 0 h 4762"/>
                  <a:gd name="connsiteX1" fmla="*/ 76152 w 76152"/>
                  <a:gd name="connsiteY1" fmla="*/ 0 h 47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76152" h="4762">
                    <a:moveTo>
                      <a:pt x="0" y="0"/>
                    </a:moveTo>
                    <a:lnTo>
                      <a:pt x="76152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38" name="Forma livre: Forma 237">
                <a:extLst>
                  <a:ext uri="{FF2B5EF4-FFF2-40B4-BE49-F238E27FC236}">
                    <a16:creationId xmlns:a16="http://schemas.microsoft.com/office/drawing/2014/main" id="{C5D4D575-417E-A1EE-A816-87E60FA3158E}"/>
                  </a:ext>
                </a:extLst>
              </p:cNvPr>
              <p:cNvSpPr/>
              <p:nvPr/>
            </p:nvSpPr>
            <p:spPr>
              <a:xfrm>
                <a:off x="3298477" y="2265140"/>
                <a:ext cx="4762" cy="83010"/>
              </a:xfrm>
              <a:custGeom>
                <a:avLst/>
                <a:gdLst>
                  <a:gd name="connsiteX0" fmla="*/ 0 w 4762"/>
                  <a:gd name="connsiteY0" fmla="*/ 0 h 83010"/>
                  <a:gd name="connsiteX1" fmla="*/ 0 w 4762"/>
                  <a:gd name="connsiteY1" fmla="*/ 83010 h 830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62" h="83010">
                    <a:moveTo>
                      <a:pt x="0" y="0"/>
                    </a:moveTo>
                    <a:lnTo>
                      <a:pt x="0" y="8301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39" name="Forma livre: Forma 238">
                <a:extLst>
                  <a:ext uri="{FF2B5EF4-FFF2-40B4-BE49-F238E27FC236}">
                    <a16:creationId xmlns:a16="http://schemas.microsoft.com/office/drawing/2014/main" id="{CB981268-3B3A-9D10-B1BA-25A7D84A7C17}"/>
                  </a:ext>
                </a:extLst>
              </p:cNvPr>
              <p:cNvSpPr/>
              <p:nvPr/>
            </p:nvSpPr>
            <p:spPr>
              <a:xfrm>
                <a:off x="3284380" y="2348294"/>
                <a:ext cx="28241" cy="4762"/>
              </a:xfrm>
              <a:custGeom>
                <a:avLst/>
                <a:gdLst>
                  <a:gd name="connsiteX0" fmla="*/ 0 w 28241"/>
                  <a:gd name="connsiteY0" fmla="*/ 0 h 4762"/>
                  <a:gd name="connsiteX1" fmla="*/ 28242 w 28241"/>
                  <a:gd name="connsiteY1" fmla="*/ 0 h 47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8241" h="4762">
                    <a:moveTo>
                      <a:pt x="0" y="0"/>
                    </a:moveTo>
                    <a:lnTo>
                      <a:pt x="28242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240" name="Gráfico 4">
              <a:extLst>
                <a:ext uri="{FF2B5EF4-FFF2-40B4-BE49-F238E27FC236}">
                  <a16:creationId xmlns:a16="http://schemas.microsoft.com/office/drawing/2014/main" id="{4D3D719D-360C-A8F6-5D97-ADAA84753534}"/>
                </a:ext>
              </a:extLst>
            </p:cNvPr>
            <p:cNvGrpSpPr/>
            <p:nvPr/>
          </p:nvGrpSpPr>
          <p:grpSpPr>
            <a:xfrm>
              <a:off x="3373487" y="2079450"/>
              <a:ext cx="104013" cy="268843"/>
              <a:chOff x="3373487" y="2079450"/>
              <a:chExt cx="104013" cy="268843"/>
            </a:xfrm>
            <a:noFill/>
          </p:grpSpPr>
          <p:grpSp>
            <p:nvGrpSpPr>
              <p:cNvPr id="241" name="Gráfico 4">
                <a:extLst>
                  <a:ext uri="{FF2B5EF4-FFF2-40B4-BE49-F238E27FC236}">
                    <a16:creationId xmlns:a16="http://schemas.microsoft.com/office/drawing/2014/main" id="{BA6C28C5-16CC-0F31-2D44-247593CAAEF5}"/>
                  </a:ext>
                </a:extLst>
              </p:cNvPr>
              <p:cNvGrpSpPr/>
              <p:nvPr/>
            </p:nvGrpSpPr>
            <p:grpSpPr>
              <a:xfrm>
                <a:off x="3386570" y="2085785"/>
                <a:ext cx="77895" cy="179355"/>
                <a:chOff x="3386570" y="2085785"/>
                <a:chExt cx="77895" cy="179355"/>
              </a:xfrm>
              <a:noFill/>
            </p:grpSpPr>
            <p:sp>
              <p:nvSpPr>
                <p:cNvPr id="242" name="Forma livre: Forma 241">
                  <a:extLst>
                    <a:ext uri="{FF2B5EF4-FFF2-40B4-BE49-F238E27FC236}">
                      <a16:creationId xmlns:a16="http://schemas.microsoft.com/office/drawing/2014/main" id="{F82203AA-8D06-8F0C-BD07-E8E81CA30C7B}"/>
                    </a:ext>
                  </a:extLst>
                </p:cNvPr>
                <p:cNvSpPr/>
                <p:nvPr/>
              </p:nvSpPr>
              <p:spPr>
                <a:xfrm>
                  <a:off x="3386570" y="2085785"/>
                  <a:ext cx="38590" cy="179355"/>
                </a:xfrm>
                <a:custGeom>
                  <a:avLst/>
                  <a:gdLst>
                    <a:gd name="connsiteX0" fmla="*/ 14 w 38590"/>
                    <a:gd name="connsiteY0" fmla="*/ 0 h 179355"/>
                    <a:gd name="connsiteX1" fmla="*/ 14 w 38590"/>
                    <a:gd name="connsiteY1" fmla="*/ 101155 h 179355"/>
                    <a:gd name="connsiteX2" fmla="*/ 38590 w 38590"/>
                    <a:gd name="connsiteY2" fmla="*/ 179356 h 17935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38590" h="179355">
                      <a:moveTo>
                        <a:pt x="14" y="0"/>
                      </a:moveTo>
                      <a:lnTo>
                        <a:pt x="14" y="101155"/>
                      </a:lnTo>
                      <a:cubicBezTo>
                        <a:pt x="14" y="101155"/>
                        <a:pt x="-1891" y="151828"/>
                        <a:pt x="38590" y="179356"/>
                      </a:cubicBez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43" name="Forma livre: Forma 242">
                  <a:extLst>
                    <a:ext uri="{FF2B5EF4-FFF2-40B4-BE49-F238E27FC236}">
                      <a16:creationId xmlns:a16="http://schemas.microsoft.com/office/drawing/2014/main" id="{113C057E-0C29-CAD6-FE68-011E2D660C06}"/>
                    </a:ext>
                  </a:extLst>
                </p:cNvPr>
                <p:cNvSpPr/>
                <p:nvPr/>
              </p:nvSpPr>
              <p:spPr>
                <a:xfrm>
                  <a:off x="3425874" y="2085785"/>
                  <a:ext cx="38590" cy="179355"/>
                </a:xfrm>
                <a:custGeom>
                  <a:avLst/>
                  <a:gdLst>
                    <a:gd name="connsiteX0" fmla="*/ 38576 w 38590"/>
                    <a:gd name="connsiteY0" fmla="*/ 0 h 179355"/>
                    <a:gd name="connsiteX1" fmla="*/ 38576 w 38590"/>
                    <a:gd name="connsiteY1" fmla="*/ 101155 h 179355"/>
                    <a:gd name="connsiteX2" fmla="*/ 0 w 38590"/>
                    <a:gd name="connsiteY2" fmla="*/ 179356 h 17935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38590" h="179355">
                      <a:moveTo>
                        <a:pt x="38576" y="0"/>
                      </a:moveTo>
                      <a:lnTo>
                        <a:pt x="38576" y="101155"/>
                      </a:lnTo>
                      <a:cubicBezTo>
                        <a:pt x="38576" y="101155"/>
                        <a:pt x="40481" y="151828"/>
                        <a:pt x="0" y="179356"/>
                      </a:cubicBez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244" name="Forma livre: Forma 243">
                <a:extLst>
                  <a:ext uri="{FF2B5EF4-FFF2-40B4-BE49-F238E27FC236}">
                    <a16:creationId xmlns:a16="http://schemas.microsoft.com/office/drawing/2014/main" id="{B340365F-657D-6FEC-EA67-DBC9E0AD4D40}"/>
                  </a:ext>
                </a:extLst>
              </p:cNvPr>
              <p:cNvSpPr/>
              <p:nvPr/>
            </p:nvSpPr>
            <p:spPr>
              <a:xfrm>
                <a:off x="3373487" y="2079450"/>
                <a:ext cx="104013" cy="11239"/>
              </a:xfrm>
              <a:custGeom>
                <a:avLst/>
                <a:gdLst>
                  <a:gd name="connsiteX0" fmla="*/ 0 w 104013"/>
                  <a:gd name="connsiteY0" fmla="*/ 0 h 11239"/>
                  <a:gd name="connsiteX1" fmla="*/ 104013 w 104013"/>
                  <a:gd name="connsiteY1" fmla="*/ 143 h 112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04013" h="11239">
                    <a:moveTo>
                      <a:pt x="0" y="0"/>
                    </a:moveTo>
                    <a:cubicBezTo>
                      <a:pt x="0" y="0"/>
                      <a:pt x="43244" y="25194"/>
                      <a:pt x="104013" y="143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45" name="Forma livre: Forma 244">
                <a:extLst>
                  <a:ext uri="{FF2B5EF4-FFF2-40B4-BE49-F238E27FC236}">
                    <a16:creationId xmlns:a16="http://schemas.microsoft.com/office/drawing/2014/main" id="{ECDEC744-76D4-0C73-C8EE-3457E59D68A6}"/>
                  </a:ext>
                </a:extLst>
              </p:cNvPr>
              <p:cNvSpPr/>
              <p:nvPr/>
            </p:nvSpPr>
            <p:spPr>
              <a:xfrm>
                <a:off x="3387393" y="2177510"/>
                <a:ext cx="76200" cy="4762"/>
              </a:xfrm>
              <a:custGeom>
                <a:avLst/>
                <a:gdLst>
                  <a:gd name="connsiteX0" fmla="*/ 0 w 76200"/>
                  <a:gd name="connsiteY0" fmla="*/ 0 h 4762"/>
                  <a:gd name="connsiteX1" fmla="*/ 76200 w 76200"/>
                  <a:gd name="connsiteY1" fmla="*/ 0 h 47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76200" h="4762">
                    <a:moveTo>
                      <a:pt x="0" y="0"/>
                    </a:moveTo>
                    <a:lnTo>
                      <a:pt x="7620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46" name="Forma livre: Forma 245">
                <a:extLst>
                  <a:ext uri="{FF2B5EF4-FFF2-40B4-BE49-F238E27FC236}">
                    <a16:creationId xmlns:a16="http://schemas.microsoft.com/office/drawing/2014/main" id="{37E365E0-BCC6-2278-CFCE-32FF25024124}"/>
                  </a:ext>
                </a:extLst>
              </p:cNvPr>
              <p:cNvSpPr/>
              <p:nvPr/>
            </p:nvSpPr>
            <p:spPr>
              <a:xfrm>
                <a:off x="3425493" y="2265140"/>
                <a:ext cx="4762" cy="83010"/>
              </a:xfrm>
              <a:custGeom>
                <a:avLst/>
                <a:gdLst>
                  <a:gd name="connsiteX0" fmla="*/ 0 w 4762"/>
                  <a:gd name="connsiteY0" fmla="*/ 0 h 83010"/>
                  <a:gd name="connsiteX1" fmla="*/ 0 w 4762"/>
                  <a:gd name="connsiteY1" fmla="*/ 83010 h 830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62" h="83010">
                    <a:moveTo>
                      <a:pt x="0" y="0"/>
                    </a:moveTo>
                    <a:lnTo>
                      <a:pt x="0" y="8301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47" name="Forma livre: Forma 246">
                <a:extLst>
                  <a:ext uri="{FF2B5EF4-FFF2-40B4-BE49-F238E27FC236}">
                    <a16:creationId xmlns:a16="http://schemas.microsoft.com/office/drawing/2014/main" id="{176D1E42-A67B-712D-845E-C5A2EC160153}"/>
                  </a:ext>
                </a:extLst>
              </p:cNvPr>
              <p:cNvSpPr/>
              <p:nvPr/>
            </p:nvSpPr>
            <p:spPr>
              <a:xfrm>
                <a:off x="3411396" y="2348294"/>
                <a:ext cx="28241" cy="4762"/>
              </a:xfrm>
              <a:custGeom>
                <a:avLst/>
                <a:gdLst>
                  <a:gd name="connsiteX0" fmla="*/ 0 w 28241"/>
                  <a:gd name="connsiteY0" fmla="*/ 0 h 4762"/>
                  <a:gd name="connsiteX1" fmla="*/ 28242 w 28241"/>
                  <a:gd name="connsiteY1" fmla="*/ 0 h 47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8241" h="4762">
                    <a:moveTo>
                      <a:pt x="0" y="0"/>
                    </a:moveTo>
                    <a:lnTo>
                      <a:pt x="28242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248" name="Gráfico 4">
            <a:extLst>
              <a:ext uri="{FF2B5EF4-FFF2-40B4-BE49-F238E27FC236}">
                <a16:creationId xmlns:a16="http://schemas.microsoft.com/office/drawing/2014/main" id="{FA5F8BE9-98E5-52E7-AC7C-AD48589C5CE3}"/>
              </a:ext>
            </a:extLst>
          </p:cNvPr>
          <p:cNvGrpSpPr/>
          <p:nvPr/>
        </p:nvGrpSpPr>
        <p:grpSpPr>
          <a:xfrm>
            <a:off x="3229872" y="3129281"/>
            <a:ext cx="264244" cy="287812"/>
            <a:chOff x="3229872" y="3129281"/>
            <a:chExt cx="264244" cy="287812"/>
          </a:xfrm>
          <a:noFill/>
        </p:grpSpPr>
        <p:sp>
          <p:nvSpPr>
            <p:cNvPr id="249" name="Forma livre: Forma 248">
              <a:extLst>
                <a:ext uri="{FF2B5EF4-FFF2-40B4-BE49-F238E27FC236}">
                  <a16:creationId xmlns:a16="http://schemas.microsoft.com/office/drawing/2014/main" id="{BEA8DFFB-1D23-73AA-F8DF-352C902D802D}"/>
                </a:ext>
              </a:extLst>
            </p:cNvPr>
            <p:cNvSpPr/>
            <p:nvPr/>
          </p:nvSpPr>
          <p:spPr>
            <a:xfrm>
              <a:off x="3379964" y="3174671"/>
              <a:ext cx="78120" cy="95215"/>
            </a:xfrm>
            <a:custGeom>
              <a:avLst/>
              <a:gdLst>
                <a:gd name="connsiteX0" fmla="*/ 14335 w 78120"/>
                <a:gd name="connsiteY0" fmla="*/ 488 h 95215"/>
                <a:gd name="connsiteX1" fmla="*/ 73962 w 78120"/>
                <a:gd name="connsiteY1" fmla="*/ 48018 h 95215"/>
                <a:gd name="connsiteX2" fmla="*/ 51816 w 78120"/>
                <a:gd name="connsiteY2" fmla="*/ 81165 h 95215"/>
                <a:gd name="connsiteX3" fmla="*/ 0 w 78120"/>
                <a:gd name="connsiteY3" fmla="*/ 85022 h 952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8120" h="95215">
                  <a:moveTo>
                    <a:pt x="14335" y="488"/>
                  </a:moveTo>
                  <a:cubicBezTo>
                    <a:pt x="14335" y="488"/>
                    <a:pt x="75867" y="-8228"/>
                    <a:pt x="73962" y="48018"/>
                  </a:cubicBezTo>
                  <a:cubicBezTo>
                    <a:pt x="73962" y="48018"/>
                    <a:pt x="92345" y="80355"/>
                    <a:pt x="51816" y="81165"/>
                  </a:cubicBezTo>
                  <a:cubicBezTo>
                    <a:pt x="51816" y="81165"/>
                    <a:pt x="31766" y="110025"/>
                    <a:pt x="0" y="85022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50" name="Forma livre: Forma 249">
              <a:extLst>
                <a:ext uri="{FF2B5EF4-FFF2-40B4-BE49-F238E27FC236}">
                  <a16:creationId xmlns:a16="http://schemas.microsoft.com/office/drawing/2014/main" id="{8A3A3102-3426-8691-AB0B-ABC474896644}"/>
                </a:ext>
              </a:extLst>
            </p:cNvPr>
            <p:cNvSpPr/>
            <p:nvPr/>
          </p:nvSpPr>
          <p:spPr>
            <a:xfrm>
              <a:off x="3321478" y="3163445"/>
              <a:ext cx="73828" cy="27144"/>
            </a:xfrm>
            <a:custGeom>
              <a:avLst/>
              <a:gdLst>
                <a:gd name="connsiteX0" fmla="*/ 288 w 73828"/>
                <a:gd name="connsiteY0" fmla="*/ 25096 h 27144"/>
                <a:gd name="connsiteX1" fmla="*/ 37150 w 73828"/>
                <a:gd name="connsiteY1" fmla="*/ 474 h 27144"/>
                <a:gd name="connsiteX2" fmla="*/ 73583 w 73828"/>
                <a:gd name="connsiteY2" fmla="*/ 27144 h 271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73828" h="27144">
                  <a:moveTo>
                    <a:pt x="288" y="25096"/>
                  </a:moveTo>
                  <a:cubicBezTo>
                    <a:pt x="-998" y="19000"/>
                    <a:pt x="526" y="4713"/>
                    <a:pt x="37150" y="474"/>
                  </a:cubicBezTo>
                  <a:cubicBezTo>
                    <a:pt x="40579" y="93"/>
                    <a:pt x="77155" y="-4717"/>
                    <a:pt x="73583" y="27144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51" name="Forma livre: Forma 250">
              <a:extLst>
                <a:ext uri="{FF2B5EF4-FFF2-40B4-BE49-F238E27FC236}">
                  <a16:creationId xmlns:a16="http://schemas.microsoft.com/office/drawing/2014/main" id="{EBD0F6B8-7BE4-EEBC-80BC-05E54282CB3C}"/>
                </a:ext>
              </a:extLst>
            </p:cNvPr>
            <p:cNvSpPr/>
            <p:nvPr/>
          </p:nvSpPr>
          <p:spPr>
            <a:xfrm>
              <a:off x="3335685" y="3224737"/>
              <a:ext cx="8607" cy="31670"/>
            </a:xfrm>
            <a:custGeom>
              <a:avLst/>
              <a:gdLst>
                <a:gd name="connsiteX0" fmla="*/ 893 w 8607"/>
                <a:gd name="connsiteY0" fmla="*/ 0 h 31670"/>
                <a:gd name="connsiteX1" fmla="*/ 8608 w 8607"/>
                <a:gd name="connsiteY1" fmla="*/ 31671 h 316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607" h="31670">
                  <a:moveTo>
                    <a:pt x="893" y="0"/>
                  </a:moveTo>
                  <a:cubicBezTo>
                    <a:pt x="893" y="0"/>
                    <a:pt x="-3870" y="20241"/>
                    <a:pt x="8608" y="31671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52" name="Forma livre: Forma 251">
              <a:extLst>
                <a:ext uri="{FF2B5EF4-FFF2-40B4-BE49-F238E27FC236}">
                  <a16:creationId xmlns:a16="http://schemas.microsoft.com/office/drawing/2014/main" id="{7CEA66A4-F5CF-8C3D-0683-47CD170B02F2}"/>
                </a:ext>
              </a:extLst>
            </p:cNvPr>
            <p:cNvSpPr/>
            <p:nvPr/>
          </p:nvSpPr>
          <p:spPr>
            <a:xfrm>
              <a:off x="3363581" y="3213116"/>
              <a:ext cx="34718" cy="7656"/>
            </a:xfrm>
            <a:custGeom>
              <a:avLst/>
              <a:gdLst>
                <a:gd name="connsiteX0" fmla="*/ 0 w 34718"/>
                <a:gd name="connsiteY0" fmla="*/ 6620 h 7656"/>
                <a:gd name="connsiteX1" fmla="*/ 34719 w 34718"/>
                <a:gd name="connsiteY1" fmla="*/ 0 h 76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4718" h="7656">
                  <a:moveTo>
                    <a:pt x="0" y="6620"/>
                  </a:moveTo>
                  <a:cubicBezTo>
                    <a:pt x="0" y="6620"/>
                    <a:pt x="20145" y="11525"/>
                    <a:pt x="34719" y="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53" name="Forma livre: Forma 252">
              <a:extLst>
                <a:ext uri="{FF2B5EF4-FFF2-40B4-BE49-F238E27FC236}">
                  <a16:creationId xmlns:a16="http://schemas.microsoft.com/office/drawing/2014/main" id="{0038F4EE-B337-65F5-EABE-9F75B379B4F8}"/>
                </a:ext>
              </a:extLst>
            </p:cNvPr>
            <p:cNvSpPr/>
            <p:nvPr/>
          </p:nvSpPr>
          <p:spPr>
            <a:xfrm>
              <a:off x="3428208" y="3214712"/>
              <a:ext cx="26955" cy="12358"/>
            </a:xfrm>
            <a:custGeom>
              <a:avLst/>
              <a:gdLst>
                <a:gd name="connsiteX0" fmla="*/ 0 w 26955"/>
                <a:gd name="connsiteY0" fmla="*/ 785 h 12358"/>
                <a:gd name="connsiteX1" fmla="*/ 26956 w 26955"/>
                <a:gd name="connsiteY1" fmla="*/ 12358 h 123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6955" h="12358">
                  <a:moveTo>
                    <a:pt x="0" y="785"/>
                  </a:moveTo>
                  <a:cubicBezTo>
                    <a:pt x="0" y="785"/>
                    <a:pt x="14049" y="-4501"/>
                    <a:pt x="26956" y="12358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54" name="Forma livre: Forma 253">
              <a:extLst>
                <a:ext uri="{FF2B5EF4-FFF2-40B4-BE49-F238E27FC236}">
                  <a16:creationId xmlns:a16="http://schemas.microsoft.com/office/drawing/2014/main" id="{9C9CC953-3EE0-B25A-5D02-2309C48D7683}"/>
                </a:ext>
              </a:extLst>
            </p:cNvPr>
            <p:cNvSpPr/>
            <p:nvPr/>
          </p:nvSpPr>
          <p:spPr>
            <a:xfrm>
              <a:off x="3297870" y="3190001"/>
              <a:ext cx="110097" cy="73826"/>
            </a:xfrm>
            <a:custGeom>
              <a:avLst/>
              <a:gdLst>
                <a:gd name="connsiteX0" fmla="*/ 61758 w 110097"/>
                <a:gd name="connsiteY0" fmla="*/ 5970 h 73826"/>
                <a:gd name="connsiteX1" fmla="*/ 25230 w 110097"/>
                <a:gd name="connsiteY1" fmla="*/ 636 h 73826"/>
                <a:gd name="connsiteX2" fmla="*/ 20420 w 110097"/>
                <a:gd name="connsiteY2" fmla="*/ 1874 h 73826"/>
                <a:gd name="connsiteX3" fmla="*/ 39327 w 110097"/>
                <a:gd name="connsiteY3" fmla="*/ 58596 h 73826"/>
                <a:gd name="connsiteX4" fmla="*/ 88285 w 110097"/>
                <a:gd name="connsiteY4" fmla="*/ 60977 h 73826"/>
                <a:gd name="connsiteX5" fmla="*/ 110098 w 110097"/>
                <a:gd name="connsiteY5" fmla="*/ 49499 h 738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0097" h="73826">
                  <a:moveTo>
                    <a:pt x="61758" y="5970"/>
                  </a:moveTo>
                  <a:cubicBezTo>
                    <a:pt x="61758" y="5970"/>
                    <a:pt x="39089" y="-2317"/>
                    <a:pt x="25230" y="636"/>
                  </a:cubicBezTo>
                  <a:lnTo>
                    <a:pt x="20420" y="1874"/>
                  </a:lnTo>
                  <a:cubicBezTo>
                    <a:pt x="20420" y="1874"/>
                    <a:pt x="-36302" y="47975"/>
                    <a:pt x="39327" y="58596"/>
                  </a:cubicBezTo>
                  <a:cubicBezTo>
                    <a:pt x="39327" y="58596"/>
                    <a:pt x="61472" y="91219"/>
                    <a:pt x="88285" y="60977"/>
                  </a:cubicBezTo>
                  <a:cubicBezTo>
                    <a:pt x="88285" y="60977"/>
                    <a:pt x="103192" y="49737"/>
                    <a:pt x="110098" y="49499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255" name="Gráfico 4">
              <a:extLst>
                <a:ext uri="{FF2B5EF4-FFF2-40B4-BE49-F238E27FC236}">
                  <a16:creationId xmlns:a16="http://schemas.microsoft.com/office/drawing/2014/main" id="{1D392F00-F677-250C-8403-4B3E4E998F30}"/>
                </a:ext>
              </a:extLst>
            </p:cNvPr>
            <p:cNvGrpSpPr/>
            <p:nvPr/>
          </p:nvGrpSpPr>
          <p:grpSpPr>
            <a:xfrm>
              <a:off x="3229872" y="3129281"/>
              <a:ext cx="264244" cy="287812"/>
              <a:chOff x="3229872" y="3129281"/>
              <a:chExt cx="264244" cy="287812"/>
            </a:xfrm>
            <a:noFill/>
          </p:grpSpPr>
          <p:sp>
            <p:nvSpPr>
              <p:cNvPr id="256" name="Forma livre: Forma 255">
                <a:extLst>
                  <a:ext uri="{FF2B5EF4-FFF2-40B4-BE49-F238E27FC236}">
                    <a16:creationId xmlns:a16="http://schemas.microsoft.com/office/drawing/2014/main" id="{44736E07-6BA0-D7D1-A934-2F8AE699CFA0}"/>
                  </a:ext>
                </a:extLst>
              </p:cNvPr>
              <p:cNvSpPr/>
              <p:nvPr/>
            </p:nvSpPr>
            <p:spPr>
              <a:xfrm>
                <a:off x="3229872" y="3129281"/>
                <a:ext cx="264244" cy="287812"/>
              </a:xfrm>
              <a:custGeom>
                <a:avLst/>
                <a:gdLst>
                  <a:gd name="connsiteX0" fmla="*/ 227435 w 264244"/>
                  <a:gd name="connsiteY0" fmla="*/ 287813 h 287812"/>
                  <a:gd name="connsiteX1" fmla="*/ 222911 w 264244"/>
                  <a:gd name="connsiteY1" fmla="*/ 228615 h 287812"/>
                  <a:gd name="connsiteX2" fmla="*/ 247247 w 264244"/>
                  <a:gd name="connsiteY2" fmla="*/ 168750 h 287812"/>
                  <a:gd name="connsiteX3" fmla="*/ 221863 w 264244"/>
                  <a:gd name="connsiteY3" fmla="*/ 23637 h 287812"/>
                  <a:gd name="connsiteX4" fmla="*/ 71082 w 264244"/>
                  <a:gd name="connsiteY4" fmla="*/ 19874 h 287812"/>
                  <a:gd name="connsiteX5" fmla="*/ 34792 w 264244"/>
                  <a:gd name="connsiteY5" fmla="*/ 103551 h 287812"/>
                  <a:gd name="connsiteX6" fmla="*/ 31125 w 264244"/>
                  <a:gd name="connsiteY6" fmla="*/ 129698 h 287812"/>
                  <a:gd name="connsiteX7" fmla="*/ 645 w 264244"/>
                  <a:gd name="connsiteY7" fmla="*/ 165559 h 287812"/>
                  <a:gd name="connsiteX8" fmla="*/ 8789 w 264244"/>
                  <a:gd name="connsiteY8" fmla="*/ 177227 h 287812"/>
                  <a:gd name="connsiteX9" fmla="*/ 27362 w 264244"/>
                  <a:gd name="connsiteY9" fmla="*/ 181037 h 287812"/>
                  <a:gd name="connsiteX10" fmla="*/ 35887 w 264244"/>
                  <a:gd name="connsiteY10" fmla="*/ 207850 h 287812"/>
                  <a:gd name="connsiteX11" fmla="*/ 33935 w 264244"/>
                  <a:gd name="connsiteY11" fmla="*/ 233901 h 287812"/>
                  <a:gd name="connsiteX12" fmla="*/ 37697 w 264244"/>
                  <a:gd name="connsiteY12" fmla="*/ 259095 h 287812"/>
                  <a:gd name="connsiteX13" fmla="*/ 101657 w 264244"/>
                  <a:gd name="connsiteY13" fmla="*/ 256571 h 287812"/>
                  <a:gd name="connsiteX14" fmla="*/ 110230 w 264244"/>
                  <a:gd name="connsiteY14" fmla="*/ 287432 h 2878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264244" h="287812">
                    <a:moveTo>
                      <a:pt x="227435" y="287813"/>
                    </a:moveTo>
                    <a:cubicBezTo>
                      <a:pt x="225006" y="273763"/>
                      <a:pt x="221529" y="250903"/>
                      <a:pt x="222911" y="228615"/>
                    </a:cubicBezTo>
                    <a:cubicBezTo>
                      <a:pt x="222911" y="228615"/>
                      <a:pt x="231007" y="192086"/>
                      <a:pt x="247247" y="168750"/>
                    </a:cubicBezTo>
                    <a:cubicBezTo>
                      <a:pt x="247247" y="168750"/>
                      <a:pt x="299015" y="80453"/>
                      <a:pt x="221863" y="23637"/>
                    </a:cubicBezTo>
                    <a:cubicBezTo>
                      <a:pt x="221863" y="23637"/>
                      <a:pt x="153616" y="-26941"/>
                      <a:pt x="71082" y="19874"/>
                    </a:cubicBezTo>
                    <a:cubicBezTo>
                      <a:pt x="71082" y="19874"/>
                      <a:pt x="25029" y="39782"/>
                      <a:pt x="34792" y="103551"/>
                    </a:cubicBezTo>
                    <a:cubicBezTo>
                      <a:pt x="34792" y="103551"/>
                      <a:pt x="36744" y="121363"/>
                      <a:pt x="31125" y="129698"/>
                    </a:cubicBezTo>
                    <a:lnTo>
                      <a:pt x="645" y="165559"/>
                    </a:lnTo>
                    <a:cubicBezTo>
                      <a:pt x="645" y="165559"/>
                      <a:pt x="-3403" y="176227"/>
                      <a:pt x="8789" y="177227"/>
                    </a:cubicBezTo>
                    <a:lnTo>
                      <a:pt x="27362" y="181037"/>
                    </a:lnTo>
                    <a:cubicBezTo>
                      <a:pt x="27362" y="181037"/>
                      <a:pt x="35125" y="196182"/>
                      <a:pt x="35887" y="207850"/>
                    </a:cubicBezTo>
                    <a:cubicBezTo>
                      <a:pt x="36649" y="219518"/>
                      <a:pt x="33935" y="233901"/>
                      <a:pt x="33935" y="233901"/>
                    </a:cubicBezTo>
                    <a:cubicBezTo>
                      <a:pt x="33935" y="233901"/>
                      <a:pt x="27315" y="251380"/>
                      <a:pt x="37697" y="259095"/>
                    </a:cubicBezTo>
                    <a:cubicBezTo>
                      <a:pt x="39745" y="259619"/>
                      <a:pt x="47365" y="268239"/>
                      <a:pt x="101657" y="256571"/>
                    </a:cubicBezTo>
                    <a:cubicBezTo>
                      <a:pt x="101657" y="256571"/>
                      <a:pt x="106896" y="259047"/>
                      <a:pt x="110230" y="287432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57" name="Forma livre: Forma 256">
                <a:extLst>
                  <a:ext uri="{FF2B5EF4-FFF2-40B4-BE49-F238E27FC236}">
                    <a16:creationId xmlns:a16="http://schemas.microsoft.com/office/drawing/2014/main" id="{364CFFA2-B9FA-1085-309F-4B436F4E405D}"/>
                  </a:ext>
                </a:extLst>
              </p:cNvPr>
              <p:cNvSpPr/>
              <p:nvPr/>
            </p:nvSpPr>
            <p:spPr>
              <a:xfrm>
                <a:off x="3268093" y="3337894"/>
                <a:ext cx="23336" cy="381"/>
              </a:xfrm>
              <a:custGeom>
                <a:avLst/>
                <a:gdLst>
                  <a:gd name="connsiteX0" fmla="*/ 0 w 23336"/>
                  <a:gd name="connsiteY0" fmla="*/ 0 h 381"/>
                  <a:gd name="connsiteX1" fmla="*/ 23336 w 23336"/>
                  <a:gd name="connsiteY1" fmla="*/ 381 h 3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3336" h="381">
                    <a:moveTo>
                      <a:pt x="0" y="0"/>
                    </a:moveTo>
                    <a:lnTo>
                      <a:pt x="23336" y="381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258" name="Gráfico 4">
            <a:extLst>
              <a:ext uri="{FF2B5EF4-FFF2-40B4-BE49-F238E27FC236}">
                <a16:creationId xmlns:a16="http://schemas.microsoft.com/office/drawing/2014/main" id="{660B7242-F022-1370-60A7-D1CB8CB8F93A}"/>
              </a:ext>
            </a:extLst>
          </p:cNvPr>
          <p:cNvGrpSpPr/>
          <p:nvPr/>
        </p:nvGrpSpPr>
        <p:grpSpPr>
          <a:xfrm>
            <a:off x="3230268" y="1001482"/>
            <a:ext cx="263496" cy="302680"/>
            <a:chOff x="3230268" y="1001482"/>
            <a:chExt cx="263496" cy="302680"/>
          </a:xfrm>
          <a:noFill/>
        </p:grpSpPr>
        <p:grpSp>
          <p:nvGrpSpPr>
            <p:cNvPr id="259" name="Gráfico 4">
              <a:extLst>
                <a:ext uri="{FF2B5EF4-FFF2-40B4-BE49-F238E27FC236}">
                  <a16:creationId xmlns:a16="http://schemas.microsoft.com/office/drawing/2014/main" id="{21EC34B3-BC95-0536-F21C-E95BF5BD18BF}"/>
                </a:ext>
              </a:extLst>
            </p:cNvPr>
            <p:cNvGrpSpPr/>
            <p:nvPr/>
          </p:nvGrpSpPr>
          <p:grpSpPr>
            <a:xfrm>
              <a:off x="3255710" y="1094899"/>
              <a:ext cx="93535" cy="122539"/>
              <a:chOff x="3255710" y="1094899"/>
              <a:chExt cx="93535" cy="122539"/>
            </a:xfrm>
            <a:noFill/>
          </p:grpSpPr>
          <p:sp>
            <p:nvSpPr>
              <p:cNvPr id="260" name="Forma livre: Forma 259">
                <a:extLst>
                  <a:ext uri="{FF2B5EF4-FFF2-40B4-BE49-F238E27FC236}">
                    <a16:creationId xmlns:a16="http://schemas.microsoft.com/office/drawing/2014/main" id="{40A4C7D3-0AE6-C2EF-E24E-287E32B4B3A9}"/>
                  </a:ext>
                </a:extLst>
              </p:cNvPr>
              <p:cNvSpPr/>
              <p:nvPr/>
            </p:nvSpPr>
            <p:spPr>
              <a:xfrm>
                <a:off x="3255710" y="1102709"/>
                <a:ext cx="85725" cy="114728"/>
              </a:xfrm>
              <a:custGeom>
                <a:avLst/>
                <a:gdLst>
                  <a:gd name="connsiteX0" fmla="*/ 85725 w 85725"/>
                  <a:gd name="connsiteY0" fmla="*/ 0 h 114728"/>
                  <a:gd name="connsiteX1" fmla="*/ 17145 w 85725"/>
                  <a:gd name="connsiteY1" fmla="*/ 68580 h 114728"/>
                  <a:gd name="connsiteX2" fmla="*/ 9477 w 85725"/>
                  <a:gd name="connsiteY2" fmla="*/ 90392 h 114728"/>
                  <a:gd name="connsiteX3" fmla="*/ 0 w 85725"/>
                  <a:gd name="connsiteY3" fmla="*/ 114729 h 1147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5725" h="114728">
                    <a:moveTo>
                      <a:pt x="85725" y="0"/>
                    </a:moveTo>
                    <a:lnTo>
                      <a:pt x="17145" y="68580"/>
                    </a:lnTo>
                    <a:cubicBezTo>
                      <a:pt x="17145" y="68580"/>
                      <a:pt x="8334" y="76533"/>
                      <a:pt x="9477" y="90392"/>
                    </a:cubicBezTo>
                    <a:cubicBezTo>
                      <a:pt x="9477" y="90392"/>
                      <a:pt x="10049" y="104680"/>
                      <a:pt x="0" y="114729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61" name="Forma livre: Forma 260">
                <a:extLst>
                  <a:ext uri="{FF2B5EF4-FFF2-40B4-BE49-F238E27FC236}">
                    <a16:creationId xmlns:a16="http://schemas.microsoft.com/office/drawing/2014/main" id="{92AC28BD-E77C-B8D4-5AF0-57B656F5209A}"/>
                  </a:ext>
                </a:extLst>
              </p:cNvPr>
              <p:cNvSpPr/>
              <p:nvPr/>
            </p:nvSpPr>
            <p:spPr>
              <a:xfrm>
                <a:off x="3304192" y="1094899"/>
                <a:ext cx="45053" cy="45053"/>
              </a:xfrm>
              <a:custGeom>
                <a:avLst/>
                <a:gdLst>
                  <a:gd name="connsiteX0" fmla="*/ 45053 w 45053"/>
                  <a:gd name="connsiteY0" fmla="*/ 0 h 45053"/>
                  <a:gd name="connsiteX1" fmla="*/ 0 w 45053"/>
                  <a:gd name="connsiteY1" fmla="*/ 45053 h 450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5053" h="45053">
                    <a:moveTo>
                      <a:pt x="45053" y="0"/>
                    </a:moveTo>
                    <a:lnTo>
                      <a:pt x="0" y="45053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262" name="Forma livre: Forma 261">
              <a:extLst>
                <a:ext uri="{FF2B5EF4-FFF2-40B4-BE49-F238E27FC236}">
                  <a16:creationId xmlns:a16="http://schemas.microsoft.com/office/drawing/2014/main" id="{A229DEC1-6323-A714-0439-C9080E117161}"/>
                </a:ext>
              </a:extLst>
            </p:cNvPr>
            <p:cNvSpPr/>
            <p:nvPr/>
          </p:nvSpPr>
          <p:spPr>
            <a:xfrm>
              <a:off x="3230268" y="1245346"/>
              <a:ext cx="40026" cy="58816"/>
            </a:xfrm>
            <a:custGeom>
              <a:avLst/>
              <a:gdLst>
                <a:gd name="connsiteX0" fmla="*/ 33015 w 40026"/>
                <a:gd name="connsiteY0" fmla="*/ 21145 h 58816"/>
                <a:gd name="connsiteX1" fmla="*/ 19918 w 40026"/>
                <a:gd name="connsiteY1" fmla="*/ 0 h 58816"/>
                <a:gd name="connsiteX2" fmla="*/ 19394 w 40026"/>
                <a:gd name="connsiteY2" fmla="*/ 1953 h 58816"/>
                <a:gd name="connsiteX3" fmla="*/ 6821 w 40026"/>
                <a:gd name="connsiteY3" fmla="*/ 21145 h 58816"/>
                <a:gd name="connsiteX4" fmla="*/ 19823 w 40026"/>
                <a:gd name="connsiteY4" fmla="*/ 58817 h 58816"/>
                <a:gd name="connsiteX5" fmla="*/ 20013 w 40026"/>
                <a:gd name="connsiteY5" fmla="*/ 58817 h 58816"/>
                <a:gd name="connsiteX6" fmla="*/ 33015 w 40026"/>
                <a:gd name="connsiteY6" fmla="*/ 21145 h 588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0026" h="58816">
                  <a:moveTo>
                    <a:pt x="33015" y="21145"/>
                  </a:moveTo>
                  <a:cubicBezTo>
                    <a:pt x="21109" y="7191"/>
                    <a:pt x="20013" y="714"/>
                    <a:pt x="19918" y="0"/>
                  </a:cubicBezTo>
                  <a:lnTo>
                    <a:pt x="19394" y="1953"/>
                  </a:lnTo>
                  <a:cubicBezTo>
                    <a:pt x="19299" y="2619"/>
                    <a:pt x="18394" y="6810"/>
                    <a:pt x="6821" y="21145"/>
                  </a:cubicBezTo>
                  <a:cubicBezTo>
                    <a:pt x="-6657" y="37814"/>
                    <a:pt x="963" y="57864"/>
                    <a:pt x="19823" y="58817"/>
                  </a:cubicBezTo>
                  <a:lnTo>
                    <a:pt x="20013" y="58817"/>
                  </a:lnTo>
                  <a:cubicBezTo>
                    <a:pt x="38873" y="57864"/>
                    <a:pt x="46922" y="37433"/>
                    <a:pt x="33015" y="21145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263" name="Gráfico 4">
              <a:extLst>
                <a:ext uri="{FF2B5EF4-FFF2-40B4-BE49-F238E27FC236}">
                  <a16:creationId xmlns:a16="http://schemas.microsoft.com/office/drawing/2014/main" id="{3E6555D5-5FC3-1949-9CC5-70B22DC7F8AB}"/>
                </a:ext>
              </a:extLst>
            </p:cNvPr>
            <p:cNvGrpSpPr/>
            <p:nvPr/>
          </p:nvGrpSpPr>
          <p:grpSpPr>
            <a:xfrm>
              <a:off x="3274855" y="1143095"/>
              <a:ext cx="122539" cy="93487"/>
              <a:chOff x="3274855" y="1143095"/>
              <a:chExt cx="122539" cy="93487"/>
            </a:xfrm>
            <a:noFill/>
          </p:grpSpPr>
          <p:sp>
            <p:nvSpPr>
              <p:cNvPr id="264" name="Forma livre: Forma 263">
                <a:extLst>
                  <a:ext uri="{FF2B5EF4-FFF2-40B4-BE49-F238E27FC236}">
                    <a16:creationId xmlns:a16="http://schemas.microsoft.com/office/drawing/2014/main" id="{25781EAF-9E49-0F86-59C8-0830FDF0D197}"/>
                  </a:ext>
                </a:extLst>
              </p:cNvPr>
              <p:cNvSpPr/>
              <p:nvPr/>
            </p:nvSpPr>
            <p:spPr>
              <a:xfrm>
                <a:off x="3274855" y="1150858"/>
                <a:ext cx="114728" cy="85725"/>
              </a:xfrm>
              <a:custGeom>
                <a:avLst/>
                <a:gdLst>
                  <a:gd name="connsiteX0" fmla="*/ 114729 w 114728"/>
                  <a:gd name="connsiteY0" fmla="*/ 0 h 85725"/>
                  <a:gd name="connsiteX1" fmla="*/ 46149 w 114728"/>
                  <a:gd name="connsiteY1" fmla="*/ 68580 h 85725"/>
                  <a:gd name="connsiteX2" fmla="*/ 24336 w 114728"/>
                  <a:gd name="connsiteY2" fmla="*/ 76248 h 85725"/>
                  <a:gd name="connsiteX3" fmla="*/ 0 w 114728"/>
                  <a:gd name="connsiteY3" fmla="*/ 85725 h 857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4728" h="85725">
                    <a:moveTo>
                      <a:pt x="114729" y="0"/>
                    </a:moveTo>
                    <a:lnTo>
                      <a:pt x="46149" y="68580"/>
                    </a:lnTo>
                    <a:cubicBezTo>
                      <a:pt x="46149" y="68580"/>
                      <a:pt x="38195" y="77391"/>
                      <a:pt x="24336" y="76248"/>
                    </a:cubicBezTo>
                    <a:cubicBezTo>
                      <a:pt x="24336" y="76248"/>
                      <a:pt x="10049" y="75629"/>
                      <a:pt x="0" y="85725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65" name="Forma livre: Forma 264">
                <a:extLst>
                  <a:ext uri="{FF2B5EF4-FFF2-40B4-BE49-F238E27FC236}">
                    <a16:creationId xmlns:a16="http://schemas.microsoft.com/office/drawing/2014/main" id="{463E8D89-01F0-707B-1FED-C8EBE6A250BE}"/>
                  </a:ext>
                </a:extLst>
              </p:cNvPr>
              <p:cNvSpPr/>
              <p:nvPr/>
            </p:nvSpPr>
            <p:spPr>
              <a:xfrm>
                <a:off x="3352341" y="1143095"/>
                <a:ext cx="45053" cy="45005"/>
              </a:xfrm>
              <a:custGeom>
                <a:avLst/>
                <a:gdLst>
                  <a:gd name="connsiteX0" fmla="*/ 45053 w 45053"/>
                  <a:gd name="connsiteY0" fmla="*/ 0 h 45005"/>
                  <a:gd name="connsiteX1" fmla="*/ 0 w 45053"/>
                  <a:gd name="connsiteY1" fmla="*/ 45006 h 450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5053" h="45005">
                    <a:moveTo>
                      <a:pt x="45053" y="0"/>
                    </a:moveTo>
                    <a:lnTo>
                      <a:pt x="0" y="45006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266" name="Forma livre: Forma 265">
              <a:extLst>
                <a:ext uri="{FF2B5EF4-FFF2-40B4-BE49-F238E27FC236}">
                  <a16:creationId xmlns:a16="http://schemas.microsoft.com/office/drawing/2014/main" id="{6F3F60B5-0C95-B76E-9094-F0F1BE0DF987}"/>
                </a:ext>
              </a:extLst>
            </p:cNvPr>
            <p:cNvSpPr/>
            <p:nvPr/>
          </p:nvSpPr>
          <p:spPr>
            <a:xfrm>
              <a:off x="3350448" y="1001482"/>
              <a:ext cx="128528" cy="103131"/>
            </a:xfrm>
            <a:custGeom>
              <a:avLst/>
              <a:gdLst>
                <a:gd name="connsiteX0" fmla="*/ 40565 w 128528"/>
                <a:gd name="connsiteY0" fmla="*/ 103132 h 103131"/>
                <a:gd name="connsiteX1" fmla="*/ 4179 w 128528"/>
                <a:gd name="connsiteY1" fmla="*/ 66746 h 103131"/>
                <a:gd name="connsiteX2" fmla="*/ 4179 w 128528"/>
                <a:gd name="connsiteY2" fmla="*/ 46553 h 103131"/>
                <a:gd name="connsiteX3" fmla="*/ 4417 w 128528"/>
                <a:gd name="connsiteY3" fmla="*/ 46315 h 103131"/>
                <a:gd name="connsiteX4" fmla="*/ 24610 w 128528"/>
                <a:gd name="connsiteY4" fmla="*/ 46315 h 103131"/>
                <a:gd name="connsiteX5" fmla="*/ 40565 w 128528"/>
                <a:gd name="connsiteY5" fmla="*/ 62270 h 103131"/>
                <a:gd name="connsiteX6" fmla="*/ 43232 w 128528"/>
                <a:gd name="connsiteY6" fmla="*/ 59603 h 103131"/>
                <a:gd name="connsiteX7" fmla="*/ 57186 w 128528"/>
                <a:gd name="connsiteY7" fmla="*/ 14788 h 103131"/>
                <a:gd name="connsiteX8" fmla="*/ 128528 w 128528"/>
                <a:gd name="connsiteY8" fmla="*/ 14788 h 1031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28528" h="103131">
                  <a:moveTo>
                    <a:pt x="40565" y="103132"/>
                  </a:moveTo>
                  <a:lnTo>
                    <a:pt x="4179" y="66746"/>
                  </a:lnTo>
                  <a:cubicBezTo>
                    <a:pt x="-1393" y="61174"/>
                    <a:pt x="-1393" y="52078"/>
                    <a:pt x="4179" y="46553"/>
                  </a:cubicBezTo>
                  <a:lnTo>
                    <a:pt x="4417" y="46315"/>
                  </a:lnTo>
                  <a:cubicBezTo>
                    <a:pt x="9989" y="40743"/>
                    <a:pt x="19086" y="40743"/>
                    <a:pt x="24610" y="46315"/>
                  </a:cubicBezTo>
                  <a:lnTo>
                    <a:pt x="40565" y="62270"/>
                  </a:lnTo>
                  <a:lnTo>
                    <a:pt x="43232" y="59603"/>
                  </a:lnTo>
                  <a:cubicBezTo>
                    <a:pt x="40327" y="43839"/>
                    <a:pt x="44994" y="26980"/>
                    <a:pt x="57186" y="14788"/>
                  </a:cubicBezTo>
                  <a:cubicBezTo>
                    <a:pt x="76903" y="-4929"/>
                    <a:pt x="108859" y="-4929"/>
                    <a:pt x="128528" y="14788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67" name="Forma livre: Forma 266">
              <a:extLst>
                <a:ext uri="{FF2B5EF4-FFF2-40B4-BE49-F238E27FC236}">
                  <a16:creationId xmlns:a16="http://schemas.microsoft.com/office/drawing/2014/main" id="{FD093854-AE77-B044-7BBA-A0A70E5A9FD4}"/>
                </a:ext>
              </a:extLst>
            </p:cNvPr>
            <p:cNvSpPr/>
            <p:nvPr/>
          </p:nvSpPr>
          <p:spPr>
            <a:xfrm>
              <a:off x="3383488" y="1016174"/>
              <a:ext cx="110275" cy="128575"/>
            </a:xfrm>
            <a:custGeom>
              <a:avLst/>
              <a:gdLst>
                <a:gd name="connsiteX0" fmla="*/ 0 w 110275"/>
                <a:gd name="connsiteY0" fmla="*/ 80915 h 128575"/>
                <a:gd name="connsiteX1" fmla="*/ 43482 w 110275"/>
                <a:gd name="connsiteY1" fmla="*/ 124397 h 128575"/>
                <a:gd name="connsiteX2" fmla="*/ 63675 w 110275"/>
                <a:gd name="connsiteY2" fmla="*/ 124397 h 128575"/>
                <a:gd name="connsiteX3" fmla="*/ 63913 w 110275"/>
                <a:gd name="connsiteY3" fmla="*/ 124158 h 128575"/>
                <a:gd name="connsiteX4" fmla="*/ 63913 w 110275"/>
                <a:gd name="connsiteY4" fmla="*/ 103965 h 128575"/>
                <a:gd name="connsiteX5" fmla="*/ 47958 w 110275"/>
                <a:gd name="connsiteY5" fmla="*/ 88011 h 128575"/>
                <a:gd name="connsiteX6" fmla="*/ 50625 w 110275"/>
                <a:gd name="connsiteY6" fmla="*/ 85344 h 128575"/>
                <a:gd name="connsiteX7" fmla="*/ 95488 w 110275"/>
                <a:gd name="connsiteY7" fmla="*/ 71390 h 128575"/>
                <a:gd name="connsiteX8" fmla="*/ 95488 w 110275"/>
                <a:gd name="connsiteY8" fmla="*/ 0 h 1285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0275" h="128575">
                  <a:moveTo>
                    <a:pt x="0" y="80915"/>
                  </a:moveTo>
                  <a:lnTo>
                    <a:pt x="43482" y="124397"/>
                  </a:lnTo>
                  <a:cubicBezTo>
                    <a:pt x="49054" y="129969"/>
                    <a:pt x="58150" y="129969"/>
                    <a:pt x="63675" y="124397"/>
                  </a:cubicBezTo>
                  <a:lnTo>
                    <a:pt x="63913" y="124158"/>
                  </a:lnTo>
                  <a:cubicBezTo>
                    <a:pt x="69485" y="118586"/>
                    <a:pt x="69485" y="109490"/>
                    <a:pt x="63913" y="103965"/>
                  </a:cubicBezTo>
                  <a:lnTo>
                    <a:pt x="47958" y="88011"/>
                  </a:lnTo>
                  <a:lnTo>
                    <a:pt x="50625" y="85344"/>
                  </a:lnTo>
                  <a:cubicBezTo>
                    <a:pt x="66389" y="88249"/>
                    <a:pt x="83249" y="83582"/>
                    <a:pt x="95488" y="71390"/>
                  </a:cubicBezTo>
                  <a:cubicBezTo>
                    <a:pt x="115205" y="51673"/>
                    <a:pt x="115205" y="19717"/>
                    <a:pt x="95488" y="0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268" name="Gráfico 4">
            <a:extLst>
              <a:ext uri="{FF2B5EF4-FFF2-40B4-BE49-F238E27FC236}">
                <a16:creationId xmlns:a16="http://schemas.microsoft.com/office/drawing/2014/main" id="{33EEB4EB-64E1-7DCB-03D8-9E13079CF3D6}"/>
              </a:ext>
            </a:extLst>
          </p:cNvPr>
          <p:cNvGrpSpPr/>
          <p:nvPr/>
        </p:nvGrpSpPr>
        <p:grpSpPr>
          <a:xfrm>
            <a:off x="3242302" y="1558942"/>
            <a:ext cx="239414" cy="259437"/>
            <a:chOff x="3242302" y="1558942"/>
            <a:chExt cx="239414" cy="259437"/>
          </a:xfrm>
          <a:noFill/>
        </p:grpSpPr>
        <p:grpSp>
          <p:nvGrpSpPr>
            <p:cNvPr id="269" name="Gráfico 4">
              <a:extLst>
                <a:ext uri="{FF2B5EF4-FFF2-40B4-BE49-F238E27FC236}">
                  <a16:creationId xmlns:a16="http://schemas.microsoft.com/office/drawing/2014/main" id="{752FD632-3F1B-FCE7-25E1-80BF5386659E}"/>
                </a:ext>
              </a:extLst>
            </p:cNvPr>
            <p:cNvGrpSpPr/>
            <p:nvPr/>
          </p:nvGrpSpPr>
          <p:grpSpPr>
            <a:xfrm>
              <a:off x="3292239" y="1616583"/>
              <a:ext cx="139493" cy="15049"/>
              <a:chOff x="3292239" y="1616583"/>
              <a:chExt cx="139493" cy="15049"/>
            </a:xfrm>
            <a:noFill/>
          </p:grpSpPr>
          <p:sp>
            <p:nvSpPr>
              <p:cNvPr id="270" name="Forma livre: Forma 269">
                <a:extLst>
                  <a:ext uri="{FF2B5EF4-FFF2-40B4-BE49-F238E27FC236}">
                    <a16:creationId xmlns:a16="http://schemas.microsoft.com/office/drawing/2014/main" id="{94C6414D-798E-278D-FE64-6ED2886330E0}"/>
                  </a:ext>
                </a:extLst>
              </p:cNvPr>
              <p:cNvSpPr/>
              <p:nvPr/>
            </p:nvSpPr>
            <p:spPr>
              <a:xfrm>
                <a:off x="3393061" y="1616583"/>
                <a:ext cx="38671" cy="15049"/>
              </a:xfrm>
              <a:custGeom>
                <a:avLst/>
                <a:gdLst>
                  <a:gd name="connsiteX0" fmla="*/ 0 w 38671"/>
                  <a:gd name="connsiteY0" fmla="*/ 15050 h 15049"/>
                  <a:gd name="connsiteX1" fmla="*/ 19336 w 38671"/>
                  <a:gd name="connsiteY1" fmla="*/ 0 h 15049"/>
                  <a:gd name="connsiteX2" fmla="*/ 38671 w 38671"/>
                  <a:gd name="connsiteY2" fmla="*/ 15050 h 150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8671" h="15049">
                    <a:moveTo>
                      <a:pt x="0" y="15050"/>
                    </a:moveTo>
                    <a:cubicBezTo>
                      <a:pt x="2238" y="6429"/>
                      <a:pt x="10001" y="0"/>
                      <a:pt x="19336" y="0"/>
                    </a:cubicBezTo>
                    <a:cubicBezTo>
                      <a:pt x="28670" y="0"/>
                      <a:pt x="36433" y="6429"/>
                      <a:pt x="38671" y="15050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71" name="Forma livre: Forma 270">
                <a:extLst>
                  <a:ext uri="{FF2B5EF4-FFF2-40B4-BE49-F238E27FC236}">
                    <a16:creationId xmlns:a16="http://schemas.microsoft.com/office/drawing/2014/main" id="{37AF8646-E780-E7E2-12D4-8294C1159897}"/>
                  </a:ext>
                </a:extLst>
              </p:cNvPr>
              <p:cNvSpPr/>
              <p:nvPr/>
            </p:nvSpPr>
            <p:spPr>
              <a:xfrm>
                <a:off x="3292239" y="1616583"/>
                <a:ext cx="38671" cy="15049"/>
              </a:xfrm>
              <a:custGeom>
                <a:avLst/>
                <a:gdLst>
                  <a:gd name="connsiteX0" fmla="*/ 0 w 38671"/>
                  <a:gd name="connsiteY0" fmla="*/ 15050 h 15049"/>
                  <a:gd name="connsiteX1" fmla="*/ 19336 w 38671"/>
                  <a:gd name="connsiteY1" fmla="*/ 0 h 15049"/>
                  <a:gd name="connsiteX2" fmla="*/ 38671 w 38671"/>
                  <a:gd name="connsiteY2" fmla="*/ 15050 h 150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8671" h="15049">
                    <a:moveTo>
                      <a:pt x="0" y="15050"/>
                    </a:moveTo>
                    <a:cubicBezTo>
                      <a:pt x="2238" y="6429"/>
                      <a:pt x="10001" y="0"/>
                      <a:pt x="19336" y="0"/>
                    </a:cubicBezTo>
                    <a:cubicBezTo>
                      <a:pt x="28670" y="0"/>
                      <a:pt x="36433" y="6429"/>
                      <a:pt x="38671" y="15050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272" name="Gráfico 4">
              <a:extLst>
                <a:ext uri="{FF2B5EF4-FFF2-40B4-BE49-F238E27FC236}">
                  <a16:creationId xmlns:a16="http://schemas.microsoft.com/office/drawing/2014/main" id="{F8F122EA-13BF-742E-9A15-4FDA745EAEF7}"/>
                </a:ext>
              </a:extLst>
            </p:cNvPr>
            <p:cNvGrpSpPr/>
            <p:nvPr/>
          </p:nvGrpSpPr>
          <p:grpSpPr>
            <a:xfrm>
              <a:off x="3242302" y="1558942"/>
              <a:ext cx="239414" cy="259437"/>
              <a:chOff x="3242302" y="1558942"/>
              <a:chExt cx="239414" cy="259437"/>
            </a:xfrm>
            <a:noFill/>
          </p:grpSpPr>
          <p:sp>
            <p:nvSpPr>
              <p:cNvPr id="273" name="Forma livre: Forma 272">
                <a:extLst>
                  <a:ext uri="{FF2B5EF4-FFF2-40B4-BE49-F238E27FC236}">
                    <a16:creationId xmlns:a16="http://schemas.microsoft.com/office/drawing/2014/main" id="{0FCFE92B-701E-3B7F-80A2-6F9AE99EEB8A}"/>
                  </a:ext>
                </a:extLst>
              </p:cNvPr>
              <p:cNvSpPr/>
              <p:nvPr/>
            </p:nvSpPr>
            <p:spPr>
              <a:xfrm>
                <a:off x="3242302" y="1558942"/>
                <a:ext cx="153044" cy="259390"/>
              </a:xfrm>
              <a:custGeom>
                <a:avLst/>
                <a:gdLst>
                  <a:gd name="connsiteX0" fmla="*/ 153045 w 153044"/>
                  <a:gd name="connsiteY0" fmla="*/ 35781 h 259390"/>
                  <a:gd name="connsiteX1" fmla="*/ 115516 w 153044"/>
                  <a:gd name="connsiteY1" fmla="*/ 20731 h 259390"/>
                  <a:gd name="connsiteX2" fmla="*/ 27458 w 153044"/>
                  <a:gd name="connsiteY2" fmla="*/ 13540 h 259390"/>
                  <a:gd name="connsiteX3" fmla="*/ 25410 w 153044"/>
                  <a:gd name="connsiteY3" fmla="*/ 15159 h 259390"/>
                  <a:gd name="connsiteX4" fmla="*/ 12361 w 153044"/>
                  <a:gd name="connsiteY4" fmla="*/ 106599 h 259390"/>
                  <a:gd name="connsiteX5" fmla="*/ 25410 w 153044"/>
                  <a:gd name="connsiteY5" fmla="*/ 124649 h 259390"/>
                  <a:gd name="connsiteX6" fmla="*/ 39459 w 153044"/>
                  <a:gd name="connsiteY6" fmla="*/ 141794 h 259390"/>
                  <a:gd name="connsiteX7" fmla="*/ 39840 w 153044"/>
                  <a:gd name="connsiteY7" fmla="*/ 142175 h 259390"/>
                  <a:gd name="connsiteX8" fmla="*/ 50222 w 153044"/>
                  <a:gd name="connsiteY8" fmla="*/ 216613 h 259390"/>
                  <a:gd name="connsiteX9" fmla="*/ 76559 w 153044"/>
                  <a:gd name="connsiteY9" fmla="*/ 256046 h 259390"/>
                  <a:gd name="connsiteX10" fmla="*/ 89370 w 153044"/>
                  <a:gd name="connsiteY10" fmla="*/ 259332 h 259390"/>
                  <a:gd name="connsiteX11" fmla="*/ 99514 w 153044"/>
                  <a:gd name="connsiteY11" fmla="*/ 208802 h 259390"/>
                  <a:gd name="connsiteX12" fmla="*/ 119422 w 153044"/>
                  <a:gd name="connsiteY12" fmla="*/ 156796 h 2593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53044" h="259390">
                    <a:moveTo>
                      <a:pt x="153045" y="35781"/>
                    </a:moveTo>
                    <a:cubicBezTo>
                      <a:pt x="129756" y="32209"/>
                      <a:pt x="115516" y="20731"/>
                      <a:pt x="115516" y="20731"/>
                    </a:cubicBezTo>
                    <a:cubicBezTo>
                      <a:pt x="88799" y="-2367"/>
                      <a:pt x="55318" y="-8130"/>
                      <a:pt x="27458" y="13540"/>
                    </a:cubicBezTo>
                    <a:lnTo>
                      <a:pt x="25410" y="15159"/>
                    </a:lnTo>
                    <a:cubicBezTo>
                      <a:pt x="-2451" y="36828"/>
                      <a:pt x="-8309" y="77976"/>
                      <a:pt x="12361" y="106599"/>
                    </a:cubicBezTo>
                    <a:lnTo>
                      <a:pt x="25410" y="124649"/>
                    </a:lnTo>
                    <a:cubicBezTo>
                      <a:pt x="30744" y="131793"/>
                      <a:pt x="31934" y="132793"/>
                      <a:pt x="39459" y="141794"/>
                    </a:cubicBezTo>
                    <a:lnTo>
                      <a:pt x="39840" y="142175"/>
                    </a:lnTo>
                    <a:cubicBezTo>
                      <a:pt x="39840" y="142175"/>
                      <a:pt x="49365" y="148795"/>
                      <a:pt x="50222" y="216613"/>
                    </a:cubicBezTo>
                    <a:cubicBezTo>
                      <a:pt x="50222" y="216613"/>
                      <a:pt x="50222" y="246950"/>
                      <a:pt x="76559" y="256046"/>
                    </a:cubicBezTo>
                    <a:cubicBezTo>
                      <a:pt x="76559" y="256046"/>
                      <a:pt x="84751" y="259904"/>
                      <a:pt x="89370" y="259332"/>
                    </a:cubicBezTo>
                    <a:cubicBezTo>
                      <a:pt x="98705" y="258190"/>
                      <a:pt x="100467" y="244664"/>
                      <a:pt x="99514" y="208802"/>
                    </a:cubicBezTo>
                    <a:cubicBezTo>
                      <a:pt x="99514" y="208802"/>
                      <a:pt x="97514" y="156796"/>
                      <a:pt x="119422" y="156796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74" name="Forma livre: Forma 273">
                <a:extLst>
                  <a:ext uri="{FF2B5EF4-FFF2-40B4-BE49-F238E27FC236}">
                    <a16:creationId xmlns:a16="http://schemas.microsoft.com/office/drawing/2014/main" id="{CADEDEA8-C1FA-3F19-E71F-E586F300686F}"/>
                  </a:ext>
                </a:extLst>
              </p:cNvPr>
              <p:cNvSpPr/>
              <p:nvPr/>
            </p:nvSpPr>
            <p:spPr>
              <a:xfrm>
                <a:off x="3362295" y="1558995"/>
                <a:ext cx="119421" cy="259385"/>
              </a:xfrm>
              <a:custGeom>
                <a:avLst/>
                <a:gdLst>
                  <a:gd name="connsiteX0" fmla="*/ 22003 w 119421"/>
                  <a:gd name="connsiteY0" fmla="*/ 8296 h 259385"/>
                  <a:gd name="connsiteX1" fmla="*/ 91964 w 119421"/>
                  <a:gd name="connsiteY1" fmla="*/ 13535 h 259385"/>
                  <a:gd name="connsiteX2" fmla="*/ 94012 w 119421"/>
                  <a:gd name="connsiteY2" fmla="*/ 15154 h 259385"/>
                  <a:gd name="connsiteX3" fmla="*/ 107061 w 119421"/>
                  <a:gd name="connsiteY3" fmla="*/ 106594 h 259385"/>
                  <a:gd name="connsiteX4" fmla="*/ 94012 w 119421"/>
                  <a:gd name="connsiteY4" fmla="*/ 124644 h 259385"/>
                  <a:gd name="connsiteX5" fmla="*/ 79962 w 119421"/>
                  <a:gd name="connsiteY5" fmla="*/ 141789 h 259385"/>
                  <a:gd name="connsiteX6" fmla="*/ 79581 w 119421"/>
                  <a:gd name="connsiteY6" fmla="*/ 142170 h 259385"/>
                  <a:gd name="connsiteX7" fmla="*/ 69199 w 119421"/>
                  <a:gd name="connsiteY7" fmla="*/ 216608 h 259385"/>
                  <a:gd name="connsiteX8" fmla="*/ 42863 w 119421"/>
                  <a:gd name="connsiteY8" fmla="*/ 256042 h 259385"/>
                  <a:gd name="connsiteX9" fmla="*/ 30051 w 119421"/>
                  <a:gd name="connsiteY9" fmla="*/ 259328 h 259385"/>
                  <a:gd name="connsiteX10" fmla="*/ 19907 w 119421"/>
                  <a:gd name="connsiteY10" fmla="*/ 208798 h 259385"/>
                  <a:gd name="connsiteX11" fmla="*/ 0 w 119421"/>
                  <a:gd name="connsiteY11" fmla="*/ 156791 h 2593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19421" h="259385">
                    <a:moveTo>
                      <a:pt x="22003" y="8296"/>
                    </a:moveTo>
                    <a:cubicBezTo>
                      <a:pt x="44815" y="-3562"/>
                      <a:pt x="70104" y="-3467"/>
                      <a:pt x="91964" y="13535"/>
                    </a:cubicBezTo>
                    <a:lnTo>
                      <a:pt x="94012" y="15154"/>
                    </a:lnTo>
                    <a:cubicBezTo>
                      <a:pt x="121872" y="36824"/>
                      <a:pt x="127730" y="77972"/>
                      <a:pt x="107061" y="106594"/>
                    </a:cubicBezTo>
                    <a:lnTo>
                      <a:pt x="94012" y="124644"/>
                    </a:lnTo>
                    <a:cubicBezTo>
                      <a:pt x="88678" y="131788"/>
                      <a:pt x="87487" y="132788"/>
                      <a:pt x="79962" y="141789"/>
                    </a:cubicBezTo>
                    <a:lnTo>
                      <a:pt x="79581" y="142170"/>
                    </a:lnTo>
                    <a:cubicBezTo>
                      <a:pt x="79581" y="142170"/>
                      <a:pt x="70056" y="148790"/>
                      <a:pt x="69199" y="216608"/>
                    </a:cubicBezTo>
                    <a:cubicBezTo>
                      <a:pt x="69199" y="216608"/>
                      <a:pt x="69199" y="246945"/>
                      <a:pt x="42863" y="256042"/>
                    </a:cubicBezTo>
                    <a:cubicBezTo>
                      <a:pt x="42863" y="256042"/>
                      <a:pt x="34671" y="259899"/>
                      <a:pt x="30051" y="259328"/>
                    </a:cubicBezTo>
                    <a:cubicBezTo>
                      <a:pt x="20717" y="258185"/>
                      <a:pt x="18955" y="244659"/>
                      <a:pt x="19907" y="208798"/>
                    </a:cubicBezTo>
                    <a:cubicBezTo>
                      <a:pt x="19907" y="208798"/>
                      <a:pt x="21908" y="156791"/>
                      <a:pt x="0" y="156791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275" name="Forma livre: Forma 274">
              <a:extLst>
                <a:ext uri="{FF2B5EF4-FFF2-40B4-BE49-F238E27FC236}">
                  <a16:creationId xmlns:a16="http://schemas.microsoft.com/office/drawing/2014/main" id="{1DE64C3E-3380-69F1-39E3-A25FA287C7E7}"/>
                </a:ext>
              </a:extLst>
            </p:cNvPr>
            <p:cNvSpPr/>
            <p:nvPr/>
          </p:nvSpPr>
          <p:spPr>
            <a:xfrm>
              <a:off x="3327719" y="1662208"/>
              <a:ext cx="68484" cy="16954"/>
            </a:xfrm>
            <a:custGeom>
              <a:avLst/>
              <a:gdLst>
                <a:gd name="connsiteX0" fmla="*/ 0 w 68484"/>
                <a:gd name="connsiteY0" fmla="*/ 0 h 16954"/>
                <a:gd name="connsiteX1" fmla="*/ 34242 w 68484"/>
                <a:gd name="connsiteY1" fmla="*/ 16954 h 16954"/>
                <a:gd name="connsiteX2" fmla="*/ 68485 w 68484"/>
                <a:gd name="connsiteY2" fmla="*/ 0 h 169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8484" h="16954">
                  <a:moveTo>
                    <a:pt x="0" y="0"/>
                  </a:moveTo>
                  <a:cubicBezTo>
                    <a:pt x="7144" y="10144"/>
                    <a:pt x="19812" y="16954"/>
                    <a:pt x="34242" y="16954"/>
                  </a:cubicBezTo>
                  <a:cubicBezTo>
                    <a:pt x="48673" y="16954"/>
                    <a:pt x="61341" y="10192"/>
                    <a:pt x="68485" y="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276" name="Gráfico 4">
            <a:extLst>
              <a:ext uri="{FF2B5EF4-FFF2-40B4-BE49-F238E27FC236}">
                <a16:creationId xmlns:a16="http://schemas.microsoft.com/office/drawing/2014/main" id="{FEF4065C-8C04-D3BC-A874-E2D399578767}"/>
              </a:ext>
            </a:extLst>
          </p:cNvPr>
          <p:cNvGrpSpPr/>
          <p:nvPr/>
        </p:nvGrpSpPr>
        <p:grpSpPr>
          <a:xfrm>
            <a:off x="3217563" y="2603230"/>
            <a:ext cx="288893" cy="282178"/>
            <a:chOff x="3217563" y="2603230"/>
            <a:chExt cx="288893" cy="282178"/>
          </a:xfrm>
        </p:grpSpPr>
        <p:sp>
          <p:nvSpPr>
            <p:cNvPr id="277" name="Forma livre: Forma 276">
              <a:extLst>
                <a:ext uri="{FF2B5EF4-FFF2-40B4-BE49-F238E27FC236}">
                  <a16:creationId xmlns:a16="http://schemas.microsoft.com/office/drawing/2014/main" id="{390DC759-486C-D672-4C5F-40104C4646DC}"/>
                </a:ext>
              </a:extLst>
            </p:cNvPr>
            <p:cNvSpPr/>
            <p:nvPr/>
          </p:nvSpPr>
          <p:spPr>
            <a:xfrm>
              <a:off x="3217563" y="2603230"/>
              <a:ext cx="288893" cy="282178"/>
            </a:xfrm>
            <a:custGeom>
              <a:avLst/>
              <a:gdLst>
                <a:gd name="connsiteX0" fmla="*/ 288893 w 288893"/>
                <a:gd name="connsiteY0" fmla="*/ 172403 h 282178"/>
                <a:gd name="connsiteX1" fmla="*/ 232029 w 288893"/>
                <a:gd name="connsiteY1" fmla="*/ 140161 h 282178"/>
                <a:gd name="connsiteX2" fmla="*/ 288179 w 288893"/>
                <a:gd name="connsiteY2" fmla="*/ 106680 h 282178"/>
                <a:gd name="connsiteX3" fmla="*/ 243030 w 288893"/>
                <a:gd name="connsiteY3" fmla="*/ 31004 h 282178"/>
                <a:gd name="connsiteX4" fmla="*/ 188500 w 288893"/>
                <a:gd name="connsiteY4" fmla="*/ 63532 h 282178"/>
                <a:gd name="connsiteX5" fmla="*/ 188500 w 288893"/>
                <a:gd name="connsiteY5" fmla="*/ 0 h 282178"/>
                <a:gd name="connsiteX6" fmla="*/ 100394 w 288893"/>
                <a:gd name="connsiteY6" fmla="*/ 0 h 282178"/>
                <a:gd name="connsiteX7" fmla="*/ 100394 w 288893"/>
                <a:gd name="connsiteY7" fmla="*/ 65484 h 282178"/>
                <a:gd name="connsiteX8" fmla="*/ 43434 w 288893"/>
                <a:gd name="connsiteY8" fmla="*/ 33195 h 282178"/>
                <a:gd name="connsiteX9" fmla="*/ 0 w 288893"/>
                <a:gd name="connsiteY9" fmla="*/ 109776 h 282178"/>
                <a:gd name="connsiteX10" fmla="*/ 56864 w 288893"/>
                <a:gd name="connsiteY10" fmla="*/ 142065 h 282178"/>
                <a:gd name="connsiteX11" fmla="*/ 714 w 288893"/>
                <a:gd name="connsiteY11" fmla="*/ 175546 h 282178"/>
                <a:gd name="connsiteX12" fmla="*/ 45815 w 288893"/>
                <a:gd name="connsiteY12" fmla="*/ 251174 h 282178"/>
                <a:gd name="connsiteX13" fmla="*/ 100394 w 288893"/>
                <a:gd name="connsiteY13" fmla="*/ 218646 h 282178"/>
                <a:gd name="connsiteX14" fmla="*/ 100394 w 288893"/>
                <a:gd name="connsiteY14" fmla="*/ 282178 h 282178"/>
                <a:gd name="connsiteX15" fmla="*/ 188500 w 288893"/>
                <a:gd name="connsiteY15" fmla="*/ 282178 h 282178"/>
                <a:gd name="connsiteX16" fmla="*/ 188500 w 288893"/>
                <a:gd name="connsiteY16" fmla="*/ 216741 h 282178"/>
                <a:gd name="connsiteX17" fmla="*/ 245412 w 288893"/>
                <a:gd name="connsiteY17" fmla="*/ 249031 h 282178"/>
                <a:gd name="connsiteX18" fmla="*/ 288893 w 288893"/>
                <a:gd name="connsiteY18" fmla="*/ 172403 h 2821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288893" h="282178">
                  <a:moveTo>
                    <a:pt x="288893" y="172403"/>
                  </a:moveTo>
                  <a:lnTo>
                    <a:pt x="232029" y="140161"/>
                  </a:lnTo>
                  <a:lnTo>
                    <a:pt x="288179" y="106680"/>
                  </a:lnTo>
                  <a:lnTo>
                    <a:pt x="243030" y="31004"/>
                  </a:lnTo>
                  <a:lnTo>
                    <a:pt x="188500" y="63532"/>
                  </a:lnTo>
                  <a:lnTo>
                    <a:pt x="188500" y="0"/>
                  </a:lnTo>
                  <a:lnTo>
                    <a:pt x="100394" y="0"/>
                  </a:lnTo>
                  <a:lnTo>
                    <a:pt x="100394" y="65484"/>
                  </a:lnTo>
                  <a:lnTo>
                    <a:pt x="43434" y="33195"/>
                  </a:lnTo>
                  <a:lnTo>
                    <a:pt x="0" y="109776"/>
                  </a:lnTo>
                  <a:lnTo>
                    <a:pt x="56864" y="142065"/>
                  </a:lnTo>
                  <a:lnTo>
                    <a:pt x="714" y="175546"/>
                  </a:lnTo>
                  <a:lnTo>
                    <a:pt x="45815" y="251174"/>
                  </a:lnTo>
                  <a:lnTo>
                    <a:pt x="100394" y="218646"/>
                  </a:lnTo>
                  <a:lnTo>
                    <a:pt x="100394" y="282178"/>
                  </a:lnTo>
                  <a:lnTo>
                    <a:pt x="188500" y="282178"/>
                  </a:lnTo>
                  <a:lnTo>
                    <a:pt x="188500" y="216741"/>
                  </a:lnTo>
                  <a:lnTo>
                    <a:pt x="245412" y="249031"/>
                  </a:lnTo>
                  <a:lnTo>
                    <a:pt x="288893" y="172403"/>
                  </a:ln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78" name="Forma livre: Forma 277">
              <a:extLst>
                <a:ext uri="{FF2B5EF4-FFF2-40B4-BE49-F238E27FC236}">
                  <a16:creationId xmlns:a16="http://schemas.microsoft.com/office/drawing/2014/main" id="{6F0FBA81-5A41-5C34-87E2-A1B598E94662}"/>
                </a:ext>
              </a:extLst>
            </p:cNvPr>
            <p:cNvSpPr/>
            <p:nvPr/>
          </p:nvSpPr>
          <p:spPr>
            <a:xfrm>
              <a:off x="3362009" y="2798064"/>
              <a:ext cx="4762" cy="46863"/>
            </a:xfrm>
            <a:custGeom>
              <a:avLst/>
              <a:gdLst>
                <a:gd name="connsiteX0" fmla="*/ 0 w 4762"/>
                <a:gd name="connsiteY0" fmla="*/ 0 h 46863"/>
                <a:gd name="connsiteX1" fmla="*/ 0 w 4762"/>
                <a:gd name="connsiteY1" fmla="*/ 46863 h 468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762" h="46863">
                  <a:moveTo>
                    <a:pt x="0" y="0"/>
                  </a:moveTo>
                  <a:lnTo>
                    <a:pt x="0" y="46863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79" name="Forma livre: Forma 278">
              <a:extLst>
                <a:ext uri="{FF2B5EF4-FFF2-40B4-BE49-F238E27FC236}">
                  <a16:creationId xmlns:a16="http://schemas.microsoft.com/office/drawing/2014/main" id="{1FBE177F-0966-93E0-AD93-A29923813C2E}"/>
                </a:ext>
              </a:extLst>
            </p:cNvPr>
            <p:cNvSpPr/>
            <p:nvPr/>
          </p:nvSpPr>
          <p:spPr>
            <a:xfrm>
              <a:off x="3362009" y="2711958"/>
              <a:ext cx="4762" cy="61436"/>
            </a:xfrm>
            <a:custGeom>
              <a:avLst/>
              <a:gdLst>
                <a:gd name="connsiteX0" fmla="*/ 0 w 4762"/>
                <a:gd name="connsiteY0" fmla="*/ 0 h 61436"/>
                <a:gd name="connsiteX1" fmla="*/ 0 w 4762"/>
                <a:gd name="connsiteY1" fmla="*/ 61436 h 614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762" h="61436">
                  <a:moveTo>
                    <a:pt x="0" y="0"/>
                  </a:moveTo>
                  <a:lnTo>
                    <a:pt x="0" y="61436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80" name="Forma livre: Forma 279">
              <a:extLst>
                <a:ext uri="{FF2B5EF4-FFF2-40B4-BE49-F238E27FC236}">
                  <a16:creationId xmlns:a16="http://schemas.microsoft.com/office/drawing/2014/main" id="{F70637DF-1EC6-CA32-7F3F-15307DAE319F}"/>
                </a:ext>
              </a:extLst>
            </p:cNvPr>
            <p:cNvSpPr/>
            <p:nvPr/>
          </p:nvSpPr>
          <p:spPr>
            <a:xfrm>
              <a:off x="3362009" y="2655951"/>
              <a:ext cx="4762" cy="32099"/>
            </a:xfrm>
            <a:custGeom>
              <a:avLst/>
              <a:gdLst>
                <a:gd name="connsiteX0" fmla="*/ 0 w 4762"/>
                <a:gd name="connsiteY0" fmla="*/ 0 h 32099"/>
                <a:gd name="connsiteX1" fmla="*/ 0 w 4762"/>
                <a:gd name="connsiteY1" fmla="*/ 32099 h 320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762" h="32099">
                  <a:moveTo>
                    <a:pt x="0" y="0"/>
                  </a:moveTo>
                  <a:lnTo>
                    <a:pt x="0" y="32099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81" name="Forma livre: Forma 280">
              <a:extLst>
                <a:ext uri="{FF2B5EF4-FFF2-40B4-BE49-F238E27FC236}">
                  <a16:creationId xmlns:a16="http://schemas.microsoft.com/office/drawing/2014/main" id="{E7F73D2F-0572-1C7D-4AAB-A824B79D7E7A}"/>
                </a:ext>
              </a:extLst>
            </p:cNvPr>
            <p:cNvSpPr/>
            <p:nvPr/>
          </p:nvSpPr>
          <p:spPr>
            <a:xfrm>
              <a:off x="3337956" y="2745486"/>
              <a:ext cx="57256" cy="87153"/>
            </a:xfrm>
            <a:custGeom>
              <a:avLst/>
              <a:gdLst>
                <a:gd name="connsiteX0" fmla="*/ 43294 w 57256"/>
                <a:gd name="connsiteY0" fmla="*/ 0 h 87153"/>
                <a:gd name="connsiteX1" fmla="*/ 47961 w 57256"/>
                <a:gd name="connsiteY1" fmla="*/ 19764 h 87153"/>
                <a:gd name="connsiteX2" fmla="*/ 11051 w 57256"/>
                <a:gd name="connsiteY2" fmla="*/ 34385 h 87153"/>
                <a:gd name="connsiteX3" fmla="*/ 13433 w 57256"/>
                <a:gd name="connsiteY3" fmla="*/ 66294 h 87153"/>
                <a:gd name="connsiteX4" fmla="*/ 41817 w 57256"/>
                <a:gd name="connsiteY4" fmla="*/ 87154 h 871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256" h="87153">
                  <a:moveTo>
                    <a:pt x="43294" y="0"/>
                  </a:moveTo>
                  <a:cubicBezTo>
                    <a:pt x="56200" y="5191"/>
                    <a:pt x="64677" y="12240"/>
                    <a:pt x="47961" y="19764"/>
                  </a:cubicBezTo>
                  <a:cubicBezTo>
                    <a:pt x="47961" y="19764"/>
                    <a:pt x="24148" y="27622"/>
                    <a:pt x="11051" y="34385"/>
                  </a:cubicBezTo>
                  <a:cubicBezTo>
                    <a:pt x="11051" y="34385"/>
                    <a:pt x="-15333" y="48101"/>
                    <a:pt x="13433" y="66294"/>
                  </a:cubicBezTo>
                  <a:cubicBezTo>
                    <a:pt x="13433" y="66294"/>
                    <a:pt x="25148" y="75057"/>
                    <a:pt x="41817" y="87154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82" name="Forma livre: Forma 281">
              <a:extLst>
                <a:ext uri="{FF2B5EF4-FFF2-40B4-BE49-F238E27FC236}">
                  <a16:creationId xmlns:a16="http://schemas.microsoft.com/office/drawing/2014/main" id="{27E1C8C3-F5E7-AA39-43B2-35EAFC6E63AB}"/>
                </a:ext>
              </a:extLst>
            </p:cNvPr>
            <p:cNvSpPr/>
            <p:nvPr/>
          </p:nvSpPr>
          <p:spPr>
            <a:xfrm>
              <a:off x="3332478" y="2687973"/>
              <a:ext cx="60963" cy="45511"/>
            </a:xfrm>
            <a:custGeom>
              <a:avLst/>
              <a:gdLst>
                <a:gd name="connsiteX0" fmla="*/ 60964 w 60963"/>
                <a:gd name="connsiteY0" fmla="*/ 3459 h 45511"/>
                <a:gd name="connsiteX1" fmla="*/ 8576 w 60963"/>
                <a:gd name="connsiteY1" fmla="*/ 11555 h 45511"/>
                <a:gd name="connsiteX2" fmla="*/ 9815 w 60963"/>
                <a:gd name="connsiteY2" fmla="*/ 45512 h 455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0963" h="45511">
                  <a:moveTo>
                    <a:pt x="60964" y="3459"/>
                  </a:moveTo>
                  <a:cubicBezTo>
                    <a:pt x="60964" y="3459"/>
                    <a:pt x="26055" y="-8304"/>
                    <a:pt x="8576" y="11555"/>
                  </a:cubicBezTo>
                  <a:cubicBezTo>
                    <a:pt x="8576" y="11555"/>
                    <a:pt x="-11521" y="33510"/>
                    <a:pt x="9815" y="45512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83" name="Forma livre: Forma 282">
              <a:extLst>
                <a:ext uri="{FF2B5EF4-FFF2-40B4-BE49-F238E27FC236}">
                  <a16:creationId xmlns:a16="http://schemas.microsoft.com/office/drawing/2014/main" id="{E395CB4B-FF15-0F0F-5343-33BADF59ADB9}"/>
                </a:ext>
              </a:extLst>
            </p:cNvPr>
            <p:cNvSpPr/>
            <p:nvPr/>
          </p:nvSpPr>
          <p:spPr>
            <a:xfrm>
              <a:off x="3354865" y="2647426"/>
              <a:ext cx="14287" cy="14287"/>
            </a:xfrm>
            <a:custGeom>
              <a:avLst/>
              <a:gdLst>
                <a:gd name="connsiteX0" fmla="*/ 14287 w 14287"/>
                <a:gd name="connsiteY0" fmla="*/ 7144 h 14287"/>
                <a:gd name="connsiteX1" fmla="*/ 7144 w 14287"/>
                <a:gd name="connsiteY1" fmla="*/ 14288 h 14287"/>
                <a:gd name="connsiteX2" fmla="*/ 0 w 14287"/>
                <a:gd name="connsiteY2" fmla="*/ 7144 h 14287"/>
                <a:gd name="connsiteX3" fmla="*/ 7144 w 14287"/>
                <a:gd name="connsiteY3" fmla="*/ 0 h 14287"/>
                <a:gd name="connsiteX4" fmla="*/ 14287 w 14287"/>
                <a:gd name="connsiteY4" fmla="*/ 7144 h 142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287" h="14287">
                  <a:moveTo>
                    <a:pt x="14287" y="7144"/>
                  </a:moveTo>
                  <a:cubicBezTo>
                    <a:pt x="14287" y="11089"/>
                    <a:pt x="11089" y="14288"/>
                    <a:pt x="7144" y="14288"/>
                  </a:cubicBezTo>
                  <a:cubicBezTo>
                    <a:pt x="3198" y="14288"/>
                    <a:pt x="0" y="11089"/>
                    <a:pt x="0" y="7144"/>
                  </a:cubicBezTo>
                  <a:cubicBezTo>
                    <a:pt x="0" y="3198"/>
                    <a:pt x="3198" y="0"/>
                    <a:pt x="7144" y="0"/>
                  </a:cubicBezTo>
                  <a:cubicBezTo>
                    <a:pt x="11089" y="0"/>
                    <a:pt x="14287" y="3198"/>
                    <a:pt x="14287" y="7144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284" name="Gráfico 4">
            <a:extLst>
              <a:ext uri="{FF2B5EF4-FFF2-40B4-BE49-F238E27FC236}">
                <a16:creationId xmlns:a16="http://schemas.microsoft.com/office/drawing/2014/main" id="{42B0D8D6-AAC9-2D25-EDD3-FFE9B63E2065}"/>
              </a:ext>
            </a:extLst>
          </p:cNvPr>
          <p:cNvGrpSpPr/>
          <p:nvPr/>
        </p:nvGrpSpPr>
        <p:grpSpPr>
          <a:xfrm>
            <a:off x="2602160" y="2079176"/>
            <a:ext cx="269347" cy="269347"/>
            <a:chOff x="2602160" y="2079176"/>
            <a:chExt cx="269347" cy="269347"/>
          </a:xfrm>
        </p:grpSpPr>
        <p:sp>
          <p:nvSpPr>
            <p:cNvPr id="285" name="Forma livre: Forma 284">
              <a:extLst>
                <a:ext uri="{FF2B5EF4-FFF2-40B4-BE49-F238E27FC236}">
                  <a16:creationId xmlns:a16="http://schemas.microsoft.com/office/drawing/2014/main" id="{F770E21F-9840-B6F6-54B4-D6295C5A6914}"/>
                </a:ext>
              </a:extLst>
            </p:cNvPr>
            <p:cNvSpPr/>
            <p:nvPr/>
          </p:nvSpPr>
          <p:spPr>
            <a:xfrm>
              <a:off x="2637680" y="2282047"/>
              <a:ext cx="30908" cy="30956"/>
            </a:xfrm>
            <a:custGeom>
              <a:avLst/>
              <a:gdLst>
                <a:gd name="connsiteX0" fmla="*/ 30909 w 30908"/>
                <a:gd name="connsiteY0" fmla="*/ 30956 h 30956"/>
                <a:gd name="connsiteX1" fmla="*/ 0 w 30908"/>
                <a:gd name="connsiteY1" fmla="*/ 0 h 309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0908" h="30956">
                  <a:moveTo>
                    <a:pt x="30909" y="30956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86" name="Forma livre: Forma 285">
              <a:extLst>
                <a:ext uri="{FF2B5EF4-FFF2-40B4-BE49-F238E27FC236}">
                  <a16:creationId xmlns:a16="http://schemas.microsoft.com/office/drawing/2014/main" id="{0C88D9C0-9AB8-AD16-CD7F-1AEB1D5B4ED2}"/>
                </a:ext>
              </a:extLst>
            </p:cNvPr>
            <p:cNvSpPr/>
            <p:nvPr/>
          </p:nvSpPr>
          <p:spPr>
            <a:xfrm>
              <a:off x="2602160" y="2079176"/>
              <a:ext cx="269347" cy="269347"/>
            </a:xfrm>
            <a:custGeom>
              <a:avLst/>
              <a:gdLst>
                <a:gd name="connsiteX0" fmla="*/ 250214 w 269347"/>
                <a:gd name="connsiteY0" fmla="*/ 26134 h 269347"/>
                <a:gd name="connsiteX1" fmla="*/ 243166 w 269347"/>
                <a:gd name="connsiteY1" fmla="*/ 19086 h 269347"/>
                <a:gd name="connsiteX2" fmla="*/ 164251 w 269347"/>
                <a:gd name="connsiteY2" fmla="*/ 20134 h 269347"/>
                <a:gd name="connsiteX3" fmla="*/ 65143 w 269347"/>
                <a:gd name="connsiteY3" fmla="*/ 119241 h 269347"/>
                <a:gd name="connsiteX4" fmla="*/ 54380 w 269347"/>
                <a:gd name="connsiteY4" fmla="*/ 179201 h 269347"/>
                <a:gd name="connsiteX5" fmla="*/ 47427 w 269347"/>
                <a:gd name="connsiteY5" fmla="*/ 191012 h 269347"/>
                <a:gd name="connsiteX6" fmla="*/ 7374 w 269347"/>
                <a:gd name="connsiteY6" fmla="*/ 231065 h 269347"/>
                <a:gd name="connsiteX7" fmla="*/ 5993 w 269347"/>
                <a:gd name="connsiteY7" fmla="*/ 263355 h 269347"/>
                <a:gd name="connsiteX8" fmla="*/ 38283 w 269347"/>
                <a:gd name="connsiteY8" fmla="*/ 261973 h 269347"/>
                <a:gd name="connsiteX9" fmla="*/ 78336 w 269347"/>
                <a:gd name="connsiteY9" fmla="*/ 221921 h 269347"/>
                <a:gd name="connsiteX10" fmla="*/ 90147 w 269347"/>
                <a:gd name="connsiteY10" fmla="*/ 214967 h 269347"/>
                <a:gd name="connsiteX11" fmla="*/ 150106 w 269347"/>
                <a:gd name="connsiteY11" fmla="*/ 204204 h 269347"/>
                <a:gd name="connsiteX12" fmla="*/ 249214 w 269347"/>
                <a:gd name="connsiteY12" fmla="*/ 105097 h 269347"/>
                <a:gd name="connsiteX13" fmla="*/ 250262 w 269347"/>
                <a:gd name="connsiteY13" fmla="*/ 26182 h 2693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69347" h="269347">
                  <a:moveTo>
                    <a:pt x="250214" y="26134"/>
                  </a:moveTo>
                  <a:lnTo>
                    <a:pt x="243166" y="19086"/>
                  </a:lnTo>
                  <a:cubicBezTo>
                    <a:pt x="215400" y="-8680"/>
                    <a:pt x="188635" y="-4250"/>
                    <a:pt x="164251" y="20134"/>
                  </a:cubicBezTo>
                  <a:lnTo>
                    <a:pt x="65143" y="119241"/>
                  </a:lnTo>
                  <a:cubicBezTo>
                    <a:pt x="49999" y="134386"/>
                    <a:pt x="54618" y="164580"/>
                    <a:pt x="54380" y="179201"/>
                  </a:cubicBezTo>
                  <a:cubicBezTo>
                    <a:pt x="54285" y="184297"/>
                    <a:pt x="47427" y="191012"/>
                    <a:pt x="47427" y="191012"/>
                  </a:cubicBezTo>
                  <a:lnTo>
                    <a:pt x="7374" y="231065"/>
                  </a:lnTo>
                  <a:cubicBezTo>
                    <a:pt x="-1865" y="240304"/>
                    <a:pt x="-2532" y="254830"/>
                    <a:pt x="5993" y="263355"/>
                  </a:cubicBezTo>
                  <a:cubicBezTo>
                    <a:pt x="14518" y="271879"/>
                    <a:pt x="28996" y="271213"/>
                    <a:pt x="38283" y="261973"/>
                  </a:cubicBezTo>
                  <a:lnTo>
                    <a:pt x="78336" y="221921"/>
                  </a:lnTo>
                  <a:cubicBezTo>
                    <a:pt x="78336" y="221921"/>
                    <a:pt x="85003" y="215063"/>
                    <a:pt x="90147" y="214967"/>
                  </a:cubicBezTo>
                  <a:cubicBezTo>
                    <a:pt x="104767" y="214729"/>
                    <a:pt x="134724" y="219587"/>
                    <a:pt x="150106" y="204204"/>
                  </a:cubicBezTo>
                  <a:lnTo>
                    <a:pt x="249214" y="105097"/>
                  </a:lnTo>
                  <a:cubicBezTo>
                    <a:pt x="273598" y="80713"/>
                    <a:pt x="278027" y="53947"/>
                    <a:pt x="250262" y="26182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87" name="Forma livre: Forma 286">
              <a:extLst>
                <a:ext uri="{FF2B5EF4-FFF2-40B4-BE49-F238E27FC236}">
                  <a16:creationId xmlns:a16="http://schemas.microsoft.com/office/drawing/2014/main" id="{45AB1F58-9E75-811D-15DC-E61D781FBF90}"/>
                </a:ext>
              </a:extLst>
            </p:cNvPr>
            <p:cNvSpPr/>
            <p:nvPr/>
          </p:nvSpPr>
          <p:spPr>
            <a:xfrm rot="-2700000">
              <a:off x="2721466" y="2139551"/>
              <a:ext cx="118967" cy="60293"/>
            </a:xfrm>
            <a:custGeom>
              <a:avLst/>
              <a:gdLst>
                <a:gd name="connsiteX0" fmla="*/ 99917 w 118967"/>
                <a:gd name="connsiteY0" fmla="*/ 0 h 60293"/>
                <a:gd name="connsiteX1" fmla="*/ 118967 w 118967"/>
                <a:gd name="connsiteY1" fmla="*/ 19050 h 60293"/>
                <a:gd name="connsiteX2" fmla="*/ 118967 w 118967"/>
                <a:gd name="connsiteY2" fmla="*/ 41243 h 60293"/>
                <a:gd name="connsiteX3" fmla="*/ 99917 w 118967"/>
                <a:gd name="connsiteY3" fmla="*/ 60293 h 60293"/>
                <a:gd name="connsiteX4" fmla="*/ 19050 w 118967"/>
                <a:gd name="connsiteY4" fmla="*/ 60293 h 60293"/>
                <a:gd name="connsiteX5" fmla="*/ 0 w 118967"/>
                <a:gd name="connsiteY5" fmla="*/ 41243 h 60293"/>
                <a:gd name="connsiteX6" fmla="*/ 0 w 118967"/>
                <a:gd name="connsiteY6" fmla="*/ 19050 h 60293"/>
                <a:gd name="connsiteX7" fmla="*/ 19050 w 118967"/>
                <a:gd name="connsiteY7" fmla="*/ 0 h 602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18967" h="60293">
                  <a:moveTo>
                    <a:pt x="99917" y="0"/>
                  </a:moveTo>
                  <a:cubicBezTo>
                    <a:pt x="110438" y="0"/>
                    <a:pt x="118967" y="8529"/>
                    <a:pt x="118967" y="19050"/>
                  </a:cubicBezTo>
                  <a:lnTo>
                    <a:pt x="118967" y="41243"/>
                  </a:lnTo>
                  <a:cubicBezTo>
                    <a:pt x="118967" y="51764"/>
                    <a:pt x="110438" y="60293"/>
                    <a:pt x="99917" y="60293"/>
                  </a:cubicBezTo>
                  <a:lnTo>
                    <a:pt x="19050" y="60293"/>
                  </a:lnTo>
                  <a:cubicBezTo>
                    <a:pt x="8529" y="60293"/>
                    <a:pt x="0" y="51764"/>
                    <a:pt x="0" y="41243"/>
                  </a:cubicBezTo>
                  <a:lnTo>
                    <a:pt x="0" y="19050"/>
                  </a:lnTo>
                  <a:cubicBezTo>
                    <a:pt x="0" y="8529"/>
                    <a:pt x="8529" y="0"/>
                    <a:pt x="19050" y="0"/>
                  </a:cubicBez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88" name="Forma livre: Forma 287">
              <a:extLst>
                <a:ext uri="{FF2B5EF4-FFF2-40B4-BE49-F238E27FC236}">
                  <a16:creationId xmlns:a16="http://schemas.microsoft.com/office/drawing/2014/main" id="{64B95052-3047-1879-FB6B-37772CD5CD05}"/>
                </a:ext>
              </a:extLst>
            </p:cNvPr>
            <p:cNvSpPr/>
            <p:nvPr/>
          </p:nvSpPr>
          <p:spPr>
            <a:xfrm>
              <a:off x="2753028" y="2182130"/>
              <a:ext cx="15478" cy="15478"/>
            </a:xfrm>
            <a:custGeom>
              <a:avLst/>
              <a:gdLst>
                <a:gd name="connsiteX0" fmla="*/ 0 w 15478"/>
                <a:gd name="connsiteY0" fmla="*/ 0 h 15478"/>
                <a:gd name="connsiteX1" fmla="*/ 15478 w 15478"/>
                <a:gd name="connsiteY1" fmla="*/ 15478 h 154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478" h="15478">
                  <a:moveTo>
                    <a:pt x="0" y="0"/>
                  </a:moveTo>
                  <a:lnTo>
                    <a:pt x="15478" y="15478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89" name="Forma livre: Forma 288">
              <a:extLst>
                <a:ext uri="{FF2B5EF4-FFF2-40B4-BE49-F238E27FC236}">
                  <a16:creationId xmlns:a16="http://schemas.microsoft.com/office/drawing/2014/main" id="{8996D3F6-9DAC-1C97-6829-77395633268A}"/>
                </a:ext>
              </a:extLst>
            </p:cNvPr>
            <p:cNvSpPr/>
            <p:nvPr/>
          </p:nvSpPr>
          <p:spPr>
            <a:xfrm>
              <a:off x="2772983" y="2162175"/>
              <a:ext cx="15478" cy="15478"/>
            </a:xfrm>
            <a:custGeom>
              <a:avLst/>
              <a:gdLst>
                <a:gd name="connsiteX0" fmla="*/ 0 w 15478"/>
                <a:gd name="connsiteY0" fmla="*/ 0 h 15478"/>
                <a:gd name="connsiteX1" fmla="*/ 15478 w 15478"/>
                <a:gd name="connsiteY1" fmla="*/ 15478 h 154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478" h="15478">
                  <a:moveTo>
                    <a:pt x="0" y="0"/>
                  </a:moveTo>
                  <a:lnTo>
                    <a:pt x="15478" y="15478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90" name="Forma livre: Forma 289">
              <a:extLst>
                <a:ext uri="{FF2B5EF4-FFF2-40B4-BE49-F238E27FC236}">
                  <a16:creationId xmlns:a16="http://schemas.microsoft.com/office/drawing/2014/main" id="{56BEAB93-B2A3-41E7-29AC-9BC22F543000}"/>
                </a:ext>
              </a:extLst>
            </p:cNvPr>
            <p:cNvSpPr/>
            <p:nvPr/>
          </p:nvSpPr>
          <p:spPr>
            <a:xfrm>
              <a:off x="2712553" y="2230731"/>
              <a:ext cx="7399" cy="7417"/>
            </a:xfrm>
            <a:custGeom>
              <a:avLst/>
              <a:gdLst>
                <a:gd name="connsiteX0" fmla="*/ 6328 w 7399"/>
                <a:gd name="connsiteY0" fmla="*/ 6310 h 7417"/>
                <a:gd name="connsiteX1" fmla="*/ 1089 w 7399"/>
                <a:gd name="connsiteY1" fmla="*/ 6310 h 7417"/>
                <a:gd name="connsiteX2" fmla="*/ 1089 w 7399"/>
                <a:gd name="connsiteY2" fmla="*/ 1072 h 7417"/>
                <a:gd name="connsiteX3" fmla="*/ 6328 w 7399"/>
                <a:gd name="connsiteY3" fmla="*/ 1072 h 7417"/>
                <a:gd name="connsiteX4" fmla="*/ 6328 w 7399"/>
                <a:gd name="connsiteY4" fmla="*/ 6310 h 74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399" h="7417">
                  <a:moveTo>
                    <a:pt x="6328" y="6310"/>
                  </a:moveTo>
                  <a:cubicBezTo>
                    <a:pt x="4852" y="7787"/>
                    <a:pt x="2518" y="7787"/>
                    <a:pt x="1089" y="6310"/>
                  </a:cubicBezTo>
                  <a:cubicBezTo>
                    <a:pt x="-339" y="4882"/>
                    <a:pt x="-387" y="2500"/>
                    <a:pt x="1089" y="1072"/>
                  </a:cubicBezTo>
                  <a:cubicBezTo>
                    <a:pt x="2566" y="-357"/>
                    <a:pt x="4899" y="-357"/>
                    <a:pt x="6328" y="1072"/>
                  </a:cubicBezTo>
                  <a:cubicBezTo>
                    <a:pt x="7757" y="2500"/>
                    <a:pt x="7757" y="4882"/>
                    <a:pt x="6328" y="6310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302" name="Gráfico 4">
            <a:extLst>
              <a:ext uri="{FF2B5EF4-FFF2-40B4-BE49-F238E27FC236}">
                <a16:creationId xmlns:a16="http://schemas.microsoft.com/office/drawing/2014/main" id="{FAE0DB6F-4D65-E140-DBBE-6BEFECC80FB8}"/>
              </a:ext>
            </a:extLst>
          </p:cNvPr>
          <p:cNvGrpSpPr/>
          <p:nvPr/>
        </p:nvGrpSpPr>
        <p:grpSpPr>
          <a:xfrm>
            <a:off x="2636109" y="994172"/>
            <a:ext cx="201406" cy="332898"/>
            <a:chOff x="2636109" y="994172"/>
            <a:chExt cx="201406" cy="332898"/>
          </a:xfrm>
        </p:grpSpPr>
        <p:sp>
          <p:nvSpPr>
            <p:cNvPr id="303" name="Forma livre: Forma 302">
              <a:extLst>
                <a:ext uri="{FF2B5EF4-FFF2-40B4-BE49-F238E27FC236}">
                  <a16:creationId xmlns:a16="http://schemas.microsoft.com/office/drawing/2014/main" id="{8A06CF49-C4F3-B4B2-F264-3CAB124D1B25}"/>
                </a:ext>
              </a:extLst>
            </p:cNvPr>
            <p:cNvSpPr/>
            <p:nvPr/>
          </p:nvSpPr>
          <p:spPr>
            <a:xfrm>
              <a:off x="2684210" y="994172"/>
              <a:ext cx="72390" cy="31575"/>
            </a:xfrm>
            <a:custGeom>
              <a:avLst/>
              <a:gdLst>
                <a:gd name="connsiteX0" fmla="*/ 0 w 72390"/>
                <a:gd name="connsiteY0" fmla="*/ 31575 h 31575"/>
                <a:gd name="connsiteX1" fmla="*/ 0 w 72390"/>
                <a:gd name="connsiteY1" fmla="*/ 19050 h 31575"/>
                <a:gd name="connsiteX2" fmla="*/ 19050 w 72390"/>
                <a:gd name="connsiteY2" fmla="*/ 0 h 31575"/>
                <a:gd name="connsiteX3" fmla="*/ 53340 w 72390"/>
                <a:gd name="connsiteY3" fmla="*/ 0 h 31575"/>
                <a:gd name="connsiteX4" fmla="*/ 72390 w 72390"/>
                <a:gd name="connsiteY4" fmla="*/ 19050 h 31575"/>
                <a:gd name="connsiteX5" fmla="*/ 72390 w 72390"/>
                <a:gd name="connsiteY5" fmla="*/ 31575 h 315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2390" h="31575">
                  <a:moveTo>
                    <a:pt x="0" y="31575"/>
                  </a:moveTo>
                  <a:lnTo>
                    <a:pt x="0" y="19050"/>
                  </a:lnTo>
                  <a:cubicBezTo>
                    <a:pt x="0" y="8573"/>
                    <a:pt x="8572" y="0"/>
                    <a:pt x="19050" y="0"/>
                  </a:cubicBezTo>
                  <a:lnTo>
                    <a:pt x="53340" y="0"/>
                  </a:lnTo>
                  <a:cubicBezTo>
                    <a:pt x="63818" y="0"/>
                    <a:pt x="72390" y="8573"/>
                    <a:pt x="72390" y="19050"/>
                  </a:cubicBezTo>
                  <a:lnTo>
                    <a:pt x="72390" y="31575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304" name="Gráfico 4">
              <a:extLst>
                <a:ext uri="{FF2B5EF4-FFF2-40B4-BE49-F238E27FC236}">
                  <a16:creationId xmlns:a16="http://schemas.microsoft.com/office/drawing/2014/main" id="{0F95F7A0-3AEE-6A9C-32FA-9B686AC7DB32}"/>
                </a:ext>
              </a:extLst>
            </p:cNvPr>
            <p:cNvGrpSpPr/>
            <p:nvPr/>
          </p:nvGrpSpPr>
          <p:grpSpPr>
            <a:xfrm>
              <a:off x="2636442" y="1025985"/>
              <a:ext cx="167973" cy="178069"/>
              <a:chOff x="2636442" y="1025985"/>
              <a:chExt cx="167973" cy="178069"/>
            </a:xfrm>
            <a:noFill/>
          </p:grpSpPr>
          <p:sp>
            <p:nvSpPr>
              <p:cNvPr id="305" name="Forma livre: Forma 304">
                <a:extLst>
                  <a:ext uri="{FF2B5EF4-FFF2-40B4-BE49-F238E27FC236}">
                    <a16:creationId xmlns:a16="http://schemas.microsoft.com/office/drawing/2014/main" id="{53297ADA-ED57-B772-2787-0696A715679C}"/>
                  </a:ext>
                </a:extLst>
              </p:cNvPr>
              <p:cNvSpPr/>
              <p:nvPr/>
            </p:nvSpPr>
            <p:spPr>
              <a:xfrm>
                <a:off x="2636442" y="1025985"/>
                <a:ext cx="167973" cy="178069"/>
              </a:xfrm>
              <a:custGeom>
                <a:avLst/>
                <a:gdLst>
                  <a:gd name="connsiteX0" fmla="*/ 139398 w 167973"/>
                  <a:gd name="connsiteY0" fmla="*/ 0 h 178069"/>
                  <a:gd name="connsiteX1" fmla="*/ 167973 w 167973"/>
                  <a:gd name="connsiteY1" fmla="*/ 28575 h 178069"/>
                  <a:gd name="connsiteX2" fmla="*/ 167973 w 167973"/>
                  <a:gd name="connsiteY2" fmla="*/ 149495 h 178069"/>
                  <a:gd name="connsiteX3" fmla="*/ 139398 w 167973"/>
                  <a:gd name="connsiteY3" fmla="*/ 178070 h 178069"/>
                  <a:gd name="connsiteX4" fmla="*/ 28575 w 167973"/>
                  <a:gd name="connsiteY4" fmla="*/ 178070 h 178069"/>
                  <a:gd name="connsiteX5" fmla="*/ 0 w 167973"/>
                  <a:gd name="connsiteY5" fmla="*/ 149495 h 178069"/>
                  <a:gd name="connsiteX6" fmla="*/ 0 w 167973"/>
                  <a:gd name="connsiteY6" fmla="*/ 28575 h 178069"/>
                  <a:gd name="connsiteX7" fmla="*/ 28575 w 167973"/>
                  <a:gd name="connsiteY7" fmla="*/ 0 h 1780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67973" h="178069">
                    <a:moveTo>
                      <a:pt x="139398" y="0"/>
                    </a:moveTo>
                    <a:cubicBezTo>
                      <a:pt x="155180" y="0"/>
                      <a:pt x="167973" y="12793"/>
                      <a:pt x="167973" y="28575"/>
                    </a:cubicBezTo>
                    <a:lnTo>
                      <a:pt x="167973" y="149495"/>
                    </a:lnTo>
                    <a:cubicBezTo>
                      <a:pt x="167973" y="165276"/>
                      <a:pt x="155180" y="178070"/>
                      <a:pt x="139398" y="178070"/>
                    </a:cubicBezTo>
                    <a:lnTo>
                      <a:pt x="28575" y="178070"/>
                    </a:lnTo>
                    <a:cubicBezTo>
                      <a:pt x="12793" y="178070"/>
                      <a:pt x="0" y="165276"/>
                      <a:pt x="0" y="149495"/>
                    </a:cubicBezTo>
                    <a:lnTo>
                      <a:pt x="0" y="28575"/>
                    </a:lnTo>
                    <a:cubicBezTo>
                      <a:pt x="0" y="12793"/>
                      <a:pt x="12793" y="0"/>
                      <a:pt x="28575" y="0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06" name="Forma livre: Forma 305">
                <a:extLst>
                  <a:ext uri="{FF2B5EF4-FFF2-40B4-BE49-F238E27FC236}">
                    <a16:creationId xmlns:a16="http://schemas.microsoft.com/office/drawing/2014/main" id="{35F2A4D6-D3C8-AA9B-88D1-99A44BCFBA8F}"/>
                  </a:ext>
                </a:extLst>
              </p:cNvPr>
              <p:cNvSpPr/>
              <p:nvPr/>
            </p:nvSpPr>
            <p:spPr>
              <a:xfrm>
                <a:off x="2636442" y="1025985"/>
                <a:ext cx="167973" cy="178069"/>
              </a:xfrm>
              <a:custGeom>
                <a:avLst/>
                <a:gdLst>
                  <a:gd name="connsiteX0" fmla="*/ 139398 w 167973"/>
                  <a:gd name="connsiteY0" fmla="*/ 0 h 178069"/>
                  <a:gd name="connsiteX1" fmla="*/ 167973 w 167973"/>
                  <a:gd name="connsiteY1" fmla="*/ 28575 h 178069"/>
                  <a:gd name="connsiteX2" fmla="*/ 167973 w 167973"/>
                  <a:gd name="connsiteY2" fmla="*/ 149495 h 178069"/>
                  <a:gd name="connsiteX3" fmla="*/ 139398 w 167973"/>
                  <a:gd name="connsiteY3" fmla="*/ 178070 h 178069"/>
                  <a:gd name="connsiteX4" fmla="*/ 28575 w 167973"/>
                  <a:gd name="connsiteY4" fmla="*/ 178070 h 178069"/>
                  <a:gd name="connsiteX5" fmla="*/ 0 w 167973"/>
                  <a:gd name="connsiteY5" fmla="*/ 149495 h 178069"/>
                  <a:gd name="connsiteX6" fmla="*/ 0 w 167973"/>
                  <a:gd name="connsiteY6" fmla="*/ 28575 h 178069"/>
                  <a:gd name="connsiteX7" fmla="*/ 28575 w 167973"/>
                  <a:gd name="connsiteY7" fmla="*/ 0 h 1780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67973" h="178069">
                    <a:moveTo>
                      <a:pt x="139398" y="0"/>
                    </a:moveTo>
                    <a:cubicBezTo>
                      <a:pt x="155180" y="0"/>
                      <a:pt x="167973" y="12793"/>
                      <a:pt x="167973" y="28575"/>
                    </a:cubicBezTo>
                    <a:lnTo>
                      <a:pt x="167973" y="149495"/>
                    </a:lnTo>
                    <a:cubicBezTo>
                      <a:pt x="167973" y="165276"/>
                      <a:pt x="155180" y="178070"/>
                      <a:pt x="139398" y="178070"/>
                    </a:cubicBezTo>
                    <a:lnTo>
                      <a:pt x="28575" y="178070"/>
                    </a:lnTo>
                    <a:cubicBezTo>
                      <a:pt x="12793" y="178070"/>
                      <a:pt x="0" y="165276"/>
                      <a:pt x="0" y="149495"/>
                    </a:cubicBezTo>
                    <a:lnTo>
                      <a:pt x="0" y="28575"/>
                    </a:lnTo>
                    <a:cubicBezTo>
                      <a:pt x="0" y="12793"/>
                      <a:pt x="12793" y="0"/>
                      <a:pt x="28575" y="0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307" name="Forma livre: Forma 306">
              <a:extLst>
                <a:ext uri="{FF2B5EF4-FFF2-40B4-BE49-F238E27FC236}">
                  <a16:creationId xmlns:a16="http://schemas.microsoft.com/office/drawing/2014/main" id="{FF3E9B98-EAFD-F596-94AE-F45D723DB390}"/>
                </a:ext>
              </a:extLst>
            </p:cNvPr>
            <p:cNvSpPr/>
            <p:nvPr/>
          </p:nvSpPr>
          <p:spPr>
            <a:xfrm>
              <a:off x="2720405" y="1204150"/>
              <a:ext cx="4762" cy="31480"/>
            </a:xfrm>
            <a:custGeom>
              <a:avLst/>
              <a:gdLst>
                <a:gd name="connsiteX0" fmla="*/ 0 w 4762"/>
                <a:gd name="connsiteY0" fmla="*/ 0 h 31480"/>
                <a:gd name="connsiteX1" fmla="*/ 0 w 4762"/>
                <a:gd name="connsiteY1" fmla="*/ 31480 h 314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762" h="31480">
                  <a:moveTo>
                    <a:pt x="0" y="0"/>
                  </a:moveTo>
                  <a:lnTo>
                    <a:pt x="0" y="3148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08" name="Forma livre: Forma 307">
              <a:extLst>
                <a:ext uri="{FF2B5EF4-FFF2-40B4-BE49-F238E27FC236}">
                  <a16:creationId xmlns:a16="http://schemas.microsoft.com/office/drawing/2014/main" id="{D5200773-196C-B1D3-1C2F-F4AB680EEA11}"/>
                </a:ext>
              </a:extLst>
            </p:cNvPr>
            <p:cNvSpPr/>
            <p:nvPr/>
          </p:nvSpPr>
          <p:spPr>
            <a:xfrm>
              <a:off x="2636918" y="1135046"/>
              <a:ext cx="31670" cy="4762"/>
            </a:xfrm>
            <a:custGeom>
              <a:avLst/>
              <a:gdLst>
                <a:gd name="connsiteX0" fmla="*/ 31671 w 31670"/>
                <a:gd name="connsiteY0" fmla="*/ 0 h 4762"/>
                <a:gd name="connsiteX1" fmla="*/ 0 w 31670"/>
                <a:gd name="connsiteY1" fmla="*/ 0 h 47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1670" h="4762">
                  <a:moveTo>
                    <a:pt x="31671" y="0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09" name="Forma livre: Forma 308">
              <a:extLst>
                <a:ext uri="{FF2B5EF4-FFF2-40B4-BE49-F238E27FC236}">
                  <a16:creationId xmlns:a16="http://schemas.microsoft.com/office/drawing/2014/main" id="{64AC4048-1E4D-2271-5C65-2C3C9119A813}"/>
                </a:ext>
              </a:extLst>
            </p:cNvPr>
            <p:cNvSpPr/>
            <p:nvPr/>
          </p:nvSpPr>
          <p:spPr>
            <a:xfrm>
              <a:off x="2636918" y="1168670"/>
              <a:ext cx="31670" cy="4762"/>
            </a:xfrm>
            <a:custGeom>
              <a:avLst/>
              <a:gdLst>
                <a:gd name="connsiteX0" fmla="*/ 31671 w 31670"/>
                <a:gd name="connsiteY0" fmla="*/ 0 h 4762"/>
                <a:gd name="connsiteX1" fmla="*/ 0 w 31670"/>
                <a:gd name="connsiteY1" fmla="*/ 0 h 47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1670" h="4762">
                  <a:moveTo>
                    <a:pt x="31671" y="0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10" name="Forma livre: Forma 309">
              <a:extLst>
                <a:ext uri="{FF2B5EF4-FFF2-40B4-BE49-F238E27FC236}">
                  <a16:creationId xmlns:a16="http://schemas.microsoft.com/office/drawing/2014/main" id="{E60738BB-0BD4-E31D-BA42-B97A61F1F9E3}"/>
                </a:ext>
              </a:extLst>
            </p:cNvPr>
            <p:cNvSpPr/>
            <p:nvPr/>
          </p:nvSpPr>
          <p:spPr>
            <a:xfrm>
              <a:off x="2636918" y="1067752"/>
              <a:ext cx="31670" cy="4762"/>
            </a:xfrm>
            <a:custGeom>
              <a:avLst/>
              <a:gdLst>
                <a:gd name="connsiteX0" fmla="*/ 31671 w 31670"/>
                <a:gd name="connsiteY0" fmla="*/ 0 h 4762"/>
                <a:gd name="connsiteX1" fmla="*/ 0 w 31670"/>
                <a:gd name="connsiteY1" fmla="*/ 0 h 47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1670" h="4762">
                  <a:moveTo>
                    <a:pt x="31671" y="0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11" name="Forma livre: Forma 310">
              <a:extLst>
                <a:ext uri="{FF2B5EF4-FFF2-40B4-BE49-F238E27FC236}">
                  <a16:creationId xmlns:a16="http://schemas.microsoft.com/office/drawing/2014/main" id="{CD42CF24-21E2-AB52-8EE6-D56C816FA337}"/>
                </a:ext>
              </a:extLst>
            </p:cNvPr>
            <p:cNvSpPr/>
            <p:nvPr/>
          </p:nvSpPr>
          <p:spPr>
            <a:xfrm>
              <a:off x="2707546" y="1236011"/>
              <a:ext cx="25717" cy="41148"/>
            </a:xfrm>
            <a:custGeom>
              <a:avLst/>
              <a:gdLst>
                <a:gd name="connsiteX0" fmla="*/ 0 w 25717"/>
                <a:gd name="connsiteY0" fmla="*/ 0 h 41148"/>
                <a:gd name="connsiteX1" fmla="*/ 25718 w 25717"/>
                <a:gd name="connsiteY1" fmla="*/ 0 h 41148"/>
                <a:gd name="connsiteX2" fmla="*/ 25718 w 25717"/>
                <a:gd name="connsiteY2" fmla="*/ 41148 h 41148"/>
                <a:gd name="connsiteX3" fmla="*/ 0 w 25717"/>
                <a:gd name="connsiteY3" fmla="*/ 41148 h 411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717" h="41148">
                  <a:moveTo>
                    <a:pt x="0" y="0"/>
                  </a:moveTo>
                  <a:lnTo>
                    <a:pt x="25718" y="0"/>
                  </a:lnTo>
                  <a:lnTo>
                    <a:pt x="25718" y="41148"/>
                  </a:lnTo>
                  <a:lnTo>
                    <a:pt x="0" y="41148"/>
                  </a:ln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12" name="Forma livre: Forma 311">
              <a:extLst>
                <a:ext uri="{FF2B5EF4-FFF2-40B4-BE49-F238E27FC236}">
                  <a16:creationId xmlns:a16="http://schemas.microsoft.com/office/drawing/2014/main" id="{26246903-8FCE-A0C9-6F11-B5F5DBE9D461}"/>
                </a:ext>
              </a:extLst>
            </p:cNvPr>
            <p:cNvSpPr/>
            <p:nvPr/>
          </p:nvSpPr>
          <p:spPr>
            <a:xfrm>
              <a:off x="2720262" y="1277398"/>
              <a:ext cx="78200" cy="49672"/>
            </a:xfrm>
            <a:custGeom>
              <a:avLst/>
              <a:gdLst>
                <a:gd name="connsiteX0" fmla="*/ 0 w 78200"/>
                <a:gd name="connsiteY0" fmla="*/ 0 h 49672"/>
                <a:gd name="connsiteX1" fmla="*/ 0 w 78200"/>
                <a:gd name="connsiteY1" fmla="*/ 6239 h 49672"/>
                <a:gd name="connsiteX2" fmla="*/ 39100 w 78200"/>
                <a:gd name="connsiteY2" fmla="*/ 49673 h 49672"/>
                <a:gd name="connsiteX3" fmla="*/ 78200 w 78200"/>
                <a:gd name="connsiteY3" fmla="*/ 6239 h 49672"/>
                <a:gd name="connsiteX4" fmla="*/ 78200 w 78200"/>
                <a:gd name="connsiteY4" fmla="*/ 714 h 496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200" h="49672">
                  <a:moveTo>
                    <a:pt x="0" y="0"/>
                  </a:moveTo>
                  <a:lnTo>
                    <a:pt x="0" y="6239"/>
                  </a:lnTo>
                  <a:cubicBezTo>
                    <a:pt x="0" y="30147"/>
                    <a:pt x="17574" y="49673"/>
                    <a:pt x="39100" y="49673"/>
                  </a:cubicBezTo>
                  <a:cubicBezTo>
                    <a:pt x="60627" y="49673"/>
                    <a:pt x="78200" y="30147"/>
                    <a:pt x="78200" y="6239"/>
                  </a:cubicBezTo>
                  <a:lnTo>
                    <a:pt x="78200" y="714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13" name="Forma livre: Forma 312">
              <a:extLst>
                <a:ext uri="{FF2B5EF4-FFF2-40B4-BE49-F238E27FC236}">
                  <a16:creationId xmlns:a16="http://schemas.microsoft.com/office/drawing/2014/main" id="{D2D3B712-D521-2391-828E-A56C17499954}"/>
                </a:ext>
              </a:extLst>
            </p:cNvPr>
            <p:cNvSpPr/>
            <p:nvPr/>
          </p:nvSpPr>
          <p:spPr>
            <a:xfrm>
              <a:off x="2798415" y="1229534"/>
              <a:ext cx="39100" cy="49625"/>
            </a:xfrm>
            <a:custGeom>
              <a:avLst/>
              <a:gdLst>
                <a:gd name="connsiteX0" fmla="*/ 39100 w 39100"/>
                <a:gd name="connsiteY0" fmla="*/ 0 h 49625"/>
                <a:gd name="connsiteX1" fmla="*/ 0 w 39100"/>
                <a:gd name="connsiteY1" fmla="*/ 43434 h 49625"/>
                <a:gd name="connsiteX2" fmla="*/ 0 w 39100"/>
                <a:gd name="connsiteY2" fmla="*/ 49625 h 496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9100" h="49625">
                  <a:moveTo>
                    <a:pt x="39100" y="0"/>
                  </a:moveTo>
                  <a:cubicBezTo>
                    <a:pt x="17621" y="0"/>
                    <a:pt x="0" y="19526"/>
                    <a:pt x="0" y="43434"/>
                  </a:cubicBezTo>
                  <a:lnTo>
                    <a:pt x="0" y="49625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14" name="Forma livre: Forma 313">
              <a:extLst>
                <a:ext uri="{FF2B5EF4-FFF2-40B4-BE49-F238E27FC236}">
                  <a16:creationId xmlns:a16="http://schemas.microsoft.com/office/drawing/2014/main" id="{3E586BC1-6B5A-20D1-1941-6A36AD42133C}"/>
                </a:ext>
              </a:extLst>
            </p:cNvPr>
            <p:cNvSpPr/>
            <p:nvPr/>
          </p:nvSpPr>
          <p:spPr>
            <a:xfrm>
              <a:off x="2636109" y="1095713"/>
              <a:ext cx="167163" cy="8195"/>
            </a:xfrm>
            <a:custGeom>
              <a:avLst/>
              <a:gdLst>
                <a:gd name="connsiteX0" fmla="*/ 0 w 167163"/>
                <a:gd name="connsiteY0" fmla="*/ 1662 h 8195"/>
                <a:gd name="connsiteX1" fmla="*/ 73485 w 167163"/>
                <a:gd name="connsiteY1" fmla="*/ 5234 h 8195"/>
                <a:gd name="connsiteX2" fmla="*/ 167164 w 167163"/>
                <a:gd name="connsiteY2" fmla="*/ 7377 h 81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7163" h="8195">
                  <a:moveTo>
                    <a:pt x="0" y="1662"/>
                  </a:moveTo>
                  <a:cubicBezTo>
                    <a:pt x="0" y="1662"/>
                    <a:pt x="26051" y="13569"/>
                    <a:pt x="73485" y="5234"/>
                  </a:cubicBezTo>
                  <a:cubicBezTo>
                    <a:pt x="73485" y="5234"/>
                    <a:pt x="133112" y="-7863"/>
                    <a:pt x="167164" y="7377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15" name="Forma livre: Forma 314">
              <a:extLst>
                <a:ext uri="{FF2B5EF4-FFF2-40B4-BE49-F238E27FC236}">
                  <a16:creationId xmlns:a16="http://schemas.microsoft.com/office/drawing/2014/main" id="{BE3AAB92-C27A-9330-D48A-E6007C003096}"/>
                </a:ext>
              </a:extLst>
            </p:cNvPr>
            <p:cNvSpPr/>
            <p:nvPr/>
          </p:nvSpPr>
          <p:spPr>
            <a:xfrm>
              <a:off x="2718310" y="1159430"/>
              <a:ext cx="7429" cy="7429"/>
            </a:xfrm>
            <a:custGeom>
              <a:avLst/>
              <a:gdLst>
                <a:gd name="connsiteX0" fmla="*/ 7430 w 7429"/>
                <a:gd name="connsiteY0" fmla="*/ 3715 h 7429"/>
                <a:gd name="connsiteX1" fmla="*/ 3715 w 7429"/>
                <a:gd name="connsiteY1" fmla="*/ 7429 h 7429"/>
                <a:gd name="connsiteX2" fmla="*/ 0 w 7429"/>
                <a:gd name="connsiteY2" fmla="*/ 3715 h 7429"/>
                <a:gd name="connsiteX3" fmla="*/ 3715 w 7429"/>
                <a:gd name="connsiteY3" fmla="*/ 0 h 7429"/>
                <a:gd name="connsiteX4" fmla="*/ 7430 w 7429"/>
                <a:gd name="connsiteY4" fmla="*/ 3715 h 74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429" h="7429">
                  <a:moveTo>
                    <a:pt x="7430" y="3715"/>
                  </a:moveTo>
                  <a:cubicBezTo>
                    <a:pt x="7430" y="5763"/>
                    <a:pt x="5763" y="7429"/>
                    <a:pt x="3715" y="7429"/>
                  </a:cubicBezTo>
                  <a:cubicBezTo>
                    <a:pt x="1667" y="7429"/>
                    <a:pt x="0" y="5763"/>
                    <a:pt x="0" y="3715"/>
                  </a:cubicBezTo>
                  <a:cubicBezTo>
                    <a:pt x="0" y="1667"/>
                    <a:pt x="1667" y="0"/>
                    <a:pt x="3715" y="0"/>
                  </a:cubicBezTo>
                  <a:cubicBezTo>
                    <a:pt x="5763" y="0"/>
                    <a:pt x="7430" y="1667"/>
                    <a:pt x="7430" y="3715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16" name="Forma livre: Forma 315">
              <a:extLst>
                <a:ext uri="{FF2B5EF4-FFF2-40B4-BE49-F238E27FC236}">
                  <a16:creationId xmlns:a16="http://schemas.microsoft.com/office/drawing/2014/main" id="{1185753F-31A0-4443-4F92-696A942894F2}"/>
                </a:ext>
              </a:extLst>
            </p:cNvPr>
            <p:cNvSpPr/>
            <p:nvPr/>
          </p:nvSpPr>
          <p:spPr>
            <a:xfrm>
              <a:off x="2747837" y="1135618"/>
              <a:ext cx="7429" cy="7429"/>
            </a:xfrm>
            <a:custGeom>
              <a:avLst/>
              <a:gdLst>
                <a:gd name="connsiteX0" fmla="*/ 7430 w 7429"/>
                <a:gd name="connsiteY0" fmla="*/ 3715 h 7429"/>
                <a:gd name="connsiteX1" fmla="*/ 3715 w 7429"/>
                <a:gd name="connsiteY1" fmla="*/ 7429 h 7429"/>
                <a:gd name="connsiteX2" fmla="*/ 0 w 7429"/>
                <a:gd name="connsiteY2" fmla="*/ 3715 h 7429"/>
                <a:gd name="connsiteX3" fmla="*/ 3715 w 7429"/>
                <a:gd name="connsiteY3" fmla="*/ 0 h 7429"/>
                <a:gd name="connsiteX4" fmla="*/ 7430 w 7429"/>
                <a:gd name="connsiteY4" fmla="*/ 3715 h 74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429" h="7429">
                  <a:moveTo>
                    <a:pt x="7430" y="3715"/>
                  </a:moveTo>
                  <a:cubicBezTo>
                    <a:pt x="7430" y="5763"/>
                    <a:pt x="5763" y="7429"/>
                    <a:pt x="3715" y="7429"/>
                  </a:cubicBezTo>
                  <a:cubicBezTo>
                    <a:pt x="1667" y="7429"/>
                    <a:pt x="0" y="5763"/>
                    <a:pt x="0" y="3715"/>
                  </a:cubicBezTo>
                  <a:cubicBezTo>
                    <a:pt x="0" y="1667"/>
                    <a:pt x="1667" y="0"/>
                    <a:pt x="3715" y="0"/>
                  </a:cubicBezTo>
                  <a:cubicBezTo>
                    <a:pt x="5763" y="0"/>
                    <a:pt x="7430" y="1667"/>
                    <a:pt x="7430" y="3715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317" name="Gráfico 4">
            <a:extLst>
              <a:ext uri="{FF2B5EF4-FFF2-40B4-BE49-F238E27FC236}">
                <a16:creationId xmlns:a16="http://schemas.microsoft.com/office/drawing/2014/main" id="{4194C37C-DE6E-7133-9D85-3FD933AF2DCE}"/>
              </a:ext>
            </a:extLst>
          </p:cNvPr>
          <p:cNvGrpSpPr/>
          <p:nvPr/>
        </p:nvGrpSpPr>
        <p:grpSpPr>
          <a:xfrm>
            <a:off x="2617081" y="1558942"/>
            <a:ext cx="239462" cy="259437"/>
            <a:chOff x="2617081" y="1558942"/>
            <a:chExt cx="239462" cy="259437"/>
          </a:xfrm>
          <a:noFill/>
        </p:grpSpPr>
        <p:sp>
          <p:nvSpPr>
            <p:cNvPr id="318" name="Forma livre: Forma 317">
              <a:extLst>
                <a:ext uri="{FF2B5EF4-FFF2-40B4-BE49-F238E27FC236}">
                  <a16:creationId xmlns:a16="http://schemas.microsoft.com/office/drawing/2014/main" id="{183195F6-C285-1A34-CC75-E5A7EDD161E3}"/>
                </a:ext>
              </a:extLst>
            </p:cNvPr>
            <p:cNvSpPr/>
            <p:nvPr/>
          </p:nvSpPr>
          <p:spPr>
            <a:xfrm>
              <a:off x="2617081" y="1558942"/>
              <a:ext cx="153044" cy="259390"/>
            </a:xfrm>
            <a:custGeom>
              <a:avLst/>
              <a:gdLst>
                <a:gd name="connsiteX0" fmla="*/ 153045 w 153044"/>
                <a:gd name="connsiteY0" fmla="*/ 35781 h 259390"/>
                <a:gd name="connsiteX1" fmla="*/ 115516 w 153044"/>
                <a:gd name="connsiteY1" fmla="*/ 20731 h 259390"/>
                <a:gd name="connsiteX2" fmla="*/ 27458 w 153044"/>
                <a:gd name="connsiteY2" fmla="*/ 13540 h 259390"/>
                <a:gd name="connsiteX3" fmla="*/ 25410 w 153044"/>
                <a:gd name="connsiteY3" fmla="*/ 15159 h 259390"/>
                <a:gd name="connsiteX4" fmla="*/ 12361 w 153044"/>
                <a:gd name="connsiteY4" fmla="*/ 106599 h 259390"/>
                <a:gd name="connsiteX5" fmla="*/ 25410 w 153044"/>
                <a:gd name="connsiteY5" fmla="*/ 124649 h 259390"/>
                <a:gd name="connsiteX6" fmla="*/ 39459 w 153044"/>
                <a:gd name="connsiteY6" fmla="*/ 141794 h 259390"/>
                <a:gd name="connsiteX7" fmla="*/ 39840 w 153044"/>
                <a:gd name="connsiteY7" fmla="*/ 142175 h 259390"/>
                <a:gd name="connsiteX8" fmla="*/ 50222 w 153044"/>
                <a:gd name="connsiteY8" fmla="*/ 216613 h 259390"/>
                <a:gd name="connsiteX9" fmla="*/ 76559 w 153044"/>
                <a:gd name="connsiteY9" fmla="*/ 256046 h 259390"/>
                <a:gd name="connsiteX10" fmla="*/ 89370 w 153044"/>
                <a:gd name="connsiteY10" fmla="*/ 259332 h 259390"/>
                <a:gd name="connsiteX11" fmla="*/ 99514 w 153044"/>
                <a:gd name="connsiteY11" fmla="*/ 208802 h 259390"/>
                <a:gd name="connsiteX12" fmla="*/ 119422 w 153044"/>
                <a:gd name="connsiteY12" fmla="*/ 156796 h 2593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53044" h="259390">
                  <a:moveTo>
                    <a:pt x="153045" y="35781"/>
                  </a:moveTo>
                  <a:cubicBezTo>
                    <a:pt x="129709" y="32209"/>
                    <a:pt x="115516" y="20731"/>
                    <a:pt x="115516" y="20731"/>
                  </a:cubicBezTo>
                  <a:cubicBezTo>
                    <a:pt x="88799" y="-2367"/>
                    <a:pt x="55318" y="-8130"/>
                    <a:pt x="27458" y="13540"/>
                  </a:cubicBezTo>
                  <a:lnTo>
                    <a:pt x="25410" y="15159"/>
                  </a:lnTo>
                  <a:cubicBezTo>
                    <a:pt x="-2451" y="36828"/>
                    <a:pt x="-8309" y="77976"/>
                    <a:pt x="12361" y="106599"/>
                  </a:cubicBezTo>
                  <a:lnTo>
                    <a:pt x="25410" y="124649"/>
                  </a:lnTo>
                  <a:cubicBezTo>
                    <a:pt x="30744" y="131793"/>
                    <a:pt x="31934" y="132793"/>
                    <a:pt x="39459" y="141794"/>
                  </a:cubicBezTo>
                  <a:lnTo>
                    <a:pt x="39840" y="142175"/>
                  </a:lnTo>
                  <a:cubicBezTo>
                    <a:pt x="39840" y="142175"/>
                    <a:pt x="49365" y="148795"/>
                    <a:pt x="50222" y="216613"/>
                  </a:cubicBezTo>
                  <a:cubicBezTo>
                    <a:pt x="50222" y="216613"/>
                    <a:pt x="50222" y="246950"/>
                    <a:pt x="76559" y="256046"/>
                  </a:cubicBezTo>
                  <a:cubicBezTo>
                    <a:pt x="76559" y="256046"/>
                    <a:pt x="84751" y="259904"/>
                    <a:pt x="89370" y="259332"/>
                  </a:cubicBezTo>
                  <a:cubicBezTo>
                    <a:pt x="98705" y="258190"/>
                    <a:pt x="100467" y="244664"/>
                    <a:pt x="99514" y="208802"/>
                  </a:cubicBezTo>
                  <a:cubicBezTo>
                    <a:pt x="99514" y="208802"/>
                    <a:pt x="97514" y="156796"/>
                    <a:pt x="119422" y="156796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19" name="Forma livre: Forma 318">
              <a:extLst>
                <a:ext uri="{FF2B5EF4-FFF2-40B4-BE49-F238E27FC236}">
                  <a16:creationId xmlns:a16="http://schemas.microsoft.com/office/drawing/2014/main" id="{C902B196-1175-320C-393F-DFF172C399FD}"/>
                </a:ext>
              </a:extLst>
            </p:cNvPr>
            <p:cNvSpPr/>
            <p:nvPr/>
          </p:nvSpPr>
          <p:spPr>
            <a:xfrm>
              <a:off x="2737121" y="1558995"/>
              <a:ext cx="119421" cy="259385"/>
            </a:xfrm>
            <a:custGeom>
              <a:avLst/>
              <a:gdLst>
                <a:gd name="connsiteX0" fmla="*/ 22003 w 119421"/>
                <a:gd name="connsiteY0" fmla="*/ 8296 h 259385"/>
                <a:gd name="connsiteX1" fmla="*/ 91964 w 119421"/>
                <a:gd name="connsiteY1" fmla="*/ 13535 h 259385"/>
                <a:gd name="connsiteX2" fmla="*/ 94012 w 119421"/>
                <a:gd name="connsiteY2" fmla="*/ 15154 h 259385"/>
                <a:gd name="connsiteX3" fmla="*/ 107061 w 119421"/>
                <a:gd name="connsiteY3" fmla="*/ 106594 h 259385"/>
                <a:gd name="connsiteX4" fmla="*/ 94012 w 119421"/>
                <a:gd name="connsiteY4" fmla="*/ 124644 h 259385"/>
                <a:gd name="connsiteX5" fmla="*/ 79962 w 119421"/>
                <a:gd name="connsiteY5" fmla="*/ 141789 h 259385"/>
                <a:gd name="connsiteX6" fmla="*/ 79581 w 119421"/>
                <a:gd name="connsiteY6" fmla="*/ 142170 h 259385"/>
                <a:gd name="connsiteX7" fmla="*/ 69199 w 119421"/>
                <a:gd name="connsiteY7" fmla="*/ 216608 h 259385"/>
                <a:gd name="connsiteX8" fmla="*/ 42863 w 119421"/>
                <a:gd name="connsiteY8" fmla="*/ 256042 h 259385"/>
                <a:gd name="connsiteX9" fmla="*/ 30051 w 119421"/>
                <a:gd name="connsiteY9" fmla="*/ 259328 h 259385"/>
                <a:gd name="connsiteX10" fmla="*/ 19907 w 119421"/>
                <a:gd name="connsiteY10" fmla="*/ 208798 h 259385"/>
                <a:gd name="connsiteX11" fmla="*/ 0 w 119421"/>
                <a:gd name="connsiteY11" fmla="*/ 156791 h 2593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19421" h="259385">
                  <a:moveTo>
                    <a:pt x="22003" y="8296"/>
                  </a:moveTo>
                  <a:cubicBezTo>
                    <a:pt x="44815" y="-3562"/>
                    <a:pt x="70104" y="-3467"/>
                    <a:pt x="91964" y="13535"/>
                  </a:cubicBezTo>
                  <a:lnTo>
                    <a:pt x="94012" y="15154"/>
                  </a:lnTo>
                  <a:cubicBezTo>
                    <a:pt x="121872" y="36824"/>
                    <a:pt x="127730" y="77972"/>
                    <a:pt x="107061" y="106594"/>
                  </a:cubicBezTo>
                  <a:lnTo>
                    <a:pt x="94012" y="124644"/>
                  </a:lnTo>
                  <a:cubicBezTo>
                    <a:pt x="88678" y="131788"/>
                    <a:pt x="87487" y="132788"/>
                    <a:pt x="79962" y="141789"/>
                  </a:cubicBezTo>
                  <a:lnTo>
                    <a:pt x="79581" y="142170"/>
                  </a:lnTo>
                  <a:cubicBezTo>
                    <a:pt x="79581" y="142170"/>
                    <a:pt x="70056" y="148790"/>
                    <a:pt x="69199" y="216608"/>
                  </a:cubicBezTo>
                  <a:cubicBezTo>
                    <a:pt x="69199" y="216608"/>
                    <a:pt x="69199" y="246945"/>
                    <a:pt x="42863" y="256042"/>
                  </a:cubicBezTo>
                  <a:cubicBezTo>
                    <a:pt x="42863" y="256042"/>
                    <a:pt x="34671" y="259899"/>
                    <a:pt x="30051" y="259328"/>
                  </a:cubicBezTo>
                  <a:cubicBezTo>
                    <a:pt x="20717" y="258185"/>
                    <a:pt x="18955" y="244659"/>
                    <a:pt x="19907" y="208798"/>
                  </a:cubicBezTo>
                  <a:cubicBezTo>
                    <a:pt x="19907" y="208798"/>
                    <a:pt x="21908" y="156791"/>
                    <a:pt x="0" y="156791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320" name="Gráfico 4">
            <a:extLst>
              <a:ext uri="{FF2B5EF4-FFF2-40B4-BE49-F238E27FC236}">
                <a16:creationId xmlns:a16="http://schemas.microsoft.com/office/drawing/2014/main" id="{14B87B53-97A0-21C7-5903-2BB9A2169239}"/>
              </a:ext>
            </a:extLst>
          </p:cNvPr>
          <p:cNvGrpSpPr/>
          <p:nvPr/>
        </p:nvGrpSpPr>
        <p:grpSpPr>
          <a:xfrm>
            <a:off x="2589389" y="2589229"/>
            <a:ext cx="294798" cy="310181"/>
            <a:chOff x="2589389" y="2589229"/>
            <a:chExt cx="294798" cy="310181"/>
          </a:xfrm>
        </p:grpSpPr>
        <p:sp>
          <p:nvSpPr>
            <p:cNvPr id="321" name="Forma livre: Forma 320">
              <a:extLst>
                <a:ext uri="{FF2B5EF4-FFF2-40B4-BE49-F238E27FC236}">
                  <a16:creationId xmlns:a16="http://schemas.microsoft.com/office/drawing/2014/main" id="{35456E78-3402-59EA-7AE5-D452716707AC}"/>
                </a:ext>
              </a:extLst>
            </p:cNvPr>
            <p:cNvSpPr/>
            <p:nvPr/>
          </p:nvSpPr>
          <p:spPr>
            <a:xfrm>
              <a:off x="2602475" y="2654809"/>
              <a:ext cx="67637" cy="86723"/>
            </a:xfrm>
            <a:custGeom>
              <a:avLst/>
              <a:gdLst>
                <a:gd name="connsiteX0" fmla="*/ 45349 w 67637"/>
                <a:gd name="connsiteY0" fmla="*/ 86724 h 86723"/>
                <a:gd name="connsiteX1" fmla="*/ 2439 w 67637"/>
                <a:gd name="connsiteY1" fmla="*/ 11476 h 86723"/>
                <a:gd name="connsiteX2" fmla="*/ 67638 w 67637"/>
                <a:gd name="connsiteY2" fmla="*/ 5190 h 867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7637" h="86723">
                  <a:moveTo>
                    <a:pt x="45349" y="86724"/>
                  </a:moveTo>
                  <a:cubicBezTo>
                    <a:pt x="11012" y="56434"/>
                    <a:pt x="-6848" y="27383"/>
                    <a:pt x="2439" y="11476"/>
                  </a:cubicBezTo>
                  <a:cubicBezTo>
                    <a:pt x="10107" y="-1716"/>
                    <a:pt x="34776" y="-3144"/>
                    <a:pt x="67638" y="519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22" name="Forma livre: Forma 321">
              <a:extLst>
                <a:ext uri="{FF2B5EF4-FFF2-40B4-BE49-F238E27FC236}">
                  <a16:creationId xmlns:a16="http://schemas.microsoft.com/office/drawing/2014/main" id="{5A09CF0B-02EE-447D-EAD6-33E474DEEE10}"/>
                </a:ext>
              </a:extLst>
            </p:cNvPr>
            <p:cNvSpPr/>
            <p:nvPr/>
          </p:nvSpPr>
          <p:spPr>
            <a:xfrm>
              <a:off x="2739598" y="2802303"/>
              <a:ext cx="135770" cy="31529"/>
            </a:xfrm>
            <a:custGeom>
              <a:avLst/>
              <a:gdLst>
                <a:gd name="connsiteX0" fmla="*/ 134255 w 135770"/>
                <a:gd name="connsiteY0" fmla="*/ 1143 h 31529"/>
                <a:gd name="connsiteX1" fmla="*/ 133350 w 135770"/>
                <a:gd name="connsiteY1" fmla="*/ 20050 h 31529"/>
                <a:gd name="connsiteX2" fmla="*/ 0 w 135770"/>
                <a:gd name="connsiteY2" fmla="*/ 0 h 315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35770" h="31529">
                  <a:moveTo>
                    <a:pt x="134255" y="1143"/>
                  </a:moveTo>
                  <a:cubicBezTo>
                    <a:pt x="136493" y="8525"/>
                    <a:pt x="136303" y="14954"/>
                    <a:pt x="133350" y="20050"/>
                  </a:cubicBezTo>
                  <a:cubicBezTo>
                    <a:pt x="120920" y="41386"/>
                    <a:pt x="63960" y="32004"/>
                    <a:pt x="0" y="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23" name="Forma livre: Forma 322">
              <a:extLst>
                <a:ext uri="{FF2B5EF4-FFF2-40B4-BE49-F238E27FC236}">
                  <a16:creationId xmlns:a16="http://schemas.microsoft.com/office/drawing/2014/main" id="{5FC35952-F583-3FAF-3E7E-E8AD9B5B0D60}"/>
                </a:ext>
              </a:extLst>
            </p:cNvPr>
            <p:cNvSpPr/>
            <p:nvPr/>
          </p:nvSpPr>
          <p:spPr>
            <a:xfrm>
              <a:off x="2766030" y="2701433"/>
              <a:ext cx="84534" cy="65817"/>
            </a:xfrm>
            <a:custGeom>
              <a:avLst/>
              <a:gdLst>
                <a:gd name="connsiteX0" fmla="*/ 0 w 84534"/>
                <a:gd name="connsiteY0" fmla="*/ 0 h 65817"/>
                <a:gd name="connsiteX1" fmla="*/ 84534 w 84534"/>
                <a:gd name="connsiteY1" fmla="*/ 65818 h 658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4534" h="65817">
                  <a:moveTo>
                    <a:pt x="0" y="0"/>
                  </a:moveTo>
                  <a:cubicBezTo>
                    <a:pt x="35576" y="20907"/>
                    <a:pt x="65199" y="44434"/>
                    <a:pt x="84534" y="65818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24" name="Forma livre: Forma 323">
              <a:extLst>
                <a:ext uri="{FF2B5EF4-FFF2-40B4-BE49-F238E27FC236}">
                  <a16:creationId xmlns:a16="http://schemas.microsoft.com/office/drawing/2014/main" id="{E0319CA6-795E-158E-2899-BCF3478BE721}"/>
                </a:ext>
              </a:extLst>
            </p:cNvPr>
            <p:cNvSpPr/>
            <p:nvPr/>
          </p:nvSpPr>
          <p:spPr>
            <a:xfrm>
              <a:off x="2601456" y="2656293"/>
              <a:ext cx="274795" cy="176053"/>
            </a:xfrm>
            <a:custGeom>
              <a:avLst/>
              <a:gdLst>
                <a:gd name="connsiteX0" fmla="*/ 20366 w 274795"/>
                <a:gd name="connsiteY0" fmla="*/ 115054 h 176053"/>
                <a:gd name="connsiteX1" fmla="*/ 112520 w 274795"/>
                <a:gd name="connsiteY1" fmla="*/ 43854 h 176053"/>
                <a:gd name="connsiteX2" fmla="*/ 272492 w 274795"/>
                <a:gd name="connsiteY2" fmla="*/ 11898 h 176053"/>
                <a:gd name="connsiteX3" fmla="*/ 162288 w 274795"/>
                <a:gd name="connsiteY3" fmla="*/ 132199 h 176053"/>
                <a:gd name="connsiteX4" fmla="*/ 2316 w 274795"/>
                <a:gd name="connsiteY4" fmla="*/ 164155 h 176053"/>
                <a:gd name="connsiteX5" fmla="*/ 411 w 274795"/>
                <a:gd name="connsiteY5" fmla="*/ 150201 h 1760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74795" h="176053">
                  <a:moveTo>
                    <a:pt x="20366" y="115054"/>
                  </a:moveTo>
                  <a:cubicBezTo>
                    <a:pt x="40035" y="92146"/>
                    <a:pt x="72658" y="66286"/>
                    <a:pt x="112520" y="43854"/>
                  </a:cubicBezTo>
                  <a:cubicBezTo>
                    <a:pt x="187148" y="1802"/>
                    <a:pt x="258776" y="-12486"/>
                    <a:pt x="272492" y="11898"/>
                  </a:cubicBezTo>
                  <a:cubicBezTo>
                    <a:pt x="286256" y="36282"/>
                    <a:pt x="236916" y="90146"/>
                    <a:pt x="162288" y="132199"/>
                  </a:cubicBezTo>
                  <a:cubicBezTo>
                    <a:pt x="87660" y="174252"/>
                    <a:pt x="16032" y="188539"/>
                    <a:pt x="2316" y="164155"/>
                  </a:cubicBezTo>
                  <a:cubicBezTo>
                    <a:pt x="77" y="160203"/>
                    <a:pt x="-494" y="155488"/>
                    <a:pt x="411" y="150201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25" name="Forma livre: Forma 324">
              <a:extLst>
                <a:ext uri="{FF2B5EF4-FFF2-40B4-BE49-F238E27FC236}">
                  <a16:creationId xmlns:a16="http://schemas.microsoft.com/office/drawing/2014/main" id="{91549B6F-DBDF-7D91-9191-E9E14B0D7FA0}"/>
                </a:ext>
              </a:extLst>
            </p:cNvPr>
            <p:cNvSpPr/>
            <p:nvPr/>
          </p:nvSpPr>
          <p:spPr>
            <a:xfrm>
              <a:off x="2722215" y="2589229"/>
              <a:ext cx="55387" cy="55578"/>
            </a:xfrm>
            <a:custGeom>
              <a:avLst/>
              <a:gdLst>
                <a:gd name="connsiteX0" fmla="*/ 0 w 55387"/>
                <a:gd name="connsiteY0" fmla="*/ 8239 h 55578"/>
                <a:gd name="connsiteX1" fmla="*/ 16288 w 55387"/>
                <a:gd name="connsiteY1" fmla="*/ 0 h 55578"/>
                <a:gd name="connsiteX2" fmla="*/ 55388 w 55387"/>
                <a:gd name="connsiteY2" fmla="*/ 55578 h 555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55387" h="55578">
                  <a:moveTo>
                    <a:pt x="0" y="8239"/>
                  </a:moveTo>
                  <a:cubicBezTo>
                    <a:pt x="5096" y="2905"/>
                    <a:pt x="10573" y="48"/>
                    <a:pt x="16288" y="0"/>
                  </a:cubicBezTo>
                  <a:cubicBezTo>
                    <a:pt x="31909" y="0"/>
                    <a:pt x="45958" y="21574"/>
                    <a:pt x="55388" y="55578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26" name="Forma livre: Forma 325">
              <a:extLst>
                <a:ext uri="{FF2B5EF4-FFF2-40B4-BE49-F238E27FC236}">
                  <a16:creationId xmlns:a16="http://schemas.microsoft.com/office/drawing/2014/main" id="{70BF07A1-CF2A-8AC5-F865-ACFC655E22EA}"/>
                </a:ext>
              </a:extLst>
            </p:cNvPr>
            <p:cNvSpPr/>
            <p:nvPr/>
          </p:nvSpPr>
          <p:spPr>
            <a:xfrm>
              <a:off x="2688209" y="2635520"/>
              <a:ext cx="89440" cy="263890"/>
            </a:xfrm>
            <a:custGeom>
              <a:avLst/>
              <a:gdLst>
                <a:gd name="connsiteX0" fmla="*/ 89441 w 89440"/>
                <a:gd name="connsiteY0" fmla="*/ 209836 h 263890"/>
                <a:gd name="connsiteX1" fmla="*/ 51150 w 89440"/>
                <a:gd name="connsiteY1" fmla="*/ 263890 h 263890"/>
                <a:gd name="connsiteX2" fmla="*/ 1 w 89440"/>
                <a:gd name="connsiteY2" fmla="*/ 108966 h 263890"/>
                <a:gd name="connsiteX3" fmla="*/ 14336 w 89440"/>
                <a:gd name="connsiteY3" fmla="*/ 0 h 2638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9440" h="263890">
                  <a:moveTo>
                    <a:pt x="89441" y="209836"/>
                  </a:moveTo>
                  <a:cubicBezTo>
                    <a:pt x="80249" y="242888"/>
                    <a:pt x="66486" y="263843"/>
                    <a:pt x="51150" y="263890"/>
                  </a:cubicBezTo>
                  <a:cubicBezTo>
                    <a:pt x="23147" y="263985"/>
                    <a:pt x="239" y="194596"/>
                    <a:pt x="1" y="108966"/>
                  </a:cubicBezTo>
                  <a:cubicBezTo>
                    <a:pt x="-94" y="66484"/>
                    <a:pt x="5383" y="28003"/>
                    <a:pt x="14336" y="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27" name="Forma livre: Forma 326">
              <a:extLst>
                <a:ext uri="{FF2B5EF4-FFF2-40B4-BE49-F238E27FC236}">
                  <a16:creationId xmlns:a16="http://schemas.microsoft.com/office/drawing/2014/main" id="{DB47C696-38DB-98ED-D49B-C3981ED38A3D}"/>
                </a:ext>
              </a:extLst>
            </p:cNvPr>
            <p:cNvSpPr/>
            <p:nvPr/>
          </p:nvSpPr>
          <p:spPr>
            <a:xfrm>
              <a:off x="2690020" y="2595848"/>
              <a:ext cx="40481" cy="40481"/>
            </a:xfrm>
            <a:custGeom>
              <a:avLst/>
              <a:gdLst>
                <a:gd name="connsiteX0" fmla="*/ 40481 w 40481"/>
                <a:gd name="connsiteY0" fmla="*/ 20241 h 40481"/>
                <a:gd name="connsiteX1" fmla="*/ 20241 w 40481"/>
                <a:gd name="connsiteY1" fmla="*/ 40481 h 40481"/>
                <a:gd name="connsiteX2" fmla="*/ 0 w 40481"/>
                <a:gd name="connsiteY2" fmla="*/ 20241 h 40481"/>
                <a:gd name="connsiteX3" fmla="*/ 20241 w 40481"/>
                <a:gd name="connsiteY3" fmla="*/ 0 h 40481"/>
                <a:gd name="connsiteX4" fmla="*/ 40481 w 40481"/>
                <a:gd name="connsiteY4" fmla="*/ 20241 h 404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0481" h="40481">
                  <a:moveTo>
                    <a:pt x="40481" y="20241"/>
                  </a:moveTo>
                  <a:cubicBezTo>
                    <a:pt x="40481" y="31433"/>
                    <a:pt x="31433" y="40481"/>
                    <a:pt x="20241" y="40481"/>
                  </a:cubicBezTo>
                  <a:cubicBezTo>
                    <a:pt x="9049" y="40481"/>
                    <a:pt x="0" y="31433"/>
                    <a:pt x="0" y="20241"/>
                  </a:cubicBezTo>
                  <a:cubicBezTo>
                    <a:pt x="0" y="9049"/>
                    <a:pt x="9049" y="0"/>
                    <a:pt x="20241" y="0"/>
                  </a:cubicBezTo>
                  <a:cubicBezTo>
                    <a:pt x="31433" y="0"/>
                    <a:pt x="40481" y="9049"/>
                    <a:pt x="40481" y="20241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28" name="Forma livre: Forma 327">
              <a:extLst>
                <a:ext uri="{FF2B5EF4-FFF2-40B4-BE49-F238E27FC236}">
                  <a16:creationId xmlns:a16="http://schemas.microsoft.com/office/drawing/2014/main" id="{54E4BB37-2DD5-4504-60E4-8FEADE58CC49}"/>
                </a:ext>
              </a:extLst>
            </p:cNvPr>
            <p:cNvSpPr/>
            <p:nvPr/>
          </p:nvSpPr>
          <p:spPr>
            <a:xfrm>
              <a:off x="2589389" y="2768060"/>
              <a:ext cx="40481" cy="40481"/>
            </a:xfrm>
            <a:custGeom>
              <a:avLst/>
              <a:gdLst>
                <a:gd name="connsiteX0" fmla="*/ 40481 w 40481"/>
                <a:gd name="connsiteY0" fmla="*/ 20241 h 40481"/>
                <a:gd name="connsiteX1" fmla="*/ 20241 w 40481"/>
                <a:gd name="connsiteY1" fmla="*/ 40481 h 40481"/>
                <a:gd name="connsiteX2" fmla="*/ 0 w 40481"/>
                <a:gd name="connsiteY2" fmla="*/ 20241 h 40481"/>
                <a:gd name="connsiteX3" fmla="*/ 20241 w 40481"/>
                <a:gd name="connsiteY3" fmla="*/ 0 h 40481"/>
                <a:gd name="connsiteX4" fmla="*/ 40481 w 40481"/>
                <a:gd name="connsiteY4" fmla="*/ 20241 h 404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0481" h="40481">
                  <a:moveTo>
                    <a:pt x="40481" y="20241"/>
                  </a:moveTo>
                  <a:cubicBezTo>
                    <a:pt x="40481" y="31433"/>
                    <a:pt x="31433" y="40481"/>
                    <a:pt x="20241" y="40481"/>
                  </a:cubicBezTo>
                  <a:cubicBezTo>
                    <a:pt x="9049" y="40481"/>
                    <a:pt x="0" y="31433"/>
                    <a:pt x="0" y="20241"/>
                  </a:cubicBezTo>
                  <a:cubicBezTo>
                    <a:pt x="0" y="9049"/>
                    <a:pt x="9049" y="0"/>
                    <a:pt x="20241" y="0"/>
                  </a:cubicBezTo>
                  <a:cubicBezTo>
                    <a:pt x="31433" y="0"/>
                    <a:pt x="40481" y="9049"/>
                    <a:pt x="40481" y="20241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29" name="Forma livre: Forma 328">
              <a:extLst>
                <a:ext uri="{FF2B5EF4-FFF2-40B4-BE49-F238E27FC236}">
                  <a16:creationId xmlns:a16="http://schemas.microsoft.com/office/drawing/2014/main" id="{323FDD40-B18B-8C0A-40B3-7C5DBBFE9D57}"/>
                </a:ext>
              </a:extLst>
            </p:cNvPr>
            <p:cNvSpPr/>
            <p:nvPr/>
          </p:nvSpPr>
          <p:spPr>
            <a:xfrm>
              <a:off x="2843706" y="2764631"/>
              <a:ext cx="40481" cy="40481"/>
            </a:xfrm>
            <a:custGeom>
              <a:avLst/>
              <a:gdLst>
                <a:gd name="connsiteX0" fmla="*/ 40481 w 40481"/>
                <a:gd name="connsiteY0" fmla="*/ 20241 h 40481"/>
                <a:gd name="connsiteX1" fmla="*/ 20241 w 40481"/>
                <a:gd name="connsiteY1" fmla="*/ 40481 h 40481"/>
                <a:gd name="connsiteX2" fmla="*/ 0 w 40481"/>
                <a:gd name="connsiteY2" fmla="*/ 20241 h 40481"/>
                <a:gd name="connsiteX3" fmla="*/ 20241 w 40481"/>
                <a:gd name="connsiteY3" fmla="*/ 0 h 40481"/>
                <a:gd name="connsiteX4" fmla="*/ 40481 w 40481"/>
                <a:gd name="connsiteY4" fmla="*/ 20241 h 404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0481" h="40481">
                  <a:moveTo>
                    <a:pt x="40481" y="20241"/>
                  </a:moveTo>
                  <a:cubicBezTo>
                    <a:pt x="40481" y="31433"/>
                    <a:pt x="31433" y="40481"/>
                    <a:pt x="20241" y="40481"/>
                  </a:cubicBezTo>
                  <a:cubicBezTo>
                    <a:pt x="9049" y="40481"/>
                    <a:pt x="0" y="31433"/>
                    <a:pt x="0" y="20241"/>
                  </a:cubicBezTo>
                  <a:cubicBezTo>
                    <a:pt x="0" y="9049"/>
                    <a:pt x="9049" y="0"/>
                    <a:pt x="20241" y="0"/>
                  </a:cubicBezTo>
                  <a:cubicBezTo>
                    <a:pt x="31433" y="0"/>
                    <a:pt x="40481" y="9049"/>
                    <a:pt x="40481" y="20241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30" name="Forma livre: Forma 329">
              <a:extLst>
                <a:ext uri="{FF2B5EF4-FFF2-40B4-BE49-F238E27FC236}">
                  <a16:creationId xmlns:a16="http://schemas.microsoft.com/office/drawing/2014/main" id="{0E93567B-F5A2-7E20-1507-0AC5DDAB7E45}"/>
                </a:ext>
              </a:extLst>
            </p:cNvPr>
            <p:cNvSpPr/>
            <p:nvPr/>
          </p:nvSpPr>
          <p:spPr>
            <a:xfrm>
              <a:off x="2728879" y="2734342"/>
              <a:ext cx="20039" cy="20050"/>
            </a:xfrm>
            <a:custGeom>
              <a:avLst/>
              <a:gdLst>
                <a:gd name="connsiteX0" fmla="*/ 10005 w 20039"/>
                <a:gd name="connsiteY0" fmla="*/ 20050 h 20050"/>
                <a:gd name="connsiteX1" fmla="*/ 5099 w 20039"/>
                <a:gd name="connsiteY1" fmla="*/ 18764 h 20050"/>
                <a:gd name="connsiteX2" fmla="*/ 1289 w 20039"/>
                <a:gd name="connsiteY2" fmla="*/ 5096 h 20050"/>
                <a:gd name="connsiteX3" fmla="*/ 10052 w 20039"/>
                <a:gd name="connsiteY3" fmla="*/ 0 h 20050"/>
                <a:gd name="connsiteX4" fmla="*/ 14958 w 20039"/>
                <a:gd name="connsiteY4" fmla="*/ 1286 h 20050"/>
                <a:gd name="connsiteX5" fmla="*/ 19672 w 20039"/>
                <a:gd name="connsiteY5" fmla="*/ 7334 h 20050"/>
                <a:gd name="connsiteX6" fmla="*/ 18720 w 20039"/>
                <a:gd name="connsiteY6" fmla="*/ 14954 h 20050"/>
                <a:gd name="connsiteX7" fmla="*/ 9957 w 20039"/>
                <a:gd name="connsiteY7" fmla="*/ 20050 h 20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0039" h="20050">
                  <a:moveTo>
                    <a:pt x="10005" y="20050"/>
                  </a:moveTo>
                  <a:cubicBezTo>
                    <a:pt x="8290" y="20050"/>
                    <a:pt x="6576" y="19621"/>
                    <a:pt x="5099" y="18764"/>
                  </a:cubicBezTo>
                  <a:cubicBezTo>
                    <a:pt x="289" y="16050"/>
                    <a:pt x="-1425" y="9906"/>
                    <a:pt x="1289" y="5096"/>
                  </a:cubicBezTo>
                  <a:cubicBezTo>
                    <a:pt x="3051" y="1952"/>
                    <a:pt x="6433" y="0"/>
                    <a:pt x="10052" y="0"/>
                  </a:cubicBezTo>
                  <a:cubicBezTo>
                    <a:pt x="11767" y="0"/>
                    <a:pt x="13481" y="429"/>
                    <a:pt x="14958" y="1286"/>
                  </a:cubicBezTo>
                  <a:cubicBezTo>
                    <a:pt x="17291" y="2619"/>
                    <a:pt x="18958" y="4763"/>
                    <a:pt x="19672" y="7334"/>
                  </a:cubicBezTo>
                  <a:cubicBezTo>
                    <a:pt x="20387" y="9906"/>
                    <a:pt x="20053" y="12621"/>
                    <a:pt x="18720" y="14954"/>
                  </a:cubicBezTo>
                  <a:cubicBezTo>
                    <a:pt x="16958" y="18097"/>
                    <a:pt x="13576" y="20050"/>
                    <a:pt x="9957" y="20050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332" name="Gráfico 6">
            <a:extLst>
              <a:ext uri="{FF2B5EF4-FFF2-40B4-BE49-F238E27FC236}">
                <a16:creationId xmlns:a16="http://schemas.microsoft.com/office/drawing/2014/main" id="{B06AEA68-00EA-81BC-A8BF-68E10036D571}"/>
              </a:ext>
            </a:extLst>
          </p:cNvPr>
          <p:cNvGrpSpPr/>
          <p:nvPr/>
        </p:nvGrpSpPr>
        <p:grpSpPr>
          <a:xfrm>
            <a:off x="4436728" y="1007693"/>
            <a:ext cx="292278" cy="237937"/>
            <a:chOff x="4436728" y="1007693"/>
            <a:chExt cx="292278" cy="237937"/>
          </a:xfrm>
          <a:noFill/>
        </p:grpSpPr>
        <p:sp>
          <p:nvSpPr>
            <p:cNvPr id="333" name="Forma livre: Forma 332">
              <a:extLst>
                <a:ext uri="{FF2B5EF4-FFF2-40B4-BE49-F238E27FC236}">
                  <a16:creationId xmlns:a16="http://schemas.microsoft.com/office/drawing/2014/main" id="{B2188260-3FD4-11FB-59B4-89A29E35A874}"/>
                </a:ext>
              </a:extLst>
            </p:cNvPr>
            <p:cNvSpPr/>
            <p:nvPr/>
          </p:nvSpPr>
          <p:spPr>
            <a:xfrm>
              <a:off x="4706955" y="1200673"/>
              <a:ext cx="22050" cy="28003"/>
            </a:xfrm>
            <a:custGeom>
              <a:avLst/>
              <a:gdLst>
                <a:gd name="connsiteX0" fmla="*/ 0 w 22050"/>
                <a:gd name="connsiteY0" fmla="*/ 0 h 28003"/>
                <a:gd name="connsiteX1" fmla="*/ 22050 w 22050"/>
                <a:gd name="connsiteY1" fmla="*/ 28004 h 280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2050" h="28003">
                  <a:moveTo>
                    <a:pt x="0" y="0"/>
                  </a:moveTo>
                  <a:lnTo>
                    <a:pt x="22050" y="28004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34" name="Forma livre: Forma 333">
              <a:extLst>
                <a:ext uri="{FF2B5EF4-FFF2-40B4-BE49-F238E27FC236}">
                  <a16:creationId xmlns:a16="http://schemas.microsoft.com/office/drawing/2014/main" id="{6E5824DA-5EB3-1919-9A03-6E0C2717C42B}"/>
                </a:ext>
              </a:extLst>
            </p:cNvPr>
            <p:cNvSpPr/>
            <p:nvPr/>
          </p:nvSpPr>
          <p:spPr>
            <a:xfrm>
              <a:off x="4436728" y="1007693"/>
              <a:ext cx="276716" cy="237937"/>
            </a:xfrm>
            <a:custGeom>
              <a:avLst/>
              <a:gdLst>
                <a:gd name="connsiteX0" fmla="*/ 276324 w 276716"/>
                <a:gd name="connsiteY0" fmla="*/ 77299 h 237937"/>
                <a:gd name="connsiteX1" fmla="*/ 256417 w 276716"/>
                <a:gd name="connsiteY1" fmla="*/ 20292 h 237937"/>
                <a:gd name="connsiteX2" fmla="*/ 155642 w 276716"/>
                <a:gd name="connsiteY2" fmla="*/ 21292 h 237937"/>
                <a:gd name="connsiteX3" fmla="*/ 138354 w 276716"/>
                <a:gd name="connsiteY3" fmla="*/ 38580 h 237937"/>
                <a:gd name="connsiteX4" fmla="*/ 121066 w 276716"/>
                <a:gd name="connsiteY4" fmla="*/ 21292 h 237937"/>
                <a:gd name="connsiteX5" fmla="*/ 20292 w 276716"/>
                <a:gd name="connsiteY5" fmla="*/ 20292 h 237937"/>
                <a:gd name="connsiteX6" fmla="*/ 21292 w 276716"/>
                <a:gd name="connsiteY6" fmla="*/ 121066 h 237937"/>
                <a:gd name="connsiteX7" fmla="*/ 138354 w 276716"/>
                <a:gd name="connsiteY7" fmla="*/ 237938 h 237937"/>
                <a:gd name="connsiteX8" fmla="*/ 174311 w 276716"/>
                <a:gd name="connsiteY8" fmla="*/ 202029 h 2379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76716" h="237937">
                  <a:moveTo>
                    <a:pt x="276324" y="77299"/>
                  </a:moveTo>
                  <a:cubicBezTo>
                    <a:pt x="278467" y="56820"/>
                    <a:pt x="271847" y="35722"/>
                    <a:pt x="256417" y="20292"/>
                  </a:cubicBezTo>
                  <a:cubicBezTo>
                    <a:pt x="228985" y="-7140"/>
                    <a:pt x="183646" y="-6712"/>
                    <a:pt x="155642" y="21292"/>
                  </a:cubicBezTo>
                  <a:lnTo>
                    <a:pt x="138354" y="38580"/>
                  </a:lnTo>
                  <a:lnTo>
                    <a:pt x="121066" y="21292"/>
                  </a:lnTo>
                  <a:cubicBezTo>
                    <a:pt x="93063" y="-6712"/>
                    <a:pt x="47724" y="-7140"/>
                    <a:pt x="20292" y="20292"/>
                  </a:cubicBezTo>
                  <a:cubicBezTo>
                    <a:pt x="-7140" y="47724"/>
                    <a:pt x="-6712" y="93063"/>
                    <a:pt x="21292" y="121066"/>
                  </a:cubicBezTo>
                  <a:lnTo>
                    <a:pt x="138354" y="237938"/>
                  </a:lnTo>
                  <a:lnTo>
                    <a:pt x="174311" y="202029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35" name="Forma livre: Forma 334">
              <a:extLst>
                <a:ext uri="{FF2B5EF4-FFF2-40B4-BE49-F238E27FC236}">
                  <a16:creationId xmlns:a16="http://schemas.microsoft.com/office/drawing/2014/main" id="{2B64E8F8-CFD8-2190-48D9-B244416A842C}"/>
                </a:ext>
              </a:extLst>
            </p:cNvPr>
            <p:cNvSpPr/>
            <p:nvPr/>
          </p:nvSpPr>
          <p:spPr>
            <a:xfrm>
              <a:off x="4618278" y="1101423"/>
              <a:ext cx="110156" cy="110204"/>
            </a:xfrm>
            <a:custGeom>
              <a:avLst/>
              <a:gdLst>
                <a:gd name="connsiteX0" fmla="*/ 110157 w 110156"/>
                <a:gd name="connsiteY0" fmla="*/ 55102 h 110204"/>
                <a:gd name="connsiteX1" fmla="*/ 55055 w 110156"/>
                <a:gd name="connsiteY1" fmla="*/ 110204 h 110204"/>
                <a:gd name="connsiteX2" fmla="*/ 0 w 110156"/>
                <a:gd name="connsiteY2" fmla="*/ 55102 h 110204"/>
                <a:gd name="connsiteX3" fmla="*/ 55055 w 110156"/>
                <a:gd name="connsiteY3" fmla="*/ 0 h 110204"/>
                <a:gd name="connsiteX4" fmla="*/ 110157 w 110156"/>
                <a:gd name="connsiteY4" fmla="*/ 55102 h 1102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0156" h="110204">
                  <a:moveTo>
                    <a:pt x="110157" y="55102"/>
                  </a:moveTo>
                  <a:cubicBezTo>
                    <a:pt x="110157" y="85534"/>
                    <a:pt x="85487" y="110204"/>
                    <a:pt x="55055" y="110204"/>
                  </a:cubicBezTo>
                  <a:cubicBezTo>
                    <a:pt x="24622" y="110204"/>
                    <a:pt x="0" y="85534"/>
                    <a:pt x="0" y="55102"/>
                  </a:cubicBezTo>
                  <a:cubicBezTo>
                    <a:pt x="0" y="24670"/>
                    <a:pt x="24670" y="0"/>
                    <a:pt x="55055" y="0"/>
                  </a:cubicBezTo>
                  <a:cubicBezTo>
                    <a:pt x="85439" y="0"/>
                    <a:pt x="110157" y="24670"/>
                    <a:pt x="110157" y="55102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36" name="Forma livre: Forma 335">
              <a:extLst>
                <a:ext uri="{FF2B5EF4-FFF2-40B4-BE49-F238E27FC236}">
                  <a16:creationId xmlns:a16="http://schemas.microsoft.com/office/drawing/2014/main" id="{D0DB0CAD-89F6-BCDB-B148-663F5A7F560F}"/>
                </a:ext>
              </a:extLst>
            </p:cNvPr>
            <p:cNvSpPr/>
            <p:nvPr/>
          </p:nvSpPr>
          <p:spPr>
            <a:xfrm>
              <a:off x="4647186" y="1132046"/>
              <a:ext cx="16764" cy="24479"/>
            </a:xfrm>
            <a:custGeom>
              <a:avLst/>
              <a:gdLst>
                <a:gd name="connsiteX0" fmla="*/ 0 w 16764"/>
                <a:gd name="connsiteY0" fmla="*/ 24479 h 24479"/>
                <a:gd name="connsiteX1" fmla="*/ 16764 w 16764"/>
                <a:gd name="connsiteY1" fmla="*/ 0 h 244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6764" h="24479">
                  <a:moveTo>
                    <a:pt x="0" y="24479"/>
                  </a:moveTo>
                  <a:cubicBezTo>
                    <a:pt x="0" y="13335"/>
                    <a:pt x="6953" y="3810"/>
                    <a:pt x="16764" y="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344" name="Gráfico 6">
            <a:extLst>
              <a:ext uri="{FF2B5EF4-FFF2-40B4-BE49-F238E27FC236}">
                <a16:creationId xmlns:a16="http://schemas.microsoft.com/office/drawing/2014/main" id="{3C2B0F3E-8337-CF1C-CE29-718CBB96C423}"/>
              </a:ext>
            </a:extLst>
          </p:cNvPr>
          <p:cNvGrpSpPr/>
          <p:nvPr/>
        </p:nvGrpSpPr>
        <p:grpSpPr>
          <a:xfrm>
            <a:off x="4415586" y="2649140"/>
            <a:ext cx="334518" cy="184594"/>
            <a:chOff x="4415586" y="2649140"/>
            <a:chExt cx="334518" cy="184594"/>
          </a:xfrm>
          <a:noFill/>
        </p:grpSpPr>
        <p:sp>
          <p:nvSpPr>
            <p:cNvPr id="345" name="Forma livre: Forma 344">
              <a:extLst>
                <a:ext uri="{FF2B5EF4-FFF2-40B4-BE49-F238E27FC236}">
                  <a16:creationId xmlns:a16="http://schemas.microsoft.com/office/drawing/2014/main" id="{0BF3AD3E-93CC-7B74-BF20-913780B42E84}"/>
                </a:ext>
              </a:extLst>
            </p:cNvPr>
            <p:cNvSpPr/>
            <p:nvPr/>
          </p:nvSpPr>
          <p:spPr>
            <a:xfrm>
              <a:off x="4504311" y="2657808"/>
              <a:ext cx="157162" cy="138302"/>
            </a:xfrm>
            <a:custGeom>
              <a:avLst/>
              <a:gdLst>
                <a:gd name="connsiteX0" fmla="*/ 27527 w 157162"/>
                <a:gd name="connsiteY0" fmla="*/ 0 h 138302"/>
                <a:gd name="connsiteX1" fmla="*/ 0 w 157162"/>
                <a:gd name="connsiteY1" fmla="*/ 59722 h 138302"/>
                <a:gd name="connsiteX2" fmla="*/ 78581 w 157162"/>
                <a:gd name="connsiteY2" fmla="*/ 138303 h 138302"/>
                <a:gd name="connsiteX3" fmla="*/ 157163 w 157162"/>
                <a:gd name="connsiteY3" fmla="*/ 59722 h 138302"/>
                <a:gd name="connsiteX4" fmla="*/ 131302 w 157162"/>
                <a:gd name="connsiteY4" fmla="*/ 1429 h 1383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7162" h="138302">
                  <a:moveTo>
                    <a:pt x="27527" y="0"/>
                  </a:moveTo>
                  <a:cubicBezTo>
                    <a:pt x="10668" y="14430"/>
                    <a:pt x="0" y="35814"/>
                    <a:pt x="0" y="59722"/>
                  </a:cubicBezTo>
                  <a:cubicBezTo>
                    <a:pt x="0" y="103108"/>
                    <a:pt x="35195" y="138303"/>
                    <a:pt x="78581" y="138303"/>
                  </a:cubicBezTo>
                  <a:cubicBezTo>
                    <a:pt x="121968" y="138303"/>
                    <a:pt x="157163" y="103108"/>
                    <a:pt x="157163" y="59722"/>
                  </a:cubicBezTo>
                  <a:cubicBezTo>
                    <a:pt x="157163" y="36576"/>
                    <a:pt x="147161" y="15812"/>
                    <a:pt x="131302" y="1429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46" name="Forma livre: Forma 345">
              <a:extLst>
                <a:ext uri="{FF2B5EF4-FFF2-40B4-BE49-F238E27FC236}">
                  <a16:creationId xmlns:a16="http://schemas.microsoft.com/office/drawing/2014/main" id="{2957DB11-5C47-8F91-9802-A9B057D1788A}"/>
                </a:ext>
              </a:extLst>
            </p:cNvPr>
            <p:cNvSpPr/>
            <p:nvPr/>
          </p:nvSpPr>
          <p:spPr>
            <a:xfrm>
              <a:off x="4550364" y="2685002"/>
              <a:ext cx="65055" cy="65055"/>
            </a:xfrm>
            <a:custGeom>
              <a:avLst/>
              <a:gdLst>
                <a:gd name="connsiteX0" fmla="*/ 32528 w 65055"/>
                <a:gd name="connsiteY0" fmla="*/ 0 h 65055"/>
                <a:gd name="connsiteX1" fmla="*/ 0 w 65055"/>
                <a:gd name="connsiteY1" fmla="*/ 32528 h 65055"/>
                <a:gd name="connsiteX2" fmla="*/ 32528 w 65055"/>
                <a:gd name="connsiteY2" fmla="*/ 65056 h 65055"/>
                <a:gd name="connsiteX3" fmla="*/ 65056 w 65055"/>
                <a:gd name="connsiteY3" fmla="*/ 32528 h 650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5055" h="65055">
                  <a:moveTo>
                    <a:pt x="32528" y="0"/>
                  </a:moveTo>
                  <a:cubicBezTo>
                    <a:pt x="14526" y="0"/>
                    <a:pt x="0" y="14573"/>
                    <a:pt x="0" y="32528"/>
                  </a:cubicBezTo>
                  <a:cubicBezTo>
                    <a:pt x="0" y="50483"/>
                    <a:pt x="14573" y="65056"/>
                    <a:pt x="32528" y="65056"/>
                  </a:cubicBezTo>
                  <a:cubicBezTo>
                    <a:pt x="50483" y="65056"/>
                    <a:pt x="65056" y="50483"/>
                    <a:pt x="65056" y="32528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47" name="Forma livre: Forma 346">
              <a:extLst>
                <a:ext uri="{FF2B5EF4-FFF2-40B4-BE49-F238E27FC236}">
                  <a16:creationId xmlns:a16="http://schemas.microsoft.com/office/drawing/2014/main" id="{8D57BDA1-29AB-8BF6-1DD5-C72A1A55CB68}"/>
                </a:ext>
              </a:extLst>
            </p:cNvPr>
            <p:cNvSpPr/>
            <p:nvPr/>
          </p:nvSpPr>
          <p:spPr>
            <a:xfrm>
              <a:off x="4415586" y="2649140"/>
              <a:ext cx="334518" cy="184594"/>
            </a:xfrm>
            <a:custGeom>
              <a:avLst/>
              <a:gdLst>
                <a:gd name="connsiteX0" fmla="*/ 0 w 334518"/>
                <a:gd name="connsiteY0" fmla="*/ 89964 h 184594"/>
                <a:gd name="connsiteX1" fmla="*/ 167259 w 334518"/>
                <a:gd name="connsiteY1" fmla="*/ 184595 h 184594"/>
                <a:gd name="connsiteX2" fmla="*/ 334518 w 334518"/>
                <a:gd name="connsiteY2" fmla="*/ 92297 h 184594"/>
                <a:gd name="connsiteX3" fmla="*/ 167259 w 334518"/>
                <a:gd name="connsiteY3" fmla="*/ 0 h 184594"/>
                <a:gd name="connsiteX4" fmla="*/ 0 w 334518"/>
                <a:gd name="connsiteY4" fmla="*/ 89964 h 1845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4518" h="184594">
                  <a:moveTo>
                    <a:pt x="0" y="89964"/>
                  </a:moveTo>
                  <a:cubicBezTo>
                    <a:pt x="0" y="89964"/>
                    <a:pt x="74914" y="184595"/>
                    <a:pt x="167259" y="184595"/>
                  </a:cubicBezTo>
                  <a:cubicBezTo>
                    <a:pt x="259604" y="184595"/>
                    <a:pt x="334518" y="92297"/>
                    <a:pt x="334518" y="92297"/>
                  </a:cubicBezTo>
                  <a:cubicBezTo>
                    <a:pt x="334518" y="92297"/>
                    <a:pt x="259604" y="0"/>
                    <a:pt x="167259" y="0"/>
                  </a:cubicBezTo>
                  <a:cubicBezTo>
                    <a:pt x="74914" y="0"/>
                    <a:pt x="0" y="89964"/>
                    <a:pt x="0" y="89964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348" name="Gráfico 6">
            <a:extLst>
              <a:ext uri="{FF2B5EF4-FFF2-40B4-BE49-F238E27FC236}">
                <a16:creationId xmlns:a16="http://schemas.microsoft.com/office/drawing/2014/main" id="{B46F919A-FB50-2320-E433-9B322701CF65}"/>
              </a:ext>
            </a:extLst>
          </p:cNvPr>
          <p:cNvGrpSpPr/>
          <p:nvPr/>
        </p:nvGrpSpPr>
        <p:grpSpPr>
          <a:xfrm>
            <a:off x="4434779" y="1556908"/>
            <a:ext cx="296179" cy="216026"/>
            <a:chOff x="4434779" y="1556908"/>
            <a:chExt cx="296179" cy="216026"/>
          </a:xfrm>
          <a:noFill/>
        </p:grpSpPr>
        <p:sp>
          <p:nvSpPr>
            <p:cNvPr id="349" name="Forma livre: Forma 348">
              <a:extLst>
                <a:ext uri="{FF2B5EF4-FFF2-40B4-BE49-F238E27FC236}">
                  <a16:creationId xmlns:a16="http://schemas.microsoft.com/office/drawing/2014/main" id="{02BE08E2-6BDB-AA7D-AE38-D0CF1097E4EC}"/>
                </a:ext>
              </a:extLst>
            </p:cNvPr>
            <p:cNvSpPr/>
            <p:nvPr/>
          </p:nvSpPr>
          <p:spPr>
            <a:xfrm>
              <a:off x="4527600" y="1618678"/>
              <a:ext cx="126587" cy="94440"/>
            </a:xfrm>
            <a:custGeom>
              <a:avLst/>
              <a:gdLst>
                <a:gd name="connsiteX0" fmla="*/ 0 w 126587"/>
                <a:gd name="connsiteY0" fmla="*/ 63246 h 94440"/>
                <a:gd name="connsiteX1" fmla="*/ 20145 w 126587"/>
                <a:gd name="connsiteY1" fmla="*/ 63246 h 94440"/>
                <a:gd name="connsiteX2" fmla="*/ 36576 w 126587"/>
                <a:gd name="connsiteY2" fmla="*/ 35195 h 94440"/>
                <a:gd name="connsiteX3" fmla="*/ 59769 w 126587"/>
                <a:gd name="connsiteY3" fmla="*/ 94440 h 94440"/>
                <a:gd name="connsiteX4" fmla="*/ 82058 w 126587"/>
                <a:gd name="connsiteY4" fmla="*/ 0 h 94440"/>
                <a:gd name="connsiteX5" fmla="*/ 99393 w 126587"/>
                <a:gd name="connsiteY5" fmla="*/ 63722 h 94440"/>
                <a:gd name="connsiteX6" fmla="*/ 126587 w 126587"/>
                <a:gd name="connsiteY6" fmla="*/ 63722 h 944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26587" h="94440">
                  <a:moveTo>
                    <a:pt x="0" y="63246"/>
                  </a:moveTo>
                  <a:lnTo>
                    <a:pt x="20145" y="63246"/>
                  </a:lnTo>
                  <a:lnTo>
                    <a:pt x="36576" y="35195"/>
                  </a:lnTo>
                  <a:lnTo>
                    <a:pt x="59769" y="94440"/>
                  </a:lnTo>
                  <a:lnTo>
                    <a:pt x="82058" y="0"/>
                  </a:lnTo>
                  <a:lnTo>
                    <a:pt x="99393" y="63722"/>
                  </a:lnTo>
                  <a:lnTo>
                    <a:pt x="126587" y="63722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350" name="Gráfico 6">
              <a:extLst>
                <a:ext uri="{FF2B5EF4-FFF2-40B4-BE49-F238E27FC236}">
                  <a16:creationId xmlns:a16="http://schemas.microsoft.com/office/drawing/2014/main" id="{37942B57-764A-7F30-5942-96F6D581E24D}"/>
                </a:ext>
              </a:extLst>
            </p:cNvPr>
            <p:cNvGrpSpPr/>
            <p:nvPr/>
          </p:nvGrpSpPr>
          <p:grpSpPr>
            <a:xfrm>
              <a:off x="4434779" y="1556908"/>
              <a:ext cx="296179" cy="216026"/>
              <a:chOff x="4434779" y="1556908"/>
              <a:chExt cx="296179" cy="216026"/>
            </a:xfrm>
            <a:noFill/>
          </p:grpSpPr>
          <p:sp>
            <p:nvSpPr>
              <p:cNvPr id="351" name="Forma livre: Forma 350">
                <a:extLst>
                  <a:ext uri="{FF2B5EF4-FFF2-40B4-BE49-F238E27FC236}">
                    <a16:creationId xmlns:a16="http://schemas.microsoft.com/office/drawing/2014/main" id="{D5212588-E990-20A1-FF39-F7A0C6B980E5}"/>
                  </a:ext>
                </a:extLst>
              </p:cNvPr>
              <p:cNvSpPr/>
              <p:nvPr/>
            </p:nvSpPr>
            <p:spPr>
              <a:xfrm>
                <a:off x="4434779" y="1556908"/>
                <a:ext cx="296179" cy="216026"/>
              </a:xfrm>
              <a:custGeom>
                <a:avLst/>
                <a:gdLst>
                  <a:gd name="connsiteX0" fmla="*/ 281892 w 296179"/>
                  <a:gd name="connsiteY0" fmla="*/ 0 h 216026"/>
                  <a:gd name="connsiteX1" fmla="*/ 296180 w 296179"/>
                  <a:gd name="connsiteY1" fmla="*/ 14288 h 216026"/>
                  <a:gd name="connsiteX2" fmla="*/ 296180 w 296179"/>
                  <a:gd name="connsiteY2" fmla="*/ 201740 h 216026"/>
                  <a:gd name="connsiteX3" fmla="*/ 281892 w 296179"/>
                  <a:gd name="connsiteY3" fmla="*/ 216027 h 216026"/>
                  <a:gd name="connsiteX4" fmla="*/ 14288 w 296179"/>
                  <a:gd name="connsiteY4" fmla="*/ 216027 h 216026"/>
                  <a:gd name="connsiteX5" fmla="*/ 0 w 296179"/>
                  <a:gd name="connsiteY5" fmla="*/ 201740 h 216026"/>
                  <a:gd name="connsiteX6" fmla="*/ 0 w 296179"/>
                  <a:gd name="connsiteY6" fmla="*/ 14288 h 216026"/>
                  <a:gd name="connsiteX7" fmla="*/ 14288 w 296179"/>
                  <a:gd name="connsiteY7" fmla="*/ 0 h 2160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96179" h="216026">
                    <a:moveTo>
                      <a:pt x="281892" y="0"/>
                    </a:moveTo>
                    <a:cubicBezTo>
                      <a:pt x="289783" y="0"/>
                      <a:pt x="296180" y="6397"/>
                      <a:pt x="296180" y="14288"/>
                    </a:cubicBezTo>
                    <a:lnTo>
                      <a:pt x="296180" y="201740"/>
                    </a:lnTo>
                    <a:cubicBezTo>
                      <a:pt x="296180" y="209630"/>
                      <a:pt x="289783" y="216027"/>
                      <a:pt x="281892" y="216027"/>
                    </a:cubicBezTo>
                    <a:lnTo>
                      <a:pt x="14288" y="216027"/>
                    </a:lnTo>
                    <a:cubicBezTo>
                      <a:pt x="6397" y="216027"/>
                      <a:pt x="0" y="209630"/>
                      <a:pt x="0" y="201740"/>
                    </a:cubicBezTo>
                    <a:lnTo>
                      <a:pt x="0" y="14288"/>
                    </a:lnTo>
                    <a:cubicBezTo>
                      <a:pt x="0" y="6397"/>
                      <a:pt x="6397" y="0"/>
                      <a:pt x="14288" y="0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52" name="Forma livre: Forma 351">
                <a:extLst>
                  <a:ext uri="{FF2B5EF4-FFF2-40B4-BE49-F238E27FC236}">
                    <a16:creationId xmlns:a16="http://schemas.microsoft.com/office/drawing/2014/main" id="{891A77E1-2426-A019-E356-C90FD60292FC}"/>
                  </a:ext>
                </a:extLst>
              </p:cNvPr>
              <p:cNvSpPr/>
              <p:nvPr/>
            </p:nvSpPr>
            <p:spPr>
              <a:xfrm>
                <a:off x="4496262" y="1558147"/>
                <a:ext cx="4762" cy="213550"/>
              </a:xfrm>
              <a:custGeom>
                <a:avLst/>
                <a:gdLst>
                  <a:gd name="connsiteX0" fmla="*/ 0 w 4762"/>
                  <a:gd name="connsiteY0" fmla="*/ 0 h 213550"/>
                  <a:gd name="connsiteX1" fmla="*/ 0 w 4762"/>
                  <a:gd name="connsiteY1" fmla="*/ 213550 h 2135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62" h="213550">
                    <a:moveTo>
                      <a:pt x="0" y="0"/>
                    </a:moveTo>
                    <a:lnTo>
                      <a:pt x="0" y="21355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53" name="Forma livre: Forma 352">
                <a:extLst>
                  <a:ext uri="{FF2B5EF4-FFF2-40B4-BE49-F238E27FC236}">
                    <a16:creationId xmlns:a16="http://schemas.microsoft.com/office/drawing/2014/main" id="{B355AB46-C401-7503-9963-93B53ABC078C}"/>
                  </a:ext>
                </a:extLst>
              </p:cNvPr>
              <p:cNvSpPr/>
              <p:nvPr/>
            </p:nvSpPr>
            <p:spPr>
              <a:xfrm>
                <a:off x="4687286" y="1558147"/>
                <a:ext cx="4762" cy="213550"/>
              </a:xfrm>
              <a:custGeom>
                <a:avLst/>
                <a:gdLst>
                  <a:gd name="connsiteX0" fmla="*/ 0 w 4762"/>
                  <a:gd name="connsiteY0" fmla="*/ 0 h 213550"/>
                  <a:gd name="connsiteX1" fmla="*/ 0 w 4762"/>
                  <a:gd name="connsiteY1" fmla="*/ 213550 h 2135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62" h="213550">
                    <a:moveTo>
                      <a:pt x="0" y="0"/>
                    </a:moveTo>
                    <a:lnTo>
                      <a:pt x="0" y="21355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54" name="Forma livre: Forma 353">
                <a:extLst>
                  <a:ext uri="{FF2B5EF4-FFF2-40B4-BE49-F238E27FC236}">
                    <a16:creationId xmlns:a16="http://schemas.microsoft.com/office/drawing/2014/main" id="{A91C6B61-3EE3-6929-88B4-EC6A70228FDC}"/>
                  </a:ext>
                </a:extLst>
              </p:cNvPr>
              <p:cNvSpPr/>
              <p:nvPr/>
            </p:nvSpPr>
            <p:spPr>
              <a:xfrm>
                <a:off x="4464878" y="1654397"/>
                <a:ext cx="4762" cy="21097"/>
              </a:xfrm>
              <a:custGeom>
                <a:avLst/>
                <a:gdLst>
                  <a:gd name="connsiteX0" fmla="*/ 0 w 4762"/>
                  <a:gd name="connsiteY0" fmla="*/ 0 h 21097"/>
                  <a:gd name="connsiteX1" fmla="*/ 0 w 4762"/>
                  <a:gd name="connsiteY1" fmla="*/ 21098 h 210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62" h="21097">
                    <a:moveTo>
                      <a:pt x="0" y="0"/>
                    </a:moveTo>
                    <a:lnTo>
                      <a:pt x="0" y="21098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355" name="Gráfico 6">
            <a:extLst>
              <a:ext uri="{FF2B5EF4-FFF2-40B4-BE49-F238E27FC236}">
                <a16:creationId xmlns:a16="http://schemas.microsoft.com/office/drawing/2014/main" id="{243EA71B-A0A7-4106-CCCE-4BD248DDFDE6}"/>
              </a:ext>
            </a:extLst>
          </p:cNvPr>
          <p:cNvGrpSpPr/>
          <p:nvPr/>
        </p:nvGrpSpPr>
        <p:grpSpPr>
          <a:xfrm>
            <a:off x="4435284" y="3155632"/>
            <a:ext cx="295197" cy="252745"/>
            <a:chOff x="4435284" y="3155632"/>
            <a:chExt cx="295197" cy="252745"/>
          </a:xfrm>
        </p:grpSpPr>
        <p:sp>
          <p:nvSpPr>
            <p:cNvPr id="356" name="Forma livre: Forma 355">
              <a:extLst>
                <a:ext uri="{FF2B5EF4-FFF2-40B4-BE49-F238E27FC236}">
                  <a16:creationId xmlns:a16="http://schemas.microsoft.com/office/drawing/2014/main" id="{685554FA-4236-B3DD-F113-F8452C3D431E}"/>
                </a:ext>
              </a:extLst>
            </p:cNvPr>
            <p:cNvSpPr/>
            <p:nvPr/>
          </p:nvSpPr>
          <p:spPr>
            <a:xfrm>
              <a:off x="4570462" y="3155632"/>
              <a:ext cx="44053" cy="168306"/>
            </a:xfrm>
            <a:custGeom>
              <a:avLst/>
              <a:gdLst>
                <a:gd name="connsiteX0" fmla="*/ 19002 w 44053"/>
                <a:gd name="connsiteY0" fmla="*/ 0 h 168306"/>
                <a:gd name="connsiteX1" fmla="*/ 0 w 44053"/>
                <a:gd name="connsiteY1" fmla="*/ 0 h 168306"/>
                <a:gd name="connsiteX2" fmla="*/ 0 w 44053"/>
                <a:gd name="connsiteY2" fmla="*/ 86296 h 168306"/>
                <a:gd name="connsiteX3" fmla="*/ 7763 w 44053"/>
                <a:gd name="connsiteY3" fmla="*/ 112585 h 168306"/>
                <a:gd name="connsiteX4" fmla="*/ 44053 w 44053"/>
                <a:gd name="connsiteY4" fmla="*/ 168307 h 1683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053" h="168306">
                  <a:moveTo>
                    <a:pt x="19002" y="0"/>
                  </a:moveTo>
                  <a:lnTo>
                    <a:pt x="0" y="0"/>
                  </a:lnTo>
                  <a:cubicBezTo>
                    <a:pt x="0" y="0"/>
                    <a:pt x="0" y="86296"/>
                    <a:pt x="0" y="86296"/>
                  </a:cubicBezTo>
                  <a:cubicBezTo>
                    <a:pt x="0" y="94155"/>
                    <a:pt x="3477" y="105966"/>
                    <a:pt x="7763" y="112585"/>
                  </a:cubicBezTo>
                  <a:cubicBezTo>
                    <a:pt x="7763" y="112585"/>
                    <a:pt x="25956" y="140589"/>
                    <a:pt x="44053" y="168307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57" name="Forma livre: Forma 356">
              <a:extLst>
                <a:ext uri="{FF2B5EF4-FFF2-40B4-BE49-F238E27FC236}">
                  <a16:creationId xmlns:a16="http://schemas.microsoft.com/office/drawing/2014/main" id="{D93C7003-8C7D-0D7B-6348-1DDE9122EC3B}"/>
                </a:ext>
              </a:extLst>
            </p:cNvPr>
            <p:cNvSpPr/>
            <p:nvPr/>
          </p:nvSpPr>
          <p:spPr>
            <a:xfrm>
              <a:off x="4435284" y="3155632"/>
              <a:ext cx="187231" cy="252555"/>
            </a:xfrm>
            <a:custGeom>
              <a:avLst/>
              <a:gdLst>
                <a:gd name="connsiteX0" fmla="*/ 63359 w 187231"/>
                <a:gd name="connsiteY0" fmla="*/ 0 h 252555"/>
                <a:gd name="connsiteX1" fmla="*/ 82362 w 187231"/>
                <a:gd name="connsiteY1" fmla="*/ 0 h 252555"/>
                <a:gd name="connsiteX2" fmla="*/ 82362 w 187231"/>
                <a:gd name="connsiteY2" fmla="*/ 86296 h 252555"/>
                <a:gd name="connsiteX3" fmla="*/ 74599 w 187231"/>
                <a:gd name="connsiteY3" fmla="*/ 112585 h 252555"/>
                <a:gd name="connsiteX4" fmla="*/ 5066 w 187231"/>
                <a:gd name="connsiteY4" fmla="*/ 218932 h 252555"/>
                <a:gd name="connsiteX5" fmla="*/ 30069 w 187231"/>
                <a:gd name="connsiteY5" fmla="*/ 252555 h 252555"/>
                <a:gd name="connsiteX6" fmla="*/ 187232 w 187231"/>
                <a:gd name="connsiteY6" fmla="*/ 252555 h 2525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87231" h="252555">
                  <a:moveTo>
                    <a:pt x="63359" y="0"/>
                  </a:moveTo>
                  <a:lnTo>
                    <a:pt x="82362" y="0"/>
                  </a:lnTo>
                  <a:cubicBezTo>
                    <a:pt x="82362" y="0"/>
                    <a:pt x="82362" y="86296"/>
                    <a:pt x="82362" y="86296"/>
                  </a:cubicBezTo>
                  <a:cubicBezTo>
                    <a:pt x="82362" y="94155"/>
                    <a:pt x="78885" y="105966"/>
                    <a:pt x="74599" y="112585"/>
                  </a:cubicBezTo>
                  <a:cubicBezTo>
                    <a:pt x="74599" y="112585"/>
                    <a:pt x="17496" y="200406"/>
                    <a:pt x="5066" y="218932"/>
                  </a:cubicBezTo>
                  <a:cubicBezTo>
                    <a:pt x="-7364" y="237411"/>
                    <a:pt x="3876" y="252555"/>
                    <a:pt x="30069" y="252555"/>
                  </a:cubicBezTo>
                  <a:lnTo>
                    <a:pt x="187232" y="252555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58" name="Forma livre: Forma 357">
              <a:extLst>
                <a:ext uri="{FF2B5EF4-FFF2-40B4-BE49-F238E27FC236}">
                  <a16:creationId xmlns:a16="http://schemas.microsoft.com/office/drawing/2014/main" id="{70A51D11-1A1E-E54C-97EE-DDD4225B095C}"/>
                </a:ext>
              </a:extLst>
            </p:cNvPr>
            <p:cNvSpPr/>
            <p:nvPr/>
          </p:nvSpPr>
          <p:spPr>
            <a:xfrm>
              <a:off x="4485642" y="3305746"/>
              <a:ext cx="116871" cy="4762"/>
            </a:xfrm>
            <a:custGeom>
              <a:avLst/>
              <a:gdLst>
                <a:gd name="connsiteX0" fmla="*/ 0 w 116871"/>
                <a:gd name="connsiteY0" fmla="*/ 0 h 4762"/>
                <a:gd name="connsiteX1" fmla="*/ 116872 w 116871"/>
                <a:gd name="connsiteY1" fmla="*/ 0 h 47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6871" h="4762">
                  <a:moveTo>
                    <a:pt x="0" y="0"/>
                  </a:moveTo>
                  <a:lnTo>
                    <a:pt x="116872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59" name="Forma livre: Forma 358">
              <a:extLst>
                <a:ext uri="{FF2B5EF4-FFF2-40B4-BE49-F238E27FC236}">
                  <a16:creationId xmlns:a16="http://schemas.microsoft.com/office/drawing/2014/main" id="{F8EAC719-6CC1-49BA-1F57-BACB19C65F27}"/>
                </a:ext>
              </a:extLst>
            </p:cNvPr>
            <p:cNvSpPr/>
            <p:nvPr/>
          </p:nvSpPr>
          <p:spPr>
            <a:xfrm>
              <a:off x="4639566" y="3250168"/>
              <a:ext cx="72009" cy="4762"/>
            </a:xfrm>
            <a:custGeom>
              <a:avLst/>
              <a:gdLst>
                <a:gd name="connsiteX0" fmla="*/ 0 w 72009"/>
                <a:gd name="connsiteY0" fmla="*/ 0 h 4762"/>
                <a:gd name="connsiteX1" fmla="*/ 72009 w 72009"/>
                <a:gd name="connsiteY1" fmla="*/ 0 h 47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2009" h="4762">
                  <a:moveTo>
                    <a:pt x="0" y="0"/>
                  </a:moveTo>
                  <a:lnTo>
                    <a:pt x="72009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60" name="Forma livre: Forma 359">
              <a:extLst>
                <a:ext uri="{FF2B5EF4-FFF2-40B4-BE49-F238E27FC236}">
                  <a16:creationId xmlns:a16="http://schemas.microsoft.com/office/drawing/2014/main" id="{7B4FB051-9298-908B-9920-B8A12DB062ED}"/>
                </a:ext>
              </a:extLst>
            </p:cNvPr>
            <p:cNvSpPr/>
            <p:nvPr/>
          </p:nvSpPr>
          <p:spPr>
            <a:xfrm>
              <a:off x="4545459" y="3340465"/>
              <a:ext cx="7429" cy="7429"/>
            </a:xfrm>
            <a:custGeom>
              <a:avLst/>
              <a:gdLst>
                <a:gd name="connsiteX0" fmla="*/ 7430 w 7429"/>
                <a:gd name="connsiteY0" fmla="*/ 3715 h 7429"/>
                <a:gd name="connsiteX1" fmla="*/ 3715 w 7429"/>
                <a:gd name="connsiteY1" fmla="*/ 7429 h 7429"/>
                <a:gd name="connsiteX2" fmla="*/ 0 w 7429"/>
                <a:gd name="connsiteY2" fmla="*/ 3715 h 7429"/>
                <a:gd name="connsiteX3" fmla="*/ 3715 w 7429"/>
                <a:gd name="connsiteY3" fmla="*/ 0 h 7429"/>
                <a:gd name="connsiteX4" fmla="*/ 7430 w 7429"/>
                <a:gd name="connsiteY4" fmla="*/ 3715 h 74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429" h="7429">
                  <a:moveTo>
                    <a:pt x="7430" y="3715"/>
                  </a:moveTo>
                  <a:cubicBezTo>
                    <a:pt x="7430" y="5763"/>
                    <a:pt x="5763" y="7429"/>
                    <a:pt x="3715" y="7429"/>
                  </a:cubicBezTo>
                  <a:cubicBezTo>
                    <a:pt x="1667" y="7429"/>
                    <a:pt x="0" y="5763"/>
                    <a:pt x="0" y="3715"/>
                  </a:cubicBezTo>
                  <a:cubicBezTo>
                    <a:pt x="0" y="1667"/>
                    <a:pt x="1667" y="0"/>
                    <a:pt x="3715" y="0"/>
                  </a:cubicBezTo>
                  <a:cubicBezTo>
                    <a:pt x="5763" y="0"/>
                    <a:pt x="7430" y="1667"/>
                    <a:pt x="7430" y="3715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61" name="Forma livre: Forma 360">
              <a:extLst>
                <a:ext uri="{FF2B5EF4-FFF2-40B4-BE49-F238E27FC236}">
                  <a16:creationId xmlns:a16="http://schemas.microsoft.com/office/drawing/2014/main" id="{A87D8ABB-8D15-5BFD-A239-B01D1CD370DD}"/>
                </a:ext>
              </a:extLst>
            </p:cNvPr>
            <p:cNvSpPr/>
            <p:nvPr/>
          </p:nvSpPr>
          <p:spPr>
            <a:xfrm>
              <a:off x="4573320" y="3359467"/>
              <a:ext cx="7429" cy="7429"/>
            </a:xfrm>
            <a:custGeom>
              <a:avLst/>
              <a:gdLst>
                <a:gd name="connsiteX0" fmla="*/ 7430 w 7429"/>
                <a:gd name="connsiteY0" fmla="*/ 3715 h 7429"/>
                <a:gd name="connsiteX1" fmla="*/ 3715 w 7429"/>
                <a:gd name="connsiteY1" fmla="*/ 7429 h 7429"/>
                <a:gd name="connsiteX2" fmla="*/ 0 w 7429"/>
                <a:gd name="connsiteY2" fmla="*/ 3715 h 7429"/>
                <a:gd name="connsiteX3" fmla="*/ 3715 w 7429"/>
                <a:gd name="connsiteY3" fmla="*/ 0 h 7429"/>
                <a:gd name="connsiteX4" fmla="*/ 7430 w 7429"/>
                <a:gd name="connsiteY4" fmla="*/ 3715 h 74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429" h="7429">
                  <a:moveTo>
                    <a:pt x="7430" y="3715"/>
                  </a:moveTo>
                  <a:cubicBezTo>
                    <a:pt x="7430" y="5763"/>
                    <a:pt x="5763" y="7429"/>
                    <a:pt x="3715" y="7429"/>
                  </a:cubicBezTo>
                  <a:cubicBezTo>
                    <a:pt x="1667" y="7429"/>
                    <a:pt x="0" y="5763"/>
                    <a:pt x="0" y="3715"/>
                  </a:cubicBezTo>
                  <a:cubicBezTo>
                    <a:pt x="0" y="1667"/>
                    <a:pt x="1667" y="0"/>
                    <a:pt x="3715" y="0"/>
                  </a:cubicBezTo>
                  <a:cubicBezTo>
                    <a:pt x="5763" y="0"/>
                    <a:pt x="7430" y="1667"/>
                    <a:pt x="7430" y="3715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62" name="Forma livre: Forma 361">
              <a:extLst>
                <a:ext uri="{FF2B5EF4-FFF2-40B4-BE49-F238E27FC236}">
                  <a16:creationId xmlns:a16="http://schemas.microsoft.com/office/drawing/2014/main" id="{B0736598-B5BA-A4A2-3755-DB8F3A19F731}"/>
                </a:ext>
              </a:extLst>
            </p:cNvPr>
            <p:cNvSpPr/>
            <p:nvPr/>
          </p:nvSpPr>
          <p:spPr>
            <a:xfrm>
              <a:off x="4664712" y="3315366"/>
              <a:ext cx="7429" cy="7429"/>
            </a:xfrm>
            <a:custGeom>
              <a:avLst/>
              <a:gdLst>
                <a:gd name="connsiteX0" fmla="*/ 7429 w 7429"/>
                <a:gd name="connsiteY0" fmla="*/ 3715 h 7429"/>
                <a:gd name="connsiteX1" fmla="*/ 3715 w 7429"/>
                <a:gd name="connsiteY1" fmla="*/ 7429 h 7429"/>
                <a:gd name="connsiteX2" fmla="*/ 0 w 7429"/>
                <a:gd name="connsiteY2" fmla="*/ 3715 h 7429"/>
                <a:gd name="connsiteX3" fmla="*/ 3715 w 7429"/>
                <a:gd name="connsiteY3" fmla="*/ 0 h 7429"/>
                <a:gd name="connsiteX4" fmla="*/ 7429 w 7429"/>
                <a:gd name="connsiteY4" fmla="*/ 3715 h 74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429" h="7429">
                  <a:moveTo>
                    <a:pt x="7429" y="3715"/>
                  </a:moveTo>
                  <a:cubicBezTo>
                    <a:pt x="7429" y="5763"/>
                    <a:pt x="5763" y="7429"/>
                    <a:pt x="3715" y="7429"/>
                  </a:cubicBezTo>
                  <a:cubicBezTo>
                    <a:pt x="1667" y="7429"/>
                    <a:pt x="0" y="5763"/>
                    <a:pt x="0" y="3715"/>
                  </a:cubicBezTo>
                  <a:cubicBezTo>
                    <a:pt x="0" y="1667"/>
                    <a:pt x="1667" y="0"/>
                    <a:pt x="3715" y="0"/>
                  </a:cubicBezTo>
                  <a:cubicBezTo>
                    <a:pt x="5763" y="0"/>
                    <a:pt x="7429" y="1667"/>
                    <a:pt x="7429" y="3715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63" name="Forma livre: Forma 362">
              <a:extLst>
                <a:ext uri="{FF2B5EF4-FFF2-40B4-BE49-F238E27FC236}">
                  <a16:creationId xmlns:a16="http://schemas.microsoft.com/office/drawing/2014/main" id="{8216C0A2-4FF8-89AF-4564-14E815947AD8}"/>
                </a:ext>
              </a:extLst>
            </p:cNvPr>
            <p:cNvSpPr/>
            <p:nvPr/>
          </p:nvSpPr>
          <p:spPr>
            <a:xfrm>
              <a:off x="4678857" y="3285458"/>
              <a:ext cx="7429" cy="7429"/>
            </a:xfrm>
            <a:custGeom>
              <a:avLst/>
              <a:gdLst>
                <a:gd name="connsiteX0" fmla="*/ 7430 w 7429"/>
                <a:gd name="connsiteY0" fmla="*/ 3715 h 7429"/>
                <a:gd name="connsiteX1" fmla="*/ 3715 w 7429"/>
                <a:gd name="connsiteY1" fmla="*/ 7430 h 7429"/>
                <a:gd name="connsiteX2" fmla="*/ 0 w 7429"/>
                <a:gd name="connsiteY2" fmla="*/ 3715 h 7429"/>
                <a:gd name="connsiteX3" fmla="*/ 3715 w 7429"/>
                <a:gd name="connsiteY3" fmla="*/ 0 h 7429"/>
                <a:gd name="connsiteX4" fmla="*/ 7430 w 7429"/>
                <a:gd name="connsiteY4" fmla="*/ 3715 h 74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429" h="7429">
                  <a:moveTo>
                    <a:pt x="7430" y="3715"/>
                  </a:moveTo>
                  <a:cubicBezTo>
                    <a:pt x="7430" y="5763"/>
                    <a:pt x="5763" y="7430"/>
                    <a:pt x="3715" y="7430"/>
                  </a:cubicBezTo>
                  <a:cubicBezTo>
                    <a:pt x="1667" y="7430"/>
                    <a:pt x="0" y="5763"/>
                    <a:pt x="0" y="3715"/>
                  </a:cubicBezTo>
                  <a:cubicBezTo>
                    <a:pt x="0" y="1667"/>
                    <a:pt x="1667" y="0"/>
                    <a:pt x="3715" y="0"/>
                  </a:cubicBezTo>
                  <a:cubicBezTo>
                    <a:pt x="5763" y="0"/>
                    <a:pt x="7430" y="1667"/>
                    <a:pt x="7430" y="3715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64" name="Forma livre: Forma 363">
              <a:extLst>
                <a:ext uri="{FF2B5EF4-FFF2-40B4-BE49-F238E27FC236}">
                  <a16:creationId xmlns:a16="http://schemas.microsoft.com/office/drawing/2014/main" id="{45BC65C9-D21E-F0CF-B38B-EBD952824EF5}"/>
                </a:ext>
              </a:extLst>
            </p:cNvPr>
            <p:cNvSpPr/>
            <p:nvPr/>
          </p:nvSpPr>
          <p:spPr>
            <a:xfrm>
              <a:off x="4620707" y="3195018"/>
              <a:ext cx="109775" cy="213360"/>
            </a:xfrm>
            <a:custGeom>
              <a:avLst/>
              <a:gdLst>
                <a:gd name="connsiteX0" fmla="*/ 109776 w 109775"/>
                <a:gd name="connsiteY0" fmla="*/ 0 h 213360"/>
                <a:gd name="connsiteX1" fmla="*/ 91202 w 109775"/>
                <a:gd name="connsiteY1" fmla="*/ 0 h 213360"/>
                <a:gd name="connsiteX2" fmla="*/ 91202 w 109775"/>
                <a:gd name="connsiteY2" fmla="*/ 180023 h 213360"/>
                <a:gd name="connsiteX3" fmla="*/ 57864 w 109775"/>
                <a:gd name="connsiteY3" fmla="*/ 213360 h 213360"/>
                <a:gd name="connsiteX4" fmla="*/ 51911 w 109775"/>
                <a:gd name="connsiteY4" fmla="*/ 213360 h 213360"/>
                <a:gd name="connsiteX5" fmla="*/ 18574 w 109775"/>
                <a:gd name="connsiteY5" fmla="*/ 180023 h 213360"/>
                <a:gd name="connsiteX6" fmla="*/ 18574 w 109775"/>
                <a:gd name="connsiteY6" fmla="*/ 0 h 213360"/>
                <a:gd name="connsiteX7" fmla="*/ 0 w 109775"/>
                <a:gd name="connsiteY7" fmla="*/ 0 h 2133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09775" h="213360">
                  <a:moveTo>
                    <a:pt x="109776" y="0"/>
                  </a:moveTo>
                  <a:lnTo>
                    <a:pt x="91202" y="0"/>
                  </a:lnTo>
                  <a:cubicBezTo>
                    <a:pt x="91202" y="0"/>
                    <a:pt x="91202" y="180023"/>
                    <a:pt x="91202" y="180023"/>
                  </a:cubicBezTo>
                  <a:cubicBezTo>
                    <a:pt x="91202" y="198358"/>
                    <a:pt x="76200" y="213360"/>
                    <a:pt x="57864" y="213360"/>
                  </a:cubicBezTo>
                  <a:lnTo>
                    <a:pt x="51911" y="213360"/>
                  </a:lnTo>
                  <a:cubicBezTo>
                    <a:pt x="33576" y="213360"/>
                    <a:pt x="18574" y="198358"/>
                    <a:pt x="18574" y="180023"/>
                  </a:cubicBezTo>
                  <a:lnTo>
                    <a:pt x="18574" y="0"/>
                  </a:lnTo>
                  <a:lnTo>
                    <a:pt x="0" y="0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365" name="Gráfico 6">
            <a:extLst>
              <a:ext uri="{FF2B5EF4-FFF2-40B4-BE49-F238E27FC236}">
                <a16:creationId xmlns:a16="http://schemas.microsoft.com/office/drawing/2014/main" id="{C80552CF-174C-943A-5216-BF98A699EEDD}"/>
              </a:ext>
            </a:extLst>
          </p:cNvPr>
          <p:cNvGrpSpPr/>
          <p:nvPr/>
        </p:nvGrpSpPr>
        <p:grpSpPr>
          <a:xfrm>
            <a:off x="5055190" y="1005268"/>
            <a:ext cx="304800" cy="242744"/>
            <a:chOff x="5055190" y="1005268"/>
            <a:chExt cx="304800" cy="242744"/>
          </a:xfrm>
          <a:noFill/>
        </p:grpSpPr>
        <p:sp>
          <p:nvSpPr>
            <p:cNvPr id="366" name="Forma livre: Forma 365">
              <a:extLst>
                <a:ext uri="{FF2B5EF4-FFF2-40B4-BE49-F238E27FC236}">
                  <a16:creationId xmlns:a16="http://schemas.microsoft.com/office/drawing/2014/main" id="{D8F49A56-D36B-8EA6-33A5-80CE1A9B43B2}"/>
                </a:ext>
              </a:extLst>
            </p:cNvPr>
            <p:cNvSpPr/>
            <p:nvPr/>
          </p:nvSpPr>
          <p:spPr>
            <a:xfrm>
              <a:off x="5147153" y="1083706"/>
              <a:ext cx="4762" cy="70246"/>
            </a:xfrm>
            <a:custGeom>
              <a:avLst/>
              <a:gdLst>
                <a:gd name="connsiteX0" fmla="*/ 0 w 4762"/>
                <a:gd name="connsiteY0" fmla="*/ 0 h 70246"/>
                <a:gd name="connsiteX1" fmla="*/ 0 w 4762"/>
                <a:gd name="connsiteY1" fmla="*/ 70247 h 70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762" h="70246">
                  <a:moveTo>
                    <a:pt x="0" y="0"/>
                  </a:moveTo>
                  <a:lnTo>
                    <a:pt x="0" y="70247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67" name="Forma livre: Forma 366">
              <a:extLst>
                <a:ext uri="{FF2B5EF4-FFF2-40B4-BE49-F238E27FC236}">
                  <a16:creationId xmlns:a16="http://schemas.microsoft.com/office/drawing/2014/main" id="{F1DDE50B-86D8-8BD4-A6A4-9D09938429D6}"/>
                </a:ext>
              </a:extLst>
            </p:cNvPr>
            <p:cNvSpPr/>
            <p:nvPr/>
          </p:nvSpPr>
          <p:spPr>
            <a:xfrm>
              <a:off x="5112006" y="1118854"/>
              <a:ext cx="70294" cy="4762"/>
            </a:xfrm>
            <a:custGeom>
              <a:avLst/>
              <a:gdLst>
                <a:gd name="connsiteX0" fmla="*/ 70295 w 70294"/>
                <a:gd name="connsiteY0" fmla="*/ 0 h 4762"/>
                <a:gd name="connsiteX1" fmla="*/ 0 w 70294"/>
                <a:gd name="connsiteY1" fmla="*/ 0 h 47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0294" h="4762">
                  <a:moveTo>
                    <a:pt x="70295" y="0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68" name="Forma livre: Forma 367">
              <a:extLst>
                <a:ext uri="{FF2B5EF4-FFF2-40B4-BE49-F238E27FC236}">
                  <a16:creationId xmlns:a16="http://schemas.microsoft.com/office/drawing/2014/main" id="{0BB1FE53-1C3B-1AAA-B6F4-7F6B893BDB93}"/>
                </a:ext>
              </a:extLst>
            </p:cNvPr>
            <p:cNvSpPr/>
            <p:nvPr/>
          </p:nvSpPr>
          <p:spPr>
            <a:xfrm>
              <a:off x="5055190" y="1053539"/>
              <a:ext cx="304800" cy="165755"/>
            </a:xfrm>
            <a:custGeom>
              <a:avLst/>
              <a:gdLst>
                <a:gd name="connsiteX0" fmla="*/ 35004 w 304800"/>
                <a:gd name="connsiteY0" fmla="*/ 165756 h 165755"/>
                <a:gd name="connsiteX1" fmla="*/ 19050 w 304800"/>
                <a:gd name="connsiteY1" fmla="*/ 165756 h 165755"/>
                <a:gd name="connsiteX2" fmla="*/ 0 w 304800"/>
                <a:gd name="connsiteY2" fmla="*/ 146706 h 165755"/>
                <a:gd name="connsiteX3" fmla="*/ 0 w 304800"/>
                <a:gd name="connsiteY3" fmla="*/ 19071 h 165755"/>
                <a:gd name="connsiteX4" fmla="*/ 19050 w 304800"/>
                <a:gd name="connsiteY4" fmla="*/ 21 h 165755"/>
                <a:gd name="connsiteX5" fmla="*/ 187928 w 304800"/>
                <a:gd name="connsiteY5" fmla="*/ 21 h 165755"/>
                <a:gd name="connsiteX6" fmla="*/ 304800 w 304800"/>
                <a:gd name="connsiteY6" fmla="*/ 106939 h 165755"/>
                <a:gd name="connsiteX7" fmla="*/ 304800 w 304800"/>
                <a:gd name="connsiteY7" fmla="*/ 146658 h 165755"/>
                <a:gd name="connsiteX8" fmla="*/ 285750 w 304800"/>
                <a:gd name="connsiteY8" fmla="*/ 165708 h 165755"/>
                <a:gd name="connsiteX9" fmla="*/ 266700 w 304800"/>
                <a:gd name="connsiteY9" fmla="*/ 165708 h 1657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04800" h="165755">
                  <a:moveTo>
                    <a:pt x="35004" y="165756"/>
                  </a:moveTo>
                  <a:lnTo>
                    <a:pt x="19050" y="165756"/>
                  </a:lnTo>
                  <a:cubicBezTo>
                    <a:pt x="8573" y="165756"/>
                    <a:pt x="0" y="157183"/>
                    <a:pt x="0" y="146706"/>
                  </a:cubicBezTo>
                  <a:lnTo>
                    <a:pt x="0" y="19071"/>
                  </a:lnTo>
                  <a:cubicBezTo>
                    <a:pt x="0" y="8593"/>
                    <a:pt x="8573" y="21"/>
                    <a:pt x="19050" y="21"/>
                  </a:cubicBezTo>
                  <a:lnTo>
                    <a:pt x="187928" y="21"/>
                  </a:lnTo>
                  <a:cubicBezTo>
                    <a:pt x="187928" y="21"/>
                    <a:pt x="247031" y="-4170"/>
                    <a:pt x="304800" y="106939"/>
                  </a:cubicBezTo>
                  <a:lnTo>
                    <a:pt x="304800" y="146658"/>
                  </a:lnTo>
                  <a:cubicBezTo>
                    <a:pt x="304800" y="157135"/>
                    <a:pt x="296228" y="165708"/>
                    <a:pt x="285750" y="165708"/>
                  </a:cubicBezTo>
                  <a:lnTo>
                    <a:pt x="266700" y="165708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69" name="Forma livre: Forma 368">
              <a:extLst>
                <a:ext uri="{FF2B5EF4-FFF2-40B4-BE49-F238E27FC236}">
                  <a16:creationId xmlns:a16="http://schemas.microsoft.com/office/drawing/2014/main" id="{C62A5CD0-BCAD-1EA8-C466-3B5D393063C9}"/>
                </a:ext>
              </a:extLst>
            </p:cNvPr>
            <p:cNvSpPr/>
            <p:nvPr/>
          </p:nvSpPr>
          <p:spPr>
            <a:xfrm>
              <a:off x="5148106" y="1219295"/>
              <a:ext cx="115681" cy="4762"/>
            </a:xfrm>
            <a:custGeom>
              <a:avLst/>
              <a:gdLst>
                <a:gd name="connsiteX0" fmla="*/ 115681 w 115681"/>
                <a:gd name="connsiteY0" fmla="*/ 0 h 4762"/>
                <a:gd name="connsiteX1" fmla="*/ 0 w 115681"/>
                <a:gd name="connsiteY1" fmla="*/ 0 h 47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5681" h="4762">
                  <a:moveTo>
                    <a:pt x="115681" y="0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70" name="Forma livre: Forma 369">
              <a:extLst>
                <a:ext uri="{FF2B5EF4-FFF2-40B4-BE49-F238E27FC236}">
                  <a16:creationId xmlns:a16="http://schemas.microsoft.com/office/drawing/2014/main" id="{FE7C5D8D-8B15-7793-1E09-25D6B1D4FBFA}"/>
                </a:ext>
              </a:extLst>
            </p:cNvPr>
            <p:cNvSpPr/>
            <p:nvPr/>
          </p:nvSpPr>
          <p:spPr>
            <a:xfrm>
              <a:off x="5264025" y="1190815"/>
              <a:ext cx="57245" cy="57197"/>
            </a:xfrm>
            <a:custGeom>
              <a:avLst/>
              <a:gdLst>
                <a:gd name="connsiteX0" fmla="*/ 57245 w 57245"/>
                <a:gd name="connsiteY0" fmla="*/ 28623 h 57197"/>
                <a:gd name="connsiteX1" fmla="*/ 28623 w 57245"/>
                <a:gd name="connsiteY1" fmla="*/ 57198 h 57197"/>
                <a:gd name="connsiteX2" fmla="*/ 0 w 57245"/>
                <a:gd name="connsiteY2" fmla="*/ 28623 h 57197"/>
                <a:gd name="connsiteX3" fmla="*/ 28623 w 57245"/>
                <a:gd name="connsiteY3" fmla="*/ 0 h 57197"/>
                <a:gd name="connsiteX4" fmla="*/ 57245 w 57245"/>
                <a:gd name="connsiteY4" fmla="*/ 28623 h 571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245" h="57197">
                  <a:moveTo>
                    <a:pt x="57245" y="28623"/>
                  </a:moveTo>
                  <a:cubicBezTo>
                    <a:pt x="57245" y="44434"/>
                    <a:pt x="44434" y="57198"/>
                    <a:pt x="28623" y="57198"/>
                  </a:cubicBezTo>
                  <a:cubicBezTo>
                    <a:pt x="12811" y="57198"/>
                    <a:pt x="0" y="44387"/>
                    <a:pt x="0" y="28623"/>
                  </a:cubicBezTo>
                  <a:cubicBezTo>
                    <a:pt x="0" y="12859"/>
                    <a:pt x="12811" y="0"/>
                    <a:pt x="28623" y="0"/>
                  </a:cubicBezTo>
                  <a:cubicBezTo>
                    <a:pt x="44434" y="0"/>
                    <a:pt x="57245" y="12811"/>
                    <a:pt x="57245" y="28623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71" name="Forma livre: Forma 370">
              <a:extLst>
                <a:ext uri="{FF2B5EF4-FFF2-40B4-BE49-F238E27FC236}">
                  <a16:creationId xmlns:a16="http://schemas.microsoft.com/office/drawing/2014/main" id="{905F3621-856F-76A9-8773-F2D654A83E58}"/>
                </a:ext>
              </a:extLst>
            </p:cNvPr>
            <p:cNvSpPr/>
            <p:nvPr/>
          </p:nvSpPr>
          <p:spPr>
            <a:xfrm>
              <a:off x="5090861" y="1190815"/>
              <a:ext cx="57245" cy="57197"/>
            </a:xfrm>
            <a:custGeom>
              <a:avLst/>
              <a:gdLst>
                <a:gd name="connsiteX0" fmla="*/ 57245 w 57245"/>
                <a:gd name="connsiteY0" fmla="*/ 28623 h 57197"/>
                <a:gd name="connsiteX1" fmla="*/ 28623 w 57245"/>
                <a:gd name="connsiteY1" fmla="*/ 57198 h 57197"/>
                <a:gd name="connsiteX2" fmla="*/ 0 w 57245"/>
                <a:gd name="connsiteY2" fmla="*/ 28623 h 57197"/>
                <a:gd name="connsiteX3" fmla="*/ 28623 w 57245"/>
                <a:gd name="connsiteY3" fmla="*/ 0 h 57197"/>
                <a:gd name="connsiteX4" fmla="*/ 57245 w 57245"/>
                <a:gd name="connsiteY4" fmla="*/ 28623 h 571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245" h="57197">
                  <a:moveTo>
                    <a:pt x="57245" y="28623"/>
                  </a:moveTo>
                  <a:cubicBezTo>
                    <a:pt x="57245" y="44434"/>
                    <a:pt x="44434" y="57198"/>
                    <a:pt x="28623" y="57198"/>
                  </a:cubicBezTo>
                  <a:cubicBezTo>
                    <a:pt x="12811" y="57198"/>
                    <a:pt x="0" y="44387"/>
                    <a:pt x="0" y="28623"/>
                  </a:cubicBezTo>
                  <a:cubicBezTo>
                    <a:pt x="0" y="12859"/>
                    <a:pt x="12811" y="0"/>
                    <a:pt x="28623" y="0"/>
                  </a:cubicBezTo>
                  <a:cubicBezTo>
                    <a:pt x="44434" y="0"/>
                    <a:pt x="57245" y="12811"/>
                    <a:pt x="57245" y="28623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72" name="Forma livre: Forma 371">
              <a:extLst>
                <a:ext uri="{FF2B5EF4-FFF2-40B4-BE49-F238E27FC236}">
                  <a16:creationId xmlns:a16="http://schemas.microsoft.com/office/drawing/2014/main" id="{6245BD89-5186-F577-961A-6E51FE926A20}"/>
                </a:ext>
              </a:extLst>
            </p:cNvPr>
            <p:cNvSpPr/>
            <p:nvPr/>
          </p:nvSpPr>
          <p:spPr>
            <a:xfrm>
              <a:off x="5247071" y="1086135"/>
              <a:ext cx="98440" cy="53387"/>
            </a:xfrm>
            <a:custGeom>
              <a:avLst/>
              <a:gdLst>
                <a:gd name="connsiteX0" fmla="*/ 0 w 98440"/>
                <a:gd name="connsiteY0" fmla="*/ 0 h 53387"/>
                <a:gd name="connsiteX1" fmla="*/ 0 w 98440"/>
                <a:gd name="connsiteY1" fmla="*/ 29718 h 53387"/>
                <a:gd name="connsiteX2" fmla="*/ 22527 w 98440"/>
                <a:gd name="connsiteY2" fmla="*/ 53388 h 53387"/>
                <a:gd name="connsiteX3" fmla="*/ 98441 w 98440"/>
                <a:gd name="connsiteY3" fmla="*/ 53388 h 533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8440" h="53387">
                  <a:moveTo>
                    <a:pt x="0" y="0"/>
                  </a:moveTo>
                  <a:lnTo>
                    <a:pt x="0" y="29718"/>
                  </a:lnTo>
                  <a:cubicBezTo>
                    <a:pt x="0" y="29718"/>
                    <a:pt x="0" y="53388"/>
                    <a:pt x="22527" y="53388"/>
                  </a:cubicBezTo>
                  <a:lnTo>
                    <a:pt x="98441" y="53388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73" name="Forma livre: Forma 372">
              <a:extLst>
                <a:ext uri="{FF2B5EF4-FFF2-40B4-BE49-F238E27FC236}">
                  <a16:creationId xmlns:a16="http://schemas.microsoft.com/office/drawing/2014/main" id="{87275572-36CD-B11A-66DD-C3DC7C124D91}"/>
                </a:ext>
              </a:extLst>
            </p:cNvPr>
            <p:cNvSpPr/>
            <p:nvPr/>
          </p:nvSpPr>
          <p:spPr>
            <a:xfrm>
              <a:off x="5204780" y="1005268"/>
              <a:ext cx="33908" cy="27193"/>
            </a:xfrm>
            <a:custGeom>
              <a:avLst/>
              <a:gdLst>
                <a:gd name="connsiteX0" fmla="*/ 0 w 33908"/>
                <a:gd name="connsiteY0" fmla="*/ 27194 h 27193"/>
                <a:gd name="connsiteX1" fmla="*/ 0 w 33908"/>
                <a:gd name="connsiteY1" fmla="*/ 14288 h 27193"/>
                <a:gd name="connsiteX2" fmla="*/ 14288 w 33908"/>
                <a:gd name="connsiteY2" fmla="*/ 0 h 27193"/>
                <a:gd name="connsiteX3" fmla="*/ 19621 w 33908"/>
                <a:gd name="connsiteY3" fmla="*/ 0 h 27193"/>
                <a:gd name="connsiteX4" fmla="*/ 33909 w 33908"/>
                <a:gd name="connsiteY4" fmla="*/ 14288 h 27193"/>
                <a:gd name="connsiteX5" fmla="*/ 33909 w 33908"/>
                <a:gd name="connsiteY5" fmla="*/ 27194 h 271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3908" h="27193">
                  <a:moveTo>
                    <a:pt x="0" y="27194"/>
                  </a:moveTo>
                  <a:lnTo>
                    <a:pt x="0" y="14288"/>
                  </a:lnTo>
                  <a:cubicBezTo>
                    <a:pt x="0" y="6429"/>
                    <a:pt x="6429" y="0"/>
                    <a:pt x="14288" y="0"/>
                  </a:cubicBezTo>
                  <a:lnTo>
                    <a:pt x="19621" y="0"/>
                  </a:lnTo>
                  <a:cubicBezTo>
                    <a:pt x="27480" y="0"/>
                    <a:pt x="33909" y="6429"/>
                    <a:pt x="33909" y="14288"/>
                  </a:cubicBezTo>
                  <a:lnTo>
                    <a:pt x="33909" y="27194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374" name="Gráfico 6">
            <a:extLst>
              <a:ext uri="{FF2B5EF4-FFF2-40B4-BE49-F238E27FC236}">
                <a16:creationId xmlns:a16="http://schemas.microsoft.com/office/drawing/2014/main" id="{01B5B33F-C3B6-59AA-6C06-3EBE4D822ADC}"/>
              </a:ext>
            </a:extLst>
          </p:cNvPr>
          <p:cNvGrpSpPr/>
          <p:nvPr/>
        </p:nvGrpSpPr>
        <p:grpSpPr>
          <a:xfrm>
            <a:off x="5112387" y="2058400"/>
            <a:ext cx="190404" cy="289607"/>
            <a:chOff x="5112387" y="2058400"/>
            <a:chExt cx="190404" cy="289607"/>
          </a:xfrm>
          <a:noFill/>
        </p:grpSpPr>
        <p:grpSp>
          <p:nvGrpSpPr>
            <p:cNvPr id="375" name="Gráfico 6">
              <a:extLst>
                <a:ext uri="{FF2B5EF4-FFF2-40B4-BE49-F238E27FC236}">
                  <a16:creationId xmlns:a16="http://schemas.microsoft.com/office/drawing/2014/main" id="{67DBEAA3-1487-2028-7E4E-CC077C512F51}"/>
                </a:ext>
              </a:extLst>
            </p:cNvPr>
            <p:cNvGrpSpPr/>
            <p:nvPr/>
          </p:nvGrpSpPr>
          <p:grpSpPr>
            <a:xfrm>
              <a:off x="5255596" y="2060400"/>
              <a:ext cx="47196" cy="281606"/>
              <a:chOff x="5255596" y="2060400"/>
              <a:chExt cx="47196" cy="281606"/>
            </a:xfrm>
            <a:noFill/>
          </p:grpSpPr>
          <p:sp>
            <p:nvSpPr>
              <p:cNvPr id="376" name="Forma livre: Forma 375">
                <a:extLst>
                  <a:ext uri="{FF2B5EF4-FFF2-40B4-BE49-F238E27FC236}">
                    <a16:creationId xmlns:a16="http://schemas.microsoft.com/office/drawing/2014/main" id="{CD8E56D9-B340-01E4-FF89-5C3C3F27DB68}"/>
                  </a:ext>
                </a:extLst>
              </p:cNvPr>
              <p:cNvSpPr/>
              <p:nvPr/>
            </p:nvSpPr>
            <p:spPr>
              <a:xfrm>
                <a:off x="5255596" y="2306812"/>
                <a:ext cx="28575" cy="4762"/>
              </a:xfrm>
              <a:custGeom>
                <a:avLst/>
                <a:gdLst>
                  <a:gd name="connsiteX0" fmla="*/ 28575 w 28575"/>
                  <a:gd name="connsiteY0" fmla="*/ 0 h 4762"/>
                  <a:gd name="connsiteX1" fmla="*/ 0 w 28575"/>
                  <a:gd name="connsiteY1" fmla="*/ 0 h 47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8575" h="4762">
                    <a:moveTo>
                      <a:pt x="28575" y="0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77" name="Forma livre: Forma 376">
                <a:extLst>
                  <a:ext uri="{FF2B5EF4-FFF2-40B4-BE49-F238E27FC236}">
                    <a16:creationId xmlns:a16="http://schemas.microsoft.com/office/drawing/2014/main" id="{86DCBBEA-226F-14AC-1ED2-903C761FDF65}"/>
                  </a:ext>
                </a:extLst>
              </p:cNvPr>
              <p:cNvSpPr/>
              <p:nvPr/>
            </p:nvSpPr>
            <p:spPr>
              <a:xfrm>
                <a:off x="5255596" y="2271569"/>
                <a:ext cx="47196" cy="47"/>
              </a:xfrm>
              <a:custGeom>
                <a:avLst/>
                <a:gdLst>
                  <a:gd name="connsiteX0" fmla="*/ 47196 w 47196"/>
                  <a:gd name="connsiteY0" fmla="*/ 48 h 47"/>
                  <a:gd name="connsiteX1" fmla="*/ 0 w 47196"/>
                  <a:gd name="connsiteY1" fmla="*/ 0 h 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196" h="47">
                    <a:moveTo>
                      <a:pt x="47196" y="48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78" name="Forma livre: Forma 377">
                <a:extLst>
                  <a:ext uri="{FF2B5EF4-FFF2-40B4-BE49-F238E27FC236}">
                    <a16:creationId xmlns:a16="http://schemas.microsoft.com/office/drawing/2014/main" id="{0D0F6184-7B94-9FBC-AB0F-C2BA9918EA06}"/>
                  </a:ext>
                </a:extLst>
              </p:cNvPr>
              <p:cNvSpPr/>
              <p:nvPr/>
            </p:nvSpPr>
            <p:spPr>
              <a:xfrm>
                <a:off x="5255596" y="2236374"/>
                <a:ext cx="28575" cy="4762"/>
              </a:xfrm>
              <a:custGeom>
                <a:avLst/>
                <a:gdLst>
                  <a:gd name="connsiteX0" fmla="*/ 28575 w 28575"/>
                  <a:gd name="connsiteY0" fmla="*/ 0 h 4762"/>
                  <a:gd name="connsiteX1" fmla="*/ 0 w 28575"/>
                  <a:gd name="connsiteY1" fmla="*/ 0 h 47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8575" h="4762">
                    <a:moveTo>
                      <a:pt x="28575" y="0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79" name="Forma livre: Forma 378">
                <a:extLst>
                  <a:ext uri="{FF2B5EF4-FFF2-40B4-BE49-F238E27FC236}">
                    <a16:creationId xmlns:a16="http://schemas.microsoft.com/office/drawing/2014/main" id="{2A20356E-D4C9-ADA2-6B87-632017AF7235}"/>
                  </a:ext>
                </a:extLst>
              </p:cNvPr>
              <p:cNvSpPr/>
              <p:nvPr/>
            </p:nvSpPr>
            <p:spPr>
              <a:xfrm>
                <a:off x="5255596" y="2201179"/>
                <a:ext cx="47196" cy="4762"/>
              </a:xfrm>
              <a:custGeom>
                <a:avLst/>
                <a:gdLst>
                  <a:gd name="connsiteX0" fmla="*/ 47196 w 47196"/>
                  <a:gd name="connsiteY0" fmla="*/ 0 h 4762"/>
                  <a:gd name="connsiteX1" fmla="*/ 0 w 47196"/>
                  <a:gd name="connsiteY1" fmla="*/ 0 h 47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196" h="4762">
                    <a:moveTo>
                      <a:pt x="47196" y="0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80" name="Forma livre: Forma 379">
                <a:extLst>
                  <a:ext uri="{FF2B5EF4-FFF2-40B4-BE49-F238E27FC236}">
                    <a16:creationId xmlns:a16="http://schemas.microsoft.com/office/drawing/2014/main" id="{7C274189-EC8C-F641-07F8-89B76D70F71B}"/>
                  </a:ext>
                </a:extLst>
              </p:cNvPr>
              <p:cNvSpPr/>
              <p:nvPr/>
            </p:nvSpPr>
            <p:spPr>
              <a:xfrm>
                <a:off x="5255596" y="2165985"/>
                <a:ext cx="28575" cy="4762"/>
              </a:xfrm>
              <a:custGeom>
                <a:avLst/>
                <a:gdLst>
                  <a:gd name="connsiteX0" fmla="*/ 28575 w 28575"/>
                  <a:gd name="connsiteY0" fmla="*/ 0 h 4762"/>
                  <a:gd name="connsiteX1" fmla="*/ 0 w 28575"/>
                  <a:gd name="connsiteY1" fmla="*/ 0 h 47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8575" h="4762">
                    <a:moveTo>
                      <a:pt x="28575" y="0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81" name="Forma livre: Forma 380">
                <a:extLst>
                  <a:ext uri="{FF2B5EF4-FFF2-40B4-BE49-F238E27FC236}">
                    <a16:creationId xmlns:a16="http://schemas.microsoft.com/office/drawing/2014/main" id="{18F992F8-118B-24EE-B738-573578F6C120}"/>
                  </a:ext>
                </a:extLst>
              </p:cNvPr>
              <p:cNvSpPr/>
              <p:nvPr/>
            </p:nvSpPr>
            <p:spPr>
              <a:xfrm>
                <a:off x="5255596" y="2095595"/>
                <a:ext cx="28575" cy="4762"/>
              </a:xfrm>
              <a:custGeom>
                <a:avLst/>
                <a:gdLst>
                  <a:gd name="connsiteX0" fmla="*/ 28575 w 28575"/>
                  <a:gd name="connsiteY0" fmla="*/ 0 h 4762"/>
                  <a:gd name="connsiteX1" fmla="*/ 0 w 28575"/>
                  <a:gd name="connsiteY1" fmla="*/ 0 h 47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8575" h="4762">
                    <a:moveTo>
                      <a:pt x="28575" y="0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82" name="Forma livre: Forma 381">
                <a:extLst>
                  <a:ext uri="{FF2B5EF4-FFF2-40B4-BE49-F238E27FC236}">
                    <a16:creationId xmlns:a16="http://schemas.microsoft.com/office/drawing/2014/main" id="{00FB193E-8237-85A1-BBE0-6D45C5AD2836}"/>
                  </a:ext>
                </a:extLst>
              </p:cNvPr>
              <p:cNvSpPr/>
              <p:nvPr/>
            </p:nvSpPr>
            <p:spPr>
              <a:xfrm>
                <a:off x="5255596" y="2130790"/>
                <a:ext cx="47196" cy="4762"/>
              </a:xfrm>
              <a:custGeom>
                <a:avLst/>
                <a:gdLst>
                  <a:gd name="connsiteX0" fmla="*/ 47196 w 47196"/>
                  <a:gd name="connsiteY0" fmla="*/ 0 h 4762"/>
                  <a:gd name="connsiteX1" fmla="*/ 0 w 47196"/>
                  <a:gd name="connsiteY1" fmla="*/ 0 h 47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196" h="4762">
                    <a:moveTo>
                      <a:pt x="47196" y="0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83" name="Forma livre: Forma 382">
                <a:extLst>
                  <a:ext uri="{FF2B5EF4-FFF2-40B4-BE49-F238E27FC236}">
                    <a16:creationId xmlns:a16="http://schemas.microsoft.com/office/drawing/2014/main" id="{AF523526-E547-732B-144E-22EE2E75216D}"/>
                  </a:ext>
                </a:extLst>
              </p:cNvPr>
              <p:cNvSpPr/>
              <p:nvPr/>
            </p:nvSpPr>
            <p:spPr>
              <a:xfrm>
                <a:off x="5255596" y="2060400"/>
                <a:ext cx="47196" cy="281606"/>
              </a:xfrm>
              <a:custGeom>
                <a:avLst/>
                <a:gdLst>
                  <a:gd name="connsiteX0" fmla="*/ 47196 w 47196"/>
                  <a:gd name="connsiteY0" fmla="*/ 0 h 281606"/>
                  <a:gd name="connsiteX1" fmla="*/ 0 w 47196"/>
                  <a:gd name="connsiteY1" fmla="*/ 0 h 281606"/>
                  <a:gd name="connsiteX2" fmla="*/ 0 w 47196"/>
                  <a:gd name="connsiteY2" fmla="*/ 281607 h 281606"/>
                  <a:gd name="connsiteX3" fmla="*/ 47196 w 47196"/>
                  <a:gd name="connsiteY3" fmla="*/ 281607 h 2816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7196" h="281606">
                    <a:moveTo>
                      <a:pt x="47196" y="0"/>
                    </a:moveTo>
                    <a:lnTo>
                      <a:pt x="0" y="0"/>
                    </a:lnTo>
                    <a:lnTo>
                      <a:pt x="0" y="281607"/>
                    </a:lnTo>
                    <a:lnTo>
                      <a:pt x="47196" y="281607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384" name="Gráfico 6">
              <a:extLst>
                <a:ext uri="{FF2B5EF4-FFF2-40B4-BE49-F238E27FC236}">
                  <a16:creationId xmlns:a16="http://schemas.microsoft.com/office/drawing/2014/main" id="{DDF347D1-9635-4D2F-14B3-8AD10ED911A6}"/>
                </a:ext>
              </a:extLst>
            </p:cNvPr>
            <p:cNvGrpSpPr/>
            <p:nvPr/>
          </p:nvGrpSpPr>
          <p:grpSpPr>
            <a:xfrm>
              <a:off x="5112387" y="2058400"/>
              <a:ext cx="99155" cy="289607"/>
              <a:chOff x="5112387" y="2058400"/>
              <a:chExt cx="99155" cy="289607"/>
            </a:xfrm>
            <a:noFill/>
          </p:grpSpPr>
          <p:sp>
            <p:nvSpPr>
              <p:cNvPr id="385" name="Forma livre: Forma 384">
                <a:extLst>
                  <a:ext uri="{FF2B5EF4-FFF2-40B4-BE49-F238E27FC236}">
                    <a16:creationId xmlns:a16="http://schemas.microsoft.com/office/drawing/2014/main" id="{C4A75C20-102D-8F02-1F82-ADBC02C8EAB6}"/>
                  </a:ext>
                </a:extLst>
              </p:cNvPr>
              <p:cNvSpPr/>
              <p:nvPr/>
            </p:nvSpPr>
            <p:spPr>
              <a:xfrm>
                <a:off x="5130913" y="2058400"/>
                <a:ext cx="62341" cy="62388"/>
              </a:xfrm>
              <a:custGeom>
                <a:avLst/>
                <a:gdLst>
                  <a:gd name="connsiteX0" fmla="*/ 62341 w 62341"/>
                  <a:gd name="connsiteY0" fmla="*/ 31194 h 62388"/>
                  <a:gd name="connsiteX1" fmla="*/ 31147 w 62341"/>
                  <a:gd name="connsiteY1" fmla="*/ 62389 h 62388"/>
                  <a:gd name="connsiteX2" fmla="*/ 0 w 62341"/>
                  <a:gd name="connsiteY2" fmla="*/ 31194 h 62388"/>
                  <a:gd name="connsiteX3" fmla="*/ 31147 w 62341"/>
                  <a:gd name="connsiteY3" fmla="*/ 0 h 62388"/>
                  <a:gd name="connsiteX4" fmla="*/ 62341 w 62341"/>
                  <a:gd name="connsiteY4" fmla="*/ 31194 h 623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2341" h="62388">
                    <a:moveTo>
                      <a:pt x="62341" y="31194"/>
                    </a:moveTo>
                    <a:cubicBezTo>
                      <a:pt x="62341" y="48435"/>
                      <a:pt x="48387" y="62389"/>
                      <a:pt x="31147" y="62389"/>
                    </a:cubicBezTo>
                    <a:cubicBezTo>
                      <a:pt x="13906" y="62389"/>
                      <a:pt x="0" y="48435"/>
                      <a:pt x="0" y="31194"/>
                    </a:cubicBezTo>
                    <a:cubicBezTo>
                      <a:pt x="0" y="13954"/>
                      <a:pt x="13954" y="0"/>
                      <a:pt x="31147" y="0"/>
                    </a:cubicBezTo>
                    <a:cubicBezTo>
                      <a:pt x="48339" y="0"/>
                      <a:pt x="62341" y="13954"/>
                      <a:pt x="62341" y="31194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86" name="Forma livre: Forma 385">
                <a:extLst>
                  <a:ext uri="{FF2B5EF4-FFF2-40B4-BE49-F238E27FC236}">
                    <a16:creationId xmlns:a16="http://schemas.microsoft.com/office/drawing/2014/main" id="{427B91AE-D781-BF15-CACE-03F0E5CD5998}"/>
                  </a:ext>
                </a:extLst>
              </p:cNvPr>
              <p:cNvSpPr/>
              <p:nvPr/>
            </p:nvSpPr>
            <p:spPr>
              <a:xfrm>
                <a:off x="5112387" y="2152078"/>
                <a:ext cx="99155" cy="195929"/>
              </a:xfrm>
              <a:custGeom>
                <a:avLst/>
                <a:gdLst>
                  <a:gd name="connsiteX0" fmla="*/ 74819 w 99155"/>
                  <a:gd name="connsiteY0" fmla="*/ 195834 h 195929"/>
                  <a:gd name="connsiteX1" fmla="*/ 74724 w 99155"/>
                  <a:gd name="connsiteY1" fmla="*/ 116300 h 195929"/>
                  <a:gd name="connsiteX2" fmla="*/ 99155 w 99155"/>
                  <a:gd name="connsiteY2" fmla="*/ 91773 h 195929"/>
                  <a:gd name="connsiteX3" fmla="*/ 99060 w 99155"/>
                  <a:gd name="connsiteY3" fmla="*/ 24479 h 195929"/>
                  <a:gd name="connsiteX4" fmla="*/ 74533 w 99155"/>
                  <a:gd name="connsiteY4" fmla="*/ 0 h 195929"/>
                  <a:gd name="connsiteX5" fmla="*/ 24479 w 99155"/>
                  <a:gd name="connsiteY5" fmla="*/ 0 h 195929"/>
                  <a:gd name="connsiteX6" fmla="*/ 0 w 99155"/>
                  <a:gd name="connsiteY6" fmla="*/ 24574 h 195929"/>
                  <a:gd name="connsiteX7" fmla="*/ 95 w 99155"/>
                  <a:gd name="connsiteY7" fmla="*/ 91916 h 195929"/>
                  <a:gd name="connsiteX8" fmla="*/ 24622 w 99155"/>
                  <a:gd name="connsiteY8" fmla="*/ 116396 h 195929"/>
                  <a:gd name="connsiteX9" fmla="*/ 24717 w 99155"/>
                  <a:gd name="connsiteY9" fmla="*/ 195929 h 1959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99155" h="195929">
                    <a:moveTo>
                      <a:pt x="74819" y="195834"/>
                    </a:moveTo>
                    <a:lnTo>
                      <a:pt x="74724" y="116300"/>
                    </a:lnTo>
                    <a:cubicBezTo>
                      <a:pt x="88202" y="116300"/>
                      <a:pt x="99203" y="105251"/>
                      <a:pt x="99155" y="91773"/>
                    </a:cubicBezTo>
                    <a:lnTo>
                      <a:pt x="99060" y="24479"/>
                    </a:lnTo>
                    <a:cubicBezTo>
                      <a:pt x="99060" y="11001"/>
                      <a:pt x="88011" y="0"/>
                      <a:pt x="74533" y="0"/>
                    </a:cubicBezTo>
                    <a:lnTo>
                      <a:pt x="24479" y="0"/>
                    </a:lnTo>
                    <a:cubicBezTo>
                      <a:pt x="11001" y="95"/>
                      <a:pt x="0" y="11097"/>
                      <a:pt x="0" y="24574"/>
                    </a:cubicBezTo>
                    <a:lnTo>
                      <a:pt x="95" y="91916"/>
                    </a:lnTo>
                    <a:cubicBezTo>
                      <a:pt x="95" y="105394"/>
                      <a:pt x="11144" y="116396"/>
                      <a:pt x="24622" y="116396"/>
                    </a:cubicBezTo>
                    <a:lnTo>
                      <a:pt x="24717" y="195929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387" name="Gráfico 6">
            <a:extLst>
              <a:ext uri="{FF2B5EF4-FFF2-40B4-BE49-F238E27FC236}">
                <a16:creationId xmlns:a16="http://schemas.microsoft.com/office/drawing/2014/main" id="{2861120B-7345-E1CE-5C80-C247A46C2F1E}"/>
              </a:ext>
            </a:extLst>
          </p:cNvPr>
          <p:cNvGrpSpPr/>
          <p:nvPr/>
        </p:nvGrpSpPr>
        <p:grpSpPr>
          <a:xfrm>
            <a:off x="5107310" y="2595993"/>
            <a:ext cx="200666" cy="290929"/>
            <a:chOff x="5107310" y="2595993"/>
            <a:chExt cx="200666" cy="290929"/>
          </a:xfrm>
          <a:noFill/>
        </p:grpSpPr>
        <p:sp>
          <p:nvSpPr>
            <p:cNvPr id="388" name="Forma livre: Forma 387">
              <a:extLst>
                <a:ext uri="{FF2B5EF4-FFF2-40B4-BE49-F238E27FC236}">
                  <a16:creationId xmlns:a16="http://schemas.microsoft.com/office/drawing/2014/main" id="{DC704E4E-6DFD-97A5-6AB3-28D24EB07DEC}"/>
                </a:ext>
              </a:extLst>
            </p:cNvPr>
            <p:cNvSpPr/>
            <p:nvPr/>
          </p:nvSpPr>
          <p:spPr>
            <a:xfrm>
              <a:off x="5107310" y="2595993"/>
              <a:ext cx="200666" cy="290929"/>
            </a:xfrm>
            <a:custGeom>
              <a:avLst/>
              <a:gdLst>
                <a:gd name="connsiteX0" fmla="*/ 4410 w 200666"/>
                <a:gd name="connsiteY0" fmla="*/ 129871 h 290929"/>
                <a:gd name="connsiteX1" fmla="*/ 40653 w 200666"/>
                <a:gd name="connsiteY1" fmla="*/ 15619 h 290929"/>
                <a:gd name="connsiteX2" fmla="*/ 156001 w 200666"/>
                <a:gd name="connsiteY2" fmla="*/ 16714 h 290929"/>
                <a:gd name="connsiteX3" fmla="*/ 187862 w 200666"/>
                <a:gd name="connsiteY3" fmla="*/ 145254 h 290929"/>
                <a:gd name="connsiteX4" fmla="*/ 168097 w 200666"/>
                <a:gd name="connsiteY4" fmla="*/ 170543 h 290929"/>
                <a:gd name="connsiteX5" fmla="*/ 139522 w 200666"/>
                <a:gd name="connsiteY5" fmla="*/ 234265 h 290929"/>
                <a:gd name="connsiteX6" fmla="*/ 91183 w 200666"/>
                <a:gd name="connsiteY6" fmla="*/ 290272 h 290929"/>
                <a:gd name="connsiteX7" fmla="*/ 42177 w 200666"/>
                <a:gd name="connsiteY7" fmla="*/ 246314 h 2909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00666" h="290929">
                  <a:moveTo>
                    <a:pt x="4410" y="129871"/>
                  </a:moveTo>
                  <a:cubicBezTo>
                    <a:pt x="4410" y="129871"/>
                    <a:pt x="-18640" y="49671"/>
                    <a:pt x="40653" y="15619"/>
                  </a:cubicBezTo>
                  <a:cubicBezTo>
                    <a:pt x="40653" y="15619"/>
                    <a:pt x="100565" y="-20243"/>
                    <a:pt x="156001" y="16714"/>
                  </a:cubicBezTo>
                  <a:cubicBezTo>
                    <a:pt x="156001" y="16714"/>
                    <a:pt x="229581" y="61767"/>
                    <a:pt x="187862" y="145254"/>
                  </a:cubicBezTo>
                  <a:cubicBezTo>
                    <a:pt x="187862" y="145254"/>
                    <a:pt x="179623" y="160066"/>
                    <a:pt x="168097" y="170543"/>
                  </a:cubicBezTo>
                  <a:cubicBezTo>
                    <a:pt x="168097" y="170543"/>
                    <a:pt x="143380" y="195784"/>
                    <a:pt x="139522" y="234265"/>
                  </a:cubicBezTo>
                  <a:cubicBezTo>
                    <a:pt x="139522" y="234265"/>
                    <a:pt x="139522" y="284795"/>
                    <a:pt x="91183" y="290272"/>
                  </a:cubicBezTo>
                  <a:cubicBezTo>
                    <a:pt x="91183" y="290272"/>
                    <a:pt x="53464" y="299797"/>
                    <a:pt x="42177" y="246314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89" name="Forma livre: Forma 388">
              <a:extLst>
                <a:ext uri="{FF2B5EF4-FFF2-40B4-BE49-F238E27FC236}">
                  <a16:creationId xmlns:a16="http://schemas.microsoft.com/office/drawing/2014/main" id="{7FFF60F7-F10F-E85F-52FE-FD42FDB64787}"/>
                </a:ext>
              </a:extLst>
            </p:cNvPr>
            <p:cNvSpPr/>
            <p:nvPr/>
          </p:nvSpPr>
          <p:spPr>
            <a:xfrm>
              <a:off x="5153638" y="2628822"/>
              <a:ext cx="118009" cy="182280"/>
            </a:xfrm>
            <a:custGeom>
              <a:avLst/>
              <a:gdLst>
                <a:gd name="connsiteX0" fmla="*/ 115721 w 118009"/>
                <a:gd name="connsiteY0" fmla="*/ 80564 h 182280"/>
                <a:gd name="connsiteX1" fmla="*/ 85669 w 118009"/>
                <a:gd name="connsiteY1" fmla="*/ 9888 h 182280"/>
                <a:gd name="connsiteX2" fmla="*/ 19756 w 118009"/>
                <a:gd name="connsiteY2" fmla="*/ 10602 h 182280"/>
                <a:gd name="connsiteX3" fmla="*/ 706 w 118009"/>
                <a:gd name="connsiteY3" fmla="*/ 61514 h 182280"/>
                <a:gd name="connsiteX4" fmla="*/ 27662 w 118009"/>
                <a:gd name="connsiteY4" fmla="*/ 75801 h 182280"/>
                <a:gd name="connsiteX5" fmla="*/ 75906 w 118009"/>
                <a:gd name="connsiteY5" fmla="*/ 81945 h 182280"/>
                <a:gd name="connsiteX6" fmla="*/ 62428 w 118009"/>
                <a:gd name="connsiteY6" fmla="*/ 116473 h 182280"/>
                <a:gd name="connsiteX7" fmla="*/ 38759 w 118009"/>
                <a:gd name="connsiteY7" fmla="*/ 166813 h 182280"/>
                <a:gd name="connsiteX8" fmla="*/ 9946 w 118009"/>
                <a:gd name="connsiteY8" fmla="*/ 166717 h 182280"/>
                <a:gd name="connsiteX9" fmla="*/ 6564 w 118009"/>
                <a:gd name="connsiteY9" fmla="*/ 144381 h 1822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8009" h="182280">
                  <a:moveTo>
                    <a:pt x="115721" y="80564"/>
                  </a:moveTo>
                  <a:cubicBezTo>
                    <a:pt x="115721" y="80564"/>
                    <a:pt x="130342" y="36272"/>
                    <a:pt x="85669" y="9888"/>
                  </a:cubicBezTo>
                  <a:cubicBezTo>
                    <a:pt x="85669" y="9888"/>
                    <a:pt x="48522" y="-12829"/>
                    <a:pt x="19756" y="10602"/>
                  </a:cubicBezTo>
                  <a:cubicBezTo>
                    <a:pt x="19756" y="10602"/>
                    <a:pt x="-4389" y="30367"/>
                    <a:pt x="706" y="61514"/>
                  </a:cubicBezTo>
                  <a:cubicBezTo>
                    <a:pt x="706" y="61514"/>
                    <a:pt x="4612" y="113520"/>
                    <a:pt x="27662" y="75801"/>
                  </a:cubicBezTo>
                  <a:cubicBezTo>
                    <a:pt x="27662" y="75801"/>
                    <a:pt x="48522" y="40273"/>
                    <a:pt x="75906" y="81945"/>
                  </a:cubicBezTo>
                  <a:cubicBezTo>
                    <a:pt x="75906" y="81945"/>
                    <a:pt x="91718" y="107662"/>
                    <a:pt x="62428" y="116473"/>
                  </a:cubicBezTo>
                  <a:cubicBezTo>
                    <a:pt x="62428" y="116473"/>
                    <a:pt x="37902" y="126331"/>
                    <a:pt x="38759" y="166813"/>
                  </a:cubicBezTo>
                  <a:cubicBezTo>
                    <a:pt x="39092" y="180814"/>
                    <a:pt x="14946" y="193197"/>
                    <a:pt x="9946" y="166717"/>
                  </a:cubicBezTo>
                  <a:cubicBezTo>
                    <a:pt x="6183" y="148715"/>
                    <a:pt x="6564" y="144381"/>
                    <a:pt x="6564" y="144381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390" name="Gráfico 6">
            <a:extLst>
              <a:ext uri="{FF2B5EF4-FFF2-40B4-BE49-F238E27FC236}">
                <a16:creationId xmlns:a16="http://schemas.microsoft.com/office/drawing/2014/main" id="{F70A4D34-E116-B3BF-CC57-915C04DC6696}"/>
              </a:ext>
            </a:extLst>
          </p:cNvPr>
          <p:cNvGrpSpPr/>
          <p:nvPr/>
        </p:nvGrpSpPr>
        <p:grpSpPr>
          <a:xfrm>
            <a:off x="5057999" y="1550241"/>
            <a:ext cx="299227" cy="229361"/>
            <a:chOff x="5057999" y="1550241"/>
            <a:chExt cx="299227" cy="229361"/>
          </a:xfrm>
          <a:noFill/>
        </p:grpSpPr>
        <p:sp>
          <p:nvSpPr>
            <p:cNvPr id="391" name="Forma livre: Forma 390">
              <a:extLst>
                <a:ext uri="{FF2B5EF4-FFF2-40B4-BE49-F238E27FC236}">
                  <a16:creationId xmlns:a16="http://schemas.microsoft.com/office/drawing/2014/main" id="{30458794-52BC-C18E-AC84-CFD32B4496E2}"/>
                </a:ext>
              </a:extLst>
            </p:cNvPr>
            <p:cNvSpPr/>
            <p:nvPr/>
          </p:nvSpPr>
          <p:spPr>
            <a:xfrm>
              <a:off x="5113245" y="1597723"/>
              <a:ext cx="188785" cy="99774"/>
            </a:xfrm>
            <a:custGeom>
              <a:avLst/>
              <a:gdLst>
                <a:gd name="connsiteX0" fmla="*/ 0 w 188785"/>
                <a:gd name="connsiteY0" fmla="*/ 65723 h 99774"/>
                <a:gd name="connsiteX1" fmla="*/ 41767 w 188785"/>
                <a:gd name="connsiteY1" fmla="*/ 65723 h 99774"/>
                <a:gd name="connsiteX2" fmla="*/ 64437 w 188785"/>
                <a:gd name="connsiteY2" fmla="*/ 35052 h 99774"/>
                <a:gd name="connsiteX3" fmla="*/ 96250 w 188785"/>
                <a:gd name="connsiteY3" fmla="*/ 99774 h 99774"/>
                <a:gd name="connsiteX4" fmla="*/ 126921 w 188785"/>
                <a:gd name="connsiteY4" fmla="*/ 0 h 99774"/>
                <a:gd name="connsiteX5" fmla="*/ 150781 w 188785"/>
                <a:gd name="connsiteY5" fmla="*/ 66199 h 99774"/>
                <a:gd name="connsiteX6" fmla="*/ 188786 w 188785"/>
                <a:gd name="connsiteY6" fmla="*/ 66199 h 997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88785" h="99774">
                  <a:moveTo>
                    <a:pt x="0" y="65723"/>
                  </a:moveTo>
                  <a:lnTo>
                    <a:pt x="41767" y="65723"/>
                  </a:lnTo>
                  <a:lnTo>
                    <a:pt x="64437" y="35052"/>
                  </a:lnTo>
                  <a:lnTo>
                    <a:pt x="96250" y="99774"/>
                  </a:lnTo>
                  <a:lnTo>
                    <a:pt x="126921" y="0"/>
                  </a:lnTo>
                  <a:lnTo>
                    <a:pt x="150781" y="66199"/>
                  </a:lnTo>
                  <a:lnTo>
                    <a:pt x="188786" y="66199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392" name="Gráfico 6">
              <a:extLst>
                <a:ext uri="{FF2B5EF4-FFF2-40B4-BE49-F238E27FC236}">
                  <a16:creationId xmlns:a16="http://schemas.microsoft.com/office/drawing/2014/main" id="{14CC93B4-02AE-5A5B-F8C6-D2BC5A8EBBDB}"/>
                </a:ext>
              </a:extLst>
            </p:cNvPr>
            <p:cNvGrpSpPr/>
            <p:nvPr/>
          </p:nvGrpSpPr>
          <p:grpSpPr>
            <a:xfrm>
              <a:off x="5057999" y="1550241"/>
              <a:ext cx="299227" cy="229361"/>
              <a:chOff x="5057999" y="1550241"/>
              <a:chExt cx="299227" cy="229361"/>
            </a:xfrm>
            <a:noFill/>
          </p:grpSpPr>
          <p:sp>
            <p:nvSpPr>
              <p:cNvPr id="393" name="Forma livre: Forma 392">
                <a:extLst>
                  <a:ext uri="{FF2B5EF4-FFF2-40B4-BE49-F238E27FC236}">
                    <a16:creationId xmlns:a16="http://schemas.microsoft.com/office/drawing/2014/main" id="{6444387C-4876-C598-D2EF-F6D7B1A5A8AE}"/>
                  </a:ext>
                </a:extLst>
              </p:cNvPr>
              <p:cNvSpPr/>
              <p:nvPr/>
            </p:nvSpPr>
            <p:spPr>
              <a:xfrm>
                <a:off x="5057999" y="1779603"/>
                <a:ext cx="299227" cy="4762"/>
              </a:xfrm>
              <a:custGeom>
                <a:avLst/>
                <a:gdLst>
                  <a:gd name="connsiteX0" fmla="*/ 0 w 299227"/>
                  <a:gd name="connsiteY0" fmla="*/ 0 h 4762"/>
                  <a:gd name="connsiteX1" fmla="*/ 299228 w 299227"/>
                  <a:gd name="connsiteY1" fmla="*/ 0 h 47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99227" h="4762">
                    <a:moveTo>
                      <a:pt x="0" y="0"/>
                    </a:moveTo>
                    <a:lnTo>
                      <a:pt x="299228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94" name="Forma livre: Forma 393">
                <a:extLst>
                  <a:ext uri="{FF2B5EF4-FFF2-40B4-BE49-F238E27FC236}">
                    <a16:creationId xmlns:a16="http://schemas.microsoft.com/office/drawing/2014/main" id="{46C74B10-9092-BB57-67BD-C94EACF3133C}"/>
                  </a:ext>
                </a:extLst>
              </p:cNvPr>
              <p:cNvSpPr/>
              <p:nvPr/>
            </p:nvSpPr>
            <p:spPr>
              <a:xfrm>
                <a:off x="5065810" y="1550241"/>
                <a:ext cx="283606" cy="194357"/>
              </a:xfrm>
              <a:custGeom>
                <a:avLst/>
                <a:gdLst>
                  <a:gd name="connsiteX0" fmla="*/ 250269 w 283606"/>
                  <a:gd name="connsiteY0" fmla="*/ 0 h 194357"/>
                  <a:gd name="connsiteX1" fmla="*/ 283607 w 283606"/>
                  <a:gd name="connsiteY1" fmla="*/ 33338 h 194357"/>
                  <a:gd name="connsiteX2" fmla="*/ 283607 w 283606"/>
                  <a:gd name="connsiteY2" fmla="*/ 161020 h 194357"/>
                  <a:gd name="connsiteX3" fmla="*/ 250269 w 283606"/>
                  <a:gd name="connsiteY3" fmla="*/ 194358 h 194357"/>
                  <a:gd name="connsiteX4" fmla="*/ 33338 w 283606"/>
                  <a:gd name="connsiteY4" fmla="*/ 194358 h 194357"/>
                  <a:gd name="connsiteX5" fmla="*/ 0 w 283606"/>
                  <a:gd name="connsiteY5" fmla="*/ 161020 h 194357"/>
                  <a:gd name="connsiteX6" fmla="*/ 0 w 283606"/>
                  <a:gd name="connsiteY6" fmla="*/ 33338 h 194357"/>
                  <a:gd name="connsiteX7" fmla="*/ 33338 w 283606"/>
                  <a:gd name="connsiteY7" fmla="*/ 0 h 1943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83606" h="194357">
                    <a:moveTo>
                      <a:pt x="250269" y="0"/>
                    </a:moveTo>
                    <a:cubicBezTo>
                      <a:pt x="268681" y="0"/>
                      <a:pt x="283607" y="14926"/>
                      <a:pt x="283607" y="33338"/>
                    </a:cubicBezTo>
                    <a:lnTo>
                      <a:pt x="283607" y="161020"/>
                    </a:lnTo>
                    <a:cubicBezTo>
                      <a:pt x="283607" y="179432"/>
                      <a:pt x="268681" y="194358"/>
                      <a:pt x="250269" y="194358"/>
                    </a:cubicBezTo>
                    <a:lnTo>
                      <a:pt x="33338" y="194358"/>
                    </a:lnTo>
                    <a:cubicBezTo>
                      <a:pt x="14926" y="194358"/>
                      <a:pt x="0" y="179432"/>
                      <a:pt x="0" y="161020"/>
                    </a:cubicBezTo>
                    <a:lnTo>
                      <a:pt x="0" y="33338"/>
                    </a:lnTo>
                    <a:cubicBezTo>
                      <a:pt x="0" y="14926"/>
                      <a:pt x="14926" y="0"/>
                      <a:pt x="33338" y="0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395" name="Gráfico 6">
            <a:extLst>
              <a:ext uri="{FF2B5EF4-FFF2-40B4-BE49-F238E27FC236}">
                <a16:creationId xmlns:a16="http://schemas.microsoft.com/office/drawing/2014/main" id="{F6648ED8-A8D6-FD59-9107-563408F02A82}"/>
              </a:ext>
            </a:extLst>
          </p:cNvPr>
          <p:cNvGrpSpPr/>
          <p:nvPr/>
        </p:nvGrpSpPr>
        <p:grpSpPr>
          <a:xfrm>
            <a:off x="5092956" y="3134665"/>
            <a:ext cx="229381" cy="287143"/>
            <a:chOff x="5092956" y="3134665"/>
            <a:chExt cx="229381" cy="287143"/>
          </a:xfrm>
        </p:grpSpPr>
        <p:sp>
          <p:nvSpPr>
            <p:cNvPr id="396" name="Forma livre: Forma 395">
              <a:extLst>
                <a:ext uri="{FF2B5EF4-FFF2-40B4-BE49-F238E27FC236}">
                  <a16:creationId xmlns:a16="http://schemas.microsoft.com/office/drawing/2014/main" id="{60F1D382-8244-60C0-8373-DF886296B5AF}"/>
                </a:ext>
              </a:extLst>
            </p:cNvPr>
            <p:cNvSpPr/>
            <p:nvPr/>
          </p:nvSpPr>
          <p:spPr>
            <a:xfrm>
              <a:off x="5092956" y="3199542"/>
              <a:ext cx="179403" cy="89677"/>
            </a:xfrm>
            <a:custGeom>
              <a:avLst/>
              <a:gdLst>
                <a:gd name="connsiteX0" fmla="*/ 179356 w 179403"/>
                <a:gd name="connsiteY0" fmla="*/ 0 h 89677"/>
                <a:gd name="connsiteX1" fmla="*/ 89678 w 179403"/>
                <a:gd name="connsiteY1" fmla="*/ 89678 h 89677"/>
                <a:gd name="connsiteX2" fmla="*/ 0 w 179403"/>
                <a:gd name="connsiteY2" fmla="*/ 0 h 89677"/>
                <a:gd name="connsiteX3" fmla="*/ 179403 w 179403"/>
                <a:gd name="connsiteY3" fmla="*/ 0 h 896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9403" h="89677">
                  <a:moveTo>
                    <a:pt x="179356" y="0"/>
                  </a:moveTo>
                  <a:cubicBezTo>
                    <a:pt x="179356" y="49530"/>
                    <a:pt x="139208" y="89678"/>
                    <a:pt x="89678" y="89678"/>
                  </a:cubicBezTo>
                  <a:cubicBezTo>
                    <a:pt x="40148" y="89678"/>
                    <a:pt x="0" y="49530"/>
                    <a:pt x="0" y="0"/>
                  </a:cubicBezTo>
                  <a:lnTo>
                    <a:pt x="179403" y="0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97" name="Forma livre: Forma 396">
              <a:extLst>
                <a:ext uri="{FF2B5EF4-FFF2-40B4-BE49-F238E27FC236}">
                  <a16:creationId xmlns:a16="http://schemas.microsoft.com/office/drawing/2014/main" id="{551B6B44-9E56-6B9B-9F62-A1D134AEA829}"/>
                </a:ext>
              </a:extLst>
            </p:cNvPr>
            <p:cNvSpPr/>
            <p:nvPr/>
          </p:nvSpPr>
          <p:spPr>
            <a:xfrm>
              <a:off x="5127484" y="3387375"/>
              <a:ext cx="110204" cy="31575"/>
            </a:xfrm>
            <a:custGeom>
              <a:avLst/>
              <a:gdLst>
                <a:gd name="connsiteX0" fmla="*/ 48 w 110204"/>
                <a:gd name="connsiteY0" fmla="*/ 31575 h 31575"/>
                <a:gd name="connsiteX1" fmla="*/ 55150 w 110204"/>
                <a:gd name="connsiteY1" fmla="*/ 0 h 31575"/>
                <a:gd name="connsiteX2" fmla="*/ 110204 w 110204"/>
                <a:gd name="connsiteY2" fmla="*/ 31575 h 31575"/>
                <a:gd name="connsiteX3" fmla="*/ 0 w 110204"/>
                <a:gd name="connsiteY3" fmla="*/ 31575 h 315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204" h="31575">
                  <a:moveTo>
                    <a:pt x="48" y="31575"/>
                  </a:moveTo>
                  <a:cubicBezTo>
                    <a:pt x="5477" y="13525"/>
                    <a:pt x="28099" y="0"/>
                    <a:pt x="55150" y="0"/>
                  </a:cubicBezTo>
                  <a:cubicBezTo>
                    <a:pt x="82201" y="0"/>
                    <a:pt x="104680" y="13621"/>
                    <a:pt x="110204" y="31575"/>
                  </a:cubicBezTo>
                  <a:lnTo>
                    <a:pt x="0" y="31575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98" name="Forma livre: Forma 397">
              <a:extLst>
                <a:ext uri="{FF2B5EF4-FFF2-40B4-BE49-F238E27FC236}">
                  <a16:creationId xmlns:a16="http://schemas.microsoft.com/office/drawing/2014/main" id="{C5FF7652-CB97-D558-83C4-B2BE6A3AB6F8}"/>
                </a:ext>
              </a:extLst>
            </p:cNvPr>
            <p:cNvSpPr/>
            <p:nvPr/>
          </p:nvSpPr>
          <p:spPr>
            <a:xfrm>
              <a:off x="5182634" y="3289268"/>
              <a:ext cx="4762" cy="73104"/>
            </a:xfrm>
            <a:custGeom>
              <a:avLst/>
              <a:gdLst>
                <a:gd name="connsiteX0" fmla="*/ 0 w 4762"/>
                <a:gd name="connsiteY0" fmla="*/ 0 h 73104"/>
                <a:gd name="connsiteX1" fmla="*/ 0 w 4762"/>
                <a:gd name="connsiteY1" fmla="*/ 73104 h 731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762" h="73104">
                  <a:moveTo>
                    <a:pt x="0" y="0"/>
                  </a:moveTo>
                  <a:lnTo>
                    <a:pt x="0" y="73104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99" name="Forma livre: Forma 398">
              <a:extLst>
                <a:ext uri="{FF2B5EF4-FFF2-40B4-BE49-F238E27FC236}">
                  <a16:creationId xmlns:a16="http://schemas.microsoft.com/office/drawing/2014/main" id="{2E1A3F7B-0097-5CDF-176C-17EC4EDE61D6}"/>
                </a:ext>
              </a:extLst>
            </p:cNvPr>
            <p:cNvSpPr/>
            <p:nvPr/>
          </p:nvSpPr>
          <p:spPr>
            <a:xfrm>
              <a:off x="5147609" y="3334750"/>
              <a:ext cx="126750" cy="87058"/>
            </a:xfrm>
            <a:custGeom>
              <a:avLst/>
              <a:gdLst>
                <a:gd name="connsiteX0" fmla="*/ 12641 w 126750"/>
                <a:gd name="connsiteY0" fmla="*/ 0 h 87058"/>
                <a:gd name="connsiteX1" fmla="*/ 6498 w 126750"/>
                <a:gd name="connsiteY1" fmla="*/ 31480 h 87058"/>
                <a:gd name="connsiteX2" fmla="*/ 63648 w 126750"/>
                <a:gd name="connsiteY2" fmla="*/ 51340 h 87058"/>
                <a:gd name="connsiteX3" fmla="*/ 126751 w 126750"/>
                <a:gd name="connsiteY3" fmla="*/ 87058 h 870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6750" h="87058">
                  <a:moveTo>
                    <a:pt x="12641" y="0"/>
                  </a:moveTo>
                  <a:cubicBezTo>
                    <a:pt x="1592" y="5953"/>
                    <a:pt x="-6075" y="15812"/>
                    <a:pt x="6498" y="31480"/>
                  </a:cubicBezTo>
                  <a:cubicBezTo>
                    <a:pt x="6498" y="31480"/>
                    <a:pt x="17213" y="47768"/>
                    <a:pt x="63648" y="51340"/>
                  </a:cubicBezTo>
                  <a:cubicBezTo>
                    <a:pt x="63648" y="51340"/>
                    <a:pt x="111844" y="54292"/>
                    <a:pt x="126751" y="87058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00" name="Forma livre: Forma 399">
              <a:extLst>
                <a:ext uri="{FF2B5EF4-FFF2-40B4-BE49-F238E27FC236}">
                  <a16:creationId xmlns:a16="http://schemas.microsoft.com/office/drawing/2014/main" id="{464C5C71-D51C-9F04-7B40-3556E990ED28}"/>
                </a:ext>
              </a:extLst>
            </p:cNvPr>
            <p:cNvSpPr/>
            <p:nvPr/>
          </p:nvSpPr>
          <p:spPr>
            <a:xfrm>
              <a:off x="5204589" y="3134665"/>
              <a:ext cx="117748" cy="187082"/>
            </a:xfrm>
            <a:custGeom>
              <a:avLst/>
              <a:gdLst>
                <a:gd name="connsiteX0" fmla="*/ 0 w 117748"/>
                <a:gd name="connsiteY0" fmla="*/ 22015 h 187082"/>
                <a:gd name="connsiteX1" fmla="*/ 95964 w 117748"/>
                <a:gd name="connsiteY1" fmla="*/ 14490 h 187082"/>
                <a:gd name="connsiteX2" fmla="*/ 92583 w 117748"/>
                <a:gd name="connsiteY2" fmla="*/ 123646 h 187082"/>
                <a:gd name="connsiteX3" fmla="*/ 667 w 117748"/>
                <a:gd name="connsiteY3" fmla="*/ 187083 h 1870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7748" h="187082">
                  <a:moveTo>
                    <a:pt x="0" y="22015"/>
                  </a:moveTo>
                  <a:cubicBezTo>
                    <a:pt x="0" y="22015"/>
                    <a:pt x="48339" y="-22038"/>
                    <a:pt x="95964" y="14490"/>
                  </a:cubicBezTo>
                  <a:cubicBezTo>
                    <a:pt x="95964" y="14490"/>
                    <a:pt x="147161" y="56781"/>
                    <a:pt x="92583" y="123646"/>
                  </a:cubicBezTo>
                  <a:cubicBezTo>
                    <a:pt x="92583" y="123646"/>
                    <a:pt x="61436" y="167795"/>
                    <a:pt x="667" y="187083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01" name="Forma livre: Forma 400">
              <a:extLst>
                <a:ext uri="{FF2B5EF4-FFF2-40B4-BE49-F238E27FC236}">
                  <a16:creationId xmlns:a16="http://schemas.microsoft.com/office/drawing/2014/main" id="{2D58F8E1-9158-C095-5C59-F61FD8E66489}"/>
                </a:ext>
              </a:extLst>
            </p:cNvPr>
            <p:cNvSpPr/>
            <p:nvPr/>
          </p:nvSpPr>
          <p:spPr>
            <a:xfrm>
              <a:off x="5130675" y="3227784"/>
              <a:ext cx="28241" cy="23955"/>
            </a:xfrm>
            <a:custGeom>
              <a:avLst/>
              <a:gdLst>
                <a:gd name="connsiteX0" fmla="*/ 0 w 28241"/>
                <a:gd name="connsiteY0" fmla="*/ 0 h 23955"/>
                <a:gd name="connsiteX1" fmla="*/ 28242 w 28241"/>
                <a:gd name="connsiteY1" fmla="*/ 23955 h 23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8241" h="23955">
                  <a:moveTo>
                    <a:pt x="0" y="0"/>
                  </a:moveTo>
                  <a:cubicBezTo>
                    <a:pt x="0" y="0"/>
                    <a:pt x="6810" y="16097"/>
                    <a:pt x="28242" y="23955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02" name="Forma livre: Forma 401">
              <a:extLst>
                <a:ext uri="{FF2B5EF4-FFF2-40B4-BE49-F238E27FC236}">
                  <a16:creationId xmlns:a16="http://schemas.microsoft.com/office/drawing/2014/main" id="{9196BF88-F13E-7129-E0C7-14F12E69349B}"/>
                </a:ext>
              </a:extLst>
            </p:cNvPr>
            <p:cNvSpPr/>
            <p:nvPr/>
          </p:nvSpPr>
          <p:spPr>
            <a:xfrm>
              <a:off x="5196565" y="3145658"/>
              <a:ext cx="23525" cy="18424"/>
            </a:xfrm>
            <a:custGeom>
              <a:avLst/>
              <a:gdLst>
                <a:gd name="connsiteX0" fmla="*/ 2548 w 23525"/>
                <a:gd name="connsiteY0" fmla="*/ 18404 h 18424"/>
                <a:gd name="connsiteX1" fmla="*/ 214 w 23525"/>
                <a:gd name="connsiteY1" fmla="*/ 17642 h 18424"/>
                <a:gd name="connsiteX2" fmla="*/ 738 w 23525"/>
                <a:gd name="connsiteY2" fmla="*/ 13594 h 18424"/>
                <a:gd name="connsiteX3" fmla="*/ 8405 w 23525"/>
                <a:gd name="connsiteY3" fmla="*/ 4593 h 18424"/>
                <a:gd name="connsiteX4" fmla="*/ 20978 w 23525"/>
                <a:gd name="connsiteY4" fmla="*/ 21 h 18424"/>
                <a:gd name="connsiteX5" fmla="*/ 23312 w 23525"/>
                <a:gd name="connsiteY5" fmla="*/ 783 h 18424"/>
                <a:gd name="connsiteX6" fmla="*/ 22788 w 23525"/>
                <a:gd name="connsiteY6" fmla="*/ 4831 h 18424"/>
                <a:gd name="connsiteX7" fmla="*/ 15121 w 23525"/>
                <a:gd name="connsiteY7" fmla="*/ 13832 h 18424"/>
                <a:gd name="connsiteX8" fmla="*/ 2548 w 23525"/>
                <a:gd name="connsiteY8" fmla="*/ 18404 h 184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3525" h="18424">
                  <a:moveTo>
                    <a:pt x="2548" y="18404"/>
                  </a:moveTo>
                  <a:cubicBezTo>
                    <a:pt x="1166" y="18309"/>
                    <a:pt x="404" y="17928"/>
                    <a:pt x="214" y="17642"/>
                  </a:cubicBezTo>
                  <a:cubicBezTo>
                    <a:pt x="-72" y="17213"/>
                    <a:pt x="-215" y="15785"/>
                    <a:pt x="738" y="13594"/>
                  </a:cubicBezTo>
                  <a:cubicBezTo>
                    <a:pt x="2071" y="10451"/>
                    <a:pt x="4833" y="7212"/>
                    <a:pt x="8405" y="4593"/>
                  </a:cubicBezTo>
                  <a:cubicBezTo>
                    <a:pt x="13406" y="926"/>
                    <a:pt x="18169" y="-170"/>
                    <a:pt x="20978" y="21"/>
                  </a:cubicBezTo>
                  <a:cubicBezTo>
                    <a:pt x="22359" y="116"/>
                    <a:pt x="23121" y="497"/>
                    <a:pt x="23312" y="783"/>
                  </a:cubicBezTo>
                  <a:cubicBezTo>
                    <a:pt x="23598" y="1211"/>
                    <a:pt x="23741" y="2640"/>
                    <a:pt x="22788" y="4831"/>
                  </a:cubicBezTo>
                  <a:cubicBezTo>
                    <a:pt x="21455" y="7974"/>
                    <a:pt x="18692" y="11212"/>
                    <a:pt x="15121" y="13832"/>
                  </a:cubicBezTo>
                  <a:cubicBezTo>
                    <a:pt x="10120" y="17499"/>
                    <a:pt x="5357" y="18594"/>
                    <a:pt x="2548" y="18404"/>
                  </a:cubicBezTo>
                  <a:close/>
                </a:path>
              </a:pathLst>
            </a:custGeom>
            <a:solidFill>
              <a:srgbClr val="39434E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403" name="Gráfico 6">
            <a:extLst>
              <a:ext uri="{FF2B5EF4-FFF2-40B4-BE49-F238E27FC236}">
                <a16:creationId xmlns:a16="http://schemas.microsoft.com/office/drawing/2014/main" id="{A73C10AC-5E8C-B483-A5C1-A22A157CD0B0}"/>
              </a:ext>
            </a:extLst>
          </p:cNvPr>
          <p:cNvGrpSpPr/>
          <p:nvPr/>
        </p:nvGrpSpPr>
        <p:grpSpPr>
          <a:xfrm>
            <a:off x="5692746" y="987028"/>
            <a:ext cx="279273" cy="279273"/>
            <a:chOff x="5692746" y="987028"/>
            <a:chExt cx="279273" cy="279273"/>
          </a:xfrm>
          <a:noFill/>
        </p:grpSpPr>
        <p:sp>
          <p:nvSpPr>
            <p:cNvPr id="404" name="Forma livre: Forma 403">
              <a:extLst>
                <a:ext uri="{FF2B5EF4-FFF2-40B4-BE49-F238E27FC236}">
                  <a16:creationId xmlns:a16="http://schemas.microsoft.com/office/drawing/2014/main" id="{E6C5C266-AE7F-DD38-C6AE-15F1C8A0C014}"/>
                </a:ext>
              </a:extLst>
            </p:cNvPr>
            <p:cNvSpPr/>
            <p:nvPr/>
          </p:nvSpPr>
          <p:spPr>
            <a:xfrm>
              <a:off x="5886913" y="987028"/>
              <a:ext cx="85105" cy="85105"/>
            </a:xfrm>
            <a:custGeom>
              <a:avLst/>
              <a:gdLst>
                <a:gd name="connsiteX0" fmla="*/ 0 w 85105"/>
                <a:gd name="connsiteY0" fmla="*/ 0 h 85105"/>
                <a:gd name="connsiteX1" fmla="*/ 85106 w 85105"/>
                <a:gd name="connsiteY1" fmla="*/ 85106 h 851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5105" h="85105">
                  <a:moveTo>
                    <a:pt x="0" y="0"/>
                  </a:moveTo>
                  <a:lnTo>
                    <a:pt x="85106" y="85106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05" name="Forma livre: Forma 404">
              <a:extLst>
                <a:ext uri="{FF2B5EF4-FFF2-40B4-BE49-F238E27FC236}">
                  <a16:creationId xmlns:a16="http://schemas.microsoft.com/office/drawing/2014/main" id="{D99BB5B5-B677-AA92-D0BC-A07F62B50EEE}"/>
                </a:ext>
              </a:extLst>
            </p:cNvPr>
            <p:cNvSpPr/>
            <p:nvPr/>
          </p:nvSpPr>
          <p:spPr>
            <a:xfrm>
              <a:off x="5725559" y="1052560"/>
              <a:ext cx="180927" cy="180927"/>
            </a:xfrm>
            <a:custGeom>
              <a:avLst/>
              <a:gdLst>
                <a:gd name="connsiteX0" fmla="*/ 180927 w 180927"/>
                <a:gd name="connsiteY0" fmla="*/ 72866 h 180927"/>
                <a:gd name="connsiteX1" fmla="*/ 72819 w 180927"/>
                <a:gd name="connsiteY1" fmla="*/ 180927 h 180927"/>
                <a:gd name="connsiteX2" fmla="*/ 10811 w 180927"/>
                <a:gd name="connsiteY2" fmla="*/ 170164 h 180927"/>
                <a:gd name="connsiteX3" fmla="*/ 10668 w 180927"/>
                <a:gd name="connsiteY3" fmla="*/ 170021 h 180927"/>
                <a:gd name="connsiteX4" fmla="*/ 0 w 180927"/>
                <a:gd name="connsiteY4" fmla="*/ 108109 h 180927"/>
                <a:gd name="connsiteX5" fmla="*/ 108061 w 180927"/>
                <a:gd name="connsiteY5" fmla="*/ 0 h 1809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0927" h="180927">
                  <a:moveTo>
                    <a:pt x="180927" y="72866"/>
                  </a:moveTo>
                  <a:lnTo>
                    <a:pt x="72819" y="180927"/>
                  </a:lnTo>
                  <a:lnTo>
                    <a:pt x="10811" y="170164"/>
                  </a:lnTo>
                  <a:lnTo>
                    <a:pt x="10668" y="170021"/>
                  </a:lnTo>
                  <a:lnTo>
                    <a:pt x="0" y="108109"/>
                  </a:lnTo>
                  <a:lnTo>
                    <a:pt x="108061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06" name="Forma livre: Forma 405">
              <a:extLst>
                <a:ext uri="{FF2B5EF4-FFF2-40B4-BE49-F238E27FC236}">
                  <a16:creationId xmlns:a16="http://schemas.microsoft.com/office/drawing/2014/main" id="{C7E255E9-6642-4EED-1CF8-D399EA3E03D6}"/>
                </a:ext>
              </a:extLst>
            </p:cNvPr>
            <p:cNvSpPr/>
            <p:nvPr/>
          </p:nvSpPr>
          <p:spPr>
            <a:xfrm>
              <a:off x="5804426" y="1082611"/>
              <a:ext cx="20097" cy="20050"/>
            </a:xfrm>
            <a:custGeom>
              <a:avLst/>
              <a:gdLst>
                <a:gd name="connsiteX0" fmla="*/ 0 w 20097"/>
                <a:gd name="connsiteY0" fmla="*/ 0 h 20050"/>
                <a:gd name="connsiteX1" fmla="*/ 20098 w 20097"/>
                <a:gd name="connsiteY1" fmla="*/ 20050 h 20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0097" h="20050">
                  <a:moveTo>
                    <a:pt x="0" y="0"/>
                  </a:moveTo>
                  <a:lnTo>
                    <a:pt x="20098" y="2005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07" name="Forma livre: Forma 406">
              <a:extLst>
                <a:ext uri="{FF2B5EF4-FFF2-40B4-BE49-F238E27FC236}">
                  <a16:creationId xmlns:a16="http://schemas.microsoft.com/office/drawing/2014/main" id="{D57500C7-0EE1-188B-5E85-C7847E880392}"/>
                </a:ext>
              </a:extLst>
            </p:cNvPr>
            <p:cNvSpPr/>
            <p:nvPr/>
          </p:nvSpPr>
          <p:spPr>
            <a:xfrm>
              <a:off x="5778042" y="1108995"/>
              <a:ext cx="20050" cy="20097"/>
            </a:xfrm>
            <a:custGeom>
              <a:avLst/>
              <a:gdLst>
                <a:gd name="connsiteX0" fmla="*/ 0 w 20050"/>
                <a:gd name="connsiteY0" fmla="*/ 0 h 20097"/>
                <a:gd name="connsiteX1" fmla="*/ 20050 w 20050"/>
                <a:gd name="connsiteY1" fmla="*/ 20098 h 200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0050" h="20097">
                  <a:moveTo>
                    <a:pt x="0" y="0"/>
                  </a:moveTo>
                  <a:lnTo>
                    <a:pt x="20050" y="20098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08" name="Forma livre: Forma 407">
              <a:extLst>
                <a:ext uri="{FF2B5EF4-FFF2-40B4-BE49-F238E27FC236}">
                  <a16:creationId xmlns:a16="http://schemas.microsoft.com/office/drawing/2014/main" id="{7E04194A-9BE0-6ACF-1B54-775961646DDE}"/>
                </a:ext>
              </a:extLst>
            </p:cNvPr>
            <p:cNvSpPr/>
            <p:nvPr/>
          </p:nvSpPr>
          <p:spPr>
            <a:xfrm>
              <a:off x="5751610" y="1135380"/>
              <a:ext cx="20097" cy="20097"/>
            </a:xfrm>
            <a:custGeom>
              <a:avLst/>
              <a:gdLst>
                <a:gd name="connsiteX0" fmla="*/ 0 w 20097"/>
                <a:gd name="connsiteY0" fmla="*/ 0 h 20097"/>
                <a:gd name="connsiteX1" fmla="*/ 20098 w 20097"/>
                <a:gd name="connsiteY1" fmla="*/ 20098 h 200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0097" h="20097">
                  <a:moveTo>
                    <a:pt x="0" y="0"/>
                  </a:moveTo>
                  <a:lnTo>
                    <a:pt x="20098" y="20098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09" name="Forma livre: Forma 408">
              <a:extLst>
                <a:ext uri="{FF2B5EF4-FFF2-40B4-BE49-F238E27FC236}">
                  <a16:creationId xmlns:a16="http://schemas.microsoft.com/office/drawing/2014/main" id="{5F3C112D-3E97-763F-814B-065C8A23910A}"/>
                </a:ext>
              </a:extLst>
            </p:cNvPr>
            <p:cNvSpPr/>
            <p:nvPr/>
          </p:nvSpPr>
          <p:spPr>
            <a:xfrm>
              <a:off x="5807046" y="1026318"/>
              <a:ext cx="125682" cy="125730"/>
            </a:xfrm>
            <a:custGeom>
              <a:avLst/>
              <a:gdLst>
                <a:gd name="connsiteX0" fmla="*/ 0 w 125682"/>
                <a:gd name="connsiteY0" fmla="*/ 0 h 125730"/>
                <a:gd name="connsiteX1" fmla="*/ 125682 w 125682"/>
                <a:gd name="connsiteY1" fmla="*/ 125730 h 125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682" h="125730">
                  <a:moveTo>
                    <a:pt x="0" y="0"/>
                  </a:moveTo>
                  <a:lnTo>
                    <a:pt x="125682" y="12573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410" name="Gráfico 6">
              <a:extLst>
                <a:ext uri="{FF2B5EF4-FFF2-40B4-BE49-F238E27FC236}">
                  <a16:creationId xmlns:a16="http://schemas.microsoft.com/office/drawing/2014/main" id="{483D1E9F-D1FF-27CB-EBD9-FC122B1530B4}"/>
                </a:ext>
              </a:extLst>
            </p:cNvPr>
            <p:cNvGrpSpPr/>
            <p:nvPr/>
          </p:nvGrpSpPr>
          <p:grpSpPr>
            <a:xfrm>
              <a:off x="5862338" y="1005363"/>
              <a:ext cx="91344" cy="91344"/>
              <a:chOff x="5862338" y="1005363"/>
              <a:chExt cx="91344" cy="91344"/>
            </a:xfrm>
          </p:grpSpPr>
          <p:sp>
            <p:nvSpPr>
              <p:cNvPr id="411" name="Forma livre: Forma 410">
                <a:extLst>
                  <a:ext uri="{FF2B5EF4-FFF2-40B4-BE49-F238E27FC236}">
                    <a16:creationId xmlns:a16="http://schemas.microsoft.com/office/drawing/2014/main" id="{2BE8FE64-3019-6A4A-E6F9-6A5E617E8462}"/>
                  </a:ext>
                </a:extLst>
              </p:cNvPr>
              <p:cNvSpPr/>
              <p:nvPr/>
            </p:nvSpPr>
            <p:spPr>
              <a:xfrm>
                <a:off x="5862338" y="1005363"/>
                <a:ext cx="43053" cy="43053"/>
              </a:xfrm>
              <a:custGeom>
                <a:avLst/>
                <a:gdLst>
                  <a:gd name="connsiteX0" fmla="*/ 0 w 43053"/>
                  <a:gd name="connsiteY0" fmla="*/ 43053 h 43053"/>
                  <a:gd name="connsiteX1" fmla="*/ 43053 w 43053"/>
                  <a:gd name="connsiteY1" fmla="*/ 0 h 430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3053" h="43053">
                    <a:moveTo>
                      <a:pt x="0" y="43053"/>
                    </a:moveTo>
                    <a:lnTo>
                      <a:pt x="43053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12" name="Forma livre: Forma 411">
                <a:extLst>
                  <a:ext uri="{FF2B5EF4-FFF2-40B4-BE49-F238E27FC236}">
                    <a16:creationId xmlns:a16="http://schemas.microsoft.com/office/drawing/2014/main" id="{BF518B6B-A8BB-4EDA-1645-DAFE0A78ED1A}"/>
                  </a:ext>
                </a:extLst>
              </p:cNvPr>
              <p:cNvSpPr/>
              <p:nvPr/>
            </p:nvSpPr>
            <p:spPr>
              <a:xfrm>
                <a:off x="5910630" y="1053655"/>
                <a:ext cx="43053" cy="43053"/>
              </a:xfrm>
              <a:custGeom>
                <a:avLst/>
                <a:gdLst>
                  <a:gd name="connsiteX0" fmla="*/ 0 w 43053"/>
                  <a:gd name="connsiteY0" fmla="*/ 43053 h 43053"/>
                  <a:gd name="connsiteX1" fmla="*/ 43053 w 43053"/>
                  <a:gd name="connsiteY1" fmla="*/ 0 h 430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3053" h="43053">
                    <a:moveTo>
                      <a:pt x="0" y="43053"/>
                    </a:moveTo>
                    <a:lnTo>
                      <a:pt x="43053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413" name="Forma livre: Forma 412">
              <a:extLst>
                <a:ext uri="{FF2B5EF4-FFF2-40B4-BE49-F238E27FC236}">
                  <a16:creationId xmlns:a16="http://schemas.microsoft.com/office/drawing/2014/main" id="{9C6BC5CC-34C9-F369-66A5-EC46FBACD667}"/>
                </a:ext>
              </a:extLst>
            </p:cNvPr>
            <p:cNvSpPr/>
            <p:nvPr/>
          </p:nvSpPr>
          <p:spPr>
            <a:xfrm>
              <a:off x="5692746" y="1222962"/>
              <a:ext cx="43338" cy="43338"/>
            </a:xfrm>
            <a:custGeom>
              <a:avLst/>
              <a:gdLst>
                <a:gd name="connsiteX0" fmla="*/ 43339 w 43338"/>
                <a:gd name="connsiteY0" fmla="*/ 0 h 43338"/>
                <a:gd name="connsiteX1" fmla="*/ 0 w 43338"/>
                <a:gd name="connsiteY1" fmla="*/ 43339 h 433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3338" h="43338">
                  <a:moveTo>
                    <a:pt x="43339" y="0"/>
                  </a:moveTo>
                  <a:lnTo>
                    <a:pt x="0" y="43339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421" name="Gráfico 6">
            <a:extLst>
              <a:ext uri="{FF2B5EF4-FFF2-40B4-BE49-F238E27FC236}">
                <a16:creationId xmlns:a16="http://schemas.microsoft.com/office/drawing/2014/main" id="{55E6E9BF-13CD-E3AB-69F9-6CD98A2BB0CF}"/>
              </a:ext>
            </a:extLst>
          </p:cNvPr>
          <p:cNvGrpSpPr/>
          <p:nvPr/>
        </p:nvGrpSpPr>
        <p:grpSpPr>
          <a:xfrm>
            <a:off x="5696576" y="2616279"/>
            <a:ext cx="271612" cy="248950"/>
            <a:chOff x="5696576" y="2616279"/>
            <a:chExt cx="271612" cy="248950"/>
          </a:xfrm>
          <a:noFill/>
        </p:grpSpPr>
        <p:sp>
          <p:nvSpPr>
            <p:cNvPr id="422" name="Forma livre: Forma 421">
              <a:extLst>
                <a:ext uri="{FF2B5EF4-FFF2-40B4-BE49-F238E27FC236}">
                  <a16:creationId xmlns:a16="http://schemas.microsoft.com/office/drawing/2014/main" id="{AE4A634C-CB79-DD60-5776-FECAD1DA87BF}"/>
                </a:ext>
              </a:extLst>
            </p:cNvPr>
            <p:cNvSpPr/>
            <p:nvPr/>
          </p:nvSpPr>
          <p:spPr>
            <a:xfrm>
              <a:off x="5743657" y="2821219"/>
              <a:ext cx="176069" cy="42472"/>
            </a:xfrm>
            <a:custGeom>
              <a:avLst/>
              <a:gdLst>
                <a:gd name="connsiteX0" fmla="*/ 176070 w 176069"/>
                <a:gd name="connsiteY0" fmla="*/ 8754 h 42472"/>
                <a:gd name="connsiteX1" fmla="*/ 134398 w 176069"/>
                <a:gd name="connsiteY1" fmla="*/ 12611 h 42472"/>
                <a:gd name="connsiteX2" fmla="*/ 89107 w 176069"/>
                <a:gd name="connsiteY2" fmla="*/ 42472 h 42472"/>
                <a:gd name="connsiteX3" fmla="*/ 86963 w 176069"/>
                <a:gd name="connsiteY3" fmla="*/ 42472 h 42472"/>
                <a:gd name="connsiteX4" fmla="*/ 41672 w 176069"/>
                <a:gd name="connsiteY4" fmla="*/ 12611 h 42472"/>
                <a:gd name="connsiteX5" fmla="*/ 0 w 176069"/>
                <a:gd name="connsiteY5" fmla="*/ 8754 h 424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76069" h="42472">
                  <a:moveTo>
                    <a:pt x="176070" y="8754"/>
                  </a:moveTo>
                  <a:cubicBezTo>
                    <a:pt x="174546" y="7706"/>
                    <a:pt x="146257" y="-12678"/>
                    <a:pt x="134398" y="12611"/>
                  </a:cubicBezTo>
                  <a:cubicBezTo>
                    <a:pt x="134398" y="12611"/>
                    <a:pt x="122253" y="42043"/>
                    <a:pt x="89107" y="42472"/>
                  </a:cubicBezTo>
                  <a:lnTo>
                    <a:pt x="86963" y="42472"/>
                  </a:lnTo>
                  <a:cubicBezTo>
                    <a:pt x="53816" y="42043"/>
                    <a:pt x="41672" y="12611"/>
                    <a:pt x="41672" y="12611"/>
                  </a:cubicBezTo>
                  <a:cubicBezTo>
                    <a:pt x="29956" y="-12392"/>
                    <a:pt x="0" y="8754"/>
                    <a:pt x="0" y="8754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23" name="Forma livre: Forma 422">
              <a:extLst>
                <a:ext uri="{FF2B5EF4-FFF2-40B4-BE49-F238E27FC236}">
                  <a16:creationId xmlns:a16="http://schemas.microsoft.com/office/drawing/2014/main" id="{2D81AAE8-9E49-1E9D-A5BA-608032687D26}"/>
                </a:ext>
              </a:extLst>
            </p:cNvPr>
            <p:cNvSpPr/>
            <p:nvPr/>
          </p:nvSpPr>
          <p:spPr>
            <a:xfrm>
              <a:off x="5696576" y="2746962"/>
              <a:ext cx="60415" cy="118267"/>
            </a:xfrm>
            <a:custGeom>
              <a:avLst/>
              <a:gdLst>
                <a:gd name="connsiteX0" fmla="*/ 43842 w 60415"/>
                <a:gd name="connsiteY0" fmla="*/ 0 h 118267"/>
                <a:gd name="connsiteX1" fmla="*/ 14172 w 60415"/>
                <a:gd name="connsiteY1" fmla="*/ 106061 h 118267"/>
                <a:gd name="connsiteX2" fmla="*/ 60416 w 60415"/>
                <a:gd name="connsiteY2" fmla="*/ 110109 h 1182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0415" h="118267">
                  <a:moveTo>
                    <a:pt x="43842" y="0"/>
                  </a:moveTo>
                  <a:cubicBezTo>
                    <a:pt x="43842" y="0"/>
                    <a:pt x="-30215" y="48863"/>
                    <a:pt x="14172" y="106061"/>
                  </a:cubicBezTo>
                  <a:cubicBezTo>
                    <a:pt x="14172" y="106061"/>
                    <a:pt x="31365" y="130588"/>
                    <a:pt x="60416" y="110109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24" name="Forma livre: Forma 423">
              <a:extLst>
                <a:ext uri="{FF2B5EF4-FFF2-40B4-BE49-F238E27FC236}">
                  <a16:creationId xmlns:a16="http://schemas.microsoft.com/office/drawing/2014/main" id="{734744DA-8281-493E-8AF4-54C35FDF1528}"/>
                </a:ext>
              </a:extLst>
            </p:cNvPr>
            <p:cNvSpPr/>
            <p:nvPr/>
          </p:nvSpPr>
          <p:spPr>
            <a:xfrm>
              <a:off x="5907773" y="2746962"/>
              <a:ext cx="60415" cy="118267"/>
            </a:xfrm>
            <a:custGeom>
              <a:avLst/>
              <a:gdLst>
                <a:gd name="connsiteX0" fmla="*/ 16573 w 60415"/>
                <a:gd name="connsiteY0" fmla="*/ 0 h 118267"/>
                <a:gd name="connsiteX1" fmla="*/ 46244 w 60415"/>
                <a:gd name="connsiteY1" fmla="*/ 106061 h 118267"/>
                <a:gd name="connsiteX2" fmla="*/ 0 w 60415"/>
                <a:gd name="connsiteY2" fmla="*/ 110109 h 1182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0415" h="118267">
                  <a:moveTo>
                    <a:pt x="16573" y="0"/>
                  </a:moveTo>
                  <a:cubicBezTo>
                    <a:pt x="16573" y="0"/>
                    <a:pt x="90630" y="48863"/>
                    <a:pt x="46244" y="106061"/>
                  </a:cubicBezTo>
                  <a:cubicBezTo>
                    <a:pt x="46244" y="106061"/>
                    <a:pt x="29051" y="130588"/>
                    <a:pt x="0" y="110109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25" name="Forma livre: Forma 424">
              <a:extLst>
                <a:ext uri="{FF2B5EF4-FFF2-40B4-BE49-F238E27FC236}">
                  <a16:creationId xmlns:a16="http://schemas.microsoft.com/office/drawing/2014/main" id="{0079321F-13A5-1F37-A7D5-8B267B624F10}"/>
                </a:ext>
              </a:extLst>
            </p:cNvPr>
            <p:cNvSpPr/>
            <p:nvPr/>
          </p:nvSpPr>
          <p:spPr>
            <a:xfrm>
              <a:off x="5865005" y="2616279"/>
              <a:ext cx="20846" cy="213883"/>
            </a:xfrm>
            <a:custGeom>
              <a:avLst/>
              <a:gdLst>
                <a:gd name="connsiteX0" fmla="*/ 14811 w 20846"/>
                <a:gd name="connsiteY0" fmla="*/ 213884 h 213883"/>
                <a:gd name="connsiteX1" fmla="*/ 16669 w 20846"/>
                <a:gd name="connsiteY1" fmla="*/ 135112 h 213883"/>
                <a:gd name="connsiteX2" fmla="*/ 0 w 20846"/>
                <a:gd name="connsiteY2" fmla="*/ 0 h 2138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0846" h="213883">
                  <a:moveTo>
                    <a:pt x="14811" y="213884"/>
                  </a:moveTo>
                  <a:cubicBezTo>
                    <a:pt x="14811" y="213884"/>
                    <a:pt x="27051" y="192548"/>
                    <a:pt x="16669" y="135112"/>
                  </a:cubicBezTo>
                  <a:cubicBezTo>
                    <a:pt x="16669" y="135112"/>
                    <a:pt x="6048" y="90249"/>
                    <a:pt x="0" y="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432" name="Gráfico 6">
            <a:extLst>
              <a:ext uri="{FF2B5EF4-FFF2-40B4-BE49-F238E27FC236}">
                <a16:creationId xmlns:a16="http://schemas.microsoft.com/office/drawing/2014/main" id="{4B1486C9-418C-7607-9816-BC0CC49F504A}"/>
              </a:ext>
            </a:extLst>
          </p:cNvPr>
          <p:cNvGrpSpPr/>
          <p:nvPr/>
        </p:nvGrpSpPr>
        <p:grpSpPr>
          <a:xfrm>
            <a:off x="5707278" y="3139535"/>
            <a:ext cx="250167" cy="284899"/>
            <a:chOff x="5707278" y="3139535"/>
            <a:chExt cx="250167" cy="284899"/>
          </a:xfrm>
        </p:grpSpPr>
        <p:sp>
          <p:nvSpPr>
            <p:cNvPr id="433" name="Forma livre: Forma 432">
              <a:extLst>
                <a:ext uri="{FF2B5EF4-FFF2-40B4-BE49-F238E27FC236}">
                  <a16:creationId xmlns:a16="http://schemas.microsoft.com/office/drawing/2014/main" id="{6D62B532-0779-0DE6-34AC-1516C575F276}"/>
                </a:ext>
              </a:extLst>
            </p:cNvPr>
            <p:cNvSpPr/>
            <p:nvPr/>
          </p:nvSpPr>
          <p:spPr>
            <a:xfrm>
              <a:off x="5878388" y="3292125"/>
              <a:ext cx="79057" cy="79057"/>
            </a:xfrm>
            <a:custGeom>
              <a:avLst/>
              <a:gdLst>
                <a:gd name="connsiteX0" fmla="*/ 79058 w 79057"/>
                <a:gd name="connsiteY0" fmla="*/ 39529 h 79057"/>
                <a:gd name="connsiteX1" fmla="*/ 39529 w 79057"/>
                <a:gd name="connsiteY1" fmla="*/ 79057 h 79057"/>
                <a:gd name="connsiteX2" fmla="*/ 0 w 79057"/>
                <a:gd name="connsiteY2" fmla="*/ 39529 h 79057"/>
                <a:gd name="connsiteX3" fmla="*/ 39529 w 79057"/>
                <a:gd name="connsiteY3" fmla="*/ 0 h 79057"/>
                <a:gd name="connsiteX4" fmla="*/ 79058 w 79057"/>
                <a:gd name="connsiteY4" fmla="*/ 39529 h 79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9057" h="79057">
                  <a:moveTo>
                    <a:pt x="79058" y="39529"/>
                  </a:moveTo>
                  <a:cubicBezTo>
                    <a:pt x="79058" y="61389"/>
                    <a:pt x="61341" y="79057"/>
                    <a:pt x="39529" y="79057"/>
                  </a:cubicBezTo>
                  <a:cubicBezTo>
                    <a:pt x="17717" y="79057"/>
                    <a:pt x="0" y="61341"/>
                    <a:pt x="0" y="39529"/>
                  </a:cubicBezTo>
                  <a:cubicBezTo>
                    <a:pt x="0" y="17717"/>
                    <a:pt x="17717" y="0"/>
                    <a:pt x="39529" y="0"/>
                  </a:cubicBezTo>
                  <a:cubicBezTo>
                    <a:pt x="61341" y="0"/>
                    <a:pt x="79058" y="17717"/>
                    <a:pt x="79058" y="39529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434" name="Gráfico 6">
              <a:extLst>
                <a:ext uri="{FF2B5EF4-FFF2-40B4-BE49-F238E27FC236}">
                  <a16:creationId xmlns:a16="http://schemas.microsoft.com/office/drawing/2014/main" id="{9B8D86DA-B483-F5F7-F3FC-A6FB56379583}"/>
                </a:ext>
              </a:extLst>
            </p:cNvPr>
            <p:cNvGrpSpPr/>
            <p:nvPr/>
          </p:nvGrpSpPr>
          <p:grpSpPr>
            <a:xfrm>
              <a:off x="5818571" y="3139535"/>
              <a:ext cx="78247" cy="167830"/>
              <a:chOff x="5818571" y="3139535"/>
              <a:chExt cx="78247" cy="167830"/>
            </a:xfrm>
            <a:noFill/>
          </p:grpSpPr>
          <p:sp>
            <p:nvSpPr>
              <p:cNvPr id="435" name="Forma livre: Forma 434">
                <a:extLst>
                  <a:ext uri="{FF2B5EF4-FFF2-40B4-BE49-F238E27FC236}">
                    <a16:creationId xmlns:a16="http://schemas.microsoft.com/office/drawing/2014/main" id="{FFAEFE64-C5D9-DE66-5703-E792FDDF74A9}"/>
                  </a:ext>
                </a:extLst>
              </p:cNvPr>
              <p:cNvSpPr/>
              <p:nvPr/>
            </p:nvSpPr>
            <p:spPr>
              <a:xfrm>
                <a:off x="5818571" y="3153203"/>
                <a:ext cx="78247" cy="154162"/>
              </a:xfrm>
              <a:custGeom>
                <a:avLst/>
                <a:gdLst>
                  <a:gd name="connsiteX0" fmla="*/ 29337 w 78247"/>
                  <a:gd name="connsiteY0" fmla="*/ 0 h 154162"/>
                  <a:gd name="connsiteX1" fmla="*/ 55293 w 78247"/>
                  <a:gd name="connsiteY1" fmla="*/ 0 h 154162"/>
                  <a:gd name="connsiteX2" fmla="*/ 78248 w 78247"/>
                  <a:gd name="connsiteY2" fmla="*/ 22955 h 154162"/>
                  <a:gd name="connsiteX3" fmla="*/ 78248 w 78247"/>
                  <a:gd name="connsiteY3" fmla="*/ 76819 h 154162"/>
                  <a:gd name="connsiteX4" fmla="*/ 59484 w 78247"/>
                  <a:gd name="connsiteY4" fmla="*/ 113062 h 154162"/>
                  <a:gd name="connsiteX5" fmla="*/ 0 w 78247"/>
                  <a:gd name="connsiteY5" fmla="*/ 154162 h 1541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78247" h="154162">
                    <a:moveTo>
                      <a:pt x="29337" y="0"/>
                    </a:moveTo>
                    <a:lnTo>
                      <a:pt x="55293" y="0"/>
                    </a:lnTo>
                    <a:cubicBezTo>
                      <a:pt x="67913" y="0"/>
                      <a:pt x="78248" y="10335"/>
                      <a:pt x="78248" y="22955"/>
                    </a:cubicBezTo>
                    <a:lnTo>
                      <a:pt x="78248" y="76819"/>
                    </a:lnTo>
                    <a:cubicBezTo>
                      <a:pt x="78248" y="92345"/>
                      <a:pt x="72676" y="104251"/>
                      <a:pt x="59484" y="113062"/>
                    </a:cubicBezTo>
                    <a:lnTo>
                      <a:pt x="0" y="154162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36" name="Forma livre: Forma 435">
                <a:extLst>
                  <a:ext uri="{FF2B5EF4-FFF2-40B4-BE49-F238E27FC236}">
                    <a16:creationId xmlns:a16="http://schemas.microsoft.com/office/drawing/2014/main" id="{4C7FD386-68E2-5FF0-8F4E-4494F06F052F}"/>
                  </a:ext>
                </a:extLst>
              </p:cNvPr>
              <p:cNvSpPr/>
              <p:nvPr/>
            </p:nvSpPr>
            <p:spPr>
              <a:xfrm>
                <a:off x="5847670" y="3139535"/>
                <a:ext cx="4762" cy="27527"/>
              </a:xfrm>
              <a:custGeom>
                <a:avLst/>
                <a:gdLst>
                  <a:gd name="connsiteX0" fmla="*/ 0 w 4762"/>
                  <a:gd name="connsiteY0" fmla="*/ 0 h 27527"/>
                  <a:gd name="connsiteX1" fmla="*/ 0 w 4762"/>
                  <a:gd name="connsiteY1" fmla="*/ 27527 h 275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62" h="27527">
                    <a:moveTo>
                      <a:pt x="0" y="0"/>
                    </a:moveTo>
                    <a:lnTo>
                      <a:pt x="0" y="27527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437" name="Gráfico 6">
              <a:extLst>
                <a:ext uri="{FF2B5EF4-FFF2-40B4-BE49-F238E27FC236}">
                  <a16:creationId xmlns:a16="http://schemas.microsoft.com/office/drawing/2014/main" id="{5860A8D1-0BE5-B197-8882-F7F3BFE905C8}"/>
                </a:ext>
              </a:extLst>
            </p:cNvPr>
            <p:cNvGrpSpPr/>
            <p:nvPr/>
          </p:nvGrpSpPr>
          <p:grpSpPr>
            <a:xfrm>
              <a:off x="5740133" y="3139535"/>
              <a:ext cx="78247" cy="167830"/>
              <a:chOff x="5740133" y="3139535"/>
              <a:chExt cx="78247" cy="167830"/>
            </a:xfrm>
            <a:noFill/>
          </p:grpSpPr>
          <p:sp>
            <p:nvSpPr>
              <p:cNvPr id="438" name="Forma livre: Forma 437">
                <a:extLst>
                  <a:ext uri="{FF2B5EF4-FFF2-40B4-BE49-F238E27FC236}">
                    <a16:creationId xmlns:a16="http://schemas.microsoft.com/office/drawing/2014/main" id="{527F8129-51F0-3A61-61F7-80E0E16BB621}"/>
                  </a:ext>
                </a:extLst>
              </p:cNvPr>
              <p:cNvSpPr/>
              <p:nvPr/>
            </p:nvSpPr>
            <p:spPr>
              <a:xfrm>
                <a:off x="5740133" y="3153203"/>
                <a:ext cx="78247" cy="154162"/>
              </a:xfrm>
              <a:custGeom>
                <a:avLst/>
                <a:gdLst>
                  <a:gd name="connsiteX0" fmla="*/ 48911 w 78247"/>
                  <a:gd name="connsiteY0" fmla="*/ 0 h 154162"/>
                  <a:gd name="connsiteX1" fmla="*/ 22955 w 78247"/>
                  <a:gd name="connsiteY1" fmla="*/ 0 h 154162"/>
                  <a:gd name="connsiteX2" fmla="*/ 0 w 78247"/>
                  <a:gd name="connsiteY2" fmla="*/ 22955 h 154162"/>
                  <a:gd name="connsiteX3" fmla="*/ 0 w 78247"/>
                  <a:gd name="connsiteY3" fmla="*/ 76819 h 154162"/>
                  <a:gd name="connsiteX4" fmla="*/ 18764 w 78247"/>
                  <a:gd name="connsiteY4" fmla="*/ 113062 h 154162"/>
                  <a:gd name="connsiteX5" fmla="*/ 78248 w 78247"/>
                  <a:gd name="connsiteY5" fmla="*/ 154162 h 1541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78247" h="154162">
                    <a:moveTo>
                      <a:pt x="48911" y="0"/>
                    </a:moveTo>
                    <a:lnTo>
                      <a:pt x="22955" y="0"/>
                    </a:lnTo>
                    <a:cubicBezTo>
                      <a:pt x="10335" y="0"/>
                      <a:pt x="0" y="10335"/>
                      <a:pt x="0" y="22955"/>
                    </a:cubicBezTo>
                    <a:lnTo>
                      <a:pt x="0" y="76819"/>
                    </a:lnTo>
                    <a:cubicBezTo>
                      <a:pt x="0" y="92345"/>
                      <a:pt x="5572" y="104251"/>
                      <a:pt x="18764" y="113062"/>
                    </a:cubicBezTo>
                    <a:lnTo>
                      <a:pt x="78248" y="154162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39" name="Forma livre: Forma 438">
                <a:extLst>
                  <a:ext uri="{FF2B5EF4-FFF2-40B4-BE49-F238E27FC236}">
                    <a16:creationId xmlns:a16="http://schemas.microsoft.com/office/drawing/2014/main" id="{CE89BBDD-CC3E-469D-F1A9-D283755F442D}"/>
                  </a:ext>
                </a:extLst>
              </p:cNvPr>
              <p:cNvSpPr/>
              <p:nvPr/>
            </p:nvSpPr>
            <p:spPr>
              <a:xfrm>
                <a:off x="5789282" y="3139535"/>
                <a:ext cx="4762" cy="27527"/>
              </a:xfrm>
              <a:custGeom>
                <a:avLst/>
                <a:gdLst>
                  <a:gd name="connsiteX0" fmla="*/ 0 w 4762"/>
                  <a:gd name="connsiteY0" fmla="*/ 0 h 27527"/>
                  <a:gd name="connsiteX1" fmla="*/ 0 w 4762"/>
                  <a:gd name="connsiteY1" fmla="*/ 27527 h 275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62" h="27527">
                    <a:moveTo>
                      <a:pt x="0" y="0"/>
                    </a:moveTo>
                    <a:lnTo>
                      <a:pt x="0" y="27527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440" name="Forma livre: Forma 439">
              <a:extLst>
                <a:ext uri="{FF2B5EF4-FFF2-40B4-BE49-F238E27FC236}">
                  <a16:creationId xmlns:a16="http://schemas.microsoft.com/office/drawing/2014/main" id="{995A7379-CF9D-E167-2959-44F8671F7996}"/>
                </a:ext>
              </a:extLst>
            </p:cNvPr>
            <p:cNvSpPr/>
            <p:nvPr/>
          </p:nvSpPr>
          <p:spPr>
            <a:xfrm>
              <a:off x="5842765" y="3360324"/>
              <a:ext cx="47720" cy="23992"/>
            </a:xfrm>
            <a:custGeom>
              <a:avLst/>
              <a:gdLst>
                <a:gd name="connsiteX0" fmla="*/ 0 w 47720"/>
                <a:gd name="connsiteY0" fmla="*/ 23670 h 23992"/>
                <a:gd name="connsiteX1" fmla="*/ 47720 w 47720"/>
                <a:gd name="connsiteY1" fmla="*/ 0 h 239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7720" h="23992">
                  <a:moveTo>
                    <a:pt x="0" y="23670"/>
                  </a:moveTo>
                  <a:cubicBezTo>
                    <a:pt x="32671" y="27242"/>
                    <a:pt x="47720" y="0"/>
                    <a:pt x="47720" y="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41" name="Forma livre: Forma 440">
              <a:extLst>
                <a:ext uri="{FF2B5EF4-FFF2-40B4-BE49-F238E27FC236}">
                  <a16:creationId xmlns:a16="http://schemas.microsoft.com/office/drawing/2014/main" id="{81E7ADFE-EE6E-4F79-96DE-5946059D7903}"/>
                </a:ext>
              </a:extLst>
            </p:cNvPr>
            <p:cNvSpPr/>
            <p:nvPr/>
          </p:nvSpPr>
          <p:spPr>
            <a:xfrm>
              <a:off x="5707278" y="3307508"/>
              <a:ext cx="111340" cy="116926"/>
            </a:xfrm>
            <a:custGeom>
              <a:avLst/>
              <a:gdLst>
                <a:gd name="connsiteX0" fmla="*/ 111340 w 111340"/>
                <a:gd name="connsiteY0" fmla="*/ 0 h 116926"/>
                <a:gd name="connsiteX1" fmla="*/ 111340 w 111340"/>
                <a:gd name="connsiteY1" fmla="*/ 74200 h 116926"/>
                <a:gd name="connsiteX2" fmla="*/ 47809 w 111340"/>
                <a:gd name="connsiteY2" fmla="*/ 115634 h 116926"/>
                <a:gd name="connsiteX3" fmla="*/ 422 w 111340"/>
                <a:gd name="connsiteY3" fmla="*/ 68961 h 116926"/>
                <a:gd name="connsiteX4" fmla="*/ 61239 w 111340"/>
                <a:gd name="connsiteY4" fmla="*/ 42148 h 116926"/>
                <a:gd name="connsiteX5" fmla="*/ 61858 w 111340"/>
                <a:gd name="connsiteY5" fmla="*/ 42291 h 116926"/>
                <a:gd name="connsiteX6" fmla="*/ 87337 w 111340"/>
                <a:gd name="connsiteY6" fmla="*/ 54483 h 1169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11340" h="116926">
                  <a:moveTo>
                    <a:pt x="111340" y="0"/>
                  </a:moveTo>
                  <a:lnTo>
                    <a:pt x="111340" y="74200"/>
                  </a:lnTo>
                  <a:cubicBezTo>
                    <a:pt x="111340" y="109538"/>
                    <a:pt x="77669" y="121110"/>
                    <a:pt x="47809" y="115634"/>
                  </a:cubicBezTo>
                  <a:cubicBezTo>
                    <a:pt x="17948" y="110157"/>
                    <a:pt x="-3293" y="89249"/>
                    <a:pt x="422" y="68961"/>
                  </a:cubicBezTo>
                  <a:cubicBezTo>
                    <a:pt x="4136" y="48673"/>
                    <a:pt x="31378" y="36671"/>
                    <a:pt x="61239" y="42148"/>
                  </a:cubicBezTo>
                  <a:lnTo>
                    <a:pt x="61858" y="42291"/>
                  </a:lnTo>
                  <a:cubicBezTo>
                    <a:pt x="68192" y="43577"/>
                    <a:pt x="78098" y="46387"/>
                    <a:pt x="87337" y="54483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42" name="Forma livre: Forma 441">
              <a:extLst>
                <a:ext uri="{FF2B5EF4-FFF2-40B4-BE49-F238E27FC236}">
                  <a16:creationId xmlns:a16="http://schemas.microsoft.com/office/drawing/2014/main" id="{25E73FA0-05C4-6F6D-B8A6-67FBF9A51E2C}"/>
                </a:ext>
              </a:extLst>
            </p:cNvPr>
            <p:cNvSpPr/>
            <p:nvPr/>
          </p:nvSpPr>
          <p:spPr>
            <a:xfrm>
              <a:off x="5912630" y="3326368"/>
              <a:ext cx="10572" cy="10572"/>
            </a:xfrm>
            <a:custGeom>
              <a:avLst/>
              <a:gdLst>
                <a:gd name="connsiteX0" fmla="*/ 10573 w 10572"/>
                <a:gd name="connsiteY0" fmla="*/ 5286 h 10572"/>
                <a:gd name="connsiteX1" fmla="*/ 5286 w 10572"/>
                <a:gd name="connsiteY1" fmla="*/ 10573 h 10572"/>
                <a:gd name="connsiteX2" fmla="*/ 0 w 10572"/>
                <a:gd name="connsiteY2" fmla="*/ 5286 h 10572"/>
                <a:gd name="connsiteX3" fmla="*/ 5286 w 10572"/>
                <a:gd name="connsiteY3" fmla="*/ 0 h 10572"/>
                <a:gd name="connsiteX4" fmla="*/ 10573 w 10572"/>
                <a:gd name="connsiteY4" fmla="*/ 5286 h 105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572" h="10572">
                  <a:moveTo>
                    <a:pt x="10573" y="5286"/>
                  </a:moveTo>
                  <a:cubicBezTo>
                    <a:pt x="10573" y="8239"/>
                    <a:pt x="8192" y="10573"/>
                    <a:pt x="5286" y="10573"/>
                  </a:cubicBezTo>
                  <a:cubicBezTo>
                    <a:pt x="2381" y="10573"/>
                    <a:pt x="0" y="8192"/>
                    <a:pt x="0" y="5286"/>
                  </a:cubicBezTo>
                  <a:cubicBezTo>
                    <a:pt x="0" y="2381"/>
                    <a:pt x="2381" y="0"/>
                    <a:pt x="5286" y="0"/>
                  </a:cubicBezTo>
                  <a:cubicBezTo>
                    <a:pt x="8192" y="0"/>
                    <a:pt x="10573" y="2381"/>
                    <a:pt x="10573" y="5286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444" name="Gráfico 9">
            <a:extLst>
              <a:ext uri="{FF2B5EF4-FFF2-40B4-BE49-F238E27FC236}">
                <a16:creationId xmlns:a16="http://schemas.microsoft.com/office/drawing/2014/main" id="{42BF0425-A3F3-9327-F343-DF7923C3544B}"/>
              </a:ext>
            </a:extLst>
          </p:cNvPr>
          <p:cNvGrpSpPr/>
          <p:nvPr/>
        </p:nvGrpSpPr>
        <p:grpSpPr>
          <a:xfrm>
            <a:off x="6251928" y="1540390"/>
            <a:ext cx="285442" cy="268634"/>
            <a:chOff x="6251928" y="1540390"/>
            <a:chExt cx="285442" cy="268634"/>
          </a:xfrm>
          <a:noFill/>
        </p:grpSpPr>
        <p:sp>
          <p:nvSpPr>
            <p:cNvPr id="445" name="Forma livre: Forma 444">
              <a:extLst>
                <a:ext uri="{FF2B5EF4-FFF2-40B4-BE49-F238E27FC236}">
                  <a16:creationId xmlns:a16="http://schemas.microsoft.com/office/drawing/2014/main" id="{95D5F046-8FC8-F6E2-9E37-32059E2B02F6}"/>
                </a:ext>
              </a:extLst>
            </p:cNvPr>
            <p:cNvSpPr/>
            <p:nvPr/>
          </p:nvSpPr>
          <p:spPr>
            <a:xfrm>
              <a:off x="6251928" y="1658550"/>
              <a:ext cx="265104" cy="150473"/>
            </a:xfrm>
            <a:custGeom>
              <a:avLst/>
              <a:gdLst>
                <a:gd name="connsiteX0" fmla="*/ 265105 w 265104"/>
                <a:gd name="connsiteY0" fmla="*/ 32339 h 150473"/>
                <a:gd name="connsiteX1" fmla="*/ 265105 w 265104"/>
                <a:gd name="connsiteY1" fmla="*/ 150474 h 150473"/>
                <a:gd name="connsiteX2" fmla="*/ 0 w 265104"/>
                <a:gd name="connsiteY2" fmla="*/ 150474 h 150473"/>
                <a:gd name="connsiteX3" fmla="*/ 0 w 265104"/>
                <a:gd name="connsiteY3" fmla="*/ 0 h 150473"/>
                <a:gd name="connsiteX4" fmla="*/ 161838 w 265104"/>
                <a:gd name="connsiteY4" fmla="*/ 0 h 1504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65104" h="150473">
                  <a:moveTo>
                    <a:pt x="265105" y="32339"/>
                  </a:moveTo>
                  <a:lnTo>
                    <a:pt x="265105" y="150474"/>
                  </a:lnTo>
                  <a:lnTo>
                    <a:pt x="0" y="150474"/>
                  </a:lnTo>
                  <a:lnTo>
                    <a:pt x="0" y="0"/>
                  </a:lnTo>
                  <a:lnTo>
                    <a:pt x="161838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46" name="Forma livre: Forma 445">
              <a:extLst>
                <a:ext uri="{FF2B5EF4-FFF2-40B4-BE49-F238E27FC236}">
                  <a16:creationId xmlns:a16="http://schemas.microsoft.com/office/drawing/2014/main" id="{915932C8-DE42-34F8-E8C2-C2DD92711B83}"/>
                </a:ext>
              </a:extLst>
            </p:cNvPr>
            <p:cNvSpPr/>
            <p:nvPr/>
          </p:nvSpPr>
          <p:spPr>
            <a:xfrm>
              <a:off x="6289807" y="1698607"/>
              <a:ext cx="99432" cy="4734"/>
            </a:xfrm>
            <a:custGeom>
              <a:avLst/>
              <a:gdLst>
                <a:gd name="connsiteX0" fmla="*/ 0 w 99432"/>
                <a:gd name="connsiteY0" fmla="*/ 0 h 4734"/>
                <a:gd name="connsiteX1" fmla="*/ 99432 w 99432"/>
                <a:gd name="connsiteY1" fmla="*/ 0 h 47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9432" h="4734">
                  <a:moveTo>
                    <a:pt x="0" y="0"/>
                  </a:moveTo>
                  <a:lnTo>
                    <a:pt x="99432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47" name="Forma livre: Forma 446">
              <a:extLst>
                <a:ext uri="{FF2B5EF4-FFF2-40B4-BE49-F238E27FC236}">
                  <a16:creationId xmlns:a16="http://schemas.microsoft.com/office/drawing/2014/main" id="{C0CCE356-5925-518F-2064-E8DCC8AFBC84}"/>
                </a:ext>
              </a:extLst>
            </p:cNvPr>
            <p:cNvSpPr/>
            <p:nvPr/>
          </p:nvSpPr>
          <p:spPr>
            <a:xfrm>
              <a:off x="6289807" y="1731657"/>
              <a:ext cx="99432" cy="4734"/>
            </a:xfrm>
            <a:custGeom>
              <a:avLst/>
              <a:gdLst>
                <a:gd name="connsiteX0" fmla="*/ 0 w 99432"/>
                <a:gd name="connsiteY0" fmla="*/ 0 h 4734"/>
                <a:gd name="connsiteX1" fmla="*/ 99432 w 99432"/>
                <a:gd name="connsiteY1" fmla="*/ 0 h 47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9432" h="4734">
                  <a:moveTo>
                    <a:pt x="0" y="0"/>
                  </a:moveTo>
                  <a:lnTo>
                    <a:pt x="99432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48" name="Forma livre: Forma 447">
              <a:extLst>
                <a:ext uri="{FF2B5EF4-FFF2-40B4-BE49-F238E27FC236}">
                  <a16:creationId xmlns:a16="http://schemas.microsoft.com/office/drawing/2014/main" id="{FCE0744D-4ECB-F41A-91AE-3ADCA5466C41}"/>
                </a:ext>
              </a:extLst>
            </p:cNvPr>
            <p:cNvSpPr/>
            <p:nvPr/>
          </p:nvSpPr>
          <p:spPr>
            <a:xfrm>
              <a:off x="6404201" y="1771903"/>
              <a:ext cx="63778" cy="4734"/>
            </a:xfrm>
            <a:custGeom>
              <a:avLst/>
              <a:gdLst>
                <a:gd name="connsiteX0" fmla="*/ 0 w 63778"/>
                <a:gd name="connsiteY0" fmla="*/ 0 h 4734"/>
                <a:gd name="connsiteX1" fmla="*/ 63779 w 63778"/>
                <a:gd name="connsiteY1" fmla="*/ 0 h 47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3778" h="4734">
                  <a:moveTo>
                    <a:pt x="0" y="0"/>
                  </a:moveTo>
                  <a:lnTo>
                    <a:pt x="63779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49" name="Forma livre: Forma 448">
              <a:extLst>
                <a:ext uri="{FF2B5EF4-FFF2-40B4-BE49-F238E27FC236}">
                  <a16:creationId xmlns:a16="http://schemas.microsoft.com/office/drawing/2014/main" id="{F4ABECAB-1BBD-D0C2-40AD-28C50272AEEB}"/>
                </a:ext>
              </a:extLst>
            </p:cNvPr>
            <p:cNvSpPr/>
            <p:nvPr/>
          </p:nvSpPr>
          <p:spPr>
            <a:xfrm>
              <a:off x="6435925" y="1540390"/>
              <a:ext cx="101445" cy="186105"/>
            </a:xfrm>
            <a:custGeom>
              <a:avLst/>
              <a:gdLst>
                <a:gd name="connsiteX0" fmla="*/ 48485 w 101445"/>
                <a:gd name="connsiteY0" fmla="*/ 157460 h 186105"/>
                <a:gd name="connsiteX1" fmla="*/ 100048 w 101445"/>
                <a:gd name="connsiteY1" fmla="*/ 31607 h 186105"/>
                <a:gd name="connsiteX2" fmla="*/ 89678 w 101445"/>
                <a:gd name="connsiteY2" fmla="*/ 6891 h 186105"/>
                <a:gd name="connsiteX3" fmla="*/ 76279 w 101445"/>
                <a:gd name="connsiteY3" fmla="*/ 1398 h 186105"/>
                <a:gd name="connsiteX4" fmla="*/ 51563 w 101445"/>
                <a:gd name="connsiteY4" fmla="*/ 11720 h 186105"/>
                <a:gd name="connsiteX5" fmla="*/ 0 w 101445"/>
                <a:gd name="connsiteY5" fmla="*/ 137573 h 186105"/>
                <a:gd name="connsiteX6" fmla="*/ 8144 w 101445"/>
                <a:gd name="connsiteY6" fmla="*/ 186105 h 186105"/>
                <a:gd name="connsiteX7" fmla="*/ 48438 w 101445"/>
                <a:gd name="connsiteY7" fmla="*/ 157412 h 1861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01445" h="186105">
                  <a:moveTo>
                    <a:pt x="48485" y="157460"/>
                  </a:moveTo>
                  <a:lnTo>
                    <a:pt x="100048" y="31607"/>
                  </a:lnTo>
                  <a:cubicBezTo>
                    <a:pt x="103978" y="21948"/>
                    <a:pt x="99337" y="10868"/>
                    <a:pt x="89678" y="6891"/>
                  </a:cubicBezTo>
                  <a:lnTo>
                    <a:pt x="76279" y="1398"/>
                  </a:lnTo>
                  <a:cubicBezTo>
                    <a:pt x="66620" y="-2531"/>
                    <a:pt x="55540" y="2109"/>
                    <a:pt x="51563" y="11720"/>
                  </a:cubicBezTo>
                  <a:lnTo>
                    <a:pt x="0" y="137573"/>
                  </a:lnTo>
                  <a:lnTo>
                    <a:pt x="8144" y="186105"/>
                  </a:lnTo>
                  <a:lnTo>
                    <a:pt x="48438" y="157412"/>
                  </a:ln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50" name="Forma livre: Forma 449">
              <a:extLst>
                <a:ext uri="{FF2B5EF4-FFF2-40B4-BE49-F238E27FC236}">
                  <a16:creationId xmlns:a16="http://schemas.microsoft.com/office/drawing/2014/main" id="{C95EC762-39A9-29CF-8A8C-6631EFB93307}"/>
                </a:ext>
              </a:extLst>
            </p:cNvPr>
            <p:cNvSpPr/>
            <p:nvPr/>
          </p:nvSpPr>
          <p:spPr>
            <a:xfrm>
              <a:off x="6437913" y="1726496"/>
              <a:ext cx="6060" cy="14867"/>
            </a:xfrm>
            <a:custGeom>
              <a:avLst/>
              <a:gdLst>
                <a:gd name="connsiteX0" fmla="*/ 6061 w 6060"/>
                <a:gd name="connsiteY0" fmla="*/ 0 h 14867"/>
                <a:gd name="connsiteX1" fmla="*/ 0 w 6060"/>
                <a:gd name="connsiteY1" fmla="*/ 14867 h 148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60" h="14867">
                  <a:moveTo>
                    <a:pt x="6061" y="0"/>
                  </a:moveTo>
                  <a:lnTo>
                    <a:pt x="0" y="14867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51" name="Forma livre: Forma 450">
              <a:extLst>
                <a:ext uri="{FF2B5EF4-FFF2-40B4-BE49-F238E27FC236}">
                  <a16:creationId xmlns:a16="http://schemas.microsoft.com/office/drawing/2014/main" id="{74D1CB89-EB4F-9A29-5D8F-07CEE9E16AD6}"/>
                </a:ext>
              </a:extLst>
            </p:cNvPr>
            <p:cNvSpPr/>
            <p:nvPr/>
          </p:nvSpPr>
          <p:spPr>
            <a:xfrm>
              <a:off x="6440849" y="1671618"/>
              <a:ext cx="44555" cy="18229"/>
            </a:xfrm>
            <a:custGeom>
              <a:avLst/>
              <a:gdLst>
                <a:gd name="connsiteX0" fmla="*/ 0 w 44555"/>
                <a:gd name="connsiteY0" fmla="*/ 0 h 18229"/>
                <a:gd name="connsiteX1" fmla="*/ 44555 w 44555"/>
                <a:gd name="connsiteY1" fmla="*/ 18229 h 182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4555" h="18229">
                  <a:moveTo>
                    <a:pt x="0" y="0"/>
                  </a:moveTo>
                  <a:lnTo>
                    <a:pt x="44555" y="18229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52" name="Forma livre: Forma 451">
              <a:extLst>
                <a:ext uri="{FF2B5EF4-FFF2-40B4-BE49-F238E27FC236}">
                  <a16:creationId xmlns:a16="http://schemas.microsoft.com/office/drawing/2014/main" id="{424DF684-7794-C840-E413-F8A711F6D455}"/>
                </a:ext>
              </a:extLst>
            </p:cNvPr>
            <p:cNvSpPr/>
            <p:nvPr/>
          </p:nvSpPr>
          <p:spPr>
            <a:xfrm>
              <a:off x="6446578" y="1569061"/>
              <a:ext cx="77225" cy="31676"/>
            </a:xfrm>
            <a:custGeom>
              <a:avLst/>
              <a:gdLst>
                <a:gd name="connsiteX0" fmla="*/ 77226 w 77225"/>
                <a:gd name="connsiteY0" fmla="*/ 31676 h 31676"/>
                <a:gd name="connsiteX1" fmla="*/ 0 w 77225"/>
                <a:gd name="connsiteY1" fmla="*/ 0 h 316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7225" h="31676">
                  <a:moveTo>
                    <a:pt x="77226" y="31676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53" name="Forma livre: Forma 452">
              <a:extLst>
                <a:ext uri="{FF2B5EF4-FFF2-40B4-BE49-F238E27FC236}">
                  <a16:creationId xmlns:a16="http://schemas.microsoft.com/office/drawing/2014/main" id="{B59A8594-924A-CC6C-EE25-0AE7CC5CD648}"/>
                </a:ext>
              </a:extLst>
            </p:cNvPr>
            <p:cNvSpPr/>
            <p:nvPr/>
          </p:nvSpPr>
          <p:spPr>
            <a:xfrm>
              <a:off x="6429959" y="1551069"/>
              <a:ext cx="22537" cy="55019"/>
            </a:xfrm>
            <a:custGeom>
              <a:avLst/>
              <a:gdLst>
                <a:gd name="connsiteX0" fmla="*/ 22538 w 22537"/>
                <a:gd name="connsiteY0" fmla="*/ 0 h 55019"/>
                <a:gd name="connsiteX1" fmla="*/ 0 w 22537"/>
                <a:gd name="connsiteY1" fmla="*/ 55019 h 550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2537" h="55019">
                  <a:moveTo>
                    <a:pt x="22538" y="0"/>
                  </a:moveTo>
                  <a:lnTo>
                    <a:pt x="0" y="55019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454" name="Gráfico 9">
            <a:extLst>
              <a:ext uri="{FF2B5EF4-FFF2-40B4-BE49-F238E27FC236}">
                <a16:creationId xmlns:a16="http://schemas.microsoft.com/office/drawing/2014/main" id="{D394DF90-DA9C-9416-6202-FD39F2448EF0}"/>
              </a:ext>
            </a:extLst>
          </p:cNvPr>
          <p:cNvGrpSpPr/>
          <p:nvPr/>
        </p:nvGrpSpPr>
        <p:grpSpPr>
          <a:xfrm>
            <a:off x="7466870" y="1543175"/>
            <a:ext cx="319437" cy="263150"/>
            <a:chOff x="7466870" y="1543175"/>
            <a:chExt cx="319437" cy="263150"/>
          </a:xfrm>
          <a:noFill/>
        </p:grpSpPr>
        <p:sp>
          <p:nvSpPr>
            <p:cNvPr id="455" name="Forma livre: Forma 454">
              <a:extLst>
                <a:ext uri="{FF2B5EF4-FFF2-40B4-BE49-F238E27FC236}">
                  <a16:creationId xmlns:a16="http://schemas.microsoft.com/office/drawing/2014/main" id="{80DA7A38-C97E-51FA-CFCF-8BA302F65058}"/>
                </a:ext>
              </a:extLst>
            </p:cNvPr>
            <p:cNvSpPr/>
            <p:nvPr/>
          </p:nvSpPr>
          <p:spPr>
            <a:xfrm>
              <a:off x="7578116" y="1615179"/>
              <a:ext cx="41003" cy="41003"/>
            </a:xfrm>
            <a:custGeom>
              <a:avLst/>
              <a:gdLst>
                <a:gd name="connsiteX0" fmla="*/ 41004 w 41003"/>
                <a:gd name="connsiteY0" fmla="*/ 41004 h 41003"/>
                <a:gd name="connsiteX1" fmla="*/ 0 w 41003"/>
                <a:gd name="connsiteY1" fmla="*/ 0 h 410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1003" h="41003">
                  <a:moveTo>
                    <a:pt x="41004" y="41004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56" name="Forma livre: Forma 455">
              <a:extLst>
                <a:ext uri="{FF2B5EF4-FFF2-40B4-BE49-F238E27FC236}">
                  <a16:creationId xmlns:a16="http://schemas.microsoft.com/office/drawing/2014/main" id="{55790031-D3E5-7E74-24C2-61907125B55E}"/>
                </a:ext>
              </a:extLst>
            </p:cNvPr>
            <p:cNvSpPr/>
            <p:nvPr/>
          </p:nvSpPr>
          <p:spPr>
            <a:xfrm>
              <a:off x="7661639" y="1730662"/>
              <a:ext cx="75627" cy="75663"/>
            </a:xfrm>
            <a:custGeom>
              <a:avLst/>
              <a:gdLst>
                <a:gd name="connsiteX0" fmla="*/ 0 w 75627"/>
                <a:gd name="connsiteY0" fmla="*/ 32008 h 75663"/>
                <a:gd name="connsiteX1" fmla="*/ 38116 w 75627"/>
                <a:gd name="connsiteY1" fmla="*/ 70123 h 75663"/>
                <a:gd name="connsiteX2" fmla="*/ 64915 w 75627"/>
                <a:gd name="connsiteY2" fmla="*/ 70123 h 75663"/>
                <a:gd name="connsiteX3" fmla="*/ 70123 w 75627"/>
                <a:gd name="connsiteY3" fmla="*/ 64915 h 75663"/>
                <a:gd name="connsiteX4" fmla="*/ 70123 w 75627"/>
                <a:gd name="connsiteY4" fmla="*/ 38116 h 75663"/>
                <a:gd name="connsiteX5" fmla="*/ 32008 w 75627"/>
                <a:gd name="connsiteY5" fmla="*/ 0 h 756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5627" h="75663">
                  <a:moveTo>
                    <a:pt x="0" y="32008"/>
                  </a:moveTo>
                  <a:lnTo>
                    <a:pt x="38116" y="70123"/>
                  </a:lnTo>
                  <a:cubicBezTo>
                    <a:pt x="45502" y="77510"/>
                    <a:pt x="57529" y="77510"/>
                    <a:pt x="64915" y="70123"/>
                  </a:cubicBezTo>
                  <a:lnTo>
                    <a:pt x="70123" y="64915"/>
                  </a:lnTo>
                  <a:cubicBezTo>
                    <a:pt x="77462" y="57529"/>
                    <a:pt x="77462" y="45502"/>
                    <a:pt x="70123" y="38116"/>
                  </a:cubicBezTo>
                  <a:lnTo>
                    <a:pt x="32008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57" name="Forma livre: Forma 456">
              <a:extLst>
                <a:ext uri="{FF2B5EF4-FFF2-40B4-BE49-F238E27FC236}">
                  <a16:creationId xmlns:a16="http://schemas.microsoft.com/office/drawing/2014/main" id="{3F2CC514-E08D-AD63-FC12-8B82EED42DBA}"/>
                </a:ext>
              </a:extLst>
            </p:cNvPr>
            <p:cNvSpPr/>
            <p:nvPr/>
          </p:nvSpPr>
          <p:spPr>
            <a:xfrm>
              <a:off x="7546156" y="1647187"/>
              <a:ext cx="40956" cy="40956"/>
            </a:xfrm>
            <a:custGeom>
              <a:avLst/>
              <a:gdLst>
                <a:gd name="connsiteX0" fmla="*/ 0 w 40956"/>
                <a:gd name="connsiteY0" fmla="*/ 0 h 40956"/>
                <a:gd name="connsiteX1" fmla="*/ 40957 w 40956"/>
                <a:gd name="connsiteY1" fmla="*/ 40957 h 409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0956" h="40956">
                  <a:moveTo>
                    <a:pt x="0" y="0"/>
                  </a:moveTo>
                  <a:lnTo>
                    <a:pt x="40957" y="40957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58" name="Forma livre: Forma 457">
              <a:extLst>
                <a:ext uri="{FF2B5EF4-FFF2-40B4-BE49-F238E27FC236}">
                  <a16:creationId xmlns:a16="http://schemas.microsoft.com/office/drawing/2014/main" id="{9141B43D-DEA1-18D6-5F23-4746F64D11B0}"/>
                </a:ext>
              </a:extLst>
            </p:cNvPr>
            <p:cNvSpPr/>
            <p:nvPr/>
          </p:nvSpPr>
          <p:spPr>
            <a:xfrm>
              <a:off x="7466870" y="1543175"/>
              <a:ext cx="177415" cy="128968"/>
            </a:xfrm>
            <a:custGeom>
              <a:avLst/>
              <a:gdLst>
                <a:gd name="connsiteX0" fmla="*/ 2581 w 177415"/>
                <a:gd name="connsiteY0" fmla="*/ 86066 h 128968"/>
                <a:gd name="connsiteX1" fmla="*/ 42969 w 177415"/>
                <a:gd name="connsiteY1" fmla="*/ 126407 h 128968"/>
                <a:gd name="connsiteX2" fmla="*/ 58216 w 177415"/>
                <a:gd name="connsiteY2" fmla="*/ 125176 h 128968"/>
                <a:gd name="connsiteX3" fmla="*/ 170763 w 177415"/>
                <a:gd name="connsiteY3" fmla="*/ 12676 h 128968"/>
                <a:gd name="connsiteX4" fmla="*/ 176114 w 177415"/>
                <a:gd name="connsiteY4" fmla="*/ 839 h 128968"/>
                <a:gd name="connsiteX5" fmla="*/ 172705 w 177415"/>
                <a:gd name="connsiteY5" fmla="*/ 128 h 128968"/>
                <a:gd name="connsiteX6" fmla="*/ 113187 w 177415"/>
                <a:gd name="connsiteY6" fmla="*/ 15943 h 128968"/>
                <a:gd name="connsiteX7" fmla="*/ 90365 w 177415"/>
                <a:gd name="connsiteY7" fmla="*/ 13812 h 128968"/>
                <a:gd name="connsiteX8" fmla="*/ 78528 w 177415"/>
                <a:gd name="connsiteY8" fmla="*/ 6615 h 128968"/>
                <a:gd name="connsiteX9" fmla="*/ 72657 w 177415"/>
                <a:gd name="connsiteY9" fmla="*/ 5431 h 128968"/>
                <a:gd name="connsiteX10" fmla="*/ 64939 w 177415"/>
                <a:gd name="connsiteY10" fmla="*/ 9740 h 128968"/>
                <a:gd name="connsiteX11" fmla="*/ 3812 w 177415"/>
                <a:gd name="connsiteY11" fmla="*/ 70867 h 128968"/>
                <a:gd name="connsiteX12" fmla="*/ 2581 w 177415"/>
                <a:gd name="connsiteY12" fmla="*/ 86114 h 128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77415" h="128968">
                  <a:moveTo>
                    <a:pt x="2581" y="86066"/>
                  </a:moveTo>
                  <a:lnTo>
                    <a:pt x="42969" y="126407"/>
                  </a:lnTo>
                  <a:cubicBezTo>
                    <a:pt x="46805" y="130243"/>
                    <a:pt x="53670" y="129722"/>
                    <a:pt x="58216" y="125176"/>
                  </a:cubicBezTo>
                  <a:lnTo>
                    <a:pt x="170763" y="12676"/>
                  </a:lnTo>
                  <a:cubicBezTo>
                    <a:pt x="175309" y="8130"/>
                    <a:pt x="179665" y="3869"/>
                    <a:pt x="176114" y="839"/>
                  </a:cubicBezTo>
                  <a:cubicBezTo>
                    <a:pt x="176114" y="839"/>
                    <a:pt x="174314" y="-392"/>
                    <a:pt x="172705" y="128"/>
                  </a:cubicBezTo>
                  <a:cubicBezTo>
                    <a:pt x="171142" y="602"/>
                    <a:pt x="113187" y="15943"/>
                    <a:pt x="113187" y="15943"/>
                  </a:cubicBezTo>
                  <a:cubicBezTo>
                    <a:pt x="103244" y="18500"/>
                    <a:pt x="94958" y="16795"/>
                    <a:pt x="90365" y="13812"/>
                  </a:cubicBezTo>
                  <a:lnTo>
                    <a:pt x="78528" y="6615"/>
                  </a:lnTo>
                  <a:cubicBezTo>
                    <a:pt x="78528" y="6615"/>
                    <a:pt x="76587" y="5005"/>
                    <a:pt x="72657" y="5431"/>
                  </a:cubicBezTo>
                  <a:cubicBezTo>
                    <a:pt x="68585" y="5858"/>
                    <a:pt x="64939" y="9740"/>
                    <a:pt x="64939" y="9740"/>
                  </a:cubicBezTo>
                  <a:lnTo>
                    <a:pt x="3812" y="70867"/>
                  </a:lnTo>
                  <a:cubicBezTo>
                    <a:pt x="-733" y="75413"/>
                    <a:pt x="-1302" y="82278"/>
                    <a:pt x="2581" y="86114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59" name="Forma livre: Forma 458">
              <a:extLst>
                <a:ext uri="{FF2B5EF4-FFF2-40B4-BE49-F238E27FC236}">
                  <a16:creationId xmlns:a16="http://schemas.microsoft.com/office/drawing/2014/main" id="{CB0DCFF8-B9D2-B6A5-1FC0-9DAA30B1D0D0}"/>
                </a:ext>
              </a:extLst>
            </p:cNvPr>
            <p:cNvSpPr/>
            <p:nvPr/>
          </p:nvSpPr>
          <p:spPr>
            <a:xfrm>
              <a:off x="7683751" y="1620861"/>
              <a:ext cx="45312" cy="45360"/>
            </a:xfrm>
            <a:custGeom>
              <a:avLst/>
              <a:gdLst>
                <a:gd name="connsiteX0" fmla="*/ 0 w 45312"/>
                <a:gd name="connsiteY0" fmla="*/ 45360 h 45360"/>
                <a:gd name="connsiteX1" fmla="*/ 45313 w 45312"/>
                <a:gd name="connsiteY1" fmla="*/ 0 h 453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5312" h="45360">
                  <a:moveTo>
                    <a:pt x="0" y="45360"/>
                  </a:moveTo>
                  <a:lnTo>
                    <a:pt x="45313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60" name="Forma livre: Forma 459">
              <a:extLst>
                <a:ext uri="{FF2B5EF4-FFF2-40B4-BE49-F238E27FC236}">
                  <a16:creationId xmlns:a16="http://schemas.microsoft.com/office/drawing/2014/main" id="{49ADF39C-B9C7-76BC-B018-65C833D6A2FB}"/>
                </a:ext>
              </a:extLst>
            </p:cNvPr>
            <p:cNvSpPr/>
            <p:nvPr/>
          </p:nvSpPr>
          <p:spPr>
            <a:xfrm>
              <a:off x="7724423" y="1563616"/>
              <a:ext cx="61884" cy="61932"/>
            </a:xfrm>
            <a:custGeom>
              <a:avLst/>
              <a:gdLst>
                <a:gd name="connsiteX0" fmla="*/ 61885 w 61884"/>
                <a:gd name="connsiteY0" fmla="*/ 18466 h 61932"/>
                <a:gd name="connsiteX1" fmla="*/ 35417 w 61884"/>
                <a:gd name="connsiteY1" fmla="*/ 61932 h 61932"/>
                <a:gd name="connsiteX2" fmla="*/ 6487 w 61884"/>
                <a:gd name="connsiteY2" fmla="*/ 58665 h 61932"/>
                <a:gd name="connsiteX3" fmla="*/ 3267 w 61884"/>
                <a:gd name="connsiteY3" fmla="*/ 55398 h 61932"/>
                <a:gd name="connsiteX4" fmla="*/ 0 w 61884"/>
                <a:gd name="connsiteY4" fmla="*/ 26468 h 61932"/>
                <a:gd name="connsiteX5" fmla="*/ 43466 w 61884"/>
                <a:gd name="connsiteY5" fmla="*/ 0 h 61932"/>
                <a:gd name="connsiteX6" fmla="*/ 61885 w 61884"/>
                <a:gd name="connsiteY6" fmla="*/ 18466 h 619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1884" h="61932">
                  <a:moveTo>
                    <a:pt x="61885" y="18466"/>
                  </a:moveTo>
                  <a:lnTo>
                    <a:pt x="35417" y="61932"/>
                  </a:lnTo>
                  <a:lnTo>
                    <a:pt x="6487" y="58665"/>
                  </a:lnTo>
                  <a:lnTo>
                    <a:pt x="3267" y="55398"/>
                  </a:lnTo>
                  <a:lnTo>
                    <a:pt x="0" y="26468"/>
                  </a:lnTo>
                  <a:lnTo>
                    <a:pt x="43466" y="0"/>
                  </a:lnTo>
                  <a:lnTo>
                    <a:pt x="61885" y="18466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61" name="Forma livre: Forma 460">
              <a:extLst>
                <a:ext uri="{FF2B5EF4-FFF2-40B4-BE49-F238E27FC236}">
                  <a16:creationId xmlns:a16="http://schemas.microsoft.com/office/drawing/2014/main" id="{EF73A008-28EE-0F59-A3F0-64715A2EF6DC}"/>
                </a:ext>
              </a:extLst>
            </p:cNvPr>
            <p:cNvSpPr/>
            <p:nvPr/>
          </p:nvSpPr>
          <p:spPr>
            <a:xfrm>
              <a:off x="7544652" y="1656242"/>
              <a:ext cx="148982" cy="149029"/>
            </a:xfrm>
            <a:custGeom>
              <a:avLst/>
              <a:gdLst>
                <a:gd name="connsiteX0" fmla="*/ 51693 w 148982"/>
                <a:gd name="connsiteY0" fmla="*/ 140756 h 149029"/>
                <a:gd name="connsiteX1" fmla="*/ 11494 w 148982"/>
                <a:gd name="connsiteY1" fmla="*/ 140756 h 149029"/>
                <a:gd name="connsiteX2" fmla="*/ 8274 w 148982"/>
                <a:gd name="connsiteY2" fmla="*/ 137536 h 149029"/>
                <a:gd name="connsiteX3" fmla="*/ 8274 w 148982"/>
                <a:gd name="connsiteY3" fmla="*/ 97337 h 149029"/>
                <a:gd name="connsiteX4" fmla="*/ 97337 w 148982"/>
                <a:gd name="connsiteY4" fmla="*/ 8274 h 149029"/>
                <a:gd name="connsiteX5" fmla="*/ 137489 w 148982"/>
                <a:gd name="connsiteY5" fmla="*/ 8274 h 149029"/>
                <a:gd name="connsiteX6" fmla="*/ 140708 w 148982"/>
                <a:gd name="connsiteY6" fmla="*/ 11494 h 149029"/>
                <a:gd name="connsiteX7" fmla="*/ 140708 w 148982"/>
                <a:gd name="connsiteY7" fmla="*/ 51693 h 149029"/>
                <a:gd name="connsiteX8" fmla="*/ 51693 w 148982"/>
                <a:gd name="connsiteY8" fmla="*/ 140756 h 1490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8982" h="149029">
                  <a:moveTo>
                    <a:pt x="51693" y="140756"/>
                  </a:moveTo>
                  <a:cubicBezTo>
                    <a:pt x="40661" y="151788"/>
                    <a:pt x="22573" y="151788"/>
                    <a:pt x="11494" y="140756"/>
                  </a:cubicBezTo>
                  <a:lnTo>
                    <a:pt x="8274" y="137536"/>
                  </a:lnTo>
                  <a:cubicBezTo>
                    <a:pt x="-2758" y="126504"/>
                    <a:pt x="-2758" y="108417"/>
                    <a:pt x="8274" y="97337"/>
                  </a:cubicBezTo>
                  <a:lnTo>
                    <a:pt x="97337" y="8274"/>
                  </a:lnTo>
                  <a:cubicBezTo>
                    <a:pt x="108369" y="-2758"/>
                    <a:pt x="126456" y="-2758"/>
                    <a:pt x="137489" y="8274"/>
                  </a:cubicBezTo>
                  <a:lnTo>
                    <a:pt x="140708" y="11494"/>
                  </a:lnTo>
                  <a:cubicBezTo>
                    <a:pt x="151741" y="22526"/>
                    <a:pt x="151741" y="40613"/>
                    <a:pt x="140708" y="51693"/>
                  </a:cubicBezTo>
                  <a:lnTo>
                    <a:pt x="51693" y="140756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62" name="Forma livre: Forma 461">
              <a:extLst>
                <a:ext uri="{FF2B5EF4-FFF2-40B4-BE49-F238E27FC236}">
                  <a16:creationId xmlns:a16="http://schemas.microsoft.com/office/drawing/2014/main" id="{C084884D-10E6-B7BD-F409-B79F91792E0E}"/>
                </a:ext>
              </a:extLst>
            </p:cNvPr>
            <p:cNvSpPr/>
            <p:nvPr/>
          </p:nvSpPr>
          <p:spPr>
            <a:xfrm>
              <a:off x="7581525" y="1692547"/>
              <a:ext cx="75899" cy="75899"/>
            </a:xfrm>
            <a:custGeom>
              <a:avLst/>
              <a:gdLst>
                <a:gd name="connsiteX0" fmla="*/ 75900 w 75899"/>
                <a:gd name="connsiteY0" fmla="*/ 0 h 75899"/>
                <a:gd name="connsiteX1" fmla="*/ 0 w 75899"/>
                <a:gd name="connsiteY1" fmla="*/ 75900 h 758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5899" h="75899">
                  <a:moveTo>
                    <a:pt x="75900" y="0"/>
                  </a:moveTo>
                  <a:lnTo>
                    <a:pt x="0" y="7590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463" name="Gráfico 9">
            <a:extLst>
              <a:ext uri="{FF2B5EF4-FFF2-40B4-BE49-F238E27FC236}">
                <a16:creationId xmlns:a16="http://schemas.microsoft.com/office/drawing/2014/main" id="{702ACAD4-1FDD-806C-ECCF-DB8E1976EE1D}"/>
              </a:ext>
            </a:extLst>
          </p:cNvPr>
          <p:cNvGrpSpPr/>
          <p:nvPr/>
        </p:nvGrpSpPr>
        <p:grpSpPr>
          <a:xfrm>
            <a:off x="6863530" y="1531111"/>
            <a:ext cx="294177" cy="287240"/>
            <a:chOff x="6863530" y="1531111"/>
            <a:chExt cx="294177" cy="287240"/>
          </a:xfrm>
          <a:noFill/>
        </p:grpSpPr>
        <p:sp>
          <p:nvSpPr>
            <p:cNvPr id="464" name="Forma livre: Forma 463">
              <a:extLst>
                <a:ext uri="{FF2B5EF4-FFF2-40B4-BE49-F238E27FC236}">
                  <a16:creationId xmlns:a16="http://schemas.microsoft.com/office/drawing/2014/main" id="{70E7AAB7-24A8-0915-1216-48235689900A}"/>
                </a:ext>
              </a:extLst>
            </p:cNvPr>
            <p:cNvSpPr/>
            <p:nvPr/>
          </p:nvSpPr>
          <p:spPr>
            <a:xfrm>
              <a:off x="6971462" y="1531111"/>
              <a:ext cx="178125" cy="178172"/>
            </a:xfrm>
            <a:custGeom>
              <a:avLst/>
              <a:gdLst>
                <a:gd name="connsiteX0" fmla="*/ 154759 w 178125"/>
                <a:gd name="connsiteY0" fmla="*/ 171284 h 178172"/>
                <a:gd name="connsiteX1" fmla="*/ 121283 w 178125"/>
                <a:gd name="connsiteY1" fmla="*/ 171284 h 178172"/>
                <a:gd name="connsiteX2" fmla="*/ 6889 w 178125"/>
                <a:gd name="connsiteY2" fmla="*/ 56889 h 178172"/>
                <a:gd name="connsiteX3" fmla="*/ 6889 w 178125"/>
                <a:gd name="connsiteY3" fmla="*/ 23414 h 178172"/>
                <a:gd name="connsiteX4" fmla="*/ 23414 w 178125"/>
                <a:gd name="connsiteY4" fmla="*/ 6889 h 178172"/>
                <a:gd name="connsiteX5" fmla="*/ 56889 w 178125"/>
                <a:gd name="connsiteY5" fmla="*/ 6889 h 178172"/>
                <a:gd name="connsiteX6" fmla="*/ 171236 w 178125"/>
                <a:gd name="connsiteY6" fmla="*/ 121284 h 178172"/>
                <a:gd name="connsiteX7" fmla="*/ 171236 w 178125"/>
                <a:gd name="connsiteY7" fmla="*/ 154759 h 178172"/>
                <a:gd name="connsiteX8" fmla="*/ 154712 w 178125"/>
                <a:gd name="connsiteY8" fmla="*/ 171284 h 1781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78125" h="178172">
                  <a:moveTo>
                    <a:pt x="154759" y="171284"/>
                  </a:moveTo>
                  <a:cubicBezTo>
                    <a:pt x="145573" y="180469"/>
                    <a:pt x="130469" y="180469"/>
                    <a:pt x="121283" y="171284"/>
                  </a:cubicBezTo>
                  <a:lnTo>
                    <a:pt x="6889" y="56889"/>
                  </a:lnTo>
                  <a:cubicBezTo>
                    <a:pt x="-2296" y="47704"/>
                    <a:pt x="-2296" y="32600"/>
                    <a:pt x="6889" y="23414"/>
                  </a:cubicBezTo>
                  <a:lnTo>
                    <a:pt x="23414" y="6889"/>
                  </a:lnTo>
                  <a:cubicBezTo>
                    <a:pt x="32600" y="-2296"/>
                    <a:pt x="47704" y="-2296"/>
                    <a:pt x="56889" y="6889"/>
                  </a:cubicBezTo>
                  <a:lnTo>
                    <a:pt x="171236" y="121284"/>
                  </a:lnTo>
                  <a:cubicBezTo>
                    <a:pt x="180422" y="130469"/>
                    <a:pt x="180422" y="145573"/>
                    <a:pt x="171236" y="154759"/>
                  </a:cubicBezTo>
                  <a:lnTo>
                    <a:pt x="154712" y="171284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65" name="Forma livre: Forma 464">
              <a:extLst>
                <a:ext uri="{FF2B5EF4-FFF2-40B4-BE49-F238E27FC236}">
                  <a16:creationId xmlns:a16="http://schemas.microsoft.com/office/drawing/2014/main" id="{7410E27D-B0F7-8178-6231-9661A40DE229}"/>
                </a:ext>
              </a:extLst>
            </p:cNvPr>
            <p:cNvSpPr/>
            <p:nvPr/>
          </p:nvSpPr>
          <p:spPr>
            <a:xfrm>
              <a:off x="6863530" y="1714706"/>
              <a:ext cx="103646" cy="103646"/>
            </a:xfrm>
            <a:custGeom>
              <a:avLst/>
              <a:gdLst>
                <a:gd name="connsiteX0" fmla="*/ 28362 w 103646"/>
                <a:gd name="connsiteY0" fmla="*/ 103646 h 103646"/>
                <a:gd name="connsiteX1" fmla="*/ 0 w 103646"/>
                <a:gd name="connsiteY1" fmla="*/ 75284 h 103646"/>
                <a:gd name="connsiteX2" fmla="*/ 69745 w 103646"/>
                <a:gd name="connsiteY2" fmla="*/ 5540 h 103646"/>
                <a:gd name="connsiteX3" fmla="*/ 96544 w 103646"/>
                <a:gd name="connsiteY3" fmla="*/ 5540 h 103646"/>
                <a:gd name="connsiteX4" fmla="*/ 98106 w 103646"/>
                <a:gd name="connsiteY4" fmla="*/ 7102 h 103646"/>
                <a:gd name="connsiteX5" fmla="*/ 98106 w 103646"/>
                <a:gd name="connsiteY5" fmla="*/ 33902 h 103646"/>
                <a:gd name="connsiteX6" fmla="*/ 28362 w 103646"/>
                <a:gd name="connsiteY6" fmla="*/ 103646 h 1036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3646" h="103646">
                  <a:moveTo>
                    <a:pt x="28362" y="103646"/>
                  </a:moveTo>
                  <a:lnTo>
                    <a:pt x="0" y="75284"/>
                  </a:lnTo>
                  <a:lnTo>
                    <a:pt x="69745" y="5540"/>
                  </a:lnTo>
                  <a:cubicBezTo>
                    <a:pt x="77131" y="-1847"/>
                    <a:pt x="89157" y="-1847"/>
                    <a:pt x="96544" y="5540"/>
                  </a:cubicBezTo>
                  <a:lnTo>
                    <a:pt x="98106" y="7102"/>
                  </a:lnTo>
                  <a:cubicBezTo>
                    <a:pt x="105493" y="14489"/>
                    <a:pt x="105493" y="26515"/>
                    <a:pt x="98106" y="33902"/>
                  </a:cubicBezTo>
                  <a:lnTo>
                    <a:pt x="28362" y="103646"/>
                  </a:ln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66" name="Forma livre: Forma 465">
              <a:extLst>
                <a:ext uri="{FF2B5EF4-FFF2-40B4-BE49-F238E27FC236}">
                  <a16:creationId xmlns:a16="http://schemas.microsoft.com/office/drawing/2014/main" id="{62412CEB-9E28-91E2-B301-C4B0325229B9}"/>
                </a:ext>
              </a:extLst>
            </p:cNvPr>
            <p:cNvSpPr/>
            <p:nvPr/>
          </p:nvSpPr>
          <p:spPr>
            <a:xfrm>
              <a:off x="6976741" y="1689797"/>
              <a:ext cx="180966" cy="62458"/>
            </a:xfrm>
            <a:custGeom>
              <a:avLst/>
              <a:gdLst>
                <a:gd name="connsiteX0" fmla="*/ 0 w 180966"/>
                <a:gd name="connsiteY0" fmla="*/ 15960 h 62458"/>
                <a:gd name="connsiteX1" fmla="*/ 12169 w 180966"/>
                <a:gd name="connsiteY1" fmla="*/ 3792 h 62458"/>
                <a:gd name="connsiteX2" fmla="*/ 31771 w 180966"/>
                <a:gd name="connsiteY2" fmla="*/ 3460 h 62458"/>
                <a:gd name="connsiteX3" fmla="*/ 121781 w 180966"/>
                <a:gd name="connsiteY3" fmla="*/ 58479 h 62458"/>
                <a:gd name="connsiteX4" fmla="*/ 153220 w 180966"/>
                <a:gd name="connsiteY4" fmla="*/ 55023 h 62458"/>
                <a:gd name="connsiteX5" fmla="*/ 180966 w 180966"/>
                <a:gd name="connsiteY5" fmla="*/ 27277 h 62458"/>
                <a:gd name="connsiteX6" fmla="*/ 158192 w 180966"/>
                <a:gd name="connsiteY6" fmla="*/ 4502 h 624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80966" h="62458">
                  <a:moveTo>
                    <a:pt x="0" y="15960"/>
                  </a:moveTo>
                  <a:cubicBezTo>
                    <a:pt x="0" y="15960"/>
                    <a:pt x="6155" y="9805"/>
                    <a:pt x="12169" y="3792"/>
                  </a:cubicBezTo>
                  <a:cubicBezTo>
                    <a:pt x="20502" y="-4542"/>
                    <a:pt x="31771" y="3460"/>
                    <a:pt x="31771" y="3460"/>
                  </a:cubicBezTo>
                  <a:lnTo>
                    <a:pt x="121781" y="58479"/>
                  </a:lnTo>
                  <a:cubicBezTo>
                    <a:pt x="121781" y="58479"/>
                    <a:pt x="138826" y="69417"/>
                    <a:pt x="153220" y="55023"/>
                  </a:cubicBezTo>
                  <a:lnTo>
                    <a:pt x="180966" y="27277"/>
                  </a:lnTo>
                  <a:lnTo>
                    <a:pt x="158192" y="4502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467" name="Gráfico 9">
            <a:extLst>
              <a:ext uri="{FF2B5EF4-FFF2-40B4-BE49-F238E27FC236}">
                <a16:creationId xmlns:a16="http://schemas.microsoft.com/office/drawing/2014/main" id="{AC437010-BA0B-1A1A-F206-9FECD0286CB2}"/>
              </a:ext>
            </a:extLst>
          </p:cNvPr>
          <p:cNvGrpSpPr/>
          <p:nvPr/>
        </p:nvGrpSpPr>
        <p:grpSpPr>
          <a:xfrm>
            <a:off x="6283036" y="3133413"/>
            <a:ext cx="223248" cy="257718"/>
            <a:chOff x="6283036" y="3133413"/>
            <a:chExt cx="223248" cy="257718"/>
          </a:xfrm>
        </p:grpSpPr>
        <p:sp>
          <p:nvSpPr>
            <p:cNvPr id="468" name="Forma livre: Forma 467">
              <a:extLst>
                <a:ext uri="{FF2B5EF4-FFF2-40B4-BE49-F238E27FC236}">
                  <a16:creationId xmlns:a16="http://schemas.microsoft.com/office/drawing/2014/main" id="{D92E7E94-6272-58D2-4F36-EEDC2F20D333}"/>
                </a:ext>
              </a:extLst>
            </p:cNvPr>
            <p:cNvSpPr/>
            <p:nvPr/>
          </p:nvSpPr>
          <p:spPr>
            <a:xfrm>
              <a:off x="6291843" y="3189805"/>
              <a:ext cx="183902" cy="66666"/>
            </a:xfrm>
            <a:custGeom>
              <a:avLst/>
              <a:gdLst>
                <a:gd name="connsiteX0" fmla="*/ 91951 w 183902"/>
                <a:gd name="connsiteY0" fmla="*/ 0 h 66666"/>
                <a:gd name="connsiteX1" fmla="*/ 0 w 183902"/>
                <a:gd name="connsiteY1" fmla="*/ 66667 h 66666"/>
                <a:gd name="connsiteX2" fmla="*/ 183902 w 183902"/>
                <a:gd name="connsiteY2" fmla="*/ 66667 h 66666"/>
                <a:gd name="connsiteX3" fmla="*/ 91951 w 183902"/>
                <a:gd name="connsiteY3" fmla="*/ 0 h 666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3902" h="66666">
                  <a:moveTo>
                    <a:pt x="91951" y="0"/>
                  </a:moveTo>
                  <a:cubicBezTo>
                    <a:pt x="41146" y="0"/>
                    <a:pt x="0" y="29830"/>
                    <a:pt x="0" y="66667"/>
                  </a:cubicBezTo>
                  <a:lnTo>
                    <a:pt x="183902" y="66667"/>
                  </a:lnTo>
                  <a:cubicBezTo>
                    <a:pt x="183902" y="29830"/>
                    <a:pt x="142756" y="0"/>
                    <a:pt x="91951" y="0"/>
                  </a:cubicBez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69" name="Forma livre: Forma 468">
              <a:extLst>
                <a:ext uri="{FF2B5EF4-FFF2-40B4-BE49-F238E27FC236}">
                  <a16:creationId xmlns:a16="http://schemas.microsoft.com/office/drawing/2014/main" id="{B8191140-A922-4939-D106-6C3FEAD45F83}"/>
                </a:ext>
              </a:extLst>
            </p:cNvPr>
            <p:cNvSpPr/>
            <p:nvPr/>
          </p:nvSpPr>
          <p:spPr>
            <a:xfrm>
              <a:off x="6283036" y="3283414"/>
              <a:ext cx="201515" cy="4734"/>
            </a:xfrm>
            <a:custGeom>
              <a:avLst/>
              <a:gdLst>
                <a:gd name="connsiteX0" fmla="*/ 0 w 201515"/>
                <a:gd name="connsiteY0" fmla="*/ 0 h 4734"/>
                <a:gd name="connsiteX1" fmla="*/ 201516 w 201515"/>
                <a:gd name="connsiteY1" fmla="*/ 0 h 47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01515" h="4734">
                  <a:moveTo>
                    <a:pt x="0" y="0"/>
                  </a:moveTo>
                  <a:lnTo>
                    <a:pt x="201516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70" name="Forma livre: Forma 469">
              <a:extLst>
                <a:ext uri="{FF2B5EF4-FFF2-40B4-BE49-F238E27FC236}">
                  <a16:creationId xmlns:a16="http://schemas.microsoft.com/office/drawing/2014/main" id="{70CFD474-CB29-F1C3-4A5A-51632CFA0B55}"/>
                </a:ext>
              </a:extLst>
            </p:cNvPr>
            <p:cNvSpPr/>
            <p:nvPr/>
          </p:nvSpPr>
          <p:spPr>
            <a:xfrm>
              <a:off x="6383652" y="3133413"/>
              <a:ext cx="122632" cy="55445"/>
            </a:xfrm>
            <a:custGeom>
              <a:avLst/>
              <a:gdLst>
                <a:gd name="connsiteX0" fmla="*/ 122633 w 122632"/>
                <a:gd name="connsiteY0" fmla="*/ 0 h 55445"/>
                <a:gd name="connsiteX1" fmla="*/ 26373 w 122632"/>
                <a:gd name="connsiteY1" fmla="*/ 0 h 55445"/>
                <a:gd name="connsiteX2" fmla="*/ 0 w 122632"/>
                <a:gd name="connsiteY2" fmla="*/ 26373 h 55445"/>
                <a:gd name="connsiteX3" fmla="*/ 0 w 122632"/>
                <a:gd name="connsiteY3" fmla="*/ 55445 h 554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2632" h="55445">
                  <a:moveTo>
                    <a:pt x="122633" y="0"/>
                  </a:moveTo>
                  <a:lnTo>
                    <a:pt x="26373" y="0"/>
                  </a:lnTo>
                  <a:cubicBezTo>
                    <a:pt x="11885" y="0"/>
                    <a:pt x="0" y="11885"/>
                    <a:pt x="0" y="26373"/>
                  </a:cubicBezTo>
                  <a:lnTo>
                    <a:pt x="0" y="55445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471" name="Gráfico 9">
              <a:extLst>
                <a:ext uri="{FF2B5EF4-FFF2-40B4-BE49-F238E27FC236}">
                  <a16:creationId xmlns:a16="http://schemas.microsoft.com/office/drawing/2014/main" id="{813E82B6-65B8-3FD7-BB09-2D11F37CCEE5}"/>
                </a:ext>
              </a:extLst>
            </p:cNvPr>
            <p:cNvGrpSpPr/>
            <p:nvPr/>
          </p:nvGrpSpPr>
          <p:grpSpPr>
            <a:xfrm>
              <a:off x="6316559" y="3317789"/>
              <a:ext cx="134470" cy="7386"/>
              <a:chOff x="6316559" y="3317789"/>
              <a:chExt cx="134470" cy="7386"/>
            </a:xfrm>
            <a:solidFill>
              <a:srgbClr val="394553"/>
            </a:solidFill>
          </p:grpSpPr>
          <p:sp>
            <p:nvSpPr>
              <p:cNvPr id="472" name="Forma livre: Forma 471">
                <a:extLst>
                  <a:ext uri="{FF2B5EF4-FFF2-40B4-BE49-F238E27FC236}">
                    <a16:creationId xmlns:a16="http://schemas.microsoft.com/office/drawing/2014/main" id="{B8D654FF-194E-E47C-CB4D-0783D26C73E4}"/>
                  </a:ext>
                </a:extLst>
              </p:cNvPr>
              <p:cNvSpPr/>
              <p:nvPr/>
            </p:nvSpPr>
            <p:spPr>
              <a:xfrm>
                <a:off x="6316559" y="3317789"/>
                <a:ext cx="7386" cy="7386"/>
              </a:xfrm>
              <a:custGeom>
                <a:avLst/>
                <a:gdLst>
                  <a:gd name="connsiteX0" fmla="*/ 7386 w 7386"/>
                  <a:gd name="connsiteY0" fmla="*/ 3693 h 7386"/>
                  <a:gd name="connsiteX1" fmla="*/ 3693 w 7386"/>
                  <a:gd name="connsiteY1" fmla="*/ 7386 h 7386"/>
                  <a:gd name="connsiteX2" fmla="*/ 0 w 7386"/>
                  <a:gd name="connsiteY2" fmla="*/ 3693 h 7386"/>
                  <a:gd name="connsiteX3" fmla="*/ 3693 w 7386"/>
                  <a:gd name="connsiteY3" fmla="*/ 0 h 7386"/>
                  <a:gd name="connsiteX4" fmla="*/ 7386 w 7386"/>
                  <a:gd name="connsiteY4" fmla="*/ 3693 h 73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386" h="7386">
                    <a:moveTo>
                      <a:pt x="7386" y="3693"/>
                    </a:moveTo>
                    <a:cubicBezTo>
                      <a:pt x="7386" y="5729"/>
                      <a:pt x="5729" y="7386"/>
                      <a:pt x="3693" y="7386"/>
                    </a:cubicBezTo>
                    <a:cubicBezTo>
                      <a:pt x="1657" y="7386"/>
                      <a:pt x="0" y="5729"/>
                      <a:pt x="0" y="3693"/>
                    </a:cubicBezTo>
                    <a:cubicBezTo>
                      <a:pt x="0" y="1657"/>
                      <a:pt x="1657" y="0"/>
                      <a:pt x="3693" y="0"/>
                    </a:cubicBezTo>
                    <a:cubicBezTo>
                      <a:pt x="5729" y="0"/>
                      <a:pt x="7386" y="1657"/>
                      <a:pt x="7386" y="3693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73" name="Forma livre: Forma 472">
                <a:extLst>
                  <a:ext uri="{FF2B5EF4-FFF2-40B4-BE49-F238E27FC236}">
                    <a16:creationId xmlns:a16="http://schemas.microsoft.com/office/drawing/2014/main" id="{8422C110-89D9-4BFF-C46B-E8DC13083ECC}"/>
                  </a:ext>
                </a:extLst>
              </p:cNvPr>
              <p:cNvSpPr/>
              <p:nvPr/>
            </p:nvSpPr>
            <p:spPr>
              <a:xfrm>
                <a:off x="6358936" y="3317789"/>
                <a:ext cx="7386" cy="7386"/>
              </a:xfrm>
              <a:custGeom>
                <a:avLst/>
                <a:gdLst>
                  <a:gd name="connsiteX0" fmla="*/ 7386 w 7386"/>
                  <a:gd name="connsiteY0" fmla="*/ 3693 h 7386"/>
                  <a:gd name="connsiteX1" fmla="*/ 3693 w 7386"/>
                  <a:gd name="connsiteY1" fmla="*/ 7386 h 7386"/>
                  <a:gd name="connsiteX2" fmla="*/ 0 w 7386"/>
                  <a:gd name="connsiteY2" fmla="*/ 3693 h 7386"/>
                  <a:gd name="connsiteX3" fmla="*/ 3693 w 7386"/>
                  <a:gd name="connsiteY3" fmla="*/ 0 h 7386"/>
                  <a:gd name="connsiteX4" fmla="*/ 7386 w 7386"/>
                  <a:gd name="connsiteY4" fmla="*/ 3693 h 73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386" h="7386">
                    <a:moveTo>
                      <a:pt x="7386" y="3693"/>
                    </a:moveTo>
                    <a:cubicBezTo>
                      <a:pt x="7386" y="5729"/>
                      <a:pt x="5729" y="7386"/>
                      <a:pt x="3693" y="7386"/>
                    </a:cubicBezTo>
                    <a:cubicBezTo>
                      <a:pt x="1657" y="7386"/>
                      <a:pt x="0" y="5729"/>
                      <a:pt x="0" y="3693"/>
                    </a:cubicBezTo>
                    <a:cubicBezTo>
                      <a:pt x="0" y="1657"/>
                      <a:pt x="1657" y="0"/>
                      <a:pt x="3693" y="0"/>
                    </a:cubicBezTo>
                    <a:cubicBezTo>
                      <a:pt x="5729" y="0"/>
                      <a:pt x="7386" y="1657"/>
                      <a:pt x="7386" y="3693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74" name="Forma livre: Forma 473">
                <a:extLst>
                  <a:ext uri="{FF2B5EF4-FFF2-40B4-BE49-F238E27FC236}">
                    <a16:creationId xmlns:a16="http://schemas.microsoft.com/office/drawing/2014/main" id="{7E227141-8320-8C89-C0D7-54F6AF948AD9}"/>
                  </a:ext>
                </a:extLst>
              </p:cNvPr>
              <p:cNvSpPr/>
              <p:nvPr/>
            </p:nvSpPr>
            <p:spPr>
              <a:xfrm>
                <a:off x="6401266" y="3317789"/>
                <a:ext cx="7386" cy="7386"/>
              </a:xfrm>
              <a:custGeom>
                <a:avLst/>
                <a:gdLst>
                  <a:gd name="connsiteX0" fmla="*/ 7386 w 7386"/>
                  <a:gd name="connsiteY0" fmla="*/ 3693 h 7386"/>
                  <a:gd name="connsiteX1" fmla="*/ 3693 w 7386"/>
                  <a:gd name="connsiteY1" fmla="*/ 7386 h 7386"/>
                  <a:gd name="connsiteX2" fmla="*/ 0 w 7386"/>
                  <a:gd name="connsiteY2" fmla="*/ 3693 h 7386"/>
                  <a:gd name="connsiteX3" fmla="*/ 3693 w 7386"/>
                  <a:gd name="connsiteY3" fmla="*/ 0 h 7386"/>
                  <a:gd name="connsiteX4" fmla="*/ 7386 w 7386"/>
                  <a:gd name="connsiteY4" fmla="*/ 3693 h 73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386" h="7386">
                    <a:moveTo>
                      <a:pt x="7386" y="3693"/>
                    </a:moveTo>
                    <a:cubicBezTo>
                      <a:pt x="7386" y="5729"/>
                      <a:pt x="5729" y="7386"/>
                      <a:pt x="3693" y="7386"/>
                    </a:cubicBezTo>
                    <a:cubicBezTo>
                      <a:pt x="1657" y="7386"/>
                      <a:pt x="0" y="5729"/>
                      <a:pt x="0" y="3693"/>
                    </a:cubicBezTo>
                    <a:cubicBezTo>
                      <a:pt x="0" y="1657"/>
                      <a:pt x="1657" y="0"/>
                      <a:pt x="3693" y="0"/>
                    </a:cubicBezTo>
                    <a:cubicBezTo>
                      <a:pt x="5729" y="0"/>
                      <a:pt x="7386" y="1657"/>
                      <a:pt x="7386" y="3693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75" name="Forma livre: Forma 474">
                <a:extLst>
                  <a:ext uri="{FF2B5EF4-FFF2-40B4-BE49-F238E27FC236}">
                    <a16:creationId xmlns:a16="http://schemas.microsoft.com/office/drawing/2014/main" id="{28E11BB4-94D3-3565-2CDC-F1BBF7311309}"/>
                  </a:ext>
                </a:extLst>
              </p:cNvPr>
              <p:cNvSpPr/>
              <p:nvPr/>
            </p:nvSpPr>
            <p:spPr>
              <a:xfrm>
                <a:off x="6443643" y="3317789"/>
                <a:ext cx="7386" cy="7386"/>
              </a:xfrm>
              <a:custGeom>
                <a:avLst/>
                <a:gdLst>
                  <a:gd name="connsiteX0" fmla="*/ 7386 w 7386"/>
                  <a:gd name="connsiteY0" fmla="*/ 3693 h 7386"/>
                  <a:gd name="connsiteX1" fmla="*/ 3693 w 7386"/>
                  <a:gd name="connsiteY1" fmla="*/ 7386 h 7386"/>
                  <a:gd name="connsiteX2" fmla="*/ 0 w 7386"/>
                  <a:gd name="connsiteY2" fmla="*/ 3693 h 7386"/>
                  <a:gd name="connsiteX3" fmla="*/ 3693 w 7386"/>
                  <a:gd name="connsiteY3" fmla="*/ 0 h 7386"/>
                  <a:gd name="connsiteX4" fmla="*/ 7386 w 7386"/>
                  <a:gd name="connsiteY4" fmla="*/ 3693 h 73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386" h="7386">
                    <a:moveTo>
                      <a:pt x="7386" y="3693"/>
                    </a:moveTo>
                    <a:cubicBezTo>
                      <a:pt x="7386" y="5729"/>
                      <a:pt x="5729" y="7386"/>
                      <a:pt x="3693" y="7386"/>
                    </a:cubicBezTo>
                    <a:cubicBezTo>
                      <a:pt x="1657" y="7386"/>
                      <a:pt x="0" y="5729"/>
                      <a:pt x="0" y="3693"/>
                    </a:cubicBezTo>
                    <a:cubicBezTo>
                      <a:pt x="0" y="1657"/>
                      <a:pt x="1657" y="0"/>
                      <a:pt x="3693" y="0"/>
                    </a:cubicBezTo>
                    <a:cubicBezTo>
                      <a:pt x="5729" y="0"/>
                      <a:pt x="7386" y="1657"/>
                      <a:pt x="7386" y="3693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476" name="Gráfico 9">
              <a:extLst>
                <a:ext uri="{FF2B5EF4-FFF2-40B4-BE49-F238E27FC236}">
                  <a16:creationId xmlns:a16="http://schemas.microsoft.com/office/drawing/2014/main" id="{E0552293-E8C6-2F04-9F67-53F751E2074C}"/>
                </a:ext>
              </a:extLst>
            </p:cNvPr>
            <p:cNvGrpSpPr/>
            <p:nvPr/>
          </p:nvGrpSpPr>
          <p:grpSpPr>
            <a:xfrm>
              <a:off x="6316559" y="3350743"/>
              <a:ext cx="134470" cy="7386"/>
              <a:chOff x="6316559" y="3350743"/>
              <a:chExt cx="134470" cy="7386"/>
            </a:xfrm>
            <a:solidFill>
              <a:srgbClr val="394553"/>
            </a:solidFill>
          </p:grpSpPr>
          <p:sp>
            <p:nvSpPr>
              <p:cNvPr id="477" name="Forma livre: Forma 476">
                <a:extLst>
                  <a:ext uri="{FF2B5EF4-FFF2-40B4-BE49-F238E27FC236}">
                    <a16:creationId xmlns:a16="http://schemas.microsoft.com/office/drawing/2014/main" id="{7DB753A5-20E1-F50F-BFF7-E72AC0954230}"/>
                  </a:ext>
                </a:extLst>
              </p:cNvPr>
              <p:cNvSpPr/>
              <p:nvPr/>
            </p:nvSpPr>
            <p:spPr>
              <a:xfrm>
                <a:off x="6316559" y="3350743"/>
                <a:ext cx="7386" cy="7386"/>
              </a:xfrm>
              <a:custGeom>
                <a:avLst/>
                <a:gdLst>
                  <a:gd name="connsiteX0" fmla="*/ 7386 w 7386"/>
                  <a:gd name="connsiteY0" fmla="*/ 3693 h 7386"/>
                  <a:gd name="connsiteX1" fmla="*/ 3693 w 7386"/>
                  <a:gd name="connsiteY1" fmla="*/ 7386 h 7386"/>
                  <a:gd name="connsiteX2" fmla="*/ 0 w 7386"/>
                  <a:gd name="connsiteY2" fmla="*/ 3693 h 7386"/>
                  <a:gd name="connsiteX3" fmla="*/ 3693 w 7386"/>
                  <a:gd name="connsiteY3" fmla="*/ 0 h 7386"/>
                  <a:gd name="connsiteX4" fmla="*/ 7386 w 7386"/>
                  <a:gd name="connsiteY4" fmla="*/ 3693 h 73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386" h="7386">
                    <a:moveTo>
                      <a:pt x="7386" y="3693"/>
                    </a:moveTo>
                    <a:cubicBezTo>
                      <a:pt x="7386" y="5729"/>
                      <a:pt x="5729" y="7386"/>
                      <a:pt x="3693" y="7386"/>
                    </a:cubicBezTo>
                    <a:cubicBezTo>
                      <a:pt x="1657" y="7386"/>
                      <a:pt x="0" y="5729"/>
                      <a:pt x="0" y="3693"/>
                    </a:cubicBezTo>
                    <a:cubicBezTo>
                      <a:pt x="0" y="1657"/>
                      <a:pt x="1657" y="0"/>
                      <a:pt x="3693" y="0"/>
                    </a:cubicBezTo>
                    <a:cubicBezTo>
                      <a:pt x="5729" y="0"/>
                      <a:pt x="7386" y="1657"/>
                      <a:pt x="7386" y="3693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78" name="Forma livre: Forma 477">
                <a:extLst>
                  <a:ext uri="{FF2B5EF4-FFF2-40B4-BE49-F238E27FC236}">
                    <a16:creationId xmlns:a16="http://schemas.microsoft.com/office/drawing/2014/main" id="{3EE13B38-4E8A-AD7E-C4C2-21E6D6EE6563}"/>
                  </a:ext>
                </a:extLst>
              </p:cNvPr>
              <p:cNvSpPr/>
              <p:nvPr/>
            </p:nvSpPr>
            <p:spPr>
              <a:xfrm>
                <a:off x="6358936" y="3350743"/>
                <a:ext cx="7386" cy="7386"/>
              </a:xfrm>
              <a:custGeom>
                <a:avLst/>
                <a:gdLst>
                  <a:gd name="connsiteX0" fmla="*/ 7386 w 7386"/>
                  <a:gd name="connsiteY0" fmla="*/ 3693 h 7386"/>
                  <a:gd name="connsiteX1" fmla="*/ 3693 w 7386"/>
                  <a:gd name="connsiteY1" fmla="*/ 7386 h 7386"/>
                  <a:gd name="connsiteX2" fmla="*/ 0 w 7386"/>
                  <a:gd name="connsiteY2" fmla="*/ 3693 h 7386"/>
                  <a:gd name="connsiteX3" fmla="*/ 3693 w 7386"/>
                  <a:gd name="connsiteY3" fmla="*/ 0 h 7386"/>
                  <a:gd name="connsiteX4" fmla="*/ 7386 w 7386"/>
                  <a:gd name="connsiteY4" fmla="*/ 3693 h 73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386" h="7386">
                    <a:moveTo>
                      <a:pt x="7386" y="3693"/>
                    </a:moveTo>
                    <a:cubicBezTo>
                      <a:pt x="7386" y="5729"/>
                      <a:pt x="5729" y="7386"/>
                      <a:pt x="3693" y="7386"/>
                    </a:cubicBezTo>
                    <a:cubicBezTo>
                      <a:pt x="1657" y="7386"/>
                      <a:pt x="0" y="5729"/>
                      <a:pt x="0" y="3693"/>
                    </a:cubicBezTo>
                    <a:cubicBezTo>
                      <a:pt x="0" y="1657"/>
                      <a:pt x="1657" y="0"/>
                      <a:pt x="3693" y="0"/>
                    </a:cubicBezTo>
                    <a:cubicBezTo>
                      <a:pt x="5729" y="0"/>
                      <a:pt x="7386" y="1657"/>
                      <a:pt x="7386" y="3693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79" name="Forma livre: Forma 478">
                <a:extLst>
                  <a:ext uri="{FF2B5EF4-FFF2-40B4-BE49-F238E27FC236}">
                    <a16:creationId xmlns:a16="http://schemas.microsoft.com/office/drawing/2014/main" id="{84C35615-6370-C56F-1B09-4FCDEE90C5B7}"/>
                  </a:ext>
                </a:extLst>
              </p:cNvPr>
              <p:cNvSpPr/>
              <p:nvPr/>
            </p:nvSpPr>
            <p:spPr>
              <a:xfrm>
                <a:off x="6401266" y="3350743"/>
                <a:ext cx="7386" cy="7386"/>
              </a:xfrm>
              <a:custGeom>
                <a:avLst/>
                <a:gdLst>
                  <a:gd name="connsiteX0" fmla="*/ 7386 w 7386"/>
                  <a:gd name="connsiteY0" fmla="*/ 3693 h 7386"/>
                  <a:gd name="connsiteX1" fmla="*/ 3693 w 7386"/>
                  <a:gd name="connsiteY1" fmla="*/ 7386 h 7386"/>
                  <a:gd name="connsiteX2" fmla="*/ 0 w 7386"/>
                  <a:gd name="connsiteY2" fmla="*/ 3693 h 7386"/>
                  <a:gd name="connsiteX3" fmla="*/ 3693 w 7386"/>
                  <a:gd name="connsiteY3" fmla="*/ 0 h 7386"/>
                  <a:gd name="connsiteX4" fmla="*/ 7386 w 7386"/>
                  <a:gd name="connsiteY4" fmla="*/ 3693 h 73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386" h="7386">
                    <a:moveTo>
                      <a:pt x="7386" y="3693"/>
                    </a:moveTo>
                    <a:cubicBezTo>
                      <a:pt x="7386" y="5729"/>
                      <a:pt x="5729" y="7386"/>
                      <a:pt x="3693" y="7386"/>
                    </a:cubicBezTo>
                    <a:cubicBezTo>
                      <a:pt x="1657" y="7386"/>
                      <a:pt x="0" y="5729"/>
                      <a:pt x="0" y="3693"/>
                    </a:cubicBezTo>
                    <a:cubicBezTo>
                      <a:pt x="0" y="1657"/>
                      <a:pt x="1657" y="0"/>
                      <a:pt x="3693" y="0"/>
                    </a:cubicBezTo>
                    <a:cubicBezTo>
                      <a:pt x="5729" y="0"/>
                      <a:pt x="7386" y="1657"/>
                      <a:pt x="7386" y="3693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80" name="Forma livre: Forma 479">
                <a:extLst>
                  <a:ext uri="{FF2B5EF4-FFF2-40B4-BE49-F238E27FC236}">
                    <a16:creationId xmlns:a16="http://schemas.microsoft.com/office/drawing/2014/main" id="{E1DC49F9-2A4A-6F6F-3248-574CC5FA47C5}"/>
                  </a:ext>
                </a:extLst>
              </p:cNvPr>
              <p:cNvSpPr/>
              <p:nvPr/>
            </p:nvSpPr>
            <p:spPr>
              <a:xfrm>
                <a:off x="6443643" y="3350743"/>
                <a:ext cx="7386" cy="7386"/>
              </a:xfrm>
              <a:custGeom>
                <a:avLst/>
                <a:gdLst>
                  <a:gd name="connsiteX0" fmla="*/ 7386 w 7386"/>
                  <a:gd name="connsiteY0" fmla="*/ 3693 h 7386"/>
                  <a:gd name="connsiteX1" fmla="*/ 3693 w 7386"/>
                  <a:gd name="connsiteY1" fmla="*/ 7386 h 7386"/>
                  <a:gd name="connsiteX2" fmla="*/ 0 w 7386"/>
                  <a:gd name="connsiteY2" fmla="*/ 3693 h 7386"/>
                  <a:gd name="connsiteX3" fmla="*/ 3693 w 7386"/>
                  <a:gd name="connsiteY3" fmla="*/ 0 h 7386"/>
                  <a:gd name="connsiteX4" fmla="*/ 7386 w 7386"/>
                  <a:gd name="connsiteY4" fmla="*/ 3693 h 73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386" h="7386">
                    <a:moveTo>
                      <a:pt x="7386" y="3693"/>
                    </a:moveTo>
                    <a:cubicBezTo>
                      <a:pt x="7386" y="5729"/>
                      <a:pt x="5729" y="7386"/>
                      <a:pt x="3693" y="7386"/>
                    </a:cubicBezTo>
                    <a:cubicBezTo>
                      <a:pt x="1657" y="7386"/>
                      <a:pt x="0" y="5729"/>
                      <a:pt x="0" y="3693"/>
                    </a:cubicBezTo>
                    <a:cubicBezTo>
                      <a:pt x="0" y="1657"/>
                      <a:pt x="1657" y="0"/>
                      <a:pt x="3693" y="0"/>
                    </a:cubicBezTo>
                    <a:cubicBezTo>
                      <a:pt x="5729" y="0"/>
                      <a:pt x="7386" y="1657"/>
                      <a:pt x="7386" y="3693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481" name="Gráfico 9">
              <a:extLst>
                <a:ext uri="{FF2B5EF4-FFF2-40B4-BE49-F238E27FC236}">
                  <a16:creationId xmlns:a16="http://schemas.microsoft.com/office/drawing/2014/main" id="{79088DAF-0A22-2C4F-FD9B-FAB29AE42294}"/>
                </a:ext>
              </a:extLst>
            </p:cNvPr>
            <p:cNvGrpSpPr/>
            <p:nvPr/>
          </p:nvGrpSpPr>
          <p:grpSpPr>
            <a:xfrm>
              <a:off x="6316559" y="3383745"/>
              <a:ext cx="134470" cy="7386"/>
              <a:chOff x="6316559" y="3383745"/>
              <a:chExt cx="134470" cy="7386"/>
            </a:xfrm>
            <a:solidFill>
              <a:srgbClr val="394553"/>
            </a:solidFill>
          </p:grpSpPr>
          <p:sp>
            <p:nvSpPr>
              <p:cNvPr id="482" name="Forma livre: Forma 481">
                <a:extLst>
                  <a:ext uri="{FF2B5EF4-FFF2-40B4-BE49-F238E27FC236}">
                    <a16:creationId xmlns:a16="http://schemas.microsoft.com/office/drawing/2014/main" id="{9DA9FED1-F46C-CE72-A4D9-62E5C8D79DA7}"/>
                  </a:ext>
                </a:extLst>
              </p:cNvPr>
              <p:cNvSpPr/>
              <p:nvPr/>
            </p:nvSpPr>
            <p:spPr>
              <a:xfrm>
                <a:off x="6316559" y="3383745"/>
                <a:ext cx="7386" cy="7386"/>
              </a:xfrm>
              <a:custGeom>
                <a:avLst/>
                <a:gdLst>
                  <a:gd name="connsiteX0" fmla="*/ 7386 w 7386"/>
                  <a:gd name="connsiteY0" fmla="*/ 3693 h 7386"/>
                  <a:gd name="connsiteX1" fmla="*/ 3693 w 7386"/>
                  <a:gd name="connsiteY1" fmla="*/ 7387 h 7386"/>
                  <a:gd name="connsiteX2" fmla="*/ 0 w 7386"/>
                  <a:gd name="connsiteY2" fmla="*/ 3693 h 7386"/>
                  <a:gd name="connsiteX3" fmla="*/ 3693 w 7386"/>
                  <a:gd name="connsiteY3" fmla="*/ 0 h 7386"/>
                  <a:gd name="connsiteX4" fmla="*/ 7386 w 7386"/>
                  <a:gd name="connsiteY4" fmla="*/ 3693 h 73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386" h="7386">
                    <a:moveTo>
                      <a:pt x="7386" y="3693"/>
                    </a:moveTo>
                    <a:cubicBezTo>
                      <a:pt x="7386" y="5729"/>
                      <a:pt x="5729" y="7387"/>
                      <a:pt x="3693" y="7387"/>
                    </a:cubicBezTo>
                    <a:cubicBezTo>
                      <a:pt x="1657" y="7387"/>
                      <a:pt x="0" y="5729"/>
                      <a:pt x="0" y="3693"/>
                    </a:cubicBezTo>
                    <a:cubicBezTo>
                      <a:pt x="0" y="1657"/>
                      <a:pt x="1657" y="0"/>
                      <a:pt x="3693" y="0"/>
                    </a:cubicBezTo>
                    <a:cubicBezTo>
                      <a:pt x="5729" y="0"/>
                      <a:pt x="7386" y="1657"/>
                      <a:pt x="7386" y="3693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83" name="Forma livre: Forma 482">
                <a:extLst>
                  <a:ext uri="{FF2B5EF4-FFF2-40B4-BE49-F238E27FC236}">
                    <a16:creationId xmlns:a16="http://schemas.microsoft.com/office/drawing/2014/main" id="{5339654C-E789-2B7C-D942-064FBAD0EF82}"/>
                  </a:ext>
                </a:extLst>
              </p:cNvPr>
              <p:cNvSpPr/>
              <p:nvPr/>
            </p:nvSpPr>
            <p:spPr>
              <a:xfrm>
                <a:off x="6358936" y="3383745"/>
                <a:ext cx="7386" cy="7386"/>
              </a:xfrm>
              <a:custGeom>
                <a:avLst/>
                <a:gdLst>
                  <a:gd name="connsiteX0" fmla="*/ 7386 w 7386"/>
                  <a:gd name="connsiteY0" fmla="*/ 3693 h 7386"/>
                  <a:gd name="connsiteX1" fmla="*/ 3693 w 7386"/>
                  <a:gd name="connsiteY1" fmla="*/ 7387 h 7386"/>
                  <a:gd name="connsiteX2" fmla="*/ 0 w 7386"/>
                  <a:gd name="connsiteY2" fmla="*/ 3693 h 7386"/>
                  <a:gd name="connsiteX3" fmla="*/ 3693 w 7386"/>
                  <a:gd name="connsiteY3" fmla="*/ 0 h 7386"/>
                  <a:gd name="connsiteX4" fmla="*/ 7386 w 7386"/>
                  <a:gd name="connsiteY4" fmla="*/ 3693 h 73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386" h="7386">
                    <a:moveTo>
                      <a:pt x="7386" y="3693"/>
                    </a:moveTo>
                    <a:cubicBezTo>
                      <a:pt x="7386" y="5729"/>
                      <a:pt x="5729" y="7387"/>
                      <a:pt x="3693" y="7387"/>
                    </a:cubicBezTo>
                    <a:cubicBezTo>
                      <a:pt x="1657" y="7387"/>
                      <a:pt x="0" y="5729"/>
                      <a:pt x="0" y="3693"/>
                    </a:cubicBezTo>
                    <a:cubicBezTo>
                      <a:pt x="0" y="1657"/>
                      <a:pt x="1657" y="0"/>
                      <a:pt x="3693" y="0"/>
                    </a:cubicBezTo>
                    <a:cubicBezTo>
                      <a:pt x="5729" y="0"/>
                      <a:pt x="7386" y="1657"/>
                      <a:pt x="7386" y="3693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84" name="Forma livre: Forma 483">
                <a:extLst>
                  <a:ext uri="{FF2B5EF4-FFF2-40B4-BE49-F238E27FC236}">
                    <a16:creationId xmlns:a16="http://schemas.microsoft.com/office/drawing/2014/main" id="{842F208D-CE45-4CCC-849B-5F265F57E68F}"/>
                  </a:ext>
                </a:extLst>
              </p:cNvPr>
              <p:cNvSpPr/>
              <p:nvPr/>
            </p:nvSpPr>
            <p:spPr>
              <a:xfrm>
                <a:off x="6401266" y="3383745"/>
                <a:ext cx="7386" cy="7386"/>
              </a:xfrm>
              <a:custGeom>
                <a:avLst/>
                <a:gdLst>
                  <a:gd name="connsiteX0" fmla="*/ 7386 w 7386"/>
                  <a:gd name="connsiteY0" fmla="*/ 3693 h 7386"/>
                  <a:gd name="connsiteX1" fmla="*/ 3693 w 7386"/>
                  <a:gd name="connsiteY1" fmla="*/ 7387 h 7386"/>
                  <a:gd name="connsiteX2" fmla="*/ 0 w 7386"/>
                  <a:gd name="connsiteY2" fmla="*/ 3693 h 7386"/>
                  <a:gd name="connsiteX3" fmla="*/ 3693 w 7386"/>
                  <a:gd name="connsiteY3" fmla="*/ 0 h 7386"/>
                  <a:gd name="connsiteX4" fmla="*/ 7386 w 7386"/>
                  <a:gd name="connsiteY4" fmla="*/ 3693 h 73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386" h="7386">
                    <a:moveTo>
                      <a:pt x="7386" y="3693"/>
                    </a:moveTo>
                    <a:cubicBezTo>
                      <a:pt x="7386" y="5729"/>
                      <a:pt x="5729" y="7387"/>
                      <a:pt x="3693" y="7387"/>
                    </a:cubicBezTo>
                    <a:cubicBezTo>
                      <a:pt x="1657" y="7387"/>
                      <a:pt x="0" y="5729"/>
                      <a:pt x="0" y="3693"/>
                    </a:cubicBezTo>
                    <a:cubicBezTo>
                      <a:pt x="0" y="1657"/>
                      <a:pt x="1657" y="0"/>
                      <a:pt x="3693" y="0"/>
                    </a:cubicBezTo>
                    <a:cubicBezTo>
                      <a:pt x="5729" y="0"/>
                      <a:pt x="7386" y="1657"/>
                      <a:pt x="7386" y="3693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85" name="Forma livre: Forma 484">
                <a:extLst>
                  <a:ext uri="{FF2B5EF4-FFF2-40B4-BE49-F238E27FC236}">
                    <a16:creationId xmlns:a16="http://schemas.microsoft.com/office/drawing/2014/main" id="{CA70D07E-15D4-4155-E6BA-DA528FDA97DE}"/>
                  </a:ext>
                </a:extLst>
              </p:cNvPr>
              <p:cNvSpPr/>
              <p:nvPr/>
            </p:nvSpPr>
            <p:spPr>
              <a:xfrm>
                <a:off x="6443643" y="3383745"/>
                <a:ext cx="7386" cy="7386"/>
              </a:xfrm>
              <a:custGeom>
                <a:avLst/>
                <a:gdLst>
                  <a:gd name="connsiteX0" fmla="*/ 7386 w 7386"/>
                  <a:gd name="connsiteY0" fmla="*/ 3693 h 7386"/>
                  <a:gd name="connsiteX1" fmla="*/ 3693 w 7386"/>
                  <a:gd name="connsiteY1" fmla="*/ 7387 h 7386"/>
                  <a:gd name="connsiteX2" fmla="*/ 0 w 7386"/>
                  <a:gd name="connsiteY2" fmla="*/ 3693 h 7386"/>
                  <a:gd name="connsiteX3" fmla="*/ 3693 w 7386"/>
                  <a:gd name="connsiteY3" fmla="*/ 0 h 7386"/>
                  <a:gd name="connsiteX4" fmla="*/ 7386 w 7386"/>
                  <a:gd name="connsiteY4" fmla="*/ 3693 h 73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386" h="7386">
                    <a:moveTo>
                      <a:pt x="7386" y="3693"/>
                    </a:moveTo>
                    <a:cubicBezTo>
                      <a:pt x="7386" y="5729"/>
                      <a:pt x="5729" y="7387"/>
                      <a:pt x="3693" y="7387"/>
                    </a:cubicBezTo>
                    <a:cubicBezTo>
                      <a:pt x="1657" y="7387"/>
                      <a:pt x="0" y="5729"/>
                      <a:pt x="0" y="3693"/>
                    </a:cubicBezTo>
                    <a:cubicBezTo>
                      <a:pt x="0" y="1657"/>
                      <a:pt x="1657" y="0"/>
                      <a:pt x="3693" y="0"/>
                    </a:cubicBezTo>
                    <a:cubicBezTo>
                      <a:pt x="5729" y="0"/>
                      <a:pt x="7386" y="1657"/>
                      <a:pt x="7386" y="3693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486" name="Gráfico 9">
            <a:extLst>
              <a:ext uri="{FF2B5EF4-FFF2-40B4-BE49-F238E27FC236}">
                <a16:creationId xmlns:a16="http://schemas.microsoft.com/office/drawing/2014/main" id="{14C39336-4854-C63F-2517-3A3BBF816B9B}"/>
              </a:ext>
            </a:extLst>
          </p:cNvPr>
          <p:cNvGrpSpPr/>
          <p:nvPr/>
        </p:nvGrpSpPr>
        <p:grpSpPr>
          <a:xfrm>
            <a:off x="7466136" y="3115942"/>
            <a:ext cx="320963" cy="292662"/>
            <a:chOff x="7466136" y="3115942"/>
            <a:chExt cx="320963" cy="292662"/>
          </a:xfrm>
          <a:noFill/>
        </p:grpSpPr>
        <p:grpSp>
          <p:nvGrpSpPr>
            <p:cNvPr id="487" name="Gráfico 9">
              <a:extLst>
                <a:ext uri="{FF2B5EF4-FFF2-40B4-BE49-F238E27FC236}">
                  <a16:creationId xmlns:a16="http://schemas.microsoft.com/office/drawing/2014/main" id="{1D8B1CDE-E936-0508-530E-5D9A537F4F72}"/>
                </a:ext>
              </a:extLst>
            </p:cNvPr>
            <p:cNvGrpSpPr/>
            <p:nvPr/>
          </p:nvGrpSpPr>
          <p:grpSpPr>
            <a:xfrm>
              <a:off x="7466136" y="3277717"/>
              <a:ext cx="320963" cy="130886"/>
              <a:chOff x="7466136" y="3277717"/>
              <a:chExt cx="320963" cy="130886"/>
            </a:xfrm>
            <a:noFill/>
          </p:grpSpPr>
          <p:sp>
            <p:nvSpPr>
              <p:cNvPr id="488" name="Forma livre: Forma 487">
                <a:extLst>
                  <a:ext uri="{FF2B5EF4-FFF2-40B4-BE49-F238E27FC236}">
                    <a16:creationId xmlns:a16="http://schemas.microsoft.com/office/drawing/2014/main" id="{2458679F-F8C6-082B-247A-C6BD6825720D}"/>
                  </a:ext>
                </a:extLst>
              </p:cNvPr>
              <p:cNvSpPr/>
              <p:nvPr/>
            </p:nvSpPr>
            <p:spPr>
              <a:xfrm>
                <a:off x="7505767" y="3277717"/>
                <a:ext cx="281332" cy="130886"/>
              </a:xfrm>
              <a:custGeom>
                <a:avLst/>
                <a:gdLst>
                  <a:gd name="connsiteX0" fmla="*/ 191999 w 281332"/>
                  <a:gd name="connsiteY0" fmla="*/ 32638 h 130886"/>
                  <a:gd name="connsiteX1" fmla="*/ 249575 w 281332"/>
                  <a:gd name="connsiteY1" fmla="*/ 3234 h 130886"/>
                  <a:gd name="connsiteX2" fmla="*/ 279120 w 281332"/>
                  <a:gd name="connsiteY2" fmla="*/ 9674 h 130886"/>
                  <a:gd name="connsiteX3" fmla="*/ 268656 w 281332"/>
                  <a:gd name="connsiteY3" fmla="*/ 38746 h 130886"/>
                  <a:gd name="connsiteX4" fmla="*/ 149243 w 281332"/>
                  <a:gd name="connsiteY4" fmla="*/ 102761 h 130886"/>
                  <a:gd name="connsiteX5" fmla="*/ 142946 w 281332"/>
                  <a:gd name="connsiteY5" fmla="*/ 104324 h 130886"/>
                  <a:gd name="connsiteX6" fmla="*/ 31582 w 281332"/>
                  <a:gd name="connsiteY6" fmla="*/ 107354 h 130886"/>
                  <a:gd name="connsiteX7" fmla="*/ 0 w 281332"/>
                  <a:gd name="connsiteY7" fmla="*/ 130886 h 1308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81332" h="130886">
                    <a:moveTo>
                      <a:pt x="191999" y="32638"/>
                    </a:moveTo>
                    <a:lnTo>
                      <a:pt x="249575" y="3234"/>
                    </a:lnTo>
                    <a:cubicBezTo>
                      <a:pt x="260702" y="-2732"/>
                      <a:pt x="273770" y="-364"/>
                      <a:pt x="279120" y="9674"/>
                    </a:cubicBezTo>
                    <a:cubicBezTo>
                      <a:pt x="284471" y="19712"/>
                      <a:pt x="279783" y="32780"/>
                      <a:pt x="268656" y="38746"/>
                    </a:cubicBezTo>
                    <a:lnTo>
                      <a:pt x="149243" y="102761"/>
                    </a:lnTo>
                    <a:lnTo>
                      <a:pt x="142946" y="104324"/>
                    </a:lnTo>
                    <a:lnTo>
                      <a:pt x="31582" y="107354"/>
                    </a:lnTo>
                    <a:cubicBezTo>
                      <a:pt x="31582" y="107354"/>
                      <a:pt x="17235" y="111379"/>
                      <a:pt x="0" y="130886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89" name="Forma livre: Forma 488">
                <a:extLst>
                  <a:ext uri="{FF2B5EF4-FFF2-40B4-BE49-F238E27FC236}">
                    <a16:creationId xmlns:a16="http://schemas.microsoft.com/office/drawing/2014/main" id="{18EADC29-CAD0-EB6F-625F-2633D88FB5FF}"/>
                  </a:ext>
                </a:extLst>
              </p:cNvPr>
              <p:cNvSpPr/>
              <p:nvPr/>
            </p:nvSpPr>
            <p:spPr>
              <a:xfrm>
                <a:off x="7466136" y="3293531"/>
                <a:ext cx="212358" cy="56502"/>
              </a:xfrm>
              <a:custGeom>
                <a:avLst/>
                <a:gdLst>
                  <a:gd name="connsiteX0" fmla="*/ 0 w 212358"/>
                  <a:gd name="connsiteY0" fmla="*/ 56503 h 56502"/>
                  <a:gd name="connsiteX1" fmla="*/ 50521 w 212358"/>
                  <a:gd name="connsiteY1" fmla="*/ 10006 h 56502"/>
                  <a:gd name="connsiteX2" fmla="*/ 104498 w 212358"/>
                  <a:gd name="connsiteY2" fmla="*/ 2525 h 56502"/>
                  <a:gd name="connsiteX3" fmla="*/ 144981 w 212358"/>
                  <a:gd name="connsiteY3" fmla="*/ 7118 h 56502"/>
                  <a:gd name="connsiteX4" fmla="*/ 188684 w 212358"/>
                  <a:gd name="connsiteY4" fmla="*/ 7118 h 56502"/>
                  <a:gd name="connsiteX5" fmla="*/ 212359 w 212358"/>
                  <a:gd name="connsiteY5" fmla="*/ 27762 h 56502"/>
                  <a:gd name="connsiteX6" fmla="*/ 188684 w 212358"/>
                  <a:gd name="connsiteY6" fmla="*/ 48454 h 56502"/>
                  <a:gd name="connsiteX7" fmla="*/ 128220 w 212358"/>
                  <a:gd name="connsiteY7" fmla="*/ 48454 h 565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12358" h="56502">
                    <a:moveTo>
                      <a:pt x="0" y="56503"/>
                    </a:moveTo>
                    <a:lnTo>
                      <a:pt x="50521" y="10006"/>
                    </a:lnTo>
                    <a:cubicBezTo>
                      <a:pt x="75190" y="-6660"/>
                      <a:pt x="104498" y="2525"/>
                      <a:pt x="104498" y="2525"/>
                    </a:cubicBezTo>
                    <a:cubicBezTo>
                      <a:pt x="118656" y="6266"/>
                      <a:pt x="144981" y="7118"/>
                      <a:pt x="144981" y="7118"/>
                    </a:cubicBezTo>
                    <a:lnTo>
                      <a:pt x="188684" y="7118"/>
                    </a:lnTo>
                    <a:cubicBezTo>
                      <a:pt x="201705" y="7118"/>
                      <a:pt x="212359" y="16398"/>
                      <a:pt x="212359" y="27762"/>
                    </a:cubicBezTo>
                    <a:cubicBezTo>
                      <a:pt x="212359" y="39126"/>
                      <a:pt x="201705" y="48454"/>
                      <a:pt x="188684" y="48454"/>
                    </a:cubicBezTo>
                    <a:lnTo>
                      <a:pt x="128220" y="48454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490" name="Forma livre: Forma 489">
              <a:extLst>
                <a:ext uri="{FF2B5EF4-FFF2-40B4-BE49-F238E27FC236}">
                  <a16:creationId xmlns:a16="http://schemas.microsoft.com/office/drawing/2014/main" id="{13426204-66D2-D1C8-5762-8FCFB83001B5}"/>
                </a:ext>
              </a:extLst>
            </p:cNvPr>
            <p:cNvSpPr/>
            <p:nvPr/>
          </p:nvSpPr>
          <p:spPr>
            <a:xfrm>
              <a:off x="7534318" y="3153726"/>
              <a:ext cx="190673" cy="119271"/>
            </a:xfrm>
            <a:custGeom>
              <a:avLst/>
              <a:gdLst>
                <a:gd name="connsiteX0" fmla="*/ 190673 w 190673"/>
                <a:gd name="connsiteY0" fmla="*/ 115909 h 119271"/>
                <a:gd name="connsiteX1" fmla="*/ 190673 w 190673"/>
                <a:gd name="connsiteY1" fmla="*/ 85370 h 119271"/>
                <a:gd name="connsiteX2" fmla="*/ 95360 w 190673"/>
                <a:gd name="connsiteY2" fmla="*/ 0 h 119271"/>
                <a:gd name="connsiteX3" fmla="*/ 95313 w 190673"/>
                <a:gd name="connsiteY3" fmla="*/ 0 h 119271"/>
                <a:gd name="connsiteX4" fmla="*/ 95360 w 190673"/>
                <a:gd name="connsiteY4" fmla="*/ 0 h 119271"/>
                <a:gd name="connsiteX5" fmla="*/ 95313 w 190673"/>
                <a:gd name="connsiteY5" fmla="*/ 0 h 119271"/>
                <a:gd name="connsiteX6" fmla="*/ 0 w 190673"/>
                <a:gd name="connsiteY6" fmla="*/ 85370 h 119271"/>
                <a:gd name="connsiteX7" fmla="*/ 0 w 190673"/>
                <a:gd name="connsiteY7" fmla="*/ 119271 h 1192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90673" h="119271">
                  <a:moveTo>
                    <a:pt x="190673" y="115909"/>
                  </a:moveTo>
                  <a:lnTo>
                    <a:pt x="190673" y="85370"/>
                  </a:lnTo>
                  <a:lnTo>
                    <a:pt x="95360" y="0"/>
                  </a:lnTo>
                  <a:lnTo>
                    <a:pt x="95313" y="0"/>
                  </a:lnTo>
                  <a:lnTo>
                    <a:pt x="95360" y="0"/>
                  </a:lnTo>
                  <a:lnTo>
                    <a:pt x="95313" y="0"/>
                  </a:lnTo>
                  <a:lnTo>
                    <a:pt x="0" y="85370"/>
                  </a:lnTo>
                  <a:lnTo>
                    <a:pt x="0" y="119271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91" name="Forma livre: Forma 490">
              <a:extLst>
                <a:ext uri="{FF2B5EF4-FFF2-40B4-BE49-F238E27FC236}">
                  <a16:creationId xmlns:a16="http://schemas.microsoft.com/office/drawing/2014/main" id="{5EE5573F-129F-069D-8DC2-AE0FF7705EC1}"/>
                </a:ext>
              </a:extLst>
            </p:cNvPr>
            <p:cNvSpPr/>
            <p:nvPr/>
          </p:nvSpPr>
          <p:spPr>
            <a:xfrm>
              <a:off x="7500559" y="3115942"/>
              <a:ext cx="258192" cy="112500"/>
            </a:xfrm>
            <a:custGeom>
              <a:avLst/>
              <a:gdLst>
                <a:gd name="connsiteX0" fmla="*/ 258192 w 258192"/>
                <a:gd name="connsiteY0" fmla="*/ 112500 h 112500"/>
                <a:gd name="connsiteX1" fmla="*/ 129072 w 258192"/>
                <a:gd name="connsiteY1" fmla="*/ 0 h 112500"/>
                <a:gd name="connsiteX2" fmla="*/ 68371 w 258192"/>
                <a:gd name="connsiteY2" fmla="*/ 52794 h 112500"/>
                <a:gd name="connsiteX3" fmla="*/ 68371 w 258192"/>
                <a:gd name="connsiteY3" fmla="*/ 19034 h 112500"/>
                <a:gd name="connsiteX4" fmla="*/ 40341 w 258192"/>
                <a:gd name="connsiteY4" fmla="*/ 19034 h 112500"/>
                <a:gd name="connsiteX5" fmla="*/ 40341 w 258192"/>
                <a:gd name="connsiteY5" fmla="*/ 77178 h 112500"/>
                <a:gd name="connsiteX6" fmla="*/ 0 w 258192"/>
                <a:gd name="connsiteY6" fmla="*/ 112500 h 112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58192" h="112500">
                  <a:moveTo>
                    <a:pt x="258192" y="112500"/>
                  </a:moveTo>
                  <a:lnTo>
                    <a:pt x="129072" y="0"/>
                  </a:lnTo>
                  <a:lnTo>
                    <a:pt x="68371" y="52794"/>
                  </a:lnTo>
                  <a:lnTo>
                    <a:pt x="68371" y="19034"/>
                  </a:lnTo>
                  <a:lnTo>
                    <a:pt x="40341" y="19034"/>
                  </a:lnTo>
                  <a:lnTo>
                    <a:pt x="40341" y="77178"/>
                  </a:lnTo>
                  <a:lnTo>
                    <a:pt x="0" y="11250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492" name="Gráfico 9">
            <a:extLst>
              <a:ext uri="{FF2B5EF4-FFF2-40B4-BE49-F238E27FC236}">
                <a16:creationId xmlns:a16="http://schemas.microsoft.com/office/drawing/2014/main" id="{89E09915-9C85-1365-7B59-513FD4AA7D37}"/>
              </a:ext>
            </a:extLst>
          </p:cNvPr>
          <p:cNvGrpSpPr/>
          <p:nvPr/>
        </p:nvGrpSpPr>
        <p:grpSpPr>
          <a:xfrm>
            <a:off x="6845206" y="3122760"/>
            <a:ext cx="330824" cy="278978"/>
            <a:chOff x="6845206" y="3122760"/>
            <a:chExt cx="330824" cy="278978"/>
          </a:xfrm>
        </p:grpSpPr>
        <p:sp>
          <p:nvSpPr>
            <p:cNvPr id="493" name="Forma livre: Forma 492">
              <a:extLst>
                <a:ext uri="{FF2B5EF4-FFF2-40B4-BE49-F238E27FC236}">
                  <a16:creationId xmlns:a16="http://schemas.microsoft.com/office/drawing/2014/main" id="{B9B81A6F-3656-779C-4D60-52C874FC9484}"/>
                </a:ext>
              </a:extLst>
            </p:cNvPr>
            <p:cNvSpPr/>
            <p:nvPr/>
          </p:nvSpPr>
          <p:spPr>
            <a:xfrm>
              <a:off x="7013341" y="3122760"/>
              <a:ext cx="7386" cy="7386"/>
            </a:xfrm>
            <a:custGeom>
              <a:avLst/>
              <a:gdLst>
                <a:gd name="connsiteX0" fmla="*/ 7386 w 7386"/>
                <a:gd name="connsiteY0" fmla="*/ 3693 h 7386"/>
                <a:gd name="connsiteX1" fmla="*/ 3693 w 7386"/>
                <a:gd name="connsiteY1" fmla="*/ 7386 h 7386"/>
                <a:gd name="connsiteX2" fmla="*/ 0 w 7386"/>
                <a:gd name="connsiteY2" fmla="*/ 3693 h 7386"/>
                <a:gd name="connsiteX3" fmla="*/ 3693 w 7386"/>
                <a:gd name="connsiteY3" fmla="*/ 0 h 7386"/>
                <a:gd name="connsiteX4" fmla="*/ 7386 w 7386"/>
                <a:gd name="connsiteY4" fmla="*/ 3693 h 7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386" h="7386">
                  <a:moveTo>
                    <a:pt x="7386" y="3693"/>
                  </a:moveTo>
                  <a:cubicBezTo>
                    <a:pt x="7386" y="5729"/>
                    <a:pt x="5729" y="7386"/>
                    <a:pt x="3693" y="7386"/>
                  </a:cubicBezTo>
                  <a:cubicBezTo>
                    <a:pt x="1657" y="7386"/>
                    <a:pt x="0" y="5729"/>
                    <a:pt x="0" y="3693"/>
                  </a:cubicBezTo>
                  <a:cubicBezTo>
                    <a:pt x="0" y="1657"/>
                    <a:pt x="1657" y="0"/>
                    <a:pt x="3693" y="0"/>
                  </a:cubicBezTo>
                  <a:cubicBezTo>
                    <a:pt x="5729" y="0"/>
                    <a:pt x="7386" y="1657"/>
                    <a:pt x="7386" y="3693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94" name="Forma livre: Forma 493">
              <a:extLst>
                <a:ext uri="{FF2B5EF4-FFF2-40B4-BE49-F238E27FC236}">
                  <a16:creationId xmlns:a16="http://schemas.microsoft.com/office/drawing/2014/main" id="{448C6A96-FE95-32C7-727D-9C1A2D30A97F}"/>
                </a:ext>
              </a:extLst>
            </p:cNvPr>
            <p:cNvSpPr/>
            <p:nvPr/>
          </p:nvSpPr>
          <p:spPr>
            <a:xfrm>
              <a:off x="6981902" y="3167315"/>
              <a:ext cx="7386" cy="7386"/>
            </a:xfrm>
            <a:custGeom>
              <a:avLst/>
              <a:gdLst>
                <a:gd name="connsiteX0" fmla="*/ 7386 w 7386"/>
                <a:gd name="connsiteY0" fmla="*/ 3693 h 7386"/>
                <a:gd name="connsiteX1" fmla="*/ 3693 w 7386"/>
                <a:gd name="connsiteY1" fmla="*/ 7386 h 7386"/>
                <a:gd name="connsiteX2" fmla="*/ 0 w 7386"/>
                <a:gd name="connsiteY2" fmla="*/ 3693 h 7386"/>
                <a:gd name="connsiteX3" fmla="*/ 3693 w 7386"/>
                <a:gd name="connsiteY3" fmla="*/ 0 h 7386"/>
                <a:gd name="connsiteX4" fmla="*/ 7386 w 7386"/>
                <a:gd name="connsiteY4" fmla="*/ 3693 h 7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386" h="7386">
                  <a:moveTo>
                    <a:pt x="7386" y="3693"/>
                  </a:moveTo>
                  <a:cubicBezTo>
                    <a:pt x="7386" y="5729"/>
                    <a:pt x="5729" y="7386"/>
                    <a:pt x="3693" y="7386"/>
                  </a:cubicBezTo>
                  <a:cubicBezTo>
                    <a:pt x="1657" y="7386"/>
                    <a:pt x="0" y="5729"/>
                    <a:pt x="0" y="3693"/>
                  </a:cubicBezTo>
                  <a:cubicBezTo>
                    <a:pt x="0" y="1657"/>
                    <a:pt x="1657" y="0"/>
                    <a:pt x="3693" y="0"/>
                  </a:cubicBezTo>
                  <a:cubicBezTo>
                    <a:pt x="5729" y="0"/>
                    <a:pt x="7386" y="1657"/>
                    <a:pt x="7386" y="3693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495" name="Gráfico 9">
              <a:extLst>
                <a:ext uri="{FF2B5EF4-FFF2-40B4-BE49-F238E27FC236}">
                  <a16:creationId xmlns:a16="http://schemas.microsoft.com/office/drawing/2014/main" id="{5CE8951B-F61F-7C49-B525-88BE916FFEA3}"/>
                </a:ext>
              </a:extLst>
            </p:cNvPr>
            <p:cNvGrpSpPr/>
            <p:nvPr/>
          </p:nvGrpSpPr>
          <p:grpSpPr>
            <a:xfrm>
              <a:off x="6890566" y="3373944"/>
              <a:ext cx="240057" cy="27793"/>
              <a:chOff x="6890566" y="3373944"/>
              <a:chExt cx="240057" cy="27793"/>
            </a:xfrm>
          </p:grpSpPr>
          <p:sp>
            <p:nvSpPr>
              <p:cNvPr id="496" name="Forma livre: Forma 495">
                <a:extLst>
                  <a:ext uri="{FF2B5EF4-FFF2-40B4-BE49-F238E27FC236}">
                    <a16:creationId xmlns:a16="http://schemas.microsoft.com/office/drawing/2014/main" id="{582806BF-0221-E35A-FFC1-595C1883111A}"/>
                  </a:ext>
                </a:extLst>
              </p:cNvPr>
              <p:cNvSpPr/>
              <p:nvPr/>
            </p:nvSpPr>
            <p:spPr>
              <a:xfrm>
                <a:off x="6890566" y="3373944"/>
                <a:ext cx="13447" cy="27793"/>
              </a:xfrm>
              <a:custGeom>
                <a:avLst/>
                <a:gdLst>
                  <a:gd name="connsiteX0" fmla="*/ 13447 w 13447"/>
                  <a:gd name="connsiteY0" fmla="*/ 0 h 27793"/>
                  <a:gd name="connsiteX1" fmla="*/ 0 w 13447"/>
                  <a:gd name="connsiteY1" fmla="*/ 27794 h 277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3447" h="27793">
                    <a:moveTo>
                      <a:pt x="13447" y="0"/>
                    </a:moveTo>
                    <a:lnTo>
                      <a:pt x="0" y="27794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97" name="Forma livre: Forma 496">
                <a:extLst>
                  <a:ext uri="{FF2B5EF4-FFF2-40B4-BE49-F238E27FC236}">
                    <a16:creationId xmlns:a16="http://schemas.microsoft.com/office/drawing/2014/main" id="{036D7DC6-6752-7800-54ED-60955325A81D}"/>
                  </a:ext>
                </a:extLst>
              </p:cNvPr>
              <p:cNvSpPr/>
              <p:nvPr/>
            </p:nvSpPr>
            <p:spPr>
              <a:xfrm>
                <a:off x="7117224" y="3373944"/>
                <a:ext cx="13399" cy="27793"/>
              </a:xfrm>
              <a:custGeom>
                <a:avLst/>
                <a:gdLst>
                  <a:gd name="connsiteX0" fmla="*/ 0 w 13399"/>
                  <a:gd name="connsiteY0" fmla="*/ 0 h 27793"/>
                  <a:gd name="connsiteX1" fmla="*/ 13400 w 13399"/>
                  <a:gd name="connsiteY1" fmla="*/ 27794 h 277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3399" h="27793">
                    <a:moveTo>
                      <a:pt x="0" y="0"/>
                    </a:moveTo>
                    <a:lnTo>
                      <a:pt x="13400" y="27794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498" name="Forma livre: Forma 497">
              <a:extLst>
                <a:ext uri="{FF2B5EF4-FFF2-40B4-BE49-F238E27FC236}">
                  <a16:creationId xmlns:a16="http://schemas.microsoft.com/office/drawing/2014/main" id="{B0A79786-1F73-A7D6-241E-4F30E2E333E5}"/>
                </a:ext>
              </a:extLst>
            </p:cNvPr>
            <p:cNvSpPr/>
            <p:nvPr/>
          </p:nvSpPr>
          <p:spPr>
            <a:xfrm>
              <a:off x="6869212" y="3289001"/>
              <a:ext cx="282860" cy="92613"/>
            </a:xfrm>
            <a:custGeom>
              <a:avLst/>
              <a:gdLst>
                <a:gd name="connsiteX0" fmla="*/ 282861 w 282860"/>
                <a:gd name="connsiteY0" fmla="*/ 0 h 92613"/>
                <a:gd name="connsiteX1" fmla="*/ 282861 w 282860"/>
                <a:gd name="connsiteY1" fmla="*/ 21591 h 92613"/>
                <a:gd name="connsiteX2" fmla="*/ 211838 w 282860"/>
                <a:gd name="connsiteY2" fmla="*/ 92614 h 92613"/>
                <a:gd name="connsiteX3" fmla="*/ 71023 w 282860"/>
                <a:gd name="connsiteY3" fmla="*/ 92614 h 92613"/>
                <a:gd name="connsiteX4" fmla="*/ 0 w 282860"/>
                <a:gd name="connsiteY4" fmla="*/ 21591 h 92613"/>
                <a:gd name="connsiteX5" fmla="*/ 0 w 282860"/>
                <a:gd name="connsiteY5" fmla="*/ 0 h 926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82860" h="92613">
                  <a:moveTo>
                    <a:pt x="282861" y="0"/>
                  </a:moveTo>
                  <a:lnTo>
                    <a:pt x="282861" y="21591"/>
                  </a:lnTo>
                  <a:cubicBezTo>
                    <a:pt x="282861" y="60654"/>
                    <a:pt x="250900" y="92614"/>
                    <a:pt x="211838" y="92614"/>
                  </a:cubicBezTo>
                  <a:lnTo>
                    <a:pt x="71023" y="92614"/>
                  </a:lnTo>
                  <a:cubicBezTo>
                    <a:pt x="31960" y="92614"/>
                    <a:pt x="0" y="60654"/>
                    <a:pt x="0" y="21591"/>
                  </a:cubicBezTo>
                  <a:lnTo>
                    <a:pt x="0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99" name="Forma livre: Forma 498">
              <a:extLst>
                <a:ext uri="{FF2B5EF4-FFF2-40B4-BE49-F238E27FC236}">
                  <a16:creationId xmlns:a16="http://schemas.microsoft.com/office/drawing/2014/main" id="{BB067629-C8E3-697E-EA00-E87B93B27062}"/>
                </a:ext>
              </a:extLst>
            </p:cNvPr>
            <p:cNvSpPr/>
            <p:nvPr/>
          </p:nvSpPr>
          <p:spPr>
            <a:xfrm>
              <a:off x="6995538" y="3233934"/>
              <a:ext cx="180493" cy="31486"/>
            </a:xfrm>
            <a:custGeom>
              <a:avLst/>
              <a:gdLst>
                <a:gd name="connsiteX0" fmla="*/ 1563 w 180493"/>
                <a:gd name="connsiteY0" fmla="*/ 0 h 31486"/>
                <a:gd name="connsiteX1" fmla="*/ 166336 w 180493"/>
                <a:gd name="connsiteY1" fmla="*/ 0 h 31486"/>
                <a:gd name="connsiteX2" fmla="*/ 180493 w 180493"/>
                <a:gd name="connsiteY2" fmla="*/ 14536 h 31486"/>
                <a:gd name="connsiteX3" fmla="*/ 180493 w 180493"/>
                <a:gd name="connsiteY3" fmla="*/ 16951 h 31486"/>
                <a:gd name="connsiteX4" fmla="*/ 166336 w 180493"/>
                <a:gd name="connsiteY4" fmla="*/ 31487 h 31486"/>
                <a:gd name="connsiteX5" fmla="*/ 0 w 180493"/>
                <a:gd name="connsiteY5" fmla="*/ 31487 h 314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0493" h="31486">
                  <a:moveTo>
                    <a:pt x="1563" y="0"/>
                  </a:moveTo>
                  <a:lnTo>
                    <a:pt x="166336" y="0"/>
                  </a:lnTo>
                  <a:cubicBezTo>
                    <a:pt x="174101" y="0"/>
                    <a:pt x="180493" y="6534"/>
                    <a:pt x="180493" y="14536"/>
                  </a:cubicBezTo>
                  <a:lnTo>
                    <a:pt x="180493" y="16951"/>
                  </a:lnTo>
                  <a:cubicBezTo>
                    <a:pt x="180493" y="24953"/>
                    <a:pt x="174148" y="31487"/>
                    <a:pt x="166336" y="31487"/>
                  </a:cubicBezTo>
                  <a:lnTo>
                    <a:pt x="0" y="31487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500" name="Forma livre: Forma 499">
              <a:extLst>
                <a:ext uri="{FF2B5EF4-FFF2-40B4-BE49-F238E27FC236}">
                  <a16:creationId xmlns:a16="http://schemas.microsoft.com/office/drawing/2014/main" id="{EE7F6B03-8EC4-2A24-4D66-EDAA8BDCFD67}"/>
                </a:ext>
              </a:extLst>
            </p:cNvPr>
            <p:cNvSpPr/>
            <p:nvPr/>
          </p:nvSpPr>
          <p:spPr>
            <a:xfrm>
              <a:off x="6845206" y="3233887"/>
              <a:ext cx="60700" cy="31486"/>
            </a:xfrm>
            <a:custGeom>
              <a:avLst/>
              <a:gdLst>
                <a:gd name="connsiteX0" fmla="*/ 60322 w 60700"/>
                <a:gd name="connsiteY0" fmla="*/ 31487 h 31486"/>
                <a:gd name="connsiteX1" fmla="*/ 14157 w 60700"/>
                <a:gd name="connsiteY1" fmla="*/ 31487 h 31486"/>
                <a:gd name="connsiteX2" fmla="*/ 0 w 60700"/>
                <a:gd name="connsiteY2" fmla="*/ 16951 h 31486"/>
                <a:gd name="connsiteX3" fmla="*/ 0 w 60700"/>
                <a:gd name="connsiteY3" fmla="*/ 14536 h 31486"/>
                <a:gd name="connsiteX4" fmla="*/ 14157 w 60700"/>
                <a:gd name="connsiteY4" fmla="*/ 0 h 31486"/>
                <a:gd name="connsiteX5" fmla="*/ 60701 w 60700"/>
                <a:gd name="connsiteY5" fmla="*/ 0 h 314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0700" h="31486">
                  <a:moveTo>
                    <a:pt x="60322" y="31487"/>
                  </a:moveTo>
                  <a:lnTo>
                    <a:pt x="14157" y="31487"/>
                  </a:lnTo>
                  <a:cubicBezTo>
                    <a:pt x="6392" y="31487"/>
                    <a:pt x="0" y="24953"/>
                    <a:pt x="0" y="16951"/>
                  </a:cubicBezTo>
                  <a:lnTo>
                    <a:pt x="0" y="14536"/>
                  </a:lnTo>
                  <a:cubicBezTo>
                    <a:pt x="0" y="6534"/>
                    <a:pt x="6345" y="0"/>
                    <a:pt x="14157" y="0"/>
                  </a:cubicBezTo>
                  <a:lnTo>
                    <a:pt x="60701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501" name="Forma livre: Forma 500">
              <a:extLst>
                <a:ext uri="{FF2B5EF4-FFF2-40B4-BE49-F238E27FC236}">
                  <a16:creationId xmlns:a16="http://schemas.microsoft.com/office/drawing/2014/main" id="{0B38B071-52F1-E123-6820-A7016ABAE099}"/>
                </a:ext>
              </a:extLst>
            </p:cNvPr>
            <p:cNvSpPr/>
            <p:nvPr/>
          </p:nvSpPr>
          <p:spPr>
            <a:xfrm>
              <a:off x="7107612" y="3166557"/>
              <a:ext cx="43844" cy="64914"/>
            </a:xfrm>
            <a:custGeom>
              <a:avLst/>
              <a:gdLst>
                <a:gd name="connsiteX0" fmla="*/ 0 w 43844"/>
                <a:gd name="connsiteY0" fmla="*/ 24716 h 64914"/>
                <a:gd name="connsiteX1" fmla="*/ 21922 w 43844"/>
                <a:gd name="connsiteY1" fmla="*/ 0 h 64914"/>
                <a:gd name="connsiteX2" fmla="*/ 21922 w 43844"/>
                <a:gd name="connsiteY2" fmla="*/ 0 h 64914"/>
                <a:gd name="connsiteX3" fmla="*/ 43845 w 43844"/>
                <a:gd name="connsiteY3" fmla="*/ 24716 h 64914"/>
                <a:gd name="connsiteX4" fmla="*/ 43845 w 43844"/>
                <a:gd name="connsiteY4" fmla="*/ 64915 h 649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3844" h="64914">
                  <a:moveTo>
                    <a:pt x="0" y="24716"/>
                  </a:moveTo>
                  <a:cubicBezTo>
                    <a:pt x="0" y="11127"/>
                    <a:pt x="9849" y="0"/>
                    <a:pt x="21922" y="0"/>
                  </a:cubicBezTo>
                  <a:lnTo>
                    <a:pt x="21922" y="0"/>
                  </a:lnTo>
                  <a:cubicBezTo>
                    <a:pt x="33996" y="0"/>
                    <a:pt x="43845" y="11127"/>
                    <a:pt x="43845" y="24716"/>
                  </a:cubicBezTo>
                  <a:lnTo>
                    <a:pt x="43845" y="64915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502" name="Forma livre: Forma 501">
              <a:extLst>
                <a:ext uri="{FF2B5EF4-FFF2-40B4-BE49-F238E27FC236}">
                  <a16:creationId xmlns:a16="http://schemas.microsoft.com/office/drawing/2014/main" id="{C8F9DD2F-4D42-129B-4A4E-13C6FF12C292}"/>
                </a:ext>
              </a:extLst>
            </p:cNvPr>
            <p:cNvSpPr/>
            <p:nvPr/>
          </p:nvSpPr>
          <p:spPr>
            <a:xfrm>
              <a:off x="6928256" y="3219162"/>
              <a:ext cx="78551" cy="99337"/>
            </a:xfrm>
            <a:custGeom>
              <a:avLst/>
              <a:gdLst>
                <a:gd name="connsiteX0" fmla="*/ 67046 w 78551"/>
                <a:gd name="connsiteY0" fmla="*/ 1373 h 99337"/>
                <a:gd name="connsiteX1" fmla="*/ 67046 w 78551"/>
                <a:gd name="connsiteY1" fmla="*/ 99337 h 99337"/>
                <a:gd name="connsiteX2" fmla="*/ 0 w 78551"/>
                <a:gd name="connsiteY2" fmla="*/ 99337 h 99337"/>
                <a:gd name="connsiteX3" fmla="*/ 0 w 78551"/>
                <a:gd name="connsiteY3" fmla="*/ 14063 h 99337"/>
                <a:gd name="connsiteX4" fmla="*/ 14063 w 78551"/>
                <a:gd name="connsiteY4" fmla="*/ 0 h 99337"/>
                <a:gd name="connsiteX5" fmla="*/ 61979 w 78551"/>
                <a:gd name="connsiteY5" fmla="*/ 0 h 99337"/>
                <a:gd name="connsiteX6" fmla="*/ 78551 w 78551"/>
                <a:gd name="connsiteY6" fmla="*/ 13968 h 993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8551" h="99337">
                  <a:moveTo>
                    <a:pt x="67046" y="1373"/>
                  </a:moveTo>
                  <a:lnTo>
                    <a:pt x="67046" y="99337"/>
                  </a:lnTo>
                  <a:lnTo>
                    <a:pt x="0" y="99337"/>
                  </a:lnTo>
                  <a:lnTo>
                    <a:pt x="0" y="14063"/>
                  </a:lnTo>
                  <a:cubicBezTo>
                    <a:pt x="0" y="6297"/>
                    <a:pt x="6345" y="0"/>
                    <a:pt x="14063" y="0"/>
                  </a:cubicBezTo>
                  <a:lnTo>
                    <a:pt x="61979" y="0"/>
                  </a:lnTo>
                  <a:cubicBezTo>
                    <a:pt x="68466" y="0"/>
                    <a:pt x="78551" y="142"/>
                    <a:pt x="78551" y="13968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503" name="Forma livre: Forma 502">
              <a:extLst>
                <a:ext uri="{FF2B5EF4-FFF2-40B4-BE49-F238E27FC236}">
                  <a16:creationId xmlns:a16="http://schemas.microsoft.com/office/drawing/2014/main" id="{92AB6203-1639-E491-F0E8-A19C17059224}"/>
                </a:ext>
              </a:extLst>
            </p:cNvPr>
            <p:cNvSpPr/>
            <p:nvPr/>
          </p:nvSpPr>
          <p:spPr>
            <a:xfrm>
              <a:off x="6929629" y="3290563"/>
              <a:ext cx="64252" cy="4734"/>
            </a:xfrm>
            <a:custGeom>
              <a:avLst/>
              <a:gdLst>
                <a:gd name="connsiteX0" fmla="*/ 0 w 64252"/>
                <a:gd name="connsiteY0" fmla="*/ 0 h 4734"/>
                <a:gd name="connsiteX1" fmla="*/ 64252 w 64252"/>
                <a:gd name="connsiteY1" fmla="*/ 0 h 47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4252" h="4734">
                  <a:moveTo>
                    <a:pt x="0" y="0"/>
                  </a:moveTo>
                  <a:lnTo>
                    <a:pt x="64252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504" name="Forma livre: Forma 503">
              <a:extLst>
                <a:ext uri="{FF2B5EF4-FFF2-40B4-BE49-F238E27FC236}">
                  <a16:creationId xmlns:a16="http://schemas.microsoft.com/office/drawing/2014/main" id="{5BAF6870-45ED-5BFF-F5E0-F1B7EECACBA0}"/>
                </a:ext>
              </a:extLst>
            </p:cNvPr>
            <p:cNvSpPr/>
            <p:nvPr/>
          </p:nvSpPr>
          <p:spPr>
            <a:xfrm>
              <a:off x="7023610" y="3163237"/>
              <a:ext cx="35475" cy="35475"/>
            </a:xfrm>
            <a:custGeom>
              <a:avLst/>
              <a:gdLst>
                <a:gd name="connsiteX0" fmla="*/ 32250 w 35475"/>
                <a:gd name="connsiteY0" fmla="*/ 27942 h 35475"/>
                <a:gd name="connsiteX1" fmla="*/ 7534 w 35475"/>
                <a:gd name="connsiteY1" fmla="*/ 32250 h 35475"/>
                <a:gd name="connsiteX2" fmla="*/ 3226 w 35475"/>
                <a:gd name="connsiteY2" fmla="*/ 7534 h 35475"/>
                <a:gd name="connsiteX3" fmla="*/ 27942 w 35475"/>
                <a:gd name="connsiteY3" fmla="*/ 3226 h 35475"/>
                <a:gd name="connsiteX4" fmla="*/ 32250 w 35475"/>
                <a:gd name="connsiteY4" fmla="*/ 27942 h 35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5475" h="35475">
                  <a:moveTo>
                    <a:pt x="32250" y="27942"/>
                  </a:moveTo>
                  <a:cubicBezTo>
                    <a:pt x="26616" y="35944"/>
                    <a:pt x="15536" y="37885"/>
                    <a:pt x="7534" y="32250"/>
                  </a:cubicBezTo>
                  <a:cubicBezTo>
                    <a:pt x="-468" y="26616"/>
                    <a:pt x="-2409" y="15536"/>
                    <a:pt x="3226" y="7534"/>
                  </a:cubicBezTo>
                  <a:cubicBezTo>
                    <a:pt x="8860" y="-468"/>
                    <a:pt x="19940" y="-2409"/>
                    <a:pt x="27942" y="3226"/>
                  </a:cubicBezTo>
                  <a:cubicBezTo>
                    <a:pt x="35944" y="8860"/>
                    <a:pt x="37885" y="19940"/>
                    <a:pt x="32250" y="27942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505" name="Gráfico 9">
            <a:extLst>
              <a:ext uri="{FF2B5EF4-FFF2-40B4-BE49-F238E27FC236}">
                <a16:creationId xmlns:a16="http://schemas.microsoft.com/office/drawing/2014/main" id="{3597B37A-DA84-459C-4C41-054713AA0E5D}"/>
              </a:ext>
            </a:extLst>
          </p:cNvPr>
          <p:cNvGrpSpPr/>
          <p:nvPr/>
        </p:nvGrpSpPr>
        <p:grpSpPr>
          <a:xfrm>
            <a:off x="6241511" y="1021143"/>
            <a:ext cx="306298" cy="248864"/>
            <a:chOff x="6241511" y="1021143"/>
            <a:chExt cx="306298" cy="248864"/>
          </a:xfrm>
          <a:noFill/>
        </p:grpSpPr>
        <p:grpSp>
          <p:nvGrpSpPr>
            <p:cNvPr id="506" name="Gráfico 9">
              <a:extLst>
                <a:ext uri="{FF2B5EF4-FFF2-40B4-BE49-F238E27FC236}">
                  <a16:creationId xmlns:a16="http://schemas.microsoft.com/office/drawing/2014/main" id="{485A0A80-6B39-303D-A949-0D634BB513F7}"/>
                </a:ext>
              </a:extLst>
            </p:cNvPr>
            <p:cNvGrpSpPr/>
            <p:nvPr/>
          </p:nvGrpSpPr>
          <p:grpSpPr>
            <a:xfrm>
              <a:off x="6241511" y="1027772"/>
              <a:ext cx="221828" cy="235701"/>
              <a:chOff x="6241511" y="1027772"/>
              <a:chExt cx="221828" cy="235701"/>
            </a:xfrm>
            <a:noFill/>
          </p:grpSpPr>
          <p:sp>
            <p:nvSpPr>
              <p:cNvPr id="507" name="Forma livre: Forma 506">
                <a:extLst>
                  <a:ext uri="{FF2B5EF4-FFF2-40B4-BE49-F238E27FC236}">
                    <a16:creationId xmlns:a16="http://schemas.microsoft.com/office/drawing/2014/main" id="{B92CA4C3-1441-6B89-48AE-BDD1AC3DCC31}"/>
                  </a:ext>
                </a:extLst>
              </p:cNvPr>
              <p:cNvSpPr/>
              <p:nvPr/>
            </p:nvSpPr>
            <p:spPr>
              <a:xfrm>
                <a:off x="6283368" y="1069154"/>
                <a:ext cx="179972" cy="194318"/>
              </a:xfrm>
              <a:custGeom>
                <a:avLst/>
                <a:gdLst>
                  <a:gd name="connsiteX0" fmla="*/ 158050 w 179972"/>
                  <a:gd name="connsiteY0" fmla="*/ 55777 h 194318"/>
                  <a:gd name="connsiteX1" fmla="*/ 95360 w 179972"/>
                  <a:gd name="connsiteY1" fmla="*/ 0 h 194318"/>
                  <a:gd name="connsiteX2" fmla="*/ 95313 w 179972"/>
                  <a:gd name="connsiteY2" fmla="*/ 0 h 194318"/>
                  <a:gd name="connsiteX3" fmla="*/ 95360 w 179972"/>
                  <a:gd name="connsiteY3" fmla="*/ 0 h 194318"/>
                  <a:gd name="connsiteX4" fmla="*/ 95313 w 179972"/>
                  <a:gd name="connsiteY4" fmla="*/ 0 h 194318"/>
                  <a:gd name="connsiteX5" fmla="*/ 0 w 179972"/>
                  <a:gd name="connsiteY5" fmla="*/ 85322 h 194318"/>
                  <a:gd name="connsiteX6" fmla="*/ 0 w 179972"/>
                  <a:gd name="connsiteY6" fmla="*/ 194319 h 194318"/>
                  <a:gd name="connsiteX7" fmla="*/ 70692 w 179972"/>
                  <a:gd name="connsiteY7" fmla="*/ 194319 h 194318"/>
                  <a:gd name="connsiteX8" fmla="*/ 70692 w 179972"/>
                  <a:gd name="connsiteY8" fmla="*/ 132292 h 194318"/>
                  <a:gd name="connsiteX9" fmla="*/ 119981 w 179972"/>
                  <a:gd name="connsiteY9" fmla="*/ 132292 h 194318"/>
                  <a:gd name="connsiteX10" fmla="*/ 119981 w 179972"/>
                  <a:gd name="connsiteY10" fmla="*/ 194319 h 194318"/>
                  <a:gd name="connsiteX11" fmla="*/ 179972 w 179972"/>
                  <a:gd name="connsiteY11" fmla="*/ 194319 h 1943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79972" h="194318">
                    <a:moveTo>
                      <a:pt x="158050" y="55777"/>
                    </a:moveTo>
                    <a:lnTo>
                      <a:pt x="95360" y="0"/>
                    </a:lnTo>
                    <a:lnTo>
                      <a:pt x="95313" y="0"/>
                    </a:lnTo>
                    <a:lnTo>
                      <a:pt x="95360" y="0"/>
                    </a:lnTo>
                    <a:lnTo>
                      <a:pt x="95313" y="0"/>
                    </a:lnTo>
                    <a:lnTo>
                      <a:pt x="0" y="85322"/>
                    </a:lnTo>
                    <a:lnTo>
                      <a:pt x="0" y="194319"/>
                    </a:lnTo>
                    <a:lnTo>
                      <a:pt x="70692" y="194319"/>
                    </a:lnTo>
                    <a:lnTo>
                      <a:pt x="70692" y="132292"/>
                    </a:lnTo>
                    <a:lnTo>
                      <a:pt x="119981" y="132292"/>
                    </a:lnTo>
                    <a:lnTo>
                      <a:pt x="119981" y="194319"/>
                    </a:lnTo>
                    <a:lnTo>
                      <a:pt x="179972" y="194319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08" name="Forma livre: Forma 507">
                <a:extLst>
                  <a:ext uri="{FF2B5EF4-FFF2-40B4-BE49-F238E27FC236}">
                    <a16:creationId xmlns:a16="http://schemas.microsoft.com/office/drawing/2014/main" id="{C3D19ADB-31D0-DFB7-4F7D-72F5A1C47445}"/>
                  </a:ext>
                </a:extLst>
              </p:cNvPr>
              <p:cNvSpPr/>
              <p:nvPr/>
            </p:nvSpPr>
            <p:spPr>
              <a:xfrm>
                <a:off x="6241511" y="1027772"/>
                <a:ext cx="212216" cy="119602"/>
              </a:xfrm>
              <a:custGeom>
                <a:avLst/>
                <a:gdLst>
                  <a:gd name="connsiteX0" fmla="*/ 212217 w 212216"/>
                  <a:gd name="connsiteY0" fmla="*/ 65388 h 119602"/>
                  <a:gd name="connsiteX1" fmla="*/ 137169 w 212216"/>
                  <a:gd name="connsiteY1" fmla="*/ 0 h 119602"/>
                  <a:gd name="connsiteX2" fmla="*/ 72680 w 212216"/>
                  <a:gd name="connsiteY2" fmla="*/ 56108 h 119602"/>
                  <a:gd name="connsiteX3" fmla="*/ 72680 w 212216"/>
                  <a:gd name="connsiteY3" fmla="*/ 20218 h 119602"/>
                  <a:gd name="connsiteX4" fmla="*/ 42851 w 212216"/>
                  <a:gd name="connsiteY4" fmla="*/ 20218 h 119602"/>
                  <a:gd name="connsiteX5" fmla="*/ 42851 w 212216"/>
                  <a:gd name="connsiteY5" fmla="*/ 82055 h 119602"/>
                  <a:gd name="connsiteX6" fmla="*/ 0 w 212216"/>
                  <a:gd name="connsiteY6" fmla="*/ 119603 h 1196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12216" h="119602">
                    <a:moveTo>
                      <a:pt x="212217" y="65388"/>
                    </a:moveTo>
                    <a:lnTo>
                      <a:pt x="137169" y="0"/>
                    </a:lnTo>
                    <a:lnTo>
                      <a:pt x="72680" y="56108"/>
                    </a:lnTo>
                    <a:lnTo>
                      <a:pt x="72680" y="20218"/>
                    </a:lnTo>
                    <a:lnTo>
                      <a:pt x="42851" y="20218"/>
                    </a:lnTo>
                    <a:lnTo>
                      <a:pt x="42851" y="82055"/>
                    </a:lnTo>
                    <a:lnTo>
                      <a:pt x="0" y="119603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509" name="Forma livre: Forma 508">
              <a:extLst>
                <a:ext uri="{FF2B5EF4-FFF2-40B4-BE49-F238E27FC236}">
                  <a16:creationId xmlns:a16="http://schemas.microsoft.com/office/drawing/2014/main" id="{0B0796EC-01D5-C2D6-629F-29475B619714}"/>
                </a:ext>
              </a:extLst>
            </p:cNvPr>
            <p:cNvSpPr/>
            <p:nvPr/>
          </p:nvSpPr>
          <p:spPr>
            <a:xfrm>
              <a:off x="6479344" y="1021143"/>
              <a:ext cx="52888" cy="52888"/>
            </a:xfrm>
            <a:custGeom>
              <a:avLst/>
              <a:gdLst>
                <a:gd name="connsiteX0" fmla="*/ 52888 w 52888"/>
                <a:gd name="connsiteY0" fmla="*/ 26421 h 52888"/>
                <a:gd name="connsiteX1" fmla="*/ 26421 w 52888"/>
                <a:gd name="connsiteY1" fmla="*/ 52888 h 52888"/>
                <a:gd name="connsiteX2" fmla="*/ 0 w 52888"/>
                <a:gd name="connsiteY2" fmla="*/ 26421 h 52888"/>
                <a:gd name="connsiteX3" fmla="*/ 26421 w 52888"/>
                <a:gd name="connsiteY3" fmla="*/ 0 h 52888"/>
                <a:gd name="connsiteX4" fmla="*/ 52888 w 52888"/>
                <a:gd name="connsiteY4" fmla="*/ 26421 h 528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2888" h="52888">
                  <a:moveTo>
                    <a:pt x="52888" y="26421"/>
                  </a:moveTo>
                  <a:cubicBezTo>
                    <a:pt x="52888" y="41051"/>
                    <a:pt x="41051" y="52888"/>
                    <a:pt x="26421" y="52888"/>
                  </a:cubicBezTo>
                  <a:cubicBezTo>
                    <a:pt x="11790" y="52888"/>
                    <a:pt x="0" y="41051"/>
                    <a:pt x="0" y="26421"/>
                  </a:cubicBezTo>
                  <a:cubicBezTo>
                    <a:pt x="0" y="11790"/>
                    <a:pt x="11837" y="0"/>
                    <a:pt x="26421" y="0"/>
                  </a:cubicBezTo>
                  <a:cubicBezTo>
                    <a:pt x="41004" y="0"/>
                    <a:pt x="52888" y="11837"/>
                    <a:pt x="52888" y="26421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510" name="Forma livre: Forma 509">
              <a:extLst>
                <a:ext uri="{FF2B5EF4-FFF2-40B4-BE49-F238E27FC236}">
                  <a16:creationId xmlns:a16="http://schemas.microsoft.com/office/drawing/2014/main" id="{96C45FB8-EA5D-13F1-3B48-7A715EF561C5}"/>
                </a:ext>
              </a:extLst>
            </p:cNvPr>
            <p:cNvSpPr/>
            <p:nvPr/>
          </p:nvSpPr>
          <p:spPr>
            <a:xfrm>
              <a:off x="6463718" y="1103861"/>
              <a:ext cx="84091" cy="166146"/>
            </a:xfrm>
            <a:custGeom>
              <a:avLst/>
              <a:gdLst>
                <a:gd name="connsiteX0" fmla="*/ 63352 w 84091"/>
                <a:gd name="connsiteY0" fmla="*/ 166099 h 166146"/>
                <a:gd name="connsiteX1" fmla="*/ 63352 w 84091"/>
                <a:gd name="connsiteY1" fmla="*/ 96449 h 166146"/>
                <a:gd name="connsiteX2" fmla="*/ 84091 w 84091"/>
                <a:gd name="connsiteY2" fmla="*/ 75663 h 166146"/>
                <a:gd name="connsiteX3" fmla="*/ 84091 w 84091"/>
                <a:gd name="connsiteY3" fmla="*/ 20692 h 166146"/>
                <a:gd name="connsiteX4" fmla="*/ 63210 w 84091"/>
                <a:gd name="connsiteY4" fmla="*/ 0 h 166146"/>
                <a:gd name="connsiteX5" fmla="*/ 20739 w 84091"/>
                <a:gd name="connsiteY5" fmla="*/ 0 h 166146"/>
                <a:gd name="connsiteX6" fmla="*/ 0 w 84091"/>
                <a:gd name="connsiteY6" fmla="*/ 20786 h 166146"/>
                <a:gd name="connsiteX7" fmla="*/ 0 w 84091"/>
                <a:gd name="connsiteY7" fmla="*/ 75758 h 166146"/>
                <a:gd name="connsiteX8" fmla="*/ 20881 w 84091"/>
                <a:gd name="connsiteY8" fmla="*/ 96497 h 166146"/>
                <a:gd name="connsiteX9" fmla="*/ 20975 w 84091"/>
                <a:gd name="connsiteY9" fmla="*/ 166147 h 1661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4091" h="166146">
                  <a:moveTo>
                    <a:pt x="63352" y="166099"/>
                  </a:moveTo>
                  <a:lnTo>
                    <a:pt x="63352" y="96449"/>
                  </a:lnTo>
                  <a:cubicBezTo>
                    <a:pt x="74763" y="96449"/>
                    <a:pt x="84091" y="87074"/>
                    <a:pt x="84091" y="75663"/>
                  </a:cubicBezTo>
                  <a:lnTo>
                    <a:pt x="84091" y="20692"/>
                  </a:lnTo>
                  <a:cubicBezTo>
                    <a:pt x="84091" y="9281"/>
                    <a:pt x="74669" y="-47"/>
                    <a:pt x="63210" y="0"/>
                  </a:cubicBezTo>
                  <a:lnTo>
                    <a:pt x="20739" y="0"/>
                  </a:lnTo>
                  <a:cubicBezTo>
                    <a:pt x="9328" y="0"/>
                    <a:pt x="0" y="9375"/>
                    <a:pt x="0" y="20786"/>
                  </a:cubicBezTo>
                  <a:lnTo>
                    <a:pt x="0" y="75758"/>
                  </a:lnTo>
                  <a:cubicBezTo>
                    <a:pt x="95" y="87169"/>
                    <a:pt x="9422" y="96497"/>
                    <a:pt x="20881" y="96497"/>
                  </a:cubicBezTo>
                  <a:lnTo>
                    <a:pt x="20975" y="166147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511" name="Gráfico 9">
            <a:extLst>
              <a:ext uri="{FF2B5EF4-FFF2-40B4-BE49-F238E27FC236}">
                <a16:creationId xmlns:a16="http://schemas.microsoft.com/office/drawing/2014/main" id="{61210F3B-D962-1396-A471-321185DC276F}"/>
              </a:ext>
            </a:extLst>
          </p:cNvPr>
          <p:cNvGrpSpPr/>
          <p:nvPr/>
        </p:nvGrpSpPr>
        <p:grpSpPr>
          <a:xfrm>
            <a:off x="7491280" y="972705"/>
            <a:ext cx="270642" cy="345692"/>
            <a:chOff x="7491280" y="972705"/>
            <a:chExt cx="270642" cy="345692"/>
          </a:xfrm>
          <a:noFill/>
        </p:grpSpPr>
        <p:grpSp>
          <p:nvGrpSpPr>
            <p:cNvPr id="512" name="Gráfico 9">
              <a:extLst>
                <a:ext uri="{FF2B5EF4-FFF2-40B4-BE49-F238E27FC236}">
                  <a16:creationId xmlns:a16="http://schemas.microsoft.com/office/drawing/2014/main" id="{E8209870-A305-B4AB-43E1-464D700368AD}"/>
                </a:ext>
              </a:extLst>
            </p:cNvPr>
            <p:cNvGrpSpPr/>
            <p:nvPr/>
          </p:nvGrpSpPr>
          <p:grpSpPr>
            <a:xfrm>
              <a:off x="7652453" y="972705"/>
              <a:ext cx="99148" cy="99148"/>
              <a:chOff x="7652453" y="972705"/>
              <a:chExt cx="99148" cy="99148"/>
            </a:xfrm>
            <a:noFill/>
          </p:grpSpPr>
          <p:sp>
            <p:nvSpPr>
              <p:cNvPr id="513" name="Forma livre: Forma 512">
                <a:extLst>
                  <a:ext uri="{FF2B5EF4-FFF2-40B4-BE49-F238E27FC236}">
                    <a16:creationId xmlns:a16="http://schemas.microsoft.com/office/drawing/2014/main" id="{5AF4F6BF-ABCA-0D3A-A3E9-EB9927DFD164}"/>
                  </a:ext>
                </a:extLst>
              </p:cNvPr>
              <p:cNvSpPr/>
              <p:nvPr/>
            </p:nvSpPr>
            <p:spPr>
              <a:xfrm>
                <a:off x="7681620" y="1002014"/>
                <a:ext cx="40625" cy="40625"/>
              </a:xfrm>
              <a:custGeom>
                <a:avLst/>
                <a:gdLst>
                  <a:gd name="connsiteX0" fmla="*/ 0 w 40625"/>
                  <a:gd name="connsiteY0" fmla="*/ 20407 h 40625"/>
                  <a:gd name="connsiteX1" fmla="*/ 20407 w 40625"/>
                  <a:gd name="connsiteY1" fmla="*/ 40625 h 40625"/>
                  <a:gd name="connsiteX2" fmla="*/ 40625 w 40625"/>
                  <a:gd name="connsiteY2" fmla="*/ 20218 h 40625"/>
                  <a:gd name="connsiteX3" fmla="*/ 20218 w 40625"/>
                  <a:gd name="connsiteY3" fmla="*/ 0 h 40625"/>
                  <a:gd name="connsiteX4" fmla="*/ 0 w 40625"/>
                  <a:gd name="connsiteY4" fmla="*/ 20407 h 406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0625" h="40625">
                    <a:moveTo>
                      <a:pt x="0" y="20407"/>
                    </a:moveTo>
                    <a:cubicBezTo>
                      <a:pt x="47" y="31582"/>
                      <a:pt x="9186" y="40673"/>
                      <a:pt x="20407" y="40625"/>
                    </a:cubicBezTo>
                    <a:cubicBezTo>
                      <a:pt x="31629" y="40578"/>
                      <a:pt x="40673" y="31440"/>
                      <a:pt x="40625" y="20218"/>
                    </a:cubicBezTo>
                    <a:cubicBezTo>
                      <a:pt x="40578" y="9044"/>
                      <a:pt x="31440" y="-47"/>
                      <a:pt x="20218" y="0"/>
                    </a:cubicBezTo>
                    <a:cubicBezTo>
                      <a:pt x="8996" y="0"/>
                      <a:pt x="-47" y="9186"/>
                      <a:pt x="0" y="20407"/>
                    </a:cubicBezTo>
                    <a:close/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514" name="Gráfico 9">
                <a:extLst>
                  <a:ext uri="{FF2B5EF4-FFF2-40B4-BE49-F238E27FC236}">
                    <a16:creationId xmlns:a16="http://schemas.microsoft.com/office/drawing/2014/main" id="{0308CAC4-4A8F-707E-EDF0-5EA48DF4AE47}"/>
                  </a:ext>
                </a:extLst>
              </p:cNvPr>
              <p:cNvGrpSpPr/>
              <p:nvPr/>
            </p:nvGrpSpPr>
            <p:grpSpPr>
              <a:xfrm>
                <a:off x="7681715" y="972705"/>
                <a:ext cx="40672" cy="99148"/>
                <a:chOff x="7681715" y="972705"/>
                <a:chExt cx="40672" cy="99148"/>
              </a:xfrm>
            </p:grpSpPr>
            <p:sp>
              <p:nvSpPr>
                <p:cNvPr id="515" name="Forma livre: Forma 514">
                  <a:extLst>
                    <a:ext uri="{FF2B5EF4-FFF2-40B4-BE49-F238E27FC236}">
                      <a16:creationId xmlns:a16="http://schemas.microsoft.com/office/drawing/2014/main" id="{112FF2BF-9A45-E99A-CDB2-8C976257D174}"/>
                    </a:ext>
                  </a:extLst>
                </p:cNvPr>
                <p:cNvSpPr/>
                <p:nvPr/>
              </p:nvSpPr>
              <p:spPr>
                <a:xfrm>
                  <a:off x="7681715" y="1061294"/>
                  <a:ext cx="4450" cy="10558"/>
                </a:xfrm>
                <a:custGeom>
                  <a:avLst/>
                  <a:gdLst>
                    <a:gd name="connsiteX0" fmla="*/ 0 w 4450"/>
                    <a:gd name="connsiteY0" fmla="*/ 10559 h 10558"/>
                    <a:gd name="connsiteX1" fmla="*/ 4451 w 4450"/>
                    <a:gd name="connsiteY1" fmla="*/ 0 h 1055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450" h="10558">
                      <a:moveTo>
                        <a:pt x="0" y="10559"/>
                      </a:moveTo>
                      <a:lnTo>
                        <a:pt x="4451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516" name="Forma livre: Forma 515">
                  <a:extLst>
                    <a:ext uri="{FF2B5EF4-FFF2-40B4-BE49-F238E27FC236}">
                      <a16:creationId xmlns:a16="http://schemas.microsoft.com/office/drawing/2014/main" id="{935D1292-B7BE-C5D7-1B8D-EDB9CB13C3F3}"/>
                    </a:ext>
                  </a:extLst>
                </p:cNvPr>
                <p:cNvSpPr/>
                <p:nvPr/>
              </p:nvSpPr>
              <p:spPr>
                <a:xfrm>
                  <a:off x="7717936" y="972705"/>
                  <a:ext cx="4450" cy="10558"/>
                </a:xfrm>
                <a:custGeom>
                  <a:avLst/>
                  <a:gdLst>
                    <a:gd name="connsiteX0" fmla="*/ 0 w 4450"/>
                    <a:gd name="connsiteY0" fmla="*/ 10559 h 10558"/>
                    <a:gd name="connsiteX1" fmla="*/ 4451 w 4450"/>
                    <a:gd name="connsiteY1" fmla="*/ 0 h 1055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450" h="10558">
                      <a:moveTo>
                        <a:pt x="0" y="10559"/>
                      </a:moveTo>
                      <a:lnTo>
                        <a:pt x="4451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517" name="Gráfico 9">
                <a:extLst>
                  <a:ext uri="{FF2B5EF4-FFF2-40B4-BE49-F238E27FC236}">
                    <a16:creationId xmlns:a16="http://schemas.microsoft.com/office/drawing/2014/main" id="{90C4FDAB-74B2-7CCD-82A7-5C2A4B0B22E9}"/>
                  </a:ext>
                </a:extLst>
              </p:cNvPr>
              <p:cNvGrpSpPr/>
              <p:nvPr/>
            </p:nvGrpSpPr>
            <p:grpSpPr>
              <a:xfrm>
                <a:off x="7652643" y="1001588"/>
                <a:ext cx="98816" cy="41382"/>
                <a:chOff x="7652643" y="1001588"/>
                <a:chExt cx="98816" cy="41382"/>
              </a:xfrm>
            </p:grpSpPr>
            <p:sp>
              <p:nvSpPr>
                <p:cNvPr id="518" name="Forma livre: Forma 517">
                  <a:extLst>
                    <a:ext uri="{FF2B5EF4-FFF2-40B4-BE49-F238E27FC236}">
                      <a16:creationId xmlns:a16="http://schemas.microsoft.com/office/drawing/2014/main" id="{4E2E42B9-209D-CB1F-40DB-461A46C60C94}"/>
                    </a:ext>
                  </a:extLst>
                </p:cNvPr>
                <p:cNvSpPr/>
                <p:nvPr/>
              </p:nvSpPr>
              <p:spPr>
                <a:xfrm>
                  <a:off x="7652643" y="1038614"/>
                  <a:ext cx="10558" cy="4356"/>
                </a:xfrm>
                <a:custGeom>
                  <a:avLst/>
                  <a:gdLst>
                    <a:gd name="connsiteX0" fmla="*/ 0 w 10558"/>
                    <a:gd name="connsiteY0" fmla="*/ 4356 h 4356"/>
                    <a:gd name="connsiteX1" fmla="*/ 10559 w 10558"/>
                    <a:gd name="connsiteY1" fmla="*/ 0 h 435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0558" h="4356">
                      <a:moveTo>
                        <a:pt x="0" y="4356"/>
                      </a:moveTo>
                      <a:lnTo>
                        <a:pt x="10559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519" name="Forma livre: Forma 518">
                  <a:extLst>
                    <a:ext uri="{FF2B5EF4-FFF2-40B4-BE49-F238E27FC236}">
                      <a16:creationId xmlns:a16="http://schemas.microsoft.com/office/drawing/2014/main" id="{4A9D0F72-14D3-6ACB-E3DF-FF707CBEBA93}"/>
                    </a:ext>
                  </a:extLst>
                </p:cNvPr>
                <p:cNvSpPr/>
                <p:nvPr/>
              </p:nvSpPr>
              <p:spPr>
                <a:xfrm>
                  <a:off x="7740853" y="1001588"/>
                  <a:ext cx="10606" cy="4356"/>
                </a:xfrm>
                <a:custGeom>
                  <a:avLst/>
                  <a:gdLst>
                    <a:gd name="connsiteX0" fmla="*/ 0 w 10606"/>
                    <a:gd name="connsiteY0" fmla="*/ 4356 h 4356"/>
                    <a:gd name="connsiteX1" fmla="*/ 10606 w 10606"/>
                    <a:gd name="connsiteY1" fmla="*/ 0 h 435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0606" h="4356">
                      <a:moveTo>
                        <a:pt x="0" y="4356"/>
                      </a:moveTo>
                      <a:lnTo>
                        <a:pt x="10606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520" name="Gráfico 9">
                <a:extLst>
                  <a:ext uri="{FF2B5EF4-FFF2-40B4-BE49-F238E27FC236}">
                    <a16:creationId xmlns:a16="http://schemas.microsoft.com/office/drawing/2014/main" id="{88B02608-B44B-C8F0-EB40-4E527DA37DAD}"/>
                  </a:ext>
                </a:extLst>
              </p:cNvPr>
              <p:cNvGrpSpPr/>
              <p:nvPr/>
            </p:nvGrpSpPr>
            <p:grpSpPr>
              <a:xfrm>
                <a:off x="7652453" y="1001967"/>
                <a:ext cx="99148" cy="40625"/>
                <a:chOff x="7652453" y="1001967"/>
                <a:chExt cx="99148" cy="40625"/>
              </a:xfrm>
            </p:grpSpPr>
            <p:sp>
              <p:nvSpPr>
                <p:cNvPr id="521" name="Forma livre: Forma 520">
                  <a:extLst>
                    <a:ext uri="{FF2B5EF4-FFF2-40B4-BE49-F238E27FC236}">
                      <a16:creationId xmlns:a16="http://schemas.microsoft.com/office/drawing/2014/main" id="{E2F6B153-6930-628E-801E-3008DB817330}"/>
                    </a:ext>
                  </a:extLst>
                </p:cNvPr>
                <p:cNvSpPr/>
                <p:nvPr/>
              </p:nvSpPr>
              <p:spPr>
                <a:xfrm>
                  <a:off x="7652453" y="1001967"/>
                  <a:ext cx="10606" cy="4403"/>
                </a:xfrm>
                <a:custGeom>
                  <a:avLst/>
                  <a:gdLst>
                    <a:gd name="connsiteX0" fmla="*/ 0 w 10606"/>
                    <a:gd name="connsiteY0" fmla="*/ 0 h 4403"/>
                    <a:gd name="connsiteX1" fmla="*/ 10606 w 10606"/>
                    <a:gd name="connsiteY1" fmla="*/ 4403 h 44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0606" h="4403">
                      <a:moveTo>
                        <a:pt x="0" y="0"/>
                      </a:moveTo>
                      <a:lnTo>
                        <a:pt x="10606" y="4403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522" name="Forma livre: Forma 521">
                  <a:extLst>
                    <a:ext uri="{FF2B5EF4-FFF2-40B4-BE49-F238E27FC236}">
                      <a16:creationId xmlns:a16="http://schemas.microsoft.com/office/drawing/2014/main" id="{96BFB79A-54A3-968D-2C80-C606A3407212}"/>
                    </a:ext>
                  </a:extLst>
                </p:cNvPr>
                <p:cNvSpPr/>
                <p:nvPr/>
              </p:nvSpPr>
              <p:spPr>
                <a:xfrm>
                  <a:off x="7741043" y="1038141"/>
                  <a:ext cx="10558" cy="4450"/>
                </a:xfrm>
                <a:custGeom>
                  <a:avLst/>
                  <a:gdLst>
                    <a:gd name="connsiteX0" fmla="*/ 0 w 10558"/>
                    <a:gd name="connsiteY0" fmla="*/ 0 h 4450"/>
                    <a:gd name="connsiteX1" fmla="*/ 10559 w 10558"/>
                    <a:gd name="connsiteY1" fmla="*/ 4451 h 44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0558" h="4450">
                      <a:moveTo>
                        <a:pt x="0" y="0"/>
                      </a:moveTo>
                      <a:lnTo>
                        <a:pt x="10559" y="4451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523" name="Gráfico 9">
                <a:extLst>
                  <a:ext uri="{FF2B5EF4-FFF2-40B4-BE49-F238E27FC236}">
                    <a16:creationId xmlns:a16="http://schemas.microsoft.com/office/drawing/2014/main" id="{9B80B7F6-5084-3C74-D175-0D2A605E3700}"/>
                  </a:ext>
                </a:extLst>
              </p:cNvPr>
              <p:cNvGrpSpPr/>
              <p:nvPr/>
            </p:nvGrpSpPr>
            <p:grpSpPr>
              <a:xfrm>
                <a:off x="7681336" y="972847"/>
                <a:ext cx="41382" cy="98863"/>
                <a:chOff x="7681336" y="972847"/>
                <a:chExt cx="41382" cy="98863"/>
              </a:xfrm>
            </p:grpSpPr>
            <p:sp>
              <p:nvSpPr>
                <p:cNvPr id="524" name="Forma livre: Forma 523">
                  <a:extLst>
                    <a:ext uri="{FF2B5EF4-FFF2-40B4-BE49-F238E27FC236}">
                      <a16:creationId xmlns:a16="http://schemas.microsoft.com/office/drawing/2014/main" id="{266CE07E-13EE-3B3B-AC4D-0C1DCF4EF218}"/>
                    </a:ext>
                  </a:extLst>
                </p:cNvPr>
                <p:cNvSpPr/>
                <p:nvPr/>
              </p:nvSpPr>
              <p:spPr>
                <a:xfrm>
                  <a:off x="7718410" y="1061105"/>
                  <a:ext cx="4308" cy="10606"/>
                </a:xfrm>
                <a:custGeom>
                  <a:avLst/>
                  <a:gdLst>
                    <a:gd name="connsiteX0" fmla="*/ 4309 w 4308"/>
                    <a:gd name="connsiteY0" fmla="*/ 10606 h 10606"/>
                    <a:gd name="connsiteX1" fmla="*/ 0 w 4308"/>
                    <a:gd name="connsiteY1" fmla="*/ 0 h 1060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308" h="10606">
                      <a:moveTo>
                        <a:pt x="4309" y="10606"/>
                      </a:moveTo>
                      <a:lnTo>
                        <a:pt x="0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525" name="Forma livre: Forma 524">
                  <a:extLst>
                    <a:ext uri="{FF2B5EF4-FFF2-40B4-BE49-F238E27FC236}">
                      <a16:creationId xmlns:a16="http://schemas.microsoft.com/office/drawing/2014/main" id="{E18F4F26-9537-5573-9187-4CA30A59C264}"/>
                    </a:ext>
                  </a:extLst>
                </p:cNvPr>
                <p:cNvSpPr/>
                <p:nvPr/>
              </p:nvSpPr>
              <p:spPr>
                <a:xfrm>
                  <a:off x="7681336" y="972847"/>
                  <a:ext cx="4356" cy="10606"/>
                </a:xfrm>
                <a:custGeom>
                  <a:avLst/>
                  <a:gdLst>
                    <a:gd name="connsiteX0" fmla="*/ 4356 w 4356"/>
                    <a:gd name="connsiteY0" fmla="*/ 10606 h 10606"/>
                    <a:gd name="connsiteX1" fmla="*/ 0 w 4356"/>
                    <a:gd name="connsiteY1" fmla="*/ 0 h 1060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356" h="10606">
                      <a:moveTo>
                        <a:pt x="4356" y="10606"/>
                      </a:moveTo>
                      <a:lnTo>
                        <a:pt x="0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grpSp>
          <p:nvGrpSpPr>
            <p:cNvPr id="526" name="Gráfico 9">
              <a:extLst>
                <a:ext uri="{FF2B5EF4-FFF2-40B4-BE49-F238E27FC236}">
                  <a16:creationId xmlns:a16="http://schemas.microsoft.com/office/drawing/2014/main" id="{058E2C60-5B07-4634-D361-BB006AD6659D}"/>
                </a:ext>
              </a:extLst>
            </p:cNvPr>
            <p:cNvGrpSpPr/>
            <p:nvPr/>
          </p:nvGrpSpPr>
          <p:grpSpPr>
            <a:xfrm>
              <a:off x="7491280" y="1028482"/>
              <a:ext cx="270642" cy="289915"/>
              <a:chOff x="7491280" y="1028482"/>
              <a:chExt cx="270642" cy="289915"/>
            </a:xfrm>
            <a:noFill/>
          </p:grpSpPr>
          <p:sp>
            <p:nvSpPr>
              <p:cNvPr id="527" name="Forma livre: Forma 526">
                <a:extLst>
                  <a:ext uri="{FF2B5EF4-FFF2-40B4-BE49-F238E27FC236}">
                    <a16:creationId xmlns:a16="http://schemas.microsoft.com/office/drawing/2014/main" id="{0D6E9F41-AFB7-E835-4FCC-E4E59C5173A9}"/>
                  </a:ext>
                </a:extLst>
              </p:cNvPr>
              <p:cNvSpPr/>
              <p:nvPr/>
            </p:nvSpPr>
            <p:spPr>
              <a:xfrm>
                <a:off x="7626127" y="1097232"/>
                <a:ext cx="135795" cy="144176"/>
              </a:xfrm>
              <a:custGeom>
                <a:avLst/>
                <a:gdLst>
                  <a:gd name="connsiteX0" fmla="*/ 0 w 135795"/>
                  <a:gd name="connsiteY0" fmla="*/ 140625 h 144176"/>
                  <a:gd name="connsiteX1" fmla="*/ 18750 w 135795"/>
                  <a:gd name="connsiteY1" fmla="*/ 144177 h 144176"/>
                  <a:gd name="connsiteX2" fmla="*/ 51657 w 135795"/>
                  <a:gd name="connsiteY2" fmla="*/ 132197 h 144176"/>
                  <a:gd name="connsiteX3" fmla="*/ 84565 w 135795"/>
                  <a:gd name="connsiteY3" fmla="*/ 144177 h 144176"/>
                  <a:gd name="connsiteX4" fmla="*/ 135796 w 135795"/>
                  <a:gd name="connsiteY4" fmla="*/ 92945 h 144176"/>
                  <a:gd name="connsiteX5" fmla="*/ 103125 w 135795"/>
                  <a:gd name="connsiteY5" fmla="*/ 45218 h 144176"/>
                  <a:gd name="connsiteX6" fmla="*/ 51657 w 135795"/>
                  <a:gd name="connsiteY6" fmla="*/ 0 h 144176"/>
                  <a:gd name="connsiteX7" fmla="*/ 20833 w 135795"/>
                  <a:gd name="connsiteY7" fmla="*/ 10843 h 1441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35795" h="144176">
                    <a:moveTo>
                      <a:pt x="0" y="140625"/>
                    </a:moveTo>
                    <a:cubicBezTo>
                      <a:pt x="5824" y="142898"/>
                      <a:pt x="12121" y="144177"/>
                      <a:pt x="18750" y="144177"/>
                    </a:cubicBezTo>
                    <a:cubicBezTo>
                      <a:pt x="31297" y="144177"/>
                      <a:pt x="42756" y="139631"/>
                      <a:pt x="51657" y="132197"/>
                    </a:cubicBezTo>
                    <a:cubicBezTo>
                      <a:pt x="60559" y="139679"/>
                      <a:pt x="72017" y="144177"/>
                      <a:pt x="84565" y="144177"/>
                    </a:cubicBezTo>
                    <a:cubicBezTo>
                      <a:pt x="112879" y="144177"/>
                      <a:pt x="135796" y="121260"/>
                      <a:pt x="135796" y="92945"/>
                    </a:cubicBezTo>
                    <a:cubicBezTo>
                      <a:pt x="135796" y="71212"/>
                      <a:pt x="122207" y="52652"/>
                      <a:pt x="103125" y="45218"/>
                    </a:cubicBezTo>
                    <a:cubicBezTo>
                      <a:pt x="98012" y="19366"/>
                      <a:pt x="76894" y="0"/>
                      <a:pt x="51657" y="0"/>
                    </a:cubicBezTo>
                    <a:cubicBezTo>
                      <a:pt x="40152" y="0"/>
                      <a:pt x="29498" y="4025"/>
                      <a:pt x="20833" y="10843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28" name="Forma livre: Forma 527">
                <a:extLst>
                  <a:ext uri="{FF2B5EF4-FFF2-40B4-BE49-F238E27FC236}">
                    <a16:creationId xmlns:a16="http://schemas.microsoft.com/office/drawing/2014/main" id="{EB5CEC73-303E-0653-E8C9-3C943157AA31}"/>
                  </a:ext>
                </a:extLst>
              </p:cNvPr>
              <p:cNvSpPr/>
              <p:nvPr/>
            </p:nvSpPr>
            <p:spPr>
              <a:xfrm>
                <a:off x="7677690" y="1160679"/>
                <a:ext cx="4734" cy="128740"/>
              </a:xfrm>
              <a:custGeom>
                <a:avLst/>
                <a:gdLst>
                  <a:gd name="connsiteX0" fmla="*/ 0 w 4734"/>
                  <a:gd name="connsiteY0" fmla="*/ 0 h 128740"/>
                  <a:gd name="connsiteX1" fmla="*/ 0 w 4734"/>
                  <a:gd name="connsiteY1" fmla="*/ 128741 h 1287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34" h="128740">
                    <a:moveTo>
                      <a:pt x="0" y="0"/>
                    </a:moveTo>
                    <a:lnTo>
                      <a:pt x="0" y="128741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529" name="Gráfico 9">
                <a:extLst>
                  <a:ext uri="{FF2B5EF4-FFF2-40B4-BE49-F238E27FC236}">
                    <a16:creationId xmlns:a16="http://schemas.microsoft.com/office/drawing/2014/main" id="{DCCB235D-EED4-7776-BA0D-AD42D963B7CF}"/>
                  </a:ext>
                </a:extLst>
              </p:cNvPr>
              <p:cNvGrpSpPr/>
              <p:nvPr/>
            </p:nvGrpSpPr>
            <p:grpSpPr>
              <a:xfrm>
                <a:off x="7651127" y="1180234"/>
                <a:ext cx="53125" cy="29545"/>
                <a:chOff x="7651127" y="1180234"/>
                <a:chExt cx="53125" cy="29545"/>
              </a:xfrm>
            </p:grpSpPr>
            <p:sp>
              <p:nvSpPr>
                <p:cNvPr id="530" name="Forma livre: Forma 529">
                  <a:extLst>
                    <a:ext uri="{FF2B5EF4-FFF2-40B4-BE49-F238E27FC236}">
                      <a16:creationId xmlns:a16="http://schemas.microsoft.com/office/drawing/2014/main" id="{C232D227-6602-52AC-33A0-3F64CF6D0653}"/>
                    </a:ext>
                  </a:extLst>
                </p:cNvPr>
                <p:cNvSpPr/>
                <p:nvPr/>
              </p:nvSpPr>
              <p:spPr>
                <a:xfrm>
                  <a:off x="7651127" y="1194155"/>
                  <a:ext cx="24005" cy="15625"/>
                </a:xfrm>
                <a:custGeom>
                  <a:avLst/>
                  <a:gdLst>
                    <a:gd name="connsiteX0" fmla="*/ 0 w 24005"/>
                    <a:gd name="connsiteY0" fmla="*/ 0 h 15625"/>
                    <a:gd name="connsiteX1" fmla="*/ 24006 w 24005"/>
                    <a:gd name="connsiteY1" fmla="*/ 15625 h 1562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4005" h="15625">
                      <a:moveTo>
                        <a:pt x="0" y="0"/>
                      </a:moveTo>
                      <a:lnTo>
                        <a:pt x="24006" y="15625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531" name="Forma livre: Forma 530">
                  <a:extLst>
                    <a:ext uri="{FF2B5EF4-FFF2-40B4-BE49-F238E27FC236}">
                      <a16:creationId xmlns:a16="http://schemas.microsoft.com/office/drawing/2014/main" id="{0B9DF7C1-E527-B5E8-7CD9-631614ECA64D}"/>
                    </a:ext>
                  </a:extLst>
                </p:cNvPr>
                <p:cNvSpPr/>
                <p:nvPr/>
              </p:nvSpPr>
              <p:spPr>
                <a:xfrm>
                  <a:off x="7677643" y="1180234"/>
                  <a:ext cx="26609" cy="10748"/>
                </a:xfrm>
                <a:custGeom>
                  <a:avLst/>
                  <a:gdLst>
                    <a:gd name="connsiteX0" fmla="*/ 26610 w 26609"/>
                    <a:gd name="connsiteY0" fmla="*/ 0 h 10748"/>
                    <a:gd name="connsiteX1" fmla="*/ 0 w 26609"/>
                    <a:gd name="connsiteY1" fmla="*/ 10748 h 107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6609" h="10748">
                      <a:moveTo>
                        <a:pt x="26610" y="0"/>
                      </a:moveTo>
                      <a:lnTo>
                        <a:pt x="0" y="10748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532" name="Forma livre: Forma 531">
                <a:extLst>
                  <a:ext uri="{FF2B5EF4-FFF2-40B4-BE49-F238E27FC236}">
                    <a16:creationId xmlns:a16="http://schemas.microsoft.com/office/drawing/2014/main" id="{CC8B942D-F915-CED7-AA28-11155A1FF2A1}"/>
                  </a:ext>
                </a:extLst>
              </p:cNvPr>
              <p:cNvSpPr/>
              <p:nvPr/>
            </p:nvSpPr>
            <p:spPr>
              <a:xfrm>
                <a:off x="7491280" y="1028482"/>
                <a:ext cx="143015" cy="206981"/>
              </a:xfrm>
              <a:custGeom>
                <a:avLst/>
                <a:gdLst>
                  <a:gd name="connsiteX0" fmla="*/ 141286 w 143015"/>
                  <a:gd name="connsiteY0" fmla="*/ 119981 h 206981"/>
                  <a:gd name="connsiteX1" fmla="*/ 71258 w 143015"/>
                  <a:gd name="connsiteY1" fmla="*/ 206961 h 206981"/>
                  <a:gd name="connsiteX2" fmla="*/ 1277 w 143015"/>
                  <a:gd name="connsiteY2" fmla="*/ 120739 h 206981"/>
                  <a:gd name="connsiteX3" fmla="*/ 71637 w 143015"/>
                  <a:gd name="connsiteY3" fmla="*/ 0 h 206981"/>
                  <a:gd name="connsiteX4" fmla="*/ 141286 w 143015"/>
                  <a:gd name="connsiteY4" fmla="*/ 119981 h 2069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43015" h="206981">
                    <a:moveTo>
                      <a:pt x="141286" y="119981"/>
                    </a:moveTo>
                    <a:cubicBezTo>
                      <a:pt x="152224" y="182766"/>
                      <a:pt x="109184" y="207813"/>
                      <a:pt x="71258" y="206961"/>
                    </a:cubicBezTo>
                    <a:cubicBezTo>
                      <a:pt x="33332" y="206109"/>
                      <a:pt x="-7814" y="177179"/>
                      <a:pt x="1277" y="120739"/>
                    </a:cubicBezTo>
                    <a:cubicBezTo>
                      <a:pt x="8189" y="78031"/>
                      <a:pt x="33852" y="0"/>
                      <a:pt x="71637" y="0"/>
                    </a:cubicBezTo>
                    <a:cubicBezTo>
                      <a:pt x="109421" y="0"/>
                      <a:pt x="133379" y="74479"/>
                      <a:pt x="141286" y="119981"/>
                    </a:cubicBezTo>
                    <a:close/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533" name="Gráfico 9">
                <a:extLst>
                  <a:ext uri="{FF2B5EF4-FFF2-40B4-BE49-F238E27FC236}">
                    <a16:creationId xmlns:a16="http://schemas.microsoft.com/office/drawing/2014/main" id="{33D01180-1EE2-EDE9-665D-C9F346C2449B}"/>
                  </a:ext>
                </a:extLst>
              </p:cNvPr>
              <p:cNvGrpSpPr/>
              <p:nvPr/>
            </p:nvGrpSpPr>
            <p:grpSpPr>
              <a:xfrm>
                <a:off x="7519640" y="1124789"/>
                <a:ext cx="41950" cy="69981"/>
                <a:chOff x="7519640" y="1124789"/>
                <a:chExt cx="41950" cy="69981"/>
              </a:xfrm>
            </p:grpSpPr>
            <p:sp>
              <p:nvSpPr>
                <p:cNvPr id="534" name="Forma livre: Forma 533">
                  <a:extLst>
                    <a:ext uri="{FF2B5EF4-FFF2-40B4-BE49-F238E27FC236}">
                      <a16:creationId xmlns:a16="http://schemas.microsoft.com/office/drawing/2014/main" id="{7FEDE2B6-5678-582E-C6D2-7FD7E3550499}"/>
                    </a:ext>
                  </a:extLst>
                </p:cNvPr>
                <p:cNvSpPr/>
                <p:nvPr/>
              </p:nvSpPr>
              <p:spPr>
                <a:xfrm>
                  <a:off x="7519640" y="1160253"/>
                  <a:ext cx="41950" cy="34517"/>
                </a:xfrm>
                <a:custGeom>
                  <a:avLst/>
                  <a:gdLst>
                    <a:gd name="connsiteX0" fmla="*/ 41951 w 41950"/>
                    <a:gd name="connsiteY0" fmla="*/ 34517 h 34517"/>
                    <a:gd name="connsiteX1" fmla="*/ 0 w 41950"/>
                    <a:gd name="connsiteY1" fmla="*/ 0 h 3451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1950" h="34517">
                      <a:moveTo>
                        <a:pt x="41951" y="34517"/>
                      </a:moveTo>
                      <a:lnTo>
                        <a:pt x="0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535" name="Forma livre: Forma 534">
                  <a:extLst>
                    <a:ext uri="{FF2B5EF4-FFF2-40B4-BE49-F238E27FC236}">
                      <a16:creationId xmlns:a16="http://schemas.microsoft.com/office/drawing/2014/main" id="{D2276D76-A366-FECA-86BC-9FBA59FEEA55}"/>
                    </a:ext>
                  </a:extLst>
                </p:cNvPr>
                <p:cNvSpPr/>
                <p:nvPr/>
              </p:nvSpPr>
              <p:spPr>
                <a:xfrm>
                  <a:off x="7535597" y="1124789"/>
                  <a:ext cx="25284" cy="20880"/>
                </a:xfrm>
                <a:custGeom>
                  <a:avLst/>
                  <a:gdLst>
                    <a:gd name="connsiteX0" fmla="*/ 25284 w 25284"/>
                    <a:gd name="connsiteY0" fmla="*/ 20881 h 20880"/>
                    <a:gd name="connsiteX1" fmla="*/ 0 w 25284"/>
                    <a:gd name="connsiteY1" fmla="*/ 0 h 208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5284" h="20880">
                      <a:moveTo>
                        <a:pt x="25284" y="20881"/>
                      </a:moveTo>
                      <a:lnTo>
                        <a:pt x="0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536" name="Gráfico 9">
                <a:extLst>
                  <a:ext uri="{FF2B5EF4-FFF2-40B4-BE49-F238E27FC236}">
                    <a16:creationId xmlns:a16="http://schemas.microsoft.com/office/drawing/2014/main" id="{032177A8-5FEE-A021-5449-01CA0CEA2C89}"/>
                  </a:ext>
                </a:extLst>
              </p:cNvPr>
              <p:cNvGrpSpPr/>
              <p:nvPr/>
            </p:nvGrpSpPr>
            <p:grpSpPr>
              <a:xfrm>
                <a:off x="7563864" y="1124789"/>
                <a:ext cx="41903" cy="69981"/>
                <a:chOff x="7563864" y="1124789"/>
                <a:chExt cx="41903" cy="69981"/>
              </a:xfrm>
            </p:grpSpPr>
            <p:sp>
              <p:nvSpPr>
                <p:cNvPr id="537" name="Forma livre: Forma 536">
                  <a:extLst>
                    <a:ext uri="{FF2B5EF4-FFF2-40B4-BE49-F238E27FC236}">
                      <a16:creationId xmlns:a16="http://schemas.microsoft.com/office/drawing/2014/main" id="{03475994-9B83-F450-E772-386BF9BDF89D}"/>
                    </a:ext>
                  </a:extLst>
                </p:cNvPr>
                <p:cNvSpPr/>
                <p:nvPr/>
              </p:nvSpPr>
              <p:spPr>
                <a:xfrm>
                  <a:off x="7563864" y="1160253"/>
                  <a:ext cx="41903" cy="34517"/>
                </a:xfrm>
                <a:custGeom>
                  <a:avLst/>
                  <a:gdLst>
                    <a:gd name="connsiteX0" fmla="*/ 0 w 41903"/>
                    <a:gd name="connsiteY0" fmla="*/ 34517 h 34517"/>
                    <a:gd name="connsiteX1" fmla="*/ 41903 w 41903"/>
                    <a:gd name="connsiteY1" fmla="*/ 0 h 3451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1903" h="34517">
                      <a:moveTo>
                        <a:pt x="0" y="34517"/>
                      </a:moveTo>
                      <a:lnTo>
                        <a:pt x="41903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538" name="Forma livre: Forma 537">
                  <a:extLst>
                    <a:ext uri="{FF2B5EF4-FFF2-40B4-BE49-F238E27FC236}">
                      <a16:creationId xmlns:a16="http://schemas.microsoft.com/office/drawing/2014/main" id="{CB7D55F6-5F3C-DEBA-DEE7-B8AD8D9E9CB2}"/>
                    </a:ext>
                  </a:extLst>
                </p:cNvPr>
                <p:cNvSpPr/>
                <p:nvPr/>
              </p:nvSpPr>
              <p:spPr>
                <a:xfrm>
                  <a:off x="7564574" y="1124789"/>
                  <a:ext cx="25236" cy="20880"/>
                </a:xfrm>
                <a:custGeom>
                  <a:avLst/>
                  <a:gdLst>
                    <a:gd name="connsiteX0" fmla="*/ 0 w 25236"/>
                    <a:gd name="connsiteY0" fmla="*/ 20881 h 20880"/>
                    <a:gd name="connsiteX1" fmla="*/ 25237 w 25236"/>
                    <a:gd name="connsiteY1" fmla="*/ 0 h 208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5236" h="20880">
                      <a:moveTo>
                        <a:pt x="0" y="20881"/>
                      </a:moveTo>
                      <a:lnTo>
                        <a:pt x="25237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539" name="Forma livre: Forma 538">
                <a:extLst>
                  <a:ext uri="{FF2B5EF4-FFF2-40B4-BE49-F238E27FC236}">
                    <a16:creationId xmlns:a16="http://schemas.microsoft.com/office/drawing/2014/main" id="{F2DD0DF9-573E-E482-5A64-DCDEB98A14E1}"/>
                  </a:ext>
                </a:extLst>
              </p:cNvPr>
              <p:cNvSpPr/>
              <p:nvPr/>
            </p:nvSpPr>
            <p:spPr>
              <a:xfrm>
                <a:off x="7562775" y="1100215"/>
                <a:ext cx="4734" cy="191525"/>
              </a:xfrm>
              <a:custGeom>
                <a:avLst/>
                <a:gdLst>
                  <a:gd name="connsiteX0" fmla="*/ 0 w 4734"/>
                  <a:gd name="connsiteY0" fmla="*/ 0 h 191525"/>
                  <a:gd name="connsiteX1" fmla="*/ 0 w 4734"/>
                  <a:gd name="connsiteY1" fmla="*/ 191525 h 191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34" h="191525">
                    <a:moveTo>
                      <a:pt x="0" y="0"/>
                    </a:moveTo>
                    <a:lnTo>
                      <a:pt x="0" y="191525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40" name="Forma livre: Forma 539">
                <a:extLst>
                  <a:ext uri="{FF2B5EF4-FFF2-40B4-BE49-F238E27FC236}">
                    <a16:creationId xmlns:a16="http://schemas.microsoft.com/office/drawing/2014/main" id="{22D772B7-BC7F-9966-4330-193957095F69}"/>
                  </a:ext>
                </a:extLst>
              </p:cNvPr>
              <p:cNvSpPr/>
              <p:nvPr/>
            </p:nvSpPr>
            <p:spPr>
              <a:xfrm>
                <a:off x="7506193" y="1286390"/>
                <a:ext cx="239063" cy="32007"/>
              </a:xfrm>
              <a:custGeom>
                <a:avLst/>
                <a:gdLst>
                  <a:gd name="connsiteX0" fmla="*/ 0 w 239063"/>
                  <a:gd name="connsiteY0" fmla="*/ 32008 h 32007"/>
                  <a:gd name="connsiteX1" fmla="*/ 119650 w 239063"/>
                  <a:gd name="connsiteY1" fmla="*/ 0 h 32007"/>
                  <a:gd name="connsiteX2" fmla="*/ 239063 w 239063"/>
                  <a:gd name="connsiteY2" fmla="*/ 31818 h 320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39063" h="32007">
                    <a:moveTo>
                      <a:pt x="0" y="32008"/>
                    </a:moveTo>
                    <a:cubicBezTo>
                      <a:pt x="24337" y="12831"/>
                      <a:pt x="68845" y="0"/>
                      <a:pt x="119650" y="0"/>
                    </a:cubicBezTo>
                    <a:cubicBezTo>
                      <a:pt x="170455" y="0"/>
                      <a:pt x="214679" y="12737"/>
                      <a:pt x="239063" y="31818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541" name="Gráfico 9">
            <a:extLst>
              <a:ext uri="{FF2B5EF4-FFF2-40B4-BE49-F238E27FC236}">
                <a16:creationId xmlns:a16="http://schemas.microsoft.com/office/drawing/2014/main" id="{A58D66FA-FFED-56F4-049D-856B8D6DA9DA}"/>
              </a:ext>
            </a:extLst>
          </p:cNvPr>
          <p:cNvGrpSpPr/>
          <p:nvPr/>
        </p:nvGrpSpPr>
        <p:grpSpPr>
          <a:xfrm>
            <a:off x="6875510" y="1023273"/>
            <a:ext cx="270265" cy="244555"/>
            <a:chOff x="6875510" y="1023273"/>
            <a:chExt cx="270265" cy="244555"/>
          </a:xfrm>
          <a:noFill/>
        </p:grpSpPr>
        <p:grpSp>
          <p:nvGrpSpPr>
            <p:cNvPr id="542" name="Gráfico 9">
              <a:extLst>
                <a:ext uri="{FF2B5EF4-FFF2-40B4-BE49-F238E27FC236}">
                  <a16:creationId xmlns:a16="http://schemas.microsoft.com/office/drawing/2014/main" id="{643595C9-6BE5-536E-C191-3EA5F9FA0A5D}"/>
                </a:ext>
              </a:extLst>
            </p:cNvPr>
            <p:cNvGrpSpPr/>
            <p:nvPr/>
          </p:nvGrpSpPr>
          <p:grpSpPr>
            <a:xfrm>
              <a:off x="7070018" y="1023273"/>
              <a:ext cx="75757" cy="244555"/>
              <a:chOff x="7070018" y="1023273"/>
              <a:chExt cx="75757" cy="244555"/>
            </a:xfrm>
            <a:noFill/>
          </p:grpSpPr>
          <p:sp>
            <p:nvSpPr>
              <p:cNvPr id="543" name="Forma livre: Forma 542">
                <a:extLst>
                  <a:ext uri="{FF2B5EF4-FFF2-40B4-BE49-F238E27FC236}">
                    <a16:creationId xmlns:a16="http://schemas.microsoft.com/office/drawing/2014/main" id="{43D08547-D087-8CC0-F1BE-918EED8785D1}"/>
                  </a:ext>
                </a:extLst>
              </p:cNvPr>
              <p:cNvSpPr/>
              <p:nvPr/>
            </p:nvSpPr>
            <p:spPr>
              <a:xfrm>
                <a:off x="7070018" y="1023273"/>
                <a:ext cx="75757" cy="244555"/>
              </a:xfrm>
              <a:custGeom>
                <a:avLst/>
                <a:gdLst>
                  <a:gd name="connsiteX0" fmla="*/ 0 w 75757"/>
                  <a:gd name="connsiteY0" fmla="*/ 67377 h 244555"/>
                  <a:gd name="connsiteX1" fmla="*/ 23343 w 75757"/>
                  <a:gd name="connsiteY1" fmla="*/ 67377 h 244555"/>
                  <a:gd name="connsiteX2" fmla="*/ 23343 w 75757"/>
                  <a:gd name="connsiteY2" fmla="*/ 45123 h 244555"/>
                  <a:gd name="connsiteX3" fmla="*/ 49053 w 75757"/>
                  <a:gd name="connsiteY3" fmla="*/ 0 h 244555"/>
                  <a:gd name="connsiteX4" fmla="*/ 75758 w 75757"/>
                  <a:gd name="connsiteY4" fmla="*/ 45123 h 244555"/>
                  <a:gd name="connsiteX5" fmla="*/ 75758 w 75757"/>
                  <a:gd name="connsiteY5" fmla="*/ 244556 h 244555"/>
                  <a:gd name="connsiteX6" fmla="*/ 23343 w 75757"/>
                  <a:gd name="connsiteY6" fmla="*/ 244556 h 244555"/>
                  <a:gd name="connsiteX7" fmla="*/ 23343 w 75757"/>
                  <a:gd name="connsiteY7" fmla="*/ 221592 h 244555"/>
                  <a:gd name="connsiteX8" fmla="*/ 0 w 75757"/>
                  <a:gd name="connsiteY8" fmla="*/ 221592 h 2445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75757" h="244555">
                    <a:moveTo>
                      <a:pt x="0" y="67377"/>
                    </a:moveTo>
                    <a:lnTo>
                      <a:pt x="23343" y="67377"/>
                    </a:lnTo>
                    <a:lnTo>
                      <a:pt x="23343" y="45123"/>
                    </a:lnTo>
                    <a:lnTo>
                      <a:pt x="49053" y="0"/>
                    </a:lnTo>
                    <a:lnTo>
                      <a:pt x="75758" y="45123"/>
                    </a:lnTo>
                    <a:lnTo>
                      <a:pt x="75758" y="244556"/>
                    </a:lnTo>
                    <a:lnTo>
                      <a:pt x="23343" y="244556"/>
                    </a:lnTo>
                    <a:lnTo>
                      <a:pt x="23343" y="221592"/>
                    </a:lnTo>
                    <a:lnTo>
                      <a:pt x="0" y="221592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44" name="Forma livre: Forma 543">
                <a:extLst>
                  <a:ext uri="{FF2B5EF4-FFF2-40B4-BE49-F238E27FC236}">
                    <a16:creationId xmlns:a16="http://schemas.microsoft.com/office/drawing/2014/main" id="{806D01FC-7A9D-EC63-01D9-46D310FCE8E9}"/>
                  </a:ext>
                </a:extLst>
              </p:cNvPr>
              <p:cNvSpPr/>
              <p:nvPr/>
            </p:nvSpPr>
            <p:spPr>
              <a:xfrm>
                <a:off x="7070018" y="1140130"/>
                <a:ext cx="24479" cy="57670"/>
              </a:xfrm>
              <a:custGeom>
                <a:avLst/>
                <a:gdLst>
                  <a:gd name="connsiteX0" fmla="*/ 0 w 24479"/>
                  <a:gd name="connsiteY0" fmla="*/ 0 h 57670"/>
                  <a:gd name="connsiteX1" fmla="*/ 24479 w 24479"/>
                  <a:gd name="connsiteY1" fmla="*/ 0 h 57670"/>
                  <a:gd name="connsiteX2" fmla="*/ 24479 w 24479"/>
                  <a:gd name="connsiteY2" fmla="*/ 57671 h 57670"/>
                  <a:gd name="connsiteX3" fmla="*/ 0 w 24479"/>
                  <a:gd name="connsiteY3" fmla="*/ 57671 h 576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4479" h="57670">
                    <a:moveTo>
                      <a:pt x="0" y="0"/>
                    </a:moveTo>
                    <a:lnTo>
                      <a:pt x="24479" y="0"/>
                    </a:lnTo>
                    <a:lnTo>
                      <a:pt x="24479" y="57671"/>
                    </a:lnTo>
                    <a:lnTo>
                      <a:pt x="0" y="57671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545" name="Gráfico 9">
              <a:extLst>
                <a:ext uri="{FF2B5EF4-FFF2-40B4-BE49-F238E27FC236}">
                  <a16:creationId xmlns:a16="http://schemas.microsoft.com/office/drawing/2014/main" id="{008E7672-6662-2B0B-DFC6-2A37C1BA81F3}"/>
                </a:ext>
              </a:extLst>
            </p:cNvPr>
            <p:cNvGrpSpPr/>
            <p:nvPr/>
          </p:nvGrpSpPr>
          <p:grpSpPr>
            <a:xfrm>
              <a:off x="6972764" y="1023273"/>
              <a:ext cx="75710" cy="244555"/>
              <a:chOff x="6972764" y="1023273"/>
              <a:chExt cx="75710" cy="244555"/>
            </a:xfrm>
            <a:noFill/>
          </p:grpSpPr>
          <p:sp>
            <p:nvSpPr>
              <p:cNvPr id="546" name="Forma livre: Forma 545">
                <a:extLst>
                  <a:ext uri="{FF2B5EF4-FFF2-40B4-BE49-F238E27FC236}">
                    <a16:creationId xmlns:a16="http://schemas.microsoft.com/office/drawing/2014/main" id="{B117AB21-9369-4FA7-F107-4E2F175F40FD}"/>
                  </a:ext>
                </a:extLst>
              </p:cNvPr>
              <p:cNvSpPr/>
              <p:nvPr/>
            </p:nvSpPr>
            <p:spPr>
              <a:xfrm>
                <a:off x="6972764" y="1023273"/>
                <a:ext cx="75710" cy="244555"/>
              </a:xfrm>
              <a:custGeom>
                <a:avLst/>
                <a:gdLst>
                  <a:gd name="connsiteX0" fmla="*/ 0 w 75710"/>
                  <a:gd name="connsiteY0" fmla="*/ 67377 h 244555"/>
                  <a:gd name="connsiteX1" fmla="*/ 23343 w 75710"/>
                  <a:gd name="connsiteY1" fmla="*/ 67377 h 244555"/>
                  <a:gd name="connsiteX2" fmla="*/ 23343 w 75710"/>
                  <a:gd name="connsiteY2" fmla="*/ 45123 h 244555"/>
                  <a:gd name="connsiteX3" fmla="*/ 49053 w 75710"/>
                  <a:gd name="connsiteY3" fmla="*/ 0 h 244555"/>
                  <a:gd name="connsiteX4" fmla="*/ 75710 w 75710"/>
                  <a:gd name="connsiteY4" fmla="*/ 45123 h 244555"/>
                  <a:gd name="connsiteX5" fmla="*/ 75710 w 75710"/>
                  <a:gd name="connsiteY5" fmla="*/ 244556 h 244555"/>
                  <a:gd name="connsiteX6" fmla="*/ 23343 w 75710"/>
                  <a:gd name="connsiteY6" fmla="*/ 244556 h 244555"/>
                  <a:gd name="connsiteX7" fmla="*/ 23343 w 75710"/>
                  <a:gd name="connsiteY7" fmla="*/ 221592 h 244555"/>
                  <a:gd name="connsiteX8" fmla="*/ 0 w 75710"/>
                  <a:gd name="connsiteY8" fmla="*/ 221592 h 2445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75710" h="244555">
                    <a:moveTo>
                      <a:pt x="0" y="67377"/>
                    </a:moveTo>
                    <a:lnTo>
                      <a:pt x="23343" y="67377"/>
                    </a:lnTo>
                    <a:lnTo>
                      <a:pt x="23343" y="45123"/>
                    </a:lnTo>
                    <a:lnTo>
                      <a:pt x="49053" y="0"/>
                    </a:lnTo>
                    <a:lnTo>
                      <a:pt x="75710" y="45123"/>
                    </a:lnTo>
                    <a:lnTo>
                      <a:pt x="75710" y="244556"/>
                    </a:lnTo>
                    <a:lnTo>
                      <a:pt x="23343" y="244556"/>
                    </a:lnTo>
                    <a:lnTo>
                      <a:pt x="23343" y="221592"/>
                    </a:lnTo>
                    <a:lnTo>
                      <a:pt x="0" y="221592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47" name="Forma livre: Forma 546">
                <a:extLst>
                  <a:ext uri="{FF2B5EF4-FFF2-40B4-BE49-F238E27FC236}">
                    <a16:creationId xmlns:a16="http://schemas.microsoft.com/office/drawing/2014/main" id="{BB855DEE-1FC9-4539-B5ED-2B4D83708B62}"/>
                  </a:ext>
                </a:extLst>
              </p:cNvPr>
              <p:cNvSpPr/>
              <p:nvPr/>
            </p:nvSpPr>
            <p:spPr>
              <a:xfrm>
                <a:off x="6972764" y="1140130"/>
                <a:ext cx="24479" cy="57670"/>
              </a:xfrm>
              <a:custGeom>
                <a:avLst/>
                <a:gdLst>
                  <a:gd name="connsiteX0" fmla="*/ 0 w 24479"/>
                  <a:gd name="connsiteY0" fmla="*/ 0 h 57670"/>
                  <a:gd name="connsiteX1" fmla="*/ 24479 w 24479"/>
                  <a:gd name="connsiteY1" fmla="*/ 0 h 57670"/>
                  <a:gd name="connsiteX2" fmla="*/ 24479 w 24479"/>
                  <a:gd name="connsiteY2" fmla="*/ 57671 h 57670"/>
                  <a:gd name="connsiteX3" fmla="*/ 0 w 24479"/>
                  <a:gd name="connsiteY3" fmla="*/ 57671 h 576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4479" h="57670">
                    <a:moveTo>
                      <a:pt x="0" y="0"/>
                    </a:moveTo>
                    <a:lnTo>
                      <a:pt x="24479" y="0"/>
                    </a:lnTo>
                    <a:lnTo>
                      <a:pt x="24479" y="57671"/>
                    </a:lnTo>
                    <a:lnTo>
                      <a:pt x="0" y="57671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548" name="Gráfico 9">
              <a:extLst>
                <a:ext uri="{FF2B5EF4-FFF2-40B4-BE49-F238E27FC236}">
                  <a16:creationId xmlns:a16="http://schemas.microsoft.com/office/drawing/2014/main" id="{D493A822-8665-0744-3D13-3894FE1F3973}"/>
                </a:ext>
              </a:extLst>
            </p:cNvPr>
            <p:cNvGrpSpPr/>
            <p:nvPr/>
          </p:nvGrpSpPr>
          <p:grpSpPr>
            <a:xfrm>
              <a:off x="6875510" y="1023273"/>
              <a:ext cx="75710" cy="244555"/>
              <a:chOff x="6875510" y="1023273"/>
              <a:chExt cx="75710" cy="244555"/>
            </a:xfrm>
            <a:noFill/>
          </p:grpSpPr>
          <p:sp>
            <p:nvSpPr>
              <p:cNvPr id="549" name="Forma livre: Forma 548">
                <a:extLst>
                  <a:ext uri="{FF2B5EF4-FFF2-40B4-BE49-F238E27FC236}">
                    <a16:creationId xmlns:a16="http://schemas.microsoft.com/office/drawing/2014/main" id="{73BB2B4D-8371-B524-7453-D053989CB0A6}"/>
                  </a:ext>
                </a:extLst>
              </p:cNvPr>
              <p:cNvSpPr/>
              <p:nvPr/>
            </p:nvSpPr>
            <p:spPr>
              <a:xfrm>
                <a:off x="6875510" y="1023273"/>
                <a:ext cx="75710" cy="244555"/>
              </a:xfrm>
              <a:custGeom>
                <a:avLst/>
                <a:gdLst>
                  <a:gd name="connsiteX0" fmla="*/ 0 w 75710"/>
                  <a:gd name="connsiteY0" fmla="*/ 67377 h 244555"/>
                  <a:gd name="connsiteX1" fmla="*/ 23343 w 75710"/>
                  <a:gd name="connsiteY1" fmla="*/ 67377 h 244555"/>
                  <a:gd name="connsiteX2" fmla="*/ 23343 w 75710"/>
                  <a:gd name="connsiteY2" fmla="*/ 45123 h 244555"/>
                  <a:gd name="connsiteX3" fmla="*/ 49053 w 75710"/>
                  <a:gd name="connsiteY3" fmla="*/ 0 h 244555"/>
                  <a:gd name="connsiteX4" fmla="*/ 75710 w 75710"/>
                  <a:gd name="connsiteY4" fmla="*/ 45123 h 244555"/>
                  <a:gd name="connsiteX5" fmla="*/ 75710 w 75710"/>
                  <a:gd name="connsiteY5" fmla="*/ 244556 h 244555"/>
                  <a:gd name="connsiteX6" fmla="*/ 23343 w 75710"/>
                  <a:gd name="connsiteY6" fmla="*/ 244556 h 244555"/>
                  <a:gd name="connsiteX7" fmla="*/ 23343 w 75710"/>
                  <a:gd name="connsiteY7" fmla="*/ 221592 h 244555"/>
                  <a:gd name="connsiteX8" fmla="*/ 0 w 75710"/>
                  <a:gd name="connsiteY8" fmla="*/ 221592 h 2445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75710" h="244555">
                    <a:moveTo>
                      <a:pt x="0" y="67377"/>
                    </a:moveTo>
                    <a:lnTo>
                      <a:pt x="23343" y="67377"/>
                    </a:lnTo>
                    <a:lnTo>
                      <a:pt x="23343" y="45123"/>
                    </a:lnTo>
                    <a:lnTo>
                      <a:pt x="49053" y="0"/>
                    </a:lnTo>
                    <a:lnTo>
                      <a:pt x="75710" y="45123"/>
                    </a:lnTo>
                    <a:lnTo>
                      <a:pt x="75710" y="244556"/>
                    </a:lnTo>
                    <a:lnTo>
                      <a:pt x="23343" y="244556"/>
                    </a:lnTo>
                    <a:lnTo>
                      <a:pt x="23343" y="221592"/>
                    </a:lnTo>
                    <a:lnTo>
                      <a:pt x="0" y="221592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50" name="Forma livre: Forma 549">
                <a:extLst>
                  <a:ext uri="{FF2B5EF4-FFF2-40B4-BE49-F238E27FC236}">
                    <a16:creationId xmlns:a16="http://schemas.microsoft.com/office/drawing/2014/main" id="{488A4170-C1B5-498E-2B15-25CBB032AE74}"/>
                  </a:ext>
                </a:extLst>
              </p:cNvPr>
              <p:cNvSpPr/>
              <p:nvPr/>
            </p:nvSpPr>
            <p:spPr>
              <a:xfrm>
                <a:off x="6875510" y="1140130"/>
                <a:ext cx="24479" cy="57670"/>
              </a:xfrm>
              <a:custGeom>
                <a:avLst/>
                <a:gdLst>
                  <a:gd name="connsiteX0" fmla="*/ 0 w 24479"/>
                  <a:gd name="connsiteY0" fmla="*/ 0 h 57670"/>
                  <a:gd name="connsiteX1" fmla="*/ 24479 w 24479"/>
                  <a:gd name="connsiteY1" fmla="*/ 0 h 57670"/>
                  <a:gd name="connsiteX2" fmla="*/ 24479 w 24479"/>
                  <a:gd name="connsiteY2" fmla="*/ 57671 h 57670"/>
                  <a:gd name="connsiteX3" fmla="*/ 0 w 24479"/>
                  <a:gd name="connsiteY3" fmla="*/ 57671 h 576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4479" h="57670">
                    <a:moveTo>
                      <a:pt x="0" y="0"/>
                    </a:moveTo>
                    <a:lnTo>
                      <a:pt x="24479" y="0"/>
                    </a:lnTo>
                    <a:lnTo>
                      <a:pt x="24479" y="57671"/>
                    </a:lnTo>
                    <a:lnTo>
                      <a:pt x="0" y="57671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551" name="Gráfico 9">
            <a:extLst>
              <a:ext uri="{FF2B5EF4-FFF2-40B4-BE49-F238E27FC236}">
                <a16:creationId xmlns:a16="http://schemas.microsoft.com/office/drawing/2014/main" id="{FE321652-E43F-E83F-C1BF-D69BB37849CB}"/>
              </a:ext>
            </a:extLst>
          </p:cNvPr>
          <p:cNvGrpSpPr/>
          <p:nvPr/>
        </p:nvGrpSpPr>
        <p:grpSpPr>
          <a:xfrm>
            <a:off x="6241748" y="2624321"/>
            <a:ext cx="305777" cy="227747"/>
            <a:chOff x="6241748" y="2624321"/>
            <a:chExt cx="305777" cy="227747"/>
          </a:xfrm>
          <a:noFill/>
        </p:grpSpPr>
        <p:sp>
          <p:nvSpPr>
            <p:cNvPr id="552" name="Forma livre: Forma 551">
              <a:extLst>
                <a:ext uri="{FF2B5EF4-FFF2-40B4-BE49-F238E27FC236}">
                  <a16:creationId xmlns:a16="http://schemas.microsoft.com/office/drawing/2014/main" id="{1EB0C123-C1A4-628D-D712-B15BAAF11861}"/>
                </a:ext>
              </a:extLst>
            </p:cNvPr>
            <p:cNvSpPr/>
            <p:nvPr/>
          </p:nvSpPr>
          <p:spPr>
            <a:xfrm>
              <a:off x="6260261" y="2624321"/>
              <a:ext cx="268750" cy="86695"/>
            </a:xfrm>
            <a:custGeom>
              <a:avLst/>
              <a:gdLst>
                <a:gd name="connsiteX0" fmla="*/ 0 w 268750"/>
                <a:gd name="connsiteY0" fmla="*/ 86695 h 86695"/>
                <a:gd name="connsiteX1" fmla="*/ 0 w 268750"/>
                <a:gd name="connsiteY1" fmla="*/ 33381 h 86695"/>
                <a:gd name="connsiteX2" fmla="*/ 33381 w 268750"/>
                <a:gd name="connsiteY2" fmla="*/ 0 h 86695"/>
                <a:gd name="connsiteX3" fmla="*/ 235370 w 268750"/>
                <a:gd name="connsiteY3" fmla="*/ 0 h 86695"/>
                <a:gd name="connsiteX4" fmla="*/ 268751 w 268750"/>
                <a:gd name="connsiteY4" fmla="*/ 33381 h 86695"/>
                <a:gd name="connsiteX5" fmla="*/ 268751 w 268750"/>
                <a:gd name="connsiteY5" fmla="*/ 86695 h 866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68750" h="86695">
                  <a:moveTo>
                    <a:pt x="0" y="86695"/>
                  </a:moveTo>
                  <a:lnTo>
                    <a:pt x="0" y="33381"/>
                  </a:lnTo>
                  <a:cubicBezTo>
                    <a:pt x="0" y="15009"/>
                    <a:pt x="15010" y="0"/>
                    <a:pt x="33381" y="0"/>
                  </a:cubicBezTo>
                  <a:lnTo>
                    <a:pt x="235370" y="0"/>
                  </a:lnTo>
                  <a:cubicBezTo>
                    <a:pt x="253741" y="0"/>
                    <a:pt x="268751" y="15009"/>
                    <a:pt x="268751" y="33381"/>
                  </a:cubicBezTo>
                  <a:lnTo>
                    <a:pt x="268751" y="86695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553" name="Forma livre: Forma 552">
              <a:extLst>
                <a:ext uri="{FF2B5EF4-FFF2-40B4-BE49-F238E27FC236}">
                  <a16:creationId xmlns:a16="http://schemas.microsoft.com/office/drawing/2014/main" id="{24D1583C-F7C2-BF2D-BB8A-B8E7A4603823}"/>
                </a:ext>
              </a:extLst>
            </p:cNvPr>
            <p:cNvSpPr/>
            <p:nvPr/>
          </p:nvSpPr>
          <p:spPr>
            <a:xfrm>
              <a:off x="6241748" y="2733696"/>
              <a:ext cx="305777" cy="118371"/>
            </a:xfrm>
            <a:custGeom>
              <a:avLst/>
              <a:gdLst>
                <a:gd name="connsiteX0" fmla="*/ 0 w 305777"/>
                <a:gd name="connsiteY0" fmla="*/ 118372 h 118371"/>
                <a:gd name="connsiteX1" fmla="*/ 0 w 305777"/>
                <a:gd name="connsiteY1" fmla="*/ 23864 h 118371"/>
                <a:gd name="connsiteX2" fmla="*/ 23864 w 305777"/>
                <a:gd name="connsiteY2" fmla="*/ 0 h 118371"/>
                <a:gd name="connsiteX3" fmla="*/ 281914 w 305777"/>
                <a:gd name="connsiteY3" fmla="*/ 0 h 118371"/>
                <a:gd name="connsiteX4" fmla="*/ 305777 w 305777"/>
                <a:gd name="connsiteY4" fmla="*/ 23864 h 118371"/>
                <a:gd name="connsiteX5" fmla="*/ 305777 w 305777"/>
                <a:gd name="connsiteY5" fmla="*/ 118372 h 1183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05777" h="118371">
                  <a:moveTo>
                    <a:pt x="0" y="118372"/>
                  </a:moveTo>
                  <a:lnTo>
                    <a:pt x="0" y="23864"/>
                  </a:lnTo>
                  <a:cubicBezTo>
                    <a:pt x="0" y="10748"/>
                    <a:pt x="10748" y="0"/>
                    <a:pt x="23864" y="0"/>
                  </a:cubicBezTo>
                  <a:lnTo>
                    <a:pt x="281914" y="0"/>
                  </a:lnTo>
                  <a:cubicBezTo>
                    <a:pt x="295029" y="0"/>
                    <a:pt x="305777" y="10748"/>
                    <a:pt x="305777" y="23864"/>
                  </a:cubicBezTo>
                  <a:lnTo>
                    <a:pt x="305777" y="118372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554" name="Gráfico 9">
              <a:extLst>
                <a:ext uri="{FF2B5EF4-FFF2-40B4-BE49-F238E27FC236}">
                  <a16:creationId xmlns:a16="http://schemas.microsoft.com/office/drawing/2014/main" id="{2E0B6C77-4B7B-F20D-335B-0ADDF74A8A44}"/>
                </a:ext>
              </a:extLst>
            </p:cNvPr>
            <p:cNvGrpSpPr/>
            <p:nvPr/>
          </p:nvGrpSpPr>
          <p:grpSpPr>
            <a:xfrm>
              <a:off x="6302070" y="2660779"/>
              <a:ext cx="185133" cy="50236"/>
              <a:chOff x="6302070" y="2660779"/>
              <a:chExt cx="185133" cy="50236"/>
            </a:xfrm>
            <a:noFill/>
          </p:grpSpPr>
          <p:sp>
            <p:nvSpPr>
              <p:cNvPr id="555" name="Forma livre: Forma 554">
                <a:extLst>
                  <a:ext uri="{FF2B5EF4-FFF2-40B4-BE49-F238E27FC236}">
                    <a16:creationId xmlns:a16="http://schemas.microsoft.com/office/drawing/2014/main" id="{3D368B14-395C-7082-A4D0-7279BB1F0590}"/>
                  </a:ext>
                </a:extLst>
              </p:cNvPr>
              <p:cNvSpPr/>
              <p:nvPr/>
            </p:nvSpPr>
            <p:spPr>
              <a:xfrm>
                <a:off x="6302070" y="2660779"/>
                <a:ext cx="73153" cy="50236"/>
              </a:xfrm>
              <a:custGeom>
                <a:avLst/>
                <a:gdLst>
                  <a:gd name="connsiteX0" fmla="*/ 0 w 73153"/>
                  <a:gd name="connsiteY0" fmla="*/ 50237 h 50236"/>
                  <a:gd name="connsiteX1" fmla="*/ 0 w 73153"/>
                  <a:gd name="connsiteY1" fmla="*/ 14299 h 50236"/>
                  <a:gd name="connsiteX2" fmla="*/ 14299 w 73153"/>
                  <a:gd name="connsiteY2" fmla="*/ 0 h 50236"/>
                  <a:gd name="connsiteX3" fmla="*/ 58854 w 73153"/>
                  <a:gd name="connsiteY3" fmla="*/ 0 h 50236"/>
                  <a:gd name="connsiteX4" fmla="*/ 73154 w 73153"/>
                  <a:gd name="connsiteY4" fmla="*/ 14299 h 50236"/>
                  <a:gd name="connsiteX5" fmla="*/ 73154 w 73153"/>
                  <a:gd name="connsiteY5" fmla="*/ 50237 h 502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73153" h="50236">
                    <a:moveTo>
                      <a:pt x="0" y="50237"/>
                    </a:moveTo>
                    <a:lnTo>
                      <a:pt x="0" y="14299"/>
                    </a:lnTo>
                    <a:cubicBezTo>
                      <a:pt x="0" y="6439"/>
                      <a:pt x="6439" y="0"/>
                      <a:pt x="14299" y="0"/>
                    </a:cubicBezTo>
                    <a:lnTo>
                      <a:pt x="58854" y="0"/>
                    </a:lnTo>
                    <a:cubicBezTo>
                      <a:pt x="66714" y="0"/>
                      <a:pt x="73154" y="6439"/>
                      <a:pt x="73154" y="14299"/>
                    </a:cubicBezTo>
                    <a:lnTo>
                      <a:pt x="73154" y="50237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56" name="Forma livre: Forma 555">
                <a:extLst>
                  <a:ext uri="{FF2B5EF4-FFF2-40B4-BE49-F238E27FC236}">
                    <a16:creationId xmlns:a16="http://schemas.microsoft.com/office/drawing/2014/main" id="{E8CADBF7-9161-ECE6-C49F-D1BA552CBD0E}"/>
                  </a:ext>
                </a:extLst>
              </p:cNvPr>
              <p:cNvSpPr/>
              <p:nvPr/>
            </p:nvSpPr>
            <p:spPr>
              <a:xfrm>
                <a:off x="6414050" y="2660779"/>
                <a:ext cx="73153" cy="50236"/>
              </a:xfrm>
              <a:custGeom>
                <a:avLst/>
                <a:gdLst>
                  <a:gd name="connsiteX0" fmla="*/ 0 w 73153"/>
                  <a:gd name="connsiteY0" fmla="*/ 50237 h 50236"/>
                  <a:gd name="connsiteX1" fmla="*/ 0 w 73153"/>
                  <a:gd name="connsiteY1" fmla="*/ 14299 h 50236"/>
                  <a:gd name="connsiteX2" fmla="*/ 14299 w 73153"/>
                  <a:gd name="connsiteY2" fmla="*/ 0 h 50236"/>
                  <a:gd name="connsiteX3" fmla="*/ 58854 w 73153"/>
                  <a:gd name="connsiteY3" fmla="*/ 0 h 50236"/>
                  <a:gd name="connsiteX4" fmla="*/ 73154 w 73153"/>
                  <a:gd name="connsiteY4" fmla="*/ 14299 h 50236"/>
                  <a:gd name="connsiteX5" fmla="*/ 73154 w 73153"/>
                  <a:gd name="connsiteY5" fmla="*/ 50237 h 502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73153" h="50236">
                    <a:moveTo>
                      <a:pt x="0" y="50237"/>
                    </a:moveTo>
                    <a:lnTo>
                      <a:pt x="0" y="14299"/>
                    </a:lnTo>
                    <a:cubicBezTo>
                      <a:pt x="0" y="6439"/>
                      <a:pt x="6439" y="0"/>
                      <a:pt x="14299" y="0"/>
                    </a:cubicBezTo>
                    <a:lnTo>
                      <a:pt x="58854" y="0"/>
                    </a:lnTo>
                    <a:cubicBezTo>
                      <a:pt x="66714" y="0"/>
                      <a:pt x="73154" y="6439"/>
                      <a:pt x="73154" y="14299"/>
                    </a:cubicBezTo>
                    <a:lnTo>
                      <a:pt x="73154" y="50237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557" name="Forma livre: Forma 556">
              <a:extLst>
                <a:ext uri="{FF2B5EF4-FFF2-40B4-BE49-F238E27FC236}">
                  <a16:creationId xmlns:a16="http://schemas.microsoft.com/office/drawing/2014/main" id="{343E0EF7-F070-EEA5-2FB4-EBFA5820B03E}"/>
                </a:ext>
              </a:extLst>
            </p:cNvPr>
            <p:cNvSpPr/>
            <p:nvPr/>
          </p:nvSpPr>
          <p:spPr>
            <a:xfrm>
              <a:off x="6243453" y="2813100"/>
              <a:ext cx="302415" cy="4734"/>
            </a:xfrm>
            <a:custGeom>
              <a:avLst/>
              <a:gdLst>
                <a:gd name="connsiteX0" fmla="*/ 0 w 302415"/>
                <a:gd name="connsiteY0" fmla="*/ 0 h 4734"/>
                <a:gd name="connsiteX1" fmla="*/ 302416 w 302415"/>
                <a:gd name="connsiteY1" fmla="*/ 0 h 47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02415" h="4734">
                  <a:moveTo>
                    <a:pt x="0" y="0"/>
                  </a:moveTo>
                  <a:lnTo>
                    <a:pt x="302416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558" name="Gráfico 9">
            <a:extLst>
              <a:ext uri="{FF2B5EF4-FFF2-40B4-BE49-F238E27FC236}">
                <a16:creationId xmlns:a16="http://schemas.microsoft.com/office/drawing/2014/main" id="{99B0EB5D-19B2-6466-DC5D-6AA1FDE95927}"/>
              </a:ext>
            </a:extLst>
          </p:cNvPr>
          <p:cNvGrpSpPr/>
          <p:nvPr/>
        </p:nvGrpSpPr>
        <p:grpSpPr>
          <a:xfrm>
            <a:off x="7468741" y="2577398"/>
            <a:ext cx="319224" cy="296875"/>
            <a:chOff x="7468741" y="2577398"/>
            <a:chExt cx="319224" cy="296875"/>
          </a:xfrm>
          <a:noFill/>
        </p:grpSpPr>
        <p:grpSp>
          <p:nvGrpSpPr>
            <p:cNvPr id="559" name="Gráfico 9">
              <a:extLst>
                <a:ext uri="{FF2B5EF4-FFF2-40B4-BE49-F238E27FC236}">
                  <a16:creationId xmlns:a16="http://schemas.microsoft.com/office/drawing/2014/main" id="{DF80C596-372D-5126-3523-4EEABEF81F32}"/>
                </a:ext>
              </a:extLst>
            </p:cNvPr>
            <p:cNvGrpSpPr/>
            <p:nvPr/>
          </p:nvGrpSpPr>
          <p:grpSpPr>
            <a:xfrm>
              <a:off x="7503779" y="2670675"/>
              <a:ext cx="85227" cy="100237"/>
              <a:chOff x="7503779" y="2670675"/>
              <a:chExt cx="85227" cy="100237"/>
            </a:xfrm>
            <a:noFill/>
          </p:grpSpPr>
          <p:sp>
            <p:nvSpPr>
              <p:cNvPr id="560" name="Forma livre: Forma 559">
                <a:extLst>
                  <a:ext uri="{FF2B5EF4-FFF2-40B4-BE49-F238E27FC236}">
                    <a16:creationId xmlns:a16="http://schemas.microsoft.com/office/drawing/2014/main" id="{7113CCA4-DA3C-6F62-372E-1F860177DA9A}"/>
                  </a:ext>
                </a:extLst>
              </p:cNvPr>
              <p:cNvSpPr/>
              <p:nvPr/>
            </p:nvSpPr>
            <p:spPr>
              <a:xfrm>
                <a:off x="7503779" y="2670675"/>
                <a:ext cx="85227" cy="100237"/>
              </a:xfrm>
              <a:custGeom>
                <a:avLst/>
                <a:gdLst>
                  <a:gd name="connsiteX0" fmla="*/ 42614 w 85227"/>
                  <a:gd name="connsiteY0" fmla="*/ 0 h 100237"/>
                  <a:gd name="connsiteX1" fmla="*/ 0 w 85227"/>
                  <a:gd name="connsiteY1" fmla="*/ 38352 h 100237"/>
                  <a:gd name="connsiteX2" fmla="*/ 0 w 85227"/>
                  <a:gd name="connsiteY2" fmla="*/ 50142 h 100237"/>
                  <a:gd name="connsiteX3" fmla="*/ 42614 w 85227"/>
                  <a:gd name="connsiteY3" fmla="*/ 100237 h 100237"/>
                  <a:gd name="connsiteX4" fmla="*/ 85228 w 85227"/>
                  <a:gd name="connsiteY4" fmla="*/ 50142 h 100237"/>
                  <a:gd name="connsiteX5" fmla="*/ 85228 w 85227"/>
                  <a:gd name="connsiteY5" fmla="*/ 38352 h 100237"/>
                  <a:gd name="connsiteX6" fmla="*/ 42614 w 85227"/>
                  <a:gd name="connsiteY6" fmla="*/ 0 h 1002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85227" h="100237">
                    <a:moveTo>
                      <a:pt x="42614" y="0"/>
                    </a:moveTo>
                    <a:cubicBezTo>
                      <a:pt x="14725" y="0"/>
                      <a:pt x="0" y="17188"/>
                      <a:pt x="0" y="38352"/>
                    </a:cubicBezTo>
                    <a:lnTo>
                      <a:pt x="0" y="50142"/>
                    </a:lnTo>
                    <a:cubicBezTo>
                      <a:pt x="0" y="77841"/>
                      <a:pt x="24242" y="100237"/>
                      <a:pt x="42614" y="100237"/>
                    </a:cubicBezTo>
                    <a:cubicBezTo>
                      <a:pt x="62027" y="100237"/>
                      <a:pt x="85228" y="77794"/>
                      <a:pt x="85228" y="50142"/>
                    </a:cubicBezTo>
                    <a:lnTo>
                      <a:pt x="85228" y="38352"/>
                    </a:lnTo>
                    <a:cubicBezTo>
                      <a:pt x="85228" y="17188"/>
                      <a:pt x="72443" y="0"/>
                      <a:pt x="42614" y="0"/>
                    </a:cubicBezTo>
                    <a:close/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61" name="Forma livre: Forma 560">
                <a:extLst>
                  <a:ext uri="{FF2B5EF4-FFF2-40B4-BE49-F238E27FC236}">
                    <a16:creationId xmlns:a16="http://schemas.microsoft.com/office/drawing/2014/main" id="{A3E0DBC5-1855-8EAB-D4E5-EF6A1D8DC216}"/>
                  </a:ext>
                </a:extLst>
              </p:cNvPr>
              <p:cNvSpPr/>
              <p:nvPr/>
            </p:nvSpPr>
            <p:spPr>
              <a:xfrm>
                <a:off x="7527216" y="2682654"/>
                <a:ext cx="47774" cy="27130"/>
              </a:xfrm>
              <a:custGeom>
                <a:avLst/>
                <a:gdLst>
                  <a:gd name="connsiteX0" fmla="*/ 47775 w 47774"/>
                  <a:gd name="connsiteY0" fmla="*/ 0 h 27130"/>
                  <a:gd name="connsiteX1" fmla="*/ 0 w 47774"/>
                  <a:gd name="connsiteY1" fmla="*/ 27131 h 271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774" h="27130">
                    <a:moveTo>
                      <a:pt x="47775" y="0"/>
                    </a:moveTo>
                    <a:cubicBezTo>
                      <a:pt x="47775" y="0"/>
                      <a:pt x="43040" y="22964"/>
                      <a:pt x="0" y="27131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562" name="Forma livre: Forma 561">
              <a:extLst>
                <a:ext uri="{FF2B5EF4-FFF2-40B4-BE49-F238E27FC236}">
                  <a16:creationId xmlns:a16="http://schemas.microsoft.com/office/drawing/2014/main" id="{B2E7A29C-B7C7-6C60-C12A-B3D832B04482}"/>
                </a:ext>
              </a:extLst>
            </p:cNvPr>
            <p:cNvSpPr/>
            <p:nvPr/>
          </p:nvSpPr>
          <p:spPr>
            <a:xfrm>
              <a:off x="7546392" y="2797048"/>
              <a:ext cx="4734" cy="77225"/>
            </a:xfrm>
            <a:custGeom>
              <a:avLst/>
              <a:gdLst>
                <a:gd name="connsiteX0" fmla="*/ 0 w 4734"/>
                <a:gd name="connsiteY0" fmla="*/ 0 h 77225"/>
                <a:gd name="connsiteX1" fmla="*/ 0 w 4734"/>
                <a:gd name="connsiteY1" fmla="*/ 77226 h 772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734" h="77225">
                  <a:moveTo>
                    <a:pt x="0" y="0"/>
                  </a:moveTo>
                  <a:lnTo>
                    <a:pt x="0" y="77226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563" name="Forma livre: Forma 562">
              <a:extLst>
                <a:ext uri="{FF2B5EF4-FFF2-40B4-BE49-F238E27FC236}">
                  <a16:creationId xmlns:a16="http://schemas.microsoft.com/office/drawing/2014/main" id="{4A733E58-25D9-DC7B-E955-0C32E969713B}"/>
                </a:ext>
              </a:extLst>
            </p:cNvPr>
            <p:cNvSpPr/>
            <p:nvPr/>
          </p:nvSpPr>
          <p:spPr>
            <a:xfrm>
              <a:off x="7626080" y="2577398"/>
              <a:ext cx="161884" cy="176373"/>
            </a:xfrm>
            <a:custGeom>
              <a:avLst/>
              <a:gdLst>
                <a:gd name="connsiteX0" fmla="*/ 91051 w 161884"/>
                <a:gd name="connsiteY0" fmla="*/ 139347 h 176373"/>
                <a:gd name="connsiteX1" fmla="*/ 128741 w 161884"/>
                <a:gd name="connsiteY1" fmla="*/ 139347 h 176373"/>
                <a:gd name="connsiteX2" fmla="*/ 161885 w 161884"/>
                <a:gd name="connsiteY2" fmla="*/ 106203 h 176373"/>
                <a:gd name="connsiteX3" fmla="*/ 161885 w 161884"/>
                <a:gd name="connsiteY3" fmla="*/ 33144 h 176373"/>
                <a:gd name="connsiteX4" fmla="*/ 128741 w 161884"/>
                <a:gd name="connsiteY4" fmla="*/ 0 h 176373"/>
                <a:gd name="connsiteX5" fmla="*/ 33144 w 161884"/>
                <a:gd name="connsiteY5" fmla="*/ 0 h 176373"/>
                <a:gd name="connsiteX6" fmla="*/ 0 w 161884"/>
                <a:gd name="connsiteY6" fmla="*/ 33144 h 176373"/>
                <a:gd name="connsiteX7" fmla="*/ 0 w 161884"/>
                <a:gd name="connsiteY7" fmla="*/ 106203 h 176373"/>
                <a:gd name="connsiteX8" fmla="*/ 33144 w 161884"/>
                <a:gd name="connsiteY8" fmla="*/ 139347 h 176373"/>
                <a:gd name="connsiteX9" fmla="*/ 61648 w 161884"/>
                <a:gd name="connsiteY9" fmla="*/ 139347 h 176373"/>
                <a:gd name="connsiteX10" fmla="*/ 20786 w 161884"/>
                <a:gd name="connsiteY10" fmla="*/ 176374 h 1763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61884" h="176373">
                  <a:moveTo>
                    <a:pt x="91051" y="139347"/>
                  </a:moveTo>
                  <a:lnTo>
                    <a:pt x="128741" y="139347"/>
                  </a:lnTo>
                  <a:cubicBezTo>
                    <a:pt x="146970" y="139347"/>
                    <a:pt x="161885" y="124432"/>
                    <a:pt x="161885" y="106203"/>
                  </a:cubicBezTo>
                  <a:lnTo>
                    <a:pt x="161885" y="33144"/>
                  </a:lnTo>
                  <a:cubicBezTo>
                    <a:pt x="161885" y="14915"/>
                    <a:pt x="146970" y="0"/>
                    <a:pt x="128741" y="0"/>
                  </a:cubicBezTo>
                  <a:lnTo>
                    <a:pt x="33144" y="0"/>
                  </a:lnTo>
                  <a:cubicBezTo>
                    <a:pt x="14915" y="0"/>
                    <a:pt x="0" y="14915"/>
                    <a:pt x="0" y="33144"/>
                  </a:cubicBezTo>
                  <a:lnTo>
                    <a:pt x="0" y="106203"/>
                  </a:lnTo>
                  <a:cubicBezTo>
                    <a:pt x="0" y="124432"/>
                    <a:pt x="14915" y="139347"/>
                    <a:pt x="33144" y="139347"/>
                  </a:cubicBezTo>
                  <a:lnTo>
                    <a:pt x="61648" y="139347"/>
                  </a:lnTo>
                  <a:lnTo>
                    <a:pt x="20786" y="176374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564" name="Gráfico 9">
              <a:extLst>
                <a:ext uri="{FF2B5EF4-FFF2-40B4-BE49-F238E27FC236}">
                  <a16:creationId xmlns:a16="http://schemas.microsoft.com/office/drawing/2014/main" id="{263DA280-F03E-710F-D4EC-74E9A5180E5C}"/>
                </a:ext>
              </a:extLst>
            </p:cNvPr>
            <p:cNvGrpSpPr/>
            <p:nvPr/>
          </p:nvGrpSpPr>
          <p:grpSpPr>
            <a:xfrm>
              <a:off x="7658798" y="2603250"/>
              <a:ext cx="96449" cy="81818"/>
              <a:chOff x="7658798" y="2603250"/>
              <a:chExt cx="96449" cy="81818"/>
            </a:xfrm>
            <a:noFill/>
          </p:grpSpPr>
          <p:grpSp>
            <p:nvGrpSpPr>
              <p:cNvPr id="565" name="Gráfico 9">
                <a:extLst>
                  <a:ext uri="{FF2B5EF4-FFF2-40B4-BE49-F238E27FC236}">
                    <a16:creationId xmlns:a16="http://schemas.microsoft.com/office/drawing/2014/main" id="{BBC783A4-1CFE-668F-808A-75243D6D259B}"/>
                  </a:ext>
                </a:extLst>
              </p:cNvPr>
              <p:cNvGrpSpPr/>
              <p:nvPr/>
            </p:nvGrpSpPr>
            <p:grpSpPr>
              <a:xfrm>
                <a:off x="7658798" y="2603250"/>
                <a:ext cx="96449" cy="81818"/>
                <a:chOff x="7658798" y="2603250"/>
                <a:chExt cx="96449" cy="81818"/>
              </a:xfrm>
              <a:noFill/>
            </p:grpSpPr>
            <p:sp>
              <p:nvSpPr>
                <p:cNvPr id="566" name="Forma livre: Forma 565">
                  <a:extLst>
                    <a:ext uri="{FF2B5EF4-FFF2-40B4-BE49-F238E27FC236}">
                      <a16:creationId xmlns:a16="http://schemas.microsoft.com/office/drawing/2014/main" id="{69C93EC4-E24B-C9F3-CB08-AF0434A0D3AD}"/>
                    </a:ext>
                  </a:extLst>
                </p:cNvPr>
                <p:cNvSpPr/>
                <p:nvPr/>
              </p:nvSpPr>
              <p:spPr>
                <a:xfrm>
                  <a:off x="7658798" y="2603250"/>
                  <a:ext cx="96449" cy="41950"/>
                </a:xfrm>
                <a:custGeom>
                  <a:avLst/>
                  <a:gdLst>
                    <a:gd name="connsiteX0" fmla="*/ 0 w 96449"/>
                    <a:gd name="connsiteY0" fmla="*/ 41951 h 41950"/>
                    <a:gd name="connsiteX1" fmla="*/ 48106 w 96449"/>
                    <a:gd name="connsiteY1" fmla="*/ 0 h 41950"/>
                    <a:gd name="connsiteX2" fmla="*/ 96449 w 96449"/>
                    <a:gd name="connsiteY2" fmla="*/ 41951 h 419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96449" h="41950">
                      <a:moveTo>
                        <a:pt x="0" y="41951"/>
                      </a:moveTo>
                      <a:lnTo>
                        <a:pt x="48106" y="0"/>
                      </a:lnTo>
                      <a:lnTo>
                        <a:pt x="96449" y="41951"/>
                      </a:ln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567" name="Forma livre: Forma 566">
                  <a:extLst>
                    <a:ext uri="{FF2B5EF4-FFF2-40B4-BE49-F238E27FC236}">
                      <a16:creationId xmlns:a16="http://schemas.microsoft.com/office/drawing/2014/main" id="{9E45E3FD-425A-86F7-1F6A-3B02F7823CBA}"/>
                    </a:ext>
                  </a:extLst>
                </p:cNvPr>
                <p:cNvSpPr/>
                <p:nvPr/>
              </p:nvSpPr>
              <p:spPr>
                <a:xfrm>
                  <a:off x="7673239" y="2633696"/>
                  <a:ext cx="67566" cy="51373"/>
                </a:xfrm>
                <a:custGeom>
                  <a:avLst/>
                  <a:gdLst>
                    <a:gd name="connsiteX0" fmla="*/ 67567 w 67566"/>
                    <a:gd name="connsiteY0" fmla="*/ 474 h 51373"/>
                    <a:gd name="connsiteX1" fmla="*/ 67567 w 67566"/>
                    <a:gd name="connsiteY1" fmla="*/ 51373 h 51373"/>
                    <a:gd name="connsiteX2" fmla="*/ 0 w 67566"/>
                    <a:gd name="connsiteY2" fmla="*/ 51373 h 51373"/>
                    <a:gd name="connsiteX3" fmla="*/ 0 w 67566"/>
                    <a:gd name="connsiteY3" fmla="*/ 0 h 5137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67566" h="51373">
                      <a:moveTo>
                        <a:pt x="67567" y="474"/>
                      </a:moveTo>
                      <a:lnTo>
                        <a:pt x="67567" y="51373"/>
                      </a:lnTo>
                      <a:lnTo>
                        <a:pt x="0" y="51373"/>
                      </a:lnTo>
                      <a:lnTo>
                        <a:pt x="0" y="0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568" name="Forma livre: Forma 567">
                <a:extLst>
                  <a:ext uri="{FF2B5EF4-FFF2-40B4-BE49-F238E27FC236}">
                    <a16:creationId xmlns:a16="http://schemas.microsoft.com/office/drawing/2014/main" id="{5B4BB6CD-C406-E541-E784-CC31AA0D9F01}"/>
                  </a:ext>
                </a:extLst>
              </p:cNvPr>
              <p:cNvSpPr/>
              <p:nvPr/>
            </p:nvSpPr>
            <p:spPr>
              <a:xfrm>
                <a:off x="7707046" y="2660968"/>
                <a:ext cx="4734" cy="23816"/>
              </a:xfrm>
              <a:custGeom>
                <a:avLst/>
                <a:gdLst>
                  <a:gd name="connsiteX0" fmla="*/ 0 w 4734"/>
                  <a:gd name="connsiteY0" fmla="*/ 23816 h 23816"/>
                  <a:gd name="connsiteX1" fmla="*/ 0 w 4734"/>
                  <a:gd name="connsiteY1" fmla="*/ 0 h 238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34" h="23816">
                    <a:moveTo>
                      <a:pt x="0" y="23816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569" name="Gráfico 9">
              <a:extLst>
                <a:ext uri="{FF2B5EF4-FFF2-40B4-BE49-F238E27FC236}">
                  <a16:creationId xmlns:a16="http://schemas.microsoft.com/office/drawing/2014/main" id="{491F14DD-79A0-9B95-DF31-7A0E2FDE470D}"/>
                </a:ext>
              </a:extLst>
            </p:cNvPr>
            <p:cNvGrpSpPr/>
            <p:nvPr/>
          </p:nvGrpSpPr>
          <p:grpSpPr>
            <a:xfrm>
              <a:off x="7468741" y="2790940"/>
              <a:ext cx="155256" cy="83333"/>
              <a:chOff x="7468741" y="2790940"/>
              <a:chExt cx="155256" cy="83333"/>
            </a:xfrm>
            <a:noFill/>
          </p:grpSpPr>
          <p:sp>
            <p:nvSpPr>
              <p:cNvPr id="570" name="Forma livre: Forma 569">
                <a:extLst>
                  <a:ext uri="{FF2B5EF4-FFF2-40B4-BE49-F238E27FC236}">
                    <a16:creationId xmlns:a16="http://schemas.microsoft.com/office/drawing/2014/main" id="{C7F55556-F977-F18D-576C-8E90E9621F33}"/>
                  </a:ext>
                </a:extLst>
              </p:cNvPr>
              <p:cNvSpPr/>
              <p:nvPr/>
            </p:nvSpPr>
            <p:spPr>
              <a:xfrm>
                <a:off x="7468741" y="2790940"/>
                <a:ext cx="50615" cy="83333"/>
              </a:xfrm>
              <a:custGeom>
                <a:avLst/>
                <a:gdLst>
                  <a:gd name="connsiteX0" fmla="*/ 50616 w 50615"/>
                  <a:gd name="connsiteY0" fmla="*/ 83334 h 83333"/>
                  <a:gd name="connsiteX1" fmla="*/ 43229 w 50615"/>
                  <a:gd name="connsiteY1" fmla="*/ 0 h 83333"/>
                  <a:gd name="connsiteX2" fmla="*/ 28693 w 50615"/>
                  <a:gd name="connsiteY2" fmla="*/ 4403 h 83333"/>
                  <a:gd name="connsiteX3" fmla="*/ 0 w 50615"/>
                  <a:gd name="connsiteY3" fmla="*/ 35275 h 83333"/>
                  <a:gd name="connsiteX4" fmla="*/ 0 w 50615"/>
                  <a:gd name="connsiteY4" fmla="*/ 83334 h 833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0615" h="83333">
                    <a:moveTo>
                      <a:pt x="50616" y="83334"/>
                    </a:moveTo>
                    <a:lnTo>
                      <a:pt x="43229" y="0"/>
                    </a:lnTo>
                    <a:lnTo>
                      <a:pt x="28693" y="4403"/>
                    </a:lnTo>
                    <a:cubicBezTo>
                      <a:pt x="28693" y="4403"/>
                      <a:pt x="0" y="11600"/>
                      <a:pt x="0" y="35275"/>
                    </a:cubicBezTo>
                    <a:lnTo>
                      <a:pt x="0" y="83334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71" name="Forma livre: Forma 570">
                <a:extLst>
                  <a:ext uri="{FF2B5EF4-FFF2-40B4-BE49-F238E27FC236}">
                    <a16:creationId xmlns:a16="http://schemas.microsoft.com/office/drawing/2014/main" id="{FC95EDCB-B871-616B-4543-94A605DA82D4}"/>
                  </a:ext>
                </a:extLst>
              </p:cNvPr>
              <p:cNvSpPr/>
              <p:nvPr/>
            </p:nvSpPr>
            <p:spPr>
              <a:xfrm>
                <a:off x="7573381" y="2790940"/>
                <a:ext cx="50615" cy="83333"/>
              </a:xfrm>
              <a:custGeom>
                <a:avLst/>
                <a:gdLst>
                  <a:gd name="connsiteX0" fmla="*/ 0 w 50615"/>
                  <a:gd name="connsiteY0" fmla="*/ 83334 h 83333"/>
                  <a:gd name="connsiteX1" fmla="*/ 7386 w 50615"/>
                  <a:gd name="connsiteY1" fmla="*/ 0 h 83333"/>
                  <a:gd name="connsiteX2" fmla="*/ 21922 w 50615"/>
                  <a:gd name="connsiteY2" fmla="*/ 4403 h 83333"/>
                  <a:gd name="connsiteX3" fmla="*/ 50616 w 50615"/>
                  <a:gd name="connsiteY3" fmla="*/ 35275 h 83333"/>
                  <a:gd name="connsiteX4" fmla="*/ 50616 w 50615"/>
                  <a:gd name="connsiteY4" fmla="*/ 83334 h 833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0615" h="83333">
                    <a:moveTo>
                      <a:pt x="0" y="83334"/>
                    </a:moveTo>
                    <a:lnTo>
                      <a:pt x="7386" y="0"/>
                    </a:lnTo>
                    <a:lnTo>
                      <a:pt x="21922" y="4403"/>
                    </a:lnTo>
                    <a:cubicBezTo>
                      <a:pt x="21922" y="4403"/>
                      <a:pt x="50616" y="11600"/>
                      <a:pt x="50616" y="35275"/>
                    </a:cubicBezTo>
                    <a:lnTo>
                      <a:pt x="50616" y="83334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572" name="Gráfico 9">
            <a:extLst>
              <a:ext uri="{FF2B5EF4-FFF2-40B4-BE49-F238E27FC236}">
                <a16:creationId xmlns:a16="http://schemas.microsoft.com/office/drawing/2014/main" id="{18AB358A-0E3C-87F9-03E5-B22C1E738A37}"/>
              </a:ext>
            </a:extLst>
          </p:cNvPr>
          <p:cNvGrpSpPr/>
          <p:nvPr/>
        </p:nvGrpSpPr>
        <p:grpSpPr>
          <a:xfrm>
            <a:off x="6892934" y="2579197"/>
            <a:ext cx="235417" cy="307766"/>
            <a:chOff x="6892934" y="2579197"/>
            <a:chExt cx="235417" cy="307766"/>
          </a:xfrm>
          <a:noFill/>
        </p:grpSpPr>
        <p:sp>
          <p:nvSpPr>
            <p:cNvPr id="573" name="Forma livre: Forma 572">
              <a:extLst>
                <a:ext uri="{FF2B5EF4-FFF2-40B4-BE49-F238E27FC236}">
                  <a16:creationId xmlns:a16="http://schemas.microsoft.com/office/drawing/2014/main" id="{237D6FF5-361E-A704-B88C-E1B20B06133B}"/>
                </a:ext>
              </a:extLst>
            </p:cNvPr>
            <p:cNvSpPr/>
            <p:nvPr/>
          </p:nvSpPr>
          <p:spPr>
            <a:xfrm>
              <a:off x="6892934" y="2638194"/>
              <a:ext cx="235417" cy="248769"/>
            </a:xfrm>
            <a:custGeom>
              <a:avLst/>
              <a:gdLst>
                <a:gd name="connsiteX0" fmla="*/ 188069 w 235417"/>
                <a:gd name="connsiteY0" fmla="*/ 0 h 248769"/>
                <a:gd name="connsiteX1" fmla="*/ 235417 w 235417"/>
                <a:gd name="connsiteY1" fmla="*/ 47349 h 248769"/>
                <a:gd name="connsiteX2" fmla="*/ 235417 w 235417"/>
                <a:gd name="connsiteY2" fmla="*/ 201421 h 248769"/>
                <a:gd name="connsiteX3" fmla="*/ 188069 w 235417"/>
                <a:gd name="connsiteY3" fmla="*/ 248770 h 248769"/>
                <a:gd name="connsiteX4" fmla="*/ 47349 w 235417"/>
                <a:gd name="connsiteY4" fmla="*/ 248770 h 248769"/>
                <a:gd name="connsiteX5" fmla="*/ 0 w 235417"/>
                <a:gd name="connsiteY5" fmla="*/ 201421 h 248769"/>
                <a:gd name="connsiteX6" fmla="*/ 0 w 235417"/>
                <a:gd name="connsiteY6" fmla="*/ 47349 h 248769"/>
                <a:gd name="connsiteX7" fmla="*/ 47349 w 235417"/>
                <a:gd name="connsiteY7" fmla="*/ 0 h 2487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35417" h="248769">
                  <a:moveTo>
                    <a:pt x="188069" y="0"/>
                  </a:moveTo>
                  <a:cubicBezTo>
                    <a:pt x="214219" y="0"/>
                    <a:pt x="235417" y="21199"/>
                    <a:pt x="235417" y="47349"/>
                  </a:cubicBezTo>
                  <a:lnTo>
                    <a:pt x="235417" y="201421"/>
                  </a:lnTo>
                  <a:cubicBezTo>
                    <a:pt x="235417" y="227571"/>
                    <a:pt x="214219" y="248770"/>
                    <a:pt x="188069" y="248770"/>
                  </a:cubicBezTo>
                  <a:lnTo>
                    <a:pt x="47349" y="248770"/>
                  </a:lnTo>
                  <a:cubicBezTo>
                    <a:pt x="21199" y="248770"/>
                    <a:pt x="0" y="227571"/>
                    <a:pt x="0" y="201421"/>
                  </a:cubicBezTo>
                  <a:lnTo>
                    <a:pt x="0" y="47349"/>
                  </a:lnTo>
                  <a:cubicBezTo>
                    <a:pt x="0" y="21199"/>
                    <a:pt x="21199" y="0"/>
                    <a:pt x="47349" y="0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574" name="Gráfico 9">
              <a:extLst>
                <a:ext uri="{FF2B5EF4-FFF2-40B4-BE49-F238E27FC236}">
                  <a16:creationId xmlns:a16="http://schemas.microsoft.com/office/drawing/2014/main" id="{12930AD7-EC7E-5177-D48B-7A7D0B399F6E}"/>
                </a:ext>
              </a:extLst>
            </p:cNvPr>
            <p:cNvGrpSpPr/>
            <p:nvPr/>
          </p:nvGrpSpPr>
          <p:grpSpPr>
            <a:xfrm>
              <a:off x="6939288" y="2579197"/>
              <a:ext cx="142661" cy="26089"/>
              <a:chOff x="6939288" y="2579197"/>
              <a:chExt cx="142661" cy="26089"/>
            </a:xfrm>
          </p:grpSpPr>
          <p:grpSp>
            <p:nvGrpSpPr>
              <p:cNvPr id="575" name="Gráfico 9">
                <a:extLst>
                  <a:ext uri="{FF2B5EF4-FFF2-40B4-BE49-F238E27FC236}">
                    <a16:creationId xmlns:a16="http://schemas.microsoft.com/office/drawing/2014/main" id="{5FE4359F-D262-CF52-D0A3-B233B8EF4B9F}"/>
                  </a:ext>
                </a:extLst>
              </p:cNvPr>
              <p:cNvGrpSpPr/>
              <p:nvPr/>
            </p:nvGrpSpPr>
            <p:grpSpPr>
              <a:xfrm>
                <a:off x="6939288" y="2579197"/>
                <a:ext cx="59280" cy="26089"/>
                <a:chOff x="6939288" y="2579197"/>
                <a:chExt cx="59280" cy="26089"/>
              </a:xfrm>
            </p:grpSpPr>
            <p:sp>
              <p:nvSpPr>
                <p:cNvPr id="576" name="Forma livre: Forma 575">
                  <a:extLst>
                    <a:ext uri="{FF2B5EF4-FFF2-40B4-BE49-F238E27FC236}">
                      <a16:creationId xmlns:a16="http://schemas.microsoft.com/office/drawing/2014/main" id="{BCF822DD-6572-A1F9-66C2-D6E629D62076}"/>
                    </a:ext>
                  </a:extLst>
                </p:cNvPr>
                <p:cNvSpPr/>
                <p:nvPr/>
              </p:nvSpPr>
              <p:spPr>
                <a:xfrm>
                  <a:off x="6939288" y="2579197"/>
                  <a:ext cx="29592" cy="26089"/>
                </a:xfrm>
                <a:custGeom>
                  <a:avLst/>
                  <a:gdLst>
                    <a:gd name="connsiteX0" fmla="*/ 0 w 29592"/>
                    <a:gd name="connsiteY0" fmla="*/ 26089 h 26089"/>
                    <a:gd name="connsiteX1" fmla="*/ 29593 w 29592"/>
                    <a:gd name="connsiteY1" fmla="*/ 0 h 2608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9592" h="26089">
                      <a:moveTo>
                        <a:pt x="0" y="26089"/>
                      </a:moveTo>
                      <a:lnTo>
                        <a:pt x="29593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577" name="Forma livre: Forma 576">
                  <a:extLst>
                    <a:ext uri="{FF2B5EF4-FFF2-40B4-BE49-F238E27FC236}">
                      <a16:creationId xmlns:a16="http://schemas.microsoft.com/office/drawing/2014/main" id="{7CBC29C7-443E-A482-6E94-FD6610409EE1}"/>
                    </a:ext>
                  </a:extLst>
                </p:cNvPr>
                <p:cNvSpPr/>
                <p:nvPr/>
              </p:nvSpPr>
              <p:spPr>
                <a:xfrm>
                  <a:off x="6939288" y="2579197"/>
                  <a:ext cx="29592" cy="26089"/>
                </a:xfrm>
                <a:custGeom>
                  <a:avLst/>
                  <a:gdLst>
                    <a:gd name="connsiteX0" fmla="*/ 0 w 29592"/>
                    <a:gd name="connsiteY0" fmla="*/ 26089 h 26089"/>
                    <a:gd name="connsiteX1" fmla="*/ 29593 w 29592"/>
                    <a:gd name="connsiteY1" fmla="*/ 0 h 2608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9592" h="26089">
                      <a:moveTo>
                        <a:pt x="0" y="26089"/>
                      </a:moveTo>
                      <a:lnTo>
                        <a:pt x="29593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578" name="Forma livre: Forma 577">
                  <a:extLst>
                    <a:ext uri="{FF2B5EF4-FFF2-40B4-BE49-F238E27FC236}">
                      <a16:creationId xmlns:a16="http://schemas.microsoft.com/office/drawing/2014/main" id="{FEC16E97-A9EB-5C93-1C58-FD716B32D1DB}"/>
                    </a:ext>
                  </a:extLst>
                </p:cNvPr>
                <p:cNvSpPr/>
                <p:nvPr/>
              </p:nvSpPr>
              <p:spPr>
                <a:xfrm>
                  <a:off x="6968976" y="2579197"/>
                  <a:ext cx="29592" cy="26089"/>
                </a:xfrm>
                <a:custGeom>
                  <a:avLst/>
                  <a:gdLst>
                    <a:gd name="connsiteX0" fmla="*/ 29593 w 29592"/>
                    <a:gd name="connsiteY0" fmla="*/ 26089 h 26089"/>
                    <a:gd name="connsiteX1" fmla="*/ 0 w 29592"/>
                    <a:gd name="connsiteY1" fmla="*/ 0 h 2608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9592" h="26089">
                      <a:moveTo>
                        <a:pt x="29593" y="26089"/>
                      </a:moveTo>
                      <a:lnTo>
                        <a:pt x="0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579" name="Forma livre: Forma 578">
                  <a:extLst>
                    <a:ext uri="{FF2B5EF4-FFF2-40B4-BE49-F238E27FC236}">
                      <a16:creationId xmlns:a16="http://schemas.microsoft.com/office/drawing/2014/main" id="{F33FBB08-347F-8ECA-ED5C-96E486F926FC}"/>
                    </a:ext>
                  </a:extLst>
                </p:cNvPr>
                <p:cNvSpPr/>
                <p:nvPr/>
              </p:nvSpPr>
              <p:spPr>
                <a:xfrm>
                  <a:off x="6968976" y="2579197"/>
                  <a:ext cx="29592" cy="26089"/>
                </a:xfrm>
                <a:custGeom>
                  <a:avLst/>
                  <a:gdLst>
                    <a:gd name="connsiteX0" fmla="*/ 29593 w 29592"/>
                    <a:gd name="connsiteY0" fmla="*/ 26089 h 26089"/>
                    <a:gd name="connsiteX1" fmla="*/ 0 w 29592"/>
                    <a:gd name="connsiteY1" fmla="*/ 0 h 2608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9592" h="26089">
                      <a:moveTo>
                        <a:pt x="29593" y="26089"/>
                      </a:moveTo>
                      <a:lnTo>
                        <a:pt x="0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580" name="Gráfico 9">
                <a:extLst>
                  <a:ext uri="{FF2B5EF4-FFF2-40B4-BE49-F238E27FC236}">
                    <a16:creationId xmlns:a16="http://schemas.microsoft.com/office/drawing/2014/main" id="{69536363-9023-ED0E-A96B-83C11FD9838A}"/>
                  </a:ext>
                </a:extLst>
              </p:cNvPr>
              <p:cNvGrpSpPr/>
              <p:nvPr/>
            </p:nvGrpSpPr>
            <p:grpSpPr>
              <a:xfrm>
                <a:off x="7022669" y="2579197"/>
                <a:ext cx="59280" cy="26089"/>
                <a:chOff x="7022669" y="2579197"/>
                <a:chExt cx="59280" cy="26089"/>
              </a:xfrm>
            </p:grpSpPr>
            <p:sp>
              <p:nvSpPr>
                <p:cNvPr id="581" name="Forma livre: Forma 580">
                  <a:extLst>
                    <a:ext uri="{FF2B5EF4-FFF2-40B4-BE49-F238E27FC236}">
                      <a16:creationId xmlns:a16="http://schemas.microsoft.com/office/drawing/2014/main" id="{8CD86D7D-701C-81F2-38E9-324A185F906C}"/>
                    </a:ext>
                  </a:extLst>
                </p:cNvPr>
                <p:cNvSpPr/>
                <p:nvPr/>
              </p:nvSpPr>
              <p:spPr>
                <a:xfrm>
                  <a:off x="7052357" y="2579197"/>
                  <a:ext cx="29592" cy="26089"/>
                </a:xfrm>
                <a:custGeom>
                  <a:avLst/>
                  <a:gdLst>
                    <a:gd name="connsiteX0" fmla="*/ 29593 w 29592"/>
                    <a:gd name="connsiteY0" fmla="*/ 0 h 26089"/>
                    <a:gd name="connsiteX1" fmla="*/ 0 w 29592"/>
                    <a:gd name="connsiteY1" fmla="*/ 26089 h 2608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9592" h="26089">
                      <a:moveTo>
                        <a:pt x="29593" y="0"/>
                      </a:moveTo>
                      <a:lnTo>
                        <a:pt x="0" y="26089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582" name="Forma livre: Forma 581">
                  <a:extLst>
                    <a:ext uri="{FF2B5EF4-FFF2-40B4-BE49-F238E27FC236}">
                      <a16:creationId xmlns:a16="http://schemas.microsoft.com/office/drawing/2014/main" id="{909A5989-0078-1B67-AE12-63FB792D27A4}"/>
                    </a:ext>
                  </a:extLst>
                </p:cNvPr>
                <p:cNvSpPr/>
                <p:nvPr/>
              </p:nvSpPr>
              <p:spPr>
                <a:xfrm>
                  <a:off x="7052357" y="2579197"/>
                  <a:ext cx="29592" cy="26089"/>
                </a:xfrm>
                <a:custGeom>
                  <a:avLst/>
                  <a:gdLst>
                    <a:gd name="connsiteX0" fmla="*/ 29593 w 29592"/>
                    <a:gd name="connsiteY0" fmla="*/ 0 h 26089"/>
                    <a:gd name="connsiteX1" fmla="*/ 0 w 29592"/>
                    <a:gd name="connsiteY1" fmla="*/ 26089 h 2608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9592" h="26089">
                      <a:moveTo>
                        <a:pt x="29593" y="0"/>
                      </a:moveTo>
                      <a:lnTo>
                        <a:pt x="0" y="26089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583" name="Forma livre: Forma 582">
                  <a:extLst>
                    <a:ext uri="{FF2B5EF4-FFF2-40B4-BE49-F238E27FC236}">
                      <a16:creationId xmlns:a16="http://schemas.microsoft.com/office/drawing/2014/main" id="{D714689F-0EEB-A55D-417C-64F20DAFB89C}"/>
                    </a:ext>
                  </a:extLst>
                </p:cNvPr>
                <p:cNvSpPr/>
                <p:nvPr/>
              </p:nvSpPr>
              <p:spPr>
                <a:xfrm>
                  <a:off x="7022669" y="2579197"/>
                  <a:ext cx="29592" cy="26089"/>
                </a:xfrm>
                <a:custGeom>
                  <a:avLst/>
                  <a:gdLst>
                    <a:gd name="connsiteX0" fmla="*/ 0 w 29592"/>
                    <a:gd name="connsiteY0" fmla="*/ 0 h 26089"/>
                    <a:gd name="connsiteX1" fmla="*/ 29593 w 29592"/>
                    <a:gd name="connsiteY1" fmla="*/ 26089 h 2608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9592" h="26089">
                      <a:moveTo>
                        <a:pt x="0" y="0"/>
                      </a:moveTo>
                      <a:lnTo>
                        <a:pt x="29593" y="26089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584" name="Forma livre: Forma 583">
                  <a:extLst>
                    <a:ext uri="{FF2B5EF4-FFF2-40B4-BE49-F238E27FC236}">
                      <a16:creationId xmlns:a16="http://schemas.microsoft.com/office/drawing/2014/main" id="{310632B4-E9D1-A230-2C77-A83489575449}"/>
                    </a:ext>
                  </a:extLst>
                </p:cNvPr>
                <p:cNvSpPr/>
                <p:nvPr/>
              </p:nvSpPr>
              <p:spPr>
                <a:xfrm>
                  <a:off x="7022669" y="2579197"/>
                  <a:ext cx="29592" cy="26089"/>
                </a:xfrm>
                <a:custGeom>
                  <a:avLst/>
                  <a:gdLst>
                    <a:gd name="connsiteX0" fmla="*/ 0 w 29592"/>
                    <a:gd name="connsiteY0" fmla="*/ 0 h 26089"/>
                    <a:gd name="connsiteX1" fmla="*/ 29593 w 29592"/>
                    <a:gd name="connsiteY1" fmla="*/ 26089 h 2608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9592" h="26089">
                      <a:moveTo>
                        <a:pt x="0" y="0"/>
                      </a:moveTo>
                      <a:lnTo>
                        <a:pt x="29593" y="26089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grpSp>
          <p:nvGrpSpPr>
            <p:cNvPr id="585" name="Gráfico 9">
              <a:extLst>
                <a:ext uri="{FF2B5EF4-FFF2-40B4-BE49-F238E27FC236}">
                  <a16:creationId xmlns:a16="http://schemas.microsoft.com/office/drawing/2014/main" id="{C510FA52-E746-268D-A991-BDCAD595F9BF}"/>
                </a:ext>
              </a:extLst>
            </p:cNvPr>
            <p:cNvGrpSpPr/>
            <p:nvPr/>
          </p:nvGrpSpPr>
          <p:grpSpPr>
            <a:xfrm>
              <a:off x="6926315" y="2672427"/>
              <a:ext cx="63778" cy="187831"/>
              <a:chOff x="6926315" y="2672427"/>
              <a:chExt cx="63778" cy="187831"/>
            </a:xfrm>
            <a:noFill/>
          </p:grpSpPr>
          <p:sp>
            <p:nvSpPr>
              <p:cNvPr id="586" name="Forma livre: Forma 585">
                <a:extLst>
                  <a:ext uri="{FF2B5EF4-FFF2-40B4-BE49-F238E27FC236}">
                    <a16:creationId xmlns:a16="http://schemas.microsoft.com/office/drawing/2014/main" id="{1AED8BC6-58ED-2C27-67E3-0607D7774748}"/>
                  </a:ext>
                </a:extLst>
              </p:cNvPr>
              <p:cNvSpPr/>
              <p:nvPr/>
            </p:nvSpPr>
            <p:spPr>
              <a:xfrm>
                <a:off x="6926315" y="2733649"/>
                <a:ext cx="63778" cy="126610"/>
              </a:xfrm>
              <a:custGeom>
                <a:avLst/>
                <a:gdLst>
                  <a:gd name="connsiteX0" fmla="*/ 47065 w 63778"/>
                  <a:gd name="connsiteY0" fmla="*/ 126610 h 126610"/>
                  <a:gd name="connsiteX1" fmla="*/ 47065 w 63778"/>
                  <a:gd name="connsiteY1" fmla="*/ 75521 h 126610"/>
                  <a:gd name="connsiteX2" fmla="*/ 50568 w 63778"/>
                  <a:gd name="connsiteY2" fmla="*/ 75521 h 126610"/>
                  <a:gd name="connsiteX3" fmla="*/ 63779 w 63778"/>
                  <a:gd name="connsiteY3" fmla="*/ 62311 h 126610"/>
                  <a:gd name="connsiteX4" fmla="*/ 63779 w 63778"/>
                  <a:gd name="connsiteY4" fmla="*/ 13210 h 126610"/>
                  <a:gd name="connsiteX5" fmla="*/ 50568 w 63778"/>
                  <a:gd name="connsiteY5" fmla="*/ 0 h 126610"/>
                  <a:gd name="connsiteX6" fmla="*/ 13210 w 63778"/>
                  <a:gd name="connsiteY6" fmla="*/ 0 h 126610"/>
                  <a:gd name="connsiteX7" fmla="*/ 0 w 63778"/>
                  <a:gd name="connsiteY7" fmla="*/ 13210 h 126610"/>
                  <a:gd name="connsiteX8" fmla="*/ 0 w 63778"/>
                  <a:gd name="connsiteY8" fmla="*/ 62311 h 126610"/>
                  <a:gd name="connsiteX9" fmla="*/ 13210 w 63778"/>
                  <a:gd name="connsiteY9" fmla="*/ 75521 h 126610"/>
                  <a:gd name="connsiteX10" fmla="*/ 16714 w 63778"/>
                  <a:gd name="connsiteY10" fmla="*/ 75521 h 126610"/>
                  <a:gd name="connsiteX11" fmla="*/ 16714 w 63778"/>
                  <a:gd name="connsiteY11" fmla="*/ 126610 h 1266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63778" h="126610">
                    <a:moveTo>
                      <a:pt x="47065" y="126610"/>
                    </a:moveTo>
                    <a:lnTo>
                      <a:pt x="47065" y="75521"/>
                    </a:lnTo>
                    <a:lnTo>
                      <a:pt x="50568" y="75521"/>
                    </a:lnTo>
                    <a:cubicBezTo>
                      <a:pt x="57813" y="75521"/>
                      <a:pt x="63779" y="69555"/>
                      <a:pt x="63779" y="62311"/>
                    </a:cubicBezTo>
                    <a:lnTo>
                      <a:pt x="63779" y="13210"/>
                    </a:lnTo>
                    <a:cubicBezTo>
                      <a:pt x="63779" y="5966"/>
                      <a:pt x="57860" y="0"/>
                      <a:pt x="50568" y="0"/>
                    </a:cubicBezTo>
                    <a:lnTo>
                      <a:pt x="13210" y="0"/>
                    </a:lnTo>
                    <a:cubicBezTo>
                      <a:pt x="5966" y="0"/>
                      <a:pt x="0" y="5919"/>
                      <a:pt x="0" y="13210"/>
                    </a:cubicBezTo>
                    <a:lnTo>
                      <a:pt x="0" y="62311"/>
                    </a:lnTo>
                    <a:cubicBezTo>
                      <a:pt x="0" y="69555"/>
                      <a:pt x="5919" y="75521"/>
                      <a:pt x="13210" y="75521"/>
                    </a:cubicBezTo>
                    <a:lnTo>
                      <a:pt x="16714" y="75521"/>
                    </a:lnTo>
                    <a:lnTo>
                      <a:pt x="16714" y="12661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87" name="Forma livre: Forma 586">
                <a:extLst>
                  <a:ext uri="{FF2B5EF4-FFF2-40B4-BE49-F238E27FC236}">
                    <a16:creationId xmlns:a16="http://schemas.microsoft.com/office/drawing/2014/main" id="{53D9106A-196B-04E3-160E-F680AB7F3158}"/>
                  </a:ext>
                </a:extLst>
              </p:cNvPr>
              <p:cNvSpPr/>
              <p:nvPr/>
            </p:nvSpPr>
            <p:spPr>
              <a:xfrm>
                <a:off x="6937441" y="2672427"/>
                <a:ext cx="41524" cy="41477"/>
              </a:xfrm>
              <a:custGeom>
                <a:avLst/>
                <a:gdLst>
                  <a:gd name="connsiteX0" fmla="*/ 41525 w 41524"/>
                  <a:gd name="connsiteY0" fmla="*/ 20739 h 41477"/>
                  <a:gd name="connsiteX1" fmla="*/ 20739 w 41524"/>
                  <a:gd name="connsiteY1" fmla="*/ 41477 h 41477"/>
                  <a:gd name="connsiteX2" fmla="*/ 0 w 41524"/>
                  <a:gd name="connsiteY2" fmla="*/ 20739 h 41477"/>
                  <a:gd name="connsiteX3" fmla="*/ 20739 w 41524"/>
                  <a:gd name="connsiteY3" fmla="*/ 0 h 41477"/>
                  <a:gd name="connsiteX4" fmla="*/ 41525 w 41524"/>
                  <a:gd name="connsiteY4" fmla="*/ 20739 h 414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524" h="41477">
                    <a:moveTo>
                      <a:pt x="41525" y="20739"/>
                    </a:moveTo>
                    <a:cubicBezTo>
                      <a:pt x="41525" y="32197"/>
                      <a:pt x="32244" y="41477"/>
                      <a:pt x="20739" y="41477"/>
                    </a:cubicBezTo>
                    <a:cubicBezTo>
                      <a:pt x="9233" y="41477"/>
                      <a:pt x="0" y="32197"/>
                      <a:pt x="0" y="20739"/>
                    </a:cubicBezTo>
                    <a:cubicBezTo>
                      <a:pt x="0" y="9280"/>
                      <a:pt x="9280" y="0"/>
                      <a:pt x="20739" y="0"/>
                    </a:cubicBezTo>
                    <a:cubicBezTo>
                      <a:pt x="32197" y="0"/>
                      <a:pt x="41525" y="9280"/>
                      <a:pt x="41525" y="20739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588" name="Gráfico 9">
              <a:extLst>
                <a:ext uri="{FF2B5EF4-FFF2-40B4-BE49-F238E27FC236}">
                  <a16:creationId xmlns:a16="http://schemas.microsoft.com/office/drawing/2014/main" id="{6238BCE3-4F2D-35A7-F566-0D551CD22F68}"/>
                </a:ext>
              </a:extLst>
            </p:cNvPr>
            <p:cNvGrpSpPr/>
            <p:nvPr/>
          </p:nvGrpSpPr>
          <p:grpSpPr>
            <a:xfrm>
              <a:off x="7018078" y="2672427"/>
              <a:ext cx="82529" cy="187831"/>
              <a:chOff x="7018078" y="2672427"/>
              <a:chExt cx="82529" cy="187831"/>
            </a:xfrm>
            <a:noFill/>
          </p:grpSpPr>
          <p:sp>
            <p:nvSpPr>
              <p:cNvPr id="589" name="Forma livre: Forma 588">
                <a:extLst>
                  <a:ext uri="{FF2B5EF4-FFF2-40B4-BE49-F238E27FC236}">
                    <a16:creationId xmlns:a16="http://schemas.microsoft.com/office/drawing/2014/main" id="{F15B4767-2245-1248-2CC1-AEDEAAB351CA}"/>
                  </a:ext>
                </a:extLst>
              </p:cNvPr>
              <p:cNvSpPr/>
              <p:nvPr/>
            </p:nvSpPr>
            <p:spPr>
              <a:xfrm>
                <a:off x="7018078" y="2733696"/>
                <a:ext cx="82529" cy="126562"/>
              </a:xfrm>
              <a:custGeom>
                <a:avLst/>
                <a:gdLst>
                  <a:gd name="connsiteX0" fmla="*/ 57432 w 82529"/>
                  <a:gd name="connsiteY0" fmla="*/ 126563 h 126562"/>
                  <a:gd name="connsiteX1" fmla="*/ 57432 w 82529"/>
                  <a:gd name="connsiteY1" fmla="*/ 76137 h 126562"/>
                  <a:gd name="connsiteX2" fmla="*/ 74904 w 82529"/>
                  <a:gd name="connsiteY2" fmla="*/ 76137 h 126562"/>
                  <a:gd name="connsiteX3" fmla="*/ 81959 w 82529"/>
                  <a:gd name="connsiteY3" fmla="*/ 66146 h 126562"/>
                  <a:gd name="connsiteX4" fmla="*/ 57811 w 82529"/>
                  <a:gd name="connsiteY4" fmla="*/ 0 h 126562"/>
                  <a:gd name="connsiteX5" fmla="*/ 24714 w 82529"/>
                  <a:gd name="connsiteY5" fmla="*/ 0 h 126562"/>
                  <a:gd name="connsiteX6" fmla="*/ 566 w 82529"/>
                  <a:gd name="connsiteY6" fmla="*/ 66146 h 126562"/>
                  <a:gd name="connsiteX7" fmla="*/ 7621 w 82529"/>
                  <a:gd name="connsiteY7" fmla="*/ 76137 h 126562"/>
                  <a:gd name="connsiteX8" fmla="*/ 25093 w 82529"/>
                  <a:gd name="connsiteY8" fmla="*/ 76137 h 126562"/>
                  <a:gd name="connsiteX9" fmla="*/ 25093 w 82529"/>
                  <a:gd name="connsiteY9" fmla="*/ 126563 h 1265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82529" h="126562">
                    <a:moveTo>
                      <a:pt x="57432" y="126563"/>
                    </a:moveTo>
                    <a:lnTo>
                      <a:pt x="57432" y="76137"/>
                    </a:lnTo>
                    <a:lnTo>
                      <a:pt x="74904" y="76137"/>
                    </a:lnTo>
                    <a:cubicBezTo>
                      <a:pt x="80728" y="76137"/>
                      <a:pt x="83900" y="71638"/>
                      <a:pt x="81959" y="66146"/>
                    </a:cubicBezTo>
                    <a:lnTo>
                      <a:pt x="57811" y="0"/>
                    </a:lnTo>
                    <a:lnTo>
                      <a:pt x="24714" y="0"/>
                    </a:lnTo>
                    <a:lnTo>
                      <a:pt x="566" y="66146"/>
                    </a:lnTo>
                    <a:cubicBezTo>
                      <a:pt x="-1375" y="71638"/>
                      <a:pt x="1845" y="76137"/>
                      <a:pt x="7621" y="76137"/>
                    </a:cubicBezTo>
                    <a:lnTo>
                      <a:pt x="25093" y="76137"/>
                    </a:lnTo>
                    <a:lnTo>
                      <a:pt x="25093" y="126563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90" name="Forma livre: Forma 589">
                <a:extLst>
                  <a:ext uri="{FF2B5EF4-FFF2-40B4-BE49-F238E27FC236}">
                    <a16:creationId xmlns:a16="http://schemas.microsoft.com/office/drawing/2014/main" id="{58CD6C9D-7742-DA5E-CBE2-5CB05C388BC8}"/>
                  </a:ext>
                </a:extLst>
              </p:cNvPr>
              <p:cNvSpPr/>
              <p:nvPr/>
            </p:nvSpPr>
            <p:spPr>
              <a:xfrm>
                <a:off x="7038578" y="2672427"/>
                <a:ext cx="41524" cy="41477"/>
              </a:xfrm>
              <a:custGeom>
                <a:avLst/>
                <a:gdLst>
                  <a:gd name="connsiteX0" fmla="*/ 41525 w 41524"/>
                  <a:gd name="connsiteY0" fmla="*/ 20739 h 41477"/>
                  <a:gd name="connsiteX1" fmla="*/ 20739 w 41524"/>
                  <a:gd name="connsiteY1" fmla="*/ 41477 h 41477"/>
                  <a:gd name="connsiteX2" fmla="*/ 0 w 41524"/>
                  <a:gd name="connsiteY2" fmla="*/ 20739 h 41477"/>
                  <a:gd name="connsiteX3" fmla="*/ 20739 w 41524"/>
                  <a:gd name="connsiteY3" fmla="*/ 0 h 41477"/>
                  <a:gd name="connsiteX4" fmla="*/ 41525 w 41524"/>
                  <a:gd name="connsiteY4" fmla="*/ 20739 h 414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524" h="41477">
                    <a:moveTo>
                      <a:pt x="41525" y="20739"/>
                    </a:moveTo>
                    <a:cubicBezTo>
                      <a:pt x="41525" y="32197"/>
                      <a:pt x="32244" y="41477"/>
                      <a:pt x="20739" y="41477"/>
                    </a:cubicBezTo>
                    <a:cubicBezTo>
                      <a:pt x="9233" y="41477"/>
                      <a:pt x="0" y="32197"/>
                      <a:pt x="0" y="20739"/>
                    </a:cubicBezTo>
                    <a:cubicBezTo>
                      <a:pt x="0" y="9280"/>
                      <a:pt x="9280" y="0"/>
                      <a:pt x="20739" y="0"/>
                    </a:cubicBezTo>
                    <a:cubicBezTo>
                      <a:pt x="32197" y="0"/>
                      <a:pt x="41525" y="9280"/>
                      <a:pt x="41525" y="20739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633" name="Gráfico 10">
            <a:extLst>
              <a:ext uri="{FF2B5EF4-FFF2-40B4-BE49-F238E27FC236}">
                <a16:creationId xmlns:a16="http://schemas.microsoft.com/office/drawing/2014/main" id="{B17CA270-2131-58CB-0218-9C66A8D8A73D}"/>
              </a:ext>
            </a:extLst>
          </p:cNvPr>
          <p:cNvGrpSpPr/>
          <p:nvPr/>
        </p:nvGrpSpPr>
        <p:grpSpPr>
          <a:xfrm>
            <a:off x="11078823" y="2086582"/>
            <a:ext cx="321497" cy="235654"/>
            <a:chOff x="11078823" y="2086582"/>
            <a:chExt cx="321497" cy="235654"/>
          </a:xfrm>
        </p:grpSpPr>
        <p:grpSp>
          <p:nvGrpSpPr>
            <p:cNvPr id="634" name="Gráfico 10">
              <a:extLst>
                <a:ext uri="{FF2B5EF4-FFF2-40B4-BE49-F238E27FC236}">
                  <a16:creationId xmlns:a16="http://schemas.microsoft.com/office/drawing/2014/main" id="{AC82C914-F4A4-9431-25B6-9D9C80A83D35}"/>
                </a:ext>
              </a:extLst>
            </p:cNvPr>
            <p:cNvGrpSpPr/>
            <p:nvPr/>
          </p:nvGrpSpPr>
          <p:grpSpPr>
            <a:xfrm>
              <a:off x="11262062" y="2092453"/>
              <a:ext cx="138258" cy="173864"/>
              <a:chOff x="11262062" y="2092453"/>
              <a:chExt cx="138258" cy="173864"/>
            </a:xfrm>
          </p:grpSpPr>
          <p:sp>
            <p:nvSpPr>
              <p:cNvPr id="635" name="Forma livre: Forma 634">
                <a:extLst>
                  <a:ext uri="{FF2B5EF4-FFF2-40B4-BE49-F238E27FC236}">
                    <a16:creationId xmlns:a16="http://schemas.microsoft.com/office/drawing/2014/main" id="{637F81DB-892A-338F-8D0B-2D06257F7092}"/>
                  </a:ext>
                </a:extLst>
              </p:cNvPr>
              <p:cNvSpPr/>
              <p:nvPr/>
            </p:nvSpPr>
            <p:spPr>
              <a:xfrm>
                <a:off x="11262062" y="2128154"/>
                <a:ext cx="138258" cy="138163"/>
              </a:xfrm>
              <a:custGeom>
                <a:avLst/>
                <a:gdLst>
                  <a:gd name="connsiteX0" fmla="*/ 138258 w 138258"/>
                  <a:gd name="connsiteY0" fmla="*/ 69082 h 138163"/>
                  <a:gd name="connsiteX1" fmla="*/ 69082 w 138258"/>
                  <a:gd name="connsiteY1" fmla="*/ 138163 h 138163"/>
                  <a:gd name="connsiteX2" fmla="*/ 0 w 138258"/>
                  <a:gd name="connsiteY2" fmla="*/ 69082 h 138163"/>
                  <a:gd name="connsiteX3" fmla="*/ 69082 w 138258"/>
                  <a:gd name="connsiteY3" fmla="*/ 0 h 138163"/>
                  <a:gd name="connsiteX4" fmla="*/ 138258 w 138258"/>
                  <a:gd name="connsiteY4" fmla="*/ 69082 h 1381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38258" h="138163">
                    <a:moveTo>
                      <a:pt x="138258" y="69082"/>
                    </a:moveTo>
                    <a:cubicBezTo>
                      <a:pt x="138258" y="107245"/>
                      <a:pt x="107339" y="138163"/>
                      <a:pt x="69082" y="138163"/>
                    </a:cubicBezTo>
                    <a:cubicBezTo>
                      <a:pt x="30824" y="138163"/>
                      <a:pt x="0" y="107245"/>
                      <a:pt x="0" y="69082"/>
                    </a:cubicBezTo>
                    <a:cubicBezTo>
                      <a:pt x="0" y="30919"/>
                      <a:pt x="30919" y="0"/>
                      <a:pt x="69082" y="0"/>
                    </a:cubicBezTo>
                    <a:cubicBezTo>
                      <a:pt x="107245" y="0"/>
                      <a:pt x="138258" y="30919"/>
                      <a:pt x="138258" y="69082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636" name="Forma livre: Forma 635">
                <a:extLst>
                  <a:ext uri="{FF2B5EF4-FFF2-40B4-BE49-F238E27FC236}">
                    <a16:creationId xmlns:a16="http://schemas.microsoft.com/office/drawing/2014/main" id="{EDE577FD-7E29-279D-7361-EDFA7BBC06A4}"/>
                  </a:ext>
                </a:extLst>
              </p:cNvPr>
              <p:cNvSpPr/>
              <p:nvPr/>
            </p:nvSpPr>
            <p:spPr>
              <a:xfrm>
                <a:off x="11307611" y="2157416"/>
                <a:ext cx="63447" cy="79640"/>
              </a:xfrm>
              <a:custGeom>
                <a:avLst/>
                <a:gdLst>
                  <a:gd name="connsiteX0" fmla="*/ 23580 w 63447"/>
                  <a:gd name="connsiteY0" fmla="*/ 0 h 79640"/>
                  <a:gd name="connsiteX1" fmla="*/ 63447 w 63447"/>
                  <a:gd name="connsiteY1" fmla="*/ 39820 h 79640"/>
                  <a:gd name="connsiteX2" fmla="*/ 23580 w 63447"/>
                  <a:gd name="connsiteY2" fmla="*/ 79640 h 79640"/>
                  <a:gd name="connsiteX3" fmla="*/ 0 w 63447"/>
                  <a:gd name="connsiteY3" fmla="*/ 71923 h 796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3447" h="79640">
                    <a:moveTo>
                      <a:pt x="23580" y="0"/>
                    </a:moveTo>
                    <a:cubicBezTo>
                      <a:pt x="45597" y="0"/>
                      <a:pt x="63447" y="17803"/>
                      <a:pt x="63447" y="39820"/>
                    </a:cubicBezTo>
                    <a:cubicBezTo>
                      <a:pt x="63447" y="61837"/>
                      <a:pt x="45597" y="79640"/>
                      <a:pt x="23580" y="79640"/>
                    </a:cubicBezTo>
                    <a:cubicBezTo>
                      <a:pt x="14726" y="79640"/>
                      <a:pt x="6582" y="76752"/>
                      <a:pt x="0" y="71923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637" name="Forma livre: Forma 636">
                <a:extLst>
                  <a:ext uri="{FF2B5EF4-FFF2-40B4-BE49-F238E27FC236}">
                    <a16:creationId xmlns:a16="http://schemas.microsoft.com/office/drawing/2014/main" id="{7764EC87-4AEA-5154-03A5-9321C8A4972F}"/>
                  </a:ext>
                </a:extLst>
              </p:cNvPr>
              <p:cNvSpPr/>
              <p:nvPr/>
            </p:nvSpPr>
            <p:spPr>
              <a:xfrm>
                <a:off x="11312962" y="2092453"/>
                <a:ext cx="36458" cy="18797"/>
              </a:xfrm>
              <a:custGeom>
                <a:avLst/>
                <a:gdLst>
                  <a:gd name="connsiteX0" fmla="*/ 36459 w 36458"/>
                  <a:gd name="connsiteY0" fmla="*/ 18797 h 18797"/>
                  <a:gd name="connsiteX1" fmla="*/ 36459 w 36458"/>
                  <a:gd name="connsiteY1" fmla="*/ 0 h 18797"/>
                  <a:gd name="connsiteX2" fmla="*/ 0 w 36458"/>
                  <a:gd name="connsiteY2" fmla="*/ 0 h 18797"/>
                  <a:gd name="connsiteX3" fmla="*/ 0 w 36458"/>
                  <a:gd name="connsiteY3" fmla="*/ 18797 h 187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6458" h="18797">
                    <a:moveTo>
                      <a:pt x="36459" y="18797"/>
                    </a:moveTo>
                    <a:lnTo>
                      <a:pt x="36459" y="0"/>
                    </a:lnTo>
                    <a:lnTo>
                      <a:pt x="0" y="0"/>
                    </a:lnTo>
                    <a:lnTo>
                      <a:pt x="0" y="18797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638" name="Forma livre: Forma 637">
                <a:extLst>
                  <a:ext uri="{FF2B5EF4-FFF2-40B4-BE49-F238E27FC236}">
                    <a16:creationId xmlns:a16="http://schemas.microsoft.com/office/drawing/2014/main" id="{F9A23908-15B3-AF05-FC31-5818A1885760}"/>
                  </a:ext>
                </a:extLst>
              </p:cNvPr>
              <p:cNvSpPr/>
              <p:nvPr/>
            </p:nvSpPr>
            <p:spPr>
              <a:xfrm>
                <a:off x="11375936" y="2126734"/>
                <a:ext cx="12547" cy="14914"/>
              </a:xfrm>
              <a:custGeom>
                <a:avLst/>
                <a:gdLst>
                  <a:gd name="connsiteX0" fmla="*/ 12547 w 12547"/>
                  <a:gd name="connsiteY0" fmla="*/ 0 h 14914"/>
                  <a:gd name="connsiteX1" fmla="*/ 0 w 12547"/>
                  <a:gd name="connsiteY1" fmla="*/ 14915 h 149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547" h="14914">
                    <a:moveTo>
                      <a:pt x="12547" y="0"/>
                    </a:moveTo>
                    <a:lnTo>
                      <a:pt x="0" y="14915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639" name="Forma livre: Forma 638">
                <a:extLst>
                  <a:ext uri="{FF2B5EF4-FFF2-40B4-BE49-F238E27FC236}">
                    <a16:creationId xmlns:a16="http://schemas.microsoft.com/office/drawing/2014/main" id="{5B4C5F4C-D14B-7DFB-F10D-572918347045}"/>
                  </a:ext>
                </a:extLst>
              </p:cNvPr>
              <p:cNvSpPr/>
              <p:nvPr/>
            </p:nvSpPr>
            <p:spPr>
              <a:xfrm>
                <a:off x="11297858" y="2197378"/>
                <a:ext cx="33238" cy="18134"/>
              </a:xfrm>
              <a:custGeom>
                <a:avLst/>
                <a:gdLst>
                  <a:gd name="connsiteX0" fmla="*/ 33239 w 33238"/>
                  <a:gd name="connsiteY0" fmla="*/ 0 h 18134"/>
                  <a:gd name="connsiteX1" fmla="*/ 0 w 33238"/>
                  <a:gd name="connsiteY1" fmla="*/ 18135 h 181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3238" h="18134">
                    <a:moveTo>
                      <a:pt x="33239" y="0"/>
                    </a:moveTo>
                    <a:lnTo>
                      <a:pt x="0" y="18135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640" name="Forma livre: Forma 639">
                <a:extLst>
                  <a:ext uri="{FF2B5EF4-FFF2-40B4-BE49-F238E27FC236}">
                    <a16:creationId xmlns:a16="http://schemas.microsoft.com/office/drawing/2014/main" id="{6B0F1AC2-CAC5-28A8-3356-4641266BA6A4}"/>
                  </a:ext>
                </a:extLst>
              </p:cNvPr>
              <p:cNvSpPr/>
              <p:nvPr/>
            </p:nvSpPr>
            <p:spPr>
              <a:xfrm>
                <a:off x="11324846" y="2190891"/>
                <a:ext cx="12689" cy="12689"/>
              </a:xfrm>
              <a:custGeom>
                <a:avLst/>
                <a:gdLst>
                  <a:gd name="connsiteX0" fmla="*/ 12689 w 12689"/>
                  <a:gd name="connsiteY0" fmla="*/ 6345 h 12689"/>
                  <a:gd name="connsiteX1" fmla="*/ 6345 w 12689"/>
                  <a:gd name="connsiteY1" fmla="*/ 12689 h 12689"/>
                  <a:gd name="connsiteX2" fmla="*/ 0 w 12689"/>
                  <a:gd name="connsiteY2" fmla="*/ 6345 h 12689"/>
                  <a:gd name="connsiteX3" fmla="*/ 6345 w 12689"/>
                  <a:gd name="connsiteY3" fmla="*/ 0 h 12689"/>
                  <a:gd name="connsiteX4" fmla="*/ 12689 w 12689"/>
                  <a:gd name="connsiteY4" fmla="*/ 6345 h 126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689" h="12689">
                    <a:moveTo>
                      <a:pt x="12689" y="6345"/>
                    </a:moveTo>
                    <a:cubicBezTo>
                      <a:pt x="12689" y="9848"/>
                      <a:pt x="9848" y="12689"/>
                      <a:pt x="6345" y="12689"/>
                    </a:cubicBezTo>
                    <a:cubicBezTo>
                      <a:pt x="2841" y="12689"/>
                      <a:pt x="0" y="9848"/>
                      <a:pt x="0" y="6345"/>
                    </a:cubicBezTo>
                    <a:cubicBezTo>
                      <a:pt x="0" y="2841"/>
                      <a:pt x="2841" y="0"/>
                      <a:pt x="6345" y="0"/>
                    </a:cubicBezTo>
                    <a:cubicBezTo>
                      <a:pt x="9848" y="0"/>
                      <a:pt x="12689" y="2841"/>
                      <a:pt x="12689" y="6345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641" name="Gráfico 10">
              <a:extLst>
                <a:ext uri="{FF2B5EF4-FFF2-40B4-BE49-F238E27FC236}">
                  <a16:creationId xmlns:a16="http://schemas.microsoft.com/office/drawing/2014/main" id="{DBC926AA-B18D-694E-1D72-B7EC95C86821}"/>
                </a:ext>
              </a:extLst>
            </p:cNvPr>
            <p:cNvGrpSpPr/>
            <p:nvPr/>
          </p:nvGrpSpPr>
          <p:grpSpPr>
            <a:xfrm>
              <a:off x="11078823" y="2086582"/>
              <a:ext cx="232718" cy="235654"/>
              <a:chOff x="11078823" y="2086582"/>
              <a:chExt cx="232718" cy="235654"/>
            </a:xfrm>
            <a:noFill/>
          </p:grpSpPr>
          <p:sp>
            <p:nvSpPr>
              <p:cNvPr id="642" name="Forma livre: Forma 641">
                <a:extLst>
                  <a:ext uri="{FF2B5EF4-FFF2-40B4-BE49-F238E27FC236}">
                    <a16:creationId xmlns:a16="http://schemas.microsoft.com/office/drawing/2014/main" id="{37D5B1BD-BE90-7101-121B-91425DE1BADE}"/>
                  </a:ext>
                </a:extLst>
              </p:cNvPr>
              <p:cNvSpPr/>
              <p:nvPr/>
            </p:nvSpPr>
            <p:spPr>
              <a:xfrm>
                <a:off x="11120868" y="2127917"/>
                <a:ext cx="190673" cy="194318"/>
              </a:xfrm>
              <a:custGeom>
                <a:avLst/>
                <a:gdLst>
                  <a:gd name="connsiteX0" fmla="*/ 128788 w 190673"/>
                  <a:gd name="connsiteY0" fmla="*/ 29356 h 194318"/>
                  <a:gd name="connsiteX1" fmla="*/ 95360 w 190673"/>
                  <a:gd name="connsiteY1" fmla="*/ 0 h 194318"/>
                  <a:gd name="connsiteX2" fmla="*/ 95313 w 190673"/>
                  <a:gd name="connsiteY2" fmla="*/ 0 h 194318"/>
                  <a:gd name="connsiteX3" fmla="*/ 0 w 190673"/>
                  <a:gd name="connsiteY3" fmla="*/ 85370 h 194318"/>
                  <a:gd name="connsiteX4" fmla="*/ 0 w 190673"/>
                  <a:gd name="connsiteY4" fmla="*/ 194319 h 194318"/>
                  <a:gd name="connsiteX5" fmla="*/ 70692 w 190673"/>
                  <a:gd name="connsiteY5" fmla="*/ 194319 h 194318"/>
                  <a:gd name="connsiteX6" fmla="*/ 70692 w 190673"/>
                  <a:gd name="connsiteY6" fmla="*/ 132339 h 194318"/>
                  <a:gd name="connsiteX7" fmla="*/ 119982 w 190673"/>
                  <a:gd name="connsiteY7" fmla="*/ 132339 h 194318"/>
                  <a:gd name="connsiteX8" fmla="*/ 119982 w 190673"/>
                  <a:gd name="connsiteY8" fmla="*/ 194319 h 194318"/>
                  <a:gd name="connsiteX9" fmla="*/ 190673 w 190673"/>
                  <a:gd name="connsiteY9" fmla="*/ 194319 h 194318"/>
                  <a:gd name="connsiteX10" fmla="*/ 190673 w 190673"/>
                  <a:gd name="connsiteY10" fmla="*/ 157434 h 1943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190673" h="194318">
                    <a:moveTo>
                      <a:pt x="128788" y="29356"/>
                    </a:moveTo>
                    <a:lnTo>
                      <a:pt x="95360" y="0"/>
                    </a:lnTo>
                    <a:lnTo>
                      <a:pt x="95313" y="0"/>
                    </a:lnTo>
                    <a:lnTo>
                      <a:pt x="0" y="85370"/>
                    </a:lnTo>
                    <a:lnTo>
                      <a:pt x="0" y="194319"/>
                    </a:lnTo>
                    <a:lnTo>
                      <a:pt x="70692" y="194319"/>
                    </a:lnTo>
                    <a:lnTo>
                      <a:pt x="70692" y="132339"/>
                    </a:lnTo>
                    <a:lnTo>
                      <a:pt x="119982" y="132339"/>
                    </a:lnTo>
                    <a:lnTo>
                      <a:pt x="119982" y="194319"/>
                    </a:lnTo>
                    <a:lnTo>
                      <a:pt x="190673" y="194319"/>
                    </a:lnTo>
                    <a:lnTo>
                      <a:pt x="190673" y="157434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643" name="Forma livre: Forma 642">
                <a:extLst>
                  <a:ext uri="{FF2B5EF4-FFF2-40B4-BE49-F238E27FC236}">
                    <a16:creationId xmlns:a16="http://schemas.microsoft.com/office/drawing/2014/main" id="{8792EEB3-646E-A487-4AF2-256E38E6DF4E}"/>
                  </a:ext>
                </a:extLst>
              </p:cNvPr>
              <p:cNvSpPr/>
              <p:nvPr/>
            </p:nvSpPr>
            <p:spPr>
              <a:xfrm>
                <a:off x="11078823" y="2086582"/>
                <a:ext cx="189394" cy="119602"/>
              </a:xfrm>
              <a:custGeom>
                <a:avLst/>
                <a:gdLst>
                  <a:gd name="connsiteX0" fmla="*/ 0 w 189394"/>
                  <a:gd name="connsiteY0" fmla="*/ 119603 h 119602"/>
                  <a:gd name="connsiteX1" fmla="*/ 42850 w 189394"/>
                  <a:gd name="connsiteY1" fmla="*/ 82055 h 119602"/>
                  <a:gd name="connsiteX2" fmla="*/ 42850 w 189394"/>
                  <a:gd name="connsiteY2" fmla="*/ 20218 h 119602"/>
                  <a:gd name="connsiteX3" fmla="*/ 72680 w 189394"/>
                  <a:gd name="connsiteY3" fmla="*/ 20218 h 119602"/>
                  <a:gd name="connsiteX4" fmla="*/ 72680 w 189394"/>
                  <a:gd name="connsiteY4" fmla="*/ 56108 h 119602"/>
                  <a:gd name="connsiteX5" fmla="*/ 137027 w 189394"/>
                  <a:gd name="connsiteY5" fmla="*/ 0 h 119602"/>
                  <a:gd name="connsiteX6" fmla="*/ 189395 w 189394"/>
                  <a:gd name="connsiteY6" fmla="*/ 45029 h 1196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89394" h="119602">
                    <a:moveTo>
                      <a:pt x="0" y="119603"/>
                    </a:moveTo>
                    <a:lnTo>
                      <a:pt x="42850" y="82055"/>
                    </a:lnTo>
                    <a:lnTo>
                      <a:pt x="42850" y="20218"/>
                    </a:lnTo>
                    <a:lnTo>
                      <a:pt x="72680" y="20218"/>
                    </a:lnTo>
                    <a:lnTo>
                      <a:pt x="72680" y="56108"/>
                    </a:lnTo>
                    <a:lnTo>
                      <a:pt x="137027" y="0"/>
                    </a:lnTo>
                    <a:lnTo>
                      <a:pt x="189395" y="45029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644" name="Gráfico 10">
            <a:extLst>
              <a:ext uri="{FF2B5EF4-FFF2-40B4-BE49-F238E27FC236}">
                <a16:creationId xmlns:a16="http://schemas.microsoft.com/office/drawing/2014/main" id="{0683C066-15D2-A23A-92F6-73D0B7E5F49C}"/>
              </a:ext>
            </a:extLst>
          </p:cNvPr>
          <p:cNvGrpSpPr/>
          <p:nvPr/>
        </p:nvGrpSpPr>
        <p:grpSpPr>
          <a:xfrm>
            <a:off x="10455525" y="2086582"/>
            <a:ext cx="336222" cy="235654"/>
            <a:chOff x="10455525" y="2086582"/>
            <a:chExt cx="336222" cy="235654"/>
          </a:xfrm>
          <a:noFill/>
        </p:grpSpPr>
        <p:grpSp>
          <p:nvGrpSpPr>
            <p:cNvPr id="645" name="Gráfico 10">
              <a:extLst>
                <a:ext uri="{FF2B5EF4-FFF2-40B4-BE49-F238E27FC236}">
                  <a16:creationId xmlns:a16="http://schemas.microsoft.com/office/drawing/2014/main" id="{D5B32067-38E7-44E0-C821-4C24F9221E30}"/>
                </a:ext>
              </a:extLst>
            </p:cNvPr>
            <p:cNvGrpSpPr/>
            <p:nvPr/>
          </p:nvGrpSpPr>
          <p:grpSpPr>
            <a:xfrm>
              <a:off x="10455525" y="2086582"/>
              <a:ext cx="232718" cy="235654"/>
              <a:chOff x="10455525" y="2086582"/>
              <a:chExt cx="232718" cy="235654"/>
            </a:xfrm>
            <a:noFill/>
          </p:grpSpPr>
          <p:sp>
            <p:nvSpPr>
              <p:cNvPr id="646" name="Forma livre: Forma 645">
                <a:extLst>
                  <a:ext uri="{FF2B5EF4-FFF2-40B4-BE49-F238E27FC236}">
                    <a16:creationId xmlns:a16="http://schemas.microsoft.com/office/drawing/2014/main" id="{9E8C81E1-D3C8-6320-E8A2-07433F0DFBA6}"/>
                  </a:ext>
                </a:extLst>
              </p:cNvPr>
              <p:cNvSpPr/>
              <p:nvPr/>
            </p:nvSpPr>
            <p:spPr>
              <a:xfrm>
                <a:off x="10497571" y="2127917"/>
                <a:ext cx="190672" cy="194318"/>
              </a:xfrm>
              <a:custGeom>
                <a:avLst/>
                <a:gdLst>
                  <a:gd name="connsiteX0" fmla="*/ 122396 w 190672"/>
                  <a:gd name="connsiteY0" fmla="*/ 23059 h 194318"/>
                  <a:gd name="connsiteX1" fmla="*/ 95407 w 190672"/>
                  <a:gd name="connsiteY1" fmla="*/ 0 h 194318"/>
                  <a:gd name="connsiteX2" fmla="*/ 95313 w 190672"/>
                  <a:gd name="connsiteY2" fmla="*/ 0 h 194318"/>
                  <a:gd name="connsiteX3" fmla="*/ 0 w 190672"/>
                  <a:gd name="connsiteY3" fmla="*/ 85370 h 194318"/>
                  <a:gd name="connsiteX4" fmla="*/ 0 w 190672"/>
                  <a:gd name="connsiteY4" fmla="*/ 194319 h 194318"/>
                  <a:gd name="connsiteX5" fmla="*/ 70691 w 190672"/>
                  <a:gd name="connsiteY5" fmla="*/ 194319 h 194318"/>
                  <a:gd name="connsiteX6" fmla="*/ 70691 w 190672"/>
                  <a:gd name="connsiteY6" fmla="*/ 132339 h 194318"/>
                  <a:gd name="connsiteX7" fmla="*/ 119981 w 190672"/>
                  <a:gd name="connsiteY7" fmla="*/ 132339 h 194318"/>
                  <a:gd name="connsiteX8" fmla="*/ 119981 w 190672"/>
                  <a:gd name="connsiteY8" fmla="*/ 194319 h 194318"/>
                  <a:gd name="connsiteX9" fmla="*/ 190673 w 190672"/>
                  <a:gd name="connsiteY9" fmla="*/ 194319 h 194318"/>
                  <a:gd name="connsiteX10" fmla="*/ 190673 w 190672"/>
                  <a:gd name="connsiteY10" fmla="*/ 152036 h 1943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190672" h="194318">
                    <a:moveTo>
                      <a:pt x="122396" y="23059"/>
                    </a:moveTo>
                    <a:lnTo>
                      <a:pt x="95407" y="0"/>
                    </a:lnTo>
                    <a:lnTo>
                      <a:pt x="95313" y="0"/>
                    </a:lnTo>
                    <a:lnTo>
                      <a:pt x="0" y="85370"/>
                    </a:lnTo>
                    <a:lnTo>
                      <a:pt x="0" y="194319"/>
                    </a:lnTo>
                    <a:lnTo>
                      <a:pt x="70691" y="194319"/>
                    </a:lnTo>
                    <a:lnTo>
                      <a:pt x="70691" y="132339"/>
                    </a:lnTo>
                    <a:lnTo>
                      <a:pt x="119981" y="132339"/>
                    </a:lnTo>
                    <a:lnTo>
                      <a:pt x="119981" y="194319"/>
                    </a:lnTo>
                    <a:lnTo>
                      <a:pt x="190673" y="194319"/>
                    </a:lnTo>
                    <a:lnTo>
                      <a:pt x="190673" y="152036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647" name="Forma livre: Forma 646">
                <a:extLst>
                  <a:ext uri="{FF2B5EF4-FFF2-40B4-BE49-F238E27FC236}">
                    <a16:creationId xmlns:a16="http://schemas.microsoft.com/office/drawing/2014/main" id="{A7894118-94FE-8E7B-2A80-A232E24F5041}"/>
                  </a:ext>
                </a:extLst>
              </p:cNvPr>
              <p:cNvSpPr/>
              <p:nvPr/>
            </p:nvSpPr>
            <p:spPr>
              <a:xfrm>
                <a:off x="10455525" y="2086582"/>
                <a:ext cx="179498" cy="119602"/>
              </a:xfrm>
              <a:custGeom>
                <a:avLst/>
                <a:gdLst>
                  <a:gd name="connsiteX0" fmla="*/ 0 w 179498"/>
                  <a:gd name="connsiteY0" fmla="*/ 119603 h 119602"/>
                  <a:gd name="connsiteX1" fmla="*/ 42851 w 179498"/>
                  <a:gd name="connsiteY1" fmla="*/ 82055 h 119602"/>
                  <a:gd name="connsiteX2" fmla="*/ 42851 w 179498"/>
                  <a:gd name="connsiteY2" fmla="*/ 20218 h 119602"/>
                  <a:gd name="connsiteX3" fmla="*/ 72680 w 179498"/>
                  <a:gd name="connsiteY3" fmla="*/ 20218 h 119602"/>
                  <a:gd name="connsiteX4" fmla="*/ 72680 w 179498"/>
                  <a:gd name="connsiteY4" fmla="*/ 56108 h 119602"/>
                  <a:gd name="connsiteX5" fmla="*/ 137027 w 179498"/>
                  <a:gd name="connsiteY5" fmla="*/ 0 h 119602"/>
                  <a:gd name="connsiteX6" fmla="*/ 179499 w 179498"/>
                  <a:gd name="connsiteY6" fmla="*/ 35985 h 1196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79498" h="119602">
                    <a:moveTo>
                      <a:pt x="0" y="119603"/>
                    </a:moveTo>
                    <a:lnTo>
                      <a:pt x="42851" y="82055"/>
                    </a:lnTo>
                    <a:lnTo>
                      <a:pt x="42851" y="20218"/>
                    </a:lnTo>
                    <a:lnTo>
                      <a:pt x="72680" y="20218"/>
                    </a:lnTo>
                    <a:lnTo>
                      <a:pt x="72680" y="56108"/>
                    </a:lnTo>
                    <a:lnTo>
                      <a:pt x="137027" y="0"/>
                    </a:lnTo>
                    <a:lnTo>
                      <a:pt x="179499" y="35985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648" name="Gráfico 10">
              <a:extLst>
                <a:ext uri="{FF2B5EF4-FFF2-40B4-BE49-F238E27FC236}">
                  <a16:creationId xmlns:a16="http://schemas.microsoft.com/office/drawing/2014/main" id="{D252CD8D-0375-0747-423B-EA7DA5BA46E6}"/>
                </a:ext>
              </a:extLst>
            </p:cNvPr>
            <p:cNvGrpSpPr/>
            <p:nvPr/>
          </p:nvGrpSpPr>
          <p:grpSpPr>
            <a:xfrm>
              <a:off x="10681662" y="2132321"/>
              <a:ext cx="65435" cy="103077"/>
              <a:chOff x="10681662" y="2132321"/>
              <a:chExt cx="65435" cy="103077"/>
            </a:xfrm>
            <a:noFill/>
          </p:grpSpPr>
          <p:sp>
            <p:nvSpPr>
              <p:cNvPr id="649" name="Forma livre: Forma 648">
                <a:extLst>
                  <a:ext uri="{FF2B5EF4-FFF2-40B4-BE49-F238E27FC236}">
                    <a16:creationId xmlns:a16="http://schemas.microsoft.com/office/drawing/2014/main" id="{7406952A-C6BF-A218-6B70-0C9132E4A833}"/>
                  </a:ext>
                </a:extLst>
              </p:cNvPr>
              <p:cNvSpPr/>
              <p:nvPr/>
            </p:nvSpPr>
            <p:spPr>
              <a:xfrm>
                <a:off x="10681662" y="2150739"/>
                <a:ext cx="64488" cy="33001"/>
              </a:xfrm>
              <a:custGeom>
                <a:avLst/>
                <a:gdLst>
                  <a:gd name="connsiteX0" fmla="*/ 32718 w 64488"/>
                  <a:gd name="connsiteY0" fmla="*/ 33002 h 33001"/>
                  <a:gd name="connsiteX1" fmla="*/ 0 w 64488"/>
                  <a:gd name="connsiteY1" fmla="*/ 16525 h 33001"/>
                  <a:gd name="connsiteX2" fmla="*/ 32718 w 64488"/>
                  <a:gd name="connsiteY2" fmla="*/ 0 h 33001"/>
                  <a:gd name="connsiteX3" fmla="*/ 64489 w 64488"/>
                  <a:gd name="connsiteY3" fmla="*/ 12500 h 330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4488" h="33001">
                    <a:moveTo>
                      <a:pt x="32718" y="33002"/>
                    </a:moveTo>
                    <a:cubicBezTo>
                      <a:pt x="14678" y="33002"/>
                      <a:pt x="0" y="25616"/>
                      <a:pt x="0" y="16525"/>
                    </a:cubicBezTo>
                    <a:cubicBezTo>
                      <a:pt x="0" y="7434"/>
                      <a:pt x="14678" y="0"/>
                      <a:pt x="32718" y="0"/>
                    </a:cubicBezTo>
                    <a:cubicBezTo>
                      <a:pt x="48059" y="0"/>
                      <a:pt x="60890" y="5303"/>
                      <a:pt x="64489" y="12500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650" name="Forma livre: Forma 649">
                <a:extLst>
                  <a:ext uri="{FF2B5EF4-FFF2-40B4-BE49-F238E27FC236}">
                    <a16:creationId xmlns:a16="http://schemas.microsoft.com/office/drawing/2014/main" id="{194483D1-466D-E294-996F-BAC6D968399B}"/>
                  </a:ext>
                </a:extLst>
              </p:cNvPr>
              <p:cNvSpPr/>
              <p:nvPr/>
            </p:nvSpPr>
            <p:spPr>
              <a:xfrm>
                <a:off x="10682136" y="2183789"/>
                <a:ext cx="64962" cy="32954"/>
              </a:xfrm>
              <a:custGeom>
                <a:avLst/>
                <a:gdLst>
                  <a:gd name="connsiteX0" fmla="*/ 32244 w 64962"/>
                  <a:gd name="connsiteY0" fmla="*/ 0 h 32954"/>
                  <a:gd name="connsiteX1" fmla="*/ 64962 w 64962"/>
                  <a:gd name="connsiteY1" fmla="*/ 16477 h 32954"/>
                  <a:gd name="connsiteX2" fmla="*/ 32244 w 64962"/>
                  <a:gd name="connsiteY2" fmla="*/ 32955 h 32954"/>
                  <a:gd name="connsiteX3" fmla="*/ 0 w 64962"/>
                  <a:gd name="connsiteY3" fmla="*/ 19271 h 329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4962" h="32954">
                    <a:moveTo>
                      <a:pt x="32244" y="0"/>
                    </a:moveTo>
                    <a:cubicBezTo>
                      <a:pt x="50332" y="0"/>
                      <a:pt x="64962" y="7386"/>
                      <a:pt x="64962" y="16477"/>
                    </a:cubicBezTo>
                    <a:cubicBezTo>
                      <a:pt x="64962" y="25568"/>
                      <a:pt x="50332" y="32955"/>
                      <a:pt x="32244" y="32955"/>
                    </a:cubicBezTo>
                    <a:cubicBezTo>
                      <a:pt x="16099" y="32955"/>
                      <a:pt x="2652" y="27036"/>
                      <a:pt x="0" y="19271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651" name="Forma livre: Forma 650">
                <a:extLst>
                  <a:ext uri="{FF2B5EF4-FFF2-40B4-BE49-F238E27FC236}">
                    <a16:creationId xmlns:a16="http://schemas.microsoft.com/office/drawing/2014/main" id="{6ADB3054-577F-CC8F-D575-A3CA713F67AD}"/>
                  </a:ext>
                </a:extLst>
              </p:cNvPr>
              <p:cNvSpPr/>
              <p:nvPr/>
            </p:nvSpPr>
            <p:spPr>
              <a:xfrm>
                <a:off x="10714854" y="2132321"/>
                <a:ext cx="4734" cy="103077"/>
              </a:xfrm>
              <a:custGeom>
                <a:avLst/>
                <a:gdLst>
                  <a:gd name="connsiteX0" fmla="*/ 0 w 4734"/>
                  <a:gd name="connsiteY0" fmla="*/ 0 h 103077"/>
                  <a:gd name="connsiteX1" fmla="*/ 0 w 4734"/>
                  <a:gd name="connsiteY1" fmla="*/ 103078 h 1030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34" h="103077">
                    <a:moveTo>
                      <a:pt x="0" y="0"/>
                    </a:moveTo>
                    <a:lnTo>
                      <a:pt x="0" y="103078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652" name="Forma livre: Forma 651">
              <a:extLst>
                <a:ext uri="{FF2B5EF4-FFF2-40B4-BE49-F238E27FC236}">
                  <a16:creationId xmlns:a16="http://schemas.microsoft.com/office/drawing/2014/main" id="{CA803E53-2A66-F8CE-AAD2-A32D8B8FF001}"/>
                </a:ext>
              </a:extLst>
            </p:cNvPr>
            <p:cNvSpPr/>
            <p:nvPr/>
          </p:nvSpPr>
          <p:spPr>
            <a:xfrm>
              <a:off x="10637060" y="2106563"/>
              <a:ext cx="154688" cy="154640"/>
            </a:xfrm>
            <a:custGeom>
              <a:avLst/>
              <a:gdLst>
                <a:gd name="connsiteX0" fmla="*/ 154688 w 154688"/>
                <a:gd name="connsiteY0" fmla="*/ 77320 h 154640"/>
                <a:gd name="connsiteX1" fmla="*/ 77320 w 154688"/>
                <a:gd name="connsiteY1" fmla="*/ 154641 h 154640"/>
                <a:gd name="connsiteX2" fmla="*/ 0 w 154688"/>
                <a:gd name="connsiteY2" fmla="*/ 77320 h 154640"/>
                <a:gd name="connsiteX3" fmla="*/ 77320 w 154688"/>
                <a:gd name="connsiteY3" fmla="*/ 0 h 154640"/>
                <a:gd name="connsiteX4" fmla="*/ 154688 w 154688"/>
                <a:gd name="connsiteY4" fmla="*/ 77320 h 1546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4688" h="154640">
                  <a:moveTo>
                    <a:pt x="154688" y="77320"/>
                  </a:moveTo>
                  <a:cubicBezTo>
                    <a:pt x="154688" y="120029"/>
                    <a:pt x="120076" y="154641"/>
                    <a:pt x="77320" y="154641"/>
                  </a:cubicBezTo>
                  <a:cubicBezTo>
                    <a:pt x="34565" y="154641"/>
                    <a:pt x="0" y="120029"/>
                    <a:pt x="0" y="77320"/>
                  </a:cubicBezTo>
                  <a:cubicBezTo>
                    <a:pt x="0" y="34612"/>
                    <a:pt x="34612" y="0"/>
                    <a:pt x="77320" y="0"/>
                  </a:cubicBezTo>
                  <a:cubicBezTo>
                    <a:pt x="120029" y="0"/>
                    <a:pt x="154688" y="34612"/>
                    <a:pt x="154688" y="77320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653" name="Gráfico 10">
            <a:extLst>
              <a:ext uri="{FF2B5EF4-FFF2-40B4-BE49-F238E27FC236}">
                <a16:creationId xmlns:a16="http://schemas.microsoft.com/office/drawing/2014/main" id="{7382BA26-5C62-7A70-E394-2E0BE7708A47}"/>
              </a:ext>
            </a:extLst>
          </p:cNvPr>
          <p:cNvGrpSpPr/>
          <p:nvPr/>
        </p:nvGrpSpPr>
        <p:grpSpPr>
          <a:xfrm>
            <a:off x="9843355" y="2082179"/>
            <a:ext cx="328705" cy="244461"/>
            <a:chOff x="9843355" y="2082179"/>
            <a:chExt cx="328705" cy="244461"/>
          </a:xfrm>
          <a:noFill/>
        </p:grpSpPr>
        <p:grpSp>
          <p:nvGrpSpPr>
            <p:cNvPr id="654" name="Gráfico 10">
              <a:extLst>
                <a:ext uri="{FF2B5EF4-FFF2-40B4-BE49-F238E27FC236}">
                  <a16:creationId xmlns:a16="http://schemas.microsoft.com/office/drawing/2014/main" id="{FBA92957-02C6-D926-505F-042C38FDE1E6}"/>
                </a:ext>
              </a:extLst>
            </p:cNvPr>
            <p:cNvGrpSpPr/>
            <p:nvPr/>
          </p:nvGrpSpPr>
          <p:grpSpPr>
            <a:xfrm>
              <a:off x="9843355" y="2090938"/>
              <a:ext cx="232718" cy="235701"/>
              <a:chOff x="9843355" y="2090938"/>
              <a:chExt cx="232718" cy="235701"/>
            </a:xfrm>
            <a:noFill/>
          </p:grpSpPr>
          <p:sp>
            <p:nvSpPr>
              <p:cNvPr id="655" name="Forma livre: Forma 654">
                <a:extLst>
                  <a:ext uri="{FF2B5EF4-FFF2-40B4-BE49-F238E27FC236}">
                    <a16:creationId xmlns:a16="http://schemas.microsoft.com/office/drawing/2014/main" id="{D5CB2024-5DC7-1095-A405-2A198EA084E0}"/>
                  </a:ext>
                </a:extLst>
              </p:cNvPr>
              <p:cNvSpPr/>
              <p:nvPr/>
            </p:nvSpPr>
            <p:spPr>
              <a:xfrm>
                <a:off x="9885400" y="2132273"/>
                <a:ext cx="190672" cy="194366"/>
              </a:xfrm>
              <a:custGeom>
                <a:avLst/>
                <a:gdLst>
                  <a:gd name="connsiteX0" fmla="*/ 133239 w 190672"/>
                  <a:gd name="connsiteY0" fmla="*/ 32955 h 194366"/>
                  <a:gd name="connsiteX1" fmla="*/ 95360 w 190672"/>
                  <a:gd name="connsiteY1" fmla="*/ 0 h 194366"/>
                  <a:gd name="connsiteX2" fmla="*/ 95313 w 190672"/>
                  <a:gd name="connsiteY2" fmla="*/ 0 h 194366"/>
                  <a:gd name="connsiteX3" fmla="*/ 0 w 190672"/>
                  <a:gd name="connsiteY3" fmla="*/ 85370 h 194366"/>
                  <a:gd name="connsiteX4" fmla="*/ 0 w 190672"/>
                  <a:gd name="connsiteY4" fmla="*/ 194366 h 194366"/>
                  <a:gd name="connsiteX5" fmla="*/ 70692 w 190672"/>
                  <a:gd name="connsiteY5" fmla="*/ 194366 h 194366"/>
                  <a:gd name="connsiteX6" fmla="*/ 70692 w 190672"/>
                  <a:gd name="connsiteY6" fmla="*/ 132340 h 194366"/>
                  <a:gd name="connsiteX7" fmla="*/ 119981 w 190672"/>
                  <a:gd name="connsiteY7" fmla="*/ 132340 h 194366"/>
                  <a:gd name="connsiteX8" fmla="*/ 119981 w 190672"/>
                  <a:gd name="connsiteY8" fmla="*/ 194366 h 194366"/>
                  <a:gd name="connsiteX9" fmla="*/ 190673 w 190672"/>
                  <a:gd name="connsiteY9" fmla="*/ 194366 h 194366"/>
                  <a:gd name="connsiteX10" fmla="*/ 190673 w 190672"/>
                  <a:gd name="connsiteY10" fmla="*/ 149953 h 1943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190672" h="194366">
                    <a:moveTo>
                      <a:pt x="133239" y="32955"/>
                    </a:moveTo>
                    <a:lnTo>
                      <a:pt x="95360" y="0"/>
                    </a:lnTo>
                    <a:lnTo>
                      <a:pt x="95313" y="0"/>
                    </a:lnTo>
                    <a:lnTo>
                      <a:pt x="0" y="85370"/>
                    </a:lnTo>
                    <a:lnTo>
                      <a:pt x="0" y="194366"/>
                    </a:lnTo>
                    <a:lnTo>
                      <a:pt x="70692" y="194366"/>
                    </a:lnTo>
                    <a:lnTo>
                      <a:pt x="70692" y="132340"/>
                    </a:lnTo>
                    <a:lnTo>
                      <a:pt x="119981" y="132340"/>
                    </a:lnTo>
                    <a:lnTo>
                      <a:pt x="119981" y="194366"/>
                    </a:lnTo>
                    <a:lnTo>
                      <a:pt x="190673" y="194366"/>
                    </a:lnTo>
                    <a:lnTo>
                      <a:pt x="190673" y="149953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656" name="Forma livre: Forma 655">
                <a:extLst>
                  <a:ext uri="{FF2B5EF4-FFF2-40B4-BE49-F238E27FC236}">
                    <a16:creationId xmlns:a16="http://schemas.microsoft.com/office/drawing/2014/main" id="{BBF89E99-FD54-4C59-CB33-F7A4A7D454B0}"/>
                  </a:ext>
                </a:extLst>
              </p:cNvPr>
              <p:cNvSpPr/>
              <p:nvPr/>
            </p:nvSpPr>
            <p:spPr>
              <a:xfrm>
                <a:off x="9843355" y="2090938"/>
                <a:ext cx="183570" cy="119602"/>
              </a:xfrm>
              <a:custGeom>
                <a:avLst/>
                <a:gdLst>
                  <a:gd name="connsiteX0" fmla="*/ 0 w 183570"/>
                  <a:gd name="connsiteY0" fmla="*/ 119603 h 119602"/>
                  <a:gd name="connsiteX1" fmla="*/ 42851 w 183570"/>
                  <a:gd name="connsiteY1" fmla="*/ 82055 h 119602"/>
                  <a:gd name="connsiteX2" fmla="*/ 42851 w 183570"/>
                  <a:gd name="connsiteY2" fmla="*/ 20218 h 119602"/>
                  <a:gd name="connsiteX3" fmla="*/ 72680 w 183570"/>
                  <a:gd name="connsiteY3" fmla="*/ 20218 h 119602"/>
                  <a:gd name="connsiteX4" fmla="*/ 72680 w 183570"/>
                  <a:gd name="connsiteY4" fmla="*/ 56108 h 119602"/>
                  <a:gd name="connsiteX5" fmla="*/ 137027 w 183570"/>
                  <a:gd name="connsiteY5" fmla="*/ 0 h 119602"/>
                  <a:gd name="connsiteX6" fmla="*/ 183571 w 183570"/>
                  <a:gd name="connsiteY6" fmla="*/ 39868 h 1196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83570" h="119602">
                    <a:moveTo>
                      <a:pt x="0" y="119603"/>
                    </a:moveTo>
                    <a:lnTo>
                      <a:pt x="42851" y="82055"/>
                    </a:lnTo>
                    <a:lnTo>
                      <a:pt x="42851" y="20218"/>
                    </a:lnTo>
                    <a:lnTo>
                      <a:pt x="72680" y="20218"/>
                    </a:lnTo>
                    <a:lnTo>
                      <a:pt x="72680" y="56108"/>
                    </a:lnTo>
                    <a:lnTo>
                      <a:pt x="137027" y="0"/>
                    </a:lnTo>
                    <a:lnTo>
                      <a:pt x="183571" y="39868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657" name="Gráfico 10">
              <a:extLst>
                <a:ext uri="{FF2B5EF4-FFF2-40B4-BE49-F238E27FC236}">
                  <a16:creationId xmlns:a16="http://schemas.microsoft.com/office/drawing/2014/main" id="{B41DEEFB-F799-A175-4AC4-7EC37BBAC79C}"/>
                </a:ext>
              </a:extLst>
            </p:cNvPr>
            <p:cNvGrpSpPr/>
            <p:nvPr/>
          </p:nvGrpSpPr>
          <p:grpSpPr>
            <a:xfrm>
              <a:off x="10038400" y="2082179"/>
              <a:ext cx="133660" cy="211458"/>
              <a:chOff x="10038400" y="2082179"/>
              <a:chExt cx="133660" cy="211458"/>
            </a:xfrm>
            <a:noFill/>
          </p:grpSpPr>
          <p:sp>
            <p:nvSpPr>
              <p:cNvPr id="658" name="Forma livre: Forma 657">
                <a:extLst>
                  <a:ext uri="{FF2B5EF4-FFF2-40B4-BE49-F238E27FC236}">
                    <a16:creationId xmlns:a16="http://schemas.microsoft.com/office/drawing/2014/main" id="{82FF4F5A-5A3F-3F5B-3228-85B633D4FCE2}"/>
                  </a:ext>
                </a:extLst>
              </p:cNvPr>
              <p:cNvSpPr/>
              <p:nvPr/>
            </p:nvSpPr>
            <p:spPr>
              <a:xfrm>
                <a:off x="10038400" y="2082179"/>
                <a:ext cx="133660" cy="183522"/>
              </a:xfrm>
              <a:custGeom>
                <a:avLst/>
                <a:gdLst>
                  <a:gd name="connsiteX0" fmla="*/ 122427 w 133660"/>
                  <a:gd name="connsiteY0" fmla="*/ 83618 h 183522"/>
                  <a:gd name="connsiteX1" fmla="*/ 87484 w 133660"/>
                  <a:gd name="connsiteY1" fmla="*/ 180114 h 183522"/>
                  <a:gd name="connsiteX2" fmla="*/ 931 w 133660"/>
                  <a:gd name="connsiteY2" fmla="*/ 125995 h 183522"/>
                  <a:gd name="connsiteX3" fmla="*/ 26120 w 133660"/>
                  <a:gd name="connsiteY3" fmla="*/ 0 h 183522"/>
                  <a:gd name="connsiteX4" fmla="*/ 122475 w 133660"/>
                  <a:gd name="connsiteY4" fmla="*/ 83570 h 1835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33660" h="183522">
                    <a:moveTo>
                      <a:pt x="122427" y="83618"/>
                    </a:moveTo>
                    <a:cubicBezTo>
                      <a:pt x="150647" y="134944"/>
                      <a:pt x="120723" y="169555"/>
                      <a:pt x="87484" y="180114"/>
                    </a:cubicBezTo>
                    <a:cubicBezTo>
                      <a:pt x="54245" y="190673"/>
                      <a:pt x="9832" y="177794"/>
                      <a:pt x="931" y="125995"/>
                    </a:cubicBezTo>
                    <a:cubicBezTo>
                      <a:pt x="-5793" y="86837"/>
                      <a:pt x="26120" y="0"/>
                      <a:pt x="26120" y="0"/>
                    </a:cubicBezTo>
                    <a:cubicBezTo>
                      <a:pt x="26120" y="0"/>
                      <a:pt x="102020" y="46354"/>
                      <a:pt x="122475" y="83570"/>
                    </a:cubicBezTo>
                    <a:close/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659" name="Forma livre: Forma 658">
                <a:extLst>
                  <a:ext uri="{FF2B5EF4-FFF2-40B4-BE49-F238E27FC236}">
                    <a16:creationId xmlns:a16="http://schemas.microsoft.com/office/drawing/2014/main" id="{3D6241AC-B08A-C52F-39C7-930126DFF2A7}"/>
                  </a:ext>
                </a:extLst>
              </p:cNvPr>
              <p:cNvSpPr/>
              <p:nvPr/>
            </p:nvSpPr>
            <p:spPr>
              <a:xfrm>
                <a:off x="10065372" y="2209925"/>
                <a:ext cx="46733" cy="17566"/>
              </a:xfrm>
              <a:custGeom>
                <a:avLst/>
                <a:gdLst>
                  <a:gd name="connsiteX0" fmla="*/ 46733 w 46733"/>
                  <a:gd name="connsiteY0" fmla="*/ 17566 h 17566"/>
                  <a:gd name="connsiteX1" fmla="*/ 0 w 46733"/>
                  <a:gd name="connsiteY1" fmla="*/ 0 h 175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6733" h="17566">
                    <a:moveTo>
                      <a:pt x="46733" y="17566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660" name="Forma livre: Forma 659">
                <a:extLst>
                  <a:ext uri="{FF2B5EF4-FFF2-40B4-BE49-F238E27FC236}">
                    <a16:creationId xmlns:a16="http://schemas.microsoft.com/office/drawing/2014/main" id="{A174073A-CE69-E05F-6DB1-5C700F8FD262}"/>
                  </a:ext>
                </a:extLst>
              </p:cNvPr>
              <p:cNvSpPr/>
              <p:nvPr/>
            </p:nvSpPr>
            <p:spPr>
              <a:xfrm>
                <a:off x="10073706" y="2171715"/>
                <a:ext cx="22348" cy="8948"/>
              </a:xfrm>
              <a:custGeom>
                <a:avLst/>
                <a:gdLst>
                  <a:gd name="connsiteX0" fmla="*/ 22349 w 22348"/>
                  <a:gd name="connsiteY0" fmla="*/ 8949 h 8948"/>
                  <a:gd name="connsiteX1" fmla="*/ 0 w 22348"/>
                  <a:gd name="connsiteY1" fmla="*/ 0 h 89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2348" h="8948">
                    <a:moveTo>
                      <a:pt x="22349" y="8949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661" name="Forma livre: Forma 660">
                <a:extLst>
                  <a:ext uri="{FF2B5EF4-FFF2-40B4-BE49-F238E27FC236}">
                    <a16:creationId xmlns:a16="http://schemas.microsoft.com/office/drawing/2014/main" id="{20EFDDDD-4AB1-AE54-9F9F-537141244054}"/>
                  </a:ext>
                </a:extLst>
              </p:cNvPr>
              <p:cNvSpPr/>
              <p:nvPr/>
            </p:nvSpPr>
            <p:spPr>
              <a:xfrm>
                <a:off x="10115562" y="2183741"/>
                <a:ext cx="26183" cy="42566"/>
              </a:xfrm>
              <a:custGeom>
                <a:avLst/>
                <a:gdLst>
                  <a:gd name="connsiteX0" fmla="*/ 0 w 26183"/>
                  <a:gd name="connsiteY0" fmla="*/ 42566 h 42566"/>
                  <a:gd name="connsiteX1" fmla="*/ 26184 w 26183"/>
                  <a:gd name="connsiteY1" fmla="*/ 0 h 425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6183" h="42566">
                    <a:moveTo>
                      <a:pt x="0" y="42566"/>
                    </a:moveTo>
                    <a:lnTo>
                      <a:pt x="26184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662" name="Forma livre: Forma 661">
                <a:extLst>
                  <a:ext uri="{FF2B5EF4-FFF2-40B4-BE49-F238E27FC236}">
                    <a16:creationId xmlns:a16="http://schemas.microsoft.com/office/drawing/2014/main" id="{D31CBDDA-F90C-F5BD-0645-61228E5CA0EF}"/>
                  </a:ext>
                </a:extLst>
              </p:cNvPr>
              <p:cNvSpPr/>
              <p:nvPr/>
            </p:nvSpPr>
            <p:spPr>
              <a:xfrm>
                <a:off x="10099511" y="2160635"/>
                <a:ext cx="12073" cy="18844"/>
              </a:xfrm>
              <a:custGeom>
                <a:avLst/>
                <a:gdLst>
                  <a:gd name="connsiteX0" fmla="*/ 0 w 12073"/>
                  <a:gd name="connsiteY0" fmla="*/ 18845 h 18844"/>
                  <a:gd name="connsiteX1" fmla="*/ 12074 w 12073"/>
                  <a:gd name="connsiteY1" fmla="*/ 0 h 18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073" h="18844">
                    <a:moveTo>
                      <a:pt x="0" y="18845"/>
                    </a:moveTo>
                    <a:lnTo>
                      <a:pt x="12074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663" name="Forma livre: Forma 662">
                <a:extLst>
                  <a:ext uri="{FF2B5EF4-FFF2-40B4-BE49-F238E27FC236}">
                    <a16:creationId xmlns:a16="http://schemas.microsoft.com/office/drawing/2014/main" id="{37064CCE-B192-F3DA-B17C-B64BD48E7794}"/>
                  </a:ext>
                </a:extLst>
              </p:cNvPr>
              <p:cNvSpPr/>
              <p:nvPr/>
            </p:nvSpPr>
            <p:spPr>
              <a:xfrm>
                <a:off x="10081660" y="2132747"/>
                <a:ext cx="55492" cy="160890"/>
              </a:xfrm>
              <a:custGeom>
                <a:avLst/>
                <a:gdLst>
                  <a:gd name="connsiteX0" fmla="*/ 0 w 55492"/>
                  <a:gd name="connsiteY0" fmla="*/ 0 h 160890"/>
                  <a:gd name="connsiteX1" fmla="*/ 55493 w 55492"/>
                  <a:gd name="connsiteY1" fmla="*/ 160891 h 1608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5492" h="160890">
                    <a:moveTo>
                      <a:pt x="0" y="0"/>
                    </a:moveTo>
                    <a:lnTo>
                      <a:pt x="55493" y="160891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664" name="Gráfico 10">
            <a:extLst>
              <a:ext uri="{FF2B5EF4-FFF2-40B4-BE49-F238E27FC236}">
                <a16:creationId xmlns:a16="http://schemas.microsoft.com/office/drawing/2014/main" id="{563E3E21-9EC5-37A3-1378-14217C3322AE}"/>
              </a:ext>
            </a:extLst>
          </p:cNvPr>
          <p:cNvGrpSpPr/>
          <p:nvPr/>
        </p:nvGrpSpPr>
        <p:grpSpPr>
          <a:xfrm>
            <a:off x="11079770" y="996995"/>
            <a:ext cx="319603" cy="270123"/>
            <a:chOff x="11079770" y="996995"/>
            <a:chExt cx="319603" cy="270123"/>
          </a:xfrm>
          <a:noFill/>
        </p:grpSpPr>
        <p:sp>
          <p:nvSpPr>
            <p:cNvPr id="665" name="Forma livre: Forma 664">
              <a:extLst>
                <a:ext uri="{FF2B5EF4-FFF2-40B4-BE49-F238E27FC236}">
                  <a16:creationId xmlns:a16="http://schemas.microsoft.com/office/drawing/2014/main" id="{DB1F4C91-3AB3-6551-BE70-9E76D276C5FA}"/>
                </a:ext>
              </a:extLst>
            </p:cNvPr>
            <p:cNvSpPr/>
            <p:nvPr/>
          </p:nvSpPr>
          <p:spPr>
            <a:xfrm>
              <a:off x="11079770" y="1134401"/>
              <a:ext cx="159801" cy="132718"/>
            </a:xfrm>
            <a:custGeom>
              <a:avLst/>
              <a:gdLst>
                <a:gd name="connsiteX0" fmla="*/ 100568 w 159801"/>
                <a:gd name="connsiteY0" fmla="*/ 0 h 132718"/>
                <a:gd name="connsiteX1" fmla="*/ 44839 w 159801"/>
                <a:gd name="connsiteY1" fmla="*/ 24621 h 132718"/>
                <a:gd name="connsiteX2" fmla="*/ 0 w 159801"/>
                <a:gd name="connsiteY2" fmla="*/ 123533 h 132718"/>
                <a:gd name="connsiteX3" fmla="*/ 80493 w 159801"/>
                <a:gd name="connsiteY3" fmla="*/ 87879 h 132718"/>
                <a:gd name="connsiteX4" fmla="*/ 159802 w 159801"/>
                <a:gd name="connsiteY4" fmla="*/ 132718 h 132718"/>
                <a:gd name="connsiteX5" fmla="*/ 159802 w 159801"/>
                <a:gd name="connsiteY5" fmla="*/ 84943 h 1327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59801" h="132718">
                  <a:moveTo>
                    <a:pt x="100568" y="0"/>
                  </a:moveTo>
                  <a:lnTo>
                    <a:pt x="44839" y="24621"/>
                  </a:lnTo>
                  <a:lnTo>
                    <a:pt x="0" y="123533"/>
                  </a:lnTo>
                  <a:lnTo>
                    <a:pt x="80493" y="87879"/>
                  </a:lnTo>
                  <a:lnTo>
                    <a:pt x="159802" y="132718"/>
                  </a:lnTo>
                  <a:lnTo>
                    <a:pt x="159802" y="84943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66" name="Forma livre: Forma 665">
              <a:extLst>
                <a:ext uri="{FF2B5EF4-FFF2-40B4-BE49-F238E27FC236}">
                  <a16:creationId xmlns:a16="http://schemas.microsoft.com/office/drawing/2014/main" id="{09D28A8D-5DC0-8576-6106-B7CD13A93C24}"/>
                </a:ext>
              </a:extLst>
            </p:cNvPr>
            <p:cNvSpPr/>
            <p:nvPr/>
          </p:nvSpPr>
          <p:spPr>
            <a:xfrm>
              <a:off x="11160262" y="1168255"/>
              <a:ext cx="20691" cy="54024"/>
            </a:xfrm>
            <a:custGeom>
              <a:avLst/>
              <a:gdLst>
                <a:gd name="connsiteX0" fmla="*/ 20691 w 20691"/>
                <a:gd name="connsiteY0" fmla="*/ 0 h 54024"/>
                <a:gd name="connsiteX1" fmla="*/ 0 w 20691"/>
                <a:gd name="connsiteY1" fmla="*/ 54025 h 54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0691" h="54024">
                  <a:moveTo>
                    <a:pt x="20691" y="0"/>
                  </a:moveTo>
                  <a:lnTo>
                    <a:pt x="0" y="54025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67" name="Forma livre: Forma 666">
              <a:extLst>
                <a:ext uri="{FF2B5EF4-FFF2-40B4-BE49-F238E27FC236}">
                  <a16:creationId xmlns:a16="http://schemas.microsoft.com/office/drawing/2014/main" id="{0B21E10C-795A-2DCD-25D6-08757B365478}"/>
                </a:ext>
              </a:extLst>
            </p:cNvPr>
            <p:cNvSpPr/>
            <p:nvPr/>
          </p:nvSpPr>
          <p:spPr>
            <a:xfrm>
              <a:off x="11239571" y="1133880"/>
              <a:ext cx="159801" cy="133239"/>
            </a:xfrm>
            <a:custGeom>
              <a:avLst/>
              <a:gdLst>
                <a:gd name="connsiteX0" fmla="*/ 59565 w 159801"/>
                <a:gd name="connsiteY0" fmla="*/ 0 h 133239"/>
                <a:gd name="connsiteX1" fmla="*/ 114963 w 159801"/>
                <a:gd name="connsiteY1" fmla="*/ 25142 h 133239"/>
                <a:gd name="connsiteX2" fmla="*/ 159802 w 159801"/>
                <a:gd name="connsiteY2" fmla="*/ 124053 h 133239"/>
                <a:gd name="connsiteX3" fmla="*/ 79356 w 159801"/>
                <a:gd name="connsiteY3" fmla="*/ 88400 h 133239"/>
                <a:gd name="connsiteX4" fmla="*/ 0 w 159801"/>
                <a:gd name="connsiteY4" fmla="*/ 133239 h 1332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9801" h="133239">
                  <a:moveTo>
                    <a:pt x="59565" y="0"/>
                  </a:moveTo>
                  <a:lnTo>
                    <a:pt x="114963" y="25142"/>
                  </a:lnTo>
                  <a:lnTo>
                    <a:pt x="159802" y="124053"/>
                  </a:lnTo>
                  <a:lnTo>
                    <a:pt x="79356" y="88400"/>
                  </a:lnTo>
                  <a:lnTo>
                    <a:pt x="0" y="133239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68" name="Forma livre: Forma 667">
              <a:extLst>
                <a:ext uri="{FF2B5EF4-FFF2-40B4-BE49-F238E27FC236}">
                  <a16:creationId xmlns:a16="http://schemas.microsoft.com/office/drawing/2014/main" id="{DF953761-5BEC-7D34-1107-8BBD69D42DA1}"/>
                </a:ext>
              </a:extLst>
            </p:cNvPr>
            <p:cNvSpPr/>
            <p:nvPr/>
          </p:nvSpPr>
          <p:spPr>
            <a:xfrm>
              <a:off x="11298189" y="1168255"/>
              <a:ext cx="20738" cy="54024"/>
            </a:xfrm>
            <a:custGeom>
              <a:avLst/>
              <a:gdLst>
                <a:gd name="connsiteX0" fmla="*/ 0 w 20738"/>
                <a:gd name="connsiteY0" fmla="*/ 0 h 54024"/>
                <a:gd name="connsiteX1" fmla="*/ 20739 w 20738"/>
                <a:gd name="connsiteY1" fmla="*/ 54025 h 54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0738" h="54024">
                  <a:moveTo>
                    <a:pt x="0" y="0"/>
                  </a:moveTo>
                  <a:lnTo>
                    <a:pt x="20739" y="54025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69" name="Forma livre: Forma 668">
              <a:extLst>
                <a:ext uri="{FF2B5EF4-FFF2-40B4-BE49-F238E27FC236}">
                  <a16:creationId xmlns:a16="http://schemas.microsoft.com/office/drawing/2014/main" id="{7811EB6A-76ED-B265-CEB2-CAB1420DD5AE}"/>
                </a:ext>
              </a:extLst>
            </p:cNvPr>
            <p:cNvSpPr/>
            <p:nvPr/>
          </p:nvSpPr>
          <p:spPr>
            <a:xfrm>
              <a:off x="11177829" y="996995"/>
              <a:ext cx="123390" cy="199669"/>
            </a:xfrm>
            <a:custGeom>
              <a:avLst/>
              <a:gdLst>
                <a:gd name="connsiteX0" fmla="*/ 123391 w 123390"/>
                <a:gd name="connsiteY0" fmla="*/ 61695 h 199669"/>
                <a:gd name="connsiteX1" fmla="*/ 61695 w 123390"/>
                <a:gd name="connsiteY1" fmla="*/ 199669 h 199669"/>
                <a:gd name="connsiteX2" fmla="*/ 0 w 123390"/>
                <a:gd name="connsiteY2" fmla="*/ 61695 h 199669"/>
                <a:gd name="connsiteX3" fmla="*/ 61695 w 123390"/>
                <a:gd name="connsiteY3" fmla="*/ 0 h 199669"/>
                <a:gd name="connsiteX4" fmla="*/ 123391 w 123390"/>
                <a:gd name="connsiteY4" fmla="*/ 61695 h 1996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3390" h="199669">
                  <a:moveTo>
                    <a:pt x="123391" y="61695"/>
                  </a:moveTo>
                  <a:cubicBezTo>
                    <a:pt x="123391" y="95786"/>
                    <a:pt x="61695" y="199669"/>
                    <a:pt x="61695" y="199669"/>
                  </a:cubicBezTo>
                  <a:cubicBezTo>
                    <a:pt x="61695" y="199669"/>
                    <a:pt x="0" y="95739"/>
                    <a:pt x="0" y="61695"/>
                  </a:cubicBezTo>
                  <a:cubicBezTo>
                    <a:pt x="0" y="27652"/>
                    <a:pt x="27604" y="0"/>
                    <a:pt x="61695" y="0"/>
                  </a:cubicBezTo>
                  <a:cubicBezTo>
                    <a:pt x="95786" y="0"/>
                    <a:pt x="123391" y="27604"/>
                    <a:pt x="123391" y="61695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70" name="Forma livre: Forma 669">
              <a:extLst>
                <a:ext uri="{FF2B5EF4-FFF2-40B4-BE49-F238E27FC236}">
                  <a16:creationId xmlns:a16="http://schemas.microsoft.com/office/drawing/2014/main" id="{1A41FDFF-7D8B-3570-37EF-94AD90352255}"/>
                </a:ext>
              </a:extLst>
            </p:cNvPr>
            <p:cNvSpPr/>
            <p:nvPr/>
          </p:nvSpPr>
          <p:spPr>
            <a:xfrm>
              <a:off x="11207611" y="1026777"/>
              <a:ext cx="63826" cy="63825"/>
            </a:xfrm>
            <a:custGeom>
              <a:avLst/>
              <a:gdLst>
                <a:gd name="connsiteX0" fmla="*/ 63826 w 63826"/>
                <a:gd name="connsiteY0" fmla="*/ 31913 h 63825"/>
                <a:gd name="connsiteX1" fmla="*/ 31913 w 63826"/>
                <a:gd name="connsiteY1" fmla="*/ 63826 h 63825"/>
                <a:gd name="connsiteX2" fmla="*/ 0 w 63826"/>
                <a:gd name="connsiteY2" fmla="*/ 31913 h 63825"/>
                <a:gd name="connsiteX3" fmla="*/ 31913 w 63826"/>
                <a:gd name="connsiteY3" fmla="*/ 0 h 63825"/>
                <a:gd name="connsiteX4" fmla="*/ 63826 w 63826"/>
                <a:gd name="connsiteY4" fmla="*/ 31913 h 638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826" h="63825">
                  <a:moveTo>
                    <a:pt x="63826" y="31913"/>
                  </a:moveTo>
                  <a:cubicBezTo>
                    <a:pt x="63826" y="49527"/>
                    <a:pt x="49527" y="63826"/>
                    <a:pt x="31913" y="63826"/>
                  </a:cubicBezTo>
                  <a:cubicBezTo>
                    <a:pt x="14299" y="63826"/>
                    <a:pt x="0" y="49527"/>
                    <a:pt x="0" y="31913"/>
                  </a:cubicBezTo>
                  <a:cubicBezTo>
                    <a:pt x="0" y="14299"/>
                    <a:pt x="14299" y="0"/>
                    <a:pt x="31913" y="0"/>
                  </a:cubicBezTo>
                  <a:cubicBezTo>
                    <a:pt x="49527" y="0"/>
                    <a:pt x="63826" y="14299"/>
                    <a:pt x="63826" y="31913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671" name="Gráfico 10">
            <a:extLst>
              <a:ext uri="{FF2B5EF4-FFF2-40B4-BE49-F238E27FC236}">
                <a16:creationId xmlns:a16="http://schemas.microsoft.com/office/drawing/2014/main" id="{11A7CA84-5B5A-6A6D-9695-22BB17E0851D}"/>
              </a:ext>
            </a:extLst>
          </p:cNvPr>
          <p:cNvGrpSpPr/>
          <p:nvPr/>
        </p:nvGrpSpPr>
        <p:grpSpPr>
          <a:xfrm>
            <a:off x="10475506" y="977440"/>
            <a:ext cx="296260" cy="309233"/>
            <a:chOff x="10475506" y="977440"/>
            <a:chExt cx="296260" cy="309233"/>
          </a:xfrm>
          <a:noFill/>
        </p:grpSpPr>
        <p:sp>
          <p:nvSpPr>
            <p:cNvPr id="672" name="Forma livre: Forma 671">
              <a:extLst>
                <a:ext uri="{FF2B5EF4-FFF2-40B4-BE49-F238E27FC236}">
                  <a16:creationId xmlns:a16="http://schemas.microsoft.com/office/drawing/2014/main" id="{D8B42A54-CDC0-21E6-0B93-C8F4BAC20516}"/>
                </a:ext>
              </a:extLst>
            </p:cNvPr>
            <p:cNvSpPr/>
            <p:nvPr/>
          </p:nvSpPr>
          <p:spPr>
            <a:xfrm>
              <a:off x="10589806" y="1050830"/>
              <a:ext cx="67329" cy="4734"/>
            </a:xfrm>
            <a:custGeom>
              <a:avLst/>
              <a:gdLst>
                <a:gd name="connsiteX0" fmla="*/ 0 w 67329"/>
                <a:gd name="connsiteY0" fmla="*/ 0 h 4734"/>
                <a:gd name="connsiteX1" fmla="*/ 67330 w 67329"/>
                <a:gd name="connsiteY1" fmla="*/ 0 h 47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7329" h="4734">
                  <a:moveTo>
                    <a:pt x="0" y="0"/>
                  </a:moveTo>
                  <a:lnTo>
                    <a:pt x="6733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73" name="Forma livre: Forma 672">
              <a:extLst>
                <a:ext uri="{FF2B5EF4-FFF2-40B4-BE49-F238E27FC236}">
                  <a16:creationId xmlns:a16="http://schemas.microsoft.com/office/drawing/2014/main" id="{7E55DDFC-5498-61ED-6FC9-ACDA90E3A3C9}"/>
                </a:ext>
              </a:extLst>
            </p:cNvPr>
            <p:cNvSpPr/>
            <p:nvPr/>
          </p:nvSpPr>
          <p:spPr>
            <a:xfrm>
              <a:off x="10589806" y="1088709"/>
              <a:ext cx="67329" cy="4734"/>
            </a:xfrm>
            <a:custGeom>
              <a:avLst/>
              <a:gdLst>
                <a:gd name="connsiteX0" fmla="*/ 0 w 67329"/>
                <a:gd name="connsiteY0" fmla="*/ 0 h 4734"/>
                <a:gd name="connsiteX1" fmla="*/ 67330 w 67329"/>
                <a:gd name="connsiteY1" fmla="*/ 0 h 47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7329" h="4734">
                  <a:moveTo>
                    <a:pt x="0" y="0"/>
                  </a:moveTo>
                  <a:lnTo>
                    <a:pt x="6733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74" name="Forma livre: Forma 673">
              <a:extLst>
                <a:ext uri="{FF2B5EF4-FFF2-40B4-BE49-F238E27FC236}">
                  <a16:creationId xmlns:a16="http://schemas.microsoft.com/office/drawing/2014/main" id="{F45DAD6C-AB31-169D-D113-6CFC2043EAB1}"/>
                </a:ext>
              </a:extLst>
            </p:cNvPr>
            <p:cNvSpPr/>
            <p:nvPr/>
          </p:nvSpPr>
          <p:spPr>
            <a:xfrm>
              <a:off x="10589806" y="1126588"/>
              <a:ext cx="67329" cy="4734"/>
            </a:xfrm>
            <a:custGeom>
              <a:avLst/>
              <a:gdLst>
                <a:gd name="connsiteX0" fmla="*/ 0 w 67329"/>
                <a:gd name="connsiteY0" fmla="*/ 0 h 4734"/>
                <a:gd name="connsiteX1" fmla="*/ 67330 w 67329"/>
                <a:gd name="connsiteY1" fmla="*/ 0 h 47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7329" h="4734">
                  <a:moveTo>
                    <a:pt x="0" y="0"/>
                  </a:moveTo>
                  <a:lnTo>
                    <a:pt x="6733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75" name="Forma livre: Forma 674">
              <a:extLst>
                <a:ext uri="{FF2B5EF4-FFF2-40B4-BE49-F238E27FC236}">
                  <a16:creationId xmlns:a16="http://schemas.microsoft.com/office/drawing/2014/main" id="{1911DC6A-EBBE-5DEE-5C51-4173C230AF3A}"/>
                </a:ext>
              </a:extLst>
            </p:cNvPr>
            <p:cNvSpPr/>
            <p:nvPr/>
          </p:nvSpPr>
          <p:spPr>
            <a:xfrm>
              <a:off x="10589806" y="1202346"/>
              <a:ext cx="67329" cy="4734"/>
            </a:xfrm>
            <a:custGeom>
              <a:avLst/>
              <a:gdLst>
                <a:gd name="connsiteX0" fmla="*/ 0 w 67329"/>
                <a:gd name="connsiteY0" fmla="*/ 0 h 4734"/>
                <a:gd name="connsiteX1" fmla="*/ 67330 w 67329"/>
                <a:gd name="connsiteY1" fmla="*/ 0 h 47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7329" h="4734">
                  <a:moveTo>
                    <a:pt x="0" y="0"/>
                  </a:moveTo>
                  <a:lnTo>
                    <a:pt x="6733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76" name="Forma livre: Forma 675">
              <a:extLst>
                <a:ext uri="{FF2B5EF4-FFF2-40B4-BE49-F238E27FC236}">
                  <a16:creationId xmlns:a16="http://schemas.microsoft.com/office/drawing/2014/main" id="{2433478F-BCB1-4916-3947-307DE8A5CBC2}"/>
                </a:ext>
              </a:extLst>
            </p:cNvPr>
            <p:cNvSpPr/>
            <p:nvPr/>
          </p:nvSpPr>
          <p:spPr>
            <a:xfrm>
              <a:off x="10589806" y="1240225"/>
              <a:ext cx="67329" cy="4734"/>
            </a:xfrm>
            <a:custGeom>
              <a:avLst/>
              <a:gdLst>
                <a:gd name="connsiteX0" fmla="*/ 0 w 67329"/>
                <a:gd name="connsiteY0" fmla="*/ 0 h 4734"/>
                <a:gd name="connsiteX1" fmla="*/ 67330 w 67329"/>
                <a:gd name="connsiteY1" fmla="*/ 0 h 47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7329" h="4734">
                  <a:moveTo>
                    <a:pt x="0" y="0"/>
                  </a:moveTo>
                  <a:lnTo>
                    <a:pt x="6733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77" name="Forma livre: Forma 676">
              <a:extLst>
                <a:ext uri="{FF2B5EF4-FFF2-40B4-BE49-F238E27FC236}">
                  <a16:creationId xmlns:a16="http://schemas.microsoft.com/office/drawing/2014/main" id="{3A59A844-E97A-562B-D876-77401C0CD5E3}"/>
                </a:ext>
              </a:extLst>
            </p:cNvPr>
            <p:cNvSpPr/>
            <p:nvPr/>
          </p:nvSpPr>
          <p:spPr>
            <a:xfrm>
              <a:off x="10589806" y="1164467"/>
              <a:ext cx="67329" cy="4734"/>
            </a:xfrm>
            <a:custGeom>
              <a:avLst/>
              <a:gdLst>
                <a:gd name="connsiteX0" fmla="*/ 0 w 67329"/>
                <a:gd name="connsiteY0" fmla="*/ 0 h 4734"/>
                <a:gd name="connsiteX1" fmla="*/ 67330 w 67329"/>
                <a:gd name="connsiteY1" fmla="*/ 0 h 47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7329" h="4734">
                  <a:moveTo>
                    <a:pt x="0" y="0"/>
                  </a:moveTo>
                  <a:lnTo>
                    <a:pt x="6733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78" name="Forma livre: Forma 677">
              <a:extLst>
                <a:ext uri="{FF2B5EF4-FFF2-40B4-BE49-F238E27FC236}">
                  <a16:creationId xmlns:a16="http://schemas.microsoft.com/office/drawing/2014/main" id="{EAA448D9-7336-554E-723F-1DF9591D5780}"/>
                </a:ext>
              </a:extLst>
            </p:cNvPr>
            <p:cNvSpPr/>
            <p:nvPr/>
          </p:nvSpPr>
          <p:spPr>
            <a:xfrm>
              <a:off x="10589806" y="1278104"/>
              <a:ext cx="67329" cy="4734"/>
            </a:xfrm>
            <a:custGeom>
              <a:avLst/>
              <a:gdLst>
                <a:gd name="connsiteX0" fmla="*/ 0 w 67329"/>
                <a:gd name="connsiteY0" fmla="*/ 0 h 4734"/>
                <a:gd name="connsiteX1" fmla="*/ 67330 w 67329"/>
                <a:gd name="connsiteY1" fmla="*/ 0 h 47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7329" h="4734">
                  <a:moveTo>
                    <a:pt x="0" y="0"/>
                  </a:moveTo>
                  <a:lnTo>
                    <a:pt x="6733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79" name="Forma livre: Forma 678">
              <a:extLst>
                <a:ext uri="{FF2B5EF4-FFF2-40B4-BE49-F238E27FC236}">
                  <a16:creationId xmlns:a16="http://schemas.microsoft.com/office/drawing/2014/main" id="{590A88DD-DEDB-8CF2-E658-FAE45A34D629}"/>
                </a:ext>
              </a:extLst>
            </p:cNvPr>
            <p:cNvSpPr/>
            <p:nvPr/>
          </p:nvSpPr>
          <p:spPr>
            <a:xfrm>
              <a:off x="10501501" y="1202346"/>
              <a:ext cx="37358" cy="4734"/>
            </a:xfrm>
            <a:custGeom>
              <a:avLst/>
              <a:gdLst>
                <a:gd name="connsiteX0" fmla="*/ 0 w 37358"/>
                <a:gd name="connsiteY0" fmla="*/ 0 h 4734"/>
                <a:gd name="connsiteX1" fmla="*/ 37358 w 37358"/>
                <a:gd name="connsiteY1" fmla="*/ 0 h 47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7358" h="4734">
                  <a:moveTo>
                    <a:pt x="0" y="0"/>
                  </a:moveTo>
                  <a:lnTo>
                    <a:pt x="37358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80" name="Forma livre: Forma 679">
              <a:extLst>
                <a:ext uri="{FF2B5EF4-FFF2-40B4-BE49-F238E27FC236}">
                  <a16:creationId xmlns:a16="http://schemas.microsoft.com/office/drawing/2014/main" id="{EB0C0712-671E-A0B4-3256-834AC709B74E}"/>
                </a:ext>
              </a:extLst>
            </p:cNvPr>
            <p:cNvSpPr/>
            <p:nvPr/>
          </p:nvSpPr>
          <p:spPr>
            <a:xfrm>
              <a:off x="10501501" y="1240225"/>
              <a:ext cx="37358" cy="4734"/>
            </a:xfrm>
            <a:custGeom>
              <a:avLst/>
              <a:gdLst>
                <a:gd name="connsiteX0" fmla="*/ 0 w 37358"/>
                <a:gd name="connsiteY0" fmla="*/ 0 h 4734"/>
                <a:gd name="connsiteX1" fmla="*/ 37358 w 37358"/>
                <a:gd name="connsiteY1" fmla="*/ 0 h 47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7358" h="4734">
                  <a:moveTo>
                    <a:pt x="0" y="0"/>
                  </a:moveTo>
                  <a:lnTo>
                    <a:pt x="37358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81" name="Forma livre: Forma 680">
              <a:extLst>
                <a:ext uri="{FF2B5EF4-FFF2-40B4-BE49-F238E27FC236}">
                  <a16:creationId xmlns:a16="http://schemas.microsoft.com/office/drawing/2014/main" id="{012A72CC-DB4D-CD65-C971-35A7BA4A017C}"/>
                </a:ext>
              </a:extLst>
            </p:cNvPr>
            <p:cNvSpPr/>
            <p:nvPr/>
          </p:nvSpPr>
          <p:spPr>
            <a:xfrm>
              <a:off x="10501501" y="1164467"/>
              <a:ext cx="37358" cy="4734"/>
            </a:xfrm>
            <a:custGeom>
              <a:avLst/>
              <a:gdLst>
                <a:gd name="connsiteX0" fmla="*/ 0 w 37358"/>
                <a:gd name="connsiteY0" fmla="*/ 0 h 4734"/>
                <a:gd name="connsiteX1" fmla="*/ 37358 w 37358"/>
                <a:gd name="connsiteY1" fmla="*/ 0 h 47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7358" h="4734">
                  <a:moveTo>
                    <a:pt x="0" y="0"/>
                  </a:moveTo>
                  <a:lnTo>
                    <a:pt x="37358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82" name="Forma livre: Forma 681">
              <a:extLst>
                <a:ext uri="{FF2B5EF4-FFF2-40B4-BE49-F238E27FC236}">
                  <a16:creationId xmlns:a16="http://schemas.microsoft.com/office/drawing/2014/main" id="{A14F7048-ED49-A4AA-8F61-4DBB3418FD3F}"/>
                </a:ext>
              </a:extLst>
            </p:cNvPr>
            <p:cNvSpPr/>
            <p:nvPr/>
          </p:nvSpPr>
          <p:spPr>
            <a:xfrm>
              <a:off x="10501501" y="1278104"/>
              <a:ext cx="37358" cy="4734"/>
            </a:xfrm>
            <a:custGeom>
              <a:avLst/>
              <a:gdLst>
                <a:gd name="connsiteX0" fmla="*/ 0 w 37358"/>
                <a:gd name="connsiteY0" fmla="*/ 0 h 4734"/>
                <a:gd name="connsiteX1" fmla="*/ 37358 w 37358"/>
                <a:gd name="connsiteY1" fmla="*/ 0 h 47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7358" h="4734">
                  <a:moveTo>
                    <a:pt x="0" y="0"/>
                  </a:moveTo>
                  <a:lnTo>
                    <a:pt x="37358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83" name="Forma livre: Forma 682">
              <a:extLst>
                <a:ext uri="{FF2B5EF4-FFF2-40B4-BE49-F238E27FC236}">
                  <a16:creationId xmlns:a16="http://schemas.microsoft.com/office/drawing/2014/main" id="{E8A4792A-4FE2-225A-E301-6279A258E1B9}"/>
                </a:ext>
              </a:extLst>
            </p:cNvPr>
            <p:cNvSpPr/>
            <p:nvPr/>
          </p:nvSpPr>
          <p:spPr>
            <a:xfrm>
              <a:off x="10707515" y="1202346"/>
              <a:ext cx="37073" cy="4734"/>
            </a:xfrm>
            <a:custGeom>
              <a:avLst/>
              <a:gdLst>
                <a:gd name="connsiteX0" fmla="*/ 0 w 37073"/>
                <a:gd name="connsiteY0" fmla="*/ 0 h 4734"/>
                <a:gd name="connsiteX1" fmla="*/ 37074 w 37073"/>
                <a:gd name="connsiteY1" fmla="*/ 0 h 47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7073" h="4734">
                  <a:moveTo>
                    <a:pt x="0" y="0"/>
                  </a:moveTo>
                  <a:lnTo>
                    <a:pt x="37074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84" name="Forma livre: Forma 683">
              <a:extLst>
                <a:ext uri="{FF2B5EF4-FFF2-40B4-BE49-F238E27FC236}">
                  <a16:creationId xmlns:a16="http://schemas.microsoft.com/office/drawing/2014/main" id="{2190AA16-CCE2-4AAE-B945-A60F43047344}"/>
                </a:ext>
              </a:extLst>
            </p:cNvPr>
            <p:cNvSpPr/>
            <p:nvPr/>
          </p:nvSpPr>
          <p:spPr>
            <a:xfrm>
              <a:off x="10707515" y="1240225"/>
              <a:ext cx="37073" cy="4734"/>
            </a:xfrm>
            <a:custGeom>
              <a:avLst/>
              <a:gdLst>
                <a:gd name="connsiteX0" fmla="*/ 0 w 37073"/>
                <a:gd name="connsiteY0" fmla="*/ 0 h 4734"/>
                <a:gd name="connsiteX1" fmla="*/ 37074 w 37073"/>
                <a:gd name="connsiteY1" fmla="*/ 0 h 47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7073" h="4734">
                  <a:moveTo>
                    <a:pt x="0" y="0"/>
                  </a:moveTo>
                  <a:lnTo>
                    <a:pt x="37074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85" name="Forma livre: Forma 684">
              <a:extLst>
                <a:ext uri="{FF2B5EF4-FFF2-40B4-BE49-F238E27FC236}">
                  <a16:creationId xmlns:a16="http://schemas.microsoft.com/office/drawing/2014/main" id="{1C4C6046-30F4-6E8F-398C-726755D945B7}"/>
                </a:ext>
              </a:extLst>
            </p:cNvPr>
            <p:cNvSpPr/>
            <p:nvPr/>
          </p:nvSpPr>
          <p:spPr>
            <a:xfrm>
              <a:off x="10707515" y="1278104"/>
              <a:ext cx="37073" cy="4734"/>
            </a:xfrm>
            <a:custGeom>
              <a:avLst/>
              <a:gdLst>
                <a:gd name="connsiteX0" fmla="*/ 0 w 37073"/>
                <a:gd name="connsiteY0" fmla="*/ 0 h 4734"/>
                <a:gd name="connsiteX1" fmla="*/ 37074 w 37073"/>
                <a:gd name="connsiteY1" fmla="*/ 0 h 47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7073" h="4734">
                  <a:moveTo>
                    <a:pt x="0" y="0"/>
                  </a:moveTo>
                  <a:lnTo>
                    <a:pt x="37074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686" name="Gráfico 10">
              <a:extLst>
                <a:ext uri="{FF2B5EF4-FFF2-40B4-BE49-F238E27FC236}">
                  <a16:creationId xmlns:a16="http://schemas.microsoft.com/office/drawing/2014/main" id="{6EEE8C1B-EB0B-6A4E-6B3C-35684040F820}"/>
                </a:ext>
              </a:extLst>
            </p:cNvPr>
            <p:cNvGrpSpPr/>
            <p:nvPr/>
          </p:nvGrpSpPr>
          <p:grpSpPr>
            <a:xfrm>
              <a:off x="10475506" y="977440"/>
              <a:ext cx="296260" cy="309233"/>
              <a:chOff x="10475506" y="977440"/>
              <a:chExt cx="296260" cy="309233"/>
            </a:xfrm>
            <a:noFill/>
          </p:grpSpPr>
          <p:sp>
            <p:nvSpPr>
              <p:cNvPr id="687" name="Forma livre: Forma 686">
                <a:extLst>
                  <a:ext uri="{FF2B5EF4-FFF2-40B4-BE49-F238E27FC236}">
                    <a16:creationId xmlns:a16="http://schemas.microsoft.com/office/drawing/2014/main" id="{215F0726-11B2-008D-CEAF-202188A19C3F}"/>
                  </a:ext>
                </a:extLst>
              </p:cNvPr>
              <p:cNvSpPr/>
              <p:nvPr/>
            </p:nvSpPr>
            <p:spPr>
              <a:xfrm>
                <a:off x="10623376" y="977440"/>
                <a:ext cx="4734" cy="33901"/>
              </a:xfrm>
              <a:custGeom>
                <a:avLst/>
                <a:gdLst>
                  <a:gd name="connsiteX0" fmla="*/ 0 w 4734"/>
                  <a:gd name="connsiteY0" fmla="*/ 0 h 33901"/>
                  <a:gd name="connsiteX1" fmla="*/ 0 w 4734"/>
                  <a:gd name="connsiteY1" fmla="*/ 33902 h 339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34" h="33901">
                    <a:moveTo>
                      <a:pt x="0" y="0"/>
                    </a:moveTo>
                    <a:lnTo>
                      <a:pt x="0" y="33902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688" name="Forma livre: Forma 687">
                <a:extLst>
                  <a:ext uri="{FF2B5EF4-FFF2-40B4-BE49-F238E27FC236}">
                    <a16:creationId xmlns:a16="http://schemas.microsoft.com/office/drawing/2014/main" id="{0A4F8471-D9CB-D3F3-2A32-BC83105D9176}"/>
                  </a:ext>
                </a:extLst>
              </p:cNvPr>
              <p:cNvSpPr/>
              <p:nvPr/>
            </p:nvSpPr>
            <p:spPr>
              <a:xfrm>
                <a:off x="10563717" y="1013141"/>
                <a:ext cx="119318" cy="273533"/>
              </a:xfrm>
              <a:custGeom>
                <a:avLst/>
                <a:gdLst>
                  <a:gd name="connsiteX0" fmla="*/ 0 w 119318"/>
                  <a:gd name="connsiteY0" fmla="*/ 273533 h 273533"/>
                  <a:gd name="connsiteX1" fmla="*/ 0 w 119318"/>
                  <a:gd name="connsiteY1" fmla="*/ 14205 h 273533"/>
                  <a:gd name="connsiteX2" fmla="*/ 14205 w 119318"/>
                  <a:gd name="connsiteY2" fmla="*/ 0 h 273533"/>
                  <a:gd name="connsiteX3" fmla="*/ 105114 w 119318"/>
                  <a:gd name="connsiteY3" fmla="*/ 0 h 273533"/>
                  <a:gd name="connsiteX4" fmla="*/ 119319 w 119318"/>
                  <a:gd name="connsiteY4" fmla="*/ 14205 h 273533"/>
                  <a:gd name="connsiteX5" fmla="*/ 119319 w 119318"/>
                  <a:gd name="connsiteY5" fmla="*/ 273533 h 2735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19318" h="273533">
                    <a:moveTo>
                      <a:pt x="0" y="273533"/>
                    </a:moveTo>
                    <a:lnTo>
                      <a:pt x="0" y="14205"/>
                    </a:lnTo>
                    <a:cubicBezTo>
                      <a:pt x="0" y="6392"/>
                      <a:pt x="6392" y="0"/>
                      <a:pt x="14205" y="0"/>
                    </a:cubicBezTo>
                    <a:lnTo>
                      <a:pt x="105114" y="0"/>
                    </a:lnTo>
                    <a:cubicBezTo>
                      <a:pt x="112926" y="0"/>
                      <a:pt x="119319" y="6392"/>
                      <a:pt x="119319" y="14205"/>
                    </a:cubicBezTo>
                    <a:lnTo>
                      <a:pt x="119319" y="273533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689" name="Forma livre: Forma 688">
                <a:extLst>
                  <a:ext uri="{FF2B5EF4-FFF2-40B4-BE49-F238E27FC236}">
                    <a16:creationId xmlns:a16="http://schemas.microsoft.com/office/drawing/2014/main" id="{93CFEB77-B35F-8EB2-DC9C-B2B74D871B54}"/>
                  </a:ext>
                </a:extLst>
              </p:cNvPr>
              <p:cNvSpPr/>
              <p:nvPr/>
            </p:nvSpPr>
            <p:spPr>
              <a:xfrm>
                <a:off x="10475506" y="1125073"/>
                <a:ext cx="63305" cy="161600"/>
              </a:xfrm>
              <a:custGeom>
                <a:avLst/>
                <a:gdLst>
                  <a:gd name="connsiteX0" fmla="*/ 0 w 63305"/>
                  <a:gd name="connsiteY0" fmla="*/ 161601 h 161600"/>
                  <a:gd name="connsiteX1" fmla="*/ 0 w 63305"/>
                  <a:gd name="connsiteY1" fmla="*/ 14205 h 161600"/>
                  <a:gd name="connsiteX2" fmla="*/ 14205 w 63305"/>
                  <a:gd name="connsiteY2" fmla="*/ 0 h 161600"/>
                  <a:gd name="connsiteX3" fmla="*/ 63305 w 63305"/>
                  <a:gd name="connsiteY3" fmla="*/ 0 h 1616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3305" h="161600">
                    <a:moveTo>
                      <a:pt x="0" y="161601"/>
                    </a:moveTo>
                    <a:lnTo>
                      <a:pt x="0" y="14205"/>
                    </a:lnTo>
                    <a:cubicBezTo>
                      <a:pt x="0" y="6392"/>
                      <a:pt x="6392" y="0"/>
                      <a:pt x="14205" y="0"/>
                    </a:cubicBezTo>
                    <a:lnTo>
                      <a:pt x="63305" y="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690" name="Forma livre: Forma 689">
                <a:extLst>
                  <a:ext uri="{FF2B5EF4-FFF2-40B4-BE49-F238E27FC236}">
                    <a16:creationId xmlns:a16="http://schemas.microsoft.com/office/drawing/2014/main" id="{B975FA47-402E-A359-D7D0-65115C63667D}"/>
                  </a:ext>
                </a:extLst>
              </p:cNvPr>
              <p:cNvSpPr/>
              <p:nvPr/>
            </p:nvSpPr>
            <p:spPr>
              <a:xfrm>
                <a:off x="10707515" y="1163331"/>
                <a:ext cx="64252" cy="123343"/>
              </a:xfrm>
              <a:custGeom>
                <a:avLst/>
                <a:gdLst>
                  <a:gd name="connsiteX0" fmla="*/ 64252 w 64252"/>
                  <a:gd name="connsiteY0" fmla="*/ 123343 h 123343"/>
                  <a:gd name="connsiteX1" fmla="*/ 64252 w 64252"/>
                  <a:gd name="connsiteY1" fmla="*/ 14205 h 123343"/>
                  <a:gd name="connsiteX2" fmla="*/ 50048 w 64252"/>
                  <a:gd name="connsiteY2" fmla="*/ 0 h 123343"/>
                  <a:gd name="connsiteX3" fmla="*/ 0 w 64252"/>
                  <a:gd name="connsiteY3" fmla="*/ 0 h 1233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4252" h="123343">
                    <a:moveTo>
                      <a:pt x="64252" y="123343"/>
                    </a:moveTo>
                    <a:lnTo>
                      <a:pt x="64252" y="14205"/>
                    </a:lnTo>
                    <a:cubicBezTo>
                      <a:pt x="64252" y="6392"/>
                      <a:pt x="57860" y="0"/>
                      <a:pt x="50048" y="0"/>
                    </a:cubicBezTo>
                    <a:lnTo>
                      <a:pt x="0" y="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691" name="Gráfico 10">
            <a:extLst>
              <a:ext uri="{FF2B5EF4-FFF2-40B4-BE49-F238E27FC236}">
                <a16:creationId xmlns:a16="http://schemas.microsoft.com/office/drawing/2014/main" id="{81EA9260-E412-1EAF-AA4A-CC4CF71DAF34}"/>
              </a:ext>
            </a:extLst>
          </p:cNvPr>
          <p:cNvGrpSpPr/>
          <p:nvPr/>
        </p:nvGrpSpPr>
        <p:grpSpPr>
          <a:xfrm>
            <a:off x="9835305" y="1028056"/>
            <a:ext cx="344792" cy="207979"/>
            <a:chOff x="9835305" y="1028056"/>
            <a:chExt cx="344792" cy="207979"/>
          </a:xfrm>
        </p:grpSpPr>
        <p:sp>
          <p:nvSpPr>
            <p:cNvPr id="692" name="Forma livre: Forma 691">
              <a:extLst>
                <a:ext uri="{FF2B5EF4-FFF2-40B4-BE49-F238E27FC236}">
                  <a16:creationId xmlns:a16="http://schemas.microsoft.com/office/drawing/2014/main" id="{DDC4DA45-725F-42BB-46B5-74913D4BB087}"/>
                </a:ext>
              </a:extLst>
            </p:cNvPr>
            <p:cNvSpPr/>
            <p:nvPr/>
          </p:nvSpPr>
          <p:spPr>
            <a:xfrm>
              <a:off x="10090372" y="1184543"/>
              <a:ext cx="40577" cy="47"/>
            </a:xfrm>
            <a:custGeom>
              <a:avLst/>
              <a:gdLst>
                <a:gd name="connsiteX0" fmla="*/ 0 w 40577"/>
                <a:gd name="connsiteY0" fmla="*/ 47 h 47"/>
                <a:gd name="connsiteX1" fmla="*/ 40578 w 40577"/>
                <a:gd name="connsiteY1" fmla="*/ 0 h 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0577" h="47">
                  <a:moveTo>
                    <a:pt x="0" y="47"/>
                  </a:moveTo>
                  <a:lnTo>
                    <a:pt x="40578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93" name="Forma livre: Forma 692">
              <a:extLst>
                <a:ext uri="{FF2B5EF4-FFF2-40B4-BE49-F238E27FC236}">
                  <a16:creationId xmlns:a16="http://schemas.microsoft.com/office/drawing/2014/main" id="{2E9ED86D-D850-2035-C63A-7B41666F504F}"/>
                </a:ext>
              </a:extLst>
            </p:cNvPr>
            <p:cNvSpPr/>
            <p:nvPr/>
          </p:nvSpPr>
          <p:spPr>
            <a:xfrm>
              <a:off x="9885542" y="1165604"/>
              <a:ext cx="80871" cy="70431"/>
            </a:xfrm>
            <a:custGeom>
              <a:avLst/>
              <a:gdLst>
                <a:gd name="connsiteX0" fmla="*/ 80871 w 80871"/>
                <a:gd name="connsiteY0" fmla="*/ 69839 h 70431"/>
                <a:gd name="connsiteX1" fmla="*/ 54451 w 80871"/>
                <a:gd name="connsiteY1" fmla="*/ 58191 h 70431"/>
                <a:gd name="connsiteX2" fmla="*/ 20549 w 80871"/>
                <a:gd name="connsiteY2" fmla="*/ 0 h 70431"/>
                <a:gd name="connsiteX3" fmla="*/ 0 w 80871"/>
                <a:gd name="connsiteY3" fmla="*/ 0 h 704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0871" h="70431">
                  <a:moveTo>
                    <a:pt x="80871" y="69839"/>
                  </a:moveTo>
                  <a:cubicBezTo>
                    <a:pt x="75095" y="71023"/>
                    <a:pt x="62453" y="71781"/>
                    <a:pt x="54451" y="58191"/>
                  </a:cubicBezTo>
                  <a:lnTo>
                    <a:pt x="20549" y="0"/>
                  </a:lnTo>
                  <a:lnTo>
                    <a:pt x="0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94" name="Forma livre: Forma 693">
              <a:extLst>
                <a:ext uri="{FF2B5EF4-FFF2-40B4-BE49-F238E27FC236}">
                  <a16:creationId xmlns:a16="http://schemas.microsoft.com/office/drawing/2014/main" id="{3A909F02-02BC-0535-5222-DB17491F893D}"/>
                </a:ext>
              </a:extLst>
            </p:cNvPr>
            <p:cNvSpPr/>
            <p:nvPr/>
          </p:nvSpPr>
          <p:spPr>
            <a:xfrm>
              <a:off x="9999558" y="1175168"/>
              <a:ext cx="20265" cy="36553"/>
            </a:xfrm>
            <a:custGeom>
              <a:avLst/>
              <a:gdLst>
                <a:gd name="connsiteX0" fmla="*/ 0 w 20265"/>
                <a:gd name="connsiteY0" fmla="*/ 0 h 36553"/>
                <a:gd name="connsiteX1" fmla="*/ 20265 w 20265"/>
                <a:gd name="connsiteY1" fmla="*/ 36553 h 365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0265" h="36553">
                  <a:moveTo>
                    <a:pt x="0" y="0"/>
                  </a:moveTo>
                  <a:lnTo>
                    <a:pt x="20265" y="36553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95" name="Forma livre: Forma 694">
              <a:extLst>
                <a:ext uri="{FF2B5EF4-FFF2-40B4-BE49-F238E27FC236}">
                  <a16:creationId xmlns:a16="http://schemas.microsoft.com/office/drawing/2014/main" id="{044C57BF-2D9B-8986-9ED8-3473D9528E52}"/>
                </a:ext>
              </a:extLst>
            </p:cNvPr>
            <p:cNvSpPr/>
            <p:nvPr/>
          </p:nvSpPr>
          <p:spPr>
            <a:xfrm>
              <a:off x="9970154" y="1199079"/>
              <a:ext cx="13210" cy="22916"/>
            </a:xfrm>
            <a:custGeom>
              <a:avLst/>
              <a:gdLst>
                <a:gd name="connsiteX0" fmla="*/ 0 w 13210"/>
                <a:gd name="connsiteY0" fmla="*/ 0 h 22916"/>
                <a:gd name="connsiteX1" fmla="*/ 13210 w 13210"/>
                <a:gd name="connsiteY1" fmla="*/ 22917 h 229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3210" h="22916">
                  <a:moveTo>
                    <a:pt x="0" y="0"/>
                  </a:moveTo>
                  <a:lnTo>
                    <a:pt x="13210" y="22917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96" name="Forma livre: Forma 695">
              <a:extLst>
                <a:ext uri="{FF2B5EF4-FFF2-40B4-BE49-F238E27FC236}">
                  <a16:creationId xmlns:a16="http://schemas.microsoft.com/office/drawing/2014/main" id="{4F40541C-801C-CD80-B228-6F91BF551EE1}"/>
                </a:ext>
              </a:extLst>
            </p:cNvPr>
            <p:cNvSpPr/>
            <p:nvPr/>
          </p:nvSpPr>
          <p:spPr>
            <a:xfrm>
              <a:off x="10019728" y="1211579"/>
              <a:ext cx="26325" cy="11133"/>
            </a:xfrm>
            <a:custGeom>
              <a:avLst/>
              <a:gdLst>
                <a:gd name="connsiteX0" fmla="*/ 26326 w 26325"/>
                <a:gd name="connsiteY0" fmla="*/ 8475 h 11133"/>
                <a:gd name="connsiteX1" fmla="*/ 0 w 26325"/>
                <a:gd name="connsiteY1" fmla="*/ 0 h 111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6325" h="11133">
                  <a:moveTo>
                    <a:pt x="26326" y="8475"/>
                  </a:moveTo>
                  <a:cubicBezTo>
                    <a:pt x="20407" y="10985"/>
                    <a:pt x="9091" y="15672"/>
                    <a:pt x="0" y="0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97" name="Forma livre: Forma 696">
              <a:extLst>
                <a:ext uri="{FF2B5EF4-FFF2-40B4-BE49-F238E27FC236}">
                  <a16:creationId xmlns:a16="http://schemas.microsoft.com/office/drawing/2014/main" id="{88F03960-FECD-D4E2-C29C-ECA6E9C4C5B7}"/>
                </a:ext>
              </a:extLst>
            </p:cNvPr>
            <p:cNvSpPr/>
            <p:nvPr/>
          </p:nvSpPr>
          <p:spPr>
            <a:xfrm>
              <a:off x="9983365" y="1221948"/>
              <a:ext cx="21354" cy="10116"/>
            </a:xfrm>
            <a:custGeom>
              <a:avLst/>
              <a:gdLst>
                <a:gd name="connsiteX0" fmla="*/ 21354 w 21354"/>
                <a:gd name="connsiteY0" fmla="*/ 7907 h 10116"/>
                <a:gd name="connsiteX1" fmla="*/ 0 w 21354"/>
                <a:gd name="connsiteY1" fmla="*/ 0 h 101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1354" h="10116">
                  <a:moveTo>
                    <a:pt x="21354" y="7907"/>
                  </a:moveTo>
                  <a:cubicBezTo>
                    <a:pt x="21354" y="7907"/>
                    <a:pt x="8996" y="16430"/>
                    <a:pt x="0" y="0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98" name="Forma livre: Forma 697">
              <a:extLst>
                <a:ext uri="{FF2B5EF4-FFF2-40B4-BE49-F238E27FC236}">
                  <a16:creationId xmlns:a16="http://schemas.microsoft.com/office/drawing/2014/main" id="{3575577B-E59B-3377-A430-FDA9F2AA2E9A}"/>
                </a:ext>
              </a:extLst>
            </p:cNvPr>
            <p:cNvSpPr/>
            <p:nvPr/>
          </p:nvSpPr>
          <p:spPr>
            <a:xfrm>
              <a:off x="9885400" y="1047469"/>
              <a:ext cx="66950" cy="4734"/>
            </a:xfrm>
            <a:custGeom>
              <a:avLst/>
              <a:gdLst>
                <a:gd name="connsiteX0" fmla="*/ 0 w 66950"/>
                <a:gd name="connsiteY0" fmla="*/ 0 h 4734"/>
                <a:gd name="connsiteX1" fmla="*/ 66951 w 66950"/>
                <a:gd name="connsiteY1" fmla="*/ 0 h 47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6950" h="4734">
                  <a:moveTo>
                    <a:pt x="0" y="0"/>
                  </a:moveTo>
                  <a:lnTo>
                    <a:pt x="66951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99" name="Forma livre: Forma 698">
              <a:extLst>
                <a:ext uri="{FF2B5EF4-FFF2-40B4-BE49-F238E27FC236}">
                  <a16:creationId xmlns:a16="http://schemas.microsoft.com/office/drawing/2014/main" id="{C4FBD8D7-5B15-AD39-788C-60344CAA983A}"/>
                </a:ext>
              </a:extLst>
            </p:cNvPr>
            <p:cNvSpPr/>
            <p:nvPr/>
          </p:nvSpPr>
          <p:spPr>
            <a:xfrm>
              <a:off x="9835305" y="1028056"/>
              <a:ext cx="48769" cy="158854"/>
            </a:xfrm>
            <a:custGeom>
              <a:avLst/>
              <a:gdLst>
                <a:gd name="connsiteX0" fmla="*/ 379 w 48769"/>
                <a:gd name="connsiteY0" fmla="*/ 0 h 158854"/>
                <a:gd name="connsiteX1" fmla="*/ 48769 w 48769"/>
                <a:gd name="connsiteY1" fmla="*/ 0 h 158854"/>
                <a:gd name="connsiteX2" fmla="*/ 48769 w 48769"/>
                <a:gd name="connsiteY2" fmla="*/ 158855 h 158854"/>
                <a:gd name="connsiteX3" fmla="*/ 0 w 48769"/>
                <a:gd name="connsiteY3" fmla="*/ 158855 h 1588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8769" h="158854">
                  <a:moveTo>
                    <a:pt x="379" y="0"/>
                  </a:moveTo>
                  <a:lnTo>
                    <a:pt x="48769" y="0"/>
                  </a:lnTo>
                  <a:lnTo>
                    <a:pt x="48769" y="158855"/>
                  </a:lnTo>
                  <a:lnTo>
                    <a:pt x="0" y="158855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700" name="Forma livre: Forma 699">
              <a:extLst>
                <a:ext uri="{FF2B5EF4-FFF2-40B4-BE49-F238E27FC236}">
                  <a16:creationId xmlns:a16="http://schemas.microsoft.com/office/drawing/2014/main" id="{13557913-0935-CB60-C55A-FF86953FED02}"/>
                </a:ext>
              </a:extLst>
            </p:cNvPr>
            <p:cNvSpPr/>
            <p:nvPr/>
          </p:nvSpPr>
          <p:spPr>
            <a:xfrm>
              <a:off x="10131329" y="1041740"/>
              <a:ext cx="48769" cy="158854"/>
            </a:xfrm>
            <a:custGeom>
              <a:avLst/>
              <a:gdLst>
                <a:gd name="connsiteX0" fmla="*/ 48390 w 48769"/>
                <a:gd name="connsiteY0" fmla="*/ 0 h 158854"/>
                <a:gd name="connsiteX1" fmla="*/ 0 w 48769"/>
                <a:gd name="connsiteY1" fmla="*/ 0 h 158854"/>
                <a:gd name="connsiteX2" fmla="*/ 0 w 48769"/>
                <a:gd name="connsiteY2" fmla="*/ 158855 h 158854"/>
                <a:gd name="connsiteX3" fmla="*/ 48769 w 48769"/>
                <a:gd name="connsiteY3" fmla="*/ 158855 h 1588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8769" h="158854">
                  <a:moveTo>
                    <a:pt x="48390" y="0"/>
                  </a:moveTo>
                  <a:lnTo>
                    <a:pt x="0" y="0"/>
                  </a:lnTo>
                  <a:lnTo>
                    <a:pt x="0" y="158855"/>
                  </a:lnTo>
                  <a:lnTo>
                    <a:pt x="48769" y="158855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701" name="Forma livre: Forma 700">
              <a:extLst>
                <a:ext uri="{FF2B5EF4-FFF2-40B4-BE49-F238E27FC236}">
                  <a16:creationId xmlns:a16="http://schemas.microsoft.com/office/drawing/2014/main" id="{6490D0FE-6577-779E-DBC2-01B710A370F6}"/>
                </a:ext>
              </a:extLst>
            </p:cNvPr>
            <p:cNvSpPr/>
            <p:nvPr/>
          </p:nvSpPr>
          <p:spPr>
            <a:xfrm>
              <a:off x="9937389" y="1035490"/>
              <a:ext cx="193135" cy="155492"/>
            </a:xfrm>
            <a:custGeom>
              <a:avLst/>
              <a:gdLst>
                <a:gd name="connsiteX0" fmla="*/ 157008 w 193135"/>
                <a:gd name="connsiteY0" fmla="*/ 155493 h 155492"/>
                <a:gd name="connsiteX1" fmla="*/ 102273 w 193135"/>
                <a:gd name="connsiteY1" fmla="*/ 51184 h 155492"/>
                <a:gd name="connsiteX2" fmla="*/ 74053 w 193135"/>
                <a:gd name="connsiteY2" fmla="*/ 48769 h 155492"/>
                <a:gd name="connsiteX3" fmla="*/ 41714 w 193135"/>
                <a:gd name="connsiteY3" fmla="*/ 81582 h 155492"/>
                <a:gd name="connsiteX4" fmla="*/ 0 w 193135"/>
                <a:gd name="connsiteY4" fmla="*/ 71828 h 155492"/>
                <a:gd name="connsiteX5" fmla="*/ 41525 w 193135"/>
                <a:gd name="connsiteY5" fmla="*/ 17708 h 155492"/>
                <a:gd name="connsiteX6" fmla="*/ 69460 w 193135"/>
                <a:gd name="connsiteY6" fmla="*/ 0 h 155492"/>
                <a:gd name="connsiteX7" fmla="*/ 131961 w 193135"/>
                <a:gd name="connsiteY7" fmla="*/ 95 h 155492"/>
                <a:gd name="connsiteX8" fmla="*/ 193135 w 193135"/>
                <a:gd name="connsiteY8" fmla="*/ 26705 h 1554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93135" h="155492">
                  <a:moveTo>
                    <a:pt x="157008" y="155493"/>
                  </a:moveTo>
                  <a:lnTo>
                    <a:pt x="102273" y="51184"/>
                  </a:lnTo>
                  <a:cubicBezTo>
                    <a:pt x="97633" y="50900"/>
                    <a:pt x="74053" y="48769"/>
                    <a:pt x="74053" y="48769"/>
                  </a:cubicBezTo>
                  <a:lnTo>
                    <a:pt x="41714" y="81582"/>
                  </a:lnTo>
                  <a:cubicBezTo>
                    <a:pt x="14725" y="102178"/>
                    <a:pt x="0" y="71828"/>
                    <a:pt x="0" y="71828"/>
                  </a:cubicBezTo>
                  <a:lnTo>
                    <a:pt x="41525" y="17708"/>
                  </a:lnTo>
                  <a:cubicBezTo>
                    <a:pt x="55445" y="189"/>
                    <a:pt x="69460" y="0"/>
                    <a:pt x="69460" y="0"/>
                  </a:cubicBezTo>
                  <a:lnTo>
                    <a:pt x="131961" y="95"/>
                  </a:lnTo>
                  <a:lnTo>
                    <a:pt x="193135" y="26705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702" name="Forma livre: Forma 701">
              <a:extLst>
                <a:ext uri="{FF2B5EF4-FFF2-40B4-BE49-F238E27FC236}">
                  <a16:creationId xmlns:a16="http://schemas.microsoft.com/office/drawing/2014/main" id="{6829E967-7DF8-7CA3-BDB3-3C3B60D67456}"/>
                </a:ext>
              </a:extLst>
            </p:cNvPr>
            <p:cNvSpPr/>
            <p:nvPr/>
          </p:nvSpPr>
          <p:spPr>
            <a:xfrm>
              <a:off x="10030382" y="1154051"/>
              <a:ext cx="67613" cy="59442"/>
            </a:xfrm>
            <a:custGeom>
              <a:avLst/>
              <a:gdLst>
                <a:gd name="connsiteX0" fmla="*/ 67614 w 67613"/>
                <a:gd name="connsiteY0" fmla="*/ 32765 h 59442"/>
                <a:gd name="connsiteX1" fmla="*/ 28646 w 67613"/>
                <a:gd name="connsiteY1" fmla="*/ 44887 h 59442"/>
                <a:gd name="connsiteX2" fmla="*/ 0 w 67613"/>
                <a:gd name="connsiteY2" fmla="*/ 0 h 59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7613" h="59442">
                  <a:moveTo>
                    <a:pt x="67614" y="32765"/>
                  </a:moveTo>
                  <a:cubicBezTo>
                    <a:pt x="65152" y="39773"/>
                    <a:pt x="49195" y="80824"/>
                    <a:pt x="28646" y="44887"/>
                  </a:cubicBezTo>
                  <a:lnTo>
                    <a:pt x="0" y="0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703" name="Forma livre: Forma 702">
              <a:extLst>
                <a:ext uri="{FF2B5EF4-FFF2-40B4-BE49-F238E27FC236}">
                  <a16:creationId xmlns:a16="http://schemas.microsoft.com/office/drawing/2014/main" id="{7D41EBAC-0044-A057-DC12-37FFBADA29EF}"/>
                </a:ext>
              </a:extLst>
            </p:cNvPr>
            <p:cNvSpPr/>
            <p:nvPr/>
          </p:nvSpPr>
          <p:spPr>
            <a:xfrm>
              <a:off x="10165799" y="1157318"/>
              <a:ext cx="7386" cy="7386"/>
            </a:xfrm>
            <a:custGeom>
              <a:avLst/>
              <a:gdLst>
                <a:gd name="connsiteX0" fmla="*/ 7386 w 7386"/>
                <a:gd name="connsiteY0" fmla="*/ 3693 h 7386"/>
                <a:gd name="connsiteX1" fmla="*/ 3693 w 7386"/>
                <a:gd name="connsiteY1" fmla="*/ 7386 h 7386"/>
                <a:gd name="connsiteX2" fmla="*/ 0 w 7386"/>
                <a:gd name="connsiteY2" fmla="*/ 3693 h 7386"/>
                <a:gd name="connsiteX3" fmla="*/ 3693 w 7386"/>
                <a:gd name="connsiteY3" fmla="*/ 0 h 7386"/>
                <a:gd name="connsiteX4" fmla="*/ 7386 w 7386"/>
                <a:gd name="connsiteY4" fmla="*/ 3693 h 7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386" h="7386">
                  <a:moveTo>
                    <a:pt x="7386" y="3693"/>
                  </a:moveTo>
                  <a:cubicBezTo>
                    <a:pt x="7386" y="5733"/>
                    <a:pt x="5733" y="7386"/>
                    <a:pt x="3693" y="7386"/>
                  </a:cubicBezTo>
                  <a:cubicBezTo>
                    <a:pt x="1654" y="7386"/>
                    <a:pt x="0" y="5733"/>
                    <a:pt x="0" y="3693"/>
                  </a:cubicBezTo>
                  <a:cubicBezTo>
                    <a:pt x="0" y="1654"/>
                    <a:pt x="1654" y="0"/>
                    <a:pt x="3693" y="0"/>
                  </a:cubicBezTo>
                  <a:cubicBezTo>
                    <a:pt x="5733" y="0"/>
                    <a:pt x="7386" y="1654"/>
                    <a:pt x="7386" y="3693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704" name="Forma livre: Forma 703">
              <a:extLst>
                <a:ext uri="{FF2B5EF4-FFF2-40B4-BE49-F238E27FC236}">
                  <a16:creationId xmlns:a16="http://schemas.microsoft.com/office/drawing/2014/main" id="{C545B94D-5BFD-1BD2-6A6C-D3EE7B16B495}"/>
                </a:ext>
              </a:extLst>
            </p:cNvPr>
            <p:cNvSpPr/>
            <p:nvPr/>
          </p:nvSpPr>
          <p:spPr>
            <a:xfrm>
              <a:off x="9842124" y="1143160"/>
              <a:ext cx="7386" cy="7386"/>
            </a:xfrm>
            <a:custGeom>
              <a:avLst/>
              <a:gdLst>
                <a:gd name="connsiteX0" fmla="*/ 7386 w 7386"/>
                <a:gd name="connsiteY0" fmla="*/ 3693 h 7386"/>
                <a:gd name="connsiteX1" fmla="*/ 3693 w 7386"/>
                <a:gd name="connsiteY1" fmla="*/ 7386 h 7386"/>
                <a:gd name="connsiteX2" fmla="*/ 0 w 7386"/>
                <a:gd name="connsiteY2" fmla="*/ 3693 h 7386"/>
                <a:gd name="connsiteX3" fmla="*/ 3693 w 7386"/>
                <a:gd name="connsiteY3" fmla="*/ 0 h 7386"/>
                <a:gd name="connsiteX4" fmla="*/ 7386 w 7386"/>
                <a:gd name="connsiteY4" fmla="*/ 3693 h 7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386" h="7386">
                  <a:moveTo>
                    <a:pt x="7386" y="3693"/>
                  </a:moveTo>
                  <a:cubicBezTo>
                    <a:pt x="7386" y="5729"/>
                    <a:pt x="5729" y="7386"/>
                    <a:pt x="3693" y="7386"/>
                  </a:cubicBezTo>
                  <a:cubicBezTo>
                    <a:pt x="1657" y="7386"/>
                    <a:pt x="0" y="5729"/>
                    <a:pt x="0" y="3693"/>
                  </a:cubicBezTo>
                  <a:cubicBezTo>
                    <a:pt x="0" y="1657"/>
                    <a:pt x="1657" y="0"/>
                    <a:pt x="3693" y="0"/>
                  </a:cubicBezTo>
                  <a:cubicBezTo>
                    <a:pt x="5729" y="0"/>
                    <a:pt x="7386" y="1657"/>
                    <a:pt x="7386" y="3693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705" name="Gráfico 10">
            <a:extLst>
              <a:ext uri="{FF2B5EF4-FFF2-40B4-BE49-F238E27FC236}">
                <a16:creationId xmlns:a16="http://schemas.microsoft.com/office/drawing/2014/main" id="{A4081DF9-ABA0-08A7-6CC8-281B7C35E4B6}"/>
              </a:ext>
            </a:extLst>
          </p:cNvPr>
          <p:cNvGrpSpPr/>
          <p:nvPr/>
        </p:nvGrpSpPr>
        <p:grpSpPr>
          <a:xfrm>
            <a:off x="11153681" y="1519203"/>
            <a:ext cx="171780" cy="298012"/>
            <a:chOff x="11153681" y="1519203"/>
            <a:chExt cx="171780" cy="298012"/>
          </a:xfrm>
        </p:grpSpPr>
        <p:grpSp>
          <p:nvGrpSpPr>
            <p:cNvPr id="706" name="Gráfico 10">
              <a:extLst>
                <a:ext uri="{FF2B5EF4-FFF2-40B4-BE49-F238E27FC236}">
                  <a16:creationId xmlns:a16="http://schemas.microsoft.com/office/drawing/2014/main" id="{B02CB4D3-AF08-F024-EB9A-A4D7F5D79C80}"/>
                </a:ext>
              </a:extLst>
            </p:cNvPr>
            <p:cNvGrpSpPr/>
            <p:nvPr/>
          </p:nvGrpSpPr>
          <p:grpSpPr>
            <a:xfrm>
              <a:off x="11153681" y="1519203"/>
              <a:ext cx="171780" cy="298012"/>
              <a:chOff x="11153681" y="1519203"/>
              <a:chExt cx="171780" cy="298012"/>
            </a:xfrm>
            <a:solidFill>
              <a:srgbClr val="394553"/>
            </a:solidFill>
          </p:grpSpPr>
          <p:sp>
            <p:nvSpPr>
              <p:cNvPr id="707" name="Forma livre: Forma 706">
                <a:extLst>
                  <a:ext uri="{FF2B5EF4-FFF2-40B4-BE49-F238E27FC236}">
                    <a16:creationId xmlns:a16="http://schemas.microsoft.com/office/drawing/2014/main" id="{2559519A-92C5-05A9-E952-846EC19B7725}"/>
                  </a:ext>
                </a:extLst>
              </p:cNvPr>
              <p:cNvSpPr/>
              <p:nvPr/>
            </p:nvSpPr>
            <p:spPr>
              <a:xfrm>
                <a:off x="11153681" y="1519203"/>
                <a:ext cx="171780" cy="298012"/>
              </a:xfrm>
              <a:custGeom>
                <a:avLst/>
                <a:gdLst>
                  <a:gd name="connsiteX0" fmla="*/ 148107 w 171780"/>
                  <a:gd name="connsiteY0" fmla="*/ 11837 h 298012"/>
                  <a:gd name="connsiteX1" fmla="*/ 159944 w 171780"/>
                  <a:gd name="connsiteY1" fmla="*/ 23674 h 298012"/>
                  <a:gd name="connsiteX2" fmla="*/ 159944 w 171780"/>
                  <a:gd name="connsiteY2" fmla="*/ 274338 h 298012"/>
                  <a:gd name="connsiteX3" fmla="*/ 148107 w 171780"/>
                  <a:gd name="connsiteY3" fmla="*/ 286175 h 298012"/>
                  <a:gd name="connsiteX4" fmla="*/ 23674 w 171780"/>
                  <a:gd name="connsiteY4" fmla="*/ 286175 h 298012"/>
                  <a:gd name="connsiteX5" fmla="*/ 11837 w 171780"/>
                  <a:gd name="connsiteY5" fmla="*/ 274338 h 298012"/>
                  <a:gd name="connsiteX6" fmla="*/ 11837 w 171780"/>
                  <a:gd name="connsiteY6" fmla="*/ 23674 h 298012"/>
                  <a:gd name="connsiteX7" fmla="*/ 23674 w 171780"/>
                  <a:gd name="connsiteY7" fmla="*/ 11837 h 298012"/>
                  <a:gd name="connsiteX8" fmla="*/ 148107 w 171780"/>
                  <a:gd name="connsiteY8" fmla="*/ 11837 h 298012"/>
                  <a:gd name="connsiteX9" fmla="*/ 148107 w 171780"/>
                  <a:gd name="connsiteY9" fmla="*/ 0 h 298012"/>
                  <a:gd name="connsiteX10" fmla="*/ 23674 w 171780"/>
                  <a:gd name="connsiteY10" fmla="*/ 0 h 298012"/>
                  <a:gd name="connsiteX11" fmla="*/ 0 w 171780"/>
                  <a:gd name="connsiteY11" fmla="*/ 23674 h 298012"/>
                  <a:gd name="connsiteX12" fmla="*/ 0 w 171780"/>
                  <a:gd name="connsiteY12" fmla="*/ 274338 h 298012"/>
                  <a:gd name="connsiteX13" fmla="*/ 23674 w 171780"/>
                  <a:gd name="connsiteY13" fmla="*/ 298012 h 298012"/>
                  <a:gd name="connsiteX14" fmla="*/ 148107 w 171780"/>
                  <a:gd name="connsiteY14" fmla="*/ 298012 h 298012"/>
                  <a:gd name="connsiteX15" fmla="*/ 171781 w 171780"/>
                  <a:gd name="connsiteY15" fmla="*/ 274338 h 298012"/>
                  <a:gd name="connsiteX16" fmla="*/ 171781 w 171780"/>
                  <a:gd name="connsiteY16" fmla="*/ 23674 h 298012"/>
                  <a:gd name="connsiteX17" fmla="*/ 148107 w 171780"/>
                  <a:gd name="connsiteY17" fmla="*/ 0 h 298012"/>
                  <a:gd name="connsiteX18" fmla="*/ 148107 w 171780"/>
                  <a:gd name="connsiteY18" fmla="*/ 0 h 2980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171780" h="298012">
                    <a:moveTo>
                      <a:pt x="148107" y="11837"/>
                    </a:moveTo>
                    <a:cubicBezTo>
                      <a:pt x="154641" y="11837"/>
                      <a:pt x="159944" y="17140"/>
                      <a:pt x="159944" y="23674"/>
                    </a:cubicBezTo>
                    <a:lnTo>
                      <a:pt x="159944" y="274338"/>
                    </a:lnTo>
                    <a:cubicBezTo>
                      <a:pt x="159944" y="280872"/>
                      <a:pt x="154641" y="286175"/>
                      <a:pt x="148107" y="286175"/>
                    </a:cubicBezTo>
                    <a:lnTo>
                      <a:pt x="23674" y="286175"/>
                    </a:lnTo>
                    <a:cubicBezTo>
                      <a:pt x="17140" y="286175"/>
                      <a:pt x="11837" y="280872"/>
                      <a:pt x="11837" y="274338"/>
                    </a:cubicBezTo>
                    <a:lnTo>
                      <a:pt x="11837" y="23674"/>
                    </a:lnTo>
                    <a:cubicBezTo>
                      <a:pt x="11837" y="17140"/>
                      <a:pt x="17140" y="11837"/>
                      <a:pt x="23674" y="11837"/>
                    </a:cubicBezTo>
                    <a:lnTo>
                      <a:pt x="148107" y="11837"/>
                    </a:lnTo>
                    <a:moveTo>
                      <a:pt x="148107" y="0"/>
                    </a:moveTo>
                    <a:lnTo>
                      <a:pt x="23674" y="0"/>
                    </a:lnTo>
                    <a:cubicBezTo>
                      <a:pt x="10653" y="0"/>
                      <a:pt x="0" y="10653"/>
                      <a:pt x="0" y="23674"/>
                    </a:cubicBezTo>
                    <a:lnTo>
                      <a:pt x="0" y="274338"/>
                    </a:lnTo>
                    <a:cubicBezTo>
                      <a:pt x="0" y="287359"/>
                      <a:pt x="10653" y="298012"/>
                      <a:pt x="23674" y="298012"/>
                    </a:cubicBezTo>
                    <a:lnTo>
                      <a:pt x="148107" y="298012"/>
                    </a:lnTo>
                    <a:cubicBezTo>
                      <a:pt x="161127" y="298012"/>
                      <a:pt x="171781" y="287359"/>
                      <a:pt x="171781" y="274338"/>
                    </a:cubicBezTo>
                    <a:lnTo>
                      <a:pt x="171781" y="23674"/>
                    </a:lnTo>
                    <a:cubicBezTo>
                      <a:pt x="171781" y="10653"/>
                      <a:pt x="161127" y="0"/>
                      <a:pt x="148107" y="0"/>
                    </a:cubicBezTo>
                    <a:lnTo>
                      <a:pt x="148107" y="0"/>
                    </a:ln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08" name="Forma livre: Forma 707">
                <a:extLst>
                  <a:ext uri="{FF2B5EF4-FFF2-40B4-BE49-F238E27FC236}">
                    <a16:creationId xmlns:a16="http://schemas.microsoft.com/office/drawing/2014/main" id="{0A0D27BF-1A55-45A8-38D8-401A0ED666C4}"/>
                  </a:ext>
                </a:extLst>
              </p:cNvPr>
              <p:cNvSpPr/>
              <p:nvPr/>
            </p:nvSpPr>
            <p:spPr>
              <a:xfrm>
                <a:off x="11163056" y="1748087"/>
                <a:ext cx="153030" cy="4734"/>
              </a:xfrm>
              <a:custGeom>
                <a:avLst/>
                <a:gdLst>
                  <a:gd name="connsiteX0" fmla="*/ 0 w 153030"/>
                  <a:gd name="connsiteY0" fmla="*/ 0 h 4734"/>
                  <a:gd name="connsiteX1" fmla="*/ 153031 w 153030"/>
                  <a:gd name="connsiteY1" fmla="*/ 0 h 47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53030" h="4734">
                    <a:moveTo>
                      <a:pt x="0" y="0"/>
                    </a:moveTo>
                    <a:lnTo>
                      <a:pt x="153031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09" name="Forma livre: Forma 708">
                <a:extLst>
                  <a:ext uri="{FF2B5EF4-FFF2-40B4-BE49-F238E27FC236}">
                    <a16:creationId xmlns:a16="http://schemas.microsoft.com/office/drawing/2014/main" id="{BFE33B18-D20F-E9C6-8F87-6A70C376AFD6}"/>
                  </a:ext>
                </a:extLst>
              </p:cNvPr>
              <p:cNvSpPr/>
              <p:nvPr/>
            </p:nvSpPr>
            <p:spPr>
              <a:xfrm>
                <a:off x="11229107" y="1778532"/>
                <a:ext cx="20975" cy="4734"/>
              </a:xfrm>
              <a:custGeom>
                <a:avLst/>
                <a:gdLst>
                  <a:gd name="connsiteX0" fmla="*/ 0 w 20975"/>
                  <a:gd name="connsiteY0" fmla="*/ 0 h 4734"/>
                  <a:gd name="connsiteX1" fmla="*/ 20975 w 20975"/>
                  <a:gd name="connsiteY1" fmla="*/ 0 h 47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0975" h="4734">
                    <a:moveTo>
                      <a:pt x="0" y="0"/>
                    </a:moveTo>
                    <a:lnTo>
                      <a:pt x="20975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710" name="Gráfico 10">
              <a:extLst>
                <a:ext uri="{FF2B5EF4-FFF2-40B4-BE49-F238E27FC236}">
                  <a16:creationId xmlns:a16="http://schemas.microsoft.com/office/drawing/2014/main" id="{459C6475-1DE0-6BFC-D265-F63AF0A4AC4B}"/>
                </a:ext>
              </a:extLst>
            </p:cNvPr>
            <p:cNvGrpSpPr/>
            <p:nvPr/>
          </p:nvGrpSpPr>
          <p:grpSpPr>
            <a:xfrm>
              <a:off x="11191371" y="1593399"/>
              <a:ext cx="96401" cy="81818"/>
              <a:chOff x="11191371" y="1593399"/>
              <a:chExt cx="96401" cy="81818"/>
            </a:xfrm>
            <a:noFill/>
          </p:grpSpPr>
          <p:grpSp>
            <p:nvGrpSpPr>
              <p:cNvPr id="711" name="Gráfico 10">
                <a:extLst>
                  <a:ext uri="{FF2B5EF4-FFF2-40B4-BE49-F238E27FC236}">
                    <a16:creationId xmlns:a16="http://schemas.microsoft.com/office/drawing/2014/main" id="{7C2B452E-1451-7D9F-3554-46DBB8DBB281}"/>
                  </a:ext>
                </a:extLst>
              </p:cNvPr>
              <p:cNvGrpSpPr/>
              <p:nvPr/>
            </p:nvGrpSpPr>
            <p:grpSpPr>
              <a:xfrm>
                <a:off x="11191371" y="1593399"/>
                <a:ext cx="96401" cy="81818"/>
                <a:chOff x="11191371" y="1593399"/>
                <a:chExt cx="96401" cy="81818"/>
              </a:xfrm>
              <a:noFill/>
            </p:grpSpPr>
            <p:sp>
              <p:nvSpPr>
                <p:cNvPr id="712" name="Forma livre: Forma 711">
                  <a:extLst>
                    <a:ext uri="{FF2B5EF4-FFF2-40B4-BE49-F238E27FC236}">
                      <a16:creationId xmlns:a16="http://schemas.microsoft.com/office/drawing/2014/main" id="{A76243EA-221A-8AF4-8C79-649F050B7E83}"/>
                    </a:ext>
                  </a:extLst>
                </p:cNvPr>
                <p:cNvSpPr/>
                <p:nvPr/>
              </p:nvSpPr>
              <p:spPr>
                <a:xfrm>
                  <a:off x="11191371" y="1593399"/>
                  <a:ext cx="96401" cy="41950"/>
                </a:xfrm>
                <a:custGeom>
                  <a:avLst/>
                  <a:gdLst>
                    <a:gd name="connsiteX0" fmla="*/ 0 w 96401"/>
                    <a:gd name="connsiteY0" fmla="*/ 41951 h 41950"/>
                    <a:gd name="connsiteX1" fmla="*/ 48059 w 96401"/>
                    <a:gd name="connsiteY1" fmla="*/ 0 h 41950"/>
                    <a:gd name="connsiteX2" fmla="*/ 96402 w 96401"/>
                    <a:gd name="connsiteY2" fmla="*/ 41951 h 419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96401" h="41950">
                      <a:moveTo>
                        <a:pt x="0" y="41951"/>
                      </a:moveTo>
                      <a:lnTo>
                        <a:pt x="48059" y="0"/>
                      </a:lnTo>
                      <a:lnTo>
                        <a:pt x="96402" y="41951"/>
                      </a:ln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713" name="Forma livre: Forma 712">
                  <a:extLst>
                    <a:ext uri="{FF2B5EF4-FFF2-40B4-BE49-F238E27FC236}">
                      <a16:creationId xmlns:a16="http://schemas.microsoft.com/office/drawing/2014/main" id="{32AB4707-4099-9A23-6445-8A964AF14FBF}"/>
                    </a:ext>
                  </a:extLst>
                </p:cNvPr>
                <p:cNvSpPr/>
                <p:nvPr/>
              </p:nvSpPr>
              <p:spPr>
                <a:xfrm>
                  <a:off x="11205765" y="1623891"/>
                  <a:ext cx="67613" cy="51325"/>
                </a:xfrm>
                <a:custGeom>
                  <a:avLst/>
                  <a:gdLst>
                    <a:gd name="connsiteX0" fmla="*/ 67614 w 67613"/>
                    <a:gd name="connsiteY0" fmla="*/ 426 h 51325"/>
                    <a:gd name="connsiteX1" fmla="*/ 67614 w 67613"/>
                    <a:gd name="connsiteY1" fmla="*/ 51326 h 51325"/>
                    <a:gd name="connsiteX2" fmla="*/ 0 w 67613"/>
                    <a:gd name="connsiteY2" fmla="*/ 51326 h 51325"/>
                    <a:gd name="connsiteX3" fmla="*/ 0 w 67613"/>
                    <a:gd name="connsiteY3" fmla="*/ 0 h 5132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67613" h="51325">
                      <a:moveTo>
                        <a:pt x="67614" y="426"/>
                      </a:moveTo>
                      <a:lnTo>
                        <a:pt x="67614" y="51326"/>
                      </a:lnTo>
                      <a:lnTo>
                        <a:pt x="0" y="51326"/>
                      </a:lnTo>
                      <a:lnTo>
                        <a:pt x="0" y="0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714" name="Forma livre: Forma 713">
                <a:extLst>
                  <a:ext uri="{FF2B5EF4-FFF2-40B4-BE49-F238E27FC236}">
                    <a16:creationId xmlns:a16="http://schemas.microsoft.com/office/drawing/2014/main" id="{BF983A30-0DF4-CCA9-0964-A7E1AEA7119E}"/>
                  </a:ext>
                </a:extLst>
              </p:cNvPr>
              <p:cNvSpPr/>
              <p:nvPr/>
            </p:nvSpPr>
            <p:spPr>
              <a:xfrm>
                <a:off x="11239571" y="1651117"/>
                <a:ext cx="4734" cy="23816"/>
              </a:xfrm>
              <a:custGeom>
                <a:avLst/>
                <a:gdLst>
                  <a:gd name="connsiteX0" fmla="*/ 0 w 4734"/>
                  <a:gd name="connsiteY0" fmla="*/ 23816 h 23816"/>
                  <a:gd name="connsiteX1" fmla="*/ 0 w 4734"/>
                  <a:gd name="connsiteY1" fmla="*/ 0 h 238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34" h="23816">
                    <a:moveTo>
                      <a:pt x="0" y="23816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715" name="Gráfico 10">
            <a:extLst>
              <a:ext uri="{FF2B5EF4-FFF2-40B4-BE49-F238E27FC236}">
                <a16:creationId xmlns:a16="http://schemas.microsoft.com/office/drawing/2014/main" id="{4218E38F-F320-92B0-FC5F-AC623443004C}"/>
              </a:ext>
            </a:extLst>
          </p:cNvPr>
          <p:cNvGrpSpPr/>
          <p:nvPr/>
        </p:nvGrpSpPr>
        <p:grpSpPr>
          <a:xfrm>
            <a:off x="10474891" y="1554241"/>
            <a:ext cx="297491" cy="227983"/>
            <a:chOff x="10474891" y="1554241"/>
            <a:chExt cx="297491" cy="227983"/>
          </a:xfrm>
          <a:noFill/>
        </p:grpSpPr>
        <p:grpSp>
          <p:nvGrpSpPr>
            <p:cNvPr id="716" name="Gráfico 10">
              <a:extLst>
                <a:ext uri="{FF2B5EF4-FFF2-40B4-BE49-F238E27FC236}">
                  <a16:creationId xmlns:a16="http://schemas.microsoft.com/office/drawing/2014/main" id="{5A91C75C-A5C9-A675-5BED-AD4DECAE9A27}"/>
                </a:ext>
              </a:extLst>
            </p:cNvPr>
            <p:cNvGrpSpPr/>
            <p:nvPr/>
          </p:nvGrpSpPr>
          <p:grpSpPr>
            <a:xfrm>
              <a:off x="10474891" y="1554241"/>
              <a:ext cx="297491" cy="227983"/>
              <a:chOff x="10474891" y="1554241"/>
              <a:chExt cx="297491" cy="227983"/>
            </a:xfrm>
            <a:noFill/>
          </p:grpSpPr>
          <p:sp>
            <p:nvSpPr>
              <p:cNvPr id="717" name="Forma livre: Forma 716">
                <a:extLst>
                  <a:ext uri="{FF2B5EF4-FFF2-40B4-BE49-F238E27FC236}">
                    <a16:creationId xmlns:a16="http://schemas.microsoft.com/office/drawing/2014/main" id="{CF646D46-92DE-2A3D-5EC4-99E6130657ED}"/>
                  </a:ext>
                </a:extLst>
              </p:cNvPr>
              <p:cNvSpPr/>
              <p:nvPr/>
            </p:nvSpPr>
            <p:spPr>
              <a:xfrm>
                <a:off x="10474891" y="1782225"/>
                <a:ext cx="297491" cy="4734"/>
              </a:xfrm>
              <a:custGeom>
                <a:avLst/>
                <a:gdLst>
                  <a:gd name="connsiteX0" fmla="*/ 0 w 297491"/>
                  <a:gd name="connsiteY0" fmla="*/ 0 h 4734"/>
                  <a:gd name="connsiteX1" fmla="*/ 297492 w 297491"/>
                  <a:gd name="connsiteY1" fmla="*/ 0 h 47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97491" h="4734">
                    <a:moveTo>
                      <a:pt x="0" y="0"/>
                    </a:moveTo>
                    <a:lnTo>
                      <a:pt x="297492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18" name="Forma livre: Forma 717">
                <a:extLst>
                  <a:ext uri="{FF2B5EF4-FFF2-40B4-BE49-F238E27FC236}">
                    <a16:creationId xmlns:a16="http://schemas.microsoft.com/office/drawing/2014/main" id="{2D1A9512-EAFE-FE38-EBA7-83D85785AA92}"/>
                  </a:ext>
                </a:extLst>
              </p:cNvPr>
              <p:cNvSpPr/>
              <p:nvPr/>
            </p:nvSpPr>
            <p:spPr>
              <a:xfrm>
                <a:off x="10482656" y="1554241"/>
                <a:ext cx="281961" cy="193229"/>
              </a:xfrm>
              <a:custGeom>
                <a:avLst/>
                <a:gdLst>
                  <a:gd name="connsiteX0" fmla="*/ 248817 w 281961"/>
                  <a:gd name="connsiteY0" fmla="*/ 0 h 193229"/>
                  <a:gd name="connsiteX1" fmla="*/ 281961 w 281961"/>
                  <a:gd name="connsiteY1" fmla="*/ 33144 h 193229"/>
                  <a:gd name="connsiteX2" fmla="*/ 281961 w 281961"/>
                  <a:gd name="connsiteY2" fmla="*/ 160086 h 193229"/>
                  <a:gd name="connsiteX3" fmla="*/ 248817 w 281961"/>
                  <a:gd name="connsiteY3" fmla="*/ 193230 h 193229"/>
                  <a:gd name="connsiteX4" fmla="*/ 33144 w 281961"/>
                  <a:gd name="connsiteY4" fmla="*/ 193230 h 193229"/>
                  <a:gd name="connsiteX5" fmla="*/ 0 w 281961"/>
                  <a:gd name="connsiteY5" fmla="*/ 160086 h 193229"/>
                  <a:gd name="connsiteX6" fmla="*/ 0 w 281961"/>
                  <a:gd name="connsiteY6" fmla="*/ 33144 h 193229"/>
                  <a:gd name="connsiteX7" fmla="*/ 33144 w 281961"/>
                  <a:gd name="connsiteY7" fmla="*/ 0 h 1932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81961" h="193229">
                    <a:moveTo>
                      <a:pt x="248817" y="0"/>
                    </a:moveTo>
                    <a:cubicBezTo>
                      <a:pt x="267122" y="0"/>
                      <a:pt x="281961" y="14839"/>
                      <a:pt x="281961" y="33144"/>
                    </a:cubicBezTo>
                    <a:lnTo>
                      <a:pt x="281961" y="160086"/>
                    </a:lnTo>
                    <a:cubicBezTo>
                      <a:pt x="281961" y="178391"/>
                      <a:pt x="267122" y="193230"/>
                      <a:pt x="248817" y="193230"/>
                    </a:cubicBezTo>
                    <a:lnTo>
                      <a:pt x="33144" y="193230"/>
                    </a:lnTo>
                    <a:cubicBezTo>
                      <a:pt x="14839" y="193230"/>
                      <a:pt x="0" y="178391"/>
                      <a:pt x="0" y="160086"/>
                    </a:cubicBezTo>
                    <a:lnTo>
                      <a:pt x="0" y="33144"/>
                    </a:lnTo>
                    <a:cubicBezTo>
                      <a:pt x="0" y="14839"/>
                      <a:pt x="14839" y="0"/>
                      <a:pt x="33144" y="0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719" name="Gráfico 10">
              <a:extLst>
                <a:ext uri="{FF2B5EF4-FFF2-40B4-BE49-F238E27FC236}">
                  <a16:creationId xmlns:a16="http://schemas.microsoft.com/office/drawing/2014/main" id="{705BC680-C09A-4EE1-D73B-54DD6A7914EA}"/>
                </a:ext>
              </a:extLst>
            </p:cNvPr>
            <p:cNvGrpSpPr/>
            <p:nvPr/>
          </p:nvGrpSpPr>
          <p:grpSpPr>
            <a:xfrm>
              <a:off x="10553821" y="1590368"/>
              <a:ext cx="139678" cy="118466"/>
              <a:chOff x="10553821" y="1590368"/>
              <a:chExt cx="139678" cy="118466"/>
            </a:xfrm>
            <a:noFill/>
          </p:grpSpPr>
          <p:sp>
            <p:nvSpPr>
              <p:cNvPr id="720" name="Forma livre: Forma 719">
                <a:extLst>
                  <a:ext uri="{FF2B5EF4-FFF2-40B4-BE49-F238E27FC236}">
                    <a16:creationId xmlns:a16="http://schemas.microsoft.com/office/drawing/2014/main" id="{65103D9D-98B8-55BA-7B57-0E880EFC15DD}"/>
                  </a:ext>
                </a:extLst>
              </p:cNvPr>
              <p:cNvSpPr/>
              <p:nvPr/>
            </p:nvSpPr>
            <p:spPr>
              <a:xfrm>
                <a:off x="10553821" y="1590368"/>
                <a:ext cx="139678" cy="60748"/>
              </a:xfrm>
              <a:custGeom>
                <a:avLst/>
                <a:gdLst>
                  <a:gd name="connsiteX0" fmla="*/ 0 w 139678"/>
                  <a:gd name="connsiteY0" fmla="*/ 60701 h 60748"/>
                  <a:gd name="connsiteX1" fmla="*/ 69603 w 139678"/>
                  <a:gd name="connsiteY1" fmla="*/ 0 h 60748"/>
                  <a:gd name="connsiteX2" fmla="*/ 139679 w 139678"/>
                  <a:gd name="connsiteY2" fmla="*/ 60748 h 607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39678" h="60748">
                    <a:moveTo>
                      <a:pt x="0" y="60701"/>
                    </a:moveTo>
                    <a:lnTo>
                      <a:pt x="69603" y="0"/>
                    </a:lnTo>
                    <a:lnTo>
                      <a:pt x="139679" y="60748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21" name="Forma livre: Forma 720">
                <a:extLst>
                  <a:ext uri="{FF2B5EF4-FFF2-40B4-BE49-F238E27FC236}">
                    <a16:creationId xmlns:a16="http://schemas.microsoft.com/office/drawing/2014/main" id="{9F6407F7-1D5B-1E08-7E3B-C7E79A592387}"/>
                  </a:ext>
                </a:extLst>
              </p:cNvPr>
              <p:cNvSpPr/>
              <p:nvPr/>
            </p:nvSpPr>
            <p:spPr>
              <a:xfrm>
                <a:off x="10573707" y="1634450"/>
                <a:ext cx="99858" cy="74384"/>
              </a:xfrm>
              <a:custGeom>
                <a:avLst/>
                <a:gdLst>
                  <a:gd name="connsiteX0" fmla="*/ 99858 w 99858"/>
                  <a:gd name="connsiteY0" fmla="*/ 663 h 74384"/>
                  <a:gd name="connsiteX1" fmla="*/ 99858 w 99858"/>
                  <a:gd name="connsiteY1" fmla="*/ 74385 h 74384"/>
                  <a:gd name="connsiteX2" fmla="*/ 62926 w 99858"/>
                  <a:gd name="connsiteY2" fmla="*/ 74385 h 74384"/>
                  <a:gd name="connsiteX3" fmla="*/ 62926 w 99858"/>
                  <a:gd name="connsiteY3" fmla="*/ 41998 h 74384"/>
                  <a:gd name="connsiteX4" fmla="*/ 36932 w 99858"/>
                  <a:gd name="connsiteY4" fmla="*/ 41998 h 74384"/>
                  <a:gd name="connsiteX5" fmla="*/ 36932 w 99858"/>
                  <a:gd name="connsiteY5" fmla="*/ 74385 h 74384"/>
                  <a:gd name="connsiteX6" fmla="*/ 0 w 99858"/>
                  <a:gd name="connsiteY6" fmla="*/ 74385 h 74384"/>
                  <a:gd name="connsiteX7" fmla="*/ 0 w 99858"/>
                  <a:gd name="connsiteY7" fmla="*/ 0 h 743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99858" h="74384">
                    <a:moveTo>
                      <a:pt x="99858" y="663"/>
                    </a:moveTo>
                    <a:lnTo>
                      <a:pt x="99858" y="74385"/>
                    </a:lnTo>
                    <a:lnTo>
                      <a:pt x="62926" y="74385"/>
                    </a:lnTo>
                    <a:lnTo>
                      <a:pt x="62926" y="41998"/>
                    </a:lnTo>
                    <a:lnTo>
                      <a:pt x="36932" y="41998"/>
                    </a:lnTo>
                    <a:lnTo>
                      <a:pt x="36932" y="74385"/>
                    </a:lnTo>
                    <a:lnTo>
                      <a:pt x="0" y="74385"/>
                    </a:lnTo>
                    <a:lnTo>
                      <a:pt x="0" y="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722" name="Gráfico 10">
            <a:extLst>
              <a:ext uri="{FF2B5EF4-FFF2-40B4-BE49-F238E27FC236}">
                <a16:creationId xmlns:a16="http://schemas.microsoft.com/office/drawing/2014/main" id="{0B39F896-0DA6-2F2E-D69C-7B5097101C88}"/>
              </a:ext>
            </a:extLst>
          </p:cNvPr>
          <p:cNvGrpSpPr/>
          <p:nvPr/>
        </p:nvGrpSpPr>
        <p:grpSpPr>
          <a:xfrm>
            <a:off x="9860447" y="1560823"/>
            <a:ext cx="294461" cy="214773"/>
            <a:chOff x="9860447" y="1560823"/>
            <a:chExt cx="294461" cy="214773"/>
          </a:xfrm>
          <a:noFill/>
        </p:grpSpPr>
        <p:grpSp>
          <p:nvGrpSpPr>
            <p:cNvPr id="723" name="Gráfico 10">
              <a:extLst>
                <a:ext uri="{FF2B5EF4-FFF2-40B4-BE49-F238E27FC236}">
                  <a16:creationId xmlns:a16="http://schemas.microsoft.com/office/drawing/2014/main" id="{14B9D40F-5C68-1977-AE95-78C36C11E8E2}"/>
                </a:ext>
              </a:extLst>
            </p:cNvPr>
            <p:cNvGrpSpPr/>
            <p:nvPr/>
          </p:nvGrpSpPr>
          <p:grpSpPr>
            <a:xfrm>
              <a:off x="9860447" y="1560823"/>
              <a:ext cx="294461" cy="214773"/>
              <a:chOff x="9860447" y="1560823"/>
              <a:chExt cx="294461" cy="214773"/>
            </a:xfrm>
            <a:noFill/>
          </p:grpSpPr>
          <p:sp>
            <p:nvSpPr>
              <p:cNvPr id="724" name="Forma livre: Forma 723">
                <a:extLst>
                  <a:ext uri="{FF2B5EF4-FFF2-40B4-BE49-F238E27FC236}">
                    <a16:creationId xmlns:a16="http://schemas.microsoft.com/office/drawing/2014/main" id="{2B16FCB6-36B7-2A92-BBC5-CCBA41E8226A}"/>
                  </a:ext>
                </a:extLst>
              </p:cNvPr>
              <p:cNvSpPr/>
              <p:nvPr/>
            </p:nvSpPr>
            <p:spPr>
              <a:xfrm>
                <a:off x="9860447" y="1560823"/>
                <a:ext cx="294461" cy="214773"/>
              </a:xfrm>
              <a:custGeom>
                <a:avLst/>
                <a:gdLst>
                  <a:gd name="connsiteX0" fmla="*/ 280257 w 294461"/>
                  <a:gd name="connsiteY0" fmla="*/ 0 h 214773"/>
                  <a:gd name="connsiteX1" fmla="*/ 294461 w 294461"/>
                  <a:gd name="connsiteY1" fmla="*/ 14205 h 214773"/>
                  <a:gd name="connsiteX2" fmla="*/ 294461 w 294461"/>
                  <a:gd name="connsiteY2" fmla="*/ 200569 h 214773"/>
                  <a:gd name="connsiteX3" fmla="*/ 280257 w 294461"/>
                  <a:gd name="connsiteY3" fmla="*/ 214773 h 214773"/>
                  <a:gd name="connsiteX4" fmla="*/ 14205 w 294461"/>
                  <a:gd name="connsiteY4" fmla="*/ 214773 h 214773"/>
                  <a:gd name="connsiteX5" fmla="*/ 0 w 294461"/>
                  <a:gd name="connsiteY5" fmla="*/ 200569 h 214773"/>
                  <a:gd name="connsiteX6" fmla="*/ 0 w 294461"/>
                  <a:gd name="connsiteY6" fmla="*/ 14205 h 214773"/>
                  <a:gd name="connsiteX7" fmla="*/ 14205 w 294461"/>
                  <a:gd name="connsiteY7" fmla="*/ 0 h 2147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94461" h="214773">
                    <a:moveTo>
                      <a:pt x="280257" y="0"/>
                    </a:moveTo>
                    <a:cubicBezTo>
                      <a:pt x="288102" y="0"/>
                      <a:pt x="294461" y="6360"/>
                      <a:pt x="294461" y="14205"/>
                    </a:cubicBezTo>
                    <a:lnTo>
                      <a:pt x="294461" y="200569"/>
                    </a:lnTo>
                    <a:cubicBezTo>
                      <a:pt x="294461" y="208414"/>
                      <a:pt x="288102" y="214773"/>
                      <a:pt x="280257" y="214773"/>
                    </a:cubicBezTo>
                    <a:lnTo>
                      <a:pt x="14205" y="214773"/>
                    </a:lnTo>
                    <a:cubicBezTo>
                      <a:pt x="6360" y="214773"/>
                      <a:pt x="0" y="208414"/>
                      <a:pt x="0" y="200569"/>
                    </a:cubicBezTo>
                    <a:lnTo>
                      <a:pt x="0" y="14205"/>
                    </a:lnTo>
                    <a:cubicBezTo>
                      <a:pt x="0" y="6360"/>
                      <a:pt x="6360" y="0"/>
                      <a:pt x="14205" y="0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25" name="Forma livre: Forma 724">
                <a:extLst>
                  <a:ext uri="{FF2B5EF4-FFF2-40B4-BE49-F238E27FC236}">
                    <a16:creationId xmlns:a16="http://schemas.microsoft.com/office/drawing/2014/main" id="{3EA42BD9-E4DA-AEA2-868F-87CF5285CEFA}"/>
                  </a:ext>
                </a:extLst>
              </p:cNvPr>
              <p:cNvSpPr/>
              <p:nvPr/>
            </p:nvSpPr>
            <p:spPr>
              <a:xfrm>
                <a:off x="9921575" y="1562101"/>
                <a:ext cx="4734" cy="212263"/>
              </a:xfrm>
              <a:custGeom>
                <a:avLst/>
                <a:gdLst>
                  <a:gd name="connsiteX0" fmla="*/ 0 w 4734"/>
                  <a:gd name="connsiteY0" fmla="*/ 0 h 212263"/>
                  <a:gd name="connsiteX1" fmla="*/ 0 w 4734"/>
                  <a:gd name="connsiteY1" fmla="*/ 212264 h 2122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34" h="212263">
                    <a:moveTo>
                      <a:pt x="0" y="0"/>
                    </a:moveTo>
                    <a:lnTo>
                      <a:pt x="0" y="212264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26" name="Forma livre: Forma 725">
                <a:extLst>
                  <a:ext uri="{FF2B5EF4-FFF2-40B4-BE49-F238E27FC236}">
                    <a16:creationId xmlns:a16="http://schemas.microsoft.com/office/drawing/2014/main" id="{0CAE5284-29DE-6797-A2E3-8A335EE8BC65}"/>
                  </a:ext>
                </a:extLst>
              </p:cNvPr>
              <p:cNvSpPr/>
              <p:nvPr/>
            </p:nvSpPr>
            <p:spPr>
              <a:xfrm>
                <a:off x="10111490" y="1562101"/>
                <a:ext cx="4734" cy="212263"/>
              </a:xfrm>
              <a:custGeom>
                <a:avLst/>
                <a:gdLst>
                  <a:gd name="connsiteX0" fmla="*/ 0 w 4734"/>
                  <a:gd name="connsiteY0" fmla="*/ 0 h 212263"/>
                  <a:gd name="connsiteX1" fmla="*/ 0 w 4734"/>
                  <a:gd name="connsiteY1" fmla="*/ 212264 h 2122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34" h="212263">
                    <a:moveTo>
                      <a:pt x="0" y="0"/>
                    </a:moveTo>
                    <a:lnTo>
                      <a:pt x="0" y="212264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27" name="Forma livre: Forma 726">
                <a:extLst>
                  <a:ext uri="{FF2B5EF4-FFF2-40B4-BE49-F238E27FC236}">
                    <a16:creationId xmlns:a16="http://schemas.microsoft.com/office/drawing/2014/main" id="{CA2E1B2F-A464-F1EC-2FEB-0F035D9CD615}"/>
                  </a:ext>
                </a:extLst>
              </p:cNvPr>
              <p:cNvSpPr/>
              <p:nvPr/>
            </p:nvSpPr>
            <p:spPr>
              <a:xfrm>
                <a:off x="9890372" y="1657745"/>
                <a:ext cx="4734" cy="20975"/>
              </a:xfrm>
              <a:custGeom>
                <a:avLst/>
                <a:gdLst>
                  <a:gd name="connsiteX0" fmla="*/ 0 w 4734"/>
                  <a:gd name="connsiteY0" fmla="*/ 0 h 20975"/>
                  <a:gd name="connsiteX1" fmla="*/ 0 w 4734"/>
                  <a:gd name="connsiteY1" fmla="*/ 20975 h 209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34" h="20975">
                    <a:moveTo>
                      <a:pt x="0" y="0"/>
                    </a:moveTo>
                    <a:lnTo>
                      <a:pt x="0" y="20975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728" name="Gráfico 10">
              <a:extLst>
                <a:ext uri="{FF2B5EF4-FFF2-40B4-BE49-F238E27FC236}">
                  <a16:creationId xmlns:a16="http://schemas.microsoft.com/office/drawing/2014/main" id="{57F7AC03-DB00-4B37-AFA8-DAB0B3858385}"/>
                </a:ext>
              </a:extLst>
            </p:cNvPr>
            <p:cNvGrpSpPr/>
            <p:nvPr/>
          </p:nvGrpSpPr>
          <p:grpSpPr>
            <a:xfrm>
              <a:off x="9953724" y="1615652"/>
              <a:ext cx="124337" cy="105492"/>
              <a:chOff x="9953724" y="1615652"/>
              <a:chExt cx="124337" cy="105492"/>
            </a:xfrm>
            <a:noFill/>
          </p:grpSpPr>
          <p:sp>
            <p:nvSpPr>
              <p:cNvPr id="729" name="Forma livre: Forma 728">
                <a:extLst>
                  <a:ext uri="{FF2B5EF4-FFF2-40B4-BE49-F238E27FC236}">
                    <a16:creationId xmlns:a16="http://schemas.microsoft.com/office/drawing/2014/main" id="{3379A5E9-8B6C-99A0-B3AB-4276A3C48D97}"/>
                  </a:ext>
                </a:extLst>
              </p:cNvPr>
              <p:cNvSpPr/>
              <p:nvPr/>
            </p:nvSpPr>
            <p:spPr>
              <a:xfrm>
                <a:off x="9953724" y="1615652"/>
                <a:ext cx="124337" cy="54072"/>
              </a:xfrm>
              <a:custGeom>
                <a:avLst/>
                <a:gdLst>
                  <a:gd name="connsiteX0" fmla="*/ 0 w 124337"/>
                  <a:gd name="connsiteY0" fmla="*/ 54072 h 54072"/>
                  <a:gd name="connsiteX1" fmla="*/ 61979 w 124337"/>
                  <a:gd name="connsiteY1" fmla="*/ 0 h 54072"/>
                  <a:gd name="connsiteX2" fmla="*/ 124338 w 124337"/>
                  <a:gd name="connsiteY2" fmla="*/ 54072 h 540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24337" h="54072">
                    <a:moveTo>
                      <a:pt x="0" y="54072"/>
                    </a:moveTo>
                    <a:lnTo>
                      <a:pt x="61979" y="0"/>
                    </a:lnTo>
                    <a:lnTo>
                      <a:pt x="124338" y="54072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30" name="Forma livre: Forma 729">
                <a:extLst>
                  <a:ext uri="{FF2B5EF4-FFF2-40B4-BE49-F238E27FC236}">
                    <a16:creationId xmlns:a16="http://schemas.microsoft.com/office/drawing/2014/main" id="{5BC00C46-DBF5-61B9-34C7-088164DC26B3}"/>
                  </a:ext>
                </a:extLst>
              </p:cNvPr>
              <p:cNvSpPr/>
              <p:nvPr/>
            </p:nvSpPr>
            <p:spPr>
              <a:xfrm>
                <a:off x="9971433" y="1654904"/>
                <a:ext cx="88873" cy="66240"/>
              </a:xfrm>
              <a:custGeom>
                <a:avLst/>
                <a:gdLst>
                  <a:gd name="connsiteX0" fmla="*/ 88873 w 88873"/>
                  <a:gd name="connsiteY0" fmla="*/ 616 h 66240"/>
                  <a:gd name="connsiteX1" fmla="*/ 88873 w 88873"/>
                  <a:gd name="connsiteY1" fmla="*/ 66241 h 66240"/>
                  <a:gd name="connsiteX2" fmla="*/ 56013 w 88873"/>
                  <a:gd name="connsiteY2" fmla="*/ 66241 h 66240"/>
                  <a:gd name="connsiteX3" fmla="*/ 56013 w 88873"/>
                  <a:gd name="connsiteY3" fmla="*/ 37405 h 66240"/>
                  <a:gd name="connsiteX4" fmla="*/ 32860 w 88873"/>
                  <a:gd name="connsiteY4" fmla="*/ 37405 h 66240"/>
                  <a:gd name="connsiteX5" fmla="*/ 32860 w 88873"/>
                  <a:gd name="connsiteY5" fmla="*/ 66241 h 66240"/>
                  <a:gd name="connsiteX6" fmla="*/ 0 w 88873"/>
                  <a:gd name="connsiteY6" fmla="*/ 66241 h 66240"/>
                  <a:gd name="connsiteX7" fmla="*/ 0 w 88873"/>
                  <a:gd name="connsiteY7" fmla="*/ 0 h 662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88873" h="66240">
                    <a:moveTo>
                      <a:pt x="88873" y="616"/>
                    </a:moveTo>
                    <a:lnTo>
                      <a:pt x="88873" y="66241"/>
                    </a:lnTo>
                    <a:lnTo>
                      <a:pt x="56013" y="66241"/>
                    </a:lnTo>
                    <a:lnTo>
                      <a:pt x="56013" y="37405"/>
                    </a:lnTo>
                    <a:lnTo>
                      <a:pt x="32860" y="37405"/>
                    </a:lnTo>
                    <a:lnTo>
                      <a:pt x="32860" y="66241"/>
                    </a:lnTo>
                    <a:lnTo>
                      <a:pt x="0" y="66241"/>
                    </a:lnTo>
                    <a:lnTo>
                      <a:pt x="0" y="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731" name="Gráfico 10">
            <a:extLst>
              <a:ext uri="{FF2B5EF4-FFF2-40B4-BE49-F238E27FC236}">
                <a16:creationId xmlns:a16="http://schemas.microsoft.com/office/drawing/2014/main" id="{2564B825-005B-F10E-5C6D-1AC0BC6D1745}"/>
              </a:ext>
            </a:extLst>
          </p:cNvPr>
          <p:cNvGrpSpPr/>
          <p:nvPr/>
        </p:nvGrpSpPr>
        <p:grpSpPr>
          <a:xfrm>
            <a:off x="11093927" y="2596480"/>
            <a:ext cx="291336" cy="288211"/>
            <a:chOff x="11093927" y="2596480"/>
            <a:chExt cx="291336" cy="288211"/>
          </a:xfrm>
          <a:noFill/>
        </p:grpSpPr>
        <p:sp>
          <p:nvSpPr>
            <p:cNvPr id="732" name="Forma livre: Forma 731">
              <a:extLst>
                <a:ext uri="{FF2B5EF4-FFF2-40B4-BE49-F238E27FC236}">
                  <a16:creationId xmlns:a16="http://schemas.microsoft.com/office/drawing/2014/main" id="{757F8B34-541C-6450-29CE-8E4B43BAC8E1}"/>
                </a:ext>
              </a:extLst>
            </p:cNvPr>
            <p:cNvSpPr/>
            <p:nvPr/>
          </p:nvSpPr>
          <p:spPr>
            <a:xfrm>
              <a:off x="11093927" y="2674321"/>
              <a:ext cx="291336" cy="210369"/>
            </a:xfrm>
            <a:custGeom>
              <a:avLst/>
              <a:gdLst>
                <a:gd name="connsiteX0" fmla="*/ 207150 w 291336"/>
                <a:gd name="connsiteY0" fmla="*/ 0 h 210369"/>
                <a:gd name="connsiteX1" fmla="*/ 291336 w 291336"/>
                <a:gd name="connsiteY1" fmla="*/ 94129 h 210369"/>
                <a:gd name="connsiteX2" fmla="*/ 291336 w 291336"/>
                <a:gd name="connsiteY2" fmla="*/ 115673 h 210369"/>
                <a:gd name="connsiteX3" fmla="*/ 196639 w 291336"/>
                <a:gd name="connsiteY3" fmla="*/ 210370 h 210369"/>
                <a:gd name="connsiteX4" fmla="*/ 94697 w 291336"/>
                <a:gd name="connsiteY4" fmla="*/ 210370 h 210369"/>
                <a:gd name="connsiteX5" fmla="*/ 0 w 291336"/>
                <a:gd name="connsiteY5" fmla="*/ 115673 h 210369"/>
                <a:gd name="connsiteX6" fmla="*/ 0 w 291336"/>
                <a:gd name="connsiteY6" fmla="*/ 94129 h 210369"/>
                <a:gd name="connsiteX7" fmla="*/ 81156 w 291336"/>
                <a:gd name="connsiteY7" fmla="*/ 426 h 2103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91336" h="210369">
                  <a:moveTo>
                    <a:pt x="207150" y="0"/>
                  </a:moveTo>
                  <a:cubicBezTo>
                    <a:pt x="254310" y="5256"/>
                    <a:pt x="291336" y="45597"/>
                    <a:pt x="291336" y="94129"/>
                  </a:cubicBezTo>
                  <a:lnTo>
                    <a:pt x="291336" y="115673"/>
                  </a:lnTo>
                  <a:cubicBezTo>
                    <a:pt x="291336" y="167756"/>
                    <a:pt x="248723" y="210370"/>
                    <a:pt x="196639" y="210370"/>
                  </a:cubicBezTo>
                  <a:lnTo>
                    <a:pt x="94697" y="210370"/>
                  </a:lnTo>
                  <a:cubicBezTo>
                    <a:pt x="42614" y="210370"/>
                    <a:pt x="0" y="167756"/>
                    <a:pt x="0" y="115673"/>
                  </a:cubicBezTo>
                  <a:lnTo>
                    <a:pt x="0" y="94129"/>
                  </a:lnTo>
                  <a:cubicBezTo>
                    <a:pt x="0" y="46638"/>
                    <a:pt x="35417" y="7008"/>
                    <a:pt x="81156" y="426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733" name="Forma livre: Forma 732">
              <a:extLst>
                <a:ext uri="{FF2B5EF4-FFF2-40B4-BE49-F238E27FC236}">
                  <a16:creationId xmlns:a16="http://schemas.microsoft.com/office/drawing/2014/main" id="{12286F6A-5701-9141-417A-3D6225464F2A}"/>
                </a:ext>
              </a:extLst>
            </p:cNvPr>
            <p:cNvSpPr/>
            <p:nvPr/>
          </p:nvSpPr>
          <p:spPr>
            <a:xfrm>
              <a:off x="11198189" y="2649463"/>
              <a:ext cx="78835" cy="4734"/>
            </a:xfrm>
            <a:custGeom>
              <a:avLst/>
              <a:gdLst>
                <a:gd name="connsiteX0" fmla="*/ 0 w 78835"/>
                <a:gd name="connsiteY0" fmla="*/ 0 h 4734"/>
                <a:gd name="connsiteX1" fmla="*/ 78835 w 78835"/>
                <a:gd name="connsiteY1" fmla="*/ 0 h 47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8835" h="4734">
                  <a:moveTo>
                    <a:pt x="0" y="0"/>
                  </a:moveTo>
                  <a:lnTo>
                    <a:pt x="78835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734" name="Forma livre: Forma 733">
              <a:extLst>
                <a:ext uri="{FF2B5EF4-FFF2-40B4-BE49-F238E27FC236}">
                  <a16:creationId xmlns:a16="http://schemas.microsoft.com/office/drawing/2014/main" id="{969295E8-D332-E4B1-FB5C-9100BC470AFA}"/>
                </a:ext>
              </a:extLst>
            </p:cNvPr>
            <p:cNvSpPr/>
            <p:nvPr/>
          </p:nvSpPr>
          <p:spPr>
            <a:xfrm>
              <a:off x="11198189" y="2694254"/>
              <a:ext cx="79072" cy="4734"/>
            </a:xfrm>
            <a:custGeom>
              <a:avLst/>
              <a:gdLst>
                <a:gd name="connsiteX0" fmla="*/ 0 w 79072"/>
                <a:gd name="connsiteY0" fmla="*/ 0 h 4734"/>
                <a:gd name="connsiteX1" fmla="*/ 79072 w 79072"/>
                <a:gd name="connsiteY1" fmla="*/ 0 h 47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9072" h="4734">
                  <a:moveTo>
                    <a:pt x="0" y="0"/>
                  </a:moveTo>
                  <a:lnTo>
                    <a:pt x="79072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735" name="Forma livre: Forma 734">
              <a:extLst>
                <a:ext uri="{FF2B5EF4-FFF2-40B4-BE49-F238E27FC236}">
                  <a16:creationId xmlns:a16="http://schemas.microsoft.com/office/drawing/2014/main" id="{1D61008C-22A7-6D55-4B15-A19E0C7F3534}"/>
                </a:ext>
              </a:extLst>
            </p:cNvPr>
            <p:cNvSpPr/>
            <p:nvPr/>
          </p:nvSpPr>
          <p:spPr>
            <a:xfrm>
              <a:off x="11146673" y="2756198"/>
              <a:ext cx="188826" cy="21768"/>
            </a:xfrm>
            <a:custGeom>
              <a:avLst/>
              <a:gdLst>
                <a:gd name="connsiteX0" fmla="*/ 0 w 188826"/>
                <a:gd name="connsiteY0" fmla="*/ 21437 h 21768"/>
                <a:gd name="connsiteX1" fmla="*/ 17235 w 188826"/>
                <a:gd name="connsiteY1" fmla="*/ 2876 h 21768"/>
                <a:gd name="connsiteX2" fmla="*/ 30114 w 188826"/>
                <a:gd name="connsiteY2" fmla="*/ 2876 h 21768"/>
                <a:gd name="connsiteX3" fmla="*/ 40483 w 188826"/>
                <a:gd name="connsiteY3" fmla="*/ 14051 h 21768"/>
                <a:gd name="connsiteX4" fmla="*/ 53362 w 188826"/>
                <a:gd name="connsiteY4" fmla="*/ 14051 h 21768"/>
                <a:gd name="connsiteX5" fmla="*/ 63731 w 188826"/>
                <a:gd name="connsiteY5" fmla="*/ 2924 h 21768"/>
                <a:gd name="connsiteX6" fmla="*/ 76610 w 188826"/>
                <a:gd name="connsiteY6" fmla="*/ 2924 h 21768"/>
                <a:gd name="connsiteX7" fmla="*/ 88116 w 188826"/>
                <a:gd name="connsiteY7" fmla="*/ 15282 h 21768"/>
                <a:gd name="connsiteX8" fmla="*/ 100995 w 188826"/>
                <a:gd name="connsiteY8" fmla="*/ 15282 h 21768"/>
                <a:gd name="connsiteX9" fmla="*/ 112074 w 188826"/>
                <a:gd name="connsiteY9" fmla="*/ 3397 h 21768"/>
                <a:gd name="connsiteX10" fmla="*/ 124953 w 188826"/>
                <a:gd name="connsiteY10" fmla="*/ 3397 h 21768"/>
                <a:gd name="connsiteX11" fmla="*/ 135464 w 188826"/>
                <a:gd name="connsiteY11" fmla="*/ 14714 h 21768"/>
                <a:gd name="connsiteX12" fmla="*/ 148343 w 188826"/>
                <a:gd name="connsiteY12" fmla="*/ 14714 h 21768"/>
                <a:gd name="connsiteX13" fmla="*/ 158855 w 188826"/>
                <a:gd name="connsiteY13" fmla="*/ 3397 h 21768"/>
                <a:gd name="connsiteX14" fmla="*/ 171733 w 188826"/>
                <a:gd name="connsiteY14" fmla="*/ 3397 h 21768"/>
                <a:gd name="connsiteX15" fmla="*/ 188826 w 188826"/>
                <a:gd name="connsiteY15" fmla="*/ 21768 h 217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88826" h="21768">
                  <a:moveTo>
                    <a:pt x="0" y="21437"/>
                  </a:moveTo>
                  <a:lnTo>
                    <a:pt x="17235" y="2876"/>
                  </a:lnTo>
                  <a:cubicBezTo>
                    <a:pt x="20786" y="-959"/>
                    <a:pt x="26610" y="-959"/>
                    <a:pt x="30114" y="2876"/>
                  </a:cubicBezTo>
                  <a:lnTo>
                    <a:pt x="40483" y="14051"/>
                  </a:lnTo>
                  <a:cubicBezTo>
                    <a:pt x="44034" y="17886"/>
                    <a:pt x="49811" y="17886"/>
                    <a:pt x="53362" y="14051"/>
                  </a:cubicBezTo>
                  <a:lnTo>
                    <a:pt x="63731" y="2924"/>
                  </a:lnTo>
                  <a:cubicBezTo>
                    <a:pt x="67282" y="-911"/>
                    <a:pt x="73059" y="-911"/>
                    <a:pt x="76610" y="2924"/>
                  </a:cubicBezTo>
                  <a:lnTo>
                    <a:pt x="88116" y="15282"/>
                  </a:lnTo>
                  <a:cubicBezTo>
                    <a:pt x="91667" y="19117"/>
                    <a:pt x="97443" y="19117"/>
                    <a:pt x="100995" y="15282"/>
                  </a:cubicBezTo>
                  <a:lnTo>
                    <a:pt x="112074" y="3397"/>
                  </a:lnTo>
                  <a:cubicBezTo>
                    <a:pt x="115625" y="-438"/>
                    <a:pt x="121402" y="-438"/>
                    <a:pt x="124953" y="3397"/>
                  </a:cubicBezTo>
                  <a:lnTo>
                    <a:pt x="135464" y="14714"/>
                  </a:lnTo>
                  <a:cubicBezTo>
                    <a:pt x="139016" y="18549"/>
                    <a:pt x="144792" y="18549"/>
                    <a:pt x="148343" y="14714"/>
                  </a:cubicBezTo>
                  <a:lnTo>
                    <a:pt x="158855" y="3397"/>
                  </a:lnTo>
                  <a:cubicBezTo>
                    <a:pt x="162406" y="-438"/>
                    <a:pt x="168182" y="-438"/>
                    <a:pt x="171733" y="3397"/>
                  </a:cubicBezTo>
                  <a:lnTo>
                    <a:pt x="188826" y="21768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736" name="Forma livre: Forma 735">
              <a:extLst>
                <a:ext uri="{FF2B5EF4-FFF2-40B4-BE49-F238E27FC236}">
                  <a16:creationId xmlns:a16="http://schemas.microsoft.com/office/drawing/2014/main" id="{5578E0D2-F831-D94A-4CF4-2C66B8E2519B}"/>
                </a:ext>
              </a:extLst>
            </p:cNvPr>
            <p:cNvSpPr/>
            <p:nvPr/>
          </p:nvSpPr>
          <p:spPr>
            <a:xfrm>
              <a:off x="11146673" y="2803547"/>
              <a:ext cx="188826" cy="21721"/>
            </a:xfrm>
            <a:custGeom>
              <a:avLst/>
              <a:gdLst>
                <a:gd name="connsiteX0" fmla="*/ 0 w 188826"/>
                <a:gd name="connsiteY0" fmla="*/ 21390 h 21721"/>
                <a:gd name="connsiteX1" fmla="*/ 17235 w 188826"/>
                <a:gd name="connsiteY1" fmla="*/ 2876 h 21721"/>
                <a:gd name="connsiteX2" fmla="*/ 30114 w 188826"/>
                <a:gd name="connsiteY2" fmla="*/ 2876 h 21721"/>
                <a:gd name="connsiteX3" fmla="*/ 40483 w 188826"/>
                <a:gd name="connsiteY3" fmla="*/ 14003 h 21721"/>
                <a:gd name="connsiteX4" fmla="*/ 53362 w 188826"/>
                <a:gd name="connsiteY4" fmla="*/ 14003 h 21721"/>
                <a:gd name="connsiteX5" fmla="*/ 63731 w 188826"/>
                <a:gd name="connsiteY5" fmla="*/ 2876 h 21721"/>
                <a:gd name="connsiteX6" fmla="*/ 76610 w 188826"/>
                <a:gd name="connsiteY6" fmla="*/ 2876 h 21721"/>
                <a:gd name="connsiteX7" fmla="*/ 88116 w 188826"/>
                <a:gd name="connsiteY7" fmla="*/ 15234 h 21721"/>
                <a:gd name="connsiteX8" fmla="*/ 100995 w 188826"/>
                <a:gd name="connsiteY8" fmla="*/ 15234 h 21721"/>
                <a:gd name="connsiteX9" fmla="*/ 112074 w 188826"/>
                <a:gd name="connsiteY9" fmla="*/ 3350 h 21721"/>
                <a:gd name="connsiteX10" fmla="*/ 124953 w 188826"/>
                <a:gd name="connsiteY10" fmla="*/ 3350 h 21721"/>
                <a:gd name="connsiteX11" fmla="*/ 135464 w 188826"/>
                <a:gd name="connsiteY11" fmla="*/ 14666 h 21721"/>
                <a:gd name="connsiteX12" fmla="*/ 148343 w 188826"/>
                <a:gd name="connsiteY12" fmla="*/ 14666 h 21721"/>
                <a:gd name="connsiteX13" fmla="*/ 158855 w 188826"/>
                <a:gd name="connsiteY13" fmla="*/ 3350 h 21721"/>
                <a:gd name="connsiteX14" fmla="*/ 171733 w 188826"/>
                <a:gd name="connsiteY14" fmla="*/ 3350 h 21721"/>
                <a:gd name="connsiteX15" fmla="*/ 188826 w 188826"/>
                <a:gd name="connsiteY15" fmla="*/ 21721 h 217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88826" h="21721">
                  <a:moveTo>
                    <a:pt x="0" y="21390"/>
                  </a:moveTo>
                  <a:lnTo>
                    <a:pt x="17235" y="2876"/>
                  </a:lnTo>
                  <a:cubicBezTo>
                    <a:pt x="20786" y="-959"/>
                    <a:pt x="26610" y="-959"/>
                    <a:pt x="30114" y="2876"/>
                  </a:cubicBezTo>
                  <a:lnTo>
                    <a:pt x="40483" y="14003"/>
                  </a:lnTo>
                  <a:cubicBezTo>
                    <a:pt x="44034" y="17839"/>
                    <a:pt x="49811" y="17839"/>
                    <a:pt x="53362" y="14003"/>
                  </a:cubicBezTo>
                  <a:lnTo>
                    <a:pt x="63731" y="2876"/>
                  </a:lnTo>
                  <a:cubicBezTo>
                    <a:pt x="67282" y="-959"/>
                    <a:pt x="73059" y="-959"/>
                    <a:pt x="76610" y="2876"/>
                  </a:cubicBezTo>
                  <a:lnTo>
                    <a:pt x="88116" y="15234"/>
                  </a:lnTo>
                  <a:cubicBezTo>
                    <a:pt x="91667" y="19070"/>
                    <a:pt x="97443" y="19070"/>
                    <a:pt x="100995" y="15234"/>
                  </a:cubicBezTo>
                  <a:lnTo>
                    <a:pt x="112074" y="3350"/>
                  </a:lnTo>
                  <a:cubicBezTo>
                    <a:pt x="115625" y="-485"/>
                    <a:pt x="121402" y="-485"/>
                    <a:pt x="124953" y="3350"/>
                  </a:cubicBezTo>
                  <a:lnTo>
                    <a:pt x="135464" y="14666"/>
                  </a:lnTo>
                  <a:cubicBezTo>
                    <a:pt x="139016" y="18501"/>
                    <a:pt x="144792" y="18501"/>
                    <a:pt x="148343" y="14666"/>
                  </a:cubicBezTo>
                  <a:lnTo>
                    <a:pt x="158855" y="3350"/>
                  </a:lnTo>
                  <a:cubicBezTo>
                    <a:pt x="162406" y="-485"/>
                    <a:pt x="168182" y="-485"/>
                    <a:pt x="171733" y="3350"/>
                  </a:cubicBezTo>
                  <a:lnTo>
                    <a:pt x="188826" y="21721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737" name="Gráfico 10">
              <a:extLst>
                <a:ext uri="{FF2B5EF4-FFF2-40B4-BE49-F238E27FC236}">
                  <a16:creationId xmlns:a16="http://schemas.microsoft.com/office/drawing/2014/main" id="{ACBD58E5-62D9-A2AA-6A43-4BF351AF412A}"/>
                </a:ext>
              </a:extLst>
            </p:cNvPr>
            <p:cNvGrpSpPr/>
            <p:nvPr/>
          </p:nvGrpSpPr>
          <p:grpSpPr>
            <a:xfrm>
              <a:off x="11197715" y="2596480"/>
              <a:ext cx="18323" cy="129972"/>
              <a:chOff x="11197715" y="2596480"/>
              <a:chExt cx="18323" cy="129972"/>
            </a:xfrm>
            <a:noFill/>
          </p:grpSpPr>
          <p:sp>
            <p:nvSpPr>
              <p:cNvPr id="738" name="Forma livre: Forma 737">
                <a:extLst>
                  <a:ext uri="{FF2B5EF4-FFF2-40B4-BE49-F238E27FC236}">
                    <a16:creationId xmlns:a16="http://schemas.microsoft.com/office/drawing/2014/main" id="{0174A86B-F4F3-76EA-28F2-CAC2EF829579}"/>
                  </a:ext>
                </a:extLst>
              </p:cNvPr>
              <p:cNvSpPr/>
              <p:nvPr/>
            </p:nvSpPr>
            <p:spPr>
              <a:xfrm>
                <a:off x="11197715" y="2642502"/>
                <a:ext cx="4734" cy="83949"/>
              </a:xfrm>
              <a:custGeom>
                <a:avLst/>
                <a:gdLst>
                  <a:gd name="connsiteX0" fmla="*/ 0 w 4734"/>
                  <a:gd name="connsiteY0" fmla="*/ 0 h 83949"/>
                  <a:gd name="connsiteX1" fmla="*/ 0 w 4734"/>
                  <a:gd name="connsiteY1" fmla="*/ 83949 h 839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34" h="83949">
                    <a:moveTo>
                      <a:pt x="0" y="0"/>
                    </a:moveTo>
                    <a:lnTo>
                      <a:pt x="0" y="83949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39" name="Forma livre: Forma 738">
                <a:extLst>
                  <a:ext uri="{FF2B5EF4-FFF2-40B4-BE49-F238E27FC236}">
                    <a16:creationId xmlns:a16="http://schemas.microsoft.com/office/drawing/2014/main" id="{32640703-AC97-571F-D918-1286E0E9845E}"/>
                  </a:ext>
                </a:extLst>
              </p:cNvPr>
              <p:cNvSpPr/>
              <p:nvPr/>
            </p:nvSpPr>
            <p:spPr>
              <a:xfrm>
                <a:off x="11197715" y="2596480"/>
                <a:ext cx="18323" cy="59327"/>
              </a:xfrm>
              <a:custGeom>
                <a:avLst/>
                <a:gdLst>
                  <a:gd name="connsiteX0" fmla="*/ 18324 w 18323"/>
                  <a:gd name="connsiteY0" fmla="*/ 0 h 59327"/>
                  <a:gd name="connsiteX1" fmla="*/ 0 w 18323"/>
                  <a:gd name="connsiteY1" fmla="*/ 25568 h 59327"/>
                  <a:gd name="connsiteX2" fmla="*/ 0 w 18323"/>
                  <a:gd name="connsiteY2" fmla="*/ 59328 h 59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8323" h="59327">
                    <a:moveTo>
                      <a:pt x="18324" y="0"/>
                    </a:moveTo>
                    <a:cubicBezTo>
                      <a:pt x="1184" y="0"/>
                      <a:pt x="0" y="19366"/>
                      <a:pt x="0" y="25568"/>
                    </a:cubicBezTo>
                    <a:lnTo>
                      <a:pt x="0" y="59328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740" name="Gráfico 10">
              <a:extLst>
                <a:ext uri="{FF2B5EF4-FFF2-40B4-BE49-F238E27FC236}">
                  <a16:creationId xmlns:a16="http://schemas.microsoft.com/office/drawing/2014/main" id="{3DCCDDCB-B80A-0988-C322-1A6ABFE35A2F}"/>
                </a:ext>
              </a:extLst>
            </p:cNvPr>
            <p:cNvGrpSpPr/>
            <p:nvPr/>
          </p:nvGrpSpPr>
          <p:grpSpPr>
            <a:xfrm>
              <a:off x="11277971" y="2596480"/>
              <a:ext cx="18323" cy="129972"/>
              <a:chOff x="11277971" y="2596480"/>
              <a:chExt cx="18323" cy="129972"/>
            </a:xfrm>
            <a:noFill/>
          </p:grpSpPr>
          <p:sp>
            <p:nvSpPr>
              <p:cNvPr id="741" name="Forma livre: Forma 740">
                <a:extLst>
                  <a:ext uri="{FF2B5EF4-FFF2-40B4-BE49-F238E27FC236}">
                    <a16:creationId xmlns:a16="http://schemas.microsoft.com/office/drawing/2014/main" id="{F7869257-3981-D0D3-4E26-592D9A8C95E6}"/>
                  </a:ext>
                </a:extLst>
              </p:cNvPr>
              <p:cNvSpPr/>
              <p:nvPr/>
            </p:nvSpPr>
            <p:spPr>
              <a:xfrm>
                <a:off x="11277971" y="2642502"/>
                <a:ext cx="4734" cy="83949"/>
              </a:xfrm>
              <a:custGeom>
                <a:avLst/>
                <a:gdLst>
                  <a:gd name="connsiteX0" fmla="*/ 0 w 4734"/>
                  <a:gd name="connsiteY0" fmla="*/ 0 h 83949"/>
                  <a:gd name="connsiteX1" fmla="*/ 0 w 4734"/>
                  <a:gd name="connsiteY1" fmla="*/ 83949 h 839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34" h="83949">
                    <a:moveTo>
                      <a:pt x="0" y="0"/>
                    </a:moveTo>
                    <a:lnTo>
                      <a:pt x="0" y="83949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42" name="Forma livre: Forma 741">
                <a:extLst>
                  <a:ext uri="{FF2B5EF4-FFF2-40B4-BE49-F238E27FC236}">
                    <a16:creationId xmlns:a16="http://schemas.microsoft.com/office/drawing/2014/main" id="{1BCE62D7-8839-8143-5819-79DE95DDBE85}"/>
                  </a:ext>
                </a:extLst>
              </p:cNvPr>
              <p:cNvSpPr/>
              <p:nvPr/>
            </p:nvSpPr>
            <p:spPr>
              <a:xfrm>
                <a:off x="11277971" y="2596480"/>
                <a:ext cx="18323" cy="59327"/>
              </a:xfrm>
              <a:custGeom>
                <a:avLst/>
                <a:gdLst>
                  <a:gd name="connsiteX0" fmla="*/ 18324 w 18323"/>
                  <a:gd name="connsiteY0" fmla="*/ 0 h 59327"/>
                  <a:gd name="connsiteX1" fmla="*/ 0 w 18323"/>
                  <a:gd name="connsiteY1" fmla="*/ 25568 h 59327"/>
                  <a:gd name="connsiteX2" fmla="*/ 0 w 18323"/>
                  <a:gd name="connsiteY2" fmla="*/ 59328 h 59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8323" h="59327">
                    <a:moveTo>
                      <a:pt x="18324" y="0"/>
                    </a:moveTo>
                    <a:cubicBezTo>
                      <a:pt x="1184" y="0"/>
                      <a:pt x="0" y="19366"/>
                      <a:pt x="0" y="25568"/>
                    </a:cubicBezTo>
                    <a:lnTo>
                      <a:pt x="0" y="59328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743" name="Gráfico 10">
            <a:extLst>
              <a:ext uri="{FF2B5EF4-FFF2-40B4-BE49-F238E27FC236}">
                <a16:creationId xmlns:a16="http://schemas.microsoft.com/office/drawing/2014/main" id="{2DBB4314-B050-EB6B-1372-38A18AF17316}"/>
              </a:ext>
            </a:extLst>
          </p:cNvPr>
          <p:cNvGrpSpPr/>
          <p:nvPr/>
        </p:nvGrpSpPr>
        <p:grpSpPr>
          <a:xfrm>
            <a:off x="10460307" y="2636372"/>
            <a:ext cx="326705" cy="208450"/>
            <a:chOff x="10460307" y="2636372"/>
            <a:chExt cx="326705" cy="208450"/>
          </a:xfrm>
          <a:noFill/>
        </p:grpSpPr>
        <p:sp>
          <p:nvSpPr>
            <p:cNvPr id="744" name="Forma livre: Forma 743">
              <a:extLst>
                <a:ext uri="{FF2B5EF4-FFF2-40B4-BE49-F238E27FC236}">
                  <a16:creationId xmlns:a16="http://schemas.microsoft.com/office/drawing/2014/main" id="{8499749B-6EFF-F6EB-398E-B9CC1FC085C6}"/>
                </a:ext>
              </a:extLst>
            </p:cNvPr>
            <p:cNvSpPr/>
            <p:nvPr/>
          </p:nvSpPr>
          <p:spPr>
            <a:xfrm>
              <a:off x="10460307" y="2636372"/>
              <a:ext cx="326705" cy="177626"/>
            </a:xfrm>
            <a:custGeom>
              <a:avLst/>
              <a:gdLst>
                <a:gd name="connsiteX0" fmla="*/ 37500 w 326705"/>
                <a:gd name="connsiteY0" fmla="*/ 177627 h 177626"/>
                <a:gd name="connsiteX1" fmla="*/ 20407 w 326705"/>
                <a:gd name="connsiteY1" fmla="*/ 177627 h 177626"/>
                <a:gd name="connsiteX2" fmla="*/ 0 w 326705"/>
                <a:gd name="connsiteY2" fmla="*/ 157220 h 177626"/>
                <a:gd name="connsiteX3" fmla="*/ 0 w 326705"/>
                <a:gd name="connsiteY3" fmla="*/ 20429 h 177626"/>
                <a:gd name="connsiteX4" fmla="*/ 20407 w 326705"/>
                <a:gd name="connsiteY4" fmla="*/ 22 h 177626"/>
                <a:gd name="connsiteX5" fmla="*/ 201421 w 326705"/>
                <a:gd name="connsiteY5" fmla="*/ 22 h 177626"/>
                <a:gd name="connsiteX6" fmla="*/ 326706 w 326705"/>
                <a:gd name="connsiteY6" fmla="*/ 114653 h 177626"/>
                <a:gd name="connsiteX7" fmla="*/ 326706 w 326705"/>
                <a:gd name="connsiteY7" fmla="*/ 157220 h 177626"/>
                <a:gd name="connsiteX8" fmla="*/ 306298 w 326705"/>
                <a:gd name="connsiteY8" fmla="*/ 177627 h 177626"/>
                <a:gd name="connsiteX9" fmla="*/ 285891 w 326705"/>
                <a:gd name="connsiteY9" fmla="*/ 177627 h 1776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26705" h="177626">
                  <a:moveTo>
                    <a:pt x="37500" y="177627"/>
                  </a:moveTo>
                  <a:lnTo>
                    <a:pt x="20407" y="177627"/>
                  </a:lnTo>
                  <a:cubicBezTo>
                    <a:pt x="9186" y="177627"/>
                    <a:pt x="0" y="168441"/>
                    <a:pt x="0" y="157220"/>
                  </a:cubicBezTo>
                  <a:lnTo>
                    <a:pt x="0" y="20429"/>
                  </a:lnTo>
                  <a:cubicBezTo>
                    <a:pt x="0" y="9208"/>
                    <a:pt x="9186" y="22"/>
                    <a:pt x="20407" y="22"/>
                  </a:cubicBezTo>
                  <a:lnTo>
                    <a:pt x="201421" y="22"/>
                  </a:lnTo>
                  <a:cubicBezTo>
                    <a:pt x="201421" y="22"/>
                    <a:pt x="264774" y="-4476"/>
                    <a:pt x="326706" y="114653"/>
                  </a:cubicBezTo>
                  <a:lnTo>
                    <a:pt x="326706" y="157220"/>
                  </a:lnTo>
                  <a:cubicBezTo>
                    <a:pt x="326706" y="168441"/>
                    <a:pt x="317520" y="177627"/>
                    <a:pt x="306298" y="177627"/>
                  </a:cubicBezTo>
                  <a:lnTo>
                    <a:pt x="285891" y="177627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745" name="Forma livre: Forma 744">
              <a:extLst>
                <a:ext uri="{FF2B5EF4-FFF2-40B4-BE49-F238E27FC236}">
                  <a16:creationId xmlns:a16="http://schemas.microsoft.com/office/drawing/2014/main" id="{0970A97D-7DD2-BBB6-F01D-07BB3D09C0E6}"/>
                </a:ext>
              </a:extLst>
            </p:cNvPr>
            <p:cNvSpPr/>
            <p:nvPr/>
          </p:nvSpPr>
          <p:spPr>
            <a:xfrm>
              <a:off x="10559834" y="2813999"/>
              <a:ext cx="123958" cy="4734"/>
            </a:xfrm>
            <a:custGeom>
              <a:avLst/>
              <a:gdLst>
                <a:gd name="connsiteX0" fmla="*/ 123959 w 123958"/>
                <a:gd name="connsiteY0" fmla="*/ 0 h 4734"/>
                <a:gd name="connsiteX1" fmla="*/ 0 w 123958"/>
                <a:gd name="connsiteY1" fmla="*/ 0 h 47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958" h="4734">
                  <a:moveTo>
                    <a:pt x="123959" y="0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746" name="Forma livre: Forma 745">
              <a:extLst>
                <a:ext uri="{FF2B5EF4-FFF2-40B4-BE49-F238E27FC236}">
                  <a16:creationId xmlns:a16="http://schemas.microsoft.com/office/drawing/2014/main" id="{76E6F3DE-95E2-93B8-DD8A-211A1EF409A3}"/>
                </a:ext>
              </a:extLst>
            </p:cNvPr>
            <p:cNvSpPr/>
            <p:nvPr/>
          </p:nvSpPr>
          <p:spPr>
            <a:xfrm>
              <a:off x="10684077" y="2783507"/>
              <a:ext cx="61363" cy="61316"/>
            </a:xfrm>
            <a:custGeom>
              <a:avLst/>
              <a:gdLst>
                <a:gd name="connsiteX0" fmla="*/ 61364 w 61363"/>
                <a:gd name="connsiteY0" fmla="*/ 30682 h 61316"/>
                <a:gd name="connsiteX1" fmla="*/ 30682 w 61363"/>
                <a:gd name="connsiteY1" fmla="*/ 61317 h 61316"/>
                <a:gd name="connsiteX2" fmla="*/ 0 w 61363"/>
                <a:gd name="connsiteY2" fmla="*/ 30682 h 61316"/>
                <a:gd name="connsiteX3" fmla="*/ 30682 w 61363"/>
                <a:gd name="connsiteY3" fmla="*/ 0 h 61316"/>
                <a:gd name="connsiteX4" fmla="*/ 61364 w 61363"/>
                <a:gd name="connsiteY4" fmla="*/ 30682 h 613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1363" h="61316">
                  <a:moveTo>
                    <a:pt x="61364" y="30682"/>
                  </a:moveTo>
                  <a:cubicBezTo>
                    <a:pt x="61364" y="47633"/>
                    <a:pt x="47633" y="61317"/>
                    <a:pt x="30682" y="61317"/>
                  </a:cubicBezTo>
                  <a:cubicBezTo>
                    <a:pt x="13731" y="61317"/>
                    <a:pt x="0" y="47585"/>
                    <a:pt x="0" y="30682"/>
                  </a:cubicBezTo>
                  <a:cubicBezTo>
                    <a:pt x="0" y="13778"/>
                    <a:pt x="13731" y="0"/>
                    <a:pt x="30682" y="0"/>
                  </a:cubicBezTo>
                  <a:cubicBezTo>
                    <a:pt x="47633" y="0"/>
                    <a:pt x="61364" y="13731"/>
                    <a:pt x="61364" y="30682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747" name="Forma livre: Forma 746">
              <a:extLst>
                <a:ext uri="{FF2B5EF4-FFF2-40B4-BE49-F238E27FC236}">
                  <a16:creationId xmlns:a16="http://schemas.microsoft.com/office/drawing/2014/main" id="{46A9B898-DB79-64B6-B06C-25C692FBDCF7}"/>
                </a:ext>
              </a:extLst>
            </p:cNvPr>
            <p:cNvSpPr/>
            <p:nvPr/>
          </p:nvSpPr>
          <p:spPr>
            <a:xfrm>
              <a:off x="10498470" y="2783507"/>
              <a:ext cx="61363" cy="61316"/>
            </a:xfrm>
            <a:custGeom>
              <a:avLst/>
              <a:gdLst>
                <a:gd name="connsiteX0" fmla="*/ 61364 w 61363"/>
                <a:gd name="connsiteY0" fmla="*/ 30682 h 61316"/>
                <a:gd name="connsiteX1" fmla="*/ 30682 w 61363"/>
                <a:gd name="connsiteY1" fmla="*/ 61317 h 61316"/>
                <a:gd name="connsiteX2" fmla="*/ 0 w 61363"/>
                <a:gd name="connsiteY2" fmla="*/ 30682 h 61316"/>
                <a:gd name="connsiteX3" fmla="*/ 30682 w 61363"/>
                <a:gd name="connsiteY3" fmla="*/ 0 h 61316"/>
                <a:gd name="connsiteX4" fmla="*/ 61364 w 61363"/>
                <a:gd name="connsiteY4" fmla="*/ 30682 h 613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1363" h="61316">
                  <a:moveTo>
                    <a:pt x="61364" y="30682"/>
                  </a:moveTo>
                  <a:cubicBezTo>
                    <a:pt x="61364" y="47633"/>
                    <a:pt x="47633" y="61317"/>
                    <a:pt x="30682" y="61317"/>
                  </a:cubicBezTo>
                  <a:cubicBezTo>
                    <a:pt x="13731" y="61317"/>
                    <a:pt x="0" y="47585"/>
                    <a:pt x="0" y="30682"/>
                  </a:cubicBezTo>
                  <a:cubicBezTo>
                    <a:pt x="0" y="13778"/>
                    <a:pt x="13731" y="0"/>
                    <a:pt x="30682" y="0"/>
                  </a:cubicBezTo>
                  <a:cubicBezTo>
                    <a:pt x="47633" y="0"/>
                    <a:pt x="61364" y="13731"/>
                    <a:pt x="61364" y="30682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748" name="Forma livre: Forma 747">
              <a:extLst>
                <a:ext uri="{FF2B5EF4-FFF2-40B4-BE49-F238E27FC236}">
                  <a16:creationId xmlns:a16="http://schemas.microsoft.com/office/drawing/2014/main" id="{431485D8-7E41-7B52-EC03-71C0BA2BB658}"/>
                </a:ext>
              </a:extLst>
            </p:cNvPr>
            <p:cNvSpPr/>
            <p:nvPr/>
          </p:nvSpPr>
          <p:spPr>
            <a:xfrm>
              <a:off x="10665895" y="2671243"/>
              <a:ext cx="105540" cy="57149"/>
            </a:xfrm>
            <a:custGeom>
              <a:avLst/>
              <a:gdLst>
                <a:gd name="connsiteX0" fmla="*/ 0 w 105540"/>
                <a:gd name="connsiteY0" fmla="*/ 0 h 57149"/>
                <a:gd name="connsiteX1" fmla="*/ 0 w 105540"/>
                <a:gd name="connsiteY1" fmla="*/ 31818 h 57149"/>
                <a:gd name="connsiteX2" fmla="*/ 24148 w 105540"/>
                <a:gd name="connsiteY2" fmla="*/ 57150 h 57149"/>
                <a:gd name="connsiteX3" fmla="*/ 105540 w 105540"/>
                <a:gd name="connsiteY3" fmla="*/ 57150 h 571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5540" h="57149">
                  <a:moveTo>
                    <a:pt x="0" y="0"/>
                  </a:moveTo>
                  <a:lnTo>
                    <a:pt x="0" y="31818"/>
                  </a:lnTo>
                  <a:cubicBezTo>
                    <a:pt x="0" y="31818"/>
                    <a:pt x="0" y="57150"/>
                    <a:pt x="24148" y="57150"/>
                  </a:cubicBezTo>
                  <a:lnTo>
                    <a:pt x="105540" y="57150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749" name="Gráfico 10">
              <a:extLst>
                <a:ext uri="{FF2B5EF4-FFF2-40B4-BE49-F238E27FC236}">
                  <a16:creationId xmlns:a16="http://schemas.microsoft.com/office/drawing/2014/main" id="{539ACE1F-FDD5-4182-944E-D7D525FE57E6}"/>
                </a:ext>
              </a:extLst>
            </p:cNvPr>
            <p:cNvGrpSpPr/>
            <p:nvPr/>
          </p:nvGrpSpPr>
          <p:grpSpPr>
            <a:xfrm>
              <a:off x="10504436" y="2699842"/>
              <a:ext cx="58096" cy="37973"/>
              <a:chOff x="10504436" y="2699842"/>
              <a:chExt cx="58096" cy="37973"/>
            </a:xfrm>
          </p:grpSpPr>
          <p:sp>
            <p:nvSpPr>
              <p:cNvPr id="750" name="Forma livre: Forma 749">
                <a:extLst>
                  <a:ext uri="{FF2B5EF4-FFF2-40B4-BE49-F238E27FC236}">
                    <a16:creationId xmlns:a16="http://schemas.microsoft.com/office/drawing/2014/main" id="{A966D2F4-7B42-9D12-2C54-CCAFCE1EA86F}"/>
                  </a:ext>
                </a:extLst>
              </p:cNvPr>
              <p:cNvSpPr/>
              <p:nvPr/>
            </p:nvSpPr>
            <p:spPr>
              <a:xfrm>
                <a:off x="10504436" y="2718828"/>
                <a:ext cx="58096" cy="4734"/>
              </a:xfrm>
              <a:custGeom>
                <a:avLst/>
                <a:gdLst>
                  <a:gd name="connsiteX0" fmla="*/ 58097 w 58096"/>
                  <a:gd name="connsiteY0" fmla="*/ 0 h 4734"/>
                  <a:gd name="connsiteX1" fmla="*/ 0 w 58096"/>
                  <a:gd name="connsiteY1" fmla="*/ 0 h 47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8096" h="4734">
                    <a:moveTo>
                      <a:pt x="58097" y="0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751" name="Gráfico 10">
                <a:extLst>
                  <a:ext uri="{FF2B5EF4-FFF2-40B4-BE49-F238E27FC236}">
                    <a16:creationId xmlns:a16="http://schemas.microsoft.com/office/drawing/2014/main" id="{AA92C116-761F-512F-4C81-9A07004F6088}"/>
                  </a:ext>
                </a:extLst>
              </p:cNvPr>
              <p:cNvGrpSpPr/>
              <p:nvPr/>
            </p:nvGrpSpPr>
            <p:grpSpPr>
              <a:xfrm>
                <a:off x="10504436" y="2699842"/>
                <a:ext cx="18939" cy="37973"/>
                <a:chOff x="10504436" y="2699842"/>
                <a:chExt cx="18939" cy="37973"/>
              </a:xfrm>
            </p:grpSpPr>
            <p:sp>
              <p:nvSpPr>
                <p:cNvPr id="752" name="Forma livre: Forma 751">
                  <a:extLst>
                    <a:ext uri="{FF2B5EF4-FFF2-40B4-BE49-F238E27FC236}">
                      <a16:creationId xmlns:a16="http://schemas.microsoft.com/office/drawing/2014/main" id="{AFF2A7C2-6C87-E83E-62D8-044EDB9376B0}"/>
                    </a:ext>
                  </a:extLst>
                </p:cNvPr>
                <p:cNvSpPr/>
                <p:nvPr/>
              </p:nvSpPr>
              <p:spPr>
                <a:xfrm>
                  <a:off x="10504436" y="2718876"/>
                  <a:ext cx="18939" cy="18939"/>
                </a:xfrm>
                <a:custGeom>
                  <a:avLst/>
                  <a:gdLst>
                    <a:gd name="connsiteX0" fmla="*/ 0 w 18939"/>
                    <a:gd name="connsiteY0" fmla="*/ 0 h 18939"/>
                    <a:gd name="connsiteX1" fmla="*/ 18939 w 18939"/>
                    <a:gd name="connsiteY1" fmla="*/ 18939 h 1893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8939" h="18939">
                      <a:moveTo>
                        <a:pt x="0" y="0"/>
                      </a:moveTo>
                      <a:lnTo>
                        <a:pt x="18939" y="18939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753" name="Forma livre: Forma 752">
                  <a:extLst>
                    <a:ext uri="{FF2B5EF4-FFF2-40B4-BE49-F238E27FC236}">
                      <a16:creationId xmlns:a16="http://schemas.microsoft.com/office/drawing/2014/main" id="{E8AD5972-420D-E58B-EBE0-EBA6E567C58D}"/>
                    </a:ext>
                  </a:extLst>
                </p:cNvPr>
                <p:cNvSpPr/>
                <p:nvPr/>
              </p:nvSpPr>
              <p:spPr>
                <a:xfrm>
                  <a:off x="10504436" y="2699842"/>
                  <a:ext cx="18939" cy="18939"/>
                </a:xfrm>
                <a:custGeom>
                  <a:avLst/>
                  <a:gdLst>
                    <a:gd name="connsiteX0" fmla="*/ 18939 w 18939"/>
                    <a:gd name="connsiteY0" fmla="*/ 0 h 18939"/>
                    <a:gd name="connsiteX1" fmla="*/ 0 w 18939"/>
                    <a:gd name="connsiteY1" fmla="*/ 18939 h 1893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8939" h="18939">
                      <a:moveTo>
                        <a:pt x="18939" y="0"/>
                      </a:moveTo>
                      <a:lnTo>
                        <a:pt x="0" y="18939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grpSp>
          <p:nvGrpSpPr>
            <p:cNvPr id="754" name="Gráfico 10">
              <a:extLst>
                <a:ext uri="{FF2B5EF4-FFF2-40B4-BE49-F238E27FC236}">
                  <a16:creationId xmlns:a16="http://schemas.microsoft.com/office/drawing/2014/main" id="{E903C90B-A209-024D-5E8A-675647B17DA4}"/>
                </a:ext>
              </a:extLst>
            </p:cNvPr>
            <p:cNvGrpSpPr/>
            <p:nvPr/>
          </p:nvGrpSpPr>
          <p:grpSpPr>
            <a:xfrm>
              <a:off x="10554058" y="2672663"/>
              <a:ext cx="58096" cy="37973"/>
              <a:chOff x="10554058" y="2672663"/>
              <a:chExt cx="58096" cy="37973"/>
            </a:xfrm>
          </p:grpSpPr>
          <p:sp>
            <p:nvSpPr>
              <p:cNvPr id="755" name="Forma livre: Forma 754">
                <a:extLst>
                  <a:ext uri="{FF2B5EF4-FFF2-40B4-BE49-F238E27FC236}">
                    <a16:creationId xmlns:a16="http://schemas.microsoft.com/office/drawing/2014/main" id="{4DBD3D71-D552-2C9D-A015-06B0044B2446}"/>
                  </a:ext>
                </a:extLst>
              </p:cNvPr>
              <p:cNvSpPr/>
              <p:nvPr/>
            </p:nvSpPr>
            <p:spPr>
              <a:xfrm>
                <a:off x="10554058" y="2691650"/>
                <a:ext cx="58096" cy="4734"/>
              </a:xfrm>
              <a:custGeom>
                <a:avLst/>
                <a:gdLst>
                  <a:gd name="connsiteX0" fmla="*/ 0 w 58096"/>
                  <a:gd name="connsiteY0" fmla="*/ 0 h 4734"/>
                  <a:gd name="connsiteX1" fmla="*/ 58097 w 58096"/>
                  <a:gd name="connsiteY1" fmla="*/ 0 h 47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8096" h="4734">
                    <a:moveTo>
                      <a:pt x="0" y="0"/>
                    </a:moveTo>
                    <a:lnTo>
                      <a:pt x="58097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756" name="Gráfico 10">
                <a:extLst>
                  <a:ext uri="{FF2B5EF4-FFF2-40B4-BE49-F238E27FC236}">
                    <a16:creationId xmlns:a16="http://schemas.microsoft.com/office/drawing/2014/main" id="{525FBCD2-DC59-B0FC-47A4-4F0D489911FF}"/>
                  </a:ext>
                </a:extLst>
              </p:cNvPr>
              <p:cNvGrpSpPr/>
              <p:nvPr/>
            </p:nvGrpSpPr>
            <p:grpSpPr>
              <a:xfrm>
                <a:off x="10593215" y="2672663"/>
                <a:ext cx="18939" cy="37973"/>
                <a:chOff x="10593215" y="2672663"/>
                <a:chExt cx="18939" cy="37973"/>
              </a:xfrm>
            </p:grpSpPr>
            <p:sp>
              <p:nvSpPr>
                <p:cNvPr id="757" name="Forma livre: Forma 756">
                  <a:extLst>
                    <a:ext uri="{FF2B5EF4-FFF2-40B4-BE49-F238E27FC236}">
                      <a16:creationId xmlns:a16="http://schemas.microsoft.com/office/drawing/2014/main" id="{204F056E-DAE6-0912-9BBC-4CA0E43DE139}"/>
                    </a:ext>
                  </a:extLst>
                </p:cNvPr>
                <p:cNvSpPr/>
                <p:nvPr/>
              </p:nvSpPr>
              <p:spPr>
                <a:xfrm>
                  <a:off x="10593215" y="2672663"/>
                  <a:ext cx="18939" cy="18939"/>
                </a:xfrm>
                <a:custGeom>
                  <a:avLst/>
                  <a:gdLst>
                    <a:gd name="connsiteX0" fmla="*/ 18939 w 18939"/>
                    <a:gd name="connsiteY0" fmla="*/ 18939 h 18939"/>
                    <a:gd name="connsiteX1" fmla="*/ 0 w 18939"/>
                    <a:gd name="connsiteY1" fmla="*/ 0 h 1893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8939" h="18939">
                      <a:moveTo>
                        <a:pt x="18939" y="18939"/>
                      </a:moveTo>
                      <a:lnTo>
                        <a:pt x="0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758" name="Forma livre: Forma 757">
                  <a:extLst>
                    <a:ext uri="{FF2B5EF4-FFF2-40B4-BE49-F238E27FC236}">
                      <a16:creationId xmlns:a16="http://schemas.microsoft.com/office/drawing/2014/main" id="{99F1A092-68DB-599E-6278-0C997CEE5C62}"/>
                    </a:ext>
                  </a:extLst>
                </p:cNvPr>
                <p:cNvSpPr/>
                <p:nvPr/>
              </p:nvSpPr>
              <p:spPr>
                <a:xfrm>
                  <a:off x="10593215" y="2691698"/>
                  <a:ext cx="18939" cy="18939"/>
                </a:xfrm>
                <a:custGeom>
                  <a:avLst/>
                  <a:gdLst>
                    <a:gd name="connsiteX0" fmla="*/ 0 w 18939"/>
                    <a:gd name="connsiteY0" fmla="*/ 18939 h 18939"/>
                    <a:gd name="connsiteX1" fmla="*/ 18939 w 18939"/>
                    <a:gd name="connsiteY1" fmla="*/ 0 h 1893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8939" h="18939">
                      <a:moveTo>
                        <a:pt x="0" y="18939"/>
                      </a:moveTo>
                      <a:lnTo>
                        <a:pt x="18939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</p:grpSp>
      <p:grpSp>
        <p:nvGrpSpPr>
          <p:cNvPr id="759" name="Gráfico 10">
            <a:extLst>
              <a:ext uri="{FF2B5EF4-FFF2-40B4-BE49-F238E27FC236}">
                <a16:creationId xmlns:a16="http://schemas.microsoft.com/office/drawing/2014/main" id="{C09AD1B4-7AAB-1867-0BD9-C0C55A5A4C7A}"/>
              </a:ext>
            </a:extLst>
          </p:cNvPr>
          <p:cNvGrpSpPr/>
          <p:nvPr/>
        </p:nvGrpSpPr>
        <p:grpSpPr>
          <a:xfrm>
            <a:off x="9850984" y="2603961"/>
            <a:ext cx="313394" cy="273296"/>
            <a:chOff x="9850984" y="2603961"/>
            <a:chExt cx="313394" cy="273296"/>
          </a:xfrm>
        </p:grpSpPr>
        <p:sp>
          <p:nvSpPr>
            <p:cNvPr id="760" name="Forma livre: Forma 759">
              <a:extLst>
                <a:ext uri="{FF2B5EF4-FFF2-40B4-BE49-F238E27FC236}">
                  <a16:creationId xmlns:a16="http://schemas.microsoft.com/office/drawing/2014/main" id="{1EA3CE8E-2EFB-89B4-C60E-7938B7147FF1}"/>
                </a:ext>
              </a:extLst>
            </p:cNvPr>
            <p:cNvSpPr/>
            <p:nvPr/>
          </p:nvSpPr>
          <p:spPr>
            <a:xfrm>
              <a:off x="10131613" y="2683885"/>
              <a:ext cx="32765" cy="15909"/>
            </a:xfrm>
            <a:custGeom>
              <a:avLst/>
              <a:gdLst>
                <a:gd name="connsiteX0" fmla="*/ 0 w 32765"/>
                <a:gd name="connsiteY0" fmla="*/ 15909 h 15909"/>
                <a:gd name="connsiteX1" fmla="*/ 32765 w 32765"/>
                <a:gd name="connsiteY1" fmla="*/ 0 h 159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2765" h="15909">
                  <a:moveTo>
                    <a:pt x="0" y="15909"/>
                  </a:moveTo>
                  <a:lnTo>
                    <a:pt x="32765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761" name="Forma livre: Forma 760">
              <a:extLst>
                <a:ext uri="{FF2B5EF4-FFF2-40B4-BE49-F238E27FC236}">
                  <a16:creationId xmlns:a16="http://schemas.microsoft.com/office/drawing/2014/main" id="{0C8413A2-AE28-5DE3-BB05-95E2847F8968}"/>
                </a:ext>
              </a:extLst>
            </p:cNvPr>
            <p:cNvSpPr/>
            <p:nvPr/>
          </p:nvSpPr>
          <p:spPr>
            <a:xfrm>
              <a:off x="9850984" y="2603961"/>
              <a:ext cx="286973" cy="273296"/>
            </a:xfrm>
            <a:custGeom>
              <a:avLst/>
              <a:gdLst>
                <a:gd name="connsiteX0" fmla="*/ 89435 w 286973"/>
                <a:gd name="connsiteY0" fmla="*/ 42046 h 273296"/>
                <a:gd name="connsiteX1" fmla="*/ 88867 w 286973"/>
                <a:gd name="connsiteY1" fmla="*/ 0 h 273296"/>
                <a:gd name="connsiteX2" fmla="*/ 130202 w 286973"/>
                <a:gd name="connsiteY2" fmla="*/ 28457 h 273296"/>
                <a:gd name="connsiteX3" fmla="*/ 130770 w 286973"/>
                <a:gd name="connsiteY3" fmla="*/ 28457 h 273296"/>
                <a:gd name="connsiteX4" fmla="*/ 150325 w 286973"/>
                <a:gd name="connsiteY4" fmla="*/ 26847 h 273296"/>
                <a:gd name="connsiteX5" fmla="*/ 168602 w 286973"/>
                <a:gd name="connsiteY5" fmla="*/ 26847 h 273296"/>
                <a:gd name="connsiteX6" fmla="*/ 286973 w 286973"/>
                <a:gd name="connsiteY6" fmla="*/ 133760 h 273296"/>
                <a:gd name="connsiteX7" fmla="*/ 220354 w 286973"/>
                <a:gd name="connsiteY7" fmla="*/ 229736 h 273296"/>
                <a:gd name="connsiteX8" fmla="*/ 220354 w 286973"/>
                <a:gd name="connsiteY8" fmla="*/ 263827 h 273296"/>
                <a:gd name="connsiteX9" fmla="*/ 210884 w 286973"/>
                <a:gd name="connsiteY9" fmla="*/ 273296 h 273296"/>
                <a:gd name="connsiteX10" fmla="*/ 190146 w 286973"/>
                <a:gd name="connsiteY10" fmla="*/ 273296 h 273296"/>
                <a:gd name="connsiteX11" fmla="*/ 180676 w 286973"/>
                <a:gd name="connsiteY11" fmla="*/ 263827 h 273296"/>
                <a:gd name="connsiteX12" fmla="*/ 180676 w 286973"/>
                <a:gd name="connsiteY12" fmla="*/ 240105 h 273296"/>
                <a:gd name="connsiteX13" fmla="*/ 168602 w 286973"/>
                <a:gd name="connsiteY13" fmla="*/ 240626 h 273296"/>
                <a:gd name="connsiteX14" fmla="*/ 150325 w 286973"/>
                <a:gd name="connsiteY14" fmla="*/ 240626 h 273296"/>
                <a:gd name="connsiteX15" fmla="*/ 138393 w 286973"/>
                <a:gd name="connsiteY15" fmla="*/ 240105 h 273296"/>
                <a:gd name="connsiteX16" fmla="*/ 138393 w 286973"/>
                <a:gd name="connsiteY16" fmla="*/ 263827 h 273296"/>
                <a:gd name="connsiteX17" fmla="*/ 128924 w 286973"/>
                <a:gd name="connsiteY17" fmla="*/ 273296 h 273296"/>
                <a:gd name="connsiteX18" fmla="*/ 108185 w 286973"/>
                <a:gd name="connsiteY18" fmla="*/ 273296 h 273296"/>
                <a:gd name="connsiteX19" fmla="*/ 98715 w 286973"/>
                <a:gd name="connsiteY19" fmla="*/ 263827 h 273296"/>
                <a:gd name="connsiteX20" fmla="*/ 98715 w 286973"/>
                <a:gd name="connsiteY20" fmla="*/ 229925 h 273296"/>
                <a:gd name="connsiteX21" fmla="*/ 98052 w 286973"/>
                <a:gd name="connsiteY21" fmla="*/ 229594 h 273296"/>
                <a:gd name="connsiteX22" fmla="*/ 41660 w 286973"/>
                <a:gd name="connsiteY22" fmla="*/ 175711 h 273296"/>
                <a:gd name="connsiteX23" fmla="*/ 16660 w 286973"/>
                <a:gd name="connsiteY23" fmla="*/ 175711 h 273296"/>
                <a:gd name="connsiteX24" fmla="*/ 5202 w 286973"/>
                <a:gd name="connsiteY24" fmla="*/ 85796 h 273296"/>
                <a:gd name="connsiteX25" fmla="*/ 44170 w 286973"/>
                <a:gd name="connsiteY25" fmla="*/ 85417 h 273296"/>
                <a:gd name="connsiteX26" fmla="*/ 46158 w 286973"/>
                <a:gd name="connsiteY26" fmla="*/ 83760 h 273296"/>
                <a:gd name="connsiteX27" fmla="*/ 89151 w 286973"/>
                <a:gd name="connsiteY27" fmla="*/ 42282 h 273296"/>
                <a:gd name="connsiteX28" fmla="*/ 89388 w 286973"/>
                <a:gd name="connsiteY28" fmla="*/ 41998 h 2732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286973" h="273296">
                  <a:moveTo>
                    <a:pt x="89435" y="42046"/>
                  </a:moveTo>
                  <a:lnTo>
                    <a:pt x="88867" y="0"/>
                  </a:lnTo>
                  <a:cubicBezTo>
                    <a:pt x="111405" y="0"/>
                    <a:pt x="130202" y="28457"/>
                    <a:pt x="130202" y="28457"/>
                  </a:cubicBezTo>
                  <a:lnTo>
                    <a:pt x="130770" y="28457"/>
                  </a:lnTo>
                  <a:cubicBezTo>
                    <a:pt x="137162" y="27510"/>
                    <a:pt x="143602" y="26847"/>
                    <a:pt x="150325" y="26847"/>
                  </a:cubicBezTo>
                  <a:lnTo>
                    <a:pt x="168602" y="26847"/>
                  </a:lnTo>
                  <a:cubicBezTo>
                    <a:pt x="233706" y="26847"/>
                    <a:pt x="286973" y="74953"/>
                    <a:pt x="286973" y="133760"/>
                  </a:cubicBezTo>
                  <a:cubicBezTo>
                    <a:pt x="286973" y="175711"/>
                    <a:pt x="259559" y="212264"/>
                    <a:pt x="220354" y="229736"/>
                  </a:cubicBezTo>
                  <a:lnTo>
                    <a:pt x="220354" y="263827"/>
                  </a:lnTo>
                  <a:cubicBezTo>
                    <a:pt x="220354" y="269035"/>
                    <a:pt x="216093" y="273296"/>
                    <a:pt x="210884" y="273296"/>
                  </a:cubicBezTo>
                  <a:lnTo>
                    <a:pt x="190146" y="273296"/>
                  </a:lnTo>
                  <a:cubicBezTo>
                    <a:pt x="184937" y="273296"/>
                    <a:pt x="180676" y="269035"/>
                    <a:pt x="180676" y="263827"/>
                  </a:cubicBezTo>
                  <a:lnTo>
                    <a:pt x="180676" y="240105"/>
                  </a:lnTo>
                  <a:cubicBezTo>
                    <a:pt x="176793" y="240436"/>
                    <a:pt x="172579" y="240626"/>
                    <a:pt x="168602" y="240626"/>
                  </a:cubicBezTo>
                  <a:lnTo>
                    <a:pt x="150325" y="240626"/>
                  </a:lnTo>
                  <a:cubicBezTo>
                    <a:pt x="146348" y="240626"/>
                    <a:pt x="142276" y="240436"/>
                    <a:pt x="138393" y="240105"/>
                  </a:cubicBezTo>
                  <a:lnTo>
                    <a:pt x="138393" y="263827"/>
                  </a:lnTo>
                  <a:cubicBezTo>
                    <a:pt x="138393" y="269035"/>
                    <a:pt x="134132" y="273296"/>
                    <a:pt x="128924" y="273296"/>
                  </a:cubicBezTo>
                  <a:lnTo>
                    <a:pt x="108185" y="273296"/>
                  </a:lnTo>
                  <a:cubicBezTo>
                    <a:pt x="102977" y="273296"/>
                    <a:pt x="98715" y="269035"/>
                    <a:pt x="98715" y="263827"/>
                  </a:cubicBezTo>
                  <a:lnTo>
                    <a:pt x="98715" y="229925"/>
                  </a:lnTo>
                  <a:cubicBezTo>
                    <a:pt x="98715" y="229925"/>
                    <a:pt x="98147" y="229641"/>
                    <a:pt x="98052" y="229594"/>
                  </a:cubicBezTo>
                  <a:cubicBezTo>
                    <a:pt x="73005" y="218372"/>
                    <a:pt x="52882" y="198959"/>
                    <a:pt x="41660" y="175711"/>
                  </a:cubicBezTo>
                  <a:lnTo>
                    <a:pt x="16660" y="175711"/>
                  </a:lnTo>
                  <a:cubicBezTo>
                    <a:pt x="16660" y="175711"/>
                    <a:pt x="-11276" y="80114"/>
                    <a:pt x="5202" y="85796"/>
                  </a:cubicBezTo>
                  <a:cubicBezTo>
                    <a:pt x="25325" y="92709"/>
                    <a:pt x="43128" y="86080"/>
                    <a:pt x="44170" y="85417"/>
                  </a:cubicBezTo>
                  <a:cubicBezTo>
                    <a:pt x="45495" y="84659"/>
                    <a:pt x="46158" y="83760"/>
                    <a:pt x="46158" y="83760"/>
                  </a:cubicBezTo>
                  <a:cubicBezTo>
                    <a:pt x="56196" y="66620"/>
                    <a:pt x="71064" y="52320"/>
                    <a:pt x="89151" y="42282"/>
                  </a:cubicBezTo>
                  <a:lnTo>
                    <a:pt x="89388" y="41998"/>
                  </a:ln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762" name="Forma livre: Forma 761">
              <a:extLst>
                <a:ext uri="{FF2B5EF4-FFF2-40B4-BE49-F238E27FC236}">
                  <a16:creationId xmlns:a16="http://schemas.microsoft.com/office/drawing/2014/main" id="{6988603D-1C0C-6221-AD53-09CE45211F2A}"/>
                </a:ext>
              </a:extLst>
            </p:cNvPr>
            <p:cNvSpPr/>
            <p:nvPr/>
          </p:nvSpPr>
          <p:spPr>
            <a:xfrm>
              <a:off x="10002209" y="2663857"/>
              <a:ext cx="34895" cy="4734"/>
            </a:xfrm>
            <a:custGeom>
              <a:avLst/>
              <a:gdLst>
                <a:gd name="connsiteX0" fmla="*/ 0 w 34895"/>
                <a:gd name="connsiteY0" fmla="*/ 0 h 4734"/>
                <a:gd name="connsiteX1" fmla="*/ 34896 w 34895"/>
                <a:gd name="connsiteY1" fmla="*/ 0 h 47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4895" h="4734">
                  <a:moveTo>
                    <a:pt x="0" y="0"/>
                  </a:moveTo>
                  <a:lnTo>
                    <a:pt x="34896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763" name="Forma livre: Forma 762">
              <a:extLst>
                <a:ext uri="{FF2B5EF4-FFF2-40B4-BE49-F238E27FC236}">
                  <a16:creationId xmlns:a16="http://schemas.microsoft.com/office/drawing/2014/main" id="{408B5B0D-AB82-3626-FD29-B6D9883EE9D1}"/>
                </a:ext>
              </a:extLst>
            </p:cNvPr>
            <p:cNvSpPr/>
            <p:nvPr/>
          </p:nvSpPr>
          <p:spPr>
            <a:xfrm>
              <a:off x="9940798" y="2684643"/>
              <a:ext cx="7386" cy="7386"/>
            </a:xfrm>
            <a:custGeom>
              <a:avLst/>
              <a:gdLst>
                <a:gd name="connsiteX0" fmla="*/ 7386 w 7386"/>
                <a:gd name="connsiteY0" fmla="*/ 3693 h 7386"/>
                <a:gd name="connsiteX1" fmla="*/ 3693 w 7386"/>
                <a:gd name="connsiteY1" fmla="*/ 7386 h 7386"/>
                <a:gd name="connsiteX2" fmla="*/ 0 w 7386"/>
                <a:gd name="connsiteY2" fmla="*/ 3693 h 7386"/>
                <a:gd name="connsiteX3" fmla="*/ 3693 w 7386"/>
                <a:gd name="connsiteY3" fmla="*/ 0 h 7386"/>
                <a:gd name="connsiteX4" fmla="*/ 7386 w 7386"/>
                <a:gd name="connsiteY4" fmla="*/ 3693 h 7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386" h="7386">
                  <a:moveTo>
                    <a:pt x="7386" y="3693"/>
                  </a:moveTo>
                  <a:cubicBezTo>
                    <a:pt x="7386" y="5729"/>
                    <a:pt x="5729" y="7386"/>
                    <a:pt x="3693" y="7386"/>
                  </a:cubicBezTo>
                  <a:cubicBezTo>
                    <a:pt x="1657" y="7386"/>
                    <a:pt x="0" y="5729"/>
                    <a:pt x="0" y="3693"/>
                  </a:cubicBezTo>
                  <a:cubicBezTo>
                    <a:pt x="0" y="1657"/>
                    <a:pt x="1657" y="0"/>
                    <a:pt x="3693" y="0"/>
                  </a:cubicBezTo>
                  <a:cubicBezTo>
                    <a:pt x="5729" y="0"/>
                    <a:pt x="7386" y="1657"/>
                    <a:pt x="7386" y="3693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764" name="Gráfico 10">
            <a:extLst>
              <a:ext uri="{FF2B5EF4-FFF2-40B4-BE49-F238E27FC236}">
                <a16:creationId xmlns:a16="http://schemas.microsoft.com/office/drawing/2014/main" id="{68D48278-56E3-A82C-5042-D71266C094F4}"/>
              </a:ext>
            </a:extLst>
          </p:cNvPr>
          <p:cNvGrpSpPr/>
          <p:nvPr/>
        </p:nvGrpSpPr>
        <p:grpSpPr>
          <a:xfrm>
            <a:off x="11102544" y="3135260"/>
            <a:ext cx="275100" cy="276610"/>
            <a:chOff x="11102544" y="3135260"/>
            <a:chExt cx="275100" cy="276610"/>
          </a:xfrm>
          <a:noFill/>
        </p:grpSpPr>
        <p:sp>
          <p:nvSpPr>
            <p:cNvPr id="765" name="Forma livre: Forma 764">
              <a:extLst>
                <a:ext uri="{FF2B5EF4-FFF2-40B4-BE49-F238E27FC236}">
                  <a16:creationId xmlns:a16="http://schemas.microsoft.com/office/drawing/2014/main" id="{3BDE6F9E-9ED4-8A75-B69D-7DB1E764E46A}"/>
                </a:ext>
              </a:extLst>
            </p:cNvPr>
            <p:cNvSpPr/>
            <p:nvPr/>
          </p:nvSpPr>
          <p:spPr>
            <a:xfrm>
              <a:off x="11113056" y="3352874"/>
              <a:ext cx="92282" cy="4734"/>
            </a:xfrm>
            <a:custGeom>
              <a:avLst/>
              <a:gdLst>
                <a:gd name="connsiteX0" fmla="*/ 92283 w 92282"/>
                <a:gd name="connsiteY0" fmla="*/ 0 h 4734"/>
                <a:gd name="connsiteX1" fmla="*/ 0 w 92282"/>
                <a:gd name="connsiteY1" fmla="*/ 0 h 47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2282" h="4734">
                  <a:moveTo>
                    <a:pt x="92283" y="0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766" name="Forma livre: Forma 765">
              <a:extLst>
                <a:ext uri="{FF2B5EF4-FFF2-40B4-BE49-F238E27FC236}">
                  <a16:creationId xmlns:a16="http://schemas.microsoft.com/office/drawing/2014/main" id="{D0C644C2-8A2A-931C-1870-5A19C9321B76}"/>
                </a:ext>
              </a:extLst>
            </p:cNvPr>
            <p:cNvSpPr/>
            <p:nvPr/>
          </p:nvSpPr>
          <p:spPr>
            <a:xfrm>
              <a:off x="11243596" y="3251406"/>
              <a:ext cx="134048" cy="133977"/>
            </a:xfrm>
            <a:custGeom>
              <a:avLst/>
              <a:gdLst>
                <a:gd name="connsiteX0" fmla="*/ 23011 w 134048"/>
                <a:gd name="connsiteY0" fmla="*/ 0 h 133977"/>
                <a:gd name="connsiteX1" fmla="*/ 126421 w 134048"/>
                <a:gd name="connsiteY1" fmla="*/ 91051 h 133977"/>
                <a:gd name="connsiteX2" fmla="*/ 127415 w 134048"/>
                <a:gd name="connsiteY2" fmla="*/ 123438 h 133977"/>
                <a:gd name="connsiteX3" fmla="*/ 123485 w 134048"/>
                <a:gd name="connsiteY3" fmla="*/ 127368 h 133977"/>
                <a:gd name="connsiteX4" fmla="*/ 91099 w 134048"/>
                <a:gd name="connsiteY4" fmla="*/ 126326 h 133977"/>
                <a:gd name="connsiteX5" fmla="*/ 0 w 134048"/>
                <a:gd name="connsiteY5" fmla="*/ 22917 h 1339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34048" h="133977">
                  <a:moveTo>
                    <a:pt x="23011" y="0"/>
                  </a:moveTo>
                  <a:lnTo>
                    <a:pt x="126421" y="91051"/>
                  </a:lnTo>
                  <a:cubicBezTo>
                    <a:pt x="136175" y="99669"/>
                    <a:pt x="136648" y="114252"/>
                    <a:pt x="127415" y="123438"/>
                  </a:cubicBezTo>
                  <a:lnTo>
                    <a:pt x="123485" y="127368"/>
                  </a:lnTo>
                  <a:cubicBezTo>
                    <a:pt x="114300" y="136553"/>
                    <a:pt x="99716" y="136127"/>
                    <a:pt x="91099" y="126326"/>
                  </a:cubicBezTo>
                  <a:lnTo>
                    <a:pt x="0" y="22917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767" name="Forma livre: Forma 766">
              <a:extLst>
                <a:ext uri="{FF2B5EF4-FFF2-40B4-BE49-F238E27FC236}">
                  <a16:creationId xmlns:a16="http://schemas.microsoft.com/office/drawing/2014/main" id="{A56ACDAD-D65C-9FFA-D9DF-8A5F222D8DD7}"/>
                </a:ext>
              </a:extLst>
            </p:cNvPr>
            <p:cNvSpPr/>
            <p:nvPr/>
          </p:nvSpPr>
          <p:spPr>
            <a:xfrm rot="-2700000">
              <a:off x="11170938" y="3192486"/>
              <a:ext cx="88210" cy="64157"/>
            </a:xfrm>
            <a:custGeom>
              <a:avLst/>
              <a:gdLst>
                <a:gd name="connsiteX0" fmla="*/ 0 w 88210"/>
                <a:gd name="connsiteY0" fmla="*/ 0 h 64157"/>
                <a:gd name="connsiteX1" fmla="*/ 88211 w 88210"/>
                <a:gd name="connsiteY1" fmla="*/ 0 h 64157"/>
                <a:gd name="connsiteX2" fmla="*/ 88211 w 88210"/>
                <a:gd name="connsiteY2" fmla="*/ 64157 h 64157"/>
                <a:gd name="connsiteX3" fmla="*/ 0 w 88210"/>
                <a:gd name="connsiteY3" fmla="*/ 64157 h 641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8210" h="64157">
                  <a:moveTo>
                    <a:pt x="0" y="0"/>
                  </a:moveTo>
                  <a:lnTo>
                    <a:pt x="88211" y="0"/>
                  </a:lnTo>
                  <a:lnTo>
                    <a:pt x="88211" y="64157"/>
                  </a:lnTo>
                  <a:lnTo>
                    <a:pt x="0" y="64157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768" name="Forma livre: Forma 767">
              <a:extLst>
                <a:ext uri="{FF2B5EF4-FFF2-40B4-BE49-F238E27FC236}">
                  <a16:creationId xmlns:a16="http://schemas.microsoft.com/office/drawing/2014/main" id="{2211C2F5-AF86-D338-7616-168CD3F21A1C}"/>
                </a:ext>
              </a:extLst>
            </p:cNvPr>
            <p:cNvSpPr/>
            <p:nvPr/>
          </p:nvSpPr>
          <p:spPr>
            <a:xfrm>
              <a:off x="11223994" y="3135260"/>
              <a:ext cx="80256" cy="80255"/>
            </a:xfrm>
            <a:custGeom>
              <a:avLst/>
              <a:gdLst>
                <a:gd name="connsiteX0" fmla="*/ 0 w 80256"/>
                <a:gd name="connsiteY0" fmla="*/ 35890 h 80255"/>
                <a:gd name="connsiteX1" fmla="*/ 2652 w 80256"/>
                <a:gd name="connsiteY1" fmla="*/ 17330 h 80255"/>
                <a:gd name="connsiteX2" fmla="*/ 19981 w 80256"/>
                <a:gd name="connsiteY2" fmla="*/ 0 h 80255"/>
                <a:gd name="connsiteX3" fmla="*/ 80256 w 80256"/>
                <a:gd name="connsiteY3" fmla="*/ 60275 h 80255"/>
                <a:gd name="connsiteX4" fmla="*/ 62926 w 80256"/>
                <a:gd name="connsiteY4" fmla="*/ 77604 h 80255"/>
                <a:gd name="connsiteX5" fmla="*/ 44366 w 80256"/>
                <a:gd name="connsiteY5" fmla="*/ 80256 h 802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80256" h="80255">
                  <a:moveTo>
                    <a:pt x="0" y="35890"/>
                  </a:moveTo>
                  <a:lnTo>
                    <a:pt x="2652" y="17330"/>
                  </a:lnTo>
                  <a:lnTo>
                    <a:pt x="19981" y="0"/>
                  </a:lnTo>
                  <a:lnTo>
                    <a:pt x="80256" y="60275"/>
                  </a:lnTo>
                  <a:lnTo>
                    <a:pt x="62926" y="77604"/>
                  </a:lnTo>
                  <a:lnTo>
                    <a:pt x="44366" y="80256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769" name="Forma livre: Forma 768">
              <a:extLst>
                <a:ext uri="{FF2B5EF4-FFF2-40B4-BE49-F238E27FC236}">
                  <a16:creationId xmlns:a16="http://schemas.microsoft.com/office/drawing/2014/main" id="{D17B7B2F-F2DB-FCB4-9C86-BE6EFE02A435}"/>
                </a:ext>
              </a:extLst>
            </p:cNvPr>
            <p:cNvSpPr/>
            <p:nvPr/>
          </p:nvSpPr>
          <p:spPr>
            <a:xfrm>
              <a:off x="11102544" y="3381520"/>
              <a:ext cx="113305" cy="30350"/>
            </a:xfrm>
            <a:custGeom>
              <a:avLst/>
              <a:gdLst>
                <a:gd name="connsiteX0" fmla="*/ 0 w 113305"/>
                <a:gd name="connsiteY0" fmla="*/ 30351 h 30350"/>
                <a:gd name="connsiteX1" fmla="*/ 0 w 113305"/>
                <a:gd name="connsiteY1" fmla="*/ 0 h 30350"/>
                <a:gd name="connsiteX2" fmla="*/ 113305 w 113305"/>
                <a:gd name="connsiteY2" fmla="*/ 0 h 30350"/>
                <a:gd name="connsiteX3" fmla="*/ 113305 w 113305"/>
                <a:gd name="connsiteY3" fmla="*/ 30351 h 303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3305" h="30350">
                  <a:moveTo>
                    <a:pt x="0" y="30351"/>
                  </a:moveTo>
                  <a:lnTo>
                    <a:pt x="0" y="0"/>
                  </a:lnTo>
                  <a:lnTo>
                    <a:pt x="113305" y="0"/>
                  </a:lnTo>
                  <a:lnTo>
                    <a:pt x="113305" y="30351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770" name="Forma livre: Forma 769">
              <a:extLst>
                <a:ext uri="{FF2B5EF4-FFF2-40B4-BE49-F238E27FC236}">
                  <a16:creationId xmlns:a16="http://schemas.microsoft.com/office/drawing/2014/main" id="{D90C27AD-7D37-8AD6-5CEC-4DA86A91428E}"/>
                </a:ext>
              </a:extLst>
            </p:cNvPr>
            <p:cNvSpPr/>
            <p:nvPr/>
          </p:nvSpPr>
          <p:spPr>
            <a:xfrm>
              <a:off x="11125556" y="3233650"/>
              <a:ext cx="80303" cy="80303"/>
            </a:xfrm>
            <a:custGeom>
              <a:avLst/>
              <a:gdLst>
                <a:gd name="connsiteX0" fmla="*/ 35890 w 80303"/>
                <a:gd name="connsiteY0" fmla="*/ 0 h 80303"/>
                <a:gd name="connsiteX1" fmla="*/ 17330 w 80303"/>
                <a:gd name="connsiteY1" fmla="*/ 2652 h 80303"/>
                <a:gd name="connsiteX2" fmla="*/ 0 w 80303"/>
                <a:gd name="connsiteY2" fmla="*/ 20028 h 80303"/>
                <a:gd name="connsiteX3" fmla="*/ 60275 w 80303"/>
                <a:gd name="connsiteY3" fmla="*/ 80303 h 80303"/>
                <a:gd name="connsiteX4" fmla="*/ 77604 w 80303"/>
                <a:gd name="connsiteY4" fmla="*/ 62974 h 80303"/>
                <a:gd name="connsiteX5" fmla="*/ 80303 w 80303"/>
                <a:gd name="connsiteY5" fmla="*/ 44413 h 803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80303" h="80303">
                  <a:moveTo>
                    <a:pt x="35890" y="0"/>
                  </a:moveTo>
                  <a:lnTo>
                    <a:pt x="17330" y="2652"/>
                  </a:lnTo>
                  <a:lnTo>
                    <a:pt x="0" y="20028"/>
                  </a:lnTo>
                  <a:lnTo>
                    <a:pt x="60275" y="80303"/>
                  </a:lnTo>
                  <a:lnTo>
                    <a:pt x="77604" y="62974"/>
                  </a:lnTo>
                  <a:lnTo>
                    <a:pt x="80303" y="44413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771" name="Gráfico 10">
            <a:extLst>
              <a:ext uri="{FF2B5EF4-FFF2-40B4-BE49-F238E27FC236}">
                <a16:creationId xmlns:a16="http://schemas.microsoft.com/office/drawing/2014/main" id="{818BF7BF-BE67-620F-69B3-75FC8381F386}"/>
              </a:ext>
            </a:extLst>
          </p:cNvPr>
          <p:cNvGrpSpPr/>
          <p:nvPr/>
        </p:nvGrpSpPr>
        <p:grpSpPr>
          <a:xfrm>
            <a:off x="10464900" y="3168972"/>
            <a:ext cx="328540" cy="215625"/>
            <a:chOff x="10464900" y="3168972"/>
            <a:chExt cx="328540" cy="215625"/>
          </a:xfrm>
          <a:noFill/>
        </p:grpSpPr>
        <p:sp>
          <p:nvSpPr>
            <p:cNvPr id="772" name="Forma livre: Forma 771">
              <a:extLst>
                <a:ext uri="{FF2B5EF4-FFF2-40B4-BE49-F238E27FC236}">
                  <a16:creationId xmlns:a16="http://schemas.microsoft.com/office/drawing/2014/main" id="{1F7DBE03-52A3-A537-3B5A-886C50CA8232}"/>
                </a:ext>
              </a:extLst>
            </p:cNvPr>
            <p:cNvSpPr/>
            <p:nvPr/>
          </p:nvSpPr>
          <p:spPr>
            <a:xfrm>
              <a:off x="10695488" y="3168972"/>
              <a:ext cx="33428" cy="29971"/>
            </a:xfrm>
            <a:custGeom>
              <a:avLst/>
              <a:gdLst>
                <a:gd name="connsiteX0" fmla="*/ 0 w 33428"/>
                <a:gd name="connsiteY0" fmla="*/ 0 h 29971"/>
                <a:gd name="connsiteX1" fmla="*/ 33428 w 33428"/>
                <a:gd name="connsiteY1" fmla="*/ 0 h 29971"/>
                <a:gd name="connsiteX2" fmla="*/ 33428 w 33428"/>
                <a:gd name="connsiteY2" fmla="*/ 29972 h 299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3428" h="29971">
                  <a:moveTo>
                    <a:pt x="0" y="0"/>
                  </a:moveTo>
                  <a:lnTo>
                    <a:pt x="33428" y="0"/>
                  </a:lnTo>
                  <a:lnTo>
                    <a:pt x="33428" y="29972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773" name="Forma livre: Forma 772">
              <a:extLst>
                <a:ext uri="{FF2B5EF4-FFF2-40B4-BE49-F238E27FC236}">
                  <a16:creationId xmlns:a16="http://schemas.microsoft.com/office/drawing/2014/main" id="{7DEC6E6C-FAC7-984A-AE9A-DEEE28ED67F2}"/>
                </a:ext>
              </a:extLst>
            </p:cNvPr>
            <p:cNvSpPr/>
            <p:nvPr/>
          </p:nvSpPr>
          <p:spPr>
            <a:xfrm>
              <a:off x="10464900" y="3168972"/>
              <a:ext cx="264016" cy="215625"/>
            </a:xfrm>
            <a:custGeom>
              <a:avLst/>
              <a:gdLst>
                <a:gd name="connsiteX0" fmla="*/ 264016 w 264016"/>
                <a:gd name="connsiteY0" fmla="*/ 174906 h 215625"/>
                <a:gd name="connsiteX1" fmla="*/ 264016 w 264016"/>
                <a:gd name="connsiteY1" fmla="*/ 215626 h 215625"/>
                <a:gd name="connsiteX2" fmla="*/ 0 w 264016"/>
                <a:gd name="connsiteY2" fmla="*/ 215626 h 215625"/>
                <a:gd name="connsiteX3" fmla="*/ 0 w 264016"/>
                <a:gd name="connsiteY3" fmla="*/ 0 h 215625"/>
                <a:gd name="connsiteX4" fmla="*/ 187974 w 264016"/>
                <a:gd name="connsiteY4" fmla="*/ 0 h 2156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64016" h="215625">
                  <a:moveTo>
                    <a:pt x="264016" y="174906"/>
                  </a:moveTo>
                  <a:lnTo>
                    <a:pt x="264016" y="215626"/>
                  </a:lnTo>
                  <a:lnTo>
                    <a:pt x="0" y="215626"/>
                  </a:lnTo>
                  <a:lnTo>
                    <a:pt x="0" y="0"/>
                  </a:lnTo>
                  <a:lnTo>
                    <a:pt x="187974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774" name="Forma livre: Forma 773">
              <a:extLst>
                <a:ext uri="{FF2B5EF4-FFF2-40B4-BE49-F238E27FC236}">
                  <a16:creationId xmlns:a16="http://schemas.microsoft.com/office/drawing/2014/main" id="{B755DEA7-A0CC-6815-488D-262D06A88C7D}"/>
                </a:ext>
              </a:extLst>
            </p:cNvPr>
            <p:cNvSpPr/>
            <p:nvPr/>
          </p:nvSpPr>
          <p:spPr>
            <a:xfrm>
              <a:off x="10465468" y="3277684"/>
              <a:ext cx="115862" cy="4734"/>
            </a:xfrm>
            <a:custGeom>
              <a:avLst/>
              <a:gdLst>
                <a:gd name="connsiteX0" fmla="*/ 115862 w 115862"/>
                <a:gd name="connsiteY0" fmla="*/ 0 h 4734"/>
                <a:gd name="connsiteX1" fmla="*/ 0 w 115862"/>
                <a:gd name="connsiteY1" fmla="*/ 0 h 47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5862" h="4734">
                  <a:moveTo>
                    <a:pt x="115862" y="0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775" name="Forma livre: Forma 774">
              <a:extLst>
                <a:ext uri="{FF2B5EF4-FFF2-40B4-BE49-F238E27FC236}">
                  <a16:creationId xmlns:a16="http://schemas.microsoft.com/office/drawing/2014/main" id="{31C56A49-64F9-A59A-660A-0BF389CE0B1D}"/>
                </a:ext>
              </a:extLst>
            </p:cNvPr>
            <p:cNvSpPr/>
            <p:nvPr/>
          </p:nvSpPr>
          <p:spPr>
            <a:xfrm>
              <a:off x="10581425" y="3243925"/>
              <a:ext cx="4734" cy="67519"/>
            </a:xfrm>
            <a:custGeom>
              <a:avLst/>
              <a:gdLst>
                <a:gd name="connsiteX0" fmla="*/ 0 w 4734"/>
                <a:gd name="connsiteY0" fmla="*/ 67519 h 67519"/>
                <a:gd name="connsiteX1" fmla="*/ 0 w 4734"/>
                <a:gd name="connsiteY1" fmla="*/ 0 h 675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734" h="67519">
                  <a:moveTo>
                    <a:pt x="0" y="67519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776" name="Forma livre: Forma 775">
              <a:extLst>
                <a:ext uri="{FF2B5EF4-FFF2-40B4-BE49-F238E27FC236}">
                  <a16:creationId xmlns:a16="http://schemas.microsoft.com/office/drawing/2014/main" id="{625A3092-FA8B-C91F-2269-7C2C5AB4A9DB}"/>
                </a:ext>
              </a:extLst>
            </p:cNvPr>
            <p:cNvSpPr/>
            <p:nvPr/>
          </p:nvSpPr>
          <p:spPr>
            <a:xfrm>
              <a:off x="10581425" y="3169351"/>
              <a:ext cx="4734" cy="39867"/>
            </a:xfrm>
            <a:custGeom>
              <a:avLst/>
              <a:gdLst>
                <a:gd name="connsiteX0" fmla="*/ 0 w 4734"/>
                <a:gd name="connsiteY0" fmla="*/ 39868 h 39867"/>
                <a:gd name="connsiteX1" fmla="*/ 0 w 4734"/>
                <a:gd name="connsiteY1" fmla="*/ 0 h 398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734" h="39867">
                  <a:moveTo>
                    <a:pt x="0" y="39868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777" name="Forma livre: Forma 776">
              <a:extLst>
                <a:ext uri="{FF2B5EF4-FFF2-40B4-BE49-F238E27FC236}">
                  <a16:creationId xmlns:a16="http://schemas.microsoft.com/office/drawing/2014/main" id="{35D853F6-DC22-3C12-6762-BB203B771E32}"/>
                </a:ext>
              </a:extLst>
            </p:cNvPr>
            <p:cNvSpPr/>
            <p:nvPr/>
          </p:nvSpPr>
          <p:spPr>
            <a:xfrm>
              <a:off x="10581425" y="3349702"/>
              <a:ext cx="4734" cy="34706"/>
            </a:xfrm>
            <a:custGeom>
              <a:avLst/>
              <a:gdLst>
                <a:gd name="connsiteX0" fmla="*/ 0 w 4734"/>
                <a:gd name="connsiteY0" fmla="*/ 34707 h 34706"/>
                <a:gd name="connsiteX1" fmla="*/ 0 w 4734"/>
                <a:gd name="connsiteY1" fmla="*/ 0 h 347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734" h="34706">
                  <a:moveTo>
                    <a:pt x="0" y="34707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778" name="Gráfico 10">
              <a:extLst>
                <a:ext uri="{FF2B5EF4-FFF2-40B4-BE49-F238E27FC236}">
                  <a16:creationId xmlns:a16="http://schemas.microsoft.com/office/drawing/2014/main" id="{68DB82CA-0407-70EC-45E9-DE56EA3921B6}"/>
                </a:ext>
              </a:extLst>
            </p:cNvPr>
            <p:cNvGrpSpPr/>
            <p:nvPr/>
          </p:nvGrpSpPr>
          <p:grpSpPr>
            <a:xfrm>
              <a:off x="10656568" y="3207702"/>
              <a:ext cx="136872" cy="135560"/>
              <a:chOff x="10656568" y="3207702"/>
              <a:chExt cx="136872" cy="135560"/>
            </a:xfrm>
            <a:noFill/>
          </p:grpSpPr>
          <p:grpSp>
            <p:nvGrpSpPr>
              <p:cNvPr id="779" name="Gráfico 10">
                <a:extLst>
                  <a:ext uri="{FF2B5EF4-FFF2-40B4-BE49-F238E27FC236}">
                    <a16:creationId xmlns:a16="http://schemas.microsoft.com/office/drawing/2014/main" id="{1C759ECC-DDE1-00D1-AF2E-4F7559B83C33}"/>
                  </a:ext>
                </a:extLst>
              </p:cNvPr>
              <p:cNvGrpSpPr/>
              <p:nvPr/>
            </p:nvGrpSpPr>
            <p:grpSpPr>
              <a:xfrm>
                <a:off x="10656568" y="3207702"/>
                <a:ext cx="136872" cy="135560"/>
                <a:chOff x="10656568" y="3207702"/>
                <a:chExt cx="136872" cy="135560"/>
              </a:xfrm>
              <a:noFill/>
            </p:grpSpPr>
            <p:grpSp>
              <p:nvGrpSpPr>
                <p:cNvPr id="780" name="Gráfico 10">
                  <a:extLst>
                    <a:ext uri="{FF2B5EF4-FFF2-40B4-BE49-F238E27FC236}">
                      <a16:creationId xmlns:a16="http://schemas.microsoft.com/office/drawing/2014/main" id="{5606A861-339F-507A-133A-61432B12D5DC}"/>
                    </a:ext>
                  </a:extLst>
                </p:cNvPr>
                <p:cNvGrpSpPr/>
                <p:nvPr/>
              </p:nvGrpSpPr>
              <p:grpSpPr>
                <a:xfrm>
                  <a:off x="10656568" y="3207702"/>
                  <a:ext cx="136872" cy="135560"/>
                  <a:chOff x="10656568" y="3207702"/>
                  <a:chExt cx="136872" cy="135560"/>
                </a:xfrm>
                <a:noFill/>
              </p:grpSpPr>
              <p:sp>
                <p:nvSpPr>
                  <p:cNvPr id="781" name="Forma livre: Forma 780">
                    <a:extLst>
                      <a:ext uri="{FF2B5EF4-FFF2-40B4-BE49-F238E27FC236}">
                        <a16:creationId xmlns:a16="http://schemas.microsoft.com/office/drawing/2014/main" id="{8DDC1255-313B-58CD-2AFD-65F3AC9EB971}"/>
                      </a:ext>
                    </a:extLst>
                  </p:cNvPr>
                  <p:cNvSpPr/>
                  <p:nvPr/>
                </p:nvSpPr>
                <p:spPr>
                  <a:xfrm>
                    <a:off x="10656568" y="3207702"/>
                    <a:ext cx="136872" cy="135560"/>
                  </a:xfrm>
                  <a:custGeom>
                    <a:avLst/>
                    <a:gdLst>
                      <a:gd name="connsiteX0" fmla="*/ 57955 w 136872"/>
                      <a:gd name="connsiteY0" fmla="*/ 118041 h 135560"/>
                      <a:gd name="connsiteX1" fmla="*/ 0 w 136872"/>
                      <a:gd name="connsiteY1" fmla="*/ 135561 h 135560"/>
                      <a:gd name="connsiteX2" fmla="*/ 20123 w 136872"/>
                      <a:gd name="connsiteY2" fmla="*/ 77511 h 135560"/>
                      <a:gd name="connsiteX3" fmla="*/ 95218 w 136872"/>
                      <a:gd name="connsiteY3" fmla="*/ 2416 h 135560"/>
                      <a:gd name="connsiteX4" fmla="*/ 113163 w 136872"/>
                      <a:gd name="connsiteY4" fmla="*/ 5257 h 135560"/>
                      <a:gd name="connsiteX5" fmla="*/ 131582 w 136872"/>
                      <a:gd name="connsiteY5" fmla="*/ 23676 h 135560"/>
                      <a:gd name="connsiteX6" fmla="*/ 134423 w 136872"/>
                      <a:gd name="connsiteY6" fmla="*/ 41621 h 135560"/>
                      <a:gd name="connsiteX7" fmla="*/ 58002 w 136872"/>
                      <a:gd name="connsiteY7" fmla="*/ 118041 h 13556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136872" h="135560">
                        <a:moveTo>
                          <a:pt x="57955" y="118041"/>
                        </a:moveTo>
                        <a:lnTo>
                          <a:pt x="0" y="135561"/>
                        </a:lnTo>
                        <a:lnTo>
                          <a:pt x="20123" y="77511"/>
                        </a:lnTo>
                        <a:lnTo>
                          <a:pt x="95218" y="2416"/>
                        </a:lnTo>
                        <a:cubicBezTo>
                          <a:pt x="99385" y="-1703"/>
                          <a:pt x="107434" y="-425"/>
                          <a:pt x="113163" y="5257"/>
                        </a:cubicBezTo>
                        <a:lnTo>
                          <a:pt x="131582" y="23676"/>
                        </a:lnTo>
                        <a:cubicBezTo>
                          <a:pt x="137311" y="29405"/>
                          <a:pt x="138589" y="37454"/>
                          <a:pt x="134423" y="41621"/>
                        </a:cubicBezTo>
                        <a:lnTo>
                          <a:pt x="58002" y="118041"/>
                        </a:lnTo>
                        <a:close/>
                      </a:path>
                    </a:pathLst>
                  </a:custGeom>
                  <a:noFill/>
                  <a:ln w="6350" cap="flat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782" name="Forma livre: Forma 781">
                    <a:extLst>
                      <a:ext uri="{FF2B5EF4-FFF2-40B4-BE49-F238E27FC236}">
                        <a16:creationId xmlns:a16="http://schemas.microsoft.com/office/drawing/2014/main" id="{590409DB-9B19-C6C3-C39C-157AC5996F9F}"/>
                      </a:ext>
                    </a:extLst>
                  </p:cNvPr>
                  <p:cNvSpPr/>
                  <p:nvPr/>
                </p:nvSpPr>
                <p:spPr>
                  <a:xfrm>
                    <a:off x="10681662" y="3286302"/>
                    <a:ext cx="32481" cy="32481"/>
                  </a:xfrm>
                  <a:custGeom>
                    <a:avLst/>
                    <a:gdLst>
                      <a:gd name="connsiteX0" fmla="*/ 32481 w 32481"/>
                      <a:gd name="connsiteY0" fmla="*/ 32481 h 32481"/>
                      <a:gd name="connsiteX1" fmla="*/ 0 w 32481"/>
                      <a:gd name="connsiteY1" fmla="*/ 0 h 3248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32481" h="32481">
                        <a:moveTo>
                          <a:pt x="32481" y="32481"/>
                        </a:moveTo>
                        <a:lnTo>
                          <a:pt x="0" y="0"/>
                        </a:lnTo>
                      </a:path>
                    </a:pathLst>
                  </a:custGeom>
                  <a:ln w="6350" cap="flat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783" name="Forma livre: Forma 782">
                    <a:extLst>
                      <a:ext uri="{FF2B5EF4-FFF2-40B4-BE49-F238E27FC236}">
                        <a16:creationId xmlns:a16="http://schemas.microsoft.com/office/drawing/2014/main" id="{78E2B99C-A943-C9B6-F977-B123FCC02327}"/>
                      </a:ext>
                    </a:extLst>
                  </p:cNvPr>
                  <p:cNvSpPr/>
                  <p:nvPr/>
                </p:nvSpPr>
                <p:spPr>
                  <a:xfrm>
                    <a:off x="10663717" y="3326264"/>
                    <a:ext cx="10511" cy="10795"/>
                  </a:xfrm>
                  <a:custGeom>
                    <a:avLst/>
                    <a:gdLst>
                      <a:gd name="connsiteX0" fmla="*/ 10511 w 10511"/>
                      <a:gd name="connsiteY0" fmla="*/ 10796 h 10795"/>
                      <a:gd name="connsiteX1" fmla="*/ 0 w 10511"/>
                      <a:gd name="connsiteY1" fmla="*/ 0 h 1079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0511" h="10795">
                        <a:moveTo>
                          <a:pt x="10511" y="10796"/>
                        </a:moveTo>
                        <a:lnTo>
                          <a:pt x="0" y="0"/>
                        </a:lnTo>
                      </a:path>
                    </a:pathLst>
                  </a:custGeom>
                  <a:ln w="6350" cap="flat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  <p:sp>
              <p:nvSpPr>
                <p:cNvPr id="784" name="Forma livre: Forma 783">
                  <a:extLst>
                    <a:ext uri="{FF2B5EF4-FFF2-40B4-BE49-F238E27FC236}">
                      <a16:creationId xmlns:a16="http://schemas.microsoft.com/office/drawing/2014/main" id="{D8E3B08F-4133-5090-0E38-75E88368A321}"/>
                    </a:ext>
                  </a:extLst>
                </p:cNvPr>
                <p:cNvSpPr/>
                <p:nvPr/>
              </p:nvSpPr>
              <p:spPr>
                <a:xfrm>
                  <a:off x="10699039" y="3260497"/>
                  <a:ext cx="42519" cy="42519"/>
                </a:xfrm>
                <a:custGeom>
                  <a:avLst/>
                  <a:gdLst>
                    <a:gd name="connsiteX0" fmla="*/ 0 w 42519"/>
                    <a:gd name="connsiteY0" fmla="*/ 42519 h 42519"/>
                    <a:gd name="connsiteX1" fmla="*/ 42519 w 42519"/>
                    <a:gd name="connsiteY1" fmla="*/ 0 h 4251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2519" h="42519">
                      <a:moveTo>
                        <a:pt x="0" y="42519"/>
                      </a:moveTo>
                      <a:lnTo>
                        <a:pt x="42519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785" name="Forma livre: Forma 784">
                <a:extLst>
                  <a:ext uri="{FF2B5EF4-FFF2-40B4-BE49-F238E27FC236}">
                    <a16:creationId xmlns:a16="http://schemas.microsoft.com/office/drawing/2014/main" id="{F6143DDA-D525-6433-3CAC-C18CDA889F55}"/>
                  </a:ext>
                </a:extLst>
              </p:cNvPr>
              <p:cNvSpPr/>
              <p:nvPr/>
            </p:nvSpPr>
            <p:spPr>
              <a:xfrm>
                <a:off x="10736492" y="3227116"/>
                <a:ext cx="37452" cy="37452"/>
              </a:xfrm>
              <a:custGeom>
                <a:avLst/>
                <a:gdLst>
                  <a:gd name="connsiteX0" fmla="*/ 0 w 37452"/>
                  <a:gd name="connsiteY0" fmla="*/ 0 h 37452"/>
                  <a:gd name="connsiteX1" fmla="*/ 37453 w 37452"/>
                  <a:gd name="connsiteY1" fmla="*/ 37453 h 374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7452" h="37452">
                    <a:moveTo>
                      <a:pt x="0" y="0"/>
                    </a:moveTo>
                    <a:lnTo>
                      <a:pt x="37453" y="37453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786" name="Gráfico 10">
            <a:extLst>
              <a:ext uri="{FF2B5EF4-FFF2-40B4-BE49-F238E27FC236}">
                <a16:creationId xmlns:a16="http://schemas.microsoft.com/office/drawing/2014/main" id="{0F8AD91F-3F89-7EC1-88B3-5D8E29D7C99F}"/>
              </a:ext>
            </a:extLst>
          </p:cNvPr>
          <p:cNvGrpSpPr/>
          <p:nvPr/>
        </p:nvGrpSpPr>
        <p:grpSpPr>
          <a:xfrm>
            <a:off x="9838667" y="3158224"/>
            <a:ext cx="338069" cy="237074"/>
            <a:chOff x="9838667" y="3158224"/>
            <a:chExt cx="338069" cy="237074"/>
          </a:xfrm>
          <a:noFill/>
        </p:grpSpPr>
        <p:grpSp>
          <p:nvGrpSpPr>
            <p:cNvPr id="787" name="Gráfico 10">
              <a:extLst>
                <a:ext uri="{FF2B5EF4-FFF2-40B4-BE49-F238E27FC236}">
                  <a16:creationId xmlns:a16="http://schemas.microsoft.com/office/drawing/2014/main" id="{4FC1B8D1-9840-DDAF-4CD0-37FC299117CA}"/>
                </a:ext>
              </a:extLst>
            </p:cNvPr>
            <p:cNvGrpSpPr/>
            <p:nvPr/>
          </p:nvGrpSpPr>
          <p:grpSpPr>
            <a:xfrm>
              <a:off x="9902304" y="3159597"/>
              <a:ext cx="274432" cy="235701"/>
              <a:chOff x="9902304" y="3159597"/>
              <a:chExt cx="274432" cy="235701"/>
            </a:xfrm>
            <a:noFill/>
          </p:grpSpPr>
          <p:sp>
            <p:nvSpPr>
              <p:cNvPr id="788" name="Forma livre: Forma 787">
                <a:extLst>
                  <a:ext uri="{FF2B5EF4-FFF2-40B4-BE49-F238E27FC236}">
                    <a16:creationId xmlns:a16="http://schemas.microsoft.com/office/drawing/2014/main" id="{E67BE661-FF3C-F6B9-9BF2-20A409722106}"/>
                  </a:ext>
                </a:extLst>
              </p:cNvPr>
              <p:cNvSpPr/>
              <p:nvPr/>
            </p:nvSpPr>
            <p:spPr>
              <a:xfrm>
                <a:off x="9944160" y="3200980"/>
                <a:ext cx="190672" cy="194318"/>
              </a:xfrm>
              <a:custGeom>
                <a:avLst/>
                <a:gdLst>
                  <a:gd name="connsiteX0" fmla="*/ 190673 w 190672"/>
                  <a:gd name="connsiteY0" fmla="*/ 85370 h 194318"/>
                  <a:gd name="connsiteX1" fmla="*/ 95360 w 190672"/>
                  <a:gd name="connsiteY1" fmla="*/ 0 h 194318"/>
                  <a:gd name="connsiteX2" fmla="*/ 95313 w 190672"/>
                  <a:gd name="connsiteY2" fmla="*/ 0 h 194318"/>
                  <a:gd name="connsiteX3" fmla="*/ 95360 w 190672"/>
                  <a:gd name="connsiteY3" fmla="*/ 0 h 194318"/>
                  <a:gd name="connsiteX4" fmla="*/ 95313 w 190672"/>
                  <a:gd name="connsiteY4" fmla="*/ 0 h 194318"/>
                  <a:gd name="connsiteX5" fmla="*/ 0 w 190672"/>
                  <a:gd name="connsiteY5" fmla="*/ 85370 h 194318"/>
                  <a:gd name="connsiteX6" fmla="*/ 0 w 190672"/>
                  <a:gd name="connsiteY6" fmla="*/ 194319 h 194318"/>
                  <a:gd name="connsiteX7" fmla="*/ 70692 w 190672"/>
                  <a:gd name="connsiteY7" fmla="*/ 194319 h 194318"/>
                  <a:gd name="connsiteX8" fmla="*/ 70692 w 190672"/>
                  <a:gd name="connsiteY8" fmla="*/ 132340 h 194318"/>
                  <a:gd name="connsiteX9" fmla="*/ 119981 w 190672"/>
                  <a:gd name="connsiteY9" fmla="*/ 132340 h 194318"/>
                  <a:gd name="connsiteX10" fmla="*/ 119981 w 190672"/>
                  <a:gd name="connsiteY10" fmla="*/ 194319 h 194318"/>
                  <a:gd name="connsiteX11" fmla="*/ 190673 w 190672"/>
                  <a:gd name="connsiteY11" fmla="*/ 194319 h 194318"/>
                  <a:gd name="connsiteX12" fmla="*/ 190673 w 190672"/>
                  <a:gd name="connsiteY12" fmla="*/ 85370 h 1943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90672" h="194318">
                    <a:moveTo>
                      <a:pt x="190673" y="85370"/>
                    </a:moveTo>
                    <a:lnTo>
                      <a:pt x="95360" y="0"/>
                    </a:lnTo>
                    <a:lnTo>
                      <a:pt x="95313" y="0"/>
                    </a:lnTo>
                    <a:lnTo>
                      <a:pt x="95360" y="0"/>
                    </a:lnTo>
                    <a:lnTo>
                      <a:pt x="95313" y="0"/>
                    </a:lnTo>
                    <a:lnTo>
                      <a:pt x="0" y="85370"/>
                    </a:lnTo>
                    <a:lnTo>
                      <a:pt x="0" y="194319"/>
                    </a:lnTo>
                    <a:lnTo>
                      <a:pt x="70692" y="194319"/>
                    </a:lnTo>
                    <a:lnTo>
                      <a:pt x="70692" y="132340"/>
                    </a:lnTo>
                    <a:lnTo>
                      <a:pt x="119981" y="132340"/>
                    </a:lnTo>
                    <a:lnTo>
                      <a:pt x="119981" y="194319"/>
                    </a:lnTo>
                    <a:lnTo>
                      <a:pt x="190673" y="194319"/>
                    </a:lnTo>
                    <a:lnTo>
                      <a:pt x="190673" y="85370"/>
                    </a:ln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89" name="Forma livre: Forma 788">
                <a:extLst>
                  <a:ext uri="{FF2B5EF4-FFF2-40B4-BE49-F238E27FC236}">
                    <a16:creationId xmlns:a16="http://schemas.microsoft.com/office/drawing/2014/main" id="{D2B66B8B-156E-8049-8161-92F509D2A9A6}"/>
                  </a:ext>
                </a:extLst>
              </p:cNvPr>
              <p:cNvSpPr/>
              <p:nvPr/>
            </p:nvSpPr>
            <p:spPr>
              <a:xfrm>
                <a:off x="9902304" y="3159597"/>
                <a:ext cx="274432" cy="119602"/>
              </a:xfrm>
              <a:custGeom>
                <a:avLst/>
                <a:gdLst>
                  <a:gd name="connsiteX0" fmla="*/ 274433 w 274432"/>
                  <a:gd name="connsiteY0" fmla="*/ 119603 h 119602"/>
                  <a:gd name="connsiteX1" fmla="*/ 137169 w 274432"/>
                  <a:gd name="connsiteY1" fmla="*/ 0 h 119602"/>
                  <a:gd name="connsiteX2" fmla="*/ 72680 w 274432"/>
                  <a:gd name="connsiteY2" fmla="*/ 56108 h 119602"/>
                  <a:gd name="connsiteX3" fmla="*/ 72680 w 274432"/>
                  <a:gd name="connsiteY3" fmla="*/ 20218 h 119602"/>
                  <a:gd name="connsiteX4" fmla="*/ 42851 w 274432"/>
                  <a:gd name="connsiteY4" fmla="*/ 20218 h 119602"/>
                  <a:gd name="connsiteX5" fmla="*/ 42851 w 274432"/>
                  <a:gd name="connsiteY5" fmla="*/ 82055 h 119602"/>
                  <a:gd name="connsiteX6" fmla="*/ 0 w 274432"/>
                  <a:gd name="connsiteY6" fmla="*/ 119603 h 1196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74432" h="119602">
                    <a:moveTo>
                      <a:pt x="274433" y="119603"/>
                    </a:moveTo>
                    <a:lnTo>
                      <a:pt x="137169" y="0"/>
                    </a:lnTo>
                    <a:lnTo>
                      <a:pt x="72680" y="56108"/>
                    </a:lnTo>
                    <a:lnTo>
                      <a:pt x="72680" y="20218"/>
                    </a:lnTo>
                    <a:lnTo>
                      <a:pt x="42851" y="20218"/>
                    </a:lnTo>
                    <a:lnTo>
                      <a:pt x="42851" y="82055"/>
                    </a:lnTo>
                    <a:lnTo>
                      <a:pt x="0" y="119603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790" name="Gráfico 10">
              <a:extLst>
                <a:ext uri="{FF2B5EF4-FFF2-40B4-BE49-F238E27FC236}">
                  <a16:creationId xmlns:a16="http://schemas.microsoft.com/office/drawing/2014/main" id="{7B1C5668-F248-74E5-C474-9F1EA5DC167A}"/>
                </a:ext>
              </a:extLst>
            </p:cNvPr>
            <p:cNvGrpSpPr/>
            <p:nvPr/>
          </p:nvGrpSpPr>
          <p:grpSpPr>
            <a:xfrm>
              <a:off x="9838667" y="3158224"/>
              <a:ext cx="61553" cy="237074"/>
              <a:chOff x="9838667" y="3158224"/>
              <a:chExt cx="61553" cy="237074"/>
            </a:xfrm>
            <a:noFill/>
          </p:grpSpPr>
          <p:grpSp>
            <p:nvGrpSpPr>
              <p:cNvPr id="791" name="Gráfico 10">
                <a:extLst>
                  <a:ext uri="{FF2B5EF4-FFF2-40B4-BE49-F238E27FC236}">
                    <a16:creationId xmlns:a16="http://schemas.microsoft.com/office/drawing/2014/main" id="{64C9F7E6-91B0-C1F9-B13A-5FF63988E64A}"/>
                  </a:ext>
                </a:extLst>
              </p:cNvPr>
              <p:cNvGrpSpPr/>
              <p:nvPr/>
            </p:nvGrpSpPr>
            <p:grpSpPr>
              <a:xfrm>
                <a:off x="9838667" y="3158224"/>
                <a:ext cx="61553" cy="237074"/>
                <a:chOff x="9838667" y="3158224"/>
                <a:chExt cx="61553" cy="237074"/>
              </a:xfrm>
            </p:grpSpPr>
            <p:sp>
              <p:nvSpPr>
                <p:cNvPr id="792" name="Forma livre: Forma 791">
                  <a:extLst>
                    <a:ext uri="{FF2B5EF4-FFF2-40B4-BE49-F238E27FC236}">
                      <a16:creationId xmlns:a16="http://schemas.microsoft.com/office/drawing/2014/main" id="{33F7698F-42AB-71AD-2EF2-D07BBDBE87F7}"/>
                    </a:ext>
                  </a:extLst>
                </p:cNvPr>
                <p:cNvSpPr/>
                <p:nvPr/>
              </p:nvSpPr>
              <p:spPr>
                <a:xfrm>
                  <a:off x="9838667" y="3158224"/>
                  <a:ext cx="61553" cy="4734"/>
                </a:xfrm>
                <a:custGeom>
                  <a:avLst/>
                  <a:gdLst>
                    <a:gd name="connsiteX0" fmla="*/ 61553 w 61553"/>
                    <a:gd name="connsiteY0" fmla="*/ 0 h 4734"/>
                    <a:gd name="connsiteX1" fmla="*/ 0 w 61553"/>
                    <a:gd name="connsiteY1" fmla="*/ 0 h 473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61553" h="4734">
                      <a:moveTo>
                        <a:pt x="61553" y="0"/>
                      </a:moveTo>
                      <a:lnTo>
                        <a:pt x="0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793" name="Forma livre: Forma 792">
                  <a:extLst>
                    <a:ext uri="{FF2B5EF4-FFF2-40B4-BE49-F238E27FC236}">
                      <a16:creationId xmlns:a16="http://schemas.microsoft.com/office/drawing/2014/main" id="{76AE2123-678B-97C9-BBB6-F7798F3AADC4}"/>
                    </a:ext>
                  </a:extLst>
                </p:cNvPr>
                <p:cNvSpPr/>
                <p:nvPr/>
              </p:nvSpPr>
              <p:spPr>
                <a:xfrm>
                  <a:off x="9838667" y="3395298"/>
                  <a:ext cx="61553" cy="4734"/>
                </a:xfrm>
                <a:custGeom>
                  <a:avLst/>
                  <a:gdLst>
                    <a:gd name="connsiteX0" fmla="*/ 61553 w 61553"/>
                    <a:gd name="connsiteY0" fmla="*/ 0 h 4734"/>
                    <a:gd name="connsiteX1" fmla="*/ 0 w 61553"/>
                    <a:gd name="connsiteY1" fmla="*/ 0 h 473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61553" h="4734">
                      <a:moveTo>
                        <a:pt x="61553" y="0"/>
                      </a:moveTo>
                      <a:lnTo>
                        <a:pt x="0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794" name="Gráfico 10">
                <a:extLst>
                  <a:ext uri="{FF2B5EF4-FFF2-40B4-BE49-F238E27FC236}">
                    <a16:creationId xmlns:a16="http://schemas.microsoft.com/office/drawing/2014/main" id="{D9E966E9-1F32-6507-CD72-C570748AF47E}"/>
                  </a:ext>
                </a:extLst>
              </p:cNvPr>
              <p:cNvGrpSpPr/>
              <p:nvPr/>
            </p:nvGrpSpPr>
            <p:grpSpPr>
              <a:xfrm>
                <a:off x="9840277" y="3188811"/>
                <a:ext cx="58333" cy="175900"/>
                <a:chOff x="9840277" y="3188811"/>
                <a:chExt cx="58333" cy="175900"/>
              </a:xfrm>
              <a:noFill/>
            </p:grpSpPr>
            <p:sp>
              <p:nvSpPr>
                <p:cNvPr id="795" name="Forma livre: Forma 794">
                  <a:extLst>
                    <a:ext uri="{FF2B5EF4-FFF2-40B4-BE49-F238E27FC236}">
                      <a16:creationId xmlns:a16="http://schemas.microsoft.com/office/drawing/2014/main" id="{E5FABE84-CF87-1DB4-3C92-ED2B6DBECBFA}"/>
                    </a:ext>
                  </a:extLst>
                </p:cNvPr>
                <p:cNvSpPr/>
                <p:nvPr/>
              </p:nvSpPr>
              <p:spPr>
                <a:xfrm>
                  <a:off x="9869444" y="3189048"/>
                  <a:ext cx="4734" cy="175095"/>
                </a:xfrm>
                <a:custGeom>
                  <a:avLst/>
                  <a:gdLst>
                    <a:gd name="connsiteX0" fmla="*/ 0 w 4734"/>
                    <a:gd name="connsiteY0" fmla="*/ 175095 h 175095"/>
                    <a:gd name="connsiteX1" fmla="*/ 0 w 4734"/>
                    <a:gd name="connsiteY1" fmla="*/ 0 h 17509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734" h="175095">
                      <a:moveTo>
                        <a:pt x="0" y="175095"/>
                      </a:moveTo>
                      <a:lnTo>
                        <a:pt x="0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796" name="Forma livre: Forma 795">
                  <a:extLst>
                    <a:ext uri="{FF2B5EF4-FFF2-40B4-BE49-F238E27FC236}">
                      <a16:creationId xmlns:a16="http://schemas.microsoft.com/office/drawing/2014/main" id="{C33CDFF2-DA87-12BF-6004-BD490E506AB1}"/>
                    </a:ext>
                  </a:extLst>
                </p:cNvPr>
                <p:cNvSpPr/>
                <p:nvPr/>
              </p:nvSpPr>
              <p:spPr>
                <a:xfrm>
                  <a:off x="9840277" y="3188811"/>
                  <a:ext cx="58333" cy="29119"/>
                </a:xfrm>
                <a:custGeom>
                  <a:avLst/>
                  <a:gdLst>
                    <a:gd name="connsiteX0" fmla="*/ 0 w 58333"/>
                    <a:gd name="connsiteY0" fmla="*/ 29119 h 29119"/>
                    <a:gd name="connsiteX1" fmla="*/ 29167 w 58333"/>
                    <a:gd name="connsiteY1" fmla="*/ 0 h 29119"/>
                    <a:gd name="connsiteX2" fmla="*/ 58334 w 58333"/>
                    <a:gd name="connsiteY2" fmla="*/ 29119 h 2911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58333" h="29119">
                      <a:moveTo>
                        <a:pt x="0" y="29119"/>
                      </a:moveTo>
                      <a:lnTo>
                        <a:pt x="29167" y="0"/>
                      </a:lnTo>
                      <a:lnTo>
                        <a:pt x="58334" y="29119"/>
                      </a:ln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797" name="Forma livre: Forma 796">
                  <a:extLst>
                    <a:ext uri="{FF2B5EF4-FFF2-40B4-BE49-F238E27FC236}">
                      <a16:creationId xmlns:a16="http://schemas.microsoft.com/office/drawing/2014/main" id="{0880605F-B7DD-0245-5D5D-7615F91B77C8}"/>
                    </a:ext>
                  </a:extLst>
                </p:cNvPr>
                <p:cNvSpPr/>
                <p:nvPr/>
              </p:nvSpPr>
              <p:spPr>
                <a:xfrm>
                  <a:off x="9840277" y="3335592"/>
                  <a:ext cx="58333" cy="29119"/>
                </a:xfrm>
                <a:custGeom>
                  <a:avLst/>
                  <a:gdLst>
                    <a:gd name="connsiteX0" fmla="*/ 58334 w 58333"/>
                    <a:gd name="connsiteY0" fmla="*/ 0 h 29119"/>
                    <a:gd name="connsiteX1" fmla="*/ 29167 w 58333"/>
                    <a:gd name="connsiteY1" fmla="*/ 29119 h 29119"/>
                    <a:gd name="connsiteX2" fmla="*/ 0 w 58333"/>
                    <a:gd name="connsiteY2" fmla="*/ 0 h 2911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58333" h="29119">
                      <a:moveTo>
                        <a:pt x="58334" y="0"/>
                      </a:moveTo>
                      <a:lnTo>
                        <a:pt x="29167" y="29119"/>
                      </a:lnTo>
                      <a:lnTo>
                        <a:pt x="0" y="0"/>
                      </a:ln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</p:grpSp>
      <p:grpSp>
        <p:nvGrpSpPr>
          <p:cNvPr id="799" name="Gráfico 11">
            <a:extLst>
              <a:ext uri="{FF2B5EF4-FFF2-40B4-BE49-F238E27FC236}">
                <a16:creationId xmlns:a16="http://schemas.microsoft.com/office/drawing/2014/main" id="{3081F839-27CE-7B0A-782B-E3A3ADB0E0A2}"/>
              </a:ext>
            </a:extLst>
          </p:cNvPr>
          <p:cNvGrpSpPr/>
          <p:nvPr/>
        </p:nvGrpSpPr>
        <p:grpSpPr>
          <a:xfrm>
            <a:off x="8041840" y="1550439"/>
            <a:ext cx="254074" cy="254065"/>
            <a:chOff x="8041840" y="1550439"/>
            <a:chExt cx="254074" cy="254065"/>
          </a:xfrm>
          <a:noFill/>
        </p:grpSpPr>
        <p:grpSp>
          <p:nvGrpSpPr>
            <p:cNvPr id="800" name="Gráfico 11">
              <a:extLst>
                <a:ext uri="{FF2B5EF4-FFF2-40B4-BE49-F238E27FC236}">
                  <a16:creationId xmlns:a16="http://schemas.microsoft.com/office/drawing/2014/main" id="{C962A6DB-D58F-CC0A-142E-BD97C53856E3}"/>
                </a:ext>
              </a:extLst>
            </p:cNvPr>
            <p:cNvGrpSpPr/>
            <p:nvPr/>
          </p:nvGrpSpPr>
          <p:grpSpPr>
            <a:xfrm>
              <a:off x="8129128" y="1637717"/>
              <a:ext cx="79451" cy="79451"/>
              <a:chOff x="8129128" y="1637717"/>
              <a:chExt cx="79451" cy="79451"/>
            </a:xfrm>
          </p:grpSpPr>
          <p:sp>
            <p:nvSpPr>
              <p:cNvPr id="801" name="Forma livre: Forma 800">
                <a:extLst>
                  <a:ext uri="{FF2B5EF4-FFF2-40B4-BE49-F238E27FC236}">
                    <a16:creationId xmlns:a16="http://schemas.microsoft.com/office/drawing/2014/main" id="{EE934326-0C25-D1B9-3923-B8BF7F45EE2B}"/>
                  </a:ext>
                </a:extLst>
              </p:cNvPr>
              <p:cNvSpPr/>
              <p:nvPr/>
            </p:nvSpPr>
            <p:spPr>
              <a:xfrm>
                <a:off x="8129128" y="1637717"/>
                <a:ext cx="79451" cy="79451"/>
              </a:xfrm>
              <a:custGeom>
                <a:avLst/>
                <a:gdLst>
                  <a:gd name="connsiteX0" fmla="*/ 0 w 79451"/>
                  <a:gd name="connsiteY0" fmla="*/ 79451 h 79451"/>
                  <a:gd name="connsiteX1" fmla="*/ 79451 w 79451"/>
                  <a:gd name="connsiteY1" fmla="*/ 0 h 794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79451" h="79451">
                    <a:moveTo>
                      <a:pt x="0" y="79451"/>
                    </a:moveTo>
                    <a:lnTo>
                      <a:pt x="79451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802" name="Gráfico 11">
                <a:extLst>
                  <a:ext uri="{FF2B5EF4-FFF2-40B4-BE49-F238E27FC236}">
                    <a16:creationId xmlns:a16="http://schemas.microsoft.com/office/drawing/2014/main" id="{FCAD2F77-ACF3-A4C2-B63A-A36C7584775A}"/>
                  </a:ext>
                </a:extLst>
              </p:cNvPr>
              <p:cNvGrpSpPr/>
              <p:nvPr/>
            </p:nvGrpSpPr>
            <p:grpSpPr>
              <a:xfrm>
                <a:off x="8129696" y="1638286"/>
                <a:ext cx="78362" cy="78361"/>
                <a:chOff x="8129696" y="1638286"/>
                <a:chExt cx="78362" cy="78361"/>
              </a:xfrm>
            </p:grpSpPr>
            <p:sp>
              <p:nvSpPr>
                <p:cNvPr id="803" name="Forma livre: Forma 802">
                  <a:extLst>
                    <a:ext uri="{FF2B5EF4-FFF2-40B4-BE49-F238E27FC236}">
                      <a16:creationId xmlns:a16="http://schemas.microsoft.com/office/drawing/2014/main" id="{EE6D6921-0E43-CA64-3465-EC6E37387284}"/>
                    </a:ext>
                  </a:extLst>
                </p:cNvPr>
                <p:cNvSpPr/>
                <p:nvPr/>
              </p:nvSpPr>
              <p:spPr>
                <a:xfrm>
                  <a:off x="8129696" y="1684072"/>
                  <a:ext cx="32528" cy="32575"/>
                </a:xfrm>
                <a:custGeom>
                  <a:avLst/>
                  <a:gdLst>
                    <a:gd name="connsiteX0" fmla="*/ 0 w 32528"/>
                    <a:gd name="connsiteY0" fmla="*/ 0 h 32575"/>
                    <a:gd name="connsiteX1" fmla="*/ 32529 w 32528"/>
                    <a:gd name="connsiteY1" fmla="*/ 32576 h 325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32528" h="32575">
                      <a:moveTo>
                        <a:pt x="0" y="0"/>
                      </a:moveTo>
                      <a:lnTo>
                        <a:pt x="32529" y="32576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804" name="Forma livre: Forma 803">
                  <a:extLst>
                    <a:ext uri="{FF2B5EF4-FFF2-40B4-BE49-F238E27FC236}">
                      <a16:creationId xmlns:a16="http://schemas.microsoft.com/office/drawing/2014/main" id="{F03E58BB-8AEE-0A97-1ED3-6C72A8CAD6BD}"/>
                    </a:ext>
                  </a:extLst>
                </p:cNvPr>
                <p:cNvSpPr/>
                <p:nvPr/>
              </p:nvSpPr>
              <p:spPr>
                <a:xfrm>
                  <a:off x="8152613" y="1661202"/>
                  <a:ext cx="32528" cy="32528"/>
                </a:xfrm>
                <a:custGeom>
                  <a:avLst/>
                  <a:gdLst>
                    <a:gd name="connsiteX0" fmla="*/ 0 w 32528"/>
                    <a:gd name="connsiteY0" fmla="*/ 0 h 32528"/>
                    <a:gd name="connsiteX1" fmla="*/ 32529 w 32528"/>
                    <a:gd name="connsiteY1" fmla="*/ 32529 h 3252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32528" h="32528">
                      <a:moveTo>
                        <a:pt x="0" y="0"/>
                      </a:moveTo>
                      <a:lnTo>
                        <a:pt x="32529" y="32529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805" name="Forma livre: Forma 804">
                  <a:extLst>
                    <a:ext uri="{FF2B5EF4-FFF2-40B4-BE49-F238E27FC236}">
                      <a16:creationId xmlns:a16="http://schemas.microsoft.com/office/drawing/2014/main" id="{8431326C-D208-EF0B-337C-CF2A4B8BDA56}"/>
                    </a:ext>
                  </a:extLst>
                </p:cNvPr>
                <p:cNvSpPr/>
                <p:nvPr/>
              </p:nvSpPr>
              <p:spPr>
                <a:xfrm>
                  <a:off x="8175482" y="1638286"/>
                  <a:ext cx="32575" cy="32528"/>
                </a:xfrm>
                <a:custGeom>
                  <a:avLst/>
                  <a:gdLst>
                    <a:gd name="connsiteX0" fmla="*/ 0 w 32575"/>
                    <a:gd name="connsiteY0" fmla="*/ 0 h 32528"/>
                    <a:gd name="connsiteX1" fmla="*/ 32576 w 32575"/>
                    <a:gd name="connsiteY1" fmla="*/ 32529 h 3252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32575" h="32528">
                      <a:moveTo>
                        <a:pt x="0" y="0"/>
                      </a:moveTo>
                      <a:lnTo>
                        <a:pt x="32576" y="32529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grpSp>
          <p:nvGrpSpPr>
            <p:cNvPr id="806" name="Gráfico 11">
              <a:extLst>
                <a:ext uri="{FF2B5EF4-FFF2-40B4-BE49-F238E27FC236}">
                  <a16:creationId xmlns:a16="http://schemas.microsoft.com/office/drawing/2014/main" id="{23766610-68F8-F130-D474-7D9E1838F161}"/>
                </a:ext>
              </a:extLst>
            </p:cNvPr>
            <p:cNvGrpSpPr/>
            <p:nvPr/>
          </p:nvGrpSpPr>
          <p:grpSpPr>
            <a:xfrm>
              <a:off x="8069421" y="1578011"/>
              <a:ext cx="219839" cy="219839"/>
              <a:chOff x="8069421" y="1578011"/>
              <a:chExt cx="219839" cy="219839"/>
            </a:xfrm>
          </p:grpSpPr>
          <p:sp>
            <p:nvSpPr>
              <p:cNvPr id="807" name="Forma livre: Forma 806">
                <a:extLst>
                  <a:ext uri="{FF2B5EF4-FFF2-40B4-BE49-F238E27FC236}">
                    <a16:creationId xmlns:a16="http://schemas.microsoft.com/office/drawing/2014/main" id="{2091B1DA-EF9A-D954-8FF8-F18803EACBF8}"/>
                  </a:ext>
                </a:extLst>
              </p:cNvPr>
              <p:cNvSpPr/>
              <p:nvPr/>
            </p:nvSpPr>
            <p:spPr>
              <a:xfrm>
                <a:off x="8069421" y="1722992"/>
                <a:ext cx="74810" cy="74858"/>
              </a:xfrm>
              <a:custGeom>
                <a:avLst/>
                <a:gdLst>
                  <a:gd name="connsiteX0" fmla="*/ 0 w 74810"/>
                  <a:gd name="connsiteY0" fmla="*/ 0 h 74858"/>
                  <a:gd name="connsiteX1" fmla="*/ 74811 w 74810"/>
                  <a:gd name="connsiteY1" fmla="*/ 74858 h 748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74810" h="74858">
                    <a:moveTo>
                      <a:pt x="0" y="0"/>
                    </a:moveTo>
                    <a:lnTo>
                      <a:pt x="74811" y="74858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808" name="Forma livre: Forma 807">
                <a:extLst>
                  <a:ext uri="{FF2B5EF4-FFF2-40B4-BE49-F238E27FC236}">
                    <a16:creationId xmlns:a16="http://schemas.microsoft.com/office/drawing/2014/main" id="{75F7DDD5-1718-10F4-B49B-535A449BA06D}"/>
                  </a:ext>
                </a:extLst>
              </p:cNvPr>
              <p:cNvSpPr/>
              <p:nvPr/>
            </p:nvSpPr>
            <p:spPr>
              <a:xfrm>
                <a:off x="8214403" y="1578011"/>
                <a:ext cx="74858" cy="74810"/>
              </a:xfrm>
              <a:custGeom>
                <a:avLst/>
                <a:gdLst>
                  <a:gd name="connsiteX0" fmla="*/ 0 w 74858"/>
                  <a:gd name="connsiteY0" fmla="*/ 0 h 74810"/>
                  <a:gd name="connsiteX1" fmla="*/ 74858 w 74858"/>
                  <a:gd name="connsiteY1" fmla="*/ 74811 h 748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74858" h="74810">
                    <a:moveTo>
                      <a:pt x="0" y="0"/>
                    </a:moveTo>
                    <a:lnTo>
                      <a:pt x="74858" y="74811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809" name="Forma livre: Forma 808">
              <a:extLst>
                <a:ext uri="{FF2B5EF4-FFF2-40B4-BE49-F238E27FC236}">
                  <a16:creationId xmlns:a16="http://schemas.microsoft.com/office/drawing/2014/main" id="{CA0759DC-D40A-2F72-96AC-4C5A62FAD04C}"/>
                </a:ext>
              </a:extLst>
            </p:cNvPr>
            <p:cNvSpPr/>
            <p:nvPr/>
          </p:nvSpPr>
          <p:spPr>
            <a:xfrm>
              <a:off x="8041840" y="1550439"/>
              <a:ext cx="254074" cy="254065"/>
            </a:xfrm>
            <a:custGeom>
              <a:avLst/>
              <a:gdLst>
                <a:gd name="connsiteX0" fmla="*/ 226067 w 254074"/>
                <a:gd name="connsiteY0" fmla="*/ 1294 h 254065"/>
                <a:gd name="connsiteX1" fmla="*/ 252771 w 254074"/>
                <a:gd name="connsiteY1" fmla="*/ 27998 h 254065"/>
                <a:gd name="connsiteX2" fmla="*/ 199599 w 254074"/>
                <a:gd name="connsiteY2" fmla="*/ 199590 h 254065"/>
                <a:gd name="connsiteX3" fmla="*/ 28007 w 254074"/>
                <a:gd name="connsiteY3" fmla="*/ 252762 h 254065"/>
                <a:gd name="connsiteX4" fmla="*/ 1303 w 254074"/>
                <a:gd name="connsiteY4" fmla="*/ 226058 h 254065"/>
                <a:gd name="connsiteX5" fmla="*/ 54475 w 254074"/>
                <a:gd name="connsiteY5" fmla="*/ 54466 h 254065"/>
                <a:gd name="connsiteX6" fmla="*/ 226067 w 254074"/>
                <a:gd name="connsiteY6" fmla="*/ 1294 h 2540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54074" h="254065">
                  <a:moveTo>
                    <a:pt x="226067" y="1294"/>
                  </a:moveTo>
                  <a:cubicBezTo>
                    <a:pt x="238946" y="3093"/>
                    <a:pt x="250972" y="15120"/>
                    <a:pt x="252771" y="27998"/>
                  </a:cubicBezTo>
                  <a:cubicBezTo>
                    <a:pt x="252771" y="27998"/>
                    <a:pt x="267260" y="131976"/>
                    <a:pt x="199599" y="199590"/>
                  </a:cubicBezTo>
                  <a:cubicBezTo>
                    <a:pt x="131938" y="267251"/>
                    <a:pt x="28007" y="252762"/>
                    <a:pt x="28007" y="252762"/>
                  </a:cubicBezTo>
                  <a:cubicBezTo>
                    <a:pt x="15129" y="250963"/>
                    <a:pt x="3102" y="238937"/>
                    <a:pt x="1303" y="226058"/>
                  </a:cubicBezTo>
                  <a:cubicBezTo>
                    <a:pt x="1303" y="226058"/>
                    <a:pt x="-13186" y="122080"/>
                    <a:pt x="54475" y="54466"/>
                  </a:cubicBezTo>
                  <a:cubicBezTo>
                    <a:pt x="122136" y="-13148"/>
                    <a:pt x="226067" y="1294"/>
                    <a:pt x="226067" y="1294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810" name="Gráfico 11">
            <a:extLst>
              <a:ext uri="{FF2B5EF4-FFF2-40B4-BE49-F238E27FC236}">
                <a16:creationId xmlns:a16="http://schemas.microsoft.com/office/drawing/2014/main" id="{038DEE44-E7DF-C5FC-56E1-5E2A38F8DCF6}"/>
              </a:ext>
            </a:extLst>
          </p:cNvPr>
          <p:cNvGrpSpPr/>
          <p:nvPr/>
        </p:nvGrpSpPr>
        <p:grpSpPr>
          <a:xfrm>
            <a:off x="8043948" y="2075456"/>
            <a:ext cx="249858" cy="249527"/>
            <a:chOff x="8043948" y="2075456"/>
            <a:chExt cx="249858" cy="249527"/>
          </a:xfrm>
          <a:noFill/>
        </p:grpSpPr>
        <p:sp>
          <p:nvSpPr>
            <p:cNvPr id="811" name="Forma livre: Forma 810">
              <a:extLst>
                <a:ext uri="{FF2B5EF4-FFF2-40B4-BE49-F238E27FC236}">
                  <a16:creationId xmlns:a16="http://schemas.microsoft.com/office/drawing/2014/main" id="{1CBA1BDE-C28E-AA6A-A4C0-496BD603D493}"/>
                </a:ext>
              </a:extLst>
            </p:cNvPr>
            <p:cNvSpPr/>
            <p:nvPr/>
          </p:nvSpPr>
          <p:spPr>
            <a:xfrm>
              <a:off x="8060615" y="2281754"/>
              <a:ext cx="26846" cy="26846"/>
            </a:xfrm>
            <a:custGeom>
              <a:avLst/>
              <a:gdLst>
                <a:gd name="connsiteX0" fmla="*/ 26847 w 26846"/>
                <a:gd name="connsiteY0" fmla="*/ 26847 h 26846"/>
                <a:gd name="connsiteX1" fmla="*/ 0 w 26846"/>
                <a:gd name="connsiteY1" fmla="*/ 0 h 26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6846" h="26846">
                  <a:moveTo>
                    <a:pt x="26847" y="26847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12" name="Forma livre: Forma 811">
              <a:extLst>
                <a:ext uri="{FF2B5EF4-FFF2-40B4-BE49-F238E27FC236}">
                  <a16:creationId xmlns:a16="http://schemas.microsoft.com/office/drawing/2014/main" id="{1C44B6BB-97C5-BB02-011C-A55845405E74}"/>
                </a:ext>
              </a:extLst>
            </p:cNvPr>
            <p:cNvSpPr/>
            <p:nvPr/>
          </p:nvSpPr>
          <p:spPr>
            <a:xfrm>
              <a:off x="8215255" y="2075456"/>
              <a:ext cx="78551" cy="78551"/>
            </a:xfrm>
            <a:custGeom>
              <a:avLst/>
              <a:gdLst>
                <a:gd name="connsiteX0" fmla="*/ 73012 w 78551"/>
                <a:gd name="connsiteY0" fmla="*/ 36316 h 78551"/>
                <a:gd name="connsiteX1" fmla="*/ 42235 w 78551"/>
                <a:gd name="connsiteY1" fmla="*/ 5540 h 78551"/>
                <a:gd name="connsiteX2" fmla="*/ 15436 w 78551"/>
                <a:gd name="connsiteY2" fmla="*/ 5540 h 78551"/>
                <a:gd name="connsiteX3" fmla="*/ 0 w 78551"/>
                <a:gd name="connsiteY3" fmla="*/ 20975 h 78551"/>
                <a:gd name="connsiteX4" fmla="*/ 57576 w 78551"/>
                <a:gd name="connsiteY4" fmla="*/ 78551 h 78551"/>
                <a:gd name="connsiteX5" fmla="*/ 73012 w 78551"/>
                <a:gd name="connsiteY5" fmla="*/ 63116 h 78551"/>
                <a:gd name="connsiteX6" fmla="*/ 73012 w 78551"/>
                <a:gd name="connsiteY6" fmla="*/ 36316 h 785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8551" h="78551">
                  <a:moveTo>
                    <a:pt x="73012" y="36316"/>
                  </a:moveTo>
                  <a:lnTo>
                    <a:pt x="42235" y="5540"/>
                  </a:lnTo>
                  <a:cubicBezTo>
                    <a:pt x="34849" y="-1847"/>
                    <a:pt x="22822" y="-1847"/>
                    <a:pt x="15436" y="5540"/>
                  </a:cubicBezTo>
                  <a:lnTo>
                    <a:pt x="0" y="20975"/>
                  </a:lnTo>
                  <a:lnTo>
                    <a:pt x="57576" y="78551"/>
                  </a:lnTo>
                  <a:lnTo>
                    <a:pt x="73012" y="63116"/>
                  </a:lnTo>
                  <a:cubicBezTo>
                    <a:pt x="80398" y="55729"/>
                    <a:pt x="80398" y="43703"/>
                    <a:pt x="73012" y="36316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13" name="Forma livre: Forma 812">
              <a:extLst>
                <a:ext uri="{FF2B5EF4-FFF2-40B4-BE49-F238E27FC236}">
                  <a16:creationId xmlns:a16="http://schemas.microsoft.com/office/drawing/2014/main" id="{9452A5E1-7A75-B4C2-9FFB-67CD15D95986}"/>
                </a:ext>
              </a:extLst>
            </p:cNvPr>
            <p:cNvSpPr/>
            <p:nvPr/>
          </p:nvSpPr>
          <p:spPr>
            <a:xfrm>
              <a:off x="8043948" y="2113524"/>
              <a:ext cx="210938" cy="211459"/>
            </a:xfrm>
            <a:custGeom>
              <a:avLst/>
              <a:gdLst>
                <a:gd name="connsiteX0" fmla="*/ 210938 w 210938"/>
                <a:gd name="connsiteY0" fmla="*/ 58049 h 211459"/>
                <a:gd name="connsiteX1" fmla="*/ 90104 w 210938"/>
                <a:gd name="connsiteY1" fmla="*/ 178931 h 211459"/>
                <a:gd name="connsiteX2" fmla="*/ 0 w 210938"/>
                <a:gd name="connsiteY2" fmla="*/ 211459 h 211459"/>
                <a:gd name="connsiteX3" fmla="*/ 32765 w 210938"/>
                <a:gd name="connsiteY3" fmla="*/ 121686 h 211459"/>
                <a:gd name="connsiteX4" fmla="*/ 154451 w 210938"/>
                <a:gd name="connsiteY4" fmla="*/ 0 h 2114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10938" h="211459">
                  <a:moveTo>
                    <a:pt x="210938" y="58049"/>
                  </a:moveTo>
                  <a:lnTo>
                    <a:pt x="90104" y="178931"/>
                  </a:lnTo>
                  <a:lnTo>
                    <a:pt x="0" y="211459"/>
                  </a:lnTo>
                  <a:lnTo>
                    <a:pt x="32765" y="121686"/>
                  </a:lnTo>
                  <a:lnTo>
                    <a:pt x="154451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14" name="Forma livre: Forma 813">
              <a:extLst>
                <a:ext uri="{FF2B5EF4-FFF2-40B4-BE49-F238E27FC236}">
                  <a16:creationId xmlns:a16="http://schemas.microsoft.com/office/drawing/2014/main" id="{D53E75A6-65D5-03DA-FCE0-B0312F5CED8B}"/>
                </a:ext>
              </a:extLst>
            </p:cNvPr>
            <p:cNvSpPr/>
            <p:nvPr/>
          </p:nvSpPr>
          <p:spPr>
            <a:xfrm>
              <a:off x="8108957" y="2142170"/>
              <a:ext cx="118087" cy="118087"/>
            </a:xfrm>
            <a:custGeom>
              <a:avLst/>
              <a:gdLst>
                <a:gd name="connsiteX0" fmla="*/ 0 w 118087"/>
                <a:gd name="connsiteY0" fmla="*/ 118087 h 118087"/>
                <a:gd name="connsiteX1" fmla="*/ 118088 w 118087"/>
                <a:gd name="connsiteY1" fmla="*/ 0 h 1180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8087" h="118087">
                  <a:moveTo>
                    <a:pt x="0" y="118087"/>
                  </a:moveTo>
                  <a:lnTo>
                    <a:pt x="118088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15" name="Forma livre: Forma 814">
              <a:extLst>
                <a:ext uri="{FF2B5EF4-FFF2-40B4-BE49-F238E27FC236}">
                  <a16:creationId xmlns:a16="http://schemas.microsoft.com/office/drawing/2014/main" id="{F6FD27ED-6E5B-38D7-215C-DC28516B41F3}"/>
                </a:ext>
              </a:extLst>
            </p:cNvPr>
            <p:cNvSpPr/>
            <p:nvPr/>
          </p:nvSpPr>
          <p:spPr>
            <a:xfrm>
              <a:off x="8080690" y="2231943"/>
              <a:ext cx="56581" cy="56581"/>
            </a:xfrm>
            <a:custGeom>
              <a:avLst/>
              <a:gdLst>
                <a:gd name="connsiteX0" fmla="*/ 56582 w 56581"/>
                <a:gd name="connsiteY0" fmla="*/ 56582 h 56581"/>
                <a:gd name="connsiteX1" fmla="*/ 0 w 56581"/>
                <a:gd name="connsiteY1" fmla="*/ 0 h 565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6581" h="56581">
                  <a:moveTo>
                    <a:pt x="56582" y="56582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816" name="Gráfico 11">
            <a:extLst>
              <a:ext uri="{FF2B5EF4-FFF2-40B4-BE49-F238E27FC236}">
                <a16:creationId xmlns:a16="http://schemas.microsoft.com/office/drawing/2014/main" id="{8F8FF38B-5ED0-4BD4-D525-07F48CDDC6A8}"/>
              </a:ext>
            </a:extLst>
          </p:cNvPr>
          <p:cNvGrpSpPr/>
          <p:nvPr/>
        </p:nvGrpSpPr>
        <p:grpSpPr>
          <a:xfrm>
            <a:off x="8028370" y="2590372"/>
            <a:ext cx="281014" cy="271885"/>
            <a:chOff x="8028370" y="2590372"/>
            <a:chExt cx="281014" cy="271885"/>
          </a:xfrm>
          <a:noFill/>
        </p:grpSpPr>
        <p:sp>
          <p:nvSpPr>
            <p:cNvPr id="817" name="Forma livre: Forma 816">
              <a:extLst>
                <a:ext uri="{FF2B5EF4-FFF2-40B4-BE49-F238E27FC236}">
                  <a16:creationId xmlns:a16="http://schemas.microsoft.com/office/drawing/2014/main" id="{32FF54A5-215C-2C61-99A3-CFFF0BFECABB}"/>
                </a:ext>
              </a:extLst>
            </p:cNvPr>
            <p:cNvSpPr/>
            <p:nvPr/>
          </p:nvSpPr>
          <p:spPr>
            <a:xfrm>
              <a:off x="8028370" y="2590372"/>
              <a:ext cx="281014" cy="201705"/>
            </a:xfrm>
            <a:custGeom>
              <a:avLst/>
              <a:gdLst>
                <a:gd name="connsiteX0" fmla="*/ 155256 w 281014"/>
                <a:gd name="connsiteY0" fmla="*/ 201705 h 201705"/>
                <a:gd name="connsiteX1" fmla="*/ 14205 w 281014"/>
                <a:gd name="connsiteY1" fmla="*/ 201705 h 201705"/>
                <a:gd name="connsiteX2" fmla="*/ 0 w 281014"/>
                <a:gd name="connsiteY2" fmla="*/ 187501 h 201705"/>
                <a:gd name="connsiteX3" fmla="*/ 0 w 281014"/>
                <a:gd name="connsiteY3" fmla="*/ 14205 h 201705"/>
                <a:gd name="connsiteX4" fmla="*/ 14205 w 281014"/>
                <a:gd name="connsiteY4" fmla="*/ 0 h 201705"/>
                <a:gd name="connsiteX5" fmla="*/ 266810 w 281014"/>
                <a:gd name="connsiteY5" fmla="*/ 0 h 201705"/>
                <a:gd name="connsiteX6" fmla="*/ 281014 w 281014"/>
                <a:gd name="connsiteY6" fmla="*/ 14205 h 201705"/>
                <a:gd name="connsiteX7" fmla="*/ 281014 w 281014"/>
                <a:gd name="connsiteY7" fmla="*/ 187501 h 201705"/>
                <a:gd name="connsiteX8" fmla="*/ 266810 w 281014"/>
                <a:gd name="connsiteY8" fmla="*/ 201705 h 201705"/>
                <a:gd name="connsiteX9" fmla="*/ 247776 w 281014"/>
                <a:gd name="connsiteY9" fmla="*/ 201705 h 2017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81014" h="201705">
                  <a:moveTo>
                    <a:pt x="155256" y="201705"/>
                  </a:moveTo>
                  <a:lnTo>
                    <a:pt x="14205" y="201705"/>
                  </a:lnTo>
                  <a:cubicBezTo>
                    <a:pt x="6392" y="201705"/>
                    <a:pt x="0" y="195313"/>
                    <a:pt x="0" y="187501"/>
                  </a:cubicBezTo>
                  <a:lnTo>
                    <a:pt x="0" y="14205"/>
                  </a:lnTo>
                  <a:cubicBezTo>
                    <a:pt x="0" y="6392"/>
                    <a:pt x="6392" y="0"/>
                    <a:pt x="14205" y="0"/>
                  </a:cubicBezTo>
                  <a:lnTo>
                    <a:pt x="266810" y="0"/>
                  </a:lnTo>
                  <a:cubicBezTo>
                    <a:pt x="274622" y="0"/>
                    <a:pt x="281014" y="6392"/>
                    <a:pt x="281014" y="14205"/>
                  </a:cubicBezTo>
                  <a:lnTo>
                    <a:pt x="281014" y="187501"/>
                  </a:lnTo>
                  <a:cubicBezTo>
                    <a:pt x="281014" y="195313"/>
                    <a:pt x="274622" y="201705"/>
                    <a:pt x="266810" y="201705"/>
                  </a:cubicBezTo>
                  <a:lnTo>
                    <a:pt x="247776" y="201705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818" name="Gráfico 11">
              <a:extLst>
                <a:ext uri="{FF2B5EF4-FFF2-40B4-BE49-F238E27FC236}">
                  <a16:creationId xmlns:a16="http://schemas.microsoft.com/office/drawing/2014/main" id="{2ABE3F64-914D-34FE-D6DA-197E98D10AB8}"/>
                </a:ext>
              </a:extLst>
            </p:cNvPr>
            <p:cNvGrpSpPr/>
            <p:nvPr/>
          </p:nvGrpSpPr>
          <p:grpSpPr>
            <a:xfrm>
              <a:off x="8193750" y="2742636"/>
              <a:ext cx="83020" cy="119620"/>
              <a:chOff x="8193750" y="2742636"/>
              <a:chExt cx="83020" cy="119620"/>
            </a:xfrm>
            <a:noFill/>
          </p:grpSpPr>
          <p:sp>
            <p:nvSpPr>
              <p:cNvPr id="819" name="Forma livre: Forma 818">
                <a:extLst>
                  <a:ext uri="{FF2B5EF4-FFF2-40B4-BE49-F238E27FC236}">
                    <a16:creationId xmlns:a16="http://schemas.microsoft.com/office/drawing/2014/main" id="{BF694339-BBA0-FDE5-134C-4D24B5C8A5FC}"/>
                  </a:ext>
                </a:extLst>
              </p:cNvPr>
              <p:cNvSpPr/>
              <p:nvPr/>
            </p:nvSpPr>
            <p:spPr>
              <a:xfrm>
                <a:off x="8193750" y="2742636"/>
                <a:ext cx="83020" cy="119620"/>
              </a:xfrm>
              <a:custGeom>
                <a:avLst/>
                <a:gdLst>
                  <a:gd name="connsiteX0" fmla="*/ 81117 w 83020"/>
                  <a:gd name="connsiteY0" fmla="*/ 96695 h 119620"/>
                  <a:gd name="connsiteX1" fmla="*/ 75956 w 83020"/>
                  <a:gd name="connsiteY1" fmla="*/ 116108 h 119620"/>
                  <a:gd name="connsiteX2" fmla="*/ 73210 w 83020"/>
                  <a:gd name="connsiteY2" fmla="*/ 117718 h 119620"/>
                  <a:gd name="connsiteX3" fmla="*/ 53797 w 83020"/>
                  <a:gd name="connsiteY3" fmla="*/ 112557 h 119620"/>
                  <a:gd name="connsiteX4" fmla="*/ 1903 w 83020"/>
                  <a:gd name="connsiteY4" fmla="*/ 22926 h 119620"/>
                  <a:gd name="connsiteX5" fmla="*/ 7064 w 83020"/>
                  <a:gd name="connsiteY5" fmla="*/ 3513 h 119620"/>
                  <a:gd name="connsiteX6" fmla="*/ 9858 w 83020"/>
                  <a:gd name="connsiteY6" fmla="*/ 1903 h 119620"/>
                  <a:gd name="connsiteX7" fmla="*/ 29271 w 83020"/>
                  <a:gd name="connsiteY7" fmla="*/ 7064 h 119620"/>
                  <a:gd name="connsiteX8" fmla="*/ 81117 w 83020"/>
                  <a:gd name="connsiteY8" fmla="*/ 96695 h 1196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83020" h="119620">
                    <a:moveTo>
                      <a:pt x="81117" y="96695"/>
                    </a:moveTo>
                    <a:cubicBezTo>
                      <a:pt x="85047" y="103466"/>
                      <a:pt x="82680" y="112178"/>
                      <a:pt x="75956" y="116108"/>
                    </a:cubicBezTo>
                    <a:lnTo>
                      <a:pt x="73210" y="117718"/>
                    </a:lnTo>
                    <a:cubicBezTo>
                      <a:pt x="66439" y="121648"/>
                      <a:pt x="57727" y="119280"/>
                      <a:pt x="53797" y="112557"/>
                    </a:cubicBezTo>
                    <a:lnTo>
                      <a:pt x="1903" y="22926"/>
                    </a:lnTo>
                    <a:cubicBezTo>
                      <a:pt x="-2027" y="16155"/>
                      <a:pt x="341" y="7443"/>
                      <a:pt x="7064" y="3513"/>
                    </a:cubicBezTo>
                    <a:lnTo>
                      <a:pt x="9858" y="1903"/>
                    </a:lnTo>
                    <a:cubicBezTo>
                      <a:pt x="16629" y="-2027"/>
                      <a:pt x="25341" y="341"/>
                      <a:pt x="29271" y="7064"/>
                    </a:cubicBezTo>
                    <a:lnTo>
                      <a:pt x="81117" y="96695"/>
                    </a:ln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820" name="Forma livre: Forma 819">
                <a:extLst>
                  <a:ext uri="{FF2B5EF4-FFF2-40B4-BE49-F238E27FC236}">
                    <a16:creationId xmlns:a16="http://schemas.microsoft.com/office/drawing/2014/main" id="{A989B98F-1A34-0918-0603-831F6D5E444D}"/>
                  </a:ext>
                </a:extLst>
              </p:cNvPr>
              <p:cNvSpPr/>
              <p:nvPr/>
            </p:nvSpPr>
            <p:spPr>
              <a:xfrm>
                <a:off x="8193750" y="2742636"/>
                <a:ext cx="83020" cy="119620"/>
              </a:xfrm>
              <a:custGeom>
                <a:avLst/>
                <a:gdLst>
                  <a:gd name="connsiteX0" fmla="*/ 81117 w 83020"/>
                  <a:gd name="connsiteY0" fmla="*/ 96695 h 119620"/>
                  <a:gd name="connsiteX1" fmla="*/ 75956 w 83020"/>
                  <a:gd name="connsiteY1" fmla="*/ 116108 h 119620"/>
                  <a:gd name="connsiteX2" fmla="*/ 73210 w 83020"/>
                  <a:gd name="connsiteY2" fmla="*/ 117718 h 119620"/>
                  <a:gd name="connsiteX3" fmla="*/ 53797 w 83020"/>
                  <a:gd name="connsiteY3" fmla="*/ 112557 h 119620"/>
                  <a:gd name="connsiteX4" fmla="*/ 1903 w 83020"/>
                  <a:gd name="connsiteY4" fmla="*/ 22926 h 119620"/>
                  <a:gd name="connsiteX5" fmla="*/ 7064 w 83020"/>
                  <a:gd name="connsiteY5" fmla="*/ 3513 h 119620"/>
                  <a:gd name="connsiteX6" fmla="*/ 9858 w 83020"/>
                  <a:gd name="connsiteY6" fmla="*/ 1903 h 119620"/>
                  <a:gd name="connsiteX7" fmla="*/ 29271 w 83020"/>
                  <a:gd name="connsiteY7" fmla="*/ 7064 h 119620"/>
                  <a:gd name="connsiteX8" fmla="*/ 81117 w 83020"/>
                  <a:gd name="connsiteY8" fmla="*/ 96695 h 1196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83020" h="119620">
                    <a:moveTo>
                      <a:pt x="81117" y="96695"/>
                    </a:moveTo>
                    <a:cubicBezTo>
                      <a:pt x="85047" y="103466"/>
                      <a:pt x="82680" y="112178"/>
                      <a:pt x="75956" y="116108"/>
                    </a:cubicBezTo>
                    <a:lnTo>
                      <a:pt x="73210" y="117718"/>
                    </a:lnTo>
                    <a:cubicBezTo>
                      <a:pt x="66439" y="121648"/>
                      <a:pt x="57727" y="119280"/>
                      <a:pt x="53797" y="112557"/>
                    </a:cubicBezTo>
                    <a:lnTo>
                      <a:pt x="1903" y="22926"/>
                    </a:lnTo>
                    <a:cubicBezTo>
                      <a:pt x="-2027" y="16155"/>
                      <a:pt x="341" y="7443"/>
                      <a:pt x="7064" y="3513"/>
                    </a:cubicBezTo>
                    <a:lnTo>
                      <a:pt x="9858" y="1903"/>
                    </a:lnTo>
                    <a:cubicBezTo>
                      <a:pt x="16629" y="-2027"/>
                      <a:pt x="25341" y="341"/>
                      <a:pt x="29271" y="7064"/>
                    </a:cubicBezTo>
                    <a:lnTo>
                      <a:pt x="81117" y="96695"/>
                    </a:ln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821" name="Forma livre: Forma 820">
              <a:extLst>
                <a:ext uri="{FF2B5EF4-FFF2-40B4-BE49-F238E27FC236}">
                  <a16:creationId xmlns:a16="http://schemas.microsoft.com/office/drawing/2014/main" id="{F4FA95E9-8D81-B225-2186-0042381E92DC}"/>
                </a:ext>
              </a:extLst>
            </p:cNvPr>
            <p:cNvSpPr/>
            <p:nvPr/>
          </p:nvSpPr>
          <p:spPr>
            <a:xfrm>
              <a:off x="8076334" y="2661584"/>
              <a:ext cx="37878" cy="74574"/>
            </a:xfrm>
            <a:custGeom>
              <a:avLst/>
              <a:gdLst>
                <a:gd name="connsiteX0" fmla="*/ 0 w 37878"/>
                <a:gd name="connsiteY0" fmla="*/ 33144 h 74574"/>
                <a:gd name="connsiteX1" fmla="*/ 18939 w 37878"/>
                <a:gd name="connsiteY1" fmla="*/ 0 h 74574"/>
                <a:gd name="connsiteX2" fmla="*/ 37879 w 37878"/>
                <a:gd name="connsiteY2" fmla="*/ 74574 h 745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7878" h="74574">
                  <a:moveTo>
                    <a:pt x="0" y="33144"/>
                  </a:moveTo>
                  <a:cubicBezTo>
                    <a:pt x="0" y="33144"/>
                    <a:pt x="16572" y="17756"/>
                    <a:pt x="18939" y="0"/>
                  </a:cubicBezTo>
                  <a:cubicBezTo>
                    <a:pt x="18939" y="0"/>
                    <a:pt x="34328" y="34328"/>
                    <a:pt x="37879" y="74574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22" name="Forma livre: Forma 821">
              <a:extLst>
                <a:ext uri="{FF2B5EF4-FFF2-40B4-BE49-F238E27FC236}">
                  <a16:creationId xmlns:a16="http://schemas.microsoft.com/office/drawing/2014/main" id="{84F493C5-8616-AEF1-F61D-CF5F1B162C5B}"/>
                </a:ext>
              </a:extLst>
            </p:cNvPr>
            <p:cNvSpPr/>
            <p:nvPr/>
          </p:nvSpPr>
          <p:spPr>
            <a:xfrm>
              <a:off x="8158105" y="2666698"/>
              <a:ext cx="7907" cy="42613"/>
            </a:xfrm>
            <a:custGeom>
              <a:avLst/>
              <a:gdLst>
                <a:gd name="connsiteX0" fmla="*/ 0 w 7907"/>
                <a:gd name="connsiteY0" fmla="*/ 0 h 42613"/>
                <a:gd name="connsiteX1" fmla="*/ 7907 w 7907"/>
                <a:gd name="connsiteY1" fmla="*/ 42614 h 426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907" h="42613">
                  <a:moveTo>
                    <a:pt x="0" y="0"/>
                  </a:moveTo>
                  <a:cubicBezTo>
                    <a:pt x="0" y="0"/>
                    <a:pt x="1563" y="17377"/>
                    <a:pt x="7907" y="42614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23" name="Forma livre: Forma 822">
              <a:extLst>
                <a:ext uri="{FF2B5EF4-FFF2-40B4-BE49-F238E27FC236}">
                  <a16:creationId xmlns:a16="http://schemas.microsoft.com/office/drawing/2014/main" id="{B4448B2B-DAF6-CDB3-8F6E-0679670F3F10}"/>
                </a:ext>
              </a:extLst>
            </p:cNvPr>
            <p:cNvSpPr/>
            <p:nvPr/>
          </p:nvSpPr>
          <p:spPr>
            <a:xfrm>
              <a:off x="8139024" y="2680903"/>
              <a:ext cx="41051" cy="12642"/>
            </a:xfrm>
            <a:custGeom>
              <a:avLst/>
              <a:gdLst>
                <a:gd name="connsiteX0" fmla="*/ 41051 w 41051"/>
                <a:gd name="connsiteY0" fmla="*/ 0 h 12642"/>
                <a:gd name="connsiteX1" fmla="*/ 0 w 41051"/>
                <a:gd name="connsiteY1" fmla="*/ 12642 h 126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1051" h="12642">
                  <a:moveTo>
                    <a:pt x="41051" y="0"/>
                  </a:moveTo>
                  <a:cubicBezTo>
                    <a:pt x="41051" y="0"/>
                    <a:pt x="7102" y="7907"/>
                    <a:pt x="0" y="12642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24" name="Forma livre: Forma 823">
              <a:extLst>
                <a:ext uri="{FF2B5EF4-FFF2-40B4-BE49-F238E27FC236}">
                  <a16:creationId xmlns:a16="http://schemas.microsoft.com/office/drawing/2014/main" id="{B00EC8F0-4813-57C9-D1DA-450AE16C32CF}"/>
                </a:ext>
              </a:extLst>
            </p:cNvPr>
            <p:cNvSpPr/>
            <p:nvPr/>
          </p:nvSpPr>
          <p:spPr>
            <a:xfrm>
              <a:off x="8191960" y="2630978"/>
              <a:ext cx="45141" cy="41875"/>
            </a:xfrm>
            <a:custGeom>
              <a:avLst/>
              <a:gdLst>
                <a:gd name="connsiteX0" fmla="*/ 0 w 45141"/>
                <a:gd name="connsiteY0" fmla="*/ 13087 h 41875"/>
                <a:gd name="connsiteX1" fmla="*/ 29356 w 45141"/>
                <a:gd name="connsiteY1" fmla="*/ 918 h 41875"/>
                <a:gd name="connsiteX2" fmla="*/ 44697 w 45141"/>
                <a:gd name="connsiteY2" fmla="*/ 23977 h 41875"/>
                <a:gd name="connsiteX3" fmla="*/ 21780 w 45141"/>
                <a:gd name="connsiteY3" fmla="*/ 41875 h 41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5141" h="41875">
                  <a:moveTo>
                    <a:pt x="0" y="13087"/>
                  </a:moveTo>
                  <a:cubicBezTo>
                    <a:pt x="0" y="13087"/>
                    <a:pt x="15057" y="-4101"/>
                    <a:pt x="29356" y="918"/>
                  </a:cubicBezTo>
                  <a:cubicBezTo>
                    <a:pt x="29356" y="918"/>
                    <a:pt x="48248" y="3191"/>
                    <a:pt x="44697" y="23977"/>
                  </a:cubicBezTo>
                  <a:cubicBezTo>
                    <a:pt x="44697" y="23977"/>
                    <a:pt x="38968" y="39744"/>
                    <a:pt x="21780" y="41875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25" name="Forma livre: Forma 824">
              <a:extLst>
                <a:ext uri="{FF2B5EF4-FFF2-40B4-BE49-F238E27FC236}">
                  <a16:creationId xmlns:a16="http://schemas.microsoft.com/office/drawing/2014/main" id="{BDF784AC-E627-2F45-ACC1-855DF5B87E23}"/>
                </a:ext>
              </a:extLst>
            </p:cNvPr>
            <p:cNvSpPr/>
            <p:nvPr/>
          </p:nvSpPr>
          <p:spPr>
            <a:xfrm>
              <a:off x="8216960" y="2668900"/>
              <a:ext cx="37091" cy="40471"/>
            </a:xfrm>
            <a:custGeom>
              <a:avLst/>
              <a:gdLst>
                <a:gd name="connsiteX0" fmla="*/ 805 w 37091"/>
                <a:gd name="connsiteY0" fmla="*/ 39844 h 40471"/>
                <a:gd name="connsiteX1" fmla="*/ 31392 w 37091"/>
                <a:gd name="connsiteY1" fmla="*/ 31085 h 40471"/>
                <a:gd name="connsiteX2" fmla="*/ 29072 w 37091"/>
                <a:gd name="connsiteY2" fmla="*/ 3480 h 40471"/>
                <a:gd name="connsiteX3" fmla="*/ 0 w 37091"/>
                <a:gd name="connsiteY3" fmla="*/ 3244 h 404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7091" h="40471">
                  <a:moveTo>
                    <a:pt x="805" y="39844"/>
                  </a:moveTo>
                  <a:cubicBezTo>
                    <a:pt x="805" y="39844"/>
                    <a:pt x="23296" y="43963"/>
                    <a:pt x="31392" y="31085"/>
                  </a:cubicBezTo>
                  <a:cubicBezTo>
                    <a:pt x="31392" y="31085"/>
                    <a:pt x="45644" y="15175"/>
                    <a:pt x="29072" y="3480"/>
                  </a:cubicBezTo>
                  <a:cubicBezTo>
                    <a:pt x="29072" y="3480"/>
                    <a:pt x="18040" y="-4190"/>
                    <a:pt x="0" y="3244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826" name="Gráfico 11">
            <a:extLst>
              <a:ext uri="{FF2B5EF4-FFF2-40B4-BE49-F238E27FC236}">
                <a16:creationId xmlns:a16="http://schemas.microsoft.com/office/drawing/2014/main" id="{4B640729-1F0E-C475-3D28-CD2011E55601}"/>
              </a:ext>
            </a:extLst>
          </p:cNvPr>
          <p:cNvGrpSpPr/>
          <p:nvPr/>
        </p:nvGrpSpPr>
        <p:grpSpPr>
          <a:xfrm>
            <a:off x="8037483" y="3115927"/>
            <a:ext cx="262711" cy="286142"/>
            <a:chOff x="8037483" y="3115927"/>
            <a:chExt cx="262711" cy="286142"/>
          </a:xfrm>
          <a:noFill/>
        </p:grpSpPr>
        <p:sp>
          <p:nvSpPr>
            <p:cNvPr id="827" name="Forma livre: Forma 826">
              <a:extLst>
                <a:ext uri="{FF2B5EF4-FFF2-40B4-BE49-F238E27FC236}">
                  <a16:creationId xmlns:a16="http://schemas.microsoft.com/office/drawing/2014/main" id="{198429FE-0675-782B-8E4D-B4685F56E717}"/>
                </a:ext>
              </a:extLst>
            </p:cNvPr>
            <p:cNvSpPr/>
            <p:nvPr/>
          </p:nvSpPr>
          <p:spPr>
            <a:xfrm>
              <a:off x="8196126" y="3157656"/>
              <a:ext cx="12831" cy="12784"/>
            </a:xfrm>
            <a:custGeom>
              <a:avLst/>
              <a:gdLst>
                <a:gd name="connsiteX0" fmla="*/ 0 w 12831"/>
                <a:gd name="connsiteY0" fmla="*/ 12784 h 12784"/>
                <a:gd name="connsiteX1" fmla="*/ 12831 w 12831"/>
                <a:gd name="connsiteY1" fmla="*/ 0 h 127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1" h="12784">
                  <a:moveTo>
                    <a:pt x="0" y="12784"/>
                  </a:moveTo>
                  <a:lnTo>
                    <a:pt x="12831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28" name="Forma livre: Forma 827">
              <a:extLst>
                <a:ext uri="{FF2B5EF4-FFF2-40B4-BE49-F238E27FC236}">
                  <a16:creationId xmlns:a16="http://schemas.microsoft.com/office/drawing/2014/main" id="{ACA49A87-9F3B-47D7-9D4F-198AF28CA182}"/>
                </a:ext>
              </a:extLst>
            </p:cNvPr>
            <p:cNvSpPr/>
            <p:nvPr/>
          </p:nvSpPr>
          <p:spPr>
            <a:xfrm>
              <a:off x="8139355" y="3214474"/>
              <a:ext cx="12784" cy="12784"/>
            </a:xfrm>
            <a:custGeom>
              <a:avLst/>
              <a:gdLst>
                <a:gd name="connsiteX0" fmla="*/ 0 w 12784"/>
                <a:gd name="connsiteY0" fmla="*/ 12784 h 12784"/>
                <a:gd name="connsiteX1" fmla="*/ 12784 w 12784"/>
                <a:gd name="connsiteY1" fmla="*/ 0 h 127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784" h="12784">
                  <a:moveTo>
                    <a:pt x="0" y="12784"/>
                  </a:moveTo>
                  <a:lnTo>
                    <a:pt x="12784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29" name="Forma livre: Forma 828">
              <a:extLst>
                <a:ext uri="{FF2B5EF4-FFF2-40B4-BE49-F238E27FC236}">
                  <a16:creationId xmlns:a16="http://schemas.microsoft.com/office/drawing/2014/main" id="{BB35DCB9-D12C-0CCF-4EC1-7D72A5F5B1B7}"/>
                </a:ext>
              </a:extLst>
            </p:cNvPr>
            <p:cNvSpPr/>
            <p:nvPr/>
          </p:nvSpPr>
          <p:spPr>
            <a:xfrm>
              <a:off x="8143522" y="3161823"/>
              <a:ext cx="61269" cy="61269"/>
            </a:xfrm>
            <a:custGeom>
              <a:avLst/>
              <a:gdLst>
                <a:gd name="connsiteX0" fmla="*/ 61269 w 61269"/>
                <a:gd name="connsiteY0" fmla="*/ 30635 h 61269"/>
                <a:gd name="connsiteX1" fmla="*/ 30635 w 61269"/>
                <a:gd name="connsiteY1" fmla="*/ 61269 h 61269"/>
                <a:gd name="connsiteX2" fmla="*/ 0 w 61269"/>
                <a:gd name="connsiteY2" fmla="*/ 30635 h 61269"/>
                <a:gd name="connsiteX3" fmla="*/ 30635 w 61269"/>
                <a:gd name="connsiteY3" fmla="*/ 0 h 61269"/>
                <a:gd name="connsiteX4" fmla="*/ 61269 w 61269"/>
                <a:gd name="connsiteY4" fmla="*/ 30635 h 612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1269" h="61269">
                  <a:moveTo>
                    <a:pt x="61269" y="30635"/>
                  </a:moveTo>
                  <a:cubicBezTo>
                    <a:pt x="61269" y="47538"/>
                    <a:pt x="47538" y="61269"/>
                    <a:pt x="30635" y="61269"/>
                  </a:cubicBezTo>
                  <a:cubicBezTo>
                    <a:pt x="13731" y="61269"/>
                    <a:pt x="0" y="47538"/>
                    <a:pt x="0" y="30635"/>
                  </a:cubicBezTo>
                  <a:cubicBezTo>
                    <a:pt x="0" y="13731"/>
                    <a:pt x="13731" y="0"/>
                    <a:pt x="30635" y="0"/>
                  </a:cubicBezTo>
                  <a:cubicBezTo>
                    <a:pt x="47538" y="0"/>
                    <a:pt x="61269" y="13731"/>
                    <a:pt x="61269" y="30635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30" name="Forma livre: Forma 829">
              <a:extLst>
                <a:ext uri="{FF2B5EF4-FFF2-40B4-BE49-F238E27FC236}">
                  <a16:creationId xmlns:a16="http://schemas.microsoft.com/office/drawing/2014/main" id="{DC444596-3C92-9778-2AED-AA2C0AC3BA0E}"/>
                </a:ext>
              </a:extLst>
            </p:cNvPr>
            <p:cNvSpPr/>
            <p:nvPr/>
          </p:nvSpPr>
          <p:spPr>
            <a:xfrm>
              <a:off x="8195748" y="3295441"/>
              <a:ext cx="5823" cy="14725"/>
            </a:xfrm>
            <a:custGeom>
              <a:avLst/>
              <a:gdLst>
                <a:gd name="connsiteX0" fmla="*/ 5824 w 5823"/>
                <a:gd name="connsiteY0" fmla="*/ 0 h 14725"/>
                <a:gd name="connsiteX1" fmla="*/ 0 w 5823"/>
                <a:gd name="connsiteY1" fmla="*/ 14725 h 147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823" h="14725">
                  <a:moveTo>
                    <a:pt x="5824" y="0"/>
                  </a:moveTo>
                  <a:lnTo>
                    <a:pt x="0" y="14725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31" name="Forma livre: Forma 830">
              <a:extLst>
                <a:ext uri="{FF2B5EF4-FFF2-40B4-BE49-F238E27FC236}">
                  <a16:creationId xmlns:a16="http://schemas.microsoft.com/office/drawing/2014/main" id="{86829D3E-0AEB-B810-E59B-4F7326BECEBD}"/>
                </a:ext>
              </a:extLst>
            </p:cNvPr>
            <p:cNvSpPr/>
            <p:nvPr/>
          </p:nvSpPr>
          <p:spPr>
            <a:xfrm>
              <a:off x="8217623" y="3240232"/>
              <a:ext cx="5776" cy="14630"/>
            </a:xfrm>
            <a:custGeom>
              <a:avLst/>
              <a:gdLst>
                <a:gd name="connsiteX0" fmla="*/ 5777 w 5776"/>
                <a:gd name="connsiteY0" fmla="*/ 0 h 14630"/>
                <a:gd name="connsiteX1" fmla="*/ 0 w 5776"/>
                <a:gd name="connsiteY1" fmla="*/ 14631 h 146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776" h="14630">
                  <a:moveTo>
                    <a:pt x="5777" y="0"/>
                  </a:moveTo>
                  <a:lnTo>
                    <a:pt x="0" y="14631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32" name="Forma livre: Forma 831">
              <a:extLst>
                <a:ext uri="{FF2B5EF4-FFF2-40B4-BE49-F238E27FC236}">
                  <a16:creationId xmlns:a16="http://schemas.microsoft.com/office/drawing/2014/main" id="{3A404E0E-483B-5A30-618F-950DC675F524}"/>
                </a:ext>
              </a:extLst>
            </p:cNvPr>
            <p:cNvSpPr/>
            <p:nvPr/>
          </p:nvSpPr>
          <p:spPr>
            <a:xfrm>
              <a:off x="8175104" y="3283888"/>
              <a:ext cx="14488" cy="6250"/>
            </a:xfrm>
            <a:custGeom>
              <a:avLst/>
              <a:gdLst>
                <a:gd name="connsiteX0" fmla="*/ 14489 w 14488"/>
                <a:gd name="connsiteY0" fmla="*/ 0 h 6250"/>
                <a:gd name="connsiteX1" fmla="*/ 0 w 14488"/>
                <a:gd name="connsiteY1" fmla="*/ 6250 h 6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4488" h="6250">
                  <a:moveTo>
                    <a:pt x="14489" y="0"/>
                  </a:moveTo>
                  <a:lnTo>
                    <a:pt x="0" y="625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33" name="Forma livre: Forma 832">
              <a:extLst>
                <a:ext uri="{FF2B5EF4-FFF2-40B4-BE49-F238E27FC236}">
                  <a16:creationId xmlns:a16="http://schemas.microsoft.com/office/drawing/2014/main" id="{D596CAE8-7972-CB38-ECDE-7A7561068F50}"/>
                </a:ext>
              </a:extLst>
            </p:cNvPr>
            <p:cNvSpPr/>
            <p:nvPr/>
          </p:nvSpPr>
          <p:spPr>
            <a:xfrm>
              <a:off x="8229649" y="3260261"/>
              <a:ext cx="14441" cy="6250"/>
            </a:xfrm>
            <a:custGeom>
              <a:avLst/>
              <a:gdLst>
                <a:gd name="connsiteX0" fmla="*/ 14441 w 14441"/>
                <a:gd name="connsiteY0" fmla="*/ 0 h 6250"/>
                <a:gd name="connsiteX1" fmla="*/ 0 w 14441"/>
                <a:gd name="connsiteY1" fmla="*/ 6250 h 6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4441" h="6250">
                  <a:moveTo>
                    <a:pt x="14441" y="0"/>
                  </a:moveTo>
                  <a:lnTo>
                    <a:pt x="0" y="625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34" name="Forma livre: Forma 833">
              <a:extLst>
                <a:ext uri="{FF2B5EF4-FFF2-40B4-BE49-F238E27FC236}">
                  <a16:creationId xmlns:a16="http://schemas.microsoft.com/office/drawing/2014/main" id="{245EE71F-10CE-A412-BF8C-DC4F39C2C8D2}"/>
                </a:ext>
              </a:extLst>
            </p:cNvPr>
            <p:cNvSpPr/>
            <p:nvPr/>
          </p:nvSpPr>
          <p:spPr>
            <a:xfrm>
              <a:off x="8229839" y="3283225"/>
              <a:ext cx="14725" cy="5776"/>
            </a:xfrm>
            <a:custGeom>
              <a:avLst/>
              <a:gdLst>
                <a:gd name="connsiteX0" fmla="*/ 0 w 14725"/>
                <a:gd name="connsiteY0" fmla="*/ 0 h 5776"/>
                <a:gd name="connsiteX1" fmla="*/ 14725 w 14725"/>
                <a:gd name="connsiteY1" fmla="*/ 5777 h 57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4725" h="5776">
                  <a:moveTo>
                    <a:pt x="0" y="0"/>
                  </a:moveTo>
                  <a:lnTo>
                    <a:pt x="14725" y="5777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35" name="Forma livre: Forma 834">
              <a:extLst>
                <a:ext uri="{FF2B5EF4-FFF2-40B4-BE49-F238E27FC236}">
                  <a16:creationId xmlns:a16="http://schemas.microsoft.com/office/drawing/2014/main" id="{C1C863AB-1782-3624-B470-928427446634}"/>
                </a:ext>
              </a:extLst>
            </p:cNvPr>
            <p:cNvSpPr/>
            <p:nvPr/>
          </p:nvSpPr>
          <p:spPr>
            <a:xfrm>
              <a:off x="8174630" y="3261397"/>
              <a:ext cx="14630" cy="5776"/>
            </a:xfrm>
            <a:custGeom>
              <a:avLst/>
              <a:gdLst>
                <a:gd name="connsiteX0" fmla="*/ 0 w 14630"/>
                <a:gd name="connsiteY0" fmla="*/ 0 h 5776"/>
                <a:gd name="connsiteX1" fmla="*/ 14631 w 14630"/>
                <a:gd name="connsiteY1" fmla="*/ 5777 h 57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4630" h="5776">
                  <a:moveTo>
                    <a:pt x="0" y="0"/>
                  </a:moveTo>
                  <a:lnTo>
                    <a:pt x="14631" y="5777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36" name="Forma livre: Forma 835">
              <a:extLst>
                <a:ext uri="{FF2B5EF4-FFF2-40B4-BE49-F238E27FC236}">
                  <a16:creationId xmlns:a16="http://schemas.microsoft.com/office/drawing/2014/main" id="{C8431450-C06F-FF5E-8472-4441B039E8C7}"/>
                </a:ext>
              </a:extLst>
            </p:cNvPr>
            <p:cNvSpPr/>
            <p:nvPr/>
          </p:nvSpPr>
          <p:spPr>
            <a:xfrm>
              <a:off x="8188157" y="3253780"/>
              <a:ext cx="42833" cy="42838"/>
            </a:xfrm>
            <a:custGeom>
              <a:avLst/>
              <a:gdLst>
                <a:gd name="connsiteX0" fmla="*/ 41351 w 42833"/>
                <a:gd name="connsiteY0" fmla="*/ 29303 h 42838"/>
                <a:gd name="connsiteX1" fmla="*/ 13557 w 42833"/>
                <a:gd name="connsiteY1" fmla="*/ 41329 h 42838"/>
                <a:gd name="connsiteX2" fmla="*/ 1483 w 42833"/>
                <a:gd name="connsiteY2" fmla="*/ 13536 h 42838"/>
                <a:gd name="connsiteX3" fmla="*/ 29277 w 42833"/>
                <a:gd name="connsiteY3" fmla="*/ 1509 h 42838"/>
                <a:gd name="connsiteX4" fmla="*/ 41351 w 42833"/>
                <a:gd name="connsiteY4" fmla="*/ 29303 h 428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2833" h="42838">
                  <a:moveTo>
                    <a:pt x="41351" y="29303"/>
                  </a:moveTo>
                  <a:cubicBezTo>
                    <a:pt x="36995" y="40288"/>
                    <a:pt x="24542" y="45685"/>
                    <a:pt x="13557" y="41329"/>
                  </a:cubicBezTo>
                  <a:cubicBezTo>
                    <a:pt x="2572" y="36973"/>
                    <a:pt x="-2826" y="24521"/>
                    <a:pt x="1483" y="13536"/>
                  </a:cubicBezTo>
                  <a:cubicBezTo>
                    <a:pt x="5839" y="2551"/>
                    <a:pt x="18292" y="-2847"/>
                    <a:pt x="29277" y="1509"/>
                  </a:cubicBezTo>
                  <a:cubicBezTo>
                    <a:pt x="40262" y="5865"/>
                    <a:pt x="45659" y="18318"/>
                    <a:pt x="41351" y="29303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837" name="Gráfico 11">
              <a:extLst>
                <a:ext uri="{FF2B5EF4-FFF2-40B4-BE49-F238E27FC236}">
                  <a16:creationId xmlns:a16="http://schemas.microsoft.com/office/drawing/2014/main" id="{DE09CB93-DF0D-65D3-761A-71F7A7478AB9}"/>
                </a:ext>
              </a:extLst>
            </p:cNvPr>
            <p:cNvGrpSpPr/>
            <p:nvPr/>
          </p:nvGrpSpPr>
          <p:grpSpPr>
            <a:xfrm>
              <a:off x="8037483" y="3115927"/>
              <a:ext cx="262711" cy="286142"/>
              <a:chOff x="8037483" y="3115927"/>
              <a:chExt cx="262711" cy="286142"/>
            </a:xfrm>
            <a:noFill/>
          </p:grpSpPr>
          <p:sp>
            <p:nvSpPr>
              <p:cNvPr id="838" name="Forma livre: Forma 837">
                <a:extLst>
                  <a:ext uri="{FF2B5EF4-FFF2-40B4-BE49-F238E27FC236}">
                    <a16:creationId xmlns:a16="http://schemas.microsoft.com/office/drawing/2014/main" id="{B581E1C4-E210-AFC8-2009-746A754A053E}"/>
                  </a:ext>
                </a:extLst>
              </p:cNvPr>
              <p:cNvSpPr/>
              <p:nvPr/>
            </p:nvSpPr>
            <p:spPr>
              <a:xfrm>
                <a:off x="8037483" y="3115927"/>
                <a:ext cx="262711" cy="286142"/>
              </a:xfrm>
              <a:custGeom>
                <a:avLst/>
                <a:gdLst>
                  <a:gd name="connsiteX0" fmla="*/ 226115 w 262711"/>
                  <a:gd name="connsiteY0" fmla="*/ 286143 h 286142"/>
                  <a:gd name="connsiteX1" fmla="*/ 221617 w 262711"/>
                  <a:gd name="connsiteY1" fmla="*/ 227288 h 286142"/>
                  <a:gd name="connsiteX2" fmla="*/ 245812 w 262711"/>
                  <a:gd name="connsiteY2" fmla="*/ 167771 h 286142"/>
                  <a:gd name="connsiteX3" fmla="*/ 220575 w 262711"/>
                  <a:gd name="connsiteY3" fmla="*/ 23499 h 286142"/>
                  <a:gd name="connsiteX4" fmla="*/ 70670 w 262711"/>
                  <a:gd name="connsiteY4" fmla="*/ 19759 h 286142"/>
                  <a:gd name="connsiteX5" fmla="*/ 34590 w 262711"/>
                  <a:gd name="connsiteY5" fmla="*/ 102903 h 286142"/>
                  <a:gd name="connsiteX6" fmla="*/ 30944 w 262711"/>
                  <a:gd name="connsiteY6" fmla="*/ 128898 h 286142"/>
                  <a:gd name="connsiteX7" fmla="*/ 641 w 262711"/>
                  <a:gd name="connsiteY7" fmla="*/ 164551 h 286142"/>
                  <a:gd name="connsiteX8" fmla="*/ 8738 w 262711"/>
                  <a:gd name="connsiteY8" fmla="*/ 176152 h 286142"/>
                  <a:gd name="connsiteX9" fmla="*/ 27204 w 262711"/>
                  <a:gd name="connsiteY9" fmla="*/ 179939 h 286142"/>
                  <a:gd name="connsiteX10" fmla="*/ 35679 w 262711"/>
                  <a:gd name="connsiteY10" fmla="*/ 206597 h 286142"/>
                  <a:gd name="connsiteX11" fmla="*/ 33738 w 262711"/>
                  <a:gd name="connsiteY11" fmla="*/ 232496 h 286142"/>
                  <a:gd name="connsiteX12" fmla="*/ 37478 w 262711"/>
                  <a:gd name="connsiteY12" fmla="*/ 257544 h 286142"/>
                  <a:gd name="connsiteX13" fmla="*/ 101067 w 262711"/>
                  <a:gd name="connsiteY13" fmla="*/ 255034 h 286142"/>
                  <a:gd name="connsiteX14" fmla="*/ 109590 w 262711"/>
                  <a:gd name="connsiteY14" fmla="*/ 285716 h 2861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262711" h="286142">
                    <a:moveTo>
                      <a:pt x="226115" y="286143"/>
                    </a:moveTo>
                    <a:cubicBezTo>
                      <a:pt x="223700" y="272175"/>
                      <a:pt x="220244" y="249447"/>
                      <a:pt x="221617" y="227288"/>
                    </a:cubicBezTo>
                    <a:cubicBezTo>
                      <a:pt x="221617" y="227288"/>
                      <a:pt x="229666" y="190972"/>
                      <a:pt x="245812" y="167771"/>
                    </a:cubicBezTo>
                    <a:cubicBezTo>
                      <a:pt x="245812" y="167771"/>
                      <a:pt x="297280" y="79986"/>
                      <a:pt x="220575" y="23499"/>
                    </a:cubicBezTo>
                    <a:cubicBezTo>
                      <a:pt x="220575" y="23499"/>
                      <a:pt x="152725" y="-26785"/>
                      <a:pt x="70670" y="19759"/>
                    </a:cubicBezTo>
                    <a:cubicBezTo>
                      <a:pt x="70670" y="19759"/>
                      <a:pt x="24883" y="39551"/>
                      <a:pt x="34590" y="102903"/>
                    </a:cubicBezTo>
                    <a:cubicBezTo>
                      <a:pt x="34590" y="102903"/>
                      <a:pt x="36531" y="120612"/>
                      <a:pt x="30944" y="128898"/>
                    </a:cubicBezTo>
                    <a:lnTo>
                      <a:pt x="641" y="164551"/>
                    </a:lnTo>
                    <a:cubicBezTo>
                      <a:pt x="641" y="164551"/>
                      <a:pt x="-3384" y="175157"/>
                      <a:pt x="8738" y="176152"/>
                    </a:cubicBezTo>
                    <a:lnTo>
                      <a:pt x="27204" y="179939"/>
                    </a:lnTo>
                    <a:cubicBezTo>
                      <a:pt x="27204" y="179939"/>
                      <a:pt x="34921" y="194996"/>
                      <a:pt x="35679" y="206597"/>
                    </a:cubicBezTo>
                    <a:cubicBezTo>
                      <a:pt x="36437" y="218197"/>
                      <a:pt x="33738" y="232496"/>
                      <a:pt x="33738" y="232496"/>
                    </a:cubicBezTo>
                    <a:cubicBezTo>
                      <a:pt x="33738" y="232496"/>
                      <a:pt x="27156" y="249873"/>
                      <a:pt x="37478" y="257544"/>
                    </a:cubicBezTo>
                    <a:cubicBezTo>
                      <a:pt x="39514" y="258065"/>
                      <a:pt x="47090" y="266635"/>
                      <a:pt x="101067" y="255034"/>
                    </a:cubicBezTo>
                    <a:cubicBezTo>
                      <a:pt x="101067" y="255034"/>
                      <a:pt x="106276" y="257496"/>
                      <a:pt x="109590" y="285716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839" name="Forma livre: Forma 838">
                <a:extLst>
                  <a:ext uri="{FF2B5EF4-FFF2-40B4-BE49-F238E27FC236}">
                    <a16:creationId xmlns:a16="http://schemas.microsoft.com/office/drawing/2014/main" id="{0BB33669-9E74-8431-9A98-30C58BA1B3F6}"/>
                  </a:ext>
                </a:extLst>
              </p:cNvPr>
              <p:cNvSpPr/>
              <p:nvPr/>
            </p:nvSpPr>
            <p:spPr>
              <a:xfrm>
                <a:off x="8075529" y="3323329"/>
                <a:ext cx="23153" cy="378"/>
              </a:xfrm>
              <a:custGeom>
                <a:avLst/>
                <a:gdLst>
                  <a:gd name="connsiteX0" fmla="*/ 0 w 23153"/>
                  <a:gd name="connsiteY0" fmla="*/ 0 h 378"/>
                  <a:gd name="connsiteX1" fmla="*/ 23153 w 23153"/>
                  <a:gd name="connsiteY1" fmla="*/ 379 h 3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3153" h="378">
                    <a:moveTo>
                      <a:pt x="0" y="0"/>
                    </a:moveTo>
                    <a:lnTo>
                      <a:pt x="23153" y="379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840" name="Forma livre: Forma 839">
              <a:extLst>
                <a:ext uri="{FF2B5EF4-FFF2-40B4-BE49-F238E27FC236}">
                  <a16:creationId xmlns:a16="http://schemas.microsoft.com/office/drawing/2014/main" id="{AB21ABD1-F874-6455-616C-A430AAB611FB}"/>
                </a:ext>
              </a:extLst>
            </p:cNvPr>
            <p:cNvSpPr/>
            <p:nvPr/>
          </p:nvSpPr>
          <p:spPr>
            <a:xfrm>
              <a:off x="8174157" y="3143215"/>
              <a:ext cx="4734" cy="18134"/>
            </a:xfrm>
            <a:custGeom>
              <a:avLst/>
              <a:gdLst>
                <a:gd name="connsiteX0" fmla="*/ 0 w 4734"/>
                <a:gd name="connsiteY0" fmla="*/ 18134 h 18134"/>
                <a:gd name="connsiteX1" fmla="*/ 0 w 4734"/>
                <a:gd name="connsiteY1" fmla="*/ 0 h 181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734" h="18134">
                  <a:moveTo>
                    <a:pt x="0" y="18134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41" name="Forma livre: Forma 840">
              <a:extLst>
                <a:ext uri="{FF2B5EF4-FFF2-40B4-BE49-F238E27FC236}">
                  <a16:creationId xmlns:a16="http://schemas.microsoft.com/office/drawing/2014/main" id="{9DF9682E-3ED3-42E6-B671-9E60DA2FED65}"/>
                </a:ext>
              </a:extLst>
            </p:cNvPr>
            <p:cNvSpPr/>
            <p:nvPr/>
          </p:nvSpPr>
          <p:spPr>
            <a:xfrm>
              <a:off x="8174157" y="3223565"/>
              <a:ext cx="4734" cy="18087"/>
            </a:xfrm>
            <a:custGeom>
              <a:avLst/>
              <a:gdLst>
                <a:gd name="connsiteX0" fmla="*/ 0 w 4734"/>
                <a:gd name="connsiteY0" fmla="*/ 18087 h 18087"/>
                <a:gd name="connsiteX1" fmla="*/ 0 w 4734"/>
                <a:gd name="connsiteY1" fmla="*/ 0 h 180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734" h="18087">
                  <a:moveTo>
                    <a:pt x="0" y="18087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42" name="Forma livre: Forma 841">
              <a:extLst>
                <a:ext uri="{FF2B5EF4-FFF2-40B4-BE49-F238E27FC236}">
                  <a16:creationId xmlns:a16="http://schemas.microsoft.com/office/drawing/2014/main" id="{3E9D7592-D4FF-D40F-234D-797F74C112E2}"/>
                </a:ext>
              </a:extLst>
            </p:cNvPr>
            <p:cNvSpPr/>
            <p:nvPr/>
          </p:nvSpPr>
          <p:spPr>
            <a:xfrm>
              <a:off x="8205217" y="3192457"/>
              <a:ext cx="18134" cy="4734"/>
            </a:xfrm>
            <a:custGeom>
              <a:avLst/>
              <a:gdLst>
                <a:gd name="connsiteX0" fmla="*/ 0 w 18134"/>
                <a:gd name="connsiteY0" fmla="*/ 0 h 4734"/>
                <a:gd name="connsiteX1" fmla="*/ 18135 w 18134"/>
                <a:gd name="connsiteY1" fmla="*/ 0 h 47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134" h="4734">
                  <a:moveTo>
                    <a:pt x="0" y="0"/>
                  </a:moveTo>
                  <a:lnTo>
                    <a:pt x="18135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43" name="Forma livre: Forma 842">
              <a:extLst>
                <a:ext uri="{FF2B5EF4-FFF2-40B4-BE49-F238E27FC236}">
                  <a16:creationId xmlns:a16="http://schemas.microsoft.com/office/drawing/2014/main" id="{92CE7302-753D-11FB-1155-8444A4AD1FA1}"/>
                </a:ext>
              </a:extLst>
            </p:cNvPr>
            <p:cNvSpPr/>
            <p:nvPr/>
          </p:nvSpPr>
          <p:spPr>
            <a:xfrm>
              <a:off x="8124914" y="3192457"/>
              <a:ext cx="18087" cy="4734"/>
            </a:xfrm>
            <a:custGeom>
              <a:avLst/>
              <a:gdLst>
                <a:gd name="connsiteX0" fmla="*/ 0 w 18087"/>
                <a:gd name="connsiteY0" fmla="*/ 0 h 4734"/>
                <a:gd name="connsiteX1" fmla="*/ 18087 w 18087"/>
                <a:gd name="connsiteY1" fmla="*/ 0 h 47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087" h="4734">
                  <a:moveTo>
                    <a:pt x="0" y="0"/>
                  </a:moveTo>
                  <a:lnTo>
                    <a:pt x="18087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44" name="Forma livre: Forma 843">
              <a:extLst>
                <a:ext uri="{FF2B5EF4-FFF2-40B4-BE49-F238E27FC236}">
                  <a16:creationId xmlns:a16="http://schemas.microsoft.com/office/drawing/2014/main" id="{921C5422-5DE3-806A-DB3C-713095D71EE2}"/>
                </a:ext>
              </a:extLst>
            </p:cNvPr>
            <p:cNvSpPr/>
            <p:nvPr/>
          </p:nvSpPr>
          <p:spPr>
            <a:xfrm>
              <a:off x="8139355" y="3157609"/>
              <a:ext cx="12784" cy="12831"/>
            </a:xfrm>
            <a:custGeom>
              <a:avLst/>
              <a:gdLst>
                <a:gd name="connsiteX0" fmla="*/ 12784 w 12784"/>
                <a:gd name="connsiteY0" fmla="*/ 12831 h 12831"/>
                <a:gd name="connsiteX1" fmla="*/ 0 w 12784"/>
                <a:gd name="connsiteY1" fmla="*/ 0 h 12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784" h="12831">
                  <a:moveTo>
                    <a:pt x="12784" y="12831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45" name="Forma livre: Forma 844">
              <a:extLst>
                <a:ext uri="{FF2B5EF4-FFF2-40B4-BE49-F238E27FC236}">
                  <a16:creationId xmlns:a16="http://schemas.microsoft.com/office/drawing/2014/main" id="{D3909DEB-C1CE-5E22-9105-C3A2DAF20D35}"/>
                </a:ext>
              </a:extLst>
            </p:cNvPr>
            <p:cNvSpPr/>
            <p:nvPr/>
          </p:nvSpPr>
          <p:spPr>
            <a:xfrm>
              <a:off x="8196174" y="3214474"/>
              <a:ext cx="12784" cy="12784"/>
            </a:xfrm>
            <a:custGeom>
              <a:avLst/>
              <a:gdLst>
                <a:gd name="connsiteX0" fmla="*/ 12784 w 12784"/>
                <a:gd name="connsiteY0" fmla="*/ 12784 h 12784"/>
                <a:gd name="connsiteX1" fmla="*/ 0 w 12784"/>
                <a:gd name="connsiteY1" fmla="*/ 0 h 127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784" h="12784">
                  <a:moveTo>
                    <a:pt x="12784" y="12784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46" name="Forma livre: Forma 845">
              <a:extLst>
                <a:ext uri="{FF2B5EF4-FFF2-40B4-BE49-F238E27FC236}">
                  <a16:creationId xmlns:a16="http://schemas.microsoft.com/office/drawing/2014/main" id="{51664B1E-3DB4-C28E-42D0-AD9DE53DB7DD}"/>
                </a:ext>
              </a:extLst>
            </p:cNvPr>
            <p:cNvSpPr/>
            <p:nvPr/>
          </p:nvSpPr>
          <p:spPr>
            <a:xfrm>
              <a:off x="8218238" y="3295204"/>
              <a:ext cx="6297" cy="14488"/>
            </a:xfrm>
            <a:custGeom>
              <a:avLst/>
              <a:gdLst>
                <a:gd name="connsiteX0" fmla="*/ 0 w 6297"/>
                <a:gd name="connsiteY0" fmla="*/ 0 h 14488"/>
                <a:gd name="connsiteX1" fmla="*/ 6297 w 6297"/>
                <a:gd name="connsiteY1" fmla="*/ 14489 h 144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97" h="14488">
                  <a:moveTo>
                    <a:pt x="0" y="0"/>
                  </a:moveTo>
                  <a:lnTo>
                    <a:pt x="6297" y="14489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47" name="Forma livre: Forma 846">
              <a:extLst>
                <a:ext uri="{FF2B5EF4-FFF2-40B4-BE49-F238E27FC236}">
                  <a16:creationId xmlns:a16="http://schemas.microsoft.com/office/drawing/2014/main" id="{F2DBF82D-29CD-5ECE-DAB3-1CED23D4401F}"/>
                </a:ext>
              </a:extLst>
            </p:cNvPr>
            <p:cNvSpPr/>
            <p:nvPr/>
          </p:nvSpPr>
          <p:spPr>
            <a:xfrm>
              <a:off x="8194611" y="3240706"/>
              <a:ext cx="6297" cy="14441"/>
            </a:xfrm>
            <a:custGeom>
              <a:avLst/>
              <a:gdLst>
                <a:gd name="connsiteX0" fmla="*/ 0 w 6297"/>
                <a:gd name="connsiteY0" fmla="*/ 0 h 14441"/>
                <a:gd name="connsiteX1" fmla="*/ 6297 w 6297"/>
                <a:gd name="connsiteY1" fmla="*/ 14441 h 144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97" h="14441">
                  <a:moveTo>
                    <a:pt x="0" y="0"/>
                  </a:moveTo>
                  <a:lnTo>
                    <a:pt x="6297" y="14441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876" name="Gráfico 11">
            <a:extLst>
              <a:ext uri="{FF2B5EF4-FFF2-40B4-BE49-F238E27FC236}">
                <a16:creationId xmlns:a16="http://schemas.microsoft.com/office/drawing/2014/main" id="{098055D3-5738-99C3-5544-EB33892ECD84}"/>
              </a:ext>
            </a:extLst>
          </p:cNvPr>
          <p:cNvGrpSpPr/>
          <p:nvPr/>
        </p:nvGrpSpPr>
        <p:grpSpPr>
          <a:xfrm>
            <a:off x="9214975" y="2612910"/>
            <a:ext cx="384565" cy="226799"/>
            <a:chOff x="9214975" y="2612910"/>
            <a:chExt cx="384565" cy="226799"/>
          </a:xfrm>
          <a:noFill/>
        </p:grpSpPr>
        <p:sp>
          <p:nvSpPr>
            <p:cNvPr id="877" name="Forma livre: Forma 876">
              <a:extLst>
                <a:ext uri="{FF2B5EF4-FFF2-40B4-BE49-F238E27FC236}">
                  <a16:creationId xmlns:a16="http://schemas.microsoft.com/office/drawing/2014/main" id="{C21F0B48-2A53-0E7A-1FE5-1B148B03797B}"/>
                </a:ext>
              </a:extLst>
            </p:cNvPr>
            <p:cNvSpPr/>
            <p:nvPr/>
          </p:nvSpPr>
          <p:spPr>
            <a:xfrm>
              <a:off x="9214975" y="2612910"/>
              <a:ext cx="364631" cy="119791"/>
            </a:xfrm>
            <a:custGeom>
              <a:avLst/>
              <a:gdLst>
                <a:gd name="connsiteX0" fmla="*/ 181109 w 364631"/>
                <a:gd name="connsiteY0" fmla="*/ 119792 h 119791"/>
                <a:gd name="connsiteX1" fmla="*/ 0 w 364631"/>
                <a:gd name="connsiteY1" fmla="*/ 59943 h 119791"/>
                <a:gd name="connsiteX2" fmla="*/ 183523 w 364631"/>
                <a:gd name="connsiteY2" fmla="*/ 0 h 119791"/>
                <a:gd name="connsiteX3" fmla="*/ 364632 w 364631"/>
                <a:gd name="connsiteY3" fmla="*/ 59849 h 119791"/>
                <a:gd name="connsiteX4" fmla="*/ 181109 w 364631"/>
                <a:gd name="connsiteY4" fmla="*/ 119792 h 1197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64631" h="119791">
                  <a:moveTo>
                    <a:pt x="181109" y="119792"/>
                  </a:moveTo>
                  <a:lnTo>
                    <a:pt x="0" y="59943"/>
                  </a:lnTo>
                  <a:lnTo>
                    <a:pt x="183523" y="0"/>
                  </a:lnTo>
                  <a:lnTo>
                    <a:pt x="364632" y="59849"/>
                  </a:lnTo>
                  <a:lnTo>
                    <a:pt x="181109" y="119792"/>
                  </a:ln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78" name="Forma livre: Forma 877">
              <a:extLst>
                <a:ext uri="{FF2B5EF4-FFF2-40B4-BE49-F238E27FC236}">
                  <a16:creationId xmlns:a16="http://schemas.microsoft.com/office/drawing/2014/main" id="{F4AF8C34-33AE-D05D-6854-CC39CF6BA93E}"/>
                </a:ext>
              </a:extLst>
            </p:cNvPr>
            <p:cNvSpPr/>
            <p:nvPr/>
          </p:nvSpPr>
          <p:spPr>
            <a:xfrm>
              <a:off x="9283157" y="2696906"/>
              <a:ext cx="228220" cy="117187"/>
            </a:xfrm>
            <a:custGeom>
              <a:avLst/>
              <a:gdLst>
                <a:gd name="connsiteX0" fmla="*/ 228220 w 228220"/>
                <a:gd name="connsiteY0" fmla="*/ 0 h 117187"/>
                <a:gd name="connsiteX1" fmla="*/ 228220 w 228220"/>
                <a:gd name="connsiteY1" fmla="*/ 75947 h 117187"/>
                <a:gd name="connsiteX2" fmla="*/ 115010 w 228220"/>
                <a:gd name="connsiteY2" fmla="*/ 117188 h 117187"/>
                <a:gd name="connsiteX3" fmla="*/ 113211 w 228220"/>
                <a:gd name="connsiteY3" fmla="*/ 117188 h 117187"/>
                <a:gd name="connsiteX4" fmla="*/ 0 w 228220"/>
                <a:gd name="connsiteY4" fmla="*/ 75947 h 117187"/>
                <a:gd name="connsiteX5" fmla="*/ 0 w 228220"/>
                <a:gd name="connsiteY5" fmla="*/ 29119 h 1171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28220" h="117187">
                  <a:moveTo>
                    <a:pt x="228220" y="0"/>
                  </a:moveTo>
                  <a:lnTo>
                    <a:pt x="228220" y="75947"/>
                  </a:lnTo>
                  <a:cubicBezTo>
                    <a:pt x="201800" y="101089"/>
                    <a:pt x="160891" y="117188"/>
                    <a:pt x="115010" y="117188"/>
                  </a:cubicBezTo>
                  <a:lnTo>
                    <a:pt x="113211" y="117188"/>
                  </a:lnTo>
                  <a:cubicBezTo>
                    <a:pt x="67330" y="117188"/>
                    <a:pt x="26420" y="101089"/>
                    <a:pt x="0" y="75947"/>
                  </a:cubicBezTo>
                  <a:lnTo>
                    <a:pt x="0" y="29119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79" name="Forma livre: Forma 878">
              <a:extLst>
                <a:ext uri="{FF2B5EF4-FFF2-40B4-BE49-F238E27FC236}">
                  <a16:creationId xmlns:a16="http://schemas.microsoft.com/office/drawing/2014/main" id="{5C154018-39F6-1BE1-60A9-CAA01F436F4E}"/>
                </a:ext>
              </a:extLst>
            </p:cNvPr>
            <p:cNvSpPr/>
            <p:nvPr/>
          </p:nvSpPr>
          <p:spPr>
            <a:xfrm>
              <a:off x="9579701" y="2806850"/>
              <a:ext cx="4734" cy="32859"/>
            </a:xfrm>
            <a:custGeom>
              <a:avLst/>
              <a:gdLst>
                <a:gd name="connsiteX0" fmla="*/ 0 w 4734"/>
                <a:gd name="connsiteY0" fmla="*/ 0 h 32859"/>
                <a:gd name="connsiteX1" fmla="*/ 0 w 4734"/>
                <a:gd name="connsiteY1" fmla="*/ 32860 h 328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734" h="32859">
                  <a:moveTo>
                    <a:pt x="0" y="0"/>
                  </a:moveTo>
                  <a:lnTo>
                    <a:pt x="0" y="3286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80" name="Forma livre: Forma 879">
              <a:extLst>
                <a:ext uri="{FF2B5EF4-FFF2-40B4-BE49-F238E27FC236}">
                  <a16:creationId xmlns:a16="http://schemas.microsoft.com/office/drawing/2014/main" id="{08BF1148-F716-AF98-D672-028863C32DDC}"/>
                </a:ext>
              </a:extLst>
            </p:cNvPr>
            <p:cNvSpPr/>
            <p:nvPr/>
          </p:nvSpPr>
          <p:spPr>
            <a:xfrm>
              <a:off x="9579701" y="2672759"/>
              <a:ext cx="4734" cy="94555"/>
            </a:xfrm>
            <a:custGeom>
              <a:avLst/>
              <a:gdLst>
                <a:gd name="connsiteX0" fmla="*/ 0 w 4734"/>
                <a:gd name="connsiteY0" fmla="*/ 0 h 94555"/>
                <a:gd name="connsiteX1" fmla="*/ 0 w 4734"/>
                <a:gd name="connsiteY1" fmla="*/ 94555 h 945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734" h="94555">
                  <a:moveTo>
                    <a:pt x="0" y="0"/>
                  </a:moveTo>
                  <a:lnTo>
                    <a:pt x="0" y="94555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81" name="Forma livre: Forma 880">
              <a:extLst>
                <a:ext uri="{FF2B5EF4-FFF2-40B4-BE49-F238E27FC236}">
                  <a16:creationId xmlns:a16="http://schemas.microsoft.com/office/drawing/2014/main" id="{44A18A89-9B10-7DED-164B-30E3B4CFC864}"/>
                </a:ext>
              </a:extLst>
            </p:cNvPr>
            <p:cNvSpPr/>
            <p:nvPr/>
          </p:nvSpPr>
          <p:spPr>
            <a:xfrm>
              <a:off x="9559862" y="2767267"/>
              <a:ext cx="39678" cy="39678"/>
            </a:xfrm>
            <a:custGeom>
              <a:avLst/>
              <a:gdLst>
                <a:gd name="connsiteX0" fmla="*/ 39678 w 39678"/>
                <a:gd name="connsiteY0" fmla="*/ 19839 h 39678"/>
                <a:gd name="connsiteX1" fmla="*/ 19839 w 39678"/>
                <a:gd name="connsiteY1" fmla="*/ 39678 h 39678"/>
                <a:gd name="connsiteX2" fmla="*/ 0 w 39678"/>
                <a:gd name="connsiteY2" fmla="*/ 19839 h 39678"/>
                <a:gd name="connsiteX3" fmla="*/ 19839 w 39678"/>
                <a:gd name="connsiteY3" fmla="*/ 0 h 39678"/>
                <a:gd name="connsiteX4" fmla="*/ 39678 w 39678"/>
                <a:gd name="connsiteY4" fmla="*/ 19839 h 396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678" h="39678">
                  <a:moveTo>
                    <a:pt x="39678" y="19839"/>
                  </a:moveTo>
                  <a:cubicBezTo>
                    <a:pt x="39678" y="30824"/>
                    <a:pt x="30777" y="39678"/>
                    <a:pt x="19839" y="39678"/>
                  </a:cubicBezTo>
                  <a:cubicBezTo>
                    <a:pt x="8901" y="39678"/>
                    <a:pt x="0" y="30777"/>
                    <a:pt x="0" y="19839"/>
                  </a:cubicBezTo>
                  <a:cubicBezTo>
                    <a:pt x="0" y="8902"/>
                    <a:pt x="8901" y="0"/>
                    <a:pt x="19839" y="0"/>
                  </a:cubicBezTo>
                  <a:cubicBezTo>
                    <a:pt x="30777" y="0"/>
                    <a:pt x="39678" y="8902"/>
                    <a:pt x="39678" y="19839"/>
                  </a:cubicBez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882" name="Gráfico 11">
            <a:extLst>
              <a:ext uri="{FF2B5EF4-FFF2-40B4-BE49-F238E27FC236}">
                <a16:creationId xmlns:a16="http://schemas.microsoft.com/office/drawing/2014/main" id="{513ADF55-324B-D4F5-A05C-E22AEA1836BC}"/>
              </a:ext>
            </a:extLst>
          </p:cNvPr>
          <p:cNvGrpSpPr/>
          <p:nvPr/>
        </p:nvGrpSpPr>
        <p:grpSpPr>
          <a:xfrm>
            <a:off x="9263412" y="3120298"/>
            <a:ext cx="287643" cy="277368"/>
            <a:chOff x="9263412" y="3120298"/>
            <a:chExt cx="287643" cy="277368"/>
          </a:xfrm>
          <a:noFill/>
        </p:grpSpPr>
        <p:sp>
          <p:nvSpPr>
            <p:cNvPr id="883" name="Forma livre: Forma 882">
              <a:extLst>
                <a:ext uri="{FF2B5EF4-FFF2-40B4-BE49-F238E27FC236}">
                  <a16:creationId xmlns:a16="http://schemas.microsoft.com/office/drawing/2014/main" id="{C7DC29D9-207E-BF4D-FA7A-1EC462842924}"/>
                </a:ext>
              </a:extLst>
            </p:cNvPr>
            <p:cNvSpPr/>
            <p:nvPr/>
          </p:nvSpPr>
          <p:spPr>
            <a:xfrm>
              <a:off x="9281263" y="3120298"/>
              <a:ext cx="60322" cy="60274"/>
            </a:xfrm>
            <a:custGeom>
              <a:avLst/>
              <a:gdLst>
                <a:gd name="connsiteX0" fmla="*/ 60322 w 60322"/>
                <a:gd name="connsiteY0" fmla="*/ 30114 h 60274"/>
                <a:gd name="connsiteX1" fmla="*/ 30161 w 60322"/>
                <a:gd name="connsiteY1" fmla="*/ 60275 h 60274"/>
                <a:gd name="connsiteX2" fmla="*/ 0 w 60322"/>
                <a:gd name="connsiteY2" fmla="*/ 30114 h 60274"/>
                <a:gd name="connsiteX3" fmla="*/ 30161 w 60322"/>
                <a:gd name="connsiteY3" fmla="*/ 0 h 60274"/>
                <a:gd name="connsiteX4" fmla="*/ 60322 w 60322"/>
                <a:gd name="connsiteY4" fmla="*/ 30114 h 602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322" h="60274">
                  <a:moveTo>
                    <a:pt x="60322" y="30114"/>
                  </a:moveTo>
                  <a:cubicBezTo>
                    <a:pt x="60322" y="46780"/>
                    <a:pt x="46828" y="60275"/>
                    <a:pt x="30161" y="60275"/>
                  </a:cubicBezTo>
                  <a:cubicBezTo>
                    <a:pt x="13494" y="60275"/>
                    <a:pt x="0" y="46780"/>
                    <a:pt x="0" y="30114"/>
                  </a:cubicBezTo>
                  <a:cubicBezTo>
                    <a:pt x="0" y="13447"/>
                    <a:pt x="13494" y="0"/>
                    <a:pt x="30161" y="0"/>
                  </a:cubicBezTo>
                  <a:cubicBezTo>
                    <a:pt x="46828" y="0"/>
                    <a:pt x="60322" y="13494"/>
                    <a:pt x="60322" y="30114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84" name="Forma livre: Forma 883">
              <a:extLst>
                <a:ext uri="{FF2B5EF4-FFF2-40B4-BE49-F238E27FC236}">
                  <a16:creationId xmlns:a16="http://schemas.microsoft.com/office/drawing/2014/main" id="{4E082845-F65A-B79E-7155-EBD64F0B492C}"/>
                </a:ext>
              </a:extLst>
            </p:cNvPr>
            <p:cNvSpPr/>
            <p:nvPr/>
          </p:nvSpPr>
          <p:spPr>
            <a:xfrm>
              <a:off x="9263412" y="3208272"/>
              <a:ext cx="95833" cy="189394"/>
            </a:xfrm>
            <a:custGeom>
              <a:avLst/>
              <a:gdLst>
                <a:gd name="connsiteX0" fmla="*/ 72302 w 95833"/>
                <a:gd name="connsiteY0" fmla="*/ 189347 h 189394"/>
                <a:gd name="connsiteX1" fmla="*/ 72207 w 95833"/>
                <a:gd name="connsiteY1" fmla="*/ 112453 h 189394"/>
                <a:gd name="connsiteX2" fmla="*/ 95834 w 95833"/>
                <a:gd name="connsiteY2" fmla="*/ 88732 h 189394"/>
                <a:gd name="connsiteX3" fmla="*/ 95739 w 95833"/>
                <a:gd name="connsiteY3" fmla="*/ 23627 h 189394"/>
                <a:gd name="connsiteX4" fmla="*/ 72017 w 95833"/>
                <a:gd name="connsiteY4" fmla="*/ 0 h 189394"/>
                <a:gd name="connsiteX5" fmla="*/ 23627 w 95833"/>
                <a:gd name="connsiteY5" fmla="*/ 0 h 189394"/>
                <a:gd name="connsiteX6" fmla="*/ 0 w 95833"/>
                <a:gd name="connsiteY6" fmla="*/ 23769 h 189394"/>
                <a:gd name="connsiteX7" fmla="*/ 95 w 95833"/>
                <a:gd name="connsiteY7" fmla="*/ 88874 h 189394"/>
                <a:gd name="connsiteX8" fmla="*/ 23817 w 95833"/>
                <a:gd name="connsiteY8" fmla="*/ 112501 h 189394"/>
                <a:gd name="connsiteX9" fmla="*/ 23911 w 95833"/>
                <a:gd name="connsiteY9" fmla="*/ 189395 h 1893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95833" h="189394">
                  <a:moveTo>
                    <a:pt x="72302" y="189347"/>
                  </a:moveTo>
                  <a:lnTo>
                    <a:pt x="72207" y="112453"/>
                  </a:lnTo>
                  <a:cubicBezTo>
                    <a:pt x="85228" y="112453"/>
                    <a:pt x="95881" y="101752"/>
                    <a:pt x="95834" y="88732"/>
                  </a:cubicBezTo>
                  <a:lnTo>
                    <a:pt x="95739" y="23627"/>
                  </a:lnTo>
                  <a:cubicBezTo>
                    <a:pt x="95739" y="10606"/>
                    <a:pt x="85038" y="-47"/>
                    <a:pt x="72017" y="0"/>
                  </a:cubicBezTo>
                  <a:lnTo>
                    <a:pt x="23627" y="0"/>
                  </a:lnTo>
                  <a:cubicBezTo>
                    <a:pt x="10606" y="95"/>
                    <a:pt x="-47" y="10748"/>
                    <a:pt x="0" y="23769"/>
                  </a:cubicBezTo>
                  <a:lnTo>
                    <a:pt x="95" y="88874"/>
                  </a:lnTo>
                  <a:cubicBezTo>
                    <a:pt x="95" y="101895"/>
                    <a:pt x="10796" y="112548"/>
                    <a:pt x="23817" y="112501"/>
                  </a:cubicBezTo>
                  <a:lnTo>
                    <a:pt x="23911" y="189395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85" name="Forma livre: Forma 884">
              <a:extLst>
                <a:ext uri="{FF2B5EF4-FFF2-40B4-BE49-F238E27FC236}">
                  <a16:creationId xmlns:a16="http://schemas.microsoft.com/office/drawing/2014/main" id="{94FA583B-5DA9-B88B-8EEF-FA647A4EC87A}"/>
                </a:ext>
              </a:extLst>
            </p:cNvPr>
            <p:cNvSpPr/>
            <p:nvPr/>
          </p:nvSpPr>
          <p:spPr>
            <a:xfrm>
              <a:off x="9359672" y="3131898"/>
              <a:ext cx="191383" cy="166146"/>
            </a:xfrm>
            <a:custGeom>
              <a:avLst/>
              <a:gdLst>
                <a:gd name="connsiteX0" fmla="*/ 0 w 191383"/>
                <a:gd name="connsiteY0" fmla="*/ 0 h 166146"/>
                <a:gd name="connsiteX1" fmla="*/ 191383 w 191383"/>
                <a:gd name="connsiteY1" fmla="*/ 0 h 166146"/>
                <a:gd name="connsiteX2" fmla="*/ 191383 w 191383"/>
                <a:gd name="connsiteY2" fmla="*/ 166146 h 166146"/>
                <a:gd name="connsiteX3" fmla="*/ 21638 w 191383"/>
                <a:gd name="connsiteY3" fmla="*/ 166146 h 1661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1383" h="166146">
                  <a:moveTo>
                    <a:pt x="0" y="0"/>
                  </a:moveTo>
                  <a:lnTo>
                    <a:pt x="191383" y="0"/>
                  </a:lnTo>
                  <a:lnTo>
                    <a:pt x="191383" y="166146"/>
                  </a:lnTo>
                  <a:lnTo>
                    <a:pt x="21638" y="166146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886" name="Gráfico 11">
            <a:extLst>
              <a:ext uri="{FF2B5EF4-FFF2-40B4-BE49-F238E27FC236}">
                <a16:creationId xmlns:a16="http://schemas.microsoft.com/office/drawing/2014/main" id="{FE4BA963-D792-470B-5946-5899F4554E2E}"/>
              </a:ext>
            </a:extLst>
          </p:cNvPr>
          <p:cNvGrpSpPr/>
          <p:nvPr/>
        </p:nvGrpSpPr>
        <p:grpSpPr>
          <a:xfrm>
            <a:off x="9275060" y="1016882"/>
            <a:ext cx="264110" cy="266004"/>
            <a:chOff x="9275060" y="1016882"/>
            <a:chExt cx="264110" cy="266004"/>
          </a:xfrm>
        </p:grpSpPr>
        <p:grpSp>
          <p:nvGrpSpPr>
            <p:cNvPr id="887" name="Gráfico 11">
              <a:extLst>
                <a:ext uri="{FF2B5EF4-FFF2-40B4-BE49-F238E27FC236}">
                  <a16:creationId xmlns:a16="http://schemas.microsoft.com/office/drawing/2014/main" id="{B2D6F6E2-B819-BFE7-C9D5-A5D24D559457}"/>
                </a:ext>
              </a:extLst>
            </p:cNvPr>
            <p:cNvGrpSpPr/>
            <p:nvPr/>
          </p:nvGrpSpPr>
          <p:grpSpPr>
            <a:xfrm>
              <a:off x="9305505" y="1239373"/>
              <a:ext cx="203173" cy="43513"/>
              <a:chOff x="9305505" y="1239373"/>
              <a:chExt cx="203173" cy="43513"/>
            </a:xfrm>
            <a:noFill/>
          </p:grpSpPr>
          <p:sp>
            <p:nvSpPr>
              <p:cNvPr id="888" name="Forma livre: Forma 887">
                <a:extLst>
                  <a:ext uri="{FF2B5EF4-FFF2-40B4-BE49-F238E27FC236}">
                    <a16:creationId xmlns:a16="http://schemas.microsoft.com/office/drawing/2014/main" id="{D6237825-1ED3-A080-74B7-EC333C7E8B4B}"/>
                  </a:ext>
                </a:extLst>
              </p:cNvPr>
              <p:cNvSpPr/>
              <p:nvPr/>
            </p:nvSpPr>
            <p:spPr>
              <a:xfrm>
                <a:off x="9305505" y="1239373"/>
                <a:ext cx="34232" cy="43513"/>
              </a:xfrm>
              <a:custGeom>
                <a:avLst/>
                <a:gdLst>
                  <a:gd name="connsiteX0" fmla="*/ 34233 w 34232"/>
                  <a:gd name="connsiteY0" fmla="*/ 0 h 43513"/>
                  <a:gd name="connsiteX1" fmla="*/ 34233 w 34232"/>
                  <a:gd name="connsiteY1" fmla="*/ 29309 h 43513"/>
                  <a:gd name="connsiteX2" fmla="*/ 19981 w 34232"/>
                  <a:gd name="connsiteY2" fmla="*/ 43513 h 43513"/>
                  <a:gd name="connsiteX3" fmla="*/ 14205 w 34232"/>
                  <a:gd name="connsiteY3" fmla="*/ 43513 h 43513"/>
                  <a:gd name="connsiteX4" fmla="*/ 0 w 34232"/>
                  <a:gd name="connsiteY4" fmla="*/ 29309 h 43513"/>
                  <a:gd name="connsiteX5" fmla="*/ 0 w 34232"/>
                  <a:gd name="connsiteY5" fmla="*/ 0 h 435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34232" h="43513">
                    <a:moveTo>
                      <a:pt x="34233" y="0"/>
                    </a:moveTo>
                    <a:lnTo>
                      <a:pt x="34233" y="29309"/>
                    </a:lnTo>
                    <a:cubicBezTo>
                      <a:pt x="34233" y="37121"/>
                      <a:pt x="27794" y="43513"/>
                      <a:pt x="19981" y="43513"/>
                    </a:cubicBezTo>
                    <a:lnTo>
                      <a:pt x="14205" y="43513"/>
                    </a:lnTo>
                    <a:cubicBezTo>
                      <a:pt x="6392" y="43513"/>
                      <a:pt x="0" y="37121"/>
                      <a:pt x="0" y="29309"/>
                    </a:cubicBezTo>
                    <a:lnTo>
                      <a:pt x="0" y="0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889" name="Forma livre: Forma 888">
                <a:extLst>
                  <a:ext uri="{FF2B5EF4-FFF2-40B4-BE49-F238E27FC236}">
                    <a16:creationId xmlns:a16="http://schemas.microsoft.com/office/drawing/2014/main" id="{2F17901D-FC28-6C10-A77D-E8C7CECE4662}"/>
                  </a:ext>
                </a:extLst>
              </p:cNvPr>
              <p:cNvSpPr/>
              <p:nvPr/>
            </p:nvSpPr>
            <p:spPr>
              <a:xfrm>
                <a:off x="9474445" y="1239373"/>
                <a:ext cx="34233" cy="43513"/>
              </a:xfrm>
              <a:custGeom>
                <a:avLst/>
                <a:gdLst>
                  <a:gd name="connsiteX0" fmla="*/ 34233 w 34233"/>
                  <a:gd name="connsiteY0" fmla="*/ 0 h 43513"/>
                  <a:gd name="connsiteX1" fmla="*/ 34233 w 34233"/>
                  <a:gd name="connsiteY1" fmla="*/ 29309 h 43513"/>
                  <a:gd name="connsiteX2" fmla="*/ 19981 w 34233"/>
                  <a:gd name="connsiteY2" fmla="*/ 43513 h 43513"/>
                  <a:gd name="connsiteX3" fmla="*/ 14205 w 34233"/>
                  <a:gd name="connsiteY3" fmla="*/ 43513 h 43513"/>
                  <a:gd name="connsiteX4" fmla="*/ 0 w 34233"/>
                  <a:gd name="connsiteY4" fmla="*/ 29309 h 43513"/>
                  <a:gd name="connsiteX5" fmla="*/ 0 w 34233"/>
                  <a:gd name="connsiteY5" fmla="*/ 0 h 435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34233" h="43513">
                    <a:moveTo>
                      <a:pt x="34233" y="0"/>
                    </a:moveTo>
                    <a:lnTo>
                      <a:pt x="34233" y="29309"/>
                    </a:lnTo>
                    <a:cubicBezTo>
                      <a:pt x="34233" y="37121"/>
                      <a:pt x="27794" y="43513"/>
                      <a:pt x="19981" y="43513"/>
                    </a:cubicBezTo>
                    <a:lnTo>
                      <a:pt x="14205" y="43513"/>
                    </a:lnTo>
                    <a:cubicBezTo>
                      <a:pt x="6392" y="43513"/>
                      <a:pt x="0" y="37121"/>
                      <a:pt x="0" y="29309"/>
                    </a:cubicBezTo>
                    <a:lnTo>
                      <a:pt x="0" y="0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890" name="Forma livre: Forma 889">
              <a:extLst>
                <a:ext uri="{FF2B5EF4-FFF2-40B4-BE49-F238E27FC236}">
                  <a16:creationId xmlns:a16="http://schemas.microsoft.com/office/drawing/2014/main" id="{1D1A9CDE-0DB4-C7A5-C8AF-2C01D6DAD739}"/>
                </a:ext>
              </a:extLst>
            </p:cNvPr>
            <p:cNvSpPr/>
            <p:nvPr/>
          </p:nvSpPr>
          <p:spPr>
            <a:xfrm>
              <a:off x="9292200" y="1140793"/>
              <a:ext cx="229830" cy="97680"/>
            </a:xfrm>
            <a:custGeom>
              <a:avLst/>
              <a:gdLst>
                <a:gd name="connsiteX0" fmla="*/ 229830 w 229830"/>
                <a:gd name="connsiteY0" fmla="*/ 97680 h 97680"/>
                <a:gd name="connsiteX1" fmla="*/ 229830 w 229830"/>
                <a:gd name="connsiteY1" fmla="*/ 48769 h 97680"/>
                <a:gd name="connsiteX2" fmla="*/ 213448 w 229830"/>
                <a:gd name="connsiteY2" fmla="*/ 31582 h 97680"/>
                <a:gd name="connsiteX3" fmla="*/ 187074 w 229830"/>
                <a:gd name="connsiteY3" fmla="*/ 31582 h 97680"/>
                <a:gd name="connsiteX4" fmla="*/ 187074 w 229830"/>
                <a:gd name="connsiteY4" fmla="*/ 23816 h 97680"/>
                <a:gd name="connsiteX5" fmla="*/ 161412 w 229830"/>
                <a:gd name="connsiteY5" fmla="*/ 0 h 97680"/>
                <a:gd name="connsiteX6" fmla="*/ 68419 w 229830"/>
                <a:gd name="connsiteY6" fmla="*/ 0 h 97680"/>
                <a:gd name="connsiteX7" fmla="*/ 42756 w 229830"/>
                <a:gd name="connsiteY7" fmla="*/ 23816 h 97680"/>
                <a:gd name="connsiteX8" fmla="*/ 42756 w 229830"/>
                <a:gd name="connsiteY8" fmla="*/ 31582 h 97680"/>
                <a:gd name="connsiteX9" fmla="*/ 16383 w 229830"/>
                <a:gd name="connsiteY9" fmla="*/ 31582 h 97680"/>
                <a:gd name="connsiteX10" fmla="*/ 0 w 229830"/>
                <a:gd name="connsiteY10" fmla="*/ 48769 h 97680"/>
                <a:gd name="connsiteX11" fmla="*/ 0 w 229830"/>
                <a:gd name="connsiteY11" fmla="*/ 97680 h 976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29830" h="97680">
                  <a:moveTo>
                    <a:pt x="229830" y="97680"/>
                  </a:moveTo>
                  <a:cubicBezTo>
                    <a:pt x="229830" y="97680"/>
                    <a:pt x="229830" y="67945"/>
                    <a:pt x="229830" y="48769"/>
                  </a:cubicBezTo>
                  <a:cubicBezTo>
                    <a:pt x="229830" y="29546"/>
                    <a:pt x="213448" y="31582"/>
                    <a:pt x="213448" y="31582"/>
                  </a:cubicBezTo>
                  <a:lnTo>
                    <a:pt x="187074" y="31582"/>
                  </a:lnTo>
                  <a:lnTo>
                    <a:pt x="187074" y="23816"/>
                  </a:lnTo>
                  <a:cubicBezTo>
                    <a:pt x="187074" y="10701"/>
                    <a:pt x="175521" y="0"/>
                    <a:pt x="161412" y="0"/>
                  </a:cubicBezTo>
                  <a:lnTo>
                    <a:pt x="68419" y="0"/>
                  </a:lnTo>
                  <a:cubicBezTo>
                    <a:pt x="54309" y="0"/>
                    <a:pt x="42756" y="10701"/>
                    <a:pt x="42756" y="23816"/>
                  </a:cubicBezTo>
                  <a:lnTo>
                    <a:pt x="42756" y="31582"/>
                  </a:lnTo>
                  <a:cubicBezTo>
                    <a:pt x="42756" y="31582"/>
                    <a:pt x="16383" y="31582"/>
                    <a:pt x="16383" y="31582"/>
                  </a:cubicBezTo>
                  <a:cubicBezTo>
                    <a:pt x="16383" y="31582"/>
                    <a:pt x="0" y="29593"/>
                    <a:pt x="0" y="48769"/>
                  </a:cubicBezTo>
                  <a:cubicBezTo>
                    <a:pt x="0" y="67993"/>
                    <a:pt x="0" y="97680"/>
                    <a:pt x="0" y="97680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91" name="Forma livre: Forma 890">
              <a:extLst>
                <a:ext uri="{FF2B5EF4-FFF2-40B4-BE49-F238E27FC236}">
                  <a16:creationId xmlns:a16="http://schemas.microsoft.com/office/drawing/2014/main" id="{549B82BE-2C07-763E-40BE-A052CFBC6482}"/>
                </a:ext>
              </a:extLst>
            </p:cNvPr>
            <p:cNvSpPr/>
            <p:nvPr/>
          </p:nvSpPr>
          <p:spPr>
            <a:xfrm>
              <a:off x="9407115" y="1065083"/>
              <a:ext cx="47" cy="43181"/>
            </a:xfrm>
            <a:custGeom>
              <a:avLst/>
              <a:gdLst>
                <a:gd name="connsiteX0" fmla="*/ 47 w 47"/>
                <a:gd name="connsiteY0" fmla="*/ 0 h 43181"/>
                <a:gd name="connsiteX1" fmla="*/ 0 w 47"/>
                <a:gd name="connsiteY1" fmla="*/ 43182 h 431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7" h="43181">
                  <a:moveTo>
                    <a:pt x="47" y="0"/>
                  </a:moveTo>
                  <a:lnTo>
                    <a:pt x="0" y="43182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92" name="Forma livre: Forma 891">
              <a:extLst>
                <a:ext uri="{FF2B5EF4-FFF2-40B4-BE49-F238E27FC236}">
                  <a16:creationId xmlns:a16="http://schemas.microsoft.com/office/drawing/2014/main" id="{1C214378-7BF7-17A7-C630-59341B2E4537}"/>
                </a:ext>
              </a:extLst>
            </p:cNvPr>
            <p:cNvSpPr/>
            <p:nvPr/>
          </p:nvSpPr>
          <p:spPr>
            <a:xfrm>
              <a:off x="9392201" y="1041740"/>
              <a:ext cx="29876" cy="47"/>
            </a:xfrm>
            <a:custGeom>
              <a:avLst/>
              <a:gdLst>
                <a:gd name="connsiteX0" fmla="*/ 0 w 29876"/>
                <a:gd name="connsiteY0" fmla="*/ 0 h 47"/>
                <a:gd name="connsiteX1" fmla="*/ 29877 w 29876"/>
                <a:gd name="connsiteY1" fmla="*/ 47 h 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9876" h="47">
                  <a:moveTo>
                    <a:pt x="0" y="0"/>
                  </a:moveTo>
                  <a:lnTo>
                    <a:pt x="29877" y="47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893" name="Gráfico 11">
              <a:extLst>
                <a:ext uri="{FF2B5EF4-FFF2-40B4-BE49-F238E27FC236}">
                  <a16:creationId xmlns:a16="http://schemas.microsoft.com/office/drawing/2014/main" id="{60959571-49E2-BFE1-87A3-9B1E1BC40F6A}"/>
                </a:ext>
              </a:extLst>
            </p:cNvPr>
            <p:cNvGrpSpPr/>
            <p:nvPr/>
          </p:nvGrpSpPr>
          <p:grpSpPr>
            <a:xfrm>
              <a:off x="9371273" y="1177347"/>
              <a:ext cx="71733" cy="26420"/>
              <a:chOff x="9371273" y="1177347"/>
              <a:chExt cx="71733" cy="26420"/>
            </a:xfrm>
          </p:grpSpPr>
          <p:sp>
            <p:nvSpPr>
              <p:cNvPr id="894" name="Forma livre: Forma 893">
                <a:extLst>
                  <a:ext uri="{FF2B5EF4-FFF2-40B4-BE49-F238E27FC236}">
                    <a16:creationId xmlns:a16="http://schemas.microsoft.com/office/drawing/2014/main" id="{296B12FD-4543-C8AA-A2C0-A10945C25F02}"/>
                  </a:ext>
                </a:extLst>
              </p:cNvPr>
              <p:cNvSpPr/>
              <p:nvPr/>
            </p:nvSpPr>
            <p:spPr>
              <a:xfrm>
                <a:off x="9371273" y="1177347"/>
                <a:ext cx="71733" cy="4734"/>
              </a:xfrm>
              <a:custGeom>
                <a:avLst/>
                <a:gdLst>
                  <a:gd name="connsiteX0" fmla="*/ 0 w 71733"/>
                  <a:gd name="connsiteY0" fmla="*/ 0 h 4734"/>
                  <a:gd name="connsiteX1" fmla="*/ 71733 w 71733"/>
                  <a:gd name="connsiteY1" fmla="*/ 0 h 47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71733" h="4734">
                    <a:moveTo>
                      <a:pt x="0" y="0"/>
                    </a:moveTo>
                    <a:lnTo>
                      <a:pt x="71733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895" name="Forma livre: Forma 894">
                <a:extLst>
                  <a:ext uri="{FF2B5EF4-FFF2-40B4-BE49-F238E27FC236}">
                    <a16:creationId xmlns:a16="http://schemas.microsoft.com/office/drawing/2014/main" id="{F7053A08-7782-0883-71E2-5F3F01533A98}"/>
                  </a:ext>
                </a:extLst>
              </p:cNvPr>
              <p:cNvSpPr/>
              <p:nvPr/>
            </p:nvSpPr>
            <p:spPr>
              <a:xfrm>
                <a:off x="9371273" y="1203767"/>
                <a:ext cx="71733" cy="4734"/>
              </a:xfrm>
              <a:custGeom>
                <a:avLst/>
                <a:gdLst>
                  <a:gd name="connsiteX0" fmla="*/ 0 w 71733"/>
                  <a:gd name="connsiteY0" fmla="*/ 0 h 4734"/>
                  <a:gd name="connsiteX1" fmla="*/ 71733 w 71733"/>
                  <a:gd name="connsiteY1" fmla="*/ 0 h 47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71733" h="4734">
                    <a:moveTo>
                      <a:pt x="0" y="0"/>
                    </a:moveTo>
                    <a:lnTo>
                      <a:pt x="71733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896" name="Forma livre: Forma 895">
              <a:extLst>
                <a:ext uri="{FF2B5EF4-FFF2-40B4-BE49-F238E27FC236}">
                  <a16:creationId xmlns:a16="http://schemas.microsoft.com/office/drawing/2014/main" id="{E83AB976-34FF-ECE9-EB7F-ED91D20D142D}"/>
                </a:ext>
              </a:extLst>
            </p:cNvPr>
            <p:cNvSpPr/>
            <p:nvPr/>
          </p:nvSpPr>
          <p:spPr>
            <a:xfrm>
              <a:off x="9280316" y="1239089"/>
              <a:ext cx="253646" cy="4734"/>
            </a:xfrm>
            <a:custGeom>
              <a:avLst/>
              <a:gdLst>
                <a:gd name="connsiteX0" fmla="*/ 0 w 253646"/>
                <a:gd name="connsiteY0" fmla="*/ 0 h 4734"/>
                <a:gd name="connsiteX1" fmla="*/ 253647 w 253646"/>
                <a:gd name="connsiteY1" fmla="*/ 0 h 47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53646" h="4734">
                  <a:moveTo>
                    <a:pt x="0" y="0"/>
                  </a:moveTo>
                  <a:lnTo>
                    <a:pt x="253647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897" name="Gráfico 11">
              <a:extLst>
                <a:ext uri="{FF2B5EF4-FFF2-40B4-BE49-F238E27FC236}">
                  <a16:creationId xmlns:a16="http://schemas.microsoft.com/office/drawing/2014/main" id="{90E6E9E6-305B-8EB0-6D5B-A1F6F126E622}"/>
                </a:ext>
              </a:extLst>
            </p:cNvPr>
            <p:cNvGrpSpPr/>
            <p:nvPr/>
          </p:nvGrpSpPr>
          <p:grpSpPr>
            <a:xfrm>
              <a:off x="9303138" y="1016882"/>
              <a:ext cx="208002" cy="134564"/>
              <a:chOff x="9303138" y="1016882"/>
              <a:chExt cx="208002" cy="134564"/>
            </a:xfrm>
            <a:noFill/>
          </p:grpSpPr>
          <p:sp>
            <p:nvSpPr>
              <p:cNvPr id="898" name="Forma livre: Forma 897">
                <a:extLst>
                  <a:ext uri="{FF2B5EF4-FFF2-40B4-BE49-F238E27FC236}">
                    <a16:creationId xmlns:a16="http://schemas.microsoft.com/office/drawing/2014/main" id="{4B87D6D1-B10C-C09F-E8F9-C9C5BBA1E13F}"/>
                  </a:ext>
                </a:extLst>
              </p:cNvPr>
              <p:cNvSpPr/>
              <p:nvPr/>
            </p:nvSpPr>
            <p:spPr>
              <a:xfrm>
                <a:off x="9304464" y="1063331"/>
                <a:ext cx="204072" cy="4734"/>
              </a:xfrm>
              <a:custGeom>
                <a:avLst/>
                <a:gdLst>
                  <a:gd name="connsiteX0" fmla="*/ 0 w 204072"/>
                  <a:gd name="connsiteY0" fmla="*/ 0 h 4734"/>
                  <a:gd name="connsiteX1" fmla="*/ 204073 w 204072"/>
                  <a:gd name="connsiteY1" fmla="*/ 0 h 47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04072" h="4734">
                    <a:moveTo>
                      <a:pt x="0" y="0"/>
                    </a:moveTo>
                    <a:lnTo>
                      <a:pt x="204073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899" name="Forma livre: Forma 898">
                <a:extLst>
                  <a:ext uri="{FF2B5EF4-FFF2-40B4-BE49-F238E27FC236}">
                    <a16:creationId xmlns:a16="http://schemas.microsoft.com/office/drawing/2014/main" id="{57F31F67-556B-586B-6338-7F704163A059}"/>
                  </a:ext>
                </a:extLst>
              </p:cNvPr>
              <p:cNvSpPr/>
              <p:nvPr/>
            </p:nvSpPr>
            <p:spPr>
              <a:xfrm>
                <a:off x="9304464" y="1109922"/>
                <a:ext cx="204072" cy="4734"/>
              </a:xfrm>
              <a:custGeom>
                <a:avLst/>
                <a:gdLst>
                  <a:gd name="connsiteX0" fmla="*/ 0 w 204072"/>
                  <a:gd name="connsiteY0" fmla="*/ 0 h 4734"/>
                  <a:gd name="connsiteX1" fmla="*/ 204073 w 204072"/>
                  <a:gd name="connsiteY1" fmla="*/ 0 h 47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04072" h="4734">
                    <a:moveTo>
                      <a:pt x="0" y="0"/>
                    </a:moveTo>
                    <a:lnTo>
                      <a:pt x="204073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00" name="Forma livre: Forma 899">
                <a:extLst>
                  <a:ext uri="{FF2B5EF4-FFF2-40B4-BE49-F238E27FC236}">
                    <a16:creationId xmlns:a16="http://schemas.microsoft.com/office/drawing/2014/main" id="{2411A5C4-1C38-EE5A-E6A7-FC91DE79070F}"/>
                  </a:ext>
                </a:extLst>
              </p:cNvPr>
              <p:cNvSpPr/>
              <p:nvPr/>
            </p:nvSpPr>
            <p:spPr>
              <a:xfrm>
                <a:off x="9303138" y="1016882"/>
                <a:ext cx="208002" cy="134564"/>
              </a:xfrm>
              <a:custGeom>
                <a:avLst/>
                <a:gdLst>
                  <a:gd name="connsiteX0" fmla="*/ 208003 w 208002"/>
                  <a:gd name="connsiteY0" fmla="*/ 134565 h 134564"/>
                  <a:gd name="connsiteX1" fmla="*/ 208003 w 208002"/>
                  <a:gd name="connsiteY1" fmla="*/ 24716 h 134564"/>
                  <a:gd name="connsiteX2" fmla="*/ 105398 w 208002"/>
                  <a:gd name="connsiteY2" fmla="*/ 0 h 134564"/>
                  <a:gd name="connsiteX3" fmla="*/ 0 w 208002"/>
                  <a:gd name="connsiteY3" fmla="*/ 24953 h 134564"/>
                  <a:gd name="connsiteX4" fmla="*/ 0 w 208002"/>
                  <a:gd name="connsiteY4" fmla="*/ 134565 h 1345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08002" h="134564">
                    <a:moveTo>
                      <a:pt x="208003" y="134565"/>
                    </a:moveTo>
                    <a:lnTo>
                      <a:pt x="208003" y="24716"/>
                    </a:lnTo>
                    <a:cubicBezTo>
                      <a:pt x="186885" y="13589"/>
                      <a:pt x="149101" y="0"/>
                      <a:pt x="105398" y="0"/>
                    </a:cubicBezTo>
                    <a:cubicBezTo>
                      <a:pt x="59423" y="0"/>
                      <a:pt x="20360" y="12879"/>
                      <a:pt x="0" y="24953"/>
                    </a:cubicBezTo>
                    <a:lnTo>
                      <a:pt x="0" y="134565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901" name="Gráfico 11">
              <a:extLst>
                <a:ext uri="{FF2B5EF4-FFF2-40B4-BE49-F238E27FC236}">
                  <a16:creationId xmlns:a16="http://schemas.microsoft.com/office/drawing/2014/main" id="{F2B74D70-B5E3-52DD-7A82-BAB5FE7A43A5}"/>
                </a:ext>
              </a:extLst>
            </p:cNvPr>
            <p:cNvGrpSpPr/>
            <p:nvPr/>
          </p:nvGrpSpPr>
          <p:grpSpPr>
            <a:xfrm>
              <a:off x="9275060" y="1074269"/>
              <a:ext cx="264110" cy="22348"/>
              <a:chOff x="9275060" y="1074269"/>
              <a:chExt cx="264110" cy="22348"/>
            </a:xfrm>
          </p:grpSpPr>
          <p:sp>
            <p:nvSpPr>
              <p:cNvPr id="902" name="Forma livre: Forma 901">
                <a:extLst>
                  <a:ext uri="{FF2B5EF4-FFF2-40B4-BE49-F238E27FC236}">
                    <a16:creationId xmlns:a16="http://schemas.microsoft.com/office/drawing/2014/main" id="{BD57B98F-C523-6435-8334-7FCB478365D9}"/>
                  </a:ext>
                </a:extLst>
              </p:cNvPr>
              <p:cNvSpPr/>
              <p:nvPr/>
            </p:nvSpPr>
            <p:spPr>
              <a:xfrm>
                <a:off x="9275060" y="1074269"/>
                <a:ext cx="4734" cy="22348"/>
              </a:xfrm>
              <a:custGeom>
                <a:avLst/>
                <a:gdLst>
                  <a:gd name="connsiteX0" fmla="*/ 0 w 4734"/>
                  <a:gd name="connsiteY0" fmla="*/ 0 h 22348"/>
                  <a:gd name="connsiteX1" fmla="*/ 0 w 4734"/>
                  <a:gd name="connsiteY1" fmla="*/ 22349 h 223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34" h="22348">
                    <a:moveTo>
                      <a:pt x="0" y="0"/>
                    </a:moveTo>
                    <a:lnTo>
                      <a:pt x="0" y="22349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03" name="Forma livre: Forma 902">
                <a:extLst>
                  <a:ext uri="{FF2B5EF4-FFF2-40B4-BE49-F238E27FC236}">
                    <a16:creationId xmlns:a16="http://schemas.microsoft.com/office/drawing/2014/main" id="{A92D4456-2866-5121-E49F-A0F7CD512A51}"/>
                  </a:ext>
                </a:extLst>
              </p:cNvPr>
              <p:cNvSpPr/>
              <p:nvPr/>
            </p:nvSpPr>
            <p:spPr>
              <a:xfrm>
                <a:off x="9539171" y="1074269"/>
                <a:ext cx="4734" cy="22348"/>
              </a:xfrm>
              <a:custGeom>
                <a:avLst/>
                <a:gdLst>
                  <a:gd name="connsiteX0" fmla="*/ 0 w 4734"/>
                  <a:gd name="connsiteY0" fmla="*/ 0 h 22348"/>
                  <a:gd name="connsiteX1" fmla="*/ 0 w 4734"/>
                  <a:gd name="connsiteY1" fmla="*/ 22349 h 223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34" h="22348">
                    <a:moveTo>
                      <a:pt x="0" y="0"/>
                    </a:moveTo>
                    <a:lnTo>
                      <a:pt x="0" y="22349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904" name="Gráfico 11">
              <a:extLst>
                <a:ext uri="{FF2B5EF4-FFF2-40B4-BE49-F238E27FC236}">
                  <a16:creationId xmlns:a16="http://schemas.microsoft.com/office/drawing/2014/main" id="{45C93B2E-CF02-2740-92FF-8E1588901504}"/>
                </a:ext>
              </a:extLst>
            </p:cNvPr>
            <p:cNvGrpSpPr/>
            <p:nvPr/>
          </p:nvGrpSpPr>
          <p:grpSpPr>
            <a:xfrm>
              <a:off x="9321272" y="1202252"/>
              <a:ext cx="171686" cy="7386"/>
              <a:chOff x="9321272" y="1202252"/>
              <a:chExt cx="171686" cy="7386"/>
            </a:xfrm>
            <a:solidFill>
              <a:srgbClr val="394553"/>
            </a:solidFill>
          </p:grpSpPr>
          <p:sp>
            <p:nvSpPr>
              <p:cNvPr id="905" name="Forma livre: Forma 904">
                <a:extLst>
                  <a:ext uri="{FF2B5EF4-FFF2-40B4-BE49-F238E27FC236}">
                    <a16:creationId xmlns:a16="http://schemas.microsoft.com/office/drawing/2014/main" id="{510C9219-1386-8633-C8CB-7643802BEFB6}"/>
                  </a:ext>
                </a:extLst>
              </p:cNvPr>
              <p:cNvSpPr/>
              <p:nvPr/>
            </p:nvSpPr>
            <p:spPr>
              <a:xfrm>
                <a:off x="9321272" y="1202252"/>
                <a:ext cx="7386" cy="7386"/>
              </a:xfrm>
              <a:custGeom>
                <a:avLst/>
                <a:gdLst>
                  <a:gd name="connsiteX0" fmla="*/ 7386 w 7386"/>
                  <a:gd name="connsiteY0" fmla="*/ 3693 h 7386"/>
                  <a:gd name="connsiteX1" fmla="*/ 3693 w 7386"/>
                  <a:gd name="connsiteY1" fmla="*/ 7386 h 7386"/>
                  <a:gd name="connsiteX2" fmla="*/ 0 w 7386"/>
                  <a:gd name="connsiteY2" fmla="*/ 3693 h 7386"/>
                  <a:gd name="connsiteX3" fmla="*/ 3693 w 7386"/>
                  <a:gd name="connsiteY3" fmla="*/ 0 h 7386"/>
                  <a:gd name="connsiteX4" fmla="*/ 7386 w 7386"/>
                  <a:gd name="connsiteY4" fmla="*/ 3693 h 73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386" h="7386">
                    <a:moveTo>
                      <a:pt x="7386" y="3693"/>
                    </a:moveTo>
                    <a:cubicBezTo>
                      <a:pt x="7386" y="5729"/>
                      <a:pt x="5729" y="7386"/>
                      <a:pt x="3693" y="7386"/>
                    </a:cubicBezTo>
                    <a:cubicBezTo>
                      <a:pt x="1657" y="7386"/>
                      <a:pt x="0" y="5729"/>
                      <a:pt x="0" y="3693"/>
                    </a:cubicBezTo>
                    <a:cubicBezTo>
                      <a:pt x="0" y="1657"/>
                      <a:pt x="1657" y="0"/>
                      <a:pt x="3693" y="0"/>
                    </a:cubicBezTo>
                    <a:cubicBezTo>
                      <a:pt x="5729" y="0"/>
                      <a:pt x="7386" y="1657"/>
                      <a:pt x="7386" y="3693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06" name="Forma livre: Forma 905">
                <a:extLst>
                  <a:ext uri="{FF2B5EF4-FFF2-40B4-BE49-F238E27FC236}">
                    <a16:creationId xmlns:a16="http://schemas.microsoft.com/office/drawing/2014/main" id="{5B53801D-B7B1-28BF-DFC6-4DE0178CB7C3}"/>
                  </a:ext>
                </a:extLst>
              </p:cNvPr>
              <p:cNvSpPr/>
              <p:nvPr/>
            </p:nvSpPr>
            <p:spPr>
              <a:xfrm>
                <a:off x="9485572" y="1202252"/>
                <a:ext cx="7386" cy="7386"/>
              </a:xfrm>
              <a:custGeom>
                <a:avLst/>
                <a:gdLst>
                  <a:gd name="connsiteX0" fmla="*/ 7386 w 7386"/>
                  <a:gd name="connsiteY0" fmla="*/ 3693 h 7386"/>
                  <a:gd name="connsiteX1" fmla="*/ 3693 w 7386"/>
                  <a:gd name="connsiteY1" fmla="*/ 7386 h 7386"/>
                  <a:gd name="connsiteX2" fmla="*/ 0 w 7386"/>
                  <a:gd name="connsiteY2" fmla="*/ 3693 h 7386"/>
                  <a:gd name="connsiteX3" fmla="*/ 3693 w 7386"/>
                  <a:gd name="connsiteY3" fmla="*/ 0 h 7386"/>
                  <a:gd name="connsiteX4" fmla="*/ 7386 w 7386"/>
                  <a:gd name="connsiteY4" fmla="*/ 3693 h 73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386" h="7386">
                    <a:moveTo>
                      <a:pt x="7386" y="3693"/>
                    </a:moveTo>
                    <a:cubicBezTo>
                      <a:pt x="7386" y="5729"/>
                      <a:pt x="5729" y="7386"/>
                      <a:pt x="3693" y="7386"/>
                    </a:cubicBezTo>
                    <a:cubicBezTo>
                      <a:pt x="1657" y="7386"/>
                      <a:pt x="0" y="5729"/>
                      <a:pt x="0" y="3693"/>
                    </a:cubicBezTo>
                    <a:cubicBezTo>
                      <a:pt x="0" y="1657"/>
                      <a:pt x="1657" y="0"/>
                      <a:pt x="3693" y="0"/>
                    </a:cubicBezTo>
                    <a:cubicBezTo>
                      <a:pt x="5729" y="0"/>
                      <a:pt x="7386" y="1657"/>
                      <a:pt x="7386" y="3693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sp>
        <p:nvSpPr>
          <p:cNvPr id="915" name="Forma livre: Forma 914">
            <a:extLst>
              <a:ext uri="{FF2B5EF4-FFF2-40B4-BE49-F238E27FC236}">
                <a16:creationId xmlns:a16="http://schemas.microsoft.com/office/drawing/2014/main" id="{F58B3789-B849-1047-2619-A1BB9A3EA459}"/>
              </a:ext>
            </a:extLst>
          </p:cNvPr>
          <p:cNvSpPr/>
          <p:nvPr/>
        </p:nvSpPr>
        <p:spPr>
          <a:xfrm>
            <a:off x="8668772" y="2091081"/>
            <a:ext cx="240614" cy="218371"/>
          </a:xfrm>
          <a:custGeom>
            <a:avLst/>
            <a:gdLst>
              <a:gd name="connsiteX0" fmla="*/ 48379 w 240614"/>
              <a:gd name="connsiteY0" fmla="*/ 156061 h 218371"/>
              <a:gd name="connsiteX1" fmla="*/ 141939 w 240614"/>
              <a:gd name="connsiteY1" fmla="*/ 62500 h 218371"/>
              <a:gd name="connsiteX2" fmla="*/ 155339 w 240614"/>
              <a:gd name="connsiteY2" fmla="*/ 62500 h 218371"/>
              <a:gd name="connsiteX3" fmla="*/ 178019 w 240614"/>
              <a:gd name="connsiteY3" fmla="*/ 85180 h 218371"/>
              <a:gd name="connsiteX4" fmla="*/ 178019 w 240614"/>
              <a:gd name="connsiteY4" fmla="*/ 98580 h 218371"/>
              <a:gd name="connsiteX5" fmla="*/ 70774 w 240614"/>
              <a:gd name="connsiteY5" fmla="*/ 205825 h 218371"/>
              <a:gd name="connsiteX6" fmla="*/ 30623 w 240614"/>
              <a:gd name="connsiteY6" fmla="*/ 205825 h 218371"/>
              <a:gd name="connsiteX7" fmla="*/ 8274 w 240614"/>
              <a:gd name="connsiteY7" fmla="*/ 183523 h 218371"/>
              <a:gd name="connsiteX8" fmla="*/ 8274 w 240614"/>
              <a:gd name="connsiteY8" fmla="*/ 143372 h 218371"/>
              <a:gd name="connsiteX9" fmla="*/ 125083 w 240614"/>
              <a:gd name="connsiteY9" fmla="*/ 26563 h 218371"/>
              <a:gd name="connsiteX10" fmla="*/ 163152 w 240614"/>
              <a:gd name="connsiteY10" fmla="*/ 2557 h 218371"/>
              <a:gd name="connsiteX11" fmla="*/ 216940 w 240614"/>
              <a:gd name="connsiteY11" fmla="*/ 0 h 218371"/>
              <a:gd name="connsiteX12" fmla="*/ 240614 w 240614"/>
              <a:gd name="connsiteY12" fmla="*/ 23674 h 218371"/>
              <a:gd name="connsiteX13" fmla="*/ 238057 w 240614"/>
              <a:gd name="connsiteY13" fmla="*/ 77462 h 218371"/>
              <a:gd name="connsiteX14" fmla="*/ 213957 w 240614"/>
              <a:gd name="connsiteY14" fmla="*/ 115294 h 218371"/>
              <a:gd name="connsiteX15" fmla="*/ 110879 w 240614"/>
              <a:gd name="connsiteY15" fmla="*/ 218372 h 2183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240614" h="218371">
                <a:moveTo>
                  <a:pt x="48379" y="156061"/>
                </a:moveTo>
                <a:lnTo>
                  <a:pt x="141939" y="62500"/>
                </a:lnTo>
                <a:cubicBezTo>
                  <a:pt x="145633" y="58807"/>
                  <a:pt x="151646" y="58807"/>
                  <a:pt x="155339" y="62500"/>
                </a:cubicBezTo>
                <a:lnTo>
                  <a:pt x="178019" y="85180"/>
                </a:lnTo>
                <a:cubicBezTo>
                  <a:pt x="181712" y="88873"/>
                  <a:pt x="181712" y="94887"/>
                  <a:pt x="178019" y="98580"/>
                </a:cubicBezTo>
                <a:lnTo>
                  <a:pt x="70774" y="205825"/>
                </a:lnTo>
                <a:cubicBezTo>
                  <a:pt x="59742" y="216857"/>
                  <a:pt x="41655" y="216857"/>
                  <a:pt x="30623" y="205825"/>
                </a:cubicBezTo>
                <a:lnTo>
                  <a:pt x="8274" y="183523"/>
                </a:lnTo>
                <a:cubicBezTo>
                  <a:pt x="-2758" y="172491"/>
                  <a:pt x="-2758" y="154404"/>
                  <a:pt x="8274" y="143372"/>
                </a:cubicBezTo>
                <a:lnTo>
                  <a:pt x="125083" y="26563"/>
                </a:lnTo>
                <a:cubicBezTo>
                  <a:pt x="142318" y="9328"/>
                  <a:pt x="150131" y="2557"/>
                  <a:pt x="163152" y="2557"/>
                </a:cubicBezTo>
                <a:lnTo>
                  <a:pt x="216940" y="0"/>
                </a:lnTo>
                <a:cubicBezTo>
                  <a:pt x="229961" y="0"/>
                  <a:pt x="240614" y="10653"/>
                  <a:pt x="240614" y="23674"/>
                </a:cubicBezTo>
                <a:lnTo>
                  <a:pt x="238057" y="77462"/>
                </a:lnTo>
                <a:cubicBezTo>
                  <a:pt x="238057" y="90483"/>
                  <a:pt x="231334" y="97917"/>
                  <a:pt x="213957" y="115294"/>
                </a:cubicBezTo>
                <a:lnTo>
                  <a:pt x="110879" y="218372"/>
                </a:lnTo>
              </a:path>
            </a:pathLst>
          </a:custGeom>
          <a:noFill/>
          <a:ln w="6350" cap="flat">
            <a:solidFill>
              <a:schemeClr val="accent2"/>
            </a:solidFill>
            <a:prstDash val="solid"/>
            <a:miter/>
          </a:ln>
        </p:spPr>
        <p:txBody>
          <a:bodyPr rtlCol="0" anchor="ctr"/>
          <a:lstStyle/>
          <a:p>
            <a:endParaRPr lang="pt-PT"/>
          </a:p>
        </p:txBody>
      </p:sp>
      <p:grpSp>
        <p:nvGrpSpPr>
          <p:cNvPr id="923" name="Gráfico 11">
            <a:extLst>
              <a:ext uri="{FF2B5EF4-FFF2-40B4-BE49-F238E27FC236}">
                <a16:creationId xmlns:a16="http://schemas.microsoft.com/office/drawing/2014/main" id="{DF3AA4F7-E8F2-0A50-39B5-642D68947F31}"/>
              </a:ext>
            </a:extLst>
          </p:cNvPr>
          <p:cNvGrpSpPr/>
          <p:nvPr/>
        </p:nvGrpSpPr>
        <p:grpSpPr>
          <a:xfrm>
            <a:off x="8642393" y="3115705"/>
            <a:ext cx="293375" cy="286553"/>
            <a:chOff x="8642393" y="3115705"/>
            <a:chExt cx="293375" cy="286553"/>
          </a:xfrm>
        </p:grpSpPr>
        <p:sp>
          <p:nvSpPr>
            <p:cNvPr id="924" name="Forma livre: Forma 923">
              <a:extLst>
                <a:ext uri="{FF2B5EF4-FFF2-40B4-BE49-F238E27FC236}">
                  <a16:creationId xmlns:a16="http://schemas.microsoft.com/office/drawing/2014/main" id="{4C304CCB-CD4B-452E-82CF-2B54D671ECBD}"/>
                </a:ext>
              </a:extLst>
            </p:cNvPr>
            <p:cNvSpPr/>
            <p:nvPr/>
          </p:nvSpPr>
          <p:spPr>
            <a:xfrm>
              <a:off x="8642393" y="3144214"/>
              <a:ext cx="193603" cy="222794"/>
            </a:xfrm>
            <a:custGeom>
              <a:avLst/>
              <a:gdLst>
                <a:gd name="connsiteX0" fmla="*/ 144881 w 193603"/>
                <a:gd name="connsiteY0" fmla="*/ 218793 h 222794"/>
                <a:gd name="connsiteX1" fmla="*/ 71444 w 193603"/>
                <a:gd name="connsiteY1" fmla="*/ 214769 h 222794"/>
                <a:gd name="connsiteX2" fmla="*/ 7807 w 193603"/>
                <a:gd name="connsiteY2" fmla="*/ 64768 h 222794"/>
                <a:gd name="connsiteX3" fmla="*/ 69786 w 193603"/>
                <a:gd name="connsiteY3" fmla="*/ 50090 h 222794"/>
                <a:gd name="connsiteX4" fmla="*/ 103356 w 193603"/>
                <a:gd name="connsiteY4" fmla="*/ 62543 h 222794"/>
                <a:gd name="connsiteX5" fmla="*/ 115478 w 193603"/>
                <a:gd name="connsiteY5" fmla="*/ 36785 h 222794"/>
                <a:gd name="connsiteX6" fmla="*/ 159323 w 193603"/>
                <a:gd name="connsiteY6" fmla="*/ 3310 h 222794"/>
                <a:gd name="connsiteX7" fmla="*/ 193603 w 193603"/>
                <a:gd name="connsiteY7" fmla="*/ 23528 h 2227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93603" h="222794">
                  <a:moveTo>
                    <a:pt x="144881" y="218793"/>
                  </a:moveTo>
                  <a:cubicBezTo>
                    <a:pt x="121728" y="224854"/>
                    <a:pt x="95307" y="224428"/>
                    <a:pt x="71444" y="214769"/>
                  </a:cubicBezTo>
                  <a:cubicBezTo>
                    <a:pt x="12447" y="190905"/>
                    <a:pt x="-14542" y="124333"/>
                    <a:pt x="7807" y="64768"/>
                  </a:cubicBezTo>
                  <a:cubicBezTo>
                    <a:pt x="24095" y="21397"/>
                    <a:pt x="61737" y="32098"/>
                    <a:pt x="69786" y="50090"/>
                  </a:cubicBezTo>
                  <a:cubicBezTo>
                    <a:pt x="76652" y="65431"/>
                    <a:pt x="91567" y="67514"/>
                    <a:pt x="103356" y="62543"/>
                  </a:cubicBezTo>
                  <a:cubicBezTo>
                    <a:pt x="113063" y="58423"/>
                    <a:pt x="116946" y="48101"/>
                    <a:pt x="115478" y="36785"/>
                  </a:cubicBezTo>
                  <a:cubicBezTo>
                    <a:pt x="112542" y="14437"/>
                    <a:pt x="129446" y="-8764"/>
                    <a:pt x="159323" y="3310"/>
                  </a:cubicBezTo>
                  <a:cubicBezTo>
                    <a:pt x="171728" y="8329"/>
                    <a:pt x="184228" y="15289"/>
                    <a:pt x="193603" y="23528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25" name="Forma livre: Forma 924">
              <a:extLst>
                <a:ext uri="{FF2B5EF4-FFF2-40B4-BE49-F238E27FC236}">
                  <a16:creationId xmlns:a16="http://schemas.microsoft.com/office/drawing/2014/main" id="{330FF48A-C6DA-8A8C-BD63-40B8219903C4}"/>
                </a:ext>
              </a:extLst>
            </p:cNvPr>
            <p:cNvSpPr/>
            <p:nvPr/>
          </p:nvSpPr>
          <p:spPr>
            <a:xfrm>
              <a:off x="8802426" y="3307427"/>
              <a:ext cx="69520" cy="94831"/>
            </a:xfrm>
            <a:custGeom>
              <a:avLst/>
              <a:gdLst>
                <a:gd name="connsiteX0" fmla="*/ 0 w 69520"/>
                <a:gd name="connsiteY0" fmla="*/ 94832 h 94831"/>
                <a:gd name="connsiteX1" fmla="*/ 62264 w 69520"/>
                <a:gd name="connsiteY1" fmla="*/ 52408 h 94831"/>
                <a:gd name="connsiteX2" fmla="*/ 56913 w 69520"/>
                <a:gd name="connsiteY2" fmla="*/ 7000 h 94831"/>
                <a:gd name="connsiteX3" fmla="*/ 13258 w 69520"/>
                <a:gd name="connsiteY3" fmla="*/ 11356 h 94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9520" h="94831">
                  <a:moveTo>
                    <a:pt x="0" y="94832"/>
                  </a:moveTo>
                  <a:cubicBezTo>
                    <a:pt x="0" y="94832"/>
                    <a:pt x="31582" y="88913"/>
                    <a:pt x="62264" y="52408"/>
                  </a:cubicBezTo>
                  <a:cubicBezTo>
                    <a:pt x="74479" y="37871"/>
                    <a:pt x="70313" y="17701"/>
                    <a:pt x="56913" y="7000"/>
                  </a:cubicBezTo>
                  <a:cubicBezTo>
                    <a:pt x="43513" y="-3701"/>
                    <a:pt x="23958" y="-2043"/>
                    <a:pt x="13258" y="11356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26" name="Forma livre: Forma 925">
              <a:extLst>
                <a:ext uri="{FF2B5EF4-FFF2-40B4-BE49-F238E27FC236}">
                  <a16:creationId xmlns:a16="http://schemas.microsoft.com/office/drawing/2014/main" id="{02409CA2-E3DD-BC6F-A22B-5C757E41FCBE}"/>
                </a:ext>
              </a:extLst>
            </p:cNvPr>
            <p:cNvSpPr/>
            <p:nvPr/>
          </p:nvSpPr>
          <p:spPr>
            <a:xfrm>
              <a:off x="8802426" y="3315895"/>
              <a:ext cx="15814" cy="86363"/>
            </a:xfrm>
            <a:custGeom>
              <a:avLst/>
              <a:gdLst>
                <a:gd name="connsiteX0" fmla="*/ 15815 w 15814"/>
                <a:gd name="connsiteY0" fmla="*/ 0 h 86363"/>
                <a:gd name="connsiteX1" fmla="*/ 10038 w 15814"/>
                <a:gd name="connsiteY1" fmla="*/ 38116 h 86363"/>
                <a:gd name="connsiteX2" fmla="*/ 0 w 15814"/>
                <a:gd name="connsiteY2" fmla="*/ 86364 h 863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5814" h="86363">
                  <a:moveTo>
                    <a:pt x="15815" y="0"/>
                  </a:moveTo>
                  <a:cubicBezTo>
                    <a:pt x="15815" y="0"/>
                    <a:pt x="-473" y="12879"/>
                    <a:pt x="10038" y="38116"/>
                  </a:cubicBezTo>
                  <a:cubicBezTo>
                    <a:pt x="10038" y="38116"/>
                    <a:pt x="18655" y="61222"/>
                    <a:pt x="0" y="86364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27" name="Forma livre: Forma 926">
              <a:extLst>
                <a:ext uri="{FF2B5EF4-FFF2-40B4-BE49-F238E27FC236}">
                  <a16:creationId xmlns:a16="http://schemas.microsoft.com/office/drawing/2014/main" id="{D14FB0ED-CD9C-2C13-074E-DC596EDD7682}"/>
                </a:ext>
              </a:extLst>
            </p:cNvPr>
            <p:cNvSpPr/>
            <p:nvPr/>
          </p:nvSpPr>
          <p:spPr>
            <a:xfrm>
              <a:off x="8844282" y="3243546"/>
              <a:ext cx="57386" cy="18134"/>
            </a:xfrm>
            <a:custGeom>
              <a:avLst/>
              <a:gdLst>
                <a:gd name="connsiteX0" fmla="*/ 0 w 57386"/>
                <a:gd name="connsiteY0" fmla="*/ 0 h 18134"/>
                <a:gd name="connsiteX1" fmla="*/ 57387 w 57386"/>
                <a:gd name="connsiteY1" fmla="*/ 18134 h 181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7386" h="18134">
                  <a:moveTo>
                    <a:pt x="0" y="0"/>
                  </a:moveTo>
                  <a:lnTo>
                    <a:pt x="57387" y="18134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28" name="Forma livre: Forma 927">
              <a:extLst>
                <a:ext uri="{FF2B5EF4-FFF2-40B4-BE49-F238E27FC236}">
                  <a16:creationId xmlns:a16="http://schemas.microsoft.com/office/drawing/2014/main" id="{CA8BACDB-FCE6-242F-9DE4-24F499E50C50}"/>
                </a:ext>
              </a:extLst>
            </p:cNvPr>
            <p:cNvSpPr/>
            <p:nvPr/>
          </p:nvSpPr>
          <p:spPr>
            <a:xfrm>
              <a:off x="8797908" y="3191274"/>
              <a:ext cx="12634" cy="12689"/>
            </a:xfrm>
            <a:custGeom>
              <a:avLst/>
              <a:gdLst>
                <a:gd name="connsiteX0" fmla="*/ 6317 w 12634"/>
                <a:gd name="connsiteY0" fmla="*/ 12642 h 12689"/>
                <a:gd name="connsiteX1" fmla="*/ 3950 w 12634"/>
                <a:gd name="connsiteY1" fmla="*/ 12169 h 12689"/>
                <a:gd name="connsiteX2" fmla="*/ 446 w 12634"/>
                <a:gd name="connsiteY2" fmla="*/ 3930 h 12689"/>
                <a:gd name="connsiteX3" fmla="*/ 6317 w 12634"/>
                <a:gd name="connsiteY3" fmla="*/ 0 h 12689"/>
                <a:gd name="connsiteX4" fmla="*/ 8685 w 12634"/>
                <a:gd name="connsiteY4" fmla="*/ 474 h 12689"/>
                <a:gd name="connsiteX5" fmla="*/ 12188 w 12634"/>
                <a:gd name="connsiteY5" fmla="*/ 8712 h 12689"/>
                <a:gd name="connsiteX6" fmla="*/ 6317 w 12634"/>
                <a:gd name="connsiteY6" fmla="*/ 12689 h 126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2634" h="12689">
                  <a:moveTo>
                    <a:pt x="6317" y="12642"/>
                  </a:moveTo>
                  <a:cubicBezTo>
                    <a:pt x="5512" y="12642"/>
                    <a:pt x="4707" y="12500"/>
                    <a:pt x="3950" y="12169"/>
                  </a:cubicBezTo>
                  <a:cubicBezTo>
                    <a:pt x="730" y="10843"/>
                    <a:pt x="-832" y="7150"/>
                    <a:pt x="446" y="3930"/>
                  </a:cubicBezTo>
                  <a:cubicBezTo>
                    <a:pt x="1393" y="1515"/>
                    <a:pt x="3713" y="0"/>
                    <a:pt x="6317" y="0"/>
                  </a:cubicBezTo>
                  <a:cubicBezTo>
                    <a:pt x="7122" y="0"/>
                    <a:pt x="7927" y="142"/>
                    <a:pt x="8685" y="474"/>
                  </a:cubicBezTo>
                  <a:cubicBezTo>
                    <a:pt x="11904" y="1799"/>
                    <a:pt x="13467" y="5492"/>
                    <a:pt x="12188" y="8712"/>
                  </a:cubicBezTo>
                  <a:cubicBezTo>
                    <a:pt x="11194" y="11127"/>
                    <a:pt x="8921" y="12689"/>
                    <a:pt x="6317" y="12689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29" name="Forma livre: Forma 928">
              <a:extLst>
                <a:ext uri="{FF2B5EF4-FFF2-40B4-BE49-F238E27FC236}">
                  <a16:creationId xmlns:a16="http://schemas.microsoft.com/office/drawing/2014/main" id="{1BAD587B-2E1C-EAEF-4A63-0E6503A994FA}"/>
                </a:ext>
              </a:extLst>
            </p:cNvPr>
            <p:cNvSpPr/>
            <p:nvPr/>
          </p:nvSpPr>
          <p:spPr>
            <a:xfrm>
              <a:off x="8680246" y="3241700"/>
              <a:ext cx="12634" cy="12689"/>
            </a:xfrm>
            <a:custGeom>
              <a:avLst/>
              <a:gdLst>
                <a:gd name="connsiteX0" fmla="*/ 6317 w 12634"/>
                <a:gd name="connsiteY0" fmla="*/ 12642 h 12689"/>
                <a:gd name="connsiteX1" fmla="*/ 3950 w 12634"/>
                <a:gd name="connsiteY1" fmla="*/ 12169 h 12689"/>
                <a:gd name="connsiteX2" fmla="*/ 446 w 12634"/>
                <a:gd name="connsiteY2" fmla="*/ 3930 h 12689"/>
                <a:gd name="connsiteX3" fmla="*/ 6317 w 12634"/>
                <a:gd name="connsiteY3" fmla="*/ 0 h 12689"/>
                <a:gd name="connsiteX4" fmla="*/ 8685 w 12634"/>
                <a:gd name="connsiteY4" fmla="*/ 474 h 12689"/>
                <a:gd name="connsiteX5" fmla="*/ 12188 w 12634"/>
                <a:gd name="connsiteY5" fmla="*/ 8712 h 12689"/>
                <a:gd name="connsiteX6" fmla="*/ 6317 w 12634"/>
                <a:gd name="connsiteY6" fmla="*/ 12690 h 126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2634" h="12689">
                  <a:moveTo>
                    <a:pt x="6317" y="12642"/>
                  </a:moveTo>
                  <a:cubicBezTo>
                    <a:pt x="5512" y="12642"/>
                    <a:pt x="4707" y="12500"/>
                    <a:pt x="3950" y="12169"/>
                  </a:cubicBezTo>
                  <a:cubicBezTo>
                    <a:pt x="730" y="10843"/>
                    <a:pt x="-832" y="7150"/>
                    <a:pt x="446" y="3930"/>
                  </a:cubicBezTo>
                  <a:cubicBezTo>
                    <a:pt x="1393" y="1515"/>
                    <a:pt x="3713" y="0"/>
                    <a:pt x="6317" y="0"/>
                  </a:cubicBezTo>
                  <a:cubicBezTo>
                    <a:pt x="7122" y="0"/>
                    <a:pt x="7927" y="142"/>
                    <a:pt x="8685" y="474"/>
                  </a:cubicBezTo>
                  <a:cubicBezTo>
                    <a:pt x="11904" y="1799"/>
                    <a:pt x="13467" y="5492"/>
                    <a:pt x="12188" y="8712"/>
                  </a:cubicBezTo>
                  <a:cubicBezTo>
                    <a:pt x="11194" y="11127"/>
                    <a:pt x="8921" y="12690"/>
                    <a:pt x="6317" y="12690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30" name="Forma livre: Forma 929">
              <a:extLst>
                <a:ext uri="{FF2B5EF4-FFF2-40B4-BE49-F238E27FC236}">
                  <a16:creationId xmlns:a16="http://schemas.microsoft.com/office/drawing/2014/main" id="{FB35FE0D-C286-9638-51F4-735F007E0F5D}"/>
                </a:ext>
              </a:extLst>
            </p:cNvPr>
            <p:cNvSpPr/>
            <p:nvPr/>
          </p:nvSpPr>
          <p:spPr>
            <a:xfrm>
              <a:off x="8700701" y="3290753"/>
              <a:ext cx="12634" cy="12689"/>
            </a:xfrm>
            <a:custGeom>
              <a:avLst/>
              <a:gdLst>
                <a:gd name="connsiteX0" fmla="*/ 6317 w 12634"/>
                <a:gd name="connsiteY0" fmla="*/ 12642 h 12689"/>
                <a:gd name="connsiteX1" fmla="*/ 3950 w 12634"/>
                <a:gd name="connsiteY1" fmla="*/ 12169 h 12689"/>
                <a:gd name="connsiteX2" fmla="*/ 446 w 12634"/>
                <a:gd name="connsiteY2" fmla="*/ 3930 h 12689"/>
                <a:gd name="connsiteX3" fmla="*/ 6317 w 12634"/>
                <a:gd name="connsiteY3" fmla="*/ 0 h 12689"/>
                <a:gd name="connsiteX4" fmla="*/ 8685 w 12634"/>
                <a:gd name="connsiteY4" fmla="*/ 474 h 12689"/>
                <a:gd name="connsiteX5" fmla="*/ 12188 w 12634"/>
                <a:gd name="connsiteY5" fmla="*/ 8712 h 12689"/>
                <a:gd name="connsiteX6" fmla="*/ 6317 w 12634"/>
                <a:gd name="connsiteY6" fmla="*/ 12689 h 126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2634" h="12689">
                  <a:moveTo>
                    <a:pt x="6317" y="12642"/>
                  </a:moveTo>
                  <a:cubicBezTo>
                    <a:pt x="5512" y="12642"/>
                    <a:pt x="4707" y="12500"/>
                    <a:pt x="3950" y="12169"/>
                  </a:cubicBezTo>
                  <a:cubicBezTo>
                    <a:pt x="730" y="10843"/>
                    <a:pt x="-832" y="7150"/>
                    <a:pt x="446" y="3930"/>
                  </a:cubicBezTo>
                  <a:cubicBezTo>
                    <a:pt x="1393" y="1515"/>
                    <a:pt x="3713" y="0"/>
                    <a:pt x="6317" y="0"/>
                  </a:cubicBezTo>
                  <a:cubicBezTo>
                    <a:pt x="7122" y="0"/>
                    <a:pt x="7927" y="142"/>
                    <a:pt x="8685" y="474"/>
                  </a:cubicBezTo>
                  <a:cubicBezTo>
                    <a:pt x="11904" y="1799"/>
                    <a:pt x="13467" y="5492"/>
                    <a:pt x="12188" y="8712"/>
                  </a:cubicBezTo>
                  <a:cubicBezTo>
                    <a:pt x="11194" y="11127"/>
                    <a:pt x="8921" y="12689"/>
                    <a:pt x="6317" y="12689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31" name="Forma livre: Forma 930">
              <a:extLst>
                <a:ext uri="{FF2B5EF4-FFF2-40B4-BE49-F238E27FC236}">
                  <a16:creationId xmlns:a16="http://schemas.microsoft.com/office/drawing/2014/main" id="{C121A636-9F0D-3CF0-8942-0A9F8B9331A5}"/>
                </a:ext>
              </a:extLst>
            </p:cNvPr>
            <p:cNvSpPr/>
            <p:nvPr/>
          </p:nvSpPr>
          <p:spPr>
            <a:xfrm>
              <a:off x="8750938" y="3314711"/>
              <a:ext cx="12634" cy="12689"/>
            </a:xfrm>
            <a:custGeom>
              <a:avLst/>
              <a:gdLst>
                <a:gd name="connsiteX0" fmla="*/ 6317 w 12634"/>
                <a:gd name="connsiteY0" fmla="*/ 12642 h 12689"/>
                <a:gd name="connsiteX1" fmla="*/ 3950 w 12634"/>
                <a:gd name="connsiteY1" fmla="*/ 12169 h 12689"/>
                <a:gd name="connsiteX2" fmla="*/ 446 w 12634"/>
                <a:gd name="connsiteY2" fmla="*/ 3930 h 12689"/>
                <a:gd name="connsiteX3" fmla="*/ 6317 w 12634"/>
                <a:gd name="connsiteY3" fmla="*/ 0 h 12689"/>
                <a:gd name="connsiteX4" fmla="*/ 8685 w 12634"/>
                <a:gd name="connsiteY4" fmla="*/ 474 h 12689"/>
                <a:gd name="connsiteX5" fmla="*/ 12188 w 12634"/>
                <a:gd name="connsiteY5" fmla="*/ 8712 h 12689"/>
                <a:gd name="connsiteX6" fmla="*/ 6317 w 12634"/>
                <a:gd name="connsiteY6" fmla="*/ 12689 h 126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2634" h="12689">
                  <a:moveTo>
                    <a:pt x="6317" y="12642"/>
                  </a:moveTo>
                  <a:cubicBezTo>
                    <a:pt x="5512" y="12642"/>
                    <a:pt x="4707" y="12500"/>
                    <a:pt x="3950" y="12169"/>
                  </a:cubicBezTo>
                  <a:cubicBezTo>
                    <a:pt x="730" y="10843"/>
                    <a:pt x="-832" y="7150"/>
                    <a:pt x="446" y="3930"/>
                  </a:cubicBezTo>
                  <a:cubicBezTo>
                    <a:pt x="1393" y="1515"/>
                    <a:pt x="3713" y="0"/>
                    <a:pt x="6317" y="0"/>
                  </a:cubicBezTo>
                  <a:cubicBezTo>
                    <a:pt x="7122" y="0"/>
                    <a:pt x="7927" y="142"/>
                    <a:pt x="8685" y="474"/>
                  </a:cubicBezTo>
                  <a:cubicBezTo>
                    <a:pt x="11904" y="1799"/>
                    <a:pt x="13467" y="5492"/>
                    <a:pt x="12188" y="8712"/>
                  </a:cubicBezTo>
                  <a:cubicBezTo>
                    <a:pt x="11194" y="11127"/>
                    <a:pt x="8921" y="12689"/>
                    <a:pt x="6317" y="12689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32" name="Forma livre: Forma 931">
              <a:extLst>
                <a:ext uri="{FF2B5EF4-FFF2-40B4-BE49-F238E27FC236}">
                  <a16:creationId xmlns:a16="http://schemas.microsoft.com/office/drawing/2014/main" id="{91A4AA75-3821-7889-2879-75C63C669245}"/>
                </a:ext>
              </a:extLst>
            </p:cNvPr>
            <p:cNvSpPr/>
            <p:nvPr/>
          </p:nvSpPr>
          <p:spPr>
            <a:xfrm>
              <a:off x="8838030" y="3115705"/>
              <a:ext cx="97738" cy="174811"/>
            </a:xfrm>
            <a:custGeom>
              <a:avLst/>
              <a:gdLst>
                <a:gd name="connsiteX0" fmla="*/ 97399 w 97738"/>
                <a:gd name="connsiteY0" fmla="*/ 12737 h 174811"/>
                <a:gd name="connsiteX1" fmla="*/ 84141 w 97738"/>
                <a:gd name="connsiteY1" fmla="*/ 105114 h 174811"/>
                <a:gd name="connsiteX2" fmla="*/ 49955 w 97738"/>
                <a:gd name="connsiteY2" fmla="*/ 174811 h 174811"/>
                <a:gd name="connsiteX3" fmla="*/ 144 w 97738"/>
                <a:gd name="connsiteY3" fmla="*/ 158571 h 174811"/>
                <a:gd name="connsiteX4" fmla="*/ 14444 w 97738"/>
                <a:gd name="connsiteY4" fmla="*/ 82245 h 174811"/>
                <a:gd name="connsiteX5" fmla="*/ 58525 w 97738"/>
                <a:gd name="connsiteY5" fmla="*/ 0 h 1748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7738" h="174811">
                  <a:moveTo>
                    <a:pt x="97399" y="12737"/>
                  </a:moveTo>
                  <a:cubicBezTo>
                    <a:pt x="97399" y="12737"/>
                    <a:pt x="101092" y="53504"/>
                    <a:pt x="84141" y="105114"/>
                  </a:cubicBezTo>
                  <a:cubicBezTo>
                    <a:pt x="67190" y="156724"/>
                    <a:pt x="49955" y="174811"/>
                    <a:pt x="49955" y="174811"/>
                  </a:cubicBezTo>
                  <a:lnTo>
                    <a:pt x="144" y="158571"/>
                  </a:lnTo>
                  <a:cubicBezTo>
                    <a:pt x="144" y="158571"/>
                    <a:pt x="-2460" y="133855"/>
                    <a:pt x="14444" y="82245"/>
                  </a:cubicBezTo>
                  <a:cubicBezTo>
                    <a:pt x="31395" y="30635"/>
                    <a:pt x="58525" y="0"/>
                    <a:pt x="58525" y="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933" name="Gráfico 11">
            <a:extLst>
              <a:ext uri="{FF2B5EF4-FFF2-40B4-BE49-F238E27FC236}">
                <a16:creationId xmlns:a16="http://schemas.microsoft.com/office/drawing/2014/main" id="{B5F27195-3077-0631-29D8-9A9F46D7BE0D}"/>
              </a:ext>
            </a:extLst>
          </p:cNvPr>
          <p:cNvGrpSpPr/>
          <p:nvPr/>
        </p:nvGrpSpPr>
        <p:grpSpPr>
          <a:xfrm>
            <a:off x="8639168" y="979808"/>
            <a:ext cx="299574" cy="304451"/>
            <a:chOff x="8639168" y="979808"/>
            <a:chExt cx="299574" cy="304451"/>
          </a:xfrm>
          <a:noFill/>
        </p:grpSpPr>
        <p:sp>
          <p:nvSpPr>
            <p:cNvPr id="934" name="Forma livre: Forma 933">
              <a:extLst>
                <a:ext uri="{FF2B5EF4-FFF2-40B4-BE49-F238E27FC236}">
                  <a16:creationId xmlns:a16="http://schemas.microsoft.com/office/drawing/2014/main" id="{3C29ADD5-2028-5D1B-8E52-C68AA5447DD0}"/>
                </a:ext>
              </a:extLst>
            </p:cNvPr>
            <p:cNvSpPr/>
            <p:nvPr/>
          </p:nvSpPr>
          <p:spPr>
            <a:xfrm>
              <a:off x="8759244" y="1104430"/>
              <a:ext cx="59375" cy="59375"/>
            </a:xfrm>
            <a:custGeom>
              <a:avLst/>
              <a:gdLst>
                <a:gd name="connsiteX0" fmla="*/ 59375 w 59375"/>
                <a:gd name="connsiteY0" fmla="*/ 29688 h 59375"/>
                <a:gd name="connsiteX1" fmla="*/ 29688 w 59375"/>
                <a:gd name="connsiteY1" fmla="*/ 59375 h 59375"/>
                <a:gd name="connsiteX2" fmla="*/ 0 w 59375"/>
                <a:gd name="connsiteY2" fmla="*/ 29688 h 59375"/>
                <a:gd name="connsiteX3" fmla="*/ 29688 w 59375"/>
                <a:gd name="connsiteY3" fmla="*/ 0 h 59375"/>
                <a:gd name="connsiteX4" fmla="*/ 59375 w 59375"/>
                <a:gd name="connsiteY4" fmla="*/ 29688 h 593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9375" h="59375">
                  <a:moveTo>
                    <a:pt x="59375" y="29688"/>
                  </a:moveTo>
                  <a:cubicBezTo>
                    <a:pt x="59375" y="46070"/>
                    <a:pt x="46070" y="59375"/>
                    <a:pt x="29688" y="59375"/>
                  </a:cubicBezTo>
                  <a:cubicBezTo>
                    <a:pt x="13305" y="59375"/>
                    <a:pt x="0" y="46070"/>
                    <a:pt x="0" y="29688"/>
                  </a:cubicBezTo>
                  <a:cubicBezTo>
                    <a:pt x="0" y="13305"/>
                    <a:pt x="13305" y="0"/>
                    <a:pt x="29688" y="0"/>
                  </a:cubicBezTo>
                  <a:cubicBezTo>
                    <a:pt x="46070" y="0"/>
                    <a:pt x="59375" y="13305"/>
                    <a:pt x="59375" y="29688"/>
                  </a:cubicBez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35" name="Forma livre: Forma 934">
              <a:extLst>
                <a:ext uri="{FF2B5EF4-FFF2-40B4-BE49-F238E27FC236}">
                  <a16:creationId xmlns:a16="http://schemas.microsoft.com/office/drawing/2014/main" id="{51CDAE15-F19A-A952-1288-12F18A1B1EA1}"/>
                </a:ext>
              </a:extLst>
            </p:cNvPr>
            <p:cNvSpPr/>
            <p:nvPr/>
          </p:nvSpPr>
          <p:spPr>
            <a:xfrm>
              <a:off x="8790589" y="979808"/>
              <a:ext cx="52462" cy="69271"/>
            </a:xfrm>
            <a:custGeom>
              <a:avLst/>
              <a:gdLst>
                <a:gd name="connsiteX0" fmla="*/ 1799 w 52462"/>
                <a:gd name="connsiteY0" fmla="*/ 41193 h 69271"/>
                <a:gd name="connsiteX1" fmla="*/ 52462 w 52462"/>
                <a:gd name="connsiteY1" fmla="*/ 20739 h 69271"/>
                <a:gd name="connsiteX2" fmla="*/ 0 w 52462"/>
                <a:gd name="connsiteY2" fmla="*/ 0 h 69271"/>
                <a:gd name="connsiteX3" fmla="*/ 0 w 52462"/>
                <a:gd name="connsiteY3" fmla="*/ 69271 h 692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462" h="69271">
                  <a:moveTo>
                    <a:pt x="1799" y="41193"/>
                  </a:moveTo>
                  <a:lnTo>
                    <a:pt x="52462" y="20739"/>
                  </a:lnTo>
                  <a:lnTo>
                    <a:pt x="0" y="0"/>
                  </a:lnTo>
                  <a:lnTo>
                    <a:pt x="0" y="69271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36" name="Forma livre: Forma 935">
              <a:extLst>
                <a:ext uri="{FF2B5EF4-FFF2-40B4-BE49-F238E27FC236}">
                  <a16:creationId xmlns:a16="http://schemas.microsoft.com/office/drawing/2014/main" id="{51F2DCA1-4D38-3BC9-6F3E-63432C067AF2}"/>
                </a:ext>
              </a:extLst>
            </p:cNvPr>
            <p:cNvSpPr/>
            <p:nvPr/>
          </p:nvSpPr>
          <p:spPr>
            <a:xfrm>
              <a:off x="8766441" y="1229904"/>
              <a:ext cx="44981" cy="54072"/>
            </a:xfrm>
            <a:custGeom>
              <a:avLst/>
              <a:gdLst>
                <a:gd name="connsiteX0" fmla="*/ 44981 w 44981"/>
                <a:gd name="connsiteY0" fmla="*/ 54072 h 54072"/>
                <a:gd name="connsiteX1" fmla="*/ 44981 w 44981"/>
                <a:gd name="connsiteY1" fmla="*/ 0 h 54072"/>
                <a:gd name="connsiteX2" fmla="*/ 0 w 44981"/>
                <a:gd name="connsiteY2" fmla="*/ 0 h 54072"/>
                <a:gd name="connsiteX3" fmla="*/ 0 w 44981"/>
                <a:gd name="connsiteY3" fmla="*/ 54072 h 540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4981" h="54072">
                  <a:moveTo>
                    <a:pt x="44981" y="54072"/>
                  </a:moveTo>
                  <a:lnTo>
                    <a:pt x="44981" y="0"/>
                  </a:lnTo>
                  <a:lnTo>
                    <a:pt x="0" y="0"/>
                  </a:lnTo>
                  <a:lnTo>
                    <a:pt x="0" y="54072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37" name="Forma livre: Forma 936">
              <a:extLst>
                <a:ext uri="{FF2B5EF4-FFF2-40B4-BE49-F238E27FC236}">
                  <a16:creationId xmlns:a16="http://schemas.microsoft.com/office/drawing/2014/main" id="{D2CAA276-8D97-5EC4-47A1-468C929B721C}"/>
                </a:ext>
              </a:extLst>
            </p:cNvPr>
            <p:cNvSpPr/>
            <p:nvPr/>
          </p:nvSpPr>
          <p:spPr>
            <a:xfrm>
              <a:off x="8700105" y="1048984"/>
              <a:ext cx="177652" cy="46733"/>
            </a:xfrm>
            <a:custGeom>
              <a:avLst/>
              <a:gdLst>
                <a:gd name="connsiteX0" fmla="*/ 177652 w 177652"/>
                <a:gd name="connsiteY0" fmla="*/ 46733 h 46733"/>
                <a:gd name="connsiteX1" fmla="*/ 90389 w 177652"/>
                <a:gd name="connsiteY1" fmla="*/ 0 h 46733"/>
                <a:gd name="connsiteX2" fmla="*/ 0 w 177652"/>
                <a:gd name="connsiteY2" fmla="*/ 46733 h 467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77652" h="46733">
                  <a:moveTo>
                    <a:pt x="177652" y="46733"/>
                  </a:moveTo>
                  <a:lnTo>
                    <a:pt x="90389" y="0"/>
                  </a:lnTo>
                  <a:lnTo>
                    <a:pt x="0" y="46733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938" name="Gráfico 11">
              <a:extLst>
                <a:ext uri="{FF2B5EF4-FFF2-40B4-BE49-F238E27FC236}">
                  <a16:creationId xmlns:a16="http://schemas.microsoft.com/office/drawing/2014/main" id="{CBBD1152-4601-0F45-22B3-54453DD00E77}"/>
                </a:ext>
              </a:extLst>
            </p:cNvPr>
            <p:cNvGrpSpPr/>
            <p:nvPr/>
          </p:nvGrpSpPr>
          <p:grpSpPr>
            <a:xfrm>
              <a:off x="8639168" y="1108218"/>
              <a:ext cx="299574" cy="176042"/>
              <a:chOff x="8639168" y="1108218"/>
              <a:chExt cx="299574" cy="176042"/>
            </a:xfrm>
            <a:noFill/>
          </p:grpSpPr>
          <p:grpSp>
            <p:nvGrpSpPr>
              <p:cNvPr id="939" name="Gráfico 11">
                <a:extLst>
                  <a:ext uri="{FF2B5EF4-FFF2-40B4-BE49-F238E27FC236}">
                    <a16:creationId xmlns:a16="http://schemas.microsoft.com/office/drawing/2014/main" id="{F0702DA9-947E-E073-F8B4-F22E35DC3CFD}"/>
                  </a:ext>
                </a:extLst>
              </p:cNvPr>
              <p:cNvGrpSpPr/>
              <p:nvPr/>
            </p:nvGrpSpPr>
            <p:grpSpPr>
              <a:xfrm>
                <a:off x="8639168" y="1108218"/>
                <a:ext cx="88115" cy="176042"/>
                <a:chOff x="8639168" y="1108218"/>
                <a:chExt cx="88115" cy="176042"/>
              </a:xfrm>
              <a:noFill/>
            </p:grpSpPr>
            <p:sp>
              <p:nvSpPr>
                <p:cNvPr id="940" name="Forma livre: Forma 939">
                  <a:extLst>
                    <a:ext uri="{FF2B5EF4-FFF2-40B4-BE49-F238E27FC236}">
                      <a16:creationId xmlns:a16="http://schemas.microsoft.com/office/drawing/2014/main" id="{871BAB64-A6D7-62A9-ABEA-2FB11780A175}"/>
                    </a:ext>
                  </a:extLst>
                </p:cNvPr>
                <p:cNvSpPr/>
                <p:nvPr/>
              </p:nvSpPr>
              <p:spPr>
                <a:xfrm>
                  <a:off x="8727284" y="1108218"/>
                  <a:ext cx="4734" cy="176042"/>
                </a:xfrm>
                <a:custGeom>
                  <a:avLst/>
                  <a:gdLst>
                    <a:gd name="connsiteX0" fmla="*/ 0 w 4734"/>
                    <a:gd name="connsiteY0" fmla="*/ 0 h 176042"/>
                    <a:gd name="connsiteX1" fmla="*/ 0 w 4734"/>
                    <a:gd name="connsiteY1" fmla="*/ 176042 h 17604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734" h="176042">
                      <a:moveTo>
                        <a:pt x="0" y="0"/>
                      </a:moveTo>
                      <a:lnTo>
                        <a:pt x="0" y="176042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941" name="Forma livre: Forma 940">
                  <a:extLst>
                    <a:ext uri="{FF2B5EF4-FFF2-40B4-BE49-F238E27FC236}">
                      <a16:creationId xmlns:a16="http://schemas.microsoft.com/office/drawing/2014/main" id="{B3752016-5D81-6CA9-134A-CB3314169642}"/>
                    </a:ext>
                  </a:extLst>
                </p:cNvPr>
                <p:cNvSpPr/>
                <p:nvPr/>
              </p:nvSpPr>
              <p:spPr>
                <a:xfrm>
                  <a:off x="8656923" y="1214799"/>
                  <a:ext cx="4734" cy="69176"/>
                </a:xfrm>
                <a:custGeom>
                  <a:avLst/>
                  <a:gdLst>
                    <a:gd name="connsiteX0" fmla="*/ 0 w 4734"/>
                    <a:gd name="connsiteY0" fmla="*/ 0 h 69176"/>
                    <a:gd name="connsiteX1" fmla="*/ 0 w 4734"/>
                    <a:gd name="connsiteY1" fmla="*/ 69176 h 6917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734" h="69176">
                      <a:moveTo>
                        <a:pt x="0" y="0"/>
                      </a:moveTo>
                      <a:lnTo>
                        <a:pt x="0" y="69176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942" name="Forma livre: Forma 941">
                  <a:extLst>
                    <a:ext uri="{FF2B5EF4-FFF2-40B4-BE49-F238E27FC236}">
                      <a16:creationId xmlns:a16="http://schemas.microsoft.com/office/drawing/2014/main" id="{546AAA26-0045-1158-8355-F6C8BB33278F}"/>
                    </a:ext>
                  </a:extLst>
                </p:cNvPr>
                <p:cNvSpPr/>
                <p:nvPr/>
              </p:nvSpPr>
              <p:spPr>
                <a:xfrm>
                  <a:off x="8656923" y="1195671"/>
                  <a:ext cx="4734" cy="70691"/>
                </a:xfrm>
                <a:custGeom>
                  <a:avLst/>
                  <a:gdLst>
                    <a:gd name="connsiteX0" fmla="*/ 0 w 4734"/>
                    <a:gd name="connsiteY0" fmla="*/ 0 h 70691"/>
                    <a:gd name="connsiteX1" fmla="*/ 0 w 4734"/>
                    <a:gd name="connsiteY1" fmla="*/ 70692 h 7069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734" h="70691">
                      <a:moveTo>
                        <a:pt x="0" y="0"/>
                      </a:moveTo>
                      <a:lnTo>
                        <a:pt x="0" y="70692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943" name="Forma livre: Forma 942">
                  <a:extLst>
                    <a:ext uri="{FF2B5EF4-FFF2-40B4-BE49-F238E27FC236}">
                      <a16:creationId xmlns:a16="http://schemas.microsoft.com/office/drawing/2014/main" id="{784D192F-F30C-23F9-9CB4-2E59AEC7E4EB}"/>
                    </a:ext>
                  </a:extLst>
                </p:cNvPr>
                <p:cNvSpPr/>
                <p:nvPr/>
              </p:nvSpPr>
              <p:spPr>
                <a:xfrm>
                  <a:off x="8639168" y="1141977"/>
                  <a:ext cx="87026" cy="33238"/>
                </a:xfrm>
                <a:custGeom>
                  <a:avLst/>
                  <a:gdLst>
                    <a:gd name="connsiteX0" fmla="*/ 87027 w 87026"/>
                    <a:gd name="connsiteY0" fmla="*/ 33239 h 33238"/>
                    <a:gd name="connsiteX1" fmla="*/ 0 w 87026"/>
                    <a:gd name="connsiteY1" fmla="*/ 33239 h 33238"/>
                    <a:gd name="connsiteX2" fmla="*/ 0 w 87026"/>
                    <a:gd name="connsiteY2" fmla="*/ 0 h 33238"/>
                    <a:gd name="connsiteX3" fmla="*/ 87027 w 87026"/>
                    <a:gd name="connsiteY3" fmla="*/ 0 h 3323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7026" h="33238">
                      <a:moveTo>
                        <a:pt x="87027" y="33239"/>
                      </a:moveTo>
                      <a:lnTo>
                        <a:pt x="0" y="33239"/>
                      </a:lnTo>
                      <a:lnTo>
                        <a:pt x="0" y="0"/>
                      </a:lnTo>
                      <a:lnTo>
                        <a:pt x="87027" y="0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944" name="Forma livre: Forma 943">
                  <a:extLst>
                    <a:ext uri="{FF2B5EF4-FFF2-40B4-BE49-F238E27FC236}">
                      <a16:creationId xmlns:a16="http://schemas.microsoft.com/office/drawing/2014/main" id="{124115E7-D5C3-7AB8-56BF-2E8FE1107CB5}"/>
                    </a:ext>
                  </a:extLst>
                </p:cNvPr>
                <p:cNvSpPr/>
                <p:nvPr/>
              </p:nvSpPr>
              <p:spPr>
                <a:xfrm>
                  <a:off x="8690920" y="1195671"/>
                  <a:ext cx="4734" cy="24526"/>
                </a:xfrm>
                <a:custGeom>
                  <a:avLst/>
                  <a:gdLst>
                    <a:gd name="connsiteX0" fmla="*/ 0 w 4734"/>
                    <a:gd name="connsiteY0" fmla="*/ 0 h 24526"/>
                    <a:gd name="connsiteX1" fmla="*/ 0 w 4734"/>
                    <a:gd name="connsiteY1" fmla="*/ 24527 h 2452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734" h="24526">
                      <a:moveTo>
                        <a:pt x="0" y="0"/>
                      </a:moveTo>
                      <a:lnTo>
                        <a:pt x="0" y="24527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945" name="Forma livre: Forma 944">
                  <a:extLst>
                    <a:ext uri="{FF2B5EF4-FFF2-40B4-BE49-F238E27FC236}">
                      <a16:creationId xmlns:a16="http://schemas.microsoft.com/office/drawing/2014/main" id="{279C31F9-9C71-6346-63A7-B9416EE86495}"/>
                    </a:ext>
                  </a:extLst>
                </p:cNvPr>
                <p:cNvSpPr/>
                <p:nvPr/>
              </p:nvSpPr>
              <p:spPr>
                <a:xfrm>
                  <a:off x="8690920" y="1237101"/>
                  <a:ext cx="4734" cy="24526"/>
                </a:xfrm>
                <a:custGeom>
                  <a:avLst/>
                  <a:gdLst>
                    <a:gd name="connsiteX0" fmla="*/ 0 w 4734"/>
                    <a:gd name="connsiteY0" fmla="*/ 0 h 24526"/>
                    <a:gd name="connsiteX1" fmla="*/ 0 w 4734"/>
                    <a:gd name="connsiteY1" fmla="*/ 24527 h 2452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734" h="24526">
                      <a:moveTo>
                        <a:pt x="0" y="0"/>
                      </a:moveTo>
                      <a:lnTo>
                        <a:pt x="0" y="24527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946" name="Gráfico 11">
                <a:extLst>
                  <a:ext uri="{FF2B5EF4-FFF2-40B4-BE49-F238E27FC236}">
                    <a16:creationId xmlns:a16="http://schemas.microsoft.com/office/drawing/2014/main" id="{885C0BB9-B221-8186-C01F-25AD10AE5D1D}"/>
                  </a:ext>
                </a:extLst>
              </p:cNvPr>
              <p:cNvGrpSpPr/>
              <p:nvPr/>
            </p:nvGrpSpPr>
            <p:grpSpPr>
              <a:xfrm>
                <a:off x="8851242" y="1109969"/>
                <a:ext cx="87500" cy="174290"/>
                <a:chOff x="8851242" y="1109969"/>
                <a:chExt cx="87500" cy="174290"/>
              </a:xfrm>
              <a:noFill/>
            </p:grpSpPr>
            <p:sp>
              <p:nvSpPr>
                <p:cNvPr id="947" name="Forma livre: Forma 946">
                  <a:extLst>
                    <a:ext uri="{FF2B5EF4-FFF2-40B4-BE49-F238E27FC236}">
                      <a16:creationId xmlns:a16="http://schemas.microsoft.com/office/drawing/2014/main" id="{5C2E5576-C7B1-ED77-9AAC-D88EDFCBC009}"/>
                    </a:ext>
                  </a:extLst>
                </p:cNvPr>
                <p:cNvSpPr/>
                <p:nvPr/>
              </p:nvSpPr>
              <p:spPr>
                <a:xfrm>
                  <a:off x="8851242" y="1109969"/>
                  <a:ext cx="4734" cy="174290"/>
                </a:xfrm>
                <a:custGeom>
                  <a:avLst/>
                  <a:gdLst>
                    <a:gd name="connsiteX0" fmla="*/ 0 w 4734"/>
                    <a:gd name="connsiteY0" fmla="*/ 0 h 174290"/>
                    <a:gd name="connsiteX1" fmla="*/ 0 w 4734"/>
                    <a:gd name="connsiteY1" fmla="*/ 174290 h 1742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734" h="174290">
                      <a:moveTo>
                        <a:pt x="0" y="0"/>
                      </a:moveTo>
                      <a:lnTo>
                        <a:pt x="0" y="17429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grpSp>
              <p:nvGrpSpPr>
                <p:cNvPr id="948" name="Gráfico 11">
                  <a:extLst>
                    <a:ext uri="{FF2B5EF4-FFF2-40B4-BE49-F238E27FC236}">
                      <a16:creationId xmlns:a16="http://schemas.microsoft.com/office/drawing/2014/main" id="{5A7D4E7C-2C0F-B406-AA18-430EF4CD5F9B}"/>
                    </a:ext>
                  </a:extLst>
                </p:cNvPr>
                <p:cNvGrpSpPr/>
                <p:nvPr/>
              </p:nvGrpSpPr>
              <p:grpSpPr>
                <a:xfrm>
                  <a:off x="8851668" y="1141977"/>
                  <a:ext cx="87074" cy="141998"/>
                  <a:chOff x="8851668" y="1141977"/>
                  <a:chExt cx="87074" cy="141998"/>
                </a:xfrm>
                <a:noFill/>
              </p:grpSpPr>
              <p:sp>
                <p:nvSpPr>
                  <p:cNvPr id="949" name="Forma livre: Forma 948">
                    <a:extLst>
                      <a:ext uri="{FF2B5EF4-FFF2-40B4-BE49-F238E27FC236}">
                        <a16:creationId xmlns:a16="http://schemas.microsoft.com/office/drawing/2014/main" id="{A5B683EF-1B12-76CF-4A62-47BBF2C5AEAA}"/>
                      </a:ext>
                    </a:extLst>
                  </p:cNvPr>
                  <p:cNvSpPr/>
                  <p:nvPr/>
                </p:nvSpPr>
                <p:spPr>
                  <a:xfrm>
                    <a:off x="8920987" y="1214799"/>
                    <a:ext cx="4734" cy="69176"/>
                  </a:xfrm>
                  <a:custGeom>
                    <a:avLst/>
                    <a:gdLst>
                      <a:gd name="connsiteX0" fmla="*/ 0 w 4734"/>
                      <a:gd name="connsiteY0" fmla="*/ 0 h 69176"/>
                      <a:gd name="connsiteX1" fmla="*/ 0 w 4734"/>
                      <a:gd name="connsiteY1" fmla="*/ 69176 h 6917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4734" h="69176">
                        <a:moveTo>
                          <a:pt x="0" y="0"/>
                        </a:moveTo>
                        <a:lnTo>
                          <a:pt x="0" y="69176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950" name="Forma livre: Forma 949">
                    <a:extLst>
                      <a:ext uri="{FF2B5EF4-FFF2-40B4-BE49-F238E27FC236}">
                        <a16:creationId xmlns:a16="http://schemas.microsoft.com/office/drawing/2014/main" id="{3C1F983C-E72B-0180-C82A-D16B045BF3F6}"/>
                      </a:ext>
                    </a:extLst>
                  </p:cNvPr>
                  <p:cNvSpPr/>
                  <p:nvPr/>
                </p:nvSpPr>
                <p:spPr>
                  <a:xfrm>
                    <a:off x="8920987" y="1195671"/>
                    <a:ext cx="4734" cy="70691"/>
                  </a:xfrm>
                  <a:custGeom>
                    <a:avLst/>
                    <a:gdLst>
                      <a:gd name="connsiteX0" fmla="*/ 0 w 4734"/>
                      <a:gd name="connsiteY0" fmla="*/ 0 h 70691"/>
                      <a:gd name="connsiteX1" fmla="*/ 0 w 4734"/>
                      <a:gd name="connsiteY1" fmla="*/ 70692 h 7069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4734" h="70691">
                        <a:moveTo>
                          <a:pt x="0" y="0"/>
                        </a:moveTo>
                        <a:lnTo>
                          <a:pt x="0" y="70692"/>
                        </a:lnTo>
                      </a:path>
                    </a:pathLst>
                  </a:custGeom>
                  <a:ln w="6350" cap="flat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951" name="Forma livre: Forma 950">
                    <a:extLst>
                      <a:ext uri="{FF2B5EF4-FFF2-40B4-BE49-F238E27FC236}">
                        <a16:creationId xmlns:a16="http://schemas.microsoft.com/office/drawing/2014/main" id="{DFB80902-634D-0E72-3D05-1302A3219CBD}"/>
                      </a:ext>
                    </a:extLst>
                  </p:cNvPr>
                  <p:cNvSpPr/>
                  <p:nvPr/>
                </p:nvSpPr>
                <p:spPr>
                  <a:xfrm>
                    <a:off x="8851668" y="1141977"/>
                    <a:ext cx="87074" cy="33238"/>
                  </a:xfrm>
                  <a:custGeom>
                    <a:avLst/>
                    <a:gdLst>
                      <a:gd name="connsiteX0" fmla="*/ 0 w 87074"/>
                      <a:gd name="connsiteY0" fmla="*/ 33239 h 33238"/>
                      <a:gd name="connsiteX1" fmla="*/ 87074 w 87074"/>
                      <a:gd name="connsiteY1" fmla="*/ 33239 h 33238"/>
                      <a:gd name="connsiteX2" fmla="*/ 87074 w 87074"/>
                      <a:gd name="connsiteY2" fmla="*/ 0 h 33238"/>
                      <a:gd name="connsiteX3" fmla="*/ 0 w 87074"/>
                      <a:gd name="connsiteY3" fmla="*/ 0 h 3323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87074" h="33238">
                        <a:moveTo>
                          <a:pt x="0" y="33239"/>
                        </a:moveTo>
                        <a:lnTo>
                          <a:pt x="87074" y="33239"/>
                        </a:lnTo>
                        <a:lnTo>
                          <a:pt x="87074" y="0"/>
                        </a:lnTo>
                        <a:lnTo>
                          <a:pt x="0" y="0"/>
                        </a:lnTo>
                      </a:path>
                    </a:pathLst>
                  </a:custGeom>
                  <a:noFill/>
                  <a:ln w="6350" cap="flat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952" name="Forma livre: Forma 951">
                    <a:extLst>
                      <a:ext uri="{FF2B5EF4-FFF2-40B4-BE49-F238E27FC236}">
                        <a16:creationId xmlns:a16="http://schemas.microsoft.com/office/drawing/2014/main" id="{990639A5-8F87-6370-D8C3-16E55EECD66E}"/>
                      </a:ext>
                    </a:extLst>
                  </p:cNvPr>
                  <p:cNvSpPr/>
                  <p:nvPr/>
                </p:nvSpPr>
                <p:spPr>
                  <a:xfrm>
                    <a:off x="8886991" y="1195671"/>
                    <a:ext cx="4734" cy="24526"/>
                  </a:xfrm>
                  <a:custGeom>
                    <a:avLst/>
                    <a:gdLst>
                      <a:gd name="connsiteX0" fmla="*/ 0 w 4734"/>
                      <a:gd name="connsiteY0" fmla="*/ 0 h 24526"/>
                      <a:gd name="connsiteX1" fmla="*/ 0 w 4734"/>
                      <a:gd name="connsiteY1" fmla="*/ 24527 h 2452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4734" h="24526">
                        <a:moveTo>
                          <a:pt x="0" y="0"/>
                        </a:moveTo>
                        <a:lnTo>
                          <a:pt x="0" y="24527"/>
                        </a:lnTo>
                      </a:path>
                    </a:pathLst>
                  </a:custGeom>
                  <a:ln w="6350" cap="flat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953" name="Forma livre: Forma 952">
                    <a:extLst>
                      <a:ext uri="{FF2B5EF4-FFF2-40B4-BE49-F238E27FC236}">
                        <a16:creationId xmlns:a16="http://schemas.microsoft.com/office/drawing/2014/main" id="{C081403E-B029-0181-C9C9-5D133482FE22}"/>
                      </a:ext>
                    </a:extLst>
                  </p:cNvPr>
                  <p:cNvSpPr/>
                  <p:nvPr/>
                </p:nvSpPr>
                <p:spPr>
                  <a:xfrm>
                    <a:off x="8886991" y="1237101"/>
                    <a:ext cx="4734" cy="24526"/>
                  </a:xfrm>
                  <a:custGeom>
                    <a:avLst/>
                    <a:gdLst>
                      <a:gd name="connsiteX0" fmla="*/ 0 w 4734"/>
                      <a:gd name="connsiteY0" fmla="*/ 0 h 24526"/>
                      <a:gd name="connsiteX1" fmla="*/ 0 w 4734"/>
                      <a:gd name="connsiteY1" fmla="*/ 24527 h 2452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4734" h="24526">
                        <a:moveTo>
                          <a:pt x="0" y="0"/>
                        </a:moveTo>
                        <a:lnTo>
                          <a:pt x="0" y="24527"/>
                        </a:lnTo>
                      </a:path>
                    </a:pathLst>
                  </a:custGeom>
                  <a:ln w="6350" cap="flat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</p:grpSp>
        </p:grpSp>
      </p:grpSp>
      <p:grpSp>
        <p:nvGrpSpPr>
          <p:cNvPr id="955" name="Gráfico 13">
            <a:extLst>
              <a:ext uri="{FF2B5EF4-FFF2-40B4-BE49-F238E27FC236}">
                <a16:creationId xmlns:a16="http://schemas.microsoft.com/office/drawing/2014/main" id="{08E1CD52-4B94-03C7-F0F7-52CC32B83006}"/>
              </a:ext>
            </a:extLst>
          </p:cNvPr>
          <p:cNvGrpSpPr/>
          <p:nvPr/>
        </p:nvGrpSpPr>
        <p:grpSpPr>
          <a:xfrm>
            <a:off x="2026348" y="3664948"/>
            <a:ext cx="289154" cy="243363"/>
            <a:chOff x="2026348" y="3664948"/>
            <a:chExt cx="289154" cy="243363"/>
          </a:xfrm>
          <a:noFill/>
        </p:grpSpPr>
        <p:sp>
          <p:nvSpPr>
            <p:cNvPr id="956" name="Forma livre: Forma 955">
              <a:extLst>
                <a:ext uri="{FF2B5EF4-FFF2-40B4-BE49-F238E27FC236}">
                  <a16:creationId xmlns:a16="http://schemas.microsoft.com/office/drawing/2014/main" id="{E869BBBE-6E80-FBE7-BB1D-0F4BF1DA2428}"/>
                </a:ext>
              </a:extLst>
            </p:cNvPr>
            <p:cNvSpPr/>
            <p:nvPr/>
          </p:nvSpPr>
          <p:spPr>
            <a:xfrm>
              <a:off x="2112919" y="3908312"/>
              <a:ext cx="115916" cy="4725"/>
            </a:xfrm>
            <a:custGeom>
              <a:avLst/>
              <a:gdLst>
                <a:gd name="connsiteX0" fmla="*/ 0 w 115916"/>
                <a:gd name="connsiteY0" fmla="*/ 0 h 4725"/>
                <a:gd name="connsiteX1" fmla="*/ 115917 w 115916"/>
                <a:gd name="connsiteY1" fmla="*/ 0 h 47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5916" h="4725">
                  <a:moveTo>
                    <a:pt x="0" y="0"/>
                  </a:moveTo>
                  <a:lnTo>
                    <a:pt x="115917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957" name="Gráfico 13">
              <a:extLst>
                <a:ext uri="{FF2B5EF4-FFF2-40B4-BE49-F238E27FC236}">
                  <a16:creationId xmlns:a16="http://schemas.microsoft.com/office/drawing/2014/main" id="{7C2F9DC9-88D8-F4DC-B3DD-6F10AB8A4BCE}"/>
                </a:ext>
              </a:extLst>
            </p:cNvPr>
            <p:cNvGrpSpPr/>
            <p:nvPr/>
          </p:nvGrpSpPr>
          <p:grpSpPr>
            <a:xfrm>
              <a:off x="2139240" y="3864223"/>
              <a:ext cx="63274" cy="42104"/>
              <a:chOff x="2139240" y="3864223"/>
              <a:chExt cx="63274" cy="42104"/>
            </a:xfrm>
          </p:grpSpPr>
          <p:sp>
            <p:nvSpPr>
              <p:cNvPr id="958" name="Forma livre: Forma 957">
                <a:extLst>
                  <a:ext uri="{FF2B5EF4-FFF2-40B4-BE49-F238E27FC236}">
                    <a16:creationId xmlns:a16="http://schemas.microsoft.com/office/drawing/2014/main" id="{EEFBA6E1-6460-309E-9E4C-4AFF2603C7B8}"/>
                  </a:ext>
                </a:extLst>
              </p:cNvPr>
              <p:cNvSpPr/>
              <p:nvPr/>
            </p:nvSpPr>
            <p:spPr>
              <a:xfrm>
                <a:off x="2202515" y="3864223"/>
                <a:ext cx="4725" cy="42104"/>
              </a:xfrm>
              <a:custGeom>
                <a:avLst/>
                <a:gdLst>
                  <a:gd name="connsiteX0" fmla="*/ 0 w 4725"/>
                  <a:gd name="connsiteY0" fmla="*/ 0 h 42104"/>
                  <a:gd name="connsiteX1" fmla="*/ 0 w 4725"/>
                  <a:gd name="connsiteY1" fmla="*/ 42104 h 421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25" h="42104">
                    <a:moveTo>
                      <a:pt x="0" y="0"/>
                    </a:moveTo>
                    <a:lnTo>
                      <a:pt x="0" y="42104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59" name="Forma livre: Forma 958">
                <a:extLst>
                  <a:ext uri="{FF2B5EF4-FFF2-40B4-BE49-F238E27FC236}">
                    <a16:creationId xmlns:a16="http://schemas.microsoft.com/office/drawing/2014/main" id="{16502E7A-4686-207A-20A7-4CB82F4AF431}"/>
                  </a:ext>
                </a:extLst>
              </p:cNvPr>
              <p:cNvSpPr/>
              <p:nvPr/>
            </p:nvSpPr>
            <p:spPr>
              <a:xfrm>
                <a:off x="2139240" y="3864223"/>
                <a:ext cx="4725" cy="42104"/>
              </a:xfrm>
              <a:custGeom>
                <a:avLst/>
                <a:gdLst>
                  <a:gd name="connsiteX0" fmla="*/ 0 w 4725"/>
                  <a:gd name="connsiteY0" fmla="*/ 0 h 42104"/>
                  <a:gd name="connsiteX1" fmla="*/ 0 w 4725"/>
                  <a:gd name="connsiteY1" fmla="*/ 42104 h 421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25" h="42104">
                    <a:moveTo>
                      <a:pt x="0" y="0"/>
                    </a:moveTo>
                    <a:lnTo>
                      <a:pt x="0" y="42104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960" name="Forma livre: Forma 959">
              <a:extLst>
                <a:ext uri="{FF2B5EF4-FFF2-40B4-BE49-F238E27FC236}">
                  <a16:creationId xmlns:a16="http://schemas.microsoft.com/office/drawing/2014/main" id="{9990D86C-4470-BF0E-5C84-7C204F6A31BF}"/>
                </a:ext>
              </a:extLst>
            </p:cNvPr>
            <p:cNvSpPr/>
            <p:nvPr/>
          </p:nvSpPr>
          <p:spPr>
            <a:xfrm>
              <a:off x="2026348" y="3664948"/>
              <a:ext cx="289154" cy="197573"/>
            </a:xfrm>
            <a:custGeom>
              <a:avLst/>
              <a:gdLst>
                <a:gd name="connsiteX0" fmla="*/ 13326 w 289154"/>
                <a:gd name="connsiteY0" fmla="*/ 0 h 197573"/>
                <a:gd name="connsiteX1" fmla="*/ 275734 w 289154"/>
                <a:gd name="connsiteY1" fmla="*/ 0 h 197573"/>
                <a:gd name="connsiteX2" fmla="*/ 289154 w 289154"/>
                <a:gd name="connsiteY2" fmla="*/ 13420 h 197573"/>
                <a:gd name="connsiteX3" fmla="*/ 289154 w 289154"/>
                <a:gd name="connsiteY3" fmla="*/ 184200 h 197573"/>
                <a:gd name="connsiteX4" fmla="*/ 275781 w 289154"/>
                <a:gd name="connsiteY4" fmla="*/ 197574 h 197573"/>
                <a:gd name="connsiteX5" fmla="*/ 13373 w 289154"/>
                <a:gd name="connsiteY5" fmla="*/ 197574 h 197573"/>
                <a:gd name="connsiteX6" fmla="*/ 0 w 289154"/>
                <a:gd name="connsiteY6" fmla="*/ 184200 h 197573"/>
                <a:gd name="connsiteX7" fmla="*/ 0 w 289154"/>
                <a:gd name="connsiteY7" fmla="*/ 13373 h 197573"/>
                <a:gd name="connsiteX8" fmla="*/ 13373 w 289154"/>
                <a:gd name="connsiteY8" fmla="*/ 0 h 1975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9154" h="197573">
                  <a:moveTo>
                    <a:pt x="13326" y="0"/>
                  </a:moveTo>
                  <a:lnTo>
                    <a:pt x="275734" y="0"/>
                  </a:lnTo>
                  <a:cubicBezTo>
                    <a:pt x="283105" y="0"/>
                    <a:pt x="289154" y="6001"/>
                    <a:pt x="289154" y="13420"/>
                  </a:cubicBezTo>
                  <a:lnTo>
                    <a:pt x="289154" y="184200"/>
                  </a:lnTo>
                  <a:cubicBezTo>
                    <a:pt x="289154" y="191572"/>
                    <a:pt x="283153" y="197574"/>
                    <a:pt x="275781" y="197574"/>
                  </a:cubicBezTo>
                  <a:lnTo>
                    <a:pt x="13373" y="197574"/>
                  </a:lnTo>
                  <a:cubicBezTo>
                    <a:pt x="6001" y="197574"/>
                    <a:pt x="0" y="191572"/>
                    <a:pt x="0" y="184200"/>
                  </a:cubicBezTo>
                  <a:lnTo>
                    <a:pt x="0" y="13373"/>
                  </a:lnTo>
                  <a:cubicBezTo>
                    <a:pt x="0" y="6001"/>
                    <a:pt x="6001" y="0"/>
                    <a:pt x="13373" y="0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61" name="Forma livre: Forma 960">
              <a:extLst>
                <a:ext uri="{FF2B5EF4-FFF2-40B4-BE49-F238E27FC236}">
                  <a16:creationId xmlns:a16="http://schemas.microsoft.com/office/drawing/2014/main" id="{6B436AD5-03F2-6614-8A3F-E0B9117E123F}"/>
                </a:ext>
              </a:extLst>
            </p:cNvPr>
            <p:cNvSpPr/>
            <p:nvPr/>
          </p:nvSpPr>
          <p:spPr>
            <a:xfrm>
              <a:off x="2125489" y="3741454"/>
              <a:ext cx="31991" cy="12569"/>
            </a:xfrm>
            <a:custGeom>
              <a:avLst/>
              <a:gdLst>
                <a:gd name="connsiteX0" fmla="*/ 0 w 31991"/>
                <a:gd name="connsiteY0" fmla="*/ 0 h 12569"/>
                <a:gd name="connsiteX1" fmla="*/ 31992 w 31991"/>
                <a:gd name="connsiteY1" fmla="*/ 12570 h 125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1991" h="12569">
                  <a:moveTo>
                    <a:pt x="0" y="0"/>
                  </a:moveTo>
                  <a:lnTo>
                    <a:pt x="31992" y="1257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62" name="Forma livre: Forma 961">
              <a:extLst>
                <a:ext uri="{FF2B5EF4-FFF2-40B4-BE49-F238E27FC236}">
                  <a16:creationId xmlns:a16="http://schemas.microsoft.com/office/drawing/2014/main" id="{CCA4CA14-FC30-8687-8485-446116A4F871}"/>
                </a:ext>
              </a:extLst>
            </p:cNvPr>
            <p:cNvSpPr/>
            <p:nvPr/>
          </p:nvSpPr>
          <p:spPr>
            <a:xfrm>
              <a:off x="2191302" y="3700290"/>
              <a:ext cx="41790" cy="41163"/>
            </a:xfrm>
            <a:custGeom>
              <a:avLst/>
              <a:gdLst>
                <a:gd name="connsiteX0" fmla="*/ 25861 w 41790"/>
                <a:gd name="connsiteY0" fmla="*/ 41164 h 41163"/>
                <a:gd name="connsiteX1" fmla="*/ 41078 w 41790"/>
                <a:gd name="connsiteY1" fmla="*/ 26278 h 41163"/>
                <a:gd name="connsiteX2" fmla="*/ 26287 w 41790"/>
                <a:gd name="connsiteY2" fmla="*/ 713 h 41163"/>
                <a:gd name="connsiteX3" fmla="*/ 722 w 41790"/>
                <a:gd name="connsiteY3" fmla="*/ 15457 h 41163"/>
                <a:gd name="connsiteX4" fmla="*/ 2801 w 41790"/>
                <a:gd name="connsiteY4" fmla="*/ 31287 h 411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1790" h="41163">
                  <a:moveTo>
                    <a:pt x="25861" y="41164"/>
                  </a:moveTo>
                  <a:cubicBezTo>
                    <a:pt x="33044" y="39415"/>
                    <a:pt x="39046" y="33934"/>
                    <a:pt x="41078" y="26278"/>
                  </a:cubicBezTo>
                  <a:cubicBezTo>
                    <a:pt x="44055" y="15126"/>
                    <a:pt x="37439" y="3690"/>
                    <a:pt x="26287" y="713"/>
                  </a:cubicBezTo>
                  <a:cubicBezTo>
                    <a:pt x="15135" y="-2264"/>
                    <a:pt x="3746" y="4352"/>
                    <a:pt x="722" y="15457"/>
                  </a:cubicBezTo>
                  <a:cubicBezTo>
                    <a:pt x="-790" y="21033"/>
                    <a:pt x="155" y="26656"/>
                    <a:pt x="2801" y="31287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63" name="Forma livre: Forma 962">
              <a:extLst>
                <a:ext uri="{FF2B5EF4-FFF2-40B4-BE49-F238E27FC236}">
                  <a16:creationId xmlns:a16="http://schemas.microsoft.com/office/drawing/2014/main" id="{389F6B90-FC4D-BDF7-1D9D-C06AB046EF07}"/>
                </a:ext>
              </a:extLst>
            </p:cNvPr>
            <p:cNvSpPr/>
            <p:nvPr/>
          </p:nvSpPr>
          <p:spPr>
            <a:xfrm>
              <a:off x="2154504" y="3730963"/>
              <a:ext cx="74852" cy="74096"/>
            </a:xfrm>
            <a:custGeom>
              <a:avLst/>
              <a:gdLst>
                <a:gd name="connsiteX0" fmla="*/ 73671 w 74852"/>
                <a:gd name="connsiteY0" fmla="*/ 46877 h 74096"/>
                <a:gd name="connsiteX1" fmla="*/ 74852 w 74852"/>
                <a:gd name="connsiteY1" fmla="*/ 37426 h 74096"/>
                <a:gd name="connsiteX2" fmla="*/ 37426 w 74852"/>
                <a:gd name="connsiteY2" fmla="*/ 0 h 74096"/>
                <a:gd name="connsiteX3" fmla="*/ 0 w 74852"/>
                <a:gd name="connsiteY3" fmla="*/ 37426 h 74096"/>
                <a:gd name="connsiteX4" fmla="*/ 29865 w 74852"/>
                <a:gd name="connsiteY4" fmla="*/ 74096 h 740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4852" h="74096">
                  <a:moveTo>
                    <a:pt x="73671" y="46877"/>
                  </a:moveTo>
                  <a:cubicBezTo>
                    <a:pt x="74474" y="43853"/>
                    <a:pt x="74852" y="40687"/>
                    <a:pt x="74852" y="37426"/>
                  </a:cubicBezTo>
                  <a:cubicBezTo>
                    <a:pt x="74852" y="16728"/>
                    <a:pt x="58124" y="0"/>
                    <a:pt x="37426" y="0"/>
                  </a:cubicBezTo>
                  <a:cubicBezTo>
                    <a:pt x="16728" y="0"/>
                    <a:pt x="0" y="16728"/>
                    <a:pt x="0" y="37426"/>
                  </a:cubicBezTo>
                  <a:cubicBezTo>
                    <a:pt x="0" y="55525"/>
                    <a:pt x="12853" y="70599"/>
                    <a:pt x="29865" y="74096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64" name="Forma livre: Forma 963">
              <a:extLst>
                <a:ext uri="{FF2B5EF4-FFF2-40B4-BE49-F238E27FC236}">
                  <a16:creationId xmlns:a16="http://schemas.microsoft.com/office/drawing/2014/main" id="{387287A8-1CB1-0A0C-D9C3-EE12D9EC5FB1}"/>
                </a:ext>
              </a:extLst>
            </p:cNvPr>
            <p:cNvSpPr/>
            <p:nvPr/>
          </p:nvSpPr>
          <p:spPr>
            <a:xfrm>
              <a:off x="2206590" y="3777190"/>
              <a:ext cx="48839" cy="48839"/>
            </a:xfrm>
            <a:custGeom>
              <a:avLst/>
              <a:gdLst>
                <a:gd name="connsiteX0" fmla="*/ 48000 w 48839"/>
                <a:gd name="connsiteY0" fmla="*/ 18088 h 48839"/>
                <a:gd name="connsiteX1" fmla="*/ 30752 w 48839"/>
                <a:gd name="connsiteY1" fmla="*/ 48000 h 48839"/>
                <a:gd name="connsiteX2" fmla="*/ 839 w 48839"/>
                <a:gd name="connsiteY2" fmla="*/ 30752 h 48839"/>
                <a:gd name="connsiteX3" fmla="*/ 18135 w 48839"/>
                <a:gd name="connsiteY3" fmla="*/ 840 h 48839"/>
                <a:gd name="connsiteX4" fmla="*/ 48047 w 48839"/>
                <a:gd name="connsiteY4" fmla="*/ 18088 h 488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8839" h="48839">
                  <a:moveTo>
                    <a:pt x="48000" y="18088"/>
                  </a:moveTo>
                  <a:cubicBezTo>
                    <a:pt x="51497" y="31130"/>
                    <a:pt x="43747" y="44503"/>
                    <a:pt x="30752" y="48000"/>
                  </a:cubicBezTo>
                  <a:cubicBezTo>
                    <a:pt x="17709" y="51497"/>
                    <a:pt x="4336" y="43747"/>
                    <a:pt x="839" y="30752"/>
                  </a:cubicBezTo>
                  <a:cubicBezTo>
                    <a:pt x="-2658" y="17710"/>
                    <a:pt x="5092" y="4336"/>
                    <a:pt x="18135" y="840"/>
                  </a:cubicBezTo>
                  <a:cubicBezTo>
                    <a:pt x="31177" y="-2657"/>
                    <a:pt x="44550" y="5092"/>
                    <a:pt x="48047" y="18088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65" name="Forma livre: Forma 964">
              <a:extLst>
                <a:ext uri="{FF2B5EF4-FFF2-40B4-BE49-F238E27FC236}">
                  <a16:creationId xmlns:a16="http://schemas.microsoft.com/office/drawing/2014/main" id="{CDFCDDF9-BD70-69A3-FBC6-D6655AEE421F}"/>
                </a:ext>
              </a:extLst>
            </p:cNvPr>
            <p:cNvSpPr/>
            <p:nvPr/>
          </p:nvSpPr>
          <p:spPr>
            <a:xfrm>
              <a:off x="2078103" y="3708292"/>
              <a:ext cx="48839" cy="48839"/>
            </a:xfrm>
            <a:custGeom>
              <a:avLst/>
              <a:gdLst>
                <a:gd name="connsiteX0" fmla="*/ 48000 w 48839"/>
                <a:gd name="connsiteY0" fmla="*/ 18088 h 48839"/>
                <a:gd name="connsiteX1" fmla="*/ 30752 w 48839"/>
                <a:gd name="connsiteY1" fmla="*/ 48000 h 48839"/>
                <a:gd name="connsiteX2" fmla="*/ 839 w 48839"/>
                <a:gd name="connsiteY2" fmla="*/ 30752 h 48839"/>
                <a:gd name="connsiteX3" fmla="*/ 18135 w 48839"/>
                <a:gd name="connsiteY3" fmla="*/ 840 h 48839"/>
                <a:gd name="connsiteX4" fmla="*/ 48047 w 48839"/>
                <a:gd name="connsiteY4" fmla="*/ 18088 h 488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8839" h="48839">
                  <a:moveTo>
                    <a:pt x="48000" y="18088"/>
                  </a:moveTo>
                  <a:cubicBezTo>
                    <a:pt x="51497" y="31130"/>
                    <a:pt x="43747" y="44503"/>
                    <a:pt x="30752" y="48000"/>
                  </a:cubicBezTo>
                  <a:cubicBezTo>
                    <a:pt x="17709" y="51497"/>
                    <a:pt x="4336" y="43747"/>
                    <a:pt x="839" y="30752"/>
                  </a:cubicBezTo>
                  <a:cubicBezTo>
                    <a:pt x="-2658" y="17710"/>
                    <a:pt x="5092" y="4336"/>
                    <a:pt x="18135" y="840"/>
                  </a:cubicBezTo>
                  <a:cubicBezTo>
                    <a:pt x="31177" y="-2657"/>
                    <a:pt x="44550" y="5092"/>
                    <a:pt x="48047" y="18088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966" name="Gráfico 13">
            <a:extLst>
              <a:ext uri="{FF2B5EF4-FFF2-40B4-BE49-F238E27FC236}">
                <a16:creationId xmlns:a16="http://schemas.microsoft.com/office/drawing/2014/main" id="{C35296C1-9CC0-01D6-F973-F9E7943C3640}"/>
              </a:ext>
            </a:extLst>
          </p:cNvPr>
          <p:cNvGrpSpPr/>
          <p:nvPr/>
        </p:nvGrpSpPr>
        <p:grpSpPr>
          <a:xfrm>
            <a:off x="1431170" y="4170625"/>
            <a:ext cx="269543" cy="281120"/>
            <a:chOff x="1431170" y="4170625"/>
            <a:chExt cx="269543" cy="281120"/>
          </a:xfrm>
          <a:noFill/>
        </p:grpSpPr>
        <p:sp>
          <p:nvSpPr>
            <p:cNvPr id="967" name="Forma livre: Forma 966">
              <a:extLst>
                <a:ext uri="{FF2B5EF4-FFF2-40B4-BE49-F238E27FC236}">
                  <a16:creationId xmlns:a16="http://schemas.microsoft.com/office/drawing/2014/main" id="{A8D67B1C-A3F7-4DFB-5BAD-CF5640964540}"/>
                </a:ext>
              </a:extLst>
            </p:cNvPr>
            <p:cNvSpPr/>
            <p:nvPr/>
          </p:nvSpPr>
          <p:spPr>
            <a:xfrm>
              <a:off x="1476393" y="4299017"/>
              <a:ext cx="44183" cy="4016"/>
            </a:xfrm>
            <a:custGeom>
              <a:avLst/>
              <a:gdLst>
                <a:gd name="connsiteX0" fmla="*/ 0 w 44183"/>
                <a:gd name="connsiteY0" fmla="*/ 0 h 4016"/>
                <a:gd name="connsiteX1" fmla="*/ 44184 w 44183"/>
                <a:gd name="connsiteY1" fmla="*/ 4017 h 40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4183" h="4016">
                  <a:moveTo>
                    <a:pt x="0" y="0"/>
                  </a:moveTo>
                  <a:lnTo>
                    <a:pt x="44184" y="4017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68" name="Forma livre: Forma 967">
              <a:extLst>
                <a:ext uri="{FF2B5EF4-FFF2-40B4-BE49-F238E27FC236}">
                  <a16:creationId xmlns:a16="http://schemas.microsoft.com/office/drawing/2014/main" id="{4D46251D-6A08-F9C3-2583-DEC5E41A315F}"/>
                </a:ext>
              </a:extLst>
            </p:cNvPr>
            <p:cNvSpPr/>
            <p:nvPr/>
          </p:nvSpPr>
          <p:spPr>
            <a:xfrm>
              <a:off x="1565847" y="4224401"/>
              <a:ext cx="850" cy="37993"/>
            </a:xfrm>
            <a:custGeom>
              <a:avLst/>
              <a:gdLst>
                <a:gd name="connsiteX0" fmla="*/ 0 w 850"/>
                <a:gd name="connsiteY0" fmla="*/ 37993 h 37993"/>
                <a:gd name="connsiteX1" fmla="*/ 851 w 850"/>
                <a:gd name="connsiteY1" fmla="*/ 0 h 379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50" h="37993">
                  <a:moveTo>
                    <a:pt x="0" y="37993"/>
                  </a:moveTo>
                  <a:lnTo>
                    <a:pt x="851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69" name="Forma livre: Forma 968">
              <a:extLst>
                <a:ext uri="{FF2B5EF4-FFF2-40B4-BE49-F238E27FC236}">
                  <a16:creationId xmlns:a16="http://schemas.microsoft.com/office/drawing/2014/main" id="{CB00297B-ABD7-F8D1-77EA-26FCE71029D4}"/>
                </a:ext>
              </a:extLst>
            </p:cNvPr>
            <p:cNvSpPr/>
            <p:nvPr/>
          </p:nvSpPr>
          <p:spPr>
            <a:xfrm>
              <a:off x="1603698" y="4251809"/>
              <a:ext cx="59163" cy="33314"/>
            </a:xfrm>
            <a:custGeom>
              <a:avLst/>
              <a:gdLst>
                <a:gd name="connsiteX0" fmla="*/ 0 w 59163"/>
                <a:gd name="connsiteY0" fmla="*/ 33315 h 33314"/>
                <a:gd name="connsiteX1" fmla="*/ 59163 w 59163"/>
                <a:gd name="connsiteY1" fmla="*/ 0 h 333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9163" h="33314">
                  <a:moveTo>
                    <a:pt x="0" y="33315"/>
                  </a:moveTo>
                  <a:lnTo>
                    <a:pt x="59163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70" name="Forma livre: Forma 969">
              <a:extLst>
                <a:ext uri="{FF2B5EF4-FFF2-40B4-BE49-F238E27FC236}">
                  <a16:creationId xmlns:a16="http://schemas.microsoft.com/office/drawing/2014/main" id="{8D3BFED0-B969-D3AB-5C25-2B995E6C4B8B}"/>
                </a:ext>
              </a:extLst>
            </p:cNvPr>
            <p:cNvSpPr/>
            <p:nvPr/>
          </p:nvSpPr>
          <p:spPr>
            <a:xfrm>
              <a:off x="1660546" y="4221708"/>
              <a:ext cx="40166" cy="40166"/>
            </a:xfrm>
            <a:custGeom>
              <a:avLst/>
              <a:gdLst>
                <a:gd name="connsiteX0" fmla="*/ 40167 w 40166"/>
                <a:gd name="connsiteY0" fmla="*/ 20083 h 40166"/>
                <a:gd name="connsiteX1" fmla="*/ 20083 w 40166"/>
                <a:gd name="connsiteY1" fmla="*/ 40167 h 40166"/>
                <a:gd name="connsiteX2" fmla="*/ 0 w 40166"/>
                <a:gd name="connsiteY2" fmla="*/ 20083 h 40166"/>
                <a:gd name="connsiteX3" fmla="*/ 20083 w 40166"/>
                <a:gd name="connsiteY3" fmla="*/ 0 h 40166"/>
                <a:gd name="connsiteX4" fmla="*/ 40167 w 40166"/>
                <a:gd name="connsiteY4" fmla="*/ 20083 h 401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0166" h="40166">
                  <a:moveTo>
                    <a:pt x="40167" y="20083"/>
                  </a:moveTo>
                  <a:cubicBezTo>
                    <a:pt x="40167" y="31188"/>
                    <a:pt x="31188" y="40167"/>
                    <a:pt x="20083" y="40167"/>
                  </a:cubicBezTo>
                  <a:cubicBezTo>
                    <a:pt x="8978" y="40167"/>
                    <a:pt x="0" y="31188"/>
                    <a:pt x="0" y="20083"/>
                  </a:cubicBezTo>
                  <a:cubicBezTo>
                    <a:pt x="0" y="8978"/>
                    <a:pt x="8978" y="0"/>
                    <a:pt x="20083" y="0"/>
                  </a:cubicBezTo>
                  <a:cubicBezTo>
                    <a:pt x="31188" y="0"/>
                    <a:pt x="40167" y="8978"/>
                    <a:pt x="40167" y="20083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71" name="Forma livre: Forma 970">
              <a:extLst>
                <a:ext uri="{FF2B5EF4-FFF2-40B4-BE49-F238E27FC236}">
                  <a16:creationId xmlns:a16="http://schemas.microsoft.com/office/drawing/2014/main" id="{6ACDC857-42E0-4085-875A-5AF28BBB12F1}"/>
                </a:ext>
              </a:extLst>
            </p:cNvPr>
            <p:cNvSpPr/>
            <p:nvPr/>
          </p:nvSpPr>
          <p:spPr>
            <a:xfrm>
              <a:off x="1593774" y="4340932"/>
              <a:ext cx="27833" cy="32700"/>
            </a:xfrm>
            <a:custGeom>
              <a:avLst/>
              <a:gdLst>
                <a:gd name="connsiteX0" fmla="*/ 0 w 27833"/>
                <a:gd name="connsiteY0" fmla="*/ 0 h 32700"/>
                <a:gd name="connsiteX1" fmla="*/ 27833 w 27833"/>
                <a:gd name="connsiteY1" fmla="*/ 32701 h 327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7833" h="32700">
                  <a:moveTo>
                    <a:pt x="0" y="0"/>
                  </a:moveTo>
                  <a:lnTo>
                    <a:pt x="27833" y="32701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72" name="Forma livre: Forma 971">
              <a:extLst>
                <a:ext uri="{FF2B5EF4-FFF2-40B4-BE49-F238E27FC236}">
                  <a16:creationId xmlns:a16="http://schemas.microsoft.com/office/drawing/2014/main" id="{76D8E773-8D2A-4F3E-12F0-B7118D717CDC}"/>
                </a:ext>
              </a:extLst>
            </p:cNvPr>
            <p:cNvSpPr/>
            <p:nvPr/>
          </p:nvSpPr>
          <p:spPr>
            <a:xfrm>
              <a:off x="1476015" y="4339845"/>
              <a:ext cx="59021" cy="64928"/>
            </a:xfrm>
            <a:custGeom>
              <a:avLst/>
              <a:gdLst>
                <a:gd name="connsiteX0" fmla="*/ 59022 w 59021"/>
                <a:gd name="connsiteY0" fmla="*/ 0 h 64928"/>
                <a:gd name="connsiteX1" fmla="*/ 0 w 59021"/>
                <a:gd name="connsiteY1" fmla="*/ 64929 h 649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9021" h="64928">
                  <a:moveTo>
                    <a:pt x="59022" y="0"/>
                  </a:moveTo>
                  <a:lnTo>
                    <a:pt x="0" y="64929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73" name="Forma livre: Forma 972">
              <a:extLst>
                <a:ext uri="{FF2B5EF4-FFF2-40B4-BE49-F238E27FC236}">
                  <a16:creationId xmlns:a16="http://schemas.microsoft.com/office/drawing/2014/main" id="{4E122256-DF7B-69B8-2165-1172A38DD491}"/>
                </a:ext>
              </a:extLst>
            </p:cNvPr>
            <p:cNvSpPr/>
            <p:nvPr/>
          </p:nvSpPr>
          <p:spPr>
            <a:xfrm>
              <a:off x="1520718" y="4262819"/>
              <a:ext cx="88367" cy="88367"/>
            </a:xfrm>
            <a:custGeom>
              <a:avLst/>
              <a:gdLst>
                <a:gd name="connsiteX0" fmla="*/ 88367 w 88367"/>
                <a:gd name="connsiteY0" fmla="*/ 44184 h 88367"/>
                <a:gd name="connsiteX1" fmla="*/ 44183 w 88367"/>
                <a:gd name="connsiteY1" fmla="*/ 88367 h 88367"/>
                <a:gd name="connsiteX2" fmla="*/ 0 w 88367"/>
                <a:gd name="connsiteY2" fmla="*/ 44184 h 88367"/>
                <a:gd name="connsiteX3" fmla="*/ 44183 w 88367"/>
                <a:gd name="connsiteY3" fmla="*/ 0 h 88367"/>
                <a:gd name="connsiteX4" fmla="*/ 88367 w 88367"/>
                <a:gd name="connsiteY4" fmla="*/ 44184 h 883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367" h="88367">
                  <a:moveTo>
                    <a:pt x="88367" y="44184"/>
                  </a:moveTo>
                  <a:cubicBezTo>
                    <a:pt x="88367" y="68614"/>
                    <a:pt x="68567" y="88367"/>
                    <a:pt x="44183" y="88367"/>
                  </a:cubicBezTo>
                  <a:cubicBezTo>
                    <a:pt x="19800" y="88367"/>
                    <a:pt x="0" y="68567"/>
                    <a:pt x="0" y="44184"/>
                  </a:cubicBezTo>
                  <a:cubicBezTo>
                    <a:pt x="0" y="19800"/>
                    <a:pt x="19800" y="0"/>
                    <a:pt x="44183" y="0"/>
                  </a:cubicBezTo>
                  <a:cubicBezTo>
                    <a:pt x="68567" y="0"/>
                    <a:pt x="88367" y="19800"/>
                    <a:pt x="88367" y="44184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74" name="Forma livre: Forma 973">
              <a:extLst>
                <a:ext uri="{FF2B5EF4-FFF2-40B4-BE49-F238E27FC236}">
                  <a16:creationId xmlns:a16="http://schemas.microsoft.com/office/drawing/2014/main" id="{AAC5BF8A-C506-1E98-30CD-E8007ECF7768}"/>
                </a:ext>
              </a:extLst>
            </p:cNvPr>
            <p:cNvSpPr/>
            <p:nvPr/>
          </p:nvSpPr>
          <p:spPr>
            <a:xfrm>
              <a:off x="1436084" y="4276854"/>
              <a:ext cx="40166" cy="40166"/>
            </a:xfrm>
            <a:custGeom>
              <a:avLst/>
              <a:gdLst>
                <a:gd name="connsiteX0" fmla="*/ 40167 w 40166"/>
                <a:gd name="connsiteY0" fmla="*/ 20083 h 40166"/>
                <a:gd name="connsiteX1" fmla="*/ 20083 w 40166"/>
                <a:gd name="connsiteY1" fmla="*/ 40167 h 40166"/>
                <a:gd name="connsiteX2" fmla="*/ 0 w 40166"/>
                <a:gd name="connsiteY2" fmla="*/ 20083 h 40166"/>
                <a:gd name="connsiteX3" fmla="*/ 20083 w 40166"/>
                <a:gd name="connsiteY3" fmla="*/ 0 h 40166"/>
                <a:gd name="connsiteX4" fmla="*/ 40167 w 40166"/>
                <a:gd name="connsiteY4" fmla="*/ 20083 h 401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0166" h="40166">
                  <a:moveTo>
                    <a:pt x="40167" y="20083"/>
                  </a:moveTo>
                  <a:cubicBezTo>
                    <a:pt x="40167" y="31188"/>
                    <a:pt x="31188" y="40167"/>
                    <a:pt x="20083" y="40167"/>
                  </a:cubicBezTo>
                  <a:cubicBezTo>
                    <a:pt x="8978" y="40167"/>
                    <a:pt x="0" y="31188"/>
                    <a:pt x="0" y="20083"/>
                  </a:cubicBezTo>
                  <a:cubicBezTo>
                    <a:pt x="0" y="8979"/>
                    <a:pt x="8978" y="0"/>
                    <a:pt x="20083" y="0"/>
                  </a:cubicBezTo>
                  <a:cubicBezTo>
                    <a:pt x="31188" y="0"/>
                    <a:pt x="40167" y="8979"/>
                    <a:pt x="40167" y="20083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75" name="Forma livre: Forma 974">
              <a:extLst>
                <a:ext uri="{FF2B5EF4-FFF2-40B4-BE49-F238E27FC236}">
                  <a16:creationId xmlns:a16="http://schemas.microsoft.com/office/drawing/2014/main" id="{6FE88A3A-2FC7-05B9-A35B-1FF67A897BB6}"/>
                </a:ext>
              </a:extLst>
            </p:cNvPr>
            <p:cNvSpPr/>
            <p:nvPr/>
          </p:nvSpPr>
          <p:spPr>
            <a:xfrm>
              <a:off x="1431170" y="4398158"/>
              <a:ext cx="53587" cy="53587"/>
            </a:xfrm>
            <a:custGeom>
              <a:avLst/>
              <a:gdLst>
                <a:gd name="connsiteX0" fmla="*/ 53587 w 53587"/>
                <a:gd name="connsiteY0" fmla="*/ 26794 h 53587"/>
                <a:gd name="connsiteX1" fmla="*/ 26794 w 53587"/>
                <a:gd name="connsiteY1" fmla="*/ 53587 h 53587"/>
                <a:gd name="connsiteX2" fmla="*/ 0 w 53587"/>
                <a:gd name="connsiteY2" fmla="*/ 26794 h 53587"/>
                <a:gd name="connsiteX3" fmla="*/ 26794 w 53587"/>
                <a:gd name="connsiteY3" fmla="*/ 0 h 53587"/>
                <a:gd name="connsiteX4" fmla="*/ 53587 w 53587"/>
                <a:gd name="connsiteY4" fmla="*/ 26794 h 535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3587" h="53587">
                  <a:moveTo>
                    <a:pt x="53587" y="26794"/>
                  </a:moveTo>
                  <a:cubicBezTo>
                    <a:pt x="53587" y="41585"/>
                    <a:pt x="41584" y="53587"/>
                    <a:pt x="26794" y="53587"/>
                  </a:cubicBezTo>
                  <a:cubicBezTo>
                    <a:pt x="12003" y="53587"/>
                    <a:pt x="0" y="41585"/>
                    <a:pt x="0" y="26794"/>
                  </a:cubicBezTo>
                  <a:cubicBezTo>
                    <a:pt x="0" y="12003"/>
                    <a:pt x="12003" y="0"/>
                    <a:pt x="26794" y="0"/>
                  </a:cubicBezTo>
                  <a:cubicBezTo>
                    <a:pt x="41584" y="0"/>
                    <a:pt x="53587" y="12003"/>
                    <a:pt x="53587" y="26794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76" name="Forma livre: Forma 975">
              <a:extLst>
                <a:ext uri="{FF2B5EF4-FFF2-40B4-BE49-F238E27FC236}">
                  <a16:creationId xmlns:a16="http://schemas.microsoft.com/office/drawing/2014/main" id="{460DE88F-AB32-FEB0-A3DD-500F45FAEC07}"/>
                </a:ext>
              </a:extLst>
            </p:cNvPr>
            <p:cNvSpPr/>
            <p:nvPr/>
          </p:nvSpPr>
          <p:spPr>
            <a:xfrm>
              <a:off x="1612015" y="4367868"/>
              <a:ext cx="53587" cy="53587"/>
            </a:xfrm>
            <a:custGeom>
              <a:avLst/>
              <a:gdLst>
                <a:gd name="connsiteX0" fmla="*/ 53587 w 53587"/>
                <a:gd name="connsiteY0" fmla="*/ 26794 h 53587"/>
                <a:gd name="connsiteX1" fmla="*/ 26794 w 53587"/>
                <a:gd name="connsiteY1" fmla="*/ 53587 h 53587"/>
                <a:gd name="connsiteX2" fmla="*/ 0 w 53587"/>
                <a:gd name="connsiteY2" fmla="*/ 26794 h 53587"/>
                <a:gd name="connsiteX3" fmla="*/ 26794 w 53587"/>
                <a:gd name="connsiteY3" fmla="*/ 0 h 53587"/>
                <a:gd name="connsiteX4" fmla="*/ 53587 w 53587"/>
                <a:gd name="connsiteY4" fmla="*/ 26794 h 535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3587" h="53587">
                  <a:moveTo>
                    <a:pt x="53587" y="26794"/>
                  </a:moveTo>
                  <a:cubicBezTo>
                    <a:pt x="53587" y="41584"/>
                    <a:pt x="41585" y="53587"/>
                    <a:pt x="26794" y="53587"/>
                  </a:cubicBezTo>
                  <a:cubicBezTo>
                    <a:pt x="12003" y="53587"/>
                    <a:pt x="0" y="41584"/>
                    <a:pt x="0" y="26794"/>
                  </a:cubicBezTo>
                  <a:cubicBezTo>
                    <a:pt x="0" y="12003"/>
                    <a:pt x="12003" y="0"/>
                    <a:pt x="26794" y="0"/>
                  </a:cubicBezTo>
                  <a:cubicBezTo>
                    <a:pt x="41585" y="0"/>
                    <a:pt x="53587" y="12003"/>
                    <a:pt x="53587" y="26794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77" name="Forma livre: Forma 976">
              <a:extLst>
                <a:ext uri="{FF2B5EF4-FFF2-40B4-BE49-F238E27FC236}">
                  <a16:creationId xmlns:a16="http://schemas.microsoft.com/office/drawing/2014/main" id="{E9439631-A9CD-2EF4-3327-F6A4A89E6A3A}"/>
                </a:ext>
              </a:extLst>
            </p:cNvPr>
            <p:cNvSpPr/>
            <p:nvPr/>
          </p:nvSpPr>
          <p:spPr>
            <a:xfrm>
              <a:off x="1540849" y="4170625"/>
              <a:ext cx="53587" cy="53587"/>
            </a:xfrm>
            <a:custGeom>
              <a:avLst/>
              <a:gdLst>
                <a:gd name="connsiteX0" fmla="*/ 53587 w 53587"/>
                <a:gd name="connsiteY0" fmla="*/ 26794 h 53587"/>
                <a:gd name="connsiteX1" fmla="*/ 26794 w 53587"/>
                <a:gd name="connsiteY1" fmla="*/ 53587 h 53587"/>
                <a:gd name="connsiteX2" fmla="*/ 0 w 53587"/>
                <a:gd name="connsiteY2" fmla="*/ 26794 h 53587"/>
                <a:gd name="connsiteX3" fmla="*/ 26794 w 53587"/>
                <a:gd name="connsiteY3" fmla="*/ 0 h 53587"/>
                <a:gd name="connsiteX4" fmla="*/ 53587 w 53587"/>
                <a:gd name="connsiteY4" fmla="*/ 26794 h 535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3587" h="53587">
                  <a:moveTo>
                    <a:pt x="53587" y="26794"/>
                  </a:moveTo>
                  <a:cubicBezTo>
                    <a:pt x="53587" y="41585"/>
                    <a:pt x="41585" y="53587"/>
                    <a:pt x="26794" y="53587"/>
                  </a:cubicBezTo>
                  <a:cubicBezTo>
                    <a:pt x="12003" y="53587"/>
                    <a:pt x="0" y="41585"/>
                    <a:pt x="0" y="26794"/>
                  </a:cubicBezTo>
                  <a:cubicBezTo>
                    <a:pt x="0" y="12003"/>
                    <a:pt x="12003" y="0"/>
                    <a:pt x="26794" y="0"/>
                  </a:cubicBezTo>
                  <a:cubicBezTo>
                    <a:pt x="41585" y="0"/>
                    <a:pt x="53587" y="12003"/>
                    <a:pt x="53587" y="26794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978" name="Gráfico 13">
            <a:extLst>
              <a:ext uri="{FF2B5EF4-FFF2-40B4-BE49-F238E27FC236}">
                <a16:creationId xmlns:a16="http://schemas.microsoft.com/office/drawing/2014/main" id="{D3121662-5057-0D65-499E-167A83C52048}"/>
              </a:ext>
            </a:extLst>
          </p:cNvPr>
          <p:cNvGrpSpPr/>
          <p:nvPr/>
        </p:nvGrpSpPr>
        <p:grpSpPr>
          <a:xfrm>
            <a:off x="845111" y="4682776"/>
            <a:ext cx="187366" cy="303897"/>
            <a:chOff x="845111" y="4682776"/>
            <a:chExt cx="187366" cy="303897"/>
          </a:xfrm>
          <a:noFill/>
        </p:grpSpPr>
        <p:grpSp>
          <p:nvGrpSpPr>
            <p:cNvPr id="979" name="Gráfico 13">
              <a:extLst>
                <a:ext uri="{FF2B5EF4-FFF2-40B4-BE49-F238E27FC236}">
                  <a16:creationId xmlns:a16="http://schemas.microsoft.com/office/drawing/2014/main" id="{CD20936B-B855-7A93-6FA4-0AF528BC211C}"/>
                </a:ext>
              </a:extLst>
            </p:cNvPr>
            <p:cNvGrpSpPr/>
            <p:nvPr/>
          </p:nvGrpSpPr>
          <p:grpSpPr>
            <a:xfrm>
              <a:off x="845111" y="4764480"/>
              <a:ext cx="187366" cy="222193"/>
              <a:chOff x="845111" y="4764480"/>
              <a:chExt cx="187366" cy="222193"/>
            </a:xfrm>
            <a:noFill/>
          </p:grpSpPr>
          <p:sp>
            <p:nvSpPr>
              <p:cNvPr id="980" name="Forma livre: Forma 979">
                <a:extLst>
                  <a:ext uri="{FF2B5EF4-FFF2-40B4-BE49-F238E27FC236}">
                    <a16:creationId xmlns:a16="http://schemas.microsoft.com/office/drawing/2014/main" id="{236D8909-A8DF-4598-9993-0E2C2A41EA94}"/>
                  </a:ext>
                </a:extLst>
              </p:cNvPr>
              <p:cNvSpPr/>
              <p:nvPr/>
            </p:nvSpPr>
            <p:spPr>
              <a:xfrm>
                <a:off x="845111" y="4764480"/>
                <a:ext cx="187366" cy="222193"/>
              </a:xfrm>
              <a:custGeom>
                <a:avLst/>
                <a:gdLst>
                  <a:gd name="connsiteX0" fmla="*/ 134110 w 187366"/>
                  <a:gd name="connsiteY0" fmla="*/ 0 h 222193"/>
                  <a:gd name="connsiteX1" fmla="*/ 134110 w 187366"/>
                  <a:gd name="connsiteY1" fmla="*/ 8364 h 222193"/>
                  <a:gd name="connsiteX2" fmla="*/ 147200 w 187366"/>
                  <a:gd name="connsiteY2" fmla="*/ 37095 h 222193"/>
                  <a:gd name="connsiteX3" fmla="*/ 187367 w 187366"/>
                  <a:gd name="connsiteY3" fmla="*/ 89690 h 222193"/>
                  <a:gd name="connsiteX4" fmla="*/ 187367 w 187366"/>
                  <a:gd name="connsiteY4" fmla="*/ 202110 h 222193"/>
                  <a:gd name="connsiteX5" fmla="*/ 167141 w 187366"/>
                  <a:gd name="connsiteY5" fmla="*/ 222193 h 222193"/>
                  <a:gd name="connsiteX6" fmla="*/ 20083 w 187366"/>
                  <a:gd name="connsiteY6" fmla="*/ 222193 h 222193"/>
                  <a:gd name="connsiteX7" fmla="*/ 0 w 187366"/>
                  <a:gd name="connsiteY7" fmla="*/ 202110 h 222193"/>
                  <a:gd name="connsiteX8" fmla="*/ 0 w 187366"/>
                  <a:gd name="connsiteY8" fmla="*/ 89690 h 222193"/>
                  <a:gd name="connsiteX9" fmla="*/ 40167 w 187366"/>
                  <a:gd name="connsiteY9" fmla="*/ 37095 h 222193"/>
                  <a:gd name="connsiteX10" fmla="*/ 53257 w 187366"/>
                  <a:gd name="connsiteY10" fmla="*/ 8364 h 222193"/>
                  <a:gd name="connsiteX11" fmla="*/ 53257 w 187366"/>
                  <a:gd name="connsiteY11" fmla="*/ 0 h 2221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87366" h="222193">
                    <a:moveTo>
                      <a:pt x="134110" y="0"/>
                    </a:moveTo>
                    <a:lnTo>
                      <a:pt x="134110" y="8364"/>
                    </a:lnTo>
                    <a:cubicBezTo>
                      <a:pt x="134110" y="8364"/>
                      <a:pt x="134110" y="25282"/>
                      <a:pt x="147200" y="37095"/>
                    </a:cubicBezTo>
                    <a:cubicBezTo>
                      <a:pt x="160289" y="48909"/>
                      <a:pt x="187367" y="63889"/>
                      <a:pt x="187367" y="89690"/>
                    </a:cubicBezTo>
                    <a:lnTo>
                      <a:pt x="187367" y="202110"/>
                    </a:lnTo>
                    <a:cubicBezTo>
                      <a:pt x="187367" y="213168"/>
                      <a:pt x="178199" y="222193"/>
                      <a:pt x="167141" y="222193"/>
                    </a:cubicBezTo>
                    <a:lnTo>
                      <a:pt x="20083" y="222193"/>
                    </a:lnTo>
                    <a:cubicBezTo>
                      <a:pt x="9026" y="222193"/>
                      <a:pt x="0" y="213168"/>
                      <a:pt x="0" y="202110"/>
                    </a:cubicBezTo>
                    <a:lnTo>
                      <a:pt x="0" y="89690"/>
                    </a:lnTo>
                    <a:cubicBezTo>
                      <a:pt x="0" y="63889"/>
                      <a:pt x="27124" y="48909"/>
                      <a:pt x="40167" y="37095"/>
                    </a:cubicBezTo>
                    <a:cubicBezTo>
                      <a:pt x="53257" y="25282"/>
                      <a:pt x="53257" y="8364"/>
                      <a:pt x="53257" y="8364"/>
                    </a:cubicBezTo>
                    <a:lnTo>
                      <a:pt x="53257" y="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81" name="Forma livre: Forma 980">
                <a:extLst>
                  <a:ext uri="{FF2B5EF4-FFF2-40B4-BE49-F238E27FC236}">
                    <a16:creationId xmlns:a16="http://schemas.microsoft.com/office/drawing/2014/main" id="{FF9C8BCE-DC1D-C22B-1AD6-24BC482B94F0}"/>
                  </a:ext>
                </a:extLst>
              </p:cNvPr>
              <p:cNvSpPr/>
              <p:nvPr/>
            </p:nvSpPr>
            <p:spPr>
              <a:xfrm>
                <a:off x="845962" y="4872599"/>
                <a:ext cx="103772" cy="65590"/>
              </a:xfrm>
              <a:custGeom>
                <a:avLst/>
                <a:gdLst>
                  <a:gd name="connsiteX0" fmla="*/ 0 w 103772"/>
                  <a:gd name="connsiteY0" fmla="*/ 0 h 65590"/>
                  <a:gd name="connsiteX1" fmla="*/ 103772 w 103772"/>
                  <a:gd name="connsiteY1" fmla="*/ 0 h 65590"/>
                  <a:gd name="connsiteX2" fmla="*/ 103772 w 103772"/>
                  <a:gd name="connsiteY2" fmla="*/ 65590 h 65590"/>
                  <a:gd name="connsiteX3" fmla="*/ 0 w 103772"/>
                  <a:gd name="connsiteY3" fmla="*/ 65590 h 655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03772" h="65590">
                    <a:moveTo>
                      <a:pt x="0" y="0"/>
                    </a:moveTo>
                    <a:lnTo>
                      <a:pt x="103772" y="0"/>
                    </a:lnTo>
                    <a:lnTo>
                      <a:pt x="103772" y="65590"/>
                    </a:lnTo>
                    <a:lnTo>
                      <a:pt x="0" y="6559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82" name="Forma livre: Forma 981">
                <a:extLst>
                  <a:ext uri="{FF2B5EF4-FFF2-40B4-BE49-F238E27FC236}">
                    <a16:creationId xmlns:a16="http://schemas.microsoft.com/office/drawing/2014/main" id="{9439603B-86B5-59DE-E2E4-005E8DEAF7CC}"/>
                  </a:ext>
                </a:extLst>
              </p:cNvPr>
              <p:cNvSpPr/>
              <p:nvPr/>
            </p:nvSpPr>
            <p:spPr>
              <a:xfrm>
                <a:off x="905740" y="4821469"/>
                <a:ext cx="108166" cy="4725"/>
              </a:xfrm>
              <a:custGeom>
                <a:avLst/>
                <a:gdLst>
                  <a:gd name="connsiteX0" fmla="*/ 0 w 108166"/>
                  <a:gd name="connsiteY0" fmla="*/ 0 h 4725"/>
                  <a:gd name="connsiteX1" fmla="*/ 108167 w 108166"/>
                  <a:gd name="connsiteY1" fmla="*/ 0 h 47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08166" h="4725">
                    <a:moveTo>
                      <a:pt x="0" y="0"/>
                    </a:moveTo>
                    <a:lnTo>
                      <a:pt x="108167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983" name="Gráfico 13">
              <a:extLst>
                <a:ext uri="{FF2B5EF4-FFF2-40B4-BE49-F238E27FC236}">
                  <a16:creationId xmlns:a16="http://schemas.microsoft.com/office/drawing/2014/main" id="{9C61B2AA-85E4-FA91-2924-DC1657EAE2AD}"/>
                </a:ext>
              </a:extLst>
            </p:cNvPr>
            <p:cNvGrpSpPr/>
            <p:nvPr/>
          </p:nvGrpSpPr>
          <p:grpSpPr>
            <a:xfrm>
              <a:off x="877245" y="4682776"/>
              <a:ext cx="123146" cy="58596"/>
              <a:chOff x="877245" y="4682776"/>
              <a:chExt cx="123146" cy="58596"/>
            </a:xfrm>
            <a:noFill/>
          </p:grpSpPr>
          <p:sp>
            <p:nvSpPr>
              <p:cNvPr id="984" name="Forma livre: Forma 983">
                <a:extLst>
                  <a:ext uri="{FF2B5EF4-FFF2-40B4-BE49-F238E27FC236}">
                    <a16:creationId xmlns:a16="http://schemas.microsoft.com/office/drawing/2014/main" id="{13E43AF3-EFD2-C23F-C277-D0B987A77108}"/>
                  </a:ext>
                </a:extLst>
              </p:cNvPr>
              <p:cNvSpPr/>
              <p:nvPr/>
            </p:nvSpPr>
            <p:spPr>
              <a:xfrm>
                <a:off x="938866" y="4710703"/>
                <a:ext cx="4725" cy="29723"/>
              </a:xfrm>
              <a:custGeom>
                <a:avLst/>
                <a:gdLst>
                  <a:gd name="connsiteX0" fmla="*/ 0 w 4725"/>
                  <a:gd name="connsiteY0" fmla="*/ 0 h 29723"/>
                  <a:gd name="connsiteX1" fmla="*/ 0 w 4725"/>
                  <a:gd name="connsiteY1" fmla="*/ 29723 h 297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25" h="29723">
                    <a:moveTo>
                      <a:pt x="0" y="0"/>
                    </a:moveTo>
                    <a:lnTo>
                      <a:pt x="0" y="29723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85" name="Forma livre: Forma 984">
                <a:extLst>
                  <a:ext uri="{FF2B5EF4-FFF2-40B4-BE49-F238E27FC236}">
                    <a16:creationId xmlns:a16="http://schemas.microsoft.com/office/drawing/2014/main" id="{BA6FDFDE-0A3E-BDC7-E821-19F827126898}"/>
                  </a:ext>
                </a:extLst>
              </p:cNvPr>
              <p:cNvSpPr/>
              <p:nvPr/>
            </p:nvSpPr>
            <p:spPr>
              <a:xfrm>
                <a:off x="969723" y="4710703"/>
                <a:ext cx="4725" cy="29723"/>
              </a:xfrm>
              <a:custGeom>
                <a:avLst/>
                <a:gdLst>
                  <a:gd name="connsiteX0" fmla="*/ 0 w 4725"/>
                  <a:gd name="connsiteY0" fmla="*/ 0 h 29723"/>
                  <a:gd name="connsiteX1" fmla="*/ 0 w 4725"/>
                  <a:gd name="connsiteY1" fmla="*/ 29723 h 297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25" h="29723">
                    <a:moveTo>
                      <a:pt x="0" y="0"/>
                    </a:moveTo>
                    <a:lnTo>
                      <a:pt x="0" y="29723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86" name="Forma livre: Forma 985">
                <a:extLst>
                  <a:ext uri="{FF2B5EF4-FFF2-40B4-BE49-F238E27FC236}">
                    <a16:creationId xmlns:a16="http://schemas.microsoft.com/office/drawing/2014/main" id="{17184C66-6FFC-D8A9-2BE4-32EC235A47E3}"/>
                  </a:ext>
                </a:extLst>
              </p:cNvPr>
              <p:cNvSpPr/>
              <p:nvPr/>
            </p:nvSpPr>
            <p:spPr>
              <a:xfrm>
                <a:off x="877245" y="4682776"/>
                <a:ext cx="123146" cy="58596"/>
              </a:xfrm>
              <a:custGeom>
                <a:avLst/>
                <a:gdLst>
                  <a:gd name="connsiteX0" fmla="*/ 0 w 123146"/>
                  <a:gd name="connsiteY0" fmla="*/ 58596 h 58596"/>
                  <a:gd name="connsiteX1" fmla="*/ 0 w 123146"/>
                  <a:gd name="connsiteY1" fmla="*/ 0 h 58596"/>
                  <a:gd name="connsiteX2" fmla="*/ 123147 w 123146"/>
                  <a:gd name="connsiteY2" fmla="*/ 0 h 58596"/>
                  <a:gd name="connsiteX3" fmla="*/ 123147 w 123146"/>
                  <a:gd name="connsiteY3" fmla="*/ 58596 h 58596"/>
                  <a:gd name="connsiteX4" fmla="*/ 30716 w 123146"/>
                  <a:gd name="connsiteY4" fmla="*/ 58596 h 58596"/>
                  <a:gd name="connsiteX5" fmla="*/ 30716 w 123146"/>
                  <a:gd name="connsiteY5" fmla="*/ 27928 h 585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23146" h="58596">
                    <a:moveTo>
                      <a:pt x="0" y="58596"/>
                    </a:moveTo>
                    <a:lnTo>
                      <a:pt x="0" y="0"/>
                    </a:lnTo>
                    <a:lnTo>
                      <a:pt x="123147" y="0"/>
                    </a:lnTo>
                    <a:lnTo>
                      <a:pt x="123147" y="58596"/>
                    </a:lnTo>
                    <a:lnTo>
                      <a:pt x="30716" y="58596"/>
                    </a:lnTo>
                    <a:lnTo>
                      <a:pt x="30716" y="27928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987" name="Gráfico 13">
            <a:extLst>
              <a:ext uri="{FF2B5EF4-FFF2-40B4-BE49-F238E27FC236}">
                <a16:creationId xmlns:a16="http://schemas.microsoft.com/office/drawing/2014/main" id="{5EF8CEEE-C494-15CC-E724-9C11AF2B0D9B}"/>
              </a:ext>
            </a:extLst>
          </p:cNvPr>
          <p:cNvGrpSpPr/>
          <p:nvPr/>
        </p:nvGrpSpPr>
        <p:grpSpPr>
          <a:xfrm>
            <a:off x="772669" y="5230746"/>
            <a:ext cx="332298" cy="236748"/>
            <a:chOff x="772669" y="5230746"/>
            <a:chExt cx="332298" cy="236748"/>
          </a:xfrm>
          <a:noFill/>
        </p:grpSpPr>
        <p:grpSp>
          <p:nvGrpSpPr>
            <p:cNvPr id="988" name="Gráfico 13">
              <a:extLst>
                <a:ext uri="{FF2B5EF4-FFF2-40B4-BE49-F238E27FC236}">
                  <a16:creationId xmlns:a16="http://schemas.microsoft.com/office/drawing/2014/main" id="{3CB2502C-9D3B-EDBB-17D5-FC540C0A1A00}"/>
                </a:ext>
              </a:extLst>
            </p:cNvPr>
            <p:cNvGrpSpPr/>
            <p:nvPr/>
          </p:nvGrpSpPr>
          <p:grpSpPr>
            <a:xfrm>
              <a:off x="843383" y="5251207"/>
              <a:ext cx="40552" cy="150582"/>
              <a:chOff x="843383" y="5251207"/>
              <a:chExt cx="40552" cy="150582"/>
            </a:xfrm>
            <a:noFill/>
          </p:grpSpPr>
          <p:sp>
            <p:nvSpPr>
              <p:cNvPr id="989" name="Forma livre: Forma 988">
                <a:extLst>
                  <a:ext uri="{FF2B5EF4-FFF2-40B4-BE49-F238E27FC236}">
                    <a16:creationId xmlns:a16="http://schemas.microsoft.com/office/drawing/2014/main" id="{7B6982ED-8AB9-730E-A29C-401271E38D93}"/>
                  </a:ext>
                </a:extLst>
              </p:cNvPr>
              <p:cNvSpPr/>
              <p:nvPr/>
            </p:nvSpPr>
            <p:spPr>
              <a:xfrm>
                <a:off x="843383" y="5361190"/>
                <a:ext cx="40552" cy="40599"/>
              </a:xfrm>
              <a:custGeom>
                <a:avLst/>
                <a:gdLst>
                  <a:gd name="connsiteX0" fmla="*/ 39863 w 40552"/>
                  <a:gd name="connsiteY0" fmla="*/ 15055 h 40599"/>
                  <a:gd name="connsiteX1" fmla="*/ 25545 w 40552"/>
                  <a:gd name="connsiteY1" fmla="*/ 39911 h 40599"/>
                  <a:gd name="connsiteX2" fmla="*/ 689 w 40552"/>
                  <a:gd name="connsiteY2" fmla="*/ 25545 h 40599"/>
                  <a:gd name="connsiteX3" fmla="*/ 15054 w 40552"/>
                  <a:gd name="connsiteY3" fmla="*/ 689 h 40599"/>
                  <a:gd name="connsiteX4" fmla="*/ 39863 w 40552"/>
                  <a:gd name="connsiteY4" fmla="*/ 15007 h 405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0552" h="40599">
                    <a:moveTo>
                      <a:pt x="39863" y="15055"/>
                    </a:moveTo>
                    <a:cubicBezTo>
                      <a:pt x="42746" y="25876"/>
                      <a:pt x="36319" y="36981"/>
                      <a:pt x="25545" y="39911"/>
                    </a:cubicBezTo>
                    <a:cubicBezTo>
                      <a:pt x="14724" y="42793"/>
                      <a:pt x="3619" y="36367"/>
                      <a:pt x="689" y="25545"/>
                    </a:cubicBezTo>
                    <a:cubicBezTo>
                      <a:pt x="-2194" y="14724"/>
                      <a:pt x="4233" y="3619"/>
                      <a:pt x="15054" y="689"/>
                    </a:cubicBezTo>
                    <a:cubicBezTo>
                      <a:pt x="25876" y="-2194"/>
                      <a:pt x="36981" y="4233"/>
                      <a:pt x="39863" y="15007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90" name="Forma livre: Forma 989">
                <a:extLst>
                  <a:ext uri="{FF2B5EF4-FFF2-40B4-BE49-F238E27FC236}">
                    <a16:creationId xmlns:a16="http://schemas.microsoft.com/office/drawing/2014/main" id="{3E4E1BBC-BC1C-CA43-6C04-07B06E131C0C}"/>
                  </a:ext>
                </a:extLst>
              </p:cNvPr>
              <p:cNvSpPr/>
              <p:nvPr/>
            </p:nvSpPr>
            <p:spPr>
              <a:xfrm>
                <a:off x="863635" y="5251207"/>
                <a:ext cx="4725" cy="109726"/>
              </a:xfrm>
              <a:custGeom>
                <a:avLst/>
                <a:gdLst>
                  <a:gd name="connsiteX0" fmla="*/ 0 w 4725"/>
                  <a:gd name="connsiteY0" fmla="*/ 109726 h 109726"/>
                  <a:gd name="connsiteX1" fmla="*/ 0 w 4725"/>
                  <a:gd name="connsiteY1" fmla="*/ 0 h 1097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25" h="109726">
                    <a:moveTo>
                      <a:pt x="0" y="109726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991" name="Forma livre: Forma 990">
              <a:extLst>
                <a:ext uri="{FF2B5EF4-FFF2-40B4-BE49-F238E27FC236}">
                  <a16:creationId xmlns:a16="http://schemas.microsoft.com/office/drawing/2014/main" id="{4EC198E5-D1E9-30BC-BE22-3101E87FEBC9}"/>
                </a:ext>
              </a:extLst>
            </p:cNvPr>
            <p:cNvSpPr/>
            <p:nvPr/>
          </p:nvSpPr>
          <p:spPr>
            <a:xfrm>
              <a:off x="993067" y="5251869"/>
              <a:ext cx="19799" cy="110009"/>
            </a:xfrm>
            <a:custGeom>
              <a:avLst/>
              <a:gdLst>
                <a:gd name="connsiteX0" fmla="*/ 19800 w 19799"/>
                <a:gd name="connsiteY0" fmla="*/ 110010 h 110009"/>
                <a:gd name="connsiteX1" fmla="*/ 0 w 19799"/>
                <a:gd name="connsiteY1" fmla="*/ 0 h 1100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9799" h="110009">
                  <a:moveTo>
                    <a:pt x="19800" y="110010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92" name="Forma livre: Forma 991">
              <a:extLst>
                <a:ext uri="{FF2B5EF4-FFF2-40B4-BE49-F238E27FC236}">
                  <a16:creationId xmlns:a16="http://schemas.microsoft.com/office/drawing/2014/main" id="{2D21CBBA-8955-E177-19E7-C80BDF2A5A0E}"/>
                </a:ext>
              </a:extLst>
            </p:cNvPr>
            <p:cNvSpPr/>
            <p:nvPr/>
          </p:nvSpPr>
          <p:spPr>
            <a:xfrm>
              <a:off x="997762" y="5361190"/>
              <a:ext cx="40602" cy="40599"/>
            </a:xfrm>
            <a:custGeom>
              <a:avLst/>
              <a:gdLst>
                <a:gd name="connsiteX0" fmla="*/ 39914 w 40602"/>
                <a:gd name="connsiteY0" fmla="*/ 15055 h 40599"/>
                <a:gd name="connsiteX1" fmla="*/ 25548 w 40602"/>
                <a:gd name="connsiteY1" fmla="*/ 39911 h 40599"/>
                <a:gd name="connsiteX2" fmla="*/ 692 w 40602"/>
                <a:gd name="connsiteY2" fmla="*/ 25545 h 40599"/>
                <a:gd name="connsiteX3" fmla="*/ 15058 w 40602"/>
                <a:gd name="connsiteY3" fmla="*/ 689 h 40599"/>
                <a:gd name="connsiteX4" fmla="*/ 39867 w 40602"/>
                <a:gd name="connsiteY4" fmla="*/ 15007 h 405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0602" h="40599">
                  <a:moveTo>
                    <a:pt x="39914" y="15055"/>
                  </a:moveTo>
                  <a:cubicBezTo>
                    <a:pt x="42796" y="25876"/>
                    <a:pt x="36370" y="36981"/>
                    <a:pt x="25548" y="39911"/>
                  </a:cubicBezTo>
                  <a:cubicBezTo>
                    <a:pt x="14727" y="42793"/>
                    <a:pt x="3622" y="36367"/>
                    <a:pt x="692" y="25545"/>
                  </a:cubicBezTo>
                  <a:cubicBezTo>
                    <a:pt x="-2191" y="14724"/>
                    <a:pt x="4189" y="3619"/>
                    <a:pt x="15058" y="689"/>
                  </a:cubicBezTo>
                  <a:cubicBezTo>
                    <a:pt x="25879" y="-2194"/>
                    <a:pt x="36984" y="4233"/>
                    <a:pt x="39867" y="15007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93" name="Forma livre: Forma 992">
              <a:extLst>
                <a:ext uri="{FF2B5EF4-FFF2-40B4-BE49-F238E27FC236}">
                  <a16:creationId xmlns:a16="http://schemas.microsoft.com/office/drawing/2014/main" id="{F1DECA9D-7E25-EBD7-C489-EE498E5DF1E4}"/>
                </a:ext>
              </a:extLst>
            </p:cNvPr>
            <p:cNvSpPr/>
            <p:nvPr/>
          </p:nvSpPr>
          <p:spPr>
            <a:xfrm>
              <a:off x="786988" y="5436873"/>
              <a:ext cx="303661" cy="29865"/>
            </a:xfrm>
            <a:custGeom>
              <a:avLst/>
              <a:gdLst>
                <a:gd name="connsiteX0" fmla="*/ 0 w 303661"/>
                <a:gd name="connsiteY0" fmla="*/ 29865 h 29865"/>
                <a:gd name="connsiteX1" fmla="*/ 0 w 303661"/>
                <a:gd name="connsiteY1" fmla="*/ 0 h 29865"/>
                <a:gd name="connsiteX2" fmla="*/ 303661 w 303661"/>
                <a:gd name="connsiteY2" fmla="*/ 0 h 29865"/>
                <a:gd name="connsiteX3" fmla="*/ 303661 w 303661"/>
                <a:gd name="connsiteY3" fmla="*/ 29865 h 298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03661" h="29865">
                  <a:moveTo>
                    <a:pt x="0" y="29865"/>
                  </a:moveTo>
                  <a:lnTo>
                    <a:pt x="0" y="0"/>
                  </a:lnTo>
                  <a:lnTo>
                    <a:pt x="303661" y="0"/>
                  </a:lnTo>
                  <a:lnTo>
                    <a:pt x="303661" y="29865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994" name="Gráfico 13">
              <a:extLst>
                <a:ext uri="{FF2B5EF4-FFF2-40B4-BE49-F238E27FC236}">
                  <a16:creationId xmlns:a16="http://schemas.microsoft.com/office/drawing/2014/main" id="{3FEAFE98-A5E5-F39C-6386-11EA0D47ED08}"/>
                </a:ext>
              </a:extLst>
            </p:cNvPr>
            <p:cNvGrpSpPr/>
            <p:nvPr/>
          </p:nvGrpSpPr>
          <p:grpSpPr>
            <a:xfrm>
              <a:off x="911238" y="5251207"/>
              <a:ext cx="40602" cy="150582"/>
              <a:chOff x="911238" y="5251207"/>
              <a:chExt cx="40602" cy="150582"/>
            </a:xfrm>
            <a:noFill/>
          </p:grpSpPr>
          <p:sp>
            <p:nvSpPr>
              <p:cNvPr id="995" name="Forma livre: Forma 994">
                <a:extLst>
                  <a:ext uri="{FF2B5EF4-FFF2-40B4-BE49-F238E27FC236}">
                    <a16:creationId xmlns:a16="http://schemas.microsoft.com/office/drawing/2014/main" id="{AB5908E3-77A6-3F85-E4C6-5513884319EC}"/>
                  </a:ext>
                </a:extLst>
              </p:cNvPr>
              <p:cNvSpPr/>
              <p:nvPr/>
            </p:nvSpPr>
            <p:spPr>
              <a:xfrm>
                <a:off x="911238" y="5361190"/>
                <a:ext cx="40602" cy="40599"/>
              </a:xfrm>
              <a:custGeom>
                <a:avLst/>
                <a:gdLst>
                  <a:gd name="connsiteX0" fmla="*/ 39914 w 40602"/>
                  <a:gd name="connsiteY0" fmla="*/ 15055 h 40599"/>
                  <a:gd name="connsiteX1" fmla="*/ 25548 w 40602"/>
                  <a:gd name="connsiteY1" fmla="*/ 39911 h 40599"/>
                  <a:gd name="connsiteX2" fmla="*/ 692 w 40602"/>
                  <a:gd name="connsiteY2" fmla="*/ 25545 h 40599"/>
                  <a:gd name="connsiteX3" fmla="*/ 15058 w 40602"/>
                  <a:gd name="connsiteY3" fmla="*/ 689 h 40599"/>
                  <a:gd name="connsiteX4" fmla="*/ 39866 w 40602"/>
                  <a:gd name="connsiteY4" fmla="*/ 15007 h 405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0602" h="40599">
                    <a:moveTo>
                      <a:pt x="39914" y="15055"/>
                    </a:moveTo>
                    <a:cubicBezTo>
                      <a:pt x="42796" y="25876"/>
                      <a:pt x="36370" y="36981"/>
                      <a:pt x="25548" y="39911"/>
                    </a:cubicBezTo>
                    <a:cubicBezTo>
                      <a:pt x="14727" y="42793"/>
                      <a:pt x="3622" y="36367"/>
                      <a:pt x="692" y="25545"/>
                    </a:cubicBezTo>
                    <a:cubicBezTo>
                      <a:pt x="-2191" y="14724"/>
                      <a:pt x="4189" y="3619"/>
                      <a:pt x="15058" y="689"/>
                    </a:cubicBezTo>
                    <a:cubicBezTo>
                      <a:pt x="25879" y="-2194"/>
                      <a:pt x="36984" y="4233"/>
                      <a:pt x="39866" y="15007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96" name="Forma livre: Forma 995">
                <a:extLst>
                  <a:ext uri="{FF2B5EF4-FFF2-40B4-BE49-F238E27FC236}">
                    <a16:creationId xmlns:a16="http://schemas.microsoft.com/office/drawing/2014/main" id="{90FFA718-5DCB-AA01-ACC2-DE80F2BF54B5}"/>
                  </a:ext>
                </a:extLst>
              </p:cNvPr>
              <p:cNvSpPr/>
              <p:nvPr/>
            </p:nvSpPr>
            <p:spPr>
              <a:xfrm>
                <a:off x="931541" y="5251207"/>
                <a:ext cx="4725" cy="109726"/>
              </a:xfrm>
              <a:custGeom>
                <a:avLst/>
                <a:gdLst>
                  <a:gd name="connsiteX0" fmla="*/ 0 w 4725"/>
                  <a:gd name="connsiteY0" fmla="*/ 109726 h 109726"/>
                  <a:gd name="connsiteX1" fmla="*/ 0 w 4725"/>
                  <a:gd name="connsiteY1" fmla="*/ 0 h 1097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25" h="109726">
                    <a:moveTo>
                      <a:pt x="0" y="109726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997" name="Forma livre: Forma 996">
              <a:extLst>
                <a:ext uri="{FF2B5EF4-FFF2-40B4-BE49-F238E27FC236}">
                  <a16:creationId xmlns:a16="http://schemas.microsoft.com/office/drawing/2014/main" id="{7BA51793-8473-9816-1699-BB163C859AEF}"/>
                </a:ext>
              </a:extLst>
            </p:cNvPr>
            <p:cNvSpPr/>
            <p:nvPr/>
          </p:nvSpPr>
          <p:spPr>
            <a:xfrm>
              <a:off x="806788" y="5230746"/>
              <a:ext cx="264061" cy="205795"/>
            </a:xfrm>
            <a:custGeom>
              <a:avLst/>
              <a:gdLst>
                <a:gd name="connsiteX0" fmla="*/ 0 w 264061"/>
                <a:gd name="connsiteY0" fmla="*/ 184815 h 205795"/>
                <a:gd name="connsiteX1" fmla="*/ 0 w 264061"/>
                <a:gd name="connsiteY1" fmla="*/ 33835 h 205795"/>
                <a:gd name="connsiteX2" fmla="*/ 33787 w 264061"/>
                <a:gd name="connsiteY2" fmla="*/ 0 h 205795"/>
                <a:gd name="connsiteX3" fmla="*/ 230274 w 264061"/>
                <a:gd name="connsiteY3" fmla="*/ 0 h 205795"/>
                <a:gd name="connsiteX4" fmla="*/ 264062 w 264061"/>
                <a:gd name="connsiteY4" fmla="*/ 33835 h 205795"/>
                <a:gd name="connsiteX5" fmla="*/ 264062 w 264061"/>
                <a:gd name="connsiteY5" fmla="*/ 205796 h 2057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64061" h="205795">
                  <a:moveTo>
                    <a:pt x="0" y="184815"/>
                  </a:moveTo>
                  <a:lnTo>
                    <a:pt x="0" y="33835"/>
                  </a:lnTo>
                  <a:cubicBezTo>
                    <a:pt x="0" y="15263"/>
                    <a:pt x="15216" y="0"/>
                    <a:pt x="33787" y="0"/>
                  </a:cubicBezTo>
                  <a:lnTo>
                    <a:pt x="230274" y="0"/>
                  </a:lnTo>
                  <a:cubicBezTo>
                    <a:pt x="248893" y="0"/>
                    <a:pt x="264062" y="15216"/>
                    <a:pt x="264062" y="33835"/>
                  </a:cubicBezTo>
                  <a:lnTo>
                    <a:pt x="264062" y="205796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98" name="Forma livre: Forma 997">
              <a:extLst>
                <a:ext uri="{FF2B5EF4-FFF2-40B4-BE49-F238E27FC236}">
                  <a16:creationId xmlns:a16="http://schemas.microsoft.com/office/drawing/2014/main" id="{890D26D2-3D98-41BD-7B05-998540BABBC5}"/>
                </a:ext>
              </a:extLst>
            </p:cNvPr>
            <p:cNvSpPr/>
            <p:nvPr/>
          </p:nvSpPr>
          <p:spPr>
            <a:xfrm>
              <a:off x="772669" y="5467494"/>
              <a:ext cx="332298" cy="4725"/>
            </a:xfrm>
            <a:custGeom>
              <a:avLst/>
              <a:gdLst>
                <a:gd name="connsiteX0" fmla="*/ 0 w 332298"/>
                <a:gd name="connsiteY0" fmla="*/ 0 h 4725"/>
                <a:gd name="connsiteX1" fmla="*/ 332298 w 332298"/>
                <a:gd name="connsiteY1" fmla="*/ 0 h 47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32298" h="4725">
                  <a:moveTo>
                    <a:pt x="0" y="0"/>
                  </a:moveTo>
                  <a:lnTo>
                    <a:pt x="332298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999" name="Gráfico 13">
            <a:extLst>
              <a:ext uri="{FF2B5EF4-FFF2-40B4-BE49-F238E27FC236}">
                <a16:creationId xmlns:a16="http://schemas.microsoft.com/office/drawing/2014/main" id="{972A20A5-AA63-113A-FA2A-F5602E636A14}"/>
              </a:ext>
            </a:extLst>
          </p:cNvPr>
          <p:cNvGrpSpPr/>
          <p:nvPr/>
        </p:nvGrpSpPr>
        <p:grpSpPr>
          <a:xfrm>
            <a:off x="2040950" y="5192005"/>
            <a:ext cx="259903" cy="314238"/>
            <a:chOff x="2040950" y="5192005"/>
            <a:chExt cx="259903" cy="314238"/>
          </a:xfrm>
          <a:noFill/>
        </p:grpSpPr>
        <p:grpSp>
          <p:nvGrpSpPr>
            <p:cNvPr id="1000" name="Gráfico 13">
              <a:extLst>
                <a:ext uri="{FF2B5EF4-FFF2-40B4-BE49-F238E27FC236}">
                  <a16:creationId xmlns:a16="http://schemas.microsoft.com/office/drawing/2014/main" id="{4F268256-9361-72D7-2B12-5B6A0816A070}"/>
                </a:ext>
              </a:extLst>
            </p:cNvPr>
            <p:cNvGrpSpPr/>
            <p:nvPr/>
          </p:nvGrpSpPr>
          <p:grpSpPr>
            <a:xfrm>
              <a:off x="2041375" y="5192005"/>
              <a:ext cx="259477" cy="169354"/>
              <a:chOff x="2041375" y="5192005"/>
              <a:chExt cx="259477" cy="169354"/>
            </a:xfrm>
            <a:noFill/>
          </p:grpSpPr>
          <p:sp>
            <p:nvSpPr>
              <p:cNvPr id="1001" name="Forma livre: Forma 1000">
                <a:extLst>
                  <a:ext uri="{FF2B5EF4-FFF2-40B4-BE49-F238E27FC236}">
                    <a16:creationId xmlns:a16="http://schemas.microsoft.com/office/drawing/2014/main" id="{43BE920B-B94A-D1E1-505B-D11B07745454}"/>
                  </a:ext>
                </a:extLst>
              </p:cNvPr>
              <p:cNvSpPr/>
              <p:nvPr/>
            </p:nvSpPr>
            <p:spPr>
              <a:xfrm>
                <a:off x="2188527" y="5247285"/>
                <a:ext cx="89973" cy="28494"/>
              </a:xfrm>
              <a:custGeom>
                <a:avLst/>
                <a:gdLst>
                  <a:gd name="connsiteX0" fmla="*/ 0 w 89973"/>
                  <a:gd name="connsiteY0" fmla="*/ 28495 h 28494"/>
                  <a:gd name="connsiteX1" fmla="*/ 76553 w 89973"/>
                  <a:gd name="connsiteY1" fmla="*/ 28495 h 28494"/>
                  <a:gd name="connsiteX2" fmla="*/ 89974 w 89973"/>
                  <a:gd name="connsiteY2" fmla="*/ 15122 h 28494"/>
                  <a:gd name="connsiteX3" fmla="*/ 89974 w 89973"/>
                  <a:gd name="connsiteY3" fmla="*/ 13373 h 28494"/>
                  <a:gd name="connsiteX4" fmla="*/ 76553 w 89973"/>
                  <a:gd name="connsiteY4" fmla="*/ 0 h 28494"/>
                  <a:gd name="connsiteX5" fmla="*/ 14980 w 89973"/>
                  <a:gd name="connsiteY5" fmla="*/ 0 h 284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89973" h="28494">
                    <a:moveTo>
                      <a:pt x="0" y="28495"/>
                    </a:moveTo>
                    <a:lnTo>
                      <a:pt x="76553" y="28495"/>
                    </a:lnTo>
                    <a:cubicBezTo>
                      <a:pt x="83925" y="28495"/>
                      <a:pt x="89974" y="22493"/>
                      <a:pt x="89974" y="15122"/>
                    </a:cubicBezTo>
                    <a:lnTo>
                      <a:pt x="89974" y="13373"/>
                    </a:lnTo>
                    <a:cubicBezTo>
                      <a:pt x="89974" y="6001"/>
                      <a:pt x="83925" y="0"/>
                      <a:pt x="76553" y="0"/>
                    </a:cubicBezTo>
                    <a:lnTo>
                      <a:pt x="14980" y="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002" name="Forma livre: Forma 1001">
                <a:extLst>
                  <a:ext uri="{FF2B5EF4-FFF2-40B4-BE49-F238E27FC236}">
                    <a16:creationId xmlns:a16="http://schemas.microsoft.com/office/drawing/2014/main" id="{AE2B0B72-0EE1-462A-E597-C13EE6F79D6D}"/>
                  </a:ext>
                </a:extLst>
              </p:cNvPr>
              <p:cNvSpPr/>
              <p:nvPr/>
            </p:nvSpPr>
            <p:spPr>
              <a:xfrm>
                <a:off x="2188527" y="5275780"/>
                <a:ext cx="112325" cy="28541"/>
              </a:xfrm>
              <a:custGeom>
                <a:avLst/>
                <a:gdLst>
                  <a:gd name="connsiteX0" fmla="*/ 0 w 112325"/>
                  <a:gd name="connsiteY0" fmla="*/ 28542 h 28541"/>
                  <a:gd name="connsiteX1" fmla="*/ 98905 w 112325"/>
                  <a:gd name="connsiteY1" fmla="*/ 28542 h 28541"/>
                  <a:gd name="connsiteX2" fmla="*/ 112326 w 112325"/>
                  <a:gd name="connsiteY2" fmla="*/ 15169 h 28541"/>
                  <a:gd name="connsiteX3" fmla="*/ 112326 w 112325"/>
                  <a:gd name="connsiteY3" fmla="*/ 13420 h 28541"/>
                  <a:gd name="connsiteX4" fmla="*/ 98952 w 112325"/>
                  <a:gd name="connsiteY4" fmla="*/ 0 h 28541"/>
                  <a:gd name="connsiteX5" fmla="*/ 72395 w 112325"/>
                  <a:gd name="connsiteY5" fmla="*/ 0 h 285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12325" h="28541">
                    <a:moveTo>
                      <a:pt x="0" y="28542"/>
                    </a:moveTo>
                    <a:lnTo>
                      <a:pt x="98905" y="28542"/>
                    </a:lnTo>
                    <a:cubicBezTo>
                      <a:pt x="106277" y="28542"/>
                      <a:pt x="112326" y="22493"/>
                      <a:pt x="112326" y="15169"/>
                    </a:cubicBezTo>
                    <a:lnTo>
                      <a:pt x="112326" y="13420"/>
                    </a:lnTo>
                    <a:cubicBezTo>
                      <a:pt x="112326" y="6049"/>
                      <a:pt x="106324" y="0"/>
                      <a:pt x="98952" y="0"/>
                    </a:cubicBezTo>
                    <a:lnTo>
                      <a:pt x="72395" y="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003" name="Forma livre: Forma 1002">
                <a:extLst>
                  <a:ext uri="{FF2B5EF4-FFF2-40B4-BE49-F238E27FC236}">
                    <a16:creationId xmlns:a16="http://schemas.microsoft.com/office/drawing/2014/main" id="{601024B5-2B08-359B-2CAB-A8FCFBA68A8B}"/>
                  </a:ext>
                </a:extLst>
              </p:cNvPr>
              <p:cNvSpPr/>
              <p:nvPr/>
            </p:nvSpPr>
            <p:spPr>
              <a:xfrm>
                <a:off x="2188527" y="5304369"/>
                <a:ext cx="99235" cy="28494"/>
              </a:xfrm>
              <a:custGeom>
                <a:avLst/>
                <a:gdLst>
                  <a:gd name="connsiteX0" fmla="*/ 0 w 99235"/>
                  <a:gd name="connsiteY0" fmla="*/ 28495 h 28494"/>
                  <a:gd name="connsiteX1" fmla="*/ 85815 w 99235"/>
                  <a:gd name="connsiteY1" fmla="*/ 28495 h 28494"/>
                  <a:gd name="connsiteX2" fmla="*/ 99236 w 99235"/>
                  <a:gd name="connsiteY2" fmla="*/ 15122 h 28494"/>
                  <a:gd name="connsiteX3" fmla="*/ 99236 w 99235"/>
                  <a:gd name="connsiteY3" fmla="*/ 13373 h 28494"/>
                  <a:gd name="connsiteX4" fmla="*/ 85815 w 99235"/>
                  <a:gd name="connsiteY4" fmla="*/ 0 h 28494"/>
                  <a:gd name="connsiteX5" fmla="*/ 77971 w 99235"/>
                  <a:gd name="connsiteY5" fmla="*/ 0 h 284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99235" h="28494">
                    <a:moveTo>
                      <a:pt x="0" y="28495"/>
                    </a:moveTo>
                    <a:lnTo>
                      <a:pt x="85815" y="28495"/>
                    </a:lnTo>
                    <a:cubicBezTo>
                      <a:pt x="93187" y="28495"/>
                      <a:pt x="99236" y="22493"/>
                      <a:pt x="99236" y="15122"/>
                    </a:cubicBezTo>
                    <a:lnTo>
                      <a:pt x="99236" y="13373"/>
                    </a:lnTo>
                    <a:cubicBezTo>
                      <a:pt x="99236" y="6001"/>
                      <a:pt x="93187" y="0"/>
                      <a:pt x="85815" y="0"/>
                    </a:cubicBezTo>
                    <a:lnTo>
                      <a:pt x="77971" y="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004" name="Forma livre: Forma 1003">
                <a:extLst>
                  <a:ext uri="{FF2B5EF4-FFF2-40B4-BE49-F238E27FC236}">
                    <a16:creationId xmlns:a16="http://schemas.microsoft.com/office/drawing/2014/main" id="{F4C179E5-3C8B-0AC8-8058-4D86EFFF8CF4}"/>
                  </a:ext>
                </a:extLst>
              </p:cNvPr>
              <p:cNvSpPr/>
              <p:nvPr/>
            </p:nvSpPr>
            <p:spPr>
              <a:xfrm>
                <a:off x="2041375" y="5192005"/>
                <a:ext cx="223374" cy="169354"/>
              </a:xfrm>
              <a:custGeom>
                <a:avLst/>
                <a:gdLst>
                  <a:gd name="connsiteX0" fmla="*/ 114216 w 223374"/>
                  <a:gd name="connsiteY0" fmla="*/ 68795 h 169354"/>
                  <a:gd name="connsiteX1" fmla="*/ 158824 w 223374"/>
                  <a:gd name="connsiteY1" fmla="*/ 28298 h 169354"/>
                  <a:gd name="connsiteX2" fmla="*/ 161801 w 223374"/>
                  <a:gd name="connsiteY2" fmla="*/ 5710 h 169354"/>
                  <a:gd name="connsiteX3" fmla="*/ 139733 w 223374"/>
                  <a:gd name="connsiteY3" fmla="*/ 3158 h 169354"/>
                  <a:gd name="connsiteX4" fmla="*/ 72395 w 223374"/>
                  <a:gd name="connsiteY4" fmla="*/ 50744 h 169354"/>
                  <a:gd name="connsiteX5" fmla="*/ 0 w 223374"/>
                  <a:gd name="connsiteY5" fmla="*/ 50744 h 169354"/>
                  <a:gd name="connsiteX6" fmla="*/ 0 w 223374"/>
                  <a:gd name="connsiteY6" fmla="*/ 169354 h 169354"/>
                  <a:gd name="connsiteX7" fmla="*/ 211797 w 223374"/>
                  <a:gd name="connsiteY7" fmla="*/ 169354 h 169354"/>
                  <a:gd name="connsiteX8" fmla="*/ 223375 w 223374"/>
                  <a:gd name="connsiteY8" fmla="*/ 157777 h 169354"/>
                  <a:gd name="connsiteX9" fmla="*/ 223375 w 223374"/>
                  <a:gd name="connsiteY9" fmla="*/ 152342 h 169354"/>
                  <a:gd name="connsiteX10" fmla="*/ 211797 w 223374"/>
                  <a:gd name="connsiteY10" fmla="*/ 140765 h 169354"/>
                  <a:gd name="connsiteX11" fmla="*/ 209198 w 223374"/>
                  <a:gd name="connsiteY11" fmla="*/ 140765 h 1693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223374" h="169354">
                    <a:moveTo>
                      <a:pt x="114216" y="68795"/>
                    </a:moveTo>
                    <a:lnTo>
                      <a:pt x="158824" y="28298"/>
                    </a:lnTo>
                    <a:cubicBezTo>
                      <a:pt x="165346" y="22344"/>
                      <a:pt x="166716" y="12184"/>
                      <a:pt x="161801" y="5710"/>
                    </a:cubicBezTo>
                    <a:cubicBezTo>
                      <a:pt x="156887" y="-764"/>
                      <a:pt x="146963" y="-1898"/>
                      <a:pt x="139733" y="3158"/>
                    </a:cubicBezTo>
                    <a:lnTo>
                      <a:pt x="72395" y="50744"/>
                    </a:lnTo>
                    <a:lnTo>
                      <a:pt x="0" y="50744"/>
                    </a:lnTo>
                    <a:cubicBezTo>
                      <a:pt x="0" y="50744"/>
                      <a:pt x="0" y="169354"/>
                      <a:pt x="0" y="169354"/>
                    </a:cubicBezTo>
                    <a:lnTo>
                      <a:pt x="211797" y="169354"/>
                    </a:lnTo>
                    <a:cubicBezTo>
                      <a:pt x="218177" y="169354"/>
                      <a:pt x="223375" y="164156"/>
                      <a:pt x="223375" y="157777"/>
                    </a:cubicBezTo>
                    <a:lnTo>
                      <a:pt x="223375" y="152342"/>
                    </a:lnTo>
                    <a:cubicBezTo>
                      <a:pt x="223375" y="145963"/>
                      <a:pt x="218177" y="140765"/>
                      <a:pt x="211797" y="140765"/>
                    </a:cubicBezTo>
                    <a:lnTo>
                      <a:pt x="209198" y="140765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005" name="Forma livre: Forma 1004">
              <a:extLst>
                <a:ext uri="{FF2B5EF4-FFF2-40B4-BE49-F238E27FC236}">
                  <a16:creationId xmlns:a16="http://schemas.microsoft.com/office/drawing/2014/main" id="{CE448E9F-3CA6-7229-FEDB-5B5737D653BD}"/>
                </a:ext>
              </a:extLst>
            </p:cNvPr>
            <p:cNvSpPr/>
            <p:nvPr/>
          </p:nvSpPr>
          <p:spPr>
            <a:xfrm>
              <a:off x="2040950" y="5394910"/>
              <a:ext cx="246955" cy="111333"/>
            </a:xfrm>
            <a:custGeom>
              <a:avLst/>
              <a:gdLst>
                <a:gd name="connsiteX0" fmla="*/ 26794 w 246955"/>
                <a:gd name="connsiteY0" fmla="*/ 111333 h 111333"/>
                <a:gd name="connsiteX1" fmla="*/ 0 w 246955"/>
                <a:gd name="connsiteY1" fmla="*/ 84539 h 111333"/>
                <a:gd name="connsiteX2" fmla="*/ 0 w 246955"/>
                <a:gd name="connsiteY2" fmla="*/ 26794 h 111333"/>
                <a:gd name="connsiteX3" fmla="*/ 26794 w 246955"/>
                <a:gd name="connsiteY3" fmla="*/ 0 h 111333"/>
                <a:gd name="connsiteX4" fmla="*/ 220162 w 246955"/>
                <a:gd name="connsiteY4" fmla="*/ 0 h 111333"/>
                <a:gd name="connsiteX5" fmla="*/ 246955 w 246955"/>
                <a:gd name="connsiteY5" fmla="*/ 26794 h 111333"/>
                <a:gd name="connsiteX6" fmla="*/ 246955 w 246955"/>
                <a:gd name="connsiteY6" fmla="*/ 84539 h 111333"/>
                <a:gd name="connsiteX7" fmla="*/ 220162 w 246955"/>
                <a:gd name="connsiteY7" fmla="*/ 111333 h 111333"/>
                <a:gd name="connsiteX8" fmla="*/ 167567 w 246955"/>
                <a:gd name="connsiteY8" fmla="*/ 111333 h 111333"/>
                <a:gd name="connsiteX9" fmla="*/ 146727 w 246955"/>
                <a:gd name="connsiteY9" fmla="*/ 95975 h 111333"/>
                <a:gd name="connsiteX10" fmla="*/ 141482 w 246955"/>
                <a:gd name="connsiteY10" fmla="*/ 79152 h 111333"/>
                <a:gd name="connsiteX11" fmla="*/ 123478 w 246955"/>
                <a:gd name="connsiteY11" fmla="*/ 63794 h 111333"/>
                <a:gd name="connsiteX12" fmla="*/ 105473 w 246955"/>
                <a:gd name="connsiteY12" fmla="*/ 79152 h 111333"/>
                <a:gd name="connsiteX13" fmla="*/ 100228 w 246955"/>
                <a:gd name="connsiteY13" fmla="*/ 95975 h 111333"/>
                <a:gd name="connsiteX14" fmla="*/ 79389 w 246955"/>
                <a:gd name="connsiteY14" fmla="*/ 111333 h 111333"/>
                <a:gd name="connsiteX15" fmla="*/ 26794 w 246955"/>
                <a:gd name="connsiteY15" fmla="*/ 111333 h 1113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246955" h="111333">
                  <a:moveTo>
                    <a:pt x="26794" y="111333"/>
                  </a:moveTo>
                  <a:cubicBezTo>
                    <a:pt x="12050" y="111333"/>
                    <a:pt x="0" y="99283"/>
                    <a:pt x="0" y="84539"/>
                  </a:cubicBezTo>
                  <a:lnTo>
                    <a:pt x="0" y="26794"/>
                  </a:lnTo>
                  <a:cubicBezTo>
                    <a:pt x="0" y="12050"/>
                    <a:pt x="12050" y="0"/>
                    <a:pt x="26794" y="0"/>
                  </a:cubicBezTo>
                  <a:lnTo>
                    <a:pt x="220162" y="0"/>
                  </a:lnTo>
                  <a:cubicBezTo>
                    <a:pt x="234905" y="0"/>
                    <a:pt x="246955" y="12050"/>
                    <a:pt x="246955" y="26794"/>
                  </a:cubicBezTo>
                  <a:lnTo>
                    <a:pt x="246955" y="84539"/>
                  </a:lnTo>
                  <a:cubicBezTo>
                    <a:pt x="246955" y="99283"/>
                    <a:pt x="234905" y="111333"/>
                    <a:pt x="220162" y="111333"/>
                  </a:cubicBezTo>
                  <a:lnTo>
                    <a:pt x="167567" y="111333"/>
                  </a:lnTo>
                  <a:cubicBezTo>
                    <a:pt x="158730" y="111333"/>
                    <a:pt x="149326" y="104434"/>
                    <a:pt x="146727" y="95975"/>
                  </a:cubicBezTo>
                  <a:lnTo>
                    <a:pt x="141482" y="79152"/>
                  </a:lnTo>
                  <a:cubicBezTo>
                    <a:pt x="138835" y="70694"/>
                    <a:pt x="130755" y="63794"/>
                    <a:pt x="123478" y="63794"/>
                  </a:cubicBezTo>
                  <a:cubicBezTo>
                    <a:pt x="116200" y="63794"/>
                    <a:pt x="108072" y="70694"/>
                    <a:pt x="105473" y="79152"/>
                  </a:cubicBezTo>
                  <a:lnTo>
                    <a:pt x="100228" y="95975"/>
                  </a:lnTo>
                  <a:cubicBezTo>
                    <a:pt x="97582" y="104434"/>
                    <a:pt x="88225" y="111333"/>
                    <a:pt x="79389" y="111333"/>
                  </a:cubicBezTo>
                  <a:lnTo>
                    <a:pt x="26794" y="111333"/>
                  </a:ln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06" name="Forma livre: Forma 1005">
              <a:extLst>
                <a:ext uri="{FF2B5EF4-FFF2-40B4-BE49-F238E27FC236}">
                  <a16:creationId xmlns:a16="http://schemas.microsoft.com/office/drawing/2014/main" id="{9BF080BF-EDDE-1F9F-73FD-A15F25D79358}"/>
                </a:ext>
              </a:extLst>
            </p:cNvPr>
            <p:cNvSpPr/>
            <p:nvPr/>
          </p:nvSpPr>
          <p:spPr>
            <a:xfrm>
              <a:off x="2067318" y="5421326"/>
              <a:ext cx="23485" cy="23485"/>
            </a:xfrm>
            <a:custGeom>
              <a:avLst/>
              <a:gdLst>
                <a:gd name="connsiteX0" fmla="*/ 0 w 23485"/>
                <a:gd name="connsiteY0" fmla="*/ 23486 h 23485"/>
                <a:gd name="connsiteX1" fmla="*/ 23486 w 23485"/>
                <a:gd name="connsiteY1" fmla="*/ 0 h 234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3485" h="23485">
                  <a:moveTo>
                    <a:pt x="0" y="23486"/>
                  </a:moveTo>
                  <a:lnTo>
                    <a:pt x="23486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07" name="Forma livre: Forma 1006">
              <a:extLst>
                <a:ext uri="{FF2B5EF4-FFF2-40B4-BE49-F238E27FC236}">
                  <a16:creationId xmlns:a16="http://schemas.microsoft.com/office/drawing/2014/main" id="{D2657F80-A754-8C75-4BB0-85FF097A70F9}"/>
                </a:ext>
              </a:extLst>
            </p:cNvPr>
            <p:cNvSpPr/>
            <p:nvPr/>
          </p:nvSpPr>
          <p:spPr>
            <a:xfrm>
              <a:off x="2077714" y="5429312"/>
              <a:ext cx="39410" cy="39363"/>
            </a:xfrm>
            <a:custGeom>
              <a:avLst/>
              <a:gdLst>
                <a:gd name="connsiteX0" fmla="*/ 0 w 39410"/>
                <a:gd name="connsiteY0" fmla="*/ 39363 h 39363"/>
                <a:gd name="connsiteX1" fmla="*/ 39411 w 39410"/>
                <a:gd name="connsiteY1" fmla="*/ 0 h 393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9410" h="39363">
                  <a:moveTo>
                    <a:pt x="0" y="39363"/>
                  </a:moveTo>
                  <a:lnTo>
                    <a:pt x="39411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008" name="Gráfico 13">
            <a:extLst>
              <a:ext uri="{FF2B5EF4-FFF2-40B4-BE49-F238E27FC236}">
                <a16:creationId xmlns:a16="http://schemas.microsoft.com/office/drawing/2014/main" id="{6480EDED-DC49-EEF6-3D96-56BBBFAB11C7}"/>
              </a:ext>
            </a:extLst>
          </p:cNvPr>
          <p:cNvGrpSpPr/>
          <p:nvPr/>
        </p:nvGrpSpPr>
        <p:grpSpPr>
          <a:xfrm>
            <a:off x="1393696" y="5755608"/>
            <a:ext cx="344537" cy="272283"/>
            <a:chOff x="1393696" y="5755608"/>
            <a:chExt cx="344537" cy="272283"/>
          </a:xfrm>
          <a:noFill/>
        </p:grpSpPr>
        <p:sp>
          <p:nvSpPr>
            <p:cNvPr id="1009" name="Forma livre: Forma 1008">
              <a:extLst>
                <a:ext uri="{FF2B5EF4-FFF2-40B4-BE49-F238E27FC236}">
                  <a16:creationId xmlns:a16="http://schemas.microsoft.com/office/drawing/2014/main" id="{B277B919-B92E-7E5D-BE5D-5CC384CBCE60}"/>
                </a:ext>
              </a:extLst>
            </p:cNvPr>
            <p:cNvSpPr/>
            <p:nvPr/>
          </p:nvSpPr>
          <p:spPr>
            <a:xfrm>
              <a:off x="1565941" y="5755608"/>
              <a:ext cx="4725" cy="272283"/>
            </a:xfrm>
            <a:custGeom>
              <a:avLst/>
              <a:gdLst>
                <a:gd name="connsiteX0" fmla="*/ 0 w 4725"/>
                <a:gd name="connsiteY0" fmla="*/ 0 h 272283"/>
                <a:gd name="connsiteX1" fmla="*/ 0 w 4725"/>
                <a:gd name="connsiteY1" fmla="*/ 272284 h 2722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725" h="272283">
                  <a:moveTo>
                    <a:pt x="0" y="0"/>
                  </a:moveTo>
                  <a:lnTo>
                    <a:pt x="0" y="272284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10" name="Forma livre: Forma 1009">
              <a:extLst>
                <a:ext uri="{FF2B5EF4-FFF2-40B4-BE49-F238E27FC236}">
                  <a16:creationId xmlns:a16="http://schemas.microsoft.com/office/drawing/2014/main" id="{68579D47-F37A-039F-C889-A44971E440B6}"/>
                </a:ext>
              </a:extLst>
            </p:cNvPr>
            <p:cNvSpPr/>
            <p:nvPr/>
          </p:nvSpPr>
          <p:spPr>
            <a:xfrm>
              <a:off x="1467320" y="5891750"/>
              <a:ext cx="197290" cy="4725"/>
            </a:xfrm>
            <a:custGeom>
              <a:avLst/>
              <a:gdLst>
                <a:gd name="connsiteX0" fmla="*/ 0 w 197290"/>
                <a:gd name="connsiteY0" fmla="*/ 0 h 4725"/>
                <a:gd name="connsiteX1" fmla="*/ 197290 w 197290"/>
                <a:gd name="connsiteY1" fmla="*/ 0 h 47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97290" h="4725">
                  <a:moveTo>
                    <a:pt x="0" y="0"/>
                  </a:moveTo>
                  <a:lnTo>
                    <a:pt x="19729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011" name="Gráfico 13">
              <a:extLst>
                <a:ext uri="{FF2B5EF4-FFF2-40B4-BE49-F238E27FC236}">
                  <a16:creationId xmlns:a16="http://schemas.microsoft.com/office/drawing/2014/main" id="{8270E341-0310-4927-2A85-2CCDCA578C0F}"/>
                </a:ext>
              </a:extLst>
            </p:cNvPr>
            <p:cNvGrpSpPr/>
            <p:nvPr/>
          </p:nvGrpSpPr>
          <p:grpSpPr>
            <a:xfrm>
              <a:off x="1393696" y="5891750"/>
              <a:ext cx="344537" cy="4725"/>
              <a:chOff x="1393696" y="5891750"/>
              <a:chExt cx="344537" cy="4725"/>
            </a:xfrm>
          </p:grpSpPr>
          <p:sp>
            <p:nvSpPr>
              <p:cNvPr id="1012" name="Forma livre: Forma 1011">
                <a:extLst>
                  <a:ext uri="{FF2B5EF4-FFF2-40B4-BE49-F238E27FC236}">
                    <a16:creationId xmlns:a16="http://schemas.microsoft.com/office/drawing/2014/main" id="{F8B05428-7C9F-F70E-99C8-BF743113459D}"/>
                  </a:ext>
                </a:extLst>
              </p:cNvPr>
              <p:cNvSpPr/>
              <p:nvPr/>
            </p:nvSpPr>
            <p:spPr>
              <a:xfrm>
                <a:off x="1393696" y="5891750"/>
                <a:ext cx="45364" cy="4725"/>
              </a:xfrm>
              <a:custGeom>
                <a:avLst/>
                <a:gdLst>
                  <a:gd name="connsiteX0" fmla="*/ 0 w 45364"/>
                  <a:gd name="connsiteY0" fmla="*/ 0 h 4725"/>
                  <a:gd name="connsiteX1" fmla="*/ 45365 w 45364"/>
                  <a:gd name="connsiteY1" fmla="*/ 0 h 47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5364" h="4725">
                    <a:moveTo>
                      <a:pt x="0" y="0"/>
                    </a:moveTo>
                    <a:lnTo>
                      <a:pt x="45365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013" name="Forma livre: Forma 1012">
                <a:extLst>
                  <a:ext uri="{FF2B5EF4-FFF2-40B4-BE49-F238E27FC236}">
                    <a16:creationId xmlns:a16="http://schemas.microsoft.com/office/drawing/2014/main" id="{1ECCF51B-48B9-3CAB-598A-95C075760964}"/>
                  </a:ext>
                </a:extLst>
              </p:cNvPr>
              <p:cNvSpPr/>
              <p:nvPr/>
            </p:nvSpPr>
            <p:spPr>
              <a:xfrm>
                <a:off x="1692868" y="5891750"/>
                <a:ext cx="45364" cy="4725"/>
              </a:xfrm>
              <a:custGeom>
                <a:avLst/>
                <a:gdLst>
                  <a:gd name="connsiteX0" fmla="*/ 0 w 45364"/>
                  <a:gd name="connsiteY0" fmla="*/ 0 h 4725"/>
                  <a:gd name="connsiteX1" fmla="*/ 45365 w 45364"/>
                  <a:gd name="connsiteY1" fmla="*/ 0 h 47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5364" h="4725">
                    <a:moveTo>
                      <a:pt x="0" y="0"/>
                    </a:moveTo>
                    <a:lnTo>
                      <a:pt x="45365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014" name="Gráfico 13">
              <a:extLst>
                <a:ext uri="{FF2B5EF4-FFF2-40B4-BE49-F238E27FC236}">
                  <a16:creationId xmlns:a16="http://schemas.microsoft.com/office/drawing/2014/main" id="{63DD4C7D-7096-0858-AE1F-C86F105C8095}"/>
                </a:ext>
              </a:extLst>
            </p:cNvPr>
            <p:cNvGrpSpPr/>
            <p:nvPr/>
          </p:nvGrpSpPr>
          <p:grpSpPr>
            <a:xfrm>
              <a:off x="1406550" y="5809431"/>
              <a:ext cx="318783" cy="164544"/>
              <a:chOff x="1406550" y="5809431"/>
              <a:chExt cx="318783" cy="164544"/>
            </a:xfrm>
            <a:noFill/>
          </p:grpSpPr>
          <p:sp>
            <p:nvSpPr>
              <p:cNvPr id="1015" name="Forma livre: Forma 1014">
                <a:extLst>
                  <a:ext uri="{FF2B5EF4-FFF2-40B4-BE49-F238E27FC236}">
                    <a16:creationId xmlns:a16="http://schemas.microsoft.com/office/drawing/2014/main" id="{D44DF35A-D977-8ED4-B9A4-8D685B738246}"/>
                  </a:ext>
                </a:extLst>
              </p:cNvPr>
              <p:cNvSpPr/>
              <p:nvPr/>
            </p:nvSpPr>
            <p:spPr>
              <a:xfrm>
                <a:off x="1406550" y="5809431"/>
                <a:ext cx="159344" cy="120407"/>
              </a:xfrm>
              <a:custGeom>
                <a:avLst/>
                <a:gdLst>
                  <a:gd name="connsiteX0" fmla="*/ 0 w 159344"/>
                  <a:gd name="connsiteY0" fmla="*/ 120407 h 120407"/>
                  <a:gd name="connsiteX1" fmla="*/ 95455 w 159344"/>
                  <a:gd name="connsiteY1" fmla="*/ 1 h 120407"/>
                  <a:gd name="connsiteX2" fmla="*/ 159344 w 159344"/>
                  <a:gd name="connsiteY2" fmla="*/ 82131 h 1204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59344" h="120407">
                    <a:moveTo>
                      <a:pt x="0" y="120407"/>
                    </a:moveTo>
                    <a:cubicBezTo>
                      <a:pt x="44184" y="92149"/>
                      <a:pt x="56942" y="474"/>
                      <a:pt x="95455" y="1"/>
                    </a:cubicBezTo>
                    <a:cubicBezTo>
                      <a:pt x="118043" y="-282"/>
                      <a:pt x="141340" y="48674"/>
                      <a:pt x="159344" y="82131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016" name="Forma livre: Forma 1015">
                <a:extLst>
                  <a:ext uri="{FF2B5EF4-FFF2-40B4-BE49-F238E27FC236}">
                    <a16:creationId xmlns:a16="http://schemas.microsoft.com/office/drawing/2014/main" id="{0D5ADF28-CDF6-E14D-7564-76C6907AFA17}"/>
                  </a:ext>
                </a:extLst>
              </p:cNvPr>
              <p:cNvSpPr/>
              <p:nvPr/>
            </p:nvSpPr>
            <p:spPr>
              <a:xfrm>
                <a:off x="1565988" y="5853568"/>
                <a:ext cx="159344" cy="120407"/>
              </a:xfrm>
              <a:custGeom>
                <a:avLst/>
                <a:gdLst>
                  <a:gd name="connsiteX0" fmla="*/ 159344 w 159344"/>
                  <a:gd name="connsiteY0" fmla="*/ 0 h 120407"/>
                  <a:gd name="connsiteX1" fmla="*/ 63889 w 159344"/>
                  <a:gd name="connsiteY1" fmla="*/ 120406 h 120407"/>
                  <a:gd name="connsiteX2" fmla="*/ 0 w 159344"/>
                  <a:gd name="connsiteY2" fmla="*/ 38277 h 1204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59344" h="120407">
                    <a:moveTo>
                      <a:pt x="159344" y="0"/>
                    </a:moveTo>
                    <a:cubicBezTo>
                      <a:pt x="115161" y="28259"/>
                      <a:pt x="102402" y="119933"/>
                      <a:pt x="63889" y="120406"/>
                    </a:cubicBezTo>
                    <a:cubicBezTo>
                      <a:pt x="41301" y="120690"/>
                      <a:pt x="18004" y="71733"/>
                      <a:pt x="0" y="38277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017" name="Gráfico 13">
            <a:extLst>
              <a:ext uri="{FF2B5EF4-FFF2-40B4-BE49-F238E27FC236}">
                <a16:creationId xmlns:a16="http://schemas.microsoft.com/office/drawing/2014/main" id="{CC2483A3-3BC5-B700-BDAB-60DB1D8EDE9B}"/>
              </a:ext>
            </a:extLst>
          </p:cNvPr>
          <p:cNvGrpSpPr/>
          <p:nvPr/>
        </p:nvGrpSpPr>
        <p:grpSpPr>
          <a:xfrm>
            <a:off x="1463587" y="5212647"/>
            <a:ext cx="204756" cy="272992"/>
            <a:chOff x="1463587" y="5212647"/>
            <a:chExt cx="204756" cy="272992"/>
          </a:xfrm>
          <a:noFill/>
        </p:grpSpPr>
        <p:grpSp>
          <p:nvGrpSpPr>
            <p:cNvPr id="1018" name="Gráfico 13">
              <a:extLst>
                <a:ext uri="{FF2B5EF4-FFF2-40B4-BE49-F238E27FC236}">
                  <a16:creationId xmlns:a16="http://schemas.microsoft.com/office/drawing/2014/main" id="{CBB9FAAC-2375-4BA7-E6E3-5802CDEA81E6}"/>
                </a:ext>
              </a:extLst>
            </p:cNvPr>
            <p:cNvGrpSpPr/>
            <p:nvPr/>
          </p:nvGrpSpPr>
          <p:grpSpPr>
            <a:xfrm>
              <a:off x="1463587" y="5212647"/>
              <a:ext cx="204756" cy="272992"/>
              <a:chOff x="1463587" y="5212647"/>
              <a:chExt cx="204756" cy="272992"/>
            </a:xfrm>
            <a:noFill/>
          </p:grpSpPr>
          <p:sp>
            <p:nvSpPr>
              <p:cNvPr id="1019" name="Forma livre: Forma 1018">
                <a:extLst>
                  <a:ext uri="{FF2B5EF4-FFF2-40B4-BE49-F238E27FC236}">
                    <a16:creationId xmlns:a16="http://schemas.microsoft.com/office/drawing/2014/main" id="{964EEE67-6D68-618A-AD42-622B22E3150B}"/>
                  </a:ext>
                </a:extLst>
              </p:cNvPr>
              <p:cNvSpPr/>
              <p:nvPr/>
            </p:nvSpPr>
            <p:spPr>
              <a:xfrm>
                <a:off x="1463587" y="5212647"/>
                <a:ext cx="204756" cy="272992"/>
              </a:xfrm>
              <a:custGeom>
                <a:avLst/>
                <a:gdLst>
                  <a:gd name="connsiteX0" fmla="*/ 185854 w 204756"/>
                  <a:gd name="connsiteY0" fmla="*/ 0 h 272992"/>
                  <a:gd name="connsiteX1" fmla="*/ 52737 w 204756"/>
                  <a:gd name="connsiteY1" fmla="*/ 0 h 272992"/>
                  <a:gd name="connsiteX2" fmla="*/ 0 w 204756"/>
                  <a:gd name="connsiteY2" fmla="*/ 45790 h 272992"/>
                  <a:gd name="connsiteX3" fmla="*/ 0 w 204756"/>
                  <a:gd name="connsiteY3" fmla="*/ 254091 h 272992"/>
                  <a:gd name="connsiteX4" fmla="*/ 18902 w 204756"/>
                  <a:gd name="connsiteY4" fmla="*/ 272993 h 272992"/>
                  <a:gd name="connsiteX5" fmla="*/ 185854 w 204756"/>
                  <a:gd name="connsiteY5" fmla="*/ 272993 h 272992"/>
                  <a:gd name="connsiteX6" fmla="*/ 204756 w 204756"/>
                  <a:gd name="connsiteY6" fmla="*/ 254091 h 272992"/>
                  <a:gd name="connsiteX7" fmla="*/ 204756 w 204756"/>
                  <a:gd name="connsiteY7" fmla="*/ 18902 h 272992"/>
                  <a:gd name="connsiteX8" fmla="*/ 185854 w 204756"/>
                  <a:gd name="connsiteY8" fmla="*/ 0 h 2729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04756" h="272992">
                    <a:moveTo>
                      <a:pt x="185854" y="0"/>
                    </a:moveTo>
                    <a:lnTo>
                      <a:pt x="52737" y="0"/>
                    </a:lnTo>
                    <a:lnTo>
                      <a:pt x="0" y="45790"/>
                    </a:lnTo>
                    <a:lnTo>
                      <a:pt x="0" y="254091"/>
                    </a:lnTo>
                    <a:cubicBezTo>
                      <a:pt x="0" y="264487"/>
                      <a:pt x="8506" y="272993"/>
                      <a:pt x="18902" y="272993"/>
                    </a:cubicBezTo>
                    <a:lnTo>
                      <a:pt x="185854" y="272993"/>
                    </a:lnTo>
                    <a:cubicBezTo>
                      <a:pt x="196251" y="272993"/>
                      <a:pt x="204756" y="264487"/>
                      <a:pt x="204756" y="254091"/>
                    </a:cubicBezTo>
                    <a:lnTo>
                      <a:pt x="204756" y="18902"/>
                    </a:lnTo>
                    <a:cubicBezTo>
                      <a:pt x="204756" y="8506"/>
                      <a:pt x="196251" y="0"/>
                      <a:pt x="185854" y="0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020" name="Forma livre: Forma 1019">
                <a:extLst>
                  <a:ext uri="{FF2B5EF4-FFF2-40B4-BE49-F238E27FC236}">
                    <a16:creationId xmlns:a16="http://schemas.microsoft.com/office/drawing/2014/main" id="{43F5E42F-D50E-5C73-62D8-8998E971DB23}"/>
                  </a:ext>
                </a:extLst>
              </p:cNvPr>
              <p:cNvSpPr/>
              <p:nvPr/>
            </p:nvSpPr>
            <p:spPr>
              <a:xfrm>
                <a:off x="1497894" y="5216286"/>
                <a:ext cx="35535" cy="58171"/>
              </a:xfrm>
              <a:custGeom>
                <a:avLst/>
                <a:gdLst>
                  <a:gd name="connsiteX0" fmla="*/ 35536 w 35535"/>
                  <a:gd name="connsiteY0" fmla="*/ 0 h 58171"/>
                  <a:gd name="connsiteX1" fmla="*/ 35536 w 35535"/>
                  <a:gd name="connsiteY1" fmla="*/ 58171 h 58171"/>
                  <a:gd name="connsiteX2" fmla="*/ 0 w 35535"/>
                  <a:gd name="connsiteY2" fmla="*/ 58171 h 581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5535" h="58171">
                    <a:moveTo>
                      <a:pt x="35536" y="0"/>
                    </a:moveTo>
                    <a:lnTo>
                      <a:pt x="35536" y="58171"/>
                    </a:lnTo>
                    <a:lnTo>
                      <a:pt x="0" y="58171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021" name="Gráfico 13">
              <a:extLst>
                <a:ext uri="{FF2B5EF4-FFF2-40B4-BE49-F238E27FC236}">
                  <a16:creationId xmlns:a16="http://schemas.microsoft.com/office/drawing/2014/main" id="{D74ACEE5-D866-81E5-968D-0DA24FDF78E1}"/>
                </a:ext>
              </a:extLst>
            </p:cNvPr>
            <p:cNvGrpSpPr/>
            <p:nvPr/>
          </p:nvGrpSpPr>
          <p:grpSpPr>
            <a:xfrm>
              <a:off x="1498319" y="5330407"/>
              <a:ext cx="135338" cy="83972"/>
              <a:chOff x="1498319" y="5330407"/>
              <a:chExt cx="135338" cy="83972"/>
            </a:xfrm>
            <a:noFill/>
          </p:grpSpPr>
          <p:sp>
            <p:nvSpPr>
              <p:cNvPr id="1022" name="Forma livre: Forma 1021">
                <a:extLst>
                  <a:ext uri="{FF2B5EF4-FFF2-40B4-BE49-F238E27FC236}">
                    <a16:creationId xmlns:a16="http://schemas.microsoft.com/office/drawing/2014/main" id="{2DF85F8E-3ADD-DA8B-AF08-D59E6724AE79}"/>
                  </a:ext>
                </a:extLst>
              </p:cNvPr>
              <p:cNvSpPr/>
              <p:nvPr/>
            </p:nvSpPr>
            <p:spPr>
              <a:xfrm>
                <a:off x="1574352" y="5359941"/>
                <a:ext cx="32936" cy="54437"/>
              </a:xfrm>
              <a:custGeom>
                <a:avLst/>
                <a:gdLst>
                  <a:gd name="connsiteX0" fmla="*/ 0 w 32936"/>
                  <a:gd name="connsiteY0" fmla="*/ 0 h 54437"/>
                  <a:gd name="connsiteX1" fmla="*/ 32937 w 32936"/>
                  <a:gd name="connsiteY1" fmla="*/ 0 h 54437"/>
                  <a:gd name="connsiteX2" fmla="*/ 32937 w 32936"/>
                  <a:gd name="connsiteY2" fmla="*/ 27266 h 54437"/>
                  <a:gd name="connsiteX3" fmla="*/ 0 w 32936"/>
                  <a:gd name="connsiteY3" fmla="*/ 27266 h 54437"/>
                  <a:gd name="connsiteX4" fmla="*/ 0 w 32936"/>
                  <a:gd name="connsiteY4" fmla="*/ 54438 h 54437"/>
                  <a:gd name="connsiteX5" fmla="*/ 32937 w 32936"/>
                  <a:gd name="connsiteY5" fmla="*/ 54438 h 544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32936" h="54437">
                    <a:moveTo>
                      <a:pt x="0" y="0"/>
                    </a:moveTo>
                    <a:lnTo>
                      <a:pt x="32937" y="0"/>
                    </a:lnTo>
                    <a:lnTo>
                      <a:pt x="32937" y="27266"/>
                    </a:lnTo>
                    <a:lnTo>
                      <a:pt x="0" y="27266"/>
                    </a:lnTo>
                    <a:lnTo>
                      <a:pt x="0" y="54438"/>
                    </a:lnTo>
                    <a:lnTo>
                      <a:pt x="32937" y="54438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023" name="Forma livre: Forma 1022">
                <a:extLst>
                  <a:ext uri="{FF2B5EF4-FFF2-40B4-BE49-F238E27FC236}">
                    <a16:creationId xmlns:a16="http://schemas.microsoft.com/office/drawing/2014/main" id="{72347F25-5616-ADE2-E78F-99204DCC36FF}"/>
                  </a:ext>
                </a:extLst>
              </p:cNvPr>
              <p:cNvSpPr/>
              <p:nvPr/>
            </p:nvSpPr>
            <p:spPr>
              <a:xfrm>
                <a:off x="1498319" y="5330407"/>
                <a:ext cx="135338" cy="83972"/>
              </a:xfrm>
              <a:custGeom>
                <a:avLst/>
                <a:gdLst>
                  <a:gd name="connsiteX0" fmla="*/ 0 w 135338"/>
                  <a:gd name="connsiteY0" fmla="*/ 27550 h 83972"/>
                  <a:gd name="connsiteX1" fmla="*/ 20320 w 135338"/>
                  <a:gd name="connsiteY1" fmla="*/ 83972 h 83972"/>
                  <a:gd name="connsiteX2" fmla="*/ 50894 w 135338"/>
                  <a:gd name="connsiteY2" fmla="*/ 0 h 83972"/>
                  <a:gd name="connsiteX3" fmla="*/ 135339 w 135338"/>
                  <a:gd name="connsiteY3" fmla="*/ 0 h 839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35338" h="83972">
                    <a:moveTo>
                      <a:pt x="0" y="27550"/>
                    </a:moveTo>
                    <a:lnTo>
                      <a:pt x="20320" y="83972"/>
                    </a:lnTo>
                    <a:lnTo>
                      <a:pt x="50894" y="0"/>
                    </a:lnTo>
                    <a:lnTo>
                      <a:pt x="135339" y="0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024" name="Gráfico 13">
            <a:extLst>
              <a:ext uri="{FF2B5EF4-FFF2-40B4-BE49-F238E27FC236}">
                <a16:creationId xmlns:a16="http://schemas.microsoft.com/office/drawing/2014/main" id="{B7E0B952-223E-F6C0-BBFD-04FD4F620E6B}"/>
              </a:ext>
            </a:extLst>
          </p:cNvPr>
          <p:cNvGrpSpPr/>
          <p:nvPr/>
        </p:nvGrpSpPr>
        <p:grpSpPr>
          <a:xfrm>
            <a:off x="797703" y="3654504"/>
            <a:ext cx="283258" cy="276548"/>
            <a:chOff x="797703" y="3654504"/>
            <a:chExt cx="283258" cy="276548"/>
          </a:xfrm>
          <a:noFill/>
        </p:grpSpPr>
        <p:grpSp>
          <p:nvGrpSpPr>
            <p:cNvPr id="1025" name="Gráfico 13">
              <a:extLst>
                <a:ext uri="{FF2B5EF4-FFF2-40B4-BE49-F238E27FC236}">
                  <a16:creationId xmlns:a16="http://schemas.microsoft.com/office/drawing/2014/main" id="{2400FDDC-4237-A1BE-7D1F-39404CA55FB9}"/>
                </a:ext>
              </a:extLst>
            </p:cNvPr>
            <p:cNvGrpSpPr/>
            <p:nvPr/>
          </p:nvGrpSpPr>
          <p:grpSpPr>
            <a:xfrm>
              <a:off x="797703" y="3655119"/>
              <a:ext cx="276028" cy="275934"/>
              <a:chOff x="797703" y="3655119"/>
              <a:chExt cx="276028" cy="275934"/>
            </a:xfrm>
            <a:noFill/>
          </p:grpSpPr>
          <p:sp>
            <p:nvSpPr>
              <p:cNvPr id="1026" name="Forma livre: Forma 1025">
                <a:extLst>
                  <a:ext uri="{FF2B5EF4-FFF2-40B4-BE49-F238E27FC236}">
                    <a16:creationId xmlns:a16="http://schemas.microsoft.com/office/drawing/2014/main" id="{3DE5D145-65F1-CC6A-9E7A-EF61085F2DA9}"/>
                  </a:ext>
                </a:extLst>
              </p:cNvPr>
              <p:cNvSpPr/>
              <p:nvPr/>
            </p:nvSpPr>
            <p:spPr>
              <a:xfrm>
                <a:off x="797703" y="3655119"/>
                <a:ext cx="276028" cy="275934"/>
              </a:xfrm>
              <a:custGeom>
                <a:avLst/>
                <a:gdLst>
                  <a:gd name="connsiteX0" fmla="*/ 275982 w 276028"/>
                  <a:gd name="connsiteY0" fmla="*/ 149232 h 275934"/>
                  <a:gd name="connsiteX1" fmla="*/ 179723 w 276028"/>
                  <a:gd name="connsiteY1" fmla="*/ 245490 h 275934"/>
                  <a:gd name="connsiteX2" fmla="*/ 32523 w 276028"/>
                  <a:gd name="connsiteY2" fmla="*/ 245490 h 275934"/>
                  <a:gd name="connsiteX3" fmla="*/ 30444 w 276028"/>
                  <a:gd name="connsiteY3" fmla="*/ 243411 h 275934"/>
                  <a:gd name="connsiteX4" fmla="*/ 30444 w 276028"/>
                  <a:gd name="connsiteY4" fmla="*/ 96211 h 275934"/>
                  <a:gd name="connsiteX5" fmla="*/ 126750 w 276028"/>
                  <a:gd name="connsiteY5" fmla="*/ 0 h 275934"/>
                  <a:gd name="connsiteX6" fmla="*/ 173533 w 276028"/>
                  <a:gd name="connsiteY6" fmla="*/ 46783 h 275934"/>
                  <a:gd name="connsiteX7" fmla="*/ 77274 w 276028"/>
                  <a:gd name="connsiteY7" fmla="*/ 143041 h 275934"/>
                  <a:gd name="connsiteX8" fmla="*/ 77274 w 276028"/>
                  <a:gd name="connsiteY8" fmla="*/ 196676 h 275934"/>
                  <a:gd name="connsiteX9" fmla="*/ 79353 w 276028"/>
                  <a:gd name="connsiteY9" fmla="*/ 198755 h 275934"/>
                  <a:gd name="connsiteX10" fmla="*/ 132988 w 276028"/>
                  <a:gd name="connsiteY10" fmla="*/ 198755 h 275934"/>
                  <a:gd name="connsiteX11" fmla="*/ 229246 w 276028"/>
                  <a:gd name="connsiteY11" fmla="*/ 102496 h 275934"/>
                  <a:gd name="connsiteX12" fmla="*/ 276029 w 276028"/>
                  <a:gd name="connsiteY12" fmla="*/ 149279 h 2759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276028" h="275934">
                    <a:moveTo>
                      <a:pt x="275982" y="149232"/>
                    </a:moveTo>
                    <a:lnTo>
                      <a:pt x="179723" y="245490"/>
                    </a:lnTo>
                    <a:cubicBezTo>
                      <a:pt x="139131" y="286082"/>
                      <a:pt x="73115" y="286082"/>
                      <a:pt x="32523" y="245490"/>
                    </a:cubicBezTo>
                    <a:lnTo>
                      <a:pt x="30444" y="243411"/>
                    </a:lnTo>
                    <a:cubicBezTo>
                      <a:pt x="-10148" y="202819"/>
                      <a:pt x="-10148" y="136804"/>
                      <a:pt x="30444" y="96211"/>
                    </a:cubicBezTo>
                    <a:lnTo>
                      <a:pt x="126750" y="0"/>
                    </a:lnTo>
                    <a:lnTo>
                      <a:pt x="173533" y="46783"/>
                    </a:lnTo>
                    <a:lnTo>
                      <a:pt x="77274" y="143041"/>
                    </a:lnTo>
                    <a:cubicBezTo>
                      <a:pt x="62483" y="157832"/>
                      <a:pt x="62483" y="181885"/>
                      <a:pt x="77274" y="196676"/>
                    </a:cubicBezTo>
                    <a:lnTo>
                      <a:pt x="79353" y="198755"/>
                    </a:lnTo>
                    <a:cubicBezTo>
                      <a:pt x="94144" y="213546"/>
                      <a:pt x="118197" y="213546"/>
                      <a:pt x="132988" y="198755"/>
                    </a:cubicBezTo>
                    <a:lnTo>
                      <a:pt x="229246" y="102496"/>
                    </a:lnTo>
                    <a:lnTo>
                      <a:pt x="276029" y="149279"/>
                    </a:lnTo>
                    <a:close/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027" name="Forma livre: Forma 1026">
                <a:extLst>
                  <a:ext uri="{FF2B5EF4-FFF2-40B4-BE49-F238E27FC236}">
                    <a16:creationId xmlns:a16="http://schemas.microsoft.com/office/drawing/2014/main" id="{BAB1FD53-CEDB-58DE-C252-A701B6057662}"/>
                  </a:ext>
                </a:extLst>
              </p:cNvPr>
              <p:cNvSpPr/>
              <p:nvPr/>
            </p:nvSpPr>
            <p:spPr>
              <a:xfrm>
                <a:off x="897423" y="3712156"/>
                <a:ext cx="31330" cy="31282"/>
              </a:xfrm>
              <a:custGeom>
                <a:avLst/>
                <a:gdLst>
                  <a:gd name="connsiteX0" fmla="*/ 0 w 31330"/>
                  <a:gd name="connsiteY0" fmla="*/ 0 h 31282"/>
                  <a:gd name="connsiteX1" fmla="*/ 31330 w 31330"/>
                  <a:gd name="connsiteY1" fmla="*/ 31283 h 312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1330" h="31282">
                    <a:moveTo>
                      <a:pt x="0" y="0"/>
                    </a:moveTo>
                    <a:lnTo>
                      <a:pt x="31330" y="31283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028" name="Forma livre: Forma 1027">
                <a:extLst>
                  <a:ext uri="{FF2B5EF4-FFF2-40B4-BE49-F238E27FC236}">
                    <a16:creationId xmlns:a16="http://schemas.microsoft.com/office/drawing/2014/main" id="{3A36ADF0-0658-4329-DE8B-5A942CF2E394}"/>
                  </a:ext>
                </a:extLst>
              </p:cNvPr>
              <p:cNvSpPr/>
              <p:nvPr/>
            </p:nvSpPr>
            <p:spPr>
              <a:xfrm>
                <a:off x="1000014" y="3814747"/>
                <a:ext cx="31093" cy="31093"/>
              </a:xfrm>
              <a:custGeom>
                <a:avLst/>
                <a:gdLst>
                  <a:gd name="connsiteX0" fmla="*/ 0 w 31093"/>
                  <a:gd name="connsiteY0" fmla="*/ 0 h 31093"/>
                  <a:gd name="connsiteX1" fmla="*/ 31094 w 31093"/>
                  <a:gd name="connsiteY1" fmla="*/ 31094 h 310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1093" h="31093">
                    <a:moveTo>
                      <a:pt x="0" y="0"/>
                    </a:moveTo>
                    <a:lnTo>
                      <a:pt x="31094" y="31094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029" name="Forma livre: Forma 1028">
              <a:extLst>
                <a:ext uri="{FF2B5EF4-FFF2-40B4-BE49-F238E27FC236}">
                  <a16:creationId xmlns:a16="http://schemas.microsoft.com/office/drawing/2014/main" id="{F176D08D-8629-D5C0-684E-5A8CCD4059EE}"/>
                </a:ext>
              </a:extLst>
            </p:cNvPr>
            <p:cNvSpPr/>
            <p:nvPr/>
          </p:nvSpPr>
          <p:spPr>
            <a:xfrm>
              <a:off x="994910" y="3654504"/>
              <a:ext cx="86051" cy="80191"/>
            </a:xfrm>
            <a:custGeom>
              <a:avLst/>
              <a:gdLst>
                <a:gd name="connsiteX0" fmla="*/ 86052 w 86051"/>
                <a:gd name="connsiteY0" fmla="*/ 0 h 80191"/>
                <a:gd name="connsiteX1" fmla="*/ 50657 w 86051"/>
                <a:gd name="connsiteY1" fmla="*/ 57604 h 80191"/>
                <a:gd name="connsiteX2" fmla="*/ 38040 w 86051"/>
                <a:gd name="connsiteY2" fmla="*/ 24242 h 80191"/>
                <a:gd name="connsiteX3" fmla="*/ 0 w 86051"/>
                <a:gd name="connsiteY3" fmla="*/ 80192 h 801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6051" h="80191">
                  <a:moveTo>
                    <a:pt x="86052" y="0"/>
                  </a:moveTo>
                  <a:lnTo>
                    <a:pt x="50657" y="57604"/>
                  </a:lnTo>
                  <a:lnTo>
                    <a:pt x="38040" y="24242"/>
                  </a:lnTo>
                  <a:lnTo>
                    <a:pt x="0" y="80192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030" name="Gráfico 13">
            <a:extLst>
              <a:ext uri="{FF2B5EF4-FFF2-40B4-BE49-F238E27FC236}">
                <a16:creationId xmlns:a16="http://schemas.microsoft.com/office/drawing/2014/main" id="{7EAA9DD2-C155-048C-9176-26F09971E780}"/>
              </a:ext>
            </a:extLst>
          </p:cNvPr>
          <p:cNvGrpSpPr/>
          <p:nvPr/>
        </p:nvGrpSpPr>
        <p:grpSpPr>
          <a:xfrm>
            <a:off x="1419403" y="3639647"/>
            <a:ext cx="293104" cy="293945"/>
            <a:chOff x="1419403" y="3639647"/>
            <a:chExt cx="293104" cy="293945"/>
          </a:xfrm>
          <a:noFill/>
        </p:grpSpPr>
        <p:sp>
          <p:nvSpPr>
            <p:cNvPr id="1031" name="Forma livre: Forma 1030">
              <a:extLst>
                <a:ext uri="{FF2B5EF4-FFF2-40B4-BE49-F238E27FC236}">
                  <a16:creationId xmlns:a16="http://schemas.microsoft.com/office/drawing/2014/main" id="{A948951D-D9FB-8779-B235-117D4734C284}"/>
                </a:ext>
              </a:extLst>
            </p:cNvPr>
            <p:cNvSpPr/>
            <p:nvPr/>
          </p:nvSpPr>
          <p:spPr>
            <a:xfrm>
              <a:off x="1488584" y="3812148"/>
              <a:ext cx="154524" cy="121445"/>
            </a:xfrm>
            <a:custGeom>
              <a:avLst/>
              <a:gdLst>
                <a:gd name="connsiteX0" fmla="*/ 154524 w 154524"/>
                <a:gd name="connsiteY0" fmla="*/ 121446 h 121445"/>
                <a:gd name="connsiteX1" fmla="*/ 99567 w 154524"/>
                <a:gd name="connsiteY1" fmla="*/ 0 h 121445"/>
                <a:gd name="connsiteX2" fmla="*/ 54958 w 154524"/>
                <a:gd name="connsiteY2" fmla="*/ 0 h 121445"/>
                <a:gd name="connsiteX3" fmla="*/ 0 w 154524"/>
                <a:gd name="connsiteY3" fmla="*/ 121446 h 1214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4524" h="121445">
                  <a:moveTo>
                    <a:pt x="154524" y="121446"/>
                  </a:moveTo>
                  <a:lnTo>
                    <a:pt x="99567" y="0"/>
                  </a:lnTo>
                  <a:lnTo>
                    <a:pt x="54958" y="0"/>
                  </a:lnTo>
                  <a:lnTo>
                    <a:pt x="0" y="121446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32" name="Forma livre: Forma 1031">
              <a:extLst>
                <a:ext uri="{FF2B5EF4-FFF2-40B4-BE49-F238E27FC236}">
                  <a16:creationId xmlns:a16="http://schemas.microsoft.com/office/drawing/2014/main" id="{1B978BE8-CD97-09C9-4DAD-A4DCC78311B3}"/>
                </a:ext>
              </a:extLst>
            </p:cNvPr>
            <p:cNvSpPr/>
            <p:nvPr/>
          </p:nvSpPr>
          <p:spPr>
            <a:xfrm>
              <a:off x="1517977" y="3872209"/>
              <a:ext cx="95738" cy="4725"/>
            </a:xfrm>
            <a:custGeom>
              <a:avLst/>
              <a:gdLst>
                <a:gd name="connsiteX0" fmla="*/ 0 w 95738"/>
                <a:gd name="connsiteY0" fmla="*/ 0 h 4725"/>
                <a:gd name="connsiteX1" fmla="*/ 95739 w 95738"/>
                <a:gd name="connsiteY1" fmla="*/ 0 h 47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738" h="4725">
                  <a:moveTo>
                    <a:pt x="0" y="0"/>
                  </a:moveTo>
                  <a:lnTo>
                    <a:pt x="95739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33" name="Forma livre: Forma 1032">
              <a:extLst>
                <a:ext uri="{FF2B5EF4-FFF2-40B4-BE49-F238E27FC236}">
                  <a16:creationId xmlns:a16="http://schemas.microsoft.com/office/drawing/2014/main" id="{DC3B83EC-BD55-9997-29E8-AD35B4DAEA9E}"/>
                </a:ext>
              </a:extLst>
            </p:cNvPr>
            <p:cNvSpPr/>
            <p:nvPr/>
          </p:nvSpPr>
          <p:spPr>
            <a:xfrm>
              <a:off x="1424034" y="3749298"/>
              <a:ext cx="55902" cy="23722"/>
            </a:xfrm>
            <a:custGeom>
              <a:avLst/>
              <a:gdLst>
                <a:gd name="connsiteX0" fmla="*/ 0 w 55902"/>
                <a:gd name="connsiteY0" fmla="*/ 23722 h 23722"/>
                <a:gd name="connsiteX1" fmla="*/ 55903 w 55902"/>
                <a:gd name="connsiteY1" fmla="*/ 0 h 237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5902" h="23722">
                  <a:moveTo>
                    <a:pt x="0" y="23722"/>
                  </a:moveTo>
                  <a:lnTo>
                    <a:pt x="55903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34" name="Forma livre: Forma 1033">
              <a:extLst>
                <a:ext uri="{FF2B5EF4-FFF2-40B4-BE49-F238E27FC236}">
                  <a16:creationId xmlns:a16="http://schemas.microsoft.com/office/drawing/2014/main" id="{7F28AF86-2EFC-2E6D-DA33-FD3CA41A63D3}"/>
                </a:ext>
              </a:extLst>
            </p:cNvPr>
            <p:cNvSpPr/>
            <p:nvPr/>
          </p:nvSpPr>
          <p:spPr>
            <a:xfrm>
              <a:off x="1436557" y="3771414"/>
              <a:ext cx="73528" cy="31141"/>
            </a:xfrm>
            <a:custGeom>
              <a:avLst/>
              <a:gdLst>
                <a:gd name="connsiteX0" fmla="*/ 73529 w 73528"/>
                <a:gd name="connsiteY0" fmla="*/ 0 h 31141"/>
                <a:gd name="connsiteX1" fmla="*/ 0 w 73528"/>
                <a:gd name="connsiteY1" fmla="*/ 31141 h 31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3528" h="31141">
                  <a:moveTo>
                    <a:pt x="73529" y="0"/>
                  </a:moveTo>
                  <a:lnTo>
                    <a:pt x="0" y="31141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35" name="Forma livre: Forma 1034">
              <a:extLst>
                <a:ext uri="{FF2B5EF4-FFF2-40B4-BE49-F238E27FC236}">
                  <a16:creationId xmlns:a16="http://schemas.microsoft.com/office/drawing/2014/main" id="{13F24837-CB17-EDE9-8362-FB8962512521}"/>
                </a:ext>
              </a:extLst>
            </p:cNvPr>
            <p:cNvSpPr/>
            <p:nvPr/>
          </p:nvSpPr>
          <p:spPr>
            <a:xfrm>
              <a:off x="1493074" y="3682858"/>
              <a:ext cx="114451" cy="99282"/>
            </a:xfrm>
            <a:custGeom>
              <a:avLst/>
              <a:gdLst>
                <a:gd name="connsiteX0" fmla="*/ 52642 w 114451"/>
                <a:gd name="connsiteY0" fmla="*/ 86146 h 99282"/>
                <a:gd name="connsiteX1" fmla="*/ 21548 w 114451"/>
                <a:gd name="connsiteY1" fmla="*/ 99283 h 99282"/>
                <a:gd name="connsiteX2" fmla="*/ 0 w 114451"/>
                <a:gd name="connsiteY2" fmla="*/ 48295 h 99282"/>
                <a:gd name="connsiteX3" fmla="*/ 114452 w 114451"/>
                <a:gd name="connsiteY3" fmla="*/ 0 h 992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4451" h="99282">
                  <a:moveTo>
                    <a:pt x="52642" y="86146"/>
                  </a:moveTo>
                  <a:lnTo>
                    <a:pt x="21548" y="99283"/>
                  </a:lnTo>
                  <a:lnTo>
                    <a:pt x="0" y="48295"/>
                  </a:lnTo>
                  <a:lnTo>
                    <a:pt x="114452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36" name="Forma livre: Forma 1035">
              <a:extLst>
                <a:ext uri="{FF2B5EF4-FFF2-40B4-BE49-F238E27FC236}">
                  <a16:creationId xmlns:a16="http://schemas.microsoft.com/office/drawing/2014/main" id="{1EB4D30B-40DD-D56D-776C-E048686770F7}"/>
                </a:ext>
              </a:extLst>
            </p:cNvPr>
            <p:cNvSpPr/>
            <p:nvPr/>
          </p:nvSpPr>
          <p:spPr>
            <a:xfrm>
              <a:off x="1601949" y="3726238"/>
              <a:ext cx="44845" cy="18949"/>
            </a:xfrm>
            <a:custGeom>
              <a:avLst/>
              <a:gdLst>
                <a:gd name="connsiteX0" fmla="*/ 44845 w 44845"/>
                <a:gd name="connsiteY0" fmla="*/ 0 h 18949"/>
                <a:gd name="connsiteX1" fmla="*/ 0 w 44845"/>
                <a:gd name="connsiteY1" fmla="*/ 18949 h 189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4845" h="18949">
                  <a:moveTo>
                    <a:pt x="44845" y="0"/>
                  </a:moveTo>
                  <a:lnTo>
                    <a:pt x="0" y="18949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37" name="Forma livre: Forma 1036">
              <a:extLst>
                <a:ext uri="{FF2B5EF4-FFF2-40B4-BE49-F238E27FC236}">
                  <a16:creationId xmlns:a16="http://schemas.microsoft.com/office/drawing/2014/main" id="{BE7283C3-F764-AB69-00AC-BFBCCAF6427D}"/>
                </a:ext>
              </a:extLst>
            </p:cNvPr>
            <p:cNvSpPr/>
            <p:nvPr/>
          </p:nvSpPr>
          <p:spPr>
            <a:xfrm rot="-1377002">
              <a:off x="1633873" y="3649610"/>
              <a:ext cx="66487" cy="75797"/>
            </a:xfrm>
            <a:custGeom>
              <a:avLst/>
              <a:gdLst>
                <a:gd name="connsiteX0" fmla="*/ 0 w 66487"/>
                <a:gd name="connsiteY0" fmla="*/ 0 h 75797"/>
                <a:gd name="connsiteX1" fmla="*/ 66488 w 66487"/>
                <a:gd name="connsiteY1" fmla="*/ 0 h 75797"/>
                <a:gd name="connsiteX2" fmla="*/ 66488 w 66487"/>
                <a:gd name="connsiteY2" fmla="*/ 75797 h 75797"/>
                <a:gd name="connsiteX3" fmla="*/ 0 w 66487"/>
                <a:gd name="connsiteY3" fmla="*/ 75797 h 75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6487" h="75797">
                  <a:moveTo>
                    <a:pt x="0" y="0"/>
                  </a:moveTo>
                  <a:lnTo>
                    <a:pt x="66488" y="0"/>
                  </a:lnTo>
                  <a:lnTo>
                    <a:pt x="66488" y="75797"/>
                  </a:lnTo>
                  <a:lnTo>
                    <a:pt x="0" y="75797"/>
                  </a:ln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38" name="Forma livre: Forma 1037">
              <a:extLst>
                <a:ext uri="{FF2B5EF4-FFF2-40B4-BE49-F238E27FC236}">
                  <a16:creationId xmlns:a16="http://schemas.microsoft.com/office/drawing/2014/main" id="{62150DFF-1742-4D29-A215-AED7009E055D}"/>
                </a:ext>
              </a:extLst>
            </p:cNvPr>
            <p:cNvSpPr/>
            <p:nvPr/>
          </p:nvSpPr>
          <p:spPr>
            <a:xfrm>
              <a:off x="1545763" y="3744951"/>
              <a:ext cx="40166" cy="40166"/>
            </a:xfrm>
            <a:custGeom>
              <a:avLst/>
              <a:gdLst>
                <a:gd name="connsiteX0" fmla="*/ 40167 w 40166"/>
                <a:gd name="connsiteY0" fmla="*/ 20083 h 40166"/>
                <a:gd name="connsiteX1" fmla="*/ 20083 w 40166"/>
                <a:gd name="connsiteY1" fmla="*/ 40167 h 40166"/>
                <a:gd name="connsiteX2" fmla="*/ 0 w 40166"/>
                <a:gd name="connsiteY2" fmla="*/ 20083 h 40166"/>
                <a:gd name="connsiteX3" fmla="*/ 20083 w 40166"/>
                <a:gd name="connsiteY3" fmla="*/ 0 h 40166"/>
                <a:gd name="connsiteX4" fmla="*/ 40167 w 40166"/>
                <a:gd name="connsiteY4" fmla="*/ 20083 h 401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0166" h="40166">
                  <a:moveTo>
                    <a:pt x="40167" y="20083"/>
                  </a:moveTo>
                  <a:cubicBezTo>
                    <a:pt x="40167" y="31188"/>
                    <a:pt x="31188" y="40167"/>
                    <a:pt x="20083" y="40167"/>
                  </a:cubicBezTo>
                  <a:cubicBezTo>
                    <a:pt x="8978" y="40167"/>
                    <a:pt x="0" y="31188"/>
                    <a:pt x="0" y="20083"/>
                  </a:cubicBezTo>
                  <a:cubicBezTo>
                    <a:pt x="0" y="8978"/>
                    <a:pt x="8978" y="0"/>
                    <a:pt x="20083" y="0"/>
                  </a:cubicBezTo>
                  <a:cubicBezTo>
                    <a:pt x="31188" y="0"/>
                    <a:pt x="40167" y="8978"/>
                    <a:pt x="40167" y="20083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39" name="Forma livre: Forma 1038">
              <a:extLst>
                <a:ext uri="{FF2B5EF4-FFF2-40B4-BE49-F238E27FC236}">
                  <a16:creationId xmlns:a16="http://schemas.microsoft.com/office/drawing/2014/main" id="{76F32AF8-578E-F17D-0A1C-979E139F07E8}"/>
                </a:ext>
              </a:extLst>
            </p:cNvPr>
            <p:cNvSpPr/>
            <p:nvPr/>
          </p:nvSpPr>
          <p:spPr>
            <a:xfrm>
              <a:off x="1419403" y="3762624"/>
              <a:ext cx="21453" cy="50184"/>
            </a:xfrm>
            <a:custGeom>
              <a:avLst/>
              <a:gdLst>
                <a:gd name="connsiteX0" fmla="*/ 0 w 21453"/>
                <a:gd name="connsiteY0" fmla="*/ 0 h 50184"/>
                <a:gd name="connsiteX1" fmla="*/ 21454 w 21453"/>
                <a:gd name="connsiteY1" fmla="*/ 50185 h 501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1453" h="50184">
                  <a:moveTo>
                    <a:pt x="0" y="0"/>
                  </a:moveTo>
                  <a:lnTo>
                    <a:pt x="21454" y="50185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40" name="Forma livre: Forma 1039">
              <a:extLst>
                <a:ext uri="{FF2B5EF4-FFF2-40B4-BE49-F238E27FC236}">
                  <a16:creationId xmlns:a16="http://schemas.microsoft.com/office/drawing/2014/main" id="{AC5FFCD0-D265-4A6E-E4C4-B81587A41EBE}"/>
                </a:ext>
              </a:extLst>
            </p:cNvPr>
            <p:cNvSpPr/>
            <p:nvPr/>
          </p:nvSpPr>
          <p:spPr>
            <a:xfrm>
              <a:off x="1565847" y="3785543"/>
              <a:ext cx="4725" cy="147766"/>
            </a:xfrm>
            <a:custGeom>
              <a:avLst/>
              <a:gdLst>
                <a:gd name="connsiteX0" fmla="*/ 0 w 4725"/>
                <a:gd name="connsiteY0" fmla="*/ 0 h 147766"/>
                <a:gd name="connsiteX1" fmla="*/ 0 w 4725"/>
                <a:gd name="connsiteY1" fmla="*/ 147767 h 1477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725" h="147766">
                  <a:moveTo>
                    <a:pt x="0" y="0"/>
                  </a:moveTo>
                  <a:lnTo>
                    <a:pt x="0" y="147767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041" name="Gráfico 13">
            <a:extLst>
              <a:ext uri="{FF2B5EF4-FFF2-40B4-BE49-F238E27FC236}">
                <a16:creationId xmlns:a16="http://schemas.microsoft.com/office/drawing/2014/main" id="{02465646-8DB1-8D2D-5D6A-A9B3D96482CB}"/>
              </a:ext>
            </a:extLst>
          </p:cNvPr>
          <p:cNvGrpSpPr/>
          <p:nvPr/>
        </p:nvGrpSpPr>
        <p:grpSpPr>
          <a:xfrm>
            <a:off x="811560" y="4183951"/>
            <a:ext cx="254516" cy="254468"/>
            <a:chOff x="811560" y="4183951"/>
            <a:chExt cx="254516" cy="254468"/>
          </a:xfrm>
        </p:grpSpPr>
        <p:sp>
          <p:nvSpPr>
            <p:cNvPr id="1042" name="Forma livre: Forma 1041">
              <a:extLst>
                <a:ext uri="{FF2B5EF4-FFF2-40B4-BE49-F238E27FC236}">
                  <a16:creationId xmlns:a16="http://schemas.microsoft.com/office/drawing/2014/main" id="{135747BF-78EB-1A0F-38BE-A3F80DDE08BF}"/>
                </a:ext>
              </a:extLst>
            </p:cNvPr>
            <p:cNvSpPr/>
            <p:nvPr/>
          </p:nvSpPr>
          <p:spPr>
            <a:xfrm>
              <a:off x="811560" y="4183951"/>
              <a:ext cx="254516" cy="254468"/>
            </a:xfrm>
            <a:custGeom>
              <a:avLst/>
              <a:gdLst>
                <a:gd name="connsiteX0" fmla="*/ 149137 w 254516"/>
                <a:gd name="connsiteY0" fmla="*/ 126644 h 254468"/>
                <a:gd name="connsiteX1" fmla="*/ 254516 w 254516"/>
                <a:gd name="connsiteY1" fmla="*/ 126644 h 254468"/>
                <a:gd name="connsiteX2" fmla="*/ 254516 w 254516"/>
                <a:gd name="connsiteY2" fmla="*/ 254469 h 254468"/>
                <a:gd name="connsiteX3" fmla="*/ 0 w 254516"/>
                <a:gd name="connsiteY3" fmla="*/ 254469 h 254468"/>
                <a:gd name="connsiteX4" fmla="*/ 0 w 254516"/>
                <a:gd name="connsiteY4" fmla="*/ 0 h 254468"/>
                <a:gd name="connsiteX5" fmla="*/ 127258 w 254516"/>
                <a:gd name="connsiteY5" fmla="*/ 0 h 254468"/>
                <a:gd name="connsiteX6" fmla="*/ 127258 w 254516"/>
                <a:gd name="connsiteY6" fmla="*/ 105048 h 2544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54516" h="254468">
                  <a:moveTo>
                    <a:pt x="149137" y="126644"/>
                  </a:moveTo>
                  <a:lnTo>
                    <a:pt x="254516" y="126644"/>
                  </a:lnTo>
                  <a:lnTo>
                    <a:pt x="254516" y="254469"/>
                  </a:lnTo>
                  <a:lnTo>
                    <a:pt x="0" y="254469"/>
                  </a:lnTo>
                  <a:lnTo>
                    <a:pt x="0" y="0"/>
                  </a:lnTo>
                  <a:lnTo>
                    <a:pt x="127258" y="0"/>
                  </a:lnTo>
                  <a:lnTo>
                    <a:pt x="127258" y="105048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43" name="Forma livre: Forma 1042">
              <a:extLst>
                <a:ext uri="{FF2B5EF4-FFF2-40B4-BE49-F238E27FC236}">
                  <a16:creationId xmlns:a16="http://schemas.microsoft.com/office/drawing/2014/main" id="{5C694C63-CB3F-E7D0-66F6-68B82C316965}"/>
                </a:ext>
              </a:extLst>
            </p:cNvPr>
            <p:cNvSpPr/>
            <p:nvPr/>
          </p:nvSpPr>
          <p:spPr>
            <a:xfrm>
              <a:off x="960698" y="4183951"/>
              <a:ext cx="105378" cy="105048"/>
            </a:xfrm>
            <a:custGeom>
              <a:avLst/>
              <a:gdLst>
                <a:gd name="connsiteX0" fmla="*/ 105379 w 105378"/>
                <a:gd name="connsiteY0" fmla="*/ 105048 h 105048"/>
                <a:gd name="connsiteX1" fmla="*/ 105379 w 105378"/>
                <a:gd name="connsiteY1" fmla="*/ 0 h 105048"/>
                <a:gd name="connsiteX2" fmla="*/ 0 w 105378"/>
                <a:gd name="connsiteY2" fmla="*/ 0 h 105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05378" h="105048">
                  <a:moveTo>
                    <a:pt x="105379" y="105048"/>
                  </a:moveTo>
                  <a:lnTo>
                    <a:pt x="105379" y="0"/>
                  </a:lnTo>
                  <a:lnTo>
                    <a:pt x="0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44" name="Forma livre: Forma 1043">
              <a:extLst>
                <a:ext uri="{FF2B5EF4-FFF2-40B4-BE49-F238E27FC236}">
                  <a16:creationId xmlns:a16="http://schemas.microsoft.com/office/drawing/2014/main" id="{558E57B7-E27D-A75F-5DA8-36320A3553CE}"/>
                </a:ext>
              </a:extLst>
            </p:cNvPr>
            <p:cNvSpPr/>
            <p:nvPr/>
          </p:nvSpPr>
          <p:spPr>
            <a:xfrm>
              <a:off x="811844" y="4310594"/>
              <a:ext cx="126974" cy="106796"/>
            </a:xfrm>
            <a:custGeom>
              <a:avLst/>
              <a:gdLst>
                <a:gd name="connsiteX0" fmla="*/ 0 w 126974"/>
                <a:gd name="connsiteY0" fmla="*/ 0 h 106796"/>
                <a:gd name="connsiteX1" fmla="*/ 126975 w 126974"/>
                <a:gd name="connsiteY1" fmla="*/ 0 h 106796"/>
                <a:gd name="connsiteX2" fmla="*/ 126975 w 126974"/>
                <a:gd name="connsiteY2" fmla="*/ 106797 h 1067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6974" h="106796">
                  <a:moveTo>
                    <a:pt x="0" y="0"/>
                  </a:moveTo>
                  <a:lnTo>
                    <a:pt x="126975" y="0"/>
                  </a:lnTo>
                  <a:lnTo>
                    <a:pt x="126975" y="106797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45" name="Forma livre: Forma 1044">
              <a:extLst>
                <a:ext uri="{FF2B5EF4-FFF2-40B4-BE49-F238E27FC236}">
                  <a16:creationId xmlns:a16="http://schemas.microsoft.com/office/drawing/2014/main" id="{F1B74B50-5175-DBB3-5551-310CA12B6CD1}"/>
                </a:ext>
              </a:extLst>
            </p:cNvPr>
            <p:cNvSpPr/>
            <p:nvPr/>
          </p:nvSpPr>
          <p:spPr>
            <a:xfrm>
              <a:off x="858957" y="4246942"/>
              <a:ext cx="33078" cy="4725"/>
            </a:xfrm>
            <a:custGeom>
              <a:avLst/>
              <a:gdLst>
                <a:gd name="connsiteX0" fmla="*/ 0 w 33078"/>
                <a:gd name="connsiteY0" fmla="*/ 0 h 4725"/>
                <a:gd name="connsiteX1" fmla="*/ 33079 w 33078"/>
                <a:gd name="connsiteY1" fmla="*/ 0 h 47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3078" h="4725">
                  <a:moveTo>
                    <a:pt x="0" y="0"/>
                  </a:moveTo>
                  <a:lnTo>
                    <a:pt x="33079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46" name="Forma livre: Forma 1045">
              <a:extLst>
                <a:ext uri="{FF2B5EF4-FFF2-40B4-BE49-F238E27FC236}">
                  <a16:creationId xmlns:a16="http://schemas.microsoft.com/office/drawing/2014/main" id="{74886B88-C24C-7665-0A0E-D4F4082C920C}"/>
                </a:ext>
              </a:extLst>
            </p:cNvPr>
            <p:cNvSpPr/>
            <p:nvPr/>
          </p:nvSpPr>
          <p:spPr>
            <a:xfrm>
              <a:off x="991177" y="4249872"/>
              <a:ext cx="24005" cy="4725"/>
            </a:xfrm>
            <a:custGeom>
              <a:avLst/>
              <a:gdLst>
                <a:gd name="connsiteX0" fmla="*/ 0 w 24005"/>
                <a:gd name="connsiteY0" fmla="*/ 0 h 4725"/>
                <a:gd name="connsiteX1" fmla="*/ 24006 w 24005"/>
                <a:gd name="connsiteY1" fmla="*/ 0 h 47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4005" h="4725">
                  <a:moveTo>
                    <a:pt x="0" y="0"/>
                  </a:moveTo>
                  <a:lnTo>
                    <a:pt x="24006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47" name="Forma livre: Forma 1046">
              <a:extLst>
                <a:ext uri="{FF2B5EF4-FFF2-40B4-BE49-F238E27FC236}">
                  <a16:creationId xmlns:a16="http://schemas.microsoft.com/office/drawing/2014/main" id="{18E1D3FB-5C37-6766-CF7E-253A5AE64118}"/>
                </a:ext>
              </a:extLst>
            </p:cNvPr>
            <p:cNvSpPr/>
            <p:nvPr/>
          </p:nvSpPr>
          <p:spPr>
            <a:xfrm>
              <a:off x="893973" y="4375523"/>
              <a:ext cx="4725" cy="24289"/>
            </a:xfrm>
            <a:custGeom>
              <a:avLst/>
              <a:gdLst>
                <a:gd name="connsiteX0" fmla="*/ 0 w 4725"/>
                <a:gd name="connsiteY0" fmla="*/ 0 h 24289"/>
                <a:gd name="connsiteX1" fmla="*/ 0 w 4725"/>
                <a:gd name="connsiteY1" fmla="*/ 24289 h 242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725" h="24289">
                  <a:moveTo>
                    <a:pt x="0" y="0"/>
                  </a:moveTo>
                  <a:lnTo>
                    <a:pt x="0" y="24289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48" name="Forma livre: Forma 1047">
              <a:extLst>
                <a:ext uri="{FF2B5EF4-FFF2-40B4-BE49-F238E27FC236}">
                  <a16:creationId xmlns:a16="http://schemas.microsoft.com/office/drawing/2014/main" id="{1732EDB3-4093-BA66-9C76-7D164C258323}"/>
                </a:ext>
              </a:extLst>
            </p:cNvPr>
            <p:cNvSpPr/>
            <p:nvPr/>
          </p:nvSpPr>
          <p:spPr>
            <a:xfrm>
              <a:off x="847002" y="4351376"/>
              <a:ext cx="23674" cy="47822"/>
            </a:xfrm>
            <a:custGeom>
              <a:avLst/>
              <a:gdLst>
                <a:gd name="connsiteX0" fmla="*/ 23675 w 23674"/>
                <a:gd name="connsiteY0" fmla="*/ 47822 h 47822"/>
                <a:gd name="connsiteX1" fmla="*/ 0 w 23674"/>
                <a:gd name="connsiteY1" fmla="*/ 47775 h 47822"/>
                <a:gd name="connsiteX2" fmla="*/ 0 w 23674"/>
                <a:gd name="connsiteY2" fmla="*/ 0 h 478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3674" h="47822">
                  <a:moveTo>
                    <a:pt x="23675" y="47822"/>
                  </a:moveTo>
                  <a:lnTo>
                    <a:pt x="0" y="47775"/>
                  </a:lnTo>
                  <a:lnTo>
                    <a:pt x="0" y="0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49" name="Forma livre: Forma 1048">
              <a:extLst>
                <a:ext uri="{FF2B5EF4-FFF2-40B4-BE49-F238E27FC236}">
                  <a16:creationId xmlns:a16="http://schemas.microsoft.com/office/drawing/2014/main" id="{FAF5B691-1813-E220-BD0B-52CDC631B852}"/>
                </a:ext>
              </a:extLst>
            </p:cNvPr>
            <p:cNvSpPr/>
            <p:nvPr/>
          </p:nvSpPr>
          <p:spPr>
            <a:xfrm>
              <a:off x="892697" y="4351470"/>
              <a:ext cx="2551" cy="2551"/>
            </a:xfrm>
            <a:custGeom>
              <a:avLst/>
              <a:gdLst>
                <a:gd name="connsiteX0" fmla="*/ 1276 w 2551"/>
                <a:gd name="connsiteY0" fmla="*/ 2552 h 2551"/>
                <a:gd name="connsiteX1" fmla="*/ 0 w 2551"/>
                <a:gd name="connsiteY1" fmla="*/ 1276 h 2551"/>
                <a:gd name="connsiteX2" fmla="*/ 1276 w 2551"/>
                <a:gd name="connsiteY2" fmla="*/ 0 h 2551"/>
                <a:gd name="connsiteX3" fmla="*/ 2552 w 2551"/>
                <a:gd name="connsiteY3" fmla="*/ 1276 h 2551"/>
                <a:gd name="connsiteX4" fmla="*/ 1276 w 2551"/>
                <a:gd name="connsiteY4" fmla="*/ 2552 h 25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51" h="2551">
                  <a:moveTo>
                    <a:pt x="1276" y="2552"/>
                  </a:moveTo>
                  <a:cubicBezTo>
                    <a:pt x="567" y="2552"/>
                    <a:pt x="0" y="1985"/>
                    <a:pt x="0" y="1276"/>
                  </a:cubicBezTo>
                  <a:cubicBezTo>
                    <a:pt x="0" y="567"/>
                    <a:pt x="567" y="0"/>
                    <a:pt x="1276" y="0"/>
                  </a:cubicBezTo>
                  <a:cubicBezTo>
                    <a:pt x="1985" y="0"/>
                    <a:pt x="2552" y="567"/>
                    <a:pt x="2552" y="1276"/>
                  </a:cubicBezTo>
                  <a:cubicBezTo>
                    <a:pt x="2552" y="1985"/>
                    <a:pt x="1985" y="2552"/>
                    <a:pt x="1276" y="2552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50" name="Forma livre: Forma 1049">
              <a:extLst>
                <a:ext uri="{FF2B5EF4-FFF2-40B4-BE49-F238E27FC236}">
                  <a16:creationId xmlns:a16="http://schemas.microsoft.com/office/drawing/2014/main" id="{A3F6930D-1555-85FF-F3F7-631339A7BCCD}"/>
                </a:ext>
              </a:extLst>
            </p:cNvPr>
            <p:cNvSpPr/>
            <p:nvPr/>
          </p:nvSpPr>
          <p:spPr>
            <a:xfrm>
              <a:off x="991083" y="4223598"/>
              <a:ext cx="33173" cy="47255"/>
            </a:xfrm>
            <a:custGeom>
              <a:avLst/>
              <a:gdLst>
                <a:gd name="connsiteX0" fmla="*/ 33173 w 33173"/>
                <a:gd name="connsiteY0" fmla="*/ 0 h 47255"/>
                <a:gd name="connsiteX1" fmla="*/ 0 w 33173"/>
                <a:gd name="connsiteY1" fmla="*/ 0 h 47255"/>
                <a:gd name="connsiteX2" fmla="*/ 0 w 33173"/>
                <a:gd name="connsiteY2" fmla="*/ 47255 h 472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3173" h="47255">
                  <a:moveTo>
                    <a:pt x="33173" y="0"/>
                  </a:moveTo>
                  <a:lnTo>
                    <a:pt x="0" y="0"/>
                  </a:lnTo>
                  <a:lnTo>
                    <a:pt x="0" y="47255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051" name="Gráfico 13">
              <a:extLst>
                <a:ext uri="{FF2B5EF4-FFF2-40B4-BE49-F238E27FC236}">
                  <a16:creationId xmlns:a16="http://schemas.microsoft.com/office/drawing/2014/main" id="{4204AD33-1B0D-DF2E-E76F-EAE89DED7855}"/>
                </a:ext>
              </a:extLst>
            </p:cNvPr>
            <p:cNvGrpSpPr/>
            <p:nvPr/>
          </p:nvGrpSpPr>
          <p:grpSpPr>
            <a:xfrm>
              <a:off x="858815" y="4223314"/>
              <a:ext cx="33220" cy="47255"/>
              <a:chOff x="858815" y="4223314"/>
              <a:chExt cx="33220" cy="47255"/>
            </a:xfrm>
          </p:grpSpPr>
          <p:sp>
            <p:nvSpPr>
              <p:cNvPr id="1052" name="Forma livre: Forma 1051">
                <a:extLst>
                  <a:ext uri="{FF2B5EF4-FFF2-40B4-BE49-F238E27FC236}">
                    <a16:creationId xmlns:a16="http://schemas.microsoft.com/office/drawing/2014/main" id="{AE6114A8-B7A9-1BC8-3D98-DD10995F78FF}"/>
                  </a:ext>
                </a:extLst>
              </p:cNvPr>
              <p:cNvSpPr/>
              <p:nvPr/>
            </p:nvSpPr>
            <p:spPr>
              <a:xfrm>
                <a:off x="858815" y="4223314"/>
                <a:ext cx="4725" cy="47255"/>
              </a:xfrm>
              <a:custGeom>
                <a:avLst/>
                <a:gdLst>
                  <a:gd name="connsiteX0" fmla="*/ 0 w 4725"/>
                  <a:gd name="connsiteY0" fmla="*/ 0 h 47255"/>
                  <a:gd name="connsiteX1" fmla="*/ 0 w 4725"/>
                  <a:gd name="connsiteY1" fmla="*/ 47255 h 472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25" h="47255">
                    <a:moveTo>
                      <a:pt x="0" y="0"/>
                    </a:moveTo>
                    <a:lnTo>
                      <a:pt x="0" y="47255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053" name="Forma livre: Forma 1052">
                <a:extLst>
                  <a:ext uri="{FF2B5EF4-FFF2-40B4-BE49-F238E27FC236}">
                    <a16:creationId xmlns:a16="http://schemas.microsoft.com/office/drawing/2014/main" id="{9BD95219-3374-7EDC-6277-8023DC4B0BEA}"/>
                  </a:ext>
                </a:extLst>
              </p:cNvPr>
              <p:cNvSpPr/>
              <p:nvPr/>
            </p:nvSpPr>
            <p:spPr>
              <a:xfrm>
                <a:off x="892036" y="4223314"/>
                <a:ext cx="4725" cy="47255"/>
              </a:xfrm>
              <a:custGeom>
                <a:avLst/>
                <a:gdLst>
                  <a:gd name="connsiteX0" fmla="*/ 0 w 4725"/>
                  <a:gd name="connsiteY0" fmla="*/ 0 h 47255"/>
                  <a:gd name="connsiteX1" fmla="*/ 0 w 4725"/>
                  <a:gd name="connsiteY1" fmla="*/ 47255 h 472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25" h="47255">
                    <a:moveTo>
                      <a:pt x="0" y="0"/>
                    </a:moveTo>
                    <a:lnTo>
                      <a:pt x="0" y="47255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054" name="Forma livre: Forma 1053">
              <a:extLst>
                <a:ext uri="{FF2B5EF4-FFF2-40B4-BE49-F238E27FC236}">
                  <a16:creationId xmlns:a16="http://schemas.microsoft.com/office/drawing/2014/main" id="{72CD3C75-A86F-FDF8-7ACD-98A364C4A96D}"/>
                </a:ext>
              </a:extLst>
            </p:cNvPr>
            <p:cNvSpPr/>
            <p:nvPr/>
          </p:nvSpPr>
          <p:spPr>
            <a:xfrm>
              <a:off x="985790" y="4351612"/>
              <a:ext cx="33267" cy="47255"/>
            </a:xfrm>
            <a:custGeom>
              <a:avLst/>
              <a:gdLst>
                <a:gd name="connsiteX0" fmla="*/ 0 w 33267"/>
                <a:gd name="connsiteY0" fmla="*/ 47255 h 47255"/>
                <a:gd name="connsiteX1" fmla="*/ 0 w 33267"/>
                <a:gd name="connsiteY1" fmla="*/ 0 h 47255"/>
                <a:gd name="connsiteX2" fmla="*/ 33268 w 33267"/>
                <a:gd name="connsiteY2" fmla="*/ 47255 h 47255"/>
                <a:gd name="connsiteX3" fmla="*/ 33268 w 33267"/>
                <a:gd name="connsiteY3" fmla="*/ 0 h 472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267" h="47255">
                  <a:moveTo>
                    <a:pt x="0" y="47255"/>
                  </a:moveTo>
                  <a:lnTo>
                    <a:pt x="0" y="0"/>
                  </a:lnTo>
                  <a:lnTo>
                    <a:pt x="33268" y="47255"/>
                  </a:lnTo>
                  <a:lnTo>
                    <a:pt x="33268" y="0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055" name="Gráfico 13">
            <a:extLst>
              <a:ext uri="{FF2B5EF4-FFF2-40B4-BE49-F238E27FC236}">
                <a16:creationId xmlns:a16="http://schemas.microsoft.com/office/drawing/2014/main" id="{AE11BF26-F0AC-2FEA-A6B5-5B4B95DEFCD7}"/>
              </a:ext>
            </a:extLst>
          </p:cNvPr>
          <p:cNvGrpSpPr/>
          <p:nvPr/>
        </p:nvGrpSpPr>
        <p:grpSpPr>
          <a:xfrm>
            <a:off x="2014345" y="4194725"/>
            <a:ext cx="313065" cy="232920"/>
            <a:chOff x="2014345" y="4194725"/>
            <a:chExt cx="313065" cy="232920"/>
          </a:xfrm>
          <a:noFill/>
        </p:grpSpPr>
        <p:grpSp>
          <p:nvGrpSpPr>
            <p:cNvPr id="1056" name="Gráfico 13">
              <a:extLst>
                <a:ext uri="{FF2B5EF4-FFF2-40B4-BE49-F238E27FC236}">
                  <a16:creationId xmlns:a16="http://schemas.microsoft.com/office/drawing/2014/main" id="{6E66D190-85D6-FEB8-FA55-B7DBC696D028}"/>
                </a:ext>
              </a:extLst>
            </p:cNvPr>
            <p:cNvGrpSpPr/>
            <p:nvPr/>
          </p:nvGrpSpPr>
          <p:grpSpPr>
            <a:xfrm>
              <a:off x="2034570" y="4236073"/>
              <a:ext cx="272614" cy="190390"/>
              <a:chOff x="2034570" y="4236073"/>
              <a:chExt cx="272614" cy="190390"/>
            </a:xfrm>
          </p:grpSpPr>
          <p:sp>
            <p:nvSpPr>
              <p:cNvPr id="1057" name="Forma livre: Forma 1056">
                <a:extLst>
                  <a:ext uri="{FF2B5EF4-FFF2-40B4-BE49-F238E27FC236}">
                    <a16:creationId xmlns:a16="http://schemas.microsoft.com/office/drawing/2014/main" id="{872AABD4-98DE-9E17-17BF-646CA7594624}"/>
                  </a:ext>
                </a:extLst>
              </p:cNvPr>
              <p:cNvSpPr/>
              <p:nvPr/>
            </p:nvSpPr>
            <p:spPr>
              <a:xfrm>
                <a:off x="2034570" y="4236073"/>
                <a:ext cx="4725" cy="190390"/>
              </a:xfrm>
              <a:custGeom>
                <a:avLst/>
                <a:gdLst>
                  <a:gd name="connsiteX0" fmla="*/ 0 w 4725"/>
                  <a:gd name="connsiteY0" fmla="*/ 0 h 190390"/>
                  <a:gd name="connsiteX1" fmla="*/ 0 w 4725"/>
                  <a:gd name="connsiteY1" fmla="*/ 190391 h 1903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25" h="190390">
                    <a:moveTo>
                      <a:pt x="0" y="0"/>
                    </a:moveTo>
                    <a:lnTo>
                      <a:pt x="0" y="190391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058" name="Forma livre: Forma 1057">
                <a:extLst>
                  <a:ext uri="{FF2B5EF4-FFF2-40B4-BE49-F238E27FC236}">
                    <a16:creationId xmlns:a16="http://schemas.microsoft.com/office/drawing/2014/main" id="{C0E1CECC-B1C4-EE66-028F-7D9441494A57}"/>
                  </a:ext>
                </a:extLst>
              </p:cNvPr>
              <p:cNvSpPr/>
              <p:nvPr/>
            </p:nvSpPr>
            <p:spPr>
              <a:xfrm>
                <a:off x="2307185" y="4236073"/>
                <a:ext cx="4725" cy="190390"/>
              </a:xfrm>
              <a:custGeom>
                <a:avLst/>
                <a:gdLst>
                  <a:gd name="connsiteX0" fmla="*/ 0 w 4725"/>
                  <a:gd name="connsiteY0" fmla="*/ 0 h 190390"/>
                  <a:gd name="connsiteX1" fmla="*/ 0 w 4725"/>
                  <a:gd name="connsiteY1" fmla="*/ 190391 h 1903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25" h="190390">
                    <a:moveTo>
                      <a:pt x="0" y="0"/>
                    </a:moveTo>
                    <a:lnTo>
                      <a:pt x="0" y="190391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059" name="Gráfico 13">
              <a:extLst>
                <a:ext uri="{FF2B5EF4-FFF2-40B4-BE49-F238E27FC236}">
                  <a16:creationId xmlns:a16="http://schemas.microsoft.com/office/drawing/2014/main" id="{1FD9BD64-BE91-A691-5D56-7D2687B76B1B}"/>
                </a:ext>
              </a:extLst>
            </p:cNvPr>
            <p:cNvGrpSpPr/>
            <p:nvPr/>
          </p:nvGrpSpPr>
          <p:grpSpPr>
            <a:xfrm>
              <a:off x="2021339" y="4257952"/>
              <a:ext cx="299077" cy="4725"/>
              <a:chOff x="2021339" y="4257952"/>
              <a:chExt cx="299077" cy="4725"/>
            </a:xfrm>
          </p:grpSpPr>
          <p:sp>
            <p:nvSpPr>
              <p:cNvPr id="1060" name="Forma livre: Forma 1059">
                <a:extLst>
                  <a:ext uri="{FF2B5EF4-FFF2-40B4-BE49-F238E27FC236}">
                    <a16:creationId xmlns:a16="http://schemas.microsoft.com/office/drawing/2014/main" id="{5C2774CA-0161-533A-C76D-7B59A8CAA09B}"/>
                  </a:ext>
                </a:extLst>
              </p:cNvPr>
              <p:cNvSpPr/>
              <p:nvPr/>
            </p:nvSpPr>
            <p:spPr>
              <a:xfrm>
                <a:off x="2021339" y="4257952"/>
                <a:ext cx="45979" cy="4725"/>
              </a:xfrm>
              <a:custGeom>
                <a:avLst/>
                <a:gdLst>
                  <a:gd name="connsiteX0" fmla="*/ 0 w 45979"/>
                  <a:gd name="connsiteY0" fmla="*/ 0 h 4725"/>
                  <a:gd name="connsiteX1" fmla="*/ 45979 w 45979"/>
                  <a:gd name="connsiteY1" fmla="*/ 0 h 47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5979" h="4725">
                    <a:moveTo>
                      <a:pt x="0" y="0"/>
                    </a:moveTo>
                    <a:lnTo>
                      <a:pt x="45979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061" name="Forma livre: Forma 1060">
                <a:extLst>
                  <a:ext uri="{FF2B5EF4-FFF2-40B4-BE49-F238E27FC236}">
                    <a16:creationId xmlns:a16="http://schemas.microsoft.com/office/drawing/2014/main" id="{88F6FBE9-3406-7957-DB3F-D7C2BC7848C6}"/>
                  </a:ext>
                </a:extLst>
              </p:cNvPr>
              <p:cNvSpPr/>
              <p:nvPr/>
            </p:nvSpPr>
            <p:spPr>
              <a:xfrm>
                <a:off x="2274437" y="4257952"/>
                <a:ext cx="45979" cy="4725"/>
              </a:xfrm>
              <a:custGeom>
                <a:avLst/>
                <a:gdLst>
                  <a:gd name="connsiteX0" fmla="*/ 0 w 45979"/>
                  <a:gd name="connsiteY0" fmla="*/ 0 h 4725"/>
                  <a:gd name="connsiteX1" fmla="*/ 45979 w 45979"/>
                  <a:gd name="connsiteY1" fmla="*/ 0 h 47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5979" h="4725">
                    <a:moveTo>
                      <a:pt x="0" y="0"/>
                    </a:moveTo>
                    <a:lnTo>
                      <a:pt x="45979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062" name="Forma livre: Forma 1061">
              <a:extLst>
                <a:ext uri="{FF2B5EF4-FFF2-40B4-BE49-F238E27FC236}">
                  <a16:creationId xmlns:a16="http://schemas.microsoft.com/office/drawing/2014/main" id="{460A99E2-9F49-EECF-C2B2-581267D37FA9}"/>
                </a:ext>
              </a:extLst>
            </p:cNvPr>
            <p:cNvSpPr/>
            <p:nvPr/>
          </p:nvSpPr>
          <p:spPr>
            <a:xfrm>
              <a:off x="2103846" y="4257952"/>
              <a:ext cx="49003" cy="4725"/>
            </a:xfrm>
            <a:custGeom>
              <a:avLst/>
              <a:gdLst>
                <a:gd name="connsiteX0" fmla="*/ 0 w 49003"/>
                <a:gd name="connsiteY0" fmla="*/ 0 h 4725"/>
                <a:gd name="connsiteX1" fmla="*/ 49004 w 49003"/>
                <a:gd name="connsiteY1" fmla="*/ 0 h 47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9003" h="4725">
                  <a:moveTo>
                    <a:pt x="0" y="0"/>
                  </a:moveTo>
                  <a:lnTo>
                    <a:pt x="49004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63" name="Forma livre: Forma 1062">
              <a:extLst>
                <a:ext uri="{FF2B5EF4-FFF2-40B4-BE49-F238E27FC236}">
                  <a16:creationId xmlns:a16="http://schemas.microsoft.com/office/drawing/2014/main" id="{9C15A05A-DD8B-2265-379F-92799CA66C88}"/>
                </a:ext>
              </a:extLst>
            </p:cNvPr>
            <p:cNvSpPr/>
            <p:nvPr/>
          </p:nvSpPr>
          <p:spPr>
            <a:xfrm>
              <a:off x="2188811" y="4257952"/>
              <a:ext cx="49050" cy="4725"/>
            </a:xfrm>
            <a:custGeom>
              <a:avLst/>
              <a:gdLst>
                <a:gd name="connsiteX0" fmla="*/ 0 w 49050"/>
                <a:gd name="connsiteY0" fmla="*/ 0 h 4725"/>
                <a:gd name="connsiteX1" fmla="*/ 49051 w 49050"/>
                <a:gd name="connsiteY1" fmla="*/ 0 h 47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9050" h="4725">
                  <a:moveTo>
                    <a:pt x="0" y="0"/>
                  </a:moveTo>
                  <a:lnTo>
                    <a:pt x="49051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64" name="Forma livre: Forma 1063">
              <a:extLst>
                <a:ext uri="{FF2B5EF4-FFF2-40B4-BE49-F238E27FC236}">
                  <a16:creationId xmlns:a16="http://schemas.microsoft.com/office/drawing/2014/main" id="{E5B70334-49D7-6E5E-096C-B55EC2702ECA}"/>
                </a:ext>
              </a:extLst>
            </p:cNvPr>
            <p:cNvSpPr/>
            <p:nvPr/>
          </p:nvSpPr>
          <p:spPr>
            <a:xfrm>
              <a:off x="2014345" y="4427645"/>
              <a:ext cx="313065" cy="4725"/>
            </a:xfrm>
            <a:custGeom>
              <a:avLst/>
              <a:gdLst>
                <a:gd name="connsiteX0" fmla="*/ 0 w 313065"/>
                <a:gd name="connsiteY0" fmla="*/ 0 h 4725"/>
                <a:gd name="connsiteX1" fmla="*/ 313065 w 313065"/>
                <a:gd name="connsiteY1" fmla="*/ 0 h 47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13065" h="4725">
                  <a:moveTo>
                    <a:pt x="0" y="0"/>
                  </a:moveTo>
                  <a:lnTo>
                    <a:pt x="313065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065" name="Gráfico 13">
              <a:extLst>
                <a:ext uri="{FF2B5EF4-FFF2-40B4-BE49-F238E27FC236}">
                  <a16:creationId xmlns:a16="http://schemas.microsoft.com/office/drawing/2014/main" id="{D43413BB-8F26-90F6-B8B7-59DC538DEDEF}"/>
                </a:ext>
              </a:extLst>
            </p:cNvPr>
            <p:cNvGrpSpPr/>
            <p:nvPr/>
          </p:nvGrpSpPr>
          <p:grpSpPr>
            <a:xfrm>
              <a:off x="2056969" y="4194725"/>
              <a:ext cx="227816" cy="199558"/>
              <a:chOff x="2056969" y="4194725"/>
              <a:chExt cx="227816" cy="199558"/>
            </a:xfrm>
            <a:noFill/>
          </p:grpSpPr>
          <p:grpSp>
            <p:nvGrpSpPr>
              <p:cNvPr id="1066" name="Gráfico 13">
                <a:extLst>
                  <a:ext uri="{FF2B5EF4-FFF2-40B4-BE49-F238E27FC236}">
                    <a16:creationId xmlns:a16="http://schemas.microsoft.com/office/drawing/2014/main" id="{CF4C6A7C-FF54-7BA6-B2D9-B8FF4DF2E544}"/>
                  </a:ext>
                </a:extLst>
              </p:cNvPr>
              <p:cNvGrpSpPr/>
              <p:nvPr/>
            </p:nvGrpSpPr>
            <p:grpSpPr>
              <a:xfrm>
                <a:off x="2056969" y="4194725"/>
                <a:ext cx="58076" cy="199558"/>
                <a:chOff x="2056969" y="4194725"/>
                <a:chExt cx="58076" cy="199558"/>
              </a:xfrm>
              <a:noFill/>
            </p:grpSpPr>
            <p:grpSp>
              <p:nvGrpSpPr>
                <p:cNvPr id="1067" name="Gráfico 13">
                  <a:extLst>
                    <a:ext uri="{FF2B5EF4-FFF2-40B4-BE49-F238E27FC236}">
                      <a16:creationId xmlns:a16="http://schemas.microsoft.com/office/drawing/2014/main" id="{CC40792D-1485-F31F-E154-B001FC244003}"/>
                    </a:ext>
                  </a:extLst>
                </p:cNvPr>
                <p:cNvGrpSpPr/>
                <p:nvPr/>
              </p:nvGrpSpPr>
              <p:grpSpPr>
                <a:xfrm>
                  <a:off x="2056969" y="4194725"/>
                  <a:ext cx="58076" cy="199558"/>
                  <a:chOff x="2056969" y="4194725"/>
                  <a:chExt cx="58076" cy="199558"/>
                </a:xfrm>
                <a:noFill/>
              </p:grpSpPr>
              <p:sp>
                <p:nvSpPr>
                  <p:cNvPr id="1068" name="Forma livre: Forma 1067">
                    <a:extLst>
                      <a:ext uri="{FF2B5EF4-FFF2-40B4-BE49-F238E27FC236}">
                        <a16:creationId xmlns:a16="http://schemas.microsoft.com/office/drawing/2014/main" id="{69947A1C-B7A6-66DA-4DA1-6EA9495625D2}"/>
                      </a:ext>
                    </a:extLst>
                  </p:cNvPr>
                  <p:cNvSpPr/>
                  <p:nvPr/>
                </p:nvSpPr>
                <p:spPr>
                  <a:xfrm>
                    <a:off x="2056969" y="4194725"/>
                    <a:ext cx="58076" cy="4725"/>
                  </a:xfrm>
                  <a:custGeom>
                    <a:avLst/>
                    <a:gdLst>
                      <a:gd name="connsiteX0" fmla="*/ 0 w 58076"/>
                      <a:gd name="connsiteY0" fmla="*/ 0 h 4725"/>
                      <a:gd name="connsiteX1" fmla="*/ 58077 w 58076"/>
                      <a:gd name="connsiteY1" fmla="*/ 0 h 472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58076" h="4725">
                        <a:moveTo>
                          <a:pt x="0" y="0"/>
                        </a:moveTo>
                        <a:lnTo>
                          <a:pt x="58077" y="0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1069" name="Forma livre: Forma 1068">
                    <a:extLst>
                      <a:ext uri="{FF2B5EF4-FFF2-40B4-BE49-F238E27FC236}">
                        <a16:creationId xmlns:a16="http://schemas.microsoft.com/office/drawing/2014/main" id="{E1D0D9E0-0750-7601-8E78-22A99DBB693A}"/>
                      </a:ext>
                    </a:extLst>
                  </p:cNvPr>
                  <p:cNvSpPr/>
                  <p:nvPr/>
                </p:nvSpPr>
                <p:spPr>
                  <a:xfrm>
                    <a:off x="2068405" y="4195764"/>
                    <a:ext cx="35157" cy="198518"/>
                  </a:xfrm>
                  <a:custGeom>
                    <a:avLst/>
                    <a:gdLst>
                      <a:gd name="connsiteX0" fmla="*/ 35158 w 35157"/>
                      <a:gd name="connsiteY0" fmla="*/ 0 h 198518"/>
                      <a:gd name="connsiteX1" fmla="*/ 35158 w 35157"/>
                      <a:gd name="connsiteY1" fmla="*/ 182452 h 198518"/>
                      <a:gd name="connsiteX2" fmla="*/ 18382 w 35157"/>
                      <a:gd name="connsiteY2" fmla="*/ 198519 h 198518"/>
                      <a:gd name="connsiteX3" fmla="*/ 16776 w 35157"/>
                      <a:gd name="connsiteY3" fmla="*/ 198519 h 198518"/>
                      <a:gd name="connsiteX4" fmla="*/ 0 w 35157"/>
                      <a:gd name="connsiteY4" fmla="*/ 182452 h 198518"/>
                      <a:gd name="connsiteX5" fmla="*/ 0 w 35157"/>
                      <a:gd name="connsiteY5" fmla="*/ 19186 h 19851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35157" h="198518">
                        <a:moveTo>
                          <a:pt x="35158" y="0"/>
                        </a:moveTo>
                        <a:lnTo>
                          <a:pt x="35158" y="182452"/>
                        </a:lnTo>
                        <a:cubicBezTo>
                          <a:pt x="35158" y="191289"/>
                          <a:pt x="27597" y="198519"/>
                          <a:pt x="18382" y="198519"/>
                        </a:cubicBezTo>
                        <a:lnTo>
                          <a:pt x="16776" y="198519"/>
                        </a:lnTo>
                        <a:cubicBezTo>
                          <a:pt x="7561" y="198519"/>
                          <a:pt x="0" y="191289"/>
                          <a:pt x="0" y="182452"/>
                        </a:cubicBezTo>
                        <a:lnTo>
                          <a:pt x="0" y="19186"/>
                        </a:lnTo>
                      </a:path>
                    </a:pathLst>
                  </a:custGeom>
                  <a:noFill/>
                  <a:ln w="6350" cap="flat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  <p:sp>
              <p:nvSpPr>
                <p:cNvPr id="1070" name="Forma livre: Forma 1069">
                  <a:extLst>
                    <a:ext uri="{FF2B5EF4-FFF2-40B4-BE49-F238E27FC236}">
                      <a16:creationId xmlns:a16="http://schemas.microsoft.com/office/drawing/2014/main" id="{2EF8F3FE-52DF-9FDE-21C0-F8B9450C455F}"/>
                    </a:ext>
                  </a:extLst>
                </p:cNvPr>
                <p:cNvSpPr/>
                <p:nvPr/>
              </p:nvSpPr>
              <p:spPr>
                <a:xfrm>
                  <a:off x="2068783" y="4286731"/>
                  <a:ext cx="34448" cy="4725"/>
                </a:xfrm>
                <a:custGeom>
                  <a:avLst/>
                  <a:gdLst>
                    <a:gd name="connsiteX0" fmla="*/ 0 w 34448"/>
                    <a:gd name="connsiteY0" fmla="*/ 0 h 4725"/>
                    <a:gd name="connsiteX1" fmla="*/ 34449 w 34448"/>
                    <a:gd name="connsiteY1" fmla="*/ 0 h 472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34448" h="4725">
                      <a:moveTo>
                        <a:pt x="0" y="0"/>
                      </a:moveTo>
                      <a:lnTo>
                        <a:pt x="34449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1071" name="Gráfico 13">
                <a:extLst>
                  <a:ext uri="{FF2B5EF4-FFF2-40B4-BE49-F238E27FC236}">
                    <a16:creationId xmlns:a16="http://schemas.microsoft.com/office/drawing/2014/main" id="{B524B4D4-6D90-742D-45B7-12080A8D93C0}"/>
                  </a:ext>
                </a:extLst>
              </p:cNvPr>
              <p:cNvGrpSpPr/>
              <p:nvPr/>
            </p:nvGrpSpPr>
            <p:grpSpPr>
              <a:xfrm>
                <a:off x="2141839" y="4194725"/>
                <a:ext cx="58076" cy="199558"/>
                <a:chOff x="2141839" y="4194725"/>
                <a:chExt cx="58076" cy="199558"/>
              </a:xfrm>
              <a:noFill/>
            </p:grpSpPr>
            <p:grpSp>
              <p:nvGrpSpPr>
                <p:cNvPr id="1072" name="Gráfico 13">
                  <a:extLst>
                    <a:ext uri="{FF2B5EF4-FFF2-40B4-BE49-F238E27FC236}">
                      <a16:creationId xmlns:a16="http://schemas.microsoft.com/office/drawing/2014/main" id="{E2EEA352-74A7-B119-BB66-EE55966A339D}"/>
                    </a:ext>
                  </a:extLst>
                </p:cNvPr>
                <p:cNvGrpSpPr/>
                <p:nvPr/>
              </p:nvGrpSpPr>
              <p:grpSpPr>
                <a:xfrm>
                  <a:off x="2141839" y="4194725"/>
                  <a:ext cx="58076" cy="199558"/>
                  <a:chOff x="2141839" y="4194725"/>
                  <a:chExt cx="58076" cy="199558"/>
                </a:xfrm>
                <a:noFill/>
              </p:grpSpPr>
              <p:sp>
                <p:nvSpPr>
                  <p:cNvPr id="1073" name="Forma livre: Forma 1072">
                    <a:extLst>
                      <a:ext uri="{FF2B5EF4-FFF2-40B4-BE49-F238E27FC236}">
                        <a16:creationId xmlns:a16="http://schemas.microsoft.com/office/drawing/2014/main" id="{44DEFEBB-5145-F7B7-8CA7-C3752418309A}"/>
                      </a:ext>
                    </a:extLst>
                  </p:cNvPr>
                  <p:cNvSpPr/>
                  <p:nvPr/>
                </p:nvSpPr>
                <p:spPr>
                  <a:xfrm>
                    <a:off x="2141839" y="4194725"/>
                    <a:ext cx="58076" cy="4725"/>
                  </a:xfrm>
                  <a:custGeom>
                    <a:avLst/>
                    <a:gdLst>
                      <a:gd name="connsiteX0" fmla="*/ 0 w 58076"/>
                      <a:gd name="connsiteY0" fmla="*/ 0 h 4725"/>
                      <a:gd name="connsiteX1" fmla="*/ 58077 w 58076"/>
                      <a:gd name="connsiteY1" fmla="*/ 0 h 472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58076" h="4725">
                        <a:moveTo>
                          <a:pt x="0" y="0"/>
                        </a:moveTo>
                        <a:lnTo>
                          <a:pt x="58077" y="0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1074" name="Forma livre: Forma 1073">
                    <a:extLst>
                      <a:ext uri="{FF2B5EF4-FFF2-40B4-BE49-F238E27FC236}">
                        <a16:creationId xmlns:a16="http://schemas.microsoft.com/office/drawing/2014/main" id="{EDEC5C52-C8B0-5A50-9190-7AE7F4329A3D}"/>
                      </a:ext>
                    </a:extLst>
                  </p:cNvPr>
                  <p:cNvSpPr/>
                  <p:nvPr/>
                </p:nvSpPr>
                <p:spPr>
                  <a:xfrm>
                    <a:off x="2153275" y="4195764"/>
                    <a:ext cx="35157" cy="198518"/>
                  </a:xfrm>
                  <a:custGeom>
                    <a:avLst/>
                    <a:gdLst>
                      <a:gd name="connsiteX0" fmla="*/ 35158 w 35157"/>
                      <a:gd name="connsiteY0" fmla="*/ 0 h 198518"/>
                      <a:gd name="connsiteX1" fmla="*/ 35158 w 35157"/>
                      <a:gd name="connsiteY1" fmla="*/ 182452 h 198518"/>
                      <a:gd name="connsiteX2" fmla="*/ 18382 w 35157"/>
                      <a:gd name="connsiteY2" fmla="*/ 198519 h 198518"/>
                      <a:gd name="connsiteX3" fmla="*/ 16776 w 35157"/>
                      <a:gd name="connsiteY3" fmla="*/ 198519 h 198518"/>
                      <a:gd name="connsiteX4" fmla="*/ 0 w 35157"/>
                      <a:gd name="connsiteY4" fmla="*/ 182452 h 198518"/>
                      <a:gd name="connsiteX5" fmla="*/ 0 w 35157"/>
                      <a:gd name="connsiteY5" fmla="*/ 19186 h 19851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35157" h="198518">
                        <a:moveTo>
                          <a:pt x="35158" y="0"/>
                        </a:moveTo>
                        <a:lnTo>
                          <a:pt x="35158" y="182452"/>
                        </a:lnTo>
                        <a:cubicBezTo>
                          <a:pt x="35158" y="191289"/>
                          <a:pt x="27597" y="198519"/>
                          <a:pt x="18382" y="198519"/>
                        </a:cubicBezTo>
                        <a:lnTo>
                          <a:pt x="16776" y="198519"/>
                        </a:lnTo>
                        <a:cubicBezTo>
                          <a:pt x="7561" y="198519"/>
                          <a:pt x="0" y="191289"/>
                          <a:pt x="0" y="182452"/>
                        </a:cubicBezTo>
                        <a:lnTo>
                          <a:pt x="0" y="19186"/>
                        </a:lnTo>
                      </a:path>
                    </a:pathLst>
                  </a:custGeom>
                  <a:noFill/>
                  <a:ln w="6350" cap="flat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  <p:sp>
              <p:nvSpPr>
                <p:cNvPr id="1075" name="Forma livre: Forma 1074">
                  <a:extLst>
                    <a:ext uri="{FF2B5EF4-FFF2-40B4-BE49-F238E27FC236}">
                      <a16:creationId xmlns:a16="http://schemas.microsoft.com/office/drawing/2014/main" id="{CB4AFB4C-4B31-B5A9-F317-566461348177}"/>
                    </a:ext>
                  </a:extLst>
                </p:cNvPr>
                <p:cNvSpPr/>
                <p:nvPr/>
              </p:nvSpPr>
              <p:spPr>
                <a:xfrm>
                  <a:off x="2153653" y="4286731"/>
                  <a:ext cx="34448" cy="4725"/>
                </a:xfrm>
                <a:custGeom>
                  <a:avLst/>
                  <a:gdLst>
                    <a:gd name="connsiteX0" fmla="*/ 0 w 34448"/>
                    <a:gd name="connsiteY0" fmla="*/ 0 h 4725"/>
                    <a:gd name="connsiteX1" fmla="*/ 34449 w 34448"/>
                    <a:gd name="connsiteY1" fmla="*/ 0 h 472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34448" h="4725">
                      <a:moveTo>
                        <a:pt x="0" y="0"/>
                      </a:moveTo>
                      <a:lnTo>
                        <a:pt x="34449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1076" name="Gráfico 13">
                <a:extLst>
                  <a:ext uri="{FF2B5EF4-FFF2-40B4-BE49-F238E27FC236}">
                    <a16:creationId xmlns:a16="http://schemas.microsoft.com/office/drawing/2014/main" id="{C8C24F1C-C0EE-5752-B978-916F2EF6EF26}"/>
                  </a:ext>
                </a:extLst>
              </p:cNvPr>
              <p:cNvGrpSpPr/>
              <p:nvPr/>
            </p:nvGrpSpPr>
            <p:grpSpPr>
              <a:xfrm>
                <a:off x="2226709" y="4194725"/>
                <a:ext cx="58076" cy="199558"/>
                <a:chOff x="2226709" y="4194725"/>
                <a:chExt cx="58076" cy="199558"/>
              </a:xfrm>
              <a:noFill/>
            </p:grpSpPr>
            <p:grpSp>
              <p:nvGrpSpPr>
                <p:cNvPr id="1077" name="Gráfico 13">
                  <a:extLst>
                    <a:ext uri="{FF2B5EF4-FFF2-40B4-BE49-F238E27FC236}">
                      <a16:creationId xmlns:a16="http://schemas.microsoft.com/office/drawing/2014/main" id="{DBD63756-5A87-F72C-A270-1FE15EF94579}"/>
                    </a:ext>
                  </a:extLst>
                </p:cNvPr>
                <p:cNvGrpSpPr/>
                <p:nvPr/>
              </p:nvGrpSpPr>
              <p:grpSpPr>
                <a:xfrm>
                  <a:off x="2226709" y="4194725"/>
                  <a:ext cx="58076" cy="199558"/>
                  <a:chOff x="2226709" y="4194725"/>
                  <a:chExt cx="58076" cy="199558"/>
                </a:xfrm>
                <a:noFill/>
              </p:grpSpPr>
              <p:sp>
                <p:nvSpPr>
                  <p:cNvPr id="1078" name="Forma livre: Forma 1077">
                    <a:extLst>
                      <a:ext uri="{FF2B5EF4-FFF2-40B4-BE49-F238E27FC236}">
                        <a16:creationId xmlns:a16="http://schemas.microsoft.com/office/drawing/2014/main" id="{E460E176-C683-68F6-B5E8-0ECF970A21E9}"/>
                      </a:ext>
                    </a:extLst>
                  </p:cNvPr>
                  <p:cNvSpPr/>
                  <p:nvPr/>
                </p:nvSpPr>
                <p:spPr>
                  <a:xfrm>
                    <a:off x="2226709" y="4194725"/>
                    <a:ext cx="58076" cy="4725"/>
                  </a:xfrm>
                  <a:custGeom>
                    <a:avLst/>
                    <a:gdLst>
                      <a:gd name="connsiteX0" fmla="*/ 0 w 58076"/>
                      <a:gd name="connsiteY0" fmla="*/ 0 h 4725"/>
                      <a:gd name="connsiteX1" fmla="*/ 58076 w 58076"/>
                      <a:gd name="connsiteY1" fmla="*/ 0 h 472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58076" h="4725">
                        <a:moveTo>
                          <a:pt x="0" y="0"/>
                        </a:moveTo>
                        <a:lnTo>
                          <a:pt x="58076" y="0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1079" name="Forma livre: Forma 1078">
                    <a:extLst>
                      <a:ext uri="{FF2B5EF4-FFF2-40B4-BE49-F238E27FC236}">
                        <a16:creationId xmlns:a16="http://schemas.microsoft.com/office/drawing/2014/main" id="{77B9C505-0C4D-FCD1-61E0-F188C494129D}"/>
                      </a:ext>
                    </a:extLst>
                  </p:cNvPr>
                  <p:cNvSpPr/>
                  <p:nvPr/>
                </p:nvSpPr>
                <p:spPr>
                  <a:xfrm>
                    <a:off x="2238145" y="4195764"/>
                    <a:ext cx="35157" cy="198518"/>
                  </a:xfrm>
                  <a:custGeom>
                    <a:avLst/>
                    <a:gdLst>
                      <a:gd name="connsiteX0" fmla="*/ 35158 w 35157"/>
                      <a:gd name="connsiteY0" fmla="*/ 0 h 198518"/>
                      <a:gd name="connsiteX1" fmla="*/ 35158 w 35157"/>
                      <a:gd name="connsiteY1" fmla="*/ 182452 h 198518"/>
                      <a:gd name="connsiteX2" fmla="*/ 18382 w 35157"/>
                      <a:gd name="connsiteY2" fmla="*/ 198519 h 198518"/>
                      <a:gd name="connsiteX3" fmla="*/ 16776 w 35157"/>
                      <a:gd name="connsiteY3" fmla="*/ 198519 h 198518"/>
                      <a:gd name="connsiteX4" fmla="*/ 0 w 35157"/>
                      <a:gd name="connsiteY4" fmla="*/ 182452 h 198518"/>
                      <a:gd name="connsiteX5" fmla="*/ 0 w 35157"/>
                      <a:gd name="connsiteY5" fmla="*/ 19186 h 19851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35157" h="198518">
                        <a:moveTo>
                          <a:pt x="35158" y="0"/>
                        </a:moveTo>
                        <a:lnTo>
                          <a:pt x="35158" y="182452"/>
                        </a:lnTo>
                        <a:cubicBezTo>
                          <a:pt x="35158" y="191289"/>
                          <a:pt x="27597" y="198519"/>
                          <a:pt x="18382" y="198519"/>
                        </a:cubicBezTo>
                        <a:lnTo>
                          <a:pt x="16776" y="198519"/>
                        </a:lnTo>
                        <a:cubicBezTo>
                          <a:pt x="7561" y="198519"/>
                          <a:pt x="0" y="191289"/>
                          <a:pt x="0" y="182452"/>
                        </a:cubicBezTo>
                        <a:lnTo>
                          <a:pt x="0" y="19186"/>
                        </a:lnTo>
                      </a:path>
                    </a:pathLst>
                  </a:custGeom>
                  <a:noFill/>
                  <a:ln w="6350" cap="flat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  <p:sp>
              <p:nvSpPr>
                <p:cNvPr id="1080" name="Forma livre: Forma 1079">
                  <a:extLst>
                    <a:ext uri="{FF2B5EF4-FFF2-40B4-BE49-F238E27FC236}">
                      <a16:creationId xmlns:a16="http://schemas.microsoft.com/office/drawing/2014/main" id="{BE0FE337-2433-8D38-62B2-37634E396243}"/>
                    </a:ext>
                  </a:extLst>
                </p:cNvPr>
                <p:cNvSpPr/>
                <p:nvPr/>
              </p:nvSpPr>
              <p:spPr>
                <a:xfrm>
                  <a:off x="2238523" y="4286731"/>
                  <a:ext cx="34448" cy="4725"/>
                </a:xfrm>
                <a:custGeom>
                  <a:avLst/>
                  <a:gdLst>
                    <a:gd name="connsiteX0" fmla="*/ 0 w 34448"/>
                    <a:gd name="connsiteY0" fmla="*/ 0 h 4725"/>
                    <a:gd name="connsiteX1" fmla="*/ 34449 w 34448"/>
                    <a:gd name="connsiteY1" fmla="*/ 0 h 472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34448" h="4725">
                      <a:moveTo>
                        <a:pt x="0" y="0"/>
                      </a:moveTo>
                      <a:lnTo>
                        <a:pt x="34449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</p:grpSp>
      <p:grpSp>
        <p:nvGrpSpPr>
          <p:cNvPr id="1081" name="Gráfico 13">
            <a:extLst>
              <a:ext uri="{FF2B5EF4-FFF2-40B4-BE49-F238E27FC236}">
                <a16:creationId xmlns:a16="http://schemas.microsoft.com/office/drawing/2014/main" id="{A38903D4-BDBF-A544-1ED3-E36EDAF92971}"/>
              </a:ext>
            </a:extLst>
          </p:cNvPr>
          <p:cNvGrpSpPr/>
          <p:nvPr/>
        </p:nvGrpSpPr>
        <p:grpSpPr>
          <a:xfrm>
            <a:off x="1435942" y="4654092"/>
            <a:ext cx="259997" cy="355830"/>
            <a:chOff x="1435942" y="4654092"/>
            <a:chExt cx="259997" cy="355830"/>
          </a:xfrm>
        </p:grpSpPr>
        <p:sp>
          <p:nvSpPr>
            <p:cNvPr id="1082" name="Forma livre: Forma 1081">
              <a:extLst>
                <a:ext uri="{FF2B5EF4-FFF2-40B4-BE49-F238E27FC236}">
                  <a16:creationId xmlns:a16="http://schemas.microsoft.com/office/drawing/2014/main" id="{6C3E9FCD-3D39-D32A-6363-A8D8CCF528BE}"/>
                </a:ext>
              </a:extLst>
            </p:cNvPr>
            <p:cNvSpPr/>
            <p:nvPr/>
          </p:nvSpPr>
          <p:spPr>
            <a:xfrm>
              <a:off x="1529271" y="4798551"/>
              <a:ext cx="73339" cy="211372"/>
            </a:xfrm>
            <a:custGeom>
              <a:avLst/>
              <a:gdLst>
                <a:gd name="connsiteX0" fmla="*/ 73340 w 73339"/>
                <a:gd name="connsiteY0" fmla="*/ 945 h 211372"/>
                <a:gd name="connsiteX1" fmla="*/ 73340 w 73339"/>
                <a:gd name="connsiteY1" fmla="*/ 177679 h 211372"/>
                <a:gd name="connsiteX2" fmla="*/ 39647 w 73339"/>
                <a:gd name="connsiteY2" fmla="*/ 211372 h 211372"/>
                <a:gd name="connsiteX3" fmla="*/ 33693 w 73339"/>
                <a:gd name="connsiteY3" fmla="*/ 211372 h 211372"/>
                <a:gd name="connsiteX4" fmla="*/ 0 w 73339"/>
                <a:gd name="connsiteY4" fmla="*/ 177679 h 211372"/>
                <a:gd name="connsiteX5" fmla="*/ 0 w 73339"/>
                <a:gd name="connsiteY5" fmla="*/ 0 h 2113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3339" h="211372">
                  <a:moveTo>
                    <a:pt x="73340" y="945"/>
                  </a:moveTo>
                  <a:lnTo>
                    <a:pt x="73340" y="177679"/>
                  </a:lnTo>
                  <a:cubicBezTo>
                    <a:pt x="73340" y="196203"/>
                    <a:pt x="58171" y="211372"/>
                    <a:pt x="39647" y="211372"/>
                  </a:cubicBezTo>
                  <a:lnTo>
                    <a:pt x="33693" y="211372"/>
                  </a:lnTo>
                  <a:cubicBezTo>
                    <a:pt x="15169" y="211372"/>
                    <a:pt x="0" y="196203"/>
                    <a:pt x="0" y="177679"/>
                  </a:cubicBezTo>
                  <a:lnTo>
                    <a:pt x="0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83" name="Forma livre: Forma 1082">
              <a:extLst>
                <a:ext uri="{FF2B5EF4-FFF2-40B4-BE49-F238E27FC236}">
                  <a16:creationId xmlns:a16="http://schemas.microsoft.com/office/drawing/2014/main" id="{BB05EE9E-BFA5-49D5-45AB-C8B7FA8BE27A}"/>
                </a:ext>
              </a:extLst>
            </p:cNvPr>
            <p:cNvSpPr/>
            <p:nvPr/>
          </p:nvSpPr>
          <p:spPr>
            <a:xfrm>
              <a:off x="1551434" y="4850011"/>
              <a:ext cx="51035" cy="4725"/>
            </a:xfrm>
            <a:custGeom>
              <a:avLst/>
              <a:gdLst>
                <a:gd name="connsiteX0" fmla="*/ 0 w 51035"/>
                <a:gd name="connsiteY0" fmla="*/ 0 h 4725"/>
                <a:gd name="connsiteX1" fmla="*/ 51036 w 51035"/>
                <a:gd name="connsiteY1" fmla="*/ 0 h 47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1035" h="4725">
                  <a:moveTo>
                    <a:pt x="0" y="0"/>
                  </a:moveTo>
                  <a:lnTo>
                    <a:pt x="51036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84" name="Forma livre: Forma 1083">
              <a:extLst>
                <a:ext uri="{FF2B5EF4-FFF2-40B4-BE49-F238E27FC236}">
                  <a16:creationId xmlns:a16="http://schemas.microsoft.com/office/drawing/2014/main" id="{FF63271B-5C54-8153-13F4-2751704026F4}"/>
                </a:ext>
              </a:extLst>
            </p:cNvPr>
            <p:cNvSpPr/>
            <p:nvPr/>
          </p:nvSpPr>
          <p:spPr>
            <a:xfrm>
              <a:off x="1512023" y="4775915"/>
              <a:ext cx="106465" cy="23202"/>
            </a:xfrm>
            <a:custGeom>
              <a:avLst/>
              <a:gdLst>
                <a:gd name="connsiteX0" fmla="*/ 90588 w 106465"/>
                <a:gd name="connsiteY0" fmla="*/ 23202 h 23202"/>
                <a:gd name="connsiteX1" fmla="*/ 106466 w 106465"/>
                <a:gd name="connsiteY1" fmla="*/ 0 h 23202"/>
                <a:gd name="connsiteX2" fmla="*/ 0 w 106465"/>
                <a:gd name="connsiteY2" fmla="*/ 0 h 232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06465" h="23202">
                  <a:moveTo>
                    <a:pt x="90588" y="23202"/>
                  </a:moveTo>
                  <a:lnTo>
                    <a:pt x="106466" y="0"/>
                  </a:lnTo>
                  <a:lnTo>
                    <a:pt x="0" y="0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85" name="Forma livre: Forma 1084">
              <a:extLst>
                <a:ext uri="{FF2B5EF4-FFF2-40B4-BE49-F238E27FC236}">
                  <a16:creationId xmlns:a16="http://schemas.microsoft.com/office/drawing/2014/main" id="{37360A77-14D9-293C-9CD8-0700E80F19F8}"/>
                </a:ext>
              </a:extLst>
            </p:cNvPr>
            <p:cNvSpPr/>
            <p:nvPr/>
          </p:nvSpPr>
          <p:spPr>
            <a:xfrm>
              <a:off x="1435942" y="4654092"/>
              <a:ext cx="259997" cy="221957"/>
            </a:xfrm>
            <a:custGeom>
              <a:avLst/>
              <a:gdLst>
                <a:gd name="connsiteX0" fmla="*/ 71591 w 259997"/>
                <a:gd name="connsiteY0" fmla="*/ 211797 h 221957"/>
                <a:gd name="connsiteX1" fmla="*/ 38088 w 259997"/>
                <a:gd name="connsiteY1" fmla="*/ 221957 h 221957"/>
                <a:gd name="connsiteX2" fmla="*/ 56706 w 259997"/>
                <a:gd name="connsiteY2" fmla="*/ 160384 h 221957"/>
                <a:gd name="connsiteX3" fmla="*/ 0 w 259997"/>
                <a:gd name="connsiteY3" fmla="*/ 130046 h 221957"/>
                <a:gd name="connsiteX4" fmla="*/ 56706 w 259997"/>
                <a:gd name="connsiteY4" fmla="*/ 99661 h 221957"/>
                <a:gd name="connsiteX5" fmla="*/ 38088 w 259997"/>
                <a:gd name="connsiteY5" fmla="*/ 38088 h 221957"/>
                <a:gd name="connsiteX6" fmla="*/ 99661 w 259997"/>
                <a:gd name="connsiteY6" fmla="*/ 56706 h 221957"/>
                <a:gd name="connsiteX7" fmla="*/ 129999 w 259997"/>
                <a:gd name="connsiteY7" fmla="*/ 0 h 221957"/>
                <a:gd name="connsiteX8" fmla="*/ 160384 w 259997"/>
                <a:gd name="connsiteY8" fmla="*/ 56706 h 221957"/>
                <a:gd name="connsiteX9" fmla="*/ 221957 w 259997"/>
                <a:gd name="connsiteY9" fmla="*/ 38088 h 221957"/>
                <a:gd name="connsiteX10" fmla="*/ 203339 w 259997"/>
                <a:gd name="connsiteY10" fmla="*/ 99661 h 221957"/>
                <a:gd name="connsiteX11" fmla="*/ 259998 w 259997"/>
                <a:gd name="connsiteY11" fmla="*/ 130046 h 221957"/>
                <a:gd name="connsiteX12" fmla="*/ 203339 w 259997"/>
                <a:gd name="connsiteY12" fmla="*/ 160384 h 221957"/>
                <a:gd name="connsiteX13" fmla="*/ 221957 w 259997"/>
                <a:gd name="connsiteY13" fmla="*/ 221957 h 221957"/>
                <a:gd name="connsiteX14" fmla="*/ 188123 w 259997"/>
                <a:gd name="connsiteY14" fmla="*/ 211703 h 2219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59997" h="221957">
                  <a:moveTo>
                    <a:pt x="71591" y="211797"/>
                  </a:moveTo>
                  <a:lnTo>
                    <a:pt x="38088" y="221957"/>
                  </a:lnTo>
                  <a:lnTo>
                    <a:pt x="56706" y="160384"/>
                  </a:lnTo>
                  <a:lnTo>
                    <a:pt x="0" y="130046"/>
                  </a:lnTo>
                  <a:lnTo>
                    <a:pt x="56706" y="99661"/>
                  </a:lnTo>
                  <a:lnTo>
                    <a:pt x="38088" y="38088"/>
                  </a:lnTo>
                  <a:lnTo>
                    <a:pt x="99661" y="56706"/>
                  </a:lnTo>
                  <a:lnTo>
                    <a:pt x="129999" y="0"/>
                  </a:lnTo>
                  <a:lnTo>
                    <a:pt x="160384" y="56706"/>
                  </a:lnTo>
                  <a:lnTo>
                    <a:pt x="221957" y="38088"/>
                  </a:lnTo>
                  <a:lnTo>
                    <a:pt x="203339" y="99661"/>
                  </a:lnTo>
                  <a:lnTo>
                    <a:pt x="259998" y="130046"/>
                  </a:lnTo>
                  <a:lnTo>
                    <a:pt x="203339" y="160384"/>
                  </a:lnTo>
                  <a:lnTo>
                    <a:pt x="221957" y="221957"/>
                  </a:lnTo>
                  <a:lnTo>
                    <a:pt x="188123" y="211703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86" name="Forma livre: Forma 1085">
              <a:extLst>
                <a:ext uri="{FF2B5EF4-FFF2-40B4-BE49-F238E27FC236}">
                  <a16:creationId xmlns:a16="http://schemas.microsoft.com/office/drawing/2014/main" id="{A7DBA9BB-D9E6-126D-0195-A50751E3FAA1}"/>
                </a:ext>
              </a:extLst>
            </p:cNvPr>
            <p:cNvSpPr/>
            <p:nvPr/>
          </p:nvSpPr>
          <p:spPr>
            <a:xfrm>
              <a:off x="1567501" y="4886162"/>
              <a:ext cx="7371" cy="7371"/>
            </a:xfrm>
            <a:custGeom>
              <a:avLst/>
              <a:gdLst>
                <a:gd name="connsiteX0" fmla="*/ 7372 w 7371"/>
                <a:gd name="connsiteY0" fmla="*/ 3686 h 7371"/>
                <a:gd name="connsiteX1" fmla="*/ 3686 w 7371"/>
                <a:gd name="connsiteY1" fmla="*/ 7372 h 7371"/>
                <a:gd name="connsiteX2" fmla="*/ 0 w 7371"/>
                <a:gd name="connsiteY2" fmla="*/ 3686 h 7371"/>
                <a:gd name="connsiteX3" fmla="*/ 3686 w 7371"/>
                <a:gd name="connsiteY3" fmla="*/ 0 h 7371"/>
                <a:gd name="connsiteX4" fmla="*/ 7372 w 7371"/>
                <a:gd name="connsiteY4" fmla="*/ 3686 h 73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371" h="7371">
                  <a:moveTo>
                    <a:pt x="7372" y="3686"/>
                  </a:moveTo>
                  <a:cubicBezTo>
                    <a:pt x="7372" y="5718"/>
                    <a:pt x="5718" y="7372"/>
                    <a:pt x="3686" y="7372"/>
                  </a:cubicBezTo>
                  <a:cubicBezTo>
                    <a:pt x="1654" y="7372"/>
                    <a:pt x="0" y="5718"/>
                    <a:pt x="0" y="3686"/>
                  </a:cubicBezTo>
                  <a:cubicBezTo>
                    <a:pt x="0" y="1654"/>
                    <a:pt x="1654" y="0"/>
                    <a:pt x="3686" y="0"/>
                  </a:cubicBezTo>
                  <a:cubicBezTo>
                    <a:pt x="5718" y="0"/>
                    <a:pt x="7372" y="1654"/>
                    <a:pt x="7372" y="3686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87" name="Forma livre: Forma 1086">
              <a:extLst>
                <a:ext uri="{FF2B5EF4-FFF2-40B4-BE49-F238E27FC236}">
                  <a16:creationId xmlns:a16="http://schemas.microsoft.com/office/drawing/2014/main" id="{ABB89C29-AC7C-0F87-7EAC-9DE6AB7784C5}"/>
                </a:ext>
              </a:extLst>
            </p:cNvPr>
            <p:cNvSpPr/>
            <p:nvPr/>
          </p:nvSpPr>
          <p:spPr>
            <a:xfrm>
              <a:off x="1555781" y="4923871"/>
              <a:ext cx="7371" cy="7371"/>
            </a:xfrm>
            <a:custGeom>
              <a:avLst/>
              <a:gdLst>
                <a:gd name="connsiteX0" fmla="*/ 7372 w 7371"/>
                <a:gd name="connsiteY0" fmla="*/ 3686 h 7371"/>
                <a:gd name="connsiteX1" fmla="*/ 3686 w 7371"/>
                <a:gd name="connsiteY1" fmla="*/ 7372 h 7371"/>
                <a:gd name="connsiteX2" fmla="*/ 0 w 7371"/>
                <a:gd name="connsiteY2" fmla="*/ 3686 h 7371"/>
                <a:gd name="connsiteX3" fmla="*/ 3686 w 7371"/>
                <a:gd name="connsiteY3" fmla="*/ 0 h 7371"/>
                <a:gd name="connsiteX4" fmla="*/ 7372 w 7371"/>
                <a:gd name="connsiteY4" fmla="*/ 3686 h 73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371" h="7371">
                  <a:moveTo>
                    <a:pt x="7372" y="3686"/>
                  </a:moveTo>
                  <a:cubicBezTo>
                    <a:pt x="7372" y="5718"/>
                    <a:pt x="5718" y="7372"/>
                    <a:pt x="3686" y="7372"/>
                  </a:cubicBezTo>
                  <a:cubicBezTo>
                    <a:pt x="1654" y="7372"/>
                    <a:pt x="0" y="5718"/>
                    <a:pt x="0" y="3686"/>
                  </a:cubicBezTo>
                  <a:cubicBezTo>
                    <a:pt x="0" y="1654"/>
                    <a:pt x="1654" y="0"/>
                    <a:pt x="3686" y="0"/>
                  </a:cubicBezTo>
                  <a:cubicBezTo>
                    <a:pt x="5718" y="0"/>
                    <a:pt x="7372" y="1654"/>
                    <a:pt x="7372" y="3686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088" name="Gráfico 13">
            <a:extLst>
              <a:ext uri="{FF2B5EF4-FFF2-40B4-BE49-F238E27FC236}">
                <a16:creationId xmlns:a16="http://schemas.microsoft.com/office/drawing/2014/main" id="{FB3E3663-EDB5-A863-6A09-C73D9DF0B8D4}"/>
              </a:ext>
            </a:extLst>
          </p:cNvPr>
          <p:cNvGrpSpPr/>
          <p:nvPr/>
        </p:nvGrpSpPr>
        <p:grpSpPr>
          <a:xfrm>
            <a:off x="2052480" y="4657730"/>
            <a:ext cx="236795" cy="341134"/>
            <a:chOff x="2052480" y="4657730"/>
            <a:chExt cx="236795" cy="341134"/>
          </a:xfrm>
        </p:grpSpPr>
        <p:sp>
          <p:nvSpPr>
            <p:cNvPr id="1089" name="Forma livre: Forma 1088">
              <a:extLst>
                <a:ext uri="{FF2B5EF4-FFF2-40B4-BE49-F238E27FC236}">
                  <a16:creationId xmlns:a16="http://schemas.microsoft.com/office/drawing/2014/main" id="{13CDE371-CFCC-AEB7-D89C-6DBDC6FF5760}"/>
                </a:ext>
              </a:extLst>
            </p:cNvPr>
            <p:cNvSpPr/>
            <p:nvPr/>
          </p:nvSpPr>
          <p:spPr>
            <a:xfrm>
              <a:off x="2131349" y="4823743"/>
              <a:ext cx="155185" cy="17452"/>
            </a:xfrm>
            <a:custGeom>
              <a:avLst/>
              <a:gdLst>
                <a:gd name="connsiteX0" fmla="*/ 0 w 155185"/>
                <a:gd name="connsiteY0" fmla="*/ 8170 h 17452"/>
                <a:gd name="connsiteX1" fmla="*/ 73954 w 155185"/>
                <a:gd name="connsiteY1" fmla="*/ 8170 h 17452"/>
                <a:gd name="connsiteX2" fmla="*/ 155186 w 155185"/>
                <a:gd name="connsiteY2" fmla="*/ 8170 h 174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55185" h="17452">
                  <a:moveTo>
                    <a:pt x="0" y="8170"/>
                  </a:moveTo>
                  <a:cubicBezTo>
                    <a:pt x="0" y="8170"/>
                    <a:pt x="44656" y="-10212"/>
                    <a:pt x="73954" y="8170"/>
                  </a:cubicBezTo>
                  <a:cubicBezTo>
                    <a:pt x="107175" y="29057"/>
                    <a:pt x="155186" y="8170"/>
                    <a:pt x="155186" y="8170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90" name="Forma livre: Forma 1089">
              <a:extLst>
                <a:ext uri="{FF2B5EF4-FFF2-40B4-BE49-F238E27FC236}">
                  <a16:creationId xmlns:a16="http://schemas.microsoft.com/office/drawing/2014/main" id="{8FC64A60-111A-54B7-FAB7-75E164F3B47E}"/>
                </a:ext>
              </a:extLst>
            </p:cNvPr>
            <p:cNvSpPr/>
            <p:nvPr/>
          </p:nvSpPr>
          <p:spPr>
            <a:xfrm>
              <a:off x="2128797" y="4682823"/>
              <a:ext cx="160478" cy="233393"/>
            </a:xfrm>
            <a:custGeom>
              <a:avLst/>
              <a:gdLst>
                <a:gd name="connsiteX0" fmla="*/ 58029 w 160478"/>
                <a:gd name="connsiteY0" fmla="*/ 33693 h 233393"/>
                <a:gd name="connsiteX1" fmla="*/ 58029 w 160478"/>
                <a:gd name="connsiteY1" fmla="*/ 76128 h 233393"/>
                <a:gd name="connsiteX2" fmla="*/ 0 w 160478"/>
                <a:gd name="connsiteY2" fmla="*/ 153201 h 233393"/>
                <a:gd name="connsiteX3" fmla="*/ 80239 w 160478"/>
                <a:gd name="connsiteY3" fmla="*/ 233393 h 233393"/>
                <a:gd name="connsiteX4" fmla="*/ 160478 w 160478"/>
                <a:gd name="connsiteY4" fmla="*/ 153201 h 233393"/>
                <a:gd name="connsiteX5" fmla="*/ 102449 w 160478"/>
                <a:gd name="connsiteY5" fmla="*/ 76128 h 233393"/>
                <a:gd name="connsiteX6" fmla="*/ 102449 w 160478"/>
                <a:gd name="connsiteY6" fmla="*/ 19091 h 233393"/>
                <a:gd name="connsiteX7" fmla="*/ 115917 w 160478"/>
                <a:gd name="connsiteY7" fmla="*/ 0 h 233393"/>
                <a:gd name="connsiteX8" fmla="*/ 45743 w 160478"/>
                <a:gd name="connsiteY8" fmla="*/ 0 h 2333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60478" h="233393">
                  <a:moveTo>
                    <a:pt x="58029" y="33693"/>
                  </a:moveTo>
                  <a:lnTo>
                    <a:pt x="58029" y="76128"/>
                  </a:lnTo>
                  <a:cubicBezTo>
                    <a:pt x="24525" y="85768"/>
                    <a:pt x="0" y="116626"/>
                    <a:pt x="0" y="153201"/>
                  </a:cubicBezTo>
                  <a:cubicBezTo>
                    <a:pt x="0" y="197526"/>
                    <a:pt x="35914" y="233393"/>
                    <a:pt x="80239" y="233393"/>
                  </a:cubicBezTo>
                  <a:cubicBezTo>
                    <a:pt x="124564" y="233393"/>
                    <a:pt x="160478" y="197479"/>
                    <a:pt x="160478" y="153201"/>
                  </a:cubicBezTo>
                  <a:cubicBezTo>
                    <a:pt x="160478" y="116626"/>
                    <a:pt x="135953" y="85768"/>
                    <a:pt x="102449" y="76128"/>
                  </a:cubicBezTo>
                  <a:lnTo>
                    <a:pt x="102449" y="19091"/>
                  </a:lnTo>
                  <a:lnTo>
                    <a:pt x="115917" y="0"/>
                  </a:lnTo>
                  <a:lnTo>
                    <a:pt x="45743" y="0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91" name="Forma livre: Forma 1090">
              <a:extLst>
                <a:ext uri="{FF2B5EF4-FFF2-40B4-BE49-F238E27FC236}">
                  <a16:creationId xmlns:a16="http://schemas.microsoft.com/office/drawing/2014/main" id="{4C0695FF-E850-DB26-B5D4-BB1FBEC2BA10}"/>
                </a:ext>
              </a:extLst>
            </p:cNvPr>
            <p:cNvSpPr/>
            <p:nvPr/>
          </p:nvSpPr>
          <p:spPr>
            <a:xfrm>
              <a:off x="2094253" y="4734236"/>
              <a:ext cx="4725" cy="264250"/>
            </a:xfrm>
            <a:custGeom>
              <a:avLst/>
              <a:gdLst>
                <a:gd name="connsiteX0" fmla="*/ 0 w 4725"/>
                <a:gd name="connsiteY0" fmla="*/ 0 h 264250"/>
                <a:gd name="connsiteX1" fmla="*/ 0 w 4725"/>
                <a:gd name="connsiteY1" fmla="*/ 264251 h 264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725" h="264250">
                  <a:moveTo>
                    <a:pt x="0" y="0"/>
                  </a:moveTo>
                  <a:lnTo>
                    <a:pt x="0" y="264251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92" name="Forma livre: Forma 1091">
              <a:extLst>
                <a:ext uri="{FF2B5EF4-FFF2-40B4-BE49-F238E27FC236}">
                  <a16:creationId xmlns:a16="http://schemas.microsoft.com/office/drawing/2014/main" id="{C82BD6BF-83E3-73EC-08CB-50C803B2DA5F}"/>
                </a:ext>
              </a:extLst>
            </p:cNvPr>
            <p:cNvSpPr/>
            <p:nvPr/>
          </p:nvSpPr>
          <p:spPr>
            <a:xfrm>
              <a:off x="2094253" y="4657730"/>
              <a:ext cx="4725" cy="35583"/>
            </a:xfrm>
            <a:custGeom>
              <a:avLst/>
              <a:gdLst>
                <a:gd name="connsiteX0" fmla="*/ 0 w 4725"/>
                <a:gd name="connsiteY0" fmla="*/ 0 h 35583"/>
                <a:gd name="connsiteX1" fmla="*/ 0 w 4725"/>
                <a:gd name="connsiteY1" fmla="*/ 35583 h 355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725" h="35583">
                  <a:moveTo>
                    <a:pt x="0" y="0"/>
                  </a:moveTo>
                  <a:lnTo>
                    <a:pt x="0" y="35583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93" name="Forma livre: Forma 1092">
              <a:extLst>
                <a:ext uri="{FF2B5EF4-FFF2-40B4-BE49-F238E27FC236}">
                  <a16:creationId xmlns:a16="http://schemas.microsoft.com/office/drawing/2014/main" id="{63EB0A78-6852-A18E-B664-884AFDA44037}"/>
                </a:ext>
              </a:extLst>
            </p:cNvPr>
            <p:cNvSpPr/>
            <p:nvPr/>
          </p:nvSpPr>
          <p:spPr>
            <a:xfrm>
              <a:off x="2114715" y="4713822"/>
              <a:ext cx="169645" cy="4725"/>
            </a:xfrm>
            <a:custGeom>
              <a:avLst/>
              <a:gdLst>
                <a:gd name="connsiteX0" fmla="*/ 0 w 169645"/>
                <a:gd name="connsiteY0" fmla="*/ 0 h 4725"/>
                <a:gd name="connsiteX1" fmla="*/ 169646 w 169645"/>
                <a:gd name="connsiteY1" fmla="*/ 0 h 47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69645" h="4725">
                  <a:moveTo>
                    <a:pt x="0" y="0"/>
                  </a:moveTo>
                  <a:lnTo>
                    <a:pt x="169646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94" name="Forma livre: Forma 1093">
              <a:extLst>
                <a:ext uri="{FF2B5EF4-FFF2-40B4-BE49-F238E27FC236}">
                  <a16:creationId xmlns:a16="http://schemas.microsoft.com/office/drawing/2014/main" id="{FE004442-B049-5806-8B3D-7AD04BDF2A4F}"/>
                </a:ext>
              </a:extLst>
            </p:cNvPr>
            <p:cNvSpPr/>
            <p:nvPr/>
          </p:nvSpPr>
          <p:spPr>
            <a:xfrm>
              <a:off x="2052480" y="4713822"/>
              <a:ext cx="21264" cy="4725"/>
            </a:xfrm>
            <a:custGeom>
              <a:avLst/>
              <a:gdLst>
                <a:gd name="connsiteX0" fmla="*/ 0 w 21264"/>
                <a:gd name="connsiteY0" fmla="*/ 0 h 4725"/>
                <a:gd name="connsiteX1" fmla="*/ 21265 w 21264"/>
                <a:gd name="connsiteY1" fmla="*/ 0 h 47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1264" h="4725">
                  <a:moveTo>
                    <a:pt x="0" y="0"/>
                  </a:moveTo>
                  <a:lnTo>
                    <a:pt x="21265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95" name="Forma livre: Forma 1094">
              <a:extLst>
                <a:ext uri="{FF2B5EF4-FFF2-40B4-BE49-F238E27FC236}">
                  <a16:creationId xmlns:a16="http://schemas.microsoft.com/office/drawing/2014/main" id="{C37CD03F-4567-71D4-945C-D7EA1792E587}"/>
                </a:ext>
              </a:extLst>
            </p:cNvPr>
            <p:cNvSpPr/>
            <p:nvPr/>
          </p:nvSpPr>
          <p:spPr>
            <a:xfrm>
              <a:off x="2052480" y="4998865"/>
              <a:ext cx="231880" cy="4725"/>
            </a:xfrm>
            <a:custGeom>
              <a:avLst/>
              <a:gdLst>
                <a:gd name="connsiteX0" fmla="*/ 0 w 231880"/>
                <a:gd name="connsiteY0" fmla="*/ 0 h 4725"/>
                <a:gd name="connsiteX1" fmla="*/ 231881 w 231880"/>
                <a:gd name="connsiteY1" fmla="*/ 0 h 47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31880" h="4725">
                  <a:moveTo>
                    <a:pt x="0" y="0"/>
                  </a:moveTo>
                  <a:lnTo>
                    <a:pt x="231881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96" name="Forma livre: Forma 1095">
              <a:extLst>
                <a:ext uri="{FF2B5EF4-FFF2-40B4-BE49-F238E27FC236}">
                  <a16:creationId xmlns:a16="http://schemas.microsoft.com/office/drawing/2014/main" id="{546E4CAC-67A6-8B6C-C25D-610703ECABEF}"/>
                </a:ext>
              </a:extLst>
            </p:cNvPr>
            <p:cNvSpPr/>
            <p:nvPr/>
          </p:nvSpPr>
          <p:spPr>
            <a:xfrm>
              <a:off x="2186684" y="4945561"/>
              <a:ext cx="44346" cy="52216"/>
            </a:xfrm>
            <a:custGeom>
              <a:avLst/>
              <a:gdLst>
                <a:gd name="connsiteX0" fmla="*/ 37946 w 44346"/>
                <a:gd name="connsiteY0" fmla="*/ 52217 h 52216"/>
                <a:gd name="connsiteX1" fmla="*/ 34118 w 44346"/>
                <a:gd name="connsiteY1" fmla="*/ 21548 h 52216"/>
                <a:gd name="connsiteX2" fmla="*/ 22871 w 44346"/>
                <a:gd name="connsiteY2" fmla="*/ 3355 h 52216"/>
                <a:gd name="connsiteX3" fmla="*/ 22021 w 44346"/>
                <a:gd name="connsiteY3" fmla="*/ 0 h 52216"/>
                <a:gd name="connsiteX4" fmla="*/ 0 w 44346"/>
                <a:gd name="connsiteY4" fmla="*/ 29109 h 522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346" h="52216">
                  <a:moveTo>
                    <a:pt x="37946" y="52217"/>
                  </a:moveTo>
                  <a:cubicBezTo>
                    <a:pt x="51035" y="39505"/>
                    <a:pt x="41112" y="27219"/>
                    <a:pt x="34118" y="21548"/>
                  </a:cubicBezTo>
                  <a:cubicBezTo>
                    <a:pt x="24856" y="14035"/>
                    <a:pt x="22871" y="3355"/>
                    <a:pt x="22871" y="3355"/>
                  </a:cubicBezTo>
                  <a:lnTo>
                    <a:pt x="22021" y="0"/>
                  </a:lnTo>
                  <a:cubicBezTo>
                    <a:pt x="22021" y="0"/>
                    <a:pt x="2977" y="14035"/>
                    <a:pt x="0" y="29109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97" name="Forma livre: Forma 1096">
              <a:extLst>
                <a:ext uri="{FF2B5EF4-FFF2-40B4-BE49-F238E27FC236}">
                  <a16:creationId xmlns:a16="http://schemas.microsoft.com/office/drawing/2014/main" id="{E994E9FC-80D5-3262-DDD8-537245D397CA}"/>
                </a:ext>
              </a:extLst>
            </p:cNvPr>
            <p:cNvSpPr/>
            <p:nvPr/>
          </p:nvSpPr>
          <p:spPr>
            <a:xfrm>
              <a:off x="2184369" y="4859415"/>
              <a:ext cx="7371" cy="7371"/>
            </a:xfrm>
            <a:custGeom>
              <a:avLst/>
              <a:gdLst>
                <a:gd name="connsiteX0" fmla="*/ 7372 w 7371"/>
                <a:gd name="connsiteY0" fmla="*/ 3686 h 7371"/>
                <a:gd name="connsiteX1" fmla="*/ 3686 w 7371"/>
                <a:gd name="connsiteY1" fmla="*/ 7372 h 7371"/>
                <a:gd name="connsiteX2" fmla="*/ 0 w 7371"/>
                <a:gd name="connsiteY2" fmla="*/ 3686 h 7371"/>
                <a:gd name="connsiteX3" fmla="*/ 3686 w 7371"/>
                <a:gd name="connsiteY3" fmla="*/ 0 h 7371"/>
                <a:gd name="connsiteX4" fmla="*/ 7372 w 7371"/>
                <a:gd name="connsiteY4" fmla="*/ 3686 h 73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371" h="7371">
                  <a:moveTo>
                    <a:pt x="7372" y="3686"/>
                  </a:moveTo>
                  <a:cubicBezTo>
                    <a:pt x="7372" y="5718"/>
                    <a:pt x="5718" y="7372"/>
                    <a:pt x="3686" y="7372"/>
                  </a:cubicBezTo>
                  <a:cubicBezTo>
                    <a:pt x="1654" y="7372"/>
                    <a:pt x="0" y="5718"/>
                    <a:pt x="0" y="3686"/>
                  </a:cubicBezTo>
                  <a:cubicBezTo>
                    <a:pt x="0" y="1654"/>
                    <a:pt x="1654" y="0"/>
                    <a:pt x="3686" y="0"/>
                  </a:cubicBezTo>
                  <a:cubicBezTo>
                    <a:pt x="5718" y="0"/>
                    <a:pt x="7372" y="1654"/>
                    <a:pt x="7372" y="3686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98" name="Forma livre: Forma 1097">
              <a:extLst>
                <a:ext uri="{FF2B5EF4-FFF2-40B4-BE49-F238E27FC236}">
                  <a16:creationId xmlns:a16="http://schemas.microsoft.com/office/drawing/2014/main" id="{25AD9DE9-7934-303D-8747-47FB0565AD52}"/>
                </a:ext>
              </a:extLst>
            </p:cNvPr>
            <p:cNvSpPr/>
            <p:nvPr/>
          </p:nvSpPr>
          <p:spPr>
            <a:xfrm>
              <a:off x="2212911" y="4876852"/>
              <a:ext cx="7371" cy="7371"/>
            </a:xfrm>
            <a:custGeom>
              <a:avLst/>
              <a:gdLst>
                <a:gd name="connsiteX0" fmla="*/ 7372 w 7371"/>
                <a:gd name="connsiteY0" fmla="*/ 3686 h 7371"/>
                <a:gd name="connsiteX1" fmla="*/ 3686 w 7371"/>
                <a:gd name="connsiteY1" fmla="*/ 7372 h 7371"/>
                <a:gd name="connsiteX2" fmla="*/ 0 w 7371"/>
                <a:gd name="connsiteY2" fmla="*/ 3686 h 7371"/>
                <a:gd name="connsiteX3" fmla="*/ 3686 w 7371"/>
                <a:gd name="connsiteY3" fmla="*/ 0 h 7371"/>
                <a:gd name="connsiteX4" fmla="*/ 7372 w 7371"/>
                <a:gd name="connsiteY4" fmla="*/ 3686 h 73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371" h="7371">
                  <a:moveTo>
                    <a:pt x="7372" y="3686"/>
                  </a:moveTo>
                  <a:cubicBezTo>
                    <a:pt x="7372" y="5718"/>
                    <a:pt x="5718" y="7372"/>
                    <a:pt x="3686" y="7372"/>
                  </a:cubicBezTo>
                  <a:cubicBezTo>
                    <a:pt x="1654" y="7372"/>
                    <a:pt x="0" y="5718"/>
                    <a:pt x="0" y="3686"/>
                  </a:cubicBezTo>
                  <a:cubicBezTo>
                    <a:pt x="0" y="1654"/>
                    <a:pt x="1654" y="0"/>
                    <a:pt x="3686" y="0"/>
                  </a:cubicBezTo>
                  <a:cubicBezTo>
                    <a:pt x="5718" y="0"/>
                    <a:pt x="7372" y="1654"/>
                    <a:pt x="7372" y="3686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99" name="Forma livre: Forma 1098">
              <a:extLst>
                <a:ext uri="{FF2B5EF4-FFF2-40B4-BE49-F238E27FC236}">
                  <a16:creationId xmlns:a16="http://schemas.microsoft.com/office/drawing/2014/main" id="{27C36F5A-E7BD-71D6-BC84-5D12523229FB}"/>
                </a:ext>
              </a:extLst>
            </p:cNvPr>
            <p:cNvSpPr/>
            <p:nvPr/>
          </p:nvSpPr>
          <p:spPr>
            <a:xfrm>
              <a:off x="2074075" y="4693644"/>
              <a:ext cx="40355" cy="40355"/>
            </a:xfrm>
            <a:custGeom>
              <a:avLst/>
              <a:gdLst>
                <a:gd name="connsiteX0" fmla="*/ 40356 w 40355"/>
                <a:gd name="connsiteY0" fmla="*/ 20178 h 40355"/>
                <a:gd name="connsiteX1" fmla="*/ 20178 w 40355"/>
                <a:gd name="connsiteY1" fmla="*/ 40356 h 40355"/>
                <a:gd name="connsiteX2" fmla="*/ 0 w 40355"/>
                <a:gd name="connsiteY2" fmla="*/ 20178 h 40355"/>
                <a:gd name="connsiteX3" fmla="*/ 20178 w 40355"/>
                <a:gd name="connsiteY3" fmla="*/ 0 h 40355"/>
                <a:gd name="connsiteX4" fmla="*/ 40356 w 40355"/>
                <a:gd name="connsiteY4" fmla="*/ 20178 h 403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0355" h="40355">
                  <a:moveTo>
                    <a:pt x="40356" y="20178"/>
                  </a:moveTo>
                  <a:cubicBezTo>
                    <a:pt x="40356" y="31330"/>
                    <a:pt x="31330" y="40356"/>
                    <a:pt x="20178" y="40356"/>
                  </a:cubicBezTo>
                  <a:cubicBezTo>
                    <a:pt x="9026" y="40356"/>
                    <a:pt x="0" y="31330"/>
                    <a:pt x="0" y="20178"/>
                  </a:cubicBezTo>
                  <a:cubicBezTo>
                    <a:pt x="0" y="9026"/>
                    <a:pt x="9026" y="0"/>
                    <a:pt x="20178" y="0"/>
                  </a:cubicBezTo>
                  <a:cubicBezTo>
                    <a:pt x="31330" y="0"/>
                    <a:pt x="40356" y="9026"/>
                    <a:pt x="40356" y="20178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100" name="Gráfico 13">
            <a:extLst>
              <a:ext uri="{FF2B5EF4-FFF2-40B4-BE49-F238E27FC236}">
                <a16:creationId xmlns:a16="http://schemas.microsoft.com/office/drawing/2014/main" id="{93997EA7-16BF-6CDD-3F2F-F4CB73A40761}"/>
              </a:ext>
            </a:extLst>
          </p:cNvPr>
          <p:cNvGrpSpPr/>
          <p:nvPr/>
        </p:nvGrpSpPr>
        <p:grpSpPr>
          <a:xfrm>
            <a:off x="801117" y="5765343"/>
            <a:ext cx="275402" cy="252814"/>
            <a:chOff x="801117" y="5765343"/>
            <a:chExt cx="275402" cy="252814"/>
          </a:xfrm>
        </p:grpSpPr>
        <p:sp>
          <p:nvSpPr>
            <p:cNvPr id="1101" name="Forma livre: Forma 1100">
              <a:extLst>
                <a:ext uri="{FF2B5EF4-FFF2-40B4-BE49-F238E27FC236}">
                  <a16:creationId xmlns:a16="http://schemas.microsoft.com/office/drawing/2014/main" id="{733B0A9D-8505-CD68-8C17-B4B1FBA75CB3}"/>
                </a:ext>
              </a:extLst>
            </p:cNvPr>
            <p:cNvSpPr/>
            <p:nvPr/>
          </p:nvSpPr>
          <p:spPr>
            <a:xfrm>
              <a:off x="807166" y="5921048"/>
              <a:ext cx="154949" cy="4725"/>
            </a:xfrm>
            <a:custGeom>
              <a:avLst/>
              <a:gdLst>
                <a:gd name="connsiteX0" fmla="*/ 0 w 154949"/>
                <a:gd name="connsiteY0" fmla="*/ 0 h 4725"/>
                <a:gd name="connsiteX1" fmla="*/ 154950 w 154949"/>
                <a:gd name="connsiteY1" fmla="*/ 0 h 47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4949" h="4725">
                  <a:moveTo>
                    <a:pt x="0" y="0"/>
                  </a:moveTo>
                  <a:lnTo>
                    <a:pt x="15495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02" name="Forma livre: Forma 1101">
              <a:extLst>
                <a:ext uri="{FF2B5EF4-FFF2-40B4-BE49-F238E27FC236}">
                  <a16:creationId xmlns:a16="http://schemas.microsoft.com/office/drawing/2014/main" id="{0B9DBED2-7E31-178A-F761-35B69A0573D2}"/>
                </a:ext>
              </a:extLst>
            </p:cNvPr>
            <p:cNvSpPr/>
            <p:nvPr/>
          </p:nvSpPr>
          <p:spPr>
            <a:xfrm>
              <a:off x="884664" y="5905360"/>
              <a:ext cx="4725" cy="31991"/>
            </a:xfrm>
            <a:custGeom>
              <a:avLst/>
              <a:gdLst>
                <a:gd name="connsiteX0" fmla="*/ 0 w 4725"/>
                <a:gd name="connsiteY0" fmla="*/ 0 h 31991"/>
                <a:gd name="connsiteX1" fmla="*/ 0 w 4725"/>
                <a:gd name="connsiteY1" fmla="*/ 31992 h 319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725" h="31991">
                  <a:moveTo>
                    <a:pt x="0" y="0"/>
                  </a:moveTo>
                  <a:lnTo>
                    <a:pt x="0" y="31992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03" name="Forma livre: Forma 1102">
              <a:extLst>
                <a:ext uri="{FF2B5EF4-FFF2-40B4-BE49-F238E27FC236}">
                  <a16:creationId xmlns:a16="http://schemas.microsoft.com/office/drawing/2014/main" id="{73F3AB54-EA2C-9C02-AB19-A8685B3BEDA4}"/>
                </a:ext>
              </a:extLst>
            </p:cNvPr>
            <p:cNvSpPr/>
            <p:nvPr/>
          </p:nvSpPr>
          <p:spPr>
            <a:xfrm>
              <a:off x="850357" y="5798091"/>
              <a:ext cx="68567" cy="68519"/>
            </a:xfrm>
            <a:custGeom>
              <a:avLst/>
              <a:gdLst>
                <a:gd name="connsiteX0" fmla="*/ 68567 w 68567"/>
                <a:gd name="connsiteY0" fmla="*/ 34260 h 68519"/>
                <a:gd name="connsiteX1" fmla="*/ 34307 w 68567"/>
                <a:gd name="connsiteY1" fmla="*/ 68520 h 68519"/>
                <a:gd name="connsiteX2" fmla="*/ 0 w 68567"/>
                <a:gd name="connsiteY2" fmla="*/ 34260 h 68519"/>
                <a:gd name="connsiteX3" fmla="*/ 34307 w 68567"/>
                <a:gd name="connsiteY3" fmla="*/ 0 h 68519"/>
                <a:gd name="connsiteX4" fmla="*/ 68567 w 68567"/>
                <a:gd name="connsiteY4" fmla="*/ 34260 h 685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8567" h="68519">
                  <a:moveTo>
                    <a:pt x="68567" y="34260"/>
                  </a:moveTo>
                  <a:cubicBezTo>
                    <a:pt x="68567" y="53209"/>
                    <a:pt x="53209" y="68520"/>
                    <a:pt x="34307" y="68520"/>
                  </a:cubicBezTo>
                  <a:cubicBezTo>
                    <a:pt x="15405" y="68520"/>
                    <a:pt x="0" y="53162"/>
                    <a:pt x="0" y="34260"/>
                  </a:cubicBezTo>
                  <a:cubicBezTo>
                    <a:pt x="0" y="15358"/>
                    <a:pt x="15358" y="0"/>
                    <a:pt x="34307" y="0"/>
                  </a:cubicBezTo>
                  <a:cubicBezTo>
                    <a:pt x="53257" y="0"/>
                    <a:pt x="68567" y="15358"/>
                    <a:pt x="68567" y="34260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04" name="Forma livre: Forma 1103">
              <a:extLst>
                <a:ext uri="{FF2B5EF4-FFF2-40B4-BE49-F238E27FC236}">
                  <a16:creationId xmlns:a16="http://schemas.microsoft.com/office/drawing/2014/main" id="{81DD1E6C-1FA0-4C3F-6F38-B9D2D4FAF286}"/>
                </a:ext>
              </a:extLst>
            </p:cNvPr>
            <p:cNvSpPr/>
            <p:nvPr/>
          </p:nvSpPr>
          <p:spPr>
            <a:xfrm>
              <a:off x="1000628" y="5766241"/>
              <a:ext cx="75891" cy="250404"/>
            </a:xfrm>
            <a:custGeom>
              <a:avLst/>
              <a:gdLst>
                <a:gd name="connsiteX0" fmla="*/ 0 w 75891"/>
                <a:gd name="connsiteY0" fmla="*/ 0 h 250404"/>
                <a:gd name="connsiteX1" fmla="*/ 75892 w 75891"/>
                <a:gd name="connsiteY1" fmla="*/ 0 h 250404"/>
                <a:gd name="connsiteX2" fmla="*/ 75892 w 75891"/>
                <a:gd name="connsiteY2" fmla="*/ 250405 h 250404"/>
                <a:gd name="connsiteX3" fmla="*/ 0 w 75891"/>
                <a:gd name="connsiteY3" fmla="*/ 250405 h 2504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5891" h="250404">
                  <a:moveTo>
                    <a:pt x="0" y="0"/>
                  </a:moveTo>
                  <a:lnTo>
                    <a:pt x="75892" y="0"/>
                  </a:lnTo>
                  <a:lnTo>
                    <a:pt x="75892" y="250405"/>
                  </a:lnTo>
                  <a:lnTo>
                    <a:pt x="0" y="250405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05" name="Forma livre: Forma 1104">
              <a:extLst>
                <a:ext uri="{FF2B5EF4-FFF2-40B4-BE49-F238E27FC236}">
                  <a16:creationId xmlns:a16="http://schemas.microsoft.com/office/drawing/2014/main" id="{84BA9150-A2A7-AF6B-3844-C1FC49BF9FD5}"/>
                </a:ext>
              </a:extLst>
            </p:cNvPr>
            <p:cNvSpPr/>
            <p:nvPr/>
          </p:nvSpPr>
          <p:spPr>
            <a:xfrm>
              <a:off x="870204" y="5765343"/>
              <a:ext cx="28920" cy="35157"/>
            </a:xfrm>
            <a:custGeom>
              <a:avLst/>
              <a:gdLst>
                <a:gd name="connsiteX0" fmla="*/ 0 w 28920"/>
                <a:gd name="connsiteY0" fmla="*/ 35158 h 35157"/>
                <a:gd name="connsiteX1" fmla="*/ 0 w 28920"/>
                <a:gd name="connsiteY1" fmla="*/ 0 h 35157"/>
                <a:gd name="connsiteX2" fmla="*/ 28920 w 28920"/>
                <a:gd name="connsiteY2" fmla="*/ 0 h 35157"/>
                <a:gd name="connsiteX3" fmla="*/ 28920 w 28920"/>
                <a:gd name="connsiteY3" fmla="*/ 35158 h 351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8920" h="35157">
                  <a:moveTo>
                    <a:pt x="0" y="35158"/>
                  </a:moveTo>
                  <a:lnTo>
                    <a:pt x="0" y="0"/>
                  </a:lnTo>
                  <a:lnTo>
                    <a:pt x="28920" y="0"/>
                  </a:lnTo>
                  <a:lnTo>
                    <a:pt x="28920" y="35158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106" name="Gráfico 13">
              <a:extLst>
                <a:ext uri="{FF2B5EF4-FFF2-40B4-BE49-F238E27FC236}">
                  <a16:creationId xmlns:a16="http://schemas.microsoft.com/office/drawing/2014/main" id="{0DFCDDF6-7A82-9E58-A7DE-A52163723D65}"/>
                </a:ext>
              </a:extLst>
            </p:cNvPr>
            <p:cNvGrpSpPr/>
            <p:nvPr/>
          </p:nvGrpSpPr>
          <p:grpSpPr>
            <a:xfrm>
              <a:off x="1001951" y="5797571"/>
              <a:ext cx="42198" cy="187744"/>
              <a:chOff x="1001951" y="5797571"/>
              <a:chExt cx="42198" cy="187744"/>
            </a:xfrm>
          </p:grpSpPr>
          <p:sp>
            <p:nvSpPr>
              <p:cNvPr id="1107" name="Forma livre: Forma 1106">
                <a:extLst>
                  <a:ext uri="{FF2B5EF4-FFF2-40B4-BE49-F238E27FC236}">
                    <a16:creationId xmlns:a16="http://schemas.microsoft.com/office/drawing/2014/main" id="{F7F5210B-3849-2062-5864-137DDBA15ABF}"/>
                  </a:ext>
                </a:extLst>
              </p:cNvPr>
              <p:cNvSpPr/>
              <p:nvPr/>
            </p:nvSpPr>
            <p:spPr>
              <a:xfrm>
                <a:off x="1001951" y="5797571"/>
                <a:ext cx="25375" cy="4725"/>
              </a:xfrm>
              <a:custGeom>
                <a:avLst/>
                <a:gdLst>
                  <a:gd name="connsiteX0" fmla="*/ 0 w 25375"/>
                  <a:gd name="connsiteY0" fmla="*/ 0 h 4725"/>
                  <a:gd name="connsiteX1" fmla="*/ 25376 w 25375"/>
                  <a:gd name="connsiteY1" fmla="*/ 0 h 47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5375" h="4725">
                    <a:moveTo>
                      <a:pt x="0" y="0"/>
                    </a:moveTo>
                    <a:lnTo>
                      <a:pt x="25376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108" name="Forma livre: Forma 1107">
                <a:extLst>
                  <a:ext uri="{FF2B5EF4-FFF2-40B4-BE49-F238E27FC236}">
                    <a16:creationId xmlns:a16="http://schemas.microsoft.com/office/drawing/2014/main" id="{D6767A7A-58C4-FC1B-2E27-5C5BD56904C4}"/>
                  </a:ext>
                </a:extLst>
              </p:cNvPr>
              <p:cNvSpPr/>
              <p:nvPr/>
            </p:nvSpPr>
            <p:spPr>
              <a:xfrm>
                <a:off x="1001951" y="5828854"/>
                <a:ext cx="42198" cy="4725"/>
              </a:xfrm>
              <a:custGeom>
                <a:avLst/>
                <a:gdLst>
                  <a:gd name="connsiteX0" fmla="*/ 0 w 42198"/>
                  <a:gd name="connsiteY0" fmla="*/ 0 h 4725"/>
                  <a:gd name="connsiteX1" fmla="*/ 42199 w 42198"/>
                  <a:gd name="connsiteY1" fmla="*/ 0 h 47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2198" h="4725">
                    <a:moveTo>
                      <a:pt x="0" y="0"/>
                    </a:moveTo>
                    <a:lnTo>
                      <a:pt x="42199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109" name="Forma livre: Forma 1108">
                <a:extLst>
                  <a:ext uri="{FF2B5EF4-FFF2-40B4-BE49-F238E27FC236}">
                    <a16:creationId xmlns:a16="http://schemas.microsoft.com/office/drawing/2014/main" id="{9D2E9361-3AFF-8AFE-E4B4-6985FAE42B74}"/>
                  </a:ext>
                </a:extLst>
              </p:cNvPr>
              <p:cNvSpPr/>
              <p:nvPr/>
            </p:nvSpPr>
            <p:spPr>
              <a:xfrm>
                <a:off x="1001951" y="5891420"/>
                <a:ext cx="42198" cy="4725"/>
              </a:xfrm>
              <a:custGeom>
                <a:avLst/>
                <a:gdLst>
                  <a:gd name="connsiteX0" fmla="*/ 0 w 42198"/>
                  <a:gd name="connsiteY0" fmla="*/ 0 h 4725"/>
                  <a:gd name="connsiteX1" fmla="*/ 42199 w 42198"/>
                  <a:gd name="connsiteY1" fmla="*/ 0 h 47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2198" h="4725">
                    <a:moveTo>
                      <a:pt x="0" y="0"/>
                    </a:moveTo>
                    <a:lnTo>
                      <a:pt x="42199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110" name="Forma livre: Forma 1109">
                <a:extLst>
                  <a:ext uri="{FF2B5EF4-FFF2-40B4-BE49-F238E27FC236}">
                    <a16:creationId xmlns:a16="http://schemas.microsoft.com/office/drawing/2014/main" id="{0F5C62F8-1E43-CD57-A5C6-3CA9B6C846F5}"/>
                  </a:ext>
                </a:extLst>
              </p:cNvPr>
              <p:cNvSpPr/>
              <p:nvPr/>
            </p:nvSpPr>
            <p:spPr>
              <a:xfrm>
                <a:off x="1001951" y="5860137"/>
                <a:ext cx="25375" cy="4725"/>
              </a:xfrm>
              <a:custGeom>
                <a:avLst/>
                <a:gdLst>
                  <a:gd name="connsiteX0" fmla="*/ 0 w 25375"/>
                  <a:gd name="connsiteY0" fmla="*/ 0 h 4725"/>
                  <a:gd name="connsiteX1" fmla="*/ 25376 w 25375"/>
                  <a:gd name="connsiteY1" fmla="*/ 0 h 47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5375" h="4725">
                    <a:moveTo>
                      <a:pt x="0" y="0"/>
                    </a:moveTo>
                    <a:lnTo>
                      <a:pt x="25376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111" name="Forma livre: Forma 1110">
                <a:extLst>
                  <a:ext uri="{FF2B5EF4-FFF2-40B4-BE49-F238E27FC236}">
                    <a16:creationId xmlns:a16="http://schemas.microsoft.com/office/drawing/2014/main" id="{48F74099-81DA-7D35-0C74-FB9A41371AC9}"/>
                  </a:ext>
                </a:extLst>
              </p:cNvPr>
              <p:cNvSpPr/>
              <p:nvPr/>
            </p:nvSpPr>
            <p:spPr>
              <a:xfrm>
                <a:off x="1001951" y="5922702"/>
                <a:ext cx="25375" cy="4725"/>
              </a:xfrm>
              <a:custGeom>
                <a:avLst/>
                <a:gdLst>
                  <a:gd name="connsiteX0" fmla="*/ 0 w 25375"/>
                  <a:gd name="connsiteY0" fmla="*/ 0 h 4725"/>
                  <a:gd name="connsiteX1" fmla="*/ 25376 w 25375"/>
                  <a:gd name="connsiteY1" fmla="*/ 0 h 47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5375" h="4725">
                    <a:moveTo>
                      <a:pt x="0" y="0"/>
                    </a:moveTo>
                    <a:lnTo>
                      <a:pt x="25376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112" name="Forma livre: Forma 1111">
                <a:extLst>
                  <a:ext uri="{FF2B5EF4-FFF2-40B4-BE49-F238E27FC236}">
                    <a16:creationId xmlns:a16="http://schemas.microsoft.com/office/drawing/2014/main" id="{71D33D6B-6792-3A56-6612-8F6EF96E82DD}"/>
                  </a:ext>
                </a:extLst>
              </p:cNvPr>
              <p:cNvSpPr/>
              <p:nvPr/>
            </p:nvSpPr>
            <p:spPr>
              <a:xfrm>
                <a:off x="1001951" y="5985315"/>
                <a:ext cx="25375" cy="4725"/>
              </a:xfrm>
              <a:custGeom>
                <a:avLst/>
                <a:gdLst>
                  <a:gd name="connsiteX0" fmla="*/ 0 w 25375"/>
                  <a:gd name="connsiteY0" fmla="*/ 0 h 4725"/>
                  <a:gd name="connsiteX1" fmla="*/ 25376 w 25375"/>
                  <a:gd name="connsiteY1" fmla="*/ 0 h 47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5375" h="4725">
                    <a:moveTo>
                      <a:pt x="0" y="0"/>
                    </a:moveTo>
                    <a:lnTo>
                      <a:pt x="25376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113" name="Forma livre: Forma 1112">
                <a:extLst>
                  <a:ext uri="{FF2B5EF4-FFF2-40B4-BE49-F238E27FC236}">
                    <a16:creationId xmlns:a16="http://schemas.microsoft.com/office/drawing/2014/main" id="{1F99FB85-4ABE-A165-C8F1-43E1D8EDFBF6}"/>
                  </a:ext>
                </a:extLst>
              </p:cNvPr>
              <p:cNvSpPr/>
              <p:nvPr/>
            </p:nvSpPr>
            <p:spPr>
              <a:xfrm>
                <a:off x="1001951" y="5953985"/>
                <a:ext cx="42198" cy="4725"/>
              </a:xfrm>
              <a:custGeom>
                <a:avLst/>
                <a:gdLst>
                  <a:gd name="connsiteX0" fmla="*/ 0 w 42198"/>
                  <a:gd name="connsiteY0" fmla="*/ 0 h 4725"/>
                  <a:gd name="connsiteX1" fmla="*/ 42199 w 42198"/>
                  <a:gd name="connsiteY1" fmla="*/ 0 h 47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2198" h="4725">
                    <a:moveTo>
                      <a:pt x="0" y="0"/>
                    </a:moveTo>
                    <a:lnTo>
                      <a:pt x="42199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114" name="Forma livre: Forma 1113">
              <a:extLst>
                <a:ext uri="{FF2B5EF4-FFF2-40B4-BE49-F238E27FC236}">
                  <a16:creationId xmlns:a16="http://schemas.microsoft.com/office/drawing/2014/main" id="{CE262FC0-1A17-333C-1C15-02AD8502FC5D}"/>
                </a:ext>
              </a:extLst>
            </p:cNvPr>
            <p:cNvSpPr/>
            <p:nvPr/>
          </p:nvSpPr>
          <p:spPr>
            <a:xfrm>
              <a:off x="880978" y="5828665"/>
              <a:ext cx="7371" cy="7371"/>
            </a:xfrm>
            <a:custGeom>
              <a:avLst/>
              <a:gdLst>
                <a:gd name="connsiteX0" fmla="*/ 7372 w 7371"/>
                <a:gd name="connsiteY0" fmla="*/ 3686 h 7371"/>
                <a:gd name="connsiteX1" fmla="*/ 3686 w 7371"/>
                <a:gd name="connsiteY1" fmla="*/ 7372 h 7371"/>
                <a:gd name="connsiteX2" fmla="*/ 0 w 7371"/>
                <a:gd name="connsiteY2" fmla="*/ 3686 h 7371"/>
                <a:gd name="connsiteX3" fmla="*/ 3686 w 7371"/>
                <a:gd name="connsiteY3" fmla="*/ 0 h 7371"/>
                <a:gd name="connsiteX4" fmla="*/ 7372 w 7371"/>
                <a:gd name="connsiteY4" fmla="*/ 3686 h 73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371" h="7371">
                  <a:moveTo>
                    <a:pt x="7372" y="3686"/>
                  </a:moveTo>
                  <a:cubicBezTo>
                    <a:pt x="7372" y="5718"/>
                    <a:pt x="5718" y="7372"/>
                    <a:pt x="3686" y="7372"/>
                  </a:cubicBezTo>
                  <a:cubicBezTo>
                    <a:pt x="1654" y="7372"/>
                    <a:pt x="0" y="5718"/>
                    <a:pt x="0" y="3686"/>
                  </a:cubicBezTo>
                  <a:cubicBezTo>
                    <a:pt x="0" y="1654"/>
                    <a:pt x="1654" y="0"/>
                    <a:pt x="3686" y="0"/>
                  </a:cubicBezTo>
                  <a:cubicBezTo>
                    <a:pt x="5718" y="0"/>
                    <a:pt x="7372" y="1654"/>
                    <a:pt x="7372" y="3686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115" name="Gráfico 13">
              <a:extLst>
                <a:ext uri="{FF2B5EF4-FFF2-40B4-BE49-F238E27FC236}">
                  <a16:creationId xmlns:a16="http://schemas.microsoft.com/office/drawing/2014/main" id="{3271EA22-3592-6264-6B03-4E1F3896E59C}"/>
                </a:ext>
              </a:extLst>
            </p:cNvPr>
            <p:cNvGrpSpPr/>
            <p:nvPr/>
          </p:nvGrpSpPr>
          <p:grpSpPr>
            <a:xfrm>
              <a:off x="801117" y="5861602"/>
              <a:ext cx="167046" cy="156556"/>
              <a:chOff x="801117" y="5861602"/>
              <a:chExt cx="167046" cy="156556"/>
            </a:xfrm>
          </p:grpSpPr>
          <p:grpSp>
            <p:nvGrpSpPr>
              <p:cNvPr id="1116" name="Gráfico 13">
                <a:extLst>
                  <a:ext uri="{FF2B5EF4-FFF2-40B4-BE49-F238E27FC236}">
                    <a16:creationId xmlns:a16="http://schemas.microsoft.com/office/drawing/2014/main" id="{9784B9BE-659B-AC7D-BAF9-F74BA9C829D9}"/>
                  </a:ext>
                </a:extLst>
              </p:cNvPr>
              <p:cNvGrpSpPr/>
              <p:nvPr/>
            </p:nvGrpSpPr>
            <p:grpSpPr>
              <a:xfrm>
                <a:off x="903850" y="5861602"/>
                <a:ext cx="64314" cy="156556"/>
                <a:chOff x="903850" y="5861602"/>
                <a:chExt cx="64314" cy="156556"/>
              </a:xfrm>
            </p:grpSpPr>
            <p:sp>
              <p:nvSpPr>
                <p:cNvPr id="1117" name="Forma livre: Forma 1116">
                  <a:extLst>
                    <a:ext uri="{FF2B5EF4-FFF2-40B4-BE49-F238E27FC236}">
                      <a16:creationId xmlns:a16="http://schemas.microsoft.com/office/drawing/2014/main" id="{67B62CA2-B9F3-8CE4-7D8C-08A05A5E0CBD}"/>
                    </a:ext>
                  </a:extLst>
                </p:cNvPr>
                <p:cNvSpPr/>
                <p:nvPr/>
              </p:nvSpPr>
              <p:spPr>
                <a:xfrm>
                  <a:off x="937495" y="5943495"/>
                  <a:ext cx="30668" cy="74663"/>
                </a:xfrm>
                <a:custGeom>
                  <a:avLst/>
                  <a:gdLst>
                    <a:gd name="connsiteX0" fmla="*/ 0 w 30668"/>
                    <a:gd name="connsiteY0" fmla="*/ 0 h 74663"/>
                    <a:gd name="connsiteX1" fmla="*/ 30669 w 30668"/>
                    <a:gd name="connsiteY1" fmla="*/ 74663 h 7466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30668" h="74663">
                      <a:moveTo>
                        <a:pt x="0" y="0"/>
                      </a:moveTo>
                      <a:lnTo>
                        <a:pt x="30669" y="74663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118" name="Forma livre: Forma 1117">
                  <a:extLst>
                    <a:ext uri="{FF2B5EF4-FFF2-40B4-BE49-F238E27FC236}">
                      <a16:creationId xmlns:a16="http://schemas.microsoft.com/office/drawing/2014/main" id="{F3E6284F-85CC-857E-EF27-BC6850956AD3}"/>
                    </a:ext>
                  </a:extLst>
                </p:cNvPr>
                <p:cNvSpPr/>
                <p:nvPr/>
              </p:nvSpPr>
              <p:spPr>
                <a:xfrm>
                  <a:off x="903850" y="5861602"/>
                  <a:ext cx="24147" cy="58879"/>
                </a:xfrm>
                <a:custGeom>
                  <a:avLst/>
                  <a:gdLst>
                    <a:gd name="connsiteX0" fmla="*/ 0 w 24147"/>
                    <a:gd name="connsiteY0" fmla="*/ 0 h 58879"/>
                    <a:gd name="connsiteX1" fmla="*/ 24147 w 24147"/>
                    <a:gd name="connsiteY1" fmla="*/ 58880 h 5887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4147" h="58879">
                      <a:moveTo>
                        <a:pt x="0" y="0"/>
                      </a:moveTo>
                      <a:lnTo>
                        <a:pt x="24147" y="5888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1119" name="Gráfico 13">
                <a:extLst>
                  <a:ext uri="{FF2B5EF4-FFF2-40B4-BE49-F238E27FC236}">
                    <a16:creationId xmlns:a16="http://schemas.microsoft.com/office/drawing/2014/main" id="{F4CC9594-3DC8-2D9A-5FB0-E609AD6D2DD9}"/>
                  </a:ext>
                </a:extLst>
              </p:cNvPr>
              <p:cNvGrpSpPr/>
              <p:nvPr/>
            </p:nvGrpSpPr>
            <p:grpSpPr>
              <a:xfrm>
                <a:off x="801117" y="5861602"/>
                <a:ext cx="64361" cy="156556"/>
                <a:chOff x="801117" y="5861602"/>
                <a:chExt cx="64361" cy="156556"/>
              </a:xfrm>
            </p:grpSpPr>
            <p:sp>
              <p:nvSpPr>
                <p:cNvPr id="1120" name="Forma livre: Forma 1119">
                  <a:extLst>
                    <a:ext uri="{FF2B5EF4-FFF2-40B4-BE49-F238E27FC236}">
                      <a16:creationId xmlns:a16="http://schemas.microsoft.com/office/drawing/2014/main" id="{C535E904-7863-0B18-8452-BA668CADD0A9}"/>
                    </a:ext>
                  </a:extLst>
                </p:cNvPr>
                <p:cNvSpPr/>
                <p:nvPr/>
              </p:nvSpPr>
              <p:spPr>
                <a:xfrm>
                  <a:off x="801117" y="5943495"/>
                  <a:ext cx="30715" cy="74663"/>
                </a:xfrm>
                <a:custGeom>
                  <a:avLst/>
                  <a:gdLst>
                    <a:gd name="connsiteX0" fmla="*/ 30716 w 30715"/>
                    <a:gd name="connsiteY0" fmla="*/ 0 h 74663"/>
                    <a:gd name="connsiteX1" fmla="*/ 0 w 30715"/>
                    <a:gd name="connsiteY1" fmla="*/ 74663 h 7466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30715" h="74663">
                      <a:moveTo>
                        <a:pt x="30716" y="0"/>
                      </a:moveTo>
                      <a:lnTo>
                        <a:pt x="0" y="74663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121" name="Forma livre: Forma 1120">
                  <a:extLst>
                    <a:ext uri="{FF2B5EF4-FFF2-40B4-BE49-F238E27FC236}">
                      <a16:creationId xmlns:a16="http://schemas.microsoft.com/office/drawing/2014/main" id="{CA6F2CBB-A865-1661-7007-07D40F109091}"/>
                    </a:ext>
                  </a:extLst>
                </p:cNvPr>
                <p:cNvSpPr/>
                <p:nvPr/>
              </p:nvSpPr>
              <p:spPr>
                <a:xfrm>
                  <a:off x="841284" y="5861602"/>
                  <a:ext cx="24194" cy="58879"/>
                </a:xfrm>
                <a:custGeom>
                  <a:avLst/>
                  <a:gdLst>
                    <a:gd name="connsiteX0" fmla="*/ 24195 w 24194"/>
                    <a:gd name="connsiteY0" fmla="*/ 0 h 58879"/>
                    <a:gd name="connsiteX1" fmla="*/ 0 w 24194"/>
                    <a:gd name="connsiteY1" fmla="*/ 58880 h 5887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4194" h="58879">
                      <a:moveTo>
                        <a:pt x="24195" y="0"/>
                      </a:moveTo>
                      <a:lnTo>
                        <a:pt x="0" y="5888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</p:grpSp>
      <p:grpSp>
        <p:nvGrpSpPr>
          <p:cNvPr id="1122" name="Gráfico 13">
            <a:extLst>
              <a:ext uri="{FF2B5EF4-FFF2-40B4-BE49-F238E27FC236}">
                <a16:creationId xmlns:a16="http://schemas.microsoft.com/office/drawing/2014/main" id="{7212277E-1840-680C-9BEB-C1E63FA993E9}"/>
              </a:ext>
            </a:extLst>
          </p:cNvPr>
          <p:cNvGrpSpPr/>
          <p:nvPr/>
        </p:nvGrpSpPr>
        <p:grpSpPr>
          <a:xfrm>
            <a:off x="2045731" y="5719857"/>
            <a:ext cx="250349" cy="334120"/>
            <a:chOff x="2045731" y="5719857"/>
            <a:chExt cx="250349" cy="334120"/>
          </a:xfrm>
        </p:grpSpPr>
        <p:sp>
          <p:nvSpPr>
            <p:cNvPr id="1123" name="Forma livre: Forma 1122">
              <a:extLst>
                <a:ext uri="{FF2B5EF4-FFF2-40B4-BE49-F238E27FC236}">
                  <a16:creationId xmlns:a16="http://schemas.microsoft.com/office/drawing/2014/main" id="{E202872D-4BC8-EA49-E8D6-DD1842FE5CA4}"/>
                </a:ext>
              </a:extLst>
            </p:cNvPr>
            <p:cNvSpPr/>
            <p:nvPr/>
          </p:nvSpPr>
          <p:spPr>
            <a:xfrm>
              <a:off x="2045731" y="5805935"/>
              <a:ext cx="217593" cy="248041"/>
            </a:xfrm>
            <a:custGeom>
              <a:avLst/>
              <a:gdLst>
                <a:gd name="connsiteX0" fmla="*/ 82357 w 217593"/>
                <a:gd name="connsiteY0" fmla="*/ 0 h 248041"/>
                <a:gd name="connsiteX1" fmla="*/ 82357 w 217593"/>
                <a:gd name="connsiteY1" fmla="*/ 95975 h 248041"/>
                <a:gd name="connsiteX2" fmla="*/ 5001 w 217593"/>
                <a:gd name="connsiteY2" fmla="*/ 214396 h 248041"/>
                <a:gd name="connsiteX3" fmla="*/ 29621 w 217593"/>
                <a:gd name="connsiteY3" fmla="*/ 248042 h 248041"/>
                <a:gd name="connsiteX4" fmla="*/ 187973 w 217593"/>
                <a:gd name="connsiteY4" fmla="*/ 248042 h 248041"/>
                <a:gd name="connsiteX5" fmla="*/ 212593 w 217593"/>
                <a:gd name="connsiteY5" fmla="*/ 214396 h 248041"/>
                <a:gd name="connsiteX6" fmla="*/ 135236 w 217593"/>
                <a:gd name="connsiteY6" fmla="*/ 95975 h 248041"/>
                <a:gd name="connsiteX7" fmla="*/ 135236 w 217593"/>
                <a:gd name="connsiteY7" fmla="*/ 1040 h 2480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17593" h="248041">
                  <a:moveTo>
                    <a:pt x="82357" y="0"/>
                  </a:moveTo>
                  <a:lnTo>
                    <a:pt x="82357" y="95975"/>
                  </a:lnTo>
                  <a:cubicBezTo>
                    <a:pt x="82357" y="95975"/>
                    <a:pt x="17996" y="194549"/>
                    <a:pt x="5001" y="214396"/>
                  </a:cubicBezTo>
                  <a:cubicBezTo>
                    <a:pt x="-7191" y="233062"/>
                    <a:pt x="3631" y="248042"/>
                    <a:pt x="29621" y="248042"/>
                  </a:cubicBezTo>
                  <a:lnTo>
                    <a:pt x="187973" y="248042"/>
                  </a:lnTo>
                  <a:cubicBezTo>
                    <a:pt x="213963" y="248042"/>
                    <a:pt x="224784" y="233062"/>
                    <a:pt x="212593" y="214396"/>
                  </a:cubicBezTo>
                  <a:cubicBezTo>
                    <a:pt x="199598" y="194549"/>
                    <a:pt x="135236" y="95975"/>
                    <a:pt x="135236" y="95975"/>
                  </a:cubicBezTo>
                  <a:lnTo>
                    <a:pt x="135236" y="104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24" name="Forma livre: Forma 1123">
              <a:extLst>
                <a:ext uri="{FF2B5EF4-FFF2-40B4-BE49-F238E27FC236}">
                  <a16:creationId xmlns:a16="http://schemas.microsoft.com/office/drawing/2014/main" id="{BBDC498B-5A82-99F8-D5F1-2F5CCBBCC08A}"/>
                </a:ext>
              </a:extLst>
            </p:cNvPr>
            <p:cNvSpPr/>
            <p:nvPr/>
          </p:nvSpPr>
          <p:spPr>
            <a:xfrm>
              <a:off x="2112069" y="5783867"/>
              <a:ext cx="84681" cy="22965"/>
            </a:xfrm>
            <a:custGeom>
              <a:avLst/>
              <a:gdLst>
                <a:gd name="connsiteX0" fmla="*/ 68898 w 84681"/>
                <a:gd name="connsiteY0" fmla="*/ 22966 h 22965"/>
                <a:gd name="connsiteX1" fmla="*/ 84681 w 84681"/>
                <a:gd name="connsiteY1" fmla="*/ 0 h 22965"/>
                <a:gd name="connsiteX2" fmla="*/ 0 w 84681"/>
                <a:gd name="connsiteY2" fmla="*/ 0 h 229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84681" h="22965">
                  <a:moveTo>
                    <a:pt x="68898" y="22966"/>
                  </a:moveTo>
                  <a:lnTo>
                    <a:pt x="84681" y="0"/>
                  </a:lnTo>
                  <a:lnTo>
                    <a:pt x="0" y="0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25" name="Forma livre: Forma 1124">
              <a:extLst>
                <a:ext uri="{FF2B5EF4-FFF2-40B4-BE49-F238E27FC236}">
                  <a16:creationId xmlns:a16="http://schemas.microsoft.com/office/drawing/2014/main" id="{6F9CCE2D-C01A-CB3A-B828-4E25AE5393B4}"/>
                </a:ext>
              </a:extLst>
            </p:cNvPr>
            <p:cNvSpPr/>
            <p:nvPr/>
          </p:nvSpPr>
          <p:spPr>
            <a:xfrm>
              <a:off x="2124633" y="5719857"/>
              <a:ext cx="88561" cy="63348"/>
            </a:xfrm>
            <a:custGeom>
              <a:avLst/>
              <a:gdLst>
                <a:gd name="connsiteX0" fmla="*/ 88562 w 88561"/>
                <a:gd name="connsiteY0" fmla="*/ 22709 h 63348"/>
                <a:gd name="connsiteX1" fmla="*/ 51324 w 88561"/>
                <a:gd name="connsiteY1" fmla="*/ 263 h 63348"/>
                <a:gd name="connsiteX2" fmla="*/ 998 w 88561"/>
                <a:gd name="connsiteY2" fmla="*/ 49692 h 63348"/>
                <a:gd name="connsiteX3" fmla="*/ 5487 w 88561"/>
                <a:gd name="connsiteY3" fmla="*/ 63349 h 633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8561" h="63348">
                  <a:moveTo>
                    <a:pt x="88562" y="22709"/>
                  </a:moveTo>
                  <a:cubicBezTo>
                    <a:pt x="79583" y="12360"/>
                    <a:pt x="66919" y="2012"/>
                    <a:pt x="51324" y="263"/>
                  </a:cubicBezTo>
                  <a:cubicBezTo>
                    <a:pt x="26043" y="-2572"/>
                    <a:pt x="-6090" y="17747"/>
                    <a:pt x="998" y="49692"/>
                  </a:cubicBezTo>
                  <a:lnTo>
                    <a:pt x="5487" y="63349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26" name="Forma livre: Forma 1125">
              <a:extLst>
                <a:ext uri="{FF2B5EF4-FFF2-40B4-BE49-F238E27FC236}">
                  <a16:creationId xmlns:a16="http://schemas.microsoft.com/office/drawing/2014/main" id="{A09440A2-2BB2-6A2B-12ED-0280C5E31540}"/>
                </a:ext>
              </a:extLst>
            </p:cNvPr>
            <p:cNvSpPr/>
            <p:nvPr/>
          </p:nvSpPr>
          <p:spPr>
            <a:xfrm>
              <a:off x="2203129" y="5738360"/>
              <a:ext cx="92950" cy="157784"/>
            </a:xfrm>
            <a:custGeom>
              <a:avLst/>
              <a:gdLst>
                <a:gd name="connsiteX0" fmla="*/ 0 w 92950"/>
                <a:gd name="connsiteY0" fmla="*/ 16917 h 157784"/>
                <a:gd name="connsiteX1" fmla="*/ 30291 w 92950"/>
                <a:gd name="connsiteY1" fmla="*/ 0 h 157784"/>
                <a:gd name="connsiteX2" fmla="*/ 65874 w 92950"/>
                <a:gd name="connsiteY2" fmla="*/ 35583 h 157784"/>
                <a:gd name="connsiteX3" fmla="*/ 58407 w 92950"/>
                <a:gd name="connsiteY3" fmla="*/ 57415 h 157784"/>
                <a:gd name="connsiteX4" fmla="*/ 58218 w 92950"/>
                <a:gd name="connsiteY4" fmla="*/ 57982 h 157784"/>
                <a:gd name="connsiteX5" fmla="*/ 92951 w 92950"/>
                <a:gd name="connsiteY5" fmla="*/ 106371 h 157784"/>
                <a:gd name="connsiteX6" fmla="*/ 46877 w 92950"/>
                <a:gd name="connsiteY6" fmla="*/ 157785 h 1577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92950" h="157784">
                  <a:moveTo>
                    <a:pt x="0" y="16917"/>
                  </a:moveTo>
                  <a:cubicBezTo>
                    <a:pt x="6238" y="6757"/>
                    <a:pt x="17484" y="0"/>
                    <a:pt x="30291" y="0"/>
                  </a:cubicBezTo>
                  <a:cubicBezTo>
                    <a:pt x="49949" y="0"/>
                    <a:pt x="65874" y="15925"/>
                    <a:pt x="65874" y="35583"/>
                  </a:cubicBezTo>
                  <a:cubicBezTo>
                    <a:pt x="65874" y="43806"/>
                    <a:pt x="63086" y="51366"/>
                    <a:pt x="58407" y="57415"/>
                  </a:cubicBezTo>
                  <a:lnTo>
                    <a:pt x="58218" y="57982"/>
                  </a:lnTo>
                  <a:cubicBezTo>
                    <a:pt x="78444" y="64787"/>
                    <a:pt x="92951" y="83878"/>
                    <a:pt x="92951" y="106371"/>
                  </a:cubicBezTo>
                  <a:cubicBezTo>
                    <a:pt x="92951" y="131653"/>
                    <a:pt x="71686" y="154666"/>
                    <a:pt x="46877" y="157785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27" name="Forma livre: Forma 1126">
              <a:extLst>
                <a:ext uri="{FF2B5EF4-FFF2-40B4-BE49-F238E27FC236}">
                  <a16:creationId xmlns:a16="http://schemas.microsoft.com/office/drawing/2014/main" id="{A33669B6-8DC7-AF80-6938-C3C5BBADCE16}"/>
                </a:ext>
              </a:extLst>
            </p:cNvPr>
            <p:cNvSpPr/>
            <p:nvPr/>
          </p:nvSpPr>
          <p:spPr>
            <a:xfrm>
              <a:off x="2216644" y="5810011"/>
              <a:ext cx="30138" cy="37319"/>
            </a:xfrm>
            <a:custGeom>
              <a:avLst/>
              <a:gdLst>
                <a:gd name="connsiteX0" fmla="*/ 0 w 30138"/>
                <a:gd name="connsiteY0" fmla="*/ 1217 h 37319"/>
                <a:gd name="connsiteX1" fmla="*/ 21879 w 30138"/>
                <a:gd name="connsiteY1" fmla="*/ 5233 h 37319"/>
                <a:gd name="connsiteX2" fmla="*/ 24903 w 30138"/>
                <a:gd name="connsiteY2" fmla="*/ 37320 h 373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0138" h="37319">
                  <a:moveTo>
                    <a:pt x="0" y="1217"/>
                  </a:moveTo>
                  <a:cubicBezTo>
                    <a:pt x="7230" y="-1241"/>
                    <a:pt x="15547" y="-12"/>
                    <a:pt x="21879" y="5233"/>
                  </a:cubicBezTo>
                  <a:cubicBezTo>
                    <a:pt x="31566" y="13267"/>
                    <a:pt x="32937" y="27632"/>
                    <a:pt x="24903" y="3732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28" name="Forma livre: Forma 1127">
              <a:extLst>
                <a:ext uri="{FF2B5EF4-FFF2-40B4-BE49-F238E27FC236}">
                  <a16:creationId xmlns:a16="http://schemas.microsoft.com/office/drawing/2014/main" id="{6C73A6C9-5A0E-548A-1A27-0FB9C3578D8E}"/>
                </a:ext>
              </a:extLst>
            </p:cNvPr>
            <p:cNvSpPr/>
            <p:nvPr/>
          </p:nvSpPr>
          <p:spPr>
            <a:xfrm>
              <a:off x="2224063" y="5873274"/>
              <a:ext cx="25054" cy="59777"/>
            </a:xfrm>
            <a:custGeom>
              <a:avLst/>
              <a:gdLst>
                <a:gd name="connsiteX0" fmla="*/ 0 w 25054"/>
                <a:gd name="connsiteY0" fmla="*/ 0 h 59777"/>
                <a:gd name="connsiteX1" fmla="*/ 24336 w 25054"/>
                <a:gd name="connsiteY1" fmla="*/ 37709 h 59777"/>
                <a:gd name="connsiteX2" fmla="*/ 6757 w 25054"/>
                <a:gd name="connsiteY2" fmla="*/ 59778 h 597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5054" h="59777">
                  <a:moveTo>
                    <a:pt x="0" y="0"/>
                  </a:moveTo>
                  <a:cubicBezTo>
                    <a:pt x="17153" y="3686"/>
                    <a:pt x="28022" y="20556"/>
                    <a:pt x="24336" y="37709"/>
                  </a:cubicBezTo>
                  <a:cubicBezTo>
                    <a:pt x="22163" y="47775"/>
                    <a:pt x="15452" y="55714"/>
                    <a:pt x="6757" y="59778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29" name="Forma livre: Forma 1128">
              <a:extLst>
                <a:ext uri="{FF2B5EF4-FFF2-40B4-BE49-F238E27FC236}">
                  <a16:creationId xmlns:a16="http://schemas.microsoft.com/office/drawing/2014/main" id="{879C5D49-DE01-C7BB-2CA2-5E74E12E851C}"/>
                </a:ext>
              </a:extLst>
            </p:cNvPr>
            <p:cNvSpPr/>
            <p:nvPr/>
          </p:nvSpPr>
          <p:spPr>
            <a:xfrm>
              <a:off x="2163340" y="5937257"/>
              <a:ext cx="7371" cy="7371"/>
            </a:xfrm>
            <a:custGeom>
              <a:avLst/>
              <a:gdLst>
                <a:gd name="connsiteX0" fmla="*/ 7372 w 7371"/>
                <a:gd name="connsiteY0" fmla="*/ 3686 h 7371"/>
                <a:gd name="connsiteX1" fmla="*/ 3686 w 7371"/>
                <a:gd name="connsiteY1" fmla="*/ 7372 h 7371"/>
                <a:gd name="connsiteX2" fmla="*/ 0 w 7371"/>
                <a:gd name="connsiteY2" fmla="*/ 3686 h 7371"/>
                <a:gd name="connsiteX3" fmla="*/ 3686 w 7371"/>
                <a:gd name="connsiteY3" fmla="*/ 0 h 7371"/>
                <a:gd name="connsiteX4" fmla="*/ 7372 w 7371"/>
                <a:gd name="connsiteY4" fmla="*/ 3686 h 73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371" h="7371">
                  <a:moveTo>
                    <a:pt x="7372" y="3686"/>
                  </a:moveTo>
                  <a:cubicBezTo>
                    <a:pt x="7372" y="5718"/>
                    <a:pt x="5718" y="7372"/>
                    <a:pt x="3686" y="7372"/>
                  </a:cubicBezTo>
                  <a:cubicBezTo>
                    <a:pt x="1654" y="7372"/>
                    <a:pt x="0" y="5718"/>
                    <a:pt x="0" y="3686"/>
                  </a:cubicBezTo>
                  <a:cubicBezTo>
                    <a:pt x="0" y="1654"/>
                    <a:pt x="1654" y="0"/>
                    <a:pt x="3686" y="0"/>
                  </a:cubicBezTo>
                  <a:cubicBezTo>
                    <a:pt x="5718" y="0"/>
                    <a:pt x="7372" y="1654"/>
                    <a:pt x="7372" y="3686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30" name="Forma livre: Forma 1129">
              <a:extLst>
                <a:ext uri="{FF2B5EF4-FFF2-40B4-BE49-F238E27FC236}">
                  <a16:creationId xmlns:a16="http://schemas.microsoft.com/office/drawing/2014/main" id="{64D490C6-73F2-DD70-FD97-72EFE6B13C0E}"/>
                </a:ext>
              </a:extLst>
            </p:cNvPr>
            <p:cNvSpPr/>
            <p:nvPr/>
          </p:nvSpPr>
          <p:spPr>
            <a:xfrm>
              <a:off x="2192875" y="6013858"/>
              <a:ext cx="7371" cy="7371"/>
            </a:xfrm>
            <a:custGeom>
              <a:avLst/>
              <a:gdLst>
                <a:gd name="connsiteX0" fmla="*/ 7372 w 7371"/>
                <a:gd name="connsiteY0" fmla="*/ 3686 h 7371"/>
                <a:gd name="connsiteX1" fmla="*/ 3686 w 7371"/>
                <a:gd name="connsiteY1" fmla="*/ 7372 h 7371"/>
                <a:gd name="connsiteX2" fmla="*/ 0 w 7371"/>
                <a:gd name="connsiteY2" fmla="*/ 3686 h 7371"/>
                <a:gd name="connsiteX3" fmla="*/ 3686 w 7371"/>
                <a:gd name="connsiteY3" fmla="*/ 0 h 7371"/>
                <a:gd name="connsiteX4" fmla="*/ 7372 w 7371"/>
                <a:gd name="connsiteY4" fmla="*/ 3686 h 73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371" h="7371">
                  <a:moveTo>
                    <a:pt x="7372" y="3686"/>
                  </a:moveTo>
                  <a:cubicBezTo>
                    <a:pt x="7372" y="5718"/>
                    <a:pt x="5718" y="7372"/>
                    <a:pt x="3686" y="7372"/>
                  </a:cubicBezTo>
                  <a:cubicBezTo>
                    <a:pt x="1654" y="7372"/>
                    <a:pt x="0" y="5718"/>
                    <a:pt x="0" y="3686"/>
                  </a:cubicBezTo>
                  <a:cubicBezTo>
                    <a:pt x="0" y="1654"/>
                    <a:pt x="1654" y="0"/>
                    <a:pt x="3686" y="0"/>
                  </a:cubicBezTo>
                  <a:cubicBezTo>
                    <a:pt x="5718" y="0"/>
                    <a:pt x="7372" y="1654"/>
                    <a:pt x="7372" y="3686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31" name="Forma livre: Forma 1130">
              <a:extLst>
                <a:ext uri="{FF2B5EF4-FFF2-40B4-BE49-F238E27FC236}">
                  <a16:creationId xmlns:a16="http://schemas.microsoft.com/office/drawing/2014/main" id="{FEC709A8-0E1D-8262-83D9-D2D0D86D6436}"/>
                </a:ext>
              </a:extLst>
            </p:cNvPr>
            <p:cNvSpPr/>
            <p:nvPr/>
          </p:nvSpPr>
          <p:spPr>
            <a:xfrm>
              <a:off x="2130262" y="6002044"/>
              <a:ext cx="7371" cy="7371"/>
            </a:xfrm>
            <a:custGeom>
              <a:avLst/>
              <a:gdLst>
                <a:gd name="connsiteX0" fmla="*/ 7372 w 7371"/>
                <a:gd name="connsiteY0" fmla="*/ 3686 h 7371"/>
                <a:gd name="connsiteX1" fmla="*/ 3686 w 7371"/>
                <a:gd name="connsiteY1" fmla="*/ 7372 h 7371"/>
                <a:gd name="connsiteX2" fmla="*/ 0 w 7371"/>
                <a:gd name="connsiteY2" fmla="*/ 3686 h 7371"/>
                <a:gd name="connsiteX3" fmla="*/ 3686 w 7371"/>
                <a:gd name="connsiteY3" fmla="*/ 0 h 7371"/>
                <a:gd name="connsiteX4" fmla="*/ 7372 w 7371"/>
                <a:gd name="connsiteY4" fmla="*/ 3686 h 73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371" h="7371">
                  <a:moveTo>
                    <a:pt x="7372" y="3686"/>
                  </a:moveTo>
                  <a:cubicBezTo>
                    <a:pt x="7372" y="5718"/>
                    <a:pt x="5718" y="7372"/>
                    <a:pt x="3686" y="7372"/>
                  </a:cubicBezTo>
                  <a:cubicBezTo>
                    <a:pt x="1654" y="7372"/>
                    <a:pt x="0" y="5718"/>
                    <a:pt x="0" y="3686"/>
                  </a:cubicBezTo>
                  <a:cubicBezTo>
                    <a:pt x="0" y="1654"/>
                    <a:pt x="1654" y="0"/>
                    <a:pt x="3686" y="0"/>
                  </a:cubicBezTo>
                  <a:cubicBezTo>
                    <a:pt x="5718" y="0"/>
                    <a:pt x="7372" y="1654"/>
                    <a:pt x="7372" y="3686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32" name="Forma livre: Forma 1131">
              <a:extLst>
                <a:ext uri="{FF2B5EF4-FFF2-40B4-BE49-F238E27FC236}">
                  <a16:creationId xmlns:a16="http://schemas.microsoft.com/office/drawing/2014/main" id="{B6A5E902-3957-51FD-7B2A-0F3D9A39115D}"/>
                </a:ext>
              </a:extLst>
            </p:cNvPr>
            <p:cNvSpPr/>
            <p:nvPr/>
          </p:nvSpPr>
          <p:spPr>
            <a:xfrm>
              <a:off x="2098365" y="6018016"/>
              <a:ext cx="7371" cy="7371"/>
            </a:xfrm>
            <a:custGeom>
              <a:avLst/>
              <a:gdLst>
                <a:gd name="connsiteX0" fmla="*/ 7372 w 7371"/>
                <a:gd name="connsiteY0" fmla="*/ 3686 h 7371"/>
                <a:gd name="connsiteX1" fmla="*/ 3686 w 7371"/>
                <a:gd name="connsiteY1" fmla="*/ 7372 h 7371"/>
                <a:gd name="connsiteX2" fmla="*/ 0 w 7371"/>
                <a:gd name="connsiteY2" fmla="*/ 3686 h 7371"/>
                <a:gd name="connsiteX3" fmla="*/ 3686 w 7371"/>
                <a:gd name="connsiteY3" fmla="*/ 0 h 7371"/>
                <a:gd name="connsiteX4" fmla="*/ 7372 w 7371"/>
                <a:gd name="connsiteY4" fmla="*/ 3686 h 73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371" h="7371">
                  <a:moveTo>
                    <a:pt x="7372" y="3686"/>
                  </a:moveTo>
                  <a:cubicBezTo>
                    <a:pt x="7372" y="5718"/>
                    <a:pt x="5718" y="7372"/>
                    <a:pt x="3686" y="7372"/>
                  </a:cubicBezTo>
                  <a:cubicBezTo>
                    <a:pt x="1654" y="7372"/>
                    <a:pt x="0" y="5718"/>
                    <a:pt x="0" y="3686"/>
                  </a:cubicBezTo>
                  <a:cubicBezTo>
                    <a:pt x="0" y="1654"/>
                    <a:pt x="1654" y="0"/>
                    <a:pt x="3686" y="0"/>
                  </a:cubicBezTo>
                  <a:cubicBezTo>
                    <a:pt x="5718" y="0"/>
                    <a:pt x="7372" y="1654"/>
                    <a:pt x="7372" y="3686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33" name="Forma livre: Forma 1132">
              <a:extLst>
                <a:ext uri="{FF2B5EF4-FFF2-40B4-BE49-F238E27FC236}">
                  <a16:creationId xmlns:a16="http://schemas.microsoft.com/office/drawing/2014/main" id="{0AAB3BFD-0C8C-2AD3-0F9A-30401716F0DF}"/>
                </a:ext>
              </a:extLst>
            </p:cNvPr>
            <p:cNvSpPr/>
            <p:nvPr/>
          </p:nvSpPr>
          <p:spPr>
            <a:xfrm>
              <a:off x="2119062" y="5962703"/>
              <a:ext cx="102874" cy="14505"/>
            </a:xfrm>
            <a:custGeom>
              <a:avLst/>
              <a:gdLst>
                <a:gd name="connsiteX0" fmla="*/ 0 w 102874"/>
                <a:gd name="connsiteY0" fmla="*/ 544 h 14505"/>
                <a:gd name="connsiteX1" fmla="*/ 34543 w 102874"/>
                <a:gd name="connsiteY1" fmla="*/ 6546 h 14505"/>
                <a:gd name="connsiteX2" fmla="*/ 102874 w 102874"/>
                <a:gd name="connsiteY2" fmla="*/ 6546 h 145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02874" h="14505">
                  <a:moveTo>
                    <a:pt x="0" y="544"/>
                  </a:moveTo>
                  <a:cubicBezTo>
                    <a:pt x="11152" y="-826"/>
                    <a:pt x="24620" y="119"/>
                    <a:pt x="34543" y="6546"/>
                  </a:cubicBezTo>
                  <a:cubicBezTo>
                    <a:pt x="62329" y="24455"/>
                    <a:pt x="102874" y="6546"/>
                    <a:pt x="102874" y="6546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136" name="Gráfico 14">
            <a:extLst>
              <a:ext uri="{FF2B5EF4-FFF2-40B4-BE49-F238E27FC236}">
                <a16:creationId xmlns:a16="http://schemas.microsoft.com/office/drawing/2014/main" id="{8889F9DD-193D-DCD6-BFDA-E063B85C1992}"/>
              </a:ext>
            </a:extLst>
          </p:cNvPr>
          <p:cNvGrpSpPr/>
          <p:nvPr/>
        </p:nvGrpSpPr>
        <p:grpSpPr>
          <a:xfrm>
            <a:off x="3265182" y="4129843"/>
            <a:ext cx="178850" cy="373173"/>
            <a:chOff x="3265182" y="4129843"/>
            <a:chExt cx="178850" cy="373173"/>
          </a:xfrm>
          <a:noFill/>
        </p:grpSpPr>
        <p:sp>
          <p:nvSpPr>
            <p:cNvPr id="1137" name="Forma livre: Forma 1136">
              <a:extLst>
                <a:ext uri="{FF2B5EF4-FFF2-40B4-BE49-F238E27FC236}">
                  <a16:creationId xmlns:a16="http://schemas.microsoft.com/office/drawing/2014/main" id="{6F28AFEC-FA63-912F-E2F3-658DA78EAC38}"/>
                </a:ext>
              </a:extLst>
            </p:cNvPr>
            <p:cNvSpPr/>
            <p:nvPr/>
          </p:nvSpPr>
          <p:spPr>
            <a:xfrm>
              <a:off x="3334836" y="4243019"/>
              <a:ext cx="27738" cy="23060"/>
            </a:xfrm>
            <a:custGeom>
              <a:avLst/>
              <a:gdLst>
                <a:gd name="connsiteX0" fmla="*/ 0 w 27738"/>
                <a:gd name="connsiteY0" fmla="*/ 0 h 23060"/>
                <a:gd name="connsiteX1" fmla="*/ 27739 w 27738"/>
                <a:gd name="connsiteY1" fmla="*/ 23061 h 230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7738" h="23060">
                  <a:moveTo>
                    <a:pt x="0" y="0"/>
                  </a:moveTo>
                  <a:cubicBezTo>
                    <a:pt x="0" y="0"/>
                    <a:pt x="18902" y="8553"/>
                    <a:pt x="27739" y="23061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38" name="Forma livre: Forma 1137">
              <a:extLst>
                <a:ext uri="{FF2B5EF4-FFF2-40B4-BE49-F238E27FC236}">
                  <a16:creationId xmlns:a16="http://schemas.microsoft.com/office/drawing/2014/main" id="{59A7376D-8F2F-7281-167A-D4BDECDE7AFA}"/>
                </a:ext>
              </a:extLst>
            </p:cNvPr>
            <p:cNvSpPr/>
            <p:nvPr/>
          </p:nvSpPr>
          <p:spPr>
            <a:xfrm>
              <a:off x="3361968" y="4129843"/>
              <a:ext cx="82064" cy="97986"/>
            </a:xfrm>
            <a:custGeom>
              <a:avLst/>
              <a:gdLst>
                <a:gd name="connsiteX0" fmla="*/ 229 w 82064"/>
                <a:gd name="connsiteY0" fmla="*/ 69134 h 97986"/>
                <a:gd name="connsiteX1" fmla="*/ 18753 w 82064"/>
                <a:gd name="connsiteY1" fmla="*/ 24006 h 97986"/>
                <a:gd name="connsiteX2" fmla="*/ 78484 w 82064"/>
                <a:gd name="connsiteY2" fmla="*/ 0 h 97986"/>
                <a:gd name="connsiteX3" fmla="*/ 76735 w 82064"/>
                <a:gd name="connsiteY3" fmla="*/ 64031 h 97986"/>
                <a:gd name="connsiteX4" fmla="*/ 17099 w 82064"/>
                <a:gd name="connsiteY4" fmla="*/ 95597 h 979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2064" h="97986">
                  <a:moveTo>
                    <a:pt x="229" y="69134"/>
                  </a:moveTo>
                  <a:cubicBezTo>
                    <a:pt x="-1330" y="53446"/>
                    <a:pt x="5096" y="35205"/>
                    <a:pt x="18753" y="24006"/>
                  </a:cubicBezTo>
                  <a:cubicBezTo>
                    <a:pt x="47768" y="236"/>
                    <a:pt x="78484" y="0"/>
                    <a:pt x="78484" y="0"/>
                  </a:cubicBezTo>
                  <a:cubicBezTo>
                    <a:pt x="78484" y="0"/>
                    <a:pt x="87604" y="31566"/>
                    <a:pt x="76735" y="64031"/>
                  </a:cubicBezTo>
                  <a:cubicBezTo>
                    <a:pt x="68087" y="89832"/>
                    <a:pt x="35812" y="103914"/>
                    <a:pt x="17099" y="95597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39" name="Forma livre: Forma 1138">
              <a:extLst>
                <a:ext uri="{FF2B5EF4-FFF2-40B4-BE49-F238E27FC236}">
                  <a16:creationId xmlns:a16="http://schemas.microsoft.com/office/drawing/2014/main" id="{BCBDAD15-638C-E6FB-03CD-EB030AEFB3D8}"/>
                </a:ext>
              </a:extLst>
            </p:cNvPr>
            <p:cNvSpPr/>
            <p:nvPr/>
          </p:nvSpPr>
          <p:spPr>
            <a:xfrm>
              <a:off x="3265182" y="4212855"/>
              <a:ext cx="70343" cy="40324"/>
            </a:xfrm>
            <a:custGeom>
              <a:avLst/>
              <a:gdLst>
                <a:gd name="connsiteX0" fmla="*/ 69890 w 70343"/>
                <a:gd name="connsiteY0" fmla="*/ 29266 h 40324"/>
                <a:gd name="connsiteX1" fmla="*/ 27408 w 70343"/>
                <a:gd name="connsiteY1" fmla="*/ 34748 h 40324"/>
                <a:gd name="connsiteX2" fmla="*/ 0 w 70343"/>
                <a:gd name="connsiteY2" fmla="*/ 6867 h 40324"/>
                <a:gd name="connsiteX3" fmla="*/ 38418 w 70343"/>
                <a:gd name="connsiteY3" fmla="*/ 251 h 40324"/>
                <a:gd name="connsiteX4" fmla="*/ 69938 w 70343"/>
                <a:gd name="connsiteY4" fmla="*/ 29266 h 403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0343" h="40324">
                  <a:moveTo>
                    <a:pt x="69890" y="29266"/>
                  </a:moveTo>
                  <a:cubicBezTo>
                    <a:pt x="66252" y="41222"/>
                    <a:pt x="43286" y="44151"/>
                    <a:pt x="27408" y="34748"/>
                  </a:cubicBezTo>
                  <a:cubicBezTo>
                    <a:pt x="6899" y="22603"/>
                    <a:pt x="0" y="6867"/>
                    <a:pt x="0" y="6867"/>
                  </a:cubicBezTo>
                  <a:cubicBezTo>
                    <a:pt x="0" y="6867"/>
                    <a:pt x="16776" y="-1544"/>
                    <a:pt x="38418" y="251"/>
                  </a:cubicBezTo>
                  <a:cubicBezTo>
                    <a:pt x="56801" y="1764"/>
                    <a:pt x="73151" y="18634"/>
                    <a:pt x="69938" y="29266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40" name="Forma livre: Forma 1139">
              <a:extLst>
                <a:ext uri="{FF2B5EF4-FFF2-40B4-BE49-F238E27FC236}">
                  <a16:creationId xmlns:a16="http://schemas.microsoft.com/office/drawing/2014/main" id="{822C9CE5-B274-1917-7E51-A3BC32ED3751}"/>
                </a:ext>
              </a:extLst>
            </p:cNvPr>
            <p:cNvSpPr/>
            <p:nvPr/>
          </p:nvSpPr>
          <p:spPr>
            <a:xfrm>
              <a:off x="3348682" y="4312957"/>
              <a:ext cx="5765" cy="157548"/>
            </a:xfrm>
            <a:custGeom>
              <a:avLst/>
              <a:gdLst>
                <a:gd name="connsiteX0" fmla="*/ 5765 w 5765"/>
                <a:gd name="connsiteY0" fmla="*/ 0 h 157548"/>
                <a:gd name="connsiteX1" fmla="*/ 0 w 5765"/>
                <a:gd name="connsiteY1" fmla="*/ 157549 h 1575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765" h="157548">
                  <a:moveTo>
                    <a:pt x="5765" y="0"/>
                  </a:moveTo>
                  <a:cubicBezTo>
                    <a:pt x="1040" y="45696"/>
                    <a:pt x="0" y="99661"/>
                    <a:pt x="0" y="157549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41" name="Forma livre: Forma 1140">
              <a:extLst>
                <a:ext uri="{FF2B5EF4-FFF2-40B4-BE49-F238E27FC236}">
                  <a16:creationId xmlns:a16="http://schemas.microsoft.com/office/drawing/2014/main" id="{A279FD0B-C1DE-FBD4-9FED-C65804E2ABC3}"/>
                </a:ext>
              </a:extLst>
            </p:cNvPr>
            <p:cNvSpPr/>
            <p:nvPr/>
          </p:nvSpPr>
          <p:spPr>
            <a:xfrm>
              <a:off x="3358558" y="4175681"/>
              <a:ext cx="47774" cy="113743"/>
            </a:xfrm>
            <a:custGeom>
              <a:avLst/>
              <a:gdLst>
                <a:gd name="connsiteX0" fmla="*/ 47775 w 47774"/>
                <a:gd name="connsiteY0" fmla="*/ 0 h 113743"/>
                <a:gd name="connsiteX1" fmla="*/ 1607 w 47774"/>
                <a:gd name="connsiteY1" fmla="*/ 104954 h 113743"/>
                <a:gd name="connsiteX2" fmla="*/ 0 w 47774"/>
                <a:gd name="connsiteY2" fmla="*/ 113743 h 1137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7774" h="113743">
                  <a:moveTo>
                    <a:pt x="47775" y="0"/>
                  </a:moveTo>
                  <a:cubicBezTo>
                    <a:pt x="31188" y="23580"/>
                    <a:pt x="9735" y="64031"/>
                    <a:pt x="1607" y="104954"/>
                  </a:cubicBezTo>
                  <a:cubicBezTo>
                    <a:pt x="1040" y="107836"/>
                    <a:pt x="473" y="110766"/>
                    <a:pt x="0" y="113743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42" name="Forma livre: Forma 1141">
              <a:extLst>
                <a:ext uri="{FF2B5EF4-FFF2-40B4-BE49-F238E27FC236}">
                  <a16:creationId xmlns:a16="http://schemas.microsoft.com/office/drawing/2014/main" id="{88AF4773-C765-F6CD-C3B6-49B38569DC8E}"/>
                </a:ext>
              </a:extLst>
            </p:cNvPr>
            <p:cNvSpPr/>
            <p:nvPr/>
          </p:nvSpPr>
          <p:spPr>
            <a:xfrm>
              <a:off x="3331245" y="4354399"/>
              <a:ext cx="54390" cy="4725"/>
            </a:xfrm>
            <a:custGeom>
              <a:avLst/>
              <a:gdLst>
                <a:gd name="connsiteX0" fmla="*/ 54391 w 54390"/>
                <a:gd name="connsiteY0" fmla="*/ 0 h 4725"/>
                <a:gd name="connsiteX1" fmla="*/ 0 w 54390"/>
                <a:gd name="connsiteY1" fmla="*/ 0 h 47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4390" h="4725">
                  <a:moveTo>
                    <a:pt x="54391" y="0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43" name="Forma livre: Forma 1142">
              <a:extLst>
                <a:ext uri="{FF2B5EF4-FFF2-40B4-BE49-F238E27FC236}">
                  <a16:creationId xmlns:a16="http://schemas.microsoft.com/office/drawing/2014/main" id="{9F11A075-C7E7-BF9F-5D7A-3E949577F955}"/>
                </a:ext>
              </a:extLst>
            </p:cNvPr>
            <p:cNvSpPr/>
            <p:nvPr/>
          </p:nvSpPr>
          <p:spPr>
            <a:xfrm>
              <a:off x="3291739" y="4290416"/>
              <a:ext cx="110340" cy="212600"/>
            </a:xfrm>
            <a:custGeom>
              <a:avLst/>
              <a:gdLst>
                <a:gd name="connsiteX0" fmla="*/ 0 w 110340"/>
                <a:gd name="connsiteY0" fmla="*/ 0 h 212600"/>
                <a:gd name="connsiteX1" fmla="*/ 110341 w 110340"/>
                <a:gd name="connsiteY1" fmla="*/ 0 h 212600"/>
                <a:gd name="connsiteX2" fmla="*/ 94274 w 110340"/>
                <a:gd name="connsiteY2" fmla="*/ 23438 h 212600"/>
                <a:gd name="connsiteX3" fmla="*/ 94274 w 110340"/>
                <a:gd name="connsiteY3" fmla="*/ 175080 h 212600"/>
                <a:gd name="connsiteX4" fmla="*/ 56753 w 110340"/>
                <a:gd name="connsiteY4" fmla="*/ 212601 h 212600"/>
                <a:gd name="connsiteX5" fmla="*/ 55667 w 110340"/>
                <a:gd name="connsiteY5" fmla="*/ 212601 h 212600"/>
                <a:gd name="connsiteX6" fmla="*/ 18146 w 110340"/>
                <a:gd name="connsiteY6" fmla="*/ 175080 h 212600"/>
                <a:gd name="connsiteX7" fmla="*/ 18146 w 110340"/>
                <a:gd name="connsiteY7" fmla="*/ 30716 h 212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10340" h="212600">
                  <a:moveTo>
                    <a:pt x="0" y="0"/>
                  </a:moveTo>
                  <a:lnTo>
                    <a:pt x="110341" y="0"/>
                  </a:lnTo>
                  <a:lnTo>
                    <a:pt x="94274" y="23438"/>
                  </a:lnTo>
                  <a:lnTo>
                    <a:pt x="94274" y="175080"/>
                  </a:lnTo>
                  <a:cubicBezTo>
                    <a:pt x="94274" y="195731"/>
                    <a:pt x="77404" y="212601"/>
                    <a:pt x="56753" y="212601"/>
                  </a:cubicBezTo>
                  <a:lnTo>
                    <a:pt x="55667" y="212601"/>
                  </a:lnTo>
                  <a:cubicBezTo>
                    <a:pt x="35016" y="212601"/>
                    <a:pt x="18146" y="195731"/>
                    <a:pt x="18146" y="175080"/>
                  </a:cubicBezTo>
                  <a:lnTo>
                    <a:pt x="18146" y="30716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44" name="Forma livre: Forma 1143">
              <a:extLst>
                <a:ext uri="{FF2B5EF4-FFF2-40B4-BE49-F238E27FC236}">
                  <a16:creationId xmlns:a16="http://schemas.microsoft.com/office/drawing/2014/main" id="{D19A7B69-1DE9-4AA7-D3D9-EB468F2C3F73}"/>
                </a:ext>
              </a:extLst>
            </p:cNvPr>
            <p:cNvSpPr/>
            <p:nvPr/>
          </p:nvSpPr>
          <p:spPr>
            <a:xfrm>
              <a:off x="3309933" y="4311964"/>
              <a:ext cx="4725" cy="41489"/>
            </a:xfrm>
            <a:custGeom>
              <a:avLst/>
              <a:gdLst>
                <a:gd name="connsiteX0" fmla="*/ 0 w 4725"/>
                <a:gd name="connsiteY0" fmla="*/ 41490 h 41489"/>
                <a:gd name="connsiteX1" fmla="*/ 0 w 4725"/>
                <a:gd name="connsiteY1" fmla="*/ 0 h 414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725" h="41489">
                  <a:moveTo>
                    <a:pt x="0" y="41490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145" name="Gráfico 14">
            <a:extLst>
              <a:ext uri="{FF2B5EF4-FFF2-40B4-BE49-F238E27FC236}">
                <a16:creationId xmlns:a16="http://schemas.microsoft.com/office/drawing/2014/main" id="{97DF7073-21F7-4B16-2189-B86B8A12631B}"/>
              </a:ext>
            </a:extLst>
          </p:cNvPr>
          <p:cNvGrpSpPr/>
          <p:nvPr/>
        </p:nvGrpSpPr>
        <p:grpSpPr>
          <a:xfrm>
            <a:off x="3205714" y="5223232"/>
            <a:ext cx="297681" cy="275450"/>
            <a:chOff x="3205714" y="5223232"/>
            <a:chExt cx="297681" cy="275450"/>
          </a:xfrm>
        </p:grpSpPr>
        <p:sp>
          <p:nvSpPr>
            <p:cNvPr id="1146" name="Forma livre: Forma 1145">
              <a:extLst>
                <a:ext uri="{FF2B5EF4-FFF2-40B4-BE49-F238E27FC236}">
                  <a16:creationId xmlns:a16="http://schemas.microsoft.com/office/drawing/2014/main" id="{07F061FD-0D55-7BE7-895B-C153AC1C7BA6}"/>
                </a:ext>
              </a:extLst>
            </p:cNvPr>
            <p:cNvSpPr/>
            <p:nvPr/>
          </p:nvSpPr>
          <p:spPr>
            <a:xfrm>
              <a:off x="3205714" y="5249033"/>
              <a:ext cx="192443" cy="249412"/>
            </a:xfrm>
            <a:custGeom>
              <a:avLst/>
              <a:gdLst>
                <a:gd name="connsiteX0" fmla="*/ 192444 w 192443"/>
                <a:gd name="connsiteY0" fmla="*/ 249412 h 249412"/>
                <a:gd name="connsiteX1" fmla="*/ 28989 w 192443"/>
                <a:gd name="connsiteY1" fmla="*/ 249412 h 249412"/>
                <a:gd name="connsiteX2" fmla="*/ 4794 w 192443"/>
                <a:gd name="connsiteY2" fmla="*/ 215105 h 249412"/>
                <a:gd name="connsiteX3" fmla="*/ 75913 w 192443"/>
                <a:gd name="connsiteY3" fmla="*/ 106371 h 249412"/>
                <a:gd name="connsiteX4" fmla="*/ 83615 w 192443"/>
                <a:gd name="connsiteY4" fmla="*/ 80286 h 249412"/>
                <a:gd name="connsiteX5" fmla="*/ 83615 w 192443"/>
                <a:gd name="connsiteY5" fmla="*/ 0 h 2494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92443" h="249412">
                  <a:moveTo>
                    <a:pt x="192444" y="249412"/>
                  </a:moveTo>
                  <a:lnTo>
                    <a:pt x="28989" y="249412"/>
                  </a:lnTo>
                  <a:cubicBezTo>
                    <a:pt x="2998" y="249412"/>
                    <a:pt x="-6736" y="233488"/>
                    <a:pt x="4794" y="215105"/>
                  </a:cubicBezTo>
                  <a:cubicBezTo>
                    <a:pt x="16891" y="195825"/>
                    <a:pt x="75913" y="106371"/>
                    <a:pt x="75913" y="106371"/>
                  </a:cubicBezTo>
                  <a:cubicBezTo>
                    <a:pt x="80119" y="99803"/>
                    <a:pt x="83615" y="88083"/>
                    <a:pt x="83615" y="80286"/>
                  </a:cubicBezTo>
                  <a:lnTo>
                    <a:pt x="83615" y="0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47" name="Forma livre: Forma 1146">
              <a:extLst>
                <a:ext uri="{FF2B5EF4-FFF2-40B4-BE49-F238E27FC236}">
                  <a16:creationId xmlns:a16="http://schemas.microsoft.com/office/drawing/2014/main" id="{5C7A9A08-1B75-FD7A-DFC7-F56F78645FF8}"/>
                </a:ext>
              </a:extLst>
            </p:cNvPr>
            <p:cNvSpPr/>
            <p:nvPr/>
          </p:nvSpPr>
          <p:spPr>
            <a:xfrm>
              <a:off x="3273026" y="5223232"/>
              <a:ext cx="117429" cy="192328"/>
            </a:xfrm>
            <a:custGeom>
              <a:avLst/>
              <a:gdLst>
                <a:gd name="connsiteX0" fmla="*/ 0 w 117429"/>
                <a:gd name="connsiteY0" fmla="*/ 0 h 192328"/>
                <a:gd name="connsiteX1" fmla="*/ 86288 w 117429"/>
                <a:gd name="connsiteY1" fmla="*/ 0 h 192328"/>
                <a:gd name="connsiteX2" fmla="*/ 70127 w 117429"/>
                <a:gd name="connsiteY2" fmla="*/ 22635 h 192328"/>
                <a:gd name="connsiteX3" fmla="*/ 70127 w 117429"/>
                <a:gd name="connsiteY3" fmla="*/ 106088 h 192328"/>
                <a:gd name="connsiteX4" fmla="*/ 77829 w 117429"/>
                <a:gd name="connsiteY4" fmla="*/ 132173 h 192328"/>
                <a:gd name="connsiteX5" fmla="*/ 117429 w 117429"/>
                <a:gd name="connsiteY5" fmla="*/ 192328 h 1923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7429" h="192328">
                  <a:moveTo>
                    <a:pt x="0" y="0"/>
                  </a:moveTo>
                  <a:lnTo>
                    <a:pt x="86288" y="0"/>
                  </a:lnTo>
                  <a:lnTo>
                    <a:pt x="70127" y="22635"/>
                  </a:lnTo>
                  <a:lnTo>
                    <a:pt x="70127" y="106088"/>
                  </a:lnTo>
                  <a:cubicBezTo>
                    <a:pt x="70127" y="113885"/>
                    <a:pt x="73576" y="125604"/>
                    <a:pt x="77829" y="132173"/>
                  </a:cubicBezTo>
                  <a:cubicBezTo>
                    <a:pt x="77829" y="132173"/>
                    <a:pt x="98149" y="162983"/>
                    <a:pt x="117429" y="192328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48" name="Forma livre: Forma 1147">
              <a:extLst>
                <a:ext uri="{FF2B5EF4-FFF2-40B4-BE49-F238E27FC236}">
                  <a16:creationId xmlns:a16="http://schemas.microsoft.com/office/drawing/2014/main" id="{FDA50FC2-5986-7B71-AD40-6CF9716AB0A8}"/>
                </a:ext>
              </a:extLst>
            </p:cNvPr>
            <p:cNvSpPr/>
            <p:nvPr/>
          </p:nvSpPr>
          <p:spPr>
            <a:xfrm>
              <a:off x="3282855" y="5398548"/>
              <a:ext cx="94462" cy="4725"/>
            </a:xfrm>
            <a:custGeom>
              <a:avLst/>
              <a:gdLst>
                <a:gd name="connsiteX0" fmla="*/ 0 w 94462"/>
                <a:gd name="connsiteY0" fmla="*/ 0 h 4725"/>
                <a:gd name="connsiteX1" fmla="*/ 94463 w 94462"/>
                <a:gd name="connsiteY1" fmla="*/ 0 h 47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4462" h="4725">
                  <a:moveTo>
                    <a:pt x="0" y="0"/>
                  </a:moveTo>
                  <a:lnTo>
                    <a:pt x="94463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49" name="Forma livre: Forma 1148">
              <a:extLst>
                <a:ext uri="{FF2B5EF4-FFF2-40B4-BE49-F238E27FC236}">
                  <a16:creationId xmlns:a16="http://schemas.microsoft.com/office/drawing/2014/main" id="{7F2F404A-35A6-B78E-AED1-FE11D9D08ECF}"/>
                </a:ext>
              </a:extLst>
            </p:cNvPr>
            <p:cNvSpPr/>
            <p:nvPr/>
          </p:nvSpPr>
          <p:spPr>
            <a:xfrm>
              <a:off x="3434544" y="5337353"/>
              <a:ext cx="52500" cy="4725"/>
            </a:xfrm>
            <a:custGeom>
              <a:avLst/>
              <a:gdLst>
                <a:gd name="connsiteX0" fmla="*/ 0 w 52500"/>
                <a:gd name="connsiteY0" fmla="*/ 0 h 4725"/>
                <a:gd name="connsiteX1" fmla="*/ 52500 w 52500"/>
                <a:gd name="connsiteY1" fmla="*/ 0 h 47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2500" h="4725">
                  <a:moveTo>
                    <a:pt x="0" y="0"/>
                  </a:moveTo>
                  <a:lnTo>
                    <a:pt x="5250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50" name="Forma livre: Forma 1149">
              <a:extLst>
                <a:ext uri="{FF2B5EF4-FFF2-40B4-BE49-F238E27FC236}">
                  <a16:creationId xmlns:a16="http://schemas.microsoft.com/office/drawing/2014/main" id="{5152AEA5-01BF-61A9-311E-0C6F0A476B91}"/>
                </a:ext>
              </a:extLst>
            </p:cNvPr>
            <p:cNvSpPr/>
            <p:nvPr/>
          </p:nvSpPr>
          <p:spPr>
            <a:xfrm>
              <a:off x="3393054" y="5262595"/>
              <a:ext cx="110340" cy="236086"/>
            </a:xfrm>
            <a:custGeom>
              <a:avLst/>
              <a:gdLst>
                <a:gd name="connsiteX0" fmla="*/ 0 w 110340"/>
                <a:gd name="connsiteY0" fmla="*/ 0 h 236086"/>
                <a:gd name="connsiteX1" fmla="*/ 110341 w 110340"/>
                <a:gd name="connsiteY1" fmla="*/ 0 h 236086"/>
                <a:gd name="connsiteX2" fmla="*/ 94085 w 110340"/>
                <a:gd name="connsiteY2" fmla="*/ 23108 h 236086"/>
                <a:gd name="connsiteX3" fmla="*/ 94085 w 110340"/>
                <a:gd name="connsiteY3" fmla="*/ 202110 h 236086"/>
                <a:gd name="connsiteX4" fmla="*/ 60109 w 110340"/>
                <a:gd name="connsiteY4" fmla="*/ 236086 h 236086"/>
                <a:gd name="connsiteX5" fmla="*/ 54107 w 110340"/>
                <a:gd name="connsiteY5" fmla="*/ 236086 h 236086"/>
                <a:gd name="connsiteX6" fmla="*/ 20131 w 110340"/>
                <a:gd name="connsiteY6" fmla="*/ 202110 h 236086"/>
                <a:gd name="connsiteX7" fmla="*/ 20131 w 110340"/>
                <a:gd name="connsiteY7" fmla="*/ 25801 h 2360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10340" h="236086">
                  <a:moveTo>
                    <a:pt x="0" y="0"/>
                  </a:moveTo>
                  <a:lnTo>
                    <a:pt x="110341" y="0"/>
                  </a:lnTo>
                  <a:lnTo>
                    <a:pt x="94085" y="23108"/>
                  </a:lnTo>
                  <a:lnTo>
                    <a:pt x="94085" y="202110"/>
                  </a:lnTo>
                  <a:cubicBezTo>
                    <a:pt x="94085" y="220823"/>
                    <a:pt x="78774" y="236086"/>
                    <a:pt x="60109" y="236086"/>
                  </a:cubicBezTo>
                  <a:lnTo>
                    <a:pt x="54107" y="236086"/>
                  </a:lnTo>
                  <a:cubicBezTo>
                    <a:pt x="35394" y="236086"/>
                    <a:pt x="20131" y="220776"/>
                    <a:pt x="20131" y="202110"/>
                  </a:cubicBezTo>
                  <a:lnTo>
                    <a:pt x="20131" y="25801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51" name="Forma livre: Forma 1150">
              <a:extLst>
                <a:ext uri="{FF2B5EF4-FFF2-40B4-BE49-F238E27FC236}">
                  <a16:creationId xmlns:a16="http://schemas.microsoft.com/office/drawing/2014/main" id="{250F9D11-0D3B-8815-97D9-0F92C7888EAB}"/>
                </a:ext>
              </a:extLst>
            </p:cNvPr>
            <p:cNvSpPr/>
            <p:nvPr/>
          </p:nvSpPr>
          <p:spPr>
            <a:xfrm>
              <a:off x="3450989" y="5373314"/>
              <a:ext cx="7371" cy="7371"/>
            </a:xfrm>
            <a:custGeom>
              <a:avLst/>
              <a:gdLst>
                <a:gd name="connsiteX0" fmla="*/ 7372 w 7371"/>
                <a:gd name="connsiteY0" fmla="*/ 3686 h 7371"/>
                <a:gd name="connsiteX1" fmla="*/ 3686 w 7371"/>
                <a:gd name="connsiteY1" fmla="*/ 7372 h 7371"/>
                <a:gd name="connsiteX2" fmla="*/ 0 w 7371"/>
                <a:gd name="connsiteY2" fmla="*/ 3686 h 7371"/>
                <a:gd name="connsiteX3" fmla="*/ 3686 w 7371"/>
                <a:gd name="connsiteY3" fmla="*/ 0 h 7371"/>
                <a:gd name="connsiteX4" fmla="*/ 7372 w 7371"/>
                <a:gd name="connsiteY4" fmla="*/ 3686 h 73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371" h="7371">
                  <a:moveTo>
                    <a:pt x="7372" y="3686"/>
                  </a:moveTo>
                  <a:cubicBezTo>
                    <a:pt x="7372" y="5718"/>
                    <a:pt x="5718" y="7372"/>
                    <a:pt x="3686" y="7372"/>
                  </a:cubicBezTo>
                  <a:cubicBezTo>
                    <a:pt x="1654" y="7372"/>
                    <a:pt x="0" y="5718"/>
                    <a:pt x="0" y="3686"/>
                  </a:cubicBezTo>
                  <a:cubicBezTo>
                    <a:pt x="0" y="1654"/>
                    <a:pt x="1654" y="0"/>
                    <a:pt x="3686" y="0"/>
                  </a:cubicBezTo>
                  <a:cubicBezTo>
                    <a:pt x="5718" y="0"/>
                    <a:pt x="7372" y="1654"/>
                    <a:pt x="7372" y="3686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52" name="Forma livre: Forma 1151">
              <a:extLst>
                <a:ext uri="{FF2B5EF4-FFF2-40B4-BE49-F238E27FC236}">
                  <a16:creationId xmlns:a16="http://schemas.microsoft.com/office/drawing/2014/main" id="{4817845D-C0A9-BA7A-B52D-BE9268EAB8E2}"/>
                </a:ext>
              </a:extLst>
            </p:cNvPr>
            <p:cNvSpPr/>
            <p:nvPr/>
          </p:nvSpPr>
          <p:spPr>
            <a:xfrm>
              <a:off x="3318344" y="5433186"/>
              <a:ext cx="7371" cy="7371"/>
            </a:xfrm>
            <a:custGeom>
              <a:avLst/>
              <a:gdLst>
                <a:gd name="connsiteX0" fmla="*/ 7372 w 7371"/>
                <a:gd name="connsiteY0" fmla="*/ 3686 h 7371"/>
                <a:gd name="connsiteX1" fmla="*/ 3686 w 7371"/>
                <a:gd name="connsiteY1" fmla="*/ 7372 h 7371"/>
                <a:gd name="connsiteX2" fmla="*/ 0 w 7371"/>
                <a:gd name="connsiteY2" fmla="*/ 3686 h 7371"/>
                <a:gd name="connsiteX3" fmla="*/ 3686 w 7371"/>
                <a:gd name="connsiteY3" fmla="*/ 0 h 7371"/>
                <a:gd name="connsiteX4" fmla="*/ 7372 w 7371"/>
                <a:gd name="connsiteY4" fmla="*/ 3686 h 73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371" h="7371">
                  <a:moveTo>
                    <a:pt x="7372" y="3686"/>
                  </a:moveTo>
                  <a:cubicBezTo>
                    <a:pt x="7372" y="5718"/>
                    <a:pt x="5718" y="7372"/>
                    <a:pt x="3686" y="7372"/>
                  </a:cubicBezTo>
                  <a:cubicBezTo>
                    <a:pt x="1654" y="7372"/>
                    <a:pt x="0" y="5718"/>
                    <a:pt x="0" y="3686"/>
                  </a:cubicBezTo>
                  <a:cubicBezTo>
                    <a:pt x="0" y="1654"/>
                    <a:pt x="1654" y="0"/>
                    <a:pt x="3686" y="0"/>
                  </a:cubicBezTo>
                  <a:cubicBezTo>
                    <a:pt x="5718" y="0"/>
                    <a:pt x="7372" y="1654"/>
                    <a:pt x="7372" y="3686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53" name="Forma livre: Forma 1152">
              <a:extLst>
                <a:ext uri="{FF2B5EF4-FFF2-40B4-BE49-F238E27FC236}">
                  <a16:creationId xmlns:a16="http://schemas.microsoft.com/office/drawing/2014/main" id="{20608495-7F8D-54F1-48F3-5EDFDC30BD12}"/>
                </a:ext>
              </a:extLst>
            </p:cNvPr>
            <p:cNvSpPr/>
            <p:nvPr/>
          </p:nvSpPr>
          <p:spPr>
            <a:xfrm>
              <a:off x="3347170" y="5450860"/>
              <a:ext cx="7371" cy="7371"/>
            </a:xfrm>
            <a:custGeom>
              <a:avLst/>
              <a:gdLst>
                <a:gd name="connsiteX0" fmla="*/ 7372 w 7371"/>
                <a:gd name="connsiteY0" fmla="*/ 3686 h 7371"/>
                <a:gd name="connsiteX1" fmla="*/ 3686 w 7371"/>
                <a:gd name="connsiteY1" fmla="*/ 7372 h 7371"/>
                <a:gd name="connsiteX2" fmla="*/ 0 w 7371"/>
                <a:gd name="connsiteY2" fmla="*/ 3686 h 7371"/>
                <a:gd name="connsiteX3" fmla="*/ 3686 w 7371"/>
                <a:gd name="connsiteY3" fmla="*/ 0 h 7371"/>
                <a:gd name="connsiteX4" fmla="*/ 7372 w 7371"/>
                <a:gd name="connsiteY4" fmla="*/ 3686 h 73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371" h="7371">
                  <a:moveTo>
                    <a:pt x="7372" y="3686"/>
                  </a:moveTo>
                  <a:cubicBezTo>
                    <a:pt x="7372" y="5718"/>
                    <a:pt x="5718" y="7372"/>
                    <a:pt x="3686" y="7372"/>
                  </a:cubicBezTo>
                  <a:cubicBezTo>
                    <a:pt x="1654" y="7372"/>
                    <a:pt x="0" y="5718"/>
                    <a:pt x="0" y="3686"/>
                  </a:cubicBezTo>
                  <a:cubicBezTo>
                    <a:pt x="0" y="1654"/>
                    <a:pt x="1654" y="0"/>
                    <a:pt x="3686" y="0"/>
                  </a:cubicBezTo>
                  <a:cubicBezTo>
                    <a:pt x="5718" y="0"/>
                    <a:pt x="7372" y="1654"/>
                    <a:pt x="7372" y="3686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54" name="Forma livre: Forma 1153">
              <a:extLst>
                <a:ext uri="{FF2B5EF4-FFF2-40B4-BE49-F238E27FC236}">
                  <a16:creationId xmlns:a16="http://schemas.microsoft.com/office/drawing/2014/main" id="{F7E6A4AB-2A8D-B995-AD90-729C8B8A845C}"/>
                </a:ext>
              </a:extLst>
            </p:cNvPr>
            <p:cNvSpPr/>
            <p:nvPr/>
          </p:nvSpPr>
          <p:spPr>
            <a:xfrm>
              <a:off x="3439742" y="5407243"/>
              <a:ext cx="7371" cy="7371"/>
            </a:xfrm>
            <a:custGeom>
              <a:avLst/>
              <a:gdLst>
                <a:gd name="connsiteX0" fmla="*/ 7372 w 7371"/>
                <a:gd name="connsiteY0" fmla="*/ 3686 h 7371"/>
                <a:gd name="connsiteX1" fmla="*/ 3686 w 7371"/>
                <a:gd name="connsiteY1" fmla="*/ 7372 h 7371"/>
                <a:gd name="connsiteX2" fmla="*/ 0 w 7371"/>
                <a:gd name="connsiteY2" fmla="*/ 3686 h 7371"/>
                <a:gd name="connsiteX3" fmla="*/ 3686 w 7371"/>
                <a:gd name="connsiteY3" fmla="*/ 0 h 7371"/>
                <a:gd name="connsiteX4" fmla="*/ 7372 w 7371"/>
                <a:gd name="connsiteY4" fmla="*/ 3686 h 73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371" h="7371">
                  <a:moveTo>
                    <a:pt x="7372" y="3686"/>
                  </a:moveTo>
                  <a:cubicBezTo>
                    <a:pt x="7372" y="5718"/>
                    <a:pt x="5718" y="7372"/>
                    <a:pt x="3686" y="7372"/>
                  </a:cubicBezTo>
                  <a:cubicBezTo>
                    <a:pt x="1654" y="7372"/>
                    <a:pt x="0" y="5718"/>
                    <a:pt x="0" y="3686"/>
                  </a:cubicBezTo>
                  <a:cubicBezTo>
                    <a:pt x="0" y="1654"/>
                    <a:pt x="1654" y="0"/>
                    <a:pt x="3686" y="0"/>
                  </a:cubicBezTo>
                  <a:cubicBezTo>
                    <a:pt x="5718" y="0"/>
                    <a:pt x="7372" y="1654"/>
                    <a:pt x="7372" y="3686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155" name="Gráfico 14">
            <a:extLst>
              <a:ext uri="{FF2B5EF4-FFF2-40B4-BE49-F238E27FC236}">
                <a16:creationId xmlns:a16="http://schemas.microsoft.com/office/drawing/2014/main" id="{1C43712A-E91C-9E9D-A55D-5D24C5A81992}"/>
              </a:ext>
            </a:extLst>
          </p:cNvPr>
          <p:cNvGrpSpPr/>
          <p:nvPr/>
        </p:nvGrpSpPr>
        <p:grpSpPr>
          <a:xfrm>
            <a:off x="3235222" y="3652330"/>
            <a:ext cx="238780" cy="283625"/>
            <a:chOff x="3235222" y="3652330"/>
            <a:chExt cx="238780" cy="283625"/>
          </a:xfrm>
          <a:noFill/>
        </p:grpSpPr>
        <p:sp>
          <p:nvSpPr>
            <p:cNvPr id="1156" name="Forma livre: Forma 1155">
              <a:extLst>
                <a:ext uri="{FF2B5EF4-FFF2-40B4-BE49-F238E27FC236}">
                  <a16:creationId xmlns:a16="http://schemas.microsoft.com/office/drawing/2014/main" id="{283FADAF-D51A-FE45-5AD9-8AC3061428D8}"/>
                </a:ext>
              </a:extLst>
            </p:cNvPr>
            <p:cNvSpPr/>
            <p:nvPr/>
          </p:nvSpPr>
          <p:spPr>
            <a:xfrm>
              <a:off x="3235222" y="3652330"/>
              <a:ext cx="238780" cy="283625"/>
            </a:xfrm>
            <a:custGeom>
              <a:avLst/>
              <a:gdLst>
                <a:gd name="connsiteX0" fmla="*/ 121682 w 238780"/>
                <a:gd name="connsiteY0" fmla="*/ 283625 h 283625"/>
                <a:gd name="connsiteX1" fmla="*/ 175175 w 238780"/>
                <a:gd name="connsiteY1" fmla="*/ 273276 h 283625"/>
                <a:gd name="connsiteX2" fmla="*/ 178813 w 238780"/>
                <a:gd name="connsiteY2" fmla="*/ 225643 h 283625"/>
                <a:gd name="connsiteX3" fmla="*/ 204946 w 238780"/>
                <a:gd name="connsiteY3" fmla="*/ 225265 h 283625"/>
                <a:gd name="connsiteX4" fmla="*/ 221816 w 238780"/>
                <a:gd name="connsiteY4" fmla="*/ 216948 h 283625"/>
                <a:gd name="connsiteX5" fmla="*/ 230700 w 238780"/>
                <a:gd name="connsiteY5" fmla="*/ 176592 h 283625"/>
                <a:gd name="connsiteX6" fmla="*/ 238780 w 238780"/>
                <a:gd name="connsiteY6" fmla="*/ 118374 h 283625"/>
                <a:gd name="connsiteX7" fmla="*/ 119981 w 238780"/>
                <a:gd name="connsiteY7" fmla="*/ 0 h 283625"/>
                <a:gd name="connsiteX8" fmla="*/ 118799 w 238780"/>
                <a:gd name="connsiteY8" fmla="*/ 0 h 283625"/>
                <a:gd name="connsiteX9" fmla="*/ 0 w 238780"/>
                <a:gd name="connsiteY9" fmla="*/ 118374 h 283625"/>
                <a:gd name="connsiteX10" fmla="*/ 8081 w 238780"/>
                <a:gd name="connsiteY10" fmla="*/ 176592 h 283625"/>
                <a:gd name="connsiteX11" fmla="*/ 16965 w 238780"/>
                <a:gd name="connsiteY11" fmla="*/ 216948 h 283625"/>
                <a:gd name="connsiteX12" fmla="*/ 33835 w 238780"/>
                <a:gd name="connsiteY12" fmla="*/ 225265 h 283625"/>
                <a:gd name="connsiteX13" fmla="*/ 59967 w 238780"/>
                <a:gd name="connsiteY13" fmla="*/ 225643 h 283625"/>
                <a:gd name="connsiteX14" fmla="*/ 63605 w 238780"/>
                <a:gd name="connsiteY14" fmla="*/ 273276 h 283625"/>
                <a:gd name="connsiteX15" fmla="*/ 120973 w 238780"/>
                <a:gd name="connsiteY15" fmla="*/ 283625 h 283625"/>
                <a:gd name="connsiteX16" fmla="*/ 121776 w 238780"/>
                <a:gd name="connsiteY16" fmla="*/ 283625 h 2836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38780" h="283625">
                  <a:moveTo>
                    <a:pt x="121682" y="283625"/>
                  </a:moveTo>
                  <a:cubicBezTo>
                    <a:pt x="158588" y="283625"/>
                    <a:pt x="175175" y="273276"/>
                    <a:pt x="175175" y="273276"/>
                  </a:cubicBezTo>
                  <a:lnTo>
                    <a:pt x="178813" y="225643"/>
                  </a:lnTo>
                  <a:cubicBezTo>
                    <a:pt x="178813" y="225643"/>
                    <a:pt x="189871" y="225265"/>
                    <a:pt x="204946" y="225265"/>
                  </a:cubicBezTo>
                  <a:cubicBezTo>
                    <a:pt x="214916" y="225265"/>
                    <a:pt x="221816" y="216948"/>
                    <a:pt x="221816" y="216948"/>
                  </a:cubicBezTo>
                  <a:cubicBezTo>
                    <a:pt x="238922" y="198093"/>
                    <a:pt x="230652" y="187839"/>
                    <a:pt x="230700" y="176592"/>
                  </a:cubicBezTo>
                  <a:cubicBezTo>
                    <a:pt x="230700" y="165346"/>
                    <a:pt x="238780" y="138268"/>
                    <a:pt x="238780" y="118374"/>
                  </a:cubicBezTo>
                  <a:cubicBezTo>
                    <a:pt x="238780" y="51366"/>
                    <a:pt x="188879" y="0"/>
                    <a:pt x="119981" y="0"/>
                  </a:cubicBezTo>
                  <a:lnTo>
                    <a:pt x="118799" y="0"/>
                  </a:lnTo>
                  <a:cubicBezTo>
                    <a:pt x="49901" y="0"/>
                    <a:pt x="0" y="51366"/>
                    <a:pt x="0" y="118374"/>
                  </a:cubicBezTo>
                  <a:cubicBezTo>
                    <a:pt x="0" y="138268"/>
                    <a:pt x="8033" y="165346"/>
                    <a:pt x="8081" y="176592"/>
                  </a:cubicBezTo>
                  <a:cubicBezTo>
                    <a:pt x="8081" y="187839"/>
                    <a:pt x="-142" y="198093"/>
                    <a:pt x="16965" y="216948"/>
                  </a:cubicBezTo>
                  <a:cubicBezTo>
                    <a:pt x="16965" y="216948"/>
                    <a:pt x="23864" y="225265"/>
                    <a:pt x="33835" y="225265"/>
                  </a:cubicBezTo>
                  <a:cubicBezTo>
                    <a:pt x="48862" y="225265"/>
                    <a:pt x="59967" y="225643"/>
                    <a:pt x="59967" y="225643"/>
                  </a:cubicBezTo>
                  <a:lnTo>
                    <a:pt x="63605" y="273276"/>
                  </a:lnTo>
                  <a:cubicBezTo>
                    <a:pt x="63605" y="273276"/>
                    <a:pt x="84020" y="283625"/>
                    <a:pt x="120973" y="283625"/>
                  </a:cubicBezTo>
                  <a:lnTo>
                    <a:pt x="121776" y="283625"/>
                  </a:ln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157" name="Gráfico 14">
              <a:extLst>
                <a:ext uri="{FF2B5EF4-FFF2-40B4-BE49-F238E27FC236}">
                  <a16:creationId xmlns:a16="http://schemas.microsoft.com/office/drawing/2014/main" id="{FA1661BA-3A55-CB87-97A0-810CA816C82F}"/>
                </a:ext>
              </a:extLst>
            </p:cNvPr>
            <p:cNvGrpSpPr/>
            <p:nvPr/>
          </p:nvGrpSpPr>
          <p:grpSpPr>
            <a:xfrm>
              <a:off x="3326094" y="3908406"/>
              <a:ext cx="56942" cy="25754"/>
              <a:chOff x="3326094" y="3908406"/>
              <a:chExt cx="56942" cy="25754"/>
            </a:xfrm>
          </p:grpSpPr>
          <p:sp>
            <p:nvSpPr>
              <p:cNvPr id="1158" name="Forma livre: Forma 1157">
                <a:extLst>
                  <a:ext uri="{FF2B5EF4-FFF2-40B4-BE49-F238E27FC236}">
                    <a16:creationId xmlns:a16="http://schemas.microsoft.com/office/drawing/2014/main" id="{E459DF95-E71A-1E05-7E3E-8DA3BC8F25AD}"/>
                  </a:ext>
                </a:extLst>
              </p:cNvPr>
              <p:cNvSpPr/>
              <p:nvPr/>
            </p:nvSpPr>
            <p:spPr>
              <a:xfrm>
                <a:off x="3326094" y="3908973"/>
                <a:ext cx="4725" cy="22446"/>
              </a:xfrm>
              <a:custGeom>
                <a:avLst/>
                <a:gdLst>
                  <a:gd name="connsiteX0" fmla="*/ 0 w 4725"/>
                  <a:gd name="connsiteY0" fmla="*/ 22446 h 22446"/>
                  <a:gd name="connsiteX1" fmla="*/ 0 w 4725"/>
                  <a:gd name="connsiteY1" fmla="*/ 0 h 224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25" h="22446">
                    <a:moveTo>
                      <a:pt x="0" y="22446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159" name="Forma livre: Forma 1158">
                <a:extLst>
                  <a:ext uri="{FF2B5EF4-FFF2-40B4-BE49-F238E27FC236}">
                    <a16:creationId xmlns:a16="http://schemas.microsoft.com/office/drawing/2014/main" id="{96CAA610-6DE1-DE6C-834E-02E86550B034}"/>
                  </a:ext>
                </a:extLst>
              </p:cNvPr>
              <p:cNvSpPr/>
              <p:nvPr/>
            </p:nvSpPr>
            <p:spPr>
              <a:xfrm>
                <a:off x="3354589" y="3911714"/>
                <a:ext cx="4725" cy="22446"/>
              </a:xfrm>
              <a:custGeom>
                <a:avLst/>
                <a:gdLst>
                  <a:gd name="connsiteX0" fmla="*/ 0 w 4725"/>
                  <a:gd name="connsiteY0" fmla="*/ 22446 h 22446"/>
                  <a:gd name="connsiteX1" fmla="*/ 0 w 4725"/>
                  <a:gd name="connsiteY1" fmla="*/ 0 h 224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25" h="22446">
                    <a:moveTo>
                      <a:pt x="0" y="22446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160" name="Forma livre: Forma 1159">
                <a:extLst>
                  <a:ext uri="{FF2B5EF4-FFF2-40B4-BE49-F238E27FC236}">
                    <a16:creationId xmlns:a16="http://schemas.microsoft.com/office/drawing/2014/main" id="{64FCAF98-4735-1B4E-A923-EBA39AD0CEAB}"/>
                  </a:ext>
                </a:extLst>
              </p:cNvPr>
              <p:cNvSpPr/>
              <p:nvPr/>
            </p:nvSpPr>
            <p:spPr>
              <a:xfrm>
                <a:off x="3383036" y="3908406"/>
                <a:ext cx="4725" cy="22493"/>
              </a:xfrm>
              <a:custGeom>
                <a:avLst/>
                <a:gdLst>
                  <a:gd name="connsiteX0" fmla="*/ 0 w 4725"/>
                  <a:gd name="connsiteY0" fmla="*/ 22493 h 22493"/>
                  <a:gd name="connsiteX1" fmla="*/ 0 w 4725"/>
                  <a:gd name="connsiteY1" fmla="*/ 0 h 224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25" h="22493">
                    <a:moveTo>
                      <a:pt x="0" y="22493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161" name="Gráfico 14">
              <a:extLst>
                <a:ext uri="{FF2B5EF4-FFF2-40B4-BE49-F238E27FC236}">
                  <a16:creationId xmlns:a16="http://schemas.microsoft.com/office/drawing/2014/main" id="{07140A89-A376-0472-871F-96A833D7079F}"/>
                </a:ext>
              </a:extLst>
            </p:cNvPr>
            <p:cNvGrpSpPr/>
            <p:nvPr/>
          </p:nvGrpSpPr>
          <p:grpSpPr>
            <a:xfrm>
              <a:off x="3271336" y="3766604"/>
              <a:ext cx="166505" cy="60370"/>
              <a:chOff x="3271336" y="3766604"/>
              <a:chExt cx="166505" cy="60370"/>
            </a:xfrm>
            <a:noFill/>
          </p:grpSpPr>
          <p:sp>
            <p:nvSpPr>
              <p:cNvPr id="1162" name="Forma livre: Forma 1161">
                <a:extLst>
                  <a:ext uri="{FF2B5EF4-FFF2-40B4-BE49-F238E27FC236}">
                    <a16:creationId xmlns:a16="http://schemas.microsoft.com/office/drawing/2014/main" id="{2B059188-EDC1-43F8-0ADB-83ED2018035F}"/>
                  </a:ext>
                </a:extLst>
              </p:cNvPr>
              <p:cNvSpPr/>
              <p:nvPr/>
            </p:nvSpPr>
            <p:spPr>
              <a:xfrm>
                <a:off x="3271336" y="3766604"/>
                <a:ext cx="66183" cy="60370"/>
              </a:xfrm>
              <a:custGeom>
                <a:avLst/>
                <a:gdLst>
                  <a:gd name="connsiteX0" fmla="*/ 64918 w 66183"/>
                  <a:gd name="connsiteY0" fmla="*/ 21727 h 60370"/>
                  <a:gd name="connsiteX1" fmla="*/ 47528 w 66183"/>
                  <a:gd name="connsiteY1" fmla="*/ 55372 h 60370"/>
                  <a:gd name="connsiteX2" fmla="*/ 35903 w 66183"/>
                  <a:gd name="connsiteY2" fmla="*/ 59106 h 60370"/>
                  <a:gd name="connsiteX3" fmla="*/ 2258 w 66183"/>
                  <a:gd name="connsiteY3" fmla="*/ 41716 h 60370"/>
                  <a:gd name="connsiteX4" fmla="*/ 1265 w 66183"/>
                  <a:gd name="connsiteY4" fmla="*/ 38644 h 60370"/>
                  <a:gd name="connsiteX5" fmla="*/ 18655 w 66183"/>
                  <a:gd name="connsiteY5" fmla="*/ 4998 h 60370"/>
                  <a:gd name="connsiteX6" fmla="*/ 30280 w 66183"/>
                  <a:gd name="connsiteY6" fmla="*/ 1265 h 60370"/>
                  <a:gd name="connsiteX7" fmla="*/ 63926 w 66183"/>
                  <a:gd name="connsiteY7" fmla="*/ 18655 h 60370"/>
                  <a:gd name="connsiteX8" fmla="*/ 64918 w 66183"/>
                  <a:gd name="connsiteY8" fmla="*/ 21680 h 603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66183" h="60370">
                    <a:moveTo>
                      <a:pt x="64918" y="21727"/>
                    </a:moveTo>
                    <a:cubicBezTo>
                      <a:pt x="69407" y="35762"/>
                      <a:pt x="61563" y="50930"/>
                      <a:pt x="47528" y="55372"/>
                    </a:cubicBezTo>
                    <a:lnTo>
                      <a:pt x="35903" y="59106"/>
                    </a:lnTo>
                    <a:cubicBezTo>
                      <a:pt x="21869" y="63595"/>
                      <a:pt x="6700" y="55750"/>
                      <a:pt x="2258" y="41716"/>
                    </a:cubicBezTo>
                    <a:lnTo>
                      <a:pt x="1265" y="38644"/>
                    </a:lnTo>
                    <a:cubicBezTo>
                      <a:pt x="-3224" y="24609"/>
                      <a:pt x="4620" y="9440"/>
                      <a:pt x="18655" y="4998"/>
                    </a:cubicBezTo>
                    <a:lnTo>
                      <a:pt x="30280" y="1265"/>
                    </a:lnTo>
                    <a:cubicBezTo>
                      <a:pt x="44315" y="-3224"/>
                      <a:pt x="59484" y="4620"/>
                      <a:pt x="63926" y="18655"/>
                    </a:cubicBezTo>
                    <a:lnTo>
                      <a:pt x="64918" y="21680"/>
                    </a:lnTo>
                    <a:close/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163" name="Forma livre: Forma 1162">
                <a:extLst>
                  <a:ext uri="{FF2B5EF4-FFF2-40B4-BE49-F238E27FC236}">
                    <a16:creationId xmlns:a16="http://schemas.microsoft.com/office/drawing/2014/main" id="{53BAC93F-782B-DA78-9F77-22B497F34D33}"/>
                  </a:ext>
                </a:extLst>
              </p:cNvPr>
              <p:cNvSpPr/>
              <p:nvPr/>
            </p:nvSpPr>
            <p:spPr>
              <a:xfrm>
                <a:off x="3371658" y="3766604"/>
                <a:ext cx="66183" cy="60370"/>
              </a:xfrm>
              <a:custGeom>
                <a:avLst/>
                <a:gdLst>
                  <a:gd name="connsiteX0" fmla="*/ 1265 w 66183"/>
                  <a:gd name="connsiteY0" fmla="*/ 21727 h 60370"/>
                  <a:gd name="connsiteX1" fmla="*/ 18655 w 66183"/>
                  <a:gd name="connsiteY1" fmla="*/ 55372 h 60370"/>
                  <a:gd name="connsiteX2" fmla="*/ 30280 w 66183"/>
                  <a:gd name="connsiteY2" fmla="*/ 59106 h 60370"/>
                  <a:gd name="connsiteX3" fmla="*/ 63926 w 66183"/>
                  <a:gd name="connsiteY3" fmla="*/ 41716 h 60370"/>
                  <a:gd name="connsiteX4" fmla="*/ 64918 w 66183"/>
                  <a:gd name="connsiteY4" fmla="*/ 38644 h 60370"/>
                  <a:gd name="connsiteX5" fmla="*/ 47528 w 66183"/>
                  <a:gd name="connsiteY5" fmla="*/ 4998 h 60370"/>
                  <a:gd name="connsiteX6" fmla="*/ 35903 w 66183"/>
                  <a:gd name="connsiteY6" fmla="*/ 1265 h 60370"/>
                  <a:gd name="connsiteX7" fmla="*/ 2258 w 66183"/>
                  <a:gd name="connsiteY7" fmla="*/ 18655 h 60370"/>
                  <a:gd name="connsiteX8" fmla="*/ 1265 w 66183"/>
                  <a:gd name="connsiteY8" fmla="*/ 21680 h 603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66183" h="60370">
                    <a:moveTo>
                      <a:pt x="1265" y="21727"/>
                    </a:moveTo>
                    <a:cubicBezTo>
                      <a:pt x="-3224" y="35762"/>
                      <a:pt x="4620" y="50930"/>
                      <a:pt x="18655" y="55372"/>
                    </a:cubicBezTo>
                    <a:lnTo>
                      <a:pt x="30280" y="59106"/>
                    </a:lnTo>
                    <a:cubicBezTo>
                      <a:pt x="44315" y="63595"/>
                      <a:pt x="59484" y="55750"/>
                      <a:pt x="63926" y="41716"/>
                    </a:cubicBezTo>
                    <a:lnTo>
                      <a:pt x="64918" y="38644"/>
                    </a:lnTo>
                    <a:cubicBezTo>
                      <a:pt x="69407" y="24609"/>
                      <a:pt x="61563" y="9440"/>
                      <a:pt x="47528" y="4998"/>
                    </a:cubicBezTo>
                    <a:lnTo>
                      <a:pt x="35903" y="1265"/>
                    </a:lnTo>
                    <a:cubicBezTo>
                      <a:pt x="21869" y="-3224"/>
                      <a:pt x="6700" y="4620"/>
                      <a:pt x="2258" y="18655"/>
                    </a:cubicBezTo>
                    <a:lnTo>
                      <a:pt x="1265" y="21680"/>
                    </a:lnTo>
                    <a:close/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164" name="Gráfico 14">
              <a:extLst>
                <a:ext uri="{FF2B5EF4-FFF2-40B4-BE49-F238E27FC236}">
                  <a16:creationId xmlns:a16="http://schemas.microsoft.com/office/drawing/2014/main" id="{A571F77D-6223-3273-0CE9-D4330770CB5A}"/>
                </a:ext>
              </a:extLst>
            </p:cNvPr>
            <p:cNvGrpSpPr/>
            <p:nvPr/>
          </p:nvGrpSpPr>
          <p:grpSpPr>
            <a:xfrm>
              <a:off x="3336821" y="3845462"/>
              <a:ext cx="35488" cy="17106"/>
              <a:chOff x="3336821" y="3845462"/>
              <a:chExt cx="35488" cy="17106"/>
            </a:xfrm>
          </p:grpSpPr>
          <p:sp>
            <p:nvSpPr>
              <p:cNvPr id="1165" name="Forma livre: Forma 1164">
                <a:extLst>
                  <a:ext uri="{FF2B5EF4-FFF2-40B4-BE49-F238E27FC236}">
                    <a16:creationId xmlns:a16="http://schemas.microsoft.com/office/drawing/2014/main" id="{7D7CF694-340A-F686-CF64-34889ED4C0A2}"/>
                  </a:ext>
                </a:extLst>
              </p:cNvPr>
              <p:cNvSpPr/>
              <p:nvPr/>
            </p:nvSpPr>
            <p:spPr>
              <a:xfrm>
                <a:off x="3336821" y="3845462"/>
                <a:ext cx="5954" cy="17106"/>
              </a:xfrm>
              <a:custGeom>
                <a:avLst/>
                <a:gdLst>
                  <a:gd name="connsiteX0" fmla="*/ 5954 w 5954"/>
                  <a:gd name="connsiteY0" fmla="*/ 0 h 17106"/>
                  <a:gd name="connsiteX1" fmla="*/ 0 w 5954"/>
                  <a:gd name="connsiteY1" fmla="*/ 17106 h 171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954" h="17106">
                    <a:moveTo>
                      <a:pt x="5954" y="0"/>
                    </a:moveTo>
                    <a:lnTo>
                      <a:pt x="0" y="17106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166" name="Forma livre: Forma 1165">
                <a:extLst>
                  <a:ext uri="{FF2B5EF4-FFF2-40B4-BE49-F238E27FC236}">
                    <a16:creationId xmlns:a16="http://schemas.microsoft.com/office/drawing/2014/main" id="{5977DAA0-BABC-38AA-E58C-424286D78C2E}"/>
                  </a:ext>
                </a:extLst>
              </p:cNvPr>
              <p:cNvSpPr/>
              <p:nvPr/>
            </p:nvSpPr>
            <p:spPr>
              <a:xfrm>
                <a:off x="3366355" y="3845462"/>
                <a:ext cx="5954" cy="17106"/>
              </a:xfrm>
              <a:custGeom>
                <a:avLst/>
                <a:gdLst>
                  <a:gd name="connsiteX0" fmla="*/ 0 w 5954"/>
                  <a:gd name="connsiteY0" fmla="*/ 0 h 17106"/>
                  <a:gd name="connsiteX1" fmla="*/ 5954 w 5954"/>
                  <a:gd name="connsiteY1" fmla="*/ 17106 h 171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954" h="17106">
                    <a:moveTo>
                      <a:pt x="0" y="0"/>
                    </a:moveTo>
                    <a:lnTo>
                      <a:pt x="5954" y="17106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167" name="Gráfico 14">
            <a:extLst>
              <a:ext uri="{FF2B5EF4-FFF2-40B4-BE49-F238E27FC236}">
                <a16:creationId xmlns:a16="http://schemas.microsoft.com/office/drawing/2014/main" id="{53272271-D729-0E6F-6657-D3A5502D6029}"/>
              </a:ext>
            </a:extLst>
          </p:cNvPr>
          <p:cNvGrpSpPr/>
          <p:nvPr/>
        </p:nvGrpSpPr>
        <p:grpSpPr>
          <a:xfrm>
            <a:off x="3213576" y="4707300"/>
            <a:ext cx="281978" cy="262738"/>
            <a:chOff x="3213576" y="4707300"/>
            <a:chExt cx="281978" cy="262738"/>
          </a:xfrm>
          <a:noFill/>
        </p:grpSpPr>
        <p:sp>
          <p:nvSpPr>
            <p:cNvPr id="1168" name="Forma livre: Forma 1167">
              <a:extLst>
                <a:ext uri="{FF2B5EF4-FFF2-40B4-BE49-F238E27FC236}">
                  <a16:creationId xmlns:a16="http://schemas.microsoft.com/office/drawing/2014/main" id="{3B8737B0-5374-E1C9-DEE0-7763CCEF7287}"/>
                </a:ext>
              </a:extLst>
            </p:cNvPr>
            <p:cNvSpPr/>
            <p:nvPr/>
          </p:nvSpPr>
          <p:spPr>
            <a:xfrm>
              <a:off x="3337719" y="4920705"/>
              <a:ext cx="33645" cy="2870"/>
            </a:xfrm>
            <a:custGeom>
              <a:avLst/>
              <a:gdLst>
                <a:gd name="connsiteX0" fmla="*/ 0 w 33645"/>
                <a:gd name="connsiteY0" fmla="*/ 0 h 2870"/>
                <a:gd name="connsiteX1" fmla="*/ 33646 w 33645"/>
                <a:gd name="connsiteY1" fmla="*/ 0 h 28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3645" h="2870">
                  <a:moveTo>
                    <a:pt x="0" y="0"/>
                  </a:moveTo>
                  <a:cubicBezTo>
                    <a:pt x="15216" y="3828"/>
                    <a:pt x="21690" y="3828"/>
                    <a:pt x="33646" y="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169" name="Gráfico 14">
              <a:extLst>
                <a:ext uri="{FF2B5EF4-FFF2-40B4-BE49-F238E27FC236}">
                  <a16:creationId xmlns:a16="http://schemas.microsoft.com/office/drawing/2014/main" id="{92A4B4D5-EAAC-BA9F-764F-C0D56C7E8228}"/>
                </a:ext>
              </a:extLst>
            </p:cNvPr>
            <p:cNvGrpSpPr/>
            <p:nvPr/>
          </p:nvGrpSpPr>
          <p:grpSpPr>
            <a:xfrm>
              <a:off x="3298591" y="4810175"/>
              <a:ext cx="111994" cy="42813"/>
              <a:chOff x="3298591" y="4810175"/>
              <a:chExt cx="111994" cy="42813"/>
            </a:xfrm>
            <a:noFill/>
          </p:grpSpPr>
          <p:sp>
            <p:nvSpPr>
              <p:cNvPr id="1170" name="Forma livre: Forma 1169">
                <a:extLst>
                  <a:ext uri="{FF2B5EF4-FFF2-40B4-BE49-F238E27FC236}">
                    <a16:creationId xmlns:a16="http://schemas.microsoft.com/office/drawing/2014/main" id="{BDEB4E8D-F7A7-515A-318E-AE433A8B9499}"/>
                  </a:ext>
                </a:extLst>
              </p:cNvPr>
              <p:cNvSpPr/>
              <p:nvPr/>
            </p:nvSpPr>
            <p:spPr>
              <a:xfrm>
                <a:off x="3298591" y="4810175"/>
                <a:ext cx="42813" cy="42813"/>
              </a:xfrm>
              <a:custGeom>
                <a:avLst/>
                <a:gdLst>
                  <a:gd name="connsiteX0" fmla="*/ 42813 w 42813"/>
                  <a:gd name="connsiteY0" fmla="*/ 21407 h 42813"/>
                  <a:gd name="connsiteX1" fmla="*/ 21407 w 42813"/>
                  <a:gd name="connsiteY1" fmla="*/ 42813 h 42813"/>
                  <a:gd name="connsiteX2" fmla="*/ 0 w 42813"/>
                  <a:gd name="connsiteY2" fmla="*/ 21407 h 42813"/>
                  <a:gd name="connsiteX3" fmla="*/ 21407 w 42813"/>
                  <a:gd name="connsiteY3" fmla="*/ 0 h 42813"/>
                  <a:gd name="connsiteX4" fmla="*/ 42813 w 42813"/>
                  <a:gd name="connsiteY4" fmla="*/ 21407 h 428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2813" h="42813">
                    <a:moveTo>
                      <a:pt x="42813" y="21407"/>
                    </a:moveTo>
                    <a:cubicBezTo>
                      <a:pt x="42813" y="33229"/>
                      <a:pt x="33229" y="42813"/>
                      <a:pt x="21407" y="42813"/>
                    </a:cubicBezTo>
                    <a:cubicBezTo>
                      <a:pt x="9584" y="42813"/>
                      <a:pt x="0" y="33229"/>
                      <a:pt x="0" y="21407"/>
                    </a:cubicBezTo>
                    <a:cubicBezTo>
                      <a:pt x="0" y="9584"/>
                      <a:pt x="9584" y="0"/>
                      <a:pt x="21407" y="0"/>
                    </a:cubicBezTo>
                    <a:cubicBezTo>
                      <a:pt x="33229" y="0"/>
                      <a:pt x="42813" y="9584"/>
                      <a:pt x="42813" y="21407"/>
                    </a:cubicBezTo>
                    <a:close/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171" name="Forma livre: Forma 1170">
                <a:extLst>
                  <a:ext uri="{FF2B5EF4-FFF2-40B4-BE49-F238E27FC236}">
                    <a16:creationId xmlns:a16="http://schemas.microsoft.com/office/drawing/2014/main" id="{532D669A-B7B8-3B75-060D-0B24BF74CC09}"/>
                  </a:ext>
                </a:extLst>
              </p:cNvPr>
              <p:cNvSpPr/>
              <p:nvPr/>
            </p:nvSpPr>
            <p:spPr>
              <a:xfrm>
                <a:off x="3367773" y="4810175"/>
                <a:ext cx="42813" cy="42813"/>
              </a:xfrm>
              <a:custGeom>
                <a:avLst/>
                <a:gdLst>
                  <a:gd name="connsiteX0" fmla="*/ 42813 w 42813"/>
                  <a:gd name="connsiteY0" fmla="*/ 21407 h 42813"/>
                  <a:gd name="connsiteX1" fmla="*/ 21407 w 42813"/>
                  <a:gd name="connsiteY1" fmla="*/ 42813 h 42813"/>
                  <a:gd name="connsiteX2" fmla="*/ 0 w 42813"/>
                  <a:gd name="connsiteY2" fmla="*/ 21407 h 42813"/>
                  <a:gd name="connsiteX3" fmla="*/ 21407 w 42813"/>
                  <a:gd name="connsiteY3" fmla="*/ 0 h 42813"/>
                  <a:gd name="connsiteX4" fmla="*/ 42813 w 42813"/>
                  <a:gd name="connsiteY4" fmla="*/ 21407 h 428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2813" h="42813">
                    <a:moveTo>
                      <a:pt x="42813" y="21407"/>
                    </a:moveTo>
                    <a:cubicBezTo>
                      <a:pt x="42813" y="33229"/>
                      <a:pt x="33229" y="42813"/>
                      <a:pt x="21407" y="42813"/>
                    </a:cubicBezTo>
                    <a:cubicBezTo>
                      <a:pt x="9584" y="42813"/>
                      <a:pt x="0" y="33229"/>
                      <a:pt x="0" y="21407"/>
                    </a:cubicBezTo>
                    <a:cubicBezTo>
                      <a:pt x="0" y="9584"/>
                      <a:pt x="9584" y="0"/>
                      <a:pt x="21407" y="0"/>
                    </a:cubicBezTo>
                    <a:cubicBezTo>
                      <a:pt x="33229" y="0"/>
                      <a:pt x="42813" y="9584"/>
                      <a:pt x="42813" y="21407"/>
                    </a:cubicBezTo>
                    <a:close/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172" name="Forma livre: Forma 1171">
              <a:extLst>
                <a:ext uri="{FF2B5EF4-FFF2-40B4-BE49-F238E27FC236}">
                  <a16:creationId xmlns:a16="http://schemas.microsoft.com/office/drawing/2014/main" id="{71FF8F85-0DAB-5EC6-DDCB-CFDDB76FA263}"/>
                </a:ext>
              </a:extLst>
            </p:cNvPr>
            <p:cNvSpPr/>
            <p:nvPr/>
          </p:nvSpPr>
          <p:spPr>
            <a:xfrm>
              <a:off x="3340885" y="4824493"/>
              <a:ext cx="27360" cy="4725"/>
            </a:xfrm>
            <a:custGeom>
              <a:avLst/>
              <a:gdLst>
                <a:gd name="connsiteX0" fmla="*/ 0 w 27360"/>
                <a:gd name="connsiteY0" fmla="*/ 0 h 4725"/>
                <a:gd name="connsiteX1" fmla="*/ 27361 w 27360"/>
                <a:gd name="connsiteY1" fmla="*/ 0 h 47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7360" h="4725">
                  <a:moveTo>
                    <a:pt x="0" y="0"/>
                  </a:moveTo>
                  <a:lnTo>
                    <a:pt x="27361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73" name="Forma livre: Forma 1172">
              <a:extLst>
                <a:ext uri="{FF2B5EF4-FFF2-40B4-BE49-F238E27FC236}">
                  <a16:creationId xmlns:a16="http://schemas.microsoft.com/office/drawing/2014/main" id="{6A32330C-3E26-5F19-925D-D923C2B11553}"/>
                </a:ext>
              </a:extLst>
            </p:cNvPr>
            <p:cNvSpPr/>
            <p:nvPr/>
          </p:nvSpPr>
          <p:spPr>
            <a:xfrm>
              <a:off x="3249829" y="4827092"/>
              <a:ext cx="209526" cy="142946"/>
            </a:xfrm>
            <a:custGeom>
              <a:avLst/>
              <a:gdLst>
                <a:gd name="connsiteX0" fmla="*/ 205508 w 209526"/>
                <a:gd name="connsiteY0" fmla="*/ 0 h 142946"/>
                <a:gd name="connsiteX1" fmla="*/ 193127 w 209526"/>
                <a:gd name="connsiteY1" fmla="*/ 48342 h 142946"/>
                <a:gd name="connsiteX2" fmla="*/ 193079 w 209526"/>
                <a:gd name="connsiteY2" fmla="*/ 48342 h 142946"/>
                <a:gd name="connsiteX3" fmla="*/ 105563 w 209526"/>
                <a:gd name="connsiteY3" fmla="*/ 142947 h 142946"/>
                <a:gd name="connsiteX4" fmla="*/ 103956 w 209526"/>
                <a:gd name="connsiteY4" fmla="*/ 142947 h 142946"/>
                <a:gd name="connsiteX5" fmla="*/ 16440 w 209526"/>
                <a:gd name="connsiteY5" fmla="*/ 48578 h 142946"/>
                <a:gd name="connsiteX6" fmla="*/ 16440 w 209526"/>
                <a:gd name="connsiteY6" fmla="*/ 48389 h 142946"/>
                <a:gd name="connsiteX7" fmla="*/ 4012 w 209526"/>
                <a:gd name="connsiteY7" fmla="*/ 47 h 1429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09526" h="142946">
                  <a:moveTo>
                    <a:pt x="205508" y="0"/>
                  </a:moveTo>
                  <a:cubicBezTo>
                    <a:pt x="205508" y="0"/>
                    <a:pt x="220298" y="26983"/>
                    <a:pt x="193127" y="48342"/>
                  </a:cubicBezTo>
                  <a:lnTo>
                    <a:pt x="193079" y="48342"/>
                  </a:lnTo>
                  <a:cubicBezTo>
                    <a:pt x="193079" y="48342"/>
                    <a:pt x="181786" y="142947"/>
                    <a:pt x="105563" y="142947"/>
                  </a:cubicBezTo>
                  <a:lnTo>
                    <a:pt x="103956" y="142947"/>
                  </a:lnTo>
                  <a:cubicBezTo>
                    <a:pt x="27781" y="142947"/>
                    <a:pt x="16440" y="48578"/>
                    <a:pt x="16440" y="48578"/>
                  </a:cubicBezTo>
                  <a:lnTo>
                    <a:pt x="16440" y="48389"/>
                  </a:lnTo>
                  <a:cubicBezTo>
                    <a:pt x="-10779" y="26983"/>
                    <a:pt x="4012" y="47"/>
                    <a:pt x="4012" y="47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174" name="Gráfico 14">
              <a:extLst>
                <a:ext uri="{FF2B5EF4-FFF2-40B4-BE49-F238E27FC236}">
                  <a16:creationId xmlns:a16="http://schemas.microsoft.com/office/drawing/2014/main" id="{CA67C6CB-CBD4-C240-4D44-CECA61638777}"/>
                </a:ext>
              </a:extLst>
            </p:cNvPr>
            <p:cNvGrpSpPr/>
            <p:nvPr/>
          </p:nvGrpSpPr>
          <p:grpSpPr>
            <a:xfrm>
              <a:off x="3315981" y="4894573"/>
              <a:ext cx="77167" cy="11813"/>
              <a:chOff x="3315981" y="4894573"/>
              <a:chExt cx="77167" cy="11813"/>
            </a:xfrm>
            <a:noFill/>
          </p:grpSpPr>
          <p:sp>
            <p:nvSpPr>
              <p:cNvPr id="1175" name="Forma livre: Forma 1174">
                <a:extLst>
                  <a:ext uri="{FF2B5EF4-FFF2-40B4-BE49-F238E27FC236}">
                    <a16:creationId xmlns:a16="http://schemas.microsoft.com/office/drawing/2014/main" id="{99FC32FB-2C9B-B0E2-5E52-E692317E6708}"/>
                  </a:ext>
                </a:extLst>
              </p:cNvPr>
              <p:cNvSpPr/>
              <p:nvPr/>
            </p:nvSpPr>
            <p:spPr>
              <a:xfrm>
                <a:off x="3315981" y="4894573"/>
                <a:ext cx="38607" cy="11813"/>
              </a:xfrm>
              <a:custGeom>
                <a:avLst/>
                <a:gdLst>
                  <a:gd name="connsiteX0" fmla="*/ 0 w 38607"/>
                  <a:gd name="connsiteY0" fmla="*/ 11814 h 11813"/>
                  <a:gd name="connsiteX1" fmla="*/ 8648 w 38607"/>
                  <a:gd name="connsiteY1" fmla="*/ 0 h 11813"/>
                  <a:gd name="connsiteX2" fmla="*/ 38608 w 38607"/>
                  <a:gd name="connsiteY2" fmla="*/ 0 h 118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8607" h="11813">
                    <a:moveTo>
                      <a:pt x="0" y="11814"/>
                    </a:moveTo>
                    <a:lnTo>
                      <a:pt x="8648" y="0"/>
                    </a:lnTo>
                    <a:lnTo>
                      <a:pt x="38608" y="0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176" name="Forma livre: Forma 1175">
                <a:extLst>
                  <a:ext uri="{FF2B5EF4-FFF2-40B4-BE49-F238E27FC236}">
                    <a16:creationId xmlns:a16="http://schemas.microsoft.com/office/drawing/2014/main" id="{479614C2-FE66-1ABD-917F-CFF6965953EA}"/>
                  </a:ext>
                </a:extLst>
              </p:cNvPr>
              <p:cNvSpPr/>
              <p:nvPr/>
            </p:nvSpPr>
            <p:spPr>
              <a:xfrm>
                <a:off x="3354589" y="4894573"/>
                <a:ext cx="38560" cy="11813"/>
              </a:xfrm>
              <a:custGeom>
                <a:avLst/>
                <a:gdLst>
                  <a:gd name="connsiteX0" fmla="*/ 38560 w 38560"/>
                  <a:gd name="connsiteY0" fmla="*/ 11814 h 11813"/>
                  <a:gd name="connsiteX1" fmla="*/ 29912 w 38560"/>
                  <a:gd name="connsiteY1" fmla="*/ 0 h 11813"/>
                  <a:gd name="connsiteX2" fmla="*/ 0 w 38560"/>
                  <a:gd name="connsiteY2" fmla="*/ 0 h 118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8560" h="11813">
                    <a:moveTo>
                      <a:pt x="38560" y="11814"/>
                    </a:moveTo>
                    <a:lnTo>
                      <a:pt x="29912" y="0"/>
                    </a:lnTo>
                    <a:lnTo>
                      <a:pt x="0" y="0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177" name="Forma livre: Forma 1176">
              <a:extLst>
                <a:ext uri="{FF2B5EF4-FFF2-40B4-BE49-F238E27FC236}">
                  <a16:creationId xmlns:a16="http://schemas.microsoft.com/office/drawing/2014/main" id="{5A3202D4-5F4D-A825-1C98-81E78B8DF532}"/>
                </a:ext>
              </a:extLst>
            </p:cNvPr>
            <p:cNvSpPr/>
            <p:nvPr/>
          </p:nvSpPr>
          <p:spPr>
            <a:xfrm>
              <a:off x="3265331" y="4707300"/>
              <a:ext cx="178510" cy="91438"/>
            </a:xfrm>
            <a:custGeom>
              <a:avLst/>
              <a:gdLst>
                <a:gd name="connsiteX0" fmla="*/ 177861 w 178510"/>
                <a:gd name="connsiteY0" fmla="*/ 91439 h 91438"/>
                <a:gd name="connsiteX1" fmla="*/ 89447 w 178510"/>
                <a:gd name="connsiteY1" fmla="*/ 0 h 91438"/>
                <a:gd name="connsiteX2" fmla="*/ 89069 w 178510"/>
                <a:gd name="connsiteY2" fmla="*/ 0 h 91438"/>
                <a:gd name="connsiteX3" fmla="*/ 654 w 178510"/>
                <a:gd name="connsiteY3" fmla="*/ 91439 h 914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8510" h="91438">
                  <a:moveTo>
                    <a:pt x="177861" y="91439"/>
                  </a:moveTo>
                  <a:cubicBezTo>
                    <a:pt x="177861" y="91439"/>
                    <a:pt x="191896" y="0"/>
                    <a:pt x="89447" y="0"/>
                  </a:cubicBezTo>
                  <a:lnTo>
                    <a:pt x="89069" y="0"/>
                  </a:lnTo>
                  <a:cubicBezTo>
                    <a:pt x="-13428" y="0"/>
                    <a:pt x="654" y="91439"/>
                    <a:pt x="654" y="91439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178" name="Gráfico 14">
              <a:extLst>
                <a:ext uri="{FF2B5EF4-FFF2-40B4-BE49-F238E27FC236}">
                  <a16:creationId xmlns:a16="http://schemas.microsoft.com/office/drawing/2014/main" id="{A48C1733-2873-272E-3B57-2A563B9CAFF4}"/>
                </a:ext>
              </a:extLst>
            </p:cNvPr>
            <p:cNvGrpSpPr/>
            <p:nvPr/>
          </p:nvGrpSpPr>
          <p:grpSpPr>
            <a:xfrm>
              <a:off x="3213576" y="4746948"/>
              <a:ext cx="281978" cy="186405"/>
              <a:chOff x="3213576" y="4746948"/>
              <a:chExt cx="281978" cy="186405"/>
            </a:xfrm>
            <a:noFill/>
          </p:grpSpPr>
          <p:sp>
            <p:nvSpPr>
              <p:cNvPr id="1179" name="Forma livre: Forma 1178">
                <a:extLst>
                  <a:ext uri="{FF2B5EF4-FFF2-40B4-BE49-F238E27FC236}">
                    <a16:creationId xmlns:a16="http://schemas.microsoft.com/office/drawing/2014/main" id="{C2003EAE-638A-74D3-828D-B10E96D3E782}"/>
                  </a:ext>
                </a:extLst>
              </p:cNvPr>
              <p:cNvSpPr/>
              <p:nvPr/>
            </p:nvSpPr>
            <p:spPr>
              <a:xfrm>
                <a:off x="3213576" y="4746948"/>
                <a:ext cx="66538" cy="186405"/>
              </a:xfrm>
              <a:custGeom>
                <a:avLst/>
                <a:gdLst>
                  <a:gd name="connsiteX0" fmla="*/ 59545 w 66538"/>
                  <a:gd name="connsiteY0" fmla="*/ 0 h 186405"/>
                  <a:gd name="connsiteX1" fmla="*/ 57371 w 66538"/>
                  <a:gd name="connsiteY1" fmla="*/ 425 h 186405"/>
                  <a:gd name="connsiteX2" fmla="*/ 3 w 66538"/>
                  <a:gd name="connsiteY2" fmla="*/ 163077 h 186405"/>
                  <a:gd name="connsiteX3" fmla="*/ 62238 w 66538"/>
                  <a:gd name="connsiteY3" fmla="*/ 179239 h 186405"/>
                  <a:gd name="connsiteX4" fmla="*/ 66539 w 66538"/>
                  <a:gd name="connsiteY4" fmla="*/ 177537 h 1864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6538" h="186405">
                    <a:moveTo>
                      <a:pt x="59545" y="0"/>
                    </a:moveTo>
                    <a:lnTo>
                      <a:pt x="57371" y="425"/>
                    </a:lnTo>
                    <a:cubicBezTo>
                      <a:pt x="57371" y="425"/>
                      <a:pt x="1799" y="7135"/>
                      <a:pt x="3" y="163077"/>
                    </a:cubicBezTo>
                    <a:cubicBezTo>
                      <a:pt x="3" y="163077"/>
                      <a:pt x="-1556" y="202063"/>
                      <a:pt x="62238" y="179239"/>
                    </a:cubicBezTo>
                    <a:lnTo>
                      <a:pt x="66539" y="177537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180" name="Forma livre: Forma 1179">
                <a:extLst>
                  <a:ext uri="{FF2B5EF4-FFF2-40B4-BE49-F238E27FC236}">
                    <a16:creationId xmlns:a16="http://schemas.microsoft.com/office/drawing/2014/main" id="{519358AC-4882-82E3-C0C7-CBCD19F1F20A}"/>
                  </a:ext>
                </a:extLst>
              </p:cNvPr>
              <p:cNvSpPr/>
              <p:nvPr/>
            </p:nvSpPr>
            <p:spPr>
              <a:xfrm>
                <a:off x="3429016" y="4746948"/>
                <a:ext cx="66538" cy="186405"/>
              </a:xfrm>
              <a:custGeom>
                <a:avLst/>
                <a:gdLst>
                  <a:gd name="connsiteX0" fmla="*/ 6994 w 66538"/>
                  <a:gd name="connsiteY0" fmla="*/ 0 h 186405"/>
                  <a:gd name="connsiteX1" fmla="*/ 9167 w 66538"/>
                  <a:gd name="connsiteY1" fmla="*/ 425 h 186405"/>
                  <a:gd name="connsiteX2" fmla="*/ 66535 w 66538"/>
                  <a:gd name="connsiteY2" fmla="*/ 163077 h 186405"/>
                  <a:gd name="connsiteX3" fmla="*/ 4300 w 66538"/>
                  <a:gd name="connsiteY3" fmla="*/ 179239 h 186405"/>
                  <a:gd name="connsiteX4" fmla="*/ 0 w 66538"/>
                  <a:gd name="connsiteY4" fmla="*/ 177537 h 1864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6538" h="186405">
                    <a:moveTo>
                      <a:pt x="6994" y="0"/>
                    </a:moveTo>
                    <a:lnTo>
                      <a:pt x="9167" y="425"/>
                    </a:lnTo>
                    <a:cubicBezTo>
                      <a:pt x="9167" y="425"/>
                      <a:pt x="64740" y="7135"/>
                      <a:pt x="66535" y="163077"/>
                    </a:cubicBezTo>
                    <a:cubicBezTo>
                      <a:pt x="66535" y="163077"/>
                      <a:pt x="68095" y="202063"/>
                      <a:pt x="4300" y="179239"/>
                    </a:cubicBezTo>
                    <a:lnTo>
                      <a:pt x="0" y="177537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181" name="Gráfico 14">
              <a:extLst>
                <a:ext uri="{FF2B5EF4-FFF2-40B4-BE49-F238E27FC236}">
                  <a16:creationId xmlns:a16="http://schemas.microsoft.com/office/drawing/2014/main" id="{34EFF10C-60F3-2ED0-1B44-1F32EB25BE8E}"/>
                </a:ext>
              </a:extLst>
            </p:cNvPr>
            <p:cNvGrpSpPr/>
            <p:nvPr/>
          </p:nvGrpSpPr>
          <p:grpSpPr>
            <a:xfrm>
              <a:off x="3279264" y="4826478"/>
              <a:ext cx="150602" cy="4631"/>
              <a:chOff x="3279264" y="4826478"/>
              <a:chExt cx="150602" cy="4631"/>
            </a:xfrm>
          </p:grpSpPr>
          <p:sp>
            <p:nvSpPr>
              <p:cNvPr id="1182" name="Forma livre: Forma 1181">
                <a:extLst>
                  <a:ext uri="{FF2B5EF4-FFF2-40B4-BE49-F238E27FC236}">
                    <a16:creationId xmlns:a16="http://schemas.microsoft.com/office/drawing/2014/main" id="{D3D7A81D-9D58-CC54-B66A-BA71895DB29C}"/>
                  </a:ext>
                </a:extLst>
              </p:cNvPr>
              <p:cNvSpPr/>
              <p:nvPr/>
            </p:nvSpPr>
            <p:spPr>
              <a:xfrm>
                <a:off x="3279264" y="4826478"/>
                <a:ext cx="18334" cy="4631"/>
              </a:xfrm>
              <a:custGeom>
                <a:avLst/>
                <a:gdLst>
                  <a:gd name="connsiteX0" fmla="*/ 0 w 18334"/>
                  <a:gd name="connsiteY0" fmla="*/ 0 h 4631"/>
                  <a:gd name="connsiteX1" fmla="*/ 18335 w 18334"/>
                  <a:gd name="connsiteY1" fmla="*/ 4631 h 46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8334" h="4631">
                    <a:moveTo>
                      <a:pt x="0" y="0"/>
                    </a:moveTo>
                    <a:lnTo>
                      <a:pt x="18335" y="4631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183" name="Forma livre: Forma 1182">
                <a:extLst>
                  <a:ext uri="{FF2B5EF4-FFF2-40B4-BE49-F238E27FC236}">
                    <a16:creationId xmlns:a16="http://schemas.microsoft.com/office/drawing/2014/main" id="{90BAF8D9-2CD6-88B7-7A33-C6A52F18B408}"/>
                  </a:ext>
                </a:extLst>
              </p:cNvPr>
              <p:cNvSpPr/>
              <p:nvPr/>
            </p:nvSpPr>
            <p:spPr>
              <a:xfrm>
                <a:off x="3411578" y="4826478"/>
                <a:ext cx="18287" cy="4631"/>
              </a:xfrm>
              <a:custGeom>
                <a:avLst/>
                <a:gdLst>
                  <a:gd name="connsiteX0" fmla="*/ 18288 w 18287"/>
                  <a:gd name="connsiteY0" fmla="*/ 0 h 4631"/>
                  <a:gd name="connsiteX1" fmla="*/ 0 w 18287"/>
                  <a:gd name="connsiteY1" fmla="*/ 4631 h 46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8287" h="4631">
                    <a:moveTo>
                      <a:pt x="18288" y="0"/>
                    </a:moveTo>
                    <a:lnTo>
                      <a:pt x="0" y="4631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184" name="Gráfico 14">
            <a:extLst>
              <a:ext uri="{FF2B5EF4-FFF2-40B4-BE49-F238E27FC236}">
                <a16:creationId xmlns:a16="http://schemas.microsoft.com/office/drawing/2014/main" id="{36B9B4D4-7683-6D98-2A83-9930A0D7E713}"/>
              </a:ext>
            </a:extLst>
          </p:cNvPr>
          <p:cNvGrpSpPr/>
          <p:nvPr/>
        </p:nvGrpSpPr>
        <p:grpSpPr>
          <a:xfrm>
            <a:off x="3194299" y="5737887"/>
            <a:ext cx="320484" cy="290737"/>
            <a:chOff x="3194299" y="5737887"/>
            <a:chExt cx="320484" cy="290737"/>
          </a:xfrm>
          <a:noFill/>
        </p:grpSpPr>
        <p:sp>
          <p:nvSpPr>
            <p:cNvPr id="1185" name="Forma livre: Forma 1184">
              <a:extLst>
                <a:ext uri="{FF2B5EF4-FFF2-40B4-BE49-F238E27FC236}">
                  <a16:creationId xmlns:a16="http://schemas.microsoft.com/office/drawing/2014/main" id="{CF1750A5-505B-76A7-43D2-C1E17C97743E}"/>
                </a:ext>
              </a:extLst>
            </p:cNvPr>
            <p:cNvSpPr/>
            <p:nvPr/>
          </p:nvSpPr>
          <p:spPr>
            <a:xfrm>
              <a:off x="3253841" y="5903753"/>
              <a:ext cx="45317" cy="78821"/>
            </a:xfrm>
            <a:custGeom>
              <a:avLst/>
              <a:gdLst>
                <a:gd name="connsiteX0" fmla="*/ 45318 w 45317"/>
                <a:gd name="connsiteY0" fmla="*/ 78821 h 78821"/>
                <a:gd name="connsiteX1" fmla="*/ 0 w 45317"/>
                <a:gd name="connsiteY1" fmla="*/ 0 h 788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5317" h="78821">
                  <a:moveTo>
                    <a:pt x="45318" y="78821"/>
                  </a:moveTo>
                  <a:cubicBezTo>
                    <a:pt x="19375" y="61715"/>
                    <a:pt x="1748" y="32984"/>
                    <a:pt x="0" y="0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86" name="Forma livre: Forma 1185">
              <a:extLst>
                <a:ext uri="{FF2B5EF4-FFF2-40B4-BE49-F238E27FC236}">
                  <a16:creationId xmlns:a16="http://schemas.microsoft.com/office/drawing/2014/main" id="{EEFF423A-DB6A-DDA4-C05D-8881462E2BA3}"/>
                </a:ext>
              </a:extLst>
            </p:cNvPr>
            <p:cNvSpPr/>
            <p:nvPr/>
          </p:nvSpPr>
          <p:spPr>
            <a:xfrm>
              <a:off x="3409924" y="5903753"/>
              <a:ext cx="45412" cy="78868"/>
            </a:xfrm>
            <a:custGeom>
              <a:avLst/>
              <a:gdLst>
                <a:gd name="connsiteX0" fmla="*/ 45412 w 45412"/>
                <a:gd name="connsiteY0" fmla="*/ 0 h 78868"/>
                <a:gd name="connsiteX1" fmla="*/ 0 w 45412"/>
                <a:gd name="connsiteY1" fmla="*/ 78869 h 78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5412" h="78868">
                  <a:moveTo>
                    <a:pt x="45412" y="0"/>
                  </a:moveTo>
                  <a:cubicBezTo>
                    <a:pt x="43616" y="32984"/>
                    <a:pt x="25990" y="61762"/>
                    <a:pt x="0" y="78869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87" name="Forma livre: Forma 1186">
              <a:extLst>
                <a:ext uri="{FF2B5EF4-FFF2-40B4-BE49-F238E27FC236}">
                  <a16:creationId xmlns:a16="http://schemas.microsoft.com/office/drawing/2014/main" id="{16F78D94-0E79-E953-3799-95887112DE01}"/>
                </a:ext>
              </a:extLst>
            </p:cNvPr>
            <p:cNvSpPr/>
            <p:nvPr/>
          </p:nvSpPr>
          <p:spPr>
            <a:xfrm>
              <a:off x="3309933" y="5797334"/>
              <a:ext cx="89075" cy="10348"/>
            </a:xfrm>
            <a:custGeom>
              <a:avLst/>
              <a:gdLst>
                <a:gd name="connsiteX0" fmla="*/ 0 w 89075"/>
                <a:gd name="connsiteY0" fmla="*/ 10349 h 10348"/>
                <a:gd name="connsiteX1" fmla="*/ 44609 w 89075"/>
                <a:gd name="connsiteY1" fmla="*/ 0 h 10348"/>
                <a:gd name="connsiteX2" fmla="*/ 89076 w 89075"/>
                <a:gd name="connsiteY2" fmla="*/ 10302 h 103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89075" h="10348">
                  <a:moveTo>
                    <a:pt x="0" y="10349"/>
                  </a:moveTo>
                  <a:cubicBezTo>
                    <a:pt x="13468" y="3686"/>
                    <a:pt x="28589" y="0"/>
                    <a:pt x="44609" y="0"/>
                  </a:cubicBezTo>
                  <a:cubicBezTo>
                    <a:pt x="60628" y="0"/>
                    <a:pt x="75656" y="3686"/>
                    <a:pt x="89076" y="10302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88" name="Forma livre: Forma 1187">
              <a:extLst>
                <a:ext uri="{FF2B5EF4-FFF2-40B4-BE49-F238E27FC236}">
                  <a16:creationId xmlns:a16="http://schemas.microsoft.com/office/drawing/2014/main" id="{CE6EDD1F-61F7-D44D-C725-1DE30596249D}"/>
                </a:ext>
              </a:extLst>
            </p:cNvPr>
            <p:cNvSpPr/>
            <p:nvPr/>
          </p:nvSpPr>
          <p:spPr>
            <a:xfrm>
              <a:off x="3194299" y="5737887"/>
              <a:ext cx="320484" cy="290737"/>
            </a:xfrm>
            <a:custGeom>
              <a:avLst/>
              <a:gdLst>
                <a:gd name="connsiteX0" fmla="*/ 275828 w 320484"/>
                <a:gd name="connsiteY0" fmla="*/ 123572 h 290737"/>
                <a:gd name="connsiteX1" fmla="*/ 242372 w 320484"/>
                <a:gd name="connsiteY1" fmla="*/ 112278 h 290737"/>
                <a:gd name="connsiteX2" fmla="*/ 249838 w 320484"/>
                <a:gd name="connsiteY2" fmla="*/ 76506 h 290737"/>
                <a:gd name="connsiteX3" fmla="*/ 206647 w 320484"/>
                <a:gd name="connsiteY3" fmla="*/ 0 h 290737"/>
                <a:gd name="connsiteX4" fmla="*/ 231125 w 320484"/>
                <a:gd name="connsiteY4" fmla="*/ 53493 h 290737"/>
                <a:gd name="connsiteX5" fmla="*/ 160242 w 320484"/>
                <a:gd name="connsiteY5" fmla="*/ 124375 h 290737"/>
                <a:gd name="connsiteX6" fmla="*/ 89359 w 320484"/>
                <a:gd name="connsiteY6" fmla="*/ 53493 h 290737"/>
                <a:gd name="connsiteX7" fmla="*/ 113838 w 320484"/>
                <a:gd name="connsiteY7" fmla="*/ 0 h 290737"/>
                <a:gd name="connsiteX8" fmla="*/ 70646 w 320484"/>
                <a:gd name="connsiteY8" fmla="*/ 76506 h 290737"/>
                <a:gd name="connsiteX9" fmla="*/ 78113 w 320484"/>
                <a:gd name="connsiteY9" fmla="*/ 112278 h 290737"/>
                <a:gd name="connsiteX10" fmla="*/ 44656 w 320484"/>
                <a:gd name="connsiteY10" fmla="*/ 123572 h 290737"/>
                <a:gd name="connsiteX11" fmla="*/ 0 w 320484"/>
                <a:gd name="connsiteY11" fmla="*/ 199228 h 290737"/>
                <a:gd name="connsiteX12" fmla="*/ 34071 w 320484"/>
                <a:gd name="connsiteY12" fmla="*/ 151311 h 290737"/>
                <a:gd name="connsiteX13" fmla="*/ 130897 w 320484"/>
                <a:gd name="connsiteY13" fmla="*/ 177254 h 290737"/>
                <a:gd name="connsiteX14" fmla="*/ 104954 w 320484"/>
                <a:gd name="connsiteY14" fmla="*/ 274080 h 290737"/>
                <a:gd name="connsiteX15" fmla="*/ 46405 w 320484"/>
                <a:gd name="connsiteY15" fmla="*/ 279609 h 290737"/>
                <a:gd name="connsiteX16" fmla="*/ 134252 w 320484"/>
                <a:gd name="connsiteY16" fmla="*/ 278758 h 290737"/>
                <a:gd name="connsiteX17" fmla="*/ 160242 w 320484"/>
                <a:gd name="connsiteY17" fmla="*/ 256075 h 290737"/>
                <a:gd name="connsiteX18" fmla="*/ 186232 w 320484"/>
                <a:gd name="connsiteY18" fmla="*/ 278758 h 290737"/>
                <a:gd name="connsiteX19" fmla="*/ 274080 w 320484"/>
                <a:gd name="connsiteY19" fmla="*/ 279609 h 290737"/>
                <a:gd name="connsiteX20" fmla="*/ 215531 w 320484"/>
                <a:gd name="connsiteY20" fmla="*/ 274080 h 290737"/>
                <a:gd name="connsiteX21" fmla="*/ 189588 w 320484"/>
                <a:gd name="connsiteY21" fmla="*/ 177254 h 290737"/>
                <a:gd name="connsiteX22" fmla="*/ 286413 w 320484"/>
                <a:gd name="connsiteY22" fmla="*/ 151311 h 290737"/>
                <a:gd name="connsiteX23" fmla="*/ 320484 w 320484"/>
                <a:gd name="connsiteY23" fmla="*/ 199228 h 290737"/>
                <a:gd name="connsiteX24" fmla="*/ 275828 w 320484"/>
                <a:gd name="connsiteY24" fmla="*/ 123572 h 2907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320484" h="290737">
                  <a:moveTo>
                    <a:pt x="275828" y="123572"/>
                  </a:moveTo>
                  <a:cubicBezTo>
                    <a:pt x="265196" y="117429"/>
                    <a:pt x="253855" y="113743"/>
                    <a:pt x="242372" y="112278"/>
                  </a:cubicBezTo>
                  <a:cubicBezTo>
                    <a:pt x="247144" y="101315"/>
                    <a:pt x="249838" y="89265"/>
                    <a:pt x="249838" y="76506"/>
                  </a:cubicBezTo>
                  <a:cubicBezTo>
                    <a:pt x="249838" y="44042"/>
                    <a:pt x="232495" y="15689"/>
                    <a:pt x="206647" y="0"/>
                  </a:cubicBezTo>
                  <a:cubicBezTo>
                    <a:pt x="221627" y="12995"/>
                    <a:pt x="231125" y="32086"/>
                    <a:pt x="231125" y="53493"/>
                  </a:cubicBezTo>
                  <a:cubicBezTo>
                    <a:pt x="231125" y="92620"/>
                    <a:pt x="199417" y="124375"/>
                    <a:pt x="160242" y="124375"/>
                  </a:cubicBezTo>
                  <a:cubicBezTo>
                    <a:pt x="121068" y="124375"/>
                    <a:pt x="89359" y="92667"/>
                    <a:pt x="89359" y="53493"/>
                  </a:cubicBezTo>
                  <a:cubicBezTo>
                    <a:pt x="89359" y="32134"/>
                    <a:pt x="98858" y="12995"/>
                    <a:pt x="113838" y="0"/>
                  </a:cubicBezTo>
                  <a:cubicBezTo>
                    <a:pt x="87989" y="15689"/>
                    <a:pt x="70646" y="44042"/>
                    <a:pt x="70646" y="76506"/>
                  </a:cubicBezTo>
                  <a:cubicBezTo>
                    <a:pt x="70646" y="89218"/>
                    <a:pt x="73340" y="101315"/>
                    <a:pt x="78113" y="112278"/>
                  </a:cubicBezTo>
                  <a:cubicBezTo>
                    <a:pt x="66630" y="113743"/>
                    <a:pt x="55289" y="117429"/>
                    <a:pt x="44656" y="123572"/>
                  </a:cubicBezTo>
                  <a:cubicBezTo>
                    <a:pt x="16539" y="139781"/>
                    <a:pt x="662" y="168984"/>
                    <a:pt x="0" y="199228"/>
                  </a:cubicBezTo>
                  <a:cubicBezTo>
                    <a:pt x="3780" y="179758"/>
                    <a:pt x="15547" y="161991"/>
                    <a:pt x="34071" y="151311"/>
                  </a:cubicBezTo>
                  <a:cubicBezTo>
                    <a:pt x="67953" y="131747"/>
                    <a:pt x="111286" y="143372"/>
                    <a:pt x="130897" y="177254"/>
                  </a:cubicBezTo>
                  <a:cubicBezTo>
                    <a:pt x="150460" y="211136"/>
                    <a:pt x="138836" y="254469"/>
                    <a:pt x="104954" y="274080"/>
                  </a:cubicBezTo>
                  <a:cubicBezTo>
                    <a:pt x="86430" y="284759"/>
                    <a:pt x="65118" y="286082"/>
                    <a:pt x="46405" y="279609"/>
                  </a:cubicBezTo>
                  <a:cubicBezTo>
                    <a:pt x="72915" y="294163"/>
                    <a:pt x="106135" y="294966"/>
                    <a:pt x="134252" y="278758"/>
                  </a:cubicBezTo>
                  <a:cubicBezTo>
                    <a:pt x="144648" y="272756"/>
                    <a:pt x="153343" y="264959"/>
                    <a:pt x="160242" y="256075"/>
                  </a:cubicBezTo>
                  <a:cubicBezTo>
                    <a:pt x="167141" y="265007"/>
                    <a:pt x="175836" y="272804"/>
                    <a:pt x="186232" y="278758"/>
                  </a:cubicBezTo>
                  <a:cubicBezTo>
                    <a:pt x="214349" y="295014"/>
                    <a:pt x="247570" y="294163"/>
                    <a:pt x="274080" y="279609"/>
                  </a:cubicBezTo>
                  <a:cubicBezTo>
                    <a:pt x="255367" y="286082"/>
                    <a:pt x="234055" y="284759"/>
                    <a:pt x="215531" y="274080"/>
                  </a:cubicBezTo>
                  <a:cubicBezTo>
                    <a:pt x="181649" y="254516"/>
                    <a:pt x="170024" y="211183"/>
                    <a:pt x="189588" y="177254"/>
                  </a:cubicBezTo>
                  <a:cubicBezTo>
                    <a:pt x="209151" y="143372"/>
                    <a:pt x="252484" y="131747"/>
                    <a:pt x="286413" y="151311"/>
                  </a:cubicBezTo>
                  <a:cubicBezTo>
                    <a:pt x="304937" y="161991"/>
                    <a:pt x="316704" y="179806"/>
                    <a:pt x="320484" y="199228"/>
                  </a:cubicBezTo>
                  <a:cubicBezTo>
                    <a:pt x="319823" y="168984"/>
                    <a:pt x="303898" y="139828"/>
                    <a:pt x="275828" y="123572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190" name="Gráfico 14">
            <a:extLst>
              <a:ext uri="{FF2B5EF4-FFF2-40B4-BE49-F238E27FC236}">
                <a16:creationId xmlns:a16="http://schemas.microsoft.com/office/drawing/2014/main" id="{C1B56065-89BB-9D6B-844D-28E046C33597}"/>
              </a:ext>
            </a:extLst>
          </p:cNvPr>
          <p:cNvGrpSpPr/>
          <p:nvPr/>
        </p:nvGrpSpPr>
        <p:grpSpPr>
          <a:xfrm>
            <a:off x="3882145" y="4194535"/>
            <a:ext cx="175458" cy="243741"/>
            <a:chOff x="3882145" y="4194535"/>
            <a:chExt cx="175458" cy="243741"/>
          </a:xfrm>
          <a:noFill/>
        </p:grpSpPr>
        <p:sp>
          <p:nvSpPr>
            <p:cNvPr id="1191" name="Forma livre: Forma 1190">
              <a:extLst>
                <a:ext uri="{FF2B5EF4-FFF2-40B4-BE49-F238E27FC236}">
                  <a16:creationId xmlns:a16="http://schemas.microsoft.com/office/drawing/2014/main" id="{DDFB09B7-9CE5-3C6A-C2E1-C455754F6A4B}"/>
                </a:ext>
              </a:extLst>
            </p:cNvPr>
            <p:cNvSpPr/>
            <p:nvPr/>
          </p:nvSpPr>
          <p:spPr>
            <a:xfrm>
              <a:off x="3882145" y="4194535"/>
              <a:ext cx="175458" cy="243741"/>
            </a:xfrm>
            <a:custGeom>
              <a:avLst/>
              <a:gdLst>
                <a:gd name="connsiteX0" fmla="*/ 156556 w 175458"/>
                <a:gd name="connsiteY0" fmla="*/ 0 h 243741"/>
                <a:gd name="connsiteX1" fmla="*/ 175458 w 175458"/>
                <a:gd name="connsiteY1" fmla="*/ 18902 h 243741"/>
                <a:gd name="connsiteX2" fmla="*/ 175458 w 175458"/>
                <a:gd name="connsiteY2" fmla="*/ 224840 h 243741"/>
                <a:gd name="connsiteX3" fmla="*/ 156556 w 175458"/>
                <a:gd name="connsiteY3" fmla="*/ 243742 h 243741"/>
                <a:gd name="connsiteX4" fmla="*/ 18902 w 175458"/>
                <a:gd name="connsiteY4" fmla="*/ 243742 h 243741"/>
                <a:gd name="connsiteX5" fmla="*/ 0 w 175458"/>
                <a:gd name="connsiteY5" fmla="*/ 224840 h 243741"/>
                <a:gd name="connsiteX6" fmla="*/ 0 w 175458"/>
                <a:gd name="connsiteY6" fmla="*/ 18902 h 243741"/>
                <a:gd name="connsiteX7" fmla="*/ 18902 w 175458"/>
                <a:gd name="connsiteY7" fmla="*/ 0 h 2437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5458" h="243741">
                  <a:moveTo>
                    <a:pt x="156556" y="0"/>
                  </a:moveTo>
                  <a:cubicBezTo>
                    <a:pt x="166996" y="0"/>
                    <a:pt x="175458" y="8463"/>
                    <a:pt x="175458" y="18902"/>
                  </a:cubicBezTo>
                  <a:lnTo>
                    <a:pt x="175458" y="224840"/>
                  </a:lnTo>
                  <a:cubicBezTo>
                    <a:pt x="175458" y="235279"/>
                    <a:pt x="166996" y="243742"/>
                    <a:pt x="156556" y="243742"/>
                  </a:cubicBezTo>
                  <a:lnTo>
                    <a:pt x="18902" y="243742"/>
                  </a:lnTo>
                  <a:cubicBezTo>
                    <a:pt x="8463" y="243742"/>
                    <a:pt x="0" y="235279"/>
                    <a:pt x="0" y="224840"/>
                  </a:cubicBezTo>
                  <a:lnTo>
                    <a:pt x="0" y="18902"/>
                  </a:lnTo>
                  <a:cubicBezTo>
                    <a:pt x="0" y="8463"/>
                    <a:pt x="8463" y="0"/>
                    <a:pt x="18902" y="0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92" name="Forma livre: Forma 1191">
              <a:extLst>
                <a:ext uri="{FF2B5EF4-FFF2-40B4-BE49-F238E27FC236}">
                  <a16:creationId xmlns:a16="http://schemas.microsoft.com/office/drawing/2014/main" id="{14DE03C9-DA2B-364D-1079-FAFD58929B2D}"/>
                </a:ext>
              </a:extLst>
            </p:cNvPr>
            <p:cNvSpPr/>
            <p:nvPr/>
          </p:nvSpPr>
          <p:spPr>
            <a:xfrm>
              <a:off x="3883326" y="4274869"/>
              <a:ext cx="173946" cy="4725"/>
            </a:xfrm>
            <a:custGeom>
              <a:avLst/>
              <a:gdLst>
                <a:gd name="connsiteX0" fmla="*/ 0 w 173946"/>
                <a:gd name="connsiteY0" fmla="*/ 0 h 4725"/>
                <a:gd name="connsiteX1" fmla="*/ 173946 w 173946"/>
                <a:gd name="connsiteY1" fmla="*/ 0 h 47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73946" h="4725">
                  <a:moveTo>
                    <a:pt x="0" y="0"/>
                  </a:moveTo>
                  <a:lnTo>
                    <a:pt x="173946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93" name="Forma livre: Forma 1192">
              <a:extLst>
                <a:ext uri="{FF2B5EF4-FFF2-40B4-BE49-F238E27FC236}">
                  <a16:creationId xmlns:a16="http://schemas.microsoft.com/office/drawing/2014/main" id="{56487A07-252D-37E0-4A7F-7A3F3357A3A9}"/>
                </a:ext>
              </a:extLst>
            </p:cNvPr>
            <p:cNvSpPr/>
            <p:nvPr/>
          </p:nvSpPr>
          <p:spPr>
            <a:xfrm>
              <a:off x="3940741" y="4275720"/>
              <a:ext cx="4725" cy="161612"/>
            </a:xfrm>
            <a:custGeom>
              <a:avLst/>
              <a:gdLst>
                <a:gd name="connsiteX0" fmla="*/ 0 w 4725"/>
                <a:gd name="connsiteY0" fmla="*/ 0 h 161612"/>
                <a:gd name="connsiteX1" fmla="*/ 0 w 4725"/>
                <a:gd name="connsiteY1" fmla="*/ 161612 h 1616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725" h="161612">
                  <a:moveTo>
                    <a:pt x="0" y="0"/>
                  </a:moveTo>
                  <a:lnTo>
                    <a:pt x="0" y="161612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94" name="Forma livre: Forma 1193">
              <a:extLst>
                <a:ext uri="{FF2B5EF4-FFF2-40B4-BE49-F238E27FC236}">
                  <a16:creationId xmlns:a16="http://schemas.microsoft.com/office/drawing/2014/main" id="{02814076-3DA5-001C-F68A-FE98ABC63F4D}"/>
                </a:ext>
              </a:extLst>
            </p:cNvPr>
            <p:cNvSpPr/>
            <p:nvPr/>
          </p:nvSpPr>
          <p:spPr>
            <a:xfrm>
              <a:off x="3999338" y="4275578"/>
              <a:ext cx="4725" cy="161565"/>
            </a:xfrm>
            <a:custGeom>
              <a:avLst/>
              <a:gdLst>
                <a:gd name="connsiteX0" fmla="*/ 0 w 4725"/>
                <a:gd name="connsiteY0" fmla="*/ 0 h 161565"/>
                <a:gd name="connsiteX1" fmla="*/ 0 w 4725"/>
                <a:gd name="connsiteY1" fmla="*/ 161565 h 1615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725" h="161565">
                  <a:moveTo>
                    <a:pt x="0" y="0"/>
                  </a:moveTo>
                  <a:lnTo>
                    <a:pt x="0" y="161565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95" name="Forma livre: Forma 1194">
              <a:extLst>
                <a:ext uri="{FF2B5EF4-FFF2-40B4-BE49-F238E27FC236}">
                  <a16:creationId xmlns:a16="http://schemas.microsoft.com/office/drawing/2014/main" id="{F1B2FCD8-3F6C-B4CE-F7AC-69C19E9CA81A}"/>
                </a:ext>
              </a:extLst>
            </p:cNvPr>
            <p:cNvSpPr/>
            <p:nvPr/>
          </p:nvSpPr>
          <p:spPr>
            <a:xfrm>
              <a:off x="3991304" y="4220904"/>
              <a:ext cx="4725" cy="29250"/>
            </a:xfrm>
            <a:custGeom>
              <a:avLst/>
              <a:gdLst>
                <a:gd name="connsiteX0" fmla="*/ 0 w 4725"/>
                <a:gd name="connsiteY0" fmla="*/ 0 h 29250"/>
                <a:gd name="connsiteX1" fmla="*/ 0 w 4725"/>
                <a:gd name="connsiteY1" fmla="*/ 29251 h 29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725" h="29250">
                  <a:moveTo>
                    <a:pt x="0" y="0"/>
                  </a:moveTo>
                  <a:lnTo>
                    <a:pt x="0" y="29251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96" name="Forma livre: Forma 1195">
              <a:extLst>
                <a:ext uri="{FF2B5EF4-FFF2-40B4-BE49-F238E27FC236}">
                  <a16:creationId xmlns:a16="http://schemas.microsoft.com/office/drawing/2014/main" id="{F278C037-3FCB-61FF-C639-55C9E0FA8441}"/>
                </a:ext>
              </a:extLst>
            </p:cNvPr>
            <p:cNvSpPr/>
            <p:nvPr/>
          </p:nvSpPr>
          <p:spPr>
            <a:xfrm>
              <a:off x="4023863" y="4220904"/>
              <a:ext cx="4725" cy="29250"/>
            </a:xfrm>
            <a:custGeom>
              <a:avLst/>
              <a:gdLst>
                <a:gd name="connsiteX0" fmla="*/ 0 w 4725"/>
                <a:gd name="connsiteY0" fmla="*/ 0 h 29250"/>
                <a:gd name="connsiteX1" fmla="*/ 0 w 4725"/>
                <a:gd name="connsiteY1" fmla="*/ 29251 h 29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725" h="29250">
                  <a:moveTo>
                    <a:pt x="0" y="0"/>
                  </a:moveTo>
                  <a:lnTo>
                    <a:pt x="0" y="29251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97" name="Forma livre: Forma 1196">
              <a:extLst>
                <a:ext uri="{FF2B5EF4-FFF2-40B4-BE49-F238E27FC236}">
                  <a16:creationId xmlns:a16="http://schemas.microsoft.com/office/drawing/2014/main" id="{2AEE4AD9-1A8F-F6B4-2CFA-9CCBCDDDC21F}"/>
                </a:ext>
              </a:extLst>
            </p:cNvPr>
            <p:cNvSpPr/>
            <p:nvPr/>
          </p:nvSpPr>
          <p:spPr>
            <a:xfrm>
              <a:off x="3883326" y="4329212"/>
              <a:ext cx="173946" cy="4725"/>
            </a:xfrm>
            <a:custGeom>
              <a:avLst/>
              <a:gdLst>
                <a:gd name="connsiteX0" fmla="*/ 0 w 173946"/>
                <a:gd name="connsiteY0" fmla="*/ 0 h 4725"/>
                <a:gd name="connsiteX1" fmla="*/ 173946 w 173946"/>
                <a:gd name="connsiteY1" fmla="*/ 0 h 47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73946" h="4725">
                  <a:moveTo>
                    <a:pt x="0" y="0"/>
                  </a:moveTo>
                  <a:lnTo>
                    <a:pt x="173946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98" name="Forma livre: Forma 1197">
              <a:extLst>
                <a:ext uri="{FF2B5EF4-FFF2-40B4-BE49-F238E27FC236}">
                  <a16:creationId xmlns:a16="http://schemas.microsoft.com/office/drawing/2014/main" id="{FE45AFBF-0E68-7D62-1DC8-126568CB37FA}"/>
                </a:ext>
              </a:extLst>
            </p:cNvPr>
            <p:cNvSpPr/>
            <p:nvPr/>
          </p:nvSpPr>
          <p:spPr>
            <a:xfrm>
              <a:off x="3883326" y="4383556"/>
              <a:ext cx="114924" cy="4725"/>
            </a:xfrm>
            <a:custGeom>
              <a:avLst/>
              <a:gdLst>
                <a:gd name="connsiteX0" fmla="*/ 0 w 114924"/>
                <a:gd name="connsiteY0" fmla="*/ 0 h 4725"/>
                <a:gd name="connsiteX1" fmla="*/ 114925 w 114924"/>
                <a:gd name="connsiteY1" fmla="*/ 0 h 47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4924" h="4725">
                  <a:moveTo>
                    <a:pt x="0" y="0"/>
                  </a:moveTo>
                  <a:lnTo>
                    <a:pt x="114925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199" name="Gráfico 14">
            <a:extLst>
              <a:ext uri="{FF2B5EF4-FFF2-40B4-BE49-F238E27FC236}">
                <a16:creationId xmlns:a16="http://schemas.microsoft.com/office/drawing/2014/main" id="{2A64662C-E3FD-E4F5-FAA9-222CA889A701}"/>
              </a:ext>
            </a:extLst>
          </p:cNvPr>
          <p:cNvGrpSpPr/>
          <p:nvPr/>
        </p:nvGrpSpPr>
        <p:grpSpPr>
          <a:xfrm>
            <a:off x="3871607" y="5208016"/>
            <a:ext cx="196486" cy="305882"/>
            <a:chOff x="3871607" y="5208016"/>
            <a:chExt cx="196486" cy="305882"/>
          </a:xfrm>
          <a:noFill/>
        </p:grpSpPr>
        <p:sp>
          <p:nvSpPr>
            <p:cNvPr id="1200" name="Forma livre: Forma 1199">
              <a:extLst>
                <a:ext uri="{FF2B5EF4-FFF2-40B4-BE49-F238E27FC236}">
                  <a16:creationId xmlns:a16="http://schemas.microsoft.com/office/drawing/2014/main" id="{D2F85B00-078D-86E2-FF94-6EC1B1B9135E}"/>
                </a:ext>
              </a:extLst>
            </p:cNvPr>
            <p:cNvSpPr/>
            <p:nvPr/>
          </p:nvSpPr>
          <p:spPr>
            <a:xfrm>
              <a:off x="3918579" y="5341369"/>
              <a:ext cx="122060" cy="143088"/>
            </a:xfrm>
            <a:custGeom>
              <a:avLst/>
              <a:gdLst>
                <a:gd name="connsiteX0" fmla="*/ 22682 w 122060"/>
                <a:gd name="connsiteY0" fmla="*/ 0 h 143088"/>
                <a:gd name="connsiteX1" fmla="*/ 0 w 122060"/>
                <a:gd name="connsiteY1" fmla="*/ 57179 h 143088"/>
                <a:gd name="connsiteX2" fmla="*/ 89454 w 122060"/>
                <a:gd name="connsiteY2" fmla="*/ 143089 h 143088"/>
                <a:gd name="connsiteX3" fmla="*/ 122060 w 122060"/>
                <a:gd name="connsiteY3" fmla="*/ 137182 h 143088"/>
                <a:gd name="connsiteX4" fmla="*/ 122060 w 122060"/>
                <a:gd name="connsiteY4" fmla="*/ 93518 h 1430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2060" h="143088">
                  <a:moveTo>
                    <a:pt x="22682" y="0"/>
                  </a:moveTo>
                  <a:cubicBezTo>
                    <a:pt x="8553" y="15169"/>
                    <a:pt x="0" y="35205"/>
                    <a:pt x="0" y="57179"/>
                  </a:cubicBezTo>
                  <a:cubicBezTo>
                    <a:pt x="0" y="104623"/>
                    <a:pt x="40072" y="143089"/>
                    <a:pt x="89454" y="143089"/>
                  </a:cubicBezTo>
                  <a:cubicBezTo>
                    <a:pt x="100984" y="143089"/>
                    <a:pt x="111995" y="141009"/>
                    <a:pt x="122060" y="137182"/>
                  </a:cubicBezTo>
                  <a:lnTo>
                    <a:pt x="122060" y="93518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01" name="Forma livre: Forma 1200">
              <a:extLst>
                <a:ext uri="{FF2B5EF4-FFF2-40B4-BE49-F238E27FC236}">
                  <a16:creationId xmlns:a16="http://schemas.microsoft.com/office/drawing/2014/main" id="{ABC291E7-AEDF-FBE6-EE7E-9DE0FC44EFCD}"/>
                </a:ext>
              </a:extLst>
            </p:cNvPr>
            <p:cNvSpPr/>
            <p:nvPr/>
          </p:nvSpPr>
          <p:spPr>
            <a:xfrm>
              <a:off x="3871607" y="5307488"/>
              <a:ext cx="193226" cy="206410"/>
            </a:xfrm>
            <a:custGeom>
              <a:avLst/>
              <a:gdLst>
                <a:gd name="connsiteX0" fmla="*/ 54627 w 193226"/>
                <a:gd name="connsiteY0" fmla="*/ 0 h 206410"/>
                <a:gd name="connsiteX1" fmla="*/ 0 w 193226"/>
                <a:gd name="connsiteY1" fmla="*/ 109632 h 206410"/>
                <a:gd name="connsiteX2" fmla="*/ 40072 w 193226"/>
                <a:gd name="connsiteY2" fmla="*/ 206410 h 206410"/>
                <a:gd name="connsiteX3" fmla="*/ 193226 w 193226"/>
                <a:gd name="connsiteY3" fmla="*/ 206410 h 2064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3226" h="206410">
                  <a:moveTo>
                    <a:pt x="54627" y="0"/>
                  </a:moveTo>
                  <a:cubicBezTo>
                    <a:pt x="21312" y="25801"/>
                    <a:pt x="0" y="65354"/>
                    <a:pt x="0" y="109632"/>
                  </a:cubicBezTo>
                  <a:cubicBezTo>
                    <a:pt x="0" y="147105"/>
                    <a:pt x="15216" y="181176"/>
                    <a:pt x="40072" y="206410"/>
                  </a:cubicBezTo>
                  <a:lnTo>
                    <a:pt x="193226" y="206410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02" name="Forma livre: Forma 1201">
              <a:extLst>
                <a:ext uri="{FF2B5EF4-FFF2-40B4-BE49-F238E27FC236}">
                  <a16:creationId xmlns:a16="http://schemas.microsoft.com/office/drawing/2014/main" id="{90D7B5EA-0166-D093-1998-F1F389731722}"/>
                </a:ext>
              </a:extLst>
            </p:cNvPr>
            <p:cNvSpPr/>
            <p:nvPr/>
          </p:nvSpPr>
          <p:spPr>
            <a:xfrm rot="-1473000">
              <a:off x="3960769" y="5252749"/>
              <a:ext cx="46877" cy="133401"/>
            </a:xfrm>
            <a:custGeom>
              <a:avLst/>
              <a:gdLst>
                <a:gd name="connsiteX0" fmla="*/ 0 w 46877"/>
                <a:gd name="connsiteY0" fmla="*/ 0 h 133401"/>
                <a:gd name="connsiteX1" fmla="*/ 46877 w 46877"/>
                <a:gd name="connsiteY1" fmla="*/ 0 h 133401"/>
                <a:gd name="connsiteX2" fmla="*/ 46877 w 46877"/>
                <a:gd name="connsiteY2" fmla="*/ 133401 h 133401"/>
                <a:gd name="connsiteX3" fmla="*/ 0 w 46877"/>
                <a:gd name="connsiteY3" fmla="*/ 133401 h 133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6877" h="133401">
                  <a:moveTo>
                    <a:pt x="0" y="0"/>
                  </a:moveTo>
                  <a:lnTo>
                    <a:pt x="46877" y="0"/>
                  </a:lnTo>
                  <a:lnTo>
                    <a:pt x="46877" y="133401"/>
                  </a:lnTo>
                  <a:lnTo>
                    <a:pt x="0" y="133401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03" name="Forma livre: Forma 1202">
              <a:extLst>
                <a:ext uri="{FF2B5EF4-FFF2-40B4-BE49-F238E27FC236}">
                  <a16:creationId xmlns:a16="http://schemas.microsoft.com/office/drawing/2014/main" id="{0109BD29-464D-9400-ADB3-F4669BEBF38C}"/>
                </a:ext>
              </a:extLst>
            </p:cNvPr>
            <p:cNvSpPr/>
            <p:nvPr/>
          </p:nvSpPr>
          <p:spPr>
            <a:xfrm>
              <a:off x="3921792" y="5208016"/>
              <a:ext cx="39930" cy="37898"/>
            </a:xfrm>
            <a:custGeom>
              <a:avLst/>
              <a:gdLst>
                <a:gd name="connsiteX0" fmla="*/ 39931 w 39930"/>
                <a:gd name="connsiteY0" fmla="*/ 25234 h 37898"/>
                <a:gd name="connsiteX1" fmla="*/ 27739 w 39930"/>
                <a:gd name="connsiteY1" fmla="*/ 0 h 37898"/>
                <a:gd name="connsiteX2" fmla="*/ 0 w 39930"/>
                <a:gd name="connsiteY2" fmla="*/ 12664 h 37898"/>
                <a:gd name="connsiteX3" fmla="*/ 12145 w 39930"/>
                <a:gd name="connsiteY3" fmla="*/ 37899 h 37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930" h="37898">
                  <a:moveTo>
                    <a:pt x="39931" y="25234"/>
                  </a:moveTo>
                  <a:lnTo>
                    <a:pt x="27739" y="0"/>
                  </a:lnTo>
                  <a:lnTo>
                    <a:pt x="0" y="12664"/>
                  </a:lnTo>
                  <a:lnTo>
                    <a:pt x="12145" y="37899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04" name="Forma livre: Forma 1203">
              <a:extLst>
                <a:ext uri="{FF2B5EF4-FFF2-40B4-BE49-F238E27FC236}">
                  <a16:creationId xmlns:a16="http://schemas.microsoft.com/office/drawing/2014/main" id="{6CD95DDD-C4B2-E0AA-C5B2-35A92AAC042D}"/>
                </a:ext>
              </a:extLst>
            </p:cNvPr>
            <p:cNvSpPr/>
            <p:nvPr/>
          </p:nvSpPr>
          <p:spPr>
            <a:xfrm>
              <a:off x="3977317" y="5341417"/>
              <a:ext cx="42576" cy="19469"/>
            </a:xfrm>
            <a:custGeom>
              <a:avLst/>
              <a:gdLst>
                <a:gd name="connsiteX0" fmla="*/ 0 w 42576"/>
                <a:gd name="connsiteY0" fmla="*/ 19469 h 19469"/>
                <a:gd name="connsiteX1" fmla="*/ 42577 w 42576"/>
                <a:gd name="connsiteY1" fmla="*/ 0 h 194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2576" h="19469">
                  <a:moveTo>
                    <a:pt x="0" y="19469"/>
                  </a:moveTo>
                  <a:lnTo>
                    <a:pt x="42577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05" name="Forma livre: Forma 1204">
              <a:extLst>
                <a:ext uri="{FF2B5EF4-FFF2-40B4-BE49-F238E27FC236}">
                  <a16:creationId xmlns:a16="http://schemas.microsoft.com/office/drawing/2014/main" id="{5465D1CE-299B-DB0A-2C75-232B5429A999}"/>
                </a:ext>
              </a:extLst>
            </p:cNvPr>
            <p:cNvSpPr/>
            <p:nvPr/>
          </p:nvSpPr>
          <p:spPr>
            <a:xfrm>
              <a:off x="3969047" y="5433753"/>
              <a:ext cx="99046" cy="4725"/>
            </a:xfrm>
            <a:custGeom>
              <a:avLst/>
              <a:gdLst>
                <a:gd name="connsiteX0" fmla="*/ 0 w 99046"/>
                <a:gd name="connsiteY0" fmla="*/ 0 h 4725"/>
                <a:gd name="connsiteX1" fmla="*/ 99047 w 99046"/>
                <a:gd name="connsiteY1" fmla="*/ 0 h 47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9046" h="4725">
                  <a:moveTo>
                    <a:pt x="0" y="0"/>
                  </a:moveTo>
                  <a:lnTo>
                    <a:pt x="99047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06" name="Forma livre: Forma 1205">
              <a:extLst>
                <a:ext uri="{FF2B5EF4-FFF2-40B4-BE49-F238E27FC236}">
                  <a16:creationId xmlns:a16="http://schemas.microsoft.com/office/drawing/2014/main" id="{5504F8FF-48AD-1AEB-E1AC-A02BA60D714C}"/>
                </a:ext>
              </a:extLst>
            </p:cNvPr>
            <p:cNvSpPr/>
            <p:nvPr/>
          </p:nvSpPr>
          <p:spPr>
            <a:xfrm>
              <a:off x="3996030" y="5434793"/>
              <a:ext cx="4725" cy="48152"/>
            </a:xfrm>
            <a:custGeom>
              <a:avLst/>
              <a:gdLst>
                <a:gd name="connsiteX0" fmla="*/ 0 w 4725"/>
                <a:gd name="connsiteY0" fmla="*/ 0 h 48152"/>
                <a:gd name="connsiteX1" fmla="*/ 0 w 4725"/>
                <a:gd name="connsiteY1" fmla="*/ 48153 h 481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725" h="48152">
                  <a:moveTo>
                    <a:pt x="0" y="0"/>
                  </a:moveTo>
                  <a:lnTo>
                    <a:pt x="0" y="48153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207" name="Gráfico 14">
            <a:extLst>
              <a:ext uri="{FF2B5EF4-FFF2-40B4-BE49-F238E27FC236}">
                <a16:creationId xmlns:a16="http://schemas.microsoft.com/office/drawing/2014/main" id="{A8775615-C490-6F7D-4C04-5BB65B2F0265}"/>
              </a:ext>
            </a:extLst>
          </p:cNvPr>
          <p:cNvGrpSpPr/>
          <p:nvPr/>
        </p:nvGrpSpPr>
        <p:grpSpPr>
          <a:xfrm>
            <a:off x="3863763" y="3634940"/>
            <a:ext cx="212270" cy="318404"/>
            <a:chOff x="3863763" y="3634940"/>
            <a:chExt cx="212270" cy="318404"/>
          </a:xfrm>
          <a:noFill/>
        </p:grpSpPr>
        <p:grpSp>
          <p:nvGrpSpPr>
            <p:cNvPr id="1208" name="Gráfico 14">
              <a:extLst>
                <a:ext uri="{FF2B5EF4-FFF2-40B4-BE49-F238E27FC236}">
                  <a16:creationId xmlns:a16="http://schemas.microsoft.com/office/drawing/2014/main" id="{33B9C48C-047B-0E94-E057-EAB5CB7363CD}"/>
                </a:ext>
              </a:extLst>
            </p:cNvPr>
            <p:cNvGrpSpPr/>
            <p:nvPr/>
          </p:nvGrpSpPr>
          <p:grpSpPr>
            <a:xfrm>
              <a:off x="3935685" y="3667610"/>
              <a:ext cx="95864" cy="139795"/>
              <a:chOff x="3935685" y="3667610"/>
              <a:chExt cx="95864" cy="139795"/>
            </a:xfrm>
            <a:noFill/>
          </p:grpSpPr>
          <p:grpSp>
            <p:nvGrpSpPr>
              <p:cNvPr id="1209" name="Gráfico 14">
                <a:extLst>
                  <a:ext uri="{FF2B5EF4-FFF2-40B4-BE49-F238E27FC236}">
                    <a16:creationId xmlns:a16="http://schemas.microsoft.com/office/drawing/2014/main" id="{89A40AA2-83A3-6BEE-428A-8AB82E3BA022}"/>
                  </a:ext>
                </a:extLst>
              </p:cNvPr>
              <p:cNvGrpSpPr/>
              <p:nvPr/>
            </p:nvGrpSpPr>
            <p:grpSpPr>
              <a:xfrm>
                <a:off x="3978782" y="3667610"/>
                <a:ext cx="52342" cy="51775"/>
                <a:chOff x="3978782" y="3667610"/>
                <a:chExt cx="52342" cy="51775"/>
              </a:xfrm>
              <a:noFill/>
            </p:grpSpPr>
            <p:sp>
              <p:nvSpPr>
                <p:cNvPr id="1210" name="Forma livre: Forma 1209">
                  <a:extLst>
                    <a:ext uri="{FF2B5EF4-FFF2-40B4-BE49-F238E27FC236}">
                      <a16:creationId xmlns:a16="http://schemas.microsoft.com/office/drawing/2014/main" id="{89565367-B0D8-76C0-44C4-B61D1D87C483}"/>
                    </a:ext>
                  </a:extLst>
                </p:cNvPr>
                <p:cNvSpPr/>
                <p:nvPr/>
              </p:nvSpPr>
              <p:spPr>
                <a:xfrm>
                  <a:off x="3978782" y="3701995"/>
                  <a:ext cx="17909" cy="17389"/>
                </a:xfrm>
                <a:custGeom>
                  <a:avLst/>
                  <a:gdLst>
                    <a:gd name="connsiteX0" fmla="*/ 17910 w 17909"/>
                    <a:gd name="connsiteY0" fmla="*/ 0 h 17389"/>
                    <a:gd name="connsiteX1" fmla="*/ 0 w 17909"/>
                    <a:gd name="connsiteY1" fmla="*/ 17390 h 1738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7909" h="17389">
                      <a:moveTo>
                        <a:pt x="17910" y="0"/>
                      </a:moveTo>
                      <a:lnTo>
                        <a:pt x="0" y="1739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211" name="Forma livre: Forma 1210">
                  <a:extLst>
                    <a:ext uri="{FF2B5EF4-FFF2-40B4-BE49-F238E27FC236}">
                      <a16:creationId xmlns:a16="http://schemas.microsoft.com/office/drawing/2014/main" id="{2412BA82-54A3-09A7-94C4-D4C1A259E320}"/>
                    </a:ext>
                  </a:extLst>
                </p:cNvPr>
                <p:cNvSpPr/>
                <p:nvPr/>
              </p:nvSpPr>
              <p:spPr>
                <a:xfrm>
                  <a:off x="3990895" y="3667610"/>
                  <a:ext cx="40228" cy="40228"/>
                </a:xfrm>
                <a:custGeom>
                  <a:avLst/>
                  <a:gdLst>
                    <a:gd name="connsiteX0" fmla="*/ 39536 w 40228"/>
                    <a:gd name="connsiteY0" fmla="*/ 25313 h 40228"/>
                    <a:gd name="connsiteX1" fmla="*/ 25313 w 40228"/>
                    <a:gd name="connsiteY1" fmla="*/ 693 h 40228"/>
                    <a:gd name="connsiteX2" fmla="*/ 693 w 40228"/>
                    <a:gd name="connsiteY2" fmla="*/ 14916 h 40228"/>
                    <a:gd name="connsiteX3" fmla="*/ 14916 w 40228"/>
                    <a:gd name="connsiteY3" fmla="*/ 39536 h 40228"/>
                    <a:gd name="connsiteX4" fmla="*/ 39489 w 40228"/>
                    <a:gd name="connsiteY4" fmla="*/ 25313 h 4022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40228" h="40228">
                      <a:moveTo>
                        <a:pt x="39536" y="25313"/>
                      </a:moveTo>
                      <a:cubicBezTo>
                        <a:pt x="42419" y="14586"/>
                        <a:pt x="36039" y="3575"/>
                        <a:pt x="25313" y="693"/>
                      </a:cubicBezTo>
                      <a:cubicBezTo>
                        <a:pt x="14586" y="-2190"/>
                        <a:pt x="3575" y="4189"/>
                        <a:pt x="693" y="14916"/>
                      </a:cubicBezTo>
                      <a:cubicBezTo>
                        <a:pt x="-2190" y="25643"/>
                        <a:pt x="4189" y="36654"/>
                        <a:pt x="14916" y="39536"/>
                      </a:cubicBezTo>
                      <a:cubicBezTo>
                        <a:pt x="25643" y="42419"/>
                        <a:pt x="36654" y="36039"/>
                        <a:pt x="39489" y="25313"/>
                      </a:cubicBezTo>
                      <a:close/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1212" name="Gráfico 14">
                <a:extLst>
                  <a:ext uri="{FF2B5EF4-FFF2-40B4-BE49-F238E27FC236}">
                    <a16:creationId xmlns:a16="http://schemas.microsoft.com/office/drawing/2014/main" id="{AE4DF0D7-6B1A-46D3-CA47-1F83F7FDB6D6}"/>
                  </a:ext>
                </a:extLst>
              </p:cNvPr>
              <p:cNvGrpSpPr/>
              <p:nvPr/>
            </p:nvGrpSpPr>
            <p:grpSpPr>
              <a:xfrm>
                <a:off x="3979254" y="3755630"/>
                <a:ext cx="52295" cy="51775"/>
                <a:chOff x="3979254" y="3755630"/>
                <a:chExt cx="52295" cy="51775"/>
              </a:xfrm>
              <a:noFill/>
            </p:grpSpPr>
            <p:sp>
              <p:nvSpPr>
                <p:cNvPr id="1213" name="Forma livre: Forma 1212">
                  <a:extLst>
                    <a:ext uri="{FF2B5EF4-FFF2-40B4-BE49-F238E27FC236}">
                      <a16:creationId xmlns:a16="http://schemas.microsoft.com/office/drawing/2014/main" id="{60836C48-0CF8-6623-E672-792598D66316}"/>
                    </a:ext>
                  </a:extLst>
                </p:cNvPr>
                <p:cNvSpPr/>
                <p:nvPr/>
              </p:nvSpPr>
              <p:spPr>
                <a:xfrm>
                  <a:off x="3979254" y="3755630"/>
                  <a:ext cx="18004" cy="17578"/>
                </a:xfrm>
                <a:custGeom>
                  <a:avLst/>
                  <a:gdLst>
                    <a:gd name="connsiteX0" fmla="*/ 18004 w 18004"/>
                    <a:gd name="connsiteY0" fmla="*/ 17579 h 17578"/>
                    <a:gd name="connsiteX1" fmla="*/ 0 w 18004"/>
                    <a:gd name="connsiteY1" fmla="*/ 0 h 175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8004" h="17578">
                      <a:moveTo>
                        <a:pt x="18004" y="17579"/>
                      </a:moveTo>
                      <a:lnTo>
                        <a:pt x="0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214" name="Forma livre: Forma 1213">
                  <a:extLst>
                    <a:ext uri="{FF2B5EF4-FFF2-40B4-BE49-F238E27FC236}">
                      <a16:creationId xmlns:a16="http://schemas.microsoft.com/office/drawing/2014/main" id="{C5A62D1B-0FA1-40EE-2387-B25E033925DD}"/>
                    </a:ext>
                  </a:extLst>
                </p:cNvPr>
                <p:cNvSpPr/>
                <p:nvPr/>
              </p:nvSpPr>
              <p:spPr>
                <a:xfrm>
                  <a:off x="3991320" y="3767176"/>
                  <a:ext cx="40228" cy="40228"/>
                </a:xfrm>
                <a:custGeom>
                  <a:avLst/>
                  <a:gdLst>
                    <a:gd name="connsiteX0" fmla="*/ 39536 w 40228"/>
                    <a:gd name="connsiteY0" fmla="*/ 14916 h 40228"/>
                    <a:gd name="connsiteX1" fmla="*/ 25313 w 40228"/>
                    <a:gd name="connsiteY1" fmla="*/ 39536 h 40228"/>
                    <a:gd name="connsiteX2" fmla="*/ 693 w 40228"/>
                    <a:gd name="connsiteY2" fmla="*/ 25313 h 40228"/>
                    <a:gd name="connsiteX3" fmla="*/ 14916 w 40228"/>
                    <a:gd name="connsiteY3" fmla="*/ 693 h 40228"/>
                    <a:gd name="connsiteX4" fmla="*/ 39536 w 40228"/>
                    <a:gd name="connsiteY4" fmla="*/ 14916 h 4022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40228" h="40228">
                      <a:moveTo>
                        <a:pt x="39536" y="14916"/>
                      </a:moveTo>
                      <a:cubicBezTo>
                        <a:pt x="42419" y="25643"/>
                        <a:pt x="36039" y="36654"/>
                        <a:pt x="25313" y="39536"/>
                      </a:cubicBezTo>
                      <a:cubicBezTo>
                        <a:pt x="14586" y="42419"/>
                        <a:pt x="3575" y="36039"/>
                        <a:pt x="693" y="25313"/>
                      </a:cubicBezTo>
                      <a:cubicBezTo>
                        <a:pt x="-2190" y="14586"/>
                        <a:pt x="4189" y="3575"/>
                        <a:pt x="14916" y="693"/>
                      </a:cubicBezTo>
                      <a:cubicBezTo>
                        <a:pt x="25643" y="-2190"/>
                        <a:pt x="36654" y="4189"/>
                        <a:pt x="39536" y="14916"/>
                      </a:cubicBezTo>
                      <a:close/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1215" name="Forma livre: Forma 1214">
                <a:extLst>
                  <a:ext uri="{FF2B5EF4-FFF2-40B4-BE49-F238E27FC236}">
                    <a16:creationId xmlns:a16="http://schemas.microsoft.com/office/drawing/2014/main" id="{39140659-F4E4-DFFA-0528-F3ED3A8E7690}"/>
                  </a:ext>
                </a:extLst>
              </p:cNvPr>
              <p:cNvSpPr/>
              <p:nvPr/>
            </p:nvSpPr>
            <p:spPr>
              <a:xfrm>
                <a:off x="3935685" y="3712013"/>
                <a:ext cx="50941" cy="50941"/>
              </a:xfrm>
              <a:custGeom>
                <a:avLst/>
                <a:gdLst>
                  <a:gd name="connsiteX0" fmla="*/ 25471 w 50941"/>
                  <a:gd name="connsiteY0" fmla="*/ 50941 h 50941"/>
                  <a:gd name="connsiteX1" fmla="*/ 50941 w 50941"/>
                  <a:gd name="connsiteY1" fmla="*/ 25471 h 50941"/>
                  <a:gd name="connsiteX2" fmla="*/ 25471 w 50941"/>
                  <a:gd name="connsiteY2" fmla="*/ 0 h 50941"/>
                  <a:gd name="connsiteX3" fmla="*/ 0 w 50941"/>
                  <a:gd name="connsiteY3" fmla="*/ 25471 h 50941"/>
                  <a:gd name="connsiteX4" fmla="*/ 25471 w 50941"/>
                  <a:gd name="connsiteY4" fmla="*/ 50941 h 509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0941" h="50941">
                    <a:moveTo>
                      <a:pt x="25471" y="50941"/>
                    </a:moveTo>
                    <a:cubicBezTo>
                      <a:pt x="39553" y="50941"/>
                      <a:pt x="50941" y="39553"/>
                      <a:pt x="50941" y="25471"/>
                    </a:cubicBezTo>
                    <a:cubicBezTo>
                      <a:pt x="50941" y="11388"/>
                      <a:pt x="39553" y="0"/>
                      <a:pt x="25471" y="0"/>
                    </a:cubicBezTo>
                    <a:cubicBezTo>
                      <a:pt x="11389" y="0"/>
                      <a:pt x="0" y="11388"/>
                      <a:pt x="0" y="25471"/>
                    </a:cubicBezTo>
                    <a:cubicBezTo>
                      <a:pt x="0" y="39553"/>
                      <a:pt x="11436" y="50941"/>
                      <a:pt x="25471" y="50941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216" name="Forma livre: Forma 1215">
              <a:extLst>
                <a:ext uri="{FF2B5EF4-FFF2-40B4-BE49-F238E27FC236}">
                  <a16:creationId xmlns:a16="http://schemas.microsoft.com/office/drawing/2014/main" id="{6DBCB974-8E99-9FCC-5319-9875EB139035}"/>
                </a:ext>
              </a:extLst>
            </p:cNvPr>
            <p:cNvSpPr/>
            <p:nvPr/>
          </p:nvSpPr>
          <p:spPr>
            <a:xfrm>
              <a:off x="3863763" y="3634940"/>
              <a:ext cx="212270" cy="279891"/>
            </a:xfrm>
            <a:custGeom>
              <a:avLst/>
              <a:gdLst>
                <a:gd name="connsiteX0" fmla="*/ 78916 w 212270"/>
                <a:gd name="connsiteY0" fmla="*/ 279892 h 279891"/>
                <a:gd name="connsiteX1" fmla="*/ 31094 w 212270"/>
                <a:gd name="connsiteY1" fmla="*/ 279892 h 279891"/>
                <a:gd name="connsiteX2" fmla="*/ 0 w 212270"/>
                <a:gd name="connsiteY2" fmla="*/ 248798 h 279891"/>
                <a:gd name="connsiteX3" fmla="*/ 0 w 212270"/>
                <a:gd name="connsiteY3" fmla="*/ 238449 h 279891"/>
                <a:gd name="connsiteX4" fmla="*/ 31094 w 212270"/>
                <a:gd name="connsiteY4" fmla="*/ 207355 h 279891"/>
                <a:gd name="connsiteX5" fmla="*/ 212270 w 212270"/>
                <a:gd name="connsiteY5" fmla="*/ 207355 h 279891"/>
                <a:gd name="connsiteX6" fmla="*/ 212270 w 212270"/>
                <a:gd name="connsiteY6" fmla="*/ 0 h 279891"/>
                <a:gd name="connsiteX7" fmla="*/ 41490 w 212270"/>
                <a:gd name="connsiteY7" fmla="*/ 0 h 279891"/>
                <a:gd name="connsiteX8" fmla="*/ 47 w 212270"/>
                <a:gd name="connsiteY8" fmla="*/ 41443 h 279891"/>
                <a:gd name="connsiteX9" fmla="*/ 47 w 212270"/>
                <a:gd name="connsiteY9" fmla="*/ 237504 h 2798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12270" h="279891">
                  <a:moveTo>
                    <a:pt x="78916" y="279892"/>
                  </a:moveTo>
                  <a:lnTo>
                    <a:pt x="31094" y="279892"/>
                  </a:lnTo>
                  <a:cubicBezTo>
                    <a:pt x="13988" y="279892"/>
                    <a:pt x="0" y="265905"/>
                    <a:pt x="0" y="248798"/>
                  </a:cubicBezTo>
                  <a:lnTo>
                    <a:pt x="0" y="238449"/>
                  </a:lnTo>
                  <a:cubicBezTo>
                    <a:pt x="0" y="221343"/>
                    <a:pt x="13988" y="207355"/>
                    <a:pt x="31094" y="207355"/>
                  </a:cubicBezTo>
                  <a:lnTo>
                    <a:pt x="212270" y="207355"/>
                  </a:lnTo>
                  <a:lnTo>
                    <a:pt x="212270" y="0"/>
                  </a:lnTo>
                  <a:lnTo>
                    <a:pt x="41490" y="0"/>
                  </a:lnTo>
                  <a:cubicBezTo>
                    <a:pt x="18666" y="0"/>
                    <a:pt x="47" y="18666"/>
                    <a:pt x="47" y="41443"/>
                  </a:cubicBezTo>
                  <a:lnTo>
                    <a:pt x="47" y="237504"/>
                  </a:lnTo>
                </a:path>
              </a:pathLst>
            </a:custGeom>
            <a:noFill/>
            <a:ln w="6350" cap="sq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17" name="Forma livre: Forma 1216">
              <a:extLst>
                <a:ext uri="{FF2B5EF4-FFF2-40B4-BE49-F238E27FC236}">
                  <a16:creationId xmlns:a16="http://schemas.microsoft.com/office/drawing/2014/main" id="{9E81B0EC-F884-CF8E-F6D1-9B3104439DD0}"/>
                </a:ext>
              </a:extLst>
            </p:cNvPr>
            <p:cNvSpPr/>
            <p:nvPr/>
          </p:nvSpPr>
          <p:spPr>
            <a:xfrm>
              <a:off x="3990312" y="3914832"/>
              <a:ext cx="85673" cy="4725"/>
            </a:xfrm>
            <a:custGeom>
              <a:avLst/>
              <a:gdLst>
                <a:gd name="connsiteX0" fmla="*/ 85674 w 85673"/>
                <a:gd name="connsiteY0" fmla="*/ 0 h 4725"/>
                <a:gd name="connsiteX1" fmla="*/ 0 w 85673"/>
                <a:gd name="connsiteY1" fmla="*/ 0 h 47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5673" h="4725">
                  <a:moveTo>
                    <a:pt x="85674" y="0"/>
                  </a:moveTo>
                  <a:lnTo>
                    <a:pt x="0" y="0"/>
                  </a:lnTo>
                </a:path>
              </a:pathLst>
            </a:custGeom>
            <a:ln w="6350" cap="sq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18" name="Forma livre: Forma 1217">
              <a:extLst>
                <a:ext uri="{FF2B5EF4-FFF2-40B4-BE49-F238E27FC236}">
                  <a16:creationId xmlns:a16="http://schemas.microsoft.com/office/drawing/2014/main" id="{C4C34BDE-860D-B8A2-0366-CD763C719764}"/>
                </a:ext>
              </a:extLst>
            </p:cNvPr>
            <p:cNvSpPr/>
            <p:nvPr/>
          </p:nvSpPr>
          <p:spPr>
            <a:xfrm>
              <a:off x="3900338" y="3635885"/>
              <a:ext cx="4725" cy="205370"/>
            </a:xfrm>
            <a:custGeom>
              <a:avLst/>
              <a:gdLst>
                <a:gd name="connsiteX0" fmla="*/ 0 w 4725"/>
                <a:gd name="connsiteY0" fmla="*/ 0 h 205370"/>
                <a:gd name="connsiteX1" fmla="*/ 0 w 4725"/>
                <a:gd name="connsiteY1" fmla="*/ 205371 h 2053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725" h="205370">
                  <a:moveTo>
                    <a:pt x="0" y="0"/>
                  </a:moveTo>
                  <a:lnTo>
                    <a:pt x="0" y="205371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19" name="Forma livre: Forma 1218">
              <a:extLst>
                <a:ext uri="{FF2B5EF4-FFF2-40B4-BE49-F238E27FC236}">
                  <a16:creationId xmlns:a16="http://schemas.microsoft.com/office/drawing/2014/main" id="{76116BA8-5E42-4067-108B-E542421E5BD9}"/>
                </a:ext>
              </a:extLst>
            </p:cNvPr>
            <p:cNvSpPr/>
            <p:nvPr/>
          </p:nvSpPr>
          <p:spPr>
            <a:xfrm>
              <a:off x="3944569" y="3878871"/>
              <a:ext cx="45034" cy="74474"/>
            </a:xfrm>
            <a:custGeom>
              <a:avLst/>
              <a:gdLst>
                <a:gd name="connsiteX0" fmla="*/ 45034 w 45034"/>
                <a:gd name="connsiteY0" fmla="*/ 0 h 74474"/>
                <a:gd name="connsiteX1" fmla="*/ 45034 w 45034"/>
                <a:gd name="connsiteY1" fmla="*/ 74474 h 74474"/>
                <a:gd name="connsiteX2" fmla="*/ 22493 w 45034"/>
                <a:gd name="connsiteY2" fmla="*/ 59541 h 74474"/>
                <a:gd name="connsiteX3" fmla="*/ 0 w 45034"/>
                <a:gd name="connsiteY3" fmla="*/ 74474 h 74474"/>
                <a:gd name="connsiteX4" fmla="*/ 0 w 45034"/>
                <a:gd name="connsiteY4" fmla="*/ 0 h 744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5034" h="74474">
                  <a:moveTo>
                    <a:pt x="45034" y="0"/>
                  </a:moveTo>
                  <a:lnTo>
                    <a:pt x="45034" y="74474"/>
                  </a:lnTo>
                  <a:lnTo>
                    <a:pt x="22493" y="59541"/>
                  </a:lnTo>
                  <a:lnTo>
                    <a:pt x="0" y="74474"/>
                  </a:lnTo>
                  <a:lnTo>
                    <a:pt x="0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20" name="Forma livre: Forma 1219">
              <a:extLst>
                <a:ext uri="{FF2B5EF4-FFF2-40B4-BE49-F238E27FC236}">
                  <a16:creationId xmlns:a16="http://schemas.microsoft.com/office/drawing/2014/main" id="{4A6FB5D1-EDB7-613B-E82C-956EF691AB3C}"/>
                </a:ext>
              </a:extLst>
            </p:cNvPr>
            <p:cNvSpPr/>
            <p:nvPr/>
          </p:nvSpPr>
          <p:spPr>
            <a:xfrm>
              <a:off x="3936772" y="3878351"/>
              <a:ext cx="139213" cy="4725"/>
            </a:xfrm>
            <a:custGeom>
              <a:avLst/>
              <a:gdLst>
                <a:gd name="connsiteX0" fmla="*/ 0 w 139213"/>
                <a:gd name="connsiteY0" fmla="*/ 0 h 4725"/>
                <a:gd name="connsiteX1" fmla="*/ 139214 w 139213"/>
                <a:gd name="connsiteY1" fmla="*/ 0 h 47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39213" h="4725">
                  <a:moveTo>
                    <a:pt x="0" y="0"/>
                  </a:moveTo>
                  <a:lnTo>
                    <a:pt x="139214" y="0"/>
                  </a:lnTo>
                </a:path>
              </a:pathLst>
            </a:custGeom>
            <a:ln w="6350" cap="sq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21" name="Forma livre: Forma 1220">
              <a:extLst>
                <a:ext uri="{FF2B5EF4-FFF2-40B4-BE49-F238E27FC236}">
                  <a16:creationId xmlns:a16="http://schemas.microsoft.com/office/drawing/2014/main" id="{F531A4A1-C1CB-B4F3-8A63-55CE3BA2CA59}"/>
                </a:ext>
              </a:extLst>
            </p:cNvPr>
            <p:cNvSpPr/>
            <p:nvPr/>
          </p:nvSpPr>
          <p:spPr>
            <a:xfrm>
              <a:off x="3896841" y="3878351"/>
              <a:ext cx="158068" cy="4725"/>
            </a:xfrm>
            <a:custGeom>
              <a:avLst/>
              <a:gdLst>
                <a:gd name="connsiteX0" fmla="*/ 0 w 158068"/>
                <a:gd name="connsiteY0" fmla="*/ 0 h 4725"/>
                <a:gd name="connsiteX1" fmla="*/ 158068 w 158068"/>
                <a:gd name="connsiteY1" fmla="*/ 0 h 47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8068" h="4725">
                  <a:moveTo>
                    <a:pt x="0" y="0"/>
                  </a:moveTo>
                  <a:lnTo>
                    <a:pt x="158068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222" name="Gráfico 14">
            <a:extLst>
              <a:ext uri="{FF2B5EF4-FFF2-40B4-BE49-F238E27FC236}">
                <a16:creationId xmlns:a16="http://schemas.microsoft.com/office/drawing/2014/main" id="{48E68AB8-9EA5-0CC5-6656-28622AD35D83}"/>
              </a:ext>
            </a:extLst>
          </p:cNvPr>
          <p:cNvGrpSpPr/>
          <p:nvPr/>
        </p:nvGrpSpPr>
        <p:grpSpPr>
          <a:xfrm>
            <a:off x="3823643" y="4684807"/>
            <a:ext cx="292509" cy="307725"/>
            <a:chOff x="3823643" y="4684807"/>
            <a:chExt cx="292509" cy="307725"/>
          </a:xfrm>
        </p:grpSpPr>
        <p:sp>
          <p:nvSpPr>
            <p:cNvPr id="1223" name="Forma livre: Forma 1222">
              <a:extLst>
                <a:ext uri="{FF2B5EF4-FFF2-40B4-BE49-F238E27FC236}">
                  <a16:creationId xmlns:a16="http://schemas.microsoft.com/office/drawing/2014/main" id="{D63D795C-F7BD-1761-12D4-0D02BB234474}"/>
                </a:ext>
              </a:extLst>
            </p:cNvPr>
            <p:cNvSpPr/>
            <p:nvPr/>
          </p:nvSpPr>
          <p:spPr>
            <a:xfrm>
              <a:off x="3836581" y="4749879"/>
              <a:ext cx="67112" cy="86050"/>
            </a:xfrm>
            <a:custGeom>
              <a:avLst/>
              <a:gdLst>
                <a:gd name="connsiteX0" fmla="*/ 44997 w 67112"/>
                <a:gd name="connsiteY0" fmla="*/ 86050 h 86050"/>
                <a:gd name="connsiteX1" fmla="*/ 2420 w 67112"/>
                <a:gd name="connsiteY1" fmla="*/ 11387 h 86050"/>
                <a:gd name="connsiteX2" fmla="*/ 67112 w 67112"/>
                <a:gd name="connsiteY2" fmla="*/ 5150 h 86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7112" h="86050">
                  <a:moveTo>
                    <a:pt x="44997" y="86050"/>
                  </a:moveTo>
                  <a:cubicBezTo>
                    <a:pt x="10926" y="55996"/>
                    <a:pt x="-6795" y="27170"/>
                    <a:pt x="2420" y="11387"/>
                  </a:cubicBezTo>
                  <a:cubicBezTo>
                    <a:pt x="10028" y="-1702"/>
                    <a:pt x="34506" y="-3120"/>
                    <a:pt x="67112" y="515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24" name="Forma livre: Forma 1223">
              <a:extLst>
                <a:ext uri="{FF2B5EF4-FFF2-40B4-BE49-F238E27FC236}">
                  <a16:creationId xmlns:a16="http://schemas.microsoft.com/office/drawing/2014/main" id="{518D5F6A-58BB-689C-AC7E-29AF57029711}"/>
                </a:ext>
              </a:extLst>
            </p:cNvPr>
            <p:cNvSpPr/>
            <p:nvPr/>
          </p:nvSpPr>
          <p:spPr>
            <a:xfrm>
              <a:off x="3972638" y="4896226"/>
              <a:ext cx="134716" cy="31284"/>
            </a:xfrm>
            <a:custGeom>
              <a:avLst/>
              <a:gdLst>
                <a:gd name="connsiteX0" fmla="*/ 133212 w 134716"/>
                <a:gd name="connsiteY0" fmla="*/ 1134 h 31284"/>
                <a:gd name="connsiteX1" fmla="*/ 132314 w 134716"/>
                <a:gd name="connsiteY1" fmla="*/ 19894 h 31284"/>
                <a:gd name="connsiteX2" fmla="*/ 0 w 134716"/>
                <a:gd name="connsiteY2" fmla="*/ 0 h 312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34716" h="31284">
                  <a:moveTo>
                    <a:pt x="133212" y="1134"/>
                  </a:moveTo>
                  <a:cubicBezTo>
                    <a:pt x="135433" y="8459"/>
                    <a:pt x="135244" y="14838"/>
                    <a:pt x="132314" y="19894"/>
                  </a:cubicBezTo>
                  <a:cubicBezTo>
                    <a:pt x="119981" y="41065"/>
                    <a:pt x="63464" y="31755"/>
                    <a:pt x="0" y="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25" name="Forma livre: Forma 1224">
              <a:extLst>
                <a:ext uri="{FF2B5EF4-FFF2-40B4-BE49-F238E27FC236}">
                  <a16:creationId xmlns:a16="http://schemas.microsoft.com/office/drawing/2014/main" id="{F3527A06-1982-EEBC-2A67-5A280439CC0D}"/>
                </a:ext>
              </a:extLst>
            </p:cNvPr>
            <p:cNvSpPr/>
            <p:nvPr/>
          </p:nvSpPr>
          <p:spPr>
            <a:xfrm>
              <a:off x="3998865" y="4796140"/>
              <a:ext cx="83877" cy="65306"/>
            </a:xfrm>
            <a:custGeom>
              <a:avLst/>
              <a:gdLst>
                <a:gd name="connsiteX0" fmla="*/ 0 w 83877"/>
                <a:gd name="connsiteY0" fmla="*/ 0 h 65306"/>
                <a:gd name="connsiteX1" fmla="*/ 83878 w 83877"/>
                <a:gd name="connsiteY1" fmla="*/ 65307 h 653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3877" h="65306">
                  <a:moveTo>
                    <a:pt x="0" y="0"/>
                  </a:moveTo>
                  <a:cubicBezTo>
                    <a:pt x="35300" y="20745"/>
                    <a:pt x="64692" y="44089"/>
                    <a:pt x="83878" y="65307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26" name="Forma livre: Forma 1225">
              <a:extLst>
                <a:ext uri="{FF2B5EF4-FFF2-40B4-BE49-F238E27FC236}">
                  <a16:creationId xmlns:a16="http://schemas.microsoft.com/office/drawing/2014/main" id="{C6D5FE4B-FE3F-9615-0394-0F0E13C0A445}"/>
                </a:ext>
              </a:extLst>
            </p:cNvPr>
            <p:cNvSpPr/>
            <p:nvPr/>
          </p:nvSpPr>
          <p:spPr>
            <a:xfrm>
              <a:off x="3835616" y="4751350"/>
              <a:ext cx="272661" cy="174686"/>
            </a:xfrm>
            <a:custGeom>
              <a:avLst/>
              <a:gdLst>
                <a:gd name="connsiteX0" fmla="*/ 20207 w 272661"/>
                <a:gd name="connsiteY0" fmla="*/ 114160 h 174686"/>
                <a:gd name="connsiteX1" fmla="*/ 111646 w 272661"/>
                <a:gd name="connsiteY1" fmla="*/ 43514 h 174686"/>
                <a:gd name="connsiteX2" fmla="*/ 270376 w 272661"/>
                <a:gd name="connsiteY2" fmla="*/ 11806 h 174686"/>
                <a:gd name="connsiteX3" fmla="*/ 161028 w 272661"/>
                <a:gd name="connsiteY3" fmla="*/ 131172 h 174686"/>
                <a:gd name="connsiteX4" fmla="*/ 2298 w 272661"/>
                <a:gd name="connsiteY4" fmla="*/ 162880 h 174686"/>
                <a:gd name="connsiteX5" fmla="*/ 407 w 272661"/>
                <a:gd name="connsiteY5" fmla="*/ 149035 h 1746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72661" h="174686">
                  <a:moveTo>
                    <a:pt x="20207" y="114160"/>
                  </a:moveTo>
                  <a:cubicBezTo>
                    <a:pt x="39724" y="91431"/>
                    <a:pt x="72094" y="65771"/>
                    <a:pt x="111646" y="43514"/>
                  </a:cubicBezTo>
                  <a:cubicBezTo>
                    <a:pt x="185695" y="1788"/>
                    <a:pt x="256766" y="-12389"/>
                    <a:pt x="270376" y="11806"/>
                  </a:cubicBezTo>
                  <a:cubicBezTo>
                    <a:pt x="284033" y="36000"/>
                    <a:pt x="235076" y="89446"/>
                    <a:pt x="161028" y="131172"/>
                  </a:cubicBezTo>
                  <a:cubicBezTo>
                    <a:pt x="86979" y="172898"/>
                    <a:pt x="15907" y="187075"/>
                    <a:pt x="2298" y="162880"/>
                  </a:cubicBezTo>
                  <a:cubicBezTo>
                    <a:pt x="77" y="158958"/>
                    <a:pt x="-490" y="154280"/>
                    <a:pt x="407" y="149035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27" name="Forma livre: Forma 1226">
              <a:extLst>
                <a:ext uri="{FF2B5EF4-FFF2-40B4-BE49-F238E27FC236}">
                  <a16:creationId xmlns:a16="http://schemas.microsoft.com/office/drawing/2014/main" id="{0CBB08CA-83DC-B752-3471-3FA094322F85}"/>
                </a:ext>
              </a:extLst>
            </p:cNvPr>
            <p:cNvSpPr/>
            <p:nvPr/>
          </p:nvSpPr>
          <p:spPr>
            <a:xfrm>
              <a:off x="3955390" y="4684807"/>
              <a:ext cx="54957" cy="55146"/>
            </a:xfrm>
            <a:custGeom>
              <a:avLst/>
              <a:gdLst>
                <a:gd name="connsiteX0" fmla="*/ 0 w 54957"/>
                <a:gd name="connsiteY0" fmla="*/ 8175 h 55146"/>
                <a:gd name="connsiteX1" fmla="*/ 16161 w 54957"/>
                <a:gd name="connsiteY1" fmla="*/ 0 h 55146"/>
                <a:gd name="connsiteX2" fmla="*/ 54958 w 54957"/>
                <a:gd name="connsiteY2" fmla="*/ 55147 h 551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54957" h="55146">
                  <a:moveTo>
                    <a:pt x="0" y="8175"/>
                  </a:moveTo>
                  <a:cubicBezTo>
                    <a:pt x="5056" y="2883"/>
                    <a:pt x="10491" y="47"/>
                    <a:pt x="16161" y="0"/>
                  </a:cubicBezTo>
                  <a:cubicBezTo>
                    <a:pt x="31661" y="0"/>
                    <a:pt x="45601" y="21407"/>
                    <a:pt x="54958" y="55147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28" name="Forma livre: Forma 1227">
              <a:extLst>
                <a:ext uri="{FF2B5EF4-FFF2-40B4-BE49-F238E27FC236}">
                  <a16:creationId xmlns:a16="http://schemas.microsoft.com/office/drawing/2014/main" id="{FCFDF5CB-5C7F-98D9-E183-E9087ACCB58E}"/>
                </a:ext>
              </a:extLst>
            </p:cNvPr>
            <p:cNvSpPr/>
            <p:nvPr/>
          </p:nvSpPr>
          <p:spPr>
            <a:xfrm>
              <a:off x="3921649" y="4730692"/>
              <a:ext cx="88746" cy="261840"/>
            </a:xfrm>
            <a:custGeom>
              <a:avLst/>
              <a:gdLst>
                <a:gd name="connsiteX0" fmla="*/ 88746 w 88746"/>
                <a:gd name="connsiteY0" fmla="*/ 208206 h 261840"/>
                <a:gd name="connsiteX1" fmla="*/ 50753 w 88746"/>
                <a:gd name="connsiteY1" fmla="*/ 261841 h 261840"/>
                <a:gd name="connsiteX2" fmla="*/ 1 w 88746"/>
                <a:gd name="connsiteY2" fmla="*/ 108120 h 261840"/>
                <a:gd name="connsiteX3" fmla="*/ 14225 w 88746"/>
                <a:gd name="connsiteY3" fmla="*/ 0 h 2618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8746" h="261840">
                  <a:moveTo>
                    <a:pt x="88746" y="208206"/>
                  </a:moveTo>
                  <a:cubicBezTo>
                    <a:pt x="79626" y="241001"/>
                    <a:pt x="65969" y="261793"/>
                    <a:pt x="50753" y="261841"/>
                  </a:cubicBezTo>
                  <a:cubicBezTo>
                    <a:pt x="22967" y="261935"/>
                    <a:pt x="238" y="193084"/>
                    <a:pt x="1" y="108120"/>
                  </a:cubicBezTo>
                  <a:cubicBezTo>
                    <a:pt x="-93" y="65968"/>
                    <a:pt x="5341" y="27786"/>
                    <a:pt x="14225" y="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29" name="Forma livre: Forma 1228">
              <a:extLst>
                <a:ext uri="{FF2B5EF4-FFF2-40B4-BE49-F238E27FC236}">
                  <a16:creationId xmlns:a16="http://schemas.microsoft.com/office/drawing/2014/main" id="{1436A53C-2991-2DED-7960-CC64A04C1357}"/>
                </a:ext>
              </a:extLst>
            </p:cNvPr>
            <p:cNvSpPr/>
            <p:nvPr/>
          </p:nvSpPr>
          <p:spPr>
            <a:xfrm>
              <a:off x="3923446" y="4691376"/>
              <a:ext cx="40166" cy="40166"/>
            </a:xfrm>
            <a:custGeom>
              <a:avLst/>
              <a:gdLst>
                <a:gd name="connsiteX0" fmla="*/ 40167 w 40166"/>
                <a:gd name="connsiteY0" fmla="*/ 20083 h 40166"/>
                <a:gd name="connsiteX1" fmla="*/ 20083 w 40166"/>
                <a:gd name="connsiteY1" fmla="*/ 40167 h 40166"/>
                <a:gd name="connsiteX2" fmla="*/ 0 w 40166"/>
                <a:gd name="connsiteY2" fmla="*/ 20083 h 40166"/>
                <a:gd name="connsiteX3" fmla="*/ 20083 w 40166"/>
                <a:gd name="connsiteY3" fmla="*/ 0 h 40166"/>
                <a:gd name="connsiteX4" fmla="*/ 40167 w 40166"/>
                <a:gd name="connsiteY4" fmla="*/ 20083 h 401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0166" h="40166">
                  <a:moveTo>
                    <a:pt x="40167" y="20083"/>
                  </a:moveTo>
                  <a:cubicBezTo>
                    <a:pt x="40167" y="31188"/>
                    <a:pt x="31188" y="40167"/>
                    <a:pt x="20083" y="40167"/>
                  </a:cubicBezTo>
                  <a:cubicBezTo>
                    <a:pt x="8978" y="40167"/>
                    <a:pt x="0" y="31188"/>
                    <a:pt x="0" y="20083"/>
                  </a:cubicBezTo>
                  <a:cubicBezTo>
                    <a:pt x="0" y="8979"/>
                    <a:pt x="8978" y="0"/>
                    <a:pt x="20083" y="0"/>
                  </a:cubicBezTo>
                  <a:cubicBezTo>
                    <a:pt x="31188" y="0"/>
                    <a:pt x="40167" y="8979"/>
                    <a:pt x="40167" y="20083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30" name="Forma livre: Forma 1229">
              <a:extLst>
                <a:ext uri="{FF2B5EF4-FFF2-40B4-BE49-F238E27FC236}">
                  <a16:creationId xmlns:a16="http://schemas.microsoft.com/office/drawing/2014/main" id="{58164944-03E1-7FCD-C73E-3DD2EC3655C1}"/>
                </a:ext>
              </a:extLst>
            </p:cNvPr>
            <p:cNvSpPr/>
            <p:nvPr/>
          </p:nvSpPr>
          <p:spPr>
            <a:xfrm>
              <a:off x="3823643" y="4862250"/>
              <a:ext cx="40166" cy="40166"/>
            </a:xfrm>
            <a:custGeom>
              <a:avLst/>
              <a:gdLst>
                <a:gd name="connsiteX0" fmla="*/ 40167 w 40166"/>
                <a:gd name="connsiteY0" fmla="*/ 20083 h 40166"/>
                <a:gd name="connsiteX1" fmla="*/ 20083 w 40166"/>
                <a:gd name="connsiteY1" fmla="*/ 40167 h 40166"/>
                <a:gd name="connsiteX2" fmla="*/ 0 w 40166"/>
                <a:gd name="connsiteY2" fmla="*/ 20083 h 40166"/>
                <a:gd name="connsiteX3" fmla="*/ 20083 w 40166"/>
                <a:gd name="connsiteY3" fmla="*/ 0 h 40166"/>
                <a:gd name="connsiteX4" fmla="*/ 40167 w 40166"/>
                <a:gd name="connsiteY4" fmla="*/ 20083 h 401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0166" h="40166">
                  <a:moveTo>
                    <a:pt x="40167" y="20083"/>
                  </a:moveTo>
                  <a:cubicBezTo>
                    <a:pt x="40167" y="31188"/>
                    <a:pt x="31188" y="40167"/>
                    <a:pt x="20083" y="40167"/>
                  </a:cubicBezTo>
                  <a:cubicBezTo>
                    <a:pt x="8978" y="40167"/>
                    <a:pt x="0" y="31188"/>
                    <a:pt x="0" y="20083"/>
                  </a:cubicBezTo>
                  <a:cubicBezTo>
                    <a:pt x="0" y="8978"/>
                    <a:pt x="8978" y="0"/>
                    <a:pt x="20083" y="0"/>
                  </a:cubicBezTo>
                  <a:cubicBezTo>
                    <a:pt x="31188" y="0"/>
                    <a:pt x="40167" y="8978"/>
                    <a:pt x="40167" y="20083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31" name="Forma livre: Forma 1230">
              <a:extLst>
                <a:ext uri="{FF2B5EF4-FFF2-40B4-BE49-F238E27FC236}">
                  <a16:creationId xmlns:a16="http://schemas.microsoft.com/office/drawing/2014/main" id="{029501F5-3214-64D3-E154-D28BF364570F}"/>
                </a:ext>
              </a:extLst>
            </p:cNvPr>
            <p:cNvSpPr/>
            <p:nvPr/>
          </p:nvSpPr>
          <p:spPr>
            <a:xfrm>
              <a:off x="4075985" y="4858800"/>
              <a:ext cx="40166" cy="40166"/>
            </a:xfrm>
            <a:custGeom>
              <a:avLst/>
              <a:gdLst>
                <a:gd name="connsiteX0" fmla="*/ 40167 w 40166"/>
                <a:gd name="connsiteY0" fmla="*/ 20083 h 40166"/>
                <a:gd name="connsiteX1" fmla="*/ 20083 w 40166"/>
                <a:gd name="connsiteY1" fmla="*/ 40167 h 40166"/>
                <a:gd name="connsiteX2" fmla="*/ 0 w 40166"/>
                <a:gd name="connsiteY2" fmla="*/ 20083 h 40166"/>
                <a:gd name="connsiteX3" fmla="*/ 20083 w 40166"/>
                <a:gd name="connsiteY3" fmla="*/ 0 h 40166"/>
                <a:gd name="connsiteX4" fmla="*/ 40167 w 40166"/>
                <a:gd name="connsiteY4" fmla="*/ 20083 h 401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0166" h="40166">
                  <a:moveTo>
                    <a:pt x="40167" y="20083"/>
                  </a:moveTo>
                  <a:cubicBezTo>
                    <a:pt x="40167" y="31188"/>
                    <a:pt x="31188" y="40167"/>
                    <a:pt x="20083" y="40167"/>
                  </a:cubicBezTo>
                  <a:cubicBezTo>
                    <a:pt x="8978" y="40167"/>
                    <a:pt x="0" y="31188"/>
                    <a:pt x="0" y="20083"/>
                  </a:cubicBezTo>
                  <a:cubicBezTo>
                    <a:pt x="0" y="8979"/>
                    <a:pt x="8978" y="0"/>
                    <a:pt x="20083" y="0"/>
                  </a:cubicBezTo>
                  <a:cubicBezTo>
                    <a:pt x="31188" y="0"/>
                    <a:pt x="40167" y="8979"/>
                    <a:pt x="40167" y="20083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32" name="Forma livre: Forma 1231">
              <a:extLst>
                <a:ext uri="{FF2B5EF4-FFF2-40B4-BE49-F238E27FC236}">
                  <a16:creationId xmlns:a16="http://schemas.microsoft.com/office/drawing/2014/main" id="{4A78C278-EA5A-BE70-5ADA-C19457ADA667}"/>
                </a:ext>
              </a:extLst>
            </p:cNvPr>
            <p:cNvSpPr/>
            <p:nvPr/>
          </p:nvSpPr>
          <p:spPr>
            <a:xfrm>
              <a:off x="3962003" y="4828746"/>
              <a:ext cx="19883" cy="19894"/>
            </a:xfrm>
            <a:custGeom>
              <a:avLst/>
              <a:gdLst>
                <a:gd name="connsiteX0" fmla="*/ 9927 w 19883"/>
                <a:gd name="connsiteY0" fmla="*/ 19894 h 19894"/>
                <a:gd name="connsiteX1" fmla="*/ 5060 w 19883"/>
                <a:gd name="connsiteY1" fmla="*/ 18619 h 19894"/>
                <a:gd name="connsiteX2" fmla="*/ 1279 w 19883"/>
                <a:gd name="connsiteY2" fmla="*/ 5056 h 19894"/>
                <a:gd name="connsiteX3" fmla="*/ 9974 w 19883"/>
                <a:gd name="connsiteY3" fmla="*/ 0 h 19894"/>
                <a:gd name="connsiteX4" fmla="*/ 14841 w 19883"/>
                <a:gd name="connsiteY4" fmla="*/ 1276 h 19894"/>
                <a:gd name="connsiteX5" fmla="*/ 19520 w 19883"/>
                <a:gd name="connsiteY5" fmla="*/ 7277 h 19894"/>
                <a:gd name="connsiteX6" fmla="*/ 18574 w 19883"/>
                <a:gd name="connsiteY6" fmla="*/ 14838 h 19894"/>
                <a:gd name="connsiteX7" fmla="*/ 9880 w 19883"/>
                <a:gd name="connsiteY7" fmla="*/ 19894 h 198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9883" h="19894">
                  <a:moveTo>
                    <a:pt x="9927" y="19894"/>
                  </a:moveTo>
                  <a:cubicBezTo>
                    <a:pt x="8226" y="19894"/>
                    <a:pt x="6524" y="19469"/>
                    <a:pt x="5060" y="18619"/>
                  </a:cubicBezTo>
                  <a:cubicBezTo>
                    <a:pt x="287" y="15925"/>
                    <a:pt x="-1414" y="9829"/>
                    <a:pt x="1279" y="5056"/>
                  </a:cubicBezTo>
                  <a:cubicBezTo>
                    <a:pt x="3028" y="1937"/>
                    <a:pt x="6383" y="0"/>
                    <a:pt x="9974" y="0"/>
                  </a:cubicBezTo>
                  <a:cubicBezTo>
                    <a:pt x="11675" y="0"/>
                    <a:pt x="13376" y="425"/>
                    <a:pt x="14841" y="1276"/>
                  </a:cubicBezTo>
                  <a:cubicBezTo>
                    <a:pt x="17157" y="2599"/>
                    <a:pt x="18811" y="4726"/>
                    <a:pt x="19520" y="7277"/>
                  </a:cubicBezTo>
                  <a:cubicBezTo>
                    <a:pt x="20228" y="9829"/>
                    <a:pt x="19898" y="12523"/>
                    <a:pt x="18574" y="14838"/>
                  </a:cubicBezTo>
                  <a:cubicBezTo>
                    <a:pt x="16826" y="17957"/>
                    <a:pt x="13471" y="19894"/>
                    <a:pt x="9880" y="19894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233" name="Gráfico 14">
            <a:extLst>
              <a:ext uri="{FF2B5EF4-FFF2-40B4-BE49-F238E27FC236}">
                <a16:creationId xmlns:a16="http://schemas.microsoft.com/office/drawing/2014/main" id="{39BAFB7B-9F54-2A41-004A-156270F4334C}"/>
              </a:ext>
            </a:extLst>
          </p:cNvPr>
          <p:cNvGrpSpPr/>
          <p:nvPr/>
        </p:nvGrpSpPr>
        <p:grpSpPr>
          <a:xfrm>
            <a:off x="3833141" y="5746393"/>
            <a:ext cx="273512" cy="273701"/>
            <a:chOff x="3833141" y="5746393"/>
            <a:chExt cx="273512" cy="273701"/>
          </a:xfrm>
          <a:noFill/>
        </p:grpSpPr>
        <p:sp>
          <p:nvSpPr>
            <p:cNvPr id="1234" name="Forma livre: Forma 1233">
              <a:extLst>
                <a:ext uri="{FF2B5EF4-FFF2-40B4-BE49-F238E27FC236}">
                  <a16:creationId xmlns:a16="http://schemas.microsoft.com/office/drawing/2014/main" id="{61470E31-A113-D136-ADEC-D8889D012143}"/>
                </a:ext>
              </a:extLst>
            </p:cNvPr>
            <p:cNvSpPr/>
            <p:nvPr/>
          </p:nvSpPr>
          <p:spPr>
            <a:xfrm>
              <a:off x="4022918" y="5850685"/>
              <a:ext cx="4725" cy="128911"/>
            </a:xfrm>
            <a:custGeom>
              <a:avLst/>
              <a:gdLst>
                <a:gd name="connsiteX0" fmla="*/ 0 w 4725"/>
                <a:gd name="connsiteY0" fmla="*/ 0 h 128911"/>
                <a:gd name="connsiteX1" fmla="*/ 0 w 4725"/>
                <a:gd name="connsiteY1" fmla="*/ 128912 h 1289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725" h="128911">
                  <a:moveTo>
                    <a:pt x="0" y="0"/>
                  </a:moveTo>
                  <a:lnTo>
                    <a:pt x="0" y="128912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35" name="Forma livre: Forma 1234">
              <a:extLst>
                <a:ext uri="{FF2B5EF4-FFF2-40B4-BE49-F238E27FC236}">
                  <a16:creationId xmlns:a16="http://schemas.microsoft.com/office/drawing/2014/main" id="{4FAB0D00-C72B-4C34-CB8D-BCE15270119B}"/>
                </a:ext>
              </a:extLst>
            </p:cNvPr>
            <p:cNvSpPr/>
            <p:nvPr/>
          </p:nvSpPr>
          <p:spPr>
            <a:xfrm>
              <a:off x="3873497" y="5830271"/>
              <a:ext cx="129100" cy="4725"/>
            </a:xfrm>
            <a:custGeom>
              <a:avLst/>
              <a:gdLst>
                <a:gd name="connsiteX0" fmla="*/ 0 w 129100"/>
                <a:gd name="connsiteY0" fmla="*/ 0 h 4725"/>
                <a:gd name="connsiteX1" fmla="*/ 129101 w 129100"/>
                <a:gd name="connsiteY1" fmla="*/ 0 h 47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9100" h="4725">
                  <a:moveTo>
                    <a:pt x="0" y="0"/>
                  </a:moveTo>
                  <a:lnTo>
                    <a:pt x="129101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36" name="Forma livre: Forma 1235">
              <a:extLst>
                <a:ext uri="{FF2B5EF4-FFF2-40B4-BE49-F238E27FC236}">
                  <a16:creationId xmlns:a16="http://schemas.microsoft.com/office/drawing/2014/main" id="{6AE6212C-4DED-647E-437C-8B079B7E8D9F}"/>
                </a:ext>
              </a:extLst>
            </p:cNvPr>
            <p:cNvSpPr/>
            <p:nvPr/>
          </p:nvSpPr>
          <p:spPr>
            <a:xfrm>
              <a:off x="4002882" y="5810329"/>
              <a:ext cx="40166" cy="40166"/>
            </a:xfrm>
            <a:custGeom>
              <a:avLst/>
              <a:gdLst>
                <a:gd name="connsiteX0" fmla="*/ 40167 w 40166"/>
                <a:gd name="connsiteY0" fmla="*/ 20083 h 40166"/>
                <a:gd name="connsiteX1" fmla="*/ 20083 w 40166"/>
                <a:gd name="connsiteY1" fmla="*/ 40167 h 40166"/>
                <a:gd name="connsiteX2" fmla="*/ 0 w 40166"/>
                <a:gd name="connsiteY2" fmla="*/ 20083 h 40166"/>
                <a:gd name="connsiteX3" fmla="*/ 20083 w 40166"/>
                <a:gd name="connsiteY3" fmla="*/ 0 h 40166"/>
                <a:gd name="connsiteX4" fmla="*/ 40167 w 40166"/>
                <a:gd name="connsiteY4" fmla="*/ 20083 h 401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0166" h="40166">
                  <a:moveTo>
                    <a:pt x="40167" y="20083"/>
                  </a:moveTo>
                  <a:cubicBezTo>
                    <a:pt x="40167" y="31188"/>
                    <a:pt x="31188" y="40167"/>
                    <a:pt x="20083" y="40167"/>
                  </a:cubicBezTo>
                  <a:cubicBezTo>
                    <a:pt x="8978" y="40167"/>
                    <a:pt x="0" y="31188"/>
                    <a:pt x="0" y="20083"/>
                  </a:cubicBezTo>
                  <a:cubicBezTo>
                    <a:pt x="0" y="8978"/>
                    <a:pt x="8978" y="0"/>
                    <a:pt x="20083" y="0"/>
                  </a:cubicBezTo>
                  <a:cubicBezTo>
                    <a:pt x="31188" y="0"/>
                    <a:pt x="40167" y="8978"/>
                    <a:pt x="40167" y="20083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37" name="Forma livre: Forma 1236">
              <a:extLst>
                <a:ext uri="{FF2B5EF4-FFF2-40B4-BE49-F238E27FC236}">
                  <a16:creationId xmlns:a16="http://schemas.microsoft.com/office/drawing/2014/main" id="{732F4BB6-4FB3-0946-EDF0-DA248756C959}"/>
                </a:ext>
              </a:extLst>
            </p:cNvPr>
            <p:cNvSpPr/>
            <p:nvPr/>
          </p:nvSpPr>
          <p:spPr>
            <a:xfrm>
              <a:off x="3853225" y="5850780"/>
              <a:ext cx="4725" cy="128817"/>
            </a:xfrm>
            <a:custGeom>
              <a:avLst/>
              <a:gdLst>
                <a:gd name="connsiteX0" fmla="*/ 0 w 4725"/>
                <a:gd name="connsiteY0" fmla="*/ 128817 h 128817"/>
                <a:gd name="connsiteX1" fmla="*/ 0 w 4725"/>
                <a:gd name="connsiteY1" fmla="*/ 0 h 1288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725" h="128817">
                  <a:moveTo>
                    <a:pt x="0" y="128817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38" name="Forma livre: Forma 1237">
              <a:extLst>
                <a:ext uri="{FF2B5EF4-FFF2-40B4-BE49-F238E27FC236}">
                  <a16:creationId xmlns:a16="http://schemas.microsoft.com/office/drawing/2014/main" id="{50AFCE9A-67AC-0E77-BFD0-F8B83B4E0E2D}"/>
                </a:ext>
              </a:extLst>
            </p:cNvPr>
            <p:cNvSpPr/>
            <p:nvPr/>
          </p:nvSpPr>
          <p:spPr>
            <a:xfrm>
              <a:off x="3833141" y="5810329"/>
              <a:ext cx="40166" cy="40166"/>
            </a:xfrm>
            <a:custGeom>
              <a:avLst/>
              <a:gdLst>
                <a:gd name="connsiteX0" fmla="*/ 40167 w 40166"/>
                <a:gd name="connsiteY0" fmla="*/ 20083 h 40166"/>
                <a:gd name="connsiteX1" fmla="*/ 20083 w 40166"/>
                <a:gd name="connsiteY1" fmla="*/ 40167 h 40166"/>
                <a:gd name="connsiteX2" fmla="*/ 0 w 40166"/>
                <a:gd name="connsiteY2" fmla="*/ 20083 h 40166"/>
                <a:gd name="connsiteX3" fmla="*/ 20083 w 40166"/>
                <a:gd name="connsiteY3" fmla="*/ 0 h 40166"/>
                <a:gd name="connsiteX4" fmla="*/ 40167 w 40166"/>
                <a:gd name="connsiteY4" fmla="*/ 20083 h 401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0166" h="40166">
                  <a:moveTo>
                    <a:pt x="40167" y="20083"/>
                  </a:moveTo>
                  <a:cubicBezTo>
                    <a:pt x="40167" y="31188"/>
                    <a:pt x="31188" y="40167"/>
                    <a:pt x="20083" y="40167"/>
                  </a:cubicBezTo>
                  <a:cubicBezTo>
                    <a:pt x="8978" y="40167"/>
                    <a:pt x="0" y="31188"/>
                    <a:pt x="0" y="20083"/>
                  </a:cubicBezTo>
                  <a:cubicBezTo>
                    <a:pt x="0" y="8978"/>
                    <a:pt x="8978" y="0"/>
                    <a:pt x="20083" y="0"/>
                  </a:cubicBezTo>
                  <a:cubicBezTo>
                    <a:pt x="31188" y="0"/>
                    <a:pt x="40167" y="8978"/>
                    <a:pt x="40167" y="20083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39" name="Forma livre: Forma 1238">
              <a:extLst>
                <a:ext uri="{FF2B5EF4-FFF2-40B4-BE49-F238E27FC236}">
                  <a16:creationId xmlns:a16="http://schemas.microsoft.com/office/drawing/2014/main" id="{1C1BCABF-642F-DE60-F1DB-936AEC0955F4}"/>
                </a:ext>
              </a:extLst>
            </p:cNvPr>
            <p:cNvSpPr/>
            <p:nvPr/>
          </p:nvSpPr>
          <p:spPr>
            <a:xfrm>
              <a:off x="3873544" y="5999964"/>
              <a:ext cx="129100" cy="4725"/>
            </a:xfrm>
            <a:custGeom>
              <a:avLst/>
              <a:gdLst>
                <a:gd name="connsiteX0" fmla="*/ 129101 w 129100"/>
                <a:gd name="connsiteY0" fmla="*/ 0 h 4725"/>
                <a:gd name="connsiteX1" fmla="*/ 0 w 129100"/>
                <a:gd name="connsiteY1" fmla="*/ 0 h 47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9100" h="4725">
                  <a:moveTo>
                    <a:pt x="129101" y="0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40" name="Forma livre: Forma 1239">
              <a:extLst>
                <a:ext uri="{FF2B5EF4-FFF2-40B4-BE49-F238E27FC236}">
                  <a16:creationId xmlns:a16="http://schemas.microsoft.com/office/drawing/2014/main" id="{84F30A67-C3AB-B4E7-9C5F-DD9C339B250B}"/>
                </a:ext>
              </a:extLst>
            </p:cNvPr>
            <p:cNvSpPr/>
            <p:nvPr/>
          </p:nvSpPr>
          <p:spPr>
            <a:xfrm>
              <a:off x="3833141" y="5979928"/>
              <a:ext cx="40166" cy="40166"/>
            </a:xfrm>
            <a:custGeom>
              <a:avLst/>
              <a:gdLst>
                <a:gd name="connsiteX0" fmla="*/ 40167 w 40166"/>
                <a:gd name="connsiteY0" fmla="*/ 20083 h 40166"/>
                <a:gd name="connsiteX1" fmla="*/ 20083 w 40166"/>
                <a:gd name="connsiteY1" fmla="*/ 40167 h 40166"/>
                <a:gd name="connsiteX2" fmla="*/ 0 w 40166"/>
                <a:gd name="connsiteY2" fmla="*/ 20083 h 40166"/>
                <a:gd name="connsiteX3" fmla="*/ 20083 w 40166"/>
                <a:gd name="connsiteY3" fmla="*/ 0 h 40166"/>
                <a:gd name="connsiteX4" fmla="*/ 40167 w 40166"/>
                <a:gd name="connsiteY4" fmla="*/ 20083 h 401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0166" h="40166">
                  <a:moveTo>
                    <a:pt x="40167" y="20083"/>
                  </a:moveTo>
                  <a:cubicBezTo>
                    <a:pt x="40167" y="31188"/>
                    <a:pt x="31188" y="40167"/>
                    <a:pt x="20083" y="40167"/>
                  </a:cubicBezTo>
                  <a:cubicBezTo>
                    <a:pt x="8978" y="40167"/>
                    <a:pt x="0" y="31188"/>
                    <a:pt x="0" y="20083"/>
                  </a:cubicBezTo>
                  <a:cubicBezTo>
                    <a:pt x="0" y="8979"/>
                    <a:pt x="8978" y="0"/>
                    <a:pt x="20083" y="0"/>
                  </a:cubicBezTo>
                  <a:cubicBezTo>
                    <a:pt x="31188" y="0"/>
                    <a:pt x="40167" y="8979"/>
                    <a:pt x="40167" y="20083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41" name="Forma livre: Forma 1240">
              <a:extLst>
                <a:ext uri="{FF2B5EF4-FFF2-40B4-BE49-F238E27FC236}">
                  <a16:creationId xmlns:a16="http://schemas.microsoft.com/office/drawing/2014/main" id="{99A5D82B-5211-92ED-8DDF-C80FA8754B33}"/>
                </a:ext>
              </a:extLst>
            </p:cNvPr>
            <p:cNvSpPr/>
            <p:nvPr/>
          </p:nvSpPr>
          <p:spPr>
            <a:xfrm>
              <a:off x="4002882" y="5979928"/>
              <a:ext cx="40166" cy="40166"/>
            </a:xfrm>
            <a:custGeom>
              <a:avLst/>
              <a:gdLst>
                <a:gd name="connsiteX0" fmla="*/ 40167 w 40166"/>
                <a:gd name="connsiteY0" fmla="*/ 20083 h 40166"/>
                <a:gd name="connsiteX1" fmla="*/ 20083 w 40166"/>
                <a:gd name="connsiteY1" fmla="*/ 40167 h 40166"/>
                <a:gd name="connsiteX2" fmla="*/ 0 w 40166"/>
                <a:gd name="connsiteY2" fmla="*/ 20083 h 40166"/>
                <a:gd name="connsiteX3" fmla="*/ 20083 w 40166"/>
                <a:gd name="connsiteY3" fmla="*/ 0 h 40166"/>
                <a:gd name="connsiteX4" fmla="*/ 40167 w 40166"/>
                <a:gd name="connsiteY4" fmla="*/ 20083 h 401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0166" h="40166">
                  <a:moveTo>
                    <a:pt x="40167" y="20083"/>
                  </a:moveTo>
                  <a:cubicBezTo>
                    <a:pt x="40167" y="31188"/>
                    <a:pt x="31188" y="40167"/>
                    <a:pt x="20083" y="40167"/>
                  </a:cubicBezTo>
                  <a:cubicBezTo>
                    <a:pt x="8978" y="40167"/>
                    <a:pt x="0" y="31188"/>
                    <a:pt x="0" y="20083"/>
                  </a:cubicBezTo>
                  <a:cubicBezTo>
                    <a:pt x="0" y="8979"/>
                    <a:pt x="8978" y="0"/>
                    <a:pt x="20083" y="0"/>
                  </a:cubicBezTo>
                  <a:cubicBezTo>
                    <a:pt x="31188" y="0"/>
                    <a:pt x="40167" y="8979"/>
                    <a:pt x="40167" y="20083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42" name="Forma livre: Forma 1241">
              <a:extLst>
                <a:ext uri="{FF2B5EF4-FFF2-40B4-BE49-F238E27FC236}">
                  <a16:creationId xmlns:a16="http://schemas.microsoft.com/office/drawing/2014/main" id="{E13012F1-AC10-248E-D26D-44E347C6EF49}"/>
                </a:ext>
              </a:extLst>
            </p:cNvPr>
            <p:cNvSpPr/>
            <p:nvPr/>
          </p:nvSpPr>
          <p:spPr>
            <a:xfrm>
              <a:off x="3916972" y="5786749"/>
              <a:ext cx="4725" cy="129242"/>
            </a:xfrm>
            <a:custGeom>
              <a:avLst/>
              <a:gdLst>
                <a:gd name="connsiteX0" fmla="*/ 0 w 4725"/>
                <a:gd name="connsiteY0" fmla="*/ 129243 h 129242"/>
                <a:gd name="connsiteX1" fmla="*/ 0 w 4725"/>
                <a:gd name="connsiteY1" fmla="*/ 0 h 1292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725" h="129242">
                  <a:moveTo>
                    <a:pt x="0" y="129243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43" name="Forma livre: Forma 1242">
              <a:extLst>
                <a:ext uri="{FF2B5EF4-FFF2-40B4-BE49-F238E27FC236}">
                  <a16:creationId xmlns:a16="http://schemas.microsoft.com/office/drawing/2014/main" id="{57617E17-8FB5-3E3A-19AC-B2213C21DCD4}"/>
                </a:ext>
              </a:extLst>
            </p:cNvPr>
            <p:cNvSpPr/>
            <p:nvPr/>
          </p:nvSpPr>
          <p:spPr>
            <a:xfrm>
              <a:off x="3937244" y="5936217"/>
              <a:ext cx="128911" cy="4725"/>
            </a:xfrm>
            <a:custGeom>
              <a:avLst/>
              <a:gdLst>
                <a:gd name="connsiteX0" fmla="*/ 128912 w 128911"/>
                <a:gd name="connsiteY0" fmla="*/ 0 h 4725"/>
                <a:gd name="connsiteX1" fmla="*/ 0 w 128911"/>
                <a:gd name="connsiteY1" fmla="*/ 0 h 47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911" h="4725">
                  <a:moveTo>
                    <a:pt x="128912" y="0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44" name="Forma livre: Forma 1243">
              <a:extLst>
                <a:ext uri="{FF2B5EF4-FFF2-40B4-BE49-F238E27FC236}">
                  <a16:creationId xmlns:a16="http://schemas.microsoft.com/office/drawing/2014/main" id="{5FBC6198-6E1E-18B4-C95D-7071EB41EC60}"/>
                </a:ext>
              </a:extLst>
            </p:cNvPr>
            <p:cNvSpPr/>
            <p:nvPr/>
          </p:nvSpPr>
          <p:spPr>
            <a:xfrm>
              <a:off x="3896889" y="5916228"/>
              <a:ext cx="40166" cy="40166"/>
            </a:xfrm>
            <a:custGeom>
              <a:avLst/>
              <a:gdLst>
                <a:gd name="connsiteX0" fmla="*/ 40167 w 40166"/>
                <a:gd name="connsiteY0" fmla="*/ 20083 h 40166"/>
                <a:gd name="connsiteX1" fmla="*/ 20083 w 40166"/>
                <a:gd name="connsiteY1" fmla="*/ 40167 h 40166"/>
                <a:gd name="connsiteX2" fmla="*/ 0 w 40166"/>
                <a:gd name="connsiteY2" fmla="*/ 20083 h 40166"/>
                <a:gd name="connsiteX3" fmla="*/ 20083 w 40166"/>
                <a:gd name="connsiteY3" fmla="*/ 0 h 40166"/>
                <a:gd name="connsiteX4" fmla="*/ 40167 w 40166"/>
                <a:gd name="connsiteY4" fmla="*/ 20083 h 401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0166" h="40166">
                  <a:moveTo>
                    <a:pt x="40167" y="20083"/>
                  </a:moveTo>
                  <a:cubicBezTo>
                    <a:pt x="40167" y="31188"/>
                    <a:pt x="31188" y="40167"/>
                    <a:pt x="20083" y="40167"/>
                  </a:cubicBezTo>
                  <a:cubicBezTo>
                    <a:pt x="8978" y="40167"/>
                    <a:pt x="0" y="31188"/>
                    <a:pt x="0" y="20083"/>
                  </a:cubicBezTo>
                  <a:cubicBezTo>
                    <a:pt x="0" y="8978"/>
                    <a:pt x="8978" y="0"/>
                    <a:pt x="20083" y="0"/>
                  </a:cubicBezTo>
                  <a:cubicBezTo>
                    <a:pt x="31188" y="0"/>
                    <a:pt x="40167" y="8978"/>
                    <a:pt x="40167" y="20083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45" name="Forma livre: Forma 1244">
              <a:extLst>
                <a:ext uri="{FF2B5EF4-FFF2-40B4-BE49-F238E27FC236}">
                  <a16:creationId xmlns:a16="http://schemas.microsoft.com/office/drawing/2014/main" id="{D3A2E170-F88C-DA49-138E-B3B97072BE5E}"/>
                </a:ext>
              </a:extLst>
            </p:cNvPr>
            <p:cNvSpPr/>
            <p:nvPr/>
          </p:nvSpPr>
          <p:spPr>
            <a:xfrm>
              <a:off x="4086618" y="5786749"/>
              <a:ext cx="4725" cy="129148"/>
            </a:xfrm>
            <a:custGeom>
              <a:avLst/>
              <a:gdLst>
                <a:gd name="connsiteX0" fmla="*/ 0 w 4725"/>
                <a:gd name="connsiteY0" fmla="*/ 0 h 129148"/>
                <a:gd name="connsiteX1" fmla="*/ 0 w 4725"/>
                <a:gd name="connsiteY1" fmla="*/ 129148 h 1291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725" h="129148">
                  <a:moveTo>
                    <a:pt x="0" y="0"/>
                  </a:moveTo>
                  <a:lnTo>
                    <a:pt x="0" y="129148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46" name="Forma livre: Forma 1245">
              <a:extLst>
                <a:ext uri="{FF2B5EF4-FFF2-40B4-BE49-F238E27FC236}">
                  <a16:creationId xmlns:a16="http://schemas.microsoft.com/office/drawing/2014/main" id="{97C4EAF0-9968-32E5-4DB7-CFAD8364EEAD}"/>
                </a:ext>
              </a:extLst>
            </p:cNvPr>
            <p:cNvSpPr/>
            <p:nvPr/>
          </p:nvSpPr>
          <p:spPr>
            <a:xfrm>
              <a:off x="4066487" y="5916228"/>
              <a:ext cx="40166" cy="40166"/>
            </a:xfrm>
            <a:custGeom>
              <a:avLst/>
              <a:gdLst>
                <a:gd name="connsiteX0" fmla="*/ 40167 w 40166"/>
                <a:gd name="connsiteY0" fmla="*/ 20083 h 40166"/>
                <a:gd name="connsiteX1" fmla="*/ 20083 w 40166"/>
                <a:gd name="connsiteY1" fmla="*/ 40167 h 40166"/>
                <a:gd name="connsiteX2" fmla="*/ 0 w 40166"/>
                <a:gd name="connsiteY2" fmla="*/ 20083 h 40166"/>
                <a:gd name="connsiteX3" fmla="*/ 20083 w 40166"/>
                <a:gd name="connsiteY3" fmla="*/ 0 h 40166"/>
                <a:gd name="connsiteX4" fmla="*/ 40167 w 40166"/>
                <a:gd name="connsiteY4" fmla="*/ 20083 h 401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0166" h="40166">
                  <a:moveTo>
                    <a:pt x="40167" y="20083"/>
                  </a:moveTo>
                  <a:cubicBezTo>
                    <a:pt x="40167" y="31188"/>
                    <a:pt x="31188" y="40167"/>
                    <a:pt x="20083" y="40167"/>
                  </a:cubicBezTo>
                  <a:cubicBezTo>
                    <a:pt x="8979" y="40167"/>
                    <a:pt x="0" y="31188"/>
                    <a:pt x="0" y="20083"/>
                  </a:cubicBezTo>
                  <a:cubicBezTo>
                    <a:pt x="0" y="8978"/>
                    <a:pt x="8979" y="0"/>
                    <a:pt x="20083" y="0"/>
                  </a:cubicBezTo>
                  <a:cubicBezTo>
                    <a:pt x="31188" y="0"/>
                    <a:pt x="40167" y="8978"/>
                    <a:pt x="40167" y="20083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47" name="Forma livre: Forma 1246">
              <a:extLst>
                <a:ext uri="{FF2B5EF4-FFF2-40B4-BE49-F238E27FC236}">
                  <a16:creationId xmlns:a16="http://schemas.microsoft.com/office/drawing/2014/main" id="{72AF3729-BB83-A077-F54D-348EDE9CB8BF}"/>
                </a:ext>
              </a:extLst>
            </p:cNvPr>
            <p:cNvSpPr/>
            <p:nvPr/>
          </p:nvSpPr>
          <p:spPr>
            <a:xfrm>
              <a:off x="3937244" y="5766571"/>
              <a:ext cx="129006" cy="4725"/>
            </a:xfrm>
            <a:custGeom>
              <a:avLst/>
              <a:gdLst>
                <a:gd name="connsiteX0" fmla="*/ 0 w 129006"/>
                <a:gd name="connsiteY0" fmla="*/ 0 h 4725"/>
                <a:gd name="connsiteX1" fmla="*/ 129006 w 129006"/>
                <a:gd name="connsiteY1" fmla="*/ 0 h 47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9006" h="4725">
                  <a:moveTo>
                    <a:pt x="0" y="0"/>
                  </a:moveTo>
                  <a:lnTo>
                    <a:pt x="129006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48" name="Forma livre: Forma 1247">
              <a:extLst>
                <a:ext uri="{FF2B5EF4-FFF2-40B4-BE49-F238E27FC236}">
                  <a16:creationId xmlns:a16="http://schemas.microsoft.com/office/drawing/2014/main" id="{BC30C3D9-007A-27D6-F20B-BAD6B864CBBA}"/>
                </a:ext>
              </a:extLst>
            </p:cNvPr>
            <p:cNvSpPr/>
            <p:nvPr/>
          </p:nvSpPr>
          <p:spPr>
            <a:xfrm>
              <a:off x="4066487" y="5746393"/>
              <a:ext cx="40166" cy="40166"/>
            </a:xfrm>
            <a:custGeom>
              <a:avLst/>
              <a:gdLst>
                <a:gd name="connsiteX0" fmla="*/ 40167 w 40166"/>
                <a:gd name="connsiteY0" fmla="*/ 20083 h 40166"/>
                <a:gd name="connsiteX1" fmla="*/ 20083 w 40166"/>
                <a:gd name="connsiteY1" fmla="*/ 40167 h 40166"/>
                <a:gd name="connsiteX2" fmla="*/ 0 w 40166"/>
                <a:gd name="connsiteY2" fmla="*/ 20083 h 40166"/>
                <a:gd name="connsiteX3" fmla="*/ 20083 w 40166"/>
                <a:gd name="connsiteY3" fmla="*/ 0 h 40166"/>
                <a:gd name="connsiteX4" fmla="*/ 40167 w 40166"/>
                <a:gd name="connsiteY4" fmla="*/ 20083 h 401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0166" h="40166">
                  <a:moveTo>
                    <a:pt x="40167" y="20083"/>
                  </a:moveTo>
                  <a:cubicBezTo>
                    <a:pt x="40167" y="31188"/>
                    <a:pt x="31188" y="40167"/>
                    <a:pt x="20083" y="40167"/>
                  </a:cubicBezTo>
                  <a:cubicBezTo>
                    <a:pt x="8979" y="40167"/>
                    <a:pt x="0" y="31188"/>
                    <a:pt x="0" y="20083"/>
                  </a:cubicBezTo>
                  <a:cubicBezTo>
                    <a:pt x="0" y="8978"/>
                    <a:pt x="8979" y="0"/>
                    <a:pt x="20083" y="0"/>
                  </a:cubicBezTo>
                  <a:cubicBezTo>
                    <a:pt x="31188" y="0"/>
                    <a:pt x="40167" y="8978"/>
                    <a:pt x="40167" y="20083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49" name="Forma livre: Forma 1248">
              <a:extLst>
                <a:ext uri="{FF2B5EF4-FFF2-40B4-BE49-F238E27FC236}">
                  <a16:creationId xmlns:a16="http://schemas.microsoft.com/office/drawing/2014/main" id="{C6C20E91-E990-7EE6-B9CB-8FA75EB81A94}"/>
                </a:ext>
              </a:extLst>
            </p:cNvPr>
            <p:cNvSpPr/>
            <p:nvPr/>
          </p:nvSpPr>
          <p:spPr>
            <a:xfrm>
              <a:off x="3896889" y="5746393"/>
              <a:ext cx="40166" cy="40166"/>
            </a:xfrm>
            <a:custGeom>
              <a:avLst/>
              <a:gdLst>
                <a:gd name="connsiteX0" fmla="*/ 40167 w 40166"/>
                <a:gd name="connsiteY0" fmla="*/ 20083 h 40166"/>
                <a:gd name="connsiteX1" fmla="*/ 20083 w 40166"/>
                <a:gd name="connsiteY1" fmla="*/ 40167 h 40166"/>
                <a:gd name="connsiteX2" fmla="*/ 0 w 40166"/>
                <a:gd name="connsiteY2" fmla="*/ 20083 h 40166"/>
                <a:gd name="connsiteX3" fmla="*/ 20083 w 40166"/>
                <a:gd name="connsiteY3" fmla="*/ 0 h 40166"/>
                <a:gd name="connsiteX4" fmla="*/ 40167 w 40166"/>
                <a:gd name="connsiteY4" fmla="*/ 20083 h 401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0166" h="40166">
                  <a:moveTo>
                    <a:pt x="40167" y="20083"/>
                  </a:moveTo>
                  <a:cubicBezTo>
                    <a:pt x="40167" y="31188"/>
                    <a:pt x="31188" y="40167"/>
                    <a:pt x="20083" y="40167"/>
                  </a:cubicBezTo>
                  <a:cubicBezTo>
                    <a:pt x="8978" y="40167"/>
                    <a:pt x="0" y="31188"/>
                    <a:pt x="0" y="20083"/>
                  </a:cubicBezTo>
                  <a:cubicBezTo>
                    <a:pt x="0" y="8978"/>
                    <a:pt x="8978" y="0"/>
                    <a:pt x="20083" y="0"/>
                  </a:cubicBezTo>
                  <a:cubicBezTo>
                    <a:pt x="31188" y="0"/>
                    <a:pt x="40167" y="8978"/>
                    <a:pt x="40167" y="20083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50" name="Forma livre: Forma 1249">
              <a:extLst>
                <a:ext uri="{FF2B5EF4-FFF2-40B4-BE49-F238E27FC236}">
                  <a16:creationId xmlns:a16="http://schemas.microsoft.com/office/drawing/2014/main" id="{B0867A9E-F88E-1EEA-7060-E23C81C709B3}"/>
                </a:ext>
              </a:extLst>
            </p:cNvPr>
            <p:cNvSpPr/>
            <p:nvPr/>
          </p:nvSpPr>
          <p:spPr>
            <a:xfrm>
              <a:off x="3881153" y="5780795"/>
              <a:ext cx="21548" cy="21595"/>
            </a:xfrm>
            <a:custGeom>
              <a:avLst/>
              <a:gdLst>
                <a:gd name="connsiteX0" fmla="*/ 0 w 21548"/>
                <a:gd name="connsiteY0" fmla="*/ 21596 h 21595"/>
                <a:gd name="connsiteX1" fmla="*/ 21548 w 21548"/>
                <a:gd name="connsiteY1" fmla="*/ 0 h 215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1548" h="21595">
                  <a:moveTo>
                    <a:pt x="0" y="21596"/>
                  </a:moveTo>
                  <a:lnTo>
                    <a:pt x="21548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51" name="Forma livre: Forma 1250">
              <a:extLst>
                <a:ext uri="{FF2B5EF4-FFF2-40B4-BE49-F238E27FC236}">
                  <a16:creationId xmlns:a16="http://schemas.microsoft.com/office/drawing/2014/main" id="{2E108AF4-E94F-553E-6290-4614CEE45C05}"/>
                </a:ext>
              </a:extLst>
            </p:cNvPr>
            <p:cNvSpPr/>
            <p:nvPr/>
          </p:nvSpPr>
          <p:spPr>
            <a:xfrm>
              <a:off x="4050657" y="5780842"/>
              <a:ext cx="21737" cy="21642"/>
            </a:xfrm>
            <a:custGeom>
              <a:avLst/>
              <a:gdLst>
                <a:gd name="connsiteX0" fmla="*/ 0 w 21737"/>
                <a:gd name="connsiteY0" fmla="*/ 21643 h 21642"/>
                <a:gd name="connsiteX1" fmla="*/ 21737 w 21737"/>
                <a:gd name="connsiteY1" fmla="*/ 0 h 216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1737" h="21642">
                  <a:moveTo>
                    <a:pt x="0" y="21643"/>
                  </a:moveTo>
                  <a:lnTo>
                    <a:pt x="21737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52" name="Forma livre: Forma 1251">
              <a:extLst>
                <a:ext uri="{FF2B5EF4-FFF2-40B4-BE49-F238E27FC236}">
                  <a16:creationId xmlns:a16="http://schemas.microsoft.com/office/drawing/2014/main" id="{AD5AEBA5-A326-8376-34BC-BA912297A5D6}"/>
                </a:ext>
              </a:extLst>
            </p:cNvPr>
            <p:cNvSpPr/>
            <p:nvPr/>
          </p:nvSpPr>
          <p:spPr>
            <a:xfrm>
              <a:off x="3881578" y="5950582"/>
              <a:ext cx="20650" cy="20650"/>
            </a:xfrm>
            <a:custGeom>
              <a:avLst/>
              <a:gdLst>
                <a:gd name="connsiteX0" fmla="*/ 0 w 20650"/>
                <a:gd name="connsiteY0" fmla="*/ 20650 h 20650"/>
                <a:gd name="connsiteX1" fmla="*/ 20651 w 20650"/>
                <a:gd name="connsiteY1" fmla="*/ 0 h 206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0650" h="20650">
                  <a:moveTo>
                    <a:pt x="0" y="20650"/>
                  </a:moveTo>
                  <a:lnTo>
                    <a:pt x="20651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53" name="Forma livre: Forma 1252">
              <a:extLst>
                <a:ext uri="{FF2B5EF4-FFF2-40B4-BE49-F238E27FC236}">
                  <a16:creationId xmlns:a16="http://schemas.microsoft.com/office/drawing/2014/main" id="{BA8275E6-F7F4-1B0F-1C8D-1CCB941EFC75}"/>
                </a:ext>
              </a:extLst>
            </p:cNvPr>
            <p:cNvSpPr/>
            <p:nvPr/>
          </p:nvSpPr>
          <p:spPr>
            <a:xfrm>
              <a:off x="4051082" y="5950630"/>
              <a:ext cx="21028" cy="21028"/>
            </a:xfrm>
            <a:custGeom>
              <a:avLst/>
              <a:gdLst>
                <a:gd name="connsiteX0" fmla="*/ 0 w 21028"/>
                <a:gd name="connsiteY0" fmla="*/ 21028 h 21028"/>
                <a:gd name="connsiteX1" fmla="*/ 21028 w 21028"/>
                <a:gd name="connsiteY1" fmla="*/ 0 h 210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1028" h="21028">
                  <a:moveTo>
                    <a:pt x="0" y="21028"/>
                  </a:moveTo>
                  <a:lnTo>
                    <a:pt x="21028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255" name="Gráfico 14">
            <a:extLst>
              <a:ext uri="{FF2B5EF4-FFF2-40B4-BE49-F238E27FC236}">
                <a16:creationId xmlns:a16="http://schemas.microsoft.com/office/drawing/2014/main" id="{8258CCBE-5254-6FAF-E73C-AD223CFF87E4}"/>
              </a:ext>
            </a:extLst>
          </p:cNvPr>
          <p:cNvGrpSpPr/>
          <p:nvPr/>
        </p:nvGrpSpPr>
        <p:grpSpPr>
          <a:xfrm>
            <a:off x="2588052" y="4169301"/>
            <a:ext cx="302443" cy="294214"/>
            <a:chOff x="2588052" y="4169301"/>
            <a:chExt cx="302443" cy="294214"/>
          </a:xfrm>
          <a:noFill/>
        </p:grpSpPr>
        <p:sp>
          <p:nvSpPr>
            <p:cNvPr id="1256" name="Forma livre: Forma 1255">
              <a:extLst>
                <a:ext uri="{FF2B5EF4-FFF2-40B4-BE49-F238E27FC236}">
                  <a16:creationId xmlns:a16="http://schemas.microsoft.com/office/drawing/2014/main" id="{CF23E084-5DC1-31C3-7446-6657CA83F5B7}"/>
                </a:ext>
              </a:extLst>
            </p:cNvPr>
            <p:cNvSpPr/>
            <p:nvPr/>
          </p:nvSpPr>
          <p:spPr>
            <a:xfrm>
              <a:off x="2857418" y="4169301"/>
              <a:ext cx="33078" cy="33031"/>
            </a:xfrm>
            <a:custGeom>
              <a:avLst/>
              <a:gdLst>
                <a:gd name="connsiteX0" fmla="*/ 0 w 33078"/>
                <a:gd name="connsiteY0" fmla="*/ 0 h 33031"/>
                <a:gd name="connsiteX1" fmla="*/ 33079 w 33078"/>
                <a:gd name="connsiteY1" fmla="*/ 33031 h 330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3078" h="33031">
                  <a:moveTo>
                    <a:pt x="0" y="0"/>
                  </a:moveTo>
                  <a:lnTo>
                    <a:pt x="33079" y="33031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57" name="Forma livre: Forma 1256">
              <a:extLst>
                <a:ext uri="{FF2B5EF4-FFF2-40B4-BE49-F238E27FC236}">
                  <a16:creationId xmlns:a16="http://schemas.microsoft.com/office/drawing/2014/main" id="{8422EF2A-B5A6-F1E1-5A09-716A908C198F}"/>
                </a:ext>
              </a:extLst>
            </p:cNvPr>
            <p:cNvSpPr/>
            <p:nvPr/>
          </p:nvSpPr>
          <p:spPr>
            <a:xfrm>
              <a:off x="2845415" y="4186029"/>
              <a:ext cx="28305" cy="28353"/>
            </a:xfrm>
            <a:custGeom>
              <a:avLst/>
              <a:gdLst>
                <a:gd name="connsiteX0" fmla="*/ 0 w 28305"/>
                <a:gd name="connsiteY0" fmla="*/ 28353 h 28353"/>
                <a:gd name="connsiteX1" fmla="*/ 28306 w 28305"/>
                <a:gd name="connsiteY1" fmla="*/ 0 h 283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8305" h="28353">
                  <a:moveTo>
                    <a:pt x="0" y="28353"/>
                  </a:moveTo>
                  <a:lnTo>
                    <a:pt x="28306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58" name="Forma livre: Forma 1257">
              <a:extLst>
                <a:ext uri="{FF2B5EF4-FFF2-40B4-BE49-F238E27FC236}">
                  <a16:creationId xmlns:a16="http://schemas.microsoft.com/office/drawing/2014/main" id="{2626E7B5-10B4-3F6D-6D30-B83F855527DD}"/>
                </a:ext>
              </a:extLst>
            </p:cNvPr>
            <p:cNvSpPr/>
            <p:nvPr/>
          </p:nvSpPr>
          <p:spPr>
            <a:xfrm>
              <a:off x="2762813" y="4197087"/>
              <a:ext cx="99850" cy="99850"/>
            </a:xfrm>
            <a:custGeom>
              <a:avLst/>
              <a:gdLst>
                <a:gd name="connsiteX0" fmla="*/ 99850 w 99850"/>
                <a:gd name="connsiteY0" fmla="*/ 39789 h 99850"/>
                <a:gd name="connsiteX1" fmla="*/ 39742 w 99850"/>
                <a:gd name="connsiteY1" fmla="*/ 99850 h 99850"/>
                <a:gd name="connsiteX2" fmla="*/ 5623 w 99850"/>
                <a:gd name="connsiteY2" fmla="*/ 94510 h 99850"/>
                <a:gd name="connsiteX3" fmla="*/ 5340 w 99850"/>
                <a:gd name="connsiteY3" fmla="*/ 94227 h 99850"/>
                <a:gd name="connsiteX4" fmla="*/ 0 w 99850"/>
                <a:gd name="connsiteY4" fmla="*/ 60108 h 99850"/>
                <a:gd name="connsiteX5" fmla="*/ 60061 w 99850"/>
                <a:gd name="connsiteY5" fmla="*/ 0 h 998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9850" h="99850">
                  <a:moveTo>
                    <a:pt x="99850" y="39789"/>
                  </a:moveTo>
                  <a:lnTo>
                    <a:pt x="39742" y="99850"/>
                  </a:lnTo>
                  <a:lnTo>
                    <a:pt x="5623" y="94510"/>
                  </a:lnTo>
                  <a:lnTo>
                    <a:pt x="5340" y="94227"/>
                  </a:lnTo>
                  <a:lnTo>
                    <a:pt x="0" y="60108"/>
                  </a:lnTo>
                  <a:lnTo>
                    <a:pt x="60061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59" name="Forma livre: Forma 1258">
              <a:extLst>
                <a:ext uri="{FF2B5EF4-FFF2-40B4-BE49-F238E27FC236}">
                  <a16:creationId xmlns:a16="http://schemas.microsoft.com/office/drawing/2014/main" id="{7D1FC4B7-46BB-5D26-40FA-60C64ADBB57C}"/>
                </a:ext>
              </a:extLst>
            </p:cNvPr>
            <p:cNvSpPr/>
            <p:nvPr/>
          </p:nvSpPr>
          <p:spPr>
            <a:xfrm>
              <a:off x="2721748" y="4291456"/>
              <a:ext cx="46546" cy="46593"/>
            </a:xfrm>
            <a:custGeom>
              <a:avLst/>
              <a:gdLst>
                <a:gd name="connsiteX0" fmla="*/ 46546 w 46546"/>
                <a:gd name="connsiteY0" fmla="*/ 0 h 46593"/>
                <a:gd name="connsiteX1" fmla="*/ 0 w 46546"/>
                <a:gd name="connsiteY1" fmla="*/ 46594 h 465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6546" h="46593">
                  <a:moveTo>
                    <a:pt x="46546" y="0"/>
                  </a:moveTo>
                  <a:lnTo>
                    <a:pt x="0" y="46594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60" name="Forma livre: Forma 1259">
              <a:extLst>
                <a:ext uri="{FF2B5EF4-FFF2-40B4-BE49-F238E27FC236}">
                  <a16:creationId xmlns:a16="http://schemas.microsoft.com/office/drawing/2014/main" id="{F554DB19-16DD-EC88-3D98-1A5264B25AF0}"/>
                </a:ext>
              </a:extLst>
            </p:cNvPr>
            <p:cNvSpPr/>
            <p:nvPr/>
          </p:nvSpPr>
          <p:spPr>
            <a:xfrm>
              <a:off x="2782518" y="4240089"/>
              <a:ext cx="18334" cy="18334"/>
            </a:xfrm>
            <a:custGeom>
              <a:avLst/>
              <a:gdLst>
                <a:gd name="connsiteX0" fmla="*/ 0 w 18334"/>
                <a:gd name="connsiteY0" fmla="*/ 0 h 18334"/>
                <a:gd name="connsiteX1" fmla="*/ 18335 w 18334"/>
                <a:gd name="connsiteY1" fmla="*/ 18335 h 183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334" h="18334">
                  <a:moveTo>
                    <a:pt x="0" y="0"/>
                  </a:moveTo>
                  <a:lnTo>
                    <a:pt x="18335" y="18335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61" name="Forma livre: Forma 1260">
              <a:extLst>
                <a:ext uri="{FF2B5EF4-FFF2-40B4-BE49-F238E27FC236}">
                  <a16:creationId xmlns:a16="http://schemas.microsoft.com/office/drawing/2014/main" id="{65F30A15-7F9E-5CD8-F201-404CBE703B72}"/>
                </a:ext>
              </a:extLst>
            </p:cNvPr>
            <p:cNvSpPr/>
            <p:nvPr/>
          </p:nvSpPr>
          <p:spPr>
            <a:xfrm>
              <a:off x="2811438" y="4184754"/>
              <a:ext cx="63605" cy="63558"/>
            </a:xfrm>
            <a:custGeom>
              <a:avLst/>
              <a:gdLst>
                <a:gd name="connsiteX0" fmla="*/ 0 w 63605"/>
                <a:gd name="connsiteY0" fmla="*/ 0 h 63558"/>
                <a:gd name="connsiteX1" fmla="*/ 63605 w 63605"/>
                <a:gd name="connsiteY1" fmla="*/ 63558 h 635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3605" h="63558">
                  <a:moveTo>
                    <a:pt x="0" y="0"/>
                  </a:moveTo>
                  <a:lnTo>
                    <a:pt x="63605" y="63558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62" name="Forma livre: Forma 1261">
              <a:extLst>
                <a:ext uri="{FF2B5EF4-FFF2-40B4-BE49-F238E27FC236}">
                  <a16:creationId xmlns:a16="http://schemas.microsoft.com/office/drawing/2014/main" id="{B79BF498-DDF2-EEDD-8D45-84629CC72218}"/>
                </a:ext>
              </a:extLst>
            </p:cNvPr>
            <p:cNvSpPr/>
            <p:nvPr/>
          </p:nvSpPr>
          <p:spPr>
            <a:xfrm>
              <a:off x="2621471" y="4339939"/>
              <a:ext cx="9452" cy="50137"/>
            </a:xfrm>
            <a:custGeom>
              <a:avLst/>
              <a:gdLst>
                <a:gd name="connsiteX0" fmla="*/ 9453 w 9452"/>
                <a:gd name="connsiteY0" fmla="*/ 0 h 50137"/>
                <a:gd name="connsiteX1" fmla="*/ 663 w 9452"/>
                <a:gd name="connsiteY1" fmla="*/ 16067 h 50137"/>
                <a:gd name="connsiteX2" fmla="*/ 2932 w 9452"/>
                <a:gd name="connsiteY2" fmla="*/ 50138 h 501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452" h="50137">
                  <a:moveTo>
                    <a:pt x="9453" y="0"/>
                  </a:moveTo>
                  <a:cubicBezTo>
                    <a:pt x="5956" y="1985"/>
                    <a:pt x="2790" y="7797"/>
                    <a:pt x="663" y="16067"/>
                  </a:cubicBezTo>
                  <a:cubicBezTo>
                    <a:pt x="238" y="19091"/>
                    <a:pt x="-1416" y="33315"/>
                    <a:pt x="2932" y="50138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63" name="Forma livre: Forma 1262">
              <a:extLst>
                <a:ext uri="{FF2B5EF4-FFF2-40B4-BE49-F238E27FC236}">
                  <a16:creationId xmlns:a16="http://schemas.microsoft.com/office/drawing/2014/main" id="{EFBF518F-38A2-481A-BF32-AB8A335F4477}"/>
                </a:ext>
              </a:extLst>
            </p:cNvPr>
            <p:cNvSpPr/>
            <p:nvPr/>
          </p:nvSpPr>
          <p:spPr>
            <a:xfrm>
              <a:off x="2588052" y="4305118"/>
              <a:ext cx="186526" cy="158397"/>
            </a:xfrm>
            <a:custGeom>
              <a:avLst/>
              <a:gdLst>
                <a:gd name="connsiteX0" fmla="*/ 177265 w 186526"/>
                <a:gd name="connsiteY0" fmla="*/ 23291 h 158397"/>
                <a:gd name="connsiteX1" fmla="*/ 185251 w 186526"/>
                <a:gd name="connsiteY1" fmla="*/ 44036 h 158397"/>
                <a:gd name="connsiteX2" fmla="*/ 148770 w 186526"/>
                <a:gd name="connsiteY2" fmla="*/ 149226 h 158397"/>
                <a:gd name="connsiteX3" fmla="*/ 111580 w 186526"/>
                <a:gd name="connsiteY3" fmla="*/ 154896 h 158397"/>
                <a:gd name="connsiteX4" fmla="*/ 93812 w 186526"/>
                <a:gd name="connsiteY4" fmla="*/ 150549 h 158397"/>
                <a:gd name="connsiteX5" fmla="*/ 92915 w 186526"/>
                <a:gd name="connsiteY5" fmla="*/ 150549 h 158397"/>
                <a:gd name="connsiteX6" fmla="*/ 74910 w 186526"/>
                <a:gd name="connsiteY6" fmla="*/ 154896 h 158397"/>
                <a:gd name="connsiteX7" fmla="*/ 37721 w 186526"/>
                <a:gd name="connsiteY7" fmla="*/ 149226 h 158397"/>
                <a:gd name="connsiteX8" fmla="*/ 1287 w 186526"/>
                <a:gd name="connsiteY8" fmla="*/ 44036 h 158397"/>
                <a:gd name="connsiteX9" fmla="*/ 66688 w 186526"/>
                <a:gd name="connsiteY9" fmla="*/ 2735 h 158397"/>
                <a:gd name="connsiteX10" fmla="*/ 92206 w 186526"/>
                <a:gd name="connsiteY10" fmla="*/ 6090 h 158397"/>
                <a:gd name="connsiteX11" fmla="*/ 94332 w 186526"/>
                <a:gd name="connsiteY11" fmla="*/ 6090 h 158397"/>
                <a:gd name="connsiteX12" fmla="*/ 119850 w 186526"/>
                <a:gd name="connsiteY12" fmla="*/ 2735 h 158397"/>
                <a:gd name="connsiteX13" fmla="*/ 133271 w 186526"/>
                <a:gd name="connsiteY13" fmla="*/ 230 h 1583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86526" h="158397">
                  <a:moveTo>
                    <a:pt x="177265" y="23291"/>
                  </a:moveTo>
                  <a:cubicBezTo>
                    <a:pt x="180478" y="28867"/>
                    <a:pt x="183219" y="35672"/>
                    <a:pt x="185251" y="44036"/>
                  </a:cubicBezTo>
                  <a:cubicBezTo>
                    <a:pt x="185251" y="44036"/>
                    <a:pt x="197065" y="105940"/>
                    <a:pt x="148770" y="149226"/>
                  </a:cubicBezTo>
                  <a:cubicBezTo>
                    <a:pt x="148770" y="149226"/>
                    <a:pt x="134972" y="165293"/>
                    <a:pt x="111580" y="154896"/>
                  </a:cubicBezTo>
                  <a:cubicBezTo>
                    <a:pt x="111580" y="154896"/>
                    <a:pt x="101137" y="150549"/>
                    <a:pt x="93812" y="150549"/>
                  </a:cubicBezTo>
                  <a:lnTo>
                    <a:pt x="92915" y="150549"/>
                  </a:lnTo>
                  <a:cubicBezTo>
                    <a:pt x="85590" y="150549"/>
                    <a:pt x="74910" y="154896"/>
                    <a:pt x="74910" y="154896"/>
                  </a:cubicBezTo>
                  <a:cubicBezTo>
                    <a:pt x="51519" y="165293"/>
                    <a:pt x="37721" y="149226"/>
                    <a:pt x="37721" y="149226"/>
                  </a:cubicBezTo>
                  <a:cubicBezTo>
                    <a:pt x="-10574" y="105940"/>
                    <a:pt x="1287" y="44036"/>
                    <a:pt x="1287" y="44036"/>
                  </a:cubicBezTo>
                  <a:cubicBezTo>
                    <a:pt x="15794" y="-15884"/>
                    <a:pt x="66688" y="2735"/>
                    <a:pt x="66688" y="2735"/>
                  </a:cubicBezTo>
                  <a:cubicBezTo>
                    <a:pt x="82897" y="6752"/>
                    <a:pt x="92206" y="6090"/>
                    <a:pt x="92206" y="6090"/>
                  </a:cubicBezTo>
                  <a:lnTo>
                    <a:pt x="94332" y="6090"/>
                  </a:lnTo>
                  <a:cubicBezTo>
                    <a:pt x="94332" y="6090"/>
                    <a:pt x="101279" y="6232"/>
                    <a:pt x="119850" y="2735"/>
                  </a:cubicBezTo>
                  <a:cubicBezTo>
                    <a:pt x="119850" y="2735"/>
                    <a:pt x="125899" y="1554"/>
                    <a:pt x="133271" y="23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64" name="Forma livre: Forma 1263">
              <a:extLst>
                <a:ext uri="{FF2B5EF4-FFF2-40B4-BE49-F238E27FC236}">
                  <a16:creationId xmlns:a16="http://schemas.microsoft.com/office/drawing/2014/main" id="{297F2C0C-EBBA-51D1-6A8D-541094BAFE12}"/>
                </a:ext>
              </a:extLst>
            </p:cNvPr>
            <p:cNvSpPr/>
            <p:nvPr/>
          </p:nvSpPr>
          <p:spPr>
            <a:xfrm>
              <a:off x="2663624" y="4268253"/>
              <a:ext cx="17389" cy="41537"/>
            </a:xfrm>
            <a:custGeom>
              <a:avLst/>
              <a:gdLst>
                <a:gd name="connsiteX0" fmla="*/ 0 w 17389"/>
                <a:gd name="connsiteY0" fmla="*/ 0 h 41537"/>
                <a:gd name="connsiteX1" fmla="*/ 17390 w 17389"/>
                <a:gd name="connsiteY1" fmla="*/ 41537 h 415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7389" h="41537">
                  <a:moveTo>
                    <a:pt x="0" y="0"/>
                  </a:moveTo>
                  <a:cubicBezTo>
                    <a:pt x="0" y="0"/>
                    <a:pt x="15878" y="17626"/>
                    <a:pt x="17390" y="41537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65" name="Forma livre: Forma 1264">
              <a:extLst>
                <a:ext uri="{FF2B5EF4-FFF2-40B4-BE49-F238E27FC236}">
                  <a16:creationId xmlns:a16="http://schemas.microsoft.com/office/drawing/2014/main" id="{B1477EA1-AD12-094A-D0B9-A001B99D988D}"/>
                </a:ext>
              </a:extLst>
            </p:cNvPr>
            <p:cNvSpPr/>
            <p:nvPr/>
          </p:nvSpPr>
          <p:spPr>
            <a:xfrm>
              <a:off x="2802885" y="4219675"/>
              <a:ext cx="18334" cy="18334"/>
            </a:xfrm>
            <a:custGeom>
              <a:avLst/>
              <a:gdLst>
                <a:gd name="connsiteX0" fmla="*/ 0 w 18334"/>
                <a:gd name="connsiteY0" fmla="*/ 0 h 18334"/>
                <a:gd name="connsiteX1" fmla="*/ 18335 w 18334"/>
                <a:gd name="connsiteY1" fmla="*/ 18335 h 183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334" h="18334">
                  <a:moveTo>
                    <a:pt x="0" y="0"/>
                  </a:moveTo>
                  <a:lnTo>
                    <a:pt x="18335" y="18335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266" name="Gráfico 14">
            <a:extLst>
              <a:ext uri="{FF2B5EF4-FFF2-40B4-BE49-F238E27FC236}">
                <a16:creationId xmlns:a16="http://schemas.microsoft.com/office/drawing/2014/main" id="{F97FE477-9F20-629F-3FFB-4CC235ABCE5C}"/>
              </a:ext>
            </a:extLst>
          </p:cNvPr>
          <p:cNvGrpSpPr/>
          <p:nvPr/>
        </p:nvGrpSpPr>
        <p:grpSpPr>
          <a:xfrm>
            <a:off x="2608169" y="5218161"/>
            <a:ext cx="262192" cy="285577"/>
            <a:chOff x="2608169" y="5218161"/>
            <a:chExt cx="262192" cy="285577"/>
          </a:xfrm>
          <a:noFill/>
        </p:grpSpPr>
        <p:sp>
          <p:nvSpPr>
            <p:cNvPr id="1267" name="Forma livre: Forma 1266">
              <a:extLst>
                <a:ext uri="{FF2B5EF4-FFF2-40B4-BE49-F238E27FC236}">
                  <a16:creationId xmlns:a16="http://schemas.microsoft.com/office/drawing/2014/main" id="{11470B0E-E0F0-0560-7FBC-77C5F4993FB7}"/>
                </a:ext>
              </a:extLst>
            </p:cNvPr>
            <p:cNvSpPr/>
            <p:nvPr/>
          </p:nvSpPr>
          <p:spPr>
            <a:xfrm>
              <a:off x="2766499" y="5259807"/>
              <a:ext cx="12806" cy="12758"/>
            </a:xfrm>
            <a:custGeom>
              <a:avLst/>
              <a:gdLst>
                <a:gd name="connsiteX0" fmla="*/ 0 w 12806"/>
                <a:gd name="connsiteY0" fmla="*/ 12759 h 12758"/>
                <a:gd name="connsiteX1" fmla="*/ 12806 w 12806"/>
                <a:gd name="connsiteY1" fmla="*/ 0 h 127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06" h="12758">
                  <a:moveTo>
                    <a:pt x="0" y="12759"/>
                  </a:moveTo>
                  <a:lnTo>
                    <a:pt x="12806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68" name="Forma livre: Forma 1267">
              <a:extLst>
                <a:ext uri="{FF2B5EF4-FFF2-40B4-BE49-F238E27FC236}">
                  <a16:creationId xmlns:a16="http://schemas.microsoft.com/office/drawing/2014/main" id="{6DBD744D-812C-B8B7-FE10-6D2A1F88D894}"/>
                </a:ext>
              </a:extLst>
            </p:cNvPr>
            <p:cNvSpPr/>
            <p:nvPr/>
          </p:nvSpPr>
          <p:spPr>
            <a:xfrm>
              <a:off x="2709793" y="5316513"/>
              <a:ext cx="12758" cy="12758"/>
            </a:xfrm>
            <a:custGeom>
              <a:avLst/>
              <a:gdLst>
                <a:gd name="connsiteX0" fmla="*/ 0 w 12758"/>
                <a:gd name="connsiteY0" fmla="*/ 12759 h 12758"/>
                <a:gd name="connsiteX1" fmla="*/ 12759 w 12758"/>
                <a:gd name="connsiteY1" fmla="*/ 0 h 127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758" h="12758">
                  <a:moveTo>
                    <a:pt x="0" y="12759"/>
                  </a:moveTo>
                  <a:lnTo>
                    <a:pt x="12759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69" name="Forma livre: Forma 1268">
              <a:extLst>
                <a:ext uri="{FF2B5EF4-FFF2-40B4-BE49-F238E27FC236}">
                  <a16:creationId xmlns:a16="http://schemas.microsoft.com/office/drawing/2014/main" id="{75464ED1-AB05-D56F-FCAB-88FC9B5D3646}"/>
                </a:ext>
              </a:extLst>
            </p:cNvPr>
            <p:cNvSpPr/>
            <p:nvPr/>
          </p:nvSpPr>
          <p:spPr>
            <a:xfrm>
              <a:off x="2713951" y="5263966"/>
              <a:ext cx="61148" cy="61148"/>
            </a:xfrm>
            <a:custGeom>
              <a:avLst/>
              <a:gdLst>
                <a:gd name="connsiteX0" fmla="*/ 61148 w 61148"/>
                <a:gd name="connsiteY0" fmla="*/ 30574 h 61148"/>
                <a:gd name="connsiteX1" fmla="*/ 30574 w 61148"/>
                <a:gd name="connsiteY1" fmla="*/ 61148 h 61148"/>
                <a:gd name="connsiteX2" fmla="*/ 0 w 61148"/>
                <a:gd name="connsiteY2" fmla="*/ 30574 h 61148"/>
                <a:gd name="connsiteX3" fmla="*/ 30574 w 61148"/>
                <a:gd name="connsiteY3" fmla="*/ 0 h 61148"/>
                <a:gd name="connsiteX4" fmla="*/ 61148 w 61148"/>
                <a:gd name="connsiteY4" fmla="*/ 30574 h 611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1148" h="61148">
                  <a:moveTo>
                    <a:pt x="61148" y="30574"/>
                  </a:moveTo>
                  <a:cubicBezTo>
                    <a:pt x="61148" y="47444"/>
                    <a:pt x="47444" y="61148"/>
                    <a:pt x="30574" y="61148"/>
                  </a:cubicBezTo>
                  <a:cubicBezTo>
                    <a:pt x="13704" y="61148"/>
                    <a:pt x="0" y="47444"/>
                    <a:pt x="0" y="30574"/>
                  </a:cubicBezTo>
                  <a:cubicBezTo>
                    <a:pt x="0" y="13704"/>
                    <a:pt x="13704" y="0"/>
                    <a:pt x="30574" y="0"/>
                  </a:cubicBezTo>
                  <a:cubicBezTo>
                    <a:pt x="47444" y="0"/>
                    <a:pt x="61148" y="13704"/>
                    <a:pt x="61148" y="30574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70" name="Forma livre: Forma 1269">
              <a:extLst>
                <a:ext uri="{FF2B5EF4-FFF2-40B4-BE49-F238E27FC236}">
                  <a16:creationId xmlns:a16="http://schemas.microsoft.com/office/drawing/2014/main" id="{75CD38FA-4CB0-A507-C921-7A8118CB3B15}"/>
                </a:ext>
              </a:extLst>
            </p:cNvPr>
            <p:cNvSpPr/>
            <p:nvPr/>
          </p:nvSpPr>
          <p:spPr>
            <a:xfrm>
              <a:off x="2766121" y="5397367"/>
              <a:ext cx="5812" cy="14696"/>
            </a:xfrm>
            <a:custGeom>
              <a:avLst/>
              <a:gdLst>
                <a:gd name="connsiteX0" fmla="*/ 5812 w 5812"/>
                <a:gd name="connsiteY0" fmla="*/ 0 h 14696"/>
                <a:gd name="connsiteX1" fmla="*/ 0 w 5812"/>
                <a:gd name="connsiteY1" fmla="*/ 14696 h 146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812" h="14696">
                  <a:moveTo>
                    <a:pt x="5812" y="0"/>
                  </a:moveTo>
                  <a:lnTo>
                    <a:pt x="0" y="14696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71" name="Forma livre: Forma 1270">
              <a:extLst>
                <a:ext uri="{FF2B5EF4-FFF2-40B4-BE49-F238E27FC236}">
                  <a16:creationId xmlns:a16="http://schemas.microsoft.com/office/drawing/2014/main" id="{3E68C304-A383-F92A-AFC1-AFE798923C84}"/>
                </a:ext>
              </a:extLst>
            </p:cNvPr>
            <p:cNvSpPr/>
            <p:nvPr/>
          </p:nvSpPr>
          <p:spPr>
            <a:xfrm>
              <a:off x="2787953" y="5342220"/>
              <a:ext cx="5765" cy="14649"/>
            </a:xfrm>
            <a:custGeom>
              <a:avLst/>
              <a:gdLst>
                <a:gd name="connsiteX0" fmla="*/ 5765 w 5765"/>
                <a:gd name="connsiteY0" fmla="*/ 0 h 14649"/>
                <a:gd name="connsiteX1" fmla="*/ 0 w 5765"/>
                <a:gd name="connsiteY1" fmla="*/ 14649 h 146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765" h="14649">
                  <a:moveTo>
                    <a:pt x="5765" y="0"/>
                  </a:moveTo>
                  <a:lnTo>
                    <a:pt x="0" y="14649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72" name="Forma livre: Forma 1271">
              <a:extLst>
                <a:ext uri="{FF2B5EF4-FFF2-40B4-BE49-F238E27FC236}">
                  <a16:creationId xmlns:a16="http://schemas.microsoft.com/office/drawing/2014/main" id="{40634790-85FB-1A56-9F58-25746D3CC472}"/>
                </a:ext>
              </a:extLst>
            </p:cNvPr>
            <p:cNvSpPr/>
            <p:nvPr/>
          </p:nvSpPr>
          <p:spPr>
            <a:xfrm>
              <a:off x="2745470" y="5385789"/>
              <a:ext cx="14507" cy="6284"/>
            </a:xfrm>
            <a:custGeom>
              <a:avLst/>
              <a:gdLst>
                <a:gd name="connsiteX0" fmla="*/ 14507 w 14507"/>
                <a:gd name="connsiteY0" fmla="*/ 0 h 6284"/>
                <a:gd name="connsiteX1" fmla="*/ 0 w 14507"/>
                <a:gd name="connsiteY1" fmla="*/ 6285 h 62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4507" h="6284">
                  <a:moveTo>
                    <a:pt x="14507" y="0"/>
                  </a:moveTo>
                  <a:lnTo>
                    <a:pt x="0" y="6285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73" name="Forma livre: Forma 1272">
              <a:extLst>
                <a:ext uri="{FF2B5EF4-FFF2-40B4-BE49-F238E27FC236}">
                  <a16:creationId xmlns:a16="http://schemas.microsoft.com/office/drawing/2014/main" id="{D99A9D10-C7E7-4596-9FB9-0C683BFBAA9F}"/>
                </a:ext>
              </a:extLst>
            </p:cNvPr>
            <p:cNvSpPr/>
            <p:nvPr/>
          </p:nvSpPr>
          <p:spPr>
            <a:xfrm>
              <a:off x="2799908" y="5362209"/>
              <a:ext cx="14460" cy="6237"/>
            </a:xfrm>
            <a:custGeom>
              <a:avLst/>
              <a:gdLst>
                <a:gd name="connsiteX0" fmla="*/ 14460 w 14460"/>
                <a:gd name="connsiteY0" fmla="*/ 0 h 6237"/>
                <a:gd name="connsiteX1" fmla="*/ 0 w 14460"/>
                <a:gd name="connsiteY1" fmla="*/ 6238 h 62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4460" h="6237">
                  <a:moveTo>
                    <a:pt x="14460" y="0"/>
                  </a:moveTo>
                  <a:lnTo>
                    <a:pt x="0" y="6238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74" name="Forma livre: Forma 1273">
              <a:extLst>
                <a:ext uri="{FF2B5EF4-FFF2-40B4-BE49-F238E27FC236}">
                  <a16:creationId xmlns:a16="http://schemas.microsoft.com/office/drawing/2014/main" id="{C846B555-D23F-3537-56F7-EED555F6CCB3}"/>
                </a:ext>
              </a:extLst>
            </p:cNvPr>
            <p:cNvSpPr/>
            <p:nvPr/>
          </p:nvSpPr>
          <p:spPr>
            <a:xfrm>
              <a:off x="2800144" y="5385128"/>
              <a:ext cx="14696" cy="5812"/>
            </a:xfrm>
            <a:custGeom>
              <a:avLst/>
              <a:gdLst>
                <a:gd name="connsiteX0" fmla="*/ 0 w 14696"/>
                <a:gd name="connsiteY0" fmla="*/ 0 h 5812"/>
                <a:gd name="connsiteX1" fmla="*/ 14696 w 14696"/>
                <a:gd name="connsiteY1" fmla="*/ 5812 h 58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4696" h="5812">
                  <a:moveTo>
                    <a:pt x="0" y="0"/>
                  </a:moveTo>
                  <a:lnTo>
                    <a:pt x="14696" y="5812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75" name="Forma livre: Forma 1274">
              <a:extLst>
                <a:ext uri="{FF2B5EF4-FFF2-40B4-BE49-F238E27FC236}">
                  <a16:creationId xmlns:a16="http://schemas.microsoft.com/office/drawing/2014/main" id="{3D245189-483E-8350-DA45-2B263F719058}"/>
                </a:ext>
              </a:extLst>
            </p:cNvPr>
            <p:cNvSpPr/>
            <p:nvPr/>
          </p:nvSpPr>
          <p:spPr>
            <a:xfrm>
              <a:off x="2744998" y="5363343"/>
              <a:ext cx="14649" cy="5765"/>
            </a:xfrm>
            <a:custGeom>
              <a:avLst/>
              <a:gdLst>
                <a:gd name="connsiteX0" fmla="*/ 0 w 14649"/>
                <a:gd name="connsiteY0" fmla="*/ 0 h 5765"/>
                <a:gd name="connsiteX1" fmla="*/ 14649 w 14649"/>
                <a:gd name="connsiteY1" fmla="*/ 5765 h 57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4649" h="5765">
                  <a:moveTo>
                    <a:pt x="0" y="0"/>
                  </a:moveTo>
                  <a:lnTo>
                    <a:pt x="14649" y="5765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76" name="Forma livre: Forma 1275">
              <a:extLst>
                <a:ext uri="{FF2B5EF4-FFF2-40B4-BE49-F238E27FC236}">
                  <a16:creationId xmlns:a16="http://schemas.microsoft.com/office/drawing/2014/main" id="{3D05A36E-4AFB-64AA-F707-8175D1913033}"/>
                </a:ext>
              </a:extLst>
            </p:cNvPr>
            <p:cNvSpPr/>
            <p:nvPr/>
          </p:nvSpPr>
          <p:spPr>
            <a:xfrm>
              <a:off x="2758545" y="5355741"/>
              <a:ext cx="42749" cy="42753"/>
            </a:xfrm>
            <a:custGeom>
              <a:avLst/>
              <a:gdLst>
                <a:gd name="connsiteX0" fmla="*/ 41269 w 42749"/>
                <a:gd name="connsiteY0" fmla="*/ 29245 h 42753"/>
                <a:gd name="connsiteX1" fmla="*/ 13530 w 42749"/>
                <a:gd name="connsiteY1" fmla="*/ 41248 h 42753"/>
                <a:gd name="connsiteX2" fmla="*/ 1480 w 42749"/>
                <a:gd name="connsiteY2" fmla="*/ 13509 h 42753"/>
                <a:gd name="connsiteX3" fmla="*/ 29219 w 42749"/>
                <a:gd name="connsiteY3" fmla="*/ 1506 h 42753"/>
                <a:gd name="connsiteX4" fmla="*/ 41269 w 42749"/>
                <a:gd name="connsiteY4" fmla="*/ 29245 h 427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2749" h="42753">
                  <a:moveTo>
                    <a:pt x="41269" y="29245"/>
                  </a:moveTo>
                  <a:cubicBezTo>
                    <a:pt x="36921" y="40208"/>
                    <a:pt x="24493" y="45595"/>
                    <a:pt x="13530" y="41248"/>
                  </a:cubicBezTo>
                  <a:cubicBezTo>
                    <a:pt x="2567" y="36900"/>
                    <a:pt x="-2820" y="24472"/>
                    <a:pt x="1480" y="13509"/>
                  </a:cubicBezTo>
                  <a:cubicBezTo>
                    <a:pt x="5828" y="2546"/>
                    <a:pt x="18256" y="-2841"/>
                    <a:pt x="29219" y="1506"/>
                  </a:cubicBezTo>
                  <a:cubicBezTo>
                    <a:pt x="40182" y="5854"/>
                    <a:pt x="45569" y="18282"/>
                    <a:pt x="41269" y="29245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277" name="Gráfico 14">
              <a:extLst>
                <a:ext uri="{FF2B5EF4-FFF2-40B4-BE49-F238E27FC236}">
                  <a16:creationId xmlns:a16="http://schemas.microsoft.com/office/drawing/2014/main" id="{CAE8CCEC-C548-7C1A-910D-25E3DE8316FB}"/>
                </a:ext>
              </a:extLst>
            </p:cNvPr>
            <p:cNvGrpSpPr/>
            <p:nvPr/>
          </p:nvGrpSpPr>
          <p:grpSpPr>
            <a:xfrm>
              <a:off x="2608169" y="5218161"/>
              <a:ext cx="262192" cy="285577"/>
              <a:chOff x="2608169" y="5218161"/>
              <a:chExt cx="262192" cy="285577"/>
            </a:xfrm>
            <a:noFill/>
          </p:grpSpPr>
          <p:sp>
            <p:nvSpPr>
              <p:cNvPr id="1278" name="Forma livre: Forma 1277">
                <a:extLst>
                  <a:ext uri="{FF2B5EF4-FFF2-40B4-BE49-F238E27FC236}">
                    <a16:creationId xmlns:a16="http://schemas.microsoft.com/office/drawing/2014/main" id="{5F861DF9-54B5-2631-43CB-04AED948E6EB}"/>
                  </a:ext>
                </a:extLst>
              </p:cNvPr>
              <p:cNvSpPr/>
              <p:nvPr/>
            </p:nvSpPr>
            <p:spPr>
              <a:xfrm>
                <a:off x="2608169" y="5218161"/>
                <a:ext cx="262192" cy="285577"/>
              </a:xfrm>
              <a:custGeom>
                <a:avLst/>
                <a:gdLst>
                  <a:gd name="connsiteX0" fmla="*/ 225669 w 262192"/>
                  <a:gd name="connsiteY0" fmla="*/ 285577 h 285577"/>
                  <a:gd name="connsiteX1" fmla="*/ 221179 w 262192"/>
                  <a:gd name="connsiteY1" fmla="*/ 226839 h 285577"/>
                  <a:gd name="connsiteX2" fmla="*/ 245327 w 262192"/>
                  <a:gd name="connsiteY2" fmla="*/ 167439 h 285577"/>
                  <a:gd name="connsiteX3" fmla="*/ 220140 w 262192"/>
                  <a:gd name="connsiteY3" fmla="*/ 23453 h 285577"/>
                  <a:gd name="connsiteX4" fmla="*/ 70530 w 262192"/>
                  <a:gd name="connsiteY4" fmla="*/ 19720 h 285577"/>
                  <a:gd name="connsiteX5" fmla="*/ 34522 w 262192"/>
                  <a:gd name="connsiteY5" fmla="*/ 102700 h 285577"/>
                  <a:gd name="connsiteX6" fmla="*/ 30883 w 262192"/>
                  <a:gd name="connsiteY6" fmla="*/ 128643 h 285577"/>
                  <a:gd name="connsiteX7" fmla="*/ 640 w 262192"/>
                  <a:gd name="connsiteY7" fmla="*/ 164226 h 285577"/>
                  <a:gd name="connsiteX8" fmla="*/ 8720 w 262192"/>
                  <a:gd name="connsiteY8" fmla="*/ 175804 h 285577"/>
                  <a:gd name="connsiteX9" fmla="*/ 27150 w 262192"/>
                  <a:gd name="connsiteY9" fmla="*/ 179584 h 285577"/>
                  <a:gd name="connsiteX10" fmla="*/ 35608 w 262192"/>
                  <a:gd name="connsiteY10" fmla="*/ 206189 h 285577"/>
                  <a:gd name="connsiteX11" fmla="*/ 33671 w 262192"/>
                  <a:gd name="connsiteY11" fmla="*/ 232037 h 285577"/>
                  <a:gd name="connsiteX12" fmla="*/ 37404 w 262192"/>
                  <a:gd name="connsiteY12" fmla="*/ 257035 h 285577"/>
                  <a:gd name="connsiteX13" fmla="*/ 100868 w 262192"/>
                  <a:gd name="connsiteY13" fmla="*/ 254531 h 285577"/>
                  <a:gd name="connsiteX14" fmla="*/ 109374 w 262192"/>
                  <a:gd name="connsiteY14" fmla="*/ 285152 h 2855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262192" h="285577">
                    <a:moveTo>
                      <a:pt x="225669" y="285577"/>
                    </a:moveTo>
                    <a:cubicBezTo>
                      <a:pt x="223259" y="271637"/>
                      <a:pt x="219809" y="248954"/>
                      <a:pt x="221179" y="226839"/>
                    </a:cubicBezTo>
                    <a:cubicBezTo>
                      <a:pt x="221179" y="226839"/>
                      <a:pt x="229213" y="190594"/>
                      <a:pt x="245327" y="167439"/>
                    </a:cubicBezTo>
                    <a:cubicBezTo>
                      <a:pt x="245327" y="167439"/>
                      <a:pt x="296693" y="79828"/>
                      <a:pt x="220140" y="23453"/>
                    </a:cubicBezTo>
                    <a:cubicBezTo>
                      <a:pt x="220140" y="23453"/>
                      <a:pt x="152423" y="-26732"/>
                      <a:pt x="70530" y="19720"/>
                    </a:cubicBezTo>
                    <a:cubicBezTo>
                      <a:pt x="70530" y="19720"/>
                      <a:pt x="24834" y="39473"/>
                      <a:pt x="34522" y="102700"/>
                    </a:cubicBezTo>
                    <a:cubicBezTo>
                      <a:pt x="34522" y="102700"/>
                      <a:pt x="36459" y="120373"/>
                      <a:pt x="30883" y="128643"/>
                    </a:cubicBezTo>
                    <a:lnTo>
                      <a:pt x="640" y="164226"/>
                    </a:lnTo>
                    <a:cubicBezTo>
                      <a:pt x="640" y="164226"/>
                      <a:pt x="-3377" y="174811"/>
                      <a:pt x="8720" y="175804"/>
                    </a:cubicBezTo>
                    <a:lnTo>
                      <a:pt x="27150" y="179584"/>
                    </a:lnTo>
                    <a:cubicBezTo>
                      <a:pt x="27150" y="179584"/>
                      <a:pt x="34852" y="194611"/>
                      <a:pt x="35608" y="206189"/>
                    </a:cubicBezTo>
                    <a:cubicBezTo>
                      <a:pt x="36365" y="217766"/>
                      <a:pt x="33671" y="232037"/>
                      <a:pt x="33671" y="232037"/>
                    </a:cubicBezTo>
                    <a:cubicBezTo>
                      <a:pt x="33671" y="232037"/>
                      <a:pt x="27103" y="249380"/>
                      <a:pt x="37404" y="257035"/>
                    </a:cubicBezTo>
                    <a:cubicBezTo>
                      <a:pt x="39436" y="257555"/>
                      <a:pt x="46997" y="266108"/>
                      <a:pt x="100868" y="254531"/>
                    </a:cubicBezTo>
                    <a:cubicBezTo>
                      <a:pt x="100868" y="254531"/>
                      <a:pt x="106066" y="256988"/>
                      <a:pt x="109374" y="285152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79" name="Forma livre: Forma 1278">
                <a:extLst>
                  <a:ext uri="{FF2B5EF4-FFF2-40B4-BE49-F238E27FC236}">
                    <a16:creationId xmlns:a16="http://schemas.microsoft.com/office/drawing/2014/main" id="{571CF83F-EC01-91BE-752A-83C9239E2C30}"/>
                  </a:ext>
                </a:extLst>
              </p:cNvPr>
              <p:cNvSpPr/>
              <p:nvPr/>
            </p:nvSpPr>
            <p:spPr>
              <a:xfrm>
                <a:off x="2646093" y="5425153"/>
                <a:ext cx="23155" cy="378"/>
              </a:xfrm>
              <a:custGeom>
                <a:avLst/>
                <a:gdLst>
                  <a:gd name="connsiteX0" fmla="*/ 0 w 23155"/>
                  <a:gd name="connsiteY0" fmla="*/ 0 h 378"/>
                  <a:gd name="connsiteX1" fmla="*/ 23155 w 23155"/>
                  <a:gd name="connsiteY1" fmla="*/ 378 h 3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3155" h="378">
                    <a:moveTo>
                      <a:pt x="0" y="0"/>
                    </a:moveTo>
                    <a:lnTo>
                      <a:pt x="23155" y="378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280" name="Forma livre: Forma 1279">
              <a:extLst>
                <a:ext uri="{FF2B5EF4-FFF2-40B4-BE49-F238E27FC236}">
                  <a16:creationId xmlns:a16="http://schemas.microsoft.com/office/drawing/2014/main" id="{C64F8493-098D-0F12-5E6B-68B1DD49C066}"/>
                </a:ext>
              </a:extLst>
            </p:cNvPr>
            <p:cNvSpPr/>
            <p:nvPr/>
          </p:nvSpPr>
          <p:spPr>
            <a:xfrm>
              <a:off x="2744525" y="5245394"/>
              <a:ext cx="4725" cy="18098"/>
            </a:xfrm>
            <a:custGeom>
              <a:avLst/>
              <a:gdLst>
                <a:gd name="connsiteX0" fmla="*/ 0 w 4725"/>
                <a:gd name="connsiteY0" fmla="*/ 18099 h 18098"/>
                <a:gd name="connsiteX1" fmla="*/ 0 w 4725"/>
                <a:gd name="connsiteY1" fmla="*/ 0 h 180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725" h="18098">
                  <a:moveTo>
                    <a:pt x="0" y="18099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81" name="Forma livre: Forma 1280">
              <a:extLst>
                <a:ext uri="{FF2B5EF4-FFF2-40B4-BE49-F238E27FC236}">
                  <a16:creationId xmlns:a16="http://schemas.microsoft.com/office/drawing/2014/main" id="{667B5410-1A0A-B0D7-E17B-4EE6940EC13B}"/>
                </a:ext>
              </a:extLst>
            </p:cNvPr>
            <p:cNvSpPr/>
            <p:nvPr/>
          </p:nvSpPr>
          <p:spPr>
            <a:xfrm>
              <a:off x="2744525" y="5325634"/>
              <a:ext cx="4725" cy="18051"/>
            </a:xfrm>
            <a:custGeom>
              <a:avLst/>
              <a:gdLst>
                <a:gd name="connsiteX0" fmla="*/ 0 w 4725"/>
                <a:gd name="connsiteY0" fmla="*/ 18051 h 18051"/>
                <a:gd name="connsiteX1" fmla="*/ 0 w 4725"/>
                <a:gd name="connsiteY1" fmla="*/ 0 h 180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725" h="18051">
                  <a:moveTo>
                    <a:pt x="0" y="18051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82" name="Forma livre: Forma 1281">
              <a:extLst>
                <a:ext uri="{FF2B5EF4-FFF2-40B4-BE49-F238E27FC236}">
                  <a16:creationId xmlns:a16="http://schemas.microsoft.com/office/drawing/2014/main" id="{98F034B0-8EA8-0E30-4FF6-F41A61957BBD}"/>
                </a:ext>
              </a:extLst>
            </p:cNvPr>
            <p:cNvSpPr/>
            <p:nvPr/>
          </p:nvSpPr>
          <p:spPr>
            <a:xfrm>
              <a:off x="2775572" y="5294540"/>
              <a:ext cx="18098" cy="4725"/>
            </a:xfrm>
            <a:custGeom>
              <a:avLst/>
              <a:gdLst>
                <a:gd name="connsiteX0" fmla="*/ 0 w 18098"/>
                <a:gd name="connsiteY0" fmla="*/ 0 h 4725"/>
                <a:gd name="connsiteX1" fmla="*/ 18099 w 18098"/>
                <a:gd name="connsiteY1" fmla="*/ 0 h 47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098" h="4725">
                  <a:moveTo>
                    <a:pt x="0" y="0"/>
                  </a:moveTo>
                  <a:lnTo>
                    <a:pt x="18099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83" name="Forma livre: Forma 1282">
              <a:extLst>
                <a:ext uri="{FF2B5EF4-FFF2-40B4-BE49-F238E27FC236}">
                  <a16:creationId xmlns:a16="http://schemas.microsoft.com/office/drawing/2014/main" id="{D805742C-1611-AE56-6FE0-5FC0C9A74EAB}"/>
                </a:ext>
              </a:extLst>
            </p:cNvPr>
            <p:cNvSpPr/>
            <p:nvPr/>
          </p:nvSpPr>
          <p:spPr>
            <a:xfrm>
              <a:off x="2695427" y="5294540"/>
              <a:ext cx="18004" cy="4725"/>
            </a:xfrm>
            <a:custGeom>
              <a:avLst/>
              <a:gdLst>
                <a:gd name="connsiteX0" fmla="*/ 0 w 18004"/>
                <a:gd name="connsiteY0" fmla="*/ 0 h 4725"/>
                <a:gd name="connsiteX1" fmla="*/ 18004 w 18004"/>
                <a:gd name="connsiteY1" fmla="*/ 0 h 47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004" h="4725">
                  <a:moveTo>
                    <a:pt x="0" y="0"/>
                  </a:moveTo>
                  <a:lnTo>
                    <a:pt x="18004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84" name="Forma livre: Forma 1283">
              <a:extLst>
                <a:ext uri="{FF2B5EF4-FFF2-40B4-BE49-F238E27FC236}">
                  <a16:creationId xmlns:a16="http://schemas.microsoft.com/office/drawing/2014/main" id="{C69B28F1-EF7A-8045-DF2F-104DFA00C1C3}"/>
                </a:ext>
              </a:extLst>
            </p:cNvPr>
            <p:cNvSpPr/>
            <p:nvPr/>
          </p:nvSpPr>
          <p:spPr>
            <a:xfrm>
              <a:off x="2709793" y="5259807"/>
              <a:ext cx="12806" cy="12758"/>
            </a:xfrm>
            <a:custGeom>
              <a:avLst/>
              <a:gdLst>
                <a:gd name="connsiteX0" fmla="*/ 12806 w 12806"/>
                <a:gd name="connsiteY0" fmla="*/ 12759 h 12758"/>
                <a:gd name="connsiteX1" fmla="*/ 0 w 12806"/>
                <a:gd name="connsiteY1" fmla="*/ 0 h 127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06" h="12758">
                  <a:moveTo>
                    <a:pt x="12806" y="12759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85" name="Forma livre: Forma 1284">
              <a:extLst>
                <a:ext uri="{FF2B5EF4-FFF2-40B4-BE49-F238E27FC236}">
                  <a16:creationId xmlns:a16="http://schemas.microsoft.com/office/drawing/2014/main" id="{A9B4A724-2899-0D8F-EC37-F7623E9B7F10}"/>
                </a:ext>
              </a:extLst>
            </p:cNvPr>
            <p:cNvSpPr/>
            <p:nvPr/>
          </p:nvSpPr>
          <p:spPr>
            <a:xfrm>
              <a:off x="2766546" y="5316513"/>
              <a:ext cx="12758" cy="12758"/>
            </a:xfrm>
            <a:custGeom>
              <a:avLst/>
              <a:gdLst>
                <a:gd name="connsiteX0" fmla="*/ 12759 w 12758"/>
                <a:gd name="connsiteY0" fmla="*/ 12759 h 12758"/>
                <a:gd name="connsiteX1" fmla="*/ 0 w 12758"/>
                <a:gd name="connsiteY1" fmla="*/ 0 h 127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758" h="12758">
                  <a:moveTo>
                    <a:pt x="12759" y="12759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86" name="Forma livre: Forma 1285">
              <a:extLst>
                <a:ext uri="{FF2B5EF4-FFF2-40B4-BE49-F238E27FC236}">
                  <a16:creationId xmlns:a16="http://schemas.microsoft.com/office/drawing/2014/main" id="{19CF4529-40B6-DFBD-BCF2-D84FF6F5B495}"/>
                </a:ext>
              </a:extLst>
            </p:cNvPr>
            <p:cNvSpPr/>
            <p:nvPr/>
          </p:nvSpPr>
          <p:spPr>
            <a:xfrm>
              <a:off x="2788567" y="5397083"/>
              <a:ext cx="6284" cy="14507"/>
            </a:xfrm>
            <a:custGeom>
              <a:avLst/>
              <a:gdLst>
                <a:gd name="connsiteX0" fmla="*/ 0 w 6284"/>
                <a:gd name="connsiteY0" fmla="*/ 0 h 14507"/>
                <a:gd name="connsiteX1" fmla="*/ 6285 w 6284"/>
                <a:gd name="connsiteY1" fmla="*/ 14507 h 145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84" h="14507">
                  <a:moveTo>
                    <a:pt x="0" y="0"/>
                  </a:moveTo>
                  <a:lnTo>
                    <a:pt x="6285" y="14507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87" name="Forma livre: Forma 1286">
              <a:extLst>
                <a:ext uri="{FF2B5EF4-FFF2-40B4-BE49-F238E27FC236}">
                  <a16:creationId xmlns:a16="http://schemas.microsoft.com/office/drawing/2014/main" id="{19D8EB60-E3D8-A20C-F6F1-8B96363D3587}"/>
                </a:ext>
              </a:extLst>
            </p:cNvPr>
            <p:cNvSpPr/>
            <p:nvPr/>
          </p:nvSpPr>
          <p:spPr>
            <a:xfrm>
              <a:off x="2764987" y="5342693"/>
              <a:ext cx="6237" cy="14412"/>
            </a:xfrm>
            <a:custGeom>
              <a:avLst/>
              <a:gdLst>
                <a:gd name="connsiteX0" fmla="*/ 0 w 6237"/>
                <a:gd name="connsiteY0" fmla="*/ 0 h 14412"/>
                <a:gd name="connsiteX1" fmla="*/ 6238 w 6237"/>
                <a:gd name="connsiteY1" fmla="*/ 14413 h 144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37" h="14412">
                  <a:moveTo>
                    <a:pt x="0" y="0"/>
                  </a:moveTo>
                  <a:lnTo>
                    <a:pt x="6238" y="14413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288" name="Gráfico 14">
            <a:extLst>
              <a:ext uri="{FF2B5EF4-FFF2-40B4-BE49-F238E27FC236}">
                <a16:creationId xmlns:a16="http://schemas.microsoft.com/office/drawing/2014/main" id="{CB36BA68-0DD3-2590-5A66-6A3327CBB163}"/>
              </a:ext>
            </a:extLst>
          </p:cNvPr>
          <p:cNvGrpSpPr/>
          <p:nvPr/>
        </p:nvGrpSpPr>
        <p:grpSpPr>
          <a:xfrm>
            <a:off x="2601575" y="3650204"/>
            <a:ext cx="275410" cy="287883"/>
            <a:chOff x="2601575" y="3650204"/>
            <a:chExt cx="275410" cy="287883"/>
          </a:xfrm>
          <a:noFill/>
        </p:grpSpPr>
        <p:sp>
          <p:nvSpPr>
            <p:cNvPr id="1289" name="Forma livre: Forma 1288">
              <a:extLst>
                <a:ext uri="{FF2B5EF4-FFF2-40B4-BE49-F238E27FC236}">
                  <a16:creationId xmlns:a16="http://schemas.microsoft.com/office/drawing/2014/main" id="{EA90D277-3E21-136F-3F68-86515955876F}"/>
                </a:ext>
              </a:extLst>
            </p:cNvPr>
            <p:cNvSpPr/>
            <p:nvPr/>
          </p:nvSpPr>
          <p:spPr>
            <a:xfrm>
              <a:off x="2662490" y="3650251"/>
              <a:ext cx="76742" cy="76742"/>
            </a:xfrm>
            <a:custGeom>
              <a:avLst/>
              <a:gdLst>
                <a:gd name="connsiteX0" fmla="*/ 38371 w 76742"/>
                <a:gd name="connsiteY0" fmla="*/ 76742 h 76742"/>
                <a:gd name="connsiteX1" fmla="*/ 0 w 76742"/>
                <a:gd name="connsiteY1" fmla="*/ 38371 h 76742"/>
                <a:gd name="connsiteX2" fmla="*/ 38371 w 76742"/>
                <a:gd name="connsiteY2" fmla="*/ 0 h 76742"/>
                <a:gd name="connsiteX3" fmla="*/ 76742 w 76742"/>
                <a:gd name="connsiteY3" fmla="*/ 38371 h 767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6742" h="76742">
                  <a:moveTo>
                    <a:pt x="38371" y="76742"/>
                  </a:moveTo>
                  <a:cubicBezTo>
                    <a:pt x="17154" y="76742"/>
                    <a:pt x="0" y="59541"/>
                    <a:pt x="0" y="38371"/>
                  </a:cubicBezTo>
                  <a:cubicBezTo>
                    <a:pt x="0" y="17201"/>
                    <a:pt x="17201" y="0"/>
                    <a:pt x="38371" y="0"/>
                  </a:cubicBezTo>
                  <a:cubicBezTo>
                    <a:pt x="59541" y="0"/>
                    <a:pt x="76742" y="17201"/>
                    <a:pt x="76742" y="38371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90" name="Forma livre: Forma 1289">
              <a:extLst>
                <a:ext uri="{FF2B5EF4-FFF2-40B4-BE49-F238E27FC236}">
                  <a16:creationId xmlns:a16="http://schemas.microsoft.com/office/drawing/2014/main" id="{7F4FDC7E-53E5-77F7-3378-5CE741686551}"/>
                </a:ext>
              </a:extLst>
            </p:cNvPr>
            <p:cNvSpPr/>
            <p:nvPr/>
          </p:nvSpPr>
          <p:spPr>
            <a:xfrm>
              <a:off x="2663741" y="3851416"/>
              <a:ext cx="75585" cy="86671"/>
            </a:xfrm>
            <a:custGeom>
              <a:avLst/>
              <a:gdLst>
                <a:gd name="connsiteX0" fmla="*/ 75586 w 75585"/>
                <a:gd name="connsiteY0" fmla="*/ 49854 h 86671"/>
                <a:gd name="connsiteX1" fmla="*/ 57251 w 75585"/>
                <a:gd name="connsiteY1" fmla="*/ 81279 h 86671"/>
                <a:gd name="connsiteX2" fmla="*/ 5412 w 75585"/>
                <a:gd name="connsiteY2" fmla="*/ 68331 h 86671"/>
                <a:gd name="connsiteX3" fmla="*/ 9948 w 75585"/>
                <a:gd name="connsiteY3" fmla="*/ 23344 h 86671"/>
                <a:gd name="connsiteX4" fmla="*/ 31402 w 75585"/>
                <a:gd name="connsiteY4" fmla="*/ 0 h 866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5585" h="86671">
                  <a:moveTo>
                    <a:pt x="75586" y="49854"/>
                  </a:moveTo>
                  <a:cubicBezTo>
                    <a:pt x="75255" y="62329"/>
                    <a:pt x="68781" y="74380"/>
                    <a:pt x="57251" y="81279"/>
                  </a:cubicBezTo>
                  <a:cubicBezTo>
                    <a:pt x="39388" y="92006"/>
                    <a:pt x="16139" y="86241"/>
                    <a:pt x="5412" y="68331"/>
                  </a:cubicBezTo>
                  <a:cubicBezTo>
                    <a:pt x="-3425" y="53635"/>
                    <a:pt x="-1109" y="35347"/>
                    <a:pt x="9948" y="23344"/>
                  </a:cubicBezTo>
                  <a:lnTo>
                    <a:pt x="31402" y="0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91" name="Forma livre: Forma 1290">
              <a:extLst>
                <a:ext uri="{FF2B5EF4-FFF2-40B4-BE49-F238E27FC236}">
                  <a16:creationId xmlns:a16="http://schemas.microsoft.com/office/drawing/2014/main" id="{54B67C8A-6959-99F6-3566-39109123B0F6}"/>
                </a:ext>
              </a:extLst>
            </p:cNvPr>
            <p:cNvSpPr/>
            <p:nvPr/>
          </p:nvSpPr>
          <p:spPr>
            <a:xfrm>
              <a:off x="2739422" y="3650204"/>
              <a:ext cx="75193" cy="287873"/>
            </a:xfrm>
            <a:custGeom>
              <a:avLst/>
              <a:gdLst>
                <a:gd name="connsiteX0" fmla="*/ 62330 w 75193"/>
                <a:gd name="connsiteY0" fmla="*/ 221390 h 287873"/>
                <a:gd name="connsiteX1" fmla="*/ 65259 w 75193"/>
                <a:gd name="connsiteY1" fmla="*/ 224556 h 287873"/>
                <a:gd name="connsiteX2" fmla="*/ 69796 w 75193"/>
                <a:gd name="connsiteY2" fmla="*/ 269543 h 287873"/>
                <a:gd name="connsiteX3" fmla="*/ 17957 w 75193"/>
                <a:gd name="connsiteY3" fmla="*/ 282491 h 287873"/>
                <a:gd name="connsiteX4" fmla="*/ 0 w 75193"/>
                <a:gd name="connsiteY4" fmla="*/ 251066 h 287873"/>
                <a:gd name="connsiteX5" fmla="*/ 0 w 75193"/>
                <a:gd name="connsiteY5" fmla="*/ 38371 h 287873"/>
                <a:gd name="connsiteX6" fmla="*/ 38135 w 75193"/>
                <a:gd name="connsiteY6" fmla="*/ 0 h 287873"/>
                <a:gd name="connsiteX7" fmla="*/ 63086 w 75193"/>
                <a:gd name="connsiteY7" fmla="*/ 9404 h 287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5193" h="287873">
                  <a:moveTo>
                    <a:pt x="62330" y="221390"/>
                  </a:moveTo>
                  <a:lnTo>
                    <a:pt x="65259" y="224556"/>
                  </a:lnTo>
                  <a:cubicBezTo>
                    <a:pt x="76270" y="236559"/>
                    <a:pt x="78633" y="254847"/>
                    <a:pt x="69796" y="269543"/>
                  </a:cubicBezTo>
                  <a:cubicBezTo>
                    <a:pt x="59069" y="287406"/>
                    <a:pt x="35819" y="293218"/>
                    <a:pt x="17957" y="282491"/>
                  </a:cubicBezTo>
                  <a:cubicBezTo>
                    <a:pt x="6474" y="275592"/>
                    <a:pt x="284" y="263542"/>
                    <a:pt x="0" y="251066"/>
                  </a:cubicBezTo>
                  <a:lnTo>
                    <a:pt x="0" y="38371"/>
                  </a:lnTo>
                  <a:cubicBezTo>
                    <a:pt x="0" y="17154"/>
                    <a:pt x="16917" y="0"/>
                    <a:pt x="38135" y="0"/>
                  </a:cubicBezTo>
                  <a:cubicBezTo>
                    <a:pt x="46877" y="0"/>
                    <a:pt x="56423" y="3686"/>
                    <a:pt x="63086" y="9404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92" name="Forma livre: Forma 1291">
              <a:extLst>
                <a:ext uri="{FF2B5EF4-FFF2-40B4-BE49-F238E27FC236}">
                  <a16:creationId xmlns:a16="http://schemas.microsoft.com/office/drawing/2014/main" id="{2C5AEFD5-1FA1-3370-72F5-63318209B954}"/>
                </a:ext>
              </a:extLst>
            </p:cNvPr>
            <p:cNvSpPr/>
            <p:nvPr/>
          </p:nvSpPr>
          <p:spPr>
            <a:xfrm>
              <a:off x="2601575" y="3692355"/>
              <a:ext cx="61057" cy="208300"/>
            </a:xfrm>
            <a:custGeom>
              <a:avLst/>
              <a:gdLst>
                <a:gd name="connsiteX0" fmla="*/ 38375 w 61057"/>
                <a:gd name="connsiteY0" fmla="*/ 0 h 208300"/>
                <a:gd name="connsiteX1" fmla="*/ 25616 w 61057"/>
                <a:gd name="connsiteY1" fmla="*/ 45270 h 208300"/>
                <a:gd name="connsiteX2" fmla="*/ 20891 w 61057"/>
                <a:gd name="connsiteY2" fmla="*/ 140962 h 208300"/>
                <a:gd name="connsiteX3" fmla="*/ 61057 w 61057"/>
                <a:gd name="connsiteY3" fmla="*/ 208301 h 208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1057" h="208300">
                  <a:moveTo>
                    <a:pt x="38375" y="0"/>
                  </a:moveTo>
                  <a:cubicBezTo>
                    <a:pt x="28073" y="5482"/>
                    <a:pt x="18717" y="17768"/>
                    <a:pt x="25616" y="45270"/>
                  </a:cubicBezTo>
                  <a:cubicBezTo>
                    <a:pt x="25616" y="45270"/>
                    <a:pt x="-28727" y="92526"/>
                    <a:pt x="20891" y="140962"/>
                  </a:cubicBezTo>
                  <a:cubicBezTo>
                    <a:pt x="20891" y="140962"/>
                    <a:pt x="6714" y="204756"/>
                    <a:pt x="61057" y="208301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293" name="Gráfico 14">
              <a:extLst>
                <a:ext uri="{FF2B5EF4-FFF2-40B4-BE49-F238E27FC236}">
                  <a16:creationId xmlns:a16="http://schemas.microsoft.com/office/drawing/2014/main" id="{637BC29B-2122-2D80-4F5A-B045AE971BC5}"/>
                </a:ext>
              </a:extLst>
            </p:cNvPr>
            <p:cNvGrpSpPr/>
            <p:nvPr/>
          </p:nvGrpSpPr>
          <p:grpSpPr>
            <a:xfrm>
              <a:off x="2645951" y="3663624"/>
              <a:ext cx="93390" cy="230510"/>
              <a:chOff x="2645951" y="3663624"/>
              <a:chExt cx="93390" cy="230510"/>
            </a:xfrm>
            <a:noFill/>
          </p:grpSpPr>
          <p:sp>
            <p:nvSpPr>
              <p:cNvPr id="1294" name="Forma livre: Forma 1293">
                <a:extLst>
                  <a:ext uri="{FF2B5EF4-FFF2-40B4-BE49-F238E27FC236}">
                    <a16:creationId xmlns:a16="http://schemas.microsoft.com/office/drawing/2014/main" id="{94AEA69A-56A4-BFA4-B542-84B330EDC63A}"/>
                  </a:ext>
                </a:extLst>
              </p:cNvPr>
              <p:cNvSpPr/>
              <p:nvPr/>
            </p:nvSpPr>
            <p:spPr>
              <a:xfrm>
                <a:off x="2705114" y="3663624"/>
                <a:ext cx="32468" cy="35861"/>
              </a:xfrm>
              <a:custGeom>
                <a:avLst/>
                <a:gdLst>
                  <a:gd name="connsiteX0" fmla="*/ 24809 w 32468"/>
                  <a:gd name="connsiteY0" fmla="*/ 0 h 35861"/>
                  <a:gd name="connsiteX1" fmla="*/ 28211 w 32468"/>
                  <a:gd name="connsiteY1" fmla="*/ 28211 h 35861"/>
                  <a:gd name="connsiteX2" fmla="*/ 0 w 32468"/>
                  <a:gd name="connsiteY2" fmla="*/ 31566 h 358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2468" h="35861">
                    <a:moveTo>
                      <a:pt x="24809" y="0"/>
                    </a:moveTo>
                    <a:cubicBezTo>
                      <a:pt x="33504" y="6852"/>
                      <a:pt x="35016" y="19516"/>
                      <a:pt x="28211" y="28211"/>
                    </a:cubicBezTo>
                    <a:cubicBezTo>
                      <a:pt x="21407" y="36906"/>
                      <a:pt x="8695" y="38418"/>
                      <a:pt x="0" y="31566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95" name="Forma livre: Forma 1294">
                <a:extLst>
                  <a:ext uri="{FF2B5EF4-FFF2-40B4-BE49-F238E27FC236}">
                    <a16:creationId xmlns:a16="http://schemas.microsoft.com/office/drawing/2014/main" id="{2C46598C-93AB-F340-9D07-1F45E2A38176}"/>
                  </a:ext>
                </a:extLst>
              </p:cNvPr>
              <p:cNvSpPr/>
              <p:nvPr/>
            </p:nvSpPr>
            <p:spPr>
              <a:xfrm>
                <a:off x="2660697" y="3723480"/>
                <a:ext cx="24854" cy="39568"/>
              </a:xfrm>
              <a:custGeom>
                <a:avLst/>
                <a:gdLst>
                  <a:gd name="connsiteX0" fmla="*/ 15309 w 24854"/>
                  <a:gd name="connsiteY0" fmla="*/ 39569 h 39568"/>
                  <a:gd name="connsiteX1" fmla="*/ 565 w 24854"/>
                  <a:gd name="connsiteY1" fmla="*/ 15279 h 39568"/>
                  <a:gd name="connsiteX2" fmla="*/ 24854 w 24854"/>
                  <a:gd name="connsiteY2" fmla="*/ 583 h 395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4854" h="39568">
                    <a:moveTo>
                      <a:pt x="15309" y="39569"/>
                    </a:moveTo>
                    <a:cubicBezTo>
                      <a:pt x="4582" y="36922"/>
                      <a:pt x="-2034" y="26006"/>
                      <a:pt x="565" y="15279"/>
                    </a:cubicBezTo>
                    <a:cubicBezTo>
                      <a:pt x="3211" y="4552"/>
                      <a:pt x="14127" y="-2063"/>
                      <a:pt x="24854" y="583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96" name="Forma livre: Forma 1295">
                <a:extLst>
                  <a:ext uri="{FF2B5EF4-FFF2-40B4-BE49-F238E27FC236}">
                    <a16:creationId xmlns:a16="http://schemas.microsoft.com/office/drawing/2014/main" id="{AD188D11-5052-AFA2-C067-54099375DA60}"/>
                  </a:ext>
                </a:extLst>
              </p:cNvPr>
              <p:cNvSpPr/>
              <p:nvPr/>
            </p:nvSpPr>
            <p:spPr>
              <a:xfrm>
                <a:off x="2654977" y="3769039"/>
                <a:ext cx="83027" cy="55583"/>
              </a:xfrm>
              <a:custGeom>
                <a:avLst/>
                <a:gdLst>
                  <a:gd name="connsiteX0" fmla="*/ 83027 w 83027"/>
                  <a:gd name="connsiteY0" fmla="*/ 5445 h 55583"/>
                  <a:gd name="connsiteX1" fmla="*/ 53682 w 83027"/>
                  <a:gd name="connsiteY1" fmla="*/ 6816 h 55583"/>
                  <a:gd name="connsiteX2" fmla="*/ 0 w 83027"/>
                  <a:gd name="connsiteY2" fmla="*/ 55583 h 555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3027" h="55583">
                    <a:moveTo>
                      <a:pt x="83027" y="5445"/>
                    </a:moveTo>
                    <a:cubicBezTo>
                      <a:pt x="74332" y="-2541"/>
                      <a:pt x="61006" y="-1454"/>
                      <a:pt x="53682" y="6816"/>
                    </a:cubicBezTo>
                    <a:cubicBezTo>
                      <a:pt x="53682" y="6816"/>
                      <a:pt x="22871" y="55583"/>
                      <a:pt x="0" y="55583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97" name="Forma livre: Forma 1296">
                <a:extLst>
                  <a:ext uri="{FF2B5EF4-FFF2-40B4-BE49-F238E27FC236}">
                    <a16:creationId xmlns:a16="http://schemas.microsoft.com/office/drawing/2014/main" id="{9837797E-39EA-DD06-97D8-DA3ACEF80C57}"/>
                  </a:ext>
                </a:extLst>
              </p:cNvPr>
              <p:cNvSpPr/>
              <p:nvPr/>
            </p:nvSpPr>
            <p:spPr>
              <a:xfrm>
                <a:off x="2712061" y="3878991"/>
                <a:ext cx="27280" cy="15143"/>
              </a:xfrm>
              <a:custGeom>
                <a:avLst/>
                <a:gdLst>
                  <a:gd name="connsiteX0" fmla="*/ 0 w 27280"/>
                  <a:gd name="connsiteY0" fmla="*/ 7630 h 15143"/>
                  <a:gd name="connsiteX1" fmla="*/ 19658 w 27280"/>
                  <a:gd name="connsiteY1" fmla="*/ 1724 h 15143"/>
                  <a:gd name="connsiteX2" fmla="*/ 27266 w 27280"/>
                  <a:gd name="connsiteY2" fmla="*/ 15144 h 151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7280" h="15143">
                    <a:moveTo>
                      <a:pt x="0" y="7630"/>
                    </a:moveTo>
                    <a:cubicBezTo>
                      <a:pt x="3780" y="589"/>
                      <a:pt x="12664" y="-2057"/>
                      <a:pt x="19658" y="1724"/>
                    </a:cubicBezTo>
                    <a:cubicBezTo>
                      <a:pt x="24714" y="4417"/>
                      <a:pt x="27502" y="9757"/>
                      <a:pt x="27266" y="15144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98" name="Forma livre: Forma 1297">
                <a:extLst>
                  <a:ext uri="{FF2B5EF4-FFF2-40B4-BE49-F238E27FC236}">
                    <a16:creationId xmlns:a16="http://schemas.microsoft.com/office/drawing/2014/main" id="{7B854D40-CB52-65C7-2D7B-48FBDB3B163B}"/>
                  </a:ext>
                </a:extLst>
              </p:cNvPr>
              <p:cNvSpPr/>
              <p:nvPr/>
            </p:nvSpPr>
            <p:spPr>
              <a:xfrm>
                <a:off x="2659513" y="3858693"/>
                <a:ext cx="21359" cy="7513"/>
              </a:xfrm>
              <a:custGeom>
                <a:avLst/>
                <a:gdLst>
                  <a:gd name="connsiteX0" fmla="*/ 0 w 21359"/>
                  <a:gd name="connsiteY0" fmla="*/ 0 h 7513"/>
                  <a:gd name="connsiteX1" fmla="*/ 21359 w 21359"/>
                  <a:gd name="connsiteY1" fmla="*/ 7514 h 75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1359" h="7513">
                    <a:moveTo>
                      <a:pt x="0" y="0"/>
                    </a:moveTo>
                    <a:lnTo>
                      <a:pt x="21359" y="7514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99" name="Forma livre: Forma 1298">
                <a:extLst>
                  <a:ext uri="{FF2B5EF4-FFF2-40B4-BE49-F238E27FC236}">
                    <a16:creationId xmlns:a16="http://schemas.microsoft.com/office/drawing/2014/main" id="{A8AD3A36-5FBE-A2C9-1143-C759913B1D9B}"/>
                  </a:ext>
                </a:extLst>
              </p:cNvPr>
              <p:cNvSpPr/>
              <p:nvPr/>
            </p:nvSpPr>
            <p:spPr>
              <a:xfrm>
                <a:off x="2645951" y="3784881"/>
                <a:ext cx="34259" cy="24808"/>
              </a:xfrm>
              <a:custGeom>
                <a:avLst/>
                <a:gdLst>
                  <a:gd name="connsiteX0" fmla="*/ 0 w 34259"/>
                  <a:gd name="connsiteY0" fmla="*/ 0 h 24808"/>
                  <a:gd name="connsiteX1" fmla="*/ 34260 w 34259"/>
                  <a:gd name="connsiteY1" fmla="*/ 24809 h 248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4259" h="24808">
                    <a:moveTo>
                      <a:pt x="0" y="0"/>
                    </a:moveTo>
                    <a:cubicBezTo>
                      <a:pt x="0" y="0"/>
                      <a:pt x="20083" y="9451"/>
                      <a:pt x="34260" y="24809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300" name="Gráfico 14">
              <a:extLst>
                <a:ext uri="{FF2B5EF4-FFF2-40B4-BE49-F238E27FC236}">
                  <a16:creationId xmlns:a16="http://schemas.microsoft.com/office/drawing/2014/main" id="{8984D4C6-B30D-74BF-124C-D9A4CD2769A5}"/>
                </a:ext>
              </a:extLst>
            </p:cNvPr>
            <p:cNvGrpSpPr/>
            <p:nvPr/>
          </p:nvGrpSpPr>
          <p:grpSpPr>
            <a:xfrm>
              <a:off x="2739412" y="3679266"/>
              <a:ext cx="137572" cy="221390"/>
              <a:chOff x="2739412" y="3679266"/>
              <a:chExt cx="137572" cy="221390"/>
            </a:xfrm>
            <a:noFill/>
          </p:grpSpPr>
          <p:sp>
            <p:nvSpPr>
              <p:cNvPr id="1301" name="Forma livre: Forma 1300">
                <a:extLst>
                  <a:ext uri="{FF2B5EF4-FFF2-40B4-BE49-F238E27FC236}">
                    <a16:creationId xmlns:a16="http://schemas.microsoft.com/office/drawing/2014/main" id="{8AC193A9-9AC7-0F8F-C525-3D79C74C1246}"/>
                  </a:ext>
                </a:extLst>
              </p:cNvPr>
              <p:cNvSpPr/>
              <p:nvPr/>
            </p:nvSpPr>
            <p:spPr>
              <a:xfrm>
                <a:off x="2768956" y="3706554"/>
                <a:ext cx="38985" cy="20438"/>
              </a:xfrm>
              <a:custGeom>
                <a:avLst/>
                <a:gdLst>
                  <a:gd name="connsiteX0" fmla="*/ 0 w 38985"/>
                  <a:gd name="connsiteY0" fmla="*/ 970 h 20438"/>
                  <a:gd name="connsiteX1" fmla="*/ 38985 w 38985"/>
                  <a:gd name="connsiteY1" fmla="*/ 20439 h 204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8985" h="20438">
                    <a:moveTo>
                      <a:pt x="0" y="970"/>
                    </a:moveTo>
                    <a:cubicBezTo>
                      <a:pt x="16256" y="-3000"/>
                      <a:pt x="32606" y="5554"/>
                      <a:pt x="38985" y="20439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302" name="Forma livre: Forma 1301">
                <a:extLst>
                  <a:ext uri="{FF2B5EF4-FFF2-40B4-BE49-F238E27FC236}">
                    <a16:creationId xmlns:a16="http://schemas.microsoft.com/office/drawing/2014/main" id="{9487ED28-88F8-8C0B-A2D3-34CF8841B09A}"/>
                  </a:ext>
                </a:extLst>
              </p:cNvPr>
              <p:cNvSpPr/>
              <p:nvPr/>
            </p:nvSpPr>
            <p:spPr>
              <a:xfrm>
                <a:off x="2771886" y="3846643"/>
                <a:ext cx="37830" cy="36278"/>
              </a:xfrm>
              <a:custGeom>
                <a:avLst/>
                <a:gdLst>
                  <a:gd name="connsiteX0" fmla="*/ 37757 w 37830"/>
                  <a:gd name="connsiteY0" fmla="*/ 0 h 36278"/>
                  <a:gd name="connsiteX1" fmla="*/ 23628 w 37830"/>
                  <a:gd name="connsiteY1" fmla="*/ 28920 h 36278"/>
                  <a:gd name="connsiteX2" fmla="*/ 0 w 37830"/>
                  <a:gd name="connsiteY2" fmla="*/ 36197 h 362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7830" h="36278">
                    <a:moveTo>
                      <a:pt x="37757" y="0"/>
                    </a:moveTo>
                    <a:cubicBezTo>
                      <a:pt x="38513" y="10349"/>
                      <a:pt x="33457" y="21501"/>
                      <a:pt x="23628" y="28920"/>
                    </a:cubicBezTo>
                    <a:cubicBezTo>
                      <a:pt x="16350" y="34354"/>
                      <a:pt x="7892" y="36764"/>
                      <a:pt x="0" y="36197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303" name="Forma livre: Forma 1302">
                <a:extLst>
                  <a:ext uri="{FF2B5EF4-FFF2-40B4-BE49-F238E27FC236}">
                    <a16:creationId xmlns:a16="http://schemas.microsoft.com/office/drawing/2014/main" id="{6B2138DE-FE24-4238-54F4-5C5D00B4984D}"/>
                  </a:ext>
                </a:extLst>
              </p:cNvPr>
              <p:cNvSpPr/>
              <p:nvPr/>
            </p:nvSpPr>
            <p:spPr>
              <a:xfrm>
                <a:off x="2739412" y="3836461"/>
                <a:ext cx="33087" cy="15143"/>
              </a:xfrm>
              <a:custGeom>
                <a:avLst/>
                <a:gdLst>
                  <a:gd name="connsiteX0" fmla="*/ 33088 w 33087"/>
                  <a:gd name="connsiteY0" fmla="*/ 7630 h 15143"/>
                  <a:gd name="connsiteX1" fmla="*/ 9082 w 33087"/>
                  <a:gd name="connsiteY1" fmla="*/ 1724 h 15143"/>
                  <a:gd name="connsiteX2" fmla="*/ 9 w 33087"/>
                  <a:gd name="connsiteY2" fmla="*/ 15144 h 151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3087" h="15143">
                    <a:moveTo>
                      <a:pt x="33088" y="7630"/>
                    </a:moveTo>
                    <a:cubicBezTo>
                      <a:pt x="29308" y="589"/>
                      <a:pt x="16123" y="-2057"/>
                      <a:pt x="9082" y="1724"/>
                    </a:cubicBezTo>
                    <a:cubicBezTo>
                      <a:pt x="4026" y="4417"/>
                      <a:pt x="-227" y="9757"/>
                      <a:pt x="9" y="15144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304" name="Forma livre: Forma 1303">
                <a:extLst>
                  <a:ext uri="{FF2B5EF4-FFF2-40B4-BE49-F238E27FC236}">
                    <a16:creationId xmlns:a16="http://schemas.microsoft.com/office/drawing/2014/main" id="{8AA50666-5BCC-D15A-D70F-B6A5A94081D6}"/>
                  </a:ext>
                </a:extLst>
              </p:cNvPr>
              <p:cNvSpPr/>
              <p:nvPr/>
            </p:nvSpPr>
            <p:spPr>
              <a:xfrm>
                <a:off x="2815928" y="3737626"/>
                <a:ext cx="61057" cy="163030"/>
              </a:xfrm>
              <a:custGeom>
                <a:avLst/>
                <a:gdLst>
                  <a:gd name="connsiteX0" fmla="*/ 35441 w 61057"/>
                  <a:gd name="connsiteY0" fmla="*/ 0 h 163030"/>
                  <a:gd name="connsiteX1" fmla="*/ 40167 w 61057"/>
                  <a:gd name="connsiteY1" fmla="*/ 95692 h 163030"/>
                  <a:gd name="connsiteX2" fmla="*/ 0 w 61057"/>
                  <a:gd name="connsiteY2" fmla="*/ 163030 h 1630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61057" h="163030">
                    <a:moveTo>
                      <a:pt x="35441" y="0"/>
                    </a:moveTo>
                    <a:cubicBezTo>
                      <a:pt x="35441" y="0"/>
                      <a:pt x="89785" y="47255"/>
                      <a:pt x="40167" y="95692"/>
                    </a:cubicBezTo>
                    <a:cubicBezTo>
                      <a:pt x="40167" y="95692"/>
                      <a:pt x="54343" y="159486"/>
                      <a:pt x="0" y="163030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305" name="Forma livre: Forma 1304">
                <a:extLst>
                  <a:ext uri="{FF2B5EF4-FFF2-40B4-BE49-F238E27FC236}">
                    <a16:creationId xmlns:a16="http://schemas.microsoft.com/office/drawing/2014/main" id="{89631936-A0BB-A66B-CFFC-12EF0817CDC8}"/>
                  </a:ext>
                </a:extLst>
              </p:cNvPr>
              <p:cNvSpPr/>
              <p:nvPr/>
            </p:nvSpPr>
            <p:spPr>
              <a:xfrm>
                <a:off x="2741123" y="3785353"/>
                <a:ext cx="54579" cy="20766"/>
              </a:xfrm>
              <a:custGeom>
                <a:avLst/>
                <a:gdLst>
                  <a:gd name="connsiteX0" fmla="*/ 0 w 54579"/>
                  <a:gd name="connsiteY0" fmla="*/ 18997 h 20766"/>
                  <a:gd name="connsiteX1" fmla="*/ 54580 w 54579"/>
                  <a:gd name="connsiteY1" fmla="*/ 0 h 207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4579" h="20766">
                    <a:moveTo>
                      <a:pt x="0" y="18997"/>
                    </a:moveTo>
                    <a:cubicBezTo>
                      <a:pt x="0" y="18997"/>
                      <a:pt x="38371" y="29345"/>
                      <a:pt x="54580" y="0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306" name="Forma livre: Forma 1305">
                <a:extLst>
                  <a:ext uri="{FF2B5EF4-FFF2-40B4-BE49-F238E27FC236}">
                    <a16:creationId xmlns:a16="http://schemas.microsoft.com/office/drawing/2014/main" id="{00F45055-4898-5AE9-133E-7A007C93C1F3}"/>
                  </a:ext>
                </a:extLst>
              </p:cNvPr>
              <p:cNvSpPr/>
              <p:nvPr/>
            </p:nvSpPr>
            <p:spPr>
              <a:xfrm>
                <a:off x="2786535" y="3796080"/>
                <a:ext cx="46073" cy="10642"/>
              </a:xfrm>
              <a:custGeom>
                <a:avLst/>
                <a:gdLst>
                  <a:gd name="connsiteX0" fmla="*/ 0 w 46073"/>
                  <a:gd name="connsiteY0" fmla="*/ 2126 h 10642"/>
                  <a:gd name="connsiteX1" fmla="*/ 46074 w 46073"/>
                  <a:gd name="connsiteY1" fmla="*/ 0 h 106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6073" h="10642">
                    <a:moveTo>
                      <a:pt x="0" y="2126"/>
                    </a:moveTo>
                    <a:cubicBezTo>
                      <a:pt x="0" y="2126"/>
                      <a:pt x="25423" y="22635"/>
                      <a:pt x="46074" y="0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307" name="Forma livre: Forma 1306">
                <a:extLst>
                  <a:ext uri="{FF2B5EF4-FFF2-40B4-BE49-F238E27FC236}">
                    <a16:creationId xmlns:a16="http://schemas.microsoft.com/office/drawing/2014/main" id="{C16E9959-667E-ECC9-45C7-A9FFB7295F17}"/>
                  </a:ext>
                </a:extLst>
              </p:cNvPr>
              <p:cNvSpPr/>
              <p:nvPr/>
            </p:nvSpPr>
            <p:spPr>
              <a:xfrm>
                <a:off x="2783416" y="3679266"/>
                <a:ext cx="72961" cy="57320"/>
              </a:xfrm>
              <a:custGeom>
                <a:avLst/>
                <a:gdLst>
                  <a:gd name="connsiteX0" fmla="*/ 0 w 72961"/>
                  <a:gd name="connsiteY0" fmla="*/ 26699 h 57320"/>
                  <a:gd name="connsiteX1" fmla="*/ 35725 w 72961"/>
                  <a:gd name="connsiteY1" fmla="*/ 0 h 57320"/>
                  <a:gd name="connsiteX2" fmla="*/ 72962 w 72961"/>
                  <a:gd name="connsiteY2" fmla="*/ 37237 h 57320"/>
                  <a:gd name="connsiteX3" fmla="*/ 67055 w 72961"/>
                  <a:gd name="connsiteY3" fmla="*/ 57320 h 573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2961" h="57320">
                    <a:moveTo>
                      <a:pt x="0" y="26699"/>
                    </a:moveTo>
                    <a:cubicBezTo>
                      <a:pt x="4536" y="11247"/>
                      <a:pt x="18808" y="0"/>
                      <a:pt x="35725" y="0"/>
                    </a:cubicBezTo>
                    <a:cubicBezTo>
                      <a:pt x="56281" y="0"/>
                      <a:pt x="72962" y="16681"/>
                      <a:pt x="72962" y="37237"/>
                    </a:cubicBezTo>
                    <a:cubicBezTo>
                      <a:pt x="72962" y="44656"/>
                      <a:pt x="70788" y="51555"/>
                      <a:pt x="67055" y="57320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308" name="Forma livre: Forma 1307">
                <a:extLst>
                  <a:ext uri="{FF2B5EF4-FFF2-40B4-BE49-F238E27FC236}">
                    <a16:creationId xmlns:a16="http://schemas.microsoft.com/office/drawing/2014/main" id="{7398449D-3D7F-F306-1F0C-A7696F17337A}"/>
                  </a:ext>
                </a:extLst>
              </p:cNvPr>
              <p:cNvSpPr/>
              <p:nvPr/>
            </p:nvSpPr>
            <p:spPr>
              <a:xfrm>
                <a:off x="2740083" y="3737720"/>
                <a:ext cx="34259" cy="17626"/>
              </a:xfrm>
              <a:custGeom>
                <a:avLst/>
                <a:gdLst>
                  <a:gd name="connsiteX0" fmla="*/ 0 w 34259"/>
                  <a:gd name="connsiteY0" fmla="*/ 0 h 17626"/>
                  <a:gd name="connsiteX1" fmla="*/ 34260 w 34259"/>
                  <a:gd name="connsiteY1" fmla="*/ 17626 h 176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4259" h="17626">
                    <a:moveTo>
                      <a:pt x="0" y="0"/>
                    </a:moveTo>
                    <a:cubicBezTo>
                      <a:pt x="0" y="0"/>
                      <a:pt x="20887" y="17626"/>
                      <a:pt x="34260" y="17626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309" name="Forma livre: Forma 1308">
              <a:extLst>
                <a:ext uri="{FF2B5EF4-FFF2-40B4-BE49-F238E27FC236}">
                  <a16:creationId xmlns:a16="http://schemas.microsoft.com/office/drawing/2014/main" id="{7A0BF861-0386-CA28-1A64-82D54E9A9189}"/>
                </a:ext>
              </a:extLst>
            </p:cNvPr>
            <p:cNvSpPr/>
            <p:nvPr/>
          </p:nvSpPr>
          <p:spPr>
            <a:xfrm>
              <a:off x="2839177" y="3728647"/>
              <a:ext cx="12191" cy="8978"/>
            </a:xfrm>
            <a:custGeom>
              <a:avLst/>
              <a:gdLst>
                <a:gd name="connsiteX0" fmla="*/ 12192 w 12191"/>
                <a:gd name="connsiteY0" fmla="*/ 8978 h 8978"/>
                <a:gd name="connsiteX1" fmla="*/ 0 w 12191"/>
                <a:gd name="connsiteY1" fmla="*/ 0 h 89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191" h="8978">
                  <a:moveTo>
                    <a:pt x="12192" y="8978"/>
                  </a:moveTo>
                  <a:cubicBezTo>
                    <a:pt x="12192" y="8978"/>
                    <a:pt x="3828" y="2032"/>
                    <a:pt x="0" y="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310" name="Gráfico 14">
            <a:extLst>
              <a:ext uri="{FF2B5EF4-FFF2-40B4-BE49-F238E27FC236}">
                <a16:creationId xmlns:a16="http://schemas.microsoft.com/office/drawing/2014/main" id="{A23E3E8B-F7D0-D3E9-9AAB-D5B3FEFA0A78}"/>
              </a:ext>
            </a:extLst>
          </p:cNvPr>
          <p:cNvGrpSpPr/>
          <p:nvPr/>
        </p:nvGrpSpPr>
        <p:grpSpPr>
          <a:xfrm>
            <a:off x="2597979" y="4669307"/>
            <a:ext cx="282640" cy="338724"/>
            <a:chOff x="2597979" y="4669307"/>
            <a:chExt cx="282640" cy="338724"/>
          </a:xfrm>
        </p:grpSpPr>
        <p:sp>
          <p:nvSpPr>
            <p:cNvPr id="1311" name="Forma livre: Forma 1310">
              <a:extLst>
                <a:ext uri="{FF2B5EF4-FFF2-40B4-BE49-F238E27FC236}">
                  <a16:creationId xmlns:a16="http://schemas.microsoft.com/office/drawing/2014/main" id="{60A59362-EF9C-3643-4E80-87A0DB5920DF}"/>
                </a:ext>
              </a:extLst>
            </p:cNvPr>
            <p:cNvSpPr/>
            <p:nvPr/>
          </p:nvSpPr>
          <p:spPr>
            <a:xfrm>
              <a:off x="2718251" y="4841647"/>
              <a:ext cx="44845" cy="10632"/>
            </a:xfrm>
            <a:custGeom>
              <a:avLst/>
              <a:gdLst>
                <a:gd name="connsiteX0" fmla="*/ 44845 w 44845"/>
                <a:gd name="connsiteY0" fmla="*/ 0 h 10632"/>
                <a:gd name="connsiteX1" fmla="*/ 0 w 44845"/>
                <a:gd name="connsiteY1" fmla="*/ 10632 h 106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4845" h="10632">
                  <a:moveTo>
                    <a:pt x="44845" y="0"/>
                  </a:moveTo>
                  <a:cubicBezTo>
                    <a:pt x="29534" y="1843"/>
                    <a:pt x="14271" y="5623"/>
                    <a:pt x="0" y="10632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312" name="Forma livre: Forma 1311">
              <a:extLst>
                <a:ext uri="{FF2B5EF4-FFF2-40B4-BE49-F238E27FC236}">
                  <a16:creationId xmlns:a16="http://schemas.microsoft.com/office/drawing/2014/main" id="{CD913844-E9BD-2554-DDA1-9341831AB6A4}"/>
                </a:ext>
              </a:extLst>
            </p:cNvPr>
            <p:cNvSpPr/>
            <p:nvPr/>
          </p:nvSpPr>
          <p:spPr>
            <a:xfrm>
              <a:off x="2597979" y="4831251"/>
              <a:ext cx="266611" cy="119319"/>
            </a:xfrm>
            <a:custGeom>
              <a:avLst/>
              <a:gdLst>
                <a:gd name="connsiteX0" fmla="*/ 113278 w 266611"/>
                <a:gd name="connsiteY0" fmla="*/ 48531 h 119319"/>
                <a:gd name="connsiteX1" fmla="*/ 121170 w 266611"/>
                <a:gd name="connsiteY1" fmla="*/ 28731 h 119319"/>
                <a:gd name="connsiteX2" fmla="*/ 92439 w 266611"/>
                <a:gd name="connsiteY2" fmla="*/ 0 h 119319"/>
                <a:gd name="connsiteX3" fmla="*/ 63708 w 266611"/>
                <a:gd name="connsiteY3" fmla="*/ 28731 h 119319"/>
                <a:gd name="connsiteX4" fmla="*/ 68103 w 266611"/>
                <a:gd name="connsiteY4" fmla="*/ 44042 h 119319"/>
                <a:gd name="connsiteX5" fmla="*/ 67677 w 266611"/>
                <a:gd name="connsiteY5" fmla="*/ 44231 h 119319"/>
                <a:gd name="connsiteX6" fmla="*/ 7711 w 266611"/>
                <a:gd name="connsiteY6" fmla="*/ 85154 h 119319"/>
                <a:gd name="connsiteX7" fmla="*/ 1898 w 266611"/>
                <a:gd name="connsiteY7" fmla="*/ 107931 h 119319"/>
                <a:gd name="connsiteX8" fmla="*/ 22927 w 266611"/>
                <a:gd name="connsiteY8" fmla="*/ 119319 h 119319"/>
                <a:gd name="connsiteX9" fmla="*/ 229951 w 266611"/>
                <a:gd name="connsiteY9" fmla="*/ 119319 h 119319"/>
                <a:gd name="connsiteX10" fmla="*/ 247152 w 266611"/>
                <a:gd name="connsiteY10" fmla="*/ 111617 h 119319"/>
                <a:gd name="connsiteX11" fmla="*/ 238788 w 266611"/>
                <a:gd name="connsiteY11" fmla="*/ 20840 h 119319"/>
                <a:gd name="connsiteX12" fmla="*/ 213837 w 266611"/>
                <a:gd name="connsiteY12" fmla="*/ 11861 h 1193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66611" h="119319">
                  <a:moveTo>
                    <a:pt x="113278" y="48531"/>
                  </a:moveTo>
                  <a:cubicBezTo>
                    <a:pt x="118193" y="43380"/>
                    <a:pt x="121170" y="36386"/>
                    <a:pt x="121170" y="28731"/>
                  </a:cubicBezTo>
                  <a:cubicBezTo>
                    <a:pt x="121170" y="12853"/>
                    <a:pt x="108317" y="0"/>
                    <a:pt x="92439" y="0"/>
                  </a:cubicBezTo>
                  <a:cubicBezTo>
                    <a:pt x="76561" y="0"/>
                    <a:pt x="63708" y="12853"/>
                    <a:pt x="63708" y="28731"/>
                  </a:cubicBezTo>
                  <a:cubicBezTo>
                    <a:pt x="63708" y="34354"/>
                    <a:pt x="65315" y="39600"/>
                    <a:pt x="68103" y="44042"/>
                  </a:cubicBezTo>
                  <a:lnTo>
                    <a:pt x="67677" y="44231"/>
                  </a:lnTo>
                  <a:cubicBezTo>
                    <a:pt x="34173" y="62849"/>
                    <a:pt x="10499" y="82366"/>
                    <a:pt x="7711" y="85154"/>
                  </a:cubicBezTo>
                  <a:cubicBezTo>
                    <a:pt x="953" y="91911"/>
                    <a:pt x="-2355" y="100464"/>
                    <a:pt x="1898" y="107931"/>
                  </a:cubicBezTo>
                  <a:cubicBezTo>
                    <a:pt x="4639" y="112751"/>
                    <a:pt x="10262" y="119319"/>
                    <a:pt x="22927" y="119319"/>
                  </a:cubicBezTo>
                  <a:lnTo>
                    <a:pt x="229951" y="119319"/>
                  </a:lnTo>
                  <a:cubicBezTo>
                    <a:pt x="236898" y="119319"/>
                    <a:pt x="242994" y="115728"/>
                    <a:pt x="247152" y="111617"/>
                  </a:cubicBezTo>
                  <a:cubicBezTo>
                    <a:pt x="279569" y="79719"/>
                    <a:pt x="267803" y="36386"/>
                    <a:pt x="238788" y="20840"/>
                  </a:cubicBezTo>
                  <a:cubicBezTo>
                    <a:pt x="231085" y="16728"/>
                    <a:pt x="222674" y="13798"/>
                    <a:pt x="213837" y="11861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313" name="Forma livre: Forma 1312">
              <a:extLst>
                <a:ext uri="{FF2B5EF4-FFF2-40B4-BE49-F238E27FC236}">
                  <a16:creationId xmlns:a16="http://schemas.microsoft.com/office/drawing/2014/main" id="{381A515A-6E93-0975-088C-9DEDAEBDD1E7}"/>
                </a:ext>
              </a:extLst>
            </p:cNvPr>
            <p:cNvSpPr/>
            <p:nvPr/>
          </p:nvSpPr>
          <p:spPr>
            <a:xfrm>
              <a:off x="2765176" y="4669307"/>
              <a:ext cx="44608" cy="4725"/>
            </a:xfrm>
            <a:custGeom>
              <a:avLst/>
              <a:gdLst>
                <a:gd name="connsiteX0" fmla="*/ 0 w 44608"/>
                <a:gd name="connsiteY0" fmla="*/ 0 h 4725"/>
                <a:gd name="connsiteX1" fmla="*/ 44609 w 44608"/>
                <a:gd name="connsiteY1" fmla="*/ 0 h 47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4608" h="4725">
                  <a:moveTo>
                    <a:pt x="0" y="0"/>
                  </a:moveTo>
                  <a:lnTo>
                    <a:pt x="44609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314" name="Forma livre: Forma 1313">
              <a:extLst>
                <a:ext uri="{FF2B5EF4-FFF2-40B4-BE49-F238E27FC236}">
                  <a16:creationId xmlns:a16="http://schemas.microsoft.com/office/drawing/2014/main" id="{559BFF48-C205-C80C-5F8C-417806742DF5}"/>
                </a:ext>
              </a:extLst>
            </p:cNvPr>
            <p:cNvSpPr/>
            <p:nvPr/>
          </p:nvSpPr>
          <p:spPr>
            <a:xfrm>
              <a:off x="2787480" y="4669733"/>
              <a:ext cx="4725" cy="40450"/>
            </a:xfrm>
            <a:custGeom>
              <a:avLst/>
              <a:gdLst>
                <a:gd name="connsiteX0" fmla="*/ 0 w 4725"/>
                <a:gd name="connsiteY0" fmla="*/ 40450 h 40450"/>
                <a:gd name="connsiteX1" fmla="*/ 0 w 4725"/>
                <a:gd name="connsiteY1" fmla="*/ 0 h 40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725" h="40450">
                  <a:moveTo>
                    <a:pt x="0" y="40450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315" name="Forma livre: Forma 1314">
              <a:extLst>
                <a:ext uri="{FF2B5EF4-FFF2-40B4-BE49-F238E27FC236}">
                  <a16:creationId xmlns:a16="http://schemas.microsoft.com/office/drawing/2014/main" id="{DE5C230F-BD3A-ABE4-4E9A-332636F310FE}"/>
                </a:ext>
              </a:extLst>
            </p:cNvPr>
            <p:cNvSpPr/>
            <p:nvPr/>
          </p:nvSpPr>
          <p:spPr>
            <a:xfrm>
              <a:off x="2760639" y="4711175"/>
              <a:ext cx="53729" cy="100842"/>
            </a:xfrm>
            <a:custGeom>
              <a:avLst/>
              <a:gdLst>
                <a:gd name="connsiteX0" fmla="*/ 53729 w 53729"/>
                <a:gd name="connsiteY0" fmla="*/ 0 h 100842"/>
                <a:gd name="connsiteX1" fmla="*/ 53729 w 53729"/>
                <a:gd name="connsiteY1" fmla="*/ 81373 h 100842"/>
                <a:gd name="connsiteX2" fmla="*/ 27077 w 53729"/>
                <a:gd name="connsiteY2" fmla="*/ 100795 h 100842"/>
                <a:gd name="connsiteX3" fmla="*/ 26652 w 53729"/>
                <a:gd name="connsiteY3" fmla="*/ 100842 h 100842"/>
                <a:gd name="connsiteX4" fmla="*/ 0 w 53729"/>
                <a:gd name="connsiteY4" fmla="*/ 81421 h 100842"/>
                <a:gd name="connsiteX5" fmla="*/ 0 w 53729"/>
                <a:gd name="connsiteY5" fmla="*/ 0 h 1008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3729" h="100842">
                  <a:moveTo>
                    <a:pt x="53729" y="0"/>
                  </a:moveTo>
                  <a:lnTo>
                    <a:pt x="53729" y="81373"/>
                  </a:lnTo>
                  <a:lnTo>
                    <a:pt x="27077" y="100795"/>
                  </a:lnTo>
                  <a:lnTo>
                    <a:pt x="26652" y="100842"/>
                  </a:lnTo>
                  <a:lnTo>
                    <a:pt x="0" y="81421"/>
                  </a:lnTo>
                  <a:lnTo>
                    <a:pt x="0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316" name="Forma livre: Forma 1315">
              <a:extLst>
                <a:ext uri="{FF2B5EF4-FFF2-40B4-BE49-F238E27FC236}">
                  <a16:creationId xmlns:a16="http://schemas.microsoft.com/office/drawing/2014/main" id="{B2B76D80-BD27-2249-5B35-E796E4377BA3}"/>
                </a:ext>
              </a:extLst>
            </p:cNvPr>
            <p:cNvSpPr/>
            <p:nvPr/>
          </p:nvSpPr>
          <p:spPr>
            <a:xfrm>
              <a:off x="2787480" y="4811309"/>
              <a:ext cx="4725" cy="61053"/>
            </a:xfrm>
            <a:custGeom>
              <a:avLst/>
              <a:gdLst>
                <a:gd name="connsiteX0" fmla="*/ 0 w 4725"/>
                <a:gd name="connsiteY0" fmla="*/ 0 h 61053"/>
                <a:gd name="connsiteX1" fmla="*/ 0 w 4725"/>
                <a:gd name="connsiteY1" fmla="*/ 61054 h 610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725" h="61053">
                  <a:moveTo>
                    <a:pt x="0" y="0"/>
                  </a:moveTo>
                  <a:lnTo>
                    <a:pt x="0" y="61054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317" name="Forma livre: Forma 1316">
              <a:extLst>
                <a:ext uri="{FF2B5EF4-FFF2-40B4-BE49-F238E27FC236}">
                  <a16:creationId xmlns:a16="http://schemas.microsoft.com/office/drawing/2014/main" id="{CB247E6D-ADCC-9D43-654F-71BF941C6165}"/>
                </a:ext>
              </a:extLst>
            </p:cNvPr>
            <p:cNvSpPr/>
            <p:nvPr/>
          </p:nvSpPr>
          <p:spPr>
            <a:xfrm>
              <a:off x="2762388" y="4769583"/>
              <a:ext cx="29487" cy="4725"/>
            </a:xfrm>
            <a:custGeom>
              <a:avLst/>
              <a:gdLst>
                <a:gd name="connsiteX0" fmla="*/ 0 w 29487"/>
                <a:gd name="connsiteY0" fmla="*/ 0 h 4725"/>
                <a:gd name="connsiteX1" fmla="*/ 29487 w 29487"/>
                <a:gd name="connsiteY1" fmla="*/ 0 h 47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9487" h="4725">
                  <a:moveTo>
                    <a:pt x="0" y="0"/>
                  </a:moveTo>
                  <a:lnTo>
                    <a:pt x="29487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318" name="Forma livre: Forma 1317">
              <a:extLst>
                <a:ext uri="{FF2B5EF4-FFF2-40B4-BE49-F238E27FC236}">
                  <a16:creationId xmlns:a16="http://schemas.microsoft.com/office/drawing/2014/main" id="{855A8B16-8706-4722-CF8F-CC312F35240F}"/>
                </a:ext>
              </a:extLst>
            </p:cNvPr>
            <p:cNvSpPr/>
            <p:nvPr/>
          </p:nvSpPr>
          <p:spPr>
            <a:xfrm>
              <a:off x="2744572" y="4710797"/>
              <a:ext cx="85862" cy="4725"/>
            </a:xfrm>
            <a:custGeom>
              <a:avLst/>
              <a:gdLst>
                <a:gd name="connsiteX0" fmla="*/ 0 w 85862"/>
                <a:gd name="connsiteY0" fmla="*/ 0 h 4725"/>
                <a:gd name="connsiteX1" fmla="*/ 85863 w 85862"/>
                <a:gd name="connsiteY1" fmla="*/ 0 h 47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5862" h="4725">
                  <a:moveTo>
                    <a:pt x="0" y="0"/>
                  </a:moveTo>
                  <a:lnTo>
                    <a:pt x="85863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319" name="Forma livre: Forma 1318">
              <a:extLst>
                <a:ext uri="{FF2B5EF4-FFF2-40B4-BE49-F238E27FC236}">
                  <a16:creationId xmlns:a16="http://schemas.microsoft.com/office/drawing/2014/main" id="{14758A85-1C2C-D4C4-E503-8DA509F2404F}"/>
                </a:ext>
              </a:extLst>
            </p:cNvPr>
            <p:cNvSpPr/>
            <p:nvPr/>
          </p:nvSpPr>
          <p:spPr>
            <a:xfrm>
              <a:off x="2762388" y="4740710"/>
              <a:ext cx="29487" cy="4725"/>
            </a:xfrm>
            <a:custGeom>
              <a:avLst/>
              <a:gdLst>
                <a:gd name="connsiteX0" fmla="*/ 0 w 29487"/>
                <a:gd name="connsiteY0" fmla="*/ 0 h 4725"/>
                <a:gd name="connsiteX1" fmla="*/ 29487 w 29487"/>
                <a:gd name="connsiteY1" fmla="*/ 0 h 47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9487" h="4725">
                  <a:moveTo>
                    <a:pt x="0" y="0"/>
                  </a:moveTo>
                  <a:lnTo>
                    <a:pt x="29487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320" name="Forma livre: Forma 1319">
              <a:extLst>
                <a:ext uri="{FF2B5EF4-FFF2-40B4-BE49-F238E27FC236}">
                  <a16:creationId xmlns:a16="http://schemas.microsoft.com/office/drawing/2014/main" id="{CA6E2043-3E62-B00D-1778-8BC1CE369EBC}"/>
                </a:ext>
              </a:extLst>
            </p:cNvPr>
            <p:cNvSpPr/>
            <p:nvPr/>
          </p:nvSpPr>
          <p:spPr>
            <a:xfrm>
              <a:off x="2688811" y="4933180"/>
              <a:ext cx="191808" cy="74852"/>
            </a:xfrm>
            <a:custGeom>
              <a:avLst/>
              <a:gdLst>
                <a:gd name="connsiteX0" fmla="*/ 53209 w 191808"/>
                <a:gd name="connsiteY0" fmla="*/ 74852 h 74852"/>
                <a:gd name="connsiteX1" fmla="*/ 15358 w 191808"/>
                <a:gd name="connsiteY1" fmla="*/ 74852 h 74852"/>
                <a:gd name="connsiteX2" fmla="*/ 0 w 191808"/>
                <a:gd name="connsiteY2" fmla="*/ 60250 h 74852"/>
                <a:gd name="connsiteX3" fmla="*/ 15358 w 191808"/>
                <a:gd name="connsiteY3" fmla="*/ 46026 h 74852"/>
                <a:gd name="connsiteX4" fmla="*/ 168795 w 191808"/>
                <a:gd name="connsiteY4" fmla="*/ 46026 h 74852"/>
                <a:gd name="connsiteX5" fmla="*/ 191809 w 191808"/>
                <a:gd name="connsiteY5" fmla="*/ 22541 h 74852"/>
                <a:gd name="connsiteX6" fmla="*/ 168795 w 191808"/>
                <a:gd name="connsiteY6" fmla="*/ 0 h 74852"/>
                <a:gd name="connsiteX7" fmla="*/ 166527 w 191808"/>
                <a:gd name="connsiteY7" fmla="*/ 0 h 748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91808" h="74852">
                  <a:moveTo>
                    <a:pt x="53209" y="74852"/>
                  </a:moveTo>
                  <a:lnTo>
                    <a:pt x="15358" y="74852"/>
                  </a:lnTo>
                  <a:cubicBezTo>
                    <a:pt x="6899" y="74852"/>
                    <a:pt x="0" y="67669"/>
                    <a:pt x="0" y="60250"/>
                  </a:cubicBezTo>
                  <a:cubicBezTo>
                    <a:pt x="0" y="52831"/>
                    <a:pt x="6899" y="46026"/>
                    <a:pt x="15358" y="46026"/>
                  </a:cubicBezTo>
                  <a:lnTo>
                    <a:pt x="168795" y="46026"/>
                  </a:lnTo>
                  <a:cubicBezTo>
                    <a:pt x="181460" y="46026"/>
                    <a:pt x="191809" y="34921"/>
                    <a:pt x="191809" y="22541"/>
                  </a:cubicBezTo>
                  <a:cubicBezTo>
                    <a:pt x="191809" y="10160"/>
                    <a:pt x="181460" y="0"/>
                    <a:pt x="168795" y="0"/>
                  </a:cubicBezTo>
                  <a:lnTo>
                    <a:pt x="166527" y="0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321" name="Forma livre: Forma 1320">
              <a:extLst>
                <a:ext uri="{FF2B5EF4-FFF2-40B4-BE49-F238E27FC236}">
                  <a16:creationId xmlns:a16="http://schemas.microsoft.com/office/drawing/2014/main" id="{B4B8809F-FB94-C069-1E9C-BB4BF2C19F6B}"/>
                </a:ext>
              </a:extLst>
            </p:cNvPr>
            <p:cNvSpPr/>
            <p:nvPr/>
          </p:nvSpPr>
          <p:spPr>
            <a:xfrm>
              <a:off x="2654362" y="4911773"/>
              <a:ext cx="7371" cy="7371"/>
            </a:xfrm>
            <a:custGeom>
              <a:avLst/>
              <a:gdLst>
                <a:gd name="connsiteX0" fmla="*/ 7372 w 7371"/>
                <a:gd name="connsiteY0" fmla="*/ 3686 h 7371"/>
                <a:gd name="connsiteX1" fmla="*/ 3686 w 7371"/>
                <a:gd name="connsiteY1" fmla="*/ 7372 h 7371"/>
                <a:gd name="connsiteX2" fmla="*/ 0 w 7371"/>
                <a:gd name="connsiteY2" fmla="*/ 3686 h 7371"/>
                <a:gd name="connsiteX3" fmla="*/ 3686 w 7371"/>
                <a:gd name="connsiteY3" fmla="*/ 0 h 7371"/>
                <a:gd name="connsiteX4" fmla="*/ 7372 w 7371"/>
                <a:gd name="connsiteY4" fmla="*/ 3686 h 73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371" h="7371">
                  <a:moveTo>
                    <a:pt x="7372" y="3686"/>
                  </a:moveTo>
                  <a:cubicBezTo>
                    <a:pt x="7372" y="5718"/>
                    <a:pt x="5718" y="7372"/>
                    <a:pt x="3686" y="7372"/>
                  </a:cubicBezTo>
                  <a:cubicBezTo>
                    <a:pt x="1654" y="7372"/>
                    <a:pt x="0" y="5718"/>
                    <a:pt x="0" y="3686"/>
                  </a:cubicBezTo>
                  <a:cubicBezTo>
                    <a:pt x="0" y="1654"/>
                    <a:pt x="1654" y="0"/>
                    <a:pt x="3686" y="0"/>
                  </a:cubicBezTo>
                  <a:cubicBezTo>
                    <a:pt x="5718" y="0"/>
                    <a:pt x="7372" y="1654"/>
                    <a:pt x="7372" y="3686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322" name="Gráfico 14">
            <a:extLst>
              <a:ext uri="{FF2B5EF4-FFF2-40B4-BE49-F238E27FC236}">
                <a16:creationId xmlns:a16="http://schemas.microsoft.com/office/drawing/2014/main" id="{A459DB3D-6F98-5CA7-4AF6-391D132F3056}"/>
              </a:ext>
            </a:extLst>
          </p:cNvPr>
          <p:cNvGrpSpPr/>
          <p:nvPr/>
        </p:nvGrpSpPr>
        <p:grpSpPr>
          <a:xfrm>
            <a:off x="2601153" y="5708920"/>
            <a:ext cx="276253" cy="348648"/>
            <a:chOff x="2601153" y="5708920"/>
            <a:chExt cx="276253" cy="348648"/>
          </a:xfrm>
        </p:grpSpPr>
        <p:sp>
          <p:nvSpPr>
            <p:cNvPr id="1323" name="Forma livre: Forma 1322">
              <a:extLst>
                <a:ext uri="{FF2B5EF4-FFF2-40B4-BE49-F238E27FC236}">
                  <a16:creationId xmlns:a16="http://schemas.microsoft.com/office/drawing/2014/main" id="{B8FEA695-7029-9F89-9B9F-6A05725C3F0B}"/>
                </a:ext>
              </a:extLst>
            </p:cNvPr>
            <p:cNvSpPr/>
            <p:nvPr/>
          </p:nvSpPr>
          <p:spPr>
            <a:xfrm>
              <a:off x="2623552" y="5963861"/>
              <a:ext cx="147483" cy="4725"/>
            </a:xfrm>
            <a:custGeom>
              <a:avLst/>
              <a:gdLst>
                <a:gd name="connsiteX0" fmla="*/ 147483 w 147483"/>
                <a:gd name="connsiteY0" fmla="*/ 0 h 4725"/>
                <a:gd name="connsiteX1" fmla="*/ 0 w 147483"/>
                <a:gd name="connsiteY1" fmla="*/ 0 h 47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47483" h="4725">
                  <a:moveTo>
                    <a:pt x="147483" y="0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324" name="Gráfico 14">
              <a:extLst>
                <a:ext uri="{FF2B5EF4-FFF2-40B4-BE49-F238E27FC236}">
                  <a16:creationId xmlns:a16="http://schemas.microsoft.com/office/drawing/2014/main" id="{39790C52-D4E5-B0CC-4811-947687CB5001}"/>
                </a:ext>
              </a:extLst>
            </p:cNvPr>
            <p:cNvGrpSpPr/>
            <p:nvPr/>
          </p:nvGrpSpPr>
          <p:grpSpPr>
            <a:xfrm>
              <a:off x="2644864" y="5808628"/>
              <a:ext cx="232542" cy="248939"/>
              <a:chOff x="2644864" y="5808628"/>
              <a:chExt cx="232542" cy="248939"/>
            </a:xfrm>
            <a:noFill/>
          </p:grpSpPr>
          <p:sp>
            <p:nvSpPr>
              <p:cNvPr id="1325" name="Forma livre: Forma 1324">
                <a:extLst>
                  <a:ext uri="{FF2B5EF4-FFF2-40B4-BE49-F238E27FC236}">
                    <a16:creationId xmlns:a16="http://schemas.microsoft.com/office/drawing/2014/main" id="{02DE4D57-3F6E-EA40-9CF6-5B7A6566A45A}"/>
                  </a:ext>
                </a:extLst>
              </p:cNvPr>
              <p:cNvSpPr/>
              <p:nvPr/>
            </p:nvSpPr>
            <p:spPr>
              <a:xfrm>
                <a:off x="2806240" y="5891466"/>
                <a:ext cx="55855" cy="166101"/>
              </a:xfrm>
              <a:custGeom>
                <a:avLst/>
                <a:gdLst>
                  <a:gd name="connsiteX0" fmla="*/ 55856 w 55855"/>
                  <a:gd name="connsiteY0" fmla="*/ 2032 h 166101"/>
                  <a:gd name="connsiteX1" fmla="*/ 55856 w 55855"/>
                  <a:gd name="connsiteY1" fmla="*/ 140442 h 166101"/>
                  <a:gd name="connsiteX2" fmla="*/ 30196 w 55855"/>
                  <a:gd name="connsiteY2" fmla="*/ 166102 h 166101"/>
                  <a:gd name="connsiteX3" fmla="*/ 25660 w 55855"/>
                  <a:gd name="connsiteY3" fmla="*/ 166102 h 166101"/>
                  <a:gd name="connsiteX4" fmla="*/ 0 w 55855"/>
                  <a:gd name="connsiteY4" fmla="*/ 140442 h 166101"/>
                  <a:gd name="connsiteX5" fmla="*/ 0 w 55855"/>
                  <a:gd name="connsiteY5" fmla="*/ 0 h 1661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55855" h="166101">
                    <a:moveTo>
                      <a:pt x="55856" y="2032"/>
                    </a:moveTo>
                    <a:lnTo>
                      <a:pt x="55856" y="140442"/>
                    </a:lnTo>
                    <a:cubicBezTo>
                      <a:pt x="55856" y="154572"/>
                      <a:pt x="44325" y="166102"/>
                      <a:pt x="30196" y="166102"/>
                    </a:cubicBezTo>
                    <a:lnTo>
                      <a:pt x="25660" y="166102"/>
                    </a:lnTo>
                    <a:cubicBezTo>
                      <a:pt x="11578" y="166102"/>
                      <a:pt x="0" y="154572"/>
                      <a:pt x="0" y="140442"/>
                    </a:cubicBezTo>
                    <a:lnTo>
                      <a:pt x="0" y="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326" name="Forma livre: Forma 1325">
                <a:extLst>
                  <a:ext uri="{FF2B5EF4-FFF2-40B4-BE49-F238E27FC236}">
                    <a16:creationId xmlns:a16="http://schemas.microsoft.com/office/drawing/2014/main" id="{CD0A2F1B-1D70-2301-20BE-C62E89C889E0}"/>
                  </a:ext>
                </a:extLst>
              </p:cNvPr>
              <p:cNvSpPr/>
              <p:nvPr/>
            </p:nvSpPr>
            <p:spPr>
              <a:xfrm>
                <a:off x="2790552" y="5871052"/>
                <a:ext cx="86854" cy="22304"/>
              </a:xfrm>
              <a:custGeom>
                <a:avLst/>
                <a:gdLst>
                  <a:gd name="connsiteX0" fmla="*/ 71497 w 86854"/>
                  <a:gd name="connsiteY0" fmla="*/ 22304 h 22304"/>
                  <a:gd name="connsiteX1" fmla="*/ 86855 w 86854"/>
                  <a:gd name="connsiteY1" fmla="*/ 0 h 22304"/>
                  <a:gd name="connsiteX2" fmla="*/ 0 w 86854"/>
                  <a:gd name="connsiteY2" fmla="*/ 0 h 223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6854" h="22304">
                    <a:moveTo>
                      <a:pt x="71497" y="22304"/>
                    </a:moveTo>
                    <a:lnTo>
                      <a:pt x="86855" y="0"/>
                    </a:lnTo>
                    <a:lnTo>
                      <a:pt x="0" y="0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327" name="Forma livre: Forma 1326">
                <a:extLst>
                  <a:ext uri="{FF2B5EF4-FFF2-40B4-BE49-F238E27FC236}">
                    <a16:creationId xmlns:a16="http://schemas.microsoft.com/office/drawing/2014/main" id="{F799E307-6AC6-36C1-1933-CD7393B2838A}"/>
                  </a:ext>
                </a:extLst>
              </p:cNvPr>
              <p:cNvSpPr/>
              <p:nvPr/>
            </p:nvSpPr>
            <p:spPr>
              <a:xfrm>
                <a:off x="2644864" y="5808628"/>
                <a:ext cx="81326" cy="22209"/>
              </a:xfrm>
              <a:custGeom>
                <a:avLst/>
                <a:gdLst>
                  <a:gd name="connsiteX0" fmla="*/ 65968 w 81326"/>
                  <a:gd name="connsiteY0" fmla="*/ 22210 h 22209"/>
                  <a:gd name="connsiteX1" fmla="*/ 81326 w 81326"/>
                  <a:gd name="connsiteY1" fmla="*/ 0 h 22209"/>
                  <a:gd name="connsiteX2" fmla="*/ 0 w 81326"/>
                  <a:gd name="connsiteY2" fmla="*/ 0 h 222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1326" h="22209">
                    <a:moveTo>
                      <a:pt x="65968" y="22210"/>
                    </a:moveTo>
                    <a:lnTo>
                      <a:pt x="81326" y="0"/>
                    </a:lnTo>
                    <a:lnTo>
                      <a:pt x="0" y="0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328" name="Forma livre: Forma 1327">
                <a:extLst>
                  <a:ext uri="{FF2B5EF4-FFF2-40B4-BE49-F238E27FC236}">
                    <a16:creationId xmlns:a16="http://schemas.microsoft.com/office/drawing/2014/main" id="{6412FDBD-7B0F-AF44-C462-D4C3B8D28F10}"/>
                  </a:ext>
                </a:extLst>
              </p:cNvPr>
              <p:cNvSpPr/>
              <p:nvPr/>
            </p:nvSpPr>
            <p:spPr>
              <a:xfrm>
                <a:off x="2827694" y="5935792"/>
                <a:ext cx="34070" cy="4725"/>
              </a:xfrm>
              <a:custGeom>
                <a:avLst/>
                <a:gdLst>
                  <a:gd name="connsiteX0" fmla="*/ 0 w 34070"/>
                  <a:gd name="connsiteY0" fmla="*/ 0 h 4725"/>
                  <a:gd name="connsiteX1" fmla="*/ 34071 w 34070"/>
                  <a:gd name="connsiteY1" fmla="*/ 0 h 47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4070" h="4725">
                    <a:moveTo>
                      <a:pt x="0" y="0"/>
                    </a:moveTo>
                    <a:lnTo>
                      <a:pt x="34071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329" name="Forma livre: Forma 1328">
              <a:extLst>
                <a:ext uri="{FF2B5EF4-FFF2-40B4-BE49-F238E27FC236}">
                  <a16:creationId xmlns:a16="http://schemas.microsoft.com/office/drawing/2014/main" id="{E3A38D24-3BAE-3018-A5B6-87022507094C}"/>
                </a:ext>
              </a:extLst>
            </p:cNvPr>
            <p:cNvSpPr/>
            <p:nvPr/>
          </p:nvSpPr>
          <p:spPr>
            <a:xfrm>
              <a:off x="2601153" y="5828995"/>
              <a:ext cx="171819" cy="228478"/>
            </a:xfrm>
            <a:custGeom>
              <a:avLst/>
              <a:gdLst>
                <a:gd name="connsiteX0" fmla="*/ 62140 w 171819"/>
                <a:gd name="connsiteY0" fmla="*/ 0 h 228478"/>
                <a:gd name="connsiteX1" fmla="*/ 62140 w 171819"/>
                <a:gd name="connsiteY1" fmla="*/ 60109 h 228478"/>
                <a:gd name="connsiteX2" fmla="*/ 0 w 171819"/>
                <a:gd name="connsiteY2" fmla="*/ 142616 h 228478"/>
                <a:gd name="connsiteX3" fmla="*/ 85910 w 171819"/>
                <a:gd name="connsiteY3" fmla="*/ 228479 h 228478"/>
                <a:gd name="connsiteX4" fmla="*/ 171820 w 171819"/>
                <a:gd name="connsiteY4" fmla="*/ 142616 h 228478"/>
                <a:gd name="connsiteX5" fmla="*/ 109679 w 171819"/>
                <a:gd name="connsiteY5" fmla="*/ 60109 h 228478"/>
                <a:gd name="connsiteX6" fmla="*/ 109679 w 171819"/>
                <a:gd name="connsiteY6" fmla="*/ 2032 h 2284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71819" h="228478">
                  <a:moveTo>
                    <a:pt x="62140" y="0"/>
                  </a:moveTo>
                  <a:lnTo>
                    <a:pt x="62140" y="60109"/>
                  </a:lnTo>
                  <a:cubicBezTo>
                    <a:pt x="26274" y="70410"/>
                    <a:pt x="0" y="103442"/>
                    <a:pt x="0" y="142616"/>
                  </a:cubicBezTo>
                  <a:cubicBezTo>
                    <a:pt x="0" y="190060"/>
                    <a:pt x="38466" y="228479"/>
                    <a:pt x="85910" y="228479"/>
                  </a:cubicBezTo>
                  <a:cubicBezTo>
                    <a:pt x="133354" y="228479"/>
                    <a:pt x="171820" y="190013"/>
                    <a:pt x="171820" y="142616"/>
                  </a:cubicBezTo>
                  <a:cubicBezTo>
                    <a:pt x="171820" y="103442"/>
                    <a:pt x="145593" y="70410"/>
                    <a:pt x="109679" y="60109"/>
                  </a:cubicBezTo>
                  <a:lnTo>
                    <a:pt x="109679" y="2032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330" name="Forma livre: Forma 1329">
              <a:extLst>
                <a:ext uri="{FF2B5EF4-FFF2-40B4-BE49-F238E27FC236}">
                  <a16:creationId xmlns:a16="http://schemas.microsoft.com/office/drawing/2014/main" id="{5DB920A3-8486-158A-84B5-AFA13FCACB6C}"/>
                </a:ext>
              </a:extLst>
            </p:cNvPr>
            <p:cNvSpPr/>
            <p:nvPr/>
          </p:nvSpPr>
          <p:spPr>
            <a:xfrm>
              <a:off x="2686685" y="5708920"/>
              <a:ext cx="147294" cy="161376"/>
            </a:xfrm>
            <a:custGeom>
              <a:avLst/>
              <a:gdLst>
                <a:gd name="connsiteX0" fmla="*/ 147294 w 147294"/>
                <a:gd name="connsiteY0" fmla="*/ 161376 h 161376"/>
                <a:gd name="connsiteX1" fmla="*/ 147294 w 147294"/>
                <a:gd name="connsiteY1" fmla="*/ 42955 h 161376"/>
                <a:gd name="connsiteX2" fmla="*/ 123667 w 147294"/>
                <a:gd name="connsiteY2" fmla="*/ 19327 h 161376"/>
                <a:gd name="connsiteX3" fmla="*/ 121824 w 147294"/>
                <a:gd name="connsiteY3" fmla="*/ 19327 h 161376"/>
                <a:gd name="connsiteX4" fmla="*/ 98196 w 147294"/>
                <a:gd name="connsiteY4" fmla="*/ 42955 h 161376"/>
                <a:gd name="connsiteX5" fmla="*/ 98196 w 147294"/>
                <a:gd name="connsiteY5" fmla="*/ 55855 h 161376"/>
                <a:gd name="connsiteX6" fmla="*/ 74569 w 147294"/>
                <a:gd name="connsiteY6" fmla="*/ 79483 h 161376"/>
                <a:gd name="connsiteX7" fmla="*/ 72726 w 147294"/>
                <a:gd name="connsiteY7" fmla="*/ 79483 h 161376"/>
                <a:gd name="connsiteX8" fmla="*/ 49098 w 147294"/>
                <a:gd name="connsiteY8" fmla="*/ 55855 h 161376"/>
                <a:gd name="connsiteX9" fmla="*/ 49098 w 147294"/>
                <a:gd name="connsiteY9" fmla="*/ 23628 h 161376"/>
                <a:gd name="connsiteX10" fmla="*/ 25471 w 147294"/>
                <a:gd name="connsiteY10" fmla="*/ 0 h 161376"/>
                <a:gd name="connsiteX11" fmla="*/ 23628 w 147294"/>
                <a:gd name="connsiteY11" fmla="*/ 0 h 161376"/>
                <a:gd name="connsiteX12" fmla="*/ 0 w 147294"/>
                <a:gd name="connsiteY12" fmla="*/ 23628 h 161376"/>
                <a:gd name="connsiteX13" fmla="*/ 0 w 147294"/>
                <a:gd name="connsiteY13" fmla="*/ 98905 h 1613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47294" h="161376">
                  <a:moveTo>
                    <a:pt x="147294" y="161376"/>
                  </a:moveTo>
                  <a:lnTo>
                    <a:pt x="147294" y="42955"/>
                  </a:lnTo>
                  <a:cubicBezTo>
                    <a:pt x="147294" y="29960"/>
                    <a:pt x="136662" y="19327"/>
                    <a:pt x="123667" y="19327"/>
                  </a:cubicBezTo>
                  <a:lnTo>
                    <a:pt x="121824" y="19327"/>
                  </a:lnTo>
                  <a:cubicBezTo>
                    <a:pt x="108829" y="19327"/>
                    <a:pt x="98196" y="29960"/>
                    <a:pt x="98196" y="42955"/>
                  </a:cubicBezTo>
                  <a:lnTo>
                    <a:pt x="98196" y="55855"/>
                  </a:lnTo>
                  <a:cubicBezTo>
                    <a:pt x="98196" y="68851"/>
                    <a:pt x="87564" y="79483"/>
                    <a:pt x="74569" y="79483"/>
                  </a:cubicBezTo>
                  <a:lnTo>
                    <a:pt x="72726" y="79483"/>
                  </a:lnTo>
                  <a:cubicBezTo>
                    <a:pt x="59730" y="79483"/>
                    <a:pt x="49098" y="68851"/>
                    <a:pt x="49098" y="55855"/>
                  </a:cubicBezTo>
                  <a:lnTo>
                    <a:pt x="49098" y="23628"/>
                  </a:lnTo>
                  <a:cubicBezTo>
                    <a:pt x="49098" y="10632"/>
                    <a:pt x="38466" y="0"/>
                    <a:pt x="25471" y="0"/>
                  </a:cubicBezTo>
                  <a:lnTo>
                    <a:pt x="23628" y="0"/>
                  </a:lnTo>
                  <a:cubicBezTo>
                    <a:pt x="10632" y="0"/>
                    <a:pt x="0" y="10632"/>
                    <a:pt x="0" y="23628"/>
                  </a:cubicBezTo>
                  <a:lnTo>
                    <a:pt x="0" y="98905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331" name="Forma livre: Forma 1330">
              <a:extLst>
                <a:ext uri="{FF2B5EF4-FFF2-40B4-BE49-F238E27FC236}">
                  <a16:creationId xmlns:a16="http://schemas.microsoft.com/office/drawing/2014/main" id="{9DBAA345-37EA-14E9-3449-2941A18BA414}"/>
                </a:ext>
              </a:extLst>
            </p:cNvPr>
            <p:cNvSpPr/>
            <p:nvPr/>
          </p:nvSpPr>
          <p:spPr>
            <a:xfrm>
              <a:off x="2674351" y="5997365"/>
              <a:ext cx="7371" cy="7371"/>
            </a:xfrm>
            <a:custGeom>
              <a:avLst/>
              <a:gdLst>
                <a:gd name="connsiteX0" fmla="*/ 7372 w 7371"/>
                <a:gd name="connsiteY0" fmla="*/ 3686 h 7371"/>
                <a:gd name="connsiteX1" fmla="*/ 3686 w 7371"/>
                <a:gd name="connsiteY1" fmla="*/ 7372 h 7371"/>
                <a:gd name="connsiteX2" fmla="*/ 0 w 7371"/>
                <a:gd name="connsiteY2" fmla="*/ 3686 h 7371"/>
                <a:gd name="connsiteX3" fmla="*/ 3686 w 7371"/>
                <a:gd name="connsiteY3" fmla="*/ 0 h 7371"/>
                <a:gd name="connsiteX4" fmla="*/ 7372 w 7371"/>
                <a:gd name="connsiteY4" fmla="*/ 3686 h 73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371" h="7371">
                  <a:moveTo>
                    <a:pt x="7372" y="3686"/>
                  </a:moveTo>
                  <a:cubicBezTo>
                    <a:pt x="7372" y="5718"/>
                    <a:pt x="5718" y="7372"/>
                    <a:pt x="3686" y="7372"/>
                  </a:cubicBezTo>
                  <a:cubicBezTo>
                    <a:pt x="1654" y="7372"/>
                    <a:pt x="0" y="5718"/>
                    <a:pt x="0" y="3686"/>
                  </a:cubicBezTo>
                  <a:cubicBezTo>
                    <a:pt x="0" y="1654"/>
                    <a:pt x="1654" y="0"/>
                    <a:pt x="3686" y="0"/>
                  </a:cubicBezTo>
                  <a:cubicBezTo>
                    <a:pt x="5718" y="0"/>
                    <a:pt x="7372" y="1654"/>
                    <a:pt x="7372" y="3686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332" name="Forma livre: Forma 1331">
              <a:extLst>
                <a:ext uri="{FF2B5EF4-FFF2-40B4-BE49-F238E27FC236}">
                  <a16:creationId xmlns:a16="http://schemas.microsoft.com/office/drawing/2014/main" id="{BA45C3CA-0ABD-D5D4-5E6A-2E072C454159}"/>
                </a:ext>
              </a:extLst>
            </p:cNvPr>
            <p:cNvSpPr/>
            <p:nvPr/>
          </p:nvSpPr>
          <p:spPr>
            <a:xfrm>
              <a:off x="2701854" y="6015369"/>
              <a:ext cx="7371" cy="7371"/>
            </a:xfrm>
            <a:custGeom>
              <a:avLst/>
              <a:gdLst>
                <a:gd name="connsiteX0" fmla="*/ 7372 w 7371"/>
                <a:gd name="connsiteY0" fmla="*/ 3686 h 7371"/>
                <a:gd name="connsiteX1" fmla="*/ 3686 w 7371"/>
                <a:gd name="connsiteY1" fmla="*/ 7372 h 7371"/>
                <a:gd name="connsiteX2" fmla="*/ 0 w 7371"/>
                <a:gd name="connsiteY2" fmla="*/ 3686 h 7371"/>
                <a:gd name="connsiteX3" fmla="*/ 3686 w 7371"/>
                <a:gd name="connsiteY3" fmla="*/ 0 h 7371"/>
                <a:gd name="connsiteX4" fmla="*/ 7372 w 7371"/>
                <a:gd name="connsiteY4" fmla="*/ 3686 h 73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371" h="7371">
                  <a:moveTo>
                    <a:pt x="7372" y="3686"/>
                  </a:moveTo>
                  <a:cubicBezTo>
                    <a:pt x="7372" y="5718"/>
                    <a:pt x="5718" y="7372"/>
                    <a:pt x="3686" y="7372"/>
                  </a:cubicBezTo>
                  <a:cubicBezTo>
                    <a:pt x="1654" y="7372"/>
                    <a:pt x="0" y="5718"/>
                    <a:pt x="0" y="3686"/>
                  </a:cubicBezTo>
                  <a:cubicBezTo>
                    <a:pt x="0" y="1654"/>
                    <a:pt x="1654" y="0"/>
                    <a:pt x="3686" y="0"/>
                  </a:cubicBezTo>
                  <a:cubicBezTo>
                    <a:pt x="5718" y="0"/>
                    <a:pt x="7372" y="1654"/>
                    <a:pt x="7372" y="3686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345" name="Gráfico 15">
            <a:extLst>
              <a:ext uri="{FF2B5EF4-FFF2-40B4-BE49-F238E27FC236}">
                <a16:creationId xmlns:a16="http://schemas.microsoft.com/office/drawing/2014/main" id="{F8454C6E-5866-9051-EB1E-BF0DC2204247}"/>
              </a:ext>
            </a:extLst>
          </p:cNvPr>
          <p:cNvGrpSpPr/>
          <p:nvPr/>
        </p:nvGrpSpPr>
        <p:grpSpPr>
          <a:xfrm>
            <a:off x="5048915" y="4143453"/>
            <a:ext cx="227722" cy="331305"/>
            <a:chOff x="5048915" y="4143453"/>
            <a:chExt cx="227722" cy="331305"/>
          </a:xfrm>
        </p:grpSpPr>
        <p:sp>
          <p:nvSpPr>
            <p:cNvPr id="1346" name="Forma livre: Forma 1345">
              <a:extLst>
                <a:ext uri="{FF2B5EF4-FFF2-40B4-BE49-F238E27FC236}">
                  <a16:creationId xmlns:a16="http://schemas.microsoft.com/office/drawing/2014/main" id="{398438C1-A8D9-C6CC-912D-F78AA6F6CFB6}"/>
                </a:ext>
              </a:extLst>
            </p:cNvPr>
            <p:cNvSpPr/>
            <p:nvPr/>
          </p:nvSpPr>
          <p:spPr>
            <a:xfrm>
              <a:off x="5048915" y="4173365"/>
              <a:ext cx="227722" cy="301393"/>
            </a:xfrm>
            <a:custGeom>
              <a:avLst/>
              <a:gdLst>
                <a:gd name="connsiteX0" fmla="*/ 82366 w 227722"/>
                <a:gd name="connsiteY0" fmla="*/ 0 h 301393"/>
                <a:gd name="connsiteX1" fmla="*/ 82366 w 227722"/>
                <a:gd name="connsiteY1" fmla="*/ 78160 h 301393"/>
                <a:gd name="connsiteX2" fmla="*/ 0 w 227722"/>
                <a:gd name="connsiteY2" fmla="*/ 187556 h 301393"/>
                <a:gd name="connsiteX3" fmla="*/ 113838 w 227722"/>
                <a:gd name="connsiteY3" fmla="*/ 301393 h 301393"/>
                <a:gd name="connsiteX4" fmla="*/ 227722 w 227722"/>
                <a:gd name="connsiteY4" fmla="*/ 187556 h 301393"/>
                <a:gd name="connsiteX5" fmla="*/ 145357 w 227722"/>
                <a:gd name="connsiteY5" fmla="*/ 78207 h 301393"/>
                <a:gd name="connsiteX6" fmla="*/ 145357 w 227722"/>
                <a:gd name="connsiteY6" fmla="*/ 47 h 3013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27722" h="301393">
                  <a:moveTo>
                    <a:pt x="82366" y="0"/>
                  </a:moveTo>
                  <a:lnTo>
                    <a:pt x="82366" y="78160"/>
                  </a:lnTo>
                  <a:cubicBezTo>
                    <a:pt x="34827" y="91817"/>
                    <a:pt x="0" y="135622"/>
                    <a:pt x="0" y="187556"/>
                  </a:cubicBezTo>
                  <a:cubicBezTo>
                    <a:pt x="0" y="250405"/>
                    <a:pt x="50988" y="301393"/>
                    <a:pt x="113838" y="301393"/>
                  </a:cubicBezTo>
                  <a:cubicBezTo>
                    <a:pt x="176687" y="301393"/>
                    <a:pt x="227722" y="250452"/>
                    <a:pt x="227722" y="187556"/>
                  </a:cubicBezTo>
                  <a:cubicBezTo>
                    <a:pt x="227722" y="135622"/>
                    <a:pt x="192943" y="91864"/>
                    <a:pt x="145357" y="78207"/>
                  </a:cubicBezTo>
                  <a:lnTo>
                    <a:pt x="145357" y="47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347" name="Forma livre: Forma 1346">
              <a:extLst>
                <a:ext uri="{FF2B5EF4-FFF2-40B4-BE49-F238E27FC236}">
                  <a16:creationId xmlns:a16="http://schemas.microsoft.com/office/drawing/2014/main" id="{450F7860-92E3-A1B3-6C34-95343CF36F23}"/>
                </a:ext>
              </a:extLst>
            </p:cNvPr>
            <p:cNvSpPr/>
            <p:nvPr/>
          </p:nvSpPr>
          <p:spPr>
            <a:xfrm>
              <a:off x="5117104" y="4143453"/>
              <a:ext cx="91296" cy="29345"/>
            </a:xfrm>
            <a:custGeom>
              <a:avLst/>
              <a:gdLst>
                <a:gd name="connsiteX0" fmla="*/ 23297 w 91296"/>
                <a:gd name="connsiteY0" fmla="*/ 29345 h 29345"/>
                <a:gd name="connsiteX1" fmla="*/ 13373 w 91296"/>
                <a:gd name="connsiteY1" fmla="*/ 29345 h 29345"/>
                <a:gd name="connsiteX2" fmla="*/ 0 w 91296"/>
                <a:gd name="connsiteY2" fmla="*/ 15925 h 29345"/>
                <a:gd name="connsiteX3" fmla="*/ 0 w 91296"/>
                <a:gd name="connsiteY3" fmla="*/ 13373 h 29345"/>
                <a:gd name="connsiteX4" fmla="*/ 13373 w 91296"/>
                <a:gd name="connsiteY4" fmla="*/ 0 h 29345"/>
                <a:gd name="connsiteX5" fmla="*/ 77924 w 91296"/>
                <a:gd name="connsiteY5" fmla="*/ 0 h 29345"/>
                <a:gd name="connsiteX6" fmla="*/ 91297 w 91296"/>
                <a:gd name="connsiteY6" fmla="*/ 13373 h 29345"/>
                <a:gd name="connsiteX7" fmla="*/ 91297 w 91296"/>
                <a:gd name="connsiteY7" fmla="*/ 15925 h 29345"/>
                <a:gd name="connsiteX8" fmla="*/ 77924 w 91296"/>
                <a:gd name="connsiteY8" fmla="*/ 29345 h 29345"/>
                <a:gd name="connsiteX9" fmla="*/ 52926 w 91296"/>
                <a:gd name="connsiteY9" fmla="*/ 29345 h 293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91296" h="29345">
                  <a:moveTo>
                    <a:pt x="23297" y="29345"/>
                  </a:moveTo>
                  <a:lnTo>
                    <a:pt x="13373" y="29345"/>
                  </a:lnTo>
                  <a:cubicBezTo>
                    <a:pt x="6001" y="29345"/>
                    <a:pt x="0" y="23297"/>
                    <a:pt x="0" y="15925"/>
                  </a:cubicBezTo>
                  <a:lnTo>
                    <a:pt x="0" y="13373"/>
                  </a:lnTo>
                  <a:cubicBezTo>
                    <a:pt x="0" y="6001"/>
                    <a:pt x="6049" y="0"/>
                    <a:pt x="13373" y="0"/>
                  </a:cubicBezTo>
                  <a:lnTo>
                    <a:pt x="77924" y="0"/>
                  </a:lnTo>
                  <a:cubicBezTo>
                    <a:pt x="85295" y="0"/>
                    <a:pt x="91297" y="6049"/>
                    <a:pt x="91297" y="13373"/>
                  </a:cubicBezTo>
                  <a:lnTo>
                    <a:pt x="91297" y="15925"/>
                  </a:lnTo>
                  <a:cubicBezTo>
                    <a:pt x="91297" y="23297"/>
                    <a:pt x="85248" y="29345"/>
                    <a:pt x="77924" y="29345"/>
                  </a:cubicBezTo>
                  <a:lnTo>
                    <a:pt x="52926" y="29345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348" name="Forma livre: Forma 1347">
              <a:extLst>
                <a:ext uri="{FF2B5EF4-FFF2-40B4-BE49-F238E27FC236}">
                  <a16:creationId xmlns:a16="http://schemas.microsoft.com/office/drawing/2014/main" id="{5FE6CE7C-FC7D-BA03-CF9E-5A57AAEE41F8}"/>
                </a:ext>
              </a:extLst>
            </p:cNvPr>
            <p:cNvSpPr/>
            <p:nvPr/>
          </p:nvSpPr>
          <p:spPr>
            <a:xfrm>
              <a:off x="5072921" y="4343838"/>
              <a:ext cx="201968" cy="23878"/>
            </a:xfrm>
            <a:custGeom>
              <a:avLst/>
              <a:gdLst>
                <a:gd name="connsiteX0" fmla="*/ 0 w 201968"/>
                <a:gd name="connsiteY0" fmla="*/ 4986 h 23878"/>
                <a:gd name="connsiteX1" fmla="*/ 84398 w 201968"/>
                <a:gd name="connsiteY1" fmla="*/ 11318 h 23878"/>
                <a:gd name="connsiteX2" fmla="*/ 201968 w 201968"/>
                <a:gd name="connsiteY2" fmla="*/ 9475 h 238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01968" h="23878">
                  <a:moveTo>
                    <a:pt x="0" y="4986"/>
                  </a:moveTo>
                  <a:cubicBezTo>
                    <a:pt x="22635" y="-543"/>
                    <a:pt x="57793" y="-4843"/>
                    <a:pt x="84398" y="11318"/>
                  </a:cubicBezTo>
                  <a:cubicBezTo>
                    <a:pt x="132692" y="40616"/>
                    <a:pt x="201968" y="9475"/>
                    <a:pt x="201968" y="9475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349" name="Forma livre: Forma 1348">
              <a:extLst>
                <a:ext uri="{FF2B5EF4-FFF2-40B4-BE49-F238E27FC236}">
                  <a16:creationId xmlns:a16="http://schemas.microsoft.com/office/drawing/2014/main" id="{A100B422-10D0-65C0-6A80-A38133F2071D}"/>
                </a:ext>
              </a:extLst>
            </p:cNvPr>
            <p:cNvSpPr/>
            <p:nvPr/>
          </p:nvSpPr>
          <p:spPr>
            <a:xfrm>
              <a:off x="5206653" y="4401749"/>
              <a:ext cx="7371" cy="7371"/>
            </a:xfrm>
            <a:custGeom>
              <a:avLst/>
              <a:gdLst>
                <a:gd name="connsiteX0" fmla="*/ 7372 w 7371"/>
                <a:gd name="connsiteY0" fmla="*/ 3686 h 7371"/>
                <a:gd name="connsiteX1" fmla="*/ 3686 w 7371"/>
                <a:gd name="connsiteY1" fmla="*/ 7372 h 7371"/>
                <a:gd name="connsiteX2" fmla="*/ 0 w 7371"/>
                <a:gd name="connsiteY2" fmla="*/ 3686 h 7371"/>
                <a:gd name="connsiteX3" fmla="*/ 3686 w 7371"/>
                <a:gd name="connsiteY3" fmla="*/ 0 h 7371"/>
                <a:gd name="connsiteX4" fmla="*/ 7372 w 7371"/>
                <a:gd name="connsiteY4" fmla="*/ 3686 h 73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371" h="7371">
                  <a:moveTo>
                    <a:pt x="7372" y="3686"/>
                  </a:moveTo>
                  <a:cubicBezTo>
                    <a:pt x="7372" y="5718"/>
                    <a:pt x="5718" y="7372"/>
                    <a:pt x="3686" y="7372"/>
                  </a:cubicBezTo>
                  <a:cubicBezTo>
                    <a:pt x="1654" y="7372"/>
                    <a:pt x="0" y="5718"/>
                    <a:pt x="0" y="3686"/>
                  </a:cubicBezTo>
                  <a:cubicBezTo>
                    <a:pt x="0" y="1654"/>
                    <a:pt x="1654" y="0"/>
                    <a:pt x="3686" y="0"/>
                  </a:cubicBezTo>
                  <a:cubicBezTo>
                    <a:pt x="5718" y="0"/>
                    <a:pt x="7372" y="1654"/>
                    <a:pt x="7372" y="3686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350" name="Forma livre: Forma 1349">
              <a:extLst>
                <a:ext uri="{FF2B5EF4-FFF2-40B4-BE49-F238E27FC236}">
                  <a16:creationId xmlns:a16="http://schemas.microsoft.com/office/drawing/2014/main" id="{F31DE8FF-C6ED-3C84-C4F4-B1C1C3391A18}"/>
                </a:ext>
              </a:extLst>
            </p:cNvPr>
            <p:cNvSpPr/>
            <p:nvPr/>
          </p:nvSpPr>
          <p:spPr>
            <a:xfrm>
              <a:off x="5146072" y="4419564"/>
              <a:ext cx="7371" cy="7371"/>
            </a:xfrm>
            <a:custGeom>
              <a:avLst/>
              <a:gdLst>
                <a:gd name="connsiteX0" fmla="*/ 7372 w 7371"/>
                <a:gd name="connsiteY0" fmla="*/ 3686 h 7371"/>
                <a:gd name="connsiteX1" fmla="*/ 3686 w 7371"/>
                <a:gd name="connsiteY1" fmla="*/ 7372 h 7371"/>
                <a:gd name="connsiteX2" fmla="*/ 0 w 7371"/>
                <a:gd name="connsiteY2" fmla="*/ 3686 h 7371"/>
                <a:gd name="connsiteX3" fmla="*/ 3686 w 7371"/>
                <a:gd name="connsiteY3" fmla="*/ 0 h 7371"/>
                <a:gd name="connsiteX4" fmla="*/ 7372 w 7371"/>
                <a:gd name="connsiteY4" fmla="*/ 3686 h 73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371" h="7371">
                  <a:moveTo>
                    <a:pt x="7372" y="3686"/>
                  </a:moveTo>
                  <a:cubicBezTo>
                    <a:pt x="7372" y="5718"/>
                    <a:pt x="5718" y="7372"/>
                    <a:pt x="3686" y="7372"/>
                  </a:cubicBezTo>
                  <a:cubicBezTo>
                    <a:pt x="1654" y="7372"/>
                    <a:pt x="0" y="5718"/>
                    <a:pt x="0" y="3686"/>
                  </a:cubicBezTo>
                  <a:cubicBezTo>
                    <a:pt x="0" y="1654"/>
                    <a:pt x="1654" y="0"/>
                    <a:pt x="3686" y="0"/>
                  </a:cubicBezTo>
                  <a:cubicBezTo>
                    <a:pt x="5718" y="0"/>
                    <a:pt x="7372" y="1654"/>
                    <a:pt x="7372" y="3686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351" name="Forma livre: Forma 1350">
              <a:extLst>
                <a:ext uri="{FF2B5EF4-FFF2-40B4-BE49-F238E27FC236}">
                  <a16:creationId xmlns:a16="http://schemas.microsoft.com/office/drawing/2014/main" id="{403A4EBC-F114-1D93-CF43-2CA45F08BE02}"/>
                </a:ext>
              </a:extLst>
            </p:cNvPr>
            <p:cNvSpPr/>
            <p:nvPr/>
          </p:nvSpPr>
          <p:spPr>
            <a:xfrm>
              <a:off x="5114080" y="4402127"/>
              <a:ext cx="7371" cy="7371"/>
            </a:xfrm>
            <a:custGeom>
              <a:avLst/>
              <a:gdLst>
                <a:gd name="connsiteX0" fmla="*/ 7372 w 7371"/>
                <a:gd name="connsiteY0" fmla="*/ 3686 h 7371"/>
                <a:gd name="connsiteX1" fmla="*/ 3686 w 7371"/>
                <a:gd name="connsiteY1" fmla="*/ 7372 h 7371"/>
                <a:gd name="connsiteX2" fmla="*/ 0 w 7371"/>
                <a:gd name="connsiteY2" fmla="*/ 3686 h 7371"/>
                <a:gd name="connsiteX3" fmla="*/ 3686 w 7371"/>
                <a:gd name="connsiteY3" fmla="*/ 0 h 7371"/>
                <a:gd name="connsiteX4" fmla="*/ 7372 w 7371"/>
                <a:gd name="connsiteY4" fmla="*/ 3686 h 73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371" h="7371">
                  <a:moveTo>
                    <a:pt x="7372" y="3686"/>
                  </a:moveTo>
                  <a:cubicBezTo>
                    <a:pt x="7372" y="5718"/>
                    <a:pt x="5718" y="7372"/>
                    <a:pt x="3686" y="7372"/>
                  </a:cubicBezTo>
                  <a:cubicBezTo>
                    <a:pt x="1654" y="7372"/>
                    <a:pt x="0" y="5718"/>
                    <a:pt x="0" y="3686"/>
                  </a:cubicBezTo>
                  <a:cubicBezTo>
                    <a:pt x="0" y="1654"/>
                    <a:pt x="1654" y="0"/>
                    <a:pt x="3686" y="0"/>
                  </a:cubicBezTo>
                  <a:cubicBezTo>
                    <a:pt x="5718" y="0"/>
                    <a:pt x="7372" y="1654"/>
                    <a:pt x="7372" y="3686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352" name="Gráfico 15">
            <a:extLst>
              <a:ext uri="{FF2B5EF4-FFF2-40B4-BE49-F238E27FC236}">
                <a16:creationId xmlns:a16="http://schemas.microsoft.com/office/drawing/2014/main" id="{8C0CB373-75D6-EA6C-6769-926F7B865A28}"/>
              </a:ext>
            </a:extLst>
          </p:cNvPr>
          <p:cNvGrpSpPr/>
          <p:nvPr/>
        </p:nvGrpSpPr>
        <p:grpSpPr>
          <a:xfrm>
            <a:off x="5606059" y="4140948"/>
            <a:ext cx="344058" cy="291342"/>
            <a:chOff x="5606059" y="4140948"/>
            <a:chExt cx="344058" cy="291342"/>
          </a:xfrm>
          <a:noFill/>
        </p:grpSpPr>
        <p:sp>
          <p:nvSpPr>
            <p:cNvPr id="1353" name="Forma livre: Forma 1352">
              <a:extLst>
                <a:ext uri="{FF2B5EF4-FFF2-40B4-BE49-F238E27FC236}">
                  <a16:creationId xmlns:a16="http://schemas.microsoft.com/office/drawing/2014/main" id="{19EAB271-8FF7-D466-8E92-390E4A5DF4AD}"/>
                </a:ext>
              </a:extLst>
            </p:cNvPr>
            <p:cNvSpPr/>
            <p:nvPr/>
          </p:nvSpPr>
          <p:spPr>
            <a:xfrm>
              <a:off x="5670556" y="4216595"/>
              <a:ext cx="214404" cy="157699"/>
            </a:xfrm>
            <a:custGeom>
              <a:avLst/>
              <a:gdLst>
                <a:gd name="connsiteX0" fmla="*/ 0 w 214404"/>
                <a:gd name="connsiteY0" fmla="*/ 91164 h 157699"/>
                <a:gd name="connsiteX1" fmla="*/ 4158 w 214404"/>
                <a:gd name="connsiteY1" fmla="*/ 73963 h 157699"/>
                <a:gd name="connsiteX2" fmla="*/ 140395 w 214404"/>
                <a:gd name="connsiteY2" fmla="*/ 5490 h 157699"/>
                <a:gd name="connsiteX3" fmla="*/ 208915 w 214404"/>
                <a:gd name="connsiteY3" fmla="*/ 141727 h 157699"/>
                <a:gd name="connsiteX4" fmla="*/ 202157 w 214404"/>
                <a:gd name="connsiteY4" fmla="*/ 157699 h 1576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14404" h="157699">
                  <a:moveTo>
                    <a:pt x="0" y="91164"/>
                  </a:moveTo>
                  <a:cubicBezTo>
                    <a:pt x="898" y="85446"/>
                    <a:pt x="2268" y="79681"/>
                    <a:pt x="4158" y="73963"/>
                  </a:cubicBezTo>
                  <a:cubicBezTo>
                    <a:pt x="22872" y="17446"/>
                    <a:pt x="83878" y="-13223"/>
                    <a:pt x="140395" y="5490"/>
                  </a:cubicBezTo>
                  <a:cubicBezTo>
                    <a:pt x="196959" y="24203"/>
                    <a:pt x="227628" y="85210"/>
                    <a:pt x="208915" y="141727"/>
                  </a:cubicBezTo>
                  <a:cubicBezTo>
                    <a:pt x="207072" y="147303"/>
                    <a:pt x="204804" y="152643"/>
                    <a:pt x="202157" y="157699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354" name="Forma livre: Forma 1353">
              <a:extLst>
                <a:ext uri="{FF2B5EF4-FFF2-40B4-BE49-F238E27FC236}">
                  <a16:creationId xmlns:a16="http://schemas.microsoft.com/office/drawing/2014/main" id="{A6726151-88FA-054B-098E-621F318B8955}"/>
                </a:ext>
              </a:extLst>
            </p:cNvPr>
            <p:cNvSpPr/>
            <p:nvPr/>
          </p:nvSpPr>
          <p:spPr>
            <a:xfrm>
              <a:off x="5669989" y="4337246"/>
              <a:ext cx="185712" cy="95045"/>
            </a:xfrm>
            <a:custGeom>
              <a:avLst/>
              <a:gdLst>
                <a:gd name="connsiteX0" fmla="*/ 185713 w 185712"/>
                <a:gd name="connsiteY0" fmla="*/ 61101 h 95045"/>
                <a:gd name="connsiteX1" fmla="*/ 73245 w 185712"/>
                <a:gd name="connsiteY1" fmla="*/ 89548 h 95045"/>
                <a:gd name="connsiteX2" fmla="*/ 0 w 185712"/>
                <a:gd name="connsiteY2" fmla="*/ 0 h 950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85712" h="95045">
                  <a:moveTo>
                    <a:pt x="185713" y="61101"/>
                  </a:moveTo>
                  <a:cubicBezTo>
                    <a:pt x="157879" y="90683"/>
                    <a:pt x="114357" y="103158"/>
                    <a:pt x="73245" y="89548"/>
                  </a:cubicBezTo>
                  <a:cubicBezTo>
                    <a:pt x="32275" y="75986"/>
                    <a:pt x="4867" y="40214"/>
                    <a:pt x="0" y="0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355" name="Forma livre: Forma 1354">
              <a:extLst>
                <a:ext uri="{FF2B5EF4-FFF2-40B4-BE49-F238E27FC236}">
                  <a16:creationId xmlns:a16="http://schemas.microsoft.com/office/drawing/2014/main" id="{31C5D11D-5839-A701-9C62-6A3F752BB61E}"/>
                </a:ext>
              </a:extLst>
            </p:cNvPr>
            <p:cNvSpPr/>
            <p:nvPr/>
          </p:nvSpPr>
          <p:spPr>
            <a:xfrm>
              <a:off x="5606059" y="4248663"/>
              <a:ext cx="342067" cy="151740"/>
            </a:xfrm>
            <a:custGeom>
              <a:avLst/>
              <a:gdLst>
                <a:gd name="connsiteX0" fmla="*/ 303655 w 342067"/>
                <a:gd name="connsiteY0" fmla="*/ 80030 h 151740"/>
                <a:gd name="connsiteX1" fmla="*/ 341223 w 342067"/>
                <a:gd name="connsiteY1" fmla="*/ 132200 h 151740"/>
                <a:gd name="connsiteX2" fmla="*/ 154188 w 342067"/>
                <a:gd name="connsiteY2" fmla="*/ 126671 h 151740"/>
                <a:gd name="connsiteX3" fmla="*/ 845 w 342067"/>
                <a:gd name="connsiteY3" fmla="*/ 19544 h 151740"/>
                <a:gd name="connsiteX4" fmla="*/ 61520 w 342067"/>
                <a:gd name="connsiteY4" fmla="*/ 75 h 1517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067" h="151740">
                  <a:moveTo>
                    <a:pt x="303655" y="80030"/>
                  </a:moveTo>
                  <a:cubicBezTo>
                    <a:pt x="331158" y="99310"/>
                    <a:pt x="345854" y="118212"/>
                    <a:pt x="341223" y="132200"/>
                  </a:cubicBezTo>
                  <a:cubicBezTo>
                    <a:pt x="331914" y="160269"/>
                    <a:pt x="248225" y="157812"/>
                    <a:pt x="154188" y="126671"/>
                  </a:cubicBezTo>
                  <a:cubicBezTo>
                    <a:pt x="60244" y="95577"/>
                    <a:pt x="-8464" y="47613"/>
                    <a:pt x="845" y="19544"/>
                  </a:cubicBezTo>
                  <a:cubicBezTo>
                    <a:pt x="5428" y="5651"/>
                    <a:pt x="28253" y="-776"/>
                    <a:pt x="61520" y="75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356" name="Gráfico 15">
              <a:extLst>
                <a:ext uri="{FF2B5EF4-FFF2-40B4-BE49-F238E27FC236}">
                  <a16:creationId xmlns:a16="http://schemas.microsoft.com/office/drawing/2014/main" id="{C4D2A7D4-76A0-417D-D9A2-42CB4EAB0F7A}"/>
                </a:ext>
              </a:extLst>
            </p:cNvPr>
            <p:cNvGrpSpPr/>
            <p:nvPr/>
          </p:nvGrpSpPr>
          <p:grpSpPr>
            <a:xfrm>
              <a:off x="5914771" y="4234419"/>
              <a:ext cx="35346" cy="35394"/>
              <a:chOff x="5914771" y="4234419"/>
              <a:chExt cx="35346" cy="35394"/>
            </a:xfrm>
          </p:grpSpPr>
          <p:sp>
            <p:nvSpPr>
              <p:cNvPr id="1357" name="Forma livre: Forma 1356">
                <a:extLst>
                  <a:ext uri="{FF2B5EF4-FFF2-40B4-BE49-F238E27FC236}">
                    <a16:creationId xmlns:a16="http://schemas.microsoft.com/office/drawing/2014/main" id="{626B3D74-16DB-87A1-0F07-18D364E44D04}"/>
                  </a:ext>
                </a:extLst>
              </p:cNvPr>
              <p:cNvSpPr/>
              <p:nvPr/>
            </p:nvSpPr>
            <p:spPr>
              <a:xfrm>
                <a:off x="5932444" y="4234419"/>
                <a:ext cx="4725" cy="35394"/>
              </a:xfrm>
              <a:custGeom>
                <a:avLst/>
                <a:gdLst>
                  <a:gd name="connsiteX0" fmla="*/ 0 w 4725"/>
                  <a:gd name="connsiteY0" fmla="*/ 0 h 35394"/>
                  <a:gd name="connsiteX1" fmla="*/ 0 w 4725"/>
                  <a:gd name="connsiteY1" fmla="*/ 35394 h 353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25" h="35394">
                    <a:moveTo>
                      <a:pt x="0" y="0"/>
                    </a:moveTo>
                    <a:lnTo>
                      <a:pt x="0" y="35394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358" name="Forma livre: Forma 1357">
                <a:extLst>
                  <a:ext uri="{FF2B5EF4-FFF2-40B4-BE49-F238E27FC236}">
                    <a16:creationId xmlns:a16="http://schemas.microsoft.com/office/drawing/2014/main" id="{F822E456-1CAC-2B9D-5BE5-2EF66174642E}"/>
                  </a:ext>
                </a:extLst>
              </p:cNvPr>
              <p:cNvSpPr/>
              <p:nvPr/>
            </p:nvSpPr>
            <p:spPr>
              <a:xfrm>
                <a:off x="5914771" y="4252139"/>
                <a:ext cx="35346" cy="4725"/>
              </a:xfrm>
              <a:custGeom>
                <a:avLst/>
                <a:gdLst>
                  <a:gd name="connsiteX0" fmla="*/ 35347 w 35346"/>
                  <a:gd name="connsiteY0" fmla="*/ 0 h 4725"/>
                  <a:gd name="connsiteX1" fmla="*/ 0 w 35346"/>
                  <a:gd name="connsiteY1" fmla="*/ 0 h 47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5346" h="4725">
                    <a:moveTo>
                      <a:pt x="35347" y="0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359" name="Gráfico 15">
              <a:extLst>
                <a:ext uri="{FF2B5EF4-FFF2-40B4-BE49-F238E27FC236}">
                  <a16:creationId xmlns:a16="http://schemas.microsoft.com/office/drawing/2014/main" id="{11B78571-BBF0-105B-BADC-AEC324795881}"/>
                </a:ext>
              </a:extLst>
            </p:cNvPr>
            <p:cNvGrpSpPr/>
            <p:nvPr/>
          </p:nvGrpSpPr>
          <p:grpSpPr>
            <a:xfrm>
              <a:off x="5875927" y="4184187"/>
              <a:ext cx="35394" cy="35394"/>
              <a:chOff x="5875927" y="4184187"/>
              <a:chExt cx="35394" cy="35394"/>
            </a:xfrm>
          </p:grpSpPr>
          <p:sp>
            <p:nvSpPr>
              <p:cNvPr id="1360" name="Forma livre: Forma 1359">
                <a:extLst>
                  <a:ext uri="{FF2B5EF4-FFF2-40B4-BE49-F238E27FC236}">
                    <a16:creationId xmlns:a16="http://schemas.microsoft.com/office/drawing/2014/main" id="{08F65285-AE80-9D8F-5F38-8E2FF7E25749}"/>
                  </a:ext>
                </a:extLst>
              </p:cNvPr>
              <p:cNvSpPr/>
              <p:nvPr/>
            </p:nvSpPr>
            <p:spPr>
              <a:xfrm>
                <a:off x="5893600" y="4184187"/>
                <a:ext cx="4725" cy="35394"/>
              </a:xfrm>
              <a:custGeom>
                <a:avLst/>
                <a:gdLst>
                  <a:gd name="connsiteX0" fmla="*/ 0 w 4725"/>
                  <a:gd name="connsiteY0" fmla="*/ 0 h 35394"/>
                  <a:gd name="connsiteX1" fmla="*/ 0 w 4725"/>
                  <a:gd name="connsiteY1" fmla="*/ 35394 h 353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25" h="35394">
                    <a:moveTo>
                      <a:pt x="0" y="0"/>
                    </a:moveTo>
                    <a:lnTo>
                      <a:pt x="0" y="35394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361" name="Forma livre: Forma 1360">
                <a:extLst>
                  <a:ext uri="{FF2B5EF4-FFF2-40B4-BE49-F238E27FC236}">
                    <a16:creationId xmlns:a16="http://schemas.microsoft.com/office/drawing/2014/main" id="{BE71118A-C024-EADA-A718-DF82893A7E46}"/>
                  </a:ext>
                </a:extLst>
              </p:cNvPr>
              <p:cNvSpPr/>
              <p:nvPr/>
            </p:nvSpPr>
            <p:spPr>
              <a:xfrm>
                <a:off x="5875927" y="4201907"/>
                <a:ext cx="35394" cy="4725"/>
              </a:xfrm>
              <a:custGeom>
                <a:avLst/>
                <a:gdLst>
                  <a:gd name="connsiteX0" fmla="*/ 35394 w 35394"/>
                  <a:gd name="connsiteY0" fmla="*/ 0 h 4725"/>
                  <a:gd name="connsiteX1" fmla="*/ 0 w 35394"/>
                  <a:gd name="connsiteY1" fmla="*/ 0 h 47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5394" h="4725">
                    <a:moveTo>
                      <a:pt x="35394" y="0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362" name="Gráfico 15">
              <a:extLst>
                <a:ext uri="{FF2B5EF4-FFF2-40B4-BE49-F238E27FC236}">
                  <a16:creationId xmlns:a16="http://schemas.microsoft.com/office/drawing/2014/main" id="{5B9C519C-D135-A828-AEE2-CA576792438D}"/>
                </a:ext>
              </a:extLst>
            </p:cNvPr>
            <p:cNvGrpSpPr/>
            <p:nvPr/>
          </p:nvGrpSpPr>
          <p:grpSpPr>
            <a:xfrm>
              <a:off x="5714362" y="4140948"/>
              <a:ext cx="35394" cy="35394"/>
              <a:chOff x="5714362" y="4140948"/>
              <a:chExt cx="35394" cy="35394"/>
            </a:xfrm>
          </p:grpSpPr>
          <p:sp>
            <p:nvSpPr>
              <p:cNvPr id="1363" name="Forma livre: Forma 1362">
                <a:extLst>
                  <a:ext uri="{FF2B5EF4-FFF2-40B4-BE49-F238E27FC236}">
                    <a16:creationId xmlns:a16="http://schemas.microsoft.com/office/drawing/2014/main" id="{B2052C86-B700-4E23-3576-C1E16CB0A637}"/>
                  </a:ext>
                </a:extLst>
              </p:cNvPr>
              <p:cNvSpPr/>
              <p:nvPr/>
            </p:nvSpPr>
            <p:spPr>
              <a:xfrm>
                <a:off x="5732035" y="4140948"/>
                <a:ext cx="4725" cy="35394"/>
              </a:xfrm>
              <a:custGeom>
                <a:avLst/>
                <a:gdLst>
                  <a:gd name="connsiteX0" fmla="*/ 0 w 4725"/>
                  <a:gd name="connsiteY0" fmla="*/ 0 h 35394"/>
                  <a:gd name="connsiteX1" fmla="*/ 0 w 4725"/>
                  <a:gd name="connsiteY1" fmla="*/ 35394 h 353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25" h="35394">
                    <a:moveTo>
                      <a:pt x="0" y="0"/>
                    </a:moveTo>
                    <a:lnTo>
                      <a:pt x="0" y="35394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364" name="Forma livre: Forma 1363">
                <a:extLst>
                  <a:ext uri="{FF2B5EF4-FFF2-40B4-BE49-F238E27FC236}">
                    <a16:creationId xmlns:a16="http://schemas.microsoft.com/office/drawing/2014/main" id="{9EE853CF-B769-7514-AEF4-42E7AAD28A8C}"/>
                  </a:ext>
                </a:extLst>
              </p:cNvPr>
              <p:cNvSpPr/>
              <p:nvPr/>
            </p:nvSpPr>
            <p:spPr>
              <a:xfrm>
                <a:off x="5714362" y="4158622"/>
                <a:ext cx="35394" cy="4725"/>
              </a:xfrm>
              <a:custGeom>
                <a:avLst/>
                <a:gdLst>
                  <a:gd name="connsiteX0" fmla="*/ 35394 w 35394"/>
                  <a:gd name="connsiteY0" fmla="*/ 0 h 4725"/>
                  <a:gd name="connsiteX1" fmla="*/ 0 w 35394"/>
                  <a:gd name="connsiteY1" fmla="*/ 0 h 47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5394" h="4725">
                    <a:moveTo>
                      <a:pt x="35394" y="0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365" name="Gráfico 15">
            <a:extLst>
              <a:ext uri="{FF2B5EF4-FFF2-40B4-BE49-F238E27FC236}">
                <a16:creationId xmlns:a16="http://schemas.microsoft.com/office/drawing/2014/main" id="{451AC8CA-E89A-EBF8-4782-C2088327CC9C}"/>
              </a:ext>
            </a:extLst>
          </p:cNvPr>
          <p:cNvGrpSpPr/>
          <p:nvPr/>
        </p:nvGrpSpPr>
        <p:grpSpPr>
          <a:xfrm>
            <a:off x="4403145" y="4695959"/>
            <a:ext cx="288568" cy="288587"/>
            <a:chOff x="4403145" y="4695959"/>
            <a:chExt cx="288568" cy="288587"/>
          </a:xfrm>
        </p:grpSpPr>
        <p:sp>
          <p:nvSpPr>
            <p:cNvPr id="1366" name="Forma livre: Forma 1365">
              <a:extLst>
                <a:ext uri="{FF2B5EF4-FFF2-40B4-BE49-F238E27FC236}">
                  <a16:creationId xmlns:a16="http://schemas.microsoft.com/office/drawing/2014/main" id="{8240F345-4D17-082A-890B-8CC17C43AD0C}"/>
                </a:ext>
              </a:extLst>
            </p:cNvPr>
            <p:cNvSpPr/>
            <p:nvPr/>
          </p:nvSpPr>
          <p:spPr>
            <a:xfrm>
              <a:off x="4403145" y="4745530"/>
              <a:ext cx="238998" cy="239016"/>
            </a:xfrm>
            <a:custGeom>
              <a:avLst/>
              <a:gdLst>
                <a:gd name="connsiteX0" fmla="*/ 238998 w 238998"/>
                <a:gd name="connsiteY0" fmla="*/ 67953 h 239016"/>
                <a:gd name="connsiteX1" fmla="*/ 84805 w 238998"/>
                <a:gd name="connsiteY1" fmla="*/ 222146 h 239016"/>
                <a:gd name="connsiteX2" fmla="*/ 12930 w 238998"/>
                <a:gd name="connsiteY2" fmla="*/ 226068 h 239016"/>
                <a:gd name="connsiteX3" fmla="*/ 16852 w 238998"/>
                <a:gd name="connsiteY3" fmla="*/ 154193 h 239016"/>
                <a:gd name="connsiteX4" fmla="*/ 171045 w 238998"/>
                <a:gd name="connsiteY4" fmla="*/ 0 h 2390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8998" h="239016">
                  <a:moveTo>
                    <a:pt x="238998" y="67953"/>
                  </a:moveTo>
                  <a:lnTo>
                    <a:pt x="84805" y="222146"/>
                  </a:lnTo>
                  <a:cubicBezTo>
                    <a:pt x="63965" y="242986"/>
                    <a:pt x="31643" y="244781"/>
                    <a:pt x="12930" y="226068"/>
                  </a:cubicBezTo>
                  <a:cubicBezTo>
                    <a:pt x="-5736" y="207403"/>
                    <a:pt x="-3988" y="175033"/>
                    <a:pt x="16852" y="154193"/>
                  </a:cubicBezTo>
                  <a:lnTo>
                    <a:pt x="171045" y="0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367" name="Forma livre: Forma 1366">
              <a:extLst>
                <a:ext uri="{FF2B5EF4-FFF2-40B4-BE49-F238E27FC236}">
                  <a16:creationId xmlns:a16="http://schemas.microsoft.com/office/drawing/2014/main" id="{8BDF6C02-D448-C339-7D9D-D70D46C77990}"/>
                </a:ext>
              </a:extLst>
            </p:cNvPr>
            <p:cNvSpPr/>
            <p:nvPr/>
          </p:nvSpPr>
          <p:spPr>
            <a:xfrm>
              <a:off x="4569347" y="4717389"/>
              <a:ext cx="100936" cy="100936"/>
            </a:xfrm>
            <a:custGeom>
              <a:avLst/>
              <a:gdLst>
                <a:gd name="connsiteX0" fmla="*/ 14625 w 100936"/>
                <a:gd name="connsiteY0" fmla="*/ 35370 h 100936"/>
                <a:gd name="connsiteX1" fmla="*/ 3899 w 100936"/>
                <a:gd name="connsiteY1" fmla="*/ 24644 h 100936"/>
                <a:gd name="connsiteX2" fmla="*/ 3899 w 100936"/>
                <a:gd name="connsiteY2" fmla="*/ 5694 h 100936"/>
                <a:gd name="connsiteX3" fmla="*/ 5694 w 100936"/>
                <a:gd name="connsiteY3" fmla="*/ 3899 h 100936"/>
                <a:gd name="connsiteX4" fmla="*/ 24644 w 100936"/>
                <a:gd name="connsiteY4" fmla="*/ 3899 h 100936"/>
                <a:gd name="connsiteX5" fmla="*/ 97038 w 100936"/>
                <a:gd name="connsiteY5" fmla="*/ 76293 h 100936"/>
                <a:gd name="connsiteX6" fmla="*/ 97038 w 100936"/>
                <a:gd name="connsiteY6" fmla="*/ 95243 h 100936"/>
                <a:gd name="connsiteX7" fmla="*/ 95243 w 100936"/>
                <a:gd name="connsiteY7" fmla="*/ 97038 h 100936"/>
                <a:gd name="connsiteX8" fmla="*/ 76293 w 100936"/>
                <a:gd name="connsiteY8" fmla="*/ 97038 h 100936"/>
                <a:gd name="connsiteX9" fmla="*/ 35607 w 100936"/>
                <a:gd name="connsiteY9" fmla="*/ 56352 h 1009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00936" h="100936">
                  <a:moveTo>
                    <a:pt x="14625" y="35370"/>
                  </a:moveTo>
                  <a:lnTo>
                    <a:pt x="3899" y="24644"/>
                  </a:lnTo>
                  <a:cubicBezTo>
                    <a:pt x="-1300" y="19445"/>
                    <a:pt x="-1300" y="10892"/>
                    <a:pt x="3899" y="5694"/>
                  </a:cubicBezTo>
                  <a:lnTo>
                    <a:pt x="5694" y="3899"/>
                  </a:lnTo>
                  <a:cubicBezTo>
                    <a:pt x="10892" y="-1300"/>
                    <a:pt x="19445" y="-1300"/>
                    <a:pt x="24644" y="3899"/>
                  </a:cubicBezTo>
                  <a:lnTo>
                    <a:pt x="97038" y="76293"/>
                  </a:lnTo>
                  <a:cubicBezTo>
                    <a:pt x="102236" y="81491"/>
                    <a:pt x="102236" y="90045"/>
                    <a:pt x="97038" y="95243"/>
                  </a:cubicBezTo>
                  <a:lnTo>
                    <a:pt x="95243" y="97038"/>
                  </a:lnTo>
                  <a:cubicBezTo>
                    <a:pt x="90045" y="102236"/>
                    <a:pt x="81491" y="102236"/>
                    <a:pt x="76293" y="97038"/>
                  </a:cubicBezTo>
                  <a:lnTo>
                    <a:pt x="35607" y="56352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368" name="Forma livre: Forma 1367">
              <a:extLst>
                <a:ext uri="{FF2B5EF4-FFF2-40B4-BE49-F238E27FC236}">
                  <a16:creationId xmlns:a16="http://schemas.microsoft.com/office/drawing/2014/main" id="{C1A86836-1A8D-3B9D-B746-208B1C556020}"/>
                </a:ext>
              </a:extLst>
            </p:cNvPr>
            <p:cNvSpPr/>
            <p:nvPr/>
          </p:nvSpPr>
          <p:spPr>
            <a:xfrm>
              <a:off x="4500898" y="4853980"/>
              <a:ext cx="99377" cy="4725"/>
            </a:xfrm>
            <a:custGeom>
              <a:avLst/>
              <a:gdLst>
                <a:gd name="connsiteX0" fmla="*/ 99377 w 99377"/>
                <a:gd name="connsiteY0" fmla="*/ 0 h 4725"/>
                <a:gd name="connsiteX1" fmla="*/ 0 w 99377"/>
                <a:gd name="connsiteY1" fmla="*/ 0 h 47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9377" h="4725">
                  <a:moveTo>
                    <a:pt x="99377" y="0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369" name="Forma livre: Forma 1368">
              <a:extLst>
                <a:ext uri="{FF2B5EF4-FFF2-40B4-BE49-F238E27FC236}">
                  <a16:creationId xmlns:a16="http://schemas.microsoft.com/office/drawing/2014/main" id="{162BF27C-FB5A-F09B-3C46-35FD1214B06E}"/>
                </a:ext>
              </a:extLst>
            </p:cNvPr>
            <p:cNvSpPr/>
            <p:nvPr/>
          </p:nvSpPr>
          <p:spPr>
            <a:xfrm>
              <a:off x="4605001" y="4695959"/>
              <a:ext cx="86713" cy="87185"/>
            </a:xfrm>
            <a:custGeom>
              <a:avLst/>
              <a:gdLst>
                <a:gd name="connsiteX0" fmla="*/ 0 w 86713"/>
                <a:gd name="connsiteY0" fmla="*/ 34922 h 87185"/>
                <a:gd name="connsiteX1" fmla="*/ 34922 w 86713"/>
                <a:gd name="connsiteY1" fmla="*/ 0 h 87185"/>
                <a:gd name="connsiteX2" fmla="*/ 86713 w 86713"/>
                <a:gd name="connsiteY2" fmla="*/ 51792 h 87185"/>
                <a:gd name="connsiteX3" fmla="*/ 51319 w 86713"/>
                <a:gd name="connsiteY3" fmla="*/ 87186 h 871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6713" h="87185">
                  <a:moveTo>
                    <a:pt x="0" y="34922"/>
                  </a:moveTo>
                  <a:lnTo>
                    <a:pt x="34922" y="0"/>
                  </a:lnTo>
                  <a:lnTo>
                    <a:pt x="86713" y="51792"/>
                  </a:lnTo>
                  <a:lnTo>
                    <a:pt x="51319" y="87186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370" name="Forma livre: Forma 1369">
              <a:extLst>
                <a:ext uri="{FF2B5EF4-FFF2-40B4-BE49-F238E27FC236}">
                  <a16:creationId xmlns:a16="http://schemas.microsoft.com/office/drawing/2014/main" id="{FB11F8C9-1FCB-A336-BDC2-9C3A2A4D39A8}"/>
                </a:ext>
              </a:extLst>
            </p:cNvPr>
            <p:cNvSpPr/>
            <p:nvPr/>
          </p:nvSpPr>
          <p:spPr>
            <a:xfrm>
              <a:off x="4501707" y="4899209"/>
              <a:ext cx="7360" cy="7360"/>
            </a:xfrm>
            <a:custGeom>
              <a:avLst/>
              <a:gdLst>
                <a:gd name="connsiteX0" fmla="*/ 6279 w 7360"/>
                <a:gd name="connsiteY0" fmla="*/ 6279 h 7360"/>
                <a:gd name="connsiteX1" fmla="*/ 1081 w 7360"/>
                <a:gd name="connsiteY1" fmla="*/ 6279 h 7360"/>
                <a:gd name="connsiteX2" fmla="*/ 1081 w 7360"/>
                <a:gd name="connsiteY2" fmla="*/ 1081 h 7360"/>
                <a:gd name="connsiteX3" fmla="*/ 6279 w 7360"/>
                <a:gd name="connsiteY3" fmla="*/ 1081 h 7360"/>
                <a:gd name="connsiteX4" fmla="*/ 6279 w 7360"/>
                <a:gd name="connsiteY4" fmla="*/ 6279 h 73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360" h="7360">
                  <a:moveTo>
                    <a:pt x="6279" y="6279"/>
                  </a:moveTo>
                  <a:cubicBezTo>
                    <a:pt x="4861" y="7697"/>
                    <a:pt x="2499" y="7744"/>
                    <a:pt x="1081" y="6279"/>
                  </a:cubicBezTo>
                  <a:cubicBezTo>
                    <a:pt x="-337" y="4862"/>
                    <a:pt x="-384" y="2499"/>
                    <a:pt x="1081" y="1081"/>
                  </a:cubicBezTo>
                  <a:cubicBezTo>
                    <a:pt x="2546" y="-384"/>
                    <a:pt x="4861" y="-337"/>
                    <a:pt x="6279" y="1081"/>
                  </a:cubicBezTo>
                  <a:cubicBezTo>
                    <a:pt x="7744" y="2499"/>
                    <a:pt x="7697" y="4862"/>
                    <a:pt x="6279" y="6279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371" name="Forma livre: Forma 1370">
              <a:extLst>
                <a:ext uri="{FF2B5EF4-FFF2-40B4-BE49-F238E27FC236}">
                  <a16:creationId xmlns:a16="http://schemas.microsoft.com/office/drawing/2014/main" id="{1CF45F20-C40F-A008-F7EC-004B4254F32E}"/>
                </a:ext>
              </a:extLst>
            </p:cNvPr>
            <p:cNvSpPr/>
            <p:nvPr/>
          </p:nvSpPr>
          <p:spPr>
            <a:xfrm>
              <a:off x="4459886" y="4913575"/>
              <a:ext cx="7360" cy="7342"/>
            </a:xfrm>
            <a:custGeom>
              <a:avLst/>
              <a:gdLst>
                <a:gd name="connsiteX0" fmla="*/ 6279 w 7360"/>
                <a:gd name="connsiteY0" fmla="*/ 6279 h 7342"/>
                <a:gd name="connsiteX1" fmla="*/ 1081 w 7360"/>
                <a:gd name="connsiteY1" fmla="*/ 6279 h 7342"/>
                <a:gd name="connsiteX2" fmla="*/ 1081 w 7360"/>
                <a:gd name="connsiteY2" fmla="*/ 1081 h 7342"/>
                <a:gd name="connsiteX3" fmla="*/ 6279 w 7360"/>
                <a:gd name="connsiteY3" fmla="*/ 1081 h 7342"/>
                <a:gd name="connsiteX4" fmla="*/ 6279 w 7360"/>
                <a:gd name="connsiteY4" fmla="*/ 6279 h 73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360" h="7342">
                  <a:moveTo>
                    <a:pt x="6279" y="6279"/>
                  </a:moveTo>
                  <a:cubicBezTo>
                    <a:pt x="4814" y="7697"/>
                    <a:pt x="2499" y="7697"/>
                    <a:pt x="1081" y="6279"/>
                  </a:cubicBezTo>
                  <a:cubicBezTo>
                    <a:pt x="-337" y="4861"/>
                    <a:pt x="-384" y="2499"/>
                    <a:pt x="1081" y="1081"/>
                  </a:cubicBezTo>
                  <a:cubicBezTo>
                    <a:pt x="2546" y="-384"/>
                    <a:pt x="4861" y="-337"/>
                    <a:pt x="6279" y="1081"/>
                  </a:cubicBezTo>
                  <a:cubicBezTo>
                    <a:pt x="7744" y="2546"/>
                    <a:pt x="7697" y="4861"/>
                    <a:pt x="6279" y="6279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372" name="Gráfico 15">
            <a:extLst>
              <a:ext uri="{FF2B5EF4-FFF2-40B4-BE49-F238E27FC236}">
                <a16:creationId xmlns:a16="http://schemas.microsoft.com/office/drawing/2014/main" id="{8057741C-7166-5891-CF36-E74FFE954480}"/>
              </a:ext>
            </a:extLst>
          </p:cNvPr>
          <p:cNvGrpSpPr/>
          <p:nvPr/>
        </p:nvGrpSpPr>
        <p:grpSpPr>
          <a:xfrm>
            <a:off x="5030104" y="4695392"/>
            <a:ext cx="265341" cy="289720"/>
            <a:chOff x="5030104" y="4695392"/>
            <a:chExt cx="265341" cy="289720"/>
          </a:xfrm>
          <a:noFill/>
        </p:grpSpPr>
        <p:sp>
          <p:nvSpPr>
            <p:cNvPr id="1373" name="Forma livre: Forma 1372">
              <a:extLst>
                <a:ext uri="{FF2B5EF4-FFF2-40B4-BE49-F238E27FC236}">
                  <a16:creationId xmlns:a16="http://schemas.microsoft.com/office/drawing/2014/main" id="{E493D17C-B714-449B-DF6D-CBA8B97B1969}"/>
                </a:ext>
              </a:extLst>
            </p:cNvPr>
            <p:cNvSpPr/>
            <p:nvPr/>
          </p:nvSpPr>
          <p:spPr>
            <a:xfrm>
              <a:off x="5030104" y="4739434"/>
              <a:ext cx="61057" cy="207827"/>
            </a:xfrm>
            <a:custGeom>
              <a:avLst/>
              <a:gdLst>
                <a:gd name="connsiteX0" fmla="*/ 37477 w 61057"/>
                <a:gd name="connsiteY0" fmla="*/ 0 h 207827"/>
                <a:gd name="connsiteX1" fmla="*/ 25616 w 61057"/>
                <a:gd name="connsiteY1" fmla="*/ 44798 h 207827"/>
                <a:gd name="connsiteX2" fmla="*/ 20891 w 61057"/>
                <a:gd name="connsiteY2" fmla="*/ 140489 h 207827"/>
                <a:gd name="connsiteX3" fmla="*/ 61057 w 61057"/>
                <a:gd name="connsiteY3" fmla="*/ 207828 h 2078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1057" h="207827">
                  <a:moveTo>
                    <a:pt x="37477" y="0"/>
                  </a:moveTo>
                  <a:cubicBezTo>
                    <a:pt x="27506" y="5718"/>
                    <a:pt x="18906" y="18051"/>
                    <a:pt x="25616" y="44798"/>
                  </a:cubicBezTo>
                  <a:cubicBezTo>
                    <a:pt x="25616" y="44798"/>
                    <a:pt x="-28727" y="92053"/>
                    <a:pt x="20891" y="140489"/>
                  </a:cubicBezTo>
                  <a:cubicBezTo>
                    <a:pt x="20891" y="140489"/>
                    <a:pt x="6714" y="204284"/>
                    <a:pt x="61057" y="207828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374" name="Gráfico 15">
              <a:extLst>
                <a:ext uri="{FF2B5EF4-FFF2-40B4-BE49-F238E27FC236}">
                  <a16:creationId xmlns:a16="http://schemas.microsoft.com/office/drawing/2014/main" id="{BDAE84C6-94DC-2EF2-7CC2-2FD39016E941}"/>
                </a:ext>
              </a:extLst>
            </p:cNvPr>
            <p:cNvGrpSpPr/>
            <p:nvPr/>
          </p:nvGrpSpPr>
          <p:grpSpPr>
            <a:xfrm>
              <a:off x="5074480" y="4696857"/>
              <a:ext cx="93281" cy="287906"/>
              <a:chOff x="5074480" y="4696857"/>
              <a:chExt cx="93281" cy="287906"/>
            </a:xfrm>
            <a:noFill/>
          </p:grpSpPr>
          <p:sp>
            <p:nvSpPr>
              <p:cNvPr id="1375" name="Forma livre: Forma 1374">
                <a:extLst>
                  <a:ext uri="{FF2B5EF4-FFF2-40B4-BE49-F238E27FC236}">
                    <a16:creationId xmlns:a16="http://schemas.microsoft.com/office/drawing/2014/main" id="{DB695B14-48C7-4C96-3C14-14A2A3089D24}"/>
                  </a:ext>
                </a:extLst>
              </p:cNvPr>
              <p:cNvSpPr/>
              <p:nvPr/>
            </p:nvSpPr>
            <p:spPr>
              <a:xfrm>
                <a:off x="5090972" y="4696857"/>
                <a:ext cx="76789" cy="287906"/>
              </a:xfrm>
              <a:custGeom>
                <a:avLst/>
                <a:gdLst>
                  <a:gd name="connsiteX0" fmla="*/ 38418 w 76789"/>
                  <a:gd name="connsiteY0" fmla="*/ 76742 h 287906"/>
                  <a:gd name="connsiteX1" fmla="*/ 0 w 76789"/>
                  <a:gd name="connsiteY1" fmla="*/ 38371 h 287906"/>
                  <a:gd name="connsiteX2" fmla="*/ 38418 w 76789"/>
                  <a:gd name="connsiteY2" fmla="*/ 0 h 287906"/>
                  <a:gd name="connsiteX3" fmla="*/ 76790 w 76789"/>
                  <a:gd name="connsiteY3" fmla="*/ 38371 h 287906"/>
                  <a:gd name="connsiteX4" fmla="*/ 76790 w 76789"/>
                  <a:gd name="connsiteY4" fmla="*/ 251964 h 287906"/>
                  <a:gd name="connsiteX5" fmla="*/ 58549 w 76789"/>
                  <a:gd name="connsiteY5" fmla="*/ 282491 h 287906"/>
                  <a:gd name="connsiteX6" fmla="*/ 6710 w 76789"/>
                  <a:gd name="connsiteY6" fmla="*/ 269590 h 287906"/>
                  <a:gd name="connsiteX7" fmla="*/ 11247 w 76789"/>
                  <a:gd name="connsiteY7" fmla="*/ 224603 h 287906"/>
                  <a:gd name="connsiteX8" fmla="*/ 32701 w 76789"/>
                  <a:gd name="connsiteY8" fmla="*/ 201259 h 2879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76789" h="287906">
                    <a:moveTo>
                      <a:pt x="38418" y="76742"/>
                    </a:moveTo>
                    <a:cubicBezTo>
                      <a:pt x="17201" y="76742"/>
                      <a:pt x="0" y="59541"/>
                      <a:pt x="0" y="38371"/>
                    </a:cubicBezTo>
                    <a:cubicBezTo>
                      <a:pt x="0" y="17201"/>
                      <a:pt x="17201" y="0"/>
                      <a:pt x="38418" y="0"/>
                    </a:cubicBezTo>
                    <a:cubicBezTo>
                      <a:pt x="59636" y="0"/>
                      <a:pt x="76790" y="17201"/>
                      <a:pt x="76790" y="38371"/>
                    </a:cubicBezTo>
                    <a:lnTo>
                      <a:pt x="76790" y="251964"/>
                    </a:lnTo>
                    <a:cubicBezTo>
                      <a:pt x="76790" y="264818"/>
                      <a:pt x="70032" y="275592"/>
                      <a:pt x="58549" y="282491"/>
                    </a:cubicBezTo>
                    <a:cubicBezTo>
                      <a:pt x="40639" y="293265"/>
                      <a:pt x="17437" y="287453"/>
                      <a:pt x="6710" y="269590"/>
                    </a:cubicBezTo>
                    <a:cubicBezTo>
                      <a:pt x="-2126" y="254894"/>
                      <a:pt x="189" y="236606"/>
                      <a:pt x="11247" y="224603"/>
                    </a:cubicBezTo>
                    <a:lnTo>
                      <a:pt x="32701" y="201259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376" name="Forma livre: Forma 1375">
                <a:extLst>
                  <a:ext uri="{FF2B5EF4-FFF2-40B4-BE49-F238E27FC236}">
                    <a16:creationId xmlns:a16="http://schemas.microsoft.com/office/drawing/2014/main" id="{07809B3C-885A-1792-85B0-31DDCB496A25}"/>
                  </a:ext>
                </a:extLst>
              </p:cNvPr>
              <p:cNvSpPr/>
              <p:nvPr/>
            </p:nvSpPr>
            <p:spPr>
              <a:xfrm>
                <a:off x="5135203" y="4714200"/>
                <a:ext cx="30190" cy="28301"/>
              </a:xfrm>
              <a:custGeom>
                <a:avLst/>
                <a:gdLst>
                  <a:gd name="connsiteX0" fmla="*/ 26274 w 30190"/>
                  <a:gd name="connsiteY0" fmla="*/ 0 h 28301"/>
                  <a:gd name="connsiteX1" fmla="*/ 28637 w 30190"/>
                  <a:gd name="connsiteY1" fmla="*/ 17626 h 28301"/>
                  <a:gd name="connsiteX2" fmla="*/ 26463 w 30190"/>
                  <a:gd name="connsiteY2" fmla="*/ 21123 h 28301"/>
                  <a:gd name="connsiteX3" fmla="*/ 0 w 30190"/>
                  <a:gd name="connsiteY3" fmla="*/ 24289 h 283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0190" h="28301">
                    <a:moveTo>
                      <a:pt x="26274" y="0"/>
                    </a:moveTo>
                    <a:cubicBezTo>
                      <a:pt x="30196" y="5482"/>
                      <a:pt x="31519" y="11625"/>
                      <a:pt x="28637" y="17626"/>
                    </a:cubicBezTo>
                    <a:cubicBezTo>
                      <a:pt x="28070" y="18808"/>
                      <a:pt x="27314" y="19989"/>
                      <a:pt x="26463" y="21123"/>
                    </a:cubicBezTo>
                    <a:cubicBezTo>
                      <a:pt x="20036" y="29251"/>
                      <a:pt x="8128" y="30716"/>
                      <a:pt x="0" y="24289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377" name="Forma livre: Forma 1376">
                <a:extLst>
                  <a:ext uri="{FF2B5EF4-FFF2-40B4-BE49-F238E27FC236}">
                    <a16:creationId xmlns:a16="http://schemas.microsoft.com/office/drawing/2014/main" id="{F3E377EC-7674-2B4B-3632-F610692BA7F2}"/>
                  </a:ext>
                </a:extLst>
              </p:cNvPr>
              <p:cNvSpPr/>
              <p:nvPr/>
            </p:nvSpPr>
            <p:spPr>
              <a:xfrm>
                <a:off x="5089226" y="4770134"/>
                <a:ext cx="24854" cy="39568"/>
              </a:xfrm>
              <a:custGeom>
                <a:avLst/>
                <a:gdLst>
                  <a:gd name="connsiteX0" fmla="*/ 15309 w 24854"/>
                  <a:gd name="connsiteY0" fmla="*/ 39569 h 39568"/>
                  <a:gd name="connsiteX1" fmla="*/ 565 w 24854"/>
                  <a:gd name="connsiteY1" fmla="*/ 15279 h 39568"/>
                  <a:gd name="connsiteX2" fmla="*/ 24854 w 24854"/>
                  <a:gd name="connsiteY2" fmla="*/ 583 h 395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4854" h="39568">
                    <a:moveTo>
                      <a:pt x="15309" y="39569"/>
                    </a:moveTo>
                    <a:cubicBezTo>
                      <a:pt x="4582" y="36922"/>
                      <a:pt x="-2034" y="26006"/>
                      <a:pt x="565" y="15279"/>
                    </a:cubicBezTo>
                    <a:cubicBezTo>
                      <a:pt x="3211" y="4552"/>
                      <a:pt x="14127" y="-2063"/>
                      <a:pt x="24854" y="583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378" name="Forma livre: Forma 1377">
                <a:extLst>
                  <a:ext uri="{FF2B5EF4-FFF2-40B4-BE49-F238E27FC236}">
                    <a16:creationId xmlns:a16="http://schemas.microsoft.com/office/drawing/2014/main" id="{7B16B5F2-BA59-4516-3B90-291EAA07F036}"/>
                  </a:ext>
                </a:extLst>
              </p:cNvPr>
              <p:cNvSpPr/>
              <p:nvPr/>
            </p:nvSpPr>
            <p:spPr>
              <a:xfrm>
                <a:off x="5083506" y="4818610"/>
                <a:ext cx="83358" cy="52666"/>
              </a:xfrm>
              <a:custGeom>
                <a:avLst/>
                <a:gdLst>
                  <a:gd name="connsiteX0" fmla="*/ 83358 w 83358"/>
                  <a:gd name="connsiteY0" fmla="*/ 5269 h 52666"/>
                  <a:gd name="connsiteX1" fmla="*/ 53682 w 83358"/>
                  <a:gd name="connsiteY1" fmla="*/ 6451 h 52666"/>
                  <a:gd name="connsiteX2" fmla="*/ 0 w 83358"/>
                  <a:gd name="connsiteY2" fmla="*/ 52666 h 526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3358" h="52666">
                    <a:moveTo>
                      <a:pt x="83358" y="5269"/>
                    </a:moveTo>
                    <a:cubicBezTo>
                      <a:pt x="75088" y="-2055"/>
                      <a:pt x="61006" y="-1819"/>
                      <a:pt x="53682" y="6451"/>
                    </a:cubicBezTo>
                    <a:cubicBezTo>
                      <a:pt x="53682" y="6451"/>
                      <a:pt x="22871" y="52666"/>
                      <a:pt x="0" y="52666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379" name="Forma livre: Forma 1378">
                <a:extLst>
                  <a:ext uri="{FF2B5EF4-FFF2-40B4-BE49-F238E27FC236}">
                    <a16:creationId xmlns:a16="http://schemas.microsoft.com/office/drawing/2014/main" id="{98D73AF3-95EF-1614-A7C5-11914CC3C623}"/>
                  </a:ext>
                </a:extLst>
              </p:cNvPr>
              <p:cNvSpPr/>
              <p:nvPr/>
            </p:nvSpPr>
            <p:spPr>
              <a:xfrm>
                <a:off x="5088042" y="4905299"/>
                <a:ext cx="21359" cy="7182"/>
              </a:xfrm>
              <a:custGeom>
                <a:avLst/>
                <a:gdLst>
                  <a:gd name="connsiteX0" fmla="*/ 0 w 21359"/>
                  <a:gd name="connsiteY0" fmla="*/ 0 h 7182"/>
                  <a:gd name="connsiteX1" fmla="*/ 21359 w 21359"/>
                  <a:gd name="connsiteY1" fmla="*/ 7183 h 71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1359" h="7182">
                    <a:moveTo>
                      <a:pt x="0" y="0"/>
                    </a:moveTo>
                    <a:lnTo>
                      <a:pt x="21359" y="7183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380" name="Forma livre: Forma 1379">
                <a:extLst>
                  <a:ext uri="{FF2B5EF4-FFF2-40B4-BE49-F238E27FC236}">
                    <a16:creationId xmlns:a16="http://schemas.microsoft.com/office/drawing/2014/main" id="{D8D5EEAD-96C8-2FAA-3CEC-220DB99CDD74}"/>
                  </a:ext>
                </a:extLst>
              </p:cNvPr>
              <p:cNvSpPr/>
              <p:nvPr/>
            </p:nvSpPr>
            <p:spPr>
              <a:xfrm>
                <a:off x="5074480" y="4831487"/>
                <a:ext cx="34259" cy="24808"/>
              </a:xfrm>
              <a:custGeom>
                <a:avLst/>
                <a:gdLst>
                  <a:gd name="connsiteX0" fmla="*/ 0 w 34259"/>
                  <a:gd name="connsiteY0" fmla="*/ 0 h 24808"/>
                  <a:gd name="connsiteX1" fmla="*/ 34260 w 34259"/>
                  <a:gd name="connsiteY1" fmla="*/ 24809 h 248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4259" h="24808">
                    <a:moveTo>
                      <a:pt x="0" y="0"/>
                    </a:moveTo>
                    <a:cubicBezTo>
                      <a:pt x="0" y="0"/>
                      <a:pt x="20083" y="9451"/>
                      <a:pt x="34260" y="24809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381" name="Gráfico 15">
              <a:extLst>
                <a:ext uri="{FF2B5EF4-FFF2-40B4-BE49-F238E27FC236}">
                  <a16:creationId xmlns:a16="http://schemas.microsoft.com/office/drawing/2014/main" id="{A9CE06B5-C2ED-4C1A-2AF7-A2B592F9812B}"/>
                </a:ext>
              </a:extLst>
            </p:cNvPr>
            <p:cNvGrpSpPr/>
            <p:nvPr/>
          </p:nvGrpSpPr>
          <p:grpSpPr>
            <a:xfrm>
              <a:off x="5169227" y="4870992"/>
              <a:ext cx="126218" cy="114121"/>
              <a:chOff x="5169227" y="4870992"/>
              <a:chExt cx="126218" cy="114121"/>
            </a:xfrm>
            <a:noFill/>
          </p:grpSpPr>
          <p:sp>
            <p:nvSpPr>
              <p:cNvPr id="1382" name="Forma livre: Forma 1381">
                <a:extLst>
                  <a:ext uri="{FF2B5EF4-FFF2-40B4-BE49-F238E27FC236}">
                    <a16:creationId xmlns:a16="http://schemas.microsoft.com/office/drawing/2014/main" id="{4A6B59CE-36F3-ABFA-EBF1-FDB9535BA1A1}"/>
                  </a:ext>
                </a:extLst>
              </p:cNvPr>
              <p:cNvSpPr/>
              <p:nvPr/>
            </p:nvSpPr>
            <p:spPr>
              <a:xfrm>
                <a:off x="5255278" y="4887153"/>
                <a:ext cx="40166" cy="40166"/>
              </a:xfrm>
              <a:custGeom>
                <a:avLst/>
                <a:gdLst>
                  <a:gd name="connsiteX0" fmla="*/ 40167 w 40166"/>
                  <a:gd name="connsiteY0" fmla="*/ 20083 h 40166"/>
                  <a:gd name="connsiteX1" fmla="*/ 20083 w 40166"/>
                  <a:gd name="connsiteY1" fmla="*/ 40167 h 40166"/>
                  <a:gd name="connsiteX2" fmla="*/ 0 w 40166"/>
                  <a:gd name="connsiteY2" fmla="*/ 20083 h 40166"/>
                  <a:gd name="connsiteX3" fmla="*/ 20083 w 40166"/>
                  <a:gd name="connsiteY3" fmla="*/ 0 h 40166"/>
                  <a:gd name="connsiteX4" fmla="*/ 40167 w 40166"/>
                  <a:gd name="connsiteY4" fmla="*/ 20083 h 401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0166" h="40166">
                    <a:moveTo>
                      <a:pt x="40167" y="20083"/>
                    </a:moveTo>
                    <a:cubicBezTo>
                      <a:pt x="40167" y="31188"/>
                      <a:pt x="31188" y="40167"/>
                      <a:pt x="20083" y="40167"/>
                    </a:cubicBezTo>
                    <a:cubicBezTo>
                      <a:pt x="8979" y="40167"/>
                      <a:pt x="0" y="31188"/>
                      <a:pt x="0" y="20083"/>
                    </a:cubicBezTo>
                    <a:cubicBezTo>
                      <a:pt x="0" y="8979"/>
                      <a:pt x="8979" y="0"/>
                      <a:pt x="20083" y="0"/>
                    </a:cubicBezTo>
                    <a:cubicBezTo>
                      <a:pt x="31188" y="0"/>
                      <a:pt x="40167" y="8979"/>
                      <a:pt x="40167" y="20083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383" name="Forma livre: Forma 1382">
                <a:extLst>
                  <a:ext uri="{FF2B5EF4-FFF2-40B4-BE49-F238E27FC236}">
                    <a16:creationId xmlns:a16="http://schemas.microsoft.com/office/drawing/2014/main" id="{B3079E96-5A8F-8ADE-E560-12388BC65CE7}"/>
                  </a:ext>
                </a:extLst>
              </p:cNvPr>
              <p:cNvSpPr/>
              <p:nvPr/>
            </p:nvSpPr>
            <p:spPr>
              <a:xfrm>
                <a:off x="5169227" y="4870992"/>
                <a:ext cx="85767" cy="36244"/>
              </a:xfrm>
              <a:custGeom>
                <a:avLst/>
                <a:gdLst>
                  <a:gd name="connsiteX0" fmla="*/ 0 w 85767"/>
                  <a:gd name="connsiteY0" fmla="*/ 0 h 36244"/>
                  <a:gd name="connsiteX1" fmla="*/ 27124 w 85767"/>
                  <a:gd name="connsiteY1" fmla="*/ 0 h 36244"/>
                  <a:gd name="connsiteX2" fmla="*/ 63369 w 85767"/>
                  <a:gd name="connsiteY2" fmla="*/ 36245 h 36244"/>
                  <a:gd name="connsiteX3" fmla="*/ 85768 w 85767"/>
                  <a:gd name="connsiteY3" fmla="*/ 36245 h 362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5767" h="36244">
                    <a:moveTo>
                      <a:pt x="0" y="0"/>
                    </a:moveTo>
                    <a:lnTo>
                      <a:pt x="27124" y="0"/>
                    </a:lnTo>
                    <a:lnTo>
                      <a:pt x="63369" y="36245"/>
                    </a:lnTo>
                    <a:lnTo>
                      <a:pt x="85768" y="36245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384" name="Forma livre: Forma 1383">
                <a:extLst>
                  <a:ext uri="{FF2B5EF4-FFF2-40B4-BE49-F238E27FC236}">
                    <a16:creationId xmlns:a16="http://schemas.microsoft.com/office/drawing/2014/main" id="{81FEBB1B-D5F4-59D7-ADF4-A5C0B800A136}"/>
                  </a:ext>
                </a:extLst>
              </p:cNvPr>
              <p:cNvSpPr/>
              <p:nvPr/>
            </p:nvSpPr>
            <p:spPr>
              <a:xfrm>
                <a:off x="5169227" y="4918720"/>
                <a:ext cx="59494" cy="31991"/>
              </a:xfrm>
              <a:custGeom>
                <a:avLst/>
                <a:gdLst>
                  <a:gd name="connsiteX0" fmla="*/ 0 w 59494"/>
                  <a:gd name="connsiteY0" fmla="*/ 0 h 31991"/>
                  <a:gd name="connsiteX1" fmla="*/ 27124 w 59494"/>
                  <a:gd name="connsiteY1" fmla="*/ 0 h 31991"/>
                  <a:gd name="connsiteX2" fmla="*/ 59494 w 59494"/>
                  <a:gd name="connsiteY2" fmla="*/ 31992 h 319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59494" h="31991">
                    <a:moveTo>
                      <a:pt x="0" y="0"/>
                    </a:moveTo>
                    <a:lnTo>
                      <a:pt x="27124" y="0"/>
                    </a:lnTo>
                    <a:lnTo>
                      <a:pt x="59494" y="31992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385" name="Forma livre: Forma 1384">
                <a:extLst>
                  <a:ext uri="{FF2B5EF4-FFF2-40B4-BE49-F238E27FC236}">
                    <a16:creationId xmlns:a16="http://schemas.microsoft.com/office/drawing/2014/main" id="{70A3241F-A1D7-7259-2B2E-4AE711C0904E}"/>
                  </a:ext>
                </a:extLst>
              </p:cNvPr>
              <p:cNvSpPr/>
              <p:nvPr/>
            </p:nvSpPr>
            <p:spPr>
              <a:xfrm>
                <a:off x="5222625" y="4944946"/>
                <a:ext cx="40166" cy="40166"/>
              </a:xfrm>
              <a:custGeom>
                <a:avLst/>
                <a:gdLst>
                  <a:gd name="connsiteX0" fmla="*/ 40167 w 40166"/>
                  <a:gd name="connsiteY0" fmla="*/ 20083 h 40166"/>
                  <a:gd name="connsiteX1" fmla="*/ 20083 w 40166"/>
                  <a:gd name="connsiteY1" fmla="*/ 40167 h 40166"/>
                  <a:gd name="connsiteX2" fmla="*/ 0 w 40166"/>
                  <a:gd name="connsiteY2" fmla="*/ 20083 h 40166"/>
                  <a:gd name="connsiteX3" fmla="*/ 20083 w 40166"/>
                  <a:gd name="connsiteY3" fmla="*/ 0 h 40166"/>
                  <a:gd name="connsiteX4" fmla="*/ 40167 w 40166"/>
                  <a:gd name="connsiteY4" fmla="*/ 20083 h 401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0166" h="40166">
                    <a:moveTo>
                      <a:pt x="40167" y="20083"/>
                    </a:moveTo>
                    <a:cubicBezTo>
                      <a:pt x="40167" y="31188"/>
                      <a:pt x="31188" y="40167"/>
                      <a:pt x="20083" y="40167"/>
                    </a:cubicBezTo>
                    <a:cubicBezTo>
                      <a:pt x="8979" y="40167"/>
                      <a:pt x="0" y="31188"/>
                      <a:pt x="0" y="20083"/>
                    </a:cubicBezTo>
                    <a:cubicBezTo>
                      <a:pt x="0" y="8978"/>
                      <a:pt x="8979" y="0"/>
                      <a:pt x="20083" y="0"/>
                    </a:cubicBezTo>
                    <a:cubicBezTo>
                      <a:pt x="31188" y="0"/>
                      <a:pt x="40167" y="8978"/>
                      <a:pt x="40167" y="20083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386" name="Gráfico 15">
              <a:extLst>
                <a:ext uri="{FF2B5EF4-FFF2-40B4-BE49-F238E27FC236}">
                  <a16:creationId xmlns:a16="http://schemas.microsoft.com/office/drawing/2014/main" id="{A7DC01F3-0192-DDE8-FE87-AFDFF10D2140}"/>
                </a:ext>
              </a:extLst>
            </p:cNvPr>
            <p:cNvGrpSpPr/>
            <p:nvPr/>
          </p:nvGrpSpPr>
          <p:grpSpPr>
            <a:xfrm>
              <a:off x="5169227" y="4695392"/>
              <a:ext cx="126218" cy="114073"/>
              <a:chOff x="5169227" y="4695392"/>
              <a:chExt cx="126218" cy="114073"/>
            </a:xfrm>
            <a:noFill/>
          </p:grpSpPr>
          <p:sp>
            <p:nvSpPr>
              <p:cNvPr id="1387" name="Forma livre: Forma 1386">
                <a:extLst>
                  <a:ext uri="{FF2B5EF4-FFF2-40B4-BE49-F238E27FC236}">
                    <a16:creationId xmlns:a16="http://schemas.microsoft.com/office/drawing/2014/main" id="{E5DAA227-FB5D-AD99-0A90-F843A577F0C2}"/>
                  </a:ext>
                </a:extLst>
              </p:cNvPr>
              <p:cNvSpPr/>
              <p:nvPr/>
            </p:nvSpPr>
            <p:spPr>
              <a:xfrm>
                <a:off x="5255278" y="4753185"/>
                <a:ext cx="40166" cy="40166"/>
              </a:xfrm>
              <a:custGeom>
                <a:avLst/>
                <a:gdLst>
                  <a:gd name="connsiteX0" fmla="*/ 40167 w 40166"/>
                  <a:gd name="connsiteY0" fmla="*/ 20083 h 40166"/>
                  <a:gd name="connsiteX1" fmla="*/ 20083 w 40166"/>
                  <a:gd name="connsiteY1" fmla="*/ 0 h 40166"/>
                  <a:gd name="connsiteX2" fmla="*/ 0 w 40166"/>
                  <a:gd name="connsiteY2" fmla="*/ 20083 h 40166"/>
                  <a:gd name="connsiteX3" fmla="*/ 20083 w 40166"/>
                  <a:gd name="connsiteY3" fmla="*/ 40167 h 40166"/>
                  <a:gd name="connsiteX4" fmla="*/ 40167 w 40166"/>
                  <a:gd name="connsiteY4" fmla="*/ 20083 h 401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0166" h="40166">
                    <a:moveTo>
                      <a:pt x="40167" y="20083"/>
                    </a:moveTo>
                    <a:cubicBezTo>
                      <a:pt x="40167" y="8978"/>
                      <a:pt x="31188" y="0"/>
                      <a:pt x="20083" y="0"/>
                    </a:cubicBezTo>
                    <a:cubicBezTo>
                      <a:pt x="8979" y="0"/>
                      <a:pt x="0" y="8978"/>
                      <a:pt x="0" y="20083"/>
                    </a:cubicBezTo>
                    <a:cubicBezTo>
                      <a:pt x="0" y="31188"/>
                      <a:pt x="8979" y="40167"/>
                      <a:pt x="20083" y="40167"/>
                    </a:cubicBezTo>
                    <a:cubicBezTo>
                      <a:pt x="31188" y="40167"/>
                      <a:pt x="40167" y="31188"/>
                      <a:pt x="40167" y="20083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388" name="Forma livre: Forma 1387">
                <a:extLst>
                  <a:ext uri="{FF2B5EF4-FFF2-40B4-BE49-F238E27FC236}">
                    <a16:creationId xmlns:a16="http://schemas.microsoft.com/office/drawing/2014/main" id="{68AED3B6-B818-0E26-E370-D4170590FC3B}"/>
                  </a:ext>
                </a:extLst>
              </p:cNvPr>
              <p:cNvSpPr/>
              <p:nvPr/>
            </p:nvSpPr>
            <p:spPr>
              <a:xfrm>
                <a:off x="5169227" y="4773269"/>
                <a:ext cx="86051" cy="36197"/>
              </a:xfrm>
              <a:custGeom>
                <a:avLst/>
                <a:gdLst>
                  <a:gd name="connsiteX0" fmla="*/ 0 w 86051"/>
                  <a:gd name="connsiteY0" fmla="*/ 36197 h 36197"/>
                  <a:gd name="connsiteX1" fmla="*/ 27124 w 86051"/>
                  <a:gd name="connsiteY1" fmla="*/ 36197 h 36197"/>
                  <a:gd name="connsiteX2" fmla="*/ 63369 w 86051"/>
                  <a:gd name="connsiteY2" fmla="*/ 0 h 36197"/>
                  <a:gd name="connsiteX3" fmla="*/ 86052 w 86051"/>
                  <a:gd name="connsiteY3" fmla="*/ 0 h 361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6051" h="36197">
                    <a:moveTo>
                      <a:pt x="0" y="36197"/>
                    </a:moveTo>
                    <a:lnTo>
                      <a:pt x="27124" y="36197"/>
                    </a:lnTo>
                    <a:lnTo>
                      <a:pt x="63369" y="0"/>
                    </a:lnTo>
                    <a:lnTo>
                      <a:pt x="86052" y="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389" name="Forma livre: Forma 1388">
                <a:extLst>
                  <a:ext uri="{FF2B5EF4-FFF2-40B4-BE49-F238E27FC236}">
                    <a16:creationId xmlns:a16="http://schemas.microsoft.com/office/drawing/2014/main" id="{2603A455-6C9D-25A4-6EBF-89015C30A6B6}"/>
                  </a:ext>
                </a:extLst>
              </p:cNvPr>
              <p:cNvSpPr/>
              <p:nvPr/>
            </p:nvSpPr>
            <p:spPr>
              <a:xfrm>
                <a:off x="5169227" y="4729747"/>
                <a:ext cx="59163" cy="32039"/>
              </a:xfrm>
              <a:custGeom>
                <a:avLst/>
                <a:gdLst>
                  <a:gd name="connsiteX0" fmla="*/ 0 w 59163"/>
                  <a:gd name="connsiteY0" fmla="*/ 32039 h 32039"/>
                  <a:gd name="connsiteX1" fmla="*/ 27124 w 59163"/>
                  <a:gd name="connsiteY1" fmla="*/ 32039 h 32039"/>
                  <a:gd name="connsiteX2" fmla="*/ 59163 w 59163"/>
                  <a:gd name="connsiteY2" fmla="*/ 0 h 320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59163" h="32039">
                    <a:moveTo>
                      <a:pt x="0" y="32039"/>
                    </a:moveTo>
                    <a:lnTo>
                      <a:pt x="27124" y="32039"/>
                    </a:lnTo>
                    <a:lnTo>
                      <a:pt x="59163" y="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390" name="Forma livre: Forma 1389">
                <a:extLst>
                  <a:ext uri="{FF2B5EF4-FFF2-40B4-BE49-F238E27FC236}">
                    <a16:creationId xmlns:a16="http://schemas.microsoft.com/office/drawing/2014/main" id="{30028B46-CA1F-5496-1BD1-CC7AE79C1CBB}"/>
                  </a:ext>
                </a:extLst>
              </p:cNvPr>
              <p:cNvSpPr/>
              <p:nvPr/>
            </p:nvSpPr>
            <p:spPr>
              <a:xfrm>
                <a:off x="5222625" y="4695392"/>
                <a:ext cx="40166" cy="40166"/>
              </a:xfrm>
              <a:custGeom>
                <a:avLst/>
                <a:gdLst>
                  <a:gd name="connsiteX0" fmla="*/ 40167 w 40166"/>
                  <a:gd name="connsiteY0" fmla="*/ 20083 h 40166"/>
                  <a:gd name="connsiteX1" fmla="*/ 20083 w 40166"/>
                  <a:gd name="connsiteY1" fmla="*/ 0 h 40166"/>
                  <a:gd name="connsiteX2" fmla="*/ 0 w 40166"/>
                  <a:gd name="connsiteY2" fmla="*/ 20083 h 40166"/>
                  <a:gd name="connsiteX3" fmla="*/ 20083 w 40166"/>
                  <a:gd name="connsiteY3" fmla="*/ 40167 h 40166"/>
                  <a:gd name="connsiteX4" fmla="*/ 40167 w 40166"/>
                  <a:gd name="connsiteY4" fmla="*/ 20083 h 401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0166" h="40166">
                    <a:moveTo>
                      <a:pt x="40167" y="20083"/>
                    </a:moveTo>
                    <a:cubicBezTo>
                      <a:pt x="40167" y="8978"/>
                      <a:pt x="31188" y="0"/>
                      <a:pt x="20083" y="0"/>
                    </a:cubicBezTo>
                    <a:cubicBezTo>
                      <a:pt x="8979" y="0"/>
                      <a:pt x="0" y="8978"/>
                      <a:pt x="0" y="20083"/>
                    </a:cubicBezTo>
                    <a:cubicBezTo>
                      <a:pt x="0" y="31188"/>
                      <a:pt x="8979" y="40167"/>
                      <a:pt x="20083" y="40167"/>
                    </a:cubicBezTo>
                    <a:cubicBezTo>
                      <a:pt x="31188" y="40167"/>
                      <a:pt x="40167" y="31188"/>
                      <a:pt x="40167" y="20083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391" name="Gráfico 15">
              <a:extLst>
                <a:ext uri="{FF2B5EF4-FFF2-40B4-BE49-F238E27FC236}">
                  <a16:creationId xmlns:a16="http://schemas.microsoft.com/office/drawing/2014/main" id="{4C9D85CE-B4A5-82AB-7706-6AAF57868762}"/>
                </a:ext>
              </a:extLst>
            </p:cNvPr>
            <p:cNvGrpSpPr/>
            <p:nvPr/>
          </p:nvGrpSpPr>
          <p:grpSpPr>
            <a:xfrm>
              <a:off x="5168754" y="4820146"/>
              <a:ext cx="89831" cy="40166"/>
              <a:chOff x="5168754" y="4820146"/>
              <a:chExt cx="89831" cy="40166"/>
            </a:xfrm>
            <a:noFill/>
          </p:grpSpPr>
          <p:sp>
            <p:nvSpPr>
              <p:cNvPr id="1392" name="Forma livre: Forma 1391">
                <a:extLst>
                  <a:ext uri="{FF2B5EF4-FFF2-40B4-BE49-F238E27FC236}">
                    <a16:creationId xmlns:a16="http://schemas.microsoft.com/office/drawing/2014/main" id="{1A2EA275-BDD6-4E88-C9C9-C3EEDF838EDE}"/>
                  </a:ext>
                </a:extLst>
              </p:cNvPr>
              <p:cNvSpPr/>
              <p:nvPr/>
            </p:nvSpPr>
            <p:spPr>
              <a:xfrm>
                <a:off x="5168754" y="4840229"/>
                <a:ext cx="49948" cy="4725"/>
              </a:xfrm>
              <a:custGeom>
                <a:avLst/>
                <a:gdLst>
                  <a:gd name="connsiteX0" fmla="*/ 0 w 49948"/>
                  <a:gd name="connsiteY0" fmla="*/ 0 h 4725"/>
                  <a:gd name="connsiteX1" fmla="*/ 49949 w 49948"/>
                  <a:gd name="connsiteY1" fmla="*/ 0 h 47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9948" h="4725">
                    <a:moveTo>
                      <a:pt x="0" y="0"/>
                    </a:moveTo>
                    <a:lnTo>
                      <a:pt x="49949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393" name="Forma livre: Forma 1392">
                <a:extLst>
                  <a:ext uri="{FF2B5EF4-FFF2-40B4-BE49-F238E27FC236}">
                    <a16:creationId xmlns:a16="http://schemas.microsoft.com/office/drawing/2014/main" id="{A49F41F2-4D75-11D5-6FB6-EE831B2E68A6}"/>
                  </a:ext>
                </a:extLst>
              </p:cNvPr>
              <p:cNvSpPr/>
              <p:nvPr/>
            </p:nvSpPr>
            <p:spPr>
              <a:xfrm>
                <a:off x="5218419" y="4820146"/>
                <a:ext cx="40166" cy="40166"/>
              </a:xfrm>
              <a:custGeom>
                <a:avLst/>
                <a:gdLst>
                  <a:gd name="connsiteX0" fmla="*/ 40167 w 40166"/>
                  <a:gd name="connsiteY0" fmla="*/ 20083 h 40166"/>
                  <a:gd name="connsiteX1" fmla="*/ 20083 w 40166"/>
                  <a:gd name="connsiteY1" fmla="*/ 40167 h 40166"/>
                  <a:gd name="connsiteX2" fmla="*/ 0 w 40166"/>
                  <a:gd name="connsiteY2" fmla="*/ 20083 h 40166"/>
                  <a:gd name="connsiteX3" fmla="*/ 20083 w 40166"/>
                  <a:gd name="connsiteY3" fmla="*/ 0 h 40166"/>
                  <a:gd name="connsiteX4" fmla="*/ 40167 w 40166"/>
                  <a:gd name="connsiteY4" fmla="*/ 20083 h 401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0166" h="40166">
                    <a:moveTo>
                      <a:pt x="40167" y="20083"/>
                    </a:moveTo>
                    <a:cubicBezTo>
                      <a:pt x="40167" y="31188"/>
                      <a:pt x="31188" y="40167"/>
                      <a:pt x="20083" y="40167"/>
                    </a:cubicBezTo>
                    <a:cubicBezTo>
                      <a:pt x="8979" y="40167"/>
                      <a:pt x="0" y="31188"/>
                      <a:pt x="0" y="20083"/>
                    </a:cubicBezTo>
                    <a:cubicBezTo>
                      <a:pt x="0" y="8979"/>
                      <a:pt x="8979" y="0"/>
                      <a:pt x="20083" y="0"/>
                    </a:cubicBezTo>
                    <a:cubicBezTo>
                      <a:pt x="31188" y="0"/>
                      <a:pt x="40167" y="8979"/>
                      <a:pt x="40167" y="20083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394" name="Forma livre: Forma 1393">
              <a:extLst>
                <a:ext uri="{FF2B5EF4-FFF2-40B4-BE49-F238E27FC236}">
                  <a16:creationId xmlns:a16="http://schemas.microsoft.com/office/drawing/2014/main" id="{C77E67EB-8410-9ED3-E7D6-F1B2381C9D5B}"/>
                </a:ext>
              </a:extLst>
            </p:cNvPr>
            <p:cNvSpPr/>
            <p:nvPr/>
          </p:nvSpPr>
          <p:spPr>
            <a:xfrm>
              <a:off x="5140590" y="4933866"/>
              <a:ext cx="27139" cy="15143"/>
            </a:xfrm>
            <a:custGeom>
              <a:avLst/>
              <a:gdLst>
                <a:gd name="connsiteX0" fmla="*/ 0 w 27139"/>
                <a:gd name="connsiteY0" fmla="*/ 7630 h 15143"/>
                <a:gd name="connsiteX1" fmla="*/ 19658 w 27139"/>
                <a:gd name="connsiteY1" fmla="*/ 1723 h 15143"/>
                <a:gd name="connsiteX2" fmla="*/ 27124 w 27139"/>
                <a:gd name="connsiteY2" fmla="*/ 15144 h 151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7139" h="15143">
                  <a:moveTo>
                    <a:pt x="0" y="7630"/>
                  </a:moveTo>
                  <a:cubicBezTo>
                    <a:pt x="3780" y="589"/>
                    <a:pt x="12664" y="-2057"/>
                    <a:pt x="19658" y="1723"/>
                  </a:cubicBezTo>
                  <a:cubicBezTo>
                    <a:pt x="24714" y="4417"/>
                    <a:pt x="27361" y="9757"/>
                    <a:pt x="27124" y="15144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395" name="Gráfico 15">
            <a:extLst>
              <a:ext uri="{FF2B5EF4-FFF2-40B4-BE49-F238E27FC236}">
                <a16:creationId xmlns:a16="http://schemas.microsoft.com/office/drawing/2014/main" id="{B27C9386-8AA8-23E8-5C8B-B9CBF3D718BB}"/>
              </a:ext>
            </a:extLst>
          </p:cNvPr>
          <p:cNvGrpSpPr/>
          <p:nvPr/>
        </p:nvGrpSpPr>
        <p:grpSpPr>
          <a:xfrm>
            <a:off x="5698106" y="4677294"/>
            <a:ext cx="159958" cy="320058"/>
            <a:chOff x="5698106" y="4677294"/>
            <a:chExt cx="159958" cy="320058"/>
          </a:xfrm>
          <a:noFill/>
        </p:grpSpPr>
        <p:grpSp>
          <p:nvGrpSpPr>
            <p:cNvPr id="1396" name="Gráfico 15">
              <a:extLst>
                <a:ext uri="{FF2B5EF4-FFF2-40B4-BE49-F238E27FC236}">
                  <a16:creationId xmlns:a16="http://schemas.microsoft.com/office/drawing/2014/main" id="{124F5A96-B3A2-98EA-C6EE-DB58A9200A45}"/>
                </a:ext>
              </a:extLst>
            </p:cNvPr>
            <p:cNvGrpSpPr/>
            <p:nvPr/>
          </p:nvGrpSpPr>
          <p:grpSpPr>
            <a:xfrm>
              <a:off x="5708880" y="4707112"/>
              <a:ext cx="138410" cy="259052"/>
              <a:chOff x="5708880" y="4707112"/>
              <a:chExt cx="138410" cy="259052"/>
            </a:xfrm>
          </p:grpSpPr>
          <p:sp>
            <p:nvSpPr>
              <p:cNvPr id="1397" name="Forma livre: Forma 1396">
                <a:extLst>
                  <a:ext uri="{FF2B5EF4-FFF2-40B4-BE49-F238E27FC236}">
                    <a16:creationId xmlns:a16="http://schemas.microsoft.com/office/drawing/2014/main" id="{E7381B72-8CFD-4C9A-CDC6-3C2E8EB971D3}"/>
                  </a:ext>
                </a:extLst>
              </p:cNvPr>
              <p:cNvSpPr/>
              <p:nvPr/>
            </p:nvSpPr>
            <p:spPr>
              <a:xfrm>
                <a:off x="5708880" y="4707112"/>
                <a:ext cx="138410" cy="4725"/>
              </a:xfrm>
              <a:custGeom>
                <a:avLst/>
                <a:gdLst>
                  <a:gd name="connsiteX0" fmla="*/ 138410 w 138410"/>
                  <a:gd name="connsiteY0" fmla="*/ 0 h 4725"/>
                  <a:gd name="connsiteX1" fmla="*/ 0 w 138410"/>
                  <a:gd name="connsiteY1" fmla="*/ 0 h 47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38410" h="4725">
                    <a:moveTo>
                      <a:pt x="138410" y="0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398" name="Forma livre: Forma 1397">
                <a:extLst>
                  <a:ext uri="{FF2B5EF4-FFF2-40B4-BE49-F238E27FC236}">
                    <a16:creationId xmlns:a16="http://schemas.microsoft.com/office/drawing/2014/main" id="{4B9FE904-89E5-DA0E-A81C-F5EBDBE83139}"/>
                  </a:ext>
                </a:extLst>
              </p:cNvPr>
              <p:cNvSpPr/>
              <p:nvPr/>
            </p:nvSpPr>
            <p:spPr>
              <a:xfrm>
                <a:off x="5708880" y="4966164"/>
                <a:ext cx="138410" cy="4725"/>
              </a:xfrm>
              <a:custGeom>
                <a:avLst/>
                <a:gdLst>
                  <a:gd name="connsiteX0" fmla="*/ 138410 w 138410"/>
                  <a:gd name="connsiteY0" fmla="*/ 0 h 4725"/>
                  <a:gd name="connsiteX1" fmla="*/ 0 w 138410"/>
                  <a:gd name="connsiteY1" fmla="*/ 0 h 47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38410" h="4725">
                    <a:moveTo>
                      <a:pt x="138410" y="0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399" name="Forma livre: Forma 1398">
              <a:extLst>
                <a:ext uri="{FF2B5EF4-FFF2-40B4-BE49-F238E27FC236}">
                  <a16:creationId xmlns:a16="http://schemas.microsoft.com/office/drawing/2014/main" id="{681E3DB6-025F-036C-0606-E77457EA3A94}"/>
                </a:ext>
              </a:extLst>
            </p:cNvPr>
            <p:cNvSpPr/>
            <p:nvPr/>
          </p:nvSpPr>
          <p:spPr>
            <a:xfrm>
              <a:off x="5708266" y="4814664"/>
              <a:ext cx="140158" cy="4725"/>
            </a:xfrm>
            <a:custGeom>
              <a:avLst/>
              <a:gdLst>
                <a:gd name="connsiteX0" fmla="*/ 140159 w 140158"/>
                <a:gd name="connsiteY0" fmla="*/ 0 h 4725"/>
                <a:gd name="connsiteX1" fmla="*/ 0 w 140158"/>
                <a:gd name="connsiteY1" fmla="*/ 0 h 47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40158" h="4725">
                  <a:moveTo>
                    <a:pt x="140159" y="0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00" name="Forma livre: Forma 1399">
              <a:extLst>
                <a:ext uri="{FF2B5EF4-FFF2-40B4-BE49-F238E27FC236}">
                  <a16:creationId xmlns:a16="http://schemas.microsoft.com/office/drawing/2014/main" id="{18D85CB8-623F-87FF-BA4D-107EB2E1BF63}"/>
                </a:ext>
              </a:extLst>
            </p:cNvPr>
            <p:cNvSpPr/>
            <p:nvPr/>
          </p:nvSpPr>
          <p:spPr>
            <a:xfrm>
              <a:off x="5708455" y="4858611"/>
              <a:ext cx="140394" cy="4725"/>
            </a:xfrm>
            <a:custGeom>
              <a:avLst/>
              <a:gdLst>
                <a:gd name="connsiteX0" fmla="*/ 140395 w 140394"/>
                <a:gd name="connsiteY0" fmla="*/ 0 h 4725"/>
                <a:gd name="connsiteX1" fmla="*/ 0 w 140394"/>
                <a:gd name="connsiteY1" fmla="*/ 0 h 47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40394" h="4725">
                  <a:moveTo>
                    <a:pt x="140395" y="0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401" name="Gráfico 15">
              <a:extLst>
                <a:ext uri="{FF2B5EF4-FFF2-40B4-BE49-F238E27FC236}">
                  <a16:creationId xmlns:a16="http://schemas.microsoft.com/office/drawing/2014/main" id="{7D7411C3-42C2-190A-B440-55177F08394D}"/>
                </a:ext>
              </a:extLst>
            </p:cNvPr>
            <p:cNvGrpSpPr/>
            <p:nvPr/>
          </p:nvGrpSpPr>
          <p:grpSpPr>
            <a:xfrm>
              <a:off x="5698106" y="4677294"/>
              <a:ext cx="159958" cy="320058"/>
              <a:chOff x="5698106" y="4677294"/>
              <a:chExt cx="159958" cy="320058"/>
            </a:xfrm>
            <a:noFill/>
          </p:grpSpPr>
          <p:sp>
            <p:nvSpPr>
              <p:cNvPr id="1402" name="Forma livre: Forma 1401">
                <a:extLst>
                  <a:ext uri="{FF2B5EF4-FFF2-40B4-BE49-F238E27FC236}">
                    <a16:creationId xmlns:a16="http://schemas.microsoft.com/office/drawing/2014/main" id="{947E8174-E772-E123-2A2F-66C3A63C0377}"/>
                  </a:ext>
                </a:extLst>
              </p:cNvPr>
              <p:cNvSpPr/>
              <p:nvPr/>
            </p:nvSpPr>
            <p:spPr>
              <a:xfrm>
                <a:off x="5698153" y="4677294"/>
                <a:ext cx="159911" cy="221768"/>
              </a:xfrm>
              <a:custGeom>
                <a:avLst/>
                <a:gdLst>
                  <a:gd name="connsiteX0" fmla="*/ 55761 w 159911"/>
                  <a:gd name="connsiteY0" fmla="*/ 221768 h 221768"/>
                  <a:gd name="connsiteX1" fmla="*/ 0 w 159911"/>
                  <a:gd name="connsiteY1" fmla="*/ 159958 h 221768"/>
                  <a:gd name="connsiteX2" fmla="*/ 159911 w 159911"/>
                  <a:gd name="connsiteY2" fmla="*/ 0 h 2217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59911" h="221768">
                    <a:moveTo>
                      <a:pt x="55761" y="221768"/>
                    </a:moveTo>
                    <a:cubicBezTo>
                      <a:pt x="25281" y="203858"/>
                      <a:pt x="0" y="185287"/>
                      <a:pt x="0" y="159958"/>
                    </a:cubicBezTo>
                    <a:cubicBezTo>
                      <a:pt x="0" y="96211"/>
                      <a:pt x="159911" y="77593"/>
                      <a:pt x="159911" y="0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403" name="Forma livre: Forma 1402">
                <a:extLst>
                  <a:ext uri="{FF2B5EF4-FFF2-40B4-BE49-F238E27FC236}">
                    <a16:creationId xmlns:a16="http://schemas.microsoft.com/office/drawing/2014/main" id="{22B826AD-CEFF-B1E3-D414-80FBD32F617B}"/>
                  </a:ext>
                </a:extLst>
              </p:cNvPr>
              <p:cNvSpPr/>
              <p:nvPr/>
            </p:nvSpPr>
            <p:spPr>
              <a:xfrm>
                <a:off x="5802256" y="4926990"/>
                <a:ext cx="55808" cy="70362"/>
              </a:xfrm>
              <a:custGeom>
                <a:avLst/>
                <a:gdLst>
                  <a:gd name="connsiteX0" fmla="*/ 55808 w 55808"/>
                  <a:gd name="connsiteY0" fmla="*/ 70363 h 70362"/>
                  <a:gd name="connsiteX1" fmla="*/ 0 w 55808"/>
                  <a:gd name="connsiteY1" fmla="*/ 0 h 703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5808" h="70362">
                    <a:moveTo>
                      <a:pt x="55808" y="70363"/>
                    </a:moveTo>
                    <a:cubicBezTo>
                      <a:pt x="55808" y="40309"/>
                      <a:pt x="30479" y="18902"/>
                      <a:pt x="0" y="0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404" name="Forma livre: Forma 1403">
                <a:extLst>
                  <a:ext uri="{FF2B5EF4-FFF2-40B4-BE49-F238E27FC236}">
                    <a16:creationId xmlns:a16="http://schemas.microsoft.com/office/drawing/2014/main" id="{AB13D7E4-5C86-CE38-681E-6CEB7A6A1FC0}"/>
                  </a:ext>
                </a:extLst>
              </p:cNvPr>
              <p:cNvSpPr/>
              <p:nvPr/>
            </p:nvSpPr>
            <p:spPr>
              <a:xfrm>
                <a:off x="5698106" y="4677294"/>
                <a:ext cx="55760" cy="71118"/>
              </a:xfrm>
              <a:custGeom>
                <a:avLst/>
                <a:gdLst>
                  <a:gd name="connsiteX0" fmla="*/ 55761 w 55760"/>
                  <a:gd name="connsiteY0" fmla="*/ 71119 h 71118"/>
                  <a:gd name="connsiteX1" fmla="*/ 0 w 55760"/>
                  <a:gd name="connsiteY1" fmla="*/ 0 h 711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5760" h="71118">
                    <a:moveTo>
                      <a:pt x="55761" y="71119"/>
                    </a:moveTo>
                    <a:cubicBezTo>
                      <a:pt x="25282" y="52359"/>
                      <a:pt x="0" y="30858"/>
                      <a:pt x="0" y="0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405" name="Forma livre: Forma 1404">
                <a:extLst>
                  <a:ext uri="{FF2B5EF4-FFF2-40B4-BE49-F238E27FC236}">
                    <a16:creationId xmlns:a16="http://schemas.microsoft.com/office/drawing/2014/main" id="{4CCBE527-65BB-9E04-135F-118D068F3D13}"/>
                  </a:ext>
                </a:extLst>
              </p:cNvPr>
              <p:cNvSpPr/>
              <p:nvPr/>
            </p:nvSpPr>
            <p:spPr>
              <a:xfrm>
                <a:off x="5698153" y="4776246"/>
                <a:ext cx="159911" cy="221106"/>
              </a:xfrm>
              <a:custGeom>
                <a:avLst/>
                <a:gdLst>
                  <a:gd name="connsiteX0" fmla="*/ 0 w 159911"/>
                  <a:gd name="connsiteY0" fmla="*/ 221107 h 221106"/>
                  <a:gd name="connsiteX1" fmla="*/ 159911 w 159911"/>
                  <a:gd name="connsiteY1" fmla="*/ 61006 h 221106"/>
                  <a:gd name="connsiteX2" fmla="*/ 104434 w 159911"/>
                  <a:gd name="connsiteY2" fmla="*/ 0 h 2211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59911" h="221106">
                    <a:moveTo>
                      <a:pt x="0" y="221107"/>
                    </a:moveTo>
                    <a:cubicBezTo>
                      <a:pt x="0" y="145498"/>
                      <a:pt x="159911" y="124754"/>
                      <a:pt x="159911" y="61006"/>
                    </a:cubicBezTo>
                    <a:cubicBezTo>
                      <a:pt x="159911" y="35725"/>
                      <a:pt x="134772" y="17579"/>
                      <a:pt x="104434" y="0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406" name="Gráfico 15">
            <a:extLst>
              <a:ext uri="{FF2B5EF4-FFF2-40B4-BE49-F238E27FC236}">
                <a16:creationId xmlns:a16="http://schemas.microsoft.com/office/drawing/2014/main" id="{5280BC6D-FB69-D4AE-8B14-D153FB66350B}"/>
              </a:ext>
            </a:extLst>
          </p:cNvPr>
          <p:cNvGrpSpPr/>
          <p:nvPr/>
        </p:nvGrpSpPr>
        <p:grpSpPr>
          <a:xfrm>
            <a:off x="4378932" y="3662821"/>
            <a:ext cx="337023" cy="257871"/>
            <a:chOff x="4378932" y="3662821"/>
            <a:chExt cx="337023" cy="257871"/>
          </a:xfrm>
          <a:noFill/>
        </p:grpSpPr>
        <p:sp>
          <p:nvSpPr>
            <p:cNvPr id="1407" name="Forma livre: Forma 1406">
              <a:extLst>
                <a:ext uri="{FF2B5EF4-FFF2-40B4-BE49-F238E27FC236}">
                  <a16:creationId xmlns:a16="http://schemas.microsoft.com/office/drawing/2014/main" id="{BBB665B3-09DE-37DA-588A-94BC9784767C}"/>
                </a:ext>
              </a:extLst>
            </p:cNvPr>
            <p:cNvSpPr/>
            <p:nvPr/>
          </p:nvSpPr>
          <p:spPr>
            <a:xfrm>
              <a:off x="4433418" y="3894891"/>
              <a:ext cx="14885" cy="25801"/>
            </a:xfrm>
            <a:custGeom>
              <a:avLst/>
              <a:gdLst>
                <a:gd name="connsiteX0" fmla="*/ 0 w 14885"/>
                <a:gd name="connsiteY0" fmla="*/ 25801 h 25801"/>
                <a:gd name="connsiteX1" fmla="*/ 14885 w 14885"/>
                <a:gd name="connsiteY1" fmla="*/ 0 h 258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4885" h="25801">
                  <a:moveTo>
                    <a:pt x="0" y="25801"/>
                  </a:moveTo>
                  <a:lnTo>
                    <a:pt x="14885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08" name="Forma livre: Forma 1407">
              <a:extLst>
                <a:ext uri="{FF2B5EF4-FFF2-40B4-BE49-F238E27FC236}">
                  <a16:creationId xmlns:a16="http://schemas.microsoft.com/office/drawing/2014/main" id="{9EB58A31-EBC7-44E2-702A-94A465182A1F}"/>
                </a:ext>
              </a:extLst>
            </p:cNvPr>
            <p:cNvSpPr/>
            <p:nvPr/>
          </p:nvSpPr>
          <p:spPr>
            <a:xfrm>
              <a:off x="4378932" y="3825804"/>
              <a:ext cx="29534" cy="4725"/>
            </a:xfrm>
            <a:custGeom>
              <a:avLst/>
              <a:gdLst>
                <a:gd name="connsiteX0" fmla="*/ 0 w 29534"/>
                <a:gd name="connsiteY0" fmla="*/ 0 h 4725"/>
                <a:gd name="connsiteX1" fmla="*/ 29534 w 29534"/>
                <a:gd name="connsiteY1" fmla="*/ 0 h 47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9534" h="4725">
                  <a:moveTo>
                    <a:pt x="0" y="0"/>
                  </a:moveTo>
                  <a:lnTo>
                    <a:pt x="29534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09" name="Forma livre: Forma 1408">
              <a:extLst>
                <a:ext uri="{FF2B5EF4-FFF2-40B4-BE49-F238E27FC236}">
                  <a16:creationId xmlns:a16="http://schemas.microsoft.com/office/drawing/2014/main" id="{6AEC67B4-65AF-2975-6243-8EBE309EC72C}"/>
                </a:ext>
              </a:extLst>
            </p:cNvPr>
            <p:cNvSpPr/>
            <p:nvPr/>
          </p:nvSpPr>
          <p:spPr>
            <a:xfrm>
              <a:off x="4433323" y="3731199"/>
              <a:ext cx="14979" cy="25943"/>
            </a:xfrm>
            <a:custGeom>
              <a:avLst/>
              <a:gdLst>
                <a:gd name="connsiteX0" fmla="*/ 0 w 14979"/>
                <a:gd name="connsiteY0" fmla="*/ 0 h 25943"/>
                <a:gd name="connsiteX1" fmla="*/ 14980 w 14979"/>
                <a:gd name="connsiteY1" fmla="*/ 25943 h 259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4979" h="25943">
                  <a:moveTo>
                    <a:pt x="0" y="0"/>
                  </a:moveTo>
                  <a:lnTo>
                    <a:pt x="14980" y="25943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10" name="Forma livre: Forma 1409">
              <a:extLst>
                <a:ext uri="{FF2B5EF4-FFF2-40B4-BE49-F238E27FC236}">
                  <a16:creationId xmlns:a16="http://schemas.microsoft.com/office/drawing/2014/main" id="{3F146C0D-3FB3-D56B-63B6-FAF26FC55208}"/>
                </a:ext>
              </a:extLst>
            </p:cNvPr>
            <p:cNvSpPr/>
            <p:nvPr/>
          </p:nvSpPr>
          <p:spPr>
            <a:xfrm>
              <a:off x="4528211" y="3895080"/>
              <a:ext cx="14790" cy="25612"/>
            </a:xfrm>
            <a:custGeom>
              <a:avLst/>
              <a:gdLst>
                <a:gd name="connsiteX0" fmla="*/ 14791 w 14790"/>
                <a:gd name="connsiteY0" fmla="*/ 25612 h 25612"/>
                <a:gd name="connsiteX1" fmla="*/ 0 w 14790"/>
                <a:gd name="connsiteY1" fmla="*/ 0 h 256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4790" h="25612">
                  <a:moveTo>
                    <a:pt x="14791" y="25612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11" name="Forma livre: Forma 1410">
              <a:extLst>
                <a:ext uri="{FF2B5EF4-FFF2-40B4-BE49-F238E27FC236}">
                  <a16:creationId xmlns:a16="http://schemas.microsoft.com/office/drawing/2014/main" id="{A862855B-AFC5-282C-E079-A20391B79990}"/>
                </a:ext>
              </a:extLst>
            </p:cNvPr>
            <p:cNvSpPr/>
            <p:nvPr/>
          </p:nvSpPr>
          <p:spPr>
            <a:xfrm>
              <a:off x="4409128" y="3757520"/>
              <a:ext cx="158068" cy="136898"/>
            </a:xfrm>
            <a:custGeom>
              <a:avLst/>
              <a:gdLst>
                <a:gd name="connsiteX0" fmla="*/ 39505 w 158068"/>
                <a:gd name="connsiteY0" fmla="*/ 136898 h 136898"/>
                <a:gd name="connsiteX1" fmla="*/ 0 w 158068"/>
                <a:gd name="connsiteY1" fmla="*/ 68425 h 136898"/>
                <a:gd name="connsiteX2" fmla="*/ 39505 w 158068"/>
                <a:gd name="connsiteY2" fmla="*/ 0 h 136898"/>
                <a:gd name="connsiteX3" fmla="*/ 118563 w 158068"/>
                <a:gd name="connsiteY3" fmla="*/ 0 h 136898"/>
                <a:gd name="connsiteX4" fmla="*/ 158068 w 158068"/>
                <a:gd name="connsiteY4" fmla="*/ 68425 h 136898"/>
                <a:gd name="connsiteX5" fmla="*/ 118563 w 158068"/>
                <a:gd name="connsiteY5" fmla="*/ 136898 h 136898"/>
                <a:gd name="connsiteX6" fmla="*/ 39505 w 158068"/>
                <a:gd name="connsiteY6" fmla="*/ 136898 h 13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58068" h="136898">
                  <a:moveTo>
                    <a:pt x="39505" y="136898"/>
                  </a:moveTo>
                  <a:lnTo>
                    <a:pt x="0" y="68425"/>
                  </a:lnTo>
                  <a:lnTo>
                    <a:pt x="39505" y="0"/>
                  </a:lnTo>
                  <a:lnTo>
                    <a:pt x="118563" y="0"/>
                  </a:lnTo>
                  <a:lnTo>
                    <a:pt x="158068" y="68425"/>
                  </a:lnTo>
                  <a:lnTo>
                    <a:pt x="118563" y="136898"/>
                  </a:lnTo>
                  <a:lnTo>
                    <a:pt x="39505" y="136898"/>
                  </a:ln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12" name="Forma livre: Forma 1411">
              <a:extLst>
                <a:ext uri="{FF2B5EF4-FFF2-40B4-BE49-F238E27FC236}">
                  <a16:creationId xmlns:a16="http://schemas.microsoft.com/office/drawing/2014/main" id="{C054D743-EA46-F845-F45A-51B879479878}"/>
                </a:ext>
              </a:extLst>
            </p:cNvPr>
            <p:cNvSpPr/>
            <p:nvPr/>
          </p:nvSpPr>
          <p:spPr>
            <a:xfrm>
              <a:off x="4467772" y="3863703"/>
              <a:ext cx="40733" cy="4725"/>
            </a:xfrm>
            <a:custGeom>
              <a:avLst/>
              <a:gdLst>
                <a:gd name="connsiteX0" fmla="*/ 0 w 40733"/>
                <a:gd name="connsiteY0" fmla="*/ 0 h 4725"/>
                <a:gd name="connsiteX1" fmla="*/ 40734 w 40733"/>
                <a:gd name="connsiteY1" fmla="*/ 0 h 47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0733" h="4725">
                  <a:moveTo>
                    <a:pt x="0" y="0"/>
                  </a:moveTo>
                  <a:lnTo>
                    <a:pt x="40734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13" name="Forma livre: Forma 1412">
              <a:extLst>
                <a:ext uri="{FF2B5EF4-FFF2-40B4-BE49-F238E27FC236}">
                  <a16:creationId xmlns:a16="http://schemas.microsoft.com/office/drawing/2014/main" id="{B24B8EAD-0EB8-9F8D-24D7-0CC72D88D375}"/>
                </a:ext>
              </a:extLst>
            </p:cNvPr>
            <p:cNvSpPr/>
            <p:nvPr/>
          </p:nvSpPr>
          <p:spPr>
            <a:xfrm>
              <a:off x="4445326" y="3789370"/>
              <a:ext cx="20366" cy="35299"/>
            </a:xfrm>
            <a:custGeom>
              <a:avLst/>
              <a:gdLst>
                <a:gd name="connsiteX0" fmla="*/ 20367 w 20366"/>
                <a:gd name="connsiteY0" fmla="*/ 0 h 35299"/>
                <a:gd name="connsiteX1" fmla="*/ 0 w 20366"/>
                <a:gd name="connsiteY1" fmla="*/ 35300 h 352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0366" h="35299">
                  <a:moveTo>
                    <a:pt x="20367" y="0"/>
                  </a:moveTo>
                  <a:lnTo>
                    <a:pt x="0" y="3530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14" name="Forma livre: Forma 1413">
              <a:extLst>
                <a:ext uri="{FF2B5EF4-FFF2-40B4-BE49-F238E27FC236}">
                  <a16:creationId xmlns:a16="http://schemas.microsoft.com/office/drawing/2014/main" id="{B759BAAE-8A6F-063E-3CD6-BAB19B4D4030}"/>
                </a:ext>
              </a:extLst>
            </p:cNvPr>
            <p:cNvSpPr/>
            <p:nvPr/>
          </p:nvSpPr>
          <p:spPr>
            <a:xfrm>
              <a:off x="4646633" y="3662821"/>
              <a:ext cx="14838" cy="25612"/>
            </a:xfrm>
            <a:custGeom>
              <a:avLst/>
              <a:gdLst>
                <a:gd name="connsiteX0" fmla="*/ 14838 w 14838"/>
                <a:gd name="connsiteY0" fmla="*/ 0 h 25612"/>
                <a:gd name="connsiteX1" fmla="*/ 0 w 14838"/>
                <a:gd name="connsiteY1" fmla="*/ 25612 h 256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4838" h="25612">
                  <a:moveTo>
                    <a:pt x="14838" y="0"/>
                  </a:moveTo>
                  <a:lnTo>
                    <a:pt x="0" y="25612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15" name="Forma livre: Forma 1414">
              <a:extLst>
                <a:ext uri="{FF2B5EF4-FFF2-40B4-BE49-F238E27FC236}">
                  <a16:creationId xmlns:a16="http://schemas.microsoft.com/office/drawing/2014/main" id="{B427FBC2-A098-4496-7468-1AC21A101E45}"/>
                </a:ext>
              </a:extLst>
            </p:cNvPr>
            <p:cNvSpPr/>
            <p:nvPr/>
          </p:nvSpPr>
          <p:spPr>
            <a:xfrm>
              <a:off x="4686280" y="3757662"/>
              <a:ext cx="29676" cy="47"/>
            </a:xfrm>
            <a:custGeom>
              <a:avLst/>
              <a:gdLst>
                <a:gd name="connsiteX0" fmla="*/ 29676 w 29676"/>
                <a:gd name="connsiteY0" fmla="*/ 0 h 47"/>
                <a:gd name="connsiteX1" fmla="*/ 0 w 29676"/>
                <a:gd name="connsiteY1" fmla="*/ 47 h 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9676" h="47">
                  <a:moveTo>
                    <a:pt x="29676" y="0"/>
                  </a:moveTo>
                  <a:lnTo>
                    <a:pt x="0" y="47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16" name="Forma livre: Forma 1415">
              <a:extLst>
                <a:ext uri="{FF2B5EF4-FFF2-40B4-BE49-F238E27FC236}">
                  <a16:creationId xmlns:a16="http://schemas.microsoft.com/office/drawing/2014/main" id="{2A2BD99B-BD3F-9A48-3705-E55A430A40E7}"/>
                </a:ext>
              </a:extLst>
            </p:cNvPr>
            <p:cNvSpPr/>
            <p:nvPr/>
          </p:nvSpPr>
          <p:spPr>
            <a:xfrm>
              <a:off x="4646585" y="3826371"/>
              <a:ext cx="14932" cy="25895"/>
            </a:xfrm>
            <a:custGeom>
              <a:avLst/>
              <a:gdLst>
                <a:gd name="connsiteX0" fmla="*/ 14933 w 14932"/>
                <a:gd name="connsiteY0" fmla="*/ 25896 h 25895"/>
                <a:gd name="connsiteX1" fmla="*/ 0 w 14932"/>
                <a:gd name="connsiteY1" fmla="*/ 0 h 258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4932" h="25895">
                  <a:moveTo>
                    <a:pt x="14933" y="25896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17" name="Forma livre: Forma 1416">
              <a:extLst>
                <a:ext uri="{FF2B5EF4-FFF2-40B4-BE49-F238E27FC236}">
                  <a16:creationId xmlns:a16="http://schemas.microsoft.com/office/drawing/2014/main" id="{77A8D92F-FCBE-FB8F-B4DE-61FAA266B198}"/>
                </a:ext>
              </a:extLst>
            </p:cNvPr>
            <p:cNvSpPr/>
            <p:nvPr/>
          </p:nvSpPr>
          <p:spPr>
            <a:xfrm>
              <a:off x="4551886" y="3662821"/>
              <a:ext cx="14838" cy="25659"/>
            </a:xfrm>
            <a:custGeom>
              <a:avLst/>
              <a:gdLst>
                <a:gd name="connsiteX0" fmla="*/ 0 w 14838"/>
                <a:gd name="connsiteY0" fmla="*/ 0 h 25659"/>
                <a:gd name="connsiteX1" fmla="*/ 14838 w 14838"/>
                <a:gd name="connsiteY1" fmla="*/ 25660 h 256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4838" h="25659">
                  <a:moveTo>
                    <a:pt x="0" y="0"/>
                  </a:moveTo>
                  <a:lnTo>
                    <a:pt x="14838" y="2566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18" name="Forma livre: Forma 1417">
              <a:extLst>
                <a:ext uri="{FF2B5EF4-FFF2-40B4-BE49-F238E27FC236}">
                  <a16:creationId xmlns:a16="http://schemas.microsoft.com/office/drawing/2014/main" id="{50F7F6E6-3705-147C-E4F3-3C7369CDF04A}"/>
                </a:ext>
              </a:extLst>
            </p:cNvPr>
            <p:cNvSpPr/>
            <p:nvPr/>
          </p:nvSpPr>
          <p:spPr>
            <a:xfrm>
              <a:off x="4527691" y="3689095"/>
              <a:ext cx="158021" cy="136850"/>
            </a:xfrm>
            <a:custGeom>
              <a:avLst/>
              <a:gdLst>
                <a:gd name="connsiteX0" fmla="*/ 118516 w 158021"/>
                <a:gd name="connsiteY0" fmla="*/ 0 h 136850"/>
                <a:gd name="connsiteX1" fmla="*/ 158021 w 158021"/>
                <a:gd name="connsiteY1" fmla="*/ 68425 h 136850"/>
                <a:gd name="connsiteX2" fmla="*/ 118516 w 158021"/>
                <a:gd name="connsiteY2" fmla="*/ 136851 h 136850"/>
                <a:gd name="connsiteX3" fmla="*/ 39505 w 158021"/>
                <a:gd name="connsiteY3" fmla="*/ 136851 h 136850"/>
                <a:gd name="connsiteX4" fmla="*/ 0 w 158021"/>
                <a:gd name="connsiteY4" fmla="*/ 68425 h 136850"/>
                <a:gd name="connsiteX5" fmla="*/ 39505 w 158021"/>
                <a:gd name="connsiteY5" fmla="*/ 0 h 136850"/>
                <a:gd name="connsiteX6" fmla="*/ 118516 w 158021"/>
                <a:gd name="connsiteY6" fmla="*/ 0 h 1368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58021" h="136850">
                  <a:moveTo>
                    <a:pt x="118516" y="0"/>
                  </a:moveTo>
                  <a:lnTo>
                    <a:pt x="158021" y="68425"/>
                  </a:lnTo>
                  <a:lnTo>
                    <a:pt x="118516" y="136851"/>
                  </a:lnTo>
                  <a:lnTo>
                    <a:pt x="39505" y="136851"/>
                  </a:lnTo>
                  <a:lnTo>
                    <a:pt x="0" y="68425"/>
                  </a:lnTo>
                  <a:lnTo>
                    <a:pt x="39505" y="0"/>
                  </a:lnTo>
                  <a:lnTo>
                    <a:pt x="118516" y="0"/>
                  </a:ln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19" name="Forma livre: Forma 1418">
              <a:extLst>
                <a:ext uri="{FF2B5EF4-FFF2-40B4-BE49-F238E27FC236}">
                  <a16:creationId xmlns:a16="http://schemas.microsoft.com/office/drawing/2014/main" id="{8D014AB8-B0C8-D423-E0CE-DD8057F7F24A}"/>
                </a:ext>
              </a:extLst>
            </p:cNvPr>
            <p:cNvSpPr/>
            <p:nvPr/>
          </p:nvSpPr>
          <p:spPr>
            <a:xfrm>
              <a:off x="4629290" y="3721039"/>
              <a:ext cx="20366" cy="35346"/>
            </a:xfrm>
            <a:custGeom>
              <a:avLst/>
              <a:gdLst>
                <a:gd name="connsiteX0" fmla="*/ 20367 w 20366"/>
                <a:gd name="connsiteY0" fmla="*/ 35347 h 35346"/>
                <a:gd name="connsiteX1" fmla="*/ 0 w 20366"/>
                <a:gd name="connsiteY1" fmla="*/ 0 h 353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0366" h="35346">
                  <a:moveTo>
                    <a:pt x="20367" y="35347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20" name="Forma livre: Forma 1419">
              <a:extLst>
                <a:ext uri="{FF2B5EF4-FFF2-40B4-BE49-F238E27FC236}">
                  <a16:creationId xmlns:a16="http://schemas.microsoft.com/office/drawing/2014/main" id="{F12377F1-85E2-B2CB-2423-6E28341AD502}"/>
                </a:ext>
              </a:extLst>
            </p:cNvPr>
            <p:cNvSpPr/>
            <p:nvPr/>
          </p:nvSpPr>
          <p:spPr>
            <a:xfrm>
              <a:off x="4586335" y="3795277"/>
              <a:ext cx="40781" cy="4725"/>
            </a:xfrm>
            <a:custGeom>
              <a:avLst/>
              <a:gdLst>
                <a:gd name="connsiteX0" fmla="*/ 0 w 40781"/>
                <a:gd name="connsiteY0" fmla="*/ 0 h 4725"/>
                <a:gd name="connsiteX1" fmla="*/ 40781 w 40781"/>
                <a:gd name="connsiteY1" fmla="*/ 0 h 47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0781" h="4725">
                  <a:moveTo>
                    <a:pt x="0" y="0"/>
                  </a:moveTo>
                  <a:lnTo>
                    <a:pt x="40781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421" name="Gráfico 15">
            <a:extLst>
              <a:ext uri="{FF2B5EF4-FFF2-40B4-BE49-F238E27FC236}">
                <a16:creationId xmlns:a16="http://schemas.microsoft.com/office/drawing/2014/main" id="{5A71A1B0-79C4-A666-2D66-622E0BBC8ECE}"/>
              </a:ext>
            </a:extLst>
          </p:cNvPr>
          <p:cNvGrpSpPr/>
          <p:nvPr/>
        </p:nvGrpSpPr>
        <p:grpSpPr>
          <a:xfrm>
            <a:off x="5020326" y="3642141"/>
            <a:ext cx="284883" cy="271085"/>
            <a:chOff x="5020326" y="3642141"/>
            <a:chExt cx="284883" cy="271085"/>
          </a:xfrm>
          <a:noFill/>
        </p:grpSpPr>
        <p:sp>
          <p:nvSpPr>
            <p:cNvPr id="1422" name="Forma livre: Forma 1421">
              <a:extLst>
                <a:ext uri="{FF2B5EF4-FFF2-40B4-BE49-F238E27FC236}">
                  <a16:creationId xmlns:a16="http://schemas.microsoft.com/office/drawing/2014/main" id="{59E4B06E-948B-0188-365A-683789308B14}"/>
                </a:ext>
              </a:extLst>
            </p:cNvPr>
            <p:cNvSpPr/>
            <p:nvPr/>
          </p:nvSpPr>
          <p:spPr>
            <a:xfrm>
              <a:off x="5200037" y="3642141"/>
              <a:ext cx="105172" cy="85419"/>
            </a:xfrm>
            <a:custGeom>
              <a:avLst/>
              <a:gdLst>
                <a:gd name="connsiteX0" fmla="*/ 54296 w 105172"/>
                <a:gd name="connsiteY0" fmla="*/ 84995 h 85419"/>
                <a:gd name="connsiteX1" fmla="*/ 78869 w 105172"/>
                <a:gd name="connsiteY1" fmla="*/ 53806 h 85419"/>
                <a:gd name="connsiteX2" fmla="*/ 98669 w 105172"/>
                <a:gd name="connsiteY2" fmla="*/ 44497 h 85419"/>
                <a:gd name="connsiteX3" fmla="*/ 95786 w 105172"/>
                <a:gd name="connsiteY3" fmla="*/ 6504 h 85419"/>
                <a:gd name="connsiteX4" fmla="*/ 57793 w 105172"/>
                <a:gd name="connsiteY4" fmla="*/ 9386 h 85419"/>
                <a:gd name="connsiteX5" fmla="*/ 51508 w 105172"/>
                <a:gd name="connsiteY5" fmla="*/ 30226 h 85419"/>
                <a:gd name="connsiteX6" fmla="*/ 0 w 105172"/>
                <a:gd name="connsiteY6" fmla="*/ 85420 h 854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5172" h="85419">
                  <a:moveTo>
                    <a:pt x="54296" y="84995"/>
                  </a:moveTo>
                  <a:lnTo>
                    <a:pt x="78869" y="53806"/>
                  </a:lnTo>
                  <a:cubicBezTo>
                    <a:pt x="86241" y="53617"/>
                    <a:pt x="93471" y="50498"/>
                    <a:pt x="98669" y="44497"/>
                  </a:cubicBezTo>
                  <a:cubicBezTo>
                    <a:pt x="108356" y="33203"/>
                    <a:pt x="107080" y="16191"/>
                    <a:pt x="95786" y="6504"/>
                  </a:cubicBezTo>
                  <a:cubicBezTo>
                    <a:pt x="84492" y="-3183"/>
                    <a:pt x="67480" y="-1908"/>
                    <a:pt x="57793" y="9386"/>
                  </a:cubicBezTo>
                  <a:cubicBezTo>
                    <a:pt x="52642" y="15341"/>
                    <a:pt x="50610" y="22949"/>
                    <a:pt x="51508" y="30226"/>
                  </a:cubicBezTo>
                  <a:lnTo>
                    <a:pt x="0" y="8542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23" name="Forma livre: Forma 1422">
              <a:extLst>
                <a:ext uri="{FF2B5EF4-FFF2-40B4-BE49-F238E27FC236}">
                  <a16:creationId xmlns:a16="http://schemas.microsoft.com/office/drawing/2014/main" id="{80940378-CAF5-50FC-5444-D45441EF2C2A}"/>
                </a:ext>
              </a:extLst>
            </p:cNvPr>
            <p:cNvSpPr/>
            <p:nvPr/>
          </p:nvSpPr>
          <p:spPr>
            <a:xfrm>
              <a:off x="5042394" y="3779258"/>
              <a:ext cx="232920" cy="133968"/>
            </a:xfrm>
            <a:custGeom>
              <a:avLst/>
              <a:gdLst>
                <a:gd name="connsiteX0" fmla="*/ 0 w 232920"/>
                <a:gd name="connsiteY0" fmla="*/ 0 h 133968"/>
                <a:gd name="connsiteX1" fmla="*/ 67055 w 232920"/>
                <a:gd name="connsiteY1" fmla="*/ 104245 h 133968"/>
                <a:gd name="connsiteX2" fmla="*/ 29629 w 232920"/>
                <a:gd name="connsiteY2" fmla="*/ 133968 h 133968"/>
                <a:gd name="connsiteX3" fmla="*/ 203291 w 232920"/>
                <a:gd name="connsiteY3" fmla="*/ 133968 h 133968"/>
                <a:gd name="connsiteX4" fmla="*/ 165818 w 232920"/>
                <a:gd name="connsiteY4" fmla="*/ 104245 h 133968"/>
                <a:gd name="connsiteX5" fmla="*/ 232920 w 232920"/>
                <a:gd name="connsiteY5" fmla="*/ 0 h 133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32920" h="133968">
                  <a:moveTo>
                    <a:pt x="0" y="0"/>
                  </a:moveTo>
                  <a:cubicBezTo>
                    <a:pt x="0" y="46641"/>
                    <a:pt x="27455" y="85673"/>
                    <a:pt x="67055" y="104245"/>
                  </a:cubicBezTo>
                  <a:cubicBezTo>
                    <a:pt x="52737" y="110955"/>
                    <a:pt x="40025" y="122343"/>
                    <a:pt x="29629" y="133968"/>
                  </a:cubicBezTo>
                  <a:lnTo>
                    <a:pt x="203291" y="133968"/>
                  </a:lnTo>
                  <a:cubicBezTo>
                    <a:pt x="192895" y="122343"/>
                    <a:pt x="180137" y="110908"/>
                    <a:pt x="165818" y="104245"/>
                  </a:cubicBezTo>
                  <a:cubicBezTo>
                    <a:pt x="205465" y="85673"/>
                    <a:pt x="232920" y="46641"/>
                    <a:pt x="232920" y="0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24" name="Forma livre: Forma 1423">
              <a:extLst>
                <a:ext uri="{FF2B5EF4-FFF2-40B4-BE49-F238E27FC236}">
                  <a16:creationId xmlns:a16="http://schemas.microsoft.com/office/drawing/2014/main" id="{D4835C58-8934-6DFA-A1C4-43FD2366C862}"/>
                </a:ext>
              </a:extLst>
            </p:cNvPr>
            <p:cNvSpPr/>
            <p:nvPr/>
          </p:nvSpPr>
          <p:spPr>
            <a:xfrm>
              <a:off x="5020326" y="3749676"/>
              <a:ext cx="277009" cy="28494"/>
            </a:xfrm>
            <a:custGeom>
              <a:avLst/>
              <a:gdLst>
                <a:gd name="connsiteX0" fmla="*/ 42199 w 277009"/>
                <a:gd name="connsiteY0" fmla="*/ 28495 h 28494"/>
                <a:gd name="connsiteX1" fmla="*/ 15641 w 277009"/>
                <a:gd name="connsiteY1" fmla="*/ 28495 h 28494"/>
                <a:gd name="connsiteX2" fmla="*/ 0 w 277009"/>
                <a:gd name="connsiteY2" fmla="*/ 14271 h 28494"/>
                <a:gd name="connsiteX3" fmla="*/ 15641 w 277009"/>
                <a:gd name="connsiteY3" fmla="*/ 0 h 28494"/>
                <a:gd name="connsiteX4" fmla="*/ 261368 w 277009"/>
                <a:gd name="connsiteY4" fmla="*/ 0 h 28494"/>
                <a:gd name="connsiteX5" fmla="*/ 277009 w 277009"/>
                <a:gd name="connsiteY5" fmla="*/ 14271 h 28494"/>
                <a:gd name="connsiteX6" fmla="*/ 261368 w 277009"/>
                <a:gd name="connsiteY6" fmla="*/ 28495 h 28494"/>
                <a:gd name="connsiteX7" fmla="*/ 182641 w 277009"/>
                <a:gd name="connsiteY7" fmla="*/ 28495 h 284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77009" h="28494">
                  <a:moveTo>
                    <a:pt x="42199" y="28495"/>
                  </a:moveTo>
                  <a:lnTo>
                    <a:pt x="15641" y="28495"/>
                  </a:lnTo>
                  <a:cubicBezTo>
                    <a:pt x="7041" y="28495"/>
                    <a:pt x="0" y="22068"/>
                    <a:pt x="0" y="14271"/>
                  </a:cubicBezTo>
                  <a:cubicBezTo>
                    <a:pt x="0" y="6474"/>
                    <a:pt x="7041" y="0"/>
                    <a:pt x="15641" y="0"/>
                  </a:cubicBezTo>
                  <a:lnTo>
                    <a:pt x="261368" y="0"/>
                  </a:lnTo>
                  <a:cubicBezTo>
                    <a:pt x="269968" y="0"/>
                    <a:pt x="277009" y="6427"/>
                    <a:pt x="277009" y="14271"/>
                  </a:cubicBezTo>
                  <a:cubicBezTo>
                    <a:pt x="277009" y="22115"/>
                    <a:pt x="269968" y="28495"/>
                    <a:pt x="261368" y="28495"/>
                  </a:cubicBezTo>
                  <a:lnTo>
                    <a:pt x="182641" y="28495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425" name="Gráfico 15">
            <a:extLst>
              <a:ext uri="{FF2B5EF4-FFF2-40B4-BE49-F238E27FC236}">
                <a16:creationId xmlns:a16="http://schemas.microsoft.com/office/drawing/2014/main" id="{A9F64A43-080C-C4ED-361F-DBBF8D3B3672}"/>
              </a:ext>
            </a:extLst>
          </p:cNvPr>
          <p:cNvGrpSpPr/>
          <p:nvPr/>
        </p:nvGrpSpPr>
        <p:grpSpPr>
          <a:xfrm>
            <a:off x="5646998" y="3637336"/>
            <a:ext cx="262192" cy="285577"/>
            <a:chOff x="5646998" y="3637336"/>
            <a:chExt cx="262192" cy="285577"/>
          </a:xfrm>
          <a:noFill/>
        </p:grpSpPr>
        <p:sp>
          <p:nvSpPr>
            <p:cNvPr id="1426" name="Forma livre: Forma 1425">
              <a:extLst>
                <a:ext uri="{FF2B5EF4-FFF2-40B4-BE49-F238E27FC236}">
                  <a16:creationId xmlns:a16="http://schemas.microsoft.com/office/drawing/2014/main" id="{16C75B4D-2B80-03F2-361E-13985ADC6635}"/>
                </a:ext>
              </a:extLst>
            </p:cNvPr>
            <p:cNvSpPr/>
            <p:nvPr/>
          </p:nvSpPr>
          <p:spPr>
            <a:xfrm>
              <a:off x="5795924" y="3682373"/>
              <a:ext cx="77514" cy="94476"/>
            </a:xfrm>
            <a:custGeom>
              <a:avLst/>
              <a:gdLst>
                <a:gd name="connsiteX0" fmla="*/ 14224 w 77514"/>
                <a:gd name="connsiteY0" fmla="*/ 484 h 94476"/>
                <a:gd name="connsiteX1" fmla="*/ 73387 w 77514"/>
                <a:gd name="connsiteY1" fmla="*/ 47645 h 94476"/>
                <a:gd name="connsiteX2" fmla="*/ 51414 w 77514"/>
                <a:gd name="connsiteY2" fmla="*/ 80534 h 94476"/>
                <a:gd name="connsiteX3" fmla="*/ 0 w 77514"/>
                <a:gd name="connsiteY3" fmla="*/ 84362 h 944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7514" h="94476">
                  <a:moveTo>
                    <a:pt x="14224" y="484"/>
                  </a:moveTo>
                  <a:cubicBezTo>
                    <a:pt x="14224" y="484"/>
                    <a:pt x="75277" y="-8164"/>
                    <a:pt x="73387" y="47645"/>
                  </a:cubicBezTo>
                  <a:cubicBezTo>
                    <a:pt x="73387" y="47645"/>
                    <a:pt x="91628" y="79731"/>
                    <a:pt x="51414" y="80534"/>
                  </a:cubicBezTo>
                  <a:cubicBezTo>
                    <a:pt x="51414" y="80534"/>
                    <a:pt x="31519" y="109171"/>
                    <a:pt x="0" y="84362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27" name="Forma livre: Forma 1426">
              <a:extLst>
                <a:ext uri="{FF2B5EF4-FFF2-40B4-BE49-F238E27FC236}">
                  <a16:creationId xmlns:a16="http://schemas.microsoft.com/office/drawing/2014/main" id="{4ED12A47-DDA7-EA4E-30FB-858975F7A64C}"/>
                </a:ext>
              </a:extLst>
            </p:cNvPr>
            <p:cNvSpPr/>
            <p:nvPr/>
          </p:nvSpPr>
          <p:spPr>
            <a:xfrm>
              <a:off x="5737892" y="3671187"/>
              <a:ext cx="73254" cy="26933"/>
            </a:xfrm>
            <a:custGeom>
              <a:avLst/>
              <a:gdLst>
                <a:gd name="connsiteX0" fmla="*/ 286 w 73254"/>
                <a:gd name="connsiteY0" fmla="*/ 24901 h 26933"/>
                <a:gd name="connsiteX1" fmla="*/ 36861 w 73254"/>
                <a:gd name="connsiteY1" fmla="*/ 470 h 26933"/>
                <a:gd name="connsiteX2" fmla="*/ 73011 w 73254"/>
                <a:gd name="connsiteY2" fmla="*/ 26933 h 269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73254" h="26933">
                  <a:moveTo>
                    <a:pt x="286" y="24901"/>
                  </a:moveTo>
                  <a:cubicBezTo>
                    <a:pt x="-990" y="18853"/>
                    <a:pt x="522" y="4676"/>
                    <a:pt x="36861" y="470"/>
                  </a:cubicBezTo>
                  <a:cubicBezTo>
                    <a:pt x="40264" y="92"/>
                    <a:pt x="76556" y="-4680"/>
                    <a:pt x="73011" y="26933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28" name="Forma livre: Forma 1427">
              <a:extLst>
                <a:ext uri="{FF2B5EF4-FFF2-40B4-BE49-F238E27FC236}">
                  <a16:creationId xmlns:a16="http://schemas.microsoft.com/office/drawing/2014/main" id="{6014F07E-8955-D14E-4ADD-2C07E966EE08}"/>
                </a:ext>
              </a:extLst>
            </p:cNvPr>
            <p:cNvSpPr/>
            <p:nvPr/>
          </p:nvSpPr>
          <p:spPr>
            <a:xfrm>
              <a:off x="5751989" y="3732050"/>
              <a:ext cx="8540" cy="31424"/>
            </a:xfrm>
            <a:custGeom>
              <a:avLst/>
              <a:gdLst>
                <a:gd name="connsiteX0" fmla="*/ 886 w 8540"/>
                <a:gd name="connsiteY0" fmla="*/ 0 h 31424"/>
                <a:gd name="connsiteX1" fmla="*/ 8541 w 8540"/>
                <a:gd name="connsiteY1" fmla="*/ 31425 h 314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540" h="31424">
                  <a:moveTo>
                    <a:pt x="886" y="0"/>
                  </a:moveTo>
                  <a:cubicBezTo>
                    <a:pt x="886" y="0"/>
                    <a:pt x="-3840" y="20083"/>
                    <a:pt x="8541" y="31425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29" name="Forma livre: Forma 1428">
              <a:extLst>
                <a:ext uri="{FF2B5EF4-FFF2-40B4-BE49-F238E27FC236}">
                  <a16:creationId xmlns:a16="http://schemas.microsoft.com/office/drawing/2014/main" id="{459CD798-1F30-D5A9-A528-73EF0640B573}"/>
                </a:ext>
              </a:extLst>
            </p:cNvPr>
            <p:cNvSpPr/>
            <p:nvPr/>
          </p:nvSpPr>
          <p:spPr>
            <a:xfrm>
              <a:off x="5779668" y="3720472"/>
              <a:ext cx="34448" cy="7597"/>
            </a:xfrm>
            <a:custGeom>
              <a:avLst/>
              <a:gdLst>
                <a:gd name="connsiteX0" fmla="*/ 0 w 34448"/>
                <a:gd name="connsiteY0" fmla="*/ 6568 h 7597"/>
                <a:gd name="connsiteX1" fmla="*/ 34449 w 34448"/>
                <a:gd name="connsiteY1" fmla="*/ 0 h 75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4448" h="7597">
                  <a:moveTo>
                    <a:pt x="0" y="6568"/>
                  </a:moveTo>
                  <a:cubicBezTo>
                    <a:pt x="0" y="6568"/>
                    <a:pt x="19989" y="11436"/>
                    <a:pt x="34449" y="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30" name="Forma livre: Forma 1429">
              <a:extLst>
                <a:ext uri="{FF2B5EF4-FFF2-40B4-BE49-F238E27FC236}">
                  <a16:creationId xmlns:a16="http://schemas.microsoft.com/office/drawing/2014/main" id="{9C8E1F3F-6DAB-992B-740C-BB3F1C469CC9}"/>
                </a:ext>
              </a:extLst>
            </p:cNvPr>
            <p:cNvSpPr/>
            <p:nvPr/>
          </p:nvSpPr>
          <p:spPr>
            <a:xfrm>
              <a:off x="5843793" y="3722056"/>
              <a:ext cx="26746" cy="12262"/>
            </a:xfrm>
            <a:custGeom>
              <a:avLst/>
              <a:gdLst>
                <a:gd name="connsiteX0" fmla="*/ 0 w 26746"/>
                <a:gd name="connsiteY0" fmla="*/ 779 h 12262"/>
                <a:gd name="connsiteX1" fmla="*/ 26746 w 26746"/>
                <a:gd name="connsiteY1" fmla="*/ 12262 h 122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6746" h="12262">
                  <a:moveTo>
                    <a:pt x="0" y="779"/>
                  </a:moveTo>
                  <a:cubicBezTo>
                    <a:pt x="0" y="779"/>
                    <a:pt x="13940" y="-4466"/>
                    <a:pt x="26746" y="12262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31" name="Forma livre: Forma 1430">
              <a:extLst>
                <a:ext uri="{FF2B5EF4-FFF2-40B4-BE49-F238E27FC236}">
                  <a16:creationId xmlns:a16="http://schemas.microsoft.com/office/drawing/2014/main" id="{C211B9A5-E358-9123-B299-76571F995FE3}"/>
                </a:ext>
              </a:extLst>
            </p:cNvPr>
            <p:cNvSpPr/>
            <p:nvPr/>
          </p:nvSpPr>
          <p:spPr>
            <a:xfrm>
              <a:off x="5714468" y="3697584"/>
              <a:ext cx="109242" cy="73253"/>
            </a:xfrm>
            <a:custGeom>
              <a:avLst/>
              <a:gdLst>
                <a:gd name="connsiteX0" fmla="*/ 61279 w 109242"/>
                <a:gd name="connsiteY0" fmla="*/ 5924 h 73253"/>
                <a:gd name="connsiteX1" fmla="*/ 25034 w 109242"/>
                <a:gd name="connsiteY1" fmla="*/ 631 h 73253"/>
                <a:gd name="connsiteX2" fmla="*/ 20261 w 109242"/>
                <a:gd name="connsiteY2" fmla="*/ 1860 h 73253"/>
                <a:gd name="connsiteX3" fmla="*/ 39021 w 109242"/>
                <a:gd name="connsiteY3" fmla="*/ 58141 h 73253"/>
                <a:gd name="connsiteX4" fmla="*/ 87600 w 109242"/>
                <a:gd name="connsiteY4" fmla="*/ 60503 h 73253"/>
                <a:gd name="connsiteX5" fmla="*/ 109242 w 109242"/>
                <a:gd name="connsiteY5" fmla="*/ 49115 h 732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09242" h="73253">
                  <a:moveTo>
                    <a:pt x="61279" y="5924"/>
                  </a:moveTo>
                  <a:cubicBezTo>
                    <a:pt x="61279" y="5924"/>
                    <a:pt x="38785" y="-2299"/>
                    <a:pt x="25034" y="631"/>
                  </a:cubicBezTo>
                  <a:lnTo>
                    <a:pt x="20261" y="1860"/>
                  </a:lnTo>
                  <a:cubicBezTo>
                    <a:pt x="20261" y="1860"/>
                    <a:pt x="-36020" y="47603"/>
                    <a:pt x="39021" y="58141"/>
                  </a:cubicBezTo>
                  <a:cubicBezTo>
                    <a:pt x="39021" y="58141"/>
                    <a:pt x="60995" y="90510"/>
                    <a:pt x="87600" y="60503"/>
                  </a:cubicBezTo>
                  <a:cubicBezTo>
                    <a:pt x="87600" y="60503"/>
                    <a:pt x="102391" y="49351"/>
                    <a:pt x="109242" y="49115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432" name="Gráfico 15">
              <a:extLst>
                <a:ext uri="{FF2B5EF4-FFF2-40B4-BE49-F238E27FC236}">
                  <a16:creationId xmlns:a16="http://schemas.microsoft.com/office/drawing/2014/main" id="{DC64FFB3-F7BD-7685-81F4-8F12B74D325A}"/>
                </a:ext>
              </a:extLst>
            </p:cNvPr>
            <p:cNvGrpSpPr/>
            <p:nvPr/>
          </p:nvGrpSpPr>
          <p:grpSpPr>
            <a:xfrm>
              <a:off x="5646998" y="3637336"/>
              <a:ext cx="262192" cy="285577"/>
              <a:chOff x="5646998" y="3637336"/>
              <a:chExt cx="262192" cy="285577"/>
            </a:xfrm>
            <a:noFill/>
          </p:grpSpPr>
          <p:sp>
            <p:nvSpPr>
              <p:cNvPr id="1433" name="Forma livre: Forma 1432">
                <a:extLst>
                  <a:ext uri="{FF2B5EF4-FFF2-40B4-BE49-F238E27FC236}">
                    <a16:creationId xmlns:a16="http://schemas.microsoft.com/office/drawing/2014/main" id="{0A14A34E-616B-9F68-5593-6327E002ABA3}"/>
                  </a:ext>
                </a:extLst>
              </p:cNvPr>
              <p:cNvSpPr/>
              <p:nvPr/>
            </p:nvSpPr>
            <p:spPr>
              <a:xfrm>
                <a:off x="5646998" y="3637336"/>
                <a:ext cx="262192" cy="285577"/>
              </a:xfrm>
              <a:custGeom>
                <a:avLst/>
                <a:gdLst>
                  <a:gd name="connsiteX0" fmla="*/ 225668 w 262192"/>
                  <a:gd name="connsiteY0" fmla="*/ 285577 h 285577"/>
                  <a:gd name="connsiteX1" fmla="*/ 221179 w 262192"/>
                  <a:gd name="connsiteY1" fmla="*/ 226839 h 285577"/>
                  <a:gd name="connsiteX2" fmla="*/ 245327 w 262192"/>
                  <a:gd name="connsiteY2" fmla="*/ 167439 h 285577"/>
                  <a:gd name="connsiteX3" fmla="*/ 220140 w 262192"/>
                  <a:gd name="connsiteY3" fmla="*/ 23453 h 285577"/>
                  <a:gd name="connsiteX4" fmla="*/ 70530 w 262192"/>
                  <a:gd name="connsiteY4" fmla="*/ 19720 h 285577"/>
                  <a:gd name="connsiteX5" fmla="*/ 34521 w 262192"/>
                  <a:gd name="connsiteY5" fmla="*/ 102700 h 285577"/>
                  <a:gd name="connsiteX6" fmla="*/ 30883 w 262192"/>
                  <a:gd name="connsiteY6" fmla="*/ 128643 h 285577"/>
                  <a:gd name="connsiteX7" fmla="*/ 640 w 262192"/>
                  <a:gd name="connsiteY7" fmla="*/ 164226 h 285577"/>
                  <a:gd name="connsiteX8" fmla="*/ 8720 w 262192"/>
                  <a:gd name="connsiteY8" fmla="*/ 175804 h 285577"/>
                  <a:gd name="connsiteX9" fmla="*/ 27150 w 262192"/>
                  <a:gd name="connsiteY9" fmla="*/ 179584 h 285577"/>
                  <a:gd name="connsiteX10" fmla="*/ 35608 w 262192"/>
                  <a:gd name="connsiteY10" fmla="*/ 206189 h 285577"/>
                  <a:gd name="connsiteX11" fmla="*/ 33671 w 262192"/>
                  <a:gd name="connsiteY11" fmla="*/ 232037 h 285577"/>
                  <a:gd name="connsiteX12" fmla="*/ 37404 w 262192"/>
                  <a:gd name="connsiteY12" fmla="*/ 257035 h 285577"/>
                  <a:gd name="connsiteX13" fmla="*/ 100868 w 262192"/>
                  <a:gd name="connsiteY13" fmla="*/ 254530 h 285577"/>
                  <a:gd name="connsiteX14" fmla="*/ 109374 w 262192"/>
                  <a:gd name="connsiteY14" fmla="*/ 285152 h 2855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262192" h="285577">
                    <a:moveTo>
                      <a:pt x="225668" y="285577"/>
                    </a:moveTo>
                    <a:cubicBezTo>
                      <a:pt x="223258" y="271637"/>
                      <a:pt x="219809" y="248954"/>
                      <a:pt x="221179" y="226839"/>
                    </a:cubicBezTo>
                    <a:cubicBezTo>
                      <a:pt x="221179" y="226839"/>
                      <a:pt x="229213" y="190594"/>
                      <a:pt x="245327" y="167439"/>
                    </a:cubicBezTo>
                    <a:cubicBezTo>
                      <a:pt x="245327" y="167439"/>
                      <a:pt x="296693" y="79828"/>
                      <a:pt x="220140" y="23453"/>
                    </a:cubicBezTo>
                    <a:cubicBezTo>
                      <a:pt x="220140" y="23453"/>
                      <a:pt x="152423" y="-26732"/>
                      <a:pt x="70530" y="19720"/>
                    </a:cubicBezTo>
                    <a:cubicBezTo>
                      <a:pt x="70530" y="19720"/>
                      <a:pt x="24834" y="39473"/>
                      <a:pt x="34521" y="102700"/>
                    </a:cubicBezTo>
                    <a:cubicBezTo>
                      <a:pt x="34521" y="102700"/>
                      <a:pt x="36459" y="120373"/>
                      <a:pt x="30883" y="128643"/>
                    </a:cubicBezTo>
                    <a:lnTo>
                      <a:pt x="640" y="164226"/>
                    </a:lnTo>
                    <a:cubicBezTo>
                      <a:pt x="640" y="164226"/>
                      <a:pt x="-3377" y="174811"/>
                      <a:pt x="8720" y="175804"/>
                    </a:cubicBezTo>
                    <a:lnTo>
                      <a:pt x="27150" y="179584"/>
                    </a:lnTo>
                    <a:cubicBezTo>
                      <a:pt x="27150" y="179584"/>
                      <a:pt x="34852" y="194611"/>
                      <a:pt x="35608" y="206189"/>
                    </a:cubicBezTo>
                    <a:cubicBezTo>
                      <a:pt x="36365" y="217766"/>
                      <a:pt x="33671" y="232037"/>
                      <a:pt x="33671" y="232037"/>
                    </a:cubicBezTo>
                    <a:cubicBezTo>
                      <a:pt x="33671" y="232037"/>
                      <a:pt x="27102" y="249380"/>
                      <a:pt x="37404" y="257035"/>
                    </a:cubicBezTo>
                    <a:cubicBezTo>
                      <a:pt x="39436" y="257555"/>
                      <a:pt x="46997" y="266108"/>
                      <a:pt x="100868" y="254530"/>
                    </a:cubicBezTo>
                    <a:cubicBezTo>
                      <a:pt x="100868" y="254530"/>
                      <a:pt x="106066" y="256988"/>
                      <a:pt x="109374" y="285152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434" name="Forma livre: Forma 1433">
                <a:extLst>
                  <a:ext uri="{FF2B5EF4-FFF2-40B4-BE49-F238E27FC236}">
                    <a16:creationId xmlns:a16="http://schemas.microsoft.com/office/drawing/2014/main" id="{B18FF9FE-AD03-B4A8-BB0E-7D942AD00AE4}"/>
                  </a:ext>
                </a:extLst>
              </p:cNvPr>
              <p:cNvSpPr/>
              <p:nvPr/>
            </p:nvSpPr>
            <p:spPr>
              <a:xfrm>
                <a:off x="5684922" y="3844328"/>
                <a:ext cx="23155" cy="378"/>
              </a:xfrm>
              <a:custGeom>
                <a:avLst/>
                <a:gdLst>
                  <a:gd name="connsiteX0" fmla="*/ 0 w 23155"/>
                  <a:gd name="connsiteY0" fmla="*/ 0 h 378"/>
                  <a:gd name="connsiteX1" fmla="*/ 23155 w 23155"/>
                  <a:gd name="connsiteY1" fmla="*/ 378 h 3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3155" h="378">
                    <a:moveTo>
                      <a:pt x="0" y="0"/>
                    </a:moveTo>
                    <a:lnTo>
                      <a:pt x="23155" y="378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447" name="Gráfico 15">
            <a:extLst>
              <a:ext uri="{FF2B5EF4-FFF2-40B4-BE49-F238E27FC236}">
                <a16:creationId xmlns:a16="http://schemas.microsoft.com/office/drawing/2014/main" id="{A982AEEB-82B9-3536-82ED-8EB644F2FA9D}"/>
              </a:ext>
            </a:extLst>
          </p:cNvPr>
          <p:cNvGrpSpPr/>
          <p:nvPr/>
        </p:nvGrpSpPr>
        <p:grpSpPr>
          <a:xfrm>
            <a:off x="5024201" y="5758490"/>
            <a:ext cx="277103" cy="277103"/>
            <a:chOff x="5024201" y="5758490"/>
            <a:chExt cx="277103" cy="277103"/>
          </a:xfrm>
          <a:noFill/>
        </p:grpSpPr>
        <p:sp>
          <p:nvSpPr>
            <p:cNvPr id="1448" name="Forma livre: Forma 1447">
              <a:extLst>
                <a:ext uri="{FF2B5EF4-FFF2-40B4-BE49-F238E27FC236}">
                  <a16:creationId xmlns:a16="http://schemas.microsoft.com/office/drawing/2014/main" id="{89AC9AB3-4AB8-C18D-A3E5-373B2C03B1F2}"/>
                </a:ext>
              </a:extLst>
            </p:cNvPr>
            <p:cNvSpPr/>
            <p:nvPr/>
          </p:nvSpPr>
          <p:spPr>
            <a:xfrm>
              <a:off x="5216907" y="5758490"/>
              <a:ext cx="84397" cy="84444"/>
            </a:xfrm>
            <a:custGeom>
              <a:avLst/>
              <a:gdLst>
                <a:gd name="connsiteX0" fmla="*/ 0 w 84397"/>
                <a:gd name="connsiteY0" fmla="*/ 0 h 84444"/>
                <a:gd name="connsiteX1" fmla="*/ 84398 w 84397"/>
                <a:gd name="connsiteY1" fmla="*/ 84445 h 844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4397" h="84444">
                  <a:moveTo>
                    <a:pt x="0" y="0"/>
                  </a:moveTo>
                  <a:lnTo>
                    <a:pt x="84398" y="84445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49" name="Forma livre: Forma 1448">
              <a:extLst>
                <a:ext uri="{FF2B5EF4-FFF2-40B4-BE49-F238E27FC236}">
                  <a16:creationId xmlns:a16="http://schemas.microsoft.com/office/drawing/2014/main" id="{E5A73D80-AF2C-84D4-8C24-35A02CC425B6}"/>
                </a:ext>
              </a:extLst>
            </p:cNvPr>
            <p:cNvSpPr/>
            <p:nvPr/>
          </p:nvSpPr>
          <p:spPr>
            <a:xfrm>
              <a:off x="5056760" y="5823513"/>
              <a:ext cx="179522" cy="179569"/>
            </a:xfrm>
            <a:custGeom>
              <a:avLst/>
              <a:gdLst>
                <a:gd name="connsiteX0" fmla="*/ 179522 w 179522"/>
                <a:gd name="connsiteY0" fmla="*/ 72300 h 179569"/>
                <a:gd name="connsiteX1" fmla="*/ 72253 w 179522"/>
                <a:gd name="connsiteY1" fmla="*/ 179569 h 179569"/>
                <a:gd name="connsiteX2" fmla="*/ 10727 w 179522"/>
                <a:gd name="connsiteY2" fmla="*/ 168842 h 179569"/>
                <a:gd name="connsiteX3" fmla="*/ 10632 w 179522"/>
                <a:gd name="connsiteY3" fmla="*/ 168748 h 179569"/>
                <a:gd name="connsiteX4" fmla="*/ 0 w 179522"/>
                <a:gd name="connsiteY4" fmla="*/ 107269 h 179569"/>
                <a:gd name="connsiteX5" fmla="*/ 107269 w 179522"/>
                <a:gd name="connsiteY5" fmla="*/ 0 h 1795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79522" h="179569">
                  <a:moveTo>
                    <a:pt x="179522" y="72300"/>
                  </a:moveTo>
                  <a:lnTo>
                    <a:pt x="72253" y="179569"/>
                  </a:lnTo>
                  <a:lnTo>
                    <a:pt x="10727" y="168842"/>
                  </a:lnTo>
                  <a:lnTo>
                    <a:pt x="10632" y="168748"/>
                  </a:lnTo>
                  <a:lnTo>
                    <a:pt x="0" y="107269"/>
                  </a:lnTo>
                  <a:lnTo>
                    <a:pt x="107269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50" name="Forma livre: Forma 1449">
              <a:extLst>
                <a:ext uri="{FF2B5EF4-FFF2-40B4-BE49-F238E27FC236}">
                  <a16:creationId xmlns:a16="http://schemas.microsoft.com/office/drawing/2014/main" id="{FB48E71A-581F-3AFB-9812-E0199D9390A3}"/>
                </a:ext>
              </a:extLst>
            </p:cNvPr>
            <p:cNvSpPr/>
            <p:nvPr/>
          </p:nvSpPr>
          <p:spPr>
            <a:xfrm>
              <a:off x="5135014" y="5853331"/>
              <a:ext cx="19941" cy="19894"/>
            </a:xfrm>
            <a:custGeom>
              <a:avLst/>
              <a:gdLst>
                <a:gd name="connsiteX0" fmla="*/ 0 w 19941"/>
                <a:gd name="connsiteY0" fmla="*/ 0 h 19894"/>
                <a:gd name="connsiteX1" fmla="*/ 19942 w 19941"/>
                <a:gd name="connsiteY1" fmla="*/ 19894 h 198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9941" h="19894">
                  <a:moveTo>
                    <a:pt x="0" y="0"/>
                  </a:moveTo>
                  <a:lnTo>
                    <a:pt x="19942" y="19894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51" name="Forma livre: Forma 1450">
              <a:extLst>
                <a:ext uri="{FF2B5EF4-FFF2-40B4-BE49-F238E27FC236}">
                  <a16:creationId xmlns:a16="http://schemas.microsoft.com/office/drawing/2014/main" id="{8C54BE2C-1131-189D-DF8F-799A28E71773}"/>
                </a:ext>
              </a:extLst>
            </p:cNvPr>
            <p:cNvSpPr/>
            <p:nvPr/>
          </p:nvSpPr>
          <p:spPr>
            <a:xfrm>
              <a:off x="5108835" y="5879510"/>
              <a:ext cx="19941" cy="19941"/>
            </a:xfrm>
            <a:custGeom>
              <a:avLst/>
              <a:gdLst>
                <a:gd name="connsiteX0" fmla="*/ 0 w 19941"/>
                <a:gd name="connsiteY0" fmla="*/ 0 h 19941"/>
                <a:gd name="connsiteX1" fmla="*/ 19942 w 19941"/>
                <a:gd name="connsiteY1" fmla="*/ 19942 h 199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9941" h="19941">
                  <a:moveTo>
                    <a:pt x="0" y="0"/>
                  </a:moveTo>
                  <a:lnTo>
                    <a:pt x="19942" y="19942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52" name="Forma livre: Forma 1451">
              <a:extLst>
                <a:ext uri="{FF2B5EF4-FFF2-40B4-BE49-F238E27FC236}">
                  <a16:creationId xmlns:a16="http://schemas.microsoft.com/office/drawing/2014/main" id="{A0B52F40-56A5-C9AB-B820-1A4D0D2D2F16}"/>
                </a:ext>
              </a:extLst>
            </p:cNvPr>
            <p:cNvSpPr/>
            <p:nvPr/>
          </p:nvSpPr>
          <p:spPr>
            <a:xfrm>
              <a:off x="5082655" y="5905737"/>
              <a:ext cx="19894" cy="19894"/>
            </a:xfrm>
            <a:custGeom>
              <a:avLst/>
              <a:gdLst>
                <a:gd name="connsiteX0" fmla="*/ 0 w 19894"/>
                <a:gd name="connsiteY0" fmla="*/ 0 h 19894"/>
                <a:gd name="connsiteX1" fmla="*/ 19894 w 19894"/>
                <a:gd name="connsiteY1" fmla="*/ 19894 h 198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9894" h="19894">
                  <a:moveTo>
                    <a:pt x="0" y="0"/>
                  </a:moveTo>
                  <a:lnTo>
                    <a:pt x="19894" y="19894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53" name="Forma livre: Forma 1452">
              <a:extLst>
                <a:ext uri="{FF2B5EF4-FFF2-40B4-BE49-F238E27FC236}">
                  <a16:creationId xmlns:a16="http://schemas.microsoft.com/office/drawing/2014/main" id="{D0768DFE-5909-CCBC-8C09-2E7998055784}"/>
                </a:ext>
              </a:extLst>
            </p:cNvPr>
            <p:cNvSpPr/>
            <p:nvPr/>
          </p:nvSpPr>
          <p:spPr>
            <a:xfrm>
              <a:off x="5137613" y="5797476"/>
              <a:ext cx="124753" cy="124753"/>
            </a:xfrm>
            <a:custGeom>
              <a:avLst/>
              <a:gdLst>
                <a:gd name="connsiteX0" fmla="*/ 0 w 124753"/>
                <a:gd name="connsiteY0" fmla="*/ 0 h 124753"/>
                <a:gd name="connsiteX1" fmla="*/ 124753 w 124753"/>
                <a:gd name="connsiteY1" fmla="*/ 124753 h 1247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4753" h="124753">
                  <a:moveTo>
                    <a:pt x="0" y="0"/>
                  </a:moveTo>
                  <a:lnTo>
                    <a:pt x="124753" y="124753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454" name="Gráfico 15">
              <a:extLst>
                <a:ext uri="{FF2B5EF4-FFF2-40B4-BE49-F238E27FC236}">
                  <a16:creationId xmlns:a16="http://schemas.microsoft.com/office/drawing/2014/main" id="{7A406D8A-DC15-4375-768A-E0CD4B1516D9}"/>
                </a:ext>
              </a:extLst>
            </p:cNvPr>
            <p:cNvGrpSpPr/>
            <p:nvPr/>
          </p:nvGrpSpPr>
          <p:grpSpPr>
            <a:xfrm>
              <a:off x="5192524" y="5776731"/>
              <a:ext cx="90588" cy="90588"/>
              <a:chOff x="5192524" y="5776731"/>
              <a:chExt cx="90588" cy="90588"/>
            </a:xfrm>
          </p:grpSpPr>
          <p:sp>
            <p:nvSpPr>
              <p:cNvPr id="1455" name="Forma livre: Forma 1454">
                <a:extLst>
                  <a:ext uri="{FF2B5EF4-FFF2-40B4-BE49-F238E27FC236}">
                    <a16:creationId xmlns:a16="http://schemas.microsoft.com/office/drawing/2014/main" id="{8E1C4722-E4BA-5B9A-B550-B4A331ED912D}"/>
                  </a:ext>
                </a:extLst>
              </p:cNvPr>
              <p:cNvSpPr/>
              <p:nvPr/>
            </p:nvSpPr>
            <p:spPr>
              <a:xfrm>
                <a:off x="5192524" y="5776731"/>
                <a:ext cx="42671" cy="42671"/>
              </a:xfrm>
              <a:custGeom>
                <a:avLst/>
                <a:gdLst>
                  <a:gd name="connsiteX0" fmla="*/ 0 w 42671"/>
                  <a:gd name="connsiteY0" fmla="*/ 42671 h 42671"/>
                  <a:gd name="connsiteX1" fmla="*/ 42671 w 42671"/>
                  <a:gd name="connsiteY1" fmla="*/ 0 h 426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2671" h="42671">
                    <a:moveTo>
                      <a:pt x="0" y="42671"/>
                    </a:moveTo>
                    <a:lnTo>
                      <a:pt x="42671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456" name="Forma livre: Forma 1455">
                <a:extLst>
                  <a:ext uri="{FF2B5EF4-FFF2-40B4-BE49-F238E27FC236}">
                    <a16:creationId xmlns:a16="http://schemas.microsoft.com/office/drawing/2014/main" id="{75FF1B67-6A47-296D-5260-1E3332F9E18B}"/>
                  </a:ext>
                </a:extLst>
              </p:cNvPr>
              <p:cNvSpPr/>
              <p:nvPr/>
            </p:nvSpPr>
            <p:spPr>
              <a:xfrm>
                <a:off x="5240393" y="5824600"/>
                <a:ext cx="42718" cy="42718"/>
              </a:xfrm>
              <a:custGeom>
                <a:avLst/>
                <a:gdLst>
                  <a:gd name="connsiteX0" fmla="*/ 0 w 42718"/>
                  <a:gd name="connsiteY0" fmla="*/ 42719 h 42718"/>
                  <a:gd name="connsiteX1" fmla="*/ 42719 w 42718"/>
                  <a:gd name="connsiteY1" fmla="*/ 0 h 427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2718" h="42718">
                    <a:moveTo>
                      <a:pt x="0" y="42719"/>
                    </a:moveTo>
                    <a:lnTo>
                      <a:pt x="42719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457" name="Forma livre: Forma 1456">
              <a:extLst>
                <a:ext uri="{FF2B5EF4-FFF2-40B4-BE49-F238E27FC236}">
                  <a16:creationId xmlns:a16="http://schemas.microsoft.com/office/drawing/2014/main" id="{DE14EE13-9A9F-F211-A29C-0D4A3B3C8289}"/>
                </a:ext>
              </a:extLst>
            </p:cNvPr>
            <p:cNvSpPr/>
            <p:nvPr/>
          </p:nvSpPr>
          <p:spPr>
            <a:xfrm>
              <a:off x="5024201" y="5992592"/>
              <a:ext cx="43002" cy="43002"/>
            </a:xfrm>
            <a:custGeom>
              <a:avLst/>
              <a:gdLst>
                <a:gd name="connsiteX0" fmla="*/ 43002 w 43002"/>
                <a:gd name="connsiteY0" fmla="*/ 0 h 43002"/>
                <a:gd name="connsiteX1" fmla="*/ 0 w 43002"/>
                <a:gd name="connsiteY1" fmla="*/ 43002 h 430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3002" h="43002">
                  <a:moveTo>
                    <a:pt x="43002" y="0"/>
                  </a:moveTo>
                  <a:lnTo>
                    <a:pt x="0" y="43002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458" name="Gráfico 15">
            <a:extLst>
              <a:ext uri="{FF2B5EF4-FFF2-40B4-BE49-F238E27FC236}">
                <a16:creationId xmlns:a16="http://schemas.microsoft.com/office/drawing/2014/main" id="{2E87EFC9-35D3-7F9A-5BBB-7BAC2E4E8781}"/>
              </a:ext>
            </a:extLst>
          </p:cNvPr>
          <p:cNvGrpSpPr/>
          <p:nvPr/>
        </p:nvGrpSpPr>
        <p:grpSpPr>
          <a:xfrm>
            <a:off x="5647390" y="5746936"/>
            <a:ext cx="261449" cy="300282"/>
            <a:chOff x="5647390" y="5746936"/>
            <a:chExt cx="261449" cy="300282"/>
          </a:xfrm>
          <a:noFill/>
        </p:grpSpPr>
        <p:grpSp>
          <p:nvGrpSpPr>
            <p:cNvPr id="1459" name="Gráfico 15">
              <a:extLst>
                <a:ext uri="{FF2B5EF4-FFF2-40B4-BE49-F238E27FC236}">
                  <a16:creationId xmlns:a16="http://schemas.microsoft.com/office/drawing/2014/main" id="{03FC938C-C6E1-4A04-871E-17E1C82040EC}"/>
                </a:ext>
              </a:extLst>
            </p:cNvPr>
            <p:cNvGrpSpPr/>
            <p:nvPr/>
          </p:nvGrpSpPr>
          <p:grpSpPr>
            <a:xfrm>
              <a:off x="5672635" y="5839627"/>
              <a:ext cx="92809" cy="121540"/>
              <a:chOff x="5672635" y="5839627"/>
              <a:chExt cx="92809" cy="121540"/>
            </a:xfrm>
            <a:noFill/>
          </p:grpSpPr>
          <p:sp>
            <p:nvSpPr>
              <p:cNvPr id="1460" name="Forma livre: Forma 1459">
                <a:extLst>
                  <a:ext uri="{FF2B5EF4-FFF2-40B4-BE49-F238E27FC236}">
                    <a16:creationId xmlns:a16="http://schemas.microsoft.com/office/drawing/2014/main" id="{7E423767-7062-B6A8-32B2-B4EBDBF2466B}"/>
                  </a:ext>
                </a:extLst>
              </p:cNvPr>
              <p:cNvSpPr/>
              <p:nvPr/>
            </p:nvSpPr>
            <p:spPr>
              <a:xfrm>
                <a:off x="5672635" y="5847330"/>
                <a:ext cx="85059" cy="113837"/>
              </a:xfrm>
              <a:custGeom>
                <a:avLst/>
                <a:gdLst>
                  <a:gd name="connsiteX0" fmla="*/ 85059 w 85059"/>
                  <a:gd name="connsiteY0" fmla="*/ 0 h 113837"/>
                  <a:gd name="connsiteX1" fmla="*/ 17012 w 85059"/>
                  <a:gd name="connsiteY1" fmla="*/ 68047 h 113837"/>
                  <a:gd name="connsiteX2" fmla="*/ 9404 w 85059"/>
                  <a:gd name="connsiteY2" fmla="*/ 89690 h 113837"/>
                  <a:gd name="connsiteX3" fmla="*/ 0 w 85059"/>
                  <a:gd name="connsiteY3" fmla="*/ 113838 h 1138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5059" h="113837">
                    <a:moveTo>
                      <a:pt x="85059" y="0"/>
                    </a:moveTo>
                    <a:lnTo>
                      <a:pt x="17012" y="68047"/>
                    </a:lnTo>
                    <a:cubicBezTo>
                      <a:pt x="17012" y="68047"/>
                      <a:pt x="8270" y="75939"/>
                      <a:pt x="9404" y="89690"/>
                    </a:cubicBezTo>
                    <a:cubicBezTo>
                      <a:pt x="9404" y="89690"/>
                      <a:pt x="9971" y="103867"/>
                      <a:pt x="0" y="113838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461" name="Forma livre: Forma 1460">
                <a:extLst>
                  <a:ext uri="{FF2B5EF4-FFF2-40B4-BE49-F238E27FC236}">
                    <a16:creationId xmlns:a16="http://schemas.microsoft.com/office/drawing/2014/main" id="{819867E5-E97D-13F3-08FE-D4D35CE4630E}"/>
                  </a:ext>
                </a:extLst>
              </p:cNvPr>
              <p:cNvSpPr/>
              <p:nvPr/>
            </p:nvSpPr>
            <p:spPr>
              <a:xfrm>
                <a:off x="5720741" y="5839627"/>
                <a:ext cx="44703" cy="44656"/>
              </a:xfrm>
              <a:custGeom>
                <a:avLst/>
                <a:gdLst>
                  <a:gd name="connsiteX0" fmla="*/ 44703 w 44703"/>
                  <a:gd name="connsiteY0" fmla="*/ 0 h 44656"/>
                  <a:gd name="connsiteX1" fmla="*/ 0 w 44703"/>
                  <a:gd name="connsiteY1" fmla="*/ 44656 h 446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4703" h="44656">
                    <a:moveTo>
                      <a:pt x="44703" y="0"/>
                    </a:moveTo>
                    <a:lnTo>
                      <a:pt x="0" y="44656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462" name="Forma livre: Forma 1461">
              <a:extLst>
                <a:ext uri="{FF2B5EF4-FFF2-40B4-BE49-F238E27FC236}">
                  <a16:creationId xmlns:a16="http://schemas.microsoft.com/office/drawing/2014/main" id="{17F53888-7F64-CA25-8D93-14C65042B277}"/>
                </a:ext>
              </a:extLst>
            </p:cNvPr>
            <p:cNvSpPr/>
            <p:nvPr/>
          </p:nvSpPr>
          <p:spPr>
            <a:xfrm>
              <a:off x="5647390" y="5988859"/>
              <a:ext cx="39715" cy="58360"/>
            </a:xfrm>
            <a:custGeom>
              <a:avLst/>
              <a:gdLst>
                <a:gd name="connsiteX0" fmla="*/ 32759 w 39715"/>
                <a:gd name="connsiteY0" fmla="*/ 20981 h 58360"/>
                <a:gd name="connsiteX1" fmla="*/ 19763 w 39715"/>
                <a:gd name="connsiteY1" fmla="*/ 0 h 58360"/>
                <a:gd name="connsiteX2" fmla="*/ 19244 w 39715"/>
                <a:gd name="connsiteY2" fmla="*/ 1937 h 58360"/>
                <a:gd name="connsiteX3" fmla="*/ 6768 w 39715"/>
                <a:gd name="connsiteY3" fmla="*/ 20981 h 58360"/>
                <a:gd name="connsiteX4" fmla="*/ 19669 w 39715"/>
                <a:gd name="connsiteY4" fmla="*/ 58360 h 58360"/>
                <a:gd name="connsiteX5" fmla="*/ 19858 w 39715"/>
                <a:gd name="connsiteY5" fmla="*/ 58360 h 58360"/>
                <a:gd name="connsiteX6" fmla="*/ 32759 w 39715"/>
                <a:gd name="connsiteY6" fmla="*/ 20981 h 583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9715" h="58360">
                  <a:moveTo>
                    <a:pt x="32759" y="20981"/>
                  </a:moveTo>
                  <a:cubicBezTo>
                    <a:pt x="20945" y="7136"/>
                    <a:pt x="19858" y="709"/>
                    <a:pt x="19763" y="0"/>
                  </a:cubicBezTo>
                  <a:lnTo>
                    <a:pt x="19244" y="1937"/>
                  </a:lnTo>
                  <a:cubicBezTo>
                    <a:pt x="19149" y="2646"/>
                    <a:pt x="18251" y="6757"/>
                    <a:pt x="6768" y="20981"/>
                  </a:cubicBezTo>
                  <a:cubicBezTo>
                    <a:pt x="-6605" y="37521"/>
                    <a:pt x="956" y="57415"/>
                    <a:pt x="19669" y="58360"/>
                  </a:cubicBezTo>
                  <a:lnTo>
                    <a:pt x="19858" y="58360"/>
                  </a:lnTo>
                  <a:cubicBezTo>
                    <a:pt x="38571" y="57415"/>
                    <a:pt x="46557" y="37142"/>
                    <a:pt x="32759" y="20981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463" name="Gráfico 15">
              <a:extLst>
                <a:ext uri="{FF2B5EF4-FFF2-40B4-BE49-F238E27FC236}">
                  <a16:creationId xmlns:a16="http://schemas.microsoft.com/office/drawing/2014/main" id="{06FBE67A-B4B4-0EEE-7FB5-64F9FCBADAAC}"/>
                </a:ext>
              </a:extLst>
            </p:cNvPr>
            <p:cNvGrpSpPr/>
            <p:nvPr/>
          </p:nvGrpSpPr>
          <p:grpSpPr>
            <a:xfrm>
              <a:off x="5691585" y="5887402"/>
              <a:ext cx="121634" cy="92808"/>
              <a:chOff x="5691585" y="5887402"/>
              <a:chExt cx="121634" cy="92808"/>
            </a:xfrm>
            <a:noFill/>
          </p:grpSpPr>
          <p:sp>
            <p:nvSpPr>
              <p:cNvPr id="1464" name="Forma livre: Forma 1463">
                <a:extLst>
                  <a:ext uri="{FF2B5EF4-FFF2-40B4-BE49-F238E27FC236}">
                    <a16:creationId xmlns:a16="http://schemas.microsoft.com/office/drawing/2014/main" id="{5432860B-081E-0DF2-12E4-9A8A09409907}"/>
                  </a:ext>
                </a:extLst>
              </p:cNvPr>
              <p:cNvSpPr/>
              <p:nvPr/>
            </p:nvSpPr>
            <p:spPr>
              <a:xfrm>
                <a:off x="5691585" y="5895152"/>
                <a:ext cx="113884" cy="85059"/>
              </a:xfrm>
              <a:custGeom>
                <a:avLst/>
                <a:gdLst>
                  <a:gd name="connsiteX0" fmla="*/ 113885 w 113884"/>
                  <a:gd name="connsiteY0" fmla="*/ 0 h 85059"/>
                  <a:gd name="connsiteX1" fmla="*/ 45838 w 113884"/>
                  <a:gd name="connsiteY1" fmla="*/ 68047 h 85059"/>
                  <a:gd name="connsiteX2" fmla="*/ 24195 w 113884"/>
                  <a:gd name="connsiteY2" fmla="*/ 75655 h 85059"/>
                  <a:gd name="connsiteX3" fmla="*/ 0 w 113884"/>
                  <a:gd name="connsiteY3" fmla="*/ 85059 h 850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3884" h="85059">
                    <a:moveTo>
                      <a:pt x="113885" y="0"/>
                    </a:moveTo>
                    <a:lnTo>
                      <a:pt x="45838" y="68047"/>
                    </a:lnTo>
                    <a:cubicBezTo>
                      <a:pt x="45838" y="68047"/>
                      <a:pt x="37946" y="76790"/>
                      <a:pt x="24195" y="75655"/>
                    </a:cubicBezTo>
                    <a:cubicBezTo>
                      <a:pt x="24195" y="75655"/>
                      <a:pt x="10018" y="75041"/>
                      <a:pt x="0" y="85059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465" name="Forma livre: Forma 1464">
                <a:extLst>
                  <a:ext uri="{FF2B5EF4-FFF2-40B4-BE49-F238E27FC236}">
                    <a16:creationId xmlns:a16="http://schemas.microsoft.com/office/drawing/2014/main" id="{9FDCB0D7-D162-54F5-1C2C-4E646A354497}"/>
                  </a:ext>
                </a:extLst>
              </p:cNvPr>
              <p:cNvSpPr/>
              <p:nvPr/>
            </p:nvSpPr>
            <p:spPr>
              <a:xfrm>
                <a:off x="5768516" y="5887402"/>
                <a:ext cx="44703" cy="44703"/>
              </a:xfrm>
              <a:custGeom>
                <a:avLst/>
                <a:gdLst>
                  <a:gd name="connsiteX0" fmla="*/ 44703 w 44703"/>
                  <a:gd name="connsiteY0" fmla="*/ 0 h 44703"/>
                  <a:gd name="connsiteX1" fmla="*/ 0 w 44703"/>
                  <a:gd name="connsiteY1" fmla="*/ 44703 h 447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4703" h="44703">
                    <a:moveTo>
                      <a:pt x="44703" y="0"/>
                    </a:moveTo>
                    <a:lnTo>
                      <a:pt x="0" y="44703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466" name="Forma livre: Forma 1465">
              <a:extLst>
                <a:ext uri="{FF2B5EF4-FFF2-40B4-BE49-F238E27FC236}">
                  <a16:creationId xmlns:a16="http://schemas.microsoft.com/office/drawing/2014/main" id="{74689A86-7F01-A5F3-FC87-836A03F7CDD8}"/>
                </a:ext>
              </a:extLst>
            </p:cNvPr>
            <p:cNvSpPr/>
            <p:nvPr/>
          </p:nvSpPr>
          <p:spPr>
            <a:xfrm>
              <a:off x="5766638" y="5746936"/>
              <a:ext cx="127576" cy="102330"/>
            </a:xfrm>
            <a:custGeom>
              <a:avLst/>
              <a:gdLst>
                <a:gd name="connsiteX0" fmla="*/ 40250 w 127576"/>
                <a:gd name="connsiteY0" fmla="*/ 102331 h 102330"/>
                <a:gd name="connsiteX1" fmla="*/ 4147 w 127576"/>
                <a:gd name="connsiteY1" fmla="*/ 66228 h 102330"/>
                <a:gd name="connsiteX2" fmla="*/ 4147 w 127576"/>
                <a:gd name="connsiteY2" fmla="*/ 46192 h 102330"/>
                <a:gd name="connsiteX3" fmla="*/ 4383 w 127576"/>
                <a:gd name="connsiteY3" fmla="*/ 45956 h 102330"/>
                <a:gd name="connsiteX4" fmla="*/ 24419 w 127576"/>
                <a:gd name="connsiteY4" fmla="*/ 45956 h 102330"/>
                <a:gd name="connsiteX5" fmla="*/ 40250 w 127576"/>
                <a:gd name="connsiteY5" fmla="*/ 61786 h 102330"/>
                <a:gd name="connsiteX6" fmla="*/ 42896 w 127576"/>
                <a:gd name="connsiteY6" fmla="*/ 59140 h 102330"/>
                <a:gd name="connsiteX7" fmla="*/ 56742 w 127576"/>
                <a:gd name="connsiteY7" fmla="*/ 14673 h 102330"/>
                <a:gd name="connsiteX8" fmla="*/ 127577 w 127576"/>
                <a:gd name="connsiteY8" fmla="*/ 14673 h 1023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27576" h="102330">
                  <a:moveTo>
                    <a:pt x="40250" y="102331"/>
                  </a:moveTo>
                  <a:lnTo>
                    <a:pt x="4147" y="66228"/>
                  </a:lnTo>
                  <a:cubicBezTo>
                    <a:pt x="-1382" y="60699"/>
                    <a:pt x="-1382" y="51673"/>
                    <a:pt x="4147" y="46192"/>
                  </a:cubicBezTo>
                  <a:lnTo>
                    <a:pt x="4383" y="45956"/>
                  </a:lnTo>
                  <a:cubicBezTo>
                    <a:pt x="9912" y="40427"/>
                    <a:pt x="18938" y="40427"/>
                    <a:pt x="24419" y="45956"/>
                  </a:cubicBezTo>
                  <a:lnTo>
                    <a:pt x="40250" y="61786"/>
                  </a:lnTo>
                  <a:lnTo>
                    <a:pt x="42896" y="59140"/>
                  </a:lnTo>
                  <a:cubicBezTo>
                    <a:pt x="40013" y="43498"/>
                    <a:pt x="44644" y="26770"/>
                    <a:pt x="56742" y="14673"/>
                  </a:cubicBezTo>
                  <a:cubicBezTo>
                    <a:pt x="76305" y="-4891"/>
                    <a:pt x="108013" y="-4891"/>
                    <a:pt x="127577" y="14673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67" name="Forma livre: Forma 1466">
              <a:extLst>
                <a:ext uri="{FF2B5EF4-FFF2-40B4-BE49-F238E27FC236}">
                  <a16:creationId xmlns:a16="http://schemas.microsoft.com/office/drawing/2014/main" id="{FA766669-81E7-7829-1915-4CF4C53CD558}"/>
                </a:ext>
              </a:extLst>
            </p:cNvPr>
            <p:cNvSpPr/>
            <p:nvPr/>
          </p:nvSpPr>
          <p:spPr>
            <a:xfrm>
              <a:off x="5799421" y="5761514"/>
              <a:ext cx="109419" cy="127577"/>
            </a:xfrm>
            <a:custGeom>
              <a:avLst/>
              <a:gdLst>
                <a:gd name="connsiteX0" fmla="*/ 0 w 109419"/>
                <a:gd name="connsiteY0" fmla="*/ 80287 h 127577"/>
                <a:gd name="connsiteX1" fmla="*/ 43144 w 109419"/>
                <a:gd name="connsiteY1" fmla="*/ 123430 h 127577"/>
                <a:gd name="connsiteX2" fmla="*/ 63180 w 109419"/>
                <a:gd name="connsiteY2" fmla="*/ 123430 h 127577"/>
                <a:gd name="connsiteX3" fmla="*/ 63416 w 109419"/>
                <a:gd name="connsiteY3" fmla="*/ 123194 h 127577"/>
                <a:gd name="connsiteX4" fmla="*/ 63416 w 109419"/>
                <a:gd name="connsiteY4" fmla="*/ 103158 h 127577"/>
                <a:gd name="connsiteX5" fmla="*/ 47586 w 109419"/>
                <a:gd name="connsiteY5" fmla="*/ 87327 h 127577"/>
                <a:gd name="connsiteX6" fmla="*/ 50232 w 109419"/>
                <a:gd name="connsiteY6" fmla="*/ 84681 h 127577"/>
                <a:gd name="connsiteX7" fmla="*/ 94746 w 109419"/>
                <a:gd name="connsiteY7" fmla="*/ 70835 h 127577"/>
                <a:gd name="connsiteX8" fmla="*/ 94746 w 109419"/>
                <a:gd name="connsiteY8" fmla="*/ 0 h 1275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09419" h="127577">
                  <a:moveTo>
                    <a:pt x="0" y="80287"/>
                  </a:moveTo>
                  <a:lnTo>
                    <a:pt x="43144" y="123430"/>
                  </a:lnTo>
                  <a:cubicBezTo>
                    <a:pt x="48673" y="128959"/>
                    <a:pt x="57698" y="128959"/>
                    <a:pt x="63180" y="123430"/>
                  </a:cubicBezTo>
                  <a:lnTo>
                    <a:pt x="63416" y="123194"/>
                  </a:lnTo>
                  <a:cubicBezTo>
                    <a:pt x="68945" y="117665"/>
                    <a:pt x="68945" y="108640"/>
                    <a:pt x="63416" y="103158"/>
                  </a:cubicBezTo>
                  <a:lnTo>
                    <a:pt x="47586" y="87327"/>
                  </a:lnTo>
                  <a:lnTo>
                    <a:pt x="50232" y="84681"/>
                  </a:lnTo>
                  <a:cubicBezTo>
                    <a:pt x="65874" y="87564"/>
                    <a:pt x="82602" y="82933"/>
                    <a:pt x="94746" y="70835"/>
                  </a:cubicBezTo>
                  <a:cubicBezTo>
                    <a:pt x="114310" y="51272"/>
                    <a:pt x="114310" y="19564"/>
                    <a:pt x="94746" y="0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468" name="Gráfico 15">
            <a:extLst>
              <a:ext uri="{FF2B5EF4-FFF2-40B4-BE49-F238E27FC236}">
                <a16:creationId xmlns:a16="http://schemas.microsoft.com/office/drawing/2014/main" id="{6974A18F-3F3E-ECDA-4175-01AF795DFFC3}"/>
              </a:ext>
            </a:extLst>
          </p:cNvPr>
          <p:cNvGrpSpPr/>
          <p:nvPr/>
        </p:nvGrpSpPr>
        <p:grpSpPr>
          <a:xfrm>
            <a:off x="4431008" y="5237975"/>
            <a:ext cx="263875" cy="290321"/>
            <a:chOff x="4431008" y="5237975"/>
            <a:chExt cx="263875" cy="290321"/>
          </a:xfrm>
          <a:noFill/>
        </p:grpSpPr>
        <p:sp>
          <p:nvSpPr>
            <p:cNvPr id="1469" name="Forma livre: Forma 1468">
              <a:extLst>
                <a:ext uri="{FF2B5EF4-FFF2-40B4-BE49-F238E27FC236}">
                  <a16:creationId xmlns:a16="http://schemas.microsoft.com/office/drawing/2014/main" id="{B4910F84-8302-60BA-D150-6ABA2B1EE651}"/>
                </a:ext>
              </a:extLst>
            </p:cNvPr>
            <p:cNvSpPr/>
            <p:nvPr/>
          </p:nvSpPr>
          <p:spPr>
            <a:xfrm>
              <a:off x="4431008" y="5237975"/>
              <a:ext cx="117759" cy="258768"/>
            </a:xfrm>
            <a:custGeom>
              <a:avLst/>
              <a:gdLst>
                <a:gd name="connsiteX0" fmla="*/ 85579 w 117759"/>
                <a:gd name="connsiteY0" fmla="*/ 253145 h 258768"/>
                <a:gd name="connsiteX1" fmla="*/ 61054 w 117759"/>
                <a:gd name="connsiteY1" fmla="*/ 258769 h 258768"/>
                <a:gd name="connsiteX2" fmla="*/ 56706 w 117759"/>
                <a:gd name="connsiteY2" fmla="*/ 258769 h 258768"/>
                <a:gd name="connsiteX3" fmla="*/ 0 w 117759"/>
                <a:gd name="connsiteY3" fmla="*/ 202063 h 258768"/>
                <a:gd name="connsiteX4" fmla="*/ 0 w 117759"/>
                <a:gd name="connsiteY4" fmla="*/ 56706 h 258768"/>
                <a:gd name="connsiteX5" fmla="*/ 56706 w 117759"/>
                <a:gd name="connsiteY5" fmla="*/ 0 h 258768"/>
                <a:gd name="connsiteX6" fmla="*/ 61054 w 117759"/>
                <a:gd name="connsiteY6" fmla="*/ 0 h 258768"/>
                <a:gd name="connsiteX7" fmla="*/ 117760 w 117759"/>
                <a:gd name="connsiteY7" fmla="*/ 56706 h 258768"/>
                <a:gd name="connsiteX8" fmla="*/ 117760 w 117759"/>
                <a:gd name="connsiteY8" fmla="*/ 93612 h 2587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7759" h="258768">
                  <a:moveTo>
                    <a:pt x="85579" y="253145"/>
                  </a:moveTo>
                  <a:cubicBezTo>
                    <a:pt x="78160" y="256737"/>
                    <a:pt x="69843" y="258769"/>
                    <a:pt x="61054" y="258769"/>
                  </a:cubicBezTo>
                  <a:lnTo>
                    <a:pt x="56706" y="258769"/>
                  </a:lnTo>
                  <a:cubicBezTo>
                    <a:pt x="25518" y="258769"/>
                    <a:pt x="0" y="233251"/>
                    <a:pt x="0" y="202063"/>
                  </a:cubicBezTo>
                  <a:lnTo>
                    <a:pt x="0" y="56706"/>
                  </a:lnTo>
                  <a:cubicBezTo>
                    <a:pt x="0" y="25518"/>
                    <a:pt x="25518" y="0"/>
                    <a:pt x="56706" y="0"/>
                  </a:cubicBezTo>
                  <a:lnTo>
                    <a:pt x="61054" y="0"/>
                  </a:lnTo>
                  <a:cubicBezTo>
                    <a:pt x="92242" y="0"/>
                    <a:pt x="117760" y="25518"/>
                    <a:pt x="117760" y="56706"/>
                  </a:cubicBezTo>
                  <a:lnTo>
                    <a:pt x="117760" y="93612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70" name="Forma livre: Forma 1469">
              <a:extLst>
                <a:ext uri="{FF2B5EF4-FFF2-40B4-BE49-F238E27FC236}">
                  <a16:creationId xmlns:a16="http://schemas.microsoft.com/office/drawing/2014/main" id="{7C8BE10E-02E6-21D1-C0F2-DA2CFC6BAF7B}"/>
                </a:ext>
              </a:extLst>
            </p:cNvPr>
            <p:cNvSpPr/>
            <p:nvPr/>
          </p:nvSpPr>
          <p:spPr>
            <a:xfrm>
              <a:off x="4432661" y="5367312"/>
              <a:ext cx="74096" cy="4725"/>
            </a:xfrm>
            <a:custGeom>
              <a:avLst/>
              <a:gdLst>
                <a:gd name="connsiteX0" fmla="*/ 0 w 74096"/>
                <a:gd name="connsiteY0" fmla="*/ 0 h 4725"/>
                <a:gd name="connsiteX1" fmla="*/ 74096 w 74096"/>
                <a:gd name="connsiteY1" fmla="*/ 0 h 47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4096" h="4725">
                  <a:moveTo>
                    <a:pt x="0" y="0"/>
                  </a:moveTo>
                  <a:lnTo>
                    <a:pt x="74096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71" name="Forma livre: Forma 1470">
              <a:extLst>
                <a:ext uri="{FF2B5EF4-FFF2-40B4-BE49-F238E27FC236}">
                  <a16:creationId xmlns:a16="http://schemas.microsoft.com/office/drawing/2014/main" id="{EFAE65BD-1416-E1D0-8D69-DC568DA57C1C}"/>
                </a:ext>
              </a:extLst>
            </p:cNvPr>
            <p:cNvSpPr/>
            <p:nvPr/>
          </p:nvSpPr>
          <p:spPr>
            <a:xfrm rot="-2700000">
              <a:off x="4514174" y="5347587"/>
              <a:ext cx="149704" cy="149704"/>
            </a:xfrm>
            <a:custGeom>
              <a:avLst/>
              <a:gdLst>
                <a:gd name="connsiteX0" fmla="*/ 149704 w 149704"/>
                <a:gd name="connsiteY0" fmla="*/ 74852 h 149704"/>
                <a:gd name="connsiteX1" fmla="*/ 74852 w 149704"/>
                <a:gd name="connsiteY1" fmla="*/ 149704 h 149704"/>
                <a:gd name="connsiteX2" fmla="*/ 0 w 149704"/>
                <a:gd name="connsiteY2" fmla="*/ 74852 h 149704"/>
                <a:gd name="connsiteX3" fmla="*/ 74852 w 149704"/>
                <a:gd name="connsiteY3" fmla="*/ 0 h 149704"/>
                <a:gd name="connsiteX4" fmla="*/ 149704 w 149704"/>
                <a:gd name="connsiteY4" fmla="*/ 74852 h 1497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9704" h="149704">
                  <a:moveTo>
                    <a:pt x="149704" y="74852"/>
                  </a:moveTo>
                  <a:cubicBezTo>
                    <a:pt x="149704" y="116192"/>
                    <a:pt x="116192" y="149704"/>
                    <a:pt x="74852" y="149704"/>
                  </a:cubicBezTo>
                  <a:cubicBezTo>
                    <a:pt x="33512" y="149704"/>
                    <a:pt x="0" y="116192"/>
                    <a:pt x="0" y="74852"/>
                  </a:cubicBezTo>
                  <a:cubicBezTo>
                    <a:pt x="0" y="33512"/>
                    <a:pt x="33512" y="0"/>
                    <a:pt x="74852" y="0"/>
                  </a:cubicBezTo>
                  <a:cubicBezTo>
                    <a:pt x="116192" y="0"/>
                    <a:pt x="149704" y="33512"/>
                    <a:pt x="149704" y="74852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72" name="Forma livre: Forma 1471">
              <a:extLst>
                <a:ext uri="{FF2B5EF4-FFF2-40B4-BE49-F238E27FC236}">
                  <a16:creationId xmlns:a16="http://schemas.microsoft.com/office/drawing/2014/main" id="{A9C58C72-716E-19F7-2795-3C1E083ED91D}"/>
                </a:ext>
              </a:extLst>
            </p:cNvPr>
            <p:cNvSpPr/>
            <p:nvPr/>
          </p:nvSpPr>
          <p:spPr>
            <a:xfrm>
              <a:off x="4544231" y="5364099"/>
              <a:ext cx="89595" cy="116767"/>
            </a:xfrm>
            <a:custGeom>
              <a:avLst/>
              <a:gdLst>
                <a:gd name="connsiteX0" fmla="*/ 89596 w 89595"/>
                <a:gd name="connsiteY0" fmla="*/ 0 h 116767"/>
                <a:gd name="connsiteX1" fmla="*/ 0 w 89595"/>
                <a:gd name="connsiteY1" fmla="*/ 116767 h 1167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9595" h="116767">
                  <a:moveTo>
                    <a:pt x="89596" y="0"/>
                  </a:moveTo>
                  <a:lnTo>
                    <a:pt x="0" y="116767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473" name="Gráfico 15">
            <a:extLst>
              <a:ext uri="{FF2B5EF4-FFF2-40B4-BE49-F238E27FC236}">
                <a16:creationId xmlns:a16="http://schemas.microsoft.com/office/drawing/2014/main" id="{3CFD3A77-FFC1-ECC0-C7D9-6229C73B3743}"/>
              </a:ext>
            </a:extLst>
          </p:cNvPr>
          <p:cNvGrpSpPr/>
          <p:nvPr/>
        </p:nvGrpSpPr>
        <p:grpSpPr>
          <a:xfrm>
            <a:off x="5044899" y="5221271"/>
            <a:ext cx="235755" cy="292768"/>
            <a:chOff x="5044899" y="5221271"/>
            <a:chExt cx="235755" cy="292768"/>
          </a:xfrm>
          <a:noFill/>
        </p:grpSpPr>
        <p:sp>
          <p:nvSpPr>
            <p:cNvPr id="1474" name="Forma livre: Forma 1473">
              <a:extLst>
                <a:ext uri="{FF2B5EF4-FFF2-40B4-BE49-F238E27FC236}">
                  <a16:creationId xmlns:a16="http://schemas.microsoft.com/office/drawing/2014/main" id="{2747AC89-BE06-463A-5C69-CAFC2A333304}"/>
                </a:ext>
              </a:extLst>
            </p:cNvPr>
            <p:cNvSpPr/>
            <p:nvPr/>
          </p:nvSpPr>
          <p:spPr>
            <a:xfrm>
              <a:off x="5081994" y="5221271"/>
              <a:ext cx="161565" cy="137961"/>
            </a:xfrm>
            <a:custGeom>
              <a:avLst/>
              <a:gdLst>
                <a:gd name="connsiteX0" fmla="*/ 156131 w 161565"/>
                <a:gd name="connsiteY0" fmla="*/ 137961 h 137961"/>
                <a:gd name="connsiteX1" fmla="*/ 161565 w 161565"/>
                <a:gd name="connsiteY1" fmla="*/ 78136 h 137961"/>
                <a:gd name="connsiteX2" fmla="*/ 80948 w 161565"/>
                <a:gd name="connsiteY2" fmla="*/ 24 h 137961"/>
                <a:gd name="connsiteX3" fmla="*/ 80617 w 161565"/>
                <a:gd name="connsiteY3" fmla="*/ 24 h 137961"/>
                <a:gd name="connsiteX4" fmla="*/ 0 w 161565"/>
                <a:gd name="connsiteY4" fmla="*/ 78136 h 137961"/>
                <a:gd name="connsiteX5" fmla="*/ 5434 w 161565"/>
                <a:gd name="connsiteY5" fmla="*/ 137961 h 1379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61565" h="137961">
                  <a:moveTo>
                    <a:pt x="156131" y="137961"/>
                  </a:moveTo>
                  <a:cubicBezTo>
                    <a:pt x="159959" y="105450"/>
                    <a:pt x="160384" y="104221"/>
                    <a:pt x="161565" y="78136"/>
                  </a:cubicBezTo>
                  <a:cubicBezTo>
                    <a:pt x="160478" y="733"/>
                    <a:pt x="91344" y="-260"/>
                    <a:pt x="80948" y="24"/>
                  </a:cubicBezTo>
                  <a:lnTo>
                    <a:pt x="80617" y="24"/>
                  </a:lnTo>
                  <a:cubicBezTo>
                    <a:pt x="70221" y="-260"/>
                    <a:pt x="1087" y="733"/>
                    <a:pt x="0" y="78136"/>
                  </a:cubicBezTo>
                  <a:cubicBezTo>
                    <a:pt x="709" y="104457"/>
                    <a:pt x="1559" y="105497"/>
                    <a:pt x="5434" y="137961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75" name="Forma livre: Forma 1474">
              <a:extLst>
                <a:ext uri="{FF2B5EF4-FFF2-40B4-BE49-F238E27FC236}">
                  <a16:creationId xmlns:a16="http://schemas.microsoft.com/office/drawing/2014/main" id="{0A499AD4-2348-6DC7-D0F9-BF8FC0687BEC}"/>
                </a:ext>
              </a:extLst>
            </p:cNvPr>
            <p:cNvSpPr/>
            <p:nvPr/>
          </p:nvSpPr>
          <p:spPr>
            <a:xfrm>
              <a:off x="5118286" y="5297564"/>
              <a:ext cx="88934" cy="72205"/>
            </a:xfrm>
            <a:custGeom>
              <a:avLst/>
              <a:gdLst>
                <a:gd name="connsiteX0" fmla="*/ 0 w 88934"/>
                <a:gd name="connsiteY0" fmla="*/ 1607 h 72205"/>
                <a:gd name="connsiteX1" fmla="*/ 0 w 88934"/>
                <a:gd name="connsiteY1" fmla="*/ 6757 h 72205"/>
                <a:gd name="connsiteX2" fmla="*/ 44467 w 88934"/>
                <a:gd name="connsiteY2" fmla="*/ 72206 h 72205"/>
                <a:gd name="connsiteX3" fmla="*/ 88934 w 88934"/>
                <a:gd name="connsiteY3" fmla="*/ 6757 h 72205"/>
                <a:gd name="connsiteX4" fmla="*/ 88934 w 88934"/>
                <a:gd name="connsiteY4" fmla="*/ 0 h 722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934" h="72205">
                  <a:moveTo>
                    <a:pt x="0" y="1607"/>
                  </a:moveTo>
                  <a:lnTo>
                    <a:pt x="0" y="6757"/>
                  </a:lnTo>
                  <a:cubicBezTo>
                    <a:pt x="0" y="39175"/>
                    <a:pt x="20934" y="72206"/>
                    <a:pt x="44467" y="72206"/>
                  </a:cubicBezTo>
                  <a:cubicBezTo>
                    <a:pt x="68000" y="72206"/>
                    <a:pt x="88934" y="39175"/>
                    <a:pt x="88934" y="6757"/>
                  </a:cubicBezTo>
                  <a:lnTo>
                    <a:pt x="88934" y="0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476" name="Gráfico 15">
              <a:extLst>
                <a:ext uri="{FF2B5EF4-FFF2-40B4-BE49-F238E27FC236}">
                  <a16:creationId xmlns:a16="http://schemas.microsoft.com/office/drawing/2014/main" id="{ABBDB8FA-66F3-FE61-8438-FB0A83C24BB1}"/>
                </a:ext>
              </a:extLst>
            </p:cNvPr>
            <p:cNvGrpSpPr/>
            <p:nvPr/>
          </p:nvGrpSpPr>
          <p:grpSpPr>
            <a:xfrm>
              <a:off x="5107181" y="5257303"/>
              <a:ext cx="109537" cy="40809"/>
              <a:chOff x="5107181" y="5257303"/>
              <a:chExt cx="109537" cy="40809"/>
            </a:xfrm>
            <a:noFill/>
          </p:grpSpPr>
          <p:sp>
            <p:nvSpPr>
              <p:cNvPr id="1477" name="Forma livre: Forma 1476">
                <a:extLst>
                  <a:ext uri="{FF2B5EF4-FFF2-40B4-BE49-F238E27FC236}">
                    <a16:creationId xmlns:a16="http://schemas.microsoft.com/office/drawing/2014/main" id="{7F9B1AB5-B27C-D372-6A21-10E3FC7EF0D8}"/>
                  </a:ext>
                </a:extLst>
              </p:cNvPr>
              <p:cNvSpPr/>
              <p:nvPr/>
            </p:nvSpPr>
            <p:spPr>
              <a:xfrm>
                <a:off x="5107181" y="5257303"/>
                <a:ext cx="71733" cy="40809"/>
              </a:xfrm>
              <a:custGeom>
                <a:avLst/>
                <a:gdLst>
                  <a:gd name="connsiteX0" fmla="*/ 71733 w 71733"/>
                  <a:gd name="connsiteY0" fmla="*/ 0 h 40809"/>
                  <a:gd name="connsiteX1" fmla="*/ 0 w 71733"/>
                  <a:gd name="connsiteY1" fmla="*/ 40450 h 408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71733" h="40809">
                    <a:moveTo>
                      <a:pt x="71733" y="0"/>
                    </a:moveTo>
                    <a:cubicBezTo>
                      <a:pt x="71733" y="0"/>
                      <a:pt x="62849" y="45270"/>
                      <a:pt x="0" y="40450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478" name="Forma livre: Forma 1477">
                <a:extLst>
                  <a:ext uri="{FF2B5EF4-FFF2-40B4-BE49-F238E27FC236}">
                    <a16:creationId xmlns:a16="http://schemas.microsoft.com/office/drawing/2014/main" id="{3C6F1B4F-FCAA-F6F6-4610-744E31133AD0}"/>
                  </a:ext>
                </a:extLst>
              </p:cNvPr>
              <p:cNvSpPr/>
              <p:nvPr/>
            </p:nvSpPr>
            <p:spPr>
              <a:xfrm>
                <a:off x="5174425" y="5269731"/>
                <a:ext cx="42293" cy="28022"/>
              </a:xfrm>
              <a:custGeom>
                <a:avLst/>
                <a:gdLst>
                  <a:gd name="connsiteX0" fmla="*/ 0 w 42293"/>
                  <a:gd name="connsiteY0" fmla="*/ 0 h 28022"/>
                  <a:gd name="connsiteX1" fmla="*/ 42293 w 42293"/>
                  <a:gd name="connsiteY1" fmla="*/ 28022 h 280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2293" h="28022">
                    <a:moveTo>
                      <a:pt x="0" y="0"/>
                    </a:moveTo>
                    <a:cubicBezTo>
                      <a:pt x="0" y="0"/>
                      <a:pt x="15689" y="26841"/>
                      <a:pt x="42293" y="28022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479" name="Forma livre: Forma 1478">
              <a:extLst>
                <a:ext uri="{FF2B5EF4-FFF2-40B4-BE49-F238E27FC236}">
                  <a16:creationId xmlns:a16="http://schemas.microsoft.com/office/drawing/2014/main" id="{A6BDD1FB-4F2D-6EFA-EFA1-0A0F23FDEF8D}"/>
                </a:ext>
              </a:extLst>
            </p:cNvPr>
            <p:cNvSpPr/>
            <p:nvPr/>
          </p:nvSpPr>
          <p:spPr>
            <a:xfrm>
              <a:off x="5162753" y="5466879"/>
              <a:ext cx="4725" cy="47160"/>
            </a:xfrm>
            <a:custGeom>
              <a:avLst/>
              <a:gdLst>
                <a:gd name="connsiteX0" fmla="*/ 0 w 4725"/>
                <a:gd name="connsiteY0" fmla="*/ 0 h 47160"/>
                <a:gd name="connsiteX1" fmla="*/ 0 w 4725"/>
                <a:gd name="connsiteY1" fmla="*/ 47161 h 471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725" h="47160">
                  <a:moveTo>
                    <a:pt x="0" y="0"/>
                  </a:moveTo>
                  <a:lnTo>
                    <a:pt x="0" y="47161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80" name="Forma livre: Forma 1479">
              <a:extLst>
                <a:ext uri="{FF2B5EF4-FFF2-40B4-BE49-F238E27FC236}">
                  <a16:creationId xmlns:a16="http://schemas.microsoft.com/office/drawing/2014/main" id="{A4CAEB29-3E81-6AA6-CD1D-3B35CA382755}"/>
                </a:ext>
              </a:extLst>
            </p:cNvPr>
            <p:cNvSpPr/>
            <p:nvPr/>
          </p:nvSpPr>
          <p:spPr>
            <a:xfrm>
              <a:off x="5229855" y="5458609"/>
              <a:ext cx="4725" cy="27124"/>
            </a:xfrm>
            <a:custGeom>
              <a:avLst/>
              <a:gdLst>
                <a:gd name="connsiteX0" fmla="*/ 0 w 4725"/>
                <a:gd name="connsiteY0" fmla="*/ 0 h 27124"/>
                <a:gd name="connsiteX1" fmla="*/ 0 w 4725"/>
                <a:gd name="connsiteY1" fmla="*/ 27124 h 271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725" h="27124">
                  <a:moveTo>
                    <a:pt x="0" y="0"/>
                  </a:moveTo>
                  <a:lnTo>
                    <a:pt x="0" y="27124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81" name="Forma livre: Forma 1480">
              <a:extLst>
                <a:ext uri="{FF2B5EF4-FFF2-40B4-BE49-F238E27FC236}">
                  <a16:creationId xmlns:a16="http://schemas.microsoft.com/office/drawing/2014/main" id="{78F2927A-0FAF-CAF8-DF30-4500D13FEFA5}"/>
                </a:ext>
              </a:extLst>
            </p:cNvPr>
            <p:cNvSpPr/>
            <p:nvPr/>
          </p:nvSpPr>
          <p:spPr>
            <a:xfrm>
              <a:off x="5189263" y="5487246"/>
              <a:ext cx="63936" cy="4725"/>
            </a:xfrm>
            <a:custGeom>
              <a:avLst/>
              <a:gdLst>
                <a:gd name="connsiteX0" fmla="*/ 63936 w 63936"/>
                <a:gd name="connsiteY0" fmla="*/ 0 h 4725"/>
                <a:gd name="connsiteX1" fmla="*/ 0 w 63936"/>
                <a:gd name="connsiteY1" fmla="*/ 0 h 47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3936" h="4725">
                  <a:moveTo>
                    <a:pt x="63936" y="0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482" name="Gráfico 15">
              <a:extLst>
                <a:ext uri="{FF2B5EF4-FFF2-40B4-BE49-F238E27FC236}">
                  <a16:creationId xmlns:a16="http://schemas.microsoft.com/office/drawing/2014/main" id="{C1C2062A-3AEE-8585-4180-2902909FE776}"/>
                </a:ext>
              </a:extLst>
            </p:cNvPr>
            <p:cNvGrpSpPr/>
            <p:nvPr/>
          </p:nvGrpSpPr>
          <p:grpSpPr>
            <a:xfrm>
              <a:off x="5044899" y="5382340"/>
              <a:ext cx="235755" cy="131699"/>
              <a:chOff x="5044899" y="5382340"/>
              <a:chExt cx="235755" cy="131699"/>
            </a:xfrm>
            <a:noFill/>
          </p:grpSpPr>
          <p:sp>
            <p:nvSpPr>
              <p:cNvPr id="1483" name="Forma livre: Forma 1482">
                <a:extLst>
                  <a:ext uri="{FF2B5EF4-FFF2-40B4-BE49-F238E27FC236}">
                    <a16:creationId xmlns:a16="http://schemas.microsoft.com/office/drawing/2014/main" id="{49212F34-4C1E-4B47-CB28-7361F0C172A7}"/>
                  </a:ext>
                </a:extLst>
              </p:cNvPr>
              <p:cNvSpPr/>
              <p:nvPr/>
            </p:nvSpPr>
            <p:spPr>
              <a:xfrm>
                <a:off x="5044899" y="5382340"/>
                <a:ext cx="117476" cy="131699"/>
              </a:xfrm>
              <a:custGeom>
                <a:avLst/>
                <a:gdLst>
                  <a:gd name="connsiteX0" fmla="*/ 117476 w 117476"/>
                  <a:gd name="connsiteY0" fmla="*/ 87327 h 131699"/>
                  <a:gd name="connsiteX1" fmla="*/ 68331 w 117476"/>
                  <a:gd name="connsiteY1" fmla="*/ 0 h 131699"/>
                  <a:gd name="connsiteX2" fmla="*/ 41206 w 117476"/>
                  <a:gd name="connsiteY2" fmla="*/ 5151 h 131699"/>
                  <a:gd name="connsiteX3" fmla="*/ 4962 w 117476"/>
                  <a:gd name="connsiteY3" fmla="*/ 35867 h 131699"/>
                  <a:gd name="connsiteX4" fmla="*/ 0 w 117476"/>
                  <a:gd name="connsiteY4" fmla="*/ 131700 h 1316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17476" h="131699">
                    <a:moveTo>
                      <a:pt x="117476" y="87327"/>
                    </a:moveTo>
                    <a:lnTo>
                      <a:pt x="68331" y="0"/>
                    </a:lnTo>
                    <a:lnTo>
                      <a:pt x="41206" y="5151"/>
                    </a:lnTo>
                    <a:cubicBezTo>
                      <a:pt x="41206" y="5151"/>
                      <a:pt x="8128" y="11436"/>
                      <a:pt x="4962" y="35867"/>
                    </a:cubicBezTo>
                    <a:lnTo>
                      <a:pt x="0" y="13170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484" name="Forma livre: Forma 1483">
                <a:extLst>
                  <a:ext uri="{FF2B5EF4-FFF2-40B4-BE49-F238E27FC236}">
                    <a16:creationId xmlns:a16="http://schemas.microsoft.com/office/drawing/2014/main" id="{0D6C0883-652C-9A97-F7D6-8E10D43980F2}"/>
                  </a:ext>
                </a:extLst>
              </p:cNvPr>
              <p:cNvSpPr/>
              <p:nvPr/>
            </p:nvSpPr>
            <p:spPr>
              <a:xfrm>
                <a:off x="5163178" y="5382340"/>
                <a:ext cx="117476" cy="131699"/>
              </a:xfrm>
              <a:custGeom>
                <a:avLst/>
                <a:gdLst>
                  <a:gd name="connsiteX0" fmla="*/ 0 w 117476"/>
                  <a:gd name="connsiteY0" fmla="*/ 87327 h 131699"/>
                  <a:gd name="connsiteX1" fmla="*/ 49145 w 117476"/>
                  <a:gd name="connsiteY1" fmla="*/ 0 h 131699"/>
                  <a:gd name="connsiteX2" fmla="*/ 76270 w 117476"/>
                  <a:gd name="connsiteY2" fmla="*/ 5151 h 131699"/>
                  <a:gd name="connsiteX3" fmla="*/ 112514 w 117476"/>
                  <a:gd name="connsiteY3" fmla="*/ 35867 h 131699"/>
                  <a:gd name="connsiteX4" fmla="*/ 117476 w 117476"/>
                  <a:gd name="connsiteY4" fmla="*/ 131700 h 1316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17476" h="131699">
                    <a:moveTo>
                      <a:pt x="0" y="87327"/>
                    </a:moveTo>
                    <a:lnTo>
                      <a:pt x="49145" y="0"/>
                    </a:lnTo>
                    <a:lnTo>
                      <a:pt x="76270" y="5151"/>
                    </a:lnTo>
                    <a:cubicBezTo>
                      <a:pt x="76270" y="5151"/>
                      <a:pt x="109348" y="11436"/>
                      <a:pt x="112514" y="35867"/>
                    </a:cubicBezTo>
                    <a:lnTo>
                      <a:pt x="117476" y="13170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485" name="Gráfico 15">
            <a:extLst>
              <a:ext uri="{FF2B5EF4-FFF2-40B4-BE49-F238E27FC236}">
                <a16:creationId xmlns:a16="http://schemas.microsoft.com/office/drawing/2014/main" id="{F0B5D7BA-2EEF-6926-900D-32D2C9CA8BFE}"/>
              </a:ext>
            </a:extLst>
          </p:cNvPr>
          <p:cNvGrpSpPr/>
          <p:nvPr/>
        </p:nvGrpSpPr>
        <p:grpSpPr>
          <a:xfrm>
            <a:off x="5660207" y="5226067"/>
            <a:ext cx="235802" cy="283152"/>
            <a:chOff x="5660207" y="5226067"/>
            <a:chExt cx="235802" cy="283152"/>
          </a:xfrm>
          <a:noFill/>
        </p:grpSpPr>
        <p:grpSp>
          <p:nvGrpSpPr>
            <p:cNvPr id="1486" name="Gráfico 15">
              <a:extLst>
                <a:ext uri="{FF2B5EF4-FFF2-40B4-BE49-F238E27FC236}">
                  <a16:creationId xmlns:a16="http://schemas.microsoft.com/office/drawing/2014/main" id="{DA17E9A1-40A7-7D05-5C23-6F82C9FA262B}"/>
                </a:ext>
              </a:extLst>
            </p:cNvPr>
            <p:cNvGrpSpPr/>
            <p:nvPr/>
          </p:nvGrpSpPr>
          <p:grpSpPr>
            <a:xfrm>
              <a:off x="5724290" y="5226067"/>
              <a:ext cx="107711" cy="143419"/>
              <a:chOff x="5724290" y="5226067"/>
              <a:chExt cx="107711" cy="143419"/>
            </a:xfrm>
            <a:noFill/>
          </p:grpSpPr>
          <p:sp>
            <p:nvSpPr>
              <p:cNvPr id="1487" name="Forma livre: Forma 1486">
                <a:extLst>
                  <a:ext uri="{FF2B5EF4-FFF2-40B4-BE49-F238E27FC236}">
                    <a16:creationId xmlns:a16="http://schemas.microsoft.com/office/drawing/2014/main" id="{2DA8151B-BBE0-5DF8-592F-AFE8C77637FA}"/>
                  </a:ext>
                </a:extLst>
              </p:cNvPr>
              <p:cNvSpPr/>
              <p:nvPr/>
            </p:nvSpPr>
            <p:spPr>
              <a:xfrm>
                <a:off x="5724290" y="5226067"/>
                <a:ext cx="107711" cy="143419"/>
              </a:xfrm>
              <a:custGeom>
                <a:avLst/>
                <a:gdLst>
                  <a:gd name="connsiteX0" fmla="*/ 53866 w 107711"/>
                  <a:gd name="connsiteY0" fmla="*/ 0 h 143419"/>
                  <a:gd name="connsiteX1" fmla="*/ 1129 w 107711"/>
                  <a:gd name="connsiteY1" fmla="*/ 71733 h 143419"/>
                  <a:gd name="connsiteX2" fmla="*/ 53866 w 107711"/>
                  <a:gd name="connsiteY2" fmla="*/ 143419 h 143419"/>
                  <a:gd name="connsiteX3" fmla="*/ 106603 w 107711"/>
                  <a:gd name="connsiteY3" fmla="*/ 71733 h 143419"/>
                  <a:gd name="connsiteX4" fmla="*/ 53866 w 107711"/>
                  <a:gd name="connsiteY4" fmla="*/ 0 h 1434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07711" h="143419">
                    <a:moveTo>
                      <a:pt x="53866" y="0"/>
                    </a:moveTo>
                    <a:cubicBezTo>
                      <a:pt x="326" y="0"/>
                      <a:pt x="-2651" y="32370"/>
                      <a:pt x="1129" y="71733"/>
                    </a:cubicBezTo>
                    <a:cubicBezTo>
                      <a:pt x="4863" y="111144"/>
                      <a:pt x="29671" y="143419"/>
                      <a:pt x="53866" y="143419"/>
                    </a:cubicBezTo>
                    <a:cubicBezTo>
                      <a:pt x="78061" y="143419"/>
                      <a:pt x="102870" y="111144"/>
                      <a:pt x="106603" y="71733"/>
                    </a:cubicBezTo>
                    <a:cubicBezTo>
                      <a:pt x="110336" y="32370"/>
                      <a:pt x="107359" y="0"/>
                      <a:pt x="53866" y="0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488" name="Forma livre: Forma 1487">
                <a:extLst>
                  <a:ext uri="{FF2B5EF4-FFF2-40B4-BE49-F238E27FC236}">
                    <a16:creationId xmlns:a16="http://schemas.microsoft.com/office/drawing/2014/main" id="{645ECAF0-4E2C-5EEC-A2D9-C6D8A5B62D4A}"/>
                  </a:ext>
                </a:extLst>
              </p:cNvPr>
              <p:cNvSpPr/>
              <p:nvPr/>
            </p:nvSpPr>
            <p:spPr>
              <a:xfrm>
                <a:off x="5725278" y="5257822"/>
                <a:ext cx="68708" cy="30374"/>
              </a:xfrm>
              <a:custGeom>
                <a:avLst/>
                <a:gdLst>
                  <a:gd name="connsiteX0" fmla="*/ 68709 w 68708"/>
                  <a:gd name="connsiteY0" fmla="*/ 0 h 30374"/>
                  <a:gd name="connsiteX1" fmla="*/ 0 w 68708"/>
                  <a:gd name="connsiteY1" fmla="*/ 30291 h 303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8708" h="30374">
                    <a:moveTo>
                      <a:pt x="68709" y="0"/>
                    </a:moveTo>
                    <a:cubicBezTo>
                      <a:pt x="68709" y="0"/>
                      <a:pt x="62377" y="32228"/>
                      <a:pt x="0" y="30291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489" name="Forma livre: Forma 1488">
                <a:extLst>
                  <a:ext uri="{FF2B5EF4-FFF2-40B4-BE49-F238E27FC236}">
                    <a16:creationId xmlns:a16="http://schemas.microsoft.com/office/drawing/2014/main" id="{0E4B0B9E-03F9-459C-CC8F-987CF92350FF}"/>
                  </a:ext>
                </a:extLst>
              </p:cNvPr>
              <p:cNvSpPr/>
              <p:nvPr/>
            </p:nvSpPr>
            <p:spPr>
              <a:xfrm>
                <a:off x="5789308" y="5268738"/>
                <a:ext cx="41017" cy="18524"/>
              </a:xfrm>
              <a:custGeom>
                <a:avLst/>
                <a:gdLst>
                  <a:gd name="connsiteX0" fmla="*/ 0 w 41017"/>
                  <a:gd name="connsiteY0" fmla="*/ 0 h 18524"/>
                  <a:gd name="connsiteX1" fmla="*/ 41018 w 41017"/>
                  <a:gd name="connsiteY1" fmla="*/ 18524 h 185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1017" h="18524">
                    <a:moveTo>
                      <a:pt x="0" y="0"/>
                    </a:moveTo>
                    <a:cubicBezTo>
                      <a:pt x="0" y="0"/>
                      <a:pt x="18382" y="12617"/>
                      <a:pt x="41018" y="18524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490" name="Gráfico 15">
              <a:extLst>
                <a:ext uri="{FF2B5EF4-FFF2-40B4-BE49-F238E27FC236}">
                  <a16:creationId xmlns:a16="http://schemas.microsoft.com/office/drawing/2014/main" id="{9F092E16-C85B-C256-69C8-B74592FF6340}"/>
                </a:ext>
              </a:extLst>
            </p:cNvPr>
            <p:cNvGrpSpPr/>
            <p:nvPr/>
          </p:nvGrpSpPr>
          <p:grpSpPr>
            <a:xfrm>
              <a:off x="5660207" y="5377520"/>
              <a:ext cx="235802" cy="131699"/>
              <a:chOff x="5660207" y="5377520"/>
              <a:chExt cx="235802" cy="131699"/>
            </a:xfrm>
            <a:noFill/>
          </p:grpSpPr>
          <p:sp>
            <p:nvSpPr>
              <p:cNvPr id="1491" name="Forma livre: Forma 1490">
                <a:extLst>
                  <a:ext uri="{FF2B5EF4-FFF2-40B4-BE49-F238E27FC236}">
                    <a16:creationId xmlns:a16="http://schemas.microsoft.com/office/drawing/2014/main" id="{206CA4E9-18BA-92CB-1EF1-47BB56E3B6B1}"/>
                  </a:ext>
                </a:extLst>
              </p:cNvPr>
              <p:cNvSpPr/>
              <p:nvPr/>
            </p:nvSpPr>
            <p:spPr>
              <a:xfrm>
                <a:off x="5778109" y="5462059"/>
                <a:ext cx="4725" cy="47160"/>
              </a:xfrm>
              <a:custGeom>
                <a:avLst/>
                <a:gdLst>
                  <a:gd name="connsiteX0" fmla="*/ 0 w 4725"/>
                  <a:gd name="connsiteY0" fmla="*/ 0 h 47160"/>
                  <a:gd name="connsiteX1" fmla="*/ 0 w 4725"/>
                  <a:gd name="connsiteY1" fmla="*/ 47161 h 471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25" h="47160">
                    <a:moveTo>
                      <a:pt x="0" y="0"/>
                    </a:moveTo>
                    <a:lnTo>
                      <a:pt x="0" y="47161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492" name="Forma livre: Forma 1491">
                <a:extLst>
                  <a:ext uri="{FF2B5EF4-FFF2-40B4-BE49-F238E27FC236}">
                    <a16:creationId xmlns:a16="http://schemas.microsoft.com/office/drawing/2014/main" id="{D3A67C3E-39AC-22EF-6954-48D5B60F9B3C}"/>
                  </a:ext>
                </a:extLst>
              </p:cNvPr>
              <p:cNvSpPr/>
              <p:nvPr/>
            </p:nvSpPr>
            <p:spPr>
              <a:xfrm>
                <a:off x="5845211" y="5453789"/>
                <a:ext cx="4725" cy="27124"/>
              </a:xfrm>
              <a:custGeom>
                <a:avLst/>
                <a:gdLst>
                  <a:gd name="connsiteX0" fmla="*/ 0 w 4725"/>
                  <a:gd name="connsiteY0" fmla="*/ 0 h 27124"/>
                  <a:gd name="connsiteX1" fmla="*/ 0 w 4725"/>
                  <a:gd name="connsiteY1" fmla="*/ 27124 h 271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25" h="27124">
                    <a:moveTo>
                      <a:pt x="0" y="0"/>
                    </a:moveTo>
                    <a:lnTo>
                      <a:pt x="0" y="27124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493" name="Forma livre: Forma 1492">
                <a:extLst>
                  <a:ext uri="{FF2B5EF4-FFF2-40B4-BE49-F238E27FC236}">
                    <a16:creationId xmlns:a16="http://schemas.microsoft.com/office/drawing/2014/main" id="{CFCDACDE-2781-38F8-731A-1CDF8B32B85D}"/>
                  </a:ext>
                </a:extLst>
              </p:cNvPr>
              <p:cNvSpPr/>
              <p:nvPr/>
            </p:nvSpPr>
            <p:spPr>
              <a:xfrm>
                <a:off x="5804619" y="5482426"/>
                <a:ext cx="63888" cy="4725"/>
              </a:xfrm>
              <a:custGeom>
                <a:avLst/>
                <a:gdLst>
                  <a:gd name="connsiteX0" fmla="*/ 63889 w 63888"/>
                  <a:gd name="connsiteY0" fmla="*/ 0 h 4725"/>
                  <a:gd name="connsiteX1" fmla="*/ 0 w 63888"/>
                  <a:gd name="connsiteY1" fmla="*/ 0 h 47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3888" h="4725">
                    <a:moveTo>
                      <a:pt x="63889" y="0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1494" name="Gráfico 15">
                <a:extLst>
                  <a:ext uri="{FF2B5EF4-FFF2-40B4-BE49-F238E27FC236}">
                    <a16:creationId xmlns:a16="http://schemas.microsoft.com/office/drawing/2014/main" id="{8AFA227F-B8DF-80B0-F5CE-AC062FC3B180}"/>
                  </a:ext>
                </a:extLst>
              </p:cNvPr>
              <p:cNvGrpSpPr/>
              <p:nvPr/>
            </p:nvGrpSpPr>
            <p:grpSpPr>
              <a:xfrm>
                <a:off x="5660207" y="5377520"/>
                <a:ext cx="235802" cy="131699"/>
                <a:chOff x="5660207" y="5377520"/>
                <a:chExt cx="235802" cy="131699"/>
              </a:xfrm>
              <a:noFill/>
            </p:grpSpPr>
            <p:sp>
              <p:nvSpPr>
                <p:cNvPr id="1495" name="Forma livre: Forma 1494">
                  <a:extLst>
                    <a:ext uri="{FF2B5EF4-FFF2-40B4-BE49-F238E27FC236}">
                      <a16:creationId xmlns:a16="http://schemas.microsoft.com/office/drawing/2014/main" id="{FCFDE84A-B7DC-3D99-C3CA-3A2743B459F6}"/>
                    </a:ext>
                  </a:extLst>
                </p:cNvPr>
                <p:cNvSpPr/>
                <p:nvPr/>
              </p:nvSpPr>
              <p:spPr>
                <a:xfrm>
                  <a:off x="5660207" y="5377520"/>
                  <a:ext cx="117476" cy="131699"/>
                </a:xfrm>
                <a:custGeom>
                  <a:avLst/>
                  <a:gdLst>
                    <a:gd name="connsiteX0" fmla="*/ 117476 w 117476"/>
                    <a:gd name="connsiteY0" fmla="*/ 87327 h 131699"/>
                    <a:gd name="connsiteX1" fmla="*/ 68331 w 117476"/>
                    <a:gd name="connsiteY1" fmla="*/ 0 h 131699"/>
                    <a:gd name="connsiteX2" fmla="*/ 41206 w 117476"/>
                    <a:gd name="connsiteY2" fmla="*/ 5151 h 131699"/>
                    <a:gd name="connsiteX3" fmla="*/ 4962 w 117476"/>
                    <a:gd name="connsiteY3" fmla="*/ 35867 h 131699"/>
                    <a:gd name="connsiteX4" fmla="*/ 0 w 117476"/>
                    <a:gd name="connsiteY4" fmla="*/ 131700 h 13169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17476" h="131699">
                      <a:moveTo>
                        <a:pt x="117476" y="87327"/>
                      </a:moveTo>
                      <a:lnTo>
                        <a:pt x="68331" y="0"/>
                      </a:lnTo>
                      <a:lnTo>
                        <a:pt x="41206" y="5151"/>
                      </a:lnTo>
                      <a:cubicBezTo>
                        <a:pt x="41206" y="5151"/>
                        <a:pt x="8128" y="11436"/>
                        <a:pt x="4962" y="35867"/>
                      </a:cubicBezTo>
                      <a:lnTo>
                        <a:pt x="0" y="131700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496" name="Forma livre: Forma 1495">
                  <a:extLst>
                    <a:ext uri="{FF2B5EF4-FFF2-40B4-BE49-F238E27FC236}">
                      <a16:creationId xmlns:a16="http://schemas.microsoft.com/office/drawing/2014/main" id="{B3877B89-FA1E-7FA8-FDBD-00BE6EE58668}"/>
                    </a:ext>
                  </a:extLst>
                </p:cNvPr>
                <p:cNvSpPr/>
                <p:nvPr/>
              </p:nvSpPr>
              <p:spPr>
                <a:xfrm>
                  <a:off x="5778534" y="5377520"/>
                  <a:ext cx="117476" cy="131699"/>
                </a:xfrm>
                <a:custGeom>
                  <a:avLst/>
                  <a:gdLst>
                    <a:gd name="connsiteX0" fmla="*/ 0 w 117476"/>
                    <a:gd name="connsiteY0" fmla="*/ 87327 h 131699"/>
                    <a:gd name="connsiteX1" fmla="*/ 49145 w 117476"/>
                    <a:gd name="connsiteY1" fmla="*/ 0 h 131699"/>
                    <a:gd name="connsiteX2" fmla="*/ 76270 w 117476"/>
                    <a:gd name="connsiteY2" fmla="*/ 5151 h 131699"/>
                    <a:gd name="connsiteX3" fmla="*/ 112514 w 117476"/>
                    <a:gd name="connsiteY3" fmla="*/ 35867 h 131699"/>
                    <a:gd name="connsiteX4" fmla="*/ 117476 w 117476"/>
                    <a:gd name="connsiteY4" fmla="*/ 131700 h 13169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17476" h="131699">
                      <a:moveTo>
                        <a:pt x="0" y="87327"/>
                      </a:moveTo>
                      <a:lnTo>
                        <a:pt x="49145" y="0"/>
                      </a:lnTo>
                      <a:lnTo>
                        <a:pt x="76270" y="5151"/>
                      </a:lnTo>
                      <a:cubicBezTo>
                        <a:pt x="76270" y="5151"/>
                        <a:pt x="109348" y="11436"/>
                        <a:pt x="112514" y="35867"/>
                      </a:cubicBezTo>
                      <a:lnTo>
                        <a:pt x="117476" y="131700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</p:grpSp>
      <p:grpSp>
        <p:nvGrpSpPr>
          <p:cNvPr id="1498" name="Gráfico 17">
            <a:extLst>
              <a:ext uri="{FF2B5EF4-FFF2-40B4-BE49-F238E27FC236}">
                <a16:creationId xmlns:a16="http://schemas.microsoft.com/office/drawing/2014/main" id="{635E8893-3BB9-EA02-A3E2-E13AD70740D0}"/>
              </a:ext>
            </a:extLst>
          </p:cNvPr>
          <p:cNvGrpSpPr/>
          <p:nvPr/>
        </p:nvGrpSpPr>
        <p:grpSpPr>
          <a:xfrm>
            <a:off x="6271340" y="4194613"/>
            <a:ext cx="289726" cy="241383"/>
            <a:chOff x="6271340" y="4194613"/>
            <a:chExt cx="289726" cy="241383"/>
          </a:xfrm>
          <a:noFill/>
        </p:grpSpPr>
        <p:sp>
          <p:nvSpPr>
            <p:cNvPr id="1499" name="Forma livre: Forma 1498">
              <a:extLst>
                <a:ext uri="{FF2B5EF4-FFF2-40B4-BE49-F238E27FC236}">
                  <a16:creationId xmlns:a16="http://schemas.microsoft.com/office/drawing/2014/main" id="{5B06BA43-8471-549C-552F-80916CFE66CF}"/>
                </a:ext>
              </a:extLst>
            </p:cNvPr>
            <p:cNvSpPr/>
            <p:nvPr/>
          </p:nvSpPr>
          <p:spPr>
            <a:xfrm>
              <a:off x="6271340" y="4194613"/>
              <a:ext cx="239015" cy="197065"/>
            </a:xfrm>
            <a:custGeom>
              <a:avLst/>
              <a:gdLst>
                <a:gd name="connsiteX0" fmla="*/ 0 w 239015"/>
                <a:gd name="connsiteY0" fmla="*/ 0 h 197065"/>
                <a:gd name="connsiteX1" fmla="*/ 53315 w 239015"/>
                <a:gd name="connsiteY1" fmla="*/ 0 h 197065"/>
                <a:gd name="connsiteX2" fmla="*/ 83760 w 239015"/>
                <a:gd name="connsiteY2" fmla="*/ 146923 h 197065"/>
                <a:gd name="connsiteX3" fmla="*/ 84659 w 239015"/>
                <a:gd name="connsiteY3" fmla="*/ 150758 h 197065"/>
                <a:gd name="connsiteX4" fmla="*/ 131108 w 239015"/>
                <a:gd name="connsiteY4" fmla="*/ 197065 h 197065"/>
                <a:gd name="connsiteX5" fmla="*/ 239016 w 239015"/>
                <a:gd name="connsiteY5" fmla="*/ 197065 h 1970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39015" h="197065">
                  <a:moveTo>
                    <a:pt x="0" y="0"/>
                  </a:moveTo>
                  <a:lnTo>
                    <a:pt x="53315" y="0"/>
                  </a:lnTo>
                  <a:lnTo>
                    <a:pt x="83760" y="146923"/>
                  </a:lnTo>
                  <a:cubicBezTo>
                    <a:pt x="83760" y="146923"/>
                    <a:pt x="84517" y="150048"/>
                    <a:pt x="84659" y="150758"/>
                  </a:cubicBezTo>
                  <a:cubicBezTo>
                    <a:pt x="91620" y="188827"/>
                    <a:pt x="111127" y="197065"/>
                    <a:pt x="131108" y="197065"/>
                  </a:cubicBezTo>
                  <a:lnTo>
                    <a:pt x="239016" y="197065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00" name="Forma livre: Forma 1499">
              <a:extLst>
                <a:ext uri="{FF2B5EF4-FFF2-40B4-BE49-F238E27FC236}">
                  <a16:creationId xmlns:a16="http://schemas.microsoft.com/office/drawing/2014/main" id="{5999E6CD-9681-8F0A-7664-0CBE4AD5F694}"/>
                </a:ext>
              </a:extLst>
            </p:cNvPr>
            <p:cNvSpPr/>
            <p:nvPr/>
          </p:nvSpPr>
          <p:spPr>
            <a:xfrm>
              <a:off x="6490943" y="4391678"/>
              <a:ext cx="44318" cy="44318"/>
            </a:xfrm>
            <a:custGeom>
              <a:avLst/>
              <a:gdLst>
                <a:gd name="connsiteX0" fmla="*/ 44318 w 44318"/>
                <a:gd name="connsiteY0" fmla="*/ 22159 h 44318"/>
                <a:gd name="connsiteX1" fmla="*/ 22159 w 44318"/>
                <a:gd name="connsiteY1" fmla="*/ 44318 h 44318"/>
                <a:gd name="connsiteX2" fmla="*/ 0 w 44318"/>
                <a:gd name="connsiteY2" fmla="*/ 22159 h 44318"/>
                <a:gd name="connsiteX3" fmla="*/ 22159 w 44318"/>
                <a:gd name="connsiteY3" fmla="*/ 0 h 44318"/>
                <a:gd name="connsiteX4" fmla="*/ 44318 w 44318"/>
                <a:gd name="connsiteY4" fmla="*/ 22159 h 443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318" h="44318">
                  <a:moveTo>
                    <a:pt x="44318" y="22159"/>
                  </a:moveTo>
                  <a:cubicBezTo>
                    <a:pt x="44318" y="34375"/>
                    <a:pt x="34422" y="44318"/>
                    <a:pt x="22159" y="44318"/>
                  </a:cubicBezTo>
                  <a:cubicBezTo>
                    <a:pt x="9896" y="44318"/>
                    <a:pt x="0" y="34422"/>
                    <a:pt x="0" y="22159"/>
                  </a:cubicBezTo>
                  <a:cubicBezTo>
                    <a:pt x="0" y="9896"/>
                    <a:pt x="9896" y="0"/>
                    <a:pt x="22159" y="0"/>
                  </a:cubicBezTo>
                  <a:cubicBezTo>
                    <a:pt x="34422" y="0"/>
                    <a:pt x="44318" y="9896"/>
                    <a:pt x="44318" y="22159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01" name="Forma livre: Forma 1500">
              <a:extLst>
                <a:ext uri="{FF2B5EF4-FFF2-40B4-BE49-F238E27FC236}">
                  <a16:creationId xmlns:a16="http://schemas.microsoft.com/office/drawing/2014/main" id="{4436AE5A-C4AE-441A-0BC8-581911F4D5FB}"/>
                </a:ext>
              </a:extLst>
            </p:cNvPr>
            <p:cNvSpPr/>
            <p:nvPr/>
          </p:nvSpPr>
          <p:spPr>
            <a:xfrm>
              <a:off x="6335071" y="4235996"/>
              <a:ext cx="225995" cy="106061"/>
            </a:xfrm>
            <a:custGeom>
              <a:avLst/>
              <a:gdLst>
                <a:gd name="connsiteX0" fmla="*/ 0 w 225995"/>
                <a:gd name="connsiteY0" fmla="*/ 0 h 106061"/>
                <a:gd name="connsiteX1" fmla="*/ 225995 w 225995"/>
                <a:gd name="connsiteY1" fmla="*/ 15199 h 106061"/>
                <a:gd name="connsiteX2" fmla="*/ 196544 w 225995"/>
                <a:gd name="connsiteY2" fmla="*/ 106061 h 106061"/>
                <a:gd name="connsiteX3" fmla="*/ 21638 w 225995"/>
                <a:gd name="connsiteY3" fmla="*/ 106061 h 1060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25995" h="106061">
                  <a:moveTo>
                    <a:pt x="0" y="0"/>
                  </a:moveTo>
                  <a:lnTo>
                    <a:pt x="225995" y="15199"/>
                  </a:lnTo>
                  <a:lnTo>
                    <a:pt x="196544" y="106061"/>
                  </a:lnTo>
                  <a:lnTo>
                    <a:pt x="21638" y="106061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02" name="Forma livre: Forma 1501">
              <a:extLst>
                <a:ext uri="{FF2B5EF4-FFF2-40B4-BE49-F238E27FC236}">
                  <a16:creationId xmlns:a16="http://schemas.microsoft.com/office/drawing/2014/main" id="{4D7B118F-9616-D4FA-EDEE-4BD1E2897DE8}"/>
                </a:ext>
              </a:extLst>
            </p:cNvPr>
            <p:cNvSpPr/>
            <p:nvPr/>
          </p:nvSpPr>
          <p:spPr>
            <a:xfrm>
              <a:off x="6365753" y="4391678"/>
              <a:ext cx="44318" cy="44318"/>
            </a:xfrm>
            <a:custGeom>
              <a:avLst/>
              <a:gdLst>
                <a:gd name="connsiteX0" fmla="*/ 44318 w 44318"/>
                <a:gd name="connsiteY0" fmla="*/ 22159 h 44318"/>
                <a:gd name="connsiteX1" fmla="*/ 22159 w 44318"/>
                <a:gd name="connsiteY1" fmla="*/ 44318 h 44318"/>
                <a:gd name="connsiteX2" fmla="*/ 0 w 44318"/>
                <a:gd name="connsiteY2" fmla="*/ 22159 h 44318"/>
                <a:gd name="connsiteX3" fmla="*/ 22159 w 44318"/>
                <a:gd name="connsiteY3" fmla="*/ 0 h 44318"/>
                <a:gd name="connsiteX4" fmla="*/ 44318 w 44318"/>
                <a:gd name="connsiteY4" fmla="*/ 22159 h 443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318" h="44318">
                  <a:moveTo>
                    <a:pt x="44318" y="22159"/>
                  </a:moveTo>
                  <a:cubicBezTo>
                    <a:pt x="44318" y="34375"/>
                    <a:pt x="34375" y="44318"/>
                    <a:pt x="22159" y="44318"/>
                  </a:cubicBezTo>
                  <a:cubicBezTo>
                    <a:pt x="9943" y="44318"/>
                    <a:pt x="0" y="34422"/>
                    <a:pt x="0" y="22159"/>
                  </a:cubicBezTo>
                  <a:cubicBezTo>
                    <a:pt x="0" y="9896"/>
                    <a:pt x="9896" y="0"/>
                    <a:pt x="22159" y="0"/>
                  </a:cubicBezTo>
                  <a:cubicBezTo>
                    <a:pt x="34422" y="0"/>
                    <a:pt x="44318" y="9896"/>
                    <a:pt x="44318" y="22159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03" name="Forma livre: Forma 1502">
              <a:extLst>
                <a:ext uri="{FF2B5EF4-FFF2-40B4-BE49-F238E27FC236}">
                  <a16:creationId xmlns:a16="http://schemas.microsoft.com/office/drawing/2014/main" id="{8FAE0A08-A414-D788-91B0-95646B99DF75}"/>
                </a:ext>
              </a:extLst>
            </p:cNvPr>
            <p:cNvSpPr/>
            <p:nvPr/>
          </p:nvSpPr>
          <p:spPr>
            <a:xfrm>
              <a:off x="6346482" y="4290494"/>
              <a:ext cx="201657" cy="4734"/>
            </a:xfrm>
            <a:custGeom>
              <a:avLst/>
              <a:gdLst>
                <a:gd name="connsiteX0" fmla="*/ 0 w 201657"/>
                <a:gd name="connsiteY0" fmla="*/ 0 h 4734"/>
                <a:gd name="connsiteX1" fmla="*/ 201658 w 201657"/>
                <a:gd name="connsiteY1" fmla="*/ 0 h 47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01657" h="4734">
                  <a:moveTo>
                    <a:pt x="0" y="0"/>
                  </a:moveTo>
                  <a:lnTo>
                    <a:pt x="201658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04" name="Forma livre: Forma 1503">
              <a:extLst>
                <a:ext uri="{FF2B5EF4-FFF2-40B4-BE49-F238E27FC236}">
                  <a16:creationId xmlns:a16="http://schemas.microsoft.com/office/drawing/2014/main" id="{FE124413-0763-635A-7DC8-E967EAD17C01}"/>
                </a:ext>
              </a:extLst>
            </p:cNvPr>
            <p:cNvSpPr/>
            <p:nvPr/>
          </p:nvSpPr>
          <p:spPr>
            <a:xfrm>
              <a:off x="6442979" y="4243761"/>
              <a:ext cx="4734" cy="97017"/>
            </a:xfrm>
            <a:custGeom>
              <a:avLst/>
              <a:gdLst>
                <a:gd name="connsiteX0" fmla="*/ 0 w 4734"/>
                <a:gd name="connsiteY0" fmla="*/ 0 h 97017"/>
                <a:gd name="connsiteX1" fmla="*/ 0 w 4734"/>
                <a:gd name="connsiteY1" fmla="*/ 97017 h 970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734" h="97017">
                  <a:moveTo>
                    <a:pt x="0" y="0"/>
                  </a:moveTo>
                  <a:lnTo>
                    <a:pt x="0" y="97017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05" name="Forma livre: Forma 1504">
              <a:extLst>
                <a:ext uri="{FF2B5EF4-FFF2-40B4-BE49-F238E27FC236}">
                  <a16:creationId xmlns:a16="http://schemas.microsoft.com/office/drawing/2014/main" id="{FEF99ADA-6505-AF0C-0295-5F0B677D3294}"/>
                </a:ext>
              </a:extLst>
            </p:cNvPr>
            <p:cNvSpPr/>
            <p:nvPr/>
          </p:nvSpPr>
          <p:spPr>
            <a:xfrm>
              <a:off x="6489049" y="4248117"/>
              <a:ext cx="13257" cy="92187"/>
            </a:xfrm>
            <a:custGeom>
              <a:avLst/>
              <a:gdLst>
                <a:gd name="connsiteX0" fmla="*/ 13258 w 13257"/>
                <a:gd name="connsiteY0" fmla="*/ 0 h 92187"/>
                <a:gd name="connsiteX1" fmla="*/ 0 w 13257"/>
                <a:gd name="connsiteY1" fmla="*/ 92188 h 921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3257" h="92187">
                  <a:moveTo>
                    <a:pt x="13258" y="0"/>
                  </a:moveTo>
                  <a:lnTo>
                    <a:pt x="0" y="92188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06" name="Forma livre: Forma 1505">
              <a:extLst>
                <a:ext uri="{FF2B5EF4-FFF2-40B4-BE49-F238E27FC236}">
                  <a16:creationId xmlns:a16="http://schemas.microsoft.com/office/drawing/2014/main" id="{E65503CE-1ED0-CC87-2099-EA4198F7E136}"/>
                </a:ext>
              </a:extLst>
            </p:cNvPr>
            <p:cNvSpPr/>
            <p:nvPr/>
          </p:nvSpPr>
          <p:spPr>
            <a:xfrm>
              <a:off x="6383225" y="4239452"/>
              <a:ext cx="14488" cy="102178"/>
            </a:xfrm>
            <a:custGeom>
              <a:avLst/>
              <a:gdLst>
                <a:gd name="connsiteX0" fmla="*/ 0 w 14488"/>
                <a:gd name="connsiteY0" fmla="*/ 0 h 102178"/>
                <a:gd name="connsiteX1" fmla="*/ 14489 w 14488"/>
                <a:gd name="connsiteY1" fmla="*/ 102178 h 1021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4488" h="102178">
                  <a:moveTo>
                    <a:pt x="0" y="0"/>
                  </a:moveTo>
                  <a:lnTo>
                    <a:pt x="14489" y="102178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507" name="Gráfico 17">
            <a:extLst>
              <a:ext uri="{FF2B5EF4-FFF2-40B4-BE49-F238E27FC236}">
                <a16:creationId xmlns:a16="http://schemas.microsoft.com/office/drawing/2014/main" id="{09F96CE2-0CD2-996C-21D1-00476152C2CD}"/>
              </a:ext>
            </a:extLst>
          </p:cNvPr>
          <p:cNvGrpSpPr/>
          <p:nvPr/>
        </p:nvGrpSpPr>
        <p:grpSpPr>
          <a:xfrm>
            <a:off x="7481761" y="4189547"/>
            <a:ext cx="330446" cy="251516"/>
            <a:chOff x="7481761" y="4189547"/>
            <a:chExt cx="330446" cy="251516"/>
          </a:xfrm>
          <a:noFill/>
        </p:grpSpPr>
        <p:sp>
          <p:nvSpPr>
            <p:cNvPr id="1508" name="Forma livre: Forma 1507">
              <a:extLst>
                <a:ext uri="{FF2B5EF4-FFF2-40B4-BE49-F238E27FC236}">
                  <a16:creationId xmlns:a16="http://schemas.microsoft.com/office/drawing/2014/main" id="{688E7292-8997-C0DD-3F5F-10DEC406E523}"/>
                </a:ext>
              </a:extLst>
            </p:cNvPr>
            <p:cNvSpPr/>
            <p:nvPr/>
          </p:nvSpPr>
          <p:spPr>
            <a:xfrm>
              <a:off x="7481761" y="4199632"/>
              <a:ext cx="239015" cy="197065"/>
            </a:xfrm>
            <a:custGeom>
              <a:avLst/>
              <a:gdLst>
                <a:gd name="connsiteX0" fmla="*/ 0 w 239015"/>
                <a:gd name="connsiteY0" fmla="*/ 0 h 197065"/>
                <a:gd name="connsiteX1" fmla="*/ 53314 w 239015"/>
                <a:gd name="connsiteY1" fmla="*/ 0 h 197065"/>
                <a:gd name="connsiteX2" fmla="*/ 83760 w 239015"/>
                <a:gd name="connsiteY2" fmla="*/ 146923 h 197065"/>
                <a:gd name="connsiteX3" fmla="*/ 84659 w 239015"/>
                <a:gd name="connsiteY3" fmla="*/ 150758 h 197065"/>
                <a:gd name="connsiteX4" fmla="*/ 131108 w 239015"/>
                <a:gd name="connsiteY4" fmla="*/ 197065 h 197065"/>
                <a:gd name="connsiteX5" fmla="*/ 239016 w 239015"/>
                <a:gd name="connsiteY5" fmla="*/ 197065 h 1970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39015" h="197065">
                  <a:moveTo>
                    <a:pt x="0" y="0"/>
                  </a:moveTo>
                  <a:lnTo>
                    <a:pt x="53314" y="0"/>
                  </a:lnTo>
                  <a:lnTo>
                    <a:pt x="83760" y="146923"/>
                  </a:lnTo>
                  <a:cubicBezTo>
                    <a:pt x="83760" y="146923"/>
                    <a:pt x="84517" y="150048"/>
                    <a:pt x="84659" y="150758"/>
                  </a:cubicBezTo>
                  <a:cubicBezTo>
                    <a:pt x="91620" y="188827"/>
                    <a:pt x="111127" y="197065"/>
                    <a:pt x="131108" y="197065"/>
                  </a:cubicBezTo>
                  <a:lnTo>
                    <a:pt x="239016" y="197065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09" name="Forma livre: Forma 1508">
              <a:extLst>
                <a:ext uri="{FF2B5EF4-FFF2-40B4-BE49-F238E27FC236}">
                  <a16:creationId xmlns:a16="http://schemas.microsoft.com/office/drawing/2014/main" id="{718A5425-2483-C97F-92F4-740F7A6FF6D8}"/>
                </a:ext>
              </a:extLst>
            </p:cNvPr>
            <p:cNvSpPr/>
            <p:nvPr/>
          </p:nvSpPr>
          <p:spPr>
            <a:xfrm>
              <a:off x="7701364" y="4396745"/>
              <a:ext cx="44318" cy="44318"/>
            </a:xfrm>
            <a:custGeom>
              <a:avLst/>
              <a:gdLst>
                <a:gd name="connsiteX0" fmla="*/ 44318 w 44318"/>
                <a:gd name="connsiteY0" fmla="*/ 22159 h 44318"/>
                <a:gd name="connsiteX1" fmla="*/ 22159 w 44318"/>
                <a:gd name="connsiteY1" fmla="*/ 44318 h 44318"/>
                <a:gd name="connsiteX2" fmla="*/ 0 w 44318"/>
                <a:gd name="connsiteY2" fmla="*/ 22159 h 44318"/>
                <a:gd name="connsiteX3" fmla="*/ 22159 w 44318"/>
                <a:gd name="connsiteY3" fmla="*/ 0 h 44318"/>
                <a:gd name="connsiteX4" fmla="*/ 44318 w 44318"/>
                <a:gd name="connsiteY4" fmla="*/ 22159 h 443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318" h="44318">
                  <a:moveTo>
                    <a:pt x="44318" y="22159"/>
                  </a:moveTo>
                  <a:cubicBezTo>
                    <a:pt x="44318" y="34375"/>
                    <a:pt x="34423" y="44318"/>
                    <a:pt x="22159" y="44318"/>
                  </a:cubicBezTo>
                  <a:cubicBezTo>
                    <a:pt x="9896" y="44318"/>
                    <a:pt x="0" y="34423"/>
                    <a:pt x="0" y="22159"/>
                  </a:cubicBezTo>
                  <a:cubicBezTo>
                    <a:pt x="0" y="9896"/>
                    <a:pt x="9896" y="0"/>
                    <a:pt x="22159" y="0"/>
                  </a:cubicBezTo>
                  <a:cubicBezTo>
                    <a:pt x="34423" y="0"/>
                    <a:pt x="44318" y="9896"/>
                    <a:pt x="44318" y="22159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10" name="Forma livre: Forma 1509">
              <a:extLst>
                <a:ext uri="{FF2B5EF4-FFF2-40B4-BE49-F238E27FC236}">
                  <a16:creationId xmlns:a16="http://schemas.microsoft.com/office/drawing/2014/main" id="{C6781530-795F-7427-EC7B-310A5F2F0FD4}"/>
                </a:ext>
              </a:extLst>
            </p:cNvPr>
            <p:cNvSpPr/>
            <p:nvPr/>
          </p:nvSpPr>
          <p:spPr>
            <a:xfrm>
              <a:off x="7567131" y="4312369"/>
              <a:ext cx="184517" cy="34753"/>
            </a:xfrm>
            <a:custGeom>
              <a:avLst/>
              <a:gdLst>
                <a:gd name="connsiteX0" fmla="*/ 184518 w 184517"/>
                <a:gd name="connsiteY0" fmla="*/ 0 h 34753"/>
                <a:gd name="connsiteX1" fmla="*/ 174906 w 184517"/>
                <a:gd name="connsiteY1" fmla="*/ 34754 h 34753"/>
                <a:gd name="connsiteX2" fmla="*/ 0 w 184517"/>
                <a:gd name="connsiteY2" fmla="*/ 34707 h 347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84517" h="34753">
                  <a:moveTo>
                    <a:pt x="184518" y="0"/>
                  </a:moveTo>
                  <a:lnTo>
                    <a:pt x="174906" y="34754"/>
                  </a:lnTo>
                  <a:lnTo>
                    <a:pt x="0" y="34707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11" name="Forma livre: Forma 1510">
              <a:extLst>
                <a:ext uri="{FF2B5EF4-FFF2-40B4-BE49-F238E27FC236}">
                  <a16:creationId xmlns:a16="http://schemas.microsoft.com/office/drawing/2014/main" id="{710AEE55-BA93-A79F-CF96-07B31E022B20}"/>
                </a:ext>
              </a:extLst>
            </p:cNvPr>
            <p:cNvSpPr/>
            <p:nvPr/>
          </p:nvSpPr>
          <p:spPr>
            <a:xfrm>
              <a:off x="7545255" y="4241062"/>
              <a:ext cx="143182" cy="9753"/>
            </a:xfrm>
            <a:custGeom>
              <a:avLst/>
              <a:gdLst>
                <a:gd name="connsiteX0" fmla="*/ 0 w 143182"/>
                <a:gd name="connsiteY0" fmla="*/ 0 h 9753"/>
                <a:gd name="connsiteX1" fmla="*/ 143182 w 143182"/>
                <a:gd name="connsiteY1" fmla="*/ 9754 h 97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43182" h="9753">
                  <a:moveTo>
                    <a:pt x="0" y="0"/>
                  </a:moveTo>
                  <a:lnTo>
                    <a:pt x="143182" y="9754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12" name="Forma livre: Forma 1511">
              <a:extLst>
                <a:ext uri="{FF2B5EF4-FFF2-40B4-BE49-F238E27FC236}">
                  <a16:creationId xmlns:a16="http://schemas.microsoft.com/office/drawing/2014/main" id="{CA0E26D8-3695-BF6B-5B1E-91D8EED4830F}"/>
                </a:ext>
              </a:extLst>
            </p:cNvPr>
            <p:cNvSpPr/>
            <p:nvPr/>
          </p:nvSpPr>
          <p:spPr>
            <a:xfrm>
              <a:off x="7576174" y="4396745"/>
              <a:ext cx="44318" cy="44318"/>
            </a:xfrm>
            <a:custGeom>
              <a:avLst/>
              <a:gdLst>
                <a:gd name="connsiteX0" fmla="*/ 44318 w 44318"/>
                <a:gd name="connsiteY0" fmla="*/ 22159 h 44318"/>
                <a:gd name="connsiteX1" fmla="*/ 22159 w 44318"/>
                <a:gd name="connsiteY1" fmla="*/ 44318 h 44318"/>
                <a:gd name="connsiteX2" fmla="*/ 0 w 44318"/>
                <a:gd name="connsiteY2" fmla="*/ 22159 h 44318"/>
                <a:gd name="connsiteX3" fmla="*/ 22159 w 44318"/>
                <a:gd name="connsiteY3" fmla="*/ 0 h 44318"/>
                <a:gd name="connsiteX4" fmla="*/ 44318 w 44318"/>
                <a:gd name="connsiteY4" fmla="*/ 22159 h 443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318" h="44318">
                  <a:moveTo>
                    <a:pt x="44318" y="22159"/>
                  </a:moveTo>
                  <a:cubicBezTo>
                    <a:pt x="44318" y="34375"/>
                    <a:pt x="34375" y="44318"/>
                    <a:pt x="22159" y="44318"/>
                  </a:cubicBezTo>
                  <a:cubicBezTo>
                    <a:pt x="9943" y="44318"/>
                    <a:pt x="0" y="34423"/>
                    <a:pt x="0" y="22159"/>
                  </a:cubicBezTo>
                  <a:cubicBezTo>
                    <a:pt x="0" y="9896"/>
                    <a:pt x="9943" y="0"/>
                    <a:pt x="22159" y="0"/>
                  </a:cubicBezTo>
                  <a:cubicBezTo>
                    <a:pt x="34375" y="0"/>
                    <a:pt x="44318" y="9896"/>
                    <a:pt x="44318" y="22159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13" name="Forma livre: Forma 1512">
              <a:extLst>
                <a:ext uri="{FF2B5EF4-FFF2-40B4-BE49-F238E27FC236}">
                  <a16:creationId xmlns:a16="http://schemas.microsoft.com/office/drawing/2014/main" id="{B66D751C-A9A0-62FF-F097-D87580BB5CED}"/>
                </a:ext>
              </a:extLst>
            </p:cNvPr>
            <p:cNvSpPr/>
            <p:nvPr/>
          </p:nvSpPr>
          <p:spPr>
            <a:xfrm>
              <a:off x="7653400" y="4248827"/>
              <a:ext cx="4734" cy="97017"/>
            </a:xfrm>
            <a:custGeom>
              <a:avLst/>
              <a:gdLst>
                <a:gd name="connsiteX0" fmla="*/ 0 w 4734"/>
                <a:gd name="connsiteY0" fmla="*/ 0 h 97017"/>
                <a:gd name="connsiteX1" fmla="*/ 0 w 4734"/>
                <a:gd name="connsiteY1" fmla="*/ 97017 h 970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734" h="97017">
                  <a:moveTo>
                    <a:pt x="0" y="0"/>
                  </a:moveTo>
                  <a:lnTo>
                    <a:pt x="0" y="97017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14" name="Forma livre: Forma 1513">
              <a:extLst>
                <a:ext uri="{FF2B5EF4-FFF2-40B4-BE49-F238E27FC236}">
                  <a16:creationId xmlns:a16="http://schemas.microsoft.com/office/drawing/2014/main" id="{03B902A9-42F7-27D3-C89D-6070A4BAEA69}"/>
                </a:ext>
              </a:extLst>
            </p:cNvPr>
            <p:cNvSpPr/>
            <p:nvPr/>
          </p:nvSpPr>
          <p:spPr>
            <a:xfrm>
              <a:off x="7556903" y="4295513"/>
              <a:ext cx="149669" cy="49858"/>
            </a:xfrm>
            <a:custGeom>
              <a:avLst/>
              <a:gdLst>
                <a:gd name="connsiteX0" fmla="*/ 0 w 149669"/>
                <a:gd name="connsiteY0" fmla="*/ 0 h 49858"/>
                <a:gd name="connsiteX1" fmla="*/ 149669 w 149669"/>
                <a:gd name="connsiteY1" fmla="*/ 0 h 49858"/>
                <a:gd name="connsiteX2" fmla="*/ 142567 w 149669"/>
                <a:gd name="connsiteY2" fmla="*/ 49858 h 498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49669" h="49858">
                  <a:moveTo>
                    <a:pt x="0" y="0"/>
                  </a:moveTo>
                  <a:lnTo>
                    <a:pt x="149669" y="0"/>
                  </a:lnTo>
                  <a:lnTo>
                    <a:pt x="142567" y="49858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bevel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15" name="Forma livre: Forma 1514">
              <a:extLst>
                <a:ext uri="{FF2B5EF4-FFF2-40B4-BE49-F238E27FC236}">
                  <a16:creationId xmlns:a16="http://schemas.microsoft.com/office/drawing/2014/main" id="{255DE7DB-B448-9BA9-0F2C-547FB244BB8D}"/>
                </a:ext>
              </a:extLst>
            </p:cNvPr>
            <p:cNvSpPr/>
            <p:nvPr/>
          </p:nvSpPr>
          <p:spPr>
            <a:xfrm>
              <a:off x="7593646" y="4244519"/>
              <a:ext cx="14488" cy="102178"/>
            </a:xfrm>
            <a:custGeom>
              <a:avLst/>
              <a:gdLst>
                <a:gd name="connsiteX0" fmla="*/ 0 w 14488"/>
                <a:gd name="connsiteY0" fmla="*/ 0 h 102178"/>
                <a:gd name="connsiteX1" fmla="*/ 14489 w 14488"/>
                <a:gd name="connsiteY1" fmla="*/ 102178 h 1021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4488" h="102178">
                  <a:moveTo>
                    <a:pt x="0" y="0"/>
                  </a:moveTo>
                  <a:lnTo>
                    <a:pt x="14489" y="102178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16" name="Forma livre: Forma 1515">
              <a:extLst>
                <a:ext uri="{FF2B5EF4-FFF2-40B4-BE49-F238E27FC236}">
                  <a16:creationId xmlns:a16="http://schemas.microsoft.com/office/drawing/2014/main" id="{11888DA9-7926-1DBF-AA61-A710E0219375}"/>
                </a:ext>
              </a:extLst>
            </p:cNvPr>
            <p:cNvSpPr/>
            <p:nvPr/>
          </p:nvSpPr>
          <p:spPr>
            <a:xfrm>
              <a:off x="7706052" y="4189547"/>
              <a:ext cx="106155" cy="106155"/>
            </a:xfrm>
            <a:custGeom>
              <a:avLst/>
              <a:gdLst>
                <a:gd name="connsiteX0" fmla="*/ 106156 w 106155"/>
                <a:gd name="connsiteY0" fmla="*/ 53078 h 106155"/>
                <a:gd name="connsiteX1" fmla="*/ 53078 w 106155"/>
                <a:gd name="connsiteY1" fmla="*/ 106156 h 106155"/>
                <a:gd name="connsiteX2" fmla="*/ 0 w 106155"/>
                <a:gd name="connsiteY2" fmla="*/ 53078 h 106155"/>
                <a:gd name="connsiteX3" fmla="*/ 53078 w 106155"/>
                <a:gd name="connsiteY3" fmla="*/ 0 h 106155"/>
                <a:gd name="connsiteX4" fmla="*/ 106156 w 106155"/>
                <a:gd name="connsiteY4" fmla="*/ 53078 h 1061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6155" h="106155">
                  <a:moveTo>
                    <a:pt x="106156" y="53078"/>
                  </a:moveTo>
                  <a:cubicBezTo>
                    <a:pt x="106156" y="82387"/>
                    <a:pt x="82387" y="106156"/>
                    <a:pt x="53078" y="106156"/>
                  </a:cubicBezTo>
                  <a:cubicBezTo>
                    <a:pt x="23769" y="106156"/>
                    <a:pt x="0" y="82387"/>
                    <a:pt x="0" y="53078"/>
                  </a:cubicBezTo>
                  <a:cubicBezTo>
                    <a:pt x="0" y="23769"/>
                    <a:pt x="23769" y="0"/>
                    <a:pt x="53078" y="0"/>
                  </a:cubicBezTo>
                  <a:cubicBezTo>
                    <a:pt x="82387" y="0"/>
                    <a:pt x="106156" y="23769"/>
                    <a:pt x="106156" y="53078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17" name="Forma livre: Forma 1516">
              <a:extLst>
                <a:ext uri="{FF2B5EF4-FFF2-40B4-BE49-F238E27FC236}">
                  <a16:creationId xmlns:a16="http://schemas.microsoft.com/office/drawing/2014/main" id="{268D64E0-9F8B-43A4-8FAF-94B401EE1B04}"/>
                </a:ext>
              </a:extLst>
            </p:cNvPr>
            <p:cNvSpPr/>
            <p:nvPr/>
          </p:nvSpPr>
          <p:spPr>
            <a:xfrm>
              <a:off x="7733182" y="4242625"/>
              <a:ext cx="51846" cy="4734"/>
            </a:xfrm>
            <a:custGeom>
              <a:avLst/>
              <a:gdLst>
                <a:gd name="connsiteX0" fmla="*/ 51847 w 51846"/>
                <a:gd name="connsiteY0" fmla="*/ 0 h 4734"/>
                <a:gd name="connsiteX1" fmla="*/ 0 w 51846"/>
                <a:gd name="connsiteY1" fmla="*/ 0 h 47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1846" h="4734">
                  <a:moveTo>
                    <a:pt x="51847" y="0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518" name="Gráfico 17">
            <a:extLst>
              <a:ext uri="{FF2B5EF4-FFF2-40B4-BE49-F238E27FC236}">
                <a16:creationId xmlns:a16="http://schemas.microsoft.com/office/drawing/2014/main" id="{AF7370BE-084B-DB0F-EE5E-08832677BD69}"/>
              </a:ext>
            </a:extLst>
          </p:cNvPr>
          <p:cNvGrpSpPr/>
          <p:nvPr/>
        </p:nvGrpSpPr>
        <p:grpSpPr>
          <a:xfrm>
            <a:off x="6866418" y="4189547"/>
            <a:ext cx="330398" cy="251516"/>
            <a:chOff x="6866418" y="4189547"/>
            <a:chExt cx="330398" cy="251516"/>
          </a:xfrm>
          <a:noFill/>
        </p:grpSpPr>
        <p:sp>
          <p:nvSpPr>
            <p:cNvPr id="1519" name="Forma livre: Forma 1518">
              <a:extLst>
                <a:ext uri="{FF2B5EF4-FFF2-40B4-BE49-F238E27FC236}">
                  <a16:creationId xmlns:a16="http://schemas.microsoft.com/office/drawing/2014/main" id="{59516688-0B15-647F-F319-F1DC1521CA76}"/>
                </a:ext>
              </a:extLst>
            </p:cNvPr>
            <p:cNvSpPr/>
            <p:nvPr/>
          </p:nvSpPr>
          <p:spPr>
            <a:xfrm>
              <a:off x="6866418" y="4199632"/>
              <a:ext cx="239016" cy="197065"/>
            </a:xfrm>
            <a:custGeom>
              <a:avLst/>
              <a:gdLst>
                <a:gd name="connsiteX0" fmla="*/ 0 w 239016"/>
                <a:gd name="connsiteY0" fmla="*/ 0 h 197065"/>
                <a:gd name="connsiteX1" fmla="*/ 53315 w 239016"/>
                <a:gd name="connsiteY1" fmla="*/ 0 h 197065"/>
                <a:gd name="connsiteX2" fmla="*/ 83760 w 239016"/>
                <a:gd name="connsiteY2" fmla="*/ 146923 h 197065"/>
                <a:gd name="connsiteX3" fmla="*/ 84659 w 239016"/>
                <a:gd name="connsiteY3" fmla="*/ 150758 h 197065"/>
                <a:gd name="connsiteX4" fmla="*/ 131108 w 239016"/>
                <a:gd name="connsiteY4" fmla="*/ 197065 h 197065"/>
                <a:gd name="connsiteX5" fmla="*/ 239016 w 239016"/>
                <a:gd name="connsiteY5" fmla="*/ 197065 h 1970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39016" h="197065">
                  <a:moveTo>
                    <a:pt x="0" y="0"/>
                  </a:moveTo>
                  <a:lnTo>
                    <a:pt x="53315" y="0"/>
                  </a:lnTo>
                  <a:lnTo>
                    <a:pt x="83760" y="146923"/>
                  </a:lnTo>
                  <a:cubicBezTo>
                    <a:pt x="83760" y="146923"/>
                    <a:pt x="84517" y="150048"/>
                    <a:pt x="84659" y="150758"/>
                  </a:cubicBezTo>
                  <a:cubicBezTo>
                    <a:pt x="91620" y="188827"/>
                    <a:pt x="111127" y="197065"/>
                    <a:pt x="131108" y="197065"/>
                  </a:cubicBezTo>
                  <a:lnTo>
                    <a:pt x="239016" y="197065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20" name="Forma livre: Forma 1519">
              <a:extLst>
                <a:ext uri="{FF2B5EF4-FFF2-40B4-BE49-F238E27FC236}">
                  <a16:creationId xmlns:a16="http://schemas.microsoft.com/office/drawing/2014/main" id="{F0B52FBC-BD55-37EC-5C28-B1C0EC5BB5DC}"/>
                </a:ext>
              </a:extLst>
            </p:cNvPr>
            <p:cNvSpPr/>
            <p:nvPr/>
          </p:nvSpPr>
          <p:spPr>
            <a:xfrm>
              <a:off x="7085974" y="4396745"/>
              <a:ext cx="44318" cy="44318"/>
            </a:xfrm>
            <a:custGeom>
              <a:avLst/>
              <a:gdLst>
                <a:gd name="connsiteX0" fmla="*/ 44318 w 44318"/>
                <a:gd name="connsiteY0" fmla="*/ 22159 h 44318"/>
                <a:gd name="connsiteX1" fmla="*/ 22159 w 44318"/>
                <a:gd name="connsiteY1" fmla="*/ 44318 h 44318"/>
                <a:gd name="connsiteX2" fmla="*/ 0 w 44318"/>
                <a:gd name="connsiteY2" fmla="*/ 22159 h 44318"/>
                <a:gd name="connsiteX3" fmla="*/ 22159 w 44318"/>
                <a:gd name="connsiteY3" fmla="*/ 0 h 44318"/>
                <a:gd name="connsiteX4" fmla="*/ 44318 w 44318"/>
                <a:gd name="connsiteY4" fmla="*/ 22159 h 443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318" h="44318">
                  <a:moveTo>
                    <a:pt x="44318" y="22159"/>
                  </a:moveTo>
                  <a:cubicBezTo>
                    <a:pt x="44318" y="34375"/>
                    <a:pt x="34422" y="44318"/>
                    <a:pt x="22159" y="44318"/>
                  </a:cubicBezTo>
                  <a:cubicBezTo>
                    <a:pt x="9896" y="44318"/>
                    <a:pt x="0" y="34423"/>
                    <a:pt x="0" y="22159"/>
                  </a:cubicBezTo>
                  <a:cubicBezTo>
                    <a:pt x="0" y="9896"/>
                    <a:pt x="9896" y="0"/>
                    <a:pt x="22159" y="0"/>
                  </a:cubicBezTo>
                  <a:cubicBezTo>
                    <a:pt x="34422" y="0"/>
                    <a:pt x="44318" y="9896"/>
                    <a:pt x="44318" y="22159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21" name="Forma livre: Forma 1520">
              <a:extLst>
                <a:ext uri="{FF2B5EF4-FFF2-40B4-BE49-F238E27FC236}">
                  <a16:creationId xmlns:a16="http://schemas.microsoft.com/office/drawing/2014/main" id="{FDD2F410-E190-BE15-C52C-9C7B8A8A9D07}"/>
                </a:ext>
              </a:extLst>
            </p:cNvPr>
            <p:cNvSpPr/>
            <p:nvPr/>
          </p:nvSpPr>
          <p:spPr>
            <a:xfrm>
              <a:off x="6951740" y="4312369"/>
              <a:ext cx="184565" cy="34753"/>
            </a:xfrm>
            <a:custGeom>
              <a:avLst/>
              <a:gdLst>
                <a:gd name="connsiteX0" fmla="*/ 184565 w 184565"/>
                <a:gd name="connsiteY0" fmla="*/ 0 h 34753"/>
                <a:gd name="connsiteX1" fmla="*/ 174906 w 184565"/>
                <a:gd name="connsiteY1" fmla="*/ 34754 h 34753"/>
                <a:gd name="connsiteX2" fmla="*/ 0 w 184565"/>
                <a:gd name="connsiteY2" fmla="*/ 34707 h 347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84565" h="34753">
                  <a:moveTo>
                    <a:pt x="184565" y="0"/>
                  </a:moveTo>
                  <a:lnTo>
                    <a:pt x="174906" y="34754"/>
                  </a:lnTo>
                  <a:lnTo>
                    <a:pt x="0" y="34707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22" name="Forma livre: Forma 1521">
              <a:extLst>
                <a:ext uri="{FF2B5EF4-FFF2-40B4-BE49-F238E27FC236}">
                  <a16:creationId xmlns:a16="http://schemas.microsoft.com/office/drawing/2014/main" id="{C8B682A6-53E1-79C9-6B53-13CB2DB10543}"/>
                </a:ext>
              </a:extLst>
            </p:cNvPr>
            <p:cNvSpPr/>
            <p:nvPr/>
          </p:nvSpPr>
          <p:spPr>
            <a:xfrm>
              <a:off x="6929865" y="4241062"/>
              <a:ext cx="143182" cy="9753"/>
            </a:xfrm>
            <a:custGeom>
              <a:avLst/>
              <a:gdLst>
                <a:gd name="connsiteX0" fmla="*/ 0 w 143182"/>
                <a:gd name="connsiteY0" fmla="*/ 0 h 9753"/>
                <a:gd name="connsiteX1" fmla="*/ 143182 w 143182"/>
                <a:gd name="connsiteY1" fmla="*/ 9754 h 97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43182" h="9753">
                  <a:moveTo>
                    <a:pt x="0" y="0"/>
                  </a:moveTo>
                  <a:lnTo>
                    <a:pt x="143182" y="9754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23" name="Forma livre: Forma 1522">
              <a:extLst>
                <a:ext uri="{FF2B5EF4-FFF2-40B4-BE49-F238E27FC236}">
                  <a16:creationId xmlns:a16="http://schemas.microsoft.com/office/drawing/2014/main" id="{BC312BD3-E042-903E-105F-14109D2ED5E6}"/>
                </a:ext>
              </a:extLst>
            </p:cNvPr>
            <p:cNvSpPr/>
            <p:nvPr/>
          </p:nvSpPr>
          <p:spPr>
            <a:xfrm>
              <a:off x="6960784" y="4396745"/>
              <a:ext cx="44318" cy="44318"/>
            </a:xfrm>
            <a:custGeom>
              <a:avLst/>
              <a:gdLst>
                <a:gd name="connsiteX0" fmla="*/ 44318 w 44318"/>
                <a:gd name="connsiteY0" fmla="*/ 22159 h 44318"/>
                <a:gd name="connsiteX1" fmla="*/ 22159 w 44318"/>
                <a:gd name="connsiteY1" fmla="*/ 44318 h 44318"/>
                <a:gd name="connsiteX2" fmla="*/ 0 w 44318"/>
                <a:gd name="connsiteY2" fmla="*/ 22159 h 44318"/>
                <a:gd name="connsiteX3" fmla="*/ 22159 w 44318"/>
                <a:gd name="connsiteY3" fmla="*/ 0 h 44318"/>
                <a:gd name="connsiteX4" fmla="*/ 44318 w 44318"/>
                <a:gd name="connsiteY4" fmla="*/ 22159 h 443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318" h="44318">
                  <a:moveTo>
                    <a:pt x="44318" y="22159"/>
                  </a:moveTo>
                  <a:cubicBezTo>
                    <a:pt x="44318" y="34375"/>
                    <a:pt x="34375" y="44318"/>
                    <a:pt x="22159" y="44318"/>
                  </a:cubicBezTo>
                  <a:cubicBezTo>
                    <a:pt x="9943" y="44318"/>
                    <a:pt x="0" y="34423"/>
                    <a:pt x="0" y="22159"/>
                  </a:cubicBezTo>
                  <a:cubicBezTo>
                    <a:pt x="0" y="9896"/>
                    <a:pt x="9896" y="0"/>
                    <a:pt x="22159" y="0"/>
                  </a:cubicBezTo>
                  <a:cubicBezTo>
                    <a:pt x="34422" y="0"/>
                    <a:pt x="44318" y="9896"/>
                    <a:pt x="44318" y="22159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24" name="Forma livre: Forma 1523">
              <a:extLst>
                <a:ext uri="{FF2B5EF4-FFF2-40B4-BE49-F238E27FC236}">
                  <a16:creationId xmlns:a16="http://schemas.microsoft.com/office/drawing/2014/main" id="{86A51CC4-A83B-58D7-B38A-4C9E0BFFD6D6}"/>
                </a:ext>
              </a:extLst>
            </p:cNvPr>
            <p:cNvSpPr/>
            <p:nvPr/>
          </p:nvSpPr>
          <p:spPr>
            <a:xfrm>
              <a:off x="7038057" y="4248827"/>
              <a:ext cx="4734" cy="97017"/>
            </a:xfrm>
            <a:custGeom>
              <a:avLst/>
              <a:gdLst>
                <a:gd name="connsiteX0" fmla="*/ 0 w 4734"/>
                <a:gd name="connsiteY0" fmla="*/ 0 h 97017"/>
                <a:gd name="connsiteX1" fmla="*/ 0 w 4734"/>
                <a:gd name="connsiteY1" fmla="*/ 97017 h 970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734" h="97017">
                  <a:moveTo>
                    <a:pt x="0" y="0"/>
                  </a:moveTo>
                  <a:lnTo>
                    <a:pt x="0" y="97017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25" name="Forma livre: Forma 1524">
              <a:extLst>
                <a:ext uri="{FF2B5EF4-FFF2-40B4-BE49-F238E27FC236}">
                  <a16:creationId xmlns:a16="http://schemas.microsoft.com/office/drawing/2014/main" id="{59386F9A-7F8C-A5BC-60EB-4E460670B1DE}"/>
                </a:ext>
              </a:extLst>
            </p:cNvPr>
            <p:cNvSpPr/>
            <p:nvPr/>
          </p:nvSpPr>
          <p:spPr>
            <a:xfrm>
              <a:off x="6941513" y="4295513"/>
              <a:ext cx="149669" cy="49858"/>
            </a:xfrm>
            <a:custGeom>
              <a:avLst/>
              <a:gdLst>
                <a:gd name="connsiteX0" fmla="*/ 0 w 149669"/>
                <a:gd name="connsiteY0" fmla="*/ 0 h 49858"/>
                <a:gd name="connsiteX1" fmla="*/ 149669 w 149669"/>
                <a:gd name="connsiteY1" fmla="*/ 0 h 49858"/>
                <a:gd name="connsiteX2" fmla="*/ 142567 w 149669"/>
                <a:gd name="connsiteY2" fmla="*/ 49858 h 498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49669" h="49858">
                  <a:moveTo>
                    <a:pt x="0" y="0"/>
                  </a:moveTo>
                  <a:lnTo>
                    <a:pt x="149669" y="0"/>
                  </a:lnTo>
                  <a:lnTo>
                    <a:pt x="142567" y="49858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bevel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26" name="Forma livre: Forma 1525">
              <a:extLst>
                <a:ext uri="{FF2B5EF4-FFF2-40B4-BE49-F238E27FC236}">
                  <a16:creationId xmlns:a16="http://schemas.microsoft.com/office/drawing/2014/main" id="{C91F65AE-A476-A8D3-F996-11EEFC1E12D2}"/>
                </a:ext>
              </a:extLst>
            </p:cNvPr>
            <p:cNvSpPr/>
            <p:nvPr/>
          </p:nvSpPr>
          <p:spPr>
            <a:xfrm>
              <a:off x="6978255" y="4244519"/>
              <a:ext cx="14536" cy="102178"/>
            </a:xfrm>
            <a:custGeom>
              <a:avLst/>
              <a:gdLst>
                <a:gd name="connsiteX0" fmla="*/ 0 w 14536"/>
                <a:gd name="connsiteY0" fmla="*/ 0 h 102178"/>
                <a:gd name="connsiteX1" fmla="*/ 14536 w 14536"/>
                <a:gd name="connsiteY1" fmla="*/ 102178 h 1021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4536" h="102178">
                  <a:moveTo>
                    <a:pt x="0" y="0"/>
                  </a:moveTo>
                  <a:lnTo>
                    <a:pt x="14536" y="102178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27" name="Forma livre: Forma 1526">
              <a:extLst>
                <a:ext uri="{FF2B5EF4-FFF2-40B4-BE49-F238E27FC236}">
                  <a16:creationId xmlns:a16="http://schemas.microsoft.com/office/drawing/2014/main" id="{507A3E16-57C1-0562-29B7-25F1CAE9CE14}"/>
                </a:ext>
              </a:extLst>
            </p:cNvPr>
            <p:cNvSpPr/>
            <p:nvPr/>
          </p:nvSpPr>
          <p:spPr>
            <a:xfrm>
              <a:off x="7090661" y="4189547"/>
              <a:ext cx="106155" cy="106155"/>
            </a:xfrm>
            <a:custGeom>
              <a:avLst/>
              <a:gdLst>
                <a:gd name="connsiteX0" fmla="*/ 106156 w 106155"/>
                <a:gd name="connsiteY0" fmla="*/ 53078 h 106155"/>
                <a:gd name="connsiteX1" fmla="*/ 53078 w 106155"/>
                <a:gd name="connsiteY1" fmla="*/ 106156 h 106155"/>
                <a:gd name="connsiteX2" fmla="*/ 0 w 106155"/>
                <a:gd name="connsiteY2" fmla="*/ 53078 h 106155"/>
                <a:gd name="connsiteX3" fmla="*/ 53078 w 106155"/>
                <a:gd name="connsiteY3" fmla="*/ 0 h 106155"/>
                <a:gd name="connsiteX4" fmla="*/ 106156 w 106155"/>
                <a:gd name="connsiteY4" fmla="*/ 53078 h 1061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6155" h="106155">
                  <a:moveTo>
                    <a:pt x="106156" y="53078"/>
                  </a:moveTo>
                  <a:cubicBezTo>
                    <a:pt x="106156" y="82387"/>
                    <a:pt x="82387" y="106156"/>
                    <a:pt x="53078" y="106156"/>
                  </a:cubicBezTo>
                  <a:cubicBezTo>
                    <a:pt x="23769" y="106156"/>
                    <a:pt x="0" y="82387"/>
                    <a:pt x="0" y="53078"/>
                  </a:cubicBezTo>
                  <a:cubicBezTo>
                    <a:pt x="0" y="23769"/>
                    <a:pt x="23769" y="0"/>
                    <a:pt x="53078" y="0"/>
                  </a:cubicBezTo>
                  <a:cubicBezTo>
                    <a:pt x="82387" y="0"/>
                    <a:pt x="106156" y="23769"/>
                    <a:pt x="106156" y="53078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528" name="Gráfico 17">
              <a:extLst>
                <a:ext uri="{FF2B5EF4-FFF2-40B4-BE49-F238E27FC236}">
                  <a16:creationId xmlns:a16="http://schemas.microsoft.com/office/drawing/2014/main" id="{D62ACA86-EB42-0D35-63DD-730EA7079838}"/>
                </a:ext>
              </a:extLst>
            </p:cNvPr>
            <p:cNvGrpSpPr/>
            <p:nvPr/>
          </p:nvGrpSpPr>
          <p:grpSpPr>
            <a:xfrm>
              <a:off x="7117792" y="4216725"/>
              <a:ext cx="51846" cy="51799"/>
              <a:chOff x="7117792" y="4216725"/>
              <a:chExt cx="51846" cy="51799"/>
            </a:xfrm>
          </p:grpSpPr>
          <p:sp>
            <p:nvSpPr>
              <p:cNvPr id="1529" name="Forma livre: Forma 1528">
                <a:extLst>
                  <a:ext uri="{FF2B5EF4-FFF2-40B4-BE49-F238E27FC236}">
                    <a16:creationId xmlns:a16="http://schemas.microsoft.com/office/drawing/2014/main" id="{9D6E7CFC-1E82-AA77-9D91-7447A8840EA3}"/>
                  </a:ext>
                </a:extLst>
              </p:cNvPr>
              <p:cNvSpPr/>
              <p:nvPr/>
            </p:nvSpPr>
            <p:spPr>
              <a:xfrm>
                <a:off x="7143739" y="4216725"/>
                <a:ext cx="4734" cy="51799"/>
              </a:xfrm>
              <a:custGeom>
                <a:avLst/>
                <a:gdLst>
                  <a:gd name="connsiteX0" fmla="*/ 0 w 4734"/>
                  <a:gd name="connsiteY0" fmla="*/ 0 h 51799"/>
                  <a:gd name="connsiteX1" fmla="*/ 0 w 4734"/>
                  <a:gd name="connsiteY1" fmla="*/ 51799 h 517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34" h="51799">
                    <a:moveTo>
                      <a:pt x="0" y="0"/>
                    </a:moveTo>
                    <a:lnTo>
                      <a:pt x="0" y="51799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530" name="Forma livre: Forma 1529">
                <a:extLst>
                  <a:ext uri="{FF2B5EF4-FFF2-40B4-BE49-F238E27FC236}">
                    <a16:creationId xmlns:a16="http://schemas.microsoft.com/office/drawing/2014/main" id="{B5868650-57E3-3929-B944-ADA6C45B55C6}"/>
                  </a:ext>
                </a:extLst>
              </p:cNvPr>
              <p:cNvSpPr/>
              <p:nvPr/>
            </p:nvSpPr>
            <p:spPr>
              <a:xfrm>
                <a:off x="7117792" y="4242625"/>
                <a:ext cx="51846" cy="4734"/>
              </a:xfrm>
              <a:custGeom>
                <a:avLst/>
                <a:gdLst>
                  <a:gd name="connsiteX0" fmla="*/ 51847 w 51846"/>
                  <a:gd name="connsiteY0" fmla="*/ 0 h 4734"/>
                  <a:gd name="connsiteX1" fmla="*/ 0 w 51846"/>
                  <a:gd name="connsiteY1" fmla="*/ 0 h 47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1846" h="4734">
                    <a:moveTo>
                      <a:pt x="51847" y="0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531" name="Gráfico 17">
            <a:extLst>
              <a:ext uri="{FF2B5EF4-FFF2-40B4-BE49-F238E27FC236}">
                <a16:creationId xmlns:a16="http://schemas.microsoft.com/office/drawing/2014/main" id="{64B97C8E-ADD2-E1EA-BEB6-D60EE5BF4358}"/>
              </a:ext>
            </a:extLst>
          </p:cNvPr>
          <p:cNvGrpSpPr/>
          <p:nvPr/>
        </p:nvGrpSpPr>
        <p:grpSpPr>
          <a:xfrm>
            <a:off x="6273518" y="4702687"/>
            <a:ext cx="285394" cy="268634"/>
            <a:chOff x="6273518" y="4702687"/>
            <a:chExt cx="285394" cy="268634"/>
          </a:xfrm>
          <a:noFill/>
        </p:grpSpPr>
        <p:sp>
          <p:nvSpPr>
            <p:cNvPr id="1532" name="Forma livre: Forma 1531">
              <a:extLst>
                <a:ext uri="{FF2B5EF4-FFF2-40B4-BE49-F238E27FC236}">
                  <a16:creationId xmlns:a16="http://schemas.microsoft.com/office/drawing/2014/main" id="{46A47767-04FD-71D8-C831-D295780ECE48}"/>
                </a:ext>
              </a:extLst>
            </p:cNvPr>
            <p:cNvSpPr/>
            <p:nvPr/>
          </p:nvSpPr>
          <p:spPr>
            <a:xfrm>
              <a:off x="6273518" y="4820799"/>
              <a:ext cx="265057" cy="150521"/>
            </a:xfrm>
            <a:custGeom>
              <a:avLst/>
              <a:gdLst>
                <a:gd name="connsiteX0" fmla="*/ 265058 w 265057"/>
                <a:gd name="connsiteY0" fmla="*/ 32387 h 150521"/>
                <a:gd name="connsiteX1" fmla="*/ 265058 w 265057"/>
                <a:gd name="connsiteY1" fmla="*/ 150521 h 150521"/>
                <a:gd name="connsiteX2" fmla="*/ 0 w 265057"/>
                <a:gd name="connsiteY2" fmla="*/ 150521 h 150521"/>
                <a:gd name="connsiteX3" fmla="*/ 0 w 265057"/>
                <a:gd name="connsiteY3" fmla="*/ 0 h 150521"/>
                <a:gd name="connsiteX4" fmla="*/ 161790 w 265057"/>
                <a:gd name="connsiteY4" fmla="*/ 0 h 1505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65057" h="150521">
                  <a:moveTo>
                    <a:pt x="265058" y="32387"/>
                  </a:moveTo>
                  <a:lnTo>
                    <a:pt x="265058" y="150521"/>
                  </a:lnTo>
                  <a:lnTo>
                    <a:pt x="0" y="150521"/>
                  </a:lnTo>
                  <a:lnTo>
                    <a:pt x="0" y="0"/>
                  </a:lnTo>
                  <a:lnTo>
                    <a:pt x="161790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33" name="Forma livre: Forma 1532">
              <a:extLst>
                <a:ext uri="{FF2B5EF4-FFF2-40B4-BE49-F238E27FC236}">
                  <a16:creationId xmlns:a16="http://schemas.microsoft.com/office/drawing/2014/main" id="{72AE91D0-0508-E2F6-B5B3-AE174D400A9A}"/>
                </a:ext>
              </a:extLst>
            </p:cNvPr>
            <p:cNvSpPr/>
            <p:nvPr/>
          </p:nvSpPr>
          <p:spPr>
            <a:xfrm>
              <a:off x="6311397" y="4860904"/>
              <a:ext cx="99432" cy="4734"/>
            </a:xfrm>
            <a:custGeom>
              <a:avLst/>
              <a:gdLst>
                <a:gd name="connsiteX0" fmla="*/ 0 w 99432"/>
                <a:gd name="connsiteY0" fmla="*/ 0 h 4734"/>
                <a:gd name="connsiteX1" fmla="*/ 99432 w 99432"/>
                <a:gd name="connsiteY1" fmla="*/ 0 h 47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9432" h="4734">
                  <a:moveTo>
                    <a:pt x="0" y="0"/>
                  </a:moveTo>
                  <a:lnTo>
                    <a:pt x="99432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34" name="Forma livre: Forma 1533">
              <a:extLst>
                <a:ext uri="{FF2B5EF4-FFF2-40B4-BE49-F238E27FC236}">
                  <a16:creationId xmlns:a16="http://schemas.microsoft.com/office/drawing/2014/main" id="{59E9702D-3A9D-6EBD-3EAB-5FB1C6E5F0D5}"/>
                </a:ext>
              </a:extLst>
            </p:cNvPr>
            <p:cNvSpPr/>
            <p:nvPr/>
          </p:nvSpPr>
          <p:spPr>
            <a:xfrm>
              <a:off x="6311397" y="4893953"/>
              <a:ext cx="99432" cy="4734"/>
            </a:xfrm>
            <a:custGeom>
              <a:avLst/>
              <a:gdLst>
                <a:gd name="connsiteX0" fmla="*/ 0 w 99432"/>
                <a:gd name="connsiteY0" fmla="*/ 0 h 4734"/>
                <a:gd name="connsiteX1" fmla="*/ 99432 w 99432"/>
                <a:gd name="connsiteY1" fmla="*/ 0 h 47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9432" h="4734">
                  <a:moveTo>
                    <a:pt x="0" y="0"/>
                  </a:moveTo>
                  <a:lnTo>
                    <a:pt x="99432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35" name="Forma livre: Forma 1534">
              <a:extLst>
                <a:ext uri="{FF2B5EF4-FFF2-40B4-BE49-F238E27FC236}">
                  <a16:creationId xmlns:a16="http://schemas.microsoft.com/office/drawing/2014/main" id="{40E21DCA-C9E9-89E5-C9AC-829A9F61685A}"/>
                </a:ext>
              </a:extLst>
            </p:cNvPr>
            <p:cNvSpPr/>
            <p:nvPr/>
          </p:nvSpPr>
          <p:spPr>
            <a:xfrm>
              <a:off x="6425791" y="4934200"/>
              <a:ext cx="63778" cy="4734"/>
            </a:xfrm>
            <a:custGeom>
              <a:avLst/>
              <a:gdLst>
                <a:gd name="connsiteX0" fmla="*/ 0 w 63778"/>
                <a:gd name="connsiteY0" fmla="*/ 0 h 4734"/>
                <a:gd name="connsiteX1" fmla="*/ 63779 w 63778"/>
                <a:gd name="connsiteY1" fmla="*/ 0 h 47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3778" h="4734">
                  <a:moveTo>
                    <a:pt x="0" y="0"/>
                  </a:moveTo>
                  <a:lnTo>
                    <a:pt x="63779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36" name="Forma livre: Forma 1535">
              <a:extLst>
                <a:ext uri="{FF2B5EF4-FFF2-40B4-BE49-F238E27FC236}">
                  <a16:creationId xmlns:a16="http://schemas.microsoft.com/office/drawing/2014/main" id="{656C6DE3-A24F-C2DA-3908-1BD4BD547E0D}"/>
                </a:ext>
              </a:extLst>
            </p:cNvPr>
            <p:cNvSpPr/>
            <p:nvPr/>
          </p:nvSpPr>
          <p:spPr>
            <a:xfrm>
              <a:off x="6457468" y="4702687"/>
              <a:ext cx="101445" cy="186105"/>
            </a:xfrm>
            <a:custGeom>
              <a:avLst/>
              <a:gdLst>
                <a:gd name="connsiteX0" fmla="*/ 48485 w 101445"/>
                <a:gd name="connsiteY0" fmla="*/ 157460 h 186105"/>
                <a:gd name="connsiteX1" fmla="*/ 100048 w 101445"/>
                <a:gd name="connsiteY1" fmla="*/ 31607 h 186105"/>
                <a:gd name="connsiteX2" fmla="*/ 89678 w 101445"/>
                <a:gd name="connsiteY2" fmla="*/ 6891 h 186105"/>
                <a:gd name="connsiteX3" fmla="*/ 76279 w 101445"/>
                <a:gd name="connsiteY3" fmla="*/ 1398 h 186105"/>
                <a:gd name="connsiteX4" fmla="*/ 51563 w 101445"/>
                <a:gd name="connsiteY4" fmla="*/ 11720 h 186105"/>
                <a:gd name="connsiteX5" fmla="*/ 0 w 101445"/>
                <a:gd name="connsiteY5" fmla="*/ 137573 h 186105"/>
                <a:gd name="connsiteX6" fmla="*/ 8144 w 101445"/>
                <a:gd name="connsiteY6" fmla="*/ 186106 h 186105"/>
                <a:gd name="connsiteX7" fmla="*/ 48438 w 101445"/>
                <a:gd name="connsiteY7" fmla="*/ 157412 h 1861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01445" h="186105">
                  <a:moveTo>
                    <a:pt x="48485" y="157460"/>
                  </a:moveTo>
                  <a:lnTo>
                    <a:pt x="100048" y="31607"/>
                  </a:lnTo>
                  <a:cubicBezTo>
                    <a:pt x="103978" y="21948"/>
                    <a:pt x="99337" y="10868"/>
                    <a:pt x="89678" y="6891"/>
                  </a:cubicBezTo>
                  <a:lnTo>
                    <a:pt x="76279" y="1398"/>
                  </a:lnTo>
                  <a:cubicBezTo>
                    <a:pt x="66620" y="-2531"/>
                    <a:pt x="55540" y="2109"/>
                    <a:pt x="51563" y="11720"/>
                  </a:cubicBezTo>
                  <a:lnTo>
                    <a:pt x="0" y="137573"/>
                  </a:lnTo>
                  <a:lnTo>
                    <a:pt x="8144" y="186106"/>
                  </a:lnTo>
                  <a:lnTo>
                    <a:pt x="48438" y="157412"/>
                  </a:ln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37" name="Forma livre: Forma 1536">
              <a:extLst>
                <a:ext uri="{FF2B5EF4-FFF2-40B4-BE49-F238E27FC236}">
                  <a16:creationId xmlns:a16="http://schemas.microsoft.com/office/drawing/2014/main" id="{F75B8744-49F3-2704-931C-B19A5555F955}"/>
                </a:ext>
              </a:extLst>
            </p:cNvPr>
            <p:cNvSpPr/>
            <p:nvPr/>
          </p:nvSpPr>
          <p:spPr>
            <a:xfrm>
              <a:off x="6459456" y="4888792"/>
              <a:ext cx="6107" cy="14867"/>
            </a:xfrm>
            <a:custGeom>
              <a:avLst/>
              <a:gdLst>
                <a:gd name="connsiteX0" fmla="*/ 6108 w 6107"/>
                <a:gd name="connsiteY0" fmla="*/ 0 h 14867"/>
                <a:gd name="connsiteX1" fmla="*/ 0 w 6107"/>
                <a:gd name="connsiteY1" fmla="*/ 14868 h 148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107" h="14867">
                  <a:moveTo>
                    <a:pt x="6108" y="0"/>
                  </a:moveTo>
                  <a:lnTo>
                    <a:pt x="0" y="14868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38" name="Forma livre: Forma 1537">
              <a:extLst>
                <a:ext uri="{FF2B5EF4-FFF2-40B4-BE49-F238E27FC236}">
                  <a16:creationId xmlns:a16="http://schemas.microsoft.com/office/drawing/2014/main" id="{A968F022-F515-82ED-0901-09BE2D1D6E02}"/>
                </a:ext>
              </a:extLst>
            </p:cNvPr>
            <p:cNvSpPr/>
            <p:nvPr/>
          </p:nvSpPr>
          <p:spPr>
            <a:xfrm>
              <a:off x="6462392" y="4833868"/>
              <a:ext cx="44555" cy="18276"/>
            </a:xfrm>
            <a:custGeom>
              <a:avLst/>
              <a:gdLst>
                <a:gd name="connsiteX0" fmla="*/ 0 w 44555"/>
                <a:gd name="connsiteY0" fmla="*/ 0 h 18276"/>
                <a:gd name="connsiteX1" fmla="*/ 44555 w 44555"/>
                <a:gd name="connsiteY1" fmla="*/ 18277 h 182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4555" h="18276">
                  <a:moveTo>
                    <a:pt x="0" y="0"/>
                  </a:moveTo>
                  <a:lnTo>
                    <a:pt x="44555" y="18277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39" name="Forma livre: Forma 1538">
              <a:extLst>
                <a:ext uri="{FF2B5EF4-FFF2-40B4-BE49-F238E27FC236}">
                  <a16:creationId xmlns:a16="http://schemas.microsoft.com/office/drawing/2014/main" id="{4013B90A-A13D-C7B7-176A-88B8F47E6132}"/>
                </a:ext>
              </a:extLst>
            </p:cNvPr>
            <p:cNvSpPr/>
            <p:nvPr/>
          </p:nvSpPr>
          <p:spPr>
            <a:xfrm>
              <a:off x="6468168" y="4731358"/>
              <a:ext cx="77225" cy="31628"/>
            </a:xfrm>
            <a:custGeom>
              <a:avLst/>
              <a:gdLst>
                <a:gd name="connsiteX0" fmla="*/ 77226 w 77225"/>
                <a:gd name="connsiteY0" fmla="*/ 31629 h 31628"/>
                <a:gd name="connsiteX1" fmla="*/ 0 w 77225"/>
                <a:gd name="connsiteY1" fmla="*/ 0 h 316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7225" h="31628">
                  <a:moveTo>
                    <a:pt x="77226" y="31629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40" name="Forma livre: Forma 1539">
              <a:extLst>
                <a:ext uri="{FF2B5EF4-FFF2-40B4-BE49-F238E27FC236}">
                  <a16:creationId xmlns:a16="http://schemas.microsoft.com/office/drawing/2014/main" id="{0F3CBB2B-8430-EE0D-A038-72B2CD7E74AB}"/>
                </a:ext>
              </a:extLst>
            </p:cNvPr>
            <p:cNvSpPr/>
            <p:nvPr/>
          </p:nvSpPr>
          <p:spPr>
            <a:xfrm>
              <a:off x="6451502" y="4713318"/>
              <a:ext cx="22537" cy="55066"/>
            </a:xfrm>
            <a:custGeom>
              <a:avLst/>
              <a:gdLst>
                <a:gd name="connsiteX0" fmla="*/ 22538 w 22537"/>
                <a:gd name="connsiteY0" fmla="*/ 0 h 55066"/>
                <a:gd name="connsiteX1" fmla="*/ 0 w 22537"/>
                <a:gd name="connsiteY1" fmla="*/ 55067 h 550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2537" h="55066">
                  <a:moveTo>
                    <a:pt x="22538" y="0"/>
                  </a:moveTo>
                  <a:lnTo>
                    <a:pt x="0" y="55067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541" name="Gráfico 17">
            <a:extLst>
              <a:ext uri="{FF2B5EF4-FFF2-40B4-BE49-F238E27FC236}">
                <a16:creationId xmlns:a16="http://schemas.microsoft.com/office/drawing/2014/main" id="{66347530-3913-F065-5116-6FEC76FA95EC}"/>
              </a:ext>
            </a:extLst>
          </p:cNvPr>
          <p:cNvGrpSpPr/>
          <p:nvPr/>
        </p:nvGrpSpPr>
        <p:grpSpPr>
          <a:xfrm>
            <a:off x="7518172" y="4710572"/>
            <a:ext cx="257576" cy="254451"/>
            <a:chOff x="7518172" y="4710572"/>
            <a:chExt cx="257576" cy="254451"/>
          </a:xfrm>
        </p:grpSpPr>
        <p:sp>
          <p:nvSpPr>
            <p:cNvPr id="1542" name="Forma livre: Forma 1541">
              <a:extLst>
                <a:ext uri="{FF2B5EF4-FFF2-40B4-BE49-F238E27FC236}">
                  <a16:creationId xmlns:a16="http://schemas.microsoft.com/office/drawing/2014/main" id="{59136FA3-4D77-39C9-EC17-C6DFAD88301D}"/>
                </a:ext>
              </a:extLst>
            </p:cNvPr>
            <p:cNvSpPr/>
            <p:nvPr/>
          </p:nvSpPr>
          <p:spPr>
            <a:xfrm>
              <a:off x="7592367" y="4710572"/>
              <a:ext cx="122017" cy="43939"/>
            </a:xfrm>
            <a:custGeom>
              <a:avLst/>
              <a:gdLst>
                <a:gd name="connsiteX0" fmla="*/ 0 w 122017"/>
                <a:gd name="connsiteY0" fmla="*/ 43135 h 43939"/>
                <a:gd name="connsiteX1" fmla="*/ 102463 w 122017"/>
                <a:gd name="connsiteY1" fmla="*/ 0 h 43939"/>
                <a:gd name="connsiteX2" fmla="*/ 122017 w 122017"/>
                <a:gd name="connsiteY2" fmla="*/ 43940 h 439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2017" h="43939">
                  <a:moveTo>
                    <a:pt x="0" y="43135"/>
                  </a:moveTo>
                  <a:lnTo>
                    <a:pt x="102463" y="0"/>
                  </a:lnTo>
                  <a:lnTo>
                    <a:pt x="122017" y="4394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43" name="Forma livre: Forma 1542">
              <a:extLst>
                <a:ext uri="{FF2B5EF4-FFF2-40B4-BE49-F238E27FC236}">
                  <a16:creationId xmlns:a16="http://schemas.microsoft.com/office/drawing/2014/main" id="{2D26A87D-FED9-F4F4-0077-DF8FB3592048}"/>
                </a:ext>
              </a:extLst>
            </p:cNvPr>
            <p:cNvSpPr/>
            <p:nvPr/>
          </p:nvSpPr>
          <p:spPr>
            <a:xfrm>
              <a:off x="7518172" y="4776434"/>
              <a:ext cx="237642" cy="188589"/>
            </a:xfrm>
            <a:custGeom>
              <a:avLst/>
              <a:gdLst>
                <a:gd name="connsiteX0" fmla="*/ 237643 w 237642"/>
                <a:gd name="connsiteY0" fmla="*/ 133997 h 188589"/>
                <a:gd name="connsiteX1" fmla="*/ 237643 w 237642"/>
                <a:gd name="connsiteY1" fmla="*/ 164915 h 188589"/>
                <a:gd name="connsiteX2" fmla="*/ 213969 w 237642"/>
                <a:gd name="connsiteY2" fmla="*/ 188590 h 188589"/>
                <a:gd name="connsiteX3" fmla="*/ 23674 w 237642"/>
                <a:gd name="connsiteY3" fmla="*/ 188590 h 188589"/>
                <a:gd name="connsiteX4" fmla="*/ 0 w 237642"/>
                <a:gd name="connsiteY4" fmla="*/ 164915 h 188589"/>
                <a:gd name="connsiteX5" fmla="*/ 0 w 237642"/>
                <a:gd name="connsiteY5" fmla="*/ 23674 h 188589"/>
                <a:gd name="connsiteX6" fmla="*/ 23674 w 237642"/>
                <a:gd name="connsiteY6" fmla="*/ 0 h 188589"/>
                <a:gd name="connsiteX7" fmla="*/ 213969 w 237642"/>
                <a:gd name="connsiteY7" fmla="*/ 0 h 188589"/>
                <a:gd name="connsiteX8" fmla="*/ 237643 w 237642"/>
                <a:gd name="connsiteY8" fmla="*/ 23674 h 188589"/>
                <a:gd name="connsiteX9" fmla="*/ 237643 w 237642"/>
                <a:gd name="connsiteY9" fmla="*/ 53693 h 1885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37642" h="188589">
                  <a:moveTo>
                    <a:pt x="237643" y="133997"/>
                  </a:moveTo>
                  <a:lnTo>
                    <a:pt x="237643" y="164915"/>
                  </a:lnTo>
                  <a:cubicBezTo>
                    <a:pt x="237643" y="177936"/>
                    <a:pt x="226989" y="188590"/>
                    <a:pt x="213969" y="188590"/>
                  </a:cubicBezTo>
                  <a:lnTo>
                    <a:pt x="23674" y="188590"/>
                  </a:lnTo>
                  <a:cubicBezTo>
                    <a:pt x="10653" y="188590"/>
                    <a:pt x="0" y="177936"/>
                    <a:pt x="0" y="164915"/>
                  </a:cubicBezTo>
                  <a:lnTo>
                    <a:pt x="0" y="23674"/>
                  </a:lnTo>
                  <a:cubicBezTo>
                    <a:pt x="0" y="10653"/>
                    <a:pt x="10653" y="0"/>
                    <a:pt x="23674" y="0"/>
                  </a:cubicBezTo>
                  <a:lnTo>
                    <a:pt x="213969" y="0"/>
                  </a:lnTo>
                  <a:cubicBezTo>
                    <a:pt x="226989" y="0"/>
                    <a:pt x="237643" y="10653"/>
                    <a:pt x="237643" y="23674"/>
                  </a:cubicBezTo>
                  <a:lnTo>
                    <a:pt x="237643" y="53693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44" name="Forma livre: Forma 1543">
              <a:extLst>
                <a:ext uri="{FF2B5EF4-FFF2-40B4-BE49-F238E27FC236}">
                  <a16:creationId xmlns:a16="http://schemas.microsoft.com/office/drawing/2014/main" id="{9E792120-AD36-DC92-4710-E9F2A1B6B1A9}"/>
                </a:ext>
              </a:extLst>
            </p:cNvPr>
            <p:cNvSpPr/>
            <p:nvPr/>
          </p:nvSpPr>
          <p:spPr>
            <a:xfrm>
              <a:off x="7679252" y="4867059"/>
              <a:ext cx="7386" cy="7386"/>
            </a:xfrm>
            <a:custGeom>
              <a:avLst/>
              <a:gdLst>
                <a:gd name="connsiteX0" fmla="*/ 7386 w 7386"/>
                <a:gd name="connsiteY0" fmla="*/ 3693 h 7386"/>
                <a:gd name="connsiteX1" fmla="*/ 3693 w 7386"/>
                <a:gd name="connsiteY1" fmla="*/ 7386 h 7386"/>
                <a:gd name="connsiteX2" fmla="*/ 0 w 7386"/>
                <a:gd name="connsiteY2" fmla="*/ 3693 h 7386"/>
                <a:gd name="connsiteX3" fmla="*/ 3693 w 7386"/>
                <a:gd name="connsiteY3" fmla="*/ 0 h 7386"/>
                <a:gd name="connsiteX4" fmla="*/ 7386 w 7386"/>
                <a:gd name="connsiteY4" fmla="*/ 3693 h 7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386" h="7386">
                  <a:moveTo>
                    <a:pt x="7386" y="3693"/>
                  </a:moveTo>
                  <a:cubicBezTo>
                    <a:pt x="7386" y="5729"/>
                    <a:pt x="5729" y="7386"/>
                    <a:pt x="3693" y="7386"/>
                  </a:cubicBezTo>
                  <a:cubicBezTo>
                    <a:pt x="1657" y="7386"/>
                    <a:pt x="0" y="5729"/>
                    <a:pt x="0" y="3693"/>
                  </a:cubicBezTo>
                  <a:cubicBezTo>
                    <a:pt x="0" y="1657"/>
                    <a:pt x="1657" y="0"/>
                    <a:pt x="3693" y="0"/>
                  </a:cubicBezTo>
                  <a:cubicBezTo>
                    <a:pt x="5729" y="0"/>
                    <a:pt x="7386" y="1657"/>
                    <a:pt x="7386" y="3693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45" name="Forma livre: Forma 1544">
              <a:extLst>
                <a:ext uri="{FF2B5EF4-FFF2-40B4-BE49-F238E27FC236}">
                  <a16:creationId xmlns:a16="http://schemas.microsoft.com/office/drawing/2014/main" id="{E4C74270-A5AA-E45A-C34A-457A0EE636FB}"/>
                </a:ext>
              </a:extLst>
            </p:cNvPr>
            <p:cNvSpPr/>
            <p:nvPr/>
          </p:nvSpPr>
          <p:spPr>
            <a:xfrm>
              <a:off x="7647623" y="4832116"/>
              <a:ext cx="128125" cy="77320"/>
            </a:xfrm>
            <a:custGeom>
              <a:avLst/>
              <a:gdLst>
                <a:gd name="connsiteX0" fmla="*/ 23674 w 128125"/>
                <a:gd name="connsiteY0" fmla="*/ 77320 h 77320"/>
                <a:gd name="connsiteX1" fmla="*/ 0 w 128125"/>
                <a:gd name="connsiteY1" fmla="*/ 53646 h 77320"/>
                <a:gd name="connsiteX2" fmla="*/ 0 w 128125"/>
                <a:gd name="connsiteY2" fmla="*/ 23674 h 77320"/>
                <a:gd name="connsiteX3" fmla="*/ 23674 w 128125"/>
                <a:gd name="connsiteY3" fmla="*/ 0 h 77320"/>
                <a:gd name="connsiteX4" fmla="*/ 128125 w 128125"/>
                <a:gd name="connsiteY4" fmla="*/ 0 h 77320"/>
                <a:gd name="connsiteX5" fmla="*/ 128125 w 128125"/>
                <a:gd name="connsiteY5" fmla="*/ 77320 h 77320"/>
                <a:gd name="connsiteX6" fmla="*/ 23674 w 128125"/>
                <a:gd name="connsiteY6" fmla="*/ 77320 h 773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28125" h="77320">
                  <a:moveTo>
                    <a:pt x="23674" y="77320"/>
                  </a:moveTo>
                  <a:cubicBezTo>
                    <a:pt x="10653" y="77320"/>
                    <a:pt x="0" y="66667"/>
                    <a:pt x="0" y="53646"/>
                  </a:cubicBezTo>
                  <a:lnTo>
                    <a:pt x="0" y="23674"/>
                  </a:lnTo>
                  <a:cubicBezTo>
                    <a:pt x="0" y="10653"/>
                    <a:pt x="10653" y="0"/>
                    <a:pt x="23674" y="0"/>
                  </a:cubicBezTo>
                  <a:lnTo>
                    <a:pt x="128125" y="0"/>
                  </a:lnTo>
                  <a:lnTo>
                    <a:pt x="128125" y="77320"/>
                  </a:lnTo>
                  <a:lnTo>
                    <a:pt x="23674" y="77320"/>
                  </a:ln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546" name="Gráfico 17">
            <a:extLst>
              <a:ext uri="{FF2B5EF4-FFF2-40B4-BE49-F238E27FC236}">
                <a16:creationId xmlns:a16="http://schemas.microsoft.com/office/drawing/2014/main" id="{EBE42F56-057A-0764-E56D-50A7EB19EB4B}"/>
              </a:ext>
            </a:extLst>
          </p:cNvPr>
          <p:cNvGrpSpPr/>
          <p:nvPr/>
        </p:nvGrpSpPr>
        <p:grpSpPr>
          <a:xfrm>
            <a:off x="6893454" y="4706168"/>
            <a:ext cx="276326" cy="263258"/>
            <a:chOff x="6893454" y="4706168"/>
            <a:chExt cx="276326" cy="263258"/>
          </a:xfrm>
        </p:grpSpPr>
        <p:sp>
          <p:nvSpPr>
            <p:cNvPr id="1547" name="Forma livre: Forma 1546">
              <a:extLst>
                <a:ext uri="{FF2B5EF4-FFF2-40B4-BE49-F238E27FC236}">
                  <a16:creationId xmlns:a16="http://schemas.microsoft.com/office/drawing/2014/main" id="{A1CAEAB4-74B1-B943-EA01-70D252EC9500}"/>
                </a:ext>
              </a:extLst>
            </p:cNvPr>
            <p:cNvSpPr/>
            <p:nvPr/>
          </p:nvSpPr>
          <p:spPr>
            <a:xfrm>
              <a:off x="6913909" y="4772125"/>
              <a:ext cx="235417" cy="112405"/>
            </a:xfrm>
            <a:custGeom>
              <a:avLst/>
              <a:gdLst>
                <a:gd name="connsiteX0" fmla="*/ 0 w 235417"/>
                <a:gd name="connsiteY0" fmla="*/ 112406 h 112405"/>
                <a:gd name="connsiteX1" fmla="*/ 6439 w 235417"/>
                <a:gd name="connsiteY1" fmla="*/ 23627 h 112405"/>
                <a:gd name="connsiteX2" fmla="*/ 31866 w 235417"/>
                <a:gd name="connsiteY2" fmla="*/ 0 h 112405"/>
                <a:gd name="connsiteX3" fmla="*/ 203552 w 235417"/>
                <a:gd name="connsiteY3" fmla="*/ 0 h 112405"/>
                <a:gd name="connsiteX4" fmla="*/ 228978 w 235417"/>
                <a:gd name="connsiteY4" fmla="*/ 23627 h 112405"/>
                <a:gd name="connsiteX5" fmla="*/ 235417 w 235417"/>
                <a:gd name="connsiteY5" fmla="*/ 112406 h 1124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35417" h="112405">
                  <a:moveTo>
                    <a:pt x="0" y="112406"/>
                  </a:moveTo>
                  <a:lnTo>
                    <a:pt x="6439" y="23627"/>
                  </a:lnTo>
                  <a:cubicBezTo>
                    <a:pt x="7386" y="10653"/>
                    <a:pt x="18845" y="0"/>
                    <a:pt x="31866" y="0"/>
                  </a:cubicBezTo>
                  <a:lnTo>
                    <a:pt x="203552" y="0"/>
                  </a:lnTo>
                  <a:cubicBezTo>
                    <a:pt x="216573" y="0"/>
                    <a:pt x="227984" y="10606"/>
                    <a:pt x="228978" y="23627"/>
                  </a:cubicBezTo>
                  <a:lnTo>
                    <a:pt x="235417" y="112406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48" name="Forma livre: Forma 1547">
              <a:extLst>
                <a:ext uri="{FF2B5EF4-FFF2-40B4-BE49-F238E27FC236}">
                  <a16:creationId xmlns:a16="http://schemas.microsoft.com/office/drawing/2014/main" id="{B3A5439B-1439-2B24-0DC0-DDBA3CD480F6}"/>
                </a:ext>
              </a:extLst>
            </p:cNvPr>
            <p:cNvSpPr/>
            <p:nvPr/>
          </p:nvSpPr>
          <p:spPr>
            <a:xfrm>
              <a:off x="7041466" y="4706168"/>
              <a:ext cx="72632" cy="34327"/>
            </a:xfrm>
            <a:custGeom>
              <a:avLst/>
              <a:gdLst>
                <a:gd name="connsiteX0" fmla="*/ 0 w 72632"/>
                <a:gd name="connsiteY0" fmla="*/ 0 h 34327"/>
                <a:gd name="connsiteX1" fmla="*/ 72633 w 72632"/>
                <a:gd name="connsiteY1" fmla="*/ 0 h 34327"/>
                <a:gd name="connsiteX2" fmla="*/ 72633 w 72632"/>
                <a:gd name="connsiteY2" fmla="*/ 34328 h 34327"/>
                <a:gd name="connsiteX3" fmla="*/ 0 w 72632"/>
                <a:gd name="connsiteY3" fmla="*/ 34328 h 34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2632" h="34327">
                  <a:moveTo>
                    <a:pt x="0" y="0"/>
                  </a:moveTo>
                  <a:lnTo>
                    <a:pt x="72633" y="0"/>
                  </a:lnTo>
                  <a:lnTo>
                    <a:pt x="72633" y="34328"/>
                  </a:lnTo>
                  <a:lnTo>
                    <a:pt x="0" y="34328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49" name="Forma livre: Forma 1548">
              <a:extLst>
                <a:ext uri="{FF2B5EF4-FFF2-40B4-BE49-F238E27FC236}">
                  <a16:creationId xmlns:a16="http://schemas.microsoft.com/office/drawing/2014/main" id="{15A6B082-28E3-9E95-6B84-43CE42A79E00}"/>
                </a:ext>
              </a:extLst>
            </p:cNvPr>
            <p:cNvSpPr/>
            <p:nvPr/>
          </p:nvSpPr>
          <p:spPr>
            <a:xfrm>
              <a:off x="7077782" y="4741585"/>
              <a:ext cx="4734" cy="29403"/>
            </a:xfrm>
            <a:custGeom>
              <a:avLst/>
              <a:gdLst>
                <a:gd name="connsiteX0" fmla="*/ 0 w 4734"/>
                <a:gd name="connsiteY0" fmla="*/ 0 h 29403"/>
                <a:gd name="connsiteX1" fmla="*/ 0 w 4734"/>
                <a:gd name="connsiteY1" fmla="*/ 29403 h 294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734" h="29403">
                  <a:moveTo>
                    <a:pt x="0" y="0"/>
                  </a:moveTo>
                  <a:lnTo>
                    <a:pt x="0" y="29403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50" name="Forma livre: Forma 1549">
              <a:extLst>
                <a:ext uri="{FF2B5EF4-FFF2-40B4-BE49-F238E27FC236}">
                  <a16:creationId xmlns:a16="http://schemas.microsoft.com/office/drawing/2014/main" id="{F6E9392F-11A5-6B83-1301-E8114A34438F}"/>
                </a:ext>
              </a:extLst>
            </p:cNvPr>
            <p:cNvSpPr/>
            <p:nvPr/>
          </p:nvSpPr>
          <p:spPr>
            <a:xfrm>
              <a:off x="6893454" y="4909152"/>
              <a:ext cx="276326" cy="60274"/>
            </a:xfrm>
            <a:custGeom>
              <a:avLst/>
              <a:gdLst>
                <a:gd name="connsiteX0" fmla="*/ 266857 w 276326"/>
                <a:gd name="connsiteY0" fmla="*/ 0 h 60274"/>
                <a:gd name="connsiteX1" fmla="*/ 276327 w 276326"/>
                <a:gd name="connsiteY1" fmla="*/ 9470 h 60274"/>
                <a:gd name="connsiteX2" fmla="*/ 276327 w 276326"/>
                <a:gd name="connsiteY2" fmla="*/ 50805 h 60274"/>
                <a:gd name="connsiteX3" fmla="*/ 266857 w 276326"/>
                <a:gd name="connsiteY3" fmla="*/ 60275 h 60274"/>
                <a:gd name="connsiteX4" fmla="*/ 9470 w 276326"/>
                <a:gd name="connsiteY4" fmla="*/ 60275 h 60274"/>
                <a:gd name="connsiteX5" fmla="*/ 0 w 276326"/>
                <a:gd name="connsiteY5" fmla="*/ 50805 h 60274"/>
                <a:gd name="connsiteX6" fmla="*/ 0 w 276326"/>
                <a:gd name="connsiteY6" fmla="*/ 9470 h 60274"/>
                <a:gd name="connsiteX7" fmla="*/ 9470 w 276326"/>
                <a:gd name="connsiteY7" fmla="*/ 0 h 602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76326" h="60274">
                  <a:moveTo>
                    <a:pt x="266857" y="0"/>
                  </a:moveTo>
                  <a:cubicBezTo>
                    <a:pt x="272087" y="0"/>
                    <a:pt x="276327" y="4240"/>
                    <a:pt x="276327" y="9470"/>
                  </a:cubicBezTo>
                  <a:lnTo>
                    <a:pt x="276327" y="50805"/>
                  </a:lnTo>
                  <a:cubicBezTo>
                    <a:pt x="276327" y="56035"/>
                    <a:pt x="272087" y="60275"/>
                    <a:pt x="266857" y="60275"/>
                  </a:cubicBezTo>
                  <a:lnTo>
                    <a:pt x="9470" y="60275"/>
                  </a:lnTo>
                  <a:cubicBezTo>
                    <a:pt x="4240" y="60275"/>
                    <a:pt x="0" y="56035"/>
                    <a:pt x="0" y="50805"/>
                  </a:cubicBezTo>
                  <a:lnTo>
                    <a:pt x="0" y="9470"/>
                  </a:lnTo>
                  <a:cubicBezTo>
                    <a:pt x="0" y="4240"/>
                    <a:pt x="4240" y="0"/>
                    <a:pt x="9470" y="0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51" name="Forma livre: Forma 1550">
              <a:extLst>
                <a:ext uri="{FF2B5EF4-FFF2-40B4-BE49-F238E27FC236}">
                  <a16:creationId xmlns:a16="http://schemas.microsoft.com/office/drawing/2014/main" id="{968BA10F-D0DA-F9F7-EC69-11D79911723A}"/>
                </a:ext>
              </a:extLst>
            </p:cNvPr>
            <p:cNvSpPr/>
            <p:nvPr/>
          </p:nvSpPr>
          <p:spPr>
            <a:xfrm>
              <a:off x="7042507" y="4808157"/>
              <a:ext cx="71591" cy="4734"/>
            </a:xfrm>
            <a:custGeom>
              <a:avLst/>
              <a:gdLst>
                <a:gd name="connsiteX0" fmla="*/ 71591 w 71591"/>
                <a:gd name="connsiteY0" fmla="*/ 0 h 4734"/>
                <a:gd name="connsiteX1" fmla="*/ 0 w 71591"/>
                <a:gd name="connsiteY1" fmla="*/ 0 h 47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1591" h="4734">
                  <a:moveTo>
                    <a:pt x="71591" y="0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552" name="Gráfico 17">
              <a:extLst>
                <a:ext uri="{FF2B5EF4-FFF2-40B4-BE49-F238E27FC236}">
                  <a16:creationId xmlns:a16="http://schemas.microsoft.com/office/drawing/2014/main" id="{5632081A-64D1-240D-9BE3-63DE317142A2}"/>
                </a:ext>
              </a:extLst>
            </p:cNvPr>
            <p:cNvGrpSpPr/>
            <p:nvPr/>
          </p:nvGrpSpPr>
          <p:grpSpPr>
            <a:xfrm>
              <a:off x="6950793" y="4840023"/>
              <a:ext cx="70454" cy="4071"/>
              <a:chOff x="6950793" y="4840023"/>
              <a:chExt cx="70454" cy="4071"/>
            </a:xfrm>
            <a:solidFill>
              <a:srgbClr val="394553"/>
            </a:solidFill>
          </p:grpSpPr>
          <p:sp>
            <p:nvSpPr>
              <p:cNvPr id="1553" name="Forma livre: Forma 1552">
                <a:extLst>
                  <a:ext uri="{FF2B5EF4-FFF2-40B4-BE49-F238E27FC236}">
                    <a16:creationId xmlns:a16="http://schemas.microsoft.com/office/drawing/2014/main" id="{8B323F70-06D2-9747-32DA-443888A0AB1B}"/>
                  </a:ext>
                </a:extLst>
              </p:cNvPr>
              <p:cNvSpPr/>
              <p:nvPr/>
            </p:nvSpPr>
            <p:spPr>
              <a:xfrm>
                <a:off x="6950793" y="4840023"/>
                <a:ext cx="4071" cy="4071"/>
              </a:xfrm>
              <a:custGeom>
                <a:avLst/>
                <a:gdLst>
                  <a:gd name="connsiteX0" fmla="*/ 0 w 4071"/>
                  <a:gd name="connsiteY0" fmla="*/ 0 h 4071"/>
                  <a:gd name="connsiteX1" fmla="*/ 4072 w 4071"/>
                  <a:gd name="connsiteY1" fmla="*/ 0 h 4071"/>
                  <a:gd name="connsiteX2" fmla="*/ 4072 w 4071"/>
                  <a:gd name="connsiteY2" fmla="*/ 4072 h 4071"/>
                  <a:gd name="connsiteX3" fmla="*/ 0 w 4071"/>
                  <a:gd name="connsiteY3" fmla="*/ 4072 h 40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071" h="4071">
                    <a:moveTo>
                      <a:pt x="0" y="0"/>
                    </a:moveTo>
                    <a:lnTo>
                      <a:pt x="4072" y="0"/>
                    </a:lnTo>
                    <a:lnTo>
                      <a:pt x="4072" y="4072"/>
                    </a:lnTo>
                    <a:lnTo>
                      <a:pt x="0" y="4072"/>
                    </a:ln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554" name="Forma livre: Forma 1553">
                <a:extLst>
                  <a:ext uri="{FF2B5EF4-FFF2-40B4-BE49-F238E27FC236}">
                    <a16:creationId xmlns:a16="http://schemas.microsoft.com/office/drawing/2014/main" id="{9E8B895B-3E40-F60F-A15B-013C1B170805}"/>
                  </a:ext>
                </a:extLst>
              </p:cNvPr>
              <p:cNvSpPr/>
              <p:nvPr/>
            </p:nvSpPr>
            <p:spPr>
              <a:xfrm>
                <a:off x="6983985" y="4840023"/>
                <a:ext cx="4071" cy="4071"/>
              </a:xfrm>
              <a:custGeom>
                <a:avLst/>
                <a:gdLst>
                  <a:gd name="connsiteX0" fmla="*/ 0 w 4071"/>
                  <a:gd name="connsiteY0" fmla="*/ 0 h 4071"/>
                  <a:gd name="connsiteX1" fmla="*/ 4072 w 4071"/>
                  <a:gd name="connsiteY1" fmla="*/ 0 h 4071"/>
                  <a:gd name="connsiteX2" fmla="*/ 4072 w 4071"/>
                  <a:gd name="connsiteY2" fmla="*/ 4072 h 4071"/>
                  <a:gd name="connsiteX3" fmla="*/ 0 w 4071"/>
                  <a:gd name="connsiteY3" fmla="*/ 4072 h 40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071" h="4071">
                    <a:moveTo>
                      <a:pt x="0" y="0"/>
                    </a:moveTo>
                    <a:lnTo>
                      <a:pt x="4072" y="0"/>
                    </a:lnTo>
                    <a:lnTo>
                      <a:pt x="4072" y="4072"/>
                    </a:lnTo>
                    <a:lnTo>
                      <a:pt x="0" y="4072"/>
                    </a:ln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555" name="Forma livre: Forma 1554">
                <a:extLst>
                  <a:ext uri="{FF2B5EF4-FFF2-40B4-BE49-F238E27FC236}">
                    <a16:creationId xmlns:a16="http://schemas.microsoft.com/office/drawing/2014/main" id="{7CA1957A-0EEC-A999-B3D0-0B6813FD6788}"/>
                  </a:ext>
                </a:extLst>
              </p:cNvPr>
              <p:cNvSpPr/>
              <p:nvPr/>
            </p:nvSpPr>
            <p:spPr>
              <a:xfrm>
                <a:off x="7017176" y="4840023"/>
                <a:ext cx="4071" cy="4071"/>
              </a:xfrm>
              <a:custGeom>
                <a:avLst/>
                <a:gdLst>
                  <a:gd name="connsiteX0" fmla="*/ 0 w 4071"/>
                  <a:gd name="connsiteY0" fmla="*/ 0 h 4071"/>
                  <a:gd name="connsiteX1" fmla="*/ 4072 w 4071"/>
                  <a:gd name="connsiteY1" fmla="*/ 0 h 4071"/>
                  <a:gd name="connsiteX2" fmla="*/ 4072 w 4071"/>
                  <a:gd name="connsiteY2" fmla="*/ 4072 h 4071"/>
                  <a:gd name="connsiteX3" fmla="*/ 0 w 4071"/>
                  <a:gd name="connsiteY3" fmla="*/ 4072 h 40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071" h="4071">
                    <a:moveTo>
                      <a:pt x="0" y="0"/>
                    </a:moveTo>
                    <a:lnTo>
                      <a:pt x="4072" y="0"/>
                    </a:lnTo>
                    <a:lnTo>
                      <a:pt x="4072" y="4072"/>
                    </a:lnTo>
                    <a:lnTo>
                      <a:pt x="0" y="4072"/>
                    </a:ln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556" name="Gráfico 17">
              <a:extLst>
                <a:ext uri="{FF2B5EF4-FFF2-40B4-BE49-F238E27FC236}">
                  <a16:creationId xmlns:a16="http://schemas.microsoft.com/office/drawing/2014/main" id="{C361E60D-A109-E859-5AB3-8211BEB8B276}"/>
                </a:ext>
              </a:extLst>
            </p:cNvPr>
            <p:cNvGrpSpPr/>
            <p:nvPr/>
          </p:nvGrpSpPr>
          <p:grpSpPr>
            <a:xfrm>
              <a:off x="6950793" y="4873167"/>
              <a:ext cx="70454" cy="4071"/>
              <a:chOff x="6950793" y="4873167"/>
              <a:chExt cx="70454" cy="4071"/>
            </a:xfrm>
            <a:solidFill>
              <a:srgbClr val="394553"/>
            </a:solidFill>
          </p:grpSpPr>
          <p:sp>
            <p:nvSpPr>
              <p:cNvPr id="1557" name="Forma livre: Forma 1556">
                <a:extLst>
                  <a:ext uri="{FF2B5EF4-FFF2-40B4-BE49-F238E27FC236}">
                    <a16:creationId xmlns:a16="http://schemas.microsoft.com/office/drawing/2014/main" id="{FCF869D6-7587-F2FB-9F89-2AFA7F5D110B}"/>
                  </a:ext>
                </a:extLst>
              </p:cNvPr>
              <p:cNvSpPr/>
              <p:nvPr/>
            </p:nvSpPr>
            <p:spPr>
              <a:xfrm>
                <a:off x="6950793" y="4873167"/>
                <a:ext cx="4071" cy="4071"/>
              </a:xfrm>
              <a:custGeom>
                <a:avLst/>
                <a:gdLst>
                  <a:gd name="connsiteX0" fmla="*/ 0 w 4071"/>
                  <a:gd name="connsiteY0" fmla="*/ 0 h 4071"/>
                  <a:gd name="connsiteX1" fmla="*/ 4072 w 4071"/>
                  <a:gd name="connsiteY1" fmla="*/ 0 h 4071"/>
                  <a:gd name="connsiteX2" fmla="*/ 4072 w 4071"/>
                  <a:gd name="connsiteY2" fmla="*/ 4072 h 4071"/>
                  <a:gd name="connsiteX3" fmla="*/ 0 w 4071"/>
                  <a:gd name="connsiteY3" fmla="*/ 4072 h 40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071" h="4071">
                    <a:moveTo>
                      <a:pt x="0" y="0"/>
                    </a:moveTo>
                    <a:lnTo>
                      <a:pt x="4072" y="0"/>
                    </a:lnTo>
                    <a:lnTo>
                      <a:pt x="4072" y="4072"/>
                    </a:lnTo>
                    <a:lnTo>
                      <a:pt x="0" y="4072"/>
                    </a:ln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558" name="Forma livre: Forma 1557">
                <a:extLst>
                  <a:ext uri="{FF2B5EF4-FFF2-40B4-BE49-F238E27FC236}">
                    <a16:creationId xmlns:a16="http://schemas.microsoft.com/office/drawing/2014/main" id="{3F3FD888-1C4E-E6D1-F8EE-E7CCFF128106}"/>
                  </a:ext>
                </a:extLst>
              </p:cNvPr>
              <p:cNvSpPr/>
              <p:nvPr/>
            </p:nvSpPr>
            <p:spPr>
              <a:xfrm>
                <a:off x="6983985" y="4873167"/>
                <a:ext cx="4071" cy="4071"/>
              </a:xfrm>
              <a:custGeom>
                <a:avLst/>
                <a:gdLst>
                  <a:gd name="connsiteX0" fmla="*/ 0 w 4071"/>
                  <a:gd name="connsiteY0" fmla="*/ 0 h 4071"/>
                  <a:gd name="connsiteX1" fmla="*/ 4072 w 4071"/>
                  <a:gd name="connsiteY1" fmla="*/ 0 h 4071"/>
                  <a:gd name="connsiteX2" fmla="*/ 4072 w 4071"/>
                  <a:gd name="connsiteY2" fmla="*/ 4072 h 4071"/>
                  <a:gd name="connsiteX3" fmla="*/ 0 w 4071"/>
                  <a:gd name="connsiteY3" fmla="*/ 4072 h 40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071" h="4071">
                    <a:moveTo>
                      <a:pt x="0" y="0"/>
                    </a:moveTo>
                    <a:lnTo>
                      <a:pt x="4072" y="0"/>
                    </a:lnTo>
                    <a:lnTo>
                      <a:pt x="4072" y="4072"/>
                    </a:lnTo>
                    <a:lnTo>
                      <a:pt x="0" y="4072"/>
                    </a:ln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559" name="Forma livre: Forma 1558">
                <a:extLst>
                  <a:ext uri="{FF2B5EF4-FFF2-40B4-BE49-F238E27FC236}">
                    <a16:creationId xmlns:a16="http://schemas.microsoft.com/office/drawing/2014/main" id="{510D60AF-3AC4-A9E1-A14B-6875FD0D9A15}"/>
                  </a:ext>
                </a:extLst>
              </p:cNvPr>
              <p:cNvSpPr/>
              <p:nvPr/>
            </p:nvSpPr>
            <p:spPr>
              <a:xfrm>
                <a:off x="7017176" y="4873167"/>
                <a:ext cx="4071" cy="4071"/>
              </a:xfrm>
              <a:custGeom>
                <a:avLst/>
                <a:gdLst>
                  <a:gd name="connsiteX0" fmla="*/ 0 w 4071"/>
                  <a:gd name="connsiteY0" fmla="*/ 0 h 4071"/>
                  <a:gd name="connsiteX1" fmla="*/ 4072 w 4071"/>
                  <a:gd name="connsiteY1" fmla="*/ 0 h 4071"/>
                  <a:gd name="connsiteX2" fmla="*/ 4072 w 4071"/>
                  <a:gd name="connsiteY2" fmla="*/ 4072 h 4071"/>
                  <a:gd name="connsiteX3" fmla="*/ 0 w 4071"/>
                  <a:gd name="connsiteY3" fmla="*/ 4072 h 40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071" h="4071">
                    <a:moveTo>
                      <a:pt x="0" y="0"/>
                    </a:moveTo>
                    <a:lnTo>
                      <a:pt x="4072" y="0"/>
                    </a:lnTo>
                    <a:lnTo>
                      <a:pt x="4072" y="4072"/>
                    </a:lnTo>
                    <a:lnTo>
                      <a:pt x="0" y="4072"/>
                    </a:ln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560" name="Forma livre: Forma 1559">
              <a:extLst>
                <a:ext uri="{FF2B5EF4-FFF2-40B4-BE49-F238E27FC236}">
                  <a16:creationId xmlns:a16="http://schemas.microsoft.com/office/drawing/2014/main" id="{7CD2C870-93EB-4279-DE6F-D9EFDB712A08}"/>
                </a:ext>
              </a:extLst>
            </p:cNvPr>
            <p:cNvSpPr/>
            <p:nvPr/>
          </p:nvSpPr>
          <p:spPr>
            <a:xfrm>
              <a:off x="7027924" y="4935573"/>
              <a:ext cx="7386" cy="7386"/>
            </a:xfrm>
            <a:custGeom>
              <a:avLst/>
              <a:gdLst>
                <a:gd name="connsiteX0" fmla="*/ 7386 w 7386"/>
                <a:gd name="connsiteY0" fmla="*/ 3693 h 7386"/>
                <a:gd name="connsiteX1" fmla="*/ 3693 w 7386"/>
                <a:gd name="connsiteY1" fmla="*/ 7386 h 7386"/>
                <a:gd name="connsiteX2" fmla="*/ 0 w 7386"/>
                <a:gd name="connsiteY2" fmla="*/ 3693 h 7386"/>
                <a:gd name="connsiteX3" fmla="*/ 3693 w 7386"/>
                <a:gd name="connsiteY3" fmla="*/ 0 h 7386"/>
                <a:gd name="connsiteX4" fmla="*/ 7386 w 7386"/>
                <a:gd name="connsiteY4" fmla="*/ 3693 h 7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386" h="7386">
                  <a:moveTo>
                    <a:pt x="7386" y="3693"/>
                  </a:moveTo>
                  <a:cubicBezTo>
                    <a:pt x="7386" y="5729"/>
                    <a:pt x="5729" y="7386"/>
                    <a:pt x="3693" y="7386"/>
                  </a:cubicBezTo>
                  <a:cubicBezTo>
                    <a:pt x="1657" y="7386"/>
                    <a:pt x="0" y="5729"/>
                    <a:pt x="0" y="3693"/>
                  </a:cubicBezTo>
                  <a:cubicBezTo>
                    <a:pt x="0" y="1657"/>
                    <a:pt x="1657" y="0"/>
                    <a:pt x="3693" y="0"/>
                  </a:cubicBezTo>
                  <a:cubicBezTo>
                    <a:pt x="5729" y="0"/>
                    <a:pt x="7386" y="1657"/>
                    <a:pt x="7386" y="3693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561" name="Gráfico 17">
            <a:extLst>
              <a:ext uri="{FF2B5EF4-FFF2-40B4-BE49-F238E27FC236}">
                <a16:creationId xmlns:a16="http://schemas.microsoft.com/office/drawing/2014/main" id="{442D3ABA-5566-A662-C258-78BB42414E39}"/>
              </a:ext>
            </a:extLst>
          </p:cNvPr>
          <p:cNvGrpSpPr/>
          <p:nvPr/>
        </p:nvGrpSpPr>
        <p:grpSpPr>
          <a:xfrm>
            <a:off x="6243878" y="5244097"/>
            <a:ext cx="344698" cy="275883"/>
            <a:chOff x="6243878" y="5244097"/>
            <a:chExt cx="344698" cy="275883"/>
          </a:xfrm>
          <a:noFill/>
        </p:grpSpPr>
        <p:sp>
          <p:nvSpPr>
            <p:cNvPr id="1562" name="Forma livre: Forma 1561">
              <a:extLst>
                <a:ext uri="{FF2B5EF4-FFF2-40B4-BE49-F238E27FC236}">
                  <a16:creationId xmlns:a16="http://schemas.microsoft.com/office/drawing/2014/main" id="{192B743E-0BFB-0309-117E-7058C08F1C5B}"/>
                </a:ext>
              </a:extLst>
            </p:cNvPr>
            <p:cNvSpPr/>
            <p:nvPr/>
          </p:nvSpPr>
          <p:spPr>
            <a:xfrm>
              <a:off x="6243878" y="5244097"/>
              <a:ext cx="214015" cy="202605"/>
            </a:xfrm>
            <a:custGeom>
              <a:avLst/>
              <a:gdLst>
                <a:gd name="connsiteX0" fmla="*/ 122065 w 214015"/>
                <a:gd name="connsiteY0" fmla="*/ 202605 h 202605"/>
                <a:gd name="connsiteX1" fmla="*/ 0 w 214015"/>
                <a:gd name="connsiteY1" fmla="*/ 135228 h 202605"/>
                <a:gd name="connsiteX2" fmla="*/ 74669 w 214015"/>
                <a:gd name="connsiteY2" fmla="*/ 0 h 202605"/>
                <a:gd name="connsiteX3" fmla="*/ 214016 w 214015"/>
                <a:gd name="connsiteY3" fmla="*/ 76942 h 202605"/>
                <a:gd name="connsiteX4" fmla="*/ 148769 w 214015"/>
                <a:gd name="connsiteY4" fmla="*/ 194840 h 2026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14015" h="202605">
                  <a:moveTo>
                    <a:pt x="122065" y="202605"/>
                  </a:moveTo>
                  <a:lnTo>
                    <a:pt x="0" y="135228"/>
                  </a:lnTo>
                  <a:lnTo>
                    <a:pt x="74669" y="0"/>
                  </a:lnTo>
                  <a:lnTo>
                    <a:pt x="214016" y="76942"/>
                  </a:lnTo>
                  <a:lnTo>
                    <a:pt x="148769" y="19484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63" name="Forma livre: Forma 1562">
              <a:extLst>
                <a:ext uri="{FF2B5EF4-FFF2-40B4-BE49-F238E27FC236}">
                  <a16:creationId xmlns:a16="http://schemas.microsoft.com/office/drawing/2014/main" id="{F73F98F0-438F-96BE-6613-2C8EC1C978C4}"/>
                </a:ext>
              </a:extLst>
            </p:cNvPr>
            <p:cNvSpPr/>
            <p:nvPr/>
          </p:nvSpPr>
          <p:spPr>
            <a:xfrm>
              <a:off x="6347382" y="5276341"/>
              <a:ext cx="55729" cy="63163"/>
            </a:xfrm>
            <a:custGeom>
              <a:avLst/>
              <a:gdLst>
                <a:gd name="connsiteX0" fmla="*/ 55729 w 55729"/>
                <a:gd name="connsiteY0" fmla="*/ 16619 h 63163"/>
                <a:gd name="connsiteX1" fmla="*/ 30019 w 55729"/>
                <a:gd name="connsiteY1" fmla="*/ 63163 h 63163"/>
                <a:gd name="connsiteX2" fmla="*/ 0 w 55729"/>
                <a:gd name="connsiteY2" fmla="*/ 46544 h 63163"/>
                <a:gd name="connsiteX3" fmla="*/ 25663 w 55729"/>
                <a:gd name="connsiteY3" fmla="*/ 0 h 631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5729" h="63163">
                  <a:moveTo>
                    <a:pt x="55729" y="16619"/>
                  </a:moveTo>
                  <a:lnTo>
                    <a:pt x="30019" y="63163"/>
                  </a:lnTo>
                  <a:lnTo>
                    <a:pt x="0" y="46544"/>
                  </a:lnTo>
                  <a:lnTo>
                    <a:pt x="25663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64" name="Forma livre: Forma 1563">
              <a:extLst>
                <a:ext uri="{FF2B5EF4-FFF2-40B4-BE49-F238E27FC236}">
                  <a16:creationId xmlns:a16="http://schemas.microsoft.com/office/drawing/2014/main" id="{5319B6AC-60A5-50ED-54D0-7CB88235435A}"/>
                </a:ext>
              </a:extLst>
            </p:cNvPr>
            <p:cNvSpPr/>
            <p:nvPr/>
          </p:nvSpPr>
          <p:spPr>
            <a:xfrm>
              <a:off x="6248707" y="5416588"/>
              <a:ext cx="71496" cy="39488"/>
            </a:xfrm>
            <a:custGeom>
              <a:avLst/>
              <a:gdLst>
                <a:gd name="connsiteX0" fmla="*/ 71496 w 71496"/>
                <a:gd name="connsiteY0" fmla="*/ 39489 h 39488"/>
                <a:gd name="connsiteX1" fmla="*/ 0 w 71496"/>
                <a:gd name="connsiteY1" fmla="*/ 0 h 394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1496" h="39488">
                  <a:moveTo>
                    <a:pt x="71496" y="39489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65" name="Forma livre: Forma 1564">
              <a:extLst>
                <a:ext uri="{FF2B5EF4-FFF2-40B4-BE49-F238E27FC236}">
                  <a16:creationId xmlns:a16="http://schemas.microsoft.com/office/drawing/2014/main" id="{749A4ABE-E181-4C5A-929D-5FF6B6A651AA}"/>
                </a:ext>
              </a:extLst>
            </p:cNvPr>
            <p:cNvSpPr/>
            <p:nvPr/>
          </p:nvSpPr>
          <p:spPr>
            <a:xfrm>
              <a:off x="6274654" y="5430934"/>
              <a:ext cx="73106" cy="40672"/>
            </a:xfrm>
            <a:custGeom>
              <a:avLst/>
              <a:gdLst>
                <a:gd name="connsiteX0" fmla="*/ 73106 w 73106"/>
                <a:gd name="connsiteY0" fmla="*/ 40672 h 40672"/>
                <a:gd name="connsiteX1" fmla="*/ 0 w 73106"/>
                <a:gd name="connsiteY1" fmla="*/ 0 h 406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3106" h="40672">
                  <a:moveTo>
                    <a:pt x="73106" y="40672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66" name="Forma livre: Forma 1565">
              <a:extLst>
                <a:ext uri="{FF2B5EF4-FFF2-40B4-BE49-F238E27FC236}">
                  <a16:creationId xmlns:a16="http://schemas.microsoft.com/office/drawing/2014/main" id="{4FECA038-A8C1-C1AD-8B58-77563D92339F}"/>
                </a:ext>
              </a:extLst>
            </p:cNvPr>
            <p:cNvSpPr/>
            <p:nvPr/>
          </p:nvSpPr>
          <p:spPr>
            <a:xfrm>
              <a:off x="6421956" y="5299873"/>
              <a:ext cx="107954" cy="148532"/>
            </a:xfrm>
            <a:custGeom>
              <a:avLst/>
              <a:gdLst>
                <a:gd name="connsiteX0" fmla="*/ 0 w 107954"/>
                <a:gd name="connsiteY0" fmla="*/ 148533 h 148532"/>
                <a:gd name="connsiteX1" fmla="*/ 82197 w 107954"/>
                <a:gd name="connsiteY1" fmla="*/ 189 h 148532"/>
                <a:gd name="connsiteX2" fmla="*/ 107955 w 107954"/>
                <a:gd name="connsiteY2" fmla="*/ 0 h 1485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07954" h="148532">
                  <a:moveTo>
                    <a:pt x="0" y="148533"/>
                  </a:moveTo>
                  <a:lnTo>
                    <a:pt x="82197" y="189"/>
                  </a:lnTo>
                  <a:lnTo>
                    <a:pt x="107955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67" name="Forma livre: Forma 1566">
              <a:extLst>
                <a:ext uri="{FF2B5EF4-FFF2-40B4-BE49-F238E27FC236}">
                  <a16:creationId xmlns:a16="http://schemas.microsoft.com/office/drawing/2014/main" id="{E48BC89A-A37E-9B78-AA5F-929A4C02984C}"/>
                </a:ext>
              </a:extLst>
            </p:cNvPr>
            <p:cNvSpPr/>
            <p:nvPr/>
          </p:nvSpPr>
          <p:spPr>
            <a:xfrm>
              <a:off x="6365770" y="5461965"/>
              <a:ext cx="58015" cy="58015"/>
            </a:xfrm>
            <a:custGeom>
              <a:avLst/>
              <a:gdLst>
                <a:gd name="connsiteX0" fmla="*/ 54387 w 58015"/>
                <a:gd name="connsiteY0" fmla="*/ 43023 h 58015"/>
                <a:gd name="connsiteX1" fmla="*/ 14993 w 58015"/>
                <a:gd name="connsiteY1" fmla="*/ 54387 h 58015"/>
                <a:gd name="connsiteX2" fmla="*/ 3629 w 58015"/>
                <a:gd name="connsiteY2" fmla="*/ 14993 h 58015"/>
                <a:gd name="connsiteX3" fmla="*/ 43023 w 58015"/>
                <a:gd name="connsiteY3" fmla="*/ 3629 h 58015"/>
                <a:gd name="connsiteX4" fmla="*/ 54387 w 58015"/>
                <a:gd name="connsiteY4" fmla="*/ 43023 h 58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8015" h="58015">
                  <a:moveTo>
                    <a:pt x="54387" y="43023"/>
                  </a:moveTo>
                  <a:cubicBezTo>
                    <a:pt x="46669" y="57038"/>
                    <a:pt x="29008" y="62152"/>
                    <a:pt x="14993" y="54387"/>
                  </a:cubicBezTo>
                  <a:cubicBezTo>
                    <a:pt x="977" y="46669"/>
                    <a:pt x="-4136" y="29008"/>
                    <a:pt x="3629" y="14993"/>
                  </a:cubicBezTo>
                  <a:cubicBezTo>
                    <a:pt x="11347" y="977"/>
                    <a:pt x="29008" y="-4136"/>
                    <a:pt x="43023" y="3629"/>
                  </a:cubicBezTo>
                  <a:cubicBezTo>
                    <a:pt x="57038" y="11347"/>
                    <a:pt x="62152" y="29008"/>
                    <a:pt x="54387" y="43023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68" name="Forma livre: Forma 1567">
              <a:extLst>
                <a:ext uri="{FF2B5EF4-FFF2-40B4-BE49-F238E27FC236}">
                  <a16:creationId xmlns:a16="http://schemas.microsoft.com/office/drawing/2014/main" id="{F1EE5ECA-0224-CA23-660C-61823F180BBD}"/>
                </a:ext>
              </a:extLst>
            </p:cNvPr>
            <p:cNvSpPr/>
            <p:nvPr/>
          </p:nvSpPr>
          <p:spPr>
            <a:xfrm>
              <a:off x="6530953" y="5283917"/>
              <a:ext cx="57623" cy="33144"/>
            </a:xfrm>
            <a:custGeom>
              <a:avLst/>
              <a:gdLst>
                <a:gd name="connsiteX0" fmla="*/ 10748 w 57623"/>
                <a:gd name="connsiteY0" fmla="*/ 0 h 33144"/>
                <a:gd name="connsiteX1" fmla="*/ 46875 w 57623"/>
                <a:gd name="connsiteY1" fmla="*/ 0 h 33144"/>
                <a:gd name="connsiteX2" fmla="*/ 57623 w 57623"/>
                <a:gd name="connsiteY2" fmla="*/ 10748 h 33144"/>
                <a:gd name="connsiteX3" fmla="*/ 57623 w 57623"/>
                <a:gd name="connsiteY3" fmla="*/ 22396 h 33144"/>
                <a:gd name="connsiteX4" fmla="*/ 46875 w 57623"/>
                <a:gd name="connsiteY4" fmla="*/ 33144 h 33144"/>
                <a:gd name="connsiteX5" fmla="*/ 10748 w 57623"/>
                <a:gd name="connsiteY5" fmla="*/ 33144 h 33144"/>
                <a:gd name="connsiteX6" fmla="*/ 0 w 57623"/>
                <a:gd name="connsiteY6" fmla="*/ 22396 h 33144"/>
                <a:gd name="connsiteX7" fmla="*/ 0 w 57623"/>
                <a:gd name="connsiteY7" fmla="*/ 10748 h 33144"/>
                <a:gd name="connsiteX8" fmla="*/ 10748 w 57623"/>
                <a:gd name="connsiteY8" fmla="*/ 0 h 331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7623" h="33144">
                  <a:moveTo>
                    <a:pt x="10748" y="0"/>
                  </a:moveTo>
                  <a:lnTo>
                    <a:pt x="46875" y="0"/>
                  </a:lnTo>
                  <a:cubicBezTo>
                    <a:pt x="52794" y="0"/>
                    <a:pt x="57623" y="4830"/>
                    <a:pt x="57623" y="10748"/>
                  </a:cubicBezTo>
                  <a:lnTo>
                    <a:pt x="57623" y="22396"/>
                  </a:lnTo>
                  <a:cubicBezTo>
                    <a:pt x="57623" y="28314"/>
                    <a:pt x="52794" y="33144"/>
                    <a:pt x="46875" y="33144"/>
                  </a:cubicBezTo>
                  <a:lnTo>
                    <a:pt x="10748" y="33144"/>
                  </a:lnTo>
                  <a:cubicBezTo>
                    <a:pt x="4830" y="33144"/>
                    <a:pt x="0" y="28314"/>
                    <a:pt x="0" y="22396"/>
                  </a:cubicBezTo>
                  <a:lnTo>
                    <a:pt x="0" y="10748"/>
                  </a:lnTo>
                  <a:cubicBezTo>
                    <a:pt x="0" y="4830"/>
                    <a:pt x="4830" y="0"/>
                    <a:pt x="10748" y="0"/>
                  </a:cubicBez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569" name="Gráfico 17">
            <a:extLst>
              <a:ext uri="{FF2B5EF4-FFF2-40B4-BE49-F238E27FC236}">
                <a16:creationId xmlns:a16="http://schemas.microsoft.com/office/drawing/2014/main" id="{ACB961F7-D08D-9654-8ECF-77E21FF7E49E}"/>
              </a:ext>
            </a:extLst>
          </p:cNvPr>
          <p:cNvGrpSpPr/>
          <p:nvPr/>
        </p:nvGrpSpPr>
        <p:grpSpPr>
          <a:xfrm>
            <a:off x="7491657" y="5266161"/>
            <a:ext cx="310654" cy="231771"/>
            <a:chOff x="7491657" y="5266161"/>
            <a:chExt cx="310654" cy="231771"/>
          </a:xfrm>
        </p:grpSpPr>
        <p:sp>
          <p:nvSpPr>
            <p:cNvPr id="1570" name="Forma livre: Forma 1569">
              <a:extLst>
                <a:ext uri="{FF2B5EF4-FFF2-40B4-BE49-F238E27FC236}">
                  <a16:creationId xmlns:a16="http://schemas.microsoft.com/office/drawing/2014/main" id="{9DA808E1-F7BB-546E-80A6-C81ABD5C2137}"/>
                </a:ext>
              </a:extLst>
            </p:cNvPr>
            <p:cNvSpPr/>
            <p:nvPr/>
          </p:nvSpPr>
          <p:spPr>
            <a:xfrm>
              <a:off x="7605909" y="5392677"/>
              <a:ext cx="82197" cy="66998"/>
            </a:xfrm>
            <a:custGeom>
              <a:avLst/>
              <a:gdLst>
                <a:gd name="connsiteX0" fmla="*/ 6203 w 82197"/>
                <a:gd name="connsiteY0" fmla="*/ 0 h 66998"/>
                <a:gd name="connsiteX1" fmla="*/ 75995 w 82197"/>
                <a:gd name="connsiteY1" fmla="*/ 0 h 66998"/>
                <a:gd name="connsiteX2" fmla="*/ 82197 w 82197"/>
                <a:gd name="connsiteY2" fmla="*/ 6203 h 66998"/>
                <a:gd name="connsiteX3" fmla="*/ 82197 w 82197"/>
                <a:gd name="connsiteY3" fmla="*/ 60796 h 66998"/>
                <a:gd name="connsiteX4" fmla="*/ 75995 w 82197"/>
                <a:gd name="connsiteY4" fmla="*/ 66998 h 66998"/>
                <a:gd name="connsiteX5" fmla="*/ 6203 w 82197"/>
                <a:gd name="connsiteY5" fmla="*/ 66998 h 66998"/>
                <a:gd name="connsiteX6" fmla="*/ 0 w 82197"/>
                <a:gd name="connsiteY6" fmla="*/ 60796 h 66998"/>
                <a:gd name="connsiteX7" fmla="*/ 0 w 82197"/>
                <a:gd name="connsiteY7" fmla="*/ 6203 h 66998"/>
                <a:gd name="connsiteX8" fmla="*/ 6203 w 82197"/>
                <a:gd name="connsiteY8" fmla="*/ 0 h 669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82197" h="66998">
                  <a:moveTo>
                    <a:pt x="6203" y="0"/>
                  </a:moveTo>
                  <a:lnTo>
                    <a:pt x="75995" y="0"/>
                  </a:lnTo>
                  <a:cubicBezTo>
                    <a:pt x="79404" y="0"/>
                    <a:pt x="82197" y="2794"/>
                    <a:pt x="82197" y="6203"/>
                  </a:cubicBezTo>
                  <a:lnTo>
                    <a:pt x="82197" y="60796"/>
                  </a:lnTo>
                  <a:cubicBezTo>
                    <a:pt x="82197" y="64205"/>
                    <a:pt x="79404" y="66998"/>
                    <a:pt x="75995" y="66998"/>
                  </a:cubicBezTo>
                  <a:lnTo>
                    <a:pt x="6203" y="66998"/>
                  </a:lnTo>
                  <a:cubicBezTo>
                    <a:pt x="2794" y="66998"/>
                    <a:pt x="0" y="64205"/>
                    <a:pt x="0" y="60796"/>
                  </a:cubicBezTo>
                  <a:lnTo>
                    <a:pt x="0" y="6203"/>
                  </a:lnTo>
                  <a:cubicBezTo>
                    <a:pt x="0" y="2794"/>
                    <a:pt x="2794" y="0"/>
                    <a:pt x="6203" y="0"/>
                  </a:cubicBez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71" name="Forma livre: Forma 1570">
              <a:extLst>
                <a:ext uri="{FF2B5EF4-FFF2-40B4-BE49-F238E27FC236}">
                  <a16:creationId xmlns:a16="http://schemas.microsoft.com/office/drawing/2014/main" id="{893B0C48-AFB8-4FB1-A118-6EB17782A5F6}"/>
                </a:ext>
              </a:extLst>
            </p:cNvPr>
            <p:cNvSpPr/>
            <p:nvPr/>
          </p:nvSpPr>
          <p:spPr>
            <a:xfrm>
              <a:off x="7646960" y="5420044"/>
              <a:ext cx="4734" cy="19507"/>
            </a:xfrm>
            <a:custGeom>
              <a:avLst/>
              <a:gdLst>
                <a:gd name="connsiteX0" fmla="*/ 0 w 4734"/>
                <a:gd name="connsiteY0" fmla="*/ 0 h 19507"/>
                <a:gd name="connsiteX1" fmla="*/ 0 w 4734"/>
                <a:gd name="connsiteY1" fmla="*/ 19508 h 195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734" h="19507">
                  <a:moveTo>
                    <a:pt x="0" y="0"/>
                  </a:moveTo>
                  <a:lnTo>
                    <a:pt x="0" y="19508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72" name="Forma livre: Forma 1571">
              <a:extLst>
                <a:ext uri="{FF2B5EF4-FFF2-40B4-BE49-F238E27FC236}">
                  <a16:creationId xmlns:a16="http://schemas.microsoft.com/office/drawing/2014/main" id="{E22923A1-D116-1520-673B-BDAE55A25199}"/>
                </a:ext>
              </a:extLst>
            </p:cNvPr>
            <p:cNvSpPr/>
            <p:nvPr/>
          </p:nvSpPr>
          <p:spPr>
            <a:xfrm>
              <a:off x="7491657" y="5266161"/>
              <a:ext cx="310654" cy="231771"/>
            </a:xfrm>
            <a:custGeom>
              <a:avLst/>
              <a:gdLst>
                <a:gd name="connsiteX0" fmla="*/ 286980 w 310654"/>
                <a:gd name="connsiteY0" fmla="*/ 11837 h 231771"/>
                <a:gd name="connsiteX1" fmla="*/ 298817 w 310654"/>
                <a:gd name="connsiteY1" fmla="*/ 23674 h 231771"/>
                <a:gd name="connsiteX2" fmla="*/ 298817 w 310654"/>
                <a:gd name="connsiteY2" fmla="*/ 208097 h 231771"/>
                <a:gd name="connsiteX3" fmla="*/ 286980 w 310654"/>
                <a:gd name="connsiteY3" fmla="*/ 219935 h 231771"/>
                <a:gd name="connsiteX4" fmla="*/ 23674 w 310654"/>
                <a:gd name="connsiteY4" fmla="*/ 219935 h 231771"/>
                <a:gd name="connsiteX5" fmla="*/ 11837 w 310654"/>
                <a:gd name="connsiteY5" fmla="*/ 208097 h 231771"/>
                <a:gd name="connsiteX6" fmla="*/ 11837 w 310654"/>
                <a:gd name="connsiteY6" fmla="*/ 23674 h 231771"/>
                <a:gd name="connsiteX7" fmla="*/ 23674 w 310654"/>
                <a:gd name="connsiteY7" fmla="*/ 11837 h 231771"/>
                <a:gd name="connsiteX8" fmla="*/ 286980 w 310654"/>
                <a:gd name="connsiteY8" fmla="*/ 11837 h 231771"/>
                <a:gd name="connsiteX9" fmla="*/ 286980 w 310654"/>
                <a:gd name="connsiteY9" fmla="*/ 0 h 231771"/>
                <a:gd name="connsiteX10" fmla="*/ 23674 w 310654"/>
                <a:gd name="connsiteY10" fmla="*/ 0 h 231771"/>
                <a:gd name="connsiteX11" fmla="*/ 0 w 310654"/>
                <a:gd name="connsiteY11" fmla="*/ 23674 h 231771"/>
                <a:gd name="connsiteX12" fmla="*/ 0 w 310654"/>
                <a:gd name="connsiteY12" fmla="*/ 208097 h 231771"/>
                <a:gd name="connsiteX13" fmla="*/ 23674 w 310654"/>
                <a:gd name="connsiteY13" fmla="*/ 231772 h 231771"/>
                <a:gd name="connsiteX14" fmla="*/ 286980 w 310654"/>
                <a:gd name="connsiteY14" fmla="*/ 231772 h 231771"/>
                <a:gd name="connsiteX15" fmla="*/ 310654 w 310654"/>
                <a:gd name="connsiteY15" fmla="*/ 208097 h 231771"/>
                <a:gd name="connsiteX16" fmla="*/ 310654 w 310654"/>
                <a:gd name="connsiteY16" fmla="*/ 23674 h 231771"/>
                <a:gd name="connsiteX17" fmla="*/ 286980 w 310654"/>
                <a:gd name="connsiteY17" fmla="*/ 0 h 231771"/>
                <a:gd name="connsiteX18" fmla="*/ 286980 w 310654"/>
                <a:gd name="connsiteY18" fmla="*/ 0 h 2317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310654" h="231771">
                  <a:moveTo>
                    <a:pt x="286980" y="11837"/>
                  </a:moveTo>
                  <a:cubicBezTo>
                    <a:pt x="293514" y="11837"/>
                    <a:pt x="298817" y="17140"/>
                    <a:pt x="298817" y="23674"/>
                  </a:cubicBezTo>
                  <a:lnTo>
                    <a:pt x="298817" y="208097"/>
                  </a:lnTo>
                  <a:cubicBezTo>
                    <a:pt x="298817" y="214631"/>
                    <a:pt x="293514" y="219935"/>
                    <a:pt x="286980" y="219935"/>
                  </a:cubicBezTo>
                  <a:lnTo>
                    <a:pt x="23674" y="219935"/>
                  </a:lnTo>
                  <a:cubicBezTo>
                    <a:pt x="17140" y="219935"/>
                    <a:pt x="11837" y="214631"/>
                    <a:pt x="11837" y="208097"/>
                  </a:cubicBezTo>
                  <a:lnTo>
                    <a:pt x="11837" y="23674"/>
                  </a:lnTo>
                  <a:cubicBezTo>
                    <a:pt x="11837" y="17140"/>
                    <a:pt x="17140" y="11837"/>
                    <a:pt x="23674" y="11837"/>
                  </a:cubicBezTo>
                  <a:lnTo>
                    <a:pt x="286980" y="11837"/>
                  </a:lnTo>
                  <a:moveTo>
                    <a:pt x="286980" y="0"/>
                  </a:moveTo>
                  <a:lnTo>
                    <a:pt x="23674" y="0"/>
                  </a:lnTo>
                  <a:cubicBezTo>
                    <a:pt x="10653" y="0"/>
                    <a:pt x="0" y="10653"/>
                    <a:pt x="0" y="23674"/>
                  </a:cubicBezTo>
                  <a:lnTo>
                    <a:pt x="0" y="208097"/>
                  </a:lnTo>
                  <a:cubicBezTo>
                    <a:pt x="0" y="221118"/>
                    <a:pt x="10653" y="231772"/>
                    <a:pt x="23674" y="231772"/>
                  </a:cubicBezTo>
                  <a:lnTo>
                    <a:pt x="286980" y="231772"/>
                  </a:lnTo>
                  <a:cubicBezTo>
                    <a:pt x="300001" y="231772"/>
                    <a:pt x="310654" y="221118"/>
                    <a:pt x="310654" y="208097"/>
                  </a:cubicBezTo>
                  <a:lnTo>
                    <a:pt x="310654" y="23674"/>
                  </a:lnTo>
                  <a:cubicBezTo>
                    <a:pt x="310654" y="10653"/>
                    <a:pt x="300001" y="0"/>
                    <a:pt x="286980" y="0"/>
                  </a:cubicBezTo>
                  <a:lnTo>
                    <a:pt x="286980" y="0"/>
                  </a:ln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73" name="Forma livre: Forma 1572">
              <a:extLst>
                <a:ext uri="{FF2B5EF4-FFF2-40B4-BE49-F238E27FC236}">
                  <a16:creationId xmlns:a16="http://schemas.microsoft.com/office/drawing/2014/main" id="{A1E03012-1746-C6AF-CB04-2DC385A64018}"/>
                </a:ext>
              </a:extLst>
            </p:cNvPr>
            <p:cNvSpPr/>
            <p:nvPr/>
          </p:nvSpPr>
          <p:spPr>
            <a:xfrm>
              <a:off x="7498759" y="5333728"/>
              <a:ext cx="296449" cy="4734"/>
            </a:xfrm>
            <a:custGeom>
              <a:avLst/>
              <a:gdLst>
                <a:gd name="connsiteX0" fmla="*/ 0 w 296449"/>
                <a:gd name="connsiteY0" fmla="*/ 0 h 4734"/>
                <a:gd name="connsiteX1" fmla="*/ 296450 w 296449"/>
                <a:gd name="connsiteY1" fmla="*/ 0 h 47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96449" h="4734">
                  <a:moveTo>
                    <a:pt x="0" y="0"/>
                  </a:moveTo>
                  <a:lnTo>
                    <a:pt x="29645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574" name="Gráfico 17">
              <a:extLst>
                <a:ext uri="{FF2B5EF4-FFF2-40B4-BE49-F238E27FC236}">
                  <a16:creationId xmlns:a16="http://schemas.microsoft.com/office/drawing/2014/main" id="{DC3B945F-6E38-779D-3C93-0D2959898C9C}"/>
                </a:ext>
              </a:extLst>
            </p:cNvPr>
            <p:cNvGrpSpPr/>
            <p:nvPr/>
          </p:nvGrpSpPr>
          <p:grpSpPr>
            <a:xfrm>
              <a:off x="7532282" y="5300205"/>
              <a:ext cx="77935" cy="7386"/>
              <a:chOff x="7532282" y="5300205"/>
              <a:chExt cx="77935" cy="7386"/>
            </a:xfrm>
            <a:solidFill>
              <a:srgbClr val="394553"/>
            </a:solidFill>
          </p:grpSpPr>
          <p:sp>
            <p:nvSpPr>
              <p:cNvPr id="1575" name="Forma livre: Forma 1574">
                <a:extLst>
                  <a:ext uri="{FF2B5EF4-FFF2-40B4-BE49-F238E27FC236}">
                    <a16:creationId xmlns:a16="http://schemas.microsoft.com/office/drawing/2014/main" id="{4C21FAB3-426A-C9F0-ECFB-C8DA2280E3D3}"/>
                  </a:ext>
                </a:extLst>
              </p:cNvPr>
              <p:cNvSpPr/>
              <p:nvPr/>
            </p:nvSpPr>
            <p:spPr>
              <a:xfrm>
                <a:off x="7532282" y="5300205"/>
                <a:ext cx="7386" cy="7386"/>
              </a:xfrm>
              <a:custGeom>
                <a:avLst/>
                <a:gdLst>
                  <a:gd name="connsiteX0" fmla="*/ 7386 w 7386"/>
                  <a:gd name="connsiteY0" fmla="*/ 3693 h 7386"/>
                  <a:gd name="connsiteX1" fmla="*/ 3693 w 7386"/>
                  <a:gd name="connsiteY1" fmla="*/ 7386 h 7386"/>
                  <a:gd name="connsiteX2" fmla="*/ 0 w 7386"/>
                  <a:gd name="connsiteY2" fmla="*/ 3693 h 7386"/>
                  <a:gd name="connsiteX3" fmla="*/ 3693 w 7386"/>
                  <a:gd name="connsiteY3" fmla="*/ 0 h 7386"/>
                  <a:gd name="connsiteX4" fmla="*/ 7386 w 7386"/>
                  <a:gd name="connsiteY4" fmla="*/ 3693 h 73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386" h="7386">
                    <a:moveTo>
                      <a:pt x="7386" y="3693"/>
                    </a:moveTo>
                    <a:cubicBezTo>
                      <a:pt x="7386" y="5729"/>
                      <a:pt x="5729" y="7386"/>
                      <a:pt x="3693" y="7386"/>
                    </a:cubicBezTo>
                    <a:cubicBezTo>
                      <a:pt x="1657" y="7386"/>
                      <a:pt x="0" y="5729"/>
                      <a:pt x="0" y="3693"/>
                    </a:cubicBezTo>
                    <a:cubicBezTo>
                      <a:pt x="0" y="1657"/>
                      <a:pt x="1657" y="0"/>
                      <a:pt x="3693" y="0"/>
                    </a:cubicBezTo>
                    <a:cubicBezTo>
                      <a:pt x="5729" y="0"/>
                      <a:pt x="7386" y="1657"/>
                      <a:pt x="7386" y="3693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576" name="Forma livre: Forma 1575">
                <a:extLst>
                  <a:ext uri="{FF2B5EF4-FFF2-40B4-BE49-F238E27FC236}">
                    <a16:creationId xmlns:a16="http://schemas.microsoft.com/office/drawing/2014/main" id="{494122D0-34B7-CA27-87C2-5BDE5135C5DC}"/>
                  </a:ext>
                </a:extLst>
              </p:cNvPr>
              <p:cNvSpPr/>
              <p:nvPr/>
            </p:nvSpPr>
            <p:spPr>
              <a:xfrm>
                <a:off x="7567557" y="5300205"/>
                <a:ext cx="7386" cy="7386"/>
              </a:xfrm>
              <a:custGeom>
                <a:avLst/>
                <a:gdLst>
                  <a:gd name="connsiteX0" fmla="*/ 7386 w 7386"/>
                  <a:gd name="connsiteY0" fmla="*/ 3693 h 7386"/>
                  <a:gd name="connsiteX1" fmla="*/ 3693 w 7386"/>
                  <a:gd name="connsiteY1" fmla="*/ 7386 h 7386"/>
                  <a:gd name="connsiteX2" fmla="*/ 0 w 7386"/>
                  <a:gd name="connsiteY2" fmla="*/ 3693 h 7386"/>
                  <a:gd name="connsiteX3" fmla="*/ 3693 w 7386"/>
                  <a:gd name="connsiteY3" fmla="*/ 0 h 7386"/>
                  <a:gd name="connsiteX4" fmla="*/ 7386 w 7386"/>
                  <a:gd name="connsiteY4" fmla="*/ 3693 h 73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386" h="7386">
                    <a:moveTo>
                      <a:pt x="7386" y="3693"/>
                    </a:moveTo>
                    <a:cubicBezTo>
                      <a:pt x="7386" y="5733"/>
                      <a:pt x="5733" y="7386"/>
                      <a:pt x="3693" y="7386"/>
                    </a:cubicBezTo>
                    <a:cubicBezTo>
                      <a:pt x="1654" y="7386"/>
                      <a:pt x="0" y="5733"/>
                      <a:pt x="0" y="3693"/>
                    </a:cubicBezTo>
                    <a:cubicBezTo>
                      <a:pt x="0" y="1654"/>
                      <a:pt x="1654" y="0"/>
                      <a:pt x="3693" y="0"/>
                    </a:cubicBezTo>
                    <a:cubicBezTo>
                      <a:pt x="5733" y="0"/>
                      <a:pt x="7386" y="1654"/>
                      <a:pt x="7386" y="3693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577" name="Forma livre: Forma 1576">
                <a:extLst>
                  <a:ext uri="{FF2B5EF4-FFF2-40B4-BE49-F238E27FC236}">
                    <a16:creationId xmlns:a16="http://schemas.microsoft.com/office/drawing/2014/main" id="{88D163F2-F2D9-4FD6-2E61-285D284C05B0}"/>
                  </a:ext>
                </a:extLst>
              </p:cNvPr>
              <p:cNvSpPr/>
              <p:nvPr/>
            </p:nvSpPr>
            <p:spPr>
              <a:xfrm>
                <a:off x="7602831" y="5300205"/>
                <a:ext cx="7386" cy="7386"/>
              </a:xfrm>
              <a:custGeom>
                <a:avLst/>
                <a:gdLst>
                  <a:gd name="connsiteX0" fmla="*/ 7386 w 7386"/>
                  <a:gd name="connsiteY0" fmla="*/ 3693 h 7386"/>
                  <a:gd name="connsiteX1" fmla="*/ 3693 w 7386"/>
                  <a:gd name="connsiteY1" fmla="*/ 7386 h 7386"/>
                  <a:gd name="connsiteX2" fmla="*/ 0 w 7386"/>
                  <a:gd name="connsiteY2" fmla="*/ 3693 h 7386"/>
                  <a:gd name="connsiteX3" fmla="*/ 3693 w 7386"/>
                  <a:gd name="connsiteY3" fmla="*/ 0 h 7386"/>
                  <a:gd name="connsiteX4" fmla="*/ 7386 w 7386"/>
                  <a:gd name="connsiteY4" fmla="*/ 3693 h 73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386" h="7386">
                    <a:moveTo>
                      <a:pt x="7386" y="3693"/>
                    </a:moveTo>
                    <a:cubicBezTo>
                      <a:pt x="7386" y="5729"/>
                      <a:pt x="5729" y="7386"/>
                      <a:pt x="3693" y="7386"/>
                    </a:cubicBezTo>
                    <a:cubicBezTo>
                      <a:pt x="1657" y="7386"/>
                      <a:pt x="0" y="5729"/>
                      <a:pt x="0" y="3693"/>
                    </a:cubicBezTo>
                    <a:cubicBezTo>
                      <a:pt x="0" y="1657"/>
                      <a:pt x="1657" y="0"/>
                      <a:pt x="3693" y="0"/>
                    </a:cubicBezTo>
                    <a:cubicBezTo>
                      <a:pt x="5729" y="0"/>
                      <a:pt x="7386" y="1657"/>
                      <a:pt x="7386" y="3693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578" name="Forma livre: Forma 1577">
              <a:extLst>
                <a:ext uri="{FF2B5EF4-FFF2-40B4-BE49-F238E27FC236}">
                  <a16:creationId xmlns:a16="http://schemas.microsoft.com/office/drawing/2014/main" id="{972C2E8D-F28D-20CF-7B84-9E99EE177619}"/>
                </a:ext>
              </a:extLst>
            </p:cNvPr>
            <p:cNvSpPr/>
            <p:nvPr/>
          </p:nvSpPr>
          <p:spPr>
            <a:xfrm>
              <a:off x="7643267" y="5415499"/>
              <a:ext cx="7386" cy="7386"/>
            </a:xfrm>
            <a:custGeom>
              <a:avLst/>
              <a:gdLst>
                <a:gd name="connsiteX0" fmla="*/ 7386 w 7386"/>
                <a:gd name="connsiteY0" fmla="*/ 3693 h 7386"/>
                <a:gd name="connsiteX1" fmla="*/ 3693 w 7386"/>
                <a:gd name="connsiteY1" fmla="*/ 7386 h 7386"/>
                <a:gd name="connsiteX2" fmla="*/ 0 w 7386"/>
                <a:gd name="connsiteY2" fmla="*/ 3693 h 7386"/>
                <a:gd name="connsiteX3" fmla="*/ 3693 w 7386"/>
                <a:gd name="connsiteY3" fmla="*/ 0 h 7386"/>
                <a:gd name="connsiteX4" fmla="*/ 7386 w 7386"/>
                <a:gd name="connsiteY4" fmla="*/ 3693 h 7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386" h="7386">
                  <a:moveTo>
                    <a:pt x="7386" y="3693"/>
                  </a:moveTo>
                  <a:cubicBezTo>
                    <a:pt x="7386" y="5729"/>
                    <a:pt x="5729" y="7386"/>
                    <a:pt x="3693" y="7386"/>
                  </a:cubicBezTo>
                  <a:cubicBezTo>
                    <a:pt x="1657" y="7386"/>
                    <a:pt x="0" y="5729"/>
                    <a:pt x="0" y="3693"/>
                  </a:cubicBezTo>
                  <a:cubicBezTo>
                    <a:pt x="0" y="1657"/>
                    <a:pt x="1657" y="0"/>
                    <a:pt x="3693" y="0"/>
                  </a:cubicBezTo>
                  <a:cubicBezTo>
                    <a:pt x="5729" y="0"/>
                    <a:pt x="7386" y="1657"/>
                    <a:pt x="7386" y="3693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79" name="Forma livre: Forma 1578">
              <a:extLst>
                <a:ext uri="{FF2B5EF4-FFF2-40B4-BE49-F238E27FC236}">
                  <a16:creationId xmlns:a16="http://schemas.microsoft.com/office/drawing/2014/main" id="{92FA8692-44D9-5FBB-5BD6-4CEB426CEC81}"/>
                </a:ext>
              </a:extLst>
            </p:cNvPr>
            <p:cNvSpPr/>
            <p:nvPr/>
          </p:nvSpPr>
          <p:spPr>
            <a:xfrm>
              <a:off x="7621960" y="5362184"/>
              <a:ext cx="50094" cy="31297"/>
            </a:xfrm>
            <a:custGeom>
              <a:avLst/>
              <a:gdLst>
                <a:gd name="connsiteX0" fmla="*/ 50095 w 50094"/>
                <a:gd name="connsiteY0" fmla="*/ 31297 h 31297"/>
                <a:gd name="connsiteX1" fmla="*/ 50095 w 50094"/>
                <a:gd name="connsiteY1" fmla="*/ 18939 h 31297"/>
                <a:gd name="connsiteX2" fmla="*/ 31155 w 50094"/>
                <a:gd name="connsiteY2" fmla="*/ 0 h 31297"/>
                <a:gd name="connsiteX3" fmla="*/ 18939 w 50094"/>
                <a:gd name="connsiteY3" fmla="*/ 0 h 31297"/>
                <a:gd name="connsiteX4" fmla="*/ 0 w 50094"/>
                <a:gd name="connsiteY4" fmla="*/ 18939 h 31297"/>
                <a:gd name="connsiteX5" fmla="*/ 0 w 50094"/>
                <a:gd name="connsiteY5" fmla="*/ 31297 h 312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0094" h="31297">
                  <a:moveTo>
                    <a:pt x="50095" y="31297"/>
                  </a:moveTo>
                  <a:lnTo>
                    <a:pt x="50095" y="18939"/>
                  </a:lnTo>
                  <a:cubicBezTo>
                    <a:pt x="50095" y="8523"/>
                    <a:pt x="41572" y="0"/>
                    <a:pt x="31155" y="0"/>
                  </a:cubicBezTo>
                  <a:lnTo>
                    <a:pt x="18939" y="0"/>
                  </a:lnTo>
                  <a:cubicBezTo>
                    <a:pt x="8523" y="0"/>
                    <a:pt x="0" y="8523"/>
                    <a:pt x="0" y="18939"/>
                  </a:cubicBezTo>
                  <a:lnTo>
                    <a:pt x="0" y="31297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580" name="Gráfico 17">
            <a:extLst>
              <a:ext uri="{FF2B5EF4-FFF2-40B4-BE49-F238E27FC236}">
                <a16:creationId xmlns:a16="http://schemas.microsoft.com/office/drawing/2014/main" id="{FCC64196-0AF5-ECF1-082A-C2F5D4B4522A}"/>
              </a:ext>
            </a:extLst>
          </p:cNvPr>
          <p:cNvGrpSpPr/>
          <p:nvPr/>
        </p:nvGrpSpPr>
        <p:grpSpPr>
          <a:xfrm>
            <a:off x="6895463" y="5264950"/>
            <a:ext cx="272309" cy="234213"/>
            <a:chOff x="6895463" y="5264950"/>
            <a:chExt cx="272309" cy="234213"/>
          </a:xfrm>
          <a:noFill/>
        </p:grpSpPr>
        <p:sp>
          <p:nvSpPr>
            <p:cNvPr id="1581" name="Forma livre: Forma 1580">
              <a:extLst>
                <a:ext uri="{FF2B5EF4-FFF2-40B4-BE49-F238E27FC236}">
                  <a16:creationId xmlns:a16="http://schemas.microsoft.com/office/drawing/2014/main" id="{3ECF809F-D1BB-1C30-C36E-2A626786F228}"/>
                </a:ext>
              </a:extLst>
            </p:cNvPr>
            <p:cNvSpPr/>
            <p:nvPr/>
          </p:nvSpPr>
          <p:spPr>
            <a:xfrm>
              <a:off x="6926485" y="5298595"/>
              <a:ext cx="23597" cy="63447"/>
            </a:xfrm>
            <a:custGeom>
              <a:avLst/>
              <a:gdLst>
                <a:gd name="connsiteX0" fmla="*/ 23598 w 23597"/>
                <a:gd name="connsiteY0" fmla="*/ 0 h 63447"/>
                <a:gd name="connsiteX1" fmla="*/ 10908 w 23597"/>
                <a:gd name="connsiteY1" fmla="*/ 8286 h 63447"/>
                <a:gd name="connsiteX2" fmla="*/ 11903 w 23597"/>
                <a:gd name="connsiteY2" fmla="*/ 63447 h 634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3597" h="63447">
                  <a:moveTo>
                    <a:pt x="23598" y="0"/>
                  </a:moveTo>
                  <a:cubicBezTo>
                    <a:pt x="18957" y="1799"/>
                    <a:pt x="14649" y="4593"/>
                    <a:pt x="10908" y="8286"/>
                  </a:cubicBezTo>
                  <a:cubicBezTo>
                    <a:pt x="-4007" y="23201"/>
                    <a:pt x="-3580" y="47964"/>
                    <a:pt x="11903" y="63447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82" name="Forma livre: Forma 1581">
              <a:extLst>
                <a:ext uri="{FF2B5EF4-FFF2-40B4-BE49-F238E27FC236}">
                  <a16:creationId xmlns:a16="http://schemas.microsoft.com/office/drawing/2014/main" id="{7822D4BB-E21E-A8CF-1F42-C3E32BC6D1B9}"/>
                </a:ext>
              </a:extLst>
            </p:cNvPr>
            <p:cNvSpPr/>
            <p:nvPr/>
          </p:nvSpPr>
          <p:spPr>
            <a:xfrm>
              <a:off x="6895463" y="5264950"/>
              <a:ext cx="272309" cy="234213"/>
            </a:xfrm>
            <a:custGeom>
              <a:avLst/>
              <a:gdLst>
                <a:gd name="connsiteX0" fmla="*/ 251354 w 272309"/>
                <a:gd name="connsiteY0" fmla="*/ 119157 h 234213"/>
                <a:gd name="connsiteX1" fmla="*/ 252348 w 272309"/>
                <a:gd name="connsiteY1" fmla="*/ 19961 h 234213"/>
                <a:gd name="connsiteX2" fmla="*/ 153153 w 272309"/>
                <a:gd name="connsiteY2" fmla="*/ 20955 h 234213"/>
                <a:gd name="connsiteX3" fmla="*/ 136107 w 272309"/>
                <a:gd name="connsiteY3" fmla="*/ 37906 h 234213"/>
                <a:gd name="connsiteX4" fmla="*/ 119156 w 272309"/>
                <a:gd name="connsiteY4" fmla="*/ 20955 h 234213"/>
                <a:gd name="connsiteX5" fmla="*/ 19961 w 272309"/>
                <a:gd name="connsiteY5" fmla="*/ 19961 h 234213"/>
                <a:gd name="connsiteX6" fmla="*/ 20955 w 272309"/>
                <a:gd name="connsiteY6" fmla="*/ 119157 h 234213"/>
                <a:gd name="connsiteX7" fmla="*/ 136155 w 272309"/>
                <a:gd name="connsiteY7" fmla="*/ 234214 h 234213"/>
                <a:gd name="connsiteX8" fmla="*/ 251401 w 272309"/>
                <a:gd name="connsiteY8" fmla="*/ 119157 h 2342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72309" h="234213">
                  <a:moveTo>
                    <a:pt x="251354" y="119157"/>
                  </a:moveTo>
                  <a:cubicBezTo>
                    <a:pt x="278911" y="91600"/>
                    <a:pt x="279337" y="46997"/>
                    <a:pt x="252348" y="19961"/>
                  </a:cubicBezTo>
                  <a:cubicBezTo>
                    <a:pt x="225359" y="-7028"/>
                    <a:pt x="180710" y="-6602"/>
                    <a:pt x="153153" y="20955"/>
                  </a:cubicBezTo>
                  <a:lnTo>
                    <a:pt x="136107" y="37906"/>
                  </a:lnTo>
                  <a:lnTo>
                    <a:pt x="119156" y="20955"/>
                  </a:lnTo>
                  <a:cubicBezTo>
                    <a:pt x="91599" y="-6602"/>
                    <a:pt x="46997" y="-7028"/>
                    <a:pt x="19961" y="19961"/>
                  </a:cubicBezTo>
                  <a:cubicBezTo>
                    <a:pt x="-7028" y="46997"/>
                    <a:pt x="-6602" y="91600"/>
                    <a:pt x="20955" y="119157"/>
                  </a:cubicBezTo>
                  <a:lnTo>
                    <a:pt x="136155" y="234214"/>
                  </a:lnTo>
                  <a:lnTo>
                    <a:pt x="251401" y="119157"/>
                  </a:ln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583" name="Gráfico 17">
            <a:extLst>
              <a:ext uri="{FF2B5EF4-FFF2-40B4-BE49-F238E27FC236}">
                <a16:creationId xmlns:a16="http://schemas.microsoft.com/office/drawing/2014/main" id="{B356E016-3374-CEA3-4647-501D16D16108}"/>
              </a:ext>
            </a:extLst>
          </p:cNvPr>
          <p:cNvGrpSpPr/>
          <p:nvPr/>
        </p:nvGrpSpPr>
        <p:grpSpPr>
          <a:xfrm>
            <a:off x="6272501" y="5775207"/>
            <a:ext cx="287381" cy="288135"/>
            <a:chOff x="6272501" y="5775207"/>
            <a:chExt cx="287381" cy="288135"/>
          </a:xfrm>
          <a:noFill/>
        </p:grpSpPr>
        <p:sp>
          <p:nvSpPr>
            <p:cNvPr id="1584" name="Forma livre: Forma 1583">
              <a:extLst>
                <a:ext uri="{FF2B5EF4-FFF2-40B4-BE49-F238E27FC236}">
                  <a16:creationId xmlns:a16="http://schemas.microsoft.com/office/drawing/2014/main" id="{82E026B0-4CF9-EC8D-5C90-7446A49411FB}"/>
                </a:ext>
              </a:extLst>
            </p:cNvPr>
            <p:cNvSpPr/>
            <p:nvPr/>
          </p:nvSpPr>
          <p:spPr>
            <a:xfrm>
              <a:off x="6398045" y="5775207"/>
              <a:ext cx="161837" cy="195171"/>
            </a:xfrm>
            <a:custGeom>
              <a:avLst/>
              <a:gdLst>
                <a:gd name="connsiteX0" fmla="*/ 64394 w 161837"/>
                <a:gd name="connsiteY0" fmla="*/ 195124 h 195171"/>
                <a:gd name="connsiteX1" fmla="*/ 130682 w 161837"/>
                <a:gd name="connsiteY1" fmla="*/ 144745 h 195171"/>
                <a:gd name="connsiteX2" fmla="*/ 161838 w 161837"/>
                <a:gd name="connsiteY2" fmla="*/ 80919 h 195171"/>
                <a:gd name="connsiteX3" fmla="*/ 80919 w 161837"/>
                <a:gd name="connsiteY3" fmla="*/ 0 h 195171"/>
                <a:gd name="connsiteX4" fmla="*/ 0 w 161837"/>
                <a:gd name="connsiteY4" fmla="*/ 80919 h 195171"/>
                <a:gd name="connsiteX5" fmla="*/ 64347 w 161837"/>
                <a:gd name="connsiteY5" fmla="*/ 160181 h 195171"/>
                <a:gd name="connsiteX6" fmla="*/ 64347 w 161837"/>
                <a:gd name="connsiteY6" fmla="*/ 195171 h 1951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61837" h="195171">
                  <a:moveTo>
                    <a:pt x="64394" y="195124"/>
                  </a:moveTo>
                  <a:lnTo>
                    <a:pt x="130682" y="144745"/>
                  </a:lnTo>
                  <a:cubicBezTo>
                    <a:pt x="149669" y="129925"/>
                    <a:pt x="161838" y="106866"/>
                    <a:pt x="161838" y="80919"/>
                  </a:cubicBezTo>
                  <a:cubicBezTo>
                    <a:pt x="161838" y="36222"/>
                    <a:pt x="125616" y="0"/>
                    <a:pt x="80919" y="0"/>
                  </a:cubicBezTo>
                  <a:cubicBezTo>
                    <a:pt x="36222" y="0"/>
                    <a:pt x="0" y="36222"/>
                    <a:pt x="0" y="80919"/>
                  </a:cubicBezTo>
                  <a:cubicBezTo>
                    <a:pt x="0" y="119982"/>
                    <a:pt x="27604" y="152557"/>
                    <a:pt x="64347" y="160181"/>
                  </a:cubicBezTo>
                  <a:lnTo>
                    <a:pt x="64347" y="195171"/>
                  </a:ln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85" name="Forma livre: Forma 1584">
              <a:extLst>
                <a:ext uri="{FF2B5EF4-FFF2-40B4-BE49-F238E27FC236}">
                  <a16:creationId xmlns:a16="http://schemas.microsoft.com/office/drawing/2014/main" id="{D4D89523-9381-A536-1E41-EF841060B5DC}"/>
                </a:ext>
              </a:extLst>
            </p:cNvPr>
            <p:cNvSpPr/>
            <p:nvPr/>
          </p:nvSpPr>
          <p:spPr>
            <a:xfrm>
              <a:off x="6272501" y="5808561"/>
              <a:ext cx="192099" cy="254780"/>
            </a:xfrm>
            <a:custGeom>
              <a:avLst/>
              <a:gdLst>
                <a:gd name="connsiteX0" fmla="*/ 153811 w 192099"/>
                <a:gd name="connsiteY0" fmla="*/ 176826 h 254780"/>
                <a:gd name="connsiteX1" fmla="*/ 137002 w 192099"/>
                <a:gd name="connsiteY1" fmla="*/ 172186 h 254780"/>
                <a:gd name="connsiteX2" fmla="*/ 109729 w 192099"/>
                <a:gd name="connsiteY2" fmla="*/ 180377 h 254780"/>
                <a:gd name="connsiteX3" fmla="*/ 79284 w 192099"/>
                <a:gd name="connsiteY3" fmla="*/ 138284 h 254780"/>
                <a:gd name="connsiteX4" fmla="*/ 79284 w 192099"/>
                <a:gd name="connsiteY4" fmla="*/ 138284 h 254780"/>
                <a:gd name="connsiteX5" fmla="*/ 79142 w 192099"/>
                <a:gd name="connsiteY5" fmla="*/ 138048 h 254780"/>
                <a:gd name="connsiteX6" fmla="*/ 79000 w 192099"/>
                <a:gd name="connsiteY6" fmla="*/ 137811 h 254780"/>
                <a:gd name="connsiteX7" fmla="*/ 79000 w 192099"/>
                <a:gd name="connsiteY7" fmla="*/ 137811 h 254780"/>
                <a:gd name="connsiteX8" fmla="*/ 53242 w 192099"/>
                <a:gd name="connsiteY8" fmla="*/ 92688 h 254780"/>
                <a:gd name="connsiteX9" fmla="*/ 71992 w 192099"/>
                <a:gd name="connsiteY9" fmla="*/ 71239 h 254780"/>
                <a:gd name="connsiteX10" fmla="*/ 74691 w 192099"/>
                <a:gd name="connsiteY10" fmla="*/ 54051 h 254780"/>
                <a:gd name="connsiteX11" fmla="*/ 56509 w 192099"/>
                <a:gd name="connsiteY11" fmla="*/ 7839 h 254780"/>
                <a:gd name="connsiteX12" fmla="*/ 47134 w 192099"/>
                <a:gd name="connsiteY12" fmla="*/ 74 h 254780"/>
                <a:gd name="connsiteX13" fmla="*/ 13422 w 192099"/>
                <a:gd name="connsiteY13" fmla="*/ 14610 h 254780"/>
                <a:gd name="connsiteX14" fmla="*/ 259 w 192099"/>
                <a:gd name="connsiteY14" fmla="*/ 31892 h 254780"/>
                <a:gd name="connsiteX15" fmla="*/ 45856 w 192099"/>
                <a:gd name="connsiteY15" fmla="*/ 159449 h 254780"/>
                <a:gd name="connsiteX16" fmla="*/ 143205 w 192099"/>
                <a:gd name="connsiteY16" fmla="*/ 253673 h 254780"/>
                <a:gd name="connsiteX17" fmla="*/ 164370 w 192099"/>
                <a:gd name="connsiteY17" fmla="*/ 248891 h 254780"/>
                <a:gd name="connsiteX18" fmla="*/ 191548 w 192099"/>
                <a:gd name="connsiteY18" fmla="*/ 224222 h 254780"/>
                <a:gd name="connsiteX19" fmla="*/ 188375 w 192099"/>
                <a:gd name="connsiteY19" fmla="*/ 212480 h 254780"/>
                <a:gd name="connsiteX20" fmla="*/ 153811 w 192099"/>
                <a:gd name="connsiteY20" fmla="*/ 176826 h 2547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92099" h="254780">
                  <a:moveTo>
                    <a:pt x="153811" y="176826"/>
                  </a:moveTo>
                  <a:cubicBezTo>
                    <a:pt x="153811" y="176826"/>
                    <a:pt x="148129" y="168872"/>
                    <a:pt x="137002" y="172186"/>
                  </a:cubicBezTo>
                  <a:lnTo>
                    <a:pt x="109729" y="180377"/>
                  </a:lnTo>
                  <a:cubicBezTo>
                    <a:pt x="109729" y="180377"/>
                    <a:pt x="89653" y="155898"/>
                    <a:pt x="79284" y="138284"/>
                  </a:cubicBezTo>
                  <a:lnTo>
                    <a:pt x="79284" y="138284"/>
                  </a:lnTo>
                  <a:cubicBezTo>
                    <a:pt x="79284" y="138284"/>
                    <a:pt x="79189" y="138142"/>
                    <a:pt x="79142" y="138048"/>
                  </a:cubicBezTo>
                  <a:cubicBezTo>
                    <a:pt x="79095" y="137953"/>
                    <a:pt x="79047" y="137906"/>
                    <a:pt x="79000" y="137811"/>
                  </a:cubicBezTo>
                  <a:lnTo>
                    <a:pt x="79000" y="137811"/>
                  </a:lnTo>
                  <a:cubicBezTo>
                    <a:pt x="67210" y="121097"/>
                    <a:pt x="53242" y="92688"/>
                    <a:pt x="53242" y="92688"/>
                  </a:cubicBezTo>
                  <a:lnTo>
                    <a:pt x="71992" y="71239"/>
                  </a:lnTo>
                  <a:cubicBezTo>
                    <a:pt x="79615" y="62479"/>
                    <a:pt x="74691" y="54051"/>
                    <a:pt x="74691" y="54051"/>
                  </a:cubicBezTo>
                  <a:lnTo>
                    <a:pt x="56509" y="7839"/>
                  </a:lnTo>
                  <a:cubicBezTo>
                    <a:pt x="53148" y="74"/>
                    <a:pt x="47134" y="74"/>
                    <a:pt x="47134" y="74"/>
                  </a:cubicBezTo>
                  <a:cubicBezTo>
                    <a:pt x="39701" y="-1205"/>
                    <a:pt x="13422" y="14610"/>
                    <a:pt x="13422" y="14610"/>
                  </a:cubicBezTo>
                  <a:cubicBezTo>
                    <a:pt x="-309" y="22375"/>
                    <a:pt x="259" y="31892"/>
                    <a:pt x="259" y="31892"/>
                  </a:cubicBezTo>
                  <a:cubicBezTo>
                    <a:pt x="-3860" y="88474"/>
                    <a:pt x="42447" y="153909"/>
                    <a:pt x="45856" y="159449"/>
                  </a:cubicBezTo>
                  <a:cubicBezTo>
                    <a:pt x="50638" y="166267"/>
                    <a:pt x="89985" y="234071"/>
                    <a:pt x="143205" y="253673"/>
                  </a:cubicBezTo>
                  <a:cubicBezTo>
                    <a:pt x="143205" y="253673"/>
                    <a:pt x="151633" y="258218"/>
                    <a:pt x="164370" y="248891"/>
                  </a:cubicBezTo>
                  <a:cubicBezTo>
                    <a:pt x="164370" y="248891"/>
                    <a:pt x="189606" y="231514"/>
                    <a:pt x="191548" y="224222"/>
                  </a:cubicBezTo>
                  <a:cubicBezTo>
                    <a:pt x="191548" y="224222"/>
                    <a:pt x="194057" y="218730"/>
                    <a:pt x="188375" y="212480"/>
                  </a:cubicBezTo>
                  <a:lnTo>
                    <a:pt x="153811" y="176826"/>
                  </a:lnTo>
                  <a:close/>
                </a:path>
              </a:pathLst>
            </a:custGeom>
            <a:noFill/>
            <a:ln w="6350" cap="sq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586" name="Gráfico 17">
              <a:extLst>
                <a:ext uri="{FF2B5EF4-FFF2-40B4-BE49-F238E27FC236}">
                  <a16:creationId xmlns:a16="http://schemas.microsoft.com/office/drawing/2014/main" id="{E503FE0B-4E2B-69B2-CD93-1E68C748669C}"/>
                </a:ext>
              </a:extLst>
            </p:cNvPr>
            <p:cNvGrpSpPr/>
            <p:nvPr/>
          </p:nvGrpSpPr>
          <p:grpSpPr>
            <a:xfrm>
              <a:off x="6448803" y="5807214"/>
              <a:ext cx="60322" cy="94981"/>
              <a:chOff x="6448803" y="5807214"/>
              <a:chExt cx="60322" cy="94981"/>
            </a:xfrm>
            <a:noFill/>
          </p:grpSpPr>
          <p:sp>
            <p:nvSpPr>
              <p:cNvPr id="1587" name="Forma livre: Forma 1586">
                <a:extLst>
                  <a:ext uri="{FF2B5EF4-FFF2-40B4-BE49-F238E27FC236}">
                    <a16:creationId xmlns:a16="http://schemas.microsoft.com/office/drawing/2014/main" id="{7B7188E2-C628-F801-9223-AE99C8A1776B}"/>
                  </a:ext>
                </a:extLst>
              </p:cNvPr>
              <p:cNvSpPr/>
              <p:nvPr/>
            </p:nvSpPr>
            <p:spPr>
              <a:xfrm>
                <a:off x="6448803" y="5824213"/>
                <a:ext cx="59422" cy="30397"/>
              </a:xfrm>
              <a:custGeom>
                <a:avLst/>
                <a:gdLst>
                  <a:gd name="connsiteX0" fmla="*/ 30161 w 59422"/>
                  <a:gd name="connsiteY0" fmla="*/ 30398 h 30397"/>
                  <a:gd name="connsiteX1" fmla="*/ 0 w 59422"/>
                  <a:gd name="connsiteY1" fmla="*/ 15199 h 30397"/>
                  <a:gd name="connsiteX2" fmla="*/ 30161 w 59422"/>
                  <a:gd name="connsiteY2" fmla="*/ 0 h 30397"/>
                  <a:gd name="connsiteX3" fmla="*/ 59423 w 59422"/>
                  <a:gd name="connsiteY3" fmla="*/ 11506 h 303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9422" h="30397">
                    <a:moveTo>
                      <a:pt x="30161" y="30398"/>
                    </a:moveTo>
                    <a:cubicBezTo>
                      <a:pt x="13542" y="30398"/>
                      <a:pt x="0" y="23580"/>
                      <a:pt x="0" y="15199"/>
                    </a:cubicBezTo>
                    <a:cubicBezTo>
                      <a:pt x="0" y="6818"/>
                      <a:pt x="13494" y="0"/>
                      <a:pt x="30161" y="0"/>
                    </a:cubicBezTo>
                    <a:cubicBezTo>
                      <a:pt x="44271" y="0"/>
                      <a:pt x="56108" y="4877"/>
                      <a:pt x="59423" y="11506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588" name="Forma livre: Forma 1587">
                <a:extLst>
                  <a:ext uri="{FF2B5EF4-FFF2-40B4-BE49-F238E27FC236}">
                    <a16:creationId xmlns:a16="http://schemas.microsoft.com/office/drawing/2014/main" id="{C17824EE-E2F9-07A6-9E33-31ECFAAF8F1E}"/>
                  </a:ext>
                </a:extLst>
              </p:cNvPr>
              <p:cNvSpPr/>
              <p:nvPr/>
            </p:nvSpPr>
            <p:spPr>
              <a:xfrm>
                <a:off x="6449276" y="5854658"/>
                <a:ext cx="59848" cy="30397"/>
              </a:xfrm>
              <a:custGeom>
                <a:avLst/>
                <a:gdLst>
                  <a:gd name="connsiteX0" fmla="*/ 29688 w 59848"/>
                  <a:gd name="connsiteY0" fmla="*/ 0 h 30397"/>
                  <a:gd name="connsiteX1" fmla="*/ 59849 w 59848"/>
                  <a:gd name="connsiteY1" fmla="*/ 15199 h 30397"/>
                  <a:gd name="connsiteX2" fmla="*/ 29688 w 59848"/>
                  <a:gd name="connsiteY2" fmla="*/ 30398 h 30397"/>
                  <a:gd name="connsiteX3" fmla="*/ 0 w 59848"/>
                  <a:gd name="connsiteY3" fmla="*/ 17803 h 303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9848" h="30397">
                    <a:moveTo>
                      <a:pt x="29688" y="0"/>
                    </a:moveTo>
                    <a:cubicBezTo>
                      <a:pt x="46354" y="0"/>
                      <a:pt x="59849" y="6818"/>
                      <a:pt x="59849" y="15199"/>
                    </a:cubicBezTo>
                    <a:cubicBezTo>
                      <a:pt x="59849" y="23580"/>
                      <a:pt x="46354" y="30398"/>
                      <a:pt x="29688" y="30398"/>
                    </a:cubicBezTo>
                    <a:cubicBezTo>
                      <a:pt x="14820" y="30398"/>
                      <a:pt x="2415" y="24953"/>
                      <a:pt x="0" y="17803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589" name="Forma livre: Forma 1588">
                <a:extLst>
                  <a:ext uri="{FF2B5EF4-FFF2-40B4-BE49-F238E27FC236}">
                    <a16:creationId xmlns:a16="http://schemas.microsoft.com/office/drawing/2014/main" id="{E8FEFF8E-2B8F-462D-787C-67FB1A0893B2}"/>
                  </a:ext>
                </a:extLst>
              </p:cNvPr>
              <p:cNvSpPr/>
              <p:nvPr/>
            </p:nvSpPr>
            <p:spPr>
              <a:xfrm>
                <a:off x="6479390" y="5807214"/>
                <a:ext cx="4734" cy="94981"/>
              </a:xfrm>
              <a:custGeom>
                <a:avLst/>
                <a:gdLst>
                  <a:gd name="connsiteX0" fmla="*/ 0 w 4734"/>
                  <a:gd name="connsiteY0" fmla="*/ 0 h 94981"/>
                  <a:gd name="connsiteX1" fmla="*/ 0 w 4734"/>
                  <a:gd name="connsiteY1" fmla="*/ 94981 h 949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34" h="94981">
                    <a:moveTo>
                      <a:pt x="0" y="0"/>
                    </a:moveTo>
                    <a:lnTo>
                      <a:pt x="0" y="94981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590" name="Gráfico 17">
            <a:extLst>
              <a:ext uri="{FF2B5EF4-FFF2-40B4-BE49-F238E27FC236}">
                <a16:creationId xmlns:a16="http://schemas.microsoft.com/office/drawing/2014/main" id="{7745A615-B77A-9D9D-B031-3D20249E89D9}"/>
              </a:ext>
            </a:extLst>
          </p:cNvPr>
          <p:cNvGrpSpPr/>
          <p:nvPr/>
        </p:nvGrpSpPr>
        <p:grpSpPr>
          <a:xfrm>
            <a:off x="7531156" y="5786192"/>
            <a:ext cx="231618" cy="266146"/>
            <a:chOff x="7531156" y="5786192"/>
            <a:chExt cx="231618" cy="266146"/>
          </a:xfrm>
          <a:noFill/>
        </p:grpSpPr>
        <p:sp>
          <p:nvSpPr>
            <p:cNvPr id="1591" name="Forma livre: Forma 1590">
              <a:extLst>
                <a:ext uri="{FF2B5EF4-FFF2-40B4-BE49-F238E27FC236}">
                  <a16:creationId xmlns:a16="http://schemas.microsoft.com/office/drawing/2014/main" id="{3469FC48-673B-E413-C50B-D3650C85519E}"/>
                </a:ext>
              </a:extLst>
            </p:cNvPr>
            <p:cNvSpPr/>
            <p:nvPr/>
          </p:nvSpPr>
          <p:spPr>
            <a:xfrm>
              <a:off x="7606477" y="5786192"/>
              <a:ext cx="156297" cy="237643"/>
            </a:xfrm>
            <a:custGeom>
              <a:avLst/>
              <a:gdLst>
                <a:gd name="connsiteX0" fmla="*/ 0 w 156297"/>
                <a:gd name="connsiteY0" fmla="*/ 163732 h 237643"/>
                <a:gd name="connsiteX1" fmla="*/ 0 w 156297"/>
                <a:gd name="connsiteY1" fmla="*/ 23674 h 237643"/>
                <a:gd name="connsiteX2" fmla="*/ 23674 w 156297"/>
                <a:gd name="connsiteY2" fmla="*/ 0 h 237643"/>
                <a:gd name="connsiteX3" fmla="*/ 132623 w 156297"/>
                <a:gd name="connsiteY3" fmla="*/ 0 h 237643"/>
                <a:gd name="connsiteX4" fmla="*/ 156298 w 156297"/>
                <a:gd name="connsiteY4" fmla="*/ 23674 h 237643"/>
                <a:gd name="connsiteX5" fmla="*/ 156298 w 156297"/>
                <a:gd name="connsiteY5" fmla="*/ 213969 h 237643"/>
                <a:gd name="connsiteX6" fmla="*/ 132623 w 156297"/>
                <a:gd name="connsiteY6" fmla="*/ 237643 h 237643"/>
                <a:gd name="connsiteX7" fmla="*/ 14110 w 156297"/>
                <a:gd name="connsiteY7" fmla="*/ 237643 h 2376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56297" h="237643">
                  <a:moveTo>
                    <a:pt x="0" y="163732"/>
                  </a:moveTo>
                  <a:lnTo>
                    <a:pt x="0" y="23674"/>
                  </a:lnTo>
                  <a:cubicBezTo>
                    <a:pt x="0" y="10653"/>
                    <a:pt x="10653" y="0"/>
                    <a:pt x="23674" y="0"/>
                  </a:cubicBezTo>
                  <a:lnTo>
                    <a:pt x="132623" y="0"/>
                  </a:lnTo>
                  <a:cubicBezTo>
                    <a:pt x="145644" y="0"/>
                    <a:pt x="156298" y="10653"/>
                    <a:pt x="156298" y="23674"/>
                  </a:cubicBezTo>
                  <a:lnTo>
                    <a:pt x="156298" y="213969"/>
                  </a:lnTo>
                  <a:cubicBezTo>
                    <a:pt x="156298" y="226990"/>
                    <a:pt x="145644" y="237643"/>
                    <a:pt x="132623" y="237643"/>
                  </a:cubicBezTo>
                  <a:lnTo>
                    <a:pt x="14110" y="237643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92" name="Forma livre: Forma 1591">
              <a:extLst>
                <a:ext uri="{FF2B5EF4-FFF2-40B4-BE49-F238E27FC236}">
                  <a16:creationId xmlns:a16="http://schemas.microsoft.com/office/drawing/2014/main" id="{2D0E8898-9E89-2141-1828-3485C5E5C7A1}"/>
                </a:ext>
              </a:extLst>
            </p:cNvPr>
            <p:cNvSpPr/>
            <p:nvPr/>
          </p:nvSpPr>
          <p:spPr>
            <a:xfrm>
              <a:off x="7720161" y="5786428"/>
              <a:ext cx="4734" cy="236743"/>
            </a:xfrm>
            <a:custGeom>
              <a:avLst/>
              <a:gdLst>
                <a:gd name="connsiteX0" fmla="*/ 0 w 4734"/>
                <a:gd name="connsiteY0" fmla="*/ 0 h 236743"/>
                <a:gd name="connsiteX1" fmla="*/ 0 w 4734"/>
                <a:gd name="connsiteY1" fmla="*/ 236743 h 2367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734" h="236743">
                  <a:moveTo>
                    <a:pt x="0" y="0"/>
                  </a:moveTo>
                  <a:lnTo>
                    <a:pt x="0" y="236743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93" name="Forma livre: Forma 1592">
              <a:extLst>
                <a:ext uri="{FF2B5EF4-FFF2-40B4-BE49-F238E27FC236}">
                  <a16:creationId xmlns:a16="http://schemas.microsoft.com/office/drawing/2014/main" id="{A97B646F-FD97-1A13-3C5B-27E6A2D684E3}"/>
                </a:ext>
              </a:extLst>
            </p:cNvPr>
            <p:cNvSpPr/>
            <p:nvPr/>
          </p:nvSpPr>
          <p:spPr>
            <a:xfrm>
              <a:off x="7578968" y="5911627"/>
              <a:ext cx="97031" cy="140711"/>
            </a:xfrm>
            <a:custGeom>
              <a:avLst/>
              <a:gdLst>
                <a:gd name="connsiteX0" fmla="*/ 0 w 97031"/>
                <a:gd name="connsiteY0" fmla="*/ 68078 h 140711"/>
                <a:gd name="connsiteX1" fmla="*/ 57434 w 97031"/>
                <a:gd name="connsiteY1" fmla="*/ 8750 h 140711"/>
                <a:gd name="connsiteX2" fmla="*/ 90057 w 97031"/>
                <a:gd name="connsiteY2" fmla="*/ 4489 h 140711"/>
                <a:gd name="connsiteX3" fmla="*/ 91856 w 97031"/>
                <a:gd name="connsiteY3" fmla="*/ 38249 h 140711"/>
                <a:gd name="connsiteX4" fmla="*/ 22633 w 97031"/>
                <a:gd name="connsiteY4" fmla="*/ 140711 h 1407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7031" h="140711">
                  <a:moveTo>
                    <a:pt x="0" y="68078"/>
                  </a:moveTo>
                  <a:lnTo>
                    <a:pt x="57434" y="8750"/>
                  </a:lnTo>
                  <a:cubicBezTo>
                    <a:pt x="66856" y="-956"/>
                    <a:pt x="81534" y="-2897"/>
                    <a:pt x="90057" y="4489"/>
                  </a:cubicBezTo>
                  <a:cubicBezTo>
                    <a:pt x="98627" y="11875"/>
                    <a:pt x="99385" y="27027"/>
                    <a:pt x="91856" y="38249"/>
                  </a:cubicBezTo>
                  <a:lnTo>
                    <a:pt x="22633" y="140711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94" name="Forma livre: Forma 1593">
              <a:extLst>
                <a:ext uri="{FF2B5EF4-FFF2-40B4-BE49-F238E27FC236}">
                  <a16:creationId xmlns:a16="http://schemas.microsoft.com/office/drawing/2014/main" id="{673822D8-F573-7E98-2595-56E99F4C5D35}"/>
                </a:ext>
              </a:extLst>
            </p:cNvPr>
            <p:cNvSpPr/>
            <p:nvPr/>
          </p:nvSpPr>
          <p:spPr>
            <a:xfrm>
              <a:off x="7531156" y="5872840"/>
              <a:ext cx="77167" cy="179262"/>
            </a:xfrm>
            <a:custGeom>
              <a:avLst/>
              <a:gdLst>
                <a:gd name="connsiteX0" fmla="*/ 77168 w 77167"/>
                <a:gd name="connsiteY0" fmla="*/ 0 h 179262"/>
                <a:gd name="connsiteX1" fmla="*/ 368 w 77167"/>
                <a:gd name="connsiteY1" fmla="*/ 69792 h 179262"/>
                <a:gd name="connsiteX2" fmla="*/ 2688 w 77167"/>
                <a:gd name="connsiteY2" fmla="*/ 179262 h 1792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77167" h="179262">
                  <a:moveTo>
                    <a:pt x="77168" y="0"/>
                  </a:moveTo>
                  <a:cubicBezTo>
                    <a:pt x="77168" y="0"/>
                    <a:pt x="1978" y="60370"/>
                    <a:pt x="368" y="69792"/>
                  </a:cubicBezTo>
                  <a:cubicBezTo>
                    <a:pt x="-958" y="77510"/>
                    <a:pt x="1646" y="151800"/>
                    <a:pt x="2688" y="179262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595" name="Gráfico 17">
            <a:extLst>
              <a:ext uri="{FF2B5EF4-FFF2-40B4-BE49-F238E27FC236}">
                <a16:creationId xmlns:a16="http://schemas.microsoft.com/office/drawing/2014/main" id="{44DE5E56-742D-1F7D-48C0-E752A32EB893}"/>
              </a:ext>
            </a:extLst>
          </p:cNvPr>
          <p:cNvGrpSpPr/>
          <p:nvPr/>
        </p:nvGrpSpPr>
        <p:grpSpPr>
          <a:xfrm>
            <a:off x="6929013" y="5782498"/>
            <a:ext cx="205161" cy="273533"/>
            <a:chOff x="6929013" y="5782498"/>
            <a:chExt cx="205161" cy="273533"/>
          </a:xfrm>
          <a:noFill/>
        </p:grpSpPr>
        <p:grpSp>
          <p:nvGrpSpPr>
            <p:cNvPr id="1596" name="Gráfico 17">
              <a:extLst>
                <a:ext uri="{FF2B5EF4-FFF2-40B4-BE49-F238E27FC236}">
                  <a16:creationId xmlns:a16="http://schemas.microsoft.com/office/drawing/2014/main" id="{E2D8A9A5-AA83-D2BD-B7D8-173F27A53A42}"/>
                </a:ext>
              </a:extLst>
            </p:cNvPr>
            <p:cNvGrpSpPr/>
            <p:nvPr/>
          </p:nvGrpSpPr>
          <p:grpSpPr>
            <a:xfrm>
              <a:off x="6929013" y="5782498"/>
              <a:ext cx="205161" cy="273533"/>
              <a:chOff x="6929013" y="5782498"/>
              <a:chExt cx="205161" cy="273533"/>
            </a:xfrm>
            <a:noFill/>
          </p:grpSpPr>
          <p:sp>
            <p:nvSpPr>
              <p:cNvPr id="1597" name="Forma livre: Forma 1596">
                <a:extLst>
                  <a:ext uri="{FF2B5EF4-FFF2-40B4-BE49-F238E27FC236}">
                    <a16:creationId xmlns:a16="http://schemas.microsoft.com/office/drawing/2014/main" id="{26AA360A-EB08-E071-C85D-123E413343CB}"/>
                  </a:ext>
                </a:extLst>
              </p:cNvPr>
              <p:cNvSpPr/>
              <p:nvPr/>
            </p:nvSpPr>
            <p:spPr>
              <a:xfrm>
                <a:off x="6929013" y="5782498"/>
                <a:ext cx="205161" cy="273533"/>
              </a:xfrm>
              <a:custGeom>
                <a:avLst/>
                <a:gdLst>
                  <a:gd name="connsiteX0" fmla="*/ 186222 w 205161"/>
                  <a:gd name="connsiteY0" fmla="*/ 0 h 273533"/>
                  <a:gd name="connsiteX1" fmla="*/ 52841 w 205161"/>
                  <a:gd name="connsiteY1" fmla="*/ 0 h 273533"/>
                  <a:gd name="connsiteX2" fmla="*/ 0 w 205161"/>
                  <a:gd name="connsiteY2" fmla="*/ 45881 h 273533"/>
                  <a:gd name="connsiteX3" fmla="*/ 0 w 205161"/>
                  <a:gd name="connsiteY3" fmla="*/ 254594 h 273533"/>
                  <a:gd name="connsiteX4" fmla="*/ 18939 w 205161"/>
                  <a:gd name="connsiteY4" fmla="*/ 273533 h 273533"/>
                  <a:gd name="connsiteX5" fmla="*/ 186222 w 205161"/>
                  <a:gd name="connsiteY5" fmla="*/ 273533 h 273533"/>
                  <a:gd name="connsiteX6" fmla="*/ 205162 w 205161"/>
                  <a:gd name="connsiteY6" fmla="*/ 254594 h 273533"/>
                  <a:gd name="connsiteX7" fmla="*/ 205162 w 205161"/>
                  <a:gd name="connsiteY7" fmla="*/ 18939 h 273533"/>
                  <a:gd name="connsiteX8" fmla="*/ 186222 w 205161"/>
                  <a:gd name="connsiteY8" fmla="*/ 0 h 2735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05161" h="273533">
                    <a:moveTo>
                      <a:pt x="186222" y="0"/>
                    </a:moveTo>
                    <a:lnTo>
                      <a:pt x="52841" y="0"/>
                    </a:lnTo>
                    <a:lnTo>
                      <a:pt x="0" y="45881"/>
                    </a:lnTo>
                    <a:lnTo>
                      <a:pt x="0" y="254594"/>
                    </a:lnTo>
                    <a:cubicBezTo>
                      <a:pt x="0" y="265011"/>
                      <a:pt x="8523" y="273533"/>
                      <a:pt x="18939" y="273533"/>
                    </a:cubicBezTo>
                    <a:lnTo>
                      <a:pt x="186222" y="273533"/>
                    </a:lnTo>
                    <a:cubicBezTo>
                      <a:pt x="196639" y="273533"/>
                      <a:pt x="205162" y="265011"/>
                      <a:pt x="205162" y="254594"/>
                    </a:cubicBezTo>
                    <a:lnTo>
                      <a:pt x="205162" y="18939"/>
                    </a:lnTo>
                    <a:cubicBezTo>
                      <a:pt x="205162" y="8523"/>
                      <a:pt x="196639" y="0"/>
                      <a:pt x="186222" y="0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598" name="Forma livre: Forma 1597">
                <a:extLst>
                  <a:ext uri="{FF2B5EF4-FFF2-40B4-BE49-F238E27FC236}">
                    <a16:creationId xmlns:a16="http://schemas.microsoft.com/office/drawing/2014/main" id="{6B4F3639-90FA-3B85-B24C-F724B3855C62}"/>
                  </a:ext>
                </a:extLst>
              </p:cNvPr>
              <p:cNvSpPr/>
              <p:nvPr/>
            </p:nvSpPr>
            <p:spPr>
              <a:xfrm>
                <a:off x="6963435" y="5786192"/>
                <a:ext cx="35558" cy="58286"/>
              </a:xfrm>
              <a:custGeom>
                <a:avLst/>
                <a:gdLst>
                  <a:gd name="connsiteX0" fmla="*/ 35559 w 35558"/>
                  <a:gd name="connsiteY0" fmla="*/ 0 h 58286"/>
                  <a:gd name="connsiteX1" fmla="*/ 35559 w 35558"/>
                  <a:gd name="connsiteY1" fmla="*/ 58286 h 58286"/>
                  <a:gd name="connsiteX2" fmla="*/ 0 w 35558"/>
                  <a:gd name="connsiteY2" fmla="*/ 58286 h 582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5558" h="58286">
                    <a:moveTo>
                      <a:pt x="35559" y="0"/>
                    </a:moveTo>
                    <a:lnTo>
                      <a:pt x="35559" y="58286"/>
                    </a:lnTo>
                    <a:lnTo>
                      <a:pt x="0" y="58286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599" name="Gráfico 17">
              <a:extLst>
                <a:ext uri="{FF2B5EF4-FFF2-40B4-BE49-F238E27FC236}">
                  <a16:creationId xmlns:a16="http://schemas.microsoft.com/office/drawing/2014/main" id="{DCF28FF4-FFCB-36F2-FD48-674B52491E31}"/>
                </a:ext>
              </a:extLst>
            </p:cNvPr>
            <p:cNvGrpSpPr/>
            <p:nvPr/>
          </p:nvGrpSpPr>
          <p:grpSpPr>
            <a:xfrm>
              <a:off x="6963293" y="5883872"/>
              <a:ext cx="135937" cy="26988"/>
              <a:chOff x="6963293" y="5883872"/>
              <a:chExt cx="135937" cy="26988"/>
            </a:xfrm>
            <a:noFill/>
          </p:grpSpPr>
          <p:sp>
            <p:nvSpPr>
              <p:cNvPr id="1600" name="Forma livre: Forma 1599">
                <a:extLst>
                  <a:ext uri="{FF2B5EF4-FFF2-40B4-BE49-F238E27FC236}">
                    <a16:creationId xmlns:a16="http://schemas.microsoft.com/office/drawing/2014/main" id="{66E45E9E-582E-E0B8-F579-758F9625EE2B}"/>
                  </a:ext>
                </a:extLst>
              </p:cNvPr>
              <p:cNvSpPr/>
              <p:nvPr/>
            </p:nvSpPr>
            <p:spPr>
              <a:xfrm>
                <a:off x="6963293" y="5883872"/>
                <a:ext cx="35700" cy="26988"/>
              </a:xfrm>
              <a:custGeom>
                <a:avLst/>
                <a:gdLst>
                  <a:gd name="connsiteX0" fmla="*/ 0 w 35700"/>
                  <a:gd name="connsiteY0" fmla="*/ 15436 h 26988"/>
                  <a:gd name="connsiteX1" fmla="*/ 14441 w 35700"/>
                  <a:gd name="connsiteY1" fmla="*/ 26989 h 26988"/>
                  <a:gd name="connsiteX2" fmla="*/ 35701 w 35700"/>
                  <a:gd name="connsiteY2" fmla="*/ 0 h 269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5700" h="26988">
                    <a:moveTo>
                      <a:pt x="0" y="15436"/>
                    </a:moveTo>
                    <a:lnTo>
                      <a:pt x="14441" y="26989"/>
                    </a:lnTo>
                    <a:lnTo>
                      <a:pt x="35701" y="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601" name="Forma livre: Forma 1600">
                <a:extLst>
                  <a:ext uri="{FF2B5EF4-FFF2-40B4-BE49-F238E27FC236}">
                    <a16:creationId xmlns:a16="http://schemas.microsoft.com/office/drawing/2014/main" id="{30BCD33C-425D-C22D-619F-7F671EDBB2AD}"/>
                  </a:ext>
                </a:extLst>
              </p:cNvPr>
              <p:cNvSpPr/>
              <p:nvPr/>
            </p:nvSpPr>
            <p:spPr>
              <a:xfrm>
                <a:off x="7022290" y="5903427"/>
                <a:ext cx="76941" cy="4734"/>
              </a:xfrm>
              <a:custGeom>
                <a:avLst/>
                <a:gdLst>
                  <a:gd name="connsiteX0" fmla="*/ 0 w 76941"/>
                  <a:gd name="connsiteY0" fmla="*/ 0 h 4734"/>
                  <a:gd name="connsiteX1" fmla="*/ 76942 w 76941"/>
                  <a:gd name="connsiteY1" fmla="*/ 0 h 47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76941" h="4734">
                    <a:moveTo>
                      <a:pt x="0" y="0"/>
                    </a:moveTo>
                    <a:lnTo>
                      <a:pt x="76942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602" name="Gráfico 17">
              <a:extLst>
                <a:ext uri="{FF2B5EF4-FFF2-40B4-BE49-F238E27FC236}">
                  <a16:creationId xmlns:a16="http://schemas.microsoft.com/office/drawing/2014/main" id="{61720656-B5D8-BCE0-4FB6-B947DDA5BE29}"/>
                </a:ext>
              </a:extLst>
            </p:cNvPr>
            <p:cNvGrpSpPr/>
            <p:nvPr/>
          </p:nvGrpSpPr>
          <p:grpSpPr>
            <a:xfrm>
              <a:off x="6963293" y="5934393"/>
              <a:ext cx="135937" cy="26988"/>
              <a:chOff x="6963293" y="5934393"/>
              <a:chExt cx="135937" cy="26988"/>
            </a:xfrm>
            <a:noFill/>
          </p:grpSpPr>
          <p:sp>
            <p:nvSpPr>
              <p:cNvPr id="1603" name="Forma livre: Forma 1602">
                <a:extLst>
                  <a:ext uri="{FF2B5EF4-FFF2-40B4-BE49-F238E27FC236}">
                    <a16:creationId xmlns:a16="http://schemas.microsoft.com/office/drawing/2014/main" id="{D7F409E6-5A1C-308D-4626-37E696CE5175}"/>
                  </a:ext>
                </a:extLst>
              </p:cNvPr>
              <p:cNvSpPr/>
              <p:nvPr/>
            </p:nvSpPr>
            <p:spPr>
              <a:xfrm>
                <a:off x="6963293" y="5934393"/>
                <a:ext cx="35700" cy="26988"/>
              </a:xfrm>
              <a:custGeom>
                <a:avLst/>
                <a:gdLst>
                  <a:gd name="connsiteX0" fmla="*/ 0 w 35700"/>
                  <a:gd name="connsiteY0" fmla="*/ 15388 h 26988"/>
                  <a:gd name="connsiteX1" fmla="*/ 14441 w 35700"/>
                  <a:gd name="connsiteY1" fmla="*/ 26989 h 26988"/>
                  <a:gd name="connsiteX2" fmla="*/ 35701 w 35700"/>
                  <a:gd name="connsiteY2" fmla="*/ 0 h 269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5700" h="26988">
                    <a:moveTo>
                      <a:pt x="0" y="15388"/>
                    </a:moveTo>
                    <a:lnTo>
                      <a:pt x="14441" y="26989"/>
                    </a:lnTo>
                    <a:lnTo>
                      <a:pt x="35701" y="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604" name="Forma livre: Forma 1603">
                <a:extLst>
                  <a:ext uri="{FF2B5EF4-FFF2-40B4-BE49-F238E27FC236}">
                    <a16:creationId xmlns:a16="http://schemas.microsoft.com/office/drawing/2014/main" id="{04A0095B-48F0-2065-63E8-B1092237CDBB}"/>
                  </a:ext>
                </a:extLst>
              </p:cNvPr>
              <p:cNvSpPr/>
              <p:nvPr/>
            </p:nvSpPr>
            <p:spPr>
              <a:xfrm>
                <a:off x="7022290" y="5953948"/>
                <a:ext cx="76941" cy="4734"/>
              </a:xfrm>
              <a:custGeom>
                <a:avLst/>
                <a:gdLst>
                  <a:gd name="connsiteX0" fmla="*/ 0 w 76941"/>
                  <a:gd name="connsiteY0" fmla="*/ 0 h 4734"/>
                  <a:gd name="connsiteX1" fmla="*/ 76942 w 76941"/>
                  <a:gd name="connsiteY1" fmla="*/ 0 h 47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76941" h="4734">
                    <a:moveTo>
                      <a:pt x="0" y="0"/>
                    </a:moveTo>
                    <a:lnTo>
                      <a:pt x="76942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605" name="Gráfico 17">
              <a:extLst>
                <a:ext uri="{FF2B5EF4-FFF2-40B4-BE49-F238E27FC236}">
                  <a16:creationId xmlns:a16="http://schemas.microsoft.com/office/drawing/2014/main" id="{67A1BC2F-0431-FD34-09C5-2BF2EE9914AC}"/>
                </a:ext>
              </a:extLst>
            </p:cNvPr>
            <p:cNvGrpSpPr/>
            <p:nvPr/>
          </p:nvGrpSpPr>
          <p:grpSpPr>
            <a:xfrm>
              <a:off x="6963293" y="5984867"/>
              <a:ext cx="135937" cy="26988"/>
              <a:chOff x="6963293" y="5984867"/>
              <a:chExt cx="135937" cy="26988"/>
            </a:xfrm>
            <a:noFill/>
          </p:grpSpPr>
          <p:sp>
            <p:nvSpPr>
              <p:cNvPr id="1606" name="Forma livre: Forma 1605">
                <a:extLst>
                  <a:ext uri="{FF2B5EF4-FFF2-40B4-BE49-F238E27FC236}">
                    <a16:creationId xmlns:a16="http://schemas.microsoft.com/office/drawing/2014/main" id="{9D14004F-ECDB-6E9E-BE5B-DBA95AB825E3}"/>
                  </a:ext>
                </a:extLst>
              </p:cNvPr>
              <p:cNvSpPr/>
              <p:nvPr/>
            </p:nvSpPr>
            <p:spPr>
              <a:xfrm>
                <a:off x="6963293" y="5984867"/>
                <a:ext cx="35700" cy="26988"/>
              </a:xfrm>
              <a:custGeom>
                <a:avLst/>
                <a:gdLst>
                  <a:gd name="connsiteX0" fmla="*/ 0 w 35700"/>
                  <a:gd name="connsiteY0" fmla="*/ 15436 h 26988"/>
                  <a:gd name="connsiteX1" fmla="*/ 14441 w 35700"/>
                  <a:gd name="connsiteY1" fmla="*/ 26989 h 26988"/>
                  <a:gd name="connsiteX2" fmla="*/ 35701 w 35700"/>
                  <a:gd name="connsiteY2" fmla="*/ 0 h 269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5700" h="26988">
                    <a:moveTo>
                      <a:pt x="0" y="15436"/>
                    </a:moveTo>
                    <a:lnTo>
                      <a:pt x="14441" y="26989"/>
                    </a:lnTo>
                    <a:lnTo>
                      <a:pt x="35701" y="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607" name="Forma livre: Forma 1606">
                <a:extLst>
                  <a:ext uri="{FF2B5EF4-FFF2-40B4-BE49-F238E27FC236}">
                    <a16:creationId xmlns:a16="http://schemas.microsoft.com/office/drawing/2014/main" id="{AC7CF7C5-72A8-0B3D-28BB-4D8B529999ED}"/>
                  </a:ext>
                </a:extLst>
              </p:cNvPr>
              <p:cNvSpPr/>
              <p:nvPr/>
            </p:nvSpPr>
            <p:spPr>
              <a:xfrm>
                <a:off x="7022290" y="6004422"/>
                <a:ext cx="76941" cy="4734"/>
              </a:xfrm>
              <a:custGeom>
                <a:avLst/>
                <a:gdLst>
                  <a:gd name="connsiteX0" fmla="*/ 0 w 76941"/>
                  <a:gd name="connsiteY0" fmla="*/ 0 h 4734"/>
                  <a:gd name="connsiteX1" fmla="*/ 76942 w 76941"/>
                  <a:gd name="connsiteY1" fmla="*/ 0 h 47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76941" h="4734">
                    <a:moveTo>
                      <a:pt x="0" y="0"/>
                    </a:moveTo>
                    <a:lnTo>
                      <a:pt x="76942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608" name="Gráfico 17">
            <a:extLst>
              <a:ext uri="{FF2B5EF4-FFF2-40B4-BE49-F238E27FC236}">
                <a16:creationId xmlns:a16="http://schemas.microsoft.com/office/drawing/2014/main" id="{D9DE7C33-87DD-FD7B-6432-BC6158D8494D}"/>
              </a:ext>
            </a:extLst>
          </p:cNvPr>
          <p:cNvGrpSpPr/>
          <p:nvPr/>
        </p:nvGrpSpPr>
        <p:grpSpPr>
          <a:xfrm>
            <a:off x="6285592" y="3647215"/>
            <a:ext cx="261269" cy="270787"/>
            <a:chOff x="6285592" y="3647215"/>
            <a:chExt cx="261269" cy="270787"/>
          </a:xfrm>
          <a:noFill/>
        </p:grpSpPr>
        <p:sp>
          <p:nvSpPr>
            <p:cNvPr id="1609" name="Forma livre: Forma 1608">
              <a:extLst>
                <a:ext uri="{FF2B5EF4-FFF2-40B4-BE49-F238E27FC236}">
                  <a16:creationId xmlns:a16="http://schemas.microsoft.com/office/drawing/2014/main" id="{3E9BC4BF-4D73-CA38-5B50-764F5524B69E}"/>
                </a:ext>
              </a:extLst>
            </p:cNvPr>
            <p:cNvSpPr/>
            <p:nvPr/>
          </p:nvSpPr>
          <p:spPr>
            <a:xfrm>
              <a:off x="6285592" y="3647215"/>
              <a:ext cx="261269" cy="270787"/>
            </a:xfrm>
            <a:custGeom>
              <a:avLst/>
              <a:gdLst>
                <a:gd name="connsiteX0" fmla="*/ 0 w 261269"/>
                <a:gd name="connsiteY0" fmla="*/ 53078 h 270787"/>
                <a:gd name="connsiteX1" fmla="*/ 132008 w 261269"/>
                <a:gd name="connsiteY1" fmla="*/ 0 h 270787"/>
                <a:gd name="connsiteX2" fmla="*/ 261270 w 261269"/>
                <a:gd name="connsiteY2" fmla="*/ 47633 h 270787"/>
                <a:gd name="connsiteX3" fmla="*/ 261270 w 261269"/>
                <a:gd name="connsiteY3" fmla="*/ 194603 h 270787"/>
                <a:gd name="connsiteX4" fmla="*/ 138353 w 261269"/>
                <a:gd name="connsiteY4" fmla="*/ 270787 h 270787"/>
                <a:gd name="connsiteX5" fmla="*/ 0 w 261269"/>
                <a:gd name="connsiteY5" fmla="*/ 196166 h 270787"/>
                <a:gd name="connsiteX6" fmla="*/ 0 w 261269"/>
                <a:gd name="connsiteY6" fmla="*/ 53078 h 2707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61269" h="270787">
                  <a:moveTo>
                    <a:pt x="0" y="53078"/>
                  </a:moveTo>
                  <a:lnTo>
                    <a:pt x="132008" y="0"/>
                  </a:lnTo>
                  <a:lnTo>
                    <a:pt x="261270" y="47633"/>
                  </a:lnTo>
                  <a:lnTo>
                    <a:pt x="261270" y="194603"/>
                  </a:lnTo>
                  <a:lnTo>
                    <a:pt x="138353" y="270787"/>
                  </a:lnTo>
                  <a:lnTo>
                    <a:pt x="0" y="196166"/>
                  </a:lnTo>
                  <a:lnTo>
                    <a:pt x="0" y="53078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10" name="Forma livre: Forma 1609">
              <a:extLst>
                <a:ext uri="{FF2B5EF4-FFF2-40B4-BE49-F238E27FC236}">
                  <a16:creationId xmlns:a16="http://schemas.microsoft.com/office/drawing/2014/main" id="{72645286-FE98-FA45-743F-6B8BAEE21461}"/>
                </a:ext>
              </a:extLst>
            </p:cNvPr>
            <p:cNvSpPr/>
            <p:nvPr/>
          </p:nvSpPr>
          <p:spPr>
            <a:xfrm>
              <a:off x="6286160" y="3694848"/>
              <a:ext cx="260701" cy="63920"/>
            </a:xfrm>
            <a:custGeom>
              <a:avLst/>
              <a:gdLst>
                <a:gd name="connsiteX0" fmla="*/ 260702 w 260701"/>
                <a:gd name="connsiteY0" fmla="*/ 0 h 63920"/>
                <a:gd name="connsiteX1" fmla="*/ 138116 w 260701"/>
                <a:gd name="connsiteY1" fmla="*/ 63921 h 63920"/>
                <a:gd name="connsiteX2" fmla="*/ 0 w 260701"/>
                <a:gd name="connsiteY2" fmla="*/ 5777 h 639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60701" h="63920">
                  <a:moveTo>
                    <a:pt x="260702" y="0"/>
                  </a:moveTo>
                  <a:lnTo>
                    <a:pt x="138116" y="63921"/>
                  </a:lnTo>
                  <a:lnTo>
                    <a:pt x="0" y="5777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11" name="Forma livre: Forma 1610">
              <a:extLst>
                <a:ext uri="{FF2B5EF4-FFF2-40B4-BE49-F238E27FC236}">
                  <a16:creationId xmlns:a16="http://schemas.microsoft.com/office/drawing/2014/main" id="{E4DA3A20-8FCA-0F51-7CE1-4B55C09D9CC1}"/>
                </a:ext>
              </a:extLst>
            </p:cNvPr>
            <p:cNvSpPr/>
            <p:nvPr/>
          </p:nvSpPr>
          <p:spPr>
            <a:xfrm>
              <a:off x="6424181" y="3759242"/>
              <a:ext cx="4734" cy="157907"/>
            </a:xfrm>
            <a:custGeom>
              <a:avLst/>
              <a:gdLst>
                <a:gd name="connsiteX0" fmla="*/ 0 w 4734"/>
                <a:gd name="connsiteY0" fmla="*/ 0 h 157907"/>
                <a:gd name="connsiteX1" fmla="*/ 0 w 4734"/>
                <a:gd name="connsiteY1" fmla="*/ 157908 h 1579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734" h="157907">
                  <a:moveTo>
                    <a:pt x="0" y="0"/>
                  </a:moveTo>
                  <a:lnTo>
                    <a:pt x="0" y="157908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12" name="Forma livre: Forma 1611">
              <a:extLst>
                <a:ext uri="{FF2B5EF4-FFF2-40B4-BE49-F238E27FC236}">
                  <a16:creationId xmlns:a16="http://schemas.microsoft.com/office/drawing/2014/main" id="{CDBA78DD-201F-4169-7077-A5B8795F226E}"/>
                </a:ext>
              </a:extLst>
            </p:cNvPr>
            <p:cNvSpPr/>
            <p:nvPr/>
          </p:nvSpPr>
          <p:spPr>
            <a:xfrm>
              <a:off x="6355763" y="3672594"/>
              <a:ext cx="130256" cy="53930"/>
            </a:xfrm>
            <a:custGeom>
              <a:avLst/>
              <a:gdLst>
                <a:gd name="connsiteX0" fmla="*/ 0 w 130256"/>
                <a:gd name="connsiteY0" fmla="*/ 0 h 53930"/>
                <a:gd name="connsiteX1" fmla="*/ 130256 w 130256"/>
                <a:gd name="connsiteY1" fmla="*/ 53930 h 539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30256" h="53930">
                  <a:moveTo>
                    <a:pt x="0" y="0"/>
                  </a:moveTo>
                  <a:lnTo>
                    <a:pt x="130256" y="5393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13" name="Forma livre: Forma 1612">
              <a:extLst>
                <a:ext uri="{FF2B5EF4-FFF2-40B4-BE49-F238E27FC236}">
                  <a16:creationId xmlns:a16="http://schemas.microsoft.com/office/drawing/2014/main" id="{593A15C7-A142-93F4-8677-EB4063C5A910}"/>
                </a:ext>
              </a:extLst>
            </p:cNvPr>
            <p:cNvSpPr/>
            <p:nvPr/>
          </p:nvSpPr>
          <p:spPr>
            <a:xfrm>
              <a:off x="6486019" y="3727234"/>
              <a:ext cx="4734" cy="53740"/>
            </a:xfrm>
            <a:custGeom>
              <a:avLst/>
              <a:gdLst>
                <a:gd name="connsiteX0" fmla="*/ 0 w 4734"/>
                <a:gd name="connsiteY0" fmla="*/ 0 h 53740"/>
                <a:gd name="connsiteX1" fmla="*/ 0 w 4734"/>
                <a:gd name="connsiteY1" fmla="*/ 53741 h 537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734" h="53740">
                  <a:moveTo>
                    <a:pt x="0" y="0"/>
                  </a:moveTo>
                  <a:lnTo>
                    <a:pt x="0" y="53741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bevel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614" name="Gráfico 17">
            <a:extLst>
              <a:ext uri="{FF2B5EF4-FFF2-40B4-BE49-F238E27FC236}">
                <a16:creationId xmlns:a16="http://schemas.microsoft.com/office/drawing/2014/main" id="{583D8E11-3DD8-5E15-17F3-571A6F71C557}"/>
              </a:ext>
            </a:extLst>
          </p:cNvPr>
          <p:cNvGrpSpPr/>
          <p:nvPr/>
        </p:nvGrpSpPr>
        <p:grpSpPr>
          <a:xfrm>
            <a:off x="7497717" y="3690965"/>
            <a:ext cx="298533" cy="183286"/>
            <a:chOff x="7497717" y="3690965"/>
            <a:chExt cx="298533" cy="183286"/>
          </a:xfrm>
          <a:noFill/>
        </p:grpSpPr>
        <p:grpSp>
          <p:nvGrpSpPr>
            <p:cNvPr id="1615" name="Gráfico 17">
              <a:extLst>
                <a:ext uri="{FF2B5EF4-FFF2-40B4-BE49-F238E27FC236}">
                  <a16:creationId xmlns:a16="http://schemas.microsoft.com/office/drawing/2014/main" id="{73B8C6C1-9C9E-AF65-06AE-0ADFA86318EF}"/>
                </a:ext>
              </a:extLst>
            </p:cNvPr>
            <p:cNvGrpSpPr/>
            <p:nvPr/>
          </p:nvGrpSpPr>
          <p:grpSpPr>
            <a:xfrm>
              <a:off x="7597197" y="3748257"/>
              <a:ext cx="65435" cy="103125"/>
              <a:chOff x="7597197" y="3748257"/>
              <a:chExt cx="65435" cy="103125"/>
            </a:xfrm>
            <a:noFill/>
          </p:grpSpPr>
          <p:sp>
            <p:nvSpPr>
              <p:cNvPr id="1616" name="Forma livre: Forma 1615">
                <a:extLst>
                  <a:ext uri="{FF2B5EF4-FFF2-40B4-BE49-F238E27FC236}">
                    <a16:creationId xmlns:a16="http://schemas.microsoft.com/office/drawing/2014/main" id="{EA58C740-56E6-8C4F-546B-95F9B1055C64}"/>
                  </a:ext>
                </a:extLst>
              </p:cNvPr>
              <p:cNvSpPr/>
              <p:nvPr/>
            </p:nvSpPr>
            <p:spPr>
              <a:xfrm>
                <a:off x="7597197" y="3766676"/>
                <a:ext cx="64488" cy="33002"/>
              </a:xfrm>
              <a:custGeom>
                <a:avLst/>
                <a:gdLst>
                  <a:gd name="connsiteX0" fmla="*/ 32718 w 64488"/>
                  <a:gd name="connsiteY0" fmla="*/ 33002 h 33002"/>
                  <a:gd name="connsiteX1" fmla="*/ 0 w 64488"/>
                  <a:gd name="connsiteY1" fmla="*/ 16525 h 33002"/>
                  <a:gd name="connsiteX2" fmla="*/ 32718 w 64488"/>
                  <a:gd name="connsiteY2" fmla="*/ 0 h 33002"/>
                  <a:gd name="connsiteX3" fmla="*/ 64489 w 64488"/>
                  <a:gd name="connsiteY3" fmla="*/ 12500 h 330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4488" h="33002">
                    <a:moveTo>
                      <a:pt x="32718" y="33002"/>
                    </a:moveTo>
                    <a:cubicBezTo>
                      <a:pt x="14678" y="33002"/>
                      <a:pt x="0" y="25616"/>
                      <a:pt x="0" y="16525"/>
                    </a:cubicBezTo>
                    <a:cubicBezTo>
                      <a:pt x="0" y="7434"/>
                      <a:pt x="14631" y="0"/>
                      <a:pt x="32718" y="0"/>
                    </a:cubicBezTo>
                    <a:cubicBezTo>
                      <a:pt x="48059" y="0"/>
                      <a:pt x="60890" y="5303"/>
                      <a:pt x="64489" y="12500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617" name="Forma livre: Forma 1616">
                <a:extLst>
                  <a:ext uri="{FF2B5EF4-FFF2-40B4-BE49-F238E27FC236}">
                    <a16:creationId xmlns:a16="http://schemas.microsoft.com/office/drawing/2014/main" id="{20EE2A52-0E8E-8148-D0EC-C1D1DA397C05}"/>
                  </a:ext>
                </a:extLst>
              </p:cNvPr>
              <p:cNvSpPr/>
              <p:nvPr/>
            </p:nvSpPr>
            <p:spPr>
              <a:xfrm>
                <a:off x="7597670" y="3799725"/>
                <a:ext cx="64962" cy="32954"/>
              </a:xfrm>
              <a:custGeom>
                <a:avLst/>
                <a:gdLst>
                  <a:gd name="connsiteX0" fmla="*/ 32244 w 64962"/>
                  <a:gd name="connsiteY0" fmla="*/ 0 h 32954"/>
                  <a:gd name="connsiteX1" fmla="*/ 64962 w 64962"/>
                  <a:gd name="connsiteY1" fmla="*/ 16477 h 32954"/>
                  <a:gd name="connsiteX2" fmla="*/ 32244 w 64962"/>
                  <a:gd name="connsiteY2" fmla="*/ 32955 h 32954"/>
                  <a:gd name="connsiteX3" fmla="*/ 0 w 64962"/>
                  <a:gd name="connsiteY3" fmla="*/ 19271 h 329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4962" h="32954">
                    <a:moveTo>
                      <a:pt x="32244" y="0"/>
                    </a:moveTo>
                    <a:cubicBezTo>
                      <a:pt x="50332" y="0"/>
                      <a:pt x="64962" y="7386"/>
                      <a:pt x="64962" y="16477"/>
                    </a:cubicBezTo>
                    <a:cubicBezTo>
                      <a:pt x="64962" y="25568"/>
                      <a:pt x="50332" y="32955"/>
                      <a:pt x="32244" y="32955"/>
                    </a:cubicBezTo>
                    <a:cubicBezTo>
                      <a:pt x="16099" y="32955"/>
                      <a:pt x="2652" y="27036"/>
                      <a:pt x="0" y="19271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618" name="Forma livre: Forma 1617">
                <a:extLst>
                  <a:ext uri="{FF2B5EF4-FFF2-40B4-BE49-F238E27FC236}">
                    <a16:creationId xmlns:a16="http://schemas.microsoft.com/office/drawing/2014/main" id="{58797DBA-7730-2CA0-E03E-4AE646DBDF8E}"/>
                  </a:ext>
                </a:extLst>
              </p:cNvPr>
              <p:cNvSpPr/>
              <p:nvPr/>
            </p:nvSpPr>
            <p:spPr>
              <a:xfrm>
                <a:off x="7630388" y="3748257"/>
                <a:ext cx="4734" cy="103125"/>
              </a:xfrm>
              <a:custGeom>
                <a:avLst/>
                <a:gdLst>
                  <a:gd name="connsiteX0" fmla="*/ 0 w 4734"/>
                  <a:gd name="connsiteY0" fmla="*/ 0 h 103125"/>
                  <a:gd name="connsiteX1" fmla="*/ 0 w 4734"/>
                  <a:gd name="connsiteY1" fmla="*/ 103125 h 1031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34" h="103125">
                    <a:moveTo>
                      <a:pt x="0" y="0"/>
                    </a:moveTo>
                    <a:lnTo>
                      <a:pt x="0" y="103125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619" name="Forma livre: Forma 1618">
              <a:extLst>
                <a:ext uri="{FF2B5EF4-FFF2-40B4-BE49-F238E27FC236}">
                  <a16:creationId xmlns:a16="http://schemas.microsoft.com/office/drawing/2014/main" id="{49B2F2B5-9D1D-9DED-7F7B-3CD751C63B20}"/>
                </a:ext>
              </a:extLst>
            </p:cNvPr>
            <p:cNvSpPr/>
            <p:nvPr/>
          </p:nvSpPr>
          <p:spPr>
            <a:xfrm>
              <a:off x="7497717" y="3724204"/>
              <a:ext cx="264489" cy="150047"/>
            </a:xfrm>
            <a:custGeom>
              <a:avLst/>
              <a:gdLst>
                <a:gd name="connsiteX0" fmla="*/ 0 w 264489"/>
                <a:gd name="connsiteY0" fmla="*/ 0 h 150047"/>
                <a:gd name="connsiteX1" fmla="*/ 264490 w 264489"/>
                <a:gd name="connsiteY1" fmla="*/ 0 h 150047"/>
                <a:gd name="connsiteX2" fmla="*/ 264490 w 264489"/>
                <a:gd name="connsiteY2" fmla="*/ 150048 h 150047"/>
                <a:gd name="connsiteX3" fmla="*/ 0 w 264489"/>
                <a:gd name="connsiteY3" fmla="*/ 150048 h 1500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64489" h="150047">
                  <a:moveTo>
                    <a:pt x="0" y="0"/>
                  </a:moveTo>
                  <a:lnTo>
                    <a:pt x="264490" y="0"/>
                  </a:lnTo>
                  <a:lnTo>
                    <a:pt x="264490" y="150048"/>
                  </a:lnTo>
                  <a:lnTo>
                    <a:pt x="0" y="150048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20" name="Forma livre: Forma 1619">
              <a:extLst>
                <a:ext uri="{FF2B5EF4-FFF2-40B4-BE49-F238E27FC236}">
                  <a16:creationId xmlns:a16="http://schemas.microsoft.com/office/drawing/2014/main" id="{91CE7CD2-3923-B2F6-87F0-AA18CC67F41D}"/>
                </a:ext>
              </a:extLst>
            </p:cNvPr>
            <p:cNvSpPr/>
            <p:nvPr/>
          </p:nvSpPr>
          <p:spPr>
            <a:xfrm>
              <a:off x="7523617" y="3690965"/>
              <a:ext cx="272633" cy="158381"/>
            </a:xfrm>
            <a:custGeom>
              <a:avLst/>
              <a:gdLst>
                <a:gd name="connsiteX0" fmla="*/ 0 w 272633"/>
                <a:gd name="connsiteY0" fmla="*/ 0 h 158381"/>
                <a:gd name="connsiteX1" fmla="*/ 272633 w 272633"/>
                <a:gd name="connsiteY1" fmla="*/ 0 h 158381"/>
                <a:gd name="connsiteX2" fmla="*/ 272633 w 272633"/>
                <a:gd name="connsiteY2" fmla="*/ 158381 h 1583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72633" h="158381">
                  <a:moveTo>
                    <a:pt x="0" y="0"/>
                  </a:moveTo>
                  <a:lnTo>
                    <a:pt x="272633" y="0"/>
                  </a:lnTo>
                  <a:lnTo>
                    <a:pt x="272633" y="158381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621" name="Gráfico 17">
            <a:extLst>
              <a:ext uri="{FF2B5EF4-FFF2-40B4-BE49-F238E27FC236}">
                <a16:creationId xmlns:a16="http://schemas.microsoft.com/office/drawing/2014/main" id="{2FFFC805-3A82-5E77-7A3C-419FFDD03F1E}"/>
              </a:ext>
            </a:extLst>
          </p:cNvPr>
          <p:cNvGrpSpPr/>
          <p:nvPr/>
        </p:nvGrpSpPr>
        <p:grpSpPr>
          <a:xfrm>
            <a:off x="6873213" y="3662888"/>
            <a:ext cx="316809" cy="239394"/>
            <a:chOff x="6873213" y="3662888"/>
            <a:chExt cx="316809" cy="239394"/>
          </a:xfrm>
          <a:noFill/>
        </p:grpSpPr>
        <p:sp>
          <p:nvSpPr>
            <p:cNvPr id="1622" name="Forma livre: Forma 1621">
              <a:extLst>
                <a:ext uri="{FF2B5EF4-FFF2-40B4-BE49-F238E27FC236}">
                  <a16:creationId xmlns:a16="http://schemas.microsoft.com/office/drawing/2014/main" id="{52F0FB10-E658-550D-44B2-BD97C10BD29F}"/>
                </a:ext>
              </a:extLst>
            </p:cNvPr>
            <p:cNvSpPr/>
            <p:nvPr/>
          </p:nvSpPr>
          <p:spPr>
            <a:xfrm>
              <a:off x="7065188" y="3796790"/>
              <a:ext cx="55208" cy="55255"/>
            </a:xfrm>
            <a:custGeom>
              <a:avLst/>
              <a:gdLst>
                <a:gd name="connsiteX0" fmla="*/ 0 w 55208"/>
                <a:gd name="connsiteY0" fmla="*/ 55256 h 55255"/>
                <a:gd name="connsiteX1" fmla="*/ 55209 w 55208"/>
                <a:gd name="connsiteY1" fmla="*/ 0 h 552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5208" h="55255">
                  <a:moveTo>
                    <a:pt x="0" y="55256"/>
                  </a:moveTo>
                  <a:lnTo>
                    <a:pt x="55209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23" name="Forma livre: Forma 1622">
              <a:extLst>
                <a:ext uri="{FF2B5EF4-FFF2-40B4-BE49-F238E27FC236}">
                  <a16:creationId xmlns:a16="http://schemas.microsoft.com/office/drawing/2014/main" id="{49B44D86-B323-D169-0400-B0F7EDEB1F4A}"/>
                </a:ext>
              </a:extLst>
            </p:cNvPr>
            <p:cNvSpPr/>
            <p:nvPr/>
          </p:nvSpPr>
          <p:spPr>
            <a:xfrm>
              <a:off x="7101315" y="3829271"/>
              <a:ext cx="22916" cy="22774"/>
            </a:xfrm>
            <a:custGeom>
              <a:avLst/>
              <a:gdLst>
                <a:gd name="connsiteX0" fmla="*/ 0 w 22916"/>
                <a:gd name="connsiteY0" fmla="*/ 22775 h 22774"/>
                <a:gd name="connsiteX1" fmla="*/ 22917 w 22916"/>
                <a:gd name="connsiteY1" fmla="*/ 0 h 227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2916" h="22774">
                  <a:moveTo>
                    <a:pt x="0" y="22775"/>
                  </a:moveTo>
                  <a:lnTo>
                    <a:pt x="22917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24" name="Forma livre: Forma 1623">
              <a:extLst>
                <a:ext uri="{FF2B5EF4-FFF2-40B4-BE49-F238E27FC236}">
                  <a16:creationId xmlns:a16="http://schemas.microsoft.com/office/drawing/2014/main" id="{332C83E1-5650-98E9-8996-886AA0818270}"/>
                </a:ext>
              </a:extLst>
            </p:cNvPr>
            <p:cNvSpPr/>
            <p:nvPr/>
          </p:nvSpPr>
          <p:spPr>
            <a:xfrm>
              <a:off x="6896626" y="3765871"/>
              <a:ext cx="269934" cy="136411"/>
            </a:xfrm>
            <a:custGeom>
              <a:avLst/>
              <a:gdLst>
                <a:gd name="connsiteX0" fmla="*/ 269935 w 269934"/>
                <a:gd name="connsiteY0" fmla="*/ 0 h 136411"/>
                <a:gd name="connsiteX1" fmla="*/ 269935 w 269934"/>
                <a:gd name="connsiteY1" fmla="*/ 136412 h 136411"/>
                <a:gd name="connsiteX2" fmla="*/ 0 w 269934"/>
                <a:gd name="connsiteY2" fmla="*/ 136412 h 136411"/>
                <a:gd name="connsiteX3" fmla="*/ 0 w 269934"/>
                <a:gd name="connsiteY3" fmla="*/ 0 h 1364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69934" h="136411">
                  <a:moveTo>
                    <a:pt x="269935" y="0"/>
                  </a:moveTo>
                  <a:lnTo>
                    <a:pt x="269935" y="136412"/>
                  </a:lnTo>
                  <a:lnTo>
                    <a:pt x="0" y="136412"/>
                  </a:lnTo>
                  <a:lnTo>
                    <a:pt x="0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25" name="Forma livre: Forma 1624">
              <a:extLst>
                <a:ext uri="{FF2B5EF4-FFF2-40B4-BE49-F238E27FC236}">
                  <a16:creationId xmlns:a16="http://schemas.microsoft.com/office/drawing/2014/main" id="{E63C4666-E45F-825D-833E-523F9A878A73}"/>
                </a:ext>
              </a:extLst>
            </p:cNvPr>
            <p:cNvSpPr/>
            <p:nvPr/>
          </p:nvSpPr>
          <p:spPr>
            <a:xfrm>
              <a:off x="6900130" y="3662888"/>
              <a:ext cx="263021" cy="4734"/>
            </a:xfrm>
            <a:custGeom>
              <a:avLst/>
              <a:gdLst>
                <a:gd name="connsiteX0" fmla="*/ 0 w 263021"/>
                <a:gd name="connsiteY0" fmla="*/ 0 h 4734"/>
                <a:gd name="connsiteX1" fmla="*/ 263022 w 263021"/>
                <a:gd name="connsiteY1" fmla="*/ 0 h 47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63021" h="4734">
                  <a:moveTo>
                    <a:pt x="0" y="0"/>
                  </a:moveTo>
                  <a:lnTo>
                    <a:pt x="263022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26" name="Forma livre: Forma 1625">
              <a:extLst>
                <a:ext uri="{FF2B5EF4-FFF2-40B4-BE49-F238E27FC236}">
                  <a16:creationId xmlns:a16="http://schemas.microsoft.com/office/drawing/2014/main" id="{8E31D2D7-5D48-0423-8F4A-96EC20EEADC1}"/>
                </a:ext>
              </a:extLst>
            </p:cNvPr>
            <p:cNvSpPr/>
            <p:nvPr/>
          </p:nvSpPr>
          <p:spPr>
            <a:xfrm>
              <a:off x="6981617" y="3765871"/>
              <a:ext cx="4734" cy="136032"/>
            </a:xfrm>
            <a:custGeom>
              <a:avLst/>
              <a:gdLst>
                <a:gd name="connsiteX0" fmla="*/ 0 w 4734"/>
                <a:gd name="connsiteY0" fmla="*/ 0 h 136032"/>
                <a:gd name="connsiteX1" fmla="*/ 0 w 4734"/>
                <a:gd name="connsiteY1" fmla="*/ 136033 h 1360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734" h="136032">
                  <a:moveTo>
                    <a:pt x="0" y="0"/>
                  </a:moveTo>
                  <a:lnTo>
                    <a:pt x="0" y="136033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27" name="Forma livre: Forma 1626">
              <a:extLst>
                <a:ext uri="{FF2B5EF4-FFF2-40B4-BE49-F238E27FC236}">
                  <a16:creationId xmlns:a16="http://schemas.microsoft.com/office/drawing/2014/main" id="{B25031FA-2C4C-E66A-A9AA-1B55C092C3CD}"/>
                </a:ext>
              </a:extLst>
            </p:cNvPr>
            <p:cNvSpPr/>
            <p:nvPr/>
          </p:nvSpPr>
          <p:spPr>
            <a:xfrm>
              <a:off x="6952545" y="3810000"/>
              <a:ext cx="4734" cy="18418"/>
            </a:xfrm>
            <a:custGeom>
              <a:avLst/>
              <a:gdLst>
                <a:gd name="connsiteX0" fmla="*/ 0 w 4734"/>
                <a:gd name="connsiteY0" fmla="*/ 0 h 18418"/>
                <a:gd name="connsiteX1" fmla="*/ 0 w 4734"/>
                <a:gd name="connsiteY1" fmla="*/ 18419 h 184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734" h="18418">
                  <a:moveTo>
                    <a:pt x="0" y="0"/>
                  </a:moveTo>
                  <a:lnTo>
                    <a:pt x="0" y="18419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628" name="Gráfico 17">
              <a:extLst>
                <a:ext uri="{FF2B5EF4-FFF2-40B4-BE49-F238E27FC236}">
                  <a16:creationId xmlns:a16="http://schemas.microsoft.com/office/drawing/2014/main" id="{8E0CA0C5-93F0-CE51-DB02-6BC814A85F8C}"/>
                </a:ext>
              </a:extLst>
            </p:cNvPr>
            <p:cNvGrpSpPr/>
            <p:nvPr/>
          </p:nvGrpSpPr>
          <p:grpSpPr>
            <a:xfrm>
              <a:off x="6873213" y="3663551"/>
              <a:ext cx="316809" cy="80350"/>
              <a:chOff x="6873213" y="3663551"/>
              <a:chExt cx="316809" cy="80350"/>
            </a:xfrm>
            <a:noFill/>
          </p:grpSpPr>
          <p:sp>
            <p:nvSpPr>
              <p:cNvPr id="1629" name="Forma livre: Forma 1628">
                <a:extLst>
                  <a:ext uri="{FF2B5EF4-FFF2-40B4-BE49-F238E27FC236}">
                    <a16:creationId xmlns:a16="http://schemas.microsoft.com/office/drawing/2014/main" id="{17F1F141-49EA-A1B9-2C4C-4F94B5D8CC01}"/>
                  </a:ext>
                </a:extLst>
              </p:cNvPr>
              <p:cNvSpPr/>
              <p:nvPr/>
            </p:nvSpPr>
            <p:spPr>
              <a:xfrm>
                <a:off x="7000771" y="3665255"/>
                <a:ext cx="61684" cy="78646"/>
              </a:xfrm>
              <a:custGeom>
                <a:avLst/>
                <a:gdLst>
                  <a:gd name="connsiteX0" fmla="*/ 57930 w 61684"/>
                  <a:gd name="connsiteY0" fmla="*/ 0 h 78646"/>
                  <a:gd name="connsiteX1" fmla="*/ 61575 w 61684"/>
                  <a:gd name="connsiteY1" fmla="*/ 46118 h 78646"/>
                  <a:gd name="connsiteX2" fmla="*/ 31604 w 61684"/>
                  <a:gd name="connsiteY2" fmla="*/ 78646 h 78646"/>
                  <a:gd name="connsiteX3" fmla="*/ 29947 w 61684"/>
                  <a:gd name="connsiteY3" fmla="*/ 78646 h 78646"/>
                  <a:gd name="connsiteX4" fmla="*/ 117 w 61684"/>
                  <a:gd name="connsiteY4" fmla="*/ 46165 h 78646"/>
                  <a:gd name="connsiteX5" fmla="*/ 3999 w 61684"/>
                  <a:gd name="connsiteY5" fmla="*/ 47 h 786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61684" h="78646">
                    <a:moveTo>
                      <a:pt x="57930" y="0"/>
                    </a:moveTo>
                    <a:lnTo>
                      <a:pt x="61575" y="46118"/>
                    </a:lnTo>
                    <a:cubicBezTo>
                      <a:pt x="63043" y="64015"/>
                      <a:pt x="49549" y="78646"/>
                      <a:pt x="31604" y="78646"/>
                    </a:cubicBezTo>
                    <a:lnTo>
                      <a:pt x="29947" y="78646"/>
                    </a:lnTo>
                    <a:cubicBezTo>
                      <a:pt x="12001" y="78646"/>
                      <a:pt x="-1398" y="64015"/>
                      <a:pt x="117" y="46165"/>
                    </a:cubicBezTo>
                    <a:lnTo>
                      <a:pt x="3999" y="47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630" name="Forma livre: Forma 1629">
                <a:extLst>
                  <a:ext uri="{FF2B5EF4-FFF2-40B4-BE49-F238E27FC236}">
                    <a16:creationId xmlns:a16="http://schemas.microsoft.com/office/drawing/2014/main" id="{600833B2-A1A3-9CC9-BCD0-8EDA93AF21B2}"/>
                  </a:ext>
                </a:extLst>
              </p:cNvPr>
              <p:cNvSpPr/>
              <p:nvPr/>
            </p:nvSpPr>
            <p:spPr>
              <a:xfrm>
                <a:off x="6937551" y="3665208"/>
                <a:ext cx="63147" cy="78646"/>
              </a:xfrm>
              <a:custGeom>
                <a:avLst/>
                <a:gdLst>
                  <a:gd name="connsiteX0" fmla="*/ 63148 w 63147"/>
                  <a:gd name="connsiteY0" fmla="*/ 46165 h 78646"/>
                  <a:gd name="connsiteX1" fmla="*/ 27636 w 63147"/>
                  <a:gd name="connsiteY1" fmla="*/ 78646 h 78646"/>
                  <a:gd name="connsiteX2" fmla="*/ 25411 w 63147"/>
                  <a:gd name="connsiteY2" fmla="*/ 78646 h 78646"/>
                  <a:gd name="connsiteX3" fmla="*/ 1026 w 63147"/>
                  <a:gd name="connsiteY3" fmla="*/ 47065 h 78646"/>
                  <a:gd name="connsiteX4" fmla="*/ 13290 w 63147"/>
                  <a:gd name="connsiteY4" fmla="*/ 0 h 786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3147" h="78646">
                    <a:moveTo>
                      <a:pt x="63148" y="46165"/>
                    </a:moveTo>
                    <a:cubicBezTo>
                      <a:pt x="61585" y="64063"/>
                      <a:pt x="45582" y="78646"/>
                      <a:pt x="27636" y="78646"/>
                    </a:cubicBezTo>
                    <a:lnTo>
                      <a:pt x="25411" y="78646"/>
                    </a:lnTo>
                    <a:cubicBezTo>
                      <a:pt x="7466" y="78646"/>
                      <a:pt x="-3519" y="64442"/>
                      <a:pt x="1026" y="47065"/>
                    </a:cubicBezTo>
                    <a:lnTo>
                      <a:pt x="13290" y="0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631" name="Forma livre: Forma 1630">
                <a:extLst>
                  <a:ext uri="{FF2B5EF4-FFF2-40B4-BE49-F238E27FC236}">
                    <a16:creationId xmlns:a16="http://schemas.microsoft.com/office/drawing/2014/main" id="{4828502A-EA12-7CDC-85C2-3643A1378BD0}"/>
                  </a:ext>
                </a:extLst>
              </p:cNvPr>
              <p:cNvSpPr/>
              <p:nvPr/>
            </p:nvSpPr>
            <p:spPr>
              <a:xfrm>
                <a:off x="6873213" y="3663551"/>
                <a:ext cx="65222" cy="80303"/>
              </a:xfrm>
              <a:custGeom>
                <a:avLst/>
                <a:gdLst>
                  <a:gd name="connsiteX0" fmla="*/ 65222 w 65222"/>
                  <a:gd name="connsiteY0" fmla="*/ 48769 h 80303"/>
                  <a:gd name="connsiteX1" fmla="*/ 24313 w 65222"/>
                  <a:gd name="connsiteY1" fmla="*/ 80303 h 80303"/>
                  <a:gd name="connsiteX2" fmla="*/ 22088 w 65222"/>
                  <a:gd name="connsiteY2" fmla="*/ 80303 h 80303"/>
                  <a:gd name="connsiteX3" fmla="*/ 2485 w 65222"/>
                  <a:gd name="connsiteY3" fmla="*/ 50379 h 80303"/>
                  <a:gd name="connsiteX4" fmla="*/ 26539 w 65222"/>
                  <a:gd name="connsiteY4" fmla="*/ 0 h 803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5222" h="80303">
                    <a:moveTo>
                      <a:pt x="65222" y="48769"/>
                    </a:moveTo>
                    <a:cubicBezTo>
                      <a:pt x="60677" y="66099"/>
                      <a:pt x="42258" y="80303"/>
                      <a:pt x="24313" y="80303"/>
                    </a:cubicBezTo>
                    <a:lnTo>
                      <a:pt x="22088" y="80303"/>
                    </a:lnTo>
                    <a:cubicBezTo>
                      <a:pt x="4143" y="80303"/>
                      <a:pt x="-4664" y="66856"/>
                      <a:pt x="2485" y="50379"/>
                    </a:cubicBezTo>
                    <a:lnTo>
                      <a:pt x="26539" y="0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632" name="Forma livre: Forma 1631">
                <a:extLst>
                  <a:ext uri="{FF2B5EF4-FFF2-40B4-BE49-F238E27FC236}">
                    <a16:creationId xmlns:a16="http://schemas.microsoft.com/office/drawing/2014/main" id="{F8A9FA0D-2E3A-383E-7005-FD9BF24073D3}"/>
                  </a:ext>
                </a:extLst>
              </p:cNvPr>
              <p:cNvSpPr/>
              <p:nvPr/>
            </p:nvSpPr>
            <p:spPr>
              <a:xfrm>
                <a:off x="7062489" y="3665208"/>
                <a:ext cx="63147" cy="78646"/>
              </a:xfrm>
              <a:custGeom>
                <a:avLst/>
                <a:gdLst>
                  <a:gd name="connsiteX0" fmla="*/ 0 w 63147"/>
                  <a:gd name="connsiteY0" fmla="*/ 46165 h 78646"/>
                  <a:gd name="connsiteX1" fmla="*/ 35511 w 63147"/>
                  <a:gd name="connsiteY1" fmla="*/ 78646 h 78646"/>
                  <a:gd name="connsiteX2" fmla="*/ 37737 w 63147"/>
                  <a:gd name="connsiteY2" fmla="*/ 78646 h 78646"/>
                  <a:gd name="connsiteX3" fmla="*/ 62121 w 63147"/>
                  <a:gd name="connsiteY3" fmla="*/ 47065 h 78646"/>
                  <a:gd name="connsiteX4" fmla="*/ 49858 w 63147"/>
                  <a:gd name="connsiteY4" fmla="*/ 0 h 786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3147" h="78646">
                    <a:moveTo>
                      <a:pt x="0" y="46165"/>
                    </a:moveTo>
                    <a:cubicBezTo>
                      <a:pt x="1563" y="64063"/>
                      <a:pt x="17566" y="78646"/>
                      <a:pt x="35511" y="78646"/>
                    </a:cubicBezTo>
                    <a:lnTo>
                      <a:pt x="37737" y="78646"/>
                    </a:lnTo>
                    <a:cubicBezTo>
                      <a:pt x="55682" y="78646"/>
                      <a:pt x="66667" y="64442"/>
                      <a:pt x="62121" y="47065"/>
                    </a:cubicBezTo>
                    <a:lnTo>
                      <a:pt x="49858" y="0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633" name="Forma livre: Forma 1632">
                <a:extLst>
                  <a:ext uri="{FF2B5EF4-FFF2-40B4-BE49-F238E27FC236}">
                    <a16:creationId xmlns:a16="http://schemas.microsoft.com/office/drawing/2014/main" id="{50B99004-6FE3-B960-1BB6-A97C04BB899D}"/>
                  </a:ext>
                </a:extLst>
              </p:cNvPr>
              <p:cNvSpPr/>
              <p:nvPr/>
            </p:nvSpPr>
            <p:spPr>
              <a:xfrm>
                <a:off x="7124799" y="3663551"/>
                <a:ext cx="65222" cy="80303"/>
              </a:xfrm>
              <a:custGeom>
                <a:avLst/>
                <a:gdLst>
                  <a:gd name="connsiteX0" fmla="*/ 0 w 65222"/>
                  <a:gd name="connsiteY0" fmla="*/ 48769 h 80303"/>
                  <a:gd name="connsiteX1" fmla="*/ 40909 w 65222"/>
                  <a:gd name="connsiteY1" fmla="*/ 80303 h 80303"/>
                  <a:gd name="connsiteX2" fmla="*/ 43135 w 65222"/>
                  <a:gd name="connsiteY2" fmla="*/ 80303 h 80303"/>
                  <a:gd name="connsiteX3" fmla="*/ 62737 w 65222"/>
                  <a:gd name="connsiteY3" fmla="*/ 50379 h 80303"/>
                  <a:gd name="connsiteX4" fmla="*/ 38684 w 65222"/>
                  <a:gd name="connsiteY4" fmla="*/ 0 h 803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5222" h="80303">
                    <a:moveTo>
                      <a:pt x="0" y="48769"/>
                    </a:moveTo>
                    <a:cubicBezTo>
                      <a:pt x="4546" y="66099"/>
                      <a:pt x="22964" y="80303"/>
                      <a:pt x="40909" y="80303"/>
                    </a:cubicBezTo>
                    <a:lnTo>
                      <a:pt x="43135" y="80303"/>
                    </a:lnTo>
                    <a:cubicBezTo>
                      <a:pt x="61080" y="80303"/>
                      <a:pt x="69887" y="66856"/>
                      <a:pt x="62737" y="50379"/>
                    </a:cubicBezTo>
                    <a:lnTo>
                      <a:pt x="38684" y="0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635" name="Gráfico 18">
            <a:extLst>
              <a:ext uri="{FF2B5EF4-FFF2-40B4-BE49-F238E27FC236}">
                <a16:creationId xmlns:a16="http://schemas.microsoft.com/office/drawing/2014/main" id="{764F89D3-FDB2-7884-841F-2664FCAD0EAE}"/>
              </a:ext>
            </a:extLst>
          </p:cNvPr>
          <p:cNvGrpSpPr/>
          <p:nvPr/>
        </p:nvGrpSpPr>
        <p:grpSpPr>
          <a:xfrm>
            <a:off x="11022904" y="4745194"/>
            <a:ext cx="374007" cy="222102"/>
            <a:chOff x="11022904" y="4745194"/>
            <a:chExt cx="374007" cy="222102"/>
          </a:xfrm>
          <a:noFill/>
        </p:grpSpPr>
        <p:sp>
          <p:nvSpPr>
            <p:cNvPr id="1636" name="Forma livre: Forma 1635">
              <a:extLst>
                <a:ext uri="{FF2B5EF4-FFF2-40B4-BE49-F238E27FC236}">
                  <a16:creationId xmlns:a16="http://schemas.microsoft.com/office/drawing/2014/main" id="{B67189B5-6BEC-68EE-D4A4-C04FD734D049}"/>
                </a:ext>
              </a:extLst>
            </p:cNvPr>
            <p:cNvSpPr/>
            <p:nvPr/>
          </p:nvSpPr>
          <p:spPr>
            <a:xfrm>
              <a:off x="11022904" y="4777523"/>
              <a:ext cx="49195" cy="11316"/>
            </a:xfrm>
            <a:custGeom>
              <a:avLst/>
              <a:gdLst>
                <a:gd name="connsiteX0" fmla="*/ 49195 w 49195"/>
                <a:gd name="connsiteY0" fmla="*/ 0 h 11316"/>
                <a:gd name="connsiteX1" fmla="*/ 0 w 49195"/>
                <a:gd name="connsiteY1" fmla="*/ 11316 h 113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9195" h="11316">
                  <a:moveTo>
                    <a:pt x="49195" y="0"/>
                  </a:moveTo>
                  <a:cubicBezTo>
                    <a:pt x="49195" y="0"/>
                    <a:pt x="24953" y="568"/>
                    <a:pt x="0" y="11316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37" name="Forma livre: Forma 1636">
              <a:extLst>
                <a:ext uri="{FF2B5EF4-FFF2-40B4-BE49-F238E27FC236}">
                  <a16:creationId xmlns:a16="http://schemas.microsoft.com/office/drawing/2014/main" id="{E1A3AA02-A4C6-D0BF-7E57-9C4AF3DE8953}"/>
                </a:ext>
              </a:extLst>
            </p:cNvPr>
            <p:cNvSpPr/>
            <p:nvPr/>
          </p:nvSpPr>
          <p:spPr>
            <a:xfrm>
              <a:off x="11224704" y="4899304"/>
              <a:ext cx="4734" cy="15719"/>
            </a:xfrm>
            <a:custGeom>
              <a:avLst/>
              <a:gdLst>
                <a:gd name="connsiteX0" fmla="*/ 0 w 4734"/>
                <a:gd name="connsiteY0" fmla="*/ 0 h 15719"/>
                <a:gd name="connsiteX1" fmla="*/ 0 w 4734"/>
                <a:gd name="connsiteY1" fmla="*/ 15720 h 157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734" h="15719">
                  <a:moveTo>
                    <a:pt x="0" y="0"/>
                  </a:moveTo>
                  <a:lnTo>
                    <a:pt x="0" y="1572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38" name="Forma livre: Forma 1637">
              <a:extLst>
                <a:ext uri="{FF2B5EF4-FFF2-40B4-BE49-F238E27FC236}">
                  <a16:creationId xmlns:a16="http://schemas.microsoft.com/office/drawing/2014/main" id="{A83279AF-15C6-3FF3-0D5B-1B0D003AE12F}"/>
                </a:ext>
              </a:extLst>
            </p:cNvPr>
            <p:cNvSpPr/>
            <p:nvPr/>
          </p:nvSpPr>
          <p:spPr>
            <a:xfrm>
              <a:off x="11249183" y="4899304"/>
              <a:ext cx="4734" cy="15719"/>
            </a:xfrm>
            <a:custGeom>
              <a:avLst/>
              <a:gdLst>
                <a:gd name="connsiteX0" fmla="*/ 0 w 4734"/>
                <a:gd name="connsiteY0" fmla="*/ 0 h 15719"/>
                <a:gd name="connsiteX1" fmla="*/ 0 w 4734"/>
                <a:gd name="connsiteY1" fmla="*/ 15720 h 157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734" h="15719">
                  <a:moveTo>
                    <a:pt x="0" y="0"/>
                  </a:moveTo>
                  <a:lnTo>
                    <a:pt x="0" y="1572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39" name="Forma livre: Forma 1638">
              <a:extLst>
                <a:ext uri="{FF2B5EF4-FFF2-40B4-BE49-F238E27FC236}">
                  <a16:creationId xmlns:a16="http://schemas.microsoft.com/office/drawing/2014/main" id="{0044D217-3C31-B25D-B39A-3254A71D37EB}"/>
                </a:ext>
              </a:extLst>
            </p:cNvPr>
            <p:cNvSpPr/>
            <p:nvPr/>
          </p:nvSpPr>
          <p:spPr>
            <a:xfrm>
              <a:off x="11275698" y="4899304"/>
              <a:ext cx="4734" cy="15719"/>
            </a:xfrm>
            <a:custGeom>
              <a:avLst/>
              <a:gdLst>
                <a:gd name="connsiteX0" fmla="*/ 0 w 4734"/>
                <a:gd name="connsiteY0" fmla="*/ 0 h 15719"/>
                <a:gd name="connsiteX1" fmla="*/ 0 w 4734"/>
                <a:gd name="connsiteY1" fmla="*/ 15720 h 157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734" h="15719">
                  <a:moveTo>
                    <a:pt x="0" y="0"/>
                  </a:moveTo>
                  <a:lnTo>
                    <a:pt x="0" y="1572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40" name="Forma livre: Forma 1639">
              <a:extLst>
                <a:ext uri="{FF2B5EF4-FFF2-40B4-BE49-F238E27FC236}">
                  <a16:creationId xmlns:a16="http://schemas.microsoft.com/office/drawing/2014/main" id="{41214A60-7B1F-BEAE-484A-902961384FF8}"/>
                </a:ext>
              </a:extLst>
            </p:cNvPr>
            <p:cNvSpPr/>
            <p:nvPr/>
          </p:nvSpPr>
          <p:spPr>
            <a:xfrm>
              <a:off x="11070596" y="4745194"/>
              <a:ext cx="303350" cy="194308"/>
            </a:xfrm>
            <a:custGeom>
              <a:avLst/>
              <a:gdLst>
                <a:gd name="connsiteX0" fmla="*/ 131238 w 303350"/>
                <a:gd name="connsiteY0" fmla="*/ 129867 h 194308"/>
                <a:gd name="connsiteX1" fmla="*/ 137725 w 303350"/>
                <a:gd name="connsiteY1" fmla="*/ 87348 h 194308"/>
                <a:gd name="connsiteX2" fmla="*/ 126267 w 303350"/>
                <a:gd name="connsiteY2" fmla="*/ 54583 h 194308"/>
                <a:gd name="connsiteX3" fmla="*/ 25793 w 303350"/>
                <a:gd name="connsiteY3" fmla="*/ 47812 h 194308"/>
                <a:gd name="connsiteX4" fmla="*/ 18501 w 303350"/>
                <a:gd name="connsiteY4" fmla="*/ 48333 h 194308"/>
                <a:gd name="connsiteX5" fmla="*/ 2118 w 303350"/>
                <a:gd name="connsiteY5" fmla="*/ 33560 h 194308"/>
                <a:gd name="connsiteX6" fmla="*/ 8700 w 303350"/>
                <a:gd name="connsiteY6" fmla="*/ 9649 h 194308"/>
                <a:gd name="connsiteX7" fmla="*/ 280623 w 303350"/>
                <a:gd name="connsiteY7" fmla="*/ 22196 h 194308"/>
                <a:gd name="connsiteX8" fmla="*/ 281097 w 303350"/>
                <a:gd name="connsiteY8" fmla="*/ 50605 h 194308"/>
                <a:gd name="connsiteX9" fmla="*/ 240519 w 303350"/>
                <a:gd name="connsiteY9" fmla="*/ 64857 h 194308"/>
                <a:gd name="connsiteX10" fmla="*/ 249515 w 303350"/>
                <a:gd name="connsiteY10" fmla="*/ 131477 h 194308"/>
                <a:gd name="connsiteX11" fmla="*/ 303351 w 303350"/>
                <a:gd name="connsiteY11" fmla="*/ 141562 h 194308"/>
                <a:gd name="connsiteX12" fmla="*/ 303351 w 303350"/>
                <a:gd name="connsiteY12" fmla="*/ 194309 h 194308"/>
                <a:gd name="connsiteX13" fmla="*/ 61778 w 303350"/>
                <a:gd name="connsiteY13" fmla="*/ 194309 h 194308"/>
                <a:gd name="connsiteX14" fmla="*/ 61778 w 303350"/>
                <a:gd name="connsiteY14" fmla="*/ 141562 h 194308"/>
                <a:gd name="connsiteX15" fmla="*/ 116418 w 303350"/>
                <a:gd name="connsiteY15" fmla="*/ 132992 h 194308"/>
                <a:gd name="connsiteX16" fmla="*/ 192697 w 303350"/>
                <a:gd name="connsiteY16" fmla="*/ 128068 h 1943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03350" h="194308">
                  <a:moveTo>
                    <a:pt x="131238" y="129867"/>
                  </a:moveTo>
                  <a:cubicBezTo>
                    <a:pt x="131238" y="129867"/>
                    <a:pt x="134032" y="109128"/>
                    <a:pt x="137725" y="87348"/>
                  </a:cubicBezTo>
                  <a:cubicBezTo>
                    <a:pt x="143217" y="58513"/>
                    <a:pt x="126267" y="54583"/>
                    <a:pt x="126267" y="54583"/>
                  </a:cubicBezTo>
                  <a:cubicBezTo>
                    <a:pt x="126267" y="54583"/>
                    <a:pt x="87961" y="43787"/>
                    <a:pt x="25793" y="47812"/>
                  </a:cubicBezTo>
                  <a:lnTo>
                    <a:pt x="18501" y="48333"/>
                  </a:lnTo>
                  <a:cubicBezTo>
                    <a:pt x="4912" y="48901"/>
                    <a:pt x="2118" y="33560"/>
                    <a:pt x="2118" y="33560"/>
                  </a:cubicBezTo>
                  <a:cubicBezTo>
                    <a:pt x="-5173" y="10549"/>
                    <a:pt x="8700" y="9649"/>
                    <a:pt x="8700" y="9649"/>
                  </a:cubicBezTo>
                  <a:cubicBezTo>
                    <a:pt x="222148" y="-17861"/>
                    <a:pt x="280623" y="22196"/>
                    <a:pt x="280623" y="22196"/>
                  </a:cubicBezTo>
                  <a:cubicBezTo>
                    <a:pt x="280623" y="22196"/>
                    <a:pt x="284458" y="33228"/>
                    <a:pt x="281097" y="50605"/>
                  </a:cubicBezTo>
                  <a:cubicBezTo>
                    <a:pt x="281097" y="50605"/>
                    <a:pt x="265945" y="62111"/>
                    <a:pt x="240519" y="64857"/>
                  </a:cubicBezTo>
                  <a:lnTo>
                    <a:pt x="249515" y="131477"/>
                  </a:lnTo>
                  <a:cubicBezTo>
                    <a:pt x="265424" y="134318"/>
                    <a:pt x="292176" y="137632"/>
                    <a:pt x="303351" y="141562"/>
                  </a:cubicBezTo>
                  <a:lnTo>
                    <a:pt x="303351" y="194309"/>
                  </a:lnTo>
                  <a:lnTo>
                    <a:pt x="61778" y="194309"/>
                  </a:lnTo>
                  <a:lnTo>
                    <a:pt x="61778" y="141562"/>
                  </a:lnTo>
                  <a:cubicBezTo>
                    <a:pt x="69874" y="138721"/>
                    <a:pt x="106096" y="134318"/>
                    <a:pt x="116418" y="132992"/>
                  </a:cubicBezTo>
                  <a:cubicBezTo>
                    <a:pt x="127119" y="131619"/>
                    <a:pt x="161162" y="128068"/>
                    <a:pt x="192697" y="128068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41" name="Forma livre: Forma 1640">
              <a:extLst>
                <a:ext uri="{FF2B5EF4-FFF2-40B4-BE49-F238E27FC236}">
                  <a16:creationId xmlns:a16="http://schemas.microsoft.com/office/drawing/2014/main" id="{50ED4E07-4612-3D97-675E-B0FF2609575B}"/>
                </a:ext>
              </a:extLst>
            </p:cNvPr>
            <p:cNvSpPr/>
            <p:nvPr/>
          </p:nvSpPr>
          <p:spPr>
            <a:xfrm>
              <a:off x="11115471" y="4967296"/>
              <a:ext cx="281440" cy="4734"/>
            </a:xfrm>
            <a:custGeom>
              <a:avLst/>
              <a:gdLst>
                <a:gd name="connsiteX0" fmla="*/ 281441 w 281440"/>
                <a:gd name="connsiteY0" fmla="*/ 0 h 4734"/>
                <a:gd name="connsiteX1" fmla="*/ 0 w 281440"/>
                <a:gd name="connsiteY1" fmla="*/ 0 h 47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81440" h="4734">
                  <a:moveTo>
                    <a:pt x="281441" y="0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42" name="Forma livre: Forma 1641">
              <a:extLst>
                <a:ext uri="{FF2B5EF4-FFF2-40B4-BE49-F238E27FC236}">
                  <a16:creationId xmlns:a16="http://schemas.microsoft.com/office/drawing/2014/main" id="{63AFFE94-D95D-6E40-EE06-13B33AEDCBEC}"/>
                </a:ext>
              </a:extLst>
            </p:cNvPr>
            <p:cNvSpPr/>
            <p:nvPr/>
          </p:nvSpPr>
          <p:spPr>
            <a:xfrm>
              <a:off x="11161683" y="4794947"/>
              <a:ext cx="45928" cy="33759"/>
            </a:xfrm>
            <a:custGeom>
              <a:avLst/>
              <a:gdLst>
                <a:gd name="connsiteX0" fmla="*/ 45928 w 45928"/>
                <a:gd name="connsiteY0" fmla="*/ 33760 h 33759"/>
                <a:gd name="connsiteX1" fmla="*/ 0 w 45928"/>
                <a:gd name="connsiteY1" fmla="*/ 26610 h 33759"/>
                <a:gd name="connsiteX2" fmla="*/ 0 w 45928"/>
                <a:gd name="connsiteY2" fmla="*/ 0 h 337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5928" h="33759">
                  <a:moveTo>
                    <a:pt x="45928" y="33760"/>
                  </a:moveTo>
                  <a:cubicBezTo>
                    <a:pt x="45928" y="33760"/>
                    <a:pt x="18371" y="25568"/>
                    <a:pt x="0" y="26610"/>
                  </a:cubicBezTo>
                  <a:lnTo>
                    <a:pt x="0" y="0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643" name="Gráfico 18">
            <a:extLst>
              <a:ext uri="{FF2B5EF4-FFF2-40B4-BE49-F238E27FC236}">
                <a16:creationId xmlns:a16="http://schemas.microsoft.com/office/drawing/2014/main" id="{8ADB2632-4716-59D1-7ECA-4FC2FBF9ECF3}"/>
              </a:ext>
            </a:extLst>
          </p:cNvPr>
          <p:cNvGrpSpPr/>
          <p:nvPr/>
        </p:nvGrpSpPr>
        <p:grpSpPr>
          <a:xfrm>
            <a:off x="11061162" y="3646268"/>
            <a:ext cx="297491" cy="282624"/>
            <a:chOff x="11061162" y="3646268"/>
            <a:chExt cx="297491" cy="282624"/>
          </a:xfrm>
          <a:noFill/>
        </p:grpSpPr>
        <p:grpSp>
          <p:nvGrpSpPr>
            <p:cNvPr id="1644" name="Gráfico 18">
              <a:extLst>
                <a:ext uri="{FF2B5EF4-FFF2-40B4-BE49-F238E27FC236}">
                  <a16:creationId xmlns:a16="http://schemas.microsoft.com/office/drawing/2014/main" id="{100BA60C-1B2F-AC79-CB90-9C9C42EBC3AD}"/>
                </a:ext>
              </a:extLst>
            </p:cNvPr>
            <p:cNvGrpSpPr/>
            <p:nvPr/>
          </p:nvGrpSpPr>
          <p:grpSpPr>
            <a:xfrm>
              <a:off x="11175556" y="3646268"/>
              <a:ext cx="73343" cy="151373"/>
              <a:chOff x="11175556" y="3646268"/>
              <a:chExt cx="73343" cy="151373"/>
            </a:xfrm>
            <a:noFill/>
          </p:grpSpPr>
          <p:sp>
            <p:nvSpPr>
              <p:cNvPr id="1645" name="Forma livre: Forma 1644">
                <a:extLst>
                  <a:ext uri="{FF2B5EF4-FFF2-40B4-BE49-F238E27FC236}">
                    <a16:creationId xmlns:a16="http://schemas.microsoft.com/office/drawing/2014/main" id="{4F674AB9-531D-0350-72B4-16A6F68E478C}"/>
                  </a:ext>
                </a:extLst>
              </p:cNvPr>
              <p:cNvSpPr/>
              <p:nvPr/>
            </p:nvSpPr>
            <p:spPr>
              <a:xfrm>
                <a:off x="11175556" y="3646268"/>
                <a:ext cx="73343" cy="83570"/>
              </a:xfrm>
              <a:custGeom>
                <a:avLst/>
                <a:gdLst>
                  <a:gd name="connsiteX0" fmla="*/ 73343 w 73343"/>
                  <a:gd name="connsiteY0" fmla="*/ 0 h 83570"/>
                  <a:gd name="connsiteX1" fmla="*/ 0 w 73343"/>
                  <a:gd name="connsiteY1" fmla="*/ 0 h 83570"/>
                  <a:gd name="connsiteX2" fmla="*/ 0 w 73343"/>
                  <a:gd name="connsiteY2" fmla="*/ 46780 h 83570"/>
                  <a:gd name="connsiteX3" fmla="*/ 15436 w 73343"/>
                  <a:gd name="connsiteY3" fmla="*/ 83570 h 83570"/>
                  <a:gd name="connsiteX4" fmla="*/ 57245 w 73343"/>
                  <a:gd name="connsiteY4" fmla="*/ 83570 h 83570"/>
                  <a:gd name="connsiteX5" fmla="*/ 73343 w 73343"/>
                  <a:gd name="connsiteY5" fmla="*/ 46780 h 83570"/>
                  <a:gd name="connsiteX6" fmla="*/ 73343 w 73343"/>
                  <a:gd name="connsiteY6" fmla="*/ 0 h 835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73343" h="83570">
                    <a:moveTo>
                      <a:pt x="73343" y="0"/>
                    </a:moveTo>
                    <a:lnTo>
                      <a:pt x="0" y="0"/>
                    </a:lnTo>
                    <a:lnTo>
                      <a:pt x="0" y="46780"/>
                    </a:lnTo>
                    <a:lnTo>
                      <a:pt x="15436" y="83570"/>
                    </a:lnTo>
                    <a:lnTo>
                      <a:pt x="57245" y="83570"/>
                    </a:lnTo>
                    <a:lnTo>
                      <a:pt x="73343" y="46780"/>
                    </a:lnTo>
                    <a:lnTo>
                      <a:pt x="73343" y="0"/>
                    </a:ln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646" name="Forma livre: Forma 1645">
                <a:extLst>
                  <a:ext uri="{FF2B5EF4-FFF2-40B4-BE49-F238E27FC236}">
                    <a16:creationId xmlns:a16="http://schemas.microsoft.com/office/drawing/2014/main" id="{77797B7A-A8A2-0B19-9649-EE59DA2B6A55}"/>
                  </a:ext>
                </a:extLst>
              </p:cNvPr>
              <p:cNvSpPr/>
              <p:nvPr/>
            </p:nvSpPr>
            <p:spPr>
              <a:xfrm>
                <a:off x="11176361" y="3646742"/>
                <a:ext cx="67897" cy="42519"/>
              </a:xfrm>
              <a:custGeom>
                <a:avLst/>
                <a:gdLst>
                  <a:gd name="connsiteX0" fmla="*/ 0 w 67897"/>
                  <a:gd name="connsiteY0" fmla="*/ 42519 h 42519"/>
                  <a:gd name="connsiteX1" fmla="*/ 67898 w 67897"/>
                  <a:gd name="connsiteY1" fmla="*/ 0 h 425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7897" h="42519">
                    <a:moveTo>
                      <a:pt x="0" y="42519"/>
                    </a:moveTo>
                    <a:lnTo>
                      <a:pt x="67898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647" name="Forma livre: Forma 1646">
                <a:extLst>
                  <a:ext uri="{FF2B5EF4-FFF2-40B4-BE49-F238E27FC236}">
                    <a16:creationId xmlns:a16="http://schemas.microsoft.com/office/drawing/2014/main" id="{BE17FE66-AA67-63B9-2795-301EE657D37F}"/>
                  </a:ext>
                </a:extLst>
              </p:cNvPr>
              <p:cNvSpPr/>
              <p:nvPr/>
            </p:nvSpPr>
            <p:spPr>
              <a:xfrm>
                <a:off x="11187251" y="3680691"/>
                <a:ext cx="61174" cy="37973"/>
              </a:xfrm>
              <a:custGeom>
                <a:avLst/>
                <a:gdLst>
                  <a:gd name="connsiteX0" fmla="*/ 0 w 61174"/>
                  <a:gd name="connsiteY0" fmla="*/ 37974 h 37973"/>
                  <a:gd name="connsiteX1" fmla="*/ 61174 w 61174"/>
                  <a:gd name="connsiteY1" fmla="*/ 0 h 379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1174" h="37973">
                    <a:moveTo>
                      <a:pt x="0" y="37974"/>
                    </a:moveTo>
                    <a:lnTo>
                      <a:pt x="61174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648" name="Forma livre: Forma 1647">
                <a:extLst>
                  <a:ext uri="{FF2B5EF4-FFF2-40B4-BE49-F238E27FC236}">
                    <a16:creationId xmlns:a16="http://schemas.microsoft.com/office/drawing/2014/main" id="{B229F8CF-56A8-2E55-F2F6-F60CFCD483CC}"/>
                  </a:ext>
                </a:extLst>
              </p:cNvPr>
              <p:cNvSpPr/>
              <p:nvPr/>
            </p:nvSpPr>
            <p:spPr>
              <a:xfrm>
                <a:off x="11188814" y="3730786"/>
                <a:ext cx="42613" cy="66856"/>
              </a:xfrm>
              <a:custGeom>
                <a:avLst/>
                <a:gdLst>
                  <a:gd name="connsiteX0" fmla="*/ 21307 w 42613"/>
                  <a:gd name="connsiteY0" fmla="*/ 0 h 66856"/>
                  <a:gd name="connsiteX1" fmla="*/ 21307 w 42613"/>
                  <a:gd name="connsiteY1" fmla="*/ 24243 h 66856"/>
                  <a:gd name="connsiteX2" fmla="*/ 42614 w 42613"/>
                  <a:gd name="connsiteY2" fmla="*/ 45549 h 66856"/>
                  <a:gd name="connsiteX3" fmla="*/ 21307 w 42613"/>
                  <a:gd name="connsiteY3" fmla="*/ 66856 h 66856"/>
                  <a:gd name="connsiteX4" fmla="*/ 0 w 42613"/>
                  <a:gd name="connsiteY4" fmla="*/ 45549 h 668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2613" h="66856">
                    <a:moveTo>
                      <a:pt x="21307" y="0"/>
                    </a:moveTo>
                    <a:lnTo>
                      <a:pt x="21307" y="24243"/>
                    </a:lnTo>
                    <a:cubicBezTo>
                      <a:pt x="33049" y="24243"/>
                      <a:pt x="42614" y="33760"/>
                      <a:pt x="42614" y="45549"/>
                    </a:cubicBezTo>
                    <a:cubicBezTo>
                      <a:pt x="42614" y="57339"/>
                      <a:pt x="33097" y="66856"/>
                      <a:pt x="21307" y="66856"/>
                    </a:cubicBezTo>
                    <a:cubicBezTo>
                      <a:pt x="9517" y="66856"/>
                      <a:pt x="0" y="57292"/>
                      <a:pt x="0" y="45549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649" name="Gráfico 18">
              <a:extLst>
                <a:ext uri="{FF2B5EF4-FFF2-40B4-BE49-F238E27FC236}">
                  <a16:creationId xmlns:a16="http://schemas.microsoft.com/office/drawing/2014/main" id="{F701606F-3E3C-7070-451C-28531B90BA5C}"/>
                </a:ext>
              </a:extLst>
            </p:cNvPr>
            <p:cNvGrpSpPr/>
            <p:nvPr/>
          </p:nvGrpSpPr>
          <p:grpSpPr>
            <a:xfrm>
              <a:off x="11061162" y="3871269"/>
              <a:ext cx="297491" cy="57623"/>
              <a:chOff x="11061162" y="3871269"/>
              <a:chExt cx="297491" cy="57623"/>
            </a:xfrm>
            <a:noFill/>
          </p:grpSpPr>
          <p:grpSp>
            <p:nvGrpSpPr>
              <p:cNvPr id="1650" name="Gráfico 18">
                <a:extLst>
                  <a:ext uri="{FF2B5EF4-FFF2-40B4-BE49-F238E27FC236}">
                    <a16:creationId xmlns:a16="http://schemas.microsoft.com/office/drawing/2014/main" id="{49D8F0CC-898A-005F-4E5F-DBA49839F59D}"/>
                  </a:ext>
                </a:extLst>
              </p:cNvPr>
              <p:cNvGrpSpPr/>
              <p:nvPr/>
            </p:nvGrpSpPr>
            <p:grpSpPr>
              <a:xfrm>
                <a:off x="11103728" y="3871648"/>
                <a:ext cx="212358" cy="56818"/>
                <a:chOff x="11103728" y="3871648"/>
                <a:chExt cx="212358" cy="56818"/>
              </a:xfrm>
            </p:grpSpPr>
            <p:sp>
              <p:nvSpPr>
                <p:cNvPr id="1651" name="Forma livre: Forma 1650">
                  <a:extLst>
                    <a:ext uri="{FF2B5EF4-FFF2-40B4-BE49-F238E27FC236}">
                      <a16:creationId xmlns:a16="http://schemas.microsoft.com/office/drawing/2014/main" id="{614DAF0E-97FA-EB4E-09C0-DAFE1A886FAA}"/>
                    </a:ext>
                  </a:extLst>
                </p:cNvPr>
                <p:cNvSpPr/>
                <p:nvPr/>
              </p:nvSpPr>
              <p:spPr>
                <a:xfrm>
                  <a:off x="11103728" y="3871648"/>
                  <a:ext cx="4734" cy="56818"/>
                </a:xfrm>
                <a:custGeom>
                  <a:avLst/>
                  <a:gdLst>
                    <a:gd name="connsiteX0" fmla="*/ 0 w 4734"/>
                    <a:gd name="connsiteY0" fmla="*/ 0 h 56818"/>
                    <a:gd name="connsiteX1" fmla="*/ 0 w 4734"/>
                    <a:gd name="connsiteY1" fmla="*/ 56818 h 5681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734" h="56818">
                      <a:moveTo>
                        <a:pt x="0" y="0"/>
                      </a:moveTo>
                      <a:lnTo>
                        <a:pt x="0" y="56818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652" name="Forma livre: Forma 1651">
                  <a:extLst>
                    <a:ext uri="{FF2B5EF4-FFF2-40B4-BE49-F238E27FC236}">
                      <a16:creationId xmlns:a16="http://schemas.microsoft.com/office/drawing/2014/main" id="{20E0AD29-2A1A-4F9B-4316-4E56F1FCE527}"/>
                    </a:ext>
                  </a:extLst>
                </p:cNvPr>
                <p:cNvSpPr/>
                <p:nvPr/>
              </p:nvSpPr>
              <p:spPr>
                <a:xfrm>
                  <a:off x="11146200" y="3871885"/>
                  <a:ext cx="4734" cy="56344"/>
                </a:xfrm>
                <a:custGeom>
                  <a:avLst/>
                  <a:gdLst>
                    <a:gd name="connsiteX0" fmla="*/ 0 w 4734"/>
                    <a:gd name="connsiteY0" fmla="*/ 0 h 56344"/>
                    <a:gd name="connsiteX1" fmla="*/ 0 w 4734"/>
                    <a:gd name="connsiteY1" fmla="*/ 56345 h 5634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734" h="56344">
                      <a:moveTo>
                        <a:pt x="0" y="0"/>
                      </a:moveTo>
                      <a:lnTo>
                        <a:pt x="0" y="56345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653" name="Forma livre: Forma 1652">
                  <a:extLst>
                    <a:ext uri="{FF2B5EF4-FFF2-40B4-BE49-F238E27FC236}">
                      <a16:creationId xmlns:a16="http://schemas.microsoft.com/office/drawing/2014/main" id="{8379628C-8BFC-D6C1-0A17-F1644F77E50D}"/>
                    </a:ext>
                  </a:extLst>
                </p:cNvPr>
                <p:cNvSpPr/>
                <p:nvPr/>
              </p:nvSpPr>
              <p:spPr>
                <a:xfrm>
                  <a:off x="11188672" y="3871885"/>
                  <a:ext cx="4734" cy="56344"/>
                </a:xfrm>
                <a:custGeom>
                  <a:avLst/>
                  <a:gdLst>
                    <a:gd name="connsiteX0" fmla="*/ 0 w 4734"/>
                    <a:gd name="connsiteY0" fmla="*/ 0 h 56344"/>
                    <a:gd name="connsiteX1" fmla="*/ 0 w 4734"/>
                    <a:gd name="connsiteY1" fmla="*/ 56345 h 5634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734" h="56344">
                      <a:moveTo>
                        <a:pt x="0" y="0"/>
                      </a:moveTo>
                      <a:lnTo>
                        <a:pt x="0" y="56345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654" name="Forma livre: Forma 1653">
                  <a:extLst>
                    <a:ext uri="{FF2B5EF4-FFF2-40B4-BE49-F238E27FC236}">
                      <a16:creationId xmlns:a16="http://schemas.microsoft.com/office/drawing/2014/main" id="{4075E045-AD7B-C5B5-A0DF-40F4AB570357}"/>
                    </a:ext>
                  </a:extLst>
                </p:cNvPr>
                <p:cNvSpPr/>
                <p:nvPr/>
              </p:nvSpPr>
              <p:spPr>
                <a:xfrm>
                  <a:off x="11231143" y="3871885"/>
                  <a:ext cx="4734" cy="56344"/>
                </a:xfrm>
                <a:custGeom>
                  <a:avLst/>
                  <a:gdLst>
                    <a:gd name="connsiteX0" fmla="*/ 0 w 4734"/>
                    <a:gd name="connsiteY0" fmla="*/ 0 h 56344"/>
                    <a:gd name="connsiteX1" fmla="*/ 0 w 4734"/>
                    <a:gd name="connsiteY1" fmla="*/ 56345 h 5634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734" h="56344">
                      <a:moveTo>
                        <a:pt x="0" y="0"/>
                      </a:moveTo>
                      <a:lnTo>
                        <a:pt x="0" y="56345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655" name="Forma livre: Forma 1654">
                  <a:extLst>
                    <a:ext uri="{FF2B5EF4-FFF2-40B4-BE49-F238E27FC236}">
                      <a16:creationId xmlns:a16="http://schemas.microsoft.com/office/drawing/2014/main" id="{49FD8641-7558-CD12-7D06-B81F0EBA1E89}"/>
                    </a:ext>
                  </a:extLst>
                </p:cNvPr>
                <p:cNvSpPr/>
                <p:nvPr/>
              </p:nvSpPr>
              <p:spPr>
                <a:xfrm>
                  <a:off x="11273615" y="3871885"/>
                  <a:ext cx="4734" cy="56344"/>
                </a:xfrm>
                <a:custGeom>
                  <a:avLst/>
                  <a:gdLst>
                    <a:gd name="connsiteX0" fmla="*/ 0 w 4734"/>
                    <a:gd name="connsiteY0" fmla="*/ 0 h 56344"/>
                    <a:gd name="connsiteX1" fmla="*/ 0 w 4734"/>
                    <a:gd name="connsiteY1" fmla="*/ 56345 h 5634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734" h="56344">
                      <a:moveTo>
                        <a:pt x="0" y="0"/>
                      </a:moveTo>
                      <a:lnTo>
                        <a:pt x="0" y="56345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656" name="Forma livre: Forma 1655">
                  <a:extLst>
                    <a:ext uri="{FF2B5EF4-FFF2-40B4-BE49-F238E27FC236}">
                      <a16:creationId xmlns:a16="http://schemas.microsoft.com/office/drawing/2014/main" id="{A8AE50A5-6567-C50E-B580-5F9E056985D0}"/>
                    </a:ext>
                  </a:extLst>
                </p:cNvPr>
                <p:cNvSpPr/>
                <p:nvPr/>
              </p:nvSpPr>
              <p:spPr>
                <a:xfrm>
                  <a:off x="11316087" y="3871885"/>
                  <a:ext cx="4734" cy="56344"/>
                </a:xfrm>
                <a:custGeom>
                  <a:avLst/>
                  <a:gdLst>
                    <a:gd name="connsiteX0" fmla="*/ 0 w 4734"/>
                    <a:gd name="connsiteY0" fmla="*/ 0 h 56344"/>
                    <a:gd name="connsiteX1" fmla="*/ 0 w 4734"/>
                    <a:gd name="connsiteY1" fmla="*/ 56345 h 5634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734" h="56344">
                      <a:moveTo>
                        <a:pt x="0" y="0"/>
                      </a:moveTo>
                      <a:lnTo>
                        <a:pt x="0" y="56345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1657" name="Forma livre: Forma 1656">
                <a:extLst>
                  <a:ext uri="{FF2B5EF4-FFF2-40B4-BE49-F238E27FC236}">
                    <a16:creationId xmlns:a16="http://schemas.microsoft.com/office/drawing/2014/main" id="{3FA89A3A-D1BD-A8DB-4D5C-B77D7A1BB864}"/>
                  </a:ext>
                </a:extLst>
              </p:cNvPr>
              <p:cNvSpPr/>
              <p:nvPr/>
            </p:nvSpPr>
            <p:spPr>
              <a:xfrm>
                <a:off x="11061162" y="3871269"/>
                <a:ext cx="297491" cy="57623"/>
              </a:xfrm>
              <a:custGeom>
                <a:avLst/>
                <a:gdLst>
                  <a:gd name="connsiteX0" fmla="*/ 0 w 297491"/>
                  <a:gd name="connsiteY0" fmla="*/ 0 h 57623"/>
                  <a:gd name="connsiteX1" fmla="*/ 297492 w 297491"/>
                  <a:gd name="connsiteY1" fmla="*/ 0 h 57623"/>
                  <a:gd name="connsiteX2" fmla="*/ 297492 w 297491"/>
                  <a:gd name="connsiteY2" fmla="*/ 57623 h 57623"/>
                  <a:gd name="connsiteX3" fmla="*/ 0 w 297491"/>
                  <a:gd name="connsiteY3" fmla="*/ 57623 h 576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97491" h="57623">
                    <a:moveTo>
                      <a:pt x="0" y="0"/>
                    </a:moveTo>
                    <a:lnTo>
                      <a:pt x="297492" y="0"/>
                    </a:lnTo>
                    <a:lnTo>
                      <a:pt x="297492" y="57623"/>
                    </a:lnTo>
                    <a:lnTo>
                      <a:pt x="0" y="57623"/>
                    </a:ln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658" name="Gráfico 18">
              <a:extLst>
                <a:ext uri="{FF2B5EF4-FFF2-40B4-BE49-F238E27FC236}">
                  <a16:creationId xmlns:a16="http://schemas.microsoft.com/office/drawing/2014/main" id="{F4974CEA-A2C1-BA55-EACE-9C7BEED0A093}"/>
                </a:ext>
              </a:extLst>
            </p:cNvPr>
            <p:cNvGrpSpPr/>
            <p:nvPr/>
          </p:nvGrpSpPr>
          <p:grpSpPr>
            <a:xfrm>
              <a:off x="11116323" y="3803987"/>
              <a:ext cx="187169" cy="44507"/>
              <a:chOff x="11116323" y="3803987"/>
              <a:chExt cx="187169" cy="44507"/>
            </a:xfrm>
          </p:grpSpPr>
          <p:sp>
            <p:nvSpPr>
              <p:cNvPr id="1659" name="Forma livre: Forma 1658">
                <a:extLst>
                  <a:ext uri="{FF2B5EF4-FFF2-40B4-BE49-F238E27FC236}">
                    <a16:creationId xmlns:a16="http://schemas.microsoft.com/office/drawing/2014/main" id="{B3E6B9DF-0CDA-C4D4-4966-0F419B1B7ED8}"/>
                  </a:ext>
                </a:extLst>
              </p:cNvPr>
              <p:cNvSpPr/>
              <p:nvPr/>
            </p:nvSpPr>
            <p:spPr>
              <a:xfrm>
                <a:off x="11116323" y="3803987"/>
                <a:ext cx="57244" cy="44507"/>
              </a:xfrm>
              <a:custGeom>
                <a:avLst/>
                <a:gdLst>
                  <a:gd name="connsiteX0" fmla="*/ 0 w 57244"/>
                  <a:gd name="connsiteY0" fmla="*/ 44508 h 44507"/>
                  <a:gd name="connsiteX1" fmla="*/ 57245 w 57244"/>
                  <a:gd name="connsiteY1" fmla="*/ 0 h 445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7244" h="44507">
                    <a:moveTo>
                      <a:pt x="0" y="44508"/>
                    </a:moveTo>
                    <a:lnTo>
                      <a:pt x="57245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660" name="Forma livre: Forma 1659">
                <a:extLst>
                  <a:ext uri="{FF2B5EF4-FFF2-40B4-BE49-F238E27FC236}">
                    <a16:creationId xmlns:a16="http://schemas.microsoft.com/office/drawing/2014/main" id="{80CB2E80-70D3-126E-AD9F-BBA7DF83A854}"/>
                  </a:ext>
                </a:extLst>
              </p:cNvPr>
              <p:cNvSpPr/>
              <p:nvPr/>
            </p:nvSpPr>
            <p:spPr>
              <a:xfrm>
                <a:off x="11246295" y="3803987"/>
                <a:ext cx="57197" cy="44507"/>
              </a:xfrm>
              <a:custGeom>
                <a:avLst/>
                <a:gdLst>
                  <a:gd name="connsiteX0" fmla="*/ 57197 w 57197"/>
                  <a:gd name="connsiteY0" fmla="*/ 44508 h 44507"/>
                  <a:gd name="connsiteX1" fmla="*/ 0 w 57197"/>
                  <a:gd name="connsiteY1" fmla="*/ 0 h 445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7197" h="44507">
                    <a:moveTo>
                      <a:pt x="57197" y="44508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661" name="Gráfico 18">
            <a:extLst>
              <a:ext uri="{FF2B5EF4-FFF2-40B4-BE49-F238E27FC236}">
                <a16:creationId xmlns:a16="http://schemas.microsoft.com/office/drawing/2014/main" id="{C273523B-68B4-03EF-7173-8FCAE41953A9}"/>
              </a:ext>
            </a:extLst>
          </p:cNvPr>
          <p:cNvGrpSpPr/>
          <p:nvPr/>
        </p:nvGrpSpPr>
        <p:grpSpPr>
          <a:xfrm>
            <a:off x="11032232" y="4192956"/>
            <a:ext cx="355272" cy="257908"/>
            <a:chOff x="11032232" y="4192956"/>
            <a:chExt cx="355272" cy="257908"/>
          </a:xfrm>
          <a:noFill/>
        </p:grpSpPr>
        <p:sp>
          <p:nvSpPr>
            <p:cNvPr id="1662" name="Forma livre: Forma 1661">
              <a:extLst>
                <a:ext uri="{FF2B5EF4-FFF2-40B4-BE49-F238E27FC236}">
                  <a16:creationId xmlns:a16="http://schemas.microsoft.com/office/drawing/2014/main" id="{6F289262-0864-9533-7AF6-13417E9C2C94}"/>
                </a:ext>
              </a:extLst>
            </p:cNvPr>
            <p:cNvSpPr/>
            <p:nvPr/>
          </p:nvSpPr>
          <p:spPr>
            <a:xfrm>
              <a:off x="11276219" y="4303042"/>
              <a:ext cx="47822" cy="53830"/>
            </a:xfrm>
            <a:custGeom>
              <a:avLst/>
              <a:gdLst>
                <a:gd name="connsiteX0" fmla="*/ 0 w 47822"/>
                <a:gd name="connsiteY0" fmla="*/ 0 h 53830"/>
                <a:gd name="connsiteX1" fmla="*/ 10653 w 47822"/>
                <a:gd name="connsiteY1" fmla="*/ 42140 h 53830"/>
                <a:gd name="connsiteX2" fmla="*/ 25284 w 47822"/>
                <a:gd name="connsiteY2" fmla="*/ 52368 h 53830"/>
                <a:gd name="connsiteX3" fmla="*/ 47822 w 47822"/>
                <a:gd name="connsiteY3" fmla="*/ 46070 h 53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7822" h="53830">
                  <a:moveTo>
                    <a:pt x="0" y="0"/>
                  </a:moveTo>
                  <a:cubicBezTo>
                    <a:pt x="5398" y="7718"/>
                    <a:pt x="17945" y="24858"/>
                    <a:pt x="10653" y="42140"/>
                  </a:cubicBezTo>
                  <a:cubicBezTo>
                    <a:pt x="10653" y="42140"/>
                    <a:pt x="4972" y="58760"/>
                    <a:pt x="25284" y="52368"/>
                  </a:cubicBezTo>
                  <a:lnTo>
                    <a:pt x="47822" y="4607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63" name="Forma livre: Forma 1662">
              <a:extLst>
                <a:ext uri="{FF2B5EF4-FFF2-40B4-BE49-F238E27FC236}">
                  <a16:creationId xmlns:a16="http://schemas.microsoft.com/office/drawing/2014/main" id="{76D7FF67-744C-4B5B-A2B1-A13947370400}"/>
                </a:ext>
              </a:extLst>
            </p:cNvPr>
            <p:cNvSpPr/>
            <p:nvPr/>
          </p:nvSpPr>
          <p:spPr>
            <a:xfrm>
              <a:off x="11070347" y="4210191"/>
              <a:ext cx="45454" cy="52935"/>
            </a:xfrm>
            <a:custGeom>
              <a:avLst/>
              <a:gdLst>
                <a:gd name="connsiteX0" fmla="*/ 45407 w 45454"/>
                <a:gd name="connsiteY0" fmla="*/ 0 h 52935"/>
                <a:gd name="connsiteX1" fmla="*/ 0 w 45454"/>
                <a:gd name="connsiteY1" fmla="*/ 14962 h 52935"/>
                <a:gd name="connsiteX2" fmla="*/ 0 w 45454"/>
                <a:gd name="connsiteY2" fmla="*/ 22443 h 52935"/>
                <a:gd name="connsiteX3" fmla="*/ 95 w 45454"/>
                <a:gd name="connsiteY3" fmla="*/ 30919 h 52935"/>
                <a:gd name="connsiteX4" fmla="*/ 95 w 45454"/>
                <a:gd name="connsiteY4" fmla="*/ 39063 h 52935"/>
                <a:gd name="connsiteX5" fmla="*/ 45455 w 45454"/>
                <a:gd name="connsiteY5" fmla="*/ 52936 h 529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5454" h="52935">
                  <a:moveTo>
                    <a:pt x="45407" y="0"/>
                  </a:moveTo>
                  <a:cubicBezTo>
                    <a:pt x="36316" y="805"/>
                    <a:pt x="11364" y="3930"/>
                    <a:pt x="0" y="14962"/>
                  </a:cubicBezTo>
                  <a:lnTo>
                    <a:pt x="0" y="22443"/>
                  </a:lnTo>
                  <a:cubicBezTo>
                    <a:pt x="0" y="22443"/>
                    <a:pt x="95" y="30919"/>
                    <a:pt x="95" y="30919"/>
                  </a:cubicBezTo>
                  <a:lnTo>
                    <a:pt x="95" y="39063"/>
                  </a:lnTo>
                  <a:cubicBezTo>
                    <a:pt x="11269" y="49006"/>
                    <a:pt x="35133" y="52462"/>
                    <a:pt x="45455" y="52936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64" name="Forma livre: Forma 1663">
              <a:extLst>
                <a:ext uri="{FF2B5EF4-FFF2-40B4-BE49-F238E27FC236}">
                  <a16:creationId xmlns:a16="http://schemas.microsoft.com/office/drawing/2014/main" id="{63E9E9ED-9EC3-024D-FC07-8A195DD48126}"/>
                </a:ext>
              </a:extLst>
            </p:cNvPr>
            <p:cNvSpPr/>
            <p:nvPr/>
          </p:nvSpPr>
          <p:spPr>
            <a:xfrm>
              <a:off x="11166323" y="4192956"/>
              <a:ext cx="27178" cy="131203"/>
            </a:xfrm>
            <a:custGeom>
              <a:avLst/>
              <a:gdLst>
                <a:gd name="connsiteX0" fmla="*/ 0 w 27178"/>
                <a:gd name="connsiteY0" fmla="*/ 131203 h 131203"/>
                <a:gd name="connsiteX1" fmla="*/ 0 w 27178"/>
                <a:gd name="connsiteY1" fmla="*/ 0 h 131203"/>
                <a:gd name="connsiteX2" fmla="*/ 27178 w 27178"/>
                <a:gd name="connsiteY2" fmla="*/ 0 h 131203"/>
                <a:gd name="connsiteX3" fmla="*/ 27178 w 27178"/>
                <a:gd name="connsiteY3" fmla="*/ 131203 h 131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7178" h="131203">
                  <a:moveTo>
                    <a:pt x="0" y="131203"/>
                  </a:moveTo>
                  <a:lnTo>
                    <a:pt x="0" y="0"/>
                  </a:lnTo>
                  <a:lnTo>
                    <a:pt x="27178" y="0"/>
                  </a:lnTo>
                  <a:lnTo>
                    <a:pt x="27178" y="131203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65" name="Forma livre: Forma 1664">
              <a:extLst>
                <a:ext uri="{FF2B5EF4-FFF2-40B4-BE49-F238E27FC236}">
                  <a16:creationId xmlns:a16="http://schemas.microsoft.com/office/drawing/2014/main" id="{4B2B70DB-5E56-D07B-E658-AEDB1E725DD9}"/>
                </a:ext>
              </a:extLst>
            </p:cNvPr>
            <p:cNvSpPr/>
            <p:nvPr/>
          </p:nvSpPr>
          <p:spPr>
            <a:xfrm>
              <a:off x="11194969" y="4199111"/>
              <a:ext cx="192534" cy="217425"/>
            </a:xfrm>
            <a:custGeom>
              <a:avLst/>
              <a:gdLst>
                <a:gd name="connsiteX0" fmla="*/ 0 w 192534"/>
                <a:gd name="connsiteY0" fmla="*/ 94224 h 217425"/>
                <a:gd name="connsiteX1" fmla="*/ 102178 w 192534"/>
                <a:gd name="connsiteY1" fmla="*/ 104688 h 217425"/>
                <a:gd name="connsiteX2" fmla="*/ 135985 w 192534"/>
                <a:gd name="connsiteY2" fmla="*/ 197444 h 217425"/>
                <a:gd name="connsiteX3" fmla="*/ 132671 w 192534"/>
                <a:gd name="connsiteY3" fmla="*/ 198391 h 217425"/>
                <a:gd name="connsiteX4" fmla="*/ 122680 w 192534"/>
                <a:gd name="connsiteY4" fmla="*/ 206866 h 217425"/>
                <a:gd name="connsiteX5" fmla="*/ 131108 w 192534"/>
                <a:gd name="connsiteY5" fmla="*/ 216857 h 217425"/>
                <a:gd name="connsiteX6" fmla="*/ 147302 w 192534"/>
                <a:gd name="connsiteY6" fmla="*/ 217425 h 217425"/>
                <a:gd name="connsiteX7" fmla="*/ 162264 w 192534"/>
                <a:gd name="connsiteY7" fmla="*/ 216857 h 217425"/>
                <a:gd name="connsiteX8" fmla="*/ 190484 w 192534"/>
                <a:gd name="connsiteY8" fmla="*/ 205162 h 217425"/>
                <a:gd name="connsiteX9" fmla="*/ 173059 w 192534"/>
                <a:gd name="connsiteY9" fmla="*/ 41904 h 217425"/>
                <a:gd name="connsiteX10" fmla="*/ 177605 w 192534"/>
                <a:gd name="connsiteY10" fmla="*/ 15341 h 217425"/>
                <a:gd name="connsiteX11" fmla="*/ 167662 w 192534"/>
                <a:gd name="connsiteY11" fmla="*/ 0 h 217425"/>
                <a:gd name="connsiteX12" fmla="*/ 19934 w 192534"/>
                <a:gd name="connsiteY12" fmla="*/ 0 h 2174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92534" h="217425">
                  <a:moveTo>
                    <a:pt x="0" y="94224"/>
                  </a:moveTo>
                  <a:lnTo>
                    <a:pt x="102178" y="104688"/>
                  </a:lnTo>
                  <a:cubicBezTo>
                    <a:pt x="136411" y="127321"/>
                    <a:pt x="135985" y="197444"/>
                    <a:pt x="135985" y="197444"/>
                  </a:cubicBezTo>
                  <a:cubicBezTo>
                    <a:pt x="136033" y="197870"/>
                    <a:pt x="132718" y="198391"/>
                    <a:pt x="132671" y="198391"/>
                  </a:cubicBezTo>
                  <a:cubicBezTo>
                    <a:pt x="127557" y="197917"/>
                    <a:pt x="123107" y="201753"/>
                    <a:pt x="122680" y="206866"/>
                  </a:cubicBezTo>
                  <a:cubicBezTo>
                    <a:pt x="122254" y="211933"/>
                    <a:pt x="126042" y="216431"/>
                    <a:pt x="131108" y="216857"/>
                  </a:cubicBezTo>
                  <a:cubicBezTo>
                    <a:pt x="131677" y="216857"/>
                    <a:pt x="138258" y="217425"/>
                    <a:pt x="147302" y="217425"/>
                  </a:cubicBezTo>
                  <a:cubicBezTo>
                    <a:pt x="151847" y="217425"/>
                    <a:pt x="156961" y="217283"/>
                    <a:pt x="162264" y="216857"/>
                  </a:cubicBezTo>
                  <a:cubicBezTo>
                    <a:pt x="190720" y="215721"/>
                    <a:pt x="190484" y="205162"/>
                    <a:pt x="190484" y="205162"/>
                  </a:cubicBezTo>
                  <a:cubicBezTo>
                    <a:pt x="200048" y="100142"/>
                    <a:pt x="173059" y="41904"/>
                    <a:pt x="173059" y="41904"/>
                  </a:cubicBezTo>
                  <a:cubicBezTo>
                    <a:pt x="164773" y="22822"/>
                    <a:pt x="177605" y="15341"/>
                    <a:pt x="177605" y="15341"/>
                  </a:cubicBezTo>
                  <a:cubicBezTo>
                    <a:pt x="188164" y="616"/>
                    <a:pt x="167662" y="0"/>
                    <a:pt x="167662" y="0"/>
                  </a:cubicBezTo>
                  <a:lnTo>
                    <a:pt x="19934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66" name="Forma livre: Forma 1665">
              <a:extLst>
                <a:ext uri="{FF2B5EF4-FFF2-40B4-BE49-F238E27FC236}">
                  <a16:creationId xmlns:a16="http://schemas.microsoft.com/office/drawing/2014/main" id="{D5268643-76F8-F97C-98B4-0CA0BAE82F48}"/>
                </a:ext>
              </a:extLst>
            </p:cNvPr>
            <p:cNvSpPr/>
            <p:nvPr/>
          </p:nvSpPr>
          <p:spPr>
            <a:xfrm>
              <a:off x="11136493" y="4206450"/>
              <a:ext cx="29024" cy="60416"/>
            </a:xfrm>
            <a:custGeom>
              <a:avLst/>
              <a:gdLst>
                <a:gd name="connsiteX0" fmla="*/ 29025 w 29024"/>
                <a:gd name="connsiteY0" fmla="*/ 60417 h 60416"/>
                <a:gd name="connsiteX1" fmla="*/ 0 w 29024"/>
                <a:gd name="connsiteY1" fmla="*/ 60417 h 60416"/>
                <a:gd name="connsiteX2" fmla="*/ 0 w 29024"/>
                <a:gd name="connsiteY2" fmla="*/ 0 h 60416"/>
                <a:gd name="connsiteX3" fmla="*/ 29025 w 29024"/>
                <a:gd name="connsiteY3" fmla="*/ 0 h 604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9024" h="60416">
                  <a:moveTo>
                    <a:pt x="29025" y="60417"/>
                  </a:moveTo>
                  <a:lnTo>
                    <a:pt x="0" y="60417"/>
                  </a:lnTo>
                  <a:lnTo>
                    <a:pt x="0" y="0"/>
                  </a:lnTo>
                  <a:lnTo>
                    <a:pt x="29025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67" name="Forma livre: Forma 1666">
              <a:extLst>
                <a:ext uri="{FF2B5EF4-FFF2-40B4-BE49-F238E27FC236}">
                  <a16:creationId xmlns:a16="http://schemas.microsoft.com/office/drawing/2014/main" id="{85F05006-D4A0-8EFA-C873-9631A473370B}"/>
                </a:ext>
              </a:extLst>
            </p:cNvPr>
            <p:cNvSpPr/>
            <p:nvPr/>
          </p:nvSpPr>
          <p:spPr>
            <a:xfrm>
              <a:off x="11157612" y="4324775"/>
              <a:ext cx="44505" cy="126089"/>
            </a:xfrm>
            <a:custGeom>
              <a:avLst/>
              <a:gdLst>
                <a:gd name="connsiteX0" fmla="*/ 5018 w 44505"/>
                <a:gd name="connsiteY0" fmla="*/ 0 h 126089"/>
                <a:gd name="connsiteX1" fmla="*/ 567 w 44505"/>
                <a:gd name="connsiteY1" fmla="*/ 119366 h 126089"/>
                <a:gd name="connsiteX2" fmla="*/ 22253 w 44505"/>
                <a:gd name="connsiteY2" fmla="*/ 126090 h 126089"/>
                <a:gd name="connsiteX3" fmla="*/ 22253 w 44505"/>
                <a:gd name="connsiteY3" fmla="*/ 126090 h 126089"/>
                <a:gd name="connsiteX4" fmla="*/ 43938 w 44505"/>
                <a:gd name="connsiteY4" fmla="*/ 119366 h 126089"/>
                <a:gd name="connsiteX5" fmla="*/ 39488 w 44505"/>
                <a:gd name="connsiteY5" fmla="*/ 0 h 1260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505" h="126089">
                  <a:moveTo>
                    <a:pt x="5018" y="0"/>
                  </a:moveTo>
                  <a:cubicBezTo>
                    <a:pt x="2840" y="11080"/>
                    <a:pt x="-1564" y="34138"/>
                    <a:pt x="567" y="119366"/>
                  </a:cubicBezTo>
                  <a:cubicBezTo>
                    <a:pt x="567" y="119366"/>
                    <a:pt x="-475" y="126042"/>
                    <a:pt x="22253" y="126090"/>
                  </a:cubicBezTo>
                  <a:lnTo>
                    <a:pt x="22253" y="126090"/>
                  </a:lnTo>
                  <a:cubicBezTo>
                    <a:pt x="44980" y="126090"/>
                    <a:pt x="43938" y="119366"/>
                    <a:pt x="43938" y="119366"/>
                  </a:cubicBezTo>
                  <a:cubicBezTo>
                    <a:pt x="46069" y="34186"/>
                    <a:pt x="41666" y="11080"/>
                    <a:pt x="39488" y="0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68" name="Forma livre: Forma 1667">
              <a:extLst>
                <a:ext uri="{FF2B5EF4-FFF2-40B4-BE49-F238E27FC236}">
                  <a16:creationId xmlns:a16="http://schemas.microsoft.com/office/drawing/2014/main" id="{5472BF24-899A-F59D-D3AD-CD6621123F51}"/>
                </a:ext>
              </a:extLst>
            </p:cNvPr>
            <p:cNvSpPr/>
            <p:nvPr/>
          </p:nvSpPr>
          <p:spPr>
            <a:xfrm>
              <a:off x="11146768" y="4324633"/>
              <a:ext cx="66288" cy="4734"/>
            </a:xfrm>
            <a:custGeom>
              <a:avLst/>
              <a:gdLst>
                <a:gd name="connsiteX0" fmla="*/ 0 w 66288"/>
                <a:gd name="connsiteY0" fmla="*/ 0 h 4734"/>
                <a:gd name="connsiteX1" fmla="*/ 66288 w 66288"/>
                <a:gd name="connsiteY1" fmla="*/ 0 h 47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6288" h="4734">
                  <a:moveTo>
                    <a:pt x="0" y="0"/>
                  </a:moveTo>
                  <a:lnTo>
                    <a:pt x="66288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69" name="Forma livre: Forma 1668">
              <a:extLst>
                <a:ext uri="{FF2B5EF4-FFF2-40B4-BE49-F238E27FC236}">
                  <a16:creationId xmlns:a16="http://schemas.microsoft.com/office/drawing/2014/main" id="{47181669-FF50-5B56-378C-E0EE4C554EFC}"/>
                </a:ext>
              </a:extLst>
            </p:cNvPr>
            <p:cNvSpPr/>
            <p:nvPr/>
          </p:nvSpPr>
          <p:spPr>
            <a:xfrm>
              <a:off x="11032232" y="4236659"/>
              <a:ext cx="37973" cy="4734"/>
            </a:xfrm>
            <a:custGeom>
              <a:avLst/>
              <a:gdLst>
                <a:gd name="connsiteX0" fmla="*/ 37974 w 37973"/>
                <a:gd name="connsiteY0" fmla="*/ 0 h 4734"/>
                <a:gd name="connsiteX1" fmla="*/ 0 w 37973"/>
                <a:gd name="connsiteY1" fmla="*/ 0 h 47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7973" h="4734">
                  <a:moveTo>
                    <a:pt x="37974" y="0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70" name="Forma livre: Forma 1669">
              <a:extLst>
                <a:ext uri="{FF2B5EF4-FFF2-40B4-BE49-F238E27FC236}">
                  <a16:creationId xmlns:a16="http://schemas.microsoft.com/office/drawing/2014/main" id="{31F896A0-757B-0641-276D-A0CE50853D21}"/>
                </a:ext>
              </a:extLst>
            </p:cNvPr>
            <p:cNvSpPr/>
            <p:nvPr/>
          </p:nvSpPr>
          <p:spPr>
            <a:xfrm>
              <a:off x="11313199" y="4259150"/>
              <a:ext cx="29687" cy="4734"/>
            </a:xfrm>
            <a:custGeom>
              <a:avLst/>
              <a:gdLst>
                <a:gd name="connsiteX0" fmla="*/ 0 w 29687"/>
                <a:gd name="connsiteY0" fmla="*/ 0 h 4734"/>
                <a:gd name="connsiteX1" fmla="*/ 29688 w 29687"/>
                <a:gd name="connsiteY1" fmla="*/ 0 h 47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9687" h="4734">
                  <a:moveTo>
                    <a:pt x="0" y="0"/>
                  </a:moveTo>
                  <a:lnTo>
                    <a:pt x="29688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71" name="Forma livre: Forma 1670">
              <a:extLst>
                <a:ext uri="{FF2B5EF4-FFF2-40B4-BE49-F238E27FC236}">
                  <a16:creationId xmlns:a16="http://schemas.microsoft.com/office/drawing/2014/main" id="{FDA770C3-5AAD-A002-E8E4-EAF1A0D726A4}"/>
                </a:ext>
              </a:extLst>
            </p:cNvPr>
            <p:cNvSpPr/>
            <p:nvPr/>
          </p:nvSpPr>
          <p:spPr>
            <a:xfrm>
              <a:off x="11299136" y="4233108"/>
              <a:ext cx="29687" cy="4734"/>
            </a:xfrm>
            <a:custGeom>
              <a:avLst/>
              <a:gdLst>
                <a:gd name="connsiteX0" fmla="*/ 0 w 29687"/>
                <a:gd name="connsiteY0" fmla="*/ 0 h 4734"/>
                <a:gd name="connsiteX1" fmla="*/ 29688 w 29687"/>
                <a:gd name="connsiteY1" fmla="*/ 0 h 47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9687" h="4734">
                  <a:moveTo>
                    <a:pt x="0" y="0"/>
                  </a:moveTo>
                  <a:lnTo>
                    <a:pt x="29688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672" name="Gráfico 18">
            <a:extLst>
              <a:ext uri="{FF2B5EF4-FFF2-40B4-BE49-F238E27FC236}">
                <a16:creationId xmlns:a16="http://schemas.microsoft.com/office/drawing/2014/main" id="{CF006342-A333-C5E6-A174-AE1B17BC7FBA}"/>
              </a:ext>
            </a:extLst>
          </p:cNvPr>
          <p:cNvGrpSpPr/>
          <p:nvPr/>
        </p:nvGrpSpPr>
        <p:grpSpPr>
          <a:xfrm>
            <a:off x="11028207" y="5252796"/>
            <a:ext cx="363448" cy="275676"/>
            <a:chOff x="11028207" y="5252796"/>
            <a:chExt cx="363448" cy="275676"/>
          </a:xfrm>
          <a:noFill/>
        </p:grpSpPr>
        <p:sp>
          <p:nvSpPr>
            <p:cNvPr id="1673" name="Forma livre: Forma 1672">
              <a:extLst>
                <a:ext uri="{FF2B5EF4-FFF2-40B4-BE49-F238E27FC236}">
                  <a16:creationId xmlns:a16="http://schemas.microsoft.com/office/drawing/2014/main" id="{AAC84F5E-B0D4-D0D9-33C1-E904887241AF}"/>
                </a:ext>
              </a:extLst>
            </p:cNvPr>
            <p:cNvSpPr/>
            <p:nvPr/>
          </p:nvSpPr>
          <p:spPr>
            <a:xfrm>
              <a:off x="11028207" y="5407834"/>
              <a:ext cx="63352" cy="12352"/>
            </a:xfrm>
            <a:custGeom>
              <a:avLst/>
              <a:gdLst>
                <a:gd name="connsiteX0" fmla="*/ 63352 w 63352"/>
                <a:gd name="connsiteY0" fmla="*/ 184 h 12352"/>
                <a:gd name="connsiteX1" fmla="*/ 0 w 63352"/>
                <a:gd name="connsiteY1" fmla="*/ 12353 h 123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3352" h="12352">
                  <a:moveTo>
                    <a:pt x="63352" y="184"/>
                  </a:moveTo>
                  <a:cubicBezTo>
                    <a:pt x="63352" y="184"/>
                    <a:pt x="30682" y="-2467"/>
                    <a:pt x="0" y="12353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74" name="Forma livre: Forma 1673">
              <a:extLst>
                <a:ext uri="{FF2B5EF4-FFF2-40B4-BE49-F238E27FC236}">
                  <a16:creationId xmlns:a16="http://schemas.microsoft.com/office/drawing/2014/main" id="{5FE2D649-A73C-237D-C4BE-82B063F5FEC4}"/>
                </a:ext>
              </a:extLst>
            </p:cNvPr>
            <p:cNvSpPr/>
            <p:nvPr/>
          </p:nvSpPr>
          <p:spPr>
            <a:xfrm>
              <a:off x="11092788" y="5252796"/>
              <a:ext cx="264069" cy="183867"/>
            </a:xfrm>
            <a:custGeom>
              <a:avLst/>
              <a:gdLst>
                <a:gd name="connsiteX0" fmla="*/ 2 w 264069"/>
                <a:gd name="connsiteY0" fmla="*/ 170326 h 183867"/>
                <a:gd name="connsiteX1" fmla="*/ 2 w 264069"/>
                <a:gd name="connsiteY1" fmla="*/ 108394 h 183867"/>
                <a:gd name="connsiteX2" fmla="*/ 13876 w 264069"/>
                <a:gd name="connsiteY2" fmla="*/ 108394 h 183867"/>
                <a:gd name="connsiteX3" fmla="*/ 17474 w 264069"/>
                <a:gd name="connsiteY3" fmla="*/ 82589 h 183867"/>
                <a:gd name="connsiteX4" fmla="*/ 68705 w 264069"/>
                <a:gd name="connsiteY4" fmla="*/ 29037 h 183867"/>
                <a:gd name="connsiteX5" fmla="*/ 224672 w 264069"/>
                <a:gd name="connsiteY5" fmla="*/ 344 h 183867"/>
                <a:gd name="connsiteX6" fmla="*/ 264066 w 264069"/>
                <a:gd name="connsiteY6" fmla="*/ 57778 h 183867"/>
                <a:gd name="connsiteX7" fmla="*/ 263971 w 264069"/>
                <a:gd name="connsiteY7" fmla="*/ 144474 h 183867"/>
                <a:gd name="connsiteX8" fmla="*/ 230212 w 264069"/>
                <a:gd name="connsiteY8" fmla="*/ 144474 h 183867"/>
                <a:gd name="connsiteX9" fmla="*/ 196878 w 264069"/>
                <a:gd name="connsiteY9" fmla="*/ 183868 h 183867"/>
                <a:gd name="connsiteX10" fmla="*/ 15770 w 264069"/>
                <a:gd name="connsiteY10" fmla="*/ 183868 h 183867"/>
                <a:gd name="connsiteX11" fmla="*/ 2 w 264069"/>
                <a:gd name="connsiteY11" fmla="*/ 170373 h 1838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64069" h="183867">
                  <a:moveTo>
                    <a:pt x="2" y="170326"/>
                  </a:moveTo>
                  <a:lnTo>
                    <a:pt x="2" y="108394"/>
                  </a:lnTo>
                  <a:lnTo>
                    <a:pt x="13876" y="108394"/>
                  </a:lnTo>
                  <a:lnTo>
                    <a:pt x="17474" y="82589"/>
                  </a:lnTo>
                  <a:cubicBezTo>
                    <a:pt x="23109" y="49918"/>
                    <a:pt x="68705" y="29037"/>
                    <a:pt x="68705" y="29037"/>
                  </a:cubicBezTo>
                  <a:cubicBezTo>
                    <a:pt x="132863" y="-5290"/>
                    <a:pt x="224672" y="344"/>
                    <a:pt x="224672" y="344"/>
                  </a:cubicBezTo>
                  <a:cubicBezTo>
                    <a:pt x="265202" y="1480"/>
                    <a:pt x="264066" y="57778"/>
                    <a:pt x="264066" y="57778"/>
                  </a:cubicBezTo>
                  <a:lnTo>
                    <a:pt x="263971" y="144474"/>
                  </a:lnTo>
                  <a:lnTo>
                    <a:pt x="230212" y="144474"/>
                  </a:lnTo>
                  <a:cubicBezTo>
                    <a:pt x="198677" y="144474"/>
                    <a:pt x="196878" y="183868"/>
                    <a:pt x="196878" y="183868"/>
                  </a:cubicBezTo>
                  <a:lnTo>
                    <a:pt x="15770" y="183868"/>
                  </a:lnTo>
                  <a:cubicBezTo>
                    <a:pt x="-566" y="183868"/>
                    <a:pt x="2" y="170373"/>
                    <a:pt x="2" y="170373"/>
                  </a:cubicBez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75" name="Forma livre: Forma 1674">
              <a:extLst>
                <a:ext uri="{FF2B5EF4-FFF2-40B4-BE49-F238E27FC236}">
                  <a16:creationId xmlns:a16="http://schemas.microsoft.com/office/drawing/2014/main" id="{F4BB83AF-7426-2606-A62C-09AC0C19DF81}"/>
                </a:ext>
              </a:extLst>
            </p:cNvPr>
            <p:cNvSpPr/>
            <p:nvPr/>
          </p:nvSpPr>
          <p:spPr>
            <a:xfrm>
              <a:off x="11131380" y="5451247"/>
              <a:ext cx="260275" cy="18067"/>
            </a:xfrm>
            <a:custGeom>
              <a:avLst/>
              <a:gdLst>
                <a:gd name="connsiteX0" fmla="*/ 0 w 260275"/>
                <a:gd name="connsiteY0" fmla="*/ 18040 h 18067"/>
                <a:gd name="connsiteX1" fmla="*/ 231724 w 260275"/>
                <a:gd name="connsiteY1" fmla="*/ 18040 h 18067"/>
                <a:gd name="connsiteX2" fmla="*/ 260276 w 260275"/>
                <a:gd name="connsiteY2" fmla="*/ 0 h 180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60275" h="18067">
                  <a:moveTo>
                    <a:pt x="0" y="18040"/>
                  </a:moveTo>
                  <a:lnTo>
                    <a:pt x="231724" y="18040"/>
                  </a:lnTo>
                  <a:cubicBezTo>
                    <a:pt x="231724" y="18040"/>
                    <a:pt x="251990" y="19555"/>
                    <a:pt x="260276" y="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76" name="Forma livre: Forma 1675">
              <a:extLst>
                <a:ext uri="{FF2B5EF4-FFF2-40B4-BE49-F238E27FC236}">
                  <a16:creationId xmlns:a16="http://schemas.microsoft.com/office/drawing/2014/main" id="{BA6F48E3-95AF-6F70-9715-9083F5DE8132}"/>
                </a:ext>
              </a:extLst>
            </p:cNvPr>
            <p:cNvSpPr/>
            <p:nvPr/>
          </p:nvSpPr>
          <p:spPr>
            <a:xfrm>
              <a:off x="11335973" y="5470234"/>
              <a:ext cx="4734" cy="58238"/>
            </a:xfrm>
            <a:custGeom>
              <a:avLst/>
              <a:gdLst>
                <a:gd name="connsiteX0" fmla="*/ 0 w 4734"/>
                <a:gd name="connsiteY0" fmla="*/ 0 h 58238"/>
                <a:gd name="connsiteX1" fmla="*/ 0 w 4734"/>
                <a:gd name="connsiteY1" fmla="*/ 58239 h 582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734" h="58238">
                  <a:moveTo>
                    <a:pt x="0" y="0"/>
                  </a:moveTo>
                  <a:lnTo>
                    <a:pt x="0" y="58239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77" name="Forma livre: Forma 1676">
              <a:extLst>
                <a:ext uri="{FF2B5EF4-FFF2-40B4-BE49-F238E27FC236}">
                  <a16:creationId xmlns:a16="http://schemas.microsoft.com/office/drawing/2014/main" id="{27AA6B0A-20FE-593A-4B0F-67C56875BB98}"/>
                </a:ext>
              </a:extLst>
            </p:cNvPr>
            <p:cNvSpPr/>
            <p:nvPr/>
          </p:nvSpPr>
          <p:spPr>
            <a:xfrm>
              <a:off x="11335973" y="5398548"/>
              <a:ext cx="4734" cy="51468"/>
            </a:xfrm>
            <a:custGeom>
              <a:avLst/>
              <a:gdLst>
                <a:gd name="connsiteX0" fmla="*/ 0 w 4734"/>
                <a:gd name="connsiteY0" fmla="*/ 0 h 51468"/>
                <a:gd name="connsiteX1" fmla="*/ 0 w 4734"/>
                <a:gd name="connsiteY1" fmla="*/ 51468 h 514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734" h="51468">
                  <a:moveTo>
                    <a:pt x="0" y="0"/>
                  </a:moveTo>
                  <a:lnTo>
                    <a:pt x="0" y="51468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78" name="Forma livre: Forma 1677">
              <a:extLst>
                <a:ext uri="{FF2B5EF4-FFF2-40B4-BE49-F238E27FC236}">
                  <a16:creationId xmlns:a16="http://schemas.microsoft.com/office/drawing/2014/main" id="{A08A0E9B-3531-BA34-CBC7-DAC315DDD499}"/>
                </a:ext>
              </a:extLst>
            </p:cNvPr>
            <p:cNvSpPr/>
            <p:nvPr/>
          </p:nvSpPr>
          <p:spPr>
            <a:xfrm>
              <a:off x="11150023" y="5309736"/>
              <a:ext cx="137366" cy="52211"/>
            </a:xfrm>
            <a:custGeom>
              <a:avLst/>
              <a:gdLst>
                <a:gd name="connsiteX0" fmla="*/ 72219 w 137366"/>
                <a:gd name="connsiteY0" fmla="*/ 1028 h 52211"/>
                <a:gd name="connsiteX1" fmla="*/ 136755 w 137366"/>
                <a:gd name="connsiteY1" fmla="*/ 22192 h 52211"/>
                <a:gd name="connsiteX2" fmla="*/ 111992 w 137366"/>
                <a:gd name="connsiteY2" fmla="*/ 52211 h 52211"/>
                <a:gd name="connsiteX3" fmla="*/ 12891 w 137366"/>
                <a:gd name="connsiteY3" fmla="*/ 52211 h 52211"/>
                <a:gd name="connsiteX4" fmla="*/ 107 w 137366"/>
                <a:gd name="connsiteY4" fmla="*/ 30147 h 52211"/>
                <a:gd name="connsiteX5" fmla="*/ 72172 w 137366"/>
                <a:gd name="connsiteY5" fmla="*/ 1028 h 522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37366" h="52211">
                  <a:moveTo>
                    <a:pt x="72219" y="1028"/>
                  </a:moveTo>
                  <a:cubicBezTo>
                    <a:pt x="72219" y="1028"/>
                    <a:pt x="132257" y="-7069"/>
                    <a:pt x="136755" y="22192"/>
                  </a:cubicBezTo>
                  <a:cubicBezTo>
                    <a:pt x="136755" y="22192"/>
                    <a:pt x="143526" y="49986"/>
                    <a:pt x="111992" y="52211"/>
                  </a:cubicBezTo>
                  <a:lnTo>
                    <a:pt x="12891" y="52211"/>
                  </a:lnTo>
                  <a:cubicBezTo>
                    <a:pt x="12891" y="52211"/>
                    <a:pt x="-35" y="52211"/>
                    <a:pt x="107" y="30147"/>
                  </a:cubicBezTo>
                  <a:cubicBezTo>
                    <a:pt x="107" y="30147"/>
                    <a:pt x="-5906" y="7798"/>
                    <a:pt x="72172" y="1028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79" name="Forma livre: Forma 1678">
              <a:extLst>
                <a:ext uri="{FF2B5EF4-FFF2-40B4-BE49-F238E27FC236}">
                  <a16:creationId xmlns:a16="http://schemas.microsoft.com/office/drawing/2014/main" id="{5E2A8093-D0D5-9CA6-F5C5-3E044E193A36}"/>
                </a:ext>
              </a:extLst>
            </p:cNvPr>
            <p:cNvSpPr/>
            <p:nvPr/>
          </p:nvSpPr>
          <p:spPr>
            <a:xfrm>
              <a:off x="11127071" y="5389410"/>
              <a:ext cx="4734" cy="20880"/>
            </a:xfrm>
            <a:custGeom>
              <a:avLst/>
              <a:gdLst>
                <a:gd name="connsiteX0" fmla="*/ 0 w 4734"/>
                <a:gd name="connsiteY0" fmla="*/ 20881 h 20880"/>
                <a:gd name="connsiteX1" fmla="*/ 0 w 4734"/>
                <a:gd name="connsiteY1" fmla="*/ 0 h 208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734" h="20880">
                  <a:moveTo>
                    <a:pt x="0" y="20881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80" name="Forma livre: Forma 1679">
              <a:extLst>
                <a:ext uri="{FF2B5EF4-FFF2-40B4-BE49-F238E27FC236}">
                  <a16:creationId xmlns:a16="http://schemas.microsoft.com/office/drawing/2014/main" id="{FFCC92BC-60C9-E851-5D10-0AC381B69BE6}"/>
                </a:ext>
              </a:extLst>
            </p:cNvPr>
            <p:cNvSpPr/>
            <p:nvPr/>
          </p:nvSpPr>
          <p:spPr>
            <a:xfrm>
              <a:off x="11152308" y="5389410"/>
              <a:ext cx="4734" cy="20880"/>
            </a:xfrm>
            <a:custGeom>
              <a:avLst/>
              <a:gdLst>
                <a:gd name="connsiteX0" fmla="*/ 0 w 4734"/>
                <a:gd name="connsiteY0" fmla="*/ 20881 h 20880"/>
                <a:gd name="connsiteX1" fmla="*/ 0 w 4734"/>
                <a:gd name="connsiteY1" fmla="*/ 0 h 208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734" h="20880">
                  <a:moveTo>
                    <a:pt x="0" y="20881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81" name="Forma livre: Forma 1680">
              <a:extLst>
                <a:ext uri="{FF2B5EF4-FFF2-40B4-BE49-F238E27FC236}">
                  <a16:creationId xmlns:a16="http://schemas.microsoft.com/office/drawing/2014/main" id="{886D3A8E-DA3D-8513-8DC4-FC5FD8945CD0}"/>
                </a:ext>
              </a:extLst>
            </p:cNvPr>
            <p:cNvSpPr/>
            <p:nvPr/>
          </p:nvSpPr>
          <p:spPr>
            <a:xfrm>
              <a:off x="11177545" y="5389410"/>
              <a:ext cx="4734" cy="20880"/>
            </a:xfrm>
            <a:custGeom>
              <a:avLst/>
              <a:gdLst>
                <a:gd name="connsiteX0" fmla="*/ 0 w 4734"/>
                <a:gd name="connsiteY0" fmla="*/ 20881 h 20880"/>
                <a:gd name="connsiteX1" fmla="*/ 0 w 4734"/>
                <a:gd name="connsiteY1" fmla="*/ 0 h 208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734" h="20880">
                  <a:moveTo>
                    <a:pt x="0" y="20881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82" name="Forma livre: Forma 1681">
              <a:extLst>
                <a:ext uri="{FF2B5EF4-FFF2-40B4-BE49-F238E27FC236}">
                  <a16:creationId xmlns:a16="http://schemas.microsoft.com/office/drawing/2014/main" id="{D213AC77-9078-B4E0-9C34-C2E1CBCE66BE}"/>
                </a:ext>
              </a:extLst>
            </p:cNvPr>
            <p:cNvSpPr/>
            <p:nvPr/>
          </p:nvSpPr>
          <p:spPr>
            <a:xfrm>
              <a:off x="11228539" y="5312373"/>
              <a:ext cx="54829" cy="23920"/>
            </a:xfrm>
            <a:custGeom>
              <a:avLst/>
              <a:gdLst>
                <a:gd name="connsiteX0" fmla="*/ 54830 w 54829"/>
                <a:gd name="connsiteY0" fmla="*/ 19082 h 23920"/>
                <a:gd name="connsiteX1" fmla="*/ 6818 w 54829"/>
                <a:gd name="connsiteY1" fmla="*/ 23816 h 23920"/>
                <a:gd name="connsiteX2" fmla="*/ 0 w 54829"/>
                <a:gd name="connsiteY2" fmla="*/ 0 h 239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54829" h="23920">
                  <a:moveTo>
                    <a:pt x="54830" y="19082"/>
                  </a:moveTo>
                  <a:cubicBezTo>
                    <a:pt x="54830" y="19082"/>
                    <a:pt x="25568" y="17803"/>
                    <a:pt x="6818" y="23816"/>
                  </a:cubicBezTo>
                  <a:cubicBezTo>
                    <a:pt x="758" y="25758"/>
                    <a:pt x="0" y="0"/>
                    <a:pt x="0" y="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683" name="Gráfico 18">
            <a:extLst>
              <a:ext uri="{FF2B5EF4-FFF2-40B4-BE49-F238E27FC236}">
                <a16:creationId xmlns:a16="http://schemas.microsoft.com/office/drawing/2014/main" id="{4627A7A5-3D77-2CA5-AE56-BBB4C330A42A}"/>
              </a:ext>
            </a:extLst>
          </p:cNvPr>
          <p:cNvGrpSpPr/>
          <p:nvPr/>
        </p:nvGrpSpPr>
        <p:grpSpPr>
          <a:xfrm>
            <a:off x="11059932" y="5774970"/>
            <a:ext cx="299952" cy="299952"/>
            <a:chOff x="11059932" y="5774970"/>
            <a:chExt cx="299952" cy="299952"/>
          </a:xfrm>
          <a:noFill/>
        </p:grpSpPr>
        <p:sp>
          <p:nvSpPr>
            <p:cNvPr id="1684" name="Forma livre: Forma 1683">
              <a:extLst>
                <a:ext uri="{FF2B5EF4-FFF2-40B4-BE49-F238E27FC236}">
                  <a16:creationId xmlns:a16="http://schemas.microsoft.com/office/drawing/2014/main" id="{ABD15342-BC1B-C1FF-5ADE-96CECFC1BA18}"/>
                </a:ext>
              </a:extLst>
            </p:cNvPr>
            <p:cNvSpPr/>
            <p:nvPr/>
          </p:nvSpPr>
          <p:spPr>
            <a:xfrm>
              <a:off x="11240424" y="5774970"/>
              <a:ext cx="119460" cy="119602"/>
            </a:xfrm>
            <a:custGeom>
              <a:avLst/>
              <a:gdLst>
                <a:gd name="connsiteX0" fmla="*/ 18466 w 119460"/>
                <a:gd name="connsiteY0" fmla="*/ 119603 h 119602"/>
                <a:gd name="connsiteX1" fmla="*/ 71354 w 119460"/>
                <a:gd name="connsiteY1" fmla="*/ 66620 h 119602"/>
                <a:gd name="connsiteX2" fmla="*/ 93040 w 119460"/>
                <a:gd name="connsiteY2" fmla="*/ 65436 h 119602"/>
                <a:gd name="connsiteX3" fmla="*/ 119461 w 119460"/>
                <a:gd name="connsiteY3" fmla="*/ 20502 h 119602"/>
                <a:gd name="connsiteX4" fmla="*/ 98959 w 119460"/>
                <a:gd name="connsiteY4" fmla="*/ 0 h 119602"/>
                <a:gd name="connsiteX5" fmla="*/ 54025 w 119460"/>
                <a:gd name="connsiteY5" fmla="*/ 26420 h 119602"/>
                <a:gd name="connsiteX6" fmla="*/ 52889 w 119460"/>
                <a:gd name="connsiteY6" fmla="*/ 48106 h 119602"/>
                <a:gd name="connsiteX7" fmla="*/ 0 w 119460"/>
                <a:gd name="connsiteY7" fmla="*/ 101137 h 1196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19460" h="119602">
                  <a:moveTo>
                    <a:pt x="18466" y="119603"/>
                  </a:moveTo>
                  <a:lnTo>
                    <a:pt x="71354" y="66620"/>
                  </a:lnTo>
                  <a:lnTo>
                    <a:pt x="93040" y="65436"/>
                  </a:lnTo>
                  <a:lnTo>
                    <a:pt x="119461" y="20502"/>
                  </a:lnTo>
                  <a:lnTo>
                    <a:pt x="98959" y="0"/>
                  </a:lnTo>
                  <a:lnTo>
                    <a:pt x="54025" y="26420"/>
                  </a:lnTo>
                  <a:lnTo>
                    <a:pt x="52889" y="48106"/>
                  </a:lnTo>
                  <a:lnTo>
                    <a:pt x="0" y="101137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85" name="Forma livre: Forma 1684">
              <a:extLst>
                <a:ext uri="{FF2B5EF4-FFF2-40B4-BE49-F238E27FC236}">
                  <a16:creationId xmlns:a16="http://schemas.microsoft.com/office/drawing/2014/main" id="{863128AE-2864-A6CF-682B-CB844269D6A6}"/>
                </a:ext>
              </a:extLst>
            </p:cNvPr>
            <p:cNvSpPr/>
            <p:nvPr/>
          </p:nvSpPr>
          <p:spPr>
            <a:xfrm>
              <a:off x="11059932" y="5879623"/>
              <a:ext cx="195300" cy="195299"/>
            </a:xfrm>
            <a:custGeom>
              <a:avLst/>
              <a:gdLst>
                <a:gd name="connsiteX0" fmla="*/ 178266 w 195300"/>
                <a:gd name="connsiteY0" fmla="*/ 23330 h 195299"/>
                <a:gd name="connsiteX1" fmla="*/ 178266 w 195300"/>
                <a:gd name="connsiteY1" fmla="*/ 23330 h 195299"/>
                <a:gd name="connsiteX2" fmla="*/ 192092 w 195300"/>
                <a:gd name="connsiteY2" fmla="*/ 46200 h 195299"/>
                <a:gd name="connsiteX3" fmla="*/ 149052 w 195300"/>
                <a:gd name="connsiteY3" fmla="*/ 73188 h 195299"/>
                <a:gd name="connsiteX4" fmla="*/ 131013 w 195300"/>
                <a:gd name="connsiteY4" fmla="*/ 99940 h 195299"/>
                <a:gd name="connsiteX5" fmla="*/ 103172 w 195300"/>
                <a:gd name="connsiteY5" fmla="*/ 163624 h 195299"/>
                <a:gd name="connsiteX6" fmla="*/ 84469 w 195300"/>
                <a:gd name="connsiteY6" fmla="*/ 183558 h 195299"/>
                <a:gd name="connsiteX7" fmla="*/ 19317 w 195300"/>
                <a:gd name="connsiteY7" fmla="*/ 177450 h 195299"/>
                <a:gd name="connsiteX8" fmla="*/ 17849 w 195300"/>
                <a:gd name="connsiteY8" fmla="*/ 175982 h 195299"/>
                <a:gd name="connsiteX9" fmla="*/ 11741 w 195300"/>
                <a:gd name="connsiteY9" fmla="*/ 110831 h 195299"/>
                <a:gd name="connsiteX10" fmla="*/ 31675 w 195300"/>
                <a:gd name="connsiteY10" fmla="*/ 92128 h 195299"/>
                <a:gd name="connsiteX11" fmla="*/ 95359 w 195300"/>
                <a:gd name="connsiteY11" fmla="*/ 64287 h 195299"/>
                <a:gd name="connsiteX12" fmla="*/ 122111 w 195300"/>
                <a:gd name="connsiteY12" fmla="*/ 46247 h 195299"/>
                <a:gd name="connsiteX13" fmla="*/ 149100 w 195300"/>
                <a:gd name="connsiteY13" fmla="*/ 3207 h 195299"/>
                <a:gd name="connsiteX14" fmla="*/ 171969 w 195300"/>
                <a:gd name="connsiteY14" fmla="*/ 17080 h 195299"/>
                <a:gd name="connsiteX15" fmla="*/ 171969 w 195300"/>
                <a:gd name="connsiteY15" fmla="*/ 17080 h 195299"/>
                <a:gd name="connsiteX16" fmla="*/ 178219 w 195300"/>
                <a:gd name="connsiteY16" fmla="*/ 23330 h 1952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95300" h="195299">
                  <a:moveTo>
                    <a:pt x="178266" y="23330"/>
                  </a:moveTo>
                  <a:lnTo>
                    <a:pt x="178266" y="23330"/>
                  </a:lnTo>
                  <a:cubicBezTo>
                    <a:pt x="190151" y="35167"/>
                    <a:pt x="200852" y="45205"/>
                    <a:pt x="192092" y="46200"/>
                  </a:cubicBezTo>
                  <a:cubicBezTo>
                    <a:pt x="192092" y="46200"/>
                    <a:pt x="176373" y="45868"/>
                    <a:pt x="149052" y="73188"/>
                  </a:cubicBezTo>
                  <a:cubicBezTo>
                    <a:pt x="141382" y="80859"/>
                    <a:pt x="134185" y="89950"/>
                    <a:pt x="131013" y="99940"/>
                  </a:cubicBezTo>
                  <a:cubicBezTo>
                    <a:pt x="126656" y="117649"/>
                    <a:pt x="120454" y="142223"/>
                    <a:pt x="103172" y="163624"/>
                  </a:cubicBezTo>
                  <a:cubicBezTo>
                    <a:pt x="102461" y="164524"/>
                    <a:pt x="87878" y="180907"/>
                    <a:pt x="84469" y="183558"/>
                  </a:cubicBezTo>
                  <a:cubicBezTo>
                    <a:pt x="81060" y="186210"/>
                    <a:pt x="53882" y="212015"/>
                    <a:pt x="19317" y="177450"/>
                  </a:cubicBezTo>
                  <a:lnTo>
                    <a:pt x="17849" y="175982"/>
                  </a:lnTo>
                  <a:cubicBezTo>
                    <a:pt x="-16715" y="141418"/>
                    <a:pt x="9090" y="114240"/>
                    <a:pt x="11741" y="110831"/>
                  </a:cubicBezTo>
                  <a:cubicBezTo>
                    <a:pt x="14393" y="107422"/>
                    <a:pt x="30775" y="92885"/>
                    <a:pt x="31675" y="92128"/>
                  </a:cubicBezTo>
                  <a:cubicBezTo>
                    <a:pt x="53077" y="74846"/>
                    <a:pt x="77603" y="68643"/>
                    <a:pt x="95359" y="64287"/>
                  </a:cubicBezTo>
                  <a:cubicBezTo>
                    <a:pt x="105350" y="61115"/>
                    <a:pt x="114441" y="53917"/>
                    <a:pt x="122111" y="46247"/>
                  </a:cubicBezTo>
                  <a:cubicBezTo>
                    <a:pt x="149431" y="18927"/>
                    <a:pt x="149100" y="3207"/>
                    <a:pt x="149100" y="3207"/>
                  </a:cubicBezTo>
                  <a:cubicBezTo>
                    <a:pt x="150141" y="-5552"/>
                    <a:pt x="160132" y="5148"/>
                    <a:pt x="171969" y="17080"/>
                  </a:cubicBezTo>
                  <a:lnTo>
                    <a:pt x="171969" y="17080"/>
                  </a:lnTo>
                  <a:lnTo>
                    <a:pt x="178219" y="23330"/>
                  </a:ln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86" name="Forma livre: Forma 1685">
              <a:extLst>
                <a:ext uri="{FF2B5EF4-FFF2-40B4-BE49-F238E27FC236}">
                  <a16:creationId xmlns:a16="http://schemas.microsoft.com/office/drawing/2014/main" id="{5D1AEFEB-0F67-BDE3-8500-394F284DE964}"/>
                </a:ext>
              </a:extLst>
            </p:cNvPr>
            <p:cNvSpPr/>
            <p:nvPr/>
          </p:nvSpPr>
          <p:spPr>
            <a:xfrm>
              <a:off x="11083368" y="5981126"/>
              <a:ext cx="70360" cy="70360"/>
            </a:xfrm>
            <a:custGeom>
              <a:avLst/>
              <a:gdLst>
                <a:gd name="connsiteX0" fmla="*/ 0 w 70360"/>
                <a:gd name="connsiteY0" fmla="*/ 0 h 70360"/>
                <a:gd name="connsiteX1" fmla="*/ 70360 w 70360"/>
                <a:gd name="connsiteY1" fmla="*/ 70360 h 703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0360" h="70360">
                  <a:moveTo>
                    <a:pt x="0" y="0"/>
                  </a:moveTo>
                  <a:lnTo>
                    <a:pt x="70360" y="7036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687" name="Gráfico 18">
            <a:extLst>
              <a:ext uri="{FF2B5EF4-FFF2-40B4-BE49-F238E27FC236}">
                <a16:creationId xmlns:a16="http://schemas.microsoft.com/office/drawing/2014/main" id="{03F4DD83-1355-348C-38D7-7EAA8B9A03CE}"/>
              </a:ext>
            </a:extLst>
          </p:cNvPr>
          <p:cNvGrpSpPr/>
          <p:nvPr/>
        </p:nvGrpSpPr>
        <p:grpSpPr>
          <a:xfrm>
            <a:off x="9814992" y="4748451"/>
            <a:ext cx="328540" cy="215625"/>
            <a:chOff x="9814992" y="4748451"/>
            <a:chExt cx="328540" cy="215625"/>
          </a:xfrm>
          <a:noFill/>
        </p:grpSpPr>
        <p:sp>
          <p:nvSpPr>
            <p:cNvPr id="1688" name="Forma livre: Forma 1687">
              <a:extLst>
                <a:ext uri="{FF2B5EF4-FFF2-40B4-BE49-F238E27FC236}">
                  <a16:creationId xmlns:a16="http://schemas.microsoft.com/office/drawing/2014/main" id="{E37D7182-B64C-6558-E166-57282F4FB78F}"/>
                </a:ext>
              </a:extLst>
            </p:cNvPr>
            <p:cNvSpPr/>
            <p:nvPr/>
          </p:nvSpPr>
          <p:spPr>
            <a:xfrm>
              <a:off x="10045580" y="4748451"/>
              <a:ext cx="33428" cy="29971"/>
            </a:xfrm>
            <a:custGeom>
              <a:avLst/>
              <a:gdLst>
                <a:gd name="connsiteX0" fmla="*/ 0 w 33428"/>
                <a:gd name="connsiteY0" fmla="*/ 0 h 29971"/>
                <a:gd name="connsiteX1" fmla="*/ 33428 w 33428"/>
                <a:gd name="connsiteY1" fmla="*/ 0 h 29971"/>
                <a:gd name="connsiteX2" fmla="*/ 33428 w 33428"/>
                <a:gd name="connsiteY2" fmla="*/ 29972 h 299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3428" h="29971">
                  <a:moveTo>
                    <a:pt x="0" y="0"/>
                  </a:moveTo>
                  <a:lnTo>
                    <a:pt x="33428" y="0"/>
                  </a:lnTo>
                  <a:lnTo>
                    <a:pt x="33428" y="29972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89" name="Forma livre: Forma 1688">
              <a:extLst>
                <a:ext uri="{FF2B5EF4-FFF2-40B4-BE49-F238E27FC236}">
                  <a16:creationId xmlns:a16="http://schemas.microsoft.com/office/drawing/2014/main" id="{5CF61D8B-9D64-5CF5-DA32-5036ADDE8190}"/>
                </a:ext>
              </a:extLst>
            </p:cNvPr>
            <p:cNvSpPr/>
            <p:nvPr/>
          </p:nvSpPr>
          <p:spPr>
            <a:xfrm>
              <a:off x="9814992" y="4748451"/>
              <a:ext cx="264016" cy="215625"/>
            </a:xfrm>
            <a:custGeom>
              <a:avLst/>
              <a:gdLst>
                <a:gd name="connsiteX0" fmla="*/ 264016 w 264016"/>
                <a:gd name="connsiteY0" fmla="*/ 174906 h 215625"/>
                <a:gd name="connsiteX1" fmla="*/ 264016 w 264016"/>
                <a:gd name="connsiteY1" fmla="*/ 215626 h 215625"/>
                <a:gd name="connsiteX2" fmla="*/ 0 w 264016"/>
                <a:gd name="connsiteY2" fmla="*/ 215626 h 215625"/>
                <a:gd name="connsiteX3" fmla="*/ 0 w 264016"/>
                <a:gd name="connsiteY3" fmla="*/ 0 h 215625"/>
                <a:gd name="connsiteX4" fmla="*/ 187974 w 264016"/>
                <a:gd name="connsiteY4" fmla="*/ 0 h 2156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64016" h="215625">
                  <a:moveTo>
                    <a:pt x="264016" y="174906"/>
                  </a:moveTo>
                  <a:lnTo>
                    <a:pt x="264016" y="215626"/>
                  </a:lnTo>
                  <a:lnTo>
                    <a:pt x="0" y="215626"/>
                  </a:lnTo>
                  <a:lnTo>
                    <a:pt x="0" y="0"/>
                  </a:lnTo>
                  <a:lnTo>
                    <a:pt x="187974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90" name="Forma livre: Forma 1689">
              <a:extLst>
                <a:ext uri="{FF2B5EF4-FFF2-40B4-BE49-F238E27FC236}">
                  <a16:creationId xmlns:a16="http://schemas.microsoft.com/office/drawing/2014/main" id="{A7FCB8AE-5575-E4CC-32A2-D2DBC576D691}"/>
                </a:ext>
              </a:extLst>
            </p:cNvPr>
            <p:cNvSpPr/>
            <p:nvPr/>
          </p:nvSpPr>
          <p:spPr>
            <a:xfrm>
              <a:off x="9815560" y="4857163"/>
              <a:ext cx="115862" cy="4734"/>
            </a:xfrm>
            <a:custGeom>
              <a:avLst/>
              <a:gdLst>
                <a:gd name="connsiteX0" fmla="*/ 115862 w 115862"/>
                <a:gd name="connsiteY0" fmla="*/ 0 h 4734"/>
                <a:gd name="connsiteX1" fmla="*/ 0 w 115862"/>
                <a:gd name="connsiteY1" fmla="*/ 0 h 47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5862" h="4734">
                  <a:moveTo>
                    <a:pt x="115862" y="0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91" name="Forma livre: Forma 1690">
              <a:extLst>
                <a:ext uri="{FF2B5EF4-FFF2-40B4-BE49-F238E27FC236}">
                  <a16:creationId xmlns:a16="http://schemas.microsoft.com/office/drawing/2014/main" id="{070C870B-063B-E024-1D2A-F29F63016F75}"/>
                </a:ext>
              </a:extLst>
            </p:cNvPr>
            <p:cNvSpPr/>
            <p:nvPr/>
          </p:nvSpPr>
          <p:spPr>
            <a:xfrm>
              <a:off x="9931517" y="4823404"/>
              <a:ext cx="4734" cy="67519"/>
            </a:xfrm>
            <a:custGeom>
              <a:avLst/>
              <a:gdLst>
                <a:gd name="connsiteX0" fmla="*/ 0 w 4734"/>
                <a:gd name="connsiteY0" fmla="*/ 67519 h 67519"/>
                <a:gd name="connsiteX1" fmla="*/ 0 w 4734"/>
                <a:gd name="connsiteY1" fmla="*/ 0 h 675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734" h="67519">
                  <a:moveTo>
                    <a:pt x="0" y="67519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92" name="Forma livre: Forma 1691">
              <a:extLst>
                <a:ext uri="{FF2B5EF4-FFF2-40B4-BE49-F238E27FC236}">
                  <a16:creationId xmlns:a16="http://schemas.microsoft.com/office/drawing/2014/main" id="{D4FB63AE-37A3-0146-5971-01C817FEB9E2}"/>
                </a:ext>
              </a:extLst>
            </p:cNvPr>
            <p:cNvSpPr/>
            <p:nvPr/>
          </p:nvSpPr>
          <p:spPr>
            <a:xfrm>
              <a:off x="9931517" y="4748829"/>
              <a:ext cx="4734" cy="39867"/>
            </a:xfrm>
            <a:custGeom>
              <a:avLst/>
              <a:gdLst>
                <a:gd name="connsiteX0" fmla="*/ 0 w 4734"/>
                <a:gd name="connsiteY0" fmla="*/ 39868 h 39867"/>
                <a:gd name="connsiteX1" fmla="*/ 0 w 4734"/>
                <a:gd name="connsiteY1" fmla="*/ 0 h 398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734" h="39867">
                  <a:moveTo>
                    <a:pt x="0" y="39868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93" name="Forma livre: Forma 1692">
              <a:extLst>
                <a:ext uri="{FF2B5EF4-FFF2-40B4-BE49-F238E27FC236}">
                  <a16:creationId xmlns:a16="http://schemas.microsoft.com/office/drawing/2014/main" id="{02BDB5DE-B3BB-8A47-8EAE-B1CF84E86016}"/>
                </a:ext>
              </a:extLst>
            </p:cNvPr>
            <p:cNvSpPr/>
            <p:nvPr/>
          </p:nvSpPr>
          <p:spPr>
            <a:xfrm>
              <a:off x="9931517" y="4929181"/>
              <a:ext cx="4734" cy="34706"/>
            </a:xfrm>
            <a:custGeom>
              <a:avLst/>
              <a:gdLst>
                <a:gd name="connsiteX0" fmla="*/ 0 w 4734"/>
                <a:gd name="connsiteY0" fmla="*/ 34707 h 34706"/>
                <a:gd name="connsiteX1" fmla="*/ 0 w 4734"/>
                <a:gd name="connsiteY1" fmla="*/ 0 h 347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734" h="34706">
                  <a:moveTo>
                    <a:pt x="0" y="34707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694" name="Gráfico 18">
              <a:extLst>
                <a:ext uri="{FF2B5EF4-FFF2-40B4-BE49-F238E27FC236}">
                  <a16:creationId xmlns:a16="http://schemas.microsoft.com/office/drawing/2014/main" id="{949E86DD-9436-7119-1AE8-B732D588DDF1}"/>
                </a:ext>
              </a:extLst>
            </p:cNvPr>
            <p:cNvGrpSpPr/>
            <p:nvPr/>
          </p:nvGrpSpPr>
          <p:grpSpPr>
            <a:xfrm>
              <a:off x="10006659" y="4787181"/>
              <a:ext cx="136873" cy="135560"/>
              <a:chOff x="10006659" y="4787181"/>
              <a:chExt cx="136873" cy="135560"/>
            </a:xfrm>
            <a:noFill/>
          </p:grpSpPr>
          <p:grpSp>
            <p:nvGrpSpPr>
              <p:cNvPr id="1695" name="Gráfico 18">
                <a:extLst>
                  <a:ext uri="{FF2B5EF4-FFF2-40B4-BE49-F238E27FC236}">
                    <a16:creationId xmlns:a16="http://schemas.microsoft.com/office/drawing/2014/main" id="{6F0FF903-A3A1-8893-C86E-5607EC20E668}"/>
                  </a:ext>
                </a:extLst>
              </p:cNvPr>
              <p:cNvGrpSpPr/>
              <p:nvPr/>
            </p:nvGrpSpPr>
            <p:grpSpPr>
              <a:xfrm>
                <a:off x="10006659" y="4787181"/>
                <a:ext cx="136873" cy="135560"/>
                <a:chOff x="10006659" y="4787181"/>
                <a:chExt cx="136873" cy="135560"/>
              </a:xfrm>
              <a:noFill/>
            </p:grpSpPr>
            <p:grpSp>
              <p:nvGrpSpPr>
                <p:cNvPr id="1696" name="Gráfico 18">
                  <a:extLst>
                    <a:ext uri="{FF2B5EF4-FFF2-40B4-BE49-F238E27FC236}">
                      <a16:creationId xmlns:a16="http://schemas.microsoft.com/office/drawing/2014/main" id="{8919C5CF-DC60-30E7-B928-0B0214F75A1F}"/>
                    </a:ext>
                  </a:extLst>
                </p:cNvPr>
                <p:cNvGrpSpPr/>
                <p:nvPr/>
              </p:nvGrpSpPr>
              <p:grpSpPr>
                <a:xfrm>
                  <a:off x="10006659" y="4787181"/>
                  <a:ext cx="136873" cy="135560"/>
                  <a:chOff x="10006659" y="4787181"/>
                  <a:chExt cx="136873" cy="135560"/>
                </a:xfrm>
                <a:noFill/>
              </p:grpSpPr>
              <p:sp>
                <p:nvSpPr>
                  <p:cNvPr id="1697" name="Forma livre: Forma 1696">
                    <a:extLst>
                      <a:ext uri="{FF2B5EF4-FFF2-40B4-BE49-F238E27FC236}">
                        <a16:creationId xmlns:a16="http://schemas.microsoft.com/office/drawing/2014/main" id="{FAC56212-AAA2-CDE8-BA41-0056AAACB5D4}"/>
                      </a:ext>
                    </a:extLst>
                  </p:cNvPr>
                  <p:cNvSpPr/>
                  <p:nvPr/>
                </p:nvSpPr>
                <p:spPr>
                  <a:xfrm>
                    <a:off x="10006659" y="4787181"/>
                    <a:ext cx="136873" cy="135560"/>
                  </a:xfrm>
                  <a:custGeom>
                    <a:avLst/>
                    <a:gdLst>
                      <a:gd name="connsiteX0" fmla="*/ 57955 w 136873"/>
                      <a:gd name="connsiteY0" fmla="*/ 118042 h 135560"/>
                      <a:gd name="connsiteX1" fmla="*/ 0 w 136873"/>
                      <a:gd name="connsiteY1" fmla="*/ 135561 h 135560"/>
                      <a:gd name="connsiteX2" fmla="*/ 20123 w 136873"/>
                      <a:gd name="connsiteY2" fmla="*/ 77511 h 135560"/>
                      <a:gd name="connsiteX3" fmla="*/ 95218 w 136873"/>
                      <a:gd name="connsiteY3" fmla="*/ 2416 h 135560"/>
                      <a:gd name="connsiteX4" fmla="*/ 113163 w 136873"/>
                      <a:gd name="connsiteY4" fmla="*/ 5257 h 135560"/>
                      <a:gd name="connsiteX5" fmla="*/ 131582 w 136873"/>
                      <a:gd name="connsiteY5" fmla="*/ 23676 h 135560"/>
                      <a:gd name="connsiteX6" fmla="*/ 134423 w 136873"/>
                      <a:gd name="connsiteY6" fmla="*/ 41621 h 135560"/>
                      <a:gd name="connsiteX7" fmla="*/ 58002 w 136873"/>
                      <a:gd name="connsiteY7" fmla="*/ 118042 h 13556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136873" h="135560">
                        <a:moveTo>
                          <a:pt x="57955" y="118042"/>
                        </a:moveTo>
                        <a:lnTo>
                          <a:pt x="0" y="135561"/>
                        </a:lnTo>
                        <a:lnTo>
                          <a:pt x="20123" y="77511"/>
                        </a:lnTo>
                        <a:lnTo>
                          <a:pt x="95218" y="2416"/>
                        </a:lnTo>
                        <a:cubicBezTo>
                          <a:pt x="99385" y="-1703"/>
                          <a:pt x="107434" y="-425"/>
                          <a:pt x="113163" y="5257"/>
                        </a:cubicBezTo>
                        <a:lnTo>
                          <a:pt x="131582" y="23676"/>
                        </a:lnTo>
                        <a:cubicBezTo>
                          <a:pt x="137311" y="29405"/>
                          <a:pt x="138590" y="37454"/>
                          <a:pt x="134423" y="41621"/>
                        </a:cubicBezTo>
                        <a:lnTo>
                          <a:pt x="58002" y="118042"/>
                        </a:lnTo>
                        <a:close/>
                      </a:path>
                    </a:pathLst>
                  </a:custGeom>
                  <a:noFill/>
                  <a:ln w="6350" cap="flat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1698" name="Forma livre: Forma 1697">
                    <a:extLst>
                      <a:ext uri="{FF2B5EF4-FFF2-40B4-BE49-F238E27FC236}">
                        <a16:creationId xmlns:a16="http://schemas.microsoft.com/office/drawing/2014/main" id="{F4CD26BE-D68F-03CB-0F66-0C43F92AA244}"/>
                      </a:ext>
                    </a:extLst>
                  </p:cNvPr>
                  <p:cNvSpPr/>
                  <p:nvPr/>
                </p:nvSpPr>
                <p:spPr>
                  <a:xfrm>
                    <a:off x="10031802" y="4865781"/>
                    <a:ext cx="32433" cy="32481"/>
                  </a:xfrm>
                  <a:custGeom>
                    <a:avLst/>
                    <a:gdLst>
                      <a:gd name="connsiteX0" fmla="*/ 32434 w 32433"/>
                      <a:gd name="connsiteY0" fmla="*/ 32481 h 32481"/>
                      <a:gd name="connsiteX1" fmla="*/ 0 w 32433"/>
                      <a:gd name="connsiteY1" fmla="*/ 0 h 3248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32433" h="32481">
                        <a:moveTo>
                          <a:pt x="32434" y="32481"/>
                        </a:moveTo>
                        <a:lnTo>
                          <a:pt x="0" y="0"/>
                        </a:lnTo>
                      </a:path>
                    </a:pathLst>
                  </a:custGeom>
                  <a:ln w="6350" cap="flat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1699" name="Forma livre: Forma 1698">
                    <a:extLst>
                      <a:ext uri="{FF2B5EF4-FFF2-40B4-BE49-F238E27FC236}">
                        <a16:creationId xmlns:a16="http://schemas.microsoft.com/office/drawing/2014/main" id="{324373AB-5E95-2F8F-CFF2-C7CF8B37EF04}"/>
                      </a:ext>
                    </a:extLst>
                  </p:cNvPr>
                  <p:cNvSpPr/>
                  <p:nvPr/>
                </p:nvSpPr>
                <p:spPr>
                  <a:xfrm>
                    <a:off x="10013809" y="4905743"/>
                    <a:ext cx="10558" cy="10795"/>
                  </a:xfrm>
                  <a:custGeom>
                    <a:avLst/>
                    <a:gdLst>
                      <a:gd name="connsiteX0" fmla="*/ 10559 w 10558"/>
                      <a:gd name="connsiteY0" fmla="*/ 10796 h 10795"/>
                      <a:gd name="connsiteX1" fmla="*/ 0 w 10558"/>
                      <a:gd name="connsiteY1" fmla="*/ 0 h 1079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0558" h="10795">
                        <a:moveTo>
                          <a:pt x="10559" y="10796"/>
                        </a:moveTo>
                        <a:lnTo>
                          <a:pt x="0" y="0"/>
                        </a:lnTo>
                      </a:path>
                    </a:pathLst>
                  </a:custGeom>
                  <a:ln w="6350" cap="flat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  <p:sp>
              <p:nvSpPr>
                <p:cNvPr id="1700" name="Forma livre: Forma 1699">
                  <a:extLst>
                    <a:ext uri="{FF2B5EF4-FFF2-40B4-BE49-F238E27FC236}">
                      <a16:creationId xmlns:a16="http://schemas.microsoft.com/office/drawing/2014/main" id="{46159BE9-5A16-F2D2-C374-5F576F4AF3F2}"/>
                    </a:ext>
                  </a:extLst>
                </p:cNvPr>
                <p:cNvSpPr/>
                <p:nvPr/>
              </p:nvSpPr>
              <p:spPr>
                <a:xfrm>
                  <a:off x="10049131" y="4839976"/>
                  <a:ext cx="42519" cy="42519"/>
                </a:xfrm>
                <a:custGeom>
                  <a:avLst/>
                  <a:gdLst>
                    <a:gd name="connsiteX0" fmla="*/ 0 w 42519"/>
                    <a:gd name="connsiteY0" fmla="*/ 42519 h 42519"/>
                    <a:gd name="connsiteX1" fmla="*/ 42519 w 42519"/>
                    <a:gd name="connsiteY1" fmla="*/ 0 h 4251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2519" h="42519">
                      <a:moveTo>
                        <a:pt x="0" y="42519"/>
                      </a:moveTo>
                      <a:lnTo>
                        <a:pt x="42519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1701" name="Forma livre: Forma 1700">
                <a:extLst>
                  <a:ext uri="{FF2B5EF4-FFF2-40B4-BE49-F238E27FC236}">
                    <a16:creationId xmlns:a16="http://schemas.microsoft.com/office/drawing/2014/main" id="{EBA3E37A-E005-B050-F1BF-1D1308B791BA}"/>
                  </a:ext>
                </a:extLst>
              </p:cNvPr>
              <p:cNvSpPr/>
              <p:nvPr/>
            </p:nvSpPr>
            <p:spPr>
              <a:xfrm>
                <a:off x="10086584" y="4806595"/>
                <a:ext cx="37452" cy="37452"/>
              </a:xfrm>
              <a:custGeom>
                <a:avLst/>
                <a:gdLst>
                  <a:gd name="connsiteX0" fmla="*/ 0 w 37452"/>
                  <a:gd name="connsiteY0" fmla="*/ 0 h 37452"/>
                  <a:gd name="connsiteX1" fmla="*/ 37453 w 37452"/>
                  <a:gd name="connsiteY1" fmla="*/ 37453 h 374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7452" h="37452">
                    <a:moveTo>
                      <a:pt x="0" y="0"/>
                    </a:moveTo>
                    <a:lnTo>
                      <a:pt x="37453" y="37453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702" name="Gráfico 18">
            <a:extLst>
              <a:ext uri="{FF2B5EF4-FFF2-40B4-BE49-F238E27FC236}">
                <a16:creationId xmlns:a16="http://schemas.microsoft.com/office/drawing/2014/main" id="{E4CDC8FC-5BAA-6989-4361-74BDC57D105E}"/>
              </a:ext>
            </a:extLst>
          </p:cNvPr>
          <p:cNvGrpSpPr/>
          <p:nvPr/>
        </p:nvGrpSpPr>
        <p:grpSpPr>
          <a:xfrm>
            <a:off x="9828155" y="3634957"/>
            <a:ext cx="302133" cy="305205"/>
            <a:chOff x="9828155" y="3634957"/>
            <a:chExt cx="302133" cy="305205"/>
          </a:xfrm>
          <a:noFill/>
        </p:grpSpPr>
        <p:sp>
          <p:nvSpPr>
            <p:cNvPr id="1703" name="Forma livre: Forma 1702">
              <a:extLst>
                <a:ext uri="{FF2B5EF4-FFF2-40B4-BE49-F238E27FC236}">
                  <a16:creationId xmlns:a16="http://schemas.microsoft.com/office/drawing/2014/main" id="{8814CD79-BE62-391C-000C-F6C982156C9D}"/>
                </a:ext>
              </a:extLst>
            </p:cNvPr>
            <p:cNvSpPr/>
            <p:nvPr/>
          </p:nvSpPr>
          <p:spPr>
            <a:xfrm>
              <a:off x="9985163" y="3709080"/>
              <a:ext cx="44102" cy="44102"/>
            </a:xfrm>
            <a:custGeom>
              <a:avLst/>
              <a:gdLst>
                <a:gd name="connsiteX0" fmla="*/ 0 w 44102"/>
                <a:gd name="connsiteY0" fmla="*/ 25825 h 44102"/>
                <a:gd name="connsiteX1" fmla="*/ 21402 w 44102"/>
                <a:gd name="connsiteY1" fmla="*/ 4424 h 44102"/>
                <a:gd name="connsiteX2" fmla="*/ 40578 w 44102"/>
                <a:gd name="connsiteY2" fmla="*/ 3524 h 44102"/>
                <a:gd name="connsiteX3" fmla="*/ 39678 w 44102"/>
                <a:gd name="connsiteY3" fmla="*/ 22700 h 44102"/>
                <a:gd name="connsiteX4" fmla="*/ 18277 w 44102"/>
                <a:gd name="connsiteY4" fmla="*/ 44102 h 441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102" h="44102">
                  <a:moveTo>
                    <a:pt x="0" y="25825"/>
                  </a:moveTo>
                  <a:lnTo>
                    <a:pt x="21402" y="4424"/>
                  </a:lnTo>
                  <a:cubicBezTo>
                    <a:pt x="26941" y="-1116"/>
                    <a:pt x="35559" y="-1495"/>
                    <a:pt x="40578" y="3524"/>
                  </a:cubicBezTo>
                  <a:cubicBezTo>
                    <a:pt x="45597" y="8543"/>
                    <a:pt x="45218" y="17161"/>
                    <a:pt x="39678" y="22700"/>
                  </a:cubicBezTo>
                  <a:lnTo>
                    <a:pt x="18277" y="44102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04" name="Forma livre: Forma 1703">
              <a:extLst>
                <a:ext uri="{FF2B5EF4-FFF2-40B4-BE49-F238E27FC236}">
                  <a16:creationId xmlns:a16="http://schemas.microsoft.com/office/drawing/2014/main" id="{8B9DC3BE-A289-2726-6976-D3459ADEF44D}"/>
                </a:ext>
              </a:extLst>
            </p:cNvPr>
            <p:cNvSpPr/>
            <p:nvPr/>
          </p:nvSpPr>
          <p:spPr>
            <a:xfrm>
              <a:off x="9856316" y="3634957"/>
              <a:ext cx="273972" cy="246978"/>
            </a:xfrm>
            <a:custGeom>
              <a:avLst/>
              <a:gdLst>
                <a:gd name="connsiteX0" fmla="*/ 68573 w 273972"/>
                <a:gd name="connsiteY0" fmla="*/ 160081 h 246978"/>
                <a:gd name="connsiteX1" fmla="*/ 16394 w 273972"/>
                <a:gd name="connsiteY1" fmla="*/ 212260 h 246978"/>
                <a:gd name="connsiteX2" fmla="*/ 9766 w 273972"/>
                <a:gd name="connsiteY2" fmla="*/ 205631 h 246978"/>
                <a:gd name="connsiteX3" fmla="*/ 9766 w 273972"/>
                <a:gd name="connsiteY3" fmla="*/ 158282 h 246978"/>
                <a:gd name="connsiteX4" fmla="*/ 151338 w 273972"/>
                <a:gd name="connsiteY4" fmla="*/ 16710 h 246978"/>
                <a:gd name="connsiteX5" fmla="*/ 227664 w 273972"/>
                <a:gd name="connsiteY5" fmla="*/ 10460 h 246978"/>
                <a:gd name="connsiteX6" fmla="*/ 254606 w 273972"/>
                <a:gd name="connsiteY6" fmla="*/ 29778 h 246978"/>
                <a:gd name="connsiteX7" fmla="*/ 261376 w 273972"/>
                <a:gd name="connsiteY7" fmla="*/ 96113 h 246978"/>
                <a:gd name="connsiteX8" fmla="*/ 221509 w 273972"/>
                <a:gd name="connsiteY8" fmla="*/ 135981 h 246978"/>
                <a:gd name="connsiteX9" fmla="*/ 202191 w 273972"/>
                <a:gd name="connsiteY9" fmla="*/ 142136 h 246978"/>
                <a:gd name="connsiteX10" fmla="*/ 179227 w 273972"/>
                <a:gd name="connsiteY10" fmla="*/ 146682 h 246978"/>
                <a:gd name="connsiteX11" fmla="*/ 88696 w 273972"/>
                <a:gd name="connsiteY11" fmla="*/ 237212 h 246978"/>
                <a:gd name="connsiteX12" fmla="*/ 41347 w 273972"/>
                <a:gd name="connsiteY12" fmla="*/ 237212 h 246978"/>
                <a:gd name="connsiteX13" fmla="*/ 34766 w 273972"/>
                <a:gd name="connsiteY13" fmla="*/ 230631 h 246978"/>
                <a:gd name="connsiteX14" fmla="*/ 87986 w 273972"/>
                <a:gd name="connsiteY14" fmla="*/ 177458 h 2469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73972" h="246978">
                  <a:moveTo>
                    <a:pt x="68573" y="160081"/>
                  </a:moveTo>
                  <a:lnTo>
                    <a:pt x="16394" y="212260"/>
                  </a:lnTo>
                  <a:lnTo>
                    <a:pt x="9766" y="205631"/>
                  </a:lnTo>
                  <a:cubicBezTo>
                    <a:pt x="-3255" y="192610"/>
                    <a:pt x="-3255" y="171303"/>
                    <a:pt x="9766" y="158282"/>
                  </a:cubicBezTo>
                  <a:lnTo>
                    <a:pt x="151338" y="16710"/>
                  </a:lnTo>
                  <a:cubicBezTo>
                    <a:pt x="170893" y="-2845"/>
                    <a:pt x="205221" y="-5639"/>
                    <a:pt x="227664" y="10460"/>
                  </a:cubicBezTo>
                  <a:lnTo>
                    <a:pt x="254606" y="29778"/>
                  </a:lnTo>
                  <a:cubicBezTo>
                    <a:pt x="277049" y="45924"/>
                    <a:pt x="280884" y="76558"/>
                    <a:pt x="261376" y="96113"/>
                  </a:cubicBezTo>
                  <a:lnTo>
                    <a:pt x="221509" y="135981"/>
                  </a:lnTo>
                  <a:cubicBezTo>
                    <a:pt x="211802" y="145687"/>
                    <a:pt x="205979" y="143462"/>
                    <a:pt x="202191" y="142136"/>
                  </a:cubicBezTo>
                  <a:cubicBezTo>
                    <a:pt x="193194" y="139011"/>
                    <a:pt x="184245" y="141663"/>
                    <a:pt x="179227" y="146682"/>
                  </a:cubicBezTo>
                  <a:lnTo>
                    <a:pt x="88696" y="237212"/>
                  </a:lnTo>
                  <a:cubicBezTo>
                    <a:pt x="75675" y="250233"/>
                    <a:pt x="54368" y="250233"/>
                    <a:pt x="41347" y="237212"/>
                  </a:cubicBezTo>
                  <a:lnTo>
                    <a:pt x="34766" y="230631"/>
                  </a:lnTo>
                  <a:lnTo>
                    <a:pt x="87986" y="177458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05" name="Forma livre: Forma 1704">
              <a:extLst>
                <a:ext uri="{FF2B5EF4-FFF2-40B4-BE49-F238E27FC236}">
                  <a16:creationId xmlns:a16="http://schemas.microsoft.com/office/drawing/2014/main" id="{1BFC28E1-88DC-4ACA-4B94-5CDFF5A8E370}"/>
                </a:ext>
              </a:extLst>
            </p:cNvPr>
            <p:cNvSpPr/>
            <p:nvPr/>
          </p:nvSpPr>
          <p:spPr>
            <a:xfrm>
              <a:off x="9828155" y="3833059"/>
              <a:ext cx="78172" cy="107102"/>
            </a:xfrm>
            <a:custGeom>
              <a:avLst/>
              <a:gdLst>
                <a:gd name="connsiteX0" fmla="*/ 78173 w 78172"/>
                <a:gd name="connsiteY0" fmla="*/ 46212 h 107102"/>
                <a:gd name="connsiteX1" fmla="*/ 17282 w 78172"/>
                <a:gd name="connsiteY1" fmla="*/ 107103 h 107102"/>
                <a:gd name="connsiteX2" fmla="*/ 0 w 78172"/>
                <a:gd name="connsiteY2" fmla="*/ 31629 h 107102"/>
                <a:gd name="connsiteX3" fmla="*/ 31629 w 78172"/>
                <a:gd name="connsiteY3" fmla="*/ 0 h 1071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8172" h="107102">
                  <a:moveTo>
                    <a:pt x="78173" y="46212"/>
                  </a:moveTo>
                  <a:lnTo>
                    <a:pt x="17282" y="107103"/>
                  </a:lnTo>
                  <a:lnTo>
                    <a:pt x="0" y="31629"/>
                  </a:lnTo>
                  <a:lnTo>
                    <a:pt x="31629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06" name="Forma livre: Forma 1705">
              <a:extLst>
                <a:ext uri="{FF2B5EF4-FFF2-40B4-BE49-F238E27FC236}">
                  <a16:creationId xmlns:a16="http://schemas.microsoft.com/office/drawing/2014/main" id="{78E5346C-B9F0-BFB8-78CC-79610F10E6F4}"/>
                </a:ext>
              </a:extLst>
            </p:cNvPr>
            <p:cNvSpPr/>
            <p:nvPr/>
          </p:nvSpPr>
          <p:spPr>
            <a:xfrm>
              <a:off x="9924286" y="3748393"/>
              <a:ext cx="65523" cy="65543"/>
            </a:xfrm>
            <a:custGeom>
              <a:avLst/>
              <a:gdLst>
                <a:gd name="connsiteX0" fmla="*/ 28349 w 65523"/>
                <a:gd name="connsiteY0" fmla="*/ 3936 h 65543"/>
                <a:gd name="connsiteX1" fmla="*/ 52923 w 65523"/>
                <a:gd name="connsiteY1" fmla="*/ 6399 h 65543"/>
                <a:gd name="connsiteX2" fmla="*/ 59125 w 65523"/>
                <a:gd name="connsiteY2" fmla="*/ 12601 h 65543"/>
                <a:gd name="connsiteX3" fmla="*/ 61587 w 65523"/>
                <a:gd name="connsiteY3" fmla="*/ 37175 h 65543"/>
                <a:gd name="connsiteX4" fmla="*/ 37155 w 65523"/>
                <a:gd name="connsiteY4" fmla="*/ 61607 h 65543"/>
                <a:gd name="connsiteX5" fmla="*/ 12582 w 65523"/>
                <a:gd name="connsiteY5" fmla="*/ 59145 h 65543"/>
                <a:gd name="connsiteX6" fmla="*/ 6379 w 65523"/>
                <a:gd name="connsiteY6" fmla="*/ 52942 h 65543"/>
                <a:gd name="connsiteX7" fmla="*/ 3917 w 65523"/>
                <a:gd name="connsiteY7" fmla="*/ 28368 h 65543"/>
                <a:gd name="connsiteX8" fmla="*/ 28349 w 65523"/>
                <a:gd name="connsiteY8" fmla="*/ 3936 h 655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65523" h="65543">
                  <a:moveTo>
                    <a:pt x="28349" y="3936"/>
                  </a:moveTo>
                  <a:cubicBezTo>
                    <a:pt x="34457" y="-2172"/>
                    <a:pt x="45489" y="-1035"/>
                    <a:pt x="52923" y="6399"/>
                  </a:cubicBezTo>
                  <a:lnTo>
                    <a:pt x="59125" y="12601"/>
                  </a:lnTo>
                  <a:cubicBezTo>
                    <a:pt x="66559" y="20035"/>
                    <a:pt x="67695" y="31115"/>
                    <a:pt x="61587" y="37175"/>
                  </a:cubicBezTo>
                  <a:lnTo>
                    <a:pt x="37155" y="61607"/>
                  </a:lnTo>
                  <a:cubicBezTo>
                    <a:pt x="31095" y="67715"/>
                    <a:pt x="20015" y="66579"/>
                    <a:pt x="12582" y="59145"/>
                  </a:cubicBezTo>
                  <a:lnTo>
                    <a:pt x="6379" y="52942"/>
                  </a:lnTo>
                  <a:cubicBezTo>
                    <a:pt x="-1055" y="45461"/>
                    <a:pt x="-2144" y="34429"/>
                    <a:pt x="3917" y="28368"/>
                  </a:cubicBezTo>
                  <a:lnTo>
                    <a:pt x="28349" y="3936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707" name="Gráfico 18">
            <a:extLst>
              <a:ext uri="{FF2B5EF4-FFF2-40B4-BE49-F238E27FC236}">
                <a16:creationId xmlns:a16="http://schemas.microsoft.com/office/drawing/2014/main" id="{48505FF6-C2E2-272C-2E76-D81D6DB8B77D}"/>
              </a:ext>
            </a:extLst>
          </p:cNvPr>
          <p:cNvGrpSpPr/>
          <p:nvPr/>
        </p:nvGrpSpPr>
        <p:grpSpPr>
          <a:xfrm>
            <a:off x="9837199" y="4159528"/>
            <a:ext cx="284044" cy="324764"/>
            <a:chOff x="9837199" y="4159528"/>
            <a:chExt cx="284044" cy="324764"/>
          </a:xfrm>
          <a:noFill/>
        </p:grpSpPr>
        <p:sp>
          <p:nvSpPr>
            <p:cNvPr id="1708" name="Forma livre: Forma 1707">
              <a:extLst>
                <a:ext uri="{FF2B5EF4-FFF2-40B4-BE49-F238E27FC236}">
                  <a16:creationId xmlns:a16="http://schemas.microsoft.com/office/drawing/2014/main" id="{3DEF05D5-A40F-DA9F-C137-5367BFB8D2EE}"/>
                </a:ext>
              </a:extLst>
            </p:cNvPr>
            <p:cNvSpPr/>
            <p:nvPr/>
          </p:nvSpPr>
          <p:spPr>
            <a:xfrm>
              <a:off x="9965703" y="4404179"/>
              <a:ext cx="27036" cy="80113"/>
            </a:xfrm>
            <a:custGeom>
              <a:avLst/>
              <a:gdLst>
                <a:gd name="connsiteX0" fmla="*/ 27036 w 27036"/>
                <a:gd name="connsiteY0" fmla="*/ 0 h 80113"/>
                <a:gd name="connsiteX1" fmla="*/ 27036 w 27036"/>
                <a:gd name="connsiteY1" fmla="*/ 59659 h 80113"/>
                <a:gd name="connsiteX2" fmla="*/ 12879 w 27036"/>
                <a:gd name="connsiteY2" fmla="*/ 80114 h 80113"/>
                <a:gd name="connsiteX3" fmla="*/ 0 w 27036"/>
                <a:gd name="connsiteY3" fmla="*/ 59659 h 80113"/>
                <a:gd name="connsiteX4" fmla="*/ 0 w 27036"/>
                <a:gd name="connsiteY4" fmla="*/ 0 h 801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7036" h="80113">
                  <a:moveTo>
                    <a:pt x="27036" y="0"/>
                  </a:moveTo>
                  <a:lnTo>
                    <a:pt x="27036" y="59659"/>
                  </a:lnTo>
                  <a:lnTo>
                    <a:pt x="12879" y="80114"/>
                  </a:lnTo>
                  <a:lnTo>
                    <a:pt x="0" y="59659"/>
                  </a:lnTo>
                  <a:lnTo>
                    <a:pt x="0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09" name="Forma livre: Forma 1708">
              <a:extLst>
                <a:ext uri="{FF2B5EF4-FFF2-40B4-BE49-F238E27FC236}">
                  <a16:creationId xmlns:a16="http://schemas.microsoft.com/office/drawing/2014/main" id="{247DCF2E-1F39-0838-3C53-26E4B4A90185}"/>
                </a:ext>
              </a:extLst>
            </p:cNvPr>
            <p:cNvSpPr/>
            <p:nvPr/>
          </p:nvSpPr>
          <p:spPr>
            <a:xfrm>
              <a:off x="9955712" y="4332966"/>
              <a:ext cx="47064" cy="4734"/>
            </a:xfrm>
            <a:custGeom>
              <a:avLst/>
              <a:gdLst>
                <a:gd name="connsiteX0" fmla="*/ 0 w 47064"/>
                <a:gd name="connsiteY0" fmla="*/ 0 h 4734"/>
                <a:gd name="connsiteX1" fmla="*/ 47065 w 47064"/>
                <a:gd name="connsiteY1" fmla="*/ 0 h 47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7064" h="4734">
                  <a:moveTo>
                    <a:pt x="0" y="0"/>
                  </a:moveTo>
                  <a:lnTo>
                    <a:pt x="47065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10" name="Forma livre: Forma 1709">
              <a:extLst>
                <a:ext uri="{FF2B5EF4-FFF2-40B4-BE49-F238E27FC236}">
                  <a16:creationId xmlns:a16="http://schemas.microsoft.com/office/drawing/2014/main" id="{62ADAA50-999B-9C92-A3D2-70F5217BCB70}"/>
                </a:ext>
              </a:extLst>
            </p:cNvPr>
            <p:cNvSpPr/>
            <p:nvPr/>
          </p:nvSpPr>
          <p:spPr>
            <a:xfrm>
              <a:off x="9937815" y="4160191"/>
              <a:ext cx="82860" cy="71875"/>
            </a:xfrm>
            <a:custGeom>
              <a:avLst/>
              <a:gdLst>
                <a:gd name="connsiteX0" fmla="*/ 82860 w 82860"/>
                <a:gd name="connsiteY0" fmla="*/ 0 h 71875"/>
                <a:gd name="connsiteX1" fmla="*/ 82860 w 82860"/>
                <a:gd name="connsiteY1" fmla="*/ 58807 h 71875"/>
                <a:gd name="connsiteX2" fmla="*/ 69792 w 82860"/>
                <a:gd name="connsiteY2" fmla="*/ 71875 h 71875"/>
                <a:gd name="connsiteX3" fmla="*/ 13068 w 82860"/>
                <a:gd name="connsiteY3" fmla="*/ 71875 h 71875"/>
                <a:gd name="connsiteX4" fmla="*/ 0 w 82860"/>
                <a:gd name="connsiteY4" fmla="*/ 58807 h 71875"/>
                <a:gd name="connsiteX5" fmla="*/ 0 w 82860"/>
                <a:gd name="connsiteY5" fmla="*/ 0 h 71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82860" h="71875">
                  <a:moveTo>
                    <a:pt x="82860" y="0"/>
                  </a:moveTo>
                  <a:lnTo>
                    <a:pt x="82860" y="58807"/>
                  </a:lnTo>
                  <a:cubicBezTo>
                    <a:pt x="82860" y="66004"/>
                    <a:pt x="76989" y="71875"/>
                    <a:pt x="69792" y="71875"/>
                  </a:cubicBezTo>
                  <a:lnTo>
                    <a:pt x="13068" y="71875"/>
                  </a:lnTo>
                  <a:cubicBezTo>
                    <a:pt x="5871" y="71875"/>
                    <a:pt x="0" y="66004"/>
                    <a:pt x="0" y="58807"/>
                  </a:cubicBezTo>
                  <a:lnTo>
                    <a:pt x="0" y="0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11" name="Forma livre: Forma 1710">
              <a:extLst>
                <a:ext uri="{FF2B5EF4-FFF2-40B4-BE49-F238E27FC236}">
                  <a16:creationId xmlns:a16="http://schemas.microsoft.com/office/drawing/2014/main" id="{F5A84B88-8AF3-47C4-BA90-BDB84CE5CC6C}"/>
                </a:ext>
              </a:extLst>
            </p:cNvPr>
            <p:cNvSpPr/>
            <p:nvPr/>
          </p:nvSpPr>
          <p:spPr>
            <a:xfrm>
              <a:off x="9906801" y="4159528"/>
              <a:ext cx="144981" cy="225758"/>
            </a:xfrm>
            <a:custGeom>
              <a:avLst/>
              <a:gdLst>
                <a:gd name="connsiteX0" fmla="*/ 83097 w 144981"/>
                <a:gd name="connsiteY0" fmla="*/ 225758 h 225758"/>
                <a:gd name="connsiteX1" fmla="*/ 95123 w 144981"/>
                <a:gd name="connsiteY1" fmla="*/ 213732 h 225758"/>
                <a:gd name="connsiteX2" fmla="*/ 95123 w 144981"/>
                <a:gd name="connsiteY2" fmla="*/ 173154 h 225758"/>
                <a:gd name="connsiteX3" fmla="*/ 97964 w 144981"/>
                <a:gd name="connsiteY3" fmla="*/ 173154 h 225758"/>
                <a:gd name="connsiteX4" fmla="*/ 107860 w 144981"/>
                <a:gd name="connsiteY4" fmla="*/ 163258 h 225758"/>
                <a:gd name="connsiteX5" fmla="*/ 108002 w 144981"/>
                <a:gd name="connsiteY5" fmla="*/ 153978 h 225758"/>
                <a:gd name="connsiteX6" fmla="*/ 132150 w 144981"/>
                <a:gd name="connsiteY6" fmla="*/ 125805 h 225758"/>
                <a:gd name="connsiteX7" fmla="*/ 144982 w 144981"/>
                <a:gd name="connsiteY7" fmla="*/ 107339 h 225758"/>
                <a:gd name="connsiteX8" fmla="*/ 144982 w 144981"/>
                <a:gd name="connsiteY8" fmla="*/ 19839 h 225758"/>
                <a:gd name="connsiteX9" fmla="*/ 125143 w 144981"/>
                <a:gd name="connsiteY9" fmla="*/ 0 h 225758"/>
                <a:gd name="connsiteX10" fmla="*/ 19839 w 144981"/>
                <a:gd name="connsiteY10" fmla="*/ 0 h 225758"/>
                <a:gd name="connsiteX11" fmla="*/ 0 w 144981"/>
                <a:gd name="connsiteY11" fmla="*/ 19839 h 225758"/>
                <a:gd name="connsiteX12" fmla="*/ 0 w 144981"/>
                <a:gd name="connsiteY12" fmla="*/ 107339 h 225758"/>
                <a:gd name="connsiteX13" fmla="*/ 12831 w 144981"/>
                <a:gd name="connsiteY13" fmla="*/ 125805 h 225758"/>
                <a:gd name="connsiteX14" fmla="*/ 36979 w 144981"/>
                <a:gd name="connsiteY14" fmla="*/ 153978 h 225758"/>
                <a:gd name="connsiteX15" fmla="*/ 37121 w 144981"/>
                <a:gd name="connsiteY15" fmla="*/ 163258 h 225758"/>
                <a:gd name="connsiteX16" fmla="*/ 47017 w 144981"/>
                <a:gd name="connsiteY16" fmla="*/ 173154 h 225758"/>
                <a:gd name="connsiteX17" fmla="*/ 49858 w 144981"/>
                <a:gd name="connsiteY17" fmla="*/ 173154 h 225758"/>
                <a:gd name="connsiteX18" fmla="*/ 49858 w 144981"/>
                <a:gd name="connsiteY18" fmla="*/ 213732 h 225758"/>
                <a:gd name="connsiteX19" fmla="*/ 61885 w 144981"/>
                <a:gd name="connsiteY19" fmla="*/ 225758 h 225758"/>
                <a:gd name="connsiteX20" fmla="*/ 83192 w 144981"/>
                <a:gd name="connsiteY20" fmla="*/ 225758 h 2257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44981" h="225758">
                  <a:moveTo>
                    <a:pt x="83097" y="225758"/>
                  </a:moveTo>
                  <a:cubicBezTo>
                    <a:pt x="89678" y="225758"/>
                    <a:pt x="95123" y="220361"/>
                    <a:pt x="95123" y="213732"/>
                  </a:cubicBezTo>
                  <a:lnTo>
                    <a:pt x="95123" y="173154"/>
                  </a:lnTo>
                  <a:lnTo>
                    <a:pt x="97964" y="173154"/>
                  </a:lnTo>
                  <a:cubicBezTo>
                    <a:pt x="103409" y="173154"/>
                    <a:pt x="107860" y="168703"/>
                    <a:pt x="107860" y="163258"/>
                  </a:cubicBezTo>
                  <a:cubicBezTo>
                    <a:pt x="107860" y="163258"/>
                    <a:pt x="108002" y="155304"/>
                    <a:pt x="108002" y="153978"/>
                  </a:cubicBezTo>
                  <a:cubicBezTo>
                    <a:pt x="108002" y="139300"/>
                    <a:pt x="126042" y="128930"/>
                    <a:pt x="132150" y="125805"/>
                  </a:cubicBezTo>
                  <a:cubicBezTo>
                    <a:pt x="139631" y="122964"/>
                    <a:pt x="144982" y="115768"/>
                    <a:pt x="144982" y="107339"/>
                  </a:cubicBezTo>
                  <a:lnTo>
                    <a:pt x="144982" y="19839"/>
                  </a:lnTo>
                  <a:cubicBezTo>
                    <a:pt x="144982" y="8949"/>
                    <a:pt x="136080" y="0"/>
                    <a:pt x="125143" y="0"/>
                  </a:cubicBezTo>
                  <a:lnTo>
                    <a:pt x="19839" y="0"/>
                  </a:lnTo>
                  <a:cubicBezTo>
                    <a:pt x="8902" y="0"/>
                    <a:pt x="0" y="8949"/>
                    <a:pt x="0" y="19839"/>
                  </a:cubicBezTo>
                  <a:lnTo>
                    <a:pt x="0" y="107339"/>
                  </a:lnTo>
                  <a:cubicBezTo>
                    <a:pt x="0" y="115768"/>
                    <a:pt x="5350" y="122964"/>
                    <a:pt x="12831" y="125805"/>
                  </a:cubicBezTo>
                  <a:cubicBezTo>
                    <a:pt x="18987" y="128930"/>
                    <a:pt x="36979" y="139347"/>
                    <a:pt x="36979" y="153978"/>
                  </a:cubicBezTo>
                  <a:cubicBezTo>
                    <a:pt x="36979" y="155304"/>
                    <a:pt x="37121" y="163258"/>
                    <a:pt x="37121" y="163258"/>
                  </a:cubicBezTo>
                  <a:cubicBezTo>
                    <a:pt x="37121" y="168703"/>
                    <a:pt x="41572" y="173154"/>
                    <a:pt x="47017" y="173154"/>
                  </a:cubicBezTo>
                  <a:lnTo>
                    <a:pt x="49858" y="173154"/>
                  </a:lnTo>
                  <a:lnTo>
                    <a:pt x="49858" y="213732"/>
                  </a:lnTo>
                  <a:cubicBezTo>
                    <a:pt x="49858" y="220313"/>
                    <a:pt x="55256" y="225758"/>
                    <a:pt x="61885" y="225758"/>
                  </a:cubicBezTo>
                  <a:lnTo>
                    <a:pt x="83192" y="225758"/>
                  </a:ln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712" name="Gráfico 18">
              <a:extLst>
                <a:ext uri="{FF2B5EF4-FFF2-40B4-BE49-F238E27FC236}">
                  <a16:creationId xmlns:a16="http://schemas.microsoft.com/office/drawing/2014/main" id="{E37592D1-BFA5-4C62-78C0-0106298FC6C5}"/>
                </a:ext>
              </a:extLst>
            </p:cNvPr>
            <p:cNvGrpSpPr/>
            <p:nvPr/>
          </p:nvGrpSpPr>
          <p:grpSpPr>
            <a:xfrm>
              <a:off x="9837199" y="4196839"/>
              <a:ext cx="284044" cy="42708"/>
              <a:chOff x="9837199" y="4196839"/>
              <a:chExt cx="284044" cy="42708"/>
            </a:xfrm>
          </p:grpSpPr>
          <p:sp>
            <p:nvSpPr>
              <p:cNvPr id="1713" name="Forma livre: Forma 1712">
                <a:extLst>
                  <a:ext uri="{FF2B5EF4-FFF2-40B4-BE49-F238E27FC236}">
                    <a16:creationId xmlns:a16="http://schemas.microsoft.com/office/drawing/2014/main" id="{24BA4501-D99D-89E7-A94B-4B6827965A13}"/>
                  </a:ext>
                </a:extLst>
              </p:cNvPr>
              <p:cNvSpPr/>
              <p:nvPr/>
            </p:nvSpPr>
            <p:spPr>
              <a:xfrm>
                <a:off x="9837199" y="4196839"/>
                <a:ext cx="4734" cy="42708"/>
              </a:xfrm>
              <a:custGeom>
                <a:avLst/>
                <a:gdLst>
                  <a:gd name="connsiteX0" fmla="*/ 0 w 4734"/>
                  <a:gd name="connsiteY0" fmla="*/ 42709 h 42708"/>
                  <a:gd name="connsiteX1" fmla="*/ 0 w 4734"/>
                  <a:gd name="connsiteY1" fmla="*/ 0 h 427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34" h="42708">
                    <a:moveTo>
                      <a:pt x="0" y="42709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1714" name="Gráfico 18">
                <a:extLst>
                  <a:ext uri="{FF2B5EF4-FFF2-40B4-BE49-F238E27FC236}">
                    <a16:creationId xmlns:a16="http://schemas.microsoft.com/office/drawing/2014/main" id="{70903612-B834-26CE-7BE3-6126F9384A17}"/>
                  </a:ext>
                </a:extLst>
              </p:cNvPr>
              <p:cNvGrpSpPr/>
              <p:nvPr/>
            </p:nvGrpSpPr>
            <p:grpSpPr>
              <a:xfrm>
                <a:off x="9837435" y="4196839"/>
                <a:ext cx="283807" cy="42708"/>
                <a:chOff x="9837435" y="4196839"/>
                <a:chExt cx="283807" cy="42708"/>
              </a:xfrm>
            </p:grpSpPr>
            <p:grpSp>
              <p:nvGrpSpPr>
                <p:cNvPr id="1715" name="Gráfico 18">
                  <a:extLst>
                    <a:ext uri="{FF2B5EF4-FFF2-40B4-BE49-F238E27FC236}">
                      <a16:creationId xmlns:a16="http://schemas.microsoft.com/office/drawing/2014/main" id="{8D574246-B6EF-E2A9-A178-144548A2054A}"/>
                    </a:ext>
                  </a:extLst>
                </p:cNvPr>
                <p:cNvGrpSpPr/>
                <p:nvPr/>
              </p:nvGrpSpPr>
              <p:grpSpPr>
                <a:xfrm>
                  <a:off x="9837435" y="4204746"/>
                  <a:ext cx="49195" cy="26941"/>
                  <a:chOff x="9837435" y="4204746"/>
                  <a:chExt cx="49195" cy="26941"/>
                </a:xfrm>
              </p:grpSpPr>
              <p:sp>
                <p:nvSpPr>
                  <p:cNvPr id="1716" name="Forma livre: Forma 1715">
                    <a:extLst>
                      <a:ext uri="{FF2B5EF4-FFF2-40B4-BE49-F238E27FC236}">
                        <a16:creationId xmlns:a16="http://schemas.microsoft.com/office/drawing/2014/main" id="{B4A51796-9E7E-E78E-4912-82552E980003}"/>
                      </a:ext>
                    </a:extLst>
                  </p:cNvPr>
                  <p:cNvSpPr/>
                  <p:nvPr/>
                </p:nvSpPr>
                <p:spPr>
                  <a:xfrm>
                    <a:off x="9837435" y="4204746"/>
                    <a:ext cx="49195" cy="4734"/>
                  </a:xfrm>
                  <a:custGeom>
                    <a:avLst/>
                    <a:gdLst>
                      <a:gd name="connsiteX0" fmla="*/ 0 w 49195"/>
                      <a:gd name="connsiteY0" fmla="*/ 0 h 4734"/>
                      <a:gd name="connsiteX1" fmla="*/ 49195 w 49195"/>
                      <a:gd name="connsiteY1" fmla="*/ 0 h 473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49195" h="4734">
                        <a:moveTo>
                          <a:pt x="0" y="0"/>
                        </a:moveTo>
                        <a:lnTo>
                          <a:pt x="49195" y="0"/>
                        </a:lnTo>
                      </a:path>
                    </a:pathLst>
                  </a:custGeom>
                  <a:ln w="6350" cap="flat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1717" name="Forma livre: Forma 1716">
                    <a:extLst>
                      <a:ext uri="{FF2B5EF4-FFF2-40B4-BE49-F238E27FC236}">
                        <a16:creationId xmlns:a16="http://schemas.microsoft.com/office/drawing/2014/main" id="{951484AF-7E60-2EE1-FA42-85F28D04D00C}"/>
                      </a:ext>
                    </a:extLst>
                  </p:cNvPr>
                  <p:cNvSpPr/>
                  <p:nvPr/>
                </p:nvSpPr>
                <p:spPr>
                  <a:xfrm>
                    <a:off x="9837435" y="4231687"/>
                    <a:ext cx="49195" cy="4734"/>
                  </a:xfrm>
                  <a:custGeom>
                    <a:avLst/>
                    <a:gdLst>
                      <a:gd name="connsiteX0" fmla="*/ 0 w 49195"/>
                      <a:gd name="connsiteY0" fmla="*/ 0 h 4734"/>
                      <a:gd name="connsiteX1" fmla="*/ 49195 w 49195"/>
                      <a:gd name="connsiteY1" fmla="*/ 0 h 473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49195" h="4734">
                        <a:moveTo>
                          <a:pt x="0" y="0"/>
                        </a:moveTo>
                        <a:lnTo>
                          <a:pt x="49195" y="0"/>
                        </a:lnTo>
                      </a:path>
                    </a:pathLst>
                  </a:custGeom>
                  <a:ln w="6350" cap="flat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  <p:sp>
              <p:nvSpPr>
                <p:cNvPr id="1718" name="Forma livre: Forma 1717">
                  <a:extLst>
                    <a:ext uri="{FF2B5EF4-FFF2-40B4-BE49-F238E27FC236}">
                      <a16:creationId xmlns:a16="http://schemas.microsoft.com/office/drawing/2014/main" id="{5F60A8B2-A3B7-36C5-56E1-4D8D25B421B9}"/>
                    </a:ext>
                  </a:extLst>
                </p:cNvPr>
                <p:cNvSpPr/>
                <p:nvPr/>
              </p:nvSpPr>
              <p:spPr>
                <a:xfrm>
                  <a:off x="10121243" y="4196839"/>
                  <a:ext cx="4734" cy="42708"/>
                </a:xfrm>
                <a:custGeom>
                  <a:avLst/>
                  <a:gdLst>
                    <a:gd name="connsiteX0" fmla="*/ 0 w 4734"/>
                    <a:gd name="connsiteY0" fmla="*/ 0 h 42708"/>
                    <a:gd name="connsiteX1" fmla="*/ 0 w 4734"/>
                    <a:gd name="connsiteY1" fmla="*/ 42709 h 4270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734" h="42708">
                      <a:moveTo>
                        <a:pt x="0" y="0"/>
                      </a:moveTo>
                      <a:lnTo>
                        <a:pt x="0" y="42709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grpSp>
              <p:nvGrpSpPr>
                <p:cNvPr id="1719" name="Gráfico 18">
                  <a:extLst>
                    <a:ext uri="{FF2B5EF4-FFF2-40B4-BE49-F238E27FC236}">
                      <a16:creationId xmlns:a16="http://schemas.microsoft.com/office/drawing/2014/main" id="{8CF93DDA-38FF-2887-88C5-6883A4A5105E}"/>
                    </a:ext>
                  </a:extLst>
                </p:cNvPr>
                <p:cNvGrpSpPr/>
                <p:nvPr/>
              </p:nvGrpSpPr>
              <p:grpSpPr>
                <a:xfrm>
                  <a:off x="10071811" y="4204746"/>
                  <a:ext cx="49195" cy="26941"/>
                  <a:chOff x="10071811" y="4204746"/>
                  <a:chExt cx="49195" cy="26941"/>
                </a:xfrm>
              </p:grpSpPr>
              <p:sp>
                <p:nvSpPr>
                  <p:cNvPr id="1720" name="Forma livre: Forma 1719">
                    <a:extLst>
                      <a:ext uri="{FF2B5EF4-FFF2-40B4-BE49-F238E27FC236}">
                        <a16:creationId xmlns:a16="http://schemas.microsoft.com/office/drawing/2014/main" id="{28422EB8-44A3-FAF0-1C0F-9A2D4B6F0773}"/>
                      </a:ext>
                    </a:extLst>
                  </p:cNvPr>
                  <p:cNvSpPr/>
                  <p:nvPr/>
                </p:nvSpPr>
                <p:spPr>
                  <a:xfrm>
                    <a:off x="10071811" y="4231687"/>
                    <a:ext cx="49195" cy="4734"/>
                  </a:xfrm>
                  <a:custGeom>
                    <a:avLst/>
                    <a:gdLst>
                      <a:gd name="connsiteX0" fmla="*/ 49195 w 49195"/>
                      <a:gd name="connsiteY0" fmla="*/ 0 h 4734"/>
                      <a:gd name="connsiteX1" fmla="*/ 0 w 49195"/>
                      <a:gd name="connsiteY1" fmla="*/ 0 h 473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49195" h="4734">
                        <a:moveTo>
                          <a:pt x="49195" y="0"/>
                        </a:moveTo>
                        <a:lnTo>
                          <a:pt x="0" y="0"/>
                        </a:lnTo>
                      </a:path>
                    </a:pathLst>
                  </a:custGeom>
                  <a:ln w="6350" cap="flat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1721" name="Forma livre: Forma 1720">
                    <a:extLst>
                      <a:ext uri="{FF2B5EF4-FFF2-40B4-BE49-F238E27FC236}">
                        <a16:creationId xmlns:a16="http://schemas.microsoft.com/office/drawing/2014/main" id="{77CDC708-DD61-1246-8FAB-DC9E47D8B150}"/>
                      </a:ext>
                    </a:extLst>
                  </p:cNvPr>
                  <p:cNvSpPr/>
                  <p:nvPr/>
                </p:nvSpPr>
                <p:spPr>
                  <a:xfrm>
                    <a:off x="10071811" y="4204746"/>
                    <a:ext cx="49195" cy="4734"/>
                  </a:xfrm>
                  <a:custGeom>
                    <a:avLst/>
                    <a:gdLst>
                      <a:gd name="connsiteX0" fmla="*/ 49195 w 49195"/>
                      <a:gd name="connsiteY0" fmla="*/ 0 h 4734"/>
                      <a:gd name="connsiteX1" fmla="*/ 0 w 49195"/>
                      <a:gd name="connsiteY1" fmla="*/ 0 h 473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49195" h="4734">
                        <a:moveTo>
                          <a:pt x="49195" y="0"/>
                        </a:moveTo>
                        <a:lnTo>
                          <a:pt x="0" y="0"/>
                        </a:lnTo>
                      </a:path>
                    </a:pathLst>
                  </a:custGeom>
                  <a:ln w="6350" cap="flat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</p:grpSp>
        </p:grpSp>
      </p:grpSp>
      <p:grpSp>
        <p:nvGrpSpPr>
          <p:cNvPr id="1722" name="Gráfico 18">
            <a:extLst>
              <a:ext uri="{FF2B5EF4-FFF2-40B4-BE49-F238E27FC236}">
                <a16:creationId xmlns:a16="http://schemas.microsoft.com/office/drawing/2014/main" id="{8A5290C9-F837-392F-6A49-61D4CC60A7F4}"/>
              </a:ext>
            </a:extLst>
          </p:cNvPr>
          <p:cNvGrpSpPr/>
          <p:nvPr/>
        </p:nvGrpSpPr>
        <p:grpSpPr>
          <a:xfrm>
            <a:off x="9829623" y="5281502"/>
            <a:ext cx="299196" cy="218229"/>
            <a:chOff x="9829623" y="5281502"/>
            <a:chExt cx="299196" cy="218229"/>
          </a:xfrm>
          <a:noFill/>
        </p:grpSpPr>
        <p:sp>
          <p:nvSpPr>
            <p:cNvPr id="1723" name="Forma livre: Forma 1722">
              <a:extLst>
                <a:ext uri="{FF2B5EF4-FFF2-40B4-BE49-F238E27FC236}">
                  <a16:creationId xmlns:a16="http://schemas.microsoft.com/office/drawing/2014/main" id="{7C92B4DE-7C1C-0E04-A339-7F79CC5CAA89}"/>
                </a:ext>
              </a:extLst>
            </p:cNvPr>
            <p:cNvSpPr/>
            <p:nvPr/>
          </p:nvSpPr>
          <p:spPr>
            <a:xfrm>
              <a:off x="9932606" y="5281502"/>
              <a:ext cx="93182" cy="34895"/>
            </a:xfrm>
            <a:custGeom>
              <a:avLst/>
              <a:gdLst>
                <a:gd name="connsiteX0" fmla="*/ 0 w 93182"/>
                <a:gd name="connsiteY0" fmla="*/ 34896 h 34895"/>
                <a:gd name="connsiteX1" fmla="*/ 0 w 93182"/>
                <a:gd name="connsiteY1" fmla="*/ 14205 h 34895"/>
                <a:gd name="connsiteX2" fmla="*/ 14205 w 93182"/>
                <a:gd name="connsiteY2" fmla="*/ 0 h 34895"/>
                <a:gd name="connsiteX3" fmla="*/ 78978 w 93182"/>
                <a:gd name="connsiteY3" fmla="*/ 0 h 34895"/>
                <a:gd name="connsiteX4" fmla="*/ 93182 w 93182"/>
                <a:gd name="connsiteY4" fmla="*/ 14205 h 34895"/>
                <a:gd name="connsiteX5" fmla="*/ 93182 w 93182"/>
                <a:gd name="connsiteY5" fmla="*/ 34896 h 348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3182" h="34895">
                  <a:moveTo>
                    <a:pt x="0" y="34896"/>
                  </a:moveTo>
                  <a:lnTo>
                    <a:pt x="0" y="14205"/>
                  </a:lnTo>
                  <a:cubicBezTo>
                    <a:pt x="0" y="6392"/>
                    <a:pt x="6392" y="0"/>
                    <a:pt x="14205" y="0"/>
                  </a:cubicBezTo>
                  <a:lnTo>
                    <a:pt x="78978" y="0"/>
                  </a:lnTo>
                  <a:cubicBezTo>
                    <a:pt x="86790" y="0"/>
                    <a:pt x="93182" y="6392"/>
                    <a:pt x="93182" y="14205"/>
                  </a:cubicBezTo>
                  <a:lnTo>
                    <a:pt x="93182" y="34896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24" name="Forma livre: Forma 1723">
              <a:extLst>
                <a:ext uri="{FF2B5EF4-FFF2-40B4-BE49-F238E27FC236}">
                  <a16:creationId xmlns:a16="http://schemas.microsoft.com/office/drawing/2014/main" id="{3CC37AA6-74DA-FD65-7ED0-B397425AEAF0}"/>
                </a:ext>
              </a:extLst>
            </p:cNvPr>
            <p:cNvSpPr/>
            <p:nvPr/>
          </p:nvSpPr>
          <p:spPr>
            <a:xfrm>
              <a:off x="9829623" y="5423217"/>
              <a:ext cx="299196" cy="76515"/>
            </a:xfrm>
            <a:custGeom>
              <a:avLst/>
              <a:gdLst>
                <a:gd name="connsiteX0" fmla="*/ 299196 w 299196"/>
                <a:gd name="connsiteY0" fmla="*/ 0 h 76515"/>
                <a:gd name="connsiteX1" fmla="*/ 299196 w 299196"/>
                <a:gd name="connsiteY1" fmla="*/ 62311 h 76515"/>
                <a:gd name="connsiteX2" fmla="*/ 284992 w 299196"/>
                <a:gd name="connsiteY2" fmla="*/ 76515 h 76515"/>
                <a:gd name="connsiteX3" fmla="*/ 14205 w 299196"/>
                <a:gd name="connsiteY3" fmla="*/ 76515 h 76515"/>
                <a:gd name="connsiteX4" fmla="*/ 0 w 299196"/>
                <a:gd name="connsiteY4" fmla="*/ 62311 h 76515"/>
                <a:gd name="connsiteX5" fmla="*/ 0 w 299196"/>
                <a:gd name="connsiteY5" fmla="*/ 47 h 765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99196" h="76515">
                  <a:moveTo>
                    <a:pt x="299196" y="0"/>
                  </a:moveTo>
                  <a:lnTo>
                    <a:pt x="299196" y="62311"/>
                  </a:lnTo>
                  <a:cubicBezTo>
                    <a:pt x="299196" y="70123"/>
                    <a:pt x="292804" y="76515"/>
                    <a:pt x="284992" y="76515"/>
                  </a:cubicBezTo>
                  <a:lnTo>
                    <a:pt x="14205" y="76515"/>
                  </a:lnTo>
                  <a:cubicBezTo>
                    <a:pt x="6392" y="76515"/>
                    <a:pt x="0" y="70123"/>
                    <a:pt x="0" y="62311"/>
                  </a:cubicBezTo>
                  <a:lnTo>
                    <a:pt x="0" y="47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25" name="Forma livre: Forma 1724">
              <a:extLst>
                <a:ext uri="{FF2B5EF4-FFF2-40B4-BE49-F238E27FC236}">
                  <a16:creationId xmlns:a16="http://schemas.microsoft.com/office/drawing/2014/main" id="{67E6984F-71F9-9C61-2F97-20A5870B438D}"/>
                </a:ext>
              </a:extLst>
            </p:cNvPr>
            <p:cNvSpPr/>
            <p:nvPr/>
          </p:nvSpPr>
          <p:spPr>
            <a:xfrm>
              <a:off x="9928534" y="5403377"/>
              <a:ext cx="101562" cy="4734"/>
            </a:xfrm>
            <a:custGeom>
              <a:avLst/>
              <a:gdLst>
                <a:gd name="connsiteX0" fmla="*/ 101563 w 101562"/>
                <a:gd name="connsiteY0" fmla="*/ 0 h 4734"/>
                <a:gd name="connsiteX1" fmla="*/ 0 w 101562"/>
                <a:gd name="connsiteY1" fmla="*/ 0 h 47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1562" h="4734">
                  <a:moveTo>
                    <a:pt x="101563" y="0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26" name="Forma livre: Forma 1725">
              <a:extLst>
                <a:ext uri="{FF2B5EF4-FFF2-40B4-BE49-F238E27FC236}">
                  <a16:creationId xmlns:a16="http://schemas.microsoft.com/office/drawing/2014/main" id="{67514B3B-D7E6-208A-DE13-F5413933C589}"/>
                </a:ext>
              </a:extLst>
            </p:cNvPr>
            <p:cNvSpPr/>
            <p:nvPr/>
          </p:nvSpPr>
          <p:spPr>
            <a:xfrm>
              <a:off x="9829623" y="5336048"/>
              <a:ext cx="299196" cy="67329"/>
            </a:xfrm>
            <a:custGeom>
              <a:avLst/>
              <a:gdLst>
                <a:gd name="connsiteX0" fmla="*/ 65104 w 299196"/>
                <a:gd name="connsiteY0" fmla="*/ 67330 h 67329"/>
                <a:gd name="connsiteX1" fmla="*/ 0 w 299196"/>
                <a:gd name="connsiteY1" fmla="*/ 67330 h 67329"/>
                <a:gd name="connsiteX2" fmla="*/ 0 w 299196"/>
                <a:gd name="connsiteY2" fmla="*/ 14205 h 67329"/>
                <a:gd name="connsiteX3" fmla="*/ 14205 w 299196"/>
                <a:gd name="connsiteY3" fmla="*/ 0 h 67329"/>
                <a:gd name="connsiteX4" fmla="*/ 284992 w 299196"/>
                <a:gd name="connsiteY4" fmla="*/ 0 h 67329"/>
                <a:gd name="connsiteX5" fmla="*/ 299196 w 299196"/>
                <a:gd name="connsiteY5" fmla="*/ 14205 h 67329"/>
                <a:gd name="connsiteX6" fmla="*/ 299196 w 299196"/>
                <a:gd name="connsiteY6" fmla="*/ 67330 h 67329"/>
                <a:gd name="connsiteX7" fmla="*/ 234092 w 299196"/>
                <a:gd name="connsiteY7" fmla="*/ 67330 h 673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99196" h="67329">
                  <a:moveTo>
                    <a:pt x="65104" y="67330"/>
                  </a:moveTo>
                  <a:lnTo>
                    <a:pt x="0" y="67330"/>
                  </a:lnTo>
                  <a:lnTo>
                    <a:pt x="0" y="14205"/>
                  </a:lnTo>
                  <a:cubicBezTo>
                    <a:pt x="0" y="6392"/>
                    <a:pt x="6392" y="0"/>
                    <a:pt x="14205" y="0"/>
                  </a:cubicBezTo>
                  <a:lnTo>
                    <a:pt x="284992" y="0"/>
                  </a:lnTo>
                  <a:cubicBezTo>
                    <a:pt x="292804" y="0"/>
                    <a:pt x="299196" y="6392"/>
                    <a:pt x="299196" y="14205"/>
                  </a:cubicBezTo>
                  <a:lnTo>
                    <a:pt x="299196" y="67330"/>
                  </a:lnTo>
                  <a:lnTo>
                    <a:pt x="234092" y="6733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727" name="Gráfico 18">
              <a:extLst>
                <a:ext uri="{FF2B5EF4-FFF2-40B4-BE49-F238E27FC236}">
                  <a16:creationId xmlns:a16="http://schemas.microsoft.com/office/drawing/2014/main" id="{755E24BE-F449-7A43-F218-CD9022A22FA1}"/>
                </a:ext>
              </a:extLst>
            </p:cNvPr>
            <p:cNvGrpSpPr/>
            <p:nvPr/>
          </p:nvGrpSpPr>
          <p:grpSpPr>
            <a:xfrm>
              <a:off x="9895248" y="5381455"/>
              <a:ext cx="167945" cy="43986"/>
              <a:chOff x="9895248" y="5381455"/>
              <a:chExt cx="167945" cy="43986"/>
            </a:xfrm>
            <a:noFill/>
          </p:grpSpPr>
          <p:sp>
            <p:nvSpPr>
              <p:cNvPr id="1728" name="Forma livre: Forma 1727">
                <a:extLst>
                  <a:ext uri="{FF2B5EF4-FFF2-40B4-BE49-F238E27FC236}">
                    <a16:creationId xmlns:a16="http://schemas.microsoft.com/office/drawing/2014/main" id="{7AD25965-53CC-559B-35E9-250F278C13E6}"/>
                  </a:ext>
                </a:extLst>
              </p:cNvPr>
              <p:cNvSpPr/>
              <p:nvPr/>
            </p:nvSpPr>
            <p:spPr>
              <a:xfrm>
                <a:off x="9895248" y="5381455"/>
                <a:ext cx="32575" cy="43986"/>
              </a:xfrm>
              <a:custGeom>
                <a:avLst/>
                <a:gdLst>
                  <a:gd name="connsiteX0" fmla="*/ 0 w 32575"/>
                  <a:gd name="connsiteY0" fmla="*/ 0 h 43986"/>
                  <a:gd name="connsiteX1" fmla="*/ 32576 w 32575"/>
                  <a:gd name="connsiteY1" fmla="*/ 0 h 43986"/>
                  <a:gd name="connsiteX2" fmla="*/ 32576 w 32575"/>
                  <a:gd name="connsiteY2" fmla="*/ 43987 h 43986"/>
                  <a:gd name="connsiteX3" fmla="*/ 0 w 32575"/>
                  <a:gd name="connsiteY3" fmla="*/ 43987 h 439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2575" h="43986">
                    <a:moveTo>
                      <a:pt x="0" y="0"/>
                    </a:moveTo>
                    <a:lnTo>
                      <a:pt x="32576" y="0"/>
                    </a:lnTo>
                    <a:lnTo>
                      <a:pt x="32576" y="43987"/>
                    </a:lnTo>
                    <a:lnTo>
                      <a:pt x="0" y="43987"/>
                    </a:ln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729" name="Forma livre: Forma 1728">
                <a:extLst>
                  <a:ext uri="{FF2B5EF4-FFF2-40B4-BE49-F238E27FC236}">
                    <a16:creationId xmlns:a16="http://schemas.microsoft.com/office/drawing/2014/main" id="{B51D478C-5941-D784-4EE1-51708A0FBC62}"/>
                  </a:ext>
                </a:extLst>
              </p:cNvPr>
              <p:cNvSpPr/>
              <p:nvPr/>
            </p:nvSpPr>
            <p:spPr>
              <a:xfrm>
                <a:off x="10030618" y="5381455"/>
                <a:ext cx="32575" cy="43986"/>
              </a:xfrm>
              <a:custGeom>
                <a:avLst/>
                <a:gdLst>
                  <a:gd name="connsiteX0" fmla="*/ 0 w 32575"/>
                  <a:gd name="connsiteY0" fmla="*/ 0 h 43986"/>
                  <a:gd name="connsiteX1" fmla="*/ 32576 w 32575"/>
                  <a:gd name="connsiteY1" fmla="*/ 0 h 43986"/>
                  <a:gd name="connsiteX2" fmla="*/ 32576 w 32575"/>
                  <a:gd name="connsiteY2" fmla="*/ 43987 h 43986"/>
                  <a:gd name="connsiteX3" fmla="*/ 0 w 32575"/>
                  <a:gd name="connsiteY3" fmla="*/ 43987 h 439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2575" h="43986">
                    <a:moveTo>
                      <a:pt x="0" y="0"/>
                    </a:moveTo>
                    <a:lnTo>
                      <a:pt x="32576" y="0"/>
                    </a:lnTo>
                    <a:lnTo>
                      <a:pt x="32576" y="43987"/>
                    </a:lnTo>
                    <a:lnTo>
                      <a:pt x="0" y="43987"/>
                    </a:ln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730" name="Gráfico 18">
            <a:extLst>
              <a:ext uri="{FF2B5EF4-FFF2-40B4-BE49-F238E27FC236}">
                <a16:creationId xmlns:a16="http://schemas.microsoft.com/office/drawing/2014/main" id="{66E66D62-997A-6068-C91C-56B21DCC47D9}"/>
              </a:ext>
            </a:extLst>
          </p:cNvPr>
          <p:cNvGrpSpPr/>
          <p:nvPr/>
        </p:nvGrpSpPr>
        <p:grpSpPr>
          <a:xfrm>
            <a:off x="9837281" y="5786381"/>
            <a:ext cx="283819" cy="277143"/>
            <a:chOff x="9837281" y="5786381"/>
            <a:chExt cx="283819" cy="277143"/>
          </a:xfrm>
          <a:noFill/>
        </p:grpSpPr>
        <p:grpSp>
          <p:nvGrpSpPr>
            <p:cNvPr id="1731" name="Gráfico 18">
              <a:extLst>
                <a:ext uri="{FF2B5EF4-FFF2-40B4-BE49-F238E27FC236}">
                  <a16:creationId xmlns:a16="http://schemas.microsoft.com/office/drawing/2014/main" id="{624A80E1-1936-3DDA-1A1F-DB9F4192B44A}"/>
                </a:ext>
              </a:extLst>
            </p:cNvPr>
            <p:cNvGrpSpPr/>
            <p:nvPr/>
          </p:nvGrpSpPr>
          <p:grpSpPr>
            <a:xfrm>
              <a:off x="9837281" y="5786996"/>
              <a:ext cx="276528" cy="276528"/>
              <a:chOff x="9837281" y="5786996"/>
              <a:chExt cx="276528" cy="276528"/>
            </a:xfrm>
            <a:noFill/>
          </p:grpSpPr>
          <p:sp>
            <p:nvSpPr>
              <p:cNvPr id="1732" name="Forma livre: Forma 1731">
                <a:extLst>
                  <a:ext uri="{FF2B5EF4-FFF2-40B4-BE49-F238E27FC236}">
                    <a16:creationId xmlns:a16="http://schemas.microsoft.com/office/drawing/2014/main" id="{427A84BC-027C-3F3E-4342-69085456CAB3}"/>
                  </a:ext>
                </a:extLst>
              </p:cNvPr>
              <p:cNvSpPr/>
              <p:nvPr/>
            </p:nvSpPr>
            <p:spPr>
              <a:xfrm>
                <a:off x="9837281" y="5786996"/>
                <a:ext cx="276528" cy="276528"/>
              </a:xfrm>
              <a:custGeom>
                <a:avLst/>
                <a:gdLst>
                  <a:gd name="connsiteX0" fmla="*/ 276528 w 276528"/>
                  <a:gd name="connsiteY0" fmla="*/ 149574 h 276528"/>
                  <a:gd name="connsiteX1" fmla="*/ 180079 w 276528"/>
                  <a:gd name="connsiteY1" fmla="*/ 246024 h 276528"/>
                  <a:gd name="connsiteX2" fmla="*/ 32588 w 276528"/>
                  <a:gd name="connsiteY2" fmla="*/ 246024 h 276528"/>
                  <a:gd name="connsiteX3" fmla="*/ 30504 w 276528"/>
                  <a:gd name="connsiteY3" fmla="*/ 243940 h 276528"/>
                  <a:gd name="connsiteX4" fmla="*/ 30504 w 276528"/>
                  <a:gd name="connsiteY4" fmla="*/ 96449 h 276528"/>
                  <a:gd name="connsiteX5" fmla="*/ 126954 w 276528"/>
                  <a:gd name="connsiteY5" fmla="*/ 0 h 276528"/>
                  <a:gd name="connsiteX6" fmla="*/ 173829 w 276528"/>
                  <a:gd name="connsiteY6" fmla="*/ 46875 h 276528"/>
                  <a:gd name="connsiteX7" fmla="*/ 77380 w 276528"/>
                  <a:gd name="connsiteY7" fmla="*/ 143324 h 276528"/>
                  <a:gd name="connsiteX8" fmla="*/ 77380 w 276528"/>
                  <a:gd name="connsiteY8" fmla="*/ 197065 h 276528"/>
                  <a:gd name="connsiteX9" fmla="*/ 79463 w 276528"/>
                  <a:gd name="connsiteY9" fmla="*/ 199148 h 276528"/>
                  <a:gd name="connsiteX10" fmla="*/ 133204 w 276528"/>
                  <a:gd name="connsiteY10" fmla="*/ 199148 h 276528"/>
                  <a:gd name="connsiteX11" fmla="*/ 229653 w 276528"/>
                  <a:gd name="connsiteY11" fmla="*/ 102699 h 276528"/>
                  <a:gd name="connsiteX12" fmla="*/ 276528 w 276528"/>
                  <a:gd name="connsiteY12" fmla="*/ 149574 h 2765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276528" h="276528">
                    <a:moveTo>
                      <a:pt x="276528" y="149574"/>
                    </a:moveTo>
                    <a:lnTo>
                      <a:pt x="180079" y="246024"/>
                    </a:lnTo>
                    <a:cubicBezTo>
                      <a:pt x="139406" y="286696"/>
                      <a:pt x="73260" y="286696"/>
                      <a:pt x="32588" y="246024"/>
                    </a:cubicBezTo>
                    <a:lnTo>
                      <a:pt x="30504" y="243940"/>
                    </a:lnTo>
                    <a:cubicBezTo>
                      <a:pt x="-10168" y="203268"/>
                      <a:pt x="-10168" y="137122"/>
                      <a:pt x="30504" y="96449"/>
                    </a:cubicBezTo>
                    <a:lnTo>
                      <a:pt x="126954" y="0"/>
                    </a:lnTo>
                    <a:lnTo>
                      <a:pt x="173829" y="46875"/>
                    </a:lnTo>
                    <a:lnTo>
                      <a:pt x="77380" y="143324"/>
                    </a:lnTo>
                    <a:cubicBezTo>
                      <a:pt x="62559" y="158145"/>
                      <a:pt x="62559" y="182245"/>
                      <a:pt x="77380" y="197065"/>
                    </a:cubicBezTo>
                    <a:lnTo>
                      <a:pt x="79463" y="199148"/>
                    </a:lnTo>
                    <a:cubicBezTo>
                      <a:pt x="94283" y="213969"/>
                      <a:pt x="118383" y="213969"/>
                      <a:pt x="133204" y="199148"/>
                    </a:cubicBezTo>
                    <a:lnTo>
                      <a:pt x="229653" y="102699"/>
                    </a:lnTo>
                    <a:lnTo>
                      <a:pt x="276528" y="149574"/>
                    </a:lnTo>
                    <a:close/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733" name="Forma livre: Forma 1732">
                <a:extLst>
                  <a:ext uri="{FF2B5EF4-FFF2-40B4-BE49-F238E27FC236}">
                    <a16:creationId xmlns:a16="http://schemas.microsoft.com/office/drawing/2014/main" id="{84E4C15D-7B89-2EFF-6F99-EF8F98A76008}"/>
                  </a:ext>
                </a:extLst>
              </p:cNvPr>
              <p:cNvSpPr/>
              <p:nvPr/>
            </p:nvSpPr>
            <p:spPr>
              <a:xfrm>
                <a:off x="9937199" y="5844146"/>
                <a:ext cx="31392" cy="31392"/>
              </a:xfrm>
              <a:custGeom>
                <a:avLst/>
                <a:gdLst>
                  <a:gd name="connsiteX0" fmla="*/ 0 w 31392"/>
                  <a:gd name="connsiteY0" fmla="*/ 0 h 31392"/>
                  <a:gd name="connsiteX1" fmla="*/ 31392 w 31392"/>
                  <a:gd name="connsiteY1" fmla="*/ 31392 h 313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1392" h="31392">
                    <a:moveTo>
                      <a:pt x="0" y="0"/>
                    </a:moveTo>
                    <a:lnTo>
                      <a:pt x="31392" y="31392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734" name="Forma livre: Forma 1733">
                <a:extLst>
                  <a:ext uri="{FF2B5EF4-FFF2-40B4-BE49-F238E27FC236}">
                    <a16:creationId xmlns:a16="http://schemas.microsoft.com/office/drawing/2014/main" id="{17B0157F-B47D-DD93-6FC0-CB97AC19D589}"/>
                  </a:ext>
                </a:extLst>
              </p:cNvPr>
              <p:cNvSpPr/>
              <p:nvPr/>
            </p:nvSpPr>
            <p:spPr>
              <a:xfrm>
                <a:off x="10039993" y="5946940"/>
                <a:ext cx="31155" cy="31155"/>
              </a:xfrm>
              <a:custGeom>
                <a:avLst/>
                <a:gdLst>
                  <a:gd name="connsiteX0" fmla="*/ 0 w 31155"/>
                  <a:gd name="connsiteY0" fmla="*/ 0 h 31155"/>
                  <a:gd name="connsiteX1" fmla="*/ 31155 w 31155"/>
                  <a:gd name="connsiteY1" fmla="*/ 31155 h 311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1155" h="31155">
                    <a:moveTo>
                      <a:pt x="0" y="0"/>
                    </a:moveTo>
                    <a:lnTo>
                      <a:pt x="31155" y="31155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735" name="Forma livre: Forma 1734">
              <a:extLst>
                <a:ext uri="{FF2B5EF4-FFF2-40B4-BE49-F238E27FC236}">
                  <a16:creationId xmlns:a16="http://schemas.microsoft.com/office/drawing/2014/main" id="{40A25BEA-B1E2-F352-83B7-70F79D1B12F8}"/>
                </a:ext>
              </a:extLst>
            </p:cNvPr>
            <p:cNvSpPr/>
            <p:nvPr/>
          </p:nvSpPr>
          <p:spPr>
            <a:xfrm>
              <a:off x="10034927" y="5786381"/>
              <a:ext cx="86174" cy="80350"/>
            </a:xfrm>
            <a:custGeom>
              <a:avLst/>
              <a:gdLst>
                <a:gd name="connsiteX0" fmla="*/ 86175 w 86174"/>
                <a:gd name="connsiteY0" fmla="*/ 0 h 80350"/>
                <a:gd name="connsiteX1" fmla="*/ 50710 w 86174"/>
                <a:gd name="connsiteY1" fmla="*/ 57765 h 80350"/>
                <a:gd name="connsiteX2" fmla="*/ 38116 w 86174"/>
                <a:gd name="connsiteY2" fmla="*/ 24337 h 80350"/>
                <a:gd name="connsiteX3" fmla="*/ 0 w 86174"/>
                <a:gd name="connsiteY3" fmla="*/ 80351 h 803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6174" h="80350">
                  <a:moveTo>
                    <a:pt x="86175" y="0"/>
                  </a:moveTo>
                  <a:lnTo>
                    <a:pt x="50710" y="57765"/>
                  </a:lnTo>
                  <a:lnTo>
                    <a:pt x="38116" y="24337"/>
                  </a:lnTo>
                  <a:lnTo>
                    <a:pt x="0" y="80351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736" name="Gráfico 18">
            <a:extLst>
              <a:ext uri="{FF2B5EF4-FFF2-40B4-BE49-F238E27FC236}">
                <a16:creationId xmlns:a16="http://schemas.microsoft.com/office/drawing/2014/main" id="{EDA5068C-6388-C165-265F-F4C36C47844B}"/>
              </a:ext>
            </a:extLst>
          </p:cNvPr>
          <p:cNvGrpSpPr/>
          <p:nvPr/>
        </p:nvGrpSpPr>
        <p:grpSpPr>
          <a:xfrm>
            <a:off x="10425553" y="4737750"/>
            <a:ext cx="338069" cy="237027"/>
            <a:chOff x="10425553" y="4737750"/>
            <a:chExt cx="338069" cy="237027"/>
          </a:xfrm>
          <a:noFill/>
        </p:grpSpPr>
        <p:grpSp>
          <p:nvGrpSpPr>
            <p:cNvPr id="1737" name="Gráfico 18">
              <a:extLst>
                <a:ext uri="{FF2B5EF4-FFF2-40B4-BE49-F238E27FC236}">
                  <a16:creationId xmlns:a16="http://schemas.microsoft.com/office/drawing/2014/main" id="{DA3937D7-6FBC-07EC-FE39-A5EB6A605E18}"/>
                </a:ext>
              </a:extLst>
            </p:cNvPr>
            <p:cNvGrpSpPr/>
            <p:nvPr/>
          </p:nvGrpSpPr>
          <p:grpSpPr>
            <a:xfrm>
              <a:off x="10489142" y="4739076"/>
              <a:ext cx="274480" cy="235701"/>
              <a:chOff x="10489142" y="4739076"/>
              <a:chExt cx="274480" cy="235701"/>
            </a:xfrm>
            <a:noFill/>
          </p:grpSpPr>
          <p:sp>
            <p:nvSpPr>
              <p:cNvPr id="1738" name="Forma livre: Forma 1737">
                <a:extLst>
                  <a:ext uri="{FF2B5EF4-FFF2-40B4-BE49-F238E27FC236}">
                    <a16:creationId xmlns:a16="http://schemas.microsoft.com/office/drawing/2014/main" id="{11C8136B-6592-06F7-146C-B44DA2F2179E}"/>
                  </a:ext>
                </a:extLst>
              </p:cNvPr>
              <p:cNvSpPr/>
              <p:nvPr/>
            </p:nvSpPr>
            <p:spPr>
              <a:xfrm>
                <a:off x="10531046" y="4780458"/>
                <a:ext cx="190673" cy="194318"/>
              </a:xfrm>
              <a:custGeom>
                <a:avLst/>
                <a:gdLst>
                  <a:gd name="connsiteX0" fmla="*/ 190673 w 190673"/>
                  <a:gd name="connsiteY0" fmla="*/ 85370 h 194318"/>
                  <a:gd name="connsiteX1" fmla="*/ 95360 w 190673"/>
                  <a:gd name="connsiteY1" fmla="*/ 0 h 194318"/>
                  <a:gd name="connsiteX2" fmla="*/ 95313 w 190673"/>
                  <a:gd name="connsiteY2" fmla="*/ 0 h 194318"/>
                  <a:gd name="connsiteX3" fmla="*/ 95360 w 190673"/>
                  <a:gd name="connsiteY3" fmla="*/ 0 h 194318"/>
                  <a:gd name="connsiteX4" fmla="*/ 95313 w 190673"/>
                  <a:gd name="connsiteY4" fmla="*/ 0 h 194318"/>
                  <a:gd name="connsiteX5" fmla="*/ 0 w 190673"/>
                  <a:gd name="connsiteY5" fmla="*/ 85370 h 194318"/>
                  <a:gd name="connsiteX6" fmla="*/ 0 w 190673"/>
                  <a:gd name="connsiteY6" fmla="*/ 194319 h 194318"/>
                  <a:gd name="connsiteX7" fmla="*/ 70692 w 190673"/>
                  <a:gd name="connsiteY7" fmla="*/ 194319 h 194318"/>
                  <a:gd name="connsiteX8" fmla="*/ 70692 w 190673"/>
                  <a:gd name="connsiteY8" fmla="*/ 132340 h 194318"/>
                  <a:gd name="connsiteX9" fmla="*/ 119982 w 190673"/>
                  <a:gd name="connsiteY9" fmla="*/ 132340 h 194318"/>
                  <a:gd name="connsiteX10" fmla="*/ 119982 w 190673"/>
                  <a:gd name="connsiteY10" fmla="*/ 194319 h 194318"/>
                  <a:gd name="connsiteX11" fmla="*/ 190673 w 190673"/>
                  <a:gd name="connsiteY11" fmla="*/ 194319 h 194318"/>
                  <a:gd name="connsiteX12" fmla="*/ 190673 w 190673"/>
                  <a:gd name="connsiteY12" fmla="*/ 85370 h 1943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90673" h="194318">
                    <a:moveTo>
                      <a:pt x="190673" y="85370"/>
                    </a:moveTo>
                    <a:lnTo>
                      <a:pt x="95360" y="0"/>
                    </a:lnTo>
                    <a:lnTo>
                      <a:pt x="95313" y="0"/>
                    </a:lnTo>
                    <a:lnTo>
                      <a:pt x="95360" y="0"/>
                    </a:lnTo>
                    <a:lnTo>
                      <a:pt x="95313" y="0"/>
                    </a:lnTo>
                    <a:lnTo>
                      <a:pt x="0" y="85370"/>
                    </a:lnTo>
                    <a:lnTo>
                      <a:pt x="0" y="194319"/>
                    </a:lnTo>
                    <a:lnTo>
                      <a:pt x="70692" y="194319"/>
                    </a:lnTo>
                    <a:lnTo>
                      <a:pt x="70692" y="132340"/>
                    </a:lnTo>
                    <a:lnTo>
                      <a:pt x="119982" y="132340"/>
                    </a:lnTo>
                    <a:lnTo>
                      <a:pt x="119982" y="194319"/>
                    </a:lnTo>
                    <a:lnTo>
                      <a:pt x="190673" y="194319"/>
                    </a:lnTo>
                    <a:lnTo>
                      <a:pt x="190673" y="85370"/>
                    </a:ln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739" name="Forma livre: Forma 1738">
                <a:extLst>
                  <a:ext uri="{FF2B5EF4-FFF2-40B4-BE49-F238E27FC236}">
                    <a16:creationId xmlns:a16="http://schemas.microsoft.com/office/drawing/2014/main" id="{D8A5985A-4AD4-B4DA-B38A-659F2F5B17A9}"/>
                  </a:ext>
                </a:extLst>
              </p:cNvPr>
              <p:cNvSpPr/>
              <p:nvPr/>
            </p:nvSpPr>
            <p:spPr>
              <a:xfrm>
                <a:off x="10489142" y="4739076"/>
                <a:ext cx="274480" cy="119602"/>
              </a:xfrm>
              <a:custGeom>
                <a:avLst/>
                <a:gdLst>
                  <a:gd name="connsiteX0" fmla="*/ 274480 w 274480"/>
                  <a:gd name="connsiteY0" fmla="*/ 119603 h 119602"/>
                  <a:gd name="connsiteX1" fmla="*/ 137169 w 274480"/>
                  <a:gd name="connsiteY1" fmla="*/ 0 h 119602"/>
                  <a:gd name="connsiteX2" fmla="*/ 72680 w 274480"/>
                  <a:gd name="connsiteY2" fmla="*/ 56108 h 119602"/>
                  <a:gd name="connsiteX3" fmla="*/ 72680 w 274480"/>
                  <a:gd name="connsiteY3" fmla="*/ 20218 h 119602"/>
                  <a:gd name="connsiteX4" fmla="*/ 42898 w 274480"/>
                  <a:gd name="connsiteY4" fmla="*/ 20218 h 119602"/>
                  <a:gd name="connsiteX5" fmla="*/ 42898 w 274480"/>
                  <a:gd name="connsiteY5" fmla="*/ 82103 h 119602"/>
                  <a:gd name="connsiteX6" fmla="*/ 0 w 274480"/>
                  <a:gd name="connsiteY6" fmla="*/ 119603 h 1196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74480" h="119602">
                    <a:moveTo>
                      <a:pt x="274480" y="119603"/>
                    </a:moveTo>
                    <a:lnTo>
                      <a:pt x="137169" y="0"/>
                    </a:lnTo>
                    <a:lnTo>
                      <a:pt x="72680" y="56108"/>
                    </a:lnTo>
                    <a:lnTo>
                      <a:pt x="72680" y="20218"/>
                    </a:lnTo>
                    <a:lnTo>
                      <a:pt x="42898" y="20218"/>
                    </a:lnTo>
                    <a:lnTo>
                      <a:pt x="42898" y="82103"/>
                    </a:lnTo>
                    <a:lnTo>
                      <a:pt x="0" y="119603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740" name="Gráfico 18">
              <a:extLst>
                <a:ext uri="{FF2B5EF4-FFF2-40B4-BE49-F238E27FC236}">
                  <a16:creationId xmlns:a16="http://schemas.microsoft.com/office/drawing/2014/main" id="{DAC0B142-B528-EC50-4949-CE99E02DDB20}"/>
                </a:ext>
              </a:extLst>
            </p:cNvPr>
            <p:cNvGrpSpPr/>
            <p:nvPr/>
          </p:nvGrpSpPr>
          <p:grpSpPr>
            <a:xfrm>
              <a:off x="10425553" y="4737750"/>
              <a:ext cx="61505" cy="237027"/>
              <a:chOff x="10425553" y="4737750"/>
              <a:chExt cx="61505" cy="237027"/>
            </a:xfrm>
            <a:noFill/>
          </p:grpSpPr>
          <p:grpSp>
            <p:nvGrpSpPr>
              <p:cNvPr id="1741" name="Gráfico 18">
                <a:extLst>
                  <a:ext uri="{FF2B5EF4-FFF2-40B4-BE49-F238E27FC236}">
                    <a16:creationId xmlns:a16="http://schemas.microsoft.com/office/drawing/2014/main" id="{724EAA94-DB87-505A-D2C1-A9DAAC3F748D}"/>
                  </a:ext>
                </a:extLst>
              </p:cNvPr>
              <p:cNvGrpSpPr/>
              <p:nvPr/>
            </p:nvGrpSpPr>
            <p:grpSpPr>
              <a:xfrm>
                <a:off x="10425553" y="4737750"/>
                <a:ext cx="61505" cy="237027"/>
                <a:chOff x="10425553" y="4737750"/>
                <a:chExt cx="61505" cy="237027"/>
              </a:xfrm>
            </p:grpSpPr>
            <p:sp>
              <p:nvSpPr>
                <p:cNvPr id="1742" name="Forma livre: Forma 1741">
                  <a:extLst>
                    <a:ext uri="{FF2B5EF4-FFF2-40B4-BE49-F238E27FC236}">
                      <a16:creationId xmlns:a16="http://schemas.microsoft.com/office/drawing/2014/main" id="{CAA4D214-6B78-588D-4007-11B235452497}"/>
                    </a:ext>
                  </a:extLst>
                </p:cNvPr>
                <p:cNvSpPr/>
                <p:nvPr/>
              </p:nvSpPr>
              <p:spPr>
                <a:xfrm>
                  <a:off x="10425553" y="4737750"/>
                  <a:ext cx="61505" cy="4734"/>
                </a:xfrm>
                <a:custGeom>
                  <a:avLst/>
                  <a:gdLst>
                    <a:gd name="connsiteX0" fmla="*/ 61506 w 61505"/>
                    <a:gd name="connsiteY0" fmla="*/ 0 h 4734"/>
                    <a:gd name="connsiteX1" fmla="*/ 0 w 61505"/>
                    <a:gd name="connsiteY1" fmla="*/ 0 h 473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61505" h="4734">
                      <a:moveTo>
                        <a:pt x="61506" y="0"/>
                      </a:moveTo>
                      <a:lnTo>
                        <a:pt x="0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743" name="Forma livre: Forma 1742">
                  <a:extLst>
                    <a:ext uri="{FF2B5EF4-FFF2-40B4-BE49-F238E27FC236}">
                      <a16:creationId xmlns:a16="http://schemas.microsoft.com/office/drawing/2014/main" id="{D5A2442B-BD30-B271-B620-DA4461D92E3E}"/>
                    </a:ext>
                  </a:extLst>
                </p:cNvPr>
                <p:cNvSpPr/>
                <p:nvPr/>
              </p:nvSpPr>
              <p:spPr>
                <a:xfrm>
                  <a:off x="10425553" y="4974777"/>
                  <a:ext cx="61505" cy="4734"/>
                </a:xfrm>
                <a:custGeom>
                  <a:avLst/>
                  <a:gdLst>
                    <a:gd name="connsiteX0" fmla="*/ 61506 w 61505"/>
                    <a:gd name="connsiteY0" fmla="*/ 0 h 4734"/>
                    <a:gd name="connsiteX1" fmla="*/ 0 w 61505"/>
                    <a:gd name="connsiteY1" fmla="*/ 0 h 473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61505" h="4734">
                      <a:moveTo>
                        <a:pt x="61506" y="0"/>
                      </a:moveTo>
                      <a:lnTo>
                        <a:pt x="0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1744" name="Gráfico 18">
                <a:extLst>
                  <a:ext uri="{FF2B5EF4-FFF2-40B4-BE49-F238E27FC236}">
                    <a16:creationId xmlns:a16="http://schemas.microsoft.com/office/drawing/2014/main" id="{41F7AF66-6472-875F-5512-A2FA4D82E7CB}"/>
                  </a:ext>
                </a:extLst>
              </p:cNvPr>
              <p:cNvGrpSpPr/>
              <p:nvPr/>
            </p:nvGrpSpPr>
            <p:grpSpPr>
              <a:xfrm>
                <a:off x="10427163" y="4768290"/>
                <a:ext cx="58286" cy="175947"/>
                <a:chOff x="10427163" y="4768290"/>
                <a:chExt cx="58286" cy="175947"/>
              </a:xfrm>
              <a:noFill/>
            </p:grpSpPr>
            <p:sp>
              <p:nvSpPr>
                <p:cNvPr id="1745" name="Forma livre: Forma 1744">
                  <a:extLst>
                    <a:ext uri="{FF2B5EF4-FFF2-40B4-BE49-F238E27FC236}">
                      <a16:creationId xmlns:a16="http://schemas.microsoft.com/office/drawing/2014/main" id="{276BB9EA-8C61-BEDA-DA7C-F228480CCD38}"/>
                    </a:ext>
                  </a:extLst>
                </p:cNvPr>
                <p:cNvSpPr/>
                <p:nvPr/>
              </p:nvSpPr>
              <p:spPr>
                <a:xfrm>
                  <a:off x="10456330" y="4768574"/>
                  <a:ext cx="4734" cy="175048"/>
                </a:xfrm>
                <a:custGeom>
                  <a:avLst/>
                  <a:gdLst>
                    <a:gd name="connsiteX0" fmla="*/ 0 w 4734"/>
                    <a:gd name="connsiteY0" fmla="*/ 175048 h 175048"/>
                    <a:gd name="connsiteX1" fmla="*/ 0 w 4734"/>
                    <a:gd name="connsiteY1" fmla="*/ 0 h 1750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734" h="175048">
                      <a:moveTo>
                        <a:pt x="0" y="175048"/>
                      </a:moveTo>
                      <a:lnTo>
                        <a:pt x="0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746" name="Forma livre: Forma 1745">
                  <a:extLst>
                    <a:ext uri="{FF2B5EF4-FFF2-40B4-BE49-F238E27FC236}">
                      <a16:creationId xmlns:a16="http://schemas.microsoft.com/office/drawing/2014/main" id="{1BF0611B-85DF-B659-4AAD-4FEC5FB27B95}"/>
                    </a:ext>
                  </a:extLst>
                </p:cNvPr>
                <p:cNvSpPr/>
                <p:nvPr/>
              </p:nvSpPr>
              <p:spPr>
                <a:xfrm>
                  <a:off x="10427163" y="4768290"/>
                  <a:ext cx="58286" cy="29166"/>
                </a:xfrm>
                <a:custGeom>
                  <a:avLst/>
                  <a:gdLst>
                    <a:gd name="connsiteX0" fmla="*/ 0 w 58286"/>
                    <a:gd name="connsiteY0" fmla="*/ 29167 h 29166"/>
                    <a:gd name="connsiteX1" fmla="*/ 29167 w 58286"/>
                    <a:gd name="connsiteY1" fmla="*/ 0 h 29166"/>
                    <a:gd name="connsiteX2" fmla="*/ 58286 w 58286"/>
                    <a:gd name="connsiteY2" fmla="*/ 29167 h 2916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58286" h="29166">
                      <a:moveTo>
                        <a:pt x="0" y="29167"/>
                      </a:moveTo>
                      <a:lnTo>
                        <a:pt x="29167" y="0"/>
                      </a:lnTo>
                      <a:lnTo>
                        <a:pt x="58286" y="29167"/>
                      </a:ln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747" name="Forma livre: Forma 1746">
                  <a:extLst>
                    <a:ext uri="{FF2B5EF4-FFF2-40B4-BE49-F238E27FC236}">
                      <a16:creationId xmlns:a16="http://schemas.microsoft.com/office/drawing/2014/main" id="{90E2FE1C-6F8F-9907-FCC5-8E31E87185AF}"/>
                    </a:ext>
                  </a:extLst>
                </p:cNvPr>
                <p:cNvSpPr/>
                <p:nvPr/>
              </p:nvSpPr>
              <p:spPr>
                <a:xfrm>
                  <a:off x="10427163" y="4915071"/>
                  <a:ext cx="58286" cy="29166"/>
                </a:xfrm>
                <a:custGeom>
                  <a:avLst/>
                  <a:gdLst>
                    <a:gd name="connsiteX0" fmla="*/ 58286 w 58286"/>
                    <a:gd name="connsiteY0" fmla="*/ 0 h 29166"/>
                    <a:gd name="connsiteX1" fmla="*/ 29167 w 58286"/>
                    <a:gd name="connsiteY1" fmla="*/ 29167 h 29166"/>
                    <a:gd name="connsiteX2" fmla="*/ 0 w 58286"/>
                    <a:gd name="connsiteY2" fmla="*/ 0 h 2916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58286" h="29166">
                      <a:moveTo>
                        <a:pt x="58286" y="0"/>
                      </a:moveTo>
                      <a:lnTo>
                        <a:pt x="29167" y="29167"/>
                      </a:lnTo>
                      <a:lnTo>
                        <a:pt x="0" y="0"/>
                      </a:ln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</p:grpSp>
      <p:grpSp>
        <p:nvGrpSpPr>
          <p:cNvPr id="1748" name="Gráfico 18">
            <a:extLst>
              <a:ext uri="{FF2B5EF4-FFF2-40B4-BE49-F238E27FC236}">
                <a16:creationId xmlns:a16="http://schemas.microsoft.com/office/drawing/2014/main" id="{5AA3F6E7-140B-323B-BB7E-DA635D7B2705}"/>
              </a:ext>
            </a:extLst>
          </p:cNvPr>
          <p:cNvGrpSpPr/>
          <p:nvPr/>
        </p:nvGrpSpPr>
        <p:grpSpPr>
          <a:xfrm>
            <a:off x="10427116" y="3705028"/>
            <a:ext cx="334897" cy="165057"/>
            <a:chOff x="10427116" y="3705028"/>
            <a:chExt cx="334897" cy="165057"/>
          </a:xfrm>
          <a:noFill/>
        </p:grpSpPr>
        <p:grpSp>
          <p:nvGrpSpPr>
            <p:cNvPr id="1749" name="Gráfico 18">
              <a:extLst>
                <a:ext uri="{FF2B5EF4-FFF2-40B4-BE49-F238E27FC236}">
                  <a16:creationId xmlns:a16="http://schemas.microsoft.com/office/drawing/2014/main" id="{96005AA3-8AC3-A3C4-BA0A-8F6AC15E5363}"/>
                </a:ext>
              </a:extLst>
            </p:cNvPr>
            <p:cNvGrpSpPr/>
            <p:nvPr/>
          </p:nvGrpSpPr>
          <p:grpSpPr>
            <a:xfrm>
              <a:off x="10458460" y="3705786"/>
              <a:ext cx="272254" cy="162974"/>
              <a:chOff x="10458460" y="3705786"/>
              <a:chExt cx="272254" cy="162974"/>
            </a:xfrm>
          </p:grpSpPr>
          <p:sp>
            <p:nvSpPr>
              <p:cNvPr id="1750" name="Forma livre: Forma 1749">
                <a:extLst>
                  <a:ext uri="{FF2B5EF4-FFF2-40B4-BE49-F238E27FC236}">
                    <a16:creationId xmlns:a16="http://schemas.microsoft.com/office/drawing/2014/main" id="{582AE920-411F-23CC-B05F-E7E6B54878C5}"/>
                  </a:ext>
                </a:extLst>
              </p:cNvPr>
              <p:cNvSpPr/>
              <p:nvPr/>
            </p:nvSpPr>
            <p:spPr>
              <a:xfrm>
                <a:off x="10458460" y="3705786"/>
                <a:ext cx="4734" cy="162974"/>
              </a:xfrm>
              <a:custGeom>
                <a:avLst/>
                <a:gdLst>
                  <a:gd name="connsiteX0" fmla="*/ 0 w 4734"/>
                  <a:gd name="connsiteY0" fmla="*/ 0 h 162974"/>
                  <a:gd name="connsiteX1" fmla="*/ 0 w 4734"/>
                  <a:gd name="connsiteY1" fmla="*/ 162974 h 1629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34" h="162974">
                    <a:moveTo>
                      <a:pt x="0" y="0"/>
                    </a:moveTo>
                    <a:lnTo>
                      <a:pt x="0" y="162974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751" name="Forma livre: Forma 1750">
                <a:extLst>
                  <a:ext uri="{FF2B5EF4-FFF2-40B4-BE49-F238E27FC236}">
                    <a16:creationId xmlns:a16="http://schemas.microsoft.com/office/drawing/2014/main" id="{690A1F51-9843-DB14-29DD-526FDAB52F78}"/>
                  </a:ext>
                </a:extLst>
              </p:cNvPr>
              <p:cNvSpPr/>
              <p:nvPr/>
            </p:nvSpPr>
            <p:spPr>
              <a:xfrm>
                <a:off x="10730715" y="3705786"/>
                <a:ext cx="4734" cy="162974"/>
              </a:xfrm>
              <a:custGeom>
                <a:avLst/>
                <a:gdLst>
                  <a:gd name="connsiteX0" fmla="*/ 0 w 4734"/>
                  <a:gd name="connsiteY0" fmla="*/ 0 h 162974"/>
                  <a:gd name="connsiteX1" fmla="*/ 0 w 4734"/>
                  <a:gd name="connsiteY1" fmla="*/ 162974 h 1629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34" h="162974">
                    <a:moveTo>
                      <a:pt x="0" y="0"/>
                    </a:moveTo>
                    <a:lnTo>
                      <a:pt x="0" y="162974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752" name="Forma livre: Forma 1751">
              <a:extLst>
                <a:ext uri="{FF2B5EF4-FFF2-40B4-BE49-F238E27FC236}">
                  <a16:creationId xmlns:a16="http://schemas.microsoft.com/office/drawing/2014/main" id="{56251263-DD21-9BE1-5CD1-C93502F00A09}"/>
                </a:ext>
              </a:extLst>
            </p:cNvPr>
            <p:cNvSpPr/>
            <p:nvPr/>
          </p:nvSpPr>
          <p:spPr>
            <a:xfrm>
              <a:off x="10427116" y="3705028"/>
              <a:ext cx="334897" cy="165057"/>
            </a:xfrm>
            <a:custGeom>
              <a:avLst/>
              <a:gdLst>
                <a:gd name="connsiteX0" fmla="*/ 73580 w 334897"/>
                <a:gd name="connsiteY0" fmla="*/ 0 h 165057"/>
                <a:gd name="connsiteX1" fmla="*/ 73580 w 334897"/>
                <a:gd name="connsiteY1" fmla="*/ 66620 h 165057"/>
                <a:gd name="connsiteX2" fmla="*/ 103220 w 334897"/>
                <a:gd name="connsiteY2" fmla="*/ 95976 h 165057"/>
                <a:gd name="connsiteX3" fmla="*/ 231677 w 334897"/>
                <a:gd name="connsiteY3" fmla="*/ 95976 h 165057"/>
                <a:gd name="connsiteX4" fmla="*/ 261317 w 334897"/>
                <a:gd name="connsiteY4" fmla="*/ 66620 h 165057"/>
                <a:gd name="connsiteX5" fmla="*/ 261317 w 334897"/>
                <a:gd name="connsiteY5" fmla="*/ 0 h 165057"/>
                <a:gd name="connsiteX6" fmla="*/ 334897 w 334897"/>
                <a:gd name="connsiteY6" fmla="*/ 0 h 165057"/>
                <a:gd name="connsiteX7" fmla="*/ 334897 w 334897"/>
                <a:gd name="connsiteY7" fmla="*/ 165057 h 165057"/>
                <a:gd name="connsiteX8" fmla="*/ 0 w 334897"/>
                <a:gd name="connsiteY8" fmla="*/ 165057 h 165057"/>
                <a:gd name="connsiteX9" fmla="*/ 0 w 334897"/>
                <a:gd name="connsiteY9" fmla="*/ 0 h 165057"/>
                <a:gd name="connsiteX10" fmla="*/ 73580 w 334897"/>
                <a:gd name="connsiteY10" fmla="*/ 0 h 165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34897" h="165057">
                  <a:moveTo>
                    <a:pt x="73580" y="0"/>
                  </a:moveTo>
                  <a:lnTo>
                    <a:pt x="73580" y="66620"/>
                  </a:lnTo>
                  <a:cubicBezTo>
                    <a:pt x="73580" y="82765"/>
                    <a:pt x="86932" y="95976"/>
                    <a:pt x="103220" y="95976"/>
                  </a:cubicBezTo>
                  <a:lnTo>
                    <a:pt x="231677" y="95976"/>
                  </a:lnTo>
                  <a:cubicBezTo>
                    <a:pt x="247965" y="95976"/>
                    <a:pt x="261317" y="82765"/>
                    <a:pt x="261317" y="66620"/>
                  </a:cubicBezTo>
                  <a:lnTo>
                    <a:pt x="261317" y="0"/>
                  </a:lnTo>
                  <a:lnTo>
                    <a:pt x="334897" y="0"/>
                  </a:lnTo>
                  <a:lnTo>
                    <a:pt x="334897" y="165057"/>
                  </a:lnTo>
                  <a:lnTo>
                    <a:pt x="0" y="165057"/>
                  </a:lnTo>
                  <a:lnTo>
                    <a:pt x="0" y="0"/>
                  </a:lnTo>
                  <a:lnTo>
                    <a:pt x="73580" y="0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53" name="Forma livre: Forma 1752">
              <a:extLst>
                <a:ext uri="{FF2B5EF4-FFF2-40B4-BE49-F238E27FC236}">
                  <a16:creationId xmlns:a16="http://schemas.microsoft.com/office/drawing/2014/main" id="{224601FB-7A94-C6AC-8A42-42720B51F9D3}"/>
                </a:ext>
              </a:extLst>
            </p:cNvPr>
            <p:cNvSpPr/>
            <p:nvPr/>
          </p:nvSpPr>
          <p:spPr>
            <a:xfrm>
              <a:off x="10501690" y="3719612"/>
              <a:ext cx="185796" cy="4734"/>
            </a:xfrm>
            <a:custGeom>
              <a:avLst/>
              <a:gdLst>
                <a:gd name="connsiteX0" fmla="*/ 0 w 185796"/>
                <a:gd name="connsiteY0" fmla="*/ 0 h 4734"/>
                <a:gd name="connsiteX1" fmla="*/ 185796 w 185796"/>
                <a:gd name="connsiteY1" fmla="*/ 0 h 47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5796" h="4734">
                  <a:moveTo>
                    <a:pt x="0" y="0"/>
                  </a:moveTo>
                  <a:lnTo>
                    <a:pt x="185796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54" name="Forma livre: Forma 1753">
              <a:extLst>
                <a:ext uri="{FF2B5EF4-FFF2-40B4-BE49-F238E27FC236}">
                  <a16:creationId xmlns:a16="http://schemas.microsoft.com/office/drawing/2014/main" id="{755AE8AD-DA81-A75A-2276-A24919BDC160}"/>
                </a:ext>
              </a:extLst>
            </p:cNvPr>
            <p:cNvSpPr/>
            <p:nvPr/>
          </p:nvSpPr>
          <p:spPr>
            <a:xfrm>
              <a:off x="10571813" y="3746032"/>
              <a:ext cx="45502" cy="27462"/>
            </a:xfrm>
            <a:custGeom>
              <a:avLst/>
              <a:gdLst>
                <a:gd name="connsiteX0" fmla="*/ 45502 w 45502"/>
                <a:gd name="connsiteY0" fmla="*/ 13731 h 27462"/>
                <a:gd name="connsiteX1" fmla="*/ 31297 w 45502"/>
                <a:gd name="connsiteY1" fmla="*/ 27462 h 27462"/>
                <a:gd name="connsiteX2" fmla="*/ 14205 w 45502"/>
                <a:gd name="connsiteY2" fmla="*/ 27462 h 27462"/>
                <a:gd name="connsiteX3" fmla="*/ 0 w 45502"/>
                <a:gd name="connsiteY3" fmla="*/ 13731 h 27462"/>
                <a:gd name="connsiteX4" fmla="*/ 14205 w 45502"/>
                <a:gd name="connsiteY4" fmla="*/ 0 h 27462"/>
                <a:gd name="connsiteX5" fmla="*/ 31297 w 45502"/>
                <a:gd name="connsiteY5" fmla="*/ 0 h 27462"/>
                <a:gd name="connsiteX6" fmla="*/ 45502 w 45502"/>
                <a:gd name="connsiteY6" fmla="*/ 13731 h 274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5502" h="27462">
                  <a:moveTo>
                    <a:pt x="45502" y="13731"/>
                  </a:moveTo>
                  <a:cubicBezTo>
                    <a:pt x="45502" y="21260"/>
                    <a:pt x="39110" y="27462"/>
                    <a:pt x="31297" y="27462"/>
                  </a:cubicBezTo>
                  <a:lnTo>
                    <a:pt x="14205" y="27462"/>
                  </a:lnTo>
                  <a:cubicBezTo>
                    <a:pt x="6392" y="27462"/>
                    <a:pt x="0" y="21260"/>
                    <a:pt x="0" y="13731"/>
                  </a:cubicBezTo>
                  <a:cubicBezTo>
                    <a:pt x="0" y="6203"/>
                    <a:pt x="6392" y="0"/>
                    <a:pt x="14205" y="0"/>
                  </a:cubicBezTo>
                  <a:lnTo>
                    <a:pt x="31297" y="0"/>
                  </a:lnTo>
                  <a:cubicBezTo>
                    <a:pt x="39110" y="0"/>
                    <a:pt x="45502" y="6155"/>
                    <a:pt x="45502" y="13731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755" name="Gráfico 18">
              <a:extLst>
                <a:ext uri="{FF2B5EF4-FFF2-40B4-BE49-F238E27FC236}">
                  <a16:creationId xmlns:a16="http://schemas.microsoft.com/office/drawing/2014/main" id="{1AC05F25-BD0E-35F3-D53A-DAC90D556538}"/>
                </a:ext>
              </a:extLst>
            </p:cNvPr>
            <p:cNvGrpSpPr/>
            <p:nvPr/>
          </p:nvGrpSpPr>
          <p:grpSpPr>
            <a:xfrm>
              <a:off x="10544872" y="3741013"/>
              <a:ext cx="99432" cy="59659"/>
              <a:chOff x="10544872" y="3741013"/>
              <a:chExt cx="99432" cy="59659"/>
            </a:xfrm>
          </p:grpSpPr>
          <p:sp>
            <p:nvSpPr>
              <p:cNvPr id="1756" name="Forma livre: Forma 1755">
                <a:extLst>
                  <a:ext uri="{FF2B5EF4-FFF2-40B4-BE49-F238E27FC236}">
                    <a16:creationId xmlns:a16="http://schemas.microsoft.com/office/drawing/2014/main" id="{FEAF6BEF-485C-7A24-D721-1C127EAD92C3}"/>
                  </a:ext>
                </a:extLst>
              </p:cNvPr>
              <p:cNvSpPr/>
              <p:nvPr/>
            </p:nvSpPr>
            <p:spPr>
              <a:xfrm>
                <a:off x="10544872" y="3741013"/>
                <a:ext cx="4734" cy="59659"/>
              </a:xfrm>
              <a:custGeom>
                <a:avLst/>
                <a:gdLst>
                  <a:gd name="connsiteX0" fmla="*/ 0 w 4734"/>
                  <a:gd name="connsiteY0" fmla="*/ 0 h 59659"/>
                  <a:gd name="connsiteX1" fmla="*/ 0 w 4734"/>
                  <a:gd name="connsiteY1" fmla="*/ 59659 h 596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34" h="59659">
                    <a:moveTo>
                      <a:pt x="0" y="0"/>
                    </a:moveTo>
                    <a:lnTo>
                      <a:pt x="0" y="59659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757" name="Forma livre: Forma 1756">
                <a:extLst>
                  <a:ext uri="{FF2B5EF4-FFF2-40B4-BE49-F238E27FC236}">
                    <a16:creationId xmlns:a16="http://schemas.microsoft.com/office/drawing/2014/main" id="{64F6D9FB-9F2F-BB3C-8070-539F4D15A7B9}"/>
                  </a:ext>
                </a:extLst>
              </p:cNvPr>
              <p:cNvSpPr/>
              <p:nvPr/>
            </p:nvSpPr>
            <p:spPr>
              <a:xfrm>
                <a:off x="10644304" y="3741013"/>
                <a:ext cx="4734" cy="59659"/>
              </a:xfrm>
              <a:custGeom>
                <a:avLst/>
                <a:gdLst>
                  <a:gd name="connsiteX0" fmla="*/ 0 w 4734"/>
                  <a:gd name="connsiteY0" fmla="*/ 0 h 59659"/>
                  <a:gd name="connsiteX1" fmla="*/ 0 w 4734"/>
                  <a:gd name="connsiteY1" fmla="*/ 59659 h 596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34" h="59659">
                    <a:moveTo>
                      <a:pt x="0" y="0"/>
                    </a:moveTo>
                    <a:lnTo>
                      <a:pt x="0" y="59659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758" name="Gráfico 18">
            <a:extLst>
              <a:ext uri="{FF2B5EF4-FFF2-40B4-BE49-F238E27FC236}">
                <a16:creationId xmlns:a16="http://schemas.microsoft.com/office/drawing/2014/main" id="{876B8C28-80E2-A7BE-C18B-CF048846B981}"/>
              </a:ext>
            </a:extLst>
          </p:cNvPr>
          <p:cNvGrpSpPr/>
          <p:nvPr/>
        </p:nvGrpSpPr>
        <p:grpSpPr>
          <a:xfrm>
            <a:off x="10439190" y="4175769"/>
            <a:ext cx="310755" cy="288069"/>
            <a:chOff x="10439190" y="4175769"/>
            <a:chExt cx="310755" cy="288069"/>
          </a:xfrm>
          <a:noFill/>
        </p:grpSpPr>
        <p:sp>
          <p:nvSpPr>
            <p:cNvPr id="1759" name="Forma livre: Forma 1758">
              <a:extLst>
                <a:ext uri="{FF2B5EF4-FFF2-40B4-BE49-F238E27FC236}">
                  <a16:creationId xmlns:a16="http://schemas.microsoft.com/office/drawing/2014/main" id="{6556D865-EC23-7EF8-A035-40C6C624D089}"/>
                </a:ext>
              </a:extLst>
            </p:cNvPr>
            <p:cNvSpPr/>
            <p:nvPr/>
          </p:nvSpPr>
          <p:spPr>
            <a:xfrm>
              <a:off x="10668594" y="4230125"/>
              <a:ext cx="9469" cy="33144"/>
            </a:xfrm>
            <a:custGeom>
              <a:avLst/>
              <a:gdLst>
                <a:gd name="connsiteX0" fmla="*/ 9470 w 9469"/>
                <a:gd name="connsiteY0" fmla="*/ 33144 h 33144"/>
                <a:gd name="connsiteX1" fmla="*/ 0 w 9469"/>
                <a:gd name="connsiteY1" fmla="*/ 0 h 331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469" h="33144">
                  <a:moveTo>
                    <a:pt x="9470" y="33144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60" name="Forma livre: Forma 1759">
              <a:extLst>
                <a:ext uri="{FF2B5EF4-FFF2-40B4-BE49-F238E27FC236}">
                  <a16:creationId xmlns:a16="http://schemas.microsoft.com/office/drawing/2014/main" id="{43FF7974-4A28-0E4D-1FEF-9F06FC9A923A}"/>
                </a:ext>
              </a:extLst>
            </p:cNvPr>
            <p:cNvSpPr/>
            <p:nvPr/>
          </p:nvSpPr>
          <p:spPr>
            <a:xfrm>
              <a:off x="10698897" y="4233439"/>
              <a:ext cx="9469" cy="33144"/>
            </a:xfrm>
            <a:custGeom>
              <a:avLst/>
              <a:gdLst>
                <a:gd name="connsiteX0" fmla="*/ 9470 w 9469"/>
                <a:gd name="connsiteY0" fmla="*/ 33144 h 33144"/>
                <a:gd name="connsiteX1" fmla="*/ 0 w 9469"/>
                <a:gd name="connsiteY1" fmla="*/ 0 h 331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469" h="33144">
                  <a:moveTo>
                    <a:pt x="9470" y="33144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61" name="Forma livre: Forma 1760">
              <a:extLst>
                <a:ext uri="{FF2B5EF4-FFF2-40B4-BE49-F238E27FC236}">
                  <a16:creationId xmlns:a16="http://schemas.microsoft.com/office/drawing/2014/main" id="{4BC1E3B0-85C5-0D89-E0C4-2767E9321ED9}"/>
                </a:ext>
              </a:extLst>
            </p:cNvPr>
            <p:cNvSpPr/>
            <p:nvPr/>
          </p:nvSpPr>
          <p:spPr>
            <a:xfrm>
              <a:off x="10470724" y="4177984"/>
              <a:ext cx="68040" cy="70606"/>
            </a:xfrm>
            <a:custGeom>
              <a:avLst/>
              <a:gdLst>
                <a:gd name="connsiteX0" fmla="*/ 68040 w 68040"/>
                <a:gd name="connsiteY0" fmla="*/ 1004 h 70606"/>
                <a:gd name="connsiteX1" fmla="*/ 5777 w 68040"/>
                <a:gd name="connsiteY1" fmla="*/ 9148 h 70606"/>
                <a:gd name="connsiteX2" fmla="*/ 3977 w 68040"/>
                <a:gd name="connsiteY2" fmla="*/ 18949 h 70606"/>
                <a:gd name="connsiteX3" fmla="*/ 1941 w 68040"/>
                <a:gd name="connsiteY3" fmla="*/ 30029 h 70606"/>
                <a:gd name="connsiteX4" fmla="*/ 0 w 68040"/>
                <a:gd name="connsiteY4" fmla="*/ 40729 h 70606"/>
                <a:gd name="connsiteX5" fmla="*/ 55398 w 68040"/>
                <a:gd name="connsiteY5" fmla="*/ 70606 h 706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8040" h="70606">
                  <a:moveTo>
                    <a:pt x="68040" y="1004"/>
                  </a:moveTo>
                  <a:cubicBezTo>
                    <a:pt x="55919" y="-180"/>
                    <a:pt x="23438" y="-2453"/>
                    <a:pt x="5777" y="9148"/>
                  </a:cubicBezTo>
                  <a:lnTo>
                    <a:pt x="3977" y="18949"/>
                  </a:lnTo>
                  <a:lnTo>
                    <a:pt x="1941" y="30029"/>
                  </a:lnTo>
                  <a:lnTo>
                    <a:pt x="0" y="40729"/>
                  </a:lnTo>
                  <a:cubicBezTo>
                    <a:pt x="12121" y="56497"/>
                    <a:pt x="41998" y="67434"/>
                    <a:pt x="55398" y="70606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62" name="Forma livre: Forma 1761">
              <a:extLst>
                <a:ext uri="{FF2B5EF4-FFF2-40B4-BE49-F238E27FC236}">
                  <a16:creationId xmlns:a16="http://schemas.microsoft.com/office/drawing/2014/main" id="{79194D02-9974-0615-50BE-43B3BD14647B}"/>
                </a:ext>
              </a:extLst>
            </p:cNvPr>
            <p:cNvSpPr/>
            <p:nvPr/>
          </p:nvSpPr>
          <p:spPr>
            <a:xfrm>
              <a:off x="10579152" y="4276242"/>
              <a:ext cx="35985" cy="54936"/>
            </a:xfrm>
            <a:custGeom>
              <a:avLst/>
              <a:gdLst>
                <a:gd name="connsiteX0" fmla="*/ 0 w 35985"/>
                <a:gd name="connsiteY0" fmla="*/ 0 h 54936"/>
                <a:gd name="connsiteX1" fmla="*/ 5445 w 35985"/>
                <a:gd name="connsiteY1" fmla="*/ 42424 h 54936"/>
                <a:gd name="connsiteX2" fmla="*/ 18750 w 35985"/>
                <a:gd name="connsiteY2" fmla="*/ 54309 h 54936"/>
                <a:gd name="connsiteX3" fmla="*/ 35985 w 35985"/>
                <a:gd name="connsiteY3" fmla="*/ 51231 h 549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5985" h="54936">
                  <a:moveTo>
                    <a:pt x="0" y="0"/>
                  </a:moveTo>
                  <a:cubicBezTo>
                    <a:pt x="4451" y="8286"/>
                    <a:pt x="14725" y="26136"/>
                    <a:pt x="5445" y="42424"/>
                  </a:cubicBezTo>
                  <a:cubicBezTo>
                    <a:pt x="5445" y="42424"/>
                    <a:pt x="-2131" y="58239"/>
                    <a:pt x="18750" y="54309"/>
                  </a:cubicBezTo>
                  <a:lnTo>
                    <a:pt x="35985" y="51231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63" name="Forma livre: Forma 1762">
              <a:extLst>
                <a:ext uri="{FF2B5EF4-FFF2-40B4-BE49-F238E27FC236}">
                  <a16:creationId xmlns:a16="http://schemas.microsoft.com/office/drawing/2014/main" id="{7CC6A4A2-25CE-15E7-3278-AE09ADED9C92}"/>
                </a:ext>
              </a:extLst>
            </p:cNvPr>
            <p:cNvSpPr/>
            <p:nvPr/>
          </p:nvSpPr>
          <p:spPr>
            <a:xfrm>
              <a:off x="10546482" y="4175769"/>
              <a:ext cx="203463" cy="288069"/>
            </a:xfrm>
            <a:custGeom>
              <a:avLst/>
              <a:gdLst>
                <a:gd name="connsiteX0" fmla="*/ 162879 w 203463"/>
                <a:gd name="connsiteY0" fmla="*/ 217141 h 288069"/>
                <a:gd name="connsiteX1" fmla="*/ 143419 w 203463"/>
                <a:gd name="connsiteY1" fmla="*/ 206203 h 288069"/>
                <a:gd name="connsiteX2" fmla="*/ 136838 w 203463"/>
                <a:gd name="connsiteY2" fmla="*/ 205872 h 288069"/>
                <a:gd name="connsiteX3" fmla="*/ 136838 w 203463"/>
                <a:gd name="connsiteY3" fmla="*/ 128978 h 288069"/>
                <a:gd name="connsiteX4" fmla="*/ 146260 w 203463"/>
                <a:gd name="connsiteY4" fmla="*/ 120881 h 288069"/>
                <a:gd name="connsiteX5" fmla="*/ 160181 w 203463"/>
                <a:gd name="connsiteY5" fmla="*/ 123249 h 288069"/>
                <a:gd name="connsiteX6" fmla="*/ 195976 w 203463"/>
                <a:gd name="connsiteY6" fmla="*/ 97775 h 288069"/>
                <a:gd name="connsiteX7" fmla="*/ 203031 w 203463"/>
                <a:gd name="connsiteY7" fmla="*/ 56013 h 288069"/>
                <a:gd name="connsiteX8" fmla="*/ 177558 w 203463"/>
                <a:gd name="connsiteY8" fmla="*/ 20218 h 288069"/>
                <a:gd name="connsiteX9" fmla="*/ 57671 w 203463"/>
                <a:gd name="connsiteY9" fmla="*/ 0 h 288069"/>
                <a:gd name="connsiteX10" fmla="*/ 13447 w 203463"/>
                <a:gd name="connsiteY10" fmla="*/ 4261 h 288069"/>
                <a:gd name="connsiteX11" fmla="*/ 0 w 203463"/>
                <a:gd name="connsiteY11" fmla="*/ 83949 h 288069"/>
                <a:gd name="connsiteX12" fmla="*/ 40294 w 203463"/>
                <a:gd name="connsiteY12" fmla="*/ 103031 h 288069"/>
                <a:gd name="connsiteX13" fmla="*/ 68892 w 203463"/>
                <a:gd name="connsiteY13" fmla="*/ 145076 h 288069"/>
                <a:gd name="connsiteX14" fmla="*/ 68892 w 203463"/>
                <a:gd name="connsiteY14" fmla="*/ 210749 h 288069"/>
                <a:gd name="connsiteX15" fmla="*/ 26089 w 203463"/>
                <a:gd name="connsiteY15" fmla="*/ 238921 h 288069"/>
                <a:gd name="connsiteX16" fmla="*/ 26089 w 203463"/>
                <a:gd name="connsiteY16" fmla="*/ 269982 h 288069"/>
                <a:gd name="connsiteX17" fmla="*/ 43845 w 203463"/>
                <a:gd name="connsiteY17" fmla="*/ 288069 h 288069"/>
                <a:gd name="connsiteX18" fmla="*/ 145076 w 203463"/>
                <a:gd name="connsiteY18" fmla="*/ 288069 h 288069"/>
                <a:gd name="connsiteX19" fmla="*/ 162832 w 203463"/>
                <a:gd name="connsiteY19" fmla="*/ 270550 h 288069"/>
                <a:gd name="connsiteX20" fmla="*/ 162832 w 203463"/>
                <a:gd name="connsiteY20" fmla="*/ 217236 h 2880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203463" h="288069">
                  <a:moveTo>
                    <a:pt x="162879" y="217141"/>
                  </a:moveTo>
                  <a:cubicBezTo>
                    <a:pt x="162879" y="205114"/>
                    <a:pt x="143419" y="206203"/>
                    <a:pt x="143419" y="206203"/>
                  </a:cubicBezTo>
                  <a:cubicBezTo>
                    <a:pt x="141194" y="206061"/>
                    <a:pt x="139016" y="205967"/>
                    <a:pt x="136838" y="205872"/>
                  </a:cubicBezTo>
                  <a:lnTo>
                    <a:pt x="136838" y="128978"/>
                  </a:lnTo>
                  <a:cubicBezTo>
                    <a:pt x="138116" y="122207"/>
                    <a:pt x="142567" y="120786"/>
                    <a:pt x="146260" y="120881"/>
                  </a:cubicBezTo>
                  <a:lnTo>
                    <a:pt x="160181" y="123249"/>
                  </a:lnTo>
                  <a:cubicBezTo>
                    <a:pt x="177037" y="126090"/>
                    <a:pt x="193135" y="114631"/>
                    <a:pt x="195976" y="97775"/>
                  </a:cubicBezTo>
                  <a:lnTo>
                    <a:pt x="203031" y="56013"/>
                  </a:lnTo>
                  <a:cubicBezTo>
                    <a:pt x="205872" y="39157"/>
                    <a:pt x="194414" y="23059"/>
                    <a:pt x="177558" y="20218"/>
                  </a:cubicBezTo>
                  <a:cubicBezTo>
                    <a:pt x="177558" y="20218"/>
                    <a:pt x="72586" y="1468"/>
                    <a:pt x="57671" y="0"/>
                  </a:cubicBezTo>
                  <a:lnTo>
                    <a:pt x="13447" y="4261"/>
                  </a:lnTo>
                  <a:lnTo>
                    <a:pt x="0" y="83949"/>
                  </a:lnTo>
                  <a:cubicBezTo>
                    <a:pt x="2888" y="85701"/>
                    <a:pt x="40294" y="103031"/>
                    <a:pt x="40294" y="103031"/>
                  </a:cubicBezTo>
                  <a:cubicBezTo>
                    <a:pt x="40294" y="103031"/>
                    <a:pt x="68892" y="113968"/>
                    <a:pt x="68892" y="145076"/>
                  </a:cubicBezTo>
                  <a:lnTo>
                    <a:pt x="68892" y="210749"/>
                  </a:lnTo>
                  <a:cubicBezTo>
                    <a:pt x="43087" y="217188"/>
                    <a:pt x="31392" y="230067"/>
                    <a:pt x="26089" y="238921"/>
                  </a:cubicBezTo>
                  <a:lnTo>
                    <a:pt x="26089" y="269982"/>
                  </a:lnTo>
                  <a:cubicBezTo>
                    <a:pt x="26089" y="279925"/>
                    <a:pt x="34091" y="288069"/>
                    <a:pt x="43845" y="288069"/>
                  </a:cubicBezTo>
                  <a:lnTo>
                    <a:pt x="145076" y="288069"/>
                  </a:lnTo>
                  <a:cubicBezTo>
                    <a:pt x="154688" y="288069"/>
                    <a:pt x="162501" y="280257"/>
                    <a:pt x="162832" y="270550"/>
                  </a:cubicBezTo>
                  <a:lnTo>
                    <a:pt x="162832" y="217236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64" name="Forma livre: Forma 1763">
              <a:extLst>
                <a:ext uri="{FF2B5EF4-FFF2-40B4-BE49-F238E27FC236}">
                  <a16:creationId xmlns:a16="http://schemas.microsoft.com/office/drawing/2014/main" id="{8E66CC8D-6ED8-8F5F-5BBF-698913D2F551}"/>
                </a:ext>
              </a:extLst>
            </p:cNvPr>
            <p:cNvSpPr/>
            <p:nvPr/>
          </p:nvSpPr>
          <p:spPr>
            <a:xfrm>
              <a:off x="10439190" y="4194329"/>
              <a:ext cx="34422" cy="7575"/>
            </a:xfrm>
            <a:custGeom>
              <a:avLst/>
              <a:gdLst>
                <a:gd name="connsiteX0" fmla="*/ 34423 w 34422"/>
                <a:gd name="connsiteY0" fmla="*/ 7576 h 7575"/>
                <a:gd name="connsiteX1" fmla="*/ 0 w 34422"/>
                <a:gd name="connsiteY1" fmla="*/ 0 h 75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4422" h="7575">
                  <a:moveTo>
                    <a:pt x="34423" y="7576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65" name="Forma livre: Forma 1764">
              <a:extLst>
                <a:ext uri="{FF2B5EF4-FFF2-40B4-BE49-F238E27FC236}">
                  <a16:creationId xmlns:a16="http://schemas.microsoft.com/office/drawing/2014/main" id="{A66764D3-89C0-2D63-EFE3-5CF325A6F705}"/>
                </a:ext>
              </a:extLst>
            </p:cNvPr>
            <p:cNvSpPr/>
            <p:nvPr/>
          </p:nvSpPr>
          <p:spPr>
            <a:xfrm>
              <a:off x="10573660" y="4414501"/>
              <a:ext cx="134848" cy="4734"/>
            </a:xfrm>
            <a:custGeom>
              <a:avLst/>
              <a:gdLst>
                <a:gd name="connsiteX0" fmla="*/ 0 w 134848"/>
                <a:gd name="connsiteY0" fmla="*/ 0 h 4734"/>
                <a:gd name="connsiteX1" fmla="*/ 134849 w 134848"/>
                <a:gd name="connsiteY1" fmla="*/ 0 h 47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34848" h="4734">
                  <a:moveTo>
                    <a:pt x="0" y="0"/>
                  </a:moveTo>
                  <a:lnTo>
                    <a:pt x="134849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766" name="Gráfico 18">
            <a:extLst>
              <a:ext uri="{FF2B5EF4-FFF2-40B4-BE49-F238E27FC236}">
                <a16:creationId xmlns:a16="http://schemas.microsoft.com/office/drawing/2014/main" id="{15E41FB0-9366-6629-C039-A3C9F4FCCE68}"/>
              </a:ext>
            </a:extLst>
          </p:cNvPr>
          <p:cNvGrpSpPr/>
          <p:nvPr/>
        </p:nvGrpSpPr>
        <p:grpSpPr>
          <a:xfrm>
            <a:off x="10464474" y="5260527"/>
            <a:ext cx="260086" cy="260180"/>
            <a:chOff x="10464474" y="5260527"/>
            <a:chExt cx="260086" cy="260180"/>
          </a:xfrm>
          <a:noFill/>
        </p:grpSpPr>
        <p:sp>
          <p:nvSpPr>
            <p:cNvPr id="1767" name="Forma livre: Forma 1766">
              <a:extLst>
                <a:ext uri="{FF2B5EF4-FFF2-40B4-BE49-F238E27FC236}">
                  <a16:creationId xmlns:a16="http://schemas.microsoft.com/office/drawing/2014/main" id="{AE5C7E25-0153-9911-0AEB-CE364607000E}"/>
                </a:ext>
              </a:extLst>
            </p:cNvPr>
            <p:cNvSpPr/>
            <p:nvPr/>
          </p:nvSpPr>
          <p:spPr>
            <a:xfrm>
              <a:off x="10464474" y="5260527"/>
              <a:ext cx="260086" cy="260180"/>
            </a:xfrm>
            <a:custGeom>
              <a:avLst/>
              <a:gdLst>
                <a:gd name="connsiteX0" fmla="*/ 45597 w 260086"/>
                <a:gd name="connsiteY0" fmla="*/ 180256 h 260180"/>
                <a:gd name="connsiteX1" fmla="*/ 25000 w 260086"/>
                <a:gd name="connsiteY1" fmla="*/ 208950 h 260180"/>
                <a:gd name="connsiteX2" fmla="*/ 51231 w 260086"/>
                <a:gd name="connsiteY2" fmla="*/ 235181 h 260180"/>
                <a:gd name="connsiteX3" fmla="*/ 79925 w 260086"/>
                <a:gd name="connsiteY3" fmla="*/ 214584 h 260180"/>
                <a:gd name="connsiteX4" fmla="*/ 105588 w 260086"/>
                <a:gd name="connsiteY4" fmla="*/ 225238 h 260180"/>
                <a:gd name="connsiteX5" fmla="*/ 111506 w 260086"/>
                <a:gd name="connsiteY5" fmla="*/ 260181 h 260180"/>
                <a:gd name="connsiteX6" fmla="*/ 148627 w 260086"/>
                <a:gd name="connsiteY6" fmla="*/ 260181 h 260180"/>
                <a:gd name="connsiteX7" fmla="*/ 154546 w 260086"/>
                <a:gd name="connsiteY7" fmla="*/ 225238 h 260180"/>
                <a:gd name="connsiteX8" fmla="*/ 180209 w 260086"/>
                <a:gd name="connsiteY8" fmla="*/ 214584 h 260180"/>
                <a:gd name="connsiteX9" fmla="*/ 208902 w 260086"/>
                <a:gd name="connsiteY9" fmla="*/ 235181 h 260180"/>
                <a:gd name="connsiteX10" fmla="*/ 235133 w 260086"/>
                <a:gd name="connsiteY10" fmla="*/ 208950 h 260180"/>
                <a:gd name="connsiteX11" fmla="*/ 214537 w 260086"/>
                <a:gd name="connsiteY11" fmla="*/ 180256 h 260180"/>
                <a:gd name="connsiteX12" fmla="*/ 225238 w 260086"/>
                <a:gd name="connsiteY12" fmla="*/ 154357 h 260180"/>
                <a:gd name="connsiteX13" fmla="*/ 260086 w 260086"/>
                <a:gd name="connsiteY13" fmla="*/ 148627 h 260180"/>
                <a:gd name="connsiteX14" fmla="*/ 260086 w 260086"/>
                <a:gd name="connsiteY14" fmla="*/ 111506 h 260180"/>
                <a:gd name="connsiteX15" fmla="*/ 225238 w 260086"/>
                <a:gd name="connsiteY15" fmla="*/ 105777 h 260180"/>
                <a:gd name="connsiteX16" fmla="*/ 214632 w 260086"/>
                <a:gd name="connsiteY16" fmla="*/ 80067 h 260180"/>
                <a:gd name="connsiteX17" fmla="*/ 235133 w 260086"/>
                <a:gd name="connsiteY17" fmla="*/ 51184 h 260180"/>
                <a:gd name="connsiteX18" fmla="*/ 208902 w 260086"/>
                <a:gd name="connsiteY18" fmla="*/ 24953 h 260180"/>
                <a:gd name="connsiteX19" fmla="*/ 180020 w 260086"/>
                <a:gd name="connsiteY19" fmla="*/ 45455 h 260180"/>
                <a:gd name="connsiteX20" fmla="*/ 154309 w 260086"/>
                <a:gd name="connsiteY20" fmla="*/ 34849 h 260180"/>
                <a:gd name="connsiteX21" fmla="*/ 148580 w 260086"/>
                <a:gd name="connsiteY21" fmla="*/ 0 h 260180"/>
                <a:gd name="connsiteX22" fmla="*/ 111459 w 260086"/>
                <a:gd name="connsiteY22" fmla="*/ 0 h 260180"/>
                <a:gd name="connsiteX23" fmla="*/ 105730 w 260086"/>
                <a:gd name="connsiteY23" fmla="*/ 34849 h 260180"/>
                <a:gd name="connsiteX24" fmla="*/ 80067 w 260086"/>
                <a:gd name="connsiteY24" fmla="*/ 45455 h 260180"/>
                <a:gd name="connsiteX25" fmla="*/ 51184 w 260086"/>
                <a:gd name="connsiteY25" fmla="*/ 24953 h 260180"/>
                <a:gd name="connsiteX26" fmla="*/ 24953 w 260086"/>
                <a:gd name="connsiteY26" fmla="*/ 51184 h 260180"/>
                <a:gd name="connsiteX27" fmla="*/ 45455 w 260086"/>
                <a:gd name="connsiteY27" fmla="*/ 80067 h 260180"/>
                <a:gd name="connsiteX28" fmla="*/ 34896 w 260086"/>
                <a:gd name="connsiteY28" fmla="*/ 105540 h 260180"/>
                <a:gd name="connsiteX29" fmla="*/ 0 w 260086"/>
                <a:gd name="connsiteY29" fmla="*/ 111459 h 260180"/>
                <a:gd name="connsiteX30" fmla="*/ 0 w 260086"/>
                <a:gd name="connsiteY30" fmla="*/ 148580 h 260180"/>
                <a:gd name="connsiteX31" fmla="*/ 34896 w 260086"/>
                <a:gd name="connsiteY31" fmla="*/ 154499 h 260180"/>
                <a:gd name="connsiteX32" fmla="*/ 45549 w 260086"/>
                <a:gd name="connsiteY32" fmla="*/ 180162 h 2601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260086" h="260180">
                  <a:moveTo>
                    <a:pt x="45597" y="180256"/>
                  </a:moveTo>
                  <a:lnTo>
                    <a:pt x="25000" y="208950"/>
                  </a:lnTo>
                  <a:lnTo>
                    <a:pt x="51231" y="235181"/>
                  </a:lnTo>
                  <a:lnTo>
                    <a:pt x="79925" y="214584"/>
                  </a:lnTo>
                  <a:cubicBezTo>
                    <a:pt x="87832" y="219272"/>
                    <a:pt x="96449" y="222870"/>
                    <a:pt x="105588" y="225238"/>
                  </a:cubicBezTo>
                  <a:lnTo>
                    <a:pt x="111506" y="260181"/>
                  </a:lnTo>
                  <a:lnTo>
                    <a:pt x="148627" y="260181"/>
                  </a:lnTo>
                  <a:lnTo>
                    <a:pt x="154546" y="225238"/>
                  </a:lnTo>
                  <a:cubicBezTo>
                    <a:pt x="163684" y="222870"/>
                    <a:pt x="172302" y="219272"/>
                    <a:pt x="180209" y="214584"/>
                  </a:cubicBezTo>
                  <a:lnTo>
                    <a:pt x="208902" y="235181"/>
                  </a:lnTo>
                  <a:lnTo>
                    <a:pt x="235133" y="208950"/>
                  </a:lnTo>
                  <a:lnTo>
                    <a:pt x="214537" y="180256"/>
                  </a:lnTo>
                  <a:cubicBezTo>
                    <a:pt x="219272" y="172302"/>
                    <a:pt x="222918" y="163590"/>
                    <a:pt x="225238" y="154357"/>
                  </a:cubicBezTo>
                  <a:lnTo>
                    <a:pt x="260086" y="148627"/>
                  </a:lnTo>
                  <a:lnTo>
                    <a:pt x="260086" y="111506"/>
                  </a:lnTo>
                  <a:lnTo>
                    <a:pt x="225238" y="105777"/>
                  </a:lnTo>
                  <a:cubicBezTo>
                    <a:pt x="222918" y="96639"/>
                    <a:pt x="219319" y="88021"/>
                    <a:pt x="214632" y="80067"/>
                  </a:cubicBezTo>
                  <a:lnTo>
                    <a:pt x="235133" y="51184"/>
                  </a:lnTo>
                  <a:lnTo>
                    <a:pt x="208902" y="24953"/>
                  </a:lnTo>
                  <a:lnTo>
                    <a:pt x="180020" y="45455"/>
                  </a:lnTo>
                  <a:cubicBezTo>
                    <a:pt x="172112" y="40767"/>
                    <a:pt x="163495" y="37169"/>
                    <a:pt x="154309" y="34849"/>
                  </a:cubicBezTo>
                  <a:lnTo>
                    <a:pt x="148580" y="0"/>
                  </a:lnTo>
                  <a:lnTo>
                    <a:pt x="111459" y="0"/>
                  </a:lnTo>
                  <a:lnTo>
                    <a:pt x="105730" y="34849"/>
                  </a:lnTo>
                  <a:cubicBezTo>
                    <a:pt x="96591" y="37169"/>
                    <a:pt x="87974" y="40767"/>
                    <a:pt x="80067" y="45455"/>
                  </a:cubicBezTo>
                  <a:lnTo>
                    <a:pt x="51184" y="24953"/>
                  </a:lnTo>
                  <a:lnTo>
                    <a:pt x="24953" y="51184"/>
                  </a:lnTo>
                  <a:lnTo>
                    <a:pt x="45455" y="80067"/>
                  </a:lnTo>
                  <a:cubicBezTo>
                    <a:pt x="40815" y="87927"/>
                    <a:pt x="37216" y="96497"/>
                    <a:pt x="34896" y="105540"/>
                  </a:cubicBezTo>
                  <a:lnTo>
                    <a:pt x="0" y="111459"/>
                  </a:lnTo>
                  <a:lnTo>
                    <a:pt x="0" y="148580"/>
                  </a:lnTo>
                  <a:lnTo>
                    <a:pt x="34896" y="154499"/>
                  </a:lnTo>
                  <a:cubicBezTo>
                    <a:pt x="37263" y="163637"/>
                    <a:pt x="40862" y="172254"/>
                    <a:pt x="45549" y="180162"/>
                  </a:cubicBez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68" name="Forma livre: Forma 1767">
              <a:extLst>
                <a:ext uri="{FF2B5EF4-FFF2-40B4-BE49-F238E27FC236}">
                  <a16:creationId xmlns:a16="http://schemas.microsoft.com/office/drawing/2014/main" id="{900F380F-55EB-1D33-7921-C8B5F906C117}"/>
                </a:ext>
              </a:extLst>
            </p:cNvPr>
            <p:cNvSpPr/>
            <p:nvPr/>
          </p:nvSpPr>
          <p:spPr>
            <a:xfrm>
              <a:off x="10558934" y="5354940"/>
              <a:ext cx="71307" cy="71307"/>
            </a:xfrm>
            <a:custGeom>
              <a:avLst/>
              <a:gdLst>
                <a:gd name="connsiteX0" fmla="*/ 71307 w 71307"/>
                <a:gd name="connsiteY0" fmla="*/ 35654 h 71307"/>
                <a:gd name="connsiteX1" fmla="*/ 35654 w 71307"/>
                <a:gd name="connsiteY1" fmla="*/ 71307 h 71307"/>
                <a:gd name="connsiteX2" fmla="*/ 0 w 71307"/>
                <a:gd name="connsiteY2" fmla="*/ 35654 h 71307"/>
                <a:gd name="connsiteX3" fmla="*/ 35654 w 71307"/>
                <a:gd name="connsiteY3" fmla="*/ 0 h 71307"/>
                <a:gd name="connsiteX4" fmla="*/ 71307 w 71307"/>
                <a:gd name="connsiteY4" fmla="*/ 35654 h 713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307" h="71307">
                  <a:moveTo>
                    <a:pt x="71307" y="35654"/>
                  </a:moveTo>
                  <a:cubicBezTo>
                    <a:pt x="71307" y="55351"/>
                    <a:pt x="55351" y="71307"/>
                    <a:pt x="35654" y="71307"/>
                  </a:cubicBezTo>
                  <a:cubicBezTo>
                    <a:pt x="15957" y="71307"/>
                    <a:pt x="0" y="55351"/>
                    <a:pt x="0" y="35654"/>
                  </a:cubicBezTo>
                  <a:cubicBezTo>
                    <a:pt x="0" y="15956"/>
                    <a:pt x="15957" y="0"/>
                    <a:pt x="35654" y="0"/>
                  </a:cubicBezTo>
                  <a:cubicBezTo>
                    <a:pt x="55351" y="0"/>
                    <a:pt x="71307" y="15956"/>
                    <a:pt x="71307" y="35654"/>
                  </a:cubicBez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769" name="Gráfico 18">
            <a:extLst>
              <a:ext uri="{FF2B5EF4-FFF2-40B4-BE49-F238E27FC236}">
                <a16:creationId xmlns:a16="http://schemas.microsoft.com/office/drawing/2014/main" id="{B7B7A092-50E6-83C6-FDE9-1720E38763E5}"/>
              </a:ext>
            </a:extLst>
          </p:cNvPr>
          <p:cNvGrpSpPr/>
          <p:nvPr/>
        </p:nvGrpSpPr>
        <p:grpSpPr>
          <a:xfrm>
            <a:off x="10428252" y="5836428"/>
            <a:ext cx="332671" cy="177036"/>
            <a:chOff x="10428252" y="5836428"/>
            <a:chExt cx="332671" cy="177036"/>
          </a:xfrm>
          <a:noFill/>
        </p:grpSpPr>
        <p:sp>
          <p:nvSpPr>
            <p:cNvPr id="1770" name="Forma livre: Forma 1769">
              <a:extLst>
                <a:ext uri="{FF2B5EF4-FFF2-40B4-BE49-F238E27FC236}">
                  <a16:creationId xmlns:a16="http://schemas.microsoft.com/office/drawing/2014/main" id="{92A4CC40-0502-B2F8-31DE-9028E4C91A32}"/>
                </a:ext>
              </a:extLst>
            </p:cNvPr>
            <p:cNvSpPr/>
            <p:nvPr/>
          </p:nvSpPr>
          <p:spPr>
            <a:xfrm>
              <a:off x="10539143" y="5955463"/>
              <a:ext cx="4734" cy="57102"/>
            </a:xfrm>
            <a:custGeom>
              <a:avLst/>
              <a:gdLst>
                <a:gd name="connsiteX0" fmla="*/ 0 w 4734"/>
                <a:gd name="connsiteY0" fmla="*/ 0 h 57102"/>
                <a:gd name="connsiteX1" fmla="*/ 0 w 4734"/>
                <a:gd name="connsiteY1" fmla="*/ 57102 h 571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734" h="57102">
                  <a:moveTo>
                    <a:pt x="0" y="0"/>
                  </a:moveTo>
                  <a:lnTo>
                    <a:pt x="0" y="57102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71" name="Forma livre: Forma 1770">
              <a:extLst>
                <a:ext uri="{FF2B5EF4-FFF2-40B4-BE49-F238E27FC236}">
                  <a16:creationId xmlns:a16="http://schemas.microsoft.com/office/drawing/2014/main" id="{F5F70CEE-E00F-EE8F-A647-430068278DAF}"/>
                </a:ext>
              </a:extLst>
            </p:cNvPr>
            <p:cNvSpPr/>
            <p:nvPr/>
          </p:nvSpPr>
          <p:spPr>
            <a:xfrm>
              <a:off x="10649938" y="5955463"/>
              <a:ext cx="4734" cy="57102"/>
            </a:xfrm>
            <a:custGeom>
              <a:avLst/>
              <a:gdLst>
                <a:gd name="connsiteX0" fmla="*/ 0 w 4734"/>
                <a:gd name="connsiteY0" fmla="*/ 0 h 57102"/>
                <a:gd name="connsiteX1" fmla="*/ 0 w 4734"/>
                <a:gd name="connsiteY1" fmla="*/ 57102 h 571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734" h="57102">
                  <a:moveTo>
                    <a:pt x="0" y="0"/>
                  </a:moveTo>
                  <a:lnTo>
                    <a:pt x="0" y="57102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72" name="Forma livre: Forma 1771">
              <a:extLst>
                <a:ext uri="{FF2B5EF4-FFF2-40B4-BE49-F238E27FC236}">
                  <a16:creationId xmlns:a16="http://schemas.microsoft.com/office/drawing/2014/main" id="{6F18454A-E0C6-2396-FFD9-7787A2370D38}"/>
                </a:ext>
              </a:extLst>
            </p:cNvPr>
            <p:cNvSpPr/>
            <p:nvPr/>
          </p:nvSpPr>
          <p:spPr>
            <a:xfrm>
              <a:off x="10430241" y="5895520"/>
              <a:ext cx="220171" cy="4734"/>
            </a:xfrm>
            <a:custGeom>
              <a:avLst/>
              <a:gdLst>
                <a:gd name="connsiteX0" fmla="*/ 0 w 220171"/>
                <a:gd name="connsiteY0" fmla="*/ 0 h 4734"/>
                <a:gd name="connsiteX1" fmla="*/ 220171 w 220171"/>
                <a:gd name="connsiteY1" fmla="*/ 0 h 47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20171" h="4734">
                  <a:moveTo>
                    <a:pt x="0" y="0"/>
                  </a:moveTo>
                  <a:lnTo>
                    <a:pt x="220171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73" name="Forma livre: Forma 1772">
              <a:extLst>
                <a:ext uri="{FF2B5EF4-FFF2-40B4-BE49-F238E27FC236}">
                  <a16:creationId xmlns:a16="http://schemas.microsoft.com/office/drawing/2014/main" id="{475F9E95-8C3F-6C1E-8384-EC9CE1D435B5}"/>
                </a:ext>
              </a:extLst>
            </p:cNvPr>
            <p:cNvSpPr/>
            <p:nvPr/>
          </p:nvSpPr>
          <p:spPr>
            <a:xfrm>
              <a:off x="10430241" y="5954563"/>
              <a:ext cx="279357" cy="4734"/>
            </a:xfrm>
            <a:custGeom>
              <a:avLst/>
              <a:gdLst>
                <a:gd name="connsiteX0" fmla="*/ 0 w 279357"/>
                <a:gd name="connsiteY0" fmla="*/ 0 h 4734"/>
                <a:gd name="connsiteX1" fmla="*/ 279357 w 279357"/>
                <a:gd name="connsiteY1" fmla="*/ 0 h 47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79357" h="4734">
                  <a:moveTo>
                    <a:pt x="0" y="0"/>
                  </a:moveTo>
                  <a:lnTo>
                    <a:pt x="279357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74" name="Forma livre: Forma 1773">
              <a:extLst>
                <a:ext uri="{FF2B5EF4-FFF2-40B4-BE49-F238E27FC236}">
                  <a16:creationId xmlns:a16="http://schemas.microsoft.com/office/drawing/2014/main" id="{ADB03FAB-8ED7-AF8D-0DEA-8F097DF9D9FC}"/>
                </a:ext>
              </a:extLst>
            </p:cNvPr>
            <p:cNvSpPr/>
            <p:nvPr/>
          </p:nvSpPr>
          <p:spPr>
            <a:xfrm>
              <a:off x="10539143" y="5837375"/>
              <a:ext cx="4734" cy="57149"/>
            </a:xfrm>
            <a:custGeom>
              <a:avLst/>
              <a:gdLst>
                <a:gd name="connsiteX0" fmla="*/ 0 w 4734"/>
                <a:gd name="connsiteY0" fmla="*/ 0 h 57149"/>
                <a:gd name="connsiteX1" fmla="*/ 0 w 4734"/>
                <a:gd name="connsiteY1" fmla="*/ 57150 h 571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734" h="57149">
                  <a:moveTo>
                    <a:pt x="0" y="0"/>
                  </a:moveTo>
                  <a:lnTo>
                    <a:pt x="0" y="5715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75" name="Forma livre: Forma 1774">
              <a:extLst>
                <a:ext uri="{FF2B5EF4-FFF2-40B4-BE49-F238E27FC236}">
                  <a16:creationId xmlns:a16="http://schemas.microsoft.com/office/drawing/2014/main" id="{F6C8713E-0F4B-A8F0-2E8F-DDF8A5721A6C}"/>
                </a:ext>
              </a:extLst>
            </p:cNvPr>
            <p:cNvSpPr/>
            <p:nvPr/>
          </p:nvSpPr>
          <p:spPr>
            <a:xfrm>
              <a:off x="10487627" y="5896561"/>
              <a:ext cx="4734" cy="57149"/>
            </a:xfrm>
            <a:custGeom>
              <a:avLst/>
              <a:gdLst>
                <a:gd name="connsiteX0" fmla="*/ 0 w 4734"/>
                <a:gd name="connsiteY0" fmla="*/ 0 h 57149"/>
                <a:gd name="connsiteX1" fmla="*/ 0 w 4734"/>
                <a:gd name="connsiteY1" fmla="*/ 57150 h 571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734" h="57149">
                  <a:moveTo>
                    <a:pt x="0" y="0"/>
                  </a:moveTo>
                  <a:lnTo>
                    <a:pt x="0" y="5715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76" name="Forma livre: Forma 1775">
              <a:extLst>
                <a:ext uri="{FF2B5EF4-FFF2-40B4-BE49-F238E27FC236}">
                  <a16:creationId xmlns:a16="http://schemas.microsoft.com/office/drawing/2014/main" id="{8E256B60-1D28-B5DF-421D-1906B9928A61}"/>
                </a:ext>
              </a:extLst>
            </p:cNvPr>
            <p:cNvSpPr/>
            <p:nvPr/>
          </p:nvSpPr>
          <p:spPr>
            <a:xfrm>
              <a:off x="10598612" y="5896561"/>
              <a:ext cx="4734" cy="57149"/>
            </a:xfrm>
            <a:custGeom>
              <a:avLst/>
              <a:gdLst>
                <a:gd name="connsiteX0" fmla="*/ 0 w 4734"/>
                <a:gd name="connsiteY0" fmla="*/ 0 h 57149"/>
                <a:gd name="connsiteX1" fmla="*/ 0 w 4734"/>
                <a:gd name="connsiteY1" fmla="*/ 57150 h 571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734" h="57149">
                  <a:moveTo>
                    <a:pt x="0" y="0"/>
                  </a:moveTo>
                  <a:lnTo>
                    <a:pt x="0" y="5715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77" name="Forma livre: Forma 1776">
              <a:extLst>
                <a:ext uri="{FF2B5EF4-FFF2-40B4-BE49-F238E27FC236}">
                  <a16:creationId xmlns:a16="http://schemas.microsoft.com/office/drawing/2014/main" id="{5AC12C71-5301-6F89-AA61-BC774BB8FED9}"/>
                </a:ext>
              </a:extLst>
            </p:cNvPr>
            <p:cNvSpPr/>
            <p:nvPr/>
          </p:nvSpPr>
          <p:spPr>
            <a:xfrm>
              <a:off x="10428252" y="5836428"/>
              <a:ext cx="332671" cy="177036"/>
            </a:xfrm>
            <a:custGeom>
              <a:avLst/>
              <a:gdLst>
                <a:gd name="connsiteX0" fmla="*/ 332672 w 332671"/>
                <a:gd name="connsiteY0" fmla="*/ 177037 h 177036"/>
                <a:gd name="connsiteX1" fmla="*/ 0 w 332671"/>
                <a:gd name="connsiteY1" fmla="*/ 177037 h 177036"/>
                <a:gd name="connsiteX2" fmla="*/ 0 w 332671"/>
                <a:gd name="connsiteY2" fmla="*/ 0 h 177036"/>
                <a:gd name="connsiteX3" fmla="*/ 221686 w 332671"/>
                <a:gd name="connsiteY3" fmla="*/ 0 h 177036"/>
                <a:gd name="connsiteX4" fmla="*/ 221686 w 332671"/>
                <a:gd name="connsiteY4" fmla="*/ 59091 h 177036"/>
                <a:gd name="connsiteX5" fmla="*/ 281630 w 332671"/>
                <a:gd name="connsiteY5" fmla="*/ 59091 h 177036"/>
                <a:gd name="connsiteX6" fmla="*/ 281630 w 332671"/>
                <a:gd name="connsiteY6" fmla="*/ 118135 h 177036"/>
                <a:gd name="connsiteX7" fmla="*/ 332672 w 332671"/>
                <a:gd name="connsiteY7" fmla="*/ 118135 h 177036"/>
                <a:gd name="connsiteX8" fmla="*/ 332672 w 332671"/>
                <a:gd name="connsiteY8" fmla="*/ 177037 h 1770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32671" h="177036">
                  <a:moveTo>
                    <a:pt x="332672" y="177037"/>
                  </a:moveTo>
                  <a:lnTo>
                    <a:pt x="0" y="177037"/>
                  </a:lnTo>
                  <a:lnTo>
                    <a:pt x="0" y="0"/>
                  </a:lnTo>
                  <a:lnTo>
                    <a:pt x="221686" y="0"/>
                  </a:lnTo>
                  <a:lnTo>
                    <a:pt x="221686" y="59091"/>
                  </a:lnTo>
                  <a:lnTo>
                    <a:pt x="281630" y="59091"/>
                  </a:lnTo>
                  <a:lnTo>
                    <a:pt x="281630" y="118135"/>
                  </a:lnTo>
                  <a:lnTo>
                    <a:pt x="332672" y="118135"/>
                  </a:lnTo>
                  <a:lnTo>
                    <a:pt x="332672" y="177037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779" name="Gráfico 19">
            <a:extLst>
              <a:ext uri="{FF2B5EF4-FFF2-40B4-BE49-F238E27FC236}">
                <a16:creationId xmlns:a16="http://schemas.microsoft.com/office/drawing/2014/main" id="{5AB97A8D-DA18-1979-A054-5EDDF28DECDF}"/>
              </a:ext>
            </a:extLst>
          </p:cNvPr>
          <p:cNvGrpSpPr/>
          <p:nvPr/>
        </p:nvGrpSpPr>
        <p:grpSpPr>
          <a:xfrm>
            <a:off x="9318937" y="3651474"/>
            <a:ext cx="171842" cy="327702"/>
            <a:chOff x="9318937" y="3651474"/>
            <a:chExt cx="171842" cy="327702"/>
          </a:xfrm>
          <a:noFill/>
        </p:grpSpPr>
        <p:sp>
          <p:nvSpPr>
            <p:cNvPr id="1780" name="Forma livre: Forma 1779">
              <a:extLst>
                <a:ext uri="{FF2B5EF4-FFF2-40B4-BE49-F238E27FC236}">
                  <a16:creationId xmlns:a16="http://schemas.microsoft.com/office/drawing/2014/main" id="{35D53849-1894-FA67-1B10-4AFFCD550205}"/>
                </a:ext>
              </a:extLst>
            </p:cNvPr>
            <p:cNvSpPr/>
            <p:nvPr/>
          </p:nvSpPr>
          <p:spPr>
            <a:xfrm>
              <a:off x="9369378" y="3799583"/>
              <a:ext cx="21590" cy="6060"/>
            </a:xfrm>
            <a:custGeom>
              <a:avLst/>
              <a:gdLst>
                <a:gd name="connsiteX0" fmla="*/ 0 w 21590"/>
                <a:gd name="connsiteY0" fmla="*/ 6061 h 6060"/>
                <a:gd name="connsiteX1" fmla="*/ 21591 w 21590"/>
                <a:gd name="connsiteY1" fmla="*/ 0 h 60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1590" h="6060">
                  <a:moveTo>
                    <a:pt x="0" y="6061"/>
                  </a:moveTo>
                  <a:lnTo>
                    <a:pt x="21591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81" name="Forma livre: Forma 1780">
              <a:extLst>
                <a:ext uri="{FF2B5EF4-FFF2-40B4-BE49-F238E27FC236}">
                  <a16:creationId xmlns:a16="http://schemas.microsoft.com/office/drawing/2014/main" id="{49C94520-5276-FF78-E63D-3D3F69CBD588}"/>
                </a:ext>
              </a:extLst>
            </p:cNvPr>
            <p:cNvSpPr/>
            <p:nvPr/>
          </p:nvSpPr>
          <p:spPr>
            <a:xfrm>
              <a:off x="9369378" y="3773683"/>
              <a:ext cx="21590" cy="6107"/>
            </a:xfrm>
            <a:custGeom>
              <a:avLst/>
              <a:gdLst>
                <a:gd name="connsiteX0" fmla="*/ 0 w 21590"/>
                <a:gd name="connsiteY0" fmla="*/ 6108 h 6107"/>
                <a:gd name="connsiteX1" fmla="*/ 21591 w 21590"/>
                <a:gd name="connsiteY1" fmla="*/ 0 h 61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1590" h="6107">
                  <a:moveTo>
                    <a:pt x="0" y="6108"/>
                  </a:moveTo>
                  <a:lnTo>
                    <a:pt x="21591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82" name="Forma livre: Forma 1781">
              <a:extLst>
                <a:ext uri="{FF2B5EF4-FFF2-40B4-BE49-F238E27FC236}">
                  <a16:creationId xmlns:a16="http://schemas.microsoft.com/office/drawing/2014/main" id="{45907D23-43E2-86BC-47DB-82CF71EF851B}"/>
                </a:ext>
              </a:extLst>
            </p:cNvPr>
            <p:cNvSpPr/>
            <p:nvPr/>
          </p:nvSpPr>
          <p:spPr>
            <a:xfrm>
              <a:off x="9369378" y="3825435"/>
              <a:ext cx="21590" cy="6060"/>
            </a:xfrm>
            <a:custGeom>
              <a:avLst/>
              <a:gdLst>
                <a:gd name="connsiteX0" fmla="*/ 21591 w 21590"/>
                <a:gd name="connsiteY0" fmla="*/ 0 h 6060"/>
                <a:gd name="connsiteX1" fmla="*/ 0 w 21590"/>
                <a:gd name="connsiteY1" fmla="*/ 6061 h 60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1590" h="6060">
                  <a:moveTo>
                    <a:pt x="21591" y="0"/>
                  </a:moveTo>
                  <a:lnTo>
                    <a:pt x="0" y="6061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83" name="Forma livre: Forma 1782">
              <a:extLst>
                <a:ext uri="{FF2B5EF4-FFF2-40B4-BE49-F238E27FC236}">
                  <a16:creationId xmlns:a16="http://schemas.microsoft.com/office/drawing/2014/main" id="{BD5E1C07-C6B7-D40A-10D1-DA643ED1AC97}"/>
                </a:ext>
              </a:extLst>
            </p:cNvPr>
            <p:cNvSpPr/>
            <p:nvPr/>
          </p:nvSpPr>
          <p:spPr>
            <a:xfrm>
              <a:off x="9318937" y="3651474"/>
              <a:ext cx="171842" cy="244037"/>
            </a:xfrm>
            <a:custGeom>
              <a:avLst/>
              <a:gdLst>
                <a:gd name="connsiteX0" fmla="*/ 113746 w 171842"/>
                <a:gd name="connsiteY0" fmla="*/ 243990 h 244037"/>
                <a:gd name="connsiteX1" fmla="*/ 171843 w 171842"/>
                <a:gd name="connsiteY1" fmla="*/ 185752 h 244037"/>
                <a:gd name="connsiteX2" fmla="*/ 171843 w 171842"/>
                <a:gd name="connsiteY2" fmla="*/ 73772 h 244037"/>
                <a:gd name="connsiteX3" fmla="*/ 105223 w 171842"/>
                <a:gd name="connsiteY3" fmla="*/ 429 h 244037"/>
                <a:gd name="connsiteX4" fmla="*/ 61710 w 171842"/>
                <a:gd name="connsiteY4" fmla="*/ 8904 h 244037"/>
                <a:gd name="connsiteX5" fmla="*/ 393 w 171842"/>
                <a:gd name="connsiteY5" fmla="*/ 47020 h 244037"/>
                <a:gd name="connsiteX6" fmla="*/ 5981 w 171842"/>
                <a:gd name="connsiteY6" fmla="*/ 55164 h 244037"/>
                <a:gd name="connsiteX7" fmla="*/ 89835 w 171842"/>
                <a:gd name="connsiteY7" fmla="*/ 55164 h 244037"/>
                <a:gd name="connsiteX8" fmla="*/ 116682 w 171842"/>
                <a:gd name="connsiteY8" fmla="*/ 82011 h 244037"/>
                <a:gd name="connsiteX9" fmla="*/ 116682 w 171842"/>
                <a:gd name="connsiteY9" fmla="*/ 177513 h 244037"/>
                <a:gd name="connsiteX10" fmla="*/ 89835 w 171842"/>
                <a:gd name="connsiteY10" fmla="*/ 204360 h 244037"/>
                <a:gd name="connsiteX11" fmla="*/ 13698 w 171842"/>
                <a:gd name="connsiteY11" fmla="*/ 204360 h 244037"/>
                <a:gd name="connsiteX12" fmla="*/ 251 w 171842"/>
                <a:gd name="connsiteY12" fmla="*/ 217807 h 244037"/>
                <a:gd name="connsiteX13" fmla="*/ 251 w 171842"/>
                <a:gd name="connsiteY13" fmla="*/ 230591 h 244037"/>
                <a:gd name="connsiteX14" fmla="*/ 13698 w 171842"/>
                <a:gd name="connsiteY14" fmla="*/ 244038 h 244037"/>
                <a:gd name="connsiteX15" fmla="*/ 113699 w 171842"/>
                <a:gd name="connsiteY15" fmla="*/ 244038 h 2440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71842" h="244037">
                  <a:moveTo>
                    <a:pt x="113746" y="243990"/>
                  </a:moveTo>
                  <a:cubicBezTo>
                    <a:pt x="145754" y="243990"/>
                    <a:pt x="171843" y="217759"/>
                    <a:pt x="171843" y="185752"/>
                  </a:cubicBezTo>
                  <a:lnTo>
                    <a:pt x="171843" y="73772"/>
                  </a:lnTo>
                  <a:cubicBezTo>
                    <a:pt x="171843" y="41764"/>
                    <a:pt x="156171" y="-4969"/>
                    <a:pt x="105223" y="429"/>
                  </a:cubicBezTo>
                  <a:cubicBezTo>
                    <a:pt x="105223" y="429"/>
                    <a:pt x="88273" y="429"/>
                    <a:pt x="61710" y="8904"/>
                  </a:cubicBezTo>
                  <a:cubicBezTo>
                    <a:pt x="45848" y="13971"/>
                    <a:pt x="393" y="37361"/>
                    <a:pt x="393" y="47020"/>
                  </a:cubicBezTo>
                  <a:cubicBezTo>
                    <a:pt x="393" y="47020"/>
                    <a:pt x="-2211" y="55164"/>
                    <a:pt x="5981" y="55164"/>
                  </a:cubicBezTo>
                  <a:lnTo>
                    <a:pt x="89835" y="55164"/>
                  </a:lnTo>
                  <a:cubicBezTo>
                    <a:pt x="104608" y="55164"/>
                    <a:pt x="116682" y="67238"/>
                    <a:pt x="116682" y="82011"/>
                  </a:cubicBezTo>
                  <a:lnTo>
                    <a:pt x="116682" y="177513"/>
                  </a:lnTo>
                  <a:cubicBezTo>
                    <a:pt x="116682" y="192286"/>
                    <a:pt x="104608" y="204360"/>
                    <a:pt x="89835" y="204360"/>
                  </a:cubicBezTo>
                  <a:lnTo>
                    <a:pt x="13698" y="204360"/>
                  </a:lnTo>
                  <a:cubicBezTo>
                    <a:pt x="6312" y="204360"/>
                    <a:pt x="251" y="210420"/>
                    <a:pt x="251" y="217807"/>
                  </a:cubicBezTo>
                  <a:lnTo>
                    <a:pt x="251" y="230591"/>
                  </a:lnTo>
                  <a:cubicBezTo>
                    <a:pt x="251" y="237977"/>
                    <a:pt x="6312" y="244038"/>
                    <a:pt x="13698" y="244038"/>
                  </a:cubicBezTo>
                  <a:lnTo>
                    <a:pt x="113699" y="244038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84" name="Forma livre: Forma 1783">
              <a:extLst>
                <a:ext uri="{FF2B5EF4-FFF2-40B4-BE49-F238E27FC236}">
                  <a16:creationId xmlns:a16="http://schemas.microsoft.com/office/drawing/2014/main" id="{9F0C4B58-DA26-F82D-B999-96D8F90D2284}"/>
                </a:ext>
              </a:extLst>
            </p:cNvPr>
            <p:cNvSpPr/>
            <p:nvPr/>
          </p:nvSpPr>
          <p:spPr>
            <a:xfrm>
              <a:off x="9349350" y="3751856"/>
              <a:ext cx="61884" cy="4734"/>
            </a:xfrm>
            <a:custGeom>
              <a:avLst/>
              <a:gdLst>
                <a:gd name="connsiteX0" fmla="*/ 0 w 61884"/>
                <a:gd name="connsiteY0" fmla="*/ 0 h 4734"/>
                <a:gd name="connsiteX1" fmla="*/ 61885 w 61884"/>
                <a:gd name="connsiteY1" fmla="*/ 0 h 47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1884" h="4734">
                  <a:moveTo>
                    <a:pt x="0" y="0"/>
                  </a:moveTo>
                  <a:lnTo>
                    <a:pt x="61885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85" name="Forma livre: Forma 1784">
              <a:extLst>
                <a:ext uri="{FF2B5EF4-FFF2-40B4-BE49-F238E27FC236}">
                  <a16:creationId xmlns:a16="http://schemas.microsoft.com/office/drawing/2014/main" id="{278ADEEE-5060-E521-54D3-E907A110068F}"/>
                </a:ext>
              </a:extLst>
            </p:cNvPr>
            <p:cNvSpPr/>
            <p:nvPr/>
          </p:nvSpPr>
          <p:spPr>
            <a:xfrm>
              <a:off x="9368857" y="3917813"/>
              <a:ext cx="24053" cy="61363"/>
            </a:xfrm>
            <a:custGeom>
              <a:avLst/>
              <a:gdLst>
                <a:gd name="connsiteX0" fmla="*/ 0 w 24053"/>
                <a:gd name="connsiteY0" fmla="*/ 0 h 61363"/>
                <a:gd name="connsiteX1" fmla="*/ 0 w 24053"/>
                <a:gd name="connsiteY1" fmla="*/ 61364 h 61363"/>
                <a:gd name="connsiteX2" fmla="*/ 24053 w 24053"/>
                <a:gd name="connsiteY2" fmla="*/ 61364 h 61363"/>
                <a:gd name="connsiteX3" fmla="*/ 24053 w 24053"/>
                <a:gd name="connsiteY3" fmla="*/ 0 h 613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053" h="61363">
                  <a:moveTo>
                    <a:pt x="0" y="0"/>
                  </a:moveTo>
                  <a:lnTo>
                    <a:pt x="0" y="61364"/>
                  </a:lnTo>
                  <a:lnTo>
                    <a:pt x="24053" y="61364"/>
                  </a:lnTo>
                  <a:lnTo>
                    <a:pt x="24053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86" name="Forma livre: Forma 1785">
              <a:extLst>
                <a:ext uri="{FF2B5EF4-FFF2-40B4-BE49-F238E27FC236}">
                  <a16:creationId xmlns:a16="http://schemas.microsoft.com/office/drawing/2014/main" id="{57EF46D9-430B-F9B0-D619-82A1BFAB331A}"/>
                </a:ext>
              </a:extLst>
            </p:cNvPr>
            <p:cNvSpPr/>
            <p:nvPr/>
          </p:nvSpPr>
          <p:spPr>
            <a:xfrm>
              <a:off x="9393668" y="3960521"/>
              <a:ext cx="44460" cy="4734"/>
            </a:xfrm>
            <a:custGeom>
              <a:avLst/>
              <a:gdLst>
                <a:gd name="connsiteX0" fmla="*/ 0 w 44460"/>
                <a:gd name="connsiteY0" fmla="*/ 0 h 4734"/>
                <a:gd name="connsiteX1" fmla="*/ 44460 w 44460"/>
                <a:gd name="connsiteY1" fmla="*/ 0 h 47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4460" h="4734">
                  <a:moveTo>
                    <a:pt x="0" y="0"/>
                  </a:moveTo>
                  <a:lnTo>
                    <a:pt x="4446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87" name="Forma livre: Forma 1786">
              <a:extLst>
                <a:ext uri="{FF2B5EF4-FFF2-40B4-BE49-F238E27FC236}">
                  <a16:creationId xmlns:a16="http://schemas.microsoft.com/office/drawing/2014/main" id="{A1558B01-892F-15E3-7377-FD2732631FB8}"/>
                </a:ext>
              </a:extLst>
            </p:cNvPr>
            <p:cNvSpPr/>
            <p:nvPr/>
          </p:nvSpPr>
          <p:spPr>
            <a:xfrm>
              <a:off x="9324018" y="3960521"/>
              <a:ext cx="44460" cy="4734"/>
            </a:xfrm>
            <a:custGeom>
              <a:avLst/>
              <a:gdLst>
                <a:gd name="connsiteX0" fmla="*/ 0 w 44460"/>
                <a:gd name="connsiteY0" fmla="*/ 0 h 4734"/>
                <a:gd name="connsiteX1" fmla="*/ 44460 w 44460"/>
                <a:gd name="connsiteY1" fmla="*/ 0 h 47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4460" h="4734">
                  <a:moveTo>
                    <a:pt x="0" y="0"/>
                  </a:moveTo>
                  <a:lnTo>
                    <a:pt x="4446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88" name="Forma livre: Forma 1787">
              <a:extLst>
                <a:ext uri="{FF2B5EF4-FFF2-40B4-BE49-F238E27FC236}">
                  <a16:creationId xmlns:a16="http://schemas.microsoft.com/office/drawing/2014/main" id="{5CFE9984-1FB8-467F-62EB-E7A0C5959657}"/>
                </a:ext>
              </a:extLst>
            </p:cNvPr>
            <p:cNvSpPr/>
            <p:nvPr/>
          </p:nvSpPr>
          <p:spPr>
            <a:xfrm>
              <a:off x="9393100" y="3752660"/>
              <a:ext cx="4734" cy="102651"/>
            </a:xfrm>
            <a:custGeom>
              <a:avLst/>
              <a:gdLst>
                <a:gd name="connsiteX0" fmla="*/ 0 w 4734"/>
                <a:gd name="connsiteY0" fmla="*/ 0 h 102651"/>
                <a:gd name="connsiteX1" fmla="*/ 0 w 4734"/>
                <a:gd name="connsiteY1" fmla="*/ 102652 h 1026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734" h="102651">
                  <a:moveTo>
                    <a:pt x="0" y="0"/>
                  </a:moveTo>
                  <a:lnTo>
                    <a:pt x="0" y="102652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789" name="Gráfico 19">
            <a:extLst>
              <a:ext uri="{FF2B5EF4-FFF2-40B4-BE49-F238E27FC236}">
                <a16:creationId xmlns:a16="http://schemas.microsoft.com/office/drawing/2014/main" id="{F89AFA5C-F928-D73C-5BBB-8E63FABA6CD8}"/>
              </a:ext>
            </a:extLst>
          </p:cNvPr>
          <p:cNvGrpSpPr/>
          <p:nvPr/>
        </p:nvGrpSpPr>
        <p:grpSpPr>
          <a:xfrm>
            <a:off x="8020508" y="3643143"/>
            <a:ext cx="300618" cy="344368"/>
            <a:chOff x="8020508" y="3643143"/>
            <a:chExt cx="300618" cy="344368"/>
          </a:xfrm>
        </p:grpSpPr>
        <p:sp>
          <p:nvSpPr>
            <p:cNvPr id="1790" name="Forma livre: Forma 1789">
              <a:extLst>
                <a:ext uri="{FF2B5EF4-FFF2-40B4-BE49-F238E27FC236}">
                  <a16:creationId xmlns:a16="http://schemas.microsoft.com/office/drawing/2014/main" id="{D474A145-7868-CB96-AD00-3F72C04459BB}"/>
                </a:ext>
              </a:extLst>
            </p:cNvPr>
            <p:cNvSpPr/>
            <p:nvPr/>
          </p:nvSpPr>
          <p:spPr>
            <a:xfrm>
              <a:off x="8020508" y="3795622"/>
              <a:ext cx="145835" cy="191888"/>
            </a:xfrm>
            <a:custGeom>
              <a:avLst/>
              <a:gdLst>
                <a:gd name="connsiteX0" fmla="*/ 79263 w 145835"/>
                <a:gd name="connsiteY0" fmla="*/ 162484 h 191888"/>
                <a:gd name="connsiteX1" fmla="*/ 30163 w 145835"/>
                <a:gd name="connsiteY1" fmla="*/ 92645 h 191888"/>
                <a:gd name="connsiteX2" fmla="*/ 20267 w 145835"/>
                <a:gd name="connsiteY2" fmla="*/ 102541 h 191888"/>
                <a:gd name="connsiteX3" fmla="*/ 3363 w 145835"/>
                <a:gd name="connsiteY3" fmla="*/ 102777 h 191888"/>
                <a:gd name="connsiteX4" fmla="*/ 3600 w 145835"/>
                <a:gd name="connsiteY4" fmla="*/ 85874 h 191888"/>
                <a:gd name="connsiteX5" fmla="*/ 85892 w 145835"/>
                <a:gd name="connsiteY5" fmla="*/ 3582 h 191888"/>
                <a:gd name="connsiteX6" fmla="*/ 102795 w 145835"/>
                <a:gd name="connsiteY6" fmla="*/ 3345 h 191888"/>
                <a:gd name="connsiteX7" fmla="*/ 145835 w 145835"/>
                <a:gd name="connsiteY7" fmla="*/ 46385 h 191888"/>
                <a:gd name="connsiteX8" fmla="*/ 145504 w 145835"/>
                <a:gd name="connsiteY8" fmla="*/ 129577 h 191888"/>
                <a:gd name="connsiteX9" fmla="*/ 86792 w 145835"/>
                <a:gd name="connsiteY9" fmla="*/ 188289 h 191888"/>
                <a:gd name="connsiteX10" fmla="*/ 69888 w 145835"/>
                <a:gd name="connsiteY10" fmla="*/ 188526 h 191888"/>
                <a:gd name="connsiteX11" fmla="*/ 70125 w 145835"/>
                <a:gd name="connsiteY11" fmla="*/ 171622 h 191888"/>
                <a:gd name="connsiteX12" fmla="*/ 79263 w 145835"/>
                <a:gd name="connsiteY12" fmla="*/ 162484 h 1918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45835" h="191888">
                  <a:moveTo>
                    <a:pt x="79263" y="162484"/>
                  </a:moveTo>
                  <a:lnTo>
                    <a:pt x="30163" y="92645"/>
                  </a:lnTo>
                  <a:lnTo>
                    <a:pt x="20267" y="102541"/>
                  </a:lnTo>
                  <a:cubicBezTo>
                    <a:pt x="15532" y="107275"/>
                    <a:pt x="7956" y="107370"/>
                    <a:pt x="3363" y="102777"/>
                  </a:cubicBezTo>
                  <a:cubicBezTo>
                    <a:pt x="-1230" y="98184"/>
                    <a:pt x="-1088" y="90609"/>
                    <a:pt x="3600" y="85874"/>
                  </a:cubicBezTo>
                  <a:lnTo>
                    <a:pt x="85892" y="3582"/>
                  </a:lnTo>
                  <a:cubicBezTo>
                    <a:pt x="90579" y="-1106"/>
                    <a:pt x="98203" y="-1200"/>
                    <a:pt x="102795" y="3345"/>
                  </a:cubicBezTo>
                  <a:lnTo>
                    <a:pt x="145835" y="46385"/>
                  </a:lnTo>
                  <a:lnTo>
                    <a:pt x="145504" y="129577"/>
                  </a:lnTo>
                  <a:lnTo>
                    <a:pt x="86792" y="188289"/>
                  </a:lnTo>
                  <a:cubicBezTo>
                    <a:pt x="82104" y="192977"/>
                    <a:pt x="74481" y="193119"/>
                    <a:pt x="69888" y="188526"/>
                  </a:cubicBezTo>
                  <a:cubicBezTo>
                    <a:pt x="65295" y="183933"/>
                    <a:pt x="65390" y="176357"/>
                    <a:pt x="70125" y="171622"/>
                  </a:cubicBezTo>
                  <a:lnTo>
                    <a:pt x="79263" y="162484"/>
                  </a:ln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91" name="Forma livre: Forma 1790">
              <a:extLst>
                <a:ext uri="{FF2B5EF4-FFF2-40B4-BE49-F238E27FC236}">
                  <a16:creationId xmlns:a16="http://schemas.microsoft.com/office/drawing/2014/main" id="{043BB1B3-D847-1AC6-D0B3-4215C1118275}"/>
                </a:ext>
              </a:extLst>
            </p:cNvPr>
            <p:cNvSpPr/>
            <p:nvPr/>
          </p:nvSpPr>
          <p:spPr>
            <a:xfrm>
              <a:off x="8077506" y="3860807"/>
              <a:ext cx="54475" cy="65305"/>
            </a:xfrm>
            <a:custGeom>
              <a:avLst/>
              <a:gdLst>
                <a:gd name="connsiteX0" fmla="*/ 51905 w 54475"/>
                <a:gd name="connsiteY0" fmla="*/ 42612 h 65305"/>
                <a:gd name="connsiteX1" fmla="*/ 48449 w 54475"/>
                <a:gd name="connsiteY1" fmla="*/ 62404 h 65305"/>
                <a:gd name="connsiteX2" fmla="*/ 48023 w 54475"/>
                <a:gd name="connsiteY2" fmla="*/ 62735 h 65305"/>
                <a:gd name="connsiteX3" fmla="*/ 28231 w 54475"/>
                <a:gd name="connsiteY3" fmla="*/ 59279 h 65305"/>
                <a:gd name="connsiteX4" fmla="*/ 2568 w 54475"/>
                <a:gd name="connsiteY4" fmla="*/ 22678 h 65305"/>
                <a:gd name="connsiteX5" fmla="*/ 6072 w 54475"/>
                <a:gd name="connsiteY5" fmla="*/ 2886 h 65305"/>
                <a:gd name="connsiteX6" fmla="*/ 6545 w 54475"/>
                <a:gd name="connsiteY6" fmla="*/ 2555 h 65305"/>
                <a:gd name="connsiteX7" fmla="*/ 26337 w 54475"/>
                <a:gd name="connsiteY7" fmla="*/ 6059 h 65305"/>
                <a:gd name="connsiteX8" fmla="*/ 51953 w 54475"/>
                <a:gd name="connsiteY8" fmla="*/ 42612 h 653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4475" h="65305">
                  <a:moveTo>
                    <a:pt x="51905" y="42612"/>
                  </a:moveTo>
                  <a:cubicBezTo>
                    <a:pt x="56403" y="49004"/>
                    <a:pt x="54841" y="57906"/>
                    <a:pt x="48449" y="62404"/>
                  </a:cubicBezTo>
                  <a:lnTo>
                    <a:pt x="48023" y="62735"/>
                  </a:lnTo>
                  <a:cubicBezTo>
                    <a:pt x="41631" y="67233"/>
                    <a:pt x="32729" y="65671"/>
                    <a:pt x="28231" y="59279"/>
                  </a:cubicBezTo>
                  <a:lnTo>
                    <a:pt x="2568" y="22678"/>
                  </a:lnTo>
                  <a:cubicBezTo>
                    <a:pt x="-1930" y="16286"/>
                    <a:pt x="-368" y="7384"/>
                    <a:pt x="6072" y="2886"/>
                  </a:cubicBezTo>
                  <a:lnTo>
                    <a:pt x="6545" y="2555"/>
                  </a:lnTo>
                  <a:cubicBezTo>
                    <a:pt x="12937" y="-1943"/>
                    <a:pt x="21839" y="-333"/>
                    <a:pt x="26337" y="6059"/>
                  </a:cubicBezTo>
                  <a:lnTo>
                    <a:pt x="51953" y="42612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92" name="Forma livre: Forma 1791">
              <a:extLst>
                <a:ext uri="{FF2B5EF4-FFF2-40B4-BE49-F238E27FC236}">
                  <a16:creationId xmlns:a16="http://schemas.microsoft.com/office/drawing/2014/main" id="{EB7AF524-2539-331F-5475-E3C56BC12093}"/>
                </a:ext>
              </a:extLst>
            </p:cNvPr>
            <p:cNvSpPr/>
            <p:nvPr/>
          </p:nvSpPr>
          <p:spPr>
            <a:xfrm>
              <a:off x="8138171" y="3643143"/>
              <a:ext cx="182955" cy="261601"/>
            </a:xfrm>
            <a:custGeom>
              <a:avLst/>
              <a:gdLst>
                <a:gd name="connsiteX0" fmla="*/ 0 w 182955"/>
                <a:gd name="connsiteY0" fmla="*/ 137785 h 261601"/>
                <a:gd name="connsiteX1" fmla="*/ 137643 w 182955"/>
                <a:gd name="connsiteY1" fmla="*/ 0 h 261601"/>
                <a:gd name="connsiteX2" fmla="*/ 182955 w 182955"/>
                <a:gd name="connsiteY2" fmla="*/ 45313 h 261601"/>
                <a:gd name="connsiteX3" fmla="*/ 56629 w 182955"/>
                <a:gd name="connsiteY3" fmla="*/ 261601 h 261601"/>
                <a:gd name="connsiteX4" fmla="*/ 28457 w 182955"/>
                <a:gd name="connsiteY4" fmla="*/ 233713 h 2616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2955" h="261601">
                  <a:moveTo>
                    <a:pt x="0" y="137785"/>
                  </a:moveTo>
                  <a:lnTo>
                    <a:pt x="137643" y="0"/>
                  </a:lnTo>
                  <a:lnTo>
                    <a:pt x="182955" y="45313"/>
                  </a:lnTo>
                  <a:lnTo>
                    <a:pt x="56629" y="261601"/>
                  </a:lnTo>
                  <a:lnTo>
                    <a:pt x="28457" y="233713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93" name="Forma livre: Forma 1792">
              <a:extLst>
                <a:ext uri="{FF2B5EF4-FFF2-40B4-BE49-F238E27FC236}">
                  <a16:creationId xmlns:a16="http://schemas.microsoft.com/office/drawing/2014/main" id="{9B88BC99-5FD8-EEA2-2EFF-B7E6BACC34B2}"/>
                </a:ext>
              </a:extLst>
            </p:cNvPr>
            <p:cNvSpPr/>
            <p:nvPr/>
          </p:nvSpPr>
          <p:spPr>
            <a:xfrm>
              <a:off x="8270937" y="3683673"/>
              <a:ext cx="7386" cy="7386"/>
            </a:xfrm>
            <a:custGeom>
              <a:avLst/>
              <a:gdLst>
                <a:gd name="connsiteX0" fmla="*/ 7386 w 7386"/>
                <a:gd name="connsiteY0" fmla="*/ 3693 h 7386"/>
                <a:gd name="connsiteX1" fmla="*/ 3693 w 7386"/>
                <a:gd name="connsiteY1" fmla="*/ 7386 h 7386"/>
                <a:gd name="connsiteX2" fmla="*/ 0 w 7386"/>
                <a:gd name="connsiteY2" fmla="*/ 3693 h 7386"/>
                <a:gd name="connsiteX3" fmla="*/ 3693 w 7386"/>
                <a:gd name="connsiteY3" fmla="*/ 0 h 7386"/>
                <a:gd name="connsiteX4" fmla="*/ 7386 w 7386"/>
                <a:gd name="connsiteY4" fmla="*/ 3693 h 7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386" h="7386">
                  <a:moveTo>
                    <a:pt x="7386" y="3693"/>
                  </a:moveTo>
                  <a:cubicBezTo>
                    <a:pt x="7386" y="5729"/>
                    <a:pt x="5729" y="7386"/>
                    <a:pt x="3693" y="7386"/>
                  </a:cubicBezTo>
                  <a:cubicBezTo>
                    <a:pt x="1657" y="7386"/>
                    <a:pt x="0" y="5729"/>
                    <a:pt x="0" y="3693"/>
                  </a:cubicBezTo>
                  <a:cubicBezTo>
                    <a:pt x="0" y="1657"/>
                    <a:pt x="1657" y="0"/>
                    <a:pt x="3693" y="0"/>
                  </a:cubicBezTo>
                  <a:cubicBezTo>
                    <a:pt x="5729" y="0"/>
                    <a:pt x="7386" y="1657"/>
                    <a:pt x="7386" y="3693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794" name="Gráfico 19">
            <a:extLst>
              <a:ext uri="{FF2B5EF4-FFF2-40B4-BE49-F238E27FC236}">
                <a16:creationId xmlns:a16="http://schemas.microsoft.com/office/drawing/2014/main" id="{22C73396-0C56-5587-B87F-6112D23F2126}"/>
              </a:ext>
            </a:extLst>
          </p:cNvPr>
          <p:cNvGrpSpPr/>
          <p:nvPr/>
        </p:nvGrpSpPr>
        <p:grpSpPr>
          <a:xfrm>
            <a:off x="8709054" y="3631401"/>
            <a:ext cx="157576" cy="367849"/>
            <a:chOff x="8709054" y="3631401"/>
            <a:chExt cx="157576" cy="367849"/>
          </a:xfrm>
          <a:noFill/>
        </p:grpSpPr>
        <p:sp>
          <p:nvSpPr>
            <p:cNvPr id="1795" name="Forma livre: Forma 1794">
              <a:extLst>
                <a:ext uri="{FF2B5EF4-FFF2-40B4-BE49-F238E27FC236}">
                  <a16:creationId xmlns:a16="http://schemas.microsoft.com/office/drawing/2014/main" id="{3C5C7586-BB03-9004-E38C-18C9BD0BB916}"/>
                </a:ext>
              </a:extLst>
            </p:cNvPr>
            <p:cNvSpPr/>
            <p:nvPr/>
          </p:nvSpPr>
          <p:spPr>
            <a:xfrm>
              <a:off x="8725787" y="3866439"/>
              <a:ext cx="113051" cy="132810"/>
            </a:xfrm>
            <a:custGeom>
              <a:avLst/>
              <a:gdLst>
                <a:gd name="connsiteX0" fmla="*/ 76449 w 113051"/>
                <a:gd name="connsiteY0" fmla="*/ 0 h 132810"/>
                <a:gd name="connsiteX1" fmla="*/ 76449 w 113051"/>
                <a:gd name="connsiteY1" fmla="*/ 26989 h 132810"/>
                <a:gd name="connsiteX2" fmla="*/ 62908 w 113051"/>
                <a:gd name="connsiteY2" fmla="*/ 47254 h 132810"/>
                <a:gd name="connsiteX3" fmla="*/ 46809 w 113051"/>
                <a:gd name="connsiteY3" fmla="*/ 82671 h 132810"/>
                <a:gd name="connsiteX4" fmla="*/ 73798 w 113051"/>
                <a:gd name="connsiteY4" fmla="*/ 85843 h 132810"/>
                <a:gd name="connsiteX5" fmla="*/ 104432 w 113051"/>
                <a:gd name="connsiteY5" fmla="*/ 57529 h 132810"/>
                <a:gd name="connsiteX6" fmla="*/ 110635 w 113051"/>
                <a:gd name="connsiteY6" fmla="*/ 53267 h 132810"/>
                <a:gd name="connsiteX7" fmla="*/ 112955 w 113051"/>
                <a:gd name="connsiteY7" fmla="*/ 59233 h 132810"/>
                <a:gd name="connsiteX8" fmla="*/ 58646 w 113051"/>
                <a:gd name="connsiteY8" fmla="*/ 132718 h 132810"/>
                <a:gd name="connsiteX9" fmla="*/ 2159 w 113051"/>
                <a:gd name="connsiteY9" fmla="*/ 94034 h 132810"/>
                <a:gd name="connsiteX10" fmla="*/ 16837 w 113051"/>
                <a:gd name="connsiteY10" fmla="*/ 42188 h 132810"/>
                <a:gd name="connsiteX11" fmla="*/ 40796 w 113051"/>
                <a:gd name="connsiteY11" fmla="*/ 24385 h 132810"/>
                <a:gd name="connsiteX12" fmla="*/ 46194 w 113051"/>
                <a:gd name="connsiteY12" fmla="*/ 13542 h 132810"/>
                <a:gd name="connsiteX13" fmla="*/ 46194 w 113051"/>
                <a:gd name="connsiteY13" fmla="*/ 284 h 1328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13051" h="132810">
                  <a:moveTo>
                    <a:pt x="76449" y="0"/>
                  </a:moveTo>
                  <a:lnTo>
                    <a:pt x="76449" y="26989"/>
                  </a:lnTo>
                  <a:cubicBezTo>
                    <a:pt x="76449" y="26989"/>
                    <a:pt x="77822" y="37595"/>
                    <a:pt x="62908" y="47254"/>
                  </a:cubicBezTo>
                  <a:cubicBezTo>
                    <a:pt x="62908" y="47254"/>
                    <a:pt x="36345" y="61032"/>
                    <a:pt x="46809" y="82671"/>
                  </a:cubicBezTo>
                  <a:cubicBezTo>
                    <a:pt x="46809" y="82671"/>
                    <a:pt x="54385" y="96733"/>
                    <a:pt x="73798" y="85843"/>
                  </a:cubicBezTo>
                  <a:cubicBezTo>
                    <a:pt x="73798" y="85843"/>
                    <a:pt x="97141" y="72586"/>
                    <a:pt x="104432" y="57529"/>
                  </a:cubicBezTo>
                  <a:cubicBezTo>
                    <a:pt x="104432" y="57529"/>
                    <a:pt x="107226" y="52273"/>
                    <a:pt x="110635" y="53267"/>
                  </a:cubicBezTo>
                  <a:cubicBezTo>
                    <a:pt x="110635" y="53267"/>
                    <a:pt x="113618" y="55161"/>
                    <a:pt x="112955" y="59233"/>
                  </a:cubicBezTo>
                  <a:cubicBezTo>
                    <a:pt x="112955" y="59233"/>
                    <a:pt x="108931" y="128078"/>
                    <a:pt x="58646" y="132718"/>
                  </a:cubicBezTo>
                  <a:cubicBezTo>
                    <a:pt x="58646" y="132718"/>
                    <a:pt x="18400" y="136601"/>
                    <a:pt x="2159" y="94034"/>
                  </a:cubicBezTo>
                  <a:cubicBezTo>
                    <a:pt x="2159" y="94034"/>
                    <a:pt x="-8305" y="63258"/>
                    <a:pt x="16837" y="42188"/>
                  </a:cubicBezTo>
                  <a:cubicBezTo>
                    <a:pt x="16837" y="42188"/>
                    <a:pt x="34641" y="28267"/>
                    <a:pt x="40796" y="24385"/>
                  </a:cubicBezTo>
                  <a:cubicBezTo>
                    <a:pt x="40796" y="24385"/>
                    <a:pt x="46194" y="21307"/>
                    <a:pt x="46194" y="13542"/>
                  </a:cubicBezTo>
                  <a:lnTo>
                    <a:pt x="46194" y="284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796" name="Gráfico 19">
              <a:extLst>
                <a:ext uri="{FF2B5EF4-FFF2-40B4-BE49-F238E27FC236}">
                  <a16:creationId xmlns:a16="http://schemas.microsoft.com/office/drawing/2014/main" id="{FA781FFC-3A7A-FCFC-1B5F-90AAC73FE3B4}"/>
                </a:ext>
              </a:extLst>
            </p:cNvPr>
            <p:cNvGrpSpPr/>
            <p:nvPr/>
          </p:nvGrpSpPr>
          <p:grpSpPr>
            <a:xfrm>
              <a:off x="8735806" y="3631401"/>
              <a:ext cx="104451" cy="67471"/>
              <a:chOff x="8735806" y="3631401"/>
              <a:chExt cx="104451" cy="67471"/>
            </a:xfrm>
          </p:grpSpPr>
          <p:sp>
            <p:nvSpPr>
              <p:cNvPr id="1797" name="Forma livre: Forma 1796">
                <a:extLst>
                  <a:ext uri="{FF2B5EF4-FFF2-40B4-BE49-F238E27FC236}">
                    <a16:creationId xmlns:a16="http://schemas.microsoft.com/office/drawing/2014/main" id="{717C1EF4-E989-E5D2-67B8-EB1FE582F42F}"/>
                  </a:ext>
                </a:extLst>
              </p:cNvPr>
              <p:cNvSpPr/>
              <p:nvPr/>
            </p:nvSpPr>
            <p:spPr>
              <a:xfrm>
                <a:off x="8735806" y="3631401"/>
                <a:ext cx="4734" cy="67471"/>
              </a:xfrm>
              <a:custGeom>
                <a:avLst/>
                <a:gdLst>
                  <a:gd name="connsiteX0" fmla="*/ 0 w 4734"/>
                  <a:gd name="connsiteY0" fmla="*/ 67472 h 67471"/>
                  <a:gd name="connsiteX1" fmla="*/ 0 w 4734"/>
                  <a:gd name="connsiteY1" fmla="*/ 0 h 674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34" h="67471">
                    <a:moveTo>
                      <a:pt x="0" y="67472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798" name="Forma livre: Forma 1797">
                <a:extLst>
                  <a:ext uri="{FF2B5EF4-FFF2-40B4-BE49-F238E27FC236}">
                    <a16:creationId xmlns:a16="http://schemas.microsoft.com/office/drawing/2014/main" id="{FAD669EB-E8DB-1F7F-CDC4-077D9D812F1F}"/>
                  </a:ext>
                </a:extLst>
              </p:cNvPr>
              <p:cNvSpPr/>
              <p:nvPr/>
            </p:nvSpPr>
            <p:spPr>
              <a:xfrm>
                <a:off x="8840257" y="3631401"/>
                <a:ext cx="4734" cy="67471"/>
              </a:xfrm>
              <a:custGeom>
                <a:avLst/>
                <a:gdLst>
                  <a:gd name="connsiteX0" fmla="*/ 0 w 4734"/>
                  <a:gd name="connsiteY0" fmla="*/ 67472 h 67471"/>
                  <a:gd name="connsiteX1" fmla="*/ 0 w 4734"/>
                  <a:gd name="connsiteY1" fmla="*/ 0 h 674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34" h="67471">
                    <a:moveTo>
                      <a:pt x="0" y="67472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799" name="Forma livre: Forma 1798">
              <a:extLst>
                <a:ext uri="{FF2B5EF4-FFF2-40B4-BE49-F238E27FC236}">
                  <a16:creationId xmlns:a16="http://schemas.microsoft.com/office/drawing/2014/main" id="{66092056-E720-7E6C-0229-2C1837BC1EAB}"/>
                </a:ext>
              </a:extLst>
            </p:cNvPr>
            <p:cNvSpPr/>
            <p:nvPr/>
          </p:nvSpPr>
          <p:spPr>
            <a:xfrm>
              <a:off x="8757634" y="3825530"/>
              <a:ext cx="60795" cy="39820"/>
            </a:xfrm>
            <a:custGeom>
              <a:avLst/>
              <a:gdLst>
                <a:gd name="connsiteX0" fmla="*/ 0 w 60795"/>
                <a:gd name="connsiteY0" fmla="*/ 19413 h 39820"/>
                <a:gd name="connsiteX1" fmla="*/ 0 w 60795"/>
                <a:gd name="connsiteY1" fmla="*/ 39820 h 39820"/>
                <a:gd name="connsiteX2" fmla="*/ 60796 w 60795"/>
                <a:gd name="connsiteY2" fmla="*/ 39820 h 39820"/>
                <a:gd name="connsiteX3" fmla="*/ 60796 w 60795"/>
                <a:gd name="connsiteY3" fmla="*/ 0 h 398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0795" h="39820">
                  <a:moveTo>
                    <a:pt x="0" y="19413"/>
                  </a:moveTo>
                  <a:lnTo>
                    <a:pt x="0" y="39820"/>
                  </a:lnTo>
                  <a:lnTo>
                    <a:pt x="60796" y="39820"/>
                  </a:lnTo>
                  <a:lnTo>
                    <a:pt x="60796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00" name="Forma livre: Forma 1799">
              <a:extLst>
                <a:ext uri="{FF2B5EF4-FFF2-40B4-BE49-F238E27FC236}">
                  <a16:creationId xmlns:a16="http://schemas.microsoft.com/office/drawing/2014/main" id="{791B0964-4C00-ADD6-CE87-304059DEBE90}"/>
                </a:ext>
              </a:extLst>
            </p:cNvPr>
            <p:cNvSpPr/>
            <p:nvPr/>
          </p:nvSpPr>
          <p:spPr>
            <a:xfrm>
              <a:off x="8709575" y="3699961"/>
              <a:ext cx="156013" cy="124811"/>
            </a:xfrm>
            <a:custGeom>
              <a:avLst/>
              <a:gdLst>
                <a:gd name="connsiteX0" fmla="*/ 0 w 156013"/>
                <a:gd name="connsiteY0" fmla="*/ 0 h 124811"/>
                <a:gd name="connsiteX1" fmla="*/ 0 w 156013"/>
                <a:gd name="connsiteY1" fmla="*/ 87595 h 124811"/>
                <a:gd name="connsiteX2" fmla="*/ 37690 w 156013"/>
                <a:gd name="connsiteY2" fmla="*/ 124811 h 124811"/>
                <a:gd name="connsiteX3" fmla="*/ 118798 w 156013"/>
                <a:gd name="connsiteY3" fmla="*/ 124811 h 124811"/>
                <a:gd name="connsiteX4" fmla="*/ 156014 w 156013"/>
                <a:gd name="connsiteY4" fmla="*/ 87595 h 124811"/>
                <a:gd name="connsiteX5" fmla="*/ 156014 w 156013"/>
                <a:gd name="connsiteY5" fmla="*/ 0 h 124811"/>
                <a:gd name="connsiteX6" fmla="*/ 0 w 156013"/>
                <a:gd name="connsiteY6" fmla="*/ 0 h 1248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56013" h="124811">
                  <a:moveTo>
                    <a:pt x="0" y="0"/>
                  </a:moveTo>
                  <a:lnTo>
                    <a:pt x="0" y="87595"/>
                  </a:lnTo>
                  <a:lnTo>
                    <a:pt x="37690" y="124811"/>
                  </a:lnTo>
                  <a:lnTo>
                    <a:pt x="118798" y="124811"/>
                  </a:lnTo>
                  <a:lnTo>
                    <a:pt x="156014" y="87595"/>
                  </a:lnTo>
                  <a:lnTo>
                    <a:pt x="156014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01" name="Forma livre: Forma 1800">
              <a:extLst>
                <a:ext uri="{FF2B5EF4-FFF2-40B4-BE49-F238E27FC236}">
                  <a16:creationId xmlns:a16="http://schemas.microsoft.com/office/drawing/2014/main" id="{84D618E5-2359-C689-4D46-D7D2412DC885}"/>
                </a:ext>
              </a:extLst>
            </p:cNvPr>
            <p:cNvSpPr/>
            <p:nvPr/>
          </p:nvSpPr>
          <p:spPr>
            <a:xfrm>
              <a:off x="8732349" y="3701761"/>
              <a:ext cx="107481" cy="107481"/>
            </a:xfrm>
            <a:custGeom>
              <a:avLst/>
              <a:gdLst>
                <a:gd name="connsiteX0" fmla="*/ 0 w 107481"/>
                <a:gd name="connsiteY0" fmla="*/ 107481 h 107481"/>
                <a:gd name="connsiteX1" fmla="*/ 107481 w 107481"/>
                <a:gd name="connsiteY1" fmla="*/ 0 h 1074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7481" h="107481">
                  <a:moveTo>
                    <a:pt x="0" y="107481"/>
                  </a:moveTo>
                  <a:lnTo>
                    <a:pt x="107481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02" name="Forma livre: Forma 1801">
              <a:extLst>
                <a:ext uri="{FF2B5EF4-FFF2-40B4-BE49-F238E27FC236}">
                  <a16:creationId xmlns:a16="http://schemas.microsoft.com/office/drawing/2014/main" id="{711A1A6C-FC25-DD32-EE02-B80987183879}"/>
                </a:ext>
              </a:extLst>
            </p:cNvPr>
            <p:cNvSpPr/>
            <p:nvPr/>
          </p:nvSpPr>
          <p:spPr>
            <a:xfrm>
              <a:off x="8709054" y="3698825"/>
              <a:ext cx="68608" cy="68655"/>
            </a:xfrm>
            <a:custGeom>
              <a:avLst/>
              <a:gdLst>
                <a:gd name="connsiteX0" fmla="*/ 0 w 68608"/>
                <a:gd name="connsiteY0" fmla="*/ 68656 h 68655"/>
                <a:gd name="connsiteX1" fmla="*/ 68608 w 68608"/>
                <a:gd name="connsiteY1" fmla="*/ 0 h 686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8608" h="68655">
                  <a:moveTo>
                    <a:pt x="0" y="68656"/>
                  </a:moveTo>
                  <a:lnTo>
                    <a:pt x="68608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03" name="Forma livre: Forma 1802">
              <a:extLst>
                <a:ext uri="{FF2B5EF4-FFF2-40B4-BE49-F238E27FC236}">
                  <a16:creationId xmlns:a16="http://schemas.microsoft.com/office/drawing/2014/main" id="{F1F40631-1A8E-F893-B1BE-FE02891765F1}"/>
                </a:ext>
              </a:extLst>
            </p:cNvPr>
            <p:cNvSpPr/>
            <p:nvPr/>
          </p:nvSpPr>
          <p:spPr>
            <a:xfrm>
              <a:off x="8780361" y="3738503"/>
              <a:ext cx="86269" cy="86269"/>
            </a:xfrm>
            <a:custGeom>
              <a:avLst/>
              <a:gdLst>
                <a:gd name="connsiteX0" fmla="*/ 0 w 86269"/>
                <a:gd name="connsiteY0" fmla="*/ 86269 h 86269"/>
                <a:gd name="connsiteX1" fmla="*/ 86269 w 86269"/>
                <a:gd name="connsiteY1" fmla="*/ 0 h 862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6269" h="86269">
                  <a:moveTo>
                    <a:pt x="0" y="86269"/>
                  </a:moveTo>
                  <a:lnTo>
                    <a:pt x="86269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804" name="Gráfico 19">
            <a:extLst>
              <a:ext uri="{FF2B5EF4-FFF2-40B4-BE49-F238E27FC236}">
                <a16:creationId xmlns:a16="http://schemas.microsoft.com/office/drawing/2014/main" id="{639E5C08-EBB3-BF49-9CF9-585681ACA7E6}"/>
              </a:ext>
            </a:extLst>
          </p:cNvPr>
          <p:cNvGrpSpPr/>
          <p:nvPr/>
        </p:nvGrpSpPr>
        <p:grpSpPr>
          <a:xfrm>
            <a:off x="9216442" y="4204501"/>
            <a:ext cx="403647" cy="253039"/>
            <a:chOff x="9216442" y="4204501"/>
            <a:chExt cx="403647" cy="253039"/>
          </a:xfrm>
          <a:noFill/>
        </p:grpSpPr>
        <p:sp>
          <p:nvSpPr>
            <p:cNvPr id="1805" name="Forma livre: Forma 1804">
              <a:extLst>
                <a:ext uri="{FF2B5EF4-FFF2-40B4-BE49-F238E27FC236}">
                  <a16:creationId xmlns:a16="http://schemas.microsoft.com/office/drawing/2014/main" id="{5C8C7789-C211-9E84-AA3F-462E89BEE167}"/>
                </a:ext>
              </a:extLst>
            </p:cNvPr>
            <p:cNvSpPr/>
            <p:nvPr/>
          </p:nvSpPr>
          <p:spPr>
            <a:xfrm>
              <a:off x="9244899" y="4372028"/>
              <a:ext cx="57055" cy="57007"/>
            </a:xfrm>
            <a:custGeom>
              <a:avLst/>
              <a:gdLst>
                <a:gd name="connsiteX0" fmla="*/ 57055 w 57055"/>
                <a:gd name="connsiteY0" fmla="*/ 28504 h 57007"/>
                <a:gd name="connsiteX1" fmla="*/ 28504 w 57055"/>
                <a:gd name="connsiteY1" fmla="*/ 57008 h 57007"/>
                <a:gd name="connsiteX2" fmla="*/ 0 w 57055"/>
                <a:gd name="connsiteY2" fmla="*/ 28504 h 57007"/>
                <a:gd name="connsiteX3" fmla="*/ 28504 w 57055"/>
                <a:gd name="connsiteY3" fmla="*/ 0 h 57007"/>
                <a:gd name="connsiteX4" fmla="*/ 57055 w 57055"/>
                <a:gd name="connsiteY4" fmla="*/ 28504 h 570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055" h="57007">
                  <a:moveTo>
                    <a:pt x="57055" y="28504"/>
                  </a:moveTo>
                  <a:cubicBezTo>
                    <a:pt x="57055" y="44271"/>
                    <a:pt x="44271" y="57008"/>
                    <a:pt x="28504" y="57008"/>
                  </a:cubicBezTo>
                  <a:cubicBezTo>
                    <a:pt x="12737" y="57008"/>
                    <a:pt x="0" y="44224"/>
                    <a:pt x="0" y="28504"/>
                  </a:cubicBezTo>
                  <a:cubicBezTo>
                    <a:pt x="0" y="12784"/>
                    <a:pt x="12784" y="0"/>
                    <a:pt x="28504" y="0"/>
                  </a:cubicBezTo>
                  <a:cubicBezTo>
                    <a:pt x="44224" y="0"/>
                    <a:pt x="57055" y="12784"/>
                    <a:pt x="57055" y="28504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06" name="Forma livre: Forma 1805">
              <a:extLst>
                <a:ext uri="{FF2B5EF4-FFF2-40B4-BE49-F238E27FC236}">
                  <a16:creationId xmlns:a16="http://schemas.microsoft.com/office/drawing/2014/main" id="{5DE079AD-E11E-C1DD-C671-657AAD63A52F}"/>
                </a:ext>
              </a:extLst>
            </p:cNvPr>
            <p:cNvSpPr/>
            <p:nvPr/>
          </p:nvSpPr>
          <p:spPr>
            <a:xfrm>
              <a:off x="9216442" y="4343524"/>
              <a:ext cx="114015" cy="114015"/>
            </a:xfrm>
            <a:custGeom>
              <a:avLst/>
              <a:gdLst>
                <a:gd name="connsiteX0" fmla="*/ 114016 w 114015"/>
                <a:gd name="connsiteY0" fmla="*/ 57008 h 114015"/>
                <a:gd name="connsiteX1" fmla="*/ 57008 w 114015"/>
                <a:gd name="connsiteY1" fmla="*/ 114016 h 114015"/>
                <a:gd name="connsiteX2" fmla="*/ 0 w 114015"/>
                <a:gd name="connsiteY2" fmla="*/ 57008 h 114015"/>
                <a:gd name="connsiteX3" fmla="*/ 57008 w 114015"/>
                <a:gd name="connsiteY3" fmla="*/ 0 h 114015"/>
                <a:gd name="connsiteX4" fmla="*/ 114016 w 114015"/>
                <a:gd name="connsiteY4" fmla="*/ 57008 h 114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4015" h="114015">
                  <a:moveTo>
                    <a:pt x="114016" y="57008"/>
                  </a:moveTo>
                  <a:cubicBezTo>
                    <a:pt x="114016" y="88495"/>
                    <a:pt x="88495" y="114016"/>
                    <a:pt x="57008" y="114016"/>
                  </a:cubicBezTo>
                  <a:cubicBezTo>
                    <a:pt x="25521" y="114016"/>
                    <a:pt x="0" y="88495"/>
                    <a:pt x="0" y="57008"/>
                  </a:cubicBezTo>
                  <a:cubicBezTo>
                    <a:pt x="0" y="25521"/>
                    <a:pt x="25521" y="0"/>
                    <a:pt x="57008" y="0"/>
                  </a:cubicBezTo>
                  <a:cubicBezTo>
                    <a:pt x="88495" y="0"/>
                    <a:pt x="114016" y="25521"/>
                    <a:pt x="114016" y="57008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07" name="Forma livre: Forma 1806">
              <a:extLst>
                <a:ext uri="{FF2B5EF4-FFF2-40B4-BE49-F238E27FC236}">
                  <a16:creationId xmlns:a16="http://schemas.microsoft.com/office/drawing/2014/main" id="{D66A1009-59B4-E1BF-15B1-3BD6773B7B79}"/>
                </a:ext>
              </a:extLst>
            </p:cNvPr>
            <p:cNvSpPr/>
            <p:nvPr/>
          </p:nvSpPr>
          <p:spPr>
            <a:xfrm>
              <a:off x="9350297" y="4217055"/>
              <a:ext cx="207813" cy="164679"/>
            </a:xfrm>
            <a:custGeom>
              <a:avLst/>
              <a:gdLst>
                <a:gd name="connsiteX0" fmla="*/ 207813 w 207813"/>
                <a:gd name="connsiteY0" fmla="*/ 1 h 164679"/>
                <a:gd name="connsiteX1" fmla="*/ 198675 w 207813"/>
                <a:gd name="connsiteY1" fmla="*/ 1 h 164679"/>
                <a:gd name="connsiteX2" fmla="*/ 167283 w 207813"/>
                <a:gd name="connsiteY2" fmla="*/ 35229 h 164679"/>
                <a:gd name="connsiteX3" fmla="*/ 154735 w 207813"/>
                <a:gd name="connsiteY3" fmla="*/ 88022 h 164679"/>
                <a:gd name="connsiteX4" fmla="*/ 120313 w 207813"/>
                <a:gd name="connsiteY4" fmla="*/ 134708 h 164679"/>
                <a:gd name="connsiteX5" fmla="*/ 0 w 207813"/>
                <a:gd name="connsiteY5" fmla="*/ 164680 h 1646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7813" h="164679">
                  <a:moveTo>
                    <a:pt x="207813" y="1"/>
                  </a:moveTo>
                  <a:lnTo>
                    <a:pt x="198675" y="1"/>
                  </a:lnTo>
                  <a:cubicBezTo>
                    <a:pt x="198675" y="1"/>
                    <a:pt x="177226" y="-756"/>
                    <a:pt x="167283" y="35229"/>
                  </a:cubicBezTo>
                  <a:lnTo>
                    <a:pt x="154735" y="88022"/>
                  </a:lnTo>
                  <a:cubicBezTo>
                    <a:pt x="154735" y="88022"/>
                    <a:pt x="150143" y="124765"/>
                    <a:pt x="120313" y="134708"/>
                  </a:cubicBezTo>
                  <a:lnTo>
                    <a:pt x="0" y="16468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08" name="Forma livre: Forma 1807">
              <a:extLst>
                <a:ext uri="{FF2B5EF4-FFF2-40B4-BE49-F238E27FC236}">
                  <a16:creationId xmlns:a16="http://schemas.microsoft.com/office/drawing/2014/main" id="{31C139F0-8197-8A81-AEB8-B1B26D3740C9}"/>
                </a:ext>
              </a:extLst>
            </p:cNvPr>
            <p:cNvSpPr/>
            <p:nvPr/>
          </p:nvSpPr>
          <p:spPr>
            <a:xfrm>
              <a:off x="9401623" y="4352521"/>
              <a:ext cx="70502" cy="70454"/>
            </a:xfrm>
            <a:custGeom>
              <a:avLst/>
              <a:gdLst>
                <a:gd name="connsiteX0" fmla="*/ 0 w 70502"/>
                <a:gd name="connsiteY0" fmla="*/ 16099 h 70454"/>
                <a:gd name="connsiteX1" fmla="*/ 55682 w 70502"/>
                <a:gd name="connsiteY1" fmla="*/ 70455 h 70454"/>
                <a:gd name="connsiteX2" fmla="*/ 70502 w 70502"/>
                <a:gd name="connsiteY2" fmla="*/ 0 h 704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70502" h="70454">
                  <a:moveTo>
                    <a:pt x="0" y="16099"/>
                  </a:moveTo>
                  <a:lnTo>
                    <a:pt x="55682" y="70455"/>
                  </a:lnTo>
                  <a:lnTo>
                    <a:pt x="70502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09" name="Forma livre: Forma 1808">
              <a:extLst>
                <a:ext uri="{FF2B5EF4-FFF2-40B4-BE49-F238E27FC236}">
                  <a16:creationId xmlns:a16="http://schemas.microsoft.com/office/drawing/2014/main" id="{5DB64363-5F24-2DE4-1D68-1751E2B7772C}"/>
                </a:ext>
              </a:extLst>
            </p:cNvPr>
            <p:cNvSpPr/>
            <p:nvPr/>
          </p:nvSpPr>
          <p:spPr>
            <a:xfrm>
              <a:off x="9221603" y="4243856"/>
              <a:ext cx="268325" cy="104440"/>
            </a:xfrm>
            <a:custGeom>
              <a:avLst/>
              <a:gdLst>
                <a:gd name="connsiteX0" fmla="*/ 237170 w 268325"/>
                <a:gd name="connsiteY0" fmla="*/ 82623 h 104440"/>
                <a:gd name="connsiteX1" fmla="*/ 246876 w 268325"/>
                <a:gd name="connsiteY1" fmla="*/ 72585 h 104440"/>
                <a:gd name="connsiteX2" fmla="*/ 247681 w 268325"/>
                <a:gd name="connsiteY2" fmla="*/ 67756 h 104440"/>
                <a:gd name="connsiteX3" fmla="*/ 247681 w 268325"/>
                <a:gd name="connsiteY3" fmla="*/ 67424 h 104440"/>
                <a:gd name="connsiteX4" fmla="*/ 247681 w 268325"/>
                <a:gd name="connsiteY4" fmla="*/ 67424 h 104440"/>
                <a:gd name="connsiteX5" fmla="*/ 251990 w 268325"/>
                <a:gd name="connsiteY5" fmla="*/ 25047 h 104440"/>
                <a:gd name="connsiteX6" fmla="*/ 256725 w 268325"/>
                <a:gd name="connsiteY6" fmla="*/ 25047 h 104440"/>
                <a:gd name="connsiteX7" fmla="*/ 268325 w 268325"/>
                <a:gd name="connsiteY7" fmla="*/ 12595 h 104440"/>
                <a:gd name="connsiteX8" fmla="*/ 256819 w 268325"/>
                <a:gd name="connsiteY8" fmla="*/ 189 h 104440"/>
                <a:gd name="connsiteX9" fmla="*/ 256819 w 268325"/>
                <a:gd name="connsiteY9" fmla="*/ 0 h 104440"/>
                <a:gd name="connsiteX10" fmla="*/ 11459 w 268325"/>
                <a:gd name="connsiteY10" fmla="*/ 0 h 104440"/>
                <a:gd name="connsiteX11" fmla="*/ 0 w 268325"/>
                <a:gd name="connsiteY11" fmla="*/ 12453 h 104440"/>
                <a:gd name="connsiteX12" fmla="*/ 11506 w 268325"/>
                <a:gd name="connsiteY12" fmla="*/ 24858 h 104440"/>
                <a:gd name="connsiteX13" fmla="*/ 20313 w 268325"/>
                <a:gd name="connsiteY13" fmla="*/ 24858 h 104440"/>
                <a:gd name="connsiteX14" fmla="*/ 97396 w 268325"/>
                <a:gd name="connsiteY14" fmla="*/ 87358 h 104440"/>
                <a:gd name="connsiteX15" fmla="*/ 156914 w 268325"/>
                <a:gd name="connsiteY15" fmla="*/ 101042 h 104440"/>
                <a:gd name="connsiteX16" fmla="*/ 237406 w 268325"/>
                <a:gd name="connsiteY16" fmla="*/ 82671 h 104440"/>
                <a:gd name="connsiteX17" fmla="*/ 237170 w 268325"/>
                <a:gd name="connsiteY17" fmla="*/ 82576 h 1044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268325" h="104440">
                  <a:moveTo>
                    <a:pt x="237170" y="82623"/>
                  </a:moveTo>
                  <a:cubicBezTo>
                    <a:pt x="237170" y="82623"/>
                    <a:pt x="244319" y="81392"/>
                    <a:pt x="246876" y="72585"/>
                  </a:cubicBezTo>
                  <a:lnTo>
                    <a:pt x="247681" y="67756"/>
                  </a:lnTo>
                  <a:cubicBezTo>
                    <a:pt x="247681" y="67756"/>
                    <a:pt x="247681" y="67519"/>
                    <a:pt x="247681" y="67424"/>
                  </a:cubicBezTo>
                  <a:lnTo>
                    <a:pt x="247681" y="67424"/>
                  </a:lnTo>
                  <a:cubicBezTo>
                    <a:pt x="247681" y="67424"/>
                    <a:pt x="251990" y="25047"/>
                    <a:pt x="251990" y="25047"/>
                  </a:cubicBezTo>
                  <a:lnTo>
                    <a:pt x="256725" y="25047"/>
                  </a:lnTo>
                  <a:cubicBezTo>
                    <a:pt x="263069" y="25047"/>
                    <a:pt x="268373" y="18939"/>
                    <a:pt x="268325" y="12595"/>
                  </a:cubicBezTo>
                  <a:cubicBezTo>
                    <a:pt x="268325" y="6250"/>
                    <a:pt x="263164" y="189"/>
                    <a:pt x="256819" y="189"/>
                  </a:cubicBezTo>
                  <a:cubicBezTo>
                    <a:pt x="256819" y="189"/>
                    <a:pt x="256819" y="0"/>
                    <a:pt x="256819" y="0"/>
                  </a:cubicBezTo>
                  <a:lnTo>
                    <a:pt x="11459" y="0"/>
                  </a:lnTo>
                  <a:cubicBezTo>
                    <a:pt x="5114" y="0"/>
                    <a:pt x="-47" y="6108"/>
                    <a:pt x="0" y="12453"/>
                  </a:cubicBezTo>
                  <a:cubicBezTo>
                    <a:pt x="0" y="18797"/>
                    <a:pt x="5161" y="24858"/>
                    <a:pt x="11506" y="24858"/>
                  </a:cubicBezTo>
                  <a:lnTo>
                    <a:pt x="20313" y="24858"/>
                  </a:lnTo>
                  <a:cubicBezTo>
                    <a:pt x="47633" y="47964"/>
                    <a:pt x="97396" y="87358"/>
                    <a:pt x="97396" y="87358"/>
                  </a:cubicBezTo>
                  <a:cubicBezTo>
                    <a:pt x="125758" y="108144"/>
                    <a:pt x="135228" y="106156"/>
                    <a:pt x="156914" y="101042"/>
                  </a:cubicBezTo>
                  <a:lnTo>
                    <a:pt x="237406" y="82671"/>
                  </a:lnTo>
                  <a:lnTo>
                    <a:pt x="237170" y="82576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10" name="Forma livre: Forma 1809">
              <a:extLst>
                <a:ext uri="{FF2B5EF4-FFF2-40B4-BE49-F238E27FC236}">
                  <a16:creationId xmlns:a16="http://schemas.microsoft.com/office/drawing/2014/main" id="{6C142E26-B6D3-2AEF-3E70-F0C375A9DC60}"/>
                </a:ext>
              </a:extLst>
            </p:cNvPr>
            <p:cNvSpPr/>
            <p:nvPr/>
          </p:nvSpPr>
          <p:spPr>
            <a:xfrm>
              <a:off x="9558566" y="4204501"/>
              <a:ext cx="61523" cy="26760"/>
            </a:xfrm>
            <a:custGeom>
              <a:avLst/>
              <a:gdLst>
                <a:gd name="connsiteX0" fmla="*/ 52953 w 61523"/>
                <a:gd name="connsiteY0" fmla="*/ 8 h 26760"/>
                <a:gd name="connsiteX1" fmla="*/ 43767 w 61523"/>
                <a:gd name="connsiteY1" fmla="*/ 150 h 26760"/>
                <a:gd name="connsiteX2" fmla="*/ 34487 w 61523"/>
                <a:gd name="connsiteY2" fmla="*/ 481 h 26760"/>
                <a:gd name="connsiteX3" fmla="*/ 3568 w 61523"/>
                <a:gd name="connsiteY3" fmla="*/ 3654 h 26760"/>
                <a:gd name="connsiteX4" fmla="*/ 17 w 61523"/>
                <a:gd name="connsiteY4" fmla="*/ 7726 h 26760"/>
                <a:gd name="connsiteX5" fmla="*/ 17 w 61523"/>
                <a:gd name="connsiteY5" fmla="*/ 19089 h 26760"/>
                <a:gd name="connsiteX6" fmla="*/ 3568 w 61523"/>
                <a:gd name="connsiteY6" fmla="*/ 23161 h 26760"/>
                <a:gd name="connsiteX7" fmla="*/ 34487 w 61523"/>
                <a:gd name="connsiteY7" fmla="*/ 26334 h 26760"/>
                <a:gd name="connsiteX8" fmla="*/ 42962 w 61523"/>
                <a:gd name="connsiteY8" fmla="*/ 26665 h 26760"/>
                <a:gd name="connsiteX9" fmla="*/ 52811 w 61523"/>
                <a:gd name="connsiteY9" fmla="*/ 26760 h 26760"/>
                <a:gd name="connsiteX10" fmla="*/ 52906 w 61523"/>
                <a:gd name="connsiteY10" fmla="*/ 26760 h 26760"/>
                <a:gd name="connsiteX11" fmla="*/ 53000 w 61523"/>
                <a:gd name="connsiteY11" fmla="*/ 26760 h 26760"/>
                <a:gd name="connsiteX12" fmla="*/ 61523 w 61523"/>
                <a:gd name="connsiteY12" fmla="*/ 13408 h 26760"/>
                <a:gd name="connsiteX13" fmla="*/ 61523 w 61523"/>
                <a:gd name="connsiteY13" fmla="*/ 13408 h 26760"/>
                <a:gd name="connsiteX14" fmla="*/ 61523 w 61523"/>
                <a:gd name="connsiteY14" fmla="*/ 13408 h 26760"/>
                <a:gd name="connsiteX15" fmla="*/ 53048 w 61523"/>
                <a:gd name="connsiteY15" fmla="*/ 8 h 26760"/>
                <a:gd name="connsiteX16" fmla="*/ 52953 w 61523"/>
                <a:gd name="connsiteY16" fmla="*/ 8 h 267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61523" h="26760">
                  <a:moveTo>
                    <a:pt x="52953" y="8"/>
                  </a:moveTo>
                  <a:cubicBezTo>
                    <a:pt x="52953" y="8"/>
                    <a:pt x="43862" y="150"/>
                    <a:pt x="43767" y="150"/>
                  </a:cubicBezTo>
                  <a:lnTo>
                    <a:pt x="34487" y="481"/>
                  </a:lnTo>
                  <a:cubicBezTo>
                    <a:pt x="15074" y="1097"/>
                    <a:pt x="3568" y="3654"/>
                    <a:pt x="3568" y="3654"/>
                  </a:cubicBezTo>
                  <a:cubicBezTo>
                    <a:pt x="-456" y="4411"/>
                    <a:pt x="17" y="7726"/>
                    <a:pt x="17" y="7726"/>
                  </a:cubicBezTo>
                  <a:lnTo>
                    <a:pt x="17" y="19089"/>
                  </a:lnTo>
                  <a:cubicBezTo>
                    <a:pt x="17" y="19089"/>
                    <a:pt x="-456" y="22404"/>
                    <a:pt x="3568" y="23161"/>
                  </a:cubicBezTo>
                  <a:cubicBezTo>
                    <a:pt x="3568" y="23161"/>
                    <a:pt x="23597" y="26334"/>
                    <a:pt x="34487" y="26334"/>
                  </a:cubicBezTo>
                  <a:lnTo>
                    <a:pt x="42962" y="26665"/>
                  </a:lnTo>
                  <a:lnTo>
                    <a:pt x="52811" y="26760"/>
                  </a:lnTo>
                  <a:cubicBezTo>
                    <a:pt x="52811" y="26760"/>
                    <a:pt x="52906" y="26760"/>
                    <a:pt x="52906" y="26760"/>
                  </a:cubicBezTo>
                  <a:cubicBezTo>
                    <a:pt x="52906" y="26760"/>
                    <a:pt x="52906" y="26760"/>
                    <a:pt x="53000" y="26760"/>
                  </a:cubicBezTo>
                  <a:cubicBezTo>
                    <a:pt x="53947" y="26760"/>
                    <a:pt x="61476" y="27044"/>
                    <a:pt x="61523" y="13408"/>
                  </a:cubicBezTo>
                  <a:cubicBezTo>
                    <a:pt x="61523" y="13408"/>
                    <a:pt x="61523" y="13408"/>
                    <a:pt x="61523" y="13408"/>
                  </a:cubicBezTo>
                  <a:lnTo>
                    <a:pt x="61523" y="13408"/>
                  </a:lnTo>
                  <a:cubicBezTo>
                    <a:pt x="61523" y="-276"/>
                    <a:pt x="53947" y="-39"/>
                    <a:pt x="53048" y="8"/>
                  </a:cubicBezTo>
                  <a:lnTo>
                    <a:pt x="52953" y="8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11" name="Forma livre: Forma 1810">
              <a:extLst>
                <a:ext uri="{FF2B5EF4-FFF2-40B4-BE49-F238E27FC236}">
                  <a16:creationId xmlns:a16="http://schemas.microsoft.com/office/drawing/2014/main" id="{8A1F2E84-52B9-EBC8-11D7-AE832D97E0AC}"/>
                </a:ext>
              </a:extLst>
            </p:cNvPr>
            <p:cNvSpPr/>
            <p:nvPr/>
          </p:nvSpPr>
          <p:spPr>
            <a:xfrm>
              <a:off x="9299160" y="4268950"/>
              <a:ext cx="174811" cy="4734"/>
            </a:xfrm>
            <a:custGeom>
              <a:avLst/>
              <a:gdLst>
                <a:gd name="connsiteX0" fmla="*/ 174811 w 174811"/>
                <a:gd name="connsiteY0" fmla="*/ 0 h 4734"/>
                <a:gd name="connsiteX1" fmla="*/ 0 w 174811"/>
                <a:gd name="connsiteY1" fmla="*/ 0 h 47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74811" h="4734">
                  <a:moveTo>
                    <a:pt x="174811" y="0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812" name="Gráfico 19">
            <a:extLst>
              <a:ext uri="{FF2B5EF4-FFF2-40B4-BE49-F238E27FC236}">
                <a16:creationId xmlns:a16="http://schemas.microsoft.com/office/drawing/2014/main" id="{66830E20-F347-1773-427F-FE64EA47A303}"/>
              </a:ext>
            </a:extLst>
          </p:cNvPr>
          <p:cNvGrpSpPr/>
          <p:nvPr/>
        </p:nvGrpSpPr>
        <p:grpSpPr>
          <a:xfrm>
            <a:off x="8004636" y="4174921"/>
            <a:ext cx="332304" cy="312205"/>
            <a:chOff x="8004636" y="4174921"/>
            <a:chExt cx="332304" cy="312205"/>
          </a:xfrm>
          <a:noFill/>
        </p:grpSpPr>
        <p:sp>
          <p:nvSpPr>
            <p:cNvPr id="1813" name="Forma livre: Forma 1812">
              <a:extLst>
                <a:ext uri="{FF2B5EF4-FFF2-40B4-BE49-F238E27FC236}">
                  <a16:creationId xmlns:a16="http://schemas.microsoft.com/office/drawing/2014/main" id="{7B64DBA7-C3CD-85F5-9CB6-1D1900036742}"/>
                </a:ext>
              </a:extLst>
            </p:cNvPr>
            <p:cNvSpPr/>
            <p:nvPr/>
          </p:nvSpPr>
          <p:spPr>
            <a:xfrm>
              <a:off x="8108105" y="4174921"/>
              <a:ext cx="228836" cy="186974"/>
            </a:xfrm>
            <a:custGeom>
              <a:avLst/>
              <a:gdLst>
                <a:gd name="connsiteX0" fmla="*/ 228836 w 228836"/>
                <a:gd name="connsiteY0" fmla="*/ 136501 h 186974"/>
                <a:gd name="connsiteX1" fmla="*/ 205541 w 228836"/>
                <a:gd name="connsiteY1" fmla="*/ 113205 h 186974"/>
                <a:gd name="connsiteX2" fmla="*/ 178978 w 228836"/>
                <a:gd name="connsiteY2" fmla="*/ 106150 h 186974"/>
                <a:gd name="connsiteX3" fmla="*/ 175900 w 228836"/>
                <a:gd name="connsiteY3" fmla="*/ 76510 h 186974"/>
                <a:gd name="connsiteX4" fmla="*/ 123296 w 228836"/>
                <a:gd name="connsiteY4" fmla="*/ 23906 h 186974"/>
                <a:gd name="connsiteX5" fmla="*/ 0 w 228836"/>
                <a:gd name="connsiteY5" fmla="*/ 14389 h 186974"/>
                <a:gd name="connsiteX6" fmla="*/ 72017 w 228836"/>
                <a:gd name="connsiteY6" fmla="*/ 47769 h 186974"/>
                <a:gd name="connsiteX7" fmla="*/ 74243 w 228836"/>
                <a:gd name="connsiteY7" fmla="*/ 86169 h 186974"/>
                <a:gd name="connsiteX8" fmla="*/ 52462 w 228836"/>
                <a:gd name="connsiteY8" fmla="*/ 107808 h 186974"/>
                <a:gd name="connsiteX9" fmla="*/ 99480 w 228836"/>
                <a:gd name="connsiteY9" fmla="*/ 154825 h 186974"/>
                <a:gd name="connsiteX10" fmla="*/ 119792 w 228836"/>
                <a:gd name="connsiteY10" fmla="*/ 134512 h 186974"/>
                <a:gd name="connsiteX11" fmla="*/ 149432 w 228836"/>
                <a:gd name="connsiteY11" fmla="*/ 135696 h 186974"/>
                <a:gd name="connsiteX12" fmla="*/ 155067 w 228836"/>
                <a:gd name="connsiteY12" fmla="*/ 163679 h 186974"/>
                <a:gd name="connsiteX13" fmla="*/ 178362 w 228836"/>
                <a:gd name="connsiteY13" fmla="*/ 186974 h 186974"/>
                <a:gd name="connsiteX14" fmla="*/ 228836 w 228836"/>
                <a:gd name="connsiteY14" fmla="*/ 136501 h 1869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28836" h="186974">
                  <a:moveTo>
                    <a:pt x="228836" y="136501"/>
                  </a:moveTo>
                  <a:lnTo>
                    <a:pt x="205541" y="113205"/>
                  </a:lnTo>
                  <a:cubicBezTo>
                    <a:pt x="205541" y="113205"/>
                    <a:pt x="195787" y="102647"/>
                    <a:pt x="178978" y="106150"/>
                  </a:cubicBezTo>
                  <a:cubicBezTo>
                    <a:pt x="178978" y="106150"/>
                    <a:pt x="186033" y="86690"/>
                    <a:pt x="175900" y="76510"/>
                  </a:cubicBezTo>
                  <a:lnTo>
                    <a:pt x="123296" y="23906"/>
                  </a:lnTo>
                  <a:cubicBezTo>
                    <a:pt x="123296" y="23906"/>
                    <a:pt x="82765" y="-22827"/>
                    <a:pt x="0" y="14389"/>
                  </a:cubicBezTo>
                  <a:cubicBezTo>
                    <a:pt x="0" y="14389"/>
                    <a:pt x="55777" y="27315"/>
                    <a:pt x="72017" y="47769"/>
                  </a:cubicBezTo>
                  <a:cubicBezTo>
                    <a:pt x="82197" y="60601"/>
                    <a:pt x="84091" y="76368"/>
                    <a:pt x="74243" y="86169"/>
                  </a:cubicBezTo>
                  <a:cubicBezTo>
                    <a:pt x="61790" y="98622"/>
                    <a:pt x="52462" y="107808"/>
                    <a:pt x="52462" y="107808"/>
                  </a:cubicBezTo>
                  <a:lnTo>
                    <a:pt x="99480" y="154825"/>
                  </a:lnTo>
                  <a:cubicBezTo>
                    <a:pt x="99480" y="154825"/>
                    <a:pt x="106250" y="148054"/>
                    <a:pt x="119792" y="134512"/>
                  </a:cubicBezTo>
                  <a:cubicBezTo>
                    <a:pt x="133334" y="120970"/>
                    <a:pt x="149432" y="135696"/>
                    <a:pt x="149432" y="135696"/>
                  </a:cubicBezTo>
                  <a:cubicBezTo>
                    <a:pt x="144555" y="153499"/>
                    <a:pt x="155067" y="163679"/>
                    <a:pt x="155067" y="163679"/>
                  </a:cubicBezTo>
                  <a:lnTo>
                    <a:pt x="178362" y="186974"/>
                  </a:lnTo>
                  <a:lnTo>
                    <a:pt x="228836" y="136501"/>
                  </a:ln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14" name="Forma livre: Forma 1813">
              <a:extLst>
                <a:ext uri="{FF2B5EF4-FFF2-40B4-BE49-F238E27FC236}">
                  <a16:creationId xmlns:a16="http://schemas.microsoft.com/office/drawing/2014/main" id="{E334463E-C5B5-4F07-3B54-78781F28D985}"/>
                </a:ext>
              </a:extLst>
            </p:cNvPr>
            <p:cNvSpPr/>
            <p:nvPr/>
          </p:nvSpPr>
          <p:spPr>
            <a:xfrm>
              <a:off x="8004636" y="4306735"/>
              <a:ext cx="179747" cy="180392"/>
            </a:xfrm>
            <a:custGeom>
              <a:avLst/>
              <a:gdLst>
                <a:gd name="connsiteX0" fmla="*/ 179747 w 179747"/>
                <a:gd name="connsiteY0" fmla="*/ 33902 h 180392"/>
                <a:gd name="connsiteX1" fmla="*/ 37038 w 179747"/>
                <a:gd name="connsiteY1" fmla="*/ 176610 h 180392"/>
                <a:gd name="connsiteX2" fmla="*/ 18667 w 179747"/>
                <a:gd name="connsiteY2" fmla="*/ 176610 h 180392"/>
                <a:gd name="connsiteX3" fmla="*/ 3800 w 179747"/>
                <a:gd name="connsiteY3" fmla="*/ 161743 h 180392"/>
                <a:gd name="connsiteX4" fmla="*/ 3800 w 179747"/>
                <a:gd name="connsiteY4" fmla="*/ 143372 h 180392"/>
                <a:gd name="connsiteX5" fmla="*/ 147171 w 179747"/>
                <a:gd name="connsiteY5" fmla="*/ 0 h 1803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79747" h="180392">
                  <a:moveTo>
                    <a:pt x="179747" y="33902"/>
                  </a:moveTo>
                  <a:lnTo>
                    <a:pt x="37038" y="176610"/>
                  </a:lnTo>
                  <a:cubicBezTo>
                    <a:pt x="31972" y="181677"/>
                    <a:pt x="23734" y="181629"/>
                    <a:pt x="18667" y="176610"/>
                  </a:cubicBezTo>
                  <a:lnTo>
                    <a:pt x="3800" y="161743"/>
                  </a:lnTo>
                  <a:cubicBezTo>
                    <a:pt x="-1267" y="156677"/>
                    <a:pt x="-1267" y="148438"/>
                    <a:pt x="3800" y="143372"/>
                  </a:cubicBezTo>
                  <a:lnTo>
                    <a:pt x="147171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815" name="Gráfico 19">
            <a:extLst>
              <a:ext uri="{FF2B5EF4-FFF2-40B4-BE49-F238E27FC236}">
                <a16:creationId xmlns:a16="http://schemas.microsoft.com/office/drawing/2014/main" id="{15B3FB7C-B4A6-ECC7-E032-584695325B3E}"/>
              </a:ext>
            </a:extLst>
          </p:cNvPr>
          <p:cNvGrpSpPr/>
          <p:nvPr/>
        </p:nvGrpSpPr>
        <p:grpSpPr>
          <a:xfrm>
            <a:off x="8620473" y="4192814"/>
            <a:ext cx="334734" cy="276460"/>
            <a:chOff x="8620473" y="4192814"/>
            <a:chExt cx="334734" cy="276460"/>
          </a:xfrm>
          <a:noFill/>
        </p:grpSpPr>
        <p:grpSp>
          <p:nvGrpSpPr>
            <p:cNvPr id="1816" name="Gráfico 19">
              <a:extLst>
                <a:ext uri="{FF2B5EF4-FFF2-40B4-BE49-F238E27FC236}">
                  <a16:creationId xmlns:a16="http://schemas.microsoft.com/office/drawing/2014/main" id="{67D27026-EF8B-6518-79DF-AA8534FD7C0B}"/>
                </a:ext>
              </a:extLst>
            </p:cNvPr>
            <p:cNvGrpSpPr/>
            <p:nvPr/>
          </p:nvGrpSpPr>
          <p:grpSpPr>
            <a:xfrm>
              <a:off x="8756497" y="4192814"/>
              <a:ext cx="198710" cy="156191"/>
              <a:chOff x="8756497" y="4192814"/>
              <a:chExt cx="198710" cy="156191"/>
            </a:xfrm>
            <a:noFill/>
          </p:grpSpPr>
          <p:sp>
            <p:nvSpPr>
              <p:cNvPr id="1817" name="Forma livre: Forma 1816">
                <a:extLst>
                  <a:ext uri="{FF2B5EF4-FFF2-40B4-BE49-F238E27FC236}">
                    <a16:creationId xmlns:a16="http://schemas.microsoft.com/office/drawing/2014/main" id="{002A1C03-B33E-3D95-EDB7-84476A7F0F39}"/>
                  </a:ext>
                </a:extLst>
              </p:cNvPr>
              <p:cNvSpPr/>
              <p:nvPr/>
            </p:nvSpPr>
            <p:spPr>
              <a:xfrm>
                <a:off x="8856119" y="4249916"/>
                <a:ext cx="99088" cy="99088"/>
              </a:xfrm>
              <a:custGeom>
                <a:avLst/>
                <a:gdLst>
                  <a:gd name="connsiteX0" fmla="*/ 0 w 99088"/>
                  <a:gd name="connsiteY0" fmla="*/ 52510 h 99088"/>
                  <a:gd name="connsiteX1" fmla="*/ 44413 w 99088"/>
                  <a:gd name="connsiteY1" fmla="*/ 96923 h 99088"/>
                  <a:gd name="connsiteX2" fmla="*/ 54877 w 99088"/>
                  <a:gd name="connsiteY2" fmla="*/ 96923 h 99088"/>
                  <a:gd name="connsiteX3" fmla="*/ 96923 w 99088"/>
                  <a:gd name="connsiteY3" fmla="*/ 54877 h 99088"/>
                  <a:gd name="connsiteX4" fmla="*/ 96923 w 99088"/>
                  <a:gd name="connsiteY4" fmla="*/ 44366 h 99088"/>
                  <a:gd name="connsiteX5" fmla="*/ 52557 w 99088"/>
                  <a:gd name="connsiteY5" fmla="*/ 0 h 990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99088" h="99088">
                    <a:moveTo>
                      <a:pt x="0" y="52510"/>
                    </a:moveTo>
                    <a:lnTo>
                      <a:pt x="44413" y="96923"/>
                    </a:lnTo>
                    <a:cubicBezTo>
                      <a:pt x="47301" y="99811"/>
                      <a:pt x="51989" y="99811"/>
                      <a:pt x="54877" y="96923"/>
                    </a:cubicBezTo>
                    <a:lnTo>
                      <a:pt x="96923" y="54877"/>
                    </a:lnTo>
                    <a:cubicBezTo>
                      <a:pt x="99811" y="51989"/>
                      <a:pt x="99811" y="47254"/>
                      <a:pt x="96923" y="44366"/>
                    </a:cubicBezTo>
                    <a:lnTo>
                      <a:pt x="52557" y="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818" name="Forma livre: Forma 1817">
                <a:extLst>
                  <a:ext uri="{FF2B5EF4-FFF2-40B4-BE49-F238E27FC236}">
                    <a16:creationId xmlns:a16="http://schemas.microsoft.com/office/drawing/2014/main" id="{336E435F-6204-E322-1FA7-EC7A58A1DE3B}"/>
                  </a:ext>
                </a:extLst>
              </p:cNvPr>
              <p:cNvSpPr/>
              <p:nvPr/>
            </p:nvSpPr>
            <p:spPr>
              <a:xfrm>
                <a:off x="8756497" y="4192814"/>
                <a:ext cx="140057" cy="140010"/>
              </a:xfrm>
              <a:custGeom>
                <a:avLst/>
                <a:gdLst>
                  <a:gd name="connsiteX0" fmla="*/ 19366 w 140057"/>
                  <a:gd name="connsiteY0" fmla="*/ 140010 h 140010"/>
                  <a:gd name="connsiteX1" fmla="*/ 66146 w 140057"/>
                  <a:gd name="connsiteY1" fmla="*/ 93230 h 140010"/>
                  <a:gd name="connsiteX2" fmla="*/ 85559 w 140057"/>
                  <a:gd name="connsiteY2" fmla="*/ 92803 h 140010"/>
                  <a:gd name="connsiteX3" fmla="*/ 135938 w 140057"/>
                  <a:gd name="connsiteY3" fmla="*/ 42472 h 140010"/>
                  <a:gd name="connsiteX4" fmla="*/ 135938 w 140057"/>
                  <a:gd name="connsiteY4" fmla="*/ 22538 h 140010"/>
                  <a:gd name="connsiteX5" fmla="*/ 117519 w 140057"/>
                  <a:gd name="connsiteY5" fmla="*/ 4119 h 140010"/>
                  <a:gd name="connsiteX6" fmla="*/ 97586 w 140057"/>
                  <a:gd name="connsiteY6" fmla="*/ 4119 h 140010"/>
                  <a:gd name="connsiteX7" fmla="*/ 47207 w 140057"/>
                  <a:gd name="connsiteY7" fmla="*/ 54498 h 140010"/>
                  <a:gd name="connsiteX8" fmla="*/ 46828 w 140057"/>
                  <a:gd name="connsiteY8" fmla="*/ 73911 h 140010"/>
                  <a:gd name="connsiteX9" fmla="*/ 0 w 140057"/>
                  <a:gd name="connsiteY9" fmla="*/ 120692 h 1400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40057" h="140010">
                    <a:moveTo>
                      <a:pt x="19366" y="140010"/>
                    </a:moveTo>
                    <a:lnTo>
                      <a:pt x="66146" y="93230"/>
                    </a:lnTo>
                    <a:cubicBezTo>
                      <a:pt x="71639" y="98249"/>
                      <a:pt x="80256" y="98154"/>
                      <a:pt x="85559" y="92803"/>
                    </a:cubicBezTo>
                    <a:lnTo>
                      <a:pt x="135938" y="42472"/>
                    </a:lnTo>
                    <a:cubicBezTo>
                      <a:pt x="141430" y="36979"/>
                      <a:pt x="141430" y="28030"/>
                      <a:pt x="135938" y="22538"/>
                    </a:cubicBezTo>
                    <a:lnTo>
                      <a:pt x="117519" y="4119"/>
                    </a:lnTo>
                    <a:cubicBezTo>
                      <a:pt x="112027" y="-1373"/>
                      <a:pt x="103078" y="-1373"/>
                      <a:pt x="97586" y="4119"/>
                    </a:cubicBezTo>
                    <a:lnTo>
                      <a:pt x="47207" y="54498"/>
                    </a:lnTo>
                    <a:cubicBezTo>
                      <a:pt x="41904" y="59801"/>
                      <a:pt x="41762" y="68419"/>
                      <a:pt x="46828" y="73911"/>
                    </a:cubicBezTo>
                    <a:lnTo>
                      <a:pt x="0" y="120692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819" name="Forma livre: Forma 1818">
              <a:extLst>
                <a:ext uri="{FF2B5EF4-FFF2-40B4-BE49-F238E27FC236}">
                  <a16:creationId xmlns:a16="http://schemas.microsoft.com/office/drawing/2014/main" id="{7BAB5AB4-B5C3-E105-0B81-2562265AC791}"/>
                </a:ext>
              </a:extLst>
            </p:cNvPr>
            <p:cNvSpPr/>
            <p:nvPr/>
          </p:nvSpPr>
          <p:spPr>
            <a:xfrm>
              <a:off x="8898448" y="4277520"/>
              <a:ext cx="20880" cy="20880"/>
            </a:xfrm>
            <a:custGeom>
              <a:avLst/>
              <a:gdLst>
                <a:gd name="connsiteX0" fmla="*/ 0 w 20880"/>
                <a:gd name="connsiteY0" fmla="*/ 0 h 20880"/>
                <a:gd name="connsiteX1" fmla="*/ 20881 w 20880"/>
                <a:gd name="connsiteY1" fmla="*/ 20881 h 208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0880" h="20880">
                  <a:moveTo>
                    <a:pt x="0" y="0"/>
                  </a:moveTo>
                  <a:lnTo>
                    <a:pt x="20881" y="20881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20" name="Forma livre: Forma 1819">
              <a:extLst>
                <a:ext uri="{FF2B5EF4-FFF2-40B4-BE49-F238E27FC236}">
                  <a16:creationId xmlns:a16="http://schemas.microsoft.com/office/drawing/2014/main" id="{789FC592-0604-CCA9-3E9B-A5C5954E18C9}"/>
                </a:ext>
              </a:extLst>
            </p:cNvPr>
            <p:cNvSpPr/>
            <p:nvPr/>
          </p:nvSpPr>
          <p:spPr>
            <a:xfrm>
              <a:off x="8620473" y="4310752"/>
              <a:ext cx="158455" cy="158521"/>
            </a:xfrm>
            <a:custGeom>
              <a:avLst/>
              <a:gdLst>
                <a:gd name="connsiteX0" fmla="*/ 63013 w 158455"/>
                <a:gd name="connsiteY0" fmla="*/ 153558 h 158521"/>
                <a:gd name="connsiteX1" fmla="*/ 97009 w 158455"/>
                <a:gd name="connsiteY1" fmla="*/ 119562 h 158521"/>
                <a:gd name="connsiteX2" fmla="*/ 135740 w 158455"/>
                <a:gd name="connsiteY2" fmla="*/ 65064 h 158521"/>
                <a:gd name="connsiteX3" fmla="*/ 141375 w 158455"/>
                <a:gd name="connsiteY3" fmla="*/ 51238 h 158521"/>
                <a:gd name="connsiteX4" fmla="*/ 154680 w 158455"/>
                <a:gd name="connsiteY4" fmla="*/ 35944 h 158521"/>
                <a:gd name="connsiteX5" fmla="*/ 157000 w 158455"/>
                <a:gd name="connsiteY5" fmla="*/ 25244 h 158521"/>
                <a:gd name="connsiteX6" fmla="*/ 133183 w 158455"/>
                <a:gd name="connsiteY6" fmla="*/ 1427 h 158521"/>
                <a:gd name="connsiteX7" fmla="*/ 122483 w 158455"/>
                <a:gd name="connsiteY7" fmla="*/ 3795 h 158521"/>
                <a:gd name="connsiteX8" fmla="*/ 107189 w 158455"/>
                <a:gd name="connsiteY8" fmla="*/ 17100 h 158521"/>
                <a:gd name="connsiteX9" fmla="*/ 93363 w 158455"/>
                <a:gd name="connsiteY9" fmla="*/ 22734 h 158521"/>
                <a:gd name="connsiteX10" fmla="*/ 38912 w 158455"/>
                <a:gd name="connsiteY10" fmla="*/ 61465 h 158521"/>
                <a:gd name="connsiteX11" fmla="*/ 4916 w 158455"/>
                <a:gd name="connsiteY11" fmla="*/ 95462 h 158521"/>
                <a:gd name="connsiteX12" fmla="*/ 18126 w 158455"/>
                <a:gd name="connsiteY12" fmla="*/ 140301 h 158521"/>
                <a:gd name="connsiteX13" fmla="*/ 18126 w 158455"/>
                <a:gd name="connsiteY13" fmla="*/ 140301 h 158521"/>
                <a:gd name="connsiteX14" fmla="*/ 18174 w 158455"/>
                <a:gd name="connsiteY14" fmla="*/ 140348 h 158521"/>
                <a:gd name="connsiteX15" fmla="*/ 18174 w 158455"/>
                <a:gd name="connsiteY15" fmla="*/ 140396 h 158521"/>
                <a:gd name="connsiteX16" fmla="*/ 18174 w 158455"/>
                <a:gd name="connsiteY16" fmla="*/ 140396 h 158521"/>
                <a:gd name="connsiteX17" fmla="*/ 63013 w 158455"/>
                <a:gd name="connsiteY17" fmla="*/ 153606 h 1585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58455" h="158521">
                  <a:moveTo>
                    <a:pt x="63013" y="153558"/>
                  </a:moveTo>
                  <a:lnTo>
                    <a:pt x="97009" y="119562"/>
                  </a:lnTo>
                  <a:cubicBezTo>
                    <a:pt x="135362" y="81210"/>
                    <a:pt x="135740" y="65064"/>
                    <a:pt x="135740" y="65064"/>
                  </a:cubicBezTo>
                  <a:cubicBezTo>
                    <a:pt x="136877" y="57062"/>
                    <a:pt x="141375" y="51238"/>
                    <a:pt x="141375" y="51238"/>
                  </a:cubicBezTo>
                  <a:lnTo>
                    <a:pt x="154680" y="35944"/>
                  </a:lnTo>
                  <a:cubicBezTo>
                    <a:pt x="161498" y="29173"/>
                    <a:pt x="157000" y="25244"/>
                    <a:pt x="157000" y="25244"/>
                  </a:cubicBezTo>
                  <a:lnTo>
                    <a:pt x="133183" y="1427"/>
                  </a:lnTo>
                  <a:cubicBezTo>
                    <a:pt x="133183" y="1427"/>
                    <a:pt x="129254" y="-3024"/>
                    <a:pt x="122483" y="3795"/>
                  </a:cubicBezTo>
                  <a:lnTo>
                    <a:pt x="107189" y="17100"/>
                  </a:lnTo>
                  <a:cubicBezTo>
                    <a:pt x="107189" y="17100"/>
                    <a:pt x="101365" y="21645"/>
                    <a:pt x="93363" y="22734"/>
                  </a:cubicBezTo>
                  <a:cubicBezTo>
                    <a:pt x="93363" y="22734"/>
                    <a:pt x="77265" y="23066"/>
                    <a:pt x="38912" y="61465"/>
                  </a:cubicBezTo>
                  <a:lnTo>
                    <a:pt x="4916" y="95462"/>
                  </a:lnTo>
                  <a:cubicBezTo>
                    <a:pt x="4916" y="95462"/>
                    <a:pt x="-12461" y="109666"/>
                    <a:pt x="18126" y="140301"/>
                  </a:cubicBezTo>
                  <a:lnTo>
                    <a:pt x="18126" y="140301"/>
                  </a:lnTo>
                  <a:cubicBezTo>
                    <a:pt x="18126" y="140301"/>
                    <a:pt x="18174" y="140301"/>
                    <a:pt x="18174" y="140348"/>
                  </a:cubicBezTo>
                  <a:cubicBezTo>
                    <a:pt x="18174" y="140348"/>
                    <a:pt x="18174" y="140348"/>
                    <a:pt x="18174" y="140396"/>
                  </a:cubicBezTo>
                  <a:lnTo>
                    <a:pt x="18174" y="140396"/>
                  </a:lnTo>
                  <a:cubicBezTo>
                    <a:pt x="48855" y="170983"/>
                    <a:pt x="63013" y="153606"/>
                    <a:pt x="63013" y="153606"/>
                  </a:cubicBez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821" name="Gráfico 19">
            <a:extLst>
              <a:ext uri="{FF2B5EF4-FFF2-40B4-BE49-F238E27FC236}">
                <a16:creationId xmlns:a16="http://schemas.microsoft.com/office/drawing/2014/main" id="{0F82F599-0421-5567-FA49-8774CBDD4F0A}"/>
              </a:ext>
            </a:extLst>
          </p:cNvPr>
          <p:cNvGrpSpPr/>
          <p:nvPr/>
        </p:nvGrpSpPr>
        <p:grpSpPr>
          <a:xfrm>
            <a:off x="9309482" y="5681598"/>
            <a:ext cx="190767" cy="393088"/>
            <a:chOff x="9309482" y="5681598"/>
            <a:chExt cx="190767" cy="393088"/>
          </a:xfrm>
          <a:noFill/>
        </p:grpSpPr>
        <p:sp>
          <p:nvSpPr>
            <p:cNvPr id="1822" name="Forma livre: Forma 1821">
              <a:extLst>
                <a:ext uri="{FF2B5EF4-FFF2-40B4-BE49-F238E27FC236}">
                  <a16:creationId xmlns:a16="http://schemas.microsoft.com/office/drawing/2014/main" id="{043C6796-52AD-C0CB-E3CF-7811B2E93249}"/>
                </a:ext>
              </a:extLst>
            </p:cNvPr>
            <p:cNvSpPr/>
            <p:nvPr/>
          </p:nvSpPr>
          <p:spPr>
            <a:xfrm>
              <a:off x="9309482" y="5844430"/>
              <a:ext cx="190767" cy="230256"/>
            </a:xfrm>
            <a:custGeom>
              <a:avLst/>
              <a:gdLst>
                <a:gd name="connsiteX0" fmla="*/ 67519 w 190767"/>
                <a:gd name="connsiteY0" fmla="*/ 0 h 230256"/>
                <a:gd name="connsiteX1" fmla="*/ 67188 w 190767"/>
                <a:gd name="connsiteY1" fmla="*/ 0 h 230256"/>
                <a:gd name="connsiteX2" fmla="*/ 0 w 190767"/>
                <a:gd name="connsiteY2" fmla="*/ 40957 h 230256"/>
                <a:gd name="connsiteX3" fmla="*/ 96733 w 190767"/>
                <a:gd name="connsiteY3" fmla="*/ 230257 h 230256"/>
                <a:gd name="connsiteX4" fmla="*/ 190768 w 190767"/>
                <a:gd name="connsiteY4" fmla="*/ 35606 h 230256"/>
                <a:gd name="connsiteX5" fmla="*/ 125616 w 190767"/>
                <a:gd name="connsiteY5" fmla="*/ 1373 h 2302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90767" h="230256">
                  <a:moveTo>
                    <a:pt x="67519" y="0"/>
                  </a:moveTo>
                  <a:lnTo>
                    <a:pt x="67188" y="0"/>
                  </a:lnTo>
                  <a:cubicBezTo>
                    <a:pt x="67188" y="0"/>
                    <a:pt x="9422" y="11411"/>
                    <a:pt x="0" y="40957"/>
                  </a:cubicBezTo>
                  <a:lnTo>
                    <a:pt x="96733" y="230257"/>
                  </a:lnTo>
                  <a:lnTo>
                    <a:pt x="190768" y="35606"/>
                  </a:lnTo>
                  <a:cubicBezTo>
                    <a:pt x="190768" y="35606"/>
                    <a:pt x="171307" y="11411"/>
                    <a:pt x="125616" y="1373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23" name="Forma livre: Forma 1822">
              <a:extLst>
                <a:ext uri="{FF2B5EF4-FFF2-40B4-BE49-F238E27FC236}">
                  <a16:creationId xmlns:a16="http://schemas.microsoft.com/office/drawing/2014/main" id="{B24C2A51-30AC-E965-2A52-145A56ADC9BB}"/>
                </a:ext>
              </a:extLst>
            </p:cNvPr>
            <p:cNvSpPr/>
            <p:nvPr/>
          </p:nvSpPr>
          <p:spPr>
            <a:xfrm>
              <a:off x="9374066" y="5748454"/>
              <a:ext cx="61648" cy="61648"/>
            </a:xfrm>
            <a:custGeom>
              <a:avLst/>
              <a:gdLst>
                <a:gd name="connsiteX0" fmla="*/ 61648 w 61648"/>
                <a:gd name="connsiteY0" fmla="*/ 30824 h 61648"/>
                <a:gd name="connsiteX1" fmla="*/ 30824 w 61648"/>
                <a:gd name="connsiteY1" fmla="*/ 61648 h 61648"/>
                <a:gd name="connsiteX2" fmla="*/ 0 w 61648"/>
                <a:gd name="connsiteY2" fmla="*/ 30824 h 61648"/>
                <a:gd name="connsiteX3" fmla="*/ 30824 w 61648"/>
                <a:gd name="connsiteY3" fmla="*/ 0 h 61648"/>
                <a:gd name="connsiteX4" fmla="*/ 61648 w 61648"/>
                <a:gd name="connsiteY4" fmla="*/ 30824 h 616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1648" h="61648">
                  <a:moveTo>
                    <a:pt x="61648" y="30824"/>
                  </a:moveTo>
                  <a:cubicBezTo>
                    <a:pt x="61648" y="47870"/>
                    <a:pt x="47822" y="61648"/>
                    <a:pt x="30824" y="61648"/>
                  </a:cubicBezTo>
                  <a:cubicBezTo>
                    <a:pt x="13826" y="61648"/>
                    <a:pt x="0" y="47822"/>
                    <a:pt x="0" y="30824"/>
                  </a:cubicBezTo>
                  <a:cubicBezTo>
                    <a:pt x="0" y="13826"/>
                    <a:pt x="13826" y="0"/>
                    <a:pt x="30824" y="0"/>
                  </a:cubicBezTo>
                  <a:cubicBezTo>
                    <a:pt x="47822" y="0"/>
                    <a:pt x="61648" y="13826"/>
                    <a:pt x="61648" y="30824"/>
                  </a:cubicBez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24" name="Forma livre: Forma 1823">
              <a:extLst>
                <a:ext uri="{FF2B5EF4-FFF2-40B4-BE49-F238E27FC236}">
                  <a16:creationId xmlns:a16="http://schemas.microsoft.com/office/drawing/2014/main" id="{A3B0949E-8BB1-EDBE-C447-F5B804F9F2A8}"/>
                </a:ext>
              </a:extLst>
            </p:cNvPr>
            <p:cNvSpPr/>
            <p:nvPr/>
          </p:nvSpPr>
          <p:spPr>
            <a:xfrm>
              <a:off x="9404842" y="5681598"/>
              <a:ext cx="4734" cy="65577"/>
            </a:xfrm>
            <a:custGeom>
              <a:avLst/>
              <a:gdLst>
                <a:gd name="connsiteX0" fmla="*/ 0 w 4734"/>
                <a:gd name="connsiteY0" fmla="*/ 65578 h 65577"/>
                <a:gd name="connsiteX1" fmla="*/ 0 w 4734"/>
                <a:gd name="connsiteY1" fmla="*/ 0 h 655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734" h="65577">
                  <a:moveTo>
                    <a:pt x="0" y="65578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25" name="Forma livre: Forma 1824">
              <a:extLst>
                <a:ext uri="{FF2B5EF4-FFF2-40B4-BE49-F238E27FC236}">
                  <a16:creationId xmlns:a16="http://schemas.microsoft.com/office/drawing/2014/main" id="{2B0BD557-6AF2-01F2-2E8D-7C7B2F34AD79}"/>
                </a:ext>
              </a:extLst>
            </p:cNvPr>
            <p:cNvSpPr/>
            <p:nvPr/>
          </p:nvSpPr>
          <p:spPr>
            <a:xfrm>
              <a:off x="9379369" y="5879941"/>
              <a:ext cx="116951" cy="10152"/>
            </a:xfrm>
            <a:custGeom>
              <a:avLst/>
              <a:gdLst>
                <a:gd name="connsiteX0" fmla="*/ 116951 w 116951"/>
                <a:gd name="connsiteY0" fmla="*/ 0 h 10152"/>
                <a:gd name="connsiteX1" fmla="*/ 0 w 116951"/>
                <a:gd name="connsiteY1" fmla="*/ 9186 h 101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6951" h="10152">
                  <a:moveTo>
                    <a:pt x="116951" y="0"/>
                  </a:moveTo>
                  <a:cubicBezTo>
                    <a:pt x="116951" y="0"/>
                    <a:pt x="104877" y="13873"/>
                    <a:pt x="0" y="9186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826" name="Gráfico 19">
              <a:extLst>
                <a:ext uri="{FF2B5EF4-FFF2-40B4-BE49-F238E27FC236}">
                  <a16:creationId xmlns:a16="http://schemas.microsoft.com/office/drawing/2014/main" id="{477DF82A-3F6F-E387-C62C-BEF059C3AE27}"/>
                </a:ext>
              </a:extLst>
            </p:cNvPr>
            <p:cNvGrpSpPr/>
            <p:nvPr/>
          </p:nvGrpSpPr>
          <p:grpSpPr>
            <a:xfrm>
              <a:off x="9379700" y="5807308"/>
              <a:ext cx="50284" cy="34943"/>
              <a:chOff x="9379700" y="5807308"/>
              <a:chExt cx="50284" cy="34943"/>
            </a:xfrm>
          </p:grpSpPr>
          <p:sp>
            <p:nvSpPr>
              <p:cNvPr id="1827" name="Forma livre: Forma 1826">
                <a:extLst>
                  <a:ext uri="{FF2B5EF4-FFF2-40B4-BE49-F238E27FC236}">
                    <a16:creationId xmlns:a16="http://schemas.microsoft.com/office/drawing/2014/main" id="{C7FEBFBA-2174-434D-E32F-3F756AC8574B}"/>
                  </a:ext>
                </a:extLst>
              </p:cNvPr>
              <p:cNvSpPr/>
              <p:nvPr/>
            </p:nvSpPr>
            <p:spPr>
              <a:xfrm>
                <a:off x="9421414" y="5807308"/>
                <a:ext cx="8570" cy="34943"/>
              </a:xfrm>
              <a:custGeom>
                <a:avLst/>
                <a:gdLst>
                  <a:gd name="connsiteX0" fmla="*/ 8570 w 8570"/>
                  <a:gd name="connsiteY0" fmla="*/ 34943 h 34943"/>
                  <a:gd name="connsiteX1" fmla="*/ 0 w 8570"/>
                  <a:gd name="connsiteY1" fmla="*/ 0 h 349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8570" h="34943">
                    <a:moveTo>
                      <a:pt x="8570" y="34943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828" name="Forma livre: Forma 1827">
                <a:extLst>
                  <a:ext uri="{FF2B5EF4-FFF2-40B4-BE49-F238E27FC236}">
                    <a16:creationId xmlns:a16="http://schemas.microsoft.com/office/drawing/2014/main" id="{2E1D0FEC-37FF-39A2-B934-5D067DA9EE22}"/>
                  </a:ext>
                </a:extLst>
              </p:cNvPr>
              <p:cNvSpPr/>
              <p:nvPr/>
            </p:nvSpPr>
            <p:spPr>
              <a:xfrm>
                <a:off x="9379700" y="5807308"/>
                <a:ext cx="8617" cy="34943"/>
              </a:xfrm>
              <a:custGeom>
                <a:avLst/>
                <a:gdLst>
                  <a:gd name="connsiteX0" fmla="*/ 0 w 8617"/>
                  <a:gd name="connsiteY0" fmla="*/ 34943 h 34943"/>
                  <a:gd name="connsiteX1" fmla="*/ 8617 w 8617"/>
                  <a:gd name="connsiteY1" fmla="*/ 0 h 349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8617" h="34943">
                    <a:moveTo>
                      <a:pt x="0" y="34943"/>
                    </a:moveTo>
                    <a:lnTo>
                      <a:pt x="8617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829" name="Forma livre: Forma 1828">
              <a:extLst>
                <a:ext uri="{FF2B5EF4-FFF2-40B4-BE49-F238E27FC236}">
                  <a16:creationId xmlns:a16="http://schemas.microsoft.com/office/drawing/2014/main" id="{DF997530-98AA-D02A-B383-DA226B3BDF5D}"/>
                </a:ext>
              </a:extLst>
            </p:cNvPr>
            <p:cNvSpPr/>
            <p:nvPr/>
          </p:nvSpPr>
          <p:spPr>
            <a:xfrm>
              <a:off x="9310903" y="5883350"/>
              <a:ext cx="28314" cy="4545"/>
            </a:xfrm>
            <a:custGeom>
              <a:avLst/>
              <a:gdLst>
                <a:gd name="connsiteX0" fmla="*/ 28315 w 28314"/>
                <a:gd name="connsiteY0" fmla="*/ 4546 h 4545"/>
                <a:gd name="connsiteX1" fmla="*/ 0 w 28314"/>
                <a:gd name="connsiteY1" fmla="*/ 0 h 45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8314" h="4545">
                  <a:moveTo>
                    <a:pt x="28315" y="4546"/>
                  </a:moveTo>
                  <a:cubicBezTo>
                    <a:pt x="28315" y="4546"/>
                    <a:pt x="12358" y="4025"/>
                    <a:pt x="0" y="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30" name="Forma livre: Forma 1829">
              <a:extLst>
                <a:ext uri="{FF2B5EF4-FFF2-40B4-BE49-F238E27FC236}">
                  <a16:creationId xmlns:a16="http://schemas.microsoft.com/office/drawing/2014/main" id="{C3C8EAFF-802F-F62E-4D1F-55629F9839B4}"/>
                </a:ext>
              </a:extLst>
            </p:cNvPr>
            <p:cNvSpPr/>
            <p:nvPr/>
          </p:nvSpPr>
          <p:spPr>
            <a:xfrm>
              <a:off x="9378138" y="5845519"/>
              <a:ext cx="53456" cy="3851"/>
            </a:xfrm>
            <a:custGeom>
              <a:avLst/>
              <a:gdLst>
                <a:gd name="connsiteX0" fmla="*/ 0 w 53456"/>
                <a:gd name="connsiteY0" fmla="*/ 0 h 3851"/>
                <a:gd name="connsiteX1" fmla="*/ 53457 w 53456"/>
                <a:gd name="connsiteY1" fmla="*/ 0 h 38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3456" h="3851">
                  <a:moveTo>
                    <a:pt x="0" y="0"/>
                  </a:moveTo>
                  <a:cubicBezTo>
                    <a:pt x="0" y="0"/>
                    <a:pt x="22443" y="8665"/>
                    <a:pt x="53457" y="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831" name="Gráfico 19">
            <a:extLst>
              <a:ext uri="{FF2B5EF4-FFF2-40B4-BE49-F238E27FC236}">
                <a16:creationId xmlns:a16="http://schemas.microsoft.com/office/drawing/2014/main" id="{5C6CF640-0280-E59F-7CDF-7D696B5B5EE3}"/>
              </a:ext>
            </a:extLst>
          </p:cNvPr>
          <p:cNvGrpSpPr/>
          <p:nvPr/>
        </p:nvGrpSpPr>
        <p:grpSpPr>
          <a:xfrm>
            <a:off x="8066248" y="5721371"/>
            <a:ext cx="209186" cy="325095"/>
            <a:chOff x="8066248" y="5721371"/>
            <a:chExt cx="209186" cy="325095"/>
          </a:xfrm>
          <a:noFill/>
        </p:grpSpPr>
        <p:sp>
          <p:nvSpPr>
            <p:cNvPr id="1832" name="Forma livre: Forma 1831">
              <a:extLst>
                <a:ext uri="{FF2B5EF4-FFF2-40B4-BE49-F238E27FC236}">
                  <a16:creationId xmlns:a16="http://schemas.microsoft.com/office/drawing/2014/main" id="{A4E1107E-7BE6-A019-1A8B-3BED3E8FBB24}"/>
                </a:ext>
              </a:extLst>
            </p:cNvPr>
            <p:cNvSpPr/>
            <p:nvPr/>
          </p:nvSpPr>
          <p:spPr>
            <a:xfrm>
              <a:off x="8066248" y="5721371"/>
              <a:ext cx="71969" cy="229404"/>
            </a:xfrm>
            <a:custGeom>
              <a:avLst/>
              <a:gdLst>
                <a:gd name="connsiteX0" fmla="*/ 0 w 71969"/>
                <a:gd name="connsiteY0" fmla="*/ 229404 h 229404"/>
                <a:gd name="connsiteX1" fmla="*/ 0 w 71969"/>
                <a:gd name="connsiteY1" fmla="*/ 0 h 229404"/>
                <a:gd name="connsiteX2" fmla="*/ 71970 w 71969"/>
                <a:gd name="connsiteY2" fmla="*/ 0 h 229404"/>
                <a:gd name="connsiteX3" fmla="*/ 71970 w 71969"/>
                <a:gd name="connsiteY3" fmla="*/ 229404 h 2294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1969" h="229404">
                  <a:moveTo>
                    <a:pt x="0" y="229404"/>
                  </a:moveTo>
                  <a:lnTo>
                    <a:pt x="0" y="0"/>
                  </a:lnTo>
                  <a:lnTo>
                    <a:pt x="71970" y="0"/>
                  </a:lnTo>
                  <a:lnTo>
                    <a:pt x="71970" y="229404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33" name="Forma livre: Forma 1832">
              <a:extLst>
                <a:ext uri="{FF2B5EF4-FFF2-40B4-BE49-F238E27FC236}">
                  <a16:creationId xmlns:a16="http://schemas.microsoft.com/office/drawing/2014/main" id="{C06F2E80-8903-615A-4B72-93D5CB34DDC9}"/>
                </a:ext>
              </a:extLst>
            </p:cNvPr>
            <p:cNvSpPr/>
            <p:nvPr/>
          </p:nvSpPr>
          <p:spPr>
            <a:xfrm>
              <a:off x="8066390" y="5974497"/>
              <a:ext cx="209044" cy="71969"/>
            </a:xfrm>
            <a:custGeom>
              <a:avLst/>
              <a:gdLst>
                <a:gd name="connsiteX0" fmla="*/ 0 w 209044"/>
                <a:gd name="connsiteY0" fmla="*/ 0 h 71969"/>
                <a:gd name="connsiteX1" fmla="*/ 209044 w 209044"/>
                <a:gd name="connsiteY1" fmla="*/ 0 h 71969"/>
                <a:gd name="connsiteX2" fmla="*/ 209044 w 209044"/>
                <a:gd name="connsiteY2" fmla="*/ 71970 h 71969"/>
                <a:gd name="connsiteX3" fmla="*/ 0 w 209044"/>
                <a:gd name="connsiteY3" fmla="*/ 71970 h 719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9044" h="71969">
                  <a:moveTo>
                    <a:pt x="0" y="0"/>
                  </a:moveTo>
                  <a:lnTo>
                    <a:pt x="209044" y="0"/>
                  </a:lnTo>
                  <a:lnTo>
                    <a:pt x="209044" y="71970"/>
                  </a:lnTo>
                  <a:lnTo>
                    <a:pt x="0" y="71970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34" name="Forma livre: Forma 1833">
              <a:extLst>
                <a:ext uri="{FF2B5EF4-FFF2-40B4-BE49-F238E27FC236}">
                  <a16:creationId xmlns:a16="http://schemas.microsoft.com/office/drawing/2014/main" id="{A2B518EC-2C60-188C-2B62-8FE73BEDC61F}"/>
                </a:ext>
              </a:extLst>
            </p:cNvPr>
            <p:cNvSpPr/>
            <p:nvPr/>
          </p:nvSpPr>
          <p:spPr>
            <a:xfrm>
              <a:off x="8090822" y="5927763"/>
              <a:ext cx="41950" cy="4734"/>
            </a:xfrm>
            <a:custGeom>
              <a:avLst/>
              <a:gdLst>
                <a:gd name="connsiteX0" fmla="*/ 0 w 41950"/>
                <a:gd name="connsiteY0" fmla="*/ 0 h 4734"/>
                <a:gd name="connsiteX1" fmla="*/ 41951 w 41950"/>
                <a:gd name="connsiteY1" fmla="*/ 0 h 47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1950" h="4734">
                  <a:moveTo>
                    <a:pt x="0" y="0"/>
                  </a:moveTo>
                  <a:lnTo>
                    <a:pt x="41951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35" name="Forma livre: Forma 1834">
              <a:extLst>
                <a:ext uri="{FF2B5EF4-FFF2-40B4-BE49-F238E27FC236}">
                  <a16:creationId xmlns:a16="http://schemas.microsoft.com/office/drawing/2014/main" id="{D98442BD-2D23-5444-51D0-8C8CF8A24CD4}"/>
                </a:ext>
              </a:extLst>
            </p:cNvPr>
            <p:cNvSpPr/>
            <p:nvPr/>
          </p:nvSpPr>
          <p:spPr>
            <a:xfrm>
              <a:off x="8104553" y="5898833"/>
              <a:ext cx="28219" cy="4734"/>
            </a:xfrm>
            <a:custGeom>
              <a:avLst/>
              <a:gdLst>
                <a:gd name="connsiteX0" fmla="*/ 0 w 28219"/>
                <a:gd name="connsiteY0" fmla="*/ 0 h 4734"/>
                <a:gd name="connsiteX1" fmla="*/ 28220 w 28219"/>
                <a:gd name="connsiteY1" fmla="*/ 0 h 47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8219" h="4734">
                  <a:moveTo>
                    <a:pt x="0" y="0"/>
                  </a:moveTo>
                  <a:lnTo>
                    <a:pt x="2822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36" name="Forma livre: Forma 1835">
              <a:extLst>
                <a:ext uri="{FF2B5EF4-FFF2-40B4-BE49-F238E27FC236}">
                  <a16:creationId xmlns:a16="http://schemas.microsoft.com/office/drawing/2014/main" id="{8CF52743-2582-93F7-E57A-54D64AEB61B0}"/>
                </a:ext>
              </a:extLst>
            </p:cNvPr>
            <p:cNvSpPr/>
            <p:nvPr/>
          </p:nvSpPr>
          <p:spPr>
            <a:xfrm>
              <a:off x="8090822" y="5869951"/>
              <a:ext cx="41950" cy="4734"/>
            </a:xfrm>
            <a:custGeom>
              <a:avLst/>
              <a:gdLst>
                <a:gd name="connsiteX0" fmla="*/ 0 w 41950"/>
                <a:gd name="connsiteY0" fmla="*/ 0 h 4734"/>
                <a:gd name="connsiteX1" fmla="*/ 41951 w 41950"/>
                <a:gd name="connsiteY1" fmla="*/ 0 h 47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1950" h="4734">
                  <a:moveTo>
                    <a:pt x="0" y="0"/>
                  </a:moveTo>
                  <a:lnTo>
                    <a:pt x="41951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37" name="Forma livre: Forma 1836">
              <a:extLst>
                <a:ext uri="{FF2B5EF4-FFF2-40B4-BE49-F238E27FC236}">
                  <a16:creationId xmlns:a16="http://schemas.microsoft.com/office/drawing/2014/main" id="{C7FD73B6-7AD0-BCA2-4D21-D1EBBEE18F7C}"/>
                </a:ext>
              </a:extLst>
            </p:cNvPr>
            <p:cNvSpPr/>
            <p:nvPr/>
          </p:nvSpPr>
          <p:spPr>
            <a:xfrm>
              <a:off x="8104553" y="5841021"/>
              <a:ext cx="28219" cy="4734"/>
            </a:xfrm>
            <a:custGeom>
              <a:avLst/>
              <a:gdLst>
                <a:gd name="connsiteX0" fmla="*/ 0 w 28219"/>
                <a:gd name="connsiteY0" fmla="*/ 0 h 4734"/>
                <a:gd name="connsiteX1" fmla="*/ 28220 w 28219"/>
                <a:gd name="connsiteY1" fmla="*/ 0 h 47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8219" h="4734">
                  <a:moveTo>
                    <a:pt x="0" y="0"/>
                  </a:moveTo>
                  <a:lnTo>
                    <a:pt x="2822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38" name="Forma livre: Forma 1837">
              <a:extLst>
                <a:ext uri="{FF2B5EF4-FFF2-40B4-BE49-F238E27FC236}">
                  <a16:creationId xmlns:a16="http://schemas.microsoft.com/office/drawing/2014/main" id="{61A8AECD-6EFE-5617-4D89-5D32CD6497D6}"/>
                </a:ext>
              </a:extLst>
            </p:cNvPr>
            <p:cNvSpPr/>
            <p:nvPr/>
          </p:nvSpPr>
          <p:spPr>
            <a:xfrm>
              <a:off x="8090822" y="5812138"/>
              <a:ext cx="41950" cy="4734"/>
            </a:xfrm>
            <a:custGeom>
              <a:avLst/>
              <a:gdLst>
                <a:gd name="connsiteX0" fmla="*/ 0 w 41950"/>
                <a:gd name="connsiteY0" fmla="*/ 0 h 4734"/>
                <a:gd name="connsiteX1" fmla="*/ 41951 w 41950"/>
                <a:gd name="connsiteY1" fmla="*/ 0 h 47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1950" h="4734">
                  <a:moveTo>
                    <a:pt x="0" y="0"/>
                  </a:moveTo>
                  <a:lnTo>
                    <a:pt x="41951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39" name="Forma livre: Forma 1838">
              <a:extLst>
                <a:ext uri="{FF2B5EF4-FFF2-40B4-BE49-F238E27FC236}">
                  <a16:creationId xmlns:a16="http://schemas.microsoft.com/office/drawing/2014/main" id="{8AE21F55-78BC-B987-2B19-6C2D25FBB22A}"/>
                </a:ext>
              </a:extLst>
            </p:cNvPr>
            <p:cNvSpPr/>
            <p:nvPr/>
          </p:nvSpPr>
          <p:spPr>
            <a:xfrm>
              <a:off x="8090822" y="5754325"/>
              <a:ext cx="41950" cy="4734"/>
            </a:xfrm>
            <a:custGeom>
              <a:avLst/>
              <a:gdLst>
                <a:gd name="connsiteX0" fmla="*/ 0 w 41950"/>
                <a:gd name="connsiteY0" fmla="*/ 0 h 4734"/>
                <a:gd name="connsiteX1" fmla="*/ 41951 w 41950"/>
                <a:gd name="connsiteY1" fmla="*/ 0 h 47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1950" h="4734">
                  <a:moveTo>
                    <a:pt x="0" y="0"/>
                  </a:moveTo>
                  <a:lnTo>
                    <a:pt x="41951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40" name="Forma livre: Forma 1839">
              <a:extLst>
                <a:ext uri="{FF2B5EF4-FFF2-40B4-BE49-F238E27FC236}">
                  <a16:creationId xmlns:a16="http://schemas.microsoft.com/office/drawing/2014/main" id="{0B6FDA9B-84D2-F83C-F8B1-E12B54D291AD}"/>
                </a:ext>
              </a:extLst>
            </p:cNvPr>
            <p:cNvSpPr/>
            <p:nvPr/>
          </p:nvSpPr>
          <p:spPr>
            <a:xfrm>
              <a:off x="8104553" y="5783208"/>
              <a:ext cx="28219" cy="4734"/>
            </a:xfrm>
            <a:custGeom>
              <a:avLst/>
              <a:gdLst>
                <a:gd name="connsiteX0" fmla="*/ 0 w 28219"/>
                <a:gd name="connsiteY0" fmla="*/ 0 h 4734"/>
                <a:gd name="connsiteX1" fmla="*/ 28220 w 28219"/>
                <a:gd name="connsiteY1" fmla="*/ 0 h 47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8219" h="4734">
                  <a:moveTo>
                    <a:pt x="0" y="0"/>
                  </a:moveTo>
                  <a:lnTo>
                    <a:pt x="2822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841" name="Gráfico 19">
            <a:extLst>
              <a:ext uri="{FF2B5EF4-FFF2-40B4-BE49-F238E27FC236}">
                <a16:creationId xmlns:a16="http://schemas.microsoft.com/office/drawing/2014/main" id="{60CADA8F-3C66-1506-0972-8B256D9E54E7}"/>
              </a:ext>
            </a:extLst>
          </p:cNvPr>
          <p:cNvGrpSpPr/>
          <p:nvPr/>
        </p:nvGrpSpPr>
        <p:grpSpPr>
          <a:xfrm>
            <a:off x="8629633" y="5726899"/>
            <a:ext cx="316365" cy="314187"/>
            <a:chOff x="8629633" y="5726899"/>
            <a:chExt cx="316365" cy="314187"/>
          </a:xfrm>
          <a:noFill/>
        </p:grpSpPr>
        <p:sp>
          <p:nvSpPr>
            <p:cNvPr id="1842" name="Forma livre: Forma 1841">
              <a:extLst>
                <a:ext uri="{FF2B5EF4-FFF2-40B4-BE49-F238E27FC236}">
                  <a16:creationId xmlns:a16="http://schemas.microsoft.com/office/drawing/2014/main" id="{277A25AE-96EB-4D33-7DC0-FD2C82EE7259}"/>
                </a:ext>
              </a:extLst>
            </p:cNvPr>
            <p:cNvSpPr/>
            <p:nvPr/>
          </p:nvSpPr>
          <p:spPr>
            <a:xfrm>
              <a:off x="8629633" y="5726899"/>
              <a:ext cx="316365" cy="314187"/>
            </a:xfrm>
            <a:custGeom>
              <a:avLst/>
              <a:gdLst>
                <a:gd name="connsiteX0" fmla="*/ 171561 w 316365"/>
                <a:gd name="connsiteY0" fmla="*/ 162939 h 314187"/>
                <a:gd name="connsiteX1" fmla="*/ 223929 w 316365"/>
                <a:gd name="connsiteY1" fmla="*/ 110571 h 314187"/>
                <a:gd name="connsiteX2" fmla="*/ 227575 w 316365"/>
                <a:gd name="connsiteY2" fmla="*/ 111991 h 314187"/>
                <a:gd name="connsiteX3" fmla="*/ 253901 w 316365"/>
                <a:gd name="connsiteY3" fmla="*/ 122455 h 314187"/>
                <a:gd name="connsiteX4" fmla="*/ 291117 w 316365"/>
                <a:gd name="connsiteY4" fmla="*/ 114785 h 314187"/>
                <a:gd name="connsiteX5" fmla="*/ 308446 w 316365"/>
                <a:gd name="connsiteY5" fmla="*/ 97455 h 314187"/>
                <a:gd name="connsiteX6" fmla="*/ 308446 w 316365"/>
                <a:gd name="connsiteY6" fmla="*/ 59150 h 314187"/>
                <a:gd name="connsiteX7" fmla="*/ 257215 w 316365"/>
                <a:gd name="connsiteY7" fmla="*/ 7919 h 314187"/>
                <a:gd name="connsiteX8" fmla="*/ 218863 w 316365"/>
                <a:gd name="connsiteY8" fmla="*/ 7919 h 314187"/>
                <a:gd name="connsiteX9" fmla="*/ 201533 w 316365"/>
                <a:gd name="connsiteY9" fmla="*/ 25249 h 314187"/>
                <a:gd name="connsiteX10" fmla="*/ 193389 w 316365"/>
                <a:gd name="connsiteY10" fmla="*/ 62323 h 314187"/>
                <a:gd name="connsiteX11" fmla="*/ 201959 w 316365"/>
                <a:gd name="connsiteY11" fmla="*/ 85760 h 314187"/>
                <a:gd name="connsiteX12" fmla="*/ 205321 w 316365"/>
                <a:gd name="connsiteY12" fmla="*/ 92863 h 314187"/>
                <a:gd name="connsiteX13" fmla="*/ 152669 w 316365"/>
                <a:gd name="connsiteY13" fmla="*/ 144946 h 314187"/>
                <a:gd name="connsiteX14" fmla="*/ 176012 w 316365"/>
                <a:gd name="connsiteY14" fmla="*/ 167437 h 314187"/>
                <a:gd name="connsiteX15" fmla="*/ 147272 w 316365"/>
                <a:gd name="connsiteY15" fmla="*/ 195941 h 314187"/>
                <a:gd name="connsiteX16" fmla="*/ 179563 w 316365"/>
                <a:gd name="connsiteY16" fmla="*/ 228232 h 314187"/>
                <a:gd name="connsiteX17" fmla="*/ 179563 w 316365"/>
                <a:gd name="connsiteY17" fmla="*/ 250250 h 314187"/>
                <a:gd name="connsiteX18" fmla="*/ 105983 w 316365"/>
                <a:gd name="connsiteY18" fmla="*/ 305505 h 314187"/>
                <a:gd name="connsiteX19" fmla="*/ 33209 w 316365"/>
                <a:gd name="connsiteY19" fmla="*/ 310382 h 314187"/>
                <a:gd name="connsiteX20" fmla="*/ 14364 w 316365"/>
                <a:gd name="connsiteY20" fmla="*/ 301007 h 314187"/>
                <a:gd name="connsiteX21" fmla="*/ 13180 w 316365"/>
                <a:gd name="connsiteY21" fmla="*/ 299871 h 314187"/>
                <a:gd name="connsiteX22" fmla="*/ 3805 w 316365"/>
                <a:gd name="connsiteY22" fmla="*/ 281026 h 314187"/>
                <a:gd name="connsiteX23" fmla="*/ 8682 w 316365"/>
                <a:gd name="connsiteY23" fmla="*/ 208204 h 314187"/>
                <a:gd name="connsiteX24" fmla="*/ 63938 w 316365"/>
                <a:gd name="connsiteY24" fmla="*/ 134624 h 314187"/>
                <a:gd name="connsiteX25" fmla="*/ 85955 w 316365"/>
                <a:gd name="connsiteY25" fmla="*/ 134624 h 314187"/>
                <a:gd name="connsiteX26" fmla="*/ 118247 w 316365"/>
                <a:gd name="connsiteY26" fmla="*/ 166916 h 314187"/>
                <a:gd name="connsiteX27" fmla="*/ 128048 w 316365"/>
                <a:gd name="connsiteY27" fmla="*/ 157115 h 3141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316365" h="314187">
                  <a:moveTo>
                    <a:pt x="171561" y="162939"/>
                  </a:moveTo>
                  <a:lnTo>
                    <a:pt x="223929" y="110571"/>
                  </a:lnTo>
                  <a:cubicBezTo>
                    <a:pt x="225302" y="111328"/>
                    <a:pt x="226060" y="111376"/>
                    <a:pt x="227575" y="111991"/>
                  </a:cubicBezTo>
                  <a:lnTo>
                    <a:pt x="253901" y="122455"/>
                  </a:lnTo>
                  <a:cubicBezTo>
                    <a:pt x="265975" y="127238"/>
                    <a:pt x="281931" y="123923"/>
                    <a:pt x="291117" y="114785"/>
                  </a:cubicBezTo>
                  <a:lnTo>
                    <a:pt x="308446" y="97455"/>
                  </a:lnTo>
                  <a:cubicBezTo>
                    <a:pt x="319005" y="86897"/>
                    <a:pt x="319005" y="69709"/>
                    <a:pt x="308446" y="59150"/>
                  </a:cubicBezTo>
                  <a:lnTo>
                    <a:pt x="257215" y="7919"/>
                  </a:lnTo>
                  <a:cubicBezTo>
                    <a:pt x="246656" y="-2640"/>
                    <a:pt x="229421" y="-2640"/>
                    <a:pt x="218863" y="7919"/>
                  </a:cubicBezTo>
                  <a:lnTo>
                    <a:pt x="201533" y="25249"/>
                  </a:lnTo>
                  <a:cubicBezTo>
                    <a:pt x="192442" y="34292"/>
                    <a:pt x="188938" y="50249"/>
                    <a:pt x="193389" y="62323"/>
                  </a:cubicBezTo>
                  <a:lnTo>
                    <a:pt x="201959" y="85760"/>
                  </a:lnTo>
                  <a:cubicBezTo>
                    <a:pt x="202906" y="88317"/>
                    <a:pt x="203616" y="90306"/>
                    <a:pt x="205321" y="92863"/>
                  </a:cubicBezTo>
                  <a:lnTo>
                    <a:pt x="152669" y="144946"/>
                  </a:lnTo>
                  <a:lnTo>
                    <a:pt x="176012" y="167437"/>
                  </a:lnTo>
                  <a:lnTo>
                    <a:pt x="147272" y="195941"/>
                  </a:lnTo>
                  <a:lnTo>
                    <a:pt x="179563" y="228232"/>
                  </a:lnTo>
                  <a:cubicBezTo>
                    <a:pt x="185624" y="234293"/>
                    <a:pt x="185624" y="244189"/>
                    <a:pt x="179563" y="250250"/>
                  </a:cubicBezTo>
                  <a:cubicBezTo>
                    <a:pt x="179563" y="250250"/>
                    <a:pt x="143720" y="289454"/>
                    <a:pt x="105983" y="305505"/>
                  </a:cubicBezTo>
                  <a:cubicBezTo>
                    <a:pt x="68247" y="321604"/>
                    <a:pt x="33209" y="310382"/>
                    <a:pt x="33209" y="310382"/>
                  </a:cubicBezTo>
                  <a:cubicBezTo>
                    <a:pt x="25964" y="308157"/>
                    <a:pt x="16352" y="302996"/>
                    <a:pt x="14364" y="301007"/>
                  </a:cubicBezTo>
                  <a:lnTo>
                    <a:pt x="13180" y="299871"/>
                  </a:lnTo>
                  <a:cubicBezTo>
                    <a:pt x="11192" y="297882"/>
                    <a:pt x="6030" y="288271"/>
                    <a:pt x="3805" y="281026"/>
                  </a:cubicBezTo>
                  <a:cubicBezTo>
                    <a:pt x="3805" y="281026"/>
                    <a:pt x="-7417" y="245988"/>
                    <a:pt x="8682" y="208204"/>
                  </a:cubicBezTo>
                  <a:cubicBezTo>
                    <a:pt x="24733" y="170420"/>
                    <a:pt x="63938" y="134624"/>
                    <a:pt x="63938" y="134624"/>
                  </a:cubicBezTo>
                  <a:cubicBezTo>
                    <a:pt x="69999" y="128563"/>
                    <a:pt x="79894" y="128611"/>
                    <a:pt x="85955" y="134624"/>
                  </a:cubicBezTo>
                  <a:lnTo>
                    <a:pt x="118247" y="166916"/>
                  </a:lnTo>
                  <a:lnTo>
                    <a:pt x="128048" y="157115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43" name="Forma livre: Forma 1842">
              <a:extLst>
                <a:ext uri="{FF2B5EF4-FFF2-40B4-BE49-F238E27FC236}">
                  <a16:creationId xmlns:a16="http://schemas.microsoft.com/office/drawing/2014/main" id="{C2CD2048-704C-8701-0E23-8B6F21D9E709}"/>
                </a:ext>
              </a:extLst>
            </p:cNvPr>
            <p:cNvSpPr/>
            <p:nvPr/>
          </p:nvSpPr>
          <p:spPr>
            <a:xfrm>
              <a:off x="8712409" y="5887422"/>
              <a:ext cx="41863" cy="57575"/>
            </a:xfrm>
            <a:custGeom>
              <a:avLst/>
              <a:gdLst>
                <a:gd name="connsiteX0" fmla="*/ 3984 w 41863"/>
                <a:gd name="connsiteY0" fmla="*/ 57576 h 57575"/>
                <a:gd name="connsiteX1" fmla="*/ 4221 w 41863"/>
                <a:gd name="connsiteY1" fmla="*/ 37689 h 57575"/>
                <a:gd name="connsiteX2" fmla="*/ 41863 w 41863"/>
                <a:gd name="connsiteY2" fmla="*/ 0 h 575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1863" h="57575">
                  <a:moveTo>
                    <a:pt x="3984" y="57576"/>
                  </a:moveTo>
                  <a:cubicBezTo>
                    <a:pt x="-1414" y="52178"/>
                    <a:pt x="-1319" y="43229"/>
                    <a:pt x="4221" y="37689"/>
                  </a:cubicBezTo>
                  <a:lnTo>
                    <a:pt x="41863" y="0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44" name="Forma livre: Forma 1843">
              <a:extLst>
                <a:ext uri="{FF2B5EF4-FFF2-40B4-BE49-F238E27FC236}">
                  <a16:creationId xmlns:a16="http://schemas.microsoft.com/office/drawing/2014/main" id="{E65D5CE5-A9E9-3B8E-A3E9-F13567F8E41D}"/>
                </a:ext>
              </a:extLst>
            </p:cNvPr>
            <p:cNvSpPr/>
            <p:nvPr/>
          </p:nvSpPr>
          <p:spPr>
            <a:xfrm>
              <a:off x="8857350" y="5756503"/>
              <a:ext cx="58617" cy="63988"/>
            </a:xfrm>
            <a:custGeom>
              <a:avLst/>
              <a:gdLst>
                <a:gd name="connsiteX0" fmla="*/ 0 w 58617"/>
                <a:gd name="connsiteY0" fmla="*/ 10085 h 63988"/>
                <a:gd name="connsiteX1" fmla="*/ 10085 w 58617"/>
                <a:gd name="connsiteY1" fmla="*/ 0 h 63988"/>
                <a:gd name="connsiteX2" fmla="*/ 58618 w 58617"/>
                <a:gd name="connsiteY2" fmla="*/ 49290 h 63988"/>
                <a:gd name="connsiteX3" fmla="*/ 48911 w 58617"/>
                <a:gd name="connsiteY3" fmla="*/ 58996 h 63988"/>
                <a:gd name="connsiteX4" fmla="*/ 21117 w 58617"/>
                <a:gd name="connsiteY4" fmla="*/ 60701 h 639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8617" h="63988">
                  <a:moveTo>
                    <a:pt x="0" y="10085"/>
                  </a:moveTo>
                  <a:lnTo>
                    <a:pt x="10085" y="0"/>
                  </a:lnTo>
                  <a:cubicBezTo>
                    <a:pt x="21023" y="25852"/>
                    <a:pt x="33570" y="36742"/>
                    <a:pt x="58618" y="49290"/>
                  </a:cubicBezTo>
                  <a:lnTo>
                    <a:pt x="48911" y="58996"/>
                  </a:lnTo>
                  <a:cubicBezTo>
                    <a:pt x="48911" y="58996"/>
                    <a:pt x="36506" y="68987"/>
                    <a:pt x="21117" y="60701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845" name="Gráfico 19">
            <a:extLst>
              <a:ext uri="{FF2B5EF4-FFF2-40B4-BE49-F238E27FC236}">
                <a16:creationId xmlns:a16="http://schemas.microsoft.com/office/drawing/2014/main" id="{9C58879F-E64B-AAC3-58A1-736CEDD96678}"/>
              </a:ext>
            </a:extLst>
          </p:cNvPr>
          <p:cNvGrpSpPr/>
          <p:nvPr/>
        </p:nvGrpSpPr>
        <p:grpSpPr>
          <a:xfrm>
            <a:off x="9258242" y="4689275"/>
            <a:ext cx="293270" cy="293040"/>
            <a:chOff x="9258242" y="4689275"/>
            <a:chExt cx="293270" cy="293040"/>
          </a:xfrm>
          <a:noFill/>
        </p:grpSpPr>
        <p:sp>
          <p:nvSpPr>
            <p:cNvPr id="1846" name="Forma livre: Forma 1845">
              <a:extLst>
                <a:ext uri="{FF2B5EF4-FFF2-40B4-BE49-F238E27FC236}">
                  <a16:creationId xmlns:a16="http://schemas.microsoft.com/office/drawing/2014/main" id="{95D6CDAD-AC2A-F4F0-B100-5BC1B934A1DB}"/>
                </a:ext>
              </a:extLst>
            </p:cNvPr>
            <p:cNvSpPr/>
            <p:nvPr/>
          </p:nvSpPr>
          <p:spPr>
            <a:xfrm>
              <a:off x="9439197" y="4689275"/>
              <a:ext cx="112315" cy="112273"/>
            </a:xfrm>
            <a:custGeom>
              <a:avLst/>
              <a:gdLst>
                <a:gd name="connsiteX0" fmla="*/ 67729 w 112315"/>
                <a:gd name="connsiteY0" fmla="*/ 4156 h 112273"/>
                <a:gd name="connsiteX1" fmla="*/ 67540 w 112315"/>
                <a:gd name="connsiteY1" fmla="*/ 4345 h 112273"/>
                <a:gd name="connsiteX2" fmla="*/ 40882 w 112315"/>
                <a:gd name="connsiteY2" fmla="*/ 31050 h 112273"/>
                <a:gd name="connsiteX3" fmla="*/ 1914 w 112315"/>
                <a:gd name="connsiteY3" fmla="*/ 81902 h 112273"/>
                <a:gd name="connsiteX4" fmla="*/ 2719 w 112315"/>
                <a:gd name="connsiteY4" fmla="*/ 93029 h 112273"/>
                <a:gd name="connsiteX5" fmla="*/ 19244 w 112315"/>
                <a:gd name="connsiteY5" fmla="*/ 109554 h 112273"/>
                <a:gd name="connsiteX6" fmla="*/ 30323 w 112315"/>
                <a:gd name="connsiteY6" fmla="*/ 110359 h 112273"/>
                <a:gd name="connsiteX7" fmla="*/ 81176 w 112315"/>
                <a:gd name="connsiteY7" fmla="*/ 71391 h 112273"/>
                <a:gd name="connsiteX8" fmla="*/ 107881 w 112315"/>
                <a:gd name="connsiteY8" fmla="*/ 44686 h 112273"/>
                <a:gd name="connsiteX9" fmla="*/ 108023 w 112315"/>
                <a:gd name="connsiteY9" fmla="*/ 44497 h 112273"/>
                <a:gd name="connsiteX10" fmla="*/ 108165 w 112315"/>
                <a:gd name="connsiteY10" fmla="*/ 44355 h 112273"/>
                <a:gd name="connsiteX11" fmla="*/ 100447 w 112315"/>
                <a:gd name="connsiteY11" fmla="*/ 11874 h 112273"/>
                <a:gd name="connsiteX12" fmla="*/ 100447 w 112315"/>
                <a:gd name="connsiteY12" fmla="*/ 11874 h 112273"/>
                <a:gd name="connsiteX13" fmla="*/ 100447 w 112315"/>
                <a:gd name="connsiteY13" fmla="*/ 11874 h 112273"/>
                <a:gd name="connsiteX14" fmla="*/ 67966 w 112315"/>
                <a:gd name="connsiteY14" fmla="*/ 4109 h 112273"/>
                <a:gd name="connsiteX15" fmla="*/ 67824 w 112315"/>
                <a:gd name="connsiteY15" fmla="*/ 4251 h 1122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12315" h="112273">
                  <a:moveTo>
                    <a:pt x="67729" y="4156"/>
                  </a:moveTo>
                  <a:cubicBezTo>
                    <a:pt x="67729" y="4156"/>
                    <a:pt x="67682" y="4203"/>
                    <a:pt x="67540" y="4345"/>
                  </a:cubicBezTo>
                  <a:lnTo>
                    <a:pt x="40882" y="31050"/>
                  </a:lnTo>
                  <a:cubicBezTo>
                    <a:pt x="25068" y="46817"/>
                    <a:pt x="1914" y="81902"/>
                    <a:pt x="1914" y="81902"/>
                  </a:cubicBezTo>
                  <a:cubicBezTo>
                    <a:pt x="-2821" y="88863"/>
                    <a:pt x="2719" y="93029"/>
                    <a:pt x="2719" y="93029"/>
                  </a:cubicBezTo>
                  <a:lnTo>
                    <a:pt x="19244" y="109554"/>
                  </a:lnTo>
                  <a:cubicBezTo>
                    <a:pt x="19244" y="109554"/>
                    <a:pt x="23411" y="115094"/>
                    <a:pt x="30323" y="110359"/>
                  </a:cubicBezTo>
                  <a:cubicBezTo>
                    <a:pt x="30323" y="110359"/>
                    <a:pt x="65409" y="87158"/>
                    <a:pt x="81176" y="71391"/>
                  </a:cubicBezTo>
                  <a:lnTo>
                    <a:pt x="107881" y="44686"/>
                  </a:lnTo>
                  <a:cubicBezTo>
                    <a:pt x="107881" y="44686"/>
                    <a:pt x="108023" y="44497"/>
                    <a:pt x="108023" y="44497"/>
                  </a:cubicBezTo>
                  <a:cubicBezTo>
                    <a:pt x="108023" y="44497"/>
                    <a:pt x="108070" y="44450"/>
                    <a:pt x="108165" y="44355"/>
                  </a:cubicBezTo>
                  <a:cubicBezTo>
                    <a:pt x="109585" y="43029"/>
                    <a:pt x="120286" y="31808"/>
                    <a:pt x="100447" y="11874"/>
                  </a:cubicBezTo>
                  <a:cubicBezTo>
                    <a:pt x="100447" y="11874"/>
                    <a:pt x="100447" y="11874"/>
                    <a:pt x="100447" y="11874"/>
                  </a:cubicBezTo>
                  <a:cubicBezTo>
                    <a:pt x="100447" y="11874"/>
                    <a:pt x="100447" y="11874"/>
                    <a:pt x="100447" y="11874"/>
                  </a:cubicBezTo>
                  <a:cubicBezTo>
                    <a:pt x="80513" y="-7965"/>
                    <a:pt x="69291" y="2735"/>
                    <a:pt x="67966" y="4109"/>
                  </a:cubicBezTo>
                  <a:cubicBezTo>
                    <a:pt x="67871" y="4203"/>
                    <a:pt x="67824" y="4251"/>
                    <a:pt x="67824" y="4251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47" name="Forma livre: Forma 1846">
              <a:extLst>
                <a:ext uri="{FF2B5EF4-FFF2-40B4-BE49-F238E27FC236}">
                  <a16:creationId xmlns:a16="http://schemas.microsoft.com/office/drawing/2014/main" id="{2912D1E6-AE48-294C-D89A-1F09DC44D8C9}"/>
                </a:ext>
              </a:extLst>
            </p:cNvPr>
            <p:cNvSpPr/>
            <p:nvPr/>
          </p:nvSpPr>
          <p:spPr>
            <a:xfrm>
              <a:off x="9258242" y="4769142"/>
              <a:ext cx="213314" cy="213173"/>
            </a:xfrm>
            <a:custGeom>
              <a:avLst/>
              <a:gdLst>
                <a:gd name="connsiteX0" fmla="*/ 167292 w 213314"/>
                <a:gd name="connsiteY0" fmla="*/ 25710 h 213173"/>
                <a:gd name="connsiteX1" fmla="*/ 134243 w 213314"/>
                <a:gd name="connsiteY1" fmla="*/ 58760 h 213173"/>
                <a:gd name="connsiteX2" fmla="*/ 75483 w 213314"/>
                <a:gd name="connsiteY2" fmla="*/ 0 h 213173"/>
                <a:gd name="connsiteX3" fmla="*/ 2187 w 213314"/>
                <a:gd name="connsiteY3" fmla="*/ 165199 h 213173"/>
                <a:gd name="connsiteX4" fmla="*/ 11799 w 213314"/>
                <a:gd name="connsiteY4" fmla="*/ 201421 h 213173"/>
                <a:gd name="connsiteX5" fmla="*/ 11799 w 213314"/>
                <a:gd name="connsiteY5" fmla="*/ 201421 h 213173"/>
                <a:gd name="connsiteX6" fmla="*/ 48068 w 213314"/>
                <a:gd name="connsiteY6" fmla="*/ 210986 h 213173"/>
                <a:gd name="connsiteX7" fmla="*/ 213315 w 213314"/>
                <a:gd name="connsiteY7" fmla="*/ 137690 h 213173"/>
                <a:gd name="connsiteX8" fmla="*/ 154555 w 213314"/>
                <a:gd name="connsiteY8" fmla="*/ 78930 h 213173"/>
                <a:gd name="connsiteX9" fmla="*/ 201714 w 213314"/>
                <a:gd name="connsiteY9" fmla="*/ 31771 h 2131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13314" h="213173">
                  <a:moveTo>
                    <a:pt x="167292" y="25710"/>
                  </a:moveTo>
                  <a:lnTo>
                    <a:pt x="134243" y="58760"/>
                  </a:lnTo>
                  <a:lnTo>
                    <a:pt x="75483" y="0"/>
                  </a:lnTo>
                  <a:lnTo>
                    <a:pt x="2187" y="165199"/>
                  </a:lnTo>
                  <a:cubicBezTo>
                    <a:pt x="-3353" y="180872"/>
                    <a:pt x="2282" y="191904"/>
                    <a:pt x="11799" y="201421"/>
                  </a:cubicBezTo>
                  <a:lnTo>
                    <a:pt x="11799" y="201421"/>
                  </a:lnTo>
                  <a:cubicBezTo>
                    <a:pt x="21316" y="210891"/>
                    <a:pt x="32395" y="216525"/>
                    <a:pt x="48068" y="210986"/>
                  </a:cubicBezTo>
                  <a:lnTo>
                    <a:pt x="213315" y="137690"/>
                  </a:lnTo>
                  <a:lnTo>
                    <a:pt x="154555" y="78930"/>
                  </a:lnTo>
                  <a:lnTo>
                    <a:pt x="201714" y="31771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48" name="Forma livre: Forma 1847">
              <a:extLst>
                <a:ext uri="{FF2B5EF4-FFF2-40B4-BE49-F238E27FC236}">
                  <a16:creationId xmlns:a16="http://schemas.microsoft.com/office/drawing/2014/main" id="{5B2D6BBC-BBC6-054D-7DAE-9C154EA253AE}"/>
                </a:ext>
              </a:extLst>
            </p:cNvPr>
            <p:cNvSpPr/>
            <p:nvPr/>
          </p:nvSpPr>
          <p:spPr>
            <a:xfrm>
              <a:off x="9356257" y="4822314"/>
              <a:ext cx="41767" cy="57717"/>
            </a:xfrm>
            <a:custGeom>
              <a:avLst/>
              <a:gdLst>
                <a:gd name="connsiteX0" fmla="*/ 4078 w 41767"/>
                <a:gd name="connsiteY0" fmla="*/ 57718 h 57717"/>
                <a:gd name="connsiteX1" fmla="*/ 4125 w 41767"/>
                <a:gd name="connsiteY1" fmla="*/ 37690 h 57717"/>
                <a:gd name="connsiteX2" fmla="*/ 41767 w 41767"/>
                <a:gd name="connsiteY2" fmla="*/ 0 h 577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1767" h="57717">
                  <a:moveTo>
                    <a:pt x="4078" y="57718"/>
                  </a:moveTo>
                  <a:cubicBezTo>
                    <a:pt x="-1320" y="52320"/>
                    <a:pt x="-1415" y="43182"/>
                    <a:pt x="4125" y="37690"/>
                  </a:cubicBezTo>
                  <a:lnTo>
                    <a:pt x="41767" y="0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849" name="Gráfico 19">
            <a:extLst>
              <a:ext uri="{FF2B5EF4-FFF2-40B4-BE49-F238E27FC236}">
                <a16:creationId xmlns:a16="http://schemas.microsoft.com/office/drawing/2014/main" id="{009FF3FF-A6E8-FD7E-87E1-12EEDC143593}"/>
              </a:ext>
            </a:extLst>
          </p:cNvPr>
          <p:cNvGrpSpPr/>
          <p:nvPr/>
        </p:nvGrpSpPr>
        <p:grpSpPr>
          <a:xfrm>
            <a:off x="8047309" y="4681689"/>
            <a:ext cx="247017" cy="308097"/>
            <a:chOff x="8047309" y="4681689"/>
            <a:chExt cx="247017" cy="308097"/>
          </a:xfrm>
          <a:noFill/>
        </p:grpSpPr>
        <p:sp>
          <p:nvSpPr>
            <p:cNvPr id="1850" name="Forma livre: Forma 1849">
              <a:extLst>
                <a:ext uri="{FF2B5EF4-FFF2-40B4-BE49-F238E27FC236}">
                  <a16:creationId xmlns:a16="http://schemas.microsoft.com/office/drawing/2014/main" id="{0EC9CACD-37EB-A27D-DDFF-22C542DA6C24}"/>
                </a:ext>
              </a:extLst>
            </p:cNvPr>
            <p:cNvSpPr/>
            <p:nvPr/>
          </p:nvSpPr>
          <p:spPr>
            <a:xfrm>
              <a:off x="8138218" y="4890970"/>
              <a:ext cx="65246" cy="5303"/>
            </a:xfrm>
            <a:custGeom>
              <a:avLst/>
              <a:gdLst>
                <a:gd name="connsiteX0" fmla="*/ 0 w 65246"/>
                <a:gd name="connsiteY0" fmla="*/ 0 h 5303"/>
                <a:gd name="connsiteX1" fmla="*/ 65246 w 65246"/>
                <a:gd name="connsiteY1" fmla="*/ 0 h 53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5246" h="5303">
                  <a:moveTo>
                    <a:pt x="0" y="0"/>
                  </a:moveTo>
                  <a:cubicBezTo>
                    <a:pt x="0" y="0"/>
                    <a:pt x="24337" y="11932"/>
                    <a:pt x="65246" y="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851" name="Gráfico 19">
              <a:extLst>
                <a:ext uri="{FF2B5EF4-FFF2-40B4-BE49-F238E27FC236}">
                  <a16:creationId xmlns:a16="http://schemas.microsoft.com/office/drawing/2014/main" id="{9A060D01-83B5-33B9-0F20-FCFB2F14EA7F}"/>
                </a:ext>
              </a:extLst>
            </p:cNvPr>
            <p:cNvGrpSpPr/>
            <p:nvPr/>
          </p:nvGrpSpPr>
          <p:grpSpPr>
            <a:xfrm>
              <a:off x="8094326" y="4872835"/>
              <a:ext cx="153030" cy="116951"/>
              <a:chOff x="8094326" y="4872835"/>
              <a:chExt cx="153030" cy="116951"/>
            </a:xfrm>
            <a:noFill/>
          </p:grpSpPr>
          <p:sp>
            <p:nvSpPr>
              <p:cNvPr id="1852" name="Forma livre: Forma 1851">
                <a:extLst>
                  <a:ext uri="{FF2B5EF4-FFF2-40B4-BE49-F238E27FC236}">
                    <a16:creationId xmlns:a16="http://schemas.microsoft.com/office/drawing/2014/main" id="{B34B80B7-28A0-171D-F3F3-0840D18759B9}"/>
                  </a:ext>
                </a:extLst>
              </p:cNvPr>
              <p:cNvSpPr/>
              <p:nvPr/>
            </p:nvSpPr>
            <p:spPr>
              <a:xfrm>
                <a:off x="8094326" y="4872835"/>
                <a:ext cx="15388" cy="116951"/>
              </a:xfrm>
              <a:custGeom>
                <a:avLst/>
                <a:gdLst>
                  <a:gd name="connsiteX0" fmla="*/ 15388 w 15388"/>
                  <a:gd name="connsiteY0" fmla="*/ 0 h 116951"/>
                  <a:gd name="connsiteX1" fmla="*/ 15388 w 15388"/>
                  <a:gd name="connsiteY1" fmla="*/ 66478 h 116951"/>
                  <a:gd name="connsiteX2" fmla="*/ 0 w 15388"/>
                  <a:gd name="connsiteY2" fmla="*/ 66478 h 116951"/>
                  <a:gd name="connsiteX3" fmla="*/ 0 w 15388"/>
                  <a:gd name="connsiteY3" fmla="*/ 116951 h 1169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5388" h="116951">
                    <a:moveTo>
                      <a:pt x="15388" y="0"/>
                    </a:moveTo>
                    <a:lnTo>
                      <a:pt x="15388" y="66478"/>
                    </a:lnTo>
                    <a:lnTo>
                      <a:pt x="0" y="66478"/>
                    </a:lnTo>
                    <a:lnTo>
                      <a:pt x="0" y="116951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853" name="Forma livre: Forma 1852">
                <a:extLst>
                  <a:ext uri="{FF2B5EF4-FFF2-40B4-BE49-F238E27FC236}">
                    <a16:creationId xmlns:a16="http://schemas.microsoft.com/office/drawing/2014/main" id="{8E860902-131A-6241-9F7C-18B8F67FE393}"/>
                  </a:ext>
                </a:extLst>
              </p:cNvPr>
              <p:cNvSpPr/>
              <p:nvPr/>
            </p:nvSpPr>
            <p:spPr>
              <a:xfrm>
                <a:off x="8231921" y="4872835"/>
                <a:ext cx="15435" cy="116951"/>
              </a:xfrm>
              <a:custGeom>
                <a:avLst/>
                <a:gdLst>
                  <a:gd name="connsiteX0" fmla="*/ 0 w 15435"/>
                  <a:gd name="connsiteY0" fmla="*/ 0 h 116951"/>
                  <a:gd name="connsiteX1" fmla="*/ 0 w 15435"/>
                  <a:gd name="connsiteY1" fmla="*/ 66478 h 116951"/>
                  <a:gd name="connsiteX2" fmla="*/ 15436 w 15435"/>
                  <a:gd name="connsiteY2" fmla="*/ 66478 h 116951"/>
                  <a:gd name="connsiteX3" fmla="*/ 15436 w 15435"/>
                  <a:gd name="connsiteY3" fmla="*/ 116951 h 1169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5435" h="116951">
                    <a:moveTo>
                      <a:pt x="0" y="0"/>
                    </a:moveTo>
                    <a:lnTo>
                      <a:pt x="0" y="66478"/>
                    </a:lnTo>
                    <a:lnTo>
                      <a:pt x="15436" y="66478"/>
                    </a:lnTo>
                    <a:lnTo>
                      <a:pt x="15436" y="116951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854" name="Gráfico 19">
              <a:extLst>
                <a:ext uri="{FF2B5EF4-FFF2-40B4-BE49-F238E27FC236}">
                  <a16:creationId xmlns:a16="http://schemas.microsoft.com/office/drawing/2014/main" id="{F781CA6B-B7A9-6C09-94CD-A7A4EFA5E6B5}"/>
                </a:ext>
              </a:extLst>
            </p:cNvPr>
            <p:cNvGrpSpPr/>
            <p:nvPr/>
          </p:nvGrpSpPr>
          <p:grpSpPr>
            <a:xfrm>
              <a:off x="8096788" y="4681689"/>
              <a:ext cx="148106" cy="170739"/>
              <a:chOff x="8096788" y="4681689"/>
              <a:chExt cx="148106" cy="170739"/>
            </a:xfrm>
            <a:noFill/>
          </p:grpSpPr>
          <p:grpSp>
            <p:nvGrpSpPr>
              <p:cNvPr id="1855" name="Gráfico 19">
                <a:extLst>
                  <a:ext uri="{FF2B5EF4-FFF2-40B4-BE49-F238E27FC236}">
                    <a16:creationId xmlns:a16="http://schemas.microsoft.com/office/drawing/2014/main" id="{4FCA5E2E-61FA-9BB9-66DA-35E90BA71174}"/>
                  </a:ext>
                </a:extLst>
              </p:cNvPr>
              <p:cNvGrpSpPr/>
              <p:nvPr/>
            </p:nvGrpSpPr>
            <p:grpSpPr>
              <a:xfrm>
                <a:off x="8103654" y="4690259"/>
                <a:ext cx="134375" cy="76988"/>
                <a:chOff x="8103654" y="4690259"/>
                <a:chExt cx="134375" cy="76988"/>
              </a:xfrm>
              <a:noFill/>
            </p:grpSpPr>
            <p:sp>
              <p:nvSpPr>
                <p:cNvPr id="1856" name="Forma livre: Forma 1855">
                  <a:extLst>
                    <a:ext uri="{FF2B5EF4-FFF2-40B4-BE49-F238E27FC236}">
                      <a16:creationId xmlns:a16="http://schemas.microsoft.com/office/drawing/2014/main" id="{F8DF2FAD-74B8-1F6F-EDB9-A29635E1C9F0}"/>
                    </a:ext>
                  </a:extLst>
                </p:cNvPr>
                <p:cNvSpPr/>
                <p:nvPr/>
              </p:nvSpPr>
              <p:spPr>
                <a:xfrm>
                  <a:off x="8103654" y="4690259"/>
                  <a:ext cx="51846" cy="76988"/>
                </a:xfrm>
                <a:custGeom>
                  <a:avLst/>
                  <a:gdLst>
                    <a:gd name="connsiteX0" fmla="*/ 51847 w 51846"/>
                    <a:gd name="connsiteY0" fmla="*/ 0 h 76988"/>
                    <a:gd name="connsiteX1" fmla="*/ 8475 w 51846"/>
                    <a:gd name="connsiteY1" fmla="*/ 61127 h 76988"/>
                    <a:gd name="connsiteX2" fmla="*/ 0 w 51846"/>
                    <a:gd name="connsiteY2" fmla="*/ 76989 h 7698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51846" h="76988">
                      <a:moveTo>
                        <a:pt x="51847" y="0"/>
                      </a:moveTo>
                      <a:cubicBezTo>
                        <a:pt x="34612" y="3977"/>
                        <a:pt x="8475" y="17282"/>
                        <a:pt x="8475" y="61127"/>
                      </a:cubicBezTo>
                      <a:cubicBezTo>
                        <a:pt x="8475" y="66904"/>
                        <a:pt x="7244" y="73438"/>
                        <a:pt x="0" y="76989"/>
                      </a:cubicBez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857" name="Forma livre: Forma 1856">
                  <a:extLst>
                    <a:ext uri="{FF2B5EF4-FFF2-40B4-BE49-F238E27FC236}">
                      <a16:creationId xmlns:a16="http://schemas.microsoft.com/office/drawing/2014/main" id="{72F0160B-7D95-E93F-7279-70D69FC90C23}"/>
                    </a:ext>
                  </a:extLst>
                </p:cNvPr>
                <p:cNvSpPr/>
                <p:nvPr/>
              </p:nvSpPr>
              <p:spPr>
                <a:xfrm>
                  <a:off x="8186183" y="4690259"/>
                  <a:ext cx="51846" cy="76988"/>
                </a:xfrm>
                <a:custGeom>
                  <a:avLst/>
                  <a:gdLst>
                    <a:gd name="connsiteX0" fmla="*/ 0 w 51846"/>
                    <a:gd name="connsiteY0" fmla="*/ 0 h 76988"/>
                    <a:gd name="connsiteX1" fmla="*/ 43371 w 51846"/>
                    <a:gd name="connsiteY1" fmla="*/ 61127 h 76988"/>
                    <a:gd name="connsiteX2" fmla="*/ 51847 w 51846"/>
                    <a:gd name="connsiteY2" fmla="*/ 76989 h 7698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51846" h="76988">
                      <a:moveTo>
                        <a:pt x="0" y="0"/>
                      </a:moveTo>
                      <a:cubicBezTo>
                        <a:pt x="17235" y="3977"/>
                        <a:pt x="43371" y="17282"/>
                        <a:pt x="43371" y="61127"/>
                      </a:cubicBezTo>
                      <a:cubicBezTo>
                        <a:pt x="43371" y="66904"/>
                        <a:pt x="44602" y="73438"/>
                        <a:pt x="51847" y="76989"/>
                      </a:cubicBez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1858" name="Forma livre: Forma 1857">
                <a:extLst>
                  <a:ext uri="{FF2B5EF4-FFF2-40B4-BE49-F238E27FC236}">
                    <a16:creationId xmlns:a16="http://schemas.microsoft.com/office/drawing/2014/main" id="{A6CAAD3F-EFA1-12AB-7E7D-0D428B9AC331}"/>
                  </a:ext>
                </a:extLst>
              </p:cNvPr>
              <p:cNvSpPr/>
              <p:nvPr/>
            </p:nvSpPr>
            <p:spPr>
              <a:xfrm>
                <a:off x="8153038" y="4681689"/>
                <a:ext cx="35606" cy="70170"/>
              </a:xfrm>
              <a:custGeom>
                <a:avLst/>
                <a:gdLst>
                  <a:gd name="connsiteX0" fmla="*/ 0 w 35606"/>
                  <a:gd name="connsiteY0" fmla="*/ 70171 h 70170"/>
                  <a:gd name="connsiteX1" fmla="*/ 3788 w 35606"/>
                  <a:gd name="connsiteY1" fmla="*/ 0 h 70170"/>
                  <a:gd name="connsiteX2" fmla="*/ 31818 w 35606"/>
                  <a:gd name="connsiteY2" fmla="*/ 0 h 70170"/>
                  <a:gd name="connsiteX3" fmla="*/ 35606 w 35606"/>
                  <a:gd name="connsiteY3" fmla="*/ 70171 h 701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5606" h="70170">
                    <a:moveTo>
                      <a:pt x="0" y="70171"/>
                    </a:moveTo>
                    <a:lnTo>
                      <a:pt x="3788" y="0"/>
                    </a:lnTo>
                    <a:lnTo>
                      <a:pt x="31818" y="0"/>
                    </a:lnTo>
                    <a:lnTo>
                      <a:pt x="35606" y="70171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859" name="Forma livre: Forma 1858">
                <a:extLst>
                  <a:ext uri="{FF2B5EF4-FFF2-40B4-BE49-F238E27FC236}">
                    <a16:creationId xmlns:a16="http://schemas.microsoft.com/office/drawing/2014/main" id="{3E42D388-8436-87FA-537E-2F33EE568522}"/>
                  </a:ext>
                </a:extLst>
              </p:cNvPr>
              <p:cNvSpPr/>
              <p:nvPr/>
            </p:nvSpPr>
            <p:spPr>
              <a:xfrm>
                <a:off x="8115728" y="4772693"/>
                <a:ext cx="110227" cy="79735"/>
              </a:xfrm>
              <a:custGeom>
                <a:avLst/>
                <a:gdLst>
                  <a:gd name="connsiteX0" fmla="*/ 109802 w 110227"/>
                  <a:gd name="connsiteY0" fmla="*/ 0 h 79735"/>
                  <a:gd name="connsiteX1" fmla="*/ 110228 w 110227"/>
                  <a:gd name="connsiteY1" fmla="*/ 7718 h 79735"/>
                  <a:gd name="connsiteX2" fmla="*/ 55114 w 110227"/>
                  <a:gd name="connsiteY2" fmla="*/ 79735 h 79735"/>
                  <a:gd name="connsiteX3" fmla="*/ 0 w 110227"/>
                  <a:gd name="connsiteY3" fmla="*/ 7718 h 79735"/>
                  <a:gd name="connsiteX4" fmla="*/ 379 w 110227"/>
                  <a:gd name="connsiteY4" fmla="*/ 379 h 797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10227" h="79735">
                    <a:moveTo>
                      <a:pt x="109802" y="0"/>
                    </a:moveTo>
                    <a:cubicBezTo>
                      <a:pt x="110086" y="2510"/>
                      <a:pt x="110228" y="5066"/>
                      <a:pt x="110228" y="7718"/>
                    </a:cubicBezTo>
                    <a:cubicBezTo>
                      <a:pt x="110228" y="43987"/>
                      <a:pt x="84423" y="79735"/>
                      <a:pt x="55114" y="79735"/>
                    </a:cubicBezTo>
                    <a:cubicBezTo>
                      <a:pt x="25805" y="79735"/>
                      <a:pt x="0" y="44034"/>
                      <a:pt x="0" y="7718"/>
                    </a:cubicBezTo>
                    <a:cubicBezTo>
                      <a:pt x="0" y="5208"/>
                      <a:pt x="142" y="2746"/>
                      <a:pt x="379" y="379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860" name="Forma livre: Forma 1859">
                <a:extLst>
                  <a:ext uri="{FF2B5EF4-FFF2-40B4-BE49-F238E27FC236}">
                    <a16:creationId xmlns:a16="http://schemas.microsoft.com/office/drawing/2014/main" id="{644E88CA-9CA1-79C7-0D40-ED22DFCCDB8B}"/>
                  </a:ext>
                </a:extLst>
              </p:cNvPr>
              <p:cNvSpPr/>
              <p:nvPr/>
            </p:nvSpPr>
            <p:spPr>
              <a:xfrm>
                <a:off x="8096788" y="4765401"/>
                <a:ext cx="148106" cy="13399"/>
              </a:xfrm>
              <a:custGeom>
                <a:avLst/>
                <a:gdLst>
                  <a:gd name="connsiteX0" fmla="*/ 148107 w 148106"/>
                  <a:gd name="connsiteY0" fmla="*/ 0 h 13399"/>
                  <a:gd name="connsiteX1" fmla="*/ 74053 w 148106"/>
                  <a:gd name="connsiteY1" fmla="*/ 13400 h 13399"/>
                  <a:gd name="connsiteX2" fmla="*/ 74053 w 148106"/>
                  <a:gd name="connsiteY2" fmla="*/ 13400 h 13399"/>
                  <a:gd name="connsiteX3" fmla="*/ 0 w 148106"/>
                  <a:gd name="connsiteY3" fmla="*/ 0 h 133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48106" h="13399">
                    <a:moveTo>
                      <a:pt x="148107" y="0"/>
                    </a:moveTo>
                    <a:cubicBezTo>
                      <a:pt x="128220" y="8523"/>
                      <a:pt x="102605" y="13400"/>
                      <a:pt x="74053" y="13400"/>
                    </a:cubicBezTo>
                    <a:lnTo>
                      <a:pt x="74053" y="13400"/>
                    </a:lnTo>
                    <a:cubicBezTo>
                      <a:pt x="45455" y="13400"/>
                      <a:pt x="19886" y="8523"/>
                      <a:pt x="0" y="0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861" name="Forma livre: Forma 1860">
              <a:extLst>
                <a:ext uri="{FF2B5EF4-FFF2-40B4-BE49-F238E27FC236}">
                  <a16:creationId xmlns:a16="http://schemas.microsoft.com/office/drawing/2014/main" id="{4E85C380-71E4-B21A-B872-CE9FB6E69B8F}"/>
                </a:ext>
              </a:extLst>
            </p:cNvPr>
            <p:cNvSpPr/>
            <p:nvPr/>
          </p:nvSpPr>
          <p:spPr>
            <a:xfrm>
              <a:off x="8047309" y="4867864"/>
              <a:ext cx="247017" cy="121922"/>
            </a:xfrm>
            <a:custGeom>
              <a:avLst/>
              <a:gdLst>
                <a:gd name="connsiteX0" fmla="*/ 247018 w 247017"/>
                <a:gd name="connsiteY0" fmla="*/ 121923 h 121922"/>
                <a:gd name="connsiteX1" fmla="*/ 247018 w 247017"/>
                <a:gd name="connsiteY1" fmla="*/ 59233 h 121922"/>
                <a:gd name="connsiteX2" fmla="*/ 204167 w 247017"/>
                <a:gd name="connsiteY2" fmla="*/ 8239 h 121922"/>
                <a:gd name="connsiteX3" fmla="*/ 185133 w 247017"/>
                <a:gd name="connsiteY3" fmla="*/ 4356 h 121922"/>
                <a:gd name="connsiteX4" fmla="*/ 158571 w 247017"/>
                <a:gd name="connsiteY4" fmla="*/ 0 h 121922"/>
                <a:gd name="connsiteX5" fmla="*/ 158571 w 247017"/>
                <a:gd name="connsiteY5" fmla="*/ 70834 h 121922"/>
                <a:gd name="connsiteX6" fmla="*/ 88447 w 247017"/>
                <a:gd name="connsiteY6" fmla="*/ 70834 h 121922"/>
                <a:gd name="connsiteX7" fmla="*/ 88447 w 247017"/>
                <a:gd name="connsiteY7" fmla="*/ 0 h 121922"/>
                <a:gd name="connsiteX8" fmla="*/ 61885 w 247017"/>
                <a:gd name="connsiteY8" fmla="*/ 4356 h 121922"/>
                <a:gd name="connsiteX9" fmla="*/ 42851 w 247017"/>
                <a:gd name="connsiteY9" fmla="*/ 8239 h 121922"/>
                <a:gd name="connsiteX10" fmla="*/ 0 w 247017"/>
                <a:gd name="connsiteY10" fmla="*/ 59233 h 121922"/>
                <a:gd name="connsiteX11" fmla="*/ 0 w 247017"/>
                <a:gd name="connsiteY11" fmla="*/ 121923 h 1219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47017" h="121922">
                  <a:moveTo>
                    <a:pt x="247018" y="121923"/>
                  </a:moveTo>
                  <a:lnTo>
                    <a:pt x="247018" y="59233"/>
                  </a:lnTo>
                  <a:cubicBezTo>
                    <a:pt x="247018" y="15578"/>
                    <a:pt x="204167" y="8239"/>
                    <a:pt x="204167" y="8239"/>
                  </a:cubicBezTo>
                  <a:cubicBezTo>
                    <a:pt x="204167" y="8239"/>
                    <a:pt x="189631" y="5256"/>
                    <a:pt x="185133" y="4356"/>
                  </a:cubicBezTo>
                  <a:lnTo>
                    <a:pt x="158571" y="0"/>
                  </a:lnTo>
                  <a:lnTo>
                    <a:pt x="158571" y="70834"/>
                  </a:lnTo>
                  <a:lnTo>
                    <a:pt x="88447" y="70834"/>
                  </a:lnTo>
                  <a:lnTo>
                    <a:pt x="88447" y="0"/>
                  </a:lnTo>
                  <a:lnTo>
                    <a:pt x="61885" y="4356"/>
                  </a:lnTo>
                  <a:cubicBezTo>
                    <a:pt x="57387" y="5303"/>
                    <a:pt x="42851" y="8239"/>
                    <a:pt x="42851" y="8239"/>
                  </a:cubicBezTo>
                  <a:cubicBezTo>
                    <a:pt x="42851" y="8239"/>
                    <a:pt x="0" y="15578"/>
                    <a:pt x="0" y="59233"/>
                  </a:cubicBezTo>
                  <a:lnTo>
                    <a:pt x="0" y="121923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862" name="Gráfico 19">
            <a:extLst>
              <a:ext uri="{FF2B5EF4-FFF2-40B4-BE49-F238E27FC236}">
                <a16:creationId xmlns:a16="http://schemas.microsoft.com/office/drawing/2014/main" id="{8F945D08-0498-9A88-BB45-89D066ACE9FE}"/>
              </a:ext>
            </a:extLst>
          </p:cNvPr>
          <p:cNvGrpSpPr/>
          <p:nvPr/>
        </p:nvGrpSpPr>
        <p:grpSpPr>
          <a:xfrm>
            <a:off x="8664546" y="4682446"/>
            <a:ext cx="246591" cy="306582"/>
            <a:chOff x="8664546" y="4682446"/>
            <a:chExt cx="246591" cy="306582"/>
          </a:xfrm>
          <a:noFill/>
        </p:grpSpPr>
        <p:grpSp>
          <p:nvGrpSpPr>
            <p:cNvPr id="1863" name="Gráfico 19">
              <a:extLst>
                <a:ext uri="{FF2B5EF4-FFF2-40B4-BE49-F238E27FC236}">
                  <a16:creationId xmlns:a16="http://schemas.microsoft.com/office/drawing/2014/main" id="{6759D62A-116D-B62F-F4B8-6AD456B71E5B}"/>
                </a:ext>
              </a:extLst>
            </p:cNvPr>
            <p:cNvGrpSpPr/>
            <p:nvPr/>
          </p:nvGrpSpPr>
          <p:grpSpPr>
            <a:xfrm>
              <a:off x="8720654" y="4691016"/>
              <a:ext cx="134375" cy="76988"/>
              <a:chOff x="8720654" y="4691016"/>
              <a:chExt cx="134375" cy="76988"/>
            </a:xfrm>
            <a:noFill/>
          </p:grpSpPr>
          <p:sp>
            <p:nvSpPr>
              <p:cNvPr id="1864" name="Forma livre: Forma 1863">
                <a:extLst>
                  <a:ext uri="{FF2B5EF4-FFF2-40B4-BE49-F238E27FC236}">
                    <a16:creationId xmlns:a16="http://schemas.microsoft.com/office/drawing/2014/main" id="{5E0D30CA-8A29-A320-BC44-74E8D6C9A81C}"/>
                  </a:ext>
                </a:extLst>
              </p:cNvPr>
              <p:cNvSpPr/>
              <p:nvPr/>
            </p:nvSpPr>
            <p:spPr>
              <a:xfrm>
                <a:off x="8720654" y="4691016"/>
                <a:ext cx="51846" cy="76988"/>
              </a:xfrm>
              <a:custGeom>
                <a:avLst/>
                <a:gdLst>
                  <a:gd name="connsiteX0" fmla="*/ 51847 w 51846"/>
                  <a:gd name="connsiteY0" fmla="*/ 0 h 76988"/>
                  <a:gd name="connsiteX1" fmla="*/ 8475 w 51846"/>
                  <a:gd name="connsiteY1" fmla="*/ 61127 h 76988"/>
                  <a:gd name="connsiteX2" fmla="*/ 0 w 51846"/>
                  <a:gd name="connsiteY2" fmla="*/ 76989 h 769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51846" h="76988">
                    <a:moveTo>
                      <a:pt x="51847" y="0"/>
                    </a:moveTo>
                    <a:cubicBezTo>
                      <a:pt x="34612" y="3977"/>
                      <a:pt x="8475" y="17282"/>
                      <a:pt x="8475" y="61127"/>
                    </a:cubicBezTo>
                    <a:cubicBezTo>
                      <a:pt x="8475" y="66904"/>
                      <a:pt x="7244" y="73438"/>
                      <a:pt x="0" y="76989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865" name="Forma livre: Forma 1864">
                <a:extLst>
                  <a:ext uri="{FF2B5EF4-FFF2-40B4-BE49-F238E27FC236}">
                    <a16:creationId xmlns:a16="http://schemas.microsoft.com/office/drawing/2014/main" id="{89FF03A1-6AFF-2F25-71AE-703D79720747}"/>
                  </a:ext>
                </a:extLst>
              </p:cNvPr>
              <p:cNvSpPr/>
              <p:nvPr/>
            </p:nvSpPr>
            <p:spPr>
              <a:xfrm>
                <a:off x="8803183" y="4691016"/>
                <a:ext cx="51846" cy="76988"/>
              </a:xfrm>
              <a:custGeom>
                <a:avLst/>
                <a:gdLst>
                  <a:gd name="connsiteX0" fmla="*/ 0 w 51846"/>
                  <a:gd name="connsiteY0" fmla="*/ 0 h 76988"/>
                  <a:gd name="connsiteX1" fmla="*/ 43371 w 51846"/>
                  <a:gd name="connsiteY1" fmla="*/ 61127 h 76988"/>
                  <a:gd name="connsiteX2" fmla="*/ 51847 w 51846"/>
                  <a:gd name="connsiteY2" fmla="*/ 76989 h 769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51846" h="76988">
                    <a:moveTo>
                      <a:pt x="0" y="0"/>
                    </a:moveTo>
                    <a:cubicBezTo>
                      <a:pt x="17235" y="3977"/>
                      <a:pt x="43371" y="17282"/>
                      <a:pt x="43371" y="61127"/>
                    </a:cubicBezTo>
                    <a:cubicBezTo>
                      <a:pt x="43371" y="66904"/>
                      <a:pt x="44602" y="73438"/>
                      <a:pt x="51847" y="76989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866" name="Forma livre: Forma 1865">
              <a:extLst>
                <a:ext uri="{FF2B5EF4-FFF2-40B4-BE49-F238E27FC236}">
                  <a16:creationId xmlns:a16="http://schemas.microsoft.com/office/drawing/2014/main" id="{B7945E32-D6FE-2544-A338-6D8E8FB74479}"/>
                </a:ext>
              </a:extLst>
            </p:cNvPr>
            <p:cNvSpPr/>
            <p:nvPr/>
          </p:nvSpPr>
          <p:spPr>
            <a:xfrm>
              <a:off x="8770039" y="4682446"/>
              <a:ext cx="35606" cy="70170"/>
            </a:xfrm>
            <a:custGeom>
              <a:avLst/>
              <a:gdLst>
                <a:gd name="connsiteX0" fmla="*/ 0 w 35606"/>
                <a:gd name="connsiteY0" fmla="*/ 70171 h 70170"/>
                <a:gd name="connsiteX1" fmla="*/ 3788 w 35606"/>
                <a:gd name="connsiteY1" fmla="*/ 0 h 70170"/>
                <a:gd name="connsiteX2" fmla="*/ 31818 w 35606"/>
                <a:gd name="connsiteY2" fmla="*/ 0 h 70170"/>
                <a:gd name="connsiteX3" fmla="*/ 35606 w 35606"/>
                <a:gd name="connsiteY3" fmla="*/ 70171 h 701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5606" h="70170">
                  <a:moveTo>
                    <a:pt x="0" y="70171"/>
                  </a:moveTo>
                  <a:lnTo>
                    <a:pt x="3788" y="0"/>
                  </a:lnTo>
                  <a:lnTo>
                    <a:pt x="31818" y="0"/>
                  </a:lnTo>
                  <a:lnTo>
                    <a:pt x="35606" y="70171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67" name="Forma livre: Forma 1866">
              <a:extLst>
                <a:ext uri="{FF2B5EF4-FFF2-40B4-BE49-F238E27FC236}">
                  <a16:creationId xmlns:a16="http://schemas.microsoft.com/office/drawing/2014/main" id="{29014D22-FFA0-2723-9427-6391F83DA0B8}"/>
                </a:ext>
              </a:extLst>
            </p:cNvPr>
            <p:cNvSpPr/>
            <p:nvPr/>
          </p:nvSpPr>
          <p:spPr>
            <a:xfrm>
              <a:off x="8787842" y="4881358"/>
              <a:ext cx="4734" cy="93750"/>
            </a:xfrm>
            <a:custGeom>
              <a:avLst/>
              <a:gdLst>
                <a:gd name="connsiteX0" fmla="*/ 0 w 4734"/>
                <a:gd name="connsiteY0" fmla="*/ 0 h 93750"/>
                <a:gd name="connsiteX1" fmla="*/ 0 w 4734"/>
                <a:gd name="connsiteY1" fmla="*/ 93750 h 93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734" h="93750">
                  <a:moveTo>
                    <a:pt x="0" y="0"/>
                  </a:moveTo>
                  <a:lnTo>
                    <a:pt x="0" y="9375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68" name="Forma livre: Forma 1867">
              <a:extLst>
                <a:ext uri="{FF2B5EF4-FFF2-40B4-BE49-F238E27FC236}">
                  <a16:creationId xmlns:a16="http://schemas.microsoft.com/office/drawing/2014/main" id="{68C679AA-446B-2D2B-787D-45553F145706}"/>
                </a:ext>
              </a:extLst>
            </p:cNvPr>
            <p:cNvSpPr/>
            <p:nvPr/>
          </p:nvSpPr>
          <p:spPr>
            <a:xfrm>
              <a:off x="8787842" y="4960904"/>
              <a:ext cx="4734" cy="28125"/>
            </a:xfrm>
            <a:custGeom>
              <a:avLst/>
              <a:gdLst>
                <a:gd name="connsiteX0" fmla="*/ 0 w 4734"/>
                <a:gd name="connsiteY0" fmla="*/ 0 h 28125"/>
                <a:gd name="connsiteX1" fmla="*/ 0 w 4734"/>
                <a:gd name="connsiteY1" fmla="*/ 28125 h 281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734" h="28125">
                  <a:moveTo>
                    <a:pt x="0" y="0"/>
                  </a:moveTo>
                  <a:lnTo>
                    <a:pt x="0" y="28125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69" name="Forma livre: Forma 1868">
              <a:extLst>
                <a:ext uri="{FF2B5EF4-FFF2-40B4-BE49-F238E27FC236}">
                  <a16:creationId xmlns:a16="http://schemas.microsoft.com/office/drawing/2014/main" id="{298E5461-639F-66A0-D480-7D5C6E4E5360}"/>
                </a:ext>
              </a:extLst>
            </p:cNvPr>
            <p:cNvSpPr/>
            <p:nvPr/>
          </p:nvSpPr>
          <p:spPr>
            <a:xfrm>
              <a:off x="8849395" y="4933773"/>
              <a:ext cx="29592" cy="4734"/>
            </a:xfrm>
            <a:custGeom>
              <a:avLst/>
              <a:gdLst>
                <a:gd name="connsiteX0" fmla="*/ 0 w 29592"/>
                <a:gd name="connsiteY0" fmla="*/ 0 h 4734"/>
                <a:gd name="connsiteX1" fmla="*/ 29593 w 29592"/>
                <a:gd name="connsiteY1" fmla="*/ 0 h 47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9592" h="4734">
                  <a:moveTo>
                    <a:pt x="0" y="0"/>
                  </a:moveTo>
                  <a:lnTo>
                    <a:pt x="29593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70" name="Forma livre: Forma 1869">
              <a:extLst>
                <a:ext uri="{FF2B5EF4-FFF2-40B4-BE49-F238E27FC236}">
                  <a16:creationId xmlns:a16="http://schemas.microsoft.com/office/drawing/2014/main" id="{A3F8A792-2838-8C1D-661B-E44E2D361956}"/>
                </a:ext>
              </a:extLst>
            </p:cNvPr>
            <p:cNvSpPr/>
            <p:nvPr/>
          </p:nvSpPr>
          <p:spPr>
            <a:xfrm>
              <a:off x="8732775" y="4773450"/>
              <a:ext cx="110227" cy="79735"/>
            </a:xfrm>
            <a:custGeom>
              <a:avLst/>
              <a:gdLst>
                <a:gd name="connsiteX0" fmla="*/ 109802 w 110227"/>
                <a:gd name="connsiteY0" fmla="*/ 0 h 79735"/>
                <a:gd name="connsiteX1" fmla="*/ 110228 w 110227"/>
                <a:gd name="connsiteY1" fmla="*/ 7718 h 79735"/>
                <a:gd name="connsiteX2" fmla="*/ 55114 w 110227"/>
                <a:gd name="connsiteY2" fmla="*/ 79735 h 79735"/>
                <a:gd name="connsiteX3" fmla="*/ 0 w 110227"/>
                <a:gd name="connsiteY3" fmla="*/ 7718 h 79735"/>
                <a:gd name="connsiteX4" fmla="*/ 379 w 110227"/>
                <a:gd name="connsiteY4" fmla="*/ 379 h 797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0227" h="79735">
                  <a:moveTo>
                    <a:pt x="109802" y="0"/>
                  </a:moveTo>
                  <a:cubicBezTo>
                    <a:pt x="110086" y="2509"/>
                    <a:pt x="110228" y="5066"/>
                    <a:pt x="110228" y="7718"/>
                  </a:cubicBezTo>
                  <a:cubicBezTo>
                    <a:pt x="110228" y="43987"/>
                    <a:pt x="84423" y="79735"/>
                    <a:pt x="55114" y="79735"/>
                  </a:cubicBezTo>
                  <a:cubicBezTo>
                    <a:pt x="25805" y="79735"/>
                    <a:pt x="0" y="44034"/>
                    <a:pt x="0" y="7718"/>
                  </a:cubicBezTo>
                  <a:cubicBezTo>
                    <a:pt x="0" y="5208"/>
                    <a:pt x="142" y="2746"/>
                    <a:pt x="379" y="379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71" name="Forma livre: Forma 1870">
              <a:extLst>
                <a:ext uri="{FF2B5EF4-FFF2-40B4-BE49-F238E27FC236}">
                  <a16:creationId xmlns:a16="http://schemas.microsoft.com/office/drawing/2014/main" id="{8BEB2385-349C-130A-E4D7-51C293275696}"/>
                </a:ext>
              </a:extLst>
            </p:cNvPr>
            <p:cNvSpPr/>
            <p:nvPr/>
          </p:nvSpPr>
          <p:spPr>
            <a:xfrm>
              <a:off x="8713789" y="4766159"/>
              <a:ext cx="148106" cy="13399"/>
            </a:xfrm>
            <a:custGeom>
              <a:avLst/>
              <a:gdLst>
                <a:gd name="connsiteX0" fmla="*/ 148107 w 148106"/>
                <a:gd name="connsiteY0" fmla="*/ 0 h 13399"/>
                <a:gd name="connsiteX1" fmla="*/ 74053 w 148106"/>
                <a:gd name="connsiteY1" fmla="*/ 13400 h 13399"/>
                <a:gd name="connsiteX2" fmla="*/ 74053 w 148106"/>
                <a:gd name="connsiteY2" fmla="*/ 13400 h 13399"/>
                <a:gd name="connsiteX3" fmla="*/ 0 w 148106"/>
                <a:gd name="connsiteY3" fmla="*/ 0 h 133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8106" h="13399">
                  <a:moveTo>
                    <a:pt x="148107" y="0"/>
                  </a:moveTo>
                  <a:cubicBezTo>
                    <a:pt x="128220" y="8523"/>
                    <a:pt x="102605" y="13400"/>
                    <a:pt x="74053" y="13400"/>
                  </a:cubicBezTo>
                  <a:lnTo>
                    <a:pt x="74053" y="13400"/>
                  </a:lnTo>
                  <a:cubicBezTo>
                    <a:pt x="45455" y="13400"/>
                    <a:pt x="19886" y="8523"/>
                    <a:pt x="0" y="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872" name="Gráfico 19">
              <a:extLst>
                <a:ext uri="{FF2B5EF4-FFF2-40B4-BE49-F238E27FC236}">
                  <a16:creationId xmlns:a16="http://schemas.microsoft.com/office/drawing/2014/main" id="{12998DE7-4037-85DB-57C2-DCABE774C4F2}"/>
                </a:ext>
              </a:extLst>
            </p:cNvPr>
            <p:cNvGrpSpPr/>
            <p:nvPr/>
          </p:nvGrpSpPr>
          <p:grpSpPr>
            <a:xfrm>
              <a:off x="8664546" y="4869568"/>
              <a:ext cx="246591" cy="119460"/>
              <a:chOff x="8664546" y="4869568"/>
              <a:chExt cx="246591" cy="119460"/>
            </a:xfrm>
            <a:noFill/>
          </p:grpSpPr>
          <p:sp>
            <p:nvSpPr>
              <p:cNvPr id="1873" name="Forma livre: Forma 1872">
                <a:extLst>
                  <a:ext uri="{FF2B5EF4-FFF2-40B4-BE49-F238E27FC236}">
                    <a16:creationId xmlns:a16="http://schemas.microsoft.com/office/drawing/2014/main" id="{6DA2B18F-D901-4CBE-E92F-07C37FFF683B}"/>
                  </a:ext>
                </a:extLst>
              </p:cNvPr>
              <p:cNvSpPr/>
              <p:nvPr/>
            </p:nvSpPr>
            <p:spPr>
              <a:xfrm>
                <a:off x="8664546" y="4869568"/>
                <a:ext cx="95076" cy="119460"/>
              </a:xfrm>
              <a:custGeom>
                <a:avLst/>
                <a:gdLst>
                  <a:gd name="connsiteX0" fmla="*/ 0 w 95076"/>
                  <a:gd name="connsiteY0" fmla="*/ 119461 h 119460"/>
                  <a:gd name="connsiteX1" fmla="*/ 0 w 95076"/>
                  <a:gd name="connsiteY1" fmla="*/ 56013 h 119460"/>
                  <a:gd name="connsiteX2" fmla="*/ 42851 w 95076"/>
                  <a:gd name="connsiteY2" fmla="*/ 5019 h 119460"/>
                  <a:gd name="connsiteX3" fmla="*/ 81203 w 95076"/>
                  <a:gd name="connsiteY3" fmla="*/ 0 h 119460"/>
                  <a:gd name="connsiteX4" fmla="*/ 95076 w 95076"/>
                  <a:gd name="connsiteY4" fmla="*/ 119461 h 1194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95076" h="119460">
                    <a:moveTo>
                      <a:pt x="0" y="119461"/>
                    </a:moveTo>
                    <a:lnTo>
                      <a:pt x="0" y="56013"/>
                    </a:lnTo>
                    <a:cubicBezTo>
                      <a:pt x="0" y="12358"/>
                      <a:pt x="42851" y="5019"/>
                      <a:pt x="42851" y="5019"/>
                    </a:cubicBezTo>
                    <a:lnTo>
                      <a:pt x="81203" y="0"/>
                    </a:lnTo>
                    <a:lnTo>
                      <a:pt x="95076" y="119461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874" name="Forma livre: Forma 1873">
                <a:extLst>
                  <a:ext uri="{FF2B5EF4-FFF2-40B4-BE49-F238E27FC236}">
                    <a16:creationId xmlns:a16="http://schemas.microsoft.com/office/drawing/2014/main" id="{EE9C0200-F078-47DA-CDEC-F2B08BB19DB5}"/>
                  </a:ext>
                </a:extLst>
              </p:cNvPr>
              <p:cNvSpPr/>
              <p:nvPr/>
            </p:nvSpPr>
            <p:spPr>
              <a:xfrm>
                <a:off x="8816062" y="4869568"/>
                <a:ext cx="95076" cy="119460"/>
              </a:xfrm>
              <a:custGeom>
                <a:avLst/>
                <a:gdLst>
                  <a:gd name="connsiteX0" fmla="*/ 95076 w 95076"/>
                  <a:gd name="connsiteY0" fmla="*/ 119461 h 119460"/>
                  <a:gd name="connsiteX1" fmla="*/ 95076 w 95076"/>
                  <a:gd name="connsiteY1" fmla="*/ 56013 h 119460"/>
                  <a:gd name="connsiteX2" fmla="*/ 52226 w 95076"/>
                  <a:gd name="connsiteY2" fmla="*/ 5019 h 119460"/>
                  <a:gd name="connsiteX3" fmla="*/ 13873 w 95076"/>
                  <a:gd name="connsiteY3" fmla="*/ 0 h 119460"/>
                  <a:gd name="connsiteX4" fmla="*/ 0 w 95076"/>
                  <a:gd name="connsiteY4" fmla="*/ 119461 h 1194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95076" h="119460">
                    <a:moveTo>
                      <a:pt x="95076" y="119461"/>
                    </a:moveTo>
                    <a:lnTo>
                      <a:pt x="95076" y="56013"/>
                    </a:lnTo>
                    <a:cubicBezTo>
                      <a:pt x="95076" y="12358"/>
                      <a:pt x="52226" y="5019"/>
                      <a:pt x="52226" y="5019"/>
                    </a:cubicBezTo>
                    <a:lnTo>
                      <a:pt x="13873" y="0"/>
                    </a:lnTo>
                    <a:lnTo>
                      <a:pt x="0" y="119461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875" name="Gráfico 19">
            <a:extLst>
              <a:ext uri="{FF2B5EF4-FFF2-40B4-BE49-F238E27FC236}">
                <a16:creationId xmlns:a16="http://schemas.microsoft.com/office/drawing/2014/main" id="{C22F8406-330E-F00F-FE5F-298B7FDFC902}"/>
              </a:ext>
            </a:extLst>
          </p:cNvPr>
          <p:cNvGrpSpPr/>
          <p:nvPr/>
        </p:nvGrpSpPr>
        <p:grpSpPr>
          <a:xfrm>
            <a:off x="9235760" y="5213459"/>
            <a:ext cx="338208" cy="292380"/>
            <a:chOff x="9235760" y="5213459"/>
            <a:chExt cx="338208" cy="292380"/>
          </a:xfrm>
          <a:noFill/>
        </p:grpSpPr>
        <p:sp>
          <p:nvSpPr>
            <p:cNvPr id="1876" name="Forma livre: Forma 1875">
              <a:extLst>
                <a:ext uri="{FF2B5EF4-FFF2-40B4-BE49-F238E27FC236}">
                  <a16:creationId xmlns:a16="http://schemas.microsoft.com/office/drawing/2014/main" id="{DEB42B7A-9BD2-101C-60AD-711C057C1D5C}"/>
                </a:ext>
              </a:extLst>
            </p:cNvPr>
            <p:cNvSpPr/>
            <p:nvPr/>
          </p:nvSpPr>
          <p:spPr>
            <a:xfrm>
              <a:off x="9235760" y="5338509"/>
              <a:ext cx="167282" cy="167330"/>
            </a:xfrm>
            <a:custGeom>
              <a:avLst/>
              <a:gdLst>
                <a:gd name="connsiteX0" fmla="*/ 135985 w 167282"/>
                <a:gd name="connsiteY0" fmla="*/ 0 h 167330"/>
                <a:gd name="connsiteX1" fmla="*/ 5540 w 167282"/>
                <a:gd name="connsiteY1" fmla="*/ 130493 h 167330"/>
                <a:gd name="connsiteX2" fmla="*/ 5540 w 167282"/>
                <a:gd name="connsiteY2" fmla="*/ 157292 h 167330"/>
                <a:gd name="connsiteX3" fmla="*/ 10038 w 167282"/>
                <a:gd name="connsiteY3" fmla="*/ 161790 h 167330"/>
                <a:gd name="connsiteX4" fmla="*/ 36837 w 167282"/>
                <a:gd name="connsiteY4" fmla="*/ 161790 h 167330"/>
                <a:gd name="connsiteX5" fmla="*/ 167283 w 167282"/>
                <a:gd name="connsiteY5" fmla="*/ 31345 h 1673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67282" h="167330">
                  <a:moveTo>
                    <a:pt x="135985" y="0"/>
                  </a:moveTo>
                  <a:lnTo>
                    <a:pt x="5540" y="130493"/>
                  </a:lnTo>
                  <a:cubicBezTo>
                    <a:pt x="-1847" y="137879"/>
                    <a:pt x="-1847" y="149906"/>
                    <a:pt x="5540" y="157292"/>
                  </a:cubicBezTo>
                  <a:lnTo>
                    <a:pt x="10038" y="161790"/>
                  </a:lnTo>
                  <a:cubicBezTo>
                    <a:pt x="17424" y="169177"/>
                    <a:pt x="29451" y="169177"/>
                    <a:pt x="36837" y="161790"/>
                  </a:cubicBezTo>
                  <a:lnTo>
                    <a:pt x="167283" y="31345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77" name="Forma livre: Forma 1876">
              <a:extLst>
                <a:ext uri="{FF2B5EF4-FFF2-40B4-BE49-F238E27FC236}">
                  <a16:creationId xmlns:a16="http://schemas.microsoft.com/office/drawing/2014/main" id="{EF4B2B4C-F0A9-2F76-4090-30E029827568}"/>
                </a:ext>
              </a:extLst>
            </p:cNvPr>
            <p:cNvSpPr/>
            <p:nvPr/>
          </p:nvSpPr>
          <p:spPr>
            <a:xfrm>
              <a:off x="9366782" y="5402288"/>
              <a:ext cx="64149" cy="63928"/>
            </a:xfrm>
            <a:custGeom>
              <a:avLst/>
              <a:gdLst>
                <a:gd name="connsiteX0" fmla="*/ 40949 w 64149"/>
                <a:gd name="connsiteY0" fmla="*/ 0 h 63928"/>
                <a:gd name="connsiteX1" fmla="*/ 4490 w 64149"/>
                <a:gd name="connsiteY1" fmla="*/ 37974 h 63928"/>
                <a:gd name="connsiteX2" fmla="*/ 4254 w 64149"/>
                <a:gd name="connsiteY2" fmla="*/ 59517 h 63928"/>
                <a:gd name="connsiteX3" fmla="*/ 4632 w 64149"/>
                <a:gd name="connsiteY3" fmla="*/ 59849 h 63928"/>
                <a:gd name="connsiteX4" fmla="*/ 25987 w 64149"/>
                <a:gd name="connsiteY4" fmla="*/ 59423 h 63928"/>
                <a:gd name="connsiteX5" fmla="*/ 64150 w 64149"/>
                <a:gd name="connsiteY5" fmla="*/ 23201 h 639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4149" h="63928">
                  <a:moveTo>
                    <a:pt x="40949" y="0"/>
                  </a:moveTo>
                  <a:lnTo>
                    <a:pt x="4490" y="37974"/>
                  </a:lnTo>
                  <a:cubicBezTo>
                    <a:pt x="4490" y="37974"/>
                    <a:pt x="-5453" y="49053"/>
                    <a:pt x="4254" y="59517"/>
                  </a:cubicBezTo>
                  <a:lnTo>
                    <a:pt x="4632" y="59849"/>
                  </a:lnTo>
                  <a:cubicBezTo>
                    <a:pt x="15049" y="69271"/>
                    <a:pt x="25987" y="59423"/>
                    <a:pt x="25987" y="59423"/>
                  </a:cubicBezTo>
                  <a:lnTo>
                    <a:pt x="64150" y="23201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78" name="Forma livre: Forma 1877">
              <a:extLst>
                <a:ext uri="{FF2B5EF4-FFF2-40B4-BE49-F238E27FC236}">
                  <a16:creationId xmlns:a16="http://schemas.microsoft.com/office/drawing/2014/main" id="{6D11954A-32EE-EF15-0871-8D860795645A}"/>
                </a:ext>
              </a:extLst>
            </p:cNvPr>
            <p:cNvSpPr/>
            <p:nvPr/>
          </p:nvSpPr>
          <p:spPr>
            <a:xfrm>
              <a:off x="9450297" y="5213459"/>
              <a:ext cx="123671" cy="150334"/>
            </a:xfrm>
            <a:custGeom>
              <a:avLst/>
              <a:gdLst>
                <a:gd name="connsiteX0" fmla="*/ 45691 w 123671"/>
                <a:gd name="connsiteY0" fmla="*/ 150335 h 150334"/>
                <a:gd name="connsiteX1" fmla="*/ 93087 w 123671"/>
                <a:gd name="connsiteY1" fmla="*/ 105401 h 150334"/>
                <a:gd name="connsiteX2" fmla="*/ 122964 w 123671"/>
                <a:gd name="connsiteY2" fmla="*/ 58525 h 150334"/>
                <a:gd name="connsiteX3" fmla="*/ 6960 w 123671"/>
                <a:gd name="connsiteY3" fmla="*/ 3 h 150334"/>
                <a:gd name="connsiteX4" fmla="*/ 0 w 123671"/>
                <a:gd name="connsiteY4" fmla="*/ 6063 h 150334"/>
                <a:gd name="connsiteX5" fmla="*/ 67756 w 123671"/>
                <a:gd name="connsiteY5" fmla="*/ 73819 h 150334"/>
                <a:gd name="connsiteX6" fmla="*/ 19508 w 123671"/>
                <a:gd name="connsiteY6" fmla="*/ 124151 h 1503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23671" h="150334">
                  <a:moveTo>
                    <a:pt x="45691" y="150335"/>
                  </a:moveTo>
                  <a:lnTo>
                    <a:pt x="93087" y="105401"/>
                  </a:lnTo>
                  <a:cubicBezTo>
                    <a:pt x="93087" y="105401"/>
                    <a:pt x="129120" y="74103"/>
                    <a:pt x="122964" y="58525"/>
                  </a:cubicBezTo>
                  <a:cubicBezTo>
                    <a:pt x="122964" y="58525"/>
                    <a:pt x="112879" y="7531"/>
                    <a:pt x="6960" y="3"/>
                  </a:cubicBezTo>
                  <a:cubicBezTo>
                    <a:pt x="5350" y="-92"/>
                    <a:pt x="3646" y="2417"/>
                    <a:pt x="0" y="6063"/>
                  </a:cubicBezTo>
                  <a:lnTo>
                    <a:pt x="67756" y="73819"/>
                  </a:lnTo>
                  <a:lnTo>
                    <a:pt x="19508" y="124151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79" name="Forma livre: Forma 1878">
              <a:extLst>
                <a:ext uri="{FF2B5EF4-FFF2-40B4-BE49-F238E27FC236}">
                  <a16:creationId xmlns:a16="http://schemas.microsoft.com/office/drawing/2014/main" id="{96A3B3EF-A265-BA43-13BD-71136D230561}"/>
                </a:ext>
              </a:extLst>
            </p:cNvPr>
            <p:cNvSpPr/>
            <p:nvPr/>
          </p:nvSpPr>
          <p:spPr>
            <a:xfrm>
              <a:off x="9262654" y="5469050"/>
              <a:ext cx="10179" cy="10179"/>
            </a:xfrm>
            <a:custGeom>
              <a:avLst/>
              <a:gdLst>
                <a:gd name="connsiteX0" fmla="*/ 0 w 10179"/>
                <a:gd name="connsiteY0" fmla="*/ 10180 h 10179"/>
                <a:gd name="connsiteX1" fmla="*/ 10180 w 10179"/>
                <a:gd name="connsiteY1" fmla="*/ 0 h 101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179" h="10179">
                  <a:moveTo>
                    <a:pt x="0" y="10180"/>
                  </a:moveTo>
                  <a:lnTo>
                    <a:pt x="1018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80" name="Forma livre: Forma 1879">
              <a:extLst>
                <a:ext uri="{FF2B5EF4-FFF2-40B4-BE49-F238E27FC236}">
                  <a16:creationId xmlns:a16="http://schemas.microsoft.com/office/drawing/2014/main" id="{080CE2A8-CCEE-35EA-56B7-B2F76AB1ECFA}"/>
                </a:ext>
              </a:extLst>
            </p:cNvPr>
            <p:cNvSpPr/>
            <p:nvPr/>
          </p:nvSpPr>
          <p:spPr>
            <a:xfrm>
              <a:off x="9419663" y="5251246"/>
              <a:ext cx="67187" cy="67140"/>
            </a:xfrm>
            <a:custGeom>
              <a:avLst/>
              <a:gdLst>
                <a:gd name="connsiteX0" fmla="*/ 67188 w 67187"/>
                <a:gd name="connsiteY0" fmla="*/ 67140 h 67140"/>
                <a:gd name="connsiteX1" fmla="*/ 0 w 67187"/>
                <a:gd name="connsiteY1" fmla="*/ 0 h 671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7187" h="67140">
                  <a:moveTo>
                    <a:pt x="67188" y="67140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81" name="Forma livre: Forma 1880">
              <a:extLst>
                <a:ext uri="{FF2B5EF4-FFF2-40B4-BE49-F238E27FC236}">
                  <a16:creationId xmlns:a16="http://schemas.microsoft.com/office/drawing/2014/main" id="{81831514-0AB4-1509-D37D-9BA6893286A8}"/>
                </a:ext>
              </a:extLst>
            </p:cNvPr>
            <p:cNvSpPr/>
            <p:nvPr/>
          </p:nvSpPr>
          <p:spPr>
            <a:xfrm>
              <a:off x="9362039" y="5302856"/>
              <a:ext cx="141477" cy="118182"/>
            </a:xfrm>
            <a:custGeom>
              <a:avLst/>
              <a:gdLst>
                <a:gd name="connsiteX0" fmla="*/ 141478 w 141477"/>
                <a:gd name="connsiteY0" fmla="*/ 69744 h 118182"/>
                <a:gd name="connsiteX1" fmla="*/ 85512 w 141477"/>
                <a:gd name="connsiteY1" fmla="*/ 13778 h 118182"/>
                <a:gd name="connsiteX2" fmla="*/ 62027 w 141477"/>
                <a:gd name="connsiteY2" fmla="*/ 18655 h 118182"/>
                <a:gd name="connsiteX3" fmla="*/ 43892 w 141477"/>
                <a:gd name="connsiteY3" fmla="*/ 18229 h 118182"/>
                <a:gd name="connsiteX4" fmla="*/ 25663 w 141477"/>
                <a:gd name="connsiteY4" fmla="*/ 0 h 118182"/>
                <a:gd name="connsiteX5" fmla="*/ 0 w 141477"/>
                <a:gd name="connsiteY5" fmla="*/ 25663 h 118182"/>
                <a:gd name="connsiteX6" fmla="*/ 92519 w 141477"/>
                <a:gd name="connsiteY6" fmla="*/ 118182 h 118182"/>
                <a:gd name="connsiteX7" fmla="*/ 141478 w 141477"/>
                <a:gd name="connsiteY7" fmla="*/ 69744 h 1181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41477" h="118182">
                  <a:moveTo>
                    <a:pt x="141478" y="69744"/>
                  </a:moveTo>
                  <a:lnTo>
                    <a:pt x="85512" y="13778"/>
                  </a:lnTo>
                  <a:cubicBezTo>
                    <a:pt x="85512" y="13778"/>
                    <a:pt x="76231" y="4498"/>
                    <a:pt x="62027" y="18655"/>
                  </a:cubicBezTo>
                  <a:cubicBezTo>
                    <a:pt x="62027" y="18655"/>
                    <a:pt x="52746" y="27083"/>
                    <a:pt x="43892" y="18229"/>
                  </a:cubicBezTo>
                  <a:lnTo>
                    <a:pt x="25663" y="0"/>
                  </a:lnTo>
                  <a:lnTo>
                    <a:pt x="0" y="25663"/>
                  </a:lnTo>
                  <a:lnTo>
                    <a:pt x="92519" y="118182"/>
                  </a:lnTo>
                  <a:cubicBezTo>
                    <a:pt x="92519" y="118182"/>
                    <a:pt x="123769" y="106913"/>
                    <a:pt x="141478" y="69744"/>
                  </a:cubicBez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82" name="Forma livre: Forma 1881">
              <a:extLst>
                <a:ext uri="{FF2B5EF4-FFF2-40B4-BE49-F238E27FC236}">
                  <a16:creationId xmlns:a16="http://schemas.microsoft.com/office/drawing/2014/main" id="{270AE9CE-1A2F-02F2-96EF-CD1E9F3CF353}"/>
                </a:ext>
              </a:extLst>
            </p:cNvPr>
            <p:cNvSpPr/>
            <p:nvPr/>
          </p:nvSpPr>
          <p:spPr>
            <a:xfrm>
              <a:off x="9441159" y="5362562"/>
              <a:ext cx="17755" cy="17708"/>
            </a:xfrm>
            <a:custGeom>
              <a:avLst/>
              <a:gdLst>
                <a:gd name="connsiteX0" fmla="*/ 17756 w 17755"/>
                <a:gd name="connsiteY0" fmla="*/ 17708 h 17708"/>
                <a:gd name="connsiteX1" fmla="*/ 0 w 17755"/>
                <a:gd name="connsiteY1" fmla="*/ 0 h 177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7755" h="17708">
                  <a:moveTo>
                    <a:pt x="17756" y="17708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83" name="Forma livre: Forma 1882">
              <a:extLst>
                <a:ext uri="{FF2B5EF4-FFF2-40B4-BE49-F238E27FC236}">
                  <a16:creationId xmlns:a16="http://schemas.microsoft.com/office/drawing/2014/main" id="{DD46AB63-4849-356D-A920-985C7F253A17}"/>
                </a:ext>
              </a:extLst>
            </p:cNvPr>
            <p:cNvSpPr/>
            <p:nvPr/>
          </p:nvSpPr>
          <p:spPr>
            <a:xfrm>
              <a:off x="9397929" y="5271322"/>
              <a:ext cx="40909" cy="40909"/>
            </a:xfrm>
            <a:custGeom>
              <a:avLst/>
              <a:gdLst>
                <a:gd name="connsiteX0" fmla="*/ 0 w 40909"/>
                <a:gd name="connsiteY0" fmla="*/ 40909 h 40909"/>
                <a:gd name="connsiteX1" fmla="*/ 40909 w 40909"/>
                <a:gd name="connsiteY1" fmla="*/ 0 h 409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0909" h="40909">
                  <a:moveTo>
                    <a:pt x="0" y="40909"/>
                  </a:moveTo>
                  <a:lnTo>
                    <a:pt x="40909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884" name="Gráfico 19">
            <a:extLst>
              <a:ext uri="{FF2B5EF4-FFF2-40B4-BE49-F238E27FC236}">
                <a16:creationId xmlns:a16="http://schemas.microsoft.com/office/drawing/2014/main" id="{54A1EFC5-9853-5049-00D4-11B8E59F13EB}"/>
              </a:ext>
            </a:extLst>
          </p:cNvPr>
          <p:cNvGrpSpPr/>
          <p:nvPr/>
        </p:nvGrpSpPr>
        <p:grpSpPr>
          <a:xfrm>
            <a:off x="8052991" y="5208395"/>
            <a:ext cx="235701" cy="303836"/>
            <a:chOff x="8052991" y="5208395"/>
            <a:chExt cx="235701" cy="303836"/>
          </a:xfrm>
        </p:grpSpPr>
        <p:sp>
          <p:nvSpPr>
            <p:cNvPr id="1885" name="Forma livre: Forma 1884">
              <a:extLst>
                <a:ext uri="{FF2B5EF4-FFF2-40B4-BE49-F238E27FC236}">
                  <a16:creationId xmlns:a16="http://schemas.microsoft.com/office/drawing/2014/main" id="{353CD71A-4B12-565A-97EB-01806A21C79D}"/>
                </a:ext>
              </a:extLst>
            </p:cNvPr>
            <p:cNvSpPr/>
            <p:nvPr/>
          </p:nvSpPr>
          <p:spPr>
            <a:xfrm>
              <a:off x="8110567" y="5460290"/>
              <a:ext cx="120502" cy="4734"/>
            </a:xfrm>
            <a:custGeom>
              <a:avLst/>
              <a:gdLst>
                <a:gd name="connsiteX0" fmla="*/ 0 w 120502"/>
                <a:gd name="connsiteY0" fmla="*/ 0 h 4734"/>
                <a:gd name="connsiteX1" fmla="*/ 120502 w 120502"/>
                <a:gd name="connsiteY1" fmla="*/ 0 h 47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502" h="4734">
                  <a:moveTo>
                    <a:pt x="0" y="0"/>
                  </a:moveTo>
                  <a:lnTo>
                    <a:pt x="120502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86" name="Forma livre: Forma 1885">
              <a:extLst>
                <a:ext uri="{FF2B5EF4-FFF2-40B4-BE49-F238E27FC236}">
                  <a16:creationId xmlns:a16="http://schemas.microsoft.com/office/drawing/2014/main" id="{362F3A00-1A04-B929-8F45-1A07BF4DEF91}"/>
                </a:ext>
              </a:extLst>
            </p:cNvPr>
            <p:cNvSpPr/>
            <p:nvPr/>
          </p:nvSpPr>
          <p:spPr>
            <a:xfrm>
              <a:off x="8052991" y="5208395"/>
              <a:ext cx="235701" cy="145975"/>
            </a:xfrm>
            <a:custGeom>
              <a:avLst/>
              <a:gdLst>
                <a:gd name="connsiteX0" fmla="*/ 0 w 235701"/>
                <a:gd name="connsiteY0" fmla="*/ 0 h 145975"/>
                <a:gd name="connsiteX1" fmla="*/ 235702 w 235701"/>
                <a:gd name="connsiteY1" fmla="*/ 0 h 145975"/>
                <a:gd name="connsiteX2" fmla="*/ 235702 w 235701"/>
                <a:gd name="connsiteY2" fmla="*/ 145976 h 145975"/>
                <a:gd name="connsiteX3" fmla="*/ 0 w 235701"/>
                <a:gd name="connsiteY3" fmla="*/ 145976 h 145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5701" h="145975">
                  <a:moveTo>
                    <a:pt x="0" y="0"/>
                  </a:moveTo>
                  <a:lnTo>
                    <a:pt x="235702" y="0"/>
                  </a:lnTo>
                  <a:lnTo>
                    <a:pt x="235702" y="145976"/>
                  </a:lnTo>
                  <a:lnTo>
                    <a:pt x="0" y="145976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87" name="Forma livre: Forma 1886">
              <a:extLst>
                <a:ext uri="{FF2B5EF4-FFF2-40B4-BE49-F238E27FC236}">
                  <a16:creationId xmlns:a16="http://schemas.microsoft.com/office/drawing/2014/main" id="{FB33333C-55CC-079C-25F0-043B4088F68A}"/>
                </a:ext>
              </a:extLst>
            </p:cNvPr>
            <p:cNvSpPr/>
            <p:nvPr/>
          </p:nvSpPr>
          <p:spPr>
            <a:xfrm>
              <a:off x="8145131" y="5428282"/>
              <a:ext cx="51420" cy="31439"/>
            </a:xfrm>
            <a:custGeom>
              <a:avLst/>
              <a:gdLst>
                <a:gd name="connsiteX0" fmla="*/ 0 w 51420"/>
                <a:gd name="connsiteY0" fmla="*/ 31440 h 31439"/>
                <a:gd name="connsiteX1" fmla="*/ 0 w 51420"/>
                <a:gd name="connsiteY1" fmla="*/ 0 h 31439"/>
                <a:gd name="connsiteX2" fmla="*/ 51421 w 51420"/>
                <a:gd name="connsiteY2" fmla="*/ 0 h 31439"/>
                <a:gd name="connsiteX3" fmla="*/ 51421 w 51420"/>
                <a:gd name="connsiteY3" fmla="*/ 31440 h 314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1420" h="31439">
                  <a:moveTo>
                    <a:pt x="0" y="31440"/>
                  </a:moveTo>
                  <a:lnTo>
                    <a:pt x="0" y="0"/>
                  </a:lnTo>
                  <a:lnTo>
                    <a:pt x="51421" y="0"/>
                  </a:lnTo>
                  <a:lnTo>
                    <a:pt x="51421" y="3144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888" name="Gráfico 19">
              <a:extLst>
                <a:ext uri="{FF2B5EF4-FFF2-40B4-BE49-F238E27FC236}">
                  <a16:creationId xmlns:a16="http://schemas.microsoft.com/office/drawing/2014/main" id="{79E097DF-4633-D4A7-F58A-4F26C929636C}"/>
                </a:ext>
              </a:extLst>
            </p:cNvPr>
            <p:cNvGrpSpPr/>
            <p:nvPr/>
          </p:nvGrpSpPr>
          <p:grpSpPr>
            <a:xfrm>
              <a:off x="8086229" y="5235479"/>
              <a:ext cx="169176" cy="91761"/>
              <a:chOff x="8086229" y="5235479"/>
              <a:chExt cx="169176" cy="91761"/>
            </a:xfrm>
            <a:solidFill>
              <a:srgbClr val="394553"/>
            </a:solidFill>
          </p:grpSpPr>
          <p:sp>
            <p:nvSpPr>
              <p:cNvPr id="1889" name="Forma livre: Forma 1888">
                <a:extLst>
                  <a:ext uri="{FF2B5EF4-FFF2-40B4-BE49-F238E27FC236}">
                    <a16:creationId xmlns:a16="http://schemas.microsoft.com/office/drawing/2014/main" id="{5916FCB4-07B9-D86D-BFBF-AB3313E1104D}"/>
                  </a:ext>
                </a:extLst>
              </p:cNvPr>
              <p:cNvSpPr/>
              <p:nvPr/>
            </p:nvSpPr>
            <p:spPr>
              <a:xfrm>
                <a:off x="8086229" y="5277666"/>
                <a:ext cx="7386" cy="7386"/>
              </a:xfrm>
              <a:custGeom>
                <a:avLst/>
                <a:gdLst>
                  <a:gd name="connsiteX0" fmla="*/ 7386 w 7386"/>
                  <a:gd name="connsiteY0" fmla="*/ 3693 h 7386"/>
                  <a:gd name="connsiteX1" fmla="*/ 3693 w 7386"/>
                  <a:gd name="connsiteY1" fmla="*/ 7386 h 7386"/>
                  <a:gd name="connsiteX2" fmla="*/ 0 w 7386"/>
                  <a:gd name="connsiteY2" fmla="*/ 3693 h 7386"/>
                  <a:gd name="connsiteX3" fmla="*/ 3693 w 7386"/>
                  <a:gd name="connsiteY3" fmla="*/ 0 h 7386"/>
                  <a:gd name="connsiteX4" fmla="*/ 7386 w 7386"/>
                  <a:gd name="connsiteY4" fmla="*/ 3693 h 73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386" h="7386">
                    <a:moveTo>
                      <a:pt x="7386" y="3693"/>
                    </a:moveTo>
                    <a:cubicBezTo>
                      <a:pt x="7386" y="5729"/>
                      <a:pt x="5729" y="7386"/>
                      <a:pt x="3693" y="7386"/>
                    </a:cubicBezTo>
                    <a:cubicBezTo>
                      <a:pt x="1657" y="7386"/>
                      <a:pt x="0" y="5729"/>
                      <a:pt x="0" y="3693"/>
                    </a:cubicBezTo>
                    <a:cubicBezTo>
                      <a:pt x="0" y="1657"/>
                      <a:pt x="1657" y="0"/>
                      <a:pt x="3693" y="0"/>
                    </a:cubicBezTo>
                    <a:cubicBezTo>
                      <a:pt x="5729" y="0"/>
                      <a:pt x="7386" y="1657"/>
                      <a:pt x="7386" y="3693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890" name="Forma livre: Forma 1889">
                <a:extLst>
                  <a:ext uri="{FF2B5EF4-FFF2-40B4-BE49-F238E27FC236}">
                    <a16:creationId xmlns:a16="http://schemas.microsoft.com/office/drawing/2014/main" id="{C2A3D3D8-C7CA-F3B1-3AFD-71C37BF81447}"/>
                  </a:ext>
                </a:extLst>
              </p:cNvPr>
              <p:cNvSpPr/>
              <p:nvPr/>
            </p:nvSpPr>
            <p:spPr>
              <a:xfrm>
                <a:off x="8115680" y="5277666"/>
                <a:ext cx="7386" cy="7386"/>
              </a:xfrm>
              <a:custGeom>
                <a:avLst/>
                <a:gdLst>
                  <a:gd name="connsiteX0" fmla="*/ 7386 w 7386"/>
                  <a:gd name="connsiteY0" fmla="*/ 3693 h 7386"/>
                  <a:gd name="connsiteX1" fmla="*/ 3693 w 7386"/>
                  <a:gd name="connsiteY1" fmla="*/ 7386 h 7386"/>
                  <a:gd name="connsiteX2" fmla="*/ 0 w 7386"/>
                  <a:gd name="connsiteY2" fmla="*/ 3693 h 7386"/>
                  <a:gd name="connsiteX3" fmla="*/ 3693 w 7386"/>
                  <a:gd name="connsiteY3" fmla="*/ 0 h 7386"/>
                  <a:gd name="connsiteX4" fmla="*/ 7386 w 7386"/>
                  <a:gd name="connsiteY4" fmla="*/ 3693 h 73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386" h="7386">
                    <a:moveTo>
                      <a:pt x="7386" y="3693"/>
                    </a:moveTo>
                    <a:cubicBezTo>
                      <a:pt x="7386" y="5729"/>
                      <a:pt x="5729" y="7386"/>
                      <a:pt x="3693" y="7386"/>
                    </a:cubicBezTo>
                    <a:cubicBezTo>
                      <a:pt x="1657" y="7386"/>
                      <a:pt x="0" y="5729"/>
                      <a:pt x="0" y="3693"/>
                    </a:cubicBezTo>
                    <a:cubicBezTo>
                      <a:pt x="0" y="1657"/>
                      <a:pt x="1657" y="0"/>
                      <a:pt x="3693" y="0"/>
                    </a:cubicBezTo>
                    <a:cubicBezTo>
                      <a:pt x="5729" y="0"/>
                      <a:pt x="7386" y="1657"/>
                      <a:pt x="7386" y="3693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891" name="Forma livre: Forma 1890">
                <a:extLst>
                  <a:ext uri="{FF2B5EF4-FFF2-40B4-BE49-F238E27FC236}">
                    <a16:creationId xmlns:a16="http://schemas.microsoft.com/office/drawing/2014/main" id="{338F240D-8FB7-53B5-E6D3-B3A00F87D2C5}"/>
                  </a:ext>
                </a:extLst>
              </p:cNvPr>
              <p:cNvSpPr/>
              <p:nvPr/>
            </p:nvSpPr>
            <p:spPr>
              <a:xfrm>
                <a:off x="8145179" y="5277666"/>
                <a:ext cx="7386" cy="7386"/>
              </a:xfrm>
              <a:custGeom>
                <a:avLst/>
                <a:gdLst>
                  <a:gd name="connsiteX0" fmla="*/ 7386 w 7386"/>
                  <a:gd name="connsiteY0" fmla="*/ 3693 h 7386"/>
                  <a:gd name="connsiteX1" fmla="*/ 3693 w 7386"/>
                  <a:gd name="connsiteY1" fmla="*/ 7386 h 7386"/>
                  <a:gd name="connsiteX2" fmla="*/ 0 w 7386"/>
                  <a:gd name="connsiteY2" fmla="*/ 3693 h 7386"/>
                  <a:gd name="connsiteX3" fmla="*/ 3693 w 7386"/>
                  <a:gd name="connsiteY3" fmla="*/ 0 h 7386"/>
                  <a:gd name="connsiteX4" fmla="*/ 7386 w 7386"/>
                  <a:gd name="connsiteY4" fmla="*/ 3693 h 73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386" h="7386">
                    <a:moveTo>
                      <a:pt x="7386" y="3693"/>
                    </a:moveTo>
                    <a:cubicBezTo>
                      <a:pt x="7386" y="5729"/>
                      <a:pt x="5729" y="7386"/>
                      <a:pt x="3693" y="7386"/>
                    </a:cubicBezTo>
                    <a:cubicBezTo>
                      <a:pt x="1657" y="7386"/>
                      <a:pt x="0" y="5729"/>
                      <a:pt x="0" y="3693"/>
                    </a:cubicBezTo>
                    <a:cubicBezTo>
                      <a:pt x="0" y="1657"/>
                      <a:pt x="1657" y="0"/>
                      <a:pt x="3693" y="0"/>
                    </a:cubicBezTo>
                    <a:cubicBezTo>
                      <a:pt x="5729" y="0"/>
                      <a:pt x="7386" y="1657"/>
                      <a:pt x="7386" y="3693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892" name="Forma livre: Forma 1891">
                <a:extLst>
                  <a:ext uri="{FF2B5EF4-FFF2-40B4-BE49-F238E27FC236}">
                    <a16:creationId xmlns:a16="http://schemas.microsoft.com/office/drawing/2014/main" id="{8A3E7B2C-5E98-DD5F-4DA7-959354A6FB07}"/>
                  </a:ext>
                </a:extLst>
              </p:cNvPr>
              <p:cNvSpPr/>
              <p:nvPr/>
            </p:nvSpPr>
            <p:spPr>
              <a:xfrm>
                <a:off x="8174629" y="5277666"/>
                <a:ext cx="7386" cy="7386"/>
              </a:xfrm>
              <a:custGeom>
                <a:avLst/>
                <a:gdLst>
                  <a:gd name="connsiteX0" fmla="*/ 7386 w 7386"/>
                  <a:gd name="connsiteY0" fmla="*/ 3693 h 7386"/>
                  <a:gd name="connsiteX1" fmla="*/ 3693 w 7386"/>
                  <a:gd name="connsiteY1" fmla="*/ 7386 h 7386"/>
                  <a:gd name="connsiteX2" fmla="*/ 0 w 7386"/>
                  <a:gd name="connsiteY2" fmla="*/ 3693 h 7386"/>
                  <a:gd name="connsiteX3" fmla="*/ 3693 w 7386"/>
                  <a:gd name="connsiteY3" fmla="*/ 0 h 7386"/>
                  <a:gd name="connsiteX4" fmla="*/ 7386 w 7386"/>
                  <a:gd name="connsiteY4" fmla="*/ 3693 h 73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386" h="7386">
                    <a:moveTo>
                      <a:pt x="7386" y="3693"/>
                    </a:moveTo>
                    <a:cubicBezTo>
                      <a:pt x="7386" y="5729"/>
                      <a:pt x="5729" y="7386"/>
                      <a:pt x="3693" y="7386"/>
                    </a:cubicBezTo>
                    <a:cubicBezTo>
                      <a:pt x="1657" y="7386"/>
                      <a:pt x="0" y="5729"/>
                      <a:pt x="0" y="3693"/>
                    </a:cubicBezTo>
                    <a:cubicBezTo>
                      <a:pt x="0" y="1657"/>
                      <a:pt x="1657" y="0"/>
                      <a:pt x="3693" y="0"/>
                    </a:cubicBezTo>
                    <a:cubicBezTo>
                      <a:pt x="5729" y="0"/>
                      <a:pt x="7386" y="1657"/>
                      <a:pt x="7386" y="3693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893" name="Forma livre: Forma 1892">
                <a:extLst>
                  <a:ext uri="{FF2B5EF4-FFF2-40B4-BE49-F238E27FC236}">
                    <a16:creationId xmlns:a16="http://schemas.microsoft.com/office/drawing/2014/main" id="{38D842E9-96C9-E89C-1D9E-CE69752209FA}"/>
                  </a:ext>
                </a:extLst>
              </p:cNvPr>
              <p:cNvSpPr/>
              <p:nvPr/>
            </p:nvSpPr>
            <p:spPr>
              <a:xfrm>
                <a:off x="8204080" y="5277666"/>
                <a:ext cx="7386" cy="7386"/>
              </a:xfrm>
              <a:custGeom>
                <a:avLst/>
                <a:gdLst>
                  <a:gd name="connsiteX0" fmla="*/ 7386 w 7386"/>
                  <a:gd name="connsiteY0" fmla="*/ 3693 h 7386"/>
                  <a:gd name="connsiteX1" fmla="*/ 3693 w 7386"/>
                  <a:gd name="connsiteY1" fmla="*/ 7386 h 7386"/>
                  <a:gd name="connsiteX2" fmla="*/ 0 w 7386"/>
                  <a:gd name="connsiteY2" fmla="*/ 3693 h 7386"/>
                  <a:gd name="connsiteX3" fmla="*/ 3693 w 7386"/>
                  <a:gd name="connsiteY3" fmla="*/ 0 h 7386"/>
                  <a:gd name="connsiteX4" fmla="*/ 7386 w 7386"/>
                  <a:gd name="connsiteY4" fmla="*/ 3693 h 73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386" h="7386">
                    <a:moveTo>
                      <a:pt x="7386" y="3693"/>
                    </a:moveTo>
                    <a:cubicBezTo>
                      <a:pt x="7386" y="5729"/>
                      <a:pt x="5729" y="7386"/>
                      <a:pt x="3693" y="7386"/>
                    </a:cubicBezTo>
                    <a:cubicBezTo>
                      <a:pt x="1657" y="7386"/>
                      <a:pt x="0" y="5729"/>
                      <a:pt x="0" y="3693"/>
                    </a:cubicBezTo>
                    <a:cubicBezTo>
                      <a:pt x="0" y="1657"/>
                      <a:pt x="1657" y="0"/>
                      <a:pt x="3693" y="0"/>
                    </a:cubicBezTo>
                    <a:cubicBezTo>
                      <a:pt x="5729" y="0"/>
                      <a:pt x="7386" y="1657"/>
                      <a:pt x="7386" y="3693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894" name="Forma livre: Forma 1893">
                <a:extLst>
                  <a:ext uri="{FF2B5EF4-FFF2-40B4-BE49-F238E27FC236}">
                    <a16:creationId xmlns:a16="http://schemas.microsoft.com/office/drawing/2014/main" id="{AB1AD5EC-FF38-85D2-F294-56FB790D2AC9}"/>
                  </a:ext>
                </a:extLst>
              </p:cNvPr>
              <p:cNvSpPr/>
              <p:nvPr/>
            </p:nvSpPr>
            <p:spPr>
              <a:xfrm>
                <a:off x="8248020" y="5277666"/>
                <a:ext cx="7386" cy="7386"/>
              </a:xfrm>
              <a:custGeom>
                <a:avLst/>
                <a:gdLst>
                  <a:gd name="connsiteX0" fmla="*/ 7386 w 7386"/>
                  <a:gd name="connsiteY0" fmla="*/ 3693 h 7386"/>
                  <a:gd name="connsiteX1" fmla="*/ 3693 w 7386"/>
                  <a:gd name="connsiteY1" fmla="*/ 7386 h 7386"/>
                  <a:gd name="connsiteX2" fmla="*/ 0 w 7386"/>
                  <a:gd name="connsiteY2" fmla="*/ 3693 h 7386"/>
                  <a:gd name="connsiteX3" fmla="*/ 3693 w 7386"/>
                  <a:gd name="connsiteY3" fmla="*/ 0 h 7386"/>
                  <a:gd name="connsiteX4" fmla="*/ 7386 w 7386"/>
                  <a:gd name="connsiteY4" fmla="*/ 3693 h 73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386" h="7386">
                    <a:moveTo>
                      <a:pt x="7386" y="3693"/>
                    </a:moveTo>
                    <a:cubicBezTo>
                      <a:pt x="7386" y="5729"/>
                      <a:pt x="5729" y="7386"/>
                      <a:pt x="3693" y="7386"/>
                    </a:cubicBezTo>
                    <a:cubicBezTo>
                      <a:pt x="1657" y="7386"/>
                      <a:pt x="0" y="5729"/>
                      <a:pt x="0" y="3693"/>
                    </a:cubicBezTo>
                    <a:cubicBezTo>
                      <a:pt x="0" y="1657"/>
                      <a:pt x="1657" y="0"/>
                      <a:pt x="3693" y="0"/>
                    </a:cubicBezTo>
                    <a:cubicBezTo>
                      <a:pt x="5729" y="0"/>
                      <a:pt x="7386" y="1657"/>
                      <a:pt x="7386" y="3693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1895" name="Gráfico 19">
                <a:extLst>
                  <a:ext uri="{FF2B5EF4-FFF2-40B4-BE49-F238E27FC236}">
                    <a16:creationId xmlns:a16="http://schemas.microsoft.com/office/drawing/2014/main" id="{42D2873D-0069-9EE8-707D-A86E780EFE13}"/>
                  </a:ext>
                </a:extLst>
              </p:cNvPr>
              <p:cNvGrpSpPr/>
              <p:nvPr/>
            </p:nvGrpSpPr>
            <p:grpSpPr>
              <a:xfrm>
                <a:off x="8205974" y="5235479"/>
                <a:ext cx="28456" cy="91761"/>
                <a:chOff x="8205974" y="5235479"/>
                <a:chExt cx="28456" cy="91761"/>
              </a:xfrm>
              <a:solidFill>
                <a:srgbClr val="394553"/>
              </a:solidFill>
            </p:grpSpPr>
            <p:grpSp>
              <p:nvGrpSpPr>
                <p:cNvPr id="1896" name="Gráfico 19">
                  <a:extLst>
                    <a:ext uri="{FF2B5EF4-FFF2-40B4-BE49-F238E27FC236}">
                      <a16:creationId xmlns:a16="http://schemas.microsoft.com/office/drawing/2014/main" id="{CDFB0884-0360-1F28-05B2-38EB1D385FE2}"/>
                    </a:ext>
                  </a:extLst>
                </p:cNvPr>
                <p:cNvGrpSpPr/>
                <p:nvPr/>
              </p:nvGrpSpPr>
              <p:grpSpPr>
                <a:xfrm>
                  <a:off x="8205974" y="5235479"/>
                  <a:ext cx="28456" cy="28503"/>
                  <a:chOff x="8205974" y="5235479"/>
                  <a:chExt cx="28456" cy="28503"/>
                </a:xfrm>
                <a:solidFill>
                  <a:srgbClr val="394553"/>
                </a:solidFill>
              </p:grpSpPr>
              <p:sp>
                <p:nvSpPr>
                  <p:cNvPr id="1897" name="Forma livre: Forma 1896">
                    <a:extLst>
                      <a:ext uri="{FF2B5EF4-FFF2-40B4-BE49-F238E27FC236}">
                        <a16:creationId xmlns:a16="http://schemas.microsoft.com/office/drawing/2014/main" id="{46D0FE0A-6775-31A4-C28B-FCA14BC8F768}"/>
                      </a:ext>
                    </a:extLst>
                  </p:cNvPr>
                  <p:cNvSpPr/>
                  <p:nvPr/>
                </p:nvSpPr>
                <p:spPr>
                  <a:xfrm>
                    <a:off x="8205974" y="5235479"/>
                    <a:ext cx="7386" cy="7386"/>
                  </a:xfrm>
                  <a:custGeom>
                    <a:avLst/>
                    <a:gdLst>
                      <a:gd name="connsiteX0" fmla="*/ 7386 w 7386"/>
                      <a:gd name="connsiteY0" fmla="*/ 3693 h 7386"/>
                      <a:gd name="connsiteX1" fmla="*/ 3693 w 7386"/>
                      <a:gd name="connsiteY1" fmla="*/ 7386 h 7386"/>
                      <a:gd name="connsiteX2" fmla="*/ 0 w 7386"/>
                      <a:gd name="connsiteY2" fmla="*/ 3693 h 7386"/>
                      <a:gd name="connsiteX3" fmla="*/ 3693 w 7386"/>
                      <a:gd name="connsiteY3" fmla="*/ 0 h 7386"/>
                      <a:gd name="connsiteX4" fmla="*/ 7386 w 7386"/>
                      <a:gd name="connsiteY4" fmla="*/ 3693 h 738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7386" h="7386">
                        <a:moveTo>
                          <a:pt x="7386" y="3693"/>
                        </a:moveTo>
                        <a:cubicBezTo>
                          <a:pt x="7386" y="5729"/>
                          <a:pt x="5729" y="7386"/>
                          <a:pt x="3693" y="7386"/>
                        </a:cubicBezTo>
                        <a:cubicBezTo>
                          <a:pt x="1657" y="7386"/>
                          <a:pt x="0" y="5729"/>
                          <a:pt x="0" y="3693"/>
                        </a:cubicBezTo>
                        <a:cubicBezTo>
                          <a:pt x="0" y="1657"/>
                          <a:pt x="1657" y="0"/>
                          <a:pt x="3693" y="0"/>
                        </a:cubicBezTo>
                        <a:cubicBezTo>
                          <a:pt x="5729" y="0"/>
                          <a:pt x="7386" y="1657"/>
                          <a:pt x="7386" y="3693"/>
                        </a:cubicBezTo>
                        <a:close/>
                      </a:path>
                    </a:pathLst>
                  </a:custGeom>
                  <a:solidFill>
                    <a:srgbClr val="394553"/>
                  </a:solidFill>
                  <a:ln w="6350" cap="flat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1898" name="Forma livre: Forma 1897">
                    <a:extLst>
                      <a:ext uri="{FF2B5EF4-FFF2-40B4-BE49-F238E27FC236}">
                        <a16:creationId xmlns:a16="http://schemas.microsoft.com/office/drawing/2014/main" id="{1A43A955-89E9-3A37-2FE7-1D5AA068D2C4}"/>
                      </a:ext>
                    </a:extLst>
                  </p:cNvPr>
                  <p:cNvSpPr/>
                  <p:nvPr/>
                </p:nvSpPr>
                <p:spPr>
                  <a:xfrm>
                    <a:off x="8227044" y="5256596"/>
                    <a:ext cx="7386" cy="7386"/>
                  </a:xfrm>
                  <a:custGeom>
                    <a:avLst/>
                    <a:gdLst>
                      <a:gd name="connsiteX0" fmla="*/ 7386 w 7386"/>
                      <a:gd name="connsiteY0" fmla="*/ 3693 h 7386"/>
                      <a:gd name="connsiteX1" fmla="*/ 3693 w 7386"/>
                      <a:gd name="connsiteY1" fmla="*/ 7386 h 7386"/>
                      <a:gd name="connsiteX2" fmla="*/ 0 w 7386"/>
                      <a:gd name="connsiteY2" fmla="*/ 3693 h 7386"/>
                      <a:gd name="connsiteX3" fmla="*/ 3693 w 7386"/>
                      <a:gd name="connsiteY3" fmla="*/ 0 h 7386"/>
                      <a:gd name="connsiteX4" fmla="*/ 7386 w 7386"/>
                      <a:gd name="connsiteY4" fmla="*/ 3693 h 738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7386" h="7386">
                        <a:moveTo>
                          <a:pt x="7386" y="3693"/>
                        </a:moveTo>
                        <a:cubicBezTo>
                          <a:pt x="7386" y="5729"/>
                          <a:pt x="5729" y="7386"/>
                          <a:pt x="3693" y="7386"/>
                        </a:cubicBezTo>
                        <a:cubicBezTo>
                          <a:pt x="1657" y="7386"/>
                          <a:pt x="0" y="5729"/>
                          <a:pt x="0" y="3693"/>
                        </a:cubicBezTo>
                        <a:cubicBezTo>
                          <a:pt x="0" y="1657"/>
                          <a:pt x="1657" y="0"/>
                          <a:pt x="3693" y="0"/>
                        </a:cubicBezTo>
                        <a:cubicBezTo>
                          <a:pt x="5729" y="0"/>
                          <a:pt x="7386" y="1657"/>
                          <a:pt x="7386" y="3693"/>
                        </a:cubicBezTo>
                        <a:close/>
                      </a:path>
                    </a:pathLst>
                  </a:custGeom>
                  <a:solidFill>
                    <a:srgbClr val="394553"/>
                  </a:solidFill>
                  <a:ln w="6350" cap="flat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  <p:grpSp>
              <p:nvGrpSpPr>
                <p:cNvPr id="1899" name="Gráfico 19">
                  <a:extLst>
                    <a:ext uri="{FF2B5EF4-FFF2-40B4-BE49-F238E27FC236}">
                      <a16:creationId xmlns:a16="http://schemas.microsoft.com/office/drawing/2014/main" id="{694CF9A7-CAD8-416C-13FB-FF32669C0D21}"/>
                    </a:ext>
                  </a:extLst>
                </p:cNvPr>
                <p:cNvGrpSpPr/>
                <p:nvPr/>
              </p:nvGrpSpPr>
              <p:grpSpPr>
                <a:xfrm>
                  <a:off x="8205974" y="5298784"/>
                  <a:ext cx="28456" cy="28456"/>
                  <a:chOff x="8205974" y="5298784"/>
                  <a:chExt cx="28456" cy="28456"/>
                </a:xfrm>
                <a:solidFill>
                  <a:srgbClr val="394553"/>
                </a:solidFill>
              </p:grpSpPr>
              <p:sp>
                <p:nvSpPr>
                  <p:cNvPr id="1900" name="Forma livre: Forma 1899">
                    <a:extLst>
                      <a:ext uri="{FF2B5EF4-FFF2-40B4-BE49-F238E27FC236}">
                        <a16:creationId xmlns:a16="http://schemas.microsoft.com/office/drawing/2014/main" id="{390CF050-77D7-470F-F33B-86B1B473EE5E}"/>
                      </a:ext>
                    </a:extLst>
                  </p:cNvPr>
                  <p:cNvSpPr/>
                  <p:nvPr/>
                </p:nvSpPr>
                <p:spPr>
                  <a:xfrm>
                    <a:off x="8227044" y="5298784"/>
                    <a:ext cx="7386" cy="7386"/>
                  </a:xfrm>
                  <a:custGeom>
                    <a:avLst/>
                    <a:gdLst>
                      <a:gd name="connsiteX0" fmla="*/ 7386 w 7386"/>
                      <a:gd name="connsiteY0" fmla="*/ 3693 h 7386"/>
                      <a:gd name="connsiteX1" fmla="*/ 3693 w 7386"/>
                      <a:gd name="connsiteY1" fmla="*/ 7386 h 7386"/>
                      <a:gd name="connsiteX2" fmla="*/ 0 w 7386"/>
                      <a:gd name="connsiteY2" fmla="*/ 3693 h 7386"/>
                      <a:gd name="connsiteX3" fmla="*/ 3693 w 7386"/>
                      <a:gd name="connsiteY3" fmla="*/ 0 h 7386"/>
                      <a:gd name="connsiteX4" fmla="*/ 7386 w 7386"/>
                      <a:gd name="connsiteY4" fmla="*/ 3693 h 738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7386" h="7386">
                        <a:moveTo>
                          <a:pt x="7386" y="3693"/>
                        </a:moveTo>
                        <a:cubicBezTo>
                          <a:pt x="7386" y="5729"/>
                          <a:pt x="5729" y="7386"/>
                          <a:pt x="3693" y="7386"/>
                        </a:cubicBezTo>
                        <a:cubicBezTo>
                          <a:pt x="1657" y="7386"/>
                          <a:pt x="0" y="5729"/>
                          <a:pt x="0" y="3693"/>
                        </a:cubicBezTo>
                        <a:cubicBezTo>
                          <a:pt x="0" y="1657"/>
                          <a:pt x="1657" y="0"/>
                          <a:pt x="3693" y="0"/>
                        </a:cubicBezTo>
                        <a:cubicBezTo>
                          <a:pt x="5729" y="0"/>
                          <a:pt x="7386" y="1657"/>
                          <a:pt x="7386" y="3693"/>
                        </a:cubicBezTo>
                        <a:close/>
                      </a:path>
                    </a:pathLst>
                  </a:custGeom>
                  <a:solidFill>
                    <a:srgbClr val="394553"/>
                  </a:solidFill>
                  <a:ln w="6350" cap="flat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1901" name="Forma livre: Forma 1900">
                    <a:extLst>
                      <a:ext uri="{FF2B5EF4-FFF2-40B4-BE49-F238E27FC236}">
                        <a16:creationId xmlns:a16="http://schemas.microsoft.com/office/drawing/2014/main" id="{3F2B5528-E901-0065-377E-24725C286BD8}"/>
                      </a:ext>
                    </a:extLst>
                  </p:cNvPr>
                  <p:cNvSpPr/>
                  <p:nvPr/>
                </p:nvSpPr>
                <p:spPr>
                  <a:xfrm>
                    <a:off x="8205974" y="5319854"/>
                    <a:ext cx="7386" cy="7386"/>
                  </a:xfrm>
                  <a:custGeom>
                    <a:avLst/>
                    <a:gdLst>
                      <a:gd name="connsiteX0" fmla="*/ 7386 w 7386"/>
                      <a:gd name="connsiteY0" fmla="*/ 3693 h 7386"/>
                      <a:gd name="connsiteX1" fmla="*/ 3693 w 7386"/>
                      <a:gd name="connsiteY1" fmla="*/ 7386 h 7386"/>
                      <a:gd name="connsiteX2" fmla="*/ 0 w 7386"/>
                      <a:gd name="connsiteY2" fmla="*/ 3693 h 7386"/>
                      <a:gd name="connsiteX3" fmla="*/ 3693 w 7386"/>
                      <a:gd name="connsiteY3" fmla="*/ 0 h 7386"/>
                      <a:gd name="connsiteX4" fmla="*/ 7386 w 7386"/>
                      <a:gd name="connsiteY4" fmla="*/ 3693 h 738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7386" h="7386">
                        <a:moveTo>
                          <a:pt x="7386" y="3693"/>
                        </a:moveTo>
                        <a:cubicBezTo>
                          <a:pt x="7386" y="5729"/>
                          <a:pt x="5729" y="7386"/>
                          <a:pt x="3693" y="7386"/>
                        </a:cubicBezTo>
                        <a:cubicBezTo>
                          <a:pt x="1657" y="7386"/>
                          <a:pt x="0" y="5729"/>
                          <a:pt x="0" y="3693"/>
                        </a:cubicBezTo>
                        <a:cubicBezTo>
                          <a:pt x="0" y="1657"/>
                          <a:pt x="1657" y="0"/>
                          <a:pt x="3693" y="0"/>
                        </a:cubicBezTo>
                        <a:cubicBezTo>
                          <a:pt x="5729" y="0"/>
                          <a:pt x="7386" y="1657"/>
                          <a:pt x="7386" y="3693"/>
                        </a:cubicBezTo>
                        <a:close/>
                      </a:path>
                    </a:pathLst>
                  </a:custGeom>
                  <a:solidFill>
                    <a:srgbClr val="394553"/>
                  </a:solidFill>
                  <a:ln w="6350" cap="flat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</p:grpSp>
        </p:grpSp>
        <p:grpSp>
          <p:nvGrpSpPr>
            <p:cNvPr id="1902" name="Gráfico 19">
              <a:extLst>
                <a:ext uri="{FF2B5EF4-FFF2-40B4-BE49-F238E27FC236}">
                  <a16:creationId xmlns:a16="http://schemas.microsoft.com/office/drawing/2014/main" id="{0770AC08-0A96-F511-62A2-E6EB6BC37068}"/>
                </a:ext>
              </a:extLst>
            </p:cNvPr>
            <p:cNvGrpSpPr/>
            <p:nvPr/>
          </p:nvGrpSpPr>
          <p:grpSpPr>
            <a:xfrm>
              <a:off x="8070415" y="5376151"/>
              <a:ext cx="200853" cy="136080"/>
              <a:chOff x="8070415" y="5376151"/>
              <a:chExt cx="200853" cy="136080"/>
            </a:xfrm>
            <a:noFill/>
          </p:grpSpPr>
          <p:grpSp>
            <p:nvGrpSpPr>
              <p:cNvPr id="1903" name="Gráfico 19">
                <a:extLst>
                  <a:ext uri="{FF2B5EF4-FFF2-40B4-BE49-F238E27FC236}">
                    <a16:creationId xmlns:a16="http://schemas.microsoft.com/office/drawing/2014/main" id="{76357200-8F89-4E46-F98E-9A3F871A527F}"/>
                  </a:ext>
                </a:extLst>
              </p:cNvPr>
              <p:cNvGrpSpPr/>
              <p:nvPr/>
            </p:nvGrpSpPr>
            <p:grpSpPr>
              <a:xfrm>
                <a:off x="8070415" y="5376151"/>
                <a:ext cx="39394" cy="136080"/>
                <a:chOff x="8070415" y="5376151"/>
                <a:chExt cx="39394" cy="136080"/>
              </a:xfrm>
              <a:noFill/>
            </p:grpSpPr>
            <p:sp>
              <p:nvSpPr>
                <p:cNvPr id="1904" name="Forma livre: Forma 1903">
                  <a:extLst>
                    <a:ext uri="{FF2B5EF4-FFF2-40B4-BE49-F238E27FC236}">
                      <a16:creationId xmlns:a16="http://schemas.microsoft.com/office/drawing/2014/main" id="{AABA50B4-A348-288C-F467-3ED184E4AEE6}"/>
                    </a:ext>
                  </a:extLst>
                </p:cNvPr>
                <p:cNvSpPr/>
                <p:nvPr/>
              </p:nvSpPr>
              <p:spPr>
                <a:xfrm>
                  <a:off x="8070415" y="5425157"/>
                  <a:ext cx="39394" cy="52935"/>
                </a:xfrm>
                <a:custGeom>
                  <a:avLst/>
                  <a:gdLst>
                    <a:gd name="connsiteX0" fmla="*/ 39394 w 39394"/>
                    <a:gd name="connsiteY0" fmla="*/ 52936 h 52935"/>
                    <a:gd name="connsiteX1" fmla="*/ 0 w 39394"/>
                    <a:gd name="connsiteY1" fmla="*/ 52936 h 52935"/>
                    <a:gd name="connsiteX2" fmla="*/ 0 w 39394"/>
                    <a:gd name="connsiteY2" fmla="*/ 13684 h 52935"/>
                    <a:gd name="connsiteX3" fmla="*/ 13684 w 39394"/>
                    <a:gd name="connsiteY3" fmla="*/ 0 h 52935"/>
                    <a:gd name="connsiteX4" fmla="*/ 25710 w 39394"/>
                    <a:gd name="connsiteY4" fmla="*/ 0 h 52935"/>
                    <a:gd name="connsiteX5" fmla="*/ 39394 w 39394"/>
                    <a:gd name="connsiteY5" fmla="*/ 13684 h 52935"/>
                    <a:gd name="connsiteX6" fmla="*/ 39394 w 39394"/>
                    <a:gd name="connsiteY6" fmla="*/ 52936 h 5293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9394" h="52935">
                      <a:moveTo>
                        <a:pt x="39394" y="52936"/>
                      </a:moveTo>
                      <a:lnTo>
                        <a:pt x="0" y="52936"/>
                      </a:lnTo>
                      <a:lnTo>
                        <a:pt x="0" y="13684"/>
                      </a:lnTo>
                      <a:cubicBezTo>
                        <a:pt x="0" y="6155"/>
                        <a:pt x="6155" y="0"/>
                        <a:pt x="13684" y="0"/>
                      </a:cubicBezTo>
                      <a:lnTo>
                        <a:pt x="25710" y="0"/>
                      </a:lnTo>
                      <a:cubicBezTo>
                        <a:pt x="33239" y="0"/>
                        <a:pt x="39394" y="6155"/>
                        <a:pt x="39394" y="13684"/>
                      </a:cubicBezTo>
                      <a:lnTo>
                        <a:pt x="39394" y="52936"/>
                      </a:lnTo>
                      <a:close/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905" name="Forma livre: Forma 1904">
                  <a:extLst>
                    <a:ext uri="{FF2B5EF4-FFF2-40B4-BE49-F238E27FC236}">
                      <a16:creationId xmlns:a16="http://schemas.microsoft.com/office/drawing/2014/main" id="{AB39991F-F0B6-38E2-2A7D-E2D1ACAE7520}"/>
                    </a:ext>
                  </a:extLst>
                </p:cNvPr>
                <p:cNvSpPr/>
                <p:nvPr/>
              </p:nvSpPr>
              <p:spPr>
                <a:xfrm>
                  <a:off x="8077659" y="5478945"/>
                  <a:ext cx="24858" cy="33286"/>
                </a:xfrm>
                <a:custGeom>
                  <a:avLst/>
                  <a:gdLst>
                    <a:gd name="connsiteX0" fmla="*/ 24858 w 24858"/>
                    <a:gd name="connsiteY0" fmla="*/ 0 h 33286"/>
                    <a:gd name="connsiteX1" fmla="*/ 24858 w 24858"/>
                    <a:gd name="connsiteY1" fmla="*/ 24148 h 33286"/>
                    <a:gd name="connsiteX2" fmla="*/ 16004 w 24858"/>
                    <a:gd name="connsiteY2" fmla="*/ 33286 h 33286"/>
                    <a:gd name="connsiteX3" fmla="*/ 8854 w 24858"/>
                    <a:gd name="connsiteY3" fmla="*/ 33286 h 33286"/>
                    <a:gd name="connsiteX4" fmla="*/ 0 w 24858"/>
                    <a:gd name="connsiteY4" fmla="*/ 24148 h 33286"/>
                    <a:gd name="connsiteX5" fmla="*/ 0 w 24858"/>
                    <a:gd name="connsiteY5" fmla="*/ 0 h 3328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24858" h="33286">
                      <a:moveTo>
                        <a:pt x="24858" y="0"/>
                      </a:moveTo>
                      <a:lnTo>
                        <a:pt x="24858" y="24148"/>
                      </a:lnTo>
                      <a:cubicBezTo>
                        <a:pt x="24858" y="29167"/>
                        <a:pt x="20881" y="33286"/>
                        <a:pt x="16004" y="33286"/>
                      </a:cubicBezTo>
                      <a:lnTo>
                        <a:pt x="8854" y="33286"/>
                      </a:lnTo>
                      <a:cubicBezTo>
                        <a:pt x="3977" y="33286"/>
                        <a:pt x="0" y="29167"/>
                        <a:pt x="0" y="24148"/>
                      </a:cubicBezTo>
                      <a:lnTo>
                        <a:pt x="0" y="0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906" name="Forma livre: Forma 1905">
                  <a:extLst>
                    <a:ext uri="{FF2B5EF4-FFF2-40B4-BE49-F238E27FC236}">
                      <a16:creationId xmlns:a16="http://schemas.microsoft.com/office/drawing/2014/main" id="{C25D9CFB-C78F-6154-69BF-0CC26426DA54}"/>
                    </a:ext>
                  </a:extLst>
                </p:cNvPr>
                <p:cNvSpPr/>
                <p:nvPr/>
              </p:nvSpPr>
              <p:spPr>
                <a:xfrm>
                  <a:off x="8090065" y="5376151"/>
                  <a:ext cx="4734" cy="48248"/>
                </a:xfrm>
                <a:custGeom>
                  <a:avLst/>
                  <a:gdLst>
                    <a:gd name="connsiteX0" fmla="*/ 0 w 4734"/>
                    <a:gd name="connsiteY0" fmla="*/ 0 h 48248"/>
                    <a:gd name="connsiteX1" fmla="*/ 0 w 4734"/>
                    <a:gd name="connsiteY1" fmla="*/ 48248 h 482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734" h="48248">
                      <a:moveTo>
                        <a:pt x="0" y="0"/>
                      </a:moveTo>
                      <a:lnTo>
                        <a:pt x="0" y="48248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1907" name="Gráfico 19">
                <a:extLst>
                  <a:ext uri="{FF2B5EF4-FFF2-40B4-BE49-F238E27FC236}">
                    <a16:creationId xmlns:a16="http://schemas.microsoft.com/office/drawing/2014/main" id="{259FAEF4-9AEA-C10C-694B-191B67A5A299}"/>
                  </a:ext>
                </a:extLst>
              </p:cNvPr>
              <p:cNvGrpSpPr/>
              <p:nvPr/>
            </p:nvGrpSpPr>
            <p:grpSpPr>
              <a:xfrm>
                <a:off x="8231874" y="5376151"/>
                <a:ext cx="39394" cy="136080"/>
                <a:chOff x="8231874" y="5376151"/>
                <a:chExt cx="39394" cy="136080"/>
              </a:xfrm>
              <a:noFill/>
            </p:grpSpPr>
            <p:sp>
              <p:nvSpPr>
                <p:cNvPr id="1908" name="Forma livre: Forma 1907">
                  <a:extLst>
                    <a:ext uri="{FF2B5EF4-FFF2-40B4-BE49-F238E27FC236}">
                      <a16:creationId xmlns:a16="http://schemas.microsoft.com/office/drawing/2014/main" id="{BF80A2E4-6126-6424-E8C7-71798B1624C1}"/>
                    </a:ext>
                  </a:extLst>
                </p:cNvPr>
                <p:cNvSpPr/>
                <p:nvPr/>
              </p:nvSpPr>
              <p:spPr>
                <a:xfrm>
                  <a:off x="8231874" y="5425157"/>
                  <a:ext cx="39394" cy="52935"/>
                </a:xfrm>
                <a:custGeom>
                  <a:avLst/>
                  <a:gdLst>
                    <a:gd name="connsiteX0" fmla="*/ 39394 w 39394"/>
                    <a:gd name="connsiteY0" fmla="*/ 52936 h 52935"/>
                    <a:gd name="connsiteX1" fmla="*/ 0 w 39394"/>
                    <a:gd name="connsiteY1" fmla="*/ 52936 h 52935"/>
                    <a:gd name="connsiteX2" fmla="*/ 0 w 39394"/>
                    <a:gd name="connsiteY2" fmla="*/ 13684 h 52935"/>
                    <a:gd name="connsiteX3" fmla="*/ 13684 w 39394"/>
                    <a:gd name="connsiteY3" fmla="*/ 0 h 52935"/>
                    <a:gd name="connsiteX4" fmla="*/ 25710 w 39394"/>
                    <a:gd name="connsiteY4" fmla="*/ 0 h 52935"/>
                    <a:gd name="connsiteX5" fmla="*/ 39394 w 39394"/>
                    <a:gd name="connsiteY5" fmla="*/ 13684 h 52935"/>
                    <a:gd name="connsiteX6" fmla="*/ 39394 w 39394"/>
                    <a:gd name="connsiteY6" fmla="*/ 52936 h 5293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9394" h="52935">
                      <a:moveTo>
                        <a:pt x="39394" y="52936"/>
                      </a:moveTo>
                      <a:lnTo>
                        <a:pt x="0" y="52936"/>
                      </a:lnTo>
                      <a:lnTo>
                        <a:pt x="0" y="13684"/>
                      </a:lnTo>
                      <a:cubicBezTo>
                        <a:pt x="0" y="6155"/>
                        <a:pt x="6155" y="0"/>
                        <a:pt x="13684" y="0"/>
                      </a:cubicBezTo>
                      <a:lnTo>
                        <a:pt x="25710" y="0"/>
                      </a:lnTo>
                      <a:cubicBezTo>
                        <a:pt x="33239" y="0"/>
                        <a:pt x="39394" y="6155"/>
                        <a:pt x="39394" y="13684"/>
                      </a:cubicBezTo>
                      <a:lnTo>
                        <a:pt x="39394" y="52936"/>
                      </a:lnTo>
                      <a:close/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909" name="Forma livre: Forma 1908">
                  <a:extLst>
                    <a:ext uri="{FF2B5EF4-FFF2-40B4-BE49-F238E27FC236}">
                      <a16:creationId xmlns:a16="http://schemas.microsoft.com/office/drawing/2014/main" id="{89BAAB98-2674-1753-C5FA-CC17F07A83C8}"/>
                    </a:ext>
                  </a:extLst>
                </p:cNvPr>
                <p:cNvSpPr/>
                <p:nvPr/>
              </p:nvSpPr>
              <p:spPr>
                <a:xfrm>
                  <a:off x="8239166" y="5478945"/>
                  <a:ext cx="24858" cy="33286"/>
                </a:xfrm>
                <a:custGeom>
                  <a:avLst/>
                  <a:gdLst>
                    <a:gd name="connsiteX0" fmla="*/ 24858 w 24858"/>
                    <a:gd name="connsiteY0" fmla="*/ 0 h 33286"/>
                    <a:gd name="connsiteX1" fmla="*/ 24858 w 24858"/>
                    <a:gd name="connsiteY1" fmla="*/ 24148 h 33286"/>
                    <a:gd name="connsiteX2" fmla="*/ 16004 w 24858"/>
                    <a:gd name="connsiteY2" fmla="*/ 33286 h 33286"/>
                    <a:gd name="connsiteX3" fmla="*/ 8854 w 24858"/>
                    <a:gd name="connsiteY3" fmla="*/ 33286 h 33286"/>
                    <a:gd name="connsiteX4" fmla="*/ 0 w 24858"/>
                    <a:gd name="connsiteY4" fmla="*/ 24148 h 33286"/>
                    <a:gd name="connsiteX5" fmla="*/ 0 w 24858"/>
                    <a:gd name="connsiteY5" fmla="*/ 0 h 3328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24858" h="33286">
                      <a:moveTo>
                        <a:pt x="24858" y="0"/>
                      </a:moveTo>
                      <a:lnTo>
                        <a:pt x="24858" y="24148"/>
                      </a:lnTo>
                      <a:cubicBezTo>
                        <a:pt x="24858" y="29167"/>
                        <a:pt x="20881" y="33286"/>
                        <a:pt x="16004" y="33286"/>
                      </a:cubicBezTo>
                      <a:lnTo>
                        <a:pt x="8854" y="33286"/>
                      </a:lnTo>
                      <a:cubicBezTo>
                        <a:pt x="3977" y="33286"/>
                        <a:pt x="0" y="29167"/>
                        <a:pt x="0" y="24148"/>
                      </a:cubicBezTo>
                      <a:lnTo>
                        <a:pt x="0" y="0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910" name="Forma livre: Forma 1909">
                  <a:extLst>
                    <a:ext uri="{FF2B5EF4-FFF2-40B4-BE49-F238E27FC236}">
                      <a16:creationId xmlns:a16="http://schemas.microsoft.com/office/drawing/2014/main" id="{727E169B-10EC-97B6-07F8-9644644606AC}"/>
                    </a:ext>
                  </a:extLst>
                </p:cNvPr>
                <p:cNvSpPr/>
                <p:nvPr/>
              </p:nvSpPr>
              <p:spPr>
                <a:xfrm>
                  <a:off x="8251571" y="5376151"/>
                  <a:ext cx="4734" cy="48248"/>
                </a:xfrm>
                <a:custGeom>
                  <a:avLst/>
                  <a:gdLst>
                    <a:gd name="connsiteX0" fmla="*/ 0 w 4734"/>
                    <a:gd name="connsiteY0" fmla="*/ 0 h 48248"/>
                    <a:gd name="connsiteX1" fmla="*/ 0 w 4734"/>
                    <a:gd name="connsiteY1" fmla="*/ 48248 h 482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734" h="48248">
                      <a:moveTo>
                        <a:pt x="0" y="0"/>
                      </a:moveTo>
                      <a:lnTo>
                        <a:pt x="0" y="48248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</p:grpSp>
      <p:grpSp>
        <p:nvGrpSpPr>
          <p:cNvPr id="1911" name="Gráfico 19">
            <a:extLst>
              <a:ext uri="{FF2B5EF4-FFF2-40B4-BE49-F238E27FC236}">
                <a16:creationId xmlns:a16="http://schemas.microsoft.com/office/drawing/2014/main" id="{EB10BA8B-EB24-2CF2-0CB0-B9DF236C1520}"/>
              </a:ext>
            </a:extLst>
          </p:cNvPr>
          <p:cNvGrpSpPr/>
          <p:nvPr/>
        </p:nvGrpSpPr>
        <p:grpSpPr>
          <a:xfrm>
            <a:off x="8663211" y="5226577"/>
            <a:ext cx="249262" cy="267439"/>
            <a:chOff x="8663211" y="5226577"/>
            <a:chExt cx="249262" cy="267439"/>
          </a:xfrm>
          <a:noFill/>
        </p:grpSpPr>
        <p:sp>
          <p:nvSpPr>
            <p:cNvPr id="1912" name="Forma livre: Forma 1911">
              <a:extLst>
                <a:ext uri="{FF2B5EF4-FFF2-40B4-BE49-F238E27FC236}">
                  <a16:creationId xmlns:a16="http://schemas.microsoft.com/office/drawing/2014/main" id="{7E867A4B-8BFF-5797-648A-3EE890AC0F5F}"/>
                </a:ext>
              </a:extLst>
            </p:cNvPr>
            <p:cNvSpPr/>
            <p:nvPr/>
          </p:nvSpPr>
          <p:spPr>
            <a:xfrm>
              <a:off x="8664404" y="5226577"/>
              <a:ext cx="246875" cy="122396"/>
            </a:xfrm>
            <a:custGeom>
              <a:avLst/>
              <a:gdLst>
                <a:gd name="connsiteX0" fmla="*/ 246876 w 246875"/>
                <a:gd name="connsiteY0" fmla="*/ 122396 h 122396"/>
                <a:gd name="connsiteX1" fmla="*/ 123675 w 246875"/>
                <a:gd name="connsiteY1" fmla="*/ 0 h 122396"/>
                <a:gd name="connsiteX2" fmla="*/ 123201 w 246875"/>
                <a:gd name="connsiteY2" fmla="*/ 0 h 122396"/>
                <a:gd name="connsiteX3" fmla="*/ 0 w 246875"/>
                <a:gd name="connsiteY3" fmla="*/ 122396 h 122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6875" h="122396">
                  <a:moveTo>
                    <a:pt x="246876" y="122396"/>
                  </a:moveTo>
                  <a:cubicBezTo>
                    <a:pt x="245124" y="55019"/>
                    <a:pt x="218561" y="994"/>
                    <a:pt x="123675" y="0"/>
                  </a:cubicBezTo>
                  <a:lnTo>
                    <a:pt x="123201" y="0"/>
                  </a:lnTo>
                  <a:cubicBezTo>
                    <a:pt x="28314" y="994"/>
                    <a:pt x="1752" y="55019"/>
                    <a:pt x="0" y="122396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13" name="Forma livre: Forma 1912">
              <a:extLst>
                <a:ext uri="{FF2B5EF4-FFF2-40B4-BE49-F238E27FC236}">
                  <a16:creationId xmlns:a16="http://schemas.microsoft.com/office/drawing/2014/main" id="{1F23B8C6-BFFC-ED49-A594-DEAEB86FE531}"/>
                </a:ext>
              </a:extLst>
            </p:cNvPr>
            <p:cNvSpPr/>
            <p:nvPr/>
          </p:nvSpPr>
          <p:spPr>
            <a:xfrm>
              <a:off x="8680929" y="5254039"/>
              <a:ext cx="213779" cy="36571"/>
            </a:xfrm>
            <a:custGeom>
              <a:avLst/>
              <a:gdLst>
                <a:gd name="connsiteX0" fmla="*/ 213779 w 213779"/>
                <a:gd name="connsiteY0" fmla="*/ 26184 h 36571"/>
                <a:gd name="connsiteX1" fmla="*/ 176989 w 213779"/>
                <a:gd name="connsiteY1" fmla="*/ 27510 h 36571"/>
                <a:gd name="connsiteX2" fmla="*/ 175569 w 213779"/>
                <a:gd name="connsiteY2" fmla="*/ 25805 h 36571"/>
                <a:gd name="connsiteX3" fmla="*/ 106961 w 213779"/>
                <a:gd name="connsiteY3" fmla="*/ 0 h 36571"/>
                <a:gd name="connsiteX4" fmla="*/ 106819 w 213779"/>
                <a:gd name="connsiteY4" fmla="*/ 0 h 36571"/>
                <a:gd name="connsiteX5" fmla="*/ 38210 w 213779"/>
                <a:gd name="connsiteY5" fmla="*/ 25805 h 36571"/>
                <a:gd name="connsiteX6" fmla="*/ 36790 w 213779"/>
                <a:gd name="connsiteY6" fmla="*/ 27510 h 36571"/>
                <a:gd name="connsiteX7" fmla="*/ 0 w 213779"/>
                <a:gd name="connsiteY7" fmla="*/ 26184 h 365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13779" h="36571">
                  <a:moveTo>
                    <a:pt x="213779" y="26184"/>
                  </a:moveTo>
                  <a:cubicBezTo>
                    <a:pt x="190436" y="45502"/>
                    <a:pt x="181393" y="32907"/>
                    <a:pt x="176989" y="27510"/>
                  </a:cubicBezTo>
                  <a:lnTo>
                    <a:pt x="175569" y="25805"/>
                  </a:lnTo>
                  <a:cubicBezTo>
                    <a:pt x="160038" y="8996"/>
                    <a:pt x="137358" y="0"/>
                    <a:pt x="106961" y="0"/>
                  </a:cubicBezTo>
                  <a:lnTo>
                    <a:pt x="106819" y="0"/>
                  </a:lnTo>
                  <a:cubicBezTo>
                    <a:pt x="76468" y="0"/>
                    <a:pt x="53741" y="8949"/>
                    <a:pt x="38210" y="25805"/>
                  </a:cubicBezTo>
                  <a:lnTo>
                    <a:pt x="36790" y="27510"/>
                  </a:lnTo>
                  <a:cubicBezTo>
                    <a:pt x="32386" y="32907"/>
                    <a:pt x="23343" y="45549"/>
                    <a:pt x="0" y="26184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914" name="Gráfico 19">
              <a:extLst>
                <a:ext uri="{FF2B5EF4-FFF2-40B4-BE49-F238E27FC236}">
                  <a16:creationId xmlns:a16="http://schemas.microsoft.com/office/drawing/2014/main" id="{8D7773A5-2EB2-2E10-3639-3323D7FF8BDE}"/>
                </a:ext>
              </a:extLst>
            </p:cNvPr>
            <p:cNvGrpSpPr/>
            <p:nvPr/>
          </p:nvGrpSpPr>
          <p:grpSpPr>
            <a:xfrm>
              <a:off x="8663211" y="5355509"/>
              <a:ext cx="249262" cy="138507"/>
              <a:chOff x="8663211" y="5355509"/>
              <a:chExt cx="249262" cy="138507"/>
            </a:xfrm>
            <a:noFill/>
          </p:grpSpPr>
          <p:grpSp>
            <p:nvGrpSpPr>
              <p:cNvPr id="1915" name="Gráfico 19">
                <a:extLst>
                  <a:ext uri="{FF2B5EF4-FFF2-40B4-BE49-F238E27FC236}">
                    <a16:creationId xmlns:a16="http://schemas.microsoft.com/office/drawing/2014/main" id="{F9A764D5-0683-3D31-1319-40151E980393}"/>
                  </a:ext>
                </a:extLst>
              </p:cNvPr>
              <p:cNvGrpSpPr/>
              <p:nvPr/>
            </p:nvGrpSpPr>
            <p:grpSpPr>
              <a:xfrm>
                <a:off x="8663211" y="5355509"/>
                <a:ext cx="99061" cy="138507"/>
                <a:chOff x="8663211" y="5355509"/>
                <a:chExt cx="99061" cy="138507"/>
              </a:xfrm>
              <a:noFill/>
            </p:grpSpPr>
            <p:sp>
              <p:nvSpPr>
                <p:cNvPr id="1916" name="Forma livre: Forma 1915">
                  <a:extLst>
                    <a:ext uri="{FF2B5EF4-FFF2-40B4-BE49-F238E27FC236}">
                      <a16:creationId xmlns:a16="http://schemas.microsoft.com/office/drawing/2014/main" id="{0105A8D7-08D3-767A-1ACB-F67088265CD7}"/>
                    </a:ext>
                  </a:extLst>
                </p:cNvPr>
                <p:cNvSpPr/>
                <p:nvPr/>
              </p:nvSpPr>
              <p:spPr>
                <a:xfrm>
                  <a:off x="8663211" y="5355509"/>
                  <a:ext cx="99061" cy="138507"/>
                </a:xfrm>
                <a:custGeom>
                  <a:avLst/>
                  <a:gdLst>
                    <a:gd name="connsiteX0" fmla="*/ 58296 w 99061"/>
                    <a:gd name="connsiteY0" fmla="*/ 138115 h 138507"/>
                    <a:gd name="connsiteX1" fmla="*/ 4981 w 99061"/>
                    <a:gd name="connsiteY1" fmla="*/ 94223 h 138507"/>
                    <a:gd name="connsiteX2" fmla="*/ 483 w 99061"/>
                    <a:gd name="connsiteY2" fmla="*/ 60795 h 138507"/>
                    <a:gd name="connsiteX3" fmla="*/ 40303 w 99061"/>
                    <a:gd name="connsiteY3" fmla="*/ 4402 h 138507"/>
                    <a:gd name="connsiteX4" fmla="*/ 72358 w 99061"/>
                    <a:gd name="connsiteY4" fmla="*/ 94 h 138507"/>
                    <a:gd name="connsiteX5" fmla="*/ 83722 w 99061"/>
                    <a:gd name="connsiteY5" fmla="*/ 8758 h 138507"/>
                    <a:gd name="connsiteX6" fmla="*/ 98968 w 99061"/>
                    <a:gd name="connsiteY6" fmla="*/ 122395 h 138507"/>
                    <a:gd name="connsiteX7" fmla="*/ 90303 w 99061"/>
                    <a:gd name="connsiteY7" fmla="*/ 133759 h 138507"/>
                    <a:gd name="connsiteX8" fmla="*/ 58248 w 99061"/>
                    <a:gd name="connsiteY8" fmla="*/ 138068 h 13850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99061" h="138507">
                      <a:moveTo>
                        <a:pt x="58296" y="138115"/>
                      </a:moveTo>
                      <a:cubicBezTo>
                        <a:pt x="32680" y="141571"/>
                        <a:pt x="8674" y="121827"/>
                        <a:pt x="4981" y="94223"/>
                      </a:cubicBezTo>
                      <a:lnTo>
                        <a:pt x="483" y="60795"/>
                      </a:lnTo>
                      <a:cubicBezTo>
                        <a:pt x="-3210" y="33238"/>
                        <a:pt x="14687" y="7859"/>
                        <a:pt x="40303" y="4402"/>
                      </a:cubicBezTo>
                      <a:lnTo>
                        <a:pt x="72358" y="94"/>
                      </a:lnTo>
                      <a:cubicBezTo>
                        <a:pt x="77851" y="-664"/>
                        <a:pt x="83012" y="3266"/>
                        <a:pt x="83722" y="8758"/>
                      </a:cubicBezTo>
                      <a:lnTo>
                        <a:pt x="98968" y="122395"/>
                      </a:lnTo>
                      <a:cubicBezTo>
                        <a:pt x="99726" y="127888"/>
                        <a:pt x="95796" y="133049"/>
                        <a:pt x="90303" y="133759"/>
                      </a:cubicBezTo>
                      <a:lnTo>
                        <a:pt x="58248" y="138068"/>
                      </a:lnTo>
                      <a:close/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917" name="Forma livre: Forma 1916">
                  <a:extLst>
                    <a:ext uri="{FF2B5EF4-FFF2-40B4-BE49-F238E27FC236}">
                      <a16:creationId xmlns:a16="http://schemas.microsoft.com/office/drawing/2014/main" id="{DA95876A-376F-CC32-5F28-C79E3B1B288A}"/>
                    </a:ext>
                  </a:extLst>
                </p:cNvPr>
                <p:cNvSpPr/>
                <p:nvPr/>
              </p:nvSpPr>
              <p:spPr>
                <a:xfrm>
                  <a:off x="8716393" y="5359437"/>
                  <a:ext cx="17661" cy="131439"/>
                </a:xfrm>
                <a:custGeom>
                  <a:avLst/>
                  <a:gdLst>
                    <a:gd name="connsiteX0" fmla="*/ 0 w 17661"/>
                    <a:gd name="connsiteY0" fmla="*/ 0 h 131439"/>
                    <a:gd name="connsiteX1" fmla="*/ 17661 w 17661"/>
                    <a:gd name="connsiteY1" fmla="*/ 131440 h 13143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7661" h="131439">
                      <a:moveTo>
                        <a:pt x="0" y="0"/>
                      </a:moveTo>
                      <a:lnTo>
                        <a:pt x="17661" y="13144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1918" name="Gráfico 19">
                <a:extLst>
                  <a:ext uri="{FF2B5EF4-FFF2-40B4-BE49-F238E27FC236}">
                    <a16:creationId xmlns:a16="http://schemas.microsoft.com/office/drawing/2014/main" id="{092E0592-0ADF-61E1-D703-C85940705263}"/>
                  </a:ext>
                </a:extLst>
              </p:cNvPr>
              <p:cNvGrpSpPr/>
              <p:nvPr/>
            </p:nvGrpSpPr>
            <p:grpSpPr>
              <a:xfrm>
                <a:off x="8813411" y="5355509"/>
                <a:ext cx="99061" cy="138507"/>
                <a:chOff x="8813411" y="5355509"/>
                <a:chExt cx="99061" cy="138507"/>
              </a:xfrm>
              <a:noFill/>
            </p:grpSpPr>
            <p:sp>
              <p:nvSpPr>
                <p:cNvPr id="1919" name="Forma livre: Forma 1918">
                  <a:extLst>
                    <a:ext uri="{FF2B5EF4-FFF2-40B4-BE49-F238E27FC236}">
                      <a16:creationId xmlns:a16="http://schemas.microsoft.com/office/drawing/2014/main" id="{C08B0AAF-A093-4C7C-6F7B-78EEF4BA1B3E}"/>
                    </a:ext>
                  </a:extLst>
                </p:cNvPr>
                <p:cNvSpPr/>
                <p:nvPr/>
              </p:nvSpPr>
              <p:spPr>
                <a:xfrm>
                  <a:off x="8813411" y="5355509"/>
                  <a:ext cx="99061" cy="138507"/>
                </a:xfrm>
                <a:custGeom>
                  <a:avLst/>
                  <a:gdLst>
                    <a:gd name="connsiteX0" fmla="*/ 40766 w 99061"/>
                    <a:gd name="connsiteY0" fmla="*/ 138115 h 138507"/>
                    <a:gd name="connsiteX1" fmla="*/ 94081 w 99061"/>
                    <a:gd name="connsiteY1" fmla="*/ 94223 h 138507"/>
                    <a:gd name="connsiteX2" fmla="*/ 98579 w 99061"/>
                    <a:gd name="connsiteY2" fmla="*/ 60795 h 138507"/>
                    <a:gd name="connsiteX3" fmla="*/ 58759 w 99061"/>
                    <a:gd name="connsiteY3" fmla="*/ 4402 h 138507"/>
                    <a:gd name="connsiteX4" fmla="*/ 26703 w 99061"/>
                    <a:gd name="connsiteY4" fmla="*/ 94 h 138507"/>
                    <a:gd name="connsiteX5" fmla="*/ 15340 w 99061"/>
                    <a:gd name="connsiteY5" fmla="*/ 8758 h 138507"/>
                    <a:gd name="connsiteX6" fmla="*/ 94 w 99061"/>
                    <a:gd name="connsiteY6" fmla="*/ 122395 h 138507"/>
                    <a:gd name="connsiteX7" fmla="*/ 8758 w 99061"/>
                    <a:gd name="connsiteY7" fmla="*/ 133759 h 138507"/>
                    <a:gd name="connsiteX8" fmla="*/ 40813 w 99061"/>
                    <a:gd name="connsiteY8" fmla="*/ 138068 h 13850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99061" h="138507">
                      <a:moveTo>
                        <a:pt x="40766" y="138115"/>
                      </a:moveTo>
                      <a:cubicBezTo>
                        <a:pt x="66382" y="141571"/>
                        <a:pt x="90387" y="121827"/>
                        <a:pt x="94081" y="94223"/>
                      </a:cubicBezTo>
                      <a:lnTo>
                        <a:pt x="98579" y="60795"/>
                      </a:lnTo>
                      <a:cubicBezTo>
                        <a:pt x="102272" y="33238"/>
                        <a:pt x="84374" y="7859"/>
                        <a:pt x="58759" y="4402"/>
                      </a:cubicBezTo>
                      <a:lnTo>
                        <a:pt x="26703" y="94"/>
                      </a:lnTo>
                      <a:cubicBezTo>
                        <a:pt x="21211" y="-664"/>
                        <a:pt x="16050" y="3266"/>
                        <a:pt x="15340" y="8758"/>
                      </a:cubicBezTo>
                      <a:lnTo>
                        <a:pt x="94" y="122395"/>
                      </a:lnTo>
                      <a:cubicBezTo>
                        <a:pt x="-664" y="127888"/>
                        <a:pt x="3266" y="133049"/>
                        <a:pt x="8758" y="133759"/>
                      </a:cubicBezTo>
                      <a:lnTo>
                        <a:pt x="40813" y="138068"/>
                      </a:lnTo>
                      <a:close/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920" name="Forma livre: Forma 1919">
                  <a:extLst>
                    <a:ext uri="{FF2B5EF4-FFF2-40B4-BE49-F238E27FC236}">
                      <a16:creationId xmlns:a16="http://schemas.microsoft.com/office/drawing/2014/main" id="{AC3B9E10-1D14-3823-0B12-D33F5935FA5B}"/>
                    </a:ext>
                  </a:extLst>
                </p:cNvPr>
                <p:cNvSpPr/>
                <p:nvPr/>
              </p:nvSpPr>
              <p:spPr>
                <a:xfrm>
                  <a:off x="8841630" y="5359437"/>
                  <a:ext cx="17661" cy="131439"/>
                </a:xfrm>
                <a:custGeom>
                  <a:avLst/>
                  <a:gdLst>
                    <a:gd name="connsiteX0" fmla="*/ 17661 w 17661"/>
                    <a:gd name="connsiteY0" fmla="*/ 0 h 131439"/>
                    <a:gd name="connsiteX1" fmla="*/ 0 w 17661"/>
                    <a:gd name="connsiteY1" fmla="*/ 131440 h 13143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7661" h="131439">
                      <a:moveTo>
                        <a:pt x="17661" y="0"/>
                      </a:moveTo>
                      <a:lnTo>
                        <a:pt x="0" y="13144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</p:grpSp>
      <p:grpSp>
        <p:nvGrpSpPr>
          <p:cNvPr id="11" name="Agrupar 10">
            <a:extLst>
              <a:ext uri="{FF2B5EF4-FFF2-40B4-BE49-F238E27FC236}">
                <a16:creationId xmlns:a16="http://schemas.microsoft.com/office/drawing/2014/main" id="{2315A17F-1C31-EA5D-7F85-DB7C17045158}"/>
              </a:ext>
            </a:extLst>
          </p:cNvPr>
          <p:cNvGrpSpPr/>
          <p:nvPr/>
        </p:nvGrpSpPr>
        <p:grpSpPr>
          <a:xfrm>
            <a:off x="5681098" y="2047891"/>
            <a:ext cx="317163" cy="317109"/>
            <a:chOff x="5526881" y="197643"/>
            <a:chExt cx="560546" cy="560451"/>
          </a:xfrm>
        </p:grpSpPr>
        <p:sp>
          <p:nvSpPr>
            <p:cNvPr id="5" name="Forma livre: Forma 4">
              <a:extLst>
                <a:ext uri="{FF2B5EF4-FFF2-40B4-BE49-F238E27FC236}">
                  <a16:creationId xmlns:a16="http://schemas.microsoft.com/office/drawing/2014/main" id="{64F16E56-92A9-7E50-F2B9-254C9D380B18}"/>
                </a:ext>
              </a:extLst>
            </p:cNvPr>
            <p:cNvSpPr/>
            <p:nvPr/>
          </p:nvSpPr>
          <p:spPr>
            <a:xfrm>
              <a:off x="5526881" y="197643"/>
              <a:ext cx="560546" cy="560451"/>
            </a:xfrm>
            <a:custGeom>
              <a:avLst/>
              <a:gdLst>
                <a:gd name="connsiteX0" fmla="*/ 280226 w 560546"/>
                <a:gd name="connsiteY0" fmla="*/ 0 h 560451"/>
                <a:gd name="connsiteX1" fmla="*/ 0 w 560546"/>
                <a:gd name="connsiteY1" fmla="*/ 280226 h 560451"/>
                <a:gd name="connsiteX2" fmla="*/ 280226 w 560546"/>
                <a:gd name="connsiteY2" fmla="*/ 560451 h 560451"/>
                <a:gd name="connsiteX3" fmla="*/ 560546 w 560546"/>
                <a:gd name="connsiteY3" fmla="*/ 280226 h 560451"/>
                <a:gd name="connsiteX4" fmla="*/ 280226 w 560546"/>
                <a:gd name="connsiteY4" fmla="*/ 0 h 560451"/>
                <a:gd name="connsiteX5" fmla="*/ 280226 w 560546"/>
                <a:gd name="connsiteY5" fmla="*/ 0 h 5604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60546" h="560451">
                  <a:moveTo>
                    <a:pt x="280226" y="0"/>
                  </a:moveTo>
                  <a:cubicBezTo>
                    <a:pt x="125444" y="0"/>
                    <a:pt x="0" y="125444"/>
                    <a:pt x="0" y="280226"/>
                  </a:cubicBezTo>
                  <a:cubicBezTo>
                    <a:pt x="0" y="435007"/>
                    <a:pt x="125444" y="560451"/>
                    <a:pt x="280226" y="560451"/>
                  </a:cubicBezTo>
                  <a:cubicBezTo>
                    <a:pt x="435007" y="560451"/>
                    <a:pt x="560546" y="435007"/>
                    <a:pt x="560546" y="280226"/>
                  </a:cubicBezTo>
                  <a:cubicBezTo>
                    <a:pt x="560546" y="125444"/>
                    <a:pt x="435102" y="0"/>
                    <a:pt x="280226" y="0"/>
                  </a:cubicBezTo>
                  <a:lnTo>
                    <a:pt x="280226" y="0"/>
                  </a:lnTo>
                  <a:close/>
                </a:path>
              </a:pathLst>
            </a:custGeom>
            <a:noFill/>
            <a:ln w="6985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6" name="Gráfico 2">
              <a:extLst>
                <a:ext uri="{FF2B5EF4-FFF2-40B4-BE49-F238E27FC236}">
                  <a16:creationId xmlns:a16="http://schemas.microsoft.com/office/drawing/2014/main" id="{C19AF521-C728-4E2B-6BD3-4993E4BB8CAD}"/>
                </a:ext>
              </a:extLst>
            </p:cNvPr>
            <p:cNvGrpSpPr/>
            <p:nvPr/>
          </p:nvGrpSpPr>
          <p:grpSpPr>
            <a:xfrm>
              <a:off x="5686996" y="351281"/>
              <a:ext cx="240315" cy="253174"/>
              <a:chOff x="5686996" y="351281"/>
              <a:chExt cx="240315" cy="253174"/>
            </a:xfrm>
          </p:grpSpPr>
          <p:grpSp>
            <p:nvGrpSpPr>
              <p:cNvPr id="7" name="Gráfico 2">
                <a:extLst>
                  <a:ext uri="{FF2B5EF4-FFF2-40B4-BE49-F238E27FC236}">
                    <a16:creationId xmlns:a16="http://schemas.microsoft.com/office/drawing/2014/main" id="{7DFD4EFE-BD0A-1D25-8F6E-34DB3D672DCD}"/>
                  </a:ext>
                </a:extLst>
              </p:cNvPr>
              <p:cNvGrpSpPr/>
              <p:nvPr/>
            </p:nvGrpSpPr>
            <p:grpSpPr>
              <a:xfrm>
                <a:off x="5686996" y="351281"/>
                <a:ext cx="240315" cy="253174"/>
                <a:chOff x="5686996" y="351281"/>
                <a:chExt cx="240315" cy="253174"/>
              </a:xfrm>
            </p:grpSpPr>
            <p:sp>
              <p:nvSpPr>
                <p:cNvPr id="8" name="Forma livre: Forma 7">
                  <a:extLst>
                    <a:ext uri="{FF2B5EF4-FFF2-40B4-BE49-F238E27FC236}">
                      <a16:creationId xmlns:a16="http://schemas.microsoft.com/office/drawing/2014/main" id="{A572B45E-C16C-CF1C-0F4C-FD3FEEED31A0}"/>
                    </a:ext>
                  </a:extLst>
                </p:cNvPr>
                <p:cNvSpPr/>
                <p:nvPr/>
              </p:nvSpPr>
              <p:spPr>
                <a:xfrm>
                  <a:off x="5686996" y="351281"/>
                  <a:ext cx="9525" cy="253174"/>
                </a:xfrm>
                <a:custGeom>
                  <a:avLst/>
                  <a:gdLst>
                    <a:gd name="connsiteX0" fmla="*/ 0 w 9525"/>
                    <a:gd name="connsiteY0" fmla="*/ 253174 h 253174"/>
                    <a:gd name="connsiteX1" fmla="*/ 0 w 9525"/>
                    <a:gd name="connsiteY1" fmla="*/ 0 h 253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9525" h="253174">
                      <a:moveTo>
                        <a:pt x="0" y="253174"/>
                      </a:moveTo>
                      <a:lnTo>
                        <a:pt x="0" y="0"/>
                      </a:lnTo>
                    </a:path>
                  </a:pathLst>
                </a:custGeom>
                <a:ln w="6985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9" name="Forma livre: Forma 8">
                  <a:extLst>
                    <a:ext uri="{FF2B5EF4-FFF2-40B4-BE49-F238E27FC236}">
                      <a16:creationId xmlns:a16="http://schemas.microsoft.com/office/drawing/2014/main" id="{60895F4B-703F-8BEA-BC61-3F99ADE56043}"/>
                    </a:ext>
                  </a:extLst>
                </p:cNvPr>
                <p:cNvSpPr/>
                <p:nvPr/>
              </p:nvSpPr>
              <p:spPr>
                <a:xfrm>
                  <a:off x="5927312" y="351281"/>
                  <a:ext cx="9525" cy="253174"/>
                </a:xfrm>
                <a:custGeom>
                  <a:avLst/>
                  <a:gdLst>
                    <a:gd name="connsiteX0" fmla="*/ 0 w 9525"/>
                    <a:gd name="connsiteY0" fmla="*/ 253174 h 253174"/>
                    <a:gd name="connsiteX1" fmla="*/ 0 w 9525"/>
                    <a:gd name="connsiteY1" fmla="*/ 0 h 253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9525" h="253174">
                      <a:moveTo>
                        <a:pt x="0" y="253174"/>
                      </a:moveTo>
                      <a:lnTo>
                        <a:pt x="0" y="0"/>
                      </a:lnTo>
                    </a:path>
                  </a:pathLst>
                </a:custGeom>
                <a:ln w="6985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10" name="Forma livre: Forma 9">
                <a:extLst>
                  <a:ext uri="{FF2B5EF4-FFF2-40B4-BE49-F238E27FC236}">
                    <a16:creationId xmlns:a16="http://schemas.microsoft.com/office/drawing/2014/main" id="{F3BD1B5B-9556-61F0-0FD0-091EBF3EBD07}"/>
                  </a:ext>
                </a:extLst>
              </p:cNvPr>
              <p:cNvSpPr/>
              <p:nvPr/>
            </p:nvSpPr>
            <p:spPr>
              <a:xfrm>
                <a:off x="5687282" y="477868"/>
                <a:ext cx="239744" cy="9525"/>
              </a:xfrm>
              <a:custGeom>
                <a:avLst/>
                <a:gdLst>
                  <a:gd name="connsiteX0" fmla="*/ 239744 w 239744"/>
                  <a:gd name="connsiteY0" fmla="*/ 0 h 9525"/>
                  <a:gd name="connsiteX1" fmla="*/ 0 w 239744"/>
                  <a:gd name="connsiteY1" fmla="*/ 0 h 9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39744" h="9525">
                    <a:moveTo>
                      <a:pt x="239744" y="0"/>
                    </a:moveTo>
                    <a:lnTo>
                      <a:pt x="0" y="0"/>
                    </a:lnTo>
                  </a:path>
                </a:pathLst>
              </a:custGeom>
              <a:ln w="6985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20" name="Agrupar 19">
            <a:extLst>
              <a:ext uri="{FF2B5EF4-FFF2-40B4-BE49-F238E27FC236}">
                <a16:creationId xmlns:a16="http://schemas.microsoft.com/office/drawing/2014/main" id="{347D02BF-D441-E76F-A63D-5295CE5ADDF1}"/>
              </a:ext>
            </a:extLst>
          </p:cNvPr>
          <p:cNvGrpSpPr/>
          <p:nvPr/>
        </p:nvGrpSpPr>
        <p:grpSpPr>
          <a:xfrm>
            <a:off x="5757371" y="1516855"/>
            <a:ext cx="174322" cy="302420"/>
            <a:chOff x="5860256" y="1664493"/>
            <a:chExt cx="345567" cy="599503"/>
          </a:xfrm>
        </p:grpSpPr>
        <p:sp>
          <p:nvSpPr>
            <p:cNvPr id="15" name="Forma livre: Forma 14">
              <a:extLst>
                <a:ext uri="{FF2B5EF4-FFF2-40B4-BE49-F238E27FC236}">
                  <a16:creationId xmlns:a16="http://schemas.microsoft.com/office/drawing/2014/main" id="{3400DD16-797E-0C30-6EC3-5D4A91784F97}"/>
                </a:ext>
              </a:extLst>
            </p:cNvPr>
            <p:cNvSpPr/>
            <p:nvPr/>
          </p:nvSpPr>
          <p:spPr>
            <a:xfrm>
              <a:off x="5933503" y="1812892"/>
              <a:ext cx="196977" cy="192785"/>
            </a:xfrm>
            <a:custGeom>
              <a:avLst/>
              <a:gdLst>
                <a:gd name="connsiteX0" fmla="*/ 0 w 196977"/>
                <a:gd name="connsiteY0" fmla="*/ 129159 h 192785"/>
                <a:gd name="connsiteX1" fmla="*/ 27813 w 196977"/>
                <a:gd name="connsiteY1" fmla="*/ 129159 h 192785"/>
                <a:gd name="connsiteX2" fmla="*/ 55626 w 196977"/>
                <a:gd name="connsiteY2" fmla="*/ 71819 h 192785"/>
                <a:gd name="connsiteX3" fmla="*/ 94774 w 196977"/>
                <a:gd name="connsiteY3" fmla="*/ 192786 h 192785"/>
                <a:gd name="connsiteX4" fmla="*/ 132398 w 196977"/>
                <a:gd name="connsiteY4" fmla="*/ 0 h 192785"/>
                <a:gd name="connsiteX5" fmla="*/ 161735 w 196977"/>
                <a:gd name="connsiteY5" fmla="*/ 130016 h 192785"/>
                <a:gd name="connsiteX6" fmla="*/ 196977 w 196977"/>
                <a:gd name="connsiteY6" fmla="*/ 130016 h 1927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96977" h="192785">
                  <a:moveTo>
                    <a:pt x="0" y="129159"/>
                  </a:moveTo>
                  <a:lnTo>
                    <a:pt x="27813" y="129159"/>
                  </a:lnTo>
                  <a:lnTo>
                    <a:pt x="55626" y="71819"/>
                  </a:lnTo>
                  <a:lnTo>
                    <a:pt x="94774" y="192786"/>
                  </a:lnTo>
                  <a:lnTo>
                    <a:pt x="132398" y="0"/>
                  </a:lnTo>
                  <a:lnTo>
                    <a:pt x="161735" y="130016"/>
                  </a:lnTo>
                  <a:lnTo>
                    <a:pt x="196977" y="130016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6" name="Gráfico 12">
              <a:extLst>
                <a:ext uri="{FF2B5EF4-FFF2-40B4-BE49-F238E27FC236}">
                  <a16:creationId xmlns:a16="http://schemas.microsoft.com/office/drawing/2014/main" id="{095983B6-1934-3E7B-29D3-D99401D5982C}"/>
                </a:ext>
              </a:extLst>
            </p:cNvPr>
            <p:cNvGrpSpPr/>
            <p:nvPr/>
          </p:nvGrpSpPr>
          <p:grpSpPr>
            <a:xfrm>
              <a:off x="5860256" y="1664493"/>
              <a:ext cx="345567" cy="599503"/>
              <a:chOff x="5860256" y="1664493"/>
              <a:chExt cx="345567" cy="599503"/>
            </a:xfrm>
            <a:noFill/>
          </p:grpSpPr>
          <p:sp>
            <p:nvSpPr>
              <p:cNvPr id="17" name="Forma livre: Forma 16">
                <a:extLst>
                  <a:ext uri="{FF2B5EF4-FFF2-40B4-BE49-F238E27FC236}">
                    <a16:creationId xmlns:a16="http://schemas.microsoft.com/office/drawing/2014/main" id="{FC53AD76-7656-4C92-A038-CDA3CE0C5EF3}"/>
                  </a:ext>
                </a:extLst>
              </p:cNvPr>
              <p:cNvSpPr/>
              <p:nvPr/>
            </p:nvSpPr>
            <p:spPr>
              <a:xfrm>
                <a:off x="5860256" y="1664493"/>
                <a:ext cx="345566" cy="599503"/>
              </a:xfrm>
              <a:custGeom>
                <a:avLst/>
                <a:gdLst>
                  <a:gd name="connsiteX0" fmla="*/ 297942 w 345566"/>
                  <a:gd name="connsiteY0" fmla="*/ 0 h 599503"/>
                  <a:gd name="connsiteX1" fmla="*/ 47625 w 345566"/>
                  <a:gd name="connsiteY1" fmla="*/ 0 h 599503"/>
                  <a:gd name="connsiteX2" fmla="*/ 0 w 345566"/>
                  <a:gd name="connsiteY2" fmla="*/ 47625 h 599503"/>
                  <a:gd name="connsiteX3" fmla="*/ 0 w 345566"/>
                  <a:gd name="connsiteY3" fmla="*/ 551879 h 599503"/>
                  <a:gd name="connsiteX4" fmla="*/ 47625 w 345566"/>
                  <a:gd name="connsiteY4" fmla="*/ 599504 h 599503"/>
                  <a:gd name="connsiteX5" fmla="*/ 297942 w 345566"/>
                  <a:gd name="connsiteY5" fmla="*/ 599504 h 599503"/>
                  <a:gd name="connsiteX6" fmla="*/ 345567 w 345566"/>
                  <a:gd name="connsiteY6" fmla="*/ 551879 h 599503"/>
                  <a:gd name="connsiteX7" fmla="*/ 345567 w 345566"/>
                  <a:gd name="connsiteY7" fmla="*/ 47625 h 599503"/>
                  <a:gd name="connsiteX8" fmla="*/ 297942 w 345566"/>
                  <a:gd name="connsiteY8" fmla="*/ 0 h 599503"/>
                  <a:gd name="connsiteX9" fmla="*/ 297942 w 345566"/>
                  <a:gd name="connsiteY9" fmla="*/ 0 h 5995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345566" h="599503">
                    <a:moveTo>
                      <a:pt x="297942" y="0"/>
                    </a:moveTo>
                    <a:lnTo>
                      <a:pt x="47625" y="0"/>
                    </a:lnTo>
                    <a:cubicBezTo>
                      <a:pt x="21431" y="0"/>
                      <a:pt x="0" y="21431"/>
                      <a:pt x="0" y="47625"/>
                    </a:cubicBezTo>
                    <a:lnTo>
                      <a:pt x="0" y="551879"/>
                    </a:lnTo>
                    <a:cubicBezTo>
                      <a:pt x="0" y="578072"/>
                      <a:pt x="21431" y="599504"/>
                      <a:pt x="47625" y="599504"/>
                    </a:cubicBezTo>
                    <a:lnTo>
                      <a:pt x="297942" y="599504"/>
                    </a:lnTo>
                    <a:cubicBezTo>
                      <a:pt x="324136" y="599504"/>
                      <a:pt x="345567" y="578072"/>
                      <a:pt x="345567" y="551879"/>
                    </a:cubicBezTo>
                    <a:lnTo>
                      <a:pt x="345567" y="47625"/>
                    </a:lnTo>
                    <a:cubicBezTo>
                      <a:pt x="345567" y="21431"/>
                      <a:pt x="324136" y="0"/>
                      <a:pt x="297942" y="0"/>
                    </a:cubicBezTo>
                    <a:lnTo>
                      <a:pt x="297942" y="0"/>
                    </a:lnTo>
                    <a:close/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8" name="Forma livre: Forma 17">
                <a:extLst>
                  <a:ext uri="{FF2B5EF4-FFF2-40B4-BE49-F238E27FC236}">
                    <a16:creationId xmlns:a16="http://schemas.microsoft.com/office/drawing/2014/main" id="{5ABD968D-7733-E424-17F1-62FDE67766AE}"/>
                  </a:ext>
                </a:extLst>
              </p:cNvPr>
              <p:cNvSpPr/>
              <p:nvPr/>
            </p:nvSpPr>
            <p:spPr>
              <a:xfrm>
                <a:off x="5860256" y="2124931"/>
                <a:ext cx="345567" cy="9525"/>
              </a:xfrm>
              <a:custGeom>
                <a:avLst/>
                <a:gdLst>
                  <a:gd name="connsiteX0" fmla="*/ 0 w 345567"/>
                  <a:gd name="connsiteY0" fmla="*/ 0 h 9525"/>
                  <a:gd name="connsiteX1" fmla="*/ 345567 w 345567"/>
                  <a:gd name="connsiteY1" fmla="*/ 0 h 9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45567" h="9525">
                    <a:moveTo>
                      <a:pt x="0" y="0"/>
                    </a:moveTo>
                    <a:lnTo>
                      <a:pt x="345567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9" name="Forma livre: Forma 18">
                <a:extLst>
                  <a:ext uri="{FF2B5EF4-FFF2-40B4-BE49-F238E27FC236}">
                    <a16:creationId xmlns:a16="http://schemas.microsoft.com/office/drawing/2014/main" id="{39174864-B921-6AAA-9381-5DADF4FD3CED}"/>
                  </a:ext>
                </a:extLst>
              </p:cNvPr>
              <p:cNvSpPr/>
              <p:nvPr/>
            </p:nvSpPr>
            <p:spPr>
              <a:xfrm>
                <a:off x="6011894" y="2186082"/>
                <a:ext cx="42195" cy="9525"/>
              </a:xfrm>
              <a:custGeom>
                <a:avLst/>
                <a:gdLst>
                  <a:gd name="connsiteX0" fmla="*/ 0 w 42195"/>
                  <a:gd name="connsiteY0" fmla="*/ 0 h 9525"/>
                  <a:gd name="connsiteX1" fmla="*/ 42196 w 42195"/>
                  <a:gd name="connsiteY1" fmla="*/ 0 h 9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2195" h="9525">
                    <a:moveTo>
                      <a:pt x="0" y="0"/>
                    </a:moveTo>
                    <a:lnTo>
                      <a:pt x="42196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929" name="Agrupar 1928">
            <a:extLst>
              <a:ext uri="{FF2B5EF4-FFF2-40B4-BE49-F238E27FC236}">
                <a16:creationId xmlns:a16="http://schemas.microsoft.com/office/drawing/2014/main" id="{AFFD135B-D82D-C8EB-A319-2DEE17484531}"/>
              </a:ext>
            </a:extLst>
          </p:cNvPr>
          <p:cNvGrpSpPr/>
          <p:nvPr/>
        </p:nvGrpSpPr>
        <p:grpSpPr>
          <a:xfrm>
            <a:off x="4446412" y="2078354"/>
            <a:ext cx="288456" cy="248127"/>
            <a:chOff x="4898230" y="2212172"/>
            <a:chExt cx="580453" cy="499300"/>
          </a:xfrm>
        </p:grpSpPr>
        <p:sp>
          <p:nvSpPr>
            <p:cNvPr id="1923" name="Forma livre: Forma 1922">
              <a:extLst>
                <a:ext uri="{FF2B5EF4-FFF2-40B4-BE49-F238E27FC236}">
                  <a16:creationId xmlns:a16="http://schemas.microsoft.com/office/drawing/2014/main" id="{4D2C1D6F-F568-327F-7144-B148881DE6C8}"/>
                </a:ext>
              </a:extLst>
            </p:cNvPr>
            <p:cNvSpPr/>
            <p:nvPr/>
          </p:nvSpPr>
          <p:spPr>
            <a:xfrm>
              <a:off x="5096731" y="2212172"/>
              <a:ext cx="183546" cy="62007"/>
            </a:xfrm>
            <a:custGeom>
              <a:avLst/>
              <a:gdLst>
                <a:gd name="connsiteX0" fmla="*/ 0 w 183546"/>
                <a:gd name="connsiteY0" fmla="*/ 62008 h 62007"/>
                <a:gd name="connsiteX1" fmla="*/ 0 w 183546"/>
                <a:gd name="connsiteY1" fmla="*/ 28575 h 62007"/>
                <a:gd name="connsiteX2" fmla="*/ 28575 w 183546"/>
                <a:gd name="connsiteY2" fmla="*/ 0 h 62007"/>
                <a:gd name="connsiteX3" fmla="*/ 154972 w 183546"/>
                <a:gd name="connsiteY3" fmla="*/ 0 h 62007"/>
                <a:gd name="connsiteX4" fmla="*/ 183547 w 183546"/>
                <a:gd name="connsiteY4" fmla="*/ 28575 h 62007"/>
                <a:gd name="connsiteX5" fmla="*/ 183547 w 183546"/>
                <a:gd name="connsiteY5" fmla="*/ 62008 h 620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3546" h="62007">
                  <a:moveTo>
                    <a:pt x="0" y="62008"/>
                  </a:moveTo>
                  <a:lnTo>
                    <a:pt x="0" y="28575"/>
                  </a:lnTo>
                  <a:cubicBezTo>
                    <a:pt x="0" y="12859"/>
                    <a:pt x="12859" y="0"/>
                    <a:pt x="28575" y="0"/>
                  </a:cubicBezTo>
                  <a:lnTo>
                    <a:pt x="154972" y="0"/>
                  </a:lnTo>
                  <a:cubicBezTo>
                    <a:pt x="170688" y="0"/>
                    <a:pt x="183547" y="12859"/>
                    <a:pt x="183547" y="28575"/>
                  </a:cubicBezTo>
                  <a:lnTo>
                    <a:pt x="183547" y="62008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24" name="Forma livre: Forma 1923">
              <a:extLst>
                <a:ext uri="{FF2B5EF4-FFF2-40B4-BE49-F238E27FC236}">
                  <a16:creationId xmlns:a16="http://schemas.microsoft.com/office/drawing/2014/main" id="{B18D17AA-745E-3177-E734-8EA991F81106}"/>
                </a:ext>
              </a:extLst>
            </p:cNvPr>
            <p:cNvSpPr/>
            <p:nvPr/>
          </p:nvSpPr>
          <p:spPr>
            <a:xfrm>
              <a:off x="4898230" y="2301707"/>
              <a:ext cx="580453" cy="409765"/>
            </a:xfrm>
            <a:custGeom>
              <a:avLst/>
              <a:gdLst>
                <a:gd name="connsiteX0" fmla="*/ 532829 w 580453"/>
                <a:gd name="connsiteY0" fmla="*/ 0 h 409765"/>
                <a:gd name="connsiteX1" fmla="*/ 47625 w 580453"/>
                <a:gd name="connsiteY1" fmla="*/ 0 h 409765"/>
                <a:gd name="connsiteX2" fmla="*/ 0 w 580453"/>
                <a:gd name="connsiteY2" fmla="*/ 47625 h 409765"/>
                <a:gd name="connsiteX3" fmla="*/ 0 w 580453"/>
                <a:gd name="connsiteY3" fmla="*/ 362141 h 409765"/>
                <a:gd name="connsiteX4" fmla="*/ 47625 w 580453"/>
                <a:gd name="connsiteY4" fmla="*/ 409766 h 409765"/>
                <a:gd name="connsiteX5" fmla="*/ 532829 w 580453"/>
                <a:gd name="connsiteY5" fmla="*/ 409766 h 409765"/>
                <a:gd name="connsiteX6" fmla="*/ 580454 w 580453"/>
                <a:gd name="connsiteY6" fmla="*/ 362141 h 409765"/>
                <a:gd name="connsiteX7" fmla="*/ 580454 w 580453"/>
                <a:gd name="connsiteY7" fmla="*/ 47625 h 409765"/>
                <a:gd name="connsiteX8" fmla="*/ 532829 w 580453"/>
                <a:gd name="connsiteY8" fmla="*/ 0 h 409765"/>
                <a:gd name="connsiteX9" fmla="*/ 532829 w 580453"/>
                <a:gd name="connsiteY9" fmla="*/ 0 h 4097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80453" h="409765">
                  <a:moveTo>
                    <a:pt x="532829" y="0"/>
                  </a:moveTo>
                  <a:lnTo>
                    <a:pt x="47625" y="0"/>
                  </a:lnTo>
                  <a:cubicBezTo>
                    <a:pt x="21431" y="0"/>
                    <a:pt x="0" y="21431"/>
                    <a:pt x="0" y="47625"/>
                  </a:cubicBezTo>
                  <a:lnTo>
                    <a:pt x="0" y="362141"/>
                  </a:lnTo>
                  <a:cubicBezTo>
                    <a:pt x="0" y="388334"/>
                    <a:pt x="21431" y="409766"/>
                    <a:pt x="47625" y="409766"/>
                  </a:cubicBezTo>
                  <a:lnTo>
                    <a:pt x="532829" y="409766"/>
                  </a:lnTo>
                  <a:cubicBezTo>
                    <a:pt x="559022" y="409766"/>
                    <a:pt x="580454" y="388334"/>
                    <a:pt x="580454" y="362141"/>
                  </a:cubicBezTo>
                  <a:lnTo>
                    <a:pt x="580454" y="47625"/>
                  </a:lnTo>
                  <a:cubicBezTo>
                    <a:pt x="580454" y="21431"/>
                    <a:pt x="559022" y="0"/>
                    <a:pt x="532829" y="0"/>
                  </a:cubicBezTo>
                  <a:lnTo>
                    <a:pt x="532829" y="0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25" name="Forma livre: Forma 1924">
              <a:extLst>
                <a:ext uri="{FF2B5EF4-FFF2-40B4-BE49-F238E27FC236}">
                  <a16:creationId xmlns:a16="http://schemas.microsoft.com/office/drawing/2014/main" id="{C570AAC5-72C3-AD37-A707-1BF81303E43F}"/>
                </a:ext>
              </a:extLst>
            </p:cNvPr>
            <p:cNvSpPr/>
            <p:nvPr/>
          </p:nvSpPr>
          <p:spPr>
            <a:xfrm>
              <a:off x="5083586" y="2401719"/>
              <a:ext cx="209835" cy="209835"/>
            </a:xfrm>
            <a:custGeom>
              <a:avLst/>
              <a:gdLst>
                <a:gd name="connsiteX0" fmla="*/ 209836 w 209835"/>
                <a:gd name="connsiteY0" fmla="*/ 69437 h 209835"/>
                <a:gd name="connsiteX1" fmla="*/ 140303 w 209835"/>
                <a:gd name="connsiteY1" fmla="*/ 69437 h 209835"/>
                <a:gd name="connsiteX2" fmla="*/ 140303 w 209835"/>
                <a:gd name="connsiteY2" fmla="*/ 0 h 209835"/>
                <a:gd name="connsiteX3" fmla="*/ 69437 w 209835"/>
                <a:gd name="connsiteY3" fmla="*/ 0 h 209835"/>
                <a:gd name="connsiteX4" fmla="*/ 69437 w 209835"/>
                <a:gd name="connsiteY4" fmla="*/ 69437 h 209835"/>
                <a:gd name="connsiteX5" fmla="*/ 0 w 209835"/>
                <a:gd name="connsiteY5" fmla="*/ 69437 h 209835"/>
                <a:gd name="connsiteX6" fmla="*/ 0 w 209835"/>
                <a:gd name="connsiteY6" fmla="*/ 140399 h 209835"/>
                <a:gd name="connsiteX7" fmla="*/ 69437 w 209835"/>
                <a:gd name="connsiteY7" fmla="*/ 140399 h 209835"/>
                <a:gd name="connsiteX8" fmla="*/ 69437 w 209835"/>
                <a:gd name="connsiteY8" fmla="*/ 209836 h 209835"/>
                <a:gd name="connsiteX9" fmla="*/ 140303 w 209835"/>
                <a:gd name="connsiteY9" fmla="*/ 209836 h 209835"/>
                <a:gd name="connsiteX10" fmla="*/ 140303 w 209835"/>
                <a:gd name="connsiteY10" fmla="*/ 140399 h 209835"/>
                <a:gd name="connsiteX11" fmla="*/ 209836 w 209835"/>
                <a:gd name="connsiteY11" fmla="*/ 140399 h 209835"/>
                <a:gd name="connsiteX12" fmla="*/ 209836 w 209835"/>
                <a:gd name="connsiteY12" fmla="*/ 69437 h 2098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09835" h="209835">
                  <a:moveTo>
                    <a:pt x="209836" y="69437"/>
                  </a:moveTo>
                  <a:lnTo>
                    <a:pt x="140303" y="69437"/>
                  </a:lnTo>
                  <a:lnTo>
                    <a:pt x="140303" y="0"/>
                  </a:lnTo>
                  <a:lnTo>
                    <a:pt x="69437" y="0"/>
                  </a:lnTo>
                  <a:lnTo>
                    <a:pt x="69437" y="69437"/>
                  </a:lnTo>
                  <a:lnTo>
                    <a:pt x="0" y="69437"/>
                  </a:lnTo>
                  <a:lnTo>
                    <a:pt x="0" y="140399"/>
                  </a:lnTo>
                  <a:lnTo>
                    <a:pt x="69437" y="140399"/>
                  </a:lnTo>
                  <a:lnTo>
                    <a:pt x="69437" y="209836"/>
                  </a:lnTo>
                  <a:lnTo>
                    <a:pt x="140303" y="209836"/>
                  </a:lnTo>
                  <a:lnTo>
                    <a:pt x="140303" y="140399"/>
                  </a:lnTo>
                  <a:lnTo>
                    <a:pt x="209836" y="140399"/>
                  </a:lnTo>
                  <a:lnTo>
                    <a:pt x="209836" y="69437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926" name="Gráfico 1920">
              <a:extLst>
                <a:ext uri="{FF2B5EF4-FFF2-40B4-BE49-F238E27FC236}">
                  <a16:creationId xmlns:a16="http://schemas.microsoft.com/office/drawing/2014/main" id="{A0A53733-D51D-944D-C183-4F1FE37FE2C5}"/>
                </a:ext>
              </a:extLst>
            </p:cNvPr>
            <p:cNvGrpSpPr/>
            <p:nvPr/>
          </p:nvGrpSpPr>
          <p:grpSpPr>
            <a:xfrm>
              <a:off x="4994813" y="2405053"/>
              <a:ext cx="387381" cy="203168"/>
              <a:chOff x="4994813" y="2405053"/>
              <a:chExt cx="387381" cy="203168"/>
            </a:xfrm>
          </p:grpSpPr>
          <p:sp>
            <p:nvSpPr>
              <p:cNvPr id="1927" name="Forma livre: Forma 1926">
                <a:extLst>
                  <a:ext uri="{FF2B5EF4-FFF2-40B4-BE49-F238E27FC236}">
                    <a16:creationId xmlns:a16="http://schemas.microsoft.com/office/drawing/2014/main" id="{19AE6F86-6E56-55B5-9EBE-6CB94B5D893C}"/>
                  </a:ext>
                </a:extLst>
              </p:cNvPr>
              <p:cNvSpPr/>
              <p:nvPr/>
            </p:nvSpPr>
            <p:spPr>
              <a:xfrm>
                <a:off x="4994813" y="2405053"/>
                <a:ext cx="9525" cy="203168"/>
              </a:xfrm>
              <a:custGeom>
                <a:avLst/>
                <a:gdLst>
                  <a:gd name="connsiteX0" fmla="*/ 0 w 9525"/>
                  <a:gd name="connsiteY0" fmla="*/ 0 h 203168"/>
                  <a:gd name="connsiteX1" fmla="*/ 0 w 9525"/>
                  <a:gd name="connsiteY1" fmla="*/ 203168 h 2031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525" h="203168">
                    <a:moveTo>
                      <a:pt x="0" y="0"/>
                    </a:moveTo>
                    <a:lnTo>
                      <a:pt x="0" y="203168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928" name="Forma livre: Forma 1927">
                <a:extLst>
                  <a:ext uri="{FF2B5EF4-FFF2-40B4-BE49-F238E27FC236}">
                    <a16:creationId xmlns:a16="http://schemas.microsoft.com/office/drawing/2014/main" id="{5792F807-1362-C4A0-3939-A3972573CEAF}"/>
                  </a:ext>
                </a:extLst>
              </p:cNvPr>
              <p:cNvSpPr/>
              <p:nvPr/>
            </p:nvSpPr>
            <p:spPr>
              <a:xfrm>
                <a:off x="5382195" y="2405053"/>
                <a:ext cx="9525" cy="203168"/>
              </a:xfrm>
              <a:custGeom>
                <a:avLst/>
                <a:gdLst>
                  <a:gd name="connsiteX0" fmla="*/ 0 w 9525"/>
                  <a:gd name="connsiteY0" fmla="*/ 0 h 203168"/>
                  <a:gd name="connsiteX1" fmla="*/ 0 w 9525"/>
                  <a:gd name="connsiteY1" fmla="*/ 203168 h 2031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525" h="203168">
                    <a:moveTo>
                      <a:pt x="0" y="0"/>
                    </a:moveTo>
                    <a:lnTo>
                      <a:pt x="0" y="203168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946" name="Agrupar 1945">
            <a:extLst>
              <a:ext uri="{FF2B5EF4-FFF2-40B4-BE49-F238E27FC236}">
                <a16:creationId xmlns:a16="http://schemas.microsoft.com/office/drawing/2014/main" id="{D463BE63-E556-836A-7ED2-7C538258E47C}"/>
              </a:ext>
            </a:extLst>
          </p:cNvPr>
          <p:cNvGrpSpPr/>
          <p:nvPr/>
        </p:nvGrpSpPr>
        <p:grpSpPr>
          <a:xfrm>
            <a:off x="6258590" y="2055168"/>
            <a:ext cx="280670" cy="254284"/>
            <a:chOff x="5747543" y="2182018"/>
            <a:chExt cx="591692" cy="536066"/>
          </a:xfrm>
        </p:grpSpPr>
        <p:grpSp>
          <p:nvGrpSpPr>
            <p:cNvPr id="1933" name="Gráfico 1930">
              <a:extLst>
                <a:ext uri="{FF2B5EF4-FFF2-40B4-BE49-F238E27FC236}">
                  <a16:creationId xmlns:a16="http://schemas.microsoft.com/office/drawing/2014/main" id="{81183C9D-EE38-A66C-B269-319B7F420F73}"/>
                </a:ext>
              </a:extLst>
            </p:cNvPr>
            <p:cNvGrpSpPr/>
            <p:nvPr/>
          </p:nvGrpSpPr>
          <p:grpSpPr>
            <a:xfrm>
              <a:off x="5871368" y="2239358"/>
              <a:ext cx="344043" cy="84391"/>
              <a:chOff x="5871368" y="2239358"/>
              <a:chExt cx="344043" cy="84391"/>
            </a:xfrm>
          </p:grpSpPr>
          <p:sp>
            <p:nvSpPr>
              <p:cNvPr id="1934" name="Forma livre: Forma 1933">
                <a:extLst>
                  <a:ext uri="{FF2B5EF4-FFF2-40B4-BE49-F238E27FC236}">
                    <a16:creationId xmlns:a16="http://schemas.microsoft.com/office/drawing/2014/main" id="{D3E7A796-A883-9807-E960-29648EB0B283}"/>
                  </a:ext>
                </a:extLst>
              </p:cNvPr>
              <p:cNvSpPr/>
              <p:nvPr/>
            </p:nvSpPr>
            <p:spPr>
              <a:xfrm>
                <a:off x="5871368" y="2239358"/>
                <a:ext cx="140303" cy="84391"/>
              </a:xfrm>
              <a:custGeom>
                <a:avLst/>
                <a:gdLst>
                  <a:gd name="connsiteX0" fmla="*/ 0 w 140303"/>
                  <a:gd name="connsiteY0" fmla="*/ 84391 h 84391"/>
                  <a:gd name="connsiteX1" fmla="*/ 140303 w 140303"/>
                  <a:gd name="connsiteY1" fmla="*/ 0 h 843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40303" h="84391">
                    <a:moveTo>
                      <a:pt x="0" y="84391"/>
                    </a:moveTo>
                    <a:lnTo>
                      <a:pt x="140303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935" name="Forma livre: Forma 1934">
                <a:extLst>
                  <a:ext uri="{FF2B5EF4-FFF2-40B4-BE49-F238E27FC236}">
                    <a16:creationId xmlns:a16="http://schemas.microsoft.com/office/drawing/2014/main" id="{2DF3A4B4-C8FF-F38E-2E04-9A167FA21596}"/>
                  </a:ext>
                </a:extLst>
              </p:cNvPr>
              <p:cNvSpPr/>
              <p:nvPr/>
            </p:nvSpPr>
            <p:spPr>
              <a:xfrm>
                <a:off x="6075012" y="2239358"/>
                <a:ext cx="140398" cy="84391"/>
              </a:xfrm>
              <a:custGeom>
                <a:avLst/>
                <a:gdLst>
                  <a:gd name="connsiteX0" fmla="*/ 140398 w 140398"/>
                  <a:gd name="connsiteY0" fmla="*/ 84391 h 84391"/>
                  <a:gd name="connsiteX1" fmla="*/ 0 w 140398"/>
                  <a:gd name="connsiteY1" fmla="*/ 0 h 843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40398" h="84391">
                    <a:moveTo>
                      <a:pt x="140398" y="84391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936" name="Forma livre: Forma 1935">
              <a:extLst>
                <a:ext uri="{FF2B5EF4-FFF2-40B4-BE49-F238E27FC236}">
                  <a16:creationId xmlns:a16="http://schemas.microsoft.com/office/drawing/2014/main" id="{F4CA45CD-4EA1-E9C6-D7A7-A27086373493}"/>
                </a:ext>
              </a:extLst>
            </p:cNvPr>
            <p:cNvSpPr/>
            <p:nvPr/>
          </p:nvSpPr>
          <p:spPr>
            <a:xfrm>
              <a:off x="6007670" y="2182018"/>
              <a:ext cx="71437" cy="71437"/>
            </a:xfrm>
            <a:custGeom>
              <a:avLst/>
              <a:gdLst>
                <a:gd name="connsiteX0" fmla="*/ 71438 w 71437"/>
                <a:gd name="connsiteY0" fmla="*/ 35719 h 71437"/>
                <a:gd name="connsiteX1" fmla="*/ 35719 w 71437"/>
                <a:gd name="connsiteY1" fmla="*/ 71438 h 71437"/>
                <a:gd name="connsiteX2" fmla="*/ 0 w 71437"/>
                <a:gd name="connsiteY2" fmla="*/ 35719 h 71437"/>
                <a:gd name="connsiteX3" fmla="*/ 35719 w 71437"/>
                <a:gd name="connsiteY3" fmla="*/ 0 h 71437"/>
                <a:gd name="connsiteX4" fmla="*/ 71438 w 71437"/>
                <a:gd name="connsiteY4" fmla="*/ 35719 h 714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437" h="71437">
                  <a:moveTo>
                    <a:pt x="71438" y="35719"/>
                  </a:moveTo>
                  <a:cubicBezTo>
                    <a:pt x="71438" y="55436"/>
                    <a:pt x="55436" y="71438"/>
                    <a:pt x="35719" y="71438"/>
                  </a:cubicBezTo>
                  <a:cubicBezTo>
                    <a:pt x="16002" y="71438"/>
                    <a:pt x="0" y="55436"/>
                    <a:pt x="0" y="35719"/>
                  </a:cubicBezTo>
                  <a:cubicBezTo>
                    <a:pt x="0" y="16002"/>
                    <a:pt x="16002" y="0"/>
                    <a:pt x="35719" y="0"/>
                  </a:cubicBezTo>
                  <a:cubicBezTo>
                    <a:pt x="55436" y="0"/>
                    <a:pt x="71438" y="16002"/>
                    <a:pt x="71438" y="35719"/>
                  </a:cubicBez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37" name="Forma livre: Forma 1936">
              <a:extLst>
                <a:ext uri="{FF2B5EF4-FFF2-40B4-BE49-F238E27FC236}">
                  <a16:creationId xmlns:a16="http://schemas.microsoft.com/office/drawing/2014/main" id="{E79CD62D-7C2F-FB6E-8B36-2E97757CA8B4}"/>
                </a:ext>
              </a:extLst>
            </p:cNvPr>
            <p:cNvSpPr/>
            <p:nvPr/>
          </p:nvSpPr>
          <p:spPr>
            <a:xfrm>
              <a:off x="5747543" y="2360230"/>
              <a:ext cx="591692" cy="357854"/>
            </a:xfrm>
            <a:custGeom>
              <a:avLst/>
              <a:gdLst>
                <a:gd name="connsiteX0" fmla="*/ 544068 w 591692"/>
                <a:gd name="connsiteY0" fmla="*/ 0 h 357854"/>
                <a:gd name="connsiteX1" fmla="*/ 47625 w 591692"/>
                <a:gd name="connsiteY1" fmla="*/ 0 h 357854"/>
                <a:gd name="connsiteX2" fmla="*/ 0 w 591692"/>
                <a:gd name="connsiteY2" fmla="*/ 47625 h 357854"/>
                <a:gd name="connsiteX3" fmla="*/ 0 w 591692"/>
                <a:gd name="connsiteY3" fmla="*/ 310229 h 357854"/>
                <a:gd name="connsiteX4" fmla="*/ 47625 w 591692"/>
                <a:gd name="connsiteY4" fmla="*/ 357854 h 357854"/>
                <a:gd name="connsiteX5" fmla="*/ 544068 w 591692"/>
                <a:gd name="connsiteY5" fmla="*/ 357854 h 357854"/>
                <a:gd name="connsiteX6" fmla="*/ 591693 w 591692"/>
                <a:gd name="connsiteY6" fmla="*/ 310229 h 357854"/>
                <a:gd name="connsiteX7" fmla="*/ 591693 w 591692"/>
                <a:gd name="connsiteY7" fmla="*/ 47625 h 357854"/>
                <a:gd name="connsiteX8" fmla="*/ 544068 w 591692"/>
                <a:gd name="connsiteY8" fmla="*/ 0 h 357854"/>
                <a:gd name="connsiteX9" fmla="*/ 544068 w 591692"/>
                <a:gd name="connsiteY9" fmla="*/ 0 h 3578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91692" h="357854">
                  <a:moveTo>
                    <a:pt x="544068" y="0"/>
                  </a:moveTo>
                  <a:lnTo>
                    <a:pt x="47625" y="0"/>
                  </a:lnTo>
                  <a:cubicBezTo>
                    <a:pt x="21431" y="0"/>
                    <a:pt x="0" y="21431"/>
                    <a:pt x="0" y="47625"/>
                  </a:cubicBezTo>
                  <a:lnTo>
                    <a:pt x="0" y="310229"/>
                  </a:lnTo>
                  <a:cubicBezTo>
                    <a:pt x="0" y="336423"/>
                    <a:pt x="21431" y="357854"/>
                    <a:pt x="47625" y="357854"/>
                  </a:cubicBezTo>
                  <a:lnTo>
                    <a:pt x="544068" y="357854"/>
                  </a:lnTo>
                  <a:cubicBezTo>
                    <a:pt x="570262" y="357854"/>
                    <a:pt x="591693" y="336423"/>
                    <a:pt x="591693" y="310229"/>
                  </a:cubicBezTo>
                  <a:lnTo>
                    <a:pt x="591693" y="47625"/>
                  </a:lnTo>
                  <a:cubicBezTo>
                    <a:pt x="591693" y="21431"/>
                    <a:pt x="570262" y="0"/>
                    <a:pt x="544068" y="0"/>
                  </a:cubicBezTo>
                  <a:lnTo>
                    <a:pt x="544068" y="0"/>
                  </a:lnTo>
                  <a:close/>
                </a:path>
              </a:pathLst>
            </a:custGeom>
            <a:noFill/>
            <a:ln w="6350" cap="sq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938" name="Gráfico 1930">
              <a:extLst>
                <a:ext uri="{FF2B5EF4-FFF2-40B4-BE49-F238E27FC236}">
                  <a16:creationId xmlns:a16="http://schemas.microsoft.com/office/drawing/2014/main" id="{7C691440-3DC3-7E28-D281-6F496A5650C1}"/>
                </a:ext>
              </a:extLst>
            </p:cNvPr>
            <p:cNvGrpSpPr/>
            <p:nvPr/>
          </p:nvGrpSpPr>
          <p:grpSpPr>
            <a:xfrm>
              <a:off x="5858773" y="2480436"/>
              <a:ext cx="369210" cy="122015"/>
              <a:chOff x="5858773" y="2480436"/>
              <a:chExt cx="369210" cy="122015"/>
            </a:xfrm>
            <a:noFill/>
          </p:grpSpPr>
          <p:sp>
            <p:nvSpPr>
              <p:cNvPr id="1939" name="Forma livre: Forma 1938">
                <a:extLst>
                  <a:ext uri="{FF2B5EF4-FFF2-40B4-BE49-F238E27FC236}">
                    <a16:creationId xmlns:a16="http://schemas.microsoft.com/office/drawing/2014/main" id="{FD8F9156-E5AD-3586-73FB-7A76883E8368}"/>
                  </a:ext>
                </a:extLst>
              </p:cNvPr>
              <p:cNvSpPr/>
              <p:nvPr/>
            </p:nvSpPr>
            <p:spPr>
              <a:xfrm>
                <a:off x="6184359" y="2484055"/>
                <a:ext cx="43624" cy="114300"/>
              </a:xfrm>
              <a:custGeom>
                <a:avLst/>
                <a:gdLst>
                  <a:gd name="connsiteX0" fmla="*/ 43624 w 43624"/>
                  <a:gd name="connsiteY0" fmla="*/ 0 h 114300"/>
                  <a:gd name="connsiteX1" fmla="*/ 0 w 43624"/>
                  <a:gd name="connsiteY1" fmla="*/ 0 h 114300"/>
                  <a:gd name="connsiteX2" fmla="*/ 0 w 43624"/>
                  <a:gd name="connsiteY2" fmla="*/ 114300 h 114300"/>
                  <a:gd name="connsiteX3" fmla="*/ 43624 w 43624"/>
                  <a:gd name="connsiteY3" fmla="*/ 114300 h 1143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3624" h="114300">
                    <a:moveTo>
                      <a:pt x="43624" y="0"/>
                    </a:moveTo>
                    <a:lnTo>
                      <a:pt x="0" y="0"/>
                    </a:lnTo>
                    <a:lnTo>
                      <a:pt x="0" y="114300"/>
                    </a:lnTo>
                    <a:lnTo>
                      <a:pt x="43624" y="114300"/>
                    </a:lnTo>
                  </a:path>
                </a:pathLst>
              </a:custGeom>
              <a:noFill/>
              <a:ln w="6350" cap="sq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940" name="Forma livre: Forma 1939">
                <a:extLst>
                  <a:ext uri="{FF2B5EF4-FFF2-40B4-BE49-F238E27FC236}">
                    <a16:creationId xmlns:a16="http://schemas.microsoft.com/office/drawing/2014/main" id="{45A74101-B36C-512C-89D8-547885A51D33}"/>
                  </a:ext>
                </a:extLst>
              </p:cNvPr>
              <p:cNvSpPr/>
              <p:nvPr/>
            </p:nvSpPr>
            <p:spPr>
              <a:xfrm>
                <a:off x="6087966" y="2484055"/>
                <a:ext cx="40671" cy="114300"/>
              </a:xfrm>
              <a:custGeom>
                <a:avLst/>
                <a:gdLst>
                  <a:gd name="connsiteX0" fmla="*/ 0 w 40671"/>
                  <a:gd name="connsiteY0" fmla="*/ 0 h 114300"/>
                  <a:gd name="connsiteX1" fmla="*/ 0 w 40671"/>
                  <a:gd name="connsiteY1" fmla="*/ 114300 h 114300"/>
                  <a:gd name="connsiteX2" fmla="*/ 40672 w 40671"/>
                  <a:gd name="connsiteY2" fmla="*/ 114300 h 1143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40671" h="114300">
                    <a:moveTo>
                      <a:pt x="0" y="0"/>
                    </a:moveTo>
                    <a:lnTo>
                      <a:pt x="0" y="114300"/>
                    </a:lnTo>
                    <a:lnTo>
                      <a:pt x="40672" y="114300"/>
                    </a:lnTo>
                  </a:path>
                </a:pathLst>
              </a:custGeom>
              <a:noFill/>
              <a:ln w="6350" cap="sq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941" name="Forma livre: Forma 1940">
                <a:extLst>
                  <a:ext uri="{FF2B5EF4-FFF2-40B4-BE49-F238E27FC236}">
                    <a16:creationId xmlns:a16="http://schemas.microsoft.com/office/drawing/2014/main" id="{736BAD10-E79C-4DCF-89E4-97B8FA9B73CA}"/>
                  </a:ext>
                </a:extLst>
              </p:cNvPr>
              <p:cNvSpPr/>
              <p:nvPr/>
            </p:nvSpPr>
            <p:spPr>
              <a:xfrm>
                <a:off x="6185026" y="2541206"/>
                <a:ext cx="42957" cy="9525"/>
              </a:xfrm>
              <a:custGeom>
                <a:avLst/>
                <a:gdLst>
                  <a:gd name="connsiteX0" fmla="*/ 0 w 42957"/>
                  <a:gd name="connsiteY0" fmla="*/ 0 h 9525"/>
                  <a:gd name="connsiteX1" fmla="*/ 42958 w 42957"/>
                  <a:gd name="connsiteY1" fmla="*/ 0 h 9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2957" h="9525">
                    <a:moveTo>
                      <a:pt x="0" y="0"/>
                    </a:moveTo>
                    <a:lnTo>
                      <a:pt x="42958" y="0"/>
                    </a:lnTo>
                  </a:path>
                </a:pathLst>
              </a:custGeom>
              <a:ln w="6350" cap="sq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1942" name="Gráfico 1930">
                <a:extLst>
                  <a:ext uri="{FF2B5EF4-FFF2-40B4-BE49-F238E27FC236}">
                    <a16:creationId xmlns:a16="http://schemas.microsoft.com/office/drawing/2014/main" id="{8F2B1D46-EBF3-4288-3E5C-FD81CD4D8773}"/>
                  </a:ext>
                </a:extLst>
              </p:cNvPr>
              <p:cNvGrpSpPr/>
              <p:nvPr/>
            </p:nvGrpSpPr>
            <p:grpSpPr>
              <a:xfrm>
                <a:off x="5972428" y="2480436"/>
                <a:ext cx="59912" cy="117919"/>
                <a:chOff x="5972428" y="2480436"/>
                <a:chExt cx="59912" cy="117919"/>
              </a:xfrm>
              <a:noFill/>
            </p:grpSpPr>
            <p:sp>
              <p:nvSpPr>
                <p:cNvPr id="1943" name="Forma livre: Forma 1942">
                  <a:extLst>
                    <a:ext uri="{FF2B5EF4-FFF2-40B4-BE49-F238E27FC236}">
                      <a16:creationId xmlns:a16="http://schemas.microsoft.com/office/drawing/2014/main" id="{A1E0183C-E988-E393-6625-6BFDDB6DC968}"/>
                    </a:ext>
                  </a:extLst>
                </p:cNvPr>
                <p:cNvSpPr/>
                <p:nvPr/>
              </p:nvSpPr>
              <p:spPr>
                <a:xfrm>
                  <a:off x="5972428" y="2480436"/>
                  <a:ext cx="59912" cy="117919"/>
                </a:xfrm>
                <a:custGeom>
                  <a:avLst/>
                  <a:gdLst>
                    <a:gd name="connsiteX0" fmla="*/ 0 w 59912"/>
                    <a:gd name="connsiteY0" fmla="*/ 117919 h 117919"/>
                    <a:gd name="connsiteX1" fmla="*/ 0 w 59912"/>
                    <a:gd name="connsiteY1" fmla="*/ 28575 h 117919"/>
                    <a:gd name="connsiteX2" fmla="*/ 28575 w 59912"/>
                    <a:gd name="connsiteY2" fmla="*/ 0 h 117919"/>
                    <a:gd name="connsiteX3" fmla="*/ 31337 w 59912"/>
                    <a:gd name="connsiteY3" fmla="*/ 0 h 117919"/>
                    <a:gd name="connsiteX4" fmla="*/ 59912 w 59912"/>
                    <a:gd name="connsiteY4" fmla="*/ 28575 h 117919"/>
                    <a:gd name="connsiteX5" fmla="*/ 59912 w 59912"/>
                    <a:gd name="connsiteY5" fmla="*/ 117919 h 11791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59912" h="117919">
                      <a:moveTo>
                        <a:pt x="0" y="117919"/>
                      </a:moveTo>
                      <a:lnTo>
                        <a:pt x="0" y="28575"/>
                      </a:lnTo>
                      <a:cubicBezTo>
                        <a:pt x="0" y="12859"/>
                        <a:pt x="12859" y="0"/>
                        <a:pt x="28575" y="0"/>
                      </a:cubicBezTo>
                      <a:lnTo>
                        <a:pt x="31337" y="0"/>
                      </a:lnTo>
                      <a:cubicBezTo>
                        <a:pt x="47053" y="0"/>
                        <a:pt x="59912" y="12859"/>
                        <a:pt x="59912" y="28575"/>
                      </a:cubicBezTo>
                      <a:lnTo>
                        <a:pt x="59912" y="117919"/>
                      </a:lnTo>
                    </a:path>
                  </a:pathLst>
                </a:custGeom>
                <a:noFill/>
                <a:ln w="6350" cap="sq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944" name="Forma livre: Forma 1943">
                  <a:extLst>
                    <a:ext uri="{FF2B5EF4-FFF2-40B4-BE49-F238E27FC236}">
                      <a16:creationId xmlns:a16="http://schemas.microsoft.com/office/drawing/2014/main" id="{A7BFDA33-25D8-E946-930C-AF21E6E2C82D}"/>
                    </a:ext>
                  </a:extLst>
                </p:cNvPr>
                <p:cNvSpPr/>
                <p:nvPr/>
              </p:nvSpPr>
              <p:spPr>
                <a:xfrm>
                  <a:off x="5975381" y="2555398"/>
                  <a:ext cx="54006" cy="9525"/>
                </a:xfrm>
                <a:custGeom>
                  <a:avLst/>
                  <a:gdLst>
                    <a:gd name="connsiteX0" fmla="*/ 0 w 54006"/>
                    <a:gd name="connsiteY0" fmla="*/ 0 h 9525"/>
                    <a:gd name="connsiteX1" fmla="*/ 54007 w 54006"/>
                    <a:gd name="connsiteY1" fmla="*/ 0 h 952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54006" h="9525">
                      <a:moveTo>
                        <a:pt x="0" y="0"/>
                      </a:moveTo>
                      <a:lnTo>
                        <a:pt x="54007" y="0"/>
                      </a:lnTo>
                    </a:path>
                  </a:pathLst>
                </a:custGeom>
                <a:ln w="6350" cap="sq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1945" name="Forma livre: Forma 1944">
                <a:extLst>
                  <a:ext uri="{FF2B5EF4-FFF2-40B4-BE49-F238E27FC236}">
                    <a16:creationId xmlns:a16="http://schemas.microsoft.com/office/drawing/2014/main" id="{00E0E52D-1EB6-2790-F5DB-FBCF30AA8A51}"/>
                  </a:ext>
                </a:extLst>
              </p:cNvPr>
              <p:cNvSpPr/>
              <p:nvPr/>
            </p:nvSpPr>
            <p:spPr>
              <a:xfrm>
                <a:off x="5858773" y="2480626"/>
                <a:ext cx="60028" cy="121824"/>
              </a:xfrm>
              <a:custGeom>
                <a:avLst/>
                <a:gdLst>
                  <a:gd name="connsiteX0" fmla="*/ 60029 w 60028"/>
                  <a:gd name="connsiteY0" fmla="*/ 28289 h 121824"/>
                  <a:gd name="connsiteX1" fmla="*/ 31454 w 60028"/>
                  <a:gd name="connsiteY1" fmla="*/ 0 h 121824"/>
                  <a:gd name="connsiteX2" fmla="*/ 28692 w 60028"/>
                  <a:gd name="connsiteY2" fmla="*/ 0 h 121824"/>
                  <a:gd name="connsiteX3" fmla="*/ 117 w 60028"/>
                  <a:gd name="connsiteY3" fmla="*/ 28289 h 121824"/>
                  <a:gd name="connsiteX4" fmla="*/ 28311 w 60028"/>
                  <a:gd name="connsiteY4" fmla="*/ 55721 h 121824"/>
                  <a:gd name="connsiteX5" fmla="*/ 60029 w 60028"/>
                  <a:gd name="connsiteY5" fmla="*/ 95726 h 121824"/>
                  <a:gd name="connsiteX6" fmla="*/ 31454 w 60028"/>
                  <a:gd name="connsiteY6" fmla="*/ 121825 h 121824"/>
                  <a:gd name="connsiteX7" fmla="*/ 28692 w 60028"/>
                  <a:gd name="connsiteY7" fmla="*/ 121825 h 121824"/>
                  <a:gd name="connsiteX8" fmla="*/ 117 w 60028"/>
                  <a:gd name="connsiteY8" fmla="*/ 93536 h 121824"/>
                  <a:gd name="connsiteX9" fmla="*/ 117 w 60028"/>
                  <a:gd name="connsiteY9" fmla="*/ 85249 h 1218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60028" h="121824">
                    <a:moveTo>
                      <a:pt x="60029" y="28289"/>
                    </a:moveTo>
                    <a:cubicBezTo>
                      <a:pt x="60029" y="12764"/>
                      <a:pt x="47170" y="0"/>
                      <a:pt x="31454" y="0"/>
                    </a:cubicBezTo>
                    <a:lnTo>
                      <a:pt x="28692" y="0"/>
                    </a:lnTo>
                    <a:cubicBezTo>
                      <a:pt x="12975" y="0"/>
                      <a:pt x="117" y="12668"/>
                      <a:pt x="117" y="28289"/>
                    </a:cubicBezTo>
                    <a:cubicBezTo>
                      <a:pt x="117" y="28289"/>
                      <a:pt x="-3408" y="48673"/>
                      <a:pt x="28311" y="55721"/>
                    </a:cubicBezTo>
                    <a:cubicBezTo>
                      <a:pt x="49170" y="60389"/>
                      <a:pt x="60029" y="72200"/>
                      <a:pt x="60029" y="95726"/>
                    </a:cubicBezTo>
                    <a:cubicBezTo>
                      <a:pt x="60029" y="111252"/>
                      <a:pt x="47170" y="121825"/>
                      <a:pt x="31454" y="121825"/>
                    </a:cubicBezTo>
                    <a:lnTo>
                      <a:pt x="28692" y="121825"/>
                    </a:lnTo>
                    <a:cubicBezTo>
                      <a:pt x="12975" y="121825"/>
                      <a:pt x="117" y="109157"/>
                      <a:pt x="117" y="93536"/>
                    </a:cubicBezTo>
                    <a:lnTo>
                      <a:pt x="117" y="85249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965" name="Agrupar 1964">
            <a:extLst>
              <a:ext uri="{FF2B5EF4-FFF2-40B4-BE49-F238E27FC236}">
                <a16:creationId xmlns:a16="http://schemas.microsoft.com/office/drawing/2014/main" id="{C44F5E5A-1482-8A98-F647-452EF9F05A03}"/>
              </a:ext>
            </a:extLst>
          </p:cNvPr>
          <p:cNvGrpSpPr/>
          <p:nvPr/>
        </p:nvGrpSpPr>
        <p:grpSpPr>
          <a:xfrm>
            <a:off x="6868318" y="2054393"/>
            <a:ext cx="278607" cy="252415"/>
            <a:chOff x="6566693" y="1956593"/>
            <a:chExt cx="591692" cy="536066"/>
          </a:xfrm>
        </p:grpSpPr>
        <p:grpSp>
          <p:nvGrpSpPr>
            <p:cNvPr id="1950" name="Gráfico 1947">
              <a:extLst>
                <a:ext uri="{FF2B5EF4-FFF2-40B4-BE49-F238E27FC236}">
                  <a16:creationId xmlns:a16="http://schemas.microsoft.com/office/drawing/2014/main" id="{D741323E-EEE6-9139-E1C2-E38585B1C11E}"/>
                </a:ext>
              </a:extLst>
            </p:cNvPr>
            <p:cNvGrpSpPr/>
            <p:nvPr/>
          </p:nvGrpSpPr>
          <p:grpSpPr>
            <a:xfrm>
              <a:off x="6690518" y="2013933"/>
              <a:ext cx="344043" cy="84391"/>
              <a:chOff x="6690518" y="2013933"/>
              <a:chExt cx="344043" cy="84391"/>
            </a:xfrm>
          </p:grpSpPr>
          <p:sp>
            <p:nvSpPr>
              <p:cNvPr id="1951" name="Forma livre: Forma 1950">
                <a:extLst>
                  <a:ext uri="{FF2B5EF4-FFF2-40B4-BE49-F238E27FC236}">
                    <a16:creationId xmlns:a16="http://schemas.microsoft.com/office/drawing/2014/main" id="{9BD8FC7C-6D66-0891-B239-3967B88232A2}"/>
                  </a:ext>
                </a:extLst>
              </p:cNvPr>
              <p:cNvSpPr/>
              <p:nvPr/>
            </p:nvSpPr>
            <p:spPr>
              <a:xfrm>
                <a:off x="6690518" y="2013933"/>
                <a:ext cx="140303" cy="84391"/>
              </a:xfrm>
              <a:custGeom>
                <a:avLst/>
                <a:gdLst>
                  <a:gd name="connsiteX0" fmla="*/ 0 w 140303"/>
                  <a:gd name="connsiteY0" fmla="*/ 84391 h 84391"/>
                  <a:gd name="connsiteX1" fmla="*/ 140303 w 140303"/>
                  <a:gd name="connsiteY1" fmla="*/ 0 h 843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40303" h="84391">
                    <a:moveTo>
                      <a:pt x="0" y="84391"/>
                    </a:moveTo>
                    <a:lnTo>
                      <a:pt x="140303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952" name="Forma livre: Forma 1951">
                <a:extLst>
                  <a:ext uri="{FF2B5EF4-FFF2-40B4-BE49-F238E27FC236}">
                    <a16:creationId xmlns:a16="http://schemas.microsoft.com/office/drawing/2014/main" id="{AF16C1A8-8B0C-0CCB-1AB4-7E4AF8E42501}"/>
                  </a:ext>
                </a:extLst>
              </p:cNvPr>
              <p:cNvSpPr/>
              <p:nvPr/>
            </p:nvSpPr>
            <p:spPr>
              <a:xfrm>
                <a:off x="6894162" y="2013933"/>
                <a:ext cx="140398" cy="84391"/>
              </a:xfrm>
              <a:custGeom>
                <a:avLst/>
                <a:gdLst>
                  <a:gd name="connsiteX0" fmla="*/ 140398 w 140398"/>
                  <a:gd name="connsiteY0" fmla="*/ 84391 h 84391"/>
                  <a:gd name="connsiteX1" fmla="*/ 0 w 140398"/>
                  <a:gd name="connsiteY1" fmla="*/ 0 h 843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40398" h="84391">
                    <a:moveTo>
                      <a:pt x="140398" y="84391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953" name="Forma livre: Forma 1952">
              <a:extLst>
                <a:ext uri="{FF2B5EF4-FFF2-40B4-BE49-F238E27FC236}">
                  <a16:creationId xmlns:a16="http://schemas.microsoft.com/office/drawing/2014/main" id="{6EF2E3D4-8907-A130-6BB2-CA1A4D5CE27C}"/>
                </a:ext>
              </a:extLst>
            </p:cNvPr>
            <p:cNvSpPr/>
            <p:nvPr/>
          </p:nvSpPr>
          <p:spPr>
            <a:xfrm>
              <a:off x="6826820" y="1956593"/>
              <a:ext cx="71437" cy="71437"/>
            </a:xfrm>
            <a:custGeom>
              <a:avLst/>
              <a:gdLst>
                <a:gd name="connsiteX0" fmla="*/ 71438 w 71437"/>
                <a:gd name="connsiteY0" fmla="*/ 35719 h 71437"/>
                <a:gd name="connsiteX1" fmla="*/ 35719 w 71437"/>
                <a:gd name="connsiteY1" fmla="*/ 71438 h 71437"/>
                <a:gd name="connsiteX2" fmla="*/ 0 w 71437"/>
                <a:gd name="connsiteY2" fmla="*/ 35719 h 71437"/>
                <a:gd name="connsiteX3" fmla="*/ 35719 w 71437"/>
                <a:gd name="connsiteY3" fmla="*/ 0 h 71437"/>
                <a:gd name="connsiteX4" fmla="*/ 71438 w 71437"/>
                <a:gd name="connsiteY4" fmla="*/ 35719 h 714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437" h="71437">
                  <a:moveTo>
                    <a:pt x="71438" y="35719"/>
                  </a:moveTo>
                  <a:cubicBezTo>
                    <a:pt x="71438" y="55436"/>
                    <a:pt x="55436" y="71438"/>
                    <a:pt x="35719" y="71438"/>
                  </a:cubicBezTo>
                  <a:cubicBezTo>
                    <a:pt x="16002" y="71438"/>
                    <a:pt x="0" y="55436"/>
                    <a:pt x="0" y="35719"/>
                  </a:cubicBezTo>
                  <a:cubicBezTo>
                    <a:pt x="0" y="16002"/>
                    <a:pt x="16002" y="0"/>
                    <a:pt x="35719" y="0"/>
                  </a:cubicBezTo>
                  <a:cubicBezTo>
                    <a:pt x="55436" y="0"/>
                    <a:pt x="71438" y="16002"/>
                    <a:pt x="71438" y="35719"/>
                  </a:cubicBez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54" name="Forma livre: Forma 1953">
              <a:extLst>
                <a:ext uri="{FF2B5EF4-FFF2-40B4-BE49-F238E27FC236}">
                  <a16:creationId xmlns:a16="http://schemas.microsoft.com/office/drawing/2014/main" id="{18B49865-A47C-5DF8-E922-F58D7647BD06}"/>
                </a:ext>
              </a:extLst>
            </p:cNvPr>
            <p:cNvSpPr/>
            <p:nvPr/>
          </p:nvSpPr>
          <p:spPr>
            <a:xfrm>
              <a:off x="6566693" y="2134805"/>
              <a:ext cx="591692" cy="357854"/>
            </a:xfrm>
            <a:custGeom>
              <a:avLst/>
              <a:gdLst>
                <a:gd name="connsiteX0" fmla="*/ 544068 w 591692"/>
                <a:gd name="connsiteY0" fmla="*/ 0 h 357854"/>
                <a:gd name="connsiteX1" fmla="*/ 47625 w 591692"/>
                <a:gd name="connsiteY1" fmla="*/ 0 h 357854"/>
                <a:gd name="connsiteX2" fmla="*/ 0 w 591692"/>
                <a:gd name="connsiteY2" fmla="*/ 47625 h 357854"/>
                <a:gd name="connsiteX3" fmla="*/ 0 w 591692"/>
                <a:gd name="connsiteY3" fmla="*/ 310229 h 357854"/>
                <a:gd name="connsiteX4" fmla="*/ 47625 w 591692"/>
                <a:gd name="connsiteY4" fmla="*/ 357854 h 357854"/>
                <a:gd name="connsiteX5" fmla="*/ 544068 w 591692"/>
                <a:gd name="connsiteY5" fmla="*/ 357854 h 357854"/>
                <a:gd name="connsiteX6" fmla="*/ 591693 w 591692"/>
                <a:gd name="connsiteY6" fmla="*/ 310229 h 357854"/>
                <a:gd name="connsiteX7" fmla="*/ 591693 w 591692"/>
                <a:gd name="connsiteY7" fmla="*/ 47625 h 357854"/>
                <a:gd name="connsiteX8" fmla="*/ 544068 w 591692"/>
                <a:gd name="connsiteY8" fmla="*/ 0 h 357854"/>
                <a:gd name="connsiteX9" fmla="*/ 544068 w 591692"/>
                <a:gd name="connsiteY9" fmla="*/ 0 h 3578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91692" h="357854">
                  <a:moveTo>
                    <a:pt x="544068" y="0"/>
                  </a:moveTo>
                  <a:lnTo>
                    <a:pt x="47625" y="0"/>
                  </a:lnTo>
                  <a:cubicBezTo>
                    <a:pt x="21431" y="0"/>
                    <a:pt x="0" y="21431"/>
                    <a:pt x="0" y="47625"/>
                  </a:cubicBezTo>
                  <a:lnTo>
                    <a:pt x="0" y="310229"/>
                  </a:lnTo>
                  <a:cubicBezTo>
                    <a:pt x="0" y="336423"/>
                    <a:pt x="21431" y="357854"/>
                    <a:pt x="47625" y="357854"/>
                  </a:cubicBezTo>
                  <a:lnTo>
                    <a:pt x="544068" y="357854"/>
                  </a:lnTo>
                  <a:cubicBezTo>
                    <a:pt x="570262" y="357854"/>
                    <a:pt x="591693" y="336423"/>
                    <a:pt x="591693" y="310229"/>
                  </a:cubicBezTo>
                  <a:lnTo>
                    <a:pt x="591693" y="47625"/>
                  </a:lnTo>
                  <a:cubicBezTo>
                    <a:pt x="591693" y="21431"/>
                    <a:pt x="570262" y="0"/>
                    <a:pt x="544068" y="0"/>
                  </a:cubicBezTo>
                  <a:lnTo>
                    <a:pt x="544068" y="0"/>
                  </a:lnTo>
                  <a:close/>
                </a:path>
              </a:pathLst>
            </a:custGeom>
            <a:noFill/>
            <a:ln w="6350" cap="sq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955" name="Gráfico 1947">
              <a:extLst>
                <a:ext uri="{FF2B5EF4-FFF2-40B4-BE49-F238E27FC236}">
                  <a16:creationId xmlns:a16="http://schemas.microsoft.com/office/drawing/2014/main" id="{17755D76-9B6C-724D-C19A-2D4873880DB1}"/>
                </a:ext>
              </a:extLst>
            </p:cNvPr>
            <p:cNvGrpSpPr/>
            <p:nvPr/>
          </p:nvGrpSpPr>
          <p:grpSpPr>
            <a:xfrm>
              <a:off x="6672230" y="2258345"/>
              <a:ext cx="380619" cy="115157"/>
              <a:chOff x="6672230" y="2258345"/>
              <a:chExt cx="380619" cy="115157"/>
            </a:xfrm>
            <a:noFill/>
          </p:grpSpPr>
          <p:grpSp>
            <p:nvGrpSpPr>
              <p:cNvPr id="1956" name="Gráfico 1947">
                <a:extLst>
                  <a:ext uri="{FF2B5EF4-FFF2-40B4-BE49-F238E27FC236}">
                    <a16:creationId xmlns:a16="http://schemas.microsoft.com/office/drawing/2014/main" id="{4B11DE65-24A8-1134-8C2C-EC07239043CB}"/>
                  </a:ext>
                </a:extLst>
              </p:cNvPr>
              <p:cNvGrpSpPr/>
              <p:nvPr/>
            </p:nvGrpSpPr>
            <p:grpSpPr>
              <a:xfrm>
                <a:off x="6788625" y="2258630"/>
                <a:ext cx="43624" cy="114300"/>
                <a:chOff x="6788625" y="2258630"/>
                <a:chExt cx="43624" cy="114300"/>
              </a:xfrm>
              <a:noFill/>
            </p:grpSpPr>
            <p:sp>
              <p:nvSpPr>
                <p:cNvPr id="1957" name="Forma livre: Forma 1956">
                  <a:extLst>
                    <a:ext uri="{FF2B5EF4-FFF2-40B4-BE49-F238E27FC236}">
                      <a16:creationId xmlns:a16="http://schemas.microsoft.com/office/drawing/2014/main" id="{DCF2BF1A-5232-D565-8CAC-29BC32949028}"/>
                    </a:ext>
                  </a:extLst>
                </p:cNvPr>
                <p:cNvSpPr/>
                <p:nvPr/>
              </p:nvSpPr>
              <p:spPr>
                <a:xfrm>
                  <a:off x="6788625" y="2258630"/>
                  <a:ext cx="43624" cy="114300"/>
                </a:xfrm>
                <a:custGeom>
                  <a:avLst/>
                  <a:gdLst>
                    <a:gd name="connsiteX0" fmla="*/ 43625 w 43624"/>
                    <a:gd name="connsiteY0" fmla="*/ 0 h 114300"/>
                    <a:gd name="connsiteX1" fmla="*/ 0 w 43624"/>
                    <a:gd name="connsiteY1" fmla="*/ 0 h 114300"/>
                    <a:gd name="connsiteX2" fmla="*/ 0 w 43624"/>
                    <a:gd name="connsiteY2" fmla="*/ 114300 h 114300"/>
                    <a:gd name="connsiteX3" fmla="*/ 43625 w 43624"/>
                    <a:gd name="connsiteY3" fmla="*/ 114300 h 1143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3624" h="114300">
                      <a:moveTo>
                        <a:pt x="43625" y="0"/>
                      </a:moveTo>
                      <a:lnTo>
                        <a:pt x="0" y="0"/>
                      </a:lnTo>
                      <a:lnTo>
                        <a:pt x="0" y="114300"/>
                      </a:lnTo>
                      <a:lnTo>
                        <a:pt x="43625" y="114300"/>
                      </a:lnTo>
                    </a:path>
                  </a:pathLst>
                </a:custGeom>
                <a:noFill/>
                <a:ln w="6350" cap="sq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958" name="Forma livre: Forma 1957">
                  <a:extLst>
                    <a:ext uri="{FF2B5EF4-FFF2-40B4-BE49-F238E27FC236}">
                      <a16:creationId xmlns:a16="http://schemas.microsoft.com/office/drawing/2014/main" id="{ABF710C6-FC60-F079-62F0-6261F5F091F9}"/>
                    </a:ext>
                  </a:extLst>
                </p:cNvPr>
                <p:cNvSpPr/>
                <p:nvPr/>
              </p:nvSpPr>
              <p:spPr>
                <a:xfrm>
                  <a:off x="6789292" y="2315781"/>
                  <a:ext cx="42957" cy="9525"/>
                </a:xfrm>
                <a:custGeom>
                  <a:avLst/>
                  <a:gdLst>
                    <a:gd name="connsiteX0" fmla="*/ 0 w 42957"/>
                    <a:gd name="connsiteY0" fmla="*/ 0 h 9525"/>
                    <a:gd name="connsiteX1" fmla="*/ 42958 w 42957"/>
                    <a:gd name="connsiteY1" fmla="*/ 0 h 952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2957" h="9525">
                      <a:moveTo>
                        <a:pt x="0" y="0"/>
                      </a:moveTo>
                      <a:lnTo>
                        <a:pt x="42958" y="0"/>
                      </a:lnTo>
                    </a:path>
                  </a:pathLst>
                </a:custGeom>
                <a:ln w="6350" cap="sq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1959" name="Gráfico 1947">
                <a:extLst>
                  <a:ext uri="{FF2B5EF4-FFF2-40B4-BE49-F238E27FC236}">
                    <a16:creationId xmlns:a16="http://schemas.microsoft.com/office/drawing/2014/main" id="{CEDA1C9E-BED4-6925-E094-ACCA4CCF0CC1}"/>
                  </a:ext>
                </a:extLst>
              </p:cNvPr>
              <p:cNvGrpSpPr/>
              <p:nvPr/>
            </p:nvGrpSpPr>
            <p:grpSpPr>
              <a:xfrm>
                <a:off x="6992651" y="2258631"/>
                <a:ext cx="60198" cy="114300"/>
                <a:chOff x="6992651" y="2258631"/>
                <a:chExt cx="60198" cy="114300"/>
              </a:xfrm>
            </p:grpSpPr>
            <p:sp>
              <p:nvSpPr>
                <p:cNvPr id="1960" name="Forma livre: Forma 1959">
                  <a:extLst>
                    <a:ext uri="{FF2B5EF4-FFF2-40B4-BE49-F238E27FC236}">
                      <a16:creationId xmlns:a16="http://schemas.microsoft.com/office/drawing/2014/main" id="{8F3AD279-0376-BFA9-9217-DB0FA20791B9}"/>
                    </a:ext>
                  </a:extLst>
                </p:cNvPr>
                <p:cNvSpPr/>
                <p:nvPr/>
              </p:nvSpPr>
              <p:spPr>
                <a:xfrm>
                  <a:off x="6992651" y="2258631"/>
                  <a:ext cx="60198" cy="9525"/>
                </a:xfrm>
                <a:custGeom>
                  <a:avLst/>
                  <a:gdLst>
                    <a:gd name="connsiteX0" fmla="*/ 60198 w 60198"/>
                    <a:gd name="connsiteY0" fmla="*/ 0 h 9525"/>
                    <a:gd name="connsiteX1" fmla="*/ 0 w 60198"/>
                    <a:gd name="connsiteY1" fmla="*/ 0 h 952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60198" h="9525">
                      <a:moveTo>
                        <a:pt x="60198" y="0"/>
                      </a:moveTo>
                      <a:lnTo>
                        <a:pt x="0" y="0"/>
                      </a:lnTo>
                    </a:path>
                  </a:pathLst>
                </a:custGeom>
                <a:ln w="6350" cap="sq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961" name="Forma livre: Forma 1960">
                  <a:extLst>
                    <a:ext uri="{FF2B5EF4-FFF2-40B4-BE49-F238E27FC236}">
                      <a16:creationId xmlns:a16="http://schemas.microsoft.com/office/drawing/2014/main" id="{A9AFEA77-3FC9-7554-95A9-9672AD0A0C5B}"/>
                    </a:ext>
                  </a:extLst>
                </p:cNvPr>
                <p:cNvSpPr/>
                <p:nvPr/>
              </p:nvSpPr>
              <p:spPr>
                <a:xfrm>
                  <a:off x="7022750" y="2260536"/>
                  <a:ext cx="9525" cy="112395"/>
                </a:xfrm>
                <a:custGeom>
                  <a:avLst/>
                  <a:gdLst>
                    <a:gd name="connsiteX0" fmla="*/ 0 w 9525"/>
                    <a:gd name="connsiteY0" fmla="*/ 0 h 112395"/>
                    <a:gd name="connsiteX1" fmla="*/ 0 w 9525"/>
                    <a:gd name="connsiteY1" fmla="*/ 112395 h 11239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9525" h="112395">
                      <a:moveTo>
                        <a:pt x="0" y="0"/>
                      </a:moveTo>
                      <a:lnTo>
                        <a:pt x="0" y="112395"/>
                      </a:lnTo>
                    </a:path>
                  </a:pathLst>
                </a:custGeom>
                <a:ln w="6350" cap="sq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1962" name="Forma livre: Forma 1961">
                <a:extLst>
                  <a:ext uri="{FF2B5EF4-FFF2-40B4-BE49-F238E27FC236}">
                    <a16:creationId xmlns:a16="http://schemas.microsoft.com/office/drawing/2014/main" id="{39B7886B-24C5-88FC-A0FE-4E16FEFA0D11}"/>
                  </a:ext>
                </a:extLst>
              </p:cNvPr>
              <p:cNvSpPr/>
              <p:nvPr/>
            </p:nvSpPr>
            <p:spPr>
              <a:xfrm>
                <a:off x="6672230" y="2258535"/>
                <a:ext cx="63055" cy="114395"/>
              </a:xfrm>
              <a:custGeom>
                <a:avLst/>
                <a:gdLst>
                  <a:gd name="connsiteX0" fmla="*/ 4096 w 63055"/>
                  <a:gd name="connsiteY0" fmla="*/ 64294 h 114395"/>
                  <a:gd name="connsiteX1" fmla="*/ 39243 w 63055"/>
                  <a:gd name="connsiteY1" fmla="*/ 64294 h 114395"/>
                  <a:gd name="connsiteX2" fmla="*/ 63056 w 63055"/>
                  <a:gd name="connsiteY2" fmla="*/ 40481 h 114395"/>
                  <a:gd name="connsiteX3" fmla="*/ 63056 w 63055"/>
                  <a:gd name="connsiteY3" fmla="*/ 23813 h 114395"/>
                  <a:gd name="connsiteX4" fmla="*/ 39243 w 63055"/>
                  <a:gd name="connsiteY4" fmla="*/ 0 h 114395"/>
                  <a:gd name="connsiteX5" fmla="*/ 0 w 63055"/>
                  <a:gd name="connsiteY5" fmla="*/ 0 h 114395"/>
                  <a:gd name="connsiteX6" fmla="*/ 0 w 63055"/>
                  <a:gd name="connsiteY6" fmla="*/ 114395 h 1143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3055" h="114395">
                    <a:moveTo>
                      <a:pt x="4096" y="64294"/>
                    </a:moveTo>
                    <a:lnTo>
                      <a:pt x="39243" y="64294"/>
                    </a:lnTo>
                    <a:cubicBezTo>
                      <a:pt x="52292" y="64294"/>
                      <a:pt x="63056" y="53626"/>
                      <a:pt x="63056" y="40481"/>
                    </a:cubicBezTo>
                    <a:lnTo>
                      <a:pt x="63056" y="23813"/>
                    </a:lnTo>
                    <a:cubicBezTo>
                      <a:pt x="63056" y="10668"/>
                      <a:pt x="52388" y="0"/>
                      <a:pt x="39243" y="0"/>
                    </a:cubicBezTo>
                    <a:lnTo>
                      <a:pt x="0" y="0"/>
                    </a:lnTo>
                    <a:lnTo>
                      <a:pt x="0" y="114395"/>
                    </a:lnTo>
                  </a:path>
                </a:pathLst>
              </a:custGeom>
              <a:noFill/>
              <a:ln w="6350" cap="sq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963" name="Forma livre: Forma 1962">
                <a:extLst>
                  <a:ext uri="{FF2B5EF4-FFF2-40B4-BE49-F238E27FC236}">
                    <a16:creationId xmlns:a16="http://schemas.microsoft.com/office/drawing/2014/main" id="{1D4A8829-0058-1E19-BFC0-B12361935E6A}"/>
                  </a:ext>
                </a:extLst>
              </p:cNvPr>
              <p:cNvSpPr/>
              <p:nvPr/>
            </p:nvSpPr>
            <p:spPr>
              <a:xfrm>
                <a:off x="6707377" y="2328258"/>
                <a:ext cx="23622" cy="43338"/>
              </a:xfrm>
              <a:custGeom>
                <a:avLst/>
                <a:gdLst>
                  <a:gd name="connsiteX0" fmla="*/ 0 w 23622"/>
                  <a:gd name="connsiteY0" fmla="*/ 0 h 43338"/>
                  <a:gd name="connsiteX1" fmla="*/ 23622 w 23622"/>
                  <a:gd name="connsiteY1" fmla="*/ 43339 h 433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3622" h="43338">
                    <a:moveTo>
                      <a:pt x="0" y="0"/>
                    </a:moveTo>
                    <a:lnTo>
                      <a:pt x="23622" y="43339"/>
                    </a:lnTo>
                  </a:path>
                </a:pathLst>
              </a:custGeom>
              <a:ln w="6350" cap="sq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964" name="Forma livre: Forma 1963">
                <a:extLst>
                  <a:ext uri="{FF2B5EF4-FFF2-40B4-BE49-F238E27FC236}">
                    <a16:creationId xmlns:a16="http://schemas.microsoft.com/office/drawing/2014/main" id="{66ED8E35-6BEF-964A-84FF-E4F9FBE78EF8}"/>
                  </a:ext>
                </a:extLst>
              </p:cNvPr>
              <p:cNvSpPr/>
              <p:nvPr/>
            </p:nvSpPr>
            <p:spPr>
              <a:xfrm>
                <a:off x="6885780" y="2258345"/>
                <a:ext cx="60674" cy="115157"/>
              </a:xfrm>
              <a:custGeom>
                <a:avLst/>
                <a:gdLst>
                  <a:gd name="connsiteX0" fmla="*/ 0 w 60674"/>
                  <a:gd name="connsiteY0" fmla="*/ 114586 h 115157"/>
                  <a:gd name="connsiteX1" fmla="*/ 0 w 60674"/>
                  <a:gd name="connsiteY1" fmla="*/ 0 h 115157"/>
                  <a:gd name="connsiteX2" fmla="*/ 60674 w 60674"/>
                  <a:gd name="connsiteY2" fmla="*/ 115157 h 115157"/>
                  <a:gd name="connsiteX3" fmla="*/ 60674 w 60674"/>
                  <a:gd name="connsiteY3" fmla="*/ 191 h 1151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0674" h="115157">
                    <a:moveTo>
                      <a:pt x="0" y="114586"/>
                    </a:moveTo>
                    <a:lnTo>
                      <a:pt x="0" y="0"/>
                    </a:lnTo>
                    <a:lnTo>
                      <a:pt x="60674" y="115157"/>
                    </a:lnTo>
                    <a:lnTo>
                      <a:pt x="60674" y="191"/>
                    </a:lnTo>
                  </a:path>
                </a:pathLst>
              </a:custGeom>
              <a:noFill/>
              <a:ln w="6350" cap="sq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979" name="Agrupar 1978">
            <a:extLst>
              <a:ext uri="{FF2B5EF4-FFF2-40B4-BE49-F238E27FC236}">
                <a16:creationId xmlns:a16="http://schemas.microsoft.com/office/drawing/2014/main" id="{2857375B-C54B-08B7-A19E-46C2C76E885F}"/>
              </a:ext>
            </a:extLst>
          </p:cNvPr>
          <p:cNvGrpSpPr/>
          <p:nvPr/>
        </p:nvGrpSpPr>
        <p:grpSpPr>
          <a:xfrm>
            <a:off x="7484975" y="2047875"/>
            <a:ext cx="288720" cy="261577"/>
            <a:chOff x="7446151" y="1905793"/>
            <a:chExt cx="591692" cy="536066"/>
          </a:xfrm>
        </p:grpSpPr>
        <p:grpSp>
          <p:nvGrpSpPr>
            <p:cNvPr id="1969" name="Gráfico 1966">
              <a:extLst>
                <a:ext uri="{FF2B5EF4-FFF2-40B4-BE49-F238E27FC236}">
                  <a16:creationId xmlns:a16="http://schemas.microsoft.com/office/drawing/2014/main" id="{4D783FB1-51D0-F8B0-FE0B-5B493A75FBDC}"/>
                </a:ext>
              </a:extLst>
            </p:cNvPr>
            <p:cNvGrpSpPr/>
            <p:nvPr/>
          </p:nvGrpSpPr>
          <p:grpSpPr>
            <a:xfrm>
              <a:off x="7569976" y="1963133"/>
              <a:ext cx="344043" cy="84391"/>
              <a:chOff x="7569976" y="1963133"/>
              <a:chExt cx="344043" cy="84391"/>
            </a:xfrm>
          </p:grpSpPr>
          <p:sp>
            <p:nvSpPr>
              <p:cNvPr id="1970" name="Forma livre: Forma 1969">
                <a:extLst>
                  <a:ext uri="{FF2B5EF4-FFF2-40B4-BE49-F238E27FC236}">
                    <a16:creationId xmlns:a16="http://schemas.microsoft.com/office/drawing/2014/main" id="{19B15077-67BA-A596-497C-6A3729877A67}"/>
                  </a:ext>
                </a:extLst>
              </p:cNvPr>
              <p:cNvSpPr/>
              <p:nvPr/>
            </p:nvSpPr>
            <p:spPr>
              <a:xfrm>
                <a:off x="7569976" y="1963133"/>
                <a:ext cx="140303" cy="84391"/>
              </a:xfrm>
              <a:custGeom>
                <a:avLst/>
                <a:gdLst>
                  <a:gd name="connsiteX0" fmla="*/ 0 w 140303"/>
                  <a:gd name="connsiteY0" fmla="*/ 84391 h 84391"/>
                  <a:gd name="connsiteX1" fmla="*/ 140303 w 140303"/>
                  <a:gd name="connsiteY1" fmla="*/ 0 h 843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40303" h="84391">
                    <a:moveTo>
                      <a:pt x="0" y="84391"/>
                    </a:moveTo>
                    <a:lnTo>
                      <a:pt x="140303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971" name="Forma livre: Forma 1970">
                <a:extLst>
                  <a:ext uri="{FF2B5EF4-FFF2-40B4-BE49-F238E27FC236}">
                    <a16:creationId xmlns:a16="http://schemas.microsoft.com/office/drawing/2014/main" id="{6D21FFF5-19F9-CC5B-5B75-76ADBCA31FAE}"/>
                  </a:ext>
                </a:extLst>
              </p:cNvPr>
              <p:cNvSpPr/>
              <p:nvPr/>
            </p:nvSpPr>
            <p:spPr>
              <a:xfrm>
                <a:off x="7773620" y="1963133"/>
                <a:ext cx="140398" cy="84391"/>
              </a:xfrm>
              <a:custGeom>
                <a:avLst/>
                <a:gdLst>
                  <a:gd name="connsiteX0" fmla="*/ 140398 w 140398"/>
                  <a:gd name="connsiteY0" fmla="*/ 84391 h 84391"/>
                  <a:gd name="connsiteX1" fmla="*/ 0 w 140398"/>
                  <a:gd name="connsiteY1" fmla="*/ 0 h 843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40398" h="84391">
                    <a:moveTo>
                      <a:pt x="140398" y="84391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972" name="Forma livre: Forma 1971">
              <a:extLst>
                <a:ext uri="{FF2B5EF4-FFF2-40B4-BE49-F238E27FC236}">
                  <a16:creationId xmlns:a16="http://schemas.microsoft.com/office/drawing/2014/main" id="{FD963A10-41CE-E7C1-C4BA-F8B50B109E9D}"/>
                </a:ext>
              </a:extLst>
            </p:cNvPr>
            <p:cNvSpPr/>
            <p:nvPr/>
          </p:nvSpPr>
          <p:spPr>
            <a:xfrm>
              <a:off x="7706278" y="1905793"/>
              <a:ext cx="71437" cy="71437"/>
            </a:xfrm>
            <a:custGeom>
              <a:avLst/>
              <a:gdLst>
                <a:gd name="connsiteX0" fmla="*/ 71438 w 71437"/>
                <a:gd name="connsiteY0" fmla="*/ 35719 h 71437"/>
                <a:gd name="connsiteX1" fmla="*/ 35719 w 71437"/>
                <a:gd name="connsiteY1" fmla="*/ 71438 h 71437"/>
                <a:gd name="connsiteX2" fmla="*/ 0 w 71437"/>
                <a:gd name="connsiteY2" fmla="*/ 35719 h 71437"/>
                <a:gd name="connsiteX3" fmla="*/ 35719 w 71437"/>
                <a:gd name="connsiteY3" fmla="*/ 0 h 71437"/>
                <a:gd name="connsiteX4" fmla="*/ 71438 w 71437"/>
                <a:gd name="connsiteY4" fmla="*/ 35719 h 714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437" h="71437">
                  <a:moveTo>
                    <a:pt x="71438" y="35719"/>
                  </a:moveTo>
                  <a:cubicBezTo>
                    <a:pt x="71438" y="55436"/>
                    <a:pt x="55436" y="71438"/>
                    <a:pt x="35719" y="71438"/>
                  </a:cubicBezTo>
                  <a:cubicBezTo>
                    <a:pt x="16002" y="71438"/>
                    <a:pt x="0" y="55436"/>
                    <a:pt x="0" y="35719"/>
                  </a:cubicBezTo>
                  <a:cubicBezTo>
                    <a:pt x="0" y="16002"/>
                    <a:pt x="16002" y="0"/>
                    <a:pt x="35719" y="0"/>
                  </a:cubicBezTo>
                  <a:cubicBezTo>
                    <a:pt x="55436" y="0"/>
                    <a:pt x="71438" y="16002"/>
                    <a:pt x="71438" y="35719"/>
                  </a:cubicBez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73" name="Forma livre: Forma 1972">
              <a:extLst>
                <a:ext uri="{FF2B5EF4-FFF2-40B4-BE49-F238E27FC236}">
                  <a16:creationId xmlns:a16="http://schemas.microsoft.com/office/drawing/2014/main" id="{20728C3C-9169-8DF2-BD7C-09E021FB1D80}"/>
                </a:ext>
              </a:extLst>
            </p:cNvPr>
            <p:cNvSpPr/>
            <p:nvPr/>
          </p:nvSpPr>
          <p:spPr>
            <a:xfrm>
              <a:off x="7446151" y="2084005"/>
              <a:ext cx="591692" cy="357854"/>
            </a:xfrm>
            <a:custGeom>
              <a:avLst/>
              <a:gdLst>
                <a:gd name="connsiteX0" fmla="*/ 544068 w 591692"/>
                <a:gd name="connsiteY0" fmla="*/ 0 h 357854"/>
                <a:gd name="connsiteX1" fmla="*/ 47625 w 591692"/>
                <a:gd name="connsiteY1" fmla="*/ 0 h 357854"/>
                <a:gd name="connsiteX2" fmla="*/ 0 w 591692"/>
                <a:gd name="connsiteY2" fmla="*/ 47625 h 357854"/>
                <a:gd name="connsiteX3" fmla="*/ 0 w 591692"/>
                <a:gd name="connsiteY3" fmla="*/ 310229 h 357854"/>
                <a:gd name="connsiteX4" fmla="*/ 47625 w 591692"/>
                <a:gd name="connsiteY4" fmla="*/ 357854 h 357854"/>
                <a:gd name="connsiteX5" fmla="*/ 544068 w 591692"/>
                <a:gd name="connsiteY5" fmla="*/ 357854 h 357854"/>
                <a:gd name="connsiteX6" fmla="*/ 591693 w 591692"/>
                <a:gd name="connsiteY6" fmla="*/ 310229 h 357854"/>
                <a:gd name="connsiteX7" fmla="*/ 591693 w 591692"/>
                <a:gd name="connsiteY7" fmla="*/ 47625 h 357854"/>
                <a:gd name="connsiteX8" fmla="*/ 544068 w 591692"/>
                <a:gd name="connsiteY8" fmla="*/ 0 h 357854"/>
                <a:gd name="connsiteX9" fmla="*/ 544068 w 591692"/>
                <a:gd name="connsiteY9" fmla="*/ 0 h 3578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91692" h="357854">
                  <a:moveTo>
                    <a:pt x="544068" y="0"/>
                  </a:moveTo>
                  <a:lnTo>
                    <a:pt x="47625" y="0"/>
                  </a:lnTo>
                  <a:cubicBezTo>
                    <a:pt x="21431" y="0"/>
                    <a:pt x="0" y="21431"/>
                    <a:pt x="0" y="47625"/>
                  </a:cubicBezTo>
                  <a:lnTo>
                    <a:pt x="0" y="310229"/>
                  </a:lnTo>
                  <a:cubicBezTo>
                    <a:pt x="0" y="336423"/>
                    <a:pt x="21431" y="357854"/>
                    <a:pt x="47625" y="357854"/>
                  </a:cubicBezTo>
                  <a:lnTo>
                    <a:pt x="544068" y="357854"/>
                  </a:lnTo>
                  <a:cubicBezTo>
                    <a:pt x="570262" y="357854"/>
                    <a:pt x="591693" y="336423"/>
                    <a:pt x="591693" y="310229"/>
                  </a:cubicBezTo>
                  <a:lnTo>
                    <a:pt x="591693" y="47625"/>
                  </a:lnTo>
                  <a:cubicBezTo>
                    <a:pt x="591693" y="21431"/>
                    <a:pt x="570262" y="0"/>
                    <a:pt x="544068" y="0"/>
                  </a:cubicBezTo>
                  <a:lnTo>
                    <a:pt x="544068" y="0"/>
                  </a:ln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974" name="Gráfico 1966">
              <a:extLst>
                <a:ext uri="{FF2B5EF4-FFF2-40B4-BE49-F238E27FC236}">
                  <a16:creationId xmlns:a16="http://schemas.microsoft.com/office/drawing/2014/main" id="{F6D32DF7-C08C-3EC1-2027-5AC49875C012}"/>
                </a:ext>
              </a:extLst>
            </p:cNvPr>
            <p:cNvGrpSpPr/>
            <p:nvPr/>
          </p:nvGrpSpPr>
          <p:grpSpPr>
            <a:xfrm>
              <a:off x="7552905" y="2204401"/>
              <a:ext cx="378163" cy="121824"/>
              <a:chOff x="7552905" y="2204401"/>
              <a:chExt cx="378163" cy="121824"/>
            </a:xfrm>
            <a:noFill/>
          </p:grpSpPr>
          <p:sp>
            <p:nvSpPr>
              <p:cNvPr id="1975" name="Forma livre: Forma 1974">
                <a:extLst>
                  <a:ext uri="{FF2B5EF4-FFF2-40B4-BE49-F238E27FC236}">
                    <a16:creationId xmlns:a16="http://schemas.microsoft.com/office/drawing/2014/main" id="{D5CC44AA-84AF-4130-1266-76917F2C3E24}"/>
                  </a:ext>
                </a:extLst>
              </p:cNvPr>
              <p:cNvSpPr/>
              <p:nvPr/>
            </p:nvSpPr>
            <p:spPr>
              <a:xfrm>
                <a:off x="7782098" y="2207830"/>
                <a:ext cx="40671" cy="114300"/>
              </a:xfrm>
              <a:custGeom>
                <a:avLst/>
                <a:gdLst>
                  <a:gd name="connsiteX0" fmla="*/ 0 w 40671"/>
                  <a:gd name="connsiteY0" fmla="*/ 0 h 114300"/>
                  <a:gd name="connsiteX1" fmla="*/ 0 w 40671"/>
                  <a:gd name="connsiteY1" fmla="*/ 114300 h 114300"/>
                  <a:gd name="connsiteX2" fmla="*/ 40672 w 40671"/>
                  <a:gd name="connsiteY2" fmla="*/ 114300 h 1143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40671" h="114300">
                    <a:moveTo>
                      <a:pt x="0" y="0"/>
                    </a:moveTo>
                    <a:lnTo>
                      <a:pt x="0" y="114300"/>
                    </a:lnTo>
                    <a:lnTo>
                      <a:pt x="40672" y="114300"/>
                    </a:lnTo>
                  </a:path>
                </a:pathLst>
              </a:custGeom>
              <a:noFill/>
              <a:ln w="6350" cap="sq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976" name="Forma livre: Forma 1975">
                <a:extLst>
                  <a:ext uri="{FF2B5EF4-FFF2-40B4-BE49-F238E27FC236}">
                    <a16:creationId xmlns:a16="http://schemas.microsoft.com/office/drawing/2014/main" id="{9B64F507-936F-EA5E-3130-12BD087A8AD3}"/>
                  </a:ext>
                </a:extLst>
              </p:cNvPr>
              <p:cNvSpPr/>
              <p:nvPr/>
            </p:nvSpPr>
            <p:spPr>
              <a:xfrm>
                <a:off x="7552905" y="2204401"/>
                <a:ext cx="60028" cy="121824"/>
              </a:xfrm>
              <a:custGeom>
                <a:avLst/>
                <a:gdLst>
                  <a:gd name="connsiteX0" fmla="*/ 60029 w 60028"/>
                  <a:gd name="connsiteY0" fmla="*/ 28289 h 121824"/>
                  <a:gd name="connsiteX1" fmla="*/ 31454 w 60028"/>
                  <a:gd name="connsiteY1" fmla="*/ 0 h 121824"/>
                  <a:gd name="connsiteX2" fmla="*/ 28692 w 60028"/>
                  <a:gd name="connsiteY2" fmla="*/ 0 h 121824"/>
                  <a:gd name="connsiteX3" fmla="*/ 117 w 60028"/>
                  <a:gd name="connsiteY3" fmla="*/ 28289 h 121824"/>
                  <a:gd name="connsiteX4" fmla="*/ 28311 w 60028"/>
                  <a:gd name="connsiteY4" fmla="*/ 55721 h 121824"/>
                  <a:gd name="connsiteX5" fmla="*/ 60029 w 60028"/>
                  <a:gd name="connsiteY5" fmla="*/ 95726 h 121824"/>
                  <a:gd name="connsiteX6" fmla="*/ 31454 w 60028"/>
                  <a:gd name="connsiteY6" fmla="*/ 121825 h 121824"/>
                  <a:gd name="connsiteX7" fmla="*/ 28692 w 60028"/>
                  <a:gd name="connsiteY7" fmla="*/ 121825 h 121824"/>
                  <a:gd name="connsiteX8" fmla="*/ 117 w 60028"/>
                  <a:gd name="connsiteY8" fmla="*/ 93536 h 121824"/>
                  <a:gd name="connsiteX9" fmla="*/ 117 w 60028"/>
                  <a:gd name="connsiteY9" fmla="*/ 85249 h 1218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60028" h="121824">
                    <a:moveTo>
                      <a:pt x="60029" y="28289"/>
                    </a:moveTo>
                    <a:cubicBezTo>
                      <a:pt x="60029" y="12764"/>
                      <a:pt x="47170" y="0"/>
                      <a:pt x="31454" y="0"/>
                    </a:cubicBezTo>
                    <a:lnTo>
                      <a:pt x="28692" y="0"/>
                    </a:lnTo>
                    <a:cubicBezTo>
                      <a:pt x="12975" y="0"/>
                      <a:pt x="117" y="12668"/>
                      <a:pt x="117" y="28289"/>
                    </a:cubicBezTo>
                    <a:cubicBezTo>
                      <a:pt x="117" y="28289"/>
                      <a:pt x="-3408" y="48673"/>
                      <a:pt x="28311" y="55721"/>
                    </a:cubicBezTo>
                    <a:cubicBezTo>
                      <a:pt x="49170" y="60389"/>
                      <a:pt x="60029" y="72200"/>
                      <a:pt x="60029" y="95726"/>
                    </a:cubicBezTo>
                    <a:cubicBezTo>
                      <a:pt x="60029" y="111252"/>
                      <a:pt x="47170" y="121825"/>
                      <a:pt x="31454" y="121825"/>
                    </a:cubicBezTo>
                    <a:lnTo>
                      <a:pt x="28692" y="121825"/>
                    </a:lnTo>
                    <a:cubicBezTo>
                      <a:pt x="12975" y="121825"/>
                      <a:pt x="117" y="109157"/>
                      <a:pt x="117" y="93536"/>
                    </a:cubicBezTo>
                    <a:lnTo>
                      <a:pt x="117" y="85249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977" name="Forma livre: Forma 1976">
                <a:extLst>
                  <a:ext uri="{FF2B5EF4-FFF2-40B4-BE49-F238E27FC236}">
                    <a16:creationId xmlns:a16="http://schemas.microsoft.com/office/drawing/2014/main" id="{4886A5B2-B693-695F-377D-6C5C04A28385}"/>
                  </a:ext>
                </a:extLst>
              </p:cNvPr>
              <p:cNvSpPr/>
              <p:nvPr/>
            </p:nvSpPr>
            <p:spPr>
              <a:xfrm>
                <a:off x="7666559" y="2204687"/>
                <a:ext cx="59912" cy="120777"/>
              </a:xfrm>
              <a:custGeom>
                <a:avLst/>
                <a:gdLst>
                  <a:gd name="connsiteX0" fmla="*/ 31337 w 59912"/>
                  <a:gd name="connsiteY0" fmla="*/ 0 h 120777"/>
                  <a:gd name="connsiteX1" fmla="*/ 59912 w 59912"/>
                  <a:gd name="connsiteY1" fmla="*/ 28575 h 120777"/>
                  <a:gd name="connsiteX2" fmla="*/ 59912 w 59912"/>
                  <a:gd name="connsiteY2" fmla="*/ 92202 h 120777"/>
                  <a:gd name="connsiteX3" fmla="*/ 31337 w 59912"/>
                  <a:gd name="connsiteY3" fmla="*/ 120777 h 120777"/>
                  <a:gd name="connsiteX4" fmla="*/ 28575 w 59912"/>
                  <a:gd name="connsiteY4" fmla="*/ 120777 h 120777"/>
                  <a:gd name="connsiteX5" fmla="*/ 0 w 59912"/>
                  <a:gd name="connsiteY5" fmla="*/ 92202 h 120777"/>
                  <a:gd name="connsiteX6" fmla="*/ 0 w 59912"/>
                  <a:gd name="connsiteY6" fmla="*/ 28575 h 120777"/>
                  <a:gd name="connsiteX7" fmla="*/ 28575 w 59912"/>
                  <a:gd name="connsiteY7" fmla="*/ 0 h 1207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59912" h="120777">
                    <a:moveTo>
                      <a:pt x="31337" y="0"/>
                    </a:moveTo>
                    <a:cubicBezTo>
                      <a:pt x="47119" y="0"/>
                      <a:pt x="59912" y="12793"/>
                      <a:pt x="59912" y="28575"/>
                    </a:cubicBezTo>
                    <a:lnTo>
                      <a:pt x="59912" y="92202"/>
                    </a:lnTo>
                    <a:cubicBezTo>
                      <a:pt x="59912" y="107984"/>
                      <a:pt x="47119" y="120777"/>
                      <a:pt x="31337" y="120777"/>
                    </a:cubicBezTo>
                    <a:lnTo>
                      <a:pt x="28575" y="120777"/>
                    </a:lnTo>
                    <a:cubicBezTo>
                      <a:pt x="12793" y="120777"/>
                      <a:pt x="0" y="107984"/>
                      <a:pt x="0" y="92202"/>
                    </a:cubicBezTo>
                    <a:lnTo>
                      <a:pt x="0" y="28575"/>
                    </a:lnTo>
                    <a:cubicBezTo>
                      <a:pt x="0" y="12793"/>
                      <a:pt x="12793" y="0"/>
                      <a:pt x="28575" y="0"/>
                    </a:cubicBezTo>
                    <a:close/>
                  </a:path>
                </a:pathLst>
              </a:custGeom>
              <a:noFill/>
              <a:ln w="6350" cap="sq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978" name="Forma livre: Forma 1977">
                <a:extLst>
                  <a:ext uri="{FF2B5EF4-FFF2-40B4-BE49-F238E27FC236}">
                    <a16:creationId xmlns:a16="http://schemas.microsoft.com/office/drawing/2014/main" id="{82D6FF98-889E-331D-F45E-DF9068C5C3ED}"/>
                  </a:ext>
                </a:extLst>
              </p:cNvPr>
              <p:cNvSpPr/>
              <p:nvPr/>
            </p:nvSpPr>
            <p:spPr>
              <a:xfrm>
                <a:off x="7877348" y="2207259"/>
                <a:ext cx="53720" cy="115728"/>
              </a:xfrm>
              <a:custGeom>
                <a:avLst/>
                <a:gdLst>
                  <a:gd name="connsiteX0" fmla="*/ 0 w 53720"/>
                  <a:gd name="connsiteY0" fmla="*/ 0 h 115728"/>
                  <a:gd name="connsiteX1" fmla="*/ 25146 w 53720"/>
                  <a:gd name="connsiteY1" fmla="*/ 0 h 115728"/>
                  <a:gd name="connsiteX2" fmla="*/ 53721 w 53720"/>
                  <a:gd name="connsiteY2" fmla="*/ 27337 h 115728"/>
                  <a:gd name="connsiteX3" fmla="*/ 53721 w 53720"/>
                  <a:gd name="connsiteY3" fmla="*/ 88297 h 115728"/>
                  <a:gd name="connsiteX4" fmla="*/ 25146 w 53720"/>
                  <a:gd name="connsiteY4" fmla="*/ 115729 h 115728"/>
                  <a:gd name="connsiteX5" fmla="*/ 0 w 53720"/>
                  <a:gd name="connsiteY5" fmla="*/ 115729 h 115728"/>
                  <a:gd name="connsiteX6" fmla="*/ 0 w 53720"/>
                  <a:gd name="connsiteY6" fmla="*/ 0 h 1157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53720" h="115728">
                    <a:moveTo>
                      <a:pt x="0" y="0"/>
                    </a:moveTo>
                    <a:lnTo>
                      <a:pt x="25146" y="0"/>
                    </a:lnTo>
                    <a:cubicBezTo>
                      <a:pt x="40862" y="0"/>
                      <a:pt x="53721" y="12287"/>
                      <a:pt x="53721" y="27337"/>
                    </a:cubicBezTo>
                    <a:lnTo>
                      <a:pt x="53721" y="88297"/>
                    </a:lnTo>
                    <a:cubicBezTo>
                      <a:pt x="53721" y="103346"/>
                      <a:pt x="40862" y="115729"/>
                      <a:pt x="25146" y="115729"/>
                    </a:cubicBezTo>
                    <a:lnTo>
                      <a:pt x="0" y="115729"/>
                    </a:lnTo>
                    <a:lnTo>
                      <a:pt x="0" y="0"/>
                    </a:lnTo>
                    <a:close/>
                  </a:path>
                </a:pathLst>
              </a:custGeom>
              <a:noFill/>
              <a:ln w="6350" cap="sq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sp>
        <p:nvSpPr>
          <p:cNvPr id="1982" name="Gráfico 1980">
            <a:extLst>
              <a:ext uri="{FF2B5EF4-FFF2-40B4-BE49-F238E27FC236}">
                <a16:creationId xmlns:a16="http://schemas.microsoft.com/office/drawing/2014/main" id="{088CEDCD-E1A2-F5ED-7918-EE30C44ACFA7}"/>
              </a:ext>
            </a:extLst>
          </p:cNvPr>
          <p:cNvSpPr/>
          <p:nvPr/>
        </p:nvSpPr>
        <p:spPr>
          <a:xfrm>
            <a:off x="8069147" y="1041089"/>
            <a:ext cx="240614" cy="264730"/>
          </a:xfrm>
          <a:custGeom>
            <a:avLst/>
            <a:gdLst>
              <a:gd name="connsiteX0" fmla="*/ 464630 w 464724"/>
              <a:gd name="connsiteY0" fmla="*/ 0 h 511302"/>
              <a:gd name="connsiteX1" fmla="*/ 255746 w 464724"/>
              <a:gd name="connsiteY1" fmla="*/ 0 h 511302"/>
              <a:gd name="connsiteX2" fmla="*/ 255746 w 464724"/>
              <a:gd name="connsiteY2" fmla="*/ 128016 h 511302"/>
              <a:gd name="connsiteX3" fmla="*/ 287465 w 464724"/>
              <a:gd name="connsiteY3" fmla="*/ 128016 h 511302"/>
              <a:gd name="connsiteX4" fmla="*/ 287465 w 464724"/>
              <a:gd name="connsiteY4" fmla="*/ 350806 h 511302"/>
              <a:gd name="connsiteX5" fmla="*/ 270891 w 464724"/>
              <a:gd name="connsiteY5" fmla="*/ 367379 h 511302"/>
              <a:gd name="connsiteX6" fmla="*/ 193167 w 464724"/>
              <a:gd name="connsiteY6" fmla="*/ 367379 h 511302"/>
              <a:gd name="connsiteX7" fmla="*/ 176594 w 464724"/>
              <a:gd name="connsiteY7" fmla="*/ 350806 h 511302"/>
              <a:gd name="connsiteX8" fmla="*/ 176594 w 464724"/>
              <a:gd name="connsiteY8" fmla="*/ 128016 h 511302"/>
              <a:gd name="connsiteX9" fmla="*/ 208312 w 464724"/>
              <a:gd name="connsiteY9" fmla="*/ 128016 h 511302"/>
              <a:gd name="connsiteX10" fmla="*/ 208312 w 464724"/>
              <a:gd name="connsiteY10" fmla="*/ 0 h 511302"/>
              <a:gd name="connsiteX11" fmla="*/ 0 w 464724"/>
              <a:gd name="connsiteY11" fmla="*/ 0 h 511302"/>
              <a:gd name="connsiteX12" fmla="*/ 0 w 464724"/>
              <a:gd name="connsiteY12" fmla="*/ 128016 h 511302"/>
              <a:gd name="connsiteX13" fmla="*/ 31718 w 464724"/>
              <a:gd name="connsiteY13" fmla="*/ 128016 h 511302"/>
              <a:gd name="connsiteX14" fmla="*/ 31718 w 464724"/>
              <a:gd name="connsiteY14" fmla="*/ 426815 h 511302"/>
              <a:gd name="connsiteX15" fmla="*/ 116205 w 464724"/>
              <a:gd name="connsiteY15" fmla="*/ 511302 h 511302"/>
              <a:gd name="connsiteX16" fmla="*/ 348520 w 464724"/>
              <a:gd name="connsiteY16" fmla="*/ 511302 h 511302"/>
              <a:gd name="connsiteX17" fmla="*/ 432245 w 464724"/>
              <a:gd name="connsiteY17" fmla="*/ 426815 h 511302"/>
              <a:gd name="connsiteX18" fmla="*/ 432245 w 464724"/>
              <a:gd name="connsiteY18" fmla="*/ 128016 h 511302"/>
              <a:gd name="connsiteX19" fmla="*/ 464725 w 464724"/>
              <a:gd name="connsiteY19" fmla="*/ 128016 h 511302"/>
              <a:gd name="connsiteX20" fmla="*/ 464725 w 464724"/>
              <a:gd name="connsiteY20" fmla="*/ 0 h 511302"/>
              <a:gd name="connsiteX21" fmla="*/ 464725 w 464724"/>
              <a:gd name="connsiteY21" fmla="*/ 0 h 5113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464724" h="511302">
                <a:moveTo>
                  <a:pt x="464630" y="0"/>
                </a:moveTo>
                <a:lnTo>
                  <a:pt x="255746" y="0"/>
                </a:lnTo>
                <a:lnTo>
                  <a:pt x="255746" y="128016"/>
                </a:lnTo>
                <a:lnTo>
                  <a:pt x="287465" y="128016"/>
                </a:lnTo>
                <a:lnTo>
                  <a:pt x="287465" y="350806"/>
                </a:lnTo>
                <a:lnTo>
                  <a:pt x="270891" y="367379"/>
                </a:lnTo>
                <a:lnTo>
                  <a:pt x="193167" y="367379"/>
                </a:lnTo>
                <a:lnTo>
                  <a:pt x="176594" y="350806"/>
                </a:lnTo>
                <a:lnTo>
                  <a:pt x="176594" y="128016"/>
                </a:lnTo>
                <a:lnTo>
                  <a:pt x="208312" y="128016"/>
                </a:lnTo>
                <a:lnTo>
                  <a:pt x="208312" y="0"/>
                </a:lnTo>
                <a:lnTo>
                  <a:pt x="0" y="0"/>
                </a:lnTo>
                <a:lnTo>
                  <a:pt x="0" y="128016"/>
                </a:lnTo>
                <a:lnTo>
                  <a:pt x="31718" y="128016"/>
                </a:lnTo>
                <a:lnTo>
                  <a:pt x="31718" y="426815"/>
                </a:lnTo>
                <a:lnTo>
                  <a:pt x="116205" y="511302"/>
                </a:lnTo>
                <a:lnTo>
                  <a:pt x="348520" y="511302"/>
                </a:lnTo>
                <a:lnTo>
                  <a:pt x="432245" y="426815"/>
                </a:lnTo>
                <a:lnTo>
                  <a:pt x="432245" y="128016"/>
                </a:lnTo>
                <a:lnTo>
                  <a:pt x="464725" y="128016"/>
                </a:lnTo>
                <a:lnTo>
                  <a:pt x="464725" y="0"/>
                </a:lnTo>
                <a:lnTo>
                  <a:pt x="464725" y="0"/>
                </a:lnTo>
                <a:close/>
              </a:path>
            </a:pathLst>
          </a:custGeom>
          <a:noFill/>
          <a:ln w="6350" cap="flat">
            <a:solidFill>
              <a:schemeClr val="accent2"/>
            </a:solidFill>
            <a:prstDash val="solid"/>
            <a:round/>
          </a:ln>
        </p:spPr>
        <p:txBody>
          <a:bodyPr rtlCol="0" anchor="ctr"/>
          <a:lstStyle/>
          <a:p>
            <a:endParaRPr lang="pt-PT"/>
          </a:p>
        </p:txBody>
      </p:sp>
      <p:grpSp>
        <p:nvGrpSpPr>
          <p:cNvPr id="1254" name="Agrupar 1253">
            <a:extLst>
              <a:ext uri="{FF2B5EF4-FFF2-40B4-BE49-F238E27FC236}">
                <a16:creationId xmlns:a16="http://schemas.microsoft.com/office/drawing/2014/main" id="{E4A27412-63E2-EEFF-F9AC-EAEC424FAC94}"/>
              </a:ext>
            </a:extLst>
          </p:cNvPr>
          <p:cNvGrpSpPr/>
          <p:nvPr/>
        </p:nvGrpSpPr>
        <p:grpSpPr>
          <a:xfrm>
            <a:off x="8668772" y="1530630"/>
            <a:ext cx="297428" cy="297379"/>
            <a:chOff x="5817393" y="3150393"/>
            <a:chExt cx="560546" cy="560451"/>
          </a:xfrm>
        </p:grpSpPr>
        <p:sp>
          <p:nvSpPr>
            <p:cNvPr id="443" name="Forma livre: Forma 442">
              <a:extLst>
                <a:ext uri="{FF2B5EF4-FFF2-40B4-BE49-F238E27FC236}">
                  <a16:creationId xmlns:a16="http://schemas.microsoft.com/office/drawing/2014/main" id="{A61B445A-0810-CBF7-A451-D0E94D222148}"/>
                </a:ext>
              </a:extLst>
            </p:cNvPr>
            <p:cNvSpPr/>
            <p:nvPr/>
          </p:nvSpPr>
          <p:spPr>
            <a:xfrm>
              <a:off x="5817393" y="3150393"/>
              <a:ext cx="560546" cy="560451"/>
            </a:xfrm>
            <a:custGeom>
              <a:avLst/>
              <a:gdLst>
                <a:gd name="connsiteX0" fmla="*/ 280226 w 560546"/>
                <a:gd name="connsiteY0" fmla="*/ 0 h 560451"/>
                <a:gd name="connsiteX1" fmla="*/ 0 w 560546"/>
                <a:gd name="connsiteY1" fmla="*/ 280226 h 560451"/>
                <a:gd name="connsiteX2" fmla="*/ 280226 w 560546"/>
                <a:gd name="connsiteY2" fmla="*/ 560451 h 560451"/>
                <a:gd name="connsiteX3" fmla="*/ 560546 w 560546"/>
                <a:gd name="connsiteY3" fmla="*/ 280226 h 560451"/>
                <a:gd name="connsiteX4" fmla="*/ 280226 w 560546"/>
                <a:gd name="connsiteY4" fmla="*/ 0 h 560451"/>
                <a:gd name="connsiteX5" fmla="*/ 280226 w 560546"/>
                <a:gd name="connsiteY5" fmla="*/ 0 h 5604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60546" h="560451">
                  <a:moveTo>
                    <a:pt x="280226" y="0"/>
                  </a:moveTo>
                  <a:cubicBezTo>
                    <a:pt x="125444" y="0"/>
                    <a:pt x="0" y="125444"/>
                    <a:pt x="0" y="280226"/>
                  </a:cubicBezTo>
                  <a:cubicBezTo>
                    <a:pt x="0" y="435007"/>
                    <a:pt x="125444" y="560451"/>
                    <a:pt x="280226" y="560451"/>
                  </a:cubicBezTo>
                  <a:cubicBezTo>
                    <a:pt x="435007" y="560451"/>
                    <a:pt x="560546" y="435007"/>
                    <a:pt x="560546" y="280226"/>
                  </a:cubicBezTo>
                  <a:cubicBezTo>
                    <a:pt x="560546" y="125444"/>
                    <a:pt x="435102" y="0"/>
                    <a:pt x="280226" y="0"/>
                  </a:cubicBezTo>
                  <a:lnTo>
                    <a:pt x="280226" y="0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32" name="Forma livre: Forma 631">
              <a:extLst>
                <a:ext uri="{FF2B5EF4-FFF2-40B4-BE49-F238E27FC236}">
                  <a16:creationId xmlns:a16="http://schemas.microsoft.com/office/drawing/2014/main" id="{6A639E0F-0041-57F4-3FE1-A63B183CCCCE}"/>
                </a:ext>
              </a:extLst>
            </p:cNvPr>
            <p:cNvSpPr/>
            <p:nvPr/>
          </p:nvSpPr>
          <p:spPr>
            <a:xfrm>
              <a:off x="5897308" y="3219163"/>
              <a:ext cx="360521" cy="384524"/>
            </a:xfrm>
            <a:custGeom>
              <a:avLst/>
              <a:gdLst>
                <a:gd name="connsiteX0" fmla="*/ 360426 w 360521"/>
                <a:gd name="connsiteY0" fmla="*/ 0 h 384524"/>
                <a:gd name="connsiteX1" fmla="*/ 0 w 360521"/>
                <a:gd name="connsiteY1" fmla="*/ 384524 h 3845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60521" h="384524">
                  <a:moveTo>
                    <a:pt x="360426" y="0"/>
                  </a:moveTo>
                  <a:cubicBezTo>
                    <a:pt x="360426" y="0"/>
                    <a:pt x="376238" y="203549"/>
                    <a:pt x="0" y="384524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798" name="Forma livre: Forma 797">
              <a:extLst>
                <a:ext uri="{FF2B5EF4-FFF2-40B4-BE49-F238E27FC236}">
                  <a16:creationId xmlns:a16="http://schemas.microsoft.com/office/drawing/2014/main" id="{355B22AE-9675-BFDD-4B8B-B7E64FC67FEA}"/>
                </a:ext>
              </a:extLst>
            </p:cNvPr>
            <p:cNvSpPr/>
            <p:nvPr/>
          </p:nvSpPr>
          <p:spPr>
            <a:xfrm>
              <a:off x="6180200" y="3400138"/>
              <a:ext cx="102869" cy="222504"/>
            </a:xfrm>
            <a:custGeom>
              <a:avLst/>
              <a:gdLst>
                <a:gd name="connsiteX0" fmla="*/ 0 w 102869"/>
                <a:gd name="connsiteY0" fmla="*/ 0 h 222504"/>
                <a:gd name="connsiteX1" fmla="*/ 102870 w 102869"/>
                <a:gd name="connsiteY1" fmla="*/ 222504 h 2225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2869" h="222504">
                  <a:moveTo>
                    <a:pt x="0" y="0"/>
                  </a:moveTo>
                  <a:cubicBezTo>
                    <a:pt x="49149" y="54864"/>
                    <a:pt x="89249" y="127444"/>
                    <a:pt x="102870" y="222504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54" name="Forma livre: Forma 953">
              <a:extLst>
                <a:ext uri="{FF2B5EF4-FFF2-40B4-BE49-F238E27FC236}">
                  <a16:creationId xmlns:a16="http://schemas.microsoft.com/office/drawing/2014/main" id="{548E2E8D-6AC9-6F54-0FAD-BF8445EDE526}"/>
                </a:ext>
              </a:extLst>
            </p:cNvPr>
            <p:cNvSpPr/>
            <p:nvPr/>
          </p:nvSpPr>
          <p:spPr>
            <a:xfrm>
              <a:off x="6099904" y="3328987"/>
              <a:ext cx="48387" cy="38861"/>
            </a:xfrm>
            <a:custGeom>
              <a:avLst/>
              <a:gdLst>
                <a:gd name="connsiteX0" fmla="*/ 0 w 48387"/>
                <a:gd name="connsiteY0" fmla="*/ 0 h 38861"/>
                <a:gd name="connsiteX1" fmla="*/ 48387 w 48387"/>
                <a:gd name="connsiteY1" fmla="*/ 38862 h 38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8387" h="38861">
                  <a:moveTo>
                    <a:pt x="0" y="0"/>
                  </a:moveTo>
                  <a:cubicBezTo>
                    <a:pt x="16288" y="11525"/>
                    <a:pt x="32576" y="24479"/>
                    <a:pt x="48387" y="38862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34" name="Forma livre: Forma 1133">
              <a:extLst>
                <a:ext uri="{FF2B5EF4-FFF2-40B4-BE49-F238E27FC236}">
                  <a16:creationId xmlns:a16="http://schemas.microsoft.com/office/drawing/2014/main" id="{222F22D9-9495-6C20-619D-150DFD98CDA3}"/>
                </a:ext>
              </a:extLst>
            </p:cNvPr>
            <p:cNvSpPr/>
            <p:nvPr/>
          </p:nvSpPr>
          <p:spPr>
            <a:xfrm>
              <a:off x="5909976" y="3241642"/>
              <a:ext cx="151447" cy="62483"/>
            </a:xfrm>
            <a:custGeom>
              <a:avLst/>
              <a:gdLst>
                <a:gd name="connsiteX0" fmla="*/ 0 w 151447"/>
                <a:gd name="connsiteY0" fmla="*/ 0 h 62483"/>
                <a:gd name="connsiteX1" fmla="*/ 151448 w 151447"/>
                <a:gd name="connsiteY1" fmla="*/ 62484 h 62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447" h="62483">
                  <a:moveTo>
                    <a:pt x="0" y="0"/>
                  </a:moveTo>
                  <a:cubicBezTo>
                    <a:pt x="0" y="0"/>
                    <a:pt x="70961" y="15049"/>
                    <a:pt x="151448" y="62484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35" name="Forma livre: Forma 1134">
              <a:extLst>
                <a:ext uri="{FF2B5EF4-FFF2-40B4-BE49-F238E27FC236}">
                  <a16:creationId xmlns:a16="http://schemas.microsoft.com/office/drawing/2014/main" id="{D28D2D8F-C694-4407-0D67-EDCBA6B624D7}"/>
                </a:ext>
              </a:extLst>
            </p:cNvPr>
            <p:cNvSpPr/>
            <p:nvPr/>
          </p:nvSpPr>
          <p:spPr>
            <a:xfrm>
              <a:off x="5843396" y="3168681"/>
              <a:ext cx="281187" cy="234050"/>
            </a:xfrm>
            <a:custGeom>
              <a:avLst/>
              <a:gdLst>
                <a:gd name="connsiteX0" fmla="*/ 269843 w 281187"/>
                <a:gd name="connsiteY0" fmla="*/ 0 h 234050"/>
                <a:gd name="connsiteX1" fmla="*/ 255556 w 281187"/>
                <a:gd name="connsiteY1" fmla="*/ 160306 h 234050"/>
                <a:gd name="connsiteX2" fmla="*/ 0 w 281187"/>
                <a:gd name="connsiteY2" fmla="*/ 200025 h 234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81187" h="234050">
                  <a:moveTo>
                    <a:pt x="269843" y="0"/>
                  </a:moveTo>
                  <a:cubicBezTo>
                    <a:pt x="269843" y="0"/>
                    <a:pt x="303181" y="80963"/>
                    <a:pt x="255556" y="160306"/>
                  </a:cubicBezTo>
                  <a:cubicBezTo>
                    <a:pt x="255556" y="160306"/>
                    <a:pt x="165068" y="295275"/>
                    <a:pt x="0" y="200025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89" name="Forma livre: Forma 1188">
              <a:extLst>
                <a:ext uri="{FF2B5EF4-FFF2-40B4-BE49-F238E27FC236}">
                  <a16:creationId xmlns:a16="http://schemas.microsoft.com/office/drawing/2014/main" id="{84BB4CDD-6C7C-56F0-27C6-AEB830990E36}"/>
                </a:ext>
              </a:extLst>
            </p:cNvPr>
            <p:cNvSpPr/>
            <p:nvPr/>
          </p:nvSpPr>
          <p:spPr>
            <a:xfrm>
              <a:off x="6183647" y="3436658"/>
              <a:ext cx="178766" cy="235133"/>
            </a:xfrm>
            <a:custGeom>
              <a:avLst/>
              <a:gdLst>
                <a:gd name="connsiteX0" fmla="*/ 178766 w 178766"/>
                <a:gd name="connsiteY0" fmla="*/ 5010 h 235133"/>
                <a:gd name="connsiteX1" fmla="*/ 29510 w 178766"/>
                <a:gd name="connsiteY1" fmla="*/ 55778 h 235133"/>
                <a:gd name="connsiteX2" fmla="*/ 23128 w 178766"/>
                <a:gd name="connsiteY2" fmla="*/ 235134 h 2351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78766" h="235133">
                  <a:moveTo>
                    <a:pt x="178766" y="5010"/>
                  </a:moveTo>
                  <a:cubicBezTo>
                    <a:pt x="178766" y="5010"/>
                    <a:pt x="96185" y="-23565"/>
                    <a:pt x="29510" y="55778"/>
                  </a:cubicBezTo>
                  <a:cubicBezTo>
                    <a:pt x="29510" y="55778"/>
                    <a:pt x="-32403" y="128835"/>
                    <a:pt x="23128" y="235134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999" name="Agrupar 1998">
            <a:extLst>
              <a:ext uri="{FF2B5EF4-FFF2-40B4-BE49-F238E27FC236}">
                <a16:creationId xmlns:a16="http://schemas.microsoft.com/office/drawing/2014/main" id="{3B434ED7-5973-DE20-A463-958A847414E5}"/>
              </a:ext>
            </a:extLst>
          </p:cNvPr>
          <p:cNvGrpSpPr/>
          <p:nvPr/>
        </p:nvGrpSpPr>
        <p:grpSpPr>
          <a:xfrm>
            <a:off x="9240043" y="1530630"/>
            <a:ext cx="316707" cy="316653"/>
            <a:chOff x="5817393" y="3150393"/>
            <a:chExt cx="560546" cy="560451"/>
          </a:xfrm>
        </p:grpSpPr>
        <p:sp>
          <p:nvSpPr>
            <p:cNvPr id="1778" name="Forma livre: Forma 1777">
              <a:extLst>
                <a:ext uri="{FF2B5EF4-FFF2-40B4-BE49-F238E27FC236}">
                  <a16:creationId xmlns:a16="http://schemas.microsoft.com/office/drawing/2014/main" id="{D2C72930-C0B5-8B9C-3327-C6CEA39F34F0}"/>
                </a:ext>
              </a:extLst>
            </p:cNvPr>
            <p:cNvSpPr/>
            <p:nvPr/>
          </p:nvSpPr>
          <p:spPr>
            <a:xfrm>
              <a:off x="5817393" y="3150393"/>
              <a:ext cx="560546" cy="560451"/>
            </a:xfrm>
            <a:custGeom>
              <a:avLst/>
              <a:gdLst>
                <a:gd name="connsiteX0" fmla="*/ 280226 w 560546"/>
                <a:gd name="connsiteY0" fmla="*/ 0 h 560451"/>
                <a:gd name="connsiteX1" fmla="*/ 0 w 560546"/>
                <a:gd name="connsiteY1" fmla="*/ 280226 h 560451"/>
                <a:gd name="connsiteX2" fmla="*/ 280226 w 560546"/>
                <a:gd name="connsiteY2" fmla="*/ 560451 h 560451"/>
                <a:gd name="connsiteX3" fmla="*/ 560546 w 560546"/>
                <a:gd name="connsiteY3" fmla="*/ 280226 h 560451"/>
                <a:gd name="connsiteX4" fmla="*/ 280226 w 560546"/>
                <a:gd name="connsiteY4" fmla="*/ 0 h 560451"/>
                <a:gd name="connsiteX5" fmla="*/ 280226 w 560546"/>
                <a:gd name="connsiteY5" fmla="*/ 0 h 5604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60546" h="560451">
                  <a:moveTo>
                    <a:pt x="280226" y="0"/>
                  </a:moveTo>
                  <a:cubicBezTo>
                    <a:pt x="125444" y="0"/>
                    <a:pt x="0" y="125444"/>
                    <a:pt x="0" y="280226"/>
                  </a:cubicBezTo>
                  <a:cubicBezTo>
                    <a:pt x="0" y="435007"/>
                    <a:pt x="125444" y="560451"/>
                    <a:pt x="280226" y="560451"/>
                  </a:cubicBezTo>
                  <a:cubicBezTo>
                    <a:pt x="435007" y="560451"/>
                    <a:pt x="560546" y="435007"/>
                    <a:pt x="560546" y="280226"/>
                  </a:cubicBezTo>
                  <a:cubicBezTo>
                    <a:pt x="560546" y="125444"/>
                    <a:pt x="435102" y="0"/>
                    <a:pt x="280226" y="0"/>
                  </a:cubicBezTo>
                  <a:lnTo>
                    <a:pt x="280226" y="0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984" name="Gráfico 1496">
              <a:extLst>
                <a:ext uri="{FF2B5EF4-FFF2-40B4-BE49-F238E27FC236}">
                  <a16:creationId xmlns:a16="http://schemas.microsoft.com/office/drawing/2014/main" id="{D38BF1A1-D045-F7F9-2EEE-4B3F165A8D14}"/>
                </a:ext>
              </a:extLst>
            </p:cNvPr>
            <p:cNvGrpSpPr/>
            <p:nvPr/>
          </p:nvGrpSpPr>
          <p:grpSpPr>
            <a:xfrm>
              <a:off x="5942266" y="3254787"/>
              <a:ext cx="310800" cy="349472"/>
              <a:chOff x="5942266" y="3254787"/>
              <a:chExt cx="310800" cy="349472"/>
            </a:xfrm>
          </p:grpSpPr>
          <p:sp>
            <p:nvSpPr>
              <p:cNvPr id="1985" name="Forma livre: Forma 1984">
                <a:extLst>
                  <a:ext uri="{FF2B5EF4-FFF2-40B4-BE49-F238E27FC236}">
                    <a16:creationId xmlns:a16="http://schemas.microsoft.com/office/drawing/2014/main" id="{89BFE646-80DC-9E99-B00D-DDCA5491237A}"/>
                  </a:ext>
                </a:extLst>
              </p:cNvPr>
              <p:cNvSpPr/>
              <p:nvPr/>
            </p:nvSpPr>
            <p:spPr>
              <a:xfrm>
                <a:off x="6160674" y="3430618"/>
                <a:ext cx="56483" cy="9525"/>
              </a:xfrm>
              <a:custGeom>
                <a:avLst/>
                <a:gdLst>
                  <a:gd name="connsiteX0" fmla="*/ 0 w 56483"/>
                  <a:gd name="connsiteY0" fmla="*/ 0 h 9525"/>
                  <a:gd name="connsiteX1" fmla="*/ 56483 w 56483"/>
                  <a:gd name="connsiteY1" fmla="*/ 0 h 9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6483" h="9525">
                    <a:moveTo>
                      <a:pt x="0" y="0"/>
                    </a:moveTo>
                    <a:lnTo>
                      <a:pt x="56483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986" name="Forma livre: Forma 1985">
                <a:extLst>
                  <a:ext uri="{FF2B5EF4-FFF2-40B4-BE49-F238E27FC236}">
                    <a16:creationId xmlns:a16="http://schemas.microsoft.com/office/drawing/2014/main" id="{FB25A88F-7690-48E9-52E7-904D139ADEE6}"/>
                  </a:ext>
                </a:extLst>
              </p:cNvPr>
              <p:cNvSpPr/>
              <p:nvPr/>
            </p:nvSpPr>
            <p:spPr>
              <a:xfrm>
                <a:off x="6165817" y="3370611"/>
                <a:ext cx="55721" cy="9525"/>
              </a:xfrm>
              <a:custGeom>
                <a:avLst/>
                <a:gdLst>
                  <a:gd name="connsiteX0" fmla="*/ 0 w 55721"/>
                  <a:gd name="connsiteY0" fmla="*/ 0 h 9525"/>
                  <a:gd name="connsiteX1" fmla="*/ 55721 w 55721"/>
                  <a:gd name="connsiteY1" fmla="*/ 9525 h 9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5721" h="9525">
                    <a:moveTo>
                      <a:pt x="0" y="0"/>
                    </a:moveTo>
                    <a:lnTo>
                      <a:pt x="55721" y="9525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987" name="Forma livre: Forma 1986">
                <a:extLst>
                  <a:ext uri="{FF2B5EF4-FFF2-40B4-BE49-F238E27FC236}">
                    <a16:creationId xmlns:a16="http://schemas.microsoft.com/office/drawing/2014/main" id="{8163FCE4-9C9C-1C75-B368-F8C8130CCB58}"/>
                  </a:ext>
                </a:extLst>
              </p:cNvPr>
              <p:cNvSpPr/>
              <p:nvPr/>
            </p:nvSpPr>
            <p:spPr>
              <a:xfrm>
                <a:off x="6180676" y="3309556"/>
                <a:ext cx="52196" cy="21812"/>
              </a:xfrm>
              <a:custGeom>
                <a:avLst/>
                <a:gdLst>
                  <a:gd name="connsiteX0" fmla="*/ 0 w 52196"/>
                  <a:gd name="connsiteY0" fmla="*/ 0 h 21812"/>
                  <a:gd name="connsiteX1" fmla="*/ 52197 w 52196"/>
                  <a:gd name="connsiteY1" fmla="*/ 21812 h 218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2196" h="21812">
                    <a:moveTo>
                      <a:pt x="0" y="0"/>
                    </a:moveTo>
                    <a:lnTo>
                      <a:pt x="52197" y="21812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988" name="Forma livre: Forma 1987">
                <a:extLst>
                  <a:ext uri="{FF2B5EF4-FFF2-40B4-BE49-F238E27FC236}">
                    <a16:creationId xmlns:a16="http://schemas.microsoft.com/office/drawing/2014/main" id="{B55A57E6-21B1-FD4C-122F-3CBC6421B192}"/>
                  </a:ext>
                </a:extLst>
              </p:cNvPr>
              <p:cNvSpPr/>
              <p:nvPr/>
            </p:nvSpPr>
            <p:spPr>
              <a:xfrm>
                <a:off x="6205918" y="3254787"/>
                <a:ext cx="47148" cy="31051"/>
              </a:xfrm>
              <a:custGeom>
                <a:avLst/>
                <a:gdLst>
                  <a:gd name="connsiteX0" fmla="*/ 0 w 47148"/>
                  <a:gd name="connsiteY0" fmla="*/ 0 h 31051"/>
                  <a:gd name="connsiteX1" fmla="*/ 47149 w 47148"/>
                  <a:gd name="connsiteY1" fmla="*/ 31052 h 310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148" h="31051">
                    <a:moveTo>
                      <a:pt x="0" y="0"/>
                    </a:moveTo>
                    <a:lnTo>
                      <a:pt x="47149" y="31052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989" name="Forma livre: Forma 1988">
                <a:extLst>
                  <a:ext uri="{FF2B5EF4-FFF2-40B4-BE49-F238E27FC236}">
                    <a16:creationId xmlns:a16="http://schemas.microsoft.com/office/drawing/2014/main" id="{5A43CD52-02A1-D466-A17B-B8E0001D6B59}"/>
                  </a:ext>
                </a:extLst>
              </p:cNvPr>
              <p:cNvSpPr/>
              <p:nvPr/>
            </p:nvSpPr>
            <p:spPr>
              <a:xfrm>
                <a:off x="6165817" y="3478910"/>
                <a:ext cx="55721" cy="9429"/>
              </a:xfrm>
              <a:custGeom>
                <a:avLst/>
                <a:gdLst>
                  <a:gd name="connsiteX0" fmla="*/ 0 w 55721"/>
                  <a:gd name="connsiteY0" fmla="*/ 9430 h 9429"/>
                  <a:gd name="connsiteX1" fmla="*/ 55721 w 55721"/>
                  <a:gd name="connsiteY1" fmla="*/ 0 h 94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5721" h="9429">
                    <a:moveTo>
                      <a:pt x="0" y="9430"/>
                    </a:moveTo>
                    <a:lnTo>
                      <a:pt x="55721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990" name="Forma livre: Forma 1989">
                <a:extLst>
                  <a:ext uri="{FF2B5EF4-FFF2-40B4-BE49-F238E27FC236}">
                    <a16:creationId xmlns:a16="http://schemas.microsoft.com/office/drawing/2014/main" id="{6A4EB2F0-A83B-BB08-BACC-4AA3D9647907}"/>
                  </a:ext>
                </a:extLst>
              </p:cNvPr>
              <p:cNvSpPr/>
              <p:nvPr/>
            </p:nvSpPr>
            <p:spPr>
              <a:xfrm>
                <a:off x="6180676" y="3527678"/>
                <a:ext cx="52196" cy="21717"/>
              </a:xfrm>
              <a:custGeom>
                <a:avLst/>
                <a:gdLst>
                  <a:gd name="connsiteX0" fmla="*/ 0 w 52196"/>
                  <a:gd name="connsiteY0" fmla="*/ 21717 h 21717"/>
                  <a:gd name="connsiteX1" fmla="*/ 52197 w 52196"/>
                  <a:gd name="connsiteY1" fmla="*/ 0 h 217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2196" h="21717">
                    <a:moveTo>
                      <a:pt x="0" y="21717"/>
                    </a:moveTo>
                    <a:lnTo>
                      <a:pt x="52197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991" name="Forma livre: Forma 1990">
                <a:extLst>
                  <a:ext uri="{FF2B5EF4-FFF2-40B4-BE49-F238E27FC236}">
                    <a16:creationId xmlns:a16="http://schemas.microsoft.com/office/drawing/2014/main" id="{910EBDF7-2BB3-89D4-2A16-CD07741342B7}"/>
                  </a:ext>
                </a:extLst>
              </p:cNvPr>
              <p:cNvSpPr/>
              <p:nvPr/>
            </p:nvSpPr>
            <p:spPr>
              <a:xfrm>
                <a:off x="6205918" y="3573208"/>
                <a:ext cx="47148" cy="31051"/>
              </a:xfrm>
              <a:custGeom>
                <a:avLst/>
                <a:gdLst>
                  <a:gd name="connsiteX0" fmla="*/ 0 w 47148"/>
                  <a:gd name="connsiteY0" fmla="*/ 31052 h 31051"/>
                  <a:gd name="connsiteX1" fmla="*/ 47149 w 47148"/>
                  <a:gd name="connsiteY1" fmla="*/ 0 h 310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148" h="31051">
                    <a:moveTo>
                      <a:pt x="0" y="31052"/>
                    </a:moveTo>
                    <a:lnTo>
                      <a:pt x="47149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992" name="Forma livre: Forma 1991">
                <a:extLst>
                  <a:ext uri="{FF2B5EF4-FFF2-40B4-BE49-F238E27FC236}">
                    <a16:creationId xmlns:a16="http://schemas.microsoft.com/office/drawing/2014/main" id="{B0BB4522-4E34-B2E9-E5C0-C9C78679C6B1}"/>
                  </a:ext>
                </a:extLst>
              </p:cNvPr>
              <p:cNvSpPr/>
              <p:nvPr/>
            </p:nvSpPr>
            <p:spPr>
              <a:xfrm>
                <a:off x="5978175" y="3430618"/>
                <a:ext cx="56578" cy="9525"/>
              </a:xfrm>
              <a:custGeom>
                <a:avLst/>
                <a:gdLst>
                  <a:gd name="connsiteX0" fmla="*/ 56578 w 56578"/>
                  <a:gd name="connsiteY0" fmla="*/ 0 h 9525"/>
                  <a:gd name="connsiteX1" fmla="*/ 0 w 56578"/>
                  <a:gd name="connsiteY1" fmla="*/ 0 h 9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6578" h="9525">
                    <a:moveTo>
                      <a:pt x="56578" y="0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993" name="Forma livre: Forma 1992">
                <a:extLst>
                  <a:ext uri="{FF2B5EF4-FFF2-40B4-BE49-F238E27FC236}">
                    <a16:creationId xmlns:a16="http://schemas.microsoft.com/office/drawing/2014/main" id="{75187CF9-A75E-C774-6D8E-F79D14B450C4}"/>
                  </a:ext>
                </a:extLst>
              </p:cNvPr>
              <p:cNvSpPr/>
              <p:nvPr/>
            </p:nvSpPr>
            <p:spPr>
              <a:xfrm>
                <a:off x="5973889" y="3370611"/>
                <a:ext cx="55626" cy="9525"/>
              </a:xfrm>
              <a:custGeom>
                <a:avLst/>
                <a:gdLst>
                  <a:gd name="connsiteX0" fmla="*/ 55626 w 55626"/>
                  <a:gd name="connsiteY0" fmla="*/ 0 h 9525"/>
                  <a:gd name="connsiteX1" fmla="*/ 0 w 55626"/>
                  <a:gd name="connsiteY1" fmla="*/ 9525 h 9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5626" h="9525">
                    <a:moveTo>
                      <a:pt x="55626" y="0"/>
                    </a:moveTo>
                    <a:lnTo>
                      <a:pt x="0" y="9525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994" name="Forma livre: Forma 1993">
                <a:extLst>
                  <a:ext uri="{FF2B5EF4-FFF2-40B4-BE49-F238E27FC236}">
                    <a16:creationId xmlns:a16="http://schemas.microsoft.com/office/drawing/2014/main" id="{E650AB9E-8100-37CC-5A1D-FBB5B94A0D6A}"/>
                  </a:ext>
                </a:extLst>
              </p:cNvPr>
              <p:cNvSpPr/>
              <p:nvPr/>
            </p:nvSpPr>
            <p:spPr>
              <a:xfrm>
                <a:off x="5962459" y="3309556"/>
                <a:ext cx="52197" cy="21812"/>
              </a:xfrm>
              <a:custGeom>
                <a:avLst/>
                <a:gdLst>
                  <a:gd name="connsiteX0" fmla="*/ 52197 w 52197"/>
                  <a:gd name="connsiteY0" fmla="*/ 0 h 21812"/>
                  <a:gd name="connsiteX1" fmla="*/ 0 w 52197"/>
                  <a:gd name="connsiteY1" fmla="*/ 21812 h 218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2197" h="21812">
                    <a:moveTo>
                      <a:pt x="52197" y="0"/>
                    </a:moveTo>
                    <a:lnTo>
                      <a:pt x="0" y="21812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995" name="Forma livre: Forma 1994">
                <a:extLst>
                  <a:ext uri="{FF2B5EF4-FFF2-40B4-BE49-F238E27FC236}">
                    <a16:creationId xmlns:a16="http://schemas.microsoft.com/office/drawing/2014/main" id="{68B1ED82-BE66-C8D1-785B-F09B934D72BB}"/>
                  </a:ext>
                </a:extLst>
              </p:cNvPr>
              <p:cNvSpPr/>
              <p:nvPr/>
            </p:nvSpPr>
            <p:spPr>
              <a:xfrm>
                <a:off x="5942266" y="3254787"/>
                <a:ext cx="47244" cy="31051"/>
              </a:xfrm>
              <a:custGeom>
                <a:avLst/>
                <a:gdLst>
                  <a:gd name="connsiteX0" fmla="*/ 47244 w 47244"/>
                  <a:gd name="connsiteY0" fmla="*/ 0 h 31051"/>
                  <a:gd name="connsiteX1" fmla="*/ 0 w 47244"/>
                  <a:gd name="connsiteY1" fmla="*/ 31052 h 310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244" h="31051">
                    <a:moveTo>
                      <a:pt x="47244" y="0"/>
                    </a:moveTo>
                    <a:lnTo>
                      <a:pt x="0" y="31052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996" name="Forma livre: Forma 1995">
                <a:extLst>
                  <a:ext uri="{FF2B5EF4-FFF2-40B4-BE49-F238E27FC236}">
                    <a16:creationId xmlns:a16="http://schemas.microsoft.com/office/drawing/2014/main" id="{6B624109-B5CF-9935-B1D4-F415987A95A7}"/>
                  </a:ext>
                </a:extLst>
              </p:cNvPr>
              <p:cNvSpPr/>
              <p:nvPr/>
            </p:nvSpPr>
            <p:spPr>
              <a:xfrm>
                <a:off x="5973889" y="3478910"/>
                <a:ext cx="55626" cy="9429"/>
              </a:xfrm>
              <a:custGeom>
                <a:avLst/>
                <a:gdLst>
                  <a:gd name="connsiteX0" fmla="*/ 55626 w 55626"/>
                  <a:gd name="connsiteY0" fmla="*/ 9430 h 9429"/>
                  <a:gd name="connsiteX1" fmla="*/ 0 w 55626"/>
                  <a:gd name="connsiteY1" fmla="*/ 0 h 94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5626" h="9429">
                    <a:moveTo>
                      <a:pt x="55626" y="9430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997" name="Forma livre: Forma 1996">
                <a:extLst>
                  <a:ext uri="{FF2B5EF4-FFF2-40B4-BE49-F238E27FC236}">
                    <a16:creationId xmlns:a16="http://schemas.microsoft.com/office/drawing/2014/main" id="{5AE08B46-ED8F-1B17-D716-855E772023EE}"/>
                  </a:ext>
                </a:extLst>
              </p:cNvPr>
              <p:cNvSpPr/>
              <p:nvPr/>
            </p:nvSpPr>
            <p:spPr>
              <a:xfrm>
                <a:off x="5962459" y="3527678"/>
                <a:ext cx="52197" cy="21717"/>
              </a:xfrm>
              <a:custGeom>
                <a:avLst/>
                <a:gdLst>
                  <a:gd name="connsiteX0" fmla="*/ 52197 w 52197"/>
                  <a:gd name="connsiteY0" fmla="*/ 21717 h 21717"/>
                  <a:gd name="connsiteX1" fmla="*/ 0 w 52197"/>
                  <a:gd name="connsiteY1" fmla="*/ 0 h 217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2197" h="21717">
                    <a:moveTo>
                      <a:pt x="52197" y="21717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998" name="Forma livre: Forma 1997">
                <a:extLst>
                  <a:ext uri="{FF2B5EF4-FFF2-40B4-BE49-F238E27FC236}">
                    <a16:creationId xmlns:a16="http://schemas.microsoft.com/office/drawing/2014/main" id="{D1DD56F5-C8AF-0E4B-D66D-EB2AC8D71EFF}"/>
                  </a:ext>
                </a:extLst>
              </p:cNvPr>
              <p:cNvSpPr/>
              <p:nvPr/>
            </p:nvSpPr>
            <p:spPr>
              <a:xfrm>
                <a:off x="5942266" y="3573208"/>
                <a:ext cx="47244" cy="31051"/>
              </a:xfrm>
              <a:custGeom>
                <a:avLst/>
                <a:gdLst>
                  <a:gd name="connsiteX0" fmla="*/ 47244 w 47244"/>
                  <a:gd name="connsiteY0" fmla="*/ 31052 h 31051"/>
                  <a:gd name="connsiteX1" fmla="*/ 0 w 47244"/>
                  <a:gd name="connsiteY1" fmla="*/ 0 h 310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244" h="31051">
                    <a:moveTo>
                      <a:pt x="47244" y="31052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2012" name="Agrupar 2011">
            <a:extLst>
              <a:ext uri="{FF2B5EF4-FFF2-40B4-BE49-F238E27FC236}">
                <a16:creationId xmlns:a16="http://schemas.microsoft.com/office/drawing/2014/main" id="{F606454C-CF87-3D3E-8E52-B5F03F7DAF2A}"/>
              </a:ext>
            </a:extLst>
          </p:cNvPr>
          <p:cNvGrpSpPr/>
          <p:nvPr/>
        </p:nvGrpSpPr>
        <p:grpSpPr>
          <a:xfrm>
            <a:off x="9232296" y="2022942"/>
            <a:ext cx="354647" cy="354647"/>
            <a:chOff x="5784246" y="3117246"/>
            <a:chExt cx="627697" cy="627697"/>
          </a:xfrm>
        </p:grpSpPr>
        <p:sp>
          <p:nvSpPr>
            <p:cNvPr id="2003" name="Forma livre: Forma 2002">
              <a:extLst>
                <a:ext uri="{FF2B5EF4-FFF2-40B4-BE49-F238E27FC236}">
                  <a16:creationId xmlns:a16="http://schemas.microsoft.com/office/drawing/2014/main" id="{D3B1FF0F-F030-EA3E-2897-796217243D1A}"/>
                </a:ext>
              </a:extLst>
            </p:cNvPr>
            <p:cNvSpPr/>
            <p:nvPr/>
          </p:nvSpPr>
          <p:spPr>
            <a:xfrm>
              <a:off x="5784246" y="3117246"/>
              <a:ext cx="627697" cy="627697"/>
            </a:xfrm>
            <a:custGeom>
              <a:avLst/>
              <a:gdLst>
                <a:gd name="connsiteX0" fmla="*/ 444532 w 627697"/>
                <a:gd name="connsiteY0" fmla="*/ 0 h 627697"/>
                <a:gd name="connsiteX1" fmla="*/ 0 w 627697"/>
                <a:gd name="connsiteY1" fmla="*/ 444532 h 627697"/>
                <a:gd name="connsiteX2" fmla="*/ 183166 w 627697"/>
                <a:gd name="connsiteY2" fmla="*/ 627698 h 627697"/>
                <a:gd name="connsiteX3" fmla="*/ 627698 w 627697"/>
                <a:gd name="connsiteY3" fmla="*/ 183166 h 627697"/>
                <a:gd name="connsiteX4" fmla="*/ 444532 w 627697"/>
                <a:gd name="connsiteY4" fmla="*/ 0 h 627697"/>
                <a:gd name="connsiteX5" fmla="*/ 444532 w 627697"/>
                <a:gd name="connsiteY5" fmla="*/ 0 h 6276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27697" h="627697">
                  <a:moveTo>
                    <a:pt x="444532" y="0"/>
                  </a:moveTo>
                  <a:lnTo>
                    <a:pt x="0" y="444532"/>
                  </a:lnTo>
                  <a:lnTo>
                    <a:pt x="183166" y="627698"/>
                  </a:lnTo>
                  <a:lnTo>
                    <a:pt x="627698" y="183166"/>
                  </a:lnTo>
                  <a:lnTo>
                    <a:pt x="444532" y="0"/>
                  </a:lnTo>
                  <a:lnTo>
                    <a:pt x="444532" y="0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2004" name="Gráfico 2000">
              <a:extLst>
                <a:ext uri="{FF2B5EF4-FFF2-40B4-BE49-F238E27FC236}">
                  <a16:creationId xmlns:a16="http://schemas.microsoft.com/office/drawing/2014/main" id="{A55E6ACA-AB6F-C476-63D4-151E1049807F}"/>
                </a:ext>
              </a:extLst>
            </p:cNvPr>
            <p:cNvGrpSpPr/>
            <p:nvPr/>
          </p:nvGrpSpPr>
          <p:grpSpPr>
            <a:xfrm>
              <a:off x="5859970" y="3192303"/>
              <a:ext cx="372046" cy="372046"/>
              <a:chOff x="5859970" y="3192303"/>
              <a:chExt cx="372046" cy="372046"/>
            </a:xfrm>
          </p:grpSpPr>
          <p:sp>
            <p:nvSpPr>
              <p:cNvPr id="2005" name="Forma livre: Forma 2004">
                <a:extLst>
                  <a:ext uri="{FF2B5EF4-FFF2-40B4-BE49-F238E27FC236}">
                    <a16:creationId xmlns:a16="http://schemas.microsoft.com/office/drawing/2014/main" id="{201B6225-6925-75C8-1E83-BA27D3ACFE51}"/>
                  </a:ext>
                </a:extLst>
              </p:cNvPr>
              <p:cNvSpPr/>
              <p:nvPr/>
            </p:nvSpPr>
            <p:spPr>
              <a:xfrm>
                <a:off x="5859970" y="3505485"/>
                <a:ext cx="58959" cy="58864"/>
              </a:xfrm>
              <a:custGeom>
                <a:avLst/>
                <a:gdLst>
                  <a:gd name="connsiteX0" fmla="*/ 58960 w 58959"/>
                  <a:gd name="connsiteY0" fmla="*/ 58864 h 58864"/>
                  <a:gd name="connsiteX1" fmla="*/ 0 w 58959"/>
                  <a:gd name="connsiteY1" fmla="*/ 0 h 588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8959" h="58864">
                    <a:moveTo>
                      <a:pt x="58960" y="58864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006" name="Forma livre: Forma 2005">
                <a:extLst>
                  <a:ext uri="{FF2B5EF4-FFF2-40B4-BE49-F238E27FC236}">
                    <a16:creationId xmlns:a16="http://schemas.microsoft.com/office/drawing/2014/main" id="{0A603C76-F9B8-EEBA-BDC2-A0C59E49A918}"/>
                  </a:ext>
                </a:extLst>
              </p:cNvPr>
              <p:cNvSpPr/>
              <p:nvPr/>
            </p:nvSpPr>
            <p:spPr>
              <a:xfrm>
                <a:off x="5912167" y="3453288"/>
                <a:ext cx="104965" cy="104870"/>
              </a:xfrm>
              <a:custGeom>
                <a:avLst/>
                <a:gdLst>
                  <a:gd name="connsiteX0" fmla="*/ 104965 w 104965"/>
                  <a:gd name="connsiteY0" fmla="*/ 104870 h 104870"/>
                  <a:gd name="connsiteX1" fmla="*/ 0 w 104965"/>
                  <a:gd name="connsiteY1" fmla="*/ 0 h 1048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04965" h="104870">
                    <a:moveTo>
                      <a:pt x="104965" y="104870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007" name="Forma livre: Forma 2006">
                <a:extLst>
                  <a:ext uri="{FF2B5EF4-FFF2-40B4-BE49-F238E27FC236}">
                    <a16:creationId xmlns:a16="http://schemas.microsoft.com/office/drawing/2014/main" id="{14C28695-D411-458E-E7C3-1F20C956C742}"/>
                  </a:ext>
                </a:extLst>
              </p:cNvPr>
              <p:cNvSpPr/>
              <p:nvPr/>
            </p:nvSpPr>
            <p:spPr>
              <a:xfrm>
                <a:off x="5964364" y="3401091"/>
                <a:ext cx="58864" cy="58864"/>
              </a:xfrm>
              <a:custGeom>
                <a:avLst/>
                <a:gdLst>
                  <a:gd name="connsiteX0" fmla="*/ 58865 w 58864"/>
                  <a:gd name="connsiteY0" fmla="*/ 58865 h 58864"/>
                  <a:gd name="connsiteX1" fmla="*/ 0 w 58864"/>
                  <a:gd name="connsiteY1" fmla="*/ 0 h 588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8864" h="58864">
                    <a:moveTo>
                      <a:pt x="58865" y="58865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008" name="Forma livre: Forma 2007">
                <a:extLst>
                  <a:ext uri="{FF2B5EF4-FFF2-40B4-BE49-F238E27FC236}">
                    <a16:creationId xmlns:a16="http://schemas.microsoft.com/office/drawing/2014/main" id="{2E03941F-E4C8-F153-05DF-BCE687D52D1D}"/>
                  </a:ext>
                </a:extLst>
              </p:cNvPr>
              <p:cNvSpPr/>
              <p:nvPr/>
            </p:nvSpPr>
            <p:spPr>
              <a:xfrm>
                <a:off x="6016561" y="3348894"/>
                <a:ext cx="104965" cy="104870"/>
              </a:xfrm>
              <a:custGeom>
                <a:avLst/>
                <a:gdLst>
                  <a:gd name="connsiteX0" fmla="*/ 104966 w 104965"/>
                  <a:gd name="connsiteY0" fmla="*/ 104870 h 104870"/>
                  <a:gd name="connsiteX1" fmla="*/ 0 w 104965"/>
                  <a:gd name="connsiteY1" fmla="*/ 0 h 1048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04965" h="104870">
                    <a:moveTo>
                      <a:pt x="104966" y="104870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009" name="Forma livre: Forma 2008">
                <a:extLst>
                  <a:ext uri="{FF2B5EF4-FFF2-40B4-BE49-F238E27FC236}">
                    <a16:creationId xmlns:a16="http://schemas.microsoft.com/office/drawing/2014/main" id="{FD8E75F5-618F-A50B-0A38-5AD467C12008}"/>
                  </a:ext>
                </a:extLst>
              </p:cNvPr>
              <p:cNvSpPr/>
              <p:nvPr/>
            </p:nvSpPr>
            <p:spPr>
              <a:xfrm>
                <a:off x="6068758" y="3296697"/>
                <a:ext cx="58864" cy="58864"/>
              </a:xfrm>
              <a:custGeom>
                <a:avLst/>
                <a:gdLst>
                  <a:gd name="connsiteX0" fmla="*/ 58864 w 58864"/>
                  <a:gd name="connsiteY0" fmla="*/ 58865 h 58864"/>
                  <a:gd name="connsiteX1" fmla="*/ 0 w 58864"/>
                  <a:gd name="connsiteY1" fmla="*/ 0 h 588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8864" h="58864">
                    <a:moveTo>
                      <a:pt x="58864" y="58865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010" name="Forma livre: Forma 2009">
                <a:extLst>
                  <a:ext uri="{FF2B5EF4-FFF2-40B4-BE49-F238E27FC236}">
                    <a16:creationId xmlns:a16="http://schemas.microsoft.com/office/drawing/2014/main" id="{F6EACD8A-C38C-5045-C1F4-982E18ACD7D1}"/>
                  </a:ext>
                </a:extLst>
              </p:cNvPr>
              <p:cNvSpPr/>
              <p:nvPr/>
            </p:nvSpPr>
            <p:spPr>
              <a:xfrm>
                <a:off x="6173152" y="3192303"/>
                <a:ext cx="58864" cy="58864"/>
              </a:xfrm>
              <a:custGeom>
                <a:avLst/>
                <a:gdLst>
                  <a:gd name="connsiteX0" fmla="*/ 58864 w 58864"/>
                  <a:gd name="connsiteY0" fmla="*/ 58865 h 58864"/>
                  <a:gd name="connsiteX1" fmla="*/ 0 w 58864"/>
                  <a:gd name="connsiteY1" fmla="*/ 0 h 588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8864" h="58864">
                    <a:moveTo>
                      <a:pt x="58864" y="58865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011" name="Forma livre: Forma 2010">
                <a:extLst>
                  <a:ext uri="{FF2B5EF4-FFF2-40B4-BE49-F238E27FC236}">
                    <a16:creationId xmlns:a16="http://schemas.microsoft.com/office/drawing/2014/main" id="{E92F2FF1-50EB-40F1-7DD3-2AB5D8465EF9}"/>
                  </a:ext>
                </a:extLst>
              </p:cNvPr>
              <p:cNvSpPr/>
              <p:nvPr/>
            </p:nvSpPr>
            <p:spPr>
              <a:xfrm>
                <a:off x="6120955" y="3244500"/>
                <a:ext cx="104870" cy="104870"/>
              </a:xfrm>
              <a:custGeom>
                <a:avLst/>
                <a:gdLst>
                  <a:gd name="connsiteX0" fmla="*/ 104870 w 104870"/>
                  <a:gd name="connsiteY0" fmla="*/ 104870 h 104870"/>
                  <a:gd name="connsiteX1" fmla="*/ 0 w 104870"/>
                  <a:gd name="connsiteY1" fmla="*/ 0 h 1048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04870" h="104870">
                    <a:moveTo>
                      <a:pt x="104870" y="104870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2022" name="Agrupar 2021">
            <a:extLst>
              <a:ext uri="{FF2B5EF4-FFF2-40B4-BE49-F238E27FC236}">
                <a16:creationId xmlns:a16="http://schemas.microsoft.com/office/drawing/2014/main" id="{55A36427-C47E-B826-3D06-40F26C878F74}"/>
              </a:ext>
            </a:extLst>
          </p:cNvPr>
          <p:cNvGrpSpPr/>
          <p:nvPr/>
        </p:nvGrpSpPr>
        <p:grpSpPr>
          <a:xfrm>
            <a:off x="8668772" y="2556668"/>
            <a:ext cx="285071" cy="340839"/>
            <a:chOff x="5841206" y="3121818"/>
            <a:chExt cx="510254" cy="610075"/>
          </a:xfrm>
        </p:grpSpPr>
        <p:sp>
          <p:nvSpPr>
            <p:cNvPr id="2016" name="Forma livre: Forma 2015">
              <a:extLst>
                <a:ext uri="{FF2B5EF4-FFF2-40B4-BE49-F238E27FC236}">
                  <a16:creationId xmlns:a16="http://schemas.microsoft.com/office/drawing/2014/main" id="{0B7915D6-B9E0-926D-64EF-EA4CB130C5DA}"/>
                </a:ext>
              </a:extLst>
            </p:cNvPr>
            <p:cNvSpPr/>
            <p:nvPr/>
          </p:nvSpPr>
          <p:spPr>
            <a:xfrm>
              <a:off x="5887497" y="3121818"/>
              <a:ext cx="417671" cy="417671"/>
            </a:xfrm>
            <a:custGeom>
              <a:avLst/>
              <a:gdLst>
                <a:gd name="connsiteX0" fmla="*/ 208788 w 417671"/>
                <a:gd name="connsiteY0" fmla="*/ 0 h 417671"/>
                <a:gd name="connsiteX1" fmla="*/ 0 w 417671"/>
                <a:gd name="connsiteY1" fmla="*/ 208883 h 417671"/>
                <a:gd name="connsiteX2" fmla="*/ 208788 w 417671"/>
                <a:gd name="connsiteY2" fmla="*/ 417671 h 417671"/>
                <a:gd name="connsiteX3" fmla="*/ 417671 w 417671"/>
                <a:gd name="connsiteY3" fmla="*/ 208883 h 417671"/>
                <a:gd name="connsiteX4" fmla="*/ 208788 w 417671"/>
                <a:gd name="connsiteY4" fmla="*/ 0 h 417671"/>
                <a:gd name="connsiteX5" fmla="*/ 208788 w 417671"/>
                <a:gd name="connsiteY5" fmla="*/ 0 h 4176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17671" h="417671">
                  <a:moveTo>
                    <a:pt x="208788" y="0"/>
                  </a:moveTo>
                  <a:cubicBezTo>
                    <a:pt x="93440" y="0"/>
                    <a:pt x="0" y="93536"/>
                    <a:pt x="0" y="208883"/>
                  </a:cubicBezTo>
                  <a:cubicBezTo>
                    <a:pt x="0" y="324231"/>
                    <a:pt x="93536" y="417671"/>
                    <a:pt x="208788" y="417671"/>
                  </a:cubicBezTo>
                  <a:cubicBezTo>
                    <a:pt x="324041" y="417671"/>
                    <a:pt x="417671" y="324136"/>
                    <a:pt x="417671" y="208883"/>
                  </a:cubicBezTo>
                  <a:cubicBezTo>
                    <a:pt x="417671" y="93631"/>
                    <a:pt x="324136" y="0"/>
                    <a:pt x="208788" y="0"/>
                  </a:cubicBezTo>
                  <a:lnTo>
                    <a:pt x="208788" y="0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17" name="Forma livre: Forma 2016">
              <a:extLst>
                <a:ext uri="{FF2B5EF4-FFF2-40B4-BE49-F238E27FC236}">
                  <a16:creationId xmlns:a16="http://schemas.microsoft.com/office/drawing/2014/main" id="{0C7B8B7A-0738-DD8C-7D97-EAAC009EDDB6}"/>
                </a:ext>
              </a:extLst>
            </p:cNvPr>
            <p:cNvSpPr/>
            <p:nvPr/>
          </p:nvSpPr>
          <p:spPr>
            <a:xfrm>
              <a:off x="5957982" y="3192303"/>
              <a:ext cx="276605" cy="276605"/>
            </a:xfrm>
            <a:custGeom>
              <a:avLst/>
              <a:gdLst>
                <a:gd name="connsiteX0" fmla="*/ 138303 w 276605"/>
                <a:gd name="connsiteY0" fmla="*/ 0 h 276605"/>
                <a:gd name="connsiteX1" fmla="*/ 0 w 276605"/>
                <a:gd name="connsiteY1" fmla="*/ 138303 h 276605"/>
                <a:gd name="connsiteX2" fmla="*/ 138303 w 276605"/>
                <a:gd name="connsiteY2" fmla="*/ 276606 h 276605"/>
                <a:gd name="connsiteX3" fmla="*/ 276606 w 276605"/>
                <a:gd name="connsiteY3" fmla="*/ 138303 h 276605"/>
                <a:gd name="connsiteX4" fmla="*/ 138303 w 276605"/>
                <a:gd name="connsiteY4" fmla="*/ 0 h 276605"/>
                <a:gd name="connsiteX5" fmla="*/ 138303 w 276605"/>
                <a:gd name="connsiteY5" fmla="*/ 0 h 2766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76605" h="276605">
                  <a:moveTo>
                    <a:pt x="138303" y="0"/>
                  </a:moveTo>
                  <a:cubicBezTo>
                    <a:pt x="61913" y="0"/>
                    <a:pt x="0" y="61913"/>
                    <a:pt x="0" y="138303"/>
                  </a:cubicBezTo>
                  <a:cubicBezTo>
                    <a:pt x="0" y="214694"/>
                    <a:pt x="61913" y="276606"/>
                    <a:pt x="138303" y="276606"/>
                  </a:cubicBezTo>
                  <a:cubicBezTo>
                    <a:pt x="214693" y="276606"/>
                    <a:pt x="276606" y="214694"/>
                    <a:pt x="276606" y="138303"/>
                  </a:cubicBezTo>
                  <a:cubicBezTo>
                    <a:pt x="276606" y="61913"/>
                    <a:pt x="214693" y="0"/>
                    <a:pt x="138303" y="0"/>
                  </a:cubicBezTo>
                  <a:lnTo>
                    <a:pt x="138303" y="0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2018" name="Gráfico 2013">
              <a:extLst>
                <a:ext uri="{FF2B5EF4-FFF2-40B4-BE49-F238E27FC236}">
                  <a16:creationId xmlns:a16="http://schemas.microsoft.com/office/drawing/2014/main" id="{0E8053BB-1514-B68B-DE53-145F8D06BA5B}"/>
                </a:ext>
              </a:extLst>
            </p:cNvPr>
            <p:cNvGrpSpPr/>
            <p:nvPr/>
          </p:nvGrpSpPr>
          <p:grpSpPr>
            <a:xfrm>
              <a:off x="5841206" y="3499960"/>
              <a:ext cx="510254" cy="231933"/>
              <a:chOff x="5841206" y="3499960"/>
              <a:chExt cx="510254" cy="231933"/>
            </a:xfrm>
            <a:noFill/>
          </p:grpSpPr>
          <p:sp>
            <p:nvSpPr>
              <p:cNvPr id="2019" name="Forma livre: Forma 2018">
                <a:extLst>
                  <a:ext uri="{FF2B5EF4-FFF2-40B4-BE49-F238E27FC236}">
                    <a16:creationId xmlns:a16="http://schemas.microsoft.com/office/drawing/2014/main" id="{8CCB39B2-226A-1BC3-8894-3ED7DC61ED8E}"/>
                  </a:ext>
                </a:extLst>
              </p:cNvPr>
              <p:cNvSpPr/>
              <p:nvPr/>
            </p:nvSpPr>
            <p:spPr>
              <a:xfrm>
                <a:off x="5841206" y="3499960"/>
                <a:ext cx="206216" cy="231933"/>
              </a:xfrm>
              <a:custGeom>
                <a:avLst/>
                <a:gdLst>
                  <a:gd name="connsiteX0" fmla="*/ 206216 w 206216"/>
                  <a:gd name="connsiteY0" fmla="*/ 66770 h 231933"/>
                  <a:gd name="connsiteX1" fmla="*/ 126683 w 206216"/>
                  <a:gd name="connsiteY1" fmla="*/ 231934 h 231933"/>
                  <a:gd name="connsiteX2" fmla="*/ 100394 w 206216"/>
                  <a:gd name="connsiteY2" fmla="*/ 124682 h 231933"/>
                  <a:gd name="connsiteX3" fmla="*/ 0 w 206216"/>
                  <a:gd name="connsiteY3" fmla="*/ 169354 h 231933"/>
                  <a:gd name="connsiteX4" fmla="*/ 82487 w 206216"/>
                  <a:gd name="connsiteY4" fmla="*/ 0 h 2319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06216" h="231933">
                    <a:moveTo>
                      <a:pt x="206216" y="66770"/>
                    </a:moveTo>
                    <a:lnTo>
                      <a:pt x="126683" y="231934"/>
                    </a:lnTo>
                    <a:lnTo>
                      <a:pt x="100394" y="124682"/>
                    </a:lnTo>
                    <a:lnTo>
                      <a:pt x="0" y="169354"/>
                    </a:lnTo>
                    <a:lnTo>
                      <a:pt x="82487" y="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020" name="Forma livre: Forma 2019">
                <a:extLst>
                  <a:ext uri="{FF2B5EF4-FFF2-40B4-BE49-F238E27FC236}">
                    <a16:creationId xmlns:a16="http://schemas.microsoft.com/office/drawing/2014/main" id="{13E7AC60-5DE1-59FC-0478-4DEA64EE31AA}"/>
                  </a:ext>
                </a:extLst>
              </p:cNvPr>
              <p:cNvSpPr/>
              <p:nvPr/>
            </p:nvSpPr>
            <p:spPr>
              <a:xfrm>
                <a:off x="6145244" y="3499960"/>
                <a:ext cx="206216" cy="231933"/>
              </a:xfrm>
              <a:custGeom>
                <a:avLst/>
                <a:gdLst>
                  <a:gd name="connsiteX0" fmla="*/ 0 w 206216"/>
                  <a:gd name="connsiteY0" fmla="*/ 66770 h 231933"/>
                  <a:gd name="connsiteX1" fmla="*/ 79534 w 206216"/>
                  <a:gd name="connsiteY1" fmla="*/ 231934 h 231933"/>
                  <a:gd name="connsiteX2" fmla="*/ 105823 w 206216"/>
                  <a:gd name="connsiteY2" fmla="*/ 124682 h 231933"/>
                  <a:gd name="connsiteX3" fmla="*/ 206216 w 206216"/>
                  <a:gd name="connsiteY3" fmla="*/ 169354 h 231933"/>
                  <a:gd name="connsiteX4" fmla="*/ 123635 w 206216"/>
                  <a:gd name="connsiteY4" fmla="*/ 0 h 2319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06216" h="231933">
                    <a:moveTo>
                      <a:pt x="0" y="66770"/>
                    </a:moveTo>
                    <a:lnTo>
                      <a:pt x="79534" y="231934"/>
                    </a:lnTo>
                    <a:lnTo>
                      <a:pt x="105823" y="124682"/>
                    </a:lnTo>
                    <a:lnTo>
                      <a:pt x="206216" y="169354"/>
                    </a:lnTo>
                    <a:lnTo>
                      <a:pt x="123635" y="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2021" name="Forma livre: Forma 2020">
              <a:extLst>
                <a:ext uri="{FF2B5EF4-FFF2-40B4-BE49-F238E27FC236}">
                  <a16:creationId xmlns:a16="http://schemas.microsoft.com/office/drawing/2014/main" id="{11B10ECD-08FA-F1FA-8EB1-D78109E30880}"/>
                </a:ext>
              </a:extLst>
            </p:cNvPr>
            <p:cNvSpPr/>
            <p:nvPr/>
          </p:nvSpPr>
          <p:spPr>
            <a:xfrm>
              <a:off x="6066567" y="3280695"/>
              <a:ext cx="34290" cy="100107"/>
            </a:xfrm>
            <a:custGeom>
              <a:avLst/>
              <a:gdLst>
                <a:gd name="connsiteX0" fmla="*/ 34290 w 34290"/>
                <a:gd name="connsiteY0" fmla="*/ 100108 h 100107"/>
                <a:gd name="connsiteX1" fmla="*/ 34290 w 34290"/>
                <a:gd name="connsiteY1" fmla="*/ 0 h 100107"/>
                <a:gd name="connsiteX2" fmla="*/ 0 w 34290"/>
                <a:gd name="connsiteY2" fmla="*/ 27432 h 1001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4290" h="100107">
                  <a:moveTo>
                    <a:pt x="34290" y="100108"/>
                  </a:moveTo>
                  <a:lnTo>
                    <a:pt x="34290" y="0"/>
                  </a:lnTo>
                  <a:lnTo>
                    <a:pt x="0" y="27432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2050" name="Agrupar 2049">
            <a:extLst>
              <a:ext uri="{FF2B5EF4-FFF2-40B4-BE49-F238E27FC236}">
                <a16:creationId xmlns:a16="http://schemas.microsoft.com/office/drawing/2014/main" id="{CD1A3CE8-34A2-B21A-2DE9-2B3E5BDBACE7}"/>
              </a:ext>
            </a:extLst>
          </p:cNvPr>
          <p:cNvGrpSpPr/>
          <p:nvPr/>
        </p:nvGrpSpPr>
        <p:grpSpPr>
          <a:xfrm>
            <a:off x="2616993" y="3127498"/>
            <a:ext cx="291307" cy="291258"/>
            <a:chOff x="5817393" y="3150393"/>
            <a:chExt cx="560546" cy="560451"/>
          </a:xfrm>
        </p:grpSpPr>
        <p:sp>
          <p:nvSpPr>
            <p:cNvPr id="2040" name="Forma livre: Forma 2039">
              <a:extLst>
                <a:ext uri="{FF2B5EF4-FFF2-40B4-BE49-F238E27FC236}">
                  <a16:creationId xmlns:a16="http://schemas.microsoft.com/office/drawing/2014/main" id="{4B101EEF-720F-502F-0809-D3167C53DAB3}"/>
                </a:ext>
              </a:extLst>
            </p:cNvPr>
            <p:cNvSpPr/>
            <p:nvPr/>
          </p:nvSpPr>
          <p:spPr>
            <a:xfrm>
              <a:off x="5817393" y="3150393"/>
              <a:ext cx="560546" cy="560451"/>
            </a:xfrm>
            <a:custGeom>
              <a:avLst/>
              <a:gdLst>
                <a:gd name="connsiteX0" fmla="*/ 280226 w 560546"/>
                <a:gd name="connsiteY0" fmla="*/ 0 h 560451"/>
                <a:gd name="connsiteX1" fmla="*/ 0 w 560546"/>
                <a:gd name="connsiteY1" fmla="*/ 280226 h 560451"/>
                <a:gd name="connsiteX2" fmla="*/ 280226 w 560546"/>
                <a:gd name="connsiteY2" fmla="*/ 560451 h 560451"/>
                <a:gd name="connsiteX3" fmla="*/ 560546 w 560546"/>
                <a:gd name="connsiteY3" fmla="*/ 280226 h 560451"/>
                <a:gd name="connsiteX4" fmla="*/ 280226 w 560546"/>
                <a:gd name="connsiteY4" fmla="*/ 0 h 560451"/>
                <a:gd name="connsiteX5" fmla="*/ 280226 w 560546"/>
                <a:gd name="connsiteY5" fmla="*/ 0 h 5604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60546" h="560451">
                  <a:moveTo>
                    <a:pt x="280226" y="0"/>
                  </a:moveTo>
                  <a:cubicBezTo>
                    <a:pt x="125444" y="0"/>
                    <a:pt x="0" y="125444"/>
                    <a:pt x="0" y="280226"/>
                  </a:cubicBezTo>
                  <a:cubicBezTo>
                    <a:pt x="0" y="435007"/>
                    <a:pt x="125444" y="560451"/>
                    <a:pt x="280226" y="560451"/>
                  </a:cubicBezTo>
                  <a:cubicBezTo>
                    <a:pt x="435007" y="560451"/>
                    <a:pt x="560546" y="435007"/>
                    <a:pt x="560546" y="280226"/>
                  </a:cubicBezTo>
                  <a:cubicBezTo>
                    <a:pt x="560546" y="125444"/>
                    <a:pt x="435102" y="0"/>
                    <a:pt x="280226" y="0"/>
                  </a:cubicBezTo>
                  <a:lnTo>
                    <a:pt x="280226" y="0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41" name="Forma livre: Forma 2040">
              <a:extLst>
                <a:ext uri="{FF2B5EF4-FFF2-40B4-BE49-F238E27FC236}">
                  <a16:creationId xmlns:a16="http://schemas.microsoft.com/office/drawing/2014/main" id="{5D2BFE11-087E-AC70-A2A3-63C702AD6AD1}"/>
                </a:ext>
              </a:extLst>
            </p:cNvPr>
            <p:cNvSpPr/>
            <p:nvPr/>
          </p:nvSpPr>
          <p:spPr>
            <a:xfrm>
              <a:off x="5993986" y="3488816"/>
              <a:ext cx="130682" cy="114300"/>
            </a:xfrm>
            <a:custGeom>
              <a:avLst/>
              <a:gdLst>
                <a:gd name="connsiteX0" fmla="*/ 65341 w 130682"/>
                <a:gd name="connsiteY0" fmla="*/ 0 h 114300"/>
                <a:gd name="connsiteX1" fmla="*/ 0 w 130682"/>
                <a:gd name="connsiteY1" fmla="*/ 57150 h 114300"/>
                <a:gd name="connsiteX2" fmla="*/ 65341 w 130682"/>
                <a:gd name="connsiteY2" fmla="*/ 114300 h 114300"/>
                <a:gd name="connsiteX3" fmla="*/ 130683 w 130682"/>
                <a:gd name="connsiteY3" fmla="*/ 57150 h 114300"/>
                <a:gd name="connsiteX4" fmla="*/ 65341 w 130682"/>
                <a:gd name="connsiteY4" fmla="*/ 0 h 114300"/>
                <a:gd name="connsiteX5" fmla="*/ 65341 w 130682"/>
                <a:gd name="connsiteY5" fmla="*/ 0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30682" h="114300">
                  <a:moveTo>
                    <a:pt x="65341" y="0"/>
                  </a:moveTo>
                  <a:cubicBezTo>
                    <a:pt x="29242" y="0"/>
                    <a:pt x="0" y="25622"/>
                    <a:pt x="0" y="57150"/>
                  </a:cubicBezTo>
                  <a:cubicBezTo>
                    <a:pt x="0" y="88678"/>
                    <a:pt x="29242" y="114300"/>
                    <a:pt x="65341" y="114300"/>
                  </a:cubicBezTo>
                  <a:cubicBezTo>
                    <a:pt x="101441" y="114300"/>
                    <a:pt x="130683" y="88678"/>
                    <a:pt x="130683" y="57150"/>
                  </a:cubicBezTo>
                  <a:cubicBezTo>
                    <a:pt x="130683" y="25622"/>
                    <a:pt x="101441" y="0"/>
                    <a:pt x="65341" y="0"/>
                  </a:cubicBezTo>
                  <a:lnTo>
                    <a:pt x="65341" y="0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42" name="Forma livre: Forma 2041">
              <a:extLst>
                <a:ext uri="{FF2B5EF4-FFF2-40B4-BE49-F238E27FC236}">
                  <a16:creationId xmlns:a16="http://schemas.microsoft.com/office/drawing/2014/main" id="{84A1DFD2-885C-8CE5-F596-E2CE7C3AB135}"/>
                </a:ext>
              </a:extLst>
            </p:cNvPr>
            <p:cNvSpPr/>
            <p:nvPr/>
          </p:nvSpPr>
          <p:spPr>
            <a:xfrm>
              <a:off x="6007035" y="3241833"/>
              <a:ext cx="224504" cy="226314"/>
            </a:xfrm>
            <a:custGeom>
              <a:avLst/>
              <a:gdLst>
                <a:gd name="connsiteX0" fmla="*/ 99251 w 224504"/>
                <a:gd name="connsiteY0" fmla="*/ 0 h 226314"/>
                <a:gd name="connsiteX1" fmla="*/ 0 w 224504"/>
                <a:gd name="connsiteY1" fmla="*/ 92107 h 226314"/>
                <a:gd name="connsiteX2" fmla="*/ 99251 w 224504"/>
                <a:gd name="connsiteY2" fmla="*/ 184214 h 226314"/>
                <a:gd name="connsiteX3" fmla="*/ 101918 w 224504"/>
                <a:gd name="connsiteY3" fmla="*/ 184118 h 226314"/>
                <a:gd name="connsiteX4" fmla="*/ 157734 w 224504"/>
                <a:gd name="connsiteY4" fmla="*/ 226314 h 226314"/>
                <a:gd name="connsiteX5" fmla="*/ 161639 w 224504"/>
                <a:gd name="connsiteY5" fmla="*/ 226219 h 226314"/>
                <a:gd name="connsiteX6" fmla="*/ 224504 w 224504"/>
                <a:gd name="connsiteY6" fmla="*/ 163640 h 226314"/>
                <a:gd name="connsiteX7" fmla="*/ 195548 w 224504"/>
                <a:gd name="connsiteY7" fmla="*/ 114300 h 226314"/>
                <a:gd name="connsiteX8" fmla="*/ 198596 w 224504"/>
                <a:gd name="connsiteY8" fmla="*/ 92202 h 226314"/>
                <a:gd name="connsiteX9" fmla="*/ 99346 w 224504"/>
                <a:gd name="connsiteY9" fmla="*/ 95 h 226314"/>
                <a:gd name="connsiteX10" fmla="*/ 99346 w 224504"/>
                <a:gd name="connsiteY10" fmla="*/ 95 h 2263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24504" h="226314">
                  <a:moveTo>
                    <a:pt x="99251" y="0"/>
                  </a:moveTo>
                  <a:cubicBezTo>
                    <a:pt x="44482" y="0"/>
                    <a:pt x="0" y="41243"/>
                    <a:pt x="0" y="92107"/>
                  </a:cubicBezTo>
                  <a:cubicBezTo>
                    <a:pt x="0" y="142970"/>
                    <a:pt x="44387" y="184214"/>
                    <a:pt x="99251" y="184214"/>
                  </a:cubicBezTo>
                  <a:cubicBezTo>
                    <a:pt x="100108" y="184214"/>
                    <a:pt x="100965" y="184118"/>
                    <a:pt x="101918" y="184118"/>
                  </a:cubicBezTo>
                  <a:cubicBezTo>
                    <a:pt x="111157" y="213836"/>
                    <a:pt x="134398" y="226314"/>
                    <a:pt x="157734" y="226314"/>
                  </a:cubicBezTo>
                  <a:cubicBezTo>
                    <a:pt x="159068" y="226314"/>
                    <a:pt x="160306" y="226314"/>
                    <a:pt x="161639" y="226219"/>
                  </a:cubicBezTo>
                  <a:cubicBezTo>
                    <a:pt x="196596" y="224123"/>
                    <a:pt x="224504" y="196120"/>
                    <a:pt x="224504" y="163640"/>
                  </a:cubicBezTo>
                  <a:cubicBezTo>
                    <a:pt x="224504" y="142970"/>
                    <a:pt x="212979" y="124778"/>
                    <a:pt x="195548" y="114300"/>
                  </a:cubicBezTo>
                  <a:cubicBezTo>
                    <a:pt x="197453" y="107156"/>
                    <a:pt x="198596" y="99822"/>
                    <a:pt x="198596" y="92202"/>
                  </a:cubicBezTo>
                  <a:cubicBezTo>
                    <a:pt x="198596" y="41338"/>
                    <a:pt x="154210" y="95"/>
                    <a:pt x="99346" y="95"/>
                  </a:cubicBezTo>
                  <a:lnTo>
                    <a:pt x="99346" y="95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43" name="Forma livre: Forma 2042">
              <a:extLst>
                <a:ext uri="{FF2B5EF4-FFF2-40B4-BE49-F238E27FC236}">
                  <a16:creationId xmlns:a16="http://schemas.microsoft.com/office/drawing/2014/main" id="{574BE267-B79C-3333-4DB2-04D1A4C0F5BC}"/>
                </a:ext>
              </a:extLst>
            </p:cNvPr>
            <p:cNvSpPr/>
            <p:nvPr/>
          </p:nvSpPr>
          <p:spPr>
            <a:xfrm>
              <a:off x="5903118" y="3391661"/>
              <a:ext cx="14287" cy="14287"/>
            </a:xfrm>
            <a:custGeom>
              <a:avLst/>
              <a:gdLst>
                <a:gd name="connsiteX0" fmla="*/ 14288 w 14287"/>
                <a:gd name="connsiteY0" fmla="*/ 7144 h 14287"/>
                <a:gd name="connsiteX1" fmla="*/ 7144 w 14287"/>
                <a:gd name="connsiteY1" fmla="*/ 14287 h 14287"/>
                <a:gd name="connsiteX2" fmla="*/ 0 w 14287"/>
                <a:gd name="connsiteY2" fmla="*/ 7144 h 14287"/>
                <a:gd name="connsiteX3" fmla="*/ 7144 w 14287"/>
                <a:gd name="connsiteY3" fmla="*/ 0 h 14287"/>
                <a:gd name="connsiteX4" fmla="*/ 14288 w 14287"/>
                <a:gd name="connsiteY4" fmla="*/ 7144 h 142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287" h="14287">
                  <a:moveTo>
                    <a:pt x="14288" y="7144"/>
                  </a:moveTo>
                  <a:cubicBezTo>
                    <a:pt x="14288" y="11089"/>
                    <a:pt x="11089" y="14287"/>
                    <a:pt x="7144" y="14287"/>
                  </a:cubicBezTo>
                  <a:cubicBezTo>
                    <a:pt x="3198" y="14287"/>
                    <a:pt x="0" y="11089"/>
                    <a:pt x="0" y="7144"/>
                  </a:cubicBezTo>
                  <a:cubicBezTo>
                    <a:pt x="0" y="3198"/>
                    <a:pt x="3198" y="0"/>
                    <a:pt x="7144" y="0"/>
                  </a:cubicBezTo>
                  <a:cubicBezTo>
                    <a:pt x="11089" y="0"/>
                    <a:pt x="14288" y="3198"/>
                    <a:pt x="14288" y="7144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44" name="Forma livre: Forma 2043">
              <a:extLst>
                <a:ext uri="{FF2B5EF4-FFF2-40B4-BE49-F238E27FC236}">
                  <a16:creationId xmlns:a16="http://schemas.microsoft.com/office/drawing/2014/main" id="{D756734C-4DE4-D39A-C2F8-128FAD89FE4C}"/>
                </a:ext>
              </a:extLst>
            </p:cNvPr>
            <p:cNvSpPr/>
            <p:nvPr/>
          </p:nvSpPr>
          <p:spPr>
            <a:xfrm>
              <a:off x="6244399" y="3315461"/>
              <a:ext cx="14287" cy="14287"/>
            </a:xfrm>
            <a:custGeom>
              <a:avLst/>
              <a:gdLst>
                <a:gd name="connsiteX0" fmla="*/ 14288 w 14287"/>
                <a:gd name="connsiteY0" fmla="*/ 7144 h 14287"/>
                <a:gd name="connsiteX1" fmla="*/ 7144 w 14287"/>
                <a:gd name="connsiteY1" fmla="*/ 14287 h 14287"/>
                <a:gd name="connsiteX2" fmla="*/ 0 w 14287"/>
                <a:gd name="connsiteY2" fmla="*/ 7144 h 14287"/>
                <a:gd name="connsiteX3" fmla="*/ 7144 w 14287"/>
                <a:gd name="connsiteY3" fmla="*/ 0 h 14287"/>
                <a:gd name="connsiteX4" fmla="*/ 14288 w 14287"/>
                <a:gd name="connsiteY4" fmla="*/ 7144 h 142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287" h="14287">
                  <a:moveTo>
                    <a:pt x="14288" y="7144"/>
                  </a:moveTo>
                  <a:cubicBezTo>
                    <a:pt x="14288" y="11089"/>
                    <a:pt x="11089" y="14287"/>
                    <a:pt x="7144" y="14287"/>
                  </a:cubicBezTo>
                  <a:cubicBezTo>
                    <a:pt x="3198" y="14287"/>
                    <a:pt x="0" y="11089"/>
                    <a:pt x="0" y="7144"/>
                  </a:cubicBezTo>
                  <a:cubicBezTo>
                    <a:pt x="0" y="3198"/>
                    <a:pt x="3198" y="0"/>
                    <a:pt x="7144" y="0"/>
                  </a:cubicBezTo>
                  <a:cubicBezTo>
                    <a:pt x="11089" y="0"/>
                    <a:pt x="14288" y="3198"/>
                    <a:pt x="14288" y="7144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45" name="Forma livre: Forma 2044">
              <a:extLst>
                <a:ext uri="{FF2B5EF4-FFF2-40B4-BE49-F238E27FC236}">
                  <a16:creationId xmlns:a16="http://schemas.microsoft.com/office/drawing/2014/main" id="{CB67CD2E-D0A3-B576-8F88-09A2458C4ED7}"/>
                </a:ext>
              </a:extLst>
            </p:cNvPr>
            <p:cNvSpPr/>
            <p:nvPr/>
          </p:nvSpPr>
          <p:spPr>
            <a:xfrm>
              <a:off x="6257924" y="3508342"/>
              <a:ext cx="14287" cy="14287"/>
            </a:xfrm>
            <a:custGeom>
              <a:avLst/>
              <a:gdLst>
                <a:gd name="connsiteX0" fmla="*/ 14288 w 14287"/>
                <a:gd name="connsiteY0" fmla="*/ 7144 h 14287"/>
                <a:gd name="connsiteX1" fmla="*/ 7144 w 14287"/>
                <a:gd name="connsiteY1" fmla="*/ 14288 h 14287"/>
                <a:gd name="connsiteX2" fmla="*/ 0 w 14287"/>
                <a:gd name="connsiteY2" fmla="*/ 7144 h 14287"/>
                <a:gd name="connsiteX3" fmla="*/ 7144 w 14287"/>
                <a:gd name="connsiteY3" fmla="*/ 0 h 14287"/>
                <a:gd name="connsiteX4" fmla="*/ 14288 w 14287"/>
                <a:gd name="connsiteY4" fmla="*/ 7144 h 142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287" h="14287">
                  <a:moveTo>
                    <a:pt x="14288" y="7144"/>
                  </a:moveTo>
                  <a:cubicBezTo>
                    <a:pt x="14288" y="11089"/>
                    <a:pt x="11089" y="14288"/>
                    <a:pt x="7144" y="14288"/>
                  </a:cubicBezTo>
                  <a:cubicBezTo>
                    <a:pt x="3198" y="14288"/>
                    <a:pt x="0" y="11089"/>
                    <a:pt x="0" y="7144"/>
                  </a:cubicBezTo>
                  <a:cubicBezTo>
                    <a:pt x="0" y="3198"/>
                    <a:pt x="3198" y="0"/>
                    <a:pt x="7144" y="0"/>
                  </a:cubicBezTo>
                  <a:cubicBezTo>
                    <a:pt x="11089" y="0"/>
                    <a:pt x="14288" y="3198"/>
                    <a:pt x="14288" y="7144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46" name="Forma livre: Forma 2045">
              <a:extLst>
                <a:ext uri="{FF2B5EF4-FFF2-40B4-BE49-F238E27FC236}">
                  <a16:creationId xmlns:a16="http://schemas.microsoft.com/office/drawing/2014/main" id="{A20FB511-BC8D-2B15-A720-AA11429DEA6C}"/>
                </a:ext>
              </a:extLst>
            </p:cNvPr>
            <p:cNvSpPr/>
            <p:nvPr/>
          </p:nvSpPr>
          <p:spPr>
            <a:xfrm>
              <a:off x="6289642" y="3384231"/>
              <a:ext cx="14287" cy="28384"/>
            </a:xfrm>
            <a:custGeom>
              <a:avLst/>
              <a:gdLst>
                <a:gd name="connsiteX0" fmla="*/ 7144 w 14287"/>
                <a:gd name="connsiteY0" fmla="*/ 28385 h 28384"/>
                <a:gd name="connsiteX1" fmla="*/ 0 w 14287"/>
                <a:gd name="connsiteY1" fmla="*/ 14192 h 28384"/>
                <a:gd name="connsiteX2" fmla="*/ 7144 w 14287"/>
                <a:gd name="connsiteY2" fmla="*/ 0 h 28384"/>
                <a:gd name="connsiteX3" fmla="*/ 14288 w 14287"/>
                <a:gd name="connsiteY3" fmla="*/ 14192 h 28384"/>
                <a:gd name="connsiteX4" fmla="*/ 7144 w 14287"/>
                <a:gd name="connsiteY4" fmla="*/ 28385 h 283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287" h="28384">
                  <a:moveTo>
                    <a:pt x="7144" y="28385"/>
                  </a:moveTo>
                  <a:cubicBezTo>
                    <a:pt x="4667" y="28385"/>
                    <a:pt x="0" y="23051"/>
                    <a:pt x="0" y="14192"/>
                  </a:cubicBezTo>
                  <a:cubicBezTo>
                    <a:pt x="0" y="5334"/>
                    <a:pt x="4667" y="0"/>
                    <a:pt x="7144" y="0"/>
                  </a:cubicBezTo>
                  <a:cubicBezTo>
                    <a:pt x="9620" y="0"/>
                    <a:pt x="14288" y="5334"/>
                    <a:pt x="14288" y="14192"/>
                  </a:cubicBezTo>
                  <a:cubicBezTo>
                    <a:pt x="14288" y="23051"/>
                    <a:pt x="9620" y="28385"/>
                    <a:pt x="7144" y="28385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47" name="Forma livre: Forma 2046">
              <a:extLst>
                <a:ext uri="{FF2B5EF4-FFF2-40B4-BE49-F238E27FC236}">
                  <a16:creationId xmlns:a16="http://schemas.microsoft.com/office/drawing/2014/main" id="{01DB41BC-AE21-01C6-CD8C-26896751C069}"/>
                </a:ext>
              </a:extLst>
            </p:cNvPr>
            <p:cNvSpPr/>
            <p:nvPr/>
          </p:nvSpPr>
          <p:spPr>
            <a:xfrm>
              <a:off x="5965030" y="3396328"/>
              <a:ext cx="21335" cy="35814"/>
            </a:xfrm>
            <a:custGeom>
              <a:avLst/>
              <a:gdLst>
                <a:gd name="connsiteX0" fmla="*/ 10668 w 21335"/>
                <a:gd name="connsiteY0" fmla="*/ 35814 h 35814"/>
                <a:gd name="connsiteX1" fmla="*/ 0 w 21335"/>
                <a:gd name="connsiteY1" fmla="*/ 17907 h 35814"/>
                <a:gd name="connsiteX2" fmla="*/ 10668 w 21335"/>
                <a:gd name="connsiteY2" fmla="*/ 0 h 35814"/>
                <a:gd name="connsiteX3" fmla="*/ 21336 w 21335"/>
                <a:gd name="connsiteY3" fmla="*/ 17907 h 35814"/>
                <a:gd name="connsiteX4" fmla="*/ 10668 w 21335"/>
                <a:gd name="connsiteY4" fmla="*/ 35814 h 358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1335" h="35814">
                  <a:moveTo>
                    <a:pt x="10668" y="35814"/>
                  </a:moveTo>
                  <a:cubicBezTo>
                    <a:pt x="5620" y="35814"/>
                    <a:pt x="0" y="28194"/>
                    <a:pt x="0" y="17907"/>
                  </a:cubicBezTo>
                  <a:cubicBezTo>
                    <a:pt x="0" y="7620"/>
                    <a:pt x="5620" y="0"/>
                    <a:pt x="10668" y="0"/>
                  </a:cubicBezTo>
                  <a:cubicBezTo>
                    <a:pt x="15716" y="0"/>
                    <a:pt x="21336" y="7620"/>
                    <a:pt x="21336" y="17907"/>
                  </a:cubicBezTo>
                  <a:cubicBezTo>
                    <a:pt x="21336" y="28194"/>
                    <a:pt x="15716" y="35814"/>
                    <a:pt x="10668" y="35814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48" name="Forma livre: Forma 2047">
              <a:extLst>
                <a:ext uri="{FF2B5EF4-FFF2-40B4-BE49-F238E27FC236}">
                  <a16:creationId xmlns:a16="http://schemas.microsoft.com/office/drawing/2014/main" id="{9F94F3B0-EA14-78CE-5761-FA6F22492EC0}"/>
                </a:ext>
              </a:extLst>
            </p:cNvPr>
            <p:cNvSpPr/>
            <p:nvPr/>
          </p:nvSpPr>
          <p:spPr>
            <a:xfrm>
              <a:off x="6169414" y="3546538"/>
              <a:ext cx="24619" cy="33242"/>
            </a:xfrm>
            <a:custGeom>
              <a:avLst/>
              <a:gdLst>
                <a:gd name="connsiteX0" fmla="*/ 7071 w 24619"/>
                <a:gd name="connsiteY0" fmla="*/ 33242 h 33242"/>
                <a:gd name="connsiteX1" fmla="*/ 4404 w 24619"/>
                <a:gd name="connsiteY1" fmla="*/ 32671 h 33242"/>
                <a:gd name="connsiteX2" fmla="*/ 2690 w 24619"/>
                <a:gd name="connsiteY2" fmla="*/ 11906 h 33242"/>
                <a:gd name="connsiteX3" fmla="*/ 17549 w 24619"/>
                <a:gd name="connsiteY3" fmla="*/ 0 h 33242"/>
                <a:gd name="connsiteX4" fmla="*/ 20216 w 24619"/>
                <a:gd name="connsiteY4" fmla="*/ 572 h 33242"/>
                <a:gd name="connsiteX5" fmla="*/ 21930 w 24619"/>
                <a:gd name="connsiteY5" fmla="*/ 21336 h 33242"/>
                <a:gd name="connsiteX6" fmla="*/ 7071 w 24619"/>
                <a:gd name="connsiteY6" fmla="*/ 33242 h 332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4619" h="33242">
                  <a:moveTo>
                    <a:pt x="7071" y="33242"/>
                  </a:moveTo>
                  <a:cubicBezTo>
                    <a:pt x="6119" y="33242"/>
                    <a:pt x="5261" y="33052"/>
                    <a:pt x="4404" y="32671"/>
                  </a:cubicBezTo>
                  <a:cubicBezTo>
                    <a:pt x="-168" y="30480"/>
                    <a:pt x="-1882" y="21050"/>
                    <a:pt x="2690" y="11906"/>
                  </a:cubicBezTo>
                  <a:cubicBezTo>
                    <a:pt x="6500" y="4096"/>
                    <a:pt x="13072" y="0"/>
                    <a:pt x="17549" y="0"/>
                  </a:cubicBezTo>
                  <a:cubicBezTo>
                    <a:pt x="18501" y="0"/>
                    <a:pt x="19358" y="191"/>
                    <a:pt x="20216" y="572"/>
                  </a:cubicBezTo>
                  <a:cubicBezTo>
                    <a:pt x="24788" y="2762"/>
                    <a:pt x="26502" y="12192"/>
                    <a:pt x="21930" y="21336"/>
                  </a:cubicBezTo>
                  <a:cubicBezTo>
                    <a:pt x="18120" y="29147"/>
                    <a:pt x="11548" y="33242"/>
                    <a:pt x="7071" y="33242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49" name="Forma livre: Forma 2048">
              <a:extLst>
                <a:ext uri="{FF2B5EF4-FFF2-40B4-BE49-F238E27FC236}">
                  <a16:creationId xmlns:a16="http://schemas.microsoft.com/office/drawing/2014/main" id="{799D301C-DEFD-E39A-4749-2A42C8DDD19D}"/>
                </a:ext>
              </a:extLst>
            </p:cNvPr>
            <p:cNvSpPr/>
            <p:nvPr/>
          </p:nvSpPr>
          <p:spPr>
            <a:xfrm>
              <a:off x="5941218" y="3332034"/>
              <a:ext cx="21335" cy="16764"/>
            </a:xfrm>
            <a:custGeom>
              <a:avLst/>
              <a:gdLst>
                <a:gd name="connsiteX0" fmla="*/ 10668 w 21335"/>
                <a:gd name="connsiteY0" fmla="*/ 16764 h 16764"/>
                <a:gd name="connsiteX1" fmla="*/ 0 w 21335"/>
                <a:gd name="connsiteY1" fmla="*/ 8382 h 16764"/>
                <a:gd name="connsiteX2" fmla="*/ 10668 w 21335"/>
                <a:gd name="connsiteY2" fmla="*/ 0 h 16764"/>
                <a:gd name="connsiteX3" fmla="*/ 21336 w 21335"/>
                <a:gd name="connsiteY3" fmla="*/ 8382 h 16764"/>
                <a:gd name="connsiteX4" fmla="*/ 10668 w 21335"/>
                <a:gd name="connsiteY4" fmla="*/ 16764 h 167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1335" h="16764">
                  <a:moveTo>
                    <a:pt x="10668" y="16764"/>
                  </a:moveTo>
                  <a:cubicBezTo>
                    <a:pt x="4858" y="16764"/>
                    <a:pt x="0" y="12954"/>
                    <a:pt x="0" y="8382"/>
                  </a:cubicBezTo>
                  <a:cubicBezTo>
                    <a:pt x="0" y="3810"/>
                    <a:pt x="4953" y="0"/>
                    <a:pt x="10668" y="0"/>
                  </a:cubicBezTo>
                  <a:cubicBezTo>
                    <a:pt x="16383" y="0"/>
                    <a:pt x="21336" y="3810"/>
                    <a:pt x="21336" y="8382"/>
                  </a:cubicBezTo>
                  <a:cubicBezTo>
                    <a:pt x="21336" y="12954"/>
                    <a:pt x="16383" y="16764"/>
                    <a:pt x="10668" y="16764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2051" name="Agrupar 2050">
            <a:extLst>
              <a:ext uri="{FF2B5EF4-FFF2-40B4-BE49-F238E27FC236}">
                <a16:creationId xmlns:a16="http://schemas.microsoft.com/office/drawing/2014/main" id="{83A130BA-A0F5-5201-FD3E-88E88D71E462}"/>
              </a:ext>
            </a:extLst>
          </p:cNvPr>
          <p:cNvGrpSpPr/>
          <p:nvPr/>
        </p:nvGrpSpPr>
        <p:grpSpPr>
          <a:xfrm>
            <a:off x="4407693" y="4187948"/>
            <a:ext cx="291307" cy="291258"/>
            <a:chOff x="5817393" y="3150393"/>
            <a:chExt cx="560546" cy="560451"/>
          </a:xfrm>
        </p:grpSpPr>
        <p:sp>
          <p:nvSpPr>
            <p:cNvPr id="2052" name="Forma livre: Forma 2051">
              <a:extLst>
                <a:ext uri="{FF2B5EF4-FFF2-40B4-BE49-F238E27FC236}">
                  <a16:creationId xmlns:a16="http://schemas.microsoft.com/office/drawing/2014/main" id="{F1F44B7B-A662-C56F-D982-4E0E90849B5F}"/>
                </a:ext>
              </a:extLst>
            </p:cNvPr>
            <p:cNvSpPr/>
            <p:nvPr/>
          </p:nvSpPr>
          <p:spPr>
            <a:xfrm>
              <a:off x="5817393" y="3150393"/>
              <a:ext cx="560546" cy="560451"/>
            </a:xfrm>
            <a:custGeom>
              <a:avLst/>
              <a:gdLst>
                <a:gd name="connsiteX0" fmla="*/ 280226 w 560546"/>
                <a:gd name="connsiteY0" fmla="*/ 0 h 560451"/>
                <a:gd name="connsiteX1" fmla="*/ 0 w 560546"/>
                <a:gd name="connsiteY1" fmla="*/ 280226 h 560451"/>
                <a:gd name="connsiteX2" fmla="*/ 280226 w 560546"/>
                <a:gd name="connsiteY2" fmla="*/ 560451 h 560451"/>
                <a:gd name="connsiteX3" fmla="*/ 560546 w 560546"/>
                <a:gd name="connsiteY3" fmla="*/ 280226 h 560451"/>
                <a:gd name="connsiteX4" fmla="*/ 280226 w 560546"/>
                <a:gd name="connsiteY4" fmla="*/ 0 h 560451"/>
                <a:gd name="connsiteX5" fmla="*/ 280226 w 560546"/>
                <a:gd name="connsiteY5" fmla="*/ 0 h 5604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60546" h="560451">
                  <a:moveTo>
                    <a:pt x="280226" y="0"/>
                  </a:moveTo>
                  <a:cubicBezTo>
                    <a:pt x="125444" y="0"/>
                    <a:pt x="0" y="125444"/>
                    <a:pt x="0" y="280226"/>
                  </a:cubicBezTo>
                  <a:cubicBezTo>
                    <a:pt x="0" y="435007"/>
                    <a:pt x="125444" y="560451"/>
                    <a:pt x="280226" y="560451"/>
                  </a:cubicBezTo>
                  <a:cubicBezTo>
                    <a:pt x="435007" y="560451"/>
                    <a:pt x="560546" y="435007"/>
                    <a:pt x="560546" y="280226"/>
                  </a:cubicBezTo>
                  <a:cubicBezTo>
                    <a:pt x="560546" y="125444"/>
                    <a:pt x="435102" y="0"/>
                    <a:pt x="280226" y="0"/>
                  </a:cubicBezTo>
                  <a:lnTo>
                    <a:pt x="280226" y="0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53" name="Forma livre: Forma 2052">
              <a:extLst>
                <a:ext uri="{FF2B5EF4-FFF2-40B4-BE49-F238E27FC236}">
                  <a16:creationId xmlns:a16="http://schemas.microsoft.com/office/drawing/2014/main" id="{792436DF-B491-3380-9F49-8D676A719B32}"/>
                </a:ext>
              </a:extLst>
            </p:cNvPr>
            <p:cNvSpPr/>
            <p:nvPr/>
          </p:nvSpPr>
          <p:spPr>
            <a:xfrm>
              <a:off x="5993986" y="3488816"/>
              <a:ext cx="130682" cy="114300"/>
            </a:xfrm>
            <a:custGeom>
              <a:avLst/>
              <a:gdLst>
                <a:gd name="connsiteX0" fmla="*/ 65341 w 130682"/>
                <a:gd name="connsiteY0" fmla="*/ 0 h 114300"/>
                <a:gd name="connsiteX1" fmla="*/ 0 w 130682"/>
                <a:gd name="connsiteY1" fmla="*/ 57150 h 114300"/>
                <a:gd name="connsiteX2" fmla="*/ 65341 w 130682"/>
                <a:gd name="connsiteY2" fmla="*/ 114300 h 114300"/>
                <a:gd name="connsiteX3" fmla="*/ 130683 w 130682"/>
                <a:gd name="connsiteY3" fmla="*/ 57150 h 114300"/>
                <a:gd name="connsiteX4" fmla="*/ 65341 w 130682"/>
                <a:gd name="connsiteY4" fmla="*/ 0 h 114300"/>
                <a:gd name="connsiteX5" fmla="*/ 65341 w 130682"/>
                <a:gd name="connsiteY5" fmla="*/ 0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30682" h="114300">
                  <a:moveTo>
                    <a:pt x="65341" y="0"/>
                  </a:moveTo>
                  <a:cubicBezTo>
                    <a:pt x="29242" y="0"/>
                    <a:pt x="0" y="25622"/>
                    <a:pt x="0" y="57150"/>
                  </a:cubicBezTo>
                  <a:cubicBezTo>
                    <a:pt x="0" y="88678"/>
                    <a:pt x="29242" y="114300"/>
                    <a:pt x="65341" y="114300"/>
                  </a:cubicBezTo>
                  <a:cubicBezTo>
                    <a:pt x="101441" y="114300"/>
                    <a:pt x="130683" y="88678"/>
                    <a:pt x="130683" y="57150"/>
                  </a:cubicBezTo>
                  <a:cubicBezTo>
                    <a:pt x="130683" y="25622"/>
                    <a:pt x="101441" y="0"/>
                    <a:pt x="65341" y="0"/>
                  </a:cubicBezTo>
                  <a:lnTo>
                    <a:pt x="65341" y="0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54" name="Forma livre: Forma 2053">
              <a:extLst>
                <a:ext uri="{FF2B5EF4-FFF2-40B4-BE49-F238E27FC236}">
                  <a16:creationId xmlns:a16="http://schemas.microsoft.com/office/drawing/2014/main" id="{48650705-303E-1A78-6933-075CD6FB782E}"/>
                </a:ext>
              </a:extLst>
            </p:cNvPr>
            <p:cNvSpPr/>
            <p:nvPr/>
          </p:nvSpPr>
          <p:spPr>
            <a:xfrm>
              <a:off x="6007035" y="3241833"/>
              <a:ext cx="224504" cy="226314"/>
            </a:xfrm>
            <a:custGeom>
              <a:avLst/>
              <a:gdLst>
                <a:gd name="connsiteX0" fmla="*/ 99251 w 224504"/>
                <a:gd name="connsiteY0" fmla="*/ 0 h 226314"/>
                <a:gd name="connsiteX1" fmla="*/ 0 w 224504"/>
                <a:gd name="connsiteY1" fmla="*/ 92107 h 226314"/>
                <a:gd name="connsiteX2" fmla="*/ 99251 w 224504"/>
                <a:gd name="connsiteY2" fmla="*/ 184214 h 226314"/>
                <a:gd name="connsiteX3" fmla="*/ 101918 w 224504"/>
                <a:gd name="connsiteY3" fmla="*/ 184118 h 226314"/>
                <a:gd name="connsiteX4" fmla="*/ 157734 w 224504"/>
                <a:gd name="connsiteY4" fmla="*/ 226314 h 226314"/>
                <a:gd name="connsiteX5" fmla="*/ 161639 w 224504"/>
                <a:gd name="connsiteY5" fmla="*/ 226219 h 226314"/>
                <a:gd name="connsiteX6" fmla="*/ 224504 w 224504"/>
                <a:gd name="connsiteY6" fmla="*/ 163640 h 226314"/>
                <a:gd name="connsiteX7" fmla="*/ 195548 w 224504"/>
                <a:gd name="connsiteY7" fmla="*/ 114300 h 226314"/>
                <a:gd name="connsiteX8" fmla="*/ 198596 w 224504"/>
                <a:gd name="connsiteY8" fmla="*/ 92202 h 226314"/>
                <a:gd name="connsiteX9" fmla="*/ 99346 w 224504"/>
                <a:gd name="connsiteY9" fmla="*/ 95 h 226314"/>
                <a:gd name="connsiteX10" fmla="*/ 99346 w 224504"/>
                <a:gd name="connsiteY10" fmla="*/ 95 h 2263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24504" h="226314">
                  <a:moveTo>
                    <a:pt x="99251" y="0"/>
                  </a:moveTo>
                  <a:cubicBezTo>
                    <a:pt x="44482" y="0"/>
                    <a:pt x="0" y="41243"/>
                    <a:pt x="0" y="92107"/>
                  </a:cubicBezTo>
                  <a:cubicBezTo>
                    <a:pt x="0" y="142970"/>
                    <a:pt x="44387" y="184214"/>
                    <a:pt x="99251" y="184214"/>
                  </a:cubicBezTo>
                  <a:cubicBezTo>
                    <a:pt x="100108" y="184214"/>
                    <a:pt x="100965" y="184118"/>
                    <a:pt x="101918" y="184118"/>
                  </a:cubicBezTo>
                  <a:cubicBezTo>
                    <a:pt x="111157" y="213836"/>
                    <a:pt x="134398" y="226314"/>
                    <a:pt x="157734" y="226314"/>
                  </a:cubicBezTo>
                  <a:cubicBezTo>
                    <a:pt x="159068" y="226314"/>
                    <a:pt x="160306" y="226314"/>
                    <a:pt x="161639" y="226219"/>
                  </a:cubicBezTo>
                  <a:cubicBezTo>
                    <a:pt x="196596" y="224123"/>
                    <a:pt x="224504" y="196120"/>
                    <a:pt x="224504" y="163640"/>
                  </a:cubicBezTo>
                  <a:cubicBezTo>
                    <a:pt x="224504" y="142970"/>
                    <a:pt x="212979" y="124778"/>
                    <a:pt x="195548" y="114300"/>
                  </a:cubicBezTo>
                  <a:cubicBezTo>
                    <a:pt x="197453" y="107156"/>
                    <a:pt x="198596" y="99822"/>
                    <a:pt x="198596" y="92202"/>
                  </a:cubicBezTo>
                  <a:cubicBezTo>
                    <a:pt x="198596" y="41338"/>
                    <a:pt x="154210" y="95"/>
                    <a:pt x="99346" y="95"/>
                  </a:cubicBezTo>
                  <a:lnTo>
                    <a:pt x="99346" y="95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55" name="Forma livre: Forma 2054">
              <a:extLst>
                <a:ext uri="{FF2B5EF4-FFF2-40B4-BE49-F238E27FC236}">
                  <a16:creationId xmlns:a16="http://schemas.microsoft.com/office/drawing/2014/main" id="{EA0B22FD-E5BC-0667-D499-6BBCF03AFC92}"/>
                </a:ext>
              </a:extLst>
            </p:cNvPr>
            <p:cNvSpPr/>
            <p:nvPr/>
          </p:nvSpPr>
          <p:spPr>
            <a:xfrm>
              <a:off x="5903118" y="3391661"/>
              <a:ext cx="14287" cy="14287"/>
            </a:xfrm>
            <a:custGeom>
              <a:avLst/>
              <a:gdLst>
                <a:gd name="connsiteX0" fmla="*/ 14288 w 14287"/>
                <a:gd name="connsiteY0" fmla="*/ 7144 h 14287"/>
                <a:gd name="connsiteX1" fmla="*/ 7144 w 14287"/>
                <a:gd name="connsiteY1" fmla="*/ 14287 h 14287"/>
                <a:gd name="connsiteX2" fmla="*/ 0 w 14287"/>
                <a:gd name="connsiteY2" fmla="*/ 7144 h 14287"/>
                <a:gd name="connsiteX3" fmla="*/ 7144 w 14287"/>
                <a:gd name="connsiteY3" fmla="*/ 0 h 14287"/>
                <a:gd name="connsiteX4" fmla="*/ 14288 w 14287"/>
                <a:gd name="connsiteY4" fmla="*/ 7144 h 142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287" h="14287">
                  <a:moveTo>
                    <a:pt x="14288" y="7144"/>
                  </a:moveTo>
                  <a:cubicBezTo>
                    <a:pt x="14288" y="11089"/>
                    <a:pt x="11089" y="14287"/>
                    <a:pt x="7144" y="14287"/>
                  </a:cubicBezTo>
                  <a:cubicBezTo>
                    <a:pt x="3198" y="14287"/>
                    <a:pt x="0" y="11089"/>
                    <a:pt x="0" y="7144"/>
                  </a:cubicBezTo>
                  <a:cubicBezTo>
                    <a:pt x="0" y="3198"/>
                    <a:pt x="3198" y="0"/>
                    <a:pt x="7144" y="0"/>
                  </a:cubicBezTo>
                  <a:cubicBezTo>
                    <a:pt x="11089" y="0"/>
                    <a:pt x="14288" y="3198"/>
                    <a:pt x="14288" y="7144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56" name="Forma livre: Forma 2055">
              <a:extLst>
                <a:ext uri="{FF2B5EF4-FFF2-40B4-BE49-F238E27FC236}">
                  <a16:creationId xmlns:a16="http://schemas.microsoft.com/office/drawing/2014/main" id="{D9D42EA9-C8B0-5724-4137-D75AC9E44784}"/>
                </a:ext>
              </a:extLst>
            </p:cNvPr>
            <p:cNvSpPr/>
            <p:nvPr/>
          </p:nvSpPr>
          <p:spPr>
            <a:xfrm>
              <a:off x="6244399" y="3315461"/>
              <a:ext cx="14287" cy="14287"/>
            </a:xfrm>
            <a:custGeom>
              <a:avLst/>
              <a:gdLst>
                <a:gd name="connsiteX0" fmla="*/ 14288 w 14287"/>
                <a:gd name="connsiteY0" fmla="*/ 7144 h 14287"/>
                <a:gd name="connsiteX1" fmla="*/ 7144 w 14287"/>
                <a:gd name="connsiteY1" fmla="*/ 14287 h 14287"/>
                <a:gd name="connsiteX2" fmla="*/ 0 w 14287"/>
                <a:gd name="connsiteY2" fmla="*/ 7144 h 14287"/>
                <a:gd name="connsiteX3" fmla="*/ 7144 w 14287"/>
                <a:gd name="connsiteY3" fmla="*/ 0 h 14287"/>
                <a:gd name="connsiteX4" fmla="*/ 14288 w 14287"/>
                <a:gd name="connsiteY4" fmla="*/ 7144 h 142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287" h="14287">
                  <a:moveTo>
                    <a:pt x="14288" y="7144"/>
                  </a:moveTo>
                  <a:cubicBezTo>
                    <a:pt x="14288" y="11089"/>
                    <a:pt x="11089" y="14287"/>
                    <a:pt x="7144" y="14287"/>
                  </a:cubicBezTo>
                  <a:cubicBezTo>
                    <a:pt x="3198" y="14287"/>
                    <a:pt x="0" y="11089"/>
                    <a:pt x="0" y="7144"/>
                  </a:cubicBezTo>
                  <a:cubicBezTo>
                    <a:pt x="0" y="3198"/>
                    <a:pt x="3198" y="0"/>
                    <a:pt x="7144" y="0"/>
                  </a:cubicBezTo>
                  <a:cubicBezTo>
                    <a:pt x="11089" y="0"/>
                    <a:pt x="14288" y="3198"/>
                    <a:pt x="14288" y="7144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57" name="Forma livre: Forma 2056">
              <a:extLst>
                <a:ext uri="{FF2B5EF4-FFF2-40B4-BE49-F238E27FC236}">
                  <a16:creationId xmlns:a16="http://schemas.microsoft.com/office/drawing/2014/main" id="{8AE48E69-091E-5E70-A2D9-D0807A23661E}"/>
                </a:ext>
              </a:extLst>
            </p:cNvPr>
            <p:cNvSpPr/>
            <p:nvPr/>
          </p:nvSpPr>
          <p:spPr>
            <a:xfrm>
              <a:off x="6257924" y="3508342"/>
              <a:ext cx="14287" cy="14287"/>
            </a:xfrm>
            <a:custGeom>
              <a:avLst/>
              <a:gdLst>
                <a:gd name="connsiteX0" fmla="*/ 14288 w 14287"/>
                <a:gd name="connsiteY0" fmla="*/ 7144 h 14287"/>
                <a:gd name="connsiteX1" fmla="*/ 7144 w 14287"/>
                <a:gd name="connsiteY1" fmla="*/ 14288 h 14287"/>
                <a:gd name="connsiteX2" fmla="*/ 0 w 14287"/>
                <a:gd name="connsiteY2" fmla="*/ 7144 h 14287"/>
                <a:gd name="connsiteX3" fmla="*/ 7144 w 14287"/>
                <a:gd name="connsiteY3" fmla="*/ 0 h 14287"/>
                <a:gd name="connsiteX4" fmla="*/ 14288 w 14287"/>
                <a:gd name="connsiteY4" fmla="*/ 7144 h 142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287" h="14287">
                  <a:moveTo>
                    <a:pt x="14288" y="7144"/>
                  </a:moveTo>
                  <a:cubicBezTo>
                    <a:pt x="14288" y="11089"/>
                    <a:pt x="11089" y="14288"/>
                    <a:pt x="7144" y="14288"/>
                  </a:cubicBezTo>
                  <a:cubicBezTo>
                    <a:pt x="3198" y="14288"/>
                    <a:pt x="0" y="11089"/>
                    <a:pt x="0" y="7144"/>
                  </a:cubicBezTo>
                  <a:cubicBezTo>
                    <a:pt x="0" y="3198"/>
                    <a:pt x="3198" y="0"/>
                    <a:pt x="7144" y="0"/>
                  </a:cubicBezTo>
                  <a:cubicBezTo>
                    <a:pt x="11089" y="0"/>
                    <a:pt x="14288" y="3198"/>
                    <a:pt x="14288" y="7144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58" name="Forma livre: Forma 2057">
              <a:extLst>
                <a:ext uri="{FF2B5EF4-FFF2-40B4-BE49-F238E27FC236}">
                  <a16:creationId xmlns:a16="http://schemas.microsoft.com/office/drawing/2014/main" id="{E538E6CE-6647-075E-C7BD-1F92624C52C2}"/>
                </a:ext>
              </a:extLst>
            </p:cNvPr>
            <p:cNvSpPr/>
            <p:nvPr/>
          </p:nvSpPr>
          <p:spPr>
            <a:xfrm>
              <a:off x="6289642" y="3384231"/>
              <a:ext cx="14287" cy="28384"/>
            </a:xfrm>
            <a:custGeom>
              <a:avLst/>
              <a:gdLst>
                <a:gd name="connsiteX0" fmla="*/ 7144 w 14287"/>
                <a:gd name="connsiteY0" fmla="*/ 28385 h 28384"/>
                <a:gd name="connsiteX1" fmla="*/ 0 w 14287"/>
                <a:gd name="connsiteY1" fmla="*/ 14192 h 28384"/>
                <a:gd name="connsiteX2" fmla="*/ 7144 w 14287"/>
                <a:gd name="connsiteY2" fmla="*/ 0 h 28384"/>
                <a:gd name="connsiteX3" fmla="*/ 14288 w 14287"/>
                <a:gd name="connsiteY3" fmla="*/ 14192 h 28384"/>
                <a:gd name="connsiteX4" fmla="*/ 7144 w 14287"/>
                <a:gd name="connsiteY4" fmla="*/ 28385 h 283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287" h="28384">
                  <a:moveTo>
                    <a:pt x="7144" y="28385"/>
                  </a:moveTo>
                  <a:cubicBezTo>
                    <a:pt x="4667" y="28385"/>
                    <a:pt x="0" y="23051"/>
                    <a:pt x="0" y="14192"/>
                  </a:cubicBezTo>
                  <a:cubicBezTo>
                    <a:pt x="0" y="5334"/>
                    <a:pt x="4667" y="0"/>
                    <a:pt x="7144" y="0"/>
                  </a:cubicBezTo>
                  <a:cubicBezTo>
                    <a:pt x="9620" y="0"/>
                    <a:pt x="14288" y="5334"/>
                    <a:pt x="14288" y="14192"/>
                  </a:cubicBezTo>
                  <a:cubicBezTo>
                    <a:pt x="14288" y="23051"/>
                    <a:pt x="9620" y="28385"/>
                    <a:pt x="7144" y="28385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59" name="Forma livre: Forma 2058">
              <a:extLst>
                <a:ext uri="{FF2B5EF4-FFF2-40B4-BE49-F238E27FC236}">
                  <a16:creationId xmlns:a16="http://schemas.microsoft.com/office/drawing/2014/main" id="{915461C4-736B-ACB0-FEF2-4B9E8ECE65CD}"/>
                </a:ext>
              </a:extLst>
            </p:cNvPr>
            <p:cNvSpPr/>
            <p:nvPr/>
          </p:nvSpPr>
          <p:spPr>
            <a:xfrm>
              <a:off x="5965030" y="3396328"/>
              <a:ext cx="21335" cy="35814"/>
            </a:xfrm>
            <a:custGeom>
              <a:avLst/>
              <a:gdLst>
                <a:gd name="connsiteX0" fmla="*/ 10668 w 21335"/>
                <a:gd name="connsiteY0" fmla="*/ 35814 h 35814"/>
                <a:gd name="connsiteX1" fmla="*/ 0 w 21335"/>
                <a:gd name="connsiteY1" fmla="*/ 17907 h 35814"/>
                <a:gd name="connsiteX2" fmla="*/ 10668 w 21335"/>
                <a:gd name="connsiteY2" fmla="*/ 0 h 35814"/>
                <a:gd name="connsiteX3" fmla="*/ 21336 w 21335"/>
                <a:gd name="connsiteY3" fmla="*/ 17907 h 35814"/>
                <a:gd name="connsiteX4" fmla="*/ 10668 w 21335"/>
                <a:gd name="connsiteY4" fmla="*/ 35814 h 358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1335" h="35814">
                  <a:moveTo>
                    <a:pt x="10668" y="35814"/>
                  </a:moveTo>
                  <a:cubicBezTo>
                    <a:pt x="5620" y="35814"/>
                    <a:pt x="0" y="28194"/>
                    <a:pt x="0" y="17907"/>
                  </a:cubicBezTo>
                  <a:cubicBezTo>
                    <a:pt x="0" y="7620"/>
                    <a:pt x="5620" y="0"/>
                    <a:pt x="10668" y="0"/>
                  </a:cubicBezTo>
                  <a:cubicBezTo>
                    <a:pt x="15716" y="0"/>
                    <a:pt x="21336" y="7620"/>
                    <a:pt x="21336" y="17907"/>
                  </a:cubicBezTo>
                  <a:cubicBezTo>
                    <a:pt x="21336" y="28194"/>
                    <a:pt x="15716" y="35814"/>
                    <a:pt x="10668" y="35814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60" name="Forma livre: Forma 2059">
              <a:extLst>
                <a:ext uri="{FF2B5EF4-FFF2-40B4-BE49-F238E27FC236}">
                  <a16:creationId xmlns:a16="http://schemas.microsoft.com/office/drawing/2014/main" id="{DA8E5CFC-C423-CBAE-9022-6CA56A4E2FDE}"/>
                </a:ext>
              </a:extLst>
            </p:cNvPr>
            <p:cNvSpPr/>
            <p:nvPr/>
          </p:nvSpPr>
          <p:spPr>
            <a:xfrm>
              <a:off x="6169414" y="3546538"/>
              <a:ext cx="24619" cy="33242"/>
            </a:xfrm>
            <a:custGeom>
              <a:avLst/>
              <a:gdLst>
                <a:gd name="connsiteX0" fmla="*/ 7071 w 24619"/>
                <a:gd name="connsiteY0" fmla="*/ 33242 h 33242"/>
                <a:gd name="connsiteX1" fmla="*/ 4404 w 24619"/>
                <a:gd name="connsiteY1" fmla="*/ 32671 h 33242"/>
                <a:gd name="connsiteX2" fmla="*/ 2690 w 24619"/>
                <a:gd name="connsiteY2" fmla="*/ 11906 h 33242"/>
                <a:gd name="connsiteX3" fmla="*/ 17549 w 24619"/>
                <a:gd name="connsiteY3" fmla="*/ 0 h 33242"/>
                <a:gd name="connsiteX4" fmla="*/ 20216 w 24619"/>
                <a:gd name="connsiteY4" fmla="*/ 572 h 33242"/>
                <a:gd name="connsiteX5" fmla="*/ 21930 w 24619"/>
                <a:gd name="connsiteY5" fmla="*/ 21336 h 33242"/>
                <a:gd name="connsiteX6" fmla="*/ 7071 w 24619"/>
                <a:gd name="connsiteY6" fmla="*/ 33242 h 332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4619" h="33242">
                  <a:moveTo>
                    <a:pt x="7071" y="33242"/>
                  </a:moveTo>
                  <a:cubicBezTo>
                    <a:pt x="6119" y="33242"/>
                    <a:pt x="5261" y="33052"/>
                    <a:pt x="4404" y="32671"/>
                  </a:cubicBezTo>
                  <a:cubicBezTo>
                    <a:pt x="-168" y="30480"/>
                    <a:pt x="-1882" y="21050"/>
                    <a:pt x="2690" y="11906"/>
                  </a:cubicBezTo>
                  <a:cubicBezTo>
                    <a:pt x="6500" y="4096"/>
                    <a:pt x="13072" y="0"/>
                    <a:pt x="17549" y="0"/>
                  </a:cubicBezTo>
                  <a:cubicBezTo>
                    <a:pt x="18501" y="0"/>
                    <a:pt x="19358" y="191"/>
                    <a:pt x="20216" y="572"/>
                  </a:cubicBezTo>
                  <a:cubicBezTo>
                    <a:pt x="24788" y="2762"/>
                    <a:pt x="26502" y="12192"/>
                    <a:pt x="21930" y="21336"/>
                  </a:cubicBezTo>
                  <a:cubicBezTo>
                    <a:pt x="18120" y="29147"/>
                    <a:pt x="11548" y="33242"/>
                    <a:pt x="7071" y="33242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61" name="Forma livre: Forma 2060">
              <a:extLst>
                <a:ext uri="{FF2B5EF4-FFF2-40B4-BE49-F238E27FC236}">
                  <a16:creationId xmlns:a16="http://schemas.microsoft.com/office/drawing/2014/main" id="{A0182118-0254-B59B-026E-307C532D40A8}"/>
                </a:ext>
              </a:extLst>
            </p:cNvPr>
            <p:cNvSpPr/>
            <p:nvPr/>
          </p:nvSpPr>
          <p:spPr>
            <a:xfrm>
              <a:off x="5941218" y="3332034"/>
              <a:ext cx="21335" cy="16764"/>
            </a:xfrm>
            <a:custGeom>
              <a:avLst/>
              <a:gdLst>
                <a:gd name="connsiteX0" fmla="*/ 10668 w 21335"/>
                <a:gd name="connsiteY0" fmla="*/ 16764 h 16764"/>
                <a:gd name="connsiteX1" fmla="*/ 0 w 21335"/>
                <a:gd name="connsiteY1" fmla="*/ 8382 h 16764"/>
                <a:gd name="connsiteX2" fmla="*/ 10668 w 21335"/>
                <a:gd name="connsiteY2" fmla="*/ 0 h 16764"/>
                <a:gd name="connsiteX3" fmla="*/ 21336 w 21335"/>
                <a:gd name="connsiteY3" fmla="*/ 8382 h 16764"/>
                <a:gd name="connsiteX4" fmla="*/ 10668 w 21335"/>
                <a:gd name="connsiteY4" fmla="*/ 16764 h 167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1335" h="16764">
                  <a:moveTo>
                    <a:pt x="10668" y="16764"/>
                  </a:moveTo>
                  <a:cubicBezTo>
                    <a:pt x="4858" y="16764"/>
                    <a:pt x="0" y="12954"/>
                    <a:pt x="0" y="8382"/>
                  </a:cubicBezTo>
                  <a:cubicBezTo>
                    <a:pt x="0" y="3810"/>
                    <a:pt x="4953" y="0"/>
                    <a:pt x="10668" y="0"/>
                  </a:cubicBezTo>
                  <a:cubicBezTo>
                    <a:pt x="16383" y="0"/>
                    <a:pt x="21336" y="3810"/>
                    <a:pt x="21336" y="8382"/>
                  </a:cubicBezTo>
                  <a:cubicBezTo>
                    <a:pt x="21336" y="12954"/>
                    <a:pt x="16383" y="16764"/>
                    <a:pt x="10668" y="16764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2062" name="Group 18">
            <a:extLst>
              <a:ext uri="{FF2B5EF4-FFF2-40B4-BE49-F238E27FC236}">
                <a16:creationId xmlns:a16="http://schemas.microsoft.com/office/drawing/2014/main" id="{52481219-3FC9-193F-0B1E-4288AFC6C93C}"/>
              </a:ext>
            </a:extLst>
          </p:cNvPr>
          <p:cNvGrpSpPr/>
          <p:nvPr/>
        </p:nvGrpSpPr>
        <p:grpSpPr>
          <a:xfrm>
            <a:off x="4397613" y="5694282"/>
            <a:ext cx="234934" cy="325802"/>
            <a:chOff x="2345928" y="1510902"/>
            <a:chExt cx="234934" cy="325802"/>
          </a:xfrm>
        </p:grpSpPr>
        <p:sp>
          <p:nvSpPr>
            <p:cNvPr id="2063" name="Freeform: Shape 19">
              <a:extLst>
                <a:ext uri="{FF2B5EF4-FFF2-40B4-BE49-F238E27FC236}">
                  <a16:creationId xmlns:a16="http://schemas.microsoft.com/office/drawing/2014/main" id="{42270061-DB85-A17F-EB32-DCD0DBC935ED}"/>
                </a:ext>
              </a:extLst>
            </p:cNvPr>
            <p:cNvSpPr/>
            <p:nvPr/>
          </p:nvSpPr>
          <p:spPr>
            <a:xfrm>
              <a:off x="2425747" y="1800224"/>
              <a:ext cx="75295" cy="4762"/>
            </a:xfrm>
            <a:custGeom>
              <a:avLst/>
              <a:gdLst>
                <a:gd name="connsiteX0" fmla="*/ 0 w 75295"/>
                <a:gd name="connsiteY0" fmla="*/ 0 h 4762"/>
                <a:gd name="connsiteX1" fmla="*/ 75295 w 75295"/>
                <a:gd name="connsiteY1" fmla="*/ 0 h 47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5295" h="4762">
                  <a:moveTo>
                    <a:pt x="0" y="0"/>
                  </a:moveTo>
                  <a:lnTo>
                    <a:pt x="75295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64" name="Freeform: Shape 20">
              <a:extLst>
                <a:ext uri="{FF2B5EF4-FFF2-40B4-BE49-F238E27FC236}">
                  <a16:creationId xmlns:a16="http://schemas.microsoft.com/office/drawing/2014/main" id="{DC5C5BF5-E6EA-8481-06B7-97D4A9358000}"/>
                </a:ext>
              </a:extLst>
            </p:cNvPr>
            <p:cNvSpPr/>
            <p:nvPr/>
          </p:nvSpPr>
          <p:spPr>
            <a:xfrm>
              <a:off x="2443940" y="1831942"/>
              <a:ext cx="38957" cy="4762"/>
            </a:xfrm>
            <a:custGeom>
              <a:avLst/>
              <a:gdLst>
                <a:gd name="connsiteX0" fmla="*/ 0 w 38957"/>
                <a:gd name="connsiteY0" fmla="*/ 0 h 4762"/>
                <a:gd name="connsiteX1" fmla="*/ 38957 w 38957"/>
                <a:gd name="connsiteY1" fmla="*/ 0 h 47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8957" h="4762">
                  <a:moveTo>
                    <a:pt x="0" y="0"/>
                  </a:moveTo>
                  <a:lnTo>
                    <a:pt x="38957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65" name="Freeform: Shape 21">
              <a:extLst>
                <a:ext uri="{FF2B5EF4-FFF2-40B4-BE49-F238E27FC236}">
                  <a16:creationId xmlns:a16="http://schemas.microsoft.com/office/drawing/2014/main" id="{8E1149D4-E81C-187C-84AB-398206820CD1}"/>
                </a:ext>
              </a:extLst>
            </p:cNvPr>
            <p:cNvSpPr/>
            <p:nvPr/>
          </p:nvSpPr>
          <p:spPr>
            <a:xfrm>
              <a:off x="2375074" y="1569766"/>
              <a:ext cx="176641" cy="194452"/>
            </a:xfrm>
            <a:custGeom>
              <a:avLst/>
              <a:gdLst>
                <a:gd name="connsiteX0" fmla="*/ 88297 w 176641"/>
                <a:gd name="connsiteY0" fmla="*/ 0 h 194452"/>
                <a:gd name="connsiteX1" fmla="*/ 176641 w 176641"/>
                <a:gd name="connsiteY1" fmla="*/ 86439 h 194452"/>
                <a:gd name="connsiteX2" fmla="*/ 161020 w 176641"/>
                <a:gd name="connsiteY2" fmla="*/ 135636 h 194452"/>
                <a:gd name="connsiteX3" fmla="*/ 149638 w 176641"/>
                <a:gd name="connsiteY3" fmla="*/ 146828 h 194452"/>
                <a:gd name="connsiteX4" fmla="*/ 119253 w 176641"/>
                <a:gd name="connsiteY4" fmla="*/ 194453 h 194452"/>
                <a:gd name="connsiteX5" fmla="*/ 57245 w 176641"/>
                <a:gd name="connsiteY5" fmla="*/ 194453 h 194452"/>
                <a:gd name="connsiteX6" fmla="*/ 27003 w 176641"/>
                <a:gd name="connsiteY6" fmla="*/ 146923 h 194452"/>
                <a:gd name="connsiteX7" fmla="*/ 15716 w 176641"/>
                <a:gd name="connsiteY7" fmla="*/ 135779 h 194452"/>
                <a:gd name="connsiteX8" fmla="*/ 0 w 176641"/>
                <a:gd name="connsiteY8" fmla="*/ 86439 h 194452"/>
                <a:gd name="connsiteX9" fmla="*/ 88297 w 176641"/>
                <a:gd name="connsiteY9" fmla="*/ 0 h 1944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76641" h="194452">
                  <a:moveTo>
                    <a:pt x="88297" y="0"/>
                  </a:moveTo>
                  <a:cubicBezTo>
                    <a:pt x="137017" y="0"/>
                    <a:pt x="176641" y="38767"/>
                    <a:pt x="176641" y="86439"/>
                  </a:cubicBezTo>
                  <a:cubicBezTo>
                    <a:pt x="176641" y="108156"/>
                    <a:pt x="172117" y="122444"/>
                    <a:pt x="161020" y="135636"/>
                  </a:cubicBezTo>
                  <a:cubicBezTo>
                    <a:pt x="157258" y="139637"/>
                    <a:pt x="153400" y="143304"/>
                    <a:pt x="149638" y="146828"/>
                  </a:cubicBezTo>
                  <a:cubicBezTo>
                    <a:pt x="137112" y="158591"/>
                    <a:pt x="124254" y="170736"/>
                    <a:pt x="119253" y="194453"/>
                  </a:cubicBezTo>
                  <a:lnTo>
                    <a:pt x="57245" y="194453"/>
                  </a:lnTo>
                  <a:cubicBezTo>
                    <a:pt x="52292" y="170783"/>
                    <a:pt x="39481" y="158687"/>
                    <a:pt x="27003" y="146923"/>
                  </a:cubicBezTo>
                  <a:cubicBezTo>
                    <a:pt x="23289" y="143399"/>
                    <a:pt x="19431" y="139779"/>
                    <a:pt x="15716" y="135779"/>
                  </a:cubicBezTo>
                  <a:cubicBezTo>
                    <a:pt x="5143" y="122634"/>
                    <a:pt x="0" y="106490"/>
                    <a:pt x="0" y="86439"/>
                  </a:cubicBezTo>
                  <a:cubicBezTo>
                    <a:pt x="0" y="38767"/>
                    <a:pt x="39624" y="0"/>
                    <a:pt x="88297" y="0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66" name="Freeform: Shape 22">
              <a:extLst>
                <a:ext uri="{FF2B5EF4-FFF2-40B4-BE49-F238E27FC236}">
                  <a16:creationId xmlns:a16="http://schemas.microsoft.com/office/drawing/2014/main" id="{F26037AB-8C0C-D7AA-93EA-462E411319A3}"/>
                </a:ext>
              </a:extLst>
            </p:cNvPr>
            <p:cNvSpPr/>
            <p:nvPr/>
          </p:nvSpPr>
          <p:spPr>
            <a:xfrm>
              <a:off x="2463419" y="1510902"/>
              <a:ext cx="4762" cy="21383"/>
            </a:xfrm>
            <a:custGeom>
              <a:avLst/>
              <a:gdLst>
                <a:gd name="connsiteX0" fmla="*/ 0 w 4762"/>
                <a:gd name="connsiteY0" fmla="*/ 21384 h 21383"/>
                <a:gd name="connsiteX1" fmla="*/ 0 w 4762"/>
                <a:gd name="connsiteY1" fmla="*/ 0 h 213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762" h="21383">
                  <a:moveTo>
                    <a:pt x="0" y="21384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grpSp>
          <p:nvGrpSpPr>
            <p:cNvPr id="2067" name="Graphic 4">
              <a:extLst>
                <a:ext uri="{FF2B5EF4-FFF2-40B4-BE49-F238E27FC236}">
                  <a16:creationId xmlns:a16="http://schemas.microsoft.com/office/drawing/2014/main" id="{FC3C3B5B-16AA-68FC-9C79-34528920839D}"/>
                </a:ext>
              </a:extLst>
            </p:cNvPr>
            <p:cNvGrpSpPr/>
            <p:nvPr/>
          </p:nvGrpSpPr>
          <p:grpSpPr>
            <a:xfrm>
              <a:off x="2345928" y="1561241"/>
              <a:ext cx="234934" cy="17383"/>
              <a:chOff x="2345928" y="1561241"/>
              <a:chExt cx="234934" cy="17383"/>
            </a:xfrm>
          </p:grpSpPr>
          <p:sp>
            <p:nvSpPr>
              <p:cNvPr id="2072" name="Freeform: Shape 161">
                <a:extLst>
                  <a:ext uri="{FF2B5EF4-FFF2-40B4-BE49-F238E27FC236}">
                    <a16:creationId xmlns:a16="http://schemas.microsoft.com/office/drawing/2014/main" id="{E7DFA3AA-D5FD-D2AE-12B4-9888E6B20D2A}"/>
                  </a:ext>
                </a:extLst>
              </p:cNvPr>
              <p:cNvSpPr/>
              <p:nvPr/>
            </p:nvSpPr>
            <p:spPr>
              <a:xfrm>
                <a:off x="2563574" y="1561241"/>
                <a:ext cx="17287" cy="17383"/>
              </a:xfrm>
              <a:custGeom>
                <a:avLst/>
                <a:gdLst>
                  <a:gd name="connsiteX0" fmla="*/ 0 w 17287"/>
                  <a:gd name="connsiteY0" fmla="*/ 17383 h 17383"/>
                  <a:gd name="connsiteX1" fmla="*/ 17288 w 17287"/>
                  <a:gd name="connsiteY1" fmla="*/ 0 h 173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7287" h="17383">
                    <a:moveTo>
                      <a:pt x="0" y="17383"/>
                    </a:moveTo>
                    <a:lnTo>
                      <a:pt x="17288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073" name="Freeform: Shape 2024">
                <a:extLst>
                  <a:ext uri="{FF2B5EF4-FFF2-40B4-BE49-F238E27FC236}">
                    <a16:creationId xmlns:a16="http://schemas.microsoft.com/office/drawing/2014/main" id="{85AFF2EC-A6FD-1640-EC56-10D02AF65DA8}"/>
                  </a:ext>
                </a:extLst>
              </p:cNvPr>
              <p:cNvSpPr/>
              <p:nvPr/>
            </p:nvSpPr>
            <p:spPr>
              <a:xfrm>
                <a:off x="2345928" y="1561241"/>
                <a:ext cx="17287" cy="17383"/>
              </a:xfrm>
              <a:custGeom>
                <a:avLst/>
                <a:gdLst>
                  <a:gd name="connsiteX0" fmla="*/ 0 w 17287"/>
                  <a:gd name="connsiteY0" fmla="*/ 0 h 17383"/>
                  <a:gd name="connsiteX1" fmla="*/ 17288 w 17287"/>
                  <a:gd name="connsiteY1" fmla="*/ 17383 h 173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7287" h="17383">
                    <a:moveTo>
                      <a:pt x="0" y="0"/>
                    </a:moveTo>
                    <a:lnTo>
                      <a:pt x="17288" y="17383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sp>
          <p:nvSpPr>
            <p:cNvPr id="2068" name="Freeform: Shape 24">
              <a:extLst>
                <a:ext uri="{FF2B5EF4-FFF2-40B4-BE49-F238E27FC236}">
                  <a16:creationId xmlns:a16="http://schemas.microsoft.com/office/drawing/2014/main" id="{7FE2B254-22C3-9D61-87CC-F4F5F46A73A7}"/>
                </a:ext>
              </a:extLst>
            </p:cNvPr>
            <p:cNvSpPr/>
            <p:nvPr/>
          </p:nvSpPr>
          <p:spPr>
            <a:xfrm>
              <a:off x="2463419" y="1680304"/>
              <a:ext cx="4762" cy="80724"/>
            </a:xfrm>
            <a:custGeom>
              <a:avLst/>
              <a:gdLst>
                <a:gd name="connsiteX0" fmla="*/ 0 w 4762"/>
                <a:gd name="connsiteY0" fmla="*/ 80724 h 80724"/>
                <a:gd name="connsiteX1" fmla="*/ 0 w 4762"/>
                <a:gd name="connsiteY1" fmla="*/ 0 h 807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762" h="80724">
                  <a:moveTo>
                    <a:pt x="0" y="80724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grpSp>
          <p:nvGrpSpPr>
            <p:cNvPr id="2069" name="Graphic 4">
              <a:extLst>
                <a:ext uri="{FF2B5EF4-FFF2-40B4-BE49-F238E27FC236}">
                  <a16:creationId xmlns:a16="http://schemas.microsoft.com/office/drawing/2014/main" id="{ADFE7925-24A4-3077-7680-DE74FD23E12A}"/>
                </a:ext>
              </a:extLst>
            </p:cNvPr>
            <p:cNvGrpSpPr/>
            <p:nvPr/>
          </p:nvGrpSpPr>
          <p:grpSpPr>
            <a:xfrm>
              <a:off x="2434701" y="1651538"/>
              <a:ext cx="57435" cy="28765"/>
              <a:chOff x="2434701" y="1651538"/>
              <a:chExt cx="57435" cy="28765"/>
            </a:xfrm>
          </p:grpSpPr>
          <p:sp>
            <p:nvSpPr>
              <p:cNvPr id="2070" name="Freeform: Shape 26">
                <a:extLst>
                  <a:ext uri="{FF2B5EF4-FFF2-40B4-BE49-F238E27FC236}">
                    <a16:creationId xmlns:a16="http://schemas.microsoft.com/office/drawing/2014/main" id="{BB2C850C-D7A1-8824-9AB8-4A730F1A14E9}"/>
                  </a:ext>
                </a:extLst>
              </p:cNvPr>
              <p:cNvSpPr/>
              <p:nvPr/>
            </p:nvSpPr>
            <p:spPr>
              <a:xfrm>
                <a:off x="2434701" y="1651538"/>
                <a:ext cx="28670" cy="28765"/>
              </a:xfrm>
              <a:custGeom>
                <a:avLst/>
                <a:gdLst>
                  <a:gd name="connsiteX0" fmla="*/ 28670 w 28670"/>
                  <a:gd name="connsiteY0" fmla="*/ 28765 h 28765"/>
                  <a:gd name="connsiteX1" fmla="*/ 0 w 28670"/>
                  <a:gd name="connsiteY1" fmla="*/ 0 h 287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8670" h="28765">
                    <a:moveTo>
                      <a:pt x="28670" y="28765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071" name="Freeform: Shape 27">
                <a:extLst>
                  <a:ext uri="{FF2B5EF4-FFF2-40B4-BE49-F238E27FC236}">
                    <a16:creationId xmlns:a16="http://schemas.microsoft.com/office/drawing/2014/main" id="{B48CC28D-A006-B18D-BA7D-6710723F814C}"/>
                  </a:ext>
                </a:extLst>
              </p:cNvPr>
              <p:cNvSpPr/>
              <p:nvPr/>
            </p:nvSpPr>
            <p:spPr>
              <a:xfrm>
                <a:off x="2463466" y="1651538"/>
                <a:ext cx="28670" cy="28765"/>
              </a:xfrm>
              <a:custGeom>
                <a:avLst/>
                <a:gdLst>
                  <a:gd name="connsiteX0" fmla="*/ 0 w 28670"/>
                  <a:gd name="connsiteY0" fmla="*/ 28765 h 28765"/>
                  <a:gd name="connsiteX1" fmla="*/ 28670 w 28670"/>
                  <a:gd name="connsiteY1" fmla="*/ 0 h 287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8670" h="28765">
                    <a:moveTo>
                      <a:pt x="0" y="28765"/>
                    </a:moveTo>
                    <a:lnTo>
                      <a:pt x="2867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41329022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áfico 2">
            <a:extLst>
              <a:ext uri="{FF2B5EF4-FFF2-40B4-BE49-F238E27FC236}">
                <a16:creationId xmlns:a16="http://schemas.microsoft.com/office/drawing/2014/main" id="{BB90093B-49EB-B071-2B26-21624D458AE1}"/>
              </a:ext>
            </a:extLst>
          </p:cNvPr>
          <p:cNvGrpSpPr/>
          <p:nvPr/>
        </p:nvGrpSpPr>
        <p:grpSpPr>
          <a:xfrm>
            <a:off x="773316" y="941072"/>
            <a:ext cx="397174" cy="283492"/>
            <a:chOff x="773316" y="941072"/>
            <a:chExt cx="397174" cy="283492"/>
          </a:xfrm>
          <a:noFill/>
        </p:grpSpPr>
        <p:grpSp>
          <p:nvGrpSpPr>
            <p:cNvPr id="23" name="Gráfico 2">
              <a:extLst>
                <a:ext uri="{FF2B5EF4-FFF2-40B4-BE49-F238E27FC236}">
                  <a16:creationId xmlns:a16="http://schemas.microsoft.com/office/drawing/2014/main" id="{AC0CC32D-54B4-E6BC-C0DA-0006B987AB1C}"/>
                </a:ext>
              </a:extLst>
            </p:cNvPr>
            <p:cNvGrpSpPr/>
            <p:nvPr/>
          </p:nvGrpSpPr>
          <p:grpSpPr>
            <a:xfrm>
              <a:off x="795813" y="941072"/>
              <a:ext cx="352277" cy="200910"/>
              <a:chOff x="795813" y="941072"/>
              <a:chExt cx="352277" cy="200910"/>
            </a:xfrm>
            <a:noFill/>
          </p:grpSpPr>
          <p:grpSp>
            <p:nvGrpSpPr>
              <p:cNvPr id="24" name="Gráfico 2">
                <a:extLst>
                  <a:ext uri="{FF2B5EF4-FFF2-40B4-BE49-F238E27FC236}">
                    <a16:creationId xmlns:a16="http://schemas.microsoft.com/office/drawing/2014/main" id="{1F20677A-C072-8C60-0093-676E992D6E9A}"/>
                  </a:ext>
                </a:extLst>
              </p:cNvPr>
              <p:cNvGrpSpPr/>
              <p:nvPr/>
            </p:nvGrpSpPr>
            <p:grpSpPr>
              <a:xfrm>
                <a:off x="847068" y="992229"/>
                <a:ext cx="249768" cy="86418"/>
                <a:chOff x="847068" y="992229"/>
                <a:chExt cx="249768" cy="86418"/>
              </a:xfrm>
            </p:grpSpPr>
            <p:grpSp>
              <p:nvGrpSpPr>
                <p:cNvPr id="25" name="Gráfico 2">
                  <a:extLst>
                    <a:ext uri="{FF2B5EF4-FFF2-40B4-BE49-F238E27FC236}">
                      <a16:creationId xmlns:a16="http://schemas.microsoft.com/office/drawing/2014/main" id="{923AC237-51B8-9703-42D9-18095E8ACBBF}"/>
                    </a:ext>
                  </a:extLst>
                </p:cNvPr>
                <p:cNvGrpSpPr/>
                <p:nvPr/>
              </p:nvGrpSpPr>
              <p:grpSpPr>
                <a:xfrm>
                  <a:off x="847068" y="992229"/>
                  <a:ext cx="86614" cy="86418"/>
                  <a:chOff x="847068" y="992229"/>
                  <a:chExt cx="86614" cy="86418"/>
                </a:xfrm>
              </p:grpSpPr>
              <p:sp>
                <p:nvSpPr>
                  <p:cNvPr id="26" name="Forma livre: Forma 25">
                    <a:extLst>
                      <a:ext uri="{FF2B5EF4-FFF2-40B4-BE49-F238E27FC236}">
                        <a16:creationId xmlns:a16="http://schemas.microsoft.com/office/drawing/2014/main" id="{6468FCC8-10AE-7572-022B-ECE1525AEEF4}"/>
                      </a:ext>
                    </a:extLst>
                  </p:cNvPr>
                  <p:cNvSpPr/>
                  <p:nvPr/>
                </p:nvSpPr>
                <p:spPr>
                  <a:xfrm>
                    <a:off x="847068" y="1065394"/>
                    <a:ext cx="32034" cy="13253"/>
                  </a:xfrm>
                  <a:custGeom>
                    <a:avLst/>
                    <a:gdLst>
                      <a:gd name="connsiteX0" fmla="*/ 0 w 32034"/>
                      <a:gd name="connsiteY0" fmla="*/ 0 h 13253"/>
                      <a:gd name="connsiteX1" fmla="*/ 32034 w 32034"/>
                      <a:gd name="connsiteY1" fmla="*/ 13254 h 1325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32034" h="13253">
                        <a:moveTo>
                          <a:pt x="0" y="0"/>
                        </a:moveTo>
                        <a:lnTo>
                          <a:pt x="32034" y="13254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27" name="Forma livre: Forma 26">
                    <a:extLst>
                      <a:ext uri="{FF2B5EF4-FFF2-40B4-BE49-F238E27FC236}">
                        <a16:creationId xmlns:a16="http://schemas.microsoft.com/office/drawing/2014/main" id="{77D39933-9803-B545-5D0C-87F73AEC009C}"/>
                      </a:ext>
                    </a:extLst>
                  </p:cNvPr>
                  <p:cNvSpPr/>
                  <p:nvPr/>
                </p:nvSpPr>
                <p:spPr>
                  <a:xfrm>
                    <a:off x="920135" y="992229"/>
                    <a:ext cx="13547" cy="32572"/>
                  </a:xfrm>
                  <a:custGeom>
                    <a:avLst/>
                    <a:gdLst>
                      <a:gd name="connsiteX0" fmla="*/ 0 w 13547"/>
                      <a:gd name="connsiteY0" fmla="*/ 0 h 32572"/>
                      <a:gd name="connsiteX1" fmla="*/ 13547 w 13547"/>
                      <a:gd name="connsiteY1" fmla="*/ 32572 h 3257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3547" h="32572">
                        <a:moveTo>
                          <a:pt x="0" y="0"/>
                        </a:moveTo>
                        <a:lnTo>
                          <a:pt x="13547" y="32572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28" name="Forma livre: Forma 27">
                    <a:extLst>
                      <a:ext uri="{FF2B5EF4-FFF2-40B4-BE49-F238E27FC236}">
                        <a16:creationId xmlns:a16="http://schemas.microsoft.com/office/drawing/2014/main" id="{6A65E263-6BA3-BFB5-38E5-0E798CA0A29A}"/>
                      </a:ext>
                    </a:extLst>
                  </p:cNvPr>
                  <p:cNvSpPr/>
                  <p:nvPr/>
                </p:nvSpPr>
                <p:spPr>
                  <a:xfrm>
                    <a:off x="847312" y="992962"/>
                    <a:ext cx="54286" cy="53993"/>
                  </a:xfrm>
                  <a:custGeom>
                    <a:avLst/>
                    <a:gdLst>
                      <a:gd name="connsiteX0" fmla="*/ 54287 w 54286"/>
                      <a:gd name="connsiteY0" fmla="*/ 53993 h 53993"/>
                      <a:gd name="connsiteX1" fmla="*/ 0 w 54286"/>
                      <a:gd name="connsiteY1" fmla="*/ 0 h 5399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54286" h="53993">
                        <a:moveTo>
                          <a:pt x="54287" y="53993"/>
                        </a:moveTo>
                        <a:lnTo>
                          <a:pt x="0" y="0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  <p:grpSp>
              <p:nvGrpSpPr>
                <p:cNvPr id="29" name="Gráfico 2">
                  <a:extLst>
                    <a:ext uri="{FF2B5EF4-FFF2-40B4-BE49-F238E27FC236}">
                      <a16:creationId xmlns:a16="http://schemas.microsoft.com/office/drawing/2014/main" id="{483D8502-F4D1-7867-5829-B96EA62D8B1B}"/>
                    </a:ext>
                  </a:extLst>
                </p:cNvPr>
                <p:cNvGrpSpPr/>
                <p:nvPr/>
              </p:nvGrpSpPr>
              <p:grpSpPr>
                <a:xfrm>
                  <a:off x="1010222" y="992229"/>
                  <a:ext cx="86614" cy="86418"/>
                  <a:chOff x="1010222" y="992229"/>
                  <a:chExt cx="86614" cy="86418"/>
                </a:xfrm>
              </p:grpSpPr>
              <p:sp>
                <p:nvSpPr>
                  <p:cNvPr id="30" name="Forma livre: Forma 29">
                    <a:extLst>
                      <a:ext uri="{FF2B5EF4-FFF2-40B4-BE49-F238E27FC236}">
                        <a16:creationId xmlns:a16="http://schemas.microsoft.com/office/drawing/2014/main" id="{5045B199-129B-E5E1-6ABA-CB8AAAEC8DA9}"/>
                      </a:ext>
                    </a:extLst>
                  </p:cNvPr>
                  <p:cNvSpPr/>
                  <p:nvPr/>
                </p:nvSpPr>
                <p:spPr>
                  <a:xfrm>
                    <a:off x="1064802" y="1065394"/>
                    <a:ext cx="32034" cy="13253"/>
                  </a:xfrm>
                  <a:custGeom>
                    <a:avLst/>
                    <a:gdLst>
                      <a:gd name="connsiteX0" fmla="*/ 32034 w 32034"/>
                      <a:gd name="connsiteY0" fmla="*/ 0 h 13253"/>
                      <a:gd name="connsiteX1" fmla="*/ 0 w 32034"/>
                      <a:gd name="connsiteY1" fmla="*/ 13254 h 1325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32034" h="13253">
                        <a:moveTo>
                          <a:pt x="32034" y="0"/>
                        </a:moveTo>
                        <a:lnTo>
                          <a:pt x="0" y="13254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31" name="Forma livre: Forma 30">
                    <a:extLst>
                      <a:ext uri="{FF2B5EF4-FFF2-40B4-BE49-F238E27FC236}">
                        <a16:creationId xmlns:a16="http://schemas.microsoft.com/office/drawing/2014/main" id="{4D166E7C-3B60-3BB3-1F1F-55911504170C}"/>
                      </a:ext>
                    </a:extLst>
                  </p:cNvPr>
                  <p:cNvSpPr/>
                  <p:nvPr/>
                </p:nvSpPr>
                <p:spPr>
                  <a:xfrm>
                    <a:off x="1010222" y="992229"/>
                    <a:ext cx="13547" cy="32572"/>
                  </a:xfrm>
                  <a:custGeom>
                    <a:avLst/>
                    <a:gdLst>
                      <a:gd name="connsiteX0" fmla="*/ 13547 w 13547"/>
                      <a:gd name="connsiteY0" fmla="*/ 0 h 32572"/>
                      <a:gd name="connsiteX1" fmla="*/ 0 w 13547"/>
                      <a:gd name="connsiteY1" fmla="*/ 32572 h 3257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3547" h="32572">
                        <a:moveTo>
                          <a:pt x="13547" y="0"/>
                        </a:moveTo>
                        <a:lnTo>
                          <a:pt x="0" y="32572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32" name="Forma livre: Forma 31">
                    <a:extLst>
                      <a:ext uri="{FF2B5EF4-FFF2-40B4-BE49-F238E27FC236}">
                        <a16:creationId xmlns:a16="http://schemas.microsoft.com/office/drawing/2014/main" id="{4116C70E-164A-7A20-E1D7-459E27EEF2B1}"/>
                      </a:ext>
                    </a:extLst>
                  </p:cNvPr>
                  <p:cNvSpPr/>
                  <p:nvPr/>
                </p:nvSpPr>
                <p:spPr>
                  <a:xfrm>
                    <a:off x="1042305" y="992962"/>
                    <a:ext cx="54286" cy="53993"/>
                  </a:xfrm>
                  <a:custGeom>
                    <a:avLst/>
                    <a:gdLst>
                      <a:gd name="connsiteX0" fmla="*/ 0 w 54286"/>
                      <a:gd name="connsiteY0" fmla="*/ 53993 h 53993"/>
                      <a:gd name="connsiteX1" fmla="*/ 54287 w 54286"/>
                      <a:gd name="connsiteY1" fmla="*/ 0 h 5399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54286" h="53993">
                        <a:moveTo>
                          <a:pt x="0" y="53993"/>
                        </a:moveTo>
                        <a:lnTo>
                          <a:pt x="54287" y="0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</p:grpSp>
          <p:sp>
            <p:nvSpPr>
              <p:cNvPr id="33" name="Forma livre: Forma 32">
                <a:extLst>
                  <a:ext uri="{FF2B5EF4-FFF2-40B4-BE49-F238E27FC236}">
                    <a16:creationId xmlns:a16="http://schemas.microsoft.com/office/drawing/2014/main" id="{4557F0D0-F965-627E-5F2E-2C198BE5EFBC}"/>
                  </a:ext>
                </a:extLst>
              </p:cNvPr>
              <p:cNvSpPr/>
              <p:nvPr/>
            </p:nvSpPr>
            <p:spPr>
              <a:xfrm>
                <a:off x="900087" y="1045324"/>
                <a:ext cx="143723" cy="96657"/>
              </a:xfrm>
              <a:custGeom>
                <a:avLst/>
                <a:gdLst>
                  <a:gd name="connsiteX0" fmla="*/ 139381 w 143723"/>
                  <a:gd name="connsiteY0" fmla="*/ 96413 h 96657"/>
                  <a:gd name="connsiteX1" fmla="*/ 138256 w 143723"/>
                  <a:gd name="connsiteY1" fmla="*/ 44376 h 96657"/>
                  <a:gd name="connsiteX2" fmla="*/ 44355 w 143723"/>
                  <a:gd name="connsiteY2" fmla="*/ 5495 h 96657"/>
                  <a:gd name="connsiteX3" fmla="*/ 4398 w 143723"/>
                  <a:gd name="connsiteY3" fmla="*/ 96658 h 966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43723" h="96657">
                    <a:moveTo>
                      <a:pt x="139381" y="96413"/>
                    </a:moveTo>
                    <a:cubicBezTo>
                      <a:pt x="145299" y="80127"/>
                      <a:pt x="145397" y="61640"/>
                      <a:pt x="138256" y="44376"/>
                    </a:cubicBezTo>
                    <a:cubicBezTo>
                      <a:pt x="123095" y="7745"/>
                      <a:pt x="80986" y="-9715"/>
                      <a:pt x="44355" y="5495"/>
                    </a:cubicBezTo>
                    <a:cubicBezTo>
                      <a:pt x="8653" y="20265"/>
                      <a:pt x="-8807" y="60711"/>
                      <a:pt x="4398" y="96658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4" name="Forma livre: Forma 33">
                <a:extLst>
                  <a:ext uri="{FF2B5EF4-FFF2-40B4-BE49-F238E27FC236}">
                    <a16:creationId xmlns:a16="http://schemas.microsoft.com/office/drawing/2014/main" id="{D3E01658-C322-262B-0521-39BBF62B0BAC}"/>
                  </a:ext>
                </a:extLst>
              </p:cNvPr>
              <p:cNvSpPr/>
              <p:nvPr/>
            </p:nvSpPr>
            <p:spPr>
              <a:xfrm>
                <a:off x="971928" y="941072"/>
                <a:ext cx="4890" cy="76392"/>
              </a:xfrm>
              <a:custGeom>
                <a:avLst/>
                <a:gdLst>
                  <a:gd name="connsiteX0" fmla="*/ 0 w 4890"/>
                  <a:gd name="connsiteY0" fmla="*/ 76393 h 76392"/>
                  <a:gd name="connsiteX1" fmla="*/ 0 w 4890"/>
                  <a:gd name="connsiteY1" fmla="*/ 0 h 763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890" h="76392">
                    <a:moveTo>
                      <a:pt x="0" y="76393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5" name="Forma livre: Forma 34">
                <a:extLst>
                  <a:ext uri="{FF2B5EF4-FFF2-40B4-BE49-F238E27FC236}">
                    <a16:creationId xmlns:a16="http://schemas.microsoft.com/office/drawing/2014/main" id="{62F70D51-4AF4-50D9-2D2B-1331B4256706}"/>
                  </a:ext>
                </a:extLst>
              </p:cNvPr>
              <p:cNvSpPr/>
              <p:nvPr/>
            </p:nvSpPr>
            <p:spPr>
              <a:xfrm>
                <a:off x="1071649" y="1117186"/>
                <a:ext cx="76441" cy="4890"/>
              </a:xfrm>
              <a:custGeom>
                <a:avLst/>
                <a:gdLst>
                  <a:gd name="connsiteX0" fmla="*/ 0 w 76441"/>
                  <a:gd name="connsiteY0" fmla="*/ 0 h 4890"/>
                  <a:gd name="connsiteX1" fmla="*/ 76442 w 76441"/>
                  <a:gd name="connsiteY1" fmla="*/ 0 h 48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76441" h="4890">
                    <a:moveTo>
                      <a:pt x="0" y="0"/>
                    </a:moveTo>
                    <a:lnTo>
                      <a:pt x="76442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6" name="Forma livre: Forma 35">
                <a:extLst>
                  <a:ext uri="{FF2B5EF4-FFF2-40B4-BE49-F238E27FC236}">
                    <a16:creationId xmlns:a16="http://schemas.microsoft.com/office/drawing/2014/main" id="{56B98077-A325-2726-9697-4AAB1251AC93}"/>
                  </a:ext>
                </a:extLst>
              </p:cNvPr>
              <p:cNvSpPr/>
              <p:nvPr/>
            </p:nvSpPr>
            <p:spPr>
              <a:xfrm>
                <a:off x="795813" y="1117186"/>
                <a:ext cx="76392" cy="4890"/>
              </a:xfrm>
              <a:custGeom>
                <a:avLst/>
                <a:gdLst>
                  <a:gd name="connsiteX0" fmla="*/ 0 w 76392"/>
                  <a:gd name="connsiteY0" fmla="*/ 0 h 4890"/>
                  <a:gd name="connsiteX1" fmla="*/ 76393 w 76392"/>
                  <a:gd name="connsiteY1" fmla="*/ 0 h 48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76392" h="4890">
                    <a:moveTo>
                      <a:pt x="0" y="0"/>
                    </a:moveTo>
                    <a:lnTo>
                      <a:pt x="76393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37" name="Forma livre: Forma 36">
              <a:extLst>
                <a:ext uri="{FF2B5EF4-FFF2-40B4-BE49-F238E27FC236}">
                  <a16:creationId xmlns:a16="http://schemas.microsoft.com/office/drawing/2014/main" id="{A5CCA357-C4BA-90AF-F268-EF3DE39371B1}"/>
                </a:ext>
              </a:extLst>
            </p:cNvPr>
            <p:cNvSpPr/>
            <p:nvPr/>
          </p:nvSpPr>
          <p:spPr>
            <a:xfrm>
              <a:off x="773316" y="1153866"/>
              <a:ext cx="397174" cy="18758"/>
            </a:xfrm>
            <a:custGeom>
              <a:avLst/>
              <a:gdLst>
                <a:gd name="connsiteX0" fmla="*/ 0 w 397174"/>
                <a:gd name="connsiteY0" fmla="*/ 0 h 18758"/>
                <a:gd name="connsiteX1" fmla="*/ 99135 w 397174"/>
                <a:gd name="connsiteY1" fmla="*/ 0 h 18758"/>
                <a:gd name="connsiteX2" fmla="*/ 99330 w 397174"/>
                <a:gd name="connsiteY2" fmla="*/ 0 h 18758"/>
                <a:gd name="connsiteX3" fmla="*/ 198465 w 397174"/>
                <a:gd name="connsiteY3" fmla="*/ 0 h 18758"/>
                <a:gd name="connsiteX4" fmla="*/ 198709 w 397174"/>
                <a:gd name="connsiteY4" fmla="*/ 0 h 18758"/>
                <a:gd name="connsiteX5" fmla="*/ 297844 w 397174"/>
                <a:gd name="connsiteY5" fmla="*/ 0 h 18758"/>
                <a:gd name="connsiteX6" fmla="*/ 298039 w 397174"/>
                <a:gd name="connsiteY6" fmla="*/ 0 h 18758"/>
                <a:gd name="connsiteX7" fmla="*/ 397174 w 397174"/>
                <a:gd name="connsiteY7" fmla="*/ 0 h 187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7174" h="18758">
                  <a:moveTo>
                    <a:pt x="0" y="0"/>
                  </a:moveTo>
                  <a:cubicBezTo>
                    <a:pt x="0" y="0"/>
                    <a:pt x="41669" y="42207"/>
                    <a:pt x="99135" y="0"/>
                  </a:cubicBezTo>
                  <a:lnTo>
                    <a:pt x="99330" y="0"/>
                  </a:lnTo>
                  <a:cubicBezTo>
                    <a:pt x="99330" y="0"/>
                    <a:pt x="140999" y="42207"/>
                    <a:pt x="198465" y="0"/>
                  </a:cubicBezTo>
                  <a:lnTo>
                    <a:pt x="198709" y="0"/>
                  </a:lnTo>
                  <a:cubicBezTo>
                    <a:pt x="198709" y="0"/>
                    <a:pt x="240378" y="42207"/>
                    <a:pt x="297844" y="0"/>
                  </a:cubicBezTo>
                  <a:lnTo>
                    <a:pt x="298039" y="0"/>
                  </a:lnTo>
                  <a:cubicBezTo>
                    <a:pt x="298039" y="0"/>
                    <a:pt x="339708" y="42207"/>
                    <a:pt x="397174" y="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8" name="Forma livre: Forma 37">
              <a:extLst>
                <a:ext uri="{FF2B5EF4-FFF2-40B4-BE49-F238E27FC236}">
                  <a16:creationId xmlns:a16="http://schemas.microsoft.com/office/drawing/2014/main" id="{47330DAC-CB39-B0F0-F0F4-39FD9EDEB65A}"/>
                </a:ext>
              </a:extLst>
            </p:cNvPr>
            <p:cNvSpPr/>
            <p:nvPr/>
          </p:nvSpPr>
          <p:spPr>
            <a:xfrm>
              <a:off x="823055" y="1205806"/>
              <a:ext cx="297843" cy="18758"/>
            </a:xfrm>
            <a:custGeom>
              <a:avLst/>
              <a:gdLst>
                <a:gd name="connsiteX0" fmla="*/ 297844 w 297843"/>
                <a:gd name="connsiteY0" fmla="*/ 0 h 18758"/>
                <a:gd name="connsiteX1" fmla="*/ 198709 w 297843"/>
                <a:gd name="connsiteY1" fmla="*/ 0 h 18758"/>
                <a:gd name="connsiteX2" fmla="*/ 198465 w 297843"/>
                <a:gd name="connsiteY2" fmla="*/ 0 h 18758"/>
                <a:gd name="connsiteX3" fmla="*/ 99330 w 297843"/>
                <a:gd name="connsiteY3" fmla="*/ 0 h 18758"/>
                <a:gd name="connsiteX4" fmla="*/ 99135 w 297843"/>
                <a:gd name="connsiteY4" fmla="*/ 0 h 18758"/>
                <a:gd name="connsiteX5" fmla="*/ 0 w 297843"/>
                <a:gd name="connsiteY5" fmla="*/ 0 h 187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97843" h="18758">
                  <a:moveTo>
                    <a:pt x="297844" y="0"/>
                  </a:moveTo>
                  <a:cubicBezTo>
                    <a:pt x="240329" y="42207"/>
                    <a:pt x="198709" y="0"/>
                    <a:pt x="198709" y="0"/>
                  </a:cubicBezTo>
                  <a:lnTo>
                    <a:pt x="198465" y="0"/>
                  </a:lnTo>
                  <a:cubicBezTo>
                    <a:pt x="140950" y="42207"/>
                    <a:pt x="99330" y="0"/>
                    <a:pt x="99330" y="0"/>
                  </a:cubicBezTo>
                  <a:lnTo>
                    <a:pt x="99135" y="0"/>
                  </a:lnTo>
                  <a:cubicBezTo>
                    <a:pt x="41620" y="42207"/>
                    <a:pt x="0" y="0"/>
                    <a:pt x="0" y="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39" name="Gráfico 2">
            <a:extLst>
              <a:ext uri="{FF2B5EF4-FFF2-40B4-BE49-F238E27FC236}">
                <a16:creationId xmlns:a16="http://schemas.microsoft.com/office/drawing/2014/main" id="{D824F9A3-5B38-0050-B6E6-E7F35A23B2F9}"/>
              </a:ext>
            </a:extLst>
          </p:cNvPr>
          <p:cNvGrpSpPr/>
          <p:nvPr/>
        </p:nvGrpSpPr>
        <p:grpSpPr>
          <a:xfrm>
            <a:off x="2149864" y="884780"/>
            <a:ext cx="191612" cy="396049"/>
            <a:chOff x="2149864" y="884780"/>
            <a:chExt cx="191612" cy="396049"/>
          </a:xfrm>
          <a:noFill/>
        </p:grpSpPr>
        <p:sp>
          <p:nvSpPr>
            <p:cNvPr id="40" name="Forma livre: Forma 39">
              <a:extLst>
                <a:ext uri="{FF2B5EF4-FFF2-40B4-BE49-F238E27FC236}">
                  <a16:creationId xmlns:a16="http://schemas.microsoft.com/office/drawing/2014/main" id="{FA21D6F1-ABE1-C4CC-A8FA-54FBD1A7B162}"/>
                </a:ext>
              </a:extLst>
            </p:cNvPr>
            <p:cNvSpPr/>
            <p:nvPr/>
          </p:nvSpPr>
          <p:spPr>
            <a:xfrm>
              <a:off x="2166580" y="1094738"/>
              <a:ext cx="148090" cy="186091"/>
            </a:xfrm>
            <a:custGeom>
              <a:avLst/>
              <a:gdLst>
                <a:gd name="connsiteX0" fmla="*/ 148091 w 148090"/>
                <a:gd name="connsiteY0" fmla="*/ 31790 h 186091"/>
                <a:gd name="connsiteX1" fmla="*/ 90576 w 148090"/>
                <a:gd name="connsiteY1" fmla="*/ 179636 h 186091"/>
                <a:gd name="connsiteX2" fmla="*/ 79816 w 148090"/>
                <a:gd name="connsiteY2" fmla="*/ 186091 h 186091"/>
                <a:gd name="connsiteX3" fmla="*/ 69399 w 148090"/>
                <a:gd name="connsiteY3" fmla="*/ 179636 h 186091"/>
                <a:gd name="connsiteX4" fmla="*/ 0 w 148090"/>
                <a:gd name="connsiteY4" fmla="*/ 0 h 1860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8090" h="186091">
                  <a:moveTo>
                    <a:pt x="148091" y="31790"/>
                  </a:moveTo>
                  <a:lnTo>
                    <a:pt x="90576" y="179636"/>
                  </a:lnTo>
                  <a:cubicBezTo>
                    <a:pt x="90576" y="179636"/>
                    <a:pt x="86957" y="186091"/>
                    <a:pt x="79816" y="186091"/>
                  </a:cubicBezTo>
                  <a:cubicBezTo>
                    <a:pt x="72676" y="186091"/>
                    <a:pt x="69399" y="179636"/>
                    <a:pt x="69399" y="179636"/>
                  </a:cubicBezTo>
                  <a:lnTo>
                    <a:pt x="0" y="0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1" name="Forma livre: Forma 40">
              <a:extLst>
                <a:ext uri="{FF2B5EF4-FFF2-40B4-BE49-F238E27FC236}">
                  <a16:creationId xmlns:a16="http://schemas.microsoft.com/office/drawing/2014/main" id="{D0E6DDC8-A45C-42EB-BDCA-4D2CAD7414E1}"/>
                </a:ext>
              </a:extLst>
            </p:cNvPr>
            <p:cNvSpPr/>
            <p:nvPr/>
          </p:nvSpPr>
          <p:spPr>
            <a:xfrm>
              <a:off x="2211090" y="884780"/>
              <a:ext cx="130386" cy="169903"/>
            </a:xfrm>
            <a:custGeom>
              <a:avLst/>
              <a:gdLst>
                <a:gd name="connsiteX0" fmla="*/ 102308 w 130386"/>
                <a:gd name="connsiteY0" fmla="*/ 81968 h 169903"/>
                <a:gd name="connsiteX1" fmla="*/ 63721 w 130386"/>
                <a:gd name="connsiteY1" fmla="*/ 39419 h 169903"/>
                <a:gd name="connsiteX2" fmla="*/ 62742 w 130386"/>
                <a:gd name="connsiteY2" fmla="*/ 0 h 169903"/>
                <a:gd name="connsiteX3" fmla="*/ 93 w 130386"/>
                <a:gd name="connsiteY3" fmla="*/ 73067 h 169903"/>
                <a:gd name="connsiteX4" fmla="*/ 93 w 130386"/>
                <a:gd name="connsiteY4" fmla="*/ 73507 h 169903"/>
                <a:gd name="connsiteX5" fmla="*/ 77757 w 130386"/>
                <a:gd name="connsiteY5" fmla="*/ 101482 h 169903"/>
                <a:gd name="connsiteX6" fmla="*/ 78442 w 130386"/>
                <a:gd name="connsiteY6" fmla="*/ 101482 h 169903"/>
                <a:gd name="connsiteX7" fmla="*/ 121676 w 130386"/>
                <a:gd name="connsiteY7" fmla="*/ 118502 h 169903"/>
                <a:gd name="connsiteX8" fmla="*/ 115758 w 130386"/>
                <a:gd name="connsiteY8" fmla="*/ 169903 h 1699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30386" h="169903">
                  <a:moveTo>
                    <a:pt x="102308" y="81968"/>
                  </a:moveTo>
                  <a:cubicBezTo>
                    <a:pt x="95461" y="62112"/>
                    <a:pt x="68073" y="52477"/>
                    <a:pt x="63721" y="39419"/>
                  </a:cubicBezTo>
                  <a:cubicBezTo>
                    <a:pt x="58634" y="24013"/>
                    <a:pt x="62742" y="0"/>
                    <a:pt x="62742" y="0"/>
                  </a:cubicBezTo>
                  <a:cubicBezTo>
                    <a:pt x="62742" y="0"/>
                    <a:pt x="-2793" y="20590"/>
                    <a:pt x="93" y="73067"/>
                  </a:cubicBezTo>
                  <a:lnTo>
                    <a:pt x="93" y="73507"/>
                  </a:lnTo>
                  <a:cubicBezTo>
                    <a:pt x="93" y="73507"/>
                    <a:pt x="30855" y="95124"/>
                    <a:pt x="77757" y="101482"/>
                  </a:cubicBezTo>
                  <a:lnTo>
                    <a:pt x="78442" y="101482"/>
                  </a:lnTo>
                  <a:cubicBezTo>
                    <a:pt x="109595" y="105982"/>
                    <a:pt x="121676" y="118502"/>
                    <a:pt x="121676" y="118502"/>
                  </a:cubicBezTo>
                  <a:cubicBezTo>
                    <a:pt x="138157" y="136353"/>
                    <a:pt x="128425" y="158019"/>
                    <a:pt x="115758" y="169903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2" name="Forma livre: Forma 41">
              <a:extLst>
                <a:ext uri="{FF2B5EF4-FFF2-40B4-BE49-F238E27FC236}">
                  <a16:creationId xmlns:a16="http://schemas.microsoft.com/office/drawing/2014/main" id="{120F05C3-D69A-9C17-32FD-A29BE0133173}"/>
                </a:ext>
              </a:extLst>
            </p:cNvPr>
            <p:cNvSpPr/>
            <p:nvPr/>
          </p:nvSpPr>
          <p:spPr>
            <a:xfrm>
              <a:off x="2170753" y="937159"/>
              <a:ext cx="40478" cy="90086"/>
            </a:xfrm>
            <a:custGeom>
              <a:avLst/>
              <a:gdLst>
                <a:gd name="connsiteX0" fmla="*/ 40478 w 40478"/>
                <a:gd name="connsiteY0" fmla="*/ 0 h 90086"/>
                <a:gd name="connsiteX1" fmla="*/ 35196 w 40478"/>
                <a:gd name="connsiteY1" fmla="*/ 90087 h 900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0478" h="90086">
                  <a:moveTo>
                    <a:pt x="40478" y="0"/>
                  </a:moveTo>
                  <a:cubicBezTo>
                    <a:pt x="40478" y="0"/>
                    <a:pt x="-46967" y="40397"/>
                    <a:pt x="35196" y="90087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3" name="Forma livre: Forma 42">
              <a:extLst>
                <a:ext uri="{FF2B5EF4-FFF2-40B4-BE49-F238E27FC236}">
                  <a16:creationId xmlns:a16="http://schemas.microsoft.com/office/drawing/2014/main" id="{02591904-4418-AEE4-EEA8-D2364474CDBF}"/>
                </a:ext>
              </a:extLst>
            </p:cNvPr>
            <p:cNvSpPr/>
            <p:nvPr/>
          </p:nvSpPr>
          <p:spPr>
            <a:xfrm>
              <a:off x="2212503" y="1211723"/>
              <a:ext cx="33892" cy="26165"/>
            </a:xfrm>
            <a:custGeom>
              <a:avLst/>
              <a:gdLst>
                <a:gd name="connsiteX0" fmla="*/ 0 w 33892"/>
                <a:gd name="connsiteY0" fmla="*/ 0 h 26165"/>
                <a:gd name="connsiteX1" fmla="*/ 33893 w 33892"/>
                <a:gd name="connsiteY1" fmla="*/ 26165 h 261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3892" h="26165">
                  <a:moveTo>
                    <a:pt x="0" y="0"/>
                  </a:moveTo>
                  <a:lnTo>
                    <a:pt x="33893" y="26165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4" name="Forma livre: Forma 43">
              <a:extLst>
                <a:ext uri="{FF2B5EF4-FFF2-40B4-BE49-F238E27FC236}">
                  <a16:creationId xmlns:a16="http://schemas.microsoft.com/office/drawing/2014/main" id="{F9ACD2E8-EE0A-14F5-AB60-30FC0E0C0BDD}"/>
                </a:ext>
              </a:extLst>
            </p:cNvPr>
            <p:cNvSpPr/>
            <p:nvPr/>
          </p:nvSpPr>
          <p:spPr>
            <a:xfrm>
              <a:off x="2205950" y="1145308"/>
              <a:ext cx="58150" cy="46559"/>
            </a:xfrm>
            <a:custGeom>
              <a:avLst/>
              <a:gdLst>
                <a:gd name="connsiteX0" fmla="*/ 58150 w 58150"/>
                <a:gd name="connsiteY0" fmla="*/ 0 h 46559"/>
                <a:gd name="connsiteX1" fmla="*/ 0 w 58150"/>
                <a:gd name="connsiteY1" fmla="*/ 46560 h 465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8150" h="46559">
                  <a:moveTo>
                    <a:pt x="58150" y="0"/>
                  </a:moveTo>
                  <a:lnTo>
                    <a:pt x="0" y="4656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5" name="Forma livre: Forma 44">
              <a:extLst>
                <a:ext uri="{FF2B5EF4-FFF2-40B4-BE49-F238E27FC236}">
                  <a16:creationId xmlns:a16="http://schemas.microsoft.com/office/drawing/2014/main" id="{9E7DF47C-96E4-0387-99B8-78AF1D831573}"/>
                </a:ext>
              </a:extLst>
            </p:cNvPr>
            <p:cNvSpPr/>
            <p:nvPr/>
          </p:nvSpPr>
          <p:spPr>
            <a:xfrm>
              <a:off x="2189859" y="1120218"/>
              <a:ext cx="42011" cy="33207"/>
            </a:xfrm>
            <a:custGeom>
              <a:avLst/>
              <a:gdLst>
                <a:gd name="connsiteX0" fmla="*/ 42011 w 42011"/>
                <a:gd name="connsiteY0" fmla="*/ 0 h 33207"/>
                <a:gd name="connsiteX1" fmla="*/ 0 w 42011"/>
                <a:gd name="connsiteY1" fmla="*/ 33208 h 332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2011" h="33207">
                  <a:moveTo>
                    <a:pt x="42011" y="0"/>
                  </a:moveTo>
                  <a:lnTo>
                    <a:pt x="0" y="33208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6" name="Forma livre: Forma 45">
              <a:extLst>
                <a:ext uri="{FF2B5EF4-FFF2-40B4-BE49-F238E27FC236}">
                  <a16:creationId xmlns:a16="http://schemas.microsoft.com/office/drawing/2014/main" id="{898FDE95-5AC0-DCDE-7617-A310CDD7FA70}"/>
                </a:ext>
              </a:extLst>
            </p:cNvPr>
            <p:cNvSpPr/>
            <p:nvPr/>
          </p:nvSpPr>
          <p:spPr>
            <a:xfrm>
              <a:off x="2185849" y="1140710"/>
              <a:ext cx="76197" cy="87885"/>
            </a:xfrm>
            <a:custGeom>
              <a:avLst/>
              <a:gdLst>
                <a:gd name="connsiteX0" fmla="*/ 0 w 76197"/>
                <a:gd name="connsiteY0" fmla="*/ 0 h 87885"/>
                <a:gd name="connsiteX1" fmla="*/ 76197 w 76197"/>
                <a:gd name="connsiteY1" fmla="*/ 55607 h 87885"/>
                <a:gd name="connsiteX2" fmla="*/ 34479 w 76197"/>
                <a:gd name="connsiteY2" fmla="*/ 87886 h 878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76197" h="87885">
                  <a:moveTo>
                    <a:pt x="0" y="0"/>
                  </a:moveTo>
                  <a:lnTo>
                    <a:pt x="76197" y="55607"/>
                  </a:lnTo>
                  <a:lnTo>
                    <a:pt x="34479" y="87886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7" name="Forma livre: Forma 46">
              <a:extLst>
                <a:ext uri="{FF2B5EF4-FFF2-40B4-BE49-F238E27FC236}">
                  <a16:creationId xmlns:a16="http://schemas.microsoft.com/office/drawing/2014/main" id="{6A1575A3-7CEB-E035-34E1-6EAD18B49DB0}"/>
                </a:ext>
              </a:extLst>
            </p:cNvPr>
            <p:cNvSpPr/>
            <p:nvPr/>
          </p:nvSpPr>
          <p:spPr>
            <a:xfrm>
              <a:off x="2216612" y="1108627"/>
              <a:ext cx="61671" cy="46363"/>
            </a:xfrm>
            <a:custGeom>
              <a:avLst/>
              <a:gdLst>
                <a:gd name="connsiteX0" fmla="*/ 0 w 61671"/>
                <a:gd name="connsiteY0" fmla="*/ 0 h 46363"/>
                <a:gd name="connsiteX1" fmla="*/ 61672 w 61671"/>
                <a:gd name="connsiteY1" fmla="*/ 46364 h 463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1671" h="46363">
                  <a:moveTo>
                    <a:pt x="0" y="0"/>
                  </a:moveTo>
                  <a:lnTo>
                    <a:pt x="61672" y="46364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8" name="Forma livre: Forma 47">
              <a:extLst>
                <a:ext uri="{FF2B5EF4-FFF2-40B4-BE49-F238E27FC236}">
                  <a16:creationId xmlns:a16="http://schemas.microsoft.com/office/drawing/2014/main" id="{2FBD2352-3CD0-F865-7F6D-F9B5CCEA8312}"/>
                </a:ext>
              </a:extLst>
            </p:cNvPr>
            <p:cNvSpPr/>
            <p:nvPr/>
          </p:nvSpPr>
          <p:spPr>
            <a:xfrm>
              <a:off x="2149864" y="1012329"/>
              <a:ext cx="189701" cy="96898"/>
            </a:xfrm>
            <a:custGeom>
              <a:avLst/>
              <a:gdLst>
                <a:gd name="connsiteX0" fmla="*/ 32219 w 189701"/>
                <a:gd name="connsiteY0" fmla="*/ 0 h 96898"/>
                <a:gd name="connsiteX1" fmla="*/ 9184 w 189701"/>
                <a:gd name="connsiteY1" fmla="*/ 78251 h 96898"/>
                <a:gd name="connsiteX2" fmla="*/ 180554 w 189701"/>
                <a:gd name="connsiteY2" fmla="*/ 84805 h 96898"/>
                <a:gd name="connsiteX3" fmla="*/ 187597 w 189701"/>
                <a:gd name="connsiteY3" fmla="*/ 55314 h 96898"/>
                <a:gd name="connsiteX4" fmla="*/ 145586 w 189701"/>
                <a:gd name="connsiteY4" fmla="*/ 31545 h 9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9701" h="96898">
                  <a:moveTo>
                    <a:pt x="32219" y="0"/>
                  </a:moveTo>
                  <a:cubicBezTo>
                    <a:pt x="32219" y="0"/>
                    <a:pt x="-20796" y="31154"/>
                    <a:pt x="9184" y="78251"/>
                  </a:cubicBezTo>
                  <a:cubicBezTo>
                    <a:pt x="9184" y="78251"/>
                    <a:pt x="74133" y="115421"/>
                    <a:pt x="180554" y="84805"/>
                  </a:cubicBezTo>
                  <a:cubicBezTo>
                    <a:pt x="180554" y="84805"/>
                    <a:pt x="194982" y="82457"/>
                    <a:pt x="187597" y="55314"/>
                  </a:cubicBezTo>
                  <a:cubicBezTo>
                    <a:pt x="184516" y="44114"/>
                    <a:pt x="165393" y="37903"/>
                    <a:pt x="145586" y="31545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49" name="Gráfico 2">
            <a:extLst>
              <a:ext uri="{FF2B5EF4-FFF2-40B4-BE49-F238E27FC236}">
                <a16:creationId xmlns:a16="http://schemas.microsoft.com/office/drawing/2014/main" id="{23B808E2-0672-44A3-45A6-B6EEAE4E27B1}"/>
              </a:ext>
            </a:extLst>
          </p:cNvPr>
          <p:cNvGrpSpPr/>
          <p:nvPr/>
        </p:nvGrpSpPr>
        <p:grpSpPr>
          <a:xfrm>
            <a:off x="1418953" y="972016"/>
            <a:ext cx="379796" cy="221611"/>
            <a:chOff x="1418953" y="972016"/>
            <a:chExt cx="379796" cy="221611"/>
          </a:xfrm>
          <a:noFill/>
        </p:grpSpPr>
        <p:sp>
          <p:nvSpPr>
            <p:cNvPr id="50" name="Forma livre: Forma 49">
              <a:extLst>
                <a:ext uri="{FF2B5EF4-FFF2-40B4-BE49-F238E27FC236}">
                  <a16:creationId xmlns:a16="http://schemas.microsoft.com/office/drawing/2014/main" id="{280A573E-33B8-3731-4161-A8A40CF9FEFF}"/>
                </a:ext>
              </a:extLst>
            </p:cNvPr>
            <p:cNvSpPr/>
            <p:nvPr/>
          </p:nvSpPr>
          <p:spPr>
            <a:xfrm>
              <a:off x="1730133" y="1031354"/>
              <a:ext cx="68616" cy="133027"/>
            </a:xfrm>
            <a:custGeom>
              <a:avLst/>
              <a:gdLst>
                <a:gd name="connsiteX0" fmla="*/ 0 w 68616"/>
                <a:gd name="connsiteY0" fmla="*/ 0 h 133027"/>
                <a:gd name="connsiteX1" fmla="*/ 32328 w 68616"/>
                <a:gd name="connsiteY1" fmla="*/ 59569 h 133027"/>
                <a:gd name="connsiteX2" fmla="*/ 52184 w 68616"/>
                <a:gd name="connsiteY2" fmla="*/ 64704 h 133027"/>
                <a:gd name="connsiteX3" fmla="*/ 64606 w 68616"/>
                <a:gd name="connsiteY3" fmla="*/ 72236 h 133027"/>
                <a:gd name="connsiteX4" fmla="*/ 68519 w 68616"/>
                <a:gd name="connsiteY4" fmla="*/ 91554 h 133027"/>
                <a:gd name="connsiteX5" fmla="*/ 68519 w 68616"/>
                <a:gd name="connsiteY5" fmla="*/ 133027 h 133027"/>
                <a:gd name="connsiteX6" fmla="*/ 30127 w 68616"/>
                <a:gd name="connsiteY6" fmla="*/ 133027 h 1330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8616" h="133027">
                  <a:moveTo>
                    <a:pt x="0" y="0"/>
                  </a:moveTo>
                  <a:lnTo>
                    <a:pt x="32328" y="59569"/>
                  </a:lnTo>
                  <a:lnTo>
                    <a:pt x="52184" y="64704"/>
                  </a:lnTo>
                  <a:cubicBezTo>
                    <a:pt x="52184" y="64704"/>
                    <a:pt x="59716" y="66269"/>
                    <a:pt x="64606" y="72236"/>
                  </a:cubicBezTo>
                  <a:cubicBezTo>
                    <a:pt x="69595" y="78398"/>
                    <a:pt x="68519" y="91554"/>
                    <a:pt x="68519" y="91554"/>
                  </a:cubicBezTo>
                  <a:lnTo>
                    <a:pt x="68519" y="133027"/>
                  </a:lnTo>
                  <a:lnTo>
                    <a:pt x="30127" y="133027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51" name="Forma livre: Forma 50">
              <a:extLst>
                <a:ext uri="{FF2B5EF4-FFF2-40B4-BE49-F238E27FC236}">
                  <a16:creationId xmlns:a16="http://schemas.microsoft.com/office/drawing/2014/main" id="{0C41E490-AA85-671C-AAC1-9BD339CE39BB}"/>
                </a:ext>
              </a:extLst>
            </p:cNvPr>
            <p:cNvSpPr/>
            <p:nvPr/>
          </p:nvSpPr>
          <p:spPr>
            <a:xfrm>
              <a:off x="1418953" y="972016"/>
              <a:ext cx="372310" cy="192903"/>
            </a:xfrm>
            <a:custGeom>
              <a:avLst/>
              <a:gdLst>
                <a:gd name="connsiteX0" fmla="*/ 112177 w 372310"/>
                <a:gd name="connsiteY0" fmla="*/ 192512 h 192903"/>
                <a:gd name="connsiteX1" fmla="*/ 239042 w 372310"/>
                <a:gd name="connsiteY1" fmla="*/ 192512 h 192903"/>
                <a:gd name="connsiteX2" fmla="*/ 239042 w 372310"/>
                <a:gd name="connsiteY2" fmla="*/ 54888 h 192903"/>
                <a:gd name="connsiteX3" fmla="*/ 354756 w 372310"/>
                <a:gd name="connsiteY3" fmla="*/ 54888 h 192903"/>
                <a:gd name="connsiteX4" fmla="*/ 371434 w 372310"/>
                <a:gd name="connsiteY4" fmla="*/ 34689 h 192903"/>
                <a:gd name="connsiteX5" fmla="*/ 300763 w 372310"/>
                <a:gd name="connsiteY5" fmla="*/ 63 h 192903"/>
                <a:gd name="connsiteX6" fmla="*/ 18031 w 372310"/>
                <a:gd name="connsiteY6" fmla="*/ 63 h 192903"/>
                <a:gd name="connsiteX7" fmla="*/ 34 w 372310"/>
                <a:gd name="connsiteY7" fmla="*/ 19479 h 192903"/>
                <a:gd name="connsiteX8" fmla="*/ 34 w 372310"/>
                <a:gd name="connsiteY8" fmla="*/ 175346 h 192903"/>
                <a:gd name="connsiteX9" fmla="*/ 18471 w 372310"/>
                <a:gd name="connsiteY9" fmla="*/ 192903 h 192903"/>
                <a:gd name="connsiteX10" fmla="*/ 34268 w 372310"/>
                <a:gd name="connsiteY10" fmla="*/ 192806 h 1929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72310" h="192903">
                  <a:moveTo>
                    <a:pt x="112177" y="192512"/>
                  </a:moveTo>
                  <a:lnTo>
                    <a:pt x="239042" y="192512"/>
                  </a:lnTo>
                  <a:lnTo>
                    <a:pt x="239042" y="54888"/>
                  </a:lnTo>
                  <a:lnTo>
                    <a:pt x="354756" y="54888"/>
                  </a:lnTo>
                  <a:cubicBezTo>
                    <a:pt x="378085" y="54888"/>
                    <a:pt x="371434" y="34689"/>
                    <a:pt x="371434" y="34689"/>
                  </a:cubicBezTo>
                  <a:cubicBezTo>
                    <a:pt x="361457" y="-2431"/>
                    <a:pt x="300763" y="63"/>
                    <a:pt x="300763" y="63"/>
                  </a:cubicBezTo>
                  <a:lnTo>
                    <a:pt x="18031" y="63"/>
                  </a:lnTo>
                  <a:cubicBezTo>
                    <a:pt x="18031" y="63"/>
                    <a:pt x="34" y="-2138"/>
                    <a:pt x="34" y="19479"/>
                  </a:cubicBezTo>
                  <a:lnTo>
                    <a:pt x="34" y="175346"/>
                  </a:lnTo>
                  <a:cubicBezTo>
                    <a:pt x="34" y="175346"/>
                    <a:pt x="-1629" y="192903"/>
                    <a:pt x="18471" y="192903"/>
                  </a:cubicBezTo>
                  <a:lnTo>
                    <a:pt x="34268" y="192806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52" name="Forma livre: Forma 51">
              <a:extLst>
                <a:ext uri="{FF2B5EF4-FFF2-40B4-BE49-F238E27FC236}">
                  <a16:creationId xmlns:a16="http://schemas.microsoft.com/office/drawing/2014/main" id="{8417E317-7BF2-D264-351E-FD43B93FC16C}"/>
                </a:ext>
              </a:extLst>
            </p:cNvPr>
            <p:cNvSpPr/>
            <p:nvPr/>
          </p:nvSpPr>
          <p:spPr>
            <a:xfrm>
              <a:off x="1689883" y="1091950"/>
              <a:ext cx="73409" cy="4890"/>
            </a:xfrm>
            <a:custGeom>
              <a:avLst/>
              <a:gdLst>
                <a:gd name="connsiteX0" fmla="*/ 0 w 73409"/>
                <a:gd name="connsiteY0" fmla="*/ 0 h 4890"/>
                <a:gd name="connsiteX1" fmla="*/ 73409 w 73409"/>
                <a:gd name="connsiteY1" fmla="*/ 0 h 48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3409" h="4890">
                  <a:moveTo>
                    <a:pt x="0" y="0"/>
                  </a:moveTo>
                  <a:lnTo>
                    <a:pt x="73409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53" name="Forma livre: Forma 52">
              <a:extLst>
                <a:ext uri="{FF2B5EF4-FFF2-40B4-BE49-F238E27FC236}">
                  <a16:creationId xmlns:a16="http://schemas.microsoft.com/office/drawing/2014/main" id="{ECAFFE60-1F2D-6AFB-3DF0-978AF861683E}"/>
                </a:ext>
              </a:extLst>
            </p:cNvPr>
            <p:cNvSpPr/>
            <p:nvPr/>
          </p:nvSpPr>
          <p:spPr>
            <a:xfrm>
              <a:off x="1689883" y="1033115"/>
              <a:ext cx="4890" cy="57954"/>
            </a:xfrm>
            <a:custGeom>
              <a:avLst/>
              <a:gdLst>
                <a:gd name="connsiteX0" fmla="*/ 0 w 4890"/>
                <a:gd name="connsiteY0" fmla="*/ 57955 h 57954"/>
                <a:gd name="connsiteX1" fmla="*/ 0 w 4890"/>
                <a:gd name="connsiteY1" fmla="*/ 0 h 579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890" h="57954">
                  <a:moveTo>
                    <a:pt x="0" y="57955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54" name="Forma livre: Forma 53">
              <a:extLst>
                <a:ext uri="{FF2B5EF4-FFF2-40B4-BE49-F238E27FC236}">
                  <a16:creationId xmlns:a16="http://schemas.microsoft.com/office/drawing/2014/main" id="{CB4F10E5-18BD-E356-DE06-9EFA8EB3F68E}"/>
                </a:ext>
              </a:extLst>
            </p:cNvPr>
            <p:cNvSpPr/>
            <p:nvPr/>
          </p:nvSpPr>
          <p:spPr>
            <a:xfrm>
              <a:off x="1475377" y="1140319"/>
              <a:ext cx="53357" cy="53308"/>
            </a:xfrm>
            <a:custGeom>
              <a:avLst/>
              <a:gdLst>
                <a:gd name="connsiteX0" fmla="*/ 0 w 53357"/>
                <a:gd name="connsiteY0" fmla="*/ 26654 h 53308"/>
                <a:gd name="connsiteX1" fmla="*/ 26703 w 53357"/>
                <a:gd name="connsiteY1" fmla="*/ 53309 h 53308"/>
                <a:gd name="connsiteX2" fmla="*/ 53358 w 53357"/>
                <a:gd name="connsiteY2" fmla="*/ 26654 h 53308"/>
                <a:gd name="connsiteX3" fmla="*/ 26703 w 53357"/>
                <a:gd name="connsiteY3" fmla="*/ 0 h 53308"/>
                <a:gd name="connsiteX4" fmla="*/ 0 w 53357"/>
                <a:gd name="connsiteY4" fmla="*/ 26654 h 533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3357" h="53308">
                  <a:moveTo>
                    <a:pt x="0" y="26654"/>
                  </a:moveTo>
                  <a:cubicBezTo>
                    <a:pt x="0" y="41375"/>
                    <a:pt x="11933" y="53309"/>
                    <a:pt x="26703" y="53309"/>
                  </a:cubicBezTo>
                  <a:cubicBezTo>
                    <a:pt x="41473" y="53309"/>
                    <a:pt x="53358" y="41375"/>
                    <a:pt x="53358" y="26654"/>
                  </a:cubicBezTo>
                  <a:cubicBezTo>
                    <a:pt x="53358" y="11933"/>
                    <a:pt x="41424" y="0"/>
                    <a:pt x="26703" y="0"/>
                  </a:cubicBezTo>
                  <a:cubicBezTo>
                    <a:pt x="11982" y="0"/>
                    <a:pt x="0" y="11982"/>
                    <a:pt x="0" y="26654"/>
                  </a:cubicBez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55" name="Forma livre: Forma 54">
              <a:extLst>
                <a:ext uri="{FF2B5EF4-FFF2-40B4-BE49-F238E27FC236}">
                  <a16:creationId xmlns:a16="http://schemas.microsoft.com/office/drawing/2014/main" id="{2246D977-C4E0-ECA2-1F5D-F20DF126221B}"/>
                </a:ext>
              </a:extLst>
            </p:cNvPr>
            <p:cNvSpPr/>
            <p:nvPr/>
          </p:nvSpPr>
          <p:spPr>
            <a:xfrm>
              <a:off x="1706022" y="1140319"/>
              <a:ext cx="53357" cy="53308"/>
            </a:xfrm>
            <a:custGeom>
              <a:avLst/>
              <a:gdLst>
                <a:gd name="connsiteX0" fmla="*/ 0 w 53357"/>
                <a:gd name="connsiteY0" fmla="*/ 26654 h 53308"/>
                <a:gd name="connsiteX1" fmla="*/ 26703 w 53357"/>
                <a:gd name="connsiteY1" fmla="*/ 53309 h 53308"/>
                <a:gd name="connsiteX2" fmla="*/ 53358 w 53357"/>
                <a:gd name="connsiteY2" fmla="*/ 26654 h 53308"/>
                <a:gd name="connsiteX3" fmla="*/ 26703 w 53357"/>
                <a:gd name="connsiteY3" fmla="*/ 0 h 53308"/>
                <a:gd name="connsiteX4" fmla="*/ 0 w 53357"/>
                <a:gd name="connsiteY4" fmla="*/ 26654 h 533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3357" h="53308">
                  <a:moveTo>
                    <a:pt x="0" y="26654"/>
                  </a:moveTo>
                  <a:cubicBezTo>
                    <a:pt x="0" y="41375"/>
                    <a:pt x="11933" y="53309"/>
                    <a:pt x="26703" y="53309"/>
                  </a:cubicBezTo>
                  <a:cubicBezTo>
                    <a:pt x="41473" y="53309"/>
                    <a:pt x="53358" y="41375"/>
                    <a:pt x="53358" y="26654"/>
                  </a:cubicBezTo>
                  <a:cubicBezTo>
                    <a:pt x="53358" y="11933"/>
                    <a:pt x="41424" y="0"/>
                    <a:pt x="26703" y="0"/>
                  </a:cubicBezTo>
                  <a:cubicBezTo>
                    <a:pt x="11982" y="0"/>
                    <a:pt x="0" y="11982"/>
                    <a:pt x="0" y="26654"/>
                  </a:cubicBez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56" name="Forma livre: Forma 55">
              <a:extLst>
                <a:ext uri="{FF2B5EF4-FFF2-40B4-BE49-F238E27FC236}">
                  <a16:creationId xmlns:a16="http://schemas.microsoft.com/office/drawing/2014/main" id="{C6FF35A6-BE6B-E871-6792-4ED54908851B}"/>
                </a:ext>
              </a:extLst>
            </p:cNvPr>
            <p:cNvSpPr/>
            <p:nvPr/>
          </p:nvSpPr>
          <p:spPr>
            <a:xfrm>
              <a:off x="1568642" y="1026023"/>
              <a:ext cx="54775" cy="115567"/>
            </a:xfrm>
            <a:custGeom>
              <a:avLst/>
              <a:gdLst>
                <a:gd name="connsiteX0" fmla="*/ 0 w 54775"/>
                <a:gd name="connsiteY0" fmla="*/ 115567 h 115567"/>
                <a:gd name="connsiteX1" fmla="*/ 0 w 54775"/>
                <a:gd name="connsiteY1" fmla="*/ 0 h 115567"/>
                <a:gd name="connsiteX2" fmla="*/ 54776 w 54775"/>
                <a:gd name="connsiteY2" fmla="*/ 0 h 115567"/>
                <a:gd name="connsiteX3" fmla="*/ 54776 w 54775"/>
                <a:gd name="connsiteY3" fmla="*/ 115567 h 115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4775" h="115567">
                  <a:moveTo>
                    <a:pt x="0" y="115567"/>
                  </a:moveTo>
                  <a:lnTo>
                    <a:pt x="0" y="0"/>
                  </a:lnTo>
                  <a:lnTo>
                    <a:pt x="54776" y="0"/>
                  </a:lnTo>
                  <a:lnTo>
                    <a:pt x="54776" y="115567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57" name="Forma livre: Forma 56">
              <a:extLst>
                <a:ext uri="{FF2B5EF4-FFF2-40B4-BE49-F238E27FC236}">
                  <a16:creationId xmlns:a16="http://schemas.microsoft.com/office/drawing/2014/main" id="{01B51472-82C6-E642-FEA7-31121D8BFF24}"/>
                </a:ext>
              </a:extLst>
            </p:cNvPr>
            <p:cNvSpPr/>
            <p:nvPr/>
          </p:nvSpPr>
          <p:spPr>
            <a:xfrm>
              <a:off x="1460118" y="1027637"/>
              <a:ext cx="67198" cy="51107"/>
            </a:xfrm>
            <a:custGeom>
              <a:avLst/>
              <a:gdLst>
                <a:gd name="connsiteX0" fmla="*/ 0 w 67198"/>
                <a:gd name="connsiteY0" fmla="*/ 0 h 51107"/>
                <a:gd name="connsiteX1" fmla="*/ 67198 w 67198"/>
                <a:gd name="connsiteY1" fmla="*/ 0 h 51107"/>
                <a:gd name="connsiteX2" fmla="*/ 67198 w 67198"/>
                <a:gd name="connsiteY2" fmla="*/ 51108 h 51107"/>
                <a:gd name="connsiteX3" fmla="*/ 0 w 67198"/>
                <a:gd name="connsiteY3" fmla="*/ 51108 h 511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7198" h="51107">
                  <a:moveTo>
                    <a:pt x="0" y="0"/>
                  </a:moveTo>
                  <a:lnTo>
                    <a:pt x="67198" y="0"/>
                  </a:lnTo>
                  <a:lnTo>
                    <a:pt x="67198" y="51108"/>
                  </a:lnTo>
                  <a:lnTo>
                    <a:pt x="0" y="51108"/>
                  </a:ln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58" name="Forma livre: Forma 57">
              <a:extLst>
                <a:ext uri="{FF2B5EF4-FFF2-40B4-BE49-F238E27FC236}">
                  <a16:creationId xmlns:a16="http://schemas.microsoft.com/office/drawing/2014/main" id="{7DA0F7F5-3676-A407-24A8-8141B8ACA44B}"/>
                </a:ext>
              </a:extLst>
            </p:cNvPr>
            <p:cNvSpPr/>
            <p:nvPr/>
          </p:nvSpPr>
          <p:spPr>
            <a:xfrm>
              <a:off x="1705240" y="998782"/>
              <a:ext cx="26360" cy="4890"/>
            </a:xfrm>
            <a:custGeom>
              <a:avLst/>
              <a:gdLst>
                <a:gd name="connsiteX0" fmla="*/ 26361 w 26360"/>
                <a:gd name="connsiteY0" fmla="*/ 0 h 4890"/>
                <a:gd name="connsiteX1" fmla="*/ 0 w 26360"/>
                <a:gd name="connsiteY1" fmla="*/ 0 h 48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6360" h="4890">
                  <a:moveTo>
                    <a:pt x="26361" y="0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59" name="Forma livre: Forma 58">
              <a:extLst>
                <a:ext uri="{FF2B5EF4-FFF2-40B4-BE49-F238E27FC236}">
                  <a16:creationId xmlns:a16="http://schemas.microsoft.com/office/drawing/2014/main" id="{9A4BCBB4-206B-D276-27C4-25DBC605776C}"/>
                </a:ext>
              </a:extLst>
            </p:cNvPr>
            <p:cNvSpPr/>
            <p:nvPr/>
          </p:nvSpPr>
          <p:spPr>
            <a:xfrm>
              <a:off x="1642247" y="1164528"/>
              <a:ext cx="40446" cy="4890"/>
            </a:xfrm>
            <a:custGeom>
              <a:avLst/>
              <a:gdLst>
                <a:gd name="connsiteX0" fmla="*/ 0 w 40446"/>
                <a:gd name="connsiteY0" fmla="*/ 0 h 4890"/>
                <a:gd name="connsiteX1" fmla="*/ 40446 w 40446"/>
                <a:gd name="connsiteY1" fmla="*/ 0 h 48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0446" h="4890">
                  <a:moveTo>
                    <a:pt x="0" y="0"/>
                  </a:moveTo>
                  <a:lnTo>
                    <a:pt x="40446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60" name="Gráfico 2">
            <a:extLst>
              <a:ext uri="{FF2B5EF4-FFF2-40B4-BE49-F238E27FC236}">
                <a16:creationId xmlns:a16="http://schemas.microsoft.com/office/drawing/2014/main" id="{9F356F73-D283-7715-CF0C-422AA73F939F}"/>
              </a:ext>
            </a:extLst>
          </p:cNvPr>
          <p:cNvGrpSpPr/>
          <p:nvPr/>
        </p:nvGrpSpPr>
        <p:grpSpPr>
          <a:xfrm>
            <a:off x="839189" y="1470295"/>
            <a:ext cx="265521" cy="332132"/>
            <a:chOff x="839189" y="1470295"/>
            <a:chExt cx="265521" cy="332132"/>
          </a:xfrm>
          <a:noFill/>
        </p:grpSpPr>
        <p:sp>
          <p:nvSpPr>
            <p:cNvPr id="61" name="Forma livre: Forma 60">
              <a:extLst>
                <a:ext uri="{FF2B5EF4-FFF2-40B4-BE49-F238E27FC236}">
                  <a16:creationId xmlns:a16="http://schemas.microsoft.com/office/drawing/2014/main" id="{280DD4C1-78F8-4EB2-5324-D2289E3F41AD}"/>
                </a:ext>
              </a:extLst>
            </p:cNvPr>
            <p:cNvSpPr/>
            <p:nvPr/>
          </p:nvSpPr>
          <p:spPr>
            <a:xfrm>
              <a:off x="870250" y="1470295"/>
              <a:ext cx="234460" cy="234509"/>
            </a:xfrm>
            <a:custGeom>
              <a:avLst/>
              <a:gdLst>
                <a:gd name="connsiteX0" fmla="*/ 0 w 234460"/>
                <a:gd name="connsiteY0" fmla="*/ 234509 h 234509"/>
                <a:gd name="connsiteX1" fmla="*/ 68910 w 234460"/>
                <a:gd name="connsiteY1" fmla="*/ 0 h 234509"/>
                <a:gd name="connsiteX2" fmla="*/ 226342 w 234460"/>
                <a:gd name="connsiteY2" fmla="*/ 8119 h 234509"/>
                <a:gd name="connsiteX3" fmla="*/ 234460 w 234460"/>
                <a:gd name="connsiteY3" fmla="*/ 165599 h 234509"/>
                <a:gd name="connsiteX4" fmla="*/ 0 w 234460"/>
                <a:gd name="connsiteY4" fmla="*/ 234509 h 2345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4460" h="234509">
                  <a:moveTo>
                    <a:pt x="0" y="234509"/>
                  </a:moveTo>
                  <a:lnTo>
                    <a:pt x="68910" y="0"/>
                  </a:lnTo>
                  <a:lnTo>
                    <a:pt x="226342" y="8119"/>
                  </a:lnTo>
                  <a:lnTo>
                    <a:pt x="234460" y="165599"/>
                  </a:lnTo>
                  <a:lnTo>
                    <a:pt x="0" y="234509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2" name="Forma livre: Forma 61">
              <a:extLst>
                <a:ext uri="{FF2B5EF4-FFF2-40B4-BE49-F238E27FC236}">
                  <a16:creationId xmlns:a16="http://schemas.microsoft.com/office/drawing/2014/main" id="{B72DC7E5-4EED-1DC7-7308-3E31AB2397FC}"/>
                </a:ext>
              </a:extLst>
            </p:cNvPr>
            <p:cNvSpPr/>
            <p:nvPr/>
          </p:nvSpPr>
          <p:spPr>
            <a:xfrm>
              <a:off x="940676" y="1472838"/>
              <a:ext cx="64850" cy="64850"/>
            </a:xfrm>
            <a:custGeom>
              <a:avLst/>
              <a:gdLst>
                <a:gd name="connsiteX0" fmla="*/ 0 w 64850"/>
                <a:gd name="connsiteY0" fmla="*/ 0 h 64850"/>
                <a:gd name="connsiteX1" fmla="*/ 64851 w 64850"/>
                <a:gd name="connsiteY1" fmla="*/ 64851 h 648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4850" h="64850">
                  <a:moveTo>
                    <a:pt x="0" y="0"/>
                  </a:moveTo>
                  <a:lnTo>
                    <a:pt x="64851" y="64851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3" name="Forma livre: Forma 62">
              <a:extLst>
                <a:ext uri="{FF2B5EF4-FFF2-40B4-BE49-F238E27FC236}">
                  <a16:creationId xmlns:a16="http://schemas.microsoft.com/office/drawing/2014/main" id="{0AC42F3A-6B02-BB08-22AD-108A7B5241AA}"/>
                </a:ext>
              </a:extLst>
            </p:cNvPr>
            <p:cNvSpPr/>
            <p:nvPr/>
          </p:nvSpPr>
          <p:spPr>
            <a:xfrm>
              <a:off x="1023329" y="1555491"/>
              <a:ext cx="78153" cy="78153"/>
            </a:xfrm>
            <a:custGeom>
              <a:avLst/>
              <a:gdLst>
                <a:gd name="connsiteX0" fmla="*/ 0 w 78153"/>
                <a:gd name="connsiteY0" fmla="*/ 0 h 78153"/>
                <a:gd name="connsiteX1" fmla="*/ 78153 w 78153"/>
                <a:gd name="connsiteY1" fmla="*/ 78153 h 781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8153" h="78153">
                  <a:moveTo>
                    <a:pt x="0" y="0"/>
                  </a:moveTo>
                  <a:lnTo>
                    <a:pt x="78153" y="78153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4" name="Forma livre: Forma 63">
              <a:extLst>
                <a:ext uri="{FF2B5EF4-FFF2-40B4-BE49-F238E27FC236}">
                  <a16:creationId xmlns:a16="http://schemas.microsoft.com/office/drawing/2014/main" id="{FD01648A-3065-C002-6B8D-FE22A12A73F4}"/>
                </a:ext>
              </a:extLst>
            </p:cNvPr>
            <p:cNvSpPr/>
            <p:nvPr/>
          </p:nvSpPr>
          <p:spPr>
            <a:xfrm>
              <a:off x="839189" y="1704364"/>
              <a:ext cx="180912" cy="98063"/>
            </a:xfrm>
            <a:custGeom>
              <a:avLst/>
              <a:gdLst>
                <a:gd name="connsiteX0" fmla="*/ 180912 w 180912"/>
                <a:gd name="connsiteY0" fmla="*/ 50374 h 98063"/>
                <a:gd name="connsiteX1" fmla="*/ 112834 w 180912"/>
                <a:gd name="connsiteY1" fmla="*/ 51793 h 98063"/>
                <a:gd name="connsiteX2" fmla="*/ 81337 w 180912"/>
                <a:gd name="connsiteY2" fmla="*/ 83289 h 98063"/>
                <a:gd name="connsiteX3" fmla="*/ 13308 w 180912"/>
                <a:gd name="connsiteY3" fmla="*/ 84756 h 98063"/>
                <a:gd name="connsiteX4" fmla="*/ 14775 w 180912"/>
                <a:gd name="connsiteY4" fmla="*/ 16726 h 98063"/>
                <a:gd name="connsiteX5" fmla="*/ 31501 w 180912"/>
                <a:gd name="connsiteY5" fmla="*/ 0 h 980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0912" h="98063">
                  <a:moveTo>
                    <a:pt x="180912" y="50374"/>
                  </a:moveTo>
                  <a:cubicBezTo>
                    <a:pt x="162572" y="32083"/>
                    <a:pt x="131956" y="32670"/>
                    <a:pt x="112834" y="51793"/>
                  </a:cubicBezTo>
                  <a:lnTo>
                    <a:pt x="81337" y="83289"/>
                  </a:lnTo>
                  <a:cubicBezTo>
                    <a:pt x="62215" y="102411"/>
                    <a:pt x="31599" y="103047"/>
                    <a:pt x="13308" y="84756"/>
                  </a:cubicBezTo>
                  <a:cubicBezTo>
                    <a:pt x="-4984" y="66416"/>
                    <a:pt x="-4348" y="35849"/>
                    <a:pt x="14775" y="16726"/>
                  </a:cubicBezTo>
                  <a:lnTo>
                    <a:pt x="31501" y="0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5" name="Forma livre: Forma 64">
              <a:extLst>
                <a:ext uri="{FF2B5EF4-FFF2-40B4-BE49-F238E27FC236}">
                  <a16:creationId xmlns:a16="http://schemas.microsoft.com/office/drawing/2014/main" id="{1C31DAF2-7D7D-15FD-20F1-A25104AE3438}"/>
                </a:ext>
              </a:extLst>
            </p:cNvPr>
            <p:cNvSpPr/>
            <p:nvPr/>
          </p:nvSpPr>
          <p:spPr>
            <a:xfrm>
              <a:off x="874456" y="1482864"/>
              <a:ext cx="217734" cy="217685"/>
            </a:xfrm>
            <a:custGeom>
              <a:avLst/>
              <a:gdLst>
                <a:gd name="connsiteX0" fmla="*/ 217734 w 217734"/>
                <a:gd name="connsiteY0" fmla="*/ 0 h 217685"/>
                <a:gd name="connsiteX1" fmla="*/ 0 w 217734"/>
                <a:gd name="connsiteY1" fmla="*/ 217685 h 2176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17734" h="217685">
                  <a:moveTo>
                    <a:pt x="217734" y="0"/>
                  </a:moveTo>
                  <a:lnTo>
                    <a:pt x="0" y="217685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66" name="Gráfico 2">
            <a:extLst>
              <a:ext uri="{FF2B5EF4-FFF2-40B4-BE49-F238E27FC236}">
                <a16:creationId xmlns:a16="http://schemas.microsoft.com/office/drawing/2014/main" id="{83D80DAC-661E-AA6C-20C4-51DF0BF92F6C}"/>
              </a:ext>
            </a:extLst>
          </p:cNvPr>
          <p:cNvGrpSpPr/>
          <p:nvPr/>
        </p:nvGrpSpPr>
        <p:grpSpPr>
          <a:xfrm>
            <a:off x="2064266" y="1538765"/>
            <a:ext cx="362743" cy="181347"/>
            <a:chOff x="2064266" y="1538765"/>
            <a:chExt cx="362743" cy="181347"/>
          </a:xfrm>
        </p:grpSpPr>
        <p:sp>
          <p:nvSpPr>
            <p:cNvPr id="67" name="Forma livre: Forma 66">
              <a:extLst>
                <a:ext uri="{FF2B5EF4-FFF2-40B4-BE49-F238E27FC236}">
                  <a16:creationId xmlns:a16="http://schemas.microsoft.com/office/drawing/2014/main" id="{06988582-7AAB-2298-DEB4-4B6CA53C5952}"/>
                </a:ext>
              </a:extLst>
            </p:cNvPr>
            <p:cNvSpPr/>
            <p:nvPr/>
          </p:nvSpPr>
          <p:spPr>
            <a:xfrm>
              <a:off x="2241799" y="1630955"/>
              <a:ext cx="7776" cy="11639"/>
            </a:xfrm>
            <a:custGeom>
              <a:avLst/>
              <a:gdLst>
                <a:gd name="connsiteX0" fmla="*/ 3864 w 7776"/>
                <a:gd name="connsiteY0" fmla="*/ 11640 h 11639"/>
                <a:gd name="connsiteX1" fmla="*/ 0 w 7776"/>
                <a:gd name="connsiteY1" fmla="*/ 9194 h 11639"/>
                <a:gd name="connsiteX2" fmla="*/ 3864 w 7776"/>
                <a:gd name="connsiteY2" fmla="*/ 0 h 11639"/>
                <a:gd name="connsiteX3" fmla="*/ 7776 w 7776"/>
                <a:gd name="connsiteY3" fmla="*/ 9341 h 11639"/>
                <a:gd name="connsiteX4" fmla="*/ 3864 w 7776"/>
                <a:gd name="connsiteY4" fmla="*/ 11640 h 11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776" h="11639">
                  <a:moveTo>
                    <a:pt x="3864" y="11640"/>
                  </a:moveTo>
                  <a:cubicBezTo>
                    <a:pt x="1614" y="11640"/>
                    <a:pt x="0" y="10319"/>
                    <a:pt x="0" y="9194"/>
                  </a:cubicBezTo>
                  <a:cubicBezTo>
                    <a:pt x="147" y="7874"/>
                    <a:pt x="1712" y="4255"/>
                    <a:pt x="3864" y="0"/>
                  </a:cubicBezTo>
                  <a:cubicBezTo>
                    <a:pt x="6064" y="4304"/>
                    <a:pt x="7629" y="7972"/>
                    <a:pt x="7776" y="9341"/>
                  </a:cubicBezTo>
                  <a:cubicBezTo>
                    <a:pt x="7776" y="10319"/>
                    <a:pt x="6113" y="11640"/>
                    <a:pt x="3864" y="11640"/>
                  </a:cubicBezTo>
                  <a:close/>
                </a:path>
              </a:pathLst>
            </a:custGeom>
            <a:solidFill>
              <a:srgbClr val="39434E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68" name="Gráfico 2">
              <a:extLst>
                <a:ext uri="{FF2B5EF4-FFF2-40B4-BE49-F238E27FC236}">
                  <a16:creationId xmlns:a16="http://schemas.microsoft.com/office/drawing/2014/main" id="{DF0DDC61-00C5-75FC-8529-70DD356EF514}"/>
                </a:ext>
              </a:extLst>
            </p:cNvPr>
            <p:cNvGrpSpPr/>
            <p:nvPr/>
          </p:nvGrpSpPr>
          <p:grpSpPr>
            <a:xfrm>
              <a:off x="2154084" y="1581412"/>
              <a:ext cx="183156" cy="8069"/>
              <a:chOff x="2154084" y="1581412"/>
              <a:chExt cx="183156" cy="8069"/>
            </a:xfrm>
            <a:solidFill>
              <a:srgbClr val="39434E"/>
            </a:solidFill>
          </p:grpSpPr>
          <p:sp>
            <p:nvSpPr>
              <p:cNvPr id="69" name="Forma livre: Forma 68">
                <a:extLst>
                  <a:ext uri="{FF2B5EF4-FFF2-40B4-BE49-F238E27FC236}">
                    <a16:creationId xmlns:a16="http://schemas.microsoft.com/office/drawing/2014/main" id="{9338AD3F-A889-D3CC-B17D-ADA486C8A00E}"/>
                  </a:ext>
                </a:extLst>
              </p:cNvPr>
              <p:cNvSpPr/>
              <p:nvPr/>
            </p:nvSpPr>
            <p:spPr>
              <a:xfrm>
                <a:off x="2154084" y="1581412"/>
                <a:ext cx="10832" cy="8069"/>
              </a:xfrm>
              <a:custGeom>
                <a:avLst/>
                <a:gdLst>
                  <a:gd name="connsiteX0" fmla="*/ 3986 w 10832"/>
                  <a:gd name="connsiteY0" fmla="*/ 8070 h 8069"/>
                  <a:gd name="connsiteX1" fmla="*/ 660 w 10832"/>
                  <a:gd name="connsiteY1" fmla="*/ 5673 h 8069"/>
                  <a:gd name="connsiteX2" fmla="*/ 73 w 10832"/>
                  <a:gd name="connsiteY2" fmla="*/ 2445 h 8069"/>
                  <a:gd name="connsiteX3" fmla="*/ 905 w 10832"/>
                  <a:gd name="connsiteY3" fmla="*/ 1076 h 8069"/>
                  <a:gd name="connsiteX4" fmla="*/ 10833 w 10832"/>
                  <a:gd name="connsiteY4" fmla="*/ 0 h 8069"/>
                  <a:gd name="connsiteX5" fmla="*/ 4524 w 10832"/>
                  <a:gd name="connsiteY5" fmla="*/ 7923 h 8069"/>
                  <a:gd name="connsiteX6" fmla="*/ 3937 w 10832"/>
                  <a:gd name="connsiteY6" fmla="*/ 8021 h 8069"/>
                  <a:gd name="connsiteX7" fmla="*/ 3937 w 10832"/>
                  <a:gd name="connsiteY7" fmla="*/ 8021 h 80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0832" h="8069">
                    <a:moveTo>
                      <a:pt x="3986" y="8070"/>
                    </a:moveTo>
                    <a:cubicBezTo>
                      <a:pt x="3008" y="8070"/>
                      <a:pt x="1541" y="7336"/>
                      <a:pt x="660" y="5673"/>
                    </a:cubicBezTo>
                    <a:cubicBezTo>
                      <a:pt x="73" y="4597"/>
                      <a:pt x="-122" y="3423"/>
                      <a:pt x="73" y="2445"/>
                    </a:cubicBezTo>
                    <a:cubicBezTo>
                      <a:pt x="171" y="2054"/>
                      <a:pt x="367" y="1418"/>
                      <a:pt x="905" y="1076"/>
                    </a:cubicBezTo>
                    <a:cubicBezTo>
                      <a:pt x="1589" y="783"/>
                      <a:pt x="4622" y="245"/>
                      <a:pt x="10833" y="0"/>
                    </a:cubicBezTo>
                    <a:cubicBezTo>
                      <a:pt x="8143" y="3961"/>
                      <a:pt x="5698" y="7140"/>
                      <a:pt x="4524" y="7923"/>
                    </a:cubicBezTo>
                    <a:cubicBezTo>
                      <a:pt x="4475" y="7923"/>
                      <a:pt x="4230" y="8021"/>
                      <a:pt x="3937" y="8021"/>
                    </a:cubicBezTo>
                    <a:lnTo>
                      <a:pt x="3937" y="8021"/>
                    </a:lnTo>
                    <a:close/>
                  </a:path>
                </a:pathLst>
              </a:custGeom>
              <a:solidFill>
                <a:srgbClr val="39434E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0" name="Forma livre: Forma 69">
                <a:extLst>
                  <a:ext uri="{FF2B5EF4-FFF2-40B4-BE49-F238E27FC236}">
                    <a16:creationId xmlns:a16="http://schemas.microsoft.com/office/drawing/2014/main" id="{6F8604FC-BC97-DAFD-995B-C87A2AB959D5}"/>
                  </a:ext>
                </a:extLst>
              </p:cNvPr>
              <p:cNvSpPr/>
              <p:nvPr/>
            </p:nvSpPr>
            <p:spPr>
              <a:xfrm>
                <a:off x="2326408" y="1581412"/>
                <a:ext cx="10832" cy="8069"/>
              </a:xfrm>
              <a:custGeom>
                <a:avLst/>
                <a:gdLst>
                  <a:gd name="connsiteX0" fmla="*/ 6847 w 10832"/>
                  <a:gd name="connsiteY0" fmla="*/ 8070 h 8069"/>
                  <a:gd name="connsiteX1" fmla="*/ 10173 w 10832"/>
                  <a:gd name="connsiteY1" fmla="*/ 5673 h 8069"/>
                  <a:gd name="connsiteX2" fmla="*/ 10760 w 10832"/>
                  <a:gd name="connsiteY2" fmla="*/ 2445 h 8069"/>
                  <a:gd name="connsiteX3" fmla="*/ 9928 w 10832"/>
                  <a:gd name="connsiteY3" fmla="*/ 1076 h 8069"/>
                  <a:gd name="connsiteX4" fmla="*/ 0 w 10832"/>
                  <a:gd name="connsiteY4" fmla="*/ 0 h 8069"/>
                  <a:gd name="connsiteX5" fmla="*/ 6309 w 10832"/>
                  <a:gd name="connsiteY5" fmla="*/ 7923 h 8069"/>
                  <a:gd name="connsiteX6" fmla="*/ 6896 w 10832"/>
                  <a:gd name="connsiteY6" fmla="*/ 8021 h 8069"/>
                  <a:gd name="connsiteX7" fmla="*/ 6896 w 10832"/>
                  <a:gd name="connsiteY7" fmla="*/ 8021 h 80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0832" h="8069">
                    <a:moveTo>
                      <a:pt x="6847" y="8070"/>
                    </a:moveTo>
                    <a:cubicBezTo>
                      <a:pt x="7825" y="8070"/>
                      <a:pt x="9292" y="7336"/>
                      <a:pt x="10173" y="5673"/>
                    </a:cubicBezTo>
                    <a:cubicBezTo>
                      <a:pt x="10760" y="4597"/>
                      <a:pt x="10955" y="3423"/>
                      <a:pt x="10760" y="2445"/>
                    </a:cubicBezTo>
                    <a:cubicBezTo>
                      <a:pt x="10662" y="2054"/>
                      <a:pt x="10466" y="1418"/>
                      <a:pt x="9928" y="1076"/>
                    </a:cubicBezTo>
                    <a:cubicBezTo>
                      <a:pt x="9244" y="783"/>
                      <a:pt x="6211" y="245"/>
                      <a:pt x="0" y="0"/>
                    </a:cubicBezTo>
                    <a:cubicBezTo>
                      <a:pt x="2690" y="3961"/>
                      <a:pt x="5135" y="7140"/>
                      <a:pt x="6309" y="7923"/>
                    </a:cubicBezTo>
                    <a:cubicBezTo>
                      <a:pt x="6358" y="7923"/>
                      <a:pt x="6602" y="8021"/>
                      <a:pt x="6896" y="8021"/>
                    </a:cubicBezTo>
                    <a:lnTo>
                      <a:pt x="6896" y="8021"/>
                    </a:lnTo>
                    <a:close/>
                  </a:path>
                </a:pathLst>
              </a:custGeom>
              <a:solidFill>
                <a:srgbClr val="39434E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71" name="Gráfico 2">
              <a:extLst>
                <a:ext uri="{FF2B5EF4-FFF2-40B4-BE49-F238E27FC236}">
                  <a16:creationId xmlns:a16="http://schemas.microsoft.com/office/drawing/2014/main" id="{B206F081-3C8E-AC47-F429-7C4476650C88}"/>
                </a:ext>
              </a:extLst>
            </p:cNvPr>
            <p:cNvGrpSpPr/>
            <p:nvPr/>
          </p:nvGrpSpPr>
          <p:grpSpPr>
            <a:xfrm>
              <a:off x="2192139" y="1614131"/>
              <a:ext cx="107095" cy="10567"/>
              <a:chOff x="2192139" y="1614131"/>
              <a:chExt cx="107095" cy="10567"/>
            </a:xfrm>
            <a:solidFill>
              <a:srgbClr val="39434E"/>
            </a:solidFill>
          </p:grpSpPr>
          <p:sp>
            <p:nvSpPr>
              <p:cNvPr id="72" name="Forma livre: Forma 71">
                <a:extLst>
                  <a:ext uri="{FF2B5EF4-FFF2-40B4-BE49-F238E27FC236}">
                    <a16:creationId xmlns:a16="http://schemas.microsoft.com/office/drawing/2014/main" id="{4183F115-AB22-588F-CAC4-53C4081640AC}"/>
                  </a:ext>
                </a:extLst>
              </p:cNvPr>
              <p:cNvSpPr/>
              <p:nvPr/>
            </p:nvSpPr>
            <p:spPr>
              <a:xfrm>
                <a:off x="2192139" y="1614131"/>
                <a:ext cx="8479" cy="10567"/>
              </a:xfrm>
              <a:custGeom>
                <a:avLst/>
                <a:gdLst>
                  <a:gd name="connsiteX0" fmla="*/ 6181 w 8479"/>
                  <a:gd name="connsiteY0" fmla="*/ 10270 h 10567"/>
                  <a:gd name="connsiteX1" fmla="*/ 2122 w 8479"/>
                  <a:gd name="connsiteY1" fmla="*/ 9732 h 10567"/>
                  <a:gd name="connsiteX2" fmla="*/ 117 w 8479"/>
                  <a:gd name="connsiteY2" fmla="*/ 7140 h 10567"/>
                  <a:gd name="connsiteX3" fmla="*/ 214 w 8479"/>
                  <a:gd name="connsiteY3" fmla="*/ 5575 h 10567"/>
                  <a:gd name="connsiteX4" fmla="*/ 8480 w 8479"/>
                  <a:gd name="connsiteY4" fmla="*/ 0 h 10567"/>
                  <a:gd name="connsiteX5" fmla="*/ 6621 w 8479"/>
                  <a:gd name="connsiteY5" fmla="*/ 9977 h 10567"/>
                  <a:gd name="connsiteX6" fmla="*/ 6181 w 8479"/>
                  <a:gd name="connsiteY6" fmla="*/ 10319 h 10567"/>
                  <a:gd name="connsiteX7" fmla="*/ 6181 w 8479"/>
                  <a:gd name="connsiteY7" fmla="*/ 10319 h 105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8479" h="10567">
                    <a:moveTo>
                      <a:pt x="6181" y="10270"/>
                    </a:moveTo>
                    <a:cubicBezTo>
                      <a:pt x="5301" y="10711"/>
                      <a:pt x="3687" y="10760"/>
                      <a:pt x="2122" y="9732"/>
                    </a:cubicBezTo>
                    <a:cubicBezTo>
                      <a:pt x="1095" y="9048"/>
                      <a:pt x="361" y="8119"/>
                      <a:pt x="117" y="7140"/>
                    </a:cubicBezTo>
                    <a:cubicBezTo>
                      <a:pt x="19" y="6749"/>
                      <a:pt x="-128" y="6064"/>
                      <a:pt x="214" y="5575"/>
                    </a:cubicBezTo>
                    <a:cubicBezTo>
                      <a:pt x="703" y="4988"/>
                      <a:pt x="3100" y="3081"/>
                      <a:pt x="8480" y="0"/>
                    </a:cubicBezTo>
                    <a:cubicBezTo>
                      <a:pt x="7991" y="4793"/>
                      <a:pt x="7257" y="8705"/>
                      <a:pt x="6621" y="9977"/>
                    </a:cubicBezTo>
                    <a:cubicBezTo>
                      <a:pt x="6621" y="10026"/>
                      <a:pt x="6377" y="10173"/>
                      <a:pt x="6181" y="10319"/>
                    </a:cubicBezTo>
                    <a:lnTo>
                      <a:pt x="6181" y="10319"/>
                    </a:lnTo>
                    <a:close/>
                  </a:path>
                </a:pathLst>
              </a:custGeom>
              <a:solidFill>
                <a:srgbClr val="39434E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3" name="Forma livre: Forma 72">
                <a:extLst>
                  <a:ext uri="{FF2B5EF4-FFF2-40B4-BE49-F238E27FC236}">
                    <a16:creationId xmlns:a16="http://schemas.microsoft.com/office/drawing/2014/main" id="{DB5EB527-BF83-3EF9-96AE-D0C85562118E}"/>
                  </a:ext>
                </a:extLst>
              </p:cNvPr>
              <p:cNvSpPr/>
              <p:nvPr/>
            </p:nvSpPr>
            <p:spPr>
              <a:xfrm>
                <a:off x="2290755" y="1614131"/>
                <a:ext cx="8479" cy="10567"/>
              </a:xfrm>
              <a:custGeom>
                <a:avLst/>
                <a:gdLst>
                  <a:gd name="connsiteX0" fmla="*/ 2250 w 8479"/>
                  <a:gd name="connsiteY0" fmla="*/ 10270 h 10567"/>
                  <a:gd name="connsiteX1" fmla="*/ 6309 w 8479"/>
                  <a:gd name="connsiteY1" fmla="*/ 9732 h 10567"/>
                  <a:gd name="connsiteX2" fmla="*/ 8363 w 8479"/>
                  <a:gd name="connsiteY2" fmla="*/ 7140 h 10567"/>
                  <a:gd name="connsiteX3" fmla="*/ 8265 w 8479"/>
                  <a:gd name="connsiteY3" fmla="*/ 5575 h 10567"/>
                  <a:gd name="connsiteX4" fmla="*/ 0 w 8479"/>
                  <a:gd name="connsiteY4" fmla="*/ 0 h 10567"/>
                  <a:gd name="connsiteX5" fmla="*/ 1858 w 8479"/>
                  <a:gd name="connsiteY5" fmla="*/ 9977 h 10567"/>
                  <a:gd name="connsiteX6" fmla="*/ 2299 w 8479"/>
                  <a:gd name="connsiteY6" fmla="*/ 10319 h 10567"/>
                  <a:gd name="connsiteX7" fmla="*/ 2299 w 8479"/>
                  <a:gd name="connsiteY7" fmla="*/ 10319 h 105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8479" h="10567">
                    <a:moveTo>
                      <a:pt x="2250" y="10270"/>
                    </a:moveTo>
                    <a:cubicBezTo>
                      <a:pt x="3081" y="10711"/>
                      <a:pt x="4744" y="10760"/>
                      <a:pt x="6309" y="9732"/>
                    </a:cubicBezTo>
                    <a:cubicBezTo>
                      <a:pt x="7336" y="9048"/>
                      <a:pt x="8070" y="8119"/>
                      <a:pt x="8363" y="7140"/>
                    </a:cubicBezTo>
                    <a:cubicBezTo>
                      <a:pt x="8461" y="6749"/>
                      <a:pt x="8608" y="6064"/>
                      <a:pt x="8265" y="5575"/>
                    </a:cubicBezTo>
                    <a:cubicBezTo>
                      <a:pt x="7776" y="4988"/>
                      <a:pt x="5380" y="3081"/>
                      <a:pt x="0" y="0"/>
                    </a:cubicBezTo>
                    <a:cubicBezTo>
                      <a:pt x="489" y="4793"/>
                      <a:pt x="1223" y="8705"/>
                      <a:pt x="1858" y="9977"/>
                    </a:cubicBezTo>
                    <a:cubicBezTo>
                      <a:pt x="1858" y="10026"/>
                      <a:pt x="2054" y="10173"/>
                      <a:pt x="2299" y="10319"/>
                    </a:cubicBezTo>
                    <a:lnTo>
                      <a:pt x="2299" y="10319"/>
                    </a:lnTo>
                    <a:close/>
                  </a:path>
                </a:pathLst>
              </a:custGeom>
              <a:solidFill>
                <a:srgbClr val="39434E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74" name="Forma livre: Forma 73">
              <a:extLst>
                <a:ext uri="{FF2B5EF4-FFF2-40B4-BE49-F238E27FC236}">
                  <a16:creationId xmlns:a16="http://schemas.microsoft.com/office/drawing/2014/main" id="{E71CB027-A04E-8056-15B1-39E5D415CBCB}"/>
                </a:ext>
              </a:extLst>
            </p:cNvPr>
            <p:cNvSpPr/>
            <p:nvPr/>
          </p:nvSpPr>
          <p:spPr>
            <a:xfrm>
              <a:off x="2064266" y="1538765"/>
              <a:ext cx="362743" cy="181347"/>
            </a:xfrm>
            <a:custGeom>
              <a:avLst/>
              <a:gdLst>
                <a:gd name="connsiteX0" fmla="*/ 49 w 362743"/>
                <a:gd name="connsiteY0" fmla="*/ 0 h 181347"/>
                <a:gd name="connsiteX1" fmla="*/ 181396 w 362743"/>
                <a:gd name="connsiteY1" fmla="*/ 181347 h 181347"/>
                <a:gd name="connsiteX2" fmla="*/ 362744 w 362743"/>
                <a:gd name="connsiteY2" fmla="*/ 0 h 181347"/>
                <a:gd name="connsiteX3" fmla="*/ 0 w 362743"/>
                <a:gd name="connsiteY3" fmla="*/ 0 h 1813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2743" h="181347">
                  <a:moveTo>
                    <a:pt x="49" y="0"/>
                  </a:moveTo>
                  <a:cubicBezTo>
                    <a:pt x="49" y="100162"/>
                    <a:pt x="81235" y="181347"/>
                    <a:pt x="181396" y="181347"/>
                  </a:cubicBezTo>
                  <a:cubicBezTo>
                    <a:pt x="281558" y="181347"/>
                    <a:pt x="362744" y="100162"/>
                    <a:pt x="362744" y="0"/>
                  </a:cubicBezTo>
                  <a:lnTo>
                    <a:pt x="0" y="0"/>
                  </a:ln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75" name="Forma livre: Forma 74">
              <a:extLst>
                <a:ext uri="{FF2B5EF4-FFF2-40B4-BE49-F238E27FC236}">
                  <a16:creationId xmlns:a16="http://schemas.microsoft.com/office/drawing/2014/main" id="{6C3A2288-ECA5-22D8-0480-8687E86CA618}"/>
                </a:ext>
              </a:extLst>
            </p:cNvPr>
            <p:cNvSpPr/>
            <p:nvPr/>
          </p:nvSpPr>
          <p:spPr>
            <a:xfrm>
              <a:off x="2098550" y="1538765"/>
              <a:ext cx="294224" cy="147112"/>
            </a:xfrm>
            <a:custGeom>
              <a:avLst/>
              <a:gdLst>
                <a:gd name="connsiteX0" fmla="*/ 294225 w 294224"/>
                <a:gd name="connsiteY0" fmla="*/ 0 h 147112"/>
                <a:gd name="connsiteX1" fmla="*/ 147112 w 294224"/>
                <a:gd name="connsiteY1" fmla="*/ 147112 h 147112"/>
                <a:gd name="connsiteX2" fmla="*/ 0 w 294224"/>
                <a:gd name="connsiteY2" fmla="*/ 0 h 1471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94224" h="147112">
                  <a:moveTo>
                    <a:pt x="294225" y="0"/>
                  </a:moveTo>
                  <a:cubicBezTo>
                    <a:pt x="294225" y="81137"/>
                    <a:pt x="228200" y="147112"/>
                    <a:pt x="147112" y="147112"/>
                  </a:cubicBezTo>
                  <a:cubicBezTo>
                    <a:pt x="66025" y="147112"/>
                    <a:pt x="0" y="81088"/>
                    <a:pt x="0" y="0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76" name="Gráfico 2">
            <a:extLst>
              <a:ext uri="{FF2B5EF4-FFF2-40B4-BE49-F238E27FC236}">
                <a16:creationId xmlns:a16="http://schemas.microsoft.com/office/drawing/2014/main" id="{1DA2A0F7-7FB3-7308-9A45-5FD603461FD7}"/>
              </a:ext>
            </a:extLst>
          </p:cNvPr>
          <p:cNvGrpSpPr/>
          <p:nvPr/>
        </p:nvGrpSpPr>
        <p:grpSpPr>
          <a:xfrm>
            <a:off x="1446717" y="1466872"/>
            <a:ext cx="324205" cy="299653"/>
            <a:chOff x="1446717" y="1466872"/>
            <a:chExt cx="324205" cy="299653"/>
          </a:xfrm>
          <a:noFill/>
        </p:grpSpPr>
        <p:sp>
          <p:nvSpPr>
            <p:cNvPr id="77" name="Forma livre: Forma 76">
              <a:extLst>
                <a:ext uri="{FF2B5EF4-FFF2-40B4-BE49-F238E27FC236}">
                  <a16:creationId xmlns:a16="http://schemas.microsoft.com/office/drawing/2014/main" id="{7B206C05-BEC6-5822-3EA2-5C9764441388}"/>
                </a:ext>
              </a:extLst>
            </p:cNvPr>
            <p:cNvSpPr/>
            <p:nvPr/>
          </p:nvSpPr>
          <p:spPr>
            <a:xfrm>
              <a:off x="1446717" y="1497251"/>
              <a:ext cx="256860" cy="118983"/>
            </a:xfrm>
            <a:custGeom>
              <a:avLst/>
              <a:gdLst>
                <a:gd name="connsiteX0" fmla="*/ 0 w 256860"/>
                <a:gd name="connsiteY0" fmla="*/ 118983 h 118983"/>
                <a:gd name="connsiteX1" fmla="*/ 111508 w 256860"/>
                <a:gd name="connsiteY1" fmla="*/ 2535 h 118983"/>
                <a:gd name="connsiteX2" fmla="*/ 256860 w 256860"/>
                <a:gd name="connsiteY2" fmla="*/ 72326 h 1189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56860" h="118983">
                  <a:moveTo>
                    <a:pt x="0" y="118983"/>
                  </a:moveTo>
                  <a:cubicBezTo>
                    <a:pt x="-146" y="64550"/>
                    <a:pt x="46413" y="14371"/>
                    <a:pt x="111508" y="2535"/>
                  </a:cubicBezTo>
                  <a:cubicBezTo>
                    <a:pt x="176604" y="-9300"/>
                    <a:pt x="237835" y="21365"/>
                    <a:pt x="256860" y="72326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78" name="Forma livre: Forma 77">
              <a:extLst>
                <a:ext uri="{FF2B5EF4-FFF2-40B4-BE49-F238E27FC236}">
                  <a16:creationId xmlns:a16="http://schemas.microsoft.com/office/drawing/2014/main" id="{A3709C9D-5901-0938-3E74-B00624C14D3F}"/>
                </a:ext>
              </a:extLst>
            </p:cNvPr>
            <p:cNvSpPr/>
            <p:nvPr/>
          </p:nvSpPr>
          <p:spPr>
            <a:xfrm>
              <a:off x="1446815" y="1599245"/>
              <a:ext cx="74485" cy="16548"/>
            </a:xfrm>
            <a:custGeom>
              <a:avLst/>
              <a:gdLst>
                <a:gd name="connsiteX0" fmla="*/ 74485 w 74485"/>
                <a:gd name="connsiteY0" fmla="*/ 6327 h 16548"/>
                <a:gd name="connsiteX1" fmla="*/ 0 w 74485"/>
                <a:gd name="connsiteY1" fmla="*/ 16549 h 165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4485" h="16548">
                  <a:moveTo>
                    <a:pt x="74485" y="6327"/>
                  </a:moveTo>
                  <a:cubicBezTo>
                    <a:pt x="74485" y="6327"/>
                    <a:pt x="42158" y="-13285"/>
                    <a:pt x="0" y="16549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79" name="Forma livre: Forma 78">
              <a:extLst>
                <a:ext uri="{FF2B5EF4-FFF2-40B4-BE49-F238E27FC236}">
                  <a16:creationId xmlns:a16="http://schemas.microsoft.com/office/drawing/2014/main" id="{3FCE41E2-B68E-0A27-535A-16E7204AAD10}"/>
                </a:ext>
              </a:extLst>
            </p:cNvPr>
            <p:cNvSpPr/>
            <p:nvPr/>
          </p:nvSpPr>
          <p:spPr>
            <a:xfrm>
              <a:off x="1626499" y="1565698"/>
              <a:ext cx="77077" cy="20115"/>
            </a:xfrm>
            <a:custGeom>
              <a:avLst/>
              <a:gdLst>
                <a:gd name="connsiteX0" fmla="*/ 0 w 77077"/>
                <a:gd name="connsiteY0" fmla="*/ 20115 h 20115"/>
                <a:gd name="connsiteX1" fmla="*/ 77078 w 77077"/>
                <a:gd name="connsiteY1" fmla="*/ 3878 h 201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7077" h="20115">
                  <a:moveTo>
                    <a:pt x="0" y="20115"/>
                  </a:moveTo>
                  <a:cubicBezTo>
                    <a:pt x="0" y="20115"/>
                    <a:pt x="24698" y="-10598"/>
                    <a:pt x="77078" y="3878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0" name="Forma livre: Forma 79">
              <a:extLst>
                <a:ext uri="{FF2B5EF4-FFF2-40B4-BE49-F238E27FC236}">
                  <a16:creationId xmlns:a16="http://schemas.microsoft.com/office/drawing/2014/main" id="{9113954C-6E7C-D3D6-9E1A-08E5D4B99028}"/>
                </a:ext>
              </a:extLst>
            </p:cNvPr>
            <p:cNvSpPr/>
            <p:nvPr/>
          </p:nvSpPr>
          <p:spPr>
            <a:xfrm>
              <a:off x="1521154" y="1580579"/>
              <a:ext cx="105345" cy="24992"/>
            </a:xfrm>
            <a:custGeom>
              <a:avLst/>
              <a:gdLst>
                <a:gd name="connsiteX0" fmla="*/ 105346 w 105345"/>
                <a:gd name="connsiteY0" fmla="*/ 5234 h 24992"/>
                <a:gd name="connsiteX1" fmla="*/ 0 w 105345"/>
                <a:gd name="connsiteY1" fmla="*/ 24993 h 249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5345" h="24992">
                  <a:moveTo>
                    <a:pt x="105346" y="5234"/>
                  </a:moveTo>
                  <a:cubicBezTo>
                    <a:pt x="105346" y="5234"/>
                    <a:pt x="43723" y="-15306"/>
                    <a:pt x="0" y="24993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1" name="Forma livre: Forma 80">
              <a:extLst>
                <a:ext uri="{FF2B5EF4-FFF2-40B4-BE49-F238E27FC236}">
                  <a16:creationId xmlns:a16="http://schemas.microsoft.com/office/drawing/2014/main" id="{51EE026D-8BC2-9F48-7718-77E38930408F}"/>
                </a:ext>
              </a:extLst>
            </p:cNvPr>
            <p:cNvSpPr/>
            <p:nvPr/>
          </p:nvSpPr>
          <p:spPr>
            <a:xfrm>
              <a:off x="1519879" y="1500471"/>
              <a:ext cx="35558" cy="104514"/>
            </a:xfrm>
            <a:custGeom>
              <a:avLst/>
              <a:gdLst>
                <a:gd name="connsiteX0" fmla="*/ 35558 w 35558"/>
                <a:gd name="connsiteY0" fmla="*/ 0 h 104514"/>
                <a:gd name="connsiteX1" fmla="*/ 1372 w 35558"/>
                <a:gd name="connsiteY1" fmla="*/ 104514 h 1045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5558" h="104514">
                  <a:moveTo>
                    <a:pt x="35558" y="0"/>
                  </a:moveTo>
                  <a:cubicBezTo>
                    <a:pt x="35558" y="0"/>
                    <a:pt x="-8213" y="21764"/>
                    <a:pt x="1372" y="104514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2" name="Forma livre: Forma 81">
              <a:extLst>
                <a:ext uri="{FF2B5EF4-FFF2-40B4-BE49-F238E27FC236}">
                  <a16:creationId xmlns:a16="http://schemas.microsoft.com/office/drawing/2014/main" id="{70F36050-47CE-480A-6869-8953C41EC476}"/>
                </a:ext>
              </a:extLst>
            </p:cNvPr>
            <p:cNvSpPr/>
            <p:nvPr/>
          </p:nvSpPr>
          <p:spPr>
            <a:xfrm>
              <a:off x="1555682" y="1500617"/>
              <a:ext cx="70426" cy="84413"/>
            </a:xfrm>
            <a:custGeom>
              <a:avLst/>
              <a:gdLst>
                <a:gd name="connsiteX0" fmla="*/ 0 w 70426"/>
                <a:gd name="connsiteY0" fmla="*/ 0 h 84413"/>
                <a:gd name="connsiteX1" fmla="*/ 70426 w 70426"/>
                <a:gd name="connsiteY1" fmla="*/ 84414 h 844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0426" h="84413">
                  <a:moveTo>
                    <a:pt x="0" y="0"/>
                  </a:moveTo>
                  <a:cubicBezTo>
                    <a:pt x="0" y="0"/>
                    <a:pt x="50325" y="3619"/>
                    <a:pt x="70426" y="84414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3" name="Forma livre: Forma 82">
              <a:extLst>
                <a:ext uri="{FF2B5EF4-FFF2-40B4-BE49-F238E27FC236}">
                  <a16:creationId xmlns:a16="http://schemas.microsoft.com/office/drawing/2014/main" id="{A5D90EAF-6C4C-A80F-1661-AC5AFC107AE3}"/>
                </a:ext>
              </a:extLst>
            </p:cNvPr>
            <p:cNvSpPr/>
            <p:nvPr/>
          </p:nvSpPr>
          <p:spPr>
            <a:xfrm>
              <a:off x="1551134" y="1466872"/>
              <a:ext cx="831" cy="4450"/>
            </a:xfrm>
            <a:custGeom>
              <a:avLst/>
              <a:gdLst>
                <a:gd name="connsiteX0" fmla="*/ 831 w 831"/>
                <a:gd name="connsiteY0" fmla="*/ 4451 h 4450"/>
                <a:gd name="connsiteX1" fmla="*/ 0 w 831"/>
                <a:gd name="connsiteY1" fmla="*/ 0 h 4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31" h="4450">
                  <a:moveTo>
                    <a:pt x="831" y="4451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4" name="Forma livre: Forma 83">
              <a:extLst>
                <a:ext uri="{FF2B5EF4-FFF2-40B4-BE49-F238E27FC236}">
                  <a16:creationId xmlns:a16="http://schemas.microsoft.com/office/drawing/2014/main" id="{FAA8AF3C-E0C2-376B-B813-B461C544E9DF}"/>
                </a:ext>
              </a:extLst>
            </p:cNvPr>
            <p:cNvSpPr/>
            <p:nvPr/>
          </p:nvSpPr>
          <p:spPr>
            <a:xfrm>
              <a:off x="1551134" y="1466872"/>
              <a:ext cx="2445" cy="13351"/>
            </a:xfrm>
            <a:custGeom>
              <a:avLst/>
              <a:gdLst>
                <a:gd name="connsiteX0" fmla="*/ 2445 w 2445"/>
                <a:gd name="connsiteY0" fmla="*/ 13352 h 13351"/>
                <a:gd name="connsiteX1" fmla="*/ 0 w 2445"/>
                <a:gd name="connsiteY1" fmla="*/ 0 h 133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445" h="13351">
                  <a:moveTo>
                    <a:pt x="2445" y="13352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5" name="Forma livre: Forma 84">
              <a:extLst>
                <a:ext uri="{FF2B5EF4-FFF2-40B4-BE49-F238E27FC236}">
                  <a16:creationId xmlns:a16="http://schemas.microsoft.com/office/drawing/2014/main" id="{C718A112-61CA-F43C-A215-EFF7E326B446}"/>
                </a:ext>
              </a:extLst>
            </p:cNvPr>
            <p:cNvSpPr/>
            <p:nvPr/>
          </p:nvSpPr>
          <p:spPr>
            <a:xfrm>
              <a:off x="1598671" y="1743539"/>
              <a:ext cx="4303" cy="22986"/>
            </a:xfrm>
            <a:custGeom>
              <a:avLst/>
              <a:gdLst>
                <a:gd name="connsiteX0" fmla="*/ 0 w 4303"/>
                <a:gd name="connsiteY0" fmla="*/ 0 h 22986"/>
                <a:gd name="connsiteX1" fmla="*/ 4304 w 4303"/>
                <a:gd name="connsiteY1" fmla="*/ 22986 h 229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303" h="22986">
                  <a:moveTo>
                    <a:pt x="0" y="0"/>
                  </a:moveTo>
                  <a:lnTo>
                    <a:pt x="4304" y="22986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6" name="Forma livre: Forma 85">
              <a:extLst>
                <a:ext uri="{FF2B5EF4-FFF2-40B4-BE49-F238E27FC236}">
                  <a16:creationId xmlns:a16="http://schemas.microsoft.com/office/drawing/2014/main" id="{CB58029E-717D-5F42-DA2E-A426B3DA20BC}"/>
                </a:ext>
              </a:extLst>
            </p:cNvPr>
            <p:cNvSpPr/>
            <p:nvPr/>
          </p:nvSpPr>
          <p:spPr>
            <a:xfrm>
              <a:off x="1600383" y="1753076"/>
              <a:ext cx="2592" cy="13449"/>
            </a:xfrm>
            <a:custGeom>
              <a:avLst/>
              <a:gdLst>
                <a:gd name="connsiteX0" fmla="*/ 0 w 2592"/>
                <a:gd name="connsiteY0" fmla="*/ 0 h 13449"/>
                <a:gd name="connsiteX1" fmla="*/ 2592 w 2592"/>
                <a:gd name="connsiteY1" fmla="*/ 13449 h 134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592" h="13449">
                  <a:moveTo>
                    <a:pt x="0" y="0"/>
                  </a:moveTo>
                  <a:lnTo>
                    <a:pt x="2592" y="13449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7" name="Forma livre: Forma 86">
              <a:extLst>
                <a:ext uri="{FF2B5EF4-FFF2-40B4-BE49-F238E27FC236}">
                  <a16:creationId xmlns:a16="http://schemas.microsoft.com/office/drawing/2014/main" id="{D8C89358-2BE2-9EC8-8AA7-EE8F26C1F7AE}"/>
                </a:ext>
              </a:extLst>
            </p:cNvPr>
            <p:cNvSpPr/>
            <p:nvPr/>
          </p:nvSpPr>
          <p:spPr>
            <a:xfrm>
              <a:off x="1572653" y="1603713"/>
              <a:ext cx="18389" cy="98743"/>
            </a:xfrm>
            <a:custGeom>
              <a:avLst/>
              <a:gdLst>
                <a:gd name="connsiteX0" fmla="*/ 0 w 18389"/>
                <a:gd name="connsiteY0" fmla="*/ 0 h 98743"/>
                <a:gd name="connsiteX1" fmla="*/ 18389 w 18389"/>
                <a:gd name="connsiteY1" fmla="*/ 98743 h 987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389" h="98743">
                  <a:moveTo>
                    <a:pt x="0" y="0"/>
                  </a:moveTo>
                  <a:lnTo>
                    <a:pt x="18389" y="98743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8" name="Forma livre: Forma 87">
              <a:extLst>
                <a:ext uri="{FF2B5EF4-FFF2-40B4-BE49-F238E27FC236}">
                  <a16:creationId xmlns:a16="http://schemas.microsoft.com/office/drawing/2014/main" id="{658A0683-9A35-AFD1-DE57-2678AAC881C9}"/>
                </a:ext>
              </a:extLst>
            </p:cNvPr>
            <p:cNvSpPr/>
            <p:nvPr/>
          </p:nvSpPr>
          <p:spPr>
            <a:xfrm>
              <a:off x="1489217" y="1619706"/>
              <a:ext cx="281704" cy="103047"/>
            </a:xfrm>
            <a:custGeom>
              <a:avLst/>
              <a:gdLst>
                <a:gd name="connsiteX0" fmla="*/ 281705 w 281704"/>
                <a:gd name="connsiteY0" fmla="*/ 0 h 103047"/>
                <a:gd name="connsiteX1" fmla="*/ 231722 w 281704"/>
                <a:gd name="connsiteY1" fmla="*/ 103047 h 103047"/>
                <a:gd name="connsiteX2" fmla="*/ 0 w 281704"/>
                <a:gd name="connsiteY2" fmla="*/ 103047 h 1030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81704" h="103047">
                  <a:moveTo>
                    <a:pt x="281705" y="0"/>
                  </a:moveTo>
                  <a:lnTo>
                    <a:pt x="231722" y="103047"/>
                  </a:lnTo>
                  <a:lnTo>
                    <a:pt x="0" y="103047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9" name="Forma livre: Forma 88">
              <a:extLst>
                <a:ext uri="{FF2B5EF4-FFF2-40B4-BE49-F238E27FC236}">
                  <a16:creationId xmlns:a16="http://schemas.microsoft.com/office/drawing/2014/main" id="{45932273-E06F-9507-97C5-0B789D9D6E64}"/>
                </a:ext>
              </a:extLst>
            </p:cNvPr>
            <p:cNvSpPr/>
            <p:nvPr/>
          </p:nvSpPr>
          <p:spPr>
            <a:xfrm>
              <a:off x="1637797" y="1681720"/>
              <a:ext cx="102949" cy="4890"/>
            </a:xfrm>
            <a:custGeom>
              <a:avLst/>
              <a:gdLst>
                <a:gd name="connsiteX0" fmla="*/ 0 w 102949"/>
                <a:gd name="connsiteY0" fmla="*/ 0 h 4890"/>
                <a:gd name="connsiteX1" fmla="*/ 102949 w 102949"/>
                <a:gd name="connsiteY1" fmla="*/ 0 h 48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2949" h="4890">
                  <a:moveTo>
                    <a:pt x="0" y="0"/>
                  </a:moveTo>
                  <a:lnTo>
                    <a:pt x="102949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0" name="Forma livre: Forma 89">
              <a:extLst>
                <a:ext uri="{FF2B5EF4-FFF2-40B4-BE49-F238E27FC236}">
                  <a16:creationId xmlns:a16="http://schemas.microsoft.com/office/drawing/2014/main" id="{2BEF5CF8-378D-DCDB-583D-500C67467FFC}"/>
                </a:ext>
              </a:extLst>
            </p:cNvPr>
            <p:cNvSpPr/>
            <p:nvPr/>
          </p:nvSpPr>
          <p:spPr>
            <a:xfrm>
              <a:off x="1510296" y="1722802"/>
              <a:ext cx="26067" cy="43478"/>
            </a:xfrm>
            <a:custGeom>
              <a:avLst/>
              <a:gdLst>
                <a:gd name="connsiteX0" fmla="*/ 0 w 26067"/>
                <a:gd name="connsiteY0" fmla="*/ 43478 h 43478"/>
                <a:gd name="connsiteX1" fmla="*/ 26067 w 26067"/>
                <a:gd name="connsiteY1" fmla="*/ 0 h 434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6067" h="43478">
                  <a:moveTo>
                    <a:pt x="0" y="43478"/>
                  </a:moveTo>
                  <a:lnTo>
                    <a:pt x="26067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1" name="Forma livre: Forma 90">
              <a:extLst>
                <a:ext uri="{FF2B5EF4-FFF2-40B4-BE49-F238E27FC236}">
                  <a16:creationId xmlns:a16="http://schemas.microsoft.com/office/drawing/2014/main" id="{68EBAE06-46C6-BB4D-1882-F3E40127C574}"/>
                </a:ext>
              </a:extLst>
            </p:cNvPr>
            <p:cNvSpPr/>
            <p:nvPr/>
          </p:nvSpPr>
          <p:spPr>
            <a:xfrm>
              <a:off x="1650268" y="1681965"/>
              <a:ext cx="24453" cy="40495"/>
            </a:xfrm>
            <a:custGeom>
              <a:avLst/>
              <a:gdLst>
                <a:gd name="connsiteX0" fmla="*/ 0 w 24453"/>
                <a:gd name="connsiteY0" fmla="*/ 40495 h 40495"/>
                <a:gd name="connsiteX1" fmla="*/ 24453 w 24453"/>
                <a:gd name="connsiteY1" fmla="*/ 0 h 404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4453" h="40495">
                  <a:moveTo>
                    <a:pt x="0" y="40495"/>
                  </a:moveTo>
                  <a:lnTo>
                    <a:pt x="24453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2" name="Forma livre: Forma 91">
              <a:extLst>
                <a:ext uri="{FF2B5EF4-FFF2-40B4-BE49-F238E27FC236}">
                  <a16:creationId xmlns:a16="http://schemas.microsoft.com/office/drawing/2014/main" id="{A4476B74-04F1-2ED0-0302-4FF98528D2CF}"/>
                </a:ext>
              </a:extLst>
            </p:cNvPr>
            <p:cNvSpPr/>
            <p:nvPr/>
          </p:nvSpPr>
          <p:spPr>
            <a:xfrm>
              <a:off x="1715804" y="1722802"/>
              <a:ext cx="26067" cy="43478"/>
            </a:xfrm>
            <a:custGeom>
              <a:avLst/>
              <a:gdLst>
                <a:gd name="connsiteX0" fmla="*/ 26067 w 26067"/>
                <a:gd name="connsiteY0" fmla="*/ 43478 h 43478"/>
                <a:gd name="connsiteX1" fmla="*/ 0 w 26067"/>
                <a:gd name="connsiteY1" fmla="*/ 0 h 434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6067" h="43478">
                  <a:moveTo>
                    <a:pt x="26067" y="43478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93" name="Gráfico 2">
            <a:extLst>
              <a:ext uri="{FF2B5EF4-FFF2-40B4-BE49-F238E27FC236}">
                <a16:creationId xmlns:a16="http://schemas.microsoft.com/office/drawing/2014/main" id="{795374EC-2634-ACF4-9085-FE62A820802D}"/>
              </a:ext>
            </a:extLst>
          </p:cNvPr>
          <p:cNvGrpSpPr/>
          <p:nvPr/>
        </p:nvGrpSpPr>
        <p:grpSpPr>
          <a:xfrm>
            <a:off x="801461" y="2026085"/>
            <a:ext cx="341042" cy="300005"/>
            <a:chOff x="801461" y="2026085"/>
            <a:chExt cx="341042" cy="300005"/>
          </a:xfrm>
        </p:grpSpPr>
        <p:sp>
          <p:nvSpPr>
            <p:cNvPr id="94" name="Forma livre: Forma 93">
              <a:extLst>
                <a:ext uri="{FF2B5EF4-FFF2-40B4-BE49-F238E27FC236}">
                  <a16:creationId xmlns:a16="http://schemas.microsoft.com/office/drawing/2014/main" id="{5F860623-EFA1-B451-8DD2-C5D66651D11A}"/>
                </a:ext>
              </a:extLst>
            </p:cNvPr>
            <p:cNvSpPr/>
            <p:nvPr/>
          </p:nvSpPr>
          <p:spPr>
            <a:xfrm>
              <a:off x="1066367" y="2124470"/>
              <a:ext cx="76136" cy="108377"/>
            </a:xfrm>
            <a:custGeom>
              <a:avLst/>
              <a:gdLst>
                <a:gd name="connsiteX0" fmla="*/ 31545 w 76136"/>
                <a:gd name="connsiteY0" fmla="*/ 17808 h 108377"/>
                <a:gd name="connsiteX1" fmla="*/ 56047 w 76136"/>
                <a:gd name="connsiteY1" fmla="*/ 4555 h 108377"/>
                <a:gd name="connsiteX2" fmla="*/ 76002 w 76136"/>
                <a:gd name="connsiteY2" fmla="*/ 35464 h 108377"/>
                <a:gd name="connsiteX3" fmla="*/ 74974 w 76136"/>
                <a:gd name="connsiteY3" fmla="*/ 61874 h 108377"/>
                <a:gd name="connsiteX4" fmla="*/ 61329 w 76136"/>
                <a:gd name="connsiteY4" fmla="*/ 102075 h 108377"/>
                <a:gd name="connsiteX5" fmla="*/ 41180 w 76136"/>
                <a:gd name="connsiteY5" fmla="*/ 97478 h 108377"/>
                <a:gd name="connsiteX6" fmla="*/ 0 w 76136"/>
                <a:gd name="connsiteY6" fmla="*/ 76497 h 1083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6136" h="108377">
                  <a:moveTo>
                    <a:pt x="31545" y="17808"/>
                  </a:moveTo>
                  <a:cubicBezTo>
                    <a:pt x="39321" y="15461"/>
                    <a:pt x="47782" y="11401"/>
                    <a:pt x="56047" y="4555"/>
                  </a:cubicBezTo>
                  <a:cubicBezTo>
                    <a:pt x="56047" y="4555"/>
                    <a:pt x="76148" y="-17503"/>
                    <a:pt x="76002" y="35464"/>
                  </a:cubicBezTo>
                  <a:cubicBezTo>
                    <a:pt x="76002" y="35464"/>
                    <a:pt x="76686" y="49011"/>
                    <a:pt x="74974" y="61874"/>
                  </a:cubicBezTo>
                  <a:cubicBezTo>
                    <a:pt x="73116" y="75861"/>
                    <a:pt x="70279" y="87550"/>
                    <a:pt x="61329" y="102075"/>
                  </a:cubicBezTo>
                  <a:cubicBezTo>
                    <a:pt x="61329" y="102075"/>
                    <a:pt x="54727" y="118948"/>
                    <a:pt x="41180" y="97478"/>
                  </a:cubicBezTo>
                  <a:cubicBezTo>
                    <a:pt x="41180" y="97478"/>
                    <a:pt x="25481" y="76008"/>
                    <a:pt x="0" y="76497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5" name="Forma livre: Forma 94">
              <a:extLst>
                <a:ext uri="{FF2B5EF4-FFF2-40B4-BE49-F238E27FC236}">
                  <a16:creationId xmlns:a16="http://schemas.microsoft.com/office/drawing/2014/main" id="{C2EC474B-BC35-45AA-FBD4-25EB6F2219C4}"/>
                </a:ext>
              </a:extLst>
            </p:cNvPr>
            <p:cNvSpPr/>
            <p:nvPr/>
          </p:nvSpPr>
          <p:spPr>
            <a:xfrm>
              <a:off x="801461" y="2026085"/>
              <a:ext cx="308692" cy="300005"/>
            </a:xfrm>
            <a:custGeom>
              <a:avLst/>
              <a:gdLst>
                <a:gd name="connsiteX0" fmla="*/ 124445 w 308692"/>
                <a:gd name="connsiteY0" fmla="*/ 219827 h 300005"/>
                <a:gd name="connsiteX1" fmla="*/ 145328 w 308692"/>
                <a:gd name="connsiteY1" fmla="*/ 265115 h 300005"/>
                <a:gd name="connsiteX2" fmla="*/ 164744 w 308692"/>
                <a:gd name="connsiteY2" fmla="*/ 299985 h 300005"/>
                <a:gd name="connsiteX3" fmla="*/ 112218 w 308692"/>
                <a:gd name="connsiteY3" fmla="*/ 276999 h 300005"/>
                <a:gd name="connsiteX4" fmla="*/ 92802 w 308692"/>
                <a:gd name="connsiteY4" fmla="*/ 243204 h 300005"/>
                <a:gd name="connsiteX5" fmla="*/ 92068 w 308692"/>
                <a:gd name="connsiteY5" fmla="*/ 242666 h 300005"/>
                <a:gd name="connsiteX6" fmla="*/ 57344 w 308692"/>
                <a:gd name="connsiteY6" fmla="*/ 214349 h 300005"/>
                <a:gd name="connsiteX7" fmla="*/ 25408 w 308692"/>
                <a:gd name="connsiteY7" fmla="*/ 198797 h 300005"/>
                <a:gd name="connsiteX8" fmla="*/ 4084 w 308692"/>
                <a:gd name="connsiteY8" fmla="*/ 192585 h 300005"/>
                <a:gd name="connsiteX9" fmla="*/ 2862 w 308692"/>
                <a:gd name="connsiteY9" fmla="*/ 176397 h 300005"/>
                <a:gd name="connsiteX10" fmla="*/ 30103 w 308692"/>
                <a:gd name="connsiteY10" fmla="*/ 169257 h 300005"/>
                <a:gd name="connsiteX11" fmla="*/ 52991 w 308692"/>
                <a:gd name="connsiteY11" fmla="*/ 146075 h 300005"/>
                <a:gd name="connsiteX12" fmla="*/ 62773 w 308692"/>
                <a:gd name="connsiteY12" fmla="*/ 82104 h 300005"/>
                <a:gd name="connsiteX13" fmla="*/ 198245 w 308692"/>
                <a:gd name="connsiteY13" fmla="*/ 479 h 300005"/>
                <a:gd name="connsiteX14" fmla="*/ 279969 w 308692"/>
                <a:gd name="connsiteY14" fmla="*/ 12852 h 300005"/>
                <a:gd name="connsiteX15" fmla="*/ 302564 w 308692"/>
                <a:gd name="connsiteY15" fmla="*/ 55499 h 300005"/>
                <a:gd name="connsiteX16" fmla="*/ 271753 w 308692"/>
                <a:gd name="connsiteY16" fmla="*/ 114823 h 300005"/>
                <a:gd name="connsiteX17" fmla="*/ 276888 w 308692"/>
                <a:gd name="connsiteY17" fmla="*/ 233912 h 300005"/>
                <a:gd name="connsiteX18" fmla="*/ 279969 w 308692"/>
                <a:gd name="connsiteY18" fmla="*/ 265066 h 300005"/>
                <a:gd name="connsiteX19" fmla="*/ 184258 w 308692"/>
                <a:gd name="connsiteY19" fmla="*/ 271277 h 300005"/>
                <a:gd name="connsiteX20" fmla="*/ 175748 w 308692"/>
                <a:gd name="connsiteY20" fmla="*/ 270837 h 3000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308692" h="300005">
                  <a:moveTo>
                    <a:pt x="124445" y="219827"/>
                  </a:moveTo>
                  <a:cubicBezTo>
                    <a:pt x="124445" y="219827"/>
                    <a:pt x="139019" y="235379"/>
                    <a:pt x="145328" y="265115"/>
                  </a:cubicBezTo>
                  <a:cubicBezTo>
                    <a:pt x="145328" y="265115"/>
                    <a:pt x="148360" y="281303"/>
                    <a:pt x="164744" y="299985"/>
                  </a:cubicBezTo>
                  <a:cubicBezTo>
                    <a:pt x="164744" y="299985"/>
                    <a:pt x="130900" y="301550"/>
                    <a:pt x="112218" y="276999"/>
                  </a:cubicBezTo>
                  <a:cubicBezTo>
                    <a:pt x="112218" y="276999"/>
                    <a:pt x="103366" y="266924"/>
                    <a:pt x="92802" y="243204"/>
                  </a:cubicBezTo>
                  <a:lnTo>
                    <a:pt x="92068" y="242666"/>
                  </a:lnTo>
                  <a:cubicBezTo>
                    <a:pt x="69962" y="228483"/>
                    <a:pt x="57344" y="214349"/>
                    <a:pt x="57344" y="214349"/>
                  </a:cubicBezTo>
                  <a:cubicBezTo>
                    <a:pt x="41792" y="197232"/>
                    <a:pt x="25408" y="198797"/>
                    <a:pt x="25408" y="198797"/>
                  </a:cubicBezTo>
                  <a:cubicBezTo>
                    <a:pt x="5552" y="198797"/>
                    <a:pt x="4084" y="192585"/>
                    <a:pt x="4084" y="192585"/>
                  </a:cubicBezTo>
                  <a:cubicBezTo>
                    <a:pt x="-4328" y="178843"/>
                    <a:pt x="2862" y="176397"/>
                    <a:pt x="2862" y="176397"/>
                  </a:cubicBezTo>
                  <a:lnTo>
                    <a:pt x="30103" y="169257"/>
                  </a:lnTo>
                  <a:cubicBezTo>
                    <a:pt x="53431" y="163046"/>
                    <a:pt x="52991" y="146075"/>
                    <a:pt x="52991" y="146075"/>
                  </a:cubicBezTo>
                  <a:cubicBezTo>
                    <a:pt x="53431" y="119469"/>
                    <a:pt x="62773" y="82104"/>
                    <a:pt x="62773" y="82104"/>
                  </a:cubicBezTo>
                  <a:cubicBezTo>
                    <a:pt x="86150" y="-11308"/>
                    <a:pt x="198245" y="479"/>
                    <a:pt x="198245" y="479"/>
                  </a:cubicBezTo>
                  <a:cubicBezTo>
                    <a:pt x="248179" y="2875"/>
                    <a:pt x="279969" y="12852"/>
                    <a:pt x="279969" y="12852"/>
                  </a:cubicBezTo>
                  <a:cubicBezTo>
                    <a:pt x="326431" y="28209"/>
                    <a:pt x="302564" y="55499"/>
                    <a:pt x="302564" y="55499"/>
                  </a:cubicBezTo>
                  <a:cubicBezTo>
                    <a:pt x="279186" y="86555"/>
                    <a:pt x="271753" y="114823"/>
                    <a:pt x="271753" y="114823"/>
                  </a:cubicBezTo>
                  <a:cubicBezTo>
                    <a:pt x="253070" y="212931"/>
                    <a:pt x="276888" y="233912"/>
                    <a:pt x="276888" y="233912"/>
                  </a:cubicBezTo>
                  <a:cubicBezTo>
                    <a:pt x="298309" y="261447"/>
                    <a:pt x="279969" y="265066"/>
                    <a:pt x="279969" y="265066"/>
                  </a:cubicBezTo>
                  <a:cubicBezTo>
                    <a:pt x="253510" y="275189"/>
                    <a:pt x="184258" y="271277"/>
                    <a:pt x="184258" y="271277"/>
                  </a:cubicBezTo>
                  <a:cubicBezTo>
                    <a:pt x="179954" y="271277"/>
                    <a:pt x="175748" y="270837"/>
                    <a:pt x="175748" y="270837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6" name="Forma livre: Forma 95">
              <a:extLst>
                <a:ext uri="{FF2B5EF4-FFF2-40B4-BE49-F238E27FC236}">
                  <a16:creationId xmlns:a16="http://schemas.microsoft.com/office/drawing/2014/main" id="{84E97D69-30F7-8D37-C101-3CD996DF582E}"/>
                </a:ext>
              </a:extLst>
            </p:cNvPr>
            <p:cNvSpPr/>
            <p:nvPr/>
          </p:nvSpPr>
          <p:spPr>
            <a:xfrm>
              <a:off x="949944" y="2071216"/>
              <a:ext cx="30933" cy="176309"/>
            </a:xfrm>
            <a:custGeom>
              <a:avLst/>
              <a:gdLst>
                <a:gd name="connsiteX0" fmla="*/ 30934 w 30933"/>
                <a:gd name="connsiteY0" fmla="*/ 0 h 176309"/>
                <a:gd name="connsiteX1" fmla="*/ 16213 w 30933"/>
                <a:gd name="connsiteY1" fmla="*/ 176310 h 1763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0933" h="176309">
                  <a:moveTo>
                    <a:pt x="30934" y="0"/>
                  </a:moveTo>
                  <a:cubicBezTo>
                    <a:pt x="30934" y="0"/>
                    <a:pt x="-27461" y="67736"/>
                    <a:pt x="16213" y="17631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7" name="Forma livre: Forma 96">
              <a:extLst>
                <a:ext uri="{FF2B5EF4-FFF2-40B4-BE49-F238E27FC236}">
                  <a16:creationId xmlns:a16="http://schemas.microsoft.com/office/drawing/2014/main" id="{D65FA70B-6A06-C743-C397-908E05BE0044}"/>
                </a:ext>
              </a:extLst>
            </p:cNvPr>
            <p:cNvSpPr/>
            <p:nvPr/>
          </p:nvSpPr>
          <p:spPr>
            <a:xfrm>
              <a:off x="990925" y="2095327"/>
              <a:ext cx="16264" cy="140509"/>
            </a:xfrm>
            <a:custGeom>
              <a:avLst/>
              <a:gdLst>
                <a:gd name="connsiteX0" fmla="*/ 16264 w 16264"/>
                <a:gd name="connsiteY0" fmla="*/ 0 h 140509"/>
                <a:gd name="connsiteX1" fmla="*/ 8537 w 16264"/>
                <a:gd name="connsiteY1" fmla="*/ 140510 h 1405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6264" h="140509">
                  <a:moveTo>
                    <a:pt x="16264" y="0"/>
                  </a:moveTo>
                  <a:cubicBezTo>
                    <a:pt x="16264" y="0"/>
                    <a:pt x="-14450" y="53993"/>
                    <a:pt x="8537" y="14051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8" name="Forma livre: Forma 97">
              <a:extLst>
                <a:ext uri="{FF2B5EF4-FFF2-40B4-BE49-F238E27FC236}">
                  <a16:creationId xmlns:a16="http://schemas.microsoft.com/office/drawing/2014/main" id="{6404F261-45FC-076C-C967-3A09256D30D9}"/>
                </a:ext>
              </a:extLst>
            </p:cNvPr>
            <p:cNvSpPr/>
            <p:nvPr/>
          </p:nvSpPr>
          <p:spPr>
            <a:xfrm>
              <a:off x="1029852" y="2123155"/>
              <a:ext cx="10594" cy="87788"/>
            </a:xfrm>
            <a:custGeom>
              <a:avLst/>
              <a:gdLst>
                <a:gd name="connsiteX0" fmla="*/ 10594 w 10594"/>
                <a:gd name="connsiteY0" fmla="*/ 0 h 87788"/>
                <a:gd name="connsiteX1" fmla="*/ 5557 w 10594"/>
                <a:gd name="connsiteY1" fmla="*/ 87788 h 877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594" h="87788">
                  <a:moveTo>
                    <a:pt x="10594" y="0"/>
                  </a:moveTo>
                  <a:cubicBezTo>
                    <a:pt x="10594" y="0"/>
                    <a:pt x="-9409" y="33697"/>
                    <a:pt x="5557" y="87788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9" name="Forma livre: Forma 98">
              <a:extLst>
                <a:ext uri="{FF2B5EF4-FFF2-40B4-BE49-F238E27FC236}">
                  <a16:creationId xmlns:a16="http://schemas.microsoft.com/office/drawing/2014/main" id="{8BEC5F6F-42BA-49AE-77F8-A9987FAB19B6}"/>
                </a:ext>
              </a:extLst>
            </p:cNvPr>
            <p:cNvSpPr/>
            <p:nvPr/>
          </p:nvSpPr>
          <p:spPr>
            <a:xfrm>
              <a:off x="886976" y="2180181"/>
              <a:ext cx="7629" cy="7629"/>
            </a:xfrm>
            <a:custGeom>
              <a:avLst/>
              <a:gdLst>
                <a:gd name="connsiteX0" fmla="*/ 7629 w 7629"/>
                <a:gd name="connsiteY0" fmla="*/ 3815 h 7629"/>
                <a:gd name="connsiteX1" fmla="*/ 3815 w 7629"/>
                <a:gd name="connsiteY1" fmla="*/ 7629 h 7629"/>
                <a:gd name="connsiteX2" fmla="*/ 0 w 7629"/>
                <a:gd name="connsiteY2" fmla="*/ 3815 h 7629"/>
                <a:gd name="connsiteX3" fmla="*/ 3815 w 7629"/>
                <a:gd name="connsiteY3" fmla="*/ 0 h 7629"/>
                <a:gd name="connsiteX4" fmla="*/ 7629 w 7629"/>
                <a:gd name="connsiteY4" fmla="*/ 3815 h 76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29" h="7629">
                  <a:moveTo>
                    <a:pt x="7629" y="3815"/>
                  </a:moveTo>
                  <a:cubicBezTo>
                    <a:pt x="7629" y="5918"/>
                    <a:pt x="5918" y="7629"/>
                    <a:pt x="3815" y="7629"/>
                  </a:cubicBezTo>
                  <a:cubicBezTo>
                    <a:pt x="1712" y="7629"/>
                    <a:pt x="0" y="5918"/>
                    <a:pt x="0" y="3815"/>
                  </a:cubicBezTo>
                  <a:cubicBezTo>
                    <a:pt x="0" y="1712"/>
                    <a:pt x="1712" y="0"/>
                    <a:pt x="3815" y="0"/>
                  </a:cubicBezTo>
                  <a:cubicBezTo>
                    <a:pt x="5918" y="0"/>
                    <a:pt x="7629" y="1712"/>
                    <a:pt x="7629" y="3815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00" name="Gráfico 2">
            <a:extLst>
              <a:ext uri="{FF2B5EF4-FFF2-40B4-BE49-F238E27FC236}">
                <a16:creationId xmlns:a16="http://schemas.microsoft.com/office/drawing/2014/main" id="{071D85CA-99CF-7947-AA3A-4E8DE6EDBADB}"/>
              </a:ext>
            </a:extLst>
          </p:cNvPr>
          <p:cNvGrpSpPr/>
          <p:nvPr/>
        </p:nvGrpSpPr>
        <p:grpSpPr>
          <a:xfrm>
            <a:off x="2116254" y="2017858"/>
            <a:ext cx="258767" cy="316379"/>
            <a:chOff x="2116254" y="2017858"/>
            <a:chExt cx="258767" cy="316379"/>
          </a:xfrm>
          <a:noFill/>
        </p:grpSpPr>
        <p:sp>
          <p:nvSpPr>
            <p:cNvPr id="101" name="Forma livre: Forma 100">
              <a:extLst>
                <a:ext uri="{FF2B5EF4-FFF2-40B4-BE49-F238E27FC236}">
                  <a16:creationId xmlns:a16="http://schemas.microsoft.com/office/drawing/2014/main" id="{D2A92486-54C3-38CB-5500-155D05589CC5}"/>
                </a:ext>
              </a:extLst>
            </p:cNvPr>
            <p:cNvSpPr/>
            <p:nvPr/>
          </p:nvSpPr>
          <p:spPr>
            <a:xfrm>
              <a:off x="2219057" y="2097332"/>
              <a:ext cx="155964" cy="236905"/>
            </a:xfrm>
            <a:custGeom>
              <a:avLst/>
              <a:gdLst>
                <a:gd name="connsiteX0" fmla="*/ 0 w 155964"/>
                <a:gd name="connsiteY0" fmla="*/ 236906 h 236905"/>
                <a:gd name="connsiteX1" fmla="*/ 0 w 155964"/>
                <a:gd name="connsiteY1" fmla="*/ 14672 h 236905"/>
                <a:gd name="connsiteX2" fmla="*/ 14672 w 155964"/>
                <a:gd name="connsiteY2" fmla="*/ 0 h 236905"/>
                <a:gd name="connsiteX3" fmla="*/ 141292 w 155964"/>
                <a:gd name="connsiteY3" fmla="*/ 0 h 236905"/>
                <a:gd name="connsiteX4" fmla="*/ 155964 w 155964"/>
                <a:gd name="connsiteY4" fmla="*/ 14672 h 236905"/>
                <a:gd name="connsiteX5" fmla="*/ 155964 w 155964"/>
                <a:gd name="connsiteY5" fmla="*/ 236906 h 2369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55964" h="236905">
                  <a:moveTo>
                    <a:pt x="0" y="236906"/>
                  </a:moveTo>
                  <a:lnTo>
                    <a:pt x="0" y="14672"/>
                  </a:lnTo>
                  <a:cubicBezTo>
                    <a:pt x="0" y="6602"/>
                    <a:pt x="6602" y="0"/>
                    <a:pt x="14672" y="0"/>
                  </a:cubicBezTo>
                  <a:lnTo>
                    <a:pt x="141292" y="0"/>
                  </a:lnTo>
                  <a:cubicBezTo>
                    <a:pt x="149362" y="0"/>
                    <a:pt x="155964" y="6602"/>
                    <a:pt x="155964" y="14672"/>
                  </a:cubicBezTo>
                  <a:lnTo>
                    <a:pt x="155964" y="236906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2" name="Forma livre: Forma 101">
              <a:extLst>
                <a:ext uri="{FF2B5EF4-FFF2-40B4-BE49-F238E27FC236}">
                  <a16:creationId xmlns:a16="http://schemas.microsoft.com/office/drawing/2014/main" id="{55981BD6-2E80-C9D6-B51B-714A3B53A8A2}"/>
                </a:ext>
              </a:extLst>
            </p:cNvPr>
            <p:cNvSpPr/>
            <p:nvPr/>
          </p:nvSpPr>
          <p:spPr>
            <a:xfrm>
              <a:off x="2116254" y="2211383"/>
              <a:ext cx="77811" cy="122854"/>
            </a:xfrm>
            <a:custGeom>
              <a:avLst/>
              <a:gdLst>
                <a:gd name="connsiteX0" fmla="*/ 0 w 77811"/>
                <a:gd name="connsiteY0" fmla="*/ 122854 h 122854"/>
                <a:gd name="connsiteX1" fmla="*/ 0 w 77811"/>
                <a:gd name="connsiteY1" fmla="*/ 14672 h 122854"/>
                <a:gd name="connsiteX2" fmla="*/ 14672 w 77811"/>
                <a:gd name="connsiteY2" fmla="*/ 0 h 122854"/>
                <a:gd name="connsiteX3" fmla="*/ 77811 w 77811"/>
                <a:gd name="connsiteY3" fmla="*/ 0 h 1228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7811" h="122854">
                  <a:moveTo>
                    <a:pt x="0" y="122854"/>
                  </a:moveTo>
                  <a:lnTo>
                    <a:pt x="0" y="14672"/>
                  </a:lnTo>
                  <a:cubicBezTo>
                    <a:pt x="0" y="6602"/>
                    <a:pt x="6602" y="0"/>
                    <a:pt x="14672" y="0"/>
                  </a:cubicBezTo>
                  <a:lnTo>
                    <a:pt x="77811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3" name="Forma livre: Forma 102">
              <a:extLst>
                <a:ext uri="{FF2B5EF4-FFF2-40B4-BE49-F238E27FC236}">
                  <a16:creationId xmlns:a16="http://schemas.microsoft.com/office/drawing/2014/main" id="{AFA1586C-D2D5-D17E-C958-B45C4713111E}"/>
                </a:ext>
              </a:extLst>
            </p:cNvPr>
            <p:cNvSpPr/>
            <p:nvPr/>
          </p:nvSpPr>
          <p:spPr>
            <a:xfrm>
              <a:off x="2268698" y="2017858"/>
              <a:ext cx="4890" cy="51058"/>
            </a:xfrm>
            <a:custGeom>
              <a:avLst/>
              <a:gdLst>
                <a:gd name="connsiteX0" fmla="*/ 0 w 4890"/>
                <a:gd name="connsiteY0" fmla="*/ 51059 h 51058"/>
                <a:gd name="connsiteX1" fmla="*/ 0 w 4890"/>
                <a:gd name="connsiteY1" fmla="*/ 0 h 510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890" h="51058">
                  <a:moveTo>
                    <a:pt x="0" y="51059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4" name="Forma livre: Forma 103">
              <a:extLst>
                <a:ext uri="{FF2B5EF4-FFF2-40B4-BE49-F238E27FC236}">
                  <a16:creationId xmlns:a16="http://schemas.microsoft.com/office/drawing/2014/main" id="{71FBC7D8-4162-63B7-03E2-F792AE6B256D}"/>
                </a:ext>
              </a:extLst>
            </p:cNvPr>
            <p:cNvSpPr/>
            <p:nvPr/>
          </p:nvSpPr>
          <p:spPr>
            <a:xfrm>
              <a:off x="2325430" y="2017858"/>
              <a:ext cx="4890" cy="51058"/>
            </a:xfrm>
            <a:custGeom>
              <a:avLst/>
              <a:gdLst>
                <a:gd name="connsiteX0" fmla="*/ 0 w 4890"/>
                <a:gd name="connsiteY0" fmla="*/ 51059 h 51058"/>
                <a:gd name="connsiteX1" fmla="*/ 0 w 4890"/>
                <a:gd name="connsiteY1" fmla="*/ 0 h 510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890" h="51058">
                  <a:moveTo>
                    <a:pt x="0" y="51059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5" name="Forma livre: Forma 104">
              <a:extLst>
                <a:ext uri="{FF2B5EF4-FFF2-40B4-BE49-F238E27FC236}">
                  <a16:creationId xmlns:a16="http://schemas.microsoft.com/office/drawing/2014/main" id="{66C2449E-A4AA-3806-42F1-A2C62569C876}"/>
                </a:ext>
              </a:extLst>
            </p:cNvPr>
            <p:cNvSpPr/>
            <p:nvPr/>
          </p:nvSpPr>
          <p:spPr>
            <a:xfrm>
              <a:off x="2271241" y="2043388"/>
              <a:ext cx="51841" cy="4890"/>
            </a:xfrm>
            <a:custGeom>
              <a:avLst/>
              <a:gdLst>
                <a:gd name="connsiteX0" fmla="*/ 51841 w 51841"/>
                <a:gd name="connsiteY0" fmla="*/ 0 h 4890"/>
                <a:gd name="connsiteX1" fmla="*/ 0 w 51841"/>
                <a:gd name="connsiteY1" fmla="*/ 0 h 48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1841" h="4890">
                  <a:moveTo>
                    <a:pt x="51841" y="0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6" name="Forma livre: Forma 105">
              <a:extLst>
                <a:ext uri="{FF2B5EF4-FFF2-40B4-BE49-F238E27FC236}">
                  <a16:creationId xmlns:a16="http://schemas.microsoft.com/office/drawing/2014/main" id="{BAC102EE-706D-EFBA-CE60-76AD4D08F3CC}"/>
                </a:ext>
              </a:extLst>
            </p:cNvPr>
            <p:cNvSpPr/>
            <p:nvPr/>
          </p:nvSpPr>
          <p:spPr>
            <a:xfrm>
              <a:off x="2248157" y="2135284"/>
              <a:ext cx="97765" cy="4890"/>
            </a:xfrm>
            <a:custGeom>
              <a:avLst/>
              <a:gdLst>
                <a:gd name="connsiteX0" fmla="*/ 0 w 97765"/>
                <a:gd name="connsiteY0" fmla="*/ 0 h 4890"/>
                <a:gd name="connsiteX1" fmla="*/ 97765 w 97765"/>
                <a:gd name="connsiteY1" fmla="*/ 0 h 48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7765" h="4890">
                  <a:moveTo>
                    <a:pt x="0" y="0"/>
                  </a:moveTo>
                  <a:lnTo>
                    <a:pt x="97765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7" name="Forma livre: Forma 106">
              <a:extLst>
                <a:ext uri="{FF2B5EF4-FFF2-40B4-BE49-F238E27FC236}">
                  <a16:creationId xmlns:a16="http://schemas.microsoft.com/office/drawing/2014/main" id="{8035E549-B3D7-65CA-E6F6-56C0AFB7E962}"/>
                </a:ext>
              </a:extLst>
            </p:cNvPr>
            <p:cNvSpPr/>
            <p:nvPr/>
          </p:nvSpPr>
          <p:spPr>
            <a:xfrm>
              <a:off x="2248157" y="2173138"/>
              <a:ext cx="97765" cy="4890"/>
            </a:xfrm>
            <a:custGeom>
              <a:avLst/>
              <a:gdLst>
                <a:gd name="connsiteX0" fmla="*/ 0 w 97765"/>
                <a:gd name="connsiteY0" fmla="*/ 0 h 4890"/>
                <a:gd name="connsiteX1" fmla="*/ 97765 w 97765"/>
                <a:gd name="connsiteY1" fmla="*/ 0 h 48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7765" h="4890">
                  <a:moveTo>
                    <a:pt x="0" y="0"/>
                  </a:moveTo>
                  <a:lnTo>
                    <a:pt x="97765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8" name="Forma livre: Forma 107">
              <a:extLst>
                <a:ext uri="{FF2B5EF4-FFF2-40B4-BE49-F238E27FC236}">
                  <a16:creationId xmlns:a16="http://schemas.microsoft.com/office/drawing/2014/main" id="{5002EDC4-5F5D-1A91-0BC1-140D2A5DCD88}"/>
                </a:ext>
              </a:extLst>
            </p:cNvPr>
            <p:cNvSpPr/>
            <p:nvPr/>
          </p:nvSpPr>
          <p:spPr>
            <a:xfrm>
              <a:off x="2248157" y="2210992"/>
              <a:ext cx="97765" cy="4890"/>
            </a:xfrm>
            <a:custGeom>
              <a:avLst/>
              <a:gdLst>
                <a:gd name="connsiteX0" fmla="*/ 0 w 97765"/>
                <a:gd name="connsiteY0" fmla="*/ 0 h 4890"/>
                <a:gd name="connsiteX1" fmla="*/ 97765 w 97765"/>
                <a:gd name="connsiteY1" fmla="*/ 0 h 48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7765" h="4890">
                  <a:moveTo>
                    <a:pt x="0" y="0"/>
                  </a:moveTo>
                  <a:lnTo>
                    <a:pt x="97765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9" name="Forma livre: Forma 108">
              <a:extLst>
                <a:ext uri="{FF2B5EF4-FFF2-40B4-BE49-F238E27FC236}">
                  <a16:creationId xmlns:a16="http://schemas.microsoft.com/office/drawing/2014/main" id="{B3A10066-DC7C-557E-C1CF-266A42FB0F47}"/>
                </a:ext>
              </a:extLst>
            </p:cNvPr>
            <p:cNvSpPr/>
            <p:nvPr/>
          </p:nvSpPr>
          <p:spPr>
            <a:xfrm>
              <a:off x="2248157" y="2248895"/>
              <a:ext cx="97765" cy="4890"/>
            </a:xfrm>
            <a:custGeom>
              <a:avLst/>
              <a:gdLst>
                <a:gd name="connsiteX0" fmla="*/ 0 w 97765"/>
                <a:gd name="connsiteY0" fmla="*/ 0 h 4890"/>
                <a:gd name="connsiteX1" fmla="*/ 97765 w 97765"/>
                <a:gd name="connsiteY1" fmla="*/ 0 h 48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7765" h="4890">
                  <a:moveTo>
                    <a:pt x="0" y="0"/>
                  </a:moveTo>
                  <a:lnTo>
                    <a:pt x="97765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0" name="Forma livre: Forma 109">
              <a:extLst>
                <a:ext uri="{FF2B5EF4-FFF2-40B4-BE49-F238E27FC236}">
                  <a16:creationId xmlns:a16="http://schemas.microsoft.com/office/drawing/2014/main" id="{07C84796-19E1-7720-0C74-A5C7DB0B06DE}"/>
                </a:ext>
              </a:extLst>
            </p:cNvPr>
            <p:cNvSpPr/>
            <p:nvPr/>
          </p:nvSpPr>
          <p:spPr>
            <a:xfrm>
              <a:off x="2248157" y="2286749"/>
              <a:ext cx="97765" cy="4890"/>
            </a:xfrm>
            <a:custGeom>
              <a:avLst/>
              <a:gdLst>
                <a:gd name="connsiteX0" fmla="*/ 0 w 97765"/>
                <a:gd name="connsiteY0" fmla="*/ 0 h 4890"/>
                <a:gd name="connsiteX1" fmla="*/ 97765 w 97765"/>
                <a:gd name="connsiteY1" fmla="*/ 0 h 48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7765" h="4890">
                  <a:moveTo>
                    <a:pt x="0" y="0"/>
                  </a:moveTo>
                  <a:lnTo>
                    <a:pt x="97765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1" name="Forma livre: Forma 110">
              <a:extLst>
                <a:ext uri="{FF2B5EF4-FFF2-40B4-BE49-F238E27FC236}">
                  <a16:creationId xmlns:a16="http://schemas.microsoft.com/office/drawing/2014/main" id="{2A41652A-7806-76E3-24A8-D2D04833A0FC}"/>
                </a:ext>
              </a:extLst>
            </p:cNvPr>
            <p:cNvSpPr/>
            <p:nvPr/>
          </p:nvSpPr>
          <p:spPr>
            <a:xfrm>
              <a:off x="2248157" y="2324603"/>
              <a:ext cx="97765" cy="4890"/>
            </a:xfrm>
            <a:custGeom>
              <a:avLst/>
              <a:gdLst>
                <a:gd name="connsiteX0" fmla="*/ 0 w 97765"/>
                <a:gd name="connsiteY0" fmla="*/ 0 h 4890"/>
                <a:gd name="connsiteX1" fmla="*/ 97765 w 97765"/>
                <a:gd name="connsiteY1" fmla="*/ 0 h 48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7765" h="4890">
                  <a:moveTo>
                    <a:pt x="0" y="0"/>
                  </a:moveTo>
                  <a:lnTo>
                    <a:pt x="97765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2" name="Forma livre: Forma 111">
              <a:extLst>
                <a:ext uri="{FF2B5EF4-FFF2-40B4-BE49-F238E27FC236}">
                  <a16:creationId xmlns:a16="http://schemas.microsoft.com/office/drawing/2014/main" id="{CD1395D6-E21F-0EFF-6052-D4D34AF3EEAB}"/>
                </a:ext>
              </a:extLst>
            </p:cNvPr>
            <p:cNvSpPr/>
            <p:nvPr/>
          </p:nvSpPr>
          <p:spPr>
            <a:xfrm>
              <a:off x="2143202" y="2248895"/>
              <a:ext cx="50912" cy="4890"/>
            </a:xfrm>
            <a:custGeom>
              <a:avLst/>
              <a:gdLst>
                <a:gd name="connsiteX0" fmla="*/ 0 w 50912"/>
                <a:gd name="connsiteY0" fmla="*/ 0 h 4890"/>
                <a:gd name="connsiteX1" fmla="*/ 50912 w 50912"/>
                <a:gd name="connsiteY1" fmla="*/ 0 h 48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0912" h="4890">
                  <a:moveTo>
                    <a:pt x="0" y="0"/>
                  </a:moveTo>
                  <a:lnTo>
                    <a:pt x="50912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3" name="Forma livre: Forma 112">
              <a:extLst>
                <a:ext uri="{FF2B5EF4-FFF2-40B4-BE49-F238E27FC236}">
                  <a16:creationId xmlns:a16="http://schemas.microsoft.com/office/drawing/2014/main" id="{6CC2590E-7EE4-8B87-A18D-B88C309F1961}"/>
                </a:ext>
              </a:extLst>
            </p:cNvPr>
            <p:cNvSpPr/>
            <p:nvPr/>
          </p:nvSpPr>
          <p:spPr>
            <a:xfrm>
              <a:off x="2143202" y="2286749"/>
              <a:ext cx="50912" cy="4890"/>
            </a:xfrm>
            <a:custGeom>
              <a:avLst/>
              <a:gdLst>
                <a:gd name="connsiteX0" fmla="*/ 0 w 50912"/>
                <a:gd name="connsiteY0" fmla="*/ 0 h 4890"/>
                <a:gd name="connsiteX1" fmla="*/ 50912 w 50912"/>
                <a:gd name="connsiteY1" fmla="*/ 0 h 48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0912" h="4890">
                  <a:moveTo>
                    <a:pt x="0" y="0"/>
                  </a:moveTo>
                  <a:lnTo>
                    <a:pt x="50912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4" name="Forma livre: Forma 113">
              <a:extLst>
                <a:ext uri="{FF2B5EF4-FFF2-40B4-BE49-F238E27FC236}">
                  <a16:creationId xmlns:a16="http://schemas.microsoft.com/office/drawing/2014/main" id="{C9E1367A-427D-C5F4-906B-950A8EF49F36}"/>
                </a:ext>
              </a:extLst>
            </p:cNvPr>
            <p:cNvSpPr/>
            <p:nvPr/>
          </p:nvSpPr>
          <p:spPr>
            <a:xfrm>
              <a:off x="2143202" y="2324603"/>
              <a:ext cx="50912" cy="4890"/>
            </a:xfrm>
            <a:custGeom>
              <a:avLst/>
              <a:gdLst>
                <a:gd name="connsiteX0" fmla="*/ 0 w 50912"/>
                <a:gd name="connsiteY0" fmla="*/ 0 h 4890"/>
                <a:gd name="connsiteX1" fmla="*/ 50912 w 50912"/>
                <a:gd name="connsiteY1" fmla="*/ 0 h 48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0912" h="4890">
                  <a:moveTo>
                    <a:pt x="0" y="0"/>
                  </a:moveTo>
                  <a:lnTo>
                    <a:pt x="50912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15" name="Gráfico 2">
            <a:extLst>
              <a:ext uri="{FF2B5EF4-FFF2-40B4-BE49-F238E27FC236}">
                <a16:creationId xmlns:a16="http://schemas.microsoft.com/office/drawing/2014/main" id="{502DFD64-C774-E18A-6D51-414BBCCF8418}"/>
              </a:ext>
            </a:extLst>
          </p:cNvPr>
          <p:cNvGrpSpPr/>
          <p:nvPr/>
        </p:nvGrpSpPr>
        <p:grpSpPr>
          <a:xfrm>
            <a:off x="1505650" y="1986509"/>
            <a:ext cx="206387" cy="367096"/>
            <a:chOff x="1505650" y="1986509"/>
            <a:chExt cx="206387" cy="367096"/>
          </a:xfrm>
        </p:grpSpPr>
        <p:grpSp>
          <p:nvGrpSpPr>
            <p:cNvPr id="116" name="Gráfico 2">
              <a:extLst>
                <a:ext uri="{FF2B5EF4-FFF2-40B4-BE49-F238E27FC236}">
                  <a16:creationId xmlns:a16="http://schemas.microsoft.com/office/drawing/2014/main" id="{7C4AB8D0-6998-67B6-05DA-829F24388581}"/>
                </a:ext>
              </a:extLst>
            </p:cNvPr>
            <p:cNvGrpSpPr/>
            <p:nvPr/>
          </p:nvGrpSpPr>
          <p:grpSpPr>
            <a:xfrm>
              <a:off x="1546536" y="2331793"/>
              <a:ext cx="124566" cy="21812"/>
              <a:chOff x="1546536" y="2331793"/>
              <a:chExt cx="124566" cy="21812"/>
            </a:xfrm>
          </p:grpSpPr>
          <p:sp>
            <p:nvSpPr>
              <p:cNvPr id="117" name="Forma livre: Forma 116">
                <a:extLst>
                  <a:ext uri="{FF2B5EF4-FFF2-40B4-BE49-F238E27FC236}">
                    <a16:creationId xmlns:a16="http://schemas.microsoft.com/office/drawing/2014/main" id="{9855FDBC-F71D-7317-893F-873B1DB568DE}"/>
                  </a:ext>
                </a:extLst>
              </p:cNvPr>
              <p:cNvSpPr/>
              <p:nvPr/>
            </p:nvSpPr>
            <p:spPr>
              <a:xfrm>
                <a:off x="1546536" y="2331793"/>
                <a:ext cx="4890" cy="21812"/>
              </a:xfrm>
              <a:custGeom>
                <a:avLst/>
                <a:gdLst>
                  <a:gd name="connsiteX0" fmla="*/ 0 w 4890"/>
                  <a:gd name="connsiteY0" fmla="*/ 21812 h 21812"/>
                  <a:gd name="connsiteX1" fmla="*/ 0 w 4890"/>
                  <a:gd name="connsiteY1" fmla="*/ 0 h 218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890" h="21812">
                    <a:moveTo>
                      <a:pt x="0" y="21812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18" name="Forma livre: Forma 117">
                <a:extLst>
                  <a:ext uri="{FF2B5EF4-FFF2-40B4-BE49-F238E27FC236}">
                    <a16:creationId xmlns:a16="http://schemas.microsoft.com/office/drawing/2014/main" id="{59FCCA89-2E9A-DD31-8AB8-2F49D5325285}"/>
                  </a:ext>
                </a:extLst>
              </p:cNvPr>
              <p:cNvSpPr/>
              <p:nvPr/>
            </p:nvSpPr>
            <p:spPr>
              <a:xfrm>
                <a:off x="1671103" y="2331793"/>
                <a:ext cx="4890" cy="21812"/>
              </a:xfrm>
              <a:custGeom>
                <a:avLst/>
                <a:gdLst>
                  <a:gd name="connsiteX0" fmla="*/ 0 w 4890"/>
                  <a:gd name="connsiteY0" fmla="*/ 21812 h 21812"/>
                  <a:gd name="connsiteX1" fmla="*/ 0 w 4890"/>
                  <a:gd name="connsiteY1" fmla="*/ 0 h 218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890" h="21812">
                    <a:moveTo>
                      <a:pt x="0" y="21812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19" name="Gráfico 2">
              <a:extLst>
                <a:ext uri="{FF2B5EF4-FFF2-40B4-BE49-F238E27FC236}">
                  <a16:creationId xmlns:a16="http://schemas.microsoft.com/office/drawing/2014/main" id="{EE8878CC-A717-89AC-EECB-8ACAB87EBC6F}"/>
                </a:ext>
              </a:extLst>
            </p:cNvPr>
            <p:cNvGrpSpPr/>
            <p:nvPr/>
          </p:nvGrpSpPr>
          <p:grpSpPr>
            <a:xfrm>
              <a:off x="1546683" y="2128975"/>
              <a:ext cx="124272" cy="156600"/>
              <a:chOff x="1546683" y="2128975"/>
              <a:chExt cx="124272" cy="156600"/>
            </a:xfrm>
          </p:grpSpPr>
          <p:sp>
            <p:nvSpPr>
              <p:cNvPr id="120" name="Forma livre: Forma 119">
                <a:extLst>
                  <a:ext uri="{FF2B5EF4-FFF2-40B4-BE49-F238E27FC236}">
                    <a16:creationId xmlns:a16="http://schemas.microsoft.com/office/drawing/2014/main" id="{B6C9BA77-0C12-721F-687F-FBEF34171C48}"/>
                  </a:ext>
                </a:extLst>
              </p:cNvPr>
              <p:cNvSpPr/>
              <p:nvPr/>
            </p:nvSpPr>
            <p:spPr>
              <a:xfrm>
                <a:off x="1670956" y="2128975"/>
                <a:ext cx="4890" cy="156600"/>
              </a:xfrm>
              <a:custGeom>
                <a:avLst/>
                <a:gdLst>
                  <a:gd name="connsiteX0" fmla="*/ 0 w 4890"/>
                  <a:gd name="connsiteY0" fmla="*/ 156600 h 156600"/>
                  <a:gd name="connsiteX1" fmla="*/ 0 w 4890"/>
                  <a:gd name="connsiteY1" fmla="*/ 0 h 1566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890" h="156600">
                    <a:moveTo>
                      <a:pt x="0" y="156600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1" name="Forma livre: Forma 120">
                <a:extLst>
                  <a:ext uri="{FF2B5EF4-FFF2-40B4-BE49-F238E27FC236}">
                    <a16:creationId xmlns:a16="http://schemas.microsoft.com/office/drawing/2014/main" id="{5BB13E1A-1B4D-7DA5-A2E6-B2184C951A4C}"/>
                  </a:ext>
                </a:extLst>
              </p:cNvPr>
              <p:cNvSpPr/>
              <p:nvPr/>
            </p:nvSpPr>
            <p:spPr>
              <a:xfrm>
                <a:off x="1546683" y="2128975"/>
                <a:ext cx="4890" cy="156600"/>
              </a:xfrm>
              <a:custGeom>
                <a:avLst/>
                <a:gdLst>
                  <a:gd name="connsiteX0" fmla="*/ 0 w 4890"/>
                  <a:gd name="connsiteY0" fmla="*/ 156600 h 156600"/>
                  <a:gd name="connsiteX1" fmla="*/ 0 w 4890"/>
                  <a:gd name="connsiteY1" fmla="*/ 0 h 1566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890" h="156600">
                    <a:moveTo>
                      <a:pt x="0" y="156600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22" name="Gráfico 2">
              <a:extLst>
                <a:ext uri="{FF2B5EF4-FFF2-40B4-BE49-F238E27FC236}">
                  <a16:creationId xmlns:a16="http://schemas.microsoft.com/office/drawing/2014/main" id="{9EFC20D9-7CA0-7CF5-8C8E-B014B4D2CFFD}"/>
                </a:ext>
              </a:extLst>
            </p:cNvPr>
            <p:cNvGrpSpPr/>
            <p:nvPr/>
          </p:nvGrpSpPr>
          <p:grpSpPr>
            <a:xfrm>
              <a:off x="1566197" y="2031552"/>
              <a:ext cx="85244" cy="56096"/>
              <a:chOff x="1566197" y="2031552"/>
              <a:chExt cx="85244" cy="56096"/>
            </a:xfrm>
          </p:grpSpPr>
          <p:sp>
            <p:nvSpPr>
              <p:cNvPr id="123" name="Forma livre: Forma 122">
                <a:extLst>
                  <a:ext uri="{FF2B5EF4-FFF2-40B4-BE49-F238E27FC236}">
                    <a16:creationId xmlns:a16="http://schemas.microsoft.com/office/drawing/2014/main" id="{84F94DEB-9AC0-8191-D075-102183B688AD}"/>
                  </a:ext>
                </a:extLst>
              </p:cNvPr>
              <p:cNvSpPr/>
              <p:nvPr/>
            </p:nvSpPr>
            <p:spPr>
              <a:xfrm>
                <a:off x="1566197" y="2031552"/>
                <a:ext cx="4890" cy="56096"/>
              </a:xfrm>
              <a:custGeom>
                <a:avLst/>
                <a:gdLst>
                  <a:gd name="connsiteX0" fmla="*/ 0 w 4890"/>
                  <a:gd name="connsiteY0" fmla="*/ 56096 h 56096"/>
                  <a:gd name="connsiteX1" fmla="*/ 0 w 4890"/>
                  <a:gd name="connsiteY1" fmla="*/ 0 h 560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890" h="56096">
                    <a:moveTo>
                      <a:pt x="0" y="56096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4" name="Forma livre: Forma 123">
                <a:extLst>
                  <a:ext uri="{FF2B5EF4-FFF2-40B4-BE49-F238E27FC236}">
                    <a16:creationId xmlns:a16="http://schemas.microsoft.com/office/drawing/2014/main" id="{0689491F-4BEB-9DC4-721B-6FBC7DEBB2D5}"/>
                  </a:ext>
                </a:extLst>
              </p:cNvPr>
              <p:cNvSpPr/>
              <p:nvPr/>
            </p:nvSpPr>
            <p:spPr>
              <a:xfrm>
                <a:off x="1651442" y="2031552"/>
                <a:ext cx="4890" cy="56096"/>
              </a:xfrm>
              <a:custGeom>
                <a:avLst/>
                <a:gdLst>
                  <a:gd name="connsiteX0" fmla="*/ 0 w 4890"/>
                  <a:gd name="connsiteY0" fmla="*/ 56096 h 56096"/>
                  <a:gd name="connsiteX1" fmla="*/ 0 w 4890"/>
                  <a:gd name="connsiteY1" fmla="*/ 0 h 560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890" h="56096">
                    <a:moveTo>
                      <a:pt x="0" y="56096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25" name="Forma livre: Forma 124">
              <a:extLst>
                <a:ext uri="{FF2B5EF4-FFF2-40B4-BE49-F238E27FC236}">
                  <a16:creationId xmlns:a16="http://schemas.microsoft.com/office/drawing/2014/main" id="{18CA4FAC-2146-A3F3-9A88-50A621758B34}"/>
                </a:ext>
              </a:extLst>
            </p:cNvPr>
            <p:cNvSpPr/>
            <p:nvPr/>
          </p:nvSpPr>
          <p:spPr>
            <a:xfrm>
              <a:off x="1565903" y="1986509"/>
              <a:ext cx="85734" cy="29735"/>
            </a:xfrm>
            <a:custGeom>
              <a:avLst/>
              <a:gdLst>
                <a:gd name="connsiteX0" fmla="*/ 85734 w 85734"/>
                <a:gd name="connsiteY0" fmla="*/ 29735 h 29735"/>
                <a:gd name="connsiteX1" fmla="*/ 85734 w 85734"/>
                <a:gd name="connsiteY1" fmla="*/ 6945 h 29735"/>
                <a:gd name="connsiteX2" fmla="*/ 43136 w 85734"/>
                <a:gd name="connsiteY2" fmla="*/ 0 h 29735"/>
                <a:gd name="connsiteX3" fmla="*/ 42598 w 85734"/>
                <a:gd name="connsiteY3" fmla="*/ 0 h 29735"/>
                <a:gd name="connsiteX4" fmla="*/ 0 w 85734"/>
                <a:gd name="connsiteY4" fmla="*/ 6945 h 29735"/>
                <a:gd name="connsiteX5" fmla="*/ 0 w 85734"/>
                <a:gd name="connsiteY5" fmla="*/ 29735 h 297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85734" h="29735">
                  <a:moveTo>
                    <a:pt x="85734" y="29735"/>
                  </a:moveTo>
                  <a:lnTo>
                    <a:pt x="85734" y="6945"/>
                  </a:lnTo>
                  <a:cubicBezTo>
                    <a:pt x="85734" y="6945"/>
                    <a:pt x="75121" y="0"/>
                    <a:pt x="43136" y="0"/>
                  </a:cubicBezTo>
                  <a:lnTo>
                    <a:pt x="42598" y="0"/>
                  </a:lnTo>
                  <a:cubicBezTo>
                    <a:pt x="10613" y="0"/>
                    <a:pt x="0" y="6945"/>
                    <a:pt x="0" y="6945"/>
                  </a:cubicBezTo>
                  <a:lnTo>
                    <a:pt x="0" y="29735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6" name="Forma livre: Forma 125">
              <a:extLst>
                <a:ext uri="{FF2B5EF4-FFF2-40B4-BE49-F238E27FC236}">
                  <a16:creationId xmlns:a16="http://schemas.microsoft.com/office/drawing/2014/main" id="{C0BDCD53-83A7-0338-FE8E-2C24F7DBAD84}"/>
                </a:ext>
              </a:extLst>
            </p:cNvPr>
            <p:cNvSpPr/>
            <p:nvPr/>
          </p:nvSpPr>
          <p:spPr>
            <a:xfrm>
              <a:off x="1505650" y="2088969"/>
              <a:ext cx="206387" cy="240378"/>
            </a:xfrm>
            <a:custGeom>
              <a:avLst/>
              <a:gdLst>
                <a:gd name="connsiteX0" fmla="*/ 172153 w 206387"/>
                <a:gd name="connsiteY0" fmla="*/ 0 h 240378"/>
                <a:gd name="connsiteX1" fmla="*/ 206388 w 206387"/>
                <a:gd name="connsiteY1" fmla="*/ 34235 h 240378"/>
                <a:gd name="connsiteX2" fmla="*/ 206388 w 206387"/>
                <a:gd name="connsiteY2" fmla="*/ 206143 h 240378"/>
                <a:gd name="connsiteX3" fmla="*/ 172153 w 206387"/>
                <a:gd name="connsiteY3" fmla="*/ 240378 h 240378"/>
                <a:gd name="connsiteX4" fmla="*/ 34235 w 206387"/>
                <a:gd name="connsiteY4" fmla="*/ 240378 h 240378"/>
                <a:gd name="connsiteX5" fmla="*/ 0 w 206387"/>
                <a:gd name="connsiteY5" fmla="*/ 206143 h 240378"/>
                <a:gd name="connsiteX6" fmla="*/ 0 w 206387"/>
                <a:gd name="connsiteY6" fmla="*/ 34235 h 240378"/>
                <a:gd name="connsiteX7" fmla="*/ 34235 w 206387"/>
                <a:gd name="connsiteY7" fmla="*/ 0 h 2403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06387" h="240378">
                  <a:moveTo>
                    <a:pt x="172153" y="0"/>
                  </a:moveTo>
                  <a:cubicBezTo>
                    <a:pt x="191060" y="0"/>
                    <a:pt x="206388" y="15327"/>
                    <a:pt x="206388" y="34235"/>
                  </a:cubicBezTo>
                  <a:lnTo>
                    <a:pt x="206388" y="206143"/>
                  </a:lnTo>
                  <a:cubicBezTo>
                    <a:pt x="206388" y="225051"/>
                    <a:pt x="191060" y="240378"/>
                    <a:pt x="172153" y="240378"/>
                  </a:cubicBezTo>
                  <a:lnTo>
                    <a:pt x="34235" y="240378"/>
                  </a:lnTo>
                  <a:cubicBezTo>
                    <a:pt x="15327" y="240378"/>
                    <a:pt x="0" y="225051"/>
                    <a:pt x="0" y="206143"/>
                  </a:cubicBezTo>
                  <a:lnTo>
                    <a:pt x="0" y="34235"/>
                  </a:lnTo>
                  <a:cubicBezTo>
                    <a:pt x="0" y="15327"/>
                    <a:pt x="15327" y="0"/>
                    <a:pt x="34235" y="0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7" name="Forma livre: Forma 126">
              <a:extLst>
                <a:ext uri="{FF2B5EF4-FFF2-40B4-BE49-F238E27FC236}">
                  <a16:creationId xmlns:a16="http://schemas.microsoft.com/office/drawing/2014/main" id="{F4AAE7E7-AD03-8B7A-672B-D03FAFBCAA24}"/>
                </a:ext>
              </a:extLst>
            </p:cNvPr>
            <p:cNvSpPr/>
            <p:nvPr/>
          </p:nvSpPr>
          <p:spPr>
            <a:xfrm>
              <a:off x="1600285" y="2153526"/>
              <a:ext cx="17019" cy="7238"/>
            </a:xfrm>
            <a:custGeom>
              <a:avLst/>
              <a:gdLst>
                <a:gd name="connsiteX0" fmla="*/ 8510 w 17019"/>
                <a:gd name="connsiteY0" fmla="*/ 7238 h 7238"/>
                <a:gd name="connsiteX1" fmla="*/ 0 w 17019"/>
                <a:gd name="connsiteY1" fmla="*/ 3619 h 7238"/>
                <a:gd name="connsiteX2" fmla="*/ 8510 w 17019"/>
                <a:gd name="connsiteY2" fmla="*/ 0 h 7238"/>
                <a:gd name="connsiteX3" fmla="*/ 17020 w 17019"/>
                <a:gd name="connsiteY3" fmla="*/ 3619 h 7238"/>
                <a:gd name="connsiteX4" fmla="*/ 8510 w 17019"/>
                <a:gd name="connsiteY4" fmla="*/ 7238 h 72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019" h="7238">
                  <a:moveTo>
                    <a:pt x="8510" y="7238"/>
                  </a:moveTo>
                  <a:cubicBezTo>
                    <a:pt x="3032" y="7238"/>
                    <a:pt x="0" y="4548"/>
                    <a:pt x="0" y="3619"/>
                  </a:cubicBezTo>
                  <a:cubicBezTo>
                    <a:pt x="0" y="2690"/>
                    <a:pt x="3032" y="0"/>
                    <a:pt x="8510" y="0"/>
                  </a:cubicBezTo>
                  <a:cubicBezTo>
                    <a:pt x="13987" y="0"/>
                    <a:pt x="17020" y="2690"/>
                    <a:pt x="17020" y="3619"/>
                  </a:cubicBezTo>
                  <a:cubicBezTo>
                    <a:pt x="17020" y="4548"/>
                    <a:pt x="13987" y="7238"/>
                    <a:pt x="8510" y="7238"/>
                  </a:cubicBezTo>
                  <a:close/>
                </a:path>
              </a:pathLst>
            </a:custGeom>
            <a:solidFill>
              <a:srgbClr val="39434E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28" name="Gráfico 2">
            <a:extLst>
              <a:ext uri="{FF2B5EF4-FFF2-40B4-BE49-F238E27FC236}">
                <a16:creationId xmlns:a16="http://schemas.microsoft.com/office/drawing/2014/main" id="{E3C951F8-07A1-4BE8-80D2-8992B5CA5619}"/>
              </a:ext>
            </a:extLst>
          </p:cNvPr>
          <p:cNvGrpSpPr/>
          <p:nvPr/>
        </p:nvGrpSpPr>
        <p:grpSpPr>
          <a:xfrm>
            <a:off x="777326" y="2633745"/>
            <a:ext cx="399717" cy="184477"/>
            <a:chOff x="777326" y="2633745"/>
            <a:chExt cx="399717" cy="184477"/>
          </a:xfrm>
          <a:noFill/>
        </p:grpSpPr>
        <p:sp>
          <p:nvSpPr>
            <p:cNvPr id="129" name="Forma livre: Forma 128">
              <a:extLst>
                <a:ext uri="{FF2B5EF4-FFF2-40B4-BE49-F238E27FC236}">
                  <a16:creationId xmlns:a16="http://schemas.microsoft.com/office/drawing/2014/main" id="{51FE238D-EE35-89DC-A5C0-0D1DE7E9E7F2}"/>
                </a:ext>
              </a:extLst>
            </p:cNvPr>
            <p:cNvSpPr/>
            <p:nvPr/>
          </p:nvSpPr>
          <p:spPr>
            <a:xfrm>
              <a:off x="777326" y="2684657"/>
              <a:ext cx="337703" cy="133565"/>
            </a:xfrm>
            <a:custGeom>
              <a:avLst/>
              <a:gdLst>
                <a:gd name="connsiteX0" fmla="*/ 292953 w 337703"/>
                <a:gd name="connsiteY0" fmla="*/ 101091 h 133565"/>
                <a:gd name="connsiteX1" fmla="*/ 142319 w 337703"/>
                <a:gd name="connsiteY1" fmla="*/ 101091 h 133565"/>
                <a:gd name="connsiteX2" fmla="*/ 122854 w 337703"/>
                <a:gd name="connsiteY2" fmla="*/ 83387 h 133565"/>
                <a:gd name="connsiteX3" fmla="*/ 142319 w 337703"/>
                <a:gd name="connsiteY3" fmla="*/ 65682 h 133565"/>
                <a:gd name="connsiteX4" fmla="*/ 303664 w 337703"/>
                <a:gd name="connsiteY4" fmla="*/ 65682 h 133565"/>
                <a:gd name="connsiteX5" fmla="*/ 337703 w 337703"/>
                <a:gd name="connsiteY5" fmla="*/ 99624 h 133565"/>
                <a:gd name="connsiteX6" fmla="*/ 303664 w 337703"/>
                <a:gd name="connsiteY6" fmla="*/ 133565 h 133565"/>
                <a:gd name="connsiteX7" fmla="*/ 0 w 337703"/>
                <a:gd name="connsiteY7" fmla="*/ 133565 h 133565"/>
                <a:gd name="connsiteX8" fmla="*/ 77126 w 337703"/>
                <a:gd name="connsiteY8" fmla="*/ 0 h 133565"/>
                <a:gd name="connsiteX9" fmla="*/ 163839 w 337703"/>
                <a:gd name="connsiteY9" fmla="*/ 0 h 1335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37703" h="133565">
                  <a:moveTo>
                    <a:pt x="292953" y="101091"/>
                  </a:moveTo>
                  <a:lnTo>
                    <a:pt x="142319" y="101091"/>
                  </a:lnTo>
                  <a:cubicBezTo>
                    <a:pt x="131609" y="101091"/>
                    <a:pt x="122854" y="93119"/>
                    <a:pt x="122854" y="83387"/>
                  </a:cubicBezTo>
                  <a:cubicBezTo>
                    <a:pt x="122854" y="73654"/>
                    <a:pt x="131609" y="65682"/>
                    <a:pt x="142319" y="65682"/>
                  </a:cubicBezTo>
                  <a:lnTo>
                    <a:pt x="303664" y="65682"/>
                  </a:lnTo>
                  <a:cubicBezTo>
                    <a:pt x="322395" y="65682"/>
                    <a:pt x="337703" y="80941"/>
                    <a:pt x="337703" y="99624"/>
                  </a:cubicBezTo>
                  <a:cubicBezTo>
                    <a:pt x="337703" y="118306"/>
                    <a:pt x="322395" y="133565"/>
                    <a:pt x="303664" y="133565"/>
                  </a:cubicBezTo>
                  <a:lnTo>
                    <a:pt x="0" y="133565"/>
                  </a:lnTo>
                  <a:lnTo>
                    <a:pt x="77126" y="0"/>
                  </a:lnTo>
                  <a:lnTo>
                    <a:pt x="163839" y="0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30" name="Forma livre: Forma 129">
              <a:extLst>
                <a:ext uri="{FF2B5EF4-FFF2-40B4-BE49-F238E27FC236}">
                  <a16:creationId xmlns:a16="http://schemas.microsoft.com/office/drawing/2014/main" id="{53E0AD80-0E25-00B0-C1E2-5564B5D7A32B}"/>
                </a:ext>
              </a:extLst>
            </p:cNvPr>
            <p:cNvSpPr/>
            <p:nvPr/>
          </p:nvSpPr>
          <p:spPr>
            <a:xfrm>
              <a:off x="902137" y="2633745"/>
              <a:ext cx="274906" cy="162615"/>
            </a:xfrm>
            <a:custGeom>
              <a:avLst/>
              <a:gdLst>
                <a:gd name="connsiteX0" fmla="*/ 0 w 274906"/>
                <a:gd name="connsiteY0" fmla="*/ 126474 h 162615"/>
                <a:gd name="connsiteX1" fmla="*/ 57808 w 274906"/>
                <a:gd name="connsiteY1" fmla="*/ 17998 h 162615"/>
                <a:gd name="connsiteX2" fmla="*/ 79132 w 274906"/>
                <a:gd name="connsiteY2" fmla="*/ 0 h 162615"/>
                <a:gd name="connsiteX3" fmla="*/ 240867 w 274906"/>
                <a:gd name="connsiteY3" fmla="*/ 0 h 162615"/>
                <a:gd name="connsiteX4" fmla="*/ 274906 w 274906"/>
                <a:gd name="connsiteY4" fmla="*/ 33990 h 162615"/>
                <a:gd name="connsiteX5" fmla="*/ 270994 w 274906"/>
                <a:gd name="connsiteY5" fmla="*/ 49739 h 162615"/>
                <a:gd name="connsiteX6" fmla="*/ 210838 w 274906"/>
                <a:gd name="connsiteY6" fmla="*/ 162616 h 1626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74906" h="162615">
                  <a:moveTo>
                    <a:pt x="0" y="126474"/>
                  </a:moveTo>
                  <a:lnTo>
                    <a:pt x="57808" y="17998"/>
                  </a:lnTo>
                  <a:cubicBezTo>
                    <a:pt x="62748" y="7287"/>
                    <a:pt x="68421" y="0"/>
                    <a:pt x="79132" y="0"/>
                  </a:cubicBezTo>
                  <a:lnTo>
                    <a:pt x="240867" y="0"/>
                  </a:lnTo>
                  <a:cubicBezTo>
                    <a:pt x="259599" y="49"/>
                    <a:pt x="274906" y="15308"/>
                    <a:pt x="274906" y="33990"/>
                  </a:cubicBezTo>
                  <a:cubicBezTo>
                    <a:pt x="274906" y="39664"/>
                    <a:pt x="273488" y="45043"/>
                    <a:pt x="270994" y="49739"/>
                  </a:cubicBezTo>
                  <a:lnTo>
                    <a:pt x="210838" y="162616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31" name="Forma livre: Forma 130">
              <a:extLst>
                <a:ext uri="{FF2B5EF4-FFF2-40B4-BE49-F238E27FC236}">
                  <a16:creationId xmlns:a16="http://schemas.microsoft.com/office/drawing/2014/main" id="{205FE9A4-C092-5F0D-CF9D-575D5458AFA8}"/>
                </a:ext>
              </a:extLst>
            </p:cNvPr>
            <p:cNvSpPr/>
            <p:nvPr/>
          </p:nvSpPr>
          <p:spPr>
            <a:xfrm>
              <a:off x="811708" y="2685048"/>
              <a:ext cx="73751" cy="132929"/>
            </a:xfrm>
            <a:custGeom>
              <a:avLst/>
              <a:gdLst>
                <a:gd name="connsiteX0" fmla="*/ 73752 w 73751"/>
                <a:gd name="connsiteY0" fmla="*/ 0 h 132929"/>
                <a:gd name="connsiteX1" fmla="*/ 0 w 73751"/>
                <a:gd name="connsiteY1" fmla="*/ 132929 h 1329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3751" h="132929">
                  <a:moveTo>
                    <a:pt x="73752" y="0"/>
                  </a:moveTo>
                  <a:lnTo>
                    <a:pt x="0" y="132929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32" name="Gráfico 2">
            <a:extLst>
              <a:ext uri="{FF2B5EF4-FFF2-40B4-BE49-F238E27FC236}">
                <a16:creationId xmlns:a16="http://schemas.microsoft.com/office/drawing/2014/main" id="{3624828A-0FA3-2288-C2E5-F5A5C56F8262}"/>
              </a:ext>
            </a:extLst>
          </p:cNvPr>
          <p:cNvGrpSpPr/>
          <p:nvPr/>
        </p:nvGrpSpPr>
        <p:grpSpPr>
          <a:xfrm>
            <a:off x="2077520" y="2545321"/>
            <a:ext cx="336212" cy="356092"/>
            <a:chOff x="2077520" y="2545321"/>
            <a:chExt cx="336212" cy="356092"/>
          </a:xfrm>
          <a:noFill/>
        </p:grpSpPr>
        <p:grpSp>
          <p:nvGrpSpPr>
            <p:cNvPr id="133" name="Gráfico 2">
              <a:extLst>
                <a:ext uri="{FF2B5EF4-FFF2-40B4-BE49-F238E27FC236}">
                  <a16:creationId xmlns:a16="http://schemas.microsoft.com/office/drawing/2014/main" id="{8FA3A7C4-A1E0-86FC-7DA1-D4622B508AD7}"/>
                </a:ext>
              </a:extLst>
            </p:cNvPr>
            <p:cNvGrpSpPr/>
            <p:nvPr/>
          </p:nvGrpSpPr>
          <p:grpSpPr>
            <a:xfrm>
              <a:off x="2077520" y="2671995"/>
              <a:ext cx="336212" cy="186134"/>
              <a:chOff x="2077520" y="2671995"/>
              <a:chExt cx="336212" cy="186134"/>
            </a:xfrm>
            <a:noFill/>
          </p:grpSpPr>
          <p:sp>
            <p:nvSpPr>
              <p:cNvPr id="134" name="Forma livre: Forma 133">
                <a:extLst>
                  <a:ext uri="{FF2B5EF4-FFF2-40B4-BE49-F238E27FC236}">
                    <a16:creationId xmlns:a16="http://schemas.microsoft.com/office/drawing/2014/main" id="{C30B7778-8633-8AEF-BF80-D9550D1833EC}"/>
                  </a:ext>
                </a:extLst>
              </p:cNvPr>
              <p:cNvSpPr/>
              <p:nvPr/>
            </p:nvSpPr>
            <p:spPr>
              <a:xfrm>
                <a:off x="2172546" y="2671995"/>
                <a:ext cx="81136" cy="22443"/>
              </a:xfrm>
              <a:custGeom>
                <a:avLst/>
                <a:gdLst>
                  <a:gd name="connsiteX0" fmla="*/ 81137 w 81136"/>
                  <a:gd name="connsiteY0" fmla="*/ 9483 h 22443"/>
                  <a:gd name="connsiteX1" fmla="*/ 0 w 81136"/>
                  <a:gd name="connsiteY1" fmla="*/ 3125 h 22443"/>
                  <a:gd name="connsiteX2" fmla="*/ 32817 w 81136"/>
                  <a:gd name="connsiteY2" fmla="*/ 22443 h 224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1136" h="22443">
                    <a:moveTo>
                      <a:pt x="81137" y="9483"/>
                    </a:moveTo>
                    <a:cubicBezTo>
                      <a:pt x="62405" y="3027"/>
                      <a:pt x="29980" y="-4309"/>
                      <a:pt x="0" y="3125"/>
                    </a:cubicBezTo>
                    <a:lnTo>
                      <a:pt x="32817" y="22443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35" name="Forma livre: Forma 134">
                <a:extLst>
                  <a:ext uri="{FF2B5EF4-FFF2-40B4-BE49-F238E27FC236}">
                    <a16:creationId xmlns:a16="http://schemas.microsoft.com/office/drawing/2014/main" id="{7149022D-3CF0-ED30-821C-659C348D1D3F}"/>
                  </a:ext>
                </a:extLst>
              </p:cNvPr>
              <p:cNvSpPr/>
              <p:nvPr/>
            </p:nvSpPr>
            <p:spPr>
              <a:xfrm>
                <a:off x="2077520" y="2680619"/>
                <a:ext cx="336212" cy="177509"/>
              </a:xfrm>
              <a:custGeom>
                <a:avLst/>
                <a:gdLst>
                  <a:gd name="connsiteX0" fmla="*/ 297453 w 336212"/>
                  <a:gd name="connsiteY0" fmla="*/ 21497 h 177509"/>
                  <a:gd name="connsiteX1" fmla="*/ 332666 w 336212"/>
                  <a:gd name="connsiteY1" fmla="*/ 12596 h 177509"/>
                  <a:gd name="connsiteX2" fmla="*/ 318336 w 336212"/>
                  <a:gd name="connsiteY2" fmla="*/ 3597 h 177509"/>
                  <a:gd name="connsiteX3" fmla="*/ 258523 w 336212"/>
                  <a:gd name="connsiteY3" fmla="*/ 4918 h 177509"/>
                  <a:gd name="connsiteX4" fmla="*/ 65633 w 336212"/>
                  <a:gd name="connsiteY4" fmla="*/ 53238 h 177509"/>
                  <a:gd name="connsiteX5" fmla="*/ 3717 w 336212"/>
                  <a:gd name="connsiteY5" fmla="*/ 28882 h 177509"/>
                  <a:gd name="connsiteX6" fmla="*/ 0 w 336212"/>
                  <a:gd name="connsiteY6" fmla="*/ 32061 h 177509"/>
                  <a:gd name="connsiteX7" fmla="*/ 37756 w 336212"/>
                  <a:gd name="connsiteY7" fmla="*/ 76664 h 177509"/>
                  <a:gd name="connsiteX8" fmla="*/ 6651 w 336212"/>
                  <a:gd name="connsiteY8" fmla="*/ 84930 h 177509"/>
                  <a:gd name="connsiteX9" fmla="*/ 9097 w 336212"/>
                  <a:gd name="connsiteY9" fmla="*/ 93293 h 177509"/>
                  <a:gd name="connsiteX10" fmla="*/ 125593 w 336212"/>
                  <a:gd name="connsiteY10" fmla="*/ 92168 h 177509"/>
                  <a:gd name="connsiteX11" fmla="*/ 150145 w 336212"/>
                  <a:gd name="connsiteY11" fmla="*/ 86103 h 177509"/>
                  <a:gd name="connsiteX12" fmla="*/ 119284 w 336212"/>
                  <a:gd name="connsiteY12" fmla="*/ 170468 h 177509"/>
                  <a:gd name="connsiteX13" fmla="*/ 163887 w 336212"/>
                  <a:gd name="connsiteY13" fmla="*/ 153693 h 177509"/>
                  <a:gd name="connsiteX14" fmla="*/ 224043 w 336212"/>
                  <a:gd name="connsiteY14" fmla="*/ 67861 h 177509"/>
                  <a:gd name="connsiteX15" fmla="*/ 325525 w 336212"/>
                  <a:gd name="connsiteY15" fmla="*/ 41598 h 177509"/>
                  <a:gd name="connsiteX16" fmla="*/ 333546 w 336212"/>
                  <a:gd name="connsiteY16" fmla="*/ 14748 h 1775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336212" h="177509">
                    <a:moveTo>
                      <a:pt x="297453" y="21497"/>
                    </a:moveTo>
                    <a:lnTo>
                      <a:pt x="332666" y="12596"/>
                    </a:lnTo>
                    <a:cubicBezTo>
                      <a:pt x="331247" y="9711"/>
                      <a:pt x="323569" y="5896"/>
                      <a:pt x="318336" y="3597"/>
                    </a:cubicBezTo>
                    <a:cubicBezTo>
                      <a:pt x="298235" y="-5206"/>
                      <a:pt x="258523" y="4918"/>
                      <a:pt x="258523" y="4918"/>
                    </a:cubicBezTo>
                    <a:lnTo>
                      <a:pt x="65633" y="53238"/>
                    </a:lnTo>
                    <a:lnTo>
                      <a:pt x="3717" y="28882"/>
                    </a:lnTo>
                    <a:lnTo>
                      <a:pt x="0" y="32061"/>
                    </a:lnTo>
                    <a:lnTo>
                      <a:pt x="37756" y="76664"/>
                    </a:lnTo>
                    <a:lnTo>
                      <a:pt x="6651" y="84930"/>
                    </a:lnTo>
                    <a:lnTo>
                      <a:pt x="9097" y="93293"/>
                    </a:lnTo>
                    <a:cubicBezTo>
                      <a:pt x="53944" y="107818"/>
                      <a:pt x="125593" y="92168"/>
                      <a:pt x="125593" y="92168"/>
                    </a:cubicBezTo>
                    <a:lnTo>
                      <a:pt x="150145" y="86103"/>
                    </a:lnTo>
                    <a:lnTo>
                      <a:pt x="119284" y="170468"/>
                    </a:lnTo>
                    <a:cubicBezTo>
                      <a:pt x="119284" y="170468"/>
                      <a:pt x="129555" y="194530"/>
                      <a:pt x="163887" y="153693"/>
                    </a:cubicBezTo>
                    <a:lnTo>
                      <a:pt x="224043" y="67861"/>
                    </a:lnTo>
                    <a:lnTo>
                      <a:pt x="325525" y="41598"/>
                    </a:lnTo>
                    <a:cubicBezTo>
                      <a:pt x="341469" y="37245"/>
                      <a:pt x="335355" y="18661"/>
                      <a:pt x="333546" y="14748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36" name="Forma livre: Forma 135">
              <a:extLst>
                <a:ext uri="{FF2B5EF4-FFF2-40B4-BE49-F238E27FC236}">
                  <a16:creationId xmlns:a16="http://schemas.microsoft.com/office/drawing/2014/main" id="{5B2662D6-744B-52AD-B553-A5B94E3AE129}"/>
                </a:ext>
              </a:extLst>
            </p:cNvPr>
            <p:cNvSpPr/>
            <p:nvPr/>
          </p:nvSpPr>
          <p:spPr>
            <a:xfrm>
              <a:off x="2116303" y="2901413"/>
              <a:ext cx="216022" cy="4890"/>
            </a:xfrm>
            <a:custGeom>
              <a:avLst/>
              <a:gdLst>
                <a:gd name="connsiteX0" fmla="*/ 0 w 216022"/>
                <a:gd name="connsiteY0" fmla="*/ 0 h 4890"/>
                <a:gd name="connsiteX1" fmla="*/ 216022 w 216022"/>
                <a:gd name="connsiteY1" fmla="*/ 0 h 48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16022" h="4890">
                  <a:moveTo>
                    <a:pt x="0" y="0"/>
                  </a:moveTo>
                  <a:lnTo>
                    <a:pt x="216022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37" name="Gráfico 2">
              <a:extLst>
                <a:ext uri="{FF2B5EF4-FFF2-40B4-BE49-F238E27FC236}">
                  <a16:creationId xmlns:a16="http://schemas.microsoft.com/office/drawing/2014/main" id="{7F161176-832A-65B9-8E43-CEC39444977A}"/>
                </a:ext>
              </a:extLst>
            </p:cNvPr>
            <p:cNvGrpSpPr/>
            <p:nvPr/>
          </p:nvGrpSpPr>
          <p:grpSpPr>
            <a:xfrm>
              <a:off x="2285864" y="2545321"/>
              <a:ext cx="102411" cy="102362"/>
              <a:chOff x="2285864" y="2545321"/>
              <a:chExt cx="102411" cy="102362"/>
            </a:xfrm>
            <a:noFill/>
          </p:grpSpPr>
          <p:sp>
            <p:nvSpPr>
              <p:cNvPr id="138" name="Forma livre: Forma 137">
                <a:extLst>
                  <a:ext uri="{FF2B5EF4-FFF2-40B4-BE49-F238E27FC236}">
                    <a16:creationId xmlns:a16="http://schemas.microsoft.com/office/drawing/2014/main" id="{08261F8B-41BA-B463-7498-40425B0AFD71}"/>
                  </a:ext>
                </a:extLst>
              </p:cNvPr>
              <p:cNvSpPr/>
              <p:nvPr/>
            </p:nvSpPr>
            <p:spPr>
              <a:xfrm>
                <a:off x="2315991" y="2575594"/>
                <a:ext cx="41962" cy="41962"/>
              </a:xfrm>
              <a:custGeom>
                <a:avLst/>
                <a:gdLst>
                  <a:gd name="connsiteX0" fmla="*/ 0 w 41962"/>
                  <a:gd name="connsiteY0" fmla="*/ 21079 h 41962"/>
                  <a:gd name="connsiteX1" fmla="*/ 21079 w 41962"/>
                  <a:gd name="connsiteY1" fmla="*/ 41962 h 41962"/>
                  <a:gd name="connsiteX2" fmla="*/ 41963 w 41962"/>
                  <a:gd name="connsiteY2" fmla="*/ 20883 h 41962"/>
                  <a:gd name="connsiteX3" fmla="*/ 20884 w 41962"/>
                  <a:gd name="connsiteY3" fmla="*/ 0 h 41962"/>
                  <a:gd name="connsiteX4" fmla="*/ 0 w 41962"/>
                  <a:gd name="connsiteY4" fmla="*/ 21079 h 419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962" h="41962">
                    <a:moveTo>
                      <a:pt x="0" y="21079"/>
                    </a:moveTo>
                    <a:cubicBezTo>
                      <a:pt x="49" y="32621"/>
                      <a:pt x="9488" y="42011"/>
                      <a:pt x="21079" y="41962"/>
                    </a:cubicBezTo>
                    <a:cubicBezTo>
                      <a:pt x="32670" y="41914"/>
                      <a:pt x="42011" y="32474"/>
                      <a:pt x="41963" y="20883"/>
                    </a:cubicBezTo>
                    <a:cubicBezTo>
                      <a:pt x="41914" y="9341"/>
                      <a:pt x="32475" y="-49"/>
                      <a:pt x="20884" y="0"/>
                    </a:cubicBezTo>
                    <a:cubicBezTo>
                      <a:pt x="9341" y="0"/>
                      <a:pt x="-49" y="9488"/>
                      <a:pt x="0" y="21079"/>
                    </a:cubicBezTo>
                    <a:close/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139" name="Gráfico 2">
                <a:extLst>
                  <a:ext uri="{FF2B5EF4-FFF2-40B4-BE49-F238E27FC236}">
                    <a16:creationId xmlns:a16="http://schemas.microsoft.com/office/drawing/2014/main" id="{42421E2C-FDB5-E81A-ECFB-04411055D133}"/>
                  </a:ext>
                </a:extLst>
              </p:cNvPr>
              <p:cNvGrpSpPr/>
              <p:nvPr/>
            </p:nvGrpSpPr>
            <p:grpSpPr>
              <a:xfrm>
                <a:off x="2316040" y="2545321"/>
                <a:ext cx="42011" cy="102362"/>
                <a:chOff x="2316040" y="2545321"/>
                <a:chExt cx="42011" cy="102362"/>
              </a:xfrm>
            </p:grpSpPr>
            <p:sp>
              <p:nvSpPr>
                <p:cNvPr id="140" name="Forma livre: Forma 139">
                  <a:extLst>
                    <a:ext uri="{FF2B5EF4-FFF2-40B4-BE49-F238E27FC236}">
                      <a16:creationId xmlns:a16="http://schemas.microsoft.com/office/drawing/2014/main" id="{81C0CC8E-478A-225F-2D49-1BE8ADF7EE6F}"/>
                    </a:ext>
                  </a:extLst>
                </p:cNvPr>
                <p:cNvSpPr/>
                <p:nvPr/>
              </p:nvSpPr>
              <p:spPr>
                <a:xfrm>
                  <a:off x="2316040" y="2636777"/>
                  <a:ext cx="4597" cy="10906"/>
                </a:xfrm>
                <a:custGeom>
                  <a:avLst/>
                  <a:gdLst>
                    <a:gd name="connsiteX0" fmla="*/ 0 w 4597"/>
                    <a:gd name="connsiteY0" fmla="*/ 10906 h 10906"/>
                    <a:gd name="connsiteX1" fmla="*/ 4597 w 4597"/>
                    <a:gd name="connsiteY1" fmla="*/ 0 h 1090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597" h="10906">
                      <a:moveTo>
                        <a:pt x="0" y="10906"/>
                      </a:moveTo>
                      <a:lnTo>
                        <a:pt x="4597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41" name="Forma livre: Forma 140">
                  <a:extLst>
                    <a:ext uri="{FF2B5EF4-FFF2-40B4-BE49-F238E27FC236}">
                      <a16:creationId xmlns:a16="http://schemas.microsoft.com/office/drawing/2014/main" id="{73F328C1-7F0D-E609-08E8-8B3542F88F0A}"/>
                    </a:ext>
                  </a:extLst>
                </p:cNvPr>
                <p:cNvSpPr/>
                <p:nvPr/>
              </p:nvSpPr>
              <p:spPr>
                <a:xfrm>
                  <a:off x="2353454" y="2545321"/>
                  <a:ext cx="4597" cy="10906"/>
                </a:xfrm>
                <a:custGeom>
                  <a:avLst/>
                  <a:gdLst>
                    <a:gd name="connsiteX0" fmla="*/ 0 w 4597"/>
                    <a:gd name="connsiteY0" fmla="*/ 10906 h 10906"/>
                    <a:gd name="connsiteX1" fmla="*/ 4597 w 4597"/>
                    <a:gd name="connsiteY1" fmla="*/ 0 h 1090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597" h="10906">
                      <a:moveTo>
                        <a:pt x="0" y="10906"/>
                      </a:moveTo>
                      <a:lnTo>
                        <a:pt x="4597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142" name="Gráfico 2">
                <a:extLst>
                  <a:ext uri="{FF2B5EF4-FFF2-40B4-BE49-F238E27FC236}">
                    <a16:creationId xmlns:a16="http://schemas.microsoft.com/office/drawing/2014/main" id="{91D33FE2-59F1-7D81-7224-187FBBD09D92}"/>
                  </a:ext>
                </a:extLst>
              </p:cNvPr>
              <p:cNvGrpSpPr/>
              <p:nvPr/>
            </p:nvGrpSpPr>
            <p:grpSpPr>
              <a:xfrm>
                <a:off x="2286011" y="2575154"/>
                <a:ext cx="102068" cy="42695"/>
                <a:chOff x="2286011" y="2575154"/>
                <a:chExt cx="102068" cy="42695"/>
              </a:xfrm>
            </p:grpSpPr>
            <p:sp>
              <p:nvSpPr>
                <p:cNvPr id="143" name="Forma livre: Forma 142">
                  <a:extLst>
                    <a:ext uri="{FF2B5EF4-FFF2-40B4-BE49-F238E27FC236}">
                      <a16:creationId xmlns:a16="http://schemas.microsoft.com/office/drawing/2014/main" id="{F3C52FBA-DDC2-7275-7B3B-5312EDD230F1}"/>
                    </a:ext>
                  </a:extLst>
                </p:cNvPr>
                <p:cNvSpPr/>
                <p:nvPr/>
              </p:nvSpPr>
              <p:spPr>
                <a:xfrm>
                  <a:off x="2286011" y="2613399"/>
                  <a:ext cx="10955" cy="4450"/>
                </a:xfrm>
                <a:custGeom>
                  <a:avLst/>
                  <a:gdLst>
                    <a:gd name="connsiteX0" fmla="*/ 0 w 10955"/>
                    <a:gd name="connsiteY0" fmla="*/ 4450 h 4450"/>
                    <a:gd name="connsiteX1" fmla="*/ 10955 w 10955"/>
                    <a:gd name="connsiteY1" fmla="*/ 0 h 44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0955" h="4450">
                      <a:moveTo>
                        <a:pt x="0" y="4450"/>
                      </a:moveTo>
                      <a:lnTo>
                        <a:pt x="10955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44" name="Forma livre: Forma 143">
                  <a:extLst>
                    <a:ext uri="{FF2B5EF4-FFF2-40B4-BE49-F238E27FC236}">
                      <a16:creationId xmlns:a16="http://schemas.microsoft.com/office/drawing/2014/main" id="{E0E5212D-585F-B8C7-2F7F-C5434D36E389}"/>
                    </a:ext>
                  </a:extLst>
                </p:cNvPr>
                <p:cNvSpPr/>
                <p:nvPr/>
              </p:nvSpPr>
              <p:spPr>
                <a:xfrm>
                  <a:off x="2377125" y="2575154"/>
                  <a:ext cx="10955" cy="4450"/>
                </a:xfrm>
                <a:custGeom>
                  <a:avLst/>
                  <a:gdLst>
                    <a:gd name="connsiteX0" fmla="*/ 0 w 10955"/>
                    <a:gd name="connsiteY0" fmla="*/ 4451 h 4450"/>
                    <a:gd name="connsiteX1" fmla="*/ 10955 w 10955"/>
                    <a:gd name="connsiteY1" fmla="*/ 0 h 44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0955" h="4450">
                      <a:moveTo>
                        <a:pt x="0" y="4451"/>
                      </a:moveTo>
                      <a:lnTo>
                        <a:pt x="10955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145" name="Gráfico 2">
                <a:extLst>
                  <a:ext uri="{FF2B5EF4-FFF2-40B4-BE49-F238E27FC236}">
                    <a16:creationId xmlns:a16="http://schemas.microsoft.com/office/drawing/2014/main" id="{37C9A2E2-D03F-EA73-75E4-812040EF30C7}"/>
                  </a:ext>
                </a:extLst>
              </p:cNvPr>
              <p:cNvGrpSpPr/>
              <p:nvPr/>
            </p:nvGrpSpPr>
            <p:grpSpPr>
              <a:xfrm>
                <a:off x="2285864" y="2575496"/>
                <a:ext cx="102411" cy="42011"/>
                <a:chOff x="2285864" y="2575496"/>
                <a:chExt cx="102411" cy="42011"/>
              </a:xfrm>
            </p:grpSpPr>
            <p:sp>
              <p:nvSpPr>
                <p:cNvPr id="146" name="Forma livre: Forma 145">
                  <a:extLst>
                    <a:ext uri="{FF2B5EF4-FFF2-40B4-BE49-F238E27FC236}">
                      <a16:creationId xmlns:a16="http://schemas.microsoft.com/office/drawing/2014/main" id="{10185A09-6CA0-1226-55A4-EE98572A8D90}"/>
                    </a:ext>
                  </a:extLst>
                </p:cNvPr>
                <p:cNvSpPr/>
                <p:nvPr/>
              </p:nvSpPr>
              <p:spPr>
                <a:xfrm>
                  <a:off x="2285864" y="2575496"/>
                  <a:ext cx="10906" cy="4597"/>
                </a:xfrm>
                <a:custGeom>
                  <a:avLst/>
                  <a:gdLst>
                    <a:gd name="connsiteX0" fmla="*/ 0 w 10906"/>
                    <a:gd name="connsiteY0" fmla="*/ 0 h 4597"/>
                    <a:gd name="connsiteX1" fmla="*/ 10906 w 10906"/>
                    <a:gd name="connsiteY1" fmla="*/ 4597 h 459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0906" h="4597">
                      <a:moveTo>
                        <a:pt x="0" y="0"/>
                      </a:moveTo>
                      <a:lnTo>
                        <a:pt x="10906" y="4597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47" name="Forma livre: Forma 146">
                  <a:extLst>
                    <a:ext uri="{FF2B5EF4-FFF2-40B4-BE49-F238E27FC236}">
                      <a16:creationId xmlns:a16="http://schemas.microsoft.com/office/drawing/2014/main" id="{DC970F1D-F29D-7EBE-5899-1E2CDD4CE9F5}"/>
                    </a:ext>
                  </a:extLst>
                </p:cNvPr>
                <p:cNvSpPr/>
                <p:nvPr/>
              </p:nvSpPr>
              <p:spPr>
                <a:xfrm>
                  <a:off x="2377320" y="2612910"/>
                  <a:ext cx="10955" cy="4597"/>
                </a:xfrm>
                <a:custGeom>
                  <a:avLst/>
                  <a:gdLst>
                    <a:gd name="connsiteX0" fmla="*/ 0 w 10955"/>
                    <a:gd name="connsiteY0" fmla="*/ 0 h 4597"/>
                    <a:gd name="connsiteX1" fmla="*/ 10955 w 10955"/>
                    <a:gd name="connsiteY1" fmla="*/ 4597 h 459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0955" h="4597">
                      <a:moveTo>
                        <a:pt x="0" y="0"/>
                      </a:moveTo>
                      <a:lnTo>
                        <a:pt x="10955" y="4597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148" name="Gráfico 2">
                <a:extLst>
                  <a:ext uri="{FF2B5EF4-FFF2-40B4-BE49-F238E27FC236}">
                    <a16:creationId xmlns:a16="http://schemas.microsoft.com/office/drawing/2014/main" id="{696E5EE4-4A40-9D24-6F6C-60F46474FA98}"/>
                  </a:ext>
                </a:extLst>
              </p:cNvPr>
              <p:cNvGrpSpPr/>
              <p:nvPr/>
            </p:nvGrpSpPr>
            <p:grpSpPr>
              <a:xfrm>
                <a:off x="2315697" y="2545467"/>
                <a:ext cx="42695" cy="102069"/>
                <a:chOff x="2315697" y="2545467"/>
                <a:chExt cx="42695" cy="102069"/>
              </a:xfrm>
            </p:grpSpPr>
            <p:sp>
              <p:nvSpPr>
                <p:cNvPr id="149" name="Forma livre: Forma 148">
                  <a:extLst>
                    <a:ext uri="{FF2B5EF4-FFF2-40B4-BE49-F238E27FC236}">
                      <a16:creationId xmlns:a16="http://schemas.microsoft.com/office/drawing/2014/main" id="{17882F08-B3D1-2234-B653-15A7F4D0FD08}"/>
                    </a:ext>
                  </a:extLst>
                </p:cNvPr>
                <p:cNvSpPr/>
                <p:nvPr/>
              </p:nvSpPr>
              <p:spPr>
                <a:xfrm>
                  <a:off x="2353943" y="2636581"/>
                  <a:ext cx="4450" cy="10955"/>
                </a:xfrm>
                <a:custGeom>
                  <a:avLst/>
                  <a:gdLst>
                    <a:gd name="connsiteX0" fmla="*/ 4451 w 4450"/>
                    <a:gd name="connsiteY0" fmla="*/ 10955 h 10955"/>
                    <a:gd name="connsiteX1" fmla="*/ 0 w 4450"/>
                    <a:gd name="connsiteY1" fmla="*/ 0 h 1095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450" h="10955">
                      <a:moveTo>
                        <a:pt x="4451" y="10955"/>
                      </a:moveTo>
                      <a:lnTo>
                        <a:pt x="0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50" name="Forma livre: Forma 149">
                  <a:extLst>
                    <a:ext uri="{FF2B5EF4-FFF2-40B4-BE49-F238E27FC236}">
                      <a16:creationId xmlns:a16="http://schemas.microsoft.com/office/drawing/2014/main" id="{4A3E98F7-4374-BF00-5237-035F2D4E2634}"/>
                    </a:ext>
                  </a:extLst>
                </p:cNvPr>
                <p:cNvSpPr/>
                <p:nvPr/>
              </p:nvSpPr>
              <p:spPr>
                <a:xfrm>
                  <a:off x="2315697" y="2545467"/>
                  <a:ext cx="4450" cy="10955"/>
                </a:xfrm>
                <a:custGeom>
                  <a:avLst/>
                  <a:gdLst>
                    <a:gd name="connsiteX0" fmla="*/ 4451 w 4450"/>
                    <a:gd name="connsiteY0" fmla="*/ 10955 h 10955"/>
                    <a:gd name="connsiteX1" fmla="*/ 0 w 4450"/>
                    <a:gd name="connsiteY1" fmla="*/ 0 h 1095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450" h="10955">
                      <a:moveTo>
                        <a:pt x="4451" y="10955"/>
                      </a:moveTo>
                      <a:lnTo>
                        <a:pt x="0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</p:grpSp>
      <p:grpSp>
        <p:nvGrpSpPr>
          <p:cNvPr id="151" name="Gráfico 2">
            <a:extLst>
              <a:ext uri="{FF2B5EF4-FFF2-40B4-BE49-F238E27FC236}">
                <a16:creationId xmlns:a16="http://schemas.microsoft.com/office/drawing/2014/main" id="{A76635DD-F7C5-9BB0-C0DC-FE0C95502B6F}"/>
              </a:ext>
            </a:extLst>
          </p:cNvPr>
          <p:cNvGrpSpPr/>
          <p:nvPr/>
        </p:nvGrpSpPr>
        <p:grpSpPr>
          <a:xfrm>
            <a:off x="1458357" y="2568552"/>
            <a:ext cx="300924" cy="297648"/>
            <a:chOff x="1458357" y="2568552"/>
            <a:chExt cx="300924" cy="297648"/>
          </a:xfrm>
          <a:noFill/>
        </p:grpSpPr>
        <p:sp>
          <p:nvSpPr>
            <p:cNvPr id="152" name="Forma livre: Forma 151">
              <a:extLst>
                <a:ext uri="{FF2B5EF4-FFF2-40B4-BE49-F238E27FC236}">
                  <a16:creationId xmlns:a16="http://schemas.microsoft.com/office/drawing/2014/main" id="{CCF537A3-348F-8159-7A68-8D6D3B1871DB}"/>
                </a:ext>
              </a:extLst>
            </p:cNvPr>
            <p:cNvSpPr/>
            <p:nvPr/>
          </p:nvSpPr>
          <p:spPr>
            <a:xfrm>
              <a:off x="1458357" y="2648906"/>
              <a:ext cx="300924" cy="217294"/>
            </a:xfrm>
            <a:custGeom>
              <a:avLst/>
              <a:gdLst>
                <a:gd name="connsiteX0" fmla="*/ 213968 w 300924"/>
                <a:gd name="connsiteY0" fmla="*/ 0 h 217294"/>
                <a:gd name="connsiteX1" fmla="*/ 300925 w 300924"/>
                <a:gd name="connsiteY1" fmla="*/ 97227 h 217294"/>
                <a:gd name="connsiteX2" fmla="*/ 300925 w 300924"/>
                <a:gd name="connsiteY2" fmla="*/ 119480 h 217294"/>
                <a:gd name="connsiteX3" fmla="*/ 203111 w 300924"/>
                <a:gd name="connsiteY3" fmla="*/ 217294 h 217294"/>
                <a:gd name="connsiteX4" fmla="*/ 97814 w 300924"/>
                <a:gd name="connsiteY4" fmla="*/ 217294 h 217294"/>
                <a:gd name="connsiteX5" fmla="*/ 0 w 300924"/>
                <a:gd name="connsiteY5" fmla="*/ 119480 h 217294"/>
                <a:gd name="connsiteX6" fmla="*/ 0 w 300924"/>
                <a:gd name="connsiteY6" fmla="*/ 97227 h 217294"/>
                <a:gd name="connsiteX7" fmla="*/ 83827 w 300924"/>
                <a:gd name="connsiteY7" fmla="*/ 440 h 2172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00924" h="217294">
                  <a:moveTo>
                    <a:pt x="213968" y="0"/>
                  </a:moveTo>
                  <a:cubicBezTo>
                    <a:pt x="262680" y="5429"/>
                    <a:pt x="300925" y="47098"/>
                    <a:pt x="300925" y="97227"/>
                  </a:cubicBezTo>
                  <a:lnTo>
                    <a:pt x="300925" y="119480"/>
                  </a:lnTo>
                  <a:cubicBezTo>
                    <a:pt x="300925" y="173278"/>
                    <a:pt x="256909" y="217294"/>
                    <a:pt x="203111" y="217294"/>
                  </a:cubicBezTo>
                  <a:lnTo>
                    <a:pt x="97814" y="217294"/>
                  </a:lnTo>
                  <a:cubicBezTo>
                    <a:pt x="44016" y="217294"/>
                    <a:pt x="0" y="173278"/>
                    <a:pt x="0" y="119480"/>
                  </a:cubicBezTo>
                  <a:lnTo>
                    <a:pt x="0" y="97227"/>
                  </a:lnTo>
                  <a:cubicBezTo>
                    <a:pt x="0" y="48173"/>
                    <a:pt x="36582" y="7287"/>
                    <a:pt x="83827" y="440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3" name="Forma livre: Forma 152">
              <a:extLst>
                <a:ext uri="{FF2B5EF4-FFF2-40B4-BE49-F238E27FC236}">
                  <a16:creationId xmlns:a16="http://schemas.microsoft.com/office/drawing/2014/main" id="{F3107700-3D25-101A-55F0-5FCEE2D082B1}"/>
                </a:ext>
              </a:extLst>
            </p:cNvPr>
            <p:cNvSpPr/>
            <p:nvPr/>
          </p:nvSpPr>
          <p:spPr>
            <a:xfrm>
              <a:off x="1566050" y="2623230"/>
              <a:ext cx="81430" cy="4890"/>
            </a:xfrm>
            <a:custGeom>
              <a:avLst/>
              <a:gdLst>
                <a:gd name="connsiteX0" fmla="*/ 0 w 81430"/>
                <a:gd name="connsiteY0" fmla="*/ 0 h 4890"/>
                <a:gd name="connsiteX1" fmla="*/ 81430 w 81430"/>
                <a:gd name="connsiteY1" fmla="*/ 0 h 48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1430" h="4890">
                  <a:moveTo>
                    <a:pt x="0" y="0"/>
                  </a:moveTo>
                  <a:lnTo>
                    <a:pt x="8143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4" name="Forma livre: Forma 153">
              <a:extLst>
                <a:ext uri="{FF2B5EF4-FFF2-40B4-BE49-F238E27FC236}">
                  <a16:creationId xmlns:a16="http://schemas.microsoft.com/office/drawing/2014/main" id="{71B8B697-292E-0356-6737-8ECDC5E95C81}"/>
                </a:ext>
              </a:extLst>
            </p:cNvPr>
            <p:cNvSpPr/>
            <p:nvPr/>
          </p:nvSpPr>
          <p:spPr>
            <a:xfrm>
              <a:off x="1566050" y="2669496"/>
              <a:ext cx="81674" cy="4890"/>
            </a:xfrm>
            <a:custGeom>
              <a:avLst/>
              <a:gdLst>
                <a:gd name="connsiteX0" fmla="*/ 0 w 81674"/>
                <a:gd name="connsiteY0" fmla="*/ 0 h 4890"/>
                <a:gd name="connsiteX1" fmla="*/ 81675 w 81674"/>
                <a:gd name="connsiteY1" fmla="*/ 0 h 48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1674" h="4890">
                  <a:moveTo>
                    <a:pt x="0" y="0"/>
                  </a:moveTo>
                  <a:lnTo>
                    <a:pt x="81675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5" name="Forma livre: Forma 154">
              <a:extLst>
                <a:ext uri="{FF2B5EF4-FFF2-40B4-BE49-F238E27FC236}">
                  <a16:creationId xmlns:a16="http://schemas.microsoft.com/office/drawing/2014/main" id="{4B086CF6-BC03-03CB-0EF0-A623321A236C}"/>
                </a:ext>
              </a:extLst>
            </p:cNvPr>
            <p:cNvSpPr/>
            <p:nvPr/>
          </p:nvSpPr>
          <p:spPr>
            <a:xfrm>
              <a:off x="1512839" y="2733527"/>
              <a:ext cx="195041" cy="22436"/>
            </a:xfrm>
            <a:custGeom>
              <a:avLst/>
              <a:gdLst>
                <a:gd name="connsiteX0" fmla="*/ 0 w 195041"/>
                <a:gd name="connsiteY0" fmla="*/ 22094 h 22436"/>
                <a:gd name="connsiteX1" fmla="*/ 17802 w 195041"/>
                <a:gd name="connsiteY1" fmla="*/ 2971 h 22436"/>
                <a:gd name="connsiteX2" fmla="*/ 31105 w 195041"/>
                <a:gd name="connsiteY2" fmla="*/ 2971 h 22436"/>
                <a:gd name="connsiteX3" fmla="*/ 41816 w 195041"/>
                <a:gd name="connsiteY3" fmla="*/ 14513 h 22436"/>
                <a:gd name="connsiteX4" fmla="*/ 55118 w 195041"/>
                <a:gd name="connsiteY4" fmla="*/ 14513 h 22436"/>
                <a:gd name="connsiteX5" fmla="*/ 65829 w 195041"/>
                <a:gd name="connsiteY5" fmla="*/ 2971 h 22436"/>
                <a:gd name="connsiteX6" fmla="*/ 79132 w 195041"/>
                <a:gd name="connsiteY6" fmla="*/ 2971 h 22436"/>
                <a:gd name="connsiteX7" fmla="*/ 91016 w 195041"/>
                <a:gd name="connsiteY7" fmla="*/ 15736 h 22436"/>
                <a:gd name="connsiteX8" fmla="*/ 104319 w 195041"/>
                <a:gd name="connsiteY8" fmla="*/ 15736 h 22436"/>
                <a:gd name="connsiteX9" fmla="*/ 115763 w 195041"/>
                <a:gd name="connsiteY9" fmla="*/ 3460 h 22436"/>
                <a:gd name="connsiteX10" fmla="*/ 129066 w 195041"/>
                <a:gd name="connsiteY10" fmla="*/ 3460 h 22436"/>
                <a:gd name="connsiteX11" fmla="*/ 139923 w 195041"/>
                <a:gd name="connsiteY11" fmla="*/ 15149 h 22436"/>
                <a:gd name="connsiteX12" fmla="*/ 153226 w 195041"/>
                <a:gd name="connsiteY12" fmla="*/ 15149 h 22436"/>
                <a:gd name="connsiteX13" fmla="*/ 164083 w 195041"/>
                <a:gd name="connsiteY13" fmla="*/ 3460 h 22436"/>
                <a:gd name="connsiteX14" fmla="*/ 177386 w 195041"/>
                <a:gd name="connsiteY14" fmla="*/ 3460 h 22436"/>
                <a:gd name="connsiteX15" fmla="*/ 195041 w 195041"/>
                <a:gd name="connsiteY15" fmla="*/ 22436 h 224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95041" h="22436">
                  <a:moveTo>
                    <a:pt x="0" y="22094"/>
                  </a:moveTo>
                  <a:lnTo>
                    <a:pt x="17802" y="2971"/>
                  </a:lnTo>
                  <a:cubicBezTo>
                    <a:pt x="21470" y="-990"/>
                    <a:pt x="27486" y="-990"/>
                    <a:pt x="31105" y="2971"/>
                  </a:cubicBezTo>
                  <a:lnTo>
                    <a:pt x="41816" y="14513"/>
                  </a:lnTo>
                  <a:cubicBezTo>
                    <a:pt x="45484" y="18475"/>
                    <a:pt x="51499" y="18475"/>
                    <a:pt x="55118" y="14513"/>
                  </a:cubicBezTo>
                  <a:lnTo>
                    <a:pt x="65829" y="2971"/>
                  </a:lnTo>
                  <a:cubicBezTo>
                    <a:pt x="69497" y="-990"/>
                    <a:pt x="75464" y="-990"/>
                    <a:pt x="79132" y="2971"/>
                  </a:cubicBezTo>
                  <a:lnTo>
                    <a:pt x="91016" y="15736"/>
                  </a:lnTo>
                  <a:cubicBezTo>
                    <a:pt x="94684" y="19697"/>
                    <a:pt x="100651" y="19697"/>
                    <a:pt x="104319" y="15736"/>
                  </a:cubicBezTo>
                  <a:lnTo>
                    <a:pt x="115763" y="3460"/>
                  </a:lnTo>
                  <a:cubicBezTo>
                    <a:pt x="119431" y="-501"/>
                    <a:pt x="125398" y="-501"/>
                    <a:pt x="129066" y="3460"/>
                  </a:cubicBezTo>
                  <a:lnTo>
                    <a:pt x="139923" y="15149"/>
                  </a:lnTo>
                  <a:cubicBezTo>
                    <a:pt x="143591" y="19111"/>
                    <a:pt x="149558" y="19111"/>
                    <a:pt x="153226" y="15149"/>
                  </a:cubicBezTo>
                  <a:lnTo>
                    <a:pt x="164083" y="3460"/>
                  </a:lnTo>
                  <a:cubicBezTo>
                    <a:pt x="167751" y="-501"/>
                    <a:pt x="173767" y="-501"/>
                    <a:pt x="177386" y="3460"/>
                  </a:cubicBezTo>
                  <a:lnTo>
                    <a:pt x="195041" y="22436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6" name="Forma livre: Forma 155">
              <a:extLst>
                <a:ext uri="{FF2B5EF4-FFF2-40B4-BE49-F238E27FC236}">
                  <a16:creationId xmlns:a16="http://schemas.microsoft.com/office/drawing/2014/main" id="{DFC6D62A-D3F7-7E84-3723-2F23833B7A0A}"/>
                </a:ext>
              </a:extLst>
            </p:cNvPr>
            <p:cNvSpPr/>
            <p:nvPr/>
          </p:nvSpPr>
          <p:spPr>
            <a:xfrm>
              <a:off x="1512839" y="2782385"/>
              <a:ext cx="195041" cy="22436"/>
            </a:xfrm>
            <a:custGeom>
              <a:avLst/>
              <a:gdLst>
                <a:gd name="connsiteX0" fmla="*/ 0 w 195041"/>
                <a:gd name="connsiteY0" fmla="*/ 22143 h 22436"/>
                <a:gd name="connsiteX1" fmla="*/ 17802 w 195041"/>
                <a:gd name="connsiteY1" fmla="*/ 2971 h 22436"/>
                <a:gd name="connsiteX2" fmla="*/ 31105 w 195041"/>
                <a:gd name="connsiteY2" fmla="*/ 2971 h 22436"/>
                <a:gd name="connsiteX3" fmla="*/ 41816 w 195041"/>
                <a:gd name="connsiteY3" fmla="*/ 14464 h 22436"/>
                <a:gd name="connsiteX4" fmla="*/ 55118 w 195041"/>
                <a:gd name="connsiteY4" fmla="*/ 14464 h 22436"/>
                <a:gd name="connsiteX5" fmla="*/ 65829 w 195041"/>
                <a:gd name="connsiteY5" fmla="*/ 2971 h 22436"/>
                <a:gd name="connsiteX6" fmla="*/ 79132 w 195041"/>
                <a:gd name="connsiteY6" fmla="*/ 2971 h 22436"/>
                <a:gd name="connsiteX7" fmla="*/ 91016 w 195041"/>
                <a:gd name="connsiteY7" fmla="*/ 15736 h 22436"/>
                <a:gd name="connsiteX8" fmla="*/ 104319 w 195041"/>
                <a:gd name="connsiteY8" fmla="*/ 15736 h 22436"/>
                <a:gd name="connsiteX9" fmla="*/ 115763 w 195041"/>
                <a:gd name="connsiteY9" fmla="*/ 3460 h 22436"/>
                <a:gd name="connsiteX10" fmla="*/ 129066 w 195041"/>
                <a:gd name="connsiteY10" fmla="*/ 3460 h 22436"/>
                <a:gd name="connsiteX11" fmla="*/ 139923 w 195041"/>
                <a:gd name="connsiteY11" fmla="*/ 15149 h 22436"/>
                <a:gd name="connsiteX12" fmla="*/ 153226 w 195041"/>
                <a:gd name="connsiteY12" fmla="*/ 15149 h 22436"/>
                <a:gd name="connsiteX13" fmla="*/ 164083 w 195041"/>
                <a:gd name="connsiteY13" fmla="*/ 3460 h 22436"/>
                <a:gd name="connsiteX14" fmla="*/ 177386 w 195041"/>
                <a:gd name="connsiteY14" fmla="*/ 3460 h 22436"/>
                <a:gd name="connsiteX15" fmla="*/ 195041 w 195041"/>
                <a:gd name="connsiteY15" fmla="*/ 22436 h 224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95041" h="22436">
                  <a:moveTo>
                    <a:pt x="0" y="22143"/>
                  </a:moveTo>
                  <a:lnTo>
                    <a:pt x="17802" y="2971"/>
                  </a:lnTo>
                  <a:cubicBezTo>
                    <a:pt x="21470" y="-990"/>
                    <a:pt x="27486" y="-990"/>
                    <a:pt x="31105" y="2971"/>
                  </a:cubicBezTo>
                  <a:lnTo>
                    <a:pt x="41816" y="14464"/>
                  </a:lnTo>
                  <a:cubicBezTo>
                    <a:pt x="45484" y="18377"/>
                    <a:pt x="51499" y="18377"/>
                    <a:pt x="55118" y="14464"/>
                  </a:cubicBezTo>
                  <a:lnTo>
                    <a:pt x="65829" y="2971"/>
                  </a:lnTo>
                  <a:cubicBezTo>
                    <a:pt x="69497" y="-990"/>
                    <a:pt x="75464" y="-990"/>
                    <a:pt x="79132" y="2971"/>
                  </a:cubicBezTo>
                  <a:lnTo>
                    <a:pt x="91016" y="15736"/>
                  </a:lnTo>
                  <a:cubicBezTo>
                    <a:pt x="94684" y="19697"/>
                    <a:pt x="100651" y="19697"/>
                    <a:pt x="104319" y="15736"/>
                  </a:cubicBezTo>
                  <a:lnTo>
                    <a:pt x="115763" y="3460"/>
                  </a:lnTo>
                  <a:cubicBezTo>
                    <a:pt x="119431" y="-501"/>
                    <a:pt x="125398" y="-501"/>
                    <a:pt x="129066" y="3460"/>
                  </a:cubicBezTo>
                  <a:lnTo>
                    <a:pt x="139923" y="15149"/>
                  </a:lnTo>
                  <a:cubicBezTo>
                    <a:pt x="143591" y="19111"/>
                    <a:pt x="149558" y="19111"/>
                    <a:pt x="153226" y="15149"/>
                  </a:cubicBezTo>
                  <a:lnTo>
                    <a:pt x="164083" y="3460"/>
                  </a:lnTo>
                  <a:cubicBezTo>
                    <a:pt x="167751" y="-452"/>
                    <a:pt x="173767" y="-452"/>
                    <a:pt x="177386" y="3460"/>
                  </a:cubicBezTo>
                  <a:lnTo>
                    <a:pt x="195041" y="22436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57" name="Gráfico 2">
              <a:extLst>
                <a:ext uri="{FF2B5EF4-FFF2-40B4-BE49-F238E27FC236}">
                  <a16:creationId xmlns:a16="http://schemas.microsoft.com/office/drawing/2014/main" id="{8F36F2D8-2A65-E94E-10E1-E3677482439A}"/>
                </a:ext>
              </a:extLst>
            </p:cNvPr>
            <p:cNvGrpSpPr/>
            <p:nvPr/>
          </p:nvGrpSpPr>
          <p:grpSpPr>
            <a:xfrm>
              <a:off x="1565561" y="2568552"/>
              <a:ext cx="18975" cy="134249"/>
              <a:chOff x="1565561" y="2568552"/>
              <a:chExt cx="18975" cy="134249"/>
            </a:xfrm>
            <a:noFill/>
          </p:grpSpPr>
          <p:sp>
            <p:nvSpPr>
              <p:cNvPr id="158" name="Forma livre: Forma 157">
                <a:extLst>
                  <a:ext uri="{FF2B5EF4-FFF2-40B4-BE49-F238E27FC236}">
                    <a16:creationId xmlns:a16="http://schemas.microsoft.com/office/drawing/2014/main" id="{1DA7CBEA-AEF0-8B84-3717-4790EFF104A4}"/>
                  </a:ext>
                </a:extLst>
              </p:cNvPr>
              <p:cNvSpPr/>
              <p:nvPr/>
            </p:nvSpPr>
            <p:spPr>
              <a:xfrm>
                <a:off x="1565561" y="2616089"/>
                <a:ext cx="4890" cy="86712"/>
              </a:xfrm>
              <a:custGeom>
                <a:avLst/>
                <a:gdLst>
                  <a:gd name="connsiteX0" fmla="*/ 0 w 4890"/>
                  <a:gd name="connsiteY0" fmla="*/ 0 h 86712"/>
                  <a:gd name="connsiteX1" fmla="*/ 0 w 4890"/>
                  <a:gd name="connsiteY1" fmla="*/ 86712 h 867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890" h="86712">
                    <a:moveTo>
                      <a:pt x="0" y="0"/>
                    </a:moveTo>
                    <a:lnTo>
                      <a:pt x="0" y="86712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59" name="Forma livre: Forma 158">
                <a:extLst>
                  <a:ext uri="{FF2B5EF4-FFF2-40B4-BE49-F238E27FC236}">
                    <a16:creationId xmlns:a16="http://schemas.microsoft.com/office/drawing/2014/main" id="{014078EE-E6AC-385A-4AFA-5570E8FCC8A4}"/>
                  </a:ext>
                </a:extLst>
              </p:cNvPr>
              <p:cNvSpPr/>
              <p:nvPr/>
            </p:nvSpPr>
            <p:spPr>
              <a:xfrm>
                <a:off x="1565610" y="2568552"/>
                <a:ext cx="18927" cy="61280"/>
              </a:xfrm>
              <a:custGeom>
                <a:avLst/>
                <a:gdLst>
                  <a:gd name="connsiteX0" fmla="*/ 18927 w 18927"/>
                  <a:gd name="connsiteY0" fmla="*/ 0 h 61280"/>
                  <a:gd name="connsiteX1" fmla="*/ 0 w 18927"/>
                  <a:gd name="connsiteY1" fmla="*/ 26410 h 61280"/>
                  <a:gd name="connsiteX2" fmla="*/ 0 w 18927"/>
                  <a:gd name="connsiteY2" fmla="*/ 61281 h 612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8927" h="61280">
                    <a:moveTo>
                      <a:pt x="18927" y="0"/>
                    </a:moveTo>
                    <a:cubicBezTo>
                      <a:pt x="1223" y="0"/>
                      <a:pt x="0" y="20003"/>
                      <a:pt x="0" y="26410"/>
                    </a:cubicBezTo>
                    <a:lnTo>
                      <a:pt x="0" y="61281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60" name="Gráfico 2">
              <a:extLst>
                <a:ext uri="{FF2B5EF4-FFF2-40B4-BE49-F238E27FC236}">
                  <a16:creationId xmlns:a16="http://schemas.microsoft.com/office/drawing/2014/main" id="{062E1E7F-B781-2E73-3B7C-9F83AD67F5DD}"/>
                </a:ext>
              </a:extLst>
            </p:cNvPr>
            <p:cNvGrpSpPr/>
            <p:nvPr/>
          </p:nvGrpSpPr>
          <p:grpSpPr>
            <a:xfrm>
              <a:off x="1648459" y="2568552"/>
              <a:ext cx="18975" cy="134249"/>
              <a:chOff x="1648459" y="2568552"/>
              <a:chExt cx="18975" cy="134249"/>
            </a:xfrm>
            <a:noFill/>
          </p:grpSpPr>
          <p:sp>
            <p:nvSpPr>
              <p:cNvPr id="161" name="Forma livre: Forma 160">
                <a:extLst>
                  <a:ext uri="{FF2B5EF4-FFF2-40B4-BE49-F238E27FC236}">
                    <a16:creationId xmlns:a16="http://schemas.microsoft.com/office/drawing/2014/main" id="{F6510B67-9031-619B-029F-15D9D4BCEB68}"/>
                  </a:ext>
                </a:extLst>
              </p:cNvPr>
              <p:cNvSpPr/>
              <p:nvPr/>
            </p:nvSpPr>
            <p:spPr>
              <a:xfrm>
                <a:off x="1648459" y="2616089"/>
                <a:ext cx="4890" cy="86712"/>
              </a:xfrm>
              <a:custGeom>
                <a:avLst/>
                <a:gdLst>
                  <a:gd name="connsiteX0" fmla="*/ 0 w 4890"/>
                  <a:gd name="connsiteY0" fmla="*/ 0 h 86712"/>
                  <a:gd name="connsiteX1" fmla="*/ 0 w 4890"/>
                  <a:gd name="connsiteY1" fmla="*/ 86712 h 867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890" h="86712">
                    <a:moveTo>
                      <a:pt x="0" y="0"/>
                    </a:moveTo>
                    <a:lnTo>
                      <a:pt x="0" y="86712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62" name="Forma livre: Forma 161">
                <a:extLst>
                  <a:ext uri="{FF2B5EF4-FFF2-40B4-BE49-F238E27FC236}">
                    <a16:creationId xmlns:a16="http://schemas.microsoft.com/office/drawing/2014/main" id="{DF9B0A08-8C55-07F4-0B94-E966CB74FB33}"/>
                  </a:ext>
                </a:extLst>
              </p:cNvPr>
              <p:cNvSpPr/>
              <p:nvPr/>
            </p:nvSpPr>
            <p:spPr>
              <a:xfrm>
                <a:off x="1648507" y="2568552"/>
                <a:ext cx="18927" cy="61280"/>
              </a:xfrm>
              <a:custGeom>
                <a:avLst/>
                <a:gdLst>
                  <a:gd name="connsiteX0" fmla="*/ 18927 w 18927"/>
                  <a:gd name="connsiteY0" fmla="*/ 0 h 61280"/>
                  <a:gd name="connsiteX1" fmla="*/ 0 w 18927"/>
                  <a:gd name="connsiteY1" fmla="*/ 26410 h 61280"/>
                  <a:gd name="connsiteX2" fmla="*/ 0 w 18927"/>
                  <a:gd name="connsiteY2" fmla="*/ 61281 h 612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8927" h="61280">
                    <a:moveTo>
                      <a:pt x="18927" y="0"/>
                    </a:moveTo>
                    <a:cubicBezTo>
                      <a:pt x="1223" y="0"/>
                      <a:pt x="0" y="20003"/>
                      <a:pt x="0" y="26410"/>
                    </a:cubicBezTo>
                    <a:lnTo>
                      <a:pt x="0" y="61281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63" name="Gráfico 2">
            <a:extLst>
              <a:ext uri="{FF2B5EF4-FFF2-40B4-BE49-F238E27FC236}">
                <a16:creationId xmlns:a16="http://schemas.microsoft.com/office/drawing/2014/main" id="{93E9AF21-5BD9-DEE2-03BD-B7F4DDB1D4CC}"/>
              </a:ext>
            </a:extLst>
          </p:cNvPr>
          <p:cNvGrpSpPr/>
          <p:nvPr/>
        </p:nvGrpSpPr>
        <p:grpSpPr>
          <a:xfrm>
            <a:off x="822589" y="3119855"/>
            <a:ext cx="298760" cy="298762"/>
            <a:chOff x="822589" y="3119855"/>
            <a:chExt cx="298760" cy="298762"/>
          </a:xfrm>
          <a:noFill/>
        </p:grpSpPr>
        <p:grpSp>
          <p:nvGrpSpPr>
            <p:cNvPr id="164" name="Gráfico 2">
              <a:extLst>
                <a:ext uri="{FF2B5EF4-FFF2-40B4-BE49-F238E27FC236}">
                  <a16:creationId xmlns:a16="http://schemas.microsoft.com/office/drawing/2014/main" id="{BFEE3634-2DFE-D83B-52BE-DB08BF04508B}"/>
                </a:ext>
              </a:extLst>
            </p:cNvPr>
            <p:cNvGrpSpPr/>
            <p:nvPr/>
          </p:nvGrpSpPr>
          <p:grpSpPr>
            <a:xfrm>
              <a:off x="822589" y="3119855"/>
              <a:ext cx="298760" cy="298762"/>
              <a:chOff x="822589" y="3119855"/>
              <a:chExt cx="298760" cy="298762"/>
            </a:xfrm>
            <a:noFill/>
          </p:grpSpPr>
          <p:sp>
            <p:nvSpPr>
              <p:cNvPr id="165" name="Forma livre: Forma 164">
                <a:extLst>
                  <a:ext uri="{FF2B5EF4-FFF2-40B4-BE49-F238E27FC236}">
                    <a16:creationId xmlns:a16="http://schemas.microsoft.com/office/drawing/2014/main" id="{05A23F22-A23F-A0B7-E8EA-EC7307775C73}"/>
                  </a:ext>
                </a:extLst>
              </p:cNvPr>
              <p:cNvSpPr/>
              <p:nvPr/>
            </p:nvSpPr>
            <p:spPr>
              <a:xfrm>
                <a:off x="923945" y="3302793"/>
                <a:ext cx="111365" cy="115824"/>
              </a:xfrm>
              <a:custGeom>
                <a:avLst/>
                <a:gdLst>
                  <a:gd name="connsiteX0" fmla="*/ 35902 w 111365"/>
                  <a:gd name="connsiteY0" fmla="*/ 15993 h 115824"/>
                  <a:gd name="connsiteX1" fmla="*/ 32527 w 111365"/>
                  <a:gd name="connsiteY1" fmla="*/ 21226 h 115824"/>
                  <a:gd name="connsiteX2" fmla="*/ 22208 w 111365"/>
                  <a:gd name="connsiteY2" fmla="*/ 114345 h 115824"/>
                  <a:gd name="connsiteX3" fmla="*/ 22697 w 111365"/>
                  <a:gd name="connsiteY3" fmla="*/ 114442 h 115824"/>
                  <a:gd name="connsiteX4" fmla="*/ 101682 w 111365"/>
                  <a:gd name="connsiteY4" fmla="*/ 27681 h 115824"/>
                  <a:gd name="connsiteX5" fmla="*/ 85885 w 111365"/>
                  <a:gd name="connsiteY5" fmla="*/ 0 h 1158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11365" h="115824">
                    <a:moveTo>
                      <a:pt x="35902" y="15993"/>
                    </a:moveTo>
                    <a:cubicBezTo>
                      <a:pt x="34924" y="17704"/>
                      <a:pt x="33799" y="19465"/>
                      <a:pt x="32527" y="21226"/>
                    </a:cubicBezTo>
                    <a:cubicBezTo>
                      <a:pt x="7976" y="58933"/>
                      <a:pt x="-21026" y="108525"/>
                      <a:pt x="22208" y="114345"/>
                    </a:cubicBezTo>
                    <a:cubicBezTo>
                      <a:pt x="22355" y="114345"/>
                      <a:pt x="22550" y="114394"/>
                      <a:pt x="22697" y="114442"/>
                    </a:cubicBezTo>
                    <a:cubicBezTo>
                      <a:pt x="73169" y="122610"/>
                      <a:pt x="135672" y="94684"/>
                      <a:pt x="101682" y="27681"/>
                    </a:cubicBezTo>
                    <a:cubicBezTo>
                      <a:pt x="96302" y="16482"/>
                      <a:pt x="90922" y="7434"/>
                      <a:pt x="85885" y="0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66" name="Forma livre: Forma 165">
                <a:extLst>
                  <a:ext uri="{FF2B5EF4-FFF2-40B4-BE49-F238E27FC236}">
                    <a16:creationId xmlns:a16="http://schemas.microsoft.com/office/drawing/2014/main" id="{D9B62A2B-7A7E-6542-9EF2-978D1606BC3C}"/>
                  </a:ext>
                </a:extLst>
              </p:cNvPr>
              <p:cNvSpPr/>
              <p:nvPr/>
            </p:nvSpPr>
            <p:spPr>
              <a:xfrm>
                <a:off x="822589" y="3221261"/>
                <a:ext cx="115690" cy="111365"/>
              </a:xfrm>
              <a:custGeom>
                <a:avLst/>
                <a:gdLst>
                  <a:gd name="connsiteX0" fmla="*/ 99698 w 115690"/>
                  <a:gd name="connsiteY0" fmla="*/ 35804 h 111365"/>
                  <a:gd name="connsiteX1" fmla="*/ 94612 w 115690"/>
                  <a:gd name="connsiteY1" fmla="*/ 32528 h 111365"/>
                  <a:gd name="connsiteX2" fmla="*/ 1493 w 115690"/>
                  <a:gd name="connsiteY2" fmla="*/ 22208 h 111365"/>
                  <a:gd name="connsiteX3" fmla="*/ 1395 w 115690"/>
                  <a:gd name="connsiteY3" fmla="*/ 22697 h 111365"/>
                  <a:gd name="connsiteX4" fmla="*/ 88156 w 115690"/>
                  <a:gd name="connsiteY4" fmla="*/ 101682 h 111365"/>
                  <a:gd name="connsiteX5" fmla="*/ 115691 w 115690"/>
                  <a:gd name="connsiteY5" fmla="*/ 86032 h 1113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15690" h="111365">
                    <a:moveTo>
                      <a:pt x="99698" y="35804"/>
                    </a:moveTo>
                    <a:cubicBezTo>
                      <a:pt x="98035" y="34826"/>
                      <a:pt x="96323" y="33750"/>
                      <a:pt x="94612" y="32528"/>
                    </a:cubicBezTo>
                    <a:cubicBezTo>
                      <a:pt x="56904" y="7976"/>
                      <a:pt x="7362" y="-21026"/>
                      <a:pt x="1493" y="22208"/>
                    </a:cubicBezTo>
                    <a:cubicBezTo>
                      <a:pt x="1493" y="22355"/>
                      <a:pt x="1444" y="22550"/>
                      <a:pt x="1395" y="22697"/>
                    </a:cubicBezTo>
                    <a:cubicBezTo>
                      <a:pt x="-6821" y="73169"/>
                      <a:pt x="21153" y="135672"/>
                      <a:pt x="88156" y="101682"/>
                    </a:cubicBezTo>
                    <a:cubicBezTo>
                      <a:pt x="99307" y="96351"/>
                      <a:pt x="108257" y="91020"/>
                      <a:pt x="115691" y="86032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67" name="Forma livre: Forma 166">
                <a:extLst>
                  <a:ext uri="{FF2B5EF4-FFF2-40B4-BE49-F238E27FC236}">
                    <a16:creationId xmlns:a16="http://schemas.microsoft.com/office/drawing/2014/main" id="{175D2D40-B9AF-916F-F8FE-F01B3574984F}"/>
                  </a:ext>
                </a:extLst>
              </p:cNvPr>
              <p:cNvSpPr/>
              <p:nvPr/>
            </p:nvSpPr>
            <p:spPr>
              <a:xfrm>
                <a:off x="908672" y="3119855"/>
                <a:ext cx="111347" cy="115152"/>
              </a:xfrm>
              <a:custGeom>
                <a:avLst/>
                <a:gdLst>
                  <a:gd name="connsiteX0" fmla="*/ 75434 w 111347"/>
                  <a:gd name="connsiteY0" fmla="*/ 99845 h 115152"/>
                  <a:gd name="connsiteX1" fmla="*/ 78808 w 111347"/>
                  <a:gd name="connsiteY1" fmla="*/ 94612 h 115152"/>
                  <a:gd name="connsiteX2" fmla="*/ 89177 w 111347"/>
                  <a:gd name="connsiteY2" fmla="*/ 1444 h 115152"/>
                  <a:gd name="connsiteX3" fmla="*/ 88687 w 111347"/>
                  <a:gd name="connsiteY3" fmla="*/ 1395 h 115152"/>
                  <a:gd name="connsiteX4" fmla="*/ 9703 w 111347"/>
                  <a:gd name="connsiteY4" fmla="*/ 88156 h 115152"/>
                  <a:gd name="connsiteX5" fmla="*/ 25011 w 111347"/>
                  <a:gd name="connsiteY5" fmla="*/ 115153 h 1151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11347" h="115152">
                    <a:moveTo>
                      <a:pt x="75434" y="99845"/>
                    </a:moveTo>
                    <a:cubicBezTo>
                      <a:pt x="76412" y="98133"/>
                      <a:pt x="77537" y="96372"/>
                      <a:pt x="78808" y="94612"/>
                    </a:cubicBezTo>
                    <a:cubicBezTo>
                      <a:pt x="103360" y="56904"/>
                      <a:pt x="132361" y="7362"/>
                      <a:pt x="89177" y="1444"/>
                    </a:cubicBezTo>
                    <a:cubicBezTo>
                      <a:pt x="88981" y="1444"/>
                      <a:pt x="88834" y="1444"/>
                      <a:pt x="88687" y="1395"/>
                    </a:cubicBezTo>
                    <a:cubicBezTo>
                      <a:pt x="38215" y="-6822"/>
                      <a:pt x="-24337" y="21153"/>
                      <a:pt x="9703" y="88156"/>
                    </a:cubicBezTo>
                    <a:cubicBezTo>
                      <a:pt x="14887" y="99013"/>
                      <a:pt x="20120" y="107866"/>
                      <a:pt x="25011" y="115153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68" name="Forma livre: Forma 167">
                <a:extLst>
                  <a:ext uri="{FF2B5EF4-FFF2-40B4-BE49-F238E27FC236}">
                    <a16:creationId xmlns:a16="http://schemas.microsoft.com/office/drawing/2014/main" id="{9D29567F-3B8D-99D2-74D5-F51D2F6C87B0}"/>
                  </a:ext>
                </a:extLst>
              </p:cNvPr>
              <p:cNvSpPr/>
              <p:nvPr/>
            </p:nvSpPr>
            <p:spPr>
              <a:xfrm>
                <a:off x="1005624" y="3205908"/>
                <a:ext cx="115724" cy="111365"/>
              </a:xfrm>
              <a:custGeom>
                <a:avLst/>
                <a:gdLst>
                  <a:gd name="connsiteX0" fmla="*/ 15846 w 115724"/>
                  <a:gd name="connsiteY0" fmla="*/ 75464 h 111365"/>
                  <a:gd name="connsiteX1" fmla="*/ 21128 w 115724"/>
                  <a:gd name="connsiteY1" fmla="*/ 78839 h 111365"/>
                  <a:gd name="connsiteX2" fmla="*/ 114247 w 115724"/>
                  <a:gd name="connsiteY2" fmla="*/ 89158 h 111365"/>
                  <a:gd name="connsiteX3" fmla="*/ 114345 w 115724"/>
                  <a:gd name="connsiteY3" fmla="*/ 88669 h 111365"/>
                  <a:gd name="connsiteX4" fmla="*/ 27584 w 115724"/>
                  <a:gd name="connsiteY4" fmla="*/ 9684 h 111365"/>
                  <a:gd name="connsiteX5" fmla="*/ 0 w 115724"/>
                  <a:gd name="connsiteY5" fmla="*/ 25383 h 1113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15724" h="111365">
                    <a:moveTo>
                      <a:pt x="15846" y="75464"/>
                    </a:moveTo>
                    <a:cubicBezTo>
                      <a:pt x="17558" y="76491"/>
                      <a:pt x="19318" y="77616"/>
                      <a:pt x="21128" y="78839"/>
                    </a:cubicBezTo>
                    <a:cubicBezTo>
                      <a:pt x="58835" y="103390"/>
                      <a:pt x="108427" y="132392"/>
                      <a:pt x="114247" y="89158"/>
                    </a:cubicBezTo>
                    <a:cubicBezTo>
                      <a:pt x="114247" y="89011"/>
                      <a:pt x="114296" y="88816"/>
                      <a:pt x="114345" y="88669"/>
                    </a:cubicBezTo>
                    <a:cubicBezTo>
                      <a:pt x="122512" y="38197"/>
                      <a:pt x="94537" y="-24306"/>
                      <a:pt x="27584" y="9684"/>
                    </a:cubicBezTo>
                    <a:cubicBezTo>
                      <a:pt x="16433" y="15015"/>
                      <a:pt x="7434" y="20346"/>
                      <a:pt x="0" y="25383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69" name="Forma livre: Forma 168">
              <a:extLst>
                <a:ext uri="{FF2B5EF4-FFF2-40B4-BE49-F238E27FC236}">
                  <a16:creationId xmlns:a16="http://schemas.microsoft.com/office/drawing/2014/main" id="{44148F04-DD85-D94B-D97D-81FADDAECECD}"/>
                </a:ext>
              </a:extLst>
            </p:cNvPr>
            <p:cNvSpPr/>
            <p:nvPr/>
          </p:nvSpPr>
          <p:spPr>
            <a:xfrm>
              <a:off x="945909" y="3243224"/>
              <a:ext cx="52037" cy="52037"/>
            </a:xfrm>
            <a:custGeom>
              <a:avLst/>
              <a:gdLst>
                <a:gd name="connsiteX0" fmla="*/ 52037 w 52037"/>
                <a:gd name="connsiteY0" fmla="*/ 26018 h 52037"/>
                <a:gd name="connsiteX1" fmla="*/ 26019 w 52037"/>
                <a:gd name="connsiteY1" fmla="*/ 52037 h 52037"/>
                <a:gd name="connsiteX2" fmla="*/ 0 w 52037"/>
                <a:gd name="connsiteY2" fmla="*/ 26018 h 52037"/>
                <a:gd name="connsiteX3" fmla="*/ 26019 w 52037"/>
                <a:gd name="connsiteY3" fmla="*/ 0 h 52037"/>
                <a:gd name="connsiteX4" fmla="*/ 52037 w 52037"/>
                <a:gd name="connsiteY4" fmla="*/ 26018 h 520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2037" h="52037">
                  <a:moveTo>
                    <a:pt x="52037" y="26018"/>
                  </a:moveTo>
                  <a:cubicBezTo>
                    <a:pt x="52037" y="40348"/>
                    <a:pt x="40397" y="52037"/>
                    <a:pt x="26019" y="52037"/>
                  </a:cubicBezTo>
                  <a:cubicBezTo>
                    <a:pt x="11640" y="52037"/>
                    <a:pt x="0" y="40397"/>
                    <a:pt x="0" y="26018"/>
                  </a:cubicBezTo>
                  <a:cubicBezTo>
                    <a:pt x="0" y="11640"/>
                    <a:pt x="11640" y="0"/>
                    <a:pt x="26019" y="0"/>
                  </a:cubicBezTo>
                  <a:cubicBezTo>
                    <a:pt x="40397" y="0"/>
                    <a:pt x="52037" y="11640"/>
                    <a:pt x="52037" y="26018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70" name="Gráfico 2">
            <a:extLst>
              <a:ext uri="{FF2B5EF4-FFF2-40B4-BE49-F238E27FC236}">
                <a16:creationId xmlns:a16="http://schemas.microsoft.com/office/drawing/2014/main" id="{3E68D325-7F1F-E9B2-A2FF-2CE657DFA9DF}"/>
              </a:ext>
            </a:extLst>
          </p:cNvPr>
          <p:cNvGrpSpPr/>
          <p:nvPr/>
        </p:nvGrpSpPr>
        <p:grpSpPr>
          <a:xfrm>
            <a:off x="2085628" y="3126728"/>
            <a:ext cx="320063" cy="285030"/>
            <a:chOff x="2085628" y="3126728"/>
            <a:chExt cx="320063" cy="285030"/>
          </a:xfrm>
          <a:noFill/>
        </p:grpSpPr>
        <p:sp>
          <p:nvSpPr>
            <p:cNvPr id="171" name="Forma livre: Forma 170">
              <a:extLst>
                <a:ext uri="{FF2B5EF4-FFF2-40B4-BE49-F238E27FC236}">
                  <a16:creationId xmlns:a16="http://schemas.microsoft.com/office/drawing/2014/main" id="{5B4D33CE-C7C1-FA27-07D1-62C34A1B282F}"/>
                </a:ext>
              </a:extLst>
            </p:cNvPr>
            <p:cNvSpPr/>
            <p:nvPr/>
          </p:nvSpPr>
          <p:spPr>
            <a:xfrm>
              <a:off x="2085628" y="3234227"/>
              <a:ext cx="320063" cy="151268"/>
            </a:xfrm>
            <a:custGeom>
              <a:avLst/>
              <a:gdLst>
                <a:gd name="connsiteX0" fmla="*/ 122083 w 320063"/>
                <a:gd name="connsiteY0" fmla="*/ 151268 h 151268"/>
                <a:gd name="connsiteX1" fmla="*/ 300838 w 320063"/>
                <a:gd name="connsiteY1" fmla="*/ 146769 h 151268"/>
                <a:gd name="connsiteX2" fmla="*/ 309005 w 320063"/>
                <a:gd name="connsiteY2" fmla="*/ 143345 h 151268"/>
                <a:gd name="connsiteX3" fmla="*/ 319178 w 320063"/>
                <a:gd name="connsiteY3" fmla="*/ 108523 h 151268"/>
                <a:gd name="connsiteX4" fmla="*/ 233542 w 320063"/>
                <a:gd name="connsiteY4" fmla="*/ 53503 h 151268"/>
                <a:gd name="connsiteX5" fmla="*/ 192753 w 320063"/>
                <a:gd name="connsiteY5" fmla="*/ 6601 h 151268"/>
                <a:gd name="connsiteX6" fmla="*/ 74545 w 320063"/>
                <a:gd name="connsiteY6" fmla="*/ 9291 h 151268"/>
                <a:gd name="connsiteX7" fmla="*/ 5977 w 320063"/>
                <a:gd name="connsiteY7" fmla="*/ 64996 h 151268"/>
                <a:gd name="connsiteX8" fmla="*/ 5977 w 320063"/>
                <a:gd name="connsiteY8" fmla="*/ 98253 h 151268"/>
                <a:gd name="connsiteX9" fmla="*/ 17813 w 320063"/>
                <a:gd name="connsiteY9" fmla="*/ 149752 h 1512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20063" h="151268">
                  <a:moveTo>
                    <a:pt x="122083" y="151268"/>
                  </a:moveTo>
                  <a:lnTo>
                    <a:pt x="300838" y="146769"/>
                  </a:lnTo>
                  <a:cubicBezTo>
                    <a:pt x="305533" y="145839"/>
                    <a:pt x="309005" y="143345"/>
                    <a:pt x="309005" y="143345"/>
                  </a:cubicBezTo>
                  <a:cubicBezTo>
                    <a:pt x="324509" y="129994"/>
                    <a:pt x="319178" y="108523"/>
                    <a:pt x="319178" y="108523"/>
                  </a:cubicBezTo>
                  <a:cubicBezTo>
                    <a:pt x="315950" y="80842"/>
                    <a:pt x="233542" y="53503"/>
                    <a:pt x="233542" y="53503"/>
                  </a:cubicBezTo>
                  <a:lnTo>
                    <a:pt x="192753" y="6601"/>
                  </a:lnTo>
                  <a:cubicBezTo>
                    <a:pt x="140472" y="-9685"/>
                    <a:pt x="74545" y="9291"/>
                    <a:pt x="74545" y="9291"/>
                  </a:cubicBezTo>
                  <a:cubicBezTo>
                    <a:pt x="13411" y="23572"/>
                    <a:pt x="5977" y="64996"/>
                    <a:pt x="5977" y="64996"/>
                  </a:cubicBezTo>
                  <a:lnTo>
                    <a:pt x="5977" y="98253"/>
                  </a:lnTo>
                  <a:cubicBezTo>
                    <a:pt x="-9673" y="132097"/>
                    <a:pt x="9401" y="145546"/>
                    <a:pt x="17813" y="149752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2" name="Forma livre: Forma 171">
              <a:extLst>
                <a:ext uri="{FF2B5EF4-FFF2-40B4-BE49-F238E27FC236}">
                  <a16:creationId xmlns:a16="http://schemas.microsoft.com/office/drawing/2014/main" id="{662FA560-68BC-89FD-B9AB-A3298C633030}"/>
                </a:ext>
              </a:extLst>
            </p:cNvPr>
            <p:cNvSpPr/>
            <p:nvPr/>
          </p:nvSpPr>
          <p:spPr>
            <a:xfrm>
              <a:off x="2181692" y="3387011"/>
              <a:ext cx="125153" cy="4890"/>
            </a:xfrm>
            <a:custGeom>
              <a:avLst/>
              <a:gdLst>
                <a:gd name="connsiteX0" fmla="*/ 0 w 125153"/>
                <a:gd name="connsiteY0" fmla="*/ 0 h 4890"/>
                <a:gd name="connsiteX1" fmla="*/ 125153 w 125153"/>
                <a:gd name="connsiteY1" fmla="*/ 0 h 48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153" h="4890">
                  <a:moveTo>
                    <a:pt x="0" y="0"/>
                  </a:moveTo>
                  <a:lnTo>
                    <a:pt x="125153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3" name="Forma livre: Forma 172">
              <a:extLst>
                <a:ext uri="{FF2B5EF4-FFF2-40B4-BE49-F238E27FC236}">
                  <a16:creationId xmlns:a16="http://schemas.microsoft.com/office/drawing/2014/main" id="{94CA2EA1-CB22-23D5-7FA7-A7E0F047C3E3}"/>
                </a:ext>
              </a:extLst>
            </p:cNvPr>
            <p:cNvSpPr/>
            <p:nvPr/>
          </p:nvSpPr>
          <p:spPr>
            <a:xfrm>
              <a:off x="2135573" y="3293354"/>
              <a:ext cx="198366" cy="4890"/>
            </a:xfrm>
            <a:custGeom>
              <a:avLst/>
              <a:gdLst>
                <a:gd name="connsiteX0" fmla="*/ 0 w 198366"/>
                <a:gd name="connsiteY0" fmla="*/ 0 h 4890"/>
                <a:gd name="connsiteX1" fmla="*/ 198367 w 198366"/>
                <a:gd name="connsiteY1" fmla="*/ 0 h 48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98366" h="4890">
                  <a:moveTo>
                    <a:pt x="0" y="0"/>
                  </a:moveTo>
                  <a:lnTo>
                    <a:pt x="198367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4" name="Forma livre: Forma 173">
              <a:extLst>
                <a:ext uri="{FF2B5EF4-FFF2-40B4-BE49-F238E27FC236}">
                  <a16:creationId xmlns:a16="http://schemas.microsoft.com/office/drawing/2014/main" id="{5438FE18-EC5F-EC40-B0E8-E5B1CB29836B}"/>
                </a:ext>
              </a:extLst>
            </p:cNvPr>
            <p:cNvSpPr/>
            <p:nvPr/>
          </p:nvSpPr>
          <p:spPr>
            <a:xfrm>
              <a:off x="2209422" y="3236769"/>
              <a:ext cx="4890" cy="55264"/>
            </a:xfrm>
            <a:custGeom>
              <a:avLst/>
              <a:gdLst>
                <a:gd name="connsiteX0" fmla="*/ 0 w 4890"/>
                <a:gd name="connsiteY0" fmla="*/ 55265 h 55264"/>
                <a:gd name="connsiteX1" fmla="*/ 0 w 4890"/>
                <a:gd name="connsiteY1" fmla="*/ 0 h 552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890" h="55264">
                  <a:moveTo>
                    <a:pt x="0" y="55265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5" name="Forma livre: Forma 174">
              <a:extLst>
                <a:ext uri="{FF2B5EF4-FFF2-40B4-BE49-F238E27FC236}">
                  <a16:creationId xmlns:a16="http://schemas.microsoft.com/office/drawing/2014/main" id="{85397B38-AF64-DF5F-18F2-E5889A73D4D1}"/>
                </a:ext>
              </a:extLst>
            </p:cNvPr>
            <p:cNvSpPr/>
            <p:nvPr/>
          </p:nvSpPr>
          <p:spPr>
            <a:xfrm>
              <a:off x="2306698" y="3355368"/>
              <a:ext cx="56438" cy="56389"/>
            </a:xfrm>
            <a:custGeom>
              <a:avLst/>
              <a:gdLst>
                <a:gd name="connsiteX0" fmla="*/ 56439 w 56438"/>
                <a:gd name="connsiteY0" fmla="*/ 28219 h 56389"/>
                <a:gd name="connsiteX1" fmla="*/ 28219 w 56438"/>
                <a:gd name="connsiteY1" fmla="*/ 56390 h 56389"/>
                <a:gd name="connsiteX2" fmla="*/ 0 w 56438"/>
                <a:gd name="connsiteY2" fmla="*/ 28219 h 56389"/>
                <a:gd name="connsiteX3" fmla="*/ 28219 w 56438"/>
                <a:gd name="connsiteY3" fmla="*/ 0 h 56389"/>
                <a:gd name="connsiteX4" fmla="*/ 56439 w 56438"/>
                <a:gd name="connsiteY4" fmla="*/ 28219 h 563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6438" h="56389">
                  <a:moveTo>
                    <a:pt x="56439" y="28219"/>
                  </a:moveTo>
                  <a:cubicBezTo>
                    <a:pt x="56439" y="43772"/>
                    <a:pt x="43821" y="56390"/>
                    <a:pt x="28219" y="56390"/>
                  </a:cubicBezTo>
                  <a:cubicBezTo>
                    <a:pt x="12618" y="56390"/>
                    <a:pt x="0" y="43772"/>
                    <a:pt x="0" y="28219"/>
                  </a:cubicBezTo>
                  <a:cubicBezTo>
                    <a:pt x="0" y="12667"/>
                    <a:pt x="12618" y="0"/>
                    <a:pt x="28219" y="0"/>
                  </a:cubicBezTo>
                  <a:cubicBezTo>
                    <a:pt x="43821" y="0"/>
                    <a:pt x="56439" y="12618"/>
                    <a:pt x="56439" y="28219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6" name="Forma livre: Forma 175">
              <a:extLst>
                <a:ext uri="{FF2B5EF4-FFF2-40B4-BE49-F238E27FC236}">
                  <a16:creationId xmlns:a16="http://schemas.microsoft.com/office/drawing/2014/main" id="{4B9B7706-AB2B-C253-ECA1-89D171C2B561}"/>
                </a:ext>
              </a:extLst>
            </p:cNvPr>
            <p:cNvSpPr/>
            <p:nvPr/>
          </p:nvSpPr>
          <p:spPr>
            <a:xfrm>
              <a:off x="2125596" y="3355368"/>
              <a:ext cx="56438" cy="56389"/>
            </a:xfrm>
            <a:custGeom>
              <a:avLst/>
              <a:gdLst>
                <a:gd name="connsiteX0" fmla="*/ 56439 w 56438"/>
                <a:gd name="connsiteY0" fmla="*/ 28219 h 56389"/>
                <a:gd name="connsiteX1" fmla="*/ 28219 w 56438"/>
                <a:gd name="connsiteY1" fmla="*/ 56390 h 56389"/>
                <a:gd name="connsiteX2" fmla="*/ 0 w 56438"/>
                <a:gd name="connsiteY2" fmla="*/ 28219 h 56389"/>
                <a:gd name="connsiteX3" fmla="*/ 28219 w 56438"/>
                <a:gd name="connsiteY3" fmla="*/ 0 h 56389"/>
                <a:gd name="connsiteX4" fmla="*/ 56439 w 56438"/>
                <a:gd name="connsiteY4" fmla="*/ 28219 h 563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6438" h="56389">
                  <a:moveTo>
                    <a:pt x="56439" y="28219"/>
                  </a:moveTo>
                  <a:cubicBezTo>
                    <a:pt x="56439" y="43772"/>
                    <a:pt x="43821" y="56390"/>
                    <a:pt x="28219" y="56390"/>
                  </a:cubicBezTo>
                  <a:cubicBezTo>
                    <a:pt x="12618" y="56390"/>
                    <a:pt x="0" y="43772"/>
                    <a:pt x="0" y="28219"/>
                  </a:cubicBezTo>
                  <a:cubicBezTo>
                    <a:pt x="0" y="12667"/>
                    <a:pt x="12618" y="0"/>
                    <a:pt x="28219" y="0"/>
                  </a:cubicBezTo>
                  <a:cubicBezTo>
                    <a:pt x="43821" y="0"/>
                    <a:pt x="56439" y="12618"/>
                    <a:pt x="56439" y="28219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77" name="Gráfico 2">
              <a:extLst>
                <a:ext uri="{FF2B5EF4-FFF2-40B4-BE49-F238E27FC236}">
                  <a16:creationId xmlns:a16="http://schemas.microsoft.com/office/drawing/2014/main" id="{011DB8FF-2018-8A3F-ACAB-91DF906C81CD}"/>
                </a:ext>
              </a:extLst>
            </p:cNvPr>
            <p:cNvGrpSpPr/>
            <p:nvPr/>
          </p:nvGrpSpPr>
          <p:grpSpPr>
            <a:xfrm>
              <a:off x="2294765" y="3126728"/>
              <a:ext cx="102411" cy="102411"/>
              <a:chOff x="2294765" y="3126728"/>
              <a:chExt cx="102411" cy="102411"/>
            </a:xfrm>
            <a:noFill/>
          </p:grpSpPr>
          <p:sp>
            <p:nvSpPr>
              <p:cNvPr id="178" name="Forma livre: Forma 177">
                <a:extLst>
                  <a:ext uri="{FF2B5EF4-FFF2-40B4-BE49-F238E27FC236}">
                    <a16:creationId xmlns:a16="http://schemas.microsoft.com/office/drawing/2014/main" id="{BD57C71C-568D-AC22-2194-BBF960E04422}"/>
                  </a:ext>
                </a:extLst>
              </p:cNvPr>
              <p:cNvSpPr/>
              <p:nvPr/>
            </p:nvSpPr>
            <p:spPr>
              <a:xfrm>
                <a:off x="2324892" y="3157050"/>
                <a:ext cx="41962" cy="41962"/>
              </a:xfrm>
              <a:custGeom>
                <a:avLst/>
                <a:gdLst>
                  <a:gd name="connsiteX0" fmla="*/ 0 w 41962"/>
                  <a:gd name="connsiteY0" fmla="*/ 21079 h 41962"/>
                  <a:gd name="connsiteX1" fmla="*/ 21079 w 41962"/>
                  <a:gd name="connsiteY1" fmla="*/ 41963 h 41962"/>
                  <a:gd name="connsiteX2" fmla="*/ 41963 w 41962"/>
                  <a:gd name="connsiteY2" fmla="*/ 20884 h 41962"/>
                  <a:gd name="connsiteX3" fmla="*/ 20883 w 41962"/>
                  <a:gd name="connsiteY3" fmla="*/ 0 h 41962"/>
                  <a:gd name="connsiteX4" fmla="*/ 0 w 41962"/>
                  <a:gd name="connsiteY4" fmla="*/ 21079 h 419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962" h="41962">
                    <a:moveTo>
                      <a:pt x="0" y="21079"/>
                    </a:moveTo>
                    <a:cubicBezTo>
                      <a:pt x="49" y="32621"/>
                      <a:pt x="9488" y="42011"/>
                      <a:pt x="21079" y="41963"/>
                    </a:cubicBezTo>
                    <a:cubicBezTo>
                      <a:pt x="32670" y="41914"/>
                      <a:pt x="42011" y="32475"/>
                      <a:pt x="41963" y="20884"/>
                    </a:cubicBezTo>
                    <a:cubicBezTo>
                      <a:pt x="41914" y="9341"/>
                      <a:pt x="32475" y="-49"/>
                      <a:pt x="20883" y="0"/>
                    </a:cubicBezTo>
                    <a:cubicBezTo>
                      <a:pt x="9341" y="0"/>
                      <a:pt x="-49" y="9488"/>
                      <a:pt x="0" y="21079"/>
                    </a:cubicBezTo>
                    <a:close/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179" name="Gráfico 2">
                <a:extLst>
                  <a:ext uri="{FF2B5EF4-FFF2-40B4-BE49-F238E27FC236}">
                    <a16:creationId xmlns:a16="http://schemas.microsoft.com/office/drawing/2014/main" id="{55AFB51B-5E8D-A07D-0B3D-5873520013EB}"/>
                  </a:ext>
                </a:extLst>
              </p:cNvPr>
              <p:cNvGrpSpPr/>
              <p:nvPr/>
            </p:nvGrpSpPr>
            <p:grpSpPr>
              <a:xfrm>
                <a:off x="2324990" y="3126728"/>
                <a:ext cx="41962" cy="102411"/>
                <a:chOff x="2324990" y="3126728"/>
                <a:chExt cx="41962" cy="102411"/>
              </a:xfrm>
            </p:grpSpPr>
            <p:sp>
              <p:nvSpPr>
                <p:cNvPr id="180" name="Forma livre: Forma 179">
                  <a:extLst>
                    <a:ext uri="{FF2B5EF4-FFF2-40B4-BE49-F238E27FC236}">
                      <a16:creationId xmlns:a16="http://schemas.microsoft.com/office/drawing/2014/main" id="{BC8DDF92-A828-26FB-143A-5C72729BE4D2}"/>
                    </a:ext>
                  </a:extLst>
                </p:cNvPr>
                <p:cNvSpPr/>
                <p:nvPr/>
              </p:nvSpPr>
              <p:spPr>
                <a:xfrm>
                  <a:off x="2324990" y="3218233"/>
                  <a:ext cx="4548" cy="10906"/>
                </a:xfrm>
                <a:custGeom>
                  <a:avLst/>
                  <a:gdLst>
                    <a:gd name="connsiteX0" fmla="*/ 0 w 4548"/>
                    <a:gd name="connsiteY0" fmla="*/ 10906 h 10906"/>
                    <a:gd name="connsiteX1" fmla="*/ 4548 w 4548"/>
                    <a:gd name="connsiteY1" fmla="*/ 0 h 1090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548" h="10906">
                      <a:moveTo>
                        <a:pt x="0" y="10906"/>
                      </a:moveTo>
                      <a:lnTo>
                        <a:pt x="4548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81" name="Forma livre: Forma 180">
                  <a:extLst>
                    <a:ext uri="{FF2B5EF4-FFF2-40B4-BE49-F238E27FC236}">
                      <a16:creationId xmlns:a16="http://schemas.microsoft.com/office/drawing/2014/main" id="{943A0650-C058-A066-3FEF-321167B41554}"/>
                    </a:ext>
                  </a:extLst>
                </p:cNvPr>
                <p:cNvSpPr/>
                <p:nvPr/>
              </p:nvSpPr>
              <p:spPr>
                <a:xfrm>
                  <a:off x="2362355" y="3126728"/>
                  <a:ext cx="4597" cy="10955"/>
                </a:xfrm>
                <a:custGeom>
                  <a:avLst/>
                  <a:gdLst>
                    <a:gd name="connsiteX0" fmla="*/ 0 w 4597"/>
                    <a:gd name="connsiteY0" fmla="*/ 10955 h 10955"/>
                    <a:gd name="connsiteX1" fmla="*/ 4597 w 4597"/>
                    <a:gd name="connsiteY1" fmla="*/ 0 h 1095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597" h="10955">
                      <a:moveTo>
                        <a:pt x="0" y="10955"/>
                      </a:moveTo>
                      <a:lnTo>
                        <a:pt x="4597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182" name="Gráfico 2">
                <a:extLst>
                  <a:ext uri="{FF2B5EF4-FFF2-40B4-BE49-F238E27FC236}">
                    <a16:creationId xmlns:a16="http://schemas.microsoft.com/office/drawing/2014/main" id="{6BD1543E-2CE4-8CCE-0BE7-1B1D6478235B}"/>
                  </a:ext>
                </a:extLst>
              </p:cNvPr>
              <p:cNvGrpSpPr/>
              <p:nvPr/>
            </p:nvGrpSpPr>
            <p:grpSpPr>
              <a:xfrm>
                <a:off x="2294912" y="3156561"/>
                <a:ext cx="102068" cy="42744"/>
                <a:chOff x="2294912" y="3156561"/>
                <a:chExt cx="102068" cy="42744"/>
              </a:xfrm>
            </p:grpSpPr>
            <p:sp>
              <p:nvSpPr>
                <p:cNvPr id="183" name="Forma livre: Forma 182">
                  <a:extLst>
                    <a:ext uri="{FF2B5EF4-FFF2-40B4-BE49-F238E27FC236}">
                      <a16:creationId xmlns:a16="http://schemas.microsoft.com/office/drawing/2014/main" id="{E0671220-A84B-3391-6A37-9CB3ADE7A242}"/>
                    </a:ext>
                  </a:extLst>
                </p:cNvPr>
                <p:cNvSpPr/>
                <p:nvPr/>
              </p:nvSpPr>
              <p:spPr>
                <a:xfrm>
                  <a:off x="2294912" y="3194806"/>
                  <a:ext cx="10955" cy="4499"/>
                </a:xfrm>
                <a:custGeom>
                  <a:avLst/>
                  <a:gdLst>
                    <a:gd name="connsiteX0" fmla="*/ 0 w 10955"/>
                    <a:gd name="connsiteY0" fmla="*/ 4499 h 4499"/>
                    <a:gd name="connsiteX1" fmla="*/ 10955 w 10955"/>
                    <a:gd name="connsiteY1" fmla="*/ 0 h 449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0955" h="4499">
                      <a:moveTo>
                        <a:pt x="0" y="4499"/>
                      </a:moveTo>
                      <a:lnTo>
                        <a:pt x="10955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84" name="Forma livre: Forma 183">
                  <a:extLst>
                    <a:ext uri="{FF2B5EF4-FFF2-40B4-BE49-F238E27FC236}">
                      <a16:creationId xmlns:a16="http://schemas.microsoft.com/office/drawing/2014/main" id="{8D07BEA0-7634-B8B9-FCE9-4A67E03377DD}"/>
                    </a:ext>
                  </a:extLst>
                </p:cNvPr>
                <p:cNvSpPr/>
                <p:nvPr/>
              </p:nvSpPr>
              <p:spPr>
                <a:xfrm>
                  <a:off x="2386075" y="3156561"/>
                  <a:ext cx="10906" cy="4499"/>
                </a:xfrm>
                <a:custGeom>
                  <a:avLst/>
                  <a:gdLst>
                    <a:gd name="connsiteX0" fmla="*/ 0 w 10906"/>
                    <a:gd name="connsiteY0" fmla="*/ 4499 h 4499"/>
                    <a:gd name="connsiteX1" fmla="*/ 10906 w 10906"/>
                    <a:gd name="connsiteY1" fmla="*/ 0 h 449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0906" h="4499">
                      <a:moveTo>
                        <a:pt x="0" y="4499"/>
                      </a:moveTo>
                      <a:lnTo>
                        <a:pt x="10906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185" name="Gráfico 2">
                <a:extLst>
                  <a:ext uri="{FF2B5EF4-FFF2-40B4-BE49-F238E27FC236}">
                    <a16:creationId xmlns:a16="http://schemas.microsoft.com/office/drawing/2014/main" id="{37F69205-D42B-2861-721B-3AE324F086A3}"/>
                  </a:ext>
                </a:extLst>
              </p:cNvPr>
              <p:cNvGrpSpPr/>
              <p:nvPr/>
            </p:nvGrpSpPr>
            <p:grpSpPr>
              <a:xfrm>
                <a:off x="2294765" y="3156952"/>
                <a:ext cx="102411" cy="41962"/>
                <a:chOff x="2294765" y="3156952"/>
                <a:chExt cx="102411" cy="41962"/>
              </a:xfrm>
            </p:grpSpPr>
            <p:sp>
              <p:nvSpPr>
                <p:cNvPr id="186" name="Forma livre: Forma 185">
                  <a:extLst>
                    <a:ext uri="{FF2B5EF4-FFF2-40B4-BE49-F238E27FC236}">
                      <a16:creationId xmlns:a16="http://schemas.microsoft.com/office/drawing/2014/main" id="{96CA6A2C-97B8-695D-D4FE-5EC4BDBBB5A5}"/>
                    </a:ext>
                  </a:extLst>
                </p:cNvPr>
                <p:cNvSpPr/>
                <p:nvPr/>
              </p:nvSpPr>
              <p:spPr>
                <a:xfrm>
                  <a:off x="2294765" y="3156952"/>
                  <a:ext cx="10906" cy="4597"/>
                </a:xfrm>
                <a:custGeom>
                  <a:avLst/>
                  <a:gdLst>
                    <a:gd name="connsiteX0" fmla="*/ 0 w 10906"/>
                    <a:gd name="connsiteY0" fmla="*/ 0 h 4597"/>
                    <a:gd name="connsiteX1" fmla="*/ 10906 w 10906"/>
                    <a:gd name="connsiteY1" fmla="*/ 4597 h 459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0906" h="4597">
                      <a:moveTo>
                        <a:pt x="0" y="0"/>
                      </a:moveTo>
                      <a:lnTo>
                        <a:pt x="10906" y="4597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87" name="Forma livre: Forma 186">
                  <a:extLst>
                    <a:ext uri="{FF2B5EF4-FFF2-40B4-BE49-F238E27FC236}">
                      <a16:creationId xmlns:a16="http://schemas.microsoft.com/office/drawing/2014/main" id="{B764B7C4-7B3F-5DAE-158D-EA220732CDBE}"/>
                    </a:ext>
                  </a:extLst>
                </p:cNvPr>
                <p:cNvSpPr/>
                <p:nvPr/>
              </p:nvSpPr>
              <p:spPr>
                <a:xfrm>
                  <a:off x="2386270" y="3194366"/>
                  <a:ext cx="10906" cy="4548"/>
                </a:xfrm>
                <a:custGeom>
                  <a:avLst/>
                  <a:gdLst>
                    <a:gd name="connsiteX0" fmla="*/ 0 w 10906"/>
                    <a:gd name="connsiteY0" fmla="*/ 0 h 4548"/>
                    <a:gd name="connsiteX1" fmla="*/ 10906 w 10906"/>
                    <a:gd name="connsiteY1" fmla="*/ 4548 h 45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0906" h="4548">
                      <a:moveTo>
                        <a:pt x="0" y="0"/>
                      </a:moveTo>
                      <a:lnTo>
                        <a:pt x="10906" y="4548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188" name="Gráfico 2">
                <a:extLst>
                  <a:ext uri="{FF2B5EF4-FFF2-40B4-BE49-F238E27FC236}">
                    <a16:creationId xmlns:a16="http://schemas.microsoft.com/office/drawing/2014/main" id="{D7248642-7CED-E164-7903-AB5F296DCDB1}"/>
                  </a:ext>
                </a:extLst>
              </p:cNvPr>
              <p:cNvGrpSpPr/>
              <p:nvPr/>
            </p:nvGrpSpPr>
            <p:grpSpPr>
              <a:xfrm>
                <a:off x="2324598" y="3126923"/>
                <a:ext cx="42744" cy="102069"/>
                <a:chOff x="2324598" y="3126923"/>
                <a:chExt cx="42744" cy="102069"/>
              </a:xfrm>
            </p:grpSpPr>
            <p:sp>
              <p:nvSpPr>
                <p:cNvPr id="189" name="Forma livre: Forma 188">
                  <a:extLst>
                    <a:ext uri="{FF2B5EF4-FFF2-40B4-BE49-F238E27FC236}">
                      <a16:creationId xmlns:a16="http://schemas.microsoft.com/office/drawing/2014/main" id="{C448B23D-B4BE-961C-91D8-778E0258EDCD}"/>
                    </a:ext>
                  </a:extLst>
                </p:cNvPr>
                <p:cNvSpPr/>
                <p:nvPr/>
              </p:nvSpPr>
              <p:spPr>
                <a:xfrm>
                  <a:off x="2362844" y="3218037"/>
                  <a:ext cx="4499" cy="10955"/>
                </a:xfrm>
                <a:custGeom>
                  <a:avLst/>
                  <a:gdLst>
                    <a:gd name="connsiteX0" fmla="*/ 4499 w 4499"/>
                    <a:gd name="connsiteY0" fmla="*/ 10955 h 10955"/>
                    <a:gd name="connsiteX1" fmla="*/ 0 w 4499"/>
                    <a:gd name="connsiteY1" fmla="*/ 0 h 1095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499" h="10955">
                      <a:moveTo>
                        <a:pt x="4499" y="10955"/>
                      </a:moveTo>
                      <a:lnTo>
                        <a:pt x="0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90" name="Forma livre: Forma 189">
                  <a:extLst>
                    <a:ext uri="{FF2B5EF4-FFF2-40B4-BE49-F238E27FC236}">
                      <a16:creationId xmlns:a16="http://schemas.microsoft.com/office/drawing/2014/main" id="{FEEBF3E4-3538-2F41-A266-92E4692549CA}"/>
                    </a:ext>
                  </a:extLst>
                </p:cNvPr>
                <p:cNvSpPr/>
                <p:nvPr/>
              </p:nvSpPr>
              <p:spPr>
                <a:xfrm>
                  <a:off x="2324598" y="3126923"/>
                  <a:ext cx="4499" cy="10955"/>
                </a:xfrm>
                <a:custGeom>
                  <a:avLst/>
                  <a:gdLst>
                    <a:gd name="connsiteX0" fmla="*/ 4500 w 4499"/>
                    <a:gd name="connsiteY0" fmla="*/ 10955 h 10955"/>
                    <a:gd name="connsiteX1" fmla="*/ 0 w 4499"/>
                    <a:gd name="connsiteY1" fmla="*/ 0 h 1095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499" h="10955">
                      <a:moveTo>
                        <a:pt x="4500" y="10955"/>
                      </a:moveTo>
                      <a:lnTo>
                        <a:pt x="0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</p:grpSp>
      <p:grpSp>
        <p:nvGrpSpPr>
          <p:cNvPr id="191" name="Gráfico 2">
            <a:extLst>
              <a:ext uri="{FF2B5EF4-FFF2-40B4-BE49-F238E27FC236}">
                <a16:creationId xmlns:a16="http://schemas.microsoft.com/office/drawing/2014/main" id="{46DD46AA-677B-A7F2-F5A4-85156C28365E}"/>
              </a:ext>
            </a:extLst>
          </p:cNvPr>
          <p:cNvGrpSpPr/>
          <p:nvPr/>
        </p:nvGrpSpPr>
        <p:grpSpPr>
          <a:xfrm>
            <a:off x="1398321" y="3196547"/>
            <a:ext cx="420849" cy="149516"/>
            <a:chOff x="1398321" y="3196547"/>
            <a:chExt cx="420849" cy="149516"/>
          </a:xfrm>
          <a:noFill/>
        </p:grpSpPr>
        <p:sp>
          <p:nvSpPr>
            <p:cNvPr id="192" name="Forma livre: Forma 191">
              <a:extLst>
                <a:ext uri="{FF2B5EF4-FFF2-40B4-BE49-F238E27FC236}">
                  <a16:creationId xmlns:a16="http://schemas.microsoft.com/office/drawing/2014/main" id="{9325CECF-5E97-4ACF-E0A8-93EAC04EDE6C}"/>
                </a:ext>
              </a:extLst>
            </p:cNvPr>
            <p:cNvSpPr/>
            <p:nvPr/>
          </p:nvSpPr>
          <p:spPr>
            <a:xfrm>
              <a:off x="1398321" y="3196547"/>
              <a:ext cx="420849" cy="139004"/>
            </a:xfrm>
            <a:custGeom>
              <a:avLst/>
              <a:gdLst>
                <a:gd name="connsiteX0" fmla="*/ 211452 w 420849"/>
                <a:gd name="connsiteY0" fmla="*/ 43890 h 139004"/>
                <a:gd name="connsiteX1" fmla="*/ 223972 w 420849"/>
                <a:gd name="connsiteY1" fmla="*/ 50199 h 139004"/>
                <a:gd name="connsiteX2" fmla="*/ 259430 w 420849"/>
                <a:gd name="connsiteY2" fmla="*/ 116076 h 139004"/>
                <a:gd name="connsiteX3" fmla="*/ 324183 w 420849"/>
                <a:gd name="connsiteY3" fmla="*/ 138916 h 139004"/>
                <a:gd name="connsiteX4" fmla="*/ 373725 w 420849"/>
                <a:gd name="connsiteY4" fmla="*/ 126200 h 139004"/>
                <a:gd name="connsiteX5" fmla="*/ 400771 w 420849"/>
                <a:gd name="connsiteY5" fmla="*/ 51421 h 139004"/>
                <a:gd name="connsiteX6" fmla="*/ 404146 w 420849"/>
                <a:gd name="connsiteY6" fmla="*/ 40857 h 139004"/>
                <a:gd name="connsiteX7" fmla="*/ 418769 w 420849"/>
                <a:gd name="connsiteY7" fmla="*/ 33521 h 139004"/>
                <a:gd name="connsiteX8" fmla="*/ 420774 w 420849"/>
                <a:gd name="connsiteY8" fmla="*/ 12442 h 139004"/>
                <a:gd name="connsiteX9" fmla="*/ 399597 w 420849"/>
                <a:gd name="connsiteY9" fmla="*/ 3981 h 139004"/>
                <a:gd name="connsiteX10" fmla="*/ 312298 w 420849"/>
                <a:gd name="connsiteY10" fmla="*/ 167 h 139004"/>
                <a:gd name="connsiteX11" fmla="*/ 244171 w 420849"/>
                <a:gd name="connsiteY11" fmla="*/ 11855 h 139004"/>
                <a:gd name="connsiteX12" fmla="*/ 210523 w 420849"/>
                <a:gd name="connsiteY12" fmla="*/ 19729 h 139004"/>
                <a:gd name="connsiteX13" fmla="*/ 210327 w 420849"/>
                <a:gd name="connsiteY13" fmla="*/ 19729 h 139004"/>
                <a:gd name="connsiteX14" fmla="*/ 176679 w 420849"/>
                <a:gd name="connsiteY14" fmla="*/ 11855 h 139004"/>
                <a:gd name="connsiteX15" fmla="*/ 108551 w 420849"/>
                <a:gd name="connsiteY15" fmla="*/ 167 h 139004"/>
                <a:gd name="connsiteX16" fmla="*/ 21252 w 420849"/>
                <a:gd name="connsiteY16" fmla="*/ 3981 h 139004"/>
                <a:gd name="connsiteX17" fmla="*/ 76 w 420849"/>
                <a:gd name="connsiteY17" fmla="*/ 12442 h 139004"/>
                <a:gd name="connsiteX18" fmla="*/ 2081 w 420849"/>
                <a:gd name="connsiteY18" fmla="*/ 33521 h 139004"/>
                <a:gd name="connsiteX19" fmla="*/ 16704 w 420849"/>
                <a:gd name="connsiteY19" fmla="*/ 40857 h 139004"/>
                <a:gd name="connsiteX20" fmla="*/ 20079 w 420849"/>
                <a:gd name="connsiteY20" fmla="*/ 51421 h 139004"/>
                <a:gd name="connsiteX21" fmla="*/ 47124 w 420849"/>
                <a:gd name="connsiteY21" fmla="*/ 126200 h 139004"/>
                <a:gd name="connsiteX22" fmla="*/ 96667 w 420849"/>
                <a:gd name="connsiteY22" fmla="*/ 138916 h 139004"/>
                <a:gd name="connsiteX23" fmla="*/ 161420 w 420849"/>
                <a:gd name="connsiteY23" fmla="*/ 116076 h 139004"/>
                <a:gd name="connsiteX24" fmla="*/ 196878 w 420849"/>
                <a:gd name="connsiteY24" fmla="*/ 50199 h 139004"/>
                <a:gd name="connsiteX25" fmla="*/ 207784 w 420849"/>
                <a:gd name="connsiteY25" fmla="*/ 43938 h 139004"/>
                <a:gd name="connsiteX26" fmla="*/ 211256 w 420849"/>
                <a:gd name="connsiteY26" fmla="*/ 43938 h 1390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420849" h="139004">
                  <a:moveTo>
                    <a:pt x="211452" y="43890"/>
                  </a:moveTo>
                  <a:cubicBezTo>
                    <a:pt x="223190" y="44672"/>
                    <a:pt x="223972" y="50199"/>
                    <a:pt x="223972" y="50199"/>
                  </a:cubicBezTo>
                  <a:cubicBezTo>
                    <a:pt x="229596" y="78907"/>
                    <a:pt x="259430" y="116076"/>
                    <a:pt x="259430" y="116076"/>
                  </a:cubicBezTo>
                  <a:cubicBezTo>
                    <a:pt x="283639" y="141704"/>
                    <a:pt x="324183" y="138916"/>
                    <a:pt x="324183" y="138916"/>
                  </a:cubicBezTo>
                  <a:cubicBezTo>
                    <a:pt x="361058" y="138916"/>
                    <a:pt x="373725" y="126200"/>
                    <a:pt x="373725" y="126200"/>
                  </a:cubicBezTo>
                  <a:cubicBezTo>
                    <a:pt x="396272" y="108740"/>
                    <a:pt x="400771" y="51421"/>
                    <a:pt x="400771" y="51421"/>
                  </a:cubicBezTo>
                  <a:cubicBezTo>
                    <a:pt x="401064" y="40319"/>
                    <a:pt x="404146" y="40857"/>
                    <a:pt x="404146" y="40857"/>
                  </a:cubicBezTo>
                  <a:cubicBezTo>
                    <a:pt x="404146" y="40857"/>
                    <a:pt x="418769" y="41395"/>
                    <a:pt x="418769" y="33521"/>
                  </a:cubicBezTo>
                  <a:lnTo>
                    <a:pt x="420774" y="12442"/>
                  </a:lnTo>
                  <a:cubicBezTo>
                    <a:pt x="420774" y="12442"/>
                    <a:pt x="423268" y="5693"/>
                    <a:pt x="399597" y="3981"/>
                  </a:cubicBezTo>
                  <a:cubicBezTo>
                    <a:pt x="399597" y="3981"/>
                    <a:pt x="343305" y="-958"/>
                    <a:pt x="312298" y="167"/>
                  </a:cubicBezTo>
                  <a:cubicBezTo>
                    <a:pt x="312298" y="167"/>
                    <a:pt x="270091" y="607"/>
                    <a:pt x="244171" y="11855"/>
                  </a:cubicBezTo>
                  <a:cubicBezTo>
                    <a:pt x="244171" y="11855"/>
                    <a:pt x="226271" y="19729"/>
                    <a:pt x="210523" y="19729"/>
                  </a:cubicBezTo>
                  <a:lnTo>
                    <a:pt x="210327" y="19729"/>
                  </a:lnTo>
                  <a:cubicBezTo>
                    <a:pt x="194579" y="19729"/>
                    <a:pt x="176679" y="11855"/>
                    <a:pt x="176679" y="11855"/>
                  </a:cubicBezTo>
                  <a:cubicBezTo>
                    <a:pt x="150758" y="607"/>
                    <a:pt x="108551" y="167"/>
                    <a:pt x="108551" y="167"/>
                  </a:cubicBezTo>
                  <a:cubicBezTo>
                    <a:pt x="77593" y="-958"/>
                    <a:pt x="21252" y="3981"/>
                    <a:pt x="21252" y="3981"/>
                  </a:cubicBezTo>
                  <a:cubicBezTo>
                    <a:pt x="-2419" y="5693"/>
                    <a:pt x="76" y="12442"/>
                    <a:pt x="76" y="12442"/>
                  </a:cubicBezTo>
                  <a:lnTo>
                    <a:pt x="2081" y="33521"/>
                  </a:lnTo>
                  <a:cubicBezTo>
                    <a:pt x="2081" y="41395"/>
                    <a:pt x="16704" y="40857"/>
                    <a:pt x="16704" y="40857"/>
                  </a:cubicBezTo>
                  <a:cubicBezTo>
                    <a:pt x="16704" y="40857"/>
                    <a:pt x="19785" y="40368"/>
                    <a:pt x="20079" y="51421"/>
                  </a:cubicBezTo>
                  <a:cubicBezTo>
                    <a:pt x="20079" y="51421"/>
                    <a:pt x="24578" y="108740"/>
                    <a:pt x="47124" y="126200"/>
                  </a:cubicBezTo>
                  <a:cubicBezTo>
                    <a:pt x="47124" y="126200"/>
                    <a:pt x="59791" y="138916"/>
                    <a:pt x="96667" y="138916"/>
                  </a:cubicBezTo>
                  <a:cubicBezTo>
                    <a:pt x="96667" y="138916"/>
                    <a:pt x="137211" y="141655"/>
                    <a:pt x="161420" y="116076"/>
                  </a:cubicBezTo>
                  <a:cubicBezTo>
                    <a:pt x="161420" y="116076"/>
                    <a:pt x="191253" y="78907"/>
                    <a:pt x="196878" y="50199"/>
                  </a:cubicBezTo>
                  <a:cubicBezTo>
                    <a:pt x="196878" y="50199"/>
                    <a:pt x="197953" y="45210"/>
                    <a:pt x="207784" y="43938"/>
                  </a:cubicBezTo>
                  <a:lnTo>
                    <a:pt x="211256" y="43938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93" name="Gráfico 2">
              <a:extLst>
                <a:ext uri="{FF2B5EF4-FFF2-40B4-BE49-F238E27FC236}">
                  <a16:creationId xmlns:a16="http://schemas.microsoft.com/office/drawing/2014/main" id="{C4341A74-2B3F-6530-CF57-383E4C907F71}"/>
                </a:ext>
              </a:extLst>
            </p:cNvPr>
            <p:cNvGrpSpPr/>
            <p:nvPr/>
          </p:nvGrpSpPr>
          <p:grpSpPr>
            <a:xfrm>
              <a:off x="1448132" y="3221899"/>
              <a:ext cx="321374" cy="88809"/>
              <a:chOff x="1448132" y="3221899"/>
              <a:chExt cx="321374" cy="88809"/>
            </a:xfrm>
            <a:noFill/>
          </p:grpSpPr>
          <p:grpSp>
            <p:nvGrpSpPr>
              <p:cNvPr id="194" name="Gráfico 2">
                <a:extLst>
                  <a:ext uri="{FF2B5EF4-FFF2-40B4-BE49-F238E27FC236}">
                    <a16:creationId xmlns:a16="http://schemas.microsoft.com/office/drawing/2014/main" id="{8FC0BE8D-0EF3-EE9A-4DAC-A4A30D426F4C}"/>
                  </a:ext>
                </a:extLst>
              </p:cNvPr>
              <p:cNvGrpSpPr/>
              <p:nvPr/>
            </p:nvGrpSpPr>
            <p:grpSpPr>
              <a:xfrm>
                <a:off x="1448132" y="3221899"/>
                <a:ext cx="112428" cy="88809"/>
                <a:chOff x="1448132" y="3221899"/>
                <a:chExt cx="112428" cy="88809"/>
              </a:xfrm>
              <a:noFill/>
            </p:grpSpPr>
            <p:sp>
              <p:nvSpPr>
                <p:cNvPr id="195" name="Forma livre: Forma 194">
                  <a:extLst>
                    <a:ext uri="{FF2B5EF4-FFF2-40B4-BE49-F238E27FC236}">
                      <a16:creationId xmlns:a16="http://schemas.microsoft.com/office/drawing/2014/main" id="{4A3D169E-B4A7-82D1-A59A-91C4C5513C26}"/>
                    </a:ext>
                  </a:extLst>
                </p:cNvPr>
                <p:cNvSpPr/>
                <p:nvPr/>
              </p:nvSpPr>
              <p:spPr>
                <a:xfrm>
                  <a:off x="1448132" y="3221899"/>
                  <a:ext cx="112428" cy="88809"/>
                </a:xfrm>
                <a:custGeom>
                  <a:avLst/>
                  <a:gdLst>
                    <a:gd name="connsiteX0" fmla="*/ 111952 w 112428"/>
                    <a:gd name="connsiteY0" fmla="*/ 20592 h 88809"/>
                    <a:gd name="connsiteX1" fmla="*/ 83194 w 112428"/>
                    <a:gd name="connsiteY1" fmla="*/ 1811 h 88809"/>
                    <a:gd name="connsiteX2" fmla="*/ 10469 w 112428"/>
                    <a:gd name="connsiteY2" fmla="*/ 4648 h 88809"/>
                    <a:gd name="connsiteX3" fmla="*/ 150 w 112428"/>
                    <a:gd name="connsiteY3" fmla="*/ 26363 h 88809"/>
                    <a:gd name="connsiteX4" fmla="*/ 12426 w 112428"/>
                    <a:gd name="connsiteY4" fmla="*/ 78987 h 88809"/>
                    <a:gd name="connsiteX5" fmla="*/ 45731 w 112428"/>
                    <a:gd name="connsiteY5" fmla="*/ 88768 h 88809"/>
                    <a:gd name="connsiteX6" fmla="*/ 102953 w 112428"/>
                    <a:gd name="connsiteY6" fmla="*/ 58397 h 88809"/>
                    <a:gd name="connsiteX7" fmla="*/ 111952 w 112428"/>
                    <a:gd name="connsiteY7" fmla="*/ 20641 h 8880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2428" h="88809">
                      <a:moveTo>
                        <a:pt x="111952" y="20592"/>
                      </a:moveTo>
                      <a:cubicBezTo>
                        <a:pt x="111952" y="20592"/>
                        <a:pt x="111952" y="4893"/>
                        <a:pt x="83194" y="1811"/>
                      </a:cubicBezTo>
                      <a:cubicBezTo>
                        <a:pt x="83194" y="1811"/>
                        <a:pt x="23234" y="-3764"/>
                        <a:pt x="10469" y="4648"/>
                      </a:cubicBezTo>
                      <a:cubicBezTo>
                        <a:pt x="10469" y="4648"/>
                        <a:pt x="-1464" y="10615"/>
                        <a:pt x="150" y="26363"/>
                      </a:cubicBezTo>
                      <a:cubicBezTo>
                        <a:pt x="150" y="26363"/>
                        <a:pt x="982" y="68961"/>
                        <a:pt x="12426" y="78987"/>
                      </a:cubicBezTo>
                      <a:cubicBezTo>
                        <a:pt x="12426" y="78987"/>
                        <a:pt x="19175" y="87692"/>
                        <a:pt x="45731" y="88768"/>
                      </a:cubicBezTo>
                      <a:cubicBezTo>
                        <a:pt x="45731" y="88768"/>
                        <a:pt x="83390" y="91213"/>
                        <a:pt x="102953" y="58397"/>
                      </a:cubicBezTo>
                      <a:cubicBezTo>
                        <a:pt x="102953" y="58397"/>
                        <a:pt x="114935" y="44312"/>
                        <a:pt x="111952" y="20641"/>
                      </a:cubicBezTo>
                      <a:close/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96" name="Forma livre: Forma 195">
                  <a:extLst>
                    <a:ext uri="{FF2B5EF4-FFF2-40B4-BE49-F238E27FC236}">
                      <a16:creationId xmlns:a16="http://schemas.microsoft.com/office/drawing/2014/main" id="{10387D5E-3E01-22B1-50E1-E59C13434A5A}"/>
                    </a:ext>
                  </a:extLst>
                </p:cNvPr>
                <p:cNvSpPr/>
                <p:nvPr/>
              </p:nvSpPr>
              <p:spPr>
                <a:xfrm>
                  <a:off x="1491418" y="3245376"/>
                  <a:ext cx="14329" cy="38636"/>
                </a:xfrm>
                <a:custGeom>
                  <a:avLst/>
                  <a:gdLst>
                    <a:gd name="connsiteX0" fmla="*/ 14330 w 14329"/>
                    <a:gd name="connsiteY0" fmla="*/ 0 h 38636"/>
                    <a:gd name="connsiteX1" fmla="*/ 0 w 14329"/>
                    <a:gd name="connsiteY1" fmla="*/ 38637 h 3863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4329" h="38636">
                      <a:moveTo>
                        <a:pt x="14330" y="0"/>
                      </a:moveTo>
                      <a:lnTo>
                        <a:pt x="0" y="38637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97" name="Forma livre: Forma 196">
                  <a:extLst>
                    <a:ext uri="{FF2B5EF4-FFF2-40B4-BE49-F238E27FC236}">
                      <a16:creationId xmlns:a16="http://schemas.microsoft.com/office/drawing/2014/main" id="{515416D5-8737-0E2C-091E-9B55EE8593B4}"/>
                    </a:ext>
                  </a:extLst>
                </p:cNvPr>
                <p:cNvSpPr/>
                <p:nvPr/>
              </p:nvSpPr>
              <p:spPr>
                <a:xfrm>
                  <a:off x="1519833" y="3251343"/>
                  <a:ext cx="8803" cy="23719"/>
                </a:xfrm>
                <a:custGeom>
                  <a:avLst/>
                  <a:gdLst>
                    <a:gd name="connsiteX0" fmla="*/ 8803 w 8803"/>
                    <a:gd name="connsiteY0" fmla="*/ 0 h 23719"/>
                    <a:gd name="connsiteX1" fmla="*/ 0 w 8803"/>
                    <a:gd name="connsiteY1" fmla="*/ 23720 h 2371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8803" h="23719">
                      <a:moveTo>
                        <a:pt x="8803" y="0"/>
                      </a:moveTo>
                      <a:lnTo>
                        <a:pt x="0" y="2372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198" name="Gráfico 2">
                <a:extLst>
                  <a:ext uri="{FF2B5EF4-FFF2-40B4-BE49-F238E27FC236}">
                    <a16:creationId xmlns:a16="http://schemas.microsoft.com/office/drawing/2014/main" id="{BB93A694-AD5B-E456-A048-201B5EBF85B1}"/>
                  </a:ext>
                </a:extLst>
              </p:cNvPr>
              <p:cNvGrpSpPr/>
              <p:nvPr/>
            </p:nvGrpSpPr>
            <p:grpSpPr>
              <a:xfrm>
                <a:off x="1657078" y="3221899"/>
                <a:ext cx="112428" cy="88809"/>
                <a:chOff x="1657078" y="3221899"/>
                <a:chExt cx="112428" cy="88809"/>
              </a:xfrm>
              <a:noFill/>
            </p:grpSpPr>
            <p:sp>
              <p:nvSpPr>
                <p:cNvPr id="199" name="Forma livre: Forma 198">
                  <a:extLst>
                    <a:ext uri="{FF2B5EF4-FFF2-40B4-BE49-F238E27FC236}">
                      <a16:creationId xmlns:a16="http://schemas.microsoft.com/office/drawing/2014/main" id="{896DC575-3E20-3BA4-114A-1145E5CC6481}"/>
                    </a:ext>
                  </a:extLst>
                </p:cNvPr>
                <p:cNvSpPr/>
                <p:nvPr/>
              </p:nvSpPr>
              <p:spPr>
                <a:xfrm>
                  <a:off x="1657078" y="3221899"/>
                  <a:ext cx="112428" cy="88809"/>
                </a:xfrm>
                <a:custGeom>
                  <a:avLst/>
                  <a:gdLst>
                    <a:gd name="connsiteX0" fmla="*/ 477 w 112428"/>
                    <a:gd name="connsiteY0" fmla="*/ 20592 h 88809"/>
                    <a:gd name="connsiteX1" fmla="*/ 29234 w 112428"/>
                    <a:gd name="connsiteY1" fmla="*/ 1811 h 88809"/>
                    <a:gd name="connsiteX2" fmla="*/ 101959 w 112428"/>
                    <a:gd name="connsiteY2" fmla="*/ 4648 h 88809"/>
                    <a:gd name="connsiteX3" fmla="*/ 112279 w 112428"/>
                    <a:gd name="connsiteY3" fmla="*/ 26363 h 88809"/>
                    <a:gd name="connsiteX4" fmla="*/ 100003 w 112428"/>
                    <a:gd name="connsiteY4" fmla="*/ 78987 h 88809"/>
                    <a:gd name="connsiteX5" fmla="*/ 66697 w 112428"/>
                    <a:gd name="connsiteY5" fmla="*/ 88768 h 88809"/>
                    <a:gd name="connsiteX6" fmla="*/ 9476 w 112428"/>
                    <a:gd name="connsiteY6" fmla="*/ 58397 h 88809"/>
                    <a:gd name="connsiteX7" fmla="*/ 477 w 112428"/>
                    <a:gd name="connsiteY7" fmla="*/ 20641 h 8880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2428" h="88809">
                      <a:moveTo>
                        <a:pt x="477" y="20592"/>
                      </a:moveTo>
                      <a:cubicBezTo>
                        <a:pt x="477" y="20592"/>
                        <a:pt x="477" y="4893"/>
                        <a:pt x="29234" y="1811"/>
                      </a:cubicBezTo>
                      <a:cubicBezTo>
                        <a:pt x="29234" y="1811"/>
                        <a:pt x="89195" y="-3764"/>
                        <a:pt x="101959" y="4648"/>
                      </a:cubicBezTo>
                      <a:cubicBezTo>
                        <a:pt x="101959" y="4648"/>
                        <a:pt x="113893" y="10615"/>
                        <a:pt x="112279" y="26363"/>
                      </a:cubicBezTo>
                      <a:cubicBezTo>
                        <a:pt x="112279" y="26363"/>
                        <a:pt x="111447" y="68961"/>
                        <a:pt x="100003" y="78987"/>
                      </a:cubicBezTo>
                      <a:cubicBezTo>
                        <a:pt x="100003" y="78987"/>
                        <a:pt x="93254" y="87692"/>
                        <a:pt x="66697" y="88768"/>
                      </a:cubicBezTo>
                      <a:cubicBezTo>
                        <a:pt x="66697" y="88768"/>
                        <a:pt x="29039" y="91213"/>
                        <a:pt x="9476" y="58397"/>
                      </a:cubicBezTo>
                      <a:cubicBezTo>
                        <a:pt x="9476" y="58397"/>
                        <a:pt x="-2506" y="44312"/>
                        <a:pt x="477" y="20641"/>
                      </a:cubicBezTo>
                      <a:close/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00" name="Forma livre: Forma 199">
                  <a:extLst>
                    <a:ext uri="{FF2B5EF4-FFF2-40B4-BE49-F238E27FC236}">
                      <a16:creationId xmlns:a16="http://schemas.microsoft.com/office/drawing/2014/main" id="{EC913671-2FA0-E477-590D-D5E9C08F1803}"/>
                    </a:ext>
                  </a:extLst>
                </p:cNvPr>
                <p:cNvSpPr/>
                <p:nvPr/>
              </p:nvSpPr>
              <p:spPr>
                <a:xfrm>
                  <a:off x="1706413" y="3245376"/>
                  <a:ext cx="14378" cy="38636"/>
                </a:xfrm>
                <a:custGeom>
                  <a:avLst/>
                  <a:gdLst>
                    <a:gd name="connsiteX0" fmla="*/ 14379 w 14378"/>
                    <a:gd name="connsiteY0" fmla="*/ 0 h 38636"/>
                    <a:gd name="connsiteX1" fmla="*/ 0 w 14378"/>
                    <a:gd name="connsiteY1" fmla="*/ 38637 h 3863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4378" h="38636">
                      <a:moveTo>
                        <a:pt x="14379" y="0"/>
                      </a:moveTo>
                      <a:lnTo>
                        <a:pt x="0" y="38637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01" name="Forma livre: Forma 200">
                  <a:extLst>
                    <a:ext uri="{FF2B5EF4-FFF2-40B4-BE49-F238E27FC236}">
                      <a16:creationId xmlns:a16="http://schemas.microsoft.com/office/drawing/2014/main" id="{0CC475BA-F3FE-B9A5-93A6-DDB8817AE24B}"/>
                    </a:ext>
                  </a:extLst>
                </p:cNvPr>
                <p:cNvSpPr/>
                <p:nvPr/>
              </p:nvSpPr>
              <p:spPr>
                <a:xfrm>
                  <a:off x="1734877" y="3251343"/>
                  <a:ext cx="8803" cy="23719"/>
                </a:xfrm>
                <a:custGeom>
                  <a:avLst/>
                  <a:gdLst>
                    <a:gd name="connsiteX0" fmla="*/ 8803 w 8803"/>
                    <a:gd name="connsiteY0" fmla="*/ 0 h 23719"/>
                    <a:gd name="connsiteX1" fmla="*/ 0 w 8803"/>
                    <a:gd name="connsiteY1" fmla="*/ 23720 h 2371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8803" h="23719">
                      <a:moveTo>
                        <a:pt x="8803" y="0"/>
                      </a:moveTo>
                      <a:lnTo>
                        <a:pt x="0" y="2372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grpSp>
          <p:nvGrpSpPr>
            <p:cNvPr id="202" name="Gráfico 2">
              <a:extLst>
                <a:ext uri="{FF2B5EF4-FFF2-40B4-BE49-F238E27FC236}">
                  <a16:creationId xmlns:a16="http://schemas.microsoft.com/office/drawing/2014/main" id="{ED0E88D9-644F-3906-8F76-DA0C156D7FF7}"/>
                </a:ext>
              </a:extLst>
            </p:cNvPr>
            <p:cNvGrpSpPr/>
            <p:nvPr/>
          </p:nvGrpSpPr>
          <p:grpSpPr>
            <a:xfrm>
              <a:off x="1398735" y="3310569"/>
              <a:ext cx="419882" cy="35494"/>
              <a:chOff x="1398735" y="3310569"/>
              <a:chExt cx="419882" cy="35494"/>
            </a:xfrm>
            <a:noFill/>
          </p:grpSpPr>
          <p:sp>
            <p:nvSpPr>
              <p:cNvPr id="203" name="Forma livre: Forma 202">
                <a:extLst>
                  <a:ext uri="{FF2B5EF4-FFF2-40B4-BE49-F238E27FC236}">
                    <a16:creationId xmlns:a16="http://schemas.microsoft.com/office/drawing/2014/main" id="{5D60908D-0111-1F28-1F98-E649FAED9962}"/>
                  </a:ext>
                </a:extLst>
              </p:cNvPr>
              <p:cNvSpPr/>
              <p:nvPr/>
            </p:nvSpPr>
            <p:spPr>
              <a:xfrm>
                <a:off x="1398735" y="3310569"/>
                <a:ext cx="48862" cy="35494"/>
              </a:xfrm>
              <a:custGeom>
                <a:avLst/>
                <a:gdLst>
                  <a:gd name="connsiteX0" fmla="*/ 48862 w 48862"/>
                  <a:gd name="connsiteY0" fmla="*/ 13890 h 35494"/>
                  <a:gd name="connsiteX1" fmla="*/ 27783 w 48862"/>
                  <a:gd name="connsiteY1" fmla="*/ 31545 h 35494"/>
                  <a:gd name="connsiteX2" fmla="*/ 3965 w 48862"/>
                  <a:gd name="connsiteY2" fmla="*/ 29442 h 35494"/>
                  <a:gd name="connsiteX3" fmla="*/ 3965 w 48862"/>
                  <a:gd name="connsiteY3" fmla="*/ 29442 h 35494"/>
                  <a:gd name="connsiteX4" fmla="*/ 6069 w 48862"/>
                  <a:gd name="connsiteY4" fmla="*/ 5624 h 35494"/>
                  <a:gd name="connsiteX5" fmla="*/ 12720 w 48862"/>
                  <a:gd name="connsiteY5" fmla="*/ 0 h 354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48862" h="35494">
                    <a:moveTo>
                      <a:pt x="48862" y="13890"/>
                    </a:moveTo>
                    <a:lnTo>
                      <a:pt x="27783" y="31545"/>
                    </a:lnTo>
                    <a:cubicBezTo>
                      <a:pt x="20643" y="37561"/>
                      <a:pt x="9981" y="36583"/>
                      <a:pt x="3965" y="29442"/>
                    </a:cubicBezTo>
                    <a:lnTo>
                      <a:pt x="3965" y="29442"/>
                    </a:lnTo>
                    <a:cubicBezTo>
                      <a:pt x="-2050" y="22302"/>
                      <a:pt x="-1121" y="11640"/>
                      <a:pt x="6069" y="5624"/>
                    </a:cubicBezTo>
                    <a:lnTo>
                      <a:pt x="12720" y="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04" name="Forma livre: Forma 203">
                <a:extLst>
                  <a:ext uri="{FF2B5EF4-FFF2-40B4-BE49-F238E27FC236}">
                    <a16:creationId xmlns:a16="http://schemas.microsoft.com/office/drawing/2014/main" id="{66903A52-D03F-D15E-0A11-77FB4CB79DAF}"/>
                  </a:ext>
                </a:extLst>
              </p:cNvPr>
              <p:cNvSpPr/>
              <p:nvPr/>
            </p:nvSpPr>
            <p:spPr>
              <a:xfrm>
                <a:off x="1770041" y="3310569"/>
                <a:ext cx="48576" cy="35494"/>
              </a:xfrm>
              <a:custGeom>
                <a:avLst/>
                <a:gdLst>
                  <a:gd name="connsiteX0" fmla="*/ 0 w 48576"/>
                  <a:gd name="connsiteY0" fmla="*/ 13890 h 35494"/>
                  <a:gd name="connsiteX1" fmla="*/ 21079 w 48576"/>
                  <a:gd name="connsiteY1" fmla="*/ 31545 h 35494"/>
                  <a:gd name="connsiteX2" fmla="*/ 44897 w 48576"/>
                  <a:gd name="connsiteY2" fmla="*/ 29442 h 35494"/>
                  <a:gd name="connsiteX3" fmla="*/ 44897 w 48576"/>
                  <a:gd name="connsiteY3" fmla="*/ 29442 h 35494"/>
                  <a:gd name="connsiteX4" fmla="*/ 42109 w 48576"/>
                  <a:gd name="connsiteY4" fmla="*/ 4940 h 35494"/>
                  <a:gd name="connsiteX5" fmla="*/ 36142 w 48576"/>
                  <a:gd name="connsiteY5" fmla="*/ 0 h 354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48576" h="35494">
                    <a:moveTo>
                      <a:pt x="0" y="13890"/>
                    </a:moveTo>
                    <a:lnTo>
                      <a:pt x="21079" y="31545"/>
                    </a:lnTo>
                    <a:cubicBezTo>
                      <a:pt x="28219" y="37561"/>
                      <a:pt x="38881" y="36583"/>
                      <a:pt x="44897" y="29442"/>
                    </a:cubicBezTo>
                    <a:lnTo>
                      <a:pt x="44897" y="29442"/>
                    </a:lnTo>
                    <a:cubicBezTo>
                      <a:pt x="50912" y="22302"/>
                      <a:pt x="49249" y="10955"/>
                      <a:pt x="42109" y="4940"/>
                    </a:cubicBezTo>
                    <a:lnTo>
                      <a:pt x="36142" y="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206" name="Gráfico 4">
            <a:extLst>
              <a:ext uri="{FF2B5EF4-FFF2-40B4-BE49-F238E27FC236}">
                <a16:creationId xmlns:a16="http://schemas.microsoft.com/office/drawing/2014/main" id="{4486D0A6-F39F-4B52-73FE-D9D07A23CCF9}"/>
              </a:ext>
            </a:extLst>
          </p:cNvPr>
          <p:cNvGrpSpPr/>
          <p:nvPr/>
        </p:nvGrpSpPr>
        <p:grpSpPr>
          <a:xfrm>
            <a:off x="2620503" y="2514168"/>
            <a:ext cx="261408" cy="355652"/>
            <a:chOff x="2620503" y="2514168"/>
            <a:chExt cx="261408" cy="355652"/>
          </a:xfrm>
          <a:noFill/>
        </p:grpSpPr>
        <p:sp>
          <p:nvSpPr>
            <p:cNvPr id="207" name="Forma livre: Forma 206">
              <a:extLst>
                <a:ext uri="{FF2B5EF4-FFF2-40B4-BE49-F238E27FC236}">
                  <a16:creationId xmlns:a16="http://schemas.microsoft.com/office/drawing/2014/main" id="{40DB6A58-BD7F-D361-7C50-D2E928565285}"/>
                </a:ext>
              </a:extLst>
            </p:cNvPr>
            <p:cNvSpPr/>
            <p:nvPr/>
          </p:nvSpPr>
          <p:spPr>
            <a:xfrm>
              <a:off x="2854914" y="2514168"/>
              <a:ext cx="4890" cy="69301"/>
            </a:xfrm>
            <a:custGeom>
              <a:avLst/>
              <a:gdLst>
                <a:gd name="connsiteX0" fmla="*/ 0 w 4890"/>
                <a:gd name="connsiteY0" fmla="*/ 69301 h 69301"/>
                <a:gd name="connsiteX1" fmla="*/ 0 w 4890"/>
                <a:gd name="connsiteY1" fmla="*/ 0 h 693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890" h="69301">
                  <a:moveTo>
                    <a:pt x="0" y="69301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8" name="Forma livre: Forma 207">
              <a:extLst>
                <a:ext uri="{FF2B5EF4-FFF2-40B4-BE49-F238E27FC236}">
                  <a16:creationId xmlns:a16="http://schemas.microsoft.com/office/drawing/2014/main" id="{188922F9-CD11-22E2-70E2-733357E61FD2}"/>
                </a:ext>
              </a:extLst>
            </p:cNvPr>
            <p:cNvSpPr/>
            <p:nvPr/>
          </p:nvSpPr>
          <p:spPr>
            <a:xfrm>
              <a:off x="2737439" y="2758458"/>
              <a:ext cx="117523" cy="111361"/>
            </a:xfrm>
            <a:custGeom>
              <a:avLst/>
              <a:gdLst>
                <a:gd name="connsiteX0" fmla="*/ 0 w 117523"/>
                <a:gd name="connsiteY0" fmla="*/ 36045 h 111361"/>
                <a:gd name="connsiteX1" fmla="*/ 0 w 117523"/>
                <a:gd name="connsiteY1" fmla="*/ 56048 h 111361"/>
                <a:gd name="connsiteX2" fmla="*/ 55314 w 117523"/>
                <a:gd name="connsiteY2" fmla="*/ 111361 h 111361"/>
                <a:gd name="connsiteX3" fmla="*/ 62210 w 117523"/>
                <a:gd name="connsiteY3" fmla="*/ 111361 h 111361"/>
                <a:gd name="connsiteX4" fmla="*/ 117524 w 117523"/>
                <a:gd name="connsiteY4" fmla="*/ 56048 h 111361"/>
                <a:gd name="connsiteX5" fmla="*/ 117524 w 117523"/>
                <a:gd name="connsiteY5" fmla="*/ 0 h 1113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7523" h="111361">
                  <a:moveTo>
                    <a:pt x="0" y="36045"/>
                  </a:moveTo>
                  <a:lnTo>
                    <a:pt x="0" y="56048"/>
                  </a:lnTo>
                  <a:cubicBezTo>
                    <a:pt x="0" y="86468"/>
                    <a:pt x="24894" y="111361"/>
                    <a:pt x="55314" y="111361"/>
                  </a:cubicBezTo>
                  <a:lnTo>
                    <a:pt x="62210" y="111361"/>
                  </a:lnTo>
                  <a:cubicBezTo>
                    <a:pt x="92630" y="111361"/>
                    <a:pt x="117524" y="86468"/>
                    <a:pt x="117524" y="56048"/>
                  </a:cubicBezTo>
                  <a:lnTo>
                    <a:pt x="117524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9" name="Forma livre: Forma 208">
              <a:extLst>
                <a:ext uri="{FF2B5EF4-FFF2-40B4-BE49-F238E27FC236}">
                  <a16:creationId xmlns:a16="http://schemas.microsoft.com/office/drawing/2014/main" id="{D6A07252-86D1-F2C0-A3D2-DCFF6D312324}"/>
                </a:ext>
              </a:extLst>
            </p:cNvPr>
            <p:cNvSpPr/>
            <p:nvPr/>
          </p:nvSpPr>
          <p:spPr>
            <a:xfrm>
              <a:off x="2765072" y="2765256"/>
              <a:ext cx="62209" cy="76832"/>
            </a:xfrm>
            <a:custGeom>
              <a:avLst/>
              <a:gdLst>
                <a:gd name="connsiteX0" fmla="*/ 62210 w 62209"/>
                <a:gd name="connsiteY0" fmla="*/ 0 h 76832"/>
                <a:gd name="connsiteX1" fmla="*/ 62210 w 62209"/>
                <a:gd name="connsiteY1" fmla="*/ 44603 h 76832"/>
                <a:gd name="connsiteX2" fmla="*/ 31105 w 62209"/>
                <a:gd name="connsiteY2" fmla="*/ 76833 h 76832"/>
                <a:gd name="connsiteX3" fmla="*/ 0 w 62209"/>
                <a:gd name="connsiteY3" fmla="*/ 44603 h 76832"/>
                <a:gd name="connsiteX4" fmla="*/ 0 w 62209"/>
                <a:gd name="connsiteY4" fmla="*/ 29246 h 768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2209" h="76832">
                  <a:moveTo>
                    <a:pt x="62210" y="0"/>
                  </a:moveTo>
                  <a:lnTo>
                    <a:pt x="62210" y="44603"/>
                  </a:lnTo>
                  <a:cubicBezTo>
                    <a:pt x="62210" y="62356"/>
                    <a:pt x="48222" y="76833"/>
                    <a:pt x="31105" y="76833"/>
                  </a:cubicBezTo>
                  <a:cubicBezTo>
                    <a:pt x="13987" y="76833"/>
                    <a:pt x="0" y="62308"/>
                    <a:pt x="0" y="44603"/>
                  </a:cubicBezTo>
                  <a:lnTo>
                    <a:pt x="0" y="29246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0" name="Forma livre: Forma 209">
              <a:extLst>
                <a:ext uri="{FF2B5EF4-FFF2-40B4-BE49-F238E27FC236}">
                  <a16:creationId xmlns:a16="http://schemas.microsoft.com/office/drawing/2014/main" id="{05F1A263-B74A-355B-D52A-763D68F64ED1}"/>
                </a:ext>
              </a:extLst>
            </p:cNvPr>
            <p:cNvSpPr/>
            <p:nvPr/>
          </p:nvSpPr>
          <p:spPr>
            <a:xfrm>
              <a:off x="2827282" y="2514168"/>
              <a:ext cx="4890" cy="60449"/>
            </a:xfrm>
            <a:custGeom>
              <a:avLst/>
              <a:gdLst>
                <a:gd name="connsiteX0" fmla="*/ 0 w 4890"/>
                <a:gd name="connsiteY0" fmla="*/ 0 h 60449"/>
                <a:gd name="connsiteX1" fmla="*/ 0 w 4890"/>
                <a:gd name="connsiteY1" fmla="*/ 60449 h 604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890" h="60449">
                  <a:moveTo>
                    <a:pt x="0" y="0"/>
                  </a:moveTo>
                  <a:lnTo>
                    <a:pt x="0" y="60449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1" name="Forma livre: Forma 210">
              <a:extLst>
                <a:ext uri="{FF2B5EF4-FFF2-40B4-BE49-F238E27FC236}">
                  <a16:creationId xmlns:a16="http://schemas.microsoft.com/office/drawing/2014/main" id="{025BBF81-5A4E-6D12-6DE6-173378ED2C88}"/>
                </a:ext>
              </a:extLst>
            </p:cNvPr>
            <p:cNvSpPr/>
            <p:nvPr/>
          </p:nvSpPr>
          <p:spPr>
            <a:xfrm>
              <a:off x="2721985" y="2788145"/>
              <a:ext cx="58541" cy="7086"/>
            </a:xfrm>
            <a:custGeom>
              <a:avLst/>
              <a:gdLst>
                <a:gd name="connsiteX0" fmla="*/ 0 w 58541"/>
                <a:gd name="connsiteY0" fmla="*/ 0 h 7086"/>
                <a:gd name="connsiteX1" fmla="*/ 58542 w 58541"/>
                <a:gd name="connsiteY1" fmla="*/ 0 h 70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8541" h="7086">
                  <a:moveTo>
                    <a:pt x="0" y="0"/>
                  </a:moveTo>
                  <a:cubicBezTo>
                    <a:pt x="0" y="0"/>
                    <a:pt x="23720" y="15944"/>
                    <a:pt x="58542" y="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2" name="Forma livre: Forma 211">
              <a:extLst>
                <a:ext uri="{FF2B5EF4-FFF2-40B4-BE49-F238E27FC236}">
                  <a16:creationId xmlns:a16="http://schemas.microsoft.com/office/drawing/2014/main" id="{848F8030-29A1-54CF-1913-2BBBEF8D37C6}"/>
                </a:ext>
              </a:extLst>
            </p:cNvPr>
            <p:cNvSpPr/>
            <p:nvPr/>
          </p:nvSpPr>
          <p:spPr>
            <a:xfrm>
              <a:off x="2647842" y="2615210"/>
              <a:ext cx="206876" cy="102460"/>
            </a:xfrm>
            <a:custGeom>
              <a:avLst/>
              <a:gdLst>
                <a:gd name="connsiteX0" fmla="*/ 103781 w 206876"/>
                <a:gd name="connsiteY0" fmla="*/ 39419 h 102460"/>
                <a:gd name="connsiteX1" fmla="*/ 124713 w 206876"/>
                <a:gd name="connsiteY1" fmla="*/ 60009 h 102460"/>
                <a:gd name="connsiteX2" fmla="*/ 131560 w 206876"/>
                <a:gd name="connsiteY2" fmla="*/ 94782 h 102460"/>
                <a:gd name="connsiteX3" fmla="*/ 153275 w 206876"/>
                <a:gd name="connsiteY3" fmla="*/ 98645 h 102460"/>
                <a:gd name="connsiteX4" fmla="*/ 176554 w 206876"/>
                <a:gd name="connsiteY4" fmla="*/ 102411 h 102460"/>
                <a:gd name="connsiteX5" fmla="*/ 177875 w 206876"/>
                <a:gd name="connsiteY5" fmla="*/ 102460 h 102460"/>
                <a:gd name="connsiteX6" fmla="*/ 206877 w 206876"/>
                <a:gd name="connsiteY6" fmla="*/ 69741 h 102460"/>
                <a:gd name="connsiteX7" fmla="*/ 206877 w 206876"/>
                <a:gd name="connsiteY7" fmla="*/ 39615 h 102460"/>
                <a:gd name="connsiteX8" fmla="*/ 168485 w 206876"/>
                <a:gd name="connsiteY8" fmla="*/ 6407 h 102460"/>
                <a:gd name="connsiteX9" fmla="*/ 104074 w 206876"/>
                <a:gd name="connsiteY9" fmla="*/ 0 h 102460"/>
                <a:gd name="connsiteX10" fmla="*/ 102803 w 206876"/>
                <a:gd name="connsiteY10" fmla="*/ 0 h 102460"/>
                <a:gd name="connsiteX11" fmla="*/ 38392 w 206876"/>
                <a:gd name="connsiteY11" fmla="*/ 6407 h 102460"/>
                <a:gd name="connsiteX12" fmla="*/ 0 w 206876"/>
                <a:gd name="connsiteY12" fmla="*/ 39615 h 102460"/>
                <a:gd name="connsiteX13" fmla="*/ 0 w 206876"/>
                <a:gd name="connsiteY13" fmla="*/ 69741 h 102460"/>
                <a:gd name="connsiteX14" fmla="*/ 29002 w 206876"/>
                <a:gd name="connsiteY14" fmla="*/ 102460 h 102460"/>
                <a:gd name="connsiteX15" fmla="*/ 30322 w 206876"/>
                <a:gd name="connsiteY15" fmla="*/ 102411 h 102460"/>
                <a:gd name="connsiteX16" fmla="*/ 53602 w 206876"/>
                <a:gd name="connsiteY16" fmla="*/ 98645 h 102460"/>
                <a:gd name="connsiteX17" fmla="*/ 75317 w 206876"/>
                <a:gd name="connsiteY17" fmla="*/ 94782 h 102460"/>
                <a:gd name="connsiteX18" fmla="*/ 82164 w 206876"/>
                <a:gd name="connsiteY18" fmla="*/ 60009 h 102460"/>
                <a:gd name="connsiteX19" fmla="*/ 103096 w 206876"/>
                <a:gd name="connsiteY19" fmla="*/ 39419 h 102460"/>
                <a:gd name="connsiteX20" fmla="*/ 103830 w 206876"/>
                <a:gd name="connsiteY20" fmla="*/ 39419 h 1024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206876" h="102460">
                  <a:moveTo>
                    <a:pt x="103781" y="39419"/>
                  </a:moveTo>
                  <a:cubicBezTo>
                    <a:pt x="116888" y="39419"/>
                    <a:pt x="122365" y="46608"/>
                    <a:pt x="124713" y="60009"/>
                  </a:cubicBezTo>
                  <a:lnTo>
                    <a:pt x="131560" y="94782"/>
                  </a:lnTo>
                  <a:cubicBezTo>
                    <a:pt x="140412" y="95809"/>
                    <a:pt x="147259" y="97276"/>
                    <a:pt x="153275" y="98645"/>
                  </a:cubicBezTo>
                  <a:cubicBezTo>
                    <a:pt x="160171" y="100211"/>
                    <a:pt x="166186" y="101580"/>
                    <a:pt x="176554" y="102411"/>
                  </a:cubicBezTo>
                  <a:cubicBezTo>
                    <a:pt x="176995" y="102411"/>
                    <a:pt x="177435" y="102460"/>
                    <a:pt x="177875" y="102460"/>
                  </a:cubicBezTo>
                  <a:cubicBezTo>
                    <a:pt x="190640" y="102460"/>
                    <a:pt x="206877" y="87054"/>
                    <a:pt x="206877" y="69741"/>
                  </a:cubicBezTo>
                  <a:lnTo>
                    <a:pt x="206877" y="39615"/>
                  </a:lnTo>
                  <a:cubicBezTo>
                    <a:pt x="206877" y="23035"/>
                    <a:pt x="193965" y="11884"/>
                    <a:pt x="168485" y="6407"/>
                  </a:cubicBezTo>
                  <a:cubicBezTo>
                    <a:pt x="168485" y="6407"/>
                    <a:pt x="136842" y="49"/>
                    <a:pt x="104074" y="0"/>
                  </a:cubicBezTo>
                  <a:lnTo>
                    <a:pt x="102803" y="0"/>
                  </a:lnTo>
                  <a:cubicBezTo>
                    <a:pt x="70035" y="98"/>
                    <a:pt x="38441" y="6407"/>
                    <a:pt x="38392" y="6407"/>
                  </a:cubicBezTo>
                  <a:cubicBezTo>
                    <a:pt x="12911" y="11884"/>
                    <a:pt x="0" y="23035"/>
                    <a:pt x="0" y="39615"/>
                  </a:cubicBezTo>
                  <a:lnTo>
                    <a:pt x="0" y="69741"/>
                  </a:lnTo>
                  <a:cubicBezTo>
                    <a:pt x="0" y="87054"/>
                    <a:pt x="16237" y="102460"/>
                    <a:pt x="29002" y="102460"/>
                  </a:cubicBezTo>
                  <a:cubicBezTo>
                    <a:pt x="29442" y="102460"/>
                    <a:pt x="29882" y="102460"/>
                    <a:pt x="30322" y="102411"/>
                  </a:cubicBezTo>
                  <a:cubicBezTo>
                    <a:pt x="40691" y="101531"/>
                    <a:pt x="46657" y="100211"/>
                    <a:pt x="53602" y="98645"/>
                  </a:cubicBezTo>
                  <a:cubicBezTo>
                    <a:pt x="59569" y="97276"/>
                    <a:pt x="66416" y="95858"/>
                    <a:pt x="75317" y="94782"/>
                  </a:cubicBezTo>
                  <a:lnTo>
                    <a:pt x="82164" y="60009"/>
                  </a:lnTo>
                  <a:cubicBezTo>
                    <a:pt x="84511" y="46608"/>
                    <a:pt x="89989" y="39419"/>
                    <a:pt x="103096" y="39419"/>
                  </a:cubicBezTo>
                  <a:lnTo>
                    <a:pt x="103830" y="39419"/>
                  </a:ln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3" name="Forma livre: Forma 212">
              <a:extLst>
                <a:ext uri="{FF2B5EF4-FFF2-40B4-BE49-F238E27FC236}">
                  <a16:creationId xmlns:a16="http://schemas.microsoft.com/office/drawing/2014/main" id="{52BB8DC0-B6DA-0834-9F1B-98C23D593DA8}"/>
                </a:ext>
              </a:extLst>
            </p:cNvPr>
            <p:cNvSpPr/>
            <p:nvPr/>
          </p:nvSpPr>
          <p:spPr>
            <a:xfrm>
              <a:off x="2671708" y="2647977"/>
              <a:ext cx="17264" cy="19562"/>
            </a:xfrm>
            <a:custGeom>
              <a:avLst/>
              <a:gdLst>
                <a:gd name="connsiteX0" fmla="*/ 17264 w 17264"/>
                <a:gd name="connsiteY0" fmla="*/ 0 h 19562"/>
                <a:gd name="connsiteX1" fmla="*/ 0 w 17264"/>
                <a:gd name="connsiteY1" fmla="*/ 19563 h 195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7264" h="19562">
                  <a:moveTo>
                    <a:pt x="17264" y="0"/>
                  </a:moveTo>
                  <a:cubicBezTo>
                    <a:pt x="17264" y="0"/>
                    <a:pt x="0" y="2348"/>
                    <a:pt x="0" y="19563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4" name="Forma livre: Forma 213">
              <a:extLst>
                <a:ext uri="{FF2B5EF4-FFF2-40B4-BE49-F238E27FC236}">
                  <a16:creationId xmlns:a16="http://schemas.microsoft.com/office/drawing/2014/main" id="{C8506956-9B0C-DFB3-DA11-FEEF533B7151}"/>
                </a:ext>
              </a:extLst>
            </p:cNvPr>
            <p:cNvSpPr/>
            <p:nvPr/>
          </p:nvSpPr>
          <p:spPr>
            <a:xfrm>
              <a:off x="2827331" y="2514168"/>
              <a:ext cx="27485" cy="4890"/>
            </a:xfrm>
            <a:custGeom>
              <a:avLst/>
              <a:gdLst>
                <a:gd name="connsiteX0" fmla="*/ 0 w 27485"/>
                <a:gd name="connsiteY0" fmla="*/ 0 h 4890"/>
                <a:gd name="connsiteX1" fmla="*/ 27486 w 27485"/>
                <a:gd name="connsiteY1" fmla="*/ 0 h 48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7485" h="4890">
                  <a:moveTo>
                    <a:pt x="0" y="0"/>
                  </a:moveTo>
                  <a:lnTo>
                    <a:pt x="27486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5" name="Forma livre: Forma 214">
              <a:extLst>
                <a:ext uri="{FF2B5EF4-FFF2-40B4-BE49-F238E27FC236}">
                  <a16:creationId xmlns:a16="http://schemas.microsoft.com/office/drawing/2014/main" id="{6A677483-0E37-23DB-C78C-4DD3217DB852}"/>
                </a:ext>
              </a:extLst>
            </p:cNvPr>
            <p:cNvSpPr/>
            <p:nvPr/>
          </p:nvSpPr>
          <p:spPr>
            <a:xfrm>
              <a:off x="2620503" y="2587577"/>
              <a:ext cx="261408" cy="172788"/>
            </a:xfrm>
            <a:custGeom>
              <a:avLst/>
              <a:gdLst>
                <a:gd name="connsiteX0" fmla="*/ 131218 w 261408"/>
                <a:gd name="connsiteY0" fmla="*/ 0 h 172788"/>
                <a:gd name="connsiteX1" fmla="*/ 201155 w 261408"/>
                <a:gd name="connsiteY1" fmla="*/ 7042 h 172788"/>
                <a:gd name="connsiteX2" fmla="*/ 261408 w 261408"/>
                <a:gd name="connsiteY2" fmla="*/ 67247 h 172788"/>
                <a:gd name="connsiteX3" fmla="*/ 261408 w 261408"/>
                <a:gd name="connsiteY3" fmla="*/ 97374 h 172788"/>
                <a:gd name="connsiteX4" fmla="*/ 201155 w 261408"/>
                <a:gd name="connsiteY4" fmla="*/ 157579 h 172788"/>
                <a:gd name="connsiteX5" fmla="*/ 155329 w 261408"/>
                <a:gd name="connsiteY5" fmla="*/ 149802 h 172788"/>
                <a:gd name="connsiteX6" fmla="*/ 130729 w 261408"/>
                <a:gd name="connsiteY6" fmla="*/ 172789 h 172788"/>
                <a:gd name="connsiteX7" fmla="*/ 106275 w 261408"/>
                <a:gd name="connsiteY7" fmla="*/ 150145 h 172788"/>
                <a:gd name="connsiteX8" fmla="*/ 106079 w 261408"/>
                <a:gd name="connsiteY8" fmla="*/ 149655 h 172788"/>
                <a:gd name="connsiteX9" fmla="*/ 60253 w 261408"/>
                <a:gd name="connsiteY9" fmla="*/ 157579 h 172788"/>
                <a:gd name="connsiteX10" fmla="*/ 0 w 261408"/>
                <a:gd name="connsiteY10" fmla="*/ 97374 h 172788"/>
                <a:gd name="connsiteX11" fmla="*/ 0 w 261408"/>
                <a:gd name="connsiteY11" fmla="*/ 67247 h 172788"/>
                <a:gd name="connsiteX12" fmla="*/ 60253 w 261408"/>
                <a:gd name="connsiteY12" fmla="*/ 7042 h 172788"/>
                <a:gd name="connsiteX13" fmla="*/ 130386 w 261408"/>
                <a:gd name="connsiteY13" fmla="*/ 0 h 172788"/>
                <a:gd name="connsiteX14" fmla="*/ 131169 w 261408"/>
                <a:gd name="connsiteY14" fmla="*/ 0 h 1727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61408" h="172788">
                  <a:moveTo>
                    <a:pt x="131218" y="0"/>
                  </a:moveTo>
                  <a:cubicBezTo>
                    <a:pt x="167360" y="98"/>
                    <a:pt x="201155" y="7042"/>
                    <a:pt x="201155" y="7042"/>
                  </a:cubicBezTo>
                  <a:cubicBezTo>
                    <a:pt x="236319" y="14574"/>
                    <a:pt x="261408" y="34137"/>
                    <a:pt x="261408" y="67247"/>
                  </a:cubicBezTo>
                  <a:lnTo>
                    <a:pt x="261408" y="97374"/>
                  </a:lnTo>
                  <a:cubicBezTo>
                    <a:pt x="261408" y="130484"/>
                    <a:pt x="231281" y="160122"/>
                    <a:pt x="201155" y="157579"/>
                  </a:cubicBezTo>
                  <a:cubicBezTo>
                    <a:pt x="179342" y="155769"/>
                    <a:pt x="172495" y="151856"/>
                    <a:pt x="155329" y="149802"/>
                  </a:cubicBezTo>
                  <a:cubicBezTo>
                    <a:pt x="150145" y="163350"/>
                    <a:pt x="140754" y="172789"/>
                    <a:pt x="130729" y="172789"/>
                  </a:cubicBezTo>
                  <a:cubicBezTo>
                    <a:pt x="120703" y="172789"/>
                    <a:pt x="111459" y="163643"/>
                    <a:pt x="106275" y="150145"/>
                  </a:cubicBezTo>
                  <a:lnTo>
                    <a:pt x="106079" y="149655"/>
                  </a:lnTo>
                  <a:cubicBezTo>
                    <a:pt x="88913" y="151710"/>
                    <a:pt x="82066" y="155769"/>
                    <a:pt x="60253" y="157579"/>
                  </a:cubicBezTo>
                  <a:cubicBezTo>
                    <a:pt x="30127" y="160073"/>
                    <a:pt x="0" y="130484"/>
                    <a:pt x="0" y="97374"/>
                  </a:cubicBezTo>
                  <a:lnTo>
                    <a:pt x="0" y="67247"/>
                  </a:lnTo>
                  <a:cubicBezTo>
                    <a:pt x="0" y="34137"/>
                    <a:pt x="25089" y="14525"/>
                    <a:pt x="60253" y="7042"/>
                  </a:cubicBezTo>
                  <a:cubicBezTo>
                    <a:pt x="60253" y="7042"/>
                    <a:pt x="94244" y="98"/>
                    <a:pt x="130386" y="0"/>
                  </a:cubicBezTo>
                  <a:lnTo>
                    <a:pt x="131169" y="0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216" name="Gráfico 4">
            <a:extLst>
              <a:ext uri="{FF2B5EF4-FFF2-40B4-BE49-F238E27FC236}">
                <a16:creationId xmlns:a16="http://schemas.microsoft.com/office/drawing/2014/main" id="{29A30327-A9A0-8021-B922-928AA705CC56}"/>
              </a:ext>
            </a:extLst>
          </p:cNvPr>
          <p:cNvGrpSpPr/>
          <p:nvPr/>
        </p:nvGrpSpPr>
        <p:grpSpPr>
          <a:xfrm>
            <a:off x="3250572" y="2533779"/>
            <a:ext cx="303468" cy="316281"/>
            <a:chOff x="3250572" y="2533779"/>
            <a:chExt cx="303468" cy="316281"/>
          </a:xfrm>
          <a:noFill/>
        </p:grpSpPr>
        <p:sp>
          <p:nvSpPr>
            <p:cNvPr id="217" name="Forma livre: Forma 216">
              <a:extLst>
                <a:ext uri="{FF2B5EF4-FFF2-40B4-BE49-F238E27FC236}">
                  <a16:creationId xmlns:a16="http://schemas.microsoft.com/office/drawing/2014/main" id="{319284E1-F8E9-42CC-ECA4-2D8E03C5B716}"/>
                </a:ext>
              </a:extLst>
            </p:cNvPr>
            <p:cNvSpPr/>
            <p:nvPr/>
          </p:nvSpPr>
          <p:spPr>
            <a:xfrm>
              <a:off x="3527435" y="2682897"/>
              <a:ext cx="4890" cy="73556"/>
            </a:xfrm>
            <a:custGeom>
              <a:avLst/>
              <a:gdLst>
                <a:gd name="connsiteX0" fmla="*/ 0 w 4890"/>
                <a:gd name="connsiteY0" fmla="*/ 0 h 73556"/>
                <a:gd name="connsiteX1" fmla="*/ 0 w 4890"/>
                <a:gd name="connsiteY1" fmla="*/ 73556 h 735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890" h="73556">
                  <a:moveTo>
                    <a:pt x="0" y="0"/>
                  </a:moveTo>
                  <a:lnTo>
                    <a:pt x="0" y="73556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8" name="Forma livre: Forma 217">
              <a:extLst>
                <a:ext uri="{FF2B5EF4-FFF2-40B4-BE49-F238E27FC236}">
                  <a16:creationId xmlns:a16="http://schemas.microsoft.com/office/drawing/2014/main" id="{A4D1B202-2569-E5E9-DD5B-107D4DA88753}"/>
                </a:ext>
              </a:extLst>
            </p:cNvPr>
            <p:cNvSpPr/>
            <p:nvPr/>
          </p:nvSpPr>
          <p:spPr>
            <a:xfrm>
              <a:off x="3421991" y="2549836"/>
              <a:ext cx="104269" cy="78627"/>
            </a:xfrm>
            <a:custGeom>
              <a:avLst/>
              <a:gdLst>
                <a:gd name="connsiteX0" fmla="*/ 0 w 104269"/>
                <a:gd name="connsiteY0" fmla="*/ 621 h 78627"/>
                <a:gd name="connsiteX1" fmla="*/ 104270 w 104269"/>
                <a:gd name="connsiteY1" fmla="*/ 78627 h 786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4269" h="78627">
                  <a:moveTo>
                    <a:pt x="0" y="621"/>
                  </a:moveTo>
                  <a:cubicBezTo>
                    <a:pt x="0" y="621"/>
                    <a:pt x="92679" y="-12193"/>
                    <a:pt x="104270" y="78627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9" name="Forma livre: Forma 218">
              <a:extLst>
                <a:ext uri="{FF2B5EF4-FFF2-40B4-BE49-F238E27FC236}">
                  <a16:creationId xmlns:a16="http://schemas.microsoft.com/office/drawing/2014/main" id="{4DF5F892-894A-083B-7E0D-62A2400FAE1B}"/>
                </a:ext>
              </a:extLst>
            </p:cNvPr>
            <p:cNvSpPr/>
            <p:nvPr/>
          </p:nvSpPr>
          <p:spPr>
            <a:xfrm>
              <a:off x="3270282" y="2548696"/>
              <a:ext cx="18633" cy="4890"/>
            </a:xfrm>
            <a:custGeom>
              <a:avLst/>
              <a:gdLst>
                <a:gd name="connsiteX0" fmla="*/ 0 w 18633"/>
                <a:gd name="connsiteY0" fmla="*/ 0 h 4890"/>
                <a:gd name="connsiteX1" fmla="*/ 18634 w 18633"/>
                <a:gd name="connsiteY1" fmla="*/ 0 h 48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633" h="4890">
                  <a:moveTo>
                    <a:pt x="0" y="0"/>
                  </a:moveTo>
                  <a:lnTo>
                    <a:pt x="18634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20" name="Forma livre: Forma 219">
              <a:extLst>
                <a:ext uri="{FF2B5EF4-FFF2-40B4-BE49-F238E27FC236}">
                  <a16:creationId xmlns:a16="http://schemas.microsoft.com/office/drawing/2014/main" id="{80CD5A6B-6B68-B50E-BF47-656A3C07FD79}"/>
                </a:ext>
              </a:extLst>
            </p:cNvPr>
            <p:cNvSpPr/>
            <p:nvPr/>
          </p:nvSpPr>
          <p:spPr>
            <a:xfrm>
              <a:off x="3317672" y="2548696"/>
              <a:ext cx="76392" cy="4890"/>
            </a:xfrm>
            <a:custGeom>
              <a:avLst/>
              <a:gdLst>
                <a:gd name="connsiteX0" fmla="*/ 0 w 76392"/>
                <a:gd name="connsiteY0" fmla="*/ 0 h 4890"/>
                <a:gd name="connsiteX1" fmla="*/ 76393 w 76392"/>
                <a:gd name="connsiteY1" fmla="*/ 0 h 48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6392" h="4890">
                  <a:moveTo>
                    <a:pt x="0" y="0"/>
                  </a:moveTo>
                  <a:lnTo>
                    <a:pt x="76393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21" name="Forma livre: Forma 220">
              <a:extLst>
                <a:ext uri="{FF2B5EF4-FFF2-40B4-BE49-F238E27FC236}">
                  <a16:creationId xmlns:a16="http://schemas.microsoft.com/office/drawing/2014/main" id="{74AF7424-8F3A-03F2-C4D8-DC69DA1EB27D}"/>
                </a:ext>
              </a:extLst>
            </p:cNvPr>
            <p:cNvSpPr/>
            <p:nvPr/>
          </p:nvSpPr>
          <p:spPr>
            <a:xfrm>
              <a:off x="3498677" y="2628610"/>
              <a:ext cx="55362" cy="55362"/>
            </a:xfrm>
            <a:custGeom>
              <a:avLst/>
              <a:gdLst>
                <a:gd name="connsiteX0" fmla="*/ 55363 w 55362"/>
                <a:gd name="connsiteY0" fmla="*/ 27681 h 55362"/>
                <a:gd name="connsiteX1" fmla="*/ 27681 w 55362"/>
                <a:gd name="connsiteY1" fmla="*/ 55363 h 55362"/>
                <a:gd name="connsiteX2" fmla="*/ 0 w 55362"/>
                <a:gd name="connsiteY2" fmla="*/ 27681 h 55362"/>
                <a:gd name="connsiteX3" fmla="*/ 27681 w 55362"/>
                <a:gd name="connsiteY3" fmla="*/ 0 h 55362"/>
                <a:gd name="connsiteX4" fmla="*/ 55363 w 55362"/>
                <a:gd name="connsiteY4" fmla="*/ 27681 h 553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62" h="55362">
                  <a:moveTo>
                    <a:pt x="55363" y="27681"/>
                  </a:moveTo>
                  <a:cubicBezTo>
                    <a:pt x="55363" y="42940"/>
                    <a:pt x="42989" y="55363"/>
                    <a:pt x="27681" y="55363"/>
                  </a:cubicBezTo>
                  <a:cubicBezTo>
                    <a:pt x="12373" y="55363"/>
                    <a:pt x="0" y="42989"/>
                    <a:pt x="0" y="27681"/>
                  </a:cubicBezTo>
                  <a:cubicBezTo>
                    <a:pt x="0" y="12373"/>
                    <a:pt x="12373" y="0"/>
                    <a:pt x="27681" y="0"/>
                  </a:cubicBezTo>
                  <a:cubicBezTo>
                    <a:pt x="42989" y="0"/>
                    <a:pt x="55363" y="12373"/>
                    <a:pt x="55363" y="27681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22" name="Forma livre: Forma 221">
              <a:extLst>
                <a:ext uri="{FF2B5EF4-FFF2-40B4-BE49-F238E27FC236}">
                  <a16:creationId xmlns:a16="http://schemas.microsoft.com/office/drawing/2014/main" id="{431860CA-97B5-B22B-5FFB-C34AC72510A1}"/>
                </a:ext>
              </a:extLst>
            </p:cNvPr>
            <p:cNvSpPr/>
            <p:nvPr/>
          </p:nvSpPr>
          <p:spPr>
            <a:xfrm>
              <a:off x="3529391" y="2638489"/>
              <a:ext cx="17948" cy="15699"/>
            </a:xfrm>
            <a:custGeom>
              <a:avLst/>
              <a:gdLst>
                <a:gd name="connsiteX0" fmla="*/ 0 w 17948"/>
                <a:gd name="connsiteY0" fmla="*/ 15699 h 15699"/>
                <a:gd name="connsiteX1" fmla="*/ 17949 w 17948"/>
                <a:gd name="connsiteY1" fmla="*/ 0 h 156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7948" h="15699">
                  <a:moveTo>
                    <a:pt x="0" y="15699"/>
                  </a:moveTo>
                  <a:lnTo>
                    <a:pt x="17949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23" name="Forma livre: Forma 222">
              <a:extLst>
                <a:ext uri="{FF2B5EF4-FFF2-40B4-BE49-F238E27FC236}">
                  <a16:creationId xmlns:a16="http://schemas.microsoft.com/office/drawing/2014/main" id="{0E91FCE7-9C34-3134-DDE5-137FDEFECC09}"/>
                </a:ext>
              </a:extLst>
            </p:cNvPr>
            <p:cNvSpPr/>
            <p:nvPr/>
          </p:nvSpPr>
          <p:spPr>
            <a:xfrm>
              <a:off x="3375578" y="2548696"/>
              <a:ext cx="15405" cy="4890"/>
            </a:xfrm>
            <a:custGeom>
              <a:avLst/>
              <a:gdLst>
                <a:gd name="connsiteX0" fmla="*/ 0 w 15405"/>
                <a:gd name="connsiteY0" fmla="*/ 0 h 4890"/>
                <a:gd name="connsiteX1" fmla="*/ 15406 w 15405"/>
                <a:gd name="connsiteY1" fmla="*/ 0 h 48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405" h="4890">
                  <a:moveTo>
                    <a:pt x="0" y="0"/>
                  </a:moveTo>
                  <a:lnTo>
                    <a:pt x="15406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224" name="Gráfico 4">
              <a:extLst>
                <a:ext uri="{FF2B5EF4-FFF2-40B4-BE49-F238E27FC236}">
                  <a16:creationId xmlns:a16="http://schemas.microsoft.com/office/drawing/2014/main" id="{B6C8EFC2-1906-075C-ED47-425C643AF26C}"/>
                </a:ext>
              </a:extLst>
            </p:cNvPr>
            <p:cNvGrpSpPr/>
            <p:nvPr/>
          </p:nvGrpSpPr>
          <p:grpSpPr>
            <a:xfrm>
              <a:off x="3356016" y="2533779"/>
              <a:ext cx="105443" cy="316281"/>
              <a:chOff x="3356016" y="2533779"/>
              <a:chExt cx="105443" cy="316281"/>
            </a:xfrm>
            <a:noFill/>
          </p:grpSpPr>
          <p:sp>
            <p:nvSpPr>
              <p:cNvPr id="225" name="Forma livre: Forma 224">
                <a:extLst>
                  <a:ext uri="{FF2B5EF4-FFF2-40B4-BE49-F238E27FC236}">
                    <a16:creationId xmlns:a16="http://schemas.microsoft.com/office/drawing/2014/main" id="{3A6168B7-8667-7FB7-4299-1559CF6C0B86}"/>
                  </a:ext>
                </a:extLst>
              </p:cNvPr>
              <p:cNvSpPr/>
              <p:nvPr/>
            </p:nvSpPr>
            <p:spPr>
              <a:xfrm>
                <a:off x="3356016" y="2533779"/>
                <a:ext cx="105443" cy="316281"/>
              </a:xfrm>
              <a:custGeom>
                <a:avLst/>
                <a:gdLst>
                  <a:gd name="connsiteX0" fmla="*/ 84560 w 105443"/>
                  <a:gd name="connsiteY0" fmla="*/ 62748 h 316281"/>
                  <a:gd name="connsiteX1" fmla="*/ 66856 w 105443"/>
                  <a:gd name="connsiteY1" fmla="*/ 29735 h 316281"/>
                  <a:gd name="connsiteX2" fmla="*/ 66856 w 105443"/>
                  <a:gd name="connsiteY2" fmla="*/ 0 h 316281"/>
                  <a:gd name="connsiteX3" fmla="*/ 38490 w 105443"/>
                  <a:gd name="connsiteY3" fmla="*/ 0 h 316281"/>
                  <a:gd name="connsiteX4" fmla="*/ 38490 w 105443"/>
                  <a:gd name="connsiteY4" fmla="*/ 29735 h 316281"/>
                  <a:gd name="connsiteX5" fmla="*/ 20785 w 105443"/>
                  <a:gd name="connsiteY5" fmla="*/ 62748 h 316281"/>
                  <a:gd name="connsiteX6" fmla="*/ 20541 w 105443"/>
                  <a:gd name="connsiteY6" fmla="*/ 62992 h 316281"/>
                  <a:gd name="connsiteX7" fmla="*/ 0 w 105443"/>
                  <a:gd name="connsiteY7" fmla="*/ 102754 h 316281"/>
                  <a:gd name="connsiteX8" fmla="*/ 0 w 105443"/>
                  <a:gd name="connsiteY8" fmla="*/ 291828 h 316281"/>
                  <a:gd name="connsiteX9" fmla="*/ 24454 w 105443"/>
                  <a:gd name="connsiteY9" fmla="*/ 316282 h 316281"/>
                  <a:gd name="connsiteX10" fmla="*/ 80990 w 105443"/>
                  <a:gd name="connsiteY10" fmla="*/ 316282 h 316281"/>
                  <a:gd name="connsiteX11" fmla="*/ 105444 w 105443"/>
                  <a:gd name="connsiteY11" fmla="*/ 291828 h 316281"/>
                  <a:gd name="connsiteX12" fmla="*/ 105444 w 105443"/>
                  <a:gd name="connsiteY12" fmla="*/ 102754 h 316281"/>
                  <a:gd name="connsiteX13" fmla="*/ 84854 w 105443"/>
                  <a:gd name="connsiteY13" fmla="*/ 62943 h 316281"/>
                  <a:gd name="connsiteX14" fmla="*/ 84609 w 105443"/>
                  <a:gd name="connsiteY14" fmla="*/ 62748 h 3162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105443" h="316281">
                    <a:moveTo>
                      <a:pt x="84560" y="62748"/>
                    </a:moveTo>
                    <a:cubicBezTo>
                      <a:pt x="65193" y="49298"/>
                      <a:pt x="66856" y="29735"/>
                      <a:pt x="66856" y="29735"/>
                    </a:cubicBezTo>
                    <a:lnTo>
                      <a:pt x="66856" y="0"/>
                    </a:lnTo>
                    <a:lnTo>
                      <a:pt x="38490" y="0"/>
                    </a:lnTo>
                    <a:lnTo>
                      <a:pt x="38490" y="29735"/>
                    </a:lnTo>
                    <a:cubicBezTo>
                      <a:pt x="38490" y="29735"/>
                      <a:pt x="40153" y="49249"/>
                      <a:pt x="20785" y="62748"/>
                    </a:cubicBezTo>
                    <a:lnTo>
                      <a:pt x="20541" y="62992"/>
                    </a:lnTo>
                    <a:cubicBezTo>
                      <a:pt x="8119" y="71893"/>
                      <a:pt x="0" y="86419"/>
                      <a:pt x="0" y="102754"/>
                    </a:cubicBezTo>
                    <a:lnTo>
                      <a:pt x="0" y="291828"/>
                    </a:lnTo>
                    <a:cubicBezTo>
                      <a:pt x="0" y="305278"/>
                      <a:pt x="11004" y="316282"/>
                      <a:pt x="24454" y="316282"/>
                    </a:cubicBezTo>
                    <a:lnTo>
                      <a:pt x="80990" y="316282"/>
                    </a:lnTo>
                    <a:cubicBezTo>
                      <a:pt x="94439" y="316282"/>
                      <a:pt x="105444" y="305278"/>
                      <a:pt x="105444" y="291828"/>
                    </a:cubicBezTo>
                    <a:lnTo>
                      <a:pt x="105444" y="102754"/>
                    </a:lnTo>
                    <a:cubicBezTo>
                      <a:pt x="105444" y="86370"/>
                      <a:pt x="97276" y="71844"/>
                      <a:pt x="84854" y="62943"/>
                    </a:cubicBezTo>
                    <a:lnTo>
                      <a:pt x="84609" y="62748"/>
                    </a:lnTo>
                    <a:close/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26" name="Forma livre: Forma 225">
                <a:extLst>
                  <a:ext uri="{FF2B5EF4-FFF2-40B4-BE49-F238E27FC236}">
                    <a16:creationId xmlns:a16="http://schemas.microsoft.com/office/drawing/2014/main" id="{CA94AD2E-31EA-B2CA-3C8A-8468E74F71E9}"/>
                  </a:ext>
                </a:extLst>
              </p:cNvPr>
              <p:cNvSpPr/>
              <p:nvPr/>
            </p:nvSpPr>
            <p:spPr>
              <a:xfrm>
                <a:off x="3375676" y="2574763"/>
                <a:ext cx="64068" cy="4890"/>
              </a:xfrm>
              <a:custGeom>
                <a:avLst/>
                <a:gdLst>
                  <a:gd name="connsiteX0" fmla="*/ 0 w 64068"/>
                  <a:gd name="connsiteY0" fmla="*/ 0 h 4890"/>
                  <a:gd name="connsiteX1" fmla="*/ 64068 w 64068"/>
                  <a:gd name="connsiteY1" fmla="*/ 0 h 48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4068" h="4890">
                    <a:moveTo>
                      <a:pt x="0" y="0"/>
                    </a:moveTo>
                    <a:lnTo>
                      <a:pt x="64068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27" name="Forma livre: Forma 226">
                <a:extLst>
                  <a:ext uri="{FF2B5EF4-FFF2-40B4-BE49-F238E27FC236}">
                    <a16:creationId xmlns:a16="http://schemas.microsoft.com/office/drawing/2014/main" id="{C70D329D-FA67-6F74-63F3-32145FD39812}"/>
                  </a:ext>
                </a:extLst>
              </p:cNvPr>
              <p:cNvSpPr/>
              <p:nvPr/>
            </p:nvSpPr>
            <p:spPr>
              <a:xfrm>
                <a:off x="3378464" y="2770489"/>
                <a:ext cx="81479" cy="4890"/>
              </a:xfrm>
              <a:custGeom>
                <a:avLst/>
                <a:gdLst>
                  <a:gd name="connsiteX0" fmla="*/ 0 w 81479"/>
                  <a:gd name="connsiteY0" fmla="*/ 0 h 4890"/>
                  <a:gd name="connsiteX1" fmla="*/ 81479 w 81479"/>
                  <a:gd name="connsiteY1" fmla="*/ 0 h 48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81479" h="4890">
                    <a:moveTo>
                      <a:pt x="0" y="0"/>
                    </a:moveTo>
                    <a:lnTo>
                      <a:pt x="81479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28" name="Forma livre: Forma 227">
                <a:extLst>
                  <a:ext uri="{FF2B5EF4-FFF2-40B4-BE49-F238E27FC236}">
                    <a16:creationId xmlns:a16="http://schemas.microsoft.com/office/drawing/2014/main" id="{68A7DC65-072A-5186-1EFE-BFC2279BEB2F}"/>
                  </a:ext>
                </a:extLst>
              </p:cNvPr>
              <p:cNvSpPr/>
              <p:nvPr/>
            </p:nvSpPr>
            <p:spPr>
              <a:xfrm>
                <a:off x="3378464" y="2660155"/>
                <a:ext cx="81479" cy="4890"/>
              </a:xfrm>
              <a:custGeom>
                <a:avLst/>
                <a:gdLst>
                  <a:gd name="connsiteX0" fmla="*/ 0 w 81479"/>
                  <a:gd name="connsiteY0" fmla="*/ 0 h 4890"/>
                  <a:gd name="connsiteX1" fmla="*/ 81479 w 81479"/>
                  <a:gd name="connsiteY1" fmla="*/ 0 h 48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81479" h="4890">
                    <a:moveTo>
                      <a:pt x="0" y="0"/>
                    </a:moveTo>
                    <a:lnTo>
                      <a:pt x="81479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229" name="Forma livre: Forma 228">
              <a:extLst>
                <a:ext uri="{FF2B5EF4-FFF2-40B4-BE49-F238E27FC236}">
                  <a16:creationId xmlns:a16="http://schemas.microsoft.com/office/drawing/2014/main" id="{F425D162-58C4-7ADD-6E8D-5D30DCA94FF2}"/>
                </a:ext>
              </a:extLst>
            </p:cNvPr>
            <p:cNvSpPr/>
            <p:nvPr/>
          </p:nvSpPr>
          <p:spPr>
            <a:xfrm>
              <a:off x="3503862" y="2757382"/>
              <a:ext cx="47635" cy="12813"/>
            </a:xfrm>
            <a:custGeom>
              <a:avLst/>
              <a:gdLst>
                <a:gd name="connsiteX0" fmla="*/ 47635 w 47635"/>
                <a:gd name="connsiteY0" fmla="*/ 12814 h 12813"/>
                <a:gd name="connsiteX1" fmla="*/ 40104 w 47635"/>
                <a:gd name="connsiteY1" fmla="*/ 0 h 12813"/>
                <a:gd name="connsiteX2" fmla="*/ 7581 w 47635"/>
                <a:gd name="connsiteY2" fmla="*/ 0 h 12813"/>
                <a:gd name="connsiteX3" fmla="*/ 0 w 47635"/>
                <a:gd name="connsiteY3" fmla="*/ 12814 h 128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7635" h="12813">
                  <a:moveTo>
                    <a:pt x="47635" y="12814"/>
                  </a:moveTo>
                  <a:lnTo>
                    <a:pt x="40104" y="0"/>
                  </a:lnTo>
                  <a:lnTo>
                    <a:pt x="7581" y="0"/>
                  </a:lnTo>
                  <a:lnTo>
                    <a:pt x="0" y="12814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230" name="Gráfico 4">
              <a:extLst>
                <a:ext uri="{FF2B5EF4-FFF2-40B4-BE49-F238E27FC236}">
                  <a16:creationId xmlns:a16="http://schemas.microsoft.com/office/drawing/2014/main" id="{6BC8D671-086E-C929-2FDB-A5C6D61B4237}"/>
                </a:ext>
              </a:extLst>
            </p:cNvPr>
            <p:cNvGrpSpPr/>
            <p:nvPr/>
          </p:nvGrpSpPr>
          <p:grpSpPr>
            <a:xfrm>
              <a:off x="3250572" y="2533779"/>
              <a:ext cx="105443" cy="316281"/>
              <a:chOff x="3250572" y="2533779"/>
              <a:chExt cx="105443" cy="316281"/>
            </a:xfrm>
            <a:noFill/>
          </p:grpSpPr>
          <p:sp>
            <p:nvSpPr>
              <p:cNvPr id="231" name="Forma livre: Forma 230">
                <a:extLst>
                  <a:ext uri="{FF2B5EF4-FFF2-40B4-BE49-F238E27FC236}">
                    <a16:creationId xmlns:a16="http://schemas.microsoft.com/office/drawing/2014/main" id="{8A58B900-33D9-D811-C2D9-A34DFE6E6A8E}"/>
                  </a:ext>
                </a:extLst>
              </p:cNvPr>
              <p:cNvSpPr/>
              <p:nvPr/>
            </p:nvSpPr>
            <p:spPr>
              <a:xfrm>
                <a:off x="3250572" y="2533779"/>
                <a:ext cx="105443" cy="316281"/>
              </a:xfrm>
              <a:custGeom>
                <a:avLst/>
                <a:gdLst>
                  <a:gd name="connsiteX0" fmla="*/ 84560 w 105443"/>
                  <a:gd name="connsiteY0" fmla="*/ 62748 h 316281"/>
                  <a:gd name="connsiteX1" fmla="*/ 66856 w 105443"/>
                  <a:gd name="connsiteY1" fmla="*/ 29735 h 316281"/>
                  <a:gd name="connsiteX2" fmla="*/ 66856 w 105443"/>
                  <a:gd name="connsiteY2" fmla="*/ 0 h 316281"/>
                  <a:gd name="connsiteX3" fmla="*/ 38490 w 105443"/>
                  <a:gd name="connsiteY3" fmla="*/ 0 h 316281"/>
                  <a:gd name="connsiteX4" fmla="*/ 38490 w 105443"/>
                  <a:gd name="connsiteY4" fmla="*/ 29735 h 316281"/>
                  <a:gd name="connsiteX5" fmla="*/ 20785 w 105443"/>
                  <a:gd name="connsiteY5" fmla="*/ 62748 h 316281"/>
                  <a:gd name="connsiteX6" fmla="*/ 20541 w 105443"/>
                  <a:gd name="connsiteY6" fmla="*/ 62992 h 316281"/>
                  <a:gd name="connsiteX7" fmla="*/ 0 w 105443"/>
                  <a:gd name="connsiteY7" fmla="*/ 102754 h 316281"/>
                  <a:gd name="connsiteX8" fmla="*/ 0 w 105443"/>
                  <a:gd name="connsiteY8" fmla="*/ 291828 h 316281"/>
                  <a:gd name="connsiteX9" fmla="*/ 24454 w 105443"/>
                  <a:gd name="connsiteY9" fmla="*/ 316282 h 316281"/>
                  <a:gd name="connsiteX10" fmla="*/ 80990 w 105443"/>
                  <a:gd name="connsiteY10" fmla="*/ 316282 h 316281"/>
                  <a:gd name="connsiteX11" fmla="*/ 105444 w 105443"/>
                  <a:gd name="connsiteY11" fmla="*/ 291828 h 316281"/>
                  <a:gd name="connsiteX12" fmla="*/ 105444 w 105443"/>
                  <a:gd name="connsiteY12" fmla="*/ 102754 h 316281"/>
                  <a:gd name="connsiteX13" fmla="*/ 84854 w 105443"/>
                  <a:gd name="connsiteY13" fmla="*/ 62943 h 316281"/>
                  <a:gd name="connsiteX14" fmla="*/ 84609 w 105443"/>
                  <a:gd name="connsiteY14" fmla="*/ 62748 h 3162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105443" h="316281">
                    <a:moveTo>
                      <a:pt x="84560" y="62748"/>
                    </a:moveTo>
                    <a:cubicBezTo>
                      <a:pt x="65193" y="49298"/>
                      <a:pt x="66856" y="29735"/>
                      <a:pt x="66856" y="29735"/>
                    </a:cubicBezTo>
                    <a:lnTo>
                      <a:pt x="66856" y="0"/>
                    </a:lnTo>
                    <a:lnTo>
                      <a:pt x="38490" y="0"/>
                    </a:lnTo>
                    <a:lnTo>
                      <a:pt x="38490" y="29735"/>
                    </a:lnTo>
                    <a:cubicBezTo>
                      <a:pt x="38490" y="29735"/>
                      <a:pt x="40153" y="49249"/>
                      <a:pt x="20785" y="62748"/>
                    </a:cubicBezTo>
                    <a:lnTo>
                      <a:pt x="20541" y="62992"/>
                    </a:lnTo>
                    <a:cubicBezTo>
                      <a:pt x="8119" y="71893"/>
                      <a:pt x="0" y="86419"/>
                      <a:pt x="0" y="102754"/>
                    </a:cubicBezTo>
                    <a:lnTo>
                      <a:pt x="0" y="291828"/>
                    </a:lnTo>
                    <a:cubicBezTo>
                      <a:pt x="0" y="305278"/>
                      <a:pt x="11004" y="316282"/>
                      <a:pt x="24454" y="316282"/>
                    </a:cubicBezTo>
                    <a:lnTo>
                      <a:pt x="80990" y="316282"/>
                    </a:lnTo>
                    <a:cubicBezTo>
                      <a:pt x="94439" y="316282"/>
                      <a:pt x="105444" y="305278"/>
                      <a:pt x="105444" y="291828"/>
                    </a:cubicBezTo>
                    <a:lnTo>
                      <a:pt x="105444" y="102754"/>
                    </a:lnTo>
                    <a:cubicBezTo>
                      <a:pt x="105444" y="86370"/>
                      <a:pt x="97276" y="71844"/>
                      <a:pt x="84854" y="62943"/>
                    </a:cubicBezTo>
                    <a:lnTo>
                      <a:pt x="84609" y="62748"/>
                    </a:lnTo>
                    <a:close/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32" name="Forma livre: Forma 231">
                <a:extLst>
                  <a:ext uri="{FF2B5EF4-FFF2-40B4-BE49-F238E27FC236}">
                    <a16:creationId xmlns:a16="http://schemas.microsoft.com/office/drawing/2014/main" id="{992BBF98-44F9-7FF4-F281-711829FC2BBE}"/>
                  </a:ext>
                </a:extLst>
              </p:cNvPr>
              <p:cNvSpPr/>
              <p:nvPr/>
            </p:nvSpPr>
            <p:spPr>
              <a:xfrm>
                <a:off x="3270282" y="2574763"/>
                <a:ext cx="64068" cy="4890"/>
              </a:xfrm>
              <a:custGeom>
                <a:avLst/>
                <a:gdLst>
                  <a:gd name="connsiteX0" fmla="*/ 0 w 64068"/>
                  <a:gd name="connsiteY0" fmla="*/ 0 h 4890"/>
                  <a:gd name="connsiteX1" fmla="*/ 64068 w 64068"/>
                  <a:gd name="connsiteY1" fmla="*/ 0 h 48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4068" h="4890">
                    <a:moveTo>
                      <a:pt x="0" y="0"/>
                    </a:moveTo>
                    <a:lnTo>
                      <a:pt x="64068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33" name="Forma livre: Forma 232">
                <a:extLst>
                  <a:ext uri="{FF2B5EF4-FFF2-40B4-BE49-F238E27FC236}">
                    <a16:creationId xmlns:a16="http://schemas.microsoft.com/office/drawing/2014/main" id="{E6E9B53B-0A39-17CB-2A42-5A93C6BAC70A}"/>
                  </a:ext>
                </a:extLst>
              </p:cNvPr>
              <p:cNvSpPr/>
              <p:nvPr/>
            </p:nvSpPr>
            <p:spPr>
              <a:xfrm>
                <a:off x="3273020" y="2770489"/>
                <a:ext cx="81528" cy="4890"/>
              </a:xfrm>
              <a:custGeom>
                <a:avLst/>
                <a:gdLst>
                  <a:gd name="connsiteX0" fmla="*/ 0 w 81528"/>
                  <a:gd name="connsiteY0" fmla="*/ 0 h 4890"/>
                  <a:gd name="connsiteX1" fmla="*/ 81528 w 81528"/>
                  <a:gd name="connsiteY1" fmla="*/ 0 h 48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81528" h="4890">
                    <a:moveTo>
                      <a:pt x="0" y="0"/>
                    </a:moveTo>
                    <a:lnTo>
                      <a:pt x="81528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34" name="Forma livre: Forma 233">
                <a:extLst>
                  <a:ext uri="{FF2B5EF4-FFF2-40B4-BE49-F238E27FC236}">
                    <a16:creationId xmlns:a16="http://schemas.microsoft.com/office/drawing/2014/main" id="{64775842-1C4F-8E65-85D7-C639C0B2AD06}"/>
                  </a:ext>
                </a:extLst>
              </p:cNvPr>
              <p:cNvSpPr/>
              <p:nvPr/>
            </p:nvSpPr>
            <p:spPr>
              <a:xfrm>
                <a:off x="3273020" y="2660155"/>
                <a:ext cx="81528" cy="4890"/>
              </a:xfrm>
              <a:custGeom>
                <a:avLst/>
                <a:gdLst>
                  <a:gd name="connsiteX0" fmla="*/ 0 w 81528"/>
                  <a:gd name="connsiteY0" fmla="*/ 0 h 4890"/>
                  <a:gd name="connsiteX1" fmla="*/ 81528 w 81528"/>
                  <a:gd name="connsiteY1" fmla="*/ 0 h 48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81528" h="4890">
                    <a:moveTo>
                      <a:pt x="0" y="0"/>
                    </a:moveTo>
                    <a:lnTo>
                      <a:pt x="81528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235" name="Gráfico 4">
            <a:extLst>
              <a:ext uri="{FF2B5EF4-FFF2-40B4-BE49-F238E27FC236}">
                <a16:creationId xmlns:a16="http://schemas.microsoft.com/office/drawing/2014/main" id="{77936486-FE0B-6A07-985D-E39F673036AF}"/>
              </a:ext>
            </a:extLst>
          </p:cNvPr>
          <p:cNvGrpSpPr/>
          <p:nvPr/>
        </p:nvGrpSpPr>
        <p:grpSpPr>
          <a:xfrm>
            <a:off x="3880397" y="2523851"/>
            <a:ext cx="307087" cy="336209"/>
            <a:chOff x="3880397" y="2523851"/>
            <a:chExt cx="307087" cy="336209"/>
          </a:xfrm>
          <a:noFill/>
        </p:grpSpPr>
        <p:sp>
          <p:nvSpPr>
            <p:cNvPr id="236" name="Forma livre: Forma 235">
              <a:extLst>
                <a:ext uri="{FF2B5EF4-FFF2-40B4-BE49-F238E27FC236}">
                  <a16:creationId xmlns:a16="http://schemas.microsoft.com/office/drawing/2014/main" id="{AB8ED16D-1EC4-071D-1620-0D3F85EE7D96}"/>
                </a:ext>
              </a:extLst>
            </p:cNvPr>
            <p:cNvSpPr/>
            <p:nvPr/>
          </p:nvSpPr>
          <p:spPr>
            <a:xfrm>
              <a:off x="3880397" y="2845660"/>
              <a:ext cx="267619" cy="14400"/>
            </a:xfrm>
            <a:custGeom>
              <a:avLst/>
              <a:gdLst>
                <a:gd name="connsiteX0" fmla="*/ 0 w 267619"/>
                <a:gd name="connsiteY0" fmla="*/ 0 h 14400"/>
                <a:gd name="connsiteX1" fmla="*/ 267619 w 267619"/>
                <a:gd name="connsiteY1" fmla="*/ 12911 h 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67619" h="14400">
                  <a:moveTo>
                    <a:pt x="0" y="0"/>
                  </a:moveTo>
                  <a:cubicBezTo>
                    <a:pt x="0" y="0"/>
                    <a:pt x="25872" y="19905"/>
                    <a:pt x="267619" y="12911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37" name="Forma livre: Forma 236">
              <a:extLst>
                <a:ext uri="{FF2B5EF4-FFF2-40B4-BE49-F238E27FC236}">
                  <a16:creationId xmlns:a16="http://schemas.microsoft.com/office/drawing/2014/main" id="{6279E29E-5934-9017-BE3F-24F1465D5F2F}"/>
                </a:ext>
              </a:extLst>
            </p:cNvPr>
            <p:cNvSpPr/>
            <p:nvPr/>
          </p:nvSpPr>
          <p:spPr>
            <a:xfrm>
              <a:off x="3999045" y="2753127"/>
              <a:ext cx="29931" cy="105981"/>
            </a:xfrm>
            <a:custGeom>
              <a:avLst/>
              <a:gdLst>
                <a:gd name="connsiteX0" fmla="*/ 29931 w 29931"/>
                <a:gd name="connsiteY0" fmla="*/ 0 h 105981"/>
                <a:gd name="connsiteX1" fmla="*/ 0 w 29931"/>
                <a:gd name="connsiteY1" fmla="*/ 105982 h 1059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9931" h="105981">
                  <a:moveTo>
                    <a:pt x="29931" y="0"/>
                  </a:moveTo>
                  <a:cubicBezTo>
                    <a:pt x="18683" y="34186"/>
                    <a:pt x="8265" y="69350"/>
                    <a:pt x="0" y="105982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38" name="Forma livre: Forma 237">
              <a:extLst>
                <a:ext uri="{FF2B5EF4-FFF2-40B4-BE49-F238E27FC236}">
                  <a16:creationId xmlns:a16="http://schemas.microsoft.com/office/drawing/2014/main" id="{6233ED1F-4313-494D-082B-03DEC78BA002}"/>
                </a:ext>
              </a:extLst>
            </p:cNvPr>
            <p:cNvSpPr/>
            <p:nvPr/>
          </p:nvSpPr>
          <p:spPr>
            <a:xfrm>
              <a:off x="4035970" y="2523851"/>
              <a:ext cx="89157" cy="205654"/>
            </a:xfrm>
            <a:custGeom>
              <a:avLst/>
              <a:gdLst>
                <a:gd name="connsiteX0" fmla="*/ 89158 w 89157"/>
                <a:gd name="connsiteY0" fmla="*/ 0 h 205654"/>
                <a:gd name="connsiteX1" fmla="*/ 0 w 89157"/>
                <a:gd name="connsiteY1" fmla="*/ 205654 h 2056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9157" h="205654">
                  <a:moveTo>
                    <a:pt x="89158" y="0"/>
                  </a:moveTo>
                  <a:cubicBezTo>
                    <a:pt x="89158" y="0"/>
                    <a:pt x="40397" y="90429"/>
                    <a:pt x="0" y="205654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39" name="Forma livre: Forma 238">
              <a:extLst>
                <a:ext uri="{FF2B5EF4-FFF2-40B4-BE49-F238E27FC236}">
                  <a16:creationId xmlns:a16="http://schemas.microsoft.com/office/drawing/2014/main" id="{4D6EDD8F-2810-C0C3-D5D9-D41CC2D59162}"/>
                </a:ext>
              </a:extLst>
            </p:cNvPr>
            <p:cNvSpPr/>
            <p:nvPr/>
          </p:nvSpPr>
          <p:spPr>
            <a:xfrm>
              <a:off x="4005843" y="2778168"/>
              <a:ext cx="159143" cy="59226"/>
            </a:xfrm>
            <a:custGeom>
              <a:avLst/>
              <a:gdLst>
                <a:gd name="connsiteX0" fmla="*/ 159144 w 159143"/>
                <a:gd name="connsiteY0" fmla="*/ 0 h 59226"/>
                <a:gd name="connsiteX1" fmla="*/ 145205 w 159143"/>
                <a:gd name="connsiteY1" fmla="*/ 13058 h 59226"/>
                <a:gd name="connsiteX2" fmla="*/ 0 w 159143"/>
                <a:gd name="connsiteY2" fmla="*/ 59226 h 592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59143" h="59226">
                  <a:moveTo>
                    <a:pt x="159144" y="0"/>
                  </a:moveTo>
                  <a:cubicBezTo>
                    <a:pt x="156454" y="5478"/>
                    <a:pt x="152101" y="10515"/>
                    <a:pt x="145205" y="13058"/>
                  </a:cubicBezTo>
                  <a:lnTo>
                    <a:pt x="0" y="59226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40" name="Forma livre: Forma 239">
              <a:extLst>
                <a:ext uri="{FF2B5EF4-FFF2-40B4-BE49-F238E27FC236}">
                  <a16:creationId xmlns:a16="http://schemas.microsoft.com/office/drawing/2014/main" id="{4B7760C2-77C9-3E8A-93AB-945D10B7186B}"/>
                </a:ext>
              </a:extLst>
            </p:cNvPr>
            <p:cNvSpPr/>
            <p:nvPr/>
          </p:nvSpPr>
          <p:spPr>
            <a:xfrm>
              <a:off x="4122291" y="2535149"/>
              <a:ext cx="46266" cy="218125"/>
            </a:xfrm>
            <a:custGeom>
              <a:avLst/>
              <a:gdLst>
                <a:gd name="connsiteX0" fmla="*/ 0 w 46266"/>
                <a:gd name="connsiteY0" fmla="*/ 0 h 218125"/>
                <a:gd name="connsiteX1" fmla="*/ 40202 w 46266"/>
                <a:gd name="connsiteY1" fmla="*/ 28268 h 218125"/>
                <a:gd name="connsiteX2" fmla="*/ 46266 w 46266"/>
                <a:gd name="connsiteY2" fmla="*/ 218125 h 2181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6266" h="218125">
                  <a:moveTo>
                    <a:pt x="0" y="0"/>
                  </a:moveTo>
                  <a:lnTo>
                    <a:pt x="40202" y="28268"/>
                  </a:lnTo>
                  <a:lnTo>
                    <a:pt x="46266" y="218125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41" name="Forma livre: Forma 240">
              <a:extLst>
                <a:ext uri="{FF2B5EF4-FFF2-40B4-BE49-F238E27FC236}">
                  <a16:creationId xmlns:a16="http://schemas.microsoft.com/office/drawing/2014/main" id="{EAF647C2-63DF-6ED5-D2DF-DD85EBE6584A}"/>
                </a:ext>
              </a:extLst>
            </p:cNvPr>
            <p:cNvSpPr/>
            <p:nvPr/>
          </p:nvSpPr>
          <p:spPr>
            <a:xfrm>
              <a:off x="4081649" y="2719235"/>
              <a:ext cx="84804" cy="17264"/>
            </a:xfrm>
            <a:custGeom>
              <a:avLst/>
              <a:gdLst>
                <a:gd name="connsiteX0" fmla="*/ 0 w 84804"/>
                <a:gd name="connsiteY0" fmla="*/ 17264 h 17264"/>
                <a:gd name="connsiteX1" fmla="*/ 84805 w 84804"/>
                <a:gd name="connsiteY1" fmla="*/ 0 h 172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4804" h="17264">
                  <a:moveTo>
                    <a:pt x="0" y="17264"/>
                  </a:moveTo>
                  <a:cubicBezTo>
                    <a:pt x="22986" y="11933"/>
                    <a:pt x="57564" y="4255"/>
                    <a:pt x="84805" y="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42" name="Forma livre: Forma 241">
              <a:extLst>
                <a:ext uri="{FF2B5EF4-FFF2-40B4-BE49-F238E27FC236}">
                  <a16:creationId xmlns:a16="http://schemas.microsoft.com/office/drawing/2014/main" id="{AA75A5F0-07E1-5AAE-356A-FC2FE457FBB1}"/>
                </a:ext>
              </a:extLst>
            </p:cNvPr>
            <p:cNvSpPr/>
            <p:nvPr/>
          </p:nvSpPr>
          <p:spPr>
            <a:xfrm>
              <a:off x="4060962" y="2655900"/>
              <a:ext cx="99232" cy="19367"/>
            </a:xfrm>
            <a:custGeom>
              <a:avLst/>
              <a:gdLst>
                <a:gd name="connsiteX0" fmla="*/ 0 w 99232"/>
                <a:gd name="connsiteY0" fmla="*/ 19367 h 19367"/>
                <a:gd name="connsiteX1" fmla="*/ 99232 w 99232"/>
                <a:gd name="connsiteY1" fmla="*/ 0 h 193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9232" h="19367">
                  <a:moveTo>
                    <a:pt x="0" y="19367"/>
                  </a:moveTo>
                  <a:cubicBezTo>
                    <a:pt x="17851" y="15210"/>
                    <a:pt x="73165" y="4059"/>
                    <a:pt x="99232" y="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43" name="Forma livre: Forma 242">
              <a:extLst>
                <a:ext uri="{FF2B5EF4-FFF2-40B4-BE49-F238E27FC236}">
                  <a16:creationId xmlns:a16="http://schemas.microsoft.com/office/drawing/2014/main" id="{E4444613-15AC-9D48-1DD2-9E064D3F016E}"/>
                </a:ext>
              </a:extLst>
            </p:cNvPr>
            <p:cNvSpPr/>
            <p:nvPr/>
          </p:nvSpPr>
          <p:spPr>
            <a:xfrm>
              <a:off x="4085415" y="2597505"/>
              <a:ext cx="74778" cy="13596"/>
            </a:xfrm>
            <a:custGeom>
              <a:avLst/>
              <a:gdLst>
                <a:gd name="connsiteX0" fmla="*/ 0 w 74778"/>
                <a:gd name="connsiteY0" fmla="*/ 13596 h 13596"/>
                <a:gd name="connsiteX1" fmla="*/ 74779 w 74778"/>
                <a:gd name="connsiteY1" fmla="*/ 0 h 135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4778" h="13596">
                  <a:moveTo>
                    <a:pt x="0" y="13596"/>
                  </a:moveTo>
                  <a:cubicBezTo>
                    <a:pt x="13645" y="10662"/>
                    <a:pt x="60107" y="2299"/>
                    <a:pt x="74779" y="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44" name="Forma livre: Forma 243">
              <a:extLst>
                <a:ext uri="{FF2B5EF4-FFF2-40B4-BE49-F238E27FC236}">
                  <a16:creationId xmlns:a16="http://schemas.microsoft.com/office/drawing/2014/main" id="{BC4BE523-3659-D500-6AF4-E9F77C9C4056}"/>
                </a:ext>
              </a:extLst>
            </p:cNvPr>
            <p:cNvSpPr/>
            <p:nvPr/>
          </p:nvSpPr>
          <p:spPr>
            <a:xfrm>
              <a:off x="4013766" y="2750144"/>
              <a:ext cx="173717" cy="34137"/>
            </a:xfrm>
            <a:custGeom>
              <a:avLst/>
              <a:gdLst>
                <a:gd name="connsiteX0" fmla="*/ 173718 w 173717"/>
                <a:gd name="connsiteY0" fmla="*/ 34137 h 34137"/>
                <a:gd name="connsiteX1" fmla="*/ 0 w 173717"/>
                <a:gd name="connsiteY1" fmla="*/ 0 h 341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73717" h="34137">
                  <a:moveTo>
                    <a:pt x="173718" y="34137"/>
                  </a:moveTo>
                  <a:cubicBezTo>
                    <a:pt x="108769" y="14183"/>
                    <a:pt x="0" y="0"/>
                    <a:pt x="0" y="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245" name="Gráfico 4">
            <a:extLst>
              <a:ext uri="{FF2B5EF4-FFF2-40B4-BE49-F238E27FC236}">
                <a16:creationId xmlns:a16="http://schemas.microsoft.com/office/drawing/2014/main" id="{0F1661CE-7BDD-D2AC-1B72-E4CEBA4FFA8D}"/>
              </a:ext>
            </a:extLst>
          </p:cNvPr>
          <p:cNvGrpSpPr/>
          <p:nvPr/>
        </p:nvGrpSpPr>
        <p:grpSpPr>
          <a:xfrm>
            <a:off x="2581084" y="889671"/>
            <a:ext cx="340246" cy="299582"/>
            <a:chOff x="2581084" y="889671"/>
            <a:chExt cx="340246" cy="299582"/>
          </a:xfrm>
          <a:noFill/>
        </p:grpSpPr>
        <p:sp>
          <p:nvSpPr>
            <p:cNvPr id="246" name="Forma livre: Forma 245">
              <a:extLst>
                <a:ext uri="{FF2B5EF4-FFF2-40B4-BE49-F238E27FC236}">
                  <a16:creationId xmlns:a16="http://schemas.microsoft.com/office/drawing/2014/main" id="{3D296E18-071C-8D04-549D-D32A117D1697}"/>
                </a:ext>
              </a:extLst>
            </p:cNvPr>
            <p:cNvSpPr/>
            <p:nvPr/>
          </p:nvSpPr>
          <p:spPr>
            <a:xfrm>
              <a:off x="2597125" y="889671"/>
              <a:ext cx="308261" cy="156551"/>
            </a:xfrm>
            <a:custGeom>
              <a:avLst/>
              <a:gdLst>
                <a:gd name="connsiteX0" fmla="*/ 153959 w 308261"/>
                <a:gd name="connsiteY0" fmla="*/ 0 h 156551"/>
                <a:gd name="connsiteX1" fmla="*/ 27388 w 308261"/>
                <a:gd name="connsiteY1" fmla="*/ 100797 h 156551"/>
                <a:gd name="connsiteX2" fmla="*/ 0 w 308261"/>
                <a:gd name="connsiteY2" fmla="*/ 156551 h 156551"/>
                <a:gd name="connsiteX3" fmla="*/ 308261 w 308261"/>
                <a:gd name="connsiteY3" fmla="*/ 156551 h 156551"/>
                <a:gd name="connsiteX4" fmla="*/ 280873 w 308261"/>
                <a:gd name="connsiteY4" fmla="*/ 100797 h 156551"/>
                <a:gd name="connsiteX5" fmla="*/ 154302 w 308261"/>
                <a:gd name="connsiteY5" fmla="*/ 0 h 156551"/>
                <a:gd name="connsiteX6" fmla="*/ 154008 w 308261"/>
                <a:gd name="connsiteY6" fmla="*/ 0 h 1565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08261" h="156551">
                  <a:moveTo>
                    <a:pt x="153959" y="0"/>
                  </a:moveTo>
                  <a:lnTo>
                    <a:pt x="27388" y="100797"/>
                  </a:lnTo>
                  <a:cubicBezTo>
                    <a:pt x="27388" y="100797"/>
                    <a:pt x="0" y="118159"/>
                    <a:pt x="0" y="156551"/>
                  </a:cubicBezTo>
                  <a:lnTo>
                    <a:pt x="308261" y="156551"/>
                  </a:lnTo>
                  <a:cubicBezTo>
                    <a:pt x="308261" y="118111"/>
                    <a:pt x="280873" y="100797"/>
                    <a:pt x="280873" y="100797"/>
                  </a:cubicBezTo>
                  <a:lnTo>
                    <a:pt x="154302" y="0"/>
                  </a:lnTo>
                  <a:lnTo>
                    <a:pt x="154008" y="0"/>
                  </a:ln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47" name="Forma livre: Forma 246">
              <a:extLst>
                <a:ext uri="{FF2B5EF4-FFF2-40B4-BE49-F238E27FC236}">
                  <a16:creationId xmlns:a16="http://schemas.microsoft.com/office/drawing/2014/main" id="{DC57DA54-1B56-C3A4-B81E-8662234B79FB}"/>
                </a:ext>
              </a:extLst>
            </p:cNvPr>
            <p:cNvSpPr/>
            <p:nvPr/>
          </p:nvSpPr>
          <p:spPr>
            <a:xfrm>
              <a:off x="2742379" y="932024"/>
              <a:ext cx="7531" cy="41130"/>
            </a:xfrm>
            <a:custGeom>
              <a:avLst/>
              <a:gdLst>
                <a:gd name="connsiteX0" fmla="*/ 7532 w 7531"/>
                <a:gd name="connsiteY0" fmla="*/ 0 h 41130"/>
                <a:gd name="connsiteX1" fmla="*/ 0 w 7531"/>
                <a:gd name="connsiteY1" fmla="*/ 41131 h 411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531" h="41130">
                  <a:moveTo>
                    <a:pt x="7532" y="0"/>
                  </a:moveTo>
                  <a:lnTo>
                    <a:pt x="0" y="41131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48" name="Forma livre: Forma 247">
              <a:extLst>
                <a:ext uri="{FF2B5EF4-FFF2-40B4-BE49-F238E27FC236}">
                  <a16:creationId xmlns:a16="http://schemas.microsoft.com/office/drawing/2014/main" id="{CD951BC5-6EA8-DCE5-F3BE-F3A4EAA3ABFC}"/>
                </a:ext>
              </a:extLst>
            </p:cNvPr>
            <p:cNvSpPr/>
            <p:nvPr/>
          </p:nvSpPr>
          <p:spPr>
            <a:xfrm>
              <a:off x="2647499" y="980687"/>
              <a:ext cx="30077" cy="38978"/>
            </a:xfrm>
            <a:custGeom>
              <a:avLst/>
              <a:gdLst>
                <a:gd name="connsiteX0" fmla="*/ 30078 w 30077"/>
                <a:gd name="connsiteY0" fmla="*/ 0 h 38978"/>
                <a:gd name="connsiteX1" fmla="*/ 0 w 30077"/>
                <a:gd name="connsiteY1" fmla="*/ 38979 h 389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0077" h="38978">
                  <a:moveTo>
                    <a:pt x="30078" y="0"/>
                  </a:moveTo>
                  <a:lnTo>
                    <a:pt x="0" y="38979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49" name="Forma livre: Forma 248">
              <a:extLst>
                <a:ext uri="{FF2B5EF4-FFF2-40B4-BE49-F238E27FC236}">
                  <a16:creationId xmlns:a16="http://schemas.microsoft.com/office/drawing/2014/main" id="{32EFDA2E-8EC0-E29C-5D4F-D8B598084661}"/>
                </a:ext>
              </a:extLst>
            </p:cNvPr>
            <p:cNvSpPr/>
            <p:nvPr/>
          </p:nvSpPr>
          <p:spPr>
            <a:xfrm>
              <a:off x="2723256" y="1000396"/>
              <a:ext cx="5281" cy="17117"/>
            </a:xfrm>
            <a:custGeom>
              <a:avLst/>
              <a:gdLst>
                <a:gd name="connsiteX0" fmla="*/ 5282 w 5281"/>
                <a:gd name="connsiteY0" fmla="*/ 0 h 17117"/>
                <a:gd name="connsiteX1" fmla="*/ 0 w 5281"/>
                <a:gd name="connsiteY1" fmla="*/ 17117 h 17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281" h="17117">
                  <a:moveTo>
                    <a:pt x="5282" y="0"/>
                  </a:moveTo>
                  <a:lnTo>
                    <a:pt x="0" y="17117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50" name="Forma livre: Forma 249">
              <a:extLst>
                <a:ext uri="{FF2B5EF4-FFF2-40B4-BE49-F238E27FC236}">
                  <a16:creationId xmlns:a16="http://schemas.microsoft.com/office/drawing/2014/main" id="{695E26BC-4610-39BB-5088-FCB5861F3EAF}"/>
                </a:ext>
              </a:extLst>
            </p:cNvPr>
            <p:cNvSpPr/>
            <p:nvPr/>
          </p:nvSpPr>
          <p:spPr>
            <a:xfrm>
              <a:off x="2696015" y="946892"/>
              <a:ext cx="26311" cy="56243"/>
            </a:xfrm>
            <a:custGeom>
              <a:avLst/>
              <a:gdLst>
                <a:gd name="connsiteX0" fmla="*/ 26312 w 26311"/>
                <a:gd name="connsiteY0" fmla="*/ 0 h 56243"/>
                <a:gd name="connsiteX1" fmla="*/ 0 w 26311"/>
                <a:gd name="connsiteY1" fmla="*/ 56243 h 562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6311" h="56243">
                  <a:moveTo>
                    <a:pt x="26312" y="0"/>
                  </a:moveTo>
                  <a:lnTo>
                    <a:pt x="0" y="56243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51" name="Forma livre: Forma 250">
              <a:extLst>
                <a:ext uri="{FF2B5EF4-FFF2-40B4-BE49-F238E27FC236}">
                  <a16:creationId xmlns:a16="http://schemas.microsoft.com/office/drawing/2014/main" id="{8CEDEB5C-37BD-9895-7978-AAF7F25AD15A}"/>
                </a:ext>
              </a:extLst>
            </p:cNvPr>
            <p:cNvSpPr/>
            <p:nvPr/>
          </p:nvSpPr>
          <p:spPr>
            <a:xfrm>
              <a:off x="2823222" y="979611"/>
              <a:ext cx="26801" cy="37169"/>
            </a:xfrm>
            <a:custGeom>
              <a:avLst/>
              <a:gdLst>
                <a:gd name="connsiteX0" fmla="*/ 0 w 26801"/>
                <a:gd name="connsiteY0" fmla="*/ 0 h 37169"/>
                <a:gd name="connsiteX1" fmla="*/ 26801 w 26801"/>
                <a:gd name="connsiteY1" fmla="*/ 37169 h 371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6801" h="37169">
                  <a:moveTo>
                    <a:pt x="0" y="0"/>
                  </a:moveTo>
                  <a:lnTo>
                    <a:pt x="26801" y="37169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52" name="Forma livre: Forma 251">
              <a:extLst>
                <a:ext uri="{FF2B5EF4-FFF2-40B4-BE49-F238E27FC236}">
                  <a16:creationId xmlns:a16="http://schemas.microsoft.com/office/drawing/2014/main" id="{10B48C10-2126-D399-D7E8-6B6601A7E8D6}"/>
                </a:ext>
              </a:extLst>
            </p:cNvPr>
            <p:cNvSpPr/>
            <p:nvPr/>
          </p:nvSpPr>
          <p:spPr>
            <a:xfrm>
              <a:off x="2764534" y="987925"/>
              <a:ext cx="8460" cy="31496"/>
            </a:xfrm>
            <a:custGeom>
              <a:avLst/>
              <a:gdLst>
                <a:gd name="connsiteX0" fmla="*/ 0 w 8460"/>
                <a:gd name="connsiteY0" fmla="*/ 0 h 31496"/>
                <a:gd name="connsiteX1" fmla="*/ 8461 w 8460"/>
                <a:gd name="connsiteY1" fmla="*/ 31496 h 314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460" h="31496">
                  <a:moveTo>
                    <a:pt x="0" y="0"/>
                  </a:moveTo>
                  <a:lnTo>
                    <a:pt x="8461" y="31496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53" name="Forma livre: Forma 252">
              <a:extLst>
                <a:ext uri="{FF2B5EF4-FFF2-40B4-BE49-F238E27FC236}">
                  <a16:creationId xmlns:a16="http://schemas.microsoft.com/office/drawing/2014/main" id="{F68F6331-E328-FFDD-C438-9F3A6EC64821}"/>
                </a:ext>
              </a:extLst>
            </p:cNvPr>
            <p:cNvSpPr/>
            <p:nvPr/>
          </p:nvSpPr>
          <p:spPr>
            <a:xfrm>
              <a:off x="2776663" y="947381"/>
              <a:ext cx="26360" cy="56243"/>
            </a:xfrm>
            <a:custGeom>
              <a:avLst/>
              <a:gdLst>
                <a:gd name="connsiteX0" fmla="*/ 0 w 26360"/>
                <a:gd name="connsiteY0" fmla="*/ 0 h 56243"/>
                <a:gd name="connsiteX1" fmla="*/ 26361 w 26360"/>
                <a:gd name="connsiteY1" fmla="*/ 56243 h 562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6360" h="56243">
                  <a:moveTo>
                    <a:pt x="0" y="0"/>
                  </a:moveTo>
                  <a:lnTo>
                    <a:pt x="26361" y="56243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254" name="Gráfico 4">
              <a:extLst>
                <a:ext uri="{FF2B5EF4-FFF2-40B4-BE49-F238E27FC236}">
                  <a16:creationId xmlns:a16="http://schemas.microsoft.com/office/drawing/2014/main" id="{AFDAFD1A-D160-CF20-E45F-F7F8C70AC78D}"/>
                </a:ext>
              </a:extLst>
            </p:cNvPr>
            <p:cNvGrpSpPr/>
            <p:nvPr/>
          </p:nvGrpSpPr>
          <p:grpSpPr>
            <a:xfrm>
              <a:off x="2621628" y="1046711"/>
              <a:ext cx="259305" cy="62698"/>
              <a:chOff x="2621628" y="1046711"/>
              <a:chExt cx="259305" cy="62698"/>
            </a:xfrm>
          </p:grpSpPr>
          <p:sp>
            <p:nvSpPr>
              <p:cNvPr id="255" name="Forma livre: Forma 254">
                <a:extLst>
                  <a:ext uri="{FF2B5EF4-FFF2-40B4-BE49-F238E27FC236}">
                    <a16:creationId xmlns:a16="http://schemas.microsoft.com/office/drawing/2014/main" id="{22C125AC-B19E-2B2F-37E3-E858A6446A7D}"/>
                  </a:ext>
                </a:extLst>
              </p:cNvPr>
              <p:cNvSpPr/>
              <p:nvPr/>
            </p:nvSpPr>
            <p:spPr>
              <a:xfrm>
                <a:off x="2621628" y="1046711"/>
                <a:ext cx="4890" cy="62698"/>
              </a:xfrm>
              <a:custGeom>
                <a:avLst/>
                <a:gdLst>
                  <a:gd name="connsiteX0" fmla="*/ 0 w 4890"/>
                  <a:gd name="connsiteY0" fmla="*/ 0 h 62698"/>
                  <a:gd name="connsiteX1" fmla="*/ 0 w 4890"/>
                  <a:gd name="connsiteY1" fmla="*/ 62699 h 626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890" h="62698">
                    <a:moveTo>
                      <a:pt x="0" y="0"/>
                    </a:moveTo>
                    <a:lnTo>
                      <a:pt x="0" y="62699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56" name="Forma livre: Forma 255">
                <a:extLst>
                  <a:ext uri="{FF2B5EF4-FFF2-40B4-BE49-F238E27FC236}">
                    <a16:creationId xmlns:a16="http://schemas.microsoft.com/office/drawing/2014/main" id="{CD840626-DDBD-BA4E-A392-55B9A6917F20}"/>
                  </a:ext>
                </a:extLst>
              </p:cNvPr>
              <p:cNvSpPr/>
              <p:nvPr/>
            </p:nvSpPr>
            <p:spPr>
              <a:xfrm>
                <a:off x="2880933" y="1046711"/>
                <a:ext cx="4890" cy="62698"/>
              </a:xfrm>
              <a:custGeom>
                <a:avLst/>
                <a:gdLst>
                  <a:gd name="connsiteX0" fmla="*/ 0 w 4890"/>
                  <a:gd name="connsiteY0" fmla="*/ 0 h 62698"/>
                  <a:gd name="connsiteX1" fmla="*/ 0 w 4890"/>
                  <a:gd name="connsiteY1" fmla="*/ 62699 h 626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890" h="62698">
                    <a:moveTo>
                      <a:pt x="0" y="0"/>
                    </a:moveTo>
                    <a:lnTo>
                      <a:pt x="0" y="62699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257" name="Forma livre: Forma 256">
              <a:extLst>
                <a:ext uri="{FF2B5EF4-FFF2-40B4-BE49-F238E27FC236}">
                  <a16:creationId xmlns:a16="http://schemas.microsoft.com/office/drawing/2014/main" id="{F69E74A8-FB3E-D6B6-DB05-E1F273647C4F}"/>
                </a:ext>
              </a:extLst>
            </p:cNvPr>
            <p:cNvSpPr/>
            <p:nvPr/>
          </p:nvSpPr>
          <p:spPr>
            <a:xfrm>
              <a:off x="2603972" y="1110437"/>
              <a:ext cx="294567" cy="4890"/>
            </a:xfrm>
            <a:custGeom>
              <a:avLst/>
              <a:gdLst>
                <a:gd name="connsiteX0" fmla="*/ 0 w 294567"/>
                <a:gd name="connsiteY0" fmla="*/ 0 h 4890"/>
                <a:gd name="connsiteX1" fmla="*/ 294567 w 294567"/>
                <a:gd name="connsiteY1" fmla="*/ 0 h 48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94567" h="4890">
                  <a:moveTo>
                    <a:pt x="0" y="0"/>
                  </a:moveTo>
                  <a:lnTo>
                    <a:pt x="294567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258" name="Gráfico 4">
              <a:extLst>
                <a:ext uri="{FF2B5EF4-FFF2-40B4-BE49-F238E27FC236}">
                  <a16:creationId xmlns:a16="http://schemas.microsoft.com/office/drawing/2014/main" id="{1641CF39-F9A7-C4BD-32A0-4C2C762A9772}"/>
                </a:ext>
              </a:extLst>
            </p:cNvPr>
            <p:cNvGrpSpPr/>
            <p:nvPr/>
          </p:nvGrpSpPr>
          <p:grpSpPr>
            <a:xfrm>
              <a:off x="2642658" y="1111122"/>
              <a:ext cx="217196" cy="47537"/>
              <a:chOff x="2642658" y="1111122"/>
              <a:chExt cx="217196" cy="47537"/>
            </a:xfrm>
          </p:grpSpPr>
          <p:sp>
            <p:nvSpPr>
              <p:cNvPr id="259" name="Forma livre: Forma 258">
                <a:extLst>
                  <a:ext uri="{FF2B5EF4-FFF2-40B4-BE49-F238E27FC236}">
                    <a16:creationId xmlns:a16="http://schemas.microsoft.com/office/drawing/2014/main" id="{09E18F65-5AB7-7E7B-29E4-BBEA4429D133}"/>
                  </a:ext>
                </a:extLst>
              </p:cNvPr>
              <p:cNvSpPr/>
              <p:nvPr/>
            </p:nvSpPr>
            <p:spPr>
              <a:xfrm>
                <a:off x="2642658" y="1111122"/>
                <a:ext cx="4890" cy="47537"/>
              </a:xfrm>
              <a:custGeom>
                <a:avLst/>
                <a:gdLst>
                  <a:gd name="connsiteX0" fmla="*/ 0 w 4890"/>
                  <a:gd name="connsiteY0" fmla="*/ 0 h 47537"/>
                  <a:gd name="connsiteX1" fmla="*/ 0 w 4890"/>
                  <a:gd name="connsiteY1" fmla="*/ 47538 h 475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890" h="47537">
                    <a:moveTo>
                      <a:pt x="0" y="0"/>
                    </a:moveTo>
                    <a:lnTo>
                      <a:pt x="0" y="47538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60" name="Forma livre: Forma 259">
                <a:extLst>
                  <a:ext uri="{FF2B5EF4-FFF2-40B4-BE49-F238E27FC236}">
                    <a16:creationId xmlns:a16="http://schemas.microsoft.com/office/drawing/2014/main" id="{773632AB-F8E2-D62F-D02F-B4561B16217E}"/>
                  </a:ext>
                </a:extLst>
              </p:cNvPr>
              <p:cNvSpPr/>
              <p:nvPr/>
            </p:nvSpPr>
            <p:spPr>
              <a:xfrm>
                <a:off x="2859854" y="1111122"/>
                <a:ext cx="4890" cy="47537"/>
              </a:xfrm>
              <a:custGeom>
                <a:avLst/>
                <a:gdLst>
                  <a:gd name="connsiteX0" fmla="*/ 0 w 4890"/>
                  <a:gd name="connsiteY0" fmla="*/ 0 h 47537"/>
                  <a:gd name="connsiteX1" fmla="*/ 0 w 4890"/>
                  <a:gd name="connsiteY1" fmla="*/ 47538 h 475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890" h="47537">
                    <a:moveTo>
                      <a:pt x="0" y="0"/>
                    </a:moveTo>
                    <a:lnTo>
                      <a:pt x="0" y="47538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261" name="Forma livre: Forma 260">
              <a:extLst>
                <a:ext uri="{FF2B5EF4-FFF2-40B4-BE49-F238E27FC236}">
                  <a16:creationId xmlns:a16="http://schemas.microsoft.com/office/drawing/2014/main" id="{DA0A6223-24B2-140D-DF98-2EB945CAD7A1}"/>
                </a:ext>
              </a:extLst>
            </p:cNvPr>
            <p:cNvSpPr/>
            <p:nvPr/>
          </p:nvSpPr>
          <p:spPr>
            <a:xfrm>
              <a:off x="2581084" y="1173234"/>
              <a:ext cx="340246" cy="16019"/>
            </a:xfrm>
            <a:custGeom>
              <a:avLst/>
              <a:gdLst>
                <a:gd name="connsiteX0" fmla="*/ 340246 w 340246"/>
                <a:gd name="connsiteY0" fmla="*/ 0 h 16019"/>
                <a:gd name="connsiteX1" fmla="*/ 255588 w 340246"/>
                <a:gd name="connsiteY1" fmla="*/ 0 h 16019"/>
                <a:gd name="connsiteX2" fmla="*/ 255050 w 340246"/>
                <a:gd name="connsiteY2" fmla="*/ 0 h 16019"/>
                <a:gd name="connsiteX3" fmla="*/ 170392 w 340246"/>
                <a:gd name="connsiteY3" fmla="*/ 0 h 16019"/>
                <a:gd name="connsiteX4" fmla="*/ 169854 w 340246"/>
                <a:gd name="connsiteY4" fmla="*/ 0 h 16019"/>
                <a:gd name="connsiteX5" fmla="*/ 85196 w 340246"/>
                <a:gd name="connsiteY5" fmla="*/ 0 h 16019"/>
                <a:gd name="connsiteX6" fmla="*/ 84658 w 340246"/>
                <a:gd name="connsiteY6" fmla="*/ 0 h 16019"/>
                <a:gd name="connsiteX7" fmla="*/ 0 w 340246"/>
                <a:gd name="connsiteY7" fmla="*/ 0 h 160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40246" h="16019">
                  <a:moveTo>
                    <a:pt x="340246" y="0"/>
                  </a:moveTo>
                  <a:cubicBezTo>
                    <a:pt x="291144" y="36044"/>
                    <a:pt x="255588" y="0"/>
                    <a:pt x="255588" y="0"/>
                  </a:cubicBezTo>
                  <a:lnTo>
                    <a:pt x="255050" y="0"/>
                  </a:lnTo>
                  <a:cubicBezTo>
                    <a:pt x="205948" y="36044"/>
                    <a:pt x="170392" y="0"/>
                    <a:pt x="170392" y="0"/>
                  </a:cubicBezTo>
                  <a:lnTo>
                    <a:pt x="169854" y="0"/>
                  </a:lnTo>
                  <a:cubicBezTo>
                    <a:pt x="120751" y="36044"/>
                    <a:pt x="85196" y="0"/>
                    <a:pt x="85196" y="0"/>
                  </a:cubicBezTo>
                  <a:lnTo>
                    <a:pt x="84658" y="0"/>
                  </a:lnTo>
                  <a:cubicBezTo>
                    <a:pt x="35555" y="36044"/>
                    <a:pt x="0" y="0"/>
                    <a:pt x="0" y="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62" name="Forma livre: Forma 261">
              <a:extLst>
                <a:ext uri="{FF2B5EF4-FFF2-40B4-BE49-F238E27FC236}">
                  <a16:creationId xmlns:a16="http://schemas.microsoft.com/office/drawing/2014/main" id="{4168B366-C9D1-4F76-53C4-30753095A619}"/>
                </a:ext>
              </a:extLst>
            </p:cNvPr>
            <p:cNvSpPr/>
            <p:nvPr/>
          </p:nvSpPr>
          <p:spPr>
            <a:xfrm>
              <a:off x="2835547" y="1046956"/>
              <a:ext cx="4890" cy="62747"/>
            </a:xfrm>
            <a:custGeom>
              <a:avLst/>
              <a:gdLst>
                <a:gd name="connsiteX0" fmla="*/ 0 w 4890"/>
                <a:gd name="connsiteY0" fmla="*/ 0 h 62747"/>
                <a:gd name="connsiteX1" fmla="*/ 0 w 4890"/>
                <a:gd name="connsiteY1" fmla="*/ 62748 h 62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890" h="62747">
                  <a:moveTo>
                    <a:pt x="0" y="0"/>
                  </a:moveTo>
                  <a:lnTo>
                    <a:pt x="0" y="62748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63" name="Forma livre: Forma 262">
              <a:extLst>
                <a:ext uri="{FF2B5EF4-FFF2-40B4-BE49-F238E27FC236}">
                  <a16:creationId xmlns:a16="http://schemas.microsoft.com/office/drawing/2014/main" id="{3114CCB9-6D17-51EA-58BF-133FF82EF0D9}"/>
                </a:ext>
              </a:extLst>
            </p:cNvPr>
            <p:cNvSpPr/>
            <p:nvPr/>
          </p:nvSpPr>
          <p:spPr>
            <a:xfrm>
              <a:off x="2798818" y="1046760"/>
              <a:ext cx="4890" cy="63236"/>
            </a:xfrm>
            <a:custGeom>
              <a:avLst/>
              <a:gdLst>
                <a:gd name="connsiteX0" fmla="*/ 0 w 4890"/>
                <a:gd name="connsiteY0" fmla="*/ 0 h 63236"/>
                <a:gd name="connsiteX1" fmla="*/ 0 w 4890"/>
                <a:gd name="connsiteY1" fmla="*/ 63237 h 63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890" h="63236">
                  <a:moveTo>
                    <a:pt x="0" y="0"/>
                  </a:moveTo>
                  <a:lnTo>
                    <a:pt x="0" y="63237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64" name="Forma livre: Forma 263">
              <a:extLst>
                <a:ext uri="{FF2B5EF4-FFF2-40B4-BE49-F238E27FC236}">
                  <a16:creationId xmlns:a16="http://schemas.microsoft.com/office/drawing/2014/main" id="{0D982AD6-67E2-BAB3-22B0-78EC6197E12A}"/>
                </a:ext>
              </a:extLst>
            </p:cNvPr>
            <p:cNvSpPr/>
            <p:nvPr/>
          </p:nvSpPr>
          <p:spPr>
            <a:xfrm>
              <a:off x="2763262" y="1078403"/>
              <a:ext cx="71159" cy="4890"/>
            </a:xfrm>
            <a:custGeom>
              <a:avLst/>
              <a:gdLst>
                <a:gd name="connsiteX0" fmla="*/ 71160 w 71159"/>
                <a:gd name="connsiteY0" fmla="*/ 0 h 4890"/>
                <a:gd name="connsiteX1" fmla="*/ 0 w 71159"/>
                <a:gd name="connsiteY1" fmla="*/ 0 h 48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1159" h="4890">
                  <a:moveTo>
                    <a:pt x="71160" y="0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65" name="Forma livre: Forma 264">
              <a:extLst>
                <a:ext uri="{FF2B5EF4-FFF2-40B4-BE49-F238E27FC236}">
                  <a16:creationId xmlns:a16="http://schemas.microsoft.com/office/drawing/2014/main" id="{D0361894-3120-33A1-58C4-2B8290039C13}"/>
                </a:ext>
              </a:extLst>
            </p:cNvPr>
            <p:cNvSpPr/>
            <p:nvPr/>
          </p:nvSpPr>
          <p:spPr>
            <a:xfrm>
              <a:off x="2762822" y="1046956"/>
              <a:ext cx="4890" cy="62747"/>
            </a:xfrm>
            <a:custGeom>
              <a:avLst/>
              <a:gdLst>
                <a:gd name="connsiteX0" fmla="*/ 0 w 4890"/>
                <a:gd name="connsiteY0" fmla="*/ 0 h 62747"/>
                <a:gd name="connsiteX1" fmla="*/ 0 w 4890"/>
                <a:gd name="connsiteY1" fmla="*/ 62748 h 62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890" h="62747">
                  <a:moveTo>
                    <a:pt x="0" y="0"/>
                  </a:moveTo>
                  <a:lnTo>
                    <a:pt x="0" y="62748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266" name="Gráfico 4">
            <a:extLst>
              <a:ext uri="{FF2B5EF4-FFF2-40B4-BE49-F238E27FC236}">
                <a16:creationId xmlns:a16="http://schemas.microsoft.com/office/drawing/2014/main" id="{E97BC0B7-DE93-361A-A791-09988C10EA62}"/>
              </a:ext>
            </a:extLst>
          </p:cNvPr>
          <p:cNvGrpSpPr/>
          <p:nvPr/>
        </p:nvGrpSpPr>
        <p:grpSpPr>
          <a:xfrm>
            <a:off x="3140727" y="943811"/>
            <a:ext cx="503791" cy="191280"/>
            <a:chOff x="3140727" y="943811"/>
            <a:chExt cx="503791" cy="191280"/>
          </a:xfrm>
        </p:grpSpPr>
        <p:sp>
          <p:nvSpPr>
            <p:cNvPr id="267" name="Forma livre: Forma 266">
              <a:extLst>
                <a:ext uri="{FF2B5EF4-FFF2-40B4-BE49-F238E27FC236}">
                  <a16:creationId xmlns:a16="http://schemas.microsoft.com/office/drawing/2014/main" id="{382D8773-3AAF-25E9-23E2-B252BB3DE4CC}"/>
                </a:ext>
              </a:extLst>
            </p:cNvPr>
            <p:cNvSpPr/>
            <p:nvPr/>
          </p:nvSpPr>
          <p:spPr>
            <a:xfrm>
              <a:off x="3168457" y="1032990"/>
              <a:ext cx="476061" cy="76908"/>
            </a:xfrm>
            <a:custGeom>
              <a:avLst/>
              <a:gdLst>
                <a:gd name="connsiteX0" fmla="*/ 0 w 476061"/>
                <a:gd name="connsiteY0" fmla="*/ 73534 h 76908"/>
                <a:gd name="connsiteX1" fmla="*/ 15161 w 476061"/>
                <a:gd name="connsiteY1" fmla="*/ 42870 h 76908"/>
                <a:gd name="connsiteX2" fmla="*/ 476061 w 476061"/>
                <a:gd name="connsiteY2" fmla="*/ 467 h 76908"/>
                <a:gd name="connsiteX3" fmla="*/ 400011 w 476061"/>
                <a:gd name="connsiteY3" fmla="*/ 76909 h 769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76061" h="76908">
                  <a:moveTo>
                    <a:pt x="0" y="73534"/>
                  </a:moveTo>
                  <a:cubicBezTo>
                    <a:pt x="8412" y="52749"/>
                    <a:pt x="15161" y="42870"/>
                    <a:pt x="15161" y="42870"/>
                  </a:cubicBezTo>
                  <a:cubicBezTo>
                    <a:pt x="181103" y="-7554"/>
                    <a:pt x="476061" y="467"/>
                    <a:pt x="476061" y="467"/>
                  </a:cubicBezTo>
                  <a:cubicBezTo>
                    <a:pt x="476061" y="467"/>
                    <a:pt x="444467" y="35680"/>
                    <a:pt x="400011" y="76909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68" name="Forma livre: Forma 267">
              <a:extLst>
                <a:ext uri="{FF2B5EF4-FFF2-40B4-BE49-F238E27FC236}">
                  <a16:creationId xmlns:a16="http://schemas.microsoft.com/office/drawing/2014/main" id="{9BA32349-2578-17C8-A708-B9032DFD2A60}"/>
                </a:ext>
              </a:extLst>
            </p:cNvPr>
            <p:cNvSpPr/>
            <p:nvPr/>
          </p:nvSpPr>
          <p:spPr>
            <a:xfrm>
              <a:off x="3187531" y="961499"/>
              <a:ext cx="279210" cy="54987"/>
            </a:xfrm>
            <a:custGeom>
              <a:avLst/>
              <a:gdLst>
                <a:gd name="connsiteX0" fmla="*/ 238373 w 279210"/>
                <a:gd name="connsiteY0" fmla="*/ 20362 h 54987"/>
                <a:gd name="connsiteX1" fmla="*/ 131315 w 279210"/>
                <a:gd name="connsiteY1" fmla="*/ 31121 h 54987"/>
                <a:gd name="connsiteX2" fmla="*/ 142515 w 279210"/>
                <a:gd name="connsiteY2" fmla="*/ 54988 h 54987"/>
                <a:gd name="connsiteX3" fmla="*/ 274858 w 279210"/>
                <a:gd name="connsiteY3" fmla="*/ 44424 h 54987"/>
                <a:gd name="connsiteX4" fmla="*/ 279210 w 279210"/>
                <a:gd name="connsiteY4" fmla="*/ 44424 h 54987"/>
                <a:gd name="connsiteX5" fmla="*/ 145450 w 279210"/>
                <a:gd name="connsiteY5" fmla="*/ 994 h 54987"/>
                <a:gd name="connsiteX6" fmla="*/ 0 w 279210"/>
                <a:gd name="connsiteY6" fmla="*/ 30339 h 54987"/>
                <a:gd name="connsiteX7" fmla="*/ 83484 w 279210"/>
                <a:gd name="connsiteY7" fmla="*/ 39386 h 549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79210" h="54987">
                  <a:moveTo>
                    <a:pt x="238373" y="20362"/>
                  </a:moveTo>
                  <a:cubicBezTo>
                    <a:pt x="193378" y="20362"/>
                    <a:pt x="131315" y="31121"/>
                    <a:pt x="131315" y="31121"/>
                  </a:cubicBezTo>
                  <a:lnTo>
                    <a:pt x="142515" y="54988"/>
                  </a:lnTo>
                  <a:cubicBezTo>
                    <a:pt x="174549" y="49412"/>
                    <a:pt x="240720" y="44424"/>
                    <a:pt x="274858" y="44424"/>
                  </a:cubicBezTo>
                  <a:lnTo>
                    <a:pt x="279210" y="44424"/>
                  </a:lnTo>
                  <a:cubicBezTo>
                    <a:pt x="255050" y="26915"/>
                    <a:pt x="200177" y="-6146"/>
                    <a:pt x="145450" y="994"/>
                  </a:cubicBezTo>
                  <a:cubicBezTo>
                    <a:pt x="145450" y="994"/>
                    <a:pt x="62454" y="11607"/>
                    <a:pt x="0" y="30339"/>
                  </a:cubicBezTo>
                  <a:lnTo>
                    <a:pt x="83484" y="39386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69" name="Forma livre: Forma 268">
              <a:extLst>
                <a:ext uri="{FF2B5EF4-FFF2-40B4-BE49-F238E27FC236}">
                  <a16:creationId xmlns:a16="http://schemas.microsoft.com/office/drawing/2014/main" id="{AB27B31D-A806-3F8A-F40A-747B9136AFA1}"/>
                </a:ext>
              </a:extLst>
            </p:cNvPr>
            <p:cNvSpPr/>
            <p:nvPr/>
          </p:nvSpPr>
          <p:spPr>
            <a:xfrm>
              <a:off x="3223673" y="943811"/>
              <a:ext cx="24746" cy="31642"/>
            </a:xfrm>
            <a:custGeom>
              <a:avLst/>
              <a:gdLst>
                <a:gd name="connsiteX0" fmla="*/ 24747 w 24746"/>
                <a:gd name="connsiteY0" fmla="*/ 31643 h 31642"/>
                <a:gd name="connsiteX1" fmla="*/ 0 w 24746"/>
                <a:gd name="connsiteY1" fmla="*/ 0 h 316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4746" h="31642">
                  <a:moveTo>
                    <a:pt x="24747" y="31643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70" name="Forma livre: Forma 269">
              <a:extLst>
                <a:ext uri="{FF2B5EF4-FFF2-40B4-BE49-F238E27FC236}">
                  <a16:creationId xmlns:a16="http://schemas.microsoft.com/office/drawing/2014/main" id="{94971B55-8F35-B136-5FFD-825536190CFB}"/>
                </a:ext>
              </a:extLst>
            </p:cNvPr>
            <p:cNvSpPr/>
            <p:nvPr/>
          </p:nvSpPr>
          <p:spPr>
            <a:xfrm>
              <a:off x="3237807" y="998978"/>
              <a:ext cx="10168" cy="39076"/>
            </a:xfrm>
            <a:custGeom>
              <a:avLst/>
              <a:gdLst>
                <a:gd name="connsiteX0" fmla="*/ 7532 w 10168"/>
                <a:gd name="connsiteY0" fmla="*/ 0 h 39076"/>
                <a:gd name="connsiteX1" fmla="*/ 0 w 10168"/>
                <a:gd name="connsiteY1" fmla="*/ 39077 h 390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168" h="39076">
                  <a:moveTo>
                    <a:pt x="7532" y="0"/>
                  </a:moveTo>
                  <a:cubicBezTo>
                    <a:pt x="7532" y="0"/>
                    <a:pt x="17020" y="17704"/>
                    <a:pt x="0" y="39077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71" name="Forma livre: Forma 270">
              <a:extLst>
                <a:ext uri="{FF2B5EF4-FFF2-40B4-BE49-F238E27FC236}">
                  <a16:creationId xmlns:a16="http://schemas.microsoft.com/office/drawing/2014/main" id="{60F5DEC9-4C52-A397-E3BF-2CAE61FD4F98}"/>
                </a:ext>
              </a:extLst>
            </p:cNvPr>
            <p:cNvSpPr/>
            <p:nvPr/>
          </p:nvSpPr>
          <p:spPr>
            <a:xfrm>
              <a:off x="3140727" y="1120463"/>
              <a:ext cx="466132" cy="14628"/>
            </a:xfrm>
            <a:custGeom>
              <a:avLst/>
              <a:gdLst>
                <a:gd name="connsiteX0" fmla="*/ 0 w 466132"/>
                <a:gd name="connsiteY0" fmla="*/ 0 h 14628"/>
                <a:gd name="connsiteX1" fmla="*/ 77273 w 466132"/>
                <a:gd name="connsiteY1" fmla="*/ 0 h 14628"/>
                <a:gd name="connsiteX2" fmla="*/ 77762 w 466132"/>
                <a:gd name="connsiteY2" fmla="*/ 0 h 14628"/>
                <a:gd name="connsiteX3" fmla="*/ 155035 w 466132"/>
                <a:gd name="connsiteY3" fmla="*/ 0 h 14628"/>
                <a:gd name="connsiteX4" fmla="*/ 155524 w 466132"/>
                <a:gd name="connsiteY4" fmla="*/ 0 h 14628"/>
                <a:gd name="connsiteX5" fmla="*/ 232846 w 466132"/>
                <a:gd name="connsiteY5" fmla="*/ 0 h 14628"/>
                <a:gd name="connsiteX6" fmla="*/ 233335 w 466132"/>
                <a:gd name="connsiteY6" fmla="*/ 0 h 14628"/>
                <a:gd name="connsiteX7" fmla="*/ 310609 w 466132"/>
                <a:gd name="connsiteY7" fmla="*/ 0 h 14628"/>
                <a:gd name="connsiteX8" fmla="*/ 311098 w 466132"/>
                <a:gd name="connsiteY8" fmla="*/ 0 h 14628"/>
                <a:gd name="connsiteX9" fmla="*/ 388371 w 466132"/>
                <a:gd name="connsiteY9" fmla="*/ 0 h 14628"/>
                <a:gd name="connsiteX10" fmla="*/ 388860 w 466132"/>
                <a:gd name="connsiteY10" fmla="*/ 0 h 14628"/>
                <a:gd name="connsiteX11" fmla="*/ 466133 w 466132"/>
                <a:gd name="connsiteY11" fmla="*/ 0 h 146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466132" h="14628">
                  <a:moveTo>
                    <a:pt x="0" y="0"/>
                  </a:moveTo>
                  <a:cubicBezTo>
                    <a:pt x="0" y="0"/>
                    <a:pt x="32474" y="32914"/>
                    <a:pt x="77273" y="0"/>
                  </a:cubicBezTo>
                  <a:lnTo>
                    <a:pt x="77762" y="0"/>
                  </a:lnTo>
                  <a:cubicBezTo>
                    <a:pt x="77762" y="0"/>
                    <a:pt x="110236" y="32914"/>
                    <a:pt x="155035" y="0"/>
                  </a:cubicBezTo>
                  <a:lnTo>
                    <a:pt x="155524" y="0"/>
                  </a:lnTo>
                  <a:cubicBezTo>
                    <a:pt x="155524" y="0"/>
                    <a:pt x="187999" y="32914"/>
                    <a:pt x="232846" y="0"/>
                  </a:cubicBezTo>
                  <a:lnTo>
                    <a:pt x="233335" y="0"/>
                  </a:lnTo>
                  <a:cubicBezTo>
                    <a:pt x="233335" y="0"/>
                    <a:pt x="265810" y="32914"/>
                    <a:pt x="310609" y="0"/>
                  </a:cubicBezTo>
                  <a:lnTo>
                    <a:pt x="311098" y="0"/>
                  </a:lnTo>
                  <a:cubicBezTo>
                    <a:pt x="311098" y="0"/>
                    <a:pt x="343572" y="32914"/>
                    <a:pt x="388371" y="0"/>
                  </a:cubicBezTo>
                  <a:lnTo>
                    <a:pt x="388860" y="0"/>
                  </a:lnTo>
                  <a:cubicBezTo>
                    <a:pt x="388860" y="0"/>
                    <a:pt x="421334" y="32914"/>
                    <a:pt x="466133" y="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72" name="Forma livre: Forma 271">
              <a:extLst>
                <a:ext uri="{FF2B5EF4-FFF2-40B4-BE49-F238E27FC236}">
                  <a16:creationId xmlns:a16="http://schemas.microsoft.com/office/drawing/2014/main" id="{9B5E160F-FFDC-F114-3520-E63D9647CB17}"/>
                </a:ext>
              </a:extLst>
            </p:cNvPr>
            <p:cNvSpPr/>
            <p:nvPr/>
          </p:nvSpPr>
          <p:spPr>
            <a:xfrm>
              <a:off x="3543574" y="1068035"/>
              <a:ext cx="7629" cy="7629"/>
            </a:xfrm>
            <a:custGeom>
              <a:avLst/>
              <a:gdLst>
                <a:gd name="connsiteX0" fmla="*/ 7629 w 7629"/>
                <a:gd name="connsiteY0" fmla="*/ 3815 h 7629"/>
                <a:gd name="connsiteX1" fmla="*/ 3815 w 7629"/>
                <a:gd name="connsiteY1" fmla="*/ 7629 h 7629"/>
                <a:gd name="connsiteX2" fmla="*/ 0 w 7629"/>
                <a:gd name="connsiteY2" fmla="*/ 3815 h 7629"/>
                <a:gd name="connsiteX3" fmla="*/ 3815 w 7629"/>
                <a:gd name="connsiteY3" fmla="*/ 0 h 7629"/>
                <a:gd name="connsiteX4" fmla="*/ 7629 w 7629"/>
                <a:gd name="connsiteY4" fmla="*/ 3815 h 76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29" h="7629">
                  <a:moveTo>
                    <a:pt x="7629" y="3815"/>
                  </a:moveTo>
                  <a:cubicBezTo>
                    <a:pt x="7629" y="5918"/>
                    <a:pt x="5918" y="7629"/>
                    <a:pt x="3815" y="7629"/>
                  </a:cubicBezTo>
                  <a:cubicBezTo>
                    <a:pt x="1712" y="7629"/>
                    <a:pt x="0" y="5918"/>
                    <a:pt x="0" y="3815"/>
                  </a:cubicBezTo>
                  <a:cubicBezTo>
                    <a:pt x="0" y="1712"/>
                    <a:pt x="1712" y="0"/>
                    <a:pt x="3815" y="0"/>
                  </a:cubicBezTo>
                  <a:cubicBezTo>
                    <a:pt x="5918" y="0"/>
                    <a:pt x="7629" y="1712"/>
                    <a:pt x="7629" y="3815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73" name="Forma livre: Forma 272">
              <a:extLst>
                <a:ext uri="{FF2B5EF4-FFF2-40B4-BE49-F238E27FC236}">
                  <a16:creationId xmlns:a16="http://schemas.microsoft.com/office/drawing/2014/main" id="{79924191-561C-DC82-EC72-3DD458FBFAA4}"/>
                </a:ext>
              </a:extLst>
            </p:cNvPr>
            <p:cNvSpPr/>
            <p:nvPr/>
          </p:nvSpPr>
          <p:spPr>
            <a:xfrm>
              <a:off x="3482342" y="1068524"/>
              <a:ext cx="7629" cy="7629"/>
            </a:xfrm>
            <a:custGeom>
              <a:avLst/>
              <a:gdLst>
                <a:gd name="connsiteX0" fmla="*/ 7629 w 7629"/>
                <a:gd name="connsiteY0" fmla="*/ 3815 h 7629"/>
                <a:gd name="connsiteX1" fmla="*/ 3815 w 7629"/>
                <a:gd name="connsiteY1" fmla="*/ 7630 h 7629"/>
                <a:gd name="connsiteX2" fmla="*/ 0 w 7629"/>
                <a:gd name="connsiteY2" fmla="*/ 3815 h 7629"/>
                <a:gd name="connsiteX3" fmla="*/ 3815 w 7629"/>
                <a:gd name="connsiteY3" fmla="*/ 0 h 7629"/>
                <a:gd name="connsiteX4" fmla="*/ 7629 w 7629"/>
                <a:gd name="connsiteY4" fmla="*/ 3815 h 76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29" h="7629">
                  <a:moveTo>
                    <a:pt x="7629" y="3815"/>
                  </a:moveTo>
                  <a:cubicBezTo>
                    <a:pt x="7629" y="5918"/>
                    <a:pt x="5918" y="7630"/>
                    <a:pt x="3815" y="7630"/>
                  </a:cubicBezTo>
                  <a:cubicBezTo>
                    <a:pt x="1712" y="7630"/>
                    <a:pt x="0" y="5918"/>
                    <a:pt x="0" y="3815"/>
                  </a:cubicBezTo>
                  <a:cubicBezTo>
                    <a:pt x="0" y="1712"/>
                    <a:pt x="1712" y="0"/>
                    <a:pt x="3815" y="0"/>
                  </a:cubicBezTo>
                  <a:cubicBezTo>
                    <a:pt x="5918" y="0"/>
                    <a:pt x="7629" y="1712"/>
                    <a:pt x="7629" y="3815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274" name="Gráfico 4">
            <a:extLst>
              <a:ext uri="{FF2B5EF4-FFF2-40B4-BE49-F238E27FC236}">
                <a16:creationId xmlns:a16="http://schemas.microsoft.com/office/drawing/2014/main" id="{57511EB7-56BB-0B65-8CEB-F9511D560B68}"/>
              </a:ext>
            </a:extLst>
          </p:cNvPr>
          <p:cNvGrpSpPr/>
          <p:nvPr/>
        </p:nvGrpSpPr>
        <p:grpSpPr>
          <a:xfrm>
            <a:off x="3854281" y="918086"/>
            <a:ext cx="359320" cy="242725"/>
            <a:chOff x="3854281" y="918086"/>
            <a:chExt cx="359320" cy="242725"/>
          </a:xfrm>
        </p:grpSpPr>
        <p:sp>
          <p:nvSpPr>
            <p:cNvPr id="275" name="Forma livre: Forma 274">
              <a:extLst>
                <a:ext uri="{FF2B5EF4-FFF2-40B4-BE49-F238E27FC236}">
                  <a16:creationId xmlns:a16="http://schemas.microsoft.com/office/drawing/2014/main" id="{2EAEA534-0B7D-E2A6-40DB-AE415FF0DE35}"/>
                </a:ext>
              </a:extLst>
            </p:cNvPr>
            <p:cNvSpPr/>
            <p:nvPr/>
          </p:nvSpPr>
          <p:spPr>
            <a:xfrm>
              <a:off x="3854281" y="918086"/>
              <a:ext cx="320990" cy="219348"/>
            </a:xfrm>
            <a:custGeom>
              <a:avLst/>
              <a:gdLst>
                <a:gd name="connsiteX0" fmla="*/ 84462 w 320990"/>
                <a:gd name="connsiteY0" fmla="*/ 219104 h 219348"/>
                <a:gd name="connsiteX1" fmla="*/ 79670 w 320990"/>
                <a:gd name="connsiteY1" fmla="*/ 219348 h 219348"/>
                <a:gd name="connsiteX2" fmla="*/ 0 w 320990"/>
                <a:gd name="connsiteY2" fmla="*/ 109699 h 219348"/>
                <a:gd name="connsiteX3" fmla="*/ 120311 w 320990"/>
                <a:gd name="connsiteY3" fmla="*/ 0 h 219348"/>
                <a:gd name="connsiteX4" fmla="*/ 193965 w 320990"/>
                <a:gd name="connsiteY4" fmla="*/ 0 h 219348"/>
                <a:gd name="connsiteX5" fmla="*/ 316037 w 320990"/>
                <a:gd name="connsiteY5" fmla="*/ 109699 h 219348"/>
                <a:gd name="connsiteX6" fmla="*/ 285275 w 320990"/>
                <a:gd name="connsiteY6" fmla="*/ 219348 h 219348"/>
                <a:gd name="connsiteX7" fmla="*/ 187559 w 320990"/>
                <a:gd name="connsiteY7" fmla="*/ 219348 h 219348"/>
                <a:gd name="connsiteX8" fmla="*/ 182374 w 320990"/>
                <a:gd name="connsiteY8" fmla="*/ 219104 h 219348"/>
                <a:gd name="connsiteX9" fmla="*/ 133418 w 320990"/>
                <a:gd name="connsiteY9" fmla="*/ 170148 h 219348"/>
                <a:gd name="connsiteX10" fmla="*/ 84462 w 320990"/>
                <a:gd name="connsiteY10" fmla="*/ 219104 h 2193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20990" h="219348">
                  <a:moveTo>
                    <a:pt x="84462" y="219104"/>
                  </a:moveTo>
                  <a:lnTo>
                    <a:pt x="79670" y="219348"/>
                  </a:lnTo>
                  <a:cubicBezTo>
                    <a:pt x="4255" y="219348"/>
                    <a:pt x="0" y="170001"/>
                    <a:pt x="0" y="109699"/>
                  </a:cubicBezTo>
                  <a:cubicBezTo>
                    <a:pt x="0" y="49396"/>
                    <a:pt x="54238" y="0"/>
                    <a:pt x="120311" y="0"/>
                  </a:cubicBezTo>
                  <a:lnTo>
                    <a:pt x="193965" y="0"/>
                  </a:lnTo>
                  <a:cubicBezTo>
                    <a:pt x="260039" y="0"/>
                    <a:pt x="311978" y="49494"/>
                    <a:pt x="316037" y="109699"/>
                  </a:cubicBezTo>
                  <a:cubicBezTo>
                    <a:pt x="321319" y="189368"/>
                    <a:pt x="332128" y="219348"/>
                    <a:pt x="285275" y="219348"/>
                  </a:cubicBezTo>
                  <a:lnTo>
                    <a:pt x="187559" y="219348"/>
                  </a:lnTo>
                  <a:lnTo>
                    <a:pt x="182374" y="219104"/>
                  </a:lnTo>
                  <a:cubicBezTo>
                    <a:pt x="182374" y="192058"/>
                    <a:pt x="160464" y="170148"/>
                    <a:pt x="133418" y="170148"/>
                  </a:cubicBezTo>
                  <a:cubicBezTo>
                    <a:pt x="106373" y="170148"/>
                    <a:pt x="84462" y="192058"/>
                    <a:pt x="84462" y="219104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76" name="Forma livre: Forma 275">
              <a:extLst>
                <a:ext uri="{FF2B5EF4-FFF2-40B4-BE49-F238E27FC236}">
                  <a16:creationId xmlns:a16="http://schemas.microsoft.com/office/drawing/2014/main" id="{5C6DA3A9-8244-2795-961F-522FC6CD304A}"/>
                </a:ext>
              </a:extLst>
            </p:cNvPr>
            <p:cNvSpPr/>
            <p:nvPr/>
          </p:nvSpPr>
          <p:spPr>
            <a:xfrm>
              <a:off x="4175893" y="1091315"/>
              <a:ext cx="37707" cy="15845"/>
            </a:xfrm>
            <a:custGeom>
              <a:avLst/>
              <a:gdLst>
                <a:gd name="connsiteX0" fmla="*/ 0 w 37707"/>
                <a:gd name="connsiteY0" fmla="*/ 15846 h 15845"/>
                <a:gd name="connsiteX1" fmla="*/ 37707 w 37707"/>
                <a:gd name="connsiteY1" fmla="*/ 15846 h 15845"/>
                <a:gd name="connsiteX2" fmla="*/ 37707 w 37707"/>
                <a:gd name="connsiteY2" fmla="*/ 0 h 158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7707" h="15845">
                  <a:moveTo>
                    <a:pt x="0" y="15846"/>
                  </a:moveTo>
                  <a:lnTo>
                    <a:pt x="37707" y="15846"/>
                  </a:lnTo>
                  <a:lnTo>
                    <a:pt x="37707" y="0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77" name="Forma livre: Forma 276">
              <a:extLst>
                <a:ext uri="{FF2B5EF4-FFF2-40B4-BE49-F238E27FC236}">
                  <a16:creationId xmlns:a16="http://schemas.microsoft.com/office/drawing/2014/main" id="{8EF66594-DC76-15AF-A161-2F97BB5E46E7}"/>
                </a:ext>
              </a:extLst>
            </p:cNvPr>
            <p:cNvSpPr/>
            <p:nvPr/>
          </p:nvSpPr>
          <p:spPr>
            <a:xfrm>
              <a:off x="3965544" y="1116404"/>
              <a:ext cx="44407" cy="44407"/>
            </a:xfrm>
            <a:custGeom>
              <a:avLst/>
              <a:gdLst>
                <a:gd name="connsiteX0" fmla="*/ 0 w 44407"/>
                <a:gd name="connsiteY0" fmla="*/ 22204 h 44407"/>
                <a:gd name="connsiteX1" fmla="*/ 22204 w 44407"/>
                <a:gd name="connsiteY1" fmla="*/ 44408 h 44407"/>
                <a:gd name="connsiteX2" fmla="*/ 44408 w 44407"/>
                <a:gd name="connsiteY2" fmla="*/ 22204 h 44407"/>
                <a:gd name="connsiteX3" fmla="*/ 22204 w 44407"/>
                <a:gd name="connsiteY3" fmla="*/ 0 h 44407"/>
                <a:gd name="connsiteX4" fmla="*/ 0 w 44407"/>
                <a:gd name="connsiteY4" fmla="*/ 22204 h 444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407" h="44407">
                  <a:moveTo>
                    <a:pt x="0" y="22204"/>
                  </a:moveTo>
                  <a:cubicBezTo>
                    <a:pt x="0" y="34479"/>
                    <a:pt x="9977" y="44408"/>
                    <a:pt x="22204" y="44408"/>
                  </a:cubicBezTo>
                  <a:cubicBezTo>
                    <a:pt x="34431" y="44408"/>
                    <a:pt x="44408" y="34479"/>
                    <a:pt x="44408" y="22204"/>
                  </a:cubicBezTo>
                  <a:cubicBezTo>
                    <a:pt x="44408" y="9928"/>
                    <a:pt x="34479" y="0"/>
                    <a:pt x="22204" y="0"/>
                  </a:cubicBezTo>
                  <a:cubicBezTo>
                    <a:pt x="9928" y="0"/>
                    <a:pt x="0" y="9928"/>
                    <a:pt x="0" y="22204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78" name="Forma livre: Forma 277">
              <a:extLst>
                <a:ext uri="{FF2B5EF4-FFF2-40B4-BE49-F238E27FC236}">
                  <a16:creationId xmlns:a16="http://schemas.microsoft.com/office/drawing/2014/main" id="{133D35D8-CD4F-874F-E83A-6E42594651B0}"/>
                </a:ext>
              </a:extLst>
            </p:cNvPr>
            <p:cNvSpPr/>
            <p:nvPr/>
          </p:nvSpPr>
          <p:spPr>
            <a:xfrm>
              <a:off x="4063896" y="980393"/>
              <a:ext cx="62601" cy="133614"/>
            </a:xfrm>
            <a:custGeom>
              <a:avLst/>
              <a:gdLst>
                <a:gd name="connsiteX0" fmla="*/ 0 w 62601"/>
                <a:gd name="connsiteY0" fmla="*/ 133614 h 133614"/>
                <a:gd name="connsiteX1" fmla="*/ 0 w 62601"/>
                <a:gd name="connsiteY1" fmla="*/ 17704 h 133614"/>
                <a:gd name="connsiteX2" fmla="*/ 17704 w 62601"/>
                <a:gd name="connsiteY2" fmla="*/ 0 h 133614"/>
                <a:gd name="connsiteX3" fmla="*/ 44897 w 62601"/>
                <a:gd name="connsiteY3" fmla="*/ 0 h 133614"/>
                <a:gd name="connsiteX4" fmla="*/ 62601 w 62601"/>
                <a:gd name="connsiteY4" fmla="*/ 17704 h 133614"/>
                <a:gd name="connsiteX5" fmla="*/ 62601 w 62601"/>
                <a:gd name="connsiteY5" fmla="*/ 133614 h 1336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2601" h="133614">
                  <a:moveTo>
                    <a:pt x="0" y="133614"/>
                  </a:moveTo>
                  <a:lnTo>
                    <a:pt x="0" y="17704"/>
                  </a:lnTo>
                  <a:cubicBezTo>
                    <a:pt x="0" y="7972"/>
                    <a:pt x="7923" y="0"/>
                    <a:pt x="17704" y="0"/>
                  </a:cubicBezTo>
                  <a:lnTo>
                    <a:pt x="44897" y="0"/>
                  </a:lnTo>
                  <a:cubicBezTo>
                    <a:pt x="54629" y="0"/>
                    <a:pt x="62601" y="7972"/>
                    <a:pt x="62601" y="17704"/>
                  </a:cubicBezTo>
                  <a:lnTo>
                    <a:pt x="62601" y="133614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79" name="Forma livre: Forma 278">
              <a:extLst>
                <a:ext uri="{FF2B5EF4-FFF2-40B4-BE49-F238E27FC236}">
                  <a16:creationId xmlns:a16="http://schemas.microsoft.com/office/drawing/2014/main" id="{94594314-E9BA-2A7C-26DB-E97755B2A56B}"/>
                </a:ext>
              </a:extLst>
            </p:cNvPr>
            <p:cNvSpPr/>
            <p:nvPr/>
          </p:nvSpPr>
          <p:spPr>
            <a:xfrm>
              <a:off x="3915463" y="980442"/>
              <a:ext cx="95710" cy="58297"/>
            </a:xfrm>
            <a:custGeom>
              <a:avLst/>
              <a:gdLst>
                <a:gd name="connsiteX0" fmla="*/ 17704 w 95710"/>
                <a:gd name="connsiteY0" fmla="*/ 0 h 58297"/>
                <a:gd name="connsiteX1" fmla="*/ 78007 w 95710"/>
                <a:gd name="connsiteY1" fmla="*/ 0 h 58297"/>
                <a:gd name="connsiteX2" fmla="*/ 95711 w 95710"/>
                <a:gd name="connsiteY2" fmla="*/ 17704 h 58297"/>
                <a:gd name="connsiteX3" fmla="*/ 95711 w 95710"/>
                <a:gd name="connsiteY3" fmla="*/ 40593 h 58297"/>
                <a:gd name="connsiteX4" fmla="*/ 78007 w 95710"/>
                <a:gd name="connsiteY4" fmla="*/ 58297 h 58297"/>
                <a:gd name="connsiteX5" fmla="*/ 17704 w 95710"/>
                <a:gd name="connsiteY5" fmla="*/ 58297 h 58297"/>
                <a:gd name="connsiteX6" fmla="*/ 0 w 95710"/>
                <a:gd name="connsiteY6" fmla="*/ 40593 h 58297"/>
                <a:gd name="connsiteX7" fmla="*/ 0 w 95710"/>
                <a:gd name="connsiteY7" fmla="*/ 17704 h 58297"/>
                <a:gd name="connsiteX8" fmla="*/ 17704 w 95710"/>
                <a:gd name="connsiteY8" fmla="*/ 0 h 582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95710" h="58297">
                  <a:moveTo>
                    <a:pt x="17704" y="0"/>
                  </a:moveTo>
                  <a:lnTo>
                    <a:pt x="78007" y="0"/>
                  </a:lnTo>
                  <a:cubicBezTo>
                    <a:pt x="87788" y="0"/>
                    <a:pt x="95711" y="7923"/>
                    <a:pt x="95711" y="17704"/>
                  </a:cubicBezTo>
                  <a:lnTo>
                    <a:pt x="95711" y="40593"/>
                  </a:lnTo>
                  <a:cubicBezTo>
                    <a:pt x="95711" y="50374"/>
                    <a:pt x="87788" y="58297"/>
                    <a:pt x="78007" y="58297"/>
                  </a:cubicBezTo>
                  <a:lnTo>
                    <a:pt x="17704" y="58297"/>
                  </a:lnTo>
                  <a:cubicBezTo>
                    <a:pt x="7923" y="58297"/>
                    <a:pt x="0" y="50374"/>
                    <a:pt x="0" y="40593"/>
                  </a:cubicBezTo>
                  <a:lnTo>
                    <a:pt x="0" y="17704"/>
                  </a:lnTo>
                  <a:cubicBezTo>
                    <a:pt x="0" y="7923"/>
                    <a:pt x="7923" y="0"/>
                    <a:pt x="17704" y="0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80" name="Forma livre: Forma 279">
              <a:extLst>
                <a:ext uri="{FF2B5EF4-FFF2-40B4-BE49-F238E27FC236}">
                  <a16:creationId xmlns:a16="http://schemas.microsoft.com/office/drawing/2014/main" id="{034B4135-62D1-6D5A-6080-50D6983115E5}"/>
                </a:ext>
              </a:extLst>
            </p:cNvPr>
            <p:cNvSpPr/>
            <p:nvPr/>
          </p:nvSpPr>
          <p:spPr>
            <a:xfrm>
              <a:off x="4095735" y="1055906"/>
              <a:ext cx="7629" cy="7629"/>
            </a:xfrm>
            <a:custGeom>
              <a:avLst/>
              <a:gdLst>
                <a:gd name="connsiteX0" fmla="*/ 7629 w 7629"/>
                <a:gd name="connsiteY0" fmla="*/ 3815 h 7629"/>
                <a:gd name="connsiteX1" fmla="*/ 3815 w 7629"/>
                <a:gd name="connsiteY1" fmla="*/ 7629 h 7629"/>
                <a:gd name="connsiteX2" fmla="*/ 0 w 7629"/>
                <a:gd name="connsiteY2" fmla="*/ 3815 h 7629"/>
                <a:gd name="connsiteX3" fmla="*/ 3815 w 7629"/>
                <a:gd name="connsiteY3" fmla="*/ 0 h 7629"/>
                <a:gd name="connsiteX4" fmla="*/ 7629 w 7629"/>
                <a:gd name="connsiteY4" fmla="*/ 3815 h 76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29" h="7629">
                  <a:moveTo>
                    <a:pt x="7629" y="3815"/>
                  </a:moveTo>
                  <a:cubicBezTo>
                    <a:pt x="7629" y="5918"/>
                    <a:pt x="5918" y="7629"/>
                    <a:pt x="3815" y="7629"/>
                  </a:cubicBezTo>
                  <a:cubicBezTo>
                    <a:pt x="1712" y="7629"/>
                    <a:pt x="0" y="5918"/>
                    <a:pt x="0" y="3815"/>
                  </a:cubicBezTo>
                  <a:cubicBezTo>
                    <a:pt x="0" y="1712"/>
                    <a:pt x="1712" y="0"/>
                    <a:pt x="3815" y="0"/>
                  </a:cubicBezTo>
                  <a:cubicBezTo>
                    <a:pt x="5918" y="0"/>
                    <a:pt x="7629" y="1712"/>
                    <a:pt x="7629" y="3815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281" name="Gráfico 4">
            <a:extLst>
              <a:ext uri="{FF2B5EF4-FFF2-40B4-BE49-F238E27FC236}">
                <a16:creationId xmlns:a16="http://schemas.microsoft.com/office/drawing/2014/main" id="{878E1F6A-33F1-AC3B-3F23-7385E7EC37BB}"/>
              </a:ext>
            </a:extLst>
          </p:cNvPr>
          <p:cNvGrpSpPr/>
          <p:nvPr/>
        </p:nvGrpSpPr>
        <p:grpSpPr>
          <a:xfrm>
            <a:off x="2625561" y="1412194"/>
            <a:ext cx="251312" cy="356190"/>
            <a:chOff x="2625561" y="1412194"/>
            <a:chExt cx="251312" cy="356190"/>
          </a:xfrm>
        </p:grpSpPr>
        <p:sp>
          <p:nvSpPr>
            <p:cNvPr id="282" name="Forma livre: Forma 281">
              <a:extLst>
                <a:ext uri="{FF2B5EF4-FFF2-40B4-BE49-F238E27FC236}">
                  <a16:creationId xmlns:a16="http://schemas.microsoft.com/office/drawing/2014/main" id="{CAC6F0D7-C989-AC00-8C83-D8A94F8B0893}"/>
                </a:ext>
              </a:extLst>
            </p:cNvPr>
            <p:cNvSpPr/>
            <p:nvPr/>
          </p:nvSpPr>
          <p:spPr>
            <a:xfrm>
              <a:off x="2665888" y="1591389"/>
              <a:ext cx="182276" cy="176994"/>
            </a:xfrm>
            <a:custGeom>
              <a:avLst/>
              <a:gdLst>
                <a:gd name="connsiteX0" fmla="*/ 182277 w 182276"/>
                <a:gd name="connsiteY0" fmla="*/ 0 h 176994"/>
                <a:gd name="connsiteX1" fmla="*/ 172202 w 182276"/>
                <a:gd name="connsiteY1" fmla="*/ 152590 h 176994"/>
                <a:gd name="connsiteX2" fmla="*/ 146085 w 182276"/>
                <a:gd name="connsiteY2" fmla="*/ 176995 h 176994"/>
                <a:gd name="connsiteX3" fmla="*/ 27681 w 182276"/>
                <a:gd name="connsiteY3" fmla="*/ 176995 h 176994"/>
                <a:gd name="connsiteX4" fmla="*/ 1614 w 182276"/>
                <a:gd name="connsiteY4" fmla="*/ 152590 h 176994"/>
                <a:gd name="connsiteX5" fmla="*/ 0 w 182276"/>
                <a:gd name="connsiteY5" fmla="*/ 128136 h 1769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2276" h="176994">
                  <a:moveTo>
                    <a:pt x="182277" y="0"/>
                  </a:moveTo>
                  <a:lnTo>
                    <a:pt x="172202" y="152590"/>
                  </a:lnTo>
                  <a:cubicBezTo>
                    <a:pt x="171272" y="165991"/>
                    <a:pt x="159535" y="176995"/>
                    <a:pt x="146085" y="176995"/>
                  </a:cubicBezTo>
                  <a:lnTo>
                    <a:pt x="27681" y="176995"/>
                  </a:lnTo>
                  <a:cubicBezTo>
                    <a:pt x="14232" y="176995"/>
                    <a:pt x="2494" y="165991"/>
                    <a:pt x="1614" y="152590"/>
                  </a:cubicBezTo>
                  <a:lnTo>
                    <a:pt x="0" y="128136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83" name="Forma livre: Forma 282">
              <a:extLst>
                <a:ext uri="{FF2B5EF4-FFF2-40B4-BE49-F238E27FC236}">
                  <a16:creationId xmlns:a16="http://schemas.microsoft.com/office/drawing/2014/main" id="{54012F8E-8276-8E86-2456-22F12139E0F9}"/>
                </a:ext>
              </a:extLst>
            </p:cNvPr>
            <p:cNvSpPr/>
            <p:nvPr/>
          </p:nvSpPr>
          <p:spPr>
            <a:xfrm>
              <a:off x="2657770" y="1591438"/>
              <a:ext cx="6455" cy="103585"/>
            </a:xfrm>
            <a:custGeom>
              <a:avLst/>
              <a:gdLst>
                <a:gd name="connsiteX0" fmla="*/ 6456 w 6455"/>
                <a:gd name="connsiteY0" fmla="*/ 103585 h 103585"/>
                <a:gd name="connsiteX1" fmla="*/ 0 w 6455"/>
                <a:gd name="connsiteY1" fmla="*/ 0 h 1035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455" h="103585">
                  <a:moveTo>
                    <a:pt x="6456" y="103585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84" name="Forma livre: Forma 283">
              <a:extLst>
                <a:ext uri="{FF2B5EF4-FFF2-40B4-BE49-F238E27FC236}">
                  <a16:creationId xmlns:a16="http://schemas.microsoft.com/office/drawing/2014/main" id="{28C1AD08-2A86-EAF3-FDCD-2E0715DD08E9}"/>
                </a:ext>
              </a:extLst>
            </p:cNvPr>
            <p:cNvSpPr/>
            <p:nvPr/>
          </p:nvSpPr>
          <p:spPr>
            <a:xfrm>
              <a:off x="2634001" y="1561360"/>
              <a:ext cx="238030" cy="29344"/>
            </a:xfrm>
            <a:custGeom>
              <a:avLst/>
              <a:gdLst>
                <a:gd name="connsiteX0" fmla="*/ 169218 w 238030"/>
                <a:gd name="connsiteY0" fmla="*/ 29344 h 29344"/>
                <a:gd name="connsiteX1" fmla="*/ 9781 w 238030"/>
                <a:gd name="connsiteY1" fmla="*/ 29344 h 29344"/>
                <a:gd name="connsiteX2" fmla="*/ 0 w 238030"/>
                <a:gd name="connsiteY2" fmla="*/ 19563 h 29344"/>
                <a:gd name="connsiteX3" fmla="*/ 0 w 238030"/>
                <a:gd name="connsiteY3" fmla="*/ 9781 h 29344"/>
                <a:gd name="connsiteX4" fmla="*/ 9781 w 238030"/>
                <a:gd name="connsiteY4" fmla="*/ 0 h 29344"/>
                <a:gd name="connsiteX5" fmla="*/ 228249 w 238030"/>
                <a:gd name="connsiteY5" fmla="*/ 0 h 29344"/>
                <a:gd name="connsiteX6" fmla="*/ 238031 w 238030"/>
                <a:gd name="connsiteY6" fmla="*/ 9781 h 29344"/>
                <a:gd name="connsiteX7" fmla="*/ 238031 w 238030"/>
                <a:gd name="connsiteY7" fmla="*/ 19563 h 29344"/>
                <a:gd name="connsiteX8" fmla="*/ 228249 w 238030"/>
                <a:gd name="connsiteY8" fmla="*/ 29344 h 29344"/>
                <a:gd name="connsiteX9" fmla="*/ 169218 w 238030"/>
                <a:gd name="connsiteY9" fmla="*/ 29344 h 293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38030" h="29344">
                  <a:moveTo>
                    <a:pt x="169218" y="29344"/>
                  </a:moveTo>
                  <a:lnTo>
                    <a:pt x="9781" y="29344"/>
                  </a:lnTo>
                  <a:cubicBezTo>
                    <a:pt x="4402" y="29344"/>
                    <a:pt x="0" y="24943"/>
                    <a:pt x="0" y="19563"/>
                  </a:cubicBezTo>
                  <a:lnTo>
                    <a:pt x="0" y="9781"/>
                  </a:lnTo>
                  <a:cubicBezTo>
                    <a:pt x="0" y="4402"/>
                    <a:pt x="4402" y="0"/>
                    <a:pt x="9781" y="0"/>
                  </a:cubicBezTo>
                  <a:lnTo>
                    <a:pt x="228249" y="0"/>
                  </a:lnTo>
                  <a:cubicBezTo>
                    <a:pt x="233629" y="0"/>
                    <a:pt x="238031" y="4402"/>
                    <a:pt x="238031" y="9781"/>
                  </a:cubicBezTo>
                  <a:lnTo>
                    <a:pt x="238031" y="19563"/>
                  </a:lnTo>
                  <a:cubicBezTo>
                    <a:pt x="238031" y="24943"/>
                    <a:pt x="233629" y="29344"/>
                    <a:pt x="228249" y="29344"/>
                  </a:cubicBezTo>
                  <a:lnTo>
                    <a:pt x="169218" y="29344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85" name="Forma livre: Forma 284">
              <a:extLst>
                <a:ext uri="{FF2B5EF4-FFF2-40B4-BE49-F238E27FC236}">
                  <a16:creationId xmlns:a16="http://schemas.microsoft.com/office/drawing/2014/main" id="{C71BAAA6-39BA-A5C7-D77D-41C53EC99014}"/>
                </a:ext>
              </a:extLst>
            </p:cNvPr>
            <p:cNvSpPr/>
            <p:nvPr/>
          </p:nvSpPr>
          <p:spPr>
            <a:xfrm>
              <a:off x="2657965" y="1515850"/>
              <a:ext cx="56096" cy="21007"/>
            </a:xfrm>
            <a:custGeom>
              <a:avLst/>
              <a:gdLst>
                <a:gd name="connsiteX0" fmla="*/ 0 w 56096"/>
                <a:gd name="connsiteY0" fmla="*/ 21007 h 21007"/>
                <a:gd name="connsiteX1" fmla="*/ 56096 w 56096"/>
                <a:gd name="connsiteY1" fmla="*/ 10052 h 210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6096" h="21007">
                  <a:moveTo>
                    <a:pt x="0" y="21007"/>
                  </a:moveTo>
                  <a:cubicBezTo>
                    <a:pt x="6211" y="9808"/>
                    <a:pt x="19074" y="-13276"/>
                    <a:pt x="56096" y="10052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86" name="Forma livre: Forma 285">
              <a:extLst>
                <a:ext uri="{FF2B5EF4-FFF2-40B4-BE49-F238E27FC236}">
                  <a16:creationId xmlns:a16="http://schemas.microsoft.com/office/drawing/2014/main" id="{361BB09A-719E-AF26-814B-AA4AFD1D6DBE}"/>
                </a:ext>
              </a:extLst>
            </p:cNvPr>
            <p:cNvSpPr/>
            <p:nvPr/>
          </p:nvSpPr>
          <p:spPr>
            <a:xfrm>
              <a:off x="2696015" y="1490568"/>
              <a:ext cx="87788" cy="45165"/>
            </a:xfrm>
            <a:custGeom>
              <a:avLst/>
              <a:gdLst>
                <a:gd name="connsiteX0" fmla="*/ 0 w 87788"/>
                <a:gd name="connsiteY0" fmla="*/ 26776 h 45165"/>
                <a:gd name="connsiteX1" fmla="*/ 61183 w 87788"/>
                <a:gd name="connsiteY1" fmla="*/ 6137 h 45165"/>
                <a:gd name="connsiteX2" fmla="*/ 87788 w 87788"/>
                <a:gd name="connsiteY2" fmla="*/ 45165 h 451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87788" h="45165">
                  <a:moveTo>
                    <a:pt x="0" y="26776"/>
                  </a:moveTo>
                  <a:cubicBezTo>
                    <a:pt x="0" y="26776"/>
                    <a:pt x="31007" y="-15431"/>
                    <a:pt x="61183" y="6137"/>
                  </a:cubicBezTo>
                  <a:cubicBezTo>
                    <a:pt x="61183" y="6137"/>
                    <a:pt x="78496" y="16995"/>
                    <a:pt x="87788" y="45165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87" name="Forma livre: Forma 286">
              <a:extLst>
                <a:ext uri="{FF2B5EF4-FFF2-40B4-BE49-F238E27FC236}">
                  <a16:creationId xmlns:a16="http://schemas.microsoft.com/office/drawing/2014/main" id="{CE74B5F2-6F09-0F34-614C-429E8C39CD16}"/>
                </a:ext>
              </a:extLst>
            </p:cNvPr>
            <p:cNvSpPr/>
            <p:nvPr/>
          </p:nvSpPr>
          <p:spPr>
            <a:xfrm>
              <a:off x="2778766" y="1518307"/>
              <a:ext cx="62845" cy="18648"/>
            </a:xfrm>
            <a:custGeom>
              <a:avLst/>
              <a:gdLst>
                <a:gd name="connsiteX0" fmla="*/ 0 w 62845"/>
                <a:gd name="connsiteY0" fmla="*/ 2558 h 18648"/>
                <a:gd name="connsiteX1" fmla="*/ 62846 w 62845"/>
                <a:gd name="connsiteY1" fmla="*/ 18649 h 186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845" h="18648">
                  <a:moveTo>
                    <a:pt x="0" y="2558"/>
                  </a:moveTo>
                  <a:cubicBezTo>
                    <a:pt x="0" y="2558"/>
                    <a:pt x="36338" y="-9473"/>
                    <a:pt x="62846" y="18649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88" name="Forma livre: Forma 287">
              <a:extLst>
                <a:ext uri="{FF2B5EF4-FFF2-40B4-BE49-F238E27FC236}">
                  <a16:creationId xmlns:a16="http://schemas.microsoft.com/office/drawing/2014/main" id="{5B351AC5-1145-D239-9549-B410250661F1}"/>
                </a:ext>
              </a:extLst>
            </p:cNvPr>
            <p:cNvSpPr/>
            <p:nvPr/>
          </p:nvSpPr>
          <p:spPr>
            <a:xfrm>
              <a:off x="2802535" y="1466432"/>
              <a:ext cx="23475" cy="50080"/>
            </a:xfrm>
            <a:custGeom>
              <a:avLst/>
              <a:gdLst>
                <a:gd name="connsiteX0" fmla="*/ 23475 w 23475"/>
                <a:gd name="connsiteY0" fmla="*/ 0 h 50080"/>
                <a:gd name="connsiteX1" fmla="*/ 0 w 23475"/>
                <a:gd name="connsiteY1" fmla="*/ 50081 h 500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3475" h="50080">
                  <a:moveTo>
                    <a:pt x="23475" y="0"/>
                  </a:moveTo>
                  <a:lnTo>
                    <a:pt x="0" y="50081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89" name="Forma livre: Forma 288">
              <a:extLst>
                <a:ext uri="{FF2B5EF4-FFF2-40B4-BE49-F238E27FC236}">
                  <a16:creationId xmlns:a16="http://schemas.microsoft.com/office/drawing/2014/main" id="{5B34202D-AADA-1625-7B40-86258F48FEB2}"/>
                </a:ext>
              </a:extLst>
            </p:cNvPr>
            <p:cNvSpPr/>
            <p:nvPr/>
          </p:nvSpPr>
          <p:spPr>
            <a:xfrm>
              <a:off x="2804510" y="1412194"/>
              <a:ext cx="72363" cy="58620"/>
            </a:xfrm>
            <a:custGeom>
              <a:avLst/>
              <a:gdLst>
                <a:gd name="connsiteX0" fmla="*/ 8246 w 72363"/>
                <a:gd name="connsiteY0" fmla="*/ 0 h 58620"/>
                <a:gd name="connsiteX1" fmla="*/ 2573 w 72363"/>
                <a:gd name="connsiteY1" fmla="*/ 12520 h 58620"/>
                <a:gd name="connsiteX2" fmla="*/ 17098 w 72363"/>
                <a:gd name="connsiteY2" fmla="*/ 51059 h 58620"/>
                <a:gd name="connsiteX3" fmla="*/ 28151 w 72363"/>
                <a:gd name="connsiteY3" fmla="*/ 56048 h 58620"/>
                <a:gd name="connsiteX4" fmla="*/ 66690 w 72363"/>
                <a:gd name="connsiteY4" fmla="*/ 41522 h 58620"/>
                <a:gd name="connsiteX5" fmla="*/ 72363 w 72363"/>
                <a:gd name="connsiteY5" fmla="*/ 29002 h 58620"/>
                <a:gd name="connsiteX6" fmla="*/ 8197 w 72363"/>
                <a:gd name="connsiteY6" fmla="*/ 0 h 586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2363" h="58620">
                  <a:moveTo>
                    <a:pt x="8246" y="0"/>
                  </a:moveTo>
                  <a:lnTo>
                    <a:pt x="2573" y="12520"/>
                  </a:lnTo>
                  <a:cubicBezTo>
                    <a:pt x="-4030" y="27143"/>
                    <a:pt x="2524" y="44457"/>
                    <a:pt x="17098" y="51059"/>
                  </a:cubicBezTo>
                  <a:lnTo>
                    <a:pt x="28151" y="56048"/>
                  </a:lnTo>
                  <a:cubicBezTo>
                    <a:pt x="42774" y="62650"/>
                    <a:pt x="60088" y="56096"/>
                    <a:pt x="66690" y="41522"/>
                  </a:cubicBezTo>
                  <a:lnTo>
                    <a:pt x="72363" y="29002"/>
                  </a:lnTo>
                  <a:lnTo>
                    <a:pt x="8197" y="0"/>
                  </a:ln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90" name="Forma livre: Forma 289">
              <a:extLst>
                <a:ext uri="{FF2B5EF4-FFF2-40B4-BE49-F238E27FC236}">
                  <a16:creationId xmlns:a16="http://schemas.microsoft.com/office/drawing/2014/main" id="{58DD71DE-C66D-8BA8-B362-426FC123A4FF}"/>
                </a:ext>
              </a:extLst>
            </p:cNvPr>
            <p:cNvSpPr/>
            <p:nvPr/>
          </p:nvSpPr>
          <p:spPr>
            <a:xfrm>
              <a:off x="2625561" y="1617065"/>
              <a:ext cx="128408" cy="102857"/>
            </a:xfrm>
            <a:custGeom>
              <a:avLst/>
              <a:gdLst>
                <a:gd name="connsiteX0" fmla="*/ 128409 w 128408"/>
                <a:gd name="connsiteY0" fmla="*/ 16873 h 102857"/>
                <a:gd name="connsiteX1" fmla="*/ 101706 w 128408"/>
                <a:gd name="connsiteY1" fmla="*/ 59618 h 102857"/>
                <a:gd name="connsiteX2" fmla="*/ 9418 w 128408"/>
                <a:gd name="connsiteY2" fmla="*/ 96494 h 102857"/>
                <a:gd name="connsiteX3" fmla="*/ 33040 w 128408"/>
                <a:gd name="connsiteY3" fmla="*/ 0 h 102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8408" h="102857">
                  <a:moveTo>
                    <a:pt x="128409" y="16873"/>
                  </a:moveTo>
                  <a:cubicBezTo>
                    <a:pt x="122882" y="30860"/>
                    <a:pt x="113835" y="45679"/>
                    <a:pt x="101706" y="59618"/>
                  </a:cubicBezTo>
                  <a:cubicBezTo>
                    <a:pt x="69720" y="96445"/>
                    <a:pt x="28394" y="112926"/>
                    <a:pt x="9418" y="96494"/>
                  </a:cubicBezTo>
                  <a:cubicBezTo>
                    <a:pt x="-9558" y="80012"/>
                    <a:pt x="1055" y="36827"/>
                    <a:pt x="33040" y="0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91" name="Forma livre: Forma 290">
              <a:extLst>
                <a:ext uri="{FF2B5EF4-FFF2-40B4-BE49-F238E27FC236}">
                  <a16:creationId xmlns:a16="http://schemas.microsoft.com/office/drawing/2014/main" id="{F08C1E2E-7104-0470-4C1F-B77823924150}"/>
                </a:ext>
              </a:extLst>
            </p:cNvPr>
            <p:cNvSpPr/>
            <p:nvPr/>
          </p:nvSpPr>
          <p:spPr>
            <a:xfrm>
              <a:off x="2747465" y="1627532"/>
              <a:ext cx="12520" cy="12520"/>
            </a:xfrm>
            <a:custGeom>
              <a:avLst/>
              <a:gdLst>
                <a:gd name="connsiteX0" fmla="*/ 0 w 12520"/>
                <a:gd name="connsiteY0" fmla="*/ 6260 h 12520"/>
                <a:gd name="connsiteX1" fmla="*/ 6260 w 12520"/>
                <a:gd name="connsiteY1" fmla="*/ 12520 h 12520"/>
                <a:gd name="connsiteX2" fmla="*/ 12520 w 12520"/>
                <a:gd name="connsiteY2" fmla="*/ 6260 h 12520"/>
                <a:gd name="connsiteX3" fmla="*/ 6260 w 12520"/>
                <a:gd name="connsiteY3" fmla="*/ 0 h 12520"/>
                <a:gd name="connsiteX4" fmla="*/ 0 w 12520"/>
                <a:gd name="connsiteY4" fmla="*/ 6260 h 125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520" h="12520">
                  <a:moveTo>
                    <a:pt x="0" y="6260"/>
                  </a:moveTo>
                  <a:cubicBezTo>
                    <a:pt x="0" y="9733"/>
                    <a:pt x="2788" y="12520"/>
                    <a:pt x="6260" y="12520"/>
                  </a:cubicBezTo>
                  <a:cubicBezTo>
                    <a:pt x="9733" y="12520"/>
                    <a:pt x="12520" y="9733"/>
                    <a:pt x="12520" y="6260"/>
                  </a:cubicBezTo>
                  <a:cubicBezTo>
                    <a:pt x="12520" y="2788"/>
                    <a:pt x="9733" y="0"/>
                    <a:pt x="6260" y="0"/>
                  </a:cubicBezTo>
                  <a:cubicBezTo>
                    <a:pt x="2788" y="0"/>
                    <a:pt x="0" y="2788"/>
                    <a:pt x="0" y="6260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292" name="Gráfico 4">
            <a:extLst>
              <a:ext uri="{FF2B5EF4-FFF2-40B4-BE49-F238E27FC236}">
                <a16:creationId xmlns:a16="http://schemas.microsoft.com/office/drawing/2014/main" id="{5DDC1A3F-3954-BF63-4943-6E01D67EEE2A}"/>
              </a:ext>
            </a:extLst>
          </p:cNvPr>
          <p:cNvGrpSpPr/>
          <p:nvPr/>
        </p:nvGrpSpPr>
        <p:grpSpPr>
          <a:xfrm>
            <a:off x="3188123" y="1453471"/>
            <a:ext cx="390908" cy="270504"/>
            <a:chOff x="3188123" y="1453471"/>
            <a:chExt cx="390908" cy="270504"/>
          </a:xfrm>
        </p:grpSpPr>
        <p:sp>
          <p:nvSpPr>
            <p:cNvPr id="293" name="Forma livre: Forma 292">
              <a:extLst>
                <a:ext uri="{FF2B5EF4-FFF2-40B4-BE49-F238E27FC236}">
                  <a16:creationId xmlns:a16="http://schemas.microsoft.com/office/drawing/2014/main" id="{EFAA497D-D6E4-4FBC-9C9C-0F90AD81D930}"/>
                </a:ext>
              </a:extLst>
            </p:cNvPr>
            <p:cNvSpPr/>
            <p:nvPr/>
          </p:nvSpPr>
          <p:spPr>
            <a:xfrm>
              <a:off x="3188123" y="1479224"/>
              <a:ext cx="153366" cy="136734"/>
            </a:xfrm>
            <a:custGeom>
              <a:avLst/>
              <a:gdLst>
                <a:gd name="connsiteX0" fmla="*/ 111649 w 153366"/>
                <a:gd name="connsiteY0" fmla="*/ 98178 h 136734"/>
                <a:gd name="connsiteX1" fmla="*/ 29485 w 153366"/>
                <a:gd name="connsiteY1" fmla="*/ 131435 h 136734"/>
                <a:gd name="connsiteX2" fmla="*/ 2733 w 153366"/>
                <a:gd name="connsiteY2" fmla="*/ 130456 h 136734"/>
                <a:gd name="connsiteX3" fmla="*/ 3760 w 153366"/>
                <a:gd name="connsiteY3" fmla="*/ 113681 h 136734"/>
                <a:gd name="connsiteX4" fmla="*/ 24546 w 153366"/>
                <a:gd name="connsiteY4" fmla="*/ 88592 h 136734"/>
                <a:gd name="connsiteX5" fmla="*/ 153367 w 153366"/>
                <a:gd name="connsiteY5" fmla="*/ 70 h 1367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53366" h="136734">
                  <a:moveTo>
                    <a:pt x="111649" y="98178"/>
                  </a:moveTo>
                  <a:cubicBezTo>
                    <a:pt x="76534" y="97151"/>
                    <a:pt x="29485" y="131435"/>
                    <a:pt x="29485" y="131435"/>
                  </a:cubicBezTo>
                  <a:cubicBezTo>
                    <a:pt x="10118" y="143906"/>
                    <a:pt x="2733" y="130456"/>
                    <a:pt x="2733" y="130456"/>
                  </a:cubicBezTo>
                  <a:cubicBezTo>
                    <a:pt x="-3967" y="121017"/>
                    <a:pt x="3760" y="113681"/>
                    <a:pt x="3760" y="113681"/>
                  </a:cubicBezTo>
                  <a:lnTo>
                    <a:pt x="24546" y="88592"/>
                  </a:lnTo>
                  <a:cubicBezTo>
                    <a:pt x="16183" y="-5750"/>
                    <a:pt x="153367" y="70"/>
                    <a:pt x="153367" y="7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94" name="Forma livre: Forma 293">
              <a:extLst>
                <a:ext uri="{FF2B5EF4-FFF2-40B4-BE49-F238E27FC236}">
                  <a16:creationId xmlns:a16="http://schemas.microsoft.com/office/drawing/2014/main" id="{C3034571-0667-01DD-40EF-659D162B6CF6}"/>
                </a:ext>
              </a:extLst>
            </p:cNvPr>
            <p:cNvSpPr/>
            <p:nvPr/>
          </p:nvSpPr>
          <p:spPr>
            <a:xfrm>
              <a:off x="3341588" y="1453471"/>
              <a:ext cx="237443" cy="270504"/>
            </a:xfrm>
            <a:custGeom>
              <a:avLst/>
              <a:gdLst>
                <a:gd name="connsiteX0" fmla="*/ 31398 w 237443"/>
                <a:gd name="connsiteY0" fmla="*/ 118062 h 270504"/>
                <a:gd name="connsiteX1" fmla="*/ 133956 w 237443"/>
                <a:gd name="connsiteY1" fmla="*/ 205752 h 270504"/>
                <a:gd name="connsiteX2" fmla="*/ 135864 w 237443"/>
                <a:gd name="connsiteY2" fmla="*/ 212257 h 270504"/>
                <a:gd name="connsiteX3" fmla="*/ 135081 w 237443"/>
                <a:gd name="connsiteY3" fmla="*/ 212746 h 270504"/>
                <a:gd name="connsiteX4" fmla="*/ 111801 w 237443"/>
                <a:gd name="connsiteY4" fmla="*/ 226342 h 270504"/>
                <a:gd name="connsiteX5" fmla="*/ 91065 w 237443"/>
                <a:gd name="connsiteY5" fmla="*/ 270505 h 270504"/>
                <a:gd name="connsiteX6" fmla="*/ 161149 w 237443"/>
                <a:gd name="connsiteY6" fmla="*/ 237590 h 270504"/>
                <a:gd name="connsiteX7" fmla="*/ 161491 w 237443"/>
                <a:gd name="connsiteY7" fmla="*/ 237590 h 270504"/>
                <a:gd name="connsiteX8" fmla="*/ 237444 w 237443"/>
                <a:gd name="connsiteY8" fmla="*/ 252507 h 270504"/>
                <a:gd name="connsiteX9" fmla="*/ 206632 w 237443"/>
                <a:gd name="connsiteY9" fmla="*/ 214653 h 270504"/>
                <a:gd name="connsiteX10" fmla="*/ 177679 w 237443"/>
                <a:gd name="connsiteY10" fmla="*/ 207024 h 270504"/>
                <a:gd name="connsiteX11" fmla="*/ 176897 w 237443"/>
                <a:gd name="connsiteY11" fmla="*/ 206926 h 270504"/>
                <a:gd name="connsiteX12" fmla="*/ 176750 w 237443"/>
                <a:gd name="connsiteY12" fmla="*/ 200225 h 270504"/>
                <a:gd name="connsiteX13" fmla="*/ 58444 w 237443"/>
                <a:gd name="connsiteY13" fmla="*/ 34284 h 270504"/>
                <a:gd name="connsiteX14" fmla="*/ 58737 w 237443"/>
                <a:gd name="connsiteY14" fmla="*/ 33452 h 270504"/>
                <a:gd name="connsiteX15" fmla="*/ 79816 w 237443"/>
                <a:gd name="connsiteY15" fmla="*/ 5135 h 270504"/>
                <a:gd name="connsiteX16" fmla="*/ 0 w 237443"/>
                <a:gd name="connsiteY16" fmla="*/ 25676 h 2705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37443" h="270504">
                  <a:moveTo>
                    <a:pt x="31398" y="118062"/>
                  </a:moveTo>
                  <a:cubicBezTo>
                    <a:pt x="62846" y="125349"/>
                    <a:pt x="117083" y="146330"/>
                    <a:pt x="133956" y="205752"/>
                  </a:cubicBezTo>
                  <a:lnTo>
                    <a:pt x="135864" y="212257"/>
                  </a:lnTo>
                  <a:lnTo>
                    <a:pt x="135081" y="212746"/>
                  </a:lnTo>
                  <a:cubicBezTo>
                    <a:pt x="127403" y="215484"/>
                    <a:pt x="118942" y="219935"/>
                    <a:pt x="111801" y="226342"/>
                  </a:cubicBezTo>
                  <a:cubicBezTo>
                    <a:pt x="93315" y="242872"/>
                    <a:pt x="91065" y="270505"/>
                    <a:pt x="91065" y="270505"/>
                  </a:cubicBezTo>
                  <a:cubicBezTo>
                    <a:pt x="91065" y="270505"/>
                    <a:pt x="143640" y="255148"/>
                    <a:pt x="161149" y="237590"/>
                  </a:cubicBezTo>
                  <a:lnTo>
                    <a:pt x="161491" y="237590"/>
                  </a:lnTo>
                  <a:cubicBezTo>
                    <a:pt x="182766" y="250306"/>
                    <a:pt x="237444" y="252507"/>
                    <a:pt x="237444" y="252507"/>
                  </a:cubicBezTo>
                  <a:cubicBezTo>
                    <a:pt x="237444" y="252507"/>
                    <a:pt x="228592" y="226244"/>
                    <a:pt x="206632" y="214653"/>
                  </a:cubicBezTo>
                  <a:cubicBezTo>
                    <a:pt x="196851" y="209469"/>
                    <a:pt x="186336" y="207562"/>
                    <a:pt x="177679" y="207024"/>
                  </a:cubicBezTo>
                  <a:lnTo>
                    <a:pt x="176897" y="206926"/>
                  </a:lnTo>
                  <a:lnTo>
                    <a:pt x="176750" y="200225"/>
                  </a:lnTo>
                  <a:cubicBezTo>
                    <a:pt x="182032" y="81332"/>
                    <a:pt x="58444" y="34284"/>
                    <a:pt x="58444" y="34284"/>
                  </a:cubicBezTo>
                  <a:lnTo>
                    <a:pt x="58737" y="33452"/>
                  </a:lnTo>
                  <a:cubicBezTo>
                    <a:pt x="64117" y="14281"/>
                    <a:pt x="79816" y="5135"/>
                    <a:pt x="79816" y="5135"/>
                  </a:cubicBezTo>
                  <a:cubicBezTo>
                    <a:pt x="79816" y="5135"/>
                    <a:pt x="21813" y="-15406"/>
                    <a:pt x="0" y="25676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95" name="Forma livre: Forma 294">
              <a:extLst>
                <a:ext uri="{FF2B5EF4-FFF2-40B4-BE49-F238E27FC236}">
                  <a16:creationId xmlns:a16="http://schemas.microsoft.com/office/drawing/2014/main" id="{F8B97103-FF87-7626-2C82-3CB79F99AEC6}"/>
                </a:ext>
              </a:extLst>
            </p:cNvPr>
            <p:cNvSpPr/>
            <p:nvPr/>
          </p:nvSpPr>
          <p:spPr>
            <a:xfrm>
              <a:off x="3299186" y="1549623"/>
              <a:ext cx="72040" cy="69741"/>
            </a:xfrm>
            <a:custGeom>
              <a:avLst/>
              <a:gdLst>
                <a:gd name="connsiteX0" fmla="*/ 47831 w 72040"/>
                <a:gd name="connsiteY0" fmla="*/ 0 h 69741"/>
                <a:gd name="connsiteX1" fmla="*/ 72040 w 72040"/>
                <a:gd name="connsiteY1" fmla="*/ 69741 h 69741"/>
                <a:gd name="connsiteX2" fmla="*/ 0 w 72040"/>
                <a:gd name="connsiteY2" fmla="*/ 15455 h 697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72040" h="69741">
                  <a:moveTo>
                    <a:pt x="47831" y="0"/>
                  </a:moveTo>
                  <a:cubicBezTo>
                    <a:pt x="39126" y="29931"/>
                    <a:pt x="72040" y="69741"/>
                    <a:pt x="72040" y="69741"/>
                  </a:cubicBezTo>
                  <a:cubicBezTo>
                    <a:pt x="2250" y="66025"/>
                    <a:pt x="0" y="15455"/>
                    <a:pt x="0" y="15455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96" name="Forma livre: Forma 295">
              <a:extLst>
                <a:ext uri="{FF2B5EF4-FFF2-40B4-BE49-F238E27FC236}">
                  <a16:creationId xmlns:a16="http://schemas.microsoft.com/office/drawing/2014/main" id="{4FA7C974-97EA-B503-C1B5-456E3F8AA751}"/>
                </a:ext>
              </a:extLst>
            </p:cNvPr>
            <p:cNvSpPr/>
            <p:nvPr/>
          </p:nvSpPr>
          <p:spPr>
            <a:xfrm>
              <a:off x="3242649" y="1544341"/>
              <a:ext cx="7629" cy="7629"/>
            </a:xfrm>
            <a:custGeom>
              <a:avLst/>
              <a:gdLst>
                <a:gd name="connsiteX0" fmla="*/ 0 w 7629"/>
                <a:gd name="connsiteY0" fmla="*/ 3815 h 7629"/>
                <a:gd name="connsiteX1" fmla="*/ 3815 w 7629"/>
                <a:gd name="connsiteY1" fmla="*/ 7629 h 7629"/>
                <a:gd name="connsiteX2" fmla="*/ 7629 w 7629"/>
                <a:gd name="connsiteY2" fmla="*/ 3815 h 7629"/>
                <a:gd name="connsiteX3" fmla="*/ 3815 w 7629"/>
                <a:gd name="connsiteY3" fmla="*/ 0 h 7629"/>
                <a:gd name="connsiteX4" fmla="*/ 0 w 7629"/>
                <a:gd name="connsiteY4" fmla="*/ 3815 h 76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29" h="7629">
                  <a:moveTo>
                    <a:pt x="0" y="3815"/>
                  </a:moveTo>
                  <a:cubicBezTo>
                    <a:pt x="0" y="5918"/>
                    <a:pt x="1712" y="7629"/>
                    <a:pt x="3815" y="7629"/>
                  </a:cubicBezTo>
                  <a:cubicBezTo>
                    <a:pt x="5918" y="7629"/>
                    <a:pt x="7629" y="5918"/>
                    <a:pt x="7629" y="3815"/>
                  </a:cubicBezTo>
                  <a:cubicBezTo>
                    <a:pt x="7629" y="1712"/>
                    <a:pt x="5918" y="0"/>
                    <a:pt x="3815" y="0"/>
                  </a:cubicBezTo>
                  <a:cubicBezTo>
                    <a:pt x="1712" y="0"/>
                    <a:pt x="0" y="1712"/>
                    <a:pt x="0" y="3815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297" name="Gráfico 4">
            <a:extLst>
              <a:ext uri="{FF2B5EF4-FFF2-40B4-BE49-F238E27FC236}">
                <a16:creationId xmlns:a16="http://schemas.microsoft.com/office/drawing/2014/main" id="{5C9BB699-EC28-99B6-D1A3-1077C2C3F60E}"/>
              </a:ext>
            </a:extLst>
          </p:cNvPr>
          <p:cNvGrpSpPr/>
          <p:nvPr/>
        </p:nvGrpSpPr>
        <p:grpSpPr>
          <a:xfrm>
            <a:off x="3784441" y="1477485"/>
            <a:ext cx="498998" cy="225602"/>
            <a:chOff x="3784441" y="1477485"/>
            <a:chExt cx="498998" cy="225602"/>
          </a:xfrm>
          <a:noFill/>
        </p:grpSpPr>
        <p:sp>
          <p:nvSpPr>
            <p:cNvPr id="298" name="Forma livre: Forma 297">
              <a:extLst>
                <a:ext uri="{FF2B5EF4-FFF2-40B4-BE49-F238E27FC236}">
                  <a16:creationId xmlns:a16="http://schemas.microsoft.com/office/drawing/2014/main" id="{AC6FE496-28A5-428F-CF1C-E5FC41E594E1}"/>
                </a:ext>
              </a:extLst>
            </p:cNvPr>
            <p:cNvSpPr/>
            <p:nvPr/>
          </p:nvSpPr>
          <p:spPr>
            <a:xfrm>
              <a:off x="3806987" y="1622250"/>
              <a:ext cx="476452" cy="55851"/>
            </a:xfrm>
            <a:custGeom>
              <a:avLst/>
              <a:gdLst>
                <a:gd name="connsiteX0" fmla="*/ 417177 w 476452"/>
                <a:gd name="connsiteY0" fmla="*/ 55852 h 55851"/>
                <a:gd name="connsiteX1" fmla="*/ 476452 w 476452"/>
                <a:gd name="connsiteY1" fmla="*/ 0 h 55851"/>
                <a:gd name="connsiteX2" fmla="*/ 0 w 476452"/>
                <a:gd name="connsiteY2" fmla="*/ 0 h 55851"/>
                <a:gd name="connsiteX3" fmla="*/ 0 w 476452"/>
                <a:gd name="connsiteY3" fmla="*/ 34284 h 55851"/>
                <a:gd name="connsiteX4" fmla="*/ 6798 w 476452"/>
                <a:gd name="connsiteY4" fmla="*/ 55656 h 558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76452" h="55851">
                  <a:moveTo>
                    <a:pt x="417177" y="55852"/>
                  </a:moveTo>
                  <a:lnTo>
                    <a:pt x="476452" y="0"/>
                  </a:lnTo>
                  <a:lnTo>
                    <a:pt x="0" y="0"/>
                  </a:lnTo>
                  <a:lnTo>
                    <a:pt x="0" y="34284"/>
                  </a:lnTo>
                  <a:cubicBezTo>
                    <a:pt x="0" y="34284"/>
                    <a:pt x="685" y="46413"/>
                    <a:pt x="6798" y="55656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99" name="Forma livre: Forma 298">
              <a:extLst>
                <a:ext uri="{FF2B5EF4-FFF2-40B4-BE49-F238E27FC236}">
                  <a16:creationId xmlns:a16="http://schemas.microsoft.com/office/drawing/2014/main" id="{50CB8D36-9210-4E6D-A9BB-7206F739E811}"/>
                </a:ext>
              </a:extLst>
            </p:cNvPr>
            <p:cNvSpPr/>
            <p:nvPr/>
          </p:nvSpPr>
          <p:spPr>
            <a:xfrm>
              <a:off x="3819752" y="1520278"/>
              <a:ext cx="399570" cy="77615"/>
            </a:xfrm>
            <a:custGeom>
              <a:avLst/>
              <a:gdLst>
                <a:gd name="connsiteX0" fmla="*/ 399570 w 399570"/>
                <a:gd name="connsiteY0" fmla="*/ 77615 h 77615"/>
                <a:gd name="connsiteX1" fmla="*/ 391061 w 399570"/>
                <a:gd name="connsiteY1" fmla="*/ 47978 h 77615"/>
                <a:gd name="connsiteX2" fmla="*/ 363966 w 399570"/>
                <a:gd name="connsiteY2" fmla="*/ 47978 h 77615"/>
                <a:gd name="connsiteX3" fmla="*/ 358048 w 399570"/>
                <a:gd name="connsiteY3" fmla="*/ 24013 h 77615"/>
                <a:gd name="connsiteX4" fmla="*/ 328460 w 399570"/>
                <a:gd name="connsiteY4" fmla="*/ 24013 h 77615"/>
                <a:gd name="connsiteX5" fmla="*/ 321270 w 399570"/>
                <a:gd name="connsiteY5" fmla="*/ 0 h 77615"/>
                <a:gd name="connsiteX6" fmla="*/ 225608 w 399570"/>
                <a:gd name="connsiteY6" fmla="*/ 0 h 77615"/>
                <a:gd name="connsiteX7" fmla="*/ 213039 w 399570"/>
                <a:gd name="connsiteY7" fmla="*/ 23035 h 77615"/>
                <a:gd name="connsiteX8" fmla="*/ 142075 w 399570"/>
                <a:gd name="connsiteY8" fmla="*/ 23035 h 77615"/>
                <a:gd name="connsiteX9" fmla="*/ 126082 w 399570"/>
                <a:gd name="connsiteY9" fmla="*/ 0 h 77615"/>
                <a:gd name="connsiteX10" fmla="*/ 20688 w 399570"/>
                <a:gd name="connsiteY10" fmla="*/ 0 h 77615"/>
                <a:gd name="connsiteX11" fmla="*/ 0 w 399570"/>
                <a:gd name="connsiteY11" fmla="*/ 77615 h 776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99570" h="77615">
                  <a:moveTo>
                    <a:pt x="399570" y="77615"/>
                  </a:moveTo>
                  <a:lnTo>
                    <a:pt x="391061" y="47978"/>
                  </a:lnTo>
                  <a:lnTo>
                    <a:pt x="363966" y="47978"/>
                  </a:lnTo>
                  <a:lnTo>
                    <a:pt x="358048" y="24013"/>
                  </a:lnTo>
                  <a:lnTo>
                    <a:pt x="328460" y="24013"/>
                  </a:lnTo>
                  <a:lnTo>
                    <a:pt x="321270" y="0"/>
                  </a:lnTo>
                  <a:lnTo>
                    <a:pt x="225608" y="0"/>
                  </a:lnTo>
                  <a:lnTo>
                    <a:pt x="213039" y="23035"/>
                  </a:lnTo>
                  <a:lnTo>
                    <a:pt x="142075" y="23035"/>
                  </a:lnTo>
                  <a:lnTo>
                    <a:pt x="126082" y="0"/>
                  </a:lnTo>
                  <a:lnTo>
                    <a:pt x="20688" y="0"/>
                  </a:lnTo>
                  <a:lnTo>
                    <a:pt x="0" y="77615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00" name="Forma livre: Forma 299">
              <a:extLst>
                <a:ext uri="{FF2B5EF4-FFF2-40B4-BE49-F238E27FC236}">
                  <a16:creationId xmlns:a16="http://schemas.microsoft.com/office/drawing/2014/main" id="{4D542C46-89A2-B812-11D4-A270C17800FE}"/>
                </a:ext>
              </a:extLst>
            </p:cNvPr>
            <p:cNvSpPr/>
            <p:nvPr/>
          </p:nvSpPr>
          <p:spPr>
            <a:xfrm>
              <a:off x="3866507" y="1477485"/>
              <a:ext cx="46217" cy="41913"/>
            </a:xfrm>
            <a:custGeom>
              <a:avLst/>
              <a:gdLst>
                <a:gd name="connsiteX0" fmla="*/ 0 w 46217"/>
                <a:gd name="connsiteY0" fmla="*/ 41913 h 41913"/>
                <a:gd name="connsiteX1" fmla="*/ 0 w 46217"/>
                <a:gd name="connsiteY1" fmla="*/ 0 h 41913"/>
                <a:gd name="connsiteX2" fmla="*/ 26116 w 46217"/>
                <a:gd name="connsiteY2" fmla="*/ 0 h 41913"/>
                <a:gd name="connsiteX3" fmla="*/ 46217 w 46217"/>
                <a:gd name="connsiteY3" fmla="*/ 41913 h 419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6217" h="41913">
                  <a:moveTo>
                    <a:pt x="0" y="41913"/>
                  </a:moveTo>
                  <a:lnTo>
                    <a:pt x="0" y="0"/>
                  </a:lnTo>
                  <a:lnTo>
                    <a:pt x="26116" y="0"/>
                  </a:lnTo>
                  <a:lnTo>
                    <a:pt x="46217" y="41913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01" name="Forma livre: Forma 300">
              <a:extLst>
                <a:ext uri="{FF2B5EF4-FFF2-40B4-BE49-F238E27FC236}">
                  <a16:creationId xmlns:a16="http://schemas.microsoft.com/office/drawing/2014/main" id="{03AF9C33-FE89-8184-A142-E106CBD52B0C}"/>
                </a:ext>
              </a:extLst>
            </p:cNvPr>
            <p:cNvSpPr/>
            <p:nvPr/>
          </p:nvSpPr>
          <p:spPr>
            <a:xfrm>
              <a:off x="3849634" y="1569675"/>
              <a:ext cx="310804" cy="4890"/>
            </a:xfrm>
            <a:custGeom>
              <a:avLst/>
              <a:gdLst>
                <a:gd name="connsiteX0" fmla="*/ 310804 w 310804"/>
                <a:gd name="connsiteY0" fmla="*/ 0 h 4890"/>
                <a:gd name="connsiteX1" fmla="*/ 0 w 310804"/>
                <a:gd name="connsiteY1" fmla="*/ 0 h 48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10804" h="4890">
                  <a:moveTo>
                    <a:pt x="310804" y="0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302" name="Gráfico 4">
              <a:extLst>
                <a:ext uri="{FF2B5EF4-FFF2-40B4-BE49-F238E27FC236}">
                  <a16:creationId xmlns:a16="http://schemas.microsoft.com/office/drawing/2014/main" id="{B188DDD4-28A4-6E3E-9D1C-35A5A16E92B7}"/>
                </a:ext>
              </a:extLst>
            </p:cNvPr>
            <p:cNvGrpSpPr/>
            <p:nvPr/>
          </p:nvGrpSpPr>
          <p:grpSpPr>
            <a:xfrm>
              <a:off x="3856090" y="1546150"/>
              <a:ext cx="269575" cy="4890"/>
              <a:chOff x="3856090" y="1546150"/>
              <a:chExt cx="269575" cy="4890"/>
            </a:xfrm>
          </p:grpSpPr>
          <p:sp>
            <p:nvSpPr>
              <p:cNvPr id="303" name="Forma livre: Forma 302">
                <a:extLst>
                  <a:ext uri="{FF2B5EF4-FFF2-40B4-BE49-F238E27FC236}">
                    <a16:creationId xmlns:a16="http://schemas.microsoft.com/office/drawing/2014/main" id="{07C79139-3E02-E472-8351-1654C36E6BB3}"/>
                  </a:ext>
                </a:extLst>
              </p:cNvPr>
              <p:cNvSpPr/>
              <p:nvPr/>
            </p:nvSpPr>
            <p:spPr>
              <a:xfrm>
                <a:off x="4056756" y="1546150"/>
                <a:ext cx="68910" cy="4890"/>
              </a:xfrm>
              <a:custGeom>
                <a:avLst/>
                <a:gdLst>
                  <a:gd name="connsiteX0" fmla="*/ 68910 w 68910"/>
                  <a:gd name="connsiteY0" fmla="*/ 0 h 4890"/>
                  <a:gd name="connsiteX1" fmla="*/ 0 w 68910"/>
                  <a:gd name="connsiteY1" fmla="*/ 0 h 48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8910" h="4890">
                    <a:moveTo>
                      <a:pt x="68910" y="0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04" name="Forma livre: Forma 303">
                <a:extLst>
                  <a:ext uri="{FF2B5EF4-FFF2-40B4-BE49-F238E27FC236}">
                    <a16:creationId xmlns:a16="http://schemas.microsoft.com/office/drawing/2014/main" id="{AA928F0C-E150-CD18-1FEC-EE4F5ABD2F70}"/>
                  </a:ext>
                </a:extLst>
              </p:cNvPr>
              <p:cNvSpPr/>
              <p:nvPr/>
            </p:nvSpPr>
            <p:spPr>
              <a:xfrm>
                <a:off x="3856090" y="1546150"/>
                <a:ext cx="80696" cy="4890"/>
              </a:xfrm>
              <a:custGeom>
                <a:avLst/>
                <a:gdLst>
                  <a:gd name="connsiteX0" fmla="*/ 80697 w 80696"/>
                  <a:gd name="connsiteY0" fmla="*/ 0 h 4890"/>
                  <a:gd name="connsiteX1" fmla="*/ 0 w 80696"/>
                  <a:gd name="connsiteY1" fmla="*/ 0 h 48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80696" h="4890">
                    <a:moveTo>
                      <a:pt x="80697" y="0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305" name="Forma livre: Forma 304">
              <a:extLst>
                <a:ext uri="{FF2B5EF4-FFF2-40B4-BE49-F238E27FC236}">
                  <a16:creationId xmlns:a16="http://schemas.microsoft.com/office/drawing/2014/main" id="{7773DB37-85EC-FB28-B129-2DD703CAE56A}"/>
                </a:ext>
              </a:extLst>
            </p:cNvPr>
            <p:cNvSpPr/>
            <p:nvPr/>
          </p:nvSpPr>
          <p:spPr>
            <a:xfrm>
              <a:off x="3943096" y="1650665"/>
              <a:ext cx="31251" cy="4890"/>
            </a:xfrm>
            <a:custGeom>
              <a:avLst/>
              <a:gdLst>
                <a:gd name="connsiteX0" fmla="*/ 0 w 31251"/>
                <a:gd name="connsiteY0" fmla="*/ 0 h 4890"/>
                <a:gd name="connsiteX1" fmla="*/ 31252 w 31251"/>
                <a:gd name="connsiteY1" fmla="*/ 0 h 48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1251" h="4890">
                  <a:moveTo>
                    <a:pt x="0" y="0"/>
                  </a:moveTo>
                  <a:lnTo>
                    <a:pt x="31252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06" name="Forma livre: Forma 305">
              <a:extLst>
                <a:ext uri="{FF2B5EF4-FFF2-40B4-BE49-F238E27FC236}">
                  <a16:creationId xmlns:a16="http://schemas.microsoft.com/office/drawing/2014/main" id="{F384EFBB-F649-58CE-23F3-BB34E3B99312}"/>
                </a:ext>
              </a:extLst>
            </p:cNvPr>
            <p:cNvSpPr/>
            <p:nvPr/>
          </p:nvSpPr>
          <p:spPr>
            <a:xfrm>
              <a:off x="4001246" y="1650665"/>
              <a:ext cx="31251" cy="4890"/>
            </a:xfrm>
            <a:custGeom>
              <a:avLst/>
              <a:gdLst>
                <a:gd name="connsiteX0" fmla="*/ 0 w 31251"/>
                <a:gd name="connsiteY0" fmla="*/ 0 h 4890"/>
                <a:gd name="connsiteX1" fmla="*/ 31252 w 31251"/>
                <a:gd name="connsiteY1" fmla="*/ 0 h 48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1251" h="4890">
                  <a:moveTo>
                    <a:pt x="0" y="0"/>
                  </a:moveTo>
                  <a:lnTo>
                    <a:pt x="31252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07" name="Forma livre: Forma 306">
              <a:extLst>
                <a:ext uri="{FF2B5EF4-FFF2-40B4-BE49-F238E27FC236}">
                  <a16:creationId xmlns:a16="http://schemas.microsoft.com/office/drawing/2014/main" id="{AFF1E370-80C2-53D5-A879-F52D7998A54E}"/>
                </a:ext>
              </a:extLst>
            </p:cNvPr>
            <p:cNvSpPr/>
            <p:nvPr/>
          </p:nvSpPr>
          <p:spPr>
            <a:xfrm>
              <a:off x="4059446" y="1650665"/>
              <a:ext cx="31251" cy="4890"/>
            </a:xfrm>
            <a:custGeom>
              <a:avLst/>
              <a:gdLst>
                <a:gd name="connsiteX0" fmla="*/ 0 w 31251"/>
                <a:gd name="connsiteY0" fmla="*/ 0 h 4890"/>
                <a:gd name="connsiteX1" fmla="*/ 31252 w 31251"/>
                <a:gd name="connsiteY1" fmla="*/ 0 h 48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1251" h="4890">
                  <a:moveTo>
                    <a:pt x="0" y="0"/>
                  </a:moveTo>
                  <a:lnTo>
                    <a:pt x="31252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08" name="Forma livre: Forma 307">
              <a:extLst>
                <a:ext uri="{FF2B5EF4-FFF2-40B4-BE49-F238E27FC236}">
                  <a16:creationId xmlns:a16="http://schemas.microsoft.com/office/drawing/2014/main" id="{8848B0B0-E38C-DCB8-F62B-884E12523305}"/>
                </a:ext>
              </a:extLst>
            </p:cNvPr>
            <p:cNvSpPr/>
            <p:nvPr/>
          </p:nvSpPr>
          <p:spPr>
            <a:xfrm>
              <a:off x="3784441" y="1689350"/>
              <a:ext cx="470534" cy="13737"/>
            </a:xfrm>
            <a:custGeom>
              <a:avLst/>
              <a:gdLst>
                <a:gd name="connsiteX0" fmla="*/ 0 w 470534"/>
                <a:gd name="connsiteY0" fmla="*/ 0 h 13737"/>
                <a:gd name="connsiteX1" fmla="*/ 66807 w 470534"/>
                <a:gd name="connsiteY1" fmla="*/ 0 h 13737"/>
                <a:gd name="connsiteX2" fmla="*/ 67492 w 470534"/>
                <a:gd name="connsiteY2" fmla="*/ 0 h 13737"/>
                <a:gd name="connsiteX3" fmla="*/ 134299 w 470534"/>
                <a:gd name="connsiteY3" fmla="*/ 0 h 13737"/>
                <a:gd name="connsiteX4" fmla="*/ 134690 w 470534"/>
                <a:gd name="connsiteY4" fmla="*/ 0 h 13737"/>
                <a:gd name="connsiteX5" fmla="*/ 201546 w 470534"/>
                <a:gd name="connsiteY5" fmla="*/ 0 h 13737"/>
                <a:gd name="connsiteX6" fmla="*/ 201937 w 470534"/>
                <a:gd name="connsiteY6" fmla="*/ 0 h 13737"/>
                <a:gd name="connsiteX7" fmla="*/ 268744 w 470534"/>
                <a:gd name="connsiteY7" fmla="*/ 0 h 13737"/>
                <a:gd name="connsiteX8" fmla="*/ 269135 w 470534"/>
                <a:gd name="connsiteY8" fmla="*/ 0 h 13737"/>
                <a:gd name="connsiteX9" fmla="*/ 335991 w 470534"/>
                <a:gd name="connsiteY9" fmla="*/ 0 h 13737"/>
                <a:gd name="connsiteX10" fmla="*/ 336432 w 470534"/>
                <a:gd name="connsiteY10" fmla="*/ 0 h 13737"/>
                <a:gd name="connsiteX11" fmla="*/ 403239 w 470534"/>
                <a:gd name="connsiteY11" fmla="*/ 0 h 13737"/>
                <a:gd name="connsiteX12" fmla="*/ 403679 w 470534"/>
                <a:gd name="connsiteY12" fmla="*/ 0 h 13737"/>
                <a:gd name="connsiteX13" fmla="*/ 470535 w 470534"/>
                <a:gd name="connsiteY13" fmla="*/ 0 h 137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70534" h="13737">
                  <a:moveTo>
                    <a:pt x="0" y="0"/>
                  </a:moveTo>
                  <a:cubicBezTo>
                    <a:pt x="38734" y="30909"/>
                    <a:pt x="66807" y="0"/>
                    <a:pt x="66807" y="0"/>
                  </a:cubicBezTo>
                  <a:lnTo>
                    <a:pt x="67492" y="0"/>
                  </a:lnTo>
                  <a:cubicBezTo>
                    <a:pt x="106226" y="30909"/>
                    <a:pt x="134299" y="0"/>
                    <a:pt x="134299" y="0"/>
                  </a:cubicBezTo>
                  <a:lnTo>
                    <a:pt x="134690" y="0"/>
                  </a:lnTo>
                  <a:cubicBezTo>
                    <a:pt x="173473" y="30909"/>
                    <a:pt x="201546" y="0"/>
                    <a:pt x="201546" y="0"/>
                  </a:cubicBezTo>
                  <a:lnTo>
                    <a:pt x="201937" y="0"/>
                  </a:lnTo>
                  <a:cubicBezTo>
                    <a:pt x="240671" y="30909"/>
                    <a:pt x="268744" y="0"/>
                    <a:pt x="268744" y="0"/>
                  </a:cubicBezTo>
                  <a:lnTo>
                    <a:pt x="269135" y="0"/>
                  </a:lnTo>
                  <a:cubicBezTo>
                    <a:pt x="307919" y="30909"/>
                    <a:pt x="335991" y="0"/>
                    <a:pt x="335991" y="0"/>
                  </a:cubicBezTo>
                  <a:lnTo>
                    <a:pt x="336432" y="0"/>
                  </a:lnTo>
                  <a:cubicBezTo>
                    <a:pt x="375166" y="30909"/>
                    <a:pt x="403239" y="0"/>
                    <a:pt x="403239" y="0"/>
                  </a:cubicBezTo>
                  <a:lnTo>
                    <a:pt x="403679" y="0"/>
                  </a:lnTo>
                  <a:cubicBezTo>
                    <a:pt x="442462" y="30909"/>
                    <a:pt x="470535" y="0"/>
                    <a:pt x="470535" y="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09" name="Forma livre: Forma 308">
              <a:extLst>
                <a:ext uri="{FF2B5EF4-FFF2-40B4-BE49-F238E27FC236}">
                  <a16:creationId xmlns:a16="http://schemas.microsoft.com/office/drawing/2014/main" id="{9786E05C-44EC-AA57-F3D8-1FB48B30972A}"/>
                </a:ext>
              </a:extLst>
            </p:cNvPr>
            <p:cNvSpPr/>
            <p:nvPr/>
          </p:nvSpPr>
          <p:spPr>
            <a:xfrm>
              <a:off x="3843374" y="1593248"/>
              <a:ext cx="351005" cy="4890"/>
            </a:xfrm>
            <a:custGeom>
              <a:avLst/>
              <a:gdLst>
                <a:gd name="connsiteX0" fmla="*/ 351006 w 351005"/>
                <a:gd name="connsiteY0" fmla="*/ 0 h 4890"/>
                <a:gd name="connsiteX1" fmla="*/ 0 w 351005"/>
                <a:gd name="connsiteY1" fmla="*/ 0 h 48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51005" h="4890">
                  <a:moveTo>
                    <a:pt x="351006" y="0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310" name="Gráfico 4">
            <a:extLst>
              <a:ext uri="{FF2B5EF4-FFF2-40B4-BE49-F238E27FC236}">
                <a16:creationId xmlns:a16="http://schemas.microsoft.com/office/drawing/2014/main" id="{9E8423E3-3277-FC75-8C86-45ED79730DCE}"/>
              </a:ext>
            </a:extLst>
          </p:cNvPr>
          <p:cNvGrpSpPr/>
          <p:nvPr/>
        </p:nvGrpSpPr>
        <p:grpSpPr>
          <a:xfrm>
            <a:off x="2596294" y="1986211"/>
            <a:ext cx="309926" cy="309880"/>
            <a:chOff x="2596294" y="1986211"/>
            <a:chExt cx="309926" cy="309880"/>
          </a:xfrm>
          <a:noFill/>
        </p:grpSpPr>
        <p:sp>
          <p:nvSpPr>
            <p:cNvPr id="311" name="Forma livre: Forma 310">
              <a:extLst>
                <a:ext uri="{FF2B5EF4-FFF2-40B4-BE49-F238E27FC236}">
                  <a16:creationId xmlns:a16="http://schemas.microsoft.com/office/drawing/2014/main" id="{61EC3561-A7E6-466A-8410-26D7398877C8}"/>
                </a:ext>
              </a:extLst>
            </p:cNvPr>
            <p:cNvSpPr/>
            <p:nvPr/>
          </p:nvSpPr>
          <p:spPr>
            <a:xfrm>
              <a:off x="2596294" y="1986211"/>
              <a:ext cx="309926" cy="309880"/>
            </a:xfrm>
            <a:custGeom>
              <a:avLst/>
              <a:gdLst>
                <a:gd name="connsiteX0" fmla="*/ 41864 w 309926"/>
                <a:gd name="connsiteY0" fmla="*/ 268114 h 309880"/>
                <a:gd name="connsiteX1" fmla="*/ 41424 w 309926"/>
                <a:gd name="connsiteY1" fmla="*/ 309880 h 309880"/>
                <a:gd name="connsiteX2" fmla="*/ 309582 w 309926"/>
                <a:gd name="connsiteY2" fmla="*/ 347 h 309880"/>
                <a:gd name="connsiteX3" fmla="*/ 309533 w 309926"/>
                <a:gd name="connsiteY3" fmla="*/ 347 h 309880"/>
                <a:gd name="connsiteX4" fmla="*/ 0 w 309926"/>
                <a:gd name="connsiteY4" fmla="*/ 268456 h 309880"/>
                <a:gd name="connsiteX5" fmla="*/ 41767 w 309926"/>
                <a:gd name="connsiteY5" fmla="*/ 268016 h 309880"/>
                <a:gd name="connsiteX6" fmla="*/ 41864 w 309926"/>
                <a:gd name="connsiteY6" fmla="*/ 268114 h 3098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09926" h="309880">
                  <a:moveTo>
                    <a:pt x="41864" y="268114"/>
                  </a:moveTo>
                  <a:lnTo>
                    <a:pt x="41424" y="309880"/>
                  </a:lnTo>
                  <a:cubicBezTo>
                    <a:pt x="330758" y="213191"/>
                    <a:pt x="309582" y="347"/>
                    <a:pt x="309582" y="347"/>
                  </a:cubicBezTo>
                  <a:lnTo>
                    <a:pt x="309533" y="347"/>
                  </a:lnTo>
                  <a:cubicBezTo>
                    <a:pt x="309533" y="347"/>
                    <a:pt x="96689" y="-20878"/>
                    <a:pt x="0" y="268456"/>
                  </a:cubicBezTo>
                  <a:lnTo>
                    <a:pt x="41767" y="268016"/>
                  </a:lnTo>
                  <a:lnTo>
                    <a:pt x="41864" y="268114"/>
                  </a:ln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12" name="Forma livre: Forma 311">
              <a:extLst>
                <a:ext uri="{FF2B5EF4-FFF2-40B4-BE49-F238E27FC236}">
                  <a16:creationId xmlns:a16="http://schemas.microsoft.com/office/drawing/2014/main" id="{43140F47-8CCF-C156-4928-4AA64FF927B9}"/>
                </a:ext>
              </a:extLst>
            </p:cNvPr>
            <p:cNvSpPr/>
            <p:nvPr/>
          </p:nvSpPr>
          <p:spPr>
            <a:xfrm>
              <a:off x="2672246" y="2056942"/>
              <a:ext cx="204284" cy="90768"/>
            </a:xfrm>
            <a:custGeom>
              <a:avLst/>
              <a:gdLst>
                <a:gd name="connsiteX0" fmla="*/ 0 w 204284"/>
                <a:gd name="connsiteY0" fmla="*/ 87439 h 90768"/>
                <a:gd name="connsiteX1" fmla="*/ 78936 w 204284"/>
                <a:gd name="connsiteY1" fmla="*/ 87292 h 90768"/>
                <a:gd name="connsiteX2" fmla="*/ 143298 w 204284"/>
                <a:gd name="connsiteY2" fmla="*/ 39021 h 90768"/>
                <a:gd name="connsiteX3" fmla="*/ 107106 w 204284"/>
                <a:gd name="connsiteY3" fmla="*/ 4835 h 90768"/>
                <a:gd name="connsiteX4" fmla="*/ 204285 w 204284"/>
                <a:gd name="connsiteY4" fmla="*/ 52030 h 907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04284" h="90768">
                  <a:moveTo>
                    <a:pt x="0" y="87439"/>
                  </a:moveTo>
                  <a:cubicBezTo>
                    <a:pt x="15552" y="90471"/>
                    <a:pt x="42353" y="93161"/>
                    <a:pt x="78936" y="87292"/>
                  </a:cubicBezTo>
                  <a:cubicBezTo>
                    <a:pt x="160366" y="74234"/>
                    <a:pt x="143298" y="39021"/>
                    <a:pt x="143298" y="39021"/>
                  </a:cubicBezTo>
                  <a:cubicBezTo>
                    <a:pt x="139287" y="20925"/>
                    <a:pt x="107106" y="4835"/>
                    <a:pt x="107106" y="4835"/>
                  </a:cubicBezTo>
                  <a:cubicBezTo>
                    <a:pt x="107106" y="4835"/>
                    <a:pt x="182961" y="-22308"/>
                    <a:pt x="204285" y="52030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313" name="Gráfico 4">
            <a:extLst>
              <a:ext uri="{FF2B5EF4-FFF2-40B4-BE49-F238E27FC236}">
                <a16:creationId xmlns:a16="http://schemas.microsoft.com/office/drawing/2014/main" id="{19C67C85-69F2-C699-A1C5-CBC58D6AE7BF}"/>
              </a:ext>
            </a:extLst>
          </p:cNvPr>
          <p:cNvGrpSpPr/>
          <p:nvPr/>
        </p:nvGrpSpPr>
        <p:grpSpPr>
          <a:xfrm>
            <a:off x="3283144" y="1981599"/>
            <a:ext cx="218956" cy="319187"/>
            <a:chOff x="3283144" y="1981599"/>
            <a:chExt cx="218956" cy="319187"/>
          </a:xfrm>
        </p:grpSpPr>
        <p:sp>
          <p:nvSpPr>
            <p:cNvPr id="314" name="Forma livre: Forma 313">
              <a:extLst>
                <a:ext uri="{FF2B5EF4-FFF2-40B4-BE49-F238E27FC236}">
                  <a16:creationId xmlns:a16="http://schemas.microsoft.com/office/drawing/2014/main" id="{337A726E-6B87-5791-0CE1-37E796F872B3}"/>
                </a:ext>
              </a:extLst>
            </p:cNvPr>
            <p:cNvSpPr/>
            <p:nvPr/>
          </p:nvSpPr>
          <p:spPr>
            <a:xfrm>
              <a:off x="3283144" y="1981599"/>
              <a:ext cx="218956" cy="319187"/>
            </a:xfrm>
            <a:custGeom>
              <a:avLst/>
              <a:gdLst>
                <a:gd name="connsiteX0" fmla="*/ 168240 w 218956"/>
                <a:gd name="connsiteY0" fmla="*/ 29853 h 319187"/>
                <a:gd name="connsiteX1" fmla="*/ 168240 w 218956"/>
                <a:gd name="connsiteY1" fmla="*/ 14741 h 319187"/>
                <a:gd name="connsiteX2" fmla="*/ 150927 w 218956"/>
                <a:gd name="connsiteY2" fmla="*/ 655 h 319187"/>
                <a:gd name="connsiteX3" fmla="*/ 0 w 218956"/>
                <a:gd name="connsiteY3" fmla="*/ 52301 h 319187"/>
                <a:gd name="connsiteX4" fmla="*/ 0 w 218956"/>
                <a:gd name="connsiteY4" fmla="*/ 319187 h 319187"/>
                <a:gd name="connsiteX5" fmla="*/ 204285 w 218956"/>
                <a:gd name="connsiteY5" fmla="*/ 319187 h 319187"/>
                <a:gd name="connsiteX6" fmla="*/ 218957 w 218956"/>
                <a:gd name="connsiteY6" fmla="*/ 304515 h 319187"/>
                <a:gd name="connsiteX7" fmla="*/ 218957 w 218956"/>
                <a:gd name="connsiteY7" fmla="*/ 66973 h 319187"/>
                <a:gd name="connsiteX8" fmla="*/ 204285 w 218956"/>
                <a:gd name="connsiteY8" fmla="*/ 52301 h 319187"/>
                <a:gd name="connsiteX9" fmla="*/ 342 w 218956"/>
                <a:gd name="connsiteY9" fmla="*/ 52301 h 3191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18956" h="319187">
                  <a:moveTo>
                    <a:pt x="168240" y="29853"/>
                  </a:moveTo>
                  <a:lnTo>
                    <a:pt x="168240" y="14741"/>
                  </a:lnTo>
                  <a:cubicBezTo>
                    <a:pt x="168240" y="3981"/>
                    <a:pt x="159877" y="-2083"/>
                    <a:pt x="150927" y="655"/>
                  </a:cubicBezTo>
                  <a:lnTo>
                    <a:pt x="0" y="52301"/>
                  </a:lnTo>
                  <a:lnTo>
                    <a:pt x="0" y="319187"/>
                  </a:lnTo>
                  <a:lnTo>
                    <a:pt x="204285" y="319187"/>
                  </a:lnTo>
                  <a:cubicBezTo>
                    <a:pt x="212354" y="319187"/>
                    <a:pt x="218957" y="312585"/>
                    <a:pt x="218957" y="304515"/>
                  </a:cubicBezTo>
                  <a:lnTo>
                    <a:pt x="218957" y="66973"/>
                  </a:lnTo>
                  <a:cubicBezTo>
                    <a:pt x="218957" y="58904"/>
                    <a:pt x="212354" y="52301"/>
                    <a:pt x="204285" y="52301"/>
                  </a:cubicBezTo>
                  <a:lnTo>
                    <a:pt x="342" y="52301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315" name="Gráfico 4">
              <a:extLst>
                <a:ext uri="{FF2B5EF4-FFF2-40B4-BE49-F238E27FC236}">
                  <a16:creationId xmlns:a16="http://schemas.microsoft.com/office/drawing/2014/main" id="{80F8849A-17C6-4C0F-9182-732888491245}"/>
                </a:ext>
              </a:extLst>
            </p:cNvPr>
            <p:cNvGrpSpPr/>
            <p:nvPr/>
          </p:nvGrpSpPr>
          <p:grpSpPr>
            <a:xfrm>
              <a:off x="3310483" y="2085155"/>
              <a:ext cx="164229" cy="164229"/>
              <a:chOff x="3310483" y="2085155"/>
              <a:chExt cx="164229" cy="164229"/>
            </a:xfrm>
          </p:grpSpPr>
          <p:sp>
            <p:nvSpPr>
              <p:cNvPr id="316" name="Forma livre: Forma 315">
                <a:extLst>
                  <a:ext uri="{FF2B5EF4-FFF2-40B4-BE49-F238E27FC236}">
                    <a16:creationId xmlns:a16="http://schemas.microsoft.com/office/drawing/2014/main" id="{90F874D5-B815-7D67-D676-D74599B87335}"/>
                  </a:ext>
                </a:extLst>
              </p:cNvPr>
              <p:cNvSpPr/>
              <p:nvPr/>
            </p:nvSpPr>
            <p:spPr>
              <a:xfrm>
                <a:off x="3392598" y="2089410"/>
                <a:ext cx="4890" cy="154155"/>
              </a:xfrm>
              <a:custGeom>
                <a:avLst/>
                <a:gdLst>
                  <a:gd name="connsiteX0" fmla="*/ 0 w 4890"/>
                  <a:gd name="connsiteY0" fmla="*/ 154155 h 154155"/>
                  <a:gd name="connsiteX1" fmla="*/ 0 w 4890"/>
                  <a:gd name="connsiteY1" fmla="*/ 0 h 1541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890" h="154155">
                    <a:moveTo>
                      <a:pt x="0" y="154155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17" name="Forma livre: Forma 316">
                <a:extLst>
                  <a:ext uri="{FF2B5EF4-FFF2-40B4-BE49-F238E27FC236}">
                    <a16:creationId xmlns:a16="http://schemas.microsoft.com/office/drawing/2014/main" id="{5AE21C2E-EFAE-CB88-13A8-C0B88A00470A}"/>
                  </a:ext>
                </a:extLst>
              </p:cNvPr>
              <p:cNvSpPr/>
              <p:nvPr/>
            </p:nvSpPr>
            <p:spPr>
              <a:xfrm>
                <a:off x="3315521" y="2167319"/>
                <a:ext cx="154154" cy="4890"/>
              </a:xfrm>
              <a:custGeom>
                <a:avLst/>
                <a:gdLst>
                  <a:gd name="connsiteX0" fmla="*/ 154155 w 154154"/>
                  <a:gd name="connsiteY0" fmla="*/ 0 h 4890"/>
                  <a:gd name="connsiteX1" fmla="*/ 0 w 154154"/>
                  <a:gd name="connsiteY1" fmla="*/ 0 h 48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54154" h="4890">
                    <a:moveTo>
                      <a:pt x="154155" y="0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318" name="Gráfico 4">
                <a:extLst>
                  <a:ext uri="{FF2B5EF4-FFF2-40B4-BE49-F238E27FC236}">
                    <a16:creationId xmlns:a16="http://schemas.microsoft.com/office/drawing/2014/main" id="{A1EA59D6-A5ED-1B2F-E17A-4ABE8DDABF86}"/>
                  </a:ext>
                </a:extLst>
              </p:cNvPr>
              <p:cNvGrpSpPr/>
              <p:nvPr/>
            </p:nvGrpSpPr>
            <p:grpSpPr>
              <a:xfrm>
                <a:off x="3353641" y="2092491"/>
                <a:ext cx="77914" cy="148432"/>
                <a:chOff x="3353641" y="2092491"/>
                <a:chExt cx="77914" cy="148432"/>
              </a:xfrm>
              <a:noFill/>
            </p:grpSpPr>
            <p:sp>
              <p:nvSpPr>
                <p:cNvPr id="319" name="Forma livre: Forma 318">
                  <a:extLst>
                    <a:ext uri="{FF2B5EF4-FFF2-40B4-BE49-F238E27FC236}">
                      <a16:creationId xmlns:a16="http://schemas.microsoft.com/office/drawing/2014/main" id="{D69C053B-1C62-38C7-FF58-3C321B1BEC5F}"/>
                    </a:ext>
                  </a:extLst>
                </p:cNvPr>
                <p:cNvSpPr/>
                <p:nvPr/>
              </p:nvSpPr>
              <p:spPr>
                <a:xfrm>
                  <a:off x="3353641" y="2092491"/>
                  <a:ext cx="32843" cy="148432"/>
                </a:xfrm>
                <a:custGeom>
                  <a:avLst/>
                  <a:gdLst>
                    <a:gd name="connsiteX0" fmla="*/ 32844 w 32843"/>
                    <a:gd name="connsiteY0" fmla="*/ 0 h 148432"/>
                    <a:gd name="connsiteX1" fmla="*/ 32844 w 32843"/>
                    <a:gd name="connsiteY1" fmla="*/ 148433 h 14843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32843" h="148432">
                      <a:moveTo>
                        <a:pt x="32844" y="0"/>
                      </a:moveTo>
                      <a:cubicBezTo>
                        <a:pt x="32844" y="0"/>
                        <a:pt x="-41055" y="64117"/>
                        <a:pt x="32844" y="148433"/>
                      </a:cubicBez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320" name="Forma livre: Forma 319">
                  <a:extLst>
                    <a:ext uri="{FF2B5EF4-FFF2-40B4-BE49-F238E27FC236}">
                      <a16:creationId xmlns:a16="http://schemas.microsoft.com/office/drawing/2014/main" id="{F1992E58-0A40-1EA1-3C25-1FF568636DB2}"/>
                    </a:ext>
                  </a:extLst>
                </p:cNvPr>
                <p:cNvSpPr/>
                <p:nvPr/>
              </p:nvSpPr>
              <p:spPr>
                <a:xfrm>
                  <a:off x="3398711" y="2092491"/>
                  <a:ext cx="32843" cy="148432"/>
                </a:xfrm>
                <a:custGeom>
                  <a:avLst/>
                  <a:gdLst>
                    <a:gd name="connsiteX0" fmla="*/ 0 w 32843"/>
                    <a:gd name="connsiteY0" fmla="*/ 0 h 148432"/>
                    <a:gd name="connsiteX1" fmla="*/ 0 w 32843"/>
                    <a:gd name="connsiteY1" fmla="*/ 148433 h 14843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32843" h="148432">
                      <a:moveTo>
                        <a:pt x="0" y="0"/>
                      </a:moveTo>
                      <a:cubicBezTo>
                        <a:pt x="0" y="0"/>
                        <a:pt x="73898" y="64117"/>
                        <a:pt x="0" y="148433"/>
                      </a:cubicBez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321" name="Forma livre: Forma 320">
                <a:extLst>
                  <a:ext uri="{FF2B5EF4-FFF2-40B4-BE49-F238E27FC236}">
                    <a16:creationId xmlns:a16="http://schemas.microsoft.com/office/drawing/2014/main" id="{7917FAC5-F3D4-1760-890F-E21F9B205CC8}"/>
                  </a:ext>
                </a:extLst>
              </p:cNvPr>
              <p:cNvSpPr/>
              <p:nvPr/>
            </p:nvSpPr>
            <p:spPr>
              <a:xfrm>
                <a:off x="3310483" y="2085155"/>
                <a:ext cx="164229" cy="164229"/>
              </a:xfrm>
              <a:custGeom>
                <a:avLst/>
                <a:gdLst>
                  <a:gd name="connsiteX0" fmla="*/ 82115 w 164229"/>
                  <a:gd name="connsiteY0" fmla="*/ 12227 h 164229"/>
                  <a:gd name="connsiteX1" fmla="*/ 152003 w 164229"/>
                  <a:gd name="connsiteY1" fmla="*/ 82115 h 164229"/>
                  <a:gd name="connsiteX2" fmla="*/ 82115 w 164229"/>
                  <a:gd name="connsiteY2" fmla="*/ 152003 h 164229"/>
                  <a:gd name="connsiteX3" fmla="*/ 12227 w 164229"/>
                  <a:gd name="connsiteY3" fmla="*/ 82115 h 164229"/>
                  <a:gd name="connsiteX4" fmla="*/ 82115 w 164229"/>
                  <a:gd name="connsiteY4" fmla="*/ 12227 h 164229"/>
                  <a:gd name="connsiteX5" fmla="*/ 82115 w 164229"/>
                  <a:gd name="connsiteY5" fmla="*/ 0 h 164229"/>
                  <a:gd name="connsiteX6" fmla="*/ 0 w 164229"/>
                  <a:gd name="connsiteY6" fmla="*/ 82115 h 164229"/>
                  <a:gd name="connsiteX7" fmla="*/ 82115 w 164229"/>
                  <a:gd name="connsiteY7" fmla="*/ 164230 h 164229"/>
                  <a:gd name="connsiteX8" fmla="*/ 164230 w 164229"/>
                  <a:gd name="connsiteY8" fmla="*/ 82115 h 164229"/>
                  <a:gd name="connsiteX9" fmla="*/ 82115 w 164229"/>
                  <a:gd name="connsiteY9" fmla="*/ 0 h 164229"/>
                  <a:gd name="connsiteX10" fmla="*/ 82115 w 164229"/>
                  <a:gd name="connsiteY10" fmla="*/ 0 h 1642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164229" h="164229">
                    <a:moveTo>
                      <a:pt x="82115" y="12227"/>
                    </a:moveTo>
                    <a:cubicBezTo>
                      <a:pt x="120654" y="12227"/>
                      <a:pt x="152003" y="43576"/>
                      <a:pt x="152003" y="82115"/>
                    </a:cubicBezTo>
                    <a:cubicBezTo>
                      <a:pt x="152003" y="120654"/>
                      <a:pt x="120654" y="152003"/>
                      <a:pt x="82115" y="152003"/>
                    </a:cubicBezTo>
                    <a:cubicBezTo>
                      <a:pt x="43576" y="152003"/>
                      <a:pt x="12227" y="120654"/>
                      <a:pt x="12227" y="82115"/>
                    </a:cubicBezTo>
                    <a:cubicBezTo>
                      <a:pt x="12227" y="43576"/>
                      <a:pt x="43576" y="12227"/>
                      <a:pt x="82115" y="12227"/>
                    </a:cubicBezTo>
                    <a:moveTo>
                      <a:pt x="82115" y="0"/>
                    </a:moveTo>
                    <a:cubicBezTo>
                      <a:pt x="36729" y="0"/>
                      <a:pt x="0" y="36778"/>
                      <a:pt x="0" y="82115"/>
                    </a:cubicBezTo>
                    <a:cubicBezTo>
                      <a:pt x="0" y="127452"/>
                      <a:pt x="36778" y="164230"/>
                      <a:pt x="82115" y="164230"/>
                    </a:cubicBezTo>
                    <a:cubicBezTo>
                      <a:pt x="127452" y="164230"/>
                      <a:pt x="164230" y="127452"/>
                      <a:pt x="164230" y="82115"/>
                    </a:cubicBezTo>
                    <a:cubicBezTo>
                      <a:pt x="164230" y="36778"/>
                      <a:pt x="127452" y="0"/>
                      <a:pt x="82115" y="0"/>
                    </a:cubicBezTo>
                    <a:lnTo>
                      <a:pt x="82115" y="0"/>
                    </a:ln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322" name="Gráfico 4">
            <a:extLst>
              <a:ext uri="{FF2B5EF4-FFF2-40B4-BE49-F238E27FC236}">
                <a16:creationId xmlns:a16="http://schemas.microsoft.com/office/drawing/2014/main" id="{0B765F03-0597-0177-349D-F9C6EF035C7E}"/>
              </a:ext>
            </a:extLst>
          </p:cNvPr>
          <p:cNvGrpSpPr/>
          <p:nvPr/>
        </p:nvGrpSpPr>
        <p:grpSpPr>
          <a:xfrm>
            <a:off x="3875653" y="2016930"/>
            <a:ext cx="316428" cy="242035"/>
            <a:chOff x="3875653" y="2016930"/>
            <a:chExt cx="316428" cy="242035"/>
          </a:xfrm>
          <a:noFill/>
        </p:grpSpPr>
        <p:sp>
          <p:nvSpPr>
            <p:cNvPr id="323" name="Forma livre: Forma 322">
              <a:extLst>
                <a:ext uri="{FF2B5EF4-FFF2-40B4-BE49-F238E27FC236}">
                  <a16:creationId xmlns:a16="http://schemas.microsoft.com/office/drawing/2014/main" id="{0A380AC7-8303-03BF-5C9A-478F56467F9F}"/>
                </a:ext>
              </a:extLst>
            </p:cNvPr>
            <p:cNvSpPr/>
            <p:nvPr/>
          </p:nvSpPr>
          <p:spPr>
            <a:xfrm>
              <a:off x="3875653" y="2183996"/>
              <a:ext cx="316428" cy="14911"/>
            </a:xfrm>
            <a:custGeom>
              <a:avLst/>
              <a:gdLst>
                <a:gd name="connsiteX0" fmla="*/ 316429 w 316428"/>
                <a:gd name="connsiteY0" fmla="*/ 0 h 14911"/>
                <a:gd name="connsiteX1" fmla="*/ 237688 w 316428"/>
                <a:gd name="connsiteY1" fmla="*/ 0 h 14911"/>
                <a:gd name="connsiteX2" fmla="*/ 237199 w 316428"/>
                <a:gd name="connsiteY2" fmla="*/ 0 h 14911"/>
                <a:gd name="connsiteX3" fmla="*/ 158459 w 316428"/>
                <a:gd name="connsiteY3" fmla="*/ 0 h 14911"/>
                <a:gd name="connsiteX4" fmla="*/ 157970 w 316428"/>
                <a:gd name="connsiteY4" fmla="*/ 0 h 14911"/>
                <a:gd name="connsiteX5" fmla="*/ 79229 w 316428"/>
                <a:gd name="connsiteY5" fmla="*/ 0 h 14911"/>
                <a:gd name="connsiteX6" fmla="*/ 78740 w 316428"/>
                <a:gd name="connsiteY6" fmla="*/ 0 h 14911"/>
                <a:gd name="connsiteX7" fmla="*/ 0 w 316428"/>
                <a:gd name="connsiteY7" fmla="*/ 0 h 149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16428" h="14911">
                  <a:moveTo>
                    <a:pt x="316429" y="0"/>
                  </a:moveTo>
                  <a:cubicBezTo>
                    <a:pt x="270798" y="33550"/>
                    <a:pt x="237688" y="0"/>
                    <a:pt x="237688" y="0"/>
                  </a:cubicBezTo>
                  <a:lnTo>
                    <a:pt x="237199" y="0"/>
                  </a:lnTo>
                  <a:cubicBezTo>
                    <a:pt x="191569" y="33550"/>
                    <a:pt x="158459" y="0"/>
                    <a:pt x="158459" y="0"/>
                  </a:cubicBezTo>
                  <a:lnTo>
                    <a:pt x="157970" y="0"/>
                  </a:lnTo>
                  <a:cubicBezTo>
                    <a:pt x="112291" y="33550"/>
                    <a:pt x="79229" y="0"/>
                    <a:pt x="79229" y="0"/>
                  </a:cubicBezTo>
                  <a:lnTo>
                    <a:pt x="78740" y="0"/>
                  </a:lnTo>
                  <a:cubicBezTo>
                    <a:pt x="33110" y="33550"/>
                    <a:pt x="0" y="0"/>
                    <a:pt x="0" y="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24" name="Forma livre: Forma 323">
              <a:extLst>
                <a:ext uri="{FF2B5EF4-FFF2-40B4-BE49-F238E27FC236}">
                  <a16:creationId xmlns:a16="http://schemas.microsoft.com/office/drawing/2014/main" id="{71CE5E08-9776-733C-A4AF-1D222358D6DC}"/>
                </a:ext>
              </a:extLst>
            </p:cNvPr>
            <p:cNvSpPr/>
            <p:nvPr/>
          </p:nvSpPr>
          <p:spPr>
            <a:xfrm>
              <a:off x="3875653" y="2073955"/>
              <a:ext cx="316428" cy="14911"/>
            </a:xfrm>
            <a:custGeom>
              <a:avLst/>
              <a:gdLst>
                <a:gd name="connsiteX0" fmla="*/ 316429 w 316428"/>
                <a:gd name="connsiteY0" fmla="*/ 0 h 14911"/>
                <a:gd name="connsiteX1" fmla="*/ 237688 w 316428"/>
                <a:gd name="connsiteY1" fmla="*/ 0 h 14911"/>
                <a:gd name="connsiteX2" fmla="*/ 237199 w 316428"/>
                <a:gd name="connsiteY2" fmla="*/ 0 h 14911"/>
                <a:gd name="connsiteX3" fmla="*/ 158459 w 316428"/>
                <a:gd name="connsiteY3" fmla="*/ 0 h 14911"/>
                <a:gd name="connsiteX4" fmla="*/ 157970 w 316428"/>
                <a:gd name="connsiteY4" fmla="*/ 0 h 14911"/>
                <a:gd name="connsiteX5" fmla="*/ 79229 w 316428"/>
                <a:gd name="connsiteY5" fmla="*/ 0 h 14911"/>
                <a:gd name="connsiteX6" fmla="*/ 78740 w 316428"/>
                <a:gd name="connsiteY6" fmla="*/ 0 h 14911"/>
                <a:gd name="connsiteX7" fmla="*/ 0 w 316428"/>
                <a:gd name="connsiteY7" fmla="*/ 0 h 149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16428" h="14911">
                  <a:moveTo>
                    <a:pt x="316429" y="0"/>
                  </a:moveTo>
                  <a:cubicBezTo>
                    <a:pt x="270798" y="33550"/>
                    <a:pt x="237688" y="0"/>
                    <a:pt x="237688" y="0"/>
                  </a:cubicBezTo>
                  <a:lnTo>
                    <a:pt x="237199" y="0"/>
                  </a:lnTo>
                  <a:cubicBezTo>
                    <a:pt x="191569" y="33550"/>
                    <a:pt x="158459" y="0"/>
                    <a:pt x="158459" y="0"/>
                  </a:cubicBezTo>
                  <a:lnTo>
                    <a:pt x="157970" y="0"/>
                  </a:lnTo>
                  <a:cubicBezTo>
                    <a:pt x="112291" y="33550"/>
                    <a:pt x="79229" y="0"/>
                    <a:pt x="79229" y="0"/>
                  </a:cubicBezTo>
                  <a:lnTo>
                    <a:pt x="78740" y="0"/>
                  </a:lnTo>
                  <a:cubicBezTo>
                    <a:pt x="33110" y="33550"/>
                    <a:pt x="0" y="0"/>
                    <a:pt x="0" y="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25" name="Forma livre: Forma 324">
              <a:extLst>
                <a:ext uri="{FF2B5EF4-FFF2-40B4-BE49-F238E27FC236}">
                  <a16:creationId xmlns:a16="http://schemas.microsoft.com/office/drawing/2014/main" id="{AD62B801-54FF-7448-E08B-CBD78F77AF5A}"/>
                </a:ext>
              </a:extLst>
            </p:cNvPr>
            <p:cNvSpPr/>
            <p:nvPr/>
          </p:nvSpPr>
          <p:spPr>
            <a:xfrm>
              <a:off x="3915365" y="2127753"/>
              <a:ext cx="237150" cy="14911"/>
            </a:xfrm>
            <a:custGeom>
              <a:avLst/>
              <a:gdLst>
                <a:gd name="connsiteX0" fmla="*/ 0 w 237150"/>
                <a:gd name="connsiteY0" fmla="*/ 0 h 14911"/>
                <a:gd name="connsiteX1" fmla="*/ 78740 w 237150"/>
                <a:gd name="connsiteY1" fmla="*/ 0 h 14911"/>
                <a:gd name="connsiteX2" fmla="*/ 79229 w 237150"/>
                <a:gd name="connsiteY2" fmla="*/ 0 h 14911"/>
                <a:gd name="connsiteX3" fmla="*/ 157970 w 237150"/>
                <a:gd name="connsiteY3" fmla="*/ 0 h 14911"/>
                <a:gd name="connsiteX4" fmla="*/ 158459 w 237150"/>
                <a:gd name="connsiteY4" fmla="*/ 0 h 14911"/>
                <a:gd name="connsiteX5" fmla="*/ 237150 w 237150"/>
                <a:gd name="connsiteY5" fmla="*/ 0 h 149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37150" h="14911">
                  <a:moveTo>
                    <a:pt x="0" y="0"/>
                  </a:moveTo>
                  <a:cubicBezTo>
                    <a:pt x="0" y="0"/>
                    <a:pt x="33061" y="33550"/>
                    <a:pt x="78740" y="0"/>
                  </a:cubicBezTo>
                  <a:lnTo>
                    <a:pt x="79229" y="0"/>
                  </a:lnTo>
                  <a:cubicBezTo>
                    <a:pt x="79229" y="0"/>
                    <a:pt x="112291" y="33550"/>
                    <a:pt x="157970" y="0"/>
                  </a:cubicBezTo>
                  <a:lnTo>
                    <a:pt x="158459" y="0"/>
                  </a:lnTo>
                  <a:cubicBezTo>
                    <a:pt x="158459" y="0"/>
                    <a:pt x="191520" y="33550"/>
                    <a:pt x="237150" y="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26" name="Forma livre: Forma 325">
              <a:extLst>
                <a:ext uri="{FF2B5EF4-FFF2-40B4-BE49-F238E27FC236}">
                  <a16:creationId xmlns:a16="http://schemas.microsoft.com/office/drawing/2014/main" id="{F4F3C1B0-4F14-4CD0-B3D9-D05C59B68B66}"/>
                </a:ext>
              </a:extLst>
            </p:cNvPr>
            <p:cNvSpPr/>
            <p:nvPr/>
          </p:nvSpPr>
          <p:spPr>
            <a:xfrm>
              <a:off x="3915365" y="2016930"/>
              <a:ext cx="237150" cy="14911"/>
            </a:xfrm>
            <a:custGeom>
              <a:avLst/>
              <a:gdLst>
                <a:gd name="connsiteX0" fmla="*/ 0 w 237150"/>
                <a:gd name="connsiteY0" fmla="*/ 0 h 14911"/>
                <a:gd name="connsiteX1" fmla="*/ 78740 w 237150"/>
                <a:gd name="connsiteY1" fmla="*/ 0 h 14911"/>
                <a:gd name="connsiteX2" fmla="*/ 79229 w 237150"/>
                <a:gd name="connsiteY2" fmla="*/ 0 h 14911"/>
                <a:gd name="connsiteX3" fmla="*/ 157970 w 237150"/>
                <a:gd name="connsiteY3" fmla="*/ 0 h 14911"/>
                <a:gd name="connsiteX4" fmla="*/ 158459 w 237150"/>
                <a:gd name="connsiteY4" fmla="*/ 0 h 14911"/>
                <a:gd name="connsiteX5" fmla="*/ 237150 w 237150"/>
                <a:gd name="connsiteY5" fmla="*/ 0 h 149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37150" h="14911">
                  <a:moveTo>
                    <a:pt x="0" y="0"/>
                  </a:moveTo>
                  <a:cubicBezTo>
                    <a:pt x="0" y="0"/>
                    <a:pt x="33061" y="33550"/>
                    <a:pt x="78740" y="0"/>
                  </a:cubicBezTo>
                  <a:lnTo>
                    <a:pt x="79229" y="0"/>
                  </a:lnTo>
                  <a:cubicBezTo>
                    <a:pt x="79229" y="0"/>
                    <a:pt x="112291" y="33550"/>
                    <a:pt x="157970" y="0"/>
                  </a:cubicBezTo>
                  <a:lnTo>
                    <a:pt x="158459" y="0"/>
                  </a:lnTo>
                  <a:cubicBezTo>
                    <a:pt x="158459" y="0"/>
                    <a:pt x="191520" y="33550"/>
                    <a:pt x="237150" y="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27" name="Forma livre: Forma 326">
              <a:extLst>
                <a:ext uri="{FF2B5EF4-FFF2-40B4-BE49-F238E27FC236}">
                  <a16:creationId xmlns:a16="http://schemas.microsoft.com/office/drawing/2014/main" id="{AC02B157-9ECF-7AAA-5F69-77C17A179DD9}"/>
                </a:ext>
              </a:extLst>
            </p:cNvPr>
            <p:cNvSpPr/>
            <p:nvPr/>
          </p:nvSpPr>
          <p:spPr>
            <a:xfrm>
              <a:off x="3915365" y="2244054"/>
              <a:ext cx="237150" cy="14911"/>
            </a:xfrm>
            <a:custGeom>
              <a:avLst/>
              <a:gdLst>
                <a:gd name="connsiteX0" fmla="*/ 0 w 237150"/>
                <a:gd name="connsiteY0" fmla="*/ 0 h 14911"/>
                <a:gd name="connsiteX1" fmla="*/ 78740 w 237150"/>
                <a:gd name="connsiteY1" fmla="*/ 0 h 14911"/>
                <a:gd name="connsiteX2" fmla="*/ 79229 w 237150"/>
                <a:gd name="connsiteY2" fmla="*/ 0 h 14911"/>
                <a:gd name="connsiteX3" fmla="*/ 157970 w 237150"/>
                <a:gd name="connsiteY3" fmla="*/ 0 h 14911"/>
                <a:gd name="connsiteX4" fmla="*/ 158459 w 237150"/>
                <a:gd name="connsiteY4" fmla="*/ 0 h 14911"/>
                <a:gd name="connsiteX5" fmla="*/ 237150 w 237150"/>
                <a:gd name="connsiteY5" fmla="*/ 0 h 149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37150" h="14911">
                  <a:moveTo>
                    <a:pt x="0" y="0"/>
                  </a:moveTo>
                  <a:cubicBezTo>
                    <a:pt x="0" y="0"/>
                    <a:pt x="33061" y="33550"/>
                    <a:pt x="78740" y="0"/>
                  </a:cubicBezTo>
                  <a:lnTo>
                    <a:pt x="79229" y="0"/>
                  </a:lnTo>
                  <a:cubicBezTo>
                    <a:pt x="79229" y="0"/>
                    <a:pt x="112291" y="33550"/>
                    <a:pt x="157970" y="0"/>
                  </a:cubicBezTo>
                  <a:lnTo>
                    <a:pt x="158459" y="0"/>
                  </a:lnTo>
                  <a:cubicBezTo>
                    <a:pt x="158459" y="0"/>
                    <a:pt x="191520" y="33550"/>
                    <a:pt x="237150" y="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328" name="Gráfico 4">
            <a:extLst>
              <a:ext uri="{FF2B5EF4-FFF2-40B4-BE49-F238E27FC236}">
                <a16:creationId xmlns:a16="http://schemas.microsoft.com/office/drawing/2014/main" id="{77FD5B0F-0193-82DC-FD1C-2992E69ACE1F}"/>
              </a:ext>
            </a:extLst>
          </p:cNvPr>
          <p:cNvGrpSpPr/>
          <p:nvPr/>
        </p:nvGrpSpPr>
        <p:grpSpPr>
          <a:xfrm>
            <a:off x="2576731" y="3068040"/>
            <a:ext cx="349049" cy="349489"/>
            <a:chOff x="2576731" y="3068040"/>
            <a:chExt cx="349049" cy="349489"/>
          </a:xfrm>
          <a:noFill/>
        </p:grpSpPr>
        <p:sp>
          <p:nvSpPr>
            <p:cNvPr id="329" name="Forma livre: Forma 328">
              <a:extLst>
                <a:ext uri="{FF2B5EF4-FFF2-40B4-BE49-F238E27FC236}">
                  <a16:creationId xmlns:a16="http://schemas.microsoft.com/office/drawing/2014/main" id="{335DFDE4-1E59-0FAD-CE03-6DE0C36A56CB}"/>
                </a:ext>
              </a:extLst>
            </p:cNvPr>
            <p:cNvSpPr/>
            <p:nvPr/>
          </p:nvSpPr>
          <p:spPr>
            <a:xfrm>
              <a:off x="2746878" y="3199991"/>
              <a:ext cx="4890" cy="33599"/>
            </a:xfrm>
            <a:custGeom>
              <a:avLst/>
              <a:gdLst>
                <a:gd name="connsiteX0" fmla="*/ 0 w 4890"/>
                <a:gd name="connsiteY0" fmla="*/ 0 h 33599"/>
                <a:gd name="connsiteX1" fmla="*/ 0 w 4890"/>
                <a:gd name="connsiteY1" fmla="*/ 33599 h 335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890" h="33599">
                  <a:moveTo>
                    <a:pt x="0" y="0"/>
                  </a:moveTo>
                  <a:lnTo>
                    <a:pt x="0" y="33599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30" name="Forma livre: Forma 329">
              <a:extLst>
                <a:ext uri="{FF2B5EF4-FFF2-40B4-BE49-F238E27FC236}">
                  <a16:creationId xmlns:a16="http://schemas.microsoft.com/office/drawing/2014/main" id="{446266A2-48B9-2797-3071-D93BE7BF2EF8}"/>
                </a:ext>
              </a:extLst>
            </p:cNvPr>
            <p:cNvSpPr/>
            <p:nvPr/>
          </p:nvSpPr>
          <p:spPr>
            <a:xfrm>
              <a:off x="2669018" y="3270075"/>
              <a:ext cx="155768" cy="4890"/>
            </a:xfrm>
            <a:custGeom>
              <a:avLst/>
              <a:gdLst>
                <a:gd name="connsiteX0" fmla="*/ 0 w 155768"/>
                <a:gd name="connsiteY0" fmla="*/ 0 h 4890"/>
                <a:gd name="connsiteX1" fmla="*/ 155769 w 155768"/>
                <a:gd name="connsiteY1" fmla="*/ 0 h 48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5768" h="4890">
                  <a:moveTo>
                    <a:pt x="0" y="0"/>
                  </a:moveTo>
                  <a:lnTo>
                    <a:pt x="155769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31" name="Forma livre: Forma 330">
              <a:extLst>
                <a:ext uri="{FF2B5EF4-FFF2-40B4-BE49-F238E27FC236}">
                  <a16:creationId xmlns:a16="http://schemas.microsoft.com/office/drawing/2014/main" id="{E1F35A59-A94E-BAEE-1E6A-8CF447259B00}"/>
                </a:ext>
              </a:extLst>
            </p:cNvPr>
            <p:cNvSpPr/>
            <p:nvPr/>
          </p:nvSpPr>
          <p:spPr>
            <a:xfrm>
              <a:off x="2694254" y="3092542"/>
              <a:ext cx="105247" cy="79816"/>
            </a:xfrm>
            <a:custGeom>
              <a:avLst/>
              <a:gdLst>
                <a:gd name="connsiteX0" fmla="*/ 0 w 105247"/>
                <a:gd name="connsiteY0" fmla="*/ 79816 h 79816"/>
                <a:gd name="connsiteX1" fmla="*/ 52673 w 105247"/>
                <a:gd name="connsiteY1" fmla="*/ 0 h 79816"/>
                <a:gd name="connsiteX2" fmla="*/ 105248 w 105247"/>
                <a:gd name="connsiteY2" fmla="*/ 79816 h 79816"/>
                <a:gd name="connsiteX3" fmla="*/ 0 w 105247"/>
                <a:gd name="connsiteY3" fmla="*/ 79816 h 798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5247" h="79816">
                  <a:moveTo>
                    <a:pt x="0" y="79816"/>
                  </a:moveTo>
                  <a:lnTo>
                    <a:pt x="52673" y="0"/>
                  </a:lnTo>
                  <a:lnTo>
                    <a:pt x="105248" y="79816"/>
                  </a:lnTo>
                  <a:lnTo>
                    <a:pt x="0" y="79816"/>
                  </a:ln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32" name="Forma livre: Forma 331">
              <a:extLst>
                <a:ext uri="{FF2B5EF4-FFF2-40B4-BE49-F238E27FC236}">
                  <a16:creationId xmlns:a16="http://schemas.microsoft.com/office/drawing/2014/main" id="{C7F8D150-A8B0-9396-0542-CF62E3839A4C}"/>
                </a:ext>
              </a:extLst>
            </p:cNvPr>
            <p:cNvSpPr/>
            <p:nvPr/>
          </p:nvSpPr>
          <p:spPr>
            <a:xfrm>
              <a:off x="2716898" y="3308565"/>
              <a:ext cx="60008" cy="51743"/>
            </a:xfrm>
            <a:custGeom>
              <a:avLst/>
              <a:gdLst>
                <a:gd name="connsiteX0" fmla="*/ 0 w 60008"/>
                <a:gd name="connsiteY0" fmla="*/ 47635 h 51743"/>
                <a:gd name="connsiteX1" fmla="*/ 0 w 60008"/>
                <a:gd name="connsiteY1" fmla="*/ 29295 h 51743"/>
                <a:gd name="connsiteX2" fmla="*/ 29295 w 60008"/>
                <a:gd name="connsiteY2" fmla="*/ 0 h 51743"/>
                <a:gd name="connsiteX3" fmla="*/ 30714 w 60008"/>
                <a:gd name="connsiteY3" fmla="*/ 0 h 51743"/>
                <a:gd name="connsiteX4" fmla="*/ 60009 w 60008"/>
                <a:gd name="connsiteY4" fmla="*/ 29295 h 51743"/>
                <a:gd name="connsiteX5" fmla="*/ 60009 w 60008"/>
                <a:gd name="connsiteY5" fmla="*/ 51744 h 517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0008" h="51743">
                  <a:moveTo>
                    <a:pt x="0" y="47635"/>
                  </a:moveTo>
                  <a:lnTo>
                    <a:pt x="0" y="29295"/>
                  </a:lnTo>
                  <a:cubicBezTo>
                    <a:pt x="0" y="13205"/>
                    <a:pt x="13156" y="0"/>
                    <a:pt x="29295" y="0"/>
                  </a:cubicBezTo>
                  <a:lnTo>
                    <a:pt x="30714" y="0"/>
                  </a:lnTo>
                  <a:cubicBezTo>
                    <a:pt x="46804" y="0"/>
                    <a:pt x="60009" y="13156"/>
                    <a:pt x="60009" y="29295"/>
                  </a:cubicBezTo>
                  <a:lnTo>
                    <a:pt x="60009" y="51744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33" name="Forma livre: Forma 332">
              <a:extLst>
                <a:ext uri="{FF2B5EF4-FFF2-40B4-BE49-F238E27FC236}">
                  <a16:creationId xmlns:a16="http://schemas.microsoft.com/office/drawing/2014/main" id="{3E40B881-B648-44F6-6222-5B0EB53134E4}"/>
                </a:ext>
              </a:extLst>
            </p:cNvPr>
            <p:cNvSpPr/>
            <p:nvPr/>
          </p:nvSpPr>
          <p:spPr>
            <a:xfrm>
              <a:off x="2746878" y="3068040"/>
              <a:ext cx="56829" cy="24600"/>
            </a:xfrm>
            <a:custGeom>
              <a:avLst/>
              <a:gdLst>
                <a:gd name="connsiteX0" fmla="*/ 0 w 56829"/>
                <a:gd name="connsiteY0" fmla="*/ 24600 h 24600"/>
                <a:gd name="connsiteX1" fmla="*/ 0 w 56829"/>
                <a:gd name="connsiteY1" fmla="*/ 0 h 24600"/>
                <a:gd name="connsiteX2" fmla="*/ 29833 w 56829"/>
                <a:gd name="connsiteY2" fmla="*/ 0 h 24600"/>
                <a:gd name="connsiteX3" fmla="*/ 29833 w 56829"/>
                <a:gd name="connsiteY3" fmla="*/ 13694 h 24600"/>
                <a:gd name="connsiteX4" fmla="*/ 56830 w 56829"/>
                <a:gd name="connsiteY4" fmla="*/ 13694 h 24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6829" h="24600">
                  <a:moveTo>
                    <a:pt x="0" y="24600"/>
                  </a:moveTo>
                  <a:lnTo>
                    <a:pt x="0" y="0"/>
                  </a:lnTo>
                  <a:lnTo>
                    <a:pt x="29833" y="0"/>
                  </a:lnTo>
                  <a:lnTo>
                    <a:pt x="29833" y="13694"/>
                  </a:lnTo>
                  <a:lnTo>
                    <a:pt x="56830" y="13694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34" name="Forma livre: Forma 333">
              <a:extLst>
                <a:ext uri="{FF2B5EF4-FFF2-40B4-BE49-F238E27FC236}">
                  <a16:creationId xmlns:a16="http://schemas.microsoft.com/office/drawing/2014/main" id="{5EBF4A9A-D3F5-E1A8-1362-D9587A48DEEA}"/>
                </a:ext>
              </a:extLst>
            </p:cNvPr>
            <p:cNvSpPr/>
            <p:nvPr/>
          </p:nvSpPr>
          <p:spPr>
            <a:xfrm>
              <a:off x="2683250" y="3367355"/>
              <a:ext cx="242530" cy="50174"/>
            </a:xfrm>
            <a:custGeom>
              <a:avLst/>
              <a:gdLst>
                <a:gd name="connsiteX0" fmla="*/ 0 w 242530"/>
                <a:gd name="connsiteY0" fmla="*/ 50174 h 50174"/>
                <a:gd name="connsiteX1" fmla="*/ 242530 w 242530"/>
                <a:gd name="connsiteY1" fmla="*/ 4984 h 50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42530" h="50174">
                  <a:moveTo>
                    <a:pt x="0" y="50174"/>
                  </a:moveTo>
                  <a:cubicBezTo>
                    <a:pt x="0" y="50174"/>
                    <a:pt x="112144" y="-18784"/>
                    <a:pt x="242530" y="4984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35" name="Forma livre: Forma 334">
              <a:extLst>
                <a:ext uri="{FF2B5EF4-FFF2-40B4-BE49-F238E27FC236}">
                  <a16:creationId xmlns:a16="http://schemas.microsoft.com/office/drawing/2014/main" id="{0D4BE14A-ED75-94EC-450C-561DBDEBB3C9}"/>
                </a:ext>
              </a:extLst>
            </p:cNvPr>
            <p:cNvSpPr/>
            <p:nvPr/>
          </p:nvSpPr>
          <p:spPr>
            <a:xfrm>
              <a:off x="2576731" y="3369953"/>
              <a:ext cx="171174" cy="17792"/>
            </a:xfrm>
            <a:custGeom>
              <a:avLst/>
              <a:gdLst>
                <a:gd name="connsiteX0" fmla="*/ 0 w 171174"/>
                <a:gd name="connsiteY0" fmla="*/ 12657 h 17792"/>
                <a:gd name="connsiteX1" fmla="*/ 171175 w 171174"/>
                <a:gd name="connsiteY1" fmla="*/ 17792 h 177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71174" h="17792">
                  <a:moveTo>
                    <a:pt x="0" y="12657"/>
                  </a:moveTo>
                  <a:cubicBezTo>
                    <a:pt x="0" y="12657"/>
                    <a:pt x="93070" y="-18986"/>
                    <a:pt x="171175" y="17792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336" name="Gráfico 4">
              <a:extLst>
                <a:ext uri="{FF2B5EF4-FFF2-40B4-BE49-F238E27FC236}">
                  <a16:creationId xmlns:a16="http://schemas.microsoft.com/office/drawing/2014/main" id="{B82719CA-3253-D36B-481F-09153915DC72}"/>
                </a:ext>
              </a:extLst>
            </p:cNvPr>
            <p:cNvGrpSpPr/>
            <p:nvPr/>
          </p:nvGrpSpPr>
          <p:grpSpPr>
            <a:xfrm>
              <a:off x="2714209" y="3172946"/>
              <a:ext cx="65388" cy="96346"/>
              <a:chOff x="2714209" y="3172946"/>
              <a:chExt cx="65388" cy="96346"/>
            </a:xfrm>
          </p:grpSpPr>
          <p:sp>
            <p:nvSpPr>
              <p:cNvPr id="337" name="Forma livre: Forma 336">
                <a:extLst>
                  <a:ext uri="{FF2B5EF4-FFF2-40B4-BE49-F238E27FC236}">
                    <a16:creationId xmlns:a16="http://schemas.microsoft.com/office/drawing/2014/main" id="{360BB788-2621-DD6B-5157-EE0904CB2692}"/>
                  </a:ext>
                </a:extLst>
              </p:cNvPr>
              <p:cNvSpPr/>
              <p:nvPr/>
            </p:nvSpPr>
            <p:spPr>
              <a:xfrm>
                <a:off x="2714209" y="3172946"/>
                <a:ext cx="4890" cy="96346"/>
              </a:xfrm>
              <a:custGeom>
                <a:avLst/>
                <a:gdLst>
                  <a:gd name="connsiteX0" fmla="*/ 0 w 4890"/>
                  <a:gd name="connsiteY0" fmla="*/ 0 h 96346"/>
                  <a:gd name="connsiteX1" fmla="*/ 0 w 4890"/>
                  <a:gd name="connsiteY1" fmla="*/ 96347 h 96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890" h="96346">
                    <a:moveTo>
                      <a:pt x="0" y="0"/>
                    </a:moveTo>
                    <a:lnTo>
                      <a:pt x="0" y="96347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38" name="Forma livre: Forma 337">
                <a:extLst>
                  <a:ext uri="{FF2B5EF4-FFF2-40B4-BE49-F238E27FC236}">
                    <a16:creationId xmlns:a16="http://schemas.microsoft.com/office/drawing/2014/main" id="{4B02A7C0-3B39-E3C0-3A2F-808ECE6969D8}"/>
                  </a:ext>
                </a:extLst>
              </p:cNvPr>
              <p:cNvSpPr/>
              <p:nvPr/>
            </p:nvSpPr>
            <p:spPr>
              <a:xfrm>
                <a:off x="2779597" y="3172946"/>
                <a:ext cx="4890" cy="96346"/>
              </a:xfrm>
              <a:custGeom>
                <a:avLst/>
                <a:gdLst>
                  <a:gd name="connsiteX0" fmla="*/ 0 w 4890"/>
                  <a:gd name="connsiteY0" fmla="*/ 0 h 96346"/>
                  <a:gd name="connsiteX1" fmla="*/ 0 w 4890"/>
                  <a:gd name="connsiteY1" fmla="*/ 96347 h 96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890" h="96346">
                    <a:moveTo>
                      <a:pt x="0" y="0"/>
                    </a:moveTo>
                    <a:lnTo>
                      <a:pt x="0" y="96347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339" name="Gráfico 4">
              <a:extLst>
                <a:ext uri="{FF2B5EF4-FFF2-40B4-BE49-F238E27FC236}">
                  <a16:creationId xmlns:a16="http://schemas.microsoft.com/office/drawing/2014/main" id="{15983A15-E2E7-AA4A-AE4E-0FD86784132F}"/>
                </a:ext>
              </a:extLst>
            </p:cNvPr>
            <p:cNvGrpSpPr/>
            <p:nvPr/>
          </p:nvGrpSpPr>
          <p:grpSpPr>
            <a:xfrm>
              <a:off x="2614389" y="3179939"/>
              <a:ext cx="265027" cy="173913"/>
              <a:chOff x="2614389" y="3179939"/>
              <a:chExt cx="265027" cy="173913"/>
            </a:xfrm>
          </p:grpSpPr>
          <p:grpSp>
            <p:nvGrpSpPr>
              <p:cNvPr id="340" name="Gráfico 4">
                <a:extLst>
                  <a:ext uri="{FF2B5EF4-FFF2-40B4-BE49-F238E27FC236}">
                    <a16:creationId xmlns:a16="http://schemas.microsoft.com/office/drawing/2014/main" id="{E80192C6-24DA-B31F-BC44-926C15E23208}"/>
                  </a:ext>
                </a:extLst>
              </p:cNvPr>
              <p:cNvGrpSpPr/>
              <p:nvPr/>
            </p:nvGrpSpPr>
            <p:grpSpPr>
              <a:xfrm>
                <a:off x="2614389" y="3179939"/>
                <a:ext cx="54726" cy="173913"/>
                <a:chOff x="2614389" y="3179939"/>
                <a:chExt cx="54726" cy="173913"/>
              </a:xfrm>
            </p:grpSpPr>
            <p:sp>
              <p:nvSpPr>
                <p:cNvPr id="341" name="Forma livre: Forma 340">
                  <a:extLst>
                    <a:ext uri="{FF2B5EF4-FFF2-40B4-BE49-F238E27FC236}">
                      <a16:creationId xmlns:a16="http://schemas.microsoft.com/office/drawing/2014/main" id="{53A823BB-02E8-E386-D8D1-ABBF595040D5}"/>
                    </a:ext>
                  </a:extLst>
                </p:cNvPr>
                <p:cNvSpPr/>
                <p:nvPr/>
              </p:nvSpPr>
              <p:spPr>
                <a:xfrm>
                  <a:off x="2641728" y="3249632"/>
                  <a:ext cx="4890" cy="33599"/>
                </a:xfrm>
                <a:custGeom>
                  <a:avLst/>
                  <a:gdLst>
                    <a:gd name="connsiteX0" fmla="*/ 0 w 4890"/>
                    <a:gd name="connsiteY0" fmla="*/ 0 h 33599"/>
                    <a:gd name="connsiteX1" fmla="*/ 0 w 4890"/>
                    <a:gd name="connsiteY1" fmla="*/ 33599 h 3359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890" h="33599">
                      <a:moveTo>
                        <a:pt x="0" y="0"/>
                      </a:moveTo>
                      <a:lnTo>
                        <a:pt x="0" y="33599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342" name="Forma livre: Forma 341">
                  <a:extLst>
                    <a:ext uri="{FF2B5EF4-FFF2-40B4-BE49-F238E27FC236}">
                      <a16:creationId xmlns:a16="http://schemas.microsoft.com/office/drawing/2014/main" id="{076FBAC9-B0D9-F8BC-3CDC-45AF7CFC0731}"/>
                    </a:ext>
                  </a:extLst>
                </p:cNvPr>
                <p:cNvSpPr/>
                <p:nvPr/>
              </p:nvSpPr>
              <p:spPr>
                <a:xfrm>
                  <a:off x="2641728" y="3179939"/>
                  <a:ext cx="4890" cy="28610"/>
                </a:xfrm>
                <a:custGeom>
                  <a:avLst/>
                  <a:gdLst>
                    <a:gd name="connsiteX0" fmla="*/ 0 w 4890"/>
                    <a:gd name="connsiteY0" fmla="*/ 28611 h 28610"/>
                    <a:gd name="connsiteX1" fmla="*/ 0 w 4890"/>
                    <a:gd name="connsiteY1" fmla="*/ 0 h 2861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890" h="28610">
                      <a:moveTo>
                        <a:pt x="0" y="28611"/>
                      </a:moveTo>
                      <a:lnTo>
                        <a:pt x="0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grpSp>
              <p:nvGrpSpPr>
                <p:cNvPr id="343" name="Gráfico 4">
                  <a:extLst>
                    <a:ext uri="{FF2B5EF4-FFF2-40B4-BE49-F238E27FC236}">
                      <a16:creationId xmlns:a16="http://schemas.microsoft.com/office/drawing/2014/main" id="{3B8AC8D4-DCA9-DB2C-EEA2-8876D99E5730}"/>
                    </a:ext>
                  </a:extLst>
                </p:cNvPr>
                <p:cNvGrpSpPr/>
                <p:nvPr/>
              </p:nvGrpSpPr>
              <p:grpSpPr>
                <a:xfrm>
                  <a:off x="2614389" y="3179939"/>
                  <a:ext cx="54726" cy="173913"/>
                  <a:chOff x="2614389" y="3179939"/>
                  <a:chExt cx="54726" cy="173913"/>
                </a:xfrm>
              </p:grpSpPr>
              <p:sp>
                <p:nvSpPr>
                  <p:cNvPr id="344" name="Forma livre: Forma 343">
                    <a:extLst>
                      <a:ext uri="{FF2B5EF4-FFF2-40B4-BE49-F238E27FC236}">
                        <a16:creationId xmlns:a16="http://schemas.microsoft.com/office/drawing/2014/main" id="{B0C54A54-0B5C-54AD-0DC3-C5F573B6F3F9}"/>
                      </a:ext>
                    </a:extLst>
                  </p:cNvPr>
                  <p:cNvSpPr/>
                  <p:nvPr/>
                </p:nvSpPr>
                <p:spPr>
                  <a:xfrm>
                    <a:off x="2614389" y="3179939"/>
                    <a:ext cx="4890" cy="173913"/>
                  </a:xfrm>
                  <a:custGeom>
                    <a:avLst/>
                    <a:gdLst>
                      <a:gd name="connsiteX0" fmla="*/ 0 w 4890"/>
                      <a:gd name="connsiteY0" fmla="*/ 173914 h 173913"/>
                      <a:gd name="connsiteX1" fmla="*/ 0 w 4890"/>
                      <a:gd name="connsiteY1" fmla="*/ 0 h 17391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4890" h="173913">
                        <a:moveTo>
                          <a:pt x="0" y="173914"/>
                        </a:moveTo>
                        <a:lnTo>
                          <a:pt x="0" y="0"/>
                        </a:lnTo>
                      </a:path>
                    </a:pathLst>
                  </a:custGeom>
                  <a:ln w="6350" cap="flat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345" name="Forma livre: Forma 344">
                    <a:extLst>
                      <a:ext uri="{FF2B5EF4-FFF2-40B4-BE49-F238E27FC236}">
                        <a16:creationId xmlns:a16="http://schemas.microsoft.com/office/drawing/2014/main" id="{680411D7-8FD4-EF1D-1352-4C6001795ABB}"/>
                      </a:ext>
                    </a:extLst>
                  </p:cNvPr>
                  <p:cNvSpPr/>
                  <p:nvPr/>
                </p:nvSpPr>
                <p:spPr>
                  <a:xfrm>
                    <a:off x="2669116" y="3179939"/>
                    <a:ext cx="4890" cy="141390"/>
                  </a:xfrm>
                  <a:custGeom>
                    <a:avLst/>
                    <a:gdLst>
                      <a:gd name="connsiteX0" fmla="*/ 0 w 4890"/>
                      <a:gd name="connsiteY0" fmla="*/ 141390 h 141390"/>
                      <a:gd name="connsiteX1" fmla="*/ 0 w 4890"/>
                      <a:gd name="connsiteY1" fmla="*/ 0 h 14139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4890" h="141390">
                        <a:moveTo>
                          <a:pt x="0" y="141390"/>
                        </a:moveTo>
                        <a:lnTo>
                          <a:pt x="0" y="0"/>
                        </a:lnTo>
                      </a:path>
                    </a:pathLst>
                  </a:custGeom>
                  <a:ln w="6350" cap="flat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  <p:sp>
              <p:nvSpPr>
                <p:cNvPr id="346" name="Forma livre: Forma 345">
                  <a:extLst>
                    <a:ext uri="{FF2B5EF4-FFF2-40B4-BE49-F238E27FC236}">
                      <a16:creationId xmlns:a16="http://schemas.microsoft.com/office/drawing/2014/main" id="{57DB2EC1-F018-5DF3-A165-157DC44FD96E}"/>
                    </a:ext>
                  </a:extLst>
                </p:cNvPr>
                <p:cNvSpPr/>
                <p:nvPr/>
              </p:nvSpPr>
              <p:spPr>
                <a:xfrm>
                  <a:off x="2614829" y="3208843"/>
                  <a:ext cx="53797" cy="4890"/>
                </a:xfrm>
                <a:custGeom>
                  <a:avLst/>
                  <a:gdLst>
                    <a:gd name="connsiteX0" fmla="*/ 0 w 53797"/>
                    <a:gd name="connsiteY0" fmla="*/ 0 h 4890"/>
                    <a:gd name="connsiteX1" fmla="*/ 53798 w 53797"/>
                    <a:gd name="connsiteY1" fmla="*/ 0 h 48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53797" h="4890">
                      <a:moveTo>
                        <a:pt x="0" y="0"/>
                      </a:moveTo>
                      <a:lnTo>
                        <a:pt x="53798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347" name="Gráfico 4">
                <a:extLst>
                  <a:ext uri="{FF2B5EF4-FFF2-40B4-BE49-F238E27FC236}">
                    <a16:creationId xmlns:a16="http://schemas.microsoft.com/office/drawing/2014/main" id="{DC1B8F39-1C65-249B-4766-12ACAEA94335}"/>
                  </a:ext>
                </a:extLst>
              </p:cNvPr>
              <p:cNvGrpSpPr/>
              <p:nvPr/>
            </p:nvGrpSpPr>
            <p:grpSpPr>
              <a:xfrm>
                <a:off x="2824690" y="3179939"/>
                <a:ext cx="54726" cy="167800"/>
                <a:chOff x="2824690" y="3179939"/>
                <a:chExt cx="54726" cy="167800"/>
              </a:xfrm>
            </p:grpSpPr>
            <p:sp>
              <p:nvSpPr>
                <p:cNvPr id="348" name="Forma livre: Forma 347">
                  <a:extLst>
                    <a:ext uri="{FF2B5EF4-FFF2-40B4-BE49-F238E27FC236}">
                      <a16:creationId xmlns:a16="http://schemas.microsoft.com/office/drawing/2014/main" id="{65552CA9-9AE4-FBA6-FB42-222A085B4424}"/>
                    </a:ext>
                  </a:extLst>
                </p:cNvPr>
                <p:cNvSpPr/>
                <p:nvPr/>
              </p:nvSpPr>
              <p:spPr>
                <a:xfrm>
                  <a:off x="2852029" y="3249632"/>
                  <a:ext cx="4890" cy="33599"/>
                </a:xfrm>
                <a:custGeom>
                  <a:avLst/>
                  <a:gdLst>
                    <a:gd name="connsiteX0" fmla="*/ 0 w 4890"/>
                    <a:gd name="connsiteY0" fmla="*/ 0 h 33599"/>
                    <a:gd name="connsiteX1" fmla="*/ 0 w 4890"/>
                    <a:gd name="connsiteY1" fmla="*/ 33599 h 3359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890" h="33599">
                      <a:moveTo>
                        <a:pt x="0" y="0"/>
                      </a:moveTo>
                      <a:lnTo>
                        <a:pt x="0" y="33599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349" name="Forma livre: Forma 348">
                  <a:extLst>
                    <a:ext uri="{FF2B5EF4-FFF2-40B4-BE49-F238E27FC236}">
                      <a16:creationId xmlns:a16="http://schemas.microsoft.com/office/drawing/2014/main" id="{EE4B8ACE-77BE-FDBC-F0D4-B509BC997E1C}"/>
                    </a:ext>
                  </a:extLst>
                </p:cNvPr>
                <p:cNvSpPr/>
                <p:nvPr/>
              </p:nvSpPr>
              <p:spPr>
                <a:xfrm>
                  <a:off x="2852029" y="3179939"/>
                  <a:ext cx="4890" cy="28610"/>
                </a:xfrm>
                <a:custGeom>
                  <a:avLst/>
                  <a:gdLst>
                    <a:gd name="connsiteX0" fmla="*/ 0 w 4890"/>
                    <a:gd name="connsiteY0" fmla="*/ 28611 h 28610"/>
                    <a:gd name="connsiteX1" fmla="*/ 0 w 4890"/>
                    <a:gd name="connsiteY1" fmla="*/ 0 h 2861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890" h="28610">
                      <a:moveTo>
                        <a:pt x="0" y="28611"/>
                      </a:moveTo>
                      <a:lnTo>
                        <a:pt x="0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grpSp>
              <p:nvGrpSpPr>
                <p:cNvPr id="350" name="Gráfico 4">
                  <a:extLst>
                    <a:ext uri="{FF2B5EF4-FFF2-40B4-BE49-F238E27FC236}">
                      <a16:creationId xmlns:a16="http://schemas.microsoft.com/office/drawing/2014/main" id="{EBD467F8-55BB-C9C0-D58D-DC5D21C04E70}"/>
                    </a:ext>
                  </a:extLst>
                </p:cNvPr>
                <p:cNvGrpSpPr/>
                <p:nvPr/>
              </p:nvGrpSpPr>
              <p:grpSpPr>
                <a:xfrm>
                  <a:off x="2824690" y="3179939"/>
                  <a:ext cx="54726" cy="167800"/>
                  <a:chOff x="2824690" y="3179939"/>
                  <a:chExt cx="54726" cy="167800"/>
                </a:xfrm>
              </p:grpSpPr>
              <p:sp>
                <p:nvSpPr>
                  <p:cNvPr id="351" name="Forma livre: Forma 350">
                    <a:extLst>
                      <a:ext uri="{FF2B5EF4-FFF2-40B4-BE49-F238E27FC236}">
                        <a16:creationId xmlns:a16="http://schemas.microsoft.com/office/drawing/2014/main" id="{05A8F02D-614F-181C-0396-691103A86D17}"/>
                      </a:ext>
                    </a:extLst>
                  </p:cNvPr>
                  <p:cNvSpPr/>
                  <p:nvPr/>
                </p:nvSpPr>
                <p:spPr>
                  <a:xfrm>
                    <a:off x="2879417" y="3179939"/>
                    <a:ext cx="4890" cy="167800"/>
                  </a:xfrm>
                  <a:custGeom>
                    <a:avLst/>
                    <a:gdLst>
                      <a:gd name="connsiteX0" fmla="*/ 0 w 4890"/>
                      <a:gd name="connsiteY0" fmla="*/ 167800 h 167800"/>
                      <a:gd name="connsiteX1" fmla="*/ 0 w 4890"/>
                      <a:gd name="connsiteY1" fmla="*/ 0 h 16780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4890" h="167800">
                        <a:moveTo>
                          <a:pt x="0" y="167800"/>
                        </a:moveTo>
                        <a:lnTo>
                          <a:pt x="0" y="0"/>
                        </a:lnTo>
                      </a:path>
                    </a:pathLst>
                  </a:custGeom>
                  <a:ln w="6350" cap="flat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352" name="Forma livre: Forma 351">
                    <a:extLst>
                      <a:ext uri="{FF2B5EF4-FFF2-40B4-BE49-F238E27FC236}">
                        <a16:creationId xmlns:a16="http://schemas.microsoft.com/office/drawing/2014/main" id="{A73BEF84-DA22-CE74-2310-7CC3681176AD}"/>
                      </a:ext>
                    </a:extLst>
                  </p:cNvPr>
                  <p:cNvSpPr/>
                  <p:nvPr/>
                </p:nvSpPr>
                <p:spPr>
                  <a:xfrm>
                    <a:off x="2824690" y="3179939"/>
                    <a:ext cx="4890" cy="141390"/>
                  </a:xfrm>
                  <a:custGeom>
                    <a:avLst/>
                    <a:gdLst>
                      <a:gd name="connsiteX0" fmla="*/ 0 w 4890"/>
                      <a:gd name="connsiteY0" fmla="*/ 141390 h 141390"/>
                      <a:gd name="connsiteX1" fmla="*/ 0 w 4890"/>
                      <a:gd name="connsiteY1" fmla="*/ 0 h 14139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4890" h="141390">
                        <a:moveTo>
                          <a:pt x="0" y="141390"/>
                        </a:moveTo>
                        <a:lnTo>
                          <a:pt x="0" y="0"/>
                        </a:lnTo>
                      </a:path>
                    </a:pathLst>
                  </a:custGeom>
                  <a:ln w="6350" cap="flat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  <p:sp>
              <p:nvSpPr>
                <p:cNvPr id="353" name="Forma livre: Forma 352">
                  <a:extLst>
                    <a:ext uri="{FF2B5EF4-FFF2-40B4-BE49-F238E27FC236}">
                      <a16:creationId xmlns:a16="http://schemas.microsoft.com/office/drawing/2014/main" id="{DEF6F448-E659-7DC4-EE5C-1822E5DDB5CF}"/>
                    </a:ext>
                  </a:extLst>
                </p:cNvPr>
                <p:cNvSpPr/>
                <p:nvPr/>
              </p:nvSpPr>
              <p:spPr>
                <a:xfrm>
                  <a:off x="2825130" y="3208843"/>
                  <a:ext cx="53797" cy="4890"/>
                </a:xfrm>
                <a:custGeom>
                  <a:avLst/>
                  <a:gdLst>
                    <a:gd name="connsiteX0" fmla="*/ 53798 w 53797"/>
                    <a:gd name="connsiteY0" fmla="*/ 0 h 4890"/>
                    <a:gd name="connsiteX1" fmla="*/ 0 w 53797"/>
                    <a:gd name="connsiteY1" fmla="*/ 0 h 48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53797" h="4890">
                      <a:moveTo>
                        <a:pt x="53798" y="0"/>
                      </a:moveTo>
                      <a:lnTo>
                        <a:pt x="0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</p:grpSp>
      <p:grpSp>
        <p:nvGrpSpPr>
          <p:cNvPr id="354" name="Gráfico 4">
            <a:extLst>
              <a:ext uri="{FF2B5EF4-FFF2-40B4-BE49-F238E27FC236}">
                <a16:creationId xmlns:a16="http://schemas.microsoft.com/office/drawing/2014/main" id="{A8F67816-E51F-F0AA-D01F-A630DB5F2CC2}"/>
              </a:ext>
            </a:extLst>
          </p:cNvPr>
          <p:cNvGrpSpPr/>
          <p:nvPr/>
        </p:nvGrpSpPr>
        <p:grpSpPr>
          <a:xfrm>
            <a:off x="3220250" y="3113523"/>
            <a:ext cx="344696" cy="258522"/>
            <a:chOff x="3220250" y="3113523"/>
            <a:chExt cx="344696" cy="258522"/>
          </a:xfrm>
          <a:noFill/>
        </p:grpSpPr>
        <p:sp>
          <p:nvSpPr>
            <p:cNvPr id="355" name="Forma livre: Forma 354">
              <a:extLst>
                <a:ext uri="{FF2B5EF4-FFF2-40B4-BE49-F238E27FC236}">
                  <a16:creationId xmlns:a16="http://schemas.microsoft.com/office/drawing/2014/main" id="{F4C626DC-9B2E-1C49-5D32-AF09111FFDF7}"/>
                </a:ext>
              </a:extLst>
            </p:cNvPr>
            <p:cNvSpPr/>
            <p:nvPr/>
          </p:nvSpPr>
          <p:spPr>
            <a:xfrm>
              <a:off x="3256539" y="3113523"/>
              <a:ext cx="308407" cy="208784"/>
            </a:xfrm>
            <a:custGeom>
              <a:avLst/>
              <a:gdLst>
                <a:gd name="connsiteX0" fmla="*/ 2201 w 308407"/>
                <a:gd name="connsiteY0" fmla="*/ 51108 h 208784"/>
                <a:gd name="connsiteX1" fmla="*/ 0 w 308407"/>
                <a:gd name="connsiteY1" fmla="*/ 23329 h 208784"/>
                <a:gd name="connsiteX2" fmla="*/ 291926 w 308407"/>
                <a:gd name="connsiteY2" fmla="*/ 0 h 208784"/>
                <a:gd name="connsiteX3" fmla="*/ 308408 w 308407"/>
                <a:gd name="connsiteY3" fmla="*/ 206290 h 208784"/>
                <a:gd name="connsiteX4" fmla="*/ 278575 w 308407"/>
                <a:gd name="connsiteY4" fmla="*/ 208784 h 2087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08407" h="208784">
                  <a:moveTo>
                    <a:pt x="2201" y="51108"/>
                  </a:moveTo>
                  <a:lnTo>
                    <a:pt x="0" y="23329"/>
                  </a:lnTo>
                  <a:lnTo>
                    <a:pt x="291926" y="0"/>
                  </a:lnTo>
                  <a:lnTo>
                    <a:pt x="308408" y="206290"/>
                  </a:lnTo>
                  <a:lnTo>
                    <a:pt x="278575" y="208784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56" name="Forma livre: Forma 355">
              <a:extLst>
                <a:ext uri="{FF2B5EF4-FFF2-40B4-BE49-F238E27FC236}">
                  <a16:creationId xmlns:a16="http://schemas.microsoft.com/office/drawing/2014/main" id="{FD7A93F4-3D47-C03A-00B9-35054284E29B}"/>
                </a:ext>
              </a:extLst>
            </p:cNvPr>
            <p:cNvSpPr/>
            <p:nvPr/>
          </p:nvSpPr>
          <p:spPr>
            <a:xfrm>
              <a:off x="3220250" y="3165120"/>
              <a:ext cx="292904" cy="206925"/>
            </a:xfrm>
            <a:custGeom>
              <a:avLst/>
              <a:gdLst>
                <a:gd name="connsiteX0" fmla="*/ 0 w 292904"/>
                <a:gd name="connsiteY0" fmla="*/ 0 h 206925"/>
                <a:gd name="connsiteX1" fmla="*/ 292904 w 292904"/>
                <a:gd name="connsiteY1" fmla="*/ 0 h 206925"/>
                <a:gd name="connsiteX2" fmla="*/ 292904 w 292904"/>
                <a:gd name="connsiteY2" fmla="*/ 206926 h 206925"/>
                <a:gd name="connsiteX3" fmla="*/ 0 w 292904"/>
                <a:gd name="connsiteY3" fmla="*/ 206926 h 2069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92904" h="206925">
                  <a:moveTo>
                    <a:pt x="0" y="0"/>
                  </a:moveTo>
                  <a:lnTo>
                    <a:pt x="292904" y="0"/>
                  </a:lnTo>
                  <a:lnTo>
                    <a:pt x="292904" y="206926"/>
                  </a:lnTo>
                  <a:lnTo>
                    <a:pt x="0" y="206926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57" name="Forma livre: Forma 356">
              <a:extLst>
                <a:ext uri="{FF2B5EF4-FFF2-40B4-BE49-F238E27FC236}">
                  <a16:creationId xmlns:a16="http://schemas.microsoft.com/office/drawing/2014/main" id="{14C1B173-6CB7-5733-4A77-F7D1FF4CF9E9}"/>
                </a:ext>
              </a:extLst>
            </p:cNvPr>
            <p:cNvSpPr/>
            <p:nvPr/>
          </p:nvSpPr>
          <p:spPr>
            <a:xfrm>
              <a:off x="3367069" y="3209137"/>
              <a:ext cx="4890" cy="23524"/>
            </a:xfrm>
            <a:custGeom>
              <a:avLst/>
              <a:gdLst>
                <a:gd name="connsiteX0" fmla="*/ 0 w 4890"/>
                <a:gd name="connsiteY0" fmla="*/ 23524 h 23524"/>
                <a:gd name="connsiteX1" fmla="*/ 0 w 4890"/>
                <a:gd name="connsiteY1" fmla="*/ 0 h 235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890" h="23524">
                  <a:moveTo>
                    <a:pt x="0" y="23524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58" name="Forma livre: Forma 357">
              <a:extLst>
                <a:ext uri="{FF2B5EF4-FFF2-40B4-BE49-F238E27FC236}">
                  <a16:creationId xmlns:a16="http://schemas.microsoft.com/office/drawing/2014/main" id="{E1F2EC2A-692C-0BF5-5B28-74BB802FEECF}"/>
                </a:ext>
              </a:extLst>
            </p:cNvPr>
            <p:cNvSpPr/>
            <p:nvPr/>
          </p:nvSpPr>
          <p:spPr>
            <a:xfrm>
              <a:off x="3328723" y="3255449"/>
              <a:ext cx="76718" cy="54191"/>
            </a:xfrm>
            <a:custGeom>
              <a:avLst/>
              <a:gdLst>
                <a:gd name="connsiteX0" fmla="*/ 73265 w 76718"/>
                <a:gd name="connsiteY0" fmla="*/ 54191 h 54191"/>
                <a:gd name="connsiteX1" fmla="*/ 73803 w 76718"/>
                <a:gd name="connsiteY1" fmla="*/ 23674 h 54191"/>
                <a:gd name="connsiteX2" fmla="*/ 23674 w 76718"/>
                <a:gd name="connsiteY2" fmla="*/ 2937 h 54191"/>
                <a:gd name="connsiteX3" fmla="*/ 2937 w 76718"/>
                <a:gd name="connsiteY3" fmla="*/ 53067 h 541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6718" h="54191">
                  <a:moveTo>
                    <a:pt x="73265" y="54191"/>
                  </a:moveTo>
                  <a:cubicBezTo>
                    <a:pt x="77520" y="44850"/>
                    <a:pt x="78009" y="33846"/>
                    <a:pt x="73803" y="23674"/>
                  </a:cubicBezTo>
                  <a:cubicBezTo>
                    <a:pt x="65734" y="4111"/>
                    <a:pt x="43236" y="-5182"/>
                    <a:pt x="23674" y="2937"/>
                  </a:cubicBezTo>
                  <a:cubicBezTo>
                    <a:pt x="4111" y="11055"/>
                    <a:pt x="-5182" y="33504"/>
                    <a:pt x="2937" y="53067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59" name="Forma livre: Forma 358">
              <a:extLst>
                <a:ext uri="{FF2B5EF4-FFF2-40B4-BE49-F238E27FC236}">
                  <a16:creationId xmlns:a16="http://schemas.microsoft.com/office/drawing/2014/main" id="{55A38765-75D5-D877-E84B-BC0B1594C408}"/>
                </a:ext>
              </a:extLst>
            </p:cNvPr>
            <p:cNvSpPr/>
            <p:nvPr/>
          </p:nvSpPr>
          <p:spPr>
            <a:xfrm>
              <a:off x="3221032" y="3311744"/>
              <a:ext cx="290361" cy="391"/>
            </a:xfrm>
            <a:custGeom>
              <a:avLst/>
              <a:gdLst>
                <a:gd name="connsiteX0" fmla="*/ 0 w 290361"/>
                <a:gd name="connsiteY0" fmla="*/ 0 h 391"/>
                <a:gd name="connsiteX1" fmla="*/ 290361 w 290361"/>
                <a:gd name="connsiteY1" fmla="*/ 391 h 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90361" h="391">
                  <a:moveTo>
                    <a:pt x="0" y="0"/>
                  </a:moveTo>
                  <a:lnTo>
                    <a:pt x="290361" y="391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360" name="Gráfico 4">
              <a:extLst>
                <a:ext uri="{FF2B5EF4-FFF2-40B4-BE49-F238E27FC236}">
                  <a16:creationId xmlns:a16="http://schemas.microsoft.com/office/drawing/2014/main" id="{DC91AD3E-C366-B7A6-7E73-451163186F4F}"/>
                </a:ext>
              </a:extLst>
            </p:cNvPr>
            <p:cNvGrpSpPr/>
            <p:nvPr/>
          </p:nvGrpSpPr>
          <p:grpSpPr>
            <a:xfrm>
              <a:off x="3310288" y="3228553"/>
              <a:ext cx="113562" cy="16677"/>
              <a:chOff x="3310288" y="3228553"/>
              <a:chExt cx="113562" cy="16677"/>
            </a:xfrm>
          </p:grpSpPr>
          <p:sp>
            <p:nvSpPr>
              <p:cNvPr id="361" name="Forma livre: Forma 360">
                <a:extLst>
                  <a:ext uri="{FF2B5EF4-FFF2-40B4-BE49-F238E27FC236}">
                    <a16:creationId xmlns:a16="http://schemas.microsoft.com/office/drawing/2014/main" id="{0120C30A-357A-1841-4C8B-902BD9282CD1}"/>
                  </a:ext>
                </a:extLst>
              </p:cNvPr>
              <p:cNvSpPr/>
              <p:nvPr/>
            </p:nvSpPr>
            <p:spPr>
              <a:xfrm>
                <a:off x="3407221" y="3228553"/>
                <a:ext cx="16628" cy="16677"/>
              </a:xfrm>
              <a:custGeom>
                <a:avLst/>
                <a:gdLst>
                  <a:gd name="connsiteX0" fmla="*/ 0 w 16628"/>
                  <a:gd name="connsiteY0" fmla="*/ 16677 h 16677"/>
                  <a:gd name="connsiteX1" fmla="*/ 16628 w 16628"/>
                  <a:gd name="connsiteY1" fmla="*/ 0 h 166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6628" h="16677">
                    <a:moveTo>
                      <a:pt x="0" y="16677"/>
                    </a:moveTo>
                    <a:lnTo>
                      <a:pt x="16628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62" name="Forma livre: Forma 361">
                <a:extLst>
                  <a:ext uri="{FF2B5EF4-FFF2-40B4-BE49-F238E27FC236}">
                    <a16:creationId xmlns:a16="http://schemas.microsoft.com/office/drawing/2014/main" id="{D1963596-9AA3-926B-BF43-1958570CD873}"/>
                  </a:ext>
                </a:extLst>
              </p:cNvPr>
              <p:cNvSpPr/>
              <p:nvPr/>
            </p:nvSpPr>
            <p:spPr>
              <a:xfrm>
                <a:off x="3310288" y="3228553"/>
                <a:ext cx="16677" cy="16677"/>
              </a:xfrm>
              <a:custGeom>
                <a:avLst/>
                <a:gdLst>
                  <a:gd name="connsiteX0" fmla="*/ 16677 w 16677"/>
                  <a:gd name="connsiteY0" fmla="*/ 16677 h 16677"/>
                  <a:gd name="connsiteX1" fmla="*/ 0 w 16677"/>
                  <a:gd name="connsiteY1" fmla="*/ 0 h 166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6677" h="16677">
                    <a:moveTo>
                      <a:pt x="16677" y="16677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363" name="Gráfico 4">
              <a:extLst>
                <a:ext uri="{FF2B5EF4-FFF2-40B4-BE49-F238E27FC236}">
                  <a16:creationId xmlns:a16="http://schemas.microsoft.com/office/drawing/2014/main" id="{5645254F-5ED0-917F-3B90-375420044A60}"/>
                </a:ext>
              </a:extLst>
            </p:cNvPr>
            <p:cNvGrpSpPr/>
            <p:nvPr/>
          </p:nvGrpSpPr>
          <p:grpSpPr>
            <a:xfrm>
              <a:off x="3283046" y="3276580"/>
              <a:ext cx="168044" cy="2494"/>
              <a:chOff x="3283046" y="3276580"/>
              <a:chExt cx="168044" cy="2494"/>
            </a:xfrm>
          </p:grpSpPr>
          <p:sp>
            <p:nvSpPr>
              <p:cNvPr id="364" name="Forma livre: Forma 363">
                <a:extLst>
                  <a:ext uri="{FF2B5EF4-FFF2-40B4-BE49-F238E27FC236}">
                    <a16:creationId xmlns:a16="http://schemas.microsoft.com/office/drawing/2014/main" id="{C395E0FA-CE07-FE64-1332-3AF444EE5414}"/>
                  </a:ext>
                </a:extLst>
              </p:cNvPr>
              <p:cNvSpPr/>
              <p:nvPr/>
            </p:nvSpPr>
            <p:spPr>
              <a:xfrm>
                <a:off x="3427713" y="3276580"/>
                <a:ext cx="23377" cy="2494"/>
              </a:xfrm>
              <a:custGeom>
                <a:avLst/>
                <a:gdLst>
                  <a:gd name="connsiteX0" fmla="*/ 0 w 23377"/>
                  <a:gd name="connsiteY0" fmla="*/ 2494 h 2494"/>
                  <a:gd name="connsiteX1" fmla="*/ 23378 w 23377"/>
                  <a:gd name="connsiteY1" fmla="*/ 0 h 24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3377" h="2494">
                    <a:moveTo>
                      <a:pt x="0" y="2494"/>
                    </a:moveTo>
                    <a:lnTo>
                      <a:pt x="23378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65" name="Forma livre: Forma 364">
                <a:extLst>
                  <a:ext uri="{FF2B5EF4-FFF2-40B4-BE49-F238E27FC236}">
                    <a16:creationId xmlns:a16="http://schemas.microsoft.com/office/drawing/2014/main" id="{0F4A7DA9-C0D3-7E50-8A53-97C06CCD2053}"/>
                  </a:ext>
                </a:extLst>
              </p:cNvPr>
              <p:cNvSpPr/>
              <p:nvPr/>
            </p:nvSpPr>
            <p:spPr>
              <a:xfrm>
                <a:off x="3283046" y="3276580"/>
                <a:ext cx="23426" cy="2494"/>
              </a:xfrm>
              <a:custGeom>
                <a:avLst/>
                <a:gdLst>
                  <a:gd name="connsiteX0" fmla="*/ 23427 w 23426"/>
                  <a:gd name="connsiteY0" fmla="*/ 2494 h 2494"/>
                  <a:gd name="connsiteX1" fmla="*/ 0 w 23426"/>
                  <a:gd name="connsiteY1" fmla="*/ 0 h 24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3426" h="2494">
                    <a:moveTo>
                      <a:pt x="23427" y="2494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366" name="Gráfico 4">
            <a:extLst>
              <a:ext uri="{FF2B5EF4-FFF2-40B4-BE49-F238E27FC236}">
                <a16:creationId xmlns:a16="http://schemas.microsoft.com/office/drawing/2014/main" id="{F7815355-1627-C113-2CC7-37D1B9DDE919}"/>
              </a:ext>
            </a:extLst>
          </p:cNvPr>
          <p:cNvGrpSpPr/>
          <p:nvPr/>
        </p:nvGrpSpPr>
        <p:grpSpPr>
          <a:xfrm>
            <a:off x="3820439" y="3101358"/>
            <a:ext cx="427002" cy="282865"/>
            <a:chOff x="3820439" y="3101358"/>
            <a:chExt cx="427002" cy="282865"/>
          </a:xfrm>
          <a:noFill/>
        </p:grpSpPr>
        <p:sp>
          <p:nvSpPr>
            <p:cNvPr id="367" name="Forma livre: Forma 366">
              <a:extLst>
                <a:ext uri="{FF2B5EF4-FFF2-40B4-BE49-F238E27FC236}">
                  <a16:creationId xmlns:a16="http://schemas.microsoft.com/office/drawing/2014/main" id="{C54D0F88-F263-D558-1EC0-8C3CEDC4E9BC}"/>
                </a:ext>
              </a:extLst>
            </p:cNvPr>
            <p:cNvSpPr/>
            <p:nvPr/>
          </p:nvSpPr>
          <p:spPr>
            <a:xfrm>
              <a:off x="3951068" y="3242785"/>
              <a:ext cx="165843" cy="54632"/>
            </a:xfrm>
            <a:custGeom>
              <a:avLst/>
              <a:gdLst>
                <a:gd name="connsiteX0" fmla="*/ 0 w 165843"/>
                <a:gd name="connsiteY0" fmla="*/ 0 h 54632"/>
                <a:gd name="connsiteX1" fmla="*/ 165844 w 165843"/>
                <a:gd name="connsiteY1" fmla="*/ 1614 h 54632"/>
                <a:gd name="connsiteX2" fmla="*/ 0 w 165843"/>
                <a:gd name="connsiteY2" fmla="*/ 0 h 546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5843" h="54632">
                  <a:moveTo>
                    <a:pt x="0" y="0"/>
                  </a:moveTo>
                  <a:cubicBezTo>
                    <a:pt x="0" y="0"/>
                    <a:pt x="63237" y="27241"/>
                    <a:pt x="165844" y="1614"/>
                  </a:cubicBezTo>
                  <a:cubicBezTo>
                    <a:pt x="165844" y="1614"/>
                    <a:pt x="80061" y="121974"/>
                    <a:pt x="0" y="0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68" name="Forma livre: Forma 367">
              <a:extLst>
                <a:ext uri="{FF2B5EF4-FFF2-40B4-BE49-F238E27FC236}">
                  <a16:creationId xmlns:a16="http://schemas.microsoft.com/office/drawing/2014/main" id="{7720A48E-C6AA-174F-C5FD-2A1427D4BE9C}"/>
                </a:ext>
              </a:extLst>
            </p:cNvPr>
            <p:cNvSpPr/>
            <p:nvPr/>
          </p:nvSpPr>
          <p:spPr>
            <a:xfrm>
              <a:off x="4040714" y="3255403"/>
              <a:ext cx="20492" cy="34626"/>
            </a:xfrm>
            <a:custGeom>
              <a:avLst/>
              <a:gdLst>
                <a:gd name="connsiteX0" fmla="*/ 0 w 20492"/>
                <a:gd name="connsiteY0" fmla="*/ 0 h 34626"/>
                <a:gd name="connsiteX1" fmla="*/ 20492 w 20492"/>
                <a:gd name="connsiteY1" fmla="*/ 34626 h 346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0492" h="34626">
                  <a:moveTo>
                    <a:pt x="0" y="0"/>
                  </a:moveTo>
                  <a:lnTo>
                    <a:pt x="20492" y="34626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69" name="Forma livre: Forma 368">
              <a:extLst>
                <a:ext uri="{FF2B5EF4-FFF2-40B4-BE49-F238E27FC236}">
                  <a16:creationId xmlns:a16="http://schemas.microsoft.com/office/drawing/2014/main" id="{68EC63D9-2A1B-9F34-AC90-F2798644E0A3}"/>
                </a:ext>
              </a:extLst>
            </p:cNvPr>
            <p:cNvSpPr/>
            <p:nvPr/>
          </p:nvSpPr>
          <p:spPr>
            <a:xfrm>
              <a:off x="4001148" y="3254474"/>
              <a:ext cx="23426" cy="41962"/>
            </a:xfrm>
            <a:custGeom>
              <a:avLst/>
              <a:gdLst>
                <a:gd name="connsiteX0" fmla="*/ 0 w 23426"/>
                <a:gd name="connsiteY0" fmla="*/ 0 h 41962"/>
                <a:gd name="connsiteX1" fmla="*/ 23427 w 23426"/>
                <a:gd name="connsiteY1" fmla="*/ 41962 h 41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3426" h="41962">
                  <a:moveTo>
                    <a:pt x="0" y="0"/>
                  </a:moveTo>
                  <a:lnTo>
                    <a:pt x="23427" y="41962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70" name="Forma livre: Forma 369">
              <a:extLst>
                <a:ext uri="{FF2B5EF4-FFF2-40B4-BE49-F238E27FC236}">
                  <a16:creationId xmlns:a16="http://schemas.microsoft.com/office/drawing/2014/main" id="{8C883BA4-BCA7-4D5D-5C9F-FA4EEAC3B38A}"/>
                </a:ext>
              </a:extLst>
            </p:cNvPr>
            <p:cNvSpPr/>
            <p:nvPr/>
          </p:nvSpPr>
          <p:spPr>
            <a:xfrm>
              <a:off x="3975325" y="3334896"/>
              <a:ext cx="238470" cy="49327"/>
            </a:xfrm>
            <a:custGeom>
              <a:avLst/>
              <a:gdLst>
                <a:gd name="connsiteX0" fmla="*/ 0 w 238470"/>
                <a:gd name="connsiteY0" fmla="*/ 49328 h 49327"/>
                <a:gd name="connsiteX1" fmla="*/ 238471 w 238470"/>
                <a:gd name="connsiteY1" fmla="*/ 4920 h 49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38470" h="49327">
                  <a:moveTo>
                    <a:pt x="0" y="49328"/>
                  </a:moveTo>
                  <a:cubicBezTo>
                    <a:pt x="0" y="49328"/>
                    <a:pt x="110237" y="-18506"/>
                    <a:pt x="238471" y="492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71" name="Forma livre: Forma 370">
              <a:extLst>
                <a:ext uri="{FF2B5EF4-FFF2-40B4-BE49-F238E27FC236}">
                  <a16:creationId xmlns:a16="http://schemas.microsoft.com/office/drawing/2014/main" id="{4E2D459A-E58E-CFBC-AB3E-69E1112650D5}"/>
                </a:ext>
              </a:extLst>
            </p:cNvPr>
            <p:cNvSpPr/>
            <p:nvPr/>
          </p:nvSpPr>
          <p:spPr>
            <a:xfrm>
              <a:off x="3870566" y="3337459"/>
              <a:ext cx="168289" cy="17518"/>
            </a:xfrm>
            <a:custGeom>
              <a:avLst/>
              <a:gdLst>
                <a:gd name="connsiteX0" fmla="*/ 0 w 168289"/>
                <a:gd name="connsiteY0" fmla="*/ 12432 h 17518"/>
                <a:gd name="connsiteX1" fmla="*/ 168289 w 168289"/>
                <a:gd name="connsiteY1" fmla="*/ 17518 h 17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68289" h="17518">
                  <a:moveTo>
                    <a:pt x="0" y="12432"/>
                  </a:moveTo>
                  <a:cubicBezTo>
                    <a:pt x="0" y="12432"/>
                    <a:pt x="91554" y="-18673"/>
                    <a:pt x="168289" y="17518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72" name="Forma livre: Forma 371">
              <a:extLst>
                <a:ext uri="{FF2B5EF4-FFF2-40B4-BE49-F238E27FC236}">
                  <a16:creationId xmlns:a16="http://schemas.microsoft.com/office/drawing/2014/main" id="{E829ABAF-53F6-D616-E314-DE13BCCB6C5E}"/>
                </a:ext>
              </a:extLst>
            </p:cNvPr>
            <p:cNvSpPr/>
            <p:nvPr/>
          </p:nvSpPr>
          <p:spPr>
            <a:xfrm>
              <a:off x="3820439" y="3101358"/>
              <a:ext cx="195339" cy="218455"/>
            </a:xfrm>
            <a:custGeom>
              <a:avLst/>
              <a:gdLst>
                <a:gd name="connsiteX0" fmla="*/ 90818 w 195339"/>
                <a:gd name="connsiteY0" fmla="*/ 218455 h 218455"/>
                <a:gd name="connsiteX1" fmla="*/ 92334 w 195339"/>
                <a:gd name="connsiteY1" fmla="*/ 102692 h 218455"/>
                <a:gd name="connsiteX2" fmla="*/ 47731 w 195339"/>
                <a:gd name="connsiteY2" fmla="*/ 147296 h 218455"/>
                <a:gd name="connsiteX3" fmla="*/ 38879 w 195339"/>
                <a:gd name="connsiteY3" fmla="*/ 150034 h 218455"/>
                <a:gd name="connsiteX4" fmla="*/ 33401 w 195339"/>
                <a:gd name="connsiteY4" fmla="*/ 131988 h 218455"/>
                <a:gd name="connsiteX5" fmla="*/ 79227 w 195339"/>
                <a:gd name="connsiteY5" fmla="*/ 79413 h 218455"/>
                <a:gd name="connsiteX6" fmla="*/ 11050 w 195339"/>
                <a:gd name="connsiteY6" fmla="*/ 96237 h 218455"/>
                <a:gd name="connsiteX7" fmla="*/ 340 w 195339"/>
                <a:gd name="connsiteY7" fmla="*/ 94721 h 218455"/>
                <a:gd name="connsiteX8" fmla="*/ 7676 w 195339"/>
                <a:gd name="connsiteY8" fmla="*/ 77603 h 218455"/>
                <a:gd name="connsiteX9" fmla="*/ 81330 w 195339"/>
                <a:gd name="connsiteY9" fmla="*/ 60192 h 218455"/>
                <a:gd name="connsiteX10" fmla="*/ 98741 w 195339"/>
                <a:gd name="connsiteY10" fmla="*/ 10698 h 218455"/>
                <a:gd name="connsiteX11" fmla="*/ 121972 w 195339"/>
                <a:gd name="connsiteY11" fmla="*/ 2140 h 218455"/>
                <a:gd name="connsiteX12" fmla="*/ 136350 w 195339"/>
                <a:gd name="connsiteY12" fmla="*/ 2726 h 218455"/>
                <a:gd name="connsiteX13" fmla="*/ 130873 w 195339"/>
                <a:gd name="connsiteY13" fmla="*/ 11579 h 218455"/>
                <a:gd name="connsiteX14" fmla="*/ 100942 w 195339"/>
                <a:gd name="connsiteY14" fmla="*/ 64154 h 218455"/>
                <a:gd name="connsiteX15" fmla="*/ 181345 w 195339"/>
                <a:gd name="connsiteY15" fmla="*/ 36326 h 218455"/>
                <a:gd name="connsiteX16" fmla="*/ 195088 w 195339"/>
                <a:gd name="connsiteY16" fmla="*/ 50411 h 218455"/>
                <a:gd name="connsiteX17" fmla="*/ 180415 w 195339"/>
                <a:gd name="connsiteY17" fmla="*/ 55155 h 218455"/>
                <a:gd name="connsiteX18" fmla="*/ 120798 w 195339"/>
                <a:gd name="connsiteY18" fmla="*/ 67235 h 218455"/>
                <a:gd name="connsiteX19" fmla="*/ 167846 w 195339"/>
                <a:gd name="connsiteY19" fmla="*/ 85771 h 218455"/>
                <a:gd name="connsiteX20" fmla="*/ 178850 w 195339"/>
                <a:gd name="connsiteY20" fmla="*/ 108463 h 218455"/>
                <a:gd name="connsiteX21" fmla="*/ 175476 w 195339"/>
                <a:gd name="connsiteY21" fmla="*/ 119468 h 218455"/>
                <a:gd name="connsiteX22" fmla="*/ 158065 w 195339"/>
                <a:gd name="connsiteY22" fmla="*/ 108463 h 218455"/>
                <a:gd name="connsiteX23" fmla="*/ 115271 w 195339"/>
                <a:gd name="connsiteY23" fmla="*/ 94085 h 218455"/>
                <a:gd name="connsiteX24" fmla="*/ 134541 w 195339"/>
                <a:gd name="connsiteY24" fmla="*/ 215668 h 2184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195339" h="218455">
                  <a:moveTo>
                    <a:pt x="90818" y="218455"/>
                  </a:moveTo>
                  <a:cubicBezTo>
                    <a:pt x="90818" y="218455"/>
                    <a:pt x="102751" y="149154"/>
                    <a:pt x="92334" y="102692"/>
                  </a:cubicBezTo>
                  <a:cubicBezTo>
                    <a:pt x="92334" y="102692"/>
                    <a:pt x="64848" y="108806"/>
                    <a:pt x="47731" y="147296"/>
                  </a:cubicBezTo>
                  <a:cubicBezTo>
                    <a:pt x="47731" y="147296"/>
                    <a:pt x="44992" y="152773"/>
                    <a:pt x="38879" y="150034"/>
                  </a:cubicBezTo>
                  <a:cubicBezTo>
                    <a:pt x="38879" y="150034"/>
                    <a:pt x="31542" y="147002"/>
                    <a:pt x="33401" y="131988"/>
                  </a:cubicBezTo>
                  <a:cubicBezTo>
                    <a:pt x="33401" y="131988"/>
                    <a:pt x="34624" y="80635"/>
                    <a:pt x="79227" y="79413"/>
                  </a:cubicBezTo>
                  <a:cubicBezTo>
                    <a:pt x="79227" y="79413"/>
                    <a:pt x="45285" y="77897"/>
                    <a:pt x="11050" y="96237"/>
                  </a:cubicBezTo>
                  <a:cubicBezTo>
                    <a:pt x="11050" y="96237"/>
                    <a:pt x="2492" y="99269"/>
                    <a:pt x="340" y="94721"/>
                  </a:cubicBezTo>
                  <a:cubicBezTo>
                    <a:pt x="340" y="94721"/>
                    <a:pt x="-2399" y="90417"/>
                    <a:pt x="7676" y="77603"/>
                  </a:cubicBezTo>
                  <a:cubicBezTo>
                    <a:pt x="7676" y="77603"/>
                    <a:pt x="37020" y="30555"/>
                    <a:pt x="81330" y="60192"/>
                  </a:cubicBezTo>
                  <a:cubicBezTo>
                    <a:pt x="81330" y="60192"/>
                    <a:pt x="62060" y="26544"/>
                    <a:pt x="98741" y="10698"/>
                  </a:cubicBezTo>
                  <a:lnTo>
                    <a:pt x="121972" y="2140"/>
                  </a:lnTo>
                  <a:cubicBezTo>
                    <a:pt x="121972" y="2140"/>
                    <a:pt x="134492" y="-3045"/>
                    <a:pt x="136350" y="2726"/>
                  </a:cubicBezTo>
                  <a:cubicBezTo>
                    <a:pt x="136350" y="2726"/>
                    <a:pt x="136937" y="4878"/>
                    <a:pt x="130873" y="11579"/>
                  </a:cubicBezTo>
                  <a:cubicBezTo>
                    <a:pt x="130873" y="11579"/>
                    <a:pt x="102018" y="39896"/>
                    <a:pt x="100942" y="64154"/>
                  </a:cubicBezTo>
                  <a:cubicBezTo>
                    <a:pt x="100942" y="64154"/>
                    <a:pt x="116836" y="8840"/>
                    <a:pt x="181345" y="36326"/>
                  </a:cubicBezTo>
                  <a:cubicBezTo>
                    <a:pt x="181345" y="36326"/>
                    <a:pt x="197533" y="43368"/>
                    <a:pt x="195088" y="50411"/>
                  </a:cubicBezTo>
                  <a:cubicBezTo>
                    <a:pt x="195088" y="50411"/>
                    <a:pt x="194794" y="54226"/>
                    <a:pt x="180415" y="55155"/>
                  </a:cubicBezTo>
                  <a:cubicBezTo>
                    <a:pt x="180415" y="55155"/>
                    <a:pt x="143735" y="56231"/>
                    <a:pt x="120798" y="67235"/>
                  </a:cubicBezTo>
                  <a:cubicBezTo>
                    <a:pt x="120798" y="67235"/>
                    <a:pt x="155033" y="58872"/>
                    <a:pt x="167846" y="85771"/>
                  </a:cubicBezTo>
                  <a:lnTo>
                    <a:pt x="178850" y="108463"/>
                  </a:lnTo>
                  <a:cubicBezTo>
                    <a:pt x="178850" y="108463"/>
                    <a:pt x="183105" y="117022"/>
                    <a:pt x="175476" y="119468"/>
                  </a:cubicBezTo>
                  <a:cubicBezTo>
                    <a:pt x="175476" y="119468"/>
                    <a:pt x="170879" y="122500"/>
                    <a:pt x="158065" y="108463"/>
                  </a:cubicBezTo>
                  <a:cubicBezTo>
                    <a:pt x="158065" y="108463"/>
                    <a:pt x="138796" y="83716"/>
                    <a:pt x="115271" y="94085"/>
                  </a:cubicBezTo>
                  <a:cubicBezTo>
                    <a:pt x="115271" y="94085"/>
                    <a:pt x="129943" y="121815"/>
                    <a:pt x="134541" y="215668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73" name="Forma livre: Forma 372">
              <a:extLst>
                <a:ext uri="{FF2B5EF4-FFF2-40B4-BE49-F238E27FC236}">
                  <a16:creationId xmlns:a16="http://schemas.microsoft.com/office/drawing/2014/main" id="{1CE4D1C0-DB73-E43D-B619-7EEB75872598}"/>
                </a:ext>
              </a:extLst>
            </p:cNvPr>
            <p:cNvSpPr/>
            <p:nvPr/>
          </p:nvSpPr>
          <p:spPr>
            <a:xfrm>
              <a:off x="4052102" y="3101358"/>
              <a:ext cx="195339" cy="218161"/>
            </a:xfrm>
            <a:custGeom>
              <a:avLst/>
              <a:gdLst>
                <a:gd name="connsiteX0" fmla="*/ 104521 w 195339"/>
                <a:gd name="connsiteY0" fmla="*/ 214592 h 218161"/>
                <a:gd name="connsiteX1" fmla="*/ 103005 w 195339"/>
                <a:gd name="connsiteY1" fmla="*/ 102692 h 218161"/>
                <a:gd name="connsiteX2" fmla="*/ 147608 w 195339"/>
                <a:gd name="connsiteY2" fmla="*/ 147296 h 218161"/>
                <a:gd name="connsiteX3" fmla="*/ 156461 w 195339"/>
                <a:gd name="connsiteY3" fmla="*/ 150034 h 218161"/>
                <a:gd name="connsiteX4" fmla="*/ 161938 w 195339"/>
                <a:gd name="connsiteY4" fmla="*/ 131988 h 218161"/>
                <a:gd name="connsiteX5" fmla="*/ 116112 w 195339"/>
                <a:gd name="connsiteY5" fmla="*/ 79413 h 218161"/>
                <a:gd name="connsiteX6" fmla="*/ 184289 w 195339"/>
                <a:gd name="connsiteY6" fmla="*/ 96237 h 218161"/>
                <a:gd name="connsiteX7" fmla="*/ 194999 w 195339"/>
                <a:gd name="connsiteY7" fmla="*/ 94721 h 218161"/>
                <a:gd name="connsiteX8" fmla="*/ 187663 w 195339"/>
                <a:gd name="connsiteY8" fmla="*/ 77603 h 218161"/>
                <a:gd name="connsiteX9" fmla="*/ 114009 w 195339"/>
                <a:gd name="connsiteY9" fmla="*/ 60192 h 218161"/>
                <a:gd name="connsiteX10" fmla="*/ 96598 w 195339"/>
                <a:gd name="connsiteY10" fmla="*/ 10698 h 218161"/>
                <a:gd name="connsiteX11" fmla="*/ 73368 w 195339"/>
                <a:gd name="connsiteY11" fmla="*/ 2140 h 218161"/>
                <a:gd name="connsiteX12" fmla="*/ 58989 w 195339"/>
                <a:gd name="connsiteY12" fmla="*/ 2726 h 218161"/>
                <a:gd name="connsiteX13" fmla="*/ 64467 w 195339"/>
                <a:gd name="connsiteY13" fmla="*/ 11579 h 218161"/>
                <a:gd name="connsiteX14" fmla="*/ 94398 w 195339"/>
                <a:gd name="connsiteY14" fmla="*/ 64154 h 218161"/>
                <a:gd name="connsiteX15" fmla="*/ 13994 w 195339"/>
                <a:gd name="connsiteY15" fmla="*/ 36326 h 218161"/>
                <a:gd name="connsiteX16" fmla="*/ 252 w 195339"/>
                <a:gd name="connsiteY16" fmla="*/ 50411 h 218161"/>
                <a:gd name="connsiteX17" fmla="*/ 14924 w 195339"/>
                <a:gd name="connsiteY17" fmla="*/ 55155 h 218161"/>
                <a:gd name="connsiteX18" fmla="*/ 74541 w 195339"/>
                <a:gd name="connsiteY18" fmla="*/ 67235 h 218161"/>
                <a:gd name="connsiteX19" fmla="*/ 27493 w 195339"/>
                <a:gd name="connsiteY19" fmla="*/ 85771 h 218161"/>
                <a:gd name="connsiteX20" fmla="*/ 16489 w 195339"/>
                <a:gd name="connsiteY20" fmla="*/ 108463 h 218161"/>
                <a:gd name="connsiteX21" fmla="*/ 19863 w 195339"/>
                <a:gd name="connsiteY21" fmla="*/ 119468 h 218161"/>
                <a:gd name="connsiteX22" fmla="*/ 37274 w 195339"/>
                <a:gd name="connsiteY22" fmla="*/ 108463 h 218161"/>
                <a:gd name="connsiteX23" fmla="*/ 80068 w 195339"/>
                <a:gd name="connsiteY23" fmla="*/ 94085 h 218161"/>
                <a:gd name="connsiteX24" fmla="*/ 60798 w 195339"/>
                <a:gd name="connsiteY24" fmla="*/ 218162 h 2181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195339" h="218161">
                  <a:moveTo>
                    <a:pt x="104521" y="214592"/>
                  </a:moveTo>
                  <a:cubicBezTo>
                    <a:pt x="104521" y="214592"/>
                    <a:pt x="92588" y="149154"/>
                    <a:pt x="103005" y="102692"/>
                  </a:cubicBezTo>
                  <a:cubicBezTo>
                    <a:pt x="103005" y="102692"/>
                    <a:pt x="130491" y="108806"/>
                    <a:pt x="147608" y="147296"/>
                  </a:cubicBezTo>
                  <a:cubicBezTo>
                    <a:pt x="147608" y="147296"/>
                    <a:pt x="150347" y="152773"/>
                    <a:pt x="156461" y="150034"/>
                  </a:cubicBezTo>
                  <a:cubicBezTo>
                    <a:pt x="156461" y="150034"/>
                    <a:pt x="163797" y="147002"/>
                    <a:pt x="161938" y="131988"/>
                  </a:cubicBezTo>
                  <a:cubicBezTo>
                    <a:pt x="161938" y="131988"/>
                    <a:pt x="160716" y="80635"/>
                    <a:pt x="116112" y="79413"/>
                  </a:cubicBezTo>
                  <a:cubicBezTo>
                    <a:pt x="116112" y="79413"/>
                    <a:pt x="150054" y="77897"/>
                    <a:pt x="184289" y="96237"/>
                  </a:cubicBezTo>
                  <a:cubicBezTo>
                    <a:pt x="184289" y="96237"/>
                    <a:pt x="192848" y="99269"/>
                    <a:pt x="194999" y="94721"/>
                  </a:cubicBezTo>
                  <a:cubicBezTo>
                    <a:pt x="194999" y="94721"/>
                    <a:pt x="197738" y="90417"/>
                    <a:pt x="187663" y="77603"/>
                  </a:cubicBezTo>
                  <a:cubicBezTo>
                    <a:pt x="187663" y="77603"/>
                    <a:pt x="158319" y="30555"/>
                    <a:pt x="114009" y="60192"/>
                  </a:cubicBezTo>
                  <a:cubicBezTo>
                    <a:pt x="114009" y="60192"/>
                    <a:pt x="133279" y="26544"/>
                    <a:pt x="96598" y="10698"/>
                  </a:cubicBezTo>
                  <a:lnTo>
                    <a:pt x="73368" y="2140"/>
                  </a:lnTo>
                  <a:cubicBezTo>
                    <a:pt x="73368" y="2140"/>
                    <a:pt x="60847" y="-3045"/>
                    <a:pt x="58989" y="2726"/>
                  </a:cubicBezTo>
                  <a:cubicBezTo>
                    <a:pt x="58989" y="2726"/>
                    <a:pt x="58402" y="4878"/>
                    <a:pt x="64467" y="11579"/>
                  </a:cubicBezTo>
                  <a:cubicBezTo>
                    <a:pt x="64467" y="11579"/>
                    <a:pt x="93273" y="39896"/>
                    <a:pt x="94398" y="64154"/>
                  </a:cubicBezTo>
                  <a:cubicBezTo>
                    <a:pt x="94398" y="64154"/>
                    <a:pt x="78503" y="8840"/>
                    <a:pt x="13994" y="36326"/>
                  </a:cubicBezTo>
                  <a:cubicBezTo>
                    <a:pt x="13994" y="36326"/>
                    <a:pt x="-2194" y="43368"/>
                    <a:pt x="252" y="50411"/>
                  </a:cubicBezTo>
                  <a:cubicBezTo>
                    <a:pt x="252" y="50411"/>
                    <a:pt x="545" y="54226"/>
                    <a:pt x="14924" y="55155"/>
                  </a:cubicBezTo>
                  <a:cubicBezTo>
                    <a:pt x="14924" y="55155"/>
                    <a:pt x="51604" y="56231"/>
                    <a:pt x="74541" y="67235"/>
                  </a:cubicBezTo>
                  <a:cubicBezTo>
                    <a:pt x="74541" y="67235"/>
                    <a:pt x="40306" y="58872"/>
                    <a:pt x="27493" y="85771"/>
                  </a:cubicBezTo>
                  <a:lnTo>
                    <a:pt x="16489" y="108463"/>
                  </a:lnTo>
                  <a:cubicBezTo>
                    <a:pt x="16489" y="108463"/>
                    <a:pt x="12234" y="117022"/>
                    <a:pt x="19863" y="119468"/>
                  </a:cubicBezTo>
                  <a:cubicBezTo>
                    <a:pt x="19863" y="119468"/>
                    <a:pt x="24461" y="122500"/>
                    <a:pt x="37274" y="108463"/>
                  </a:cubicBezTo>
                  <a:cubicBezTo>
                    <a:pt x="37274" y="108463"/>
                    <a:pt x="56544" y="83716"/>
                    <a:pt x="80068" y="94085"/>
                  </a:cubicBezTo>
                  <a:cubicBezTo>
                    <a:pt x="80068" y="94085"/>
                    <a:pt x="65396" y="124309"/>
                    <a:pt x="60798" y="218162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375" name="Gráfico 6">
            <a:extLst>
              <a:ext uri="{FF2B5EF4-FFF2-40B4-BE49-F238E27FC236}">
                <a16:creationId xmlns:a16="http://schemas.microsoft.com/office/drawing/2014/main" id="{3A1B7618-D57C-D4CF-C1E2-CBE8D2227F07}"/>
              </a:ext>
            </a:extLst>
          </p:cNvPr>
          <p:cNvGrpSpPr/>
          <p:nvPr/>
        </p:nvGrpSpPr>
        <p:grpSpPr>
          <a:xfrm>
            <a:off x="5034228" y="1996681"/>
            <a:ext cx="402358" cy="304675"/>
            <a:chOff x="5034228" y="1996681"/>
            <a:chExt cx="402358" cy="304675"/>
          </a:xfrm>
          <a:noFill/>
        </p:grpSpPr>
        <p:grpSp>
          <p:nvGrpSpPr>
            <p:cNvPr id="376" name="Gráfico 6">
              <a:extLst>
                <a:ext uri="{FF2B5EF4-FFF2-40B4-BE49-F238E27FC236}">
                  <a16:creationId xmlns:a16="http://schemas.microsoft.com/office/drawing/2014/main" id="{72BF0490-C763-8140-3243-70EF3DC7942F}"/>
                </a:ext>
              </a:extLst>
            </p:cNvPr>
            <p:cNvGrpSpPr/>
            <p:nvPr/>
          </p:nvGrpSpPr>
          <p:grpSpPr>
            <a:xfrm>
              <a:off x="5209902" y="1996681"/>
              <a:ext cx="226684" cy="251822"/>
              <a:chOff x="5209902" y="1996681"/>
              <a:chExt cx="226684" cy="251822"/>
            </a:xfrm>
            <a:noFill/>
          </p:grpSpPr>
          <p:sp>
            <p:nvSpPr>
              <p:cNvPr id="377" name="Forma livre: Forma 376">
                <a:extLst>
                  <a:ext uri="{FF2B5EF4-FFF2-40B4-BE49-F238E27FC236}">
                    <a16:creationId xmlns:a16="http://schemas.microsoft.com/office/drawing/2014/main" id="{A49C90DC-157E-C1A4-1B49-BC412C078704}"/>
                  </a:ext>
                </a:extLst>
              </p:cNvPr>
              <p:cNvSpPr/>
              <p:nvPr/>
            </p:nvSpPr>
            <p:spPr>
              <a:xfrm>
                <a:off x="5210097" y="2197591"/>
                <a:ext cx="17670" cy="49347"/>
              </a:xfrm>
              <a:custGeom>
                <a:avLst/>
                <a:gdLst>
                  <a:gd name="connsiteX0" fmla="*/ 0 w 17670"/>
                  <a:gd name="connsiteY0" fmla="*/ 0 h 49347"/>
                  <a:gd name="connsiteX1" fmla="*/ 10711 w 17670"/>
                  <a:gd name="connsiteY1" fmla="*/ 6700 h 49347"/>
                  <a:gd name="connsiteX2" fmla="*/ 11151 w 17670"/>
                  <a:gd name="connsiteY2" fmla="*/ 7141 h 49347"/>
                  <a:gd name="connsiteX3" fmla="*/ 9928 w 17670"/>
                  <a:gd name="connsiteY3" fmla="*/ 41718 h 49347"/>
                  <a:gd name="connsiteX4" fmla="*/ 1712 w 17670"/>
                  <a:gd name="connsiteY4" fmla="*/ 49347 h 493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670" h="49347">
                    <a:moveTo>
                      <a:pt x="0" y="0"/>
                    </a:moveTo>
                    <a:cubicBezTo>
                      <a:pt x="3961" y="1223"/>
                      <a:pt x="7727" y="3424"/>
                      <a:pt x="10711" y="6700"/>
                    </a:cubicBezTo>
                    <a:lnTo>
                      <a:pt x="11151" y="7141"/>
                    </a:lnTo>
                    <a:cubicBezTo>
                      <a:pt x="20296" y="16971"/>
                      <a:pt x="19758" y="32523"/>
                      <a:pt x="9928" y="41718"/>
                    </a:cubicBezTo>
                    <a:lnTo>
                      <a:pt x="1712" y="49347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78" name="Forma livre: Forma 377">
                <a:extLst>
                  <a:ext uri="{FF2B5EF4-FFF2-40B4-BE49-F238E27FC236}">
                    <a16:creationId xmlns:a16="http://schemas.microsoft.com/office/drawing/2014/main" id="{58AB563C-A3A0-A9C4-19BC-071EB1AC8819}"/>
                  </a:ext>
                </a:extLst>
              </p:cNvPr>
              <p:cNvSpPr/>
              <p:nvPr/>
            </p:nvSpPr>
            <p:spPr>
              <a:xfrm>
                <a:off x="5278127" y="2054685"/>
                <a:ext cx="63285" cy="75610"/>
              </a:xfrm>
              <a:custGeom>
                <a:avLst/>
                <a:gdLst>
                  <a:gd name="connsiteX0" fmla="*/ 0 w 63285"/>
                  <a:gd name="connsiteY0" fmla="*/ 75610 h 75610"/>
                  <a:gd name="connsiteX1" fmla="*/ 63286 w 63285"/>
                  <a:gd name="connsiteY1" fmla="*/ 0 h 756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3285" h="75610">
                    <a:moveTo>
                      <a:pt x="0" y="75610"/>
                    </a:moveTo>
                    <a:lnTo>
                      <a:pt x="63286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79" name="Forma livre: Forma 378">
                <a:extLst>
                  <a:ext uri="{FF2B5EF4-FFF2-40B4-BE49-F238E27FC236}">
                    <a16:creationId xmlns:a16="http://schemas.microsoft.com/office/drawing/2014/main" id="{38E0B2C9-8704-3D0E-7E5D-387AFF63E0F7}"/>
                  </a:ext>
                </a:extLst>
              </p:cNvPr>
              <p:cNvSpPr/>
              <p:nvPr/>
            </p:nvSpPr>
            <p:spPr>
              <a:xfrm>
                <a:off x="5298815" y="2094837"/>
                <a:ext cx="79963" cy="57710"/>
              </a:xfrm>
              <a:custGeom>
                <a:avLst/>
                <a:gdLst>
                  <a:gd name="connsiteX0" fmla="*/ 0 w 79963"/>
                  <a:gd name="connsiteY0" fmla="*/ 57710 h 57710"/>
                  <a:gd name="connsiteX1" fmla="*/ 79963 w 79963"/>
                  <a:gd name="connsiteY1" fmla="*/ 0 h 577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79963" h="57710">
                    <a:moveTo>
                      <a:pt x="0" y="57710"/>
                    </a:moveTo>
                    <a:lnTo>
                      <a:pt x="79963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80" name="Forma livre: Forma 379">
                <a:extLst>
                  <a:ext uri="{FF2B5EF4-FFF2-40B4-BE49-F238E27FC236}">
                    <a16:creationId xmlns:a16="http://schemas.microsoft.com/office/drawing/2014/main" id="{D1A3916B-0F3E-B7A5-7649-9FF42A7B242B}"/>
                  </a:ext>
                </a:extLst>
              </p:cNvPr>
              <p:cNvSpPr/>
              <p:nvPr/>
            </p:nvSpPr>
            <p:spPr>
              <a:xfrm>
                <a:off x="5226921" y="2149173"/>
                <a:ext cx="50667" cy="54433"/>
              </a:xfrm>
              <a:custGeom>
                <a:avLst/>
                <a:gdLst>
                  <a:gd name="connsiteX0" fmla="*/ 50668 w 50667"/>
                  <a:gd name="connsiteY0" fmla="*/ 54434 h 54433"/>
                  <a:gd name="connsiteX1" fmla="*/ 0 w 50667"/>
                  <a:gd name="connsiteY1" fmla="*/ 0 h 544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0667" h="54433">
                    <a:moveTo>
                      <a:pt x="50668" y="54434"/>
                    </a:moveTo>
                    <a:cubicBezTo>
                      <a:pt x="33795" y="6162"/>
                      <a:pt x="0" y="0"/>
                      <a:pt x="0" y="0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81" name="Forma livre: Forma 380">
                <a:extLst>
                  <a:ext uri="{FF2B5EF4-FFF2-40B4-BE49-F238E27FC236}">
                    <a16:creationId xmlns:a16="http://schemas.microsoft.com/office/drawing/2014/main" id="{5A84FBA4-83FD-2FFC-54FC-DBCF1BFC825A}"/>
                  </a:ext>
                </a:extLst>
              </p:cNvPr>
              <p:cNvSpPr/>
              <p:nvPr/>
            </p:nvSpPr>
            <p:spPr>
              <a:xfrm>
                <a:off x="5209902" y="1996681"/>
                <a:ext cx="226684" cy="251822"/>
              </a:xfrm>
              <a:custGeom>
                <a:avLst/>
                <a:gdLst>
                  <a:gd name="connsiteX0" fmla="*/ 2005 w 226684"/>
                  <a:gd name="connsiteY0" fmla="*/ 251822 h 251822"/>
                  <a:gd name="connsiteX1" fmla="*/ 68421 w 226684"/>
                  <a:gd name="connsiteY1" fmla="*/ 207953 h 251822"/>
                  <a:gd name="connsiteX2" fmla="*/ 191129 w 226684"/>
                  <a:gd name="connsiteY2" fmla="*/ 141879 h 251822"/>
                  <a:gd name="connsiteX3" fmla="*/ 226684 w 226684"/>
                  <a:gd name="connsiteY3" fmla="*/ 122952 h 251822"/>
                  <a:gd name="connsiteX4" fmla="*/ 180027 w 226684"/>
                  <a:gd name="connsiteY4" fmla="*/ 53358 h 251822"/>
                  <a:gd name="connsiteX5" fmla="*/ 178315 w 226684"/>
                  <a:gd name="connsiteY5" fmla="*/ 51499 h 251822"/>
                  <a:gd name="connsiteX6" fmla="*/ 112242 w 226684"/>
                  <a:gd name="connsiteY6" fmla="*/ 0 h 251822"/>
                  <a:gd name="connsiteX7" fmla="*/ 90820 w 226684"/>
                  <a:gd name="connsiteY7" fmla="*/ 34088 h 251822"/>
                  <a:gd name="connsiteX8" fmla="*/ 15895 w 226684"/>
                  <a:gd name="connsiteY8" fmla="*/ 152052 h 251822"/>
                  <a:gd name="connsiteX9" fmla="*/ 0 w 226684"/>
                  <a:gd name="connsiteY9" fmla="*/ 172691 h 2518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26684" h="251822">
                    <a:moveTo>
                      <a:pt x="2005" y="251822"/>
                    </a:moveTo>
                    <a:lnTo>
                      <a:pt x="68421" y="207953"/>
                    </a:lnTo>
                    <a:cubicBezTo>
                      <a:pt x="127696" y="172593"/>
                      <a:pt x="191129" y="141879"/>
                      <a:pt x="191129" y="141879"/>
                    </a:cubicBezTo>
                    <a:lnTo>
                      <a:pt x="226684" y="122952"/>
                    </a:lnTo>
                    <a:lnTo>
                      <a:pt x="180027" y="53358"/>
                    </a:lnTo>
                    <a:lnTo>
                      <a:pt x="178315" y="51499"/>
                    </a:lnTo>
                    <a:lnTo>
                      <a:pt x="112242" y="0"/>
                    </a:lnTo>
                    <a:lnTo>
                      <a:pt x="90820" y="34088"/>
                    </a:lnTo>
                    <a:cubicBezTo>
                      <a:pt x="90820" y="34088"/>
                      <a:pt x="55461" y="95369"/>
                      <a:pt x="15895" y="152052"/>
                    </a:cubicBezTo>
                    <a:cubicBezTo>
                      <a:pt x="14085" y="154644"/>
                      <a:pt x="6113" y="164866"/>
                      <a:pt x="0" y="172691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382" name="Gráfico 6">
              <a:extLst>
                <a:ext uri="{FF2B5EF4-FFF2-40B4-BE49-F238E27FC236}">
                  <a16:creationId xmlns:a16="http://schemas.microsoft.com/office/drawing/2014/main" id="{2E1536D7-46F9-0DD7-31B2-6DE7A0CA9990}"/>
                </a:ext>
              </a:extLst>
            </p:cNvPr>
            <p:cNvGrpSpPr/>
            <p:nvPr/>
          </p:nvGrpSpPr>
          <p:grpSpPr>
            <a:xfrm>
              <a:off x="5034228" y="2005191"/>
              <a:ext cx="165012" cy="296165"/>
              <a:chOff x="5034228" y="2005191"/>
              <a:chExt cx="165012" cy="296165"/>
            </a:xfrm>
            <a:noFill/>
          </p:grpSpPr>
          <p:sp>
            <p:nvSpPr>
              <p:cNvPr id="383" name="Forma livre: Forma 382">
                <a:extLst>
                  <a:ext uri="{FF2B5EF4-FFF2-40B4-BE49-F238E27FC236}">
                    <a16:creationId xmlns:a16="http://schemas.microsoft.com/office/drawing/2014/main" id="{68584B65-5717-FCF8-97AF-6FA63F1294B7}"/>
                  </a:ext>
                </a:extLst>
              </p:cNvPr>
              <p:cNvSpPr/>
              <p:nvPr/>
            </p:nvSpPr>
            <p:spPr>
              <a:xfrm>
                <a:off x="5136068" y="2232331"/>
                <a:ext cx="53326" cy="69025"/>
              </a:xfrm>
              <a:custGeom>
                <a:avLst/>
                <a:gdLst>
                  <a:gd name="connsiteX0" fmla="*/ 52902 w 53326"/>
                  <a:gd name="connsiteY0" fmla="*/ 39942 h 69025"/>
                  <a:gd name="connsiteX1" fmla="*/ 33437 w 53326"/>
                  <a:gd name="connsiteY1" fmla="*/ 68503 h 69025"/>
                  <a:gd name="connsiteX2" fmla="*/ 32850 w 53326"/>
                  <a:gd name="connsiteY2" fmla="*/ 68601 h 69025"/>
                  <a:gd name="connsiteX3" fmla="*/ 4239 w 53326"/>
                  <a:gd name="connsiteY3" fmla="*/ 49136 h 69025"/>
                  <a:gd name="connsiteX4" fmla="*/ 425 w 53326"/>
                  <a:gd name="connsiteY4" fmla="*/ 29133 h 69025"/>
                  <a:gd name="connsiteX5" fmla="*/ 19890 w 53326"/>
                  <a:gd name="connsiteY5" fmla="*/ 522 h 69025"/>
                  <a:gd name="connsiteX6" fmla="*/ 20476 w 53326"/>
                  <a:gd name="connsiteY6" fmla="*/ 425 h 69025"/>
                  <a:gd name="connsiteX7" fmla="*/ 49087 w 53326"/>
                  <a:gd name="connsiteY7" fmla="*/ 19890 h 69025"/>
                  <a:gd name="connsiteX8" fmla="*/ 52902 w 53326"/>
                  <a:gd name="connsiteY8" fmla="*/ 39893 h 690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53326" h="69025">
                    <a:moveTo>
                      <a:pt x="52902" y="39942"/>
                    </a:moveTo>
                    <a:cubicBezTo>
                      <a:pt x="55396" y="53146"/>
                      <a:pt x="46642" y="66009"/>
                      <a:pt x="33437" y="68503"/>
                    </a:cubicBezTo>
                    <a:lnTo>
                      <a:pt x="32850" y="68601"/>
                    </a:lnTo>
                    <a:cubicBezTo>
                      <a:pt x="19645" y="71095"/>
                      <a:pt x="6782" y="62341"/>
                      <a:pt x="4239" y="49136"/>
                    </a:cubicBezTo>
                    <a:lnTo>
                      <a:pt x="425" y="29133"/>
                    </a:lnTo>
                    <a:cubicBezTo>
                      <a:pt x="-2070" y="15928"/>
                      <a:pt x="6685" y="3066"/>
                      <a:pt x="19890" y="522"/>
                    </a:cubicBezTo>
                    <a:lnTo>
                      <a:pt x="20476" y="425"/>
                    </a:lnTo>
                    <a:cubicBezTo>
                      <a:pt x="33681" y="-2070"/>
                      <a:pt x="46544" y="6685"/>
                      <a:pt x="49087" y="19890"/>
                    </a:cubicBezTo>
                    <a:lnTo>
                      <a:pt x="52902" y="39893"/>
                    </a:ln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84" name="Forma livre: Forma 383">
                <a:extLst>
                  <a:ext uri="{FF2B5EF4-FFF2-40B4-BE49-F238E27FC236}">
                    <a16:creationId xmlns:a16="http://schemas.microsoft.com/office/drawing/2014/main" id="{A8747F1D-77FB-2B83-1CE7-2ED34C9426AD}"/>
                  </a:ext>
                </a:extLst>
              </p:cNvPr>
              <p:cNvSpPr/>
              <p:nvPr/>
            </p:nvSpPr>
            <p:spPr>
              <a:xfrm>
                <a:off x="5093601" y="2051163"/>
                <a:ext cx="30273" cy="93852"/>
              </a:xfrm>
              <a:custGeom>
                <a:avLst/>
                <a:gdLst>
                  <a:gd name="connsiteX0" fmla="*/ 30273 w 30273"/>
                  <a:gd name="connsiteY0" fmla="*/ 93853 h 93852"/>
                  <a:gd name="connsiteX1" fmla="*/ 0 w 30273"/>
                  <a:gd name="connsiteY1" fmla="*/ 0 h 938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0273" h="93852">
                    <a:moveTo>
                      <a:pt x="30273" y="93853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85" name="Forma livre: Forma 384">
                <a:extLst>
                  <a:ext uri="{FF2B5EF4-FFF2-40B4-BE49-F238E27FC236}">
                    <a16:creationId xmlns:a16="http://schemas.microsoft.com/office/drawing/2014/main" id="{63295889-682B-06A7-3888-F9AD044EA7A6}"/>
                  </a:ext>
                </a:extLst>
              </p:cNvPr>
              <p:cNvSpPr/>
              <p:nvPr/>
            </p:nvSpPr>
            <p:spPr>
              <a:xfrm>
                <a:off x="5147496" y="2040942"/>
                <a:ext cx="6211" cy="98400"/>
              </a:xfrm>
              <a:custGeom>
                <a:avLst/>
                <a:gdLst>
                  <a:gd name="connsiteX0" fmla="*/ 6211 w 6211"/>
                  <a:gd name="connsiteY0" fmla="*/ 98401 h 98400"/>
                  <a:gd name="connsiteX1" fmla="*/ 0 w 6211"/>
                  <a:gd name="connsiteY1" fmla="*/ 0 h 98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211" h="98400">
                    <a:moveTo>
                      <a:pt x="6211" y="98401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86" name="Forma livre: Forma 385">
                <a:extLst>
                  <a:ext uri="{FF2B5EF4-FFF2-40B4-BE49-F238E27FC236}">
                    <a16:creationId xmlns:a16="http://schemas.microsoft.com/office/drawing/2014/main" id="{E7A05730-34D5-1EE3-855F-110276057581}"/>
                  </a:ext>
                </a:extLst>
              </p:cNvPr>
              <p:cNvSpPr/>
              <p:nvPr/>
            </p:nvSpPr>
            <p:spPr>
              <a:xfrm>
                <a:off x="5112577" y="2181564"/>
                <a:ext cx="73067" cy="16858"/>
              </a:xfrm>
              <a:custGeom>
                <a:avLst/>
                <a:gdLst>
                  <a:gd name="connsiteX0" fmla="*/ 73067 w 73067"/>
                  <a:gd name="connsiteY0" fmla="*/ 2969 h 16858"/>
                  <a:gd name="connsiteX1" fmla="*/ 0 w 73067"/>
                  <a:gd name="connsiteY1" fmla="*/ 16858 h 168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73067" h="16858">
                    <a:moveTo>
                      <a:pt x="73067" y="2969"/>
                    </a:moveTo>
                    <a:cubicBezTo>
                      <a:pt x="23231" y="-8476"/>
                      <a:pt x="0" y="16858"/>
                      <a:pt x="0" y="16858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87" name="Forma livre: Forma 386">
                <a:extLst>
                  <a:ext uri="{FF2B5EF4-FFF2-40B4-BE49-F238E27FC236}">
                    <a16:creationId xmlns:a16="http://schemas.microsoft.com/office/drawing/2014/main" id="{D921FCB0-89D4-32FE-92DE-F2B622AD63BE}"/>
                  </a:ext>
                </a:extLst>
              </p:cNvPr>
              <p:cNvSpPr/>
              <p:nvPr/>
            </p:nvSpPr>
            <p:spPr>
              <a:xfrm>
                <a:off x="5034228" y="2005191"/>
                <a:ext cx="165012" cy="276227"/>
              </a:xfrm>
              <a:custGeom>
                <a:avLst/>
                <a:gdLst>
                  <a:gd name="connsiteX0" fmla="*/ 154840 w 165012"/>
                  <a:gd name="connsiteY0" fmla="*/ 266446 h 276227"/>
                  <a:gd name="connsiteX1" fmla="*/ 152639 w 165012"/>
                  <a:gd name="connsiteY1" fmla="*/ 179195 h 276227"/>
                  <a:gd name="connsiteX2" fmla="*/ 162078 w 165012"/>
                  <a:gd name="connsiteY2" fmla="*/ 40153 h 276227"/>
                  <a:gd name="connsiteX3" fmla="*/ 165012 w 165012"/>
                  <a:gd name="connsiteY3" fmla="*/ 0 h 276227"/>
                  <a:gd name="connsiteX4" fmla="*/ 81284 w 165012"/>
                  <a:gd name="connsiteY4" fmla="*/ 2445 h 276227"/>
                  <a:gd name="connsiteX5" fmla="*/ 78789 w 165012"/>
                  <a:gd name="connsiteY5" fmla="*/ 2934 h 276227"/>
                  <a:gd name="connsiteX6" fmla="*/ 0 w 165012"/>
                  <a:gd name="connsiteY6" fmla="*/ 31398 h 276227"/>
                  <a:gd name="connsiteX7" fmla="*/ 17411 w 165012"/>
                  <a:gd name="connsiteY7" fmla="*/ 67687 h 276227"/>
                  <a:gd name="connsiteX8" fmla="*/ 77322 w 165012"/>
                  <a:gd name="connsiteY8" fmla="*/ 193916 h 276227"/>
                  <a:gd name="connsiteX9" fmla="*/ 90380 w 165012"/>
                  <a:gd name="connsiteY9" fmla="*/ 229716 h 276227"/>
                  <a:gd name="connsiteX10" fmla="*/ 105884 w 165012"/>
                  <a:gd name="connsiteY10" fmla="*/ 276227 h 2762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165012" h="276227">
                    <a:moveTo>
                      <a:pt x="154840" y="266446"/>
                    </a:moveTo>
                    <a:lnTo>
                      <a:pt x="152639" y="179195"/>
                    </a:lnTo>
                    <a:cubicBezTo>
                      <a:pt x="154302" y="110188"/>
                      <a:pt x="162078" y="40153"/>
                      <a:pt x="162078" y="40153"/>
                    </a:cubicBezTo>
                    <a:lnTo>
                      <a:pt x="165012" y="0"/>
                    </a:lnTo>
                    <a:lnTo>
                      <a:pt x="81284" y="2445"/>
                    </a:lnTo>
                    <a:lnTo>
                      <a:pt x="78789" y="2934"/>
                    </a:lnTo>
                    <a:lnTo>
                      <a:pt x="0" y="31398"/>
                    </a:lnTo>
                    <a:lnTo>
                      <a:pt x="17411" y="67687"/>
                    </a:lnTo>
                    <a:cubicBezTo>
                      <a:pt x="17411" y="67687"/>
                      <a:pt x="50472" y="130239"/>
                      <a:pt x="77322" y="193916"/>
                    </a:cubicBezTo>
                    <a:cubicBezTo>
                      <a:pt x="79376" y="198856"/>
                      <a:pt x="90380" y="229716"/>
                      <a:pt x="90380" y="229716"/>
                    </a:cubicBezTo>
                    <a:lnTo>
                      <a:pt x="105884" y="276227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388" name="Gráfico 6">
            <a:extLst>
              <a:ext uri="{FF2B5EF4-FFF2-40B4-BE49-F238E27FC236}">
                <a16:creationId xmlns:a16="http://schemas.microsoft.com/office/drawing/2014/main" id="{04AD8AF3-BF8D-807D-A7C9-FB2649026105}"/>
              </a:ext>
            </a:extLst>
          </p:cNvPr>
          <p:cNvGrpSpPr/>
          <p:nvPr/>
        </p:nvGrpSpPr>
        <p:grpSpPr>
          <a:xfrm>
            <a:off x="5740983" y="2016684"/>
            <a:ext cx="262092" cy="264635"/>
            <a:chOff x="5740983" y="2016684"/>
            <a:chExt cx="262092" cy="264635"/>
          </a:xfrm>
        </p:grpSpPr>
        <p:grpSp>
          <p:nvGrpSpPr>
            <p:cNvPr id="389" name="Gráfico 6">
              <a:extLst>
                <a:ext uri="{FF2B5EF4-FFF2-40B4-BE49-F238E27FC236}">
                  <a16:creationId xmlns:a16="http://schemas.microsoft.com/office/drawing/2014/main" id="{8339265F-7B53-4190-EE0E-5AB724FC3AEA}"/>
                </a:ext>
              </a:extLst>
            </p:cNvPr>
            <p:cNvGrpSpPr/>
            <p:nvPr/>
          </p:nvGrpSpPr>
          <p:grpSpPr>
            <a:xfrm>
              <a:off x="5740983" y="2016684"/>
              <a:ext cx="262092" cy="264635"/>
              <a:chOff x="5740983" y="2016684"/>
              <a:chExt cx="262092" cy="264635"/>
            </a:xfrm>
            <a:noFill/>
          </p:grpSpPr>
          <p:sp>
            <p:nvSpPr>
              <p:cNvPr id="390" name="Forma livre: Forma 389">
                <a:extLst>
                  <a:ext uri="{FF2B5EF4-FFF2-40B4-BE49-F238E27FC236}">
                    <a16:creationId xmlns:a16="http://schemas.microsoft.com/office/drawing/2014/main" id="{CF86773C-A508-7BFA-7812-2E5E3945910D}"/>
                  </a:ext>
                </a:extLst>
              </p:cNvPr>
              <p:cNvSpPr/>
              <p:nvPr/>
            </p:nvSpPr>
            <p:spPr>
              <a:xfrm>
                <a:off x="5741570" y="2110879"/>
                <a:ext cx="260870" cy="4890"/>
              </a:xfrm>
              <a:custGeom>
                <a:avLst/>
                <a:gdLst>
                  <a:gd name="connsiteX0" fmla="*/ 0 w 260870"/>
                  <a:gd name="connsiteY0" fmla="*/ 0 h 4890"/>
                  <a:gd name="connsiteX1" fmla="*/ 260870 w 260870"/>
                  <a:gd name="connsiteY1" fmla="*/ 0 h 48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60870" h="4890">
                    <a:moveTo>
                      <a:pt x="0" y="0"/>
                    </a:moveTo>
                    <a:lnTo>
                      <a:pt x="26087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91" name="Forma livre: Forma 390">
                <a:extLst>
                  <a:ext uri="{FF2B5EF4-FFF2-40B4-BE49-F238E27FC236}">
                    <a16:creationId xmlns:a16="http://schemas.microsoft.com/office/drawing/2014/main" id="{7B3A5614-0EE8-C50A-C509-1FA5D31299AB}"/>
                  </a:ext>
                </a:extLst>
              </p:cNvPr>
              <p:cNvSpPr/>
              <p:nvPr/>
            </p:nvSpPr>
            <p:spPr>
              <a:xfrm>
                <a:off x="5798596" y="2016684"/>
                <a:ext cx="4890" cy="58541"/>
              </a:xfrm>
              <a:custGeom>
                <a:avLst/>
                <a:gdLst>
                  <a:gd name="connsiteX0" fmla="*/ 0 w 4890"/>
                  <a:gd name="connsiteY0" fmla="*/ 0 h 58541"/>
                  <a:gd name="connsiteX1" fmla="*/ 0 w 4890"/>
                  <a:gd name="connsiteY1" fmla="*/ 58542 h 585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890" h="58541">
                    <a:moveTo>
                      <a:pt x="0" y="0"/>
                    </a:moveTo>
                    <a:lnTo>
                      <a:pt x="0" y="58542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92" name="Forma livre: Forma 391">
                <a:extLst>
                  <a:ext uri="{FF2B5EF4-FFF2-40B4-BE49-F238E27FC236}">
                    <a16:creationId xmlns:a16="http://schemas.microsoft.com/office/drawing/2014/main" id="{C8C9C1B7-921F-D41A-F432-B876844407C7}"/>
                  </a:ext>
                </a:extLst>
              </p:cNvPr>
              <p:cNvSpPr/>
              <p:nvPr/>
            </p:nvSpPr>
            <p:spPr>
              <a:xfrm>
                <a:off x="5930645" y="2016684"/>
                <a:ext cx="4890" cy="58541"/>
              </a:xfrm>
              <a:custGeom>
                <a:avLst/>
                <a:gdLst>
                  <a:gd name="connsiteX0" fmla="*/ 0 w 4890"/>
                  <a:gd name="connsiteY0" fmla="*/ 0 h 58541"/>
                  <a:gd name="connsiteX1" fmla="*/ 0 w 4890"/>
                  <a:gd name="connsiteY1" fmla="*/ 58542 h 585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890" h="58541">
                    <a:moveTo>
                      <a:pt x="0" y="0"/>
                    </a:moveTo>
                    <a:lnTo>
                      <a:pt x="0" y="58542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93" name="Forma livre: Forma 392">
                <a:extLst>
                  <a:ext uri="{FF2B5EF4-FFF2-40B4-BE49-F238E27FC236}">
                    <a16:creationId xmlns:a16="http://schemas.microsoft.com/office/drawing/2014/main" id="{6A8975B7-7A23-963B-371F-8C4E4AD9BBCD}"/>
                  </a:ext>
                </a:extLst>
              </p:cNvPr>
              <p:cNvSpPr/>
              <p:nvPr/>
            </p:nvSpPr>
            <p:spPr>
              <a:xfrm>
                <a:off x="5864620" y="2016684"/>
                <a:ext cx="4890" cy="58541"/>
              </a:xfrm>
              <a:custGeom>
                <a:avLst/>
                <a:gdLst>
                  <a:gd name="connsiteX0" fmla="*/ 0 w 4890"/>
                  <a:gd name="connsiteY0" fmla="*/ 0 h 58541"/>
                  <a:gd name="connsiteX1" fmla="*/ 0 w 4890"/>
                  <a:gd name="connsiteY1" fmla="*/ 58542 h 585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890" h="58541">
                    <a:moveTo>
                      <a:pt x="0" y="0"/>
                    </a:moveTo>
                    <a:lnTo>
                      <a:pt x="0" y="58542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94" name="Forma livre: Forma 393">
                <a:extLst>
                  <a:ext uri="{FF2B5EF4-FFF2-40B4-BE49-F238E27FC236}">
                    <a16:creationId xmlns:a16="http://schemas.microsoft.com/office/drawing/2014/main" id="{C8C13BA9-45EB-D6E2-866B-436780394582}"/>
                  </a:ext>
                </a:extLst>
              </p:cNvPr>
              <p:cNvSpPr/>
              <p:nvPr/>
            </p:nvSpPr>
            <p:spPr>
              <a:xfrm>
                <a:off x="5740983" y="2043925"/>
                <a:ext cx="262092" cy="237394"/>
              </a:xfrm>
              <a:custGeom>
                <a:avLst/>
                <a:gdLst>
                  <a:gd name="connsiteX0" fmla="*/ 216316 w 262092"/>
                  <a:gd name="connsiteY0" fmla="*/ 0 h 237394"/>
                  <a:gd name="connsiteX1" fmla="*/ 236955 w 262092"/>
                  <a:gd name="connsiteY1" fmla="*/ 0 h 237394"/>
                  <a:gd name="connsiteX2" fmla="*/ 262093 w 262092"/>
                  <a:gd name="connsiteY2" fmla="*/ 25138 h 237394"/>
                  <a:gd name="connsiteX3" fmla="*/ 262093 w 262092"/>
                  <a:gd name="connsiteY3" fmla="*/ 212257 h 237394"/>
                  <a:gd name="connsiteX4" fmla="*/ 236955 w 262092"/>
                  <a:gd name="connsiteY4" fmla="*/ 237395 h 237394"/>
                  <a:gd name="connsiteX5" fmla="*/ 25138 w 262092"/>
                  <a:gd name="connsiteY5" fmla="*/ 237395 h 237394"/>
                  <a:gd name="connsiteX6" fmla="*/ 0 w 262092"/>
                  <a:gd name="connsiteY6" fmla="*/ 212257 h 237394"/>
                  <a:gd name="connsiteX7" fmla="*/ 0 w 262092"/>
                  <a:gd name="connsiteY7" fmla="*/ 25138 h 237394"/>
                  <a:gd name="connsiteX8" fmla="*/ 25138 w 262092"/>
                  <a:gd name="connsiteY8" fmla="*/ 0 h 237394"/>
                  <a:gd name="connsiteX9" fmla="*/ 57172 w 262092"/>
                  <a:gd name="connsiteY9" fmla="*/ 0 h 2373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62092" h="237394">
                    <a:moveTo>
                      <a:pt x="216316" y="0"/>
                    </a:moveTo>
                    <a:lnTo>
                      <a:pt x="236955" y="0"/>
                    </a:lnTo>
                    <a:cubicBezTo>
                      <a:pt x="250795" y="0"/>
                      <a:pt x="262093" y="11298"/>
                      <a:pt x="262093" y="25138"/>
                    </a:cubicBezTo>
                    <a:lnTo>
                      <a:pt x="262093" y="212257"/>
                    </a:lnTo>
                    <a:cubicBezTo>
                      <a:pt x="262093" y="226097"/>
                      <a:pt x="250795" y="237395"/>
                      <a:pt x="236955" y="237395"/>
                    </a:cubicBezTo>
                    <a:lnTo>
                      <a:pt x="25138" y="237395"/>
                    </a:lnTo>
                    <a:cubicBezTo>
                      <a:pt x="11298" y="237395"/>
                      <a:pt x="0" y="226097"/>
                      <a:pt x="0" y="212257"/>
                    </a:cubicBezTo>
                    <a:lnTo>
                      <a:pt x="0" y="25138"/>
                    </a:lnTo>
                    <a:cubicBezTo>
                      <a:pt x="0" y="11298"/>
                      <a:pt x="11298" y="0"/>
                      <a:pt x="25138" y="0"/>
                    </a:cubicBezTo>
                    <a:lnTo>
                      <a:pt x="57172" y="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95" name="Forma livre: Forma 394">
                <a:extLst>
                  <a:ext uri="{FF2B5EF4-FFF2-40B4-BE49-F238E27FC236}">
                    <a16:creationId xmlns:a16="http://schemas.microsoft.com/office/drawing/2014/main" id="{7E74AEB5-6635-1351-0396-D49AF49C11F7}"/>
                  </a:ext>
                </a:extLst>
              </p:cNvPr>
              <p:cNvSpPr/>
              <p:nvPr/>
            </p:nvSpPr>
            <p:spPr>
              <a:xfrm>
                <a:off x="5891421" y="2043925"/>
                <a:ext cx="38538" cy="4890"/>
              </a:xfrm>
              <a:custGeom>
                <a:avLst/>
                <a:gdLst>
                  <a:gd name="connsiteX0" fmla="*/ 0 w 38538"/>
                  <a:gd name="connsiteY0" fmla="*/ 0 h 4890"/>
                  <a:gd name="connsiteX1" fmla="*/ 38539 w 38538"/>
                  <a:gd name="connsiteY1" fmla="*/ 0 h 48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8538" h="4890">
                    <a:moveTo>
                      <a:pt x="0" y="0"/>
                    </a:moveTo>
                    <a:lnTo>
                      <a:pt x="38539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96" name="Forma livre: Forma 395">
                <a:extLst>
                  <a:ext uri="{FF2B5EF4-FFF2-40B4-BE49-F238E27FC236}">
                    <a16:creationId xmlns:a16="http://schemas.microsoft.com/office/drawing/2014/main" id="{DB6B4E10-4158-9D1A-BF15-B77DA4290824}"/>
                  </a:ext>
                </a:extLst>
              </p:cNvPr>
              <p:cNvSpPr/>
              <p:nvPr/>
            </p:nvSpPr>
            <p:spPr>
              <a:xfrm>
                <a:off x="5825348" y="2043925"/>
                <a:ext cx="38978" cy="4890"/>
              </a:xfrm>
              <a:custGeom>
                <a:avLst/>
                <a:gdLst>
                  <a:gd name="connsiteX0" fmla="*/ 0 w 38978"/>
                  <a:gd name="connsiteY0" fmla="*/ 0 h 4890"/>
                  <a:gd name="connsiteX1" fmla="*/ 38979 w 38978"/>
                  <a:gd name="connsiteY1" fmla="*/ 0 h 48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8978" h="4890">
                    <a:moveTo>
                      <a:pt x="0" y="0"/>
                    </a:moveTo>
                    <a:lnTo>
                      <a:pt x="38979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397" name="Forma livre: Forma 396">
              <a:extLst>
                <a:ext uri="{FF2B5EF4-FFF2-40B4-BE49-F238E27FC236}">
                  <a16:creationId xmlns:a16="http://schemas.microsoft.com/office/drawing/2014/main" id="{8856A9AC-2C7E-EEFC-8184-02140619229A}"/>
                </a:ext>
              </a:extLst>
            </p:cNvPr>
            <p:cNvSpPr/>
            <p:nvPr/>
          </p:nvSpPr>
          <p:spPr>
            <a:xfrm>
              <a:off x="5818648" y="2142473"/>
              <a:ext cx="114246" cy="109747"/>
            </a:xfrm>
            <a:custGeom>
              <a:avLst/>
              <a:gdLst>
                <a:gd name="connsiteX0" fmla="*/ 46657 w 114246"/>
                <a:gd name="connsiteY0" fmla="*/ 61476 h 109747"/>
                <a:gd name="connsiteX1" fmla="*/ 12618 w 114246"/>
                <a:gd name="connsiteY1" fmla="*/ 61476 h 109747"/>
                <a:gd name="connsiteX2" fmla="*/ 5918 w 114246"/>
                <a:gd name="connsiteY2" fmla="*/ 70279 h 109747"/>
                <a:gd name="connsiteX3" fmla="*/ 0 w 114246"/>
                <a:gd name="connsiteY3" fmla="*/ 70182 h 109747"/>
                <a:gd name="connsiteX4" fmla="*/ 5184 w 114246"/>
                <a:gd name="connsiteY4" fmla="*/ 54825 h 109747"/>
                <a:gd name="connsiteX5" fmla="*/ 147 w 114246"/>
                <a:gd name="connsiteY5" fmla="*/ 39615 h 109747"/>
                <a:gd name="connsiteX6" fmla="*/ 5820 w 114246"/>
                <a:gd name="connsiteY6" fmla="*/ 39615 h 109747"/>
                <a:gd name="connsiteX7" fmla="*/ 12569 w 114246"/>
                <a:gd name="connsiteY7" fmla="*/ 48369 h 109747"/>
                <a:gd name="connsiteX8" fmla="*/ 46706 w 114246"/>
                <a:gd name="connsiteY8" fmla="*/ 48369 h 109747"/>
                <a:gd name="connsiteX9" fmla="*/ 30567 w 114246"/>
                <a:gd name="connsiteY9" fmla="*/ 0 h 109747"/>
                <a:gd name="connsiteX10" fmla="*/ 38783 w 114246"/>
                <a:gd name="connsiteY10" fmla="*/ 0 h 109747"/>
                <a:gd name="connsiteX11" fmla="*/ 68274 w 114246"/>
                <a:gd name="connsiteY11" fmla="*/ 48369 h 109747"/>
                <a:gd name="connsiteX12" fmla="*/ 107693 w 114246"/>
                <a:gd name="connsiteY12" fmla="*/ 48369 h 109747"/>
                <a:gd name="connsiteX13" fmla="*/ 114247 w 114246"/>
                <a:gd name="connsiteY13" fmla="*/ 54923 h 109747"/>
                <a:gd name="connsiteX14" fmla="*/ 107693 w 114246"/>
                <a:gd name="connsiteY14" fmla="*/ 61476 h 109747"/>
                <a:gd name="connsiteX15" fmla="*/ 68225 w 114246"/>
                <a:gd name="connsiteY15" fmla="*/ 61476 h 109747"/>
                <a:gd name="connsiteX16" fmla="*/ 38637 w 114246"/>
                <a:gd name="connsiteY16" fmla="*/ 109747 h 109747"/>
                <a:gd name="connsiteX17" fmla="*/ 30567 w 114246"/>
                <a:gd name="connsiteY17" fmla="*/ 109747 h 109747"/>
                <a:gd name="connsiteX18" fmla="*/ 46657 w 114246"/>
                <a:gd name="connsiteY18" fmla="*/ 61476 h 109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14246" h="109747">
                  <a:moveTo>
                    <a:pt x="46657" y="61476"/>
                  </a:moveTo>
                  <a:lnTo>
                    <a:pt x="12618" y="61476"/>
                  </a:lnTo>
                  <a:cubicBezTo>
                    <a:pt x="12618" y="61476"/>
                    <a:pt x="5918" y="70279"/>
                    <a:pt x="5918" y="70279"/>
                  </a:cubicBezTo>
                  <a:lnTo>
                    <a:pt x="0" y="70182"/>
                  </a:lnTo>
                  <a:lnTo>
                    <a:pt x="5184" y="54825"/>
                  </a:lnTo>
                  <a:lnTo>
                    <a:pt x="147" y="39615"/>
                  </a:lnTo>
                  <a:lnTo>
                    <a:pt x="5820" y="39615"/>
                  </a:lnTo>
                  <a:cubicBezTo>
                    <a:pt x="5820" y="39615"/>
                    <a:pt x="12569" y="48369"/>
                    <a:pt x="12569" y="48369"/>
                  </a:cubicBezTo>
                  <a:lnTo>
                    <a:pt x="46706" y="48369"/>
                  </a:lnTo>
                  <a:cubicBezTo>
                    <a:pt x="46706" y="48369"/>
                    <a:pt x="30567" y="0"/>
                    <a:pt x="30567" y="0"/>
                  </a:cubicBezTo>
                  <a:lnTo>
                    <a:pt x="38783" y="0"/>
                  </a:lnTo>
                  <a:cubicBezTo>
                    <a:pt x="38783" y="0"/>
                    <a:pt x="68274" y="48369"/>
                    <a:pt x="68274" y="48369"/>
                  </a:cubicBezTo>
                  <a:lnTo>
                    <a:pt x="107693" y="48369"/>
                  </a:lnTo>
                  <a:cubicBezTo>
                    <a:pt x="111312" y="48369"/>
                    <a:pt x="114247" y="51303"/>
                    <a:pt x="114247" y="54923"/>
                  </a:cubicBezTo>
                  <a:cubicBezTo>
                    <a:pt x="114247" y="58542"/>
                    <a:pt x="111312" y="61476"/>
                    <a:pt x="107693" y="61476"/>
                  </a:cubicBezTo>
                  <a:lnTo>
                    <a:pt x="68225" y="61476"/>
                  </a:lnTo>
                  <a:cubicBezTo>
                    <a:pt x="68225" y="61476"/>
                    <a:pt x="38637" y="109747"/>
                    <a:pt x="38637" y="109747"/>
                  </a:cubicBezTo>
                  <a:lnTo>
                    <a:pt x="30567" y="109747"/>
                  </a:lnTo>
                  <a:cubicBezTo>
                    <a:pt x="30567" y="109747"/>
                    <a:pt x="46657" y="61476"/>
                    <a:pt x="46657" y="61476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398" name="Gráfico 6">
            <a:extLst>
              <a:ext uri="{FF2B5EF4-FFF2-40B4-BE49-F238E27FC236}">
                <a16:creationId xmlns:a16="http://schemas.microsoft.com/office/drawing/2014/main" id="{18531F00-AFFF-01E3-C7A5-1CD36ED9D825}"/>
              </a:ext>
            </a:extLst>
          </p:cNvPr>
          <p:cNvGrpSpPr/>
          <p:nvPr/>
        </p:nvGrpSpPr>
        <p:grpSpPr>
          <a:xfrm>
            <a:off x="4446805" y="2031552"/>
            <a:ext cx="303908" cy="234998"/>
            <a:chOff x="4446805" y="2031552"/>
            <a:chExt cx="303908" cy="234998"/>
          </a:xfrm>
        </p:grpSpPr>
        <p:sp>
          <p:nvSpPr>
            <p:cNvPr id="399" name="Forma livre: Forma 398">
              <a:extLst>
                <a:ext uri="{FF2B5EF4-FFF2-40B4-BE49-F238E27FC236}">
                  <a16:creationId xmlns:a16="http://schemas.microsoft.com/office/drawing/2014/main" id="{10B23BBB-E1B1-110F-14CE-0B67AE015BD1}"/>
                </a:ext>
              </a:extLst>
            </p:cNvPr>
            <p:cNvSpPr/>
            <p:nvPr/>
          </p:nvSpPr>
          <p:spPr>
            <a:xfrm>
              <a:off x="4531659" y="2090729"/>
              <a:ext cx="175625" cy="175820"/>
            </a:xfrm>
            <a:custGeom>
              <a:avLst/>
              <a:gdLst>
                <a:gd name="connsiteX0" fmla="*/ 175625 w 175625"/>
                <a:gd name="connsiteY0" fmla="*/ 87837 h 175820"/>
                <a:gd name="connsiteX1" fmla="*/ 87837 w 175625"/>
                <a:gd name="connsiteY1" fmla="*/ 175821 h 175820"/>
                <a:gd name="connsiteX2" fmla="*/ 0 w 175625"/>
                <a:gd name="connsiteY2" fmla="*/ 87837 h 175820"/>
                <a:gd name="connsiteX3" fmla="*/ 87837 w 175625"/>
                <a:gd name="connsiteY3" fmla="*/ 0 h 175820"/>
                <a:gd name="connsiteX4" fmla="*/ 175625 w 175625"/>
                <a:gd name="connsiteY4" fmla="*/ 87837 h 1758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5625" h="175820">
                  <a:moveTo>
                    <a:pt x="175625" y="87837"/>
                  </a:moveTo>
                  <a:cubicBezTo>
                    <a:pt x="175625" y="136500"/>
                    <a:pt x="136304" y="175821"/>
                    <a:pt x="87837" y="175821"/>
                  </a:cubicBezTo>
                  <a:cubicBezTo>
                    <a:pt x="39370" y="175821"/>
                    <a:pt x="0" y="136500"/>
                    <a:pt x="0" y="87837"/>
                  </a:cubicBezTo>
                  <a:cubicBezTo>
                    <a:pt x="0" y="39175"/>
                    <a:pt x="39321" y="0"/>
                    <a:pt x="87837" y="0"/>
                  </a:cubicBezTo>
                  <a:cubicBezTo>
                    <a:pt x="136353" y="0"/>
                    <a:pt x="175625" y="39321"/>
                    <a:pt x="175625" y="87837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00" name="Forma livre: Forma 399">
              <a:extLst>
                <a:ext uri="{FF2B5EF4-FFF2-40B4-BE49-F238E27FC236}">
                  <a16:creationId xmlns:a16="http://schemas.microsoft.com/office/drawing/2014/main" id="{EE8A3669-7EC9-2D69-9965-B387027DE768}"/>
                </a:ext>
              </a:extLst>
            </p:cNvPr>
            <p:cNvSpPr/>
            <p:nvPr/>
          </p:nvSpPr>
          <p:spPr>
            <a:xfrm>
              <a:off x="4565160" y="2124231"/>
              <a:ext cx="108622" cy="108818"/>
            </a:xfrm>
            <a:custGeom>
              <a:avLst/>
              <a:gdLst>
                <a:gd name="connsiteX0" fmla="*/ 108623 w 108622"/>
                <a:gd name="connsiteY0" fmla="*/ 54336 h 108818"/>
                <a:gd name="connsiteX1" fmla="*/ 54287 w 108622"/>
                <a:gd name="connsiteY1" fmla="*/ 108818 h 108818"/>
                <a:gd name="connsiteX2" fmla="*/ 0 w 108622"/>
                <a:gd name="connsiteY2" fmla="*/ 54336 h 108818"/>
                <a:gd name="connsiteX3" fmla="*/ 54287 w 108622"/>
                <a:gd name="connsiteY3" fmla="*/ 0 h 108818"/>
                <a:gd name="connsiteX4" fmla="*/ 108623 w 108622"/>
                <a:gd name="connsiteY4" fmla="*/ 54336 h 108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8622" h="108818">
                  <a:moveTo>
                    <a:pt x="108623" y="54336"/>
                  </a:moveTo>
                  <a:cubicBezTo>
                    <a:pt x="108623" y="84463"/>
                    <a:pt x="84316" y="108818"/>
                    <a:pt x="54287" y="108818"/>
                  </a:cubicBezTo>
                  <a:cubicBezTo>
                    <a:pt x="24258" y="108818"/>
                    <a:pt x="0" y="84463"/>
                    <a:pt x="0" y="54336"/>
                  </a:cubicBezTo>
                  <a:cubicBezTo>
                    <a:pt x="0" y="24209"/>
                    <a:pt x="24307" y="0"/>
                    <a:pt x="54287" y="0"/>
                  </a:cubicBezTo>
                  <a:cubicBezTo>
                    <a:pt x="84267" y="0"/>
                    <a:pt x="108623" y="24307"/>
                    <a:pt x="108623" y="54336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01" name="Forma livre: Forma 400">
              <a:extLst>
                <a:ext uri="{FF2B5EF4-FFF2-40B4-BE49-F238E27FC236}">
                  <a16:creationId xmlns:a16="http://schemas.microsoft.com/office/drawing/2014/main" id="{4DF01CC5-3AAC-BD7A-8052-0FA773DCC5D1}"/>
                </a:ext>
              </a:extLst>
            </p:cNvPr>
            <p:cNvSpPr/>
            <p:nvPr/>
          </p:nvSpPr>
          <p:spPr>
            <a:xfrm>
              <a:off x="4474927" y="2041382"/>
              <a:ext cx="27387" cy="4890"/>
            </a:xfrm>
            <a:custGeom>
              <a:avLst/>
              <a:gdLst>
                <a:gd name="connsiteX0" fmla="*/ 0 w 27387"/>
                <a:gd name="connsiteY0" fmla="*/ 0 h 4890"/>
                <a:gd name="connsiteX1" fmla="*/ 27388 w 27387"/>
                <a:gd name="connsiteY1" fmla="*/ 0 h 48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7387" h="4890">
                  <a:moveTo>
                    <a:pt x="0" y="0"/>
                  </a:moveTo>
                  <a:lnTo>
                    <a:pt x="27388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02" name="Forma livre: Forma 401">
              <a:extLst>
                <a:ext uri="{FF2B5EF4-FFF2-40B4-BE49-F238E27FC236}">
                  <a16:creationId xmlns:a16="http://schemas.microsoft.com/office/drawing/2014/main" id="{D44A5F9F-2E90-6586-049C-A3BBC0AB9EB9}"/>
                </a:ext>
              </a:extLst>
            </p:cNvPr>
            <p:cNvSpPr/>
            <p:nvPr/>
          </p:nvSpPr>
          <p:spPr>
            <a:xfrm>
              <a:off x="4446805" y="2031552"/>
              <a:ext cx="303908" cy="211033"/>
            </a:xfrm>
            <a:custGeom>
              <a:avLst/>
              <a:gdLst>
                <a:gd name="connsiteX0" fmla="*/ 80256 w 303908"/>
                <a:gd name="connsiteY0" fmla="*/ 211034 h 211033"/>
                <a:gd name="connsiteX1" fmla="*/ 14672 w 303908"/>
                <a:gd name="connsiteY1" fmla="*/ 211034 h 211033"/>
                <a:gd name="connsiteX2" fmla="*/ 0 w 303908"/>
                <a:gd name="connsiteY2" fmla="*/ 196362 h 211033"/>
                <a:gd name="connsiteX3" fmla="*/ 0 w 303908"/>
                <a:gd name="connsiteY3" fmla="*/ 53651 h 211033"/>
                <a:gd name="connsiteX4" fmla="*/ 14672 w 303908"/>
                <a:gd name="connsiteY4" fmla="*/ 38979 h 211033"/>
                <a:gd name="connsiteX5" fmla="*/ 93266 w 303908"/>
                <a:gd name="connsiteY5" fmla="*/ 38979 h 211033"/>
                <a:gd name="connsiteX6" fmla="*/ 131707 w 303908"/>
                <a:gd name="connsiteY6" fmla="*/ 0 h 211033"/>
                <a:gd name="connsiteX7" fmla="*/ 216756 w 303908"/>
                <a:gd name="connsiteY7" fmla="*/ 0 h 211033"/>
                <a:gd name="connsiteX8" fmla="*/ 254268 w 303908"/>
                <a:gd name="connsiteY8" fmla="*/ 38979 h 211033"/>
                <a:gd name="connsiteX9" fmla="*/ 289236 w 303908"/>
                <a:gd name="connsiteY9" fmla="*/ 38979 h 211033"/>
                <a:gd name="connsiteX10" fmla="*/ 303908 w 303908"/>
                <a:gd name="connsiteY10" fmla="*/ 53651 h 211033"/>
                <a:gd name="connsiteX11" fmla="*/ 303908 w 303908"/>
                <a:gd name="connsiteY11" fmla="*/ 196362 h 211033"/>
                <a:gd name="connsiteX12" fmla="*/ 289236 w 303908"/>
                <a:gd name="connsiteY12" fmla="*/ 211034 h 211033"/>
                <a:gd name="connsiteX13" fmla="*/ 264636 w 303908"/>
                <a:gd name="connsiteY13" fmla="*/ 211034 h 211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03908" h="211033">
                  <a:moveTo>
                    <a:pt x="80256" y="211034"/>
                  </a:moveTo>
                  <a:lnTo>
                    <a:pt x="14672" y="211034"/>
                  </a:lnTo>
                  <a:cubicBezTo>
                    <a:pt x="6602" y="211034"/>
                    <a:pt x="0" y="204431"/>
                    <a:pt x="0" y="196362"/>
                  </a:cubicBezTo>
                  <a:lnTo>
                    <a:pt x="0" y="53651"/>
                  </a:lnTo>
                  <a:cubicBezTo>
                    <a:pt x="0" y="45581"/>
                    <a:pt x="6602" y="38979"/>
                    <a:pt x="14672" y="38979"/>
                  </a:cubicBezTo>
                  <a:lnTo>
                    <a:pt x="93266" y="38979"/>
                  </a:lnTo>
                  <a:lnTo>
                    <a:pt x="131707" y="0"/>
                  </a:lnTo>
                  <a:lnTo>
                    <a:pt x="216756" y="0"/>
                  </a:lnTo>
                  <a:lnTo>
                    <a:pt x="254268" y="38979"/>
                  </a:lnTo>
                  <a:lnTo>
                    <a:pt x="289236" y="38979"/>
                  </a:lnTo>
                  <a:cubicBezTo>
                    <a:pt x="297306" y="38979"/>
                    <a:pt x="303908" y="45581"/>
                    <a:pt x="303908" y="53651"/>
                  </a:cubicBezTo>
                  <a:lnTo>
                    <a:pt x="303908" y="196362"/>
                  </a:lnTo>
                  <a:cubicBezTo>
                    <a:pt x="303908" y="204431"/>
                    <a:pt x="297306" y="211034"/>
                    <a:pt x="289236" y="211034"/>
                  </a:cubicBezTo>
                  <a:lnTo>
                    <a:pt x="264636" y="211034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03" name="Forma livre: Forma 402">
              <a:extLst>
                <a:ext uri="{FF2B5EF4-FFF2-40B4-BE49-F238E27FC236}">
                  <a16:creationId xmlns:a16="http://schemas.microsoft.com/office/drawing/2014/main" id="{BA657FE5-6512-8C54-B70C-492FFF62BEF4}"/>
                </a:ext>
              </a:extLst>
            </p:cNvPr>
            <p:cNvSpPr/>
            <p:nvPr/>
          </p:nvSpPr>
          <p:spPr>
            <a:xfrm>
              <a:off x="4484806" y="2103592"/>
              <a:ext cx="7629" cy="7629"/>
            </a:xfrm>
            <a:custGeom>
              <a:avLst/>
              <a:gdLst>
                <a:gd name="connsiteX0" fmla="*/ 7629 w 7629"/>
                <a:gd name="connsiteY0" fmla="*/ 3815 h 7629"/>
                <a:gd name="connsiteX1" fmla="*/ 3815 w 7629"/>
                <a:gd name="connsiteY1" fmla="*/ 7629 h 7629"/>
                <a:gd name="connsiteX2" fmla="*/ 0 w 7629"/>
                <a:gd name="connsiteY2" fmla="*/ 3815 h 7629"/>
                <a:gd name="connsiteX3" fmla="*/ 3815 w 7629"/>
                <a:gd name="connsiteY3" fmla="*/ 0 h 7629"/>
                <a:gd name="connsiteX4" fmla="*/ 7629 w 7629"/>
                <a:gd name="connsiteY4" fmla="*/ 3815 h 76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29" h="7629">
                  <a:moveTo>
                    <a:pt x="7629" y="3815"/>
                  </a:moveTo>
                  <a:cubicBezTo>
                    <a:pt x="7629" y="5918"/>
                    <a:pt x="5918" y="7629"/>
                    <a:pt x="3815" y="7629"/>
                  </a:cubicBezTo>
                  <a:cubicBezTo>
                    <a:pt x="1712" y="7629"/>
                    <a:pt x="0" y="5918"/>
                    <a:pt x="0" y="3815"/>
                  </a:cubicBezTo>
                  <a:cubicBezTo>
                    <a:pt x="0" y="1712"/>
                    <a:pt x="1712" y="0"/>
                    <a:pt x="3815" y="0"/>
                  </a:cubicBezTo>
                  <a:cubicBezTo>
                    <a:pt x="5918" y="0"/>
                    <a:pt x="7629" y="1712"/>
                    <a:pt x="7629" y="3815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404" name="Gráfico 6">
            <a:extLst>
              <a:ext uri="{FF2B5EF4-FFF2-40B4-BE49-F238E27FC236}">
                <a16:creationId xmlns:a16="http://schemas.microsoft.com/office/drawing/2014/main" id="{5C0665E9-55D1-677E-818C-F8B501970F4E}"/>
              </a:ext>
            </a:extLst>
          </p:cNvPr>
          <p:cNvGrpSpPr/>
          <p:nvPr/>
        </p:nvGrpSpPr>
        <p:grpSpPr>
          <a:xfrm>
            <a:off x="5064548" y="927035"/>
            <a:ext cx="341793" cy="287573"/>
            <a:chOff x="5064548" y="927035"/>
            <a:chExt cx="341793" cy="287573"/>
          </a:xfrm>
          <a:noFill/>
        </p:grpSpPr>
        <p:sp>
          <p:nvSpPr>
            <p:cNvPr id="405" name="Forma livre: Forma 404">
              <a:extLst>
                <a:ext uri="{FF2B5EF4-FFF2-40B4-BE49-F238E27FC236}">
                  <a16:creationId xmlns:a16="http://schemas.microsoft.com/office/drawing/2014/main" id="{0B6DAF68-B97D-C3AF-857F-777B1DC6345F}"/>
                </a:ext>
              </a:extLst>
            </p:cNvPr>
            <p:cNvSpPr/>
            <p:nvPr/>
          </p:nvSpPr>
          <p:spPr>
            <a:xfrm>
              <a:off x="5081134" y="1003135"/>
              <a:ext cx="100205" cy="172152"/>
            </a:xfrm>
            <a:custGeom>
              <a:avLst/>
              <a:gdLst>
                <a:gd name="connsiteX0" fmla="*/ 100205 w 100205"/>
                <a:gd name="connsiteY0" fmla="*/ 172153 h 172152"/>
                <a:gd name="connsiteX1" fmla="*/ 5717 w 100205"/>
                <a:gd name="connsiteY1" fmla="*/ 35213 h 172152"/>
                <a:gd name="connsiteX2" fmla="*/ 9581 w 100205"/>
                <a:gd name="connsiteY2" fmla="*/ 587 h 172152"/>
                <a:gd name="connsiteX3" fmla="*/ 10608 w 100205"/>
                <a:gd name="connsiteY3" fmla="*/ 0 h 1721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0205" h="172152">
                  <a:moveTo>
                    <a:pt x="100205" y="172153"/>
                  </a:moveTo>
                  <a:lnTo>
                    <a:pt x="5717" y="35213"/>
                  </a:lnTo>
                  <a:cubicBezTo>
                    <a:pt x="-3233" y="22937"/>
                    <a:pt x="-1472" y="7336"/>
                    <a:pt x="9581" y="587"/>
                  </a:cubicBezTo>
                  <a:cubicBezTo>
                    <a:pt x="9923" y="391"/>
                    <a:pt x="10265" y="196"/>
                    <a:pt x="10608" y="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06" name="Forma livre: Forma 405">
              <a:extLst>
                <a:ext uri="{FF2B5EF4-FFF2-40B4-BE49-F238E27FC236}">
                  <a16:creationId xmlns:a16="http://schemas.microsoft.com/office/drawing/2014/main" id="{AACE070E-E29B-0F17-6ABE-C05345687868}"/>
                </a:ext>
              </a:extLst>
            </p:cNvPr>
            <p:cNvSpPr/>
            <p:nvPr/>
          </p:nvSpPr>
          <p:spPr>
            <a:xfrm>
              <a:off x="5064548" y="1043150"/>
              <a:ext cx="341793" cy="171458"/>
            </a:xfrm>
            <a:custGeom>
              <a:avLst/>
              <a:gdLst>
                <a:gd name="connsiteX0" fmla="*/ 315843 w 341793"/>
                <a:gd name="connsiteY0" fmla="*/ 919 h 171458"/>
                <a:gd name="connsiteX1" fmla="*/ 333841 w 341793"/>
                <a:gd name="connsiteY1" fmla="*/ 4930 h 171458"/>
                <a:gd name="connsiteX2" fmla="*/ 328315 w 341793"/>
                <a:gd name="connsiteY2" fmla="*/ 44251 h 171458"/>
                <a:gd name="connsiteX3" fmla="*/ 217834 w 341793"/>
                <a:gd name="connsiteY3" fmla="*/ 139375 h 171458"/>
                <a:gd name="connsiteX4" fmla="*/ 193771 w 341793"/>
                <a:gd name="connsiteY4" fmla="*/ 163535 h 171458"/>
                <a:gd name="connsiteX5" fmla="*/ 171030 w 341793"/>
                <a:gd name="connsiteY5" fmla="*/ 171458 h 171458"/>
                <a:gd name="connsiteX6" fmla="*/ 170883 w 341793"/>
                <a:gd name="connsiteY6" fmla="*/ 171458 h 171458"/>
                <a:gd name="connsiteX7" fmla="*/ 147994 w 341793"/>
                <a:gd name="connsiteY7" fmla="*/ 163535 h 171458"/>
                <a:gd name="connsiteX8" fmla="*/ 123981 w 341793"/>
                <a:gd name="connsiteY8" fmla="*/ 139375 h 171458"/>
                <a:gd name="connsiteX9" fmla="*/ 13500 w 341793"/>
                <a:gd name="connsiteY9" fmla="*/ 44251 h 171458"/>
                <a:gd name="connsiteX10" fmla="*/ 7973 w 341793"/>
                <a:gd name="connsiteY10" fmla="*/ 4930 h 171458"/>
                <a:gd name="connsiteX11" fmla="*/ 25824 w 341793"/>
                <a:gd name="connsiteY11" fmla="*/ 919 h 1714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41793" h="171458">
                  <a:moveTo>
                    <a:pt x="315843" y="919"/>
                  </a:moveTo>
                  <a:cubicBezTo>
                    <a:pt x="322984" y="-2553"/>
                    <a:pt x="333841" y="4930"/>
                    <a:pt x="333841" y="4930"/>
                  </a:cubicBezTo>
                  <a:cubicBezTo>
                    <a:pt x="354529" y="22781"/>
                    <a:pt x="328315" y="44251"/>
                    <a:pt x="328315" y="44251"/>
                  </a:cubicBezTo>
                  <a:cubicBezTo>
                    <a:pt x="328315" y="44251"/>
                    <a:pt x="235098" y="120839"/>
                    <a:pt x="217834" y="139375"/>
                  </a:cubicBezTo>
                  <a:cubicBezTo>
                    <a:pt x="201694" y="156639"/>
                    <a:pt x="193771" y="163535"/>
                    <a:pt x="193771" y="163535"/>
                  </a:cubicBezTo>
                  <a:cubicBezTo>
                    <a:pt x="184234" y="171507"/>
                    <a:pt x="171030" y="171458"/>
                    <a:pt x="171030" y="171458"/>
                  </a:cubicBezTo>
                  <a:lnTo>
                    <a:pt x="170883" y="171458"/>
                  </a:lnTo>
                  <a:cubicBezTo>
                    <a:pt x="170883" y="171458"/>
                    <a:pt x="157531" y="171507"/>
                    <a:pt x="147994" y="163535"/>
                  </a:cubicBezTo>
                  <a:cubicBezTo>
                    <a:pt x="147994" y="163535"/>
                    <a:pt x="140071" y="156639"/>
                    <a:pt x="123981" y="139375"/>
                  </a:cubicBezTo>
                  <a:cubicBezTo>
                    <a:pt x="106717" y="120839"/>
                    <a:pt x="13500" y="44251"/>
                    <a:pt x="13500" y="44251"/>
                  </a:cubicBezTo>
                  <a:cubicBezTo>
                    <a:pt x="13500" y="44251"/>
                    <a:pt x="-12763" y="22781"/>
                    <a:pt x="7973" y="4930"/>
                  </a:cubicBezTo>
                  <a:cubicBezTo>
                    <a:pt x="7973" y="4930"/>
                    <a:pt x="18733" y="-2553"/>
                    <a:pt x="25824" y="919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07" name="Forma livre: Forma 406">
              <a:extLst>
                <a:ext uri="{FF2B5EF4-FFF2-40B4-BE49-F238E27FC236}">
                  <a16:creationId xmlns:a16="http://schemas.microsoft.com/office/drawing/2014/main" id="{5C416476-3DBA-834B-3732-9959C621955A}"/>
                </a:ext>
              </a:extLst>
            </p:cNvPr>
            <p:cNvSpPr/>
            <p:nvPr/>
          </p:nvSpPr>
          <p:spPr>
            <a:xfrm>
              <a:off x="5289473" y="1000832"/>
              <a:ext cx="100205" cy="174602"/>
            </a:xfrm>
            <a:custGeom>
              <a:avLst/>
              <a:gdLst>
                <a:gd name="connsiteX0" fmla="*/ 0 w 100205"/>
                <a:gd name="connsiteY0" fmla="*/ 174602 h 174602"/>
                <a:gd name="connsiteX1" fmla="*/ 94488 w 100205"/>
                <a:gd name="connsiteY1" fmla="*/ 37516 h 174602"/>
                <a:gd name="connsiteX2" fmla="*/ 90625 w 100205"/>
                <a:gd name="connsiteY2" fmla="*/ 2890 h 174602"/>
                <a:gd name="connsiteX3" fmla="*/ 55950 w 100205"/>
                <a:gd name="connsiteY3" fmla="*/ 15116 h 1746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0205" h="174602">
                  <a:moveTo>
                    <a:pt x="0" y="174602"/>
                  </a:moveTo>
                  <a:lnTo>
                    <a:pt x="94488" y="37516"/>
                  </a:lnTo>
                  <a:cubicBezTo>
                    <a:pt x="103438" y="25240"/>
                    <a:pt x="101678" y="9639"/>
                    <a:pt x="90625" y="2890"/>
                  </a:cubicBezTo>
                  <a:cubicBezTo>
                    <a:pt x="79572" y="-3860"/>
                    <a:pt x="62943" y="1618"/>
                    <a:pt x="55950" y="15116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08" name="Forma livre: Forma 407">
              <a:extLst>
                <a:ext uri="{FF2B5EF4-FFF2-40B4-BE49-F238E27FC236}">
                  <a16:creationId xmlns:a16="http://schemas.microsoft.com/office/drawing/2014/main" id="{5EADF005-247B-0407-15BB-9CD03D75BC27}"/>
                </a:ext>
              </a:extLst>
            </p:cNvPr>
            <p:cNvSpPr/>
            <p:nvPr/>
          </p:nvSpPr>
          <p:spPr>
            <a:xfrm>
              <a:off x="5268199" y="1136455"/>
              <a:ext cx="66122" cy="62405"/>
            </a:xfrm>
            <a:custGeom>
              <a:avLst/>
              <a:gdLst>
                <a:gd name="connsiteX0" fmla="*/ 66122 w 66122"/>
                <a:gd name="connsiteY0" fmla="*/ 0 h 62405"/>
                <a:gd name="connsiteX1" fmla="*/ 55950 w 66122"/>
                <a:gd name="connsiteY1" fmla="*/ 62405 h 62405"/>
                <a:gd name="connsiteX2" fmla="*/ 0 w 66122"/>
                <a:gd name="connsiteY2" fmla="*/ 62405 h 624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6122" h="62405">
                  <a:moveTo>
                    <a:pt x="66122" y="0"/>
                  </a:moveTo>
                  <a:lnTo>
                    <a:pt x="55950" y="62405"/>
                  </a:lnTo>
                  <a:lnTo>
                    <a:pt x="0" y="62405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409" name="Gráfico 6">
              <a:extLst>
                <a:ext uri="{FF2B5EF4-FFF2-40B4-BE49-F238E27FC236}">
                  <a16:creationId xmlns:a16="http://schemas.microsoft.com/office/drawing/2014/main" id="{C51D1F1C-535E-05B7-0A68-6309A9B8B3A2}"/>
                </a:ext>
              </a:extLst>
            </p:cNvPr>
            <p:cNvGrpSpPr/>
            <p:nvPr/>
          </p:nvGrpSpPr>
          <p:grpSpPr>
            <a:xfrm>
              <a:off x="5112491" y="934037"/>
              <a:ext cx="245831" cy="199385"/>
              <a:chOff x="5112491" y="934037"/>
              <a:chExt cx="245831" cy="199385"/>
            </a:xfrm>
            <a:noFill/>
          </p:grpSpPr>
          <p:sp>
            <p:nvSpPr>
              <p:cNvPr id="410" name="Forma livre: Forma 409">
                <a:extLst>
                  <a:ext uri="{FF2B5EF4-FFF2-40B4-BE49-F238E27FC236}">
                    <a16:creationId xmlns:a16="http://schemas.microsoft.com/office/drawing/2014/main" id="{64BB7890-4672-171C-653D-BE12CF4B1E06}"/>
                  </a:ext>
                </a:extLst>
              </p:cNvPr>
              <p:cNvSpPr/>
              <p:nvPr/>
            </p:nvSpPr>
            <p:spPr>
              <a:xfrm>
                <a:off x="5263210" y="934037"/>
                <a:ext cx="51968" cy="186865"/>
              </a:xfrm>
              <a:custGeom>
                <a:avLst/>
                <a:gdLst>
                  <a:gd name="connsiteX0" fmla="*/ 6456 w 51968"/>
                  <a:gd name="connsiteY0" fmla="*/ 186865 h 186865"/>
                  <a:gd name="connsiteX1" fmla="*/ 50863 w 51968"/>
                  <a:gd name="connsiteY1" fmla="*/ 32613 h 186865"/>
                  <a:gd name="connsiteX2" fmla="*/ 31643 w 51968"/>
                  <a:gd name="connsiteY2" fmla="*/ 676 h 186865"/>
                  <a:gd name="connsiteX3" fmla="*/ 30958 w 51968"/>
                  <a:gd name="connsiteY3" fmla="*/ 530 h 186865"/>
                  <a:gd name="connsiteX4" fmla="*/ 0 w 51968"/>
                  <a:gd name="connsiteY4" fmla="*/ 22538 h 1868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1968" h="186865">
                    <a:moveTo>
                      <a:pt x="6456" y="186865"/>
                    </a:moveTo>
                    <a:lnTo>
                      <a:pt x="50863" y="32613"/>
                    </a:lnTo>
                    <a:cubicBezTo>
                      <a:pt x="55167" y="18038"/>
                      <a:pt x="46511" y="3709"/>
                      <a:pt x="31643" y="676"/>
                    </a:cubicBezTo>
                    <a:lnTo>
                      <a:pt x="30958" y="530"/>
                    </a:lnTo>
                    <a:cubicBezTo>
                      <a:pt x="16090" y="-2454"/>
                      <a:pt x="1614" y="7474"/>
                      <a:pt x="0" y="22538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11" name="Forma livre: Forma 410">
                <a:extLst>
                  <a:ext uri="{FF2B5EF4-FFF2-40B4-BE49-F238E27FC236}">
                    <a16:creationId xmlns:a16="http://schemas.microsoft.com/office/drawing/2014/main" id="{D0ED4C41-D24B-7C96-0001-688282994EE4}"/>
                  </a:ext>
                </a:extLst>
              </p:cNvPr>
              <p:cNvSpPr/>
              <p:nvPr/>
            </p:nvSpPr>
            <p:spPr>
              <a:xfrm>
                <a:off x="5289620" y="959424"/>
                <a:ext cx="68702" cy="173998"/>
              </a:xfrm>
              <a:custGeom>
                <a:avLst/>
                <a:gdLst>
                  <a:gd name="connsiteX0" fmla="*/ 0 w 68702"/>
                  <a:gd name="connsiteY0" fmla="*/ 173999 h 173998"/>
                  <a:gd name="connsiteX1" fmla="*/ 65731 w 68702"/>
                  <a:gd name="connsiteY1" fmla="*/ 35836 h 173998"/>
                  <a:gd name="connsiteX2" fmla="*/ 54238 w 68702"/>
                  <a:gd name="connsiteY2" fmla="*/ 1650 h 173998"/>
                  <a:gd name="connsiteX3" fmla="*/ 21470 w 68702"/>
                  <a:gd name="connsiteY3" fmla="*/ 18621 h 1739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8702" h="173998">
                    <a:moveTo>
                      <a:pt x="0" y="173999"/>
                    </a:moveTo>
                    <a:lnTo>
                      <a:pt x="65731" y="35836"/>
                    </a:lnTo>
                    <a:cubicBezTo>
                      <a:pt x="72480" y="22240"/>
                      <a:pt x="67345" y="6835"/>
                      <a:pt x="54238" y="1650"/>
                    </a:cubicBezTo>
                    <a:cubicBezTo>
                      <a:pt x="41131" y="-3583"/>
                      <a:pt x="25921" y="4047"/>
                      <a:pt x="21470" y="18621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12" name="Forma livre: Forma 411">
                <a:extLst>
                  <a:ext uri="{FF2B5EF4-FFF2-40B4-BE49-F238E27FC236}">
                    <a16:creationId xmlns:a16="http://schemas.microsoft.com/office/drawing/2014/main" id="{FD65569A-4CA7-CA57-C093-3D415E1D0C61}"/>
                  </a:ext>
                </a:extLst>
              </p:cNvPr>
              <p:cNvSpPr/>
              <p:nvPr/>
            </p:nvSpPr>
            <p:spPr>
              <a:xfrm>
                <a:off x="5112491" y="960096"/>
                <a:ext cx="68408" cy="172739"/>
              </a:xfrm>
              <a:custGeom>
                <a:avLst/>
                <a:gdLst>
                  <a:gd name="connsiteX0" fmla="*/ 17448 w 68408"/>
                  <a:gd name="connsiteY0" fmla="*/ 0 h 172739"/>
                  <a:gd name="connsiteX1" fmla="*/ 14464 w 68408"/>
                  <a:gd name="connsiteY1" fmla="*/ 978 h 172739"/>
                  <a:gd name="connsiteX2" fmla="*/ 2971 w 68408"/>
                  <a:gd name="connsiteY2" fmla="*/ 35164 h 172739"/>
                  <a:gd name="connsiteX3" fmla="*/ 68409 w 68408"/>
                  <a:gd name="connsiteY3" fmla="*/ 172740 h 1727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8408" h="172739">
                    <a:moveTo>
                      <a:pt x="17448" y="0"/>
                    </a:moveTo>
                    <a:cubicBezTo>
                      <a:pt x="16421" y="245"/>
                      <a:pt x="15442" y="587"/>
                      <a:pt x="14464" y="978"/>
                    </a:cubicBezTo>
                    <a:cubicBezTo>
                      <a:pt x="1357" y="6162"/>
                      <a:pt x="-3778" y="21568"/>
                      <a:pt x="2971" y="35164"/>
                    </a:cubicBezTo>
                    <a:lnTo>
                      <a:pt x="68409" y="172740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413" name="Forma livre: Forma 412">
              <a:extLst>
                <a:ext uri="{FF2B5EF4-FFF2-40B4-BE49-F238E27FC236}">
                  <a16:creationId xmlns:a16="http://schemas.microsoft.com/office/drawing/2014/main" id="{4191A8B5-2E11-22EF-346B-EB6466C5E840}"/>
                </a:ext>
              </a:extLst>
            </p:cNvPr>
            <p:cNvSpPr/>
            <p:nvPr/>
          </p:nvSpPr>
          <p:spPr>
            <a:xfrm>
              <a:off x="5155635" y="934034"/>
              <a:ext cx="45414" cy="186526"/>
            </a:xfrm>
            <a:custGeom>
              <a:avLst/>
              <a:gdLst>
                <a:gd name="connsiteX0" fmla="*/ 30205 w 45414"/>
                <a:gd name="connsiteY0" fmla="*/ 289 h 186526"/>
                <a:gd name="connsiteX1" fmla="*/ 20961 w 45414"/>
                <a:gd name="connsiteY1" fmla="*/ 533 h 186526"/>
                <a:gd name="connsiteX2" fmla="*/ 20325 w 45414"/>
                <a:gd name="connsiteY2" fmla="*/ 680 h 186526"/>
                <a:gd name="connsiteX3" fmla="*/ 1105 w 45414"/>
                <a:gd name="connsiteY3" fmla="*/ 32616 h 186526"/>
                <a:gd name="connsiteX4" fmla="*/ 45415 w 45414"/>
                <a:gd name="connsiteY4" fmla="*/ 186527 h 1865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5414" h="186526">
                  <a:moveTo>
                    <a:pt x="30205" y="289"/>
                  </a:moveTo>
                  <a:cubicBezTo>
                    <a:pt x="27221" y="-151"/>
                    <a:pt x="24091" y="-103"/>
                    <a:pt x="20961" y="533"/>
                  </a:cubicBezTo>
                  <a:lnTo>
                    <a:pt x="20325" y="680"/>
                  </a:lnTo>
                  <a:cubicBezTo>
                    <a:pt x="5458" y="3663"/>
                    <a:pt x="-3199" y="18042"/>
                    <a:pt x="1105" y="32616"/>
                  </a:cubicBezTo>
                  <a:lnTo>
                    <a:pt x="45415" y="186527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14" name="Forma livre: Forma 413">
              <a:extLst>
                <a:ext uri="{FF2B5EF4-FFF2-40B4-BE49-F238E27FC236}">
                  <a16:creationId xmlns:a16="http://schemas.microsoft.com/office/drawing/2014/main" id="{BE5928B5-3AB4-7159-5AAD-B8BE9A89D8BB}"/>
                </a:ext>
              </a:extLst>
            </p:cNvPr>
            <p:cNvSpPr/>
            <p:nvPr/>
          </p:nvSpPr>
          <p:spPr>
            <a:xfrm>
              <a:off x="5207172" y="927035"/>
              <a:ext cx="56175" cy="187900"/>
            </a:xfrm>
            <a:custGeom>
              <a:avLst/>
              <a:gdLst>
                <a:gd name="connsiteX0" fmla="*/ 40095 w 56175"/>
                <a:gd name="connsiteY0" fmla="*/ 187901 h 187900"/>
                <a:gd name="connsiteX1" fmla="*/ 56038 w 56175"/>
                <a:gd name="connsiteY1" fmla="*/ 27486 h 187900"/>
                <a:gd name="connsiteX2" fmla="*/ 31145 w 56175"/>
                <a:gd name="connsiteY2" fmla="*/ 0 h 187900"/>
                <a:gd name="connsiteX3" fmla="*/ 25031 w 56175"/>
                <a:gd name="connsiteY3" fmla="*/ 0 h 187900"/>
                <a:gd name="connsiteX4" fmla="*/ 137 w 56175"/>
                <a:gd name="connsiteY4" fmla="*/ 27486 h 187900"/>
                <a:gd name="connsiteX5" fmla="*/ 16913 w 56175"/>
                <a:gd name="connsiteY5" fmla="*/ 187754 h 187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6175" h="187900">
                  <a:moveTo>
                    <a:pt x="40095" y="187901"/>
                  </a:moveTo>
                  <a:lnTo>
                    <a:pt x="56038" y="27486"/>
                  </a:lnTo>
                  <a:cubicBezTo>
                    <a:pt x="57554" y="12373"/>
                    <a:pt x="46355" y="0"/>
                    <a:pt x="31145" y="0"/>
                  </a:cubicBezTo>
                  <a:lnTo>
                    <a:pt x="25031" y="0"/>
                  </a:lnTo>
                  <a:cubicBezTo>
                    <a:pt x="9821" y="0"/>
                    <a:pt x="-1379" y="12373"/>
                    <a:pt x="137" y="27486"/>
                  </a:cubicBezTo>
                  <a:lnTo>
                    <a:pt x="16913" y="187754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15" name="Forma livre: Forma 414">
              <a:extLst>
                <a:ext uri="{FF2B5EF4-FFF2-40B4-BE49-F238E27FC236}">
                  <a16:creationId xmlns:a16="http://schemas.microsoft.com/office/drawing/2014/main" id="{28413D1F-E25C-72C2-AC3F-D87C29D7E052}"/>
                </a:ext>
              </a:extLst>
            </p:cNvPr>
            <p:cNvSpPr/>
            <p:nvPr/>
          </p:nvSpPr>
          <p:spPr>
            <a:xfrm>
              <a:off x="5136297" y="1136455"/>
              <a:ext cx="66122" cy="62405"/>
            </a:xfrm>
            <a:custGeom>
              <a:avLst/>
              <a:gdLst>
                <a:gd name="connsiteX0" fmla="*/ 0 w 66122"/>
                <a:gd name="connsiteY0" fmla="*/ 0 h 62405"/>
                <a:gd name="connsiteX1" fmla="*/ 10222 w 66122"/>
                <a:gd name="connsiteY1" fmla="*/ 62405 h 62405"/>
                <a:gd name="connsiteX2" fmla="*/ 66122 w 66122"/>
                <a:gd name="connsiteY2" fmla="*/ 62405 h 624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6122" h="62405">
                  <a:moveTo>
                    <a:pt x="0" y="0"/>
                  </a:moveTo>
                  <a:lnTo>
                    <a:pt x="10222" y="62405"/>
                  </a:lnTo>
                  <a:lnTo>
                    <a:pt x="66122" y="62405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416" name="Gráfico 6">
            <a:extLst>
              <a:ext uri="{FF2B5EF4-FFF2-40B4-BE49-F238E27FC236}">
                <a16:creationId xmlns:a16="http://schemas.microsoft.com/office/drawing/2014/main" id="{E18B0DB0-9322-0B44-DE31-E3940DD05C40}"/>
              </a:ext>
            </a:extLst>
          </p:cNvPr>
          <p:cNvGrpSpPr/>
          <p:nvPr/>
        </p:nvGrpSpPr>
        <p:grpSpPr>
          <a:xfrm>
            <a:off x="5730957" y="894561"/>
            <a:ext cx="282144" cy="352521"/>
            <a:chOff x="5730957" y="894561"/>
            <a:chExt cx="282144" cy="352521"/>
          </a:xfrm>
          <a:noFill/>
        </p:grpSpPr>
        <p:sp>
          <p:nvSpPr>
            <p:cNvPr id="417" name="Forma livre: Forma 416">
              <a:extLst>
                <a:ext uri="{FF2B5EF4-FFF2-40B4-BE49-F238E27FC236}">
                  <a16:creationId xmlns:a16="http://schemas.microsoft.com/office/drawing/2014/main" id="{8F9BB124-B200-F84A-9966-D69121ECB769}"/>
                </a:ext>
              </a:extLst>
            </p:cNvPr>
            <p:cNvSpPr/>
            <p:nvPr/>
          </p:nvSpPr>
          <p:spPr>
            <a:xfrm>
              <a:off x="5774680" y="1040499"/>
              <a:ext cx="233629" cy="206583"/>
            </a:xfrm>
            <a:custGeom>
              <a:avLst/>
              <a:gdLst>
                <a:gd name="connsiteX0" fmla="*/ 223750 w 233629"/>
                <a:gd name="connsiteY0" fmla="*/ 0 h 206583"/>
                <a:gd name="connsiteX1" fmla="*/ 233629 w 233629"/>
                <a:gd name="connsiteY1" fmla="*/ 49738 h 206583"/>
                <a:gd name="connsiteX2" fmla="*/ 233629 w 233629"/>
                <a:gd name="connsiteY2" fmla="*/ 81430 h 206583"/>
                <a:gd name="connsiteX3" fmla="*/ 116790 w 233629"/>
                <a:gd name="connsiteY3" fmla="*/ 206583 h 206583"/>
                <a:gd name="connsiteX4" fmla="*/ 0 w 233629"/>
                <a:gd name="connsiteY4" fmla="*/ 81430 h 206583"/>
                <a:gd name="connsiteX5" fmla="*/ 0 w 233629"/>
                <a:gd name="connsiteY5" fmla="*/ 49738 h 206583"/>
                <a:gd name="connsiteX6" fmla="*/ 9635 w 233629"/>
                <a:gd name="connsiteY6" fmla="*/ 1027 h 2065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33629" h="206583">
                  <a:moveTo>
                    <a:pt x="223750" y="0"/>
                  </a:moveTo>
                  <a:cubicBezTo>
                    <a:pt x="230010" y="15308"/>
                    <a:pt x="233629" y="32034"/>
                    <a:pt x="233629" y="49738"/>
                  </a:cubicBezTo>
                  <a:lnTo>
                    <a:pt x="233629" y="81430"/>
                  </a:lnTo>
                  <a:cubicBezTo>
                    <a:pt x="233629" y="150291"/>
                    <a:pt x="181054" y="206583"/>
                    <a:pt x="116790" y="206583"/>
                  </a:cubicBezTo>
                  <a:cubicBezTo>
                    <a:pt x="52526" y="206583"/>
                    <a:pt x="0" y="150242"/>
                    <a:pt x="0" y="81430"/>
                  </a:cubicBezTo>
                  <a:lnTo>
                    <a:pt x="0" y="49738"/>
                  </a:lnTo>
                  <a:cubicBezTo>
                    <a:pt x="0" y="32523"/>
                    <a:pt x="3717" y="15944"/>
                    <a:pt x="9635" y="1027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18" name="Forma livre: Forma 417">
              <a:extLst>
                <a:ext uri="{FF2B5EF4-FFF2-40B4-BE49-F238E27FC236}">
                  <a16:creationId xmlns:a16="http://schemas.microsoft.com/office/drawing/2014/main" id="{80FBD085-B4FD-F3D7-B70A-589ED56F1906}"/>
                </a:ext>
              </a:extLst>
            </p:cNvPr>
            <p:cNvSpPr/>
            <p:nvPr/>
          </p:nvSpPr>
          <p:spPr>
            <a:xfrm>
              <a:off x="5840656" y="1005286"/>
              <a:ext cx="59079" cy="4499"/>
            </a:xfrm>
            <a:custGeom>
              <a:avLst/>
              <a:gdLst>
                <a:gd name="connsiteX0" fmla="*/ 0 w 59079"/>
                <a:gd name="connsiteY0" fmla="*/ 4499 h 4499"/>
                <a:gd name="connsiteX1" fmla="*/ 50717 w 59079"/>
                <a:gd name="connsiteY1" fmla="*/ 0 h 4499"/>
                <a:gd name="connsiteX2" fmla="*/ 59080 w 59079"/>
                <a:gd name="connsiteY2" fmla="*/ 98 h 44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59079" h="4499">
                  <a:moveTo>
                    <a:pt x="0" y="4499"/>
                  </a:moveTo>
                  <a:cubicBezTo>
                    <a:pt x="15112" y="1614"/>
                    <a:pt x="32376" y="0"/>
                    <a:pt x="50717" y="0"/>
                  </a:cubicBezTo>
                  <a:cubicBezTo>
                    <a:pt x="53553" y="0"/>
                    <a:pt x="56341" y="0"/>
                    <a:pt x="59080" y="98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19" name="Forma livre: Forma 418">
              <a:extLst>
                <a:ext uri="{FF2B5EF4-FFF2-40B4-BE49-F238E27FC236}">
                  <a16:creationId xmlns:a16="http://schemas.microsoft.com/office/drawing/2014/main" id="{8FC2BA15-2958-2A5C-65D7-EF30ED5E8F90}"/>
                </a:ext>
              </a:extLst>
            </p:cNvPr>
            <p:cNvSpPr/>
            <p:nvPr/>
          </p:nvSpPr>
          <p:spPr>
            <a:xfrm>
              <a:off x="5784217" y="1007341"/>
              <a:ext cx="214408" cy="73849"/>
            </a:xfrm>
            <a:custGeom>
              <a:avLst/>
              <a:gdLst>
                <a:gd name="connsiteX0" fmla="*/ 142271 w 214408"/>
                <a:gd name="connsiteY0" fmla="*/ 0 h 73849"/>
                <a:gd name="connsiteX1" fmla="*/ 214408 w 214408"/>
                <a:gd name="connsiteY1" fmla="*/ 35898 h 73849"/>
                <a:gd name="connsiteX2" fmla="*/ 107204 w 214408"/>
                <a:gd name="connsiteY2" fmla="*/ 73850 h 73849"/>
                <a:gd name="connsiteX3" fmla="*/ 0 w 214408"/>
                <a:gd name="connsiteY3" fmla="*/ 35898 h 73849"/>
                <a:gd name="connsiteX4" fmla="*/ 29931 w 214408"/>
                <a:gd name="connsiteY4" fmla="*/ 9586 h 738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14408" h="73849">
                  <a:moveTo>
                    <a:pt x="142271" y="0"/>
                  </a:moveTo>
                  <a:cubicBezTo>
                    <a:pt x="184233" y="5135"/>
                    <a:pt x="214408" y="19269"/>
                    <a:pt x="214408" y="35898"/>
                  </a:cubicBezTo>
                  <a:cubicBezTo>
                    <a:pt x="214408" y="56879"/>
                    <a:pt x="166382" y="73850"/>
                    <a:pt x="107204" y="73850"/>
                  </a:cubicBezTo>
                  <a:cubicBezTo>
                    <a:pt x="48027" y="73850"/>
                    <a:pt x="0" y="56830"/>
                    <a:pt x="0" y="35898"/>
                  </a:cubicBezTo>
                  <a:cubicBezTo>
                    <a:pt x="0" y="25676"/>
                    <a:pt x="11395" y="16384"/>
                    <a:pt x="29931" y="9586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20" name="Forma livre: Forma 419">
              <a:extLst>
                <a:ext uri="{FF2B5EF4-FFF2-40B4-BE49-F238E27FC236}">
                  <a16:creationId xmlns:a16="http://schemas.microsoft.com/office/drawing/2014/main" id="{FF0783C7-65DC-C2BB-F0B5-0C3E229253D1}"/>
                </a:ext>
              </a:extLst>
            </p:cNvPr>
            <p:cNvSpPr/>
            <p:nvPr/>
          </p:nvSpPr>
          <p:spPr>
            <a:xfrm>
              <a:off x="5917391" y="933149"/>
              <a:ext cx="95710" cy="118990"/>
            </a:xfrm>
            <a:custGeom>
              <a:avLst/>
              <a:gdLst>
                <a:gd name="connsiteX0" fmla="*/ 0 w 95710"/>
                <a:gd name="connsiteY0" fmla="*/ 118991 h 118990"/>
                <a:gd name="connsiteX1" fmla="*/ 18291 w 95710"/>
                <a:gd name="connsiteY1" fmla="*/ 18585 h 118990"/>
                <a:gd name="connsiteX2" fmla="*/ 95711 w 95710"/>
                <a:gd name="connsiteY2" fmla="*/ 0 h 1189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5710" h="118990">
                  <a:moveTo>
                    <a:pt x="0" y="118991"/>
                  </a:moveTo>
                  <a:lnTo>
                    <a:pt x="18291" y="18585"/>
                  </a:lnTo>
                  <a:lnTo>
                    <a:pt x="95711" y="0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21" name="Forma livre: Forma 420">
              <a:extLst>
                <a:ext uri="{FF2B5EF4-FFF2-40B4-BE49-F238E27FC236}">
                  <a16:creationId xmlns:a16="http://schemas.microsoft.com/office/drawing/2014/main" id="{371D2574-FD34-A8A0-5D6F-89ED22442E74}"/>
                </a:ext>
              </a:extLst>
            </p:cNvPr>
            <p:cNvSpPr/>
            <p:nvPr/>
          </p:nvSpPr>
          <p:spPr>
            <a:xfrm>
              <a:off x="5920961" y="1081043"/>
              <a:ext cx="29539" cy="66807"/>
            </a:xfrm>
            <a:custGeom>
              <a:avLst/>
              <a:gdLst>
                <a:gd name="connsiteX0" fmla="*/ 0 w 29539"/>
                <a:gd name="connsiteY0" fmla="*/ 0 h 66807"/>
                <a:gd name="connsiteX1" fmla="*/ 29540 w 29539"/>
                <a:gd name="connsiteY1" fmla="*/ 28366 h 66807"/>
                <a:gd name="connsiteX2" fmla="*/ 22253 w 29539"/>
                <a:gd name="connsiteY2" fmla="*/ 47342 h 66807"/>
                <a:gd name="connsiteX3" fmla="*/ 27241 w 29539"/>
                <a:gd name="connsiteY3" fmla="*/ 66807 h 66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9539" h="66807">
                  <a:moveTo>
                    <a:pt x="0" y="0"/>
                  </a:moveTo>
                  <a:lnTo>
                    <a:pt x="29540" y="28366"/>
                  </a:lnTo>
                  <a:lnTo>
                    <a:pt x="22253" y="47342"/>
                  </a:lnTo>
                  <a:lnTo>
                    <a:pt x="27241" y="66807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22" name="Forma livre: Forma 421">
              <a:extLst>
                <a:ext uri="{FF2B5EF4-FFF2-40B4-BE49-F238E27FC236}">
                  <a16:creationId xmlns:a16="http://schemas.microsoft.com/office/drawing/2014/main" id="{45DC71A0-5AE4-A378-B305-AEE783122575}"/>
                </a:ext>
              </a:extLst>
            </p:cNvPr>
            <p:cNvSpPr/>
            <p:nvPr/>
          </p:nvSpPr>
          <p:spPr>
            <a:xfrm>
              <a:off x="5787885" y="894561"/>
              <a:ext cx="68469" cy="153127"/>
            </a:xfrm>
            <a:custGeom>
              <a:avLst/>
              <a:gdLst>
                <a:gd name="connsiteX0" fmla="*/ 68470 w 68469"/>
                <a:gd name="connsiteY0" fmla="*/ 153128 h 153127"/>
                <a:gd name="connsiteX1" fmla="*/ 0 w 68469"/>
                <a:gd name="connsiteY1" fmla="*/ 0 h 1531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8469" h="153127">
                  <a:moveTo>
                    <a:pt x="68470" y="153128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423" name="Gráfico 6">
              <a:extLst>
                <a:ext uri="{FF2B5EF4-FFF2-40B4-BE49-F238E27FC236}">
                  <a16:creationId xmlns:a16="http://schemas.microsoft.com/office/drawing/2014/main" id="{09927989-4045-58E1-F1AB-65762EC99255}"/>
                </a:ext>
              </a:extLst>
            </p:cNvPr>
            <p:cNvGrpSpPr/>
            <p:nvPr/>
          </p:nvGrpSpPr>
          <p:grpSpPr>
            <a:xfrm>
              <a:off x="5730957" y="904831"/>
              <a:ext cx="94733" cy="97471"/>
              <a:chOff x="5730957" y="904831"/>
              <a:chExt cx="94733" cy="97471"/>
            </a:xfrm>
            <a:noFill/>
          </p:grpSpPr>
          <p:sp>
            <p:nvSpPr>
              <p:cNvPr id="424" name="Forma livre: Forma 423">
                <a:extLst>
                  <a:ext uri="{FF2B5EF4-FFF2-40B4-BE49-F238E27FC236}">
                    <a16:creationId xmlns:a16="http://schemas.microsoft.com/office/drawing/2014/main" id="{A08F15B1-DCAD-465F-1792-B2AFA0380080}"/>
                  </a:ext>
                </a:extLst>
              </p:cNvPr>
              <p:cNvSpPr/>
              <p:nvPr/>
            </p:nvSpPr>
            <p:spPr>
              <a:xfrm>
                <a:off x="5730957" y="904831"/>
                <a:ext cx="61280" cy="95955"/>
              </a:xfrm>
              <a:custGeom>
                <a:avLst/>
                <a:gdLst>
                  <a:gd name="connsiteX0" fmla="*/ 61281 w 61280"/>
                  <a:gd name="connsiteY0" fmla="*/ 0 h 95955"/>
                  <a:gd name="connsiteX1" fmla="*/ 0 w 61280"/>
                  <a:gd name="connsiteY1" fmla="*/ 95956 h 959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1280" h="95955">
                    <a:moveTo>
                      <a:pt x="61281" y="0"/>
                    </a:moveTo>
                    <a:lnTo>
                      <a:pt x="0" y="95956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25" name="Forma livre: Forma 424">
                <a:extLst>
                  <a:ext uri="{FF2B5EF4-FFF2-40B4-BE49-F238E27FC236}">
                    <a16:creationId xmlns:a16="http://schemas.microsoft.com/office/drawing/2014/main" id="{5B412661-7884-E1DA-9550-F0B3207AF8D9}"/>
                  </a:ext>
                </a:extLst>
              </p:cNvPr>
              <p:cNvSpPr/>
              <p:nvPr/>
            </p:nvSpPr>
            <p:spPr>
              <a:xfrm>
                <a:off x="5782114" y="904831"/>
                <a:ext cx="10123" cy="97471"/>
              </a:xfrm>
              <a:custGeom>
                <a:avLst/>
                <a:gdLst>
                  <a:gd name="connsiteX0" fmla="*/ 10124 w 10123"/>
                  <a:gd name="connsiteY0" fmla="*/ 0 h 97471"/>
                  <a:gd name="connsiteX1" fmla="*/ 0 w 10123"/>
                  <a:gd name="connsiteY1" fmla="*/ 97472 h 974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0123" h="97471">
                    <a:moveTo>
                      <a:pt x="10124" y="0"/>
                    </a:moveTo>
                    <a:lnTo>
                      <a:pt x="0" y="97472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26" name="Forma livre: Forma 425">
                <a:extLst>
                  <a:ext uri="{FF2B5EF4-FFF2-40B4-BE49-F238E27FC236}">
                    <a16:creationId xmlns:a16="http://schemas.microsoft.com/office/drawing/2014/main" id="{55387819-8878-5F91-73AF-AE3ED0143F98}"/>
                  </a:ext>
                </a:extLst>
              </p:cNvPr>
              <p:cNvSpPr/>
              <p:nvPr/>
            </p:nvSpPr>
            <p:spPr>
              <a:xfrm>
                <a:off x="5738782" y="989196"/>
                <a:ext cx="41375" cy="5347"/>
              </a:xfrm>
              <a:custGeom>
                <a:avLst/>
                <a:gdLst>
                  <a:gd name="connsiteX0" fmla="*/ 0 w 41375"/>
                  <a:gd name="connsiteY0" fmla="*/ 0 h 5347"/>
                  <a:gd name="connsiteX1" fmla="*/ 41375 w 41375"/>
                  <a:gd name="connsiteY1" fmla="*/ 2054 h 53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1375" h="5347">
                    <a:moveTo>
                      <a:pt x="0" y="0"/>
                    </a:moveTo>
                    <a:cubicBezTo>
                      <a:pt x="0" y="0"/>
                      <a:pt x="10173" y="10515"/>
                      <a:pt x="41375" y="2054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27" name="Forma livre: Forma 426">
                <a:extLst>
                  <a:ext uri="{FF2B5EF4-FFF2-40B4-BE49-F238E27FC236}">
                    <a16:creationId xmlns:a16="http://schemas.microsoft.com/office/drawing/2014/main" id="{222C5979-7D3A-7FFC-4FC9-B294C5942CE4}"/>
                  </a:ext>
                </a:extLst>
              </p:cNvPr>
              <p:cNvSpPr/>
              <p:nvPr/>
            </p:nvSpPr>
            <p:spPr>
              <a:xfrm>
                <a:off x="5785929" y="981175"/>
                <a:ext cx="39761" cy="10220"/>
              </a:xfrm>
              <a:custGeom>
                <a:avLst/>
                <a:gdLst>
                  <a:gd name="connsiteX0" fmla="*/ 0 w 39761"/>
                  <a:gd name="connsiteY0" fmla="*/ 9879 h 10220"/>
                  <a:gd name="connsiteX1" fmla="*/ 39761 w 39761"/>
                  <a:gd name="connsiteY1" fmla="*/ 0 h 102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9761" h="10220">
                    <a:moveTo>
                      <a:pt x="0" y="9879"/>
                    </a:moveTo>
                    <a:cubicBezTo>
                      <a:pt x="0" y="9879"/>
                      <a:pt x="10613" y="13058"/>
                      <a:pt x="39761" y="0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428" name="Gráfico 6">
              <a:extLst>
                <a:ext uri="{FF2B5EF4-FFF2-40B4-BE49-F238E27FC236}">
                  <a16:creationId xmlns:a16="http://schemas.microsoft.com/office/drawing/2014/main" id="{C7DC86A1-AAFC-C685-910C-DC6CEF69471E}"/>
                </a:ext>
              </a:extLst>
            </p:cNvPr>
            <p:cNvGrpSpPr/>
            <p:nvPr/>
          </p:nvGrpSpPr>
          <p:grpSpPr>
            <a:xfrm>
              <a:off x="5792629" y="904636"/>
              <a:ext cx="112388" cy="75854"/>
              <a:chOff x="5792629" y="904636"/>
              <a:chExt cx="112388" cy="75854"/>
            </a:xfrm>
            <a:noFill/>
          </p:grpSpPr>
          <p:sp>
            <p:nvSpPr>
              <p:cNvPr id="429" name="Forma livre: Forma 428">
                <a:extLst>
                  <a:ext uri="{FF2B5EF4-FFF2-40B4-BE49-F238E27FC236}">
                    <a16:creationId xmlns:a16="http://schemas.microsoft.com/office/drawing/2014/main" id="{89F022A0-2C64-922E-86BE-7693DCBC0FB5}"/>
                  </a:ext>
                </a:extLst>
              </p:cNvPr>
              <p:cNvSpPr/>
              <p:nvPr/>
            </p:nvSpPr>
            <p:spPr>
              <a:xfrm>
                <a:off x="5792629" y="904636"/>
                <a:ext cx="112388" cy="18340"/>
              </a:xfrm>
              <a:custGeom>
                <a:avLst/>
                <a:gdLst>
                  <a:gd name="connsiteX0" fmla="*/ 0 w 112388"/>
                  <a:gd name="connsiteY0" fmla="*/ 0 h 18340"/>
                  <a:gd name="connsiteX1" fmla="*/ 112388 w 112388"/>
                  <a:gd name="connsiteY1" fmla="*/ 18340 h 183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2388" h="18340">
                    <a:moveTo>
                      <a:pt x="0" y="0"/>
                    </a:moveTo>
                    <a:lnTo>
                      <a:pt x="112388" y="1834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30" name="Forma livre: Forma 429">
                <a:extLst>
                  <a:ext uri="{FF2B5EF4-FFF2-40B4-BE49-F238E27FC236}">
                    <a16:creationId xmlns:a16="http://schemas.microsoft.com/office/drawing/2014/main" id="{B9D2D3B2-2CD2-0989-DA31-443DEAD32D21}"/>
                  </a:ext>
                </a:extLst>
              </p:cNvPr>
              <p:cNvSpPr/>
              <p:nvPr/>
            </p:nvSpPr>
            <p:spPr>
              <a:xfrm>
                <a:off x="5792629" y="904636"/>
                <a:ext cx="79425" cy="57465"/>
              </a:xfrm>
              <a:custGeom>
                <a:avLst/>
                <a:gdLst>
                  <a:gd name="connsiteX0" fmla="*/ 0 w 79425"/>
                  <a:gd name="connsiteY0" fmla="*/ 0 h 57465"/>
                  <a:gd name="connsiteX1" fmla="*/ 79425 w 79425"/>
                  <a:gd name="connsiteY1" fmla="*/ 57466 h 574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79425" h="57465">
                    <a:moveTo>
                      <a:pt x="0" y="0"/>
                    </a:moveTo>
                    <a:lnTo>
                      <a:pt x="79425" y="57466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31" name="Forma livre: Forma 430">
                <a:extLst>
                  <a:ext uri="{FF2B5EF4-FFF2-40B4-BE49-F238E27FC236}">
                    <a16:creationId xmlns:a16="http://schemas.microsoft.com/office/drawing/2014/main" id="{0A7A35BD-4867-06A3-5A61-8A0E9BD0D75D}"/>
                  </a:ext>
                </a:extLst>
              </p:cNvPr>
              <p:cNvSpPr/>
              <p:nvPr/>
            </p:nvSpPr>
            <p:spPr>
              <a:xfrm>
                <a:off x="5865060" y="921068"/>
                <a:ext cx="26072" cy="32229"/>
              </a:xfrm>
              <a:custGeom>
                <a:avLst/>
                <a:gdLst>
                  <a:gd name="connsiteX0" fmla="*/ 26067 w 26072"/>
                  <a:gd name="connsiteY0" fmla="*/ 0 h 32229"/>
                  <a:gd name="connsiteX1" fmla="*/ 0 w 26072"/>
                  <a:gd name="connsiteY1" fmla="*/ 32230 h 322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6072" h="32229">
                    <a:moveTo>
                      <a:pt x="26067" y="0"/>
                    </a:moveTo>
                    <a:cubicBezTo>
                      <a:pt x="26067" y="0"/>
                      <a:pt x="27095" y="14623"/>
                      <a:pt x="0" y="32230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32" name="Forma livre: Forma 431">
                <a:extLst>
                  <a:ext uri="{FF2B5EF4-FFF2-40B4-BE49-F238E27FC236}">
                    <a16:creationId xmlns:a16="http://schemas.microsoft.com/office/drawing/2014/main" id="{00312E35-9D68-AB4C-955C-337CEE803FFB}"/>
                  </a:ext>
                </a:extLst>
              </p:cNvPr>
              <p:cNvSpPr/>
              <p:nvPr/>
            </p:nvSpPr>
            <p:spPr>
              <a:xfrm>
                <a:off x="5827206" y="957260"/>
                <a:ext cx="34234" cy="23230"/>
              </a:xfrm>
              <a:custGeom>
                <a:avLst/>
                <a:gdLst>
                  <a:gd name="connsiteX0" fmla="*/ 34235 w 34234"/>
                  <a:gd name="connsiteY0" fmla="*/ 0 h 23230"/>
                  <a:gd name="connsiteX1" fmla="*/ 0 w 34234"/>
                  <a:gd name="connsiteY1" fmla="*/ 23231 h 232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4234" h="23230">
                    <a:moveTo>
                      <a:pt x="34235" y="0"/>
                    </a:moveTo>
                    <a:cubicBezTo>
                      <a:pt x="34235" y="0"/>
                      <a:pt x="29149" y="10222"/>
                      <a:pt x="0" y="23231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433" name="Forma livre: Forma 432">
              <a:extLst>
                <a:ext uri="{FF2B5EF4-FFF2-40B4-BE49-F238E27FC236}">
                  <a16:creationId xmlns:a16="http://schemas.microsoft.com/office/drawing/2014/main" id="{1ECA6440-8097-C568-9A8B-7ECDE3E87D18}"/>
                </a:ext>
              </a:extLst>
            </p:cNvPr>
            <p:cNvSpPr/>
            <p:nvPr/>
          </p:nvSpPr>
          <p:spPr>
            <a:xfrm>
              <a:off x="5825837" y="1039570"/>
              <a:ext cx="130190" cy="14623"/>
            </a:xfrm>
            <a:custGeom>
              <a:avLst/>
              <a:gdLst>
                <a:gd name="connsiteX0" fmla="*/ 130191 w 130190"/>
                <a:gd name="connsiteY0" fmla="*/ 0 h 14623"/>
                <a:gd name="connsiteX1" fmla="*/ 65095 w 130190"/>
                <a:gd name="connsiteY1" fmla="*/ 14623 h 14623"/>
                <a:gd name="connsiteX2" fmla="*/ 0 w 130190"/>
                <a:gd name="connsiteY2" fmla="*/ 0 h 146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30190" h="14623">
                  <a:moveTo>
                    <a:pt x="130191" y="0"/>
                  </a:moveTo>
                  <a:cubicBezTo>
                    <a:pt x="130191" y="8070"/>
                    <a:pt x="101042" y="14623"/>
                    <a:pt x="65095" y="14623"/>
                  </a:cubicBezTo>
                  <a:cubicBezTo>
                    <a:pt x="29149" y="14623"/>
                    <a:pt x="0" y="8070"/>
                    <a:pt x="0" y="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434" name="Gráfico 6">
            <a:extLst>
              <a:ext uri="{FF2B5EF4-FFF2-40B4-BE49-F238E27FC236}">
                <a16:creationId xmlns:a16="http://schemas.microsoft.com/office/drawing/2014/main" id="{DF26CCBB-613E-4BF9-3FFF-8BC86710C56A}"/>
              </a:ext>
            </a:extLst>
          </p:cNvPr>
          <p:cNvGrpSpPr/>
          <p:nvPr/>
        </p:nvGrpSpPr>
        <p:grpSpPr>
          <a:xfrm>
            <a:off x="4460716" y="896028"/>
            <a:ext cx="276108" cy="349549"/>
            <a:chOff x="4460716" y="896028"/>
            <a:chExt cx="276108" cy="349549"/>
          </a:xfrm>
          <a:noFill/>
        </p:grpSpPr>
        <p:sp>
          <p:nvSpPr>
            <p:cNvPr id="435" name="Forma livre: Forma 434">
              <a:extLst>
                <a:ext uri="{FF2B5EF4-FFF2-40B4-BE49-F238E27FC236}">
                  <a16:creationId xmlns:a16="http://schemas.microsoft.com/office/drawing/2014/main" id="{70E87FDC-4498-806E-9071-70B99D68576B}"/>
                </a:ext>
              </a:extLst>
            </p:cNvPr>
            <p:cNvSpPr/>
            <p:nvPr/>
          </p:nvSpPr>
          <p:spPr>
            <a:xfrm>
              <a:off x="4471210" y="1181107"/>
              <a:ext cx="242823" cy="39565"/>
            </a:xfrm>
            <a:custGeom>
              <a:avLst/>
              <a:gdLst>
                <a:gd name="connsiteX0" fmla="*/ 37365 w 242823"/>
                <a:gd name="connsiteY0" fmla="*/ 39566 h 39565"/>
                <a:gd name="connsiteX1" fmla="*/ 0 w 242823"/>
                <a:gd name="connsiteY1" fmla="*/ 0 h 39565"/>
                <a:gd name="connsiteX2" fmla="*/ 233287 w 242823"/>
                <a:gd name="connsiteY2" fmla="*/ 6505 h 39565"/>
                <a:gd name="connsiteX3" fmla="*/ 242823 w 242823"/>
                <a:gd name="connsiteY3" fmla="*/ 31838 h 395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2823" h="39565">
                  <a:moveTo>
                    <a:pt x="37365" y="39566"/>
                  </a:moveTo>
                  <a:cubicBezTo>
                    <a:pt x="19612" y="24845"/>
                    <a:pt x="0" y="0"/>
                    <a:pt x="0" y="0"/>
                  </a:cubicBezTo>
                  <a:cubicBezTo>
                    <a:pt x="26019" y="5429"/>
                    <a:pt x="233287" y="6505"/>
                    <a:pt x="233287" y="6505"/>
                  </a:cubicBezTo>
                  <a:lnTo>
                    <a:pt x="242823" y="31838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36" name="Forma livre: Forma 435">
              <a:extLst>
                <a:ext uri="{FF2B5EF4-FFF2-40B4-BE49-F238E27FC236}">
                  <a16:creationId xmlns:a16="http://schemas.microsoft.com/office/drawing/2014/main" id="{B7EAB7DC-198D-8310-8EA8-800623949852}"/>
                </a:ext>
              </a:extLst>
            </p:cNvPr>
            <p:cNvSpPr/>
            <p:nvPr/>
          </p:nvSpPr>
          <p:spPr>
            <a:xfrm>
              <a:off x="4558020" y="1160322"/>
              <a:ext cx="91553" cy="25822"/>
            </a:xfrm>
            <a:custGeom>
              <a:avLst/>
              <a:gdLst>
                <a:gd name="connsiteX0" fmla="*/ 91554 w 91553"/>
                <a:gd name="connsiteY0" fmla="*/ 25823 h 25822"/>
                <a:gd name="connsiteX1" fmla="*/ 80256 w 91553"/>
                <a:gd name="connsiteY1" fmla="*/ 1369 h 25822"/>
                <a:gd name="connsiteX2" fmla="*/ 14085 w 91553"/>
                <a:gd name="connsiteY2" fmla="*/ 0 h 25822"/>
                <a:gd name="connsiteX3" fmla="*/ 0 w 91553"/>
                <a:gd name="connsiteY3" fmla="*/ 23671 h 258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1553" h="25822">
                  <a:moveTo>
                    <a:pt x="91554" y="25823"/>
                  </a:moveTo>
                  <a:lnTo>
                    <a:pt x="80256" y="1369"/>
                  </a:lnTo>
                  <a:lnTo>
                    <a:pt x="14085" y="0"/>
                  </a:lnTo>
                  <a:lnTo>
                    <a:pt x="0" y="23671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37" name="Forma livre: Forma 436">
              <a:extLst>
                <a:ext uri="{FF2B5EF4-FFF2-40B4-BE49-F238E27FC236}">
                  <a16:creationId xmlns:a16="http://schemas.microsoft.com/office/drawing/2014/main" id="{E794F363-E340-421B-8087-7281D69F92CB}"/>
                </a:ext>
              </a:extLst>
            </p:cNvPr>
            <p:cNvSpPr/>
            <p:nvPr/>
          </p:nvSpPr>
          <p:spPr>
            <a:xfrm>
              <a:off x="4582962" y="935985"/>
              <a:ext cx="97814" cy="194454"/>
            </a:xfrm>
            <a:custGeom>
              <a:avLst/>
              <a:gdLst>
                <a:gd name="connsiteX0" fmla="*/ 0 w 97814"/>
                <a:gd name="connsiteY0" fmla="*/ 0 h 194454"/>
                <a:gd name="connsiteX1" fmla="*/ 97814 w 97814"/>
                <a:gd name="connsiteY1" fmla="*/ 194454 h 1944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7814" h="194454">
                  <a:moveTo>
                    <a:pt x="0" y="0"/>
                  </a:moveTo>
                  <a:lnTo>
                    <a:pt x="97814" y="194454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38" name="Forma livre: Forma 437">
              <a:extLst>
                <a:ext uri="{FF2B5EF4-FFF2-40B4-BE49-F238E27FC236}">
                  <a16:creationId xmlns:a16="http://schemas.microsoft.com/office/drawing/2014/main" id="{3019D567-723E-09AB-3CAE-28B2124FB596}"/>
                </a:ext>
              </a:extLst>
            </p:cNvPr>
            <p:cNvSpPr/>
            <p:nvPr/>
          </p:nvSpPr>
          <p:spPr>
            <a:xfrm>
              <a:off x="4582962" y="1129461"/>
              <a:ext cx="108231" cy="4890"/>
            </a:xfrm>
            <a:custGeom>
              <a:avLst/>
              <a:gdLst>
                <a:gd name="connsiteX0" fmla="*/ 0 w 108231"/>
                <a:gd name="connsiteY0" fmla="*/ 0 h 4890"/>
                <a:gd name="connsiteX1" fmla="*/ 108231 w 108231"/>
                <a:gd name="connsiteY1" fmla="*/ 0 h 48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8231" h="4890">
                  <a:moveTo>
                    <a:pt x="0" y="0"/>
                  </a:moveTo>
                  <a:lnTo>
                    <a:pt x="108231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39" name="Forma livre: Forma 438">
              <a:extLst>
                <a:ext uri="{FF2B5EF4-FFF2-40B4-BE49-F238E27FC236}">
                  <a16:creationId xmlns:a16="http://schemas.microsoft.com/office/drawing/2014/main" id="{4CEB7EA1-8551-BDB1-642E-6BFDD41F2635}"/>
                </a:ext>
              </a:extLst>
            </p:cNvPr>
            <p:cNvSpPr/>
            <p:nvPr/>
          </p:nvSpPr>
          <p:spPr>
            <a:xfrm>
              <a:off x="4460716" y="912265"/>
              <a:ext cx="119947" cy="242187"/>
            </a:xfrm>
            <a:custGeom>
              <a:avLst/>
              <a:gdLst>
                <a:gd name="connsiteX0" fmla="*/ 119703 w 119947"/>
                <a:gd name="connsiteY0" fmla="*/ 227418 h 242187"/>
                <a:gd name="connsiteX1" fmla="*/ 7119 w 119947"/>
                <a:gd name="connsiteY1" fmla="*/ 242188 h 242187"/>
                <a:gd name="connsiteX2" fmla="*/ 119948 w 119947"/>
                <a:gd name="connsiteY2" fmla="*/ 0 h 2421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19947" h="242187">
                  <a:moveTo>
                    <a:pt x="119703" y="227418"/>
                  </a:moveTo>
                  <a:cubicBezTo>
                    <a:pt x="60037" y="215484"/>
                    <a:pt x="7119" y="242188"/>
                    <a:pt x="7119" y="242188"/>
                  </a:cubicBezTo>
                  <a:cubicBezTo>
                    <a:pt x="-34500" y="89206"/>
                    <a:pt x="119948" y="0"/>
                    <a:pt x="119948" y="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40" name="Forma livre: Forma 439">
              <a:extLst>
                <a:ext uri="{FF2B5EF4-FFF2-40B4-BE49-F238E27FC236}">
                  <a16:creationId xmlns:a16="http://schemas.microsoft.com/office/drawing/2014/main" id="{8A5C6D15-C773-67F7-5956-3816D174E733}"/>
                </a:ext>
              </a:extLst>
            </p:cNvPr>
            <p:cNvSpPr/>
            <p:nvPr/>
          </p:nvSpPr>
          <p:spPr>
            <a:xfrm>
              <a:off x="4540063" y="918819"/>
              <a:ext cx="36639" cy="220424"/>
            </a:xfrm>
            <a:custGeom>
              <a:avLst/>
              <a:gdLst>
                <a:gd name="connsiteX0" fmla="*/ 36639 w 36639"/>
                <a:gd name="connsiteY0" fmla="*/ 220424 h 220424"/>
                <a:gd name="connsiteX1" fmla="*/ 30330 w 36639"/>
                <a:gd name="connsiteY1" fmla="*/ 0 h 2204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6639" h="220424">
                  <a:moveTo>
                    <a:pt x="36639" y="220424"/>
                  </a:moveTo>
                  <a:cubicBezTo>
                    <a:pt x="36639" y="220424"/>
                    <a:pt x="-41417" y="167115"/>
                    <a:pt x="30330" y="0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41" name="Forma livre: Forma 440">
              <a:extLst>
                <a:ext uri="{FF2B5EF4-FFF2-40B4-BE49-F238E27FC236}">
                  <a16:creationId xmlns:a16="http://schemas.microsoft.com/office/drawing/2014/main" id="{51CE641E-2D3A-72FC-113D-BDEFACF58BE0}"/>
                </a:ext>
              </a:extLst>
            </p:cNvPr>
            <p:cNvSpPr/>
            <p:nvPr/>
          </p:nvSpPr>
          <p:spPr>
            <a:xfrm>
              <a:off x="4582082" y="896028"/>
              <a:ext cx="49934" cy="264049"/>
            </a:xfrm>
            <a:custGeom>
              <a:avLst/>
              <a:gdLst>
                <a:gd name="connsiteX0" fmla="*/ 0 w 49934"/>
                <a:gd name="connsiteY0" fmla="*/ 264049 h 264049"/>
                <a:gd name="connsiteX1" fmla="*/ 0 w 49934"/>
                <a:gd name="connsiteY1" fmla="*/ 0 h 264049"/>
                <a:gd name="connsiteX2" fmla="*/ 24258 w 49934"/>
                <a:gd name="connsiteY2" fmla="*/ 0 h 264049"/>
                <a:gd name="connsiteX3" fmla="*/ 24258 w 49934"/>
                <a:gd name="connsiteY3" fmla="*/ 13009 h 264049"/>
                <a:gd name="connsiteX4" fmla="*/ 49934 w 49934"/>
                <a:gd name="connsiteY4" fmla="*/ 13009 h 2640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9934" h="264049">
                  <a:moveTo>
                    <a:pt x="0" y="264049"/>
                  </a:moveTo>
                  <a:lnTo>
                    <a:pt x="0" y="0"/>
                  </a:lnTo>
                  <a:lnTo>
                    <a:pt x="24258" y="0"/>
                  </a:lnTo>
                  <a:lnTo>
                    <a:pt x="24258" y="13009"/>
                  </a:lnTo>
                  <a:lnTo>
                    <a:pt x="49934" y="13009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42" name="Forma livre: Forma 441">
              <a:extLst>
                <a:ext uri="{FF2B5EF4-FFF2-40B4-BE49-F238E27FC236}">
                  <a16:creationId xmlns:a16="http://schemas.microsoft.com/office/drawing/2014/main" id="{F4171820-C197-AAB8-EC6F-1D2029611414}"/>
                </a:ext>
              </a:extLst>
            </p:cNvPr>
            <p:cNvSpPr/>
            <p:nvPr/>
          </p:nvSpPr>
          <p:spPr>
            <a:xfrm>
              <a:off x="4470329" y="1228840"/>
              <a:ext cx="266494" cy="16737"/>
            </a:xfrm>
            <a:custGeom>
              <a:avLst/>
              <a:gdLst>
                <a:gd name="connsiteX0" fmla="*/ 266494 w 266494"/>
                <a:gd name="connsiteY0" fmla="*/ 0 h 16737"/>
                <a:gd name="connsiteX1" fmla="*/ 178022 w 266494"/>
                <a:gd name="connsiteY1" fmla="*/ 0 h 16737"/>
                <a:gd name="connsiteX2" fmla="*/ 177484 w 266494"/>
                <a:gd name="connsiteY2" fmla="*/ 0 h 16737"/>
                <a:gd name="connsiteX3" fmla="*/ 89011 w 266494"/>
                <a:gd name="connsiteY3" fmla="*/ 0 h 16737"/>
                <a:gd name="connsiteX4" fmla="*/ 88473 w 266494"/>
                <a:gd name="connsiteY4" fmla="*/ 0 h 16737"/>
                <a:gd name="connsiteX5" fmla="*/ 0 w 266494"/>
                <a:gd name="connsiteY5" fmla="*/ 0 h 167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66494" h="16737">
                  <a:moveTo>
                    <a:pt x="266494" y="0"/>
                  </a:moveTo>
                  <a:cubicBezTo>
                    <a:pt x="215191" y="37658"/>
                    <a:pt x="178022" y="0"/>
                    <a:pt x="178022" y="0"/>
                  </a:cubicBezTo>
                  <a:lnTo>
                    <a:pt x="177484" y="0"/>
                  </a:lnTo>
                  <a:cubicBezTo>
                    <a:pt x="126180" y="37658"/>
                    <a:pt x="89011" y="0"/>
                    <a:pt x="89011" y="0"/>
                  </a:cubicBezTo>
                  <a:lnTo>
                    <a:pt x="88473" y="0"/>
                  </a:lnTo>
                  <a:cubicBezTo>
                    <a:pt x="37169" y="37658"/>
                    <a:pt x="0" y="0"/>
                    <a:pt x="0" y="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443" name="Gráfico 6">
            <a:extLst>
              <a:ext uri="{FF2B5EF4-FFF2-40B4-BE49-F238E27FC236}">
                <a16:creationId xmlns:a16="http://schemas.microsoft.com/office/drawing/2014/main" id="{3A0BD4CC-6AF2-F5EA-B070-F533C18E6833}"/>
              </a:ext>
            </a:extLst>
          </p:cNvPr>
          <p:cNvGrpSpPr/>
          <p:nvPr/>
        </p:nvGrpSpPr>
        <p:grpSpPr>
          <a:xfrm>
            <a:off x="5011046" y="1533140"/>
            <a:ext cx="448673" cy="157736"/>
            <a:chOff x="5011046" y="1533140"/>
            <a:chExt cx="448673" cy="157736"/>
          </a:xfrm>
          <a:noFill/>
        </p:grpSpPr>
        <p:sp>
          <p:nvSpPr>
            <p:cNvPr id="444" name="Forma livre: Forma 443">
              <a:extLst>
                <a:ext uri="{FF2B5EF4-FFF2-40B4-BE49-F238E27FC236}">
                  <a16:creationId xmlns:a16="http://schemas.microsoft.com/office/drawing/2014/main" id="{43995A59-00AE-907D-C741-6FE8E6D42C18}"/>
                </a:ext>
              </a:extLst>
            </p:cNvPr>
            <p:cNvSpPr/>
            <p:nvPr/>
          </p:nvSpPr>
          <p:spPr>
            <a:xfrm>
              <a:off x="5011046" y="1564734"/>
              <a:ext cx="441875" cy="96689"/>
            </a:xfrm>
            <a:custGeom>
              <a:avLst/>
              <a:gdLst>
                <a:gd name="connsiteX0" fmla="*/ 107302 w 441875"/>
                <a:gd name="connsiteY0" fmla="*/ 96689 h 96689"/>
                <a:gd name="connsiteX1" fmla="*/ 0 w 441875"/>
                <a:gd name="connsiteY1" fmla="*/ 0 h 96689"/>
                <a:gd name="connsiteX2" fmla="*/ 441875 w 441875"/>
                <a:gd name="connsiteY2" fmla="*/ 49494 h 966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41875" h="96689">
                  <a:moveTo>
                    <a:pt x="107302" y="96689"/>
                  </a:moveTo>
                  <a:cubicBezTo>
                    <a:pt x="80697" y="81919"/>
                    <a:pt x="18634" y="43234"/>
                    <a:pt x="0" y="0"/>
                  </a:cubicBezTo>
                  <a:lnTo>
                    <a:pt x="441875" y="49494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45" name="Forma livre: Forma 444">
              <a:extLst>
                <a:ext uri="{FF2B5EF4-FFF2-40B4-BE49-F238E27FC236}">
                  <a16:creationId xmlns:a16="http://schemas.microsoft.com/office/drawing/2014/main" id="{9269E2CB-5FB8-9077-353D-BDC6BCB85F6A}"/>
                </a:ext>
              </a:extLst>
            </p:cNvPr>
            <p:cNvSpPr/>
            <p:nvPr/>
          </p:nvSpPr>
          <p:spPr>
            <a:xfrm>
              <a:off x="5108713" y="1533140"/>
              <a:ext cx="152834" cy="59470"/>
            </a:xfrm>
            <a:custGeom>
              <a:avLst/>
              <a:gdLst>
                <a:gd name="connsiteX0" fmla="*/ 0 w 152834"/>
                <a:gd name="connsiteY0" fmla="*/ 42549 h 59470"/>
                <a:gd name="connsiteX1" fmla="*/ 47195 w 152834"/>
                <a:gd name="connsiteY1" fmla="*/ 0 h 59470"/>
                <a:gd name="connsiteX2" fmla="*/ 152835 w 152834"/>
                <a:gd name="connsiteY2" fmla="*/ 59471 h 59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52834" h="59470">
                  <a:moveTo>
                    <a:pt x="0" y="42549"/>
                  </a:moveTo>
                  <a:lnTo>
                    <a:pt x="47195" y="0"/>
                  </a:lnTo>
                  <a:cubicBezTo>
                    <a:pt x="47195" y="0"/>
                    <a:pt x="89549" y="12129"/>
                    <a:pt x="152835" y="59471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46" name="Forma livre: Forma 445">
              <a:extLst>
                <a:ext uri="{FF2B5EF4-FFF2-40B4-BE49-F238E27FC236}">
                  <a16:creationId xmlns:a16="http://schemas.microsoft.com/office/drawing/2014/main" id="{53795391-B939-56FC-6BD0-3282213EA7A3}"/>
                </a:ext>
              </a:extLst>
            </p:cNvPr>
            <p:cNvSpPr/>
            <p:nvPr/>
          </p:nvSpPr>
          <p:spPr>
            <a:xfrm>
              <a:off x="5029337" y="1593932"/>
              <a:ext cx="363134" cy="41619"/>
            </a:xfrm>
            <a:custGeom>
              <a:avLst/>
              <a:gdLst>
                <a:gd name="connsiteX0" fmla="*/ 0 w 363134"/>
                <a:gd name="connsiteY0" fmla="*/ 0 h 41619"/>
                <a:gd name="connsiteX1" fmla="*/ 363135 w 363134"/>
                <a:gd name="connsiteY1" fmla="*/ 41620 h 416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63134" h="41619">
                  <a:moveTo>
                    <a:pt x="0" y="0"/>
                  </a:moveTo>
                  <a:lnTo>
                    <a:pt x="363135" y="4162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47" name="Forma livre: Forma 446">
              <a:extLst>
                <a:ext uri="{FF2B5EF4-FFF2-40B4-BE49-F238E27FC236}">
                  <a16:creationId xmlns:a16="http://schemas.microsoft.com/office/drawing/2014/main" id="{8AE8DD45-8472-BE75-DF62-8C3CE023B8EE}"/>
                </a:ext>
              </a:extLst>
            </p:cNvPr>
            <p:cNvSpPr/>
            <p:nvPr/>
          </p:nvSpPr>
          <p:spPr>
            <a:xfrm>
              <a:off x="5381125" y="1572301"/>
              <a:ext cx="72137" cy="40411"/>
            </a:xfrm>
            <a:custGeom>
              <a:avLst/>
              <a:gdLst>
                <a:gd name="connsiteX0" fmla="*/ 71942 w 72137"/>
                <a:gd name="connsiteY0" fmla="*/ 40411 h 40411"/>
                <a:gd name="connsiteX1" fmla="*/ 72138 w 72137"/>
                <a:gd name="connsiteY1" fmla="*/ 6078 h 40411"/>
                <a:gd name="connsiteX2" fmla="*/ 4451 w 72137"/>
                <a:gd name="connsiteY2" fmla="*/ 8230 h 40411"/>
                <a:gd name="connsiteX3" fmla="*/ 0 w 72137"/>
                <a:gd name="connsiteY3" fmla="*/ 32733 h 404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2137" h="40411">
                  <a:moveTo>
                    <a:pt x="71942" y="40411"/>
                  </a:moveTo>
                  <a:lnTo>
                    <a:pt x="72138" y="6078"/>
                  </a:lnTo>
                  <a:cubicBezTo>
                    <a:pt x="72138" y="6078"/>
                    <a:pt x="39223" y="-8936"/>
                    <a:pt x="4451" y="8230"/>
                  </a:cubicBezTo>
                  <a:lnTo>
                    <a:pt x="0" y="32733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48" name="Forma livre: Forma 447">
              <a:extLst>
                <a:ext uri="{FF2B5EF4-FFF2-40B4-BE49-F238E27FC236}">
                  <a16:creationId xmlns:a16="http://schemas.microsoft.com/office/drawing/2014/main" id="{55C4A514-4987-CC57-3A00-4243918356E8}"/>
                </a:ext>
              </a:extLst>
            </p:cNvPr>
            <p:cNvSpPr/>
            <p:nvPr/>
          </p:nvSpPr>
          <p:spPr>
            <a:xfrm>
              <a:off x="5414333" y="1612565"/>
              <a:ext cx="17899" cy="52085"/>
            </a:xfrm>
            <a:custGeom>
              <a:avLst/>
              <a:gdLst>
                <a:gd name="connsiteX0" fmla="*/ 17900 w 17899"/>
                <a:gd name="connsiteY0" fmla="*/ 0 h 52085"/>
                <a:gd name="connsiteX1" fmla="*/ 0 w 17899"/>
                <a:gd name="connsiteY1" fmla="*/ 52086 h 520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7899" h="52085">
                  <a:moveTo>
                    <a:pt x="17900" y="0"/>
                  </a:moveTo>
                  <a:lnTo>
                    <a:pt x="0" y="52086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bevel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449" name="Gráfico 6">
              <a:extLst>
                <a:ext uri="{FF2B5EF4-FFF2-40B4-BE49-F238E27FC236}">
                  <a16:creationId xmlns:a16="http://schemas.microsoft.com/office/drawing/2014/main" id="{4C8CCF91-5005-644F-B5FB-5D877F217F77}"/>
                </a:ext>
              </a:extLst>
            </p:cNvPr>
            <p:cNvGrpSpPr/>
            <p:nvPr/>
          </p:nvGrpSpPr>
          <p:grpSpPr>
            <a:xfrm>
              <a:off x="5062300" y="1675900"/>
              <a:ext cx="397418" cy="14976"/>
              <a:chOff x="5062300" y="1675900"/>
              <a:chExt cx="397418" cy="14976"/>
            </a:xfrm>
            <a:noFill/>
          </p:grpSpPr>
          <p:sp>
            <p:nvSpPr>
              <p:cNvPr id="450" name="Forma livre: Forma 449">
                <a:extLst>
                  <a:ext uri="{FF2B5EF4-FFF2-40B4-BE49-F238E27FC236}">
                    <a16:creationId xmlns:a16="http://schemas.microsoft.com/office/drawing/2014/main" id="{BA0DD488-58E6-311D-78AA-8F447BD2F98E}"/>
                  </a:ext>
                </a:extLst>
              </p:cNvPr>
              <p:cNvSpPr/>
              <p:nvPr/>
            </p:nvSpPr>
            <p:spPr>
              <a:xfrm>
                <a:off x="5062300" y="1675900"/>
                <a:ext cx="317797" cy="14976"/>
              </a:xfrm>
              <a:custGeom>
                <a:avLst/>
                <a:gdLst>
                  <a:gd name="connsiteX0" fmla="*/ 0 w 317797"/>
                  <a:gd name="connsiteY0" fmla="*/ 0 h 14976"/>
                  <a:gd name="connsiteX1" fmla="*/ 79083 w 317797"/>
                  <a:gd name="connsiteY1" fmla="*/ 0 h 14976"/>
                  <a:gd name="connsiteX2" fmla="*/ 79572 w 317797"/>
                  <a:gd name="connsiteY2" fmla="*/ 0 h 14976"/>
                  <a:gd name="connsiteX3" fmla="*/ 158654 w 317797"/>
                  <a:gd name="connsiteY3" fmla="*/ 0 h 14976"/>
                  <a:gd name="connsiteX4" fmla="*/ 159144 w 317797"/>
                  <a:gd name="connsiteY4" fmla="*/ 0 h 14976"/>
                  <a:gd name="connsiteX5" fmla="*/ 238226 w 317797"/>
                  <a:gd name="connsiteY5" fmla="*/ 0 h 14976"/>
                  <a:gd name="connsiteX6" fmla="*/ 238715 w 317797"/>
                  <a:gd name="connsiteY6" fmla="*/ 0 h 14976"/>
                  <a:gd name="connsiteX7" fmla="*/ 317798 w 317797"/>
                  <a:gd name="connsiteY7" fmla="*/ 0 h 149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17797" h="14976">
                    <a:moveTo>
                      <a:pt x="0" y="0"/>
                    </a:moveTo>
                    <a:cubicBezTo>
                      <a:pt x="0" y="0"/>
                      <a:pt x="33208" y="33697"/>
                      <a:pt x="79083" y="0"/>
                    </a:cubicBezTo>
                    <a:lnTo>
                      <a:pt x="79572" y="0"/>
                    </a:lnTo>
                    <a:cubicBezTo>
                      <a:pt x="79572" y="0"/>
                      <a:pt x="112780" y="33697"/>
                      <a:pt x="158654" y="0"/>
                    </a:cubicBezTo>
                    <a:lnTo>
                      <a:pt x="159144" y="0"/>
                    </a:lnTo>
                    <a:cubicBezTo>
                      <a:pt x="159144" y="0"/>
                      <a:pt x="192351" y="33697"/>
                      <a:pt x="238226" y="0"/>
                    </a:cubicBezTo>
                    <a:lnTo>
                      <a:pt x="238715" y="0"/>
                    </a:lnTo>
                    <a:cubicBezTo>
                      <a:pt x="238715" y="0"/>
                      <a:pt x="271923" y="33697"/>
                      <a:pt x="317798" y="0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51" name="Forma livre: Forma 450">
                <a:extLst>
                  <a:ext uri="{FF2B5EF4-FFF2-40B4-BE49-F238E27FC236}">
                    <a16:creationId xmlns:a16="http://schemas.microsoft.com/office/drawing/2014/main" id="{BB36C42F-7DC6-7EBD-DDD5-3986F0252E9C}"/>
                  </a:ext>
                </a:extLst>
              </p:cNvPr>
              <p:cNvSpPr/>
              <p:nvPr/>
            </p:nvSpPr>
            <p:spPr>
              <a:xfrm>
                <a:off x="5380636" y="1675900"/>
                <a:ext cx="79082" cy="14976"/>
              </a:xfrm>
              <a:custGeom>
                <a:avLst/>
                <a:gdLst>
                  <a:gd name="connsiteX0" fmla="*/ 0 w 79082"/>
                  <a:gd name="connsiteY0" fmla="*/ 0 h 14976"/>
                  <a:gd name="connsiteX1" fmla="*/ 79083 w 79082"/>
                  <a:gd name="connsiteY1" fmla="*/ 0 h 149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79082" h="14976">
                    <a:moveTo>
                      <a:pt x="0" y="0"/>
                    </a:moveTo>
                    <a:cubicBezTo>
                      <a:pt x="0" y="0"/>
                      <a:pt x="33208" y="33697"/>
                      <a:pt x="79083" y="0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452" name="Forma livre: Forma 451">
              <a:extLst>
                <a:ext uri="{FF2B5EF4-FFF2-40B4-BE49-F238E27FC236}">
                  <a16:creationId xmlns:a16="http://schemas.microsoft.com/office/drawing/2014/main" id="{C2F72045-E18F-72E9-9A87-C70D160C056A}"/>
                </a:ext>
              </a:extLst>
            </p:cNvPr>
            <p:cNvSpPr/>
            <p:nvPr/>
          </p:nvSpPr>
          <p:spPr>
            <a:xfrm>
              <a:off x="5389488" y="1608995"/>
              <a:ext cx="11199" cy="44603"/>
            </a:xfrm>
            <a:custGeom>
              <a:avLst/>
              <a:gdLst>
                <a:gd name="connsiteX0" fmla="*/ 0 w 11199"/>
                <a:gd name="connsiteY0" fmla="*/ 44603 h 44603"/>
                <a:gd name="connsiteX1" fmla="*/ 11200 w 11199"/>
                <a:gd name="connsiteY1" fmla="*/ 0 h 446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199" h="44603">
                  <a:moveTo>
                    <a:pt x="0" y="44603"/>
                  </a:moveTo>
                  <a:lnTo>
                    <a:pt x="1120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453" name="Gráfico 6">
            <a:extLst>
              <a:ext uri="{FF2B5EF4-FFF2-40B4-BE49-F238E27FC236}">
                <a16:creationId xmlns:a16="http://schemas.microsoft.com/office/drawing/2014/main" id="{B2BFDA30-F63D-FE4A-BF9D-9431745B9196}"/>
              </a:ext>
            </a:extLst>
          </p:cNvPr>
          <p:cNvGrpSpPr/>
          <p:nvPr/>
        </p:nvGrpSpPr>
        <p:grpSpPr>
          <a:xfrm>
            <a:off x="5653391" y="1521696"/>
            <a:ext cx="437228" cy="180624"/>
            <a:chOff x="5653391" y="1521696"/>
            <a:chExt cx="437228" cy="180624"/>
          </a:xfrm>
          <a:noFill/>
        </p:grpSpPr>
        <p:sp>
          <p:nvSpPr>
            <p:cNvPr id="454" name="Forma livre: Forma 453">
              <a:extLst>
                <a:ext uri="{FF2B5EF4-FFF2-40B4-BE49-F238E27FC236}">
                  <a16:creationId xmlns:a16="http://schemas.microsoft.com/office/drawing/2014/main" id="{B2CC420F-A4A1-0026-E573-ACB4AC300CB9}"/>
                </a:ext>
              </a:extLst>
            </p:cNvPr>
            <p:cNvSpPr/>
            <p:nvPr/>
          </p:nvSpPr>
          <p:spPr>
            <a:xfrm>
              <a:off x="5688213" y="1580091"/>
              <a:ext cx="402407" cy="72137"/>
            </a:xfrm>
            <a:custGeom>
              <a:avLst/>
              <a:gdLst>
                <a:gd name="connsiteX0" fmla="*/ 402407 w 402407"/>
                <a:gd name="connsiteY0" fmla="*/ 0 h 72137"/>
                <a:gd name="connsiteX1" fmla="*/ 0 w 402407"/>
                <a:gd name="connsiteY1" fmla="*/ 72138 h 721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02407" h="72137">
                  <a:moveTo>
                    <a:pt x="402407" y="0"/>
                  </a:moveTo>
                  <a:cubicBezTo>
                    <a:pt x="402407" y="0"/>
                    <a:pt x="304104" y="39370"/>
                    <a:pt x="0" y="72138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55" name="Forma livre: Forma 454">
              <a:extLst>
                <a:ext uri="{FF2B5EF4-FFF2-40B4-BE49-F238E27FC236}">
                  <a16:creationId xmlns:a16="http://schemas.microsoft.com/office/drawing/2014/main" id="{B668860B-4CF7-0049-C0BC-75B2DE910F3D}"/>
                </a:ext>
              </a:extLst>
            </p:cNvPr>
            <p:cNvSpPr/>
            <p:nvPr/>
          </p:nvSpPr>
          <p:spPr>
            <a:xfrm>
              <a:off x="5992365" y="1586058"/>
              <a:ext cx="82995" cy="81772"/>
            </a:xfrm>
            <a:custGeom>
              <a:avLst/>
              <a:gdLst>
                <a:gd name="connsiteX0" fmla="*/ 82995 w 82995"/>
                <a:gd name="connsiteY0" fmla="*/ 0 h 81772"/>
                <a:gd name="connsiteX1" fmla="*/ 0 w 82995"/>
                <a:gd name="connsiteY1" fmla="*/ 81773 h 817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2995" h="81772">
                  <a:moveTo>
                    <a:pt x="82995" y="0"/>
                  </a:moveTo>
                  <a:cubicBezTo>
                    <a:pt x="82995" y="0"/>
                    <a:pt x="71258" y="45337"/>
                    <a:pt x="0" y="81773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56" name="Forma livre: Forma 455">
              <a:extLst>
                <a:ext uri="{FF2B5EF4-FFF2-40B4-BE49-F238E27FC236}">
                  <a16:creationId xmlns:a16="http://schemas.microsoft.com/office/drawing/2014/main" id="{D24CC219-6B4D-8631-2932-FA7F74B2AF7A}"/>
                </a:ext>
              </a:extLst>
            </p:cNvPr>
            <p:cNvSpPr/>
            <p:nvPr/>
          </p:nvSpPr>
          <p:spPr>
            <a:xfrm>
              <a:off x="5698874" y="1653549"/>
              <a:ext cx="8020" cy="19807"/>
            </a:xfrm>
            <a:custGeom>
              <a:avLst/>
              <a:gdLst>
                <a:gd name="connsiteX0" fmla="*/ 0 w 8020"/>
                <a:gd name="connsiteY0" fmla="*/ 0 h 19807"/>
                <a:gd name="connsiteX1" fmla="*/ 8021 w 8020"/>
                <a:gd name="connsiteY1" fmla="*/ 19807 h 19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020" h="19807">
                  <a:moveTo>
                    <a:pt x="0" y="0"/>
                  </a:moveTo>
                  <a:cubicBezTo>
                    <a:pt x="0" y="0"/>
                    <a:pt x="2983" y="9439"/>
                    <a:pt x="8021" y="19807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57" name="Forma livre: Forma 456">
              <a:extLst>
                <a:ext uri="{FF2B5EF4-FFF2-40B4-BE49-F238E27FC236}">
                  <a16:creationId xmlns:a16="http://schemas.microsoft.com/office/drawing/2014/main" id="{6DACC2AE-61A6-3D58-04F8-A46AD221DAC3}"/>
                </a:ext>
              </a:extLst>
            </p:cNvPr>
            <p:cNvSpPr/>
            <p:nvPr/>
          </p:nvSpPr>
          <p:spPr>
            <a:xfrm>
              <a:off x="5716371" y="1526929"/>
              <a:ext cx="365103" cy="102802"/>
            </a:xfrm>
            <a:custGeom>
              <a:avLst/>
              <a:gdLst>
                <a:gd name="connsiteX0" fmla="*/ 365103 w 365103"/>
                <a:gd name="connsiteY0" fmla="*/ 55461 h 102802"/>
                <a:gd name="connsiteX1" fmla="*/ 206302 w 365103"/>
                <a:gd name="connsiteY1" fmla="*/ 0 h 102802"/>
                <a:gd name="connsiteX2" fmla="*/ 177007 w 365103"/>
                <a:gd name="connsiteY2" fmla="*/ 20150 h 102802"/>
                <a:gd name="connsiteX3" fmla="*/ 154265 w 365103"/>
                <a:gd name="connsiteY3" fmla="*/ 56683 h 102802"/>
                <a:gd name="connsiteX4" fmla="*/ 152896 w 365103"/>
                <a:gd name="connsiteY4" fmla="*/ 58591 h 102802"/>
                <a:gd name="connsiteX5" fmla="*/ 21336 w 365103"/>
                <a:gd name="connsiteY5" fmla="*/ 50130 h 102802"/>
                <a:gd name="connsiteX6" fmla="*/ 2751 w 365103"/>
                <a:gd name="connsiteY6" fmla="*/ 68959 h 102802"/>
                <a:gd name="connsiteX7" fmla="*/ 17032 w 365103"/>
                <a:gd name="connsiteY7" fmla="*/ 74828 h 102802"/>
                <a:gd name="connsiteX8" fmla="*/ 139935 w 365103"/>
                <a:gd name="connsiteY8" fmla="*/ 102803 h 102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65103" h="102802">
                  <a:moveTo>
                    <a:pt x="365103" y="55461"/>
                  </a:moveTo>
                  <a:cubicBezTo>
                    <a:pt x="365103" y="55461"/>
                    <a:pt x="285385" y="14721"/>
                    <a:pt x="206302" y="0"/>
                  </a:cubicBezTo>
                  <a:cubicBezTo>
                    <a:pt x="206302" y="0"/>
                    <a:pt x="184685" y="4842"/>
                    <a:pt x="177007" y="20150"/>
                  </a:cubicBezTo>
                  <a:cubicBezTo>
                    <a:pt x="168008" y="38050"/>
                    <a:pt x="166590" y="38979"/>
                    <a:pt x="154265" y="56683"/>
                  </a:cubicBezTo>
                  <a:lnTo>
                    <a:pt x="152896" y="58591"/>
                  </a:lnTo>
                  <a:cubicBezTo>
                    <a:pt x="152896" y="58591"/>
                    <a:pt x="99538" y="64459"/>
                    <a:pt x="21336" y="50130"/>
                  </a:cubicBezTo>
                  <a:cubicBezTo>
                    <a:pt x="21336" y="50130"/>
                    <a:pt x="-9133" y="42940"/>
                    <a:pt x="2751" y="68959"/>
                  </a:cubicBezTo>
                  <a:cubicBezTo>
                    <a:pt x="2751" y="68959"/>
                    <a:pt x="5196" y="71160"/>
                    <a:pt x="17032" y="74828"/>
                  </a:cubicBezTo>
                  <a:cubicBezTo>
                    <a:pt x="17032" y="74828"/>
                    <a:pt x="109417" y="95418"/>
                    <a:pt x="139935" y="102803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58" name="Forma livre: Forma 457">
              <a:extLst>
                <a:ext uri="{FF2B5EF4-FFF2-40B4-BE49-F238E27FC236}">
                  <a16:creationId xmlns:a16="http://schemas.microsoft.com/office/drawing/2014/main" id="{F7CB6830-4360-EFB6-D856-E04D3289588A}"/>
                </a:ext>
              </a:extLst>
            </p:cNvPr>
            <p:cNvSpPr/>
            <p:nvPr/>
          </p:nvSpPr>
          <p:spPr>
            <a:xfrm>
              <a:off x="5750960" y="1608066"/>
              <a:ext cx="5868" cy="35751"/>
            </a:xfrm>
            <a:custGeom>
              <a:avLst/>
              <a:gdLst>
                <a:gd name="connsiteX0" fmla="*/ 5869 w 5868"/>
                <a:gd name="connsiteY0" fmla="*/ 0 h 35751"/>
                <a:gd name="connsiteX1" fmla="*/ 0 w 5868"/>
                <a:gd name="connsiteY1" fmla="*/ 35751 h 357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868" h="35751">
                  <a:moveTo>
                    <a:pt x="5869" y="0"/>
                  </a:moveTo>
                  <a:lnTo>
                    <a:pt x="0" y="35751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59" name="Forma livre: Forma 458">
              <a:extLst>
                <a:ext uri="{FF2B5EF4-FFF2-40B4-BE49-F238E27FC236}">
                  <a16:creationId xmlns:a16="http://schemas.microsoft.com/office/drawing/2014/main" id="{C0265685-6A9F-528F-391F-A2FEFC1EC3C8}"/>
                </a:ext>
              </a:extLst>
            </p:cNvPr>
            <p:cNvSpPr/>
            <p:nvPr/>
          </p:nvSpPr>
          <p:spPr>
            <a:xfrm>
              <a:off x="5653391" y="1687344"/>
              <a:ext cx="397467" cy="14976"/>
            </a:xfrm>
            <a:custGeom>
              <a:avLst/>
              <a:gdLst>
                <a:gd name="connsiteX0" fmla="*/ 397468 w 397467"/>
                <a:gd name="connsiteY0" fmla="*/ 0 h 14976"/>
                <a:gd name="connsiteX1" fmla="*/ 318336 w 397467"/>
                <a:gd name="connsiteY1" fmla="*/ 0 h 14976"/>
                <a:gd name="connsiteX2" fmla="*/ 317847 w 397467"/>
                <a:gd name="connsiteY2" fmla="*/ 0 h 14976"/>
                <a:gd name="connsiteX3" fmla="*/ 238764 w 397467"/>
                <a:gd name="connsiteY3" fmla="*/ 0 h 14976"/>
                <a:gd name="connsiteX4" fmla="*/ 238275 w 397467"/>
                <a:gd name="connsiteY4" fmla="*/ 0 h 14976"/>
                <a:gd name="connsiteX5" fmla="*/ 159192 w 397467"/>
                <a:gd name="connsiteY5" fmla="*/ 0 h 14976"/>
                <a:gd name="connsiteX6" fmla="*/ 158703 w 397467"/>
                <a:gd name="connsiteY6" fmla="*/ 0 h 14976"/>
                <a:gd name="connsiteX7" fmla="*/ 79572 w 397467"/>
                <a:gd name="connsiteY7" fmla="*/ 0 h 14976"/>
                <a:gd name="connsiteX8" fmla="*/ 79083 w 397467"/>
                <a:gd name="connsiteY8" fmla="*/ 0 h 14976"/>
                <a:gd name="connsiteX9" fmla="*/ 0 w 397467"/>
                <a:gd name="connsiteY9" fmla="*/ 0 h 149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97467" h="14976">
                  <a:moveTo>
                    <a:pt x="397468" y="0"/>
                  </a:moveTo>
                  <a:cubicBezTo>
                    <a:pt x="351593" y="33697"/>
                    <a:pt x="318336" y="0"/>
                    <a:pt x="318336" y="0"/>
                  </a:cubicBezTo>
                  <a:lnTo>
                    <a:pt x="317847" y="0"/>
                  </a:lnTo>
                  <a:cubicBezTo>
                    <a:pt x="271972" y="33697"/>
                    <a:pt x="238764" y="0"/>
                    <a:pt x="238764" y="0"/>
                  </a:cubicBezTo>
                  <a:lnTo>
                    <a:pt x="238275" y="0"/>
                  </a:lnTo>
                  <a:cubicBezTo>
                    <a:pt x="192400" y="33697"/>
                    <a:pt x="159192" y="0"/>
                    <a:pt x="159192" y="0"/>
                  </a:cubicBezTo>
                  <a:lnTo>
                    <a:pt x="158703" y="0"/>
                  </a:lnTo>
                  <a:cubicBezTo>
                    <a:pt x="112829" y="33697"/>
                    <a:pt x="79572" y="0"/>
                    <a:pt x="79572" y="0"/>
                  </a:cubicBezTo>
                  <a:lnTo>
                    <a:pt x="79083" y="0"/>
                  </a:lnTo>
                  <a:cubicBezTo>
                    <a:pt x="33208" y="33697"/>
                    <a:pt x="0" y="0"/>
                    <a:pt x="0" y="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60" name="Forma livre: Forma 459">
              <a:extLst>
                <a:ext uri="{FF2B5EF4-FFF2-40B4-BE49-F238E27FC236}">
                  <a16:creationId xmlns:a16="http://schemas.microsoft.com/office/drawing/2014/main" id="{5C7E742C-7661-292A-9C28-0653A479765A}"/>
                </a:ext>
              </a:extLst>
            </p:cNvPr>
            <p:cNvSpPr/>
            <p:nvPr/>
          </p:nvSpPr>
          <p:spPr>
            <a:xfrm>
              <a:off x="5849997" y="1521696"/>
              <a:ext cx="51107" cy="18584"/>
            </a:xfrm>
            <a:custGeom>
              <a:avLst/>
              <a:gdLst>
                <a:gd name="connsiteX0" fmla="*/ 51108 w 51107"/>
                <a:gd name="connsiteY0" fmla="*/ 15161 h 18584"/>
                <a:gd name="connsiteX1" fmla="*/ 31447 w 51107"/>
                <a:gd name="connsiteY1" fmla="*/ 0 h 18584"/>
                <a:gd name="connsiteX2" fmla="*/ 0 w 51107"/>
                <a:gd name="connsiteY2" fmla="*/ 18585 h 185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51107" h="18584">
                  <a:moveTo>
                    <a:pt x="51108" y="15161"/>
                  </a:moveTo>
                  <a:lnTo>
                    <a:pt x="31447" y="0"/>
                  </a:lnTo>
                  <a:lnTo>
                    <a:pt x="0" y="18585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461" name="Gráfico 6">
            <a:extLst>
              <a:ext uri="{FF2B5EF4-FFF2-40B4-BE49-F238E27FC236}">
                <a16:creationId xmlns:a16="http://schemas.microsoft.com/office/drawing/2014/main" id="{CC28D92A-08E6-033C-7DB1-238EADAF0901}"/>
              </a:ext>
            </a:extLst>
          </p:cNvPr>
          <p:cNvGrpSpPr/>
          <p:nvPr/>
        </p:nvGrpSpPr>
        <p:grpSpPr>
          <a:xfrm>
            <a:off x="4452772" y="1438798"/>
            <a:ext cx="291975" cy="346457"/>
            <a:chOff x="4452772" y="1438798"/>
            <a:chExt cx="291975" cy="346457"/>
          </a:xfrm>
          <a:noFill/>
        </p:grpSpPr>
        <p:sp>
          <p:nvSpPr>
            <p:cNvPr id="462" name="Forma livre: Forma 461">
              <a:extLst>
                <a:ext uri="{FF2B5EF4-FFF2-40B4-BE49-F238E27FC236}">
                  <a16:creationId xmlns:a16="http://schemas.microsoft.com/office/drawing/2014/main" id="{A02E332E-9E69-3CD2-6B98-88504A7C9F62}"/>
                </a:ext>
              </a:extLst>
            </p:cNvPr>
            <p:cNvSpPr/>
            <p:nvPr/>
          </p:nvSpPr>
          <p:spPr>
            <a:xfrm>
              <a:off x="4581495" y="1466382"/>
              <a:ext cx="34626" cy="34626"/>
            </a:xfrm>
            <a:custGeom>
              <a:avLst/>
              <a:gdLst>
                <a:gd name="connsiteX0" fmla="*/ 34626 w 34626"/>
                <a:gd name="connsiteY0" fmla="*/ 17313 h 34626"/>
                <a:gd name="connsiteX1" fmla="*/ 17313 w 34626"/>
                <a:gd name="connsiteY1" fmla="*/ 34626 h 34626"/>
                <a:gd name="connsiteX2" fmla="*/ 0 w 34626"/>
                <a:gd name="connsiteY2" fmla="*/ 17313 h 34626"/>
                <a:gd name="connsiteX3" fmla="*/ 17313 w 34626"/>
                <a:gd name="connsiteY3" fmla="*/ 0 h 34626"/>
                <a:gd name="connsiteX4" fmla="*/ 34626 w 34626"/>
                <a:gd name="connsiteY4" fmla="*/ 17313 h 346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626" h="34626">
                  <a:moveTo>
                    <a:pt x="34626" y="17313"/>
                  </a:moveTo>
                  <a:cubicBezTo>
                    <a:pt x="34626" y="26899"/>
                    <a:pt x="26899" y="34626"/>
                    <a:pt x="17313" y="34626"/>
                  </a:cubicBezTo>
                  <a:cubicBezTo>
                    <a:pt x="7727" y="34626"/>
                    <a:pt x="0" y="26850"/>
                    <a:pt x="0" y="17313"/>
                  </a:cubicBezTo>
                  <a:cubicBezTo>
                    <a:pt x="0" y="7776"/>
                    <a:pt x="7776" y="0"/>
                    <a:pt x="17313" y="0"/>
                  </a:cubicBezTo>
                  <a:cubicBezTo>
                    <a:pt x="26850" y="0"/>
                    <a:pt x="34626" y="7727"/>
                    <a:pt x="34626" y="17313"/>
                  </a:cubicBez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63" name="Forma livre: Forma 462">
              <a:extLst>
                <a:ext uri="{FF2B5EF4-FFF2-40B4-BE49-F238E27FC236}">
                  <a16:creationId xmlns:a16="http://schemas.microsoft.com/office/drawing/2014/main" id="{AEF22BE8-9CD4-9C7A-BE5A-DFA16F7E5CFD}"/>
                </a:ext>
              </a:extLst>
            </p:cNvPr>
            <p:cNvSpPr/>
            <p:nvPr/>
          </p:nvSpPr>
          <p:spPr>
            <a:xfrm>
              <a:off x="4452772" y="1438798"/>
              <a:ext cx="291975" cy="346457"/>
            </a:xfrm>
            <a:custGeom>
              <a:avLst/>
              <a:gdLst>
                <a:gd name="connsiteX0" fmla="*/ 146085 w 291975"/>
                <a:gd name="connsiteY0" fmla="*/ 0 h 346457"/>
                <a:gd name="connsiteX1" fmla="*/ 190982 w 291975"/>
                <a:gd name="connsiteY1" fmla="*/ 44897 h 346457"/>
                <a:gd name="connsiteX2" fmla="*/ 159779 w 291975"/>
                <a:gd name="connsiteY2" fmla="*/ 87690 h 346457"/>
                <a:gd name="connsiteX3" fmla="*/ 159779 w 291975"/>
                <a:gd name="connsiteY3" fmla="*/ 124811 h 346457"/>
                <a:gd name="connsiteX4" fmla="*/ 190835 w 291975"/>
                <a:gd name="connsiteY4" fmla="*/ 124811 h 346457"/>
                <a:gd name="connsiteX5" fmla="*/ 205507 w 291975"/>
                <a:gd name="connsiteY5" fmla="*/ 117964 h 346457"/>
                <a:gd name="connsiteX6" fmla="*/ 224875 w 291975"/>
                <a:gd name="connsiteY6" fmla="*/ 137331 h 346457"/>
                <a:gd name="connsiteX7" fmla="*/ 205507 w 291975"/>
                <a:gd name="connsiteY7" fmla="*/ 156698 h 346457"/>
                <a:gd name="connsiteX8" fmla="*/ 190835 w 291975"/>
                <a:gd name="connsiteY8" fmla="*/ 149851 h 346457"/>
                <a:gd name="connsiteX9" fmla="*/ 159779 w 291975"/>
                <a:gd name="connsiteY9" fmla="*/ 149851 h 346457"/>
                <a:gd name="connsiteX10" fmla="*/ 159779 w 291975"/>
                <a:gd name="connsiteY10" fmla="*/ 269820 h 346457"/>
                <a:gd name="connsiteX11" fmla="*/ 248497 w 291975"/>
                <a:gd name="connsiteY11" fmla="*/ 220375 h 346457"/>
                <a:gd name="connsiteX12" fmla="*/ 226782 w 291975"/>
                <a:gd name="connsiteY12" fmla="*/ 205361 h 346457"/>
                <a:gd name="connsiteX13" fmla="*/ 291975 w 291975"/>
                <a:gd name="connsiteY13" fmla="*/ 183304 h 346457"/>
                <a:gd name="connsiteX14" fmla="*/ 289432 w 291975"/>
                <a:gd name="connsiteY14" fmla="*/ 252752 h 346457"/>
                <a:gd name="connsiteX15" fmla="*/ 268646 w 291975"/>
                <a:gd name="connsiteY15" fmla="*/ 237101 h 346457"/>
                <a:gd name="connsiteX16" fmla="*/ 159779 w 291975"/>
                <a:gd name="connsiteY16" fmla="*/ 310071 h 346457"/>
                <a:gd name="connsiteX17" fmla="*/ 159779 w 291975"/>
                <a:gd name="connsiteY17" fmla="*/ 327677 h 346457"/>
                <a:gd name="connsiteX18" fmla="*/ 146036 w 291975"/>
                <a:gd name="connsiteY18" fmla="*/ 346457 h 346457"/>
                <a:gd name="connsiteX19" fmla="*/ 145939 w 291975"/>
                <a:gd name="connsiteY19" fmla="*/ 346457 h 346457"/>
                <a:gd name="connsiteX20" fmla="*/ 132196 w 291975"/>
                <a:gd name="connsiteY20" fmla="*/ 327677 h 346457"/>
                <a:gd name="connsiteX21" fmla="*/ 132196 w 291975"/>
                <a:gd name="connsiteY21" fmla="*/ 310071 h 346457"/>
                <a:gd name="connsiteX22" fmla="*/ 23329 w 291975"/>
                <a:gd name="connsiteY22" fmla="*/ 237101 h 346457"/>
                <a:gd name="connsiteX23" fmla="*/ 2543 w 291975"/>
                <a:gd name="connsiteY23" fmla="*/ 252752 h 346457"/>
                <a:gd name="connsiteX24" fmla="*/ 0 w 291975"/>
                <a:gd name="connsiteY24" fmla="*/ 183304 h 346457"/>
                <a:gd name="connsiteX25" fmla="*/ 65193 w 291975"/>
                <a:gd name="connsiteY25" fmla="*/ 205361 h 346457"/>
                <a:gd name="connsiteX26" fmla="*/ 43478 w 291975"/>
                <a:gd name="connsiteY26" fmla="*/ 220375 h 346457"/>
                <a:gd name="connsiteX27" fmla="*/ 132196 w 291975"/>
                <a:gd name="connsiteY27" fmla="*/ 269820 h 346457"/>
                <a:gd name="connsiteX28" fmla="*/ 132196 w 291975"/>
                <a:gd name="connsiteY28" fmla="*/ 149851 h 346457"/>
                <a:gd name="connsiteX29" fmla="*/ 101140 w 291975"/>
                <a:gd name="connsiteY29" fmla="*/ 149851 h 346457"/>
                <a:gd name="connsiteX30" fmla="*/ 86468 w 291975"/>
                <a:gd name="connsiteY30" fmla="*/ 156698 h 346457"/>
                <a:gd name="connsiteX31" fmla="*/ 67100 w 291975"/>
                <a:gd name="connsiteY31" fmla="*/ 137331 h 346457"/>
                <a:gd name="connsiteX32" fmla="*/ 86468 w 291975"/>
                <a:gd name="connsiteY32" fmla="*/ 117964 h 346457"/>
                <a:gd name="connsiteX33" fmla="*/ 101140 w 291975"/>
                <a:gd name="connsiteY33" fmla="*/ 124811 h 346457"/>
                <a:gd name="connsiteX34" fmla="*/ 132196 w 291975"/>
                <a:gd name="connsiteY34" fmla="*/ 124811 h 346457"/>
                <a:gd name="connsiteX35" fmla="*/ 132196 w 291975"/>
                <a:gd name="connsiteY35" fmla="*/ 87690 h 346457"/>
                <a:gd name="connsiteX36" fmla="*/ 100993 w 291975"/>
                <a:gd name="connsiteY36" fmla="*/ 44897 h 346457"/>
                <a:gd name="connsiteX37" fmla="*/ 145890 w 291975"/>
                <a:gd name="connsiteY37" fmla="*/ 0 h 346457"/>
                <a:gd name="connsiteX38" fmla="*/ 145988 w 291975"/>
                <a:gd name="connsiteY38" fmla="*/ 0 h 3464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291975" h="346457">
                  <a:moveTo>
                    <a:pt x="146085" y="0"/>
                  </a:moveTo>
                  <a:cubicBezTo>
                    <a:pt x="170881" y="0"/>
                    <a:pt x="190982" y="20101"/>
                    <a:pt x="190982" y="44897"/>
                  </a:cubicBezTo>
                  <a:cubicBezTo>
                    <a:pt x="190982" y="64900"/>
                    <a:pt x="177875" y="81870"/>
                    <a:pt x="159779" y="87690"/>
                  </a:cubicBezTo>
                  <a:lnTo>
                    <a:pt x="159779" y="124811"/>
                  </a:lnTo>
                  <a:lnTo>
                    <a:pt x="190835" y="124811"/>
                  </a:lnTo>
                  <a:cubicBezTo>
                    <a:pt x="194406" y="120654"/>
                    <a:pt x="199590" y="117964"/>
                    <a:pt x="205507" y="117964"/>
                  </a:cubicBezTo>
                  <a:cubicBezTo>
                    <a:pt x="216218" y="117964"/>
                    <a:pt x="224875" y="126620"/>
                    <a:pt x="224875" y="137331"/>
                  </a:cubicBezTo>
                  <a:cubicBezTo>
                    <a:pt x="224875" y="148042"/>
                    <a:pt x="216218" y="156698"/>
                    <a:pt x="205507" y="156698"/>
                  </a:cubicBezTo>
                  <a:cubicBezTo>
                    <a:pt x="199639" y="156698"/>
                    <a:pt x="194406" y="154008"/>
                    <a:pt x="190835" y="149851"/>
                  </a:cubicBezTo>
                  <a:lnTo>
                    <a:pt x="159779" y="149851"/>
                  </a:lnTo>
                  <a:lnTo>
                    <a:pt x="159779" y="269820"/>
                  </a:lnTo>
                  <a:cubicBezTo>
                    <a:pt x="205116" y="269820"/>
                    <a:pt x="248497" y="220375"/>
                    <a:pt x="248497" y="220375"/>
                  </a:cubicBezTo>
                  <a:lnTo>
                    <a:pt x="226782" y="205361"/>
                  </a:lnTo>
                  <a:lnTo>
                    <a:pt x="291975" y="183304"/>
                  </a:lnTo>
                  <a:lnTo>
                    <a:pt x="289432" y="252752"/>
                  </a:lnTo>
                  <a:lnTo>
                    <a:pt x="268646" y="237101"/>
                  </a:lnTo>
                  <a:cubicBezTo>
                    <a:pt x="268646" y="237101"/>
                    <a:pt x="239400" y="303273"/>
                    <a:pt x="159779" y="310071"/>
                  </a:cubicBezTo>
                  <a:lnTo>
                    <a:pt x="159779" y="327677"/>
                  </a:lnTo>
                  <a:lnTo>
                    <a:pt x="146036" y="346457"/>
                  </a:lnTo>
                  <a:lnTo>
                    <a:pt x="145939" y="346457"/>
                  </a:lnTo>
                  <a:lnTo>
                    <a:pt x="132196" y="327677"/>
                  </a:lnTo>
                  <a:lnTo>
                    <a:pt x="132196" y="310071"/>
                  </a:lnTo>
                  <a:cubicBezTo>
                    <a:pt x="52575" y="303273"/>
                    <a:pt x="23329" y="237101"/>
                    <a:pt x="23329" y="237101"/>
                  </a:cubicBezTo>
                  <a:lnTo>
                    <a:pt x="2543" y="252752"/>
                  </a:lnTo>
                  <a:lnTo>
                    <a:pt x="0" y="183304"/>
                  </a:lnTo>
                  <a:lnTo>
                    <a:pt x="65193" y="205361"/>
                  </a:lnTo>
                  <a:lnTo>
                    <a:pt x="43478" y="220375"/>
                  </a:lnTo>
                  <a:cubicBezTo>
                    <a:pt x="43478" y="220375"/>
                    <a:pt x="86859" y="269820"/>
                    <a:pt x="132196" y="269820"/>
                  </a:cubicBezTo>
                  <a:lnTo>
                    <a:pt x="132196" y="149851"/>
                  </a:lnTo>
                  <a:lnTo>
                    <a:pt x="101140" y="149851"/>
                  </a:lnTo>
                  <a:cubicBezTo>
                    <a:pt x="97570" y="154008"/>
                    <a:pt x="92385" y="156698"/>
                    <a:pt x="86468" y="156698"/>
                  </a:cubicBezTo>
                  <a:cubicBezTo>
                    <a:pt x="75757" y="156698"/>
                    <a:pt x="67100" y="148042"/>
                    <a:pt x="67100" y="137331"/>
                  </a:cubicBezTo>
                  <a:cubicBezTo>
                    <a:pt x="67100" y="126620"/>
                    <a:pt x="75757" y="117964"/>
                    <a:pt x="86468" y="117964"/>
                  </a:cubicBezTo>
                  <a:cubicBezTo>
                    <a:pt x="92337" y="117964"/>
                    <a:pt x="97570" y="120654"/>
                    <a:pt x="101140" y="124811"/>
                  </a:cubicBezTo>
                  <a:lnTo>
                    <a:pt x="132196" y="124811"/>
                  </a:lnTo>
                  <a:lnTo>
                    <a:pt x="132196" y="87690"/>
                  </a:lnTo>
                  <a:cubicBezTo>
                    <a:pt x="114100" y="81870"/>
                    <a:pt x="100993" y="64949"/>
                    <a:pt x="100993" y="44897"/>
                  </a:cubicBezTo>
                  <a:cubicBezTo>
                    <a:pt x="100993" y="20101"/>
                    <a:pt x="121094" y="0"/>
                    <a:pt x="145890" y="0"/>
                  </a:cubicBezTo>
                  <a:lnTo>
                    <a:pt x="145988" y="0"/>
                  </a:ln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464" name="Gráfico 6">
            <a:extLst>
              <a:ext uri="{FF2B5EF4-FFF2-40B4-BE49-F238E27FC236}">
                <a16:creationId xmlns:a16="http://schemas.microsoft.com/office/drawing/2014/main" id="{D6938509-90E1-2640-DE4D-8B5E54A6A814}"/>
              </a:ext>
            </a:extLst>
          </p:cNvPr>
          <p:cNvGrpSpPr/>
          <p:nvPr/>
        </p:nvGrpSpPr>
        <p:grpSpPr>
          <a:xfrm>
            <a:off x="5058828" y="2543356"/>
            <a:ext cx="353157" cy="292862"/>
            <a:chOff x="5058828" y="2543356"/>
            <a:chExt cx="353157" cy="292862"/>
          </a:xfrm>
        </p:grpSpPr>
        <p:sp>
          <p:nvSpPr>
            <p:cNvPr id="465" name="Forma livre: Forma 464">
              <a:extLst>
                <a:ext uri="{FF2B5EF4-FFF2-40B4-BE49-F238E27FC236}">
                  <a16:creationId xmlns:a16="http://schemas.microsoft.com/office/drawing/2014/main" id="{D3CA2F1E-A2DB-10E4-2AF0-55063CB15AAD}"/>
                </a:ext>
              </a:extLst>
            </p:cNvPr>
            <p:cNvSpPr/>
            <p:nvPr/>
          </p:nvSpPr>
          <p:spPr>
            <a:xfrm>
              <a:off x="5143046" y="2684363"/>
              <a:ext cx="184721" cy="134885"/>
            </a:xfrm>
            <a:custGeom>
              <a:avLst/>
              <a:gdLst>
                <a:gd name="connsiteX0" fmla="*/ 184722 w 184721"/>
                <a:gd name="connsiteY0" fmla="*/ 67443 h 134885"/>
                <a:gd name="connsiteX1" fmla="*/ 111361 w 184721"/>
                <a:gd name="connsiteY1" fmla="*/ 134886 h 134885"/>
                <a:gd name="connsiteX2" fmla="*/ 73361 w 184721"/>
                <a:gd name="connsiteY2" fmla="*/ 134886 h 134885"/>
                <a:gd name="connsiteX3" fmla="*/ 0 w 184721"/>
                <a:gd name="connsiteY3" fmla="*/ 67443 h 134885"/>
                <a:gd name="connsiteX4" fmla="*/ 73361 w 184721"/>
                <a:gd name="connsiteY4" fmla="*/ 0 h 134885"/>
                <a:gd name="connsiteX5" fmla="*/ 111361 w 184721"/>
                <a:gd name="connsiteY5" fmla="*/ 0 h 134885"/>
                <a:gd name="connsiteX6" fmla="*/ 184722 w 184721"/>
                <a:gd name="connsiteY6" fmla="*/ 67443 h 1348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84721" h="134885">
                  <a:moveTo>
                    <a:pt x="184722" y="67443"/>
                  </a:moveTo>
                  <a:cubicBezTo>
                    <a:pt x="184722" y="104563"/>
                    <a:pt x="151710" y="134886"/>
                    <a:pt x="111361" y="134886"/>
                  </a:cubicBezTo>
                  <a:lnTo>
                    <a:pt x="73361" y="134886"/>
                  </a:lnTo>
                  <a:cubicBezTo>
                    <a:pt x="33012" y="134886"/>
                    <a:pt x="0" y="104514"/>
                    <a:pt x="0" y="67443"/>
                  </a:cubicBezTo>
                  <a:cubicBezTo>
                    <a:pt x="0" y="30371"/>
                    <a:pt x="33012" y="0"/>
                    <a:pt x="73361" y="0"/>
                  </a:cubicBezTo>
                  <a:lnTo>
                    <a:pt x="111361" y="0"/>
                  </a:lnTo>
                  <a:cubicBezTo>
                    <a:pt x="151710" y="0"/>
                    <a:pt x="184722" y="30371"/>
                    <a:pt x="184722" y="67443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66" name="Forma livre: Forma 465">
              <a:extLst>
                <a:ext uri="{FF2B5EF4-FFF2-40B4-BE49-F238E27FC236}">
                  <a16:creationId xmlns:a16="http://schemas.microsoft.com/office/drawing/2014/main" id="{0E7D533D-9B4D-737E-CA66-4D4F3F02987E}"/>
                </a:ext>
              </a:extLst>
            </p:cNvPr>
            <p:cNvSpPr/>
            <p:nvPr/>
          </p:nvSpPr>
          <p:spPr>
            <a:xfrm>
              <a:off x="5205647" y="2667881"/>
              <a:ext cx="7629" cy="7629"/>
            </a:xfrm>
            <a:custGeom>
              <a:avLst/>
              <a:gdLst>
                <a:gd name="connsiteX0" fmla="*/ 7629 w 7629"/>
                <a:gd name="connsiteY0" fmla="*/ 3815 h 7629"/>
                <a:gd name="connsiteX1" fmla="*/ 3815 w 7629"/>
                <a:gd name="connsiteY1" fmla="*/ 7629 h 7629"/>
                <a:gd name="connsiteX2" fmla="*/ 0 w 7629"/>
                <a:gd name="connsiteY2" fmla="*/ 3815 h 7629"/>
                <a:gd name="connsiteX3" fmla="*/ 3815 w 7629"/>
                <a:gd name="connsiteY3" fmla="*/ 0 h 7629"/>
                <a:gd name="connsiteX4" fmla="*/ 7629 w 7629"/>
                <a:gd name="connsiteY4" fmla="*/ 3815 h 76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29" h="7629">
                  <a:moveTo>
                    <a:pt x="7629" y="3815"/>
                  </a:moveTo>
                  <a:cubicBezTo>
                    <a:pt x="7629" y="5918"/>
                    <a:pt x="5918" y="7629"/>
                    <a:pt x="3815" y="7629"/>
                  </a:cubicBezTo>
                  <a:cubicBezTo>
                    <a:pt x="1712" y="7629"/>
                    <a:pt x="0" y="5918"/>
                    <a:pt x="0" y="3815"/>
                  </a:cubicBezTo>
                  <a:cubicBezTo>
                    <a:pt x="0" y="1712"/>
                    <a:pt x="1712" y="0"/>
                    <a:pt x="3815" y="0"/>
                  </a:cubicBezTo>
                  <a:cubicBezTo>
                    <a:pt x="5918" y="0"/>
                    <a:pt x="7629" y="1712"/>
                    <a:pt x="7629" y="3815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67" name="Forma livre: Forma 466">
              <a:extLst>
                <a:ext uri="{FF2B5EF4-FFF2-40B4-BE49-F238E27FC236}">
                  <a16:creationId xmlns:a16="http://schemas.microsoft.com/office/drawing/2014/main" id="{98C9C188-CFBA-93F1-6248-CEA28756936C}"/>
                </a:ext>
              </a:extLst>
            </p:cNvPr>
            <p:cNvSpPr/>
            <p:nvPr/>
          </p:nvSpPr>
          <p:spPr>
            <a:xfrm>
              <a:off x="5257537" y="2667881"/>
              <a:ext cx="7629" cy="7629"/>
            </a:xfrm>
            <a:custGeom>
              <a:avLst/>
              <a:gdLst>
                <a:gd name="connsiteX0" fmla="*/ 7629 w 7629"/>
                <a:gd name="connsiteY0" fmla="*/ 3815 h 7629"/>
                <a:gd name="connsiteX1" fmla="*/ 3815 w 7629"/>
                <a:gd name="connsiteY1" fmla="*/ 7629 h 7629"/>
                <a:gd name="connsiteX2" fmla="*/ 0 w 7629"/>
                <a:gd name="connsiteY2" fmla="*/ 3815 h 7629"/>
                <a:gd name="connsiteX3" fmla="*/ 3815 w 7629"/>
                <a:gd name="connsiteY3" fmla="*/ 0 h 7629"/>
                <a:gd name="connsiteX4" fmla="*/ 7629 w 7629"/>
                <a:gd name="connsiteY4" fmla="*/ 3815 h 76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29" h="7629">
                  <a:moveTo>
                    <a:pt x="7629" y="3815"/>
                  </a:moveTo>
                  <a:cubicBezTo>
                    <a:pt x="7629" y="5918"/>
                    <a:pt x="5918" y="7629"/>
                    <a:pt x="3815" y="7629"/>
                  </a:cubicBezTo>
                  <a:cubicBezTo>
                    <a:pt x="1712" y="7629"/>
                    <a:pt x="0" y="5918"/>
                    <a:pt x="0" y="3815"/>
                  </a:cubicBezTo>
                  <a:cubicBezTo>
                    <a:pt x="0" y="1712"/>
                    <a:pt x="1712" y="0"/>
                    <a:pt x="3815" y="0"/>
                  </a:cubicBezTo>
                  <a:cubicBezTo>
                    <a:pt x="5918" y="0"/>
                    <a:pt x="7629" y="1712"/>
                    <a:pt x="7629" y="3815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468" name="Gráfico 6">
              <a:extLst>
                <a:ext uri="{FF2B5EF4-FFF2-40B4-BE49-F238E27FC236}">
                  <a16:creationId xmlns:a16="http://schemas.microsoft.com/office/drawing/2014/main" id="{40E69D67-E777-55FE-2718-CF120571E0C3}"/>
                </a:ext>
              </a:extLst>
            </p:cNvPr>
            <p:cNvGrpSpPr/>
            <p:nvPr/>
          </p:nvGrpSpPr>
          <p:grpSpPr>
            <a:xfrm>
              <a:off x="5058828" y="2543470"/>
              <a:ext cx="159534" cy="292749"/>
              <a:chOff x="5058828" y="2543470"/>
              <a:chExt cx="159534" cy="292749"/>
            </a:xfrm>
            <a:noFill/>
          </p:grpSpPr>
          <p:sp>
            <p:nvSpPr>
              <p:cNvPr id="469" name="Forma livre: Forma 468">
                <a:extLst>
                  <a:ext uri="{FF2B5EF4-FFF2-40B4-BE49-F238E27FC236}">
                    <a16:creationId xmlns:a16="http://schemas.microsoft.com/office/drawing/2014/main" id="{885C7A1D-0535-001A-6655-5977E84701E3}"/>
                  </a:ext>
                </a:extLst>
              </p:cNvPr>
              <p:cNvSpPr/>
              <p:nvPr/>
            </p:nvSpPr>
            <p:spPr>
              <a:xfrm>
                <a:off x="5058828" y="2740731"/>
                <a:ext cx="81968" cy="19682"/>
              </a:xfrm>
              <a:custGeom>
                <a:avLst/>
                <a:gdLst>
                  <a:gd name="connsiteX0" fmla="*/ 81968 w 81968"/>
                  <a:gd name="connsiteY0" fmla="*/ 6135 h 19682"/>
                  <a:gd name="connsiteX1" fmla="*/ 0 w 81968"/>
                  <a:gd name="connsiteY1" fmla="*/ 19683 h 196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81968" h="19682">
                    <a:moveTo>
                      <a:pt x="81968" y="6135"/>
                    </a:moveTo>
                    <a:cubicBezTo>
                      <a:pt x="81968" y="6135"/>
                      <a:pt x="34382" y="-14406"/>
                      <a:pt x="0" y="19683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70" name="Forma livre: Forma 469">
                <a:extLst>
                  <a:ext uri="{FF2B5EF4-FFF2-40B4-BE49-F238E27FC236}">
                    <a16:creationId xmlns:a16="http://schemas.microsoft.com/office/drawing/2014/main" id="{DE50B657-B4CB-31E3-1015-0542D02F2943}"/>
                  </a:ext>
                </a:extLst>
              </p:cNvPr>
              <p:cNvSpPr/>
              <p:nvPr/>
            </p:nvSpPr>
            <p:spPr>
              <a:xfrm>
                <a:off x="5076972" y="2770094"/>
                <a:ext cx="65731" cy="34824"/>
              </a:xfrm>
              <a:custGeom>
                <a:avLst/>
                <a:gdLst>
                  <a:gd name="connsiteX0" fmla="*/ 65731 w 65731"/>
                  <a:gd name="connsiteY0" fmla="*/ 101 h 34824"/>
                  <a:gd name="connsiteX1" fmla="*/ 0 w 65731"/>
                  <a:gd name="connsiteY1" fmla="*/ 34825 h 348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5731" h="34824">
                    <a:moveTo>
                      <a:pt x="65731" y="101"/>
                    </a:moveTo>
                    <a:cubicBezTo>
                      <a:pt x="65731" y="101"/>
                      <a:pt x="17460" y="-3665"/>
                      <a:pt x="0" y="34825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71" name="Forma livre: Forma 470">
                <a:extLst>
                  <a:ext uri="{FF2B5EF4-FFF2-40B4-BE49-F238E27FC236}">
                    <a16:creationId xmlns:a16="http://schemas.microsoft.com/office/drawing/2014/main" id="{A811CF9E-BA80-D4A8-88A0-444F56AF1865}"/>
                  </a:ext>
                </a:extLst>
              </p:cNvPr>
              <p:cNvSpPr/>
              <p:nvPr/>
            </p:nvSpPr>
            <p:spPr>
              <a:xfrm>
                <a:off x="5114875" y="2791274"/>
                <a:ext cx="39272" cy="44945"/>
              </a:xfrm>
              <a:custGeom>
                <a:avLst/>
                <a:gdLst>
                  <a:gd name="connsiteX0" fmla="*/ 39272 w 39272"/>
                  <a:gd name="connsiteY0" fmla="*/ 0 h 44945"/>
                  <a:gd name="connsiteX1" fmla="*/ 0 w 39272"/>
                  <a:gd name="connsiteY1" fmla="*/ 44946 h 449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9272" h="44945">
                    <a:moveTo>
                      <a:pt x="39272" y="0"/>
                    </a:moveTo>
                    <a:cubicBezTo>
                      <a:pt x="39272" y="0"/>
                      <a:pt x="2054" y="11493"/>
                      <a:pt x="0" y="44946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72" name="Forma livre: Forma 471">
                <a:extLst>
                  <a:ext uri="{FF2B5EF4-FFF2-40B4-BE49-F238E27FC236}">
                    <a16:creationId xmlns:a16="http://schemas.microsoft.com/office/drawing/2014/main" id="{812EDF22-8D03-2C91-C271-62E62C54A57F}"/>
                  </a:ext>
                </a:extLst>
              </p:cNvPr>
              <p:cNvSpPr/>
              <p:nvPr/>
            </p:nvSpPr>
            <p:spPr>
              <a:xfrm>
                <a:off x="5104480" y="2672390"/>
                <a:ext cx="56025" cy="51244"/>
              </a:xfrm>
              <a:custGeom>
                <a:avLst/>
                <a:gdLst>
                  <a:gd name="connsiteX0" fmla="*/ 56026 w 56025"/>
                  <a:gd name="connsiteY0" fmla="*/ 33932 h 51244"/>
                  <a:gd name="connsiteX1" fmla="*/ 30839 w 56025"/>
                  <a:gd name="connsiteY1" fmla="*/ 2142 h 51244"/>
                  <a:gd name="connsiteX2" fmla="*/ 2033 w 56025"/>
                  <a:gd name="connsiteY2" fmla="*/ 23319 h 51244"/>
                  <a:gd name="connsiteX3" fmla="*/ 43555 w 56025"/>
                  <a:gd name="connsiteY3" fmla="*/ 51245 h 512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6025" h="51244">
                    <a:moveTo>
                      <a:pt x="56026" y="33932"/>
                    </a:moveTo>
                    <a:cubicBezTo>
                      <a:pt x="56026" y="33932"/>
                      <a:pt x="37833" y="23417"/>
                      <a:pt x="30839" y="2142"/>
                    </a:cubicBezTo>
                    <a:cubicBezTo>
                      <a:pt x="28834" y="-3971"/>
                      <a:pt x="-9069" y="2974"/>
                      <a:pt x="2033" y="23319"/>
                    </a:cubicBezTo>
                    <a:cubicBezTo>
                      <a:pt x="9418" y="35692"/>
                      <a:pt x="25019" y="43224"/>
                      <a:pt x="43555" y="51245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73" name="Forma livre: Forma 472">
                <a:extLst>
                  <a:ext uri="{FF2B5EF4-FFF2-40B4-BE49-F238E27FC236}">
                    <a16:creationId xmlns:a16="http://schemas.microsoft.com/office/drawing/2014/main" id="{D26F4140-1343-E3EB-A31C-6431BBB17E15}"/>
                  </a:ext>
                </a:extLst>
              </p:cNvPr>
              <p:cNvSpPr/>
              <p:nvPr/>
            </p:nvSpPr>
            <p:spPr>
              <a:xfrm>
                <a:off x="5093875" y="2585815"/>
                <a:ext cx="59881" cy="86858"/>
              </a:xfrm>
              <a:custGeom>
                <a:avLst/>
                <a:gdLst>
                  <a:gd name="connsiteX0" fmla="*/ 3394 w 59881"/>
                  <a:gd name="connsiteY0" fmla="*/ 76002 h 86858"/>
                  <a:gd name="connsiteX1" fmla="*/ 17822 w 59881"/>
                  <a:gd name="connsiteY1" fmla="*/ 0 h 86858"/>
                  <a:gd name="connsiteX2" fmla="*/ 59882 w 59881"/>
                  <a:gd name="connsiteY2" fmla="*/ 36240 h 86858"/>
                  <a:gd name="connsiteX3" fmla="*/ 40417 w 59881"/>
                  <a:gd name="connsiteY3" fmla="*/ 86859 h 868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9881" h="86858">
                    <a:moveTo>
                      <a:pt x="3394" y="76002"/>
                    </a:moveTo>
                    <a:cubicBezTo>
                      <a:pt x="-2621" y="54727"/>
                      <a:pt x="-2230" y="20785"/>
                      <a:pt x="17822" y="0"/>
                    </a:cubicBezTo>
                    <a:lnTo>
                      <a:pt x="59882" y="36240"/>
                    </a:lnTo>
                    <a:cubicBezTo>
                      <a:pt x="59882" y="36240"/>
                      <a:pt x="47215" y="79132"/>
                      <a:pt x="40417" y="86859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74" name="Forma livre: Forma 473">
                <a:extLst>
                  <a:ext uri="{FF2B5EF4-FFF2-40B4-BE49-F238E27FC236}">
                    <a16:creationId xmlns:a16="http://schemas.microsoft.com/office/drawing/2014/main" id="{449073C6-788F-BEB6-0F8A-B919BEB1EBB0}"/>
                  </a:ext>
                </a:extLst>
              </p:cNvPr>
              <p:cNvSpPr/>
              <p:nvPr/>
            </p:nvSpPr>
            <p:spPr>
              <a:xfrm>
                <a:off x="5127982" y="2543470"/>
                <a:ext cx="90380" cy="78585"/>
              </a:xfrm>
              <a:custGeom>
                <a:avLst/>
                <a:gdLst>
                  <a:gd name="connsiteX0" fmla="*/ 0 w 90380"/>
                  <a:gd name="connsiteY0" fmla="*/ 28798 h 78585"/>
                  <a:gd name="connsiteX1" fmla="*/ 90380 w 90380"/>
                  <a:gd name="connsiteY1" fmla="*/ 7230 h 78585"/>
                  <a:gd name="connsiteX2" fmla="*/ 26948 w 90380"/>
                  <a:gd name="connsiteY2" fmla="*/ 43959 h 78585"/>
                  <a:gd name="connsiteX3" fmla="*/ 78789 w 90380"/>
                  <a:gd name="connsiteY3" fmla="*/ 45964 h 78585"/>
                  <a:gd name="connsiteX4" fmla="*/ 25823 w 90380"/>
                  <a:gd name="connsiteY4" fmla="*/ 78585 h 785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90380" h="78585">
                    <a:moveTo>
                      <a:pt x="0" y="28798"/>
                    </a:moveTo>
                    <a:cubicBezTo>
                      <a:pt x="12373" y="10458"/>
                      <a:pt x="38685" y="-11697"/>
                      <a:pt x="90380" y="7230"/>
                    </a:cubicBezTo>
                    <a:cubicBezTo>
                      <a:pt x="90380" y="7230"/>
                      <a:pt x="46021" y="13294"/>
                      <a:pt x="26948" y="43959"/>
                    </a:cubicBezTo>
                    <a:cubicBezTo>
                      <a:pt x="26948" y="43959"/>
                      <a:pt x="61721" y="45329"/>
                      <a:pt x="78789" y="45964"/>
                    </a:cubicBezTo>
                    <a:cubicBezTo>
                      <a:pt x="85196" y="46209"/>
                      <a:pt x="42011" y="63815"/>
                      <a:pt x="25823" y="78585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475" name="Gráfico 6">
              <a:extLst>
                <a:ext uri="{FF2B5EF4-FFF2-40B4-BE49-F238E27FC236}">
                  <a16:creationId xmlns:a16="http://schemas.microsoft.com/office/drawing/2014/main" id="{1355D03C-F153-6EA1-EF14-57D8766A7A2D}"/>
                </a:ext>
              </a:extLst>
            </p:cNvPr>
            <p:cNvGrpSpPr/>
            <p:nvPr/>
          </p:nvGrpSpPr>
          <p:grpSpPr>
            <a:xfrm>
              <a:off x="5252451" y="2543356"/>
              <a:ext cx="159534" cy="292862"/>
              <a:chOff x="5252451" y="2543356"/>
              <a:chExt cx="159534" cy="292862"/>
            </a:xfrm>
            <a:noFill/>
          </p:grpSpPr>
          <p:sp>
            <p:nvSpPr>
              <p:cNvPr id="476" name="Forma livre: Forma 475">
                <a:extLst>
                  <a:ext uri="{FF2B5EF4-FFF2-40B4-BE49-F238E27FC236}">
                    <a16:creationId xmlns:a16="http://schemas.microsoft.com/office/drawing/2014/main" id="{C1E16941-F0F1-CE2E-531E-98619B873002}"/>
                  </a:ext>
                </a:extLst>
              </p:cNvPr>
              <p:cNvSpPr/>
              <p:nvPr/>
            </p:nvSpPr>
            <p:spPr>
              <a:xfrm>
                <a:off x="5330017" y="2740731"/>
                <a:ext cx="81968" cy="19682"/>
              </a:xfrm>
              <a:custGeom>
                <a:avLst/>
                <a:gdLst>
                  <a:gd name="connsiteX0" fmla="*/ 0 w 81968"/>
                  <a:gd name="connsiteY0" fmla="*/ 6135 h 19682"/>
                  <a:gd name="connsiteX1" fmla="*/ 81968 w 81968"/>
                  <a:gd name="connsiteY1" fmla="*/ 19683 h 196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81968" h="19682">
                    <a:moveTo>
                      <a:pt x="0" y="6135"/>
                    </a:moveTo>
                    <a:cubicBezTo>
                      <a:pt x="0" y="6135"/>
                      <a:pt x="47587" y="-14406"/>
                      <a:pt x="81968" y="19683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77" name="Forma livre: Forma 476">
                <a:extLst>
                  <a:ext uri="{FF2B5EF4-FFF2-40B4-BE49-F238E27FC236}">
                    <a16:creationId xmlns:a16="http://schemas.microsoft.com/office/drawing/2014/main" id="{69F5331E-FA46-AFC2-A0AE-59092AD97D49}"/>
                  </a:ext>
                </a:extLst>
              </p:cNvPr>
              <p:cNvSpPr/>
              <p:nvPr/>
            </p:nvSpPr>
            <p:spPr>
              <a:xfrm>
                <a:off x="5328110" y="2770094"/>
                <a:ext cx="65731" cy="34824"/>
              </a:xfrm>
              <a:custGeom>
                <a:avLst/>
                <a:gdLst>
                  <a:gd name="connsiteX0" fmla="*/ 0 w 65731"/>
                  <a:gd name="connsiteY0" fmla="*/ 101 h 34824"/>
                  <a:gd name="connsiteX1" fmla="*/ 65731 w 65731"/>
                  <a:gd name="connsiteY1" fmla="*/ 34825 h 348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5731" h="34824">
                    <a:moveTo>
                      <a:pt x="0" y="101"/>
                    </a:moveTo>
                    <a:cubicBezTo>
                      <a:pt x="0" y="101"/>
                      <a:pt x="48271" y="-3665"/>
                      <a:pt x="65731" y="34825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78" name="Forma livre: Forma 477">
                <a:extLst>
                  <a:ext uri="{FF2B5EF4-FFF2-40B4-BE49-F238E27FC236}">
                    <a16:creationId xmlns:a16="http://schemas.microsoft.com/office/drawing/2014/main" id="{EF2D8C8A-7B71-59C2-4A78-EB5BA45F9069}"/>
                  </a:ext>
                </a:extLst>
              </p:cNvPr>
              <p:cNvSpPr/>
              <p:nvPr/>
            </p:nvSpPr>
            <p:spPr>
              <a:xfrm>
                <a:off x="5316666" y="2791274"/>
                <a:ext cx="39272" cy="44945"/>
              </a:xfrm>
              <a:custGeom>
                <a:avLst/>
                <a:gdLst>
                  <a:gd name="connsiteX0" fmla="*/ 0 w 39272"/>
                  <a:gd name="connsiteY0" fmla="*/ 0 h 44945"/>
                  <a:gd name="connsiteX1" fmla="*/ 39272 w 39272"/>
                  <a:gd name="connsiteY1" fmla="*/ 44946 h 449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9272" h="44945">
                    <a:moveTo>
                      <a:pt x="0" y="0"/>
                    </a:moveTo>
                    <a:cubicBezTo>
                      <a:pt x="0" y="0"/>
                      <a:pt x="37218" y="11493"/>
                      <a:pt x="39272" y="44946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79" name="Forma livre: Forma 478">
                <a:extLst>
                  <a:ext uri="{FF2B5EF4-FFF2-40B4-BE49-F238E27FC236}">
                    <a16:creationId xmlns:a16="http://schemas.microsoft.com/office/drawing/2014/main" id="{323FDA3C-97E3-4009-205E-FC38D42E81DA}"/>
                  </a:ext>
                </a:extLst>
              </p:cNvPr>
              <p:cNvSpPr/>
              <p:nvPr/>
            </p:nvSpPr>
            <p:spPr>
              <a:xfrm>
                <a:off x="5310308" y="2672390"/>
                <a:ext cx="56025" cy="51244"/>
              </a:xfrm>
              <a:custGeom>
                <a:avLst/>
                <a:gdLst>
                  <a:gd name="connsiteX0" fmla="*/ 0 w 56025"/>
                  <a:gd name="connsiteY0" fmla="*/ 33932 h 51244"/>
                  <a:gd name="connsiteX1" fmla="*/ 25187 w 56025"/>
                  <a:gd name="connsiteY1" fmla="*/ 2142 h 51244"/>
                  <a:gd name="connsiteX2" fmla="*/ 53993 w 56025"/>
                  <a:gd name="connsiteY2" fmla="*/ 23319 h 51244"/>
                  <a:gd name="connsiteX3" fmla="*/ 12471 w 56025"/>
                  <a:gd name="connsiteY3" fmla="*/ 51245 h 512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6025" h="51244">
                    <a:moveTo>
                      <a:pt x="0" y="33932"/>
                    </a:moveTo>
                    <a:cubicBezTo>
                      <a:pt x="0" y="33932"/>
                      <a:pt x="18193" y="23417"/>
                      <a:pt x="25187" y="2142"/>
                    </a:cubicBezTo>
                    <a:cubicBezTo>
                      <a:pt x="27192" y="-3971"/>
                      <a:pt x="65095" y="2974"/>
                      <a:pt x="53993" y="23319"/>
                    </a:cubicBezTo>
                    <a:cubicBezTo>
                      <a:pt x="46608" y="35692"/>
                      <a:pt x="31007" y="43224"/>
                      <a:pt x="12471" y="51245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80" name="Forma livre: Forma 479">
                <a:extLst>
                  <a:ext uri="{FF2B5EF4-FFF2-40B4-BE49-F238E27FC236}">
                    <a16:creationId xmlns:a16="http://schemas.microsoft.com/office/drawing/2014/main" id="{5FD8987E-42A7-BB4F-0B6C-F96A97D04A3D}"/>
                  </a:ext>
                </a:extLst>
              </p:cNvPr>
              <p:cNvSpPr/>
              <p:nvPr/>
            </p:nvSpPr>
            <p:spPr>
              <a:xfrm>
                <a:off x="5317057" y="2585815"/>
                <a:ext cx="59071" cy="99379"/>
              </a:xfrm>
              <a:custGeom>
                <a:avLst/>
                <a:gdLst>
                  <a:gd name="connsiteX0" fmla="*/ 49054 w 59071"/>
                  <a:gd name="connsiteY0" fmla="*/ 99379 h 99379"/>
                  <a:gd name="connsiteX1" fmla="*/ 42060 w 59071"/>
                  <a:gd name="connsiteY1" fmla="*/ 0 h 99379"/>
                  <a:gd name="connsiteX2" fmla="*/ 0 w 59071"/>
                  <a:gd name="connsiteY2" fmla="*/ 36240 h 99379"/>
                  <a:gd name="connsiteX3" fmla="*/ 19465 w 59071"/>
                  <a:gd name="connsiteY3" fmla="*/ 86859 h 993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9071" h="99379">
                    <a:moveTo>
                      <a:pt x="49054" y="99379"/>
                    </a:moveTo>
                    <a:cubicBezTo>
                      <a:pt x="49054" y="99379"/>
                      <a:pt x="75708" y="34871"/>
                      <a:pt x="42060" y="0"/>
                    </a:cubicBezTo>
                    <a:lnTo>
                      <a:pt x="0" y="36240"/>
                    </a:lnTo>
                    <a:cubicBezTo>
                      <a:pt x="0" y="36240"/>
                      <a:pt x="12667" y="79132"/>
                      <a:pt x="19465" y="86859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81" name="Forma livre: Forma 480">
                <a:extLst>
                  <a:ext uri="{FF2B5EF4-FFF2-40B4-BE49-F238E27FC236}">
                    <a16:creationId xmlns:a16="http://schemas.microsoft.com/office/drawing/2014/main" id="{0EF4835B-A3A0-E4FF-E0A2-7A7A9F3B6910}"/>
                  </a:ext>
                </a:extLst>
              </p:cNvPr>
              <p:cNvSpPr/>
              <p:nvPr/>
            </p:nvSpPr>
            <p:spPr>
              <a:xfrm>
                <a:off x="5252451" y="2543356"/>
                <a:ext cx="99476" cy="78698"/>
              </a:xfrm>
              <a:custGeom>
                <a:avLst/>
                <a:gdLst>
                  <a:gd name="connsiteX0" fmla="*/ 99477 w 99476"/>
                  <a:gd name="connsiteY0" fmla="*/ 48866 h 78698"/>
                  <a:gd name="connsiteX1" fmla="*/ 0 w 99476"/>
                  <a:gd name="connsiteY1" fmla="*/ 7344 h 78698"/>
                  <a:gd name="connsiteX2" fmla="*/ 63432 w 99476"/>
                  <a:gd name="connsiteY2" fmla="*/ 44073 h 78698"/>
                  <a:gd name="connsiteX3" fmla="*/ 11591 w 99476"/>
                  <a:gd name="connsiteY3" fmla="*/ 46078 h 78698"/>
                  <a:gd name="connsiteX4" fmla="*/ 64557 w 99476"/>
                  <a:gd name="connsiteY4" fmla="*/ 78699 h 786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99476" h="78698">
                    <a:moveTo>
                      <a:pt x="99477" y="48866"/>
                    </a:moveTo>
                    <a:cubicBezTo>
                      <a:pt x="99477" y="48866"/>
                      <a:pt x="81773" y="-22636"/>
                      <a:pt x="0" y="7344"/>
                    </a:cubicBezTo>
                    <a:cubicBezTo>
                      <a:pt x="0" y="7344"/>
                      <a:pt x="44359" y="13408"/>
                      <a:pt x="63432" y="44073"/>
                    </a:cubicBezTo>
                    <a:cubicBezTo>
                      <a:pt x="63432" y="44073"/>
                      <a:pt x="28660" y="45442"/>
                      <a:pt x="11591" y="46078"/>
                    </a:cubicBezTo>
                    <a:cubicBezTo>
                      <a:pt x="5184" y="46322"/>
                      <a:pt x="48369" y="63929"/>
                      <a:pt x="64557" y="78699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482" name="Gráfico 6">
            <a:extLst>
              <a:ext uri="{FF2B5EF4-FFF2-40B4-BE49-F238E27FC236}">
                <a16:creationId xmlns:a16="http://schemas.microsoft.com/office/drawing/2014/main" id="{B92C8DD1-0E21-1B5A-3ED0-FE24B11FC5D1}"/>
              </a:ext>
            </a:extLst>
          </p:cNvPr>
          <p:cNvGrpSpPr/>
          <p:nvPr/>
        </p:nvGrpSpPr>
        <p:grpSpPr>
          <a:xfrm>
            <a:off x="5700445" y="2518161"/>
            <a:ext cx="343092" cy="343177"/>
            <a:chOff x="5700445" y="2518161"/>
            <a:chExt cx="343092" cy="343177"/>
          </a:xfrm>
          <a:noFill/>
        </p:grpSpPr>
        <p:sp>
          <p:nvSpPr>
            <p:cNvPr id="483" name="Forma livre: Forma 482">
              <a:extLst>
                <a:ext uri="{FF2B5EF4-FFF2-40B4-BE49-F238E27FC236}">
                  <a16:creationId xmlns:a16="http://schemas.microsoft.com/office/drawing/2014/main" id="{FF32E073-9DE8-FF23-7345-1413AC1CD77A}"/>
                </a:ext>
              </a:extLst>
            </p:cNvPr>
            <p:cNvSpPr/>
            <p:nvPr/>
          </p:nvSpPr>
          <p:spPr>
            <a:xfrm>
              <a:off x="5735811" y="2569064"/>
              <a:ext cx="256775" cy="256775"/>
            </a:xfrm>
            <a:custGeom>
              <a:avLst/>
              <a:gdLst>
                <a:gd name="connsiteX0" fmla="*/ 209604 w 256775"/>
                <a:gd name="connsiteY0" fmla="*/ 47171 h 256775"/>
                <a:gd name="connsiteX1" fmla="*/ 42635 w 256775"/>
                <a:gd name="connsiteY1" fmla="*/ 214140 h 256775"/>
                <a:gd name="connsiteX2" fmla="*/ 7226 w 256775"/>
                <a:gd name="connsiteY2" fmla="*/ 214287 h 256775"/>
                <a:gd name="connsiteX3" fmla="*/ 7373 w 256775"/>
                <a:gd name="connsiteY3" fmla="*/ 178878 h 256775"/>
                <a:gd name="connsiteX4" fmla="*/ 172874 w 256775"/>
                <a:gd name="connsiteY4" fmla="*/ 13377 h 256775"/>
                <a:gd name="connsiteX5" fmla="*/ 238508 w 256775"/>
                <a:gd name="connsiteY5" fmla="*/ 13768 h 256775"/>
                <a:gd name="connsiteX6" fmla="*/ 243007 w 256775"/>
                <a:gd name="connsiteY6" fmla="*/ 18267 h 256775"/>
                <a:gd name="connsiteX7" fmla="*/ 243398 w 256775"/>
                <a:gd name="connsiteY7" fmla="*/ 83901 h 256775"/>
                <a:gd name="connsiteX8" fmla="*/ 77897 w 256775"/>
                <a:gd name="connsiteY8" fmla="*/ 249402 h 256775"/>
                <a:gd name="connsiteX9" fmla="*/ 42488 w 256775"/>
                <a:gd name="connsiteY9" fmla="*/ 249549 h 256775"/>
                <a:gd name="connsiteX10" fmla="*/ 42635 w 256775"/>
                <a:gd name="connsiteY10" fmla="*/ 214140 h 256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56775" h="256775">
                  <a:moveTo>
                    <a:pt x="209604" y="47171"/>
                  </a:moveTo>
                  <a:lnTo>
                    <a:pt x="42635" y="214140"/>
                  </a:lnTo>
                  <a:cubicBezTo>
                    <a:pt x="32854" y="223922"/>
                    <a:pt x="16959" y="223970"/>
                    <a:pt x="7226" y="214287"/>
                  </a:cubicBezTo>
                  <a:cubicBezTo>
                    <a:pt x="-2457" y="204603"/>
                    <a:pt x="-2409" y="188659"/>
                    <a:pt x="7373" y="178878"/>
                  </a:cubicBezTo>
                  <a:lnTo>
                    <a:pt x="172874" y="13377"/>
                  </a:lnTo>
                  <a:cubicBezTo>
                    <a:pt x="190823" y="-4572"/>
                    <a:pt x="220314" y="-4474"/>
                    <a:pt x="238508" y="13768"/>
                  </a:cubicBezTo>
                  <a:lnTo>
                    <a:pt x="243007" y="18267"/>
                  </a:lnTo>
                  <a:cubicBezTo>
                    <a:pt x="261249" y="36510"/>
                    <a:pt x="261347" y="65952"/>
                    <a:pt x="243398" y="83901"/>
                  </a:cubicBezTo>
                  <a:lnTo>
                    <a:pt x="77897" y="249402"/>
                  </a:lnTo>
                  <a:cubicBezTo>
                    <a:pt x="68116" y="259183"/>
                    <a:pt x="52221" y="259232"/>
                    <a:pt x="42488" y="249549"/>
                  </a:cubicBezTo>
                  <a:cubicBezTo>
                    <a:pt x="32805" y="239865"/>
                    <a:pt x="32854" y="223922"/>
                    <a:pt x="42635" y="214140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84" name="Forma livre: Forma 483">
              <a:extLst>
                <a:ext uri="{FF2B5EF4-FFF2-40B4-BE49-F238E27FC236}">
                  <a16:creationId xmlns:a16="http://schemas.microsoft.com/office/drawing/2014/main" id="{7573DA9C-D672-272E-8569-DF0FA0185269}"/>
                </a:ext>
              </a:extLst>
            </p:cNvPr>
            <p:cNvSpPr/>
            <p:nvPr/>
          </p:nvSpPr>
          <p:spPr>
            <a:xfrm>
              <a:off x="5700445" y="2518161"/>
              <a:ext cx="343092" cy="343177"/>
            </a:xfrm>
            <a:custGeom>
              <a:avLst/>
              <a:gdLst>
                <a:gd name="connsiteX0" fmla="*/ 42739 w 343092"/>
                <a:gd name="connsiteY0" fmla="*/ 229830 h 343177"/>
                <a:gd name="connsiteX1" fmla="*/ 7281 w 343092"/>
                <a:gd name="connsiteY1" fmla="*/ 229879 h 343177"/>
                <a:gd name="connsiteX2" fmla="*/ 7281 w 343092"/>
                <a:gd name="connsiteY2" fmla="*/ 194372 h 343177"/>
                <a:gd name="connsiteX3" fmla="*/ 175081 w 343092"/>
                <a:gd name="connsiteY3" fmla="*/ 26572 h 343177"/>
                <a:gd name="connsiteX4" fmla="*/ 306445 w 343092"/>
                <a:gd name="connsiteY4" fmla="*/ 27648 h 343177"/>
                <a:gd name="connsiteX5" fmla="*/ 315444 w 343092"/>
                <a:gd name="connsiteY5" fmla="*/ 36696 h 343177"/>
                <a:gd name="connsiteX6" fmla="*/ 316520 w 343092"/>
                <a:gd name="connsiteY6" fmla="*/ 168060 h 343177"/>
                <a:gd name="connsiteX7" fmla="*/ 148720 w 343092"/>
                <a:gd name="connsiteY7" fmla="*/ 335860 h 343177"/>
                <a:gd name="connsiteX8" fmla="*/ 113214 w 343092"/>
                <a:gd name="connsiteY8" fmla="*/ 335860 h 343177"/>
                <a:gd name="connsiteX9" fmla="*/ 113214 w 343092"/>
                <a:gd name="connsiteY9" fmla="*/ 300305 h 3431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43092" h="343177">
                  <a:moveTo>
                    <a:pt x="42739" y="229830"/>
                  </a:moveTo>
                  <a:cubicBezTo>
                    <a:pt x="32957" y="239611"/>
                    <a:pt x="16965" y="239611"/>
                    <a:pt x="7281" y="229879"/>
                  </a:cubicBezTo>
                  <a:cubicBezTo>
                    <a:pt x="-2403" y="220146"/>
                    <a:pt x="-2451" y="204153"/>
                    <a:pt x="7281" y="194372"/>
                  </a:cubicBezTo>
                  <a:lnTo>
                    <a:pt x="175081" y="26572"/>
                  </a:lnTo>
                  <a:cubicBezTo>
                    <a:pt x="210930" y="-9277"/>
                    <a:pt x="270010" y="-8788"/>
                    <a:pt x="306445" y="27648"/>
                  </a:cubicBezTo>
                  <a:lnTo>
                    <a:pt x="315444" y="36696"/>
                  </a:lnTo>
                  <a:cubicBezTo>
                    <a:pt x="351880" y="73131"/>
                    <a:pt x="352369" y="132260"/>
                    <a:pt x="316520" y="168060"/>
                  </a:cubicBezTo>
                  <a:lnTo>
                    <a:pt x="148720" y="335860"/>
                  </a:lnTo>
                  <a:cubicBezTo>
                    <a:pt x="138939" y="345641"/>
                    <a:pt x="122897" y="345593"/>
                    <a:pt x="113214" y="335860"/>
                  </a:cubicBezTo>
                  <a:cubicBezTo>
                    <a:pt x="103530" y="326177"/>
                    <a:pt x="103432" y="310086"/>
                    <a:pt x="113214" y="300305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85" name="Forma livre: Forma 484">
              <a:extLst>
                <a:ext uri="{FF2B5EF4-FFF2-40B4-BE49-F238E27FC236}">
                  <a16:creationId xmlns:a16="http://schemas.microsoft.com/office/drawing/2014/main" id="{1585C1B8-351B-B113-1F5C-4DBC349EB279}"/>
                </a:ext>
              </a:extLst>
            </p:cNvPr>
            <p:cNvSpPr/>
            <p:nvPr/>
          </p:nvSpPr>
          <p:spPr>
            <a:xfrm>
              <a:off x="5895627" y="2595935"/>
              <a:ext cx="69985" cy="69990"/>
            </a:xfrm>
            <a:custGeom>
              <a:avLst/>
              <a:gdLst>
                <a:gd name="connsiteX0" fmla="*/ 0 w 69985"/>
                <a:gd name="connsiteY0" fmla="*/ 4 h 69990"/>
                <a:gd name="connsiteX1" fmla="*/ 69986 w 69985"/>
                <a:gd name="connsiteY1" fmla="*/ 69990 h 699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9985" h="69990">
                  <a:moveTo>
                    <a:pt x="0" y="4"/>
                  </a:moveTo>
                  <a:cubicBezTo>
                    <a:pt x="0" y="4"/>
                    <a:pt x="67785" y="-1854"/>
                    <a:pt x="69986" y="69990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86" name="Forma livre: Forma 485">
              <a:extLst>
                <a:ext uri="{FF2B5EF4-FFF2-40B4-BE49-F238E27FC236}">
                  <a16:creationId xmlns:a16="http://schemas.microsoft.com/office/drawing/2014/main" id="{24FFB222-7E4D-F0D3-2185-54BC1E9BA1CC}"/>
                </a:ext>
              </a:extLst>
            </p:cNvPr>
            <p:cNvSpPr/>
            <p:nvPr/>
          </p:nvSpPr>
          <p:spPr>
            <a:xfrm>
              <a:off x="5916168" y="2542506"/>
              <a:ext cx="34185" cy="5063"/>
            </a:xfrm>
            <a:custGeom>
              <a:avLst/>
              <a:gdLst>
                <a:gd name="connsiteX0" fmla="*/ 0 w 34185"/>
                <a:gd name="connsiteY0" fmla="*/ 5064 h 5063"/>
                <a:gd name="connsiteX1" fmla="*/ 34186 w 34185"/>
                <a:gd name="connsiteY1" fmla="*/ 1347 h 50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4185" h="5063">
                  <a:moveTo>
                    <a:pt x="0" y="5064"/>
                  </a:moveTo>
                  <a:cubicBezTo>
                    <a:pt x="0" y="5064"/>
                    <a:pt x="17362" y="-3153"/>
                    <a:pt x="34186" y="1347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487" name="Gráfico 6">
            <a:extLst>
              <a:ext uri="{FF2B5EF4-FFF2-40B4-BE49-F238E27FC236}">
                <a16:creationId xmlns:a16="http://schemas.microsoft.com/office/drawing/2014/main" id="{19A376FB-79AE-0849-CDED-164423F8D0BC}"/>
              </a:ext>
            </a:extLst>
          </p:cNvPr>
          <p:cNvGrpSpPr/>
          <p:nvPr/>
        </p:nvGrpSpPr>
        <p:grpSpPr>
          <a:xfrm>
            <a:off x="4429521" y="2525151"/>
            <a:ext cx="338573" cy="329280"/>
            <a:chOff x="4429521" y="2525151"/>
            <a:chExt cx="338573" cy="329280"/>
          </a:xfrm>
        </p:grpSpPr>
        <p:sp>
          <p:nvSpPr>
            <p:cNvPr id="488" name="Forma livre: Forma 487">
              <a:extLst>
                <a:ext uri="{FF2B5EF4-FFF2-40B4-BE49-F238E27FC236}">
                  <a16:creationId xmlns:a16="http://schemas.microsoft.com/office/drawing/2014/main" id="{24ADB777-772B-B8B2-0514-861EF1E7F5F0}"/>
                </a:ext>
              </a:extLst>
            </p:cNvPr>
            <p:cNvSpPr/>
            <p:nvPr/>
          </p:nvSpPr>
          <p:spPr>
            <a:xfrm>
              <a:off x="4441797" y="2525151"/>
              <a:ext cx="326297" cy="164004"/>
            </a:xfrm>
            <a:custGeom>
              <a:avLst/>
              <a:gdLst>
                <a:gd name="connsiteX0" fmla="*/ 12637 w 326297"/>
                <a:gd name="connsiteY0" fmla="*/ 141752 h 164004"/>
                <a:gd name="connsiteX1" fmla="*/ 900 w 326297"/>
                <a:gd name="connsiteY1" fmla="*/ 99643 h 164004"/>
                <a:gd name="connsiteX2" fmla="*/ 17870 w 326297"/>
                <a:gd name="connsiteY2" fmla="*/ 69516 h 164004"/>
                <a:gd name="connsiteX3" fmla="*/ 263775 w 326297"/>
                <a:gd name="connsiteY3" fmla="*/ 900 h 164004"/>
                <a:gd name="connsiteX4" fmla="*/ 293902 w 326297"/>
                <a:gd name="connsiteY4" fmla="*/ 17870 h 164004"/>
                <a:gd name="connsiteX5" fmla="*/ 325398 w 326297"/>
                <a:gd name="connsiteY5" fmla="*/ 130748 h 164004"/>
                <a:gd name="connsiteX6" fmla="*/ 308427 w 326297"/>
                <a:gd name="connsiteY6" fmla="*/ 160875 h 164004"/>
                <a:gd name="connsiteX7" fmla="*/ 297276 w 326297"/>
                <a:gd name="connsiteY7" fmla="*/ 164005 h 1640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26297" h="164004">
                  <a:moveTo>
                    <a:pt x="12637" y="141752"/>
                  </a:moveTo>
                  <a:lnTo>
                    <a:pt x="900" y="99643"/>
                  </a:lnTo>
                  <a:cubicBezTo>
                    <a:pt x="-2719" y="86683"/>
                    <a:pt x="4910" y="73135"/>
                    <a:pt x="17870" y="69516"/>
                  </a:cubicBezTo>
                  <a:lnTo>
                    <a:pt x="263775" y="900"/>
                  </a:lnTo>
                  <a:cubicBezTo>
                    <a:pt x="276735" y="-2719"/>
                    <a:pt x="290283" y="4910"/>
                    <a:pt x="293902" y="17870"/>
                  </a:cubicBezTo>
                  <a:lnTo>
                    <a:pt x="325398" y="130748"/>
                  </a:lnTo>
                  <a:cubicBezTo>
                    <a:pt x="329017" y="143708"/>
                    <a:pt x="321388" y="157255"/>
                    <a:pt x="308427" y="160875"/>
                  </a:cubicBezTo>
                  <a:lnTo>
                    <a:pt x="297276" y="164005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489" name="Gráfico 6">
              <a:extLst>
                <a:ext uri="{FF2B5EF4-FFF2-40B4-BE49-F238E27FC236}">
                  <a16:creationId xmlns:a16="http://schemas.microsoft.com/office/drawing/2014/main" id="{23406F64-20A5-4753-21CF-E829B262DE73}"/>
                </a:ext>
              </a:extLst>
            </p:cNvPr>
            <p:cNvGrpSpPr/>
            <p:nvPr/>
          </p:nvGrpSpPr>
          <p:grpSpPr>
            <a:xfrm>
              <a:off x="4429521" y="2624041"/>
              <a:ext cx="326297" cy="230390"/>
              <a:chOff x="4429521" y="2624041"/>
              <a:chExt cx="326297" cy="230390"/>
            </a:xfrm>
            <a:noFill/>
          </p:grpSpPr>
          <p:sp>
            <p:nvSpPr>
              <p:cNvPr id="490" name="Forma livre: Forma 489">
                <a:extLst>
                  <a:ext uri="{FF2B5EF4-FFF2-40B4-BE49-F238E27FC236}">
                    <a16:creationId xmlns:a16="http://schemas.microsoft.com/office/drawing/2014/main" id="{1684877A-1C41-5586-8687-1B1FFC6A16D2}"/>
                  </a:ext>
                </a:extLst>
              </p:cNvPr>
              <p:cNvSpPr/>
              <p:nvPr/>
            </p:nvSpPr>
            <p:spPr>
              <a:xfrm>
                <a:off x="4429521" y="2624041"/>
                <a:ext cx="326297" cy="230390"/>
              </a:xfrm>
              <a:custGeom>
                <a:avLst/>
                <a:gdLst>
                  <a:gd name="connsiteX0" fmla="*/ 325398 w 326297"/>
                  <a:gd name="connsiteY0" fmla="*/ 130748 h 230390"/>
                  <a:gd name="connsiteX1" fmla="*/ 308427 w 326297"/>
                  <a:gd name="connsiteY1" fmla="*/ 160875 h 230390"/>
                  <a:gd name="connsiteX2" fmla="*/ 62523 w 326297"/>
                  <a:gd name="connsiteY2" fmla="*/ 229491 h 230390"/>
                  <a:gd name="connsiteX3" fmla="*/ 32396 w 326297"/>
                  <a:gd name="connsiteY3" fmla="*/ 212520 h 230390"/>
                  <a:gd name="connsiteX4" fmla="*/ 900 w 326297"/>
                  <a:gd name="connsiteY4" fmla="*/ 99643 h 230390"/>
                  <a:gd name="connsiteX5" fmla="*/ 17870 w 326297"/>
                  <a:gd name="connsiteY5" fmla="*/ 69516 h 230390"/>
                  <a:gd name="connsiteX6" fmla="*/ 263775 w 326297"/>
                  <a:gd name="connsiteY6" fmla="*/ 900 h 230390"/>
                  <a:gd name="connsiteX7" fmla="*/ 293902 w 326297"/>
                  <a:gd name="connsiteY7" fmla="*/ 17870 h 230390"/>
                  <a:gd name="connsiteX8" fmla="*/ 325398 w 326297"/>
                  <a:gd name="connsiteY8" fmla="*/ 130748 h 2303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26297" h="230390">
                    <a:moveTo>
                      <a:pt x="325398" y="130748"/>
                    </a:moveTo>
                    <a:cubicBezTo>
                      <a:pt x="329017" y="143708"/>
                      <a:pt x="321388" y="157255"/>
                      <a:pt x="308427" y="160875"/>
                    </a:cubicBezTo>
                    <a:lnTo>
                      <a:pt x="62523" y="229491"/>
                    </a:lnTo>
                    <a:cubicBezTo>
                      <a:pt x="49562" y="233110"/>
                      <a:pt x="36015" y="225481"/>
                      <a:pt x="32396" y="212520"/>
                    </a:cubicBezTo>
                    <a:lnTo>
                      <a:pt x="900" y="99643"/>
                    </a:lnTo>
                    <a:cubicBezTo>
                      <a:pt x="-2719" y="86683"/>
                      <a:pt x="4910" y="73135"/>
                      <a:pt x="17870" y="69516"/>
                    </a:cubicBezTo>
                    <a:lnTo>
                      <a:pt x="263775" y="900"/>
                    </a:lnTo>
                    <a:cubicBezTo>
                      <a:pt x="276735" y="-2719"/>
                      <a:pt x="290283" y="4910"/>
                      <a:pt x="293902" y="17870"/>
                    </a:cubicBezTo>
                    <a:lnTo>
                      <a:pt x="325398" y="130748"/>
                    </a:ln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91" name="Forma livre: Forma 490">
                <a:extLst>
                  <a:ext uri="{FF2B5EF4-FFF2-40B4-BE49-F238E27FC236}">
                    <a16:creationId xmlns:a16="http://schemas.microsoft.com/office/drawing/2014/main" id="{DCF26DDC-7868-6113-CE08-8A366FDADCE0}"/>
                  </a:ext>
                </a:extLst>
              </p:cNvPr>
              <p:cNvSpPr/>
              <p:nvPr/>
            </p:nvSpPr>
            <p:spPr>
              <a:xfrm>
                <a:off x="4429521" y="2624041"/>
                <a:ext cx="326297" cy="230390"/>
              </a:xfrm>
              <a:custGeom>
                <a:avLst/>
                <a:gdLst>
                  <a:gd name="connsiteX0" fmla="*/ 325398 w 326297"/>
                  <a:gd name="connsiteY0" fmla="*/ 130748 h 230390"/>
                  <a:gd name="connsiteX1" fmla="*/ 308427 w 326297"/>
                  <a:gd name="connsiteY1" fmla="*/ 160875 h 230390"/>
                  <a:gd name="connsiteX2" fmla="*/ 62523 w 326297"/>
                  <a:gd name="connsiteY2" fmla="*/ 229491 h 230390"/>
                  <a:gd name="connsiteX3" fmla="*/ 32396 w 326297"/>
                  <a:gd name="connsiteY3" fmla="*/ 212520 h 230390"/>
                  <a:gd name="connsiteX4" fmla="*/ 900 w 326297"/>
                  <a:gd name="connsiteY4" fmla="*/ 99643 h 230390"/>
                  <a:gd name="connsiteX5" fmla="*/ 17870 w 326297"/>
                  <a:gd name="connsiteY5" fmla="*/ 69516 h 230390"/>
                  <a:gd name="connsiteX6" fmla="*/ 263775 w 326297"/>
                  <a:gd name="connsiteY6" fmla="*/ 900 h 230390"/>
                  <a:gd name="connsiteX7" fmla="*/ 293902 w 326297"/>
                  <a:gd name="connsiteY7" fmla="*/ 17870 h 230390"/>
                  <a:gd name="connsiteX8" fmla="*/ 325398 w 326297"/>
                  <a:gd name="connsiteY8" fmla="*/ 130748 h 2303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26297" h="230390">
                    <a:moveTo>
                      <a:pt x="325398" y="130748"/>
                    </a:moveTo>
                    <a:cubicBezTo>
                      <a:pt x="329017" y="143708"/>
                      <a:pt x="321388" y="157255"/>
                      <a:pt x="308427" y="160875"/>
                    </a:cubicBezTo>
                    <a:lnTo>
                      <a:pt x="62523" y="229491"/>
                    </a:lnTo>
                    <a:cubicBezTo>
                      <a:pt x="49562" y="233110"/>
                      <a:pt x="36015" y="225481"/>
                      <a:pt x="32396" y="212520"/>
                    </a:cubicBezTo>
                    <a:lnTo>
                      <a:pt x="900" y="99643"/>
                    </a:lnTo>
                    <a:cubicBezTo>
                      <a:pt x="-2719" y="86683"/>
                      <a:pt x="4910" y="73135"/>
                      <a:pt x="17870" y="69516"/>
                    </a:cubicBezTo>
                    <a:lnTo>
                      <a:pt x="263775" y="900"/>
                    </a:lnTo>
                    <a:cubicBezTo>
                      <a:pt x="276735" y="-2719"/>
                      <a:pt x="290283" y="4910"/>
                      <a:pt x="293902" y="17870"/>
                    </a:cubicBezTo>
                    <a:lnTo>
                      <a:pt x="325398" y="130748"/>
                    </a:lnTo>
                    <a:close/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492" name="Forma livre: Forma 491">
              <a:extLst>
                <a:ext uri="{FF2B5EF4-FFF2-40B4-BE49-F238E27FC236}">
                  <a16:creationId xmlns:a16="http://schemas.microsoft.com/office/drawing/2014/main" id="{24C338DE-2C23-B9A8-5C2C-444785CAC910}"/>
                </a:ext>
              </a:extLst>
            </p:cNvPr>
            <p:cNvSpPr/>
            <p:nvPr/>
          </p:nvSpPr>
          <p:spPr>
            <a:xfrm>
              <a:off x="4627223" y="2643477"/>
              <a:ext cx="44456" cy="159241"/>
            </a:xfrm>
            <a:custGeom>
              <a:avLst/>
              <a:gdLst>
                <a:gd name="connsiteX0" fmla="*/ 0 w 44456"/>
                <a:gd name="connsiteY0" fmla="*/ 0 h 159241"/>
                <a:gd name="connsiteX1" fmla="*/ 44457 w 44456"/>
                <a:gd name="connsiteY1" fmla="*/ 159241 h 1592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4456" h="159241">
                  <a:moveTo>
                    <a:pt x="0" y="0"/>
                  </a:moveTo>
                  <a:lnTo>
                    <a:pt x="44457" y="159241"/>
                  </a:lnTo>
                </a:path>
              </a:pathLst>
            </a:custGeom>
            <a:ln w="6350" cap="flat">
              <a:solidFill>
                <a:schemeClr val="accent2"/>
              </a:solidFill>
              <a:custDash>
                <a:ds d="450000" sp="247500"/>
              </a:custDash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93" name="Forma livre: Forma 492">
              <a:extLst>
                <a:ext uri="{FF2B5EF4-FFF2-40B4-BE49-F238E27FC236}">
                  <a16:creationId xmlns:a16="http://schemas.microsoft.com/office/drawing/2014/main" id="{7983B191-9878-26D4-3410-F8BB02BE268B}"/>
                </a:ext>
              </a:extLst>
            </p:cNvPr>
            <p:cNvSpPr/>
            <p:nvPr/>
          </p:nvSpPr>
          <p:spPr>
            <a:xfrm>
              <a:off x="4449593" y="2561019"/>
              <a:ext cx="289285" cy="80745"/>
            </a:xfrm>
            <a:custGeom>
              <a:avLst/>
              <a:gdLst>
                <a:gd name="connsiteX0" fmla="*/ 0 w 289285"/>
                <a:gd name="connsiteY0" fmla="*/ 80746 h 80745"/>
                <a:gd name="connsiteX1" fmla="*/ 289285 w 289285"/>
                <a:gd name="connsiteY1" fmla="*/ 0 h 807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89285" h="80745">
                  <a:moveTo>
                    <a:pt x="0" y="80746"/>
                  </a:moveTo>
                  <a:lnTo>
                    <a:pt x="289285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94" name="Forma livre: Forma 493">
              <a:extLst>
                <a:ext uri="{FF2B5EF4-FFF2-40B4-BE49-F238E27FC236}">
                  <a16:creationId xmlns:a16="http://schemas.microsoft.com/office/drawing/2014/main" id="{4E74FD10-D7DC-1933-BE45-07F565495B80}"/>
                </a:ext>
              </a:extLst>
            </p:cNvPr>
            <p:cNvSpPr/>
            <p:nvPr/>
          </p:nvSpPr>
          <p:spPr>
            <a:xfrm>
              <a:off x="4490283" y="2704513"/>
              <a:ext cx="113518" cy="107399"/>
            </a:xfrm>
            <a:custGeom>
              <a:avLst/>
              <a:gdLst>
                <a:gd name="connsiteX0" fmla="*/ 50325 w 113518"/>
                <a:gd name="connsiteY0" fmla="*/ 56732 h 107399"/>
                <a:gd name="connsiteX1" fmla="*/ 17753 w 113518"/>
                <a:gd name="connsiteY1" fmla="*/ 65829 h 107399"/>
                <a:gd name="connsiteX2" fmla="*/ 13694 w 113518"/>
                <a:gd name="connsiteY2" fmla="*/ 76099 h 107399"/>
                <a:gd name="connsiteX3" fmla="*/ 8021 w 113518"/>
                <a:gd name="connsiteY3" fmla="*/ 77616 h 107399"/>
                <a:gd name="connsiteX4" fmla="*/ 8901 w 113518"/>
                <a:gd name="connsiteY4" fmla="*/ 61476 h 107399"/>
                <a:gd name="connsiteX5" fmla="*/ 0 w 113518"/>
                <a:gd name="connsiteY5" fmla="*/ 48271 h 107399"/>
                <a:gd name="connsiteX6" fmla="*/ 5429 w 113518"/>
                <a:gd name="connsiteY6" fmla="*/ 46853 h 107399"/>
                <a:gd name="connsiteX7" fmla="*/ 14183 w 113518"/>
                <a:gd name="connsiteY7" fmla="*/ 53358 h 107399"/>
                <a:gd name="connsiteX8" fmla="*/ 46853 w 113518"/>
                <a:gd name="connsiteY8" fmla="*/ 44212 h 107399"/>
                <a:gd name="connsiteX9" fmla="*/ 18438 w 113518"/>
                <a:gd name="connsiteY9" fmla="*/ 2201 h 107399"/>
                <a:gd name="connsiteX10" fmla="*/ 26312 w 113518"/>
                <a:gd name="connsiteY10" fmla="*/ 0 h 107399"/>
                <a:gd name="connsiteX11" fmla="*/ 67492 w 113518"/>
                <a:gd name="connsiteY11" fmla="*/ 38441 h 107399"/>
                <a:gd name="connsiteX12" fmla="*/ 105248 w 113518"/>
                <a:gd name="connsiteY12" fmla="*/ 27926 h 107399"/>
                <a:gd name="connsiteX13" fmla="*/ 107009 w 113518"/>
                <a:gd name="connsiteY13" fmla="*/ 27681 h 107399"/>
                <a:gd name="connsiteX14" fmla="*/ 113269 w 113518"/>
                <a:gd name="connsiteY14" fmla="*/ 32425 h 107399"/>
                <a:gd name="connsiteX15" fmla="*/ 112682 w 113518"/>
                <a:gd name="connsiteY15" fmla="*/ 37365 h 107399"/>
                <a:gd name="connsiteX16" fmla="*/ 108769 w 113518"/>
                <a:gd name="connsiteY16" fmla="*/ 40446 h 107399"/>
                <a:gd name="connsiteX17" fmla="*/ 70964 w 113518"/>
                <a:gd name="connsiteY17" fmla="*/ 51010 h 107399"/>
                <a:gd name="connsiteX18" fmla="*/ 55558 w 113518"/>
                <a:gd name="connsiteY18" fmla="*/ 105150 h 107399"/>
                <a:gd name="connsiteX19" fmla="*/ 47831 w 113518"/>
                <a:gd name="connsiteY19" fmla="*/ 107400 h 107399"/>
                <a:gd name="connsiteX20" fmla="*/ 50325 w 113518"/>
                <a:gd name="connsiteY20" fmla="*/ 56781 h 1073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13518" h="107399">
                  <a:moveTo>
                    <a:pt x="50325" y="56732"/>
                  </a:moveTo>
                  <a:lnTo>
                    <a:pt x="17753" y="65829"/>
                  </a:lnTo>
                  <a:lnTo>
                    <a:pt x="13694" y="76099"/>
                  </a:lnTo>
                  <a:lnTo>
                    <a:pt x="8021" y="77616"/>
                  </a:lnTo>
                  <a:lnTo>
                    <a:pt x="8901" y="61476"/>
                  </a:lnTo>
                  <a:lnTo>
                    <a:pt x="0" y="48271"/>
                  </a:lnTo>
                  <a:lnTo>
                    <a:pt x="5429" y="46853"/>
                  </a:lnTo>
                  <a:lnTo>
                    <a:pt x="14183" y="53358"/>
                  </a:lnTo>
                  <a:lnTo>
                    <a:pt x="46853" y="44212"/>
                  </a:lnTo>
                  <a:lnTo>
                    <a:pt x="18438" y="2201"/>
                  </a:lnTo>
                  <a:lnTo>
                    <a:pt x="26312" y="0"/>
                  </a:lnTo>
                  <a:lnTo>
                    <a:pt x="67492" y="38441"/>
                  </a:lnTo>
                  <a:lnTo>
                    <a:pt x="105248" y="27926"/>
                  </a:lnTo>
                  <a:cubicBezTo>
                    <a:pt x="105835" y="27779"/>
                    <a:pt x="106422" y="27681"/>
                    <a:pt x="107009" y="27681"/>
                  </a:cubicBezTo>
                  <a:cubicBezTo>
                    <a:pt x="109894" y="27681"/>
                    <a:pt x="112486" y="29638"/>
                    <a:pt x="113269" y="32425"/>
                  </a:cubicBezTo>
                  <a:cubicBezTo>
                    <a:pt x="113758" y="34088"/>
                    <a:pt x="113513" y="35849"/>
                    <a:pt x="112682" y="37365"/>
                  </a:cubicBezTo>
                  <a:cubicBezTo>
                    <a:pt x="111850" y="38881"/>
                    <a:pt x="110432" y="39957"/>
                    <a:pt x="108769" y="40446"/>
                  </a:cubicBezTo>
                  <a:lnTo>
                    <a:pt x="70964" y="51010"/>
                  </a:lnTo>
                  <a:lnTo>
                    <a:pt x="55558" y="105150"/>
                  </a:lnTo>
                  <a:lnTo>
                    <a:pt x="47831" y="107400"/>
                  </a:lnTo>
                  <a:lnTo>
                    <a:pt x="50325" y="56781"/>
                  </a:ln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495" name="Gráfico 6">
            <a:extLst>
              <a:ext uri="{FF2B5EF4-FFF2-40B4-BE49-F238E27FC236}">
                <a16:creationId xmlns:a16="http://schemas.microsoft.com/office/drawing/2014/main" id="{4E4CF7FC-8198-920E-0812-7010011C69A0}"/>
              </a:ext>
            </a:extLst>
          </p:cNvPr>
          <p:cNvGrpSpPr/>
          <p:nvPr/>
        </p:nvGrpSpPr>
        <p:grpSpPr>
          <a:xfrm>
            <a:off x="5105583" y="3061601"/>
            <a:ext cx="259647" cy="347857"/>
            <a:chOff x="5105583" y="3061601"/>
            <a:chExt cx="259647" cy="347857"/>
          </a:xfrm>
          <a:noFill/>
        </p:grpSpPr>
        <p:sp>
          <p:nvSpPr>
            <p:cNvPr id="496" name="Forma livre: Forma 495">
              <a:extLst>
                <a:ext uri="{FF2B5EF4-FFF2-40B4-BE49-F238E27FC236}">
                  <a16:creationId xmlns:a16="http://schemas.microsoft.com/office/drawing/2014/main" id="{1A13CA0B-C1BC-FA2C-70A9-71B8CFD8CA89}"/>
                </a:ext>
              </a:extLst>
            </p:cNvPr>
            <p:cNvSpPr/>
            <p:nvPr/>
          </p:nvSpPr>
          <p:spPr>
            <a:xfrm>
              <a:off x="5130525" y="3306265"/>
              <a:ext cx="209762" cy="103193"/>
            </a:xfrm>
            <a:custGeom>
              <a:avLst/>
              <a:gdLst>
                <a:gd name="connsiteX0" fmla="*/ 209762 w 209762"/>
                <a:gd name="connsiteY0" fmla="*/ 0 h 103193"/>
                <a:gd name="connsiteX1" fmla="*/ 209762 w 209762"/>
                <a:gd name="connsiteY1" fmla="*/ 18487 h 103193"/>
                <a:gd name="connsiteX2" fmla="*/ 120947 w 209762"/>
                <a:gd name="connsiteY2" fmla="*/ 103194 h 103193"/>
                <a:gd name="connsiteX3" fmla="*/ 88815 w 209762"/>
                <a:gd name="connsiteY3" fmla="*/ 103194 h 103193"/>
                <a:gd name="connsiteX4" fmla="*/ 0 w 209762"/>
                <a:gd name="connsiteY4" fmla="*/ 18487 h 103193"/>
                <a:gd name="connsiteX5" fmla="*/ 0 w 209762"/>
                <a:gd name="connsiteY5" fmla="*/ 0 h 103193"/>
                <a:gd name="connsiteX6" fmla="*/ 209762 w 209762"/>
                <a:gd name="connsiteY6" fmla="*/ 0 h 1031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762" h="103193">
                  <a:moveTo>
                    <a:pt x="209762" y="0"/>
                  </a:moveTo>
                  <a:lnTo>
                    <a:pt x="209762" y="18487"/>
                  </a:lnTo>
                  <a:cubicBezTo>
                    <a:pt x="209762" y="18487"/>
                    <a:pt x="120947" y="52820"/>
                    <a:pt x="120947" y="103194"/>
                  </a:cubicBezTo>
                  <a:lnTo>
                    <a:pt x="88815" y="103194"/>
                  </a:lnTo>
                  <a:cubicBezTo>
                    <a:pt x="88815" y="52771"/>
                    <a:pt x="0" y="18487"/>
                    <a:pt x="0" y="18487"/>
                  </a:cubicBezTo>
                  <a:lnTo>
                    <a:pt x="0" y="0"/>
                  </a:lnTo>
                  <a:lnTo>
                    <a:pt x="209762" y="0"/>
                  </a:ln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497" name="Gráfico 6">
              <a:extLst>
                <a:ext uri="{FF2B5EF4-FFF2-40B4-BE49-F238E27FC236}">
                  <a16:creationId xmlns:a16="http://schemas.microsoft.com/office/drawing/2014/main" id="{04FB9C33-6915-035C-1AB3-AFED40A07A9B}"/>
                </a:ext>
              </a:extLst>
            </p:cNvPr>
            <p:cNvGrpSpPr/>
            <p:nvPr/>
          </p:nvGrpSpPr>
          <p:grpSpPr>
            <a:xfrm>
              <a:off x="5105583" y="3154409"/>
              <a:ext cx="259647" cy="96346"/>
              <a:chOff x="5105583" y="3154409"/>
              <a:chExt cx="259647" cy="96346"/>
            </a:xfrm>
            <a:noFill/>
          </p:grpSpPr>
          <p:sp>
            <p:nvSpPr>
              <p:cNvPr id="498" name="Forma livre: Forma 497">
                <a:extLst>
                  <a:ext uri="{FF2B5EF4-FFF2-40B4-BE49-F238E27FC236}">
                    <a16:creationId xmlns:a16="http://schemas.microsoft.com/office/drawing/2014/main" id="{D6FA3753-7457-BAE9-F82A-3F0C3DCC5DEC}"/>
                  </a:ext>
                </a:extLst>
              </p:cNvPr>
              <p:cNvSpPr/>
              <p:nvPr/>
            </p:nvSpPr>
            <p:spPr>
              <a:xfrm>
                <a:off x="5105583" y="3154409"/>
                <a:ext cx="109894" cy="96346"/>
              </a:xfrm>
              <a:custGeom>
                <a:avLst/>
                <a:gdLst>
                  <a:gd name="connsiteX0" fmla="*/ 0 w 109894"/>
                  <a:gd name="connsiteY0" fmla="*/ 86761 h 96346"/>
                  <a:gd name="connsiteX1" fmla="*/ 54971 w 109894"/>
                  <a:gd name="connsiteY1" fmla="*/ 0 h 96346"/>
                  <a:gd name="connsiteX2" fmla="*/ 109894 w 109894"/>
                  <a:gd name="connsiteY2" fmla="*/ 86761 h 96346"/>
                  <a:gd name="connsiteX3" fmla="*/ 55656 w 109894"/>
                  <a:gd name="connsiteY3" fmla="*/ 96347 h 96346"/>
                  <a:gd name="connsiteX4" fmla="*/ 0 w 109894"/>
                  <a:gd name="connsiteY4" fmla="*/ 86761 h 96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09894" h="96346">
                    <a:moveTo>
                      <a:pt x="0" y="86761"/>
                    </a:moveTo>
                    <a:lnTo>
                      <a:pt x="54971" y="0"/>
                    </a:lnTo>
                    <a:lnTo>
                      <a:pt x="109894" y="86761"/>
                    </a:lnTo>
                    <a:cubicBezTo>
                      <a:pt x="109894" y="86761"/>
                      <a:pt x="90429" y="96347"/>
                      <a:pt x="55656" y="96347"/>
                    </a:cubicBezTo>
                    <a:cubicBezTo>
                      <a:pt x="20883" y="96347"/>
                      <a:pt x="0" y="86761"/>
                      <a:pt x="0" y="86761"/>
                    </a:cubicBezTo>
                    <a:close/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99" name="Forma livre: Forma 498">
                <a:extLst>
                  <a:ext uri="{FF2B5EF4-FFF2-40B4-BE49-F238E27FC236}">
                    <a16:creationId xmlns:a16="http://schemas.microsoft.com/office/drawing/2014/main" id="{94565E76-4F9E-7890-C434-04AB1DC64ABA}"/>
                  </a:ext>
                </a:extLst>
              </p:cNvPr>
              <p:cNvSpPr/>
              <p:nvPr/>
            </p:nvSpPr>
            <p:spPr>
              <a:xfrm>
                <a:off x="5255336" y="3154409"/>
                <a:ext cx="109894" cy="96346"/>
              </a:xfrm>
              <a:custGeom>
                <a:avLst/>
                <a:gdLst>
                  <a:gd name="connsiteX0" fmla="*/ 0 w 109894"/>
                  <a:gd name="connsiteY0" fmla="*/ 86761 h 96346"/>
                  <a:gd name="connsiteX1" fmla="*/ 54972 w 109894"/>
                  <a:gd name="connsiteY1" fmla="*/ 0 h 96346"/>
                  <a:gd name="connsiteX2" fmla="*/ 109894 w 109894"/>
                  <a:gd name="connsiteY2" fmla="*/ 86761 h 96346"/>
                  <a:gd name="connsiteX3" fmla="*/ 55656 w 109894"/>
                  <a:gd name="connsiteY3" fmla="*/ 96347 h 96346"/>
                  <a:gd name="connsiteX4" fmla="*/ 0 w 109894"/>
                  <a:gd name="connsiteY4" fmla="*/ 86761 h 96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09894" h="96346">
                    <a:moveTo>
                      <a:pt x="0" y="86761"/>
                    </a:moveTo>
                    <a:lnTo>
                      <a:pt x="54972" y="0"/>
                    </a:lnTo>
                    <a:lnTo>
                      <a:pt x="109894" y="86761"/>
                    </a:lnTo>
                    <a:cubicBezTo>
                      <a:pt x="109894" y="86761"/>
                      <a:pt x="90429" y="96347"/>
                      <a:pt x="55656" y="96347"/>
                    </a:cubicBezTo>
                    <a:cubicBezTo>
                      <a:pt x="20883" y="96347"/>
                      <a:pt x="0" y="86761"/>
                      <a:pt x="0" y="86761"/>
                    </a:cubicBezTo>
                    <a:close/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500" name="Forma livre: Forma 499">
              <a:extLst>
                <a:ext uri="{FF2B5EF4-FFF2-40B4-BE49-F238E27FC236}">
                  <a16:creationId xmlns:a16="http://schemas.microsoft.com/office/drawing/2014/main" id="{7C713354-60D3-7614-DA4E-DD71D2D75601}"/>
                </a:ext>
              </a:extLst>
            </p:cNvPr>
            <p:cNvSpPr/>
            <p:nvPr/>
          </p:nvSpPr>
          <p:spPr>
            <a:xfrm>
              <a:off x="5215135" y="3241170"/>
              <a:ext cx="40543" cy="4890"/>
            </a:xfrm>
            <a:custGeom>
              <a:avLst/>
              <a:gdLst>
                <a:gd name="connsiteX0" fmla="*/ 0 w 40543"/>
                <a:gd name="connsiteY0" fmla="*/ 0 h 4890"/>
                <a:gd name="connsiteX1" fmla="*/ 40544 w 40543"/>
                <a:gd name="connsiteY1" fmla="*/ 0 h 48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0543" h="4890">
                  <a:moveTo>
                    <a:pt x="0" y="0"/>
                  </a:moveTo>
                  <a:lnTo>
                    <a:pt x="40544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501" name="Gráfico 6">
              <a:extLst>
                <a:ext uri="{FF2B5EF4-FFF2-40B4-BE49-F238E27FC236}">
                  <a16:creationId xmlns:a16="http://schemas.microsoft.com/office/drawing/2014/main" id="{9113409C-F828-C6C3-92F9-D86E0A32A903}"/>
                </a:ext>
              </a:extLst>
            </p:cNvPr>
            <p:cNvGrpSpPr/>
            <p:nvPr/>
          </p:nvGrpSpPr>
          <p:grpSpPr>
            <a:xfrm>
              <a:off x="5191526" y="3061601"/>
              <a:ext cx="87760" cy="37918"/>
              <a:chOff x="5191526" y="3061601"/>
              <a:chExt cx="87760" cy="37918"/>
            </a:xfrm>
            <a:noFill/>
          </p:grpSpPr>
          <p:sp>
            <p:nvSpPr>
              <p:cNvPr id="502" name="Forma livre: Forma 501">
                <a:extLst>
                  <a:ext uri="{FF2B5EF4-FFF2-40B4-BE49-F238E27FC236}">
                    <a16:creationId xmlns:a16="http://schemas.microsoft.com/office/drawing/2014/main" id="{E364773F-A179-550F-7A76-22080A5A21C4}"/>
                  </a:ext>
                </a:extLst>
              </p:cNvPr>
              <p:cNvSpPr/>
              <p:nvPr/>
            </p:nvSpPr>
            <p:spPr>
              <a:xfrm>
                <a:off x="5191526" y="3061601"/>
                <a:ext cx="41005" cy="37918"/>
              </a:xfrm>
              <a:custGeom>
                <a:avLst/>
                <a:gdLst>
                  <a:gd name="connsiteX0" fmla="*/ 38770 w 41005"/>
                  <a:gd name="connsiteY0" fmla="*/ 34412 h 37918"/>
                  <a:gd name="connsiteX1" fmla="*/ 11186 w 41005"/>
                  <a:gd name="connsiteY1" fmla="*/ 29962 h 37918"/>
                  <a:gd name="connsiteX2" fmla="*/ 2236 w 41005"/>
                  <a:gd name="connsiteY2" fmla="*/ 3503 h 37918"/>
                  <a:gd name="connsiteX3" fmla="*/ 29820 w 41005"/>
                  <a:gd name="connsiteY3" fmla="*/ 8003 h 37918"/>
                  <a:gd name="connsiteX4" fmla="*/ 38770 w 41005"/>
                  <a:gd name="connsiteY4" fmla="*/ 34461 h 379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005" h="37918">
                    <a:moveTo>
                      <a:pt x="38770" y="34412"/>
                    </a:moveTo>
                    <a:cubicBezTo>
                      <a:pt x="33634" y="40477"/>
                      <a:pt x="21261" y="38472"/>
                      <a:pt x="11186" y="29962"/>
                    </a:cubicBezTo>
                    <a:cubicBezTo>
                      <a:pt x="1111" y="21403"/>
                      <a:pt x="-2899" y="9568"/>
                      <a:pt x="2236" y="3503"/>
                    </a:cubicBezTo>
                    <a:cubicBezTo>
                      <a:pt x="7371" y="-2561"/>
                      <a:pt x="19696" y="-556"/>
                      <a:pt x="29820" y="8003"/>
                    </a:cubicBezTo>
                    <a:cubicBezTo>
                      <a:pt x="39895" y="16561"/>
                      <a:pt x="43905" y="28397"/>
                      <a:pt x="38770" y="34461"/>
                    </a:cubicBezTo>
                    <a:close/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03" name="Forma livre: Forma 502">
                <a:extLst>
                  <a:ext uri="{FF2B5EF4-FFF2-40B4-BE49-F238E27FC236}">
                    <a16:creationId xmlns:a16="http://schemas.microsoft.com/office/drawing/2014/main" id="{A4B1356F-CE70-EBB0-CC17-70B95FD04545}"/>
                  </a:ext>
                </a:extLst>
              </p:cNvPr>
              <p:cNvSpPr/>
              <p:nvPr/>
            </p:nvSpPr>
            <p:spPr>
              <a:xfrm>
                <a:off x="5238281" y="3061601"/>
                <a:ext cx="41005" cy="37918"/>
              </a:xfrm>
              <a:custGeom>
                <a:avLst/>
                <a:gdLst>
                  <a:gd name="connsiteX0" fmla="*/ 2236 w 41005"/>
                  <a:gd name="connsiteY0" fmla="*/ 34412 h 37918"/>
                  <a:gd name="connsiteX1" fmla="*/ 29820 w 41005"/>
                  <a:gd name="connsiteY1" fmla="*/ 29962 h 37918"/>
                  <a:gd name="connsiteX2" fmla="*/ 38770 w 41005"/>
                  <a:gd name="connsiteY2" fmla="*/ 3503 h 37918"/>
                  <a:gd name="connsiteX3" fmla="*/ 11186 w 41005"/>
                  <a:gd name="connsiteY3" fmla="*/ 8003 h 37918"/>
                  <a:gd name="connsiteX4" fmla="*/ 2236 w 41005"/>
                  <a:gd name="connsiteY4" fmla="*/ 34461 h 379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005" h="37918">
                    <a:moveTo>
                      <a:pt x="2236" y="34412"/>
                    </a:moveTo>
                    <a:cubicBezTo>
                      <a:pt x="7371" y="40477"/>
                      <a:pt x="19696" y="38472"/>
                      <a:pt x="29820" y="29962"/>
                    </a:cubicBezTo>
                    <a:cubicBezTo>
                      <a:pt x="39895" y="21403"/>
                      <a:pt x="43905" y="9568"/>
                      <a:pt x="38770" y="3503"/>
                    </a:cubicBezTo>
                    <a:cubicBezTo>
                      <a:pt x="33634" y="-2561"/>
                      <a:pt x="21310" y="-556"/>
                      <a:pt x="11186" y="8003"/>
                    </a:cubicBezTo>
                    <a:cubicBezTo>
                      <a:pt x="1111" y="16561"/>
                      <a:pt x="-2899" y="28397"/>
                      <a:pt x="2236" y="34461"/>
                    </a:cubicBezTo>
                    <a:close/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504" name="Forma livre: Forma 503">
              <a:extLst>
                <a:ext uri="{FF2B5EF4-FFF2-40B4-BE49-F238E27FC236}">
                  <a16:creationId xmlns:a16="http://schemas.microsoft.com/office/drawing/2014/main" id="{13019690-F106-CDCB-EEA3-35D37B086831}"/>
                </a:ext>
              </a:extLst>
            </p:cNvPr>
            <p:cNvSpPr/>
            <p:nvPr/>
          </p:nvSpPr>
          <p:spPr>
            <a:xfrm>
              <a:off x="5217678" y="3099633"/>
              <a:ext cx="12764" cy="44505"/>
            </a:xfrm>
            <a:custGeom>
              <a:avLst/>
              <a:gdLst>
                <a:gd name="connsiteX0" fmla="*/ 12765 w 12764"/>
                <a:gd name="connsiteY0" fmla="*/ 0 h 44505"/>
                <a:gd name="connsiteX1" fmla="*/ 0 w 12764"/>
                <a:gd name="connsiteY1" fmla="*/ 44505 h 445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764" h="44505">
                  <a:moveTo>
                    <a:pt x="12765" y="0"/>
                  </a:moveTo>
                  <a:lnTo>
                    <a:pt x="0" y="44505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505" name="Forma livre: Forma 504">
              <a:extLst>
                <a:ext uri="{FF2B5EF4-FFF2-40B4-BE49-F238E27FC236}">
                  <a16:creationId xmlns:a16="http://schemas.microsoft.com/office/drawing/2014/main" id="{05D77115-140F-0E2A-35D4-E9CFBC27FE8C}"/>
                </a:ext>
              </a:extLst>
            </p:cNvPr>
            <p:cNvSpPr/>
            <p:nvPr/>
          </p:nvSpPr>
          <p:spPr>
            <a:xfrm>
              <a:off x="5160359" y="3098655"/>
              <a:ext cx="150046" cy="55753"/>
            </a:xfrm>
            <a:custGeom>
              <a:avLst/>
              <a:gdLst>
                <a:gd name="connsiteX0" fmla="*/ 150047 w 150046"/>
                <a:gd name="connsiteY0" fmla="*/ 55754 h 55753"/>
                <a:gd name="connsiteX1" fmla="*/ 78545 w 150046"/>
                <a:gd name="connsiteY1" fmla="*/ 0 h 55753"/>
                <a:gd name="connsiteX2" fmla="*/ 71502 w 150046"/>
                <a:gd name="connsiteY2" fmla="*/ 0 h 55753"/>
                <a:gd name="connsiteX3" fmla="*/ 0 w 150046"/>
                <a:gd name="connsiteY3" fmla="*/ 55754 h 557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0046" h="55753">
                  <a:moveTo>
                    <a:pt x="150047" y="55754"/>
                  </a:moveTo>
                  <a:cubicBezTo>
                    <a:pt x="150047" y="55754"/>
                    <a:pt x="125398" y="0"/>
                    <a:pt x="78545" y="0"/>
                  </a:cubicBezTo>
                  <a:lnTo>
                    <a:pt x="71502" y="0"/>
                  </a:lnTo>
                  <a:cubicBezTo>
                    <a:pt x="24698" y="0"/>
                    <a:pt x="0" y="55754"/>
                    <a:pt x="0" y="55754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506" name="Forma livre: Forma 505">
              <a:extLst>
                <a:ext uri="{FF2B5EF4-FFF2-40B4-BE49-F238E27FC236}">
                  <a16:creationId xmlns:a16="http://schemas.microsoft.com/office/drawing/2014/main" id="{67D8376D-813A-24C0-BBEE-41815EADC4C4}"/>
                </a:ext>
              </a:extLst>
            </p:cNvPr>
            <p:cNvSpPr/>
            <p:nvPr/>
          </p:nvSpPr>
          <p:spPr>
            <a:xfrm>
              <a:off x="5240420" y="3100268"/>
              <a:ext cx="11004" cy="29588"/>
            </a:xfrm>
            <a:custGeom>
              <a:avLst/>
              <a:gdLst>
                <a:gd name="connsiteX0" fmla="*/ 0 w 11004"/>
                <a:gd name="connsiteY0" fmla="*/ 0 h 29588"/>
                <a:gd name="connsiteX1" fmla="*/ 11004 w 11004"/>
                <a:gd name="connsiteY1" fmla="*/ 29589 h 295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004" h="29588">
                  <a:moveTo>
                    <a:pt x="0" y="0"/>
                  </a:moveTo>
                  <a:lnTo>
                    <a:pt x="11004" y="29589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507" name="Gráfico 6">
            <a:extLst>
              <a:ext uri="{FF2B5EF4-FFF2-40B4-BE49-F238E27FC236}">
                <a16:creationId xmlns:a16="http://schemas.microsoft.com/office/drawing/2014/main" id="{95CEF695-5FE9-FC25-2DC7-4B331990A14C}"/>
              </a:ext>
            </a:extLst>
          </p:cNvPr>
          <p:cNvGrpSpPr/>
          <p:nvPr/>
        </p:nvGrpSpPr>
        <p:grpSpPr>
          <a:xfrm>
            <a:off x="5741009" y="3065593"/>
            <a:ext cx="262018" cy="339855"/>
            <a:chOff x="5741009" y="3065593"/>
            <a:chExt cx="262018" cy="339855"/>
          </a:xfrm>
          <a:noFill/>
        </p:grpSpPr>
        <p:grpSp>
          <p:nvGrpSpPr>
            <p:cNvPr id="508" name="Gráfico 6">
              <a:extLst>
                <a:ext uri="{FF2B5EF4-FFF2-40B4-BE49-F238E27FC236}">
                  <a16:creationId xmlns:a16="http://schemas.microsoft.com/office/drawing/2014/main" id="{12F6E156-AFF8-A4D4-F887-52C53FE6FDA4}"/>
                </a:ext>
              </a:extLst>
            </p:cNvPr>
            <p:cNvGrpSpPr/>
            <p:nvPr/>
          </p:nvGrpSpPr>
          <p:grpSpPr>
            <a:xfrm>
              <a:off x="5741009" y="3090855"/>
              <a:ext cx="122242" cy="123709"/>
              <a:chOff x="5741009" y="3090855"/>
              <a:chExt cx="122242" cy="123709"/>
            </a:xfrm>
            <a:noFill/>
          </p:grpSpPr>
          <p:sp>
            <p:nvSpPr>
              <p:cNvPr id="509" name="Forma livre: Forma 508">
                <a:extLst>
                  <a:ext uri="{FF2B5EF4-FFF2-40B4-BE49-F238E27FC236}">
                    <a16:creationId xmlns:a16="http://schemas.microsoft.com/office/drawing/2014/main" id="{62CADF22-B813-A91E-E3EC-6AFF21148D94}"/>
                  </a:ext>
                </a:extLst>
              </p:cNvPr>
              <p:cNvSpPr/>
              <p:nvPr/>
            </p:nvSpPr>
            <p:spPr>
              <a:xfrm>
                <a:off x="5741009" y="3090855"/>
                <a:ext cx="122242" cy="123709"/>
              </a:xfrm>
              <a:custGeom>
                <a:avLst/>
                <a:gdLst>
                  <a:gd name="connsiteX0" fmla="*/ 56951 w 122242"/>
                  <a:gd name="connsiteY0" fmla="*/ 123709 h 123709"/>
                  <a:gd name="connsiteX1" fmla="*/ 37388 w 122242"/>
                  <a:gd name="connsiteY1" fmla="*/ 118819 h 123709"/>
                  <a:gd name="connsiteX2" fmla="*/ 5110 w 122242"/>
                  <a:gd name="connsiteY2" fmla="*/ 37388 h 123709"/>
                  <a:gd name="connsiteX3" fmla="*/ 86540 w 122242"/>
                  <a:gd name="connsiteY3" fmla="*/ 5110 h 123709"/>
                  <a:gd name="connsiteX4" fmla="*/ 122242 w 122242"/>
                  <a:gd name="connsiteY4" fmla="*/ 47659 h 1237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2242" h="123709">
                    <a:moveTo>
                      <a:pt x="56951" y="123709"/>
                    </a:moveTo>
                    <a:cubicBezTo>
                      <a:pt x="50398" y="123171"/>
                      <a:pt x="43795" y="121557"/>
                      <a:pt x="37388" y="118819"/>
                    </a:cubicBezTo>
                    <a:cubicBezTo>
                      <a:pt x="5990" y="105271"/>
                      <a:pt x="-8486" y="68787"/>
                      <a:pt x="5110" y="37388"/>
                    </a:cubicBezTo>
                    <a:cubicBezTo>
                      <a:pt x="18706" y="5990"/>
                      <a:pt x="55142" y="-8486"/>
                      <a:pt x="86540" y="5110"/>
                    </a:cubicBezTo>
                    <a:cubicBezTo>
                      <a:pt x="105174" y="13179"/>
                      <a:pt x="117841" y="29319"/>
                      <a:pt x="122242" y="47659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10" name="Forma livre: Forma 509">
                <a:extLst>
                  <a:ext uri="{FF2B5EF4-FFF2-40B4-BE49-F238E27FC236}">
                    <a16:creationId xmlns:a16="http://schemas.microsoft.com/office/drawing/2014/main" id="{4BF774D0-E0D2-A154-6255-C60164BC9CDE}"/>
                  </a:ext>
                </a:extLst>
              </p:cNvPr>
              <p:cNvSpPr/>
              <p:nvPr/>
            </p:nvSpPr>
            <p:spPr>
              <a:xfrm>
                <a:off x="5819381" y="3117044"/>
                <a:ext cx="29931" cy="23133"/>
              </a:xfrm>
              <a:custGeom>
                <a:avLst/>
                <a:gdLst>
                  <a:gd name="connsiteX0" fmla="*/ 29931 w 29931"/>
                  <a:gd name="connsiteY0" fmla="*/ 0 h 23133"/>
                  <a:gd name="connsiteX1" fmla="*/ 0 w 29931"/>
                  <a:gd name="connsiteY1" fmla="*/ 23133 h 231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9931" h="23133">
                    <a:moveTo>
                      <a:pt x="29931" y="0"/>
                    </a:moveTo>
                    <a:lnTo>
                      <a:pt x="0" y="23133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11" name="Forma livre: Forma 510">
                <a:extLst>
                  <a:ext uri="{FF2B5EF4-FFF2-40B4-BE49-F238E27FC236}">
                    <a16:creationId xmlns:a16="http://schemas.microsoft.com/office/drawing/2014/main" id="{7AE08BED-0ED0-37E5-ED84-B5B3581B9DDE}"/>
                  </a:ext>
                </a:extLst>
              </p:cNvPr>
              <p:cNvSpPr/>
              <p:nvPr/>
            </p:nvSpPr>
            <p:spPr>
              <a:xfrm>
                <a:off x="5745629" y="3156365"/>
                <a:ext cx="37022" cy="6406"/>
              </a:xfrm>
              <a:custGeom>
                <a:avLst/>
                <a:gdLst>
                  <a:gd name="connsiteX0" fmla="*/ 37023 w 37022"/>
                  <a:gd name="connsiteY0" fmla="*/ 0 h 6406"/>
                  <a:gd name="connsiteX1" fmla="*/ 0 w 37022"/>
                  <a:gd name="connsiteY1" fmla="*/ 6407 h 64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7022" h="6406">
                    <a:moveTo>
                      <a:pt x="37023" y="0"/>
                    </a:moveTo>
                    <a:lnTo>
                      <a:pt x="0" y="6407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12" name="Forma livre: Forma 511">
                <a:extLst>
                  <a:ext uri="{FF2B5EF4-FFF2-40B4-BE49-F238E27FC236}">
                    <a16:creationId xmlns:a16="http://schemas.microsoft.com/office/drawing/2014/main" id="{25D86756-5E57-802F-5DFC-59A44321768F}"/>
                  </a:ext>
                </a:extLst>
              </p:cNvPr>
              <p:cNvSpPr/>
              <p:nvPr/>
            </p:nvSpPr>
            <p:spPr>
              <a:xfrm>
                <a:off x="5773262" y="3170499"/>
                <a:ext cx="19122" cy="32034"/>
              </a:xfrm>
              <a:custGeom>
                <a:avLst/>
                <a:gdLst>
                  <a:gd name="connsiteX0" fmla="*/ 19123 w 19122"/>
                  <a:gd name="connsiteY0" fmla="*/ 0 h 32034"/>
                  <a:gd name="connsiteX1" fmla="*/ 0 w 19122"/>
                  <a:gd name="connsiteY1" fmla="*/ 32034 h 320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9122" h="32034">
                    <a:moveTo>
                      <a:pt x="19123" y="0"/>
                    </a:moveTo>
                    <a:lnTo>
                      <a:pt x="0" y="32034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13" name="Forma livre: Forma 512">
                <a:extLst>
                  <a:ext uri="{FF2B5EF4-FFF2-40B4-BE49-F238E27FC236}">
                    <a16:creationId xmlns:a16="http://schemas.microsoft.com/office/drawing/2014/main" id="{12960441-9052-E11F-77BC-699EE980C004}"/>
                  </a:ext>
                </a:extLst>
              </p:cNvPr>
              <p:cNvSpPr/>
              <p:nvPr/>
            </p:nvSpPr>
            <p:spPr>
              <a:xfrm>
                <a:off x="5758834" y="3115430"/>
                <a:ext cx="28317" cy="23964"/>
              </a:xfrm>
              <a:custGeom>
                <a:avLst/>
                <a:gdLst>
                  <a:gd name="connsiteX0" fmla="*/ 28317 w 28317"/>
                  <a:gd name="connsiteY0" fmla="*/ 23964 h 23964"/>
                  <a:gd name="connsiteX1" fmla="*/ 0 w 28317"/>
                  <a:gd name="connsiteY1" fmla="*/ 0 h 239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8317" h="23964">
                    <a:moveTo>
                      <a:pt x="28317" y="23964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14" name="Forma livre: Forma 513">
                <a:extLst>
                  <a:ext uri="{FF2B5EF4-FFF2-40B4-BE49-F238E27FC236}">
                    <a16:creationId xmlns:a16="http://schemas.microsoft.com/office/drawing/2014/main" id="{51F692C1-259A-B1CD-3E7B-426876EAF7D3}"/>
                  </a:ext>
                </a:extLst>
              </p:cNvPr>
              <p:cNvSpPr/>
              <p:nvPr/>
            </p:nvSpPr>
            <p:spPr>
              <a:xfrm>
                <a:off x="5803193" y="3094889"/>
                <a:ext cx="342" cy="37071"/>
              </a:xfrm>
              <a:custGeom>
                <a:avLst/>
                <a:gdLst>
                  <a:gd name="connsiteX0" fmla="*/ 0 w 342"/>
                  <a:gd name="connsiteY0" fmla="*/ 37072 h 37071"/>
                  <a:gd name="connsiteX1" fmla="*/ 342 w 342"/>
                  <a:gd name="connsiteY1" fmla="*/ 0 h 370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42" h="37071">
                    <a:moveTo>
                      <a:pt x="0" y="37072"/>
                    </a:moveTo>
                    <a:lnTo>
                      <a:pt x="342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515" name="Gráfico 6">
              <a:extLst>
                <a:ext uri="{FF2B5EF4-FFF2-40B4-BE49-F238E27FC236}">
                  <a16:creationId xmlns:a16="http://schemas.microsoft.com/office/drawing/2014/main" id="{D1F68AD0-080D-68C7-132B-9DDF09FEAD9B}"/>
                </a:ext>
              </a:extLst>
            </p:cNvPr>
            <p:cNvGrpSpPr/>
            <p:nvPr/>
          </p:nvGrpSpPr>
          <p:grpSpPr>
            <a:xfrm>
              <a:off x="5819870" y="3161842"/>
              <a:ext cx="174255" cy="243606"/>
              <a:chOff x="5819870" y="3161842"/>
              <a:chExt cx="174255" cy="243606"/>
            </a:xfrm>
            <a:noFill/>
          </p:grpSpPr>
          <p:sp>
            <p:nvSpPr>
              <p:cNvPr id="516" name="Forma livre: Forma 515">
                <a:extLst>
                  <a:ext uri="{FF2B5EF4-FFF2-40B4-BE49-F238E27FC236}">
                    <a16:creationId xmlns:a16="http://schemas.microsoft.com/office/drawing/2014/main" id="{9055937C-D59D-F099-D75F-C5015076F24B}"/>
                  </a:ext>
                </a:extLst>
              </p:cNvPr>
              <p:cNvSpPr/>
              <p:nvPr/>
            </p:nvSpPr>
            <p:spPr>
              <a:xfrm>
                <a:off x="5819870" y="3161842"/>
                <a:ext cx="84266" cy="243606"/>
              </a:xfrm>
              <a:custGeom>
                <a:avLst/>
                <a:gdLst>
                  <a:gd name="connsiteX0" fmla="*/ 0 w 84266"/>
                  <a:gd name="connsiteY0" fmla="*/ 0 h 243606"/>
                  <a:gd name="connsiteX1" fmla="*/ 4499 w 84266"/>
                  <a:gd name="connsiteY1" fmla="*/ 113415 h 243606"/>
                  <a:gd name="connsiteX2" fmla="*/ 18487 w 84266"/>
                  <a:gd name="connsiteY2" fmla="*/ 140021 h 243606"/>
                  <a:gd name="connsiteX3" fmla="*/ 25481 w 84266"/>
                  <a:gd name="connsiteY3" fmla="*/ 243606 h 243606"/>
                  <a:gd name="connsiteX4" fmla="*/ 84267 w 84266"/>
                  <a:gd name="connsiteY4" fmla="*/ 243606 h 2436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4266" h="243606">
                    <a:moveTo>
                      <a:pt x="0" y="0"/>
                    </a:moveTo>
                    <a:lnTo>
                      <a:pt x="4499" y="113415"/>
                    </a:lnTo>
                    <a:lnTo>
                      <a:pt x="18487" y="140021"/>
                    </a:lnTo>
                    <a:lnTo>
                      <a:pt x="25481" y="243606"/>
                    </a:lnTo>
                    <a:lnTo>
                      <a:pt x="84267" y="243606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17" name="Forma livre: Forma 516">
                <a:extLst>
                  <a:ext uri="{FF2B5EF4-FFF2-40B4-BE49-F238E27FC236}">
                    <a16:creationId xmlns:a16="http://schemas.microsoft.com/office/drawing/2014/main" id="{DC9A2CE9-C0D5-8F8E-519F-68BD2477BA54}"/>
                  </a:ext>
                </a:extLst>
              </p:cNvPr>
              <p:cNvSpPr/>
              <p:nvPr/>
            </p:nvSpPr>
            <p:spPr>
              <a:xfrm>
                <a:off x="5903599" y="3161842"/>
                <a:ext cx="90526" cy="243606"/>
              </a:xfrm>
              <a:custGeom>
                <a:avLst/>
                <a:gdLst>
                  <a:gd name="connsiteX0" fmla="*/ 90527 w 90526"/>
                  <a:gd name="connsiteY0" fmla="*/ 0 h 243606"/>
                  <a:gd name="connsiteX1" fmla="*/ 86027 w 90526"/>
                  <a:gd name="connsiteY1" fmla="*/ 113415 h 243606"/>
                  <a:gd name="connsiteX2" fmla="*/ 72040 w 90526"/>
                  <a:gd name="connsiteY2" fmla="*/ 140021 h 243606"/>
                  <a:gd name="connsiteX3" fmla="*/ 65046 w 90526"/>
                  <a:gd name="connsiteY3" fmla="*/ 243606 h 243606"/>
                  <a:gd name="connsiteX4" fmla="*/ 0 w 90526"/>
                  <a:gd name="connsiteY4" fmla="*/ 243606 h 2436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90526" h="243606">
                    <a:moveTo>
                      <a:pt x="90527" y="0"/>
                    </a:moveTo>
                    <a:lnTo>
                      <a:pt x="86027" y="113415"/>
                    </a:lnTo>
                    <a:lnTo>
                      <a:pt x="72040" y="140021"/>
                    </a:lnTo>
                    <a:lnTo>
                      <a:pt x="65046" y="243606"/>
                    </a:lnTo>
                    <a:lnTo>
                      <a:pt x="0" y="243606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518" name="Forma livre: Forma 517">
              <a:extLst>
                <a:ext uri="{FF2B5EF4-FFF2-40B4-BE49-F238E27FC236}">
                  <a16:creationId xmlns:a16="http://schemas.microsoft.com/office/drawing/2014/main" id="{811B92CD-0E0F-7EF2-4EF0-BE9848E82ED8}"/>
                </a:ext>
              </a:extLst>
            </p:cNvPr>
            <p:cNvSpPr/>
            <p:nvPr/>
          </p:nvSpPr>
          <p:spPr>
            <a:xfrm>
              <a:off x="5822365" y="3232220"/>
              <a:ext cx="169218" cy="4890"/>
            </a:xfrm>
            <a:custGeom>
              <a:avLst/>
              <a:gdLst>
                <a:gd name="connsiteX0" fmla="*/ 0 w 169218"/>
                <a:gd name="connsiteY0" fmla="*/ 0 h 4890"/>
                <a:gd name="connsiteX1" fmla="*/ 169218 w 169218"/>
                <a:gd name="connsiteY1" fmla="*/ 0 h 48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69218" h="4890">
                  <a:moveTo>
                    <a:pt x="0" y="0"/>
                  </a:moveTo>
                  <a:lnTo>
                    <a:pt x="169218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519" name="Forma livre: Forma 518">
              <a:extLst>
                <a:ext uri="{FF2B5EF4-FFF2-40B4-BE49-F238E27FC236}">
                  <a16:creationId xmlns:a16="http://schemas.microsoft.com/office/drawing/2014/main" id="{F28D0F88-4AD1-B93A-59E5-E5BDF9D83CAD}"/>
                </a:ext>
              </a:extLst>
            </p:cNvPr>
            <p:cNvSpPr/>
            <p:nvPr/>
          </p:nvSpPr>
          <p:spPr>
            <a:xfrm>
              <a:off x="5934068" y="3065593"/>
              <a:ext cx="51156" cy="164425"/>
            </a:xfrm>
            <a:custGeom>
              <a:avLst/>
              <a:gdLst>
                <a:gd name="connsiteX0" fmla="*/ 0 w 51156"/>
                <a:gd name="connsiteY0" fmla="*/ 164425 h 164425"/>
                <a:gd name="connsiteX1" fmla="*/ 0 w 51156"/>
                <a:gd name="connsiteY1" fmla="*/ 26459 h 164425"/>
                <a:gd name="connsiteX2" fmla="*/ 51157 w 51156"/>
                <a:gd name="connsiteY2" fmla="*/ 0 h 1644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51156" h="164425">
                  <a:moveTo>
                    <a:pt x="0" y="164425"/>
                  </a:moveTo>
                  <a:lnTo>
                    <a:pt x="0" y="26459"/>
                  </a:lnTo>
                  <a:lnTo>
                    <a:pt x="51157" y="0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520" name="Gráfico 6">
              <a:extLst>
                <a:ext uri="{FF2B5EF4-FFF2-40B4-BE49-F238E27FC236}">
                  <a16:creationId xmlns:a16="http://schemas.microsoft.com/office/drawing/2014/main" id="{B7E2C419-961B-7D7E-DB3B-67646DEF7C3A}"/>
                </a:ext>
              </a:extLst>
            </p:cNvPr>
            <p:cNvGrpSpPr/>
            <p:nvPr/>
          </p:nvGrpSpPr>
          <p:grpSpPr>
            <a:xfrm>
              <a:off x="5872348" y="3285773"/>
              <a:ext cx="69252" cy="90037"/>
              <a:chOff x="5872348" y="3285773"/>
              <a:chExt cx="69252" cy="90037"/>
            </a:xfrm>
          </p:grpSpPr>
          <p:sp>
            <p:nvSpPr>
              <p:cNvPr id="521" name="Forma livre: Forma 520">
                <a:extLst>
                  <a:ext uri="{FF2B5EF4-FFF2-40B4-BE49-F238E27FC236}">
                    <a16:creationId xmlns:a16="http://schemas.microsoft.com/office/drawing/2014/main" id="{A84BD078-379E-A154-8276-6AAFFBA22AC1}"/>
                  </a:ext>
                </a:extLst>
              </p:cNvPr>
              <p:cNvSpPr/>
              <p:nvPr/>
            </p:nvSpPr>
            <p:spPr>
              <a:xfrm>
                <a:off x="5872348" y="3286164"/>
                <a:ext cx="2885" cy="89646"/>
              </a:xfrm>
              <a:custGeom>
                <a:avLst/>
                <a:gdLst>
                  <a:gd name="connsiteX0" fmla="*/ 2885 w 2885"/>
                  <a:gd name="connsiteY0" fmla="*/ 89647 h 89646"/>
                  <a:gd name="connsiteX1" fmla="*/ 0 w 2885"/>
                  <a:gd name="connsiteY1" fmla="*/ 0 h 896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885" h="89646">
                    <a:moveTo>
                      <a:pt x="2885" y="89647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22" name="Forma livre: Forma 521">
                <a:extLst>
                  <a:ext uri="{FF2B5EF4-FFF2-40B4-BE49-F238E27FC236}">
                    <a16:creationId xmlns:a16="http://schemas.microsoft.com/office/drawing/2014/main" id="{79505C59-2413-9BEE-0CB6-69390498FE08}"/>
                  </a:ext>
                </a:extLst>
              </p:cNvPr>
              <p:cNvSpPr/>
              <p:nvPr/>
            </p:nvSpPr>
            <p:spPr>
              <a:xfrm>
                <a:off x="5938763" y="3286164"/>
                <a:ext cx="2836" cy="89646"/>
              </a:xfrm>
              <a:custGeom>
                <a:avLst/>
                <a:gdLst>
                  <a:gd name="connsiteX0" fmla="*/ 0 w 2836"/>
                  <a:gd name="connsiteY0" fmla="*/ 89647 h 89646"/>
                  <a:gd name="connsiteX1" fmla="*/ 2837 w 2836"/>
                  <a:gd name="connsiteY1" fmla="*/ 0 h 896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836" h="89646">
                    <a:moveTo>
                      <a:pt x="0" y="89647"/>
                    </a:moveTo>
                    <a:lnTo>
                      <a:pt x="2837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23" name="Forma livre: Forma 522">
                <a:extLst>
                  <a:ext uri="{FF2B5EF4-FFF2-40B4-BE49-F238E27FC236}">
                    <a16:creationId xmlns:a16="http://schemas.microsoft.com/office/drawing/2014/main" id="{C738F005-AB25-BF2D-A6A6-5BF0A40945E8}"/>
                  </a:ext>
                </a:extLst>
              </p:cNvPr>
              <p:cNvSpPr/>
              <p:nvPr/>
            </p:nvSpPr>
            <p:spPr>
              <a:xfrm>
                <a:off x="5906974" y="3285773"/>
                <a:ext cx="4890" cy="89940"/>
              </a:xfrm>
              <a:custGeom>
                <a:avLst/>
                <a:gdLst>
                  <a:gd name="connsiteX0" fmla="*/ 0 w 4890"/>
                  <a:gd name="connsiteY0" fmla="*/ 0 h 89940"/>
                  <a:gd name="connsiteX1" fmla="*/ 0 w 4890"/>
                  <a:gd name="connsiteY1" fmla="*/ 89940 h 899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890" h="89940">
                    <a:moveTo>
                      <a:pt x="0" y="0"/>
                    </a:moveTo>
                    <a:lnTo>
                      <a:pt x="0" y="8994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524" name="Forma livre: Forma 523">
              <a:extLst>
                <a:ext uri="{FF2B5EF4-FFF2-40B4-BE49-F238E27FC236}">
                  <a16:creationId xmlns:a16="http://schemas.microsoft.com/office/drawing/2014/main" id="{D316A990-0AB3-124D-DC98-8605EC8E3E02}"/>
                </a:ext>
              </a:extLst>
            </p:cNvPr>
            <p:cNvSpPr/>
            <p:nvPr/>
          </p:nvSpPr>
          <p:spPr>
            <a:xfrm>
              <a:off x="5934557" y="3161745"/>
              <a:ext cx="68469" cy="4890"/>
            </a:xfrm>
            <a:custGeom>
              <a:avLst/>
              <a:gdLst>
                <a:gd name="connsiteX0" fmla="*/ 0 w 68469"/>
                <a:gd name="connsiteY0" fmla="*/ 0 h 4890"/>
                <a:gd name="connsiteX1" fmla="*/ 68470 w 68469"/>
                <a:gd name="connsiteY1" fmla="*/ 0 h 48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8469" h="4890">
                  <a:moveTo>
                    <a:pt x="0" y="0"/>
                  </a:moveTo>
                  <a:lnTo>
                    <a:pt x="6847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525" name="Forma livre: Forma 524">
              <a:extLst>
                <a:ext uri="{FF2B5EF4-FFF2-40B4-BE49-F238E27FC236}">
                  <a16:creationId xmlns:a16="http://schemas.microsoft.com/office/drawing/2014/main" id="{604FA98D-ACB1-0725-7B65-FBD418554410}"/>
                </a:ext>
              </a:extLst>
            </p:cNvPr>
            <p:cNvSpPr/>
            <p:nvPr/>
          </p:nvSpPr>
          <p:spPr>
            <a:xfrm>
              <a:off x="5810627" y="3161745"/>
              <a:ext cx="99819" cy="4890"/>
            </a:xfrm>
            <a:custGeom>
              <a:avLst/>
              <a:gdLst>
                <a:gd name="connsiteX0" fmla="*/ 0 w 99819"/>
                <a:gd name="connsiteY0" fmla="*/ 0 h 4890"/>
                <a:gd name="connsiteX1" fmla="*/ 99819 w 99819"/>
                <a:gd name="connsiteY1" fmla="*/ 0 h 48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9819" h="4890">
                  <a:moveTo>
                    <a:pt x="0" y="0"/>
                  </a:moveTo>
                  <a:lnTo>
                    <a:pt x="99819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526" name="Forma livre: Forma 525">
              <a:extLst>
                <a:ext uri="{FF2B5EF4-FFF2-40B4-BE49-F238E27FC236}">
                  <a16:creationId xmlns:a16="http://schemas.microsoft.com/office/drawing/2014/main" id="{95715906-47FE-F988-8D43-A703F0781AB0}"/>
                </a:ext>
              </a:extLst>
            </p:cNvPr>
            <p:cNvSpPr/>
            <p:nvPr/>
          </p:nvSpPr>
          <p:spPr>
            <a:xfrm>
              <a:off x="5810627" y="3161745"/>
              <a:ext cx="71061" cy="4890"/>
            </a:xfrm>
            <a:custGeom>
              <a:avLst/>
              <a:gdLst>
                <a:gd name="connsiteX0" fmla="*/ 0 w 71061"/>
                <a:gd name="connsiteY0" fmla="*/ 0 h 4890"/>
                <a:gd name="connsiteX1" fmla="*/ 71062 w 71061"/>
                <a:gd name="connsiteY1" fmla="*/ 0 h 48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1061" h="4890">
                  <a:moveTo>
                    <a:pt x="0" y="0"/>
                  </a:moveTo>
                  <a:lnTo>
                    <a:pt x="71062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527" name="Gráfico 6">
            <a:extLst>
              <a:ext uri="{FF2B5EF4-FFF2-40B4-BE49-F238E27FC236}">
                <a16:creationId xmlns:a16="http://schemas.microsoft.com/office/drawing/2014/main" id="{A8C75C51-233E-C941-9C4D-9A288AC0B7A9}"/>
              </a:ext>
            </a:extLst>
          </p:cNvPr>
          <p:cNvGrpSpPr/>
          <p:nvPr/>
        </p:nvGrpSpPr>
        <p:grpSpPr>
          <a:xfrm>
            <a:off x="4458396" y="3106431"/>
            <a:ext cx="280775" cy="258180"/>
            <a:chOff x="4458396" y="3106431"/>
            <a:chExt cx="280775" cy="258180"/>
          </a:xfrm>
        </p:grpSpPr>
        <p:sp>
          <p:nvSpPr>
            <p:cNvPr id="528" name="Forma livre: Forma 527">
              <a:extLst>
                <a:ext uri="{FF2B5EF4-FFF2-40B4-BE49-F238E27FC236}">
                  <a16:creationId xmlns:a16="http://schemas.microsoft.com/office/drawing/2014/main" id="{8BCFE659-21E9-F3B8-A3D9-318B4CD3C476}"/>
                </a:ext>
              </a:extLst>
            </p:cNvPr>
            <p:cNvSpPr/>
            <p:nvPr/>
          </p:nvSpPr>
          <p:spPr>
            <a:xfrm>
              <a:off x="4458396" y="3145116"/>
              <a:ext cx="280775" cy="219494"/>
            </a:xfrm>
            <a:custGeom>
              <a:avLst/>
              <a:gdLst>
                <a:gd name="connsiteX0" fmla="*/ 26654 w 280775"/>
                <a:gd name="connsiteY0" fmla="*/ 0 h 219494"/>
                <a:gd name="connsiteX1" fmla="*/ 0 w 280775"/>
                <a:gd name="connsiteY1" fmla="*/ 203355 h 219494"/>
                <a:gd name="connsiteX2" fmla="*/ 123099 w 280775"/>
                <a:gd name="connsiteY2" fmla="*/ 219495 h 219494"/>
                <a:gd name="connsiteX3" fmla="*/ 140412 w 280775"/>
                <a:gd name="connsiteY3" fmla="*/ 108133 h 219494"/>
                <a:gd name="connsiteX4" fmla="*/ 157725 w 280775"/>
                <a:gd name="connsiteY4" fmla="*/ 219495 h 219494"/>
                <a:gd name="connsiteX5" fmla="*/ 280775 w 280775"/>
                <a:gd name="connsiteY5" fmla="*/ 203355 h 219494"/>
                <a:gd name="connsiteX6" fmla="*/ 254121 w 280775"/>
                <a:gd name="connsiteY6" fmla="*/ 0 h 2194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80775" h="219494">
                  <a:moveTo>
                    <a:pt x="26654" y="0"/>
                  </a:moveTo>
                  <a:lnTo>
                    <a:pt x="0" y="203355"/>
                  </a:lnTo>
                  <a:lnTo>
                    <a:pt x="123099" y="219495"/>
                  </a:lnTo>
                  <a:lnTo>
                    <a:pt x="140412" y="108133"/>
                  </a:lnTo>
                  <a:lnTo>
                    <a:pt x="157725" y="219495"/>
                  </a:lnTo>
                  <a:lnTo>
                    <a:pt x="280775" y="203355"/>
                  </a:lnTo>
                  <a:lnTo>
                    <a:pt x="254121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529" name="Forma livre: Forma 528">
              <a:extLst>
                <a:ext uri="{FF2B5EF4-FFF2-40B4-BE49-F238E27FC236}">
                  <a16:creationId xmlns:a16="http://schemas.microsoft.com/office/drawing/2014/main" id="{72DDD5B6-EAFF-FBD8-A112-83BA2D0FC749}"/>
                </a:ext>
              </a:extLst>
            </p:cNvPr>
            <p:cNvSpPr/>
            <p:nvPr/>
          </p:nvSpPr>
          <p:spPr>
            <a:xfrm>
              <a:off x="4485050" y="3106431"/>
              <a:ext cx="227760" cy="38685"/>
            </a:xfrm>
            <a:custGeom>
              <a:avLst/>
              <a:gdLst>
                <a:gd name="connsiteX0" fmla="*/ 143298 w 227760"/>
                <a:gd name="connsiteY0" fmla="*/ 38685 h 38685"/>
                <a:gd name="connsiteX1" fmla="*/ 227760 w 227760"/>
                <a:gd name="connsiteY1" fmla="*/ 38685 h 38685"/>
                <a:gd name="connsiteX2" fmla="*/ 227760 w 227760"/>
                <a:gd name="connsiteY2" fmla="*/ 0 h 38685"/>
                <a:gd name="connsiteX3" fmla="*/ 0 w 227760"/>
                <a:gd name="connsiteY3" fmla="*/ 0 h 38685"/>
                <a:gd name="connsiteX4" fmla="*/ 0 w 227760"/>
                <a:gd name="connsiteY4" fmla="*/ 38685 h 38685"/>
                <a:gd name="connsiteX5" fmla="*/ 84120 w 227760"/>
                <a:gd name="connsiteY5" fmla="*/ 38685 h 386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27760" h="38685">
                  <a:moveTo>
                    <a:pt x="143298" y="38685"/>
                  </a:moveTo>
                  <a:lnTo>
                    <a:pt x="227760" y="38685"/>
                  </a:lnTo>
                  <a:lnTo>
                    <a:pt x="227760" y="0"/>
                  </a:lnTo>
                  <a:lnTo>
                    <a:pt x="0" y="0"/>
                  </a:lnTo>
                  <a:lnTo>
                    <a:pt x="0" y="38685"/>
                  </a:lnTo>
                  <a:lnTo>
                    <a:pt x="84120" y="38685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530" name="Forma livre: Forma 529">
              <a:extLst>
                <a:ext uri="{FF2B5EF4-FFF2-40B4-BE49-F238E27FC236}">
                  <a16:creationId xmlns:a16="http://schemas.microsoft.com/office/drawing/2014/main" id="{12A1D590-AFA2-6FF6-8ABB-4CAC1413E793}"/>
                </a:ext>
              </a:extLst>
            </p:cNvPr>
            <p:cNvSpPr/>
            <p:nvPr/>
          </p:nvSpPr>
          <p:spPr>
            <a:xfrm>
              <a:off x="4561150" y="3144725"/>
              <a:ext cx="36191" cy="60351"/>
            </a:xfrm>
            <a:custGeom>
              <a:avLst/>
              <a:gdLst>
                <a:gd name="connsiteX0" fmla="*/ 36191 w 36191"/>
                <a:gd name="connsiteY0" fmla="*/ 0 h 60351"/>
                <a:gd name="connsiteX1" fmla="*/ 0 w 36191"/>
                <a:gd name="connsiteY1" fmla="*/ 60351 h 603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6191" h="60351">
                  <a:moveTo>
                    <a:pt x="36191" y="0"/>
                  </a:moveTo>
                  <a:cubicBezTo>
                    <a:pt x="31301" y="26899"/>
                    <a:pt x="22937" y="45532"/>
                    <a:pt x="0" y="60351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531" name="Forma livre: Forma 530">
              <a:extLst>
                <a:ext uri="{FF2B5EF4-FFF2-40B4-BE49-F238E27FC236}">
                  <a16:creationId xmlns:a16="http://schemas.microsoft.com/office/drawing/2014/main" id="{136D3DC5-1695-A7DE-86A7-63390005D205}"/>
                </a:ext>
              </a:extLst>
            </p:cNvPr>
            <p:cNvSpPr/>
            <p:nvPr/>
          </p:nvSpPr>
          <p:spPr>
            <a:xfrm>
              <a:off x="4599786" y="3144725"/>
              <a:ext cx="30175" cy="63774"/>
            </a:xfrm>
            <a:custGeom>
              <a:avLst/>
              <a:gdLst>
                <a:gd name="connsiteX0" fmla="*/ 0 w 30175"/>
                <a:gd name="connsiteY0" fmla="*/ 0 h 63774"/>
                <a:gd name="connsiteX1" fmla="*/ 30176 w 30175"/>
                <a:gd name="connsiteY1" fmla="*/ 63775 h 637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0175" h="63774">
                  <a:moveTo>
                    <a:pt x="0" y="0"/>
                  </a:moveTo>
                  <a:cubicBezTo>
                    <a:pt x="0" y="0"/>
                    <a:pt x="22986" y="36778"/>
                    <a:pt x="30176" y="63775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532" name="Forma livre: Forma 531">
              <a:extLst>
                <a:ext uri="{FF2B5EF4-FFF2-40B4-BE49-F238E27FC236}">
                  <a16:creationId xmlns:a16="http://schemas.microsoft.com/office/drawing/2014/main" id="{A39A3D5F-6A1E-1929-4324-B69A8EF44A5E}"/>
                </a:ext>
              </a:extLst>
            </p:cNvPr>
            <p:cNvSpPr/>
            <p:nvPr/>
          </p:nvSpPr>
          <p:spPr>
            <a:xfrm>
              <a:off x="4593624" y="3133378"/>
              <a:ext cx="10661" cy="10661"/>
            </a:xfrm>
            <a:custGeom>
              <a:avLst/>
              <a:gdLst>
                <a:gd name="connsiteX0" fmla="*/ 10662 w 10661"/>
                <a:gd name="connsiteY0" fmla="*/ 5331 h 10661"/>
                <a:gd name="connsiteX1" fmla="*/ 5331 w 10661"/>
                <a:gd name="connsiteY1" fmla="*/ 10662 h 10661"/>
                <a:gd name="connsiteX2" fmla="*/ 0 w 10661"/>
                <a:gd name="connsiteY2" fmla="*/ 5331 h 10661"/>
                <a:gd name="connsiteX3" fmla="*/ 5331 w 10661"/>
                <a:gd name="connsiteY3" fmla="*/ 0 h 10661"/>
                <a:gd name="connsiteX4" fmla="*/ 10662 w 10661"/>
                <a:gd name="connsiteY4" fmla="*/ 5331 h 106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661" h="10661">
                  <a:moveTo>
                    <a:pt x="10662" y="5331"/>
                  </a:moveTo>
                  <a:cubicBezTo>
                    <a:pt x="10662" y="8265"/>
                    <a:pt x="8265" y="10662"/>
                    <a:pt x="5331" y="10662"/>
                  </a:cubicBezTo>
                  <a:cubicBezTo>
                    <a:pt x="2396" y="10662"/>
                    <a:pt x="0" y="8265"/>
                    <a:pt x="0" y="5331"/>
                  </a:cubicBezTo>
                  <a:cubicBezTo>
                    <a:pt x="0" y="2397"/>
                    <a:pt x="2396" y="0"/>
                    <a:pt x="5331" y="0"/>
                  </a:cubicBezTo>
                  <a:cubicBezTo>
                    <a:pt x="8265" y="0"/>
                    <a:pt x="10662" y="2397"/>
                    <a:pt x="10662" y="5331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533" name="Gráfico 6">
              <a:extLst>
                <a:ext uri="{FF2B5EF4-FFF2-40B4-BE49-F238E27FC236}">
                  <a16:creationId xmlns:a16="http://schemas.microsoft.com/office/drawing/2014/main" id="{9F458D60-A509-A0F2-51DA-65E31E2B1630}"/>
                </a:ext>
              </a:extLst>
            </p:cNvPr>
            <p:cNvGrpSpPr/>
            <p:nvPr/>
          </p:nvGrpSpPr>
          <p:grpSpPr>
            <a:xfrm>
              <a:off x="4492875" y="3145605"/>
              <a:ext cx="212109" cy="206632"/>
              <a:chOff x="4492875" y="3145605"/>
              <a:chExt cx="212109" cy="206632"/>
            </a:xfrm>
          </p:grpSpPr>
          <p:sp>
            <p:nvSpPr>
              <p:cNvPr id="534" name="Forma livre: Forma 533">
                <a:extLst>
                  <a:ext uri="{FF2B5EF4-FFF2-40B4-BE49-F238E27FC236}">
                    <a16:creationId xmlns:a16="http://schemas.microsoft.com/office/drawing/2014/main" id="{A5648454-B1A0-6058-F597-8AC40A4A7904}"/>
                  </a:ext>
                </a:extLst>
              </p:cNvPr>
              <p:cNvSpPr/>
              <p:nvPr/>
            </p:nvSpPr>
            <p:spPr>
              <a:xfrm>
                <a:off x="4492875" y="3145605"/>
                <a:ext cx="28121" cy="206632"/>
              </a:xfrm>
              <a:custGeom>
                <a:avLst/>
                <a:gdLst>
                  <a:gd name="connsiteX0" fmla="*/ 28122 w 28121"/>
                  <a:gd name="connsiteY0" fmla="*/ 0 h 206632"/>
                  <a:gd name="connsiteX1" fmla="*/ 0 w 28121"/>
                  <a:gd name="connsiteY1" fmla="*/ 206632 h 2066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8121" h="206632">
                    <a:moveTo>
                      <a:pt x="28122" y="0"/>
                    </a:moveTo>
                    <a:lnTo>
                      <a:pt x="0" y="206632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35" name="Forma livre: Forma 534">
                <a:extLst>
                  <a:ext uri="{FF2B5EF4-FFF2-40B4-BE49-F238E27FC236}">
                    <a16:creationId xmlns:a16="http://schemas.microsoft.com/office/drawing/2014/main" id="{98C0A1EB-35F9-8CFE-156F-6A3C290E46FE}"/>
                  </a:ext>
                </a:extLst>
              </p:cNvPr>
              <p:cNvSpPr/>
              <p:nvPr/>
            </p:nvSpPr>
            <p:spPr>
              <a:xfrm>
                <a:off x="4676864" y="3145605"/>
                <a:ext cx="28121" cy="206632"/>
              </a:xfrm>
              <a:custGeom>
                <a:avLst/>
                <a:gdLst>
                  <a:gd name="connsiteX0" fmla="*/ 0 w 28121"/>
                  <a:gd name="connsiteY0" fmla="*/ 0 h 206632"/>
                  <a:gd name="connsiteX1" fmla="*/ 28122 w 28121"/>
                  <a:gd name="connsiteY1" fmla="*/ 206632 h 2066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8121" h="206632">
                    <a:moveTo>
                      <a:pt x="0" y="0"/>
                    </a:moveTo>
                    <a:lnTo>
                      <a:pt x="28122" y="206632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537" name="Gráfico 9">
            <a:extLst>
              <a:ext uri="{FF2B5EF4-FFF2-40B4-BE49-F238E27FC236}">
                <a16:creationId xmlns:a16="http://schemas.microsoft.com/office/drawing/2014/main" id="{7226DC54-E17C-A5BA-C57C-381D84511DEF}"/>
              </a:ext>
            </a:extLst>
          </p:cNvPr>
          <p:cNvGrpSpPr/>
          <p:nvPr/>
        </p:nvGrpSpPr>
        <p:grpSpPr>
          <a:xfrm>
            <a:off x="7541363" y="1994504"/>
            <a:ext cx="239407" cy="254552"/>
            <a:chOff x="7541363" y="1994504"/>
            <a:chExt cx="239407" cy="254552"/>
          </a:xfrm>
          <a:noFill/>
        </p:grpSpPr>
        <p:grpSp>
          <p:nvGrpSpPr>
            <p:cNvPr id="538" name="Gráfico 9">
              <a:extLst>
                <a:ext uri="{FF2B5EF4-FFF2-40B4-BE49-F238E27FC236}">
                  <a16:creationId xmlns:a16="http://schemas.microsoft.com/office/drawing/2014/main" id="{F21E9E13-9625-30DB-8206-8702119D0B54}"/>
                </a:ext>
              </a:extLst>
            </p:cNvPr>
            <p:cNvGrpSpPr/>
            <p:nvPr/>
          </p:nvGrpSpPr>
          <p:grpSpPr>
            <a:xfrm>
              <a:off x="7541363" y="1994504"/>
              <a:ext cx="166260" cy="254552"/>
              <a:chOff x="7541363" y="1994504"/>
              <a:chExt cx="166260" cy="254552"/>
            </a:xfrm>
            <a:noFill/>
          </p:grpSpPr>
          <p:grpSp>
            <p:nvGrpSpPr>
              <p:cNvPr id="539" name="Gráfico 9">
                <a:extLst>
                  <a:ext uri="{FF2B5EF4-FFF2-40B4-BE49-F238E27FC236}">
                    <a16:creationId xmlns:a16="http://schemas.microsoft.com/office/drawing/2014/main" id="{0F70B903-5FAD-E70F-9DC4-DA2B6AE52226}"/>
                  </a:ext>
                </a:extLst>
              </p:cNvPr>
              <p:cNvGrpSpPr/>
              <p:nvPr/>
            </p:nvGrpSpPr>
            <p:grpSpPr>
              <a:xfrm>
                <a:off x="7617773" y="1994504"/>
                <a:ext cx="89850" cy="254552"/>
                <a:chOff x="7617773" y="1994504"/>
                <a:chExt cx="89850" cy="254552"/>
              </a:xfrm>
              <a:noFill/>
            </p:grpSpPr>
            <p:sp>
              <p:nvSpPr>
                <p:cNvPr id="540" name="Forma livre: Forma 539">
                  <a:extLst>
                    <a:ext uri="{FF2B5EF4-FFF2-40B4-BE49-F238E27FC236}">
                      <a16:creationId xmlns:a16="http://schemas.microsoft.com/office/drawing/2014/main" id="{C9EE9CD1-4AE6-CAF8-44B5-7D53B2DD9F92}"/>
                    </a:ext>
                  </a:extLst>
                </p:cNvPr>
                <p:cNvSpPr/>
                <p:nvPr/>
              </p:nvSpPr>
              <p:spPr>
                <a:xfrm>
                  <a:off x="7617773" y="1994504"/>
                  <a:ext cx="89850" cy="174636"/>
                </a:xfrm>
                <a:custGeom>
                  <a:avLst/>
                  <a:gdLst>
                    <a:gd name="connsiteX0" fmla="*/ 2971 w 89850"/>
                    <a:gd name="connsiteY0" fmla="*/ 174637 h 174636"/>
                    <a:gd name="connsiteX1" fmla="*/ 0 w 89850"/>
                    <a:gd name="connsiteY1" fmla="*/ 171910 h 174636"/>
                    <a:gd name="connsiteX2" fmla="*/ 0 w 89850"/>
                    <a:gd name="connsiteY2" fmla="*/ 82643 h 174636"/>
                    <a:gd name="connsiteX3" fmla="*/ 89851 w 89850"/>
                    <a:gd name="connsiteY3" fmla="*/ 0 h 174636"/>
                    <a:gd name="connsiteX4" fmla="*/ 89851 w 89850"/>
                    <a:gd name="connsiteY4" fmla="*/ 80549 h 17463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89850" h="174636">
                      <a:moveTo>
                        <a:pt x="2971" y="174637"/>
                      </a:moveTo>
                      <a:lnTo>
                        <a:pt x="0" y="171910"/>
                      </a:lnTo>
                      <a:lnTo>
                        <a:pt x="0" y="82643"/>
                      </a:lnTo>
                      <a:lnTo>
                        <a:pt x="89851" y="0"/>
                      </a:lnTo>
                      <a:lnTo>
                        <a:pt x="89851" y="80549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541" name="Forma livre: Forma 540">
                  <a:extLst>
                    <a:ext uri="{FF2B5EF4-FFF2-40B4-BE49-F238E27FC236}">
                      <a16:creationId xmlns:a16="http://schemas.microsoft.com/office/drawing/2014/main" id="{521D90A7-7990-77D2-2426-9A4DA82FCA36}"/>
                    </a:ext>
                  </a:extLst>
                </p:cNvPr>
                <p:cNvSpPr/>
                <p:nvPr/>
              </p:nvSpPr>
              <p:spPr>
                <a:xfrm>
                  <a:off x="7640954" y="2116691"/>
                  <a:ext cx="66669" cy="132365"/>
                </a:xfrm>
                <a:custGeom>
                  <a:avLst/>
                  <a:gdLst>
                    <a:gd name="connsiteX0" fmla="*/ 66670 w 66669"/>
                    <a:gd name="connsiteY0" fmla="*/ 0 h 132365"/>
                    <a:gd name="connsiteX1" fmla="*/ 66670 w 66669"/>
                    <a:gd name="connsiteY1" fmla="*/ 132366 h 132365"/>
                    <a:gd name="connsiteX2" fmla="*/ 0 w 66669"/>
                    <a:gd name="connsiteY2" fmla="*/ 71053 h 13236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66669" h="132365">
                      <a:moveTo>
                        <a:pt x="66670" y="0"/>
                      </a:moveTo>
                      <a:lnTo>
                        <a:pt x="66670" y="132366"/>
                      </a:lnTo>
                      <a:lnTo>
                        <a:pt x="0" y="71053"/>
                      </a:ln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542" name="Forma livre: Forma 541">
                <a:extLst>
                  <a:ext uri="{FF2B5EF4-FFF2-40B4-BE49-F238E27FC236}">
                    <a16:creationId xmlns:a16="http://schemas.microsoft.com/office/drawing/2014/main" id="{CDBA614D-9BA9-5E6B-3F10-560F2714A8A5}"/>
                  </a:ext>
                </a:extLst>
              </p:cNvPr>
              <p:cNvSpPr/>
              <p:nvPr/>
            </p:nvSpPr>
            <p:spPr>
              <a:xfrm>
                <a:off x="7541363" y="2084987"/>
                <a:ext cx="50111" cy="73633"/>
              </a:xfrm>
              <a:custGeom>
                <a:avLst/>
                <a:gdLst>
                  <a:gd name="connsiteX0" fmla="*/ 50112 w 50111"/>
                  <a:gd name="connsiteY0" fmla="*/ 73634 h 73633"/>
                  <a:gd name="connsiteX1" fmla="*/ 11347 w 50111"/>
                  <a:gd name="connsiteY1" fmla="*/ 73634 h 73633"/>
                  <a:gd name="connsiteX2" fmla="*/ 0 w 50111"/>
                  <a:gd name="connsiteY2" fmla="*/ 62287 h 73633"/>
                  <a:gd name="connsiteX3" fmla="*/ 0 w 50111"/>
                  <a:gd name="connsiteY3" fmla="*/ 11347 h 73633"/>
                  <a:gd name="connsiteX4" fmla="*/ 11347 w 50111"/>
                  <a:gd name="connsiteY4" fmla="*/ 0 h 73633"/>
                  <a:gd name="connsiteX5" fmla="*/ 50112 w 50111"/>
                  <a:gd name="connsiteY5" fmla="*/ 0 h 736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50111" h="73633">
                    <a:moveTo>
                      <a:pt x="50112" y="73634"/>
                    </a:moveTo>
                    <a:lnTo>
                      <a:pt x="11347" y="73634"/>
                    </a:lnTo>
                    <a:cubicBezTo>
                      <a:pt x="5114" y="73634"/>
                      <a:pt x="0" y="68520"/>
                      <a:pt x="0" y="62287"/>
                    </a:cubicBezTo>
                    <a:lnTo>
                      <a:pt x="0" y="11347"/>
                    </a:lnTo>
                    <a:cubicBezTo>
                      <a:pt x="0" y="5113"/>
                      <a:pt x="5114" y="0"/>
                      <a:pt x="11347" y="0"/>
                    </a:cubicBezTo>
                    <a:lnTo>
                      <a:pt x="50112" y="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543" name="Forma livre: Forma 542">
              <a:extLst>
                <a:ext uri="{FF2B5EF4-FFF2-40B4-BE49-F238E27FC236}">
                  <a16:creationId xmlns:a16="http://schemas.microsoft.com/office/drawing/2014/main" id="{3AC97099-AA11-F143-1632-147248DAEEC8}"/>
                </a:ext>
              </a:extLst>
            </p:cNvPr>
            <p:cNvSpPr/>
            <p:nvPr/>
          </p:nvSpPr>
          <p:spPr>
            <a:xfrm>
              <a:off x="7555048" y="1996744"/>
              <a:ext cx="225722" cy="242037"/>
            </a:xfrm>
            <a:custGeom>
              <a:avLst/>
              <a:gdLst>
                <a:gd name="connsiteX0" fmla="*/ 225723 w 225722"/>
                <a:gd name="connsiteY0" fmla="*/ 0 h 242037"/>
                <a:gd name="connsiteX1" fmla="*/ 0 w 225722"/>
                <a:gd name="connsiteY1" fmla="*/ 242037 h 2420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25722" h="242037">
                  <a:moveTo>
                    <a:pt x="225723" y="0"/>
                  </a:moveTo>
                  <a:lnTo>
                    <a:pt x="0" y="242037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544" name="Gráfico 9">
            <a:extLst>
              <a:ext uri="{FF2B5EF4-FFF2-40B4-BE49-F238E27FC236}">
                <a16:creationId xmlns:a16="http://schemas.microsoft.com/office/drawing/2014/main" id="{888947C7-3D1C-8B53-A2F4-60E3F7E88B7F}"/>
              </a:ext>
            </a:extLst>
          </p:cNvPr>
          <p:cNvGrpSpPr/>
          <p:nvPr/>
        </p:nvGrpSpPr>
        <p:grpSpPr>
          <a:xfrm>
            <a:off x="6893707" y="1994504"/>
            <a:ext cx="265510" cy="254552"/>
            <a:chOff x="6893707" y="1994504"/>
            <a:chExt cx="265510" cy="254552"/>
          </a:xfrm>
          <a:noFill/>
        </p:grpSpPr>
        <p:sp>
          <p:nvSpPr>
            <p:cNvPr id="545" name="Forma livre: Forma 544">
              <a:extLst>
                <a:ext uri="{FF2B5EF4-FFF2-40B4-BE49-F238E27FC236}">
                  <a16:creationId xmlns:a16="http://schemas.microsoft.com/office/drawing/2014/main" id="{0B847E9C-4775-EF94-0CAA-549712CFC6CE}"/>
                </a:ext>
              </a:extLst>
            </p:cNvPr>
            <p:cNvSpPr/>
            <p:nvPr/>
          </p:nvSpPr>
          <p:spPr>
            <a:xfrm>
              <a:off x="6970117" y="1994504"/>
              <a:ext cx="89850" cy="254552"/>
            </a:xfrm>
            <a:custGeom>
              <a:avLst/>
              <a:gdLst>
                <a:gd name="connsiteX0" fmla="*/ 0 w 89850"/>
                <a:gd name="connsiteY0" fmla="*/ 82643 h 254552"/>
                <a:gd name="connsiteX1" fmla="*/ 89851 w 89850"/>
                <a:gd name="connsiteY1" fmla="*/ 0 h 254552"/>
                <a:gd name="connsiteX2" fmla="*/ 89851 w 89850"/>
                <a:gd name="connsiteY2" fmla="*/ 254553 h 254552"/>
                <a:gd name="connsiteX3" fmla="*/ 0 w 89850"/>
                <a:gd name="connsiteY3" fmla="*/ 171910 h 254552"/>
                <a:gd name="connsiteX4" fmla="*/ 0 w 89850"/>
                <a:gd name="connsiteY4" fmla="*/ 82643 h 2545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9850" h="254552">
                  <a:moveTo>
                    <a:pt x="0" y="82643"/>
                  </a:moveTo>
                  <a:lnTo>
                    <a:pt x="89851" y="0"/>
                  </a:lnTo>
                  <a:lnTo>
                    <a:pt x="89851" y="254553"/>
                  </a:lnTo>
                  <a:lnTo>
                    <a:pt x="0" y="171910"/>
                  </a:lnTo>
                  <a:lnTo>
                    <a:pt x="0" y="82643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546" name="Forma livre: Forma 545">
              <a:extLst>
                <a:ext uri="{FF2B5EF4-FFF2-40B4-BE49-F238E27FC236}">
                  <a16:creationId xmlns:a16="http://schemas.microsoft.com/office/drawing/2014/main" id="{F282DDFA-303C-280A-ED84-7DE982A3A15F}"/>
                </a:ext>
              </a:extLst>
            </p:cNvPr>
            <p:cNvSpPr/>
            <p:nvPr/>
          </p:nvSpPr>
          <p:spPr>
            <a:xfrm>
              <a:off x="6893707" y="2084987"/>
              <a:ext cx="50111" cy="73633"/>
            </a:xfrm>
            <a:custGeom>
              <a:avLst/>
              <a:gdLst>
                <a:gd name="connsiteX0" fmla="*/ 50112 w 50111"/>
                <a:gd name="connsiteY0" fmla="*/ 73634 h 73633"/>
                <a:gd name="connsiteX1" fmla="*/ 11347 w 50111"/>
                <a:gd name="connsiteY1" fmla="*/ 73634 h 73633"/>
                <a:gd name="connsiteX2" fmla="*/ 0 w 50111"/>
                <a:gd name="connsiteY2" fmla="*/ 62287 h 73633"/>
                <a:gd name="connsiteX3" fmla="*/ 0 w 50111"/>
                <a:gd name="connsiteY3" fmla="*/ 11347 h 73633"/>
                <a:gd name="connsiteX4" fmla="*/ 11347 w 50111"/>
                <a:gd name="connsiteY4" fmla="*/ 0 h 73633"/>
                <a:gd name="connsiteX5" fmla="*/ 50112 w 50111"/>
                <a:gd name="connsiteY5" fmla="*/ 0 h 736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0111" h="73633">
                  <a:moveTo>
                    <a:pt x="50112" y="73634"/>
                  </a:moveTo>
                  <a:lnTo>
                    <a:pt x="11347" y="73634"/>
                  </a:lnTo>
                  <a:cubicBezTo>
                    <a:pt x="5113" y="73634"/>
                    <a:pt x="0" y="68520"/>
                    <a:pt x="0" y="62287"/>
                  </a:cubicBezTo>
                  <a:lnTo>
                    <a:pt x="0" y="11347"/>
                  </a:lnTo>
                  <a:cubicBezTo>
                    <a:pt x="0" y="5113"/>
                    <a:pt x="5113" y="0"/>
                    <a:pt x="11347" y="0"/>
                  </a:cubicBezTo>
                  <a:lnTo>
                    <a:pt x="50112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547" name="Forma livre: Forma 546">
              <a:extLst>
                <a:ext uri="{FF2B5EF4-FFF2-40B4-BE49-F238E27FC236}">
                  <a16:creationId xmlns:a16="http://schemas.microsoft.com/office/drawing/2014/main" id="{E12A0E43-F236-3E99-3A75-5CD6782F809D}"/>
                </a:ext>
              </a:extLst>
            </p:cNvPr>
            <p:cNvSpPr/>
            <p:nvPr/>
          </p:nvSpPr>
          <p:spPr>
            <a:xfrm>
              <a:off x="7130046" y="2042180"/>
              <a:ext cx="29171" cy="159150"/>
            </a:xfrm>
            <a:custGeom>
              <a:avLst/>
              <a:gdLst>
                <a:gd name="connsiteX0" fmla="*/ 0 w 29171"/>
                <a:gd name="connsiteY0" fmla="*/ 0 h 159150"/>
                <a:gd name="connsiteX1" fmla="*/ 29171 w 29171"/>
                <a:gd name="connsiteY1" fmla="*/ 80014 h 159150"/>
                <a:gd name="connsiteX2" fmla="*/ 779 w 29171"/>
                <a:gd name="connsiteY2" fmla="*/ 159150 h 15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9171" h="159150">
                  <a:moveTo>
                    <a:pt x="0" y="0"/>
                  </a:moveTo>
                  <a:cubicBezTo>
                    <a:pt x="18214" y="21623"/>
                    <a:pt x="29171" y="49528"/>
                    <a:pt x="29171" y="80014"/>
                  </a:cubicBezTo>
                  <a:cubicBezTo>
                    <a:pt x="29171" y="110499"/>
                    <a:pt x="18506" y="137625"/>
                    <a:pt x="779" y="159150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548" name="Forma livre: Forma 547">
              <a:extLst>
                <a:ext uri="{FF2B5EF4-FFF2-40B4-BE49-F238E27FC236}">
                  <a16:creationId xmlns:a16="http://schemas.microsoft.com/office/drawing/2014/main" id="{EE5DBDE0-D9D9-0E26-6DE7-B008DA4D091B}"/>
                </a:ext>
              </a:extLst>
            </p:cNvPr>
            <p:cNvSpPr/>
            <p:nvPr/>
          </p:nvSpPr>
          <p:spPr>
            <a:xfrm>
              <a:off x="7103943" y="2069306"/>
              <a:ext cx="17726" cy="104996"/>
            </a:xfrm>
            <a:custGeom>
              <a:avLst/>
              <a:gdLst>
                <a:gd name="connsiteX0" fmla="*/ 0 w 17726"/>
                <a:gd name="connsiteY0" fmla="*/ 0 h 104996"/>
                <a:gd name="connsiteX1" fmla="*/ 17727 w 17726"/>
                <a:gd name="connsiteY1" fmla="*/ 52596 h 104996"/>
                <a:gd name="connsiteX2" fmla="*/ 146 w 17726"/>
                <a:gd name="connsiteY2" fmla="*/ 104996 h 1049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7726" h="104996">
                  <a:moveTo>
                    <a:pt x="0" y="0"/>
                  </a:moveTo>
                  <a:cubicBezTo>
                    <a:pt x="11104" y="14610"/>
                    <a:pt x="17727" y="32824"/>
                    <a:pt x="17727" y="52596"/>
                  </a:cubicBezTo>
                  <a:cubicBezTo>
                    <a:pt x="17727" y="72368"/>
                    <a:pt x="11201" y="90435"/>
                    <a:pt x="146" y="104996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sp>
        <p:nvSpPr>
          <p:cNvPr id="549" name="Forma livre: Forma 548">
            <a:extLst>
              <a:ext uri="{FF2B5EF4-FFF2-40B4-BE49-F238E27FC236}">
                <a16:creationId xmlns:a16="http://schemas.microsoft.com/office/drawing/2014/main" id="{CABCD55D-C10D-AD5E-AFB4-6836FCE054EE}"/>
              </a:ext>
            </a:extLst>
          </p:cNvPr>
          <p:cNvSpPr/>
          <p:nvPr/>
        </p:nvSpPr>
        <p:spPr>
          <a:xfrm>
            <a:off x="6306146" y="1982183"/>
            <a:ext cx="171471" cy="290201"/>
          </a:xfrm>
          <a:custGeom>
            <a:avLst/>
            <a:gdLst>
              <a:gd name="connsiteX0" fmla="*/ 75484 w 171471"/>
              <a:gd name="connsiteY0" fmla="*/ 113616 h 290201"/>
              <a:gd name="connsiteX1" fmla="*/ 171471 w 171471"/>
              <a:gd name="connsiteY1" fmla="*/ 0 h 290201"/>
              <a:gd name="connsiteX2" fmla="*/ 61362 w 171471"/>
              <a:gd name="connsiteY2" fmla="*/ 0 h 290201"/>
              <a:gd name="connsiteX3" fmla="*/ 0 w 171471"/>
              <a:gd name="connsiteY3" fmla="*/ 159832 h 290201"/>
              <a:gd name="connsiteX4" fmla="*/ 48894 w 171471"/>
              <a:gd name="connsiteY4" fmla="*/ 159832 h 290201"/>
              <a:gd name="connsiteX5" fmla="*/ 1217 w 171471"/>
              <a:gd name="connsiteY5" fmla="*/ 290201 h 290201"/>
              <a:gd name="connsiteX6" fmla="*/ 165238 w 171471"/>
              <a:gd name="connsiteY6" fmla="*/ 101782 h 290201"/>
              <a:gd name="connsiteX7" fmla="*/ 118827 w 171471"/>
              <a:gd name="connsiteY7" fmla="*/ 101782 h 2902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71471" h="290201">
                <a:moveTo>
                  <a:pt x="75484" y="113616"/>
                </a:moveTo>
                <a:lnTo>
                  <a:pt x="171471" y="0"/>
                </a:lnTo>
                <a:lnTo>
                  <a:pt x="61362" y="0"/>
                </a:lnTo>
                <a:lnTo>
                  <a:pt x="0" y="159832"/>
                </a:lnTo>
                <a:lnTo>
                  <a:pt x="48894" y="159832"/>
                </a:lnTo>
                <a:lnTo>
                  <a:pt x="1217" y="290201"/>
                </a:lnTo>
                <a:lnTo>
                  <a:pt x="165238" y="101782"/>
                </a:lnTo>
                <a:lnTo>
                  <a:pt x="118827" y="101782"/>
                </a:lnTo>
              </a:path>
            </a:pathLst>
          </a:custGeom>
          <a:noFill/>
          <a:ln w="6350" cap="rnd">
            <a:solidFill>
              <a:schemeClr val="accent2"/>
            </a:solidFill>
            <a:prstDash val="solid"/>
            <a:round/>
          </a:ln>
        </p:spPr>
        <p:txBody>
          <a:bodyPr rtlCol="0" anchor="ctr"/>
          <a:lstStyle/>
          <a:p>
            <a:endParaRPr lang="pt-PT"/>
          </a:p>
        </p:txBody>
      </p:sp>
      <p:grpSp>
        <p:nvGrpSpPr>
          <p:cNvPr id="550" name="Gráfico 9">
            <a:extLst>
              <a:ext uri="{FF2B5EF4-FFF2-40B4-BE49-F238E27FC236}">
                <a16:creationId xmlns:a16="http://schemas.microsoft.com/office/drawing/2014/main" id="{229AA483-6CB9-BA1B-9C69-2664EDD88307}"/>
              </a:ext>
            </a:extLst>
          </p:cNvPr>
          <p:cNvGrpSpPr/>
          <p:nvPr/>
        </p:nvGrpSpPr>
        <p:grpSpPr>
          <a:xfrm>
            <a:off x="7502302" y="1451937"/>
            <a:ext cx="317525" cy="252511"/>
            <a:chOff x="7502302" y="1451937"/>
            <a:chExt cx="317525" cy="252511"/>
          </a:xfrm>
          <a:noFill/>
        </p:grpSpPr>
        <p:sp>
          <p:nvSpPr>
            <p:cNvPr id="551" name="Forma livre: Forma 550">
              <a:extLst>
                <a:ext uri="{FF2B5EF4-FFF2-40B4-BE49-F238E27FC236}">
                  <a16:creationId xmlns:a16="http://schemas.microsoft.com/office/drawing/2014/main" id="{3BB1DFE7-22F0-39CD-DDEE-B6EBF124D2DD}"/>
                </a:ext>
              </a:extLst>
            </p:cNvPr>
            <p:cNvSpPr/>
            <p:nvPr/>
          </p:nvSpPr>
          <p:spPr>
            <a:xfrm>
              <a:off x="7502302" y="1451937"/>
              <a:ext cx="293078" cy="252511"/>
            </a:xfrm>
            <a:custGeom>
              <a:avLst/>
              <a:gdLst>
                <a:gd name="connsiteX0" fmla="*/ 293078 w 293078"/>
                <a:gd name="connsiteY0" fmla="*/ 64823 h 252511"/>
                <a:gd name="connsiteX1" fmla="*/ 272089 w 293078"/>
                <a:gd name="connsiteY1" fmla="*/ 21529 h 252511"/>
                <a:gd name="connsiteX2" fmla="*/ 165144 w 293078"/>
                <a:gd name="connsiteY2" fmla="*/ 22601 h 252511"/>
                <a:gd name="connsiteX3" fmla="*/ 146736 w 293078"/>
                <a:gd name="connsiteY3" fmla="*/ 40863 h 252511"/>
                <a:gd name="connsiteX4" fmla="*/ 128474 w 293078"/>
                <a:gd name="connsiteY4" fmla="*/ 22601 h 252511"/>
                <a:gd name="connsiteX5" fmla="*/ 21529 w 293078"/>
                <a:gd name="connsiteY5" fmla="*/ 21529 h 252511"/>
                <a:gd name="connsiteX6" fmla="*/ 22600 w 293078"/>
                <a:gd name="connsiteY6" fmla="*/ 128474 h 252511"/>
                <a:gd name="connsiteX7" fmla="*/ 146833 w 293078"/>
                <a:gd name="connsiteY7" fmla="*/ 252511 h 252511"/>
                <a:gd name="connsiteX8" fmla="*/ 196409 w 293078"/>
                <a:gd name="connsiteY8" fmla="*/ 203033 h 2525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93078" h="252511">
                  <a:moveTo>
                    <a:pt x="293078" y="64823"/>
                  </a:moveTo>
                  <a:cubicBezTo>
                    <a:pt x="291130" y="48898"/>
                    <a:pt x="284166" y="33607"/>
                    <a:pt x="272089" y="21529"/>
                  </a:cubicBezTo>
                  <a:cubicBezTo>
                    <a:pt x="242966" y="-7593"/>
                    <a:pt x="194851" y="-7106"/>
                    <a:pt x="165144" y="22601"/>
                  </a:cubicBezTo>
                  <a:lnTo>
                    <a:pt x="146736" y="40863"/>
                  </a:lnTo>
                  <a:lnTo>
                    <a:pt x="128474" y="22601"/>
                  </a:lnTo>
                  <a:cubicBezTo>
                    <a:pt x="98767" y="-7106"/>
                    <a:pt x="50652" y="-7593"/>
                    <a:pt x="21529" y="21529"/>
                  </a:cubicBezTo>
                  <a:cubicBezTo>
                    <a:pt x="-7593" y="50651"/>
                    <a:pt x="-7106" y="98767"/>
                    <a:pt x="22600" y="128474"/>
                  </a:cubicBezTo>
                  <a:lnTo>
                    <a:pt x="146833" y="252511"/>
                  </a:lnTo>
                  <a:lnTo>
                    <a:pt x="196409" y="203033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552" name="Gráfico 9">
              <a:extLst>
                <a:ext uri="{FF2B5EF4-FFF2-40B4-BE49-F238E27FC236}">
                  <a16:creationId xmlns:a16="http://schemas.microsoft.com/office/drawing/2014/main" id="{3D98772F-5ECA-1459-F08B-74F279224000}"/>
                </a:ext>
              </a:extLst>
            </p:cNvPr>
            <p:cNvGrpSpPr/>
            <p:nvPr/>
          </p:nvGrpSpPr>
          <p:grpSpPr>
            <a:xfrm>
              <a:off x="7696033" y="1532441"/>
              <a:ext cx="123794" cy="123843"/>
              <a:chOff x="7696033" y="1532441"/>
              <a:chExt cx="123794" cy="123843"/>
            </a:xfrm>
            <a:noFill/>
          </p:grpSpPr>
          <p:sp>
            <p:nvSpPr>
              <p:cNvPr id="553" name="Forma livre: Forma 552">
                <a:extLst>
                  <a:ext uri="{FF2B5EF4-FFF2-40B4-BE49-F238E27FC236}">
                    <a16:creationId xmlns:a16="http://schemas.microsoft.com/office/drawing/2014/main" id="{A222E8F2-1EEC-0CEA-3F1F-8380EF3222F4}"/>
                  </a:ext>
                </a:extLst>
              </p:cNvPr>
              <p:cNvSpPr/>
              <p:nvPr/>
            </p:nvSpPr>
            <p:spPr>
              <a:xfrm>
                <a:off x="7696033" y="1532441"/>
                <a:ext cx="123794" cy="123843"/>
              </a:xfrm>
              <a:custGeom>
                <a:avLst/>
                <a:gdLst>
                  <a:gd name="connsiteX0" fmla="*/ 123794 w 123794"/>
                  <a:gd name="connsiteY0" fmla="*/ 61897 h 123843"/>
                  <a:gd name="connsiteX1" fmla="*/ 61897 w 123794"/>
                  <a:gd name="connsiteY1" fmla="*/ 123843 h 123843"/>
                  <a:gd name="connsiteX2" fmla="*/ 0 w 123794"/>
                  <a:gd name="connsiteY2" fmla="*/ 61897 h 123843"/>
                  <a:gd name="connsiteX3" fmla="*/ 61897 w 123794"/>
                  <a:gd name="connsiteY3" fmla="*/ 0 h 123843"/>
                  <a:gd name="connsiteX4" fmla="*/ 123794 w 123794"/>
                  <a:gd name="connsiteY4" fmla="*/ 61897 h 1238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3794" h="123843">
                    <a:moveTo>
                      <a:pt x="123794" y="61897"/>
                    </a:moveTo>
                    <a:cubicBezTo>
                      <a:pt x="123794" y="96084"/>
                      <a:pt x="96084" y="123843"/>
                      <a:pt x="61897" y="123843"/>
                    </a:cubicBezTo>
                    <a:cubicBezTo>
                      <a:pt x="27710" y="123843"/>
                      <a:pt x="0" y="96133"/>
                      <a:pt x="0" y="61897"/>
                    </a:cubicBezTo>
                    <a:cubicBezTo>
                      <a:pt x="0" y="27661"/>
                      <a:pt x="27710" y="0"/>
                      <a:pt x="61897" y="0"/>
                    </a:cubicBezTo>
                    <a:cubicBezTo>
                      <a:pt x="96084" y="0"/>
                      <a:pt x="123794" y="27710"/>
                      <a:pt x="123794" y="61897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54" name="Forma livre: Forma 553">
                <a:extLst>
                  <a:ext uri="{FF2B5EF4-FFF2-40B4-BE49-F238E27FC236}">
                    <a16:creationId xmlns:a16="http://schemas.microsoft.com/office/drawing/2014/main" id="{D94DDCE9-7594-AFD4-5B4F-6FCD436EFC65}"/>
                  </a:ext>
                </a:extLst>
              </p:cNvPr>
              <p:cNvSpPr/>
              <p:nvPr/>
            </p:nvSpPr>
            <p:spPr>
              <a:xfrm>
                <a:off x="7728711" y="1594339"/>
                <a:ext cx="58342" cy="4869"/>
              </a:xfrm>
              <a:custGeom>
                <a:avLst/>
                <a:gdLst>
                  <a:gd name="connsiteX0" fmla="*/ 58342 w 58342"/>
                  <a:gd name="connsiteY0" fmla="*/ 0 h 4869"/>
                  <a:gd name="connsiteX1" fmla="*/ 0 w 58342"/>
                  <a:gd name="connsiteY1" fmla="*/ 0 h 48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8342" h="4869">
                    <a:moveTo>
                      <a:pt x="58342" y="0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555" name="Gráfico 9">
            <a:extLst>
              <a:ext uri="{FF2B5EF4-FFF2-40B4-BE49-F238E27FC236}">
                <a16:creationId xmlns:a16="http://schemas.microsoft.com/office/drawing/2014/main" id="{B2547AAE-F2F4-8102-1D10-3F3E408D10DF}"/>
              </a:ext>
            </a:extLst>
          </p:cNvPr>
          <p:cNvGrpSpPr/>
          <p:nvPr/>
        </p:nvGrpSpPr>
        <p:grpSpPr>
          <a:xfrm>
            <a:off x="6867698" y="1451937"/>
            <a:ext cx="317525" cy="252511"/>
            <a:chOff x="6867698" y="1451937"/>
            <a:chExt cx="317525" cy="252511"/>
          </a:xfrm>
          <a:noFill/>
        </p:grpSpPr>
        <p:sp>
          <p:nvSpPr>
            <p:cNvPr id="556" name="Forma livre: Forma 555">
              <a:extLst>
                <a:ext uri="{FF2B5EF4-FFF2-40B4-BE49-F238E27FC236}">
                  <a16:creationId xmlns:a16="http://schemas.microsoft.com/office/drawing/2014/main" id="{5C70A200-C00A-C746-2226-C8FC3C2401B4}"/>
                </a:ext>
              </a:extLst>
            </p:cNvPr>
            <p:cNvSpPr/>
            <p:nvPr/>
          </p:nvSpPr>
          <p:spPr>
            <a:xfrm>
              <a:off x="6867698" y="1451937"/>
              <a:ext cx="293078" cy="252511"/>
            </a:xfrm>
            <a:custGeom>
              <a:avLst/>
              <a:gdLst>
                <a:gd name="connsiteX0" fmla="*/ 293078 w 293078"/>
                <a:gd name="connsiteY0" fmla="*/ 64823 h 252511"/>
                <a:gd name="connsiteX1" fmla="*/ 272089 w 293078"/>
                <a:gd name="connsiteY1" fmla="*/ 21529 h 252511"/>
                <a:gd name="connsiteX2" fmla="*/ 165144 w 293078"/>
                <a:gd name="connsiteY2" fmla="*/ 22601 h 252511"/>
                <a:gd name="connsiteX3" fmla="*/ 146736 w 293078"/>
                <a:gd name="connsiteY3" fmla="*/ 40863 h 252511"/>
                <a:gd name="connsiteX4" fmla="*/ 128474 w 293078"/>
                <a:gd name="connsiteY4" fmla="*/ 22601 h 252511"/>
                <a:gd name="connsiteX5" fmla="*/ 21529 w 293078"/>
                <a:gd name="connsiteY5" fmla="*/ 21529 h 252511"/>
                <a:gd name="connsiteX6" fmla="*/ 22600 w 293078"/>
                <a:gd name="connsiteY6" fmla="*/ 128474 h 252511"/>
                <a:gd name="connsiteX7" fmla="*/ 146833 w 293078"/>
                <a:gd name="connsiteY7" fmla="*/ 252511 h 252511"/>
                <a:gd name="connsiteX8" fmla="*/ 196409 w 293078"/>
                <a:gd name="connsiteY8" fmla="*/ 203033 h 2525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93078" h="252511">
                  <a:moveTo>
                    <a:pt x="293078" y="64823"/>
                  </a:moveTo>
                  <a:cubicBezTo>
                    <a:pt x="291130" y="48898"/>
                    <a:pt x="284166" y="33607"/>
                    <a:pt x="272089" y="21529"/>
                  </a:cubicBezTo>
                  <a:cubicBezTo>
                    <a:pt x="242966" y="-7593"/>
                    <a:pt x="194851" y="-7106"/>
                    <a:pt x="165144" y="22601"/>
                  </a:cubicBezTo>
                  <a:lnTo>
                    <a:pt x="146736" y="40863"/>
                  </a:lnTo>
                  <a:lnTo>
                    <a:pt x="128474" y="22601"/>
                  </a:lnTo>
                  <a:cubicBezTo>
                    <a:pt x="98767" y="-7106"/>
                    <a:pt x="50652" y="-7593"/>
                    <a:pt x="21529" y="21529"/>
                  </a:cubicBezTo>
                  <a:cubicBezTo>
                    <a:pt x="-7593" y="50651"/>
                    <a:pt x="-7106" y="98767"/>
                    <a:pt x="22600" y="128474"/>
                  </a:cubicBezTo>
                  <a:lnTo>
                    <a:pt x="146833" y="252511"/>
                  </a:lnTo>
                  <a:lnTo>
                    <a:pt x="196409" y="203033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557" name="Gráfico 9">
              <a:extLst>
                <a:ext uri="{FF2B5EF4-FFF2-40B4-BE49-F238E27FC236}">
                  <a16:creationId xmlns:a16="http://schemas.microsoft.com/office/drawing/2014/main" id="{114E2EA3-AB55-5EAA-0758-68487C28C2EE}"/>
                </a:ext>
              </a:extLst>
            </p:cNvPr>
            <p:cNvGrpSpPr/>
            <p:nvPr/>
          </p:nvGrpSpPr>
          <p:grpSpPr>
            <a:xfrm>
              <a:off x="7061380" y="1532441"/>
              <a:ext cx="123843" cy="123843"/>
              <a:chOff x="7061380" y="1532441"/>
              <a:chExt cx="123843" cy="123843"/>
            </a:xfrm>
            <a:noFill/>
          </p:grpSpPr>
          <p:sp>
            <p:nvSpPr>
              <p:cNvPr id="558" name="Forma livre: Forma 557">
                <a:extLst>
                  <a:ext uri="{FF2B5EF4-FFF2-40B4-BE49-F238E27FC236}">
                    <a16:creationId xmlns:a16="http://schemas.microsoft.com/office/drawing/2014/main" id="{819B4E41-C006-E192-5E21-FC7F1B3DE964}"/>
                  </a:ext>
                </a:extLst>
              </p:cNvPr>
              <p:cNvSpPr/>
              <p:nvPr/>
            </p:nvSpPr>
            <p:spPr>
              <a:xfrm>
                <a:off x="7061380" y="1532441"/>
                <a:ext cx="123843" cy="123843"/>
              </a:xfrm>
              <a:custGeom>
                <a:avLst/>
                <a:gdLst>
                  <a:gd name="connsiteX0" fmla="*/ 123843 w 123843"/>
                  <a:gd name="connsiteY0" fmla="*/ 61897 h 123843"/>
                  <a:gd name="connsiteX1" fmla="*/ 61897 w 123843"/>
                  <a:gd name="connsiteY1" fmla="*/ 123843 h 123843"/>
                  <a:gd name="connsiteX2" fmla="*/ 0 w 123843"/>
                  <a:gd name="connsiteY2" fmla="*/ 61897 h 123843"/>
                  <a:gd name="connsiteX3" fmla="*/ 61897 w 123843"/>
                  <a:gd name="connsiteY3" fmla="*/ 0 h 123843"/>
                  <a:gd name="connsiteX4" fmla="*/ 123843 w 123843"/>
                  <a:gd name="connsiteY4" fmla="*/ 61897 h 1238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3843" h="123843">
                    <a:moveTo>
                      <a:pt x="123843" y="61897"/>
                    </a:moveTo>
                    <a:cubicBezTo>
                      <a:pt x="123843" y="96084"/>
                      <a:pt x="96133" y="123843"/>
                      <a:pt x="61897" y="123843"/>
                    </a:cubicBezTo>
                    <a:cubicBezTo>
                      <a:pt x="27661" y="123843"/>
                      <a:pt x="0" y="96133"/>
                      <a:pt x="0" y="61897"/>
                    </a:cubicBezTo>
                    <a:cubicBezTo>
                      <a:pt x="0" y="27661"/>
                      <a:pt x="27710" y="0"/>
                      <a:pt x="61897" y="0"/>
                    </a:cubicBezTo>
                    <a:cubicBezTo>
                      <a:pt x="96084" y="0"/>
                      <a:pt x="123843" y="27710"/>
                      <a:pt x="123843" y="61897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559" name="Gráfico 9">
                <a:extLst>
                  <a:ext uri="{FF2B5EF4-FFF2-40B4-BE49-F238E27FC236}">
                    <a16:creationId xmlns:a16="http://schemas.microsoft.com/office/drawing/2014/main" id="{92E65219-0515-F381-80CD-6DCE2659EAF2}"/>
                  </a:ext>
                </a:extLst>
              </p:cNvPr>
              <p:cNvGrpSpPr/>
              <p:nvPr/>
            </p:nvGrpSpPr>
            <p:grpSpPr>
              <a:xfrm>
                <a:off x="7094155" y="1565168"/>
                <a:ext cx="58293" cy="58342"/>
                <a:chOff x="7094155" y="1565168"/>
                <a:chExt cx="58293" cy="58342"/>
              </a:xfrm>
            </p:grpSpPr>
            <p:sp>
              <p:nvSpPr>
                <p:cNvPr id="560" name="Forma livre: Forma 559">
                  <a:extLst>
                    <a:ext uri="{FF2B5EF4-FFF2-40B4-BE49-F238E27FC236}">
                      <a16:creationId xmlns:a16="http://schemas.microsoft.com/office/drawing/2014/main" id="{8E3C1AE8-FEC9-FB7B-CB3C-043BE3BF2831}"/>
                    </a:ext>
                  </a:extLst>
                </p:cNvPr>
                <p:cNvSpPr/>
                <p:nvPr/>
              </p:nvSpPr>
              <p:spPr>
                <a:xfrm>
                  <a:off x="7094155" y="1594339"/>
                  <a:ext cx="58293" cy="4869"/>
                </a:xfrm>
                <a:custGeom>
                  <a:avLst/>
                  <a:gdLst>
                    <a:gd name="connsiteX0" fmla="*/ 58293 w 58293"/>
                    <a:gd name="connsiteY0" fmla="*/ 0 h 4869"/>
                    <a:gd name="connsiteX1" fmla="*/ 0 w 58293"/>
                    <a:gd name="connsiteY1" fmla="*/ 0 h 486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58293" h="4869">
                      <a:moveTo>
                        <a:pt x="58293" y="0"/>
                      </a:moveTo>
                      <a:lnTo>
                        <a:pt x="0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561" name="Forma livre: Forma 560">
                  <a:extLst>
                    <a:ext uri="{FF2B5EF4-FFF2-40B4-BE49-F238E27FC236}">
                      <a16:creationId xmlns:a16="http://schemas.microsoft.com/office/drawing/2014/main" id="{5ACBB728-3106-A15E-0711-CE9954821B22}"/>
                    </a:ext>
                  </a:extLst>
                </p:cNvPr>
                <p:cNvSpPr/>
                <p:nvPr/>
              </p:nvSpPr>
              <p:spPr>
                <a:xfrm>
                  <a:off x="7123326" y="1565168"/>
                  <a:ext cx="4869" cy="58342"/>
                </a:xfrm>
                <a:custGeom>
                  <a:avLst/>
                  <a:gdLst>
                    <a:gd name="connsiteX0" fmla="*/ 0 w 4869"/>
                    <a:gd name="connsiteY0" fmla="*/ 58342 h 58342"/>
                    <a:gd name="connsiteX1" fmla="*/ 0 w 4869"/>
                    <a:gd name="connsiteY1" fmla="*/ 0 h 5834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869" h="58342">
                      <a:moveTo>
                        <a:pt x="0" y="58342"/>
                      </a:moveTo>
                      <a:lnTo>
                        <a:pt x="0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</p:grpSp>
      <p:sp>
        <p:nvSpPr>
          <p:cNvPr id="562" name="Forma livre: Forma 561">
            <a:extLst>
              <a:ext uri="{FF2B5EF4-FFF2-40B4-BE49-F238E27FC236}">
                <a16:creationId xmlns:a16="http://schemas.microsoft.com/office/drawing/2014/main" id="{F22A0222-3218-F983-3BFA-0278FEC6CB94}"/>
              </a:ext>
            </a:extLst>
          </p:cNvPr>
          <p:cNvSpPr/>
          <p:nvPr/>
        </p:nvSpPr>
        <p:spPr>
          <a:xfrm>
            <a:off x="6245121" y="1451986"/>
            <a:ext cx="293617" cy="252511"/>
          </a:xfrm>
          <a:custGeom>
            <a:avLst/>
            <a:gdLst>
              <a:gd name="connsiteX0" fmla="*/ 271017 w 293617"/>
              <a:gd name="connsiteY0" fmla="*/ 128474 h 252511"/>
              <a:gd name="connsiteX1" fmla="*/ 272089 w 293617"/>
              <a:gd name="connsiteY1" fmla="*/ 21529 h 252511"/>
              <a:gd name="connsiteX2" fmla="*/ 165144 w 293617"/>
              <a:gd name="connsiteY2" fmla="*/ 22600 h 252511"/>
              <a:gd name="connsiteX3" fmla="*/ 146736 w 293617"/>
              <a:gd name="connsiteY3" fmla="*/ 40863 h 252511"/>
              <a:gd name="connsiteX4" fmla="*/ 128474 w 293617"/>
              <a:gd name="connsiteY4" fmla="*/ 22600 h 252511"/>
              <a:gd name="connsiteX5" fmla="*/ 21529 w 293617"/>
              <a:gd name="connsiteY5" fmla="*/ 21529 h 252511"/>
              <a:gd name="connsiteX6" fmla="*/ 22601 w 293617"/>
              <a:gd name="connsiteY6" fmla="*/ 128474 h 252511"/>
              <a:gd name="connsiteX7" fmla="*/ 146833 w 293617"/>
              <a:gd name="connsiteY7" fmla="*/ 252511 h 252511"/>
              <a:gd name="connsiteX8" fmla="*/ 271115 w 293617"/>
              <a:gd name="connsiteY8" fmla="*/ 128474 h 25251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93617" h="252511">
                <a:moveTo>
                  <a:pt x="271017" y="128474"/>
                </a:moveTo>
                <a:cubicBezTo>
                  <a:pt x="300724" y="98767"/>
                  <a:pt x="301211" y="50652"/>
                  <a:pt x="272089" y="21529"/>
                </a:cubicBezTo>
                <a:cubicBezTo>
                  <a:pt x="242966" y="-7593"/>
                  <a:pt x="194851" y="-7106"/>
                  <a:pt x="165144" y="22600"/>
                </a:cubicBezTo>
                <a:lnTo>
                  <a:pt x="146736" y="40863"/>
                </a:lnTo>
                <a:lnTo>
                  <a:pt x="128474" y="22600"/>
                </a:lnTo>
                <a:cubicBezTo>
                  <a:pt x="98767" y="-7106"/>
                  <a:pt x="50651" y="-7593"/>
                  <a:pt x="21529" y="21529"/>
                </a:cubicBezTo>
                <a:cubicBezTo>
                  <a:pt x="-7593" y="50652"/>
                  <a:pt x="-7106" y="98767"/>
                  <a:pt x="22601" y="128474"/>
                </a:cubicBezTo>
                <a:lnTo>
                  <a:pt x="146833" y="252511"/>
                </a:lnTo>
                <a:lnTo>
                  <a:pt x="271115" y="128474"/>
                </a:lnTo>
                <a:close/>
              </a:path>
            </a:pathLst>
          </a:custGeom>
          <a:noFill/>
          <a:ln w="6350" cap="rnd">
            <a:solidFill>
              <a:schemeClr val="accent2"/>
            </a:solidFill>
            <a:prstDash val="solid"/>
            <a:round/>
          </a:ln>
        </p:spPr>
        <p:txBody>
          <a:bodyPr rtlCol="0" anchor="ctr"/>
          <a:lstStyle/>
          <a:p>
            <a:endParaRPr lang="pt-PT"/>
          </a:p>
        </p:txBody>
      </p:sp>
      <p:grpSp>
        <p:nvGrpSpPr>
          <p:cNvPr id="563" name="Gráfico 9">
            <a:extLst>
              <a:ext uri="{FF2B5EF4-FFF2-40B4-BE49-F238E27FC236}">
                <a16:creationId xmlns:a16="http://schemas.microsoft.com/office/drawing/2014/main" id="{325CA627-32E3-DC06-A6A1-F79E1070F63A}"/>
              </a:ext>
            </a:extLst>
          </p:cNvPr>
          <p:cNvGrpSpPr/>
          <p:nvPr/>
        </p:nvGrpSpPr>
        <p:grpSpPr>
          <a:xfrm>
            <a:off x="7535008" y="3085820"/>
            <a:ext cx="259106" cy="258978"/>
            <a:chOff x="7535008" y="3085820"/>
            <a:chExt cx="259106" cy="258978"/>
          </a:xfrm>
          <a:noFill/>
        </p:grpSpPr>
        <p:sp>
          <p:nvSpPr>
            <p:cNvPr id="564" name="Forma livre: Forma 563">
              <a:extLst>
                <a:ext uri="{FF2B5EF4-FFF2-40B4-BE49-F238E27FC236}">
                  <a16:creationId xmlns:a16="http://schemas.microsoft.com/office/drawing/2014/main" id="{B7F5E448-429D-3EE9-599D-96999081F972}"/>
                </a:ext>
              </a:extLst>
            </p:cNvPr>
            <p:cNvSpPr/>
            <p:nvPr/>
          </p:nvSpPr>
          <p:spPr>
            <a:xfrm>
              <a:off x="7535008" y="3085820"/>
              <a:ext cx="227074" cy="227092"/>
            </a:xfrm>
            <a:custGeom>
              <a:avLst/>
              <a:gdLst>
                <a:gd name="connsiteX0" fmla="*/ 193800 w 227074"/>
                <a:gd name="connsiteY0" fmla="*/ 33207 h 227092"/>
                <a:gd name="connsiteX1" fmla="*/ 193800 w 227074"/>
                <a:gd name="connsiteY1" fmla="*/ 193818 h 227092"/>
                <a:gd name="connsiteX2" fmla="*/ 33237 w 227074"/>
                <a:gd name="connsiteY2" fmla="*/ 193818 h 227092"/>
                <a:gd name="connsiteX3" fmla="*/ 33237 w 227074"/>
                <a:gd name="connsiteY3" fmla="*/ 33256 h 227092"/>
                <a:gd name="connsiteX4" fmla="*/ 193800 w 227074"/>
                <a:gd name="connsiteY4" fmla="*/ 33256 h 2270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27074" h="227092">
                  <a:moveTo>
                    <a:pt x="193800" y="33207"/>
                  </a:moveTo>
                  <a:cubicBezTo>
                    <a:pt x="238166" y="77572"/>
                    <a:pt x="238166" y="149453"/>
                    <a:pt x="193800" y="193818"/>
                  </a:cubicBezTo>
                  <a:cubicBezTo>
                    <a:pt x="149435" y="238184"/>
                    <a:pt x="77554" y="238184"/>
                    <a:pt x="33237" y="193818"/>
                  </a:cubicBezTo>
                  <a:cubicBezTo>
                    <a:pt x="-11079" y="149502"/>
                    <a:pt x="-11079" y="77572"/>
                    <a:pt x="33237" y="33256"/>
                  </a:cubicBezTo>
                  <a:cubicBezTo>
                    <a:pt x="77603" y="-11110"/>
                    <a:pt x="149484" y="-11061"/>
                    <a:pt x="193800" y="33256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565" name="Forma livre: Forma 564">
              <a:extLst>
                <a:ext uri="{FF2B5EF4-FFF2-40B4-BE49-F238E27FC236}">
                  <a16:creationId xmlns:a16="http://schemas.microsoft.com/office/drawing/2014/main" id="{AA013388-A4FA-108E-7C87-747F8E308339}"/>
                </a:ext>
              </a:extLst>
            </p:cNvPr>
            <p:cNvSpPr/>
            <p:nvPr/>
          </p:nvSpPr>
          <p:spPr>
            <a:xfrm>
              <a:off x="7594982" y="3199332"/>
              <a:ext cx="107041" cy="4869"/>
            </a:xfrm>
            <a:custGeom>
              <a:avLst/>
              <a:gdLst>
                <a:gd name="connsiteX0" fmla="*/ 107042 w 107041"/>
                <a:gd name="connsiteY0" fmla="*/ 0 h 4869"/>
                <a:gd name="connsiteX1" fmla="*/ 0 w 107041"/>
                <a:gd name="connsiteY1" fmla="*/ 0 h 48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7041" h="4869">
                  <a:moveTo>
                    <a:pt x="107042" y="0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566" name="Forma livre: Forma 565">
              <a:extLst>
                <a:ext uri="{FF2B5EF4-FFF2-40B4-BE49-F238E27FC236}">
                  <a16:creationId xmlns:a16="http://schemas.microsoft.com/office/drawing/2014/main" id="{655C4695-BFE7-FA52-DF60-DA155AD11020}"/>
                </a:ext>
              </a:extLst>
            </p:cNvPr>
            <p:cNvSpPr/>
            <p:nvPr/>
          </p:nvSpPr>
          <p:spPr>
            <a:xfrm>
              <a:off x="7729198" y="3279881"/>
              <a:ext cx="64916" cy="64916"/>
            </a:xfrm>
            <a:custGeom>
              <a:avLst/>
              <a:gdLst>
                <a:gd name="connsiteX0" fmla="*/ 0 w 64916"/>
                <a:gd name="connsiteY0" fmla="*/ 0 h 64916"/>
                <a:gd name="connsiteX1" fmla="*/ 64917 w 64916"/>
                <a:gd name="connsiteY1" fmla="*/ 64917 h 649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4916" h="64916">
                  <a:moveTo>
                    <a:pt x="0" y="0"/>
                  </a:moveTo>
                  <a:lnTo>
                    <a:pt x="64917" y="64917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567" name="Gráfico 9">
            <a:extLst>
              <a:ext uri="{FF2B5EF4-FFF2-40B4-BE49-F238E27FC236}">
                <a16:creationId xmlns:a16="http://schemas.microsoft.com/office/drawing/2014/main" id="{F2F8F92D-FF5E-2C6C-C9C1-6BC22BC3CE59}"/>
              </a:ext>
            </a:extLst>
          </p:cNvPr>
          <p:cNvGrpSpPr/>
          <p:nvPr/>
        </p:nvGrpSpPr>
        <p:grpSpPr>
          <a:xfrm>
            <a:off x="6258079" y="3091560"/>
            <a:ext cx="267507" cy="267604"/>
            <a:chOff x="6258079" y="3091560"/>
            <a:chExt cx="267507" cy="267604"/>
          </a:xfrm>
          <a:noFill/>
        </p:grpSpPr>
        <p:sp>
          <p:nvSpPr>
            <p:cNvPr id="568" name="Forma livre: Forma 567">
              <a:extLst>
                <a:ext uri="{FF2B5EF4-FFF2-40B4-BE49-F238E27FC236}">
                  <a16:creationId xmlns:a16="http://schemas.microsoft.com/office/drawing/2014/main" id="{6E8DB976-2CE9-B847-1D03-3724056B7D85}"/>
                </a:ext>
              </a:extLst>
            </p:cNvPr>
            <p:cNvSpPr/>
            <p:nvPr/>
          </p:nvSpPr>
          <p:spPr>
            <a:xfrm>
              <a:off x="6258079" y="3091560"/>
              <a:ext cx="267507" cy="267604"/>
            </a:xfrm>
            <a:custGeom>
              <a:avLst/>
              <a:gdLst>
                <a:gd name="connsiteX0" fmla="*/ 46898 w 267507"/>
                <a:gd name="connsiteY0" fmla="*/ 185400 h 267604"/>
                <a:gd name="connsiteX1" fmla="*/ 25713 w 267507"/>
                <a:gd name="connsiteY1" fmla="*/ 214911 h 267604"/>
                <a:gd name="connsiteX2" fmla="*/ 52693 w 267507"/>
                <a:gd name="connsiteY2" fmla="*/ 241891 h 267604"/>
                <a:gd name="connsiteX3" fmla="*/ 82205 w 267507"/>
                <a:gd name="connsiteY3" fmla="*/ 220707 h 267604"/>
                <a:gd name="connsiteX4" fmla="*/ 108600 w 267507"/>
                <a:gd name="connsiteY4" fmla="*/ 231664 h 267604"/>
                <a:gd name="connsiteX5" fmla="*/ 114688 w 267507"/>
                <a:gd name="connsiteY5" fmla="*/ 267605 h 267604"/>
                <a:gd name="connsiteX6" fmla="*/ 152868 w 267507"/>
                <a:gd name="connsiteY6" fmla="*/ 267605 h 267604"/>
                <a:gd name="connsiteX7" fmla="*/ 158956 w 267507"/>
                <a:gd name="connsiteY7" fmla="*/ 231664 h 267604"/>
                <a:gd name="connsiteX8" fmla="*/ 185351 w 267507"/>
                <a:gd name="connsiteY8" fmla="*/ 220707 h 267604"/>
                <a:gd name="connsiteX9" fmla="*/ 214863 w 267507"/>
                <a:gd name="connsiteY9" fmla="*/ 241891 h 267604"/>
                <a:gd name="connsiteX10" fmla="*/ 241842 w 267507"/>
                <a:gd name="connsiteY10" fmla="*/ 214911 h 267604"/>
                <a:gd name="connsiteX11" fmla="*/ 220658 w 267507"/>
                <a:gd name="connsiteY11" fmla="*/ 185400 h 267604"/>
                <a:gd name="connsiteX12" fmla="*/ 231664 w 267507"/>
                <a:gd name="connsiteY12" fmla="*/ 158761 h 267604"/>
                <a:gd name="connsiteX13" fmla="*/ 267507 w 267507"/>
                <a:gd name="connsiteY13" fmla="*/ 152868 h 267604"/>
                <a:gd name="connsiteX14" fmla="*/ 267507 w 267507"/>
                <a:gd name="connsiteY14" fmla="*/ 114688 h 267604"/>
                <a:gd name="connsiteX15" fmla="*/ 231664 w 267507"/>
                <a:gd name="connsiteY15" fmla="*/ 108795 h 267604"/>
                <a:gd name="connsiteX16" fmla="*/ 220755 w 267507"/>
                <a:gd name="connsiteY16" fmla="*/ 82351 h 267604"/>
                <a:gd name="connsiteX17" fmla="*/ 241842 w 267507"/>
                <a:gd name="connsiteY17" fmla="*/ 52644 h 267604"/>
                <a:gd name="connsiteX18" fmla="*/ 214863 w 267507"/>
                <a:gd name="connsiteY18" fmla="*/ 25665 h 267604"/>
                <a:gd name="connsiteX19" fmla="*/ 185156 w 267507"/>
                <a:gd name="connsiteY19" fmla="*/ 46752 h 267604"/>
                <a:gd name="connsiteX20" fmla="*/ 158712 w 267507"/>
                <a:gd name="connsiteY20" fmla="*/ 35843 h 267604"/>
                <a:gd name="connsiteX21" fmla="*/ 152819 w 267507"/>
                <a:gd name="connsiteY21" fmla="*/ 0 h 267604"/>
                <a:gd name="connsiteX22" fmla="*/ 114639 w 267507"/>
                <a:gd name="connsiteY22" fmla="*/ 0 h 267604"/>
                <a:gd name="connsiteX23" fmla="*/ 108746 w 267507"/>
                <a:gd name="connsiteY23" fmla="*/ 35843 h 267604"/>
                <a:gd name="connsiteX24" fmla="*/ 82351 w 267507"/>
                <a:gd name="connsiteY24" fmla="*/ 46752 h 267604"/>
                <a:gd name="connsiteX25" fmla="*/ 52644 w 267507"/>
                <a:gd name="connsiteY25" fmla="*/ 25665 h 267604"/>
                <a:gd name="connsiteX26" fmla="*/ 25665 w 267507"/>
                <a:gd name="connsiteY26" fmla="*/ 52644 h 267604"/>
                <a:gd name="connsiteX27" fmla="*/ 46752 w 267507"/>
                <a:gd name="connsiteY27" fmla="*/ 82351 h 267604"/>
                <a:gd name="connsiteX28" fmla="*/ 35892 w 267507"/>
                <a:gd name="connsiteY28" fmla="*/ 108552 h 267604"/>
                <a:gd name="connsiteX29" fmla="*/ 0 w 267507"/>
                <a:gd name="connsiteY29" fmla="*/ 114639 h 267604"/>
                <a:gd name="connsiteX30" fmla="*/ 0 w 267507"/>
                <a:gd name="connsiteY30" fmla="*/ 152819 h 267604"/>
                <a:gd name="connsiteX31" fmla="*/ 35892 w 267507"/>
                <a:gd name="connsiteY31" fmla="*/ 158907 h 267604"/>
                <a:gd name="connsiteX32" fmla="*/ 46849 w 267507"/>
                <a:gd name="connsiteY32" fmla="*/ 185302 h 2676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267507" h="267604">
                  <a:moveTo>
                    <a:pt x="46898" y="185400"/>
                  </a:moveTo>
                  <a:lnTo>
                    <a:pt x="25713" y="214911"/>
                  </a:lnTo>
                  <a:lnTo>
                    <a:pt x="52693" y="241891"/>
                  </a:lnTo>
                  <a:lnTo>
                    <a:pt x="82205" y="220707"/>
                  </a:lnTo>
                  <a:cubicBezTo>
                    <a:pt x="90338" y="225528"/>
                    <a:pt x="99201" y="229229"/>
                    <a:pt x="108600" y="231664"/>
                  </a:cubicBezTo>
                  <a:lnTo>
                    <a:pt x="114688" y="267605"/>
                  </a:lnTo>
                  <a:lnTo>
                    <a:pt x="152868" y="267605"/>
                  </a:lnTo>
                  <a:lnTo>
                    <a:pt x="158956" y="231664"/>
                  </a:lnTo>
                  <a:cubicBezTo>
                    <a:pt x="168355" y="229229"/>
                    <a:pt x="177218" y="225528"/>
                    <a:pt x="185351" y="220707"/>
                  </a:cubicBezTo>
                  <a:lnTo>
                    <a:pt x="214863" y="241891"/>
                  </a:lnTo>
                  <a:lnTo>
                    <a:pt x="241842" y="214911"/>
                  </a:lnTo>
                  <a:lnTo>
                    <a:pt x="220658" y="185400"/>
                  </a:lnTo>
                  <a:cubicBezTo>
                    <a:pt x="225528" y="177218"/>
                    <a:pt x="229278" y="168257"/>
                    <a:pt x="231664" y="158761"/>
                  </a:cubicBezTo>
                  <a:lnTo>
                    <a:pt x="267507" y="152868"/>
                  </a:lnTo>
                  <a:lnTo>
                    <a:pt x="267507" y="114688"/>
                  </a:lnTo>
                  <a:lnTo>
                    <a:pt x="231664" y="108795"/>
                  </a:lnTo>
                  <a:cubicBezTo>
                    <a:pt x="229278" y="99396"/>
                    <a:pt x="225577" y="90533"/>
                    <a:pt x="220755" y="82351"/>
                  </a:cubicBezTo>
                  <a:lnTo>
                    <a:pt x="241842" y="52644"/>
                  </a:lnTo>
                  <a:lnTo>
                    <a:pt x="214863" y="25665"/>
                  </a:lnTo>
                  <a:lnTo>
                    <a:pt x="185156" y="46752"/>
                  </a:lnTo>
                  <a:cubicBezTo>
                    <a:pt x="177023" y="41930"/>
                    <a:pt x="168160" y="38229"/>
                    <a:pt x="158712" y="35843"/>
                  </a:cubicBezTo>
                  <a:lnTo>
                    <a:pt x="152819" y="0"/>
                  </a:lnTo>
                  <a:lnTo>
                    <a:pt x="114639" y="0"/>
                  </a:lnTo>
                  <a:lnTo>
                    <a:pt x="108746" y="35843"/>
                  </a:lnTo>
                  <a:cubicBezTo>
                    <a:pt x="99347" y="38229"/>
                    <a:pt x="90484" y="41930"/>
                    <a:pt x="82351" y="46752"/>
                  </a:cubicBezTo>
                  <a:lnTo>
                    <a:pt x="52644" y="25665"/>
                  </a:lnTo>
                  <a:lnTo>
                    <a:pt x="25665" y="52644"/>
                  </a:lnTo>
                  <a:lnTo>
                    <a:pt x="46752" y="82351"/>
                  </a:lnTo>
                  <a:cubicBezTo>
                    <a:pt x="41979" y="90435"/>
                    <a:pt x="38278" y="99250"/>
                    <a:pt x="35892" y="108552"/>
                  </a:cubicBezTo>
                  <a:lnTo>
                    <a:pt x="0" y="114639"/>
                  </a:lnTo>
                  <a:lnTo>
                    <a:pt x="0" y="152819"/>
                  </a:lnTo>
                  <a:lnTo>
                    <a:pt x="35892" y="158907"/>
                  </a:lnTo>
                  <a:cubicBezTo>
                    <a:pt x="38327" y="168306"/>
                    <a:pt x="42028" y="177169"/>
                    <a:pt x="46849" y="185302"/>
                  </a:cubicBez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569" name="Forma livre: Forma 568">
              <a:extLst>
                <a:ext uri="{FF2B5EF4-FFF2-40B4-BE49-F238E27FC236}">
                  <a16:creationId xmlns:a16="http://schemas.microsoft.com/office/drawing/2014/main" id="{7B5C255C-DCAE-FAC4-2C16-B95F16774091}"/>
                </a:ext>
              </a:extLst>
            </p:cNvPr>
            <p:cNvSpPr/>
            <p:nvPr/>
          </p:nvSpPr>
          <p:spPr>
            <a:xfrm>
              <a:off x="6355186" y="3188716"/>
              <a:ext cx="73341" cy="73341"/>
            </a:xfrm>
            <a:custGeom>
              <a:avLst/>
              <a:gdLst>
                <a:gd name="connsiteX0" fmla="*/ 73342 w 73341"/>
                <a:gd name="connsiteY0" fmla="*/ 36671 h 73341"/>
                <a:gd name="connsiteX1" fmla="*/ 36671 w 73341"/>
                <a:gd name="connsiteY1" fmla="*/ 73342 h 73341"/>
                <a:gd name="connsiteX2" fmla="*/ 0 w 73341"/>
                <a:gd name="connsiteY2" fmla="*/ 36671 h 73341"/>
                <a:gd name="connsiteX3" fmla="*/ 36671 w 73341"/>
                <a:gd name="connsiteY3" fmla="*/ 0 h 73341"/>
                <a:gd name="connsiteX4" fmla="*/ 73342 w 73341"/>
                <a:gd name="connsiteY4" fmla="*/ 36671 h 733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3341" h="73341">
                  <a:moveTo>
                    <a:pt x="73342" y="36671"/>
                  </a:moveTo>
                  <a:cubicBezTo>
                    <a:pt x="73342" y="56930"/>
                    <a:pt x="56930" y="73342"/>
                    <a:pt x="36671" y="73342"/>
                  </a:cubicBezTo>
                  <a:cubicBezTo>
                    <a:pt x="16412" y="73342"/>
                    <a:pt x="0" y="56930"/>
                    <a:pt x="0" y="36671"/>
                  </a:cubicBezTo>
                  <a:cubicBezTo>
                    <a:pt x="0" y="16412"/>
                    <a:pt x="16412" y="0"/>
                    <a:pt x="36671" y="0"/>
                  </a:cubicBezTo>
                  <a:cubicBezTo>
                    <a:pt x="56930" y="0"/>
                    <a:pt x="73342" y="16412"/>
                    <a:pt x="73342" y="36671"/>
                  </a:cubicBez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607" name="Gráfico 9">
            <a:extLst>
              <a:ext uri="{FF2B5EF4-FFF2-40B4-BE49-F238E27FC236}">
                <a16:creationId xmlns:a16="http://schemas.microsoft.com/office/drawing/2014/main" id="{B1807497-9E41-333C-BFE1-082579D63DE7}"/>
              </a:ext>
            </a:extLst>
          </p:cNvPr>
          <p:cNvGrpSpPr/>
          <p:nvPr/>
        </p:nvGrpSpPr>
        <p:grpSpPr>
          <a:xfrm>
            <a:off x="7517306" y="907284"/>
            <a:ext cx="287473" cy="243839"/>
            <a:chOff x="7517306" y="907284"/>
            <a:chExt cx="287473" cy="243839"/>
          </a:xfrm>
          <a:noFill/>
        </p:grpSpPr>
        <p:sp>
          <p:nvSpPr>
            <p:cNvPr id="608" name="Forma livre: Forma 607">
              <a:extLst>
                <a:ext uri="{FF2B5EF4-FFF2-40B4-BE49-F238E27FC236}">
                  <a16:creationId xmlns:a16="http://schemas.microsoft.com/office/drawing/2014/main" id="{C96627F1-7752-ACE8-BBBA-422A192AFA76}"/>
                </a:ext>
              </a:extLst>
            </p:cNvPr>
            <p:cNvSpPr/>
            <p:nvPr/>
          </p:nvSpPr>
          <p:spPr>
            <a:xfrm>
              <a:off x="7661018" y="1001469"/>
              <a:ext cx="4869" cy="55712"/>
            </a:xfrm>
            <a:custGeom>
              <a:avLst/>
              <a:gdLst>
                <a:gd name="connsiteX0" fmla="*/ 0 w 4869"/>
                <a:gd name="connsiteY0" fmla="*/ 0 h 55712"/>
                <a:gd name="connsiteX1" fmla="*/ 0 w 4869"/>
                <a:gd name="connsiteY1" fmla="*/ 55712 h 557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869" h="55712">
                  <a:moveTo>
                    <a:pt x="0" y="0"/>
                  </a:moveTo>
                  <a:lnTo>
                    <a:pt x="0" y="55712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09" name="Forma livre: Forma 608">
              <a:extLst>
                <a:ext uri="{FF2B5EF4-FFF2-40B4-BE49-F238E27FC236}">
                  <a16:creationId xmlns:a16="http://schemas.microsoft.com/office/drawing/2014/main" id="{46A53BD1-5937-A44F-D3F1-650E49E18309}"/>
                </a:ext>
              </a:extLst>
            </p:cNvPr>
            <p:cNvSpPr/>
            <p:nvPr/>
          </p:nvSpPr>
          <p:spPr>
            <a:xfrm>
              <a:off x="7547110" y="1028449"/>
              <a:ext cx="227865" cy="28732"/>
            </a:xfrm>
            <a:custGeom>
              <a:avLst/>
              <a:gdLst>
                <a:gd name="connsiteX0" fmla="*/ 0 w 227865"/>
                <a:gd name="connsiteY0" fmla="*/ 28733 h 28732"/>
                <a:gd name="connsiteX1" fmla="*/ 0 w 227865"/>
                <a:gd name="connsiteY1" fmla="*/ 0 h 28732"/>
                <a:gd name="connsiteX2" fmla="*/ 227866 w 227865"/>
                <a:gd name="connsiteY2" fmla="*/ 0 h 28732"/>
                <a:gd name="connsiteX3" fmla="*/ 227866 w 227865"/>
                <a:gd name="connsiteY3" fmla="*/ 28733 h 287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27865" h="28732">
                  <a:moveTo>
                    <a:pt x="0" y="28733"/>
                  </a:moveTo>
                  <a:lnTo>
                    <a:pt x="0" y="0"/>
                  </a:lnTo>
                  <a:lnTo>
                    <a:pt x="227866" y="0"/>
                  </a:lnTo>
                  <a:lnTo>
                    <a:pt x="227866" y="28733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10" name="Forma livre: Forma 609">
              <a:extLst>
                <a:ext uri="{FF2B5EF4-FFF2-40B4-BE49-F238E27FC236}">
                  <a16:creationId xmlns:a16="http://schemas.microsoft.com/office/drawing/2014/main" id="{3AA96D1C-BD44-2F2B-6FD2-9E49CE6B79A6}"/>
                </a:ext>
              </a:extLst>
            </p:cNvPr>
            <p:cNvSpPr/>
            <p:nvPr/>
          </p:nvSpPr>
          <p:spPr>
            <a:xfrm>
              <a:off x="7632042" y="907284"/>
              <a:ext cx="58001" cy="58001"/>
            </a:xfrm>
            <a:custGeom>
              <a:avLst/>
              <a:gdLst>
                <a:gd name="connsiteX0" fmla="*/ 0 w 58001"/>
                <a:gd name="connsiteY0" fmla="*/ 0 h 58001"/>
                <a:gd name="connsiteX1" fmla="*/ 58001 w 58001"/>
                <a:gd name="connsiteY1" fmla="*/ 0 h 58001"/>
                <a:gd name="connsiteX2" fmla="*/ 58001 w 58001"/>
                <a:gd name="connsiteY2" fmla="*/ 58001 h 58001"/>
                <a:gd name="connsiteX3" fmla="*/ 0 w 58001"/>
                <a:gd name="connsiteY3" fmla="*/ 58001 h 580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8001" h="58001">
                  <a:moveTo>
                    <a:pt x="0" y="0"/>
                  </a:moveTo>
                  <a:lnTo>
                    <a:pt x="58001" y="0"/>
                  </a:lnTo>
                  <a:lnTo>
                    <a:pt x="58001" y="58001"/>
                  </a:lnTo>
                  <a:lnTo>
                    <a:pt x="0" y="58001"/>
                  </a:ln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611" name="Gráfico 9">
              <a:extLst>
                <a:ext uri="{FF2B5EF4-FFF2-40B4-BE49-F238E27FC236}">
                  <a16:creationId xmlns:a16="http://schemas.microsoft.com/office/drawing/2014/main" id="{1FD1371B-BAA1-0F93-C722-6F40AEE8639A}"/>
                </a:ext>
              </a:extLst>
            </p:cNvPr>
            <p:cNvGrpSpPr/>
            <p:nvPr/>
          </p:nvGrpSpPr>
          <p:grpSpPr>
            <a:xfrm>
              <a:off x="7517306" y="1093122"/>
              <a:ext cx="287473" cy="58001"/>
              <a:chOff x="7517306" y="1093122"/>
              <a:chExt cx="287473" cy="58001"/>
            </a:xfrm>
            <a:noFill/>
          </p:grpSpPr>
          <p:sp>
            <p:nvSpPr>
              <p:cNvPr id="612" name="Forma livre: Forma 611">
                <a:extLst>
                  <a:ext uri="{FF2B5EF4-FFF2-40B4-BE49-F238E27FC236}">
                    <a16:creationId xmlns:a16="http://schemas.microsoft.com/office/drawing/2014/main" id="{3545F426-72A1-4818-842A-EA36E3B20D65}"/>
                  </a:ext>
                </a:extLst>
              </p:cNvPr>
              <p:cNvSpPr/>
              <p:nvPr/>
            </p:nvSpPr>
            <p:spPr>
              <a:xfrm>
                <a:off x="7632042" y="1093122"/>
                <a:ext cx="58001" cy="58001"/>
              </a:xfrm>
              <a:custGeom>
                <a:avLst/>
                <a:gdLst>
                  <a:gd name="connsiteX0" fmla="*/ 0 w 58001"/>
                  <a:gd name="connsiteY0" fmla="*/ 0 h 58001"/>
                  <a:gd name="connsiteX1" fmla="*/ 58001 w 58001"/>
                  <a:gd name="connsiteY1" fmla="*/ 0 h 58001"/>
                  <a:gd name="connsiteX2" fmla="*/ 58001 w 58001"/>
                  <a:gd name="connsiteY2" fmla="*/ 58001 h 58001"/>
                  <a:gd name="connsiteX3" fmla="*/ 0 w 58001"/>
                  <a:gd name="connsiteY3" fmla="*/ 58001 h 580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8001" h="58001">
                    <a:moveTo>
                      <a:pt x="0" y="0"/>
                    </a:moveTo>
                    <a:lnTo>
                      <a:pt x="58001" y="0"/>
                    </a:lnTo>
                    <a:lnTo>
                      <a:pt x="58001" y="58001"/>
                    </a:lnTo>
                    <a:lnTo>
                      <a:pt x="0" y="58001"/>
                    </a:lnTo>
                    <a:close/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613" name="Forma livre: Forma 612">
                <a:extLst>
                  <a:ext uri="{FF2B5EF4-FFF2-40B4-BE49-F238E27FC236}">
                    <a16:creationId xmlns:a16="http://schemas.microsoft.com/office/drawing/2014/main" id="{8B41E6E5-D7E3-7E6C-FB02-E7223908ACF7}"/>
                  </a:ext>
                </a:extLst>
              </p:cNvPr>
              <p:cNvSpPr/>
              <p:nvPr/>
            </p:nvSpPr>
            <p:spPr>
              <a:xfrm>
                <a:off x="7517306" y="1093122"/>
                <a:ext cx="58001" cy="58001"/>
              </a:xfrm>
              <a:custGeom>
                <a:avLst/>
                <a:gdLst>
                  <a:gd name="connsiteX0" fmla="*/ 0 w 58001"/>
                  <a:gd name="connsiteY0" fmla="*/ 0 h 58001"/>
                  <a:gd name="connsiteX1" fmla="*/ 58001 w 58001"/>
                  <a:gd name="connsiteY1" fmla="*/ 0 h 58001"/>
                  <a:gd name="connsiteX2" fmla="*/ 58001 w 58001"/>
                  <a:gd name="connsiteY2" fmla="*/ 58001 h 58001"/>
                  <a:gd name="connsiteX3" fmla="*/ 0 w 58001"/>
                  <a:gd name="connsiteY3" fmla="*/ 58001 h 580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8001" h="58001">
                    <a:moveTo>
                      <a:pt x="0" y="0"/>
                    </a:moveTo>
                    <a:lnTo>
                      <a:pt x="58001" y="0"/>
                    </a:lnTo>
                    <a:lnTo>
                      <a:pt x="58001" y="58001"/>
                    </a:lnTo>
                    <a:lnTo>
                      <a:pt x="0" y="58001"/>
                    </a:lnTo>
                    <a:close/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614" name="Forma livre: Forma 613">
                <a:extLst>
                  <a:ext uri="{FF2B5EF4-FFF2-40B4-BE49-F238E27FC236}">
                    <a16:creationId xmlns:a16="http://schemas.microsoft.com/office/drawing/2014/main" id="{A372EEDC-5DF9-FF1F-A373-48AF6BA22B68}"/>
                  </a:ext>
                </a:extLst>
              </p:cNvPr>
              <p:cNvSpPr/>
              <p:nvPr/>
            </p:nvSpPr>
            <p:spPr>
              <a:xfrm>
                <a:off x="7746778" y="1093122"/>
                <a:ext cx="58001" cy="58001"/>
              </a:xfrm>
              <a:custGeom>
                <a:avLst/>
                <a:gdLst>
                  <a:gd name="connsiteX0" fmla="*/ 0 w 58001"/>
                  <a:gd name="connsiteY0" fmla="*/ 0 h 58001"/>
                  <a:gd name="connsiteX1" fmla="*/ 58001 w 58001"/>
                  <a:gd name="connsiteY1" fmla="*/ 0 h 58001"/>
                  <a:gd name="connsiteX2" fmla="*/ 58001 w 58001"/>
                  <a:gd name="connsiteY2" fmla="*/ 58001 h 58001"/>
                  <a:gd name="connsiteX3" fmla="*/ 0 w 58001"/>
                  <a:gd name="connsiteY3" fmla="*/ 58001 h 580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8001" h="58001">
                    <a:moveTo>
                      <a:pt x="0" y="0"/>
                    </a:moveTo>
                    <a:lnTo>
                      <a:pt x="58001" y="0"/>
                    </a:lnTo>
                    <a:lnTo>
                      <a:pt x="58001" y="58001"/>
                    </a:lnTo>
                    <a:lnTo>
                      <a:pt x="0" y="58001"/>
                    </a:lnTo>
                    <a:close/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615" name="Gráfico 9">
            <a:extLst>
              <a:ext uri="{FF2B5EF4-FFF2-40B4-BE49-F238E27FC236}">
                <a16:creationId xmlns:a16="http://schemas.microsoft.com/office/drawing/2014/main" id="{1AFEABE8-1CE9-0339-F98D-ED7BB7C3875C}"/>
              </a:ext>
            </a:extLst>
          </p:cNvPr>
          <p:cNvGrpSpPr/>
          <p:nvPr/>
        </p:nvGrpSpPr>
        <p:grpSpPr>
          <a:xfrm>
            <a:off x="6911580" y="883665"/>
            <a:ext cx="233125" cy="292976"/>
            <a:chOff x="6911580" y="883665"/>
            <a:chExt cx="233125" cy="292976"/>
          </a:xfrm>
        </p:grpSpPr>
        <p:sp>
          <p:nvSpPr>
            <p:cNvPr id="616" name="Forma livre: Forma 615">
              <a:extLst>
                <a:ext uri="{FF2B5EF4-FFF2-40B4-BE49-F238E27FC236}">
                  <a16:creationId xmlns:a16="http://schemas.microsoft.com/office/drawing/2014/main" id="{D76D3670-2FC3-F5DC-473E-C3E3703B0638}"/>
                </a:ext>
              </a:extLst>
            </p:cNvPr>
            <p:cNvSpPr/>
            <p:nvPr/>
          </p:nvSpPr>
          <p:spPr>
            <a:xfrm>
              <a:off x="6918008" y="892869"/>
              <a:ext cx="4869" cy="283772"/>
            </a:xfrm>
            <a:custGeom>
              <a:avLst/>
              <a:gdLst>
                <a:gd name="connsiteX0" fmla="*/ 0 w 4869"/>
                <a:gd name="connsiteY0" fmla="*/ 0 h 283772"/>
                <a:gd name="connsiteX1" fmla="*/ 0 w 4869"/>
                <a:gd name="connsiteY1" fmla="*/ 283773 h 2837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869" h="283772">
                  <a:moveTo>
                    <a:pt x="0" y="0"/>
                  </a:moveTo>
                  <a:lnTo>
                    <a:pt x="0" y="283773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17" name="Forma livre: Forma 616">
              <a:extLst>
                <a:ext uri="{FF2B5EF4-FFF2-40B4-BE49-F238E27FC236}">
                  <a16:creationId xmlns:a16="http://schemas.microsoft.com/office/drawing/2014/main" id="{A7DB06A4-257B-AD29-35A4-7BAAEED1DDFA}"/>
                </a:ext>
              </a:extLst>
            </p:cNvPr>
            <p:cNvSpPr/>
            <p:nvPr/>
          </p:nvSpPr>
          <p:spPr>
            <a:xfrm>
              <a:off x="6920053" y="927543"/>
              <a:ext cx="107187" cy="113324"/>
            </a:xfrm>
            <a:custGeom>
              <a:avLst/>
              <a:gdLst>
                <a:gd name="connsiteX0" fmla="*/ 0 w 107187"/>
                <a:gd name="connsiteY0" fmla="*/ 0 h 113324"/>
                <a:gd name="connsiteX1" fmla="*/ 107188 w 107187"/>
                <a:gd name="connsiteY1" fmla="*/ 0 h 113324"/>
                <a:gd name="connsiteX2" fmla="*/ 107188 w 107187"/>
                <a:gd name="connsiteY2" fmla="*/ 113324 h 113324"/>
                <a:gd name="connsiteX3" fmla="*/ 0 w 107187"/>
                <a:gd name="connsiteY3" fmla="*/ 113324 h 1133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7187" h="113324">
                  <a:moveTo>
                    <a:pt x="0" y="0"/>
                  </a:moveTo>
                  <a:lnTo>
                    <a:pt x="107188" y="0"/>
                  </a:lnTo>
                  <a:lnTo>
                    <a:pt x="107188" y="113324"/>
                  </a:lnTo>
                  <a:lnTo>
                    <a:pt x="0" y="113324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18" name="Forma livre: Forma 617">
              <a:extLst>
                <a:ext uri="{FF2B5EF4-FFF2-40B4-BE49-F238E27FC236}">
                  <a16:creationId xmlns:a16="http://schemas.microsoft.com/office/drawing/2014/main" id="{B9719565-DAA3-4F25-B652-1C29565308C2}"/>
                </a:ext>
              </a:extLst>
            </p:cNvPr>
            <p:cNvSpPr/>
            <p:nvPr/>
          </p:nvSpPr>
          <p:spPr>
            <a:xfrm>
              <a:off x="6981756" y="972298"/>
              <a:ext cx="162949" cy="113275"/>
            </a:xfrm>
            <a:custGeom>
              <a:avLst/>
              <a:gdLst>
                <a:gd name="connsiteX0" fmla="*/ 68813 w 162949"/>
                <a:gd name="connsiteY0" fmla="*/ 0 h 113275"/>
                <a:gd name="connsiteX1" fmla="*/ 162949 w 162949"/>
                <a:gd name="connsiteY1" fmla="*/ 0 h 113275"/>
                <a:gd name="connsiteX2" fmla="*/ 111766 w 162949"/>
                <a:gd name="connsiteY2" fmla="*/ 56638 h 113275"/>
                <a:gd name="connsiteX3" fmla="*/ 162949 w 162949"/>
                <a:gd name="connsiteY3" fmla="*/ 113275 h 113275"/>
                <a:gd name="connsiteX4" fmla="*/ 0 w 162949"/>
                <a:gd name="connsiteY4" fmla="*/ 113275 h 113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2949" h="113275">
                  <a:moveTo>
                    <a:pt x="68813" y="0"/>
                  </a:moveTo>
                  <a:lnTo>
                    <a:pt x="162949" y="0"/>
                  </a:lnTo>
                  <a:lnTo>
                    <a:pt x="111766" y="56638"/>
                  </a:lnTo>
                  <a:lnTo>
                    <a:pt x="162949" y="113275"/>
                  </a:lnTo>
                  <a:lnTo>
                    <a:pt x="0" y="113275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19" name="Forma livre: Forma 618">
              <a:extLst>
                <a:ext uri="{FF2B5EF4-FFF2-40B4-BE49-F238E27FC236}">
                  <a16:creationId xmlns:a16="http://schemas.microsoft.com/office/drawing/2014/main" id="{B73914A4-8B28-DA35-3144-62AA3DB0A041}"/>
                </a:ext>
              </a:extLst>
            </p:cNvPr>
            <p:cNvSpPr/>
            <p:nvPr/>
          </p:nvSpPr>
          <p:spPr>
            <a:xfrm>
              <a:off x="6981464" y="1040867"/>
              <a:ext cx="45777" cy="44706"/>
            </a:xfrm>
            <a:custGeom>
              <a:avLst/>
              <a:gdLst>
                <a:gd name="connsiteX0" fmla="*/ 45778 w 45777"/>
                <a:gd name="connsiteY0" fmla="*/ 0 h 44706"/>
                <a:gd name="connsiteX1" fmla="*/ 0 w 45777"/>
                <a:gd name="connsiteY1" fmla="*/ 44706 h 447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5777" h="44706">
                  <a:moveTo>
                    <a:pt x="45778" y="0"/>
                  </a:moveTo>
                  <a:lnTo>
                    <a:pt x="0" y="44706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20" name="Forma livre: Forma 619">
              <a:extLst>
                <a:ext uri="{FF2B5EF4-FFF2-40B4-BE49-F238E27FC236}">
                  <a16:creationId xmlns:a16="http://schemas.microsoft.com/office/drawing/2014/main" id="{B895AEC3-A1D2-A2F4-2CCC-97FA8452B4A7}"/>
                </a:ext>
              </a:extLst>
            </p:cNvPr>
            <p:cNvSpPr/>
            <p:nvPr/>
          </p:nvSpPr>
          <p:spPr>
            <a:xfrm>
              <a:off x="6911580" y="883665"/>
              <a:ext cx="12856" cy="12856"/>
            </a:xfrm>
            <a:custGeom>
              <a:avLst/>
              <a:gdLst>
                <a:gd name="connsiteX0" fmla="*/ 12857 w 12856"/>
                <a:gd name="connsiteY0" fmla="*/ 6428 h 12856"/>
                <a:gd name="connsiteX1" fmla="*/ 6428 w 12856"/>
                <a:gd name="connsiteY1" fmla="*/ 12857 h 12856"/>
                <a:gd name="connsiteX2" fmla="*/ 0 w 12856"/>
                <a:gd name="connsiteY2" fmla="*/ 6428 h 12856"/>
                <a:gd name="connsiteX3" fmla="*/ 6428 w 12856"/>
                <a:gd name="connsiteY3" fmla="*/ 0 h 12856"/>
                <a:gd name="connsiteX4" fmla="*/ 12857 w 12856"/>
                <a:gd name="connsiteY4" fmla="*/ 6428 h 128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856" h="12856">
                  <a:moveTo>
                    <a:pt x="12857" y="6428"/>
                  </a:moveTo>
                  <a:cubicBezTo>
                    <a:pt x="12857" y="9983"/>
                    <a:pt x="9983" y="12857"/>
                    <a:pt x="6428" y="12857"/>
                  </a:cubicBezTo>
                  <a:cubicBezTo>
                    <a:pt x="2873" y="12857"/>
                    <a:pt x="0" y="9983"/>
                    <a:pt x="0" y="6428"/>
                  </a:cubicBezTo>
                  <a:cubicBezTo>
                    <a:pt x="0" y="2873"/>
                    <a:pt x="2873" y="0"/>
                    <a:pt x="6428" y="0"/>
                  </a:cubicBezTo>
                  <a:cubicBezTo>
                    <a:pt x="9983" y="0"/>
                    <a:pt x="12857" y="2873"/>
                    <a:pt x="12857" y="6428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621" name="Gráfico 9">
            <a:extLst>
              <a:ext uri="{FF2B5EF4-FFF2-40B4-BE49-F238E27FC236}">
                <a16:creationId xmlns:a16="http://schemas.microsoft.com/office/drawing/2014/main" id="{F80F12C7-7FAA-096F-FACA-831D296634B6}"/>
              </a:ext>
            </a:extLst>
          </p:cNvPr>
          <p:cNvGrpSpPr/>
          <p:nvPr/>
        </p:nvGrpSpPr>
        <p:grpSpPr>
          <a:xfrm>
            <a:off x="6243957" y="901976"/>
            <a:ext cx="295850" cy="254455"/>
            <a:chOff x="6243957" y="901976"/>
            <a:chExt cx="295850" cy="254455"/>
          </a:xfrm>
          <a:noFill/>
        </p:grpSpPr>
        <p:sp>
          <p:nvSpPr>
            <p:cNvPr id="622" name="Forma livre: Forma 621">
              <a:extLst>
                <a:ext uri="{FF2B5EF4-FFF2-40B4-BE49-F238E27FC236}">
                  <a16:creationId xmlns:a16="http://schemas.microsoft.com/office/drawing/2014/main" id="{12FFE80A-F253-2454-433A-BE1166E6FF4D}"/>
                </a:ext>
              </a:extLst>
            </p:cNvPr>
            <p:cNvSpPr/>
            <p:nvPr/>
          </p:nvSpPr>
          <p:spPr>
            <a:xfrm>
              <a:off x="6289345" y="947072"/>
              <a:ext cx="205074" cy="209359"/>
            </a:xfrm>
            <a:custGeom>
              <a:avLst/>
              <a:gdLst>
                <a:gd name="connsiteX0" fmla="*/ 128762 w 205074"/>
                <a:gd name="connsiteY0" fmla="*/ 142446 h 209359"/>
                <a:gd name="connsiteX1" fmla="*/ 128762 w 205074"/>
                <a:gd name="connsiteY1" fmla="*/ 209360 h 209359"/>
                <a:gd name="connsiteX2" fmla="*/ 205074 w 205074"/>
                <a:gd name="connsiteY2" fmla="*/ 209360 h 209359"/>
                <a:gd name="connsiteX3" fmla="*/ 205074 w 205074"/>
                <a:gd name="connsiteY3" fmla="*/ 91701 h 209359"/>
                <a:gd name="connsiteX4" fmla="*/ 102513 w 205074"/>
                <a:gd name="connsiteY4" fmla="*/ 0 h 209359"/>
                <a:gd name="connsiteX5" fmla="*/ 102464 w 205074"/>
                <a:gd name="connsiteY5" fmla="*/ 49 h 209359"/>
                <a:gd name="connsiteX6" fmla="*/ 0 w 205074"/>
                <a:gd name="connsiteY6" fmla="*/ 91701 h 209359"/>
                <a:gd name="connsiteX7" fmla="*/ 0 w 205074"/>
                <a:gd name="connsiteY7" fmla="*/ 209360 h 209359"/>
                <a:gd name="connsiteX8" fmla="*/ 76312 w 205074"/>
                <a:gd name="connsiteY8" fmla="*/ 209360 h 209359"/>
                <a:gd name="connsiteX9" fmla="*/ 76312 w 205074"/>
                <a:gd name="connsiteY9" fmla="*/ 142446 h 209359"/>
                <a:gd name="connsiteX10" fmla="*/ 128762 w 205074"/>
                <a:gd name="connsiteY10" fmla="*/ 142446 h 2093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05074" h="209359">
                  <a:moveTo>
                    <a:pt x="128762" y="142446"/>
                  </a:moveTo>
                  <a:lnTo>
                    <a:pt x="128762" y="209360"/>
                  </a:lnTo>
                  <a:lnTo>
                    <a:pt x="205074" y="209360"/>
                  </a:lnTo>
                  <a:lnTo>
                    <a:pt x="205074" y="91701"/>
                  </a:lnTo>
                  <a:lnTo>
                    <a:pt x="102513" y="0"/>
                  </a:lnTo>
                  <a:lnTo>
                    <a:pt x="102464" y="49"/>
                  </a:lnTo>
                  <a:lnTo>
                    <a:pt x="0" y="91701"/>
                  </a:lnTo>
                  <a:lnTo>
                    <a:pt x="0" y="209360"/>
                  </a:lnTo>
                  <a:lnTo>
                    <a:pt x="76312" y="209360"/>
                  </a:lnTo>
                  <a:lnTo>
                    <a:pt x="76312" y="142446"/>
                  </a:lnTo>
                  <a:lnTo>
                    <a:pt x="128762" y="142446"/>
                  </a:ln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23" name="Forma livre: Forma 622">
              <a:extLst>
                <a:ext uri="{FF2B5EF4-FFF2-40B4-BE49-F238E27FC236}">
                  <a16:creationId xmlns:a16="http://schemas.microsoft.com/office/drawing/2014/main" id="{AD836000-E5CC-7FF1-1ED5-F0E67305BA54}"/>
                </a:ext>
              </a:extLst>
            </p:cNvPr>
            <p:cNvSpPr/>
            <p:nvPr/>
          </p:nvSpPr>
          <p:spPr>
            <a:xfrm>
              <a:off x="6243957" y="901976"/>
              <a:ext cx="295850" cy="129102"/>
            </a:xfrm>
            <a:custGeom>
              <a:avLst/>
              <a:gdLst>
                <a:gd name="connsiteX0" fmla="*/ 295850 w 295850"/>
                <a:gd name="connsiteY0" fmla="*/ 129103 h 129102"/>
                <a:gd name="connsiteX1" fmla="*/ 147949 w 295850"/>
                <a:gd name="connsiteY1" fmla="*/ 0 h 129102"/>
                <a:gd name="connsiteX2" fmla="*/ 147901 w 295850"/>
                <a:gd name="connsiteY2" fmla="*/ 0 h 129102"/>
                <a:gd name="connsiteX3" fmla="*/ 0 w 295850"/>
                <a:gd name="connsiteY3" fmla="*/ 129103 h 1291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95850" h="129102">
                  <a:moveTo>
                    <a:pt x="295850" y="129103"/>
                  </a:moveTo>
                  <a:lnTo>
                    <a:pt x="147949" y="0"/>
                  </a:lnTo>
                  <a:lnTo>
                    <a:pt x="147901" y="0"/>
                  </a:lnTo>
                  <a:lnTo>
                    <a:pt x="0" y="129103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624" name="Gráfico 9">
            <a:extLst>
              <a:ext uri="{FF2B5EF4-FFF2-40B4-BE49-F238E27FC236}">
                <a16:creationId xmlns:a16="http://schemas.microsoft.com/office/drawing/2014/main" id="{620FDBF8-08E4-76D0-83DE-9A69F6332010}"/>
              </a:ext>
            </a:extLst>
          </p:cNvPr>
          <p:cNvGrpSpPr/>
          <p:nvPr/>
        </p:nvGrpSpPr>
        <p:grpSpPr>
          <a:xfrm>
            <a:off x="6900385" y="3085820"/>
            <a:ext cx="259124" cy="258978"/>
            <a:chOff x="6900385" y="3085820"/>
            <a:chExt cx="259124" cy="258978"/>
          </a:xfrm>
          <a:noFill/>
        </p:grpSpPr>
        <p:sp>
          <p:nvSpPr>
            <p:cNvPr id="625" name="Forma livre: Forma 624">
              <a:extLst>
                <a:ext uri="{FF2B5EF4-FFF2-40B4-BE49-F238E27FC236}">
                  <a16:creationId xmlns:a16="http://schemas.microsoft.com/office/drawing/2014/main" id="{3609C2A5-24E4-4582-E1A5-5F93CBC7B58D}"/>
                </a:ext>
              </a:extLst>
            </p:cNvPr>
            <p:cNvSpPr/>
            <p:nvPr/>
          </p:nvSpPr>
          <p:spPr>
            <a:xfrm>
              <a:off x="6900385" y="3085820"/>
              <a:ext cx="227092" cy="227092"/>
            </a:xfrm>
            <a:custGeom>
              <a:avLst/>
              <a:gdLst>
                <a:gd name="connsiteX0" fmla="*/ 193818 w 227092"/>
                <a:gd name="connsiteY0" fmla="*/ 33207 h 227092"/>
                <a:gd name="connsiteX1" fmla="*/ 193818 w 227092"/>
                <a:gd name="connsiteY1" fmla="*/ 193818 h 227092"/>
                <a:gd name="connsiteX2" fmla="*/ 33256 w 227092"/>
                <a:gd name="connsiteY2" fmla="*/ 193818 h 227092"/>
                <a:gd name="connsiteX3" fmla="*/ 33256 w 227092"/>
                <a:gd name="connsiteY3" fmla="*/ 33256 h 227092"/>
                <a:gd name="connsiteX4" fmla="*/ 193818 w 227092"/>
                <a:gd name="connsiteY4" fmla="*/ 33256 h 2270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27092" h="227092">
                  <a:moveTo>
                    <a:pt x="193818" y="33207"/>
                  </a:moveTo>
                  <a:cubicBezTo>
                    <a:pt x="238184" y="77572"/>
                    <a:pt x="238184" y="149453"/>
                    <a:pt x="193818" y="193818"/>
                  </a:cubicBezTo>
                  <a:cubicBezTo>
                    <a:pt x="149453" y="238184"/>
                    <a:pt x="77572" y="238184"/>
                    <a:pt x="33256" y="193818"/>
                  </a:cubicBezTo>
                  <a:cubicBezTo>
                    <a:pt x="-11061" y="149502"/>
                    <a:pt x="-11110" y="77572"/>
                    <a:pt x="33256" y="33256"/>
                  </a:cubicBezTo>
                  <a:cubicBezTo>
                    <a:pt x="77621" y="-11110"/>
                    <a:pt x="149502" y="-11061"/>
                    <a:pt x="193818" y="33256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626" name="Gráfico 9">
              <a:extLst>
                <a:ext uri="{FF2B5EF4-FFF2-40B4-BE49-F238E27FC236}">
                  <a16:creationId xmlns:a16="http://schemas.microsoft.com/office/drawing/2014/main" id="{1E0BECB2-8105-25A9-562A-456A2D1818BF}"/>
                </a:ext>
              </a:extLst>
            </p:cNvPr>
            <p:cNvGrpSpPr/>
            <p:nvPr/>
          </p:nvGrpSpPr>
          <p:grpSpPr>
            <a:xfrm>
              <a:off x="6960377" y="3145763"/>
              <a:ext cx="107090" cy="107090"/>
              <a:chOff x="6960377" y="3145763"/>
              <a:chExt cx="107090" cy="107090"/>
            </a:xfrm>
          </p:grpSpPr>
          <p:sp>
            <p:nvSpPr>
              <p:cNvPr id="627" name="Forma livre: Forma 626">
                <a:extLst>
                  <a:ext uri="{FF2B5EF4-FFF2-40B4-BE49-F238E27FC236}">
                    <a16:creationId xmlns:a16="http://schemas.microsoft.com/office/drawing/2014/main" id="{65F356D1-F54A-E94A-E3F1-24FA6D53D409}"/>
                  </a:ext>
                </a:extLst>
              </p:cNvPr>
              <p:cNvSpPr/>
              <p:nvPr/>
            </p:nvSpPr>
            <p:spPr>
              <a:xfrm>
                <a:off x="7013898" y="3145763"/>
                <a:ext cx="4869" cy="107090"/>
              </a:xfrm>
              <a:custGeom>
                <a:avLst/>
                <a:gdLst>
                  <a:gd name="connsiteX0" fmla="*/ 0 w 4869"/>
                  <a:gd name="connsiteY0" fmla="*/ 0 h 107090"/>
                  <a:gd name="connsiteX1" fmla="*/ 0 w 4869"/>
                  <a:gd name="connsiteY1" fmla="*/ 107090 h 1070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869" h="107090">
                    <a:moveTo>
                      <a:pt x="0" y="0"/>
                    </a:moveTo>
                    <a:lnTo>
                      <a:pt x="0" y="10709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628" name="Forma livre: Forma 627">
                <a:extLst>
                  <a:ext uri="{FF2B5EF4-FFF2-40B4-BE49-F238E27FC236}">
                    <a16:creationId xmlns:a16="http://schemas.microsoft.com/office/drawing/2014/main" id="{AC83E4D6-0F2B-AFAA-352D-A9A2CE9BAA46}"/>
                  </a:ext>
                </a:extLst>
              </p:cNvPr>
              <p:cNvSpPr/>
              <p:nvPr/>
            </p:nvSpPr>
            <p:spPr>
              <a:xfrm>
                <a:off x="6960377" y="3199332"/>
                <a:ext cx="107090" cy="4869"/>
              </a:xfrm>
              <a:custGeom>
                <a:avLst/>
                <a:gdLst>
                  <a:gd name="connsiteX0" fmla="*/ 107090 w 107090"/>
                  <a:gd name="connsiteY0" fmla="*/ 0 h 4869"/>
                  <a:gd name="connsiteX1" fmla="*/ 0 w 107090"/>
                  <a:gd name="connsiteY1" fmla="*/ 0 h 48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07090" h="4869">
                    <a:moveTo>
                      <a:pt x="107090" y="0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629" name="Forma livre: Forma 628">
              <a:extLst>
                <a:ext uri="{FF2B5EF4-FFF2-40B4-BE49-F238E27FC236}">
                  <a16:creationId xmlns:a16="http://schemas.microsoft.com/office/drawing/2014/main" id="{2A0D4DFE-F9F0-876D-12D9-74A259B9F0EE}"/>
                </a:ext>
              </a:extLst>
            </p:cNvPr>
            <p:cNvSpPr/>
            <p:nvPr/>
          </p:nvSpPr>
          <p:spPr>
            <a:xfrm>
              <a:off x="7094593" y="3279881"/>
              <a:ext cx="64916" cy="64916"/>
            </a:xfrm>
            <a:custGeom>
              <a:avLst/>
              <a:gdLst>
                <a:gd name="connsiteX0" fmla="*/ 0 w 64916"/>
                <a:gd name="connsiteY0" fmla="*/ 0 h 64916"/>
                <a:gd name="connsiteX1" fmla="*/ 64917 w 64916"/>
                <a:gd name="connsiteY1" fmla="*/ 64917 h 649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4916" h="64916">
                  <a:moveTo>
                    <a:pt x="0" y="0"/>
                  </a:moveTo>
                  <a:lnTo>
                    <a:pt x="64917" y="64917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631" name="Gráfico 10">
            <a:extLst>
              <a:ext uri="{FF2B5EF4-FFF2-40B4-BE49-F238E27FC236}">
                <a16:creationId xmlns:a16="http://schemas.microsoft.com/office/drawing/2014/main" id="{2E0810BB-2BCF-301A-5D69-FB73291B566D}"/>
              </a:ext>
            </a:extLst>
          </p:cNvPr>
          <p:cNvGrpSpPr/>
          <p:nvPr/>
        </p:nvGrpSpPr>
        <p:grpSpPr>
          <a:xfrm>
            <a:off x="8763010" y="912203"/>
            <a:ext cx="256939" cy="256647"/>
            <a:chOff x="8763010" y="912203"/>
            <a:chExt cx="256939" cy="256647"/>
          </a:xfrm>
          <a:noFill/>
        </p:grpSpPr>
        <p:sp>
          <p:nvSpPr>
            <p:cNvPr id="632" name="Forma livre: Forma 631">
              <a:extLst>
                <a:ext uri="{FF2B5EF4-FFF2-40B4-BE49-F238E27FC236}">
                  <a16:creationId xmlns:a16="http://schemas.microsoft.com/office/drawing/2014/main" id="{16225596-2EF1-351C-6289-3887314F33A1}"/>
                </a:ext>
              </a:extLst>
            </p:cNvPr>
            <p:cNvSpPr/>
            <p:nvPr/>
          </p:nvSpPr>
          <p:spPr>
            <a:xfrm>
              <a:off x="8780103" y="1124387"/>
              <a:ext cx="27612" cy="27612"/>
            </a:xfrm>
            <a:custGeom>
              <a:avLst/>
              <a:gdLst>
                <a:gd name="connsiteX0" fmla="*/ 27613 w 27612"/>
                <a:gd name="connsiteY0" fmla="*/ 27613 h 27612"/>
                <a:gd name="connsiteX1" fmla="*/ 0 w 27612"/>
                <a:gd name="connsiteY1" fmla="*/ 0 h 276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7612" h="27612">
                  <a:moveTo>
                    <a:pt x="27613" y="27613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33" name="Forma livre: Forma 632">
              <a:extLst>
                <a:ext uri="{FF2B5EF4-FFF2-40B4-BE49-F238E27FC236}">
                  <a16:creationId xmlns:a16="http://schemas.microsoft.com/office/drawing/2014/main" id="{D835477F-6228-1971-A229-55C2EE351A9B}"/>
                </a:ext>
              </a:extLst>
            </p:cNvPr>
            <p:cNvSpPr/>
            <p:nvPr/>
          </p:nvSpPr>
          <p:spPr>
            <a:xfrm>
              <a:off x="8939156" y="912203"/>
              <a:ext cx="80792" cy="80792"/>
            </a:xfrm>
            <a:custGeom>
              <a:avLst/>
              <a:gdLst>
                <a:gd name="connsiteX0" fmla="*/ 75095 w 80792"/>
                <a:gd name="connsiteY0" fmla="*/ 37353 h 80792"/>
                <a:gd name="connsiteX1" fmla="*/ 43440 w 80792"/>
                <a:gd name="connsiteY1" fmla="*/ 5698 h 80792"/>
                <a:gd name="connsiteX2" fmla="*/ 15876 w 80792"/>
                <a:gd name="connsiteY2" fmla="*/ 5698 h 80792"/>
                <a:gd name="connsiteX3" fmla="*/ 0 w 80792"/>
                <a:gd name="connsiteY3" fmla="*/ 21574 h 80792"/>
                <a:gd name="connsiteX4" fmla="*/ 59219 w 80792"/>
                <a:gd name="connsiteY4" fmla="*/ 80793 h 80792"/>
                <a:gd name="connsiteX5" fmla="*/ 75095 w 80792"/>
                <a:gd name="connsiteY5" fmla="*/ 64917 h 80792"/>
                <a:gd name="connsiteX6" fmla="*/ 75095 w 80792"/>
                <a:gd name="connsiteY6" fmla="*/ 37353 h 807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0792" h="80792">
                  <a:moveTo>
                    <a:pt x="75095" y="37353"/>
                  </a:moveTo>
                  <a:lnTo>
                    <a:pt x="43440" y="5698"/>
                  </a:lnTo>
                  <a:cubicBezTo>
                    <a:pt x="35843" y="-1899"/>
                    <a:pt x="23473" y="-1899"/>
                    <a:pt x="15876" y="5698"/>
                  </a:cubicBezTo>
                  <a:lnTo>
                    <a:pt x="0" y="21574"/>
                  </a:lnTo>
                  <a:lnTo>
                    <a:pt x="59219" y="80793"/>
                  </a:lnTo>
                  <a:lnTo>
                    <a:pt x="75095" y="64917"/>
                  </a:lnTo>
                  <a:cubicBezTo>
                    <a:pt x="82692" y="57368"/>
                    <a:pt x="82692" y="44950"/>
                    <a:pt x="75095" y="37353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34" name="Forma livre: Forma 633">
              <a:extLst>
                <a:ext uri="{FF2B5EF4-FFF2-40B4-BE49-F238E27FC236}">
                  <a16:creationId xmlns:a16="http://schemas.microsoft.com/office/drawing/2014/main" id="{7BAA29BA-29BA-8BD5-B604-84AF21278305}"/>
                </a:ext>
              </a:extLst>
            </p:cNvPr>
            <p:cNvSpPr/>
            <p:nvPr/>
          </p:nvSpPr>
          <p:spPr>
            <a:xfrm>
              <a:off x="8763010" y="951357"/>
              <a:ext cx="216908" cy="217492"/>
            </a:xfrm>
            <a:custGeom>
              <a:avLst/>
              <a:gdLst>
                <a:gd name="connsiteX0" fmla="*/ 216908 w 216908"/>
                <a:gd name="connsiteY0" fmla="*/ 59706 h 217492"/>
                <a:gd name="connsiteX1" fmla="*/ 92627 w 216908"/>
                <a:gd name="connsiteY1" fmla="*/ 184036 h 217492"/>
                <a:gd name="connsiteX2" fmla="*/ 0 w 216908"/>
                <a:gd name="connsiteY2" fmla="*/ 217493 h 217492"/>
                <a:gd name="connsiteX3" fmla="*/ 33651 w 216908"/>
                <a:gd name="connsiteY3" fmla="*/ 125158 h 217492"/>
                <a:gd name="connsiteX4" fmla="*/ 158858 w 216908"/>
                <a:gd name="connsiteY4" fmla="*/ 0 h 2174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16908" h="217492">
                  <a:moveTo>
                    <a:pt x="216908" y="59706"/>
                  </a:moveTo>
                  <a:lnTo>
                    <a:pt x="92627" y="184036"/>
                  </a:lnTo>
                  <a:lnTo>
                    <a:pt x="0" y="217493"/>
                  </a:lnTo>
                  <a:lnTo>
                    <a:pt x="33651" y="125158"/>
                  </a:lnTo>
                  <a:lnTo>
                    <a:pt x="158858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35" name="Forma livre: Forma 634">
              <a:extLst>
                <a:ext uri="{FF2B5EF4-FFF2-40B4-BE49-F238E27FC236}">
                  <a16:creationId xmlns:a16="http://schemas.microsoft.com/office/drawing/2014/main" id="{3D033ABE-6754-8EC2-0393-6B797FE93DD3}"/>
                </a:ext>
              </a:extLst>
            </p:cNvPr>
            <p:cNvSpPr/>
            <p:nvPr/>
          </p:nvSpPr>
          <p:spPr>
            <a:xfrm>
              <a:off x="8829825" y="980821"/>
              <a:ext cx="121505" cy="121456"/>
            </a:xfrm>
            <a:custGeom>
              <a:avLst/>
              <a:gdLst>
                <a:gd name="connsiteX0" fmla="*/ 0 w 121505"/>
                <a:gd name="connsiteY0" fmla="*/ 121457 h 121456"/>
                <a:gd name="connsiteX1" fmla="*/ 121506 w 121505"/>
                <a:gd name="connsiteY1" fmla="*/ 0 h 1214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1505" h="121456">
                  <a:moveTo>
                    <a:pt x="0" y="121457"/>
                  </a:moveTo>
                  <a:lnTo>
                    <a:pt x="121506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36" name="Forma livre: Forma 635">
              <a:extLst>
                <a:ext uri="{FF2B5EF4-FFF2-40B4-BE49-F238E27FC236}">
                  <a16:creationId xmlns:a16="http://schemas.microsoft.com/office/drawing/2014/main" id="{57CE105A-A479-8D9E-28BB-7ECE4B52EC49}"/>
                </a:ext>
              </a:extLst>
            </p:cNvPr>
            <p:cNvSpPr/>
            <p:nvPr/>
          </p:nvSpPr>
          <p:spPr>
            <a:xfrm>
              <a:off x="8800752" y="1073155"/>
              <a:ext cx="58196" cy="58196"/>
            </a:xfrm>
            <a:custGeom>
              <a:avLst/>
              <a:gdLst>
                <a:gd name="connsiteX0" fmla="*/ 58196 w 58196"/>
                <a:gd name="connsiteY0" fmla="*/ 58196 h 58196"/>
                <a:gd name="connsiteX1" fmla="*/ 0 w 58196"/>
                <a:gd name="connsiteY1" fmla="*/ 0 h 581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8196" h="58196">
                  <a:moveTo>
                    <a:pt x="58196" y="58196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637" name="Gráfico 10">
            <a:extLst>
              <a:ext uri="{FF2B5EF4-FFF2-40B4-BE49-F238E27FC236}">
                <a16:creationId xmlns:a16="http://schemas.microsoft.com/office/drawing/2014/main" id="{9B32DDCA-7ABA-FA1C-8CC8-D9CBF039A95F}"/>
              </a:ext>
            </a:extLst>
          </p:cNvPr>
          <p:cNvGrpSpPr/>
          <p:nvPr/>
        </p:nvGrpSpPr>
        <p:grpSpPr>
          <a:xfrm>
            <a:off x="8757847" y="1491728"/>
            <a:ext cx="267166" cy="194019"/>
            <a:chOff x="8757847" y="1491728"/>
            <a:chExt cx="267166" cy="194019"/>
          </a:xfrm>
          <a:noFill/>
        </p:grpSpPr>
        <p:sp>
          <p:nvSpPr>
            <p:cNvPr id="638" name="Forma livre: Forma 637">
              <a:extLst>
                <a:ext uri="{FF2B5EF4-FFF2-40B4-BE49-F238E27FC236}">
                  <a16:creationId xmlns:a16="http://schemas.microsoft.com/office/drawing/2014/main" id="{ABF6280E-84FF-0DE2-DDA7-2117B2EAAA9D}"/>
                </a:ext>
              </a:extLst>
            </p:cNvPr>
            <p:cNvSpPr/>
            <p:nvPr/>
          </p:nvSpPr>
          <p:spPr>
            <a:xfrm>
              <a:off x="8757847" y="1491728"/>
              <a:ext cx="267166" cy="194019"/>
            </a:xfrm>
            <a:custGeom>
              <a:avLst/>
              <a:gdLst>
                <a:gd name="connsiteX0" fmla="*/ 252556 w 267166"/>
                <a:gd name="connsiteY0" fmla="*/ 0 h 194019"/>
                <a:gd name="connsiteX1" fmla="*/ 267166 w 267166"/>
                <a:gd name="connsiteY1" fmla="*/ 14610 h 194019"/>
                <a:gd name="connsiteX2" fmla="*/ 267166 w 267166"/>
                <a:gd name="connsiteY2" fmla="*/ 179409 h 194019"/>
                <a:gd name="connsiteX3" fmla="*/ 252556 w 267166"/>
                <a:gd name="connsiteY3" fmla="*/ 194019 h 194019"/>
                <a:gd name="connsiteX4" fmla="*/ 14610 w 267166"/>
                <a:gd name="connsiteY4" fmla="*/ 194019 h 194019"/>
                <a:gd name="connsiteX5" fmla="*/ 0 w 267166"/>
                <a:gd name="connsiteY5" fmla="*/ 179409 h 194019"/>
                <a:gd name="connsiteX6" fmla="*/ 0 w 267166"/>
                <a:gd name="connsiteY6" fmla="*/ 14610 h 194019"/>
                <a:gd name="connsiteX7" fmla="*/ 14610 w 267166"/>
                <a:gd name="connsiteY7" fmla="*/ 0 h 1940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67166" h="194019">
                  <a:moveTo>
                    <a:pt x="252556" y="0"/>
                  </a:moveTo>
                  <a:cubicBezTo>
                    <a:pt x="260625" y="0"/>
                    <a:pt x="267166" y="6541"/>
                    <a:pt x="267166" y="14610"/>
                  </a:cubicBezTo>
                  <a:lnTo>
                    <a:pt x="267166" y="179409"/>
                  </a:lnTo>
                  <a:cubicBezTo>
                    <a:pt x="267166" y="187478"/>
                    <a:pt x="260625" y="194019"/>
                    <a:pt x="252556" y="194019"/>
                  </a:cubicBezTo>
                  <a:lnTo>
                    <a:pt x="14610" y="194019"/>
                  </a:lnTo>
                  <a:cubicBezTo>
                    <a:pt x="6541" y="194019"/>
                    <a:pt x="0" y="187478"/>
                    <a:pt x="0" y="179409"/>
                  </a:cubicBezTo>
                  <a:lnTo>
                    <a:pt x="0" y="14610"/>
                  </a:lnTo>
                  <a:cubicBezTo>
                    <a:pt x="0" y="6541"/>
                    <a:pt x="6541" y="0"/>
                    <a:pt x="14610" y="0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639" name="Gráfico 10">
              <a:extLst>
                <a:ext uri="{FF2B5EF4-FFF2-40B4-BE49-F238E27FC236}">
                  <a16:creationId xmlns:a16="http://schemas.microsoft.com/office/drawing/2014/main" id="{7EB928EC-060A-19D7-6956-448ABB018F93}"/>
                </a:ext>
              </a:extLst>
            </p:cNvPr>
            <p:cNvGrpSpPr/>
            <p:nvPr/>
          </p:nvGrpSpPr>
          <p:grpSpPr>
            <a:xfrm>
              <a:off x="8766321" y="1606270"/>
              <a:ext cx="250267" cy="72221"/>
              <a:chOff x="8766321" y="1606270"/>
              <a:chExt cx="250267" cy="72221"/>
            </a:xfrm>
          </p:grpSpPr>
          <p:sp>
            <p:nvSpPr>
              <p:cNvPr id="640" name="Forma livre: Forma 639">
                <a:extLst>
                  <a:ext uri="{FF2B5EF4-FFF2-40B4-BE49-F238E27FC236}">
                    <a16:creationId xmlns:a16="http://schemas.microsoft.com/office/drawing/2014/main" id="{57533256-E631-106C-6F9C-DDE63712539E}"/>
                  </a:ext>
                </a:extLst>
              </p:cNvPr>
              <p:cNvSpPr/>
              <p:nvPr/>
            </p:nvSpPr>
            <p:spPr>
              <a:xfrm>
                <a:off x="8766321" y="1606270"/>
                <a:ext cx="60338" cy="72221"/>
              </a:xfrm>
              <a:custGeom>
                <a:avLst/>
                <a:gdLst>
                  <a:gd name="connsiteX0" fmla="*/ 60339 w 60338"/>
                  <a:gd name="connsiteY0" fmla="*/ 0 h 72221"/>
                  <a:gd name="connsiteX1" fmla="*/ 0 w 60338"/>
                  <a:gd name="connsiteY1" fmla="*/ 72222 h 722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0338" h="72221">
                    <a:moveTo>
                      <a:pt x="60339" y="0"/>
                    </a:moveTo>
                    <a:lnTo>
                      <a:pt x="0" y="72222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641" name="Forma livre: Forma 640">
                <a:extLst>
                  <a:ext uri="{FF2B5EF4-FFF2-40B4-BE49-F238E27FC236}">
                    <a16:creationId xmlns:a16="http://schemas.microsoft.com/office/drawing/2014/main" id="{6AC52FDF-B103-211E-CA57-E56D45F86E3B}"/>
                  </a:ext>
                </a:extLst>
              </p:cNvPr>
              <p:cNvSpPr/>
              <p:nvPr/>
            </p:nvSpPr>
            <p:spPr>
              <a:xfrm>
                <a:off x="8956250" y="1606270"/>
                <a:ext cx="60338" cy="72221"/>
              </a:xfrm>
              <a:custGeom>
                <a:avLst/>
                <a:gdLst>
                  <a:gd name="connsiteX0" fmla="*/ 0 w 60338"/>
                  <a:gd name="connsiteY0" fmla="*/ 0 h 72221"/>
                  <a:gd name="connsiteX1" fmla="*/ 60339 w 60338"/>
                  <a:gd name="connsiteY1" fmla="*/ 72222 h 722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0338" h="72221">
                    <a:moveTo>
                      <a:pt x="0" y="0"/>
                    </a:moveTo>
                    <a:lnTo>
                      <a:pt x="60339" y="72222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642" name="Forma livre: Forma 641">
              <a:extLst>
                <a:ext uri="{FF2B5EF4-FFF2-40B4-BE49-F238E27FC236}">
                  <a16:creationId xmlns:a16="http://schemas.microsoft.com/office/drawing/2014/main" id="{0FA869A7-79FB-4901-A9D4-DDE2414ED48C}"/>
                </a:ext>
              </a:extLst>
            </p:cNvPr>
            <p:cNvSpPr/>
            <p:nvPr/>
          </p:nvSpPr>
          <p:spPr>
            <a:xfrm>
              <a:off x="8763058" y="1496160"/>
              <a:ext cx="256500" cy="100223"/>
            </a:xfrm>
            <a:custGeom>
              <a:avLst/>
              <a:gdLst>
                <a:gd name="connsiteX0" fmla="*/ 0 w 256500"/>
                <a:gd name="connsiteY0" fmla="*/ 779 h 100223"/>
                <a:gd name="connsiteX1" fmla="*/ 128811 w 256500"/>
                <a:gd name="connsiteY1" fmla="*/ 100224 h 100223"/>
                <a:gd name="connsiteX2" fmla="*/ 256501 w 256500"/>
                <a:gd name="connsiteY2" fmla="*/ 0 h 1002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56500" h="100223">
                  <a:moveTo>
                    <a:pt x="0" y="779"/>
                  </a:moveTo>
                  <a:lnTo>
                    <a:pt x="128811" y="100224"/>
                  </a:lnTo>
                  <a:lnTo>
                    <a:pt x="256501" y="0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643" name="Gráfico 10">
            <a:extLst>
              <a:ext uri="{FF2B5EF4-FFF2-40B4-BE49-F238E27FC236}">
                <a16:creationId xmlns:a16="http://schemas.microsoft.com/office/drawing/2014/main" id="{7454B3A9-F9E9-4909-3F73-CA25B61115FC}"/>
              </a:ext>
            </a:extLst>
          </p:cNvPr>
          <p:cNvGrpSpPr/>
          <p:nvPr/>
        </p:nvGrpSpPr>
        <p:grpSpPr>
          <a:xfrm>
            <a:off x="8723855" y="2554306"/>
            <a:ext cx="335199" cy="261626"/>
            <a:chOff x="8723855" y="2554306"/>
            <a:chExt cx="335199" cy="261626"/>
          </a:xfrm>
          <a:noFill/>
        </p:grpSpPr>
        <p:sp>
          <p:nvSpPr>
            <p:cNvPr id="644" name="Forma livre: Forma 643">
              <a:extLst>
                <a:ext uri="{FF2B5EF4-FFF2-40B4-BE49-F238E27FC236}">
                  <a16:creationId xmlns:a16="http://schemas.microsoft.com/office/drawing/2014/main" id="{B225826D-3AF0-9FA5-7CD3-33DA525C0380}"/>
                </a:ext>
              </a:extLst>
            </p:cNvPr>
            <p:cNvSpPr/>
            <p:nvPr/>
          </p:nvSpPr>
          <p:spPr>
            <a:xfrm>
              <a:off x="8723855" y="2554306"/>
              <a:ext cx="335199" cy="223677"/>
            </a:xfrm>
            <a:custGeom>
              <a:avLst/>
              <a:gdLst>
                <a:gd name="connsiteX0" fmla="*/ 91214 w 335199"/>
                <a:gd name="connsiteY0" fmla="*/ 223678 h 223677"/>
                <a:gd name="connsiteX1" fmla="*/ 63310 w 335199"/>
                <a:gd name="connsiteY1" fmla="*/ 223678 h 223677"/>
                <a:gd name="connsiteX2" fmla="*/ 0 w 335199"/>
                <a:gd name="connsiteY2" fmla="*/ 160368 h 223677"/>
                <a:gd name="connsiteX3" fmla="*/ 63310 w 335199"/>
                <a:gd name="connsiteY3" fmla="*/ 97058 h 223677"/>
                <a:gd name="connsiteX4" fmla="*/ 64673 w 335199"/>
                <a:gd name="connsiteY4" fmla="*/ 97058 h 223677"/>
                <a:gd name="connsiteX5" fmla="*/ 64673 w 335199"/>
                <a:gd name="connsiteY5" fmla="*/ 81718 h 223677"/>
                <a:gd name="connsiteX6" fmla="*/ 148047 w 335199"/>
                <a:gd name="connsiteY6" fmla="*/ 0 h 223677"/>
                <a:gd name="connsiteX7" fmla="*/ 231372 w 335199"/>
                <a:gd name="connsiteY7" fmla="*/ 78796 h 223677"/>
                <a:gd name="connsiteX8" fmla="*/ 267020 w 335199"/>
                <a:gd name="connsiteY8" fmla="*/ 78796 h 223677"/>
                <a:gd name="connsiteX9" fmla="*/ 335200 w 335199"/>
                <a:gd name="connsiteY9" fmla="*/ 146927 h 223677"/>
                <a:gd name="connsiteX10" fmla="*/ 335200 w 335199"/>
                <a:gd name="connsiteY10" fmla="*/ 155449 h 223677"/>
                <a:gd name="connsiteX11" fmla="*/ 267020 w 335199"/>
                <a:gd name="connsiteY11" fmla="*/ 223629 h 223677"/>
                <a:gd name="connsiteX12" fmla="*/ 246858 w 335199"/>
                <a:gd name="connsiteY12" fmla="*/ 223629 h 2236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35199" h="223677">
                  <a:moveTo>
                    <a:pt x="91214" y="223678"/>
                  </a:moveTo>
                  <a:lnTo>
                    <a:pt x="63310" y="223678"/>
                  </a:lnTo>
                  <a:cubicBezTo>
                    <a:pt x="28489" y="223678"/>
                    <a:pt x="0" y="195188"/>
                    <a:pt x="0" y="160368"/>
                  </a:cubicBezTo>
                  <a:cubicBezTo>
                    <a:pt x="0" y="125548"/>
                    <a:pt x="28489" y="97058"/>
                    <a:pt x="63310" y="97058"/>
                  </a:cubicBezTo>
                  <a:lnTo>
                    <a:pt x="64673" y="97058"/>
                  </a:lnTo>
                  <a:lnTo>
                    <a:pt x="64673" y="81718"/>
                  </a:lnTo>
                  <a:cubicBezTo>
                    <a:pt x="64673" y="36768"/>
                    <a:pt x="102220" y="0"/>
                    <a:pt x="148047" y="0"/>
                  </a:cubicBezTo>
                  <a:cubicBezTo>
                    <a:pt x="193873" y="0"/>
                    <a:pt x="229814" y="35210"/>
                    <a:pt x="231372" y="78796"/>
                  </a:cubicBezTo>
                  <a:lnTo>
                    <a:pt x="267020" y="78796"/>
                  </a:lnTo>
                  <a:cubicBezTo>
                    <a:pt x="304519" y="78796"/>
                    <a:pt x="335200" y="109428"/>
                    <a:pt x="335200" y="146927"/>
                  </a:cubicBezTo>
                  <a:lnTo>
                    <a:pt x="335200" y="155449"/>
                  </a:lnTo>
                  <a:cubicBezTo>
                    <a:pt x="335200" y="192948"/>
                    <a:pt x="304519" y="223629"/>
                    <a:pt x="267020" y="223629"/>
                  </a:cubicBezTo>
                  <a:lnTo>
                    <a:pt x="246858" y="223629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45" name="Forma livre: Forma 644">
              <a:extLst>
                <a:ext uri="{FF2B5EF4-FFF2-40B4-BE49-F238E27FC236}">
                  <a16:creationId xmlns:a16="http://schemas.microsoft.com/office/drawing/2014/main" id="{933764AC-DEAD-0AEC-369C-E22E1569397F}"/>
                </a:ext>
              </a:extLst>
            </p:cNvPr>
            <p:cNvSpPr/>
            <p:nvPr/>
          </p:nvSpPr>
          <p:spPr>
            <a:xfrm>
              <a:off x="8832141" y="2676347"/>
              <a:ext cx="122764" cy="139585"/>
            </a:xfrm>
            <a:custGeom>
              <a:avLst/>
              <a:gdLst>
                <a:gd name="connsiteX0" fmla="*/ 32262 w 122764"/>
                <a:gd name="connsiteY0" fmla="*/ 0 h 139585"/>
                <a:gd name="connsiteX1" fmla="*/ 32262 w 122764"/>
                <a:gd name="connsiteY1" fmla="*/ 70907 h 139585"/>
                <a:gd name="connsiteX2" fmla="*/ 6110 w 122764"/>
                <a:gd name="connsiteY2" fmla="*/ 70907 h 139585"/>
                <a:gd name="connsiteX3" fmla="*/ 753 w 122764"/>
                <a:gd name="connsiteY3" fmla="*/ 74900 h 139585"/>
                <a:gd name="connsiteX4" fmla="*/ 1824 w 122764"/>
                <a:gd name="connsiteY4" fmla="*/ 84007 h 139585"/>
                <a:gd name="connsiteX5" fmla="*/ 54712 w 122764"/>
                <a:gd name="connsiteY5" fmla="*/ 136846 h 139585"/>
                <a:gd name="connsiteX6" fmla="*/ 68056 w 122764"/>
                <a:gd name="connsiteY6" fmla="*/ 136846 h 139585"/>
                <a:gd name="connsiteX7" fmla="*/ 120700 w 122764"/>
                <a:gd name="connsiteY7" fmla="*/ 84007 h 139585"/>
                <a:gd name="connsiteX8" fmla="*/ 122113 w 122764"/>
                <a:gd name="connsiteY8" fmla="*/ 74998 h 139585"/>
                <a:gd name="connsiteX9" fmla="*/ 115684 w 122764"/>
                <a:gd name="connsiteY9" fmla="*/ 70907 h 139585"/>
                <a:gd name="connsiteX10" fmla="*/ 88412 w 122764"/>
                <a:gd name="connsiteY10" fmla="*/ 70907 h 139585"/>
                <a:gd name="connsiteX11" fmla="*/ 88412 w 122764"/>
                <a:gd name="connsiteY11" fmla="*/ 0 h 1395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22764" h="139585">
                  <a:moveTo>
                    <a:pt x="32262" y="0"/>
                  </a:moveTo>
                  <a:lnTo>
                    <a:pt x="32262" y="70907"/>
                  </a:lnTo>
                  <a:lnTo>
                    <a:pt x="6110" y="70907"/>
                  </a:lnTo>
                  <a:cubicBezTo>
                    <a:pt x="2896" y="70907"/>
                    <a:pt x="1386" y="73439"/>
                    <a:pt x="753" y="74900"/>
                  </a:cubicBezTo>
                  <a:cubicBezTo>
                    <a:pt x="-562" y="78066"/>
                    <a:pt x="-124" y="82059"/>
                    <a:pt x="1824" y="84007"/>
                  </a:cubicBezTo>
                  <a:lnTo>
                    <a:pt x="54712" y="136846"/>
                  </a:lnTo>
                  <a:cubicBezTo>
                    <a:pt x="58413" y="140498"/>
                    <a:pt x="64403" y="140498"/>
                    <a:pt x="68056" y="136846"/>
                  </a:cubicBezTo>
                  <a:lnTo>
                    <a:pt x="120700" y="84007"/>
                  </a:lnTo>
                  <a:cubicBezTo>
                    <a:pt x="122746" y="81962"/>
                    <a:pt x="123379" y="78017"/>
                    <a:pt x="122113" y="74998"/>
                  </a:cubicBezTo>
                  <a:cubicBezTo>
                    <a:pt x="120992" y="72368"/>
                    <a:pt x="118703" y="70907"/>
                    <a:pt x="115684" y="70907"/>
                  </a:cubicBezTo>
                  <a:lnTo>
                    <a:pt x="88412" y="70907"/>
                  </a:lnTo>
                  <a:cubicBezTo>
                    <a:pt x="88412" y="70907"/>
                    <a:pt x="88412" y="0"/>
                    <a:pt x="88412" y="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646" name="Gráfico 10">
            <a:extLst>
              <a:ext uri="{FF2B5EF4-FFF2-40B4-BE49-F238E27FC236}">
                <a16:creationId xmlns:a16="http://schemas.microsoft.com/office/drawing/2014/main" id="{68AA0D19-4A6B-FDE8-D3AC-66E10DC78F40}"/>
              </a:ext>
            </a:extLst>
          </p:cNvPr>
          <p:cNvGrpSpPr/>
          <p:nvPr/>
        </p:nvGrpSpPr>
        <p:grpSpPr>
          <a:xfrm>
            <a:off x="8757555" y="3099449"/>
            <a:ext cx="267847" cy="267847"/>
            <a:chOff x="8757555" y="3099449"/>
            <a:chExt cx="267847" cy="267847"/>
          </a:xfrm>
          <a:noFill/>
        </p:grpSpPr>
        <p:sp>
          <p:nvSpPr>
            <p:cNvPr id="647" name="Forma livre: Forma 646">
              <a:extLst>
                <a:ext uri="{FF2B5EF4-FFF2-40B4-BE49-F238E27FC236}">
                  <a16:creationId xmlns:a16="http://schemas.microsoft.com/office/drawing/2014/main" id="{B6F45BFD-65FC-3BA9-717D-4F042C3E3E78}"/>
                </a:ext>
              </a:extLst>
            </p:cNvPr>
            <p:cNvSpPr/>
            <p:nvPr/>
          </p:nvSpPr>
          <p:spPr>
            <a:xfrm>
              <a:off x="8818430" y="3167629"/>
              <a:ext cx="146098" cy="138793"/>
            </a:xfrm>
            <a:custGeom>
              <a:avLst/>
              <a:gdLst>
                <a:gd name="connsiteX0" fmla="*/ 104704 w 146098"/>
                <a:gd name="connsiteY0" fmla="*/ 0 h 138793"/>
                <a:gd name="connsiteX1" fmla="*/ 146099 w 146098"/>
                <a:gd name="connsiteY1" fmla="*/ 65745 h 138793"/>
                <a:gd name="connsiteX2" fmla="*/ 73049 w 146098"/>
                <a:gd name="connsiteY2" fmla="*/ 138794 h 138793"/>
                <a:gd name="connsiteX3" fmla="*/ 0 w 146098"/>
                <a:gd name="connsiteY3" fmla="*/ 65745 h 138793"/>
                <a:gd name="connsiteX4" fmla="*/ 41200 w 146098"/>
                <a:gd name="connsiteY4" fmla="*/ 0 h 1387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6098" h="138793">
                  <a:moveTo>
                    <a:pt x="104704" y="0"/>
                  </a:moveTo>
                  <a:cubicBezTo>
                    <a:pt x="129200" y="11785"/>
                    <a:pt x="146099" y="36768"/>
                    <a:pt x="146099" y="65745"/>
                  </a:cubicBezTo>
                  <a:cubicBezTo>
                    <a:pt x="146099" y="106068"/>
                    <a:pt x="113373" y="138794"/>
                    <a:pt x="73049" y="138794"/>
                  </a:cubicBezTo>
                  <a:cubicBezTo>
                    <a:pt x="32726" y="138794"/>
                    <a:pt x="0" y="106068"/>
                    <a:pt x="0" y="65745"/>
                  </a:cubicBezTo>
                  <a:cubicBezTo>
                    <a:pt x="0" y="36817"/>
                    <a:pt x="16801" y="11834"/>
                    <a:pt x="41200" y="0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48" name="Forma livre: Forma 647">
              <a:extLst>
                <a:ext uri="{FF2B5EF4-FFF2-40B4-BE49-F238E27FC236}">
                  <a16:creationId xmlns:a16="http://schemas.microsoft.com/office/drawing/2014/main" id="{9AD7E1D0-85C2-0665-51BD-1742DCE0E980}"/>
                </a:ext>
              </a:extLst>
            </p:cNvPr>
            <p:cNvSpPr/>
            <p:nvPr/>
          </p:nvSpPr>
          <p:spPr>
            <a:xfrm>
              <a:off x="8891479" y="3146298"/>
              <a:ext cx="4869" cy="83422"/>
            </a:xfrm>
            <a:custGeom>
              <a:avLst/>
              <a:gdLst>
                <a:gd name="connsiteX0" fmla="*/ 0 w 4869"/>
                <a:gd name="connsiteY0" fmla="*/ 83422 h 83422"/>
                <a:gd name="connsiteX1" fmla="*/ 0 w 4869"/>
                <a:gd name="connsiteY1" fmla="*/ 0 h 834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869" h="83422">
                  <a:moveTo>
                    <a:pt x="0" y="83422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49" name="Forma livre: Forma 648">
              <a:extLst>
                <a:ext uri="{FF2B5EF4-FFF2-40B4-BE49-F238E27FC236}">
                  <a16:creationId xmlns:a16="http://schemas.microsoft.com/office/drawing/2014/main" id="{2A34117D-6F41-6ACC-611A-294588D993AD}"/>
                </a:ext>
              </a:extLst>
            </p:cNvPr>
            <p:cNvSpPr/>
            <p:nvPr/>
          </p:nvSpPr>
          <p:spPr>
            <a:xfrm>
              <a:off x="8757555" y="3099449"/>
              <a:ext cx="267847" cy="267847"/>
            </a:xfrm>
            <a:custGeom>
              <a:avLst/>
              <a:gdLst>
                <a:gd name="connsiteX0" fmla="*/ 267848 w 267847"/>
                <a:gd name="connsiteY0" fmla="*/ 133924 h 267847"/>
                <a:gd name="connsiteX1" fmla="*/ 133924 w 267847"/>
                <a:gd name="connsiteY1" fmla="*/ 267848 h 267847"/>
                <a:gd name="connsiteX2" fmla="*/ 0 w 267847"/>
                <a:gd name="connsiteY2" fmla="*/ 133924 h 267847"/>
                <a:gd name="connsiteX3" fmla="*/ 133924 w 267847"/>
                <a:gd name="connsiteY3" fmla="*/ 0 h 267847"/>
                <a:gd name="connsiteX4" fmla="*/ 267848 w 267847"/>
                <a:gd name="connsiteY4" fmla="*/ 133924 h 2678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67847" h="267847">
                  <a:moveTo>
                    <a:pt x="267848" y="133924"/>
                  </a:moveTo>
                  <a:cubicBezTo>
                    <a:pt x="267848" y="207899"/>
                    <a:pt x="207899" y="267848"/>
                    <a:pt x="133924" y="267848"/>
                  </a:cubicBezTo>
                  <a:cubicBezTo>
                    <a:pt x="59949" y="267848"/>
                    <a:pt x="0" y="207899"/>
                    <a:pt x="0" y="133924"/>
                  </a:cubicBezTo>
                  <a:cubicBezTo>
                    <a:pt x="0" y="59949"/>
                    <a:pt x="59949" y="0"/>
                    <a:pt x="133924" y="0"/>
                  </a:cubicBezTo>
                  <a:cubicBezTo>
                    <a:pt x="207899" y="0"/>
                    <a:pt x="267848" y="59949"/>
                    <a:pt x="267848" y="133924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650" name="Gráfico 10">
            <a:extLst>
              <a:ext uri="{FF2B5EF4-FFF2-40B4-BE49-F238E27FC236}">
                <a16:creationId xmlns:a16="http://schemas.microsoft.com/office/drawing/2014/main" id="{2D6D374E-E5E9-4A7E-A503-3F7328F0E44B}"/>
              </a:ext>
            </a:extLst>
          </p:cNvPr>
          <p:cNvGrpSpPr/>
          <p:nvPr/>
        </p:nvGrpSpPr>
        <p:grpSpPr>
          <a:xfrm>
            <a:off x="8759016" y="1989828"/>
            <a:ext cx="264877" cy="279097"/>
            <a:chOff x="8759016" y="1989828"/>
            <a:chExt cx="264877" cy="279097"/>
          </a:xfrm>
          <a:noFill/>
        </p:grpSpPr>
        <p:sp>
          <p:nvSpPr>
            <p:cNvPr id="651" name="Forma livre: Forma 650">
              <a:extLst>
                <a:ext uri="{FF2B5EF4-FFF2-40B4-BE49-F238E27FC236}">
                  <a16:creationId xmlns:a16="http://schemas.microsoft.com/office/drawing/2014/main" id="{A1F9A96C-1CFE-12D9-0B4C-1C17BF2F8293}"/>
                </a:ext>
              </a:extLst>
            </p:cNvPr>
            <p:cNvSpPr/>
            <p:nvPr/>
          </p:nvSpPr>
          <p:spPr>
            <a:xfrm>
              <a:off x="8759016" y="1989828"/>
              <a:ext cx="264877" cy="279097"/>
            </a:xfrm>
            <a:custGeom>
              <a:avLst/>
              <a:gdLst>
                <a:gd name="connsiteX0" fmla="*/ 129395 w 264877"/>
                <a:gd name="connsiteY0" fmla="*/ 229473 h 279097"/>
                <a:gd name="connsiteX1" fmla="*/ 227038 w 264877"/>
                <a:gd name="connsiteY1" fmla="*/ 268481 h 279097"/>
                <a:gd name="connsiteX2" fmla="*/ 264877 w 264877"/>
                <a:gd name="connsiteY2" fmla="*/ 0 h 279097"/>
                <a:gd name="connsiteX3" fmla="*/ 0 w 264877"/>
                <a:gd name="connsiteY3" fmla="*/ 178192 h 279097"/>
                <a:gd name="connsiteX4" fmla="*/ 79332 w 264877"/>
                <a:gd name="connsiteY4" fmla="*/ 207460 h 279097"/>
                <a:gd name="connsiteX5" fmla="*/ 105727 w 264877"/>
                <a:gd name="connsiteY5" fmla="*/ 279098 h 279097"/>
                <a:gd name="connsiteX6" fmla="*/ 129395 w 264877"/>
                <a:gd name="connsiteY6" fmla="*/ 229473 h 2790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64877" h="279097">
                  <a:moveTo>
                    <a:pt x="129395" y="229473"/>
                  </a:moveTo>
                  <a:lnTo>
                    <a:pt x="227038" y="268481"/>
                  </a:lnTo>
                  <a:lnTo>
                    <a:pt x="264877" y="0"/>
                  </a:lnTo>
                  <a:lnTo>
                    <a:pt x="0" y="178192"/>
                  </a:lnTo>
                  <a:lnTo>
                    <a:pt x="79332" y="207460"/>
                  </a:lnTo>
                  <a:lnTo>
                    <a:pt x="105727" y="279098"/>
                  </a:lnTo>
                  <a:lnTo>
                    <a:pt x="129395" y="229473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52" name="Forma livre: Forma 651">
              <a:extLst>
                <a:ext uri="{FF2B5EF4-FFF2-40B4-BE49-F238E27FC236}">
                  <a16:creationId xmlns:a16="http://schemas.microsoft.com/office/drawing/2014/main" id="{8967FC38-6C1E-C0F1-FD46-8DBC8201A54A}"/>
                </a:ext>
              </a:extLst>
            </p:cNvPr>
            <p:cNvSpPr/>
            <p:nvPr/>
          </p:nvSpPr>
          <p:spPr>
            <a:xfrm>
              <a:off x="8858363" y="1992604"/>
              <a:ext cx="163338" cy="182574"/>
            </a:xfrm>
            <a:custGeom>
              <a:avLst/>
              <a:gdLst>
                <a:gd name="connsiteX0" fmla="*/ 0 w 163338"/>
                <a:gd name="connsiteY0" fmla="*/ 182575 h 182574"/>
                <a:gd name="connsiteX1" fmla="*/ 163339 w 163338"/>
                <a:gd name="connsiteY1" fmla="*/ 0 h 1825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63338" h="182574">
                  <a:moveTo>
                    <a:pt x="0" y="182575"/>
                  </a:moveTo>
                  <a:lnTo>
                    <a:pt x="163339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53" name="Forma livre: Forma 652">
              <a:extLst>
                <a:ext uri="{FF2B5EF4-FFF2-40B4-BE49-F238E27FC236}">
                  <a16:creationId xmlns:a16="http://schemas.microsoft.com/office/drawing/2014/main" id="{E8A26478-B3A0-A0D3-64A6-CD3F5B18557B}"/>
                </a:ext>
              </a:extLst>
            </p:cNvPr>
            <p:cNvSpPr/>
            <p:nvPr/>
          </p:nvSpPr>
          <p:spPr>
            <a:xfrm>
              <a:off x="8888411" y="1992702"/>
              <a:ext cx="134021" cy="226599"/>
            </a:xfrm>
            <a:custGeom>
              <a:avLst/>
              <a:gdLst>
                <a:gd name="connsiteX0" fmla="*/ 0 w 134021"/>
                <a:gd name="connsiteY0" fmla="*/ 226599 h 226599"/>
                <a:gd name="connsiteX1" fmla="*/ 134021 w 134021"/>
                <a:gd name="connsiteY1" fmla="*/ 0 h 2265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34021" h="226599">
                  <a:moveTo>
                    <a:pt x="0" y="226599"/>
                  </a:moveTo>
                  <a:lnTo>
                    <a:pt x="134021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654" name="Gráfico 10">
            <a:extLst>
              <a:ext uri="{FF2B5EF4-FFF2-40B4-BE49-F238E27FC236}">
                <a16:creationId xmlns:a16="http://schemas.microsoft.com/office/drawing/2014/main" id="{C2BE9260-6FAD-5EDD-54F2-5FDA01E2A9CD}"/>
              </a:ext>
            </a:extLst>
          </p:cNvPr>
          <p:cNvGrpSpPr/>
          <p:nvPr/>
        </p:nvGrpSpPr>
        <p:grpSpPr>
          <a:xfrm>
            <a:off x="8115012" y="885175"/>
            <a:ext cx="286012" cy="310703"/>
            <a:chOff x="8115012" y="885175"/>
            <a:chExt cx="286012" cy="310703"/>
          </a:xfrm>
        </p:grpSpPr>
        <p:sp>
          <p:nvSpPr>
            <p:cNvPr id="655" name="Forma livre: Forma 654">
              <a:extLst>
                <a:ext uri="{FF2B5EF4-FFF2-40B4-BE49-F238E27FC236}">
                  <a16:creationId xmlns:a16="http://schemas.microsoft.com/office/drawing/2014/main" id="{EC648248-EC7D-7F4C-6301-61EC3339D526}"/>
                </a:ext>
              </a:extLst>
            </p:cNvPr>
            <p:cNvSpPr/>
            <p:nvPr/>
          </p:nvSpPr>
          <p:spPr>
            <a:xfrm>
              <a:off x="8223077" y="1107927"/>
              <a:ext cx="69883" cy="4869"/>
            </a:xfrm>
            <a:custGeom>
              <a:avLst/>
              <a:gdLst>
                <a:gd name="connsiteX0" fmla="*/ 0 w 69883"/>
                <a:gd name="connsiteY0" fmla="*/ 0 h 4869"/>
                <a:gd name="connsiteX1" fmla="*/ 69884 w 69883"/>
                <a:gd name="connsiteY1" fmla="*/ 0 h 48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9883" h="4869">
                  <a:moveTo>
                    <a:pt x="0" y="0"/>
                  </a:moveTo>
                  <a:lnTo>
                    <a:pt x="69884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56" name="Forma livre: Forma 655">
              <a:extLst>
                <a:ext uri="{FF2B5EF4-FFF2-40B4-BE49-F238E27FC236}">
                  <a16:creationId xmlns:a16="http://schemas.microsoft.com/office/drawing/2014/main" id="{F5474469-606F-318F-F183-4FB1A0B67427}"/>
                </a:ext>
              </a:extLst>
            </p:cNvPr>
            <p:cNvSpPr/>
            <p:nvPr/>
          </p:nvSpPr>
          <p:spPr>
            <a:xfrm>
              <a:off x="8154118" y="1056792"/>
              <a:ext cx="207850" cy="4869"/>
            </a:xfrm>
            <a:custGeom>
              <a:avLst/>
              <a:gdLst>
                <a:gd name="connsiteX0" fmla="*/ 207850 w 207850"/>
                <a:gd name="connsiteY0" fmla="*/ 0 h 4869"/>
                <a:gd name="connsiteX1" fmla="*/ 0 w 207850"/>
                <a:gd name="connsiteY1" fmla="*/ 0 h 48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07850" h="4869">
                  <a:moveTo>
                    <a:pt x="207850" y="0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57" name="Forma livre: Forma 656">
              <a:extLst>
                <a:ext uri="{FF2B5EF4-FFF2-40B4-BE49-F238E27FC236}">
                  <a16:creationId xmlns:a16="http://schemas.microsoft.com/office/drawing/2014/main" id="{1E142BEE-573B-5F7F-FDCC-048944B2336F}"/>
                </a:ext>
              </a:extLst>
            </p:cNvPr>
            <p:cNvSpPr/>
            <p:nvPr/>
          </p:nvSpPr>
          <p:spPr>
            <a:xfrm>
              <a:off x="8222590" y="1107294"/>
              <a:ext cx="70906" cy="4869"/>
            </a:xfrm>
            <a:custGeom>
              <a:avLst/>
              <a:gdLst>
                <a:gd name="connsiteX0" fmla="*/ 0 w 70906"/>
                <a:gd name="connsiteY0" fmla="*/ 0 h 4869"/>
                <a:gd name="connsiteX1" fmla="*/ 70907 w 70906"/>
                <a:gd name="connsiteY1" fmla="*/ 0 h 48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0906" h="4869">
                  <a:moveTo>
                    <a:pt x="0" y="0"/>
                  </a:moveTo>
                  <a:lnTo>
                    <a:pt x="70907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58" name="Forma livre: Forma 657">
              <a:extLst>
                <a:ext uri="{FF2B5EF4-FFF2-40B4-BE49-F238E27FC236}">
                  <a16:creationId xmlns:a16="http://schemas.microsoft.com/office/drawing/2014/main" id="{60B51341-C4A0-AA62-3415-68D87BF1F6F7}"/>
                </a:ext>
              </a:extLst>
            </p:cNvPr>
            <p:cNvSpPr/>
            <p:nvPr/>
          </p:nvSpPr>
          <p:spPr>
            <a:xfrm>
              <a:off x="8222590" y="1145572"/>
              <a:ext cx="70906" cy="4869"/>
            </a:xfrm>
            <a:custGeom>
              <a:avLst/>
              <a:gdLst>
                <a:gd name="connsiteX0" fmla="*/ 0 w 70906"/>
                <a:gd name="connsiteY0" fmla="*/ 0 h 4869"/>
                <a:gd name="connsiteX1" fmla="*/ 70907 w 70906"/>
                <a:gd name="connsiteY1" fmla="*/ 0 h 48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0906" h="4869">
                  <a:moveTo>
                    <a:pt x="0" y="0"/>
                  </a:moveTo>
                  <a:lnTo>
                    <a:pt x="70907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59" name="Forma livre: Forma 658">
              <a:extLst>
                <a:ext uri="{FF2B5EF4-FFF2-40B4-BE49-F238E27FC236}">
                  <a16:creationId xmlns:a16="http://schemas.microsoft.com/office/drawing/2014/main" id="{F4A7EDD0-9BA0-CE05-4758-DF7178A502F4}"/>
                </a:ext>
              </a:extLst>
            </p:cNvPr>
            <p:cNvSpPr/>
            <p:nvPr/>
          </p:nvSpPr>
          <p:spPr>
            <a:xfrm>
              <a:off x="8115012" y="960513"/>
              <a:ext cx="286012" cy="148144"/>
            </a:xfrm>
            <a:custGeom>
              <a:avLst/>
              <a:gdLst>
                <a:gd name="connsiteX0" fmla="*/ 44755 w 286012"/>
                <a:gd name="connsiteY0" fmla="*/ 148144 h 148144"/>
                <a:gd name="connsiteX1" fmla="*/ 14610 w 286012"/>
                <a:gd name="connsiteY1" fmla="*/ 148144 h 148144"/>
                <a:gd name="connsiteX2" fmla="*/ 0 w 286012"/>
                <a:gd name="connsiteY2" fmla="*/ 133534 h 148144"/>
                <a:gd name="connsiteX3" fmla="*/ 0 w 286012"/>
                <a:gd name="connsiteY3" fmla="*/ 14610 h 148144"/>
                <a:gd name="connsiteX4" fmla="*/ 14610 w 286012"/>
                <a:gd name="connsiteY4" fmla="*/ 0 h 148144"/>
                <a:gd name="connsiteX5" fmla="*/ 271403 w 286012"/>
                <a:gd name="connsiteY5" fmla="*/ 0 h 148144"/>
                <a:gd name="connsiteX6" fmla="*/ 286013 w 286012"/>
                <a:gd name="connsiteY6" fmla="*/ 14610 h 148144"/>
                <a:gd name="connsiteX7" fmla="*/ 286013 w 286012"/>
                <a:gd name="connsiteY7" fmla="*/ 133534 h 148144"/>
                <a:gd name="connsiteX8" fmla="*/ 271403 w 286012"/>
                <a:gd name="connsiteY8" fmla="*/ 148144 h 148144"/>
                <a:gd name="connsiteX9" fmla="*/ 240722 w 286012"/>
                <a:gd name="connsiteY9" fmla="*/ 148144 h 1481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86012" h="148144">
                  <a:moveTo>
                    <a:pt x="44755" y="148144"/>
                  </a:moveTo>
                  <a:lnTo>
                    <a:pt x="14610" y="148144"/>
                  </a:lnTo>
                  <a:cubicBezTo>
                    <a:pt x="6574" y="148144"/>
                    <a:pt x="0" y="141570"/>
                    <a:pt x="0" y="133534"/>
                  </a:cubicBezTo>
                  <a:lnTo>
                    <a:pt x="0" y="14610"/>
                  </a:lnTo>
                  <a:cubicBezTo>
                    <a:pt x="0" y="6574"/>
                    <a:pt x="6574" y="0"/>
                    <a:pt x="14610" y="0"/>
                  </a:cubicBezTo>
                  <a:lnTo>
                    <a:pt x="271403" y="0"/>
                  </a:lnTo>
                  <a:cubicBezTo>
                    <a:pt x="279439" y="0"/>
                    <a:pt x="286013" y="6574"/>
                    <a:pt x="286013" y="14610"/>
                  </a:cubicBezTo>
                  <a:lnTo>
                    <a:pt x="286013" y="133534"/>
                  </a:lnTo>
                  <a:cubicBezTo>
                    <a:pt x="286013" y="141570"/>
                    <a:pt x="279439" y="148144"/>
                    <a:pt x="271403" y="148144"/>
                  </a:cubicBezTo>
                  <a:lnTo>
                    <a:pt x="240722" y="148144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60" name="Forma livre: Forma 659">
              <a:extLst>
                <a:ext uri="{FF2B5EF4-FFF2-40B4-BE49-F238E27FC236}">
                  <a16:creationId xmlns:a16="http://schemas.microsoft.com/office/drawing/2014/main" id="{FE51CF0F-46FE-D711-B0B9-D1F6CAFC9624}"/>
                </a:ext>
              </a:extLst>
            </p:cNvPr>
            <p:cNvSpPr/>
            <p:nvPr/>
          </p:nvSpPr>
          <p:spPr>
            <a:xfrm>
              <a:off x="8183825" y="1056987"/>
              <a:ext cx="148387" cy="138891"/>
            </a:xfrm>
            <a:custGeom>
              <a:avLst/>
              <a:gdLst>
                <a:gd name="connsiteX0" fmla="*/ 148388 w 148387"/>
                <a:gd name="connsiteY0" fmla="*/ 0 h 138891"/>
                <a:gd name="connsiteX1" fmla="*/ 148388 w 148387"/>
                <a:gd name="connsiteY1" fmla="*/ 138891 h 138891"/>
                <a:gd name="connsiteX2" fmla="*/ 0 w 148387"/>
                <a:gd name="connsiteY2" fmla="*/ 138891 h 138891"/>
                <a:gd name="connsiteX3" fmla="*/ 0 w 148387"/>
                <a:gd name="connsiteY3" fmla="*/ 0 h 1388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8387" h="138891">
                  <a:moveTo>
                    <a:pt x="148388" y="0"/>
                  </a:moveTo>
                  <a:lnTo>
                    <a:pt x="148388" y="138891"/>
                  </a:lnTo>
                  <a:lnTo>
                    <a:pt x="0" y="138891"/>
                  </a:lnTo>
                  <a:lnTo>
                    <a:pt x="0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61" name="Forma livre: Forma 660">
              <a:extLst>
                <a:ext uri="{FF2B5EF4-FFF2-40B4-BE49-F238E27FC236}">
                  <a16:creationId xmlns:a16="http://schemas.microsoft.com/office/drawing/2014/main" id="{E37B82D3-05EE-C403-B460-2D3C6049D064}"/>
                </a:ext>
              </a:extLst>
            </p:cNvPr>
            <p:cNvSpPr/>
            <p:nvPr/>
          </p:nvSpPr>
          <p:spPr>
            <a:xfrm>
              <a:off x="8183825" y="885175"/>
              <a:ext cx="148387" cy="74656"/>
            </a:xfrm>
            <a:custGeom>
              <a:avLst/>
              <a:gdLst>
                <a:gd name="connsiteX0" fmla="*/ 0 w 148387"/>
                <a:gd name="connsiteY0" fmla="*/ 74657 h 74656"/>
                <a:gd name="connsiteX1" fmla="*/ 0 w 148387"/>
                <a:gd name="connsiteY1" fmla="*/ 0 h 74656"/>
                <a:gd name="connsiteX2" fmla="*/ 148388 w 148387"/>
                <a:gd name="connsiteY2" fmla="*/ 0 h 74656"/>
                <a:gd name="connsiteX3" fmla="*/ 148388 w 148387"/>
                <a:gd name="connsiteY3" fmla="*/ 74657 h 746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8387" h="74656">
                  <a:moveTo>
                    <a:pt x="0" y="74657"/>
                  </a:moveTo>
                  <a:lnTo>
                    <a:pt x="0" y="0"/>
                  </a:lnTo>
                  <a:lnTo>
                    <a:pt x="148388" y="0"/>
                  </a:lnTo>
                  <a:lnTo>
                    <a:pt x="148388" y="74657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62" name="Forma livre: Forma 661">
              <a:extLst>
                <a:ext uri="{FF2B5EF4-FFF2-40B4-BE49-F238E27FC236}">
                  <a16:creationId xmlns:a16="http://schemas.microsoft.com/office/drawing/2014/main" id="{C280014D-C95C-5AFA-AF41-797FE1C2E38F}"/>
                </a:ext>
              </a:extLst>
            </p:cNvPr>
            <p:cNvSpPr/>
            <p:nvPr/>
          </p:nvSpPr>
          <p:spPr>
            <a:xfrm>
              <a:off x="8155725" y="998450"/>
              <a:ext cx="7597" cy="7597"/>
            </a:xfrm>
            <a:custGeom>
              <a:avLst/>
              <a:gdLst>
                <a:gd name="connsiteX0" fmla="*/ 7597 w 7597"/>
                <a:gd name="connsiteY0" fmla="*/ 3799 h 7597"/>
                <a:gd name="connsiteX1" fmla="*/ 3799 w 7597"/>
                <a:gd name="connsiteY1" fmla="*/ 7597 h 7597"/>
                <a:gd name="connsiteX2" fmla="*/ 0 w 7597"/>
                <a:gd name="connsiteY2" fmla="*/ 3799 h 7597"/>
                <a:gd name="connsiteX3" fmla="*/ 3799 w 7597"/>
                <a:gd name="connsiteY3" fmla="*/ 0 h 7597"/>
                <a:gd name="connsiteX4" fmla="*/ 7597 w 7597"/>
                <a:gd name="connsiteY4" fmla="*/ 3799 h 75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597" h="7597">
                  <a:moveTo>
                    <a:pt x="7597" y="3799"/>
                  </a:moveTo>
                  <a:cubicBezTo>
                    <a:pt x="7597" y="5893"/>
                    <a:pt x="5893" y="7597"/>
                    <a:pt x="3799" y="7597"/>
                  </a:cubicBezTo>
                  <a:cubicBezTo>
                    <a:pt x="1704" y="7597"/>
                    <a:pt x="0" y="5893"/>
                    <a:pt x="0" y="3799"/>
                  </a:cubicBezTo>
                  <a:cubicBezTo>
                    <a:pt x="0" y="1704"/>
                    <a:pt x="1704" y="0"/>
                    <a:pt x="3799" y="0"/>
                  </a:cubicBezTo>
                  <a:cubicBezTo>
                    <a:pt x="5893" y="0"/>
                    <a:pt x="7597" y="1704"/>
                    <a:pt x="7597" y="3799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663" name="Gráfico 10">
            <a:extLst>
              <a:ext uri="{FF2B5EF4-FFF2-40B4-BE49-F238E27FC236}">
                <a16:creationId xmlns:a16="http://schemas.microsoft.com/office/drawing/2014/main" id="{51A23028-DC56-BD98-8EE0-6C2AC75297BD}"/>
              </a:ext>
            </a:extLst>
          </p:cNvPr>
          <p:cNvGrpSpPr/>
          <p:nvPr/>
        </p:nvGrpSpPr>
        <p:grpSpPr>
          <a:xfrm>
            <a:off x="8136245" y="1447655"/>
            <a:ext cx="243546" cy="282165"/>
            <a:chOff x="8136245" y="1447655"/>
            <a:chExt cx="243546" cy="282165"/>
          </a:xfrm>
        </p:grpSpPr>
        <p:grpSp>
          <p:nvGrpSpPr>
            <p:cNvPr id="664" name="Gráfico 10">
              <a:extLst>
                <a:ext uri="{FF2B5EF4-FFF2-40B4-BE49-F238E27FC236}">
                  <a16:creationId xmlns:a16="http://schemas.microsoft.com/office/drawing/2014/main" id="{E9A763B9-BB77-3B35-7FDB-0E1BF1C90234}"/>
                </a:ext>
              </a:extLst>
            </p:cNvPr>
            <p:cNvGrpSpPr/>
            <p:nvPr/>
          </p:nvGrpSpPr>
          <p:grpSpPr>
            <a:xfrm>
              <a:off x="8150275" y="1447655"/>
              <a:ext cx="215488" cy="268286"/>
              <a:chOff x="8150275" y="1447655"/>
              <a:chExt cx="215488" cy="268286"/>
            </a:xfrm>
            <a:noFill/>
          </p:grpSpPr>
          <p:grpSp>
            <p:nvGrpSpPr>
              <p:cNvPr id="665" name="Gráfico 10">
                <a:extLst>
                  <a:ext uri="{FF2B5EF4-FFF2-40B4-BE49-F238E27FC236}">
                    <a16:creationId xmlns:a16="http://schemas.microsoft.com/office/drawing/2014/main" id="{D03B076E-4343-88CA-7B93-7950F8BDE1D2}"/>
                  </a:ext>
                </a:extLst>
              </p:cNvPr>
              <p:cNvGrpSpPr/>
              <p:nvPr/>
            </p:nvGrpSpPr>
            <p:grpSpPr>
              <a:xfrm>
                <a:off x="8193370" y="1447655"/>
                <a:ext cx="172392" cy="268286"/>
                <a:chOff x="8193370" y="1447655"/>
                <a:chExt cx="172392" cy="268286"/>
              </a:xfrm>
              <a:noFill/>
            </p:grpSpPr>
            <p:sp>
              <p:nvSpPr>
                <p:cNvPr id="666" name="Forma livre: Forma 665">
                  <a:extLst>
                    <a:ext uri="{FF2B5EF4-FFF2-40B4-BE49-F238E27FC236}">
                      <a16:creationId xmlns:a16="http://schemas.microsoft.com/office/drawing/2014/main" id="{E5083726-9422-A212-1337-E307B38F7CEF}"/>
                    </a:ext>
                  </a:extLst>
                </p:cNvPr>
                <p:cNvSpPr/>
                <p:nvPr/>
              </p:nvSpPr>
              <p:spPr>
                <a:xfrm>
                  <a:off x="8207006" y="1652535"/>
                  <a:ext cx="50745" cy="63406"/>
                </a:xfrm>
                <a:custGeom>
                  <a:avLst/>
                  <a:gdLst>
                    <a:gd name="connsiteX0" fmla="*/ 50745 w 50745"/>
                    <a:gd name="connsiteY0" fmla="*/ 0 h 63406"/>
                    <a:gd name="connsiteX1" fmla="*/ 0 w 50745"/>
                    <a:gd name="connsiteY1" fmla="*/ 63407 h 6340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50745" h="63406">
                      <a:moveTo>
                        <a:pt x="50745" y="0"/>
                      </a:moveTo>
                      <a:lnTo>
                        <a:pt x="0" y="63407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667" name="Forma livre: Forma 666">
                  <a:extLst>
                    <a:ext uri="{FF2B5EF4-FFF2-40B4-BE49-F238E27FC236}">
                      <a16:creationId xmlns:a16="http://schemas.microsoft.com/office/drawing/2014/main" id="{88DD97B7-FA2E-34FC-C577-518E334127D6}"/>
                    </a:ext>
                  </a:extLst>
                </p:cNvPr>
                <p:cNvSpPr/>
                <p:nvPr/>
              </p:nvSpPr>
              <p:spPr>
                <a:xfrm>
                  <a:off x="8271874" y="1447655"/>
                  <a:ext cx="93889" cy="147218"/>
                </a:xfrm>
                <a:custGeom>
                  <a:avLst/>
                  <a:gdLst>
                    <a:gd name="connsiteX0" fmla="*/ 0 w 93889"/>
                    <a:gd name="connsiteY0" fmla="*/ 105776 h 147218"/>
                    <a:gd name="connsiteX1" fmla="*/ 84348 w 93889"/>
                    <a:gd name="connsiteY1" fmla="*/ 0 h 147218"/>
                    <a:gd name="connsiteX2" fmla="*/ 68520 w 93889"/>
                    <a:gd name="connsiteY2" fmla="*/ 101734 h 147218"/>
                    <a:gd name="connsiteX3" fmla="*/ 32093 w 93889"/>
                    <a:gd name="connsiteY3" fmla="*/ 147219 h 14721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3889" h="147218">
                      <a:moveTo>
                        <a:pt x="0" y="105776"/>
                      </a:moveTo>
                      <a:lnTo>
                        <a:pt x="84348" y="0"/>
                      </a:lnTo>
                      <a:cubicBezTo>
                        <a:pt x="84348" y="0"/>
                        <a:pt x="114103" y="38765"/>
                        <a:pt x="68520" y="101734"/>
                      </a:cubicBezTo>
                      <a:lnTo>
                        <a:pt x="32093" y="147219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668" name="Forma livre: Forma 667">
                  <a:extLst>
                    <a:ext uri="{FF2B5EF4-FFF2-40B4-BE49-F238E27FC236}">
                      <a16:creationId xmlns:a16="http://schemas.microsoft.com/office/drawing/2014/main" id="{D80BB9A9-2E40-56DD-8BE7-42574BE4BFB7}"/>
                    </a:ext>
                  </a:extLst>
                </p:cNvPr>
                <p:cNvSpPr/>
                <p:nvPr/>
              </p:nvSpPr>
              <p:spPr>
                <a:xfrm>
                  <a:off x="8193370" y="1611578"/>
                  <a:ext cx="31995" cy="40079"/>
                </a:xfrm>
                <a:custGeom>
                  <a:avLst/>
                  <a:gdLst>
                    <a:gd name="connsiteX0" fmla="*/ 0 w 31995"/>
                    <a:gd name="connsiteY0" fmla="*/ 40080 h 40079"/>
                    <a:gd name="connsiteX1" fmla="*/ 31996 w 31995"/>
                    <a:gd name="connsiteY1" fmla="*/ 0 h 4007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31995" h="40079">
                      <a:moveTo>
                        <a:pt x="0" y="40080"/>
                      </a:moveTo>
                      <a:lnTo>
                        <a:pt x="31996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669" name="Forma livre: Forma 668">
                <a:extLst>
                  <a:ext uri="{FF2B5EF4-FFF2-40B4-BE49-F238E27FC236}">
                    <a16:creationId xmlns:a16="http://schemas.microsoft.com/office/drawing/2014/main" id="{6CD54D1A-AFA0-04DE-B624-374000F3AF42}"/>
                  </a:ext>
                </a:extLst>
              </p:cNvPr>
              <p:cNvSpPr/>
              <p:nvPr/>
            </p:nvSpPr>
            <p:spPr>
              <a:xfrm>
                <a:off x="8150275" y="1447655"/>
                <a:ext cx="172441" cy="268286"/>
              </a:xfrm>
              <a:custGeom>
                <a:avLst/>
                <a:gdLst>
                  <a:gd name="connsiteX0" fmla="*/ 172442 w 172441"/>
                  <a:gd name="connsiteY0" fmla="*/ 204003 h 268286"/>
                  <a:gd name="connsiteX1" fmla="*/ 9541 w 172441"/>
                  <a:gd name="connsiteY1" fmla="*/ 0 h 268286"/>
                  <a:gd name="connsiteX2" fmla="*/ 25369 w 172441"/>
                  <a:gd name="connsiteY2" fmla="*/ 101734 h 268286"/>
                  <a:gd name="connsiteX3" fmla="*/ 158757 w 172441"/>
                  <a:gd name="connsiteY3" fmla="*/ 268286 h 2682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72441" h="268286">
                    <a:moveTo>
                      <a:pt x="172442" y="204003"/>
                    </a:moveTo>
                    <a:lnTo>
                      <a:pt x="9541" y="0"/>
                    </a:lnTo>
                    <a:cubicBezTo>
                      <a:pt x="9541" y="0"/>
                      <a:pt x="-20214" y="38765"/>
                      <a:pt x="25369" y="101734"/>
                    </a:cubicBezTo>
                    <a:lnTo>
                      <a:pt x="158757" y="268286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670" name="Gráfico 10">
              <a:extLst>
                <a:ext uri="{FF2B5EF4-FFF2-40B4-BE49-F238E27FC236}">
                  <a16:creationId xmlns:a16="http://schemas.microsoft.com/office/drawing/2014/main" id="{C9A200A0-BF0B-32C5-A648-E3E05AED1D4A}"/>
                </a:ext>
              </a:extLst>
            </p:cNvPr>
            <p:cNvGrpSpPr/>
            <p:nvPr/>
          </p:nvGrpSpPr>
          <p:grpSpPr>
            <a:xfrm>
              <a:off x="8136245" y="1649272"/>
              <a:ext cx="243546" cy="80549"/>
              <a:chOff x="8136245" y="1649272"/>
              <a:chExt cx="243546" cy="80549"/>
            </a:xfrm>
            <a:noFill/>
          </p:grpSpPr>
          <p:sp>
            <p:nvSpPr>
              <p:cNvPr id="671" name="Forma livre: Forma 670">
                <a:extLst>
                  <a:ext uri="{FF2B5EF4-FFF2-40B4-BE49-F238E27FC236}">
                    <a16:creationId xmlns:a16="http://schemas.microsoft.com/office/drawing/2014/main" id="{FEDD93D0-63E8-907F-A1DF-27E4DFFE947A}"/>
                  </a:ext>
                </a:extLst>
              </p:cNvPr>
              <p:cNvSpPr/>
              <p:nvPr/>
            </p:nvSpPr>
            <p:spPr>
              <a:xfrm>
                <a:off x="8299243" y="1649272"/>
                <a:ext cx="80549" cy="80549"/>
              </a:xfrm>
              <a:custGeom>
                <a:avLst/>
                <a:gdLst>
                  <a:gd name="connsiteX0" fmla="*/ 80549 w 80549"/>
                  <a:gd name="connsiteY0" fmla="*/ 40275 h 80549"/>
                  <a:gd name="connsiteX1" fmla="*/ 40275 w 80549"/>
                  <a:gd name="connsiteY1" fmla="*/ 80549 h 80549"/>
                  <a:gd name="connsiteX2" fmla="*/ 0 w 80549"/>
                  <a:gd name="connsiteY2" fmla="*/ 40275 h 80549"/>
                  <a:gd name="connsiteX3" fmla="*/ 40275 w 80549"/>
                  <a:gd name="connsiteY3" fmla="*/ 0 h 80549"/>
                  <a:gd name="connsiteX4" fmla="*/ 80549 w 80549"/>
                  <a:gd name="connsiteY4" fmla="*/ 40275 h 805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0549" h="80549">
                    <a:moveTo>
                      <a:pt x="80549" y="40275"/>
                    </a:moveTo>
                    <a:cubicBezTo>
                      <a:pt x="80549" y="62530"/>
                      <a:pt x="62530" y="80549"/>
                      <a:pt x="40275" y="80549"/>
                    </a:cubicBezTo>
                    <a:cubicBezTo>
                      <a:pt x="18019" y="80549"/>
                      <a:pt x="0" y="62530"/>
                      <a:pt x="0" y="40275"/>
                    </a:cubicBezTo>
                    <a:cubicBezTo>
                      <a:pt x="0" y="18019"/>
                      <a:pt x="18019" y="0"/>
                      <a:pt x="40275" y="0"/>
                    </a:cubicBezTo>
                    <a:cubicBezTo>
                      <a:pt x="62530" y="0"/>
                      <a:pt x="80549" y="18019"/>
                      <a:pt x="80549" y="40275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672" name="Forma livre: Forma 671">
                <a:extLst>
                  <a:ext uri="{FF2B5EF4-FFF2-40B4-BE49-F238E27FC236}">
                    <a16:creationId xmlns:a16="http://schemas.microsoft.com/office/drawing/2014/main" id="{4B9CBF57-07A2-5807-D511-ABBD63D173CD}"/>
                  </a:ext>
                </a:extLst>
              </p:cNvPr>
              <p:cNvSpPr/>
              <p:nvPr/>
            </p:nvSpPr>
            <p:spPr>
              <a:xfrm>
                <a:off x="8136245" y="1649272"/>
                <a:ext cx="80549" cy="80549"/>
              </a:xfrm>
              <a:custGeom>
                <a:avLst/>
                <a:gdLst>
                  <a:gd name="connsiteX0" fmla="*/ 80549 w 80549"/>
                  <a:gd name="connsiteY0" fmla="*/ 40275 h 80549"/>
                  <a:gd name="connsiteX1" fmla="*/ 40275 w 80549"/>
                  <a:gd name="connsiteY1" fmla="*/ 80549 h 80549"/>
                  <a:gd name="connsiteX2" fmla="*/ 0 w 80549"/>
                  <a:gd name="connsiteY2" fmla="*/ 40275 h 80549"/>
                  <a:gd name="connsiteX3" fmla="*/ 40275 w 80549"/>
                  <a:gd name="connsiteY3" fmla="*/ 0 h 80549"/>
                  <a:gd name="connsiteX4" fmla="*/ 80549 w 80549"/>
                  <a:gd name="connsiteY4" fmla="*/ 40275 h 805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0549" h="80549">
                    <a:moveTo>
                      <a:pt x="80549" y="40275"/>
                    </a:moveTo>
                    <a:cubicBezTo>
                      <a:pt x="80549" y="62530"/>
                      <a:pt x="62530" y="80549"/>
                      <a:pt x="40275" y="80549"/>
                    </a:cubicBezTo>
                    <a:cubicBezTo>
                      <a:pt x="18019" y="80549"/>
                      <a:pt x="0" y="62530"/>
                      <a:pt x="0" y="40275"/>
                    </a:cubicBezTo>
                    <a:cubicBezTo>
                      <a:pt x="0" y="18068"/>
                      <a:pt x="18019" y="0"/>
                      <a:pt x="40275" y="0"/>
                    </a:cubicBezTo>
                    <a:cubicBezTo>
                      <a:pt x="62530" y="0"/>
                      <a:pt x="80549" y="18019"/>
                      <a:pt x="80549" y="40275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673" name="Forma livre: Forma 672">
              <a:extLst>
                <a:ext uri="{FF2B5EF4-FFF2-40B4-BE49-F238E27FC236}">
                  <a16:creationId xmlns:a16="http://schemas.microsoft.com/office/drawing/2014/main" id="{F7DC390D-7DAE-BC87-16CB-21D552E1606A}"/>
                </a:ext>
              </a:extLst>
            </p:cNvPr>
            <p:cNvSpPr/>
            <p:nvPr/>
          </p:nvSpPr>
          <p:spPr>
            <a:xfrm>
              <a:off x="8253660" y="1606660"/>
              <a:ext cx="7597" cy="7597"/>
            </a:xfrm>
            <a:custGeom>
              <a:avLst/>
              <a:gdLst>
                <a:gd name="connsiteX0" fmla="*/ 7597 w 7597"/>
                <a:gd name="connsiteY0" fmla="*/ 3799 h 7597"/>
                <a:gd name="connsiteX1" fmla="*/ 3799 w 7597"/>
                <a:gd name="connsiteY1" fmla="*/ 7597 h 7597"/>
                <a:gd name="connsiteX2" fmla="*/ 0 w 7597"/>
                <a:gd name="connsiteY2" fmla="*/ 3799 h 7597"/>
                <a:gd name="connsiteX3" fmla="*/ 3799 w 7597"/>
                <a:gd name="connsiteY3" fmla="*/ 0 h 7597"/>
                <a:gd name="connsiteX4" fmla="*/ 7597 w 7597"/>
                <a:gd name="connsiteY4" fmla="*/ 3799 h 75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597" h="7597">
                  <a:moveTo>
                    <a:pt x="7597" y="3799"/>
                  </a:moveTo>
                  <a:cubicBezTo>
                    <a:pt x="7597" y="5893"/>
                    <a:pt x="5893" y="7597"/>
                    <a:pt x="3799" y="7597"/>
                  </a:cubicBezTo>
                  <a:cubicBezTo>
                    <a:pt x="1704" y="7597"/>
                    <a:pt x="0" y="5893"/>
                    <a:pt x="0" y="3799"/>
                  </a:cubicBezTo>
                  <a:cubicBezTo>
                    <a:pt x="0" y="1704"/>
                    <a:pt x="1704" y="0"/>
                    <a:pt x="3799" y="0"/>
                  </a:cubicBezTo>
                  <a:cubicBezTo>
                    <a:pt x="5893" y="0"/>
                    <a:pt x="7597" y="1704"/>
                    <a:pt x="7597" y="3799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674" name="Gráfico 10">
            <a:extLst>
              <a:ext uri="{FF2B5EF4-FFF2-40B4-BE49-F238E27FC236}">
                <a16:creationId xmlns:a16="http://schemas.microsoft.com/office/drawing/2014/main" id="{2F36A6F6-8403-0F5B-ADFA-BFD69A6219BB}"/>
              </a:ext>
            </a:extLst>
          </p:cNvPr>
          <p:cNvGrpSpPr/>
          <p:nvPr/>
        </p:nvGrpSpPr>
        <p:grpSpPr>
          <a:xfrm>
            <a:off x="8090419" y="2554306"/>
            <a:ext cx="335199" cy="261663"/>
            <a:chOff x="8090419" y="2554306"/>
            <a:chExt cx="335199" cy="261663"/>
          </a:xfrm>
          <a:noFill/>
        </p:grpSpPr>
        <p:sp>
          <p:nvSpPr>
            <p:cNvPr id="675" name="Forma livre: Forma 674">
              <a:extLst>
                <a:ext uri="{FF2B5EF4-FFF2-40B4-BE49-F238E27FC236}">
                  <a16:creationId xmlns:a16="http://schemas.microsoft.com/office/drawing/2014/main" id="{A58C4C19-1198-268E-E453-35F353E43F4C}"/>
                </a:ext>
              </a:extLst>
            </p:cNvPr>
            <p:cNvSpPr/>
            <p:nvPr/>
          </p:nvSpPr>
          <p:spPr>
            <a:xfrm>
              <a:off x="8090419" y="2554306"/>
              <a:ext cx="335199" cy="223677"/>
            </a:xfrm>
            <a:custGeom>
              <a:avLst/>
              <a:gdLst>
                <a:gd name="connsiteX0" fmla="*/ 113178 w 335199"/>
                <a:gd name="connsiteY0" fmla="*/ 223678 h 223677"/>
                <a:gd name="connsiteX1" fmla="*/ 63310 w 335199"/>
                <a:gd name="connsiteY1" fmla="*/ 223678 h 223677"/>
                <a:gd name="connsiteX2" fmla="*/ 0 w 335199"/>
                <a:gd name="connsiteY2" fmla="*/ 160368 h 223677"/>
                <a:gd name="connsiteX3" fmla="*/ 63310 w 335199"/>
                <a:gd name="connsiteY3" fmla="*/ 97058 h 223677"/>
                <a:gd name="connsiteX4" fmla="*/ 64673 w 335199"/>
                <a:gd name="connsiteY4" fmla="*/ 97058 h 223677"/>
                <a:gd name="connsiteX5" fmla="*/ 64673 w 335199"/>
                <a:gd name="connsiteY5" fmla="*/ 81718 h 223677"/>
                <a:gd name="connsiteX6" fmla="*/ 148047 w 335199"/>
                <a:gd name="connsiteY6" fmla="*/ 0 h 223677"/>
                <a:gd name="connsiteX7" fmla="*/ 231372 w 335199"/>
                <a:gd name="connsiteY7" fmla="*/ 78796 h 223677"/>
                <a:gd name="connsiteX8" fmla="*/ 267020 w 335199"/>
                <a:gd name="connsiteY8" fmla="*/ 78796 h 223677"/>
                <a:gd name="connsiteX9" fmla="*/ 335200 w 335199"/>
                <a:gd name="connsiteY9" fmla="*/ 146927 h 223677"/>
                <a:gd name="connsiteX10" fmla="*/ 335200 w 335199"/>
                <a:gd name="connsiteY10" fmla="*/ 155449 h 223677"/>
                <a:gd name="connsiteX11" fmla="*/ 267020 w 335199"/>
                <a:gd name="connsiteY11" fmla="*/ 223629 h 223677"/>
                <a:gd name="connsiteX12" fmla="*/ 226794 w 335199"/>
                <a:gd name="connsiteY12" fmla="*/ 223629 h 2236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35199" h="223677">
                  <a:moveTo>
                    <a:pt x="113178" y="223678"/>
                  </a:moveTo>
                  <a:lnTo>
                    <a:pt x="63310" y="223678"/>
                  </a:lnTo>
                  <a:cubicBezTo>
                    <a:pt x="28489" y="223678"/>
                    <a:pt x="0" y="195188"/>
                    <a:pt x="0" y="160368"/>
                  </a:cubicBezTo>
                  <a:cubicBezTo>
                    <a:pt x="0" y="125548"/>
                    <a:pt x="28489" y="97058"/>
                    <a:pt x="63310" y="97058"/>
                  </a:cubicBezTo>
                  <a:lnTo>
                    <a:pt x="64673" y="97058"/>
                  </a:lnTo>
                  <a:lnTo>
                    <a:pt x="64673" y="81718"/>
                  </a:lnTo>
                  <a:cubicBezTo>
                    <a:pt x="64673" y="36768"/>
                    <a:pt x="102221" y="0"/>
                    <a:pt x="148047" y="0"/>
                  </a:cubicBezTo>
                  <a:cubicBezTo>
                    <a:pt x="193873" y="0"/>
                    <a:pt x="229814" y="35210"/>
                    <a:pt x="231372" y="78796"/>
                  </a:cubicBezTo>
                  <a:lnTo>
                    <a:pt x="267020" y="78796"/>
                  </a:lnTo>
                  <a:cubicBezTo>
                    <a:pt x="304519" y="78796"/>
                    <a:pt x="335200" y="109428"/>
                    <a:pt x="335200" y="146927"/>
                  </a:cubicBezTo>
                  <a:lnTo>
                    <a:pt x="335200" y="155449"/>
                  </a:lnTo>
                  <a:cubicBezTo>
                    <a:pt x="335200" y="192948"/>
                    <a:pt x="304519" y="223629"/>
                    <a:pt x="267020" y="223629"/>
                  </a:cubicBezTo>
                  <a:lnTo>
                    <a:pt x="226794" y="223629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76" name="Forma livre: Forma 675">
              <a:extLst>
                <a:ext uri="{FF2B5EF4-FFF2-40B4-BE49-F238E27FC236}">
                  <a16:creationId xmlns:a16="http://schemas.microsoft.com/office/drawing/2014/main" id="{94B1359A-D701-1918-EC90-9488C9F857C1}"/>
                </a:ext>
              </a:extLst>
            </p:cNvPr>
            <p:cNvSpPr/>
            <p:nvPr/>
          </p:nvSpPr>
          <p:spPr>
            <a:xfrm>
              <a:off x="8198704" y="2676383"/>
              <a:ext cx="122764" cy="139585"/>
            </a:xfrm>
            <a:custGeom>
              <a:avLst/>
              <a:gdLst>
                <a:gd name="connsiteX0" fmla="*/ 32262 w 122764"/>
                <a:gd name="connsiteY0" fmla="*/ 139585 h 139585"/>
                <a:gd name="connsiteX1" fmla="*/ 32262 w 122764"/>
                <a:gd name="connsiteY1" fmla="*/ 68679 h 139585"/>
                <a:gd name="connsiteX2" fmla="*/ 6110 w 122764"/>
                <a:gd name="connsiteY2" fmla="*/ 68679 h 139585"/>
                <a:gd name="connsiteX3" fmla="*/ 753 w 122764"/>
                <a:gd name="connsiteY3" fmla="*/ 64685 h 139585"/>
                <a:gd name="connsiteX4" fmla="*/ 1824 w 122764"/>
                <a:gd name="connsiteY4" fmla="*/ 55578 h 139585"/>
                <a:gd name="connsiteX5" fmla="*/ 54712 w 122764"/>
                <a:gd name="connsiteY5" fmla="*/ 2739 h 139585"/>
                <a:gd name="connsiteX6" fmla="*/ 68056 w 122764"/>
                <a:gd name="connsiteY6" fmla="*/ 2739 h 139585"/>
                <a:gd name="connsiteX7" fmla="*/ 120700 w 122764"/>
                <a:gd name="connsiteY7" fmla="*/ 55578 h 139585"/>
                <a:gd name="connsiteX8" fmla="*/ 122112 w 122764"/>
                <a:gd name="connsiteY8" fmla="*/ 64588 h 139585"/>
                <a:gd name="connsiteX9" fmla="*/ 115684 w 122764"/>
                <a:gd name="connsiteY9" fmla="*/ 68679 h 139585"/>
                <a:gd name="connsiteX10" fmla="*/ 88412 w 122764"/>
                <a:gd name="connsiteY10" fmla="*/ 68679 h 139585"/>
                <a:gd name="connsiteX11" fmla="*/ 88412 w 122764"/>
                <a:gd name="connsiteY11" fmla="*/ 139585 h 1395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22764" h="139585">
                  <a:moveTo>
                    <a:pt x="32262" y="139585"/>
                  </a:moveTo>
                  <a:lnTo>
                    <a:pt x="32262" y="68679"/>
                  </a:lnTo>
                  <a:lnTo>
                    <a:pt x="6110" y="68679"/>
                  </a:lnTo>
                  <a:cubicBezTo>
                    <a:pt x="2896" y="68679"/>
                    <a:pt x="1386" y="66146"/>
                    <a:pt x="753" y="64685"/>
                  </a:cubicBezTo>
                  <a:cubicBezTo>
                    <a:pt x="-562" y="61520"/>
                    <a:pt x="-124" y="57526"/>
                    <a:pt x="1824" y="55578"/>
                  </a:cubicBezTo>
                  <a:lnTo>
                    <a:pt x="54712" y="2739"/>
                  </a:lnTo>
                  <a:cubicBezTo>
                    <a:pt x="58413" y="-913"/>
                    <a:pt x="64403" y="-913"/>
                    <a:pt x="68056" y="2739"/>
                  </a:cubicBezTo>
                  <a:lnTo>
                    <a:pt x="120700" y="55578"/>
                  </a:lnTo>
                  <a:cubicBezTo>
                    <a:pt x="122746" y="57624"/>
                    <a:pt x="123379" y="61569"/>
                    <a:pt x="122112" y="64588"/>
                  </a:cubicBezTo>
                  <a:cubicBezTo>
                    <a:pt x="120992" y="67218"/>
                    <a:pt x="118704" y="68679"/>
                    <a:pt x="115684" y="68679"/>
                  </a:cubicBezTo>
                  <a:lnTo>
                    <a:pt x="88412" y="68679"/>
                  </a:lnTo>
                  <a:cubicBezTo>
                    <a:pt x="88412" y="68679"/>
                    <a:pt x="88412" y="139585"/>
                    <a:pt x="88412" y="139585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677" name="Gráfico 10">
            <a:extLst>
              <a:ext uri="{FF2B5EF4-FFF2-40B4-BE49-F238E27FC236}">
                <a16:creationId xmlns:a16="http://schemas.microsoft.com/office/drawing/2014/main" id="{EB97A951-4756-E59B-5412-89D08926B1AF}"/>
              </a:ext>
            </a:extLst>
          </p:cNvPr>
          <p:cNvGrpSpPr/>
          <p:nvPr/>
        </p:nvGrpSpPr>
        <p:grpSpPr>
          <a:xfrm>
            <a:off x="8126457" y="3110845"/>
            <a:ext cx="263124" cy="245056"/>
            <a:chOff x="8126457" y="3110845"/>
            <a:chExt cx="263124" cy="245056"/>
          </a:xfrm>
          <a:noFill/>
        </p:grpSpPr>
        <p:grpSp>
          <p:nvGrpSpPr>
            <p:cNvPr id="678" name="Gráfico 10">
              <a:extLst>
                <a:ext uri="{FF2B5EF4-FFF2-40B4-BE49-F238E27FC236}">
                  <a16:creationId xmlns:a16="http://schemas.microsoft.com/office/drawing/2014/main" id="{FDD83566-2649-4301-78F5-5ABDBA7B97BC}"/>
                </a:ext>
              </a:extLst>
            </p:cNvPr>
            <p:cNvGrpSpPr/>
            <p:nvPr/>
          </p:nvGrpSpPr>
          <p:grpSpPr>
            <a:xfrm>
              <a:off x="8126457" y="3110845"/>
              <a:ext cx="263124" cy="58926"/>
              <a:chOff x="8126457" y="3110845"/>
              <a:chExt cx="263124" cy="58926"/>
            </a:xfrm>
            <a:noFill/>
          </p:grpSpPr>
          <p:sp>
            <p:nvSpPr>
              <p:cNvPr id="679" name="Forma livre: Forma 678">
                <a:extLst>
                  <a:ext uri="{FF2B5EF4-FFF2-40B4-BE49-F238E27FC236}">
                    <a16:creationId xmlns:a16="http://schemas.microsoft.com/office/drawing/2014/main" id="{900C0690-1854-E2EF-FD20-7B0FBB60DB00}"/>
                  </a:ext>
                </a:extLst>
              </p:cNvPr>
              <p:cNvSpPr/>
              <p:nvPr/>
            </p:nvSpPr>
            <p:spPr>
              <a:xfrm>
                <a:off x="8353689" y="3140308"/>
                <a:ext cx="35891" cy="4869"/>
              </a:xfrm>
              <a:custGeom>
                <a:avLst/>
                <a:gdLst>
                  <a:gd name="connsiteX0" fmla="*/ 0 w 35891"/>
                  <a:gd name="connsiteY0" fmla="*/ 0 h 4869"/>
                  <a:gd name="connsiteX1" fmla="*/ 35892 w 35891"/>
                  <a:gd name="connsiteY1" fmla="*/ 0 h 48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5891" h="4869">
                    <a:moveTo>
                      <a:pt x="0" y="0"/>
                    </a:moveTo>
                    <a:lnTo>
                      <a:pt x="35892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680" name="Forma livre: Forma 679">
                <a:extLst>
                  <a:ext uri="{FF2B5EF4-FFF2-40B4-BE49-F238E27FC236}">
                    <a16:creationId xmlns:a16="http://schemas.microsoft.com/office/drawing/2014/main" id="{45E43208-A499-8D6A-5BCF-6534312FDA63}"/>
                  </a:ext>
                </a:extLst>
              </p:cNvPr>
              <p:cNvSpPr/>
              <p:nvPr/>
            </p:nvSpPr>
            <p:spPr>
              <a:xfrm>
                <a:off x="8126457" y="3140308"/>
                <a:ext cx="163922" cy="4869"/>
              </a:xfrm>
              <a:custGeom>
                <a:avLst/>
                <a:gdLst>
                  <a:gd name="connsiteX0" fmla="*/ 0 w 163922"/>
                  <a:gd name="connsiteY0" fmla="*/ 0 h 4869"/>
                  <a:gd name="connsiteX1" fmla="*/ 163923 w 163922"/>
                  <a:gd name="connsiteY1" fmla="*/ 0 h 48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63922" h="4869">
                    <a:moveTo>
                      <a:pt x="0" y="0"/>
                    </a:moveTo>
                    <a:lnTo>
                      <a:pt x="163923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681" name="Forma livre: Forma 680">
                <a:extLst>
                  <a:ext uri="{FF2B5EF4-FFF2-40B4-BE49-F238E27FC236}">
                    <a16:creationId xmlns:a16="http://schemas.microsoft.com/office/drawing/2014/main" id="{ABC83A01-8330-5193-90E7-FE5F7074634E}"/>
                  </a:ext>
                </a:extLst>
              </p:cNvPr>
              <p:cNvSpPr/>
              <p:nvPr/>
            </p:nvSpPr>
            <p:spPr>
              <a:xfrm>
                <a:off x="8292669" y="3110845"/>
                <a:ext cx="58926" cy="58926"/>
              </a:xfrm>
              <a:custGeom>
                <a:avLst/>
                <a:gdLst>
                  <a:gd name="connsiteX0" fmla="*/ 58927 w 58926"/>
                  <a:gd name="connsiteY0" fmla="*/ 29463 h 58926"/>
                  <a:gd name="connsiteX1" fmla="*/ 29463 w 58926"/>
                  <a:gd name="connsiteY1" fmla="*/ 58927 h 58926"/>
                  <a:gd name="connsiteX2" fmla="*/ 0 w 58926"/>
                  <a:gd name="connsiteY2" fmla="*/ 29463 h 58926"/>
                  <a:gd name="connsiteX3" fmla="*/ 29463 w 58926"/>
                  <a:gd name="connsiteY3" fmla="*/ 0 h 58926"/>
                  <a:gd name="connsiteX4" fmla="*/ 58927 w 58926"/>
                  <a:gd name="connsiteY4" fmla="*/ 29463 h 589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8926" h="58926">
                    <a:moveTo>
                      <a:pt x="58927" y="29463"/>
                    </a:moveTo>
                    <a:cubicBezTo>
                      <a:pt x="58927" y="45729"/>
                      <a:pt x="45729" y="58927"/>
                      <a:pt x="29463" y="58927"/>
                    </a:cubicBezTo>
                    <a:cubicBezTo>
                      <a:pt x="13198" y="58927"/>
                      <a:pt x="0" y="45729"/>
                      <a:pt x="0" y="29463"/>
                    </a:cubicBezTo>
                    <a:cubicBezTo>
                      <a:pt x="0" y="13198"/>
                      <a:pt x="13198" y="0"/>
                      <a:pt x="29463" y="0"/>
                    </a:cubicBezTo>
                    <a:cubicBezTo>
                      <a:pt x="45729" y="0"/>
                      <a:pt x="58927" y="13198"/>
                      <a:pt x="58927" y="29463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682" name="Gráfico 10">
              <a:extLst>
                <a:ext uri="{FF2B5EF4-FFF2-40B4-BE49-F238E27FC236}">
                  <a16:creationId xmlns:a16="http://schemas.microsoft.com/office/drawing/2014/main" id="{DEC2EDEE-0807-72CB-2AE6-B26105E14B05}"/>
                </a:ext>
              </a:extLst>
            </p:cNvPr>
            <p:cNvGrpSpPr/>
            <p:nvPr/>
          </p:nvGrpSpPr>
          <p:grpSpPr>
            <a:xfrm>
              <a:off x="8126457" y="3296975"/>
              <a:ext cx="263124" cy="58926"/>
              <a:chOff x="8126457" y="3296975"/>
              <a:chExt cx="263124" cy="58926"/>
            </a:xfrm>
            <a:noFill/>
          </p:grpSpPr>
          <p:sp>
            <p:nvSpPr>
              <p:cNvPr id="683" name="Forma livre: Forma 682">
                <a:extLst>
                  <a:ext uri="{FF2B5EF4-FFF2-40B4-BE49-F238E27FC236}">
                    <a16:creationId xmlns:a16="http://schemas.microsoft.com/office/drawing/2014/main" id="{9B62F1A0-F101-D318-8645-98C7B15CC030}"/>
                  </a:ext>
                </a:extLst>
              </p:cNvPr>
              <p:cNvSpPr/>
              <p:nvPr/>
            </p:nvSpPr>
            <p:spPr>
              <a:xfrm>
                <a:off x="8320427" y="3326438"/>
                <a:ext cx="69153" cy="4869"/>
              </a:xfrm>
              <a:custGeom>
                <a:avLst/>
                <a:gdLst>
                  <a:gd name="connsiteX0" fmla="*/ 0 w 69153"/>
                  <a:gd name="connsiteY0" fmla="*/ 0 h 4869"/>
                  <a:gd name="connsiteX1" fmla="*/ 69153 w 69153"/>
                  <a:gd name="connsiteY1" fmla="*/ 0 h 48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9153" h="4869">
                    <a:moveTo>
                      <a:pt x="0" y="0"/>
                    </a:moveTo>
                    <a:lnTo>
                      <a:pt x="69153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684" name="Forma livre: Forma 683">
                <a:extLst>
                  <a:ext uri="{FF2B5EF4-FFF2-40B4-BE49-F238E27FC236}">
                    <a16:creationId xmlns:a16="http://schemas.microsoft.com/office/drawing/2014/main" id="{674F92DF-5434-CF58-8315-625F9C1DDB65}"/>
                  </a:ext>
                </a:extLst>
              </p:cNvPr>
              <p:cNvSpPr/>
              <p:nvPr/>
            </p:nvSpPr>
            <p:spPr>
              <a:xfrm>
                <a:off x="8126457" y="3326438"/>
                <a:ext cx="130661" cy="4869"/>
              </a:xfrm>
              <a:custGeom>
                <a:avLst/>
                <a:gdLst>
                  <a:gd name="connsiteX0" fmla="*/ 0 w 130661"/>
                  <a:gd name="connsiteY0" fmla="*/ 0 h 4869"/>
                  <a:gd name="connsiteX1" fmla="*/ 130661 w 130661"/>
                  <a:gd name="connsiteY1" fmla="*/ 0 h 48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30661" h="4869">
                    <a:moveTo>
                      <a:pt x="0" y="0"/>
                    </a:moveTo>
                    <a:lnTo>
                      <a:pt x="130661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685" name="Forma livre: Forma 684">
                <a:extLst>
                  <a:ext uri="{FF2B5EF4-FFF2-40B4-BE49-F238E27FC236}">
                    <a16:creationId xmlns:a16="http://schemas.microsoft.com/office/drawing/2014/main" id="{3DE02032-A643-43B8-3415-EDCFA28E6365}"/>
                  </a:ext>
                </a:extLst>
              </p:cNvPr>
              <p:cNvSpPr/>
              <p:nvPr/>
            </p:nvSpPr>
            <p:spPr>
              <a:xfrm>
                <a:off x="8259407" y="3296975"/>
                <a:ext cx="58926" cy="58926"/>
              </a:xfrm>
              <a:custGeom>
                <a:avLst/>
                <a:gdLst>
                  <a:gd name="connsiteX0" fmla="*/ 58927 w 58926"/>
                  <a:gd name="connsiteY0" fmla="*/ 29463 h 58926"/>
                  <a:gd name="connsiteX1" fmla="*/ 29463 w 58926"/>
                  <a:gd name="connsiteY1" fmla="*/ 58927 h 58926"/>
                  <a:gd name="connsiteX2" fmla="*/ 0 w 58926"/>
                  <a:gd name="connsiteY2" fmla="*/ 29463 h 58926"/>
                  <a:gd name="connsiteX3" fmla="*/ 29463 w 58926"/>
                  <a:gd name="connsiteY3" fmla="*/ 0 h 58926"/>
                  <a:gd name="connsiteX4" fmla="*/ 58927 w 58926"/>
                  <a:gd name="connsiteY4" fmla="*/ 29463 h 589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8926" h="58926">
                    <a:moveTo>
                      <a:pt x="58927" y="29463"/>
                    </a:moveTo>
                    <a:cubicBezTo>
                      <a:pt x="58927" y="45735"/>
                      <a:pt x="45735" y="58927"/>
                      <a:pt x="29463" y="58927"/>
                    </a:cubicBezTo>
                    <a:cubicBezTo>
                      <a:pt x="13191" y="58927"/>
                      <a:pt x="0" y="45735"/>
                      <a:pt x="0" y="29463"/>
                    </a:cubicBezTo>
                    <a:cubicBezTo>
                      <a:pt x="0" y="13191"/>
                      <a:pt x="13191" y="0"/>
                      <a:pt x="29463" y="0"/>
                    </a:cubicBezTo>
                    <a:cubicBezTo>
                      <a:pt x="45735" y="0"/>
                      <a:pt x="58927" y="13191"/>
                      <a:pt x="58927" y="29463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686" name="Gráfico 10">
              <a:extLst>
                <a:ext uri="{FF2B5EF4-FFF2-40B4-BE49-F238E27FC236}">
                  <a16:creationId xmlns:a16="http://schemas.microsoft.com/office/drawing/2014/main" id="{2D0E77D1-9BF7-D5D7-8BF4-08AA48C2E35A}"/>
                </a:ext>
              </a:extLst>
            </p:cNvPr>
            <p:cNvGrpSpPr/>
            <p:nvPr/>
          </p:nvGrpSpPr>
          <p:grpSpPr>
            <a:xfrm>
              <a:off x="8126457" y="3203910"/>
              <a:ext cx="263124" cy="58926"/>
              <a:chOff x="8126457" y="3203910"/>
              <a:chExt cx="263124" cy="58926"/>
            </a:xfrm>
            <a:noFill/>
          </p:grpSpPr>
          <p:sp>
            <p:nvSpPr>
              <p:cNvPr id="687" name="Forma livre: Forma 686">
                <a:extLst>
                  <a:ext uri="{FF2B5EF4-FFF2-40B4-BE49-F238E27FC236}">
                    <a16:creationId xmlns:a16="http://schemas.microsoft.com/office/drawing/2014/main" id="{83A3E7AC-86D0-B566-31E4-5D67B148E9F4}"/>
                  </a:ext>
                </a:extLst>
              </p:cNvPr>
              <p:cNvSpPr/>
              <p:nvPr/>
            </p:nvSpPr>
            <p:spPr>
              <a:xfrm>
                <a:off x="8126457" y="3233373"/>
                <a:ext cx="37157" cy="4869"/>
              </a:xfrm>
              <a:custGeom>
                <a:avLst/>
                <a:gdLst>
                  <a:gd name="connsiteX0" fmla="*/ 37158 w 37157"/>
                  <a:gd name="connsiteY0" fmla="*/ 0 h 4869"/>
                  <a:gd name="connsiteX1" fmla="*/ 0 w 37157"/>
                  <a:gd name="connsiteY1" fmla="*/ 0 h 48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7157" h="4869">
                    <a:moveTo>
                      <a:pt x="37158" y="0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688" name="Forma livre: Forma 687">
                <a:extLst>
                  <a:ext uri="{FF2B5EF4-FFF2-40B4-BE49-F238E27FC236}">
                    <a16:creationId xmlns:a16="http://schemas.microsoft.com/office/drawing/2014/main" id="{C84F898B-9558-554F-7672-5F47668C7E87}"/>
                  </a:ext>
                </a:extLst>
              </p:cNvPr>
              <p:cNvSpPr/>
              <p:nvPr/>
            </p:nvSpPr>
            <p:spPr>
              <a:xfrm>
                <a:off x="8226924" y="3233373"/>
                <a:ext cx="162656" cy="4869"/>
              </a:xfrm>
              <a:custGeom>
                <a:avLst/>
                <a:gdLst>
                  <a:gd name="connsiteX0" fmla="*/ 162657 w 162656"/>
                  <a:gd name="connsiteY0" fmla="*/ 0 h 4869"/>
                  <a:gd name="connsiteX1" fmla="*/ 0 w 162656"/>
                  <a:gd name="connsiteY1" fmla="*/ 0 h 48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62656" h="4869">
                    <a:moveTo>
                      <a:pt x="162657" y="0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689" name="Forma livre: Forma 688">
                <a:extLst>
                  <a:ext uri="{FF2B5EF4-FFF2-40B4-BE49-F238E27FC236}">
                    <a16:creationId xmlns:a16="http://schemas.microsoft.com/office/drawing/2014/main" id="{89AE2C31-AEC7-37A4-6CCF-3BD309468404}"/>
                  </a:ext>
                </a:extLst>
              </p:cNvPr>
              <p:cNvSpPr/>
              <p:nvPr/>
            </p:nvSpPr>
            <p:spPr>
              <a:xfrm>
                <a:off x="8165709" y="3203910"/>
                <a:ext cx="58926" cy="58926"/>
              </a:xfrm>
              <a:custGeom>
                <a:avLst/>
                <a:gdLst>
                  <a:gd name="connsiteX0" fmla="*/ 0 w 58926"/>
                  <a:gd name="connsiteY0" fmla="*/ 29463 h 58926"/>
                  <a:gd name="connsiteX1" fmla="*/ 29463 w 58926"/>
                  <a:gd name="connsiteY1" fmla="*/ 0 h 58926"/>
                  <a:gd name="connsiteX2" fmla="*/ 58927 w 58926"/>
                  <a:gd name="connsiteY2" fmla="*/ 29463 h 58926"/>
                  <a:gd name="connsiteX3" fmla="*/ 29463 w 58926"/>
                  <a:gd name="connsiteY3" fmla="*/ 58927 h 58926"/>
                  <a:gd name="connsiteX4" fmla="*/ 0 w 58926"/>
                  <a:gd name="connsiteY4" fmla="*/ 29463 h 589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8926" h="58926">
                    <a:moveTo>
                      <a:pt x="0" y="29463"/>
                    </a:moveTo>
                    <a:cubicBezTo>
                      <a:pt x="0" y="13198"/>
                      <a:pt x="13198" y="0"/>
                      <a:pt x="29463" y="0"/>
                    </a:cubicBezTo>
                    <a:cubicBezTo>
                      <a:pt x="45729" y="0"/>
                      <a:pt x="58927" y="13198"/>
                      <a:pt x="58927" y="29463"/>
                    </a:cubicBezTo>
                    <a:cubicBezTo>
                      <a:pt x="58927" y="45729"/>
                      <a:pt x="45729" y="58927"/>
                      <a:pt x="29463" y="58927"/>
                    </a:cubicBezTo>
                    <a:cubicBezTo>
                      <a:pt x="13198" y="58927"/>
                      <a:pt x="0" y="45729"/>
                      <a:pt x="0" y="29463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690" name="Gráfico 10">
            <a:extLst>
              <a:ext uri="{FF2B5EF4-FFF2-40B4-BE49-F238E27FC236}">
                <a16:creationId xmlns:a16="http://schemas.microsoft.com/office/drawing/2014/main" id="{0D6D6EE9-1C3E-F103-D22A-4DF4F59A92AF}"/>
              </a:ext>
            </a:extLst>
          </p:cNvPr>
          <p:cNvGrpSpPr/>
          <p:nvPr/>
        </p:nvGrpSpPr>
        <p:grpSpPr>
          <a:xfrm>
            <a:off x="8127723" y="2002539"/>
            <a:ext cx="260591" cy="268773"/>
            <a:chOff x="8127723" y="2002539"/>
            <a:chExt cx="260591" cy="268773"/>
          </a:xfrm>
          <a:noFill/>
        </p:grpSpPr>
        <p:grpSp>
          <p:nvGrpSpPr>
            <p:cNvPr id="691" name="Gráfico 10">
              <a:extLst>
                <a:ext uri="{FF2B5EF4-FFF2-40B4-BE49-F238E27FC236}">
                  <a16:creationId xmlns:a16="http://schemas.microsoft.com/office/drawing/2014/main" id="{158EF3B7-68DE-097D-6DA5-97C508E0EEF2}"/>
                </a:ext>
              </a:extLst>
            </p:cNvPr>
            <p:cNvGrpSpPr/>
            <p:nvPr/>
          </p:nvGrpSpPr>
          <p:grpSpPr>
            <a:xfrm>
              <a:off x="8181244" y="2057716"/>
              <a:ext cx="153598" cy="82497"/>
              <a:chOff x="8181244" y="2057716"/>
              <a:chExt cx="153598" cy="82497"/>
            </a:xfrm>
          </p:grpSpPr>
          <p:sp>
            <p:nvSpPr>
              <p:cNvPr id="692" name="Forma livre: Forma 691">
                <a:extLst>
                  <a:ext uri="{FF2B5EF4-FFF2-40B4-BE49-F238E27FC236}">
                    <a16:creationId xmlns:a16="http://schemas.microsoft.com/office/drawing/2014/main" id="{DB89C58B-4331-54EA-FDF1-C481C8FE49A6}"/>
                  </a:ext>
                </a:extLst>
              </p:cNvPr>
              <p:cNvSpPr/>
              <p:nvPr/>
            </p:nvSpPr>
            <p:spPr>
              <a:xfrm>
                <a:off x="8181244" y="2057716"/>
                <a:ext cx="153598" cy="4869"/>
              </a:xfrm>
              <a:custGeom>
                <a:avLst/>
                <a:gdLst>
                  <a:gd name="connsiteX0" fmla="*/ 153599 w 153598"/>
                  <a:gd name="connsiteY0" fmla="*/ 0 h 4869"/>
                  <a:gd name="connsiteX1" fmla="*/ 0 w 153598"/>
                  <a:gd name="connsiteY1" fmla="*/ 0 h 48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53598" h="4869">
                    <a:moveTo>
                      <a:pt x="153599" y="0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693" name="Forma livre: Forma 692">
                <a:extLst>
                  <a:ext uri="{FF2B5EF4-FFF2-40B4-BE49-F238E27FC236}">
                    <a16:creationId xmlns:a16="http://schemas.microsoft.com/office/drawing/2014/main" id="{27C8C381-793C-F7EE-0441-20953A9DE5B9}"/>
                  </a:ext>
                </a:extLst>
              </p:cNvPr>
              <p:cNvSpPr/>
              <p:nvPr/>
            </p:nvSpPr>
            <p:spPr>
              <a:xfrm>
                <a:off x="8181244" y="2098964"/>
                <a:ext cx="153598" cy="4869"/>
              </a:xfrm>
              <a:custGeom>
                <a:avLst/>
                <a:gdLst>
                  <a:gd name="connsiteX0" fmla="*/ 153599 w 153598"/>
                  <a:gd name="connsiteY0" fmla="*/ 0 h 4869"/>
                  <a:gd name="connsiteX1" fmla="*/ 0 w 153598"/>
                  <a:gd name="connsiteY1" fmla="*/ 0 h 48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53598" h="4869">
                    <a:moveTo>
                      <a:pt x="153599" y="0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694" name="Forma livre: Forma 693">
                <a:extLst>
                  <a:ext uri="{FF2B5EF4-FFF2-40B4-BE49-F238E27FC236}">
                    <a16:creationId xmlns:a16="http://schemas.microsoft.com/office/drawing/2014/main" id="{28B17C2B-3686-E066-A2C8-E9B40636F65A}"/>
                  </a:ext>
                </a:extLst>
              </p:cNvPr>
              <p:cNvSpPr/>
              <p:nvPr/>
            </p:nvSpPr>
            <p:spPr>
              <a:xfrm>
                <a:off x="8181244" y="2140213"/>
                <a:ext cx="84834" cy="4869"/>
              </a:xfrm>
              <a:custGeom>
                <a:avLst/>
                <a:gdLst>
                  <a:gd name="connsiteX0" fmla="*/ 84835 w 84834"/>
                  <a:gd name="connsiteY0" fmla="*/ 0 h 4869"/>
                  <a:gd name="connsiteX1" fmla="*/ 0 w 84834"/>
                  <a:gd name="connsiteY1" fmla="*/ 0 h 48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84834" h="4869">
                    <a:moveTo>
                      <a:pt x="84835" y="0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695" name="Forma livre: Forma 694">
              <a:extLst>
                <a:ext uri="{FF2B5EF4-FFF2-40B4-BE49-F238E27FC236}">
                  <a16:creationId xmlns:a16="http://schemas.microsoft.com/office/drawing/2014/main" id="{1A54FBBE-2DD9-C767-5919-CB236688D6FC}"/>
                </a:ext>
              </a:extLst>
            </p:cNvPr>
            <p:cNvSpPr/>
            <p:nvPr/>
          </p:nvSpPr>
          <p:spPr>
            <a:xfrm>
              <a:off x="8127723" y="2002539"/>
              <a:ext cx="260591" cy="268773"/>
            </a:xfrm>
            <a:custGeom>
              <a:avLst/>
              <a:gdLst>
                <a:gd name="connsiteX0" fmla="*/ 156764 w 260591"/>
                <a:gd name="connsiteY0" fmla="*/ 196941 h 268773"/>
                <a:gd name="connsiteX1" fmla="*/ 236242 w 260591"/>
                <a:gd name="connsiteY1" fmla="*/ 196941 h 268773"/>
                <a:gd name="connsiteX2" fmla="*/ 260592 w 260591"/>
                <a:gd name="connsiteY2" fmla="*/ 172592 h 268773"/>
                <a:gd name="connsiteX3" fmla="*/ 260592 w 260591"/>
                <a:gd name="connsiteY3" fmla="*/ 24350 h 268773"/>
                <a:gd name="connsiteX4" fmla="*/ 236242 w 260591"/>
                <a:gd name="connsiteY4" fmla="*/ 0 h 268773"/>
                <a:gd name="connsiteX5" fmla="*/ 24350 w 260591"/>
                <a:gd name="connsiteY5" fmla="*/ 0 h 268773"/>
                <a:gd name="connsiteX6" fmla="*/ 0 w 260591"/>
                <a:gd name="connsiteY6" fmla="*/ 24350 h 268773"/>
                <a:gd name="connsiteX7" fmla="*/ 0 w 260591"/>
                <a:gd name="connsiteY7" fmla="*/ 172592 h 268773"/>
                <a:gd name="connsiteX8" fmla="*/ 24350 w 260591"/>
                <a:gd name="connsiteY8" fmla="*/ 196941 h 268773"/>
                <a:gd name="connsiteX9" fmla="*/ 58196 w 260591"/>
                <a:gd name="connsiteY9" fmla="*/ 196941 h 268773"/>
                <a:gd name="connsiteX10" fmla="*/ 58196 w 260591"/>
                <a:gd name="connsiteY10" fmla="*/ 268773 h 268773"/>
                <a:gd name="connsiteX11" fmla="*/ 122723 w 260591"/>
                <a:gd name="connsiteY11" fmla="*/ 196941 h 2687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60591" h="268773">
                  <a:moveTo>
                    <a:pt x="156764" y="196941"/>
                  </a:moveTo>
                  <a:lnTo>
                    <a:pt x="236242" y="196941"/>
                  </a:lnTo>
                  <a:cubicBezTo>
                    <a:pt x="249634" y="196941"/>
                    <a:pt x="260592" y="185984"/>
                    <a:pt x="260592" y="172592"/>
                  </a:cubicBezTo>
                  <a:lnTo>
                    <a:pt x="260592" y="24350"/>
                  </a:lnTo>
                  <a:cubicBezTo>
                    <a:pt x="260592" y="10957"/>
                    <a:pt x="249634" y="0"/>
                    <a:pt x="236242" y="0"/>
                  </a:cubicBezTo>
                  <a:lnTo>
                    <a:pt x="24350" y="0"/>
                  </a:lnTo>
                  <a:cubicBezTo>
                    <a:pt x="10957" y="0"/>
                    <a:pt x="0" y="10957"/>
                    <a:pt x="0" y="24350"/>
                  </a:cubicBezTo>
                  <a:lnTo>
                    <a:pt x="0" y="172592"/>
                  </a:lnTo>
                  <a:cubicBezTo>
                    <a:pt x="0" y="185984"/>
                    <a:pt x="10957" y="196941"/>
                    <a:pt x="24350" y="196941"/>
                  </a:cubicBezTo>
                  <a:lnTo>
                    <a:pt x="58196" y="196941"/>
                  </a:lnTo>
                  <a:lnTo>
                    <a:pt x="58196" y="268773"/>
                  </a:lnTo>
                  <a:lnTo>
                    <a:pt x="122723" y="196941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696" name="Gráfico 10">
            <a:extLst>
              <a:ext uri="{FF2B5EF4-FFF2-40B4-BE49-F238E27FC236}">
                <a16:creationId xmlns:a16="http://schemas.microsoft.com/office/drawing/2014/main" id="{ABD122D3-31D8-7F30-519A-5C015909409F}"/>
              </a:ext>
            </a:extLst>
          </p:cNvPr>
          <p:cNvGrpSpPr/>
          <p:nvPr/>
        </p:nvGrpSpPr>
        <p:grpSpPr>
          <a:xfrm>
            <a:off x="9404773" y="876360"/>
            <a:ext cx="240235" cy="328284"/>
            <a:chOff x="9404773" y="876360"/>
            <a:chExt cx="240235" cy="328284"/>
          </a:xfrm>
          <a:solidFill>
            <a:srgbClr val="394553"/>
          </a:solidFill>
        </p:grpSpPr>
        <p:sp>
          <p:nvSpPr>
            <p:cNvPr id="697" name="Forma livre: Forma 696">
              <a:extLst>
                <a:ext uri="{FF2B5EF4-FFF2-40B4-BE49-F238E27FC236}">
                  <a16:creationId xmlns:a16="http://schemas.microsoft.com/office/drawing/2014/main" id="{FCBBAF7B-8399-1F2B-2806-11E5AC22BA1E}"/>
                </a:ext>
              </a:extLst>
            </p:cNvPr>
            <p:cNvSpPr/>
            <p:nvPr/>
          </p:nvSpPr>
          <p:spPr>
            <a:xfrm>
              <a:off x="9486394" y="1174109"/>
              <a:ext cx="76994" cy="4869"/>
            </a:xfrm>
            <a:custGeom>
              <a:avLst/>
              <a:gdLst>
                <a:gd name="connsiteX0" fmla="*/ 0 w 76994"/>
                <a:gd name="connsiteY0" fmla="*/ 0 h 4869"/>
                <a:gd name="connsiteX1" fmla="*/ 76994 w 76994"/>
                <a:gd name="connsiteY1" fmla="*/ 0 h 48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6994" h="4869">
                  <a:moveTo>
                    <a:pt x="0" y="0"/>
                  </a:moveTo>
                  <a:lnTo>
                    <a:pt x="76994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98" name="Forma livre: Forma 697">
              <a:extLst>
                <a:ext uri="{FF2B5EF4-FFF2-40B4-BE49-F238E27FC236}">
                  <a16:creationId xmlns:a16="http://schemas.microsoft.com/office/drawing/2014/main" id="{FC460BBD-FD0E-FC8C-AA59-98F571927DC0}"/>
                </a:ext>
              </a:extLst>
            </p:cNvPr>
            <p:cNvSpPr/>
            <p:nvPr/>
          </p:nvSpPr>
          <p:spPr>
            <a:xfrm>
              <a:off x="9504997" y="1204644"/>
              <a:ext cx="39836" cy="4869"/>
            </a:xfrm>
            <a:custGeom>
              <a:avLst/>
              <a:gdLst>
                <a:gd name="connsiteX0" fmla="*/ 0 w 39836"/>
                <a:gd name="connsiteY0" fmla="*/ 0 h 4869"/>
                <a:gd name="connsiteX1" fmla="*/ 39836 w 39836"/>
                <a:gd name="connsiteY1" fmla="*/ 0 h 48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9836" h="4869">
                  <a:moveTo>
                    <a:pt x="0" y="0"/>
                  </a:moveTo>
                  <a:lnTo>
                    <a:pt x="39836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99" name="Forma livre: Forma 698">
              <a:extLst>
                <a:ext uri="{FF2B5EF4-FFF2-40B4-BE49-F238E27FC236}">
                  <a16:creationId xmlns:a16="http://schemas.microsoft.com/office/drawing/2014/main" id="{B6CB8783-219D-48D0-9B99-B9AE07124795}"/>
                </a:ext>
              </a:extLst>
            </p:cNvPr>
            <p:cNvSpPr/>
            <p:nvPr/>
          </p:nvSpPr>
          <p:spPr>
            <a:xfrm>
              <a:off x="9422403" y="924378"/>
              <a:ext cx="204976" cy="223239"/>
            </a:xfrm>
            <a:custGeom>
              <a:avLst/>
              <a:gdLst>
                <a:gd name="connsiteX0" fmla="*/ 102464 w 204976"/>
                <a:gd name="connsiteY0" fmla="*/ 12175 h 223239"/>
                <a:gd name="connsiteX1" fmla="*/ 192802 w 204976"/>
                <a:gd name="connsiteY1" fmla="*/ 100613 h 223239"/>
                <a:gd name="connsiteX2" fmla="*/ 176828 w 204976"/>
                <a:gd name="connsiteY2" fmla="*/ 150920 h 223239"/>
                <a:gd name="connsiteX3" fmla="*/ 165189 w 204976"/>
                <a:gd name="connsiteY3" fmla="*/ 162365 h 223239"/>
                <a:gd name="connsiteX4" fmla="*/ 134119 w 204976"/>
                <a:gd name="connsiteY4" fmla="*/ 211064 h 223239"/>
                <a:gd name="connsiteX5" fmla="*/ 70712 w 204976"/>
                <a:gd name="connsiteY5" fmla="*/ 211064 h 223239"/>
                <a:gd name="connsiteX6" fmla="*/ 39788 w 204976"/>
                <a:gd name="connsiteY6" fmla="*/ 162462 h 223239"/>
                <a:gd name="connsiteX7" fmla="*/ 28246 w 204976"/>
                <a:gd name="connsiteY7" fmla="*/ 151066 h 223239"/>
                <a:gd name="connsiteX8" fmla="*/ 12175 w 204976"/>
                <a:gd name="connsiteY8" fmla="*/ 100662 h 223239"/>
                <a:gd name="connsiteX9" fmla="*/ 102464 w 204976"/>
                <a:gd name="connsiteY9" fmla="*/ 12224 h 223239"/>
                <a:gd name="connsiteX10" fmla="*/ 102464 w 204976"/>
                <a:gd name="connsiteY10" fmla="*/ 0 h 223239"/>
                <a:gd name="connsiteX11" fmla="*/ 0 w 204976"/>
                <a:gd name="connsiteY11" fmla="*/ 100613 h 223239"/>
                <a:gd name="connsiteX12" fmla="*/ 19042 w 204976"/>
                <a:gd name="connsiteY12" fmla="*/ 159004 h 223239"/>
                <a:gd name="connsiteX13" fmla="*/ 60241 w 204976"/>
                <a:gd name="connsiteY13" fmla="*/ 223239 h 223239"/>
                <a:gd name="connsiteX14" fmla="*/ 144638 w 204976"/>
                <a:gd name="connsiteY14" fmla="*/ 223239 h 223239"/>
                <a:gd name="connsiteX15" fmla="*/ 185935 w 204976"/>
                <a:gd name="connsiteY15" fmla="*/ 159004 h 223239"/>
                <a:gd name="connsiteX16" fmla="*/ 204977 w 204976"/>
                <a:gd name="connsiteY16" fmla="*/ 100613 h 223239"/>
                <a:gd name="connsiteX17" fmla="*/ 102464 w 204976"/>
                <a:gd name="connsiteY17" fmla="*/ 0 h 223239"/>
                <a:gd name="connsiteX18" fmla="*/ 102464 w 204976"/>
                <a:gd name="connsiteY18" fmla="*/ 0 h 2232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204976" h="223239">
                  <a:moveTo>
                    <a:pt x="102464" y="12175"/>
                  </a:moveTo>
                  <a:cubicBezTo>
                    <a:pt x="152284" y="12175"/>
                    <a:pt x="192802" y="51816"/>
                    <a:pt x="192802" y="100613"/>
                  </a:cubicBezTo>
                  <a:cubicBezTo>
                    <a:pt x="192802" y="122869"/>
                    <a:pt x="188175" y="137430"/>
                    <a:pt x="176828" y="150920"/>
                  </a:cubicBezTo>
                  <a:cubicBezTo>
                    <a:pt x="172981" y="155011"/>
                    <a:pt x="169036" y="158761"/>
                    <a:pt x="165189" y="162365"/>
                  </a:cubicBezTo>
                  <a:cubicBezTo>
                    <a:pt x="152381" y="174393"/>
                    <a:pt x="139232" y="186812"/>
                    <a:pt x="134119" y="211064"/>
                  </a:cubicBezTo>
                  <a:lnTo>
                    <a:pt x="70712" y="211064"/>
                  </a:lnTo>
                  <a:cubicBezTo>
                    <a:pt x="65647" y="186860"/>
                    <a:pt x="52547" y="174491"/>
                    <a:pt x="39788" y="162462"/>
                  </a:cubicBezTo>
                  <a:cubicBezTo>
                    <a:pt x="35989" y="158858"/>
                    <a:pt x="32044" y="155157"/>
                    <a:pt x="28246" y="151066"/>
                  </a:cubicBezTo>
                  <a:cubicBezTo>
                    <a:pt x="17434" y="137625"/>
                    <a:pt x="12175" y="121116"/>
                    <a:pt x="12175" y="100662"/>
                  </a:cubicBezTo>
                  <a:cubicBezTo>
                    <a:pt x="12175" y="51914"/>
                    <a:pt x="52693" y="12224"/>
                    <a:pt x="102464" y="12224"/>
                  </a:cubicBezTo>
                  <a:moveTo>
                    <a:pt x="102464" y="0"/>
                  </a:moveTo>
                  <a:cubicBezTo>
                    <a:pt x="45875" y="0"/>
                    <a:pt x="0" y="45047"/>
                    <a:pt x="0" y="100613"/>
                  </a:cubicBezTo>
                  <a:cubicBezTo>
                    <a:pt x="0" y="126960"/>
                    <a:pt x="8084" y="145563"/>
                    <a:pt x="19042" y="159004"/>
                  </a:cubicBezTo>
                  <a:cubicBezTo>
                    <a:pt x="37888" y="179361"/>
                    <a:pt x="56978" y="188321"/>
                    <a:pt x="60241" y="223239"/>
                  </a:cubicBezTo>
                  <a:lnTo>
                    <a:pt x="144638" y="223239"/>
                  </a:lnTo>
                  <a:cubicBezTo>
                    <a:pt x="147901" y="188321"/>
                    <a:pt x="166991" y="179409"/>
                    <a:pt x="185935" y="159004"/>
                  </a:cubicBezTo>
                  <a:cubicBezTo>
                    <a:pt x="198694" y="143956"/>
                    <a:pt x="204977" y="126911"/>
                    <a:pt x="204977" y="100613"/>
                  </a:cubicBezTo>
                  <a:cubicBezTo>
                    <a:pt x="204977" y="45047"/>
                    <a:pt x="159053" y="0"/>
                    <a:pt x="102464" y="0"/>
                  </a:cubicBezTo>
                  <a:lnTo>
                    <a:pt x="102464" y="0"/>
                  </a:ln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700" name="Forma livre: Forma 699">
              <a:extLst>
                <a:ext uri="{FF2B5EF4-FFF2-40B4-BE49-F238E27FC236}">
                  <a16:creationId xmlns:a16="http://schemas.microsoft.com/office/drawing/2014/main" id="{0CCE775E-5EF0-4182-A100-36CAAC83E06C}"/>
                </a:ext>
              </a:extLst>
            </p:cNvPr>
            <p:cNvSpPr/>
            <p:nvPr/>
          </p:nvSpPr>
          <p:spPr>
            <a:xfrm>
              <a:off x="9524915" y="876360"/>
              <a:ext cx="4869" cy="21866"/>
            </a:xfrm>
            <a:custGeom>
              <a:avLst/>
              <a:gdLst>
                <a:gd name="connsiteX0" fmla="*/ 0 w 4869"/>
                <a:gd name="connsiteY0" fmla="*/ 21866 h 21866"/>
                <a:gd name="connsiteX1" fmla="*/ 0 w 4869"/>
                <a:gd name="connsiteY1" fmla="*/ 0 h 218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869" h="21866">
                  <a:moveTo>
                    <a:pt x="0" y="21866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701" name="Gráfico 10">
              <a:extLst>
                <a:ext uri="{FF2B5EF4-FFF2-40B4-BE49-F238E27FC236}">
                  <a16:creationId xmlns:a16="http://schemas.microsoft.com/office/drawing/2014/main" id="{77EB19DC-C7B7-E456-9802-A32E09404C24}"/>
                </a:ext>
              </a:extLst>
            </p:cNvPr>
            <p:cNvGrpSpPr/>
            <p:nvPr/>
          </p:nvGrpSpPr>
          <p:grpSpPr>
            <a:xfrm>
              <a:off x="9404773" y="927835"/>
              <a:ext cx="240235" cy="17775"/>
              <a:chOff x="9404773" y="927835"/>
              <a:chExt cx="240235" cy="17775"/>
            </a:xfrm>
          </p:grpSpPr>
          <p:sp>
            <p:nvSpPr>
              <p:cNvPr id="702" name="Forma livre: Forma 701">
                <a:extLst>
                  <a:ext uri="{FF2B5EF4-FFF2-40B4-BE49-F238E27FC236}">
                    <a16:creationId xmlns:a16="http://schemas.microsoft.com/office/drawing/2014/main" id="{A7E84BEB-7064-2073-85EC-376DB14994FD}"/>
                  </a:ext>
                </a:extLst>
              </p:cNvPr>
              <p:cNvSpPr/>
              <p:nvPr/>
            </p:nvSpPr>
            <p:spPr>
              <a:xfrm>
                <a:off x="9627331" y="927835"/>
                <a:ext cx="17677" cy="17775"/>
              </a:xfrm>
              <a:custGeom>
                <a:avLst/>
                <a:gdLst>
                  <a:gd name="connsiteX0" fmla="*/ 0 w 17677"/>
                  <a:gd name="connsiteY0" fmla="*/ 17775 h 17775"/>
                  <a:gd name="connsiteX1" fmla="*/ 17678 w 17677"/>
                  <a:gd name="connsiteY1" fmla="*/ 0 h 177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7677" h="17775">
                    <a:moveTo>
                      <a:pt x="0" y="17775"/>
                    </a:moveTo>
                    <a:lnTo>
                      <a:pt x="17678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03" name="Forma livre: Forma 702">
                <a:extLst>
                  <a:ext uri="{FF2B5EF4-FFF2-40B4-BE49-F238E27FC236}">
                    <a16:creationId xmlns:a16="http://schemas.microsoft.com/office/drawing/2014/main" id="{CD50C311-7045-353C-44B4-308873FA4605}"/>
                  </a:ext>
                </a:extLst>
              </p:cNvPr>
              <p:cNvSpPr/>
              <p:nvPr/>
            </p:nvSpPr>
            <p:spPr>
              <a:xfrm>
                <a:off x="9404773" y="927835"/>
                <a:ext cx="17677" cy="17775"/>
              </a:xfrm>
              <a:custGeom>
                <a:avLst/>
                <a:gdLst>
                  <a:gd name="connsiteX0" fmla="*/ 0 w 17677"/>
                  <a:gd name="connsiteY0" fmla="*/ 0 h 17775"/>
                  <a:gd name="connsiteX1" fmla="*/ 17678 w 17677"/>
                  <a:gd name="connsiteY1" fmla="*/ 17775 h 177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7677" h="17775">
                    <a:moveTo>
                      <a:pt x="0" y="0"/>
                    </a:moveTo>
                    <a:lnTo>
                      <a:pt x="17678" y="17775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704" name="Forma livre: Forma 703">
              <a:extLst>
                <a:ext uri="{FF2B5EF4-FFF2-40B4-BE49-F238E27FC236}">
                  <a16:creationId xmlns:a16="http://schemas.microsoft.com/office/drawing/2014/main" id="{3C94A948-C7CC-3CF2-FAA0-CE6B943BF791}"/>
                </a:ext>
              </a:extLst>
            </p:cNvPr>
            <p:cNvSpPr/>
            <p:nvPr/>
          </p:nvSpPr>
          <p:spPr>
            <a:xfrm>
              <a:off x="9524915" y="1058399"/>
              <a:ext cx="4869" cy="83032"/>
            </a:xfrm>
            <a:custGeom>
              <a:avLst/>
              <a:gdLst>
                <a:gd name="connsiteX0" fmla="*/ 0 w 4869"/>
                <a:gd name="connsiteY0" fmla="*/ 83033 h 83032"/>
                <a:gd name="connsiteX1" fmla="*/ 0 w 4869"/>
                <a:gd name="connsiteY1" fmla="*/ 0 h 830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869" h="83032">
                  <a:moveTo>
                    <a:pt x="0" y="83033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705" name="Gráfico 10">
              <a:extLst>
                <a:ext uri="{FF2B5EF4-FFF2-40B4-BE49-F238E27FC236}">
                  <a16:creationId xmlns:a16="http://schemas.microsoft.com/office/drawing/2014/main" id="{D38A73A5-BC43-D5A5-A3F1-51CC82C18C6A}"/>
                </a:ext>
              </a:extLst>
            </p:cNvPr>
            <p:cNvGrpSpPr/>
            <p:nvPr/>
          </p:nvGrpSpPr>
          <p:grpSpPr>
            <a:xfrm>
              <a:off x="9495355" y="1028985"/>
              <a:ext cx="59072" cy="29414"/>
              <a:chOff x="9495355" y="1028985"/>
              <a:chExt cx="59072" cy="29414"/>
            </a:xfrm>
          </p:grpSpPr>
          <p:sp>
            <p:nvSpPr>
              <p:cNvPr id="706" name="Forma livre: Forma 705">
                <a:extLst>
                  <a:ext uri="{FF2B5EF4-FFF2-40B4-BE49-F238E27FC236}">
                    <a16:creationId xmlns:a16="http://schemas.microsoft.com/office/drawing/2014/main" id="{5516AEBD-4704-9C4F-1809-B647220A216F}"/>
                  </a:ext>
                </a:extLst>
              </p:cNvPr>
              <p:cNvSpPr/>
              <p:nvPr/>
            </p:nvSpPr>
            <p:spPr>
              <a:xfrm>
                <a:off x="9525110" y="1028985"/>
                <a:ext cx="29317" cy="29414"/>
              </a:xfrm>
              <a:custGeom>
                <a:avLst/>
                <a:gdLst>
                  <a:gd name="connsiteX0" fmla="*/ 0 w 29317"/>
                  <a:gd name="connsiteY0" fmla="*/ 29415 h 29414"/>
                  <a:gd name="connsiteX1" fmla="*/ 29317 w 29317"/>
                  <a:gd name="connsiteY1" fmla="*/ 0 h 294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9317" h="29414">
                    <a:moveTo>
                      <a:pt x="0" y="29415"/>
                    </a:moveTo>
                    <a:lnTo>
                      <a:pt x="29317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07" name="Forma livre: Forma 706">
                <a:extLst>
                  <a:ext uri="{FF2B5EF4-FFF2-40B4-BE49-F238E27FC236}">
                    <a16:creationId xmlns:a16="http://schemas.microsoft.com/office/drawing/2014/main" id="{F2320F98-4D31-1716-28DD-A1A1E075C528}"/>
                  </a:ext>
                </a:extLst>
              </p:cNvPr>
              <p:cNvSpPr/>
              <p:nvPr/>
            </p:nvSpPr>
            <p:spPr>
              <a:xfrm>
                <a:off x="9495355" y="1028985"/>
                <a:ext cx="29317" cy="29414"/>
              </a:xfrm>
              <a:custGeom>
                <a:avLst/>
                <a:gdLst>
                  <a:gd name="connsiteX0" fmla="*/ 29317 w 29317"/>
                  <a:gd name="connsiteY0" fmla="*/ 29415 h 29414"/>
                  <a:gd name="connsiteX1" fmla="*/ 0 w 29317"/>
                  <a:gd name="connsiteY1" fmla="*/ 0 h 294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9317" h="29414">
                    <a:moveTo>
                      <a:pt x="29317" y="29415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708" name="Gráfico 10">
            <a:extLst>
              <a:ext uri="{FF2B5EF4-FFF2-40B4-BE49-F238E27FC236}">
                <a16:creationId xmlns:a16="http://schemas.microsoft.com/office/drawing/2014/main" id="{E6444728-6EB4-83A6-AD4A-43E5E5A89DC7}"/>
              </a:ext>
            </a:extLst>
          </p:cNvPr>
          <p:cNvGrpSpPr/>
          <p:nvPr/>
        </p:nvGrpSpPr>
        <p:grpSpPr>
          <a:xfrm>
            <a:off x="9419383" y="1448045"/>
            <a:ext cx="211015" cy="281337"/>
            <a:chOff x="9419383" y="1448045"/>
            <a:chExt cx="211015" cy="281337"/>
          </a:xfrm>
          <a:noFill/>
        </p:grpSpPr>
        <p:grpSp>
          <p:nvGrpSpPr>
            <p:cNvPr id="709" name="Gráfico 10">
              <a:extLst>
                <a:ext uri="{FF2B5EF4-FFF2-40B4-BE49-F238E27FC236}">
                  <a16:creationId xmlns:a16="http://schemas.microsoft.com/office/drawing/2014/main" id="{169CA34F-3B37-B32F-242F-816FD623F43A}"/>
                </a:ext>
              </a:extLst>
            </p:cNvPr>
            <p:cNvGrpSpPr/>
            <p:nvPr/>
          </p:nvGrpSpPr>
          <p:grpSpPr>
            <a:xfrm>
              <a:off x="9468911" y="1587180"/>
              <a:ext cx="112009" cy="82594"/>
              <a:chOff x="9468911" y="1587180"/>
              <a:chExt cx="112009" cy="82594"/>
            </a:xfrm>
          </p:grpSpPr>
          <p:sp>
            <p:nvSpPr>
              <p:cNvPr id="710" name="Forma livre: Forma 709">
                <a:extLst>
                  <a:ext uri="{FF2B5EF4-FFF2-40B4-BE49-F238E27FC236}">
                    <a16:creationId xmlns:a16="http://schemas.microsoft.com/office/drawing/2014/main" id="{9DB35D71-69A3-AD35-F39A-F45404C07934}"/>
                  </a:ext>
                </a:extLst>
              </p:cNvPr>
              <p:cNvSpPr/>
              <p:nvPr/>
            </p:nvSpPr>
            <p:spPr>
              <a:xfrm>
                <a:off x="9468911" y="1587180"/>
                <a:ext cx="112009" cy="4869"/>
              </a:xfrm>
              <a:custGeom>
                <a:avLst/>
                <a:gdLst>
                  <a:gd name="connsiteX0" fmla="*/ 0 w 112009"/>
                  <a:gd name="connsiteY0" fmla="*/ 0 h 4869"/>
                  <a:gd name="connsiteX1" fmla="*/ 112009 w 112009"/>
                  <a:gd name="connsiteY1" fmla="*/ 0 h 48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2009" h="4869">
                    <a:moveTo>
                      <a:pt x="0" y="0"/>
                    </a:moveTo>
                    <a:lnTo>
                      <a:pt x="112009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11" name="Forma livre: Forma 710">
                <a:extLst>
                  <a:ext uri="{FF2B5EF4-FFF2-40B4-BE49-F238E27FC236}">
                    <a16:creationId xmlns:a16="http://schemas.microsoft.com/office/drawing/2014/main" id="{67FBE809-89B4-76E4-B945-937087896701}"/>
                  </a:ext>
                </a:extLst>
              </p:cNvPr>
              <p:cNvSpPr/>
              <p:nvPr/>
            </p:nvSpPr>
            <p:spPr>
              <a:xfrm>
                <a:off x="9468911" y="1628477"/>
                <a:ext cx="112009" cy="4869"/>
              </a:xfrm>
              <a:custGeom>
                <a:avLst/>
                <a:gdLst>
                  <a:gd name="connsiteX0" fmla="*/ 0 w 112009"/>
                  <a:gd name="connsiteY0" fmla="*/ 0 h 4869"/>
                  <a:gd name="connsiteX1" fmla="*/ 112009 w 112009"/>
                  <a:gd name="connsiteY1" fmla="*/ 0 h 48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2009" h="4869">
                    <a:moveTo>
                      <a:pt x="0" y="0"/>
                    </a:moveTo>
                    <a:lnTo>
                      <a:pt x="112009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12" name="Forma livre: Forma 711">
                <a:extLst>
                  <a:ext uri="{FF2B5EF4-FFF2-40B4-BE49-F238E27FC236}">
                    <a16:creationId xmlns:a16="http://schemas.microsoft.com/office/drawing/2014/main" id="{44714D78-6A58-D73F-8889-B87924473044}"/>
                  </a:ext>
                </a:extLst>
              </p:cNvPr>
              <p:cNvSpPr/>
              <p:nvPr/>
            </p:nvSpPr>
            <p:spPr>
              <a:xfrm>
                <a:off x="9468911" y="1669774"/>
                <a:ext cx="112009" cy="4869"/>
              </a:xfrm>
              <a:custGeom>
                <a:avLst/>
                <a:gdLst>
                  <a:gd name="connsiteX0" fmla="*/ 0 w 112009"/>
                  <a:gd name="connsiteY0" fmla="*/ 0 h 4869"/>
                  <a:gd name="connsiteX1" fmla="*/ 112009 w 112009"/>
                  <a:gd name="connsiteY1" fmla="*/ 0 h 48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2009" h="4869">
                    <a:moveTo>
                      <a:pt x="0" y="0"/>
                    </a:moveTo>
                    <a:lnTo>
                      <a:pt x="112009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713" name="Forma livre: Forma 712">
              <a:extLst>
                <a:ext uri="{FF2B5EF4-FFF2-40B4-BE49-F238E27FC236}">
                  <a16:creationId xmlns:a16="http://schemas.microsoft.com/office/drawing/2014/main" id="{B57798B9-54F1-02DC-0E41-BAB6DFA17025}"/>
                </a:ext>
              </a:extLst>
            </p:cNvPr>
            <p:cNvSpPr/>
            <p:nvPr/>
          </p:nvSpPr>
          <p:spPr>
            <a:xfrm>
              <a:off x="9419383" y="1448045"/>
              <a:ext cx="211015" cy="281337"/>
            </a:xfrm>
            <a:custGeom>
              <a:avLst/>
              <a:gdLst>
                <a:gd name="connsiteX0" fmla="*/ 191536 w 211015"/>
                <a:gd name="connsiteY0" fmla="*/ 0 h 281337"/>
                <a:gd name="connsiteX1" fmla="*/ 54349 w 211015"/>
                <a:gd name="connsiteY1" fmla="*/ 0 h 281337"/>
                <a:gd name="connsiteX2" fmla="*/ 0 w 211015"/>
                <a:gd name="connsiteY2" fmla="*/ 47190 h 281337"/>
                <a:gd name="connsiteX3" fmla="*/ 0 w 211015"/>
                <a:gd name="connsiteY3" fmla="*/ 261858 h 281337"/>
                <a:gd name="connsiteX4" fmla="*/ 19480 w 211015"/>
                <a:gd name="connsiteY4" fmla="*/ 281338 h 281337"/>
                <a:gd name="connsiteX5" fmla="*/ 191536 w 211015"/>
                <a:gd name="connsiteY5" fmla="*/ 281338 h 281337"/>
                <a:gd name="connsiteX6" fmla="*/ 211015 w 211015"/>
                <a:gd name="connsiteY6" fmla="*/ 261858 h 281337"/>
                <a:gd name="connsiteX7" fmla="*/ 211015 w 211015"/>
                <a:gd name="connsiteY7" fmla="*/ 19480 h 281337"/>
                <a:gd name="connsiteX8" fmla="*/ 191536 w 211015"/>
                <a:gd name="connsiteY8" fmla="*/ 0 h 2813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1015" h="281337">
                  <a:moveTo>
                    <a:pt x="191536" y="0"/>
                  </a:moveTo>
                  <a:lnTo>
                    <a:pt x="54349" y="0"/>
                  </a:lnTo>
                  <a:lnTo>
                    <a:pt x="0" y="47190"/>
                  </a:lnTo>
                  <a:lnTo>
                    <a:pt x="0" y="261858"/>
                  </a:lnTo>
                  <a:cubicBezTo>
                    <a:pt x="0" y="272572"/>
                    <a:pt x="8766" y="281338"/>
                    <a:pt x="19480" y="281338"/>
                  </a:cubicBezTo>
                  <a:lnTo>
                    <a:pt x="191536" y="281338"/>
                  </a:lnTo>
                  <a:cubicBezTo>
                    <a:pt x="202250" y="281338"/>
                    <a:pt x="211015" y="272572"/>
                    <a:pt x="211015" y="261858"/>
                  </a:cubicBezTo>
                  <a:lnTo>
                    <a:pt x="211015" y="19480"/>
                  </a:lnTo>
                  <a:cubicBezTo>
                    <a:pt x="211015" y="8766"/>
                    <a:pt x="202250" y="0"/>
                    <a:pt x="191536" y="0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714" name="Forma livre: Forma 713">
              <a:extLst>
                <a:ext uri="{FF2B5EF4-FFF2-40B4-BE49-F238E27FC236}">
                  <a16:creationId xmlns:a16="http://schemas.microsoft.com/office/drawing/2014/main" id="{0D31AB9F-A8ED-0E3F-07B9-2ADE6C340BAA}"/>
                </a:ext>
              </a:extLst>
            </p:cNvPr>
            <p:cNvSpPr/>
            <p:nvPr/>
          </p:nvSpPr>
          <p:spPr>
            <a:xfrm>
              <a:off x="9454788" y="1451843"/>
              <a:ext cx="36573" cy="59949"/>
            </a:xfrm>
            <a:custGeom>
              <a:avLst/>
              <a:gdLst>
                <a:gd name="connsiteX0" fmla="*/ 36573 w 36573"/>
                <a:gd name="connsiteY0" fmla="*/ 0 h 59949"/>
                <a:gd name="connsiteX1" fmla="*/ 36573 w 36573"/>
                <a:gd name="connsiteY1" fmla="*/ 59949 h 59949"/>
                <a:gd name="connsiteX2" fmla="*/ 0 w 36573"/>
                <a:gd name="connsiteY2" fmla="*/ 59949 h 599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6573" h="59949">
                  <a:moveTo>
                    <a:pt x="36573" y="0"/>
                  </a:moveTo>
                  <a:lnTo>
                    <a:pt x="36573" y="59949"/>
                  </a:lnTo>
                  <a:lnTo>
                    <a:pt x="0" y="59949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715" name="Gráfico 10">
            <a:extLst>
              <a:ext uri="{FF2B5EF4-FFF2-40B4-BE49-F238E27FC236}">
                <a16:creationId xmlns:a16="http://schemas.microsoft.com/office/drawing/2014/main" id="{EFA08398-02A9-1FC3-5E93-FE6EDD0F5BDE}"/>
              </a:ext>
            </a:extLst>
          </p:cNvPr>
          <p:cNvGrpSpPr/>
          <p:nvPr/>
        </p:nvGrpSpPr>
        <p:grpSpPr>
          <a:xfrm>
            <a:off x="9444756" y="2534923"/>
            <a:ext cx="160319" cy="300476"/>
            <a:chOff x="9444756" y="2534923"/>
            <a:chExt cx="160319" cy="300476"/>
          </a:xfrm>
          <a:noFill/>
        </p:grpSpPr>
        <p:sp>
          <p:nvSpPr>
            <p:cNvPr id="716" name="Forma livre: Forma 715">
              <a:extLst>
                <a:ext uri="{FF2B5EF4-FFF2-40B4-BE49-F238E27FC236}">
                  <a16:creationId xmlns:a16="http://schemas.microsoft.com/office/drawing/2014/main" id="{B9DFC018-70D5-D82A-6F3F-29CE1A1F4430}"/>
                </a:ext>
              </a:extLst>
            </p:cNvPr>
            <p:cNvSpPr/>
            <p:nvPr/>
          </p:nvSpPr>
          <p:spPr>
            <a:xfrm>
              <a:off x="9444756" y="2534923"/>
              <a:ext cx="160319" cy="259422"/>
            </a:xfrm>
            <a:custGeom>
              <a:avLst/>
              <a:gdLst>
                <a:gd name="connsiteX0" fmla="*/ 160319 w 160319"/>
                <a:gd name="connsiteY0" fmla="*/ 80160 h 259422"/>
                <a:gd name="connsiteX1" fmla="*/ 80160 w 160319"/>
                <a:gd name="connsiteY1" fmla="*/ 259423 h 259422"/>
                <a:gd name="connsiteX2" fmla="*/ 0 w 160319"/>
                <a:gd name="connsiteY2" fmla="*/ 80160 h 259422"/>
                <a:gd name="connsiteX3" fmla="*/ 80160 w 160319"/>
                <a:gd name="connsiteY3" fmla="*/ 0 h 259422"/>
                <a:gd name="connsiteX4" fmla="*/ 160319 w 160319"/>
                <a:gd name="connsiteY4" fmla="*/ 80160 h 2594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0319" h="259422">
                  <a:moveTo>
                    <a:pt x="160319" y="80160"/>
                  </a:moveTo>
                  <a:cubicBezTo>
                    <a:pt x="160319" y="124428"/>
                    <a:pt x="80160" y="259423"/>
                    <a:pt x="80160" y="259423"/>
                  </a:cubicBezTo>
                  <a:cubicBezTo>
                    <a:pt x="80160" y="259423"/>
                    <a:pt x="0" y="124428"/>
                    <a:pt x="0" y="80160"/>
                  </a:cubicBezTo>
                  <a:cubicBezTo>
                    <a:pt x="0" y="35892"/>
                    <a:pt x="35892" y="0"/>
                    <a:pt x="80160" y="0"/>
                  </a:cubicBezTo>
                  <a:cubicBezTo>
                    <a:pt x="124428" y="0"/>
                    <a:pt x="160319" y="35892"/>
                    <a:pt x="160319" y="80160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717" name="Forma livre: Forma 716">
              <a:extLst>
                <a:ext uri="{FF2B5EF4-FFF2-40B4-BE49-F238E27FC236}">
                  <a16:creationId xmlns:a16="http://schemas.microsoft.com/office/drawing/2014/main" id="{43171B0F-94E5-4BC0-B3BA-459FA0C6D72B}"/>
                </a:ext>
              </a:extLst>
            </p:cNvPr>
            <p:cNvSpPr/>
            <p:nvPr/>
          </p:nvSpPr>
          <p:spPr>
            <a:xfrm>
              <a:off x="9487027" y="2577195"/>
              <a:ext cx="75776" cy="75776"/>
            </a:xfrm>
            <a:custGeom>
              <a:avLst/>
              <a:gdLst>
                <a:gd name="connsiteX0" fmla="*/ 75777 w 75776"/>
                <a:gd name="connsiteY0" fmla="*/ 37888 h 75776"/>
                <a:gd name="connsiteX1" fmla="*/ 37888 w 75776"/>
                <a:gd name="connsiteY1" fmla="*/ 75777 h 75776"/>
                <a:gd name="connsiteX2" fmla="*/ 0 w 75776"/>
                <a:gd name="connsiteY2" fmla="*/ 37888 h 75776"/>
                <a:gd name="connsiteX3" fmla="*/ 37888 w 75776"/>
                <a:gd name="connsiteY3" fmla="*/ 0 h 75776"/>
                <a:gd name="connsiteX4" fmla="*/ 75777 w 75776"/>
                <a:gd name="connsiteY4" fmla="*/ 37888 h 757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5776" h="75776">
                  <a:moveTo>
                    <a:pt x="75777" y="37888"/>
                  </a:moveTo>
                  <a:cubicBezTo>
                    <a:pt x="75777" y="58829"/>
                    <a:pt x="58829" y="75777"/>
                    <a:pt x="37888" y="75777"/>
                  </a:cubicBezTo>
                  <a:cubicBezTo>
                    <a:pt x="16948" y="75777"/>
                    <a:pt x="0" y="58780"/>
                    <a:pt x="0" y="37888"/>
                  </a:cubicBezTo>
                  <a:cubicBezTo>
                    <a:pt x="0" y="16996"/>
                    <a:pt x="16948" y="0"/>
                    <a:pt x="37888" y="0"/>
                  </a:cubicBezTo>
                  <a:cubicBezTo>
                    <a:pt x="58829" y="0"/>
                    <a:pt x="75777" y="16948"/>
                    <a:pt x="75777" y="37888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718" name="Forma livre: Forma 717">
              <a:extLst>
                <a:ext uri="{FF2B5EF4-FFF2-40B4-BE49-F238E27FC236}">
                  <a16:creationId xmlns:a16="http://schemas.microsoft.com/office/drawing/2014/main" id="{D488DBDA-1F61-3D93-183D-E157682C70E5}"/>
                </a:ext>
              </a:extLst>
            </p:cNvPr>
            <p:cNvSpPr/>
            <p:nvPr/>
          </p:nvSpPr>
          <p:spPr>
            <a:xfrm>
              <a:off x="9481524" y="2835400"/>
              <a:ext cx="86734" cy="4869"/>
            </a:xfrm>
            <a:custGeom>
              <a:avLst/>
              <a:gdLst>
                <a:gd name="connsiteX0" fmla="*/ 0 w 86734"/>
                <a:gd name="connsiteY0" fmla="*/ 0 h 4869"/>
                <a:gd name="connsiteX1" fmla="*/ 86734 w 86734"/>
                <a:gd name="connsiteY1" fmla="*/ 0 h 48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6734" h="4869">
                  <a:moveTo>
                    <a:pt x="0" y="0"/>
                  </a:moveTo>
                  <a:lnTo>
                    <a:pt x="86734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719" name="Gráfico 10">
            <a:extLst>
              <a:ext uri="{FF2B5EF4-FFF2-40B4-BE49-F238E27FC236}">
                <a16:creationId xmlns:a16="http://schemas.microsoft.com/office/drawing/2014/main" id="{AB3F1134-F202-B96A-C7AA-4F0311C28046}"/>
              </a:ext>
            </a:extLst>
          </p:cNvPr>
          <p:cNvGrpSpPr/>
          <p:nvPr/>
        </p:nvGrpSpPr>
        <p:grpSpPr>
          <a:xfrm>
            <a:off x="9376430" y="3116105"/>
            <a:ext cx="296970" cy="234488"/>
            <a:chOff x="9376430" y="3116105"/>
            <a:chExt cx="296970" cy="234488"/>
          </a:xfrm>
          <a:noFill/>
        </p:grpSpPr>
        <p:sp>
          <p:nvSpPr>
            <p:cNvPr id="720" name="Forma livre: Forma 719">
              <a:extLst>
                <a:ext uri="{FF2B5EF4-FFF2-40B4-BE49-F238E27FC236}">
                  <a16:creationId xmlns:a16="http://schemas.microsoft.com/office/drawing/2014/main" id="{4942AC1F-422C-7D23-FB7C-AC4F25763F53}"/>
                </a:ext>
              </a:extLst>
            </p:cNvPr>
            <p:cNvSpPr/>
            <p:nvPr/>
          </p:nvSpPr>
          <p:spPr>
            <a:xfrm>
              <a:off x="9402631" y="3248421"/>
              <a:ext cx="244472" cy="102171"/>
            </a:xfrm>
            <a:custGeom>
              <a:avLst/>
              <a:gdLst>
                <a:gd name="connsiteX0" fmla="*/ 244472 w 244472"/>
                <a:gd name="connsiteY0" fmla="*/ 97 h 102171"/>
                <a:gd name="connsiteX1" fmla="*/ 226356 w 244472"/>
                <a:gd name="connsiteY1" fmla="*/ 87854 h 102171"/>
                <a:gd name="connsiteX2" fmla="*/ 208873 w 244472"/>
                <a:gd name="connsiteY2" fmla="*/ 102172 h 102171"/>
                <a:gd name="connsiteX3" fmla="*/ 35648 w 244472"/>
                <a:gd name="connsiteY3" fmla="*/ 102172 h 102171"/>
                <a:gd name="connsiteX4" fmla="*/ 18165 w 244472"/>
                <a:gd name="connsiteY4" fmla="*/ 87854 h 102171"/>
                <a:gd name="connsiteX5" fmla="*/ 0 w 244472"/>
                <a:gd name="connsiteY5" fmla="*/ 0 h 1021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44472" h="102171">
                  <a:moveTo>
                    <a:pt x="244472" y="97"/>
                  </a:moveTo>
                  <a:lnTo>
                    <a:pt x="226356" y="87854"/>
                  </a:lnTo>
                  <a:cubicBezTo>
                    <a:pt x="224797" y="95743"/>
                    <a:pt x="216908" y="102172"/>
                    <a:pt x="208873" y="102172"/>
                  </a:cubicBezTo>
                  <a:lnTo>
                    <a:pt x="35648" y="102172"/>
                  </a:lnTo>
                  <a:cubicBezTo>
                    <a:pt x="27613" y="102172"/>
                    <a:pt x="19772" y="95743"/>
                    <a:pt x="18165" y="87854"/>
                  </a:cubicBezTo>
                  <a:lnTo>
                    <a:pt x="0" y="0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721" name="Forma livre: Forma 720">
              <a:extLst>
                <a:ext uri="{FF2B5EF4-FFF2-40B4-BE49-F238E27FC236}">
                  <a16:creationId xmlns:a16="http://schemas.microsoft.com/office/drawing/2014/main" id="{A2163B48-3F72-A8AB-C2E3-E359AC8D7D0C}"/>
                </a:ext>
              </a:extLst>
            </p:cNvPr>
            <p:cNvSpPr/>
            <p:nvPr/>
          </p:nvSpPr>
          <p:spPr>
            <a:xfrm>
              <a:off x="9376430" y="3186135"/>
              <a:ext cx="296970" cy="37596"/>
            </a:xfrm>
            <a:custGeom>
              <a:avLst/>
              <a:gdLst>
                <a:gd name="connsiteX0" fmla="*/ 0 w 296970"/>
                <a:gd name="connsiteY0" fmla="*/ 0 h 37596"/>
                <a:gd name="connsiteX1" fmla="*/ 296970 w 296970"/>
                <a:gd name="connsiteY1" fmla="*/ 0 h 37596"/>
                <a:gd name="connsiteX2" fmla="*/ 296970 w 296970"/>
                <a:gd name="connsiteY2" fmla="*/ 37596 h 37596"/>
                <a:gd name="connsiteX3" fmla="*/ 0 w 296970"/>
                <a:gd name="connsiteY3" fmla="*/ 37596 h 375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96970" h="37596">
                  <a:moveTo>
                    <a:pt x="0" y="0"/>
                  </a:moveTo>
                  <a:lnTo>
                    <a:pt x="296970" y="0"/>
                  </a:lnTo>
                  <a:lnTo>
                    <a:pt x="296970" y="37596"/>
                  </a:lnTo>
                  <a:lnTo>
                    <a:pt x="0" y="37596"/>
                  </a:ln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722" name="Gráfico 10">
              <a:extLst>
                <a:ext uri="{FF2B5EF4-FFF2-40B4-BE49-F238E27FC236}">
                  <a16:creationId xmlns:a16="http://schemas.microsoft.com/office/drawing/2014/main" id="{FB0B7EC2-497E-23F4-F48E-DCDCC635D40A}"/>
                </a:ext>
              </a:extLst>
            </p:cNvPr>
            <p:cNvGrpSpPr/>
            <p:nvPr/>
          </p:nvGrpSpPr>
          <p:grpSpPr>
            <a:xfrm>
              <a:off x="9448360" y="3259622"/>
              <a:ext cx="153062" cy="54933"/>
              <a:chOff x="9448360" y="3259622"/>
              <a:chExt cx="153062" cy="54933"/>
            </a:xfrm>
          </p:grpSpPr>
          <p:sp>
            <p:nvSpPr>
              <p:cNvPr id="723" name="Forma livre: Forma 722">
                <a:extLst>
                  <a:ext uri="{FF2B5EF4-FFF2-40B4-BE49-F238E27FC236}">
                    <a16:creationId xmlns:a16="http://schemas.microsoft.com/office/drawing/2014/main" id="{CE1D3E88-273A-BECD-3B14-E92927373F2F}"/>
                  </a:ext>
                </a:extLst>
              </p:cNvPr>
              <p:cNvSpPr/>
              <p:nvPr/>
            </p:nvSpPr>
            <p:spPr>
              <a:xfrm>
                <a:off x="9448360" y="3259622"/>
                <a:ext cx="7451" cy="54933"/>
              </a:xfrm>
              <a:custGeom>
                <a:avLst/>
                <a:gdLst>
                  <a:gd name="connsiteX0" fmla="*/ 0 w 7451"/>
                  <a:gd name="connsiteY0" fmla="*/ 0 h 54933"/>
                  <a:gd name="connsiteX1" fmla="*/ 7451 w 7451"/>
                  <a:gd name="connsiteY1" fmla="*/ 54933 h 549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7451" h="54933">
                    <a:moveTo>
                      <a:pt x="0" y="0"/>
                    </a:moveTo>
                    <a:lnTo>
                      <a:pt x="7451" y="54933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24" name="Forma livre: Forma 723">
                <a:extLst>
                  <a:ext uri="{FF2B5EF4-FFF2-40B4-BE49-F238E27FC236}">
                    <a16:creationId xmlns:a16="http://schemas.microsoft.com/office/drawing/2014/main" id="{23BA0004-9CF5-DD3E-1EA9-30E58A638342}"/>
                  </a:ext>
                </a:extLst>
              </p:cNvPr>
              <p:cNvSpPr/>
              <p:nvPr/>
            </p:nvSpPr>
            <p:spPr>
              <a:xfrm>
                <a:off x="9486735" y="3259622"/>
                <a:ext cx="3506" cy="54933"/>
              </a:xfrm>
              <a:custGeom>
                <a:avLst/>
                <a:gdLst>
                  <a:gd name="connsiteX0" fmla="*/ 0 w 3506"/>
                  <a:gd name="connsiteY0" fmla="*/ 0 h 54933"/>
                  <a:gd name="connsiteX1" fmla="*/ 3506 w 3506"/>
                  <a:gd name="connsiteY1" fmla="*/ 54933 h 549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506" h="54933">
                    <a:moveTo>
                      <a:pt x="0" y="0"/>
                    </a:moveTo>
                    <a:lnTo>
                      <a:pt x="3506" y="54933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25" name="Forma livre: Forma 724">
                <a:extLst>
                  <a:ext uri="{FF2B5EF4-FFF2-40B4-BE49-F238E27FC236}">
                    <a16:creationId xmlns:a16="http://schemas.microsoft.com/office/drawing/2014/main" id="{7B1A9D3A-E9BA-9653-AE62-4B9B4E473491}"/>
                  </a:ext>
                </a:extLst>
              </p:cNvPr>
              <p:cNvSpPr/>
              <p:nvPr/>
            </p:nvSpPr>
            <p:spPr>
              <a:xfrm>
                <a:off x="9593971" y="3259622"/>
                <a:ext cx="7451" cy="54933"/>
              </a:xfrm>
              <a:custGeom>
                <a:avLst/>
                <a:gdLst>
                  <a:gd name="connsiteX0" fmla="*/ 7451 w 7451"/>
                  <a:gd name="connsiteY0" fmla="*/ 0 h 54933"/>
                  <a:gd name="connsiteX1" fmla="*/ 0 w 7451"/>
                  <a:gd name="connsiteY1" fmla="*/ 54933 h 549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7451" h="54933">
                    <a:moveTo>
                      <a:pt x="7451" y="0"/>
                    </a:moveTo>
                    <a:lnTo>
                      <a:pt x="0" y="54933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26" name="Forma livre: Forma 725">
                <a:extLst>
                  <a:ext uri="{FF2B5EF4-FFF2-40B4-BE49-F238E27FC236}">
                    <a16:creationId xmlns:a16="http://schemas.microsoft.com/office/drawing/2014/main" id="{11D8E29B-7780-2316-8E6B-F66024CD4897}"/>
                  </a:ext>
                </a:extLst>
              </p:cNvPr>
              <p:cNvSpPr/>
              <p:nvPr/>
            </p:nvSpPr>
            <p:spPr>
              <a:xfrm>
                <a:off x="9559541" y="3259622"/>
                <a:ext cx="3506" cy="54933"/>
              </a:xfrm>
              <a:custGeom>
                <a:avLst/>
                <a:gdLst>
                  <a:gd name="connsiteX0" fmla="*/ 3506 w 3506"/>
                  <a:gd name="connsiteY0" fmla="*/ 0 h 54933"/>
                  <a:gd name="connsiteX1" fmla="*/ 0 w 3506"/>
                  <a:gd name="connsiteY1" fmla="*/ 54933 h 549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506" h="54933">
                    <a:moveTo>
                      <a:pt x="3506" y="0"/>
                    </a:moveTo>
                    <a:lnTo>
                      <a:pt x="0" y="54933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27" name="Forma livre: Forma 726">
                <a:extLst>
                  <a:ext uri="{FF2B5EF4-FFF2-40B4-BE49-F238E27FC236}">
                    <a16:creationId xmlns:a16="http://schemas.microsoft.com/office/drawing/2014/main" id="{2C4B81C6-9F2E-9119-D7A4-2917A633BAF3}"/>
                  </a:ext>
                </a:extLst>
              </p:cNvPr>
              <p:cNvSpPr/>
              <p:nvPr/>
            </p:nvSpPr>
            <p:spPr>
              <a:xfrm>
                <a:off x="9524867" y="3259622"/>
                <a:ext cx="4869" cy="54933"/>
              </a:xfrm>
              <a:custGeom>
                <a:avLst/>
                <a:gdLst>
                  <a:gd name="connsiteX0" fmla="*/ 0 w 4869"/>
                  <a:gd name="connsiteY0" fmla="*/ 0 h 54933"/>
                  <a:gd name="connsiteX1" fmla="*/ 0 w 4869"/>
                  <a:gd name="connsiteY1" fmla="*/ 54933 h 549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869" h="54933">
                    <a:moveTo>
                      <a:pt x="0" y="0"/>
                    </a:moveTo>
                    <a:lnTo>
                      <a:pt x="0" y="54933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728" name="Gráfico 10">
              <a:extLst>
                <a:ext uri="{FF2B5EF4-FFF2-40B4-BE49-F238E27FC236}">
                  <a16:creationId xmlns:a16="http://schemas.microsoft.com/office/drawing/2014/main" id="{32573AB4-0D60-FD05-412C-EB561AECA087}"/>
                </a:ext>
              </a:extLst>
            </p:cNvPr>
            <p:cNvGrpSpPr/>
            <p:nvPr/>
          </p:nvGrpSpPr>
          <p:grpSpPr>
            <a:xfrm>
              <a:off x="9443928" y="3116105"/>
              <a:ext cx="161974" cy="68958"/>
              <a:chOff x="9443928" y="3116105"/>
              <a:chExt cx="161974" cy="68958"/>
            </a:xfrm>
          </p:grpSpPr>
          <p:sp>
            <p:nvSpPr>
              <p:cNvPr id="729" name="Forma livre: Forma 728">
                <a:extLst>
                  <a:ext uri="{FF2B5EF4-FFF2-40B4-BE49-F238E27FC236}">
                    <a16:creationId xmlns:a16="http://schemas.microsoft.com/office/drawing/2014/main" id="{21356D57-6F09-2899-C798-AC6314183E5D}"/>
                  </a:ext>
                </a:extLst>
              </p:cNvPr>
              <p:cNvSpPr/>
              <p:nvPr/>
            </p:nvSpPr>
            <p:spPr>
              <a:xfrm>
                <a:off x="9443928" y="3116105"/>
                <a:ext cx="57270" cy="68958"/>
              </a:xfrm>
              <a:custGeom>
                <a:avLst/>
                <a:gdLst>
                  <a:gd name="connsiteX0" fmla="*/ 0 w 57270"/>
                  <a:gd name="connsiteY0" fmla="*/ 68959 h 68958"/>
                  <a:gd name="connsiteX1" fmla="*/ 57271 w 57270"/>
                  <a:gd name="connsiteY1" fmla="*/ 0 h 689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7270" h="68958">
                    <a:moveTo>
                      <a:pt x="0" y="68959"/>
                    </a:moveTo>
                    <a:lnTo>
                      <a:pt x="57271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30" name="Forma livre: Forma 729">
                <a:extLst>
                  <a:ext uri="{FF2B5EF4-FFF2-40B4-BE49-F238E27FC236}">
                    <a16:creationId xmlns:a16="http://schemas.microsoft.com/office/drawing/2014/main" id="{E4E06548-AD75-AAE2-6396-09FF9C722CD4}"/>
                  </a:ext>
                </a:extLst>
              </p:cNvPr>
              <p:cNvSpPr/>
              <p:nvPr/>
            </p:nvSpPr>
            <p:spPr>
              <a:xfrm>
                <a:off x="9548583" y="3116105"/>
                <a:ext cx="57319" cy="68958"/>
              </a:xfrm>
              <a:custGeom>
                <a:avLst/>
                <a:gdLst>
                  <a:gd name="connsiteX0" fmla="*/ 57319 w 57319"/>
                  <a:gd name="connsiteY0" fmla="*/ 68959 h 68958"/>
                  <a:gd name="connsiteX1" fmla="*/ 0 w 57319"/>
                  <a:gd name="connsiteY1" fmla="*/ 0 h 689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7319" h="68958">
                    <a:moveTo>
                      <a:pt x="57319" y="68959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731" name="Gráfico 10">
            <a:extLst>
              <a:ext uri="{FF2B5EF4-FFF2-40B4-BE49-F238E27FC236}">
                <a16:creationId xmlns:a16="http://schemas.microsoft.com/office/drawing/2014/main" id="{641E8CFA-265D-EAB9-A902-0BDAF3C95D62}"/>
              </a:ext>
            </a:extLst>
          </p:cNvPr>
          <p:cNvGrpSpPr/>
          <p:nvPr/>
        </p:nvGrpSpPr>
        <p:grpSpPr>
          <a:xfrm>
            <a:off x="9423864" y="2001857"/>
            <a:ext cx="202054" cy="270185"/>
            <a:chOff x="9423864" y="2001857"/>
            <a:chExt cx="202054" cy="270185"/>
          </a:xfrm>
          <a:noFill/>
        </p:grpSpPr>
        <p:grpSp>
          <p:nvGrpSpPr>
            <p:cNvPr id="732" name="Gráfico 10">
              <a:extLst>
                <a:ext uri="{FF2B5EF4-FFF2-40B4-BE49-F238E27FC236}">
                  <a16:creationId xmlns:a16="http://schemas.microsoft.com/office/drawing/2014/main" id="{AB142935-B332-F10C-BB87-31BB3DA9DBDD}"/>
                </a:ext>
              </a:extLst>
            </p:cNvPr>
            <p:cNvGrpSpPr/>
            <p:nvPr/>
          </p:nvGrpSpPr>
          <p:grpSpPr>
            <a:xfrm>
              <a:off x="9524915" y="2197240"/>
              <a:ext cx="4869" cy="74802"/>
              <a:chOff x="9524915" y="2197240"/>
              <a:chExt cx="4869" cy="74802"/>
            </a:xfrm>
          </p:grpSpPr>
          <p:sp>
            <p:nvSpPr>
              <p:cNvPr id="733" name="Forma livre: Forma 732">
                <a:extLst>
                  <a:ext uri="{FF2B5EF4-FFF2-40B4-BE49-F238E27FC236}">
                    <a16:creationId xmlns:a16="http://schemas.microsoft.com/office/drawing/2014/main" id="{BF571C90-6EBA-BE31-0DE9-B845B61A3C22}"/>
                  </a:ext>
                </a:extLst>
              </p:cNvPr>
              <p:cNvSpPr/>
              <p:nvPr/>
            </p:nvSpPr>
            <p:spPr>
              <a:xfrm>
                <a:off x="9524915" y="2219398"/>
                <a:ext cx="4869" cy="52644"/>
              </a:xfrm>
              <a:custGeom>
                <a:avLst/>
                <a:gdLst>
                  <a:gd name="connsiteX0" fmla="*/ 0 w 4869"/>
                  <a:gd name="connsiteY0" fmla="*/ 52644 h 52644"/>
                  <a:gd name="connsiteX1" fmla="*/ 0 w 4869"/>
                  <a:gd name="connsiteY1" fmla="*/ 0 h 526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869" h="52644">
                    <a:moveTo>
                      <a:pt x="0" y="52644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34" name="Forma livre: Forma 733">
                <a:extLst>
                  <a:ext uri="{FF2B5EF4-FFF2-40B4-BE49-F238E27FC236}">
                    <a16:creationId xmlns:a16="http://schemas.microsoft.com/office/drawing/2014/main" id="{F8AD7436-EC4C-499C-093E-76F7E031323E}"/>
                  </a:ext>
                </a:extLst>
              </p:cNvPr>
              <p:cNvSpPr/>
              <p:nvPr/>
            </p:nvSpPr>
            <p:spPr>
              <a:xfrm>
                <a:off x="9524915" y="2197240"/>
                <a:ext cx="4869" cy="43537"/>
              </a:xfrm>
              <a:custGeom>
                <a:avLst/>
                <a:gdLst>
                  <a:gd name="connsiteX0" fmla="*/ 0 w 4869"/>
                  <a:gd name="connsiteY0" fmla="*/ 43538 h 43537"/>
                  <a:gd name="connsiteX1" fmla="*/ 0 w 4869"/>
                  <a:gd name="connsiteY1" fmla="*/ 0 h 435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869" h="43537">
                    <a:moveTo>
                      <a:pt x="0" y="43538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735" name="Forma livre: Forma 734">
              <a:extLst>
                <a:ext uri="{FF2B5EF4-FFF2-40B4-BE49-F238E27FC236}">
                  <a16:creationId xmlns:a16="http://schemas.microsoft.com/office/drawing/2014/main" id="{78CF2228-56BE-9D55-07FB-9CCB8D5415BF}"/>
                </a:ext>
              </a:extLst>
            </p:cNvPr>
            <p:cNvSpPr/>
            <p:nvPr/>
          </p:nvSpPr>
          <p:spPr>
            <a:xfrm>
              <a:off x="9449821" y="2001857"/>
              <a:ext cx="150189" cy="119021"/>
            </a:xfrm>
            <a:custGeom>
              <a:avLst/>
              <a:gdLst>
                <a:gd name="connsiteX0" fmla="*/ 109672 w 150189"/>
                <a:gd name="connsiteY0" fmla="*/ 119022 h 119021"/>
                <a:gd name="connsiteX1" fmla="*/ 109672 w 150189"/>
                <a:gd name="connsiteY1" fmla="*/ 47190 h 119021"/>
                <a:gd name="connsiteX2" fmla="*/ 150190 w 150189"/>
                <a:gd name="connsiteY2" fmla="*/ 0 h 119021"/>
                <a:gd name="connsiteX3" fmla="*/ 0 w 150189"/>
                <a:gd name="connsiteY3" fmla="*/ 0 h 119021"/>
                <a:gd name="connsiteX4" fmla="*/ 40469 w 150189"/>
                <a:gd name="connsiteY4" fmla="*/ 47190 h 119021"/>
                <a:gd name="connsiteX5" fmla="*/ 40469 w 150189"/>
                <a:gd name="connsiteY5" fmla="*/ 119022 h 1190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50189" h="119021">
                  <a:moveTo>
                    <a:pt x="109672" y="119022"/>
                  </a:moveTo>
                  <a:lnTo>
                    <a:pt x="109672" y="47190"/>
                  </a:lnTo>
                  <a:lnTo>
                    <a:pt x="150190" y="0"/>
                  </a:lnTo>
                  <a:lnTo>
                    <a:pt x="0" y="0"/>
                  </a:lnTo>
                  <a:lnTo>
                    <a:pt x="40469" y="47190"/>
                  </a:lnTo>
                  <a:lnTo>
                    <a:pt x="40469" y="119022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736" name="Forma livre: Forma 735">
              <a:extLst>
                <a:ext uri="{FF2B5EF4-FFF2-40B4-BE49-F238E27FC236}">
                  <a16:creationId xmlns:a16="http://schemas.microsoft.com/office/drawing/2014/main" id="{B283057C-FCE4-9DC5-1AE9-98001F65203B}"/>
                </a:ext>
              </a:extLst>
            </p:cNvPr>
            <p:cNvSpPr/>
            <p:nvPr/>
          </p:nvSpPr>
          <p:spPr>
            <a:xfrm>
              <a:off x="9423864" y="2118444"/>
              <a:ext cx="202054" cy="54348"/>
            </a:xfrm>
            <a:custGeom>
              <a:avLst/>
              <a:gdLst>
                <a:gd name="connsiteX0" fmla="*/ 101149 w 202054"/>
                <a:gd name="connsiteY0" fmla="*/ 0 h 54348"/>
                <a:gd name="connsiteX1" fmla="*/ 0 w 202054"/>
                <a:gd name="connsiteY1" fmla="*/ 54349 h 54348"/>
                <a:gd name="connsiteX2" fmla="*/ 202055 w 202054"/>
                <a:gd name="connsiteY2" fmla="*/ 54349 h 54348"/>
                <a:gd name="connsiteX3" fmla="*/ 101149 w 202054"/>
                <a:gd name="connsiteY3" fmla="*/ 0 h 543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2054" h="54348">
                  <a:moveTo>
                    <a:pt x="101149" y="0"/>
                  </a:moveTo>
                  <a:cubicBezTo>
                    <a:pt x="58293" y="0"/>
                    <a:pt x="20795" y="20259"/>
                    <a:pt x="0" y="54349"/>
                  </a:cubicBezTo>
                  <a:lnTo>
                    <a:pt x="202055" y="54349"/>
                  </a:lnTo>
                  <a:cubicBezTo>
                    <a:pt x="181211" y="20503"/>
                    <a:pt x="143810" y="0"/>
                    <a:pt x="101149" y="0"/>
                  </a:cubicBez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738" name="Gráfico 11">
            <a:extLst>
              <a:ext uri="{FF2B5EF4-FFF2-40B4-BE49-F238E27FC236}">
                <a16:creationId xmlns:a16="http://schemas.microsoft.com/office/drawing/2014/main" id="{6FD55FBE-1995-3904-344F-ED6A482D71B5}"/>
              </a:ext>
            </a:extLst>
          </p:cNvPr>
          <p:cNvGrpSpPr/>
          <p:nvPr/>
        </p:nvGrpSpPr>
        <p:grpSpPr>
          <a:xfrm>
            <a:off x="11288443" y="871490"/>
            <a:ext cx="194554" cy="344501"/>
            <a:chOff x="11288443" y="871490"/>
            <a:chExt cx="194554" cy="344501"/>
          </a:xfrm>
          <a:noFill/>
        </p:grpSpPr>
        <p:sp>
          <p:nvSpPr>
            <p:cNvPr id="739" name="Forma livre: Forma 738">
              <a:extLst>
                <a:ext uri="{FF2B5EF4-FFF2-40B4-BE49-F238E27FC236}">
                  <a16:creationId xmlns:a16="http://schemas.microsoft.com/office/drawing/2014/main" id="{563CB09B-D414-D182-5BB9-9AC13C681792}"/>
                </a:ext>
              </a:extLst>
            </p:cNvPr>
            <p:cNvSpPr/>
            <p:nvPr/>
          </p:nvSpPr>
          <p:spPr>
            <a:xfrm>
              <a:off x="11324334" y="893210"/>
              <a:ext cx="39641" cy="74753"/>
            </a:xfrm>
            <a:custGeom>
              <a:avLst/>
              <a:gdLst>
                <a:gd name="connsiteX0" fmla="*/ 0 w 39641"/>
                <a:gd name="connsiteY0" fmla="*/ 74754 h 74753"/>
                <a:gd name="connsiteX1" fmla="*/ 0 w 39641"/>
                <a:gd name="connsiteY1" fmla="*/ 20503 h 74753"/>
                <a:gd name="connsiteX2" fmla="*/ 19821 w 39641"/>
                <a:gd name="connsiteY2" fmla="*/ 0 h 74753"/>
                <a:gd name="connsiteX3" fmla="*/ 39641 w 39641"/>
                <a:gd name="connsiteY3" fmla="*/ 20503 h 747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641" h="74753">
                  <a:moveTo>
                    <a:pt x="0" y="74754"/>
                  </a:moveTo>
                  <a:lnTo>
                    <a:pt x="0" y="20503"/>
                  </a:lnTo>
                  <a:cubicBezTo>
                    <a:pt x="0" y="9253"/>
                    <a:pt x="8912" y="0"/>
                    <a:pt x="19821" y="0"/>
                  </a:cubicBezTo>
                  <a:cubicBezTo>
                    <a:pt x="30729" y="0"/>
                    <a:pt x="39641" y="9204"/>
                    <a:pt x="39641" y="20503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740" name="Forma livre: Forma 739">
              <a:extLst>
                <a:ext uri="{FF2B5EF4-FFF2-40B4-BE49-F238E27FC236}">
                  <a16:creationId xmlns:a16="http://schemas.microsoft.com/office/drawing/2014/main" id="{479FC22F-3AF7-06D9-B5BA-03761EFDEEAC}"/>
                </a:ext>
              </a:extLst>
            </p:cNvPr>
            <p:cNvSpPr/>
            <p:nvPr/>
          </p:nvSpPr>
          <p:spPr>
            <a:xfrm>
              <a:off x="11363976" y="871490"/>
              <a:ext cx="39641" cy="150530"/>
            </a:xfrm>
            <a:custGeom>
              <a:avLst/>
              <a:gdLst>
                <a:gd name="connsiteX0" fmla="*/ 0 w 39641"/>
                <a:gd name="connsiteY0" fmla="*/ 150531 h 150530"/>
                <a:gd name="connsiteX1" fmla="*/ 0 w 39641"/>
                <a:gd name="connsiteY1" fmla="*/ 20503 h 150530"/>
                <a:gd name="connsiteX2" fmla="*/ 19821 w 39641"/>
                <a:gd name="connsiteY2" fmla="*/ 0 h 150530"/>
                <a:gd name="connsiteX3" fmla="*/ 39642 w 39641"/>
                <a:gd name="connsiteY3" fmla="*/ 20503 h 150530"/>
                <a:gd name="connsiteX4" fmla="*/ 39642 w 39641"/>
                <a:gd name="connsiteY4" fmla="*/ 150531 h 1505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641" h="150530">
                  <a:moveTo>
                    <a:pt x="0" y="150531"/>
                  </a:moveTo>
                  <a:lnTo>
                    <a:pt x="0" y="20503"/>
                  </a:lnTo>
                  <a:cubicBezTo>
                    <a:pt x="0" y="9253"/>
                    <a:pt x="8912" y="0"/>
                    <a:pt x="19821" y="0"/>
                  </a:cubicBezTo>
                  <a:cubicBezTo>
                    <a:pt x="30730" y="0"/>
                    <a:pt x="39642" y="9253"/>
                    <a:pt x="39642" y="20503"/>
                  </a:cubicBezTo>
                  <a:lnTo>
                    <a:pt x="39642" y="150531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741" name="Forma livre: Forma 740">
              <a:extLst>
                <a:ext uri="{FF2B5EF4-FFF2-40B4-BE49-F238E27FC236}">
                  <a16:creationId xmlns:a16="http://schemas.microsoft.com/office/drawing/2014/main" id="{9B51CE59-05A6-E33A-EC5D-9EA44AC38C6B}"/>
                </a:ext>
              </a:extLst>
            </p:cNvPr>
            <p:cNvSpPr/>
            <p:nvPr/>
          </p:nvSpPr>
          <p:spPr>
            <a:xfrm>
              <a:off x="11403617" y="893502"/>
              <a:ext cx="39641" cy="63163"/>
            </a:xfrm>
            <a:custGeom>
              <a:avLst/>
              <a:gdLst>
                <a:gd name="connsiteX0" fmla="*/ 0 w 39641"/>
                <a:gd name="connsiteY0" fmla="*/ 20503 h 63163"/>
                <a:gd name="connsiteX1" fmla="*/ 19821 w 39641"/>
                <a:gd name="connsiteY1" fmla="*/ 0 h 63163"/>
                <a:gd name="connsiteX2" fmla="*/ 39642 w 39641"/>
                <a:gd name="connsiteY2" fmla="*/ 20503 h 63163"/>
                <a:gd name="connsiteX3" fmla="*/ 39642 w 39641"/>
                <a:gd name="connsiteY3" fmla="*/ 63163 h 631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641" h="63163">
                  <a:moveTo>
                    <a:pt x="0" y="20503"/>
                  </a:moveTo>
                  <a:cubicBezTo>
                    <a:pt x="0" y="9253"/>
                    <a:pt x="8912" y="0"/>
                    <a:pt x="19821" y="0"/>
                  </a:cubicBezTo>
                  <a:cubicBezTo>
                    <a:pt x="30729" y="0"/>
                    <a:pt x="39642" y="9204"/>
                    <a:pt x="39642" y="20503"/>
                  </a:cubicBezTo>
                  <a:lnTo>
                    <a:pt x="39642" y="63163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742" name="Forma livre: Forma 741">
              <a:extLst>
                <a:ext uri="{FF2B5EF4-FFF2-40B4-BE49-F238E27FC236}">
                  <a16:creationId xmlns:a16="http://schemas.microsoft.com/office/drawing/2014/main" id="{2D515B05-3A47-7BA7-B1CC-30CA76074284}"/>
                </a:ext>
              </a:extLst>
            </p:cNvPr>
            <p:cNvSpPr/>
            <p:nvPr/>
          </p:nvSpPr>
          <p:spPr>
            <a:xfrm>
              <a:off x="11404153" y="932949"/>
              <a:ext cx="78844" cy="283042"/>
            </a:xfrm>
            <a:custGeom>
              <a:avLst/>
              <a:gdLst>
                <a:gd name="connsiteX0" fmla="*/ 0 w 78844"/>
                <a:gd name="connsiteY0" fmla="*/ 283042 h 283042"/>
                <a:gd name="connsiteX1" fmla="*/ 78845 w 78844"/>
                <a:gd name="connsiteY1" fmla="*/ 188857 h 283042"/>
                <a:gd name="connsiteX2" fmla="*/ 78845 w 78844"/>
                <a:gd name="connsiteY2" fmla="*/ 20503 h 283042"/>
                <a:gd name="connsiteX3" fmla="*/ 59024 w 78844"/>
                <a:gd name="connsiteY3" fmla="*/ 0 h 283042"/>
                <a:gd name="connsiteX4" fmla="*/ 39203 w 78844"/>
                <a:gd name="connsiteY4" fmla="*/ 20503 h 283042"/>
                <a:gd name="connsiteX5" fmla="*/ 39203 w 78844"/>
                <a:gd name="connsiteY5" fmla="*/ 102415 h 2830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8844" h="283042">
                  <a:moveTo>
                    <a:pt x="0" y="283042"/>
                  </a:moveTo>
                  <a:cubicBezTo>
                    <a:pt x="44755" y="275104"/>
                    <a:pt x="78845" y="235804"/>
                    <a:pt x="78845" y="188857"/>
                  </a:cubicBezTo>
                  <a:lnTo>
                    <a:pt x="78845" y="20503"/>
                  </a:lnTo>
                  <a:cubicBezTo>
                    <a:pt x="78845" y="9253"/>
                    <a:pt x="69933" y="0"/>
                    <a:pt x="59024" y="0"/>
                  </a:cubicBezTo>
                  <a:cubicBezTo>
                    <a:pt x="48115" y="0"/>
                    <a:pt x="39203" y="9204"/>
                    <a:pt x="39203" y="20503"/>
                  </a:cubicBezTo>
                  <a:lnTo>
                    <a:pt x="39203" y="102415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743" name="Forma livre: Forma 742">
              <a:extLst>
                <a:ext uri="{FF2B5EF4-FFF2-40B4-BE49-F238E27FC236}">
                  <a16:creationId xmlns:a16="http://schemas.microsoft.com/office/drawing/2014/main" id="{BD6C9EC1-B625-11B5-19FC-1CA3F1795F12}"/>
                </a:ext>
              </a:extLst>
            </p:cNvPr>
            <p:cNvSpPr/>
            <p:nvPr/>
          </p:nvSpPr>
          <p:spPr>
            <a:xfrm>
              <a:off x="11288443" y="988377"/>
              <a:ext cx="91116" cy="227322"/>
            </a:xfrm>
            <a:custGeom>
              <a:avLst/>
              <a:gdLst>
                <a:gd name="connsiteX0" fmla="*/ 77530 w 91116"/>
                <a:gd name="connsiteY0" fmla="*/ 227322 h 227322"/>
                <a:gd name="connsiteX1" fmla="*/ 0 w 91116"/>
                <a:gd name="connsiteY1" fmla="*/ 133429 h 227322"/>
                <a:gd name="connsiteX2" fmla="*/ 0 w 91116"/>
                <a:gd name="connsiteY2" fmla="*/ 11193 h 227322"/>
                <a:gd name="connsiteX3" fmla="*/ 19772 w 91116"/>
                <a:gd name="connsiteY3" fmla="*/ 2184 h 227322"/>
                <a:gd name="connsiteX4" fmla="*/ 27613 w 91116"/>
                <a:gd name="connsiteY4" fmla="*/ 7590 h 227322"/>
                <a:gd name="connsiteX5" fmla="*/ 41541 w 91116"/>
                <a:gd name="connsiteY5" fmla="*/ 35300 h 227322"/>
                <a:gd name="connsiteX6" fmla="*/ 41541 w 91116"/>
                <a:gd name="connsiteY6" fmla="*/ 88187 h 227322"/>
                <a:gd name="connsiteX7" fmla="*/ 41638 w 91116"/>
                <a:gd name="connsiteY7" fmla="*/ 88334 h 227322"/>
                <a:gd name="connsiteX8" fmla="*/ 91117 w 91116"/>
                <a:gd name="connsiteY8" fmla="*/ 148965 h 2273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91116" h="227322">
                  <a:moveTo>
                    <a:pt x="77530" y="227322"/>
                  </a:moveTo>
                  <a:cubicBezTo>
                    <a:pt x="33554" y="218800"/>
                    <a:pt x="0" y="179840"/>
                    <a:pt x="0" y="133429"/>
                  </a:cubicBezTo>
                  <a:lnTo>
                    <a:pt x="0" y="11193"/>
                  </a:lnTo>
                  <a:cubicBezTo>
                    <a:pt x="0" y="1405"/>
                    <a:pt x="11639" y="-2978"/>
                    <a:pt x="19772" y="2184"/>
                  </a:cubicBezTo>
                  <a:lnTo>
                    <a:pt x="27613" y="7590"/>
                  </a:lnTo>
                  <a:cubicBezTo>
                    <a:pt x="36622" y="15430"/>
                    <a:pt x="41541" y="25511"/>
                    <a:pt x="41541" y="35300"/>
                  </a:cubicBezTo>
                  <a:lnTo>
                    <a:pt x="41541" y="88187"/>
                  </a:lnTo>
                  <a:lnTo>
                    <a:pt x="41638" y="88334"/>
                  </a:lnTo>
                  <a:cubicBezTo>
                    <a:pt x="41638" y="88334"/>
                    <a:pt x="91117" y="109226"/>
                    <a:pt x="91117" y="148965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744" name="Gráfico 11">
            <a:extLst>
              <a:ext uri="{FF2B5EF4-FFF2-40B4-BE49-F238E27FC236}">
                <a16:creationId xmlns:a16="http://schemas.microsoft.com/office/drawing/2014/main" id="{70B3B3FD-50CE-AFC8-523C-FC53B1B86134}"/>
              </a:ext>
            </a:extLst>
          </p:cNvPr>
          <p:cNvGrpSpPr/>
          <p:nvPr/>
        </p:nvGrpSpPr>
        <p:grpSpPr>
          <a:xfrm>
            <a:off x="10588676" y="894817"/>
            <a:ext cx="325412" cy="292360"/>
            <a:chOff x="10588676" y="894817"/>
            <a:chExt cx="325412" cy="292360"/>
          </a:xfrm>
          <a:noFill/>
        </p:grpSpPr>
        <p:sp>
          <p:nvSpPr>
            <p:cNvPr id="745" name="Forma livre: Forma 744">
              <a:extLst>
                <a:ext uri="{FF2B5EF4-FFF2-40B4-BE49-F238E27FC236}">
                  <a16:creationId xmlns:a16="http://schemas.microsoft.com/office/drawing/2014/main" id="{597EE242-74EB-C892-7EDA-E4DCAA2EA927}"/>
                </a:ext>
              </a:extLst>
            </p:cNvPr>
            <p:cNvSpPr/>
            <p:nvPr/>
          </p:nvSpPr>
          <p:spPr>
            <a:xfrm>
              <a:off x="10704485" y="894817"/>
              <a:ext cx="206788" cy="216810"/>
            </a:xfrm>
            <a:custGeom>
              <a:avLst/>
              <a:gdLst>
                <a:gd name="connsiteX0" fmla="*/ 0 w 206788"/>
                <a:gd name="connsiteY0" fmla="*/ 130320 h 216810"/>
                <a:gd name="connsiteX1" fmla="*/ 91020 w 206788"/>
                <a:gd name="connsiteY1" fmla="*/ 57806 h 216810"/>
                <a:gd name="connsiteX2" fmla="*/ 149605 w 206788"/>
                <a:gd name="connsiteY2" fmla="*/ 45437 h 216810"/>
                <a:gd name="connsiteX3" fmla="*/ 206779 w 206788"/>
                <a:gd name="connsiteY3" fmla="*/ 0 h 216810"/>
                <a:gd name="connsiteX4" fmla="*/ 129298 w 206788"/>
                <a:gd name="connsiteY4" fmla="*/ 147122 h 216810"/>
                <a:gd name="connsiteX5" fmla="*/ 41638 w 206788"/>
                <a:gd name="connsiteY5" fmla="*/ 216811 h 2168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6788" h="216810">
                  <a:moveTo>
                    <a:pt x="0" y="130320"/>
                  </a:moveTo>
                  <a:lnTo>
                    <a:pt x="91020" y="57806"/>
                  </a:lnTo>
                  <a:cubicBezTo>
                    <a:pt x="91020" y="57806"/>
                    <a:pt x="117220" y="71199"/>
                    <a:pt x="149605" y="45437"/>
                  </a:cubicBezTo>
                  <a:lnTo>
                    <a:pt x="206779" y="0"/>
                  </a:lnTo>
                  <a:cubicBezTo>
                    <a:pt x="206779" y="0"/>
                    <a:pt x="209360" y="83471"/>
                    <a:pt x="129298" y="147122"/>
                  </a:cubicBezTo>
                  <a:cubicBezTo>
                    <a:pt x="49235" y="210723"/>
                    <a:pt x="41638" y="216811"/>
                    <a:pt x="41638" y="216811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746" name="Forma livre: Forma 745">
              <a:extLst>
                <a:ext uri="{FF2B5EF4-FFF2-40B4-BE49-F238E27FC236}">
                  <a16:creationId xmlns:a16="http://schemas.microsoft.com/office/drawing/2014/main" id="{E54A4C99-152C-79DA-1207-C32DFEBEADE6}"/>
                </a:ext>
              </a:extLst>
            </p:cNvPr>
            <p:cNvSpPr/>
            <p:nvPr/>
          </p:nvSpPr>
          <p:spPr>
            <a:xfrm>
              <a:off x="10743201" y="948241"/>
              <a:ext cx="157445" cy="125109"/>
            </a:xfrm>
            <a:custGeom>
              <a:avLst/>
              <a:gdLst>
                <a:gd name="connsiteX0" fmla="*/ 157446 w 157445"/>
                <a:gd name="connsiteY0" fmla="*/ 0 h 125109"/>
                <a:gd name="connsiteX1" fmla="*/ 0 w 157445"/>
                <a:gd name="connsiteY1" fmla="*/ 125109 h 1251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7445" h="125109">
                  <a:moveTo>
                    <a:pt x="157446" y="0"/>
                  </a:moveTo>
                  <a:lnTo>
                    <a:pt x="0" y="125109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747" name="Forma livre: Forma 746">
              <a:extLst>
                <a:ext uri="{FF2B5EF4-FFF2-40B4-BE49-F238E27FC236}">
                  <a16:creationId xmlns:a16="http://schemas.microsoft.com/office/drawing/2014/main" id="{39C36955-F5B8-501A-98AE-1D288EDAC3AB}"/>
                </a:ext>
              </a:extLst>
            </p:cNvPr>
            <p:cNvSpPr/>
            <p:nvPr/>
          </p:nvSpPr>
          <p:spPr>
            <a:xfrm>
              <a:off x="10675996" y="1025283"/>
              <a:ext cx="81815" cy="102951"/>
            </a:xfrm>
            <a:custGeom>
              <a:avLst/>
              <a:gdLst>
                <a:gd name="connsiteX0" fmla="*/ 0 w 81815"/>
                <a:gd name="connsiteY0" fmla="*/ 0 h 102951"/>
                <a:gd name="connsiteX1" fmla="*/ 81815 w 81815"/>
                <a:gd name="connsiteY1" fmla="*/ 102951 h 1029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1815" h="102951">
                  <a:moveTo>
                    <a:pt x="0" y="0"/>
                  </a:moveTo>
                  <a:lnTo>
                    <a:pt x="81815" y="102951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748" name="Forma livre: Forma 747">
              <a:extLst>
                <a:ext uri="{FF2B5EF4-FFF2-40B4-BE49-F238E27FC236}">
                  <a16:creationId xmlns:a16="http://schemas.microsoft.com/office/drawing/2014/main" id="{2D113D8C-9747-3A5B-83F7-EA4B3D0EEE9B}"/>
                </a:ext>
              </a:extLst>
            </p:cNvPr>
            <p:cNvSpPr/>
            <p:nvPr/>
          </p:nvSpPr>
          <p:spPr>
            <a:xfrm>
              <a:off x="10607037" y="1125410"/>
              <a:ext cx="38131" cy="47969"/>
            </a:xfrm>
            <a:custGeom>
              <a:avLst/>
              <a:gdLst>
                <a:gd name="connsiteX0" fmla="*/ 0 w 38131"/>
                <a:gd name="connsiteY0" fmla="*/ 0 h 47969"/>
                <a:gd name="connsiteX1" fmla="*/ 38132 w 38131"/>
                <a:gd name="connsiteY1" fmla="*/ 47969 h 479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8131" h="47969">
                  <a:moveTo>
                    <a:pt x="0" y="0"/>
                  </a:moveTo>
                  <a:lnTo>
                    <a:pt x="38132" y="47969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749" name="Forma livre: Forma 748">
              <a:extLst>
                <a:ext uri="{FF2B5EF4-FFF2-40B4-BE49-F238E27FC236}">
                  <a16:creationId xmlns:a16="http://schemas.microsoft.com/office/drawing/2014/main" id="{F1D56106-4B1C-B30F-1DCA-C7AD95A8322A}"/>
                </a:ext>
              </a:extLst>
            </p:cNvPr>
            <p:cNvSpPr/>
            <p:nvPr/>
          </p:nvSpPr>
          <p:spPr>
            <a:xfrm>
              <a:off x="10629439" y="1107586"/>
              <a:ext cx="38131" cy="48017"/>
            </a:xfrm>
            <a:custGeom>
              <a:avLst/>
              <a:gdLst>
                <a:gd name="connsiteX0" fmla="*/ 0 w 38131"/>
                <a:gd name="connsiteY0" fmla="*/ 0 h 48017"/>
                <a:gd name="connsiteX1" fmla="*/ 38132 w 38131"/>
                <a:gd name="connsiteY1" fmla="*/ 48018 h 480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8131" h="48017">
                  <a:moveTo>
                    <a:pt x="0" y="0"/>
                  </a:moveTo>
                  <a:lnTo>
                    <a:pt x="38132" y="48018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750" name="Forma livre: Forma 749">
              <a:extLst>
                <a:ext uri="{FF2B5EF4-FFF2-40B4-BE49-F238E27FC236}">
                  <a16:creationId xmlns:a16="http://schemas.microsoft.com/office/drawing/2014/main" id="{BAB564FD-749B-E628-B53F-924AD4513E6F}"/>
                </a:ext>
              </a:extLst>
            </p:cNvPr>
            <p:cNvSpPr/>
            <p:nvPr/>
          </p:nvSpPr>
          <p:spPr>
            <a:xfrm>
              <a:off x="10651841" y="1089810"/>
              <a:ext cx="38131" cy="47969"/>
            </a:xfrm>
            <a:custGeom>
              <a:avLst/>
              <a:gdLst>
                <a:gd name="connsiteX0" fmla="*/ 0 w 38131"/>
                <a:gd name="connsiteY0" fmla="*/ 0 h 47969"/>
                <a:gd name="connsiteX1" fmla="*/ 38132 w 38131"/>
                <a:gd name="connsiteY1" fmla="*/ 47969 h 479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8131" h="47969">
                  <a:moveTo>
                    <a:pt x="0" y="0"/>
                  </a:moveTo>
                  <a:lnTo>
                    <a:pt x="38132" y="47969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751" name="Forma livre: Forma 750">
              <a:extLst>
                <a:ext uri="{FF2B5EF4-FFF2-40B4-BE49-F238E27FC236}">
                  <a16:creationId xmlns:a16="http://schemas.microsoft.com/office/drawing/2014/main" id="{0BC82E7B-7E0D-BDB9-6A45-D7095A57977D}"/>
                </a:ext>
              </a:extLst>
            </p:cNvPr>
            <p:cNvSpPr/>
            <p:nvPr/>
          </p:nvSpPr>
          <p:spPr>
            <a:xfrm>
              <a:off x="10588676" y="1072084"/>
              <a:ext cx="146928" cy="115094"/>
            </a:xfrm>
            <a:custGeom>
              <a:avLst/>
              <a:gdLst>
                <a:gd name="connsiteX0" fmla="*/ 146929 w 146928"/>
                <a:gd name="connsiteY0" fmla="*/ 30876 h 115094"/>
                <a:gd name="connsiteX1" fmla="*/ 44562 w 146928"/>
                <a:gd name="connsiteY1" fmla="*/ 112107 h 115094"/>
                <a:gd name="connsiteX2" fmla="*/ 25180 w 146928"/>
                <a:gd name="connsiteY2" fmla="*/ 109866 h 115094"/>
                <a:gd name="connsiteX3" fmla="*/ 2973 w 146928"/>
                <a:gd name="connsiteY3" fmla="*/ 81913 h 115094"/>
                <a:gd name="connsiteX4" fmla="*/ 5213 w 146928"/>
                <a:gd name="connsiteY4" fmla="*/ 62530 h 115094"/>
                <a:gd name="connsiteX5" fmla="*/ 84593 w 146928"/>
                <a:gd name="connsiteY5" fmla="*/ 0 h 115094"/>
                <a:gd name="connsiteX6" fmla="*/ 123602 w 146928"/>
                <a:gd name="connsiteY6" fmla="*/ 47774 h 1150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6928" h="115094">
                  <a:moveTo>
                    <a:pt x="146929" y="30876"/>
                  </a:moveTo>
                  <a:lnTo>
                    <a:pt x="44562" y="112107"/>
                  </a:lnTo>
                  <a:cubicBezTo>
                    <a:pt x="38621" y="116830"/>
                    <a:pt x="29903" y="115856"/>
                    <a:pt x="25180" y="109866"/>
                  </a:cubicBezTo>
                  <a:lnTo>
                    <a:pt x="2973" y="81913"/>
                  </a:lnTo>
                  <a:cubicBezTo>
                    <a:pt x="-1751" y="75971"/>
                    <a:pt x="-729" y="67254"/>
                    <a:pt x="5213" y="62530"/>
                  </a:cubicBezTo>
                  <a:lnTo>
                    <a:pt x="84593" y="0"/>
                  </a:lnTo>
                  <a:lnTo>
                    <a:pt x="123602" y="47774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752" name="Forma livre: Forma 751">
              <a:extLst>
                <a:ext uri="{FF2B5EF4-FFF2-40B4-BE49-F238E27FC236}">
                  <a16:creationId xmlns:a16="http://schemas.microsoft.com/office/drawing/2014/main" id="{1D3E5C40-9876-6DE9-498C-1E390F8143F7}"/>
                </a:ext>
              </a:extLst>
            </p:cNvPr>
            <p:cNvSpPr/>
            <p:nvPr/>
          </p:nvSpPr>
          <p:spPr>
            <a:xfrm>
              <a:off x="10872694" y="1041987"/>
              <a:ext cx="41394" cy="60874"/>
            </a:xfrm>
            <a:custGeom>
              <a:avLst/>
              <a:gdLst>
                <a:gd name="connsiteX0" fmla="*/ 41395 w 41394"/>
                <a:gd name="connsiteY0" fmla="*/ 40177 h 60874"/>
                <a:gd name="connsiteX1" fmla="*/ 20697 w 41394"/>
                <a:gd name="connsiteY1" fmla="*/ 60875 h 60874"/>
                <a:gd name="connsiteX2" fmla="*/ 0 w 41394"/>
                <a:gd name="connsiteY2" fmla="*/ 40177 h 60874"/>
                <a:gd name="connsiteX3" fmla="*/ 20697 w 41394"/>
                <a:gd name="connsiteY3" fmla="*/ 0 h 60874"/>
                <a:gd name="connsiteX4" fmla="*/ 41395 w 41394"/>
                <a:gd name="connsiteY4" fmla="*/ 40177 h 608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1394" h="60874">
                  <a:moveTo>
                    <a:pt x="41395" y="40177"/>
                  </a:moveTo>
                  <a:cubicBezTo>
                    <a:pt x="41395" y="51622"/>
                    <a:pt x="32142" y="60875"/>
                    <a:pt x="20697" y="60875"/>
                  </a:cubicBezTo>
                  <a:cubicBezTo>
                    <a:pt x="9253" y="60875"/>
                    <a:pt x="0" y="51622"/>
                    <a:pt x="0" y="40177"/>
                  </a:cubicBezTo>
                  <a:cubicBezTo>
                    <a:pt x="0" y="28733"/>
                    <a:pt x="20697" y="0"/>
                    <a:pt x="20697" y="0"/>
                  </a:cubicBezTo>
                  <a:cubicBezTo>
                    <a:pt x="20697" y="0"/>
                    <a:pt x="41395" y="28733"/>
                    <a:pt x="41395" y="40177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753" name="Gráfico 11">
            <a:extLst>
              <a:ext uri="{FF2B5EF4-FFF2-40B4-BE49-F238E27FC236}">
                <a16:creationId xmlns:a16="http://schemas.microsoft.com/office/drawing/2014/main" id="{BB5BE6B5-CD33-F423-BF61-62D5E4CCB86A}"/>
              </a:ext>
            </a:extLst>
          </p:cNvPr>
          <p:cNvGrpSpPr/>
          <p:nvPr/>
        </p:nvGrpSpPr>
        <p:grpSpPr>
          <a:xfrm>
            <a:off x="9947504" y="922235"/>
            <a:ext cx="384088" cy="237556"/>
            <a:chOff x="9947504" y="922235"/>
            <a:chExt cx="384088" cy="237556"/>
          </a:xfrm>
          <a:noFill/>
        </p:grpSpPr>
        <p:sp>
          <p:nvSpPr>
            <p:cNvPr id="754" name="Forma livre: Forma 753">
              <a:extLst>
                <a:ext uri="{FF2B5EF4-FFF2-40B4-BE49-F238E27FC236}">
                  <a16:creationId xmlns:a16="http://schemas.microsoft.com/office/drawing/2014/main" id="{271AB02E-BB02-CF18-8DB3-CCBFE9309066}"/>
                </a:ext>
              </a:extLst>
            </p:cNvPr>
            <p:cNvSpPr/>
            <p:nvPr/>
          </p:nvSpPr>
          <p:spPr>
            <a:xfrm>
              <a:off x="10331592" y="922235"/>
              <a:ext cx="4869" cy="12661"/>
            </a:xfrm>
            <a:custGeom>
              <a:avLst/>
              <a:gdLst>
                <a:gd name="connsiteX0" fmla="*/ 0 w 4869"/>
                <a:gd name="connsiteY0" fmla="*/ 0 h 12661"/>
                <a:gd name="connsiteX1" fmla="*/ 0 w 4869"/>
                <a:gd name="connsiteY1" fmla="*/ 12662 h 126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869" h="12661">
                  <a:moveTo>
                    <a:pt x="0" y="0"/>
                  </a:moveTo>
                  <a:lnTo>
                    <a:pt x="0" y="12662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755" name="Forma livre: Forma 754">
              <a:extLst>
                <a:ext uri="{FF2B5EF4-FFF2-40B4-BE49-F238E27FC236}">
                  <a16:creationId xmlns:a16="http://schemas.microsoft.com/office/drawing/2014/main" id="{3265AC7D-B747-9D83-606F-1308E5AFA600}"/>
                </a:ext>
              </a:extLst>
            </p:cNvPr>
            <p:cNvSpPr/>
            <p:nvPr/>
          </p:nvSpPr>
          <p:spPr>
            <a:xfrm>
              <a:off x="9947504" y="990366"/>
              <a:ext cx="356037" cy="169426"/>
            </a:xfrm>
            <a:custGeom>
              <a:avLst/>
              <a:gdLst>
                <a:gd name="connsiteX0" fmla="*/ 11877 w 356037"/>
                <a:gd name="connsiteY0" fmla="*/ 24642 h 169426"/>
                <a:gd name="connsiteX1" fmla="*/ 37250 w 356037"/>
                <a:gd name="connsiteY1" fmla="*/ 50940 h 169426"/>
                <a:gd name="connsiteX2" fmla="*/ 5303 w 356037"/>
                <a:gd name="connsiteY2" fmla="*/ 122723 h 169426"/>
                <a:gd name="connsiteX3" fmla="*/ 6082 w 356037"/>
                <a:gd name="connsiteY3" fmla="*/ 169426 h 169426"/>
                <a:gd name="connsiteX4" fmla="*/ 109666 w 356037"/>
                <a:gd name="connsiteY4" fmla="*/ 169426 h 169426"/>
                <a:gd name="connsiteX5" fmla="*/ 103432 w 356037"/>
                <a:gd name="connsiteY5" fmla="*/ 142593 h 169426"/>
                <a:gd name="connsiteX6" fmla="*/ 131922 w 356037"/>
                <a:gd name="connsiteY6" fmla="*/ 44268 h 169426"/>
                <a:gd name="connsiteX7" fmla="*/ 142490 w 356037"/>
                <a:gd name="connsiteY7" fmla="*/ 30486 h 169426"/>
                <a:gd name="connsiteX8" fmla="*/ 162797 w 356037"/>
                <a:gd name="connsiteY8" fmla="*/ 27369 h 169426"/>
                <a:gd name="connsiteX9" fmla="*/ 356037 w 356037"/>
                <a:gd name="connsiteY9" fmla="*/ 27369 h 169426"/>
                <a:gd name="connsiteX10" fmla="*/ 356037 w 356037"/>
                <a:gd name="connsiteY10" fmla="*/ 0 h 1694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56037" h="169426">
                  <a:moveTo>
                    <a:pt x="11877" y="24642"/>
                  </a:moveTo>
                  <a:cubicBezTo>
                    <a:pt x="25464" y="29804"/>
                    <a:pt x="39441" y="38278"/>
                    <a:pt x="37250" y="50940"/>
                  </a:cubicBezTo>
                  <a:cubicBezTo>
                    <a:pt x="33061" y="74754"/>
                    <a:pt x="17672" y="87854"/>
                    <a:pt x="5303" y="122723"/>
                  </a:cubicBezTo>
                  <a:cubicBezTo>
                    <a:pt x="-7067" y="157592"/>
                    <a:pt x="6082" y="169426"/>
                    <a:pt x="6082" y="169426"/>
                  </a:cubicBezTo>
                  <a:lnTo>
                    <a:pt x="109666" y="169426"/>
                  </a:lnTo>
                  <a:cubicBezTo>
                    <a:pt x="109666" y="169426"/>
                    <a:pt x="99098" y="157349"/>
                    <a:pt x="103432" y="142593"/>
                  </a:cubicBezTo>
                  <a:cubicBezTo>
                    <a:pt x="107767" y="127837"/>
                    <a:pt x="131922" y="44268"/>
                    <a:pt x="131922" y="44268"/>
                  </a:cubicBezTo>
                  <a:cubicBezTo>
                    <a:pt x="131922" y="44268"/>
                    <a:pt x="136061" y="33944"/>
                    <a:pt x="142490" y="30486"/>
                  </a:cubicBezTo>
                  <a:cubicBezTo>
                    <a:pt x="147749" y="27661"/>
                    <a:pt x="162797" y="27369"/>
                    <a:pt x="162797" y="27369"/>
                  </a:cubicBezTo>
                  <a:lnTo>
                    <a:pt x="356037" y="27369"/>
                  </a:lnTo>
                  <a:lnTo>
                    <a:pt x="356037" y="0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756" name="Forma livre: Forma 755">
              <a:extLst>
                <a:ext uri="{FF2B5EF4-FFF2-40B4-BE49-F238E27FC236}">
                  <a16:creationId xmlns:a16="http://schemas.microsoft.com/office/drawing/2014/main" id="{7A0DC44C-621F-9D8A-1ED6-7D9C515918AA}"/>
                </a:ext>
              </a:extLst>
            </p:cNvPr>
            <p:cNvSpPr/>
            <p:nvPr/>
          </p:nvSpPr>
          <p:spPr>
            <a:xfrm>
              <a:off x="9961670" y="935920"/>
              <a:ext cx="369873" cy="52011"/>
            </a:xfrm>
            <a:custGeom>
              <a:avLst/>
              <a:gdLst>
                <a:gd name="connsiteX0" fmla="*/ 234878 w 369873"/>
                <a:gd name="connsiteY0" fmla="*/ 0 h 52011"/>
                <a:gd name="connsiteX1" fmla="*/ 234878 w 369873"/>
                <a:gd name="connsiteY1" fmla="*/ 10324 h 52011"/>
                <a:gd name="connsiteX2" fmla="*/ 221096 w 369873"/>
                <a:gd name="connsiteY2" fmla="*/ 20649 h 52011"/>
                <a:gd name="connsiteX3" fmla="*/ 186617 w 369873"/>
                <a:gd name="connsiteY3" fmla="*/ 20649 h 52011"/>
                <a:gd name="connsiteX4" fmla="*/ 172835 w 369873"/>
                <a:gd name="connsiteY4" fmla="*/ 10324 h 52011"/>
                <a:gd name="connsiteX5" fmla="*/ 172835 w 369873"/>
                <a:gd name="connsiteY5" fmla="*/ 0 h 52011"/>
                <a:gd name="connsiteX6" fmla="*/ 27710 w 369873"/>
                <a:gd name="connsiteY6" fmla="*/ 0 h 52011"/>
                <a:gd name="connsiteX7" fmla="*/ 0 w 369873"/>
                <a:gd name="connsiteY7" fmla="*/ 52011 h 52011"/>
                <a:gd name="connsiteX8" fmla="*/ 364906 w 369873"/>
                <a:gd name="connsiteY8" fmla="*/ 52011 h 52011"/>
                <a:gd name="connsiteX9" fmla="*/ 369874 w 369873"/>
                <a:gd name="connsiteY9" fmla="*/ 49 h 52011"/>
                <a:gd name="connsiteX10" fmla="*/ 234878 w 369873"/>
                <a:gd name="connsiteY10" fmla="*/ 49 h 520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69873" h="52011">
                  <a:moveTo>
                    <a:pt x="234878" y="0"/>
                  </a:moveTo>
                  <a:lnTo>
                    <a:pt x="234878" y="10324"/>
                  </a:lnTo>
                  <a:cubicBezTo>
                    <a:pt x="234878" y="16022"/>
                    <a:pt x="228645" y="20649"/>
                    <a:pt x="221096" y="20649"/>
                  </a:cubicBezTo>
                  <a:lnTo>
                    <a:pt x="186617" y="20649"/>
                  </a:lnTo>
                  <a:cubicBezTo>
                    <a:pt x="179020" y="20649"/>
                    <a:pt x="172835" y="15973"/>
                    <a:pt x="172835" y="10324"/>
                  </a:cubicBezTo>
                  <a:lnTo>
                    <a:pt x="172835" y="0"/>
                  </a:lnTo>
                  <a:lnTo>
                    <a:pt x="27710" y="0"/>
                  </a:lnTo>
                  <a:cubicBezTo>
                    <a:pt x="27710" y="0"/>
                    <a:pt x="11396" y="5747"/>
                    <a:pt x="0" y="52011"/>
                  </a:cubicBezTo>
                  <a:lnTo>
                    <a:pt x="364906" y="52011"/>
                  </a:lnTo>
                  <a:lnTo>
                    <a:pt x="369874" y="49"/>
                  </a:lnTo>
                  <a:lnTo>
                    <a:pt x="234878" y="49"/>
                  </a:ln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757" name="Forma livre: Forma 756">
              <a:extLst>
                <a:ext uri="{FF2B5EF4-FFF2-40B4-BE49-F238E27FC236}">
                  <a16:creationId xmlns:a16="http://schemas.microsoft.com/office/drawing/2014/main" id="{DC1DF526-C65F-3EBB-4AB0-F303EF2B49B3}"/>
                </a:ext>
              </a:extLst>
            </p:cNvPr>
            <p:cNvSpPr/>
            <p:nvPr/>
          </p:nvSpPr>
          <p:spPr>
            <a:xfrm>
              <a:off x="10051618" y="936747"/>
              <a:ext cx="9106" cy="22207"/>
            </a:xfrm>
            <a:custGeom>
              <a:avLst/>
              <a:gdLst>
                <a:gd name="connsiteX0" fmla="*/ 9107 w 9106"/>
                <a:gd name="connsiteY0" fmla="*/ 0 h 22207"/>
                <a:gd name="connsiteX1" fmla="*/ 0 w 9106"/>
                <a:gd name="connsiteY1" fmla="*/ 22207 h 222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106" h="22207">
                  <a:moveTo>
                    <a:pt x="9107" y="0"/>
                  </a:moveTo>
                  <a:lnTo>
                    <a:pt x="0" y="22207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758" name="Forma livre: Forma 757">
              <a:extLst>
                <a:ext uri="{FF2B5EF4-FFF2-40B4-BE49-F238E27FC236}">
                  <a16:creationId xmlns:a16="http://schemas.microsoft.com/office/drawing/2014/main" id="{FBC01A5B-66E3-20EA-1707-E5C5BCE7FB67}"/>
                </a:ext>
              </a:extLst>
            </p:cNvPr>
            <p:cNvSpPr/>
            <p:nvPr/>
          </p:nvSpPr>
          <p:spPr>
            <a:xfrm>
              <a:off x="10085854" y="936747"/>
              <a:ext cx="9058" cy="22207"/>
            </a:xfrm>
            <a:custGeom>
              <a:avLst/>
              <a:gdLst>
                <a:gd name="connsiteX0" fmla="*/ 9058 w 9058"/>
                <a:gd name="connsiteY0" fmla="*/ 0 h 22207"/>
                <a:gd name="connsiteX1" fmla="*/ 0 w 9058"/>
                <a:gd name="connsiteY1" fmla="*/ 22207 h 222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058" h="22207">
                  <a:moveTo>
                    <a:pt x="9058" y="0"/>
                  </a:moveTo>
                  <a:lnTo>
                    <a:pt x="0" y="22207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759" name="Forma livre: Forma 758">
              <a:extLst>
                <a:ext uri="{FF2B5EF4-FFF2-40B4-BE49-F238E27FC236}">
                  <a16:creationId xmlns:a16="http://schemas.microsoft.com/office/drawing/2014/main" id="{108431DC-BAA1-4610-0058-35AA2EE7033D}"/>
                </a:ext>
              </a:extLst>
            </p:cNvPr>
            <p:cNvSpPr/>
            <p:nvPr/>
          </p:nvSpPr>
          <p:spPr>
            <a:xfrm>
              <a:off x="10096519" y="1018709"/>
              <a:ext cx="70224" cy="52693"/>
            </a:xfrm>
            <a:custGeom>
              <a:avLst/>
              <a:gdLst>
                <a:gd name="connsiteX0" fmla="*/ 70225 w 70224"/>
                <a:gd name="connsiteY0" fmla="*/ 0 h 52693"/>
                <a:gd name="connsiteX1" fmla="*/ 64868 w 70224"/>
                <a:gd name="connsiteY1" fmla="*/ 27856 h 52693"/>
                <a:gd name="connsiteX2" fmla="*/ 39349 w 70224"/>
                <a:gd name="connsiteY2" fmla="*/ 52693 h 52693"/>
                <a:gd name="connsiteX3" fmla="*/ 0 w 70224"/>
                <a:gd name="connsiteY3" fmla="*/ 52693 h 526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0224" h="52693">
                  <a:moveTo>
                    <a:pt x="70225" y="0"/>
                  </a:moveTo>
                  <a:lnTo>
                    <a:pt x="64868" y="27856"/>
                  </a:lnTo>
                  <a:cubicBezTo>
                    <a:pt x="62092" y="43050"/>
                    <a:pt x="52985" y="52693"/>
                    <a:pt x="39349" y="52693"/>
                  </a:cubicBezTo>
                  <a:lnTo>
                    <a:pt x="0" y="52693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760" name="Forma livre: Forma 759">
              <a:extLst>
                <a:ext uri="{FF2B5EF4-FFF2-40B4-BE49-F238E27FC236}">
                  <a16:creationId xmlns:a16="http://schemas.microsoft.com/office/drawing/2014/main" id="{0CC1E91E-C063-2F06-B24F-5598FDC7FE58}"/>
                </a:ext>
              </a:extLst>
            </p:cNvPr>
            <p:cNvSpPr/>
            <p:nvPr/>
          </p:nvSpPr>
          <p:spPr>
            <a:xfrm>
              <a:off x="10094230" y="1021728"/>
              <a:ext cx="21525" cy="23424"/>
            </a:xfrm>
            <a:custGeom>
              <a:avLst/>
              <a:gdLst>
                <a:gd name="connsiteX0" fmla="*/ 0 w 21525"/>
                <a:gd name="connsiteY0" fmla="*/ 0 h 23424"/>
                <a:gd name="connsiteX1" fmla="*/ 21525 w 21525"/>
                <a:gd name="connsiteY1" fmla="*/ 23425 h 234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1525" h="23424">
                  <a:moveTo>
                    <a:pt x="0" y="0"/>
                  </a:moveTo>
                  <a:cubicBezTo>
                    <a:pt x="0" y="0"/>
                    <a:pt x="5113" y="14074"/>
                    <a:pt x="21525" y="23425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761" name="Forma livre: Forma 760">
              <a:extLst>
                <a:ext uri="{FF2B5EF4-FFF2-40B4-BE49-F238E27FC236}">
                  <a16:creationId xmlns:a16="http://schemas.microsoft.com/office/drawing/2014/main" id="{890E9563-CC21-4914-98C4-2BCF46F8C26B}"/>
                </a:ext>
              </a:extLst>
            </p:cNvPr>
            <p:cNvSpPr/>
            <p:nvPr/>
          </p:nvSpPr>
          <p:spPr>
            <a:xfrm>
              <a:off x="10018015" y="936747"/>
              <a:ext cx="9106" cy="22207"/>
            </a:xfrm>
            <a:custGeom>
              <a:avLst/>
              <a:gdLst>
                <a:gd name="connsiteX0" fmla="*/ 9107 w 9106"/>
                <a:gd name="connsiteY0" fmla="*/ 0 h 22207"/>
                <a:gd name="connsiteX1" fmla="*/ 0 w 9106"/>
                <a:gd name="connsiteY1" fmla="*/ 22207 h 222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106" h="22207">
                  <a:moveTo>
                    <a:pt x="9107" y="0"/>
                  </a:moveTo>
                  <a:lnTo>
                    <a:pt x="0" y="22207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762" name="Forma livre: Forma 761">
              <a:extLst>
                <a:ext uri="{FF2B5EF4-FFF2-40B4-BE49-F238E27FC236}">
                  <a16:creationId xmlns:a16="http://schemas.microsoft.com/office/drawing/2014/main" id="{5B75A3CE-507F-E325-2DBF-DBA7B80E9C9D}"/>
                </a:ext>
              </a:extLst>
            </p:cNvPr>
            <p:cNvSpPr/>
            <p:nvPr/>
          </p:nvSpPr>
          <p:spPr>
            <a:xfrm>
              <a:off x="9984948" y="1044520"/>
              <a:ext cx="50209" cy="4869"/>
            </a:xfrm>
            <a:custGeom>
              <a:avLst/>
              <a:gdLst>
                <a:gd name="connsiteX0" fmla="*/ 0 w 50209"/>
                <a:gd name="connsiteY0" fmla="*/ 0 h 4869"/>
                <a:gd name="connsiteX1" fmla="*/ 50209 w 50209"/>
                <a:gd name="connsiteY1" fmla="*/ 0 h 48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0209" h="4869">
                  <a:moveTo>
                    <a:pt x="0" y="0"/>
                  </a:moveTo>
                  <a:lnTo>
                    <a:pt x="50209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763" name="Forma livre: Forma 762">
              <a:extLst>
                <a:ext uri="{FF2B5EF4-FFF2-40B4-BE49-F238E27FC236}">
                  <a16:creationId xmlns:a16="http://schemas.microsoft.com/office/drawing/2014/main" id="{605C0C60-F9E3-7298-EBE2-AA330CF90B17}"/>
                </a:ext>
              </a:extLst>
            </p:cNvPr>
            <p:cNvSpPr/>
            <p:nvPr/>
          </p:nvSpPr>
          <p:spPr>
            <a:xfrm>
              <a:off x="9970095" y="1078853"/>
              <a:ext cx="53667" cy="4869"/>
            </a:xfrm>
            <a:custGeom>
              <a:avLst/>
              <a:gdLst>
                <a:gd name="connsiteX0" fmla="*/ 0 w 53667"/>
                <a:gd name="connsiteY0" fmla="*/ 0 h 4869"/>
                <a:gd name="connsiteX1" fmla="*/ 53667 w 53667"/>
                <a:gd name="connsiteY1" fmla="*/ 0 h 48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3667" h="4869">
                  <a:moveTo>
                    <a:pt x="0" y="0"/>
                  </a:moveTo>
                  <a:lnTo>
                    <a:pt x="53667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764" name="Forma livre: Forma 763">
              <a:extLst>
                <a:ext uri="{FF2B5EF4-FFF2-40B4-BE49-F238E27FC236}">
                  <a16:creationId xmlns:a16="http://schemas.microsoft.com/office/drawing/2014/main" id="{59DE03CC-B9DD-58B0-F9E0-D8B690D616BE}"/>
                </a:ext>
              </a:extLst>
            </p:cNvPr>
            <p:cNvSpPr/>
            <p:nvPr/>
          </p:nvSpPr>
          <p:spPr>
            <a:xfrm>
              <a:off x="9953975" y="1113138"/>
              <a:ext cx="58780" cy="4869"/>
            </a:xfrm>
            <a:custGeom>
              <a:avLst/>
              <a:gdLst>
                <a:gd name="connsiteX0" fmla="*/ 0 w 58780"/>
                <a:gd name="connsiteY0" fmla="*/ 0 h 4869"/>
                <a:gd name="connsiteX1" fmla="*/ 58780 w 58780"/>
                <a:gd name="connsiteY1" fmla="*/ 0 h 48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8780" h="4869">
                  <a:moveTo>
                    <a:pt x="0" y="0"/>
                  </a:moveTo>
                  <a:lnTo>
                    <a:pt x="5878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765" name="Gráfico 11">
            <a:extLst>
              <a:ext uri="{FF2B5EF4-FFF2-40B4-BE49-F238E27FC236}">
                <a16:creationId xmlns:a16="http://schemas.microsoft.com/office/drawing/2014/main" id="{2EC56669-1A6D-23D2-9C03-C22AB632B749}"/>
              </a:ext>
            </a:extLst>
          </p:cNvPr>
          <p:cNvGrpSpPr/>
          <p:nvPr/>
        </p:nvGrpSpPr>
        <p:grpSpPr>
          <a:xfrm>
            <a:off x="11219679" y="2540670"/>
            <a:ext cx="332082" cy="276078"/>
            <a:chOff x="11219679" y="2540670"/>
            <a:chExt cx="332082" cy="276078"/>
          </a:xfrm>
          <a:noFill/>
        </p:grpSpPr>
        <p:sp>
          <p:nvSpPr>
            <p:cNvPr id="766" name="Forma livre: Forma 765">
              <a:extLst>
                <a:ext uri="{FF2B5EF4-FFF2-40B4-BE49-F238E27FC236}">
                  <a16:creationId xmlns:a16="http://schemas.microsoft.com/office/drawing/2014/main" id="{92F88D49-6316-738C-86F5-5B18F1A7F50E}"/>
                </a:ext>
              </a:extLst>
            </p:cNvPr>
            <p:cNvSpPr/>
            <p:nvPr/>
          </p:nvSpPr>
          <p:spPr>
            <a:xfrm>
              <a:off x="11259758" y="2621755"/>
              <a:ext cx="50452" cy="44121"/>
            </a:xfrm>
            <a:custGeom>
              <a:avLst/>
              <a:gdLst>
                <a:gd name="connsiteX0" fmla="*/ 50453 w 50452"/>
                <a:gd name="connsiteY0" fmla="*/ 0 h 44121"/>
                <a:gd name="connsiteX1" fmla="*/ 29366 w 50452"/>
                <a:gd name="connsiteY1" fmla="*/ 0 h 44121"/>
                <a:gd name="connsiteX2" fmla="*/ 0 w 50452"/>
                <a:gd name="connsiteY2" fmla="*/ 25519 h 44121"/>
                <a:gd name="connsiteX3" fmla="*/ 0 w 50452"/>
                <a:gd name="connsiteY3" fmla="*/ 44122 h 441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0452" h="44121">
                  <a:moveTo>
                    <a:pt x="50453" y="0"/>
                  </a:moveTo>
                  <a:lnTo>
                    <a:pt x="29366" y="0"/>
                  </a:lnTo>
                  <a:cubicBezTo>
                    <a:pt x="13295" y="0"/>
                    <a:pt x="0" y="9399"/>
                    <a:pt x="0" y="25519"/>
                  </a:cubicBezTo>
                  <a:lnTo>
                    <a:pt x="0" y="44122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767" name="Forma livre: Forma 766">
              <a:extLst>
                <a:ext uri="{FF2B5EF4-FFF2-40B4-BE49-F238E27FC236}">
                  <a16:creationId xmlns:a16="http://schemas.microsoft.com/office/drawing/2014/main" id="{E4394B0B-7F29-A4AA-AC9D-C0F9B3B56BB1}"/>
                </a:ext>
              </a:extLst>
            </p:cNvPr>
            <p:cNvSpPr/>
            <p:nvPr/>
          </p:nvSpPr>
          <p:spPr>
            <a:xfrm>
              <a:off x="11277242" y="2540670"/>
              <a:ext cx="49186" cy="54787"/>
            </a:xfrm>
            <a:custGeom>
              <a:avLst/>
              <a:gdLst>
                <a:gd name="connsiteX0" fmla="*/ 0 w 49186"/>
                <a:gd name="connsiteY0" fmla="*/ 27418 h 54787"/>
                <a:gd name="connsiteX1" fmla="*/ 24593 w 49186"/>
                <a:gd name="connsiteY1" fmla="*/ 54787 h 54787"/>
                <a:gd name="connsiteX2" fmla="*/ 49187 w 49186"/>
                <a:gd name="connsiteY2" fmla="*/ 27418 h 54787"/>
                <a:gd name="connsiteX3" fmla="*/ 24593 w 49186"/>
                <a:gd name="connsiteY3" fmla="*/ 0 h 54787"/>
                <a:gd name="connsiteX4" fmla="*/ 0 w 49186"/>
                <a:gd name="connsiteY4" fmla="*/ 27418 h 547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9186" h="54787">
                  <a:moveTo>
                    <a:pt x="0" y="27418"/>
                  </a:moveTo>
                  <a:cubicBezTo>
                    <a:pt x="0" y="42563"/>
                    <a:pt x="11006" y="54787"/>
                    <a:pt x="24593" y="54787"/>
                  </a:cubicBezTo>
                  <a:cubicBezTo>
                    <a:pt x="38181" y="54787"/>
                    <a:pt x="49187" y="42515"/>
                    <a:pt x="49187" y="27418"/>
                  </a:cubicBezTo>
                  <a:cubicBezTo>
                    <a:pt x="49187" y="12321"/>
                    <a:pt x="38181" y="0"/>
                    <a:pt x="24593" y="0"/>
                  </a:cubicBezTo>
                  <a:cubicBezTo>
                    <a:pt x="11006" y="0"/>
                    <a:pt x="0" y="12272"/>
                    <a:pt x="0" y="27418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768" name="Forma livre: Forma 767">
              <a:extLst>
                <a:ext uri="{FF2B5EF4-FFF2-40B4-BE49-F238E27FC236}">
                  <a16:creationId xmlns:a16="http://schemas.microsoft.com/office/drawing/2014/main" id="{24127966-CD16-1B3A-D76A-63A9698E8AAF}"/>
                </a:ext>
              </a:extLst>
            </p:cNvPr>
            <p:cNvSpPr/>
            <p:nvPr/>
          </p:nvSpPr>
          <p:spPr>
            <a:xfrm>
              <a:off x="11447934" y="2621755"/>
              <a:ext cx="50452" cy="44121"/>
            </a:xfrm>
            <a:custGeom>
              <a:avLst/>
              <a:gdLst>
                <a:gd name="connsiteX0" fmla="*/ 0 w 50452"/>
                <a:gd name="connsiteY0" fmla="*/ 0 h 44121"/>
                <a:gd name="connsiteX1" fmla="*/ 21087 w 50452"/>
                <a:gd name="connsiteY1" fmla="*/ 0 h 44121"/>
                <a:gd name="connsiteX2" fmla="*/ 50453 w 50452"/>
                <a:gd name="connsiteY2" fmla="*/ 25519 h 44121"/>
                <a:gd name="connsiteX3" fmla="*/ 50453 w 50452"/>
                <a:gd name="connsiteY3" fmla="*/ 44122 h 441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0452" h="44121">
                  <a:moveTo>
                    <a:pt x="0" y="0"/>
                  </a:moveTo>
                  <a:lnTo>
                    <a:pt x="21087" y="0"/>
                  </a:lnTo>
                  <a:cubicBezTo>
                    <a:pt x="37158" y="0"/>
                    <a:pt x="50453" y="9399"/>
                    <a:pt x="50453" y="25519"/>
                  </a:cubicBezTo>
                  <a:lnTo>
                    <a:pt x="50453" y="44122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769" name="Forma livre: Forma 768">
              <a:extLst>
                <a:ext uri="{FF2B5EF4-FFF2-40B4-BE49-F238E27FC236}">
                  <a16:creationId xmlns:a16="http://schemas.microsoft.com/office/drawing/2014/main" id="{610F85C6-FAAE-43E8-8DA7-916F4BAA773B}"/>
                </a:ext>
              </a:extLst>
            </p:cNvPr>
            <p:cNvSpPr/>
            <p:nvPr/>
          </p:nvSpPr>
          <p:spPr>
            <a:xfrm>
              <a:off x="11431668" y="2540670"/>
              <a:ext cx="49186" cy="54787"/>
            </a:xfrm>
            <a:custGeom>
              <a:avLst/>
              <a:gdLst>
                <a:gd name="connsiteX0" fmla="*/ 49187 w 49186"/>
                <a:gd name="connsiteY0" fmla="*/ 27418 h 54787"/>
                <a:gd name="connsiteX1" fmla="*/ 24593 w 49186"/>
                <a:gd name="connsiteY1" fmla="*/ 54787 h 54787"/>
                <a:gd name="connsiteX2" fmla="*/ 0 w 49186"/>
                <a:gd name="connsiteY2" fmla="*/ 27418 h 54787"/>
                <a:gd name="connsiteX3" fmla="*/ 24593 w 49186"/>
                <a:gd name="connsiteY3" fmla="*/ 0 h 54787"/>
                <a:gd name="connsiteX4" fmla="*/ 49187 w 49186"/>
                <a:gd name="connsiteY4" fmla="*/ 27418 h 547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9186" h="54787">
                  <a:moveTo>
                    <a:pt x="49187" y="27418"/>
                  </a:moveTo>
                  <a:cubicBezTo>
                    <a:pt x="49187" y="42563"/>
                    <a:pt x="38181" y="54787"/>
                    <a:pt x="24593" y="54787"/>
                  </a:cubicBezTo>
                  <a:cubicBezTo>
                    <a:pt x="11006" y="54787"/>
                    <a:pt x="0" y="42515"/>
                    <a:pt x="0" y="27418"/>
                  </a:cubicBezTo>
                  <a:cubicBezTo>
                    <a:pt x="0" y="12321"/>
                    <a:pt x="11006" y="0"/>
                    <a:pt x="24593" y="0"/>
                  </a:cubicBezTo>
                  <a:cubicBezTo>
                    <a:pt x="38181" y="0"/>
                    <a:pt x="49187" y="12272"/>
                    <a:pt x="49187" y="27418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770" name="Forma livre: Forma 769">
              <a:extLst>
                <a:ext uri="{FF2B5EF4-FFF2-40B4-BE49-F238E27FC236}">
                  <a16:creationId xmlns:a16="http://schemas.microsoft.com/office/drawing/2014/main" id="{1214B6CB-AD36-CBD7-9DB0-ECC31C6C329E}"/>
                </a:ext>
              </a:extLst>
            </p:cNvPr>
            <p:cNvSpPr/>
            <p:nvPr/>
          </p:nvSpPr>
          <p:spPr>
            <a:xfrm>
              <a:off x="11331201" y="2621755"/>
              <a:ext cx="95451" cy="44121"/>
            </a:xfrm>
            <a:custGeom>
              <a:avLst/>
              <a:gdLst>
                <a:gd name="connsiteX0" fmla="*/ 0 w 95451"/>
                <a:gd name="connsiteY0" fmla="*/ 44122 h 44121"/>
                <a:gd name="connsiteX1" fmla="*/ 0 w 95451"/>
                <a:gd name="connsiteY1" fmla="*/ 25519 h 44121"/>
                <a:gd name="connsiteX2" fmla="*/ 27954 w 95451"/>
                <a:gd name="connsiteY2" fmla="*/ 0 h 44121"/>
                <a:gd name="connsiteX3" fmla="*/ 66085 w 95451"/>
                <a:gd name="connsiteY3" fmla="*/ 0 h 44121"/>
                <a:gd name="connsiteX4" fmla="*/ 95451 w 95451"/>
                <a:gd name="connsiteY4" fmla="*/ 25519 h 44121"/>
                <a:gd name="connsiteX5" fmla="*/ 95451 w 95451"/>
                <a:gd name="connsiteY5" fmla="*/ 44122 h 441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5451" h="44121">
                  <a:moveTo>
                    <a:pt x="0" y="44122"/>
                  </a:moveTo>
                  <a:lnTo>
                    <a:pt x="0" y="25519"/>
                  </a:lnTo>
                  <a:cubicBezTo>
                    <a:pt x="0" y="9448"/>
                    <a:pt x="11883" y="0"/>
                    <a:pt x="27954" y="0"/>
                  </a:cubicBezTo>
                  <a:lnTo>
                    <a:pt x="66085" y="0"/>
                  </a:lnTo>
                  <a:cubicBezTo>
                    <a:pt x="82156" y="0"/>
                    <a:pt x="95451" y="9399"/>
                    <a:pt x="95451" y="25519"/>
                  </a:cubicBezTo>
                  <a:lnTo>
                    <a:pt x="95451" y="44122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771" name="Forma livre: Forma 770">
              <a:extLst>
                <a:ext uri="{FF2B5EF4-FFF2-40B4-BE49-F238E27FC236}">
                  <a16:creationId xmlns:a16="http://schemas.microsoft.com/office/drawing/2014/main" id="{AB37B85B-E4AC-6AD4-8910-86CFEF3B7E62}"/>
                </a:ext>
              </a:extLst>
            </p:cNvPr>
            <p:cNvSpPr/>
            <p:nvPr/>
          </p:nvSpPr>
          <p:spPr>
            <a:xfrm>
              <a:off x="11354333" y="2540670"/>
              <a:ext cx="49186" cy="54787"/>
            </a:xfrm>
            <a:custGeom>
              <a:avLst/>
              <a:gdLst>
                <a:gd name="connsiteX0" fmla="*/ 49187 w 49186"/>
                <a:gd name="connsiteY0" fmla="*/ 27418 h 54787"/>
                <a:gd name="connsiteX1" fmla="*/ 24593 w 49186"/>
                <a:gd name="connsiteY1" fmla="*/ 54787 h 54787"/>
                <a:gd name="connsiteX2" fmla="*/ 0 w 49186"/>
                <a:gd name="connsiteY2" fmla="*/ 27418 h 54787"/>
                <a:gd name="connsiteX3" fmla="*/ 24593 w 49186"/>
                <a:gd name="connsiteY3" fmla="*/ 0 h 54787"/>
                <a:gd name="connsiteX4" fmla="*/ 49187 w 49186"/>
                <a:gd name="connsiteY4" fmla="*/ 27418 h 547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9186" h="54787">
                  <a:moveTo>
                    <a:pt x="49187" y="27418"/>
                  </a:moveTo>
                  <a:cubicBezTo>
                    <a:pt x="49187" y="42563"/>
                    <a:pt x="38181" y="54787"/>
                    <a:pt x="24593" y="54787"/>
                  </a:cubicBezTo>
                  <a:cubicBezTo>
                    <a:pt x="11006" y="54787"/>
                    <a:pt x="0" y="42515"/>
                    <a:pt x="0" y="27418"/>
                  </a:cubicBezTo>
                  <a:cubicBezTo>
                    <a:pt x="0" y="12321"/>
                    <a:pt x="11006" y="0"/>
                    <a:pt x="24593" y="0"/>
                  </a:cubicBezTo>
                  <a:cubicBezTo>
                    <a:pt x="38181" y="0"/>
                    <a:pt x="49187" y="12272"/>
                    <a:pt x="49187" y="27418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772" name="Forma livre: Forma 771">
              <a:extLst>
                <a:ext uri="{FF2B5EF4-FFF2-40B4-BE49-F238E27FC236}">
                  <a16:creationId xmlns:a16="http://schemas.microsoft.com/office/drawing/2014/main" id="{B36D975B-2A4E-9F73-F899-4D2A51F6C0A8}"/>
                </a:ext>
              </a:extLst>
            </p:cNvPr>
            <p:cNvSpPr/>
            <p:nvPr/>
          </p:nvSpPr>
          <p:spPr>
            <a:xfrm>
              <a:off x="11237844" y="2686477"/>
              <a:ext cx="295752" cy="4869"/>
            </a:xfrm>
            <a:custGeom>
              <a:avLst/>
              <a:gdLst>
                <a:gd name="connsiteX0" fmla="*/ 0 w 295752"/>
                <a:gd name="connsiteY0" fmla="*/ 0 h 4869"/>
                <a:gd name="connsiteX1" fmla="*/ 295753 w 295752"/>
                <a:gd name="connsiteY1" fmla="*/ 0 h 48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95752" h="4869">
                  <a:moveTo>
                    <a:pt x="0" y="0"/>
                  </a:moveTo>
                  <a:lnTo>
                    <a:pt x="295753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773" name="Forma livre: Forma 772">
              <a:extLst>
                <a:ext uri="{FF2B5EF4-FFF2-40B4-BE49-F238E27FC236}">
                  <a16:creationId xmlns:a16="http://schemas.microsoft.com/office/drawing/2014/main" id="{ABBAABD5-5A1F-2855-8B7F-CAFAADCDCE33}"/>
                </a:ext>
              </a:extLst>
            </p:cNvPr>
            <p:cNvSpPr/>
            <p:nvPr/>
          </p:nvSpPr>
          <p:spPr>
            <a:xfrm>
              <a:off x="11237844" y="2787674"/>
              <a:ext cx="295752" cy="4869"/>
            </a:xfrm>
            <a:custGeom>
              <a:avLst/>
              <a:gdLst>
                <a:gd name="connsiteX0" fmla="*/ 0 w 295752"/>
                <a:gd name="connsiteY0" fmla="*/ 0 h 4869"/>
                <a:gd name="connsiteX1" fmla="*/ 295753 w 295752"/>
                <a:gd name="connsiteY1" fmla="*/ 0 h 48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95752" h="4869">
                  <a:moveTo>
                    <a:pt x="0" y="0"/>
                  </a:moveTo>
                  <a:lnTo>
                    <a:pt x="295753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774" name="Forma livre: Forma 773">
              <a:extLst>
                <a:ext uri="{FF2B5EF4-FFF2-40B4-BE49-F238E27FC236}">
                  <a16:creationId xmlns:a16="http://schemas.microsoft.com/office/drawing/2014/main" id="{8D0B393B-484A-88A7-2659-2AAD72DF02E8}"/>
                </a:ext>
              </a:extLst>
            </p:cNvPr>
            <p:cNvSpPr/>
            <p:nvPr/>
          </p:nvSpPr>
          <p:spPr>
            <a:xfrm>
              <a:off x="11219679" y="2816748"/>
              <a:ext cx="332082" cy="4869"/>
            </a:xfrm>
            <a:custGeom>
              <a:avLst/>
              <a:gdLst>
                <a:gd name="connsiteX0" fmla="*/ 0 w 332082"/>
                <a:gd name="connsiteY0" fmla="*/ 0 h 4869"/>
                <a:gd name="connsiteX1" fmla="*/ 332083 w 332082"/>
                <a:gd name="connsiteY1" fmla="*/ 0 h 48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32082" h="4869">
                  <a:moveTo>
                    <a:pt x="0" y="0"/>
                  </a:moveTo>
                  <a:lnTo>
                    <a:pt x="332083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775" name="Gráfico 11">
              <a:extLst>
                <a:ext uri="{FF2B5EF4-FFF2-40B4-BE49-F238E27FC236}">
                  <a16:creationId xmlns:a16="http://schemas.microsoft.com/office/drawing/2014/main" id="{7CEF69B6-889F-166C-C6A6-1FFBE3D400DC}"/>
                </a:ext>
              </a:extLst>
            </p:cNvPr>
            <p:cNvGrpSpPr/>
            <p:nvPr/>
          </p:nvGrpSpPr>
          <p:grpSpPr>
            <a:xfrm>
              <a:off x="11249483" y="2686866"/>
              <a:ext cx="271743" cy="100077"/>
              <a:chOff x="11249483" y="2686866"/>
              <a:chExt cx="271743" cy="100077"/>
            </a:xfrm>
          </p:grpSpPr>
          <p:sp>
            <p:nvSpPr>
              <p:cNvPr id="776" name="Forma livre: Forma 775">
                <a:extLst>
                  <a:ext uri="{FF2B5EF4-FFF2-40B4-BE49-F238E27FC236}">
                    <a16:creationId xmlns:a16="http://schemas.microsoft.com/office/drawing/2014/main" id="{68E94B1E-2A50-877E-3DCA-C1EA74E40525}"/>
                  </a:ext>
                </a:extLst>
              </p:cNvPr>
              <p:cNvSpPr/>
              <p:nvPr/>
            </p:nvSpPr>
            <p:spPr>
              <a:xfrm>
                <a:off x="11249483" y="2686866"/>
                <a:ext cx="4869" cy="100077"/>
              </a:xfrm>
              <a:custGeom>
                <a:avLst/>
                <a:gdLst>
                  <a:gd name="connsiteX0" fmla="*/ 0 w 4869"/>
                  <a:gd name="connsiteY0" fmla="*/ 0 h 100077"/>
                  <a:gd name="connsiteX1" fmla="*/ 0 w 4869"/>
                  <a:gd name="connsiteY1" fmla="*/ 100078 h 1000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869" h="100077">
                    <a:moveTo>
                      <a:pt x="0" y="0"/>
                    </a:moveTo>
                    <a:lnTo>
                      <a:pt x="0" y="100078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77" name="Forma livre: Forma 776">
                <a:extLst>
                  <a:ext uri="{FF2B5EF4-FFF2-40B4-BE49-F238E27FC236}">
                    <a16:creationId xmlns:a16="http://schemas.microsoft.com/office/drawing/2014/main" id="{E2787E27-354D-5114-2280-3CBF07B25D6E}"/>
                  </a:ext>
                </a:extLst>
              </p:cNvPr>
              <p:cNvSpPr/>
              <p:nvPr/>
            </p:nvSpPr>
            <p:spPr>
              <a:xfrm>
                <a:off x="11521227" y="2686866"/>
                <a:ext cx="4869" cy="100077"/>
              </a:xfrm>
              <a:custGeom>
                <a:avLst/>
                <a:gdLst>
                  <a:gd name="connsiteX0" fmla="*/ 0 w 4869"/>
                  <a:gd name="connsiteY0" fmla="*/ 0 h 100077"/>
                  <a:gd name="connsiteX1" fmla="*/ 0 w 4869"/>
                  <a:gd name="connsiteY1" fmla="*/ 100078 h 1000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869" h="100077">
                    <a:moveTo>
                      <a:pt x="0" y="0"/>
                    </a:moveTo>
                    <a:lnTo>
                      <a:pt x="0" y="100078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778" name="Gráfico 11">
            <a:extLst>
              <a:ext uri="{FF2B5EF4-FFF2-40B4-BE49-F238E27FC236}">
                <a16:creationId xmlns:a16="http://schemas.microsoft.com/office/drawing/2014/main" id="{83D1EABD-3399-1207-F537-1A992908BDFC}"/>
              </a:ext>
            </a:extLst>
          </p:cNvPr>
          <p:cNvGrpSpPr/>
          <p:nvPr/>
        </p:nvGrpSpPr>
        <p:grpSpPr>
          <a:xfrm>
            <a:off x="10628319" y="2532537"/>
            <a:ext cx="246176" cy="292295"/>
            <a:chOff x="10628319" y="2532537"/>
            <a:chExt cx="246176" cy="292295"/>
          </a:xfrm>
          <a:noFill/>
        </p:grpSpPr>
        <p:sp>
          <p:nvSpPr>
            <p:cNvPr id="779" name="Forma livre: Forma 778">
              <a:extLst>
                <a:ext uri="{FF2B5EF4-FFF2-40B4-BE49-F238E27FC236}">
                  <a16:creationId xmlns:a16="http://schemas.microsoft.com/office/drawing/2014/main" id="{3B20F8F1-630D-3471-7E18-77F9FF44785E}"/>
                </a:ext>
              </a:extLst>
            </p:cNvPr>
            <p:cNvSpPr/>
            <p:nvPr/>
          </p:nvSpPr>
          <p:spPr>
            <a:xfrm>
              <a:off x="10628319" y="2532537"/>
              <a:ext cx="246176" cy="292295"/>
            </a:xfrm>
            <a:custGeom>
              <a:avLst/>
              <a:gdLst>
                <a:gd name="connsiteX0" fmla="*/ 123113 w 246176"/>
                <a:gd name="connsiteY0" fmla="*/ 292295 h 292295"/>
                <a:gd name="connsiteX1" fmla="*/ 180627 w 246176"/>
                <a:gd name="connsiteY1" fmla="*/ 281630 h 292295"/>
                <a:gd name="connsiteX2" fmla="*/ 184377 w 246176"/>
                <a:gd name="connsiteY2" fmla="*/ 232541 h 292295"/>
                <a:gd name="connsiteX3" fmla="*/ 211308 w 246176"/>
                <a:gd name="connsiteY3" fmla="*/ 232151 h 292295"/>
                <a:gd name="connsiteX4" fmla="*/ 228693 w 246176"/>
                <a:gd name="connsiteY4" fmla="*/ 223580 h 292295"/>
                <a:gd name="connsiteX5" fmla="*/ 237849 w 246176"/>
                <a:gd name="connsiteY5" fmla="*/ 181991 h 292295"/>
                <a:gd name="connsiteX6" fmla="*/ 246177 w 246176"/>
                <a:gd name="connsiteY6" fmla="*/ 121993 h 292295"/>
                <a:gd name="connsiteX7" fmla="*/ 123113 w 246176"/>
                <a:gd name="connsiteY7" fmla="*/ 0 h 292295"/>
                <a:gd name="connsiteX8" fmla="*/ 123064 w 246176"/>
                <a:gd name="connsiteY8" fmla="*/ 0 h 292295"/>
                <a:gd name="connsiteX9" fmla="*/ 0 w 246176"/>
                <a:gd name="connsiteY9" fmla="*/ 121993 h 292295"/>
                <a:gd name="connsiteX10" fmla="*/ 8328 w 246176"/>
                <a:gd name="connsiteY10" fmla="*/ 181991 h 292295"/>
                <a:gd name="connsiteX11" fmla="*/ 17483 w 246176"/>
                <a:gd name="connsiteY11" fmla="*/ 223580 h 292295"/>
                <a:gd name="connsiteX12" fmla="*/ 34869 w 246176"/>
                <a:gd name="connsiteY12" fmla="*/ 232151 h 292295"/>
                <a:gd name="connsiteX13" fmla="*/ 61800 w 246176"/>
                <a:gd name="connsiteY13" fmla="*/ 232541 h 292295"/>
                <a:gd name="connsiteX14" fmla="*/ 65550 w 246176"/>
                <a:gd name="connsiteY14" fmla="*/ 281630 h 292295"/>
                <a:gd name="connsiteX15" fmla="*/ 123064 w 246176"/>
                <a:gd name="connsiteY15" fmla="*/ 292295 h 292295"/>
                <a:gd name="connsiteX16" fmla="*/ 123113 w 246176"/>
                <a:gd name="connsiteY16" fmla="*/ 292295 h 2922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46176" h="292295">
                  <a:moveTo>
                    <a:pt x="123113" y="292295"/>
                  </a:moveTo>
                  <a:cubicBezTo>
                    <a:pt x="159832" y="291906"/>
                    <a:pt x="180627" y="281630"/>
                    <a:pt x="180627" y="281630"/>
                  </a:cubicBezTo>
                  <a:lnTo>
                    <a:pt x="184377" y="232541"/>
                  </a:lnTo>
                  <a:cubicBezTo>
                    <a:pt x="184377" y="232541"/>
                    <a:pt x="195773" y="232151"/>
                    <a:pt x="211308" y="232151"/>
                  </a:cubicBezTo>
                  <a:cubicBezTo>
                    <a:pt x="221583" y="232151"/>
                    <a:pt x="228693" y="223580"/>
                    <a:pt x="228693" y="223580"/>
                  </a:cubicBezTo>
                  <a:cubicBezTo>
                    <a:pt x="246323" y="204149"/>
                    <a:pt x="237800" y="193581"/>
                    <a:pt x="237849" y="181991"/>
                  </a:cubicBezTo>
                  <a:cubicBezTo>
                    <a:pt x="237849" y="170400"/>
                    <a:pt x="246177" y="142495"/>
                    <a:pt x="246177" y="121993"/>
                  </a:cubicBezTo>
                  <a:cubicBezTo>
                    <a:pt x="246177" y="52937"/>
                    <a:pt x="194165" y="0"/>
                    <a:pt x="123113" y="0"/>
                  </a:cubicBezTo>
                  <a:lnTo>
                    <a:pt x="123064" y="0"/>
                  </a:lnTo>
                  <a:cubicBezTo>
                    <a:pt x="52060" y="0"/>
                    <a:pt x="0" y="52937"/>
                    <a:pt x="0" y="121993"/>
                  </a:cubicBezTo>
                  <a:cubicBezTo>
                    <a:pt x="0" y="142495"/>
                    <a:pt x="8328" y="170400"/>
                    <a:pt x="8328" y="181991"/>
                  </a:cubicBezTo>
                  <a:cubicBezTo>
                    <a:pt x="8328" y="193581"/>
                    <a:pt x="-146" y="204149"/>
                    <a:pt x="17483" y="223580"/>
                  </a:cubicBezTo>
                  <a:cubicBezTo>
                    <a:pt x="17483" y="223580"/>
                    <a:pt x="24593" y="232151"/>
                    <a:pt x="34869" y="232151"/>
                  </a:cubicBezTo>
                  <a:cubicBezTo>
                    <a:pt x="50355" y="232151"/>
                    <a:pt x="61800" y="232541"/>
                    <a:pt x="61800" y="232541"/>
                  </a:cubicBezTo>
                  <a:lnTo>
                    <a:pt x="65550" y="281630"/>
                  </a:lnTo>
                  <a:cubicBezTo>
                    <a:pt x="65550" y="281630"/>
                    <a:pt x="86344" y="291906"/>
                    <a:pt x="123064" y="292295"/>
                  </a:cubicBezTo>
                  <a:lnTo>
                    <a:pt x="123113" y="292295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780" name="Gráfico 11">
              <a:extLst>
                <a:ext uri="{FF2B5EF4-FFF2-40B4-BE49-F238E27FC236}">
                  <a16:creationId xmlns:a16="http://schemas.microsoft.com/office/drawing/2014/main" id="{F85C40D2-3AA0-E479-4144-7AADAB62DBEB}"/>
                </a:ext>
              </a:extLst>
            </p:cNvPr>
            <p:cNvGrpSpPr/>
            <p:nvPr/>
          </p:nvGrpSpPr>
          <p:grpSpPr>
            <a:xfrm>
              <a:off x="10722066" y="2796489"/>
              <a:ext cx="58634" cy="26541"/>
              <a:chOff x="10722066" y="2796489"/>
              <a:chExt cx="58634" cy="26541"/>
            </a:xfrm>
          </p:grpSpPr>
          <p:sp>
            <p:nvSpPr>
              <p:cNvPr id="781" name="Forma livre: Forma 780">
                <a:extLst>
                  <a:ext uri="{FF2B5EF4-FFF2-40B4-BE49-F238E27FC236}">
                    <a16:creationId xmlns:a16="http://schemas.microsoft.com/office/drawing/2014/main" id="{B605308F-3BB2-32DA-A735-35586EA7032A}"/>
                  </a:ext>
                </a:extLst>
              </p:cNvPr>
              <p:cNvSpPr/>
              <p:nvPr/>
            </p:nvSpPr>
            <p:spPr>
              <a:xfrm>
                <a:off x="10722066" y="2797025"/>
                <a:ext cx="4869" cy="23181"/>
              </a:xfrm>
              <a:custGeom>
                <a:avLst/>
                <a:gdLst>
                  <a:gd name="connsiteX0" fmla="*/ 0 w 4869"/>
                  <a:gd name="connsiteY0" fmla="*/ 23181 h 23181"/>
                  <a:gd name="connsiteX1" fmla="*/ 0 w 4869"/>
                  <a:gd name="connsiteY1" fmla="*/ 0 h 231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869" h="23181">
                    <a:moveTo>
                      <a:pt x="0" y="23181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82" name="Forma livre: Forma 781">
                <a:extLst>
                  <a:ext uri="{FF2B5EF4-FFF2-40B4-BE49-F238E27FC236}">
                    <a16:creationId xmlns:a16="http://schemas.microsoft.com/office/drawing/2014/main" id="{30B808CD-233B-0CE4-4D6F-8A14BB904574}"/>
                  </a:ext>
                </a:extLst>
              </p:cNvPr>
              <p:cNvSpPr/>
              <p:nvPr/>
            </p:nvSpPr>
            <p:spPr>
              <a:xfrm>
                <a:off x="10751383" y="2799849"/>
                <a:ext cx="4869" cy="23181"/>
              </a:xfrm>
              <a:custGeom>
                <a:avLst/>
                <a:gdLst>
                  <a:gd name="connsiteX0" fmla="*/ 0 w 4869"/>
                  <a:gd name="connsiteY0" fmla="*/ 23181 h 23181"/>
                  <a:gd name="connsiteX1" fmla="*/ 0 w 4869"/>
                  <a:gd name="connsiteY1" fmla="*/ 0 h 231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869" h="23181">
                    <a:moveTo>
                      <a:pt x="0" y="23181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83" name="Forma livre: Forma 782">
                <a:extLst>
                  <a:ext uri="{FF2B5EF4-FFF2-40B4-BE49-F238E27FC236}">
                    <a16:creationId xmlns:a16="http://schemas.microsoft.com/office/drawing/2014/main" id="{7D193C26-31F9-B764-A01F-ED4832604E90}"/>
                  </a:ext>
                </a:extLst>
              </p:cNvPr>
              <p:cNvSpPr/>
              <p:nvPr/>
            </p:nvSpPr>
            <p:spPr>
              <a:xfrm>
                <a:off x="10780700" y="2796489"/>
                <a:ext cx="4869" cy="23132"/>
              </a:xfrm>
              <a:custGeom>
                <a:avLst/>
                <a:gdLst>
                  <a:gd name="connsiteX0" fmla="*/ 0 w 4869"/>
                  <a:gd name="connsiteY0" fmla="*/ 23132 h 23132"/>
                  <a:gd name="connsiteX1" fmla="*/ 0 w 4869"/>
                  <a:gd name="connsiteY1" fmla="*/ 0 h 231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869" h="23132">
                    <a:moveTo>
                      <a:pt x="0" y="23132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784" name="Gráfico 11">
              <a:extLst>
                <a:ext uri="{FF2B5EF4-FFF2-40B4-BE49-F238E27FC236}">
                  <a16:creationId xmlns:a16="http://schemas.microsoft.com/office/drawing/2014/main" id="{B6B21239-7A45-8997-8DFD-7DB551182992}"/>
                </a:ext>
              </a:extLst>
            </p:cNvPr>
            <p:cNvGrpSpPr/>
            <p:nvPr/>
          </p:nvGrpSpPr>
          <p:grpSpPr>
            <a:xfrm>
              <a:off x="10665585" y="2650304"/>
              <a:ext cx="171595" cy="62216"/>
              <a:chOff x="10665585" y="2650304"/>
              <a:chExt cx="171595" cy="62216"/>
            </a:xfrm>
            <a:noFill/>
          </p:grpSpPr>
          <p:sp>
            <p:nvSpPr>
              <p:cNvPr id="785" name="Forma livre: Forma 784">
                <a:extLst>
                  <a:ext uri="{FF2B5EF4-FFF2-40B4-BE49-F238E27FC236}">
                    <a16:creationId xmlns:a16="http://schemas.microsoft.com/office/drawing/2014/main" id="{AC6D74EB-2434-6389-ED08-B3C26BFB6BE1}"/>
                  </a:ext>
                </a:extLst>
              </p:cNvPr>
              <p:cNvSpPr/>
              <p:nvPr/>
            </p:nvSpPr>
            <p:spPr>
              <a:xfrm>
                <a:off x="10665585" y="2650304"/>
                <a:ext cx="68206" cy="62216"/>
              </a:xfrm>
              <a:custGeom>
                <a:avLst/>
                <a:gdLst>
                  <a:gd name="connsiteX0" fmla="*/ 66902 w 68206"/>
                  <a:gd name="connsiteY0" fmla="*/ 22391 h 62216"/>
                  <a:gd name="connsiteX1" fmla="*/ 48981 w 68206"/>
                  <a:gd name="connsiteY1" fmla="*/ 57065 h 62216"/>
                  <a:gd name="connsiteX2" fmla="*/ 37001 w 68206"/>
                  <a:gd name="connsiteY2" fmla="*/ 60912 h 62216"/>
                  <a:gd name="connsiteX3" fmla="*/ 2327 w 68206"/>
                  <a:gd name="connsiteY3" fmla="*/ 42991 h 62216"/>
                  <a:gd name="connsiteX4" fmla="*/ 1304 w 68206"/>
                  <a:gd name="connsiteY4" fmla="*/ 39825 h 62216"/>
                  <a:gd name="connsiteX5" fmla="*/ 19225 w 68206"/>
                  <a:gd name="connsiteY5" fmla="*/ 5151 h 62216"/>
                  <a:gd name="connsiteX6" fmla="*/ 31206 w 68206"/>
                  <a:gd name="connsiteY6" fmla="*/ 1304 h 62216"/>
                  <a:gd name="connsiteX7" fmla="*/ 65880 w 68206"/>
                  <a:gd name="connsiteY7" fmla="*/ 19225 h 62216"/>
                  <a:gd name="connsiteX8" fmla="*/ 66902 w 68206"/>
                  <a:gd name="connsiteY8" fmla="*/ 22342 h 622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68206" h="62216">
                    <a:moveTo>
                      <a:pt x="66902" y="22391"/>
                    </a:moveTo>
                    <a:cubicBezTo>
                      <a:pt x="71529" y="36855"/>
                      <a:pt x="63445" y="52487"/>
                      <a:pt x="48981" y="57065"/>
                    </a:cubicBezTo>
                    <a:lnTo>
                      <a:pt x="37001" y="60912"/>
                    </a:lnTo>
                    <a:cubicBezTo>
                      <a:pt x="22537" y="65539"/>
                      <a:pt x="6904" y="57455"/>
                      <a:pt x="2327" y="42991"/>
                    </a:cubicBezTo>
                    <a:lnTo>
                      <a:pt x="1304" y="39825"/>
                    </a:lnTo>
                    <a:cubicBezTo>
                      <a:pt x="-3322" y="25362"/>
                      <a:pt x="4762" y="9729"/>
                      <a:pt x="19225" y="5151"/>
                    </a:cubicBezTo>
                    <a:lnTo>
                      <a:pt x="31206" y="1304"/>
                    </a:lnTo>
                    <a:cubicBezTo>
                      <a:pt x="45669" y="-3323"/>
                      <a:pt x="61302" y="4762"/>
                      <a:pt x="65880" y="19225"/>
                    </a:cubicBezTo>
                    <a:lnTo>
                      <a:pt x="66902" y="22342"/>
                    </a:lnTo>
                    <a:close/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86" name="Forma livre: Forma 785">
                <a:extLst>
                  <a:ext uri="{FF2B5EF4-FFF2-40B4-BE49-F238E27FC236}">
                    <a16:creationId xmlns:a16="http://schemas.microsoft.com/office/drawing/2014/main" id="{741E3762-D66B-576F-4587-B8BB051CA528}"/>
                  </a:ext>
                </a:extLst>
              </p:cNvPr>
              <p:cNvSpPr/>
              <p:nvPr/>
            </p:nvSpPr>
            <p:spPr>
              <a:xfrm>
                <a:off x="10768974" y="2650304"/>
                <a:ext cx="68206" cy="62216"/>
              </a:xfrm>
              <a:custGeom>
                <a:avLst/>
                <a:gdLst>
                  <a:gd name="connsiteX0" fmla="*/ 1304 w 68206"/>
                  <a:gd name="connsiteY0" fmla="*/ 22391 h 62216"/>
                  <a:gd name="connsiteX1" fmla="*/ 19225 w 68206"/>
                  <a:gd name="connsiteY1" fmla="*/ 57065 h 62216"/>
                  <a:gd name="connsiteX2" fmla="*/ 31206 w 68206"/>
                  <a:gd name="connsiteY2" fmla="*/ 60912 h 62216"/>
                  <a:gd name="connsiteX3" fmla="*/ 65880 w 68206"/>
                  <a:gd name="connsiteY3" fmla="*/ 42991 h 62216"/>
                  <a:gd name="connsiteX4" fmla="*/ 66902 w 68206"/>
                  <a:gd name="connsiteY4" fmla="*/ 39825 h 62216"/>
                  <a:gd name="connsiteX5" fmla="*/ 48981 w 68206"/>
                  <a:gd name="connsiteY5" fmla="*/ 5151 h 62216"/>
                  <a:gd name="connsiteX6" fmla="*/ 37001 w 68206"/>
                  <a:gd name="connsiteY6" fmla="*/ 1304 h 62216"/>
                  <a:gd name="connsiteX7" fmla="*/ 2327 w 68206"/>
                  <a:gd name="connsiteY7" fmla="*/ 19225 h 62216"/>
                  <a:gd name="connsiteX8" fmla="*/ 1304 w 68206"/>
                  <a:gd name="connsiteY8" fmla="*/ 22342 h 622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68206" h="62216">
                    <a:moveTo>
                      <a:pt x="1304" y="22391"/>
                    </a:moveTo>
                    <a:cubicBezTo>
                      <a:pt x="-3322" y="36855"/>
                      <a:pt x="4762" y="52487"/>
                      <a:pt x="19225" y="57065"/>
                    </a:cubicBezTo>
                    <a:lnTo>
                      <a:pt x="31206" y="60912"/>
                    </a:lnTo>
                    <a:cubicBezTo>
                      <a:pt x="45669" y="65539"/>
                      <a:pt x="61302" y="57455"/>
                      <a:pt x="65880" y="42991"/>
                    </a:cubicBezTo>
                    <a:lnTo>
                      <a:pt x="66902" y="39825"/>
                    </a:lnTo>
                    <a:cubicBezTo>
                      <a:pt x="71529" y="25362"/>
                      <a:pt x="63445" y="9729"/>
                      <a:pt x="48981" y="5151"/>
                    </a:cubicBezTo>
                    <a:lnTo>
                      <a:pt x="37001" y="1304"/>
                    </a:lnTo>
                    <a:cubicBezTo>
                      <a:pt x="22537" y="-3323"/>
                      <a:pt x="6904" y="4762"/>
                      <a:pt x="2327" y="19225"/>
                    </a:cubicBezTo>
                    <a:lnTo>
                      <a:pt x="1304" y="22342"/>
                    </a:lnTo>
                    <a:close/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787" name="Gráfico 11">
              <a:extLst>
                <a:ext uri="{FF2B5EF4-FFF2-40B4-BE49-F238E27FC236}">
                  <a16:creationId xmlns:a16="http://schemas.microsoft.com/office/drawing/2014/main" id="{ADEBE112-249D-D24C-EBE9-AAD0E74CB63E}"/>
                </a:ext>
              </a:extLst>
            </p:cNvPr>
            <p:cNvGrpSpPr/>
            <p:nvPr/>
          </p:nvGrpSpPr>
          <p:grpSpPr>
            <a:xfrm>
              <a:off x="10733121" y="2731572"/>
              <a:ext cx="36524" cy="17677"/>
              <a:chOff x="10733121" y="2731572"/>
              <a:chExt cx="36524" cy="17677"/>
            </a:xfrm>
          </p:grpSpPr>
          <p:sp>
            <p:nvSpPr>
              <p:cNvPr id="788" name="Forma livre: Forma 787">
                <a:extLst>
                  <a:ext uri="{FF2B5EF4-FFF2-40B4-BE49-F238E27FC236}">
                    <a16:creationId xmlns:a16="http://schemas.microsoft.com/office/drawing/2014/main" id="{37FB7617-F1D4-A532-0628-4AC3B56A670B}"/>
                  </a:ext>
                </a:extLst>
              </p:cNvPr>
              <p:cNvSpPr/>
              <p:nvPr/>
            </p:nvSpPr>
            <p:spPr>
              <a:xfrm>
                <a:off x="10733121" y="2731572"/>
                <a:ext cx="6136" cy="17677"/>
              </a:xfrm>
              <a:custGeom>
                <a:avLst/>
                <a:gdLst>
                  <a:gd name="connsiteX0" fmla="*/ 6136 w 6136"/>
                  <a:gd name="connsiteY0" fmla="*/ 0 h 17677"/>
                  <a:gd name="connsiteX1" fmla="*/ 0 w 6136"/>
                  <a:gd name="connsiteY1" fmla="*/ 17678 h 176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136" h="17677">
                    <a:moveTo>
                      <a:pt x="6136" y="0"/>
                    </a:moveTo>
                    <a:lnTo>
                      <a:pt x="0" y="17678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89" name="Forma livre: Forma 788">
                <a:extLst>
                  <a:ext uri="{FF2B5EF4-FFF2-40B4-BE49-F238E27FC236}">
                    <a16:creationId xmlns:a16="http://schemas.microsoft.com/office/drawing/2014/main" id="{D52BE091-3AC7-CDD6-4E67-C6996628FAAF}"/>
                  </a:ext>
                </a:extLst>
              </p:cNvPr>
              <p:cNvSpPr/>
              <p:nvPr/>
            </p:nvSpPr>
            <p:spPr>
              <a:xfrm>
                <a:off x="10763509" y="2731572"/>
                <a:ext cx="6136" cy="17677"/>
              </a:xfrm>
              <a:custGeom>
                <a:avLst/>
                <a:gdLst>
                  <a:gd name="connsiteX0" fmla="*/ 0 w 6136"/>
                  <a:gd name="connsiteY0" fmla="*/ 0 h 17677"/>
                  <a:gd name="connsiteX1" fmla="*/ 6136 w 6136"/>
                  <a:gd name="connsiteY1" fmla="*/ 17678 h 176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136" h="17677">
                    <a:moveTo>
                      <a:pt x="0" y="0"/>
                    </a:moveTo>
                    <a:lnTo>
                      <a:pt x="6136" y="17678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790" name="Gráfico 11">
            <a:extLst>
              <a:ext uri="{FF2B5EF4-FFF2-40B4-BE49-F238E27FC236}">
                <a16:creationId xmlns:a16="http://schemas.microsoft.com/office/drawing/2014/main" id="{B781EBE2-B4F1-A2C2-E88C-3857D8A704BA}"/>
              </a:ext>
            </a:extLst>
          </p:cNvPr>
          <p:cNvGrpSpPr/>
          <p:nvPr/>
        </p:nvGrpSpPr>
        <p:grpSpPr>
          <a:xfrm>
            <a:off x="9962497" y="2546757"/>
            <a:ext cx="309145" cy="253968"/>
            <a:chOff x="9962497" y="2546757"/>
            <a:chExt cx="309145" cy="253968"/>
          </a:xfrm>
          <a:noFill/>
        </p:grpSpPr>
        <p:sp>
          <p:nvSpPr>
            <p:cNvPr id="791" name="Forma livre: Forma 790">
              <a:extLst>
                <a:ext uri="{FF2B5EF4-FFF2-40B4-BE49-F238E27FC236}">
                  <a16:creationId xmlns:a16="http://schemas.microsoft.com/office/drawing/2014/main" id="{08346CA4-9686-A4D3-08A1-2238FA3909FA}"/>
                </a:ext>
              </a:extLst>
            </p:cNvPr>
            <p:cNvSpPr/>
            <p:nvPr/>
          </p:nvSpPr>
          <p:spPr>
            <a:xfrm>
              <a:off x="10073971" y="2602957"/>
              <a:ext cx="86149" cy="43634"/>
            </a:xfrm>
            <a:custGeom>
              <a:avLst/>
              <a:gdLst>
                <a:gd name="connsiteX0" fmla="*/ 86150 w 86149"/>
                <a:gd name="connsiteY0" fmla="*/ 43635 h 43634"/>
                <a:gd name="connsiteX1" fmla="*/ 0 w 86149"/>
                <a:gd name="connsiteY1" fmla="*/ 43635 h 43634"/>
                <a:gd name="connsiteX2" fmla="*/ 18555 w 86149"/>
                <a:gd name="connsiteY2" fmla="*/ 0 h 43634"/>
                <a:gd name="connsiteX3" fmla="*/ 67644 w 86149"/>
                <a:gd name="connsiteY3" fmla="*/ 0 h 43634"/>
                <a:gd name="connsiteX4" fmla="*/ 86150 w 86149"/>
                <a:gd name="connsiteY4" fmla="*/ 43635 h 436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6149" h="43634">
                  <a:moveTo>
                    <a:pt x="86150" y="43635"/>
                  </a:moveTo>
                  <a:lnTo>
                    <a:pt x="0" y="43635"/>
                  </a:lnTo>
                  <a:lnTo>
                    <a:pt x="18555" y="0"/>
                  </a:lnTo>
                  <a:lnTo>
                    <a:pt x="67644" y="0"/>
                  </a:lnTo>
                  <a:lnTo>
                    <a:pt x="86150" y="43635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792" name="Gráfico 11">
              <a:extLst>
                <a:ext uri="{FF2B5EF4-FFF2-40B4-BE49-F238E27FC236}">
                  <a16:creationId xmlns:a16="http://schemas.microsoft.com/office/drawing/2014/main" id="{25C3FCFE-A6AE-8D23-8DD5-2B1678FE914E}"/>
                </a:ext>
              </a:extLst>
            </p:cNvPr>
            <p:cNvGrpSpPr/>
            <p:nvPr/>
          </p:nvGrpSpPr>
          <p:grpSpPr>
            <a:xfrm>
              <a:off x="10018112" y="2679999"/>
              <a:ext cx="197915" cy="43683"/>
              <a:chOff x="10018112" y="2679999"/>
              <a:chExt cx="197915" cy="43683"/>
            </a:xfrm>
            <a:noFill/>
          </p:grpSpPr>
          <p:sp>
            <p:nvSpPr>
              <p:cNvPr id="793" name="Forma livre: Forma 792">
                <a:extLst>
                  <a:ext uri="{FF2B5EF4-FFF2-40B4-BE49-F238E27FC236}">
                    <a16:creationId xmlns:a16="http://schemas.microsoft.com/office/drawing/2014/main" id="{90E2910A-11E2-EF92-D174-F355B2076AA1}"/>
                  </a:ext>
                </a:extLst>
              </p:cNvPr>
              <p:cNvSpPr/>
              <p:nvPr/>
            </p:nvSpPr>
            <p:spPr>
              <a:xfrm>
                <a:off x="10018112" y="2679999"/>
                <a:ext cx="86247" cy="43683"/>
              </a:xfrm>
              <a:custGeom>
                <a:avLst/>
                <a:gdLst>
                  <a:gd name="connsiteX0" fmla="*/ 86247 w 86247"/>
                  <a:gd name="connsiteY0" fmla="*/ 43684 h 43683"/>
                  <a:gd name="connsiteX1" fmla="*/ 0 w 86247"/>
                  <a:gd name="connsiteY1" fmla="*/ 43684 h 43683"/>
                  <a:gd name="connsiteX2" fmla="*/ 18555 w 86247"/>
                  <a:gd name="connsiteY2" fmla="*/ 0 h 43683"/>
                  <a:gd name="connsiteX3" fmla="*/ 67693 w 86247"/>
                  <a:gd name="connsiteY3" fmla="*/ 0 h 43683"/>
                  <a:gd name="connsiteX4" fmla="*/ 86247 w 86247"/>
                  <a:gd name="connsiteY4" fmla="*/ 43684 h 436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6247" h="43683">
                    <a:moveTo>
                      <a:pt x="86247" y="43684"/>
                    </a:moveTo>
                    <a:lnTo>
                      <a:pt x="0" y="43684"/>
                    </a:lnTo>
                    <a:lnTo>
                      <a:pt x="18555" y="0"/>
                    </a:lnTo>
                    <a:lnTo>
                      <a:pt x="67693" y="0"/>
                    </a:lnTo>
                    <a:lnTo>
                      <a:pt x="86247" y="43684"/>
                    </a:ln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94" name="Forma livre: Forma 793">
                <a:extLst>
                  <a:ext uri="{FF2B5EF4-FFF2-40B4-BE49-F238E27FC236}">
                    <a16:creationId xmlns:a16="http://schemas.microsoft.com/office/drawing/2014/main" id="{3C1D69FA-6303-B5D9-BF49-AAA257829486}"/>
                  </a:ext>
                </a:extLst>
              </p:cNvPr>
              <p:cNvSpPr/>
              <p:nvPr/>
            </p:nvSpPr>
            <p:spPr>
              <a:xfrm>
                <a:off x="10129878" y="2679999"/>
                <a:ext cx="86149" cy="43683"/>
              </a:xfrm>
              <a:custGeom>
                <a:avLst/>
                <a:gdLst>
                  <a:gd name="connsiteX0" fmla="*/ 86150 w 86149"/>
                  <a:gd name="connsiteY0" fmla="*/ 43684 h 43683"/>
                  <a:gd name="connsiteX1" fmla="*/ 0 w 86149"/>
                  <a:gd name="connsiteY1" fmla="*/ 43684 h 43683"/>
                  <a:gd name="connsiteX2" fmla="*/ 18506 w 86149"/>
                  <a:gd name="connsiteY2" fmla="*/ 0 h 43683"/>
                  <a:gd name="connsiteX3" fmla="*/ 67595 w 86149"/>
                  <a:gd name="connsiteY3" fmla="*/ 0 h 43683"/>
                  <a:gd name="connsiteX4" fmla="*/ 86150 w 86149"/>
                  <a:gd name="connsiteY4" fmla="*/ 43684 h 436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6149" h="43683">
                    <a:moveTo>
                      <a:pt x="86150" y="43684"/>
                    </a:moveTo>
                    <a:lnTo>
                      <a:pt x="0" y="43684"/>
                    </a:lnTo>
                    <a:lnTo>
                      <a:pt x="18506" y="0"/>
                    </a:lnTo>
                    <a:lnTo>
                      <a:pt x="67595" y="0"/>
                    </a:lnTo>
                    <a:lnTo>
                      <a:pt x="86150" y="43684"/>
                    </a:ln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795" name="Gráfico 11">
              <a:extLst>
                <a:ext uri="{FF2B5EF4-FFF2-40B4-BE49-F238E27FC236}">
                  <a16:creationId xmlns:a16="http://schemas.microsoft.com/office/drawing/2014/main" id="{1E088CB7-4F9F-0363-E6DD-AAA16A04C03C}"/>
                </a:ext>
              </a:extLst>
            </p:cNvPr>
            <p:cNvGrpSpPr/>
            <p:nvPr/>
          </p:nvGrpSpPr>
          <p:grpSpPr>
            <a:xfrm>
              <a:off x="9962497" y="2757091"/>
              <a:ext cx="309145" cy="43634"/>
              <a:chOff x="9962497" y="2757091"/>
              <a:chExt cx="309145" cy="43634"/>
            </a:xfrm>
            <a:noFill/>
          </p:grpSpPr>
          <p:sp>
            <p:nvSpPr>
              <p:cNvPr id="796" name="Forma livre: Forma 795">
                <a:extLst>
                  <a:ext uri="{FF2B5EF4-FFF2-40B4-BE49-F238E27FC236}">
                    <a16:creationId xmlns:a16="http://schemas.microsoft.com/office/drawing/2014/main" id="{612F5EF3-6E8D-FB57-D384-6057E5BBEA31}"/>
                  </a:ext>
                </a:extLst>
              </p:cNvPr>
              <p:cNvSpPr/>
              <p:nvPr/>
            </p:nvSpPr>
            <p:spPr>
              <a:xfrm>
                <a:off x="9962497" y="2757091"/>
                <a:ext cx="86149" cy="43634"/>
              </a:xfrm>
              <a:custGeom>
                <a:avLst/>
                <a:gdLst>
                  <a:gd name="connsiteX0" fmla="*/ 86150 w 86149"/>
                  <a:gd name="connsiteY0" fmla="*/ 43635 h 43634"/>
                  <a:gd name="connsiteX1" fmla="*/ 0 w 86149"/>
                  <a:gd name="connsiteY1" fmla="*/ 43635 h 43634"/>
                  <a:gd name="connsiteX2" fmla="*/ 18506 w 86149"/>
                  <a:gd name="connsiteY2" fmla="*/ 0 h 43634"/>
                  <a:gd name="connsiteX3" fmla="*/ 67595 w 86149"/>
                  <a:gd name="connsiteY3" fmla="*/ 0 h 43634"/>
                  <a:gd name="connsiteX4" fmla="*/ 86150 w 86149"/>
                  <a:gd name="connsiteY4" fmla="*/ 43635 h 436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6149" h="43634">
                    <a:moveTo>
                      <a:pt x="86150" y="43635"/>
                    </a:moveTo>
                    <a:lnTo>
                      <a:pt x="0" y="43635"/>
                    </a:lnTo>
                    <a:lnTo>
                      <a:pt x="18506" y="0"/>
                    </a:lnTo>
                    <a:lnTo>
                      <a:pt x="67595" y="0"/>
                    </a:lnTo>
                    <a:lnTo>
                      <a:pt x="86150" y="43635"/>
                    </a:ln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97" name="Forma livre: Forma 796">
                <a:extLst>
                  <a:ext uri="{FF2B5EF4-FFF2-40B4-BE49-F238E27FC236}">
                    <a16:creationId xmlns:a16="http://schemas.microsoft.com/office/drawing/2014/main" id="{96318D87-75FC-9531-AA04-33A30E62283E}"/>
                  </a:ext>
                </a:extLst>
              </p:cNvPr>
              <p:cNvSpPr/>
              <p:nvPr/>
            </p:nvSpPr>
            <p:spPr>
              <a:xfrm>
                <a:off x="10073971" y="2757091"/>
                <a:ext cx="86149" cy="43634"/>
              </a:xfrm>
              <a:custGeom>
                <a:avLst/>
                <a:gdLst>
                  <a:gd name="connsiteX0" fmla="*/ 86150 w 86149"/>
                  <a:gd name="connsiteY0" fmla="*/ 43635 h 43634"/>
                  <a:gd name="connsiteX1" fmla="*/ 0 w 86149"/>
                  <a:gd name="connsiteY1" fmla="*/ 43635 h 43634"/>
                  <a:gd name="connsiteX2" fmla="*/ 18506 w 86149"/>
                  <a:gd name="connsiteY2" fmla="*/ 0 h 43634"/>
                  <a:gd name="connsiteX3" fmla="*/ 67595 w 86149"/>
                  <a:gd name="connsiteY3" fmla="*/ 0 h 43634"/>
                  <a:gd name="connsiteX4" fmla="*/ 86150 w 86149"/>
                  <a:gd name="connsiteY4" fmla="*/ 43635 h 436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6149" h="43634">
                    <a:moveTo>
                      <a:pt x="86150" y="43635"/>
                    </a:moveTo>
                    <a:lnTo>
                      <a:pt x="0" y="43635"/>
                    </a:lnTo>
                    <a:lnTo>
                      <a:pt x="18506" y="0"/>
                    </a:lnTo>
                    <a:lnTo>
                      <a:pt x="67595" y="0"/>
                    </a:lnTo>
                    <a:lnTo>
                      <a:pt x="86150" y="43635"/>
                    </a:ln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98" name="Forma livre: Forma 797">
                <a:extLst>
                  <a:ext uri="{FF2B5EF4-FFF2-40B4-BE49-F238E27FC236}">
                    <a16:creationId xmlns:a16="http://schemas.microsoft.com/office/drawing/2014/main" id="{D24794A2-59DF-A838-A4FD-41CDE4550B2D}"/>
                  </a:ext>
                </a:extLst>
              </p:cNvPr>
              <p:cNvSpPr/>
              <p:nvPr/>
            </p:nvSpPr>
            <p:spPr>
              <a:xfrm>
                <a:off x="10185493" y="2757091"/>
                <a:ext cx="86149" cy="43634"/>
              </a:xfrm>
              <a:custGeom>
                <a:avLst/>
                <a:gdLst>
                  <a:gd name="connsiteX0" fmla="*/ 86150 w 86149"/>
                  <a:gd name="connsiteY0" fmla="*/ 43635 h 43634"/>
                  <a:gd name="connsiteX1" fmla="*/ 0 w 86149"/>
                  <a:gd name="connsiteY1" fmla="*/ 43635 h 43634"/>
                  <a:gd name="connsiteX2" fmla="*/ 18555 w 86149"/>
                  <a:gd name="connsiteY2" fmla="*/ 0 h 43634"/>
                  <a:gd name="connsiteX3" fmla="*/ 67644 w 86149"/>
                  <a:gd name="connsiteY3" fmla="*/ 0 h 43634"/>
                  <a:gd name="connsiteX4" fmla="*/ 86150 w 86149"/>
                  <a:gd name="connsiteY4" fmla="*/ 43635 h 436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6149" h="43634">
                    <a:moveTo>
                      <a:pt x="86150" y="43635"/>
                    </a:moveTo>
                    <a:lnTo>
                      <a:pt x="0" y="43635"/>
                    </a:lnTo>
                    <a:lnTo>
                      <a:pt x="18555" y="0"/>
                    </a:lnTo>
                    <a:lnTo>
                      <a:pt x="67644" y="0"/>
                    </a:lnTo>
                    <a:lnTo>
                      <a:pt x="86150" y="43635"/>
                    </a:ln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799" name="Forma livre: Forma 798">
              <a:extLst>
                <a:ext uri="{FF2B5EF4-FFF2-40B4-BE49-F238E27FC236}">
                  <a16:creationId xmlns:a16="http://schemas.microsoft.com/office/drawing/2014/main" id="{4C9FE7D7-1494-388F-1A57-3829E3BD81EE}"/>
                </a:ext>
              </a:extLst>
            </p:cNvPr>
            <p:cNvSpPr/>
            <p:nvPr/>
          </p:nvSpPr>
          <p:spPr>
            <a:xfrm>
              <a:off x="10116973" y="2546757"/>
              <a:ext cx="146" cy="21038"/>
            </a:xfrm>
            <a:custGeom>
              <a:avLst/>
              <a:gdLst>
                <a:gd name="connsiteX0" fmla="*/ 0 w 146"/>
                <a:gd name="connsiteY0" fmla="*/ 21038 h 21038"/>
                <a:gd name="connsiteX1" fmla="*/ 146 w 146"/>
                <a:gd name="connsiteY1" fmla="*/ 0 h 210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46" h="21038">
                  <a:moveTo>
                    <a:pt x="0" y="21038"/>
                  </a:moveTo>
                  <a:lnTo>
                    <a:pt x="146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800" name="Gráfico 11">
              <a:extLst>
                <a:ext uri="{FF2B5EF4-FFF2-40B4-BE49-F238E27FC236}">
                  <a16:creationId xmlns:a16="http://schemas.microsoft.com/office/drawing/2014/main" id="{74CA3B26-D228-9226-F3F4-2B7C55C1A5B0}"/>
                </a:ext>
              </a:extLst>
            </p:cNvPr>
            <p:cNvGrpSpPr/>
            <p:nvPr/>
          </p:nvGrpSpPr>
          <p:grpSpPr>
            <a:xfrm>
              <a:off x="10028047" y="2596480"/>
              <a:ext cx="178045" cy="15876"/>
              <a:chOff x="10028047" y="2596480"/>
              <a:chExt cx="178045" cy="15876"/>
            </a:xfrm>
          </p:grpSpPr>
          <p:sp>
            <p:nvSpPr>
              <p:cNvPr id="801" name="Forma livre: Forma 800">
                <a:extLst>
                  <a:ext uri="{FF2B5EF4-FFF2-40B4-BE49-F238E27FC236}">
                    <a16:creationId xmlns:a16="http://schemas.microsoft.com/office/drawing/2014/main" id="{3DFF6201-A4AE-62FB-78C6-B702395B0BC3}"/>
                  </a:ext>
                </a:extLst>
              </p:cNvPr>
              <p:cNvSpPr/>
              <p:nvPr/>
            </p:nvSpPr>
            <p:spPr>
              <a:xfrm>
                <a:off x="10028047" y="2596480"/>
                <a:ext cx="19187" cy="15876"/>
              </a:xfrm>
              <a:custGeom>
                <a:avLst/>
                <a:gdLst>
                  <a:gd name="connsiteX0" fmla="*/ 19188 w 19187"/>
                  <a:gd name="connsiteY0" fmla="*/ 15876 h 15876"/>
                  <a:gd name="connsiteX1" fmla="*/ 0 w 19187"/>
                  <a:gd name="connsiteY1" fmla="*/ 0 h 158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9187" h="15876">
                    <a:moveTo>
                      <a:pt x="19188" y="15876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802" name="Forma livre: Forma 801">
                <a:extLst>
                  <a:ext uri="{FF2B5EF4-FFF2-40B4-BE49-F238E27FC236}">
                    <a16:creationId xmlns:a16="http://schemas.microsoft.com/office/drawing/2014/main" id="{6105371F-E77B-4452-8630-BFFCF0E185BD}"/>
                  </a:ext>
                </a:extLst>
              </p:cNvPr>
              <p:cNvSpPr/>
              <p:nvPr/>
            </p:nvSpPr>
            <p:spPr>
              <a:xfrm>
                <a:off x="10186905" y="2596480"/>
                <a:ext cx="19187" cy="15876"/>
              </a:xfrm>
              <a:custGeom>
                <a:avLst/>
                <a:gdLst>
                  <a:gd name="connsiteX0" fmla="*/ 0 w 19187"/>
                  <a:gd name="connsiteY0" fmla="*/ 15876 h 15876"/>
                  <a:gd name="connsiteX1" fmla="*/ 19188 w 19187"/>
                  <a:gd name="connsiteY1" fmla="*/ 0 h 158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9187" h="15876">
                    <a:moveTo>
                      <a:pt x="0" y="15876"/>
                    </a:moveTo>
                    <a:lnTo>
                      <a:pt x="19188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803" name="Gráfico 11">
            <a:extLst>
              <a:ext uri="{FF2B5EF4-FFF2-40B4-BE49-F238E27FC236}">
                <a16:creationId xmlns:a16="http://schemas.microsoft.com/office/drawing/2014/main" id="{07FA9271-4908-5A63-428D-47C52DB1DBAC}"/>
              </a:ext>
            </a:extLst>
          </p:cNvPr>
          <p:cNvGrpSpPr/>
          <p:nvPr/>
        </p:nvGrpSpPr>
        <p:grpSpPr>
          <a:xfrm>
            <a:off x="11244223" y="1437087"/>
            <a:ext cx="282998" cy="284503"/>
            <a:chOff x="11244223" y="1437087"/>
            <a:chExt cx="282998" cy="284503"/>
          </a:xfrm>
          <a:noFill/>
        </p:grpSpPr>
        <p:sp>
          <p:nvSpPr>
            <p:cNvPr id="804" name="Forma livre: Forma 803">
              <a:extLst>
                <a:ext uri="{FF2B5EF4-FFF2-40B4-BE49-F238E27FC236}">
                  <a16:creationId xmlns:a16="http://schemas.microsoft.com/office/drawing/2014/main" id="{38F09EFB-B57E-CCB6-A44B-1A5CD5B3E0BB}"/>
                </a:ext>
              </a:extLst>
            </p:cNvPr>
            <p:cNvSpPr/>
            <p:nvPr/>
          </p:nvSpPr>
          <p:spPr>
            <a:xfrm>
              <a:off x="11255035" y="1660960"/>
              <a:ext cx="94915" cy="4869"/>
            </a:xfrm>
            <a:custGeom>
              <a:avLst/>
              <a:gdLst>
                <a:gd name="connsiteX0" fmla="*/ 94916 w 94915"/>
                <a:gd name="connsiteY0" fmla="*/ 0 h 4869"/>
                <a:gd name="connsiteX1" fmla="*/ 0 w 94915"/>
                <a:gd name="connsiteY1" fmla="*/ 0 h 48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4915" h="4869">
                  <a:moveTo>
                    <a:pt x="94916" y="0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05" name="Forma livre: Forma 804">
              <a:extLst>
                <a:ext uri="{FF2B5EF4-FFF2-40B4-BE49-F238E27FC236}">
                  <a16:creationId xmlns:a16="http://schemas.microsoft.com/office/drawing/2014/main" id="{B172CA7B-FC16-2F0F-1AEC-3846104C3058}"/>
                </a:ext>
              </a:extLst>
            </p:cNvPr>
            <p:cNvSpPr/>
            <p:nvPr/>
          </p:nvSpPr>
          <p:spPr>
            <a:xfrm>
              <a:off x="11389348" y="1556548"/>
              <a:ext cx="137873" cy="137800"/>
            </a:xfrm>
            <a:custGeom>
              <a:avLst/>
              <a:gdLst>
                <a:gd name="connsiteX0" fmla="*/ 23619 w 137873"/>
                <a:gd name="connsiteY0" fmla="*/ 0 h 137800"/>
                <a:gd name="connsiteX1" fmla="*/ 130028 w 137873"/>
                <a:gd name="connsiteY1" fmla="*/ 93649 h 137800"/>
                <a:gd name="connsiteX2" fmla="*/ 131051 w 137873"/>
                <a:gd name="connsiteY2" fmla="*/ 126960 h 137800"/>
                <a:gd name="connsiteX3" fmla="*/ 127009 w 137873"/>
                <a:gd name="connsiteY3" fmla="*/ 131002 h 137800"/>
                <a:gd name="connsiteX4" fmla="*/ 93698 w 137873"/>
                <a:gd name="connsiteY4" fmla="*/ 129931 h 137800"/>
                <a:gd name="connsiteX5" fmla="*/ 0 w 137873"/>
                <a:gd name="connsiteY5" fmla="*/ 23571 h 137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37873" h="137800">
                  <a:moveTo>
                    <a:pt x="23619" y="0"/>
                  </a:moveTo>
                  <a:lnTo>
                    <a:pt x="130028" y="93649"/>
                  </a:lnTo>
                  <a:cubicBezTo>
                    <a:pt x="140060" y="102513"/>
                    <a:pt x="140547" y="117512"/>
                    <a:pt x="131051" y="126960"/>
                  </a:cubicBezTo>
                  <a:lnTo>
                    <a:pt x="127009" y="131002"/>
                  </a:lnTo>
                  <a:cubicBezTo>
                    <a:pt x="117561" y="140450"/>
                    <a:pt x="102561" y="140011"/>
                    <a:pt x="93698" y="129931"/>
                  </a:cubicBezTo>
                  <a:lnTo>
                    <a:pt x="0" y="23571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06" name="Forma livre: Forma 805">
              <a:extLst>
                <a:ext uri="{FF2B5EF4-FFF2-40B4-BE49-F238E27FC236}">
                  <a16:creationId xmlns:a16="http://schemas.microsoft.com/office/drawing/2014/main" id="{B72423E8-CB7D-6AC0-F94C-CF1330CA2CCC}"/>
                </a:ext>
              </a:extLst>
            </p:cNvPr>
            <p:cNvSpPr/>
            <p:nvPr/>
          </p:nvSpPr>
          <p:spPr>
            <a:xfrm rot="-2700000">
              <a:off x="11314539" y="1496031"/>
              <a:ext cx="90727" cy="65988"/>
            </a:xfrm>
            <a:custGeom>
              <a:avLst/>
              <a:gdLst>
                <a:gd name="connsiteX0" fmla="*/ 0 w 90727"/>
                <a:gd name="connsiteY0" fmla="*/ 0 h 65988"/>
                <a:gd name="connsiteX1" fmla="*/ 90727 w 90727"/>
                <a:gd name="connsiteY1" fmla="*/ 0 h 65988"/>
                <a:gd name="connsiteX2" fmla="*/ 90727 w 90727"/>
                <a:gd name="connsiteY2" fmla="*/ 65988 h 65988"/>
                <a:gd name="connsiteX3" fmla="*/ 0 w 90727"/>
                <a:gd name="connsiteY3" fmla="*/ 65988 h 659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0727" h="65988">
                  <a:moveTo>
                    <a:pt x="0" y="0"/>
                  </a:moveTo>
                  <a:lnTo>
                    <a:pt x="90727" y="0"/>
                  </a:lnTo>
                  <a:lnTo>
                    <a:pt x="90727" y="65988"/>
                  </a:lnTo>
                  <a:lnTo>
                    <a:pt x="0" y="65988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07" name="Forma livre: Forma 806">
              <a:extLst>
                <a:ext uri="{FF2B5EF4-FFF2-40B4-BE49-F238E27FC236}">
                  <a16:creationId xmlns:a16="http://schemas.microsoft.com/office/drawing/2014/main" id="{D3D6A86A-7815-1AA2-6DA3-787F3FC65B1C}"/>
                </a:ext>
              </a:extLst>
            </p:cNvPr>
            <p:cNvSpPr/>
            <p:nvPr/>
          </p:nvSpPr>
          <p:spPr>
            <a:xfrm>
              <a:off x="11369138" y="1437087"/>
              <a:ext cx="82545" cy="82594"/>
            </a:xfrm>
            <a:custGeom>
              <a:avLst/>
              <a:gdLst>
                <a:gd name="connsiteX0" fmla="*/ 0 w 82545"/>
                <a:gd name="connsiteY0" fmla="*/ 36914 h 82594"/>
                <a:gd name="connsiteX1" fmla="*/ 2727 w 82545"/>
                <a:gd name="connsiteY1" fmla="*/ 17824 h 82594"/>
                <a:gd name="connsiteX2" fmla="*/ 20551 w 82545"/>
                <a:gd name="connsiteY2" fmla="*/ 0 h 82594"/>
                <a:gd name="connsiteX3" fmla="*/ 82546 w 82545"/>
                <a:gd name="connsiteY3" fmla="*/ 61995 h 82594"/>
                <a:gd name="connsiteX4" fmla="*/ 64722 w 82545"/>
                <a:gd name="connsiteY4" fmla="*/ 79867 h 82594"/>
                <a:gd name="connsiteX5" fmla="*/ 45632 w 82545"/>
                <a:gd name="connsiteY5" fmla="*/ 82595 h 825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82545" h="82594">
                  <a:moveTo>
                    <a:pt x="0" y="36914"/>
                  </a:moveTo>
                  <a:lnTo>
                    <a:pt x="2727" y="17824"/>
                  </a:lnTo>
                  <a:lnTo>
                    <a:pt x="20551" y="0"/>
                  </a:lnTo>
                  <a:lnTo>
                    <a:pt x="82546" y="61995"/>
                  </a:lnTo>
                  <a:lnTo>
                    <a:pt x="64722" y="79867"/>
                  </a:lnTo>
                  <a:lnTo>
                    <a:pt x="45632" y="82595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08" name="Forma livre: Forma 807">
              <a:extLst>
                <a:ext uri="{FF2B5EF4-FFF2-40B4-BE49-F238E27FC236}">
                  <a16:creationId xmlns:a16="http://schemas.microsoft.com/office/drawing/2014/main" id="{9D050029-506E-8D49-986B-D2D9FFD7AEF0}"/>
                </a:ext>
              </a:extLst>
            </p:cNvPr>
            <p:cNvSpPr/>
            <p:nvPr/>
          </p:nvSpPr>
          <p:spPr>
            <a:xfrm>
              <a:off x="11244223" y="1690423"/>
              <a:ext cx="116538" cy="31167"/>
            </a:xfrm>
            <a:custGeom>
              <a:avLst/>
              <a:gdLst>
                <a:gd name="connsiteX0" fmla="*/ 0 w 116538"/>
                <a:gd name="connsiteY0" fmla="*/ 31168 h 31167"/>
                <a:gd name="connsiteX1" fmla="*/ 0 w 116538"/>
                <a:gd name="connsiteY1" fmla="*/ 0 h 31167"/>
                <a:gd name="connsiteX2" fmla="*/ 116538 w 116538"/>
                <a:gd name="connsiteY2" fmla="*/ 0 h 31167"/>
                <a:gd name="connsiteX3" fmla="*/ 116538 w 116538"/>
                <a:gd name="connsiteY3" fmla="*/ 31168 h 311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6538" h="31167">
                  <a:moveTo>
                    <a:pt x="0" y="31168"/>
                  </a:moveTo>
                  <a:lnTo>
                    <a:pt x="0" y="0"/>
                  </a:lnTo>
                  <a:lnTo>
                    <a:pt x="116538" y="0"/>
                  </a:lnTo>
                  <a:lnTo>
                    <a:pt x="116538" y="31168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09" name="Forma livre: Forma 808">
              <a:extLst>
                <a:ext uri="{FF2B5EF4-FFF2-40B4-BE49-F238E27FC236}">
                  <a16:creationId xmlns:a16="http://schemas.microsoft.com/office/drawing/2014/main" id="{27758E68-A75D-2229-BCA9-326ACDB3BF8E}"/>
                </a:ext>
              </a:extLst>
            </p:cNvPr>
            <p:cNvSpPr/>
            <p:nvPr/>
          </p:nvSpPr>
          <p:spPr>
            <a:xfrm>
              <a:off x="11267891" y="1538334"/>
              <a:ext cx="82594" cy="82545"/>
            </a:xfrm>
            <a:custGeom>
              <a:avLst/>
              <a:gdLst>
                <a:gd name="connsiteX0" fmla="*/ 36914 w 82594"/>
                <a:gd name="connsiteY0" fmla="*/ 0 h 82545"/>
                <a:gd name="connsiteX1" fmla="*/ 17824 w 82594"/>
                <a:gd name="connsiteY1" fmla="*/ 2727 h 82545"/>
                <a:gd name="connsiteX2" fmla="*/ 0 w 82594"/>
                <a:gd name="connsiteY2" fmla="*/ 20551 h 82545"/>
                <a:gd name="connsiteX3" fmla="*/ 61995 w 82594"/>
                <a:gd name="connsiteY3" fmla="*/ 82546 h 82545"/>
                <a:gd name="connsiteX4" fmla="*/ 79867 w 82594"/>
                <a:gd name="connsiteY4" fmla="*/ 64722 h 82545"/>
                <a:gd name="connsiteX5" fmla="*/ 82595 w 82594"/>
                <a:gd name="connsiteY5" fmla="*/ 45632 h 825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82594" h="82545">
                  <a:moveTo>
                    <a:pt x="36914" y="0"/>
                  </a:moveTo>
                  <a:lnTo>
                    <a:pt x="17824" y="2727"/>
                  </a:lnTo>
                  <a:lnTo>
                    <a:pt x="0" y="20551"/>
                  </a:lnTo>
                  <a:lnTo>
                    <a:pt x="61995" y="82546"/>
                  </a:lnTo>
                  <a:lnTo>
                    <a:pt x="79867" y="64722"/>
                  </a:lnTo>
                  <a:lnTo>
                    <a:pt x="82595" y="45632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810" name="Gráfico 11">
            <a:extLst>
              <a:ext uri="{FF2B5EF4-FFF2-40B4-BE49-F238E27FC236}">
                <a16:creationId xmlns:a16="http://schemas.microsoft.com/office/drawing/2014/main" id="{D0E6BF56-E165-0A58-2FCC-1FB8D3B2193D}"/>
              </a:ext>
            </a:extLst>
          </p:cNvPr>
          <p:cNvGrpSpPr/>
          <p:nvPr/>
        </p:nvGrpSpPr>
        <p:grpSpPr>
          <a:xfrm>
            <a:off x="10607768" y="1436503"/>
            <a:ext cx="287181" cy="284016"/>
            <a:chOff x="10607768" y="1436503"/>
            <a:chExt cx="287181" cy="284016"/>
          </a:xfrm>
          <a:noFill/>
        </p:grpSpPr>
        <p:sp>
          <p:nvSpPr>
            <p:cNvPr id="811" name="Forma livre: Forma 810">
              <a:extLst>
                <a:ext uri="{FF2B5EF4-FFF2-40B4-BE49-F238E27FC236}">
                  <a16:creationId xmlns:a16="http://schemas.microsoft.com/office/drawing/2014/main" id="{4FB26D3A-D67D-2B3B-9249-C39D0101704E}"/>
                </a:ext>
              </a:extLst>
            </p:cNvPr>
            <p:cNvSpPr/>
            <p:nvPr/>
          </p:nvSpPr>
          <p:spPr>
            <a:xfrm>
              <a:off x="10607768" y="1495917"/>
              <a:ext cx="287181" cy="224602"/>
            </a:xfrm>
            <a:custGeom>
              <a:avLst/>
              <a:gdLst>
                <a:gd name="connsiteX0" fmla="*/ 143615 w 287181"/>
                <a:gd name="connsiteY0" fmla="*/ 224603 h 224602"/>
                <a:gd name="connsiteX1" fmla="*/ 287182 w 287181"/>
                <a:gd name="connsiteY1" fmla="*/ 61995 h 224602"/>
                <a:gd name="connsiteX2" fmla="*/ 249780 w 287181"/>
                <a:gd name="connsiteY2" fmla="*/ 0 h 224602"/>
                <a:gd name="connsiteX3" fmla="*/ 37450 w 287181"/>
                <a:gd name="connsiteY3" fmla="*/ 0 h 224602"/>
                <a:gd name="connsiteX4" fmla="*/ 0 w 287181"/>
                <a:gd name="connsiteY4" fmla="*/ 61995 h 224602"/>
                <a:gd name="connsiteX5" fmla="*/ 143615 w 287181"/>
                <a:gd name="connsiteY5" fmla="*/ 224603 h 2246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87181" h="224602">
                  <a:moveTo>
                    <a:pt x="143615" y="224603"/>
                  </a:moveTo>
                  <a:lnTo>
                    <a:pt x="287182" y="61995"/>
                  </a:lnTo>
                  <a:lnTo>
                    <a:pt x="249780" y="0"/>
                  </a:lnTo>
                  <a:lnTo>
                    <a:pt x="37450" y="0"/>
                  </a:lnTo>
                  <a:lnTo>
                    <a:pt x="0" y="61995"/>
                  </a:lnTo>
                  <a:lnTo>
                    <a:pt x="143615" y="224603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12" name="Forma livre: Forma 811">
              <a:extLst>
                <a:ext uri="{FF2B5EF4-FFF2-40B4-BE49-F238E27FC236}">
                  <a16:creationId xmlns:a16="http://schemas.microsoft.com/office/drawing/2014/main" id="{40EA05F7-8BCE-DA1D-51DB-5DE8BA5647DC}"/>
                </a:ext>
              </a:extLst>
            </p:cNvPr>
            <p:cNvSpPr/>
            <p:nvPr/>
          </p:nvSpPr>
          <p:spPr>
            <a:xfrm>
              <a:off x="10610690" y="1557911"/>
              <a:ext cx="281386" cy="4869"/>
            </a:xfrm>
            <a:custGeom>
              <a:avLst/>
              <a:gdLst>
                <a:gd name="connsiteX0" fmla="*/ 0 w 281386"/>
                <a:gd name="connsiteY0" fmla="*/ 0 h 4869"/>
                <a:gd name="connsiteX1" fmla="*/ 281387 w 281386"/>
                <a:gd name="connsiteY1" fmla="*/ 0 h 48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81386" h="4869">
                  <a:moveTo>
                    <a:pt x="0" y="0"/>
                  </a:moveTo>
                  <a:lnTo>
                    <a:pt x="281387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813" name="Gráfico 11">
              <a:extLst>
                <a:ext uri="{FF2B5EF4-FFF2-40B4-BE49-F238E27FC236}">
                  <a16:creationId xmlns:a16="http://schemas.microsoft.com/office/drawing/2014/main" id="{E60E542F-E2D5-AA77-EF24-594F26A4B6E6}"/>
                </a:ext>
              </a:extLst>
            </p:cNvPr>
            <p:cNvGrpSpPr/>
            <p:nvPr/>
          </p:nvGrpSpPr>
          <p:grpSpPr>
            <a:xfrm>
              <a:off x="10645412" y="1496988"/>
              <a:ext cx="211940" cy="221339"/>
              <a:chOff x="10645412" y="1496988"/>
              <a:chExt cx="211940" cy="221339"/>
            </a:xfrm>
          </p:grpSpPr>
          <p:grpSp>
            <p:nvGrpSpPr>
              <p:cNvPr id="814" name="Gráfico 11">
                <a:extLst>
                  <a:ext uri="{FF2B5EF4-FFF2-40B4-BE49-F238E27FC236}">
                    <a16:creationId xmlns:a16="http://schemas.microsoft.com/office/drawing/2014/main" id="{70B349C1-A994-2588-9AB6-F5846B146222}"/>
                  </a:ext>
                </a:extLst>
              </p:cNvPr>
              <p:cNvGrpSpPr/>
              <p:nvPr/>
            </p:nvGrpSpPr>
            <p:grpSpPr>
              <a:xfrm>
                <a:off x="10645412" y="1496988"/>
                <a:ext cx="105775" cy="221339"/>
                <a:chOff x="10645412" y="1496988"/>
                <a:chExt cx="105775" cy="221339"/>
              </a:xfrm>
            </p:grpSpPr>
            <p:sp>
              <p:nvSpPr>
                <p:cNvPr id="815" name="Forma livre: Forma 814">
                  <a:extLst>
                    <a:ext uri="{FF2B5EF4-FFF2-40B4-BE49-F238E27FC236}">
                      <a16:creationId xmlns:a16="http://schemas.microsoft.com/office/drawing/2014/main" id="{6A20D688-DCA5-CBC8-92B3-38F864292DB1}"/>
                    </a:ext>
                  </a:extLst>
                </p:cNvPr>
                <p:cNvSpPr/>
                <p:nvPr/>
              </p:nvSpPr>
              <p:spPr>
                <a:xfrm>
                  <a:off x="10688463" y="1557911"/>
                  <a:ext cx="62725" cy="160416"/>
                </a:xfrm>
                <a:custGeom>
                  <a:avLst/>
                  <a:gdLst>
                    <a:gd name="connsiteX0" fmla="*/ 0 w 62725"/>
                    <a:gd name="connsiteY0" fmla="*/ 0 h 160416"/>
                    <a:gd name="connsiteX1" fmla="*/ 62725 w 62725"/>
                    <a:gd name="connsiteY1" fmla="*/ 160417 h 16041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62725" h="160416">
                      <a:moveTo>
                        <a:pt x="0" y="0"/>
                      </a:moveTo>
                      <a:lnTo>
                        <a:pt x="62725" y="160417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816" name="Forma livre: Forma 815">
                  <a:extLst>
                    <a:ext uri="{FF2B5EF4-FFF2-40B4-BE49-F238E27FC236}">
                      <a16:creationId xmlns:a16="http://schemas.microsoft.com/office/drawing/2014/main" id="{9D43F95E-E581-FBB7-06D4-5BD89A35336F}"/>
                    </a:ext>
                  </a:extLst>
                </p:cNvPr>
                <p:cNvSpPr/>
                <p:nvPr/>
              </p:nvSpPr>
              <p:spPr>
                <a:xfrm>
                  <a:off x="10645412" y="1496988"/>
                  <a:ext cx="42758" cy="60144"/>
                </a:xfrm>
                <a:custGeom>
                  <a:avLst/>
                  <a:gdLst>
                    <a:gd name="connsiteX0" fmla="*/ 42758 w 42758"/>
                    <a:gd name="connsiteY0" fmla="*/ 60144 h 60144"/>
                    <a:gd name="connsiteX1" fmla="*/ 0 w 42758"/>
                    <a:gd name="connsiteY1" fmla="*/ 0 h 6014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2758" h="60144">
                      <a:moveTo>
                        <a:pt x="42758" y="60144"/>
                      </a:moveTo>
                      <a:lnTo>
                        <a:pt x="0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817" name="Forma livre: Forma 816">
                  <a:extLst>
                    <a:ext uri="{FF2B5EF4-FFF2-40B4-BE49-F238E27FC236}">
                      <a16:creationId xmlns:a16="http://schemas.microsoft.com/office/drawing/2014/main" id="{BE7D6B94-4366-9F76-C9FC-357E06223C45}"/>
                    </a:ext>
                  </a:extLst>
                </p:cNvPr>
                <p:cNvSpPr/>
                <p:nvPr/>
              </p:nvSpPr>
              <p:spPr>
                <a:xfrm>
                  <a:off x="10689388" y="1497085"/>
                  <a:ext cx="58439" cy="59657"/>
                </a:xfrm>
                <a:custGeom>
                  <a:avLst/>
                  <a:gdLst>
                    <a:gd name="connsiteX0" fmla="*/ 58440 w 58439"/>
                    <a:gd name="connsiteY0" fmla="*/ 0 h 59657"/>
                    <a:gd name="connsiteX1" fmla="*/ 0 w 58439"/>
                    <a:gd name="connsiteY1" fmla="*/ 59657 h 5965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58439" h="59657">
                      <a:moveTo>
                        <a:pt x="58440" y="0"/>
                      </a:moveTo>
                      <a:lnTo>
                        <a:pt x="0" y="59657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818" name="Gráfico 11">
                <a:extLst>
                  <a:ext uri="{FF2B5EF4-FFF2-40B4-BE49-F238E27FC236}">
                    <a16:creationId xmlns:a16="http://schemas.microsoft.com/office/drawing/2014/main" id="{0F28B4C7-E308-98B0-9E1A-0323EFA6CA43}"/>
                  </a:ext>
                </a:extLst>
              </p:cNvPr>
              <p:cNvGrpSpPr/>
              <p:nvPr/>
            </p:nvGrpSpPr>
            <p:grpSpPr>
              <a:xfrm>
                <a:off x="10751578" y="1496988"/>
                <a:ext cx="105775" cy="221339"/>
                <a:chOff x="10751578" y="1496988"/>
                <a:chExt cx="105775" cy="221339"/>
              </a:xfrm>
            </p:grpSpPr>
            <p:sp>
              <p:nvSpPr>
                <p:cNvPr id="819" name="Forma livre: Forma 818">
                  <a:extLst>
                    <a:ext uri="{FF2B5EF4-FFF2-40B4-BE49-F238E27FC236}">
                      <a16:creationId xmlns:a16="http://schemas.microsoft.com/office/drawing/2014/main" id="{A1CC0366-CC0B-9554-CF64-4920CDB714B2}"/>
                    </a:ext>
                  </a:extLst>
                </p:cNvPr>
                <p:cNvSpPr/>
                <p:nvPr/>
              </p:nvSpPr>
              <p:spPr>
                <a:xfrm>
                  <a:off x="10751578" y="1557911"/>
                  <a:ext cx="62725" cy="160416"/>
                </a:xfrm>
                <a:custGeom>
                  <a:avLst/>
                  <a:gdLst>
                    <a:gd name="connsiteX0" fmla="*/ 62725 w 62725"/>
                    <a:gd name="connsiteY0" fmla="*/ 0 h 160416"/>
                    <a:gd name="connsiteX1" fmla="*/ 0 w 62725"/>
                    <a:gd name="connsiteY1" fmla="*/ 160417 h 16041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62725" h="160416">
                      <a:moveTo>
                        <a:pt x="62725" y="0"/>
                      </a:moveTo>
                      <a:lnTo>
                        <a:pt x="0" y="160417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820" name="Forma livre: Forma 819">
                  <a:extLst>
                    <a:ext uri="{FF2B5EF4-FFF2-40B4-BE49-F238E27FC236}">
                      <a16:creationId xmlns:a16="http://schemas.microsoft.com/office/drawing/2014/main" id="{C5E36AC1-7C65-F104-4EA2-B4D7B4D056FD}"/>
                    </a:ext>
                  </a:extLst>
                </p:cNvPr>
                <p:cNvSpPr/>
                <p:nvPr/>
              </p:nvSpPr>
              <p:spPr>
                <a:xfrm>
                  <a:off x="10814595" y="1496988"/>
                  <a:ext cx="42758" cy="60144"/>
                </a:xfrm>
                <a:custGeom>
                  <a:avLst/>
                  <a:gdLst>
                    <a:gd name="connsiteX0" fmla="*/ 0 w 42758"/>
                    <a:gd name="connsiteY0" fmla="*/ 60144 h 60144"/>
                    <a:gd name="connsiteX1" fmla="*/ 42758 w 42758"/>
                    <a:gd name="connsiteY1" fmla="*/ 0 h 6014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2758" h="60144">
                      <a:moveTo>
                        <a:pt x="0" y="60144"/>
                      </a:moveTo>
                      <a:lnTo>
                        <a:pt x="42758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821" name="Forma livre: Forma 820">
                  <a:extLst>
                    <a:ext uri="{FF2B5EF4-FFF2-40B4-BE49-F238E27FC236}">
                      <a16:creationId xmlns:a16="http://schemas.microsoft.com/office/drawing/2014/main" id="{9C8530C0-40D9-A2C7-AA6C-611466029A17}"/>
                    </a:ext>
                  </a:extLst>
                </p:cNvPr>
                <p:cNvSpPr/>
                <p:nvPr/>
              </p:nvSpPr>
              <p:spPr>
                <a:xfrm>
                  <a:off x="10754938" y="1497085"/>
                  <a:ext cx="58439" cy="59657"/>
                </a:xfrm>
                <a:custGeom>
                  <a:avLst/>
                  <a:gdLst>
                    <a:gd name="connsiteX0" fmla="*/ 0 w 58439"/>
                    <a:gd name="connsiteY0" fmla="*/ 0 h 59657"/>
                    <a:gd name="connsiteX1" fmla="*/ 58440 w 58439"/>
                    <a:gd name="connsiteY1" fmla="*/ 59657 h 5965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58439" h="59657">
                      <a:moveTo>
                        <a:pt x="0" y="0"/>
                      </a:moveTo>
                      <a:lnTo>
                        <a:pt x="58440" y="59657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grpSp>
          <p:nvGrpSpPr>
            <p:cNvPr id="822" name="Gráfico 11">
              <a:extLst>
                <a:ext uri="{FF2B5EF4-FFF2-40B4-BE49-F238E27FC236}">
                  <a16:creationId xmlns:a16="http://schemas.microsoft.com/office/drawing/2014/main" id="{E7381512-E3FA-62E0-F11D-2EC175082ECB}"/>
                </a:ext>
              </a:extLst>
            </p:cNvPr>
            <p:cNvGrpSpPr/>
            <p:nvPr/>
          </p:nvGrpSpPr>
          <p:grpSpPr>
            <a:xfrm>
              <a:off x="10665574" y="1436503"/>
              <a:ext cx="171617" cy="22547"/>
              <a:chOff x="10665574" y="1436503"/>
              <a:chExt cx="171617" cy="22547"/>
            </a:xfrm>
          </p:grpSpPr>
          <p:sp>
            <p:nvSpPr>
              <p:cNvPr id="823" name="Forma livre: Forma 822">
                <a:extLst>
                  <a:ext uri="{FF2B5EF4-FFF2-40B4-BE49-F238E27FC236}">
                    <a16:creationId xmlns:a16="http://schemas.microsoft.com/office/drawing/2014/main" id="{ECA89F4C-A066-3CA2-AD70-6913D03AFBCE}"/>
                  </a:ext>
                </a:extLst>
              </p:cNvPr>
              <p:cNvSpPr/>
              <p:nvPr/>
            </p:nvSpPr>
            <p:spPr>
              <a:xfrm>
                <a:off x="10751432" y="1436503"/>
                <a:ext cx="4869" cy="22547"/>
              </a:xfrm>
              <a:custGeom>
                <a:avLst/>
                <a:gdLst>
                  <a:gd name="connsiteX0" fmla="*/ 0 w 4869"/>
                  <a:gd name="connsiteY0" fmla="*/ 22548 h 22547"/>
                  <a:gd name="connsiteX1" fmla="*/ 0 w 4869"/>
                  <a:gd name="connsiteY1" fmla="*/ 0 h 225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869" h="22547">
                    <a:moveTo>
                      <a:pt x="0" y="22548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824" name="Forma livre: Forma 823">
                <a:extLst>
                  <a:ext uri="{FF2B5EF4-FFF2-40B4-BE49-F238E27FC236}">
                    <a16:creationId xmlns:a16="http://schemas.microsoft.com/office/drawing/2014/main" id="{FBF40A1F-FD5F-5076-B9FD-3EED9CBB37E4}"/>
                  </a:ext>
                </a:extLst>
              </p:cNvPr>
              <p:cNvSpPr/>
              <p:nvPr/>
            </p:nvSpPr>
            <p:spPr>
              <a:xfrm>
                <a:off x="10821900" y="1439376"/>
                <a:ext cx="15291" cy="19674"/>
              </a:xfrm>
              <a:custGeom>
                <a:avLst/>
                <a:gdLst>
                  <a:gd name="connsiteX0" fmla="*/ 0 w 15291"/>
                  <a:gd name="connsiteY0" fmla="*/ 19675 h 19674"/>
                  <a:gd name="connsiteX1" fmla="*/ 15292 w 15291"/>
                  <a:gd name="connsiteY1" fmla="*/ 0 h 196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5291" h="19674">
                    <a:moveTo>
                      <a:pt x="0" y="19675"/>
                    </a:moveTo>
                    <a:lnTo>
                      <a:pt x="15292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825" name="Forma livre: Forma 824">
                <a:extLst>
                  <a:ext uri="{FF2B5EF4-FFF2-40B4-BE49-F238E27FC236}">
                    <a16:creationId xmlns:a16="http://schemas.microsoft.com/office/drawing/2014/main" id="{50DFE6F9-44C4-8F19-8808-56F7A4DC146E}"/>
                  </a:ext>
                </a:extLst>
              </p:cNvPr>
              <p:cNvSpPr/>
              <p:nvPr/>
            </p:nvSpPr>
            <p:spPr>
              <a:xfrm>
                <a:off x="10665574" y="1439376"/>
                <a:ext cx="15291" cy="19674"/>
              </a:xfrm>
              <a:custGeom>
                <a:avLst/>
                <a:gdLst>
                  <a:gd name="connsiteX0" fmla="*/ 15292 w 15291"/>
                  <a:gd name="connsiteY0" fmla="*/ 19675 h 19674"/>
                  <a:gd name="connsiteX1" fmla="*/ 0 w 15291"/>
                  <a:gd name="connsiteY1" fmla="*/ 0 h 196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5291" h="19674">
                    <a:moveTo>
                      <a:pt x="15292" y="19675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826" name="Gráfico 11">
            <a:extLst>
              <a:ext uri="{FF2B5EF4-FFF2-40B4-BE49-F238E27FC236}">
                <a16:creationId xmlns:a16="http://schemas.microsoft.com/office/drawing/2014/main" id="{FA7A17A6-B5FE-BB38-0740-256DA3B06A94}"/>
              </a:ext>
            </a:extLst>
          </p:cNvPr>
          <p:cNvGrpSpPr/>
          <p:nvPr/>
        </p:nvGrpSpPr>
        <p:grpSpPr>
          <a:xfrm>
            <a:off x="9973552" y="1443418"/>
            <a:ext cx="286986" cy="270185"/>
            <a:chOff x="9973552" y="1443418"/>
            <a:chExt cx="286986" cy="270185"/>
          </a:xfrm>
        </p:grpSpPr>
        <p:sp>
          <p:nvSpPr>
            <p:cNvPr id="827" name="Forma livre: Forma 826">
              <a:extLst>
                <a:ext uri="{FF2B5EF4-FFF2-40B4-BE49-F238E27FC236}">
                  <a16:creationId xmlns:a16="http://schemas.microsoft.com/office/drawing/2014/main" id="{BA6028F8-254E-CDEC-B874-C5AFAC10B86D}"/>
                </a:ext>
              </a:extLst>
            </p:cNvPr>
            <p:cNvSpPr/>
            <p:nvPr/>
          </p:nvSpPr>
          <p:spPr>
            <a:xfrm>
              <a:off x="9985348" y="1481550"/>
              <a:ext cx="263445" cy="20631"/>
            </a:xfrm>
            <a:custGeom>
              <a:avLst/>
              <a:gdLst>
                <a:gd name="connsiteX0" fmla="*/ 263406 w 263445"/>
                <a:gd name="connsiteY0" fmla="*/ 7061 h 20631"/>
                <a:gd name="connsiteX1" fmla="*/ 223327 w 263445"/>
                <a:gd name="connsiteY1" fmla="*/ 17191 h 20631"/>
                <a:gd name="connsiteX2" fmla="*/ 218311 w 263445"/>
                <a:gd name="connsiteY2" fmla="*/ 15486 h 20631"/>
                <a:gd name="connsiteX3" fmla="*/ 131869 w 263445"/>
                <a:gd name="connsiteY3" fmla="*/ 0 h 20631"/>
                <a:gd name="connsiteX4" fmla="*/ 131576 w 263445"/>
                <a:gd name="connsiteY4" fmla="*/ 0 h 20631"/>
                <a:gd name="connsiteX5" fmla="*/ 45135 w 263445"/>
                <a:gd name="connsiteY5" fmla="*/ 15486 h 20631"/>
                <a:gd name="connsiteX6" fmla="*/ 40119 w 263445"/>
                <a:gd name="connsiteY6" fmla="*/ 17191 h 20631"/>
                <a:gd name="connsiteX7" fmla="*/ 39 w 263445"/>
                <a:gd name="connsiteY7" fmla="*/ 7061 h 206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63445" h="20631">
                  <a:moveTo>
                    <a:pt x="263406" y="7061"/>
                  </a:moveTo>
                  <a:cubicBezTo>
                    <a:pt x="264039" y="5503"/>
                    <a:pt x="257222" y="29220"/>
                    <a:pt x="223327" y="17191"/>
                  </a:cubicBezTo>
                  <a:lnTo>
                    <a:pt x="218311" y="15486"/>
                  </a:lnTo>
                  <a:cubicBezTo>
                    <a:pt x="195324" y="6039"/>
                    <a:pt x="169221" y="0"/>
                    <a:pt x="131869" y="0"/>
                  </a:cubicBezTo>
                  <a:lnTo>
                    <a:pt x="131576" y="0"/>
                  </a:lnTo>
                  <a:cubicBezTo>
                    <a:pt x="94224" y="0"/>
                    <a:pt x="68121" y="6039"/>
                    <a:pt x="45135" y="15486"/>
                  </a:cubicBezTo>
                  <a:lnTo>
                    <a:pt x="40119" y="17191"/>
                  </a:lnTo>
                  <a:cubicBezTo>
                    <a:pt x="6272" y="29268"/>
                    <a:pt x="-594" y="5552"/>
                    <a:pt x="39" y="7061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28" name="Forma livre: Forma 827">
              <a:extLst>
                <a:ext uri="{FF2B5EF4-FFF2-40B4-BE49-F238E27FC236}">
                  <a16:creationId xmlns:a16="http://schemas.microsoft.com/office/drawing/2014/main" id="{15821CBC-CB2F-7E58-A90D-7D22D13BCC87}"/>
                </a:ext>
              </a:extLst>
            </p:cNvPr>
            <p:cNvSpPr/>
            <p:nvPr/>
          </p:nvSpPr>
          <p:spPr>
            <a:xfrm>
              <a:off x="10117070" y="1481550"/>
              <a:ext cx="4869" cy="164507"/>
            </a:xfrm>
            <a:custGeom>
              <a:avLst/>
              <a:gdLst>
                <a:gd name="connsiteX0" fmla="*/ 0 w 4869"/>
                <a:gd name="connsiteY0" fmla="*/ 164507 h 164507"/>
                <a:gd name="connsiteX1" fmla="*/ 0 w 4869"/>
                <a:gd name="connsiteY1" fmla="*/ 0 h 1645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869" h="164507">
                  <a:moveTo>
                    <a:pt x="0" y="164507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829" name="Gráfico 11">
              <a:extLst>
                <a:ext uri="{FF2B5EF4-FFF2-40B4-BE49-F238E27FC236}">
                  <a16:creationId xmlns:a16="http://schemas.microsoft.com/office/drawing/2014/main" id="{82B8ED60-C2D8-0935-7B4B-6237FEC70C03}"/>
                </a:ext>
              </a:extLst>
            </p:cNvPr>
            <p:cNvGrpSpPr/>
            <p:nvPr/>
          </p:nvGrpSpPr>
          <p:grpSpPr>
            <a:xfrm>
              <a:off x="10175510" y="1503124"/>
              <a:ext cx="85029" cy="117268"/>
              <a:chOff x="10175510" y="1503124"/>
              <a:chExt cx="85029" cy="117268"/>
            </a:xfrm>
            <a:noFill/>
          </p:grpSpPr>
          <p:sp>
            <p:nvSpPr>
              <p:cNvPr id="830" name="Forma livre: Forma 829">
                <a:extLst>
                  <a:ext uri="{FF2B5EF4-FFF2-40B4-BE49-F238E27FC236}">
                    <a16:creationId xmlns:a16="http://schemas.microsoft.com/office/drawing/2014/main" id="{1BE6F3E2-8F09-3EFB-58D7-0BC3E3DDF15C}"/>
                  </a:ext>
                </a:extLst>
              </p:cNvPr>
              <p:cNvSpPr/>
              <p:nvPr/>
            </p:nvSpPr>
            <p:spPr>
              <a:xfrm>
                <a:off x="10175510" y="1503124"/>
                <a:ext cx="85029" cy="117268"/>
              </a:xfrm>
              <a:custGeom>
                <a:avLst/>
                <a:gdLst>
                  <a:gd name="connsiteX0" fmla="*/ 85030 w 85029"/>
                  <a:gd name="connsiteY0" fmla="*/ 86734 h 117268"/>
                  <a:gd name="connsiteX1" fmla="*/ 42515 w 85029"/>
                  <a:gd name="connsiteY1" fmla="*/ 117269 h 117268"/>
                  <a:gd name="connsiteX2" fmla="*/ 0 w 85029"/>
                  <a:gd name="connsiteY2" fmla="*/ 86734 h 117268"/>
                  <a:gd name="connsiteX3" fmla="*/ 42515 w 85029"/>
                  <a:gd name="connsiteY3" fmla="*/ 0 h 117268"/>
                  <a:gd name="connsiteX4" fmla="*/ 85030 w 85029"/>
                  <a:gd name="connsiteY4" fmla="*/ 86734 h 1172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5029" h="117268">
                    <a:moveTo>
                      <a:pt x="85030" y="86734"/>
                    </a:moveTo>
                    <a:cubicBezTo>
                      <a:pt x="85030" y="103584"/>
                      <a:pt x="65988" y="117269"/>
                      <a:pt x="42515" y="117269"/>
                    </a:cubicBezTo>
                    <a:cubicBezTo>
                      <a:pt x="19042" y="117269"/>
                      <a:pt x="0" y="103584"/>
                      <a:pt x="0" y="86734"/>
                    </a:cubicBezTo>
                    <a:cubicBezTo>
                      <a:pt x="0" y="69884"/>
                      <a:pt x="42515" y="0"/>
                      <a:pt x="42515" y="0"/>
                    </a:cubicBezTo>
                    <a:cubicBezTo>
                      <a:pt x="42515" y="0"/>
                      <a:pt x="85030" y="69884"/>
                      <a:pt x="85030" y="86734"/>
                    </a:cubicBezTo>
                    <a:close/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831" name="Forma livre: Forma 830">
                <a:extLst>
                  <a:ext uri="{FF2B5EF4-FFF2-40B4-BE49-F238E27FC236}">
                    <a16:creationId xmlns:a16="http://schemas.microsoft.com/office/drawing/2014/main" id="{54A83C09-45E4-B2D1-9007-5F8D0BD5A6EB}"/>
                  </a:ext>
                </a:extLst>
              </p:cNvPr>
              <p:cNvSpPr/>
              <p:nvPr/>
            </p:nvSpPr>
            <p:spPr>
              <a:xfrm>
                <a:off x="10179600" y="1582797"/>
                <a:ext cx="76896" cy="4869"/>
              </a:xfrm>
              <a:custGeom>
                <a:avLst/>
                <a:gdLst>
                  <a:gd name="connsiteX0" fmla="*/ 0 w 76896"/>
                  <a:gd name="connsiteY0" fmla="*/ 0 h 4869"/>
                  <a:gd name="connsiteX1" fmla="*/ 76897 w 76896"/>
                  <a:gd name="connsiteY1" fmla="*/ 0 h 48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76896" h="4869">
                    <a:moveTo>
                      <a:pt x="0" y="0"/>
                    </a:moveTo>
                    <a:lnTo>
                      <a:pt x="76897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832" name="Gráfico 11">
              <a:extLst>
                <a:ext uri="{FF2B5EF4-FFF2-40B4-BE49-F238E27FC236}">
                  <a16:creationId xmlns:a16="http://schemas.microsoft.com/office/drawing/2014/main" id="{4BA9A598-FC3B-8A19-B4A1-F7EA45572B7C}"/>
                </a:ext>
              </a:extLst>
            </p:cNvPr>
            <p:cNvGrpSpPr/>
            <p:nvPr/>
          </p:nvGrpSpPr>
          <p:grpSpPr>
            <a:xfrm>
              <a:off x="9973552" y="1503124"/>
              <a:ext cx="85029" cy="117268"/>
              <a:chOff x="9973552" y="1503124"/>
              <a:chExt cx="85029" cy="117268"/>
            </a:xfrm>
            <a:noFill/>
          </p:grpSpPr>
          <p:sp>
            <p:nvSpPr>
              <p:cNvPr id="833" name="Forma livre: Forma 832">
                <a:extLst>
                  <a:ext uri="{FF2B5EF4-FFF2-40B4-BE49-F238E27FC236}">
                    <a16:creationId xmlns:a16="http://schemas.microsoft.com/office/drawing/2014/main" id="{E3FBC3CF-AEBD-2EA1-9ACC-68E29BA807A3}"/>
                  </a:ext>
                </a:extLst>
              </p:cNvPr>
              <p:cNvSpPr/>
              <p:nvPr/>
            </p:nvSpPr>
            <p:spPr>
              <a:xfrm>
                <a:off x="9973552" y="1503124"/>
                <a:ext cx="85029" cy="117268"/>
              </a:xfrm>
              <a:custGeom>
                <a:avLst/>
                <a:gdLst>
                  <a:gd name="connsiteX0" fmla="*/ 85030 w 85029"/>
                  <a:gd name="connsiteY0" fmla="*/ 86734 h 117268"/>
                  <a:gd name="connsiteX1" fmla="*/ 42515 w 85029"/>
                  <a:gd name="connsiteY1" fmla="*/ 117269 h 117268"/>
                  <a:gd name="connsiteX2" fmla="*/ 0 w 85029"/>
                  <a:gd name="connsiteY2" fmla="*/ 86734 h 117268"/>
                  <a:gd name="connsiteX3" fmla="*/ 42515 w 85029"/>
                  <a:gd name="connsiteY3" fmla="*/ 0 h 117268"/>
                  <a:gd name="connsiteX4" fmla="*/ 85030 w 85029"/>
                  <a:gd name="connsiteY4" fmla="*/ 86734 h 1172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5029" h="117268">
                    <a:moveTo>
                      <a:pt x="85030" y="86734"/>
                    </a:moveTo>
                    <a:cubicBezTo>
                      <a:pt x="85030" y="103584"/>
                      <a:pt x="65988" y="117269"/>
                      <a:pt x="42515" y="117269"/>
                    </a:cubicBezTo>
                    <a:cubicBezTo>
                      <a:pt x="19042" y="117269"/>
                      <a:pt x="0" y="103584"/>
                      <a:pt x="0" y="86734"/>
                    </a:cubicBezTo>
                    <a:cubicBezTo>
                      <a:pt x="0" y="69884"/>
                      <a:pt x="42515" y="0"/>
                      <a:pt x="42515" y="0"/>
                    </a:cubicBezTo>
                    <a:cubicBezTo>
                      <a:pt x="42515" y="0"/>
                      <a:pt x="85030" y="69884"/>
                      <a:pt x="85030" y="86734"/>
                    </a:cubicBezTo>
                    <a:close/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834" name="Forma livre: Forma 833">
                <a:extLst>
                  <a:ext uri="{FF2B5EF4-FFF2-40B4-BE49-F238E27FC236}">
                    <a16:creationId xmlns:a16="http://schemas.microsoft.com/office/drawing/2014/main" id="{A59F67E5-C048-89AA-7187-4A9E95192480}"/>
                  </a:ext>
                </a:extLst>
              </p:cNvPr>
              <p:cNvSpPr/>
              <p:nvPr/>
            </p:nvSpPr>
            <p:spPr>
              <a:xfrm>
                <a:off x="9977643" y="1582797"/>
                <a:ext cx="76896" cy="4869"/>
              </a:xfrm>
              <a:custGeom>
                <a:avLst/>
                <a:gdLst>
                  <a:gd name="connsiteX0" fmla="*/ 0 w 76896"/>
                  <a:gd name="connsiteY0" fmla="*/ 0 h 4869"/>
                  <a:gd name="connsiteX1" fmla="*/ 76897 w 76896"/>
                  <a:gd name="connsiteY1" fmla="*/ 0 h 48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76896" h="4869">
                    <a:moveTo>
                      <a:pt x="0" y="0"/>
                    </a:moveTo>
                    <a:lnTo>
                      <a:pt x="76897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835" name="Forma livre: Forma 834">
              <a:extLst>
                <a:ext uri="{FF2B5EF4-FFF2-40B4-BE49-F238E27FC236}">
                  <a16:creationId xmlns:a16="http://schemas.microsoft.com/office/drawing/2014/main" id="{3B4610C9-88CC-A91B-1145-85F7FAFA4559}"/>
                </a:ext>
              </a:extLst>
            </p:cNvPr>
            <p:cNvSpPr/>
            <p:nvPr/>
          </p:nvSpPr>
          <p:spPr>
            <a:xfrm>
              <a:off x="10112979" y="1443418"/>
              <a:ext cx="8181" cy="8181"/>
            </a:xfrm>
            <a:custGeom>
              <a:avLst/>
              <a:gdLst>
                <a:gd name="connsiteX0" fmla="*/ 8182 w 8181"/>
                <a:gd name="connsiteY0" fmla="*/ 4091 h 8181"/>
                <a:gd name="connsiteX1" fmla="*/ 4091 w 8181"/>
                <a:gd name="connsiteY1" fmla="*/ 8182 h 8181"/>
                <a:gd name="connsiteX2" fmla="*/ 0 w 8181"/>
                <a:gd name="connsiteY2" fmla="*/ 4091 h 8181"/>
                <a:gd name="connsiteX3" fmla="*/ 4091 w 8181"/>
                <a:gd name="connsiteY3" fmla="*/ 0 h 8181"/>
                <a:gd name="connsiteX4" fmla="*/ 8182 w 8181"/>
                <a:gd name="connsiteY4" fmla="*/ 4091 h 81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181" h="8181">
                  <a:moveTo>
                    <a:pt x="8182" y="4091"/>
                  </a:moveTo>
                  <a:cubicBezTo>
                    <a:pt x="8182" y="6380"/>
                    <a:pt x="6380" y="8182"/>
                    <a:pt x="4091" y="8182"/>
                  </a:cubicBezTo>
                  <a:cubicBezTo>
                    <a:pt x="1802" y="8182"/>
                    <a:pt x="0" y="6331"/>
                    <a:pt x="0" y="4091"/>
                  </a:cubicBezTo>
                  <a:cubicBezTo>
                    <a:pt x="0" y="1851"/>
                    <a:pt x="1851" y="0"/>
                    <a:pt x="4091" y="0"/>
                  </a:cubicBezTo>
                  <a:cubicBezTo>
                    <a:pt x="6331" y="0"/>
                    <a:pt x="8182" y="1851"/>
                    <a:pt x="8182" y="4091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36" name="Forma livre: Forma 835">
              <a:extLst>
                <a:ext uri="{FF2B5EF4-FFF2-40B4-BE49-F238E27FC236}">
                  <a16:creationId xmlns:a16="http://schemas.microsoft.com/office/drawing/2014/main" id="{D7EBD7D0-BAB0-12B5-55E9-7FC84C2EC3EF}"/>
                </a:ext>
              </a:extLst>
            </p:cNvPr>
            <p:cNvSpPr/>
            <p:nvPr/>
          </p:nvSpPr>
          <p:spPr>
            <a:xfrm>
              <a:off x="10038664" y="1670115"/>
              <a:ext cx="156861" cy="43488"/>
            </a:xfrm>
            <a:custGeom>
              <a:avLst/>
              <a:gdLst>
                <a:gd name="connsiteX0" fmla="*/ 78504 w 156861"/>
                <a:gd name="connsiteY0" fmla="*/ 49 h 43488"/>
                <a:gd name="connsiteX1" fmla="*/ 0 w 156861"/>
                <a:gd name="connsiteY1" fmla="*/ 43489 h 43488"/>
                <a:gd name="connsiteX2" fmla="*/ 156862 w 156861"/>
                <a:gd name="connsiteY2" fmla="*/ 43197 h 43488"/>
                <a:gd name="connsiteX3" fmla="*/ 78504 w 156861"/>
                <a:gd name="connsiteY3" fmla="*/ 0 h 434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6861" h="43488">
                  <a:moveTo>
                    <a:pt x="78504" y="49"/>
                  </a:moveTo>
                  <a:cubicBezTo>
                    <a:pt x="45437" y="49"/>
                    <a:pt x="16363" y="17386"/>
                    <a:pt x="0" y="43489"/>
                  </a:cubicBezTo>
                  <a:lnTo>
                    <a:pt x="156862" y="43197"/>
                  </a:lnTo>
                  <a:cubicBezTo>
                    <a:pt x="140450" y="17240"/>
                    <a:pt x="111522" y="0"/>
                    <a:pt x="78504" y="0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837" name="Gráfico 11">
            <a:extLst>
              <a:ext uri="{FF2B5EF4-FFF2-40B4-BE49-F238E27FC236}">
                <a16:creationId xmlns:a16="http://schemas.microsoft.com/office/drawing/2014/main" id="{E19886C9-3B6E-65F7-1C6D-A8FE234F4F78}"/>
              </a:ext>
            </a:extLst>
          </p:cNvPr>
          <p:cNvGrpSpPr/>
          <p:nvPr/>
        </p:nvGrpSpPr>
        <p:grpSpPr>
          <a:xfrm>
            <a:off x="11208429" y="3116738"/>
            <a:ext cx="354582" cy="213913"/>
            <a:chOff x="11208429" y="3116738"/>
            <a:chExt cx="354582" cy="213913"/>
          </a:xfrm>
        </p:grpSpPr>
        <p:sp>
          <p:nvSpPr>
            <p:cNvPr id="838" name="Forma livre: Forma 837">
              <a:extLst>
                <a:ext uri="{FF2B5EF4-FFF2-40B4-BE49-F238E27FC236}">
                  <a16:creationId xmlns:a16="http://schemas.microsoft.com/office/drawing/2014/main" id="{FF7D46C4-C0A9-DE20-88CD-D33DA8BCB22A}"/>
                </a:ext>
              </a:extLst>
            </p:cNvPr>
            <p:cNvSpPr/>
            <p:nvPr/>
          </p:nvSpPr>
          <p:spPr>
            <a:xfrm>
              <a:off x="11470774" y="3277690"/>
              <a:ext cx="41686" cy="48"/>
            </a:xfrm>
            <a:custGeom>
              <a:avLst/>
              <a:gdLst>
                <a:gd name="connsiteX0" fmla="*/ 0 w 41686"/>
                <a:gd name="connsiteY0" fmla="*/ 49 h 48"/>
                <a:gd name="connsiteX1" fmla="*/ 41687 w 41686"/>
                <a:gd name="connsiteY1" fmla="*/ 0 h 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1686" h="48">
                  <a:moveTo>
                    <a:pt x="0" y="49"/>
                  </a:moveTo>
                  <a:lnTo>
                    <a:pt x="41687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39" name="Forma livre: Forma 838">
              <a:extLst>
                <a:ext uri="{FF2B5EF4-FFF2-40B4-BE49-F238E27FC236}">
                  <a16:creationId xmlns:a16="http://schemas.microsoft.com/office/drawing/2014/main" id="{928DAD7D-7A22-CDE4-41FA-DFD7E7E717A4}"/>
                </a:ext>
              </a:extLst>
            </p:cNvPr>
            <p:cNvSpPr/>
            <p:nvPr/>
          </p:nvSpPr>
          <p:spPr>
            <a:xfrm>
              <a:off x="11260051" y="3258210"/>
              <a:ext cx="83179" cy="72441"/>
            </a:xfrm>
            <a:custGeom>
              <a:avLst/>
              <a:gdLst>
                <a:gd name="connsiteX0" fmla="*/ 83179 w 83179"/>
                <a:gd name="connsiteY0" fmla="*/ 71832 h 72441"/>
                <a:gd name="connsiteX1" fmla="*/ 56005 w 83179"/>
                <a:gd name="connsiteY1" fmla="*/ 59852 h 72441"/>
                <a:gd name="connsiteX2" fmla="*/ 21136 w 83179"/>
                <a:gd name="connsiteY2" fmla="*/ 0 h 72441"/>
                <a:gd name="connsiteX3" fmla="*/ 0 w 83179"/>
                <a:gd name="connsiteY3" fmla="*/ 0 h 724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3179" h="72441">
                  <a:moveTo>
                    <a:pt x="83179" y="71832"/>
                  </a:moveTo>
                  <a:cubicBezTo>
                    <a:pt x="77238" y="73049"/>
                    <a:pt x="64235" y="73829"/>
                    <a:pt x="56005" y="59852"/>
                  </a:cubicBezTo>
                  <a:lnTo>
                    <a:pt x="21136" y="0"/>
                  </a:lnTo>
                  <a:lnTo>
                    <a:pt x="0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40" name="Forma livre: Forma 839">
              <a:extLst>
                <a:ext uri="{FF2B5EF4-FFF2-40B4-BE49-F238E27FC236}">
                  <a16:creationId xmlns:a16="http://schemas.microsoft.com/office/drawing/2014/main" id="{FDF62104-CDFF-1CE0-34E5-13B3084B605B}"/>
                </a:ext>
              </a:extLst>
            </p:cNvPr>
            <p:cNvSpPr/>
            <p:nvPr/>
          </p:nvSpPr>
          <p:spPr>
            <a:xfrm>
              <a:off x="11377319" y="3268048"/>
              <a:ext cx="20892" cy="37596"/>
            </a:xfrm>
            <a:custGeom>
              <a:avLst/>
              <a:gdLst>
                <a:gd name="connsiteX0" fmla="*/ 0 w 20892"/>
                <a:gd name="connsiteY0" fmla="*/ 0 h 37596"/>
                <a:gd name="connsiteX1" fmla="*/ 20892 w 20892"/>
                <a:gd name="connsiteY1" fmla="*/ 37596 h 375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0892" h="37596">
                  <a:moveTo>
                    <a:pt x="0" y="0"/>
                  </a:moveTo>
                  <a:lnTo>
                    <a:pt x="20892" y="37596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41" name="Forma livre: Forma 840">
              <a:extLst>
                <a:ext uri="{FF2B5EF4-FFF2-40B4-BE49-F238E27FC236}">
                  <a16:creationId xmlns:a16="http://schemas.microsoft.com/office/drawing/2014/main" id="{8DA4B50A-1C52-FB6E-0526-CB91D1168E02}"/>
                </a:ext>
              </a:extLst>
            </p:cNvPr>
            <p:cNvSpPr/>
            <p:nvPr/>
          </p:nvSpPr>
          <p:spPr>
            <a:xfrm>
              <a:off x="11347126" y="3292641"/>
              <a:ext cx="13538" cy="23570"/>
            </a:xfrm>
            <a:custGeom>
              <a:avLst/>
              <a:gdLst>
                <a:gd name="connsiteX0" fmla="*/ 0 w 13538"/>
                <a:gd name="connsiteY0" fmla="*/ 0 h 23570"/>
                <a:gd name="connsiteX1" fmla="*/ 13538 w 13538"/>
                <a:gd name="connsiteY1" fmla="*/ 23571 h 235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3538" h="23570">
                  <a:moveTo>
                    <a:pt x="0" y="0"/>
                  </a:moveTo>
                  <a:lnTo>
                    <a:pt x="13538" y="23571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42" name="Forma livre: Forma 841">
              <a:extLst>
                <a:ext uri="{FF2B5EF4-FFF2-40B4-BE49-F238E27FC236}">
                  <a16:creationId xmlns:a16="http://schemas.microsoft.com/office/drawing/2014/main" id="{DF7898B2-737E-0A13-DB78-C0F0FE334B22}"/>
                </a:ext>
              </a:extLst>
            </p:cNvPr>
            <p:cNvSpPr/>
            <p:nvPr/>
          </p:nvSpPr>
          <p:spPr>
            <a:xfrm>
              <a:off x="11398065" y="3305497"/>
              <a:ext cx="27077" cy="11451"/>
            </a:xfrm>
            <a:custGeom>
              <a:avLst/>
              <a:gdLst>
                <a:gd name="connsiteX0" fmla="*/ 27077 w 27077"/>
                <a:gd name="connsiteY0" fmla="*/ 8717 h 11451"/>
                <a:gd name="connsiteX1" fmla="*/ 0 w 27077"/>
                <a:gd name="connsiteY1" fmla="*/ 0 h 114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7077" h="11451">
                  <a:moveTo>
                    <a:pt x="27077" y="8717"/>
                  </a:moveTo>
                  <a:cubicBezTo>
                    <a:pt x="20990" y="11298"/>
                    <a:pt x="9350" y="16120"/>
                    <a:pt x="0" y="0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43" name="Forma livre: Forma 842">
              <a:extLst>
                <a:ext uri="{FF2B5EF4-FFF2-40B4-BE49-F238E27FC236}">
                  <a16:creationId xmlns:a16="http://schemas.microsoft.com/office/drawing/2014/main" id="{DE9B9EDA-754B-8C6E-5E9B-48988FE60F0B}"/>
                </a:ext>
              </a:extLst>
            </p:cNvPr>
            <p:cNvSpPr/>
            <p:nvPr/>
          </p:nvSpPr>
          <p:spPr>
            <a:xfrm>
              <a:off x="11360713" y="3316163"/>
              <a:ext cx="21963" cy="10405"/>
            </a:xfrm>
            <a:custGeom>
              <a:avLst/>
              <a:gdLst>
                <a:gd name="connsiteX0" fmla="*/ 21964 w 21963"/>
                <a:gd name="connsiteY0" fmla="*/ 8133 h 10405"/>
                <a:gd name="connsiteX1" fmla="*/ 0 w 21963"/>
                <a:gd name="connsiteY1" fmla="*/ 0 h 104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1963" h="10405">
                  <a:moveTo>
                    <a:pt x="21964" y="8133"/>
                  </a:moveTo>
                  <a:cubicBezTo>
                    <a:pt x="21964" y="8133"/>
                    <a:pt x="9253" y="16899"/>
                    <a:pt x="0" y="0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44" name="Forma livre: Forma 843">
              <a:extLst>
                <a:ext uri="{FF2B5EF4-FFF2-40B4-BE49-F238E27FC236}">
                  <a16:creationId xmlns:a16="http://schemas.microsoft.com/office/drawing/2014/main" id="{9D89688C-7900-BFB3-765F-F6440E64F9BC}"/>
                </a:ext>
              </a:extLst>
            </p:cNvPr>
            <p:cNvSpPr/>
            <p:nvPr/>
          </p:nvSpPr>
          <p:spPr>
            <a:xfrm>
              <a:off x="11259953" y="3136705"/>
              <a:ext cx="68812" cy="4869"/>
            </a:xfrm>
            <a:custGeom>
              <a:avLst/>
              <a:gdLst>
                <a:gd name="connsiteX0" fmla="*/ 0 w 68812"/>
                <a:gd name="connsiteY0" fmla="*/ 0 h 4869"/>
                <a:gd name="connsiteX1" fmla="*/ 68813 w 68812"/>
                <a:gd name="connsiteY1" fmla="*/ 0 h 48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8812" h="4869">
                  <a:moveTo>
                    <a:pt x="0" y="0"/>
                  </a:moveTo>
                  <a:lnTo>
                    <a:pt x="68813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45" name="Forma livre: Forma 844">
              <a:extLst>
                <a:ext uri="{FF2B5EF4-FFF2-40B4-BE49-F238E27FC236}">
                  <a16:creationId xmlns:a16="http://schemas.microsoft.com/office/drawing/2014/main" id="{0B4CCFDE-8A92-2BB1-F558-27D7F79763DC}"/>
                </a:ext>
              </a:extLst>
            </p:cNvPr>
            <p:cNvSpPr/>
            <p:nvPr/>
          </p:nvSpPr>
          <p:spPr>
            <a:xfrm>
              <a:off x="11208429" y="3116738"/>
              <a:ext cx="50111" cy="163387"/>
            </a:xfrm>
            <a:custGeom>
              <a:avLst/>
              <a:gdLst>
                <a:gd name="connsiteX0" fmla="*/ 341 w 50111"/>
                <a:gd name="connsiteY0" fmla="*/ 0 h 163387"/>
                <a:gd name="connsiteX1" fmla="*/ 50112 w 50111"/>
                <a:gd name="connsiteY1" fmla="*/ 0 h 163387"/>
                <a:gd name="connsiteX2" fmla="*/ 50112 w 50111"/>
                <a:gd name="connsiteY2" fmla="*/ 163387 h 163387"/>
                <a:gd name="connsiteX3" fmla="*/ 0 w 50111"/>
                <a:gd name="connsiteY3" fmla="*/ 163387 h 1633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0111" h="163387">
                  <a:moveTo>
                    <a:pt x="341" y="0"/>
                  </a:moveTo>
                  <a:lnTo>
                    <a:pt x="50112" y="0"/>
                  </a:lnTo>
                  <a:lnTo>
                    <a:pt x="50112" y="163387"/>
                  </a:lnTo>
                  <a:lnTo>
                    <a:pt x="0" y="163387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46" name="Forma livre: Forma 845">
              <a:extLst>
                <a:ext uri="{FF2B5EF4-FFF2-40B4-BE49-F238E27FC236}">
                  <a16:creationId xmlns:a16="http://schemas.microsoft.com/office/drawing/2014/main" id="{0AF24F87-C949-88DC-FF43-1AA7809D4C01}"/>
                </a:ext>
              </a:extLst>
            </p:cNvPr>
            <p:cNvSpPr/>
            <p:nvPr/>
          </p:nvSpPr>
          <p:spPr>
            <a:xfrm>
              <a:off x="11512899" y="3130812"/>
              <a:ext cx="50111" cy="163387"/>
            </a:xfrm>
            <a:custGeom>
              <a:avLst/>
              <a:gdLst>
                <a:gd name="connsiteX0" fmla="*/ 49771 w 50111"/>
                <a:gd name="connsiteY0" fmla="*/ 0 h 163387"/>
                <a:gd name="connsiteX1" fmla="*/ 0 w 50111"/>
                <a:gd name="connsiteY1" fmla="*/ 0 h 163387"/>
                <a:gd name="connsiteX2" fmla="*/ 0 w 50111"/>
                <a:gd name="connsiteY2" fmla="*/ 163387 h 163387"/>
                <a:gd name="connsiteX3" fmla="*/ 50112 w 50111"/>
                <a:gd name="connsiteY3" fmla="*/ 163387 h 1633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0111" h="163387">
                  <a:moveTo>
                    <a:pt x="49771" y="0"/>
                  </a:moveTo>
                  <a:lnTo>
                    <a:pt x="0" y="0"/>
                  </a:lnTo>
                  <a:lnTo>
                    <a:pt x="0" y="163387"/>
                  </a:lnTo>
                  <a:lnTo>
                    <a:pt x="50112" y="163387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47" name="Forma livre: Forma 846">
              <a:extLst>
                <a:ext uri="{FF2B5EF4-FFF2-40B4-BE49-F238E27FC236}">
                  <a16:creationId xmlns:a16="http://schemas.microsoft.com/office/drawing/2014/main" id="{03CD4EAE-4A38-D47B-E066-A328371E2A47}"/>
                </a:ext>
              </a:extLst>
            </p:cNvPr>
            <p:cNvSpPr/>
            <p:nvPr/>
          </p:nvSpPr>
          <p:spPr>
            <a:xfrm>
              <a:off x="11313426" y="3124384"/>
              <a:ext cx="198645" cy="159929"/>
            </a:xfrm>
            <a:custGeom>
              <a:avLst/>
              <a:gdLst>
                <a:gd name="connsiteX0" fmla="*/ 161488 w 198645"/>
                <a:gd name="connsiteY0" fmla="*/ 159930 h 159929"/>
                <a:gd name="connsiteX1" fmla="*/ 105191 w 198645"/>
                <a:gd name="connsiteY1" fmla="*/ 52644 h 159929"/>
                <a:gd name="connsiteX2" fmla="*/ 76166 w 198645"/>
                <a:gd name="connsiteY2" fmla="*/ 50161 h 159929"/>
                <a:gd name="connsiteX3" fmla="*/ 42904 w 198645"/>
                <a:gd name="connsiteY3" fmla="*/ 83910 h 159929"/>
                <a:gd name="connsiteX4" fmla="*/ 0 w 198645"/>
                <a:gd name="connsiteY4" fmla="*/ 73877 h 159929"/>
                <a:gd name="connsiteX5" fmla="*/ 42710 w 198645"/>
                <a:gd name="connsiteY5" fmla="*/ 18214 h 159929"/>
                <a:gd name="connsiteX6" fmla="*/ 71442 w 198645"/>
                <a:gd name="connsiteY6" fmla="*/ 0 h 159929"/>
                <a:gd name="connsiteX7" fmla="*/ 135726 w 198645"/>
                <a:gd name="connsiteY7" fmla="*/ 97 h 159929"/>
                <a:gd name="connsiteX8" fmla="*/ 198646 w 198645"/>
                <a:gd name="connsiteY8" fmla="*/ 27467 h 1599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98645" h="159929">
                  <a:moveTo>
                    <a:pt x="161488" y="159930"/>
                  </a:moveTo>
                  <a:lnTo>
                    <a:pt x="105191" y="52644"/>
                  </a:lnTo>
                  <a:cubicBezTo>
                    <a:pt x="100419" y="52352"/>
                    <a:pt x="76166" y="50161"/>
                    <a:pt x="76166" y="50161"/>
                  </a:cubicBezTo>
                  <a:lnTo>
                    <a:pt x="42904" y="83910"/>
                  </a:lnTo>
                  <a:cubicBezTo>
                    <a:pt x="15146" y="105094"/>
                    <a:pt x="0" y="73877"/>
                    <a:pt x="0" y="73877"/>
                  </a:cubicBezTo>
                  <a:lnTo>
                    <a:pt x="42710" y="18214"/>
                  </a:lnTo>
                  <a:cubicBezTo>
                    <a:pt x="57027" y="195"/>
                    <a:pt x="71442" y="0"/>
                    <a:pt x="71442" y="0"/>
                  </a:cubicBezTo>
                  <a:lnTo>
                    <a:pt x="135726" y="97"/>
                  </a:lnTo>
                  <a:lnTo>
                    <a:pt x="198646" y="27467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48" name="Forma livre: Forma 847">
              <a:extLst>
                <a:ext uri="{FF2B5EF4-FFF2-40B4-BE49-F238E27FC236}">
                  <a16:creationId xmlns:a16="http://schemas.microsoft.com/office/drawing/2014/main" id="{FA9236DC-2C8E-B745-85A7-FF4509F179DF}"/>
                </a:ext>
              </a:extLst>
            </p:cNvPr>
            <p:cNvSpPr/>
            <p:nvPr/>
          </p:nvSpPr>
          <p:spPr>
            <a:xfrm>
              <a:off x="11409023" y="3246327"/>
              <a:ext cx="69543" cy="61138"/>
            </a:xfrm>
            <a:custGeom>
              <a:avLst/>
              <a:gdLst>
                <a:gd name="connsiteX0" fmla="*/ 69543 w 69543"/>
                <a:gd name="connsiteY0" fmla="*/ 33700 h 61138"/>
                <a:gd name="connsiteX1" fmla="*/ 29463 w 69543"/>
                <a:gd name="connsiteY1" fmla="*/ 46167 h 61138"/>
                <a:gd name="connsiteX2" fmla="*/ 0 w 69543"/>
                <a:gd name="connsiteY2" fmla="*/ 0 h 61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9543" h="61138">
                  <a:moveTo>
                    <a:pt x="69543" y="33700"/>
                  </a:moveTo>
                  <a:cubicBezTo>
                    <a:pt x="67011" y="40908"/>
                    <a:pt x="50599" y="83130"/>
                    <a:pt x="29463" y="46167"/>
                  </a:cubicBezTo>
                  <a:lnTo>
                    <a:pt x="0" y="0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49" name="Forma livre: Forma 848">
              <a:extLst>
                <a:ext uri="{FF2B5EF4-FFF2-40B4-BE49-F238E27FC236}">
                  <a16:creationId xmlns:a16="http://schemas.microsoft.com/office/drawing/2014/main" id="{F0EDB84A-1A9F-7263-F410-A2D9E93A4ED9}"/>
                </a:ext>
              </a:extLst>
            </p:cNvPr>
            <p:cNvSpPr/>
            <p:nvPr/>
          </p:nvSpPr>
          <p:spPr>
            <a:xfrm>
              <a:off x="11548304" y="3249688"/>
              <a:ext cx="7597" cy="7597"/>
            </a:xfrm>
            <a:custGeom>
              <a:avLst/>
              <a:gdLst>
                <a:gd name="connsiteX0" fmla="*/ 7597 w 7597"/>
                <a:gd name="connsiteY0" fmla="*/ 3799 h 7597"/>
                <a:gd name="connsiteX1" fmla="*/ 3799 w 7597"/>
                <a:gd name="connsiteY1" fmla="*/ 7597 h 7597"/>
                <a:gd name="connsiteX2" fmla="*/ 0 w 7597"/>
                <a:gd name="connsiteY2" fmla="*/ 3799 h 7597"/>
                <a:gd name="connsiteX3" fmla="*/ 3799 w 7597"/>
                <a:gd name="connsiteY3" fmla="*/ 0 h 7597"/>
                <a:gd name="connsiteX4" fmla="*/ 7597 w 7597"/>
                <a:gd name="connsiteY4" fmla="*/ 3799 h 75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597" h="7597">
                  <a:moveTo>
                    <a:pt x="7597" y="3799"/>
                  </a:moveTo>
                  <a:cubicBezTo>
                    <a:pt x="7597" y="5893"/>
                    <a:pt x="5893" y="7597"/>
                    <a:pt x="3799" y="7597"/>
                  </a:cubicBezTo>
                  <a:cubicBezTo>
                    <a:pt x="1705" y="7597"/>
                    <a:pt x="0" y="5893"/>
                    <a:pt x="0" y="3799"/>
                  </a:cubicBezTo>
                  <a:cubicBezTo>
                    <a:pt x="0" y="1705"/>
                    <a:pt x="1705" y="0"/>
                    <a:pt x="3799" y="0"/>
                  </a:cubicBezTo>
                  <a:cubicBezTo>
                    <a:pt x="5893" y="0"/>
                    <a:pt x="7597" y="1705"/>
                    <a:pt x="7597" y="3799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50" name="Forma livre: Forma 849">
              <a:extLst>
                <a:ext uri="{FF2B5EF4-FFF2-40B4-BE49-F238E27FC236}">
                  <a16:creationId xmlns:a16="http://schemas.microsoft.com/office/drawing/2014/main" id="{FBCE55EB-4E81-465D-475F-BFDD0E20E516}"/>
                </a:ext>
              </a:extLst>
            </p:cNvPr>
            <p:cNvSpPr/>
            <p:nvPr/>
          </p:nvSpPr>
          <p:spPr>
            <a:xfrm>
              <a:off x="11215393" y="3235127"/>
              <a:ext cx="7597" cy="7597"/>
            </a:xfrm>
            <a:custGeom>
              <a:avLst/>
              <a:gdLst>
                <a:gd name="connsiteX0" fmla="*/ 7597 w 7597"/>
                <a:gd name="connsiteY0" fmla="*/ 3799 h 7597"/>
                <a:gd name="connsiteX1" fmla="*/ 3799 w 7597"/>
                <a:gd name="connsiteY1" fmla="*/ 7597 h 7597"/>
                <a:gd name="connsiteX2" fmla="*/ 0 w 7597"/>
                <a:gd name="connsiteY2" fmla="*/ 3799 h 7597"/>
                <a:gd name="connsiteX3" fmla="*/ 3799 w 7597"/>
                <a:gd name="connsiteY3" fmla="*/ 0 h 7597"/>
                <a:gd name="connsiteX4" fmla="*/ 7597 w 7597"/>
                <a:gd name="connsiteY4" fmla="*/ 3799 h 75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597" h="7597">
                  <a:moveTo>
                    <a:pt x="7597" y="3799"/>
                  </a:moveTo>
                  <a:cubicBezTo>
                    <a:pt x="7597" y="5893"/>
                    <a:pt x="5893" y="7597"/>
                    <a:pt x="3799" y="7597"/>
                  </a:cubicBezTo>
                  <a:cubicBezTo>
                    <a:pt x="1705" y="7597"/>
                    <a:pt x="0" y="5893"/>
                    <a:pt x="0" y="3799"/>
                  </a:cubicBezTo>
                  <a:cubicBezTo>
                    <a:pt x="0" y="1705"/>
                    <a:pt x="1705" y="0"/>
                    <a:pt x="3799" y="0"/>
                  </a:cubicBezTo>
                  <a:cubicBezTo>
                    <a:pt x="5893" y="0"/>
                    <a:pt x="7597" y="1705"/>
                    <a:pt x="7597" y="3799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851" name="Gráfico 11">
            <a:extLst>
              <a:ext uri="{FF2B5EF4-FFF2-40B4-BE49-F238E27FC236}">
                <a16:creationId xmlns:a16="http://schemas.microsoft.com/office/drawing/2014/main" id="{D129BB10-2C6F-A4D3-6A60-AC3FF9A1518F}"/>
              </a:ext>
            </a:extLst>
          </p:cNvPr>
          <p:cNvGrpSpPr/>
          <p:nvPr/>
        </p:nvGrpSpPr>
        <p:grpSpPr>
          <a:xfrm>
            <a:off x="10586340" y="3072275"/>
            <a:ext cx="330121" cy="302862"/>
            <a:chOff x="10586340" y="3072275"/>
            <a:chExt cx="330121" cy="302862"/>
          </a:xfrm>
          <a:noFill/>
        </p:grpSpPr>
        <p:grpSp>
          <p:nvGrpSpPr>
            <p:cNvPr id="852" name="Gráfico 11">
              <a:extLst>
                <a:ext uri="{FF2B5EF4-FFF2-40B4-BE49-F238E27FC236}">
                  <a16:creationId xmlns:a16="http://schemas.microsoft.com/office/drawing/2014/main" id="{E3264D36-ECD1-954F-E7C2-79847B92376D}"/>
                </a:ext>
              </a:extLst>
            </p:cNvPr>
            <p:cNvGrpSpPr/>
            <p:nvPr/>
          </p:nvGrpSpPr>
          <p:grpSpPr>
            <a:xfrm>
              <a:off x="10586340" y="3240517"/>
              <a:ext cx="330121" cy="134620"/>
              <a:chOff x="10586340" y="3240517"/>
              <a:chExt cx="330121" cy="134620"/>
            </a:xfrm>
            <a:noFill/>
          </p:grpSpPr>
          <p:sp>
            <p:nvSpPr>
              <p:cNvPr id="853" name="Forma livre: Forma 852">
                <a:extLst>
                  <a:ext uri="{FF2B5EF4-FFF2-40B4-BE49-F238E27FC236}">
                    <a16:creationId xmlns:a16="http://schemas.microsoft.com/office/drawing/2014/main" id="{A6D0B336-1FDB-9939-4C35-2459C7446929}"/>
                  </a:ext>
                </a:extLst>
              </p:cNvPr>
              <p:cNvSpPr/>
              <p:nvPr/>
            </p:nvSpPr>
            <p:spPr>
              <a:xfrm>
                <a:off x="10627101" y="3240517"/>
                <a:ext cx="289359" cy="134620"/>
              </a:xfrm>
              <a:custGeom>
                <a:avLst/>
                <a:gdLst>
                  <a:gd name="connsiteX0" fmla="*/ 197477 w 289359"/>
                  <a:gd name="connsiteY0" fmla="*/ 33569 h 134620"/>
                  <a:gd name="connsiteX1" fmla="*/ 256696 w 289359"/>
                  <a:gd name="connsiteY1" fmla="*/ 3327 h 134620"/>
                  <a:gd name="connsiteX2" fmla="*/ 287084 w 289359"/>
                  <a:gd name="connsiteY2" fmla="*/ 9950 h 134620"/>
                  <a:gd name="connsiteX3" fmla="*/ 276322 w 289359"/>
                  <a:gd name="connsiteY3" fmla="*/ 39851 h 134620"/>
                  <a:gd name="connsiteX4" fmla="*/ 153501 w 289359"/>
                  <a:gd name="connsiteY4" fmla="*/ 105693 h 134620"/>
                  <a:gd name="connsiteX5" fmla="*/ 147024 w 289359"/>
                  <a:gd name="connsiteY5" fmla="*/ 107300 h 134620"/>
                  <a:gd name="connsiteX6" fmla="*/ 32483 w 289359"/>
                  <a:gd name="connsiteY6" fmla="*/ 110417 h 134620"/>
                  <a:gd name="connsiteX7" fmla="*/ 0 w 289359"/>
                  <a:gd name="connsiteY7" fmla="*/ 134621 h 1346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89359" h="134620">
                    <a:moveTo>
                      <a:pt x="197477" y="33569"/>
                    </a:moveTo>
                    <a:lnTo>
                      <a:pt x="256696" y="3327"/>
                    </a:lnTo>
                    <a:cubicBezTo>
                      <a:pt x="268140" y="-2810"/>
                      <a:pt x="281581" y="-375"/>
                      <a:pt x="287084" y="9950"/>
                    </a:cubicBezTo>
                    <a:cubicBezTo>
                      <a:pt x="292587" y="20274"/>
                      <a:pt x="287766" y="33715"/>
                      <a:pt x="276322" y="39851"/>
                    </a:cubicBezTo>
                    <a:lnTo>
                      <a:pt x="153501" y="105693"/>
                    </a:lnTo>
                    <a:lnTo>
                      <a:pt x="147024" y="107300"/>
                    </a:lnTo>
                    <a:lnTo>
                      <a:pt x="32483" y="110417"/>
                    </a:lnTo>
                    <a:cubicBezTo>
                      <a:pt x="32483" y="110417"/>
                      <a:pt x="17727" y="114557"/>
                      <a:pt x="0" y="134621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854" name="Forma livre: Forma 853">
                <a:extLst>
                  <a:ext uri="{FF2B5EF4-FFF2-40B4-BE49-F238E27FC236}">
                    <a16:creationId xmlns:a16="http://schemas.microsoft.com/office/drawing/2014/main" id="{E2F305FE-D681-390E-819D-EDFE87885E1D}"/>
                  </a:ext>
                </a:extLst>
              </p:cNvPr>
              <p:cNvSpPr/>
              <p:nvPr/>
            </p:nvSpPr>
            <p:spPr>
              <a:xfrm>
                <a:off x="10586340" y="3256782"/>
                <a:ext cx="218417" cy="58114"/>
              </a:xfrm>
              <a:custGeom>
                <a:avLst/>
                <a:gdLst>
                  <a:gd name="connsiteX0" fmla="*/ 0 w 218417"/>
                  <a:gd name="connsiteY0" fmla="*/ 58115 h 58114"/>
                  <a:gd name="connsiteX1" fmla="*/ 51963 w 218417"/>
                  <a:gd name="connsiteY1" fmla="*/ 10292 h 58114"/>
                  <a:gd name="connsiteX2" fmla="*/ 107480 w 218417"/>
                  <a:gd name="connsiteY2" fmla="*/ 2597 h 58114"/>
                  <a:gd name="connsiteX3" fmla="*/ 149118 w 218417"/>
                  <a:gd name="connsiteY3" fmla="*/ 7321 h 58114"/>
                  <a:gd name="connsiteX4" fmla="*/ 194068 w 218417"/>
                  <a:gd name="connsiteY4" fmla="*/ 7321 h 58114"/>
                  <a:gd name="connsiteX5" fmla="*/ 218418 w 218417"/>
                  <a:gd name="connsiteY5" fmla="*/ 28554 h 58114"/>
                  <a:gd name="connsiteX6" fmla="*/ 194068 w 218417"/>
                  <a:gd name="connsiteY6" fmla="*/ 49836 h 58114"/>
                  <a:gd name="connsiteX7" fmla="*/ 131879 w 218417"/>
                  <a:gd name="connsiteY7" fmla="*/ 49836 h 581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18417" h="58114">
                    <a:moveTo>
                      <a:pt x="0" y="58115"/>
                    </a:moveTo>
                    <a:lnTo>
                      <a:pt x="51963" y="10292"/>
                    </a:lnTo>
                    <a:cubicBezTo>
                      <a:pt x="77335" y="-6850"/>
                      <a:pt x="107480" y="2597"/>
                      <a:pt x="107480" y="2597"/>
                    </a:cubicBezTo>
                    <a:cubicBezTo>
                      <a:pt x="122041" y="6445"/>
                      <a:pt x="149118" y="7321"/>
                      <a:pt x="149118" y="7321"/>
                    </a:cubicBezTo>
                    <a:lnTo>
                      <a:pt x="194068" y="7321"/>
                    </a:lnTo>
                    <a:cubicBezTo>
                      <a:pt x="207461" y="7321"/>
                      <a:pt x="218418" y="16866"/>
                      <a:pt x="218418" y="28554"/>
                    </a:cubicBezTo>
                    <a:cubicBezTo>
                      <a:pt x="218418" y="40242"/>
                      <a:pt x="207461" y="49836"/>
                      <a:pt x="194068" y="49836"/>
                    </a:cubicBezTo>
                    <a:lnTo>
                      <a:pt x="131879" y="49836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855" name="Gráfico 11">
              <a:extLst>
                <a:ext uri="{FF2B5EF4-FFF2-40B4-BE49-F238E27FC236}">
                  <a16:creationId xmlns:a16="http://schemas.microsoft.com/office/drawing/2014/main" id="{7F4D3E2A-C0FF-28E7-81C9-79B9DA4966E0}"/>
                </a:ext>
              </a:extLst>
            </p:cNvPr>
            <p:cNvGrpSpPr/>
            <p:nvPr/>
          </p:nvGrpSpPr>
          <p:grpSpPr>
            <a:xfrm>
              <a:off x="10631630" y="3072275"/>
              <a:ext cx="240722" cy="136602"/>
              <a:chOff x="10631630" y="3072275"/>
              <a:chExt cx="240722" cy="136602"/>
            </a:xfrm>
            <a:noFill/>
          </p:grpSpPr>
          <p:grpSp>
            <p:nvGrpSpPr>
              <p:cNvPr id="856" name="Gráfico 11">
                <a:extLst>
                  <a:ext uri="{FF2B5EF4-FFF2-40B4-BE49-F238E27FC236}">
                    <a16:creationId xmlns:a16="http://schemas.microsoft.com/office/drawing/2014/main" id="{A19D60A8-39BB-1473-6B67-8FA2586804F0}"/>
                  </a:ext>
                </a:extLst>
              </p:cNvPr>
              <p:cNvGrpSpPr/>
              <p:nvPr/>
            </p:nvGrpSpPr>
            <p:grpSpPr>
              <a:xfrm>
                <a:off x="10722261" y="3094190"/>
                <a:ext cx="59559" cy="93844"/>
                <a:chOff x="10722261" y="3094190"/>
                <a:chExt cx="59559" cy="93844"/>
              </a:xfrm>
              <a:noFill/>
            </p:grpSpPr>
            <p:sp>
              <p:nvSpPr>
                <p:cNvPr id="857" name="Forma livre: Forma 856">
                  <a:extLst>
                    <a:ext uri="{FF2B5EF4-FFF2-40B4-BE49-F238E27FC236}">
                      <a16:creationId xmlns:a16="http://schemas.microsoft.com/office/drawing/2014/main" id="{CCC718C6-871D-8A0A-DC88-5A880DE96EF4}"/>
                    </a:ext>
                  </a:extLst>
                </p:cNvPr>
                <p:cNvSpPr/>
                <p:nvPr/>
              </p:nvSpPr>
              <p:spPr>
                <a:xfrm>
                  <a:off x="10722261" y="3110991"/>
                  <a:ext cx="58634" cy="29998"/>
                </a:xfrm>
                <a:custGeom>
                  <a:avLst/>
                  <a:gdLst>
                    <a:gd name="connsiteX0" fmla="*/ 29755 w 58634"/>
                    <a:gd name="connsiteY0" fmla="*/ 29999 h 29998"/>
                    <a:gd name="connsiteX1" fmla="*/ 0 w 58634"/>
                    <a:gd name="connsiteY1" fmla="*/ 15000 h 29998"/>
                    <a:gd name="connsiteX2" fmla="*/ 29755 w 58634"/>
                    <a:gd name="connsiteY2" fmla="*/ 0 h 29998"/>
                    <a:gd name="connsiteX3" fmla="*/ 58634 w 58634"/>
                    <a:gd name="connsiteY3" fmla="*/ 11347 h 299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58634" h="29998">
                      <a:moveTo>
                        <a:pt x="29755" y="29999"/>
                      </a:moveTo>
                      <a:cubicBezTo>
                        <a:pt x="13344" y="29999"/>
                        <a:pt x="0" y="23279"/>
                        <a:pt x="0" y="15000"/>
                      </a:cubicBezTo>
                      <a:cubicBezTo>
                        <a:pt x="0" y="6721"/>
                        <a:pt x="13344" y="0"/>
                        <a:pt x="29755" y="0"/>
                      </a:cubicBezTo>
                      <a:cubicBezTo>
                        <a:pt x="43684" y="0"/>
                        <a:pt x="55420" y="4821"/>
                        <a:pt x="58634" y="11347"/>
                      </a:cubicBez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858" name="Forma livre: Forma 857">
                  <a:extLst>
                    <a:ext uri="{FF2B5EF4-FFF2-40B4-BE49-F238E27FC236}">
                      <a16:creationId xmlns:a16="http://schemas.microsoft.com/office/drawing/2014/main" id="{6FC61766-9F02-84E5-1D8E-6DE1CC00961B}"/>
                    </a:ext>
                  </a:extLst>
                </p:cNvPr>
                <p:cNvSpPr/>
                <p:nvPr/>
              </p:nvSpPr>
              <p:spPr>
                <a:xfrm>
                  <a:off x="10722699" y="3141039"/>
                  <a:ext cx="59121" cy="29998"/>
                </a:xfrm>
                <a:custGeom>
                  <a:avLst/>
                  <a:gdLst>
                    <a:gd name="connsiteX0" fmla="*/ 29317 w 59121"/>
                    <a:gd name="connsiteY0" fmla="*/ 0 h 29998"/>
                    <a:gd name="connsiteX1" fmla="*/ 59121 w 59121"/>
                    <a:gd name="connsiteY1" fmla="*/ 14999 h 29998"/>
                    <a:gd name="connsiteX2" fmla="*/ 29317 w 59121"/>
                    <a:gd name="connsiteY2" fmla="*/ 29999 h 29998"/>
                    <a:gd name="connsiteX3" fmla="*/ 0 w 59121"/>
                    <a:gd name="connsiteY3" fmla="*/ 17581 h 299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59121" h="29998">
                      <a:moveTo>
                        <a:pt x="29317" y="0"/>
                      </a:moveTo>
                      <a:cubicBezTo>
                        <a:pt x="45778" y="0"/>
                        <a:pt x="59121" y="6721"/>
                        <a:pt x="59121" y="14999"/>
                      </a:cubicBezTo>
                      <a:cubicBezTo>
                        <a:pt x="59121" y="23278"/>
                        <a:pt x="45778" y="29999"/>
                        <a:pt x="29317" y="29999"/>
                      </a:cubicBezTo>
                      <a:cubicBezTo>
                        <a:pt x="14610" y="29999"/>
                        <a:pt x="2386" y="24642"/>
                        <a:pt x="0" y="17581"/>
                      </a:cubicBez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859" name="Forma livre: Forma 858">
                  <a:extLst>
                    <a:ext uri="{FF2B5EF4-FFF2-40B4-BE49-F238E27FC236}">
                      <a16:creationId xmlns:a16="http://schemas.microsoft.com/office/drawing/2014/main" id="{97FC8101-DBD6-3B9B-EACB-8A004A58C6DB}"/>
                    </a:ext>
                  </a:extLst>
                </p:cNvPr>
                <p:cNvSpPr/>
                <p:nvPr/>
              </p:nvSpPr>
              <p:spPr>
                <a:xfrm>
                  <a:off x="10752406" y="3094190"/>
                  <a:ext cx="4869" cy="93844"/>
                </a:xfrm>
                <a:custGeom>
                  <a:avLst/>
                  <a:gdLst>
                    <a:gd name="connsiteX0" fmla="*/ 0 w 4869"/>
                    <a:gd name="connsiteY0" fmla="*/ 0 h 93844"/>
                    <a:gd name="connsiteX1" fmla="*/ 0 w 4869"/>
                    <a:gd name="connsiteY1" fmla="*/ 93844 h 9384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869" h="93844">
                      <a:moveTo>
                        <a:pt x="0" y="0"/>
                      </a:moveTo>
                      <a:lnTo>
                        <a:pt x="0" y="93844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860" name="Forma livre: Forma 859">
                <a:extLst>
                  <a:ext uri="{FF2B5EF4-FFF2-40B4-BE49-F238E27FC236}">
                    <a16:creationId xmlns:a16="http://schemas.microsoft.com/office/drawing/2014/main" id="{DB2B0762-CB4D-2C03-AED2-A34A78AC67E5}"/>
                  </a:ext>
                </a:extLst>
              </p:cNvPr>
              <p:cNvSpPr/>
              <p:nvPr/>
            </p:nvSpPr>
            <p:spPr>
              <a:xfrm>
                <a:off x="10631630" y="3072275"/>
                <a:ext cx="240722" cy="136602"/>
              </a:xfrm>
              <a:custGeom>
                <a:avLst/>
                <a:gdLst>
                  <a:gd name="connsiteX0" fmla="*/ 0 w 240722"/>
                  <a:gd name="connsiteY0" fmla="*/ 0 h 136602"/>
                  <a:gd name="connsiteX1" fmla="*/ 240722 w 240722"/>
                  <a:gd name="connsiteY1" fmla="*/ 0 h 136602"/>
                  <a:gd name="connsiteX2" fmla="*/ 240722 w 240722"/>
                  <a:gd name="connsiteY2" fmla="*/ 136602 h 136602"/>
                  <a:gd name="connsiteX3" fmla="*/ 0 w 240722"/>
                  <a:gd name="connsiteY3" fmla="*/ 136602 h 1366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40722" h="136602">
                    <a:moveTo>
                      <a:pt x="0" y="0"/>
                    </a:moveTo>
                    <a:lnTo>
                      <a:pt x="240722" y="0"/>
                    </a:lnTo>
                    <a:lnTo>
                      <a:pt x="240722" y="136602"/>
                    </a:lnTo>
                    <a:lnTo>
                      <a:pt x="0" y="136602"/>
                    </a:ln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861" name="Gráfico 11">
            <a:extLst>
              <a:ext uri="{FF2B5EF4-FFF2-40B4-BE49-F238E27FC236}">
                <a16:creationId xmlns:a16="http://schemas.microsoft.com/office/drawing/2014/main" id="{C377C80C-7F17-2ACF-3520-910274FFA7D5}"/>
              </a:ext>
            </a:extLst>
          </p:cNvPr>
          <p:cNvGrpSpPr/>
          <p:nvPr/>
        </p:nvGrpSpPr>
        <p:grpSpPr>
          <a:xfrm>
            <a:off x="9988893" y="3094385"/>
            <a:ext cx="256306" cy="258594"/>
            <a:chOff x="9988893" y="3094385"/>
            <a:chExt cx="256306" cy="258594"/>
          </a:xfrm>
          <a:noFill/>
        </p:grpSpPr>
        <p:sp>
          <p:nvSpPr>
            <p:cNvPr id="862" name="Forma livre: Forma 861">
              <a:extLst>
                <a:ext uri="{FF2B5EF4-FFF2-40B4-BE49-F238E27FC236}">
                  <a16:creationId xmlns:a16="http://schemas.microsoft.com/office/drawing/2014/main" id="{D2280CE4-598E-1DC5-92DD-AF1BADA56142}"/>
                </a:ext>
              </a:extLst>
            </p:cNvPr>
            <p:cNvSpPr/>
            <p:nvPr/>
          </p:nvSpPr>
          <p:spPr>
            <a:xfrm>
              <a:off x="10039832" y="3322883"/>
              <a:ext cx="154475" cy="30096"/>
            </a:xfrm>
            <a:custGeom>
              <a:avLst/>
              <a:gdLst>
                <a:gd name="connsiteX0" fmla="*/ 0 w 154475"/>
                <a:gd name="connsiteY0" fmla="*/ 0 h 30096"/>
                <a:gd name="connsiteX1" fmla="*/ 154475 w 154475"/>
                <a:gd name="connsiteY1" fmla="*/ 0 h 30096"/>
                <a:gd name="connsiteX2" fmla="*/ 154475 w 154475"/>
                <a:gd name="connsiteY2" fmla="*/ 30096 h 30096"/>
                <a:gd name="connsiteX3" fmla="*/ 0 w 154475"/>
                <a:gd name="connsiteY3" fmla="*/ 30096 h 300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4475" h="30096">
                  <a:moveTo>
                    <a:pt x="0" y="0"/>
                  </a:moveTo>
                  <a:lnTo>
                    <a:pt x="154475" y="0"/>
                  </a:lnTo>
                  <a:lnTo>
                    <a:pt x="154475" y="30096"/>
                  </a:lnTo>
                  <a:lnTo>
                    <a:pt x="0" y="30096"/>
                  </a:ln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63" name="Forma livre: Forma 862">
              <a:extLst>
                <a:ext uri="{FF2B5EF4-FFF2-40B4-BE49-F238E27FC236}">
                  <a16:creationId xmlns:a16="http://schemas.microsoft.com/office/drawing/2014/main" id="{2BF8A588-FFBD-AF1B-58FD-E88AD86182B0}"/>
                </a:ext>
              </a:extLst>
            </p:cNvPr>
            <p:cNvSpPr/>
            <p:nvPr/>
          </p:nvSpPr>
          <p:spPr>
            <a:xfrm>
              <a:off x="10100366" y="3211994"/>
              <a:ext cx="4869" cy="90727"/>
            </a:xfrm>
            <a:custGeom>
              <a:avLst/>
              <a:gdLst>
                <a:gd name="connsiteX0" fmla="*/ 0 w 4869"/>
                <a:gd name="connsiteY0" fmla="*/ 0 h 90727"/>
                <a:gd name="connsiteX1" fmla="*/ 0 w 4869"/>
                <a:gd name="connsiteY1" fmla="*/ 90727 h 907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869" h="90727">
                  <a:moveTo>
                    <a:pt x="0" y="0"/>
                  </a:moveTo>
                  <a:lnTo>
                    <a:pt x="0" y="90727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64" name="Forma livre: Forma 863">
              <a:extLst>
                <a:ext uri="{FF2B5EF4-FFF2-40B4-BE49-F238E27FC236}">
                  <a16:creationId xmlns:a16="http://schemas.microsoft.com/office/drawing/2014/main" id="{2672B150-9585-EF12-51C6-2E9F54AF1A5E}"/>
                </a:ext>
              </a:extLst>
            </p:cNvPr>
            <p:cNvSpPr/>
            <p:nvPr/>
          </p:nvSpPr>
          <p:spPr>
            <a:xfrm>
              <a:off x="10063354" y="3228503"/>
              <a:ext cx="4869" cy="74218"/>
            </a:xfrm>
            <a:custGeom>
              <a:avLst/>
              <a:gdLst>
                <a:gd name="connsiteX0" fmla="*/ 0 w 4869"/>
                <a:gd name="connsiteY0" fmla="*/ 0 h 74218"/>
                <a:gd name="connsiteX1" fmla="*/ 0 w 4869"/>
                <a:gd name="connsiteY1" fmla="*/ 74218 h 742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869" h="74218">
                  <a:moveTo>
                    <a:pt x="0" y="0"/>
                  </a:moveTo>
                  <a:lnTo>
                    <a:pt x="0" y="74218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65" name="Forma livre: Forma 864">
              <a:extLst>
                <a:ext uri="{FF2B5EF4-FFF2-40B4-BE49-F238E27FC236}">
                  <a16:creationId xmlns:a16="http://schemas.microsoft.com/office/drawing/2014/main" id="{12A13B1E-C13C-23FB-F7AB-CE2BCC008392}"/>
                </a:ext>
              </a:extLst>
            </p:cNvPr>
            <p:cNvSpPr/>
            <p:nvPr/>
          </p:nvSpPr>
          <p:spPr>
            <a:xfrm>
              <a:off x="10133774" y="3211994"/>
              <a:ext cx="4869" cy="90727"/>
            </a:xfrm>
            <a:custGeom>
              <a:avLst/>
              <a:gdLst>
                <a:gd name="connsiteX0" fmla="*/ 0 w 4869"/>
                <a:gd name="connsiteY0" fmla="*/ 0 h 90727"/>
                <a:gd name="connsiteX1" fmla="*/ 0 w 4869"/>
                <a:gd name="connsiteY1" fmla="*/ 90727 h 907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869" h="90727">
                  <a:moveTo>
                    <a:pt x="0" y="0"/>
                  </a:moveTo>
                  <a:lnTo>
                    <a:pt x="0" y="90727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66" name="Forma livre: Forma 865">
              <a:extLst>
                <a:ext uri="{FF2B5EF4-FFF2-40B4-BE49-F238E27FC236}">
                  <a16:creationId xmlns:a16="http://schemas.microsoft.com/office/drawing/2014/main" id="{66133182-5704-A441-A277-9CEE34F851C1}"/>
                </a:ext>
              </a:extLst>
            </p:cNvPr>
            <p:cNvSpPr/>
            <p:nvPr/>
          </p:nvSpPr>
          <p:spPr>
            <a:xfrm>
              <a:off x="10170786" y="3228503"/>
              <a:ext cx="4869" cy="74218"/>
            </a:xfrm>
            <a:custGeom>
              <a:avLst/>
              <a:gdLst>
                <a:gd name="connsiteX0" fmla="*/ 0 w 4869"/>
                <a:gd name="connsiteY0" fmla="*/ 0 h 74218"/>
                <a:gd name="connsiteX1" fmla="*/ 0 w 4869"/>
                <a:gd name="connsiteY1" fmla="*/ 74218 h 742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869" h="74218">
                  <a:moveTo>
                    <a:pt x="0" y="0"/>
                  </a:moveTo>
                  <a:lnTo>
                    <a:pt x="0" y="74218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67" name="Forma livre: Forma 866">
              <a:extLst>
                <a:ext uri="{FF2B5EF4-FFF2-40B4-BE49-F238E27FC236}">
                  <a16:creationId xmlns:a16="http://schemas.microsoft.com/office/drawing/2014/main" id="{2025FDDD-4BB9-9ACE-DADE-1FDE4912A73C}"/>
                </a:ext>
              </a:extLst>
            </p:cNvPr>
            <p:cNvSpPr/>
            <p:nvPr/>
          </p:nvSpPr>
          <p:spPr>
            <a:xfrm>
              <a:off x="9988893" y="3094385"/>
              <a:ext cx="256306" cy="115807"/>
            </a:xfrm>
            <a:custGeom>
              <a:avLst/>
              <a:gdLst>
                <a:gd name="connsiteX0" fmla="*/ 193873 w 256306"/>
                <a:gd name="connsiteY0" fmla="*/ 76897 h 115807"/>
                <a:gd name="connsiteX1" fmla="*/ 204636 w 256306"/>
                <a:gd name="connsiteY1" fmla="*/ 60436 h 115807"/>
                <a:gd name="connsiteX2" fmla="*/ 181504 w 256306"/>
                <a:gd name="connsiteY2" fmla="*/ 36281 h 115807"/>
                <a:gd name="connsiteX3" fmla="*/ 151797 w 256306"/>
                <a:gd name="connsiteY3" fmla="*/ 52498 h 115807"/>
                <a:gd name="connsiteX4" fmla="*/ 151066 w 256306"/>
                <a:gd name="connsiteY4" fmla="*/ 88195 h 115807"/>
                <a:gd name="connsiteX5" fmla="*/ 151212 w 256306"/>
                <a:gd name="connsiteY5" fmla="*/ 88536 h 115807"/>
                <a:gd name="connsiteX6" fmla="*/ 200399 w 256306"/>
                <a:gd name="connsiteY6" fmla="*/ 115808 h 115807"/>
                <a:gd name="connsiteX7" fmla="*/ 256306 w 256306"/>
                <a:gd name="connsiteY7" fmla="*/ 57904 h 115807"/>
                <a:gd name="connsiteX8" fmla="*/ 200399 w 256306"/>
                <a:gd name="connsiteY8" fmla="*/ 0 h 115807"/>
                <a:gd name="connsiteX9" fmla="*/ 55907 w 256306"/>
                <a:gd name="connsiteY9" fmla="*/ 0 h 115807"/>
                <a:gd name="connsiteX10" fmla="*/ 0 w 256306"/>
                <a:gd name="connsiteY10" fmla="*/ 57904 h 115807"/>
                <a:gd name="connsiteX11" fmla="*/ 55907 w 256306"/>
                <a:gd name="connsiteY11" fmla="*/ 115808 h 115807"/>
                <a:gd name="connsiteX12" fmla="*/ 105094 w 256306"/>
                <a:gd name="connsiteY12" fmla="*/ 88536 h 115807"/>
                <a:gd name="connsiteX13" fmla="*/ 105240 w 256306"/>
                <a:gd name="connsiteY13" fmla="*/ 88195 h 115807"/>
                <a:gd name="connsiteX14" fmla="*/ 104509 w 256306"/>
                <a:gd name="connsiteY14" fmla="*/ 52498 h 115807"/>
                <a:gd name="connsiteX15" fmla="*/ 74803 w 256306"/>
                <a:gd name="connsiteY15" fmla="*/ 36281 h 115807"/>
                <a:gd name="connsiteX16" fmla="*/ 51670 w 256306"/>
                <a:gd name="connsiteY16" fmla="*/ 60436 h 115807"/>
                <a:gd name="connsiteX17" fmla="*/ 62433 w 256306"/>
                <a:gd name="connsiteY17" fmla="*/ 76897 h 115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256306" h="115807">
                  <a:moveTo>
                    <a:pt x="193873" y="76897"/>
                  </a:moveTo>
                  <a:cubicBezTo>
                    <a:pt x="193873" y="76897"/>
                    <a:pt x="204198" y="73001"/>
                    <a:pt x="204636" y="60436"/>
                  </a:cubicBezTo>
                  <a:cubicBezTo>
                    <a:pt x="204977" y="50063"/>
                    <a:pt x="201811" y="37499"/>
                    <a:pt x="181504" y="36281"/>
                  </a:cubicBezTo>
                  <a:cubicBezTo>
                    <a:pt x="181504" y="36281"/>
                    <a:pt x="161488" y="34187"/>
                    <a:pt x="151797" y="52498"/>
                  </a:cubicBezTo>
                  <a:cubicBezTo>
                    <a:pt x="151797" y="52498"/>
                    <a:pt x="142398" y="69835"/>
                    <a:pt x="151066" y="88195"/>
                  </a:cubicBezTo>
                  <a:lnTo>
                    <a:pt x="151212" y="88536"/>
                  </a:lnTo>
                  <a:cubicBezTo>
                    <a:pt x="161050" y="104948"/>
                    <a:pt x="178825" y="115856"/>
                    <a:pt x="200399" y="115808"/>
                  </a:cubicBezTo>
                  <a:cubicBezTo>
                    <a:pt x="232395" y="115808"/>
                    <a:pt x="256306" y="89851"/>
                    <a:pt x="256306" y="57904"/>
                  </a:cubicBezTo>
                  <a:cubicBezTo>
                    <a:pt x="256306" y="25957"/>
                    <a:pt x="232395" y="0"/>
                    <a:pt x="200399" y="0"/>
                  </a:cubicBezTo>
                  <a:lnTo>
                    <a:pt x="55907" y="0"/>
                  </a:lnTo>
                  <a:cubicBezTo>
                    <a:pt x="23912" y="0"/>
                    <a:pt x="0" y="25957"/>
                    <a:pt x="0" y="57904"/>
                  </a:cubicBezTo>
                  <a:cubicBezTo>
                    <a:pt x="0" y="89851"/>
                    <a:pt x="23912" y="115808"/>
                    <a:pt x="55907" y="115808"/>
                  </a:cubicBezTo>
                  <a:cubicBezTo>
                    <a:pt x="77481" y="115808"/>
                    <a:pt x="95256" y="104899"/>
                    <a:pt x="105094" y="88536"/>
                  </a:cubicBezTo>
                  <a:lnTo>
                    <a:pt x="105240" y="88195"/>
                  </a:lnTo>
                  <a:cubicBezTo>
                    <a:pt x="113957" y="69787"/>
                    <a:pt x="104509" y="52498"/>
                    <a:pt x="104509" y="52498"/>
                  </a:cubicBezTo>
                  <a:cubicBezTo>
                    <a:pt x="94818" y="34187"/>
                    <a:pt x="74803" y="36281"/>
                    <a:pt x="74803" y="36281"/>
                  </a:cubicBezTo>
                  <a:cubicBezTo>
                    <a:pt x="54495" y="37499"/>
                    <a:pt x="51329" y="50063"/>
                    <a:pt x="51670" y="60436"/>
                  </a:cubicBezTo>
                  <a:cubicBezTo>
                    <a:pt x="52060" y="73001"/>
                    <a:pt x="62433" y="76897"/>
                    <a:pt x="62433" y="76897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868" name="Gráfico 11">
            <a:extLst>
              <a:ext uri="{FF2B5EF4-FFF2-40B4-BE49-F238E27FC236}">
                <a16:creationId xmlns:a16="http://schemas.microsoft.com/office/drawing/2014/main" id="{386811C1-2969-B1A5-8B14-DFA759335EFA}"/>
              </a:ext>
            </a:extLst>
          </p:cNvPr>
          <p:cNvGrpSpPr/>
          <p:nvPr/>
        </p:nvGrpSpPr>
        <p:grpSpPr>
          <a:xfrm>
            <a:off x="11261512" y="1962118"/>
            <a:ext cx="248368" cy="336076"/>
            <a:chOff x="11261512" y="1962118"/>
            <a:chExt cx="248368" cy="336076"/>
          </a:xfrm>
        </p:grpSpPr>
        <p:grpSp>
          <p:nvGrpSpPr>
            <p:cNvPr id="869" name="Gráfico 11">
              <a:extLst>
                <a:ext uri="{FF2B5EF4-FFF2-40B4-BE49-F238E27FC236}">
                  <a16:creationId xmlns:a16="http://schemas.microsoft.com/office/drawing/2014/main" id="{99E9C8BC-DD87-6DFC-A038-363D895F2C08}"/>
                </a:ext>
              </a:extLst>
            </p:cNvPr>
            <p:cNvGrpSpPr/>
            <p:nvPr/>
          </p:nvGrpSpPr>
          <p:grpSpPr>
            <a:xfrm>
              <a:off x="11314010" y="2083478"/>
              <a:ext cx="111181" cy="94623"/>
              <a:chOff x="11314010" y="2083478"/>
              <a:chExt cx="111181" cy="94623"/>
            </a:xfrm>
          </p:grpSpPr>
          <p:sp>
            <p:nvSpPr>
              <p:cNvPr id="870" name="Forma livre: Forma 869">
                <a:extLst>
                  <a:ext uri="{FF2B5EF4-FFF2-40B4-BE49-F238E27FC236}">
                    <a16:creationId xmlns:a16="http://schemas.microsoft.com/office/drawing/2014/main" id="{EA9234CE-3FCA-16F3-271A-FEF81B57455F}"/>
                  </a:ext>
                </a:extLst>
              </p:cNvPr>
              <p:cNvSpPr/>
              <p:nvPr/>
            </p:nvSpPr>
            <p:spPr>
              <a:xfrm>
                <a:off x="11314010" y="2115035"/>
                <a:ext cx="111181" cy="4869"/>
              </a:xfrm>
              <a:custGeom>
                <a:avLst/>
                <a:gdLst>
                  <a:gd name="connsiteX0" fmla="*/ 0 w 111181"/>
                  <a:gd name="connsiteY0" fmla="*/ 0 h 4869"/>
                  <a:gd name="connsiteX1" fmla="*/ 111181 w 111181"/>
                  <a:gd name="connsiteY1" fmla="*/ 0 h 48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1181" h="4869">
                    <a:moveTo>
                      <a:pt x="0" y="0"/>
                    </a:moveTo>
                    <a:lnTo>
                      <a:pt x="111181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871" name="Forma livre: Forma 870">
                <a:extLst>
                  <a:ext uri="{FF2B5EF4-FFF2-40B4-BE49-F238E27FC236}">
                    <a16:creationId xmlns:a16="http://schemas.microsoft.com/office/drawing/2014/main" id="{CAD005E7-E602-2766-BCDA-469867A32227}"/>
                  </a:ext>
                </a:extLst>
              </p:cNvPr>
              <p:cNvSpPr/>
              <p:nvPr/>
            </p:nvSpPr>
            <p:spPr>
              <a:xfrm>
                <a:off x="11314010" y="2083478"/>
                <a:ext cx="111181" cy="4869"/>
              </a:xfrm>
              <a:custGeom>
                <a:avLst/>
                <a:gdLst>
                  <a:gd name="connsiteX0" fmla="*/ 0 w 111181"/>
                  <a:gd name="connsiteY0" fmla="*/ 0 h 4869"/>
                  <a:gd name="connsiteX1" fmla="*/ 111181 w 111181"/>
                  <a:gd name="connsiteY1" fmla="*/ 0 h 48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1181" h="4869">
                    <a:moveTo>
                      <a:pt x="0" y="0"/>
                    </a:moveTo>
                    <a:lnTo>
                      <a:pt x="111181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872" name="Forma livre: Forma 871">
                <a:extLst>
                  <a:ext uri="{FF2B5EF4-FFF2-40B4-BE49-F238E27FC236}">
                    <a16:creationId xmlns:a16="http://schemas.microsoft.com/office/drawing/2014/main" id="{A03CA080-84DA-5A26-2CEC-6A6340DD86DD}"/>
                  </a:ext>
                </a:extLst>
              </p:cNvPr>
              <p:cNvSpPr/>
              <p:nvPr/>
            </p:nvSpPr>
            <p:spPr>
              <a:xfrm>
                <a:off x="11314010" y="2178101"/>
                <a:ext cx="49819" cy="4869"/>
              </a:xfrm>
              <a:custGeom>
                <a:avLst/>
                <a:gdLst>
                  <a:gd name="connsiteX0" fmla="*/ 0 w 49819"/>
                  <a:gd name="connsiteY0" fmla="*/ 0 h 4869"/>
                  <a:gd name="connsiteX1" fmla="*/ 49820 w 49819"/>
                  <a:gd name="connsiteY1" fmla="*/ 0 h 48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9819" h="4869">
                    <a:moveTo>
                      <a:pt x="0" y="0"/>
                    </a:moveTo>
                    <a:lnTo>
                      <a:pt x="4982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873" name="Forma livre: Forma 872">
                <a:extLst>
                  <a:ext uri="{FF2B5EF4-FFF2-40B4-BE49-F238E27FC236}">
                    <a16:creationId xmlns:a16="http://schemas.microsoft.com/office/drawing/2014/main" id="{F6D59996-2E86-678F-AC72-5833ABFA8CC1}"/>
                  </a:ext>
                </a:extLst>
              </p:cNvPr>
              <p:cNvSpPr/>
              <p:nvPr/>
            </p:nvSpPr>
            <p:spPr>
              <a:xfrm>
                <a:off x="11314010" y="2146544"/>
                <a:ext cx="65598" cy="4869"/>
              </a:xfrm>
              <a:custGeom>
                <a:avLst/>
                <a:gdLst>
                  <a:gd name="connsiteX0" fmla="*/ 0 w 65598"/>
                  <a:gd name="connsiteY0" fmla="*/ 0 h 4869"/>
                  <a:gd name="connsiteX1" fmla="*/ 65598 w 65598"/>
                  <a:gd name="connsiteY1" fmla="*/ 0 h 48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5598" h="4869">
                    <a:moveTo>
                      <a:pt x="0" y="0"/>
                    </a:moveTo>
                    <a:lnTo>
                      <a:pt x="65598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874" name="Gráfico 11">
              <a:extLst>
                <a:ext uri="{FF2B5EF4-FFF2-40B4-BE49-F238E27FC236}">
                  <a16:creationId xmlns:a16="http://schemas.microsoft.com/office/drawing/2014/main" id="{0FD97315-C48F-913D-4DAC-1065807750F7}"/>
                </a:ext>
              </a:extLst>
            </p:cNvPr>
            <p:cNvGrpSpPr/>
            <p:nvPr/>
          </p:nvGrpSpPr>
          <p:grpSpPr>
            <a:xfrm>
              <a:off x="11367239" y="2225145"/>
              <a:ext cx="142641" cy="73049"/>
              <a:chOff x="11367239" y="2225145"/>
              <a:chExt cx="142641" cy="73049"/>
            </a:xfrm>
            <a:noFill/>
          </p:grpSpPr>
          <p:sp>
            <p:nvSpPr>
              <p:cNvPr id="875" name="Forma livre: Forma 874">
                <a:extLst>
                  <a:ext uri="{FF2B5EF4-FFF2-40B4-BE49-F238E27FC236}">
                    <a16:creationId xmlns:a16="http://schemas.microsoft.com/office/drawing/2014/main" id="{B81B075F-7B31-A7D9-9869-C8E3FFF25652}"/>
                  </a:ext>
                </a:extLst>
              </p:cNvPr>
              <p:cNvSpPr/>
              <p:nvPr/>
            </p:nvSpPr>
            <p:spPr>
              <a:xfrm>
                <a:off x="11367239" y="2243018"/>
                <a:ext cx="61897" cy="55176"/>
              </a:xfrm>
              <a:custGeom>
                <a:avLst/>
                <a:gdLst>
                  <a:gd name="connsiteX0" fmla="*/ 61897 w 61897"/>
                  <a:gd name="connsiteY0" fmla="*/ 4480 h 55176"/>
                  <a:gd name="connsiteX1" fmla="*/ 36476 w 61897"/>
                  <a:gd name="connsiteY1" fmla="*/ 55177 h 55176"/>
                  <a:gd name="connsiteX2" fmla="*/ 28879 w 61897"/>
                  <a:gd name="connsiteY2" fmla="*/ 24252 h 55176"/>
                  <a:gd name="connsiteX3" fmla="*/ 0 w 61897"/>
                  <a:gd name="connsiteY3" fmla="*/ 37109 h 55176"/>
                  <a:gd name="connsiteX4" fmla="*/ 18652 w 61897"/>
                  <a:gd name="connsiteY4" fmla="*/ 0 h 551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1897" h="55176">
                    <a:moveTo>
                      <a:pt x="61897" y="4480"/>
                    </a:moveTo>
                    <a:lnTo>
                      <a:pt x="36476" y="55177"/>
                    </a:lnTo>
                    <a:lnTo>
                      <a:pt x="28879" y="24252"/>
                    </a:lnTo>
                    <a:lnTo>
                      <a:pt x="0" y="37109"/>
                    </a:lnTo>
                    <a:lnTo>
                      <a:pt x="18652" y="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876" name="Forma livre: Forma 875">
                <a:extLst>
                  <a:ext uri="{FF2B5EF4-FFF2-40B4-BE49-F238E27FC236}">
                    <a16:creationId xmlns:a16="http://schemas.microsoft.com/office/drawing/2014/main" id="{DEC0B3EC-FA00-2C46-D15C-249191D8EBC9}"/>
                  </a:ext>
                </a:extLst>
              </p:cNvPr>
              <p:cNvSpPr/>
              <p:nvPr/>
            </p:nvSpPr>
            <p:spPr>
              <a:xfrm>
                <a:off x="11447885" y="2225145"/>
                <a:ext cx="61994" cy="73049"/>
              </a:xfrm>
              <a:custGeom>
                <a:avLst/>
                <a:gdLst>
                  <a:gd name="connsiteX0" fmla="*/ 0 w 61994"/>
                  <a:gd name="connsiteY0" fmla="*/ 22207 h 73049"/>
                  <a:gd name="connsiteX1" fmla="*/ 25519 w 61994"/>
                  <a:gd name="connsiteY1" fmla="*/ 73049 h 73049"/>
                  <a:gd name="connsiteX2" fmla="*/ 33067 w 61994"/>
                  <a:gd name="connsiteY2" fmla="*/ 42125 h 73049"/>
                  <a:gd name="connsiteX3" fmla="*/ 61995 w 61994"/>
                  <a:gd name="connsiteY3" fmla="*/ 54982 h 73049"/>
                  <a:gd name="connsiteX4" fmla="*/ 34431 w 61994"/>
                  <a:gd name="connsiteY4" fmla="*/ 0 h 730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1994" h="73049">
                    <a:moveTo>
                      <a:pt x="0" y="22207"/>
                    </a:moveTo>
                    <a:lnTo>
                      <a:pt x="25519" y="73049"/>
                    </a:lnTo>
                    <a:lnTo>
                      <a:pt x="33067" y="42125"/>
                    </a:lnTo>
                    <a:lnTo>
                      <a:pt x="61995" y="54982"/>
                    </a:lnTo>
                    <a:lnTo>
                      <a:pt x="34431" y="0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877" name="Forma livre: Forma 876">
              <a:extLst>
                <a:ext uri="{FF2B5EF4-FFF2-40B4-BE49-F238E27FC236}">
                  <a16:creationId xmlns:a16="http://schemas.microsoft.com/office/drawing/2014/main" id="{CDB0EE13-5814-17BB-DDD3-7574F89385AB}"/>
                </a:ext>
              </a:extLst>
            </p:cNvPr>
            <p:cNvSpPr/>
            <p:nvPr/>
          </p:nvSpPr>
          <p:spPr>
            <a:xfrm>
              <a:off x="11382774" y="2140895"/>
              <a:ext cx="111570" cy="111619"/>
            </a:xfrm>
            <a:custGeom>
              <a:avLst/>
              <a:gdLst>
                <a:gd name="connsiteX0" fmla="*/ 55810 w 111570"/>
                <a:gd name="connsiteY0" fmla="*/ 12175 h 111619"/>
                <a:gd name="connsiteX1" fmla="*/ 99396 w 111570"/>
                <a:gd name="connsiteY1" fmla="*/ 55810 h 111619"/>
                <a:gd name="connsiteX2" fmla="*/ 55810 w 111570"/>
                <a:gd name="connsiteY2" fmla="*/ 99445 h 111619"/>
                <a:gd name="connsiteX3" fmla="*/ 12175 w 111570"/>
                <a:gd name="connsiteY3" fmla="*/ 55810 h 111619"/>
                <a:gd name="connsiteX4" fmla="*/ 55810 w 111570"/>
                <a:gd name="connsiteY4" fmla="*/ 12175 h 111619"/>
                <a:gd name="connsiteX5" fmla="*/ 55810 w 111570"/>
                <a:gd name="connsiteY5" fmla="*/ 0 h 111619"/>
                <a:gd name="connsiteX6" fmla="*/ 0 w 111570"/>
                <a:gd name="connsiteY6" fmla="*/ 55810 h 111619"/>
                <a:gd name="connsiteX7" fmla="*/ 55810 w 111570"/>
                <a:gd name="connsiteY7" fmla="*/ 111619 h 111619"/>
                <a:gd name="connsiteX8" fmla="*/ 111571 w 111570"/>
                <a:gd name="connsiteY8" fmla="*/ 55810 h 111619"/>
                <a:gd name="connsiteX9" fmla="*/ 55810 w 111570"/>
                <a:gd name="connsiteY9" fmla="*/ 0 h 111619"/>
                <a:gd name="connsiteX10" fmla="*/ 55810 w 111570"/>
                <a:gd name="connsiteY10" fmla="*/ 0 h 1116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11570" h="111619">
                  <a:moveTo>
                    <a:pt x="55810" y="12175"/>
                  </a:moveTo>
                  <a:cubicBezTo>
                    <a:pt x="79867" y="12175"/>
                    <a:pt x="99396" y="31752"/>
                    <a:pt x="99396" y="55810"/>
                  </a:cubicBezTo>
                  <a:cubicBezTo>
                    <a:pt x="99396" y="79867"/>
                    <a:pt x="79819" y="99445"/>
                    <a:pt x="55810" y="99445"/>
                  </a:cubicBezTo>
                  <a:cubicBezTo>
                    <a:pt x="31801" y="99445"/>
                    <a:pt x="12175" y="79867"/>
                    <a:pt x="12175" y="55810"/>
                  </a:cubicBezTo>
                  <a:cubicBezTo>
                    <a:pt x="12175" y="31752"/>
                    <a:pt x="31752" y="12175"/>
                    <a:pt x="55810" y="12175"/>
                  </a:cubicBezTo>
                  <a:moveTo>
                    <a:pt x="55810" y="0"/>
                  </a:moveTo>
                  <a:cubicBezTo>
                    <a:pt x="24983" y="0"/>
                    <a:pt x="0" y="24983"/>
                    <a:pt x="0" y="55810"/>
                  </a:cubicBezTo>
                  <a:cubicBezTo>
                    <a:pt x="0" y="86637"/>
                    <a:pt x="24983" y="111619"/>
                    <a:pt x="55810" y="111619"/>
                  </a:cubicBezTo>
                  <a:cubicBezTo>
                    <a:pt x="86637" y="111619"/>
                    <a:pt x="111571" y="86637"/>
                    <a:pt x="111571" y="55810"/>
                  </a:cubicBezTo>
                  <a:cubicBezTo>
                    <a:pt x="111571" y="24983"/>
                    <a:pt x="86588" y="0"/>
                    <a:pt x="55810" y="0"/>
                  </a:cubicBezTo>
                  <a:lnTo>
                    <a:pt x="55810" y="0"/>
                  </a:ln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78" name="Forma livre: Forma 877">
              <a:extLst>
                <a:ext uri="{FF2B5EF4-FFF2-40B4-BE49-F238E27FC236}">
                  <a16:creationId xmlns:a16="http://schemas.microsoft.com/office/drawing/2014/main" id="{5F80DD14-EBE2-7E11-57A9-819C32C6B285}"/>
                </a:ext>
              </a:extLst>
            </p:cNvPr>
            <p:cNvSpPr/>
            <p:nvPr/>
          </p:nvSpPr>
          <p:spPr>
            <a:xfrm>
              <a:off x="11410679" y="2168800"/>
              <a:ext cx="55760" cy="55809"/>
            </a:xfrm>
            <a:custGeom>
              <a:avLst/>
              <a:gdLst>
                <a:gd name="connsiteX0" fmla="*/ 27905 w 55760"/>
                <a:gd name="connsiteY0" fmla="*/ 12175 h 55809"/>
                <a:gd name="connsiteX1" fmla="*/ 43586 w 55760"/>
                <a:gd name="connsiteY1" fmla="*/ 27905 h 55809"/>
                <a:gd name="connsiteX2" fmla="*/ 27905 w 55760"/>
                <a:gd name="connsiteY2" fmla="*/ 43635 h 55809"/>
                <a:gd name="connsiteX3" fmla="*/ 12175 w 55760"/>
                <a:gd name="connsiteY3" fmla="*/ 27905 h 55809"/>
                <a:gd name="connsiteX4" fmla="*/ 27905 w 55760"/>
                <a:gd name="connsiteY4" fmla="*/ 12175 h 55809"/>
                <a:gd name="connsiteX5" fmla="*/ 27905 w 55760"/>
                <a:gd name="connsiteY5" fmla="*/ 0 h 55809"/>
                <a:gd name="connsiteX6" fmla="*/ 0 w 55760"/>
                <a:gd name="connsiteY6" fmla="*/ 27905 h 55809"/>
                <a:gd name="connsiteX7" fmla="*/ 27905 w 55760"/>
                <a:gd name="connsiteY7" fmla="*/ 55810 h 55809"/>
                <a:gd name="connsiteX8" fmla="*/ 55761 w 55760"/>
                <a:gd name="connsiteY8" fmla="*/ 27905 h 55809"/>
                <a:gd name="connsiteX9" fmla="*/ 27905 w 55760"/>
                <a:gd name="connsiteY9" fmla="*/ 0 h 55809"/>
                <a:gd name="connsiteX10" fmla="*/ 27905 w 55760"/>
                <a:gd name="connsiteY10" fmla="*/ 0 h 55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5760" h="55809">
                  <a:moveTo>
                    <a:pt x="27905" y="12175"/>
                  </a:moveTo>
                  <a:cubicBezTo>
                    <a:pt x="36573" y="12175"/>
                    <a:pt x="43586" y="19236"/>
                    <a:pt x="43586" y="27905"/>
                  </a:cubicBezTo>
                  <a:cubicBezTo>
                    <a:pt x="43586" y="36573"/>
                    <a:pt x="36525" y="43635"/>
                    <a:pt x="27905" y="43635"/>
                  </a:cubicBezTo>
                  <a:cubicBezTo>
                    <a:pt x="19285" y="43635"/>
                    <a:pt x="12175" y="36573"/>
                    <a:pt x="12175" y="27905"/>
                  </a:cubicBezTo>
                  <a:cubicBezTo>
                    <a:pt x="12175" y="19236"/>
                    <a:pt x="19236" y="12175"/>
                    <a:pt x="27905" y="12175"/>
                  </a:cubicBezTo>
                  <a:moveTo>
                    <a:pt x="27905" y="0"/>
                  </a:moveTo>
                  <a:cubicBezTo>
                    <a:pt x="12516" y="0"/>
                    <a:pt x="0" y="12516"/>
                    <a:pt x="0" y="27905"/>
                  </a:cubicBezTo>
                  <a:cubicBezTo>
                    <a:pt x="0" y="43294"/>
                    <a:pt x="12516" y="55810"/>
                    <a:pt x="27905" y="55810"/>
                  </a:cubicBezTo>
                  <a:cubicBezTo>
                    <a:pt x="43294" y="55810"/>
                    <a:pt x="55761" y="43294"/>
                    <a:pt x="55761" y="27905"/>
                  </a:cubicBezTo>
                  <a:cubicBezTo>
                    <a:pt x="55761" y="12516"/>
                    <a:pt x="43294" y="0"/>
                    <a:pt x="27905" y="0"/>
                  </a:cubicBezTo>
                  <a:lnTo>
                    <a:pt x="27905" y="0"/>
                  </a:ln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879" name="Gráfico 11">
              <a:extLst>
                <a:ext uri="{FF2B5EF4-FFF2-40B4-BE49-F238E27FC236}">
                  <a16:creationId xmlns:a16="http://schemas.microsoft.com/office/drawing/2014/main" id="{A6E44985-986A-2FE7-90F5-63965125298B}"/>
                </a:ext>
              </a:extLst>
            </p:cNvPr>
            <p:cNvGrpSpPr/>
            <p:nvPr/>
          </p:nvGrpSpPr>
          <p:grpSpPr>
            <a:xfrm>
              <a:off x="11261512" y="1962118"/>
              <a:ext cx="216129" cy="285477"/>
              <a:chOff x="11261512" y="1962118"/>
              <a:chExt cx="216129" cy="285477"/>
            </a:xfrm>
            <a:noFill/>
          </p:grpSpPr>
          <p:sp>
            <p:nvSpPr>
              <p:cNvPr id="880" name="Forma livre: Forma 879">
                <a:extLst>
                  <a:ext uri="{FF2B5EF4-FFF2-40B4-BE49-F238E27FC236}">
                    <a16:creationId xmlns:a16="http://schemas.microsoft.com/office/drawing/2014/main" id="{DD9D5A46-2788-9F5D-2E1C-37CEF8A4DDAA}"/>
                  </a:ext>
                </a:extLst>
              </p:cNvPr>
              <p:cNvSpPr/>
              <p:nvPr/>
            </p:nvSpPr>
            <p:spPr>
              <a:xfrm>
                <a:off x="11261512" y="1962118"/>
                <a:ext cx="216129" cy="285477"/>
              </a:xfrm>
              <a:custGeom>
                <a:avLst/>
                <a:gdLst>
                  <a:gd name="connsiteX0" fmla="*/ 216129 w 216129"/>
                  <a:gd name="connsiteY0" fmla="*/ 172932 h 285477"/>
                  <a:gd name="connsiteX1" fmla="*/ 216129 w 216129"/>
                  <a:gd name="connsiteY1" fmla="*/ 19480 h 285477"/>
                  <a:gd name="connsiteX2" fmla="*/ 196649 w 216129"/>
                  <a:gd name="connsiteY2" fmla="*/ 0 h 285477"/>
                  <a:gd name="connsiteX3" fmla="*/ 54349 w 216129"/>
                  <a:gd name="connsiteY3" fmla="*/ 0 h 285477"/>
                  <a:gd name="connsiteX4" fmla="*/ 0 w 216129"/>
                  <a:gd name="connsiteY4" fmla="*/ 47190 h 285477"/>
                  <a:gd name="connsiteX5" fmla="*/ 0 w 216129"/>
                  <a:gd name="connsiteY5" fmla="*/ 265997 h 285477"/>
                  <a:gd name="connsiteX6" fmla="*/ 19480 w 216129"/>
                  <a:gd name="connsiteY6" fmla="*/ 285477 h 285477"/>
                  <a:gd name="connsiteX7" fmla="*/ 95354 w 216129"/>
                  <a:gd name="connsiteY7" fmla="*/ 285477 h 2854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16129" h="285477">
                    <a:moveTo>
                      <a:pt x="216129" y="172932"/>
                    </a:moveTo>
                    <a:lnTo>
                      <a:pt x="216129" y="19480"/>
                    </a:lnTo>
                    <a:cubicBezTo>
                      <a:pt x="216129" y="8766"/>
                      <a:pt x="207363" y="0"/>
                      <a:pt x="196649" y="0"/>
                    </a:cubicBezTo>
                    <a:lnTo>
                      <a:pt x="54349" y="0"/>
                    </a:lnTo>
                    <a:lnTo>
                      <a:pt x="0" y="47190"/>
                    </a:lnTo>
                    <a:lnTo>
                      <a:pt x="0" y="265997"/>
                    </a:lnTo>
                    <a:cubicBezTo>
                      <a:pt x="0" y="276711"/>
                      <a:pt x="8766" y="285477"/>
                      <a:pt x="19480" y="285477"/>
                    </a:cubicBezTo>
                    <a:lnTo>
                      <a:pt x="95354" y="285477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881" name="Forma livre: Forma 880">
                <a:extLst>
                  <a:ext uri="{FF2B5EF4-FFF2-40B4-BE49-F238E27FC236}">
                    <a16:creationId xmlns:a16="http://schemas.microsoft.com/office/drawing/2014/main" id="{F904C11F-B540-B1BB-6509-A9E8681C4471}"/>
                  </a:ext>
                </a:extLst>
              </p:cNvPr>
              <p:cNvSpPr/>
              <p:nvPr/>
            </p:nvSpPr>
            <p:spPr>
              <a:xfrm>
                <a:off x="11291121" y="1963238"/>
                <a:ext cx="33700" cy="62530"/>
              </a:xfrm>
              <a:custGeom>
                <a:avLst/>
                <a:gdLst>
                  <a:gd name="connsiteX0" fmla="*/ 33700 w 33700"/>
                  <a:gd name="connsiteY0" fmla="*/ 0 h 62530"/>
                  <a:gd name="connsiteX1" fmla="*/ 33700 w 33700"/>
                  <a:gd name="connsiteY1" fmla="*/ 62530 h 62530"/>
                  <a:gd name="connsiteX2" fmla="*/ 0 w 33700"/>
                  <a:gd name="connsiteY2" fmla="*/ 62530 h 625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3700" h="62530">
                    <a:moveTo>
                      <a:pt x="33700" y="0"/>
                    </a:moveTo>
                    <a:lnTo>
                      <a:pt x="33700" y="62530"/>
                    </a:lnTo>
                    <a:lnTo>
                      <a:pt x="0" y="6253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882" name="Gráfico 11">
            <a:extLst>
              <a:ext uri="{FF2B5EF4-FFF2-40B4-BE49-F238E27FC236}">
                <a16:creationId xmlns:a16="http://schemas.microsoft.com/office/drawing/2014/main" id="{B1F31F2C-833F-BAC0-04E4-BD079E7A1A8A}"/>
              </a:ext>
            </a:extLst>
          </p:cNvPr>
          <p:cNvGrpSpPr/>
          <p:nvPr/>
        </p:nvGrpSpPr>
        <p:grpSpPr>
          <a:xfrm>
            <a:off x="10615474" y="1964602"/>
            <a:ext cx="271865" cy="331060"/>
            <a:chOff x="10615474" y="1964602"/>
            <a:chExt cx="271865" cy="331060"/>
          </a:xfrm>
          <a:noFill/>
        </p:grpSpPr>
        <p:sp>
          <p:nvSpPr>
            <p:cNvPr id="883" name="Forma livre: Forma 882">
              <a:extLst>
                <a:ext uri="{FF2B5EF4-FFF2-40B4-BE49-F238E27FC236}">
                  <a16:creationId xmlns:a16="http://schemas.microsoft.com/office/drawing/2014/main" id="{8CAD994C-3287-8A15-C432-8FE42DEE73EC}"/>
                </a:ext>
              </a:extLst>
            </p:cNvPr>
            <p:cNvSpPr/>
            <p:nvPr/>
          </p:nvSpPr>
          <p:spPr>
            <a:xfrm>
              <a:off x="10662263" y="2190130"/>
              <a:ext cx="178386" cy="23034"/>
            </a:xfrm>
            <a:custGeom>
              <a:avLst/>
              <a:gdLst>
                <a:gd name="connsiteX0" fmla="*/ 178387 w 178386"/>
                <a:gd name="connsiteY0" fmla="*/ 0 h 23034"/>
                <a:gd name="connsiteX1" fmla="*/ 84835 w 178386"/>
                <a:gd name="connsiteY1" fmla="*/ 23035 h 23034"/>
                <a:gd name="connsiteX2" fmla="*/ 0 w 178386"/>
                <a:gd name="connsiteY2" fmla="*/ 4773 h 230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78386" h="23034">
                  <a:moveTo>
                    <a:pt x="178387" y="0"/>
                  </a:moveTo>
                  <a:cubicBezTo>
                    <a:pt x="154475" y="14220"/>
                    <a:pt x="121359" y="23035"/>
                    <a:pt x="84835" y="23035"/>
                  </a:cubicBezTo>
                  <a:cubicBezTo>
                    <a:pt x="52547" y="23035"/>
                    <a:pt x="22986" y="16168"/>
                    <a:pt x="0" y="4773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84" name="Forma livre: Forma 883">
              <a:extLst>
                <a:ext uri="{FF2B5EF4-FFF2-40B4-BE49-F238E27FC236}">
                  <a16:creationId xmlns:a16="http://schemas.microsoft.com/office/drawing/2014/main" id="{02760D23-DD6C-B862-A444-D0CD91EA2A07}"/>
                </a:ext>
              </a:extLst>
            </p:cNvPr>
            <p:cNvSpPr/>
            <p:nvPr/>
          </p:nvSpPr>
          <p:spPr>
            <a:xfrm>
              <a:off x="10688804" y="2020266"/>
              <a:ext cx="125352" cy="21622"/>
            </a:xfrm>
            <a:custGeom>
              <a:avLst/>
              <a:gdLst>
                <a:gd name="connsiteX0" fmla="*/ 125353 w 125352"/>
                <a:gd name="connsiteY0" fmla="*/ 21623 h 21622"/>
                <a:gd name="connsiteX1" fmla="*/ 62676 w 125352"/>
                <a:gd name="connsiteY1" fmla="*/ 0 h 21622"/>
                <a:gd name="connsiteX2" fmla="*/ 0 w 125352"/>
                <a:gd name="connsiteY2" fmla="*/ 21623 h 216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5352" h="21622">
                  <a:moveTo>
                    <a:pt x="125353" y="21623"/>
                  </a:moveTo>
                  <a:cubicBezTo>
                    <a:pt x="108016" y="8133"/>
                    <a:pt x="86296" y="0"/>
                    <a:pt x="62676" y="0"/>
                  </a:cubicBezTo>
                  <a:cubicBezTo>
                    <a:pt x="39057" y="0"/>
                    <a:pt x="17288" y="8084"/>
                    <a:pt x="0" y="21623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85" name="Forma livre: Forma 884">
              <a:extLst>
                <a:ext uri="{FF2B5EF4-FFF2-40B4-BE49-F238E27FC236}">
                  <a16:creationId xmlns:a16="http://schemas.microsoft.com/office/drawing/2014/main" id="{183B92C6-639F-C656-6A17-F62088B2F5E7}"/>
                </a:ext>
              </a:extLst>
            </p:cNvPr>
            <p:cNvSpPr/>
            <p:nvPr/>
          </p:nvSpPr>
          <p:spPr>
            <a:xfrm>
              <a:off x="10692359" y="2057180"/>
              <a:ext cx="118145" cy="112350"/>
            </a:xfrm>
            <a:custGeom>
              <a:avLst/>
              <a:gdLst>
                <a:gd name="connsiteX0" fmla="*/ 59073 w 118145"/>
                <a:gd name="connsiteY0" fmla="*/ 0 h 112350"/>
                <a:gd name="connsiteX1" fmla="*/ 76799 w 118145"/>
                <a:gd name="connsiteY1" fmla="*/ 37742 h 112350"/>
                <a:gd name="connsiteX2" fmla="*/ 118145 w 118145"/>
                <a:gd name="connsiteY2" fmla="*/ 42904 h 112350"/>
                <a:gd name="connsiteX3" fmla="*/ 87708 w 118145"/>
                <a:gd name="connsiteY3" fmla="*/ 71394 h 112350"/>
                <a:gd name="connsiteX4" fmla="*/ 95597 w 118145"/>
                <a:gd name="connsiteY4" fmla="*/ 112350 h 112350"/>
                <a:gd name="connsiteX5" fmla="*/ 59073 w 118145"/>
                <a:gd name="connsiteY5" fmla="*/ 92188 h 112350"/>
                <a:gd name="connsiteX6" fmla="*/ 22597 w 118145"/>
                <a:gd name="connsiteY6" fmla="*/ 112350 h 112350"/>
                <a:gd name="connsiteX7" fmla="*/ 30486 w 118145"/>
                <a:gd name="connsiteY7" fmla="*/ 71394 h 112350"/>
                <a:gd name="connsiteX8" fmla="*/ 0 w 118145"/>
                <a:gd name="connsiteY8" fmla="*/ 42904 h 112350"/>
                <a:gd name="connsiteX9" fmla="*/ 40567 w 118145"/>
                <a:gd name="connsiteY9" fmla="*/ 37499 h 1123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8145" h="112350">
                  <a:moveTo>
                    <a:pt x="59073" y="0"/>
                  </a:moveTo>
                  <a:lnTo>
                    <a:pt x="76799" y="37742"/>
                  </a:lnTo>
                  <a:lnTo>
                    <a:pt x="118145" y="42904"/>
                  </a:lnTo>
                  <a:lnTo>
                    <a:pt x="87708" y="71394"/>
                  </a:lnTo>
                  <a:lnTo>
                    <a:pt x="95597" y="112350"/>
                  </a:lnTo>
                  <a:lnTo>
                    <a:pt x="59073" y="92188"/>
                  </a:lnTo>
                  <a:lnTo>
                    <a:pt x="22597" y="112350"/>
                  </a:lnTo>
                  <a:lnTo>
                    <a:pt x="30486" y="71394"/>
                  </a:lnTo>
                  <a:lnTo>
                    <a:pt x="0" y="42904"/>
                  </a:lnTo>
                  <a:lnTo>
                    <a:pt x="40567" y="37499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86" name="Forma livre: Forma 885">
              <a:extLst>
                <a:ext uri="{FF2B5EF4-FFF2-40B4-BE49-F238E27FC236}">
                  <a16:creationId xmlns:a16="http://schemas.microsoft.com/office/drawing/2014/main" id="{1695FF9F-453F-022B-568E-07CCACC3549E}"/>
                </a:ext>
              </a:extLst>
            </p:cNvPr>
            <p:cNvSpPr/>
            <p:nvPr/>
          </p:nvSpPr>
          <p:spPr>
            <a:xfrm>
              <a:off x="10615474" y="1964602"/>
              <a:ext cx="271865" cy="331060"/>
            </a:xfrm>
            <a:custGeom>
              <a:avLst/>
              <a:gdLst>
                <a:gd name="connsiteX0" fmla="*/ 136055 w 271865"/>
                <a:gd name="connsiteY0" fmla="*/ 331060 h 331060"/>
                <a:gd name="connsiteX1" fmla="*/ 189624 w 271865"/>
                <a:gd name="connsiteY1" fmla="*/ 296240 h 331060"/>
                <a:gd name="connsiteX2" fmla="*/ 246457 w 271865"/>
                <a:gd name="connsiteY2" fmla="*/ 129054 h 331060"/>
                <a:gd name="connsiteX3" fmla="*/ 261895 w 271865"/>
                <a:gd name="connsiteY3" fmla="*/ 51135 h 331060"/>
                <a:gd name="connsiteX4" fmla="*/ 212367 w 271865"/>
                <a:gd name="connsiteY4" fmla="*/ 828 h 331060"/>
                <a:gd name="connsiteX5" fmla="*/ 136103 w 271865"/>
                <a:gd name="connsiteY5" fmla="*/ 0 h 331060"/>
                <a:gd name="connsiteX6" fmla="*/ 135811 w 271865"/>
                <a:gd name="connsiteY6" fmla="*/ 0 h 331060"/>
                <a:gd name="connsiteX7" fmla="*/ 59499 w 271865"/>
                <a:gd name="connsiteY7" fmla="*/ 828 h 331060"/>
                <a:gd name="connsiteX8" fmla="*/ 9971 w 271865"/>
                <a:gd name="connsiteY8" fmla="*/ 51135 h 331060"/>
                <a:gd name="connsiteX9" fmla="*/ 25409 w 271865"/>
                <a:gd name="connsiteY9" fmla="*/ 129054 h 331060"/>
                <a:gd name="connsiteX10" fmla="*/ 82242 w 271865"/>
                <a:gd name="connsiteY10" fmla="*/ 296240 h 331060"/>
                <a:gd name="connsiteX11" fmla="*/ 135811 w 271865"/>
                <a:gd name="connsiteY11" fmla="*/ 331060 h 331060"/>
                <a:gd name="connsiteX12" fmla="*/ 136152 w 271865"/>
                <a:gd name="connsiteY12" fmla="*/ 331060 h 3310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71865" h="331060">
                  <a:moveTo>
                    <a:pt x="136055" y="331060"/>
                  </a:moveTo>
                  <a:cubicBezTo>
                    <a:pt x="147158" y="309243"/>
                    <a:pt x="160989" y="304129"/>
                    <a:pt x="189624" y="296240"/>
                  </a:cubicBezTo>
                  <a:cubicBezTo>
                    <a:pt x="327006" y="258498"/>
                    <a:pt x="252057" y="139573"/>
                    <a:pt x="246457" y="129054"/>
                  </a:cubicBezTo>
                  <a:cubicBezTo>
                    <a:pt x="227172" y="92919"/>
                    <a:pt x="261895" y="51135"/>
                    <a:pt x="261895" y="51135"/>
                  </a:cubicBezTo>
                  <a:lnTo>
                    <a:pt x="212367" y="828"/>
                  </a:lnTo>
                  <a:cubicBezTo>
                    <a:pt x="173407" y="38180"/>
                    <a:pt x="136103" y="0"/>
                    <a:pt x="136103" y="0"/>
                  </a:cubicBezTo>
                  <a:lnTo>
                    <a:pt x="135811" y="0"/>
                  </a:lnTo>
                  <a:cubicBezTo>
                    <a:pt x="135811" y="0"/>
                    <a:pt x="98459" y="38132"/>
                    <a:pt x="59499" y="828"/>
                  </a:cubicBezTo>
                  <a:lnTo>
                    <a:pt x="9971" y="51135"/>
                  </a:lnTo>
                  <a:cubicBezTo>
                    <a:pt x="9971" y="51135"/>
                    <a:pt x="44645" y="92919"/>
                    <a:pt x="25409" y="129054"/>
                  </a:cubicBezTo>
                  <a:cubicBezTo>
                    <a:pt x="19809" y="139573"/>
                    <a:pt x="-55140" y="258498"/>
                    <a:pt x="82242" y="296240"/>
                  </a:cubicBezTo>
                  <a:cubicBezTo>
                    <a:pt x="110828" y="304129"/>
                    <a:pt x="124659" y="309243"/>
                    <a:pt x="135811" y="331060"/>
                  </a:cubicBezTo>
                  <a:lnTo>
                    <a:pt x="136152" y="331060"/>
                  </a:ln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887" name="Gráfico 11">
            <a:extLst>
              <a:ext uri="{FF2B5EF4-FFF2-40B4-BE49-F238E27FC236}">
                <a16:creationId xmlns:a16="http://schemas.microsoft.com/office/drawing/2014/main" id="{4C383B71-C747-3703-DD73-5C82FE774202}"/>
              </a:ext>
            </a:extLst>
          </p:cNvPr>
          <p:cNvGrpSpPr/>
          <p:nvPr/>
        </p:nvGrpSpPr>
        <p:grpSpPr>
          <a:xfrm>
            <a:off x="9951491" y="1964553"/>
            <a:ext cx="331157" cy="331157"/>
            <a:chOff x="9951491" y="1964553"/>
            <a:chExt cx="331157" cy="331157"/>
          </a:xfrm>
        </p:grpSpPr>
        <p:grpSp>
          <p:nvGrpSpPr>
            <p:cNvPr id="888" name="Gráfico 11">
              <a:extLst>
                <a:ext uri="{FF2B5EF4-FFF2-40B4-BE49-F238E27FC236}">
                  <a16:creationId xmlns:a16="http://schemas.microsoft.com/office/drawing/2014/main" id="{F000699C-9EC7-301B-4952-7871B5955C86}"/>
                </a:ext>
              </a:extLst>
            </p:cNvPr>
            <p:cNvGrpSpPr/>
            <p:nvPr/>
          </p:nvGrpSpPr>
          <p:grpSpPr>
            <a:xfrm>
              <a:off x="9988016" y="2001078"/>
              <a:ext cx="258108" cy="258108"/>
              <a:chOff x="9988016" y="2001078"/>
              <a:chExt cx="258108" cy="258108"/>
            </a:xfrm>
            <a:noFill/>
          </p:grpSpPr>
          <p:sp>
            <p:nvSpPr>
              <p:cNvPr id="889" name="Forma livre: Forma 888">
                <a:extLst>
                  <a:ext uri="{FF2B5EF4-FFF2-40B4-BE49-F238E27FC236}">
                    <a16:creationId xmlns:a16="http://schemas.microsoft.com/office/drawing/2014/main" id="{05F57990-BD9E-B8CD-26AC-1BC8C2B876D5}"/>
                  </a:ext>
                </a:extLst>
              </p:cNvPr>
              <p:cNvSpPr/>
              <p:nvPr/>
            </p:nvSpPr>
            <p:spPr>
              <a:xfrm>
                <a:off x="9990305" y="2003513"/>
                <a:ext cx="101587" cy="102317"/>
              </a:xfrm>
              <a:custGeom>
                <a:avLst/>
                <a:gdLst>
                  <a:gd name="connsiteX0" fmla="*/ 0 w 101587"/>
                  <a:gd name="connsiteY0" fmla="*/ 102318 h 102317"/>
                  <a:gd name="connsiteX1" fmla="*/ 101587 w 101587"/>
                  <a:gd name="connsiteY1" fmla="*/ 0 h 1023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01587" h="102317">
                    <a:moveTo>
                      <a:pt x="0" y="102318"/>
                    </a:moveTo>
                    <a:cubicBezTo>
                      <a:pt x="9789" y="50842"/>
                      <a:pt x="50209" y="10178"/>
                      <a:pt x="101587" y="0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890" name="Forma livre: Forma 889">
                <a:extLst>
                  <a:ext uri="{FF2B5EF4-FFF2-40B4-BE49-F238E27FC236}">
                    <a16:creationId xmlns:a16="http://schemas.microsoft.com/office/drawing/2014/main" id="{0F4766C7-7BA5-6DC9-6D33-723CDFD45BEF}"/>
                  </a:ext>
                </a:extLst>
              </p:cNvPr>
              <p:cNvSpPr/>
              <p:nvPr/>
            </p:nvSpPr>
            <p:spPr>
              <a:xfrm>
                <a:off x="9988016" y="2130960"/>
                <a:ext cx="103925" cy="125791"/>
              </a:xfrm>
              <a:custGeom>
                <a:avLst/>
                <a:gdLst>
                  <a:gd name="connsiteX0" fmla="*/ 103925 w 103925"/>
                  <a:gd name="connsiteY0" fmla="*/ 125791 h 125791"/>
                  <a:gd name="connsiteX1" fmla="*/ 0 w 103925"/>
                  <a:gd name="connsiteY1" fmla="*/ 0 h 1257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03925" h="125791">
                    <a:moveTo>
                      <a:pt x="103925" y="125791"/>
                    </a:moveTo>
                    <a:cubicBezTo>
                      <a:pt x="44950" y="114152"/>
                      <a:pt x="390" y="62287"/>
                      <a:pt x="0" y="0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891" name="Forma livre: Forma 890">
                <a:extLst>
                  <a:ext uri="{FF2B5EF4-FFF2-40B4-BE49-F238E27FC236}">
                    <a16:creationId xmlns:a16="http://schemas.microsoft.com/office/drawing/2014/main" id="{77E26A0D-3736-ED99-A38E-92858CABA1D4}"/>
                  </a:ext>
                </a:extLst>
              </p:cNvPr>
              <p:cNvSpPr/>
              <p:nvPr/>
            </p:nvSpPr>
            <p:spPr>
              <a:xfrm>
                <a:off x="10117070" y="2131057"/>
                <a:ext cx="129054" cy="128128"/>
              </a:xfrm>
              <a:custGeom>
                <a:avLst/>
                <a:gdLst>
                  <a:gd name="connsiteX0" fmla="*/ 129054 w 129054"/>
                  <a:gd name="connsiteY0" fmla="*/ 0 h 128128"/>
                  <a:gd name="connsiteX1" fmla="*/ 0 w 129054"/>
                  <a:gd name="connsiteY1" fmla="*/ 128129 h 1281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9054" h="128128">
                    <a:moveTo>
                      <a:pt x="129054" y="0"/>
                    </a:moveTo>
                    <a:cubicBezTo>
                      <a:pt x="128567" y="70858"/>
                      <a:pt x="70955" y="128129"/>
                      <a:pt x="0" y="128129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892" name="Forma livre: Forma 891">
                <a:extLst>
                  <a:ext uri="{FF2B5EF4-FFF2-40B4-BE49-F238E27FC236}">
                    <a16:creationId xmlns:a16="http://schemas.microsoft.com/office/drawing/2014/main" id="{F0ADC920-CBB7-83FD-CDA0-95FEE6F672EB}"/>
                  </a:ext>
                </a:extLst>
              </p:cNvPr>
              <p:cNvSpPr/>
              <p:nvPr/>
            </p:nvSpPr>
            <p:spPr>
              <a:xfrm>
                <a:off x="10117070" y="2001078"/>
                <a:ext cx="126716" cy="104558"/>
              </a:xfrm>
              <a:custGeom>
                <a:avLst/>
                <a:gdLst>
                  <a:gd name="connsiteX0" fmla="*/ 0 w 126716"/>
                  <a:gd name="connsiteY0" fmla="*/ 0 h 104558"/>
                  <a:gd name="connsiteX1" fmla="*/ 126716 w 126716"/>
                  <a:gd name="connsiteY1" fmla="*/ 104558 h 1045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6716" h="104558">
                    <a:moveTo>
                      <a:pt x="0" y="0"/>
                    </a:moveTo>
                    <a:cubicBezTo>
                      <a:pt x="62920" y="0"/>
                      <a:pt x="115272" y="44998"/>
                      <a:pt x="126716" y="104558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893" name="Forma livre: Forma 892">
                <a:extLst>
                  <a:ext uri="{FF2B5EF4-FFF2-40B4-BE49-F238E27FC236}">
                    <a16:creationId xmlns:a16="http://schemas.microsoft.com/office/drawing/2014/main" id="{A1D8A0D1-EBA7-93C3-CC2D-672242EEF2DD}"/>
                  </a:ext>
                </a:extLst>
              </p:cNvPr>
              <p:cNvSpPr/>
              <p:nvPr/>
            </p:nvSpPr>
            <p:spPr>
              <a:xfrm>
                <a:off x="10030239" y="2043300"/>
                <a:ext cx="173662" cy="173662"/>
              </a:xfrm>
              <a:custGeom>
                <a:avLst/>
                <a:gdLst>
                  <a:gd name="connsiteX0" fmla="*/ 173663 w 173662"/>
                  <a:gd name="connsiteY0" fmla="*/ 86832 h 173662"/>
                  <a:gd name="connsiteX1" fmla="*/ 86831 w 173662"/>
                  <a:gd name="connsiteY1" fmla="*/ 173663 h 173662"/>
                  <a:gd name="connsiteX2" fmla="*/ 0 w 173662"/>
                  <a:gd name="connsiteY2" fmla="*/ 86832 h 173662"/>
                  <a:gd name="connsiteX3" fmla="*/ 86831 w 173662"/>
                  <a:gd name="connsiteY3" fmla="*/ 0 h 173662"/>
                  <a:gd name="connsiteX4" fmla="*/ 173663 w 173662"/>
                  <a:gd name="connsiteY4" fmla="*/ 86832 h 1736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3662" h="173662">
                    <a:moveTo>
                      <a:pt x="173663" y="86832"/>
                    </a:moveTo>
                    <a:cubicBezTo>
                      <a:pt x="173663" y="134801"/>
                      <a:pt x="134801" y="173663"/>
                      <a:pt x="86831" y="173663"/>
                    </a:cubicBezTo>
                    <a:cubicBezTo>
                      <a:pt x="38862" y="173663"/>
                      <a:pt x="0" y="134752"/>
                      <a:pt x="0" y="86832"/>
                    </a:cubicBezTo>
                    <a:cubicBezTo>
                      <a:pt x="0" y="38911"/>
                      <a:pt x="38862" y="0"/>
                      <a:pt x="86831" y="0"/>
                    </a:cubicBezTo>
                    <a:cubicBezTo>
                      <a:pt x="134801" y="0"/>
                      <a:pt x="173663" y="38862"/>
                      <a:pt x="173663" y="86832"/>
                    </a:cubicBezTo>
                    <a:close/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894" name="Forma livre: Forma 893">
                <a:extLst>
                  <a:ext uri="{FF2B5EF4-FFF2-40B4-BE49-F238E27FC236}">
                    <a16:creationId xmlns:a16="http://schemas.microsoft.com/office/drawing/2014/main" id="{CE2E89DD-DA95-6D5B-16C8-953AA265BB91}"/>
                  </a:ext>
                </a:extLst>
              </p:cNvPr>
              <p:cNvSpPr/>
              <p:nvPr/>
            </p:nvSpPr>
            <p:spPr>
              <a:xfrm>
                <a:off x="10073240" y="2086302"/>
                <a:ext cx="87659" cy="87659"/>
              </a:xfrm>
              <a:custGeom>
                <a:avLst/>
                <a:gdLst>
                  <a:gd name="connsiteX0" fmla="*/ 87659 w 87659"/>
                  <a:gd name="connsiteY0" fmla="*/ 43830 h 87659"/>
                  <a:gd name="connsiteX1" fmla="*/ 43830 w 87659"/>
                  <a:gd name="connsiteY1" fmla="*/ 87659 h 87659"/>
                  <a:gd name="connsiteX2" fmla="*/ 0 w 87659"/>
                  <a:gd name="connsiteY2" fmla="*/ 43830 h 87659"/>
                  <a:gd name="connsiteX3" fmla="*/ 43830 w 87659"/>
                  <a:gd name="connsiteY3" fmla="*/ 0 h 87659"/>
                  <a:gd name="connsiteX4" fmla="*/ 87659 w 87659"/>
                  <a:gd name="connsiteY4" fmla="*/ 43830 h 876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7659" h="87659">
                    <a:moveTo>
                      <a:pt x="87659" y="43830"/>
                    </a:moveTo>
                    <a:cubicBezTo>
                      <a:pt x="87659" y="68033"/>
                      <a:pt x="68033" y="87659"/>
                      <a:pt x="43830" y="87659"/>
                    </a:cubicBezTo>
                    <a:cubicBezTo>
                      <a:pt x="19626" y="87659"/>
                      <a:pt x="0" y="68033"/>
                      <a:pt x="0" y="43830"/>
                    </a:cubicBezTo>
                    <a:cubicBezTo>
                      <a:pt x="0" y="19626"/>
                      <a:pt x="19626" y="0"/>
                      <a:pt x="43830" y="0"/>
                    </a:cubicBezTo>
                    <a:cubicBezTo>
                      <a:pt x="68033" y="0"/>
                      <a:pt x="87659" y="19626"/>
                      <a:pt x="87659" y="43830"/>
                    </a:cubicBezTo>
                    <a:close/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895" name="Forma livre: Forma 894">
              <a:extLst>
                <a:ext uri="{FF2B5EF4-FFF2-40B4-BE49-F238E27FC236}">
                  <a16:creationId xmlns:a16="http://schemas.microsoft.com/office/drawing/2014/main" id="{9460068D-2D60-AB51-FD9F-3E5547FE0DD3}"/>
                </a:ext>
              </a:extLst>
            </p:cNvPr>
            <p:cNvSpPr/>
            <p:nvPr/>
          </p:nvSpPr>
          <p:spPr>
            <a:xfrm>
              <a:off x="10113272" y="2126333"/>
              <a:ext cx="7597" cy="7597"/>
            </a:xfrm>
            <a:custGeom>
              <a:avLst/>
              <a:gdLst>
                <a:gd name="connsiteX0" fmla="*/ 7597 w 7597"/>
                <a:gd name="connsiteY0" fmla="*/ 3799 h 7597"/>
                <a:gd name="connsiteX1" fmla="*/ 3799 w 7597"/>
                <a:gd name="connsiteY1" fmla="*/ 7597 h 7597"/>
                <a:gd name="connsiteX2" fmla="*/ 0 w 7597"/>
                <a:gd name="connsiteY2" fmla="*/ 3799 h 7597"/>
                <a:gd name="connsiteX3" fmla="*/ 3799 w 7597"/>
                <a:gd name="connsiteY3" fmla="*/ 0 h 7597"/>
                <a:gd name="connsiteX4" fmla="*/ 7597 w 7597"/>
                <a:gd name="connsiteY4" fmla="*/ 3799 h 75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597" h="7597">
                  <a:moveTo>
                    <a:pt x="7597" y="3799"/>
                  </a:moveTo>
                  <a:cubicBezTo>
                    <a:pt x="7597" y="5893"/>
                    <a:pt x="5893" y="7597"/>
                    <a:pt x="3799" y="7597"/>
                  </a:cubicBezTo>
                  <a:cubicBezTo>
                    <a:pt x="1704" y="7597"/>
                    <a:pt x="0" y="5893"/>
                    <a:pt x="0" y="3799"/>
                  </a:cubicBezTo>
                  <a:cubicBezTo>
                    <a:pt x="0" y="1704"/>
                    <a:pt x="1704" y="0"/>
                    <a:pt x="3799" y="0"/>
                  </a:cubicBezTo>
                  <a:cubicBezTo>
                    <a:pt x="5893" y="0"/>
                    <a:pt x="7597" y="1704"/>
                    <a:pt x="7597" y="3799"/>
                  </a:cubicBezTo>
                  <a:close/>
                </a:path>
              </a:pathLst>
            </a:custGeom>
            <a:solidFill>
              <a:srgbClr val="394553"/>
            </a:solidFill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96" name="Forma livre: Forma 895">
              <a:extLst>
                <a:ext uri="{FF2B5EF4-FFF2-40B4-BE49-F238E27FC236}">
                  <a16:creationId xmlns:a16="http://schemas.microsoft.com/office/drawing/2014/main" id="{62E9A825-26CF-0B19-422C-AD39EE6A9F65}"/>
                </a:ext>
              </a:extLst>
            </p:cNvPr>
            <p:cNvSpPr/>
            <p:nvPr/>
          </p:nvSpPr>
          <p:spPr>
            <a:xfrm>
              <a:off x="9951491" y="2130132"/>
              <a:ext cx="74656" cy="4869"/>
            </a:xfrm>
            <a:custGeom>
              <a:avLst/>
              <a:gdLst>
                <a:gd name="connsiteX0" fmla="*/ 0 w 74656"/>
                <a:gd name="connsiteY0" fmla="*/ 0 h 4869"/>
                <a:gd name="connsiteX1" fmla="*/ 74657 w 74656"/>
                <a:gd name="connsiteY1" fmla="*/ 0 h 48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4656" h="4869">
                  <a:moveTo>
                    <a:pt x="0" y="0"/>
                  </a:moveTo>
                  <a:lnTo>
                    <a:pt x="74657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97" name="Forma livre: Forma 896">
              <a:extLst>
                <a:ext uri="{FF2B5EF4-FFF2-40B4-BE49-F238E27FC236}">
                  <a16:creationId xmlns:a16="http://schemas.microsoft.com/office/drawing/2014/main" id="{74302691-F78B-80F2-F0E9-2B363CAFE465}"/>
                </a:ext>
              </a:extLst>
            </p:cNvPr>
            <p:cNvSpPr/>
            <p:nvPr/>
          </p:nvSpPr>
          <p:spPr>
            <a:xfrm>
              <a:off x="10117070" y="1964553"/>
              <a:ext cx="4869" cy="74656"/>
            </a:xfrm>
            <a:custGeom>
              <a:avLst/>
              <a:gdLst>
                <a:gd name="connsiteX0" fmla="*/ 0 w 4869"/>
                <a:gd name="connsiteY0" fmla="*/ 74657 h 74656"/>
                <a:gd name="connsiteX1" fmla="*/ 0 w 4869"/>
                <a:gd name="connsiteY1" fmla="*/ 0 h 746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869" h="74656">
                  <a:moveTo>
                    <a:pt x="0" y="74657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98" name="Forma livre: Forma 897">
              <a:extLst>
                <a:ext uri="{FF2B5EF4-FFF2-40B4-BE49-F238E27FC236}">
                  <a16:creationId xmlns:a16="http://schemas.microsoft.com/office/drawing/2014/main" id="{32AA4219-7657-A452-AF88-CC26A92156FE}"/>
                </a:ext>
              </a:extLst>
            </p:cNvPr>
            <p:cNvSpPr/>
            <p:nvPr/>
          </p:nvSpPr>
          <p:spPr>
            <a:xfrm>
              <a:off x="10117070" y="2221054"/>
              <a:ext cx="4869" cy="74656"/>
            </a:xfrm>
            <a:custGeom>
              <a:avLst/>
              <a:gdLst>
                <a:gd name="connsiteX0" fmla="*/ 0 w 4869"/>
                <a:gd name="connsiteY0" fmla="*/ 74657 h 74656"/>
                <a:gd name="connsiteX1" fmla="*/ 0 w 4869"/>
                <a:gd name="connsiteY1" fmla="*/ 0 h 746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869" h="74656">
                  <a:moveTo>
                    <a:pt x="0" y="74657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99" name="Forma livre: Forma 898">
              <a:extLst>
                <a:ext uri="{FF2B5EF4-FFF2-40B4-BE49-F238E27FC236}">
                  <a16:creationId xmlns:a16="http://schemas.microsoft.com/office/drawing/2014/main" id="{144BCB2F-C88B-C293-2433-F5CB9F7CB67F}"/>
                </a:ext>
              </a:extLst>
            </p:cNvPr>
            <p:cNvSpPr/>
            <p:nvPr/>
          </p:nvSpPr>
          <p:spPr>
            <a:xfrm>
              <a:off x="10207944" y="2130132"/>
              <a:ext cx="74705" cy="4869"/>
            </a:xfrm>
            <a:custGeom>
              <a:avLst/>
              <a:gdLst>
                <a:gd name="connsiteX0" fmla="*/ 0 w 74705"/>
                <a:gd name="connsiteY0" fmla="*/ 0 h 4869"/>
                <a:gd name="connsiteX1" fmla="*/ 74705 w 74705"/>
                <a:gd name="connsiteY1" fmla="*/ 0 h 48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4705" h="4869">
                  <a:moveTo>
                    <a:pt x="0" y="0"/>
                  </a:moveTo>
                  <a:lnTo>
                    <a:pt x="74705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901" name="Gráfico 13">
            <a:extLst>
              <a:ext uri="{FF2B5EF4-FFF2-40B4-BE49-F238E27FC236}">
                <a16:creationId xmlns:a16="http://schemas.microsoft.com/office/drawing/2014/main" id="{B40B1E69-67E3-966C-1A93-1EB1406B3016}"/>
              </a:ext>
            </a:extLst>
          </p:cNvPr>
          <p:cNvGrpSpPr/>
          <p:nvPr/>
        </p:nvGrpSpPr>
        <p:grpSpPr>
          <a:xfrm>
            <a:off x="6897160" y="4738447"/>
            <a:ext cx="317464" cy="331736"/>
            <a:chOff x="6897160" y="4738447"/>
            <a:chExt cx="317464" cy="331736"/>
          </a:xfrm>
        </p:grpSpPr>
        <p:sp>
          <p:nvSpPr>
            <p:cNvPr id="902" name="Forma livre: Forma 901">
              <a:extLst>
                <a:ext uri="{FF2B5EF4-FFF2-40B4-BE49-F238E27FC236}">
                  <a16:creationId xmlns:a16="http://schemas.microsoft.com/office/drawing/2014/main" id="{EC7CBCD7-A0AF-3632-CB91-334BE3EA17E5}"/>
                </a:ext>
              </a:extLst>
            </p:cNvPr>
            <p:cNvSpPr/>
            <p:nvPr/>
          </p:nvSpPr>
          <p:spPr>
            <a:xfrm>
              <a:off x="7165403" y="4812302"/>
              <a:ext cx="4887" cy="36609"/>
            </a:xfrm>
            <a:custGeom>
              <a:avLst/>
              <a:gdLst>
                <a:gd name="connsiteX0" fmla="*/ 0 w 4887"/>
                <a:gd name="connsiteY0" fmla="*/ 0 h 36609"/>
                <a:gd name="connsiteX1" fmla="*/ 0 w 4887"/>
                <a:gd name="connsiteY1" fmla="*/ 36610 h 36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887" h="36609">
                  <a:moveTo>
                    <a:pt x="0" y="0"/>
                  </a:moveTo>
                  <a:lnTo>
                    <a:pt x="0" y="3661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03" name="Forma livre: Forma 902">
              <a:extLst>
                <a:ext uri="{FF2B5EF4-FFF2-40B4-BE49-F238E27FC236}">
                  <a16:creationId xmlns:a16="http://schemas.microsoft.com/office/drawing/2014/main" id="{7155DCE3-13D8-31E4-0DF6-A9E97AB6344D}"/>
                </a:ext>
              </a:extLst>
            </p:cNvPr>
            <p:cNvSpPr/>
            <p:nvPr/>
          </p:nvSpPr>
          <p:spPr>
            <a:xfrm>
              <a:off x="7147074" y="4830631"/>
              <a:ext cx="36609" cy="4887"/>
            </a:xfrm>
            <a:custGeom>
              <a:avLst/>
              <a:gdLst>
                <a:gd name="connsiteX0" fmla="*/ 36610 w 36609"/>
                <a:gd name="connsiteY0" fmla="*/ 0 h 4887"/>
                <a:gd name="connsiteX1" fmla="*/ 0 w 36609"/>
                <a:gd name="connsiteY1" fmla="*/ 0 h 48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6609" h="4887">
                  <a:moveTo>
                    <a:pt x="36610" y="0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04" name="Forma livre: Forma 903">
              <a:extLst>
                <a:ext uri="{FF2B5EF4-FFF2-40B4-BE49-F238E27FC236}">
                  <a16:creationId xmlns:a16="http://schemas.microsoft.com/office/drawing/2014/main" id="{5604ED38-C015-9C58-01C5-EFCACD829033}"/>
                </a:ext>
              </a:extLst>
            </p:cNvPr>
            <p:cNvSpPr/>
            <p:nvPr/>
          </p:nvSpPr>
          <p:spPr>
            <a:xfrm>
              <a:off x="7206217" y="4979514"/>
              <a:ext cx="8407" cy="8407"/>
            </a:xfrm>
            <a:custGeom>
              <a:avLst/>
              <a:gdLst>
                <a:gd name="connsiteX0" fmla="*/ 8407 w 8407"/>
                <a:gd name="connsiteY0" fmla="*/ 4204 h 8407"/>
                <a:gd name="connsiteX1" fmla="*/ 4204 w 8407"/>
                <a:gd name="connsiteY1" fmla="*/ 8407 h 8407"/>
                <a:gd name="connsiteX2" fmla="*/ 0 w 8407"/>
                <a:gd name="connsiteY2" fmla="*/ 4204 h 8407"/>
                <a:gd name="connsiteX3" fmla="*/ 4204 w 8407"/>
                <a:gd name="connsiteY3" fmla="*/ 0 h 8407"/>
                <a:gd name="connsiteX4" fmla="*/ 8407 w 8407"/>
                <a:gd name="connsiteY4" fmla="*/ 4204 h 84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407" h="8407">
                  <a:moveTo>
                    <a:pt x="8407" y="4204"/>
                  </a:moveTo>
                  <a:cubicBezTo>
                    <a:pt x="8407" y="6550"/>
                    <a:pt x="6550" y="8407"/>
                    <a:pt x="4204" y="8407"/>
                  </a:cubicBezTo>
                  <a:cubicBezTo>
                    <a:pt x="1857" y="8407"/>
                    <a:pt x="0" y="6550"/>
                    <a:pt x="0" y="4204"/>
                  </a:cubicBezTo>
                  <a:cubicBezTo>
                    <a:pt x="0" y="1857"/>
                    <a:pt x="1906" y="0"/>
                    <a:pt x="4204" y="0"/>
                  </a:cubicBezTo>
                  <a:cubicBezTo>
                    <a:pt x="6501" y="0"/>
                    <a:pt x="8407" y="1857"/>
                    <a:pt x="8407" y="4204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05" name="Forma livre: Forma 904">
              <a:extLst>
                <a:ext uri="{FF2B5EF4-FFF2-40B4-BE49-F238E27FC236}">
                  <a16:creationId xmlns:a16="http://schemas.microsoft.com/office/drawing/2014/main" id="{1BF3CED4-6283-A0E0-65C2-ACF85184B753}"/>
                </a:ext>
              </a:extLst>
            </p:cNvPr>
            <p:cNvSpPr/>
            <p:nvPr/>
          </p:nvSpPr>
          <p:spPr>
            <a:xfrm>
              <a:off x="7081382" y="4794999"/>
              <a:ext cx="8407" cy="8407"/>
            </a:xfrm>
            <a:custGeom>
              <a:avLst/>
              <a:gdLst>
                <a:gd name="connsiteX0" fmla="*/ 8407 w 8407"/>
                <a:gd name="connsiteY0" fmla="*/ 4204 h 8407"/>
                <a:gd name="connsiteX1" fmla="*/ 4204 w 8407"/>
                <a:gd name="connsiteY1" fmla="*/ 8407 h 8407"/>
                <a:gd name="connsiteX2" fmla="*/ 0 w 8407"/>
                <a:gd name="connsiteY2" fmla="*/ 4204 h 8407"/>
                <a:gd name="connsiteX3" fmla="*/ 4204 w 8407"/>
                <a:gd name="connsiteY3" fmla="*/ 0 h 8407"/>
                <a:gd name="connsiteX4" fmla="*/ 8407 w 8407"/>
                <a:gd name="connsiteY4" fmla="*/ 4204 h 84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407" h="8407">
                  <a:moveTo>
                    <a:pt x="8407" y="4204"/>
                  </a:moveTo>
                  <a:cubicBezTo>
                    <a:pt x="8407" y="6550"/>
                    <a:pt x="6550" y="8407"/>
                    <a:pt x="4204" y="8407"/>
                  </a:cubicBezTo>
                  <a:cubicBezTo>
                    <a:pt x="1857" y="8407"/>
                    <a:pt x="0" y="6550"/>
                    <a:pt x="0" y="4204"/>
                  </a:cubicBezTo>
                  <a:cubicBezTo>
                    <a:pt x="0" y="1857"/>
                    <a:pt x="1906" y="0"/>
                    <a:pt x="4204" y="0"/>
                  </a:cubicBezTo>
                  <a:cubicBezTo>
                    <a:pt x="6501" y="0"/>
                    <a:pt x="8407" y="1857"/>
                    <a:pt x="8407" y="4204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06" name="Forma livre: Forma 905">
              <a:extLst>
                <a:ext uri="{FF2B5EF4-FFF2-40B4-BE49-F238E27FC236}">
                  <a16:creationId xmlns:a16="http://schemas.microsoft.com/office/drawing/2014/main" id="{D84CD055-3FFD-97A6-D407-A6CC57649C57}"/>
                </a:ext>
              </a:extLst>
            </p:cNvPr>
            <p:cNvSpPr/>
            <p:nvPr/>
          </p:nvSpPr>
          <p:spPr>
            <a:xfrm>
              <a:off x="7125372" y="4763081"/>
              <a:ext cx="8407" cy="8407"/>
            </a:xfrm>
            <a:custGeom>
              <a:avLst/>
              <a:gdLst>
                <a:gd name="connsiteX0" fmla="*/ 8407 w 8407"/>
                <a:gd name="connsiteY0" fmla="*/ 4204 h 8407"/>
                <a:gd name="connsiteX1" fmla="*/ 4204 w 8407"/>
                <a:gd name="connsiteY1" fmla="*/ 8407 h 8407"/>
                <a:gd name="connsiteX2" fmla="*/ 0 w 8407"/>
                <a:gd name="connsiteY2" fmla="*/ 4204 h 8407"/>
                <a:gd name="connsiteX3" fmla="*/ 4204 w 8407"/>
                <a:gd name="connsiteY3" fmla="*/ 0 h 8407"/>
                <a:gd name="connsiteX4" fmla="*/ 8407 w 8407"/>
                <a:gd name="connsiteY4" fmla="*/ 4204 h 84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407" h="8407">
                  <a:moveTo>
                    <a:pt x="8407" y="4204"/>
                  </a:moveTo>
                  <a:cubicBezTo>
                    <a:pt x="8407" y="6550"/>
                    <a:pt x="6550" y="8407"/>
                    <a:pt x="4204" y="8407"/>
                  </a:cubicBezTo>
                  <a:cubicBezTo>
                    <a:pt x="1857" y="8407"/>
                    <a:pt x="0" y="6550"/>
                    <a:pt x="0" y="4204"/>
                  </a:cubicBezTo>
                  <a:cubicBezTo>
                    <a:pt x="0" y="1857"/>
                    <a:pt x="1906" y="0"/>
                    <a:pt x="4204" y="0"/>
                  </a:cubicBezTo>
                  <a:cubicBezTo>
                    <a:pt x="6501" y="0"/>
                    <a:pt x="8407" y="1857"/>
                    <a:pt x="8407" y="4204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07" name="Forma livre: Forma 906">
              <a:extLst>
                <a:ext uri="{FF2B5EF4-FFF2-40B4-BE49-F238E27FC236}">
                  <a16:creationId xmlns:a16="http://schemas.microsoft.com/office/drawing/2014/main" id="{D5492593-2519-375B-EB93-231DB3106681}"/>
                </a:ext>
              </a:extLst>
            </p:cNvPr>
            <p:cNvSpPr/>
            <p:nvPr/>
          </p:nvSpPr>
          <p:spPr>
            <a:xfrm>
              <a:off x="6904443" y="4858540"/>
              <a:ext cx="8407" cy="8407"/>
            </a:xfrm>
            <a:custGeom>
              <a:avLst/>
              <a:gdLst>
                <a:gd name="connsiteX0" fmla="*/ 8407 w 8407"/>
                <a:gd name="connsiteY0" fmla="*/ 4204 h 8407"/>
                <a:gd name="connsiteX1" fmla="*/ 4204 w 8407"/>
                <a:gd name="connsiteY1" fmla="*/ 8407 h 8407"/>
                <a:gd name="connsiteX2" fmla="*/ 0 w 8407"/>
                <a:gd name="connsiteY2" fmla="*/ 4204 h 8407"/>
                <a:gd name="connsiteX3" fmla="*/ 4204 w 8407"/>
                <a:gd name="connsiteY3" fmla="*/ 0 h 8407"/>
                <a:gd name="connsiteX4" fmla="*/ 8407 w 8407"/>
                <a:gd name="connsiteY4" fmla="*/ 4204 h 84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407" h="8407">
                  <a:moveTo>
                    <a:pt x="8407" y="4204"/>
                  </a:moveTo>
                  <a:cubicBezTo>
                    <a:pt x="8407" y="6550"/>
                    <a:pt x="6550" y="8407"/>
                    <a:pt x="4204" y="8407"/>
                  </a:cubicBezTo>
                  <a:cubicBezTo>
                    <a:pt x="1857" y="8407"/>
                    <a:pt x="0" y="6550"/>
                    <a:pt x="0" y="4204"/>
                  </a:cubicBezTo>
                  <a:cubicBezTo>
                    <a:pt x="0" y="1857"/>
                    <a:pt x="1906" y="0"/>
                    <a:pt x="4204" y="0"/>
                  </a:cubicBezTo>
                  <a:cubicBezTo>
                    <a:pt x="6501" y="0"/>
                    <a:pt x="8407" y="1857"/>
                    <a:pt x="8407" y="4204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908" name="Gráfico 13">
              <a:extLst>
                <a:ext uri="{FF2B5EF4-FFF2-40B4-BE49-F238E27FC236}">
                  <a16:creationId xmlns:a16="http://schemas.microsoft.com/office/drawing/2014/main" id="{C67C71E8-03FA-6E90-587E-08FDFD969730}"/>
                </a:ext>
              </a:extLst>
            </p:cNvPr>
            <p:cNvGrpSpPr/>
            <p:nvPr/>
          </p:nvGrpSpPr>
          <p:grpSpPr>
            <a:xfrm>
              <a:off x="6897160" y="5016213"/>
              <a:ext cx="316339" cy="53970"/>
              <a:chOff x="6897160" y="5016213"/>
              <a:chExt cx="316339" cy="53970"/>
            </a:xfrm>
            <a:noFill/>
          </p:grpSpPr>
          <p:sp>
            <p:nvSpPr>
              <p:cNvPr id="909" name="Forma livre: Forma 908">
                <a:extLst>
                  <a:ext uri="{FF2B5EF4-FFF2-40B4-BE49-F238E27FC236}">
                    <a16:creationId xmlns:a16="http://schemas.microsoft.com/office/drawing/2014/main" id="{29486240-522E-3DB4-BFD0-8E3A53ACA235}"/>
                  </a:ext>
                </a:extLst>
              </p:cNvPr>
              <p:cNvSpPr/>
              <p:nvPr/>
            </p:nvSpPr>
            <p:spPr>
              <a:xfrm>
                <a:off x="6989442" y="5038945"/>
                <a:ext cx="224057" cy="31238"/>
              </a:xfrm>
              <a:custGeom>
                <a:avLst/>
                <a:gdLst>
                  <a:gd name="connsiteX0" fmla="*/ 0 w 224057"/>
                  <a:gd name="connsiteY0" fmla="*/ 31238 h 31238"/>
                  <a:gd name="connsiteX1" fmla="*/ 224058 w 224057"/>
                  <a:gd name="connsiteY1" fmla="*/ 6848 h 312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24057" h="31238">
                    <a:moveTo>
                      <a:pt x="0" y="31238"/>
                    </a:moveTo>
                    <a:cubicBezTo>
                      <a:pt x="0" y="31238"/>
                      <a:pt x="113935" y="-17591"/>
                      <a:pt x="224058" y="6848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10" name="Forma livre: Forma 909">
                <a:extLst>
                  <a:ext uri="{FF2B5EF4-FFF2-40B4-BE49-F238E27FC236}">
                    <a16:creationId xmlns:a16="http://schemas.microsoft.com/office/drawing/2014/main" id="{62D4BC4E-8164-B941-8FAF-42E84AF022A1}"/>
                  </a:ext>
                </a:extLst>
              </p:cNvPr>
              <p:cNvSpPr/>
              <p:nvPr/>
            </p:nvSpPr>
            <p:spPr>
              <a:xfrm>
                <a:off x="6897160" y="5016213"/>
                <a:ext cx="148296" cy="34468"/>
              </a:xfrm>
              <a:custGeom>
                <a:avLst/>
                <a:gdLst>
                  <a:gd name="connsiteX0" fmla="*/ 0 w 148296"/>
                  <a:gd name="connsiteY0" fmla="*/ 1720 h 34468"/>
                  <a:gd name="connsiteX1" fmla="*/ 148297 w 148296"/>
                  <a:gd name="connsiteY1" fmla="*/ 34468 h 344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48296" h="34468">
                    <a:moveTo>
                      <a:pt x="0" y="1720"/>
                    </a:moveTo>
                    <a:cubicBezTo>
                      <a:pt x="0" y="1720"/>
                      <a:pt x="65106" y="-11331"/>
                      <a:pt x="148297" y="34468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911" name="Forma livre: Forma 910">
              <a:extLst>
                <a:ext uri="{FF2B5EF4-FFF2-40B4-BE49-F238E27FC236}">
                  <a16:creationId xmlns:a16="http://schemas.microsoft.com/office/drawing/2014/main" id="{88E124D6-7ADA-92BC-E487-CDEA217FAF60}"/>
                </a:ext>
              </a:extLst>
            </p:cNvPr>
            <p:cNvSpPr/>
            <p:nvPr/>
          </p:nvSpPr>
          <p:spPr>
            <a:xfrm>
              <a:off x="6913974" y="4846516"/>
              <a:ext cx="268781" cy="89496"/>
            </a:xfrm>
            <a:custGeom>
              <a:avLst/>
              <a:gdLst>
                <a:gd name="connsiteX0" fmla="*/ 0 w 268781"/>
                <a:gd name="connsiteY0" fmla="*/ 89496 h 89496"/>
                <a:gd name="connsiteX1" fmla="*/ 134464 w 268781"/>
                <a:gd name="connsiteY1" fmla="*/ 0 h 89496"/>
                <a:gd name="connsiteX2" fmla="*/ 268781 w 268781"/>
                <a:gd name="connsiteY2" fmla="*/ 89496 h 894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68781" h="89496">
                  <a:moveTo>
                    <a:pt x="0" y="89496"/>
                  </a:moveTo>
                  <a:lnTo>
                    <a:pt x="134464" y="0"/>
                  </a:lnTo>
                  <a:lnTo>
                    <a:pt x="268781" y="89496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912" name="Gráfico 13">
              <a:extLst>
                <a:ext uri="{FF2B5EF4-FFF2-40B4-BE49-F238E27FC236}">
                  <a16:creationId xmlns:a16="http://schemas.microsoft.com/office/drawing/2014/main" id="{69888293-3361-75B5-0605-A837A0B4D06C}"/>
                </a:ext>
              </a:extLst>
            </p:cNvPr>
            <p:cNvGrpSpPr/>
            <p:nvPr/>
          </p:nvGrpSpPr>
          <p:grpSpPr>
            <a:xfrm>
              <a:off x="6950681" y="4940558"/>
              <a:ext cx="195366" cy="96925"/>
              <a:chOff x="6950681" y="4940558"/>
              <a:chExt cx="195366" cy="96925"/>
            </a:xfrm>
          </p:grpSpPr>
          <p:sp>
            <p:nvSpPr>
              <p:cNvPr id="913" name="Forma livre: Forma 912">
                <a:extLst>
                  <a:ext uri="{FF2B5EF4-FFF2-40B4-BE49-F238E27FC236}">
                    <a16:creationId xmlns:a16="http://schemas.microsoft.com/office/drawing/2014/main" id="{BEAF9418-1633-2E03-6913-78D681CD332F}"/>
                  </a:ext>
                </a:extLst>
              </p:cNvPr>
              <p:cNvSpPr/>
              <p:nvPr/>
            </p:nvSpPr>
            <p:spPr>
              <a:xfrm>
                <a:off x="6950681" y="4940558"/>
                <a:ext cx="4887" cy="77374"/>
              </a:xfrm>
              <a:custGeom>
                <a:avLst/>
                <a:gdLst>
                  <a:gd name="connsiteX0" fmla="*/ 0 w 4887"/>
                  <a:gd name="connsiteY0" fmla="*/ 0 h 77374"/>
                  <a:gd name="connsiteX1" fmla="*/ 0 w 4887"/>
                  <a:gd name="connsiteY1" fmla="*/ 77374 h 773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887" h="77374">
                    <a:moveTo>
                      <a:pt x="0" y="0"/>
                    </a:moveTo>
                    <a:lnTo>
                      <a:pt x="0" y="77374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14" name="Forma livre: Forma 913">
                <a:extLst>
                  <a:ext uri="{FF2B5EF4-FFF2-40B4-BE49-F238E27FC236}">
                    <a16:creationId xmlns:a16="http://schemas.microsoft.com/office/drawing/2014/main" id="{0C00BEFE-7177-E541-8648-DD50AA8AF767}"/>
                  </a:ext>
                </a:extLst>
              </p:cNvPr>
              <p:cNvSpPr/>
              <p:nvPr/>
            </p:nvSpPr>
            <p:spPr>
              <a:xfrm>
                <a:off x="7146048" y="4940558"/>
                <a:ext cx="4887" cy="96925"/>
              </a:xfrm>
              <a:custGeom>
                <a:avLst/>
                <a:gdLst>
                  <a:gd name="connsiteX0" fmla="*/ 0 w 4887"/>
                  <a:gd name="connsiteY0" fmla="*/ 0 h 96925"/>
                  <a:gd name="connsiteX1" fmla="*/ 0 w 4887"/>
                  <a:gd name="connsiteY1" fmla="*/ 96926 h 969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887" h="96925">
                    <a:moveTo>
                      <a:pt x="0" y="0"/>
                    </a:moveTo>
                    <a:lnTo>
                      <a:pt x="0" y="96926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915" name="Forma livre: Forma 914">
              <a:extLst>
                <a:ext uri="{FF2B5EF4-FFF2-40B4-BE49-F238E27FC236}">
                  <a16:creationId xmlns:a16="http://schemas.microsoft.com/office/drawing/2014/main" id="{21303D2E-14F0-3906-0908-EF06341AF8B4}"/>
                </a:ext>
              </a:extLst>
            </p:cNvPr>
            <p:cNvSpPr/>
            <p:nvPr/>
          </p:nvSpPr>
          <p:spPr>
            <a:xfrm>
              <a:off x="6952197" y="4854484"/>
              <a:ext cx="28838" cy="54157"/>
            </a:xfrm>
            <a:custGeom>
              <a:avLst/>
              <a:gdLst>
                <a:gd name="connsiteX0" fmla="*/ 0 w 28838"/>
                <a:gd name="connsiteY0" fmla="*/ 54157 h 54157"/>
                <a:gd name="connsiteX1" fmla="*/ 0 w 28838"/>
                <a:gd name="connsiteY1" fmla="*/ 0 h 54157"/>
                <a:gd name="connsiteX2" fmla="*/ 28838 w 28838"/>
                <a:gd name="connsiteY2" fmla="*/ 0 h 54157"/>
                <a:gd name="connsiteX3" fmla="*/ 28838 w 28838"/>
                <a:gd name="connsiteY3" fmla="*/ 37196 h 541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8838" h="54157">
                  <a:moveTo>
                    <a:pt x="0" y="54157"/>
                  </a:moveTo>
                  <a:lnTo>
                    <a:pt x="0" y="0"/>
                  </a:lnTo>
                  <a:lnTo>
                    <a:pt x="28838" y="0"/>
                  </a:lnTo>
                  <a:lnTo>
                    <a:pt x="28838" y="37196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916" name="Gráfico 13">
              <a:extLst>
                <a:ext uri="{FF2B5EF4-FFF2-40B4-BE49-F238E27FC236}">
                  <a16:creationId xmlns:a16="http://schemas.microsoft.com/office/drawing/2014/main" id="{DEA99D43-FAC4-1883-D0A5-CE23F5F27E13}"/>
                </a:ext>
              </a:extLst>
            </p:cNvPr>
            <p:cNvGrpSpPr/>
            <p:nvPr/>
          </p:nvGrpSpPr>
          <p:grpSpPr>
            <a:xfrm>
              <a:off x="7014956" y="4931076"/>
              <a:ext cx="66816" cy="66914"/>
              <a:chOff x="7014956" y="4931076"/>
              <a:chExt cx="66816" cy="66914"/>
            </a:xfrm>
            <a:noFill/>
          </p:grpSpPr>
          <p:grpSp>
            <p:nvGrpSpPr>
              <p:cNvPr id="917" name="Gráfico 13">
                <a:extLst>
                  <a:ext uri="{FF2B5EF4-FFF2-40B4-BE49-F238E27FC236}">
                    <a16:creationId xmlns:a16="http://schemas.microsoft.com/office/drawing/2014/main" id="{3D4ADF65-5386-F63B-E1EC-6819510CE628}"/>
                  </a:ext>
                </a:extLst>
              </p:cNvPr>
              <p:cNvGrpSpPr/>
              <p:nvPr/>
            </p:nvGrpSpPr>
            <p:grpSpPr>
              <a:xfrm>
                <a:off x="7014956" y="4931076"/>
                <a:ext cx="66816" cy="66914"/>
                <a:chOff x="7014956" y="4931076"/>
                <a:chExt cx="66816" cy="66914"/>
              </a:xfrm>
              <a:noFill/>
            </p:grpSpPr>
            <p:sp>
              <p:nvSpPr>
                <p:cNvPr id="918" name="Forma livre: Forma 917">
                  <a:extLst>
                    <a:ext uri="{FF2B5EF4-FFF2-40B4-BE49-F238E27FC236}">
                      <a16:creationId xmlns:a16="http://schemas.microsoft.com/office/drawing/2014/main" id="{C09D8846-53F2-D8BC-EFEE-49E5BE0B5CCA}"/>
                    </a:ext>
                  </a:extLst>
                </p:cNvPr>
                <p:cNvSpPr/>
                <p:nvPr/>
              </p:nvSpPr>
              <p:spPr>
                <a:xfrm>
                  <a:off x="7014956" y="4931076"/>
                  <a:ext cx="66816" cy="66816"/>
                </a:xfrm>
                <a:custGeom>
                  <a:avLst/>
                  <a:gdLst>
                    <a:gd name="connsiteX0" fmla="*/ 0 w 66816"/>
                    <a:gd name="connsiteY0" fmla="*/ 0 h 66816"/>
                    <a:gd name="connsiteX1" fmla="*/ 66817 w 66816"/>
                    <a:gd name="connsiteY1" fmla="*/ 0 h 66816"/>
                    <a:gd name="connsiteX2" fmla="*/ 66817 w 66816"/>
                    <a:gd name="connsiteY2" fmla="*/ 66817 h 66816"/>
                    <a:gd name="connsiteX3" fmla="*/ 0 w 66816"/>
                    <a:gd name="connsiteY3" fmla="*/ 66817 h 6681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66816" h="66816">
                      <a:moveTo>
                        <a:pt x="0" y="0"/>
                      </a:moveTo>
                      <a:lnTo>
                        <a:pt x="66817" y="0"/>
                      </a:lnTo>
                      <a:lnTo>
                        <a:pt x="66817" y="66817"/>
                      </a:lnTo>
                      <a:lnTo>
                        <a:pt x="0" y="66817"/>
                      </a:lnTo>
                      <a:close/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919" name="Forma livre: Forma 918">
                  <a:extLst>
                    <a:ext uri="{FF2B5EF4-FFF2-40B4-BE49-F238E27FC236}">
                      <a16:creationId xmlns:a16="http://schemas.microsoft.com/office/drawing/2014/main" id="{FB12624E-F894-1324-08CF-CB8AAB3C1358}"/>
                    </a:ext>
                  </a:extLst>
                </p:cNvPr>
                <p:cNvSpPr/>
                <p:nvPr/>
              </p:nvSpPr>
              <p:spPr>
                <a:xfrm>
                  <a:off x="7048340" y="4931174"/>
                  <a:ext cx="4887" cy="66816"/>
                </a:xfrm>
                <a:custGeom>
                  <a:avLst/>
                  <a:gdLst>
                    <a:gd name="connsiteX0" fmla="*/ 0 w 4887"/>
                    <a:gd name="connsiteY0" fmla="*/ 0 h 66816"/>
                    <a:gd name="connsiteX1" fmla="*/ 0 w 4887"/>
                    <a:gd name="connsiteY1" fmla="*/ 66817 h 6681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887" h="66816">
                      <a:moveTo>
                        <a:pt x="0" y="0"/>
                      </a:moveTo>
                      <a:lnTo>
                        <a:pt x="0" y="66817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920" name="Forma livre: Forma 919">
                <a:extLst>
                  <a:ext uri="{FF2B5EF4-FFF2-40B4-BE49-F238E27FC236}">
                    <a16:creationId xmlns:a16="http://schemas.microsoft.com/office/drawing/2014/main" id="{E762E795-55D1-B6A5-C849-EC747F5B21C4}"/>
                  </a:ext>
                </a:extLst>
              </p:cNvPr>
              <p:cNvSpPr/>
              <p:nvPr/>
            </p:nvSpPr>
            <p:spPr>
              <a:xfrm>
                <a:off x="7014956" y="4964851"/>
                <a:ext cx="66767" cy="4887"/>
              </a:xfrm>
              <a:custGeom>
                <a:avLst/>
                <a:gdLst>
                  <a:gd name="connsiteX0" fmla="*/ 66768 w 66767"/>
                  <a:gd name="connsiteY0" fmla="*/ 0 h 4887"/>
                  <a:gd name="connsiteX1" fmla="*/ 0 w 66767"/>
                  <a:gd name="connsiteY1" fmla="*/ 0 h 48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6767" h="4887">
                    <a:moveTo>
                      <a:pt x="66768" y="0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921" name="Forma livre: Forma 920">
              <a:extLst>
                <a:ext uri="{FF2B5EF4-FFF2-40B4-BE49-F238E27FC236}">
                  <a16:creationId xmlns:a16="http://schemas.microsoft.com/office/drawing/2014/main" id="{A4BD44D0-C42D-934B-C4A7-DDE2C392615F}"/>
                </a:ext>
              </a:extLst>
            </p:cNvPr>
            <p:cNvSpPr/>
            <p:nvPr/>
          </p:nvSpPr>
          <p:spPr>
            <a:xfrm>
              <a:off x="6940221" y="4738447"/>
              <a:ext cx="107678" cy="91695"/>
            </a:xfrm>
            <a:custGeom>
              <a:avLst/>
              <a:gdLst>
                <a:gd name="connsiteX0" fmla="*/ 26443 w 107678"/>
                <a:gd name="connsiteY0" fmla="*/ 91696 h 91695"/>
                <a:gd name="connsiteX1" fmla="*/ 26443 w 107678"/>
                <a:gd name="connsiteY1" fmla="*/ 90571 h 91695"/>
                <a:gd name="connsiteX2" fmla="*/ 42231 w 107678"/>
                <a:gd name="connsiteY2" fmla="*/ 74784 h 91695"/>
                <a:gd name="connsiteX3" fmla="*/ 59436 w 107678"/>
                <a:gd name="connsiteY3" fmla="*/ 74784 h 91695"/>
                <a:gd name="connsiteX4" fmla="*/ 75224 w 107678"/>
                <a:gd name="connsiteY4" fmla="*/ 58947 h 91695"/>
                <a:gd name="connsiteX5" fmla="*/ 75224 w 107678"/>
                <a:gd name="connsiteY5" fmla="*/ 58067 h 91695"/>
                <a:gd name="connsiteX6" fmla="*/ 59436 w 107678"/>
                <a:gd name="connsiteY6" fmla="*/ 42280 h 91695"/>
                <a:gd name="connsiteX7" fmla="*/ 20285 w 107678"/>
                <a:gd name="connsiteY7" fmla="*/ 42280 h 91695"/>
                <a:gd name="connsiteX8" fmla="*/ 0 w 107678"/>
                <a:gd name="connsiteY8" fmla="*/ 21995 h 91695"/>
                <a:gd name="connsiteX9" fmla="*/ 0 w 107678"/>
                <a:gd name="connsiteY9" fmla="*/ 20285 h 91695"/>
                <a:gd name="connsiteX10" fmla="*/ 20285 w 107678"/>
                <a:gd name="connsiteY10" fmla="*/ 0 h 91695"/>
                <a:gd name="connsiteX11" fmla="*/ 107679 w 107678"/>
                <a:gd name="connsiteY11" fmla="*/ 0 h 916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07678" h="91695">
                  <a:moveTo>
                    <a:pt x="26443" y="91696"/>
                  </a:moveTo>
                  <a:lnTo>
                    <a:pt x="26443" y="90571"/>
                  </a:lnTo>
                  <a:cubicBezTo>
                    <a:pt x="26443" y="81871"/>
                    <a:pt x="33530" y="74784"/>
                    <a:pt x="42231" y="74784"/>
                  </a:cubicBezTo>
                  <a:lnTo>
                    <a:pt x="59436" y="74784"/>
                  </a:lnTo>
                  <a:cubicBezTo>
                    <a:pt x="68136" y="74784"/>
                    <a:pt x="75224" y="67599"/>
                    <a:pt x="75224" y="58947"/>
                  </a:cubicBezTo>
                  <a:lnTo>
                    <a:pt x="75224" y="58067"/>
                  </a:lnTo>
                  <a:cubicBezTo>
                    <a:pt x="75224" y="49367"/>
                    <a:pt x="68136" y="42280"/>
                    <a:pt x="59436" y="42280"/>
                  </a:cubicBezTo>
                  <a:lnTo>
                    <a:pt x="20285" y="42280"/>
                  </a:lnTo>
                  <a:cubicBezTo>
                    <a:pt x="9140" y="42280"/>
                    <a:pt x="0" y="33140"/>
                    <a:pt x="0" y="21995"/>
                  </a:cubicBezTo>
                  <a:lnTo>
                    <a:pt x="0" y="20285"/>
                  </a:lnTo>
                  <a:cubicBezTo>
                    <a:pt x="0" y="9140"/>
                    <a:pt x="9140" y="0"/>
                    <a:pt x="20285" y="0"/>
                  </a:cubicBezTo>
                  <a:lnTo>
                    <a:pt x="107679" y="0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922" name="Gráfico 13">
            <a:extLst>
              <a:ext uri="{FF2B5EF4-FFF2-40B4-BE49-F238E27FC236}">
                <a16:creationId xmlns:a16="http://schemas.microsoft.com/office/drawing/2014/main" id="{0CB50421-7CEC-D4E6-6D55-AA2503522EB4}"/>
              </a:ext>
            </a:extLst>
          </p:cNvPr>
          <p:cNvGrpSpPr/>
          <p:nvPr/>
        </p:nvGrpSpPr>
        <p:grpSpPr>
          <a:xfrm>
            <a:off x="7551989" y="4722463"/>
            <a:ext cx="279617" cy="357642"/>
            <a:chOff x="7551989" y="4722463"/>
            <a:chExt cx="279617" cy="357642"/>
          </a:xfrm>
          <a:noFill/>
        </p:grpSpPr>
        <p:sp>
          <p:nvSpPr>
            <p:cNvPr id="923" name="Forma livre: Forma 922">
              <a:extLst>
                <a:ext uri="{FF2B5EF4-FFF2-40B4-BE49-F238E27FC236}">
                  <a16:creationId xmlns:a16="http://schemas.microsoft.com/office/drawing/2014/main" id="{8B180F1D-F3A3-51F3-D5F5-C798E2BE9B31}"/>
                </a:ext>
              </a:extLst>
            </p:cNvPr>
            <p:cNvSpPr/>
            <p:nvPr/>
          </p:nvSpPr>
          <p:spPr>
            <a:xfrm>
              <a:off x="7591475" y="4850280"/>
              <a:ext cx="200694" cy="76592"/>
            </a:xfrm>
            <a:custGeom>
              <a:avLst/>
              <a:gdLst>
                <a:gd name="connsiteX0" fmla="*/ 200694 w 200694"/>
                <a:gd name="connsiteY0" fmla="*/ 76592 h 76592"/>
                <a:gd name="connsiteX1" fmla="*/ 200694 w 200694"/>
                <a:gd name="connsiteY1" fmla="*/ 42573 h 76592"/>
                <a:gd name="connsiteX2" fmla="*/ 119556 w 200694"/>
                <a:gd name="connsiteY2" fmla="*/ 0 h 76592"/>
                <a:gd name="connsiteX3" fmla="*/ 100445 w 200694"/>
                <a:gd name="connsiteY3" fmla="*/ 22484 h 76592"/>
                <a:gd name="connsiteX4" fmla="*/ 100249 w 200694"/>
                <a:gd name="connsiteY4" fmla="*/ 22484 h 76592"/>
                <a:gd name="connsiteX5" fmla="*/ 81138 w 200694"/>
                <a:gd name="connsiteY5" fmla="*/ 0 h 76592"/>
                <a:gd name="connsiteX6" fmla="*/ 0 w 200694"/>
                <a:gd name="connsiteY6" fmla="*/ 42573 h 76592"/>
                <a:gd name="connsiteX7" fmla="*/ 0 w 200694"/>
                <a:gd name="connsiteY7" fmla="*/ 76592 h 765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00694" h="76592">
                  <a:moveTo>
                    <a:pt x="200694" y="76592"/>
                  </a:moveTo>
                  <a:lnTo>
                    <a:pt x="200694" y="42573"/>
                  </a:lnTo>
                  <a:cubicBezTo>
                    <a:pt x="200694" y="42573"/>
                    <a:pt x="197957" y="4937"/>
                    <a:pt x="119556" y="0"/>
                  </a:cubicBezTo>
                  <a:lnTo>
                    <a:pt x="100445" y="22484"/>
                  </a:lnTo>
                  <a:lnTo>
                    <a:pt x="100249" y="22484"/>
                  </a:lnTo>
                  <a:lnTo>
                    <a:pt x="81138" y="0"/>
                  </a:lnTo>
                  <a:cubicBezTo>
                    <a:pt x="2737" y="4937"/>
                    <a:pt x="0" y="42573"/>
                    <a:pt x="0" y="42573"/>
                  </a:cubicBezTo>
                  <a:lnTo>
                    <a:pt x="0" y="76592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24" name="Forma livre: Forma 923">
              <a:extLst>
                <a:ext uri="{FF2B5EF4-FFF2-40B4-BE49-F238E27FC236}">
                  <a16:creationId xmlns:a16="http://schemas.microsoft.com/office/drawing/2014/main" id="{D755F1A7-E5E6-34D5-2D89-0B8DA4BF8EEA}"/>
                </a:ext>
              </a:extLst>
            </p:cNvPr>
            <p:cNvSpPr/>
            <p:nvPr/>
          </p:nvSpPr>
          <p:spPr>
            <a:xfrm>
              <a:off x="7590302" y="4893928"/>
              <a:ext cx="203040" cy="42377"/>
            </a:xfrm>
            <a:custGeom>
              <a:avLst/>
              <a:gdLst>
                <a:gd name="connsiteX0" fmla="*/ 203040 w 203040"/>
                <a:gd name="connsiteY0" fmla="*/ 42377 h 42377"/>
                <a:gd name="connsiteX1" fmla="*/ 103133 w 203040"/>
                <a:gd name="connsiteY1" fmla="*/ 0 h 42377"/>
                <a:gd name="connsiteX2" fmla="*/ 100005 w 203040"/>
                <a:gd name="connsiteY2" fmla="*/ 0 h 42377"/>
                <a:gd name="connsiteX3" fmla="*/ 0 w 203040"/>
                <a:gd name="connsiteY3" fmla="*/ 41547 h 423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3040" h="42377">
                  <a:moveTo>
                    <a:pt x="203040" y="42377"/>
                  </a:moveTo>
                  <a:cubicBezTo>
                    <a:pt x="203040" y="42377"/>
                    <a:pt x="198788" y="0"/>
                    <a:pt x="103133" y="0"/>
                  </a:cubicBezTo>
                  <a:lnTo>
                    <a:pt x="100005" y="0"/>
                  </a:lnTo>
                  <a:cubicBezTo>
                    <a:pt x="4399" y="0"/>
                    <a:pt x="0" y="41547"/>
                    <a:pt x="0" y="41547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25" name="Forma livre: Forma 924">
              <a:extLst>
                <a:ext uri="{FF2B5EF4-FFF2-40B4-BE49-F238E27FC236}">
                  <a16:creationId xmlns:a16="http://schemas.microsoft.com/office/drawing/2014/main" id="{78D7B84C-A464-5874-AE72-8703E7E58DB9}"/>
                </a:ext>
              </a:extLst>
            </p:cNvPr>
            <p:cNvSpPr/>
            <p:nvPr/>
          </p:nvSpPr>
          <p:spPr>
            <a:xfrm>
              <a:off x="7613177" y="4759318"/>
              <a:ext cx="162679" cy="107972"/>
            </a:xfrm>
            <a:custGeom>
              <a:avLst/>
              <a:gdLst>
                <a:gd name="connsiteX0" fmla="*/ 0 w 162679"/>
                <a:gd name="connsiteY0" fmla="*/ 80258 h 107972"/>
                <a:gd name="connsiteX1" fmla="*/ 93895 w 162679"/>
                <a:gd name="connsiteY1" fmla="*/ 25270 h 107972"/>
                <a:gd name="connsiteX2" fmla="*/ 143995 w 162679"/>
                <a:gd name="connsiteY2" fmla="*/ 0 h 107972"/>
                <a:gd name="connsiteX3" fmla="*/ 146439 w 162679"/>
                <a:gd name="connsiteY3" fmla="*/ 51322 h 107972"/>
                <a:gd name="connsiteX4" fmla="*/ 162618 w 162679"/>
                <a:gd name="connsiteY4" fmla="*/ 107972 h 1079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2679" h="107972">
                  <a:moveTo>
                    <a:pt x="0" y="80258"/>
                  </a:moveTo>
                  <a:cubicBezTo>
                    <a:pt x="11193" y="58018"/>
                    <a:pt x="37050" y="30744"/>
                    <a:pt x="93895" y="25270"/>
                  </a:cubicBezTo>
                  <a:cubicBezTo>
                    <a:pt x="93895" y="25270"/>
                    <a:pt x="122587" y="21409"/>
                    <a:pt x="143995" y="0"/>
                  </a:cubicBezTo>
                  <a:cubicBezTo>
                    <a:pt x="143995" y="0"/>
                    <a:pt x="136664" y="29327"/>
                    <a:pt x="146439" y="51322"/>
                  </a:cubicBezTo>
                  <a:cubicBezTo>
                    <a:pt x="146439" y="51322"/>
                    <a:pt x="163840" y="87199"/>
                    <a:pt x="162618" y="107972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26" name="Forma livre: Forma 925">
              <a:extLst>
                <a:ext uri="{FF2B5EF4-FFF2-40B4-BE49-F238E27FC236}">
                  <a16:creationId xmlns:a16="http://schemas.microsoft.com/office/drawing/2014/main" id="{15F6B3E3-5DCC-E13D-5A3A-531B095E7B8F}"/>
                </a:ext>
              </a:extLst>
            </p:cNvPr>
            <p:cNvSpPr/>
            <p:nvPr/>
          </p:nvSpPr>
          <p:spPr>
            <a:xfrm>
              <a:off x="7746566" y="4722463"/>
              <a:ext cx="38320" cy="38320"/>
            </a:xfrm>
            <a:custGeom>
              <a:avLst/>
              <a:gdLst>
                <a:gd name="connsiteX0" fmla="*/ 38321 w 38320"/>
                <a:gd name="connsiteY0" fmla="*/ 19160 h 38320"/>
                <a:gd name="connsiteX1" fmla="*/ 19160 w 38320"/>
                <a:gd name="connsiteY1" fmla="*/ 38321 h 38320"/>
                <a:gd name="connsiteX2" fmla="*/ 0 w 38320"/>
                <a:gd name="connsiteY2" fmla="*/ 19160 h 38320"/>
                <a:gd name="connsiteX3" fmla="*/ 19160 w 38320"/>
                <a:gd name="connsiteY3" fmla="*/ 0 h 38320"/>
                <a:gd name="connsiteX4" fmla="*/ 38321 w 38320"/>
                <a:gd name="connsiteY4" fmla="*/ 19160 h 383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8320" h="38320">
                  <a:moveTo>
                    <a:pt x="38321" y="19160"/>
                  </a:moveTo>
                  <a:cubicBezTo>
                    <a:pt x="38321" y="29767"/>
                    <a:pt x="29718" y="38321"/>
                    <a:pt x="19160" y="38321"/>
                  </a:cubicBezTo>
                  <a:cubicBezTo>
                    <a:pt x="8603" y="38321"/>
                    <a:pt x="0" y="29718"/>
                    <a:pt x="0" y="19160"/>
                  </a:cubicBezTo>
                  <a:cubicBezTo>
                    <a:pt x="0" y="8603"/>
                    <a:pt x="8603" y="0"/>
                    <a:pt x="19160" y="0"/>
                  </a:cubicBezTo>
                  <a:cubicBezTo>
                    <a:pt x="29718" y="0"/>
                    <a:pt x="38321" y="8603"/>
                    <a:pt x="38321" y="19160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927" name="Gráfico 13">
              <a:extLst>
                <a:ext uri="{FF2B5EF4-FFF2-40B4-BE49-F238E27FC236}">
                  <a16:creationId xmlns:a16="http://schemas.microsoft.com/office/drawing/2014/main" id="{3078C7FC-8019-6473-1BDB-34BE85A140AE}"/>
                </a:ext>
              </a:extLst>
            </p:cNvPr>
            <p:cNvGrpSpPr/>
            <p:nvPr/>
          </p:nvGrpSpPr>
          <p:grpSpPr>
            <a:xfrm>
              <a:off x="7640940" y="4960696"/>
              <a:ext cx="101715" cy="7771"/>
              <a:chOff x="7640940" y="4960696"/>
              <a:chExt cx="101715" cy="7771"/>
            </a:xfrm>
            <a:noFill/>
          </p:grpSpPr>
          <p:sp>
            <p:nvSpPr>
              <p:cNvPr id="928" name="Forma livre: Forma 927">
                <a:extLst>
                  <a:ext uri="{FF2B5EF4-FFF2-40B4-BE49-F238E27FC236}">
                    <a16:creationId xmlns:a16="http://schemas.microsoft.com/office/drawing/2014/main" id="{4E6D47B2-B427-6B74-64CC-5F60B04C206C}"/>
                  </a:ext>
                </a:extLst>
              </p:cNvPr>
              <p:cNvSpPr/>
              <p:nvPr/>
            </p:nvSpPr>
            <p:spPr>
              <a:xfrm>
                <a:off x="7640940" y="4960696"/>
                <a:ext cx="26589" cy="7771"/>
              </a:xfrm>
              <a:custGeom>
                <a:avLst/>
                <a:gdLst>
                  <a:gd name="connsiteX0" fmla="*/ 0 w 26589"/>
                  <a:gd name="connsiteY0" fmla="*/ 7772 h 7771"/>
                  <a:gd name="connsiteX1" fmla="*/ 13295 w 26589"/>
                  <a:gd name="connsiteY1" fmla="*/ 0 h 7771"/>
                  <a:gd name="connsiteX2" fmla="*/ 26590 w 26589"/>
                  <a:gd name="connsiteY2" fmla="*/ 7772 h 77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6589" h="7771">
                    <a:moveTo>
                      <a:pt x="0" y="7772"/>
                    </a:moveTo>
                    <a:cubicBezTo>
                      <a:pt x="1271" y="3324"/>
                      <a:pt x="6745" y="0"/>
                      <a:pt x="13295" y="0"/>
                    </a:cubicBezTo>
                    <a:cubicBezTo>
                      <a:pt x="19845" y="0"/>
                      <a:pt x="25319" y="3324"/>
                      <a:pt x="26590" y="7772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29" name="Forma livre: Forma 928">
                <a:extLst>
                  <a:ext uri="{FF2B5EF4-FFF2-40B4-BE49-F238E27FC236}">
                    <a16:creationId xmlns:a16="http://schemas.microsoft.com/office/drawing/2014/main" id="{36CA8565-3B61-F113-3AF8-C77CAC335D2C}"/>
                  </a:ext>
                </a:extLst>
              </p:cNvPr>
              <p:cNvSpPr/>
              <p:nvPr/>
            </p:nvSpPr>
            <p:spPr>
              <a:xfrm>
                <a:off x="7716066" y="4960696"/>
                <a:ext cx="26589" cy="7771"/>
              </a:xfrm>
              <a:custGeom>
                <a:avLst/>
                <a:gdLst>
                  <a:gd name="connsiteX0" fmla="*/ 0 w 26589"/>
                  <a:gd name="connsiteY0" fmla="*/ 7772 h 7771"/>
                  <a:gd name="connsiteX1" fmla="*/ 13295 w 26589"/>
                  <a:gd name="connsiteY1" fmla="*/ 0 h 7771"/>
                  <a:gd name="connsiteX2" fmla="*/ 26590 w 26589"/>
                  <a:gd name="connsiteY2" fmla="*/ 7772 h 77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6589" h="7771">
                    <a:moveTo>
                      <a:pt x="0" y="7772"/>
                    </a:moveTo>
                    <a:cubicBezTo>
                      <a:pt x="1271" y="3324"/>
                      <a:pt x="6745" y="0"/>
                      <a:pt x="13295" y="0"/>
                    </a:cubicBezTo>
                    <a:cubicBezTo>
                      <a:pt x="19845" y="0"/>
                      <a:pt x="25319" y="3324"/>
                      <a:pt x="26590" y="7772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930" name="Forma livre: Forma 929">
              <a:extLst>
                <a:ext uri="{FF2B5EF4-FFF2-40B4-BE49-F238E27FC236}">
                  <a16:creationId xmlns:a16="http://schemas.microsoft.com/office/drawing/2014/main" id="{BA023AEB-E028-6136-F9D4-5EC6F4E645E0}"/>
                </a:ext>
              </a:extLst>
            </p:cNvPr>
            <p:cNvSpPr/>
            <p:nvPr/>
          </p:nvSpPr>
          <p:spPr>
            <a:xfrm>
              <a:off x="7551989" y="4908396"/>
              <a:ext cx="279617" cy="171709"/>
            </a:xfrm>
            <a:custGeom>
              <a:avLst/>
              <a:gdLst>
                <a:gd name="connsiteX0" fmla="*/ 240962 w 279617"/>
                <a:gd name="connsiteY0" fmla="*/ 26590 h 171709"/>
                <a:gd name="connsiteX1" fmla="*/ 279576 w 279617"/>
                <a:gd name="connsiteY1" fmla="*/ 0 h 171709"/>
                <a:gd name="connsiteX2" fmla="*/ 233386 w 279617"/>
                <a:gd name="connsiteY2" fmla="*/ 76788 h 171709"/>
                <a:gd name="connsiteX3" fmla="*/ 233386 w 279617"/>
                <a:gd name="connsiteY3" fmla="*/ 77130 h 171709"/>
                <a:gd name="connsiteX4" fmla="*/ 140322 w 279617"/>
                <a:gd name="connsiteY4" fmla="*/ 171709 h 171709"/>
                <a:gd name="connsiteX5" fmla="*/ 139295 w 279617"/>
                <a:gd name="connsiteY5" fmla="*/ 171709 h 171709"/>
                <a:gd name="connsiteX6" fmla="*/ 46280 w 279617"/>
                <a:gd name="connsiteY6" fmla="*/ 77130 h 171709"/>
                <a:gd name="connsiteX7" fmla="*/ 46280 w 279617"/>
                <a:gd name="connsiteY7" fmla="*/ 76788 h 171709"/>
                <a:gd name="connsiteX8" fmla="*/ 41 w 279617"/>
                <a:gd name="connsiteY8" fmla="*/ 0 h 171709"/>
                <a:gd name="connsiteX9" fmla="*/ 38655 w 279617"/>
                <a:gd name="connsiteY9" fmla="*/ 26590 h 1717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79617" h="171709">
                  <a:moveTo>
                    <a:pt x="240962" y="26590"/>
                  </a:moveTo>
                  <a:cubicBezTo>
                    <a:pt x="251813" y="2444"/>
                    <a:pt x="279576" y="0"/>
                    <a:pt x="279576" y="0"/>
                  </a:cubicBezTo>
                  <a:cubicBezTo>
                    <a:pt x="280798" y="58654"/>
                    <a:pt x="254746" y="66817"/>
                    <a:pt x="233386" y="76788"/>
                  </a:cubicBezTo>
                  <a:lnTo>
                    <a:pt x="233386" y="77130"/>
                  </a:lnTo>
                  <a:cubicBezTo>
                    <a:pt x="233386" y="77130"/>
                    <a:pt x="219114" y="171709"/>
                    <a:pt x="140322" y="171709"/>
                  </a:cubicBezTo>
                  <a:lnTo>
                    <a:pt x="139295" y="171709"/>
                  </a:lnTo>
                  <a:cubicBezTo>
                    <a:pt x="60504" y="171709"/>
                    <a:pt x="46280" y="77130"/>
                    <a:pt x="46280" y="77130"/>
                  </a:cubicBezTo>
                  <a:lnTo>
                    <a:pt x="46280" y="76788"/>
                  </a:lnTo>
                  <a:cubicBezTo>
                    <a:pt x="24872" y="66817"/>
                    <a:pt x="-1181" y="58654"/>
                    <a:pt x="41" y="0"/>
                  </a:cubicBezTo>
                  <a:cubicBezTo>
                    <a:pt x="41" y="0"/>
                    <a:pt x="27804" y="2444"/>
                    <a:pt x="38655" y="2659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31" name="Forma livre: Forma 930">
              <a:extLst>
                <a:ext uri="{FF2B5EF4-FFF2-40B4-BE49-F238E27FC236}">
                  <a16:creationId xmlns:a16="http://schemas.microsoft.com/office/drawing/2014/main" id="{32587391-BDA1-293D-8989-A812DBD7042E}"/>
                </a:ext>
              </a:extLst>
            </p:cNvPr>
            <p:cNvSpPr/>
            <p:nvPr/>
          </p:nvSpPr>
          <p:spPr>
            <a:xfrm>
              <a:off x="7621731" y="4914946"/>
              <a:ext cx="140133" cy="18720"/>
            </a:xfrm>
            <a:custGeom>
              <a:avLst/>
              <a:gdLst>
                <a:gd name="connsiteX0" fmla="*/ 0 w 140133"/>
                <a:gd name="connsiteY0" fmla="*/ 15494 h 18720"/>
                <a:gd name="connsiteX1" fmla="*/ 90425 w 140133"/>
                <a:gd name="connsiteY1" fmla="*/ 0 h 18720"/>
                <a:gd name="connsiteX2" fmla="*/ 140134 w 140133"/>
                <a:gd name="connsiteY2" fmla="*/ 18720 h 187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40133" h="18720">
                  <a:moveTo>
                    <a:pt x="0" y="15494"/>
                  </a:moveTo>
                  <a:cubicBezTo>
                    <a:pt x="0" y="15494"/>
                    <a:pt x="57823" y="27714"/>
                    <a:pt x="90425" y="0"/>
                  </a:cubicBezTo>
                  <a:cubicBezTo>
                    <a:pt x="90425" y="0"/>
                    <a:pt x="105919" y="18720"/>
                    <a:pt x="140134" y="1872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32" name="Forma livre: Forma 931">
              <a:extLst>
                <a:ext uri="{FF2B5EF4-FFF2-40B4-BE49-F238E27FC236}">
                  <a16:creationId xmlns:a16="http://schemas.microsoft.com/office/drawing/2014/main" id="{AF658BE6-262B-E5F4-FE62-B051AB567FA8}"/>
                </a:ext>
              </a:extLst>
            </p:cNvPr>
            <p:cNvSpPr/>
            <p:nvPr/>
          </p:nvSpPr>
          <p:spPr>
            <a:xfrm>
              <a:off x="7662837" y="5022967"/>
              <a:ext cx="57969" cy="7624"/>
            </a:xfrm>
            <a:custGeom>
              <a:avLst/>
              <a:gdLst>
                <a:gd name="connsiteX0" fmla="*/ 57970 w 57969"/>
                <a:gd name="connsiteY0" fmla="*/ 0 h 7624"/>
                <a:gd name="connsiteX1" fmla="*/ 29132 w 57969"/>
                <a:gd name="connsiteY1" fmla="*/ 7625 h 7624"/>
                <a:gd name="connsiteX2" fmla="*/ 28838 w 57969"/>
                <a:gd name="connsiteY2" fmla="*/ 7625 h 7624"/>
                <a:gd name="connsiteX3" fmla="*/ 0 w 57969"/>
                <a:gd name="connsiteY3" fmla="*/ 0 h 76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7969" h="7624">
                  <a:moveTo>
                    <a:pt x="57970" y="0"/>
                  </a:moveTo>
                  <a:cubicBezTo>
                    <a:pt x="50345" y="4155"/>
                    <a:pt x="40227" y="7625"/>
                    <a:pt x="29132" y="7625"/>
                  </a:cubicBezTo>
                  <a:lnTo>
                    <a:pt x="28838" y="7625"/>
                  </a:lnTo>
                  <a:cubicBezTo>
                    <a:pt x="17743" y="7625"/>
                    <a:pt x="7625" y="4155"/>
                    <a:pt x="0" y="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933" name="Gráfico 13">
            <a:extLst>
              <a:ext uri="{FF2B5EF4-FFF2-40B4-BE49-F238E27FC236}">
                <a16:creationId xmlns:a16="http://schemas.microsoft.com/office/drawing/2014/main" id="{812A0829-807A-C6B8-75C1-BA439E994D0D}"/>
              </a:ext>
            </a:extLst>
          </p:cNvPr>
          <p:cNvGrpSpPr/>
          <p:nvPr/>
        </p:nvGrpSpPr>
        <p:grpSpPr>
          <a:xfrm>
            <a:off x="6238217" y="4712737"/>
            <a:ext cx="363598" cy="374602"/>
            <a:chOff x="6238217" y="4712737"/>
            <a:chExt cx="363598" cy="374602"/>
          </a:xfrm>
        </p:grpSpPr>
        <p:grpSp>
          <p:nvGrpSpPr>
            <p:cNvPr id="934" name="Gráfico 13">
              <a:extLst>
                <a:ext uri="{FF2B5EF4-FFF2-40B4-BE49-F238E27FC236}">
                  <a16:creationId xmlns:a16="http://schemas.microsoft.com/office/drawing/2014/main" id="{8AE99B4E-378D-457F-3133-FE0CD0D66F7F}"/>
                </a:ext>
              </a:extLst>
            </p:cNvPr>
            <p:cNvGrpSpPr/>
            <p:nvPr/>
          </p:nvGrpSpPr>
          <p:grpSpPr>
            <a:xfrm>
              <a:off x="6387409" y="5012360"/>
              <a:ext cx="65203" cy="59924"/>
              <a:chOff x="6387409" y="5012360"/>
              <a:chExt cx="65203" cy="59924"/>
            </a:xfrm>
            <a:noFill/>
          </p:grpSpPr>
          <p:sp>
            <p:nvSpPr>
              <p:cNvPr id="935" name="Forma livre: Forma 934">
                <a:extLst>
                  <a:ext uri="{FF2B5EF4-FFF2-40B4-BE49-F238E27FC236}">
                    <a16:creationId xmlns:a16="http://schemas.microsoft.com/office/drawing/2014/main" id="{82E881EF-AFCB-3A16-34ED-2CA854303546}"/>
                  </a:ext>
                </a:extLst>
              </p:cNvPr>
              <p:cNvSpPr/>
              <p:nvPr/>
            </p:nvSpPr>
            <p:spPr>
              <a:xfrm>
                <a:off x="6387409" y="5012360"/>
                <a:ext cx="33628" cy="59924"/>
              </a:xfrm>
              <a:custGeom>
                <a:avLst/>
                <a:gdLst>
                  <a:gd name="connsiteX0" fmla="*/ 0 w 33628"/>
                  <a:gd name="connsiteY0" fmla="*/ 59925 h 59924"/>
                  <a:gd name="connsiteX1" fmla="*/ 10313 w 33628"/>
                  <a:gd name="connsiteY1" fmla="*/ 9629 h 59924"/>
                  <a:gd name="connsiteX2" fmla="*/ 31771 w 33628"/>
                  <a:gd name="connsiteY2" fmla="*/ 0 h 59924"/>
                  <a:gd name="connsiteX3" fmla="*/ 33628 w 33628"/>
                  <a:gd name="connsiteY3" fmla="*/ 0 h 599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628" h="59924">
                    <a:moveTo>
                      <a:pt x="0" y="59925"/>
                    </a:moveTo>
                    <a:lnTo>
                      <a:pt x="10313" y="9629"/>
                    </a:lnTo>
                    <a:cubicBezTo>
                      <a:pt x="14077" y="342"/>
                      <a:pt x="31771" y="0"/>
                      <a:pt x="31771" y="0"/>
                    </a:cubicBezTo>
                    <a:lnTo>
                      <a:pt x="33628" y="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36" name="Forma livre: Forma 935">
                <a:extLst>
                  <a:ext uri="{FF2B5EF4-FFF2-40B4-BE49-F238E27FC236}">
                    <a16:creationId xmlns:a16="http://schemas.microsoft.com/office/drawing/2014/main" id="{1EF2D136-659B-45ED-CEF4-B57C5DDC167B}"/>
                  </a:ext>
                </a:extLst>
              </p:cNvPr>
              <p:cNvSpPr/>
              <p:nvPr/>
            </p:nvSpPr>
            <p:spPr>
              <a:xfrm>
                <a:off x="6418984" y="5012360"/>
                <a:ext cx="33628" cy="59924"/>
              </a:xfrm>
              <a:custGeom>
                <a:avLst/>
                <a:gdLst>
                  <a:gd name="connsiteX0" fmla="*/ 33628 w 33628"/>
                  <a:gd name="connsiteY0" fmla="*/ 59925 h 59924"/>
                  <a:gd name="connsiteX1" fmla="*/ 23315 w 33628"/>
                  <a:gd name="connsiteY1" fmla="*/ 9629 h 59924"/>
                  <a:gd name="connsiteX2" fmla="*/ 1857 w 33628"/>
                  <a:gd name="connsiteY2" fmla="*/ 0 h 59924"/>
                  <a:gd name="connsiteX3" fmla="*/ 0 w 33628"/>
                  <a:gd name="connsiteY3" fmla="*/ 0 h 599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628" h="59924">
                    <a:moveTo>
                      <a:pt x="33628" y="59925"/>
                    </a:moveTo>
                    <a:lnTo>
                      <a:pt x="23315" y="9629"/>
                    </a:lnTo>
                    <a:cubicBezTo>
                      <a:pt x="19551" y="342"/>
                      <a:pt x="1857" y="0"/>
                      <a:pt x="1857" y="0"/>
                    </a:cubicBezTo>
                    <a:lnTo>
                      <a:pt x="0" y="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937" name="Gráfico 13">
              <a:extLst>
                <a:ext uri="{FF2B5EF4-FFF2-40B4-BE49-F238E27FC236}">
                  <a16:creationId xmlns:a16="http://schemas.microsoft.com/office/drawing/2014/main" id="{91F8821D-A5DE-EC65-5FA8-F2D68B15B91A}"/>
                </a:ext>
              </a:extLst>
            </p:cNvPr>
            <p:cNvGrpSpPr/>
            <p:nvPr/>
          </p:nvGrpSpPr>
          <p:grpSpPr>
            <a:xfrm>
              <a:off x="6238217" y="4712737"/>
              <a:ext cx="363598" cy="232856"/>
              <a:chOff x="6238217" y="4712737"/>
              <a:chExt cx="363598" cy="232856"/>
            </a:xfrm>
            <a:noFill/>
          </p:grpSpPr>
          <p:grpSp>
            <p:nvGrpSpPr>
              <p:cNvPr id="938" name="Gráfico 13">
                <a:extLst>
                  <a:ext uri="{FF2B5EF4-FFF2-40B4-BE49-F238E27FC236}">
                    <a16:creationId xmlns:a16="http://schemas.microsoft.com/office/drawing/2014/main" id="{8942B751-08B3-5AB8-B1E3-5E549039B5E4}"/>
                  </a:ext>
                </a:extLst>
              </p:cNvPr>
              <p:cNvGrpSpPr/>
              <p:nvPr/>
            </p:nvGrpSpPr>
            <p:grpSpPr>
              <a:xfrm>
                <a:off x="6238217" y="4712737"/>
                <a:ext cx="135799" cy="232856"/>
                <a:chOff x="6238217" y="4712737"/>
                <a:chExt cx="135799" cy="232856"/>
              </a:xfrm>
              <a:noFill/>
            </p:grpSpPr>
            <p:sp>
              <p:nvSpPr>
                <p:cNvPr id="939" name="Forma livre: Forma 938">
                  <a:extLst>
                    <a:ext uri="{FF2B5EF4-FFF2-40B4-BE49-F238E27FC236}">
                      <a16:creationId xmlns:a16="http://schemas.microsoft.com/office/drawing/2014/main" id="{06AF26E3-12FD-FA29-2863-4F7516F4FD4E}"/>
                    </a:ext>
                  </a:extLst>
                </p:cNvPr>
                <p:cNvSpPr/>
                <p:nvPr/>
              </p:nvSpPr>
              <p:spPr>
                <a:xfrm>
                  <a:off x="6268626" y="4763326"/>
                  <a:ext cx="90286" cy="102155"/>
                </a:xfrm>
                <a:custGeom>
                  <a:avLst/>
                  <a:gdLst>
                    <a:gd name="connsiteX0" fmla="*/ 90287 w 90286"/>
                    <a:gd name="connsiteY0" fmla="*/ 102156 h 102155"/>
                    <a:gd name="connsiteX1" fmla="*/ 5629 w 90286"/>
                    <a:gd name="connsiteY1" fmla="*/ 0 h 10215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90286" h="102155">
                      <a:moveTo>
                        <a:pt x="90287" y="102156"/>
                      </a:moveTo>
                      <a:cubicBezTo>
                        <a:pt x="90287" y="102156"/>
                        <a:pt x="-26630" y="102156"/>
                        <a:pt x="5629" y="0"/>
                      </a:cubicBez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940" name="Forma livre: Forma 939">
                  <a:extLst>
                    <a:ext uri="{FF2B5EF4-FFF2-40B4-BE49-F238E27FC236}">
                      <a16:creationId xmlns:a16="http://schemas.microsoft.com/office/drawing/2014/main" id="{FFBC14A7-D726-A382-61F2-AA1E7AB404EB}"/>
                    </a:ext>
                  </a:extLst>
                </p:cNvPr>
                <p:cNvSpPr/>
                <p:nvPr/>
              </p:nvSpPr>
              <p:spPr>
                <a:xfrm>
                  <a:off x="6358913" y="4865481"/>
                  <a:ext cx="15103" cy="26834"/>
                </a:xfrm>
                <a:custGeom>
                  <a:avLst/>
                  <a:gdLst>
                    <a:gd name="connsiteX0" fmla="*/ 15103 w 15103"/>
                    <a:gd name="connsiteY0" fmla="*/ 26834 h 26834"/>
                    <a:gd name="connsiteX1" fmla="*/ 0 w 15103"/>
                    <a:gd name="connsiteY1" fmla="*/ 0 h 2683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5103" h="26834">
                      <a:moveTo>
                        <a:pt x="15103" y="26834"/>
                      </a:moveTo>
                      <a:cubicBezTo>
                        <a:pt x="10851" y="20138"/>
                        <a:pt x="4643" y="10264"/>
                        <a:pt x="0" y="0"/>
                      </a:cubicBez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941" name="Forma livre: Forma 940">
                  <a:extLst>
                    <a:ext uri="{FF2B5EF4-FFF2-40B4-BE49-F238E27FC236}">
                      <a16:creationId xmlns:a16="http://schemas.microsoft.com/office/drawing/2014/main" id="{2B252965-16A0-E527-AAA7-BC6F162B93AC}"/>
                    </a:ext>
                  </a:extLst>
                </p:cNvPr>
                <p:cNvSpPr/>
                <p:nvPr/>
              </p:nvSpPr>
              <p:spPr>
                <a:xfrm>
                  <a:off x="6354905" y="4784832"/>
                  <a:ext cx="8522" cy="80649"/>
                </a:xfrm>
                <a:custGeom>
                  <a:avLst/>
                  <a:gdLst>
                    <a:gd name="connsiteX0" fmla="*/ 0 w 8522"/>
                    <a:gd name="connsiteY0" fmla="*/ 0 h 80649"/>
                    <a:gd name="connsiteX1" fmla="*/ 4008 w 8522"/>
                    <a:gd name="connsiteY1" fmla="*/ 80649 h 8064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8522" h="80649">
                      <a:moveTo>
                        <a:pt x="0" y="0"/>
                      </a:moveTo>
                      <a:cubicBezTo>
                        <a:pt x="0" y="0"/>
                        <a:pt x="16130" y="60462"/>
                        <a:pt x="4008" y="80649"/>
                      </a:cubicBez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942" name="Forma livre: Forma 941">
                  <a:extLst>
                    <a:ext uri="{FF2B5EF4-FFF2-40B4-BE49-F238E27FC236}">
                      <a16:creationId xmlns:a16="http://schemas.microsoft.com/office/drawing/2014/main" id="{1CCBA7BA-18EF-884C-C6EB-47E224B06F57}"/>
                    </a:ext>
                  </a:extLst>
                </p:cNvPr>
                <p:cNvSpPr/>
                <p:nvPr/>
              </p:nvSpPr>
              <p:spPr>
                <a:xfrm>
                  <a:off x="6238217" y="4712737"/>
                  <a:ext cx="44348" cy="123613"/>
                </a:xfrm>
                <a:custGeom>
                  <a:avLst/>
                  <a:gdLst>
                    <a:gd name="connsiteX0" fmla="*/ 1433 w 44348"/>
                    <a:gd name="connsiteY0" fmla="*/ 0 h 123613"/>
                    <a:gd name="connsiteX1" fmla="*/ 44348 w 44348"/>
                    <a:gd name="connsiteY1" fmla="*/ 123613 h 12361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4348" h="123613">
                      <a:moveTo>
                        <a:pt x="1433" y="0"/>
                      </a:moveTo>
                      <a:cubicBezTo>
                        <a:pt x="1433" y="0"/>
                        <a:pt x="-12155" y="98343"/>
                        <a:pt x="44348" y="123613"/>
                      </a:cubicBez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943" name="Forma livre: Forma 942">
                  <a:extLst>
                    <a:ext uri="{FF2B5EF4-FFF2-40B4-BE49-F238E27FC236}">
                      <a16:creationId xmlns:a16="http://schemas.microsoft.com/office/drawing/2014/main" id="{FB58A432-79F7-2F88-B030-1155F22332D7}"/>
                    </a:ext>
                  </a:extLst>
                </p:cNvPr>
                <p:cNvSpPr/>
                <p:nvPr/>
              </p:nvSpPr>
              <p:spPr>
                <a:xfrm>
                  <a:off x="6262476" y="4875257"/>
                  <a:ext cx="103475" cy="70335"/>
                </a:xfrm>
                <a:custGeom>
                  <a:avLst/>
                  <a:gdLst>
                    <a:gd name="connsiteX0" fmla="*/ 103475 w 103475"/>
                    <a:gd name="connsiteY0" fmla="*/ 49514 h 70335"/>
                    <a:gd name="connsiteX1" fmla="*/ 0 w 103475"/>
                    <a:gd name="connsiteY1" fmla="*/ 0 h 70335"/>
                    <a:gd name="connsiteX2" fmla="*/ 67110 w 103475"/>
                    <a:gd name="connsiteY2" fmla="*/ 70336 h 7033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03475" h="70335">
                      <a:moveTo>
                        <a:pt x="103475" y="49514"/>
                      </a:moveTo>
                      <a:cubicBezTo>
                        <a:pt x="103475" y="49514"/>
                        <a:pt x="62564" y="7332"/>
                        <a:pt x="0" y="0"/>
                      </a:cubicBezTo>
                      <a:cubicBezTo>
                        <a:pt x="0" y="0"/>
                        <a:pt x="5768" y="62417"/>
                        <a:pt x="67110" y="70336"/>
                      </a:cubicBez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944" name="Gráfico 13">
                <a:extLst>
                  <a:ext uri="{FF2B5EF4-FFF2-40B4-BE49-F238E27FC236}">
                    <a16:creationId xmlns:a16="http://schemas.microsoft.com/office/drawing/2014/main" id="{67E68BC8-A6D5-5866-1A89-73083CBE5A95}"/>
                  </a:ext>
                </a:extLst>
              </p:cNvPr>
              <p:cNvGrpSpPr/>
              <p:nvPr/>
            </p:nvGrpSpPr>
            <p:grpSpPr>
              <a:xfrm>
                <a:off x="6466005" y="4712737"/>
                <a:ext cx="135809" cy="232856"/>
                <a:chOff x="6466005" y="4712737"/>
                <a:chExt cx="135809" cy="232856"/>
              </a:xfrm>
              <a:noFill/>
            </p:grpSpPr>
            <p:sp>
              <p:nvSpPr>
                <p:cNvPr id="945" name="Forma livre: Forma 944">
                  <a:extLst>
                    <a:ext uri="{FF2B5EF4-FFF2-40B4-BE49-F238E27FC236}">
                      <a16:creationId xmlns:a16="http://schemas.microsoft.com/office/drawing/2014/main" id="{1D567635-8662-7D2C-772B-51D600323E89}"/>
                    </a:ext>
                  </a:extLst>
                </p:cNvPr>
                <p:cNvSpPr/>
                <p:nvPr/>
              </p:nvSpPr>
              <p:spPr>
                <a:xfrm>
                  <a:off x="6481108" y="4763326"/>
                  <a:ext cx="90286" cy="102155"/>
                </a:xfrm>
                <a:custGeom>
                  <a:avLst/>
                  <a:gdLst>
                    <a:gd name="connsiteX0" fmla="*/ 0 w 90286"/>
                    <a:gd name="connsiteY0" fmla="*/ 102156 h 102155"/>
                    <a:gd name="connsiteX1" fmla="*/ 84657 w 90286"/>
                    <a:gd name="connsiteY1" fmla="*/ 0 h 10215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90286" h="102155">
                      <a:moveTo>
                        <a:pt x="0" y="102156"/>
                      </a:moveTo>
                      <a:cubicBezTo>
                        <a:pt x="0" y="102156"/>
                        <a:pt x="116917" y="102156"/>
                        <a:pt x="84657" y="0"/>
                      </a:cubicBez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946" name="Forma livre: Forma 945">
                  <a:extLst>
                    <a:ext uri="{FF2B5EF4-FFF2-40B4-BE49-F238E27FC236}">
                      <a16:creationId xmlns:a16="http://schemas.microsoft.com/office/drawing/2014/main" id="{821E7EAD-5162-B180-BFC5-EB7AE41DD990}"/>
                    </a:ext>
                  </a:extLst>
                </p:cNvPr>
                <p:cNvSpPr/>
                <p:nvPr/>
              </p:nvSpPr>
              <p:spPr>
                <a:xfrm>
                  <a:off x="6466005" y="4865481"/>
                  <a:ext cx="15103" cy="26834"/>
                </a:xfrm>
                <a:custGeom>
                  <a:avLst/>
                  <a:gdLst>
                    <a:gd name="connsiteX0" fmla="*/ 0 w 15103"/>
                    <a:gd name="connsiteY0" fmla="*/ 26834 h 26834"/>
                    <a:gd name="connsiteX1" fmla="*/ 15103 w 15103"/>
                    <a:gd name="connsiteY1" fmla="*/ 0 h 2683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5103" h="26834">
                      <a:moveTo>
                        <a:pt x="0" y="26834"/>
                      </a:moveTo>
                      <a:cubicBezTo>
                        <a:pt x="4252" y="20138"/>
                        <a:pt x="10460" y="10264"/>
                        <a:pt x="15103" y="0"/>
                      </a:cubicBez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947" name="Forma livre: Forma 946">
                  <a:extLst>
                    <a:ext uri="{FF2B5EF4-FFF2-40B4-BE49-F238E27FC236}">
                      <a16:creationId xmlns:a16="http://schemas.microsoft.com/office/drawing/2014/main" id="{34C93D38-A6AA-B066-5E44-36EC39883CB3}"/>
                    </a:ext>
                  </a:extLst>
                </p:cNvPr>
                <p:cNvSpPr/>
                <p:nvPr/>
              </p:nvSpPr>
              <p:spPr>
                <a:xfrm>
                  <a:off x="6476594" y="4784832"/>
                  <a:ext cx="8522" cy="80649"/>
                </a:xfrm>
                <a:custGeom>
                  <a:avLst/>
                  <a:gdLst>
                    <a:gd name="connsiteX0" fmla="*/ 8522 w 8522"/>
                    <a:gd name="connsiteY0" fmla="*/ 0 h 80649"/>
                    <a:gd name="connsiteX1" fmla="*/ 4514 w 8522"/>
                    <a:gd name="connsiteY1" fmla="*/ 80649 h 8064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8522" h="80649">
                      <a:moveTo>
                        <a:pt x="8522" y="0"/>
                      </a:moveTo>
                      <a:cubicBezTo>
                        <a:pt x="8522" y="0"/>
                        <a:pt x="-7608" y="60462"/>
                        <a:pt x="4514" y="80649"/>
                      </a:cubicBez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948" name="Forma livre: Forma 947">
                  <a:extLst>
                    <a:ext uri="{FF2B5EF4-FFF2-40B4-BE49-F238E27FC236}">
                      <a16:creationId xmlns:a16="http://schemas.microsoft.com/office/drawing/2014/main" id="{D913CF73-C7A6-4B6E-30A7-FD9075D05202}"/>
                    </a:ext>
                  </a:extLst>
                </p:cNvPr>
                <p:cNvSpPr/>
                <p:nvPr/>
              </p:nvSpPr>
              <p:spPr>
                <a:xfrm>
                  <a:off x="6557456" y="4712737"/>
                  <a:ext cx="44358" cy="123613"/>
                </a:xfrm>
                <a:custGeom>
                  <a:avLst/>
                  <a:gdLst>
                    <a:gd name="connsiteX0" fmla="*/ 42915 w 44358"/>
                    <a:gd name="connsiteY0" fmla="*/ 0 h 123613"/>
                    <a:gd name="connsiteX1" fmla="*/ 0 w 44358"/>
                    <a:gd name="connsiteY1" fmla="*/ 123613 h 12361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4358" h="123613">
                      <a:moveTo>
                        <a:pt x="42915" y="0"/>
                      </a:moveTo>
                      <a:cubicBezTo>
                        <a:pt x="42915" y="0"/>
                        <a:pt x="56552" y="98343"/>
                        <a:pt x="0" y="123613"/>
                      </a:cubicBez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949" name="Forma livre: Forma 948">
                  <a:extLst>
                    <a:ext uri="{FF2B5EF4-FFF2-40B4-BE49-F238E27FC236}">
                      <a16:creationId xmlns:a16="http://schemas.microsoft.com/office/drawing/2014/main" id="{D2CD98B9-D01B-7E32-EE75-8CAD3BFCCEBF}"/>
                    </a:ext>
                  </a:extLst>
                </p:cNvPr>
                <p:cNvSpPr/>
                <p:nvPr/>
              </p:nvSpPr>
              <p:spPr>
                <a:xfrm>
                  <a:off x="6474070" y="4875257"/>
                  <a:ext cx="103475" cy="70335"/>
                </a:xfrm>
                <a:custGeom>
                  <a:avLst/>
                  <a:gdLst>
                    <a:gd name="connsiteX0" fmla="*/ 0 w 103475"/>
                    <a:gd name="connsiteY0" fmla="*/ 49514 h 70335"/>
                    <a:gd name="connsiteX1" fmla="*/ 103475 w 103475"/>
                    <a:gd name="connsiteY1" fmla="*/ 0 h 70335"/>
                    <a:gd name="connsiteX2" fmla="*/ 36365 w 103475"/>
                    <a:gd name="connsiteY2" fmla="*/ 70336 h 7033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03475" h="70335">
                      <a:moveTo>
                        <a:pt x="0" y="49514"/>
                      </a:moveTo>
                      <a:cubicBezTo>
                        <a:pt x="0" y="49514"/>
                        <a:pt x="40911" y="7332"/>
                        <a:pt x="103475" y="0"/>
                      </a:cubicBezTo>
                      <a:cubicBezTo>
                        <a:pt x="103475" y="0"/>
                        <a:pt x="97708" y="62417"/>
                        <a:pt x="36365" y="70336"/>
                      </a:cubicBez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sp>
          <p:nvSpPr>
            <p:cNvPr id="950" name="Forma livre: Forma 949">
              <a:extLst>
                <a:ext uri="{FF2B5EF4-FFF2-40B4-BE49-F238E27FC236}">
                  <a16:creationId xmlns:a16="http://schemas.microsoft.com/office/drawing/2014/main" id="{1F9C6B07-E4AF-9E0F-BA17-2195E5DE0F62}"/>
                </a:ext>
              </a:extLst>
            </p:cNvPr>
            <p:cNvSpPr/>
            <p:nvPr/>
          </p:nvSpPr>
          <p:spPr>
            <a:xfrm>
              <a:off x="6348748" y="4902726"/>
              <a:ext cx="142546" cy="184613"/>
            </a:xfrm>
            <a:custGeom>
              <a:avLst/>
              <a:gdLst>
                <a:gd name="connsiteX0" fmla="*/ 70138 w 142546"/>
                <a:gd name="connsiteY0" fmla="*/ 184613 h 184613"/>
                <a:gd name="connsiteX1" fmla="*/ 42082 w 142546"/>
                <a:gd name="connsiteY1" fmla="*/ 176353 h 184613"/>
                <a:gd name="connsiteX2" fmla="*/ 11387 w 142546"/>
                <a:gd name="connsiteY2" fmla="*/ 95948 h 184613"/>
                <a:gd name="connsiteX3" fmla="*/ 5912 w 142546"/>
                <a:gd name="connsiteY3" fmla="*/ 41156 h 184613"/>
                <a:gd name="connsiteX4" fmla="*/ 40567 w 142546"/>
                <a:gd name="connsiteY4" fmla="*/ 2933 h 184613"/>
                <a:gd name="connsiteX5" fmla="*/ 70432 w 142546"/>
                <a:gd name="connsiteY5" fmla="*/ 0 h 184613"/>
                <a:gd name="connsiteX6" fmla="*/ 72045 w 142546"/>
                <a:gd name="connsiteY6" fmla="*/ 0 h 184613"/>
                <a:gd name="connsiteX7" fmla="*/ 101909 w 142546"/>
                <a:gd name="connsiteY7" fmla="*/ 2933 h 184613"/>
                <a:gd name="connsiteX8" fmla="*/ 136613 w 142546"/>
                <a:gd name="connsiteY8" fmla="*/ 41156 h 184613"/>
                <a:gd name="connsiteX9" fmla="*/ 131138 w 142546"/>
                <a:gd name="connsiteY9" fmla="*/ 95948 h 184613"/>
                <a:gd name="connsiteX10" fmla="*/ 100443 w 142546"/>
                <a:gd name="connsiteY10" fmla="*/ 176353 h 184613"/>
                <a:gd name="connsiteX11" fmla="*/ 72387 w 142546"/>
                <a:gd name="connsiteY11" fmla="*/ 184613 h 184613"/>
                <a:gd name="connsiteX12" fmla="*/ 70187 w 142546"/>
                <a:gd name="connsiteY12" fmla="*/ 184613 h 1846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42546" h="184613">
                  <a:moveTo>
                    <a:pt x="70138" y="184613"/>
                  </a:moveTo>
                  <a:cubicBezTo>
                    <a:pt x="47312" y="184369"/>
                    <a:pt x="42082" y="176353"/>
                    <a:pt x="42082" y="176353"/>
                  </a:cubicBezTo>
                  <a:cubicBezTo>
                    <a:pt x="20918" y="141796"/>
                    <a:pt x="20722" y="109438"/>
                    <a:pt x="11387" y="95948"/>
                  </a:cubicBezTo>
                  <a:cubicBezTo>
                    <a:pt x="-10511" y="64128"/>
                    <a:pt x="5912" y="41156"/>
                    <a:pt x="5912" y="41156"/>
                  </a:cubicBezTo>
                  <a:cubicBezTo>
                    <a:pt x="17594" y="17743"/>
                    <a:pt x="40567" y="2933"/>
                    <a:pt x="40567" y="2933"/>
                  </a:cubicBezTo>
                  <a:cubicBezTo>
                    <a:pt x="40567" y="2933"/>
                    <a:pt x="59581" y="0"/>
                    <a:pt x="70432" y="0"/>
                  </a:cubicBezTo>
                  <a:lnTo>
                    <a:pt x="72045" y="0"/>
                  </a:lnTo>
                  <a:cubicBezTo>
                    <a:pt x="79963" y="0"/>
                    <a:pt x="101909" y="2933"/>
                    <a:pt x="101909" y="2933"/>
                  </a:cubicBezTo>
                  <a:cubicBezTo>
                    <a:pt x="101909" y="2933"/>
                    <a:pt x="124882" y="17694"/>
                    <a:pt x="136613" y="41156"/>
                  </a:cubicBezTo>
                  <a:cubicBezTo>
                    <a:pt x="136613" y="41156"/>
                    <a:pt x="153085" y="64128"/>
                    <a:pt x="131138" y="95948"/>
                  </a:cubicBezTo>
                  <a:cubicBezTo>
                    <a:pt x="121851" y="109438"/>
                    <a:pt x="121656" y="141796"/>
                    <a:pt x="100443" y="176353"/>
                  </a:cubicBezTo>
                  <a:cubicBezTo>
                    <a:pt x="100443" y="176353"/>
                    <a:pt x="95213" y="184418"/>
                    <a:pt x="72387" y="184613"/>
                  </a:cubicBezTo>
                  <a:lnTo>
                    <a:pt x="70187" y="184613"/>
                  </a:ln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51" name="Forma livre: Forma 950">
              <a:extLst>
                <a:ext uri="{FF2B5EF4-FFF2-40B4-BE49-F238E27FC236}">
                  <a16:creationId xmlns:a16="http://schemas.microsoft.com/office/drawing/2014/main" id="{07270CD1-9905-0705-C45B-08DEA249A974}"/>
                </a:ext>
              </a:extLst>
            </p:cNvPr>
            <p:cNvSpPr/>
            <p:nvPr/>
          </p:nvSpPr>
          <p:spPr>
            <a:xfrm>
              <a:off x="6417567" y="5042420"/>
              <a:ext cx="4838" cy="16276"/>
            </a:xfrm>
            <a:custGeom>
              <a:avLst/>
              <a:gdLst>
                <a:gd name="connsiteX0" fmla="*/ 1466 w 4838"/>
                <a:gd name="connsiteY0" fmla="*/ 16276 h 16276"/>
                <a:gd name="connsiteX1" fmla="*/ 0 w 4838"/>
                <a:gd name="connsiteY1" fmla="*/ 0 h 16276"/>
                <a:gd name="connsiteX2" fmla="*/ 4839 w 4838"/>
                <a:gd name="connsiteY2" fmla="*/ 0 h 16276"/>
                <a:gd name="connsiteX3" fmla="*/ 2933 w 4838"/>
                <a:gd name="connsiteY3" fmla="*/ 16276 h 16276"/>
                <a:gd name="connsiteX4" fmla="*/ 1515 w 4838"/>
                <a:gd name="connsiteY4" fmla="*/ 16276 h 162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838" h="16276">
                  <a:moveTo>
                    <a:pt x="1466" y="16276"/>
                  </a:moveTo>
                  <a:lnTo>
                    <a:pt x="0" y="0"/>
                  </a:lnTo>
                  <a:lnTo>
                    <a:pt x="4839" y="0"/>
                  </a:lnTo>
                  <a:lnTo>
                    <a:pt x="2933" y="16276"/>
                  </a:lnTo>
                  <a:cubicBezTo>
                    <a:pt x="2933" y="16276"/>
                    <a:pt x="2933" y="16276"/>
                    <a:pt x="1515" y="16276"/>
                  </a:cubicBezTo>
                  <a:close/>
                </a:path>
              </a:pathLst>
            </a:custGeom>
            <a:solidFill>
              <a:srgbClr val="39434E"/>
            </a:solidFill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52" name="Forma livre: Forma 951">
              <a:extLst>
                <a:ext uri="{FF2B5EF4-FFF2-40B4-BE49-F238E27FC236}">
                  <a16:creationId xmlns:a16="http://schemas.microsoft.com/office/drawing/2014/main" id="{2FFE3E0D-F6D9-B45C-1DC7-A6A9E8B3C2DF}"/>
                </a:ext>
              </a:extLst>
            </p:cNvPr>
            <p:cNvSpPr/>
            <p:nvPr/>
          </p:nvSpPr>
          <p:spPr>
            <a:xfrm>
              <a:off x="6390977" y="5061336"/>
              <a:ext cx="58067" cy="4887"/>
            </a:xfrm>
            <a:custGeom>
              <a:avLst/>
              <a:gdLst>
                <a:gd name="connsiteX0" fmla="*/ 0 w 58067"/>
                <a:gd name="connsiteY0" fmla="*/ 0 h 4887"/>
                <a:gd name="connsiteX1" fmla="*/ 58067 w 58067"/>
                <a:gd name="connsiteY1" fmla="*/ 0 h 48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8067" h="4887">
                  <a:moveTo>
                    <a:pt x="0" y="0"/>
                  </a:moveTo>
                  <a:lnTo>
                    <a:pt x="58067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953" name="Gráfico 13">
              <a:extLst>
                <a:ext uri="{FF2B5EF4-FFF2-40B4-BE49-F238E27FC236}">
                  <a16:creationId xmlns:a16="http://schemas.microsoft.com/office/drawing/2014/main" id="{D25B7610-F60F-033E-E104-51EC062366AA}"/>
                </a:ext>
              </a:extLst>
            </p:cNvPr>
            <p:cNvGrpSpPr/>
            <p:nvPr/>
          </p:nvGrpSpPr>
          <p:grpSpPr>
            <a:xfrm>
              <a:off x="6376802" y="4962162"/>
              <a:ext cx="86416" cy="7624"/>
              <a:chOff x="6376802" y="4962162"/>
              <a:chExt cx="86416" cy="7624"/>
            </a:xfrm>
            <a:solidFill>
              <a:srgbClr val="394553"/>
            </a:solidFill>
          </p:grpSpPr>
          <p:sp>
            <p:nvSpPr>
              <p:cNvPr id="954" name="Forma livre: Forma 953">
                <a:extLst>
                  <a:ext uri="{FF2B5EF4-FFF2-40B4-BE49-F238E27FC236}">
                    <a16:creationId xmlns:a16="http://schemas.microsoft.com/office/drawing/2014/main" id="{6E45B544-7DB5-AFA5-F454-045FAF0B0BF2}"/>
                  </a:ext>
                </a:extLst>
              </p:cNvPr>
              <p:cNvSpPr/>
              <p:nvPr/>
            </p:nvSpPr>
            <p:spPr>
              <a:xfrm>
                <a:off x="6376802" y="4962162"/>
                <a:ext cx="7625" cy="7624"/>
              </a:xfrm>
              <a:custGeom>
                <a:avLst/>
                <a:gdLst>
                  <a:gd name="connsiteX0" fmla="*/ 7625 w 7625"/>
                  <a:gd name="connsiteY0" fmla="*/ 3812 h 7624"/>
                  <a:gd name="connsiteX1" fmla="*/ 3812 w 7625"/>
                  <a:gd name="connsiteY1" fmla="*/ 7625 h 7624"/>
                  <a:gd name="connsiteX2" fmla="*/ 0 w 7625"/>
                  <a:gd name="connsiteY2" fmla="*/ 3812 h 7624"/>
                  <a:gd name="connsiteX3" fmla="*/ 3812 w 7625"/>
                  <a:gd name="connsiteY3" fmla="*/ 0 h 7624"/>
                  <a:gd name="connsiteX4" fmla="*/ 7625 w 7625"/>
                  <a:gd name="connsiteY4" fmla="*/ 3812 h 76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625" h="7624">
                    <a:moveTo>
                      <a:pt x="7625" y="3812"/>
                    </a:moveTo>
                    <a:cubicBezTo>
                      <a:pt x="7625" y="5914"/>
                      <a:pt x="5914" y="7625"/>
                      <a:pt x="3812" y="7625"/>
                    </a:cubicBezTo>
                    <a:cubicBezTo>
                      <a:pt x="1711" y="7625"/>
                      <a:pt x="0" y="5914"/>
                      <a:pt x="0" y="3812"/>
                    </a:cubicBezTo>
                    <a:cubicBezTo>
                      <a:pt x="0" y="1711"/>
                      <a:pt x="1711" y="0"/>
                      <a:pt x="3812" y="0"/>
                    </a:cubicBezTo>
                    <a:cubicBezTo>
                      <a:pt x="5914" y="0"/>
                      <a:pt x="7625" y="1711"/>
                      <a:pt x="7625" y="3812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55" name="Forma livre: Forma 954">
                <a:extLst>
                  <a:ext uri="{FF2B5EF4-FFF2-40B4-BE49-F238E27FC236}">
                    <a16:creationId xmlns:a16="http://schemas.microsoft.com/office/drawing/2014/main" id="{2442748D-DFBF-7377-EF8B-90017BB4F28F}"/>
                  </a:ext>
                </a:extLst>
              </p:cNvPr>
              <p:cNvSpPr/>
              <p:nvPr/>
            </p:nvSpPr>
            <p:spPr>
              <a:xfrm>
                <a:off x="6455594" y="4962162"/>
                <a:ext cx="7624" cy="7624"/>
              </a:xfrm>
              <a:custGeom>
                <a:avLst/>
                <a:gdLst>
                  <a:gd name="connsiteX0" fmla="*/ 7625 w 7624"/>
                  <a:gd name="connsiteY0" fmla="*/ 3812 h 7624"/>
                  <a:gd name="connsiteX1" fmla="*/ 3812 w 7624"/>
                  <a:gd name="connsiteY1" fmla="*/ 7625 h 7624"/>
                  <a:gd name="connsiteX2" fmla="*/ 0 w 7624"/>
                  <a:gd name="connsiteY2" fmla="*/ 3812 h 7624"/>
                  <a:gd name="connsiteX3" fmla="*/ 3812 w 7624"/>
                  <a:gd name="connsiteY3" fmla="*/ 0 h 7624"/>
                  <a:gd name="connsiteX4" fmla="*/ 7625 w 7624"/>
                  <a:gd name="connsiteY4" fmla="*/ 3812 h 76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624" h="7624">
                    <a:moveTo>
                      <a:pt x="7625" y="3812"/>
                    </a:moveTo>
                    <a:cubicBezTo>
                      <a:pt x="7625" y="5914"/>
                      <a:pt x="5914" y="7625"/>
                      <a:pt x="3812" y="7625"/>
                    </a:cubicBezTo>
                    <a:cubicBezTo>
                      <a:pt x="1711" y="7625"/>
                      <a:pt x="0" y="5914"/>
                      <a:pt x="0" y="3812"/>
                    </a:cubicBezTo>
                    <a:cubicBezTo>
                      <a:pt x="0" y="1711"/>
                      <a:pt x="1711" y="0"/>
                      <a:pt x="3812" y="0"/>
                    </a:cubicBezTo>
                    <a:cubicBezTo>
                      <a:pt x="5914" y="0"/>
                      <a:pt x="7625" y="1711"/>
                      <a:pt x="7625" y="3812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956" name="Gráfico 13">
            <a:extLst>
              <a:ext uri="{FF2B5EF4-FFF2-40B4-BE49-F238E27FC236}">
                <a16:creationId xmlns:a16="http://schemas.microsoft.com/office/drawing/2014/main" id="{6736EA2B-2AC3-F837-744F-E15E0D17233F}"/>
              </a:ext>
            </a:extLst>
          </p:cNvPr>
          <p:cNvGrpSpPr/>
          <p:nvPr/>
        </p:nvGrpSpPr>
        <p:grpSpPr>
          <a:xfrm>
            <a:off x="6881616" y="3674636"/>
            <a:ext cx="348550" cy="271787"/>
            <a:chOff x="6881616" y="3674636"/>
            <a:chExt cx="348550" cy="271787"/>
          </a:xfrm>
          <a:noFill/>
        </p:grpSpPr>
        <p:sp>
          <p:nvSpPr>
            <p:cNvPr id="957" name="Forma livre: Forma 956">
              <a:extLst>
                <a:ext uri="{FF2B5EF4-FFF2-40B4-BE49-F238E27FC236}">
                  <a16:creationId xmlns:a16="http://schemas.microsoft.com/office/drawing/2014/main" id="{6D550C77-CAF6-482D-3086-0018EA835215}"/>
                </a:ext>
              </a:extLst>
            </p:cNvPr>
            <p:cNvSpPr/>
            <p:nvPr/>
          </p:nvSpPr>
          <p:spPr>
            <a:xfrm>
              <a:off x="6892913" y="3755407"/>
              <a:ext cx="286717" cy="153135"/>
            </a:xfrm>
            <a:custGeom>
              <a:avLst/>
              <a:gdLst>
                <a:gd name="connsiteX0" fmla="*/ 283733 w 286717"/>
                <a:gd name="connsiteY0" fmla="*/ 59045 h 153135"/>
                <a:gd name="connsiteX1" fmla="*/ 249176 w 286717"/>
                <a:gd name="connsiteY1" fmla="*/ 56894 h 153135"/>
                <a:gd name="connsiteX2" fmla="*/ 237494 w 286717"/>
                <a:gd name="connsiteY2" fmla="*/ 73073 h 153135"/>
                <a:gd name="connsiteX3" fmla="*/ 218822 w 286717"/>
                <a:gd name="connsiteY3" fmla="*/ 93260 h 153135"/>
                <a:gd name="connsiteX4" fmla="*/ 160169 w 286717"/>
                <a:gd name="connsiteY4" fmla="*/ 93260 h 153135"/>
                <a:gd name="connsiteX5" fmla="*/ 111681 w 286717"/>
                <a:gd name="connsiteY5" fmla="*/ 48683 h 153135"/>
                <a:gd name="connsiteX6" fmla="*/ 60359 w 286717"/>
                <a:gd name="connsiteY6" fmla="*/ 0 h 153135"/>
                <a:gd name="connsiteX7" fmla="*/ 4149 w 286717"/>
                <a:gd name="connsiteY7" fmla="*/ 0 h 153135"/>
                <a:gd name="connsiteX8" fmla="*/ 483 w 286717"/>
                <a:gd name="connsiteY8" fmla="*/ 16276 h 153135"/>
                <a:gd name="connsiteX9" fmla="*/ 26975 w 286717"/>
                <a:gd name="connsiteY9" fmla="*/ 40716 h 153135"/>
                <a:gd name="connsiteX10" fmla="*/ 26975 w 286717"/>
                <a:gd name="connsiteY10" fmla="*/ 128696 h 153135"/>
                <a:gd name="connsiteX11" fmla="*/ 51415 w 286717"/>
                <a:gd name="connsiteY11" fmla="*/ 153136 h 153135"/>
                <a:gd name="connsiteX12" fmla="*/ 242040 w 286717"/>
                <a:gd name="connsiteY12" fmla="*/ 153136 h 153135"/>
                <a:gd name="connsiteX13" fmla="*/ 266479 w 286717"/>
                <a:gd name="connsiteY13" fmla="*/ 128696 h 153135"/>
                <a:gd name="connsiteX14" fmla="*/ 266479 w 286717"/>
                <a:gd name="connsiteY14" fmla="*/ 82849 h 153135"/>
                <a:gd name="connsiteX15" fmla="*/ 283733 w 286717"/>
                <a:gd name="connsiteY15" fmla="*/ 58996 h 153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286717" h="153135">
                  <a:moveTo>
                    <a:pt x="283733" y="59045"/>
                  </a:moveTo>
                  <a:cubicBezTo>
                    <a:pt x="297028" y="59045"/>
                    <a:pt x="262373" y="50785"/>
                    <a:pt x="249176" y="56894"/>
                  </a:cubicBezTo>
                  <a:cubicBezTo>
                    <a:pt x="240622" y="60853"/>
                    <a:pt x="238520" y="69163"/>
                    <a:pt x="237494" y="73073"/>
                  </a:cubicBezTo>
                  <a:cubicBezTo>
                    <a:pt x="232704" y="91598"/>
                    <a:pt x="218822" y="93260"/>
                    <a:pt x="218822" y="93260"/>
                  </a:cubicBezTo>
                  <a:lnTo>
                    <a:pt x="160169" y="93260"/>
                  </a:lnTo>
                  <a:cubicBezTo>
                    <a:pt x="129620" y="93260"/>
                    <a:pt x="122777" y="73122"/>
                    <a:pt x="111681" y="48683"/>
                  </a:cubicBezTo>
                  <a:cubicBezTo>
                    <a:pt x="90322" y="1662"/>
                    <a:pt x="60359" y="0"/>
                    <a:pt x="60359" y="0"/>
                  </a:cubicBezTo>
                  <a:lnTo>
                    <a:pt x="4149" y="0"/>
                  </a:lnTo>
                  <a:cubicBezTo>
                    <a:pt x="-739" y="3275"/>
                    <a:pt x="-299" y="11340"/>
                    <a:pt x="483" y="16276"/>
                  </a:cubicBezTo>
                  <a:cubicBezTo>
                    <a:pt x="2096" y="26883"/>
                    <a:pt x="26975" y="40716"/>
                    <a:pt x="26975" y="40716"/>
                  </a:cubicBezTo>
                  <a:lnTo>
                    <a:pt x="26975" y="128696"/>
                  </a:lnTo>
                  <a:cubicBezTo>
                    <a:pt x="26975" y="142138"/>
                    <a:pt x="37973" y="153136"/>
                    <a:pt x="51415" y="153136"/>
                  </a:cubicBezTo>
                  <a:lnTo>
                    <a:pt x="242040" y="153136"/>
                  </a:lnTo>
                  <a:cubicBezTo>
                    <a:pt x="255481" y="153136"/>
                    <a:pt x="266479" y="142138"/>
                    <a:pt x="266479" y="128696"/>
                  </a:cubicBezTo>
                  <a:lnTo>
                    <a:pt x="266479" y="82849"/>
                  </a:lnTo>
                  <a:cubicBezTo>
                    <a:pt x="266479" y="82849"/>
                    <a:pt x="266088" y="58996"/>
                    <a:pt x="283733" y="58996"/>
                  </a:cubicBez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58" name="Forma livre: Forma 957">
              <a:extLst>
                <a:ext uri="{FF2B5EF4-FFF2-40B4-BE49-F238E27FC236}">
                  <a16:creationId xmlns:a16="http://schemas.microsoft.com/office/drawing/2014/main" id="{3DBE1F39-5D76-A2D4-6757-113EA4D9CF89}"/>
                </a:ext>
              </a:extLst>
            </p:cNvPr>
            <p:cNvSpPr/>
            <p:nvPr/>
          </p:nvSpPr>
          <p:spPr>
            <a:xfrm>
              <a:off x="6948433" y="3910156"/>
              <a:ext cx="12219" cy="35045"/>
            </a:xfrm>
            <a:custGeom>
              <a:avLst/>
              <a:gdLst>
                <a:gd name="connsiteX0" fmla="*/ 12220 w 12219"/>
                <a:gd name="connsiteY0" fmla="*/ 0 h 35045"/>
                <a:gd name="connsiteX1" fmla="*/ 0 w 12219"/>
                <a:gd name="connsiteY1" fmla="*/ 35046 h 350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219" h="35045">
                  <a:moveTo>
                    <a:pt x="12220" y="0"/>
                  </a:moveTo>
                  <a:lnTo>
                    <a:pt x="0" y="35046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59" name="Forma livre: Forma 958">
              <a:extLst>
                <a:ext uri="{FF2B5EF4-FFF2-40B4-BE49-F238E27FC236}">
                  <a16:creationId xmlns:a16="http://schemas.microsoft.com/office/drawing/2014/main" id="{668F710C-1DCF-C2E8-2C71-50A4445F5033}"/>
                </a:ext>
              </a:extLst>
            </p:cNvPr>
            <p:cNvSpPr/>
            <p:nvPr/>
          </p:nvSpPr>
          <p:spPr>
            <a:xfrm>
              <a:off x="7123173" y="3910156"/>
              <a:ext cx="12219" cy="35045"/>
            </a:xfrm>
            <a:custGeom>
              <a:avLst/>
              <a:gdLst>
                <a:gd name="connsiteX0" fmla="*/ 0 w 12219"/>
                <a:gd name="connsiteY0" fmla="*/ 0 h 35045"/>
                <a:gd name="connsiteX1" fmla="*/ 12220 w 12219"/>
                <a:gd name="connsiteY1" fmla="*/ 35046 h 350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219" h="35045">
                  <a:moveTo>
                    <a:pt x="0" y="0"/>
                  </a:moveTo>
                  <a:lnTo>
                    <a:pt x="12220" y="35046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60" name="Forma livre: Forma 959">
              <a:extLst>
                <a:ext uri="{FF2B5EF4-FFF2-40B4-BE49-F238E27FC236}">
                  <a16:creationId xmlns:a16="http://schemas.microsoft.com/office/drawing/2014/main" id="{1E0F5BFC-DC9A-4E44-ACFE-59B7A690DA1F}"/>
                </a:ext>
              </a:extLst>
            </p:cNvPr>
            <p:cNvSpPr/>
            <p:nvPr/>
          </p:nvSpPr>
          <p:spPr>
            <a:xfrm>
              <a:off x="6881616" y="3887770"/>
              <a:ext cx="348550" cy="58653"/>
            </a:xfrm>
            <a:custGeom>
              <a:avLst/>
              <a:gdLst>
                <a:gd name="connsiteX0" fmla="*/ 0 w 348550"/>
                <a:gd name="connsiteY0" fmla="*/ 58654 h 58653"/>
                <a:gd name="connsiteX1" fmla="*/ 319224 w 348550"/>
                <a:gd name="connsiteY1" fmla="*/ 58654 h 58653"/>
                <a:gd name="connsiteX2" fmla="*/ 348551 w 348550"/>
                <a:gd name="connsiteY2" fmla="*/ 29327 h 58653"/>
                <a:gd name="connsiteX3" fmla="*/ 348551 w 348550"/>
                <a:gd name="connsiteY3" fmla="*/ 29327 h 58653"/>
                <a:gd name="connsiteX4" fmla="*/ 319224 w 348550"/>
                <a:gd name="connsiteY4" fmla="*/ 0 h 58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8550" h="58653">
                  <a:moveTo>
                    <a:pt x="0" y="58654"/>
                  </a:moveTo>
                  <a:lnTo>
                    <a:pt x="319224" y="58654"/>
                  </a:lnTo>
                  <a:cubicBezTo>
                    <a:pt x="335354" y="58654"/>
                    <a:pt x="348551" y="45457"/>
                    <a:pt x="348551" y="29327"/>
                  </a:cubicBezTo>
                  <a:lnTo>
                    <a:pt x="348551" y="29327"/>
                  </a:lnTo>
                  <a:cubicBezTo>
                    <a:pt x="348551" y="13197"/>
                    <a:pt x="335354" y="0"/>
                    <a:pt x="319224" y="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61" name="Forma livre: Forma 960">
              <a:extLst>
                <a:ext uri="{FF2B5EF4-FFF2-40B4-BE49-F238E27FC236}">
                  <a16:creationId xmlns:a16="http://schemas.microsoft.com/office/drawing/2014/main" id="{ADD9544F-C19E-805A-3DDF-3F9F561BB7CC}"/>
                </a:ext>
              </a:extLst>
            </p:cNvPr>
            <p:cNvSpPr/>
            <p:nvPr/>
          </p:nvSpPr>
          <p:spPr>
            <a:xfrm>
              <a:off x="7002150" y="3696509"/>
              <a:ext cx="121511" cy="70042"/>
            </a:xfrm>
            <a:custGeom>
              <a:avLst/>
              <a:gdLst>
                <a:gd name="connsiteX0" fmla="*/ 64422 w 121511"/>
                <a:gd name="connsiteY0" fmla="*/ 50442 h 70042"/>
                <a:gd name="connsiteX1" fmla="*/ 111687 w 121511"/>
                <a:gd name="connsiteY1" fmla="*/ 70043 h 70042"/>
                <a:gd name="connsiteX2" fmla="*/ 121511 w 121511"/>
                <a:gd name="connsiteY2" fmla="*/ 46239 h 70042"/>
                <a:gd name="connsiteX3" fmla="*/ 9873 w 121511"/>
                <a:gd name="connsiteY3" fmla="*/ 0 h 70042"/>
                <a:gd name="connsiteX4" fmla="*/ 0 w 121511"/>
                <a:gd name="connsiteY4" fmla="*/ 23804 h 70042"/>
                <a:gd name="connsiteX5" fmla="*/ 47265 w 121511"/>
                <a:gd name="connsiteY5" fmla="*/ 43355 h 700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21511" h="70042">
                  <a:moveTo>
                    <a:pt x="64422" y="50442"/>
                  </a:moveTo>
                  <a:lnTo>
                    <a:pt x="111687" y="70043"/>
                  </a:lnTo>
                  <a:lnTo>
                    <a:pt x="121511" y="46239"/>
                  </a:lnTo>
                  <a:lnTo>
                    <a:pt x="9873" y="0"/>
                  </a:lnTo>
                  <a:lnTo>
                    <a:pt x="0" y="23804"/>
                  </a:lnTo>
                  <a:lnTo>
                    <a:pt x="47265" y="43355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62" name="Forma livre: Forma 961">
              <a:extLst>
                <a:ext uri="{FF2B5EF4-FFF2-40B4-BE49-F238E27FC236}">
                  <a16:creationId xmlns:a16="http://schemas.microsoft.com/office/drawing/2014/main" id="{063F5BCB-E51E-97F0-1427-780C6A5F8477}"/>
                </a:ext>
              </a:extLst>
            </p:cNvPr>
            <p:cNvSpPr/>
            <p:nvPr/>
          </p:nvSpPr>
          <p:spPr>
            <a:xfrm>
              <a:off x="7023999" y="3715572"/>
              <a:ext cx="32357" cy="78351"/>
            </a:xfrm>
            <a:custGeom>
              <a:avLst/>
              <a:gdLst>
                <a:gd name="connsiteX0" fmla="*/ 32357 w 32357"/>
                <a:gd name="connsiteY0" fmla="*/ 0 h 78351"/>
                <a:gd name="connsiteX1" fmla="*/ 0 w 32357"/>
                <a:gd name="connsiteY1" fmla="*/ 78352 h 783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2357" h="78351">
                  <a:moveTo>
                    <a:pt x="32357" y="0"/>
                  </a:moveTo>
                  <a:lnTo>
                    <a:pt x="0" y="78352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63" name="Forma livre: Forma 962">
              <a:extLst>
                <a:ext uri="{FF2B5EF4-FFF2-40B4-BE49-F238E27FC236}">
                  <a16:creationId xmlns:a16="http://schemas.microsoft.com/office/drawing/2014/main" id="{977E2983-F7B8-7A14-FB4F-DF9A4AD0862C}"/>
                </a:ext>
              </a:extLst>
            </p:cNvPr>
            <p:cNvSpPr/>
            <p:nvPr/>
          </p:nvSpPr>
          <p:spPr>
            <a:xfrm>
              <a:off x="7080111" y="3765721"/>
              <a:ext cx="25416" cy="61537"/>
            </a:xfrm>
            <a:custGeom>
              <a:avLst/>
              <a:gdLst>
                <a:gd name="connsiteX0" fmla="*/ 25417 w 25416"/>
                <a:gd name="connsiteY0" fmla="*/ 0 h 61537"/>
                <a:gd name="connsiteX1" fmla="*/ 0 w 25416"/>
                <a:gd name="connsiteY1" fmla="*/ 61538 h 615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5416" h="61537">
                  <a:moveTo>
                    <a:pt x="25417" y="0"/>
                  </a:moveTo>
                  <a:lnTo>
                    <a:pt x="0" y="61538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64" name="Forma livre: Forma 963">
              <a:extLst>
                <a:ext uri="{FF2B5EF4-FFF2-40B4-BE49-F238E27FC236}">
                  <a16:creationId xmlns:a16="http://schemas.microsoft.com/office/drawing/2014/main" id="{F43C6F3A-663E-201D-100C-17D6FD24E19F}"/>
                </a:ext>
              </a:extLst>
            </p:cNvPr>
            <p:cNvSpPr/>
            <p:nvPr/>
          </p:nvSpPr>
          <p:spPr>
            <a:xfrm>
              <a:off x="6996774" y="3725347"/>
              <a:ext cx="12024" cy="29131"/>
            </a:xfrm>
            <a:custGeom>
              <a:avLst/>
              <a:gdLst>
                <a:gd name="connsiteX0" fmla="*/ 12024 w 12024"/>
                <a:gd name="connsiteY0" fmla="*/ 0 h 29131"/>
                <a:gd name="connsiteX1" fmla="*/ 0 w 12024"/>
                <a:gd name="connsiteY1" fmla="*/ 29131 h 291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24" h="29131">
                  <a:moveTo>
                    <a:pt x="12024" y="0"/>
                  </a:moveTo>
                  <a:lnTo>
                    <a:pt x="0" y="29131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65" name="Forma livre: Forma 964">
              <a:extLst>
                <a:ext uri="{FF2B5EF4-FFF2-40B4-BE49-F238E27FC236}">
                  <a16:creationId xmlns:a16="http://schemas.microsoft.com/office/drawing/2014/main" id="{8E71F439-0D6E-7253-A6D5-906FC6FB10DE}"/>
                </a:ext>
              </a:extLst>
            </p:cNvPr>
            <p:cNvSpPr/>
            <p:nvPr/>
          </p:nvSpPr>
          <p:spPr>
            <a:xfrm>
              <a:off x="7039591" y="3724907"/>
              <a:ext cx="39249" cy="94921"/>
            </a:xfrm>
            <a:custGeom>
              <a:avLst/>
              <a:gdLst>
                <a:gd name="connsiteX0" fmla="*/ 39249 w 39249"/>
                <a:gd name="connsiteY0" fmla="*/ 0 h 94921"/>
                <a:gd name="connsiteX1" fmla="*/ 0 w 39249"/>
                <a:gd name="connsiteY1" fmla="*/ 94922 h 949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9249" h="94921">
                  <a:moveTo>
                    <a:pt x="39249" y="0"/>
                  </a:moveTo>
                  <a:lnTo>
                    <a:pt x="0" y="94922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966" name="Gráfico 13">
              <a:extLst>
                <a:ext uri="{FF2B5EF4-FFF2-40B4-BE49-F238E27FC236}">
                  <a16:creationId xmlns:a16="http://schemas.microsoft.com/office/drawing/2014/main" id="{3782CF27-A9FF-D903-C9A7-C5AA5E27826B}"/>
                </a:ext>
              </a:extLst>
            </p:cNvPr>
            <p:cNvGrpSpPr/>
            <p:nvPr/>
          </p:nvGrpSpPr>
          <p:grpSpPr>
            <a:xfrm>
              <a:off x="7032821" y="3674636"/>
              <a:ext cx="84027" cy="56257"/>
              <a:chOff x="7032821" y="3674636"/>
              <a:chExt cx="84027" cy="56257"/>
            </a:xfrm>
            <a:noFill/>
          </p:grpSpPr>
          <p:sp>
            <p:nvSpPr>
              <p:cNvPr id="967" name="Forma livre: Forma 966">
                <a:extLst>
                  <a:ext uri="{FF2B5EF4-FFF2-40B4-BE49-F238E27FC236}">
                    <a16:creationId xmlns:a16="http://schemas.microsoft.com/office/drawing/2014/main" id="{DA989F1E-A7AF-3FBA-08A9-FC04D336F748}"/>
                  </a:ext>
                </a:extLst>
              </p:cNvPr>
              <p:cNvSpPr/>
              <p:nvPr/>
            </p:nvSpPr>
            <p:spPr>
              <a:xfrm>
                <a:off x="7068038" y="3694409"/>
                <a:ext cx="48811" cy="36484"/>
              </a:xfrm>
              <a:custGeom>
                <a:avLst/>
                <a:gdLst>
                  <a:gd name="connsiteX0" fmla="*/ 0 w 48811"/>
                  <a:gd name="connsiteY0" fmla="*/ 24877 h 36484"/>
                  <a:gd name="connsiteX1" fmla="*/ 37538 w 48811"/>
                  <a:gd name="connsiteY1" fmla="*/ 1318 h 36484"/>
                  <a:gd name="connsiteX2" fmla="*/ 47412 w 48811"/>
                  <a:gd name="connsiteY2" fmla="*/ 25171 h 36484"/>
                  <a:gd name="connsiteX3" fmla="*/ 23559 w 48811"/>
                  <a:gd name="connsiteY3" fmla="*/ 35093 h 364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8811" h="36484">
                    <a:moveTo>
                      <a:pt x="0" y="24877"/>
                    </a:moveTo>
                    <a:cubicBezTo>
                      <a:pt x="11682" y="5326"/>
                      <a:pt x="25759" y="-3570"/>
                      <a:pt x="37538" y="1318"/>
                    </a:cubicBezTo>
                    <a:cubicBezTo>
                      <a:pt x="46874" y="5179"/>
                      <a:pt x="51273" y="15884"/>
                      <a:pt x="47412" y="25171"/>
                    </a:cubicBezTo>
                    <a:cubicBezTo>
                      <a:pt x="43550" y="34506"/>
                      <a:pt x="32846" y="38954"/>
                      <a:pt x="23559" y="35093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68" name="Forma livre: Forma 967">
                <a:extLst>
                  <a:ext uri="{FF2B5EF4-FFF2-40B4-BE49-F238E27FC236}">
                    <a16:creationId xmlns:a16="http://schemas.microsoft.com/office/drawing/2014/main" id="{013842AD-B912-E203-E593-850AA337B4EE}"/>
                  </a:ext>
                </a:extLst>
              </p:cNvPr>
              <p:cNvSpPr/>
              <p:nvPr/>
            </p:nvSpPr>
            <p:spPr>
              <a:xfrm>
                <a:off x="7032821" y="3674636"/>
                <a:ext cx="37649" cy="44601"/>
              </a:xfrm>
              <a:custGeom>
                <a:avLst/>
                <a:gdLst>
                  <a:gd name="connsiteX0" fmla="*/ 35119 w 37649"/>
                  <a:gd name="connsiteY0" fmla="*/ 44601 h 44601"/>
                  <a:gd name="connsiteX1" fmla="*/ 25245 w 37649"/>
                  <a:gd name="connsiteY1" fmla="*/ 1393 h 44601"/>
                  <a:gd name="connsiteX2" fmla="*/ 1393 w 37649"/>
                  <a:gd name="connsiteY2" fmla="*/ 11266 h 44601"/>
                  <a:gd name="connsiteX3" fmla="*/ 11266 w 37649"/>
                  <a:gd name="connsiteY3" fmla="*/ 35168 h 446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7649" h="44601">
                    <a:moveTo>
                      <a:pt x="35119" y="44601"/>
                    </a:moveTo>
                    <a:cubicBezTo>
                      <a:pt x="40642" y="22508"/>
                      <a:pt x="37025" y="6281"/>
                      <a:pt x="25245" y="1393"/>
                    </a:cubicBezTo>
                    <a:cubicBezTo>
                      <a:pt x="15910" y="-2469"/>
                      <a:pt x="5254" y="1979"/>
                      <a:pt x="1393" y="11266"/>
                    </a:cubicBezTo>
                    <a:cubicBezTo>
                      <a:pt x="-2469" y="20553"/>
                      <a:pt x="1979" y="31306"/>
                      <a:pt x="11266" y="35168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969" name="Forma livre: Forma 968">
              <a:extLst>
                <a:ext uri="{FF2B5EF4-FFF2-40B4-BE49-F238E27FC236}">
                  <a16:creationId xmlns:a16="http://schemas.microsoft.com/office/drawing/2014/main" id="{C51273D6-6669-8791-3216-B7A643D52230}"/>
                </a:ext>
              </a:extLst>
            </p:cNvPr>
            <p:cNvSpPr/>
            <p:nvPr/>
          </p:nvSpPr>
          <p:spPr>
            <a:xfrm>
              <a:off x="6922381" y="3797834"/>
              <a:ext cx="18964" cy="4887"/>
            </a:xfrm>
            <a:custGeom>
              <a:avLst/>
              <a:gdLst>
                <a:gd name="connsiteX0" fmla="*/ 0 w 18964"/>
                <a:gd name="connsiteY0" fmla="*/ 0 h 4887"/>
                <a:gd name="connsiteX1" fmla="*/ 18965 w 18964"/>
                <a:gd name="connsiteY1" fmla="*/ 0 h 48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964" h="4887">
                  <a:moveTo>
                    <a:pt x="0" y="0"/>
                  </a:moveTo>
                  <a:lnTo>
                    <a:pt x="18965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970" name="Gráfico 13">
            <a:extLst>
              <a:ext uri="{FF2B5EF4-FFF2-40B4-BE49-F238E27FC236}">
                <a16:creationId xmlns:a16="http://schemas.microsoft.com/office/drawing/2014/main" id="{9E78E590-3AFD-097A-E943-EB6C0872BD92}"/>
              </a:ext>
            </a:extLst>
          </p:cNvPr>
          <p:cNvGrpSpPr/>
          <p:nvPr/>
        </p:nvGrpSpPr>
        <p:grpSpPr>
          <a:xfrm>
            <a:off x="7528324" y="3671083"/>
            <a:ext cx="326995" cy="278909"/>
            <a:chOff x="7528324" y="3671083"/>
            <a:chExt cx="326995" cy="278909"/>
          </a:xfrm>
          <a:noFill/>
        </p:grpSpPr>
        <p:sp>
          <p:nvSpPr>
            <p:cNvPr id="971" name="Forma livre: Forma 970">
              <a:extLst>
                <a:ext uri="{FF2B5EF4-FFF2-40B4-BE49-F238E27FC236}">
                  <a16:creationId xmlns:a16="http://schemas.microsoft.com/office/drawing/2014/main" id="{10ACA665-A23C-829E-ADF5-65332569453A}"/>
                </a:ext>
              </a:extLst>
            </p:cNvPr>
            <p:cNvSpPr/>
            <p:nvPr/>
          </p:nvSpPr>
          <p:spPr>
            <a:xfrm>
              <a:off x="7687081" y="3778869"/>
              <a:ext cx="119360" cy="171073"/>
            </a:xfrm>
            <a:custGeom>
              <a:avLst/>
              <a:gdLst>
                <a:gd name="connsiteX0" fmla="*/ 64666 w 119360"/>
                <a:gd name="connsiteY0" fmla="*/ 11731 h 171073"/>
                <a:gd name="connsiteX1" fmla="*/ 119361 w 119360"/>
                <a:gd name="connsiteY1" fmla="*/ 150741 h 171073"/>
                <a:gd name="connsiteX2" fmla="*/ 74099 w 119360"/>
                <a:gd name="connsiteY2" fmla="*/ 127279 h 171073"/>
                <a:gd name="connsiteX3" fmla="*/ 50100 w 119360"/>
                <a:gd name="connsiteY3" fmla="*/ 171074 h 171073"/>
                <a:gd name="connsiteX4" fmla="*/ 0 w 119360"/>
                <a:gd name="connsiteY4" fmla="*/ 0 h 1710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9360" h="171073">
                  <a:moveTo>
                    <a:pt x="64666" y="11731"/>
                  </a:moveTo>
                  <a:lnTo>
                    <a:pt x="119361" y="150741"/>
                  </a:lnTo>
                  <a:lnTo>
                    <a:pt x="74099" y="127279"/>
                  </a:lnTo>
                  <a:lnTo>
                    <a:pt x="50100" y="171074"/>
                  </a:lnTo>
                  <a:lnTo>
                    <a:pt x="0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972" name="Gráfico 13">
              <a:extLst>
                <a:ext uri="{FF2B5EF4-FFF2-40B4-BE49-F238E27FC236}">
                  <a16:creationId xmlns:a16="http://schemas.microsoft.com/office/drawing/2014/main" id="{30D4809A-768F-B553-ADD0-049C3CA44266}"/>
                </a:ext>
              </a:extLst>
            </p:cNvPr>
            <p:cNvGrpSpPr/>
            <p:nvPr/>
          </p:nvGrpSpPr>
          <p:grpSpPr>
            <a:xfrm>
              <a:off x="7528324" y="3671083"/>
              <a:ext cx="326995" cy="143864"/>
              <a:chOff x="7528324" y="3671083"/>
              <a:chExt cx="326995" cy="143864"/>
            </a:xfrm>
            <a:noFill/>
          </p:grpSpPr>
          <p:sp>
            <p:nvSpPr>
              <p:cNvPr id="973" name="Forma livre: Forma 972">
                <a:extLst>
                  <a:ext uri="{FF2B5EF4-FFF2-40B4-BE49-F238E27FC236}">
                    <a16:creationId xmlns:a16="http://schemas.microsoft.com/office/drawing/2014/main" id="{D58F4590-5929-C6C1-7164-0CBAEA75DE9D}"/>
                  </a:ext>
                </a:extLst>
              </p:cNvPr>
              <p:cNvSpPr/>
              <p:nvPr/>
            </p:nvSpPr>
            <p:spPr>
              <a:xfrm>
                <a:off x="7720465" y="3671086"/>
                <a:ext cx="134855" cy="143860"/>
              </a:xfrm>
              <a:custGeom>
                <a:avLst/>
                <a:gdLst>
                  <a:gd name="connsiteX0" fmla="*/ 0 w 134855"/>
                  <a:gd name="connsiteY0" fmla="*/ 95367 h 143860"/>
                  <a:gd name="connsiteX1" fmla="*/ 108265 w 134855"/>
                  <a:gd name="connsiteY1" fmla="*/ 142242 h 143860"/>
                  <a:gd name="connsiteX2" fmla="*/ 134855 w 134855"/>
                  <a:gd name="connsiteY2" fmla="*/ 74496 h 143860"/>
                  <a:gd name="connsiteX3" fmla="*/ 134855 w 134855"/>
                  <a:gd name="connsiteY3" fmla="*/ 69364 h 143860"/>
                  <a:gd name="connsiteX4" fmla="*/ 108265 w 134855"/>
                  <a:gd name="connsiteY4" fmla="*/ 1619 h 143860"/>
                  <a:gd name="connsiteX5" fmla="*/ 0 w 134855"/>
                  <a:gd name="connsiteY5" fmla="*/ 48493 h 1438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34855" h="143860">
                    <a:moveTo>
                      <a:pt x="0" y="95367"/>
                    </a:moveTo>
                    <a:cubicBezTo>
                      <a:pt x="0" y="95367"/>
                      <a:pt x="63346" y="154266"/>
                      <a:pt x="108265" y="142242"/>
                    </a:cubicBezTo>
                    <a:cubicBezTo>
                      <a:pt x="108265" y="142242"/>
                      <a:pt x="134855" y="137794"/>
                      <a:pt x="134855" y="74496"/>
                    </a:cubicBezTo>
                    <a:lnTo>
                      <a:pt x="134855" y="69364"/>
                    </a:lnTo>
                    <a:cubicBezTo>
                      <a:pt x="134855" y="6067"/>
                      <a:pt x="108265" y="1619"/>
                      <a:pt x="108265" y="1619"/>
                    </a:cubicBezTo>
                    <a:cubicBezTo>
                      <a:pt x="63297" y="-10405"/>
                      <a:pt x="0" y="48493"/>
                      <a:pt x="0" y="48493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74" name="Forma livre: Forma 973">
                <a:extLst>
                  <a:ext uri="{FF2B5EF4-FFF2-40B4-BE49-F238E27FC236}">
                    <a16:creationId xmlns:a16="http://schemas.microsoft.com/office/drawing/2014/main" id="{DF49A456-4205-9B41-0E0A-36691391500B}"/>
                  </a:ext>
                </a:extLst>
              </p:cNvPr>
              <p:cNvSpPr/>
              <p:nvPr/>
            </p:nvSpPr>
            <p:spPr>
              <a:xfrm>
                <a:off x="7528324" y="3671083"/>
                <a:ext cx="134855" cy="143864"/>
              </a:xfrm>
              <a:custGeom>
                <a:avLst/>
                <a:gdLst>
                  <a:gd name="connsiteX0" fmla="*/ 134855 w 134855"/>
                  <a:gd name="connsiteY0" fmla="*/ 95371 h 143864"/>
                  <a:gd name="connsiteX1" fmla="*/ 26590 w 134855"/>
                  <a:gd name="connsiteY1" fmla="*/ 142245 h 143864"/>
                  <a:gd name="connsiteX2" fmla="*/ 0 w 134855"/>
                  <a:gd name="connsiteY2" fmla="*/ 74500 h 143864"/>
                  <a:gd name="connsiteX3" fmla="*/ 0 w 134855"/>
                  <a:gd name="connsiteY3" fmla="*/ 69368 h 143864"/>
                  <a:gd name="connsiteX4" fmla="*/ 26590 w 134855"/>
                  <a:gd name="connsiteY4" fmla="*/ 1623 h 143864"/>
                  <a:gd name="connsiteX5" fmla="*/ 121316 w 134855"/>
                  <a:gd name="connsiteY5" fmla="*/ 37108 h 1438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34855" h="143864">
                    <a:moveTo>
                      <a:pt x="134855" y="95371"/>
                    </a:moveTo>
                    <a:cubicBezTo>
                      <a:pt x="134855" y="95371"/>
                      <a:pt x="71558" y="154270"/>
                      <a:pt x="26590" y="142245"/>
                    </a:cubicBezTo>
                    <a:cubicBezTo>
                      <a:pt x="26590" y="142245"/>
                      <a:pt x="0" y="137798"/>
                      <a:pt x="0" y="74500"/>
                    </a:cubicBezTo>
                    <a:lnTo>
                      <a:pt x="0" y="69368"/>
                    </a:lnTo>
                    <a:cubicBezTo>
                      <a:pt x="0" y="6071"/>
                      <a:pt x="26590" y="1623"/>
                      <a:pt x="26590" y="1623"/>
                    </a:cubicBezTo>
                    <a:cubicBezTo>
                      <a:pt x="58703" y="-6980"/>
                      <a:pt x="100249" y="20636"/>
                      <a:pt x="121316" y="37108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975" name="Gráfico 13">
              <a:extLst>
                <a:ext uri="{FF2B5EF4-FFF2-40B4-BE49-F238E27FC236}">
                  <a16:creationId xmlns:a16="http://schemas.microsoft.com/office/drawing/2014/main" id="{18E7A23D-F2AA-90BC-AED2-FF1E64E4B6CE}"/>
                </a:ext>
              </a:extLst>
            </p:cNvPr>
            <p:cNvGrpSpPr/>
            <p:nvPr/>
          </p:nvGrpSpPr>
          <p:grpSpPr>
            <a:xfrm>
              <a:off x="7609364" y="3723343"/>
              <a:ext cx="164915" cy="38320"/>
              <a:chOff x="7609364" y="3723343"/>
              <a:chExt cx="164915" cy="38320"/>
            </a:xfrm>
          </p:grpSpPr>
          <p:grpSp>
            <p:nvGrpSpPr>
              <p:cNvPr id="976" name="Gráfico 13">
                <a:extLst>
                  <a:ext uri="{FF2B5EF4-FFF2-40B4-BE49-F238E27FC236}">
                    <a16:creationId xmlns:a16="http://schemas.microsoft.com/office/drawing/2014/main" id="{0E5D845E-62E5-BFB8-C9C1-9525F89F9594}"/>
                  </a:ext>
                </a:extLst>
              </p:cNvPr>
              <p:cNvGrpSpPr/>
              <p:nvPr/>
            </p:nvGrpSpPr>
            <p:grpSpPr>
              <a:xfrm>
                <a:off x="7722958" y="3723343"/>
                <a:ext cx="51322" cy="38320"/>
                <a:chOff x="7722958" y="3723343"/>
                <a:chExt cx="51322" cy="38320"/>
              </a:xfrm>
            </p:grpSpPr>
            <p:sp>
              <p:nvSpPr>
                <p:cNvPr id="977" name="Forma livre: Forma 976">
                  <a:extLst>
                    <a:ext uri="{FF2B5EF4-FFF2-40B4-BE49-F238E27FC236}">
                      <a16:creationId xmlns:a16="http://schemas.microsoft.com/office/drawing/2014/main" id="{726FB696-DFDA-5B86-8373-97DFC13E9592}"/>
                    </a:ext>
                  </a:extLst>
                </p:cNvPr>
                <p:cNvSpPr/>
                <p:nvPr/>
              </p:nvSpPr>
              <p:spPr>
                <a:xfrm>
                  <a:off x="7722958" y="3723343"/>
                  <a:ext cx="50686" cy="13294"/>
                </a:xfrm>
                <a:custGeom>
                  <a:avLst/>
                  <a:gdLst>
                    <a:gd name="connsiteX0" fmla="*/ 0 w 50686"/>
                    <a:gd name="connsiteY0" fmla="*/ 13295 h 13294"/>
                    <a:gd name="connsiteX1" fmla="*/ 50687 w 50686"/>
                    <a:gd name="connsiteY1" fmla="*/ 0 h 1329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50686" h="13294">
                      <a:moveTo>
                        <a:pt x="0" y="13295"/>
                      </a:moveTo>
                      <a:lnTo>
                        <a:pt x="50687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978" name="Forma livre: Forma 977">
                  <a:extLst>
                    <a:ext uri="{FF2B5EF4-FFF2-40B4-BE49-F238E27FC236}">
                      <a16:creationId xmlns:a16="http://schemas.microsoft.com/office/drawing/2014/main" id="{48F81A63-EE9B-1B53-DAA0-246EE213557D}"/>
                    </a:ext>
                  </a:extLst>
                </p:cNvPr>
                <p:cNvSpPr/>
                <p:nvPr/>
              </p:nvSpPr>
              <p:spPr>
                <a:xfrm>
                  <a:off x="7723642" y="3748369"/>
                  <a:ext cx="50637" cy="13294"/>
                </a:xfrm>
                <a:custGeom>
                  <a:avLst/>
                  <a:gdLst>
                    <a:gd name="connsiteX0" fmla="*/ 0 w 50637"/>
                    <a:gd name="connsiteY0" fmla="*/ 0 h 13294"/>
                    <a:gd name="connsiteX1" fmla="*/ 50638 w 50637"/>
                    <a:gd name="connsiteY1" fmla="*/ 13295 h 1329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50637" h="13294">
                      <a:moveTo>
                        <a:pt x="0" y="0"/>
                      </a:moveTo>
                      <a:lnTo>
                        <a:pt x="50638" y="13295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979" name="Gráfico 13">
                <a:extLst>
                  <a:ext uri="{FF2B5EF4-FFF2-40B4-BE49-F238E27FC236}">
                    <a16:creationId xmlns:a16="http://schemas.microsoft.com/office/drawing/2014/main" id="{5005A8FB-9E3C-48FB-CD1B-A2B831DEC3F3}"/>
                  </a:ext>
                </a:extLst>
              </p:cNvPr>
              <p:cNvGrpSpPr/>
              <p:nvPr/>
            </p:nvGrpSpPr>
            <p:grpSpPr>
              <a:xfrm>
                <a:off x="7609364" y="3723343"/>
                <a:ext cx="51273" cy="38320"/>
                <a:chOff x="7609364" y="3723343"/>
                <a:chExt cx="51273" cy="38320"/>
              </a:xfrm>
            </p:grpSpPr>
            <p:sp>
              <p:nvSpPr>
                <p:cNvPr id="980" name="Forma livre: Forma 979">
                  <a:extLst>
                    <a:ext uri="{FF2B5EF4-FFF2-40B4-BE49-F238E27FC236}">
                      <a16:creationId xmlns:a16="http://schemas.microsoft.com/office/drawing/2014/main" id="{2E9DA273-A5DD-91C0-15D7-9AC9DC7FC562}"/>
                    </a:ext>
                  </a:extLst>
                </p:cNvPr>
                <p:cNvSpPr/>
                <p:nvPr/>
              </p:nvSpPr>
              <p:spPr>
                <a:xfrm>
                  <a:off x="7610000" y="3723343"/>
                  <a:ext cx="50637" cy="13294"/>
                </a:xfrm>
                <a:custGeom>
                  <a:avLst/>
                  <a:gdLst>
                    <a:gd name="connsiteX0" fmla="*/ 50638 w 50637"/>
                    <a:gd name="connsiteY0" fmla="*/ 13295 h 13294"/>
                    <a:gd name="connsiteX1" fmla="*/ 0 w 50637"/>
                    <a:gd name="connsiteY1" fmla="*/ 0 h 1329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50637" h="13294">
                      <a:moveTo>
                        <a:pt x="50638" y="13295"/>
                      </a:moveTo>
                      <a:lnTo>
                        <a:pt x="0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981" name="Forma livre: Forma 980">
                  <a:extLst>
                    <a:ext uri="{FF2B5EF4-FFF2-40B4-BE49-F238E27FC236}">
                      <a16:creationId xmlns:a16="http://schemas.microsoft.com/office/drawing/2014/main" id="{731D438B-6FB9-8706-F205-CF0CD64181FA}"/>
                    </a:ext>
                  </a:extLst>
                </p:cNvPr>
                <p:cNvSpPr/>
                <p:nvPr/>
              </p:nvSpPr>
              <p:spPr>
                <a:xfrm>
                  <a:off x="7609364" y="3748369"/>
                  <a:ext cx="50637" cy="13294"/>
                </a:xfrm>
                <a:custGeom>
                  <a:avLst/>
                  <a:gdLst>
                    <a:gd name="connsiteX0" fmla="*/ 50638 w 50637"/>
                    <a:gd name="connsiteY0" fmla="*/ 0 h 13294"/>
                    <a:gd name="connsiteX1" fmla="*/ 0 w 50637"/>
                    <a:gd name="connsiteY1" fmla="*/ 13295 h 1329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50637" h="13294">
                      <a:moveTo>
                        <a:pt x="50638" y="0"/>
                      </a:moveTo>
                      <a:lnTo>
                        <a:pt x="0" y="13295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sp>
          <p:nvSpPr>
            <p:cNvPr id="982" name="Forma livre: Forma 981">
              <a:extLst>
                <a:ext uri="{FF2B5EF4-FFF2-40B4-BE49-F238E27FC236}">
                  <a16:creationId xmlns:a16="http://schemas.microsoft.com/office/drawing/2014/main" id="{54C5D17A-96B2-0EF0-4EBA-9E957C835949}"/>
                </a:ext>
              </a:extLst>
            </p:cNvPr>
            <p:cNvSpPr/>
            <p:nvPr/>
          </p:nvSpPr>
          <p:spPr>
            <a:xfrm>
              <a:off x="7581259" y="3822566"/>
              <a:ext cx="100689" cy="127425"/>
            </a:xfrm>
            <a:custGeom>
              <a:avLst/>
              <a:gdLst>
                <a:gd name="connsiteX0" fmla="*/ 39005 w 100689"/>
                <a:gd name="connsiteY0" fmla="*/ 0 h 127425"/>
                <a:gd name="connsiteX1" fmla="*/ 0 w 100689"/>
                <a:gd name="connsiteY1" fmla="*/ 106848 h 127425"/>
                <a:gd name="connsiteX2" fmla="*/ 45359 w 100689"/>
                <a:gd name="connsiteY2" fmla="*/ 83582 h 127425"/>
                <a:gd name="connsiteX3" fmla="*/ 69163 w 100689"/>
                <a:gd name="connsiteY3" fmla="*/ 127426 h 127425"/>
                <a:gd name="connsiteX4" fmla="*/ 100689 w 100689"/>
                <a:gd name="connsiteY4" fmla="*/ 19160 h 1274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0689" h="127425">
                  <a:moveTo>
                    <a:pt x="39005" y="0"/>
                  </a:moveTo>
                  <a:lnTo>
                    <a:pt x="0" y="106848"/>
                  </a:lnTo>
                  <a:lnTo>
                    <a:pt x="45359" y="83582"/>
                  </a:lnTo>
                  <a:lnTo>
                    <a:pt x="69163" y="127426"/>
                  </a:lnTo>
                  <a:lnTo>
                    <a:pt x="100689" y="19160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83" name="Forma livre: Forma 982">
              <a:extLst>
                <a:ext uri="{FF2B5EF4-FFF2-40B4-BE49-F238E27FC236}">
                  <a16:creationId xmlns:a16="http://schemas.microsoft.com/office/drawing/2014/main" id="{BB9F90E7-F432-6A0A-9FE9-FF871653F9B9}"/>
                </a:ext>
              </a:extLst>
            </p:cNvPr>
            <p:cNvSpPr/>
            <p:nvPr/>
          </p:nvSpPr>
          <p:spPr>
            <a:xfrm>
              <a:off x="7663961" y="3706871"/>
              <a:ext cx="55721" cy="70922"/>
            </a:xfrm>
            <a:custGeom>
              <a:avLst/>
              <a:gdLst>
                <a:gd name="connsiteX0" fmla="*/ 15201 w 55721"/>
                <a:gd name="connsiteY0" fmla="*/ 0 h 70922"/>
                <a:gd name="connsiteX1" fmla="*/ 40520 w 55721"/>
                <a:gd name="connsiteY1" fmla="*/ 0 h 70922"/>
                <a:gd name="connsiteX2" fmla="*/ 55721 w 55721"/>
                <a:gd name="connsiteY2" fmla="*/ 15201 h 70922"/>
                <a:gd name="connsiteX3" fmla="*/ 55721 w 55721"/>
                <a:gd name="connsiteY3" fmla="*/ 55721 h 70922"/>
                <a:gd name="connsiteX4" fmla="*/ 40520 w 55721"/>
                <a:gd name="connsiteY4" fmla="*/ 70922 h 70922"/>
                <a:gd name="connsiteX5" fmla="*/ 15201 w 55721"/>
                <a:gd name="connsiteY5" fmla="*/ 70922 h 70922"/>
                <a:gd name="connsiteX6" fmla="*/ 0 w 55721"/>
                <a:gd name="connsiteY6" fmla="*/ 55721 h 70922"/>
                <a:gd name="connsiteX7" fmla="*/ 0 w 55721"/>
                <a:gd name="connsiteY7" fmla="*/ 15201 h 70922"/>
                <a:gd name="connsiteX8" fmla="*/ 15201 w 55721"/>
                <a:gd name="connsiteY8" fmla="*/ 0 h 709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5721" h="70922">
                  <a:moveTo>
                    <a:pt x="15201" y="0"/>
                  </a:moveTo>
                  <a:lnTo>
                    <a:pt x="40520" y="0"/>
                  </a:lnTo>
                  <a:cubicBezTo>
                    <a:pt x="48927" y="0"/>
                    <a:pt x="55721" y="6794"/>
                    <a:pt x="55721" y="15201"/>
                  </a:cubicBezTo>
                  <a:lnTo>
                    <a:pt x="55721" y="55721"/>
                  </a:lnTo>
                  <a:cubicBezTo>
                    <a:pt x="55721" y="64128"/>
                    <a:pt x="48927" y="70922"/>
                    <a:pt x="40520" y="70922"/>
                  </a:cubicBezTo>
                  <a:lnTo>
                    <a:pt x="15201" y="70922"/>
                  </a:lnTo>
                  <a:cubicBezTo>
                    <a:pt x="6794" y="70922"/>
                    <a:pt x="0" y="64128"/>
                    <a:pt x="0" y="55721"/>
                  </a:cubicBezTo>
                  <a:lnTo>
                    <a:pt x="0" y="15201"/>
                  </a:lnTo>
                  <a:cubicBezTo>
                    <a:pt x="0" y="6794"/>
                    <a:pt x="6794" y="0"/>
                    <a:pt x="15201" y="0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984" name="Gráfico 13">
            <a:extLst>
              <a:ext uri="{FF2B5EF4-FFF2-40B4-BE49-F238E27FC236}">
                <a16:creationId xmlns:a16="http://schemas.microsoft.com/office/drawing/2014/main" id="{40616D4A-5CC8-E60E-4167-0CC19BED180A}"/>
              </a:ext>
            </a:extLst>
          </p:cNvPr>
          <p:cNvGrpSpPr/>
          <p:nvPr/>
        </p:nvGrpSpPr>
        <p:grpSpPr>
          <a:xfrm>
            <a:off x="6244195" y="3645822"/>
            <a:ext cx="351630" cy="329390"/>
            <a:chOff x="6244195" y="3645822"/>
            <a:chExt cx="351630" cy="329390"/>
          </a:xfrm>
        </p:grpSpPr>
        <p:sp>
          <p:nvSpPr>
            <p:cNvPr id="985" name="Forma livre: Forma 984">
              <a:extLst>
                <a:ext uri="{FF2B5EF4-FFF2-40B4-BE49-F238E27FC236}">
                  <a16:creationId xmlns:a16="http://schemas.microsoft.com/office/drawing/2014/main" id="{A4C83011-D660-1B06-F277-3442159D3A33}"/>
                </a:ext>
              </a:extLst>
            </p:cNvPr>
            <p:cNvSpPr/>
            <p:nvPr/>
          </p:nvSpPr>
          <p:spPr>
            <a:xfrm>
              <a:off x="6366342" y="3955843"/>
              <a:ext cx="163742" cy="19369"/>
            </a:xfrm>
            <a:custGeom>
              <a:avLst/>
              <a:gdLst>
                <a:gd name="connsiteX0" fmla="*/ 0 w 163742"/>
                <a:gd name="connsiteY0" fmla="*/ 19370 h 19369"/>
                <a:gd name="connsiteX1" fmla="*/ 163742 w 163742"/>
                <a:gd name="connsiteY1" fmla="*/ 4267 h 193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63742" h="19369">
                  <a:moveTo>
                    <a:pt x="0" y="19370"/>
                  </a:moveTo>
                  <a:cubicBezTo>
                    <a:pt x="0" y="19370"/>
                    <a:pt x="83240" y="-10935"/>
                    <a:pt x="163742" y="4267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86" name="Forma livre: Forma 985">
              <a:extLst>
                <a:ext uri="{FF2B5EF4-FFF2-40B4-BE49-F238E27FC236}">
                  <a16:creationId xmlns:a16="http://schemas.microsoft.com/office/drawing/2014/main" id="{BE37F46A-162E-CF43-B87B-6E02EAD91B55}"/>
                </a:ext>
              </a:extLst>
            </p:cNvPr>
            <p:cNvSpPr/>
            <p:nvPr/>
          </p:nvSpPr>
          <p:spPr>
            <a:xfrm>
              <a:off x="6298890" y="3941748"/>
              <a:ext cx="108363" cy="21391"/>
            </a:xfrm>
            <a:custGeom>
              <a:avLst/>
              <a:gdLst>
                <a:gd name="connsiteX0" fmla="*/ 0 w 108363"/>
                <a:gd name="connsiteY0" fmla="*/ 1058 h 21391"/>
                <a:gd name="connsiteX1" fmla="*/ 108363 w 108363"/>
                <a:gd name="connsiteY1" fmla="*/ 21392 h 21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8363" h="21391">
                  <a:moveTo>
                    <a:pt x="0" y="1058"/>
                  </a:moveTo>
                  <a:cubicBezTo>
                    <a:pt x="0" y="1058"/>
                    <a:pt x="47559" y="-7007"/>
                    <a:pt x="108363" y="21392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87" name="Forma livre: Forma 986">
              <a:extLst>
                <a:ext uri="{FF2B5EF4-FFF2-40B4-BE49-F238E27FC236}">
                  <a16:creationId xmlns:a16="http://schemas.microsoft.com/office/drawing/2014/main" id="{18E7199E-CED8-EC4C-7AF3-D19731AA2C52}"/>
                </a:ext>
              </a:extLst>
            </p:cNvPr>
            <p:cNvSpPr/>
            <p:nvPr/>
          </p:nvSpPr>
          <p:spPr>
            <a:xfrm>
              <a:off x="6442957" y="3832169"/>
              <a:ext cx="7619" cy="7627"/>
            </a:xfrm>
            <a:custGeom>
              <a:avLst/>
              <a:gdLst>
                <a:gd name="connsiteX0" fmla="*/ 7602 w 7619"/>
                <a:gd name="connsiteY0" fmla="*/ 4229 h 7627"/>
                <a:gd name="connsiteX1" fmla="*/ 3398 w 7619"/>
                <a:gd name="connsiteY1" fmla="*/ 7602 h 7627"/>
                <a:gd name="connsiteX2" fmla="*/ 26 w 7619"/>
                <a:gd name="connsiteY2" fmla="*/ 3398 h 7627"/>
                <a:gd name="connsiteX3" fmla="*/ 4229 w 7619"/>
                <a:gd name="connsiteY3" fmla="*/ 26 h 7627"/>
                <a:gd name="connsiteX4" fmla="*/ 7602 w 7619"/>
                <a:gd name="connsiteY4" fmla="*/ 4229 h 76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19" h="7627">
                  <a:moveTo>
                    <a:pt x="7602" y="4229"/>
                  </a:moveTo>
                  <a:cubicBezTo>
                    <a:pt x="7358" y="6331"/>
                    <a:pt x="5500" y="7846"/>
                    <a:pt x="3398" y="7602"/>
                  </a:cubicBezTo>
                  <a:cubicBezTo>
                    <a:pt x="1297" y="7358"/>
                    <a:pt x="-219" y="5500"/>
                    <a:pt x="26" y="3398"/>
                  </a:cubicBezTo>
                  <a:cubicBezTo>
                    <a:pt x="270" y="1297"/>
                    <a:pt x="2128" y="-219"/>
                    <a:pt x="4229" y="26"/>
                  </a:cubicBezTo>
                  <a:cubicBezTo>
                    <a:pt x="6331" y="270"/>
                    <a:pt x="7798" y="2128"/>
                    <a:pt x="7602" y="4229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88" name="Forma livre: Forma 987">
              <a:extLst>
                <a:ext uri="{FF2B5EF4-FFF2-40B4-BE49-F238E27FC236}">
                  <a16:creationId xmlns:a16="http://schemas.microsoft.com/office/drawing/2014/main" id="{AAE052F5-A8FC-41C7-97E0-6547ACA88F6C}"/>
                </a:ext>
              </a:extLst>
            </p:cNvPr>
            <p:cNvSpPr/>
            <p:nvPr/>
          </p:nvSpPr>
          <p:spPr>
            <a:xfrm>
              <a:off x="6440237" y="3687017"/>
              <a:ext cx="7638" cy="7643"/>
            </a:xfrm>
            <a:custGeom>
              <a:avLst/>
              <a:gdLst>
                <a:gd name="connsiteX0" fmla="*/ 7634 w 7638"/>
                <a:gd name="connsiteY0" fmla="*/ 4066 h 7643"/>
                <a:gd name="connsiteX1" fmla="*/ 3577 w 7638"/>
                <a:gd name="connsiteY1" fmla="*/ 7634 h 7643"/>
                <a:gd name="connsiteX2" fmla="*/ 9 w 7638"/>
                <a:gd name="connsiteY2" fmla="*/ 3577 h 7643"/>
                <a:gd name="connsiteX3" fmla="*/ 4066 w 7638"/>
                <a:gd name="connsiteY3" fmla="*/ 9 h 7643"/>
                <a:gd name="connsiteX4" fmla="*/ 7634 w 7638"/>
                <a:gd name="connsiteY4" fmla="*/ 4066 h 76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38" h="7643">
                  <a:moveTo>
                    <a:pt x="7634" y="4066"/>
                  </a:moveTo>
                  <a:cubicBezTo>
                    <a:pt x="7488" y="6168"/>
                    <a:pt x="5728" y="7781"/>
                    <a:pt x="3577" y="7634"/>
                  </a:cubicBezTo>
                  <a:cubicBezTo>
                    <a:pt x="1476" y="7488"/>
                    <a:pt x="-137" y="5679"/>
                    <a:pt x="9" y="3577"/>
                  </a:cubicBezTo>
                  <a:cubicBezTo>
                    <a:pt x="156" y="1476"/>
                    <a:pt x="1964" y="-137"/>
                    <a:pt x="4066" y="9"/>
                  </a:cubicBezTo>
                  <a:cubicBezTo>
                    <a:pt x="6168" y="156"/>
                    <a:pt x="7732" y="1964"/>
                    <a:pt x="7634" y="4066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89" name="Forma livre: Forma 988">
              <a:extLst>
                <a:ext uri="{FF2B5EF4-FFF2-40B4-BE49-F238E27FC236}">
                  <a16:creationId xmlns:a16="http://schemas.microsoft.com/office/drawing/2014/main" id="{53D80566-48AE-17A4-061B-FB7A44E2E0BC}"/>
                </a:ext>
              </a:extLst>
            </p:cNvPr>
            <p:cNvSpPr/>
            <p:nvPr/>
          </p:nvSpPr>
          <p:spPr>
            <a:xfrm>
              <a:off x="6449996" y="3871418"/>
              <a:ext cx="7619" cy="7627"/>
            </a:xfrm>
            <a:custGeom>
              <a:avLst/>
              <a:gdLst>
                <a:gd name="connsiteX0" fmla="*/ 7602 w 7619"/>
                <a:gd name="connsiteY0" fmla="*/ 4229 h 7627"/>
                <a:gd name="connsiteX1" fmla="*/ 3398 w 7619"/>
                <a:gd name="connsiteY1" fmla="*/ 7602 h 7627"/>
                <a:gd name="connsiteX2" fmla="*/ 26 w 7619"/>
                <a:gd name="connsiteY2" fmla="*/ 3398 h 7627"/>
                <a:gd name="connsiteX3" fmla="*/ 4229 w 7619"/>
                <a:gd name="connsiteY3" fmla="*/ 26 h 7627"/>
                <a:gd name="connsiteX4" fmla="*/ 7602 w 7619"/>
                <a:gd name="connsiteY4" fmla="*/ 4229 h 76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19" h="7627">
                  <a:moveTo>
                    <a:pt x="7602" y="4229"/>
                  </a:moveTo>
                  <a:cubicBezTo>
                    <a:pt x="7358" y="6331"/>
                    <a:pt x="5500" y="7846"/>
                    <a:pt x="3398" y="7602"/>
                  </a:cubicBezTo>
                  <a:cubicBezTo>
                    <a:pt x="1297" y="7358"/>
                    <a:pt x="-219" y="5500"/>
                    <a:pt x="26" y="3398"/>
                  </a:cubicBezTo>
                  <a:cubicBezTo>
                    <a:pt x="270" y="1297"/>
                    <a:pt x="2128" y="-219"/>
                    <a:pt x="4229" y="26"/>
                  </a:cubicBezTo>
                  <a:cubicBezTo>
                    <a:pt x="6331" y="270"/>
                    <a:pt x="7797" y="2128"/>
                    <a:pt x="7602" y="4229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90" name="Forma livre: Forma 989">
              <a:extLst>
                <a:ext uri="{FF2B5EF4-FFF2-40B4-BE49-F238E27FC236}">
                  <a16:creationId xmlns:a16="http://schemas.microsoft.com/office/drawing/2014/main" id="{E7573A63-533D-5A58-06CE-112E8464A2FB}"/>
                </a:ext>
              </a:extLst>
            </p:cNvPr>
            <p:cNvSpPr/>
            <p:nvPr/>
          </p:nvSpPr>
          <p:spPr>
            <a:xfrm>
              <a:off x="6444473" y="3911401"/>
              <a:ext cx="7619" cy="7627"/>
            </a:xfrm>
            <a:custGeom>
              <a:avLst/>
              <a:gdLst>
                <a:gd name="connsiteX0" fmla="*/ 7602 w 7619"/>
                <a:gd name="connsiteY0" fmla="*/ 4229 h 7627"/>
                <a:gd name="connsiteX1" fmla="*/ 3398 w 7619"/>
                <a:gd name="connsiteY1" fmla="*/ 7602 h 7627"/>
                <a:gd name="connsiteX2" fmla="*/ 26 w 7619"/>
                <a:gd name="connsiteY2" fmla="*/ 3398 h 7627"/>
                <a:gd name="connsiteX3" fmla="*/ 4229 w 7619"/>
                <a:gd name="connsiteY3" fmla="*/ 26 h 7627"/>
                <a:gd name="connsiteX4" fmla="*/ 7602 w 7619"/>
                <a:gd name="connsiteY4" fmla="*/ 4229 h 76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19" h="7627">
                  <a:moveTo>
                    <a:pt x="7602" y="4229"/>
                  </a:moveTo>
                  <a:cubicBezTo>
                    <a:pt x="7358" y="6331"/>
                    <a:pt x="5500" y="7846"/>
                    <a:pt x="3398" y="7602"/>
                  </a:cubicBezTo>
                  <a:cubicBezTo>
                    <a:pt x="1297" y="7358"/>
                    <a:pt x="-219" y="5500"/>
                    <a:pt x="26" y="3398"/>
                  </a:cubicBezTo>
                  <a:cubicBezTo>
                    <a:pt x="270" y="1297"/>
                    <a:pt x="2128" y="-219"/>
                    <a:pt x="4229" y="26"/>
                  </a:cubicBezTo>
                  <a:cubicBezTo>
                    <a:pt x="6331" y="270"/>
                    <a:pt x="7798" y="2128"/>
                    <a:pt x="7602" y="4229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91" name="Forma livre: Forma 990">
              <a:extLst>
                <a:ext uri="{FF2B5EF4-FFF2-40B4-BE49-F238E27FC236}">
                  <a16:creationId xmlns:a16="http://schemas.microsoft.com/office/drawing/2014/main" id="{16E6BFC7-6E37-C873-39A4-CF5A1A4C42FE}"/>
                </a:ext>
              </a:extLst>
            </p:cNvPr>
            <p:cNvSpPr/>
            <p:nvPr/>
          </p:nvSpPr>
          <p:spPr>
            <a:xfrm>
              <a:off x="6387693" y="3701094"/>
              <a:ext cx="7638" cy="7643"/>
            </a:xfrm>
            <a:custGeom>
              <a:avLst/>
              <a:gdLst>
                <a:gd name="connsiteX0" fmla="*/ 7634 w 7638"/>
                <a:gd name="connsiteY0" fmla="*/ 4066 h 7643"/>
                <a:gd name="connsiteX1" fmla="*/ 3577 w 7638"/>
                <a:gd name="connsiteY1" fmla="*/ 7634 h 7643"/>
                <a:gd name="connsiteX2" fmla="*/ 9 w 7638"/>
                <a:gd name="connsiteY2" fmla="*/ 3577 h 7643"/>
                <a:gd name="connsiteX3" fmla="*/ 4066 w 7638"/>
                <a:gd name="connsiteY3" fmla="*/ 9 h 7643"/>
                <a:gd name="connsiteX4" fmla="*/ 7634 w 7638"/>
                <a:gd name="connsiteY4" fmla="*/ 4066 h 76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38" h="7643">
                  <a:moveTo>
                    <a:pt x="7634" y="4066"/>
                  </a:moveTo>
                  <a:cubicBezTo>
                    <a:pt x="7488" y="6168"/>
                    <a:pt x="5679" y="7781"/>
                    <a:pt x="3577" y="7634"/>
                  </a:cubicBezTo>
                  <a:cubicBezTo>
                    <a:pt x="1476" y="7488"/>
                    <a:pt x="-137" y="5679"/>
                    <a:pt x="9" y="3577"/>
                  </a:cubicBezTo>
                  <a:cubicBezTo>
                    <a:pt x="156" y="1476"/>
                    <a:pt x="1964" y="-137"/>
                    <a:pt x="4066" y="9"/>
                  </a:cubicBezTo>
                  <a:cubicBezTo>
                    <a:pt x="6168" y="156"/>
                    <a:pt x="7732" y="1964"/>
                    <a:pt x="7634" y="4066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92" name="Forma livre: Forma 991">
              <a:extLst>
                <a:ext uri="{FF2B5EF4-FFF2-40B4-BE49-F238E27FC236}">
                  <a16:creationId xmlns:a16="http://schemas.microsoft.com/office/drawing/2014/main" id="{50F3E789-777E-7AAC-E530-1201B6BB8439}"/>
                </a:ext>
              </a:extLst>
            </p:cNvPr>
            <p:cNvSpPr/>
            <p:nvPr/>
          </p:nvSpPr>
          <p:spPr>
            <a:xfrm>
              <a:off x="6305293" y="3778918"/>
              <a:ext cx="35436" cy="141600"/>
            </a:xfrm>
            <a:custGeom>
              <a:avLst/>
              <a:gdLst>
                <a:gd name="connsiteX0" fmla="*/ 17938 w 35436"/>
                <a:gd name="connsiteY0" fmla="*/ 141600 h 141600"/>
                <a:gd name="connsiteX1" fmla="*/ 0 w 35436"/>
                <a:gd name="connsiteY1" fmla="*/ 81089 h 141600"/>
                <a:gd name="connsiteX2" fmla="*/ 35437 w 35436"/>
                <a:gd name="connsiteY2" fmla="*/ 0 h 141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5436" h="141600">
                  <a:moveTo>
                    <a:pt x="17938" y="141600"/>
                  </a:moveTo>
                  <a:cubicBezTo>
                    <a:pt x="6599" y="124200"/>
                    <a:pt x="0" y="103426"/>
                    <a:pt x="0" y="81089"/>
                  </a:cubicBezTo>
                  <a:cubicBezTo>
                    <a:pt x="0" y="51860"/>
                    <a:pt x="15054" y="19942"/>
                    <a:pt x="35437" y="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93" name="Forma livre: Forma 992">
              <a:extLst>
                <a:ext uri="{FF2B5EF4-FFF2-40B4-BE49-F238E27FC236}">
                  <a16:creationId xmlns:a16="http://schemas.microsoft.com/office/drawing/2014/main" id="{8314231D-A890-1615-6246-79279EBDD189}"/>
                </a:ext>
              </a:extLst>
            </p:cNvPr>
            <p:cNvSpPr/>
            <p:nvPr/>
          </p:nvSpPr>
          <p:spPr>
            <a:xfrm>
              <a:off x="6490639" y="3777305"/>
              <a:ext cx="36561" cy="156752"/>
            </a:xfrm>
            <a:custGeom>
              <a:avLst/>
              <a:gdLst>
                <a:gd name="connsiteX0" fmla="*/ 0 w 36561"/>
                <a:gd name="connsiteY0" fmla="*/ 0 h 156752"/>
                <a:gd name="connsiteX1" fmla="*/ 36561 w 36561"/>
                <a:gd name="connsiteY1" fmla="*/ 82751 h 156752"/>
                <a:gd name="connsiteX2" fmla="*/ 8309 w 36561"/>
                <a:gd name="connsiteY2" fmla="*/ 156753 h 1567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6561" h="156752">
                  <a:moveTo>
                    <a:pt x="0" y="0"/>
                  </a:moveTo>
                  <a:cubicBezTo>
                    <a:pt x="18525" y="19845"/>
                    <a:pt x="36610" y="53473"/>
                    <a:pt x="36561" y="82751"/>
                  </a:cubicBezTo>
                  <a:cubicBezTo>
                    <a:pt x="36561" y="111198"/>
                    <a:pt x="25857" y="137103"/>
                    <a:pt x="8309" y="156753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94" name="Forma livre: Forma 993">
              <a:extLst>
                <a:ext uri="{FF2B5EF4-FFF2-40B4-BE49-F238E27FC236}">
                  <a16:creationId xmlns:a16="http://schemas.microsoft.com/office/drawing/2014/main" id="{5F95DEEA-14F7-F74D-8664-18550E2DFCD8}"/>
                </a:ext>
              </a:extLst>
            </p:cNvPr>
            <p:cNvSpPr/>
            <p:nvPr/>
          </p:nvSpPr>
          <p:spPr>
            <a:xfrm>
              <a:off x="6247861" y="3766112"/>
              <a:ext cx="87980" cy="61830"/>
            </a:xfrm>
            <a:custGeom>
              <a:avLst/>
              <a:gdLst>
                <a:gd name="connsiteX0" fmla="*/ 87981 w 87980"/>
                <a:gd name="connsiteY0" fmla="*/ 61831 h 61830"/>
                <a:gd name="connsiteX1" fmla="*/ 0 w 87980"/>
                <a:gd name="connsiteY1" fmla="*/ 0 h 61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7980" h="61830">
                  <a:moveTo>
                    <a:pt x="87981" y="61831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95" name="Forma livre: Forma 994">
              <a:extLst>
                <a:ext uri="{FF2B5EF4-FFF2-40B4-BE49-F238E27FC236}">
                  <a16:creationId xmlns:a16="http://schemas.microsoft.com/office/drawing/2014/main" id="{D2CC6164-94BF-2FC9-0DBA-122CBD4385FD}"/>
                </a:ext>
              </a:extLst>
            </p:cNvPr>
            <p:cNvSpPr/>
            <p:nvPr/>
          </p:nvSpPr>
          <p:spPr>
            <a:xfrm>
              <a:off x="6277188" y="3750862"/>
              <a:ext cx="1173" cy="33286"/>
            </a:xfrm>
            <a:custGeom>
              <a:avLst/>
              <a:gdLst>
                <a:gd name="connsiteX0" fmla="*/ 0 w 1173"/>
                <a:gd name="connsiteY0" fmla="*/ 33286 h 33286"/>
                <a:gd name="connsiteX1" fmla="*/ 1173 w 1173"/>
                <a:gd name="connsiteY1" fmla="*/ 0 h 3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3" h="33286">
                  <a:moveTo>
                    <a:pt x="0" y="33286"/>
                  </a:moveTo>
                  <a:lnTo>
                    <a:pt x="1173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96" name="Forma livre: Forma 995">
              <a:extLst>
                <a:ext uri="{FF2B5EF4-FFF2-40B4-BE49-F238E27FC236}">
                  <a16:creationId xmlns:a16="http://schemas.microsoft.com/office/drawing/2014/main" id="{AAF537F8-8D92-B440-6ACF-7F89AF499D8A}"/>
                </a:ext>
              </a:extLst>
            </p:cNvPr>
            <p:cNvSpPr/>
            <p:nvPr/>
          </p:nvSpPr>
          <p:spPr>
            <a:xfrm>
              <a:off x="6244195" y="3787080"/>
              <a:ext cx="32259" cy="8455"/>
            </a:xfrm>
            <a:custGeom>
              <a:avLst/>
              <a:gdLst>
                <a:gd name="connsiteX0" fmla="*/ 32260 w 32259"/>
                <a:gd name="connsiteY0" fmla="*/ 0 h 8455"/>
                <a:gd name="connsiteX1" fmla="*/ 0 w 32259"/>
                <a:gd name="connsiteY1" fmla="*/ 8456 h 84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2259" h="8455">
                  <a:moveTo>
                    <a:pt x="32260" y="0"/>
                  </a:moveTo>
                  <a:lnTo>
                    <a:pt x="0" y="8456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97" name="Forma livre: Forma 996">
              <a:extLst>
                <a:ext uri="{FF2B5EF4-FFF2-40B4-BE49-F238E27FC236}">
                  <a16:creationId xmlns:a16="http://schemas.microsoft.com/office/drawing/2014/main" id="{9F93BDB9-04C6-0B37-317A-4C3DF5335F31}"/>
                </a:ext>
              </a:extLst>
            </p:cNvPr>
            <p:cNvSpPr/>
            <p:nvPr/>
          </p:nvSpPr>
          <p:spPr>
            <a:xfrm>
              <a:off x="6520455" y="3766112"/>
              <a:ext cx="71704" cy="50735"/>
            </a:xfrm>
            <a:custGeom>
              <a:avLst/>
              <a:gdLst>
                <a:gd name="connsiteX0" fmla="*/ 0 w 71704"/>
                <a:gd name="connsiteY0" fmla="*/ 50736 h 50735"/>
                <a:gd name="connsiteX1" fmla="*/ 71704 w 71704"/>
                <a:gd name="connsiteY1" fmla="*/ 0 h 507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1704" h="50735">
                  <a:moveTo>
                    <a:pt x="0" y="50736"/>
                  </a:moveTo>
                  <a:lnTo>
                    <a:pt x="71704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98" name="Forma livre: Forma 997">
              <a:extLst>
                <a:ext uri="{FF2B5EF4-FFF2-40B4-BE49-F238E27FC236}">
                  <a16:creationId xmlns:a16="http://schemas.microsoft.com/office/drawing/2014/main" id="{0F6B57D8-A607-CF35-FFDF-17ABC1DDAEDF}"/>
                </a:ext>
              </a:extLst>
            </p:cNvPr>
            <p:cNvSpPr/>
            <p:nvPr/>
          </p:nvSpPr>
          <p:spPr>
            <a:xfrm>
              <a:off x="6561660" y="3750862"/>
              <a:ext cx="1173" cy="33286"/>
            </a:xfrm>
            <a:custGeom>
              <a:avLst/>
              <a:gdLst>
                <a:gd name="connsiteX0" fmla="*/ 1173 w 1173"/>
                <a:gd name="connsiteY0" fmla="*/ 33286 h 33286"/>
                <a:gd name="connsiteX1" fmla="*/ 0 w 1173"/>
                <a:gd name="connsiteY1" fmla="*/ 0 h 3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3" h="33286">
                  <a:moveTo>
                    <a:pt x="1173" y="33286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99" name="Forma livre: Forma 998">
              <a:extLst>
                <a:ext uri="{FF2B5EF4-FFF2-40B4-BE49-F238E27FC236}">
                  <a16:creationId xmlns:a16="http://schemas.microsoft.com/office/drawing/2014/main" id="{9A2F3746-20E5-4A90-DF04-B40F942CF36F}"/>
                </a:ext>
              </a:extLst>
            </p:cNvPr>
            <p:cNvSpPr/>
            <p:nvPr/>
          </p:nvSpPr>
          <p:spPr>
            <a:xfrm>
              <a:off x="6563566" y="3787080"/>
              <a:ext cx="32259" cy="8455"/>
            </a:xfrm>
            <a:custGeom>
              <a:avLst/>
              <a:gdLst>
                <a:gd name="connsiteX0" fmla="*/ 0 w 32259"/>
                <a:gd name="connsiteY0" fmla="*/ 0 h 8455"/>
                <a:gd name="connsiteX1" fmla="*/ 32260 w 32259"/>
                <a:gd name="connsiteY1" fmla="*/ 8456 h 84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2259" h="8455">
                  <a:moveTo>
                    <a:pt x="0" y="0"/>
                  </a:moveTo>
                  <a:lnTo>
                    <a:pt x="32260" y="8456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00" name="Forma livre: Forma 999">
              <a:extLst>
                <a:ext uri="{FF2B5EF4-FFF2-40B4-BE49-F238E27FC236}">
                  <a16:creationId xmlns:a16="http://schemas.microsoft.com/office/drawing/2014/main" id="{75D812E9-23DF-728D-32FC-2B19380F8760}"/>
                </a:ext>
              </a:extLst>
            </p:cNvPr>
            <p:cNvSpPr/>
            <p:nvPr/>
          </p:nvSpPr>
          <p:spPr>
            <a:xfrm>
              <a:off x="6410891" y="3717497"/>
              <a:ext cx="47244" cy="87326"/>
            </a:xfrm>
            <a:custGeom>
              <a:avLst/>
              <a:gdLst>
                <a:gd name="connsiteX0" fmla="*/ 37958 w 47244"/>
                <a:gd name="connsiteY0" fmla="*/ 20755 h 87326"/>
                <a:gd name="connsiteX1" fmla="*/ 47245 w 47244"/>
                <a:gd name="connsiteY1" fmla="*/ 87327 h 87326"/>
                <a:gd name="connsiteX2" fmla="*/ 6823 w 47244"/>
                <a:gd name="connsiteY2" fmla="*/ 34685 h 87326"/>
                <a:gd name="connsiteX3" fmla="*/ 11955 w 47244"/>
                <a:gd name="connsiteY3" fmla="*/ 2230 h 87326"/>
                <a:gd name="connsiteX4" fmla="*/ 38007 w 47244"/>
                <a:gd name="connsiteY4" fmla="*/ 20706 h 873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7244" h="87326">
                  <a:moveTo>
                    <a:pt x="37958" y="20755"/>
                  </a:moveTo>
                  <a:cubicBezTo>
                    <a:pt x="39327" y="30237"/>
                    <a:pt x="47245" y="87327"/>
                    <a:pt x="47245" y="87327"/>
                  </a:cubicBezTo>
                  <a:cubicBezTo>
                    <a:pt x="47245" y="87327"/>
                    <a:pt x="10537" y="40257"/>
                    <a:pt x="6823" y="34685"/>
                  </a:cubicBezTo>
                  <a:cubicBezTo>
                    <a:pt x="3108" y="29162"/>
                    <a:pt x="-8916" y="11077"/>
                    <a:pt x="11955" y="2230"/>
                  </a:cubicBezTo>
                  <a:cubicBezTo>
                    <a:pt x="31848" y="-6177"/>
                    <a:pt x="36589" y="11223"/>
                    <a:pt x="38007" y="20706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01" name="Forma livre: Forma 1000">
              <a:extLst>
                <a:ext uri="{FF2B5EF4-FFF2-40B4-BE49-F238E27FC236}">
                  <a16:creationId xmlns:a16="http://schemas.microsoft.com/office/drawing/2014/main" id="{22AED855-4654-95B4-E803-8E4A90D8E5D4}"/>
                </a:ext>
              </a:extLst>
            </p:cNvPr>
            <p:cNvSpPr/>
            <p:nvPr/>
          </p:nvSpPr>
          <p:spPr>
            <a:xfrm>
              <a:off x="6344689" y="3645822"/>
              <a:ext cx="142919" cy="142968"/>
            </a:xfrm>
            <a:custGeom>
              <a:avLst/>
              <a:gdLst>
                <a:gd name="connsiteX0" fmla="*/ 71460 w 142919"/>
                <a:gd name="connsiteY0" fmla="*/ 142969 h 142968"/>
                <a:gd name="connsiteX1" fmla="*/ 0 w 142919"/>
                <a:gd name="connsiteY1" fmla="*/ 71509 h 142968"/>
                <a:gd name="connsiteX2" fmla="*/ 71460 w 142919"/>
                <a:gd name="connsiteY2" fmla="*/ 0 h 142968"/>
                <a:gd name="connsiteX3" fmla="*/ 142920 w 142919"/>
                <a:gd name="connsiteY3" fmla="*/ 71460 h 142968"/>
                <a:gd name="connsiteX4" fmla="*/ 111393 w 142919"/>
                <a:gd name="connsiteY4" fmla="*/ 130749 h 142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2919" h="142968">
                  <a:moveTo>
                    <a:pt x="71460" y="142969"/>
                  </a:moveTo>
                  <a:cubicBezTo>
                    <a:pt x="31966" y="142969"/>
                    <a:pt x="0" y="110954"/>
                    <a:pt x="0" y="71509"/>
                  </a:cubicBezTo>
                  <a:cubicBezTo>
                    <a:pt x="0" y="32064"/>
                    <a:pt x="31966" y="0"/>
                    <a:pt x="71460" y="0"/>
                  </a:cubicBezTo>
                  <a:cubicBezTo>
                    <a:pt x="110954" y="0"/>
                    <a:pt x="142920" y="32015"/>
                    <a:pt x="142920" y="71460"/>
                  </a:cubicBezTo>
                  <a:cubicBezTo>
                    <a:pt x="142920" y="96144"/>
                    <a:pt x="130407" y="117894"/>
                    <a:pt x="111393" y="130749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002" name="Gráfico 13">
            <a:extLst>
              <a:ext uri="{FF2B5EF4-FFF2-40B4-BE49-F238E27FC236}">
                <a16:creationId xmlns:a16="http://schemas.microsoft.com/office/drawing/2014/main" id="{200DFCAF-A08C-BE4C-AAC5-04A08A216D66}"/>
              </a:ext>
            </a:extLst>
          </p:cNvPr>
          <p:cNvGrpSpPr/>
          <p:nvPr/>
        </p:nvGrpSpPr>
        <p:grpSpPr>
          <a:xfrm>
            <a:off x="6855955" y="4204794"/>
            <a:ext cx="399872" cy="299721"/>
            <a:chOff x="6855955" y="4204794"/>
            <a:chExt cx="399872" cy="299721"/>
          </a:xfrm>
          <a:noFill/>
        </p:grpSpPr>
        <p:sp>
          <p:nvSpPr>
            <p:cNvPr id="1003" name="Forma livre: Forma 1002">
              <a:extLst>
                <a:ext uri="{FF2B5EF4-FFF2-40B4-BE49-F238E27FC236}">
                  <a16:creationId xmlns:a16="http://schemas.microsoft.com/office/drawing/2014/main" id="{629ABAF8-231B-523A-1C82-840D6EF39A89}"/>
                </a:ext>
              </a:extLst>
            </p:cNvPr>
            <p:cNvSpPr/>
            <p:nvPr/>
          </p:nvSpPr>
          <p:spPr>
            <a:xfrm>
              <a:off x="6855955" y="4204794"/>
              <a:ext cx="336624" cy="162129"/>
            </a:xfrm>
            <a:custGeom>
              <a:avLst/>
              <a:gdLst>
                <a:gd name="connsiteX0" fmla="*/ 336624 w 336624"/>
                <a:gd name="connsiteY0" fmla="*/ 0 h 162129"/>
                <a:gd name="connsiteX1" fmla="*/ 182267 w 336624"/>
                <a:gd name="connsiteY1" fmla="*/ 103964 h 162129"/>
                <a:gd name="connsiteX2" fmla="*/ 0 w 336624"/>
                <a:gd name="connsiteY2" fmla="*/ 162129 h 1621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36624" h="162129">
                  <a:moveTo>
                    <a:pt x="336624" y="0"/>
                  </a:moveTo>
                  <a:cubicBezTo>
                    <a:pt x="307542" y="31478"/>
                    <a:pt x="251234" y="70336"/>
                    <a:pt x="182267" y="103964"/>
                  </a:cubicBezTo>
                  <a:cubicBezTo>
                    <a:pt x="110367" y="139059"/>
                    <a:pt x="42475" y="159881"/>
                    <a:pt x="0" y="162129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004" name="Gráfico 13">
              <a:extLst>
                <a:ext uri="{FF2B5EF4-FFF2-40B4-BE49-F238E27FC236}">
                  <a16:creationId xmlns:a16="http://schemas.microsoft.com/office/drawing/2014/main" id="{09F9DD02-61AB-0611-B2FE-D4B7202E099B}"/>
                </a:ext>
              </a:extLst>
            </p:cNvPr>
            <p:cNvGrpSpPr/>
            <p:nvPr/>
          </p:nvGrpSpPr>
          <p:grpSpPr>
            <a:xfrm>
              <a:off x="7024634" y="4305679"/>
              <a:ext cx="110513" cy="149176"/>
              <a:chOff x="7024634" y="4305679"/>
              <a:chExt cx="110513" cy="149176"/>
            </a:xfrm>
            <a:noFill/>
          </p:grpSpPr>
          <p:sp>
            <p:nvSpPr>
              <p:cNvPr id="1005" name="Forma livre: Forma 1004">
                <a:extLst>
                  <a:ext uri="{FF2B5EF4-FFF2-40B4-BE49-F238E27FC236}">
                    <a16:creationId xmlns:a16="http://schemas.microsoft.com/office/drawing/2014/main" id="{D37B8E26-01DE-BD57-07AF-A5565C180C6D}"/>
                  </a:ext>
                </a:extLst>
              </p:cNvPr>
              <p:cNvSpPr/>
              <p:nvPr/>
            </p:nvSpPr>
            <p:spPr>
              <a:xfrm>
                <a:off x="7033852" y="4332211"/>
                <a:ext cx="61349" cy="82650"/>
              </a:xfrm>
              <a:custGeom>
                <a:avLst/>
                <a:gdLst>
                  <a:gd name="connsiteX0" fmla="*/ 8231 w 61349"/>
                  <a:gd name="connsiteY0" fmla="*/ 49766 h 82650"/>
                  <a:gd name="connsiteX1" fmla="*/ 14097 w 61349"/>
                  <a:gd name="connsiteY1" fmla="*/ 3185 h 82650"/>
                  <a:gd name="connsiteX2" fmla="*/ 54177 w 61349"/>
                  <a:gd name="connsiteY2" fmla="*/ 27722 h 82650"/>
                  <a:gd name="connsiteX3" fmla="*/ 51733 w 61349"/>
                  <a:gd name="connsiteY3" fmla="*/ 81635 h 82650"/>
                  <a:gd name="connsiteX4" fmla="*/ 8231 w 61349"/>
                  <a:gd name="connsiteY4" fmla="*/ 49766 h 826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1349" h="82650">
                    <a:moveTo>
                      <a:pt x="8231" y="49766"/>
                    </a:moveTo>
                    <a:cubicBezTo>
                      <a:pt x="-3108" y="26109"/>
                      <a:pt x="-4135" y="11934"/>
                      <a:pt x="14097" y="3185"/>
                    </a:cubicBezTo>
                    <a:cubicBezTo>
                      <a:pt x="32377" y="-5564"/>
                      <a:pt x="42788" y="4065"/>
                      <a:pt x="54177" y="27722"/>
                    </a:cubicBezTo>
                    <a:cubicBezTo>
                      <a:pt x="65517" y="51379"/>
                      <a:pt x="62437" y="76503"/>
                      <a:pt x="51733" y="81635"/>
                    </a:cubicBezTo>
                    <a:cubicBezTo>
                      <a:pt x="41469" y="86523"/>
                      <a:pt x="19620" y="73423"/>
                      <a:pt x="8231" y="49766"/>
                    </a:cubicBezTo>
                    <a:close/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006" name="Forma livre: Forma 1005">
                <a:extLst>
                  <a:ext uri="{FF2B5EF4-FFF2-40B4-BE49-F238E27FC236}">
                    <a16:creationId xmlns:a16="http://schemas.microsoft.com/office/drawing/2014/main" id="{21A28E14-2BCD-3492-96E1-D3D352B21F6C}"/>
                  </a:ext>
                </a:extLst>
              </p:cNvPr>
              <p:cNvSpPr/>
              <p:nvPr/>
            </p:nvSpPr>
            <p:spPr>
              <a:xfrm>
                <a:off x="7096778" y="4437112"/>
                <a:ext cx="6989" cy="14565"/>
              </a:xfrm>
              <a:custGeom>
                <a:avLst/>
                <a:gdLst>
                  <a:gd name="connsiteX0" fmla="*/ 0 w 6989"/>
                  <a:gd name="connsiteY0" fmla="*/ 0 h 14565"/>
                  <a:gd name="connsiteX1" fmla="*/ 6990 w 6989"/>
                  <a:gd name="connsiteY1" fmla="*/ 14566 h 145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989" h="14565">
                    <a:moveTo>
                      <a:pt x="0" y="0"/>
                    </a:moveTo>
                    <a:lnTo>
                      <a:pt x="6990" y="14566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1007" name="Gráfico 13">
                <a:extLst>
                  <a:ext uri="{FF2B5EF4-FFF2-40B4-BE49-F238E27FC236}">
                    <a16:creationId xmlns:a16="http://schemas.microsoft.com/office/drawing/2014/main" id="{432EF22C-BCED-8367-D443-0E1E15D3B744}"/>
                  </a:ext>
                </a:extLst>
              </p:cNvPr>
              <p:cNvGrpSpPr/>
              <p:nvPr/>
            </p:nvGrpSpPr>
            <p:grpSpPr>
              <a:xfrm>
                <a:off x="7057627" y="4412478"/>
                <a:ext cx="77520" cy="42377"/>
                <a:chOff x="7057627" y="4412478"/>
                <a:chExt cx="77520" cy="42377"/>
              </a:xfrm>
            </p:grpSpPr>
            <p:sp>
              <p:nvSpPr>
                <p:cNvPr id="1008" name="Forma livre: Forma 1007">
                  <a:extLst>
                    <a:ext uri="{FF2B5EF4-FFF2-40B4-BE49-F238E27FC236}">
                      <a16:creationId xmlns:a16="http://schemas.microsoft.com/office/drawing/2014/main" id="{5D612C88-6F8C-2155-9F7D-A0B3CDD4259A}"/>
                    </a:ext>
                  </a:extLst>
                </p:cNvPr>
                <p:cNvSpPr/>
                <p:nvPr/>
              </p:nvSpPr>
              <p:spPr>
                <a:xfrm>
                  <a:off x="7057627" y="4439703"/>
                  <a:ext cx="5474" cy="15152"/>
                </a:xfrm>
                <a:custGeom>
                  <a:avLst/>
                  <a:gdLst>
                    <a:gd name="connsiteX0" fmla="*/ 5474 w 5474"/>
                    <a:gd name="connsiteY0" fmla="*/ 0 h 15152"/>
                    <a:gd name="connsiteX1" fmla="*/ 0 w 5474"/>
                    <a:gd name="connsiteY1" fmla="*/ 15152 h 1515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5474" h="15152">
                      <a:moveTo>
                        <a:pt x="5474" y="0"/>
                      </a:moveTo>
                      <a:lnTo>
                        <a:pt x="0" y="15152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009" name="Forma livre: Forma 1008">
                  <a:extLst>
                    <a:ext uri="{FF2B5EF4-FFF2-40B4-BE49-F238E27FC236}">
                      <a16:creationId xmlns:a16="http://schemas.microsoft.com/office/drawing/2014/main" id="{6A387347-1337-F2F3-051D-71E2B32F163E}"/>
                    </a:ext>
                  </a:extLst>
                </p:cNvPr>
                <p:cNvSpPr/>
                <p:nvPr/>
              </p:nvSpPr>
              <p:spPr>
                <a:xfrm>
                  <a:off x="7119898" y="4412478"/>
                  <a:ext cx="15250" cy="5229"/>
                </a:xfrm>
                <a:custGeom>
                  <a:avLst/>
                  <a:gdLst>
                    <a:gd name="connsiteX0" fmla="*/ 0 w 15250"/>
                    <a:gd name="connsiteY0" fmla="*/ 0 h 5229"/>
                    <a:gd name="connsiteX1" fmla="*/ 15250 w 15250"/>
                    <a:gd name="connsiteY1" fmla="*/ 5230 h 522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5250" h="5229">
                      <a:moveTo>
                        <a:pt x="0" y="0"/>
                      </a:moveTo>
                      <a:lnTo>
                        <a:pt x="15250" y="523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1010" name="Gráfico 13">
                <a:extLst>
                  <a:ext uri="{FF2B5EF4-FFF2-40B4-BE49-F238E27FC236}">
                    <a16:creationId xmlns:a16="http://schemas.microsoft.com/office/drawing/2014/main" id="{BCE4D7E5-C387-49BA-3026-D7B5FF113EA2}"/>
                  </a:ext>
                </a:extLst>
              </p:cNvPr>
              <p:cNvGrpSpPr/>
              <p:nvPr/>
            </p:nvGrpSpPr>
            <p:grpSpPr>
              <a:xfrm>
                <a:off x="7024634" y="4305679"/>
                <a:ext cx="36903" cy="38809"/>
                <a:chOff x="7024634" y="4305679"/>
                <a:chExt cx="36903" cy="38809"/>
              </a:xfrm>
            </p:grpSpPr>
            <p:sp>
              <p:nvSpPr>
                <p:cNvPr id="1011" name="Forma livre: Forma 1010">
                  <a:extLst>
                    <a:ext uri="{FF2B5EF4-FFF2-40B4-BE49-F238E27FC236}">
                      <a16:creationId xmlns:a16="http://schemas.microsoft.com/office/drawing/2014/main" id="{6D85533F-872D-9DD9-CCC9-B73B42737CA7}"/>
                    </a:ext>
                  </a:extLst>
                </p:cNvPr>
                <p:cNvSpPr/>
                <p:nvPr/>
              </p:nvSpPr>
              <p:spPr>
                <a:xfrm>
                  <a:off x="7024634" y="4317067"/>
                  <a:ext cx="13148" cy="27420"/>
                </a:xfrm>
                <a:custGeom>
                  <a:avLst/>
                  <a:gdLst>
                    <a:gd name="connsiteX0" fmla="*/ 13148 w 13148"/>
                    <a:gd name="connsiteY0" fmla="*/ 27421 h 27420"/>
                    <a:gd name="connsiteX1" fmla="*/ 0 w 13148"/>
                    <a:gd name="connsiteY1" fmla="*/ 0 h 2742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3148" h="27420">
                      <a:moveTo>
                        <a:pt x="13148" y="27421"/>
                      </a:moveTo>
                      <a:lnTo>
                        <a:pt x="0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012" name="Forma livre: Forma 1011">
                  <a:extLst>
                    <a:ext uri="{FF2B5EF4-FFF2-40B4-BE49-F238E27FC236}">
                      <a16:creationId xmlns:a16="http://schemas.microsoft.com/office/drawing/2014/main" id="{464A7CB4-EDA7-0C14-9D2B-6700B28D57CE}"/>
                    </a:ext>
                  </a:extLst>
                </p:cNvPr>
                <p:cNvSpPr/>
                <p:nvPr/>
              </p:nvSpPr>
              <p:spPr>
                <a:xfrm>
                  <a:off x="7048389" y="4305679"/>
                  <a:ext cx="13148" cy="27420"/>
                </a:xfrm>
                <a:custGeom>
                  <a:avLst/>
                  <a:gdLst>
                    <a:gd name="connsiteX0" fmla="*/ 13148 w 13148"/>
                    <a:gd name="connsiteY0" fmla="*/ 27421 h 27420"/>
                    <a:gd name="connsiteX1" fmla="*/ 0 w 13148"/>
                    <a:gd name="connsiteY1" fmla="*/ 0 h 2742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3148" h="27420">
                      <a:moveTo>
                        <a:pt x="13148" y="27421"/>
                      </a:moveTo>
                      <a:lnTo>
                        <a:pt x="0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grpSp>
          <p:nvGrpSpPr>
            <p:cNvPr id="1013" name="Gráfico 13">
              <a:extLst>
                <a:ext uri="{FF2B5EF4-FFF2-40B4-BE49-F238E27FC236}">
                  <a16:creationId xmlns:a16="http://schemas.microsoft.com/office/drawing/2014/main" id="{77CB0F59-A25C-88C0-B82D-7F3BC32C7D41}"/>
                </a:ext>
              </a:extLst>
            </p:cNvPr>
            <p:cNvGrpSpPr/>
            <p:nvPr/>
          </p:nvGrpSpPr>
          <p:grpSpPr>
            <a:xfrm>
              <a:off x="6909673" y="4242870"/>
              <a:ext cx="346155" cy="261645"/>
              <a:chOff x="6909673" y="4242870"/>
              <a:chExt cx="346155" cy="261645"/>
            </a:xfrm>
            <a:noFill/>
          </p:grpSpPr>
          <p:grpSp>
            <p:nvGrpSpPr>
              <p:cNvPr id="1014" name="Gráfico 13">
                <a:extLst>
                  <a:ext uri="{FF2B5EF4-FFF2-40B4-BE49-F238E27FC236}">
                    <a16:creationId xmlns:a16="http://schemas.microsoft.com/office/drawing/2014/main" id="{B158C283-2C4C-98F2-9E62-C2135CAD3313}"/>
                  </a:ext>
                </a:extLst>
              </p:cNvPr>
              <p:cNvGrpSpPr/>
              <p:nvPr/>
            </p:nvGrpSpPr>
            <p:grpSpPr>
              <a:xfrm>
                <a:off x="6909673" y="4352064"/>
                <a:ext cx="94774" cy="152451"/>
                <a:chOff x="6909673" y="4352064"/>
                <a:chExt cx="94774" cy="152451"/>
              </a:xfrm>
              <a:noFill/>
            </p:grpSpPr>
            <p:sp>
              <p:nvSpPr>
                <p:cNvPr id="1015" name="Forma livre: Forma 1014">
                  <a:extLst>
                    <a:ext uri="{FF2B5EF4-FFF2-40B4-BE49-F238E27FC236}">
                      <a16:creationId xmlns:a16="http://schemas.microsoft.com/office/drawing/2014/main" id="{84C00687-78A5-00AA-8BFF-97659C20D32A}"/>
                    </a:ext>
                  </a:extLst>
                </p:cNvPr>
                <p:cNvSpPr/>
                <p:nvPr/>
              </p:nvSpPr>
              <p:spPr>
                <a:xfrm>
                  <a:off x="6913024" y="4379834"/>
                  <a:ext cx="56585" cy="85143"/>
                </a:xfrm>
                <a:custGeom>
                  <a:avLst/>
                  <a:gdLst>
                    <a:gd name="connsiteX0" fmla="*/ 4567 w 56585"/>
                    <a:gd name="connsiteY0" fmla="*/ 46818 h 85143"/>
                    <a:gd name="connsiteX1" fmla="*/ 17129 w 56585"/>
                    <a:gd name="connsiteY1" fmla="*/ 1606 h 85143"/>
                    <a:gd name="connsiteX2" fmla="*/ 53201 w 56585"/>
                    <a:gd name="connsiteY2" fmla="*/ 31715 h 85143"/>
                    <a:gd name="connsiteX3" fmla="*/ 42936 w 56585"/>
                    <a:gd name="connsiteY3" fmla="*/ 84699 h 85143"/>
                    <a:gd name="connsiteX4" fmla="*/ 4518 w 56585"/>
                    <a:gd name="connsiteY4" fmla="*/ 46867 h 8514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6585" h="85143">
                      <a:moveTo>
                        <a:pt x="4567" y="46818"/>
                      </a:moveTo>
                      <a:cubicBezTo>
                        <a:pt x="-3253" y="21744"/>
                        <a:pt x="-2227" y="7618"/>
                        <a:pt x="17129" y="1606"/>
                      </a:cubicBezTo>
                      <a:cubicBezTo>
                        <a:pt x="36485" y="-4406"/>
                        <a:pt x="45429" y="6641"/>
                        <a:pt x="53201" y="31715"/>
                      </a:cubicBezTo>
                      <a:cubicBezTo>
                        <a:pt x="61021" y="56790"/>
                        <a:pt x="54325" y="81131"/>
                        <a:pt x="42936" y="84699"/>
                      </a:cubicBezTo>
                      <a:cubicBezTo>
                        <a:pt x="32085" y="88072"/>
                        <a:pt x="12339" y="71942"/>
                        <a:pt x="4518" y="46867"/>
                      </a:cubicBezTo>
                      <a:close/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016" name="Forma livre: Forma 1015">
                  <a:extLst>
                    <a:ext uri="{FF2B5EF4-FFF2-40B4-BE49-F238E27FC236}">
                      <a16:creationId xmlns:a16="http://schemas.microsoft.com/office/drawing/2014/main" id="{648846F5-C2EA-D044-A593-DE702C9B8ADF}"/>
                    </a:ext>
                  </a:extLst>
                </p:cNvPr>
                <p:cNvSpPr/>
                <p:nvPr/>
              </p:nvSpPr>
              <p:spPr>
                <a:xfrm>
                  <a:off x="6963683" y="4489119"/>
                  <a:ext cx="4790" cy="15396"/>
                </a:xfrm>
                <a:custGeom>
                  <a:avLst/>
                  <a:gdLst>
                    <a:gd name="connsiteX0" fmla="*/ 0 w 4790"/>
                    <a:gd name="connsiteY0" fmla="*/ 0 h 15396"/>
                    <a:gd name="connsiteX1" fmla="*/ 4790 w 4790"/>
                    <a:gd name="connsiteY1" fmla="*/ 15397 h 1539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790" h="15396">
                      <a:moveTo>
                        <a:pt x="0" y="0"/>
                      </a:moveTo>
                      <a:lnTo>
                        <a:pt x="4790" y="15397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grpSp>
              <p:nvGrpSpPr>
                <p:cNvPr id="1017" name="Gráfico 13">
                  <a:extLst>
                    <a:ext uri="{FF2B5EF4-FFF2-40B4-BE49-F238E27FC236}">
                      <a16:creationId xmlns:a16="http://schemas.microsoft.com/office/drawing/2014/main" id="{B044AA13-1183-F76E-6F47-BA961976506A}"/>
                    </a:ext>
                  </a:extLst>
                </p:cNvPr>
                <p:cNvGrpSpPr/>
                <p:nvPr/>
              </p:nvGrpSpPr>
              <p:grpSpPr>
                <a:xfrm>
                  <a:off x="6922381" y="4468052"/>
                  <a:ext cx="82066" cy="32943"/>
                  <a:chOff x="6922381" y="4468052"/>
                  <a:chExt cx="82066" cy="32943"/>
                </a:xfrm>
              </p:grpSpPr>
              <p:sp>
                <p:nvSpPr>
                  <p:cNvPr id="1018" name="Forma livre: Forma 1017">
                    <a:extLst>
                      <a:ext uri="{FF2B5EF4-FFF2-40B4-BE49-F238E27FC236}">
                        <a16:creationId xmlns:a16="http://schemas.microsoft.com/office/drawing/2014/main" id="{1B026769-F873-7FBC-4F11-CA68A67C8FAF}"/>
                      </a:ext>
                    </a:extLst>
                  </p:cNvPr>
                  <p:cNvSpPr/>
                  <p:nvPr/>
                </p:nvSpPr>
                <p:spPr>
                  <a:xfrm>
                    <a:off x="6922381" y="4486773"/>
                    <a:ext cx="7625" cy="14223"/>
                  </a:xfrm>
                  <a:custGeom>
                    <a:avLst/>
                    <a:gdLst>
                      <a:gd name="connsiteX0" fmla="*/ 7625 w 7625"/>
                      <a:gd name="connsiteY0" fmla="*/ 0 h 14223"/>
                      <a:gd name="connsiteX1" fmla="*/ 0 w 7625"/>
                      <a:gd name="connsiteY1" fmla="*/ 14224 h 1422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7625" h="14223">
                        <a:moveTo>
                          <a:pt x="7625" y="0"/>
                        </a:moveTo>
                        <a:lnTo>
                          <a:pt x="0" y="14224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1019" name="Forma livre: Forma 1018">
                    <a:extLst>
                      <a:ext uri="{FF2B5EF4-FFF2-40B4-BE49-F238E27FC236}">
                        <a16:creationId xmlns:a16="http://schemas.microsoft.com/office/drawing/2014/main" id="{D6A7DDB8-345E-E110-DBDF-06F2E83A4DBA}"/>
                      </a:ext>
                    </a:extLst>
                  </p:cNvPr>
                  <p:cNvSpPr/>
                  <p:nvPr/>
                </p:nvSpPr>
                <p:spPr>
                  <a:xfrm>
                    <a:off x="6990126" y="4468052"/>
                    <a:ext cx="14321" cy="7380"/>
                  </a:xfrm>
                  <a:custGeom>
                    <a:avLst/>
                    <a:gdLst>
                      <a:gd name="connsiteX0" fmla="*/ 0 w 14321"/>
                      <a:gd name="connsiteY0" fmla="*/ 0 h 7380"/>
                      <a:gd name="connsiteX1" fmla="*/ 14321 w 14321"/>
                      <a:gd name="connsiteY1" fmla="*/ 7381 h 738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4321" h="7380">
                        <a:moveTo>
                          <a:pt x="0" y="0"/>
                        </a:moveTo>
                        <a:lnTo>
                          <a:pt x="14321" y="7381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  <p:grpSp>
              <p:nvGrpSpPr>
                <p:cNvPr id="1020" name="Gráfico 13">
                  <a:extLst>
                    <a:ext uri="{FF2B5EF4-FFF2-40B4-BE49-F238E27FC236}">
                      <a16:creationId xmlns:a16="http://schemas.microsoft.com/office/drawing/2014/main" id="{11D7E797-2E34-F510-E881-12DEECC2E47F}"/>
                    </a:ext>
                  </a:extLst>
                </p:cNvPr>
                <p:cNvGrpSpPr/>
                <p:nvPr/>
              </p:nvGrpSpPr>
              <p:grpSpPr>
                <a:xfrm>
                  <a:off x="6909673" y="4352064"/>
                  <a:ext cx="34165" cy="36854"/>
                  <a:chOff x="6909673" y="4352064"/>
                  <a:chExt cx="34165" cy="36854"/>
                </a:xfrm>
              </p:grpSpPr>
              <p:sp>
                <p:nvSpPr>
                  <p:cNvPr id="1021" name="Forma livre: Forma 1020">
                    <a:extLst>
                      <a:ext uri="{FF2B5EF4-FFF2-40B4-BE49-F238E27FC236}">
                        <a16:creationId xmlns:a16="http://schemas.microsoft.com/office/drawing/2014/main" id="{5EB337F0-15C5-EBE2-4513-CCE73482D1EB}"/>
                      </a:ext>
                    </a:extLst>
                  </p:cNvPr>
                  <p:cNvSpPr/>
                  <p:nvPr/>
                </p:nvSpPr>
                <p:spPr>
                  <a:xfrm>
                    <a:off x="6909673" y="4359885"/>
                    <a:ext cx="9042" cy="29033"/>
                  </a:xfrm>
                  <a:custGeom>
                    <a:avLst/>
                    <a:gdLst>
                      <a:gd name="connsiteX0" fmla="*/ 9042 w 9042"/>
                      <a:gd name="connsiteY0" fmla="*/ 29034 h 29033"/>
                      <a:gd name="connsiteX1" fmla="*/ 0 w 9042"/>
                      <a:gd name="connsiteY1" fmla="*/ 0 h 2903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9042" h="29033">
                        <a:moveTo>
                          <a:pt x="9042" y="29034"/>
                        </a:moveTo>
                        <a:lnTo>
                          <a:pt x="0" y="0"/>
                        </a:lnTo>
                      </a:path>
                    </a:pathLst>
                  </a:custGeom>
                  <a:ln w="6350" cap="flat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1022" name="Forma livre: Forma 1021">
                    <a:extLst>
                      <a:ext uri="{FF2B5EF4-FFF2-40B4-BE49-F238E27FC236}">
                        <a16:creationId xmlns:a16="http://schemas.microsoft.com/office/drawing/2014/main" id="{A14FA2CE-01EE-091B-DF3D-BACBDC9CE416}"/>
                      </a:ext>
                    </a:extLst>
                  </p:cNvPr>
                  <p:cNvSpPr/>
                  <p:nvPr/>
                </p:nvSpPr>
                <p:spPr>
                  <a:xfrm>
                    <a:off x="6934796" y="4352064"/>
                    <a:ext cx="9042" cy="29033"/>
                  </a:xfrm>
                  <a:custGeom>
                    <a:avLst/>
                    <a:gdLst>
                      <a:gd name="connsiteX0" fmla="*/ 9042 w 9042"/>
                      <a:gd name="connsiteY0" fmla="*/ 29034 h 29033"/>
                      <a:gd name="connsiteX1" fmla="*/ 0 w 9042"/>
                      <a:gd name="connsiteY1" fmla="*/ 0 h 2903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9042" h="29033">
                        <a:moveTo>
                          <a:pt x="9042" y="29034"/>
                        </a:moveTo>
                        <a:lnTo>
                          <a:pt x="0" y="0"/>
                        </a:lnTo>
                      </a:path>
                    </a:pathLst>
                  </a:custGeom>
                  <a:ln w="6350" cap="flat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</p:grpSp>
          <p:grpSp>
            <p:nvGrpSpPr>
              <p:cNvPr id="1023" name="Gráfico 13">
                <a:extLst>
                  <a:ext uri="{FF2B5EF4-FFF2-40B4-BE49-F238E27FC236}">
                    <a16:creationId xmlns:a16="http://schemas.microsoft.com/office/drawing/2014/main" id="{6DCD427A-783C-C6E6-49EC-7BFE4F7FC171}"/>
                  </a:ext>
                </a:extLst>
              </p:cNvPr>
              <p:cNvGrpSpPr/>
              <p:nvPr/>
            </p:nvGrpSpPr>
            <p:grpSpPr>
              <a:xfrm>
                <a:off x="7131922" y="4242870"/>
                <a:ext cx="123906" cy="146292"/>
                <a:chOff x="7131922" y="4242870"/>
                <a:chExt cx="123906" cy="146292"/>
              </a:xfrm>
              <a:noFill/>
            </p:grpSpPr>
            <p:sp>
              <p:nvSpPr>
                <p:cNvPr id="1024" name="Forma livre: Forma 1023">
                  <a:extLst>
                    <a:ext uri="{FF2B5EF4-FFF2-40B4-BE49-F238E27FC236}">
                      <a16:creationId xmlns:a16="http://schemas.microsoft.com/office/drawing/2014/main" id="{76155764-6920-2B86-F021-7EBF85F4BD13}"/>
                    </a:ext>
                  </a:extLst>
                </p:cNvPr>
                <p:cNvSpPr/>
                <p:nvPr/>
              </p:nvSpPr>
              <p:spPr>
                <a:xfrm>
                  <a:off x="7146315" y="4267222"/>
                  <a:ext cx="66398" cy="79319"/>
                </a:xfrm>
                <a:custGeom>
                  <a:avLst/>
                  <a:gdLst>
                    <a:gd name="connsiteX0" fmla="*/ 54525 w 66398"/>
                    <a:gd name="connsiteY0" fmla="*/ 23646 h 79319"/>
                    <a:gd name="connsiteX1" fmla="*/ 11415 w 66398"/>
                    <a:gd name="connsiteY1" fmla="*/ 5121 h 79319"/>
                    <a:gd name="connsiteX2" fmla="*/ 12245 w 66398"/>
                    <a:gd name="connsiteY2" fmla="*/ 52093 h 79319"/>
                    <a:gd name="connsiteX3" fmla="*/ 59951 w 66398"/>
                    <a:gd name="connsiteY3" fmla="*/ 77315 h 79319"/>
                    <a:gd name="connsiteX4" fmla="*/ 54525 w 66398"/>
                    <a:gd name="connsiteY4" fmla="*/ 23695 h 7931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66398" h="79319">
                      <a:moveTo>
                        <a:pt x="54525" y="23646"/>
                      </a:moveTo>
                      <a:cubicBezTo>
                        <a:pt x="39862" y="1847"/>
                        <a:pt x="28229" y="-6218"/>
                        <a:pt x="11415" y="5121"/>
                      </a:cubicBezTo>
                      <a:cubicBezTo>
                        <a:pt x="-5400" y="16461"/>
                        <a:pt x="-2369" y="30343"/>
                        <a:pt x="12245" y="52093"/>
                      </a:cubicBezTo>
                      <a:cubicBezTo>
                        <a:pt x="26909" y="73893"/>
                        <a:pt x="50077" y="83913"/>
                        <a:pt x="59951" y="77315"/>
                      </a:cubicBezTo>
                      <a:cubicBezTo>
                        <a:pt x="69384" y="70960"/>
                        <a:pt x="69189" y="45446"/>
                        <a:pt x="54525" y="23695"/>
                      </a:cubicBezTo>
                      <a:close/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025" name="Forma livre: Forma 1024">
                  <a:extLst>
                    <a:ext uri="{FF2B5EF4-FFF2-40B4-BE49-F238E27FC236}">
                      <a16:creationId xmlns:a16="http://schemas.microsoft.com/office/drawing/2014/main" id="{D6613296-ED7C-934F-ED43-8BA94BAD9501}"/>
                    </a:ext>
                  </a:extLst>
                </p:cNvPr>
                <p:cNvSpPr/>
                <p:nvPr/>
              </p:nvSpPr>
              <p:spPr>
                <a:xfrm>
                  <a:off x="7220685" y="4365945"/>
                  <a:ext cx="8993" cy="13392"/>
                </a:xfrm>
                <a:custGeom>
                  <a:avLst/>
                  <a:gdLst>
                    <a:gd name="connsiteX0" fmla="*/ 0 w 8993"/>
                    <a:gd name="connsiteY0" fmla="*/ 0 h 13392"/>
                    <a:gd name="connsiteX1" fmla="*/ 8994 w 8993"/>
                    <a:gd name="connsiteY1" fmla="*/ 13393 h 133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8993" h="13392">
                      <a:moveTo>
                        <a:pt x="0" y="0"/>
                      </a:moveTo>
                      <a:lnTo>
                        <a:pt x="8994" y="13393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grpSp>
              <p:nvGrpSpPr>
                <p:cNvPr id="1026" name="Gráfico 13">
                  <a:extLst>
                    <a:ext uri="{FF2B5EF4-FFF2-40B4-BE49-F238E27FC236}">
                      <a16:creationId xmlns:a16="http://schemas.microsoft.com/office/drawing/2014/main" id="{ADE57B89-A0D5-B7B8-0BD7-593670C92A4B}"/>
                    </a:ext>
                  </a:extLst>
                </p:cNvPr>
                <p:cNvGrpSpPr/>
                <p:nvPr/>
              </p:nvGrpSpPr>
              <p:grpSpPr>
                <a:xfrm>
                  <a:off x="7184466" y="4338232"/>
                  <a:ext cx="71362" cy="50931"/>
                  <a:chOff x="7184466" y="4338232"/>
                  <a:chExt cx="71362" cy="50931"/>
                </a:xfrm>
              </p:grpSpPr>
              <p:sp>
                <p:nvSpPr>
                  <p:cNvPr id="1027" name="Forma livre: Forma 1026">
                    <a:extLst>
                      <a:ext uri="{FF2B5EF4-FFF2-40B4-BE49-F238E27FC236}">
                        <a16:creationId xmlns:a16="http://schemas.microsoft.com/office/drawing/2014/main" id="{F55BC9AD-2352-7B2F-9153-A8AD935F2E56}"/>
                      </a:ext>
                    </a:extLst>
                  </p:cNvPr>
                  <p:cNvSpPr/>
                  <p:nvPr/>
                </p:nvSpPr>
                <p:spPr>
                  <a:xfrm>
                    <a:off x="7239943" y="4338232"/>
                    <a:ext cx="15885" cy="2932"/>
                  </a:xfrm>
                  <a:custGeom>
                    <a:avLst/>
                    <a:gdLst>
                      <a:gd name="connsiteX0" fmla="*/ 0 w 15885"/>
                      <a:gd name="connsiteY0" fmla="*/ 0 h 2932"/>
                      <a:gd name="connsiteX1" fmla="*/ 15885 w 15885"/>
                      <a:gd name="connsiteY1" fmla="*/ 2933 h 293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5885" h="2932">
                        <a:moveTo>
                          <a:pt x="0" y="0"/>
                        </a:moveTo>
                        <a:lnTo>
                          <a:pt x="15885" y="2933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1028" name="Forma livre: Forma 1027">
                    <a:extLst>
                      <a:ext uri="{FF2B5EF4-FFF2-40B4-BE49-F238E27FC236}">
                        <a16:creationId xmlns:a16="http://schemas.microsoft.com/office/drawing/2014/main" id="{E7BE4A8E-DCB3-75CC-59E3-983F78C2C3DD}"/>
                      </a:ext>
                    </a:extLst>
                  </p:cNvPr>
                  <p:cNvSpPr/>
                  <p:nvPr/>
                </p:nvSpPr>
                <p:spPr>
                  <a:xfrm>
                    <a:off x="7184466" y="4373375"/>
                    <a:ext cx="3225" cy="15787"/>
                  </a:xfrm>
                  <a:custGeom>
                    <a:avLst/>
                    <a:gdLst>
                      <a:gd name="connsiteX0" fmla="*/ 3226 w 3225"/>
                      <a:gd name="connsiteY0" fmla="*/ 0 h 15787"/>
                      <a:gd name="connsiteX1" fmla="*/ 0 w 3225"/>
                      <a:gd name="connsiteY1" fmla="*/ 15788 h 157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3225" h="15787">
                        <a:moveTo>
                          <a:pt x="3226" y="0"/>
                        </a:moveTo>
                        <a:lnTo>
                          <a:pt x="0" y="15788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  <p:grpSp>
              <p:nvGrpSpPr>
                <p:cNvPr id="1029" name="Gráfico 13">
                  <a:extLst>
                    <a:ext uri="{FF2B5EF4-FFF2-40B4-BE49-F238E27FC236}">
                      <a16:creationId xmlns:a16="http://schemas.microsoft.com/office/drawing/2014/main" id="{76B02573-6BD8-DE2B-E0C0-A38027AD8B21}"/>
                    </a:ext>
                  </a:extLst>
                </p:cNvPr>
                <p:cNvGrpSpPr/>
                <p:nvPr/>
              </p:nvGrpSpPr>
              <p:grpSpPr>
                <a:xfrm>
                  <a:off x="7131922" y="4242870"/>
                  <a:ext cx="38809" cy="39933"/>
                  <a:chOff x="7131922" y="4242870"/>
                  <a:chExt cx="38809" cy="39933"/>
                </a:xfrm>
              </p:grpSpPr>
              <p:sp>
                <p:nvSpPr>
                  <p:cNvPr id="1030" name="Forma livre: Forma 1029">
                    <a:extLst>
                      <a:ext uri="{FF2B5EF4-FFF2-40B4-BE49-F238E27FC236}">
                        <a16:creationId xmlns:a16="http://schemas.microsoft.com/office/drawing/2014/main" id="{42A60C04-FAB9-21B0-93E3-BFD1498F6A9F}"/>
                      </a:ext>
                    </a:extLst>
                  </p:cNvPr>
                  <p:cNvSpPr/>
                  <p:nvPr/>
                </p:nvSpPr>
                <p:spPr>
                  <a:xfrm>
                    <a:off x="7153770" y="4242870"/>
                    <a:ext cx="16960" cy="25270"/>
                  </a:xfrm>
                  <a:custGeom>
                    <a:avLst/>
                    <a:gdLst>
                      <a:gd name="connsiteX0" fmla="*/ 16961 w 16960"/>
                      <a:gd name="connsiteY0" fmla="*/ 25270 h 25270"/>
                      <a:gd name="connsiteX1" fmla="*/ 0 w 16960"/>
                      <a:gd name="connsiteY1" fmla="*/ 0 h 2527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6960" h="25270">
                        <a:moveTo>
                          <a:pt x="16961" y="25270"/>
                        </a:moveTo>
                        <a:lnTo>
                          <a:pt x="0" y="0"/>
                        </a:lnTo>
                      </a:path>
                    </a:pathLst>
                  </a:custGeom>
                  <a:ln w="6350" cap="flat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1031" name="Forma livre: Forma 1030">
                    <a:extLst>
                      <a:ext uri="{FF2B5EF4-FFF2-40B4-BE49-F238E27FC236}">
                        <a16:creationId xmlns:a16="http://schemas.microsoft.com/office/drawing/2014/main" id="{A285E374-77DE-E104-BB1C-CAAE6BE5FE99}"/>
                      </a:ext>
                    </a:extLst>
                  </p:cNvPr>
                  <p:cNvSpPr/>
                  <p:nvPr/>
                </p:nvSpPr>
                <p:spPr>
                  <a:xfrm>
                    <a:off x="7131922" y="4257582"/>
                    <a:ext cx="16960" cy="25221"/>
                  </a:xfrm>
                  <a:custGeom>
                    <a:avLst/>
                    <a:gdLst>
                      <a:gd name="connsiteX0" fmla="*/ 16961 w 16960"/>
                      <a:gd name="connsiteY0" fmla="*/ 25221 h 25221"/>
                      <a:gd name="connsiteX1" fmla="*/ 0 w 16960"/>
                      <a:gd name="connsiteY1" fmla="*/ 0 h 2522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6960" h="25221">
                        <a:moveTo>
                          <a:pt x="16961" y="25221"/>
                        </a:moveTo>
                        <a:lnTo>
                          <a:pt x="0" y="0"/>
                        </a:lnTo>
                      </a:path>
                    </a:pathLst>
                  </a:custGeom>
                  <a:ln w="6350" cap="flat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</p:grpSp>
        </p:grpSp>
      </p:grpSp>
      <p:grpSp>
        <p:nvGrpSpPr>
          <p:cNvPr id="1032" name="Gráfico 13">
            <a:extLst>
              <a:ext uri="{FF2B5EF4-FFF2-40B4-BE49-F238E27FC236}">
                <a16:creationId xmlns:a16="http://schemas.microsoft.com/office/drawing/2014/main" id="{292654B6-10AC-44FC-D8FF-BCD964CCFC04}"/>
              </a:ext>
            </a:extLst>
          </p:cNvPr>
          <p:cNvGrpSpPr/>
          <p:nvPr/>
        </p:nvGrpSpPr>
        <p:grpSpPr>
          <a:xfrm>
            <a:off x="7561610" y="4208900"/>
            <a:ext cx="260374" cy="297033"/>
            <a:chOff x="7561610" y="4208900"/>
            <a:chExt cx="260374" cy="297033"/>
          </a:xfrm>
          <a:noFill/>
        </p:grpSpPr>
        <p:sp>
          <p:nvSpPr>
            <p:cNvPr id="1033" name="Forma livre: Forma 1032">
              <a:extLst>
                <a:ext uri="{FF2B5EF4-FFF2-40B4-BE49-F238E27FC236}">
                  <a16:creationId xmlns:a16="http://schemas.microsoft.com/office/drawing/2014/main" id="{2F2BD667-DA71-8CAF-FF89-30BBBCCEA199}"/>
                </a:ext>
              </a:extLst>
            </p:cNvPr>
            <p:cNvSpPr/>
            <p:nvPr/>
          </p:nvSpPr>
          <p:spPr>
            <a:xfrm>
              <a:off x="7662837" y="4328505"/>
              <a:ext cx="57871" cy="57871"/>
            </a:xfrm>
            <a:custGeom>
              <a:avLst/>
              <a:gdLst>
                <a:gd name="connsiteX0" fmla="*/ 57872 w 57871"/>
                <a:gd name="connsiteY0" fmla="*/ 28936 h 57871"/>
                <a:gd name="connsiteX1" fmla="*/ 28936 w 57871"/>
                <a:gd name="connsiteY1" fmla="*/ 57872 h 57871"/>
                <a:gd name="connsiteX2" fmla="*/ 0 w 57871"/>
                <a:gd name="connsiteY2" fmla="*/ 28936 h 57871"/>
                <a:gd name="connsiteX3" fmla="*/ 28936 w 57871"/>
                <a:gd name="connsiteY3" fmla="*/ 0 h 57871"/>
                <a:gd name="connsiteX4" fmla="*/ 57872 w 57871"/>
                <a:gd name="connsiteY4" fmla="*/ 28936 h 578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871" h="57871">
                  <a:moveTo>
                    <a:pt x="57872" y="28936"/>
                  </a:moveTo>
                  <a:cubicBezTo>
                    <a:pt x="57872" y="44919"/>
                    <a:pt x="44919" y="57872"/>
                    <a:pt x="28936" y="57872"/>
                  </a:cubicBezTo>
                  <a:cubicBezTo>
                    <a:pt x="12953" y="57872"/>
                    <a:pt x="0" y="44919"/>
                    <a:pt x="0" y="28936"/>
                  </a:cubicBezTo>
                  <a:cubicBezTo>
                    <a:pt x="0" y="12953"/>
                    <a:pt x="12953" y="0"/>
                    <a:pt x="28936" y="0"/>
                  </a:cubicBezTo>
                  <a:cubicBezTo>
                    <a:pt x="44919" y="0"/>
                    <a:pt x="57872" y="12953"/>
                    <a:pt x="57872" y="28936"/>
                  </a:cubicBez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034" name="Gráfico 13">
              <a:extLst>
                <a:ext uri="{FF2B5EF4-FFF2-40B4-BE49-F238E27FC236}">
                  <a16:creationId xmlns:a16="http://schemas.microsoft.com/office/drawing/2014/main" id="{560189C9-8FF7-6594-A084-C84363666391}"/>
                </a:ext>
              </a:extLst>
            </p:cNvPr>
            <p:cNvGrpSpPr/>
            <p:nvPr/>
          </p:nvGrpSpPr>
          <p:grpSpPr>
            <a:xfrm>
              <a:off x="7649005" y="4208900"/>
              <a:ext cx="85634" cy="297033"/>
              <a:chOff x="7649005" y="4208900"/>
              <a:chExt cx="85634" cy="297033"/>
            </a:xfrm>
          </p:grpSpPr>
          <p:grpSp>
            <p:nvGrpSpPr>
              <p:cNvPr id="1035" name="Gráfico 13">
                <a:extLst>
                  <a:ext uri="{FF2B5EF4-FFF2-40B4-BE49-F238E27FC236}">
                    <a16:creationId xmlns:a16="http://schemas.microsoft.com/office/drawing/2014/main" id="{BC784883-A011-8F14-5FB8-43EDFF3B685D}"/>
                  </a:ext>
                </a:extLst>
              </p:cNvPr>
              <p:cNvGrpSpPr/>
              <p:nvPr/>
            </p:nvGrpSpPr>
            <p:grpSpPr>
              <a:xfrm>
                <a:off x="7649005" y="4208900"/>
                <a:ext cx="85634" cy="117503"/>
                <a:chOff x="7649005" y="4208900"/>
                <a:chExt cx="85634" cy="117503"/>
              </a:xfrm>
            </p:grpSpPr>
            <p:sp>
              <p:nvSpPr>
                <p:cNvPr id="1036" name="Forma livre: Forma 1035">
                  <a:extLst>
                    <a:ext uri="{FF2B5EF4-FFF2-40B4-BE49-F238E27FC236}">
                      <a16:creationId xmlns:a16="http://schemas.microsoft.com/office/drawing/2014/main" id="{034A1532-FC34-BD0A-06B6-22B34A5E29C5}"/>
                    </a:ext>
                  </a:extLst>
                </p:cNvPr>
                <p:cNvSpPr/>
                <p:nvPr/>
              </p:nvSpPr>
              <p:spPr>
                <a:xfrm>
                  <a:off x="7691822" y="4208900"/>
                  <a:ext cx="4887" cy="117503"/>
                </a:xfrm>
                <a:custGeom>
                  <a:avLst/>
                  <a:gdLst>
                    <a:gd name="connsiteX0" fmla="*/ 0 w 4887"/>
                    <a:gd name="connsiteY0" fmla="*/ 0 h 117503"/>
                    <a:gd name="connsiteX1" fmla="*/ 0 w 4887"/>
                    <a:gd name="connsiteY1" fmla="*/ 117503 h 117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887" h="117503">
                      <a:moveTo>
                        <a:pt x="0" y="0"/>
                      </a:moveTo>
                      <a:lnTo>
                        <a:pt x="0" y="117503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037" name="Forma livre: Forma 1036">
                  <a:extLst>
                    <a:ext uri="{FF2B5EF4-FFF2-40B4-BE49-F238E27FC236}">
                      <a16:creationId xmlns:a16="http://schemas.microsoft.com/office/drawing/2014/main" id="{CB99AACC-6222-B9F4-12E6-45B9BA052134}"/>
                    </a:ext>
                  </a:extLst>
                </p:cNvPr>
                <p:cNvSpPr/>
                <p:nvPr/>
              </p:nvSpPr>
              <p:spPr>
                <a:xfrm>
                  <a:off x="7693386" y="4231824"/>
                  <a:ext cx="41253" cy="41644"/>
                </a:xfrm>
                <a:custGeom>
                  <a:avLst/>
                  <a:gdLst>
                    <a:gd name="connsiteX0" fmla="*/ 0 w 41253"/>
                    <a:gd name="connsiteY0" fmla="*/ 41644 h 41644"/>
                    <a:gd name="connsiteX1" fmla="*/ 41253 w 41253"/>
                    <a:gd name="connsiteY1" fmla="*/ 0 h 4164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1253" h="41644">
                      <a:moveTo>
                        <a:pt x="0" y="41644"/>
                      </a:moveTo>
                      <a:lnTo>
                        <a:pt x="41253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038" name="Forma livre: Forma 1037">
                  <a:extLst>
                    <a:ext uri="{FF2B5EF4-FFF2-40B4-BE49-F238E27FC236}">
                      <a16:creationId xmlns:a16="http://schemas.microsoft.com/office/drawing/2014/main" id="{4CBB7334-CADE-986B-7A60-5384430BE5A9}"/>
                    </a:ext>
                  </a:extLst>
                </p:cNvPr>
                <p:cNvSpPr/>
                <p:nvPr/>
              </p:nvSpPr>
              <p:spPr>
                <a:xfrm>
                  <a:off x="7649005" y="4231824"/>
                  <a:ext cx="41253" cy="41644"/>
                </a:xfrm>
                <a:custGeom>
                  <a:avLst/>
                  <a:gdLst>
                    <a:gd name="connsiteX0" fmla="*/ 41253 w 41253"/>
                    <a:gd name="connsiteY0" fmla="*/ 41644 h 41644"/>
                    <a:gd name="connsiteX1" fmla="*/ 0 w 41253"/>
                    <a:gd name="connsiteY1" fmla="*/ 0 h 4164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1253" h="41644">
                      <a:moveTo>
                        <a:pt x="41253" y="41644"/>
                      </a:moveTo>
                      <a:lnTo>
                        <a:pt x="0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1039" name="Gráfico 13">
                <a:extLst>
                  <a:ext uri="{FF2B5EF4-FFF2-40B4-BE49-F238E27FC236}">
                    <a16:creationId xmlns:a16="http://schemas.microsoft.com/office/drawing/2014/main" id="{4D992045-42A0-0158-931E-FC16D4B31223}"/>
                  </a:ext>
                </a:extLst>
              </p:cNvPr>
              <p:cNvGrpSpPr/>
              <p:nvPr/>
            </p:nvGrpSpPr>
            <p:grpSpPr>
              <a:xfrm>
                <a:off x="7649005" y="4388478"/>
                <a:ext cx="85634" cy="117454"/>
                <a:chOff x="7649005" y="4388478"/>
                <a:chExt cx="85634" cy="117454"/>
              </a:xfrm>
            </p:grpSpPr>
            <p:sp>
              <p:nvSpPr>
                <p:cNvPr id="1040" name="Forma livre: Forma 1039">
                  <a:extLst>
                    <a:ext uri="{FF2B5EF4-FFF2-40B4-BE49-F238E27FC236}">
                      <a16:creationId xmlns:a16="http://schemas.microsoft.com/office/drawing/2014/main" id="{9BC35EA5-A174-CBCB-193F-94E33C43960F}"/>
                    </a:ext>
                  </a:extLst>
                </p:cNvPr>
                <p:cNvSpPr/>
                <p:nvPr/>
              </p:nvSpPr>
              <p:spPr>
                <a:xfrm>
                  <a:off x="7691822" y="4388478"/>
                  <a:ext cx="4887" cy="117454"/>
                </a:xfrm>
                <a:custGeom>
                  <a:avLst/>
                  <a:gdLst>
                    <a:gd name="connsiteX0" fmla="*/ 0 w 4887"/>
                    <a:gd name="connsiteY0" fmla="*/ 117454 h 117454"/>
                    <a:gd name="connsiteX1" fmla="*/ 0 w 4887"/>
                    <a:gd name="connsiteY1" fmla="*/ 0 h 11745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887" h="117454">
                      <a:moveTo>
                        <a:pt x="0" y="117454"/>
                      </a:moveTo>
                      <a:lnTo>
                        <a:pt x="0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041" name="Forma livre: Forma 1040">
                  <a:extLst>
                    <a:ext uri="{FF2B5EF4-FFF2-40B4-BE49-F238E27FC236}">
                      <a16:creationId xmlns:a16="http://schemas.microsoft.com/office/drawing/2014/main" id="{47CD5245-656F-875A-9294-54DBFDAFC576}"/>
                    </a:ext>
                  </a:extLst>
                </p:cNvPr>
                <p:cNvSpPr/>
                <p:nvPr/>
              </p:nvSpPr>
              <p:spPr>
                <a:xfrm>
                  <a:off x="7649005" y="4441365"/>
                  <a:ext cx="41253" cy="41644"/>
                </a:xfrm>
                <a:custGeom>
                  <a:avLst/>
                  <a:gdLst>
                    <a:gd name="connsiteX0" fmla="*/ 41253 w 41253"/>
                    <a:gd name="connsiteY0" fmla="*/ 0 h 41644"/>
                    <a:gd name="connsiteX1" fmla="*/ 0 w 41253"/>
                    <a:gd name="connsiteY1" fmla="*/ 41644 h 4164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1253" h="41644">
                      <a:moveTo>
                        <a:pt x="41253" y="0"/>
                      </a:moveTo>
                      <a:lnTo>
                        <a:pt x="0" y="41644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042" name="Forma livre: Forma 1041">
                  <a:extLst>
                    <a:ext uri="{FF2B5EF4-FFF2-40B4-BE49-F238E27FC236}">
                      <a16:creationId xmlns:a16="http://schemas.microsoft.com/office/drawing/2014/main" id="{212656DA-3F13-12F9-B974-84F6B3056933}"/>
                    </a:ext>
                  </a:extLst>
                </p:cNvPr>
                <p:cNvSpPr/>
                <p:nvPr/>
              </p:nvSpPr>
              <p:spPr>
                <a:xfrm>
                  <a:off x="7693386" y="4441365"/>
                  <a:ext cx="41253" cy="41644"/>
                </a:xfrm>
                <a:custGeom>
                  <a:avLst/>
                  <a:gdLst>
                    <a:gd name="connsiteX0" fmla="*/ 0 w 41253"/>
                    <a:gd name="connsiteY0" fmla="*/ 0 h 41644"/>
                    <a:gd name="connsiteX1" fmla="*/ 41253 w 41253"/>
                    <a:gd name="connsiteY1" fmla="*/ 41644 h 4164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1253" h="41644">
                      <a:moveTo>
                        <a:pt x="0" y="0"/>
                      </a:moveTo>
                      <a:lnTo>
                        <a:pt x="41253" y="41644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grpSp>
          <p:nvGrpSpPr>
            <p:cNvPr id="1043" name="Gráfico 13">
              <a:extLst>
                <a:ext uri="{FF2B5EF4-FFF2-40B4-BE49-F238E27FC236}">
                  <a16:creationId xmlns:a16="http://schemas.microsoft.com/office/drawing/2014/main" id="{34AD6E92-6741-9FD1-8711-27C8C7A12C24}"/>
                </a:ext>
              </a:extLst>
            </p:cNvPr>
            <p:cNvGrpSpPr/>
            <p:nvPr/>
          </p:nvGrpSpPr>
          <p:grpSpPr>
            <a:xfrm>
              <a:off x="7561610" y="4257631"/>
              <a:ext cx="260374" cy="199569"/>
              <a:chOff x="7561610" y="4257631"/>
              <a:chExt cx="260374" cy="199569"/>
            </a:xfrm>
          </p:grpSpPr>
          <p:grpSp>
            <p:nvGrpSpPr>
              <p:cNvPr id="1044" name="Gráfico 13">
                <a:extLst>
                  <a:ext uri="{FF2B5EF4-FFF2-40B4-BE49-F238E27FC236}">
                    <a16:creationId xmlns:a16="http://schemas.microsoft.com/office/drawing/2014/main" id="{747B8ADE-34F0-C7DC-0329-B9823CA4C6C2}"/>
                  </a:ext>
                </a:extLst>
              </p:cNvPr>
              <p:cNvGrpSpPr/>
              <p:nvPr/>
            </p:nvGrpSpPr>
            <p:grpSpPr>
              <a:xfrm>
                <a:off x="7718705" y="4257631"/>
                <a:ext cx="103279" cy="84314"/>
                <a:chOff x="7718705" y="4257631"/>
                <a:chExt cx="103279" cy="84314"/>
              </a:xfrm>
            </p:grpSpPr>
            <p:sp>
              <p:nvSpPr>
                <p:cNvPr id="1045" name="Forma livre: Forma 1044">
                  <a:extLst>
                    <a:ext uri="{FF2B5EF4-FFF2-40B4-BE49-F238E27FC236}">
                      <a16:creationId xmlns:a16="http://schemas.microsoft.com/office/drawing/2014/main" id="{103B988B-7782-2048-18D1-D7D3C9177CF8}"/>
                    </a:ext>
                  </a:extLst>
                </p:cNvPr>
                <p:cNvSpPr/>
                <p:nvPr/>
              </p:nvSpPr>
              <p:spPr>
                <a:xfrm>
                  <a:off x="7718705" y="4283292"/>
                  <a:ext cx="101813" cy="58653"/>
                </a:xfrm>
                <a:custGeom>
                  <a:avLst/>
                  <a:gdLst>
                    <a:gd name="connsiteX0" fmla="*/ 101813 w 101813"/>
                    <a:gd name="connsiteY0" fmla="*/ 0 h 58653"/>
                    <a:gd name="connsiteX1" fmla="*/ 0 w 101813"/>
                    <a:gd name="connsiteY1" fmla="*/ 58654 h 5865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01813" h="58653">
                      <a:moveTo>
                        <a:pt x="101813" y="0"/>
                      </a:moveTo>
                      <a:lnTo>
                        <a:pt x="0" y="58654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046" name="Forma livre: Forma 1045">
                  <a:extLst>
                    <a:ext uri="{FF2B5EF4-FFF2-40B4-BE49-F238E27FC236}">
                      <a16:creationId xmlns:a16="http://schemas.microsoft.com/office/drawing/2014/main" id="{A81042D8-3160-E030-7700-3F830C629DF7}"/>
                    </a:ext>
                  </a:extLst>
                </p:cNvPr>
                <p:cNvSpPr/>
                <p:nvPr/>
              </p:nvSpPr>
              <p:spPr>
                <a:xfrm>
                  <a:off x="7765335" y="4316872"/>
                  <a:ext cx="56649" cy="14956"/>
                </a:xfrm>
                <a:custGeom>
                  <a:avLst/>
                  <a:gdLst>
                    <a:gd name="connsiteX0" fmla="*/ 0 w 56649"/>
                    <a:gd name="connsiteY0" fmla="*/ 0 h 14956"/>
                    <a:gd name="connsiteX1" fmla="*/ 56650 w 56649"/>
                    <a:gd name="connsiteY1" fmla="*/ 14957 h 1495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56649" h="14956">
                      <a:moveTo>
                        <a:pt x="0" y="0"/>
                      </a:moveTo>
                      <a:lnTo>
                        <a:pt x="56650" y="14957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047" name="Forma livre: Forma 1046">
                  <a:extLst>
                    <a:ext uri="{FF2B5EF4-FFF2-40B4-BE49-F238E27FC236}">
                      <a16:creationId xmlns:a16="http://schemas.microsoft.com/office/drawing/2014/main" id="{D8952E43-F366-2A19-CA46-19238FF59065}"/>
                    </a:ext>
                  </a:extLst>
                </p:cNvPr>
                <p:cNvSpPr/>
                <p:nvPr/>
              </p:nvSpPr>
              <p:spPr>
                <a:xfrm>
                  <a:off x="7763771" y="4257631"/>
                  <a:ext cx="15494" cy="56552"/>
                </a:xfrm>
                <a:custGeom>
                  <a:avLst/>
                  <a:gdLst>
                    <a:gd name="connsiteX0" fmla="*/ 0 w 15494"/>
                    <a:gd name="connsiteY0" fmla="*/ 56552 h 56552"/>
                    <a:gd name="connsiteX1" fmla="*/ 15494 w 15494"/>
                    <a:gd name="connsiteY1" fmla="*/ 0 h 5655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5494" h="56552">
                      <a:moveTo>
                        <a:pt x="0" y="56552"/>
                      </a:moveTo>
                      <a:lnTo>
                        <a:pt x="15494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1048" name="Gráfico 13">
                <a:extLst>
                  <a:ext uri="{FF2B5EF4-FFF2-40B4-BE49-F238E27FC236}">
                    <a16:creationId xmlns:a16="http://schemas.microsoft.com/office/drawing/2014/main" id="{4BEAE48C-CBAF-C05C-8B00-72DA0B33DB14}"/>
                  </a:ext>
                </a:extLst>
              </p:cNvPr>
              <p:cNvGrpSpPr/>
              <p:nvPr/>
            </p:nvGrpSpPr>
            <p:grpSpPr>
              <a:xfrm>
                <a:off x="7561610" y="4372935"/>
                <a:ext cx="103328" cy="84266"/>
                <a:chOff x="7561610" y="4372935"/>
                <a:chExt cx="103328" cy="84266"/>
              </a:xfrm>
            </p:grpSpPr>
            <p:sp>
              <p:nvSpPr>
                <p:cNvPr id="1049" name="Forma livre: Forma 1048">
                  <a:extLst>
                    <a:ext uri="{FF2B5EF4-FFF2-40B4-BE49-F238E27FC236}">
                      <a16:creationId xmlns:a16="http://schemas.microsoft.com/office/drawing/2014/main" id="{12CC8720-67F4-D176-BCEA-3439EAE60F4B}"/>
                    </a:ext>
                  </a:extLst>
                </p:cNvPr>
                <p:cNvSpPr/>
                <p:nvPr/>
              </p:nvSpPr>
              <p:spPr>
                <a:xfrm>
                  <a:off x="7563126" y="4372935"/>
                  <a:ext cx="101813" cy="58605"/>
                </a:xfrm>
                <a:custGeom>
                  <a:avLst/>
                  <a:gdLst>
                    <a:gd name="connsiteX0" fmla="*/ 0 w 101813"/>
                    <a:gd name="connsiteY0" fmla="*/ 58605 h 58605"/>
                    <a:gd name="connsiteX1" fmla="*/ 101813 w 101813"/>
                    <a:gd name="connsiteY1" fmla="*/ 0 h 5860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01813" h="58605">
                      <a:moveTo>
                        <a:pt x="0" y="58605"/>
                      </a:moveTo>
                      <a:lnTo>
                        <a:pt x="101813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050" name="Forma livre: Forma 1049">
                  <a:extLst>
                    <a:ext uri="{FF2B5EF4-FFF2-40B4-BE49-F238E27FC236}">
                      <a16:creationId xmlns:a16="http://schemas.microsoft.com/office/drawing/2014/main" id="{95B46D53-C78C-109F-F159-9FB391DA1A62}"/>
                    </a:ext>
                  </a:extLst>
                </p:cNvPr>
                <p:cNvSpPr/>
                <p:nvPr/>
              </p:nvSpPr>
              <p:spPr>
                <a:xfrm>
                  <a:off x="7561610" y="4383004"/>
                  <a:ext cx="56698" cy="14956"/>
                </a:xfrm>
                <a:custGeom>
                  <a:avLst/>
                  <a:gdLst>
                    <a:gd name="connsiteX0" fmla="*/ 56699 w 56698"/>
                    <a:gd name="connsiteY0" fmla="*/ 14957 h 14956"/>
                    <a:gd name="connsiteX1" fmla="*/ 0 w 56698"/>
                    <a:gd name="connsiteY1" fmla="*/ 0 h 1495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56698" h="14956">
                      <a:moveTo>
                        <a:pt x="56699" y="14957"/>
                      </a:moveTo>
                      <a:lnTo>
                        <a:pt x="0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051" name="Forma livre: Forma 1050">
                  <a:extLst>
                    <a:ext uri="{FF2B5EF4-FFF2-40B4-BE49-F238E27FC236}">
                      <a16:creationId xmlns:a16="http://schemas.microsoft.com/office/drawing/2014/main" id="{535AD020-A21F-F141-50FB-FB1716C64712}"/>
                    </a:ext>
                  </a:extLst>
                </p:cNvPr>
                <p:cNvSpPr/>
                <p:nvPr/>
              </p:nvSpPr>
              <p:spPr>
                <a:xfrm>
                  <a:off x="7604379" y="4400649"/>
                  <a:ext cx="15494" cy="56552"/>
                </a:xfrm>
                <a:custGeom>
                  <a:avLst/>
                  <a:gdLst>
                    <a:gd name="connsiteX0" fmla="*/ 15494 w 15494"/>
                    <a:gd name="connsiteY0" fmla="*/ 0 h 56552"/>
                    <a:gd name="connsiteX1" fmla="*/ 0 w 15494"/>
                    <a:gd name="connsiteY1" fmla="*/ 56552 h 5655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5494" h="56552">
                      <a:moveTo>
                        <a:pt x="15494" y="0"/>
                      </a:moveTo>
                      <a:lnTo>
                        <a:pt x="0" y="56552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grpSp>
          <p:nvGrpSpPr>
            <p:cNvPr id="1052" name="Gráfico 13">
              <a:extLst>
                <a:ext uri="{FF2B5EF4-FFF2-40B4-BE49-F238E27FC236}">
                  <a16:creationId xmlns:a16="http://schemas.microsoft.com/office/drawing/2014/main" id="{1CE4EC78-F32B-4CE5-685F-C7D7E487341C}"/>
                </a:ext>
              </a:extLst>
            </p:cNvPr>
            <p:cNvGrpSpPr/>
            <p:nvPr/>
          </p:nvGrpSpPr>
          <p:grpSpPr>
            <a:xfrm>
              <a:off x="7561610" y="4257631"/>
              <a:ext cx="260374" cy="199618"/>
              <a:chOff x="7561610" y="4257631"/>
              <a:chExt cx="260374" cy="199618"/>
            </a:xfrm>
          </p:grpSpPr>
          <p:grpSp>
            <p:nvGrpSpPr>
              <p:cNvPr id="1053" name="Gráfico 13">
                <a:extLst>
                  <a:ext uri="{FF2B5EF4-FFF2-40B4-BE49-F238E27FC236}">
                    <a16:creationId xmlns:a16="http://schemas.microsoft.com/office/drawing/2014/main" id="{2B233407-5E66-43D6-7532-F6BF0969837A}"/>
                  </a:ext>
                </a:extLst>
              </p:cNvPr>
              <p:cNvGrpSpPr/>
              <p:nvPr/>
            </p:nvGrpSpPr>
            <p:grpSpPr>
              <a:xfrm>
                <a:off x="7718705" y="4372935"/>
                <a:ext cx="103279" cy="84314"/>
                <a:chOff x="7718705" y="4372935"/>
                <a:chExt cx="103279" cy="84314"/>
              </a:xfrm>
            </p:grpSpPr>
            <p:sp>
              <p:nvSpPr>
                <p:cNvPr id="1054" name="Forma livre: Forma 1053">
                  <a:extLst>
                    <a:ext uri="{FF2B5EF4-FFF2-40B4-BE49-F238E27FC236}">
                      <a16:creationId xmlns:a16="http://schemas.microsoft.com/office/drawing/2014/main" id="{929C5DD3-A0D5-A053-88C2-04785B85026E}"/>
                    </a:ext>
                  </a:extLst>
                </p:cNvPr>
                <p:cNvSpPr/>
                <p:nvPr/>
              </p:nvSpPr>
              <p:spPr>
                <a:xfrm>
                  <a:off x="7718705" y="4372935"/>
                  <a:ext cx="101764" cy="58653"/>
                </a:xfrm>
                <a:custGeom>
                  <a:avLst/>
                  <a:gdLst>
                    <a:gd name="connsiteX0" fmla="*/ 101764 w 101764"/>
                    <a:gd name="connsiteY0" fmla="*/ 58654 h 58653"/>
                    <a:gd name="connsiteX1" fmla="*/ 0 w 101764"/>
                    <a:gd name="connsiteY1" fmla="*/ 0 h 5865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01764" h="58653">
                      <a:moveTo>
                        <a:pt x="101764" y="58654"/>
                      </a:moveTo>
                      <a:lnTo>
                        <a:pt x="0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055" name="Forma livre: Forma 1054">
                  <a:extLst>
                    <a:ext uri="{FF2B5EF4-FFF2-40B4-BE49-F238E27FC236}">
                      <a16:creationId xmlns:a16="http://schemas.microsoft.com/office/drawing/2014/main" id="{8B81E0D3-B5D4-195F-E420-B69B0D4611C4}"/>
                    </a:ext>
                  </a:extLst>
                </p:cNvPr>
                <p:cNvSpPr/>
                <p:nvPr/>
              </p:nvSpPr>
              <p:spPr>
                <a:xfrm>
                  <a:off x="7763722" y="4400698"/>
                  <a:ext cx="15494" cy="56552"/>
                </a:xfrm>
                <a:custGeom>
                  <a:avLst/>
                  <a:gdLst>
                    <a:gd name="connsiteX0" fmla="*/ 0 w 15494"/>
                    <a:gd name="connsiteY0" fmla="*/ 0 h 56552"/>
                    <a:gd name="connsiteX1" fmla="*/ 15494 w 15494"/>
                    <a:gd name="connsiteY1" fmla="*/ 56552 h 5655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5494" h="56552">
                      <a:moveTo>
                        <a:pt x="0" y="0"/>
                      </a:moveTo>
                      <a:lnTo>
                        <a:pt x="15494" y="56552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056" name="Forma livre: Forma 1055">
                  <a:extLst>
                    <a:ext uri="{FF2B5EF4-FFF2-40B4-BE49-F238E27FC236}">
                      <a16:creationId xmlns:a16="http://schemas.microsoft.com/office/drawing/2014/main" id="{064E4DE4-B0A7-44DD-BA2A-BD537D119F71}"/>
                    </a:ext>
                  </a:extLst>
                </p:cNvPr>
                <p:cNvSpPr/>
                <p:nvPr/>
              </p:nvSpPr>
              <p:spPr>
                <a:xfrm>
                  <a:off x="7765335" y="4383053"/>
                  <a:ext cx="56649" cy="14956"/>
                </a:xfrm>
                <a:custGeom>
                  <a:avLst/>
                  <a:gdLst>
                    <a:gd name="connsiteX0" fmla="*/ 0 w 56649"/>
                    <a:gd name="connsiteY0" fmla="*/ 14957 h 14956"/>
                    <a:gd name="connsiteX1" fmla="*/ 56650 w 56649"/>
                    <a:gd name="connsiteY1" fmla="*/ 0 h 1495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56649" h="14956">
                      <a:moveTo>
                        <a:pt x="0" y="14957"/>
                      </a:moveTo>
                      <a:lnTo>
                        <a:pt x="56650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1057" name="Gráfico 13">
                <a:extLst>
                  <a:ext uri="{FF2B5EF4-FFF2-40B4-BE49-F238E27FC236}">
                    <a16:creationId xmlns:a16="http://schemas.microsoft.com/office/drawing/2014/main" id="{CEB18E58-E029-0D62-D3B5-83BB8361AA6F}"/>
                  </a:ext>
                </a:extLst>
              </p:cNvPr>
              <p:cNvGrpSpPr/>
              <p:nvPr/>
            </p:nvGrpSpPr>
            <p:grpSpPr>
              <a:xfrm>
                <a:off x="7561610" y="4257631"/>
                <a:ext cx="103328" cy="84314"/>
                <a:chOff x="7561610" y="4257631"/>
                <a:chExt cx="103328" cy="84314"/>
              </a:xfrm>
            </p:grpSpPr>
            <p:sp>
              <p:nvSpPr>
                <p:cNvPr id="1058" name="Forma livre: Forma 1057">
                  <a:extLst>
                    <a:ext uri="{FF2B5EF4-FFF2-40B4-BE49-F238E27FC236}">
                      <a16:creationId xmlns:a16="http://schemas.microsoft.com/office/drawing/2014/main" id="{5A0904B7-374F-EA91-F4D7-7011B4B0AAC0}"/>
                    </a:ext>
                  </a:extLst>
                </p:cNvPr>
                <p:cNvSpPr/>
                <p:nvPr/>
              </p:nvSpPr>
              <p:spPr>
                <a:xfrm>
                  <a:off x="7563175" y="4283243"/>
                  <a:ext cx="101764" cy="58702"/>
                </a:xfrm>
                <a:custGeom>
                  <a:avLst/>
                  <a:gdLst>
                    <a:gd name="connsiteX0" fmla="*/ 0 w 101764"/>
                    <a:gd name="connsiteY0" fmla="*/ 0 h 58702"/>
                    <a:gd name="connsiteX1" fmla="*/ 101765 w 101764"/>
                    <a:gd name="connsiteY1" fmla="*/ 58703 h 5870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01764" h="58702">
                      <a:moveTo>
                        <a:pt x="0" y="0"/>
                      </a:moveTo>
                      <a:lnTo>
                        <a:pt x="101765" y="58703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059" name="Forma livre: Forma 1058">
                  <a:extLst>
                    <a:ext uri="{FF2B5EF4-FFF2-40B4-BE49-F238E27FC236}">
                      <a16:creationId xmlns:a16="http://schemas.microsoft.com/office/drawing/2014/main" id="{2CBF4A74-BD35-8C4C-4E17-CAFB78774337}"/>
                    </a:ext>
                  </a:extLst>
                </p:cNvPr>
                <p:cNvSpPr/>
                <p:nvPr/>
              </p:nvSpPr>
              <p:spPr>
                <a:xfrm>
                  <a:off x="7604379" y="4257631"/>
                  <a:ext cx="15494" cy="56503"/>
                </a:xfrm>
                <a:custGeom>
                  <a:avLst/>
                  <a:gdLst>
                    <a:gd name="connsiteX0" fmla="*/ 15494 w 15494"/>
                    <a:gd name="connsiteY0" fmla="*/ 56503 h 56503"/>
                    <a:gd name="connsiteX1" fmla="*/ 0 w 15494"/>
                    <a:gd name="connsiteY1" fmla="*/ 0 h 56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5494" h="56503">
                      <a:moveTo>
                        <a:pt x="15494" y="56503"/>
                      </a:moveTo>
                      <a:lnTo>
                        <a:pt x="0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060" name="Forma livre: Forma 1059">
                  <a:extLst>
                    <a:ext uri="{FF2B5EF4-FFF2-40B4-BE49-F238E27FC236}">
                      <a16:creationId xmlns:a16="http://schemas.microsoft.com/office/drawing/2014/main" id="{41499C07-CDD2-2546-458E-B5241DE37805}"/>
                    </a:ext>
                  </a:extLst>
                </p:cNvPr>
                <p:cNvSpPr/>
                <p:nvPr/>
              </p:nvSpPr>
              <p:spPr>
                <a:xfrm>
                  <a:off x="7561610" y="4316872"/>
                  <a:ext cx="56698" cy="14907"/>
                </a:xfrm>
                <a:custGeom>
                  <a:avLst/>
                  <a:gdLst>
                    <a:gd name="connsiteX0" fmla="*/ 56699 w 56698"/>
                    <a:gd name="connsiteY0" fmla="*/ 0 h 14907"/>
                    <a:gd name="connsiteX1" fmla="*/ 0 w 56698"/>
                    <a:gd name="connsiteY1" fmla="*/ 14908 h 1490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56698" h="14907">
                      <a:moveTo>
                        <a:pt x="56699" y="0"/>
                      </a:moveTo>
                      <a:lnTo>
                        <a:pt x="0" y="14908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</p:grpSp>
      <p:grpSp>
        <p:nvGrpSpPr>
          <p:cNvPr id="1061" name="Gráfico 13">
            <a:extLst>
              <a:ext uri="{FF2B5EF4-FFF2-40B4-BE49-F238E27FC236}">
                <a16:creationId xmlns:a16="http://schemas.microsoft.com/office/drawing/2014/main" id="{E3FA0572-FE77-80B1-9F47-EB9DFE734DCE}"/>
              </a:ext>
            </a:extLst>
          </p:cNvPr>
          <p:cNvGrpSpPr/>
          <p:nvPr/>
        </p:nvGrpSpPr>
        <p:grpSpPr>
          <a:xfrm>
            <a:off x="6267823" y="4233896"/>
            <a:ext cx="304375" cy="247055"/>
            <a:chOff x="6267823" y="4233896"/>
            <a:chExt cx="304375" cy="247055"/>
          </a:xfrm>
          <a:noFill/>
        </p:grpSpPr>
        <p:sp>
          <p:nvSpPr>
            <p:cNvPr id="1062" name="Forma livre: Forma 1061">
              <a:extLst>
                <a:ext uri="{FF2B5EF4-FFF2-40B4-BE49-F238E27FC236}">
                  <a16:creationId xmlns:a16="http://schemas.microsoft.com/office/drawing/2014/main" id="{C060376F-BFB0-534A-FA44-DD4977F2943D}"/>
                </a:ext>
              </a:extLst>
            </p:cNvPr>
            <p:cNvSpPr/>
            <p:nvPr/>
          </p:nvSpPr>
          <p:spPr>
            <a:xfrm>
              <a:off x="6325939" y="4233945"/>
              <a:ext cx="246259" cy="247006"/>
            </a:xfrm>
            <a:custGeom>
              <a:avLst/>
              <a:gdLst>
                <a:gd name="connsiteX0" fmla="*/ 42114 w 246259"/>
                <a:gd name="connsiteY0" fmla="*/ 235329 h 247006"/>
                <a:gd name="connsiteX1" fmla="*/ 9903 w 246259"/>
                <a:gd name="connsiteY1" fmla="*/ 243688 h 247006"/>
                <a:gd name="connsiteX2" fmla="*/ 4136 w 246259"/>
                <a:gd name="connsiteY2" fmla="*/ 210939 h 247006"/>
                <a:gd name="connsiteX3" fmla="*/ 119635 w 246259"/>
                <a:gd name="connsiteY3" fmla="*/ 31361 h 247006"/>
                <a:gd name="connsiteX4" fmla="*/ 214214 w 246259"/>
                <a:gd name="connsiteY4" fmla="*/ 10832 h 247006"/>
                <a:gd name="connsiteX5" fmla="*/ 214899 w 246259"/>
                <a:gd name="connsiteY5" fmla="*/ 11272 h 247006"/>
                <a:gd name="connsiteX6" fmla="*/ 235427 w 246259"/>
                <a:gd name="connsiteY6" fmla="*/ 105851 h 247006"/>
                <a:gd name="connsiteX7" fmla="*/ 219102 w 246259"/>
                <a:gd name="connsiteY7" fmla="*/ 131268 h 247006"/>
                <a:gd name="connsiteX8" fmla="*/ 186891 w 246259"/>
                <a:gd name="connsiteY8" fmla="*/ 139626 h 247006"/>
                <a:gd name="connsiteX9" fmla="*/ 181124 w 246259"/>
                <a:gd name="connsiteY9" fmla="*/ 106877 h 247006"/>
                <a:gd name="connsiteX10" fmla="*/ 197449 w 246259"/>
                <a:gd name="connsiteY10" fmla="*/ 81461 h 247006"/>
                <a:gd name="connsiteX11" fmla="*/ 190704 w 246259"/>
                <a:gd name="connsiteY11" fmla="*/ 48077 h 247006"/>
                <a:gd name="connsiteX12" fmla="*/ 157564 w 246259"/>
                <a:gd name="connsiteY12" fmla="*/ 55800 h 247006"/>
                <a:gd name="connsiteX13" fmla="*/ 42114 w 246259"/>
                <a:gd name="connsiteY13" fmla="*/ 235378 h 2470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46259" h="247006">
                  <a:moveTo>
                    <a:pt x="42114" y="235329"/>
                  </a:moveTo>
                  <a:cubicBezTo>
                    <a:pt x="34831" y="246620"/>
                    <a:pt x="20363" y="250384"/>
                    <a:pt x="9903" y="243688"/>
                  </a:cubicBezTo>
                  <a:cubicBezTo>
                    <a:pt x="-557" y="236991"/>
                    <a:pt x="-3147" y="222230"/>
                    <a:pt x="4136" y="210939"/>
                  </a:cubicBezTo>
                  <a:lnTo>
                    <a:pt x="119635" y="31361"/>
                  </a:lnTo>
                  <a:cubicBezTo>
                    <a:pt x="139968" y="-313"/>
                    <a:pt x="182541" y="-9551"/>
                    <a:pt x="214214" y="10832"/>
                  </a:cubicBezTo>
                  <a:lnTo>
                    <a:pt x="214899" y="11272"/>
                  </a:lnTo>
                  <a:cubicBezTo>
                    <a:pt x="246572" y="31605"/>
                    <a:pt x="255810" y="74178"/>
                    <a:pt x="235427" y="105851"/>
                  </a:cubicBezTo>
                  <a:lnTo>
                    <a:pt x="219102" y="131268"/>
                  </a:lnTo>
                  <a:cubicBezTo>
                    <a:pt x="211819" y="142559"/>
                    <a:pt x="197351" y="146322"/>
                    <a:pt x="186891" y="139626"/>
                  </a:cubicBezTo>
                  <a:cubicBezTo>
                    <a:pt x="176431" y="132930"/>
                    <a:pt x="173841" y="118168"/>
                    <a:pt x="181124" y="106877"/>
                  </a:cubicBezTo>
                  <a:lnTo>
                    <a:pt x="197449" y="81461"/>
                  </a:lnTo>
                  <a:cubicBezTo>
                    <a:pt x="204732" y="70170"/>
                    <a:pt x="201701" y="55115"/>
                    <a:pt x="190704" y="48077"/>
                  </a:cubicBezTo>
                  <a:cubicBezTo>
                    <a:pt x="179755" y="41038"/>
                    <a:pt x="164847" y="44509"/>
                    <a:pt x="157564" y="55800"/>
                  </a:cubicBezTo>
                  <a:lnTo>
                    <a:pt x="42114" y="235378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63" name="Forma livre: Forma 1062">
              <a:extLst>
                <a:ext uri="{FF2B5EF4-FFF2-40B4-BE49-F238E27FC236}">
                  <a16:creationId xmlns:a16="http://schemas.microsoft.com/office/drawing/2014/main" id="{BF5BBEF4-CE81-7A0D-4A71-EBD9CB0605CF}"/>
                </a:ext>
              </a:extLst>
            </p:cNvPr>
            <p:cNvSpPr/>
            <p:nvPr/>
          </p:nvSpPr>
          <p:spPr>
            <a:xfrm>
              <a:off x="6357593" y="4407345"/>
              <a:ext cx="26394" cy="37294"/>
            </a:xfrm>
            <a:custGeom>
              <a:avLst/>
              <a:gdLst>
                <a:gd name="connsiteX0" fmla="*/ 0 w 26394"/>
                <a:gd name="connsiteY0" fmla="*/ 0 h 37294"/>
                <a:gd name="connsiteX1" fmla="*/ 26394 w 26394"/>
                <a:gd name="connsiteY1" fmla="*/ 37294 h 372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6394" h="37294">
                  <a:moveTo>
                    <a:pt x="0" y="0"/>
                  </a:moveTo>
                  <a:lnTo>
                    <a:pt x="26394" y="37294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64" name="Forma livre: Forma 1063">
              <a:extLst>
                <a:ext uri="{FF2B5EF4-FFF2-40B4-BE49-F238E27FC236}">
                  <a16:creationId xmlns:a16="http://schemas.microsoft.com/office/drawing/2014/main" id="{02CD0D28-AD01-5218-F1BF-8519E2697CAD}"/>
                </a:ext>
              </a:extLst>
            </p:cNvPr>
            <p:cNvSpPr/>
            <p:nvPr/>
          </p:nvSpPr>
          <p:spPr>
            <a:xfrm>
              <a:off x="6393616" y="4351331"/>
              <a:ext cx="26394" cy="37294"/>
            </a:xfrm>
            <a:custGeom>
              <a:avLst/>
              <a:gdLst>
                <a:gd name="connsiteX0" fmla="*/ 0 w 26394"/>
                <a:gd name="connsiteY0" fmla="*/ 0 h 37294"/>
                <a:gd name="connsiteX1" fmla="*/ 26394 w 26394"/>
                <a:gd name="connsiteY1" fmla="*/ 37294 h 372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6394" h="37294">
                  <a:moveTo>
                    <a:pt x="0" y="0"/>
                  </a:moveTo>
                  <a:lnTo>
                    <a:pt x="26394" y="37294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65" name="Forma livre: Forma 1064">
              <a:extLst>
                <a:ext uri="{FF2B5EF4-FFF2-40B4-BE49-F238E27FC236}">
                  <a16:creationId xmlns:a16="http://schemas.microsoft.com/office/drawing/2014/main" id="{15FA7EF8-5046-9898-9FE3-43B678989D4B}"/>
                </a:ext>
              </a:extLst>
            </p:cNvPr>
            <p:cNvSpPr/>
            <p:nvPr/>
          </p:nvSpPr>
          <p:spPr>
            <a:xfrm>
              <a:off x="6429639" y="4295316"/>
              <a:ext cx="26394" cy="37294"/>
            </a:xfrm>
            <a:custGeom>
              <a:avLst/>
              <a:gdLst>
                <a:gd name="connsiteX0" fmla="*/ 0 w 26394"/>
                <a:gd name="connsiteY0" fmla="*/ 0 h 37294"/>
                <a:gd name="connsiteX1" fmla="*/ 26394 w 26394"/>
                <a:gd name="connsiteY1" fmla="*/ 37294 h 372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6394" h="37294">
                  <a:moveTo>
                    <a:pt x="0" y="0"/>
                  </a:moveTo>
                  <a:lnTo>
                    <a:pt x="26394" y="37294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66" name="Forma livre: Forma 1065">
              <a:extLst>
                <a:ext uri="{FF2B5EF4-FFF2-40B4-BE49-F238E27FC236}">
                  <a16:creationId xmlns:a16="http://schemas.microsoft.com/office/drawing/2014/main" id="{B06F558D-B466-DE70-AEDB-0C7833111FBC}"/>
                </a:ext>
              </a:extLst>
            </p:cNvPr>
            <p:cNvSpPr/>
            <p:nvPr/>
          </p:nvSpPr>
          <p:spPr>
            <a:xfrm>
              <a:off x="6472310" y="4237249"/>
              <a:ext cx="17009" cy="42426"/>
            </a:xfrm>
            <a:custGeom>
              <a:avLst/>
              <a:gdLst>
                <a:gd name="connsiteX0" fmla="*/ 0 w 17009"/>
                <a:gd name="connsiteY0" fmla="*/ 0 h 42426"/>
                <a:gd name="connsiteX1" fmla="*/ 17010 w 17009"/>
                <a:gd name="connsiteY1" fmla="*/ 42426 h 424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7009" h="42426">
                  <a:moveTo>
                    <a:pt x="0" y="0"/>
                  </a:moveTo>
                  <a:lnTo>
                    <a:pt x="17010" y="42426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67" name="Forma livre: Forma 1066">
              <a:extLst>
                <a:ext uri="{FF2B5EF4-FFF2-40B4-BE49-F238E27FC236}">
                  <a16:creationId xmlns:a16="http://schemas.microsoft.com/office/drawing/2014/main" id="{AA1886B9-292E-D962-858B-6D3F37675650}"/>
                </a:ext>
              </a:extLst>
            </p:cNvPr>
            <p:cNvSpPr/>
            <p:nvPr/>
          </p:nvSpPr>
          <p:spPr>
            <a:xfrm>
              <a:off x="6516594" y="4249664"/>
              <a:ext cx="27567" cy="36414"/>
            </a:xfrm>
            <a:custGeom>
              <a:avLst/>
              <a:gdLst>
                <a:gd name="connsiteX0" fmla="*/ 27567 w 27567"/>
                <a:gd name="connsiteY0" fmla="*/ 0 h 36414"/>
                <a:gd name="connsiteX1" fmla="*/ 0 w 27567"/>
                <a:gd name="connsiteY1" fmla="*/ 36414 h 364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7567" h="36414">
                  <a:moveTo>
                    <a:pt x="27567" y="0"/>
                  </a:moveTo>
                  <a:lnTo>
                    <a:pt x="0" y="36414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68" name="Forma livre: Forma 1067">
              <a:extLst>
                <a:ext uri="{FF2B5EF4-FFF2-40B4-BE49-F238E27FC236}">
                  <a16:creationId xmlns:a16="http://schemas.microsoft.com/office/drawing/2014/main" id="{2989B9E1-E6D6-BD62-7044-EBDA29313CFD}"/>
                </a:ext>
              </a:extLst>
            </p:cNvPr>
            <p:cNvSpPr/>
            <p:nvPr/>
          </p:nvSpPr>
          <p:spPr>
            <a:xfrm>
              <a:off x="6525294" y="4309589"/>
              <a:ext cx="43403" cy="14272"/>
            </a:xfrm>
            <a:custGeom>
              <a:avLst/>
              <a:gdLst>
                <a:gd name="connsiteX0" fmla="*/ 43404 w 43403"/>
                <a:gd name="connsiteY0" fmla="*/ 14272 h 14272"/>
                <a:gd name="connsiteX1" fmla="*/ 0 w 43403"/>
                <a:gd name="connsiteY1" fmla="*/ 0 h 142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3403" h="14272">
                  <a:moveTo>
                    <a:pt x="43404" y="14272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069" name="Gráfico 13">
              <a:extLst>
                <a:ext uri="{FF2B5EF4-FFF2-40B4-BE49-F238E27FC236}">
                  <a16:creationId xmlns:a16="http://schemas.microsoft.com/office/drawing/2014/main" id="{96247014-B030-D561-7CDC-B8AC550BAEB4}"/>
                </a:ext>
              </a:extLst>
            </p:cNvPr>
            <p:cNvGrpSpPr/>
            <p:nvPr/>
          </p:nvGrpSpPr>
          <p:grpSpPr>
            <a:xfrm>
              <a:off x="6267823" y="4233896"/>
              <a:ext cx="246259" cy="247055"/>
              <a:chOff x="6267823" y="4233896"/>
              <a:chExt cx="246259" cy="247055"/>
            </a:xfrm>
            <a:noFill/>
          </p:grpSpPr>
          <p:sp>
            <p:nvSpPr>
              <p:cNvPr id="1070" name="Forma livre: Forma 1069">
                <a:extLst>
                  <a:ext uri="{FF2B5EF4-FFF2-40B4-BE49-F238E27FC236}">
                    <a16:creationId xmlns:a16="http://schemas.microsoft.com/office/drawing/2014/main" id="{5416DDE1-45AD-18BC-C222-71D26BD12B4A}"/>
                  </a:ext>
                </a:extLst>
              </p:cNvPr>
              <p:cNvSpPr/>
              <p:nvPr/>
            </p:nvSpPr>
            <p:spPr>
              <a:xfrm>
                <a:off x="6434723" y="4368732"/>
                <a:ext cx="79359" cy="112219"/>
              </a:xfrm>
              <a:custGeom>
                <a:avLst/>
                <a:gdLst>
                  <a:gd name="connsiteX0" fmla="*/ 0 w 79359"/>
                  <a:gd name="connsiteY0" fmla="*/ 42622 h 112219"/>
                  <a:gd name="connsiteX1" fmla="*/ 37245 w 79359"/>
                  <a:gd name="connsiteY1" fmla="*/ 100543 h 112219"/>
                  <a:gd name="connsiteX2" fmla="*/ 69456 w 79359"/>
                  <a:gd name="connsiteY2" fmla="*/ 108901 h 112219"/>
                  <a:gd name="connsiteX3" fmla="*/ 75224 w 79359"/>
                  <a:gd name="connsiteY3" fmla="*/ 76152 h 112219"/>
                  <a:gd name="connsiteX4" fmla="*/ 26248 w 79359"/>
                  <a:gd name="connsiteY4" fmla="*/ 0 h 1122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359" h="112219">
                    <a:moveTo>
                      <a:pt x="0" y="42622"/>
                    </a:moveTo>
                    <a:lnTo>
                      <a:pt x="37245" y="100543"/>
                    </a:lnTo>
                    <a:cubicBezTo>
                      <a:pt x="44528" y="111833"/>
                      <a:pt x="58996" y="115597"/>
                      <a:pt x="69456" y="108901"/>
                    </a:cubicBezTo>
                    <a:cubicBezTo>
                      <a:pt x="79916" y="102204"/>
                      <a:pt x="82506" y="87443"/>
                      <a:pt x="75224" y="76152"/>
                    </a:cubicBezTo>
                    <a:lnTo>
                      <a:pt x="26248" y="0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071" name="Forma livre: Forma 1070">
                <a:extLst>
                  <a:ext uri="{FF2B5EF4-FFF2-40B4-BE49-F238E27FC236}">
                    <a16:creationId xmlns:a16="http://schemas.microsoft.com/office/drawing/2014/main" id="{11AEA1FC-6684-3BA4-37CF-7634200348E1}"/>
                  </a:ext>
                </a:extLst>
              </p:cNvPr>
              <p:cNvSpPr/>
              <p:nvPr/>
            </p:nvSpPr>
            <p:spPr>
              <a:xfrm>
                <a:off x="6267823" y="4233896"/>
                <a:ext cx="137377" cy="142944"/>
              </a:xfrm>
              <a:custGeom>
                <a:avLst/>
                <a:gdLst>
                  <a:gd name="connsiteX0" fmla="*/ 137377 w 137377"/>
                  <a:gd name="connsiteY0" fmla="*/ 48126 h 142944"/>
                  <a:gd name="connsiteX1" fmla="*/ 126624 w 137377"/>
                  <a:gd name="connsiteY1" fmla="*/ 31361 h 142944"/>
                  <a:gd name="connsiteX2" fmla="*/ 32045 w 137377"/>
                  <a:gd name="connsiteY2" fmla="*/ 10832 h 142944"/>
                  <a:gd name="connsiteX3" fmla="*/ 31361 w 137377"/>
                  <a:gd name="connsiteY3" fmla="*/ 11272 h 142944"/>
                  <a:gd name="connsiteX4" fmla="*/ 10832 w 137377"/>
                  <a:gd name="connsiteY4" fmla="*/ 105851 h 142944"/>
                  <a:gd name="connsiteX5" fmla="*/ 27157 w 137377"/>
                  <a:gd name="connsiteY5" fmla="*/ 131268 h 142944"/>
                  <a:gd name="connsiteX6" fmla="*/ 59368 w 137377"/>
                  <a:gd name="connsiteY6" fmla="*/ 139626 h 142944"/>
                  <a:gd name="connsiteX7" fmla="*/ 65135 w 137377"/>
                  <a:gd name="connsiteY7" fmla="*/ 106877 h 142944"/>
                  <a:gd name="connsiteX8" fmla="*/ 48810 w 137377"/>
                  <a:gd name="connsiteY8" fmla="*/ 81461 h 142944"/>
                  <a:gd name="connsiteX9" fmla="*/ 55555 w 137377"/>
                  <a:gd name="connsiteY9" fmla="*/ 48077 h 142944"/>
                  <a:gd name="connsiteX10" fmla="*/ 88695 w 137377"/>
                  <a:gd name="connsiteY10" fmla="*/ 55800 h 142944"/>
                  <a:gd name="connsiteX11" fmla="*/ 111765 w 137377"/>
                  <a:gd name="connsiteY11" fmla="*/ 91676 h 1429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37377" h="142944">
                    <a:moveTo>
                      <a:pt x="137377" y="48126"/>
                    </a:moveTo>
                    <a:lnTo>
                      <a:pt x="126624" y="31361"/>
                    </a:lnTo>
                    <a:cubicBezTo>
                      <a:pt x="106291" y="-313"/>
                      <a:pt x="63718" y="-9551"/>
                      <a:pt x="32045" y="10832"/>
                    </a:cubicBezTo>
                    <a:lnTo>
                      <a:pt x="31361" y="11272"/>
                    </a:lnTo>
                    <a:cubicBezTo>
                      <a:pt x="-313" y="31605"/>
                      <a:pt x="-9551" y="74178"/>
                      <a:pt x="10832" y="105851"/>
                    </a:cubicBezTo>
                    <a:lnTo>
                      <a:pt x="27157" y="131268"/>
                    </a:lnTo>
                    <a:cubicBezTo>
                      <a:pt x="34440" y="142559"/>
                      <a:pt x="48908" y="146322"/>
                      <a:pt x="59368" y="139626"/>
                    </a:cubicBezTo>
                    <a:cubicBezTo>
                      <a:pt x="69828" y="132930"/>
                      <a:pt x="72418" y="118168"/>
                      <a:pt x="65135" y="106877"/>
                    </a:cubicBezTo>
                    <a:lnTo>
                      <a:pt x="48810" y="81461"/>
                    </a:lnTo>
                    <a:cubicBezTo>
                      <a:pt x="41527" y="70170"/>
                      <a:pt x="44558" y="55115"/>
                      <a:pt x="55555" y="48077"/>
                    </a:cubicBezTo>
                    <a:cubicBezTo>
                      <a:pt x="66504" y="41038"/>
                      <a:pt x="81412" y="44509"/>
                      <a:pt x="88695" y="55800"/>
                    </a:cubicBezTo>
                    <a:lnTo>
                      <a:pt x="111765" y="91676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072" name="Forma livre: Forma 1071">
                <a:extLst>
                  <a:ext uri="{FF2B5EF4-FFF2-40B4-BE49-F238E27FC236}">
                    <a16:creationId xmlns:a16="http://schemas.microsoft.com/office/drawing/2014/main" id="{FC729185-5BF9-B78D-64EC-0271D50E7E67}"/>
                  </a:ext>
                </a:extLst>
              </p:cNvPr>
              <p:cNvSpPr/>
              <p:nvPr/>
            </p:nvSpPr>
            <p:spPr>
              <a:xfrm>
                <a:off x="6456034" y="4407345"/>
                <a:ext cx="26394" cy="37294"/>
              </a:xfrm>
              <a:custGeom>
                <a:avLst/>
                <a:gdLst>
                  <a:gd name="connsiteX0" fmla="*/ 26394 w 26394"/>
                  <a:gd name="connsiteY0" fmla="*/ 0 h 37294"/>
                  <a:gd name="connsiteX1" fmla="*/ 0 w 26394"/>
                  <a:gd name="connsiteY1" fmla="*/ 37294 h 372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6394" h="37294">
                    <a:moveTo>
                      <a:pt x="26394" y="0"/>
                    </a:moveTo>
                    <a:lnTo>
                      <a:pt x="0" y="37294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073" name="Forma livre: Forma 1072">
                <a:extLst>
                  <a:ext uri="{FF2B5EF4-FFF2-40B4-BE49-F238E27FC236}">
                    <a16:creationId xmlns:a16="http://schemas.microsoft.com/office/drawing/2014/main" id="{0E0830F6-4929-AF12-7BC4-44E280AAFA50}"/>
                  </a:ext>
                </a:extLst>
              </p:cNvPr>
              <p:cNvSpPr/>
              <p:nvPr/>
            </p:nvSpPr>
            <p:spPr>
              <a:xfrm>
                <a:off x="6350701" y="4237249"/>
                <a:ext cx="17009" cy="42426"/>
              </a:xfrm>
              <a:custGeom>
                <a:avLst/>
                <a:gdLst>
                  <a:gd name="connsiteX0" fmla="*/ 17010 w 17009"/>
                  <a:gd name="connsiteY0" fmla="*/ 0 h 42426"/>
                  <a:gd name="connsiteX1" fmla="*/ 0 w 17009"/>
                  <a:gd name="connsiteY1" fmla="*/ 42426 h 424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7009" h="42426">
                    <a:moveTo>
                      <a:pt x="17010" y="0"/>
                    </a:moveTo>
                    <a:lnTo>
                      <a:pt x="0" y="42426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074" name="Forma livre: Forma 1073">
                <a:extLst>
                  <a:ext uri="{FF2B5EF4-FFF2-40B4-BE49-F238E27FC236}">
                    <a16:creationId xmlns:a16="http://schemas.microsoft.com/office/drawing/2014/main" id="{B587A7E6-EC82-3144-C932-2DE8D26F9852}"/>
                  </a:ext>
                </a:extLst>
              </p:cNvPr>
              <p:cNvSpPr/>
              <p:nvPr/>
            </p:nvSpPr>
            <p:spPr>
              <a:xfrm>
                <a:off x="6295860" y="4249664"/>
                <a:ext cx="27567" cy="36414"/>
              </a:xfrm>
              <a:custGeom>
                <a:avLst/>
                <a:gdLst>
                  <a:gd name="connsiteX0" fmla="*/ 0 w 27567"/>
                  <a:gd name="connsiteY0" fmla="*/ 0 h 36414"/>
                  <a:gd name="connsiteX1" fmla="*/ 27567 w 27567"/>
                  <a:gd name="connsiteY1" fmla="*/ 36414 h 364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7567" h="36414">
                    <a:moveTo>
                      <a:pt x="0" y="0"/>
                    </a:moveTo>
                    <a:lnTo>
                      <a:pt x="27567" y="36414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075" name="Forma livre: Forma 1074">
                <a:extLst>
                  <a:ext uri="{FF2B5EF4-FFF2-40B4-BE49-F238E27FC236}">
                    <a16:creationId xmlns:a16="http://schemas.microsoft.com/office/drawing/2014/main" id="{1128E8FD-0315-18B3-3437-AC577ED0540E}"/>
                  </a:ext>
                </a:extLst>
              </p:cNvPr>
              <p:cNvSpPr/>
              <p:nvPr/>
            </p:nvSpPr>
            <p:spPr>
              <a:xfrm>
                <a:off x="6271323" y="4309589"/>
                <a:ext cx="43403" cy="14272"/>
              </a:xfrm>
              <a:custGeom>
                <a:avLst/>
                <a:gdLst>
                  <a:gd name="connsiteX0" fmla="*/ 0 w 43403"/>
                  <a:gd name="connsiteY0" fmla="*/ 14272 h 14272"/>
                  <a:gd name="connsiteX1" fmla="*/ 43404 w 43403"/>
                  <a:gd name="connsiteY1" fmla="*/ 0 h 142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3403" h="14272">
                    <a:moveTo>
                      <a:pt x="0" y="14272"/>
                    </a:moveTo>
                    <a:lnTo>
                      <a:pt x="43404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076" name="Gráfico 13">
            <a:extLst>
              <a:ext uri="{FF2B5EF4-FFF2-40B4-BE49-F238E27FC236}">
                <a16:creationId xmlns:a16="http://schemas.microsoft.com/office/drawing/2014/main" id="{3A96DF04-FBA2-3CC9-3166-81DFAB381D11}"/>
              </a:ext>
            </a:extLst>
          </p:cNvPr>
          <p:cNvGrpSpPr/>
          <p:nvPr/>
        </p:nvGrpSpPr>
        <p:grpSpPr>
          <a:xfrm>
            <a:off x="6878048" y="5327918"/>
            <a:ext cx="355735" cy="268781"/>
            <a:chOff x="6878048" y="5327918"/>
            <a:chExt cx="355735" cy="268781"/>
          </a:xfrm>
          <a:noFill/>
        </p:grpSpPr>
        <p:sp>
          <p:nvSpPr>
            <p:cNvPr id="1077" name="Forma livre: Forma 1076">
              <a:extLst>
                <a:ext uri="{FF2B5EF4-FFF2-40B4-BE49-F238E27FC236}">
                  <a16:creationId xmlns:a16="http://schemas.microsoft.com/office/drawing/2014/main" id="{DA80110F-4A5C-20B8-9EFB-E49E921D21F1}"/>
                </a:ext>
              </a:extLst>
            </p:cNvPr>
            <p:cNvSpPr/>
            <p:nvPr/>
          </p:nvSpPr>
          <p:spPr>
            <a:xfrm>
              <a:off x="7095752" y="5327918"/>
              <a:ext cx="138032" cy="134268"/>
            </a:xfrm>
            <a:custGeom>
              <a:avLst/>
              <a:gdLst>
                <a:gd name="connsiteX0" fmla="*/ 65448 w 138032"/>
                <a:gd name="connsiteY0" fmla="*/ 0 h 134268"/>
                <a:gd name="connsiteX1" fmla="*/ 48732 w 138032"/>
                <a:gd name="connsiteY1" fmla="*/ 46532 h 134268"/>
                <a:gd name="connsiteX2" fmla="*/ 0 w 138032"/>
                <a:gd name="connsiteY2" fmla="*/ 55037 h 134268"/>
                <a:gd name="connsiteX3" fmla="*/ 39103 w 138032"/>
                <a:gd name="connsiteY3" fmla="*/ 85341 h 134268"/>
                <a:gd name="connsiteX4" fmla="*/ 32113 w 138032"/>
                <a:gd name="connsiteY4" fmla="*/ 134268 h 134268"/>
                <a:gd name="connsiteX5" fmla="*/ 73024 w 138032"/>
                <a:gd name="connsiteY5" fmla="*/ 106457 h 134268"/>
                <a:gd name="connsiteX6" fmla="*/ 117454 w 138032"/>
                <a:gd name="connsiteY6" fmla="*/ 128208 h 134268"/>
                <a:gd name="connsiteX7" fmla="*/ 103622 w 138032"/>
                <a:gd name="connsiteY7" fmla="*/ 80747 h 134268"/>
                <a:gd name="connsiteX8" fmla="*/ 138032 w 138032"/>
                <a:gd name="connsiteY8" fmla="*/ 45212 h 134268"/>
                <a:gd name="connsiteX9" fmla="*/ 88567 w 138032"/>
                <a:gd name="connsiteY9" fmla="*/ 43697 h 134268"/>
                <a:gd name="connsiteX10" fmla="*/ 65448 w 138032"/>
                <a:gd name="connsiteY10" fmla="*/ 0 h 1342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38032" h="134268">
                  <a:moveTo>
                    <a:pt x="65448" y="0"/>
                  </a:moveTo>
                  <a:lnTo>
                    <a:pt x="48732" y="46532"/>
                  </a:lnTo>
                  <a:lnTo>
                    <a:pt x="0" y="55037"/>
                  </a:lnTo>
                  <a:lnTo>
                    <a:pt x="39103" y="85341"/>
                  </a:lnTo>
                  <a:lnTo>
                    <a:pt x="32113" y="134268"/>
                  </a:lnTo>
                  <a:lnTo>
                    <a:pt x="73024" y="106457"/>
                  </a:lnTo>
                  <a:lnTo>
                    <a:pt x="117454" y="128208"/>
                  </a:lnTo>
                  <a:lnTo>
                    <a:pt x="103622" y="80747"/>
                  </a:lnTo>
                  <a:lnTo>
                    <a:pt x="138032" y="45212"/>
                  </a:lnTo>
                  <a:lnTo>
                    <a:pt x="88567" y="43697"/>
                  </a:lnTo>
                  <a:lnTo>
                    <a:pt x="65448" y="0"/>
                  </a:ln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78" name="Forma livre: Forma 1077">
              <a:extLst>
                <a:ext uri="{FF2B5EF4-FFF2-40B4-BE49-F238E27FC236}">
                  <a16:creationId xmlns:a16="http://schemas.microsoft.com/office/drawing/2014/main" id="{AD04FE8E-F3D2-6972-C788-E3B154DAB8E4}"/>
                </a:ext>
              </a:extLst>
            </p:cNvPr>
            <p:cNvSpPr/>
            <p:nvPr/>
          </p:nvSpPr>
          <p:spPr>
            <a:xfrm>
              <a:off x="6878048" y="5428314"/>
              <a:ext cx="25709" cy="16471"/>
            </a:xfrm>
            <a:custGeom>
              <a:avLst/>
              <a:gdLst>
                <a:gd name="connsiteX0" fmla="*/ 25710 w 25709"/>
                <a:gd name="connsiteY0" fmla="*/ 0 h 16471"/>
                <a:gd name="connsiteX1" fmla="*/ 0 w 25709"/>
                <a:gd name="connsiteY1" fmla="*/ 16472 h 164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5709" h="16471">
                  <a:moveTo>
                    <a:pt x="25710" y="0"/>
                  </a:moveTo>
                  <a:cubicBezTo>
                    <a:pt x="17401" y="5034"/>
                    <a:pt x="8847" y="10509"/>
                    <a:pt x="0" y="16472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79" name="Forma livre: Forma 1078">
              <a:extLst>
                <a:ext uri="{FF2B5EF4-FFF2-40B4-BE49-F238E27FC236}">
                  <a16:creationId xmlns:a16="http://schemas.microsoft.com/office/drawing/2014/main" id="{BE513E9E-37D4-09B9-E726-F700C124CCAA}"/>
                </a:ext>
              </a:extLst>
            </p:cNvPr>
            <p:cNvSpPr/>
            <p:nvPr/>
          </p:nvSpPr>
          <p:spPr>
            <a:xfrm>
              <a:off x="6924874" y="5368194"/>
              <a:ext cx="148296" cy="47802"/>
            </a:xfrm>
            <a:custGeom>
              <a:avLst/>
              <a:gdLst>
                <a:gd name="connsiteX0" fmla="*/ 148297 w 148296"/>
                <a:gd name="connsiteY0" fmla="*/ 0 h 47802"/>
                <a:gd name="connsiteX1" fmla="*/ 0 w 148296"/>
                <a:gd name="connsiteY1" fmla="*/ 47803 h 47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48296" h="47802">
                  <a:moveTo>
                    <a:pt x="148297" y="0"/>
                  </a:moveTo>
                  <a:cubicBezTo>
                    <a:pt x="148297" y="0"/>
                    <a:pt x="77325" y="2444"/>
                    <a:pt x="0" y="47803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80" name="Forma livre: Forma 1079">
              <a:extLst>
                <a:ext uri="{FF2B5EF4-FFF2-40B4-BE49-F238E27FC236}">
                  <a16:creationId xmlns:a16="http://schemas.microsoft.com/office/drawing/2014/main" id="{87D8D427-EE45-4AAB-B2DC-1CAB0649C053}"/>
                </a:ext>
              </a:extLst>
            </p:cNvPr>
            <p:cNvSpPr/>
            <p:nvPr/>
          </p:nvSpPr>
          <p:spPr>
            <a:xfrm>
              <a:off x="6890219" y="5428901"/>
              <a:ext cx="95703" cy="63053"/>
            </a:xfrm>
            <a:custGeom>
              <a:avLst/>
              <a:gdLst>
                <a:gd name="connsiteX0" fmla="*/ 95704 w 95703"/>
                <a:gd name="connsiteY0" fmla="*/ 0 h 63053"/>
                <a:gd name="connsiteX1" fmla="*/ 0 w 95703"/>
                <a:gd name="connsiteY1" fmla="*/ 63053 h 630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703" h="63053">
                  <a:moveTo>
                    <a:pt x="95704" y="0"/>
                  </a:moveTo>
                  <a:cubicBezTo>
                    <a:pt x="68967" y="13344"/>
                    <a:pt x="36756" y="33286"/>
                    <a:pt x="0" y="63053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81" name="Forma livre: Forma 1080">
              <a:extLst>
                <a:ext uri="{FF2B5EF4-FFF2-40B4-BE49-F238E27FC236}">
                  <a16:creationId xmlns:a16="http://schemas.microsoft.com/office/drawing/2014/main" id="{A9541807-6462-5488-243E-7BC56C802F56}"/>
                </a:ext>
              </a:extLst>
            </p:cNvPr>
            <p:cNvSpPr/>
            <p:nvPr/>
          </p:nvSpPr>
          <p:spPr>
            <a:xfrm>
              <a:off x="7008455" y="5398743"/>
              <a:ext cx="66327" cy="19844"/>
            </a:xfrm>
            <a:custGeom>
              <a:avLst/>
              <a:gdLst>
                <a:gd name="connsiteX0" fmla="*/ 66328 w 66327"/>
                <a:gd name="connsiteY0" fmla="*/ 0 h 19844"/>
                <a:gd name="connsiteX1" fmla="*/ 0 w 66327"/>
                <a:gd name="connsiteY1" fmla="*/ 19845 h 198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6327" h="19844">
                  <a:moveTo>
                    <a:pt x="66328" y="0"/>
                  </a:moveTo>
                  <a:cubicBezTo>
                    <a:pt x="66328" y="0"/>
                    <a:pt x="40960" y="2444"/>
                    <a:pt x="0" y="19845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82" name="Forma livre: Forma 1081">
              <a:extLst>
                <a:ext uri="{FF2B5EF4-FFF2-40B4-BE49-F238E27FC236}">
                  <a16:creationId xmlns:a16="http://schemas.microsoft.com/office/drawing/2014/main" id="{497F319D-38AD-EAFD-903F-CF19D8F3871B}"/>
                </a:ext>
              </a:extLst>
            </p:cNvPr>
            <p:cNvSpPr/>
            <p:nvPr/>
          </p:nvSpPr>
          <p:spPr>
            <a:xfrm>
              <a:off x="6917346" y="5489950"/>
              <a:ext cx="59435" cy="56698"/>
            </a:xfrm>
            <a:custGeom>
              <a:avLst/>
              <a:gdLst>
                <a:gd name="connsiteX0" fmla="*/ 59436 w 59435"/>
                <a:gd name="connsiteY0" fmla="*/ 0 h 56698"/>
                <a:gd name="connsiteX1" fmla="*/ 0 w 59435"/>
                <a:gd name="connsiteY1" fmla="*/ 56699 h 566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9435" h="56698">
                  <a:moveTo>
                    <a:pt x="59436" y="0"/>
                  </a:moveTo>
                  <a:cubicBezTo>
                    <a:pt x="41253" y="14908"/>
                    <a:pt x="21311" y="33482"/>
                    <a:pt x="0" y="56699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83" name="Forma livre: Forma 1082">
              <a:extLst>
                <a:ext uri="{FF2B5EF4-FFF2-40B4-BE49-F238E27FC236}">
                  <a16:creationId xmlns:a16="http://schemas.microsoft.com/office/drawing/2014/main" id="{D4B5C25B-27A1-96D3-89F6-D11EE45ABBE2}"/>
                </a:ext>
              </a:extLst>
            </p:cNvPr>
            <p:cNvSpPr/>
            <p:nvPr/>
          </p:nvSpPr>
          <p:spPr>
            <a:xfrm>
              <a:off x="6996236" y="5425626"/>
              <a:ext cx="106163" cy="49220"/>
            </a:xfrm>
            <a:custGeom>
              <a:avLst/>
              <a:gdLst>
                <a:gd name="connsiteX0" fmla="*/ 106164 w 106163"/>
                <a:gd name="connsiteY0" fmla="*/ 0 h 49220"/>
                <a:gd name="connsiteX1" fmla="*/ 0 w 106163"/>
                <a:gd name="connsiteY1" fmla="*/ 49220 h 492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6163" h="49220">
                  <a:moveTo>
                    <a:pt x="106164" y="0"/>
                  </a:moveTo>
                  <a:cubicBezTo>
                    <a:pt x="106164" y="0"/>
                    <a:pt x="50784" y="12366"/>
                    <a:pt x="0" y="4922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84" name="Forma livre: Forma 1083">
              <a:extLst>
                <a:ext uri="{FF2B5EF4-FFF2-40B4-BE49-F238E27FC236}">
                  <a16:creationId xmlns:a16="http://schemas.microsoft.com/office/drawing/2014/main" id="{7E633A55-46E2-392C-B653-EF9548E63398}"/>
                </a:ext>
              </a:extLst>
            </p:cNvPr>
            <p:cNvSpPr/>
            <p:nvPr/>
          </p:nvSpPr>
          <p:spPr>
            <a:xfrm>
              <a:off x="6945745" y="5498797"/>
              <a:ext cx="88078" cy="97903"/>
            </a:xfrm>
            <a:custGeom>
              <a:avLst/>
              <a:gdLst>
                <a:gd name="connsiteX0" fmla="*/ 88079 w 88078"/>
                <a:gd name="connsiteY0" fmla="*/ 0 h 97903"/>
                <a:gd name="connsiteX1" fmla="*/ 0 w 88078"/>
                <a:gd name="connsiteY1" fmla="*/ 97903 h 979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8078" h="97903">
                  <a:moveTo>
                    <a:pt x="88079" y="0"/>
                  </a:moveTo>
                  <a:cubicBezTo>
                    <a:pt x="63200" y="20480"/>
                    <a:pt x="32846" y="51420"/>
                    <a:pt x="0" y="97903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85" name="Forma livre: Forma 1084">
              <a:extLst>
                <a:ext uri="{FF2B5EF4-FFF2-40B4-BE49-F238E27FC236}">
                  <a16:creationId xmlns:a16="http://schemas.microsoft.com/office/drawing/2014/main" id="{242B63B1-DD2D-0969-D244-B7DCA4252115}"/>
                </a:ext>
              </a:extLst>
            </p:cNvPr>
            <p:cNvSpPr/>
            <p:nvPr/>
          </p:nvSpPr>
          <p:spPr>
            <a:xfrm>
              <a:off x="7054841" y="5459890"/>
              <a:ext cx="44870" cy="23021"/>
            </a:xfrm>
            <a:custGeom>
              <a:avLst/>
              <a:gdLst>
                <a:gd name="connsiteX0" fmla="*/ 44870 w 44870"/>
                <a:gd name="connsiteY0" fmla="*/ 0 h 23021"/>
                <a:gd name="connsiteX1" fmla="*/ 0 w 44870"/>
                <a:gd name="connsiteY1" fmla="*/ 23022 h 230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4870" h="23021">
                  <a:moveTo>
                    <a:pt x="44870" y="0"/>
                  </a:moveTo>
                  <a:cubicBezTo>
                    <a:pt x="44870" y="0"/>
                    <a:pt x="27763" y="3959"/>
                    <a:pt x="0" y="23022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086" name="Gráfico 13">
            <a:extLst>
              <a:ext uri="{FF2B5EF4-FFF2-40B4-BE49-F238E27FC236}">
                <a16:creationId xmlns:a16="http://schemas.microsoft.com/office/drawing/2014/main" id="{AC147F02-8264-7314-DB53-E6D5892F79FE}"/>
              </a:ext>
            </a:extLst>
          </p:cNvPr>
          <p:cNvGrpSpPr/>
          <p:nvPr/>
        </p:nvGrpSpPr>
        <p:grpSpPr>
          <a:xfrm>
            <a:off x="7526125" y="5290075"/>
            <a:ext cx="331381" cy="335853"/>
            <a:chOff x="7526125" y="5290075"/>
            <a:chExt cx="331381" cy="335853"/>
          </a:xfrm>
          <a:noFill/>
        </p:grpSpPr>
        <p:grpSp>
          <p:nvGrpSpPr>
            <p:cNvPr id="1087" name="Gráfico 13">
              <a:extLst>
                <a:ext uri="{FF2B5EF4-FFF2-40B4-BE49-F238E27FC236}">
                  <a16:creationId xmlns:a16="http://schemas.microsoft.com/office/drawing/2014/main" id="{6BB6DDE1-AC66-9693-1E51-8C18667EF655}"/>
                </a:ext>
              </a:extLst>
            </p:cNvPr>
            <p:cNvGrpSpPr/>
            <p:nvPr/>
          </p:nvGrpSpPr>
          <p:grpSpPr>
            <a:xfrm>
              <a:off x="7605552" y="5290075"/>
              <a:ext cx="174495" cy="180176"/>
              <a:chOff x="7605552" y="5290075"/>
              <a:chExt cx="174495" cy="180176"/>
            </a:xfrm>
            <a:noFill/>
          </p:grpSpPr>
          <p:grpSp>
            <p:nvGrpSpPr>
              <p:cNvPr id="1088" name="Gráfico 13">
                <a:extLst>
                  <a:ext uri="{FF2B5EF4-FFF2-40B4-BE49-F238E27FC236}">
                    <a16:creationId xmlns:a16="http://schemas.microsoft.com/office/drawing/2014/main" id="{9C131E48-AFD7-19F9-5039-93D646908A5C}"/>
                  </a:ext>
                </a:extLst>
              </p:cNvPr>
              <p:cNvGrpSpPr/>
              <p:nvPr/>
            </p:nvGrpSpPr>
            <p:grpSpPr>
              <a:xfrm>
                <a:off x="7636535" y="5290075"/>
                <a:ext cx="112515" cy="57003"/>
                <a:chOff x="7636535" y="5290075"/>
                <a:chExt cx="112515" cy="57003"/>
              </a:xfrm>
              <a:noFill/>
            </p:grpSpPr>
            <p:sp>
              <p:nvSpPr>
                <p:cNvPr id="1089" name="Forma livre: Forma 1088">
                  <a:extLst>
                    <a:ext uri="{FF2B5EF4-FFF2-40B4-BE49-F238E27FC236}">
                      <a16:creationId xmlns:a16="http://schemas.microsoft.com/office/drawing/2014/main" id="{D840EBA3-DE7F-5073-1F0E-FB434F5E82F7}"/>
                    </a:ext>
                  </a:extLst>
                </p:cNvPr>
                <p:cNvSpPr/>
                <p:nvPr/>
              </p:nvSpPr>
              <p:spPr>
                <a:xfrm>
                  <a:off x="7636535" y="5290075"/>
                  <a:ext cx="55335" cy="57003"/>
                </a:xfrm>
                <a:custGeom>
                  <a:avLst/>
                  <a:gdLst>
                    <a:gd name="connsiteX0" fmla="*/ 34416 w 55335"/>
                    <a:gd name="connsiteY0" fmla="*/ 6170 h 57003"/>
                    <a:gd name="connsiteX1" fmla="*/ 55336 w 55335"/>
                    <a:gd name="connsiteY1" fmla="*/ 57003 h 57003"/>
                    <a:gd name="connsiteX2" fmla="*/ 5529 w 55335"/>
                    <a:gd name="connsiteY2" fmla="*/ 33786 h 57003"/>
                    <a:gd name="connsiteX3" fmla="*/ 6213 w 55335"/>
                    <a:gd name="connsiteY3" fmla="*/ 5535 h 57003"/>
                    <a:gd name="connsiteX4" fmla="*/ 34465 w 55335"/>
                    <a:gd name="connsiteY4" fmla="*/ 6170 h 570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5335" h="57003">
                      <a:moveTo>
                        <a:pt x="34416" y="6170"/>
                      </a:moveTo>
                      <a:cubicBezTo>
                        <a:pt x="42041" y="14137"/>
                        <a:pt x="55336" y="57003"/>
                        <a:pt x="55336" y="57003"/>
                      </a:cubicBezTo>
                      <a:cubicBezTo>
                        <a:pt x="55336" y="57003"/>
                        <a:pt x="13154" y="41753"/>
                        <a:pt x="5529" y="33786"/>
                      </a:cubicBezTo>
                      <a:cubicBezTo>
                        <a:pt x="-2096" y="25819"/>
                        <a:pt x="-1803" y="13160"/>
                        <a:pt x="6213" y="5535"/>
                      </a:cubicBezTo>
                      <a:cubicBezTo>
                        <a:pt x="14180" y="-2090"/>
                        <a:pt x="26840" y="-1797"/>
                        <a:pt x="34465" y="6170"/>
                      </a:cubicBezTo>
                      <a:close/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090" name="Forma livre: Forma 1089">
                  <a:extLst>
                    <a:ext uri="{FF2B5EF4-FFF2-40B4-BE49-F238E27FC236}">
                      <a16:creationId xmlns:a16="http://schemas.microsoft.com/office/drawing/2014/main" id="{F002C831-15A8-E911-5E28-F8CD9F6F61C8}"/>
                    </a:ext>
                  </a:extLst>
                </p:cNvPr>
                <p:cNvSpPr/>
                <p:nvPr/>
              </p:nvSpPr>
              <p:spPr>
                <a:xfrm>
                  <a:off x="7693728" y="5290075"/>
                  <a:ext cx="55322" cy="57003"/>
                </a:xfrm>
                <a:custGeom>
                  <a:avLst/>
                  <a:gdLst>
                    <a:gd name="connsiteX0" fmla="*/ 20920 w 55322"/>
                    <a:gd name="connsiteY0" fmla="*/ 6170 h 57003"/>
                    <a:gd name="connsiteX1" fmla="*/ 0 w 55322"/>
                    <a:gd name="connsiteY1" fmla="*/ 57003 h 57003"/>
                    <a:gd name="connsiteX2" fmla="*/ 49807 w 55322"/>
                    <a:gd name="connsiteY2" fmla="*/ 33786 h 57003"/>
                    <a:gd name="connsiteX3" fmla="*/ 49171 w 55322"/>
                    <a:gd name="connsiteY3" fmla="*/ 5535 h 57003"/>
                    <a:gd name="connsiteX4" fmla="*/ 20920 w 55322"/>
                    <a:gd name="connsiteY4" fmla="*/ 6170 h 570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5322" h="57003">
                      <a:moveTo>
                        <a:pt x="20920" y="6170"/>
                      </a:moveTo>
                      <a:cubicBezTo>
                        <a:pt x="13295" y="14137"/>
                        <a:pt x="0" y="57003"/>
                        <a:pt x="0" y="57003"/>
                      </a:cubicBezTo>
                      <a:cubicBezTo>
                        <a:pt x="0" y="57003"/>
                        <a:pt x="42182" y="41753"/>
                        <a:pt x="49807" y="33786"/>
                      </a:cubicBezTo>
                      <a:cubicBezTo>
                        <a:pt x="57383" y="25819"/>
                        <a:pt x="57139" y="13160"/>
                        <a:pt x="49171" y="5535"/>
                      </a:cubicBezTo>
                      <a:cubicBezTo>
                        <a:pt x="41204" y="-2090"/>
                        <a:pt x="28545" y="-1797"/>
                        <a:pt x="20920" y="6170"/>
                      </a:cubicBezTo>
                      <a:close/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1091" name="Forma livre: Forma 1090">
                <a:extLst>
                  <a:ext uri="{FF2B5EF4-FFF2-40B4-BE49-F238E27FC236}">
                    <a16:creationId xmlns:a16="http://schemas.microsoft.com/office/drawing/2014/main" id="{8DE4DC95-90F9-D499-6DA1-441D026DA1F0}"/>
                  </a:ext>
                </a:extLst>
              </p:cNvPr>
              <p:cNvSpPr/>
              <p:nvPr/>
            </p:nvSpPr>
            <p:spPr>
              <a:xfrm>
                <a:off x="7617234" y="5415752"/>
                <a:ext cx="151131" cy="54499"/>
              </a:xfrm>
              <a:custGeom>
                <a:avLst/>
                <a:gdLst>
                  <a:gd name="connsiteX0" fmla="*/ 0 w 151131"/>
                  <a:gd name="connsiteY0" fmla="*/ 0 h 54499"/>
                  <a:gd name="connsiteX1" fmla="*/ 0 w 151131"/>
                  <a:gd name="connsiteY1" fmla="*/ 54499 h 54499"/>
                  <a:gd name="connsiteX2" fmla="*/ 151131 w 151131"/>
                  <a:gd name="connsiteY2" fmla="*/ 54499 h 54499"/>
                  <a:gd name="connsiteX3" fmla="*/ 151131 w 151131"/>
                  <a:gd name="connsiteY3" fmla="*/ 0 h 544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51131" h="54499">
                    <a:moveTo>
                      <a:pt x="0" y="0"/>
                    </a:moveTo>
                    <a:lnTo>
                      <a:pt x="0" y="54499"/>
                    </a:lnTo>
                    <a:lnTo>
                      <a:pt x="151131" y="54499"/>
                    </a:lnTo>
                    <a:lnTo>
                      <a:pt x="151131" y="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092" name="Forma livre: Forma 1091">
                <a:extLst>
                  <a:ext uri="{FF2B5EF4-FFF2-40B4-BE49-F238E27FC236}">
                    <a16:creationId xmlns:a16="http://schemas.microsoft.com/office/drawing/2014/main" id="{9709D16F-A2B5-4395-78C1-2DFA61DFB9DC}"/>
                  </a:ext>
                </a:extLst>
              </p:cNvPr>
              <p:cNvSpPr/>
              <p:nvPr/>
            </p:nvSpPr>
            <p:spPr>
              <a:xfrm>
                <a:off x="7605552" y="5351673"/>
                <a:ext cx="174495" cy="37147"/>
              </a:xfrm>
              <a:custGeom>
                <a:avLst/>
                <a:gdLst>
                  <a:gd name="connsiteX0" fmla="*/ 100640 w 174495"/>
                  <a:gd name="connsiteY0" fmla="*/ 37147 h 37147"/>
                  <a:gd name="connsiteX1" fmla="*/ 174495 w 174495"/>
                  <a:gd name="connsiteY1" fmla="*/ 37147 h 37147"/>
                  <a:gd name="connsiteX2" fmla="*/ 174495 w 174495"/>
                  <a:gd name="connsiteY2" fmla="*/ 0 h 37147"/>
                  <a:gd name="connsiteX3" fmla="*/ 0 w 174495"/>
                  <a:gd name="connsiteY3" fmla="*/ 0 h 37147"/>
                  <a:gd name="connsiteX4" fmla="*/ 0 w 174495"/>
                  <a:gd name="connsiteY4" fmla="*/ 37147 h 37147"/>
                  <a:gd name="connsiteX5" fmla="*/ 73806 w 174495"/>
                  <a:gd name="connsiteY5" fmla="*/ 37147 h 371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74495" h="37147">
                    <a:moveTo>
                      <a:pt x="100640" y="37147"/>
                    </a:moveTo>
                    <a:lnTo>
                      <a:pt x="174495" y="37147"/>
                    </a:lnTo>
                    <a:lnTo>
                      <a:pt x="174495" y="0"/>
                    </a:lnTo>
                    <a:lnTo>
                      <a:pt x="0" y="0"/>
                    </a:lnTo>
                    <a:lnTo>
                      <a:pt x="0" y="37147"/>
                    </a:lnTo>
                    <a:lnTo>
                      <a:pt x="73806" y="37147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1093" name="Gráfico 13">
                <a:extLst>
                  <a:ext uri="{FF2B5EF4-FFF2-40B4-BE49-F238E27FC236}">
                    <a16:creationId xmlns:a16="http://schemas.microsoft.com/office/drawing/2014/main" id="{CB1E6294-AA95-9488-928F-153F21B0D465}"/>
                  </a:ext>
                </a:extLst>
              </p:cNvPr>
              <p:cNvGrpSpPr/>
              <p:nvPr/>
            </p:nvGrpSpPr>
            <p:grpSpPr>
              <a:xfrm>
                <a:off x="7675252" y="5352602"/>
                <a:ext cx="35094" cy="117161"/>
                <a:chOff x="7675252" y="5352602"/>
                <a:chExt cx="35094" cy="117161"/>
              </a:xfrm>
            </p:grpSpPr>
            <p:sp>
              <p:nvSpPr>
                <p:cNvPr id="1094" name="Forma livre: Forma 1093">
                  <a:extLst>
                    <a:ext uri="{FF2B5EF4-FFF2-40B4-BE49-F238E27FC236}">
                      <a16:creationId xmlns:a16="http://schemas.microsoft.com/office/drawing/2014/main" id="{54EC8EC4-C1E4-D3A7-3BFC-F1B7224C2E5D}"/>
                    </a:ext>
                  </a:extLst>
                </p:cNvPr>
                <p:cNvSpPr/>
                <p:nvPr/>
              </p:nvSpPr>
              <p:spPr>
                <a:xfrm>
                  <a:off x="7675252" y="5352602"/>
                  <a:ext cx="4887" cy="117161"/>
                </a:xfrm>
                <a:custGeom>
                  <a:avLst/>
                  <a:gdLst>
                    <a:gd name="connsiteX0" fmla="*/ 0 w 4887"/>
                    <a:gd name="connsiteY0" fmla="*/ 0 h 117161"/>
                    <a:gd name="connsiteX1" fmla="*/ 0 w 4887"/>
                    <a:gd name="connsiteY1" fmla="*/ 117161 h 11716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887" h="117161">
                      <a:moveTo>
                        <a:pt x="0" y="0"/>
                      </a:moveTo>
                      <a:lnTo>
                        <a:pt x="0" y="117161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095" name="Forma livre: Forma 1094">
                  <a:extLst>
                    <a:ext uri="{FF2B5EF4-FFF2-40B4-BE49-F238E27FC236}">
                      <a16:creationId xmlns:a16="http://schemas.microsoft.com/office/drawing/2014/main" id="{5F049CFF-76C2-471B-9175-BC7CAD1D511D}"/>
                    </a:ext>
                  </a:extLst>
                </p:cNvPr>
                <p:cNvSpPr/>
                <p:nvPr/>
              </p:nvSpPr>
              <p:spPr>
                <a:xfrm>
                  <a:off x="7710347" y="5352602"/>
                  <a:ext cx="4887" cy="117161"/>
                </a:xfrm>
                <a:custGeom>
                  <a:avLst/>
                  <a:gdLst>
                    <a:gd name="connsiteX0" fmla="*/ 0 w 4887"/>
                    <a:gd name="connsiteY0" fmla="*/ 0 h 117161"/>
                    <a:gd name="connsiteX1" fmla="*/ 0 w 4887"/>
                    <a:gd name="connsiteY1" fmla="*/ 117161 h 11716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887" h="117161">
                      <a:moveTo>
                        <a:pt x="0" y="0"/>
                      </a:moveTo>
                      <a:lnTo>
                        <a:pt x="0" y="117161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grpSp>
          <p:nvGrpSpPr>
            <p:cNvPr id="1096" name="Gráfico 13">
              <a:extLst>
                <a:ext uri="{FF2B5EF4-FFF2-40B4-BE49-F238E27FC236}">
                  <a16:creationId xmlns:a16="http://schemas.microsoft.com/office/drawing/2014/main" id="{4D421824-53CA-0621-72A0-F15208638FDB}"/>
                </a:ext>
              </a:extLst>
            </p:cNvPr>
            <p:cNvGrpSpPr/>
            <p:nvPr/>
          </p:nvGrpSpPr>
          <p:grpSpPr>
            <a:xfrm>
              <a:off x="7526125" y="5490814"/>
              <a:ext cx="331381" cy="135114"/>
              <a:chOff x="7526125" y="5490814"/>
              <a:chExt cx="331381" cy="135114"/>
            </a:xfrm>
            <a:noFill/>
          </p:grpSpPr>
          <p:sp>
            <p:nvSpPr>
              <p:cNvPr id="1097" name="Forma livre: Forma 1096">
                <a:extLst>
                  <a:ext uri="{FF2B5EF4-FFF2-40B4-BE49-F238E27FC236}">
                    <a16:creationId xmlns:a16="http://schemas.microsoft.com/office/drawing/2014/main" id="{F906A3D6-9A26-C59D-079B-D97D96BD05B6}"/>
                  </a:ext>
                </a:extLst>
              </p:cNvPr>
              <p:cNvSpPr/>
              <p:nvPr/>
            </p:nvSpPr>
            <p:spPr>
              <a:xfrm>
                <a:off x="7567085" y="5490814"/>
                <a:ext cx="290421" cy="135114"/>
              </a:xfrm>
              <a:custGeom>
                <a:avLst/>
                <a:gdLst>
                  <a:gd name="connsiteX0" fmla="*/ 198201 w 290421"/>
                  <a:gd name="connsiteY0" fmla="*/ 33692 h 135114"/>
                  <a:gd name="connsiteX1" fmla="*/ 257637 w 290421"/>
                  <a:gd name="connsiteY1" fmla="*/ 3339 h 135114"/>
                  <a:gd name="connsiteX2" fmla="*/ 288137 w 290421"/>
                  <a:gd name="connsiteY2" fmla="*/ 9986 h 135114"/>
                  <a:gd name="connsiteX3" fmla="*/ 277335 w 290421"/>
                  <a:gd name="connsiteY3" fmla="*/ 39997 h 135114"/>
                  <a:gd name="connsiteX4" fmla="*/ 154064 w 290421"/>
                  <a:gd name="connsiteY4" fmla="*/ 106081 h 135114"/>
                  <a:gd name="connsiteX5" fmla="*/ 147563 w 290421"/>
                  <a:gd name="connsiteY5" fmla="*/ 107694 h 135114"/>
                  <a:gd name="connsiteX6" fmla="*/ 32602 w 290421"/>
                  <a:gd name="connsiteY6" fmla="*/ 110822 h 135114"/>
                  <a:gd name="connsiteX7" fmla="*/ 0 w 290421"/>
                  <a:gd name="connsiteY7" fmla="*/ 135115 h 1351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90421" h="135114">
                    <a:moveTo>
                      <a:pt x="198201" y="33692"/>
                    </a:moveTo>
                    <a:lnTo>
                      <a:pt x="257637" y="3339"/>
                    </a:lnTo>
                    <a:cubicBezTo>
                      <a:pt x="269124" y="-2820"/>
                      <a:pt x="282614" y="-376"/>
                      <a:pt x="288137" y="9986"/>
                    </a:cubicBezTo>
                    <a:cubicBezTo>
                      <a:pt x="293661" y="20348"/>
                      <a:pt x="288821" y="33839"/>
                      <a:pt x="277335" y="39997"/>
                    </a:cubicBezTo>
                    <a:lnTo>
                      <a:pt x="154064" y="106081"/>
                    </a:lnTo>
                    <a:lnTo>
                      <a:pt x="147563" y="107694"/>
                    </a:lnTo>
                    <a:lnTo>
                      <a:pt x="32602" y="110822"/>
                    </a:lnTo>
                    <a:cubicBezTo>
                      <a:pt x="32602" y="110822"/>
                      <a:pt x="17792" y="114977"/>
                      <a:pt x="0" y="135115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098" name="Forma livre: Forma 1097">
                <a:extLst>
                  <a:ext uri="{FF2B5EF4-FFF2-40B4-BE49-F238E27FC236}">
                    <a16:creationId xmlns:a16="http://schemas.microsoft.com/office/drawing/2014/main" id="{5A51D814-F7A2-0C2B-825D-9E606925E75B}"/>
                  </a:ext>
                </a:extLst>
              </p:cNvPr>
              <p:cNvSpPr/>
              <p:nvPr/>
            </p:nvSpPr>
            <p:spPr>
              <a:xfrm>
                <a:off x="7526125" y="5507138"/>
                <a:ext cx="219218" cy="58328"/>
              </a:xfrm>
              <a:custGeom>
                <a:avLst/>
                <a:gdLst>
                  <a:gd name="connsiteX0" fmla="*/ 0 w 219218"/>
                  <a:gd name="connsiteY0" fmla="*/ 58328 h 58328"/>
                  <a:gd name="connsiteX1" fmla="*/ 52153 w 219218"/>
                  <a:gd name="connsiteY1" fmla="*/ 10330 h 58328"/>
                  <a:gd name="connsiteX2" fmla="*/ 107874 w 219218"/>
                  <a:gd name="connsiteY2" fmla="*/ 2607 h 58328"/>
                  <a:gd name="connsiteX3" fmla="*/ 149665 w 219218"/>
                  <a:gd name="connsiteY3" fmla="*/ 7348 h 58328"/>
                  <a:gd name="connsiteX4" fmla="*/ 194780 w 219218"/>
                  <a:gd name="connsiteY4" fmla="*/ 7348 h 58328"/>
                  <a:gd name="connsiteX5" fmla="*/ 219219 w 219218"/>
                  <a:gd name="connsiteY5" fmla="*/ 28659 h 58328"/>
                  <a:gd name="connsiteX6" fmla="*/ 194780 w 219218"/>
                  <a:gd name="connsiteY6" fmla="*/ 49970 h 58328"/>
                  <a:gd name="connsiteX7" fmla="*/ 132362 w 219218"/>
                  <a:gd name="connsiteY7" fmla="*/ 49970 h 583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19218" h="58328">
                    <a:moveTo>
                      <a:pt x="0" y="58328"/>
                    </a:moveTo>
                    <a:lnTo>
                      <a:pt x="52153" y="10330"/>
                    </a:lnTo>
                    <a:cubicBezTo>
                      <a:pt x="77668" y="-6876"/>
                      <a:pt x="107874" y="2607"/>
                      <a:pt x="107874" y="2607"/>
                    </a:cubicBezTo>
                    <a:cubicBezTo>
                      <a:pt x="122489" y="6468"/>
                      <a:pt x="149665" y="7348"/>
                      <a:pt x="149665" y="7348"/>
                    </a:cubicBezTo>
                    <a:lnTo>
                      <a:pt x="194780" y="7348"/>
                    </a:lnTo>
                    <a:cubicBezTo>
                      <a:pt x="208221" y="7348"/>
                      <a:pt x="219219" y="16928"/>
                      <a:pt x="219219" y="28659"/>
                    </a:cubicBezTo>
                    <a:cubicBezTo>
                      <a:pt x="219219" y="40390"/>
                      <a:pt x="208221" y="49970"/>
                      <a:pt x="194780" y="49970"/>
                    </a:cubicBezTo>
                    <a:lnTo>
                      <a:pt x="132362" y="4997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099" name="Gráfico 13">
            <a:extLst>
              <a:ext uri="{FF2B5EF4-FFF2-40B4-BE49-F238E27FC236}">
                <a16:creationId xmlns:a16="http://schemas.microsoft.com/office/drawing/2014/main" id="{3C03CC20-47E2-1B31-62FD-06F3EFEE9627}"/>
              </a:ext>
            </a:extLst>
          </p:cNvPr>
          <p:cNvGrpSpPr/>
          <p:nvPr/>
        </p:nvGrpSpPr>
        <p:grpSpPr>
          <a:xfrm>
            <a:off x="6295811" y="5295561"/>
            <a:ext cx="248448" cy="324844"/>
            <a:chOff x="6295811" y="5295561"/>
            <a:chExt cx="248448" cy="324844"/>
          </a:xfrm>
        </p:grpSpPr>
        <p:grpSp>
          <p:nvGrpSpPr>
            <p:cNvPr id="1100" name="Gráfico 13">
              <a:extLst>
                <a:ext uri="{FF2B5EF4-FFF2-40B4-BE49-F238E27FC236}">
                  <a16:creationId xmlns:a16="http://schemas.microsoft.com/office/drawing/2014/main" id="{9481C14C-4668-6179-0AF3-A5D7864B1145}"/>
                </a:ext>
              </a:extLst>
            </p:cNvPr>
            <p:cNvGrpSpPr/>
            <p:nvPr/>
          </p:nvGrpSpPr>
          <p:grpSpPr>
            <a:xfrm>
              <a:off x="6372012" y="5487750"/>
              <a:ext cx="95996" cy="51713"/>
              <a:chOff x="6372012" y="5487750"/>
              <a:chExt cx="95996" cy="51713"/>
            </a:xfrm>
          </p:grpSpPr>
          <p:sp>
            <p:nvSpPr>
              <p:cNvPr id="1101" name="Forma livre: Forma 1100">
                <a:extLst>
                  <a:ext uri="{FF2B5EF4-FFF2-40B4-BE49-F238E27FC236}">
                    <a16:creationId xmlns:a16="http://schemas.microsoft.com/office/drawing/2014/main" id="{D494A010-A1E3-D9F3-E8AA-2382B67EDB45}"/>
                  </a:ext>
                </a:extLst>
              </p:cNvPr>
              <p:cNvSpPr/>
              <p:nvPr/>
            </p:nvSpPr>
            <p:spPr>
              <a:xfrm>
                <a:off x="6372012" y="5487750"/>
                <a:ext cx="8407" cy="8407"/>
              </a:xfrm>
              <a:custGeom>
                <a:avLst/>
                <a:gdLst>
                  <a:gd name="connsiteX0" fmla="*/ 8407 w 8407"/>
                  <a:gd name="connsiteY0" fmla="*/ 4204 h 8407"/>
                  <a:gd name="connsiteX1" fmla="*/ 4204 w 8407"/>
                  <a:gd name="connsiteY1" fmla="*/ 8407 h 8407"/>
                  <a:gd name="connsiteX2" fmla="*/ 0 w 8407"/>
                  <a:gd name="connsiteY2" fmla="*/ 4204 h 8407"/>
                  <a:gd name="connsiteX3" fmla="*/ 4204 w 8407"/>
                  <a:gd name="connsiteY3" fmla="*/ 0 h 8407"/>
                  <a:gd name="connsiteX4" fmla="*/ 8407 w 8407"/>
                  <a:gd name="connsiteY4" fmla="*/ 4204 h 84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407" h="8407">
                    <a:moveTo>
                      <a:pt x="8407" y="4204"/>
                    </a:moveTo>
                    <a:cubicBezTo>
                      <a:pt x="8407" y="6550"/>
                      <a:pt x="6550" y="8407"/>
                      <a:pt x="4204" y="8407"/>
                    </a:cubicBezTo>
                    <a:cubicBezTo>
                      <a:pt x="1857" y="8407"/>
                      <a:pt x="0" y="6550"/>
                      <a:pt x="0" y="4204"/>
                    </a:cubicBezTo>
                    <a:cubicBezTo>
                      <a:pt x="0" y="1857"/>
                      <a:pt x="1906" y="0"/>
                      <a:pt x="4204" y="0"/>
                    </a:cubicBezTo>
                    <a:cubicBezTo>
                      <a:pt x="6501" y="0"/>
                      <a:pt x="8407" y="1857"/>
                      <a:pt x="8407" y="4204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102" name="Forma livre: Forma 1101">
                <a:extLst>
                  <a:ext uri="{FF2B5EF4-FFF2-40B4-BE49-F238E27FC236}">
                    <a16:creationId xmlns:a16="http://schemas.microsoft.com/office/drawing/2014/main" id="{F520948D-8A2F-F0E5-8F6B-E4B5B3E341EB}"/>
                  </a:ext>
                </a:extLst>
              </p:cNvPr>
              <p:cNvSpPr/>
              <p:nvPr/>
            </p:nvSpPr>
            <p:spPr>
              <a:xfrm>
                <a:off x="6459602" y="5487750"/>
                <a:ext cx="8407" cy="8407"/>
              </a:xfrm>
              <a:custGeom>
                <a:avLst/>
                <a:gdLst>
                  <a:gd name="connsiteX0" fmla="*/ 8407 w 8407"/>
                  <a:gd name="connsiteY0" fmla="*/ 4204 h 8407"/>
                  <a:gd name="connsiteX1" fmla="*/ 4204 w 8407"/>
                  <a:gd name="connsiteY1" fmla="*/ 8407 h 8407"/>
                  <a:gd name="connsiteX2" fmla="*/ 0 w 8407"/>
                  <a:gd name="connsiteY2" fmla="*/ 4204 h 8407"/>
                  <a:gd name="connsiteX3" fmla="*/ 4204 w 8407"/>
                  <a:gd name="connsiteY3" fmla="*/ 0 h 8407"/>
                  <a:gd name="connsiteX4" fmla="*/ 8407 w 8407"/>
                  <a:gd name="connsiteY4" fmla="*/ 4204 h 84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407" h="8407">
                    <a:moveTo>
                      <a:pt x="8407" y="4204"/>
                    </a:moveTo>
                    <a:cubicBezTo>
                      <a:pt x="8407" y="6550"/>
                      <a:pt x="6550" y="8407"/>
                      <a:pt x="4204" y="8407"/>
                    </a:cubicBezTo>
                    <a:cubicBezTo>
                      <a:pt x="1857" y="8407"/>
                      <a:pt x="0" y="6550"/>
                      <a:pt x="0" y="4204"/>
                    </a:cubicBezTo>
                    <a:cubicBezTo>
                      <a:pt x="0" y="1857"/>
                      <a:pt x="1906" y="0"/>
                      <a:pt x="4204" y="0"/>
                    </a:cubicBezTo>
                    <a:cubicBezTo>
                      <a:pt x="6501" y="0"/>
                      <a:pt x="8407" y="1857"/>
                      <a:pt x="8407" y="4204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103" name="Forma livre: Forma 1102">
                <a:extLst>
                  <a:ext uri="{FF2B5EF4-FFF2-40B4-BE49-F238E27FC236}">
                    <a16:creationId xmlns:a16="http://schemas.microsoft.com/office/drawing/2014/main" id="{7A52BE93-94FA-43EF-1909-74511E461153}"/>
                  </a:ext>
                </a:extLst>
              </p:cNvPr>
              <p:cNvSpPr/>
              <p:nvPr/>
            </p:nvSpPr>
            <p:spPr>
              <a:xfrm>
                <a:off x="6376167" y="5492833"/>
                <a:ext cx="87687" cy="46629"/>
              </a:xfrm>
              <a:custGeom>
                <a:avLst/>
                <a:gdLst>
                  <a:gd name="connsiteX0" fmla="*/ 87688 w 87687"/>
                  <a:gd name="connsiteY0" fmla="*/ 0 h 46629"/>
                  <a:gd name="connsiteX1" fmla="*/ 43844 w 87687"/>
                  <a:gd name="connsiteY1" fmla="*/ 46630 h 46629"/>
                  <a:gd name="connsiteX2" fmla="*/ 0 w 87687"/>
                  <a:gd name="connsiteY2" fmla="*/ 0 h 466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7687" h="46629">
                    <a:moveTo>
                      <a:pt x="87688" y="0"/>
                    </a:moveTo>
                    <a:cubicBezTo>
                      <a:pt x="87688" y="25661"/>
                      <a:pt x="67941" y="46630"/>
                      <a:pt x="43844" y="46630"/>
                    </a:cubicBezTo>
                    <a:cubicBezTo>
                      <a:pt x="19747" y="46630"/>
                      <a:pt x="0" y="25661"/>
                      <a:pt x="0" y="0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104" name="Forma livre: Forma 1103">
              <a:extLst>
                <a:ext uri="{FF2B5EF4-FFF2-40B4-BE49-F238E27FC236}">
                  <a16:creationId xmlns:a16="http://schemas.microsoft.com/office/drawing/2014/main" id="{83DBC14B-468B-0132-FD08-290D2C6C7559}"/>
                </a:ext>
              </a:extLst>
            </p:cNvPr>
            <p:cNvSpPr/>
            <p:nvPr/>
          </p:nvSpPr>
          <p:spPr>
            <a:xfrm>
              <a:off x="6295811" y="5452118"/>
              <a:ext cx="248448" cy="168287"/>
            </a:xfrm>
            <a:custGeom>
              <a:avLst/>
              <a:gdLst>
                <a:gd name="connsiteX0" fmla="*/ 0 w 248448"/>
                <a:gd name="connsiteY0" fmla="*/ 0 h 168287"/>
                <a:gd name="connsiteX1" fmla="*/ 248448 w 248448"/>
                <a:gd name="connsiteY1" fmla="*/ 0 h 168287"/>
                <a:gd name="connsiteX2" fmla="*/ 248448 w 248448"/>
                <a:gd name="connsiteY2" fmla="*/ 168288 h 168287"/>
                <a:gd name="connsiteX3" fmla="*/ 0 w 248448"/>
                <a:gd name="connsiteY3" fmla="*/ 168288 h 1682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8448" h="168287">
                  <a:moveTo>
                    <a:pt x="0" y="0"/>
                  </a:moveTo>
                  <a:lnTo>
                    <a:pt x="248448" y="0"/>
                  </a:lnTo>
                  <a:lnTo>
                    <a:pt x="248448" y="168288"/>
                  </a:lnTo>
                  <a:lnTo>
                    <a:pt x="0" y="168288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105" name="Gráfico 13">
              <a:extLst>
                <a:ext uri="{FF2B5EF4-FFF2-40B4-BE49-F238E27FC236}">
                  <a16:creationId xmlns:a16="http://schemas.microsoft.com/office/drawing/2014/main" id="{75A40EB5-20B7-625A-93DF-1113A0D18157}"/>
                </a:ext>
              </a:extLst>
            </p:cNvPr>
            <p:cNvGrpSpPr/>
            <p:nvPr/>
          </p:nvGrpSpPr>
          <p:grpSpPr>
            <a:xfrm>
              <a:off x="6333838" y="5295561"/>
              <a:ext cx="172344" cy="135783"/>
              <a:chOff x="6333838" y="5295561"/>
              <a:chExt cx="172344" cy="135783"/>
            </a:xfrm>
            <a:noFill/>
          </p:grpSpPr>
          <p:sp>
            <p:nvSpPr>
              <p:cNvPr id="1106" name="Forma livre: Forma 1105">
                <a:extLst>
                  <a:ext uri="{FF2B5EF4-FFF2-40B4-BE49-F238E27FC236}">
                    <a16:creationId xmlns:a16="http://schemas.microsoft.com/office/drawing/2014/main" id="{5427FBB2-DCBF-B8A1-5D49-EB6FEB8A2ACD}"/>
                  </a:ext>
                </a:extLst>
              </p:cNvPr>
              <p:cNvSpPr/>
              <p:nvPr/>
            </p:nvSpPr>
            <p:spPr>
              <a:xfrm>
                <a:off x="6333838" y="5347665"/>
                <a:ext cx="172344" cy="36707"/>
              </a:xfrm>
              <a:custGeom>
                <a:avLst/>
                <a:gdLst>
                  <a:gd name="connsiteX0" fmla="*/ 103671 w 172344"/>
                  <a:gd name="connsiteY0" fmla="*/ 36708 h 36707"/>
                  <a:gd name="connsiteX1" fmla="*/ 172345 w 172344"/>
                  <a:gd name="connsiteY1" fmla="*/ 36708 h 36707"/>
                  <a:gd name="connsiteX2" fmla="*/ 172345 w 172344"/>
                  <a:gd name="connsiteY2" fmla="*/ 0 h 36707"/>
                  <a:gd name="connsiteX3" fmla="*/ 0 w 172344"/>
                  <a:gd name="connsiteY3" fmla="*/ 0 h 36707"/>
                  <a:gd name="connsiteX4" fmla="*/ 0 w 172344"/>
                  <a:gd name="connsiteY4" fmla="*/ 36708 h 36707"/>
                  <a:gd name="connsiteX5" fmla="*/ 68430 w 172344"/>
                  <a:gd name="connsiteY5" fmla="*/ 36708 h 367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72344" h="36707">
                    <a:moveTo>
                      <a:pt x="103671" y="36708"/>
                    </a:moveTo>
                    <a:lnTo>
                      <a:pt x="172345" y="36708"/>
                    </a:lnTo>
                    <a:lnTo>
                      <a:pt x="172345" y="0"/>
                    </a:lnTo>
                    <a:lnTo>
                      <a:pt x="0" y="0"/>
                    </a:lnTo>
                    <a:lnTo>
                      <a:pt x="0" y="36708"/>
                    </a:lnTo>
                    <a:lnTo>
                      <a:pt x="68430" y="36708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1107" name="Gráfico 13">
                <a:extLst>
                  <a:ext uri="{FF2B5EF4-FFF2-40B4-BE49-F238E27FC236}">
                    <a16:creationId xmlns:a16="http://schemas.microsoft.com/office/drawing/2014/main" id="{CEB28AEE-EE5A-B859-550E-59B6990B69F7}"/>
                  </a:ext>
                </a:extLst>
              </p:cNvPr>
              <p:cNvGrpSpPr/>
              <p:nvPr/>
            </p:nvGrpSpPr>
            <p:grpSpPr>
              <a:xfrm>
                <a:off x="6402659" y="5348594"/>
                <a:ext cx="34703" cy="82750"/>
                <a:chOff x="6402659" y="5348594"/>
                <a:chExt cx="34703" cy="82750"/>
              </a:xfrm>
            </p:grpSpPr>
            <p:sp>
              <p:nvSpPr>
                <p:cNvPr id="1108" name="Forma livre: Forma 1107">
                  <a:extLst>
                    <a:ext uri="{FF2B5EF4-FFF2-40B4-BE49-F238E27FC236}">
                      <a16:creationId xmlns:a16="http://schemas.microsoft.com/office/drawing/2014/main" id="{40A1061A-FBEF-FED8-9E3D-AC962D6959BB}"/>
                    </a:ext>
                  </a:extLst>
                </p:cNvPr>
                <p:cNvSpPr/>
                <p:nvPr/>
              </p:nvSpPr>
              <p:spPr>
                <a:xfrm>
                  <a:off x="6402659" y="5348594"/>
                  <a:ext cx="4887" cy="82750"/>
                </a:xfrm>
                <a:custGeom>
                  <a:avLst/>
                  <a:gdLst>
                    <a:gd name="connsiteX0" fmla="*/ 0 w 4887"/>
                    <a:gd name="connsiteY0" fmla="*/ 0 h 82750"/>
                    <a:gd name="connsiteX1" fmla="*/ 0 w 4887"/>
                    <a:gd name="connsiteY1" fmla="*/ 82751 h 827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887" h="82750">
                      <a:moveTo>
                        <a:pt x="0" y="0"/>
                      </a:moveTo>
                      <a:lnTo>
                        <a:pt x="0" y="82751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109" name="Forma livre: Forma 1108">
                  <a:extLst>
                    <a:ext uri="{FF2B5EF4-FFF2-40B4-BE49-F238E27FC236}">
                      <a16:creationId xmlns:a16="http://schemas.microsoft.com/office/drawing/2014/main" id="{685EFE7F-840A-DB12-458F-8CFA4B36E038}"/>
                    </a:ext>
                  </a:extLst>
                </p:cNvPr>
                <p:cNvSpPr/>
                <p:nvPr/>
              </p:nvSpPr>
              <p:spPr>
                <a:xfrm>
                  <a:off x="6437362" y="5348594"/>
                  <a:ext cx="4887" cy="82750"/>
                </a:xfrm>
                <a:custGeom>
                  <a:avLst/>
                  <a:gdLst>
                    <a:gd name="connsiteX0" fmla="*/ 0 w 4887"/>
                    <a:gd name="connsiteY0" fmla="*/ 0 h 82750"/>
                    <a:gd name="connsiteX1" fmla="*/ 0 w 4887"/>
                    <a:gd name="connsiteY1" fmla="*/ 82751 h 827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887" h="82750">
                      <a:moveTo>
                        <a:pt x="0" y="0"/>
                      </a:moveTo>
                      <a:lnTo>
                        <a:pt x="0" y="82751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1110" name="Gráfico 13">
                <a:extLst>
                  <a:ext uri="{FF2B5EF4-FFF2-40B4-BE49-F238E27FC236}">
                    <a16:creationId xmlns:a16="http://schemas.microsoft.com/office/drawing/2014/main" id="{9B11FC9B-173A-561B-EFEB-5E318BD06E71}"/>
                  </a:ext>
                </a:extLst>
              </p:cNvPr>
              <p:cNvGrpSpPr/>
              <p:nvPr/>
            </p:nvGrpSpPr>
            <p:grpSpPr>
              <a:xfrm>
                <a:off x="6357300" y="5295561"/>
                <a:ext cx="125421" cy="52104"/>
                <a:chOff x="6357300" y="5295561"/>
                <a:chExt cx="125421" cy="52104"/>
              </a:xfrm>
              <a:noFill/>
            </p:grpSpPr>
            <p:sp>
              <p:nvSpPr>
                <p:cNvPr id="1111" name="Forma livre: Forma 1110">
                  <a:extLst>
                    <a:ext uri="{FF2B5EF4-FFF2-40B4-BE49-F238E27FC236}">
                      <a16:creationId xmlns:a16="http://schemas.microsoft.com/office/drawing/2014/main" id="{69EBB21E-4668-0D0E-25D6-6B0BA70BD5C9}"/>
                    </a:ext>
                  </a:extLst>
                </p:cNvPr>
                <p:cNvSpPr/>
                <p:nvPr/>
              </p:nvSpPr>
              <p:spPr>
                <a:xfrm>
                  <a:off x="6420108" y="5295561"/>
                  <a:ext cx="62613" cy="52104"/>
                </a:xfrm>
                <a:custGeom>
                  <a:avLst/>
                  <a:gdLst>
                    <a:gd name="connsiteX0" fmla="*/ 0 w 62613"/>
                    <a:gd name="connsiteY0" fmla="*/ 51518 h 52104"/>
                    <a:gd name="connsiteX1" fmla="*/ 36561 w 62613"/>
                    <a:gd name="connsiteY1" fmla="*/ 0 h 52104"/>
                    <a:gd name="connsiteX2" fmla="*/ 62613 w 62613"/>
                    <a:gd name="connsiteY2" fmla="*/ 26052 h 52104"/>
                    <a:gd name="connsiteX3" fmla="*/ 36561 w 62613"/>
                    <a:gd name="connsiteY3" fmla="*/ 52104 h 5210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62613" h="52104">
                      <a:moveTo>
                        <a:pt x="0" y="51518"/>
                      </a:moveTo>
                      <a:cubicBezTo>
                        <a:pt x="4741" y="19405"/>
                        <a:pt x="18427" y="0"/>
                        <a:pt x="36561" y="0"/>
                      </a:cubicBezTo>
                      <a:cubicBezTo>
                        <a:pt x="50931" y="0"/>
                        <a:pt x="62613" y="11682"/>
                        <a:pt x="62613" y="26052"/>
                      </a:cubicBezTo>
                      <a:cubicBezTo>
                        <a:pt x="62613" y="40422"/>
                        <a:pt x="50931" y="52104"/>
                        <a:pt x="36561" y="52104"/>
                      </a:cubicBez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112" name="Forma livre: Forma 1111">
                  <a:extLst>
                    <a:ext uri="{FF2B5EF4-FFF2-40B4-BE49-F238E27FC236}">
                      <a16:creationId xmlns:a16="http://schemas.microsoft.com/office/drawing/2014/main" id="{FD62B269-C84C-6896-880E-6254D5FDB97D}"/>
                    </a:ext>
                  </a:extLst>
                </p:cNvPr>
                <p:cNvSpPr/>
                <p:nvPr/>
              </p:nvSpPr>
              <p:spPr>
                <a:xfrm>
                  <a:off x="6357300" y="5295561"/>
                  <a:ext cx="62613" cy="52104"/>
                </a:xfrm>
                <a:custGeom>
                  <a:avLst/>
                  <a:gdLst>
                    <a:gd name="connsiteX0" fmla="*/ 62613 w 62613"/>
                    <a:gd name="connsiteY0" fmla="*/ 51518 h 52104"/>
                    <a:gd name="connsiteX1" fmla="*/ 26052 w 62613"/>
                    <a:gd name="connsiteY1" fmla="*/ 0 h 52104"/>
                    <a:gd name="connsiteX2" fmla="*/ 0 w 62613"/>
                    <a:gd name="connsiteY2" fmla="*/ 26052 h 52104"/>
                    <a:gd name="connsiteX3" fmla="*/ 26052 w 62613"/>
                    <a:gd name="connsiteY3" fmla="*/ 52104 h 5210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62613" h="52104">
                      <a:moveTo>
                        <a:pt x="62613" y="51518"/>
                      </a:moveTo>
                      <a:cubicBezTo>
                        <a:pt x="57872" y="19405"/>
                        <a:pt x="44186" y="0"/>
                        <a:pt x="26052" y="0"/>
                      </a:cubicBezTo>
                      <a:cubicBezTo>
                        <a:pt x="11682" y="0"/>
                        <a:pt x="0" y="11682"/>
                        <a:pt x="0" y="26052"/>
                      </a:cubicBezTo>
                      <a:cubicBezTo>
                        <a:pt x="0" y="40422"/>
                        <a:pt x="11682" y="52104"/>
                        <a:pt x="26052" y="52104"/>
                      </a:cubicBez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grpSp>
          <p:nvGrpSpPr>
            <p:cNvPr id="1113" name="Gráfico 13">
              <a:extLst>
                <a:ext uri="{FF2B5EF4-FFF2-40B4-BE49-F238E27FC236}">
                  <a16:creationId xmlns:a16="http://schemas.microsoft.com/office/drawing/2014/main" id="{236240C1-E680-930E-D2FE-8A1337A078B7}"/>
                </a:ext>
              </a:extLst>
            </p:cNvPr>
            <p:cNvGrpSpPr/>
            <p:nvPr/>
          </p:nvGrpSpPr>
          <p:grpSpPr>
            <a:xfrm>
              <a:off x="6345324" y="5386083"/>
              <a:ext cx="149323" cy="45261"/>
              <a:chOff x="6345324" y="5386083"/>
              <a:chExt cx="149323" cy="45261"/>
            </a:xfrm>
          </p:grpSpPr>
          <p:sp>
            <p:nvSpPr>
              <p:cNvPr id="1114" name="Forma livre: Forma 1113">
                <a:extLst>
                  <a:ext uri="{FF2B5EF4-FFF2-40B4-BE49-F238E27FC236}">
                    <a16:creationId xmlns:a16="http://schemas.microsoft.com/office/drawing/2014/main" id="{9A963821-45ED-59D9-5289-65CE4F9E1D41}"/>
                  </a:ext>
                </a:extLst>
              </p:cNvPr>
              <p:cNvSpPr/>
              <p:nvPr/>
            </p:nvSpPr>
            <p:spPr>
              <a:xfrm>
                <a:off x="6345324" y="5386083"/>
                <a:ext cx="4887" cy="45261"/>
              </a:xfrm>
              <a:custGeom>
                <a:avLst/>
                <a:gdLst>
                  <a:gd name="connsiteX0" fmla="*/ 0 w 4887"/>
                  <a:gd name="connsiteY0" fmla="*/ 0 h 45261"/>
                  <a:gd name="connsiteX1" fmla="*/ 0 w 4887"/>
                  <a:gd name="connsiteY1" fmla="*/ 45261 h 452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887" h="45261">
                    <a:moveTo>
                      <a:pt x="0" y="0"/>
                    </a:moveTo>
                    <a:lnTo>
                      <a:pt x="0" y="45261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115" name="Forma livre: Forma 1114">
                <a:extLst>
                  <a:ext uri="{FF2B5EF4-FFF2-40B4-BE49-F238E27FC236}">
                    <a16:creationId xmlns:a16="http://schemas.microsoft.com/office/drawing/2014/main" id="{3278D3E9-3C18-567D-669B-8E2649B29A38}"/>
                  </a:ext>
                </a:extLst>
              </p:cNvPr>
              <p:cNvSpPr/>
              <p:nvPr/>
            </p:nvSpPr>
            <p:spPr>
              <a:xfrm>
                <a:off x="6494647" y="5386083"/>
                <a:ext cx="4887" cy="45261"/>
              </a:xfrm>
              <a:custGeom>
                <a:avLst/>
                <a:gdLst>
                  <a:gd name="connsiteX0" fmla="*/ 0 w 4887"/>
                  <a:gd name="connsiteY0" fmla="*/ 0 h 45261"/>
                  <a:gd name="connsiteX1" fmla="*/ 0 w 4887"/>
                  <a:gd name="connsiteY1" fmla="*/ 45261 h 452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887" h="45261">
                    <a:moveTo>
                      <a:pt x="0" y="0"/>
                    </a:moveTo>
                    <a:lnTo>
                      <a:pt x="0" y="45261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116" name="Gráfico 13">
            <a:extLst>
              <a:ext uri="{FF2B5EF4-FFF2-40B4-BE49-F238E27FC236}">
                <a16:creationId xmlns:a16="http://schemas.microsoft.com/office/drawing/2014/main" id="{1939FFE0-07D2-3B05-8F00-33F37FEF4747}"/>
              </a:ext>
            </a:extLst>
          </p:cNvPr>
          <p:cNvGrpSpPr/>
          <p:nvPr/>
        </p:nvGrpSpPr>
        <p:grpSpPr>
          <a:xfrm>
            <a:off x="6878244" y="5865921"/>
            <a:ext cx="355295" cy="264382"/>
            <a:chOff x="6878244" y="5865921"/>
            <a:chExt cx="355295" cy="264382"/>
          </a:xfrm>
        </p:grpSpPr>
        <p:sp>
          <p:nvSpPr>
            <p:cNvPr id="1117" name="Forma livre: Forma 1116">
              <a:extLst>
                <a:ext uri="{FF2B5EF4-FFF2-40B4-BE49-F238E27FC236}">
                  <a16:creationId xmlns:a16="http://schemas.microsoft.com/office/drawing/2014/main" id="{25532EB9-EF24-72AA-8AEE-7C60C01632AD}"/>
                </a:ext>
              </a:extLst>
            </p:cNvPr>
            <p:cNvSpPr/>
            <p:nvPr/>
          </p:nvSpPr>
          <p:spPr>
            <a:xfrm>
              <a:off x="6997213" y="5865921"/>
              <a:ext cx="4887" cy="36609"/>
            </a:xfrm>
            <a:custGeom>
              <a:avLst/>
              <a:gdLst>
                <a:gd name="connsiteX0" fmla="*/ 0 w 4887"/>
                <a:gd name="connsiteY0" fmla="*/ 0 h 36609"/>
                <a:gd name="connsiteX1" fmla="*/ 0 w 4887"/>
                <a:gd name="connsiteY1" fmla="*/ 36610 h 36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887" h="36609">
                  <a:moveTo>
                    <a:pt x="0" y="0"/>
                  </a:moveTo>
                  <a:lnTo>
                    <a:pt x="0" y="3661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18" name="Forma livre: Forma 1117">
              <a:extLst>
                <a:ext uri="{FF2B5EF4-FFF2-40B4-BE49-F238E27FC236}">
                  <a16:creationId xmlns:a16="http://schemas.microsoft.com/office/drawing/2014/main" id="{C6A61498-E9C9-F5EB-1BFB-F6154CFA475D}"/>
                </a:ext>
              </a:extLst>
            </p:cNvPr>
            <p:cNvSpPr/>
            <p:nvPr/>
          </p:nvSpPr>
          <p:spPr>
            <a:xfrm>
              <a:off x="6978933" y="5884202"/>
              <a:ext cx="36560" cy="4887"/>
            </a:xfrm>
            <a:custGeom>
              <a:avLst/>
              <a:gdLst>
                <a:gd name="connsiteX0" fmla="*/ 36561 w 36560"/>
                <a:gd name="connsiteY0" fmla="*/ 0 h 4887"/>
                <a:gd name="connsiteX1" fmla="*/ 0 w 36560"/>
                <a:gd name="connsiteY1" fmla="*/ 0 h 48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6560" h="4887">
                  <a:moveTo>
                    <a:pt x="36561" y="0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19" name="Forma livre: Forma 1118">
              <a:extLst>
                <a:ext uri="{FF2B5EF4-FFF2-40B4-BE49-F238E27FC236}">
                  <a16:creationId xmlns:a16="http://schemas.microsoft.com/office/drawing/2014/main" id="{504A1B5E-120A-F0DE-EAE9-D5B95882A5C8}"/>
                </a:ext>
              </a:extLst>
            </p:cNvPr>
            <p:cNvSpPr/>
            <p:nvPr/>
          </p:nvSpPr>
          <p:spPr>
            <a:xfrm>
              <a:off x="7175521" y="5902140"/>
              <a:ext cx="8407" cy="8407"/>
            </a:xfrm>
            <a:custGeom>
              <a:avLst/>
              <a:gdLst>
                <a:gd name="connsiteX0" fmla="*/ 8407 w 8407"/>
                <a:gd name="connsiteY0" fmla="*/ 4204 h 8407"/>
                <a:gd name="connsiteX1" fmla="*/ 4204 w 8407"/>
                <a:gd name="connsiteY1" fmla="*/ 8407 h 8407"/>
                <a:gd name="connsiteX2" fmla="*/ 0 w 8407"/>
                <a:gd name="connsiteY2" fmla="*/ 4204 h 8407"/>
                <a:gd name="connsiteX3" fmla="*/ 4204 w 8407"/>
                <a:gd name="connsiteY3" fmla="*/ 0 h 8407"/>
                <a:gd name="connsiteX4" fmla="*/ 8407 w 8407"/>
                <a:gd name="connsiteY4" fmla="*/ 4204 h 84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407" h="8407">
                  <a:moveTo>
                    <a:pt x="8407" y="4204"/>
                  </a:moveTo>
                  <a:cubicBezTo>
                    <a:pt x="8407" y="6550"/>
                    <a:pt x="6550" y="8407"/>
                    <a:pt x="4204" y="8407"/>
                  </a:cubicBezTo>
                  <a:cubicBezTo>
                    <a:pt x="1857" y="8407"/>
                    <a:pt x="0" y="6550"/>
                    <a:pt x="0" y="4204"/>
                  </a:cubicBezTo>
                  <a:cubicBezTo>
                    <a:pt x="0" y="1857"/>
                    <a:pt x="1906" y="0"/>
                    <a:pt x="4204" y="0"/>
                  </a:cubicBezTo>
                  <a:cubicBezTo>
                    <a:pt x="6501" y="0"/>
                    <a:pt x="8407" y="1857"/>
                    <a:pt x="8407" y="4204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20" name="Forma livre: Forma 1119">
              <a:extLst>
                <a:ext uri="{FF2B5EF4-FFF2-40B4-BE49-F238E27FC236}">
                  <a16:creationId xmlns:a16="http://schemas.microsoft.com/office/drawing/2014/main" id="{DB2EE56F-B956-7912-716F-CD15B9A0A46C}"/>
                </a:ext>
              </a:extLst>
            </p:cNvPr>
            <p:cNvSpPr/>
            <p:nvPr/>
          </p:nvSpPr>
          <p:spPr>
            <a:xfrm>
              <a:off x="7012561" y="5970618"/>
              <a:ext cx="8407" cy="8407"/>
            </a:xfrm>
            <a:custGeom>
              <a:avLst/>
              <a:gdLst>
                <a:gd name="connsiteX0" fmla="*/ 8407 w 8407"/>
                <a:gd name="connsiteY0" fmla="*/ 4203 h 8407"/>
                <a:gd name="connsiteX1" fmla="*/ 4204 w 8407"/>
                <a:gd name="connsiteY1" fmla="*/ 8407 h 8407"/>
                <a:gd name="connsiteX2" fmla="*/ 0 w 8407"/>
                <a:gd name="connsiteY2" fmla="*/ 4203 h 8407"/>
                <a:gd name="connsiteX3" fmla="*/ 4204 w 8407"/>
                <a:gd name="connsiteY3" fmla="*/ 0 h 8407"/>
                <a:gd name="connsiteX4" fmla="*/ 8407 w 8407"/>
                <a:gd name="connsiteY4" fmla="*/ 4203 h 84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407" h="8407">
                  <a:moveTo>
                    <a:pt x="8407" y="4203"/>
                  </a:moveTo>
                  <a:cubicBezTo>
                    <a:pt x="8407" y="6550"/>
                    <a:pt x="6550" y="8407"/>
                    <a:pt x="4204" y="8407"/>
                  </a:cubicBezTo>
                  <a:cubicBezTo>
                    <a:pt x="1857" y="8407"/>
                    <a:pt x="0" y="6550"/>
                    <a:pt x="0" y="4203"/>
                  </a:cubicBezTo>
                  <a:cubicBezTo>
                    <a:pt x="0" y="1857"/>
                    <a:pt x="1906" y="0"/>
                    <a:pt x="4204" y="0"/>
                  </a:cubicBezTo>
                  <a:cubicBezTo>
                    <a:pt x="6501" y="0"/>
                    <a:pt x="8407" y="1857"/>
                    <a:pt x="8407" y="4203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21" name="Forma livre: Forma 1120">
              <a:extLst>
                <a:ext uri="{FF2B5EF4-FFF2-40B4-BE49-F238E27FC236}">
                  <a16:creationId xmlns:a16="http://schemas.microsoft.com/office/drawing/2014/main" id="{9FCA7F6E-DB0D-158F-4B15-BABD9B4F38B2}"/>
                </a:ext>
              </a:extLst>
            </p:cNvPr>
            <p:cNvSpPr/>
            <p:nvPr/>
          </p:nvSpPr>
          <p:spPr>
            <a:xfrm>
              <a:off x="7106945" y="5867094"/>
              <a:ext cx="8407" cy="8407"/>
            </a:xfrm>
            <a:custGeom>
              <a:avLst/>
              <a:gdLst>
                <a:gd name="connsiteX0" fmla="*/ 8407 w 8407"/>
                <a:gd name="connsiteY0" fmla="*/ 4203 h 8407"/>
                <a:gd name="connsiteX1" fmla="*/ 4204 w 8407"/>
                <a:gd name="connsiteY1" fmla="*/ 8407 h 8407"/>
                <a:gd name="connsiteX2" fmla="*/ 0 w 8407"/>
                <a:gd name="connsiteY2" fmla="*/ 4203 h 8407"/>
                <a:gd name="connsiteX3" fmla="*/ 4204 w 8407"/>
                <a:gd name="connsiteY3" fmla="*/ 0 h 8407"/>
                <a:gd name="connsiteX4" fmla="*/ 8407 w 8407"/>
                <a:gd name="connsiteY4" fmla="*/ 4203 h 84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407" h="8407">
                  <a:moveTo>
                    <a:pt x="8407" y="4203"/>
                  </a:moveTo>
                  <a:cubicBezTo>
                    <a:pt x="8407" y="6550"/>
                    <a:pt x="6550" y="8407"/>
                    <a:pt x="4204" y="8407"/>
                  </a:cubicBezTo>
                  <a:cubicBezTo>
                    <a:pt x="1857" y="8407"/>
                    <a:pt x="0" y="6550"/>
                    <a:pt x="0" y="4203"/>
                  </a:cubicBezTo>
                  <a:cubicBezTo>
                    <a:pt x="0" y="1857"/>
                    <a:pt x="1906" y="0"/>
                    <a:pt x="4204" y="0"/>
                  </a:cubicBezTo>
                  <a:cubicBezTo>
                    <a:pt x="6501" y="0"/>
                    <a:pt x="8407" y="1857"/>
                    <a:pt x="8407" y="4203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22" name="Forma livre: Forma 1121">
              <a:extLst>
                <a:ext uri="{FF2B5EF4-FFF2-40B4-BE49-F238E27FC236}">
                  <a16:creationId xmlns:a16="http://schemas.microsoft.com/office/drawing/2014/main" id="{5D75AD74-0D78-A562-C76E-60FB4277491F}"/>
                </a:ext>
              </a:extLst>
            </p:cNvPr>
            <p:cNvSpPr/>
            <p:nvPr/>
          </p:nvSpPr>
          <p:spPr>
            <a:xfrm>
              <a:off x="6907669" y="5928094"/>
              <a:ext cx="8406" cy="8407"/>
            </a:xfrm>
            <a:custGeom>
              <a:avLst/>
              <a:gdLst>
                <a:gd name="connsiteX0" fmla="*/ 8407 w 8406"/>
                <a:gd name="connsiteY0" fmla="*/ 4204 h 8407"/>
                <a:gd name="connsiteX1" fmla="*/ 4204 w 8406"/>
                <a:gd name="connsiteY1" fmla="*/ 8407 h 8407"/>
                <a:gd name="connsiteX2" fmla="*/ 0 w 8406"/>
                <a:gd name="connsiteY2" fmla="*/ 4204 h 8407"/>
                <a:gd name="connsiteX3" fmla="*/ 4204 w 8406"/>
                <a:gd name="connsiteY3" fmla="*/ 0 h 8407"/>
                <a:gd name="connsiteX4" fmla="*/ 8407 w 8406"/>
                <a:gd name="connsiteY4" fmla="*/ 4204 h 84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406" h="8407">
                  <a:moveTo>
                    <a:pt x="8407" y="4204"/>
                  </a:moveTo>
                  <a:cubicBezTo>
                    <a:pt x="8407" y="6550"/>
                    <a:pt x="6550" y="8407"/>
                    <a:pt x="4204" y="8407"/>
                  </a:cubicBezTo>
                  <a:cubicBezTo>
                    <a:pt x="1857" y="8407"/>
                    <a:pt x="0" y="6550"/>
                    <a:pt x="0" y="4204"/>
                  </a:cubicBezTo>
                  <a:cubicBezTo>
                    <a:pt x="0" y="1857"/>
                    <a:pt x="1906" y="0"/>
                    <a:pt x="4204" y="0"/>
                  </a:cubicBezTo>
                  <a:cubicBezTo>
                    <a:pt x="6501" y="0"/>
                    <a:pt x="8407" y="1857"/>
                    <a:pt x="8407" y="4204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23" name="Forma livre: Forma 1122">
              <a:extLst>
                <a:ext uri="{FF2B5EF4-FFF2-40B4-BE49-F238E27FC236}">
                  <a16:creationId xmlns:a16="http://schemas.microsoft.com/office/drawing/2014/main" id="{88CB58AB-0FED-0395-A55A-0E632D0D9ADF}"/>
                </a:ext>
              </a:extLst>
            </p:cNvPr>
            <p:cNvSpPr/>
            <p:nvPr/>
          </p:nvSpPr>
          <p:spPr>
            <a:xfrm>
              <a:off x="6979813" y="6099065"/>
              <a:ext cx="246590" cy="31238"/>
            </a:xfrm>
            <a:custGeom>
              <a:avLst/>
              <a:gdLst>
                <a:gd name="connsiteX0" fmla="*/ 0 w 246590"/>
                <a:gd name="connsiteY0" fmla="*/ 31238 h 31238"/>
                <a:gd name="connsiteX1" fmla="*/ 246591 w 246590"/>
                <a:gd name="connsiteY1" fmla="*/ 6848 h 312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46590" h="31238">
                  <a:moveTo>
                    <a:pt x="0" y="31238"/>
                  </a:moveTo>
                  <a:cubicBezTo>
                    <a:pt x="0" y="31238"/>
                    <a:pt x="125373" y="-17591"/>
                    <a:pt x="246591" y="6848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24" name="Forma livre: Forma 1123">
              <a:extLst>
                <a:ext uri="{FF2B5EF4-FFF2-40B4-BE49-F238E27FC236}">
                  <a16:creationId xmlns:a16="http://schemas.microsoft.com/office/drawing/2014/main" id="{14D140A3-76BB-BF65-251C-5B7943638525}"/>
                </a:ext>
              </a:extLst>
            </p:cNvPr>
            <p:cNvSpPr/>
            <p:nvPr/>
          </p:nvSpPr>
          <p:spPr>
            <a:xfrm>
              <a:off x="6878244" y="6076333"/>
              <a:ext cx="163204" cy="34468"/>
            </a:xfrm>
            <a:custGeom>
              <a:avLst/>
              <a:gdLst>
                <a:gd name="connsiteX0" fmla="*/ 0 w 163204"/>
                <a:gd name="connsiteY0" fmla="*/ 1720 h 34468"/>
                <a:gd name="connsiteX1" fmla="*/ 163204 w 163204"/>
                <a:gd name="connsiteY1" fmla="*/ 34468 h 344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63204" h="34468">
                  <a:moveTo>
                    <a:pt x="0" y="1720"/>
                  </a:moveTo>
                  <a:cubicBezTo>
                    <a:pt x="0" y="1720"/>
                    <a:pt x="71607" y="-11331"/>
                    <a:pt x="163204" y="34468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25" name="Forma livre: Forma 1124">
              <a:extLst>
                <a:ext uri="{FF2B5EF4-FFF2-40B4-BE49-F238E27FC236}">
                  <a16:creationId xmlns:a16="http://schemas.microsoft.com/office/drawing/2014/main" id="{ED4BC3CA-0BF7-666A-6C59-969D9CDB4754}"/>
                </a:ext>
              </a:extLst>
            </p:cNvPr>
            <p:cNvSpPr/>
            <p:nvPr/>
          </p:nvSpPr>
          <p:spPr>
            <a:xfrm>
              <a:off x="7109829" y="5930978"/>
              <a:ext cx="78498" cy="124395"/>
            </a:xfrm>
            <a:custGeom>
              <a:avLst/>
              <a:gdLst>
                <a:gd name="connsiteX0" fmla="*/ 49 w 78498"/>
                <a:gd name="connsiteY0" fmla="*/ 124395 h 124395"/>
                <a:gd name="connsiteX1" fmla="*/ 39298 w 78498"/>
                <a:gd name="connsiteY1" fmla="*/ 0 h 124395"/>
                <a:gd name="connsiteX2" fmla="*/ 78498 w 78498"/>
                <a:gd name="connsiteY2" fmla="*/ 124395 h 124395"/>
                <a:gd name="connsiteX3" fmla="*/ 0 w 78498"/>
                <a:gd name="connsiteY3" fmla="*/ 124395 h 1243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8498" h="124395">
                  <a:moveTo>
                    <a:pt x="49" y="124395"/>
                  </a:moveTo>
                  <a:lnTo>
                    <a:pt x="39298" y="0"/>
                  </a:lnTo>
                  <a:lnTo>
                    <a:pt x="78498" y="124395"/>
                  </a:lnTo>
                  <a:lnTo>
                    <a:pt x="0" y="124395"/>
                  </a:ln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26" name="Forma livre: Forma 1125">
              <a:extLst>
                <a:ext uri="{FF2B5EF4-FFF2-40B4-BE49-F238E27FC236}">
                  <a16:creationId xmlns:a16="http://schemas.microsoft.com/office/drawing/2014/main" id="{73B36097-6832-7BFE-319A-1B770EAD6842}"/>
                </a:ext>
              </a:extLst>
            </p:cNvPr>
            <p:cNvSpPr/>
            <p:nvPr/>
          </p:nvSpPr>
          <p:spPr>
            <a:xfrm>
              <a:off x="7149127" y="6056400"/>
              <a:ext cx="4887" cy="41839"/>
            </a:xfrm>
            <a:custGeom>
              <a:avLst/>
              <a:gdLst>
                <a:gd name="connsiteX0" fmla="*/ 0 w 4887"/>
                <a:gd name="connsiteY0" fmla="*/ 0 h 41839"/>
                <a:gd name="connsiteX1" fmla="*/ 0 w 4887"/>
                <a:gd name="connsiteY1" fmla="*/ 41840 h 418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887" h="41839">
                  <a:moveTo>
                    <a:pt x="0" y="0"/>
                  </a:moveTo>
                  <a:lnTo>
                    <a:pt x="0" y="4184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27" name="Forma livre: Forma 1126">
              <a:extLst>
                <a:ext uri="{FF2B5EF4-FFF2-40B4-BE49-F238E27FC236}">
                  <a16:creationId xmlns:a16="http://schemas.microsoft.com/office/drawing/2014/main" id="{EAE212B8-E3AD-95DE-0A3D-D84BD198509B}"/>
                </a:ext>
              </a:extLst>
            </p:cNvPr>
            <p:cNvSpPr/>
            <p:nvPr/>
          </p:nvSpPr>
          <p:spPr>
            <a:xfrm>
              <a:off x="6924874" y="5942807"/>
              <a:ext cx="65301" cy="103475"/>
            </a:xfrm>
            <a:custGeom>
              <a:avLst/>
              <a:gdLst>
                <a:gd name="connsiteX0" fmla="*/ 0 w 65301"/>
                <a:gd name="connsiteY0" fmla="*/ 103475 h 103475"/>
                <a:gd name="connsiteX1" fmla="*/ 32651 w 65301"/>
                <a:gd name="connsiteY1" fmla="*/ 0 h 103475"/>
                <a:gd name="connsiteX2" fmla="*/ 65301 w 65301"/>
                <a:gd name="connsiteY2" fmla="*/ 103475 h 103475"/>
                <a:gd name="connsiteX3" fmla="*/ 0 w 65301"/>
                <a:gd name="connsiteY3" fmla="*/ 103475 h 103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5301" h="103475">
                  <a:moveTo>
                    <a:pt x="0" y="103475"/>
                  </a:moveTo>
                  <a:lnTo>
                    <a:pt x="32651" y="0"/>
                  </a:lnTo>
                  <a:lnTo>
                    <a:pt x="65301" y="103475"/>
                  </a:lnTo>
                  <a:lnTo>
                    <a:pt x="0" y="103475"/>
                  </a:ln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28" name="Forma livre: Forma 1127">
              <a:extLst>
                <a:ext uri="{FF2B5EF4-FFF2-40B4-BE49-F238E27FC236}">
                  <a16:creationId xmlns:a16="http://schemas.microsoft.com/office/drawing/2014/main" id="{3B1F8E9A-00BD-3EC0-6036-AFC007809BF7}"/>
                </a:ext>
              </a:extLst>
            </p:cNvPr>
            <p:cNvSpPr/>
            <p:nvPr/>
          </p:nvSpPr>
          <p:spPr>
            <a:xfrm>
              <a:off x="6957524" y="6047113"/>
              <a:ext cx="4887" cy="34801"/>
            </a:xfrm>
            <a:custGeom>
              <a:avLst/>
              <a:gdLst>
                <a:gd name="connsiteX0" fmla="*/ 0 w 4887"/>
                <a:gd name="connsiteY0" fmla="*/ 0 h 34801"/>
                <a:gd name="connsiteX1" fmla="*/ 0 w 4887"/>
                <a:gd name="connsiteY1" fmla="*/ 34801 h 348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887" h="34801">
                  <a:moveTo>
                    <a:pt x="0" y="0"/>
                  </a:moveTo>
                  <a:lnTo>
                    <a:pt x="0" y="34801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29" name="Forma livre: Forma 1128">
              <a:extLst>
                <a:ext uri="{FF2B5EF4-FFF2-40B4-BE49-F238E27FC236}">
                  <a16:creationId xmlns:a16="http://schemas.microsoft.com/office/drawing/2014/main" id="{5F3A978A-4438-DB20-0CA7-8E4B8ABE397B}"/>
                </a:ext>
              </a:extLst>
            </p:cNvPr>
            <p:cNvSpPr/>
            <p:nvPr/>
          </p:nvSpPr>
          <p:spPr>
            <a:xfrm>
              <a:off x="7046483" y="5942073"/>
              <a:ext cx="54988" cy="161102"/>
            </a:xfrm>
            <a:custGeom>
              <a:avLst/>
              <a:gdLst>
                <a:gd name="connsiteX0" fmla="*/ 39200 w 54988"/>
                <a:gd name="connsiteY0" fmla="*/ 161103 h 161102"/>
                <a:gd name="connsiteX1" fmla="*/ 39200 w 54988"/>
                <a:gd name="connsiteY1" fmla="*/ 124395 h 161102"/>
                <a:gd name="connsiteX2" fmla="*/ 0 w 54988"/>
                <a:gd name="connsiteY2" fmla="*/ 124395 h 161102"/>
                <a:gd name="connsiteX3" fmla="*/ 39249 w 54988"/>
                <a:gd name="connsiteY3" fmla="*/ 0 h 161102"/>
                <a:gd name="connsiteX4" fmla="*/ 54988 w 54988"/>
                <a:gd name="connsiteY4" fmla="*/ 50002 h 1611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4988" h="161102">
                  <a:moveTo>
                    <a:pt x="39200" y="161103"/>
                  </a:moveTo>
                  <a:lnTo>
                    <a:pt x="39200" y="124395"/>
                  </a:lnTo>
                  <a:lnTo>
                    <a:pt x="0" y="124395"/>
                  </a:lnTo>
                  <a:lnTo>
                    <a:pt x="39249" y="0"/>
                  </a:lnTo>
                  <a:lnTo>
                    <a:pt x="54988" y="50002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30" name="Forma livre: Forma 1129">
              <a:extLst>
                <a:ext uri="{FF2B5EF4-FFF2-40B4-BE49-F238E27FC236}">
                  <a16:creationId xmlns:a16="http://schemas.microsoft.com/office/drawing/2014/main" id="{28123D02-29D4-F81E-0E7D-7FC0A0EC067A}"/>
                </a:ext>
              </a:extLst>
            </p:cNvPr>
            <p:cNvSpPr/>
            <p:nvPr/>
          </p:nvSpPr>
          <p:spPr>
            <a:xfrm>
              <a:off x="7215259" y="5951849"/>
              <a:ext cx="4887" cy="36609"/>
            </a:xfrm>
            <a:custGeom>
              <a:avLst/>
              <a:gdLst>
                <a:gd name="connsiteX0" fmla="*/ 0 w 4887"/>
                <a:gd name="connsiteY0" fmla="*/ 0 h 36609"/>
                <a:gd name="connsiteX1" fmla="*/ 0 w 4887"/>
                <a:gd name="connsiteY1" fmla="*/ 36610 h 36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887" h="36609">
                  <a:moveTo>
                    <a:pt x="0" y="0"/>
                  </a:moveTo>
                  <a:lnTo>
                    <a:pt x="0" y="3661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31" name="Forma livre: Forma 1130">
              <a:extLst>
                <a:ext uri="{FF2B5EF4-FFF2-40B4-BE49-F238E27FC236}">
                  <a16:creationId xmlns:a16="http://schemas.microsoft.com/office/drawing/2014/main" id="{30CB5930-1821-1EE8-FBAC-3EF33D0E32E9}"/>
                </a:ext>
              </a:extLst>
            </p:cNvPr>
            <p:cNvSpPr/>
            <p:nvPr/>
          </p:nvSpPr>
          <p:spPr>
            <a:xfrm>
              <a:off x="7196930" y="5970130"/>
              <a:ext cx="36609" cy="4887"/>
            </a:xfrm>
            <a:custGeom>
              <a:avLst/>
              <a:gdLst>
                <a:gd name="connsiteX0" fmla="*/ 36610 w 36609"/>
                <a:gd name="connsiteY0" fmla="*/ 0 h 4887"/>
                <a:gd name="connsiteX1" fmla="*/ 0 w 36609"/>
                <a:gd name="connsiteY1" fmla="*/ 0 h 48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6609" h="4887">
                  <a:moveTo>
                    <a:pt x="36610" y="0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132" name="Gráfico 13">
            <a:extLst>
              <a:ext uri="{FF2B5EF4-FFF2-40B4-BE49-F238E27FC236}">
                <a16:creationId xmlns:a16="http://schemas.microsoft.com/office/drawing/2014/main" id="{E645A0C6-50C8-C5C5-3F56-3A2321B012AA}"/>
              </a:ext>
            </a:extLst>
          </p:cNvPr>
          <p:cNvGrpSpPr/>
          <p:nvPr/>
        </p:nvGrpSpPr>
        <p:grpSpPr>
          <a:xfrm>
            <a:off x="7534190" y="5823299"/>
            <a:ext cx="315215" cy="344933"/>
            <a:chOff x="7534190" y="5823299"/>
            <a:chExt cx="315215" cy="344933"/>
          </a:xfrm>
          <a:noFill/>
        </p:grpSpPr>
        <p:sp>
          <p:nvSpPr>
            <p:cNvPr id="1133" name="Forma livre: Forma 1132">
              <a:extLst>
                <a:ext uri="{FF2B5EF4-FFF2-40B4-BE49-F238E27FC236}">
                  <a16:creationId xmlns:a16="http://schemas.microsoft.com/office/drawing/2014/main" id="{0A768463-0B75-2F23-7084-5523C955993F}"/>
                </a:ext>
              </a:extLst>
            </p:cNvPr>
            <p:cNvSpPr/>
            <p:nvPr/>
          </p:nvSpPr>
          <p:spPr>
            <a:xfrm>
              <a:off x="7606383" y="5956688"/>
              <a:ext cx="170878" cy="211545"/>
            </a:xfrm>
            <a:custGeom>
              <a:avLst/>
              <a:gdLst>
                <a:gd name="connsiteX0" fmla="*/ 86417 w 170878"/>
                <a:gd name="connsiteY0" fmla="*/ 211545 h 211545"/>
                <a:gd name="connsiteX1" fmla="*/ 170878 w 170878"/>
                <a:gd name="connsiteY1" fmla="*/ 187595 h 211545"/>
                <a:gd name="connsiteX2" fmla="*/ 119605 w 170878"/>
                <a:gd name="connsiteY2" fmla="*/ 21555 h 211545"/>
                <a:gd name="connsiteX3" fmla="*/ 85586 w 170878"/>
                <a:gd name="connsiteY3" fmla="*/ 0 h 211545"/>
                <a:gd name="connsiteX4" fmla="*/ 85292 w 170878"/>
                <a:gd name="connsiteY4" fmla="*/ 0 h 211545"/>
                <a:gd name="connsiteX5" fmla="*/ 51273 w 170878"/>
                <a:gd name="connsiteY5" fmla="*/ 21555 h 211545"/>
                <a:gd name="connsiteX6" fmla="*/ 0 w 170878"/>
                <a:gd name="connsiteY6" fmla="*/ 187595 h 211545"/>
                <a:gd name="connsiteX7" fmla="*/ 84462 w 170878"/>
                <a:gd name="connsiteY7" fmla="*/ 211545 h 211545"/>
                <a:gd name="connsiteX8" fmla="*/ 86368 w 170878"/>
                <a:gd name="connsiteY8" fmla="*/ 211545 h 2115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70878" h="211545">
                  <a:moveTo>
                    <a:pt x="86417" y="211545"/>
                  </a:moveTo>
                  <a:cubicBezTo>
                    <a:pt x="147124" y="211545"/>
                    <a:pt x="170878" y="187595"/>
                    <a:pt x="170878" y="187595"/>
                  </a:cubicBezTo>
                  <a:cubicBezTo>
                    <a:pt x="131531" y="140525"/>
                    <a:pt x="119605" y="21555"/>
                    <a:pt x="119605" y="21555"/>
                  </a:cubicBezTo>
                  <a:cubicBezTo>
                    <a:pt x="114131" y="0"/>
                    <a:pt x="85586" y="0"/>
                    <a:pt x="85586" y="0"/>
                  </a:cubicBezTo>
                  <a:lnTo>
                    <a:pt x="85292" y="0"/>
                  </a:lnTo>
                  <a:cubicBezTo>
                    <a:pt x="85292" y="0"/>
                    <a:pt x="56699" y="0"/>
                    <a:pt x="51273" y="21555"/>
                  </a:cubicBezTo>
                  <a:cubicBezTo>
                    <a:pt x="51273" y="21555"/>
                    <a:pt x="39396" y="140476"/>
                    <a:pt x="0" y="187595"/>
                  </a:cubicBezTo>
                  <a:cubicBezTo>
                    <a:pt x="0" y="187595"/>
                    <a:pt x="23804" y="211545"/>
                    <a:pt x="84462" y="211545"/>
                  </a:cubicBezTo>
                  <a:lnTo>
                    <a:pt x="86368" y="211545"/>
                  </a:ln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34" name="Forma livre: Forma 1133">
              <a:extLst>
                <a:ext uri="{FF2B5EF4-FFF2-40B4-BE49-F238E27FC236}">
                  <a16:creationId xmlns:a16="http://schemas.microsoft.com/office/drawing/2014/main" id="{FF1D54CD-7CD0-6E84-3003-C4072D0CCC82}"/>
                </a:ext>
              </a:extLst>
            </p:cNvPr>
            <p:cNvSpPr/>
            <p:nvPr/>
          </p:nvSpPr>
          <p:spPr>
            <a:xfrm>
              <a:off x="7663082" y="5876870"/>
              <a:ext cx="57480" cy="57480"/>
            </a:xfrm>
            <a:custGeom>
              <a:avLst/>
              <a:gdLst>
                <a:gd name="connsiteX0" fmla="*/ 57481 w 57480"/>
                <a:gd name="connsiteY0" fmla="*/ 28740 h 57480"/>
                <a:gd name="connsiteX1" fmla="*/ 28740 w 57480"/>
                <a:gd name="connsiteY1" fmla="*/ 57481 h 57480"/>
                <a:gd name="connsiteX2" fmla="*/ 0 w 57480"/>
                <a:gd name="connsiteY2" fmla="*/ 28740 h 57480"/>
                <a:gd name="connsiteX3" fmla="*/ 28740 w 57480"/>
                <a:gd name="connsiteY3" fmla="*/ 0 h 57480"/>
                <a:gd name="connsiteX4" fmla="*/ 57481 w 57480"/>
                <a:gd name="connsiteY4" fmla="*/ 28740 h 574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480" h="57480">
                  <a:moveTo>
                    <a:pt x="57481" y="28740"/>
                  </a:moveTo>
                  <a:cubicBezTo>
                    <a:pt x="57481" y="44626"/>
                    <a:pt x="44626" y="57481"/>
                    <a:pt x="28740" y="57481"/>
                  </a:cubicBezTo>
                  <a:cubicBezTo>
                    <a:pt x="12855" y="57481"/>
                    <a:pt x="0" y="44626"/>
                    <a:pt x="0" y="28740"/>
                  </a:cubicBezTo>
                  <a:cubicBezTo>
                    <a:pt x="0" y="12855"/>
                    <a:pt x="12855" y="0"/>
                    <a:pt x="28740" y="0"/>
                  </a:cubicBezTo>
                  <a:cubicBezTo>
                    <a:pt x="44626" y="0"/>
                    <a:pt x="57481" y="12855"/>
                    <a:pt x="57481" y="28740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35" name="Forma livre: Forma 1134">
              <a:extLst>
                <a:ext uri="{FF2B5EF4-FFF2-40B4-BE49-F238E27FC236}">
                  <a16:creationId xmlns:a16="http://schemas.microsoft.com/office/drawing/2014/main" id="{449CFD5E-C9B0-7BF1-832B-6551FF7D0A00}"/>
                </a:ext>
              </a:extLst>
            </p:cNvPr>
            <p:cNvSpPr/>
            <p:nvPr/>
          </p:nvSpPr>
          <p:spPr>
            <a:xfrm>
              <a:off x="7657558" y="5823299"/>
              <a:ext cx="68478" cy="31282"/>
            </a:xfrm>
            <a:custGeom>
              <a:avLst/>
              <a:gdLst>
                <a:gd name="connsiteX0" fmla="*/ 68478 w 68478"/>
                <a:gd name="connsiteY0" fmla="*/ 15641 h 31282"/>
                <a:gd name="connsiteX1" fmla="*/ 34264 w 68478"/>
                <a:gd name="connsiteY1" fmla="*/ 31282 h 31282"/>
                <a:gd name="connsiteX2" fmla="*/ 0 w 68478"/>
                <a:gd name="connsiteY2" fmla="*/ 15641 h 31282"/>
                <a:gd name="connsiteX3" fmla="*/ 34264 w 68478"/>
                <a:gd name="connsiteY3" fmla="*/ 0 h 31282"/>
                <a:gd name="connsiteX4" fmla="*/ 68478 w 68478"/>
                <a:gd name="connsiteY4" fmla="*/ 15641 h 312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8478" h="31282">
                  <a:moveTo>
                    <a:pt x="68478" y="15641"/>
                  </a:moveTo>
                  <a:cubicBezTo>
                    <a:pt x="68478" y="24292"/>
                    <a:pt x="53131" y="31282"/>
                    <a:pt x="34264" y="31282"/>
                  </a:cubicBezTo>
                  <a:cubicBezTo>
                    <a:pt x="15397" y="31282"/>
                    <a:pt x="0" y="24292"/>
                    <a:pt x="0" y="15641"/>
                  </a:cubicBezTo>
                  <a:cubicBezTo>
                    <a:pt x="0" y="6990"/>
                    <a:pt x="15348" y="0"/>
                    <a:pt x="34264" y="0"/>
                  </a:cubicBezTo>
                  <a:cubicBezTo>
                    <a:pt x="53180" y="0"/>
                    <a:pt x="68478" y="6990"/>
                    <a:pt x="68478" y="15641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136" name="Gráfico 13">
              <a:extLst>
                <a:ext uri="{FF2B5EF4-FFF2-40B4-BE49-F238E27FC236}">
                  <a16:creationId xmlns:a16="http://schemas.microsoft.com/office/drawing/2014/main" id="{32B8B0AB-F388-EAB9-929B-B3378A1F14C4}"/>
                </a:ext>
              </a:extLst>
            </p:cNvPr>
            <p:cNvGrpSpPr/>
            <p:nvPr/>
          </p:nvGrpSpPr>
          <p:grpSpPr>
            <a:xfrm>
              <a:off x="7534190" y="5946953"/>
              <a:ext cx="315215" cy="173226"/>
              <a:chOff x="7534190" y="5946953"/>
              <a:chExt cx="315215" cy="173226"/>
            </a:xfrm>
            <a:noFill/>
          </p:grpSpPr>
          <p:grpSp>
            <p:nvGrpSpPr>
              <p:cNvPr id="1137" name="Gráfico 13">
                <a:extLst>
                  <a:ext uri="{FF2B5EF4-FFF2-40B4-BE49-F238E27FC236}">
                    <a16:creationId xmlns:a16="http://schemas.microsoft.com/office/drawing/2014/main" id="{E51BBC18-0811-316A-8A90-7BBFE4681A7B}"/>
                  </a:ext>
                </a:extLst>
              </p:cNvPr>
              <p:cNvGrpSpPr/>
              <p:nvPr/>
            </p:nvGrpSpPr>
            <p:grpSpPr>
              <a:xfrm>
                <a:off x="7534190" y="5946953"/>
                <a:ext cx="116427" cy="173226"/>
                <a:chOff x="7534190" y="5946953"/>
                <a:chExt cx="116427" cy="173226"/>
              </a:xfrm>
              <a:noFill/>
            </p:grpSpPr>
            <p:sp>
              <p:nvSpPr>
                <p:cNvPr id="1138" name="Forma livre: Forma 1137">
                  <a:extLst>
                    <a:ext uri="{FF2B5EF4-FFF2-40B4-BE49-F238E27FC236}">
                      <a16:creationId xmlns:a16="http://schemas.microsoft.com/office/drawing/2014/main" id="{FF83C865-461A-4005-E321-9B35E1448898}"/>
                    </a:ext>
                  </a:extLst>
                </p:cNvPr>
                <p:cNvSpPr/>
                <p:nvPr/>
              </p:nvSpPr>
              <p:spPr>
                <a:xfrm>
                  <a:off x="7534190" y="5946953"/>
                  <a:ext cx="116427" cy="173226"/>
                </a:xfrm>
                <a:custGeom>
                  <a:avLst/>
                  <a:gdLst>
                    <a:gd name="connsiteX0" fmla="*/ 116428 w 116427"/>
                    <a:gd name="connsiteY0" fmla="*/ 5727 h 173226"/>
                    <a:gd name="connsiteX1" fmla="*/ 92820 w 116427"/>
                    <a:gd name="connsiteY1" fmla="*/ 253 h 173226"/>
                    <a:gd name="connsiteX2" fmla="*/ 65106 w 116427"/>
                    <a:gd name="connsiteY2" fmla="*/ 28749 h 173226"/>
                    <a:gd name="connsiteX3" fmla="*/ 0 w 116427"/>
                    <a:gd name="connsiteY3" fmla="*/ 138627 h 173226"/>
                    <a:gd name="connsiteX4" fmla="*/ 87883 w 116427"/>
                    <a:gd name="connsiteY4" fmla="*/ 170203 h 17322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16427" h="173226">
                      <a:moveTo>
                        <a:pt x="116428" y="5727"/>
                      </a:moveTo>
                      <a:cubicBezTo>
                        <a:pt x="109243" y="1377"/>
                        <a:pt x="98832" y="-773"/>
                        <a:pt x="92820" y="253"/>
                      </a:cubicBezTo>
                      <a:cubicBezTo>
                        <a:pt x="92820" y="253"/>
                        <a:pt x="71949" y="253"/>
                        <a:pt x="65106" y="28749"/>
                      </a:cubicBezTo>
                      <a:cubicBezTo>
                        <a:pt x="56357" y="65310"/>
                        <a:pt x="37734" y="113064"/>
                        <a:pt x="0" y="138627"/>
                      </a:cubicBezTo>
                      <a:cubicBezTo>
                        <a:pt x="0" y="138627"/>
                        <a:pt x="38663" y="185355"/>
                        <a:pt x="87883" y="170203"/>
                      </a:cubicBez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139" name="Forma livre: Forma 1138">
                  <a:extLst>
                    <a:ext uri="{FF2B5EF4-FFF2-40B4-BE49-F238E27FC236}">
                      <a16:creationId xmlns:a16="http://schemas.microsoft.com/office/drawing/2014/main" id="{9DDE0179-396B-5F43-C2A4-B1A697A4B3AA}"/>
                    </a:ext>
                  </a:extLst>
                </p:cNvPr>
                <p:cNvSpPr/>
                <p:nvPr/>
              </p:nvSpPr>
              <p:spPr>
                <a:xfrm>
                  <a:off x="7559460" y="6072432"/>
                  <a:ext cx="29375" cy="30891"/>
                </a:xfrm>
                <a:custGeom>
                  <a:avLst/>
                  <a:gdLst>
                    <a:gd name="connsiteX0" fmla="*/ 29376 w 29375"/>
                    <a:gd name="connsiteY0" fmla="*/ 0 h 30891"/>
                    <a:gd name="connsiteX1" fmla="*/ 0 w 29375"/>
                    <a:gd name="connsiteY1" fmla="*/ 30891 h 3089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9375" h="30891">
                      <a:moveTo>
                        <a:pt x="29376" y="0"/>
                      </a:moveTo>
                      <a:cubicBezTo>
                        <a:pt x="29376" y="0"/>
                        <a:pt x="12757" y="22924"/>
                        <a:pt x="0" y="30891"/>
                      </a:cubicBez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140" name="Forma livre: Forma 1139">
                  <a:extLst>
                    <a:ext uri="{FF2B5EF4-FFF2-40B4-BE49-F238E27FC236}">
                      <a16:creationId xmlns:a16="http://schemas.microsoft.com/office/drawing/2014/main" id="{C3378112-2D0D-84C7-24D1-B675325E71FF}"/>
                    </a:ext>
                  </a:extLst>
                </p:cNvPr>
                <p:cNvSpPr/>
                <p:nvPr/>
              </p:nvSpPr>
              <p:spPr>
                <a:xfrm>
                  <a:off x="7585414" y="6091983"/>
                  <a:ext cx="21213" cy="25563"/>
                </a:xfrm>
                <a:custGeom>
                  <a:avLst/>
                  <a:gdLst>
                    <a:gd name="connsiteX0" fmla="*/ 21213 w 21213"/>
                    <a:gd name="connsiteY0" fmla="*/ 0 h 25563"/>
                    <a:gd name="connsiteX1" fmla="*/ 0 w 21213"/>
                    <a:gd name="connsiteY1" fmla="*/ 25563 h 2556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1213" h="25563">
                      <a:moveTo>
                        <a:pt x="21213" y="0"/>
                      </a:moveTo>
                      <a:cubicBezTo>
                        <a:pt x="21213" y="0"/>
                        <a:pt x="12757" y="15152"/>
                        <a:pt x="0" y="25563"/>
                      </a:cubicBez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1141" name="Gráfico 13">
                <a:extLst>
                  <a:ext uri="{FF2B5EF4-FFF2-40B4-BE49-F238E27FC236}">
                    <a16:creationId xmlns:a16="http://schemas.microsoft.com/office/drawing/2014/main" id="{96024913-2C3C-222A-FDD5-36E7A2D62BE1}"/>
                  </a:ext>
                </a:extLst>
              </p:cNvPr>
              <p:cNvGrpSpPr/>
              <p:nvPr/>
            </p:nvGrpSpPr>
            <p:grpSpPr>
              <a:xfrm>
                <a:off x="7732978" y="5946953"/>
                <a:ext cx="116427" cy="173226"/>
                <a:chOff x="7732978" y="5946953"/>
                <a:chExt cx="116427" cy="173226"/>
              </a:xfrm>
              <a:noFill/>
            </p:grpSpPr>
            <p:sp>
              <p:nvSpPr>
                <p:cNvPr id="1142" name="Forma livre: Forma 1141">
                  <a:extLst>
                    <a:ext uri="{FF2B5EF4-FFF2-40B4-BE49-F238E27FC236}">
                      <a16:creationId xmlns:a16="http://schemas.microsoft.com/office/drawing/2014/main" id="{E531C42E-103F-0203-1FF4-B44B32D7CEAD}"/>
                    </a:ext>
                  </a:extLst>
                </p:cNvPr>
                <p:cNvSpPr/>
                <p:nvPr/>
              </p:nvSpPr>
              <p:spPr>
                <a:xfrm>
                  <a:off x="7732978" y="5946953"/>
                  <a:ext cx="116427" cy="173226"/>
                </a:xfrm>
                <a:custGeom>
                  <a:avLst/>
                  <a:gdLst>
                    <a:gd name="connsiteX0" fmla="*/ 0 w 116427"/>
                    <a:gd name="connsiteY0" fmla="*/ 5727 h 173226"/>
                    <a:gd name="connsiteX1" fmla="*/ 23608 w 116427"/>
                    <a:gd name="connsiteY1" fmla="*/ 253 h 173226"/>
                    <a:gd name="connsiteX2" fmla="*/ 51322 w 116427"/>
                    <a:gd name="connsiteY2" fmla="*/ 28749 h 173226"/>
                    <a:gd name="connsiteX3" fmla="*/ 116428 w 116427"/>
                    <a:gd name="connsiteY3" fmla="*/ 138627 h 173226"/>
                    <a:gd name="connsiteX4" fmla="*/ 28545 w 116427"/>
                    <a:gd name="connsiteY4" fmla="*/ 170203 h 17322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16427" h="173226">
                      <a:moveTo>
                        <a:pt x="0" y="5727"/>
                      </a:moveTo>
                      <a:cubicBezTo>
                        <a:pt x="7185" y="1377"/>
                        <a:pt x="17596" y="-773"/>
                        <a:pt x="23608" y="253"/>
                      </a:cubicBezTo>
                      <a:cubicBezTo>
                        <a:pt x="23608" y="253"/>
                        <a:pt x="44479" y="253"/>
                        <a:pt x="51322" y="28749"/>
                      </a:cubicBezTo>
                      <a:cubicBezTo>
                        <a:pt x="60071" y="65310"/>
                        <a:pt x="78743" y="113064"/>
                        <a:pt x="116428" y="138627"/>
                      </a:cubicBezTo>
                      <a:cubicBezTo>
                        <a:pt x="116428" y="138627"/>
                        <a:pt x="77765" y="185355"/>
                        <a:pt x="28545" y="170203"/>
                      </a:cubicBez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143" name="Forma livre: Forma 1142">
                  <a:extLst>
                    <a:ext uri="{FF2B5EF4-FFF2-40B4-BE49-F238E27FC236}">
                      <a16:creationId xmlns:a16="http://schemas.microsoft.com/office/drawing/2014/main" id="{F9C4E1A4-D1C9-FE90-0F0B-5788B96BAA6A}"/>
                    </a:ext>
                  </a:extLst>
                </p:cNvPr>
                <p:cNvSpPr/>
                <p:nvPr/>
              </p:nvSpPr>
              <p:spPr>
                <a:xfrm>
                  <a:off x="7794760" y="6072432"/>
                  <a:ext cx="29375" cy="30891"/>
                </a:xfrm>
                <a:custGeom>
                  <a:avLst/>
                  <a:gdLst>
                    <a:gd name="connsiteX0" fmla="*/ 0 w 29375"/>
                    <a:gd name="connsiteY0" fmla="*/ 0 h 30891"/>
                    <a:gd name="connsiteX1" fmla="*/ 29376 w 29375"/>
                    <a:gd name="connsiteY1" fmla="*/ 30891 h 3089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9375" h="30891">
                      <a:moveTo>
                        <a:pt x="0" y="0"/>
                      </a:moveTo>
                      <a:cubicBezTo>
                        <a:pt x="0" y="0"/>
                        <a:pt x="16619" y="22924"/>
                        <a:pt x="29376" y="30891"/>
                      </a:cubicBez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144" name="Forma livre: Forma 1143">
                  <a:extLst>
                    <a:ext uri="{FF2B5EF4-FFF2-40B4-BE49-F238E27FC236}">
                      <a16:creationId xmlns:a16="http://schemas.microsoft.com/office/drawing/2014/main" id="{28E942D9-8CA6-F301-995D-1B0C5477B4F1}"/>
                    </a:ext>
                  </a:extLst>
                </p:cNvPr>
                <p:cNvSpPr/>
                <p:nvPr/>
              </p:nvSpPr>
              <p:spPr>
                <a:xfrm>
                  <a:off x="7777017" y="6091983"/>
                  <a:ext cx="21213" cy="25563"/>
                </a:xfrm>
                <a:custGeom>
                  <a:avLst/>
                  <a:gdLst>
                    <a:gd name="connsiteX0" fmla="*/ 0 w 21213"/>
                    <a:gd name="connsiteY0" fmla="*/ 0 h 25563"/>
                    <a:gd name="connsiteX1" fmla="*/ 21213 w 21213"/>
                    <a:gd name="connsiteY1" fmla="*/ 25563 h 2556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1213" h="25563">
                      <a:moveTo>
                        <a:pt x="0" y="0"/>
                      </a:moveTo>
                      <a:cubicBezTo>
                        <a:pt x="0" y="0"/>
                        <a:pt x="8456" y="15152"/>
                        <a:pt x="21213" y="25563"/>
                      </a:cubicBez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</p:grpSp>
      <p:grpSp>
        <p:nvGrpSpPr>
          <p:cNvPr id="1145" name="Gráfico 13">
            <a:extLst>
              <a:ext uri="{FF2B5EF4-FFF2-40B4-BE49-F238E27FC236}">
                <a16:creationId xmlns:a16="http://schemas.microsoft.com/office/drawing/2014/main" id="{782A464F-22FA-7821-28C1-A4A53EB31C02}"/>
              </a:ext>
            </a:extLst>
          </p:cNvPr>
          <p:cNvGrpSpPr/>
          <p:nvPr/>
        </p:nvGrpSpPr>
        <p:grpSpPr>
          <a:xfrm>
            <a:off x="6262671" y="5869147"/>
            <a:ext cx="314678" cy="257979"/>
            <a:chOff x="6262671" y="5869147"/>
            <a:chExt cx="314678" cy="257979"/>
          </a:xfrm>
        </p:grpSpPr>
        <p:sp>
          <p:nvSpPr>
            <p:cNvPr id="1146" name="Forma livre: Forma 1145">
              <a:extLst>
                <a:ext uri="{FF2B5EF4-FFF2-40B4-BE49-F238E27FC236}">
                  <a16:creationId xmlns:a16="http://schemas.microsoft.com/office/drawing/2014/main" id="{8E8EE4E6-DA29-D85A-594B-80B4DE0CE8FD}"/>
                </a:ext>
              </a:extLst>
            </p:cNvPr>
            <p:cNvSpPr/>
            <p:nvPr/>
          </p:nvSpPr>
          <p:spPr>
            <a:xfrm>
              <a:off x="6417912" y="5997700"/>
              <a:ext cx="6151" cy="6151"/>
            </a:xfrm>
            <a:custGeom>
              <a:avLst/>
              <a:gdLst>
                <a:gd name="connsiteX0" fmla="*/ 632 w 6151"/>
                <a:gd name="connsiteY0" fmla="*/ 1218 h 6151"/>
                <a:gd name="connsiteX1" fmla="*/ 4933 w 6151"/>
                <a:gd name="connsiteY1" fmla="*/ 632 h 6151"/>
                <a:gd name="connsiteX2" fmla="*/ 5520 w 6151"/>
                <a:gd name="connsiteY2" fmla="*/ 4933 h 6151"/>
                <a:gd name="connsiteX3" fmla="*/ 1218 w 6151"/>
                <a:gd name="connsiteY3" fmla="*/ 5520 h 6151"/>
                <a:gd name="connsiteX4" fmla="*/ 632 w 6151"/>
                <a:gd name="connsiteY4" fmla="*/ 1218 h 61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151" h="6151">
                  <a:moveTo>
                    <a:pt x="632" y="1218"/>
                  </a:moveTo>
                  <a:cubicBezTo>
                    <a:pt x="1658" y="-150"/>
                    <a:pt x="3613" y="-395"/>
                    <a:pt x="4933" y="632"/>
                  </a:cubicBezTo>
                  <a:cubicBezTo>
                    <a:pt x="6302" y="1658"/>
                    <a:pt x="6546" y="3613"/>
                    <a:pt x="5520" y="4933"/>
                  </a:cubicBezTo>
                  <a:cubicBezTo>
                    <a:pt x="4493" y="6302"/>
                    <a:pt x="2538" y="6546"/>
                    <a:pt x="1218" y="5520"/>
                  </a:cubicBezTo>
                  <a:cubicBezTo>
                    <a:pt x="-150" y="4493"/>
                    <a:pt x="-395" y="2538"/>
                    <a:pt x="632" y="1218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47" name="Forma livre: Forma 1146">
              <a:extLst>
                <a:ext uri="{FF2B5EF4-FFF2-40B4-BE49-F238E27FC236}">
                  <a16:creationId xmlns:a16="http://schemas.microsoft.com/office/drawing/2014/main" id="{FC5A12C1-1CBE-4962-3C53-29DDFC63DF8A}"/>
                </a:ext>
              </a:extLst>
            </p:cNvPr>
            <p:cNvSpPr/>
            <p:nvPr/>
          </p:nvSpPr>
          <p:spPr>
            <a:xfrm>
              <a:off x="6443036" y="5969058"/>
              <a:ext cx="6151" cy="6151"/>
            </a:xfrm>
            <a:custGeom>
              <a:avLst/>
              <a:gdLst>
                <a:gd name="connsiteX0" fmla="*/ 632 w 6151"/>
                <a:gd name="connsiteY0" fmla="*/ 1218 h 6151"/>
                <a:gd name="connsiteX1" fmla="*/ 4933 w 6151"/>
                <a:gd name="connsiteY1" fmla="*/ 632 h 6151"/>
                <a:gd name="connsiteX2" fmla="*/ 5520 w 6151"/>
                <a:gd name="connsiteY2" fmla="*/ 4933 h 6151"/>
                <a:gd name="connsiteX3" fmla="*/ 1218 w 6151"/>
                <a:gd name="connsiteY3" fmla="*/ 5520 h 6151"/>
                <a:gd name="connsiteX4" fmla="*/ 632 w 6151"/>
                <a:gd name="connsiteY4" fmla="*/ 1218 h 61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151" h="6151">
                  <a:moveTo>
                    <a:pt x="632" y="1218"/>
                  </a:moveTo>
                  <a:cubicBezTo>
                    <a:pt x="1658" y="-150"/>
                    <a:pt x="3613" y="-395"/>
                    <a:pt x="4933" y="632"/>
                  </a:cubicBezTo>
                  <a:cubicBezTo>
                    <a:pt x="6302" y="1658"/>
                    <a:pt x="6546" y="3613"/>
                    <a:pt x="5520" y="4933"/>
                  </a:cubicBezTo>
                  <a:cubicBezTo>
                    <a:pt x="4493" y="6302"/>
                    <a:pt x="2538" y="6546"/>
                    <a:pt x="1218" y="5520"/>
                  </a:cubicBezTo>
                  <a:cubicBezTo>
                    <a:pt x="-150" y="4493"/>
                    <a:pt x="-395" y="2538"/>
                    <a:pt x="632" y="1218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48" name="Forma livre: Forma 1147">
              <a:extLst>
                <a:ext uri="{FF2B5EF4-FFF2-40B4-BE49-F238E27FC236}">
                  <a16:creationId xmlns:a16="http://schemas.microsoft.com/office/drawing/2014/main" id="{45A5DBB1-4DF3-BF67-4724-4D4A17708284}"/>
                </a:ext>
              </a:extLst>
            </p:cNvPr>
            <p:cNvSpPr/>
            <p:nvPr/>
          </p:nvSpPr>
          <p:spPr>
            <a:xfrm>
              <a:off x="6461512" y="5939291"/>
              <a:ext cx="6151" cy="6151"/>
            </a:xfrm>
            <a:custGeom>
              <a:avLst/>
              <a:gdLst>
                <a:gd name="connsiteX0" fmla="*/ 632 w 6151"/>
                <a:gd name="connsiteY0" fmla="*/ 1218 h 6151"/>
                <a:gd name="connsiteX1" fmla="*/ 4933 w 6151"/>
                <a:gd name="connsiteY1" fmla="*/ 632 h 6151"/>
                <a:gd name="connsiteX2" fmla="*/ 5520 w 6151"/>
                <a:gd name="connsiteY2" fmla="*/ 4933 h 6151"/>
                <a:gd name="connsiteX3" fmla="*/ 1218 w 6151"/>
                <a:gd name="connsiteY3" fmla="*/ 5520 h 6151"/>
                <a:gd name="connsiteX4" fmla="*/ 632 w 6151"/>
                <a:gd name="connsiteY4" fmla="*/ 1218 h 61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151" h="6151">
                  <a:moveTo>
                    <a:pt x="632" y="1218"/>
                  </a:moveTo>
                  <a:cubicBezTo>
                    <a:pt x="1658" y="-150"/>
                    <a:pt x="3564" y="-395"/>
                    <a:pt x="4933" y="632"/>
                  </a:cubicBezTo>
                  <a:cubicBezTo>
                    <a:pt x="6302" y="1658"/>
                    <a:pt x="6546" y="3613"/>
                    <a:pt x="5520" y="4933"/>
                  </a:cubicBezTo>
                  <a:cubicBezTo>
                    <a:pt x="4493" y="6302"/>
                    <a:pt x="2538" y="6546"/>
                    <a:pt x="1218" y="5520"/>
                  </a:cubicBezTo>
                  <a:cubicBezTo>
                    <a:pt x="-150" y="4493"/>
                    <a:pt x="-395" y="2538"/>
                    <a:pt x="632" y="1218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49" name="Forma livre: Forma 1148">
              <a:extLst>
                <a:ext uri="{FF2B5EF4-FFF2-40B4-BE49-F238E27FC236}">
                  <a16:creationId xmlns:a16="http://schemas.microsoft.com/office/drawing/2014/main" id="{A96855A4-EB47-45EB-51B4-60C8198E84FE}"/>
                </a:ext>
              </a:extLst>
            </p:cNvPr>
            <p:cNvSpPr/>
            <p:nvPr/>
          </p:nvSpPr>
          <p:spPr>
            <a:xfrm>
              <a:off x="6476615" y="5906543"/>
              <a:ext cx="6151" cy="6151"/>
            </a:xfrm>
            <a:custGeom>
              <a:avLst/>
              <a:gdLst>
                <a:gd name="connsiteX0" fmla="*/ 632 w 6151"/>
                <a:gd name="connsiteY0" fmla="*/ 1218 h 6151"/>
                <a:gd name="connsiteX1" fmla="*/ 4933 w 6151"/>
                <a:gd name="connsiteY1" fmla="*/ 632 h 6151"/>
                <a:gd name="connsiteX2" fmla="*/ 5520 w 6151"/>
                <a:gd name="connsiteY2" fmla="*/ 4933 h 6151"/>
                <a:gd name="connsiteX3" fmla="*/ 1218 w 6151"/>
                <a:gd name="connsiteY3" fmla="*/ 5520 h 6151"/>
                <a:gd name="connsiteX4" fmla="*/ 632 w 6151"/>
                <a:gd name="connsiteY4" fmla="*/ 1218 h 61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151" h="6151">
                  <a:moveTo>
                    <a:pt x="632" y="1218"/>
                  </a:moveTo>
                  <a:cubicBezTo>
                    <a:pt x="1658" y="-150"/>
                    <a:pt x="3613" y="-395"/>
                    <a:pt x="4933" y="632"/>
                  </a:cubicBezTo>
                  <a:cubicBezTo>
                    <a:pt x="6302" y="1658"/>
                    <a:pt x="6546" y="3613"/>
                    <a:pt x="5520" y="4933"/>
                  </a:cubicBezTo>
                  <a:cubicBezTo>
                    <a:pt x="4493" y="6302"/>
                    <a:pt x="2538" y="6546"/>
                    <a:pt x="1218" y="5520"/>
                  </a:cubicBezTo>
                  <a:cubicBezTo>
                    <a:pt x="-150" y="4493"/>
                    <a:pt x="-395" y="2538"/>
                    <a:pt x="632" y="1218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50" name="Forma livre: Forma 1149">
              <a:extLst>
                <a:ext uri="{FF2B5EF4-FFF2-40B4-BE49-F238E27FC236}">
                  <a16:creationId xmlns:a16="http://schemas.microsoft.com/office/drawing/2014/main" id="{48A50E9A-405F-81B9-2B40-75F1C1747872}"/>
                </a:ext>
              </a:extLst>
            </p:cNvPr>
            <p:cNvSpPr/>
            <p:nvPr/>
          </p:nvSpPr>
          <p:spPr>
            <a:xfrm>
              <a:off x="6287280" y="5869147"/>
              <a:ext cx="280946" cy="209589"/>
            </a:xfrm>
            <a:custGeom>
              <a:avLst/>
              <a:gdLst>
                <a:gd name="connsiteX0" fmla="*/ 209664 w 280946"/>
                <a:gd name="connsiteY0" fmla="*/ 196100 h 209589"/>
                <a:gd name="connsiteX1" fmla="*/ 209664 w 280946"/>
                <a:gd name="connsiteY1" fmla="*/ 208955 h 209589"/>
                <a:gd name="connsiteX2" fmla="*/ 262844 w 280946"/>
                <a:gd name="connsiteY2" fmla="*/ 208955 h 209589"/>
                <a:gd name="connsiteX3" fmla="*/ 268318 w 280946"/>
                <a:gd name="connsiteY3" fmla="*/ 91647 h 209589"/>
                <a:gd name="connsiteX4" fmla="*/ 259765 w 280946"/>
                <a:gd name="connsiteY4" fmla="*/ 22533 h 209589"/>
                <a:gd name="connsiteX5" fmla="*/ 178529 w 280946"/>
                <a:gd name="connsiteY5" fmla="*/ 0 h 209589"/>
                <a:gd name="connsiteX6" fmla="*/ 43527 w 280946"/>
                <a:gd name="connsiteY6" fmla="*/ 153966 h 209589"/>
                <a:gd name="connsiteX7" fmla="*/ 123 w 280946"/>
                <a:gd name="connsiteY7" fmla="*/ 180263 h 209589"/>
                <a:gd name="connsiteX8" fmla="*/ 38004 w 280946"/>
                <a:gd name="connsiteY8" fmla="*/ 209590 h 209589"/>
                <a:gd name="connsiteX9" fmla="*/ 116209 w 280946"/>
                <a:gd name="connsiteY9" fmla="*/ 209590 h 209589"/>
                <a:gd name="connsiteX10" fmla="*/ 234495 w 280946"/>
                <a:gd name="connsiteY10" fmla="*/ 170390 h 209589"/>
                <a:gd name="connsiteX11" fmla="*/ 252824 w 280946"/>
                <a:gd name="connsiteY11" fmla="*/ 170390 h 2095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80946" h="209589">
                  <a:moveTo>
                    <a:pt x="209664" y="196100"/>
                  </a:moveTo>
                  <a:lnTo>
                    <a:pt x="209664" y="208955"/>
                  </a:lnTo>
                  <a:lnTo>
                    <a:pt x="262844" y="208955"/>
                  </a:lnTo>
                  <a:cubicBezTo>
                    <a:pt x="300089" y="149714"/>
                    <a:pt x="268318" y="91647"/>
                    <a:pt x="268318" y="91647"/>
                  </a:cubicBezTo>
                  <a:cubicBezTo>
                    <a:pt x="258543" y="60462"/>
                    <a:pt x="259765" y="22533"/>
                    <a:pt x="259765" y="22533"/>
                  </a:cubicBezTo>
                  <a:lnTo>
                    <a:pt x="178529" y="0"/>
                  </a:lnTo>
                  <a:cubicBezTo>
                    <a:pt x="178529" y="0"/>
                    <a:pt x="145536" y="125861"/>
                    <a:pt x="43527" y="153966"/>
                  </a:cubicBezTo>
                  <a:cubicBezTo>
                    <a:pt x="43527" y="153966"/>
                    <a:pt x="123" y="156997"/>
                    <a:pt x="123" y="180263"/>
                  </a:cubicBezTo>
                  <a:cubicBezTo>
                    <a:pt x="123" y="180263"/>
                    <a:pt x="-4178" y="204116"/>
                    <a:pt x="38004" y="209590"/>
                  </a:cubicBezTo>
                  <a:lnTo>
                    <a:pt x="116209" y="209590"/>
                  </a:lnTo>
                  <a:cubicBezTo>
                    <a:pt x="154090" y="209590"/>
                    <a:pt x="171588" y="170390"/>
                    <a:pt x="234495" y="170390"/>
                  </a:cubicBezTo>
                  <a:lnTo>
                    <a:pt x="252824" y="170390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51" name="Forma livre: Forma 1150">
              <a:extLst>
                <a:ext uri="{FF2B5EF4-FFF2-40B4-BE49-F238E27FC236}">
                  <a16:creationId xmlns:a16="http://schemas.microsoft.com/office/drawing/2014/main" id="{47B8303A-7606-63D0-48F0-211CE52F63EB}"/>
                </a:ext>
              </a:extLst>
            </p:cNvPr>
            <p:cNvSpPr/>
            <p:nvPr/>
          </p:nvSpPr>
          <p:spPr>
            <a:xfrm>
              <a:off x="6262671" y="6098826"/>
              <a:ext cx="314678" cy="28300"/>
            </a:xfrm>
            <a:custGeom>
              <a:avLst/>
              <a:gdLst>
                <a:gd name="connsiteX0" fmla="*/ 314678 w 314678"/>
                <a:gd name="connsiteY0" fmla="*/ 28301 h 28300"/>
                <a:gd name="connsiteX1" fmla="*/ 37881 w 314678"/>
                <a:gd name="connsiteY1" fmla="*/ 28301 h 28300"/>
                <a:gd name="connsiteX2" fmla="*/ 0 w 314678"/>
                <a:gd name="connsiteY2" fmla="*/ 0 h 28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14678" h="28300">
                  <a:moveTo>
                    <a:pt x="314678" y="28301"/>
                  </a:moveTo>
                  <a:lnTo>
                    <a:pt x="37881" y="28301"/>
                  </a:lnTo>
                  <a:cubicBezTo>
                    <a:pt x="14663" y="28301"/>
                    <a:pt x="4057" y="11829"/>
                    <a:pt x="0" y="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52" name="Forma livre: Forma 1151">
              <a:extLst>
                <a:ext uri="{FF2B5EF4-FFF2-40B4-BE49-F238E27FC236}">
                  <a16:creationId xmlns:a16="http://schemas.microsoft.com/office/drawing/2014/main" id="{8D943B03-CE0D-1EBB-3371-16B1D6D61671}"/>
                </a:ext>
              </a:extLst>
            </p:cNvPr>
            <p:cNvSpPr/>
            <p:nvPr/>
          </p:nvSpPr>
          <p:spPr>
            <a:xfrm>
              <a:off x="6351532" y="6079324"/>
              <a:ext cx="4887" cy="27713"/>
            </a:xfrm>
            <a:custGeom>
              <a:avLst/>
              <a:gdLst>
                <a:gd name="connsiteX0" fmla="*/ 0 w 4887"/>
                <a:gd name="connsiteY0" fmla="*/ 0 h 27713"/>
                <a:gd name="connsiteX1" fmla="*/ 0 w 4887"/>
                <a:gd name="connsiteY1" fmla="*/ 27714 h 277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887" h="27713">
                  <a:moveTo>
                    <a:pt x="0" y="0"/>
                  </a:moveTo>
                  <a:lnTo>
                    <a:pt x="0" y="27714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53" name="Forma livre: Forma 1152">
              <a:extLst>
                <a:ext uri="{FF2B5EF4-FFF2-40B4-BE49-F238E27FC236}">
                  <a16:creationId xmlns:a16="http://schemas.microsoft.com/office/drawing/2014/main" id="{4E3AD207-0641-06BF-05A4-9B2A8E2CF5BB}"/>
                </a:ext>
              </a:extLst>
            </p:cNvPr>
            <p:cNvSpPr/>
            <p:nvPr/>
          </p:nvSpPr>
          <p:spPr>
            <a:xfrm>
              <a:off x="6527200" y="6079324"/>
              <a:ext cx="4887" cy="27713"/>
            </a:xfrm>
            <a:custGeom>
              <a:avLst/>
              <a:gdLst>
                <a:gd name="connsiteX0" fmla="*/ 0 w 4887"/>
                <a:gd name="connsiteY0" fmla="*/ 0 h 27713"/>
                <a:gd name="connsiteX1" fmla="*/ 0 w 4887"/>
                <a:gd name="connsiteY1" fmla="*/ 27714 h 277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887" h="27713">
                  <a:moveTo>
                    <a:pt x="0" y="0"/>
                  </a:moveTo>
                  <a:lnTo>
                    <a:pt x="0" y="27714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155" name="Gráfico 14">
            <a:extLst>
              <a:ext uri="{FF2B5EF4-FFF2-40B4-BE49-F238E27FC236}">
                <a16:creationId xmlns:a16="http://schemas.microsoft.com/office/drawing/2014/main" id="{48AAFFAE-2E14-16B3-7C55-03B0CE58ED69}"/>
              </a:ext>
            </a:extLst>
          </p:cNvPr>
          <p:cNvGrpSpPr/>
          <p:nvPr/>
        </p:nvGrpSpPr>
        <p:grpSpPr>
          <a:xfrm>
            <a:off x="8138927" y="4189056"/>
            <a:ext cx="218730" cy="343809"/>
            <a:chOff x="8138927" y="4189056"/>
            <a:chExt cx="218730" cy="343809"/>
          </a:xfrm>
          <a:noFill/>
        </p:grpSpPr>
        <p:grpSp>
          <p:nvGrpSpPr>
            <p:cNvPr id="1156" name="Gráfico 14">
              <a:extLst>
                <a:ext uri="{FF2B5EF4-FFF2-40B4-BE49-F238E27FC236}">
                  <a16:creationId xmlns:a16="http://schemas.microsoft.com/office/drawing/2014/main" id="{D0F22516-8B19-6E5F-D4D7-1439F1973339}"/>
                </a:ext>
              </a:extLst>
            </p:cNvPr>
            <p:cNvGrpSpPr/>
            <p:nvPr/>
          </p:nvGrpSpPr>
          <p:grpSpPr>
            <a:xfrm>
              <a:off x="8187854" y="4244044"/>
              <a:ext cx="120827" cy="118627"/>
              <a:chOff x="8187854" y="4244044"/>
              <a:chExt cx="120827" cy="118627"/>
            </a:xfrm>
            <a:noFill/>
          </p:grpSpPr>
          <p:sp>
            <p:nvSpPr>
              <p:cNvPr id="1157" name="Forma livre: Forma 1156">
                <a:extLst>
                  <a:ext uri="{FF2B5EF4-FFF2-40B4-BE49-F238E27FC236}">
                    <a16:creationId xmlns:a16="http://schemas.microsoft.com/office/drawing/2014/main" id="{188B7AD6-2D01-5F50-8DC7-16942AE46417}"/>
                  </a:ext>
                </a:extLst>
              </p:cNvPr>
              <p:cNvSpPr/>
              <p:nvPr/>
            </p:nvSpPr>
            <p:spPr>
              <a:xfrm>
                <a:off x="8195919" y="4325768"/>
                <a:ext cx="104697" cy="36903"/>
              </a:xfrm>
              <a:custGeom>
                <a:avLst/>
                <a:gdLst>
                  <a:gd name="connsiteX0" fmla="*/ 0 w 104697"/>
                  <a:gd name="connsiteY0" fmla="*/ 0 h 36903"/>
                  <a:gd name="connsiteX1" fmla="*/ 0 w 104697"/>
                  <a:gd name="connsiteY1" fmla="*/ 36903 h 36903"/>
                  <a:gd name="connsiteX2" fmla="*/ 104697 w 104697"/>
                  <a:gd name="connsiteY2" fmla="*/ 36903 h 36903"/>
                  <a:gd name="connsiteX3" fmla="*/ 104697 w 104697"/>
                  <a:gd name="connsiteY3" fmla="*/ 0 h 369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04697" h="36903">
                    <a:moveTo>
                      <a:pt x="0" y="0"/>
                    </a:moveTo>
                    <a:lnTo>
                      <a:pt x="0" y="36903"/>
                    </a:lnTo>
                    <a:lnTo>
                      <a:pt x="104697" y="36903"/>
                    </a:lnTo>
                    <a:lnTo>
                      <a:pt x="104697" y="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158" name="Forma livre: Forma 1157">
                <a:extLst>
                  <a:ext uri="{FF2B5EF4-FFF2-40B4-BE49-F238E27FC236}">
                    <a16:creationId xmlns:a16="http://schemas.microsoft.com/office/drawing/2014/main" id="{C3CE6E8A-D7F0-2140-4103-D3DFD306C9AF}"/>
                  </a:ext>
                </a:extLst>
              </p:cNvPr>
              <p:cNvSpPr/>
              <p:nvPr/>
            </p:nvSpPr>
            <p:spPr>
              <a:xfrm>
                <a:off x="8187854" y="4280556"/>
                <a:ext cx="120827" cy="25709"/>
              </a:xfrm>
              <a:custGeom>
                <a:avLst/>
                <a:gdLst>
                  <a:gd name="connsiteX0" fmla="*/ 72584 w 120827"/>
                  <a:gd name="connsiteY0" fmla="*/ 25710 h 25709"/>
                  <a:gd name="connsiteX1" fmla="*/ 120827 w 120827"/>
                  <a:gd name="connsiteY1" fmla="*/ 25710 h 25709"/>
                  <a:gd name="connsiteX2" fmla="*/ 120827 w 120827"/>
                  <a:gd name="connsiteY2" fmla="*/ 0 h 25709"/>
                  <a:gd name="connsiteX3" fmla="*/ 0 w 120827"/>
                  <a:gd name="connsiteY3" fmla="*/ 0 h 25709"/>
                  <a:gd name="connsiteX4" fmla="*/ 0 w 120827"/>
                  <a:gd name="connsiteY4" fmla="*/ 25710 h 25709"/>
                  <a:gd name="connsiteX5" fmla="*/ 48243 w 120827"/>
                  <a:gd name="connsiteY5" fmla="*/ 25710 h 257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20827" h="25709">
                    <a:moveTo>
                      <a:pt x="72584" y="25710"/>
                    </a:moveTo>
                    <a:lnTo>
                      <a:pt x="120827" y="25710"/>
                    </a:lnTo>
                    <a:lnTo>
                      <a:pt x="120827" y="0"/>
                    </a:lnTo>
                    <a:lnTo>
                      <a:pt x="0" y="0"/>
                    </a:lnTo>
                    <a:lnTo>
                      <a:pt x="0" y="25710"/>
                    </a:lnTo>
                    <a:lnTo>
                      <a:pt x="48243" y="2571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1159" name="Gráfico 14">
                <a:extLst>
                  <a:ext uri="{FF2B5EF4-FFF2-40B4-BE49-F238E27FC236}">
                    <a16:creationId xmlns:a16="http://schemas.microsoft.com/office/drawing/2014/main" id="{78DE9261-2616-BC68-C396-CB8FA71ADCF3}"/>
                  </a:ext>
                </a:extLst>
              </p:cNvPr>
              <p:cNvGrpSpPr/>
              <p:nvPr/>
            </p:nvGrpSpPr>
            <p:grpSpPr>
              <a:xfrm>
                <a:off x="8236097" y="4281191"/>
                <a:ext cx="24341" cy="81137"/>
                <a:chOff x="8236097" y="4281191"/>
                <a:chExt cx="24341" cy="81137"/>
              </a:xfrm>
            </p:grpSpPr>
            <p:sp>
              <p:nvSpPr>
                <p:cNvPr id="1160" name="Forma livre: Forma 1159">
                  <a:extLst>
                    <a:ext uri="{FF2B5EF4-FFF2-40B4-BE49-F238E27FC236}">
                      <a16:creationId xmlns:a16="http://schemas.microsoft.com/office/drawing/2014/main" id="{A3EF992B-E4E8-1FA5-CF62-B245FFC5050D}"/>
                    </a:ext>
                  </a:extLst>
                </p:cNvPr>
                <p:cNvSpPr/>
                <p:nvPr/>
              </p:nvSpPr>
              <p:spPr>
                <a:xfrm>
                  <a:off x="8236097" y="4281191"/>
                  <a:ext cx="4887" cy="81137"/>
                </a:xfrm>
                <a:custGeom>
                  <a:avLst/>
                  <a:gdLst>
                    <a:gd name="connsiteX0" fmla="*/ 0 w 4887"/>
                    <a:gd name="connsiteY0" fmla="*/ 0 h 81137"/>
                    <a:gd name="connsiteX1" fmla="*/ 0 w 4887"/>
                    <a:gd name="connsiteY1" fmla="*/ 81138 h 8113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887" h="81137">
                      <a:moveTo>
                        <a:pt x="0" y="0"/>
                      </a:moveTo>
                      <a:lnTo>
                        <a:pt x="0" y="81138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161" name="Forma livre: Forma 1160">
                  <a:extLst>
                    <a:ext uri="{FF2B5EF4-FFF2-40B4-BE49-F238E27FC236}">
                      <a16:creationId xmlns:a16="http://schemas.microsoft.com/office/drawing/2014/main" id="{15902683-F67A-659A-377D-C5DE7D6A5E1C}"/>
                    </a:ext>
                  </a:extLst>
                </p:cNvPr>
                <p:cNvSpPr/>
                <p:nvPr/>
              </p:nvSpPr>
              <p:spPr>
                <a:xfrm>
                  <a:off x="8260438" y="4281191"/>
                  <a:ext cx="4887" cy="81137"/>
                </a:xfrm>
                <a:custGeom>
                  <a:avLst/>
                  <a:gdLst>
                    <a:gd name="connsiteX0" fmla="*/ 0 w 4887"/>
                    <a:gd name="connsiteY0" fmla="*/ 0 h 81137"/>
                    <a:gd name="connsiteX1" fmla="*/ 0 w 4887"/>
                    <a:gd name="connsiteY1" fmla="*/ 81138 h 8113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887" h="81137">
                      <a:moveTo>
                        <a:pt x="0" y="0"/>
                      </a:moveTo>
                      <a:lnTo>
                        <a:pt x="0" y="81138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1162" name="Gráfico 14">
                <a:extLst>
                  <a:ext uri="{FF2B5EF4-FFF2-40B4-BE49-F238E27FC236}">
                    <a16:creationId xmlns:a16="http://schemas.microsoft.com/office/drawing/2014/main" id="{A0F5B8C6-9748-12E3-2CF4-39FDE758CCCB}"/>
                  </a:ext>
                </a:extLst>
              </p:cNvPr>
              <p:cNvGrpSpPr/>
              <p:nvPr/>
            </p:nvGrpSpPr>
            <p:grpSpPr>
              <a:xfrm>
                <a:off x="8204277" y="4244044"/>
                <a:ext cx="87980" cy="36560"/>
                <a:chOff x="8204277" y="4244044"/>
                <a:chExt cx="87980" cy="36560"/>
              </a:xfrm>
              <a:noFill/>
            </p:grpSpPr>
            <p:sp>
              <p:nvSpPr>
                <p:cNvPr id="1163" name="Forma livre: Forma 1162">
                  <a:extLst>
                    <a:ext uri="{FF2B5EF4-FFF2-40B4-BE49-F238E27FC236}">
                      <a16:creationId xmlns:a16="http://schemas.microsoft.com/office/drawing/2014/main" id="{35933A27-836A-9B00-4462-D4BA43C56492}"/>
                    </a:ext>
                  </a:extLst>
                </p:cNvPr>
                <p:cNvSpPr/>
                <p:nvPr/>
              </p:nvSpPr>
              <p:spPr>
                <a:xfrm>
                  <a:off x="8248317" y="4244044"/>
                  <a:ext cx="43941" cy="36560"/>
                </a:xfrm>
                <a:custGeom>
                  <a:avLst/>
                  <a:gdLst>
                    <a:gd name="connsiteX0" fmla="*/ 0 w 43941"/>
                    <a:gd name="connsiteY0" fmla="*/ 36121 h 36560"/>
                    <a:gd name="connsiteX1" fmla="*/ 25661 w 43941"/>
                    <a:gd name="connsiteY1" fmla="*/ 0 h 36560"/>
                    <a:gd name="connsiteX2" fmla="*/ 43942 w 43941"/>
                    <a:gd name="connsiteY2" fmla="*/ 18280 h 36560"/>
                    <a:gd name="connsiteX3" fmla="*/ 25661 w 43941"/>
                    <a:gd name="connsiteY3" fmla="*/ 36561 h 3656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3941" h="36560">
                      <a:moveTo>
                        <a:pt x="0" y="36121"/>
                      </a:moveTo>
                      <a:cubicBezTo>
                        <a:pt x="3324" y="13588"/>
                        <a:pt x="12904" y="0"/>
                        <a:pt x="25661" y="0"/>
                      </a:cubicBezTo>
                      <a:cubicBezTo>
                        <a:pt x="35730" y="0"/>
                        <a:pt x="43942" y="8163"/>
                        <a:pt x="43942" y="18280"/>
                      </a:cubicBezTo>
                      <a:cubicBezTo>
                        <a:pt x="43942" y="28398"/>
                        <a:pt x="35779" y="36561"/>
                        <a:pt x="25661" y="36561"/>
                      </a:cubicBez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164" name="Forma livre: Forma 1163">
                  <a:extLst>
                    <a:ext uri="{FF2B5EF4-FFF2-40B4-BE49-F238E27FC236}">
                      <a16:creationId xmlns:a16="http://schemas.microsoft.com/office/drawing/2014/main" id="{DAF476E9-6EA6-F378-98D5-9C2B912F2FAA}"/>
                    </a:ext>
                  </a:extLst>
                </p:cNvPr>
                <p:cNvSpPr/>
                <p:nvPr/>
              </p:nvSpPr>
              <p:spPr>
                <a:xfrm>
                  <a:off x="8204277" y="4244044"/>
                  <a:ext cx="43941" cy="36560"/>
                </a:xfrm>
                <a:custGeom>
                  <a:avLst/>
                  <a:gdLst>
                    <a:gd name="connsiteX0" fmla="*/ 43942 w 43941"/>
                    <a:gd name="connsiteY0" fmla="*/ 36121 h 36560"/>
                    <a:gd name="connsiteX1" fmla="*/ 18280 w 43941"/>
                    <a:gd name="connsiteY1" fmla="*/ 0 h 36560"/>
                    <a:gd name="connsiteX2" fmla="*/ 0 w 43941"/>
                    <a:gd name="connsiteY2" fmla="*/ 18280 h 36560"/>
                    <a:gd name="connsiteX3" fmla="*/ 18280 w 43941"/>
                    <a:gd name="connsiteY3" fmla="*/ 36561 h 3656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3941" h="36560">
                      <a:moveTo>
                        <a:pt x="43942" y="36121"/>
                      </a:moveTo>
                      <a:cubicBezTo>
                        <a:pt x="40618" y="13588"/>
                        <a:pt x="31038" y="0"/>
                        <a:pt x="18280" y="0"/>
                      </a:cubicBezTo>
                      <a:cubicBezTo>
                        <a:pt x="8212" y="0"/>
                        <a:pt x="0" y="8163"/>
                        <a:pt x="0" y="18280"/>
                      </a:cubicBezTo>
                      <a:cubicBezTo>
                        <a:pt x="0" y="28398"/>
                        <a:pt x="8163" y="36561"/>
                        <a:pt x="18280" y="36561"/>
                      </a:cubicBez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sp>
          <p:nvSpPr>
            <p:cNvPr id="1165" name="Forma livre: Forma 1164">
              <a:extLst>
                <a:ext uri="{FF2B5EF4-FFF2-40B4-BE49-F238E27FC236}">
                  <a16:creationId xmlns:a16="http://schemas.microsoft.com/office/drawing/2014/main" id="{50E6C636-C0FB-FDBB-F04D-67D2DFA72EF2}"/>
                </a:ext>
              </a:extLst>
            </p:cNvPr>
            <p:cNvSpPr/>
            <p:nvPr/>
          </p:nvSpPr>
          <p:spPr>
            <a:xfrm>
              <a:off x="8138927" y="4189056"/>
              <a:ext cx="218730" cy="343809"/>
            </a:xfrm>
            <a:custGeom>
              <a:avLst/>
              <a:gdLst>
                <a:gd name="connsiteX0" fmla="*/ 109536 w 218730"/>
                <a:gd name="connsiteY0" fmla="*/ 0 h 343809"/>
                <a:gd name="connsiteX1" fmla="*/ 218730 w 218730"/>
                <a:gd name="connsiteY1" fmla="*/ 109096 h 343809"/>
                <a:gd name="connsiteX2" fmla="*/ 109438 w 218730"/>
                <a:gd name="connsiteY2" fmla="*/ 343810 h 343809"/>
                <a:gd name="connsiteX3" fmla="*/ 109292 w 218730"/>
                <a:gd name="connsiteY3" fmla="*/ 343810 h 343809"/>
                <a:gd name="connsiteX4" fmla="*/ 0 w 218730"/>
                <a:gd name="connsiteY4" fmla="*/ 109096 h 343809"/>
                <a:gd name="connsiteX5" fmla="*/ 109194 w 218730"/>
                <a:gd name="connsiteY5" fmla="*/ 0 h 343809"/>
                <a:gd name="connsiteX6" fmla="*/ 109536 w 218730"/>
                <a:gd name="connsiteY6" fmla="*/ 0 h 343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18730" h="343809">
                  <a:moveTo>
                    <a:pt x="109536" y="0"/>
                  </a:moveTo>
                  <a:cubicBezTo>
                    <a:pt x="169803" y="0"/>
                    <a:pt x="218730" y="48829"/>
                    <a:pt x="218730" y="109096"/>
                  </a:cubicBezTo>
                  <a:cubicBezTo>
                    <a:pt x="218730" y="189892"/>
                    <a:pt x="109438" y="343810"/>
                    <a:pt x="109438" y="343810"/>
                  </a:cubicBezTo>
                  <a:lnTo>
                    <a:pt x="109292" y="343810"/>
                  </a:lnTo>
                  <a:cubicBezTo>
                    <a:pt x="109292" y="343810"/>
                    <a:pt x="0" y="189892"/>
                    <a:pt x="0" y="109096"/>
                  </a:cubicBezTo>
                  <a:cubicBezTo>
                    <a:pt x="0" y="48829"/>
                    <a:pt x="48927" y="0"/>
                    <a:pt x="109194" y="0"/>
                  </a:cubicBezTo>
                  <a:lnTo>
                    <a:pt x="109536" y="0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166" name="Gráfico 14">
            <a:extLst>
              <a:ext uri="{FF2B5EF4-FFF2-40B4-BE49-F238E27FC236}">
                <a16:creationId xmlns:a16="http://schemas.microsoft.com/office/drawing/2014/main" id="{570DF08F-28CC-DCA3-D8AE-D55A4C60B98E}"/>
              </a:ext>
            </a:extLst>
          </p:cNvPr>
          <p:cNvGrpSpPr/>
          <p:nvPr/>
        </p:nvGrpSpPr>
        <p:grpSpPr>
          <a:xfrm>
            <a:off x="9354138" y="4193052"/>
            <a:ext cx="331332" cy="335853"/>
            <a:chOff x="9354138" y="4193052"/>
            <a:chExt cx="331332" cy="335853"/>
          </a:xfrm>
          <a:noFill/>
        </p:grpSpPr>
        <p:grpSp>
          <p:nvGrpSpPr>
            <p:cNvPr id="1167" name="Gráfico 14">
              <a:extLst>
                <a:ext uri="{FF2B5EF4-FFF2-40B4-BE49-F238E27FC236}">
                  <a16:creationId xmlns:a16="http://schemas.microsoft.com/office/drawing/2014/main" id="{D4293729-16F8-119D-F0F7-E82C27535F53}"/>
                </a:ext>
              </a:extLst>
            </p:cNvPr>
            <p:cNvGrpSpPr/>
            <p:nvPr/>
          </p:nvGrpSpPr>
          <p:grpSpPr>
            <a:xfrm>
              <a:off x="9433565" y="4193052"/>
              <a:ext cx="174495" cy="180176"/>
              <a:chOff x="9433565" y="4193052"/>
              <a:chExt cx="174495" cy="180176"/>
            </a:xfrm>
            <a:noFill/>
          </p:grpSpPr>
          <p:grpSp>
            <p:nvGrpSpPr>
              <p:cNvPr id="1168" name="Gráfico 14">
                <a:extLst>
                  <a:ext uri="{FF2B5EF4-FFF2-40B4-BE49-F238E27FC236}">
                    <a16:creationId xmlns:a16="http://schemas.microsoft.com/office/drawing/2014/main" id="{5F51D2D2-514D-AD2A-5D85-91FD6410082C}"/>
                  </a:ext>
                </a:extLst>
              </p:cNvPr>
              <p:cNvGrpSpPr/>
              <p:nvPr/>
            </p:nvGrpSpPr>
            <p:grpSpPr>
              <a:xfrm>
                <a:off x="9464548" y="4193052"/>
                <a:ext cx="112515" cy="57003"/>
                <a:chOff x="9464548" y="4193052"/>
                <a:chExt cx="112515" cy="57003"/>
              </a:xfrm>
              <a:noFill/>
            </p:grpSpPr>
            <p:sp>
              <p:nvSpPr>
                <p:cNvPr id="1169" name="Forma livre: Forma 1168">
                  <a:extLst>
                    <a:ext uri="{FF2B5EF4-FFF2-40B4-BE49-F238E27FC236}">
                      <a16:creationId xmlns:a16="http://schemas.microsoft.com/office/drawing/2014/main" id="{7DF184F0-4CA5-4240-D92E-41C9C0CAC70C}"/>
                    </a:ext>
                  </a:extLst>
                </p:cNvPr>
                <p:cNvSpPr/>
                <p:nvPr/>
              </p:nvSpPr>
              <p:spPr>
                <a:xfrm>
                  <a:off x="9464548" y="4193052"/>
                  <a:ext cx="55335" cy="57003"/>
                </a:xfrm>
                <a:custGeom>
                  <a:avLst/>
                  <a:gdLst>
                    <a:gd name="connsiteX0" fmla="*/ 34416 w 55335"/>
                    <a:gd name="connsiteY0" fmla="*/ 6170 h 57003"/>
                    <a:gd name="connsiteX1" fmla="*/ 55336 w 55335"/>
                    <a:gd name="connsiteY1" fmla="*/ 57003 h 57003"/>
                    <a:gd name="connsiteX2" fmla="*/ 5529 w 55335"/>
                    <a:gd name="connsiteY2" fmla="*/ 33786 h 57003"/>
                    <a:gd name="connsiteX3" fmla="*/ 6213 w 55335"/>
                    <a:gd name="connsiteY3" fmla="*/ 5535 h 57003"/>
                    <a:gd name="connsiteX4" fmla="*/ 34465 w 55335"/>
                    <a:gd name="connsiteY4" fmla="*/ 6170 h 570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5335" h="57003">
                      <a:moveTo>
                        <a:pt x="34416" y="6170"/>
                      </a:moveTo>
                      <a:cubicBezTo>
                        <a:pt x="42041" y="14137"/>
                        <a:pt x="55336" y="57003"/>
                        <a:pt x="55336" y="57003"/>
                      </a:cubicBezTo>
                      <a:cubicBezTo>
                        <a:pt x="55336" y="57003"/>
                        <a:pt x="13154" y="41753"/>
                        <a:pt x="5529" y="33786"/>
                      </a:cubicBezTo>
                      <a:cubicBezTo>
                        <a:pt x="-2096" y="25819"/>
                        <a:pt x="-1803" y="13160"/>
                        <a:pt x="6213" y="5535"/>
                      </a:cubicBezTo>
                      <a:cubicBezTo>
                        <a:pt x="14181" y="-2090"/>
                        <a:pt x="26840" y="-1797"/>
                        <a:pt x="34465" y="6170"/>
                      </a:cubicBezTo>
                      <a:close/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170" name="Forma livre: Forma 1169">
                  <a:extLst>
                    <a:ext uri="{FF2B5EF4-FFF2-40B4-BE49-F238E27FC236}">
                      <a16:creationId xmlns:a16="http://schemas.microsoft.com/office/drawing/2014/main" id="{2FD5AC48-6155-C19C-F77B-980244BAD3E7}"/>
                    </a:ext>
                  </a:extLst>
                </p:cNvPr>
                <p:cNvSpPr/>
                <p:nvPr/>
              </p:nvSpPr>
              <p:spPr>
                <a:xfrm>
                  <a:off x="9521742" y="4193052"/>
                  <a:ext cx="55322" cy="57003"/>
                </a:xfrm>
                <a:custGeom>
                  <a:avLst/>
                  <a:gdLst>
                    <a:gd name="connsiteX0" fmla="*/ 20920 w 55322"/>
                    <a:gd name="connsiteY0" fmla="*/ 6170 h 57003"/>
                    <a:gd name="connsiteX1" fmla="*/ 0 w 55322"/>
                    <a:gd name="connsiteY1" fmla="*/ 57003 h 57003"/>
                    <a:gd name="connsiteX2" fmla="*/ 49807 w 55322"/>
                    <a:gd name="connsiteY2" fmla="*/ 33786 h 57003"/>
                    <a:gd name="connsiteX3" fmla="*/ 49172 w 55322"/>
                    <a:gd name="connsiteY3" fmla="*/ 5535 h 57003"/>
                    <a:gd name="connsiteX4" fmla="*/ 20920 w 55322"/>
                    <a:gd name="connsiteY4" fmla="*/ 6170 h 570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5322" h="57003">
                      <a:moveTo>
                        <a:pt x="20920" y="6170"/>
                      </a:moveTo>
                      <a:cubicBezTo>
                        <a:pt x="13295" y="14137"/>
                        <a:pt x="0" y="57003"/>
                        <a:pt x="0" y="57003"/>
                      </a:cubicBezTo>
                      <a:cubicBezTo>
                        <a:pt x="0" y="57003"/>
                        <a:pt x="42182" y="41753"/>
                        <a:pt x="49807" y="33786"/>
                      </a:cubicBezTo>
                      <a:cubicBezTo>
                        <a:pt x="57383" y="25819"/>
                        <a:pt x="57139" y="13160"/>
                        <a:pt x="49172" y="5535"/>
                      </a:cubicBezTo>
                      <a:cubicBezTo>
                        <a:pt x="41204" y="-2090"/>
                        <a:pt x="28545" y="-1797"/>
                        <a:pt x="20920" y="6170"/>
                      </a:cubicBezTo>
                      <a:close/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1171" name="Forma livre: Forma 1170">
                <a:extLst>
                  <a:ext uri="{FF2B5EF4-FFF2-40B4-BE49-F238E27FC236}">
                    <a16:creationId xmlns:a16="http://schemas.microsoft.com/office/drawing/2014/main" id="{AA88457F-AAC6-4142-D719-53FB1DA5CB09}"/>
                  </a:ext>
                </a:extLst>
              </p:cNvPr>
              <p:cNvSpPr/>
              <p:nvPr/>
            </p:nvSpPr>
            <p:spPr>
              <a:xfrm>
                <a:off x="9445247" y="4316774"/>
                <a:ext cx="151131" cy="56454"/>
              </a:xfrm>
              <a:custGeom>
                <a:avLst/>
                <a:gdLst>
                  <a:gd name="connsiteX0" fmla="*/ 0 w 151131"/>
                  <a:gd name="connsiteY0" fmla="*/ 0 h 56454"/>
                  <a:gd name="connsiteX1" fmla="*/ 0 w 151131"/>
                  <a:gd name="connsiteY1" fmla="*/ 56454 h 56454"/>
                  <a:gd name="connsiteX2" fmla="*/ 151131 w 151131"/>
                  <a:gd name="connsiteY2" fmla="*/ 56454 h 56454"/>
                  <a:gd name="connsiteX3" fmla="*/ 151131 w 151131"/>
                  <a:gd name="connsiteY3" fmla="*/ 0 h 564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51131" h="56454">
                    <a:moveTo>
                      <a:pt x="0" y="0"/>
                    </a:moveTo>
                    <a:lnTo>
                      <a:pt x="0" y="56454"/>
                    </a:lnTo>
                    <a:lnTo>
                      <a:pt x="151131" y="56454"/>
                    </a:lnTo>
                    <a:lnTo>
                      <a:pt x="151131" y="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172" name="Forma livre: Forma 1171">
                <a:extLst>
                  <a:ext uri="{FF2B5EF4-FFF2-40B4-BE49-F238E27FC236}">
                    <a16:creationId xmlns:a16="http://schemas.microsoft.com/office/drawing/2014/main" id="{FCE3F8B4-CCF9-914E-909B-5EBFA27AEA13}"/>
                  </a:ext>
                </a:extLst>
              </p:cNvPr>
              <p:cNvSpPr/>
              <p:nvPr/>
            </p:nvSpPr>
            <p:spPr>
              <a:xfrm>
                <a:off x="9433565" y="4254650"/>
                <a:ext cx="174495" cy="37147"/>
              </a:xfrm>
              <a:custGeom>
                <a:avLst/>
                <a:gdLst>
                  <a:gd name="connsiteX0" fmla="*/ 104795 w 174495"/>
                  <a:gd name="connsiteY0" fmla="*/ 37148 h 37147"/>
                  <a:gd name="connsiteX1" fmla="*/ 174495 w 174495"/>
                  <a:gd name="connsiteY1" fmla="*/ 37148 h 37147"/>
                  <a:gd name="connsiteX2" fmla="*/ 174495 w 174495"/>
                  <a:gd name="connsiteY2" fmla="*/ 0 h 37147"/>
                  <a:gd name="connsiteX3" fmla="*/ 0 w 174495"/>
                  <a:gd name="connsiteY3" fmla="*/ 0 h 37147"/>
                  <a:gd name="connsiteX4" fmla="*/ 0 w 174495"/>
                  <a:gd name="connsiteY4" fmla="*/ 37148 h 37147"/>
                  <a:gd name="connsiteX5" fmla="*/ 69700 w 174495"/>
                  <a:gd name="connsiteY5" fmla="*/ 37148 h 371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74495" h="37147">
                    <a:moveTo>
                      <a:pt x="104795" y="37148"/>
                    </a:moveTo>
                    <a:lnTo>
                      <a:pt x="174495" y="37148"/>
                    </a:lnTo>
                    <a:lnTo>
                      <a:pt x="174495" y="0"/>
                    </a:lnTo>
                    <a:lnTo>
                      <a:pt x="0" y="0"/>
                    </a:lnTo>
                    <a:lnTo>
                      <a:pt x="0" y="37148"/>
                    </a:lnTo>
                    <a:lnTo>
                      <a:pt x="69700" y="37148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1173" name="Gráfico 14">
                <a:extLst>
                  <a:ext uri="{FF2B5EF4-FFF2-40B4-BE49-F238E27FC236}">
                    <a16:creationId xmlns:a16="http://schemas.microsoft.com/office/drawing/2014/main" id="{3132830E-8F4C-3FDF-12D2-EDE9F1C9BDC3}"/>
                  </a:ext>
                </a:extLst>
              </p:cNvPr>
              <p:cNvGrpSpPr/>
              <p:nvPr/>
            </p:nvGrpSpPr>
            <p:grpSpPr>
              <a:xfrm>
                <a:off x="9503266" y="4255579"/>
                <a:ext cx="35094" cy="117112"/>
                <a:chOff x="9503266" y="4255579"/>
                <a:chExt cx="35094" cy="117112"/>
              </a:xfrm>
            </p:grpSpPr>
            <p:sp>
              <p:nvSpPr>
                <p:cNvPr id="1174" name="Forma livre: Forma 1173">
                  <a:extLst>
                    <a:ext uri="{FF2B5EF4-FFF2-40B4-BE49-F238E27FC236}">
                      <a16:creationId xmlns:a16="http://schemas.microsoft.com/office/drawing/2014/main" id="{EC32915F-80CF-BD94-0296-93779DD3F5E6}"/>
                    </a:ext>
                  </a:extLst>
                </p:cNvPr>
                <p:cNvSpPr/>
                <p:nvPr/>
              </p:nvSpPr>
              <p:spPr>
                <a:xfrm>
                  <a:off x="9503266" y="4255579"/>
                  <a:ext cx="4887" cy="117112"/>
                </a:xfrm>
                <a:custGeom>
                  <a:avLst/>
                  <a:gdLst>
                    <a:gd name="connsiteX0" fmla="*/ 0 w 4887"/>
                    <a:gd name="connsiteY0" fmla="*/ 0 h 117112"/>
                    <a:gd name="connsiteX1" fmla="*/ 0 w 4887"/>
                    <a:gd name="connsiteY1" fmla="*/ 117112 h 11711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887" h="117112">
                      <a:moveTo>
                        <a:pt x="0" y="0"/>
                      </a:moveTo>
                      <a:lnTo>
                        <a:pt x="0" y="117112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175" name="Forma livre: Forma 1174">
                  <a:extLst>
                    <a:ext uri="{FF2B5EF4-FFF2-40B4-BE49-F238E27FC236}">
                      <a16:creationId xmlns:a16="http://schemas.microsoft.com/office/drawing/2014/main" id="{34FC202B-2376-8A30-46C6-EBC56BD86DD5}"/>
                    </a:ext>
                  </a:extLst>
                </p:cNvPr>
                <p:cNvSpPr/>
                <p:nvPr/>
              </p:nvSpPr>
              <p:spPr>
                <a:xfrm>
                  <a:off x="9538360" y="4255579"/>
                  <a:ext cx="4887" cy="117112"/>
                </a:xfrm>
                <a:custGeom>
                  <a:avLst/>
                  <a:gdLst>
                    <a:gd name="connsiteX0" fmla="*/ 0 w 4887"/>
                    <a:gd name="connsiteY0" fmla="*/ 0 h 117112"/>
                    <a:gd name="connsiteX1" fmla="*/ 0 w 4887"/>
                    <a:gd name="connsiteY1" fmla="*/ 117112 h 11711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887" h="117112">
                      <a:moveTo>
                        <a:pt x="0" y="0"/>
                      </a:moveTo>
                      <a:lnTo>
                        <a:pt x="0" y="117112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grpSp>
          <p:nvGrpSpPr>
            <p:cNvPr id="1176" name="Gráfico 14">
              <a:extLst>
                <a:ext uri="{FF2B5EF4-FFF2-40B4-BE49-F238E27FC236}">
                  <a16:creationId xmlns:a16="http://schemas.microsoft.com/office/drawing/2014/main" id="{E2B45500-854E-676E-A2C4-B08F41120769}"/>
                </a:ext>
              </a:extLst>
            </p:cNvPr>
            <p:cNvGrpSpPr/>
            <p:nvPr/>
          </p:nvGrpSpPr>
          <p:grpSpPr>
            <a:xfrm>
              <a:off x="9354138" y="4393791"/>
              <a:ext cx="331332" cy="135114"/>
              <a:chOff x="9354138" y="4393791"/>
              <a:chExt cx="331332" cy="135114"/>
            </a:xfrm>
            <a:noFill/>
          </p:grpSpPr>
          <p:sp>
            <p:nvSpPr>
              <p:cNvPr id="1177" name="Forma livre: Forma 1176">
                <a:extLst>
                  <a:ext uri="{FF2B5EF4-FFF2-40B4-BE49-F238E27FC236}">
                    <a16:creationId xmlns:a16="http://schemas.microsoft.com/office/drawing/2014/main" id="{F5E302DE-1709-91CF-FA78-DC1A95A78921}"/>
                  </a:ext>
                </a:extLst>
              </p:cNvPr>
              <p:cNvSpPr/>
              <p:nvPr/>
            </p:nvSpPr>
            <p:spPr>
              <a:xfrm>
                <a:off x="9395049" y="4393791"/>
                <a:ext cx="290421" cy="135114"/>
              </a:xfrm>
              <a:custGeom>
                <a:avLst/>
                <a:gdLst>
                  <a:gd name="connsiteX0" fmla="*/ 198201 w 290421"/>
                  <a:gd name="connsiteY0" fmla="*/ 33692 h 135114"/>
                  <a:gd name="connsiteX1" fmla="*/ 257637 w 290421"/>
                  <a:gd name="connsiteY1" fmla="*/ 3339 h 135114"/>
                  <a:gd name="connsiteX2" fmla="*/ 288137 w 290421"/>
                  <a:gd name="connsiteY2" fmla="*/ 9986 h 135114"/>
                  <a:gd name="connsiteX3" fmla="*/ 277335 w 290421"/>
                  <a:gd name="connsiteY3" fmla="*/ 39998 h 135114"/>
                  <a:gd name="connsiteX4" fmla="*/ 154064 w 290421"/>
                  <a:gd name="connsiteY4" fmla="*/ 106081 h 135114"/>
                  <a:gd name="connsiteX5" fmla="*/ 147563 w 290421"/>
                  <a:gd name="connsiteY5" fmla="*/ 107694 h 135114"/>
                  <a:gd name="connsiteX6" fmla="*/ 32602 w 290421"/>
                  <a:gd name="connsiteY6" fmla="*/ 110822 h 135114"/>
                  <a:gd name="connsiteX7" fmla="*/ 0 w 290421"/>
                  <a:gd name="connsiteY7" fmla="*/ 135115 h 1351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90421" h="135114">
                    <a:moveTo>
                      <a:pt x="198201" y="33692"/>
                    </a:moveTo>
                    <a:lnTo>
                      <a:pt x="257637" y="3339"/>
                    </a:lnTo>
                    <a:cubicBezTo>
                      <a:pt x="269124" y="-2820"/>
                      <a:pt x="282614" y="-376"/>
                      <a:pt x="288137" y="9986"/>
                    </a:cubicBezTo>
                    <a:cubicBezTo>
                      <a:pt x="293661" y="20349"/>
                      <a:pt x="288822" y="33839"/>
                      <a:pt x="277335" y="39998"/>
                    </a:cubicBezTo>
                    <a:lnTo>
                      <a:pt x="154064" y="106081"/>
                    </a:lnTo>
                    <a:lnTo>
                      <a:pt x="147563" y="107694"/>
                    </a:lnTo>
                    <a:lnTo>
                      <a:pt x="32602" y="110822"/>
                    </a:lnTo>
                    <a:cubicBezTo>
                      <a:pt x="32602" y="110822"/>
                      <a:pt x="17792" y="114977"/>
                      <a:pt x="0" y="135115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178" name="Forma livre: Forma 1177">
                <a:extLst>
                  <a:ext uri="{FF2B5EF4-FFF2-40B4-BE49-F238E27FC236}">
                    <a16:creationId xmlns:a16="http://schemas.microsoft.com/office/drawing/2014/main" id="{102AFC8D-2E36-5C55-9E12-31ED24CCE850}"/>
                  </a:ext>
                </a:extLst>
              </p:cNvPr>
              <p:cNvSpPr/>
              <p:nvPr/>
            </p:nvSpPr>
            <p:spPr>
              <a:xfrm>
                <a:off x="9354138" y="4410116"/>
                <a:ext cx="219218" cy="58328"/>
              </a:xfrm>
              <a:custGeom>
                <a:avLst/>
                <a:gdLst>
                  <a:gd name="connsiteX0" fmla="*/ 0 w 219218"/>
                  <a:gd name="connsiteY0" fmla="*/ 58328 h 58328"/>
                  <a:gd name="connsiteX1" fmla="*/ 52153 w 219218"/>
                  <a:gd name="connsiteY1" fmla="*/ 10330 h 58328"/>
                  <a:gd name="connsiteX2" fmla="*/ 107874 w 219218"/>
                  <a:gd name="connsiteY2" fmla="*/ 2607 h 58328"/>
                  <a:gd name="connsiteX3" fmla="*/ 149665 w 219218"/>
                  <a:gd name="connsiteY3" fmla="*/ 7348 h 58328"/>
                  <a:gd name="connsiteX4" fmla="*/ 194780 w 219218"/>
                  <a:gd name="connsiteY4" fmla="*/ 7348 h 58328"/>
                  <a:gd name="connsiteX5" fmla="*/ 219219 w 219218"/>
                  <a:gd name="connsiteY5" fmla="*/ 28659 h 58328"/>
                  <a:gd name="connsiteX6" fmla="*/ 194780 w 219218"/>
                  <a:gd name="connsiteY6" fmla="*/ 49970 h 58328"/>
                  <a:gd name="connsiteX7" fmla="*/ 132362 w 219218"/>
                  <a:gd name="connsiteY7" fmla="*/ 49970 h 583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19218" h="58328">
                    <a:moveTo>
                      <a:pt x="0" y="58328"/>
                    </a:moveTo>
                    <a:lnTo>
                      <a:pt x="52153" y="10330"/>
                    </a:lnTo>
                    <a:cubicBezTo>
                      <a:pt x="77619" y="-6875"/>
                      <a:pt x="107874" y="2607"/>
                      <a:pt x="107874" y="2607"/>
                    </a:cubicBezTo>
                    <a:cubicBezTo>
                      <a:pt x="122489" y="6468"/>
                      <a:pt x="149665" y="7348"/>
                      <a:pt x="149665" y="7348"/>
                    </a:cubicBezTo>
                    <a:lnTo>
                      <a:pt x="194780" y="7348"/>
                    </a:lnTo>
                    <a:cubicBezTo>
                      <a:pt x="208221" y="7348"/>
                      <a:pt x="219219" y="16928"/>
                      <a:pt x="219219" y="28659"/>
                    </a:cubicBezTo>
                    <a:cubicBezTo>
                      <a:pt x="219219" y="40390"/>
                      <a:pt x="208221" y="49970"/>
                      <a:pt x="194780" y="49970"/>
                    </a:cubicBezTo>
                    <a:lnTo>
                      <a:pt x="132362" y="4997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179" name="Gráfico 14">
            <a:extLst>
              <a:ext uri="{FF2B5EF4-FFF2-40B4-BE49-F238E27FC236}">
                <a16:creationId xmlns:a16="http://schemas.microsoft.com/office/drawing/2014/main" id="{6BC529A6-D434-D102-64A6-7C784F9593C9}"/>
              </a:ext>
            </a:extLst>
          </p:cNvPr>
          <p:cNvGrpSpPr/>
          <p:nvPr/>
        </p:nvGrpSpPr>
        <p:grpSpPr>
          <a:xfrm>
            <a:off x="8729328" y="4226692"/>
            <a:ext cx="309448" cy="268537"/>
            <a:chOff x="8729328" y="4226692"/>
            <a:chExt cx="309448" cy="268537"/>
          </a:xfrm>
          <a:noFill/>
        </p:grpSpPr>
        <p:grpSp>
          <p:nvGrpSpPr>
            <p:cNvPr id="1180" name="Gráfico 14">
              <a:extLst>
                <a:ext uri="{FF2B5EF4-FFF2-40B4-BE49-F238E27FC236}">
                  <a16:creationId xmlns:a16="http://schemas.microsoft.com/office/drawing/2014/main" id="{C6E2485F-DCE3-CACC-64DE-07924EB046FA}"/>
                </a:ext>
              </a:extLst>
            </p:cNvPr>
            <p:cNvGrpSpPr/>
            <p:nvPr/>
          </p:nvGrpSpPr>
          <p:grpSpPr>
            <a:xfrm>
              <a:off x="8729328" y="4226692"/>
              <a:ext cx="246688" cy="268537"/>
              <a:chOff x="8729328" y="4226692"/>
              <a:chExt cx="246688" cy="268537"/>
            </a:xfrm>
            <a:noFill/>
          </p:grpSpPr>
          <p:sp>
            <p:nvSpPr>
              <p:cNvPr id="1181" name="Forma livre: Forma 1180">
                <a:extLst>
                  <a:ext uri="{FF2B5EF4-FFF2-40B4-BE49-F238E27FC236}">
                    <a16:creationId xmlns:a16="http://schemas.microsoft.com/office/drawing/2014/main" id="{61F8D5ED-3E6A-8A4D-AA49-68AA68755F7A}"/>
                  </a:ext>
                </a:extLst>
              </p:cNvPr>
              <p:cNvSpPr/>
              <p:nvPr/>
            </p:nvSpPr>
            <p:spPr>
              <a:xfrm>
                <a:off x="8826840" y="4226692"/>
                <a:ext cx="51615" cy="85488"/>
              </a:xfrm>
              <a:custGeom>
                <a:avLst/>
                <a:gdLst>
                  <a:gd name="connsiteX0" fmla="*/ 22680 w 51615"/>
                  <a:gd name="connsiteY0" fmla="*/ 85488 h 85488"/>
                  <a:gd name="connsiteX1" fmla="*/ 0 w 51615"/>
                  <a:gd name="connsiteY1" fmla="*/ 25808 h 85488"/>
                  <a:gd name="connsiteX2" fmla="*/ 25808 w 51615"/>
                  <a:gd name="connsiteY2" fmla="*/ 0 h 85488"/>
                  <a:gd name="connsiteX3" fmla="*/ 51615 w 51615"/>
                  <a:gd name="connsiteY3" fmla="*/ 25808 h 85488"/>
                  <a:gd name="connsiteX4" fmla="*/ 29034 w 51615"/>
                  <a:gd name="connsiteY4" fmla="*/ 85293 h 854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1615" h="85488">
                    <a:moveTo>
                      <a:pt x="22680" y="85488"/>
                    </a:moveTo>
                    <a:cubicBezTo>
                      <a:pt x="15788" y="71069"/>
                      <a:pt x="0" y="36952"/>
                      <a:pt x="0" y="25808"/>
                    </a:cubicBezTo>
                    <a:cubicBezTo>
                      <a:pt x="0" y="11535"/>
                      <a:pt x="11584" y="0"/>
                      <a:pt x="25808" y="0"/>
                    </a:cubicBezTo>
                    <a:cubicBezTo>
                      <a:pt x="40031" y="0"/>
                      <a:pt x="51615" y="11584"/>
                      <a:pt x="51615" y="25808"/>
                    </a:cubicBezTo>
                    <a:cubicBezTo>
                      <a:pt x="51615" y="36903"/>
                      <a:pt x="35974" y="70776"/>
                      <a:pt x="29034" y="85293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1182" name="Gráfico 14">
                <a:extLst>
                  <a:ext uri="{FF2B5EF4-FFF2-40B4-BE49-F238E27FC236}">
                    <a16:creationId xmlns:a16="http://schemas.microsoft.com/office/drawing/2014/main" id="{C03B631C-B3D0-C10E-6550-6DB69BCBBF41}"/>
                  </a:ext>
                </a:extLst>
              </p:cNvPr>
              <p:cNvGrpSpPr/>
              <p:nvPr/>
            </p:nvGrpSpPr>
            <p:grpSpPr>
              <a:xfrm>
                <a:off x="8765744" y="4259923"/>
                <a:ext cx="173855" cy="53966"/>
                <a:chOff x="8765744" y="4259923"/>
                <a:chExt cx="173855" cy="53966"/>
              </a:xfrm>
              <a:noFill/>
            </p:grpSpPr>
            <p:sp>
              <p:nvSpPr>
                <p:cNvPr id="1183" name="Forma livre: Forma 1182">
                  <a:extLst>
                    <a:ext uri="{FF2B5EF4-FFF2-40B4-BE49-F238E27FC236}">
                      <a16:creationId xmlns:a16="http://schemas.microsoft.com/office/drawing/2014/main" id="{FCD87EEA-E5E9-8CD9-4DDC-906F87713485}"/>
                    </a:ext>
                  </a:extLst>
                </p:cNvPr>
                <p:cNvSpPr/>
                <p:nvPr/>
              </p:nvSpPr>
              <p:spPr>
                <a:xfrm>
                  <a:off x="8765744" y="4259923"/>
                  <a:ext cx="85827" cy="53966"/>
                </a:xfrm>
                <a:custGeom>
                  <a:avLst/>
                  <a:gdLst>
                    <a:gd name="connsiteX0" fmla="*/ 36803 w 85827"/>
                    <a:gd name="connsiteY0" fmla="*/ 2401 h 53966"/>
                    <a:gd name="connsiteX1" fmla="*/ 85828 w 85827"/>
                    <a:gd name="connsiteY1" fmla="*/ 53820 h 53966"/>
                    <a:gd name="connsiteX2" fmla="*/ 14905 w 85827"/>
                    <a:gd name="connsiteY2" fmla="*/ 49226 h 53966"/>
                    <a:gd name="connsiteX3" fmla="*/ 2441 w 85827"/>
                    <a:gd name="connsiteY3" fmla="*/ 14913 h 53966"/>
                    <a:gd name="connsiteX4" fmla="*/ 36754 w 85827"/>
                    <a:gd name="connsiteY4" fmla="*/ 2449 h 5396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85827" h="53966">
                      <a:moveTo>
                        <a:pt x="36803" y="2401"/>
                      </a:moveTo>
                      <a:cubicBezTo>
                        <a:pt x="49707" y="8461"/>
                        <a:pt x="85828" y="53820"/>
                        <a:pt x="85828" y="53820"/>
                      </a:cubicBezTo>
                      <a:cubicBezTo>
                        <a:pt x="85828" y="53820"/>
                        <a:pt x="27858" y="55238"/>
                        <a:pt x="14905" y="49226"/>
                      </a:cubicBezTo>
                      <a:cubicBezTo>
                        <a:pt x="2002" y="43214"/>
                        <a:pt x="-3619" y="27817"/>
                        <a:pt x="2441" y="14913"/>
                      </a:cubicBezTo>
                      <a:cubicBezTo>
                        <a:pt x="8502" y="1961"/>
                        <a:pt x="23850" y="-3611"/>
                        <a:pt x="36754" y="2449"/>
                      </a:cubicBezTo>
                      <a:close/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184" name="Forma livre: Forma 1183">
                  <a:extLst>
                    <a:ext uri="{FF2B5EF4-FFF2-40B4-BE49-F238E27FC236}">
                      <a16:creationId xmlns:a16="http://schemas.microsoft.com/office/drawing/2014/main" id="{5B0555BC-5906-6CCD-6F69-C65859E38240}"/>
                    </a:ext>
                  </a:extLst>
                </p:cNvPr>
                <p:cNvSpPr/>
                <p:nvPr/>
              </p:nvSpPr>
              <p:spPr>
                <a:xfrm>
                  <a:off x="8853772" y="4259923"/>
                  <a:ext cx="85827" cy="53966"/>
                </a:xfrm>
                <a:custGeom>
                  <a:avLst/>
                  <a:gdLst>
                    <a:gd name="connsiteX0" fmla="*/ 49025 w 85827"/>
                    <a:gd name="connsiteY0" fmla="*/ 2401 h 53966"/>
                    <a:gd name="connsiteX1" fmla="*/ 0 w 85827"/>
                    <a:gd name="connsiteY1" fmla="*/ 53820 h 53966"/>
                    <a:gd name="connsiteX2" fmla="*/ 70922 w 85827"/>
                    <a:gd name="connsiteY2" fmla="*/ 49226 h 53966"/>
                    <a:gd name="connsiteX3" fmla="*/ 83386 w 85827"/>
                    <a:gd name="connsiteY3" fmla="*/ 14913 h 53966"/>
                    <a:gd name="connsiteX4" fmla="*/ 49074 w 85827"/>
                    <a:gd name="connsiteY4" fmla="*/ 2449 h 5396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85827" h="53966">
                      <a:moveTo>
                        <a:pt x="49025" y="2401"/>
                      </a:moveTo>
                      <a:cubicBezTo>
                        <a:pt x="36072" y="8461"/>
                        <a:pt x="0" y="53820"/>
                        <a:pt x="0" y="53820"/>
                      </a:cubicBezTo>
                      <a:cubicBezTo>
                        <a:pt x="0" y="53820"/>
                        <a:pt x="57970" y="55238"/>
                        <a:pt x="70922" y="49226"/>
                      </a:cubicBezTo>
                      <a:cubicBezTo>
                        <a:pt x="83826" y="43214"/>
                        <a:pt x="89447" y="27817"/>
                        <a:pt x="83386" y="14913"/>
                      </a:cubicBezTo>
                      <a:cubicBezTo>
                        <a:pt x="77325" y="1961"/>
                        <a:pt x="61978" y="-3611"/>
                        <a:pt x="49074" y="2449"/>
                      </a:cubicBezTo>
                      <a:close/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1185" name="Forma livre: Forma 1184">
                <a:extLst>
                  <a:ext uri="{FF2B5EF4-FFF2-40B4-BE49-F238E27FC236}">
                    <a16:creationId xmlns:a16="http://schemas.microsoft.com/office/drawing/2014/main" id="{C9F8A325-D6FF-87D5-C71C-A86EC6FD5CFC}"/>
                  </a:ext>
                </a:extLst>
              </p:cNvPr>
              <p:cNvSpPr/>
              <p:nvPr/>
            </p:nvSpPr>
            <p:spPr>
              <a:xfrm>
                <a:off x="8745848" y="4383102"/>
                <a:ext cx="150936" cy="112126"/>
              </a:xfrm>
              <a:custGeom>
                <a:avLst/>
                <a:gdLst>
                  <a:gd name="connsiteX0" fmla="*/ 0 w 150936"/>
                  <a:gd name="connsiteY0" fmla="*/ 0 h 112126"/>
                  <a:gd name="connsiteX1" fmla="*/ 0 w 150936"/>
                  <a:gd name="connsiteY1" fmla="*/ 112127 h 112126"/>
                  <a:gd name="connsiteX2" fmla="*/ 150936 w 150936"/>
                  <a:gd name="connsiteY2" fmla="*/ 112127 h 1121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50936" h="112126">
                    <a:moveTo>
                      <a:pt x="0" y="0"/>
                    </a:moveTo>
                    <a:lnTo>
                      <a:pt x="0" y="112127"/>
                    </a:lnTo>
                    <a:lnTo>
                      <a:pt x="150936" y="112127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186" name="Forma livre: Forma 1185">
                <a:extLst>
                  <a:ext uri="{FF2B5EF4-FFF2-40B4-BE49-F238E27FC236}">
                    <a16:creationId xmlns:a16="http://schemas.microsoft.com/office/drawing/2014/main" id="{B088FAE3-E06B-D0E3-6E99-0A5C4D183092}"/>
                  </a:ext>
                </a:extLst>
              </p:cNvPr>
              <p:cNvSpPr/>
              <p:nvPr/>
            </p:nvSpPr>
            <p:spPr>
              <a:xfrm>
                <a:off x="8729328" y="4313744"/>
                <a:ext cx="246688" cy="45407"/>
              </a:xfrm>
              <a:custGeom>
                <a:avLst/>
                <a:gdLst>
                  <a:gd name="connsiteX0" fmla="*/ 142285 w 246688"/>
                  <a:gd name="connsiteY0" fmla="*/ 45408 h 45407"/>
                  <a:gd name="connsiteX1" fmla="*/ 246688 w 246688"/>
                  <a:gd name="connsiteY1" fmla="*/ 45408 h 45407"/>
                  <a:gd name="connsiteX2" fmla="*/ 246688 w 246688"/>
                  <a:gd name="connsiteY2" fmla="*/ 0 h 45407"/>
                  <a:gd name="connsiteX3" fmla="*/ 0 w 246688"/>
                  <a:gd name="connsiteY3" fmla="*/ 0 h 45407"/>
                  <a:gd name="connsiteX4" fmla="*/ 0 w 246688"/>
                  <a:gd name="connsiteY4" fmla="*/ 45408 h 45407"/>
                  <a:gd name="connsiteX5" fmla="*/ 104355 w 246688"/>
                  <a:gd name="connsiteY5" fmla="*/ 45408 h 454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46688" h="45407">
                    <a:moveTo>
                      <a:pt x="142285" y="45408"/>
                    </a:moveTo>
                    <a:lnTo>
                      <a:pt x="246688" y="45408"/>
                    </a:lnTo>
                    <a:lnTo>
                      <a:pt x="246688" y="0"/>
                    </a:lnTo>
                    <a:lnTo>
                      <a:pt x="0" y="0"/>
                    </a:lnTo>
                    <a:lnTo>
                      <a:pt x="0" y="45408"/>
                    </a:lnTo>
                    <a:lnTo>
                      <a:pt x="104355" y="45408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1187" name="Gráfico 14">
                <a:extLst>
                  <a:ext uri="{FF2B5EF4-FFF2-40B4-BE49-F238E27FC236}">
                    <a16:creationId xmlns:a16="http://schemas.microsoft.com/office/drawing/2014/main" id="{83D3942B-B0E3-03A8-8AF6-7F4759D340EF}"/>
                  </a:ext>
                </a:extLst>
              </p:cNvPr>
              <p:cNvGrpSpPr/>
              <p:nvPr/>
            </p:nvGrpSpPr>
            <p:grpSpPr>
              <a:xfrm>
                <a:off x="8834465" y="4315064"/>
                <a:ext cx="36414" cy="179432"/>
                <a:chOff x="8834465" y="4315064"/>
                <a:chExt cx="36414" cy="179432"/>
              </a:xfrm>
            </p:grpSpPr>
            <p:sp>
              <p:nvSpPr>
                <p:cNvPr id="1188" name="Forma livre: Forma 1187">
                  <a:extLst>
                    <a:ext uri="{FF2B5EF4-FFF2-40B4-BE49-F238E27FC236}">
                      <a16:creationId xmlns:a16="http://schemas.microsoft.com/office/drawing/2014/main" id="{C6CE276A-C5EA-EF6D-3621-1539D6886308}"/>
                    </a:ext>
                  </a:extLst>
                </p:cNvPr>
                <p:cNvSpPr/>
                <p:nvPr/>
              </p:nvSpPr>
              <p:spPr>
                <a:xfrm>
                  <a:off x="8834465" y="4315064"/>
                  <a:ext cx="4887" cy="179432"/>
                </a:xfrm>
                <a:custGeom>
                  <a:avLst/>
                  <a:gdLst>
                    <a:gd name="connsiteX0" fmla="*/ 0 w 4887"/>
                    <a:gd name="connsiteY0" fmla="*/ 0 h 179432"/>
                    <a:gd name="connsiteX1" fmla="*/ 0 w 4887"/>
                    <a:gd name="connsiteY1" fmla="*/ 179432 h 17943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887" h="179432">
                      <a:moveTo>
                        <a:pt x="0" y="0"/>
                      </a:moveTo>
                      <a:lnTo>
                        <a:pt x="0" y="179432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189" name="Forma livre: Forma 1188">
                  <a:extLst>
                    <a:ext uri="{FF2B5EF4-FFF2-40B4-BE49-F238E27FC236}">
                      <a16:creationId xmlns:a16="http://schemas.microsoft.com/office/drawing/2014/main" id="{B95460DA-3336-6E71-37EE-36E81864005D}"/>
                    </a:ext>
                  </a:extLst>
                </p:cNvPr>
                <p:cNvSpPr/>
                <p:nvPr/>
              </p:nvSpPr>
              <p:spPr>
                <a:xfrm>
                  <a:off x="8870879" y="4315064"/>
                  <a:ext cx="4887" cy="179432"/>
                </a:xfrm>
                <a:custGeom>
                  <a:avLst/>
                  <a:gdLst>
                    <a:gd name="connsiteX0" fmla="*/ 0 w 4887"/>
                    <a:gd name="connsiteY0" fmla="*/ 0 h 179432"/>
                    <a:gd name="connsiteX1" fmla="*/ 0 w 4887"/>
                    <a:gd name="connsiteY1" fmla="*/ 179432 h 17943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887" h="179432">
                      <a:moveTo>
                        <a:pt x="0" y="0"/>
                      </a:moveTo>
                      <a:lnTo>
                        <a:pt x="0" y="179432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grpSp>
          <p:nvGrpSpPr>
            <p:cNvPr id="1190" name="Gráfico 14">
              <a:extLst>
                <a:ext uri="{FF2B5EF4-FFF2-40B4-BE49-F238E27FC236}">
                  <a16:creationId xmlns:a16="http://schemas.microsoft.com/office/drawing/2014/main" id="{70AC627F-F022-B06B-6C8A-D096CBB72C7C}"/>
                </a:ext>
              </a:extLst>
            </p:cNvPr>
            <p:cNvGrpSpPr/>
            <p:nvPr/>
          </p:nvGrpSpPr>
          <p:grpSpPr>
            <a:xfrm>
              <a:off x="8911595" y="4384862"/>
              <a:ext cx="127181" cy="110367"/>
              <a:chOff x="8911595" y="4384862"/>
              <a:chExt cx="127181" cy="110367"/>
            </a:xfrm>
            <a:noFill/>
          </p:grpSpPr>
          <p:sp>
            <p:nvSpPr>
              <p:cNvPr id="1191" name="Forma livre: Forma 1190">
                <a:extLst>
                  <a:ext uri="{FF2B5EF4-FFF2-40B4-BE49-F238E27FC236}">
                    <a16:creationId xmlns:a16="http://schemas.microsoft.com/office/drawing/2014/main" id="{CE590BB4-0ADF-6FBC-3142-18294B0852B2}"/>
                  </a:ext>
                </a:extLst>
              </p:cNvPr>
              <p:cNvSpPr/>
              <p:nvPr/>
            </p:nvSpPr>
            <p:spPr>
              <a:xfrm>
                <a:off x="8919366" y="4457495"/>
                <a:ext cx="111589" cy="37734"/>
              </a:xfrm>
              <a:custGeom>
                <a:avLst/>
                <a:gdLst>
                  <a:gd name="connsiteX0" fmla="*/ 0 w 111589"/>
                  <a:gd name="connsiteY0" fmla="*/ 0 h 37734"/>
                  <a:gd name="connsiteX1" fmla="*/ 0 w 111589"/>
                  <a:gd name="connsiteY1" fmla="*/ 37734 h 37734"/>
                  <a:gd name="connsiteX2" fmla="*/ 111589 w 111589"/>
                  <a:gd name="connsiteY2" fmla="*/ 37734 h 37734"/>
                  <a:gd name="connsiteX3" fmla="*/ 111589 w 111589"/>
                  <a:gd name="connsiteY3" fmla="*/ 0 h 377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1589" h="37734">
                    <a:moveTo>
                      <a:pt x="0" y="0"/>
                    </a:moveTo>
                    <a:lnTo>
                      <a:pt x="0" y="37734"/>
                    </a:lnTo>
                    <a:lnTo>
                      <a:pt x="111589" y="37734"/>
                    </a:lnTo>
                    <a:lnTo>
                      <a:pt x="111589" y="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192" name="Forma livre: Forma 1191">
                <a:extLst>
                  <a:ext uri="{FF2B5EF4-FFF2-40B4-BE49-F238E27FC236}">
                    <a16:creationId xmlns:a16="http://schemas.microsoft.com/office/drawing/2014/main" id="{29D1D03B-64E9-D0E3-B9D7-03EED8BF8AA2}"/>
                  </a:ext>
                </a:extLst>
              </p:cNvPr>
              <p:cNvSpPr/>
              <p:nvPr/>
            </p:nvSpPr>
            <p:spPr>
              <a:xfrm>
                <a:off x="8911595" y="4413113"/>
                <a:ext cx="127181" cy="25709"/>
              </a:xfrm>
              <a:custGeom>
                <a:avLst/>
                <a:gdLst>
                  <a:gd name="connsiteX0" fmla="*/ 0 w 127181"/>
                  <a:gd name="connsiteY0" fmla="*/ 0 h 25709"/>
                  <a:gd name="connsiteX1" fmla="*/ 127181 w 127181"/>
                  <a:gd name="connsiteY1" fmla="*/ 0 h 25709"/>
                  <a:gd name="connsiteX2" fmla="*/ 127181 w 127181"/>
                  <a:gd name="connsiteY2" fmla="*/ 25710 h 25709"/>
                  <a:gd name="connsiteX3" fmla="*/ 0 w 127181"/>
                  <a:gd name="connsiteY3" fmla="*/ 25710 h 257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27181" h="25709">
                    <a:moveTo>
                      <a:pt x="0" y="0"/>
                    </a:moveTo>
                    <a:lnTo>
                      <a:pt x="127181" y="0"/>
                    </a:lnTo>
                    <a:lnTo>
                      <a:pt x="127181" y="25710"/>
                    </a:lnTo>
                    <a:lnTo>
                      <a:pt x="0" y="25710"/>
                    </a:ln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193" name="Forma livre: Forma 1192">
                <a:extLst>
                  <a:ext uri="{FF2B5EF4-FFF2-40B4-BE49-F238E27FC236}">
                    <a16:creationId xmlns:a16="http://schemas.microsoft.com/office/drawing/2014/main" id="{90C1654D-AA4D-03FA-6894-5B1BBC7F9F41}"/>
                  </a:ext>
                </a:extLst>
              </p:cNvPr>
              <p:cNvSpPr/>
              <p:nvPr/>
            </p:nvSpPr>
            <p:spPr>
              <a:xfrm>
                <a:off x="8975136" y="4413749"/>
                <a:ext cx="4887" cy="81137"/>
              </a:xfrm>
              <a:custGeom>
                <a:avLst/>
                <a:gdLst>
                  <a:gd name="connsiteX0" fmla="*/ 0 w 4887"/>
                  <a:gd name="connsiteY0" fmla="*/ 0 h 81137"/>
                  <a:gd name="connsiteX1" fmla="*/ 0 w 4887"/>
                  <a:gd name="connsiteY1" fmla="*/ 81138 h 811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887" h="81137">
                    <a:moveTo>
                      <a:pt x="0" y="0"/>
                    </a:moveTo>
                    <a:lnTo>
                      <a:pt x="0" y="81138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1194" name="Gráfico 14">
                <a:extLst>
                  <a:ext uri="{FF2B5EF4-FFF2-40B4-BE49-F238E27FC236}">
                    <a16:creationId xmlns:a16="http://schemas.microsoft.com/office/drawing/2014/main" id="{400C23FE-1B5A-CC9E-D263-A07E4A3FB4B0}"/>
                  </a:ext>
                </a:extLst>
              </p:cNvPr>
              <p:cNvGrpSpPr/>
              <p:nvPr/>
            </p:nvGrpSpPr>
            <p:grpSpPr>
              <a:xfrm>
                <a:off x="8954901" y="4384862"/>
                <a:ext cx="40520" cy="26100"/>
                <a:chOff x="8954901" y="4384862"/>
                <a:chExt cx="40520" cy="26100"/>
              </a:xfrm>
            </p:grpSpPr>
            <p:sp>
              <p:nvSpPr>
                <p:cNvPr id="1195" name="Forma livre: Forma 1194">
                  <a:extLst>
                    <a:ext uri="{FF2B5EF4-FFF2-40B4-BE49-F238E27FC236}">
                      <a16:creationId xmlns:a16="http://schemas.microsoft.com/office/drawing/2014/main" id="{08A9D0B3-6C37-A54C-9D39-F2C40E30696F}"/>
                    </a:ext>
                  </a:extLst>
                </p:cNvPr>
                <p:cNvSpPr/>
                <p:nvPr/>
              </p:nvSpPr>
              <p:spPr>
                <a:xfrm>
                  <a:off x="8954901" y="4384862"/>
                  <a:ext cx="18818" cy="26100"/>
                </a:xfrm>
                <a:custGeom>
                  <a:avLst/>
                  <a:gdLst>
                    <a:gd name="connsiteX0" fmla="*/ 18818 w 18818"/>
                    <a:gd name="connsiteY0" fmla="*/ 26101 h 26100"/>
                    <a:gd name="connsiteX1" fmla="*/ 0 w 18818"/>
                    <a:gd name="connsiteY1" fmla="*/ 0 h 261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8818" h="26100">
                      <a:moveTo>
                        <a:pt x="18818" y="26101"/>
                      </a:moveTo>
                      <a:lnTo>
                        <a:pt x="0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196" name="Forma livre: Forma 1195">
                  <a:extLst>
                    <a:ext uri="{FF2B5EF4-FFF2-40B4-BE49-F238E27FC236}">
                      <a16:creationId xmlns:a16="http://schemas.microsoft.com/office/drawing/2014/main" id="{9673326D-29E1-9A8F-A31F-ED3BD25B5546}"/>
                    </a:ext>
                  </a:extLst>
                </p:cNvPr>
                <p:cNvSpPr/>
                <p:nvPr/>
              </p:nvSpPr>
              <p:spPr>
                <a:xfrm>
                  <a:off x="8976603" y="4384862"/>
                  <a:ext cx="18818" cy="26100"/>
                </a:xfrm>
                <a:custGeom>
                  <a:avLst/>
                  <a:gdLst>
                    <a:gd name="connsiteX0" fmla="*/ 0 w 18818"/>
                    <a:gd name="connsiteY0" fmla="*/ 26101 h 26100"/>
                    <a:gd name="connsiteX1" fmla="*/ 18818 w 18818"/>
                    <a:gd name="connsiteY1" fmla="*/ 0 h 261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8818" h="26100">
                      <a:moveTo>
                        <a:pt x="0" y="26101"/>
                      </a:moveTo>
                      <a:lnTo>
                        <a:pt x="18818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</p:grpSp>
      <p:grpSp>
        <p:nvGrpSpPr>
          <p:cNvPr id="1197" name="Gráfico 14">
            <a:extLst>
              <a:ext uri="{FF2B5EF4-FFF2-40B4-BE49-F238E27FC236}">
                <a16:creationId xmlns:a16="http://schemas.microsoft.com/office/drawing/2014/main" id="{6B2023B4-5FE4-3F7E-C2AF-4FB205E37069}"/>
              </a:ext>
            </a:extLst>
          </p:cNvPr>
          <p:cNvGrpSpPr/>
          <p:nvPr/>
        </p:nvGrpSpPr>
        <p:grpSpPr>
          <a:xfrm>
            <a:off x="8089895" y="3695813"/>
            <a:ext cx="316738" cy="242741"/>
            <a:chOff x="8089895" y="3695813"/>
            <a:chExt cx="316738" cy="242741"/>
          </a:xfrm>
        </p:grpSpPr>
        <p:grpSp>
          <p:nvGrpSpPr>
            <p:cNvPr id="1198" name="Gráfico 14">
              <a:extLst>
                <a:ext uri="{FF2B5EF4-FFF2-40B4-BE49-F238E27FC236}">
                  <a16:creationId xmlns:a16="http://schemas.microsoft.com/office/drawing/2014/main" id="{98CBBDFF-77C8-9400-E0BB-3E66C6021531}"/>
                </a:ext>
              </a:extLst>
            </p:cNvPr>
            <p:cNvGrpSpPr/>
            <p:nvPr/>
          </p:nvGrpSpPr>
          <p:grpSpPr>
            <a:xfrm>
              <a:off x="8263567" y="3789134"/>
              <a:ext cx="143066" cy="149420"/>
              <a:chOff x="8263567" y="3789134"/>
              <a:chExt cx="143066" cy="149420"/>
            </a:xfrm>
            <a:noFill/>
          </p:grpSpPr>
          <p:sp>
            <p:nvSpPr>
              <p:cNvPr id="1199" name="Forma livre: Forma 1198">
                <a:extLst>
                  <a:ext uri="{FF2B5EF4-FFF2-40B4-BE49-F238E27FC236}">
                    <a16:creationId xmlns:a16="http://schemas.microsoft.com/office/drawing/2014/main" id="{2CC12E72-B511-A031-5F0F-8DB9A5C199D5}"/>
                  </a:ext>
                </a:extLst>
              </p:cNvPr>
              <p:cNvSpPr/>
              <p:nvPr/>
            </p:nvSpPr>
            <p:spPr>
              <a:xfrm>
                <a:off x="8273147" y="3864406"/>
                <a:ext cx="123906" cy="74148"/>
              </a:xfrm>
              <a:custGeom>
                <a:avLst/>
                <a:gdLst>
                  <a:gd name="connsiteX0" fmla="*/ 0 w 123906"/>
                  <a:gd name="connsiteY0" fmla="*/ 391 h 74148"/>
                  <a:gd name="connsiteX1" fmla="*/ 0 w 123906"/>
                  <a:gd name="connsiteY1" fmla="*/ 74148 h 74148"/>
                  <a:gd name="connsiteX2" fmla="*/ 123906 w 123906"/>
                  <a:gd name="connsiteY2" fmla="*/ 74148 h 74148"/>
                  <a:gd name="connsiteX3" fmla="*/ 123906 w 123906"/>
                  <a:gd name="connsiteY3" fmla="*/ 0 h 741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23906" h="74148">
                    <a:moveTo>
                      <a:pt x="0" y="391"/>
                    </a:moveTo>
                    <a:lnTo>
                      <a:pt x="0" y="74148"/>
                    </a:lnTo>
                    <a:lnTo>
                      <a:pt x="123906" y="74148"/>
                    </a:lnTo>
                    <a:lnTo>
                      <a:pt x="123906" y="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00" name="Forma livre: Forma 1199">
                <a:extLst>
                  <a:ext uri="{FF2B5EF4-FFF2-40B4-BE49-F238E27FC236}">
                    <a16:creationId xmlns:a16="http://schemas.microsoft.com/office/drawing/2014/main" id="{A7BAC4B0-8A36-6D95-6E19-86333D5C70A4}"/>
                  </a:ext>
                </a:extLst>
              </p:cNvPr>
              <p:cNvSpPr/>
              <p:nvPr/>
            </p:nvSpPr>
            <p:spPr>
              <a:xfrm>
                <a:off x="8263567" y="3832391"/>
                <a:ext cx="143066" cy="30451"/>
              </a:xfrm>
              <a:custGeom>
                <a:avLst/>
                <a:gdLst>
                  <a:gd name="connsiteX0" fmla="*/ 85928 w 143066"/>
                  <a:gd name="connsiteY0" fmla="*/ 30451 h 30451"/>
                  <a:gd name="connsiteX1" fmla="*/ 143067 w 143066"/>
                  <a:gd name="connsiteY1" fmla="*/ 30451 h 30451"/>
                  <a:gd name="connsiteX2" fmla="*/ 143067 w 143066"/>
                  <a:gd name="connsiteY2" fmla="*/ 0 h 30451"/>
                  <a:gd name="connsiteX3" fmla="*/ 0 w 143066"/>
                  <a:gd name="connsiteY3" fmla="*/ 0 h 30451"/>
                  <a:gd name="connsiteX4" fmla="*/ 0 w 143066"/>
                  <a:gd name="connsiteY4" fmla="*/ 30451 h 30451"/>
                  <a:gd name="connsiteX5" fmla="*/ 57139 w 143066"/>
                  <a:gd name="connsiteY5" fmla="*/ 30451 h 304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43066" h="30451">
                    <a:moveTo>
                      <a:pt x="85928" y="30451"/>
                    </a:moveTo>
                    <a:lnTo>
                      <a:pt x="143067" y="30451"/>
                    </a:lnTo>
                    <a:lnTo>
                      <a:pt x="143067" y="0"/>
                    </a:lnTo>
                    <a:lnTo>
                      <a:pt x="0" y="0"/>
                    </a:lnTo>
                    <a:lnTo>
                      <a:pt x="0" y="30451"/>
                    </a:lnTo>
                    <a:lnTo>
                      <a:pt x="57139" y="30451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1201" name="Gráfico 14">
                <a:extLst>
                  <a:ext uri="{FF2B5EF4-FFF2-40B4-BE49-F238E27FC236}">
                    <a16:creationId xmlns:a16="http://schemas.microsoft.com/office/drawing/2014/main" id="{0E0798B4-B4BA-9FCA-3EAC-9974420A8431}"/>
                  </a:ext>
                </a:extLst>
              </p:cNvPr>
              <p:cNvGrpSpPr/>
              <p:nvPr/>
            </p:nvGrpSpPr>
            <p:grpSpPr>
              <a:xfrm>
                <a:off x="8320705" y="3833173"/>
                <a:ext cx="28789" cy="104941"/>
                <a:chOff x="8320705" y="3833173"/>
                <a:chExt cx="28789" cy="104941"/>
              </a:xfrm>
            </p:grpSpPr>
            <p:sp>
              <p:nvSpPr>
                <p:cNvPr id="1202" name="Forma livre: Forma 1201">
                  <a:extLst>
                    <a:ext uri="{FF2B5EF4-FFF2-40B4-BE49-F238E27FC236}">
                      <a16:creationId xmlns:a16="http://schemas.microsoft.com/office/drawing/2014/main" id="{AAEF0EB6-36C2-1720-501D-88AC8BDC2CCE}"/>
                    </a:ext>
                  </a:extLst>
                </p:cNvPr>
                <p:cNvSpPr/>
                <p:nvPr/>
              </p:nvSpPr>
              <p:spPr>
                <a:xfrm>
                  <a:off x="8320705" y="3833173"/>
                  <a:ext cx="4887" cy="104941"/>
                </a:xfrm>
                <a:custGeom>
                  <a:avLst/>
                  <a:gdLst>
                    <a:gd name="connsiteX0" fmla="*/ 0 w 4887"/>
                    <a:gd name="connsiteY0" fmla="*/ 0 h 104941"/>
                    <a:gd name="connsiteX1" fmla="*/ 0 w 4887"/>
                    <a:gd name="connsiteY1" fmla="*/ 104942 h 10494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887" h="104941">
                      <a:moveTo>
                        <a:pt x="0" y="0"/>
                      </a:moveTo>
                      <a:lnTo>
                        <a:pt x="0" y="104942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203" name="Forma livre: Forma 1202">
                  <a:extLst>
                    <a:ext uri="{FF2B5EF4-FFF2-40B4-BE49-F238E27FC236}">
                      <a16:creationId xmlns:a16="http://schemas.microsoft.com/office/drawing/2014/main" id="{F8400274-A858-77D7-865F-09A7E48A94ED}"/>
                    </a:ext>
                  </a:extLst>
                </p:cNvPr>
                <p:cNvSpPr/>
                <p:nvPr/>
              </p:nvSpPr>
              <p:spPr>
                <a:xfrm>
                  <a:off x="8349495" y="3833173"/>
                  <a:ext cx="4887" cy="104941"/>
                </a:xfrm>
                <a:custGeom>
                  <a:avLst/>
                  <a:gdLst>
                    <a:gd name="connsiteX0" fmla="*/ 0 w 4887"/>
                    <a:gd name="connsiteY0" fmla="*/ 0 h 104941"/>
                    <a:gd name="connsiteX1" fmla="*/ 0 w 4887"/>
                    <a:gd name="connsiteY1" fmla="*/ 104942 h 10494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887" h="104941">
                      <a:moveTo>
                        <a:pt x="0" y="0"/>
                      </a:moveTo>
                      <a:lnTo>
                        <a:pt x="0" y="104942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1204" name="Gráfico 14">
                <a:extLst>
                  <a:ext uri="{FF2B5EF4-FFF2-40B4-BE49-F238E27FC236}">
                    <a16:creationId xmlns:a16="http://schemas.microsoft.com/office/drawing/2014/main" id="{EC20829C-3077-1F22-CBDF-5F0A933F71FA}"/>
                  </a:ext>
                </a:extLst>
              </p:cNvPr>
              <p:cNvGrpSpPr/>
              <p:nvPr/>
            </p:nvGrpSpPr>
            <p:grpSpPr>
              <a:xfrm>
                <a:off x="8283020" y="3789134"/>
                <a:ext cx="104159" cy="43306"/>
                <a:chOff x="8283020" y="3789134"/>
                <a:chExt cx="104159" cy="43306"/>
              </a:xfrm>
              <a:noFill/>
            </p:grpSpPr>
            <p:sp>
              <p:nvSpPr>
                <p:cNvPr id="1205" name="Forma livre: Forma 1204">
                  <a:extLst>
                    <a:ext uri="{FF2B5EF4-FFF2-40B4-BE49-F238E27FC236}">
                      <a16:creationId xmlns:a16="http://schemas.microsoft.com/office/drawing/2014/main" id="{06C7F64F-BDFB-6ACA-30B1-6A191205151E}"/>
                    </a:ext>
                  </a:extLst>
                </p:cNvPr>
                <p:cNvSpPr/>
                <p:nvPr/>
              </p:nvSpPr>
              <p:spPr>
                <a:xfrm>
                  <a:off x="8335173" y="3789134"/>
                  <a:ext cx="52006" cy="43306"/>
                </a:xfrm>
                <a:custGeom>
                  <a:avLst/>
                  <a:gdLst>
                    <a:gd name="connsiteX0" fmla="*/ 0 w 52006"/>
                    <a:gd name="connsiteY0" fmla="*/ 42768 h 43306"/>
                    <a:gd name="connsiteX1" fmla="*/ 30353 w 52006"/>
                    <a:gd name="connsiteY1" fmla="*/ 0 h 43306"/>
                    <a:gd name="connsiteX2" fmla="*/ 52006 w 52006"/>
                    <a:gd name="connsiteY2" fmla="*/ 21653 h 43306"/>
                    <a:gd name="connsiteX3" fmla="*/ 30353 w 52006"/>
                    <a:gd name="connsiteY3" fmla="*/ 43306 h 4330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52006" h="43306">
                      <a:moveTo>
                        <a:pt x="0" y="42768"/>
                      </a:moveTo>
                      <a:cubicBezTo>
                        <a:pt x="3959" y="16130"/>
                        <a:pt x="15299" y="0"/>
                        <a:pt x="30353" y="0"/>
                      </a:cubicBezTo>
                      <a:cubicBezTo>
                        <a:pt x="42280" y="0"/>
                        <a:pt x="52006" y="9678"/>
                        <a:pt x="52006" y="21653"/>
                      </a:cubicBezTo>
                      <a:cubicBezTo>
                        <a:pt x="52006" y="33628"/>
                        <a:pt x="42329" y="43306"/>
                        <a:pt x="30353" y="43306"/>
                      </a:cubicBez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206" name="Forma livre: Forma 1205">
                  <a:extLst>
                    <a:ext uri="{FF2B5EF4-FFF2-40B4-BE49-F238E27FC236}">
                      <a16:creationId xmlns:a16="http://schemas.microsoft.com/office/drawing/2014/main" id="{B3301A66-53D3-5447-B813-5DB1CB8BD1C7}"/>
                    </a:ext>
                  </a:extLst>
                </p:cNvPr>
                <p:cNvSpPr/>
                <p:nvPr/>
              </p:nvSpPr>
              <p:spPr>
                <a:xfrm>
                  <a:off x="8283020" y="3789134"/>
                  <a:ext cx="52006" cy="43306"/>
                </a:xfrm>
                <a:custGeom>
                  <a:avLst/>
                  <a:gdLst>
                    <a:gd name="connsiteX0" fmla="*/ 52006 w 52006"/>
                    <a:gd name="connsiteY0" fmla="*/ 42768 h 43306"/>
                    <a:gd name="connsiteX1" fmla="*/ 21653 w 52006"/>
                    <a:gd name="connsiteY1" fmla="*/ 0 h 43306"/>
                    <a:gd name="connsiteX2" fmla="*/ 0 w 52006"/>
                    <a:gd name="connsiteY2" fmla="*/ 21653 h 43306"/>
                    <a:gd name="connsiteX3" fmla="*/ 21653 w 52006"/>
                    <a:gd name="connsiteY3" fmla="*/ 43306 h 4330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52006" h="43306">
                      <a:moveTo>
                        <a:pt x="52006" y="42768"/>
                      </a:moveTo>
                      <a:cubicBezTo>
                        <a:pt x="48047" y="16130"/>
                        <a:pt x="36708" y="0"/>
                        <a:pt x="21653" y="0"/>
                      </a:cubicBezTo>
                      <a:cubicBezTo>
                        <a:pt x="9727" y="0"/>
                        <a:pt x="0" y="9678"/>
                        <a:pt x="0" y="21653"/>
                      </a:cubicBezTo>
                      <a:cubicBezTo>
                        <a:pt x="0" y="33628"/>
                        <a:pt x="9678" y="43306"/>
                        <a:pt x="21653" y="43306"/>
                      </a:cubicBez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sp>
          <p:nvSpPr>
            <p:cNvPr id="1207" name="Forma livre: Forma 1206">
              <a:extLst>
                <a:ext uri="{FF2B5EF4-FFF2-40B4-BE49-F238E27FC236}">
                  <a16:creationId xmlns:a16="http://schemas.microsoft.com/office/drawing/2014/main" id="{C65564B1-086F-F82D-DB0C-6C77FBFD6BBF}"/>
                </a:ext>
              </a:extLst>
            </p:cNvPr>
            <p:cNvSpPr/>
            <p:nvPr/>
          </p:nvSpPr>
          <p:spPr>
            <a:xfrm>
              <a:off x="8176026" y="3938554"/>
              <a:ext cx="76641" cy="4887"/>
            </a:xfrm>
            <a:custGeom>
              <a:avLst/>
              <a:gdLst>
                <a:gd name="connsiteX0" fmla="*/ 76641 w 76641"/>
                <a:gd name="connsiteY0" fmla="*/ 0 h 4887"/>
                <a:gd name="connsiteX1" fmla="*/ 0 w 76641"/>
                <a:gd name="connsiteY1" fmla="*/ 0 h 48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6641" h="4887">
                  <a:moveTo>
                    <a:pt x="76641" y="0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08" name="Forma livre: Forma 1207">
              <a:extLst>
                <a:ext uri="{FF2B5EF4-FFF2-40B4-BE49-F238E27FC236}">
                  <a16:creationId xmlns:a16="http://schemas.microsoft.com/office/drawing/2014/main" id="{9FC66165-5CF7-7A0A-8C1D-BBBF15FB3D27}"/>
                </a:ext>
              </a:extLst>
            </p:cNvPr>
            <p:cNvSpPr/>
            <p:nvPr/>
          </p:nvSpPr>
          <p:spPr>
            <a:xfrm>
              <a:off x="8089895" y="3695813"/>
              <a:ext cx="162723" cy="242741"/>
            </a:xfrm>
            <a:custGeom>
              <a:avLst/>
              <a:gdLst>
                <a:gd name="connsiteX0" fmla="*/ 55338 w 162723"/>
                <a:gd name="connsiteY0" fmla="*/ 42781 h 242741"/>
                <a:gd name="connsiteX1" fmla="*/ 3869 w 162723"/>
                <a:gd name="connsiteY1" fmla="*/ 42781 h 242741"/>
                <a:gd name="connsiteX2" fmla="*/ 8317 w 162723"/>
                <a:gd name="connsiteY2" fmla="*/ 8322 h 242741"/>
                <a:gd name="connsiteX3" fmla="*/ 48495 w 162723"/>
                <a:gd name="connsiteY3" fmla="*/ 8322 h 242741"/>
                <a:gd name="connsiteX4" fmla="*/ 56853 w 162723"/>
                <a:gd name="connsiteY4" fmla="*/ 26651 h 242741"/>
                <a:gd name="connsiteX5" fmla="*/ 56853 w 162723"/>
                <a:gd name="connsiteY5" fmla="*/ 214294 h 242741"/>
                <a:gd name="connsiteX6" fmla="*/ 85300 w 162723"/>
                <a:gd name="connsiteY6" fmla="*/ 242742 h 242741"/>
                <a:gd name="connsiteX7" fmla="*/ 113698 w 162723"/>
                <a:gd name="connsiteY7" fmla="*/ 214294 h 242741"/>
                <a:gd name="connsiteX8" fmla="*/ 102456 w 162723"/>
                <a:gd name="connsiteY8" fmla="*/ 191664 h 242741"/>
                <a:gd name="connsiteX9" fmla="*/ 162723 w 162723"/>
                <a:gd name="connsiteY9" fmla="*/ 191664 h 2427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62723" h="242741">
                  <a:moveTo>
                    <a:pt x="55338" y="42781"/>
                  </a:moveTo>
                  <a:lnTo>
                    <a:pt x="3869" y="42781"/>
                  </a:lnTo>
                  <a:cubicBezTo>
                    <a:pt x="-2485" y="31881"/>
                    <a:pt x="-1019" y="17657"/>
                    <a:pt x="8317" y="8322"/>
                  </a:cubicBezTo>
                  <a:cubicBezTo>
                    <a:pt x="19412" y="-2774"/>
                    <a:pt x="37399" y="-2774"/>
                    <a:pt x="48495" y="8322"/>
                  </a:cubicBezTo>
                  <a:cubicBezTo>
                    <a:pt x="53578" y="13405"/>
                    <a:pt x="56413" y="19955"/>
                    <a:pt x="56853" y="26651"/>
                  </a:cubicBezTo>
                  <a:lnTo>
                    <a:pt x="56853" y="214294"/>
                  </a:lnTo>
                  <a:cubicBezTo>
                    <a:pt x="56853" y="229984"/>
                    <a:pt x="69561" y="242742"/>
                    <a:pt x="85300" y="242742"/>
                  </a:cubicBezTo>
                  <a:cubicBezTo>
                    <a:pt x="101039" y="242742"/>
                    <a:pt x="113698" y="229984"/>
                    <a:pt x="113698" y="214294"/>
                  </a:cubicBezTo>
                  <a:cubicBezTo>
                    <a:pt x="113698" y="205056"/>
                    <a:pt x="109299" y="196845"/>
                    <a:pt x="102456" y="191664"/>
                  </a:cubicBezTo>
                  <a:lnTo>
                    <a:pt x="162723" y="191664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09" name="Forma livre: Forma 1208">
              <a:extLst>
                <a:ext uri="{FF2B5EF4-FFF2-40B4-BE49-F238E27FC236}">
                  <a16:creationId xmlns:a16="http://schemas.microsoft.com/office/drawing/2014/main" id="{189CEE29-7FB0-21D2-B284-87C70D4E1AAD}"/>
                </a:ext>
              </a:extLst>
            </p:cNvPr>
            <p:cNvSpPr/>
            <p:nvPr/>
          </p:nvSpPr>
          <p:spPr>
            <a:xfrm>
              <a:off x="8117861" y="3695874"/>
              <a:ext cx="199960" cy="74637"/>
            </a:xfrm>
            <a:custGeom>
              <a:avLst/>
              <a:gdLst>
                <a:gd name="connsiteX0" fmla="*/ 199961 w 199960"/>
                <a:gd name="connsiteY0" fmla="*/ 74637 h 74637"/>
                <a:gd name="connsiteX1" fmla="*/ 199961 w 199960"/>
                <a:gd name="connsiteY1" fmla="*/ 26590 h 74637"/>
                <a:gd name="connsiteX2" fmla="*/ 191603 w 199960"/>
                <a:gd name="connsiteY2" fmla="*/ 8260 h 74637"/>
                <a:gd name="connsiteX3" fmla="*/ 170976 w 199960"/>
                <a:gd name="connsiteY3" fmla="*/ 0 h 74637"/>
                <a:gd name="connsiteX4" fmla="*/ 0 w 199960"/>
                <a:gd name="connsiteY4" fmla="*/ 0 h 746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9960" h="74637">
                  <a:moveTo>
                    <a:pt x="199961" y="74637"/>
                  </a:moveTo>
                  <a:lnTo>
                    <a:pt x="199961" y="26590"/>
                  </a:lnTo>
                  <a:cubicBezTo>
                    <a:pt x="199521" y="19942"/>
                    <a:pt x="196735" y="13344"/>
                    <a:pt x="191603" y="8260"/>
                  </a:cubicBezTo>
                  <a:cubicBezTo>
                    <a:pt x="185933" y="2591"/>
                    <a:pt x="179139" y="0"/>
                    <a:pt x="170976" y="0"/>
                  </a:cubicBezTo>
                  <a:lnTo>
                    <a:pt x="0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210" name="Gráfico 14">
              <a:extLst>
                <a:ext uri="{FF2B5EF4-FFF2-40B4-BE49-F238E27FC236}">
                  <a16:creationId xmlns:a16="http://schemas.microsoft.com/office/drawing/2014/main" id="{050DA7E9-6C21-C615-42E5-BE1978FA50B4}"/>
                </a:ext>
              </a:extLst>
            </p:cNvPr>
            <p:cNvGrpSpPr/>
            <p:nvPr/>
          </p:nvGrpSpPr>
          <p:grpSpPr>
            <a:xfrm>
              <a:off x="8182771" y="3748760"/>
              <a:ext cx="105088" cy="4203"/>
              <a:chOff x="8182771" y="3748760"/>
              <a:chExt cx="105088" cy="4203"/>
            </a:xfrm>
            <a:solidFill>
              <a:srgbClr val="394553"/>
            </a:solidFill>
          </p:grpSpPr>
          <p:sp>
            <p:nvSpPr>
              <p:cNvPr id="1211" name="Forma livre: Forma 1210">
                <a:extLst>
                  <a:ext uri="{FF2B5EF4-FFF2-40B4-BE49-F238E27FC236}">
                    <a16:creationId xmlns:a16="http://schemas.microsoft.com/office/drawing/2014/main" id="{1DEA478E-25C4-3CE1-EFC1-63B2FAC7B7B6}"/>
                  </a:ext>
                </a:extLst>
              </p:cNvPr>
              <p:cNvSpPr/>
              <p:nvPr/>
            </p:nvSpPr>
            <p:spPr>
              <a:xfrm>
                <a:off x="8182771" y="3748760"/>
                <a:ext cx="4203" cy="4203"/>
              </a:xfrm>
              <a:custGeom>
                <a:avLst/>
                <a:gdLst>
                  <a:gd name="connsiteX0" fmla="*/ 0 w 4203"/>
                  <a:gd name="connsiteY0" fmla="*/ 0 h 4203"/>
                  <a:gd name="connsiteX1" fmla="*/ 4204 w 4203"/>
                  <a:gd name="connsiteY1" fmla="*/ 0 h 4203"/>
                  <a:gd name="connsiteX2" fmla="*/ 4204 w 4203"/>
                  <a:gd name="connsiteY2" fmla="*/ 4204 h 4203"/>
                  <a:gd name="connsiteX3" fmla="*/ 0 w 4203"/>
                  <a:gd name="connsiteY3" fmla="*/ 4204 h 42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203" h="4203">
                    <a:moveTo>
                      <a:pt x="0" y="0"/>
                    </a:moveTo>
                    <a:lnTo>
                      <a:pt x="4204" y="0"/>
                    </a:lnTo>
                    <a:lnTo>
                      <a:pt x="4204" y="4204"/>
                    </a:lnTo>
                    <a:lnTo>
                      <a:pt x="0" y="4204"/>
                    </a:ln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12" name="Forma livre: Forma 1211">
                <a:extLst>
                  <a:ext uri="{FF2B5EF4-FFF2-40B4-BE49-F238E27FC236}">
                    <a16:creationId xmlns:a16="http://schemas.microsoft.com/office/drawing/2014/main" id="{C2B7590B-C4EB-44A6-5156-3196E91E1825}"/>
                  </a:ext>
                </a:extLst>
              </p:cNvPr>
              <p:cNvSpPr/>
              <p:nvPr/>
            </p:nvSpPr>
            <p:spPr>
              <a:xfrm>
                <a:off x="8211365" y="3750862"/>
                <a:ext cx="76494" cy="4887"/>
              </a:xfrm>
              <a:custGeom>
                <a:avLst/>
                <a:gdLst>
                  <a:gd name="connsiteX0" fmla="*/ 0 w 76494"/>
                  <a:gd name="connsiteY0" fmla="*/ 0 h 4887"/>
                  <a:gd name="connsiteX1" fmla="*/ 76494 w 76494"/>
                  <a:gd name="connsiteY1" fmla="*/ 0 h 48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76494" h="4887">
                    <a:moveTo>
                      <a:pt x="0" y="0"/>
                    </a:moveTo>
                    <a:lnTo>
                      <a:pt x="76494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213" name="Gráfico 14">
              <a:extLst>
                <a:ext uri="{FF2B5EF4-FFF2-40B4-BE49-F238E27FC236}">
                  <a16:creationId xmlns:a16="http://schemas.microsoft.com/office/drawing/2014/main" id="{D06134A6-0B40-602F-DE8B-C2E59EF63916}"/>
                </a:ext>
              </a:extLst>
            </p:cNvPr>
            <p:cNvGrpSpPr/>
            <p:nvPr/>
          </p:nvGrpSpPr>
          <p:grpSpPr>
            <a:xfrm>
              <a:off x="8182771" y="3792115"/>
              <a:ext cx="80404" cy="4203"/>
              <a:chOff x="8182771" y="3792115"/>
              <a:chExt cx="80404" cy="4203"/>
            </a:xfrm>
            <a:solidFill>
              <a:srgbClr val="394553"/>
            </a:solidFill>
          </p:grpSpPr>
          <p:sp>
            <p:nvSpPr>
              <p:cNvPr id="1214" name="Forma livre: Forma 1213">
                <a:extLst>
                  <a:ext uri="{FF2B5EF4-FFF2-40B4-BE49-F238E27FC236}">
                    <a16:creationId xmlns:a16="http://schemas.microsoft.com/office/drawing/2014/main" id="{FE20511B-53FF-65D6-188B-A3C89E49C46C}"/>
                  </a:ext>
                </a:extLst>
              </p:cNvPr>
              <p:cNvSpPr/>
              <p:nvPr/>
            </p:nvSpPr>
            <p:spPr>
              <a:xfrm>
                <a:off x="8182771" y="3792115"/>
                <a:ext cx="4203" cy="4203"/>
              </a:xfrm>
              <a:custGeom>
                <a:avLst/>
                <a:gdLst>
                  <a:gd name="connsiteX0" fmla="*/ 0 w 4203"/>
                  <a:gd name="connsiteY0" fmla="*/ 0 h 4203"/>
                  <a:gd name="connsiteX1" fmla="*/ 4204 w 4203"/>
                  <a:gd name="connsiteY1" fmla="*/ 0 h 4203"/>
                  <a:gd name="connsiteX2" fmla="*/ 4204 w 4203"/>
                  <a:gd name="connsiteY2" fmla="*/ 4204 h 4203"/>
                  <a:gd name="connsiteX3" fmla="*/ 0 w 4203"/>
                  <a:gd name="connsiteY3" fmla="*/ 4204 h 42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203" h="4203">
                    <a:moveTo>
                      <a:pt x="0" y="0"/>
                    </a:moveTo>
                    <a:lnTo>
                      <a:pt x="4204" y="0"/>
                    </a:lnTo>
                    <a:lnTo>
                      <a:pt x="4204" y="4204"/>
                    </a:lnTo>
                    <a:lnTo>
                      <a:pt x="0" y="4204"/>
                    </a:ln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15" name="Forma livre: Forma 1214">
                <a:extLst>
                  <a:ext uri="{FF2B5EF4-FFF2-40B4-BE49-F238E27FC236}">
                    <a16:creationId xmlns:a16="http://schemas.microsoft.com/office/drawing/2014/main" id="{D2E637AE-8F4E-CAFA-74B7-741DE3167597}"/>
                  </a:ext>
                </a:extLst>
              </p:cNvPr>
              <p:cNvSpPr/>
              <p:nvPr/>
            </p:nvSpPr>
            <p:spPr>
              <a:xfrm>
                <a:off x="8211365" y="3794217"/>
                <a:ext cx="51810" cy="4887"/>
              </a:xfrm>
              <a:custGeom>
                <a:avLst/>
                <a:gdLst>
                  <a:gd name="connsiteX0" fmla="*/ 0 w 51810"/>
                  <a:gd name="connsiteY0" fmla="*/ 0 h 4887"/>
                  <a:gd name="connsiteX1" fmla="*/ 51811 w 51810"/>
                  <a:gd name="connsiteY1" fmla="*/ 0 h 48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1810" h="4887">
                    <a:moveTo>
                      <a:pt x="0" y="0"/>
                    </a:moveTo>
                    <a:lnTo>
                      <a:pt x="51811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216" name="Gráfico 14">
              <a:extLst>
                <a:ext uri="{FF2B5EF4-FFF2-40B4-BE49-F238E27FC236}">
                  <a16:creationId xmlns:a16="http://schemas.microsoft.com/office/drawing/2014/main" id="{731ECF73-7BE4-4283-4961-D33762D1EF40}"/>
                </a:ext>
              </a:extLst>
            </p:cNvPr>
            <p:cNvGrpSpPr/>
            <p:nvPr/>
          </p:nvGrpSpPr>
          <p:grpSpPr>
            <a:xfrm>
              <a:off x="8182771" y="3835421"/>
              <a:ext cx="59582" cy="4203"/>
              <a:chOff x="8182771" y="3835421"/>
              <a:chExt cx="59582" cy="4203"/>
            </a:xfrm>
            <a:solidFill>
              <a:srgbClr val="394553"/>
            </a:solidFill>
          </p:grpSpPr>
          <p:sp>
            <p:nvSpPr>
              <p:cNvPr id="1217" name="Forma livre: Forma 1216">
                <a:extLst>
                  <a:ext uri="{FF2B5EF4-FFF2-40B4-BE49-F238E27FC236}">
                    <a16:creationId xmlns:a16="http://schemas.microsoft.com/office/drawing/2014/main" id="{3C0EA87E-9F78-4DDB-28A7-773AFDC0DCCC}"/>
                  </a:ext>
                </a:extLst>
              </p:cNvPr>
              <p:cNvSpPr/>
              <p:nvPr/>
            </p:nvSpPr>
            <p:spPr>
              <a:xfrm>
                <a:off x="8182771" y="3835421"/>
                <a:ext cx="4203" cy="4203"/>
              </a:xfrm>
              <a:custGeom>
                <a:avLst/>
                <a:gdLst>
                  <a:gd name="connsiteX0" fmla="*/ 0 w 4203"/>
                  <a:gd name="connsiteY0" fmla="*/ 0 h 4203"/>
                  <a:gd name="connsiteX1" fmla="*/ 4204 w 4203"/>
                  <a:gd name="connsiteY1" fmla="*/ 0 h 4203"/>
                  <a:gd name="connsiteX2" fmla="*/ 4204 w 4203"/>
                  <a:gd name="connsiteY2" fmla="*/ 4204 h 4203"/>
                  <a:gd name="connsiteX3" fmla="*/ 0 w 4203"/>
                  <a:gd name="connsiteY3" fmla="*/ 4204 h 42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203" h="4203">
                    <a:moveTo>
                      <a:pt x="0" y="0"/>
                    </a:moveTo>
                    <a:lnTo>
                      <a:pt x="4204" y="0"/>
                    </a:lnTo>
                    <a:lnTo>
                      <a:pt x="4204" y="4204"/>
                    </a:lnTo>
                    <a:lnTo>
                      <a:pt x="0" y="4204"/>
                    </a:ln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18" name="Forma livre: Forma 1217">
                <a:extLst>
                  <a:ext uri="{FF2B5EF4-FFF2-40B4-BE49-F238E27FC236}">
                    <a16:creationId xmlns:a16="http://schemas.microsoft.com/office/drawing/2014/main" id="{DE253E32-AADD-7926-9ED0-9221F475A11A}"/>
                  </a:ext>
                </a:extLst>
              </p:cNvPr>
              <p:cNvSpPr/>
              <p:nvPr/>
            </p:nvSpPr>
            <p:spPr>
              <a:xfrm>
                <a:off x="8211365" y="3837572"/>
                <a:ext cx="30988" cy="4887"/>
              </a:xfrm>
              <a:custGeom>
                <a:avLst/>
                <a:gdLst>
                  <a:gd name="connsiteX0" fmla="*/ 0 w 30988"/>
                  <a:gd name="connsiteY0" fmla="*/ 0 h 4887"/>
                  <a:gd name="connsiteX1" fmla="*/ 30989 w 30988"/>
                  <a:gd name="connsiteY1" fmla="*/ 0 h 48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0988" h="4887">
                    <a:moveTo>
                      <a:pt x="0" y="0"/>
                    </a:moveTo>
                    <a:lnTo>
                      <a:pt x="30989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219" name="Gráfico 14">
            <a:extLst>
              <a:ext uri="{FF2B5EF4-FFF2-40B4-BE49-F238E27FC236}">
                <a16:creationId xmlns:a16="http://schemas.microsoft.com/office/drawing/2014/main" id="{02787534-3298-90E7-8E2B-CBBF7A81AD06}"/>
              </a:ext>
            </a:extLst>
          </p:cNvPr>
          <p:cNvGrpSpPr/>
          <p:nvPr/>
        </p:nvGrpSpPr>
        <p:grpSpPr>
          <a:xfrm>
            <a:off x="9342310" y="3667280"/>
            <a:ext cx="355002" cy="294784"/>
            <a:chOff x="9342310" y="3667280"/>
            <a:chExt cx="355002" cy="294784"/>
          </a:xfrm>
        </p:grpSpPr>
        <p:sp>
          <p:nvSpPr>
            <p:cNvPr id="1220" name="Forma livre: Forma 1219">
              <a:extLst>
                <a:ext uri="{FF2B5EF4-FFF2-40B4-BE49-F238E27FC236}">
                  <a16:creationId xmlns:a16="http://schemas.microsoft.com/office/drawing/2014/main" id="{049A6152-65C9-CB82-DF81-30404D58CA1C}"/>
                </a:ext>
              </a:extLst>
            </p:cNvPr>
            <p:cNvSpPr/>
            <p:nvPr/>
          </p:nvSpPr>
          <p:spPr>
            <a:xfrm>
              <a:off x="9472081" y="3667280"/>
              <a:ext cx="37538" cy="65399"/>
            </a:xfrm>
            <a:custGeom>
              <a:avLst/>
              <a:gdLst>
                <a:gd name="connsiteX0" fmla="*/ 16472 w 37538"/>
                <a:gd name="connsiteY0" fmla="*/ 65399 h 65399"/>
                <a:gd name="connsiteX1" fmla="*/ 0 w 37538"/>
                <a:gd name="connsiteY1" fmla="*/ 19747 h 65399"/>
                <a:gd name="connsiteX2" fmla="*/ 18769 w 37538"/>
                <a:gd name="connsiteY2" fmla="*/ 0 h 65399"/>
                <a:gd name="connsiteX3" fmla="*/ 37538 w 37538"/>
                <a:gd name="connsiteY3" fmla="*/ 19747 h 65399"/>
                <a:gd name="connsiteX4" fmla="*/ 21164 w 37538"/>
                <a:gd name="connsiteY4" fmla="*/ 65252 h 653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7538" h="65399">
                  <a:moveTo>
                    <a:pt x="16472" y="65399"/>
                  </a:moveTo>
                  <a:cubicBezTo>
                    <a:pt x="11437" y="54401"/>
                    <a:pt x="0" y="28301"/>
                    <a:pt x="0" y="19747"/>
                  </a:cubicBezTo>
                  <a:cubicBezTo>
                    <a:pt x="0" y="8847"/>
                    <a:pt x="8407" y="0"/>
                    <a:pt x="18769" y="0"/>
                  </a:cubicBezTo>
                  <a:cubicBezTo>
                    <a:pt x="29131" y="0"/>
                    <a:pt x="37538" y="8847"/>
                    <a:pt x="37538" y="19747"/>
                  </a:cubicBezTo>
                  <a:cubicBezTo>
                    <a:pt x="37538" y="28252"/>
                    <a:pt x="26199" y="54157"/>
                    <a:pt x="21164" y="65252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221" name="Gráfico 14">
              <a:extLst>
                <a:ext uri="{FF2B5EF4-FFF2-40B4-BE49-F238E27FC236}">
                  <a16:creationId xmlns:a16="http://schemas.microsoft.com/office/drawing/2014/main" id="{08F49C87-CA1E-96D0-4C4F-4E0140D2E78B}"/>
                </a:ext>
              </a:extLst>
            </p:cNvPr>
            <p:cNvGrpSpPr/>
            <p:nvPr/>
          </p:nvGrpSpPr>
          <p:grpSpPr>
            <a:xfrm>
              <a:off x="9427714" y="3692704"/>
              <a:ext cx="126303" cy="41257"/>
              <a:chOff x="9427714" y="3692704"/>
              <a:chExt cx="126303" cy="41257"/>
            </a:xfrm>
            <a:noFill/>
          </p:grpSpPr>
          <p:sp>
            <p:nvSpPr>
              <p:cNvPr id="1222" name="Forma livre: Forma 1221">
                <a:extLst>
                  <a:ext uri="{FF2B5EF4-FFF2-40B4-BE49-F238E27FC236}">
                    <a16:creationId xmlns:a16="http://schemas.microsoft.com/office/drawing/2014/main" id="{2B3A9B8E-50FF-DEFB-026E-23EB775F0A92}"/>
                  </a:ext>
                </a:extLst>
              </p:cNvPr>
              <p:cNvSpPr/>
              <p:nvPr/>
            </p:nvSpPr>
            <p:spPr>
              <a:xfrm>
                <a:off x="9427714" y="3692704"/>
                <a:ext cx="62354" cy="41257"/>
              </a:xfrm>
              <a:custGeom>
                <a:avLst/>
                <a:gdLst>
                  <a:gd name="connsiteX0" fmla="*/ 26723 w 62354"/>
                  <a:gd name="connsiteY0" fmla="*/ 1851 h 41257"/>
                  <a:gd name="connsiteX1" fmla="*/ 62355 w 62354"/>
                  <a:gd name="connsiteY1" fmla="*/ 41149 h 41257"/>
                  <a:gd name="connsiteX2" fmla="*/ 10837 w 62354"/>
                  <a:gd name="connsiteY2" fmla="*/ 37629 h 41257"/>
                  <a:gd name="connsiteX3" fmla="*/ 1746 w 62354"/>
                  <a:gd name="connsiteY3" fmla="*/ 11382 h 41257"/>
                  <a:gd name="connsiteX4" fmla="*/ 26723 w 62354"/>
                  <a:gd name="connsiteY4" fmla="*/ 1851 h 412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2354" h="41257">
                    <a:moveTo>
                      <a:pt x="26723" y="1851"/>
                    </a:moveTo>
                    <a:cubicBezTo>
                      <a:pt x="36107" y="6445"/>
                      <a:pt x="62355" y="41149"/>
                      <a:pt x="62355" y="41149"/>
                    </a:cubicBezTo>
                    <a:cubicBezTo>
                      <a:pt x="62355" y="41149"/>
                      <a:pt x="20222" y="42224"/>
                      <a:pt x="10837" y="37629"/>
                    </a:cubicBezTo>
                    <a:cubicBezTo>
                      <a:pt x="1452" y="33035"/>
                      <a:pt x="-2604" y="21255"/>
                      <a:pt x="1746" y="11382"/>
                    </a:cubicBezTo>
                    <a:cubicBezTo>
                      <a:pt x="6145" y="1508"/>
                      <a:pt x="17289" y="-2744"/>
                      <a:pt x="26723" y="1851"/>
                    </a:cubicBezTo>
                    <a:close/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23" name="Forma livre: Forma 1222">
                <a:extLst>
                  <a:ext uri="{FF2B5EF4-FFF2-40B4-BE49-F238E27FC236}">
                    <a16:creationId xmlns:a16="http://schemas.microsoft.com/office/drawing/2014/main" id="{5654C7BE-9891-AF27-C0F1-4B924EA45BA8}"/>
                  </a:ext>
                </a:extLst>
              </p:cNvPr>
              <p:cNvSpPr/>
              <p:nvPr/>
            </p:nvSpPr>
            <p:spPr>
              <a:xfrm>
                <a:off x="9491682" y="3692704"/>
                <a:ext cx="62335" cy="41257"/>
              </a:xfrm>
              <a:custGeom>
                <a:avLst/>
                <a:gdLst>
                  <a:gd name="connsiteX0" fmla="*/ 35632 w 62335"/>
                  <a:gd name="connsiteY0" fmla="*/ 1851 h 41257"/>
                  <a:gd name="connsiteX1" fmla="*/ 0 w 62335"/>
                  <a:gd name="connsiteY1" fmla="*/ 41149 h 41257"/>
                  <a:gd name="connsiteX2" fmla="*/ 51518 w 62335"/>
                  <a:gd name="connsiteY2" fmla="*/ 37629 h 41257"/>
                  <a:gd name="connsiteX3" fmla="*/ 60560 w 62335"/>
                  <a:gd name="connsiteY3" fmla="*/ 11382 h 41257"/>
                  <a:gd name="connsiteX4" fmla="*/ 35632 w 62335"/>
                  <a:gd name="connsiteY4" fmla="*/ 1851 h 412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2335" h="41257">
                    <a:moveTo>
                      <a:pt x="35632" y="1851"/>
                    </a:moveTo>
                    <a:cubicBezTo>
                      <a:pt x="26248" y="6445"/>
                      <a:pt x="0" y="41149"/>
                      <a:pt x="0" y="41149"/>
                    </a:cubicBezTo>
                    <a:cubicBezTo>
                      <a:pt x="0" y="41149"/>
                      <a:pt x="42133" y="42224"/>
                      <a:pt x="51518" y="37629"/>
                    </a:cubicBezTo>
                    <a:cubicBezTo>
                      <a:pt x="60902" y="33035"/>
                      <a:pt x="64959" y="21255"/>
                      <a:pt x="60560" y="11382"/>
                    </a:cubicBezTo>
                    <a:cubicBezTo>
                      <a:pt x="56161" y="1508"/>
                      <a:pt x="45017" y="-2744"/>
                      <a:pt x="35632" y="1851"/>
                    </a:cubicBezTo>
                    <a:close/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224" name="Forma livre: Forma 1223">
              <a:extLst>
                <a:ext uri="{FF2B5EF4-FFF2-40B4-BE49-F238E27FC236}">
                  <a16:creationId xmlns:a16="http://schemas.microsoft.com/office/drawing/2014/main" id="{1A464FF8-031F-061E-12D9-05FC4C2C26A1}"/>
                </a:ext>
              </a:extLst>
            </p:cNvPr>
            <p:cNvSpPr/>
            <p:nvPr/>
          </p:nvSpPr>
          <p:spPr>
            <a:xfrm>
              <a:off x="9568518" y="3794119"/>
              <a:ext cx="4887" cy="91695"/>
            </a:xfrm>
            <a:custGeom>
              <a:avLst/>
              <a:gdLst>
                <a:gd name="connsiteX0" fmla="*/ 0 w 4887"/>
                <a:gd name="connsiteY0" fmla="*/ 91696 h 91695"/>
                <a:gd name="connsiteX1" fmla="*/ 0 w 4887"/>
                <a:gd name="connsiteY1" fmla="*/ 0 h 916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887" h="91695">
                  <a:moveTo>
                    <a:pt x="0" y="91696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25" name="Forma livre: Forma 1224">
              <a:extLst>
                <a:ext uri="{FF2B5EF4-FFF2-40B4-BE49-F238E27FC236}">
                  <a16:creationId xmlns:a16="http://schemas.microsoft.com/office/drawing/2014/main" id="{32757741-5288-0744-5C8F-75FC4B977437}"/>
                </a:ext>
              </a:extLst>
            </p:cNvPr>
            <p:cNvSpPr/>
            <p:nvPr/>
          </p:nvSpPr>
          <p:spPr>
            <a:xfrm>
              <a:off x="9413183" y="3836839"/>
              <a:ext cx="4887" cy="48976"/>
            </a:xfrm>
            <a:custGeom>
              <a:avLst/>
              <a:gdLst>
                <a:gd name="connsiteX0" fmla="*/ 0 w 4887"/>
                <a:gd name="connsiteY0" fmla="*/ 0 h 48976"/>
                <a:gd name="connsiteX1" fmla="*/ 0 w 4887"/>
                <a:gd name="connsiteY1" fmla="*/ 48976 h 489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887" h="48976">
                  <a:moveTo>
                    <a:pt x="0" y="0"/>
                  </a:moveTo>
                  <a:lnTo>
                    <a:pt x="0" y="48976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26" name="Forma livre: Forma 1225">
              <a:extLst>
                <a:ext uri="{FF2B5EF4-FFF2-40B4-BE49-F238E27FC236}">
                  <a16:creationId xmlns:a16="http://schemas.microsoft.com/office/drawing/2014/main" id="{AF6F19F6-BD07-2A90-9AC1-B11C11A653AF}"/>
                </a:ext>
              </a:extLst>
            </p:cNvPr>
            <p:cNvSpPr/>
            <p:nvPr/>
          </p:nvSpPr>
          <p:spPr>
            <a:xfrm>
              <a:off x="9413183" y="3799838"/>
              <a:ext cx="4887" cy="19795"/>
            </a:xfrm>
            <a:custGeom>
              <a:avLst/>
              <a:gdLst>
                <a:gd name="connsiteX0" fmla="*/ 0 w 4887"/>
                <a:gd name="connsiteY0" fmla="*/ 0 h 19795"/>
                <a:gd name="connsiteX1" fmla="*/ 0 w 4887"/>
                <a:gd name="connsiteY1" fmla="*/ 19796 h 197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887" h="19795">
                  <a:moveTo>
                    <a:pt x="0" y="0"/>
                  </a:moveTo>
                  <a:lnTo>
                    <a:pt x="0" y="19796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27" name="Forma livre: Forma 1226">
              <a:extLst>
                <a:ext uri="{FF2B5EF4-FFF2-40B4-BE49-F238E27FC236}">
                  <a16:creationId xmlns:a16="http://schemas.microsoft.com/office/drawing/2014/main" id="{F840C2F0-0712-DE6F-7D0F-7CE8B9DF4083}"/>
                </a:ext>
              </a:extLst>
            </p:cNvPr>
            <p:cNvSpPr/>
            <p:nvPr/>
          </p:nvSpPr>
          <p:spPr>
            <a:xfrm>
              <a:off x="9401208" y="3733999"/>
              <a:ext cx="179334" cy="40177"/>
            </a:xfrm>
            <a:custGeom>
              <a:avLst/>
              <a:gdLst>
                <a:gd name="connsiteX0" fmla="*/ 104306 w 179334"/>
                <a:gd name="connsiteY0" fmla="*/ 40178 h 40177"/>
                <a:gd name="connsiteX1" fmla="*/ 179334 w 179334"/>
                <a:gd name="connsiteY1" fmla="*/ 40178 h 40177"/>
                <a:gd name="connsiteX2" fmla="*/ 179334 w 179334"/>
                <a:gd name="connsiteY2" fmla="*/ 0 h 40177"/>
                <a:gd name="connsiteX3" fmla="*/ 0 w 179334"/>
                <a:gd name="connsiteY3" fmla="*/ 0 h 40177"/>
                <a:gd name="connsiteX4" fmla="*/ 0 w 179334"/>
                <a:gd name="connsiteY4" fmla="*/ 40178 h 40177"/>
                <a:gd name="connsiteX5" fmla="*/ 75028 w 179334"/>
                <a:gd name="connsiteY5" fmla="*/ 40178 h 401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79334" h="40177">
                  <a:moveTo>
                    <a:pt x="104306" y="40178"/>
                  </a:moveTo>
                  <a:lnTo>
                    <a:pt x="179334" y="40178"/>
                  </a:lnTo>
                  <a:lnTo>
                    <a:pt x="179334" y="0"/>
                  </a:lnTo>
                  <a:lnTo>
                    <a:pt x="0" y="0"/>
                  </a:lnTo>
                  <a:lnTo>
                    <a:pt x="0" y="40178"/>
                  </a:lnTo>
                  <a:lnTo>
                    <a:pt x="75028" y="40178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228" name="Gráfico 14">
              <a:extLst>
                <a:ext uri="{FF2B5EF4-FFF2-40B4-BE49-F238E27FC236}">
                  <a16:creationId xmlns:a16="http://schemas.microsoft.com/office/drawing/2014/main" id="{CA0AC688-4442-886C-6721-C89F94487D7C}"/>
                </a:ext>
              </a:extLst>
            </p:cNvPr>
            <p:cNvGrpSpPr/>
            <p:nvPr/>
          </p:nvGrpSpPr>
          <p:grpSpPr>
            <a:xfrm>
              <a:off x="9476236" y="3735123"/>
              <a:ext cx="29278" cy="150642"/>
              <a:chOff x="9476236" y="3735123"/>
              <a:chExt cx="29278" cy="150642"/>
            </a:xfrm>
          </p:grpSpPr>
          <p:sp>
            <p:nvSpPr>
              <p:cNvPr id="1229" name="Forma livre: Forma 1228">
                <a:extLst>
                  <a:ext uri="{FF2B5EF4-FFF2-40B4-BE49-F238E27FC236}">
                    <a16:creationId xmlns:a16="http://schemas.microsoft.com/office/drawing/2014/main" id="{8D1AD6ED-44B2-1825-D003-0CD893477CA6}"/>
                  </a:ext>
                </a:extLst>
              </p:cNvPr>
              <p:cNvSpPr/>
              <p:nvPr/>
            </p:nvSpPr>
            <p:spPr>
              <a:xfrm>
                <a:off x="9476236" y="3735123"/>
                <a:ext cx="4887" cy="150642"/>
              </a:xfrm>
              <a:custGeom>
                <a:avLst/>
                <a:gdLst>
                  <a:gd name="connsiteX0" fmla="*/ 0 w 4887"/>
                  <a:gd name="connsiteY0" fmla="*/ 0 h 150642"/>
                  <a:gd name="connsiteX1" fmla="*/ 0 w 4887"/>
                  <a:gd name="connsiteY1" fmla="*/ 150643 h 1506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887" h="150642">
                    <a:moveTo>
                      <a:pt x="0" y="0"/>
                    </a:moveTo>
                    <a:lnTo>
                      <a:pt x="0" y="150643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30" name="Forma livre: Forma 1229">
                <a:extLst>
                  <a:ext uri="{FF2B5EF4-FFF2-40B4-BE49-F238E27FC236}">
                    <a16:creationId xmlns:a16="http://schemas.microsoft.com/office/drawing/2014/main" id="{FE1D3D56-9BF9-900E-E276-65140D2B9016}"/>
                  </a:ext>
                </a:extLst>
              </p:cNvPr>
              <p:cNvSpPr/>
              <p:nvPr/>
            </p:nvSpPr>
            <p:spPr>
              <a:xfrm>
                <a:off x="9505514" y="3735123"/>
                <a:ext cx="4887" cy="150642"/>
              </a:xfrm>
              <a:custGeom>
                <a:avLst/>
                <a:gdLst>
                  <a:gd name="connsiteX0" fmla="*/ 0 w 4887"/>
                  <a:gd name="connsiteY0" fmla="*/ 0 h 150642"/>
                  <a:gd name="connsiteX1" fmla="*/ 0 w 4887"/>
                  <a:gd name="connsiteY1" fmla="*/ 150643 h 1506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887" h="150642">
                    <a:moveTo>
                      <a:pt x="0" y="0"/>
                    </a:moveTo>
                    <a:lnTo>
                      <a:pt x="0" y="150643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231" name="Forma livre: Forma 1230">
              <a:extLst>
                <a:ext uri="{FF2B5EF4-FFF2-40B4-BE49-F238E27FC236}">
                  <a16:creationId xmlns:a16="http://schemas.microsoft.com/office/drawing/2014/main" id="{167EA795-962C-E700-7E24-9C4B347F7764}"/>
                </a:ext>
              </a:extLst>
            </p:cNvPr>
            <p:cNvSpPr/>
            <p:nvPr/>
          </p:nvSpPr>
          <p:spPr>
            <a:xfrm>
              <a:off x="9395734" y="3886304"/>
              <a:ext cx="200156" cy="48976"/>
            </a:xfrm>
            <a:custGeom>
              <a:avLst/>
              <a:gdLst>
                <a:gd name="connsiteX0" fmla="*/ 26443 w 200156"/>
                <a:gd name="connsiteY0" fmla="*/ 48976 h 48976"/>
                <a:gd name="connsiteX1" fmla="*/ 0 w 200156"/>
                <a:gd name="connsiteY1" fmla="*/ 48976 h 48976"/>
                <a:gd name="connsiteX2" fmla="*/ 0 w 200156"/>
                <a:gd name="connsiteY2" fmla="*/ 0 h 48976"/>
                <a:gd name="connsiteX3" fmla="*/ 200156 w 200156"/>
                <a:gd name="connsiteY3" fmla="*/ 0 h 489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0156" h="48976">
                  <a:moveTo>
                    <a:pt x="26443" y="48976"/>
                  </a:moveTo>
                  <a:lnTo>
                    <a:pt x="0" y="48976"/>
                  </a:lnTo>
                  <a:lnTo>
                    <a:pt x="0" y="0"/>
                  </a:lnTo>
                  <a:lnTo>
                    <a:pt x="200156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32" name="Forma livre: Forma 1231">
              <a:extLst>
                <a:ext uri="{FF2B5EF4-FFF2-40B4-BE49-F238E27FC236}">
                  <a16:creationId xmlns:a16="http://schemas.microsoft.com/office/drawing/2014/main" id="{CB21DAAA-C88D-138B-1F58-BDA6F5E56370}"/>
                </a:ext>
              </a:extLst>
            </p:cNvPr>
            <p:cNvSpPr/>
            <p:nvPr/>
          </p:nvSpPr>
          <p:spPr>
            <a:xfrm>
              <a:off x="9491926" y="3935280"/>
              <a:ext cx="104208" cy="4887"/>
            </a:xfrm>
            <a:custGeom>
              <a:avLst/>
              <a:gdLst>
                <a:gd name="connsiteX0" fmla="*/ 104208 w 104208"/>
                <a:gd name="connsiteY0" fmla="*/ 0 h 4887"/>
                <a:gd name="connsiteX1" fmla="*/ 0 w 104208"/>
                <a:gd name="connsiteY1" fmla="*/ 0 h 48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4208" h="4887">
                  <a:moveTo>
                    <a:pt x="104208" y="0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33" name="Forma livre: Forma 1232">
              <a:extLst>
                <a:ext uri="{FF2B5EF4-FFF2-40B4-BE49-F238E27FC236}">
                  <a16:creationId xmlns:a16="http://schemas.microsoft.com/office/drawing/2014/main" id="{4E345889-4794-D261-AFD0-7C037872EAA4}"/>
                </a:ext>
              </a:extLst>
            </p:cNvPr>
            <p:cNvSpPr/>
            <p:nvPr/>
          </p:nvSpPr>
          <p:spPr>
            <a:xfrm>
              <a:off x="9595890" y="3808489"/>
              <a:ext cx="101422" cy="126854"/>
            </a:xfrm>
            <a:custGeom>
              <a:avLst/>
              <a:gdLst>
                <a:gd name="connsiteX0" fmla="*/ 0 w 101422"/>
                <a:gd name="connsiteY0" fmla="*/ 105430 h 126854"/>
                <a:gd name="connsiteX1" fmla="*/ 0 w 101422"/>
                <a:gd name="connsiteY1" fmla="*/ 0 h 126854"/>
                <a:gd name="connsiteX2" fmla="*/ 48487 w 101422"/>
                <a:gd name="connsiteY2" fmla="*/ 0 h 126854"/>
                <a:gd name="connsiteX3" fmla="*/ 74393 w 101422"/>
                <a:gd name="connsiteY3" fmla="*/ 51615 h 126854"/>
                <a:gd name="connsiteX4" fmla="*/ 95019 w 101422"/>
                <a:gd name="connsiteY4" fmla="*/ 58849 h 126854"/>
                <a:gd name="connsiteX5" fmla="*/ 101422 w 101422"/>
                <a:gd name="connsiteY5" fmla="*/ 69847 h 126854"/>
                <a:gd name="connsiteX6" fmla="*/ 101422 w 101422"/>
                <a:gd name="connsiteY6" fmla="*/ 116966 h 126854"/>
                <a:gd name="connsiteX7" fmla="*/ 93504 w 101422"/>
                <a:gd name="connsiteY7" fmla="*/ 126839 h 126854"/>
                <a:gd name="connsiteX8" fmla="*/ 69896 w 101422"/>
                <a:gd name="connsiteY8" fmla="*/ 126839 h 1268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01422" h="126854">
                  <a:moveTo>
                    <a:pt x="0" y="105430"/>
                  </a:moveTo>
                  <a:lnTo>
                    <a:pt x="0" y="0"/>
                  </a:lnTo>
                  <a:lnTo>
                    <a:pt x="48487" y="0"/>
                  </a:lnTo>
                  <a:cubicBezTo>
                    <a:pt x="66523" y="20773"/>
                    <a:pt x="74393" y="51615"/>
                    <a:pt x="74393" y="51615"/>
                  </a:cubicBezTo>
                  <a:lnTo>
                    <a:pt x="95019" y="58849"/>
                  </a:lnTo>
                  <a:cubicBezTo>
                    <a:pt x="95019" y="58849"/>
                    <a:pt x="101422" y="61049"/>
                    <a:pt x="101422" y="69847"/>
                  </a:cubicBezTo>
                  <a:lnTo>
                    <a:pt x="101422" y="116966"/>
                  </a:lnTo>
                  <a:cubicBezTo>
                    <a:pt x="101422" y="127670"/>
                    <a:pt x="93504" y="126839"/>
                    <a:pt x="93504" y="126839"/>
                  </a:cubicBezTo>
                  <a:lnTo>
                    <a:pt x="69896" y="126839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34" name="Forma livre: Forma 1233">
              <a:extLst>
                <a:ext uri="{FF2B5EF4-FFF2-40B4-BE49-F238E27FC236}">
                  <a16:creationId xmlns:a16="http://schemas.microsoft.com/office/drawing/2014/main" id="{94243D91-E3E7-93F2-662B-2C27E8D9E1A9}"/>
                </a:ext>
              </a:extLst>
            </p:cNvPr>
            <p:cNvSpPr/>
            <p:nvPr/>
          </p:nvSpPr>
          <p:spPr>
            <a:xfrm>
              <a:off x="9622480" y="3831951"/>
              <a:ext cx="20137" cy="31721"/>
            </a:xfrm>
            <a:custGeom>
              <a:avLst/>
              <a:gdLst>
                <a:gd name="connsiteX0" fmla="*/ 7283 w 20137"/>
                <a:gd name="connsiteY0" fmla="*/ 0 h 31721"/>
                <a:gd name="connsiteX1" fmla="*/ 20138 w 20137"/>
                <a:gd name="connsiteY1" fmla="*/ 31722 h 31721"/>
                <a:gd name="connsiteX2" fmla="*/ 0 w 20137"/>
                <a:gd name="connsiteY2" fmla="*/ 31722 h 317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0137" h="31721">
                  <a:moveTo>
                    <a:pt x="7283" y="0"/>
                  </a:moveTo>
                  <a:cubicBezTo>
                    <a:pt x="7283" y="0"/>
                    <a:pt x="17987" y="19845"/>
                    <a:pt x="20138" y="31722"/>
                  </a:cubicBezTo>
                  <a:lnTo>
                    <a:pt x="0" y="31722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35" name="Forma livre: Forma 1234">
              <a:extLst>
                <a:ext uri="{FF2B5EF4-FFF2-40B4-BE49-F238E27FC236}">
                  <a16:creationId xmlns:a16="http://schemas.microsoft.com/office/drawing/2014/main" id="{789E761F-7153-B263-F952-A15AD6E52741}"/>
                </a:ext>
              </a:extLst>
            </p:cNvPr>
            <p:cNvSpPr/>
            <p:nvPr/>
          </p:nvSpPr>
          <p:spPr>
            <a:xfrm>
              <a:off x="9617494" y="3914555"/>
              <a:ext cx="47509" cy="47509"/>
            </a:xfrm>
            <a:custGeom>
              <a:avLst/>
              <a:gdLst>
                <a:gd name="connsiteX0" fmla="*/ 47510 w 47509"/>
                <a:gd name="connsiteY0" fmla="*/ 23755 h 47509"/>
                <a:gd name="connsiteX1" fmla="*/ 23755 w 47509"/>
                <a:gd name="connsiteY1" fmla="*/ 47510 h 47509"/>
                <a:gd name="connsiteX2" fmla="*/ 0 w 47509"/>
                <a:gd name="connsiteY2" fmla="*/ 23755 h 47509"/>
                <a:gd name="connsiteX3" fmla="*/ 23755 w 47509"/>
                <a:gd name="connsiteY3" fmla="*/ 0 h 47509"/>
                <a:gd name="connsiteX4" fmla="*/ 47510 w 47509"/>
                <a:gd name="connsiteY4" fmla="*/ 23755 h 475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7509" h="47509">
                  <a:moveTo>
                    <a:pt x="47510" y="23755"/>
                  </a:moveTo>
                  <a:cubicBezTo>
                    <a:pt x="47510" y="36903"/>
                    <a:pt x="36854" y="47510"/>
                    <a:pt x="23755" y="47510"/>
                  </a:cubicBezTo>
                  <a:cubicBezTo>
                    <a:pt x="10655" y="47510"/>
                    <a:pt x="0" y="36854"/>
                    <a:pt x="0" y="23755"/>
                  </a:cubicBezTo>
                  <a:cubicBezTo>
                    <a:pt x="0" y="10655"/>
                    <a:pt x="10655" y="0"/>
                    <a:pt x="23755" y="0"/>
                  </a:cubicBezTo>
                  <a:cubicBezTo>
                    <a:pt x="36854" y="0"/>
                    <a:pt x="47510" y="10655"/>
                    <a:pt x="47510" y="23755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36" name="Forma livre: Forma 1235">
              <a:extLst>
                <a:ext uri="{FF2B5EF4-FFF2-40B4-BE49-F238E27FC236}">
                  <a16:creationId xmlns:a16="http://schemas.microsoft.com/office/drawing/2014/main" id="{6CCEC587-1BF1-3EEC-01D6-BB0C05AAD345}"/>
                </a:ext>
              </a:extLst>
            </p:cNvPr>
            <p:cNvSpPr/>
            <p:nvPr/>
          </p:nvSpPr>
          <p:spPr>
            <a:xfrm>
              <a:off x="9423692" y="3914555"/>
              <a:ext cx="47509" cy="47509"/>
            </a:xfrm>
            <a:custGeom>
              <a:avLst/>
              <a:gdLst>
                <a:gd name="connsiteX0" fmla="*/ 47510 w 47509"/>
                <a:gd name="connsiteY0" fmla="*/ 23755 h 47509"/>
                <a:gd name="connsiteX1" fmla="*/ 23755 w 47509"/>
                <a:gd name="connsiteY1" fmla="*/ 47510 h 47509"/>
                <a:gd name="connsiteX2" fmla="*/ 0 w 47509"/>
                <a:gd name="connsiteY2" fmla="*/ 23755 h 47509"/>
                <a:gd name="connsiteX3" fmla="*/ 23755 w 47509"/>
                <a:gd name="connsiteY3" fmla="*/ 0 h 47509"/>
                <a:gd name="connsiteX4" fmla="*/ 47510 w 47509"/>
                <a:gd name="connsiteY4" fmla="*/ 23755 h 475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7509" h="47509">
                  <a:moveTo>
                    <a:pt x="47510" y="23755"/>
                  </a:moveTo>
                  <a:cubicBezTo>
                    <a:pt x="47510" y="36903"/>
                    <a:pt x="36854" y="47510"/>
                    <a:pt x="23755" y="47510"/>
                  </a:cubicBezTo>
                  <a:cubicBezTo>
                    <a:pt x="10655" y="47510"/>
                    <a:pt x="0" y="36854"/>
                    <a:pt x="0" y="23755"/>
                  </a:cubicBezTo>
                  <a:cubicBezTo>
                    <a:pt x="0" y="10655"/>
                    <a:pt x="10655" y="0"/>
                    <a:pt x="23755" y="0"/>
                  </a:cubicBezTo>
                  <a:cubicBezTo>
                    <a:pt x="36854" y="0"/>
                    <a:pt x="47510" y="10655"/>
                    <a:pt x="47510" y="23755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37" name="Forma livre: Forma 1236">
              <a:extLst>
                <a:ext uri="{FF2B5EF4-FFF2-40B4-BE49-F238E27FC236}">
                  <a16:creationId xmlns:a16="http://schemas.microsoft.com/office/drawing/2014/main" id="{5375F091-CB42-7485-0B76-FC53B036587C}"/>
                </a:ext>
              </a:extLst>
            </p:cNvPr>
            <p:cNvSpPr/>
            <p:nvPr/>
          </p:nvSpPr>
          <p:spPr>
            <a:xfrm>
              <a:off x="9371246" y="3836643"/>
              <a:ext cx="66767" cy="4887"/>
            </a:xfrm>
            <a:custGeom>
              <a:avLst/>
              <a:gdLst>
                <a:gd name="connsiteX0" fmla="*/ 66768 w 66767"/>
                <a:gd name="connsiteY0" fmla="*/ 0 h 4887"/>
                <a:gd name="connsiteX1" fmla="*/ 0 w 66767"/>
                <a:gd name="connsiteY1" fmla="*/ 0 h 48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6767" h="4887">
                  <a:moveTo>
                    <a:pt x="66768" y="0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38" name="Forma livre: Forma 1237">
              <a:extLst>
                <a:ext uri="{FF2B5EF4-FFF2-40B4-BE49-F238E27FC236}">
                  <a16:creationId xmlns:a16="http://schemas.microsoft.com/office/drawing/2014/main" id="{40EA5B11-4A63-EAF8-8AD2-2F61D2AC7CD7}"/>
                </a:ext>
              </a:extLst>
            </p:cNvPr>
            <p:cNvSpPr/>
            <p:nvPr/>
          </p:nvSpPr>
          <p:spPr>
            <a:xfrm>
              <a:off x="9342310" y="3861425"/>
              <a:ext cx="37685" cy="4887"/>
            </a:xfrm>
            <a:custGeom>
              <a:avLst/>
              <a:gdLst>
                <a:gd name="connsiteX0" fmla="*/ 37685 w 37685"/>
                <a:gd name="connsiteY0" fmla="*/ 0 h 4887"/>
                <a:gd name="connsiteX1" fmla="*/ 0 w 37685"/>
                <a:gd name="connsiteY1" fmla="*/ 0 h 48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7685" h="4887">
                  <a:moveTo>
                    <a:pt x="37685" y="0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39" name="Forma livre: Forma 1238">
              <a:extLst>
                <a:ext uri="{FF2B5EF4-FFF2-40B4-BE49-F238E27FC236}">
                  <a16:creationId xmlns:a16="http://schemas.microsoft.com/office/drawing/2014/main" id="{C7DC82F0-8FAC-4B98-AC21-64F7BFCFDADD}"/>
                </a:ext>
              </a:extLst>
            </p:cNvPr>
            <p:cNvSpPr/>
            <p:nvPr/>
          </p:nvSpPr>
          <p:spPr>
            <a:xfrm>
              <a:off x="9364256" y="3799740"/>
              <a:ext cx="48927" cy="4887"/>
            </a:xfrm>
            <a:custGeom>
              <a:avLst/>
              <a:gdLst>
                <a:gd name="connsiteX0" fmla="*/ 48927 w 48927"/>
                <a:gd name="connsiteY0" fmla="*/ 0 h 4887"/>
                <a:gd name="connsiteX1" fmla="*/ 0 w 48927"/>
                <a:gd name="connsiteY1" fmla="*/ 0 h 48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8927" h="4887">
                  <a:moveTo>
                    <a:pt x="48927" y="0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240" name="Gráfico 14">
            <a:extLst>
              <a:ext uri="{FF2B5EF4-FFF2-40B4-BE49-F238E27FC236}">
                <a16:creationId xmlns:a16="http://schemas.microsoft.com/office/drawing/2014/main" id="{952FA8F1-C90F-8F68-6360-73F8F8535D73}"/>
              </a:ext>
            </a:extLst>
          </p:cNvPr>
          <p:cNvGrpSpPr/>
          <p:nvPr/>
        </p:nvGrpSpPr>
        <p:grpSpPr>
          <a:xfrm>
            <a:off x="8755787" y="3655598"/>
            <a:ext cx="256497" cy="333154"/>
            <a:chOff x="8755787" y="3655598"/>
            <a:chExt cx="256497" cy="333154"/>
          </a:xfrm>
          <a:noFill/>
        </p:grpSpPr>
        <p:sp>
          <p:nvSpPr>
            <p:cNvPr id="1241" name="Forma livre: Forma 1240">
              <a:extLst>
                <a:ext uri="{FF2B5EF4-FFF2-40B4-BE49-F238E27FC236}">
                  <a16:creationId xmlns:a16="http://schemas.microsoft.com/office/drawing/2014/main" id="{2EF4F24B-6FFE-2E49-2D43-ECF6A031E8A5}"/>
                </a:ext>
              </a:extLst>
            </p:cNvPr>
            <p:cNvSpPr/>
            <p:nvPr/>
          </p:nvSpPr>
          <p:spPr>
            <a:xfrm>
              <a:off x="8755787" y="3809663"/>
              <a:ext cx="62890" cy="179089"/>
            </a:xfrm>
            <a:custGeom>
              <a:avLst/>
              <a:gdLst>
                <a:gd name="connsiteX0" fmla="*/ 62890 w 62890"/>
                <a:gd name="connsiteY0" fmla="*/ 0 h 179089"/>
                <a:gd name="connsiteX1" fmla="*/ 375 w 62890"/>
                <a:gd name="connsiteY1" fmla="*/ 58654 h 179089"/>
                <a:gd name="connsiteX2" fmla="*/ 3112 w 62890"/>
                <a:gd name="connsiteY2" fmla="*/ 179090 h 1790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2890" h="179089">
                  <a:moveTo>
                    <a:pt x="62890" y="0"/>
                  </a:moveTo>
                  <a:cubicBezTo>
                    <a:pt x="62890" y="0"/>
                    <a:pt x="2037" y="49025"/>
                    <a:pt x="375" y="58654"/>
                  </a:cubicBezTo>
                  <a:cubicBezTo>
                    <a:pt x="-1287" y="68283"/>
                    <a:pt x="3112" y="179090"/>
                    <a:pt x="3112" y="179090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42" name="Forma livre: Forma 1241">
              <a:extLst>
                <a:ext uri="{FF2B5EF4-FFF2-40B4-BE49-F238E27FC236}">
                  <a16:creationId xmlns:a16="http://schemas.microsoft.com/office/drawing/2014/main" id="{74BC4CBB-5642-47BC-CD19-1E6EDCE760B7}"/>
                </a:ext>
              </a:extLst>
            </p:cNvPr>
            <p:cNvSpPr/>
            <p:nvPr/>
          </p:nvSpPr>
          <p:spPr>
            <a:xfrm>
              <a:off x="8804356" y="3836839"/>
              <a:ext cx="98436" cy="151913"/>
            </a:xfrm>
            <a:custGeom>
              <a:avLst/>
              <a:gdLst>
                <a:gd name="connsiteX0" fmla="*/ 0 w 98436"/>
                <a:gd name="connsiteY0" fmla="*/ 69016 h 151913"/>
                <a:gd name="connsiteX1" fmla="*/ 58214 w 98436"/>
                <a:gd name="connsiteY1" fmla="*/ 8896 h 151913"/>
                <a:gd name="connsiteX2" fmla="*/ 91353 w 98436"/>
                <a:gd name="connsiteY2" fmla="*/ 4546 h 151913"/>
                <a:gd name="connsiteX3" fmla="*/ 93162 w 98436"/>
                <a:gd name="connsiteY3" fmla="*/ 38809 h 151913"/>
                <a:gd name="connsiteX4" fmla="*/ 17841 w 98436"/>
                <a:gd name="connsiteY4" fmla="*/ 151913 h 1519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8436" h="151913">
                  <a:moveTo>
                    <a:pt x="0" y="69016"/>
                  </a:moveTo>
                  <a:lnTo>
                    <a:pt x="58214" y="8896"/>
                  </a:lnTo>
                  <a:cubicBezTo>
                    <a:pt x="67745" y="-978"/>
                    <a:pt x="82653" y="-2933"/>
                    <a:pt x="91353" y="4546"/>
                  </a:cubicBezTo>
                  <a:cubicBezTo>
                    <a:pt x="100054" y="12024"/>
                    <a:pt x="100836" y="27421"/>
                    <a:pt x="93162" y="38809"/>
                  </a:cubicBezTo>
                  <a:lnTo>
                    <a:pt x="17841" y="151913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243" name="Gráfico 14">
              <a:extLst>
                <a:ext uri="{FF2B5EF4-FFF2-40B4-BE49-F238E27FC236}">
                  <a16:creationId xmlns:a16="http://schemas.microsoft.com/office/drawing/2014/main" id="{84BE9F34-7BD2-0C21-8F8A-43E12922193F}"/>
                </a:ext>
              </a:extLst>
            </p:cNvPr>
            <p:cNvGrpSpPr/>
            <p:nvPr/>
          </p:nvGrpSpPr>
          <p:grpSpPr>
            <a:xfrm>
              <a:off x="8854114" y="3691084"/>
              <a:ext cx="120827" cy="118676"/>
              <a:chOff x="8854114" y="3691084"/>
              <a:chExt cx="120827" cy="118676"/>
            </a:xfrm>
            <a:noFill/>
          </p:grpSpPr>
          <p:sp>
            <p:nvSpPr>
              <p:cNvPr id="1244" name="Forma livre: Forma 1243">
                <a:extLst>
                  <a:ext uri="{FF2B5EF4-FFF2-40B4-BE49-F238E27FC236}">
                    <a16:creationId xmlns:a16="http://schemas.microsoft.com/office/drawing/2014/main" id="{56722DAE-0307-7E9A-BD86-9C28517858F9}"/>
                  </a:ext>
                </a:extLst>
              </p:cNvPr>
              <p:cNvSpPr/>
              <p:nvPr/>
            </p:nvSpPr>
            <p:spPr>
              <a:xfrm>
                <a:off x="8862179" y="3771977"/>
                <a:ext cx="104697" cy="37782"/>
              </a:xfrm>
              <a:custGeom>
                <a:avLst/>
                <a:gdLst>
                  <a:gd name="connsiteX0" fmla="*/ 0 w 104697"/>
                  <a:gd name="connsiteY0" fmla="*/ 0 h 37782"/>
                  <a:gd name="connsiteX1" fmla="*/ 0 w 104697"/>
                  <a:gd name="connsiteY1" fmla="*/ 37783 h 37782"/>
                  <a:gd name="connsiteX2" fmla="*/ 104697 w 104697"/>
                  <a:gd name="connsiteY2" fmla="*/ 37783 h 37782"/>
                  <a:gd name="connsiteX3" fmla="*/ 104697 w 104697"/>
                  <a:gd name="connsiteY3" fmla="*/ 0 h 377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04697" h="37782">
                    <a:moveTo>
                      <a:pt x="0" y="0"/>
                    </a:moveTo>
                    <a:lnTo>
                      <a:pt x="0" y="37783"/>
                    </a:lnTo>
                    <a:lnTo>
                      <a:pt x="104697" y="37783"/>
                    </a:lnTo>
                    <a:lnTo>
                      <a:pt x="104697" y="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45" name="Forma livre: Forma 1244">
                <a:extLst>
                  <a:ext uri="{FF2B5EF4-FFF2-40B4-BE49-F238E27FC236}">
                    <a16:creationId xmlns:a16="http://schemas.microsoft.com/office/drawing/2014/main" id="{2ACA37FA-3CBA-D775-0EFA-FBC6CDBB2BD0}"/>
                  </a:ext>
                </a:extLst>
              </p:cNvPr>
              <p:cNvSpPr/>
              <p:nvPr/>
            </p:nvSpPr>
            <p:spPr>
              <a:xfrm>
                <a:off x="8854114" y="3727596"/>
                <a:ext cx="120827" cy="25758"/>
              </a:xfrm>
              <a:custGeom>
                <a:avLst/>
                <a:gdLst>
                  <a:gd name="connsiteX0" fmla="*/ 72584 w 120827"/>
                  <a:gd name="connsiteY0" fmla="*/ 25759 h 25758"/>
                  <a:gd name="connsiteX1" fmla="*/ 120827 w 120827"/>
                  <a:gd name="connsiteY1" fmla="*/ 25759 h 25758"/>
                  <a:gd name="connsiteX2" fmla="*/ 120827 w 120827"/>
                  <a:gd name="connsiteY2" fmla="*/ 0 h 25758"/>
                  <a:gd name="connsiteX3" fmla="*/ 0 w 120827"/>
                  <a:gd name="connsiteY3" fmla="*/ 0 h 25758"/>
                  <a:gd name="connsiteX4" fmla="*/ 0 w 120827"/>
                  <a:gd name="connsiteY4" fmla="*/ 25759 h 25758"/>
                  <a:gd name="connsiteX5" fmla="*/ 48243 w 120827"/>
                  <a:gd name="connsiteY5" fmla="*/ 25759 h 257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20827" h="25758">
                    <a:moveTo>
                      <a:pt x="72584" y="25759"/>
                    </a:moveTo>
                    <a:lnTo>
                      <a:pt x="120827" y="25759"/>
                    </a:lnTo>
                    <a:lnTo>
                      <a:pt x="120827" y="0"/>
                    </a:lnTo>
                    <a:lnTo>
                      <a:pt x="0" y="0"/>
                    </a:lnTo>
                    <a:lnTo>
                      <a:pt x="0" y="25759"/>
                    </a:lnTo>
                    <a:lnTo>
                      <a:pt x="48243" y="25759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1246" name="Gráfico 14">
                <a:extLst>
                  <a:ext uri="{FF2B5EF4-FFF2-40B4-BE49-F238E27FC236}">
                    <a16:creationId xmlns:a16="http://schemas.microsoft.com/office/drawing/2014/main" id="{4808AF48-A989-840E-E093-98D55E02C751}"/>
                  </a:ext>
                </a:extLst>
              </p:cNvPr>
              <p:cNvGrpSpPr/>
              <p:nvPr/>
            </p:nvGrpSpPr>
            <p:grpSpPr>
              <a:xfrm>
                <a:off x="8902357" y="3728280"/>
                <a:ext cx="24341" cy="81089"/>
                <a:chOff x="8902357" y="3728280"/>
                <a:chExt cx="24341" cy="81089"/>
              </a:xfrm>
            </p:grpSpPr>
            <p:sp>
              <p:nvSpPr>
                <p:cNvPr id="1247" name="Forma livre: Forma 1246">
                  <a:extLst>
                    <a:ext uri="{FF2B5EF4-FFF2-40B4-BE49-F238E27FC236}">
                      <a16:creationId xmlns:a16="http://schemas.microsoft.com/office/drawing/2014/main" id="{01CB7C2F-CA90-22C1-B76B-2A3BAB7F991F}"/>
                    </a:ext>
                  </a:extLst>
                </p:cNvPr>
                <p:cNvSpPr/>
                <p:nvPr/>
              </p:nvSpPr>
              <p:spPr>
                <a:xfrm>
                  <a:off x="8902357" y="3728280"/>
                  <a:ext cx="4887" cy="81089"/>
                </a:xfrm>
                <a:custGeom>
                  <a:avLst/>
                  <a:gdLst>
                    <a:gd name="connsiteX0" fmla="*/ 0 w 4887"/>
                    <a:gd name="connsiteY0" fmla="*/ 0 h 81089"/>
                    <a:gd name="connsiteX1" fmla="*/ 0 w 4887"/>
                    <a:gd name="connsiteY1" fmla="*/ 81089 h 8108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887" h="81089">
                      <a:moveTo>
                        <a:pt x="0" y="0"/>
                      </a:moveTo>
                      <a:lnTo>
                        <a:pt x="0" y="81089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248" name="Forma livre: Forma 1247">
                  <a:extLst>
                    <a:ext uri="{FF2B5EF4-FFF2-40B4-BE49-F238E27FC236}">
                      <a16:creationId xmlns:a16="http://schemas.microsoft.com/office/drawing/2014/main" id="{2C9B9FD2-F365-1C41-85EE-B2ED70C9E324}"/>
                    </a:ext>
                  </a:extLst>
                </p:cNvPr>
                <p:cNvSpPr/>
                <p:nvPr/>
              </p:nvSpPr>
              <p:spPr>
                <a:xfrm>
                  <a:off x="8926698" y="3728280"/>
                  <a:ext cx="4887" cy="81089"/>
                </a:xfrm>
                <a:custGeom>
                  <a:avLst/>
                  <a:gdLst>
                    <a:gd name="connsiteX0" fmla="*/ 0 w 4887"/>
                    <a:gd name="connsiteY0" fmla="*/ 0 h 81089"/>
                    <a:gd name="connsiteX1" fmla="*/ 0 w 4887"/>
                    <a:gd name="connsiteY1" fmla="*/ 81089 h 8108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887" h="81089">
                      <a:moveTo>
                        <a:pt x="0" y="0"/>
                      </a:moveTo>
                      <a:lnTo>
                        <a:pt x="0" y="81089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1249" name="Gráfico 14">
                <a:extLst>
                  <a:ext uri="{FF2B5EF4-FFF2-40B4-BE49-F238E27FC236}">
                    <a16:creationId xmlns:a16="http://schemas.microsoft.com/office/drawing/2014/main" id="{F421004F-2D18-D99A-FC30-9FBF4E15DAAB}"/>
                  </a:ext>
                </a:extLst>
              </p:cNvPr>
              <p:cNvGrpSpPr/>
              <p:nvPr/>
            </p:nvGrpSpPr>
            <p:grpSpPr>
              <a:xfrm>
                <a:off x="8870537" y="3691084"/>
                <a:ext cx="87980" cy="36560"/>
                <a:chOff x="8870537" y="3691084"/>
                <a:chExt cx="87980" cy="36560"/>
              </a:xfrm>
              <a:noFill/>
            </p:grpSpPr>
            <p:sp>
              <p:nvSpPr>
                <p:cNvPr id="1250" name="Forma livre: Forma 1249">
                  <a:extLst>
                    <a:ext uri="{FF2B5EF4-FFF2-40B4-BE49-F238E27FC236}">
                      <a16:creationId xmlns:a16="http://schemas.microsoft.com/office/drawing/2014/main" id="{F5271C6E-571C-AF4B-CF2B-55BA073FDDA3}"/>
                    </a:ext>
                  </a:extLst>
                </p:cNvPr>
                <p:cNvSpPr/>
                <p:nvPr/>
              </p:nvSpPr>
              <p:spPr>
                <a:xfrm>
                  <a:off x="8914576" y="3691084"/>
                  <a:ext cx="43941" cy="36560"/>
                </a:xfrm>
                <a:custGeom>
                  <a:avLst/>
                  <a:gdLst>
                    <a:gd name="connsiteX0" fmla="*/ 0 w 43941"/>
                    <a:gd name="connsiteY0" fmla="*/ 36121 h 36560"/>
                    <a:gd name="connsiteX1" fmla="*/ 25661 w 43941"/>
                    <a:gd name="connsiteY1" fmla="*/ 0 h 36560"/>
                    <a:gd name="connsiteX2" fmla="*/ 43942 w 43941"/>
                    <a:gd name="connsiteY2" fmla="*/ 18280 h 36560"/>
                    <a:gd name="connsiteX3" fmla="*/ 25661 w 43941"/>
                    <a:gd name="connsiteY3" fmla="*/ 36561 h 3656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3941" h="36560">
                      <a:moveTo>
                        <a:pt x="0" y="36121"/>
                      </a:moveTo>
                      <a:cubicBezTo>
                        <a:pt x="3324" y="13588"/>
                        <a:pt x="12904" y="0"/>
                        <a:pt x="25661" y="0"/>
                      </a:cubicBezTo>
                      <a:cubicBezTo>
                        <a:pt x="35730" y="0"/>
                        <a:pt x="43942" y="8163"/>
                        <a:pt x="43942" y="18280"/>
                      </a:cubicBezTo>
                      <a:cubicBezTo>
                        <a:pt x="43942" y="28398"/>
                        <a:pt x="35779" y="36561"/>
                        <a:pt x="25661" y="36561"/>
                      </a:cubicBez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251" name="Forma livre: Forma 1250">
                  <a:extLst>
                    <a:ext uri="{FF2B5EF4-FFF2-40B4-BE49-F238E27FC236}">
                      <a16:creationId xmlns:a16="http://schemas.microsoft.com/office/drawing/2014/main" id="{8514F0FA-9D36-5832-F1D3-6AFF8C87F6B1}"/>
                    </a:ext>
                  </a:extLst>
                </p:cNvPr>
                <p:cNvSpPr/>
                <p:nvPr/>
              </p:nvSpPr>
              <p:spPr>
                <a:xfrm>
                  <a:off x="8870537" y="3691084"/>
                  <a:ext cx="43941" cy="36560"/>
                </a:xfrm>
                <a:custGeom>
                  <a:avLst/>
                  <a:gdLst>
                    <a:gd name="connsiteX0" fmla="*/ 43941 w 43941"/>
                    <a:gd name="connsiteY0" fmla="*/ 36121 h 36560"/>
                    <a:gd name="connsiteX1" fmla="*/ 18280 w 43941"/>
                    <a:gd name="connsiteY1" fmla="*/ 0 h 36560"/>
                    <a:gd name="connsiteX2" fmla="*/ 0 w 43941"/>
                    <a:gd name="connsiteY2" fmla="*/ 18280 h 36560"/>
                    <a:gd name="connsiteX3" fmla="*/ 18280 w 43941"/>
                    <a:gd name="connsiteY3" fmla="*/ 36561 h 3656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3941" h="36560">
                      <a:moveTo>
                        <a:pt x="43941" y="36121"/>
                      </a:moveTo>
                      <a:cubicBezTo>
                        <a:pt x="40618" y="13588"/>
                        <a:pt x="31038" y="0"/>
                        <a:pt x="18280" y="0"/>
                      </a:cubicBezTo>
                      <a:cubicBezTo>
                        <a:pt x="8212" y="0"/>
                        <a:pt x="0" y="8163"/>
                        <a:pt x="0" y="18280"/>
                      </a:cubicBezTo>
                      <a:cubicBezTo>
                        <a:pt x="0" y="28398"/>
                        <a:pt x="8163" y="36561"/>
                        <a:pt x="18280" y="36561"/>
                      </a:cubicBez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sp>
          <p:nvSpPr>
            <p:cNvPr id="1252" name="Forma livre: Forma 1251">
              <a:extLst>
                <a:ext uri="{FF2B5EF4-FFF2-40B4-BE49-F238E27FC236}">
                  <a16:creationId xmlns:a16="http://schemas.microsoft.com/office/drawing/2014/main" id="{76CC5238-FD4C-324D-A0D9-10E19D05C977}"/>
                </a:ext>
              </a:extLst>
            </p:cNvPr>
            <p:cNvSpPr/>
            <p:nvPr/>
          </p:nvSpPr>
          <p:spPr>
            <a:xfrm>
              <a:off x="8816771" y="3655598"/>
              <a:ext cx="195512" cy="251723"/>
            </a:xfrm>
            <a:custGeom>
              <a:avLst/>
              <a:gdLst>
                <a:gd name="connsiteX0" fmla="*/ 0 w 195512"/>
                <a:gd name="connsiteY0" fmla="*/ 202258 h 251723"/>
                <a:gd name="connsiteX1" fmla="*/ 0 w 195512"/>
                <a:gd name="connsiteY1" fmla="*/ 0 h 251723"/>
                <a:gd name="connsiteX2" fmla="*/ 195513 w 195512"/>
                <a:gd name="connsiteY2" fmla="*/ 0 h 251723"/>
                <a:gd name="connsiteX3" fmla="*/ 195513 w 195512"/>
                <a:gd name="connsiteY3" fmla="*/ 251723 h 251723"/>
                <a:gd name="connsiteX4" fmla="*/ 89594 w 195512"/>
                <a:gd name="connsiteY4" fmla="*/ 251723 h 2517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5512" h="251723">
                  <a:moveTo>
                    <a:pt x="0" y="202258"/>
                  </a:moveTo>
                  <a:lnTo>
                    <a:pt x="0" y="0"/>
                  </a:lnTo>
                  <a:lnTo>
                    <a:pt x="195513" y="0"/>
                  </a:lnTo>
                  <a:lnTo>
                    <a:pt x="195513" y="251723"/>
                  </a:lnTo>
                  <a:lnTo>
                    <a:pt x="89594" y="251723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253" name="Gráfico 14">
            <a:extLst>
              <a:ext uri="{FF2B5EF4-FFF2-40B4-BE49-F238E27FC236}">
                <a16:creationId xmlns:a16="http://schemas.microsoft.com/office/drawing/2014/main" id="{B72FA834-36F0-3DDA-C822-B6A4CC8DEB14}"/>
              </a:ext>
            </a:extLst>
          </p:cNvPr>
          <p:cNvGrpSpPr/>
          <p:nvPr/>
        </p:nvGrpSpPr>
        <p:grpSpPr>
          <a:xfrm>
            <a:off x="8115661" y="5850623"/>
            <a:ext cx="265213" cy="286915"/>
            <a:chOff x="8115661" y="5850623"/>
            <a:chExt cx="265213" cy="286915"/>
          </a:xfrm>
          <a:noFill/>
        </p:grpSpPr>
        <p:grpSp>
          <p:nvGrpSpPr>
            <p:cNvPr id="1254" name="Gráfico 14">
              <a:extLst>
                <a:ext uri="{FF2B5EF4-FFF2-40B4-BE49-F238E27FC236}">
                  <a16:creationId xmlns:a16="http://schemas.microsoft.com/office/drawing/2014/main" id="{76ADC62E-51D7-B742-7527-D952E097A8DF}"/>
                </a:ext>
              </a:extLst>
            </p:cNvPr>
            <p:cNvGrpSpPr/>
            <p:nvPr/>
          </p:nvGrpSpPr>
          <p:grpSpPr>
            <a:xfrm>
              <a:off x="8240447" y="5990854"/>
              <a:ext cx="140427" cy="146683"/>
              <a:chOff x="8240447" y="5990854"/>
              <a:chExt cx="140427" cy="146683"/>
            </a:xfrm>
            <a:noFill/>
          </p:grpSpPr>
          <p:sp>
            <p:nvSpPr>
              <p:cNvPr id="1255" name="Forma livre: Forma 1254">
                <a:extLst>
                  <a:ext uri="{FF2B5EF4-FFF2-40B4-BE49-F238E27FC236}">
                    <a16:creationId xmlns:a16="http://schemas.microsoft.com/office/drawing/2014/main" id="{9688ABD2-7818-C3B8-242F-265AD13FB61D}"/>
                  </a:ext>
                </a:extLst>
              </p:cNvPr>
              <p:cNvSpPr/>
              <p:nvPr/>
            </p:nvSpPr>
            <p:spPr>
              <a:xfrm>
                <a:off x="8249832" y="6084896"/>
                <a:ext cx="121657" cy="52641"/>
              </a:xfrm>
              <a:custGeom>
                <a:avLst/>
                <a:gdLst>
                  <a:gd name="connsiteX0" fmla="*/ 0 w 121657"/>
                  <a:gd name="connsiteY0" fmla="*/ 0 h 52641"/>
                  <a:gd name="connsiteX1" fmla="*/ 0 w 121657"/>
                  <a:gd name="connsiteY1" fmla="*/ 52642 h 52641"/>
                  <a:gd name="connsiteX2" fmla="*/ 121658 w 121657"/>
                  <a:gd name="connsiteY2" fmla="*/ 52642 h 52641"/>
                  <a:gd name="connsiteX3" fmla="*/ 121658 w 121657"/>
                  <a:gd name="connsiteY3" fmla="*/ 0 h 526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21657" h="52641">
                    <a:moveTo>
                      <a:pt x="0" y="0"/>
                    </a:moveTo>
                    <a:lnTo>
                      <a:pt x="0" y="52642"/>
                    </a:lnTo>
                    <a:lnTo>
                      <a:pt x="121658" y="52642"/>
                    </a:lnTo>
                    <a:lnTo>
                      <a:pt x="121658" y="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56" name="Forma livre: Forma 1255">
                <a:extLst>
                  <a:ext uri="{FF2B5EF4-FFF2-40B4-BE49-F238E27FC236}">
                    <a16:creationId xmlns:a16="http://schemas.microsoft.com/office/drawing/2014/main" id="{E7491139-4B6B-68C5-8A3A-7A8509D44273}"/>
                  </a:ext>
                </a:extLst>
              </p:cNvPr>
              <p:cNvSpPr/>
              <p:nvPr/>
            </p:nvSpPr>
            <p:spPr>
              <a:xfrm>
                <a:off x="8240447" y="6033330"/>
                <a:ext cx="140427" cy="29864"/>
              </a:xfrm>
              <a:custGeom>
                <a:avLst/>
                <a:gdLst>
                  <a:gd name="connsiteX0" fmla="*/ 84364 w 140427"/>
                  <a:gd name="connsiteY0" fmla="*/ 29865 h 29864"/>
                  <a:gd name="connsiteX1" fmla="*/ 140427 w 140427"/>
                  <a:gd name="connsiteY1" fmla="*/ 29865 h 29864"/>
                  <a:gd name="connsiteX2" fmla="*/ 140427 w 140427"/>
                  <a:gd name="connsiteY2" fmla="*/ 0 h 29864"/>
                  <a:gd name="connsiteX3" fmla="*/ 0 w 140427"/>
                  <a:gd name="connsiteY3" fmla="*/ 0 h 29864"/>
                  <a:gd name="connsiteX4" fmla="*/ 0 w 140427"/>
                  <a:gd name="connsiteY4" fmla="*/ 29865 h 29864"/>
                  <a:gd name="connsiteX5" fmla="*/ 56063 w 140427"/>
                  <a:gd name="connsiteY5" fmla="*/ 29865 h 298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40427" h="29864">
                    <a:moveTo>
                      <a:pt x="84364" y="29865"/>
                    </a:moveTo>
                    <a:lnTo>
                      <a:pt x="140427" y="29865"/>
                    </a:lnTo>
                    <a:lnTo>
                      <a:pt x="140427" y="0"/>
                    </a:lnTo>
                    <a:lnTo>
                      <a:pt x="0" y="0"/>
                    </a:lnTo>
                    <a:lnTo>
                      <a:pt x="0" y="29865"/>
                    </a:lnTo>
                    <a:lnTo>
                      <a:pt x="56063" y="29865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1257" name="Gráfico 14">
                <a:extLst>
                  <a:ext uri="{FF2B5EF4-FFF2-40B4-BE49-F238E27FC236}">
                    <a16:creationId xmlns:a16="http://schemas.microsoft.com/office/drawing/2014/main" id="{E1AAFD13-C3AA-C690-71E0-A3BF8A1A0C41}"/>
                  </a:ext>
                </a:extLst>
              </p:cNvPr>
              <p:cNvGrpSpPr/>
              <p:nvPr/>
            </p:nvGrpSpPr>
            <p:grpSpPr>
              <a:xfrm>
                <a:off x="8296511" y="6034063"/>
                <a:ext cx="28300" cy="103035"/>
                <a:chOff x="8296511" y="6034063"/>
                <a:chExt cx="28300" cy="103035"/>
              </a:xfrm>
            </p:grpSpPr>
            <p:sp>
              <p:nvSpPr>
                <p:cNvPr id="1258" name="Forma livre: Forma 1257">
                  <a:extLst>
                    <a:ext uri="{FF2B5EF4-FFF2-40B4-BE49-F238E27FC236}">
                      <a16:creationId xmlns:a16="http://schemas.microsoft.com/office/drawing/2014/main" id="{5396DADD-BAC0-E12A-392A-AD97552E04A4}"/>
                    </a:ext>
                  </a:extLst>
                </p:cNvPr>
                <p:cNvSpPr/>
                <p:nvPr/>
              </p:nvSpPr>
              <p:spPr>
                <a:xfrm>
                  <a:off x="8296511" y="6034063"/>
                  <a:ext cx="4887" cy="103035"/>
                </a:xfrm>
                <a:custGeom>
                  <a:avLst/>
                  <a:gdLst>
                    <a:gd name="connsiteX0" fmla="*/ 0 w 4887"/>
                    <a:gd name="connsiteY0" fmla="*/ 0 h 103035"/>
                    <a:gd name="connsiteX1" fmla="*/ 0 w 4887"/>
                    <a:gd name="connsiteY1" fmla="*/ 103035 h 10303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887" h="103035">
                      <a:moveTo>
                        <a:pt x="0" y="0"/>
                      </a:moveTo>
                      <a:lnTo>
                        <a:pt x="0" y="103035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259" name="Forma livre: Forma 1258">
                  <a:extLst>
                    <a:ext uri="{FF2B5EF4-FFF2-40B4-BE49-F238E27FC236}">
                      <a16:creationId xmlns:a16="http://schemas.microsoft.com/office/drawing/2014/main" id="{874E123D-B4D0-31D0-FE12-F36214A046FA}"/>
                    </a:ext>
                  </a:extLst>
                </p:cNvPr>
                <p:cNvSpPr/>
                <p:nvPr/>
              </p:nvSpPr>
              <p:spPr>
                <a:xfrm>
                  <a:off x="8324811" y="6034063"/>
                  <a:ext cx="4887" cy="103035"/>
                </a:xfrm>
                <a:custGeom>
                  <a:avLst/>
                  <a:gdLst>
                    <a:gd name="connsiteX0" fmla="*/ 0 w 4887"/>
                    <a:gd name="connsiteY0" fmla="*/ 0 h 103035"/>
                    <a:gd name="connsiteX1" fmla="*/ 0 w 4887"/>
                    <a:gd name="connsiteY1" fmla="*/ 103035 h 10303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887" h="103035">
                      <a:moveTo>
                        <a:pt x="0" y="0"/>
                      </a:moveTo>
                      <a:lnTo>
                        <a:pt x="0" y="103035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1260" name="Gráfico 14">
                <a:extLst>
                  <a:ext uri="{FF2B5EF4-FFF2-40B4-BE49-F238E27FC236}">
                    <a16:creationId xmlns:a16="http://schemas.microsoft.com/office/drawing/2014/main" id="{D7E461DC-0F75-6263-E73B-819B2FB7FADF}"/>
                  </a:ext>
                </a:extLst>
              </p:cNvPr>
              <p:cNvGrpSpPr/>
              <p:nvPr/>
            </p:nvGrpSpPr>
            <p:grpSpPr>
              <a:xfrm>
                <a:off x="8259559" y="5990854"/>
                <a:ext cx="102204" cy="42524"/>
                <a:chOff x="8259559" y="5990854"/>
                <a:chExt cx="102204" cy="42524"/>
              </a:xfrm>
              <a:noFill/>
            </p:grpSpPr>
            <p:sp>
              <p:nvSpPr>
                <p:cNvPr id="1261" name="Forma livre: Forma 1260">
                  <a:extLst>
                    <a:ext uri="{FF2B5EF4-FFF2-40B4-BE49-F238E27FC236}">
                      <a16:creationId xmlns:a16="http://schemas.microsoft.com/office/drawing/2014/main" id="{8BB40A80-795B-00C1-5C52-842C72439CA6}"/>
                    </a:ext>
                  </a:extLst>
                </p:cNvPr>
                <p:cNvSpPr/>
                <p:nvPr/>
              </p:nvSpPr>
              <p:spPr>
                <a:xfrm>
                  <a:off x="8310734" y="5990854"/>
                  <a:ext cx="51028" cy="42524"/>
                </a:xfrm>
                <a:custGeom>
                  <a:avLst/>
                  <a:gdLst>
                    <a:gd name="connsiteX0" fmla="*/ 0 w 51028"/>
                    <a:gd name="connsiteY0" fmla="*/ 41986 h 42524"/>
                    <a:gd name="connsiteX1" fmla="*/ 29816 w 51028"/>
                    <a:gd name="connsiteY1" fmla="*/ 0 h 42524"/>
                    <a:gd name="connsiteX2" fmla="*/ 51029 w 51028"/>
                    <a:gd name="connsiteY2" fmla="*/ 21262 h 42524"/>
                    <a:gd name="connsiteX3" fmla="*/ 29816 w 51028"/>
                    <a:gd name="connsiteY3" fmla="*/ 42524 h 4252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51028" h="42524">
                      <a:moveTo>
                        <a:pt x="0" y="41986"/>
                      </a:moveTo>
                      <a:cubicBezTo>
                        <a:pt x="3861" y="15837"/>
                        <a:pt x="15006" y="0"/>
                        <a:pt x="29816" y="0"/>
                      </a:cubicBezTo>
                      <a:cubicBezTo>
                        <a:pt x="41547" y="0"/>
                        <a:pt x="51029" y="9531"/>
                        <a:pt x="51029" y="21262"/>
                      </a:cubicBezTo>
                      <a:cubicBezTo>
                        <a:pt x="51029" y="32993"/>
                        <a:pt x="41547" y="42524"/>
                        <a:pt x="29816" y="42524"/>
                      </a:cubicBez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262" name="Forma livre: Forma 1261">
                  <a:extLst>
                    <a:ext uri="{FF2B5EF4-FFF2-40B4-BE49-F238E27FC236}">
                      <a16:creationId xmlns:a16="http://schemas.microsoft.com/office/drawing/2014/main" id="{CF709A3C-25DA-8AF9-CB20-AECE05A4024C}"/>
                    </a:ext>
                  </a:extLst>
                </p:cNvPr>
                <p:cNvSpPr/>
                <p:nvPr/>
              </p:nvSpPr>
              <p:spPr>
                <a:xfrm>
                  <a:off x="8259559" y="5990854"/>
                  <a:ext cx="51028" cy="42524"/>
                </a:xfrm>
                <a:custGeom>
                  <a:avLst/>
                  <a:gdLst>
                    <a:gd name="connsiteX0" fmla="*/ 51029 w 51028"/>
                    <a:gd name="connsiteY0" fmla="*/ 41986 h 42524"/>
                    <a:gd name="connsiteX1" fmla="*/ 21213 w 51028"/>
                    <a:gd name="connsiteY1" fmla="*/ 0 h 42524"/>
                    <a:gd name="connsiteX2" fmla="*/ 0 w 51028"/>
                    <a:gd name="connsiteY2" fmla="*/ 21262 h 42524"/>
                    <a:gd name="connsiteX3" fmla="*/ 21213 w 51028"/>
                    <a:gd name="connsiteY3" fmla="*/ 42524 h 4252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51028" h="42524">
                      <a:moveTo>
                        <a:pt x="51029" y="41986"/>
                      </a:moveTo>
                      <a:cubicBezTo>
                        <a:pt x="47168" y="15837"/>
                        <a:pt x="36023" y="0"/>
                        <a:pt x="21213" y="0"/>
                      </a:cubicBezTo>
                      <a:cubicBezTo>
                        <a:pt x="9482" y="0"/>
                        <a:pt x="0" y="9531"/>
                        <a:pt x="0" y="21262"/>
                      </a:cubicBezTo>
                      <a:cubicBezTo>
                        <a:pt x="0" y="32993"/>
                        <a:pt x="9531" y="42524"/>
                        <a:pt x="21213" y="42524"/>
                      </a:cubicBez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sp>
          <p:nvSpPr>
            <p:cNvPr id="1263" name="Forma livre: Forma 1262">
              <a:extLst>
                <a:ext uri="{FF2B5EF4-FFF2-40B4-BE49-F238E27FC236}">
                  <a16:creationId xmlns:a16="http://schemas.microsoft.com/office/drawing/2014/main" id="{FBD8CF51-D58A-C5A5-15F1-63EF404CD14D}"/>
                </a:ext>
              </a:extLst>
            </p:cNvPr>
            <p:cNvSpPr/>
            <p:nvPr/>
          </p:nvSpPr>
          <p:spPr>
            <a:xfrm>
              <a:off x="8186926" y="5850623"/>
              <a:ext cx="86954" cy="57871"/>
            </a:xfrm>
            <a:custGeom>
              <a:avLst/>
              <a:gdLst>
                <a:gd name="connsiteX0" fmla="*/ 0 w 86954"/>
                <a:gd name="connsiteY0" fmla="*/ 57872 h 57871"/>
                <a:gd name="connsiteX1" fmla="*/ 0 w 86954"/>
                <a:gd name="connsiteY1" fmla="*/ 43697 h 57871"/>
                <a:gd name="connsiteX2" fmla="*/ 43502 w 86954"/>
                <a:gd name="connsiteY2" fmla="*/ 0 h 57871"/>
                <a:gd name="connsiteX3" fmla="*/ 86954 w 86954"/>
                <a:gd name="connsiteY3" fmla="*/ 43697 h 57871"/>
                <a:gd name="connsiteX4" fmla="*/ 86954 w 86954"/>
                <a:gd name="connsiteY4" fmla="*/ 57872 h 578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6954" h="57871">
                  <a:moveTo>
                    <a:pt x="0" y="57872"/>
                  </a:moveTo>
                  <a:lnTo>
                    <a:pt x="0" y="43697"/>
                  </a:lnTo>
                  <a:cubicBezTo>
                    <a:pt x="0" y="19649"/>
                    <a:pt x="19551" y="0"/>
                    <a:pt x="43502" y="0"/>
                  </a:cubicBezTo>
                  <a:cubicBezTo>
                    <a:pt x="67452" y="0"/>
                    <a:pt x="86954" y="19649"/>
                    <a:pt x="86954" y="43697"/>
                  </a:cubicBezTo>
                  <a:lnTo>
                    <a:pt x="86954" y="57872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64" name="Forma livre: Forma 1263">
              <a:extLst>
                <a:ext uri="{FF2B5EF4-FFF2-40B4-BE49-F238E27FC236}">
                  <a16:creationId xmlns:a16="http://schemas.microsoft.com/office/drawing/2014/main" id="{8203FBB2-3A00-2D88-928F-31B4E76738E7}"/>
                </a:ext>
              </a:extLst>
            </p:cNvPr>
            <p:cNvSpPr/>
            <p:nvPr/>
          </p:nvSpPr>
          <p:spPr>
            <a:xfrm>
              <a:off x="8115661" y="5929268"/>
              <a:ext cx="221467" cy="208270"/>
            </a:xfrm>
            <a:custGeom>
              <a:avLst/>
              <a:gdLst>
                <a:gd name="connsiteX0" fmla="*/ 112127 w 221467"/>
                <a:gd name="connsiteY0" fmla="*/ 208270 h 208270"/>
                <a:gd name="connsiteX1" fmla="*/ 0 w 221467"/>
                <a:gd name="connsiteY1" fmla="*/ 208270 h 208270"/>
                <a:gd name="connsiteX2" fmla="*/ 10069 w 221467"/>
                <a:gd name="connsiteY2" fmla="*/ 0 h 208270"/>
                <a:gd name="connsiteX3" fmla="*/ 219414 w 221467"/>
                <a:gd name="connsiteY3" fmla="*/ 0 h 208270"/>
                <a:gd name="connsiteX4" fmla="*/ 221467 w 221467"/>
                <a:gd name="connsiteY4" fmla="*/ 42720 h 2082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21467" h="208270">
                  <a:moveTo>
                    <a:pt x="112127" y="208270"/>
                  </a:moveTo>
                  <a:lnTo>
                    <a:pt x="0" y="208270"/>
                  </a:lnTo>
                  <a:lnTo>
                    <a:pt x="10069" y="0"/>
                  </a:lnTo>
                  <a:lnTo>
                    <a:pt x="219414" y="0"/>
                  </a:lnTo>
                  <a:lnTo>
                    <a:pt x="221467" y="4272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265" name="Gráfico 14">
            <a:extLst>
              <a:ext uri="{FF2B5EF4-FFF2-40B4-BE49-F238E27FC236}">
                <a16:creationId xmlns:a16="http://schemas.microsoft.com/office/drawing/2014/main" id="{714488D8-4F66-265F-4293-0CD6914F7B6D}"/>
              </a:ext>
            </a:extLst>
          </p:cNvPr>
          <p:cNvGrpSpPr/>
          <p:nvPr/>
        </p:nvGrpSpPr>
        <p:grpSpPr>
          <a:xfrm>
            <a:off x="9407318" y="5828485"/>
            <a:ext cx="224937" cy="327920"/>
            <a:chOff x="9407318" y="5828485"/>
            <a:chExt cx="224937" cy="327920"/>
          </a:xfrm>
          <a:noFill/>
        </p:grpSpPr>
        <p:grpSp>
          <p:nvGrpSpPr>
            <p:cNvPr id="1266" name="Gráfico 14">
              <a:extLst>
                <a:ext uri="{FF2B5EF4-FFF2-40B4-BE49-F238E27FC236}">
                  <a16:creationId xmlns:a16="http://schemas.microsoft.com/office/drawing/2014/main" id="{436AD93C-35D0-E25B-82FE-6709BA61DECB}"/>
                </a:ext>
              </a:extLst>
            </p:cNvPr>
            <p:cNvGrpSpPr/>
            <p:nvPr/>
          </p:nvGrpSpPr>
          <p:grpSpPr>
            <a:xfrm>
              <a:off x="9457125" y="5950335"/>
              <a:ext cx="125323" cy="136467"/>
              <a:chOff x="9457125" y="5950335"/>
              <a:chExt cx="125323" cy="136467"/>
            </a:xfrm>
            <a:noFill/>
          </p:grpSpPr>
          <p:sp>
            <p:nvSpPr>
              <p:cNvPr id="1267" name="Forma livre: Forma 1266">
                <a:extLst>
                  <a:ext uri="{FF2B5EF4-FFF2-40B4-BE49-F238E27FC236}">
                    <a16:creationId xmlns:a16="http://schemas.microsoft.com/office/drawing/2014/main" id="{ECED227D-B5C4-3A7A-2798-6B4626CA7029}"/>
                  </a:ext>
                </a:extLst>
              </p:cNvPr>
              <p:cNvSpPr/>
              <p:nvPr/>
            </p:nvSpPr>
            <p:spPr>
              <a:xfrm>
                <a:off x="9465532" y="6034307"/>
                <a:ext cx="108558" cy="52495"/>
              </a:xfrm>
              <a:custGeom>
                <a:avLst/>
                <a:gdLst>
                  <a:gd name="connsiteX0" fmla="*/ 0 w 108558"/>
                  <a:gd name="connsiteY0" fmla="*/ 0 h 52495"/>
                  <a:gd name="connsiteX1" fmla="*/ 0 w 108558"/>
                  <a:gd name="connsiteY1" fmla="*/ 52495 h 52495"/>
                  <a:gd name="connsiteX2" fmla="*/ 108559 w 108558"/>
                  <a:gd name="connsiteY2" fmla="*/ 52495 h 52495"/>
                  <a:gd name="connsiteX3" fmla="*/ 108559 w 108558"/>
                  <a:gd name="connsiteY3" fmla="*/ 0 h 52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08558" h="52495">
                    <a:moveTo>
                      <a:pt x="0" y="0"/>
                    </a:moveTo>
                    <a:lnTo>
                      <a:pt x="0" y="52495"/>
                    </a:lnTo>
                    <a:lnTo>
                      <a:pt x="108559" y="52495"/>
                    </a:lnTo>
                    <a:lnTo>
                      <a:pt x="108559" y="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68" name="Forma livre: Forma 1267">
                <a:extLst>
                  <a:ext uri="{FF2B5EF4-FFF2-40B4-BE49-F238E27FC236}">
                    <a16:creationId xmlns:a16="http://schemas.microsoft.com/office/drawing/2014/main" id="{3E4AD4EC-9F02-13D5-2367-4C37948401E0}"/>
                  </a:ext>
                </a:extLst>
              </p:cNvPr>
              <p:cNvSpPr/>
              <p:nvPr/>
            </p:nvSpPr>
            <p:spPr>
              <a:xfrm>
                <a:off x="9457125" y="5988264"/>
                <a:ext cx="125323" cy="26687"/>
              </a:xfrm>
              <a:custGeom>
                <a:avLst/>
                <a:gdLst>
                  <a:gd name="connsiteX0" fmla="*/ 76006 w 125323"/>
                  <a:gd name="connsiteY0" fmla="*/ 26688 h 26687"/>
                  <a:gd name="connsiteX1" fmla="*/ 125324 w 125323"/>
                  <a:gd name="connsiteY1" fmla="*/ 26688 h 26687"/>
                  <a:gd name="connsiteX2" fmla="*/ 125324 w 125323"/>
                  <a:gd name="connsiteY2" fmla="*/ 0 h 26687"/>
                  <a:gd name="connsiteX3" fmla="*/ 0 w 125323"/>
                  <a:gd name="connsiteY3" fmla="*/ 0 h 26687"/>
                  <a:gd name="connsiteX4" fmla="*/ 0 w 125323"/>
                  <a:gd name="connsiteY4" fmla="*/ 26688 h 26687"/>
                  <a:gd name="connsiteX5" fmla="*/ 49367 w 125323"/>
                  <a:gd name="connsiteY5" fmla="*/ 26688 h 266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25323" h="26687">
                    <a:moveTo>
                      <a:pt x="76006" y="26688"/>
                    </a:moveTo>
                    <a:lnTo>
                      <a:pt x="125324" y="26688"/>
                    </a:lnTo>
                    <a:lnTo>
                      <a:pt x="125324" y="0"/>
                    </a:lnTo>
                    <a:lnTo>
                      <a:pt x="0" y="0"/>
                    </a:lnTo>
                    <a:lnTo>
                      <a:pt x="0" y="26688"/>
                    </a:lnTo>
                    <a:lnTo>
                      <a:pt x="49367" y="26688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1269" name="Gráfico 14">
                <a:extLst>
                  <a:ext uri="{FF2B5EF4-FFF2-40B4-BE49-F238E27FC236}">
                    <a16:creationId xmlns:a16="http://schemas.microsoft.com/office/drawing/2014/main" id="{5207C901-44A4-3817-425F-F59EA83E15E1}"/>
                  </a:ext>
                </a:extLst>
              </p:cNvPr>
              <p:cNvGrpSpPr/>
              <p:nvPr/>
            </p:nvGrpSpPr>
            <p:grpSpPr>
              <a:xfrm>
                <a:off x="9506492" y="5988948"/>
                <a:ext cx="26638" cy="97463"/>
                <a:chOff x="9506492" y="5988948"/>
                <a:chExt cx="26638" cy="97463"/>
              </a:xfrm>
            </p:grpSpPr>
            <p:sp>
              <p:nvSpPr>
                <p:cNvPr id="1270" name="Forma livre: Forma 1269">
                  <a:extLst>
                    <a:ext uri="{FF2B5EF4-FFF2-40B4-BE49-F238E27FC236}">
                      <a16:creationId xmlns:a16="http://schemas.microsoft.com/office/drawing/2014/main" id="{C3771435-F4EE-86AB-0EB5-132D803BD59A}"/>
                    </a:ext>
                  </a:extLst>
                </p:cNvPr>
                <p:cNvSpPr/>
                <p:nvPr/>
              </p:nvSpPr>
              <p:spPr>
                <a:xfrm>
                  <a:off x="9506492" y="5988948"/>
                  <a:ext cx="4887" cy="97463"/>
                </a:xfrm>
                <a:custGeom>
                  <a:avLst/>
                  <a:gdLst>
                    <a:gd name="connsiteX0" fmla="*/ 0 w 4887"/>
                    <a:gd name="connsiteY0" fmla="*/ 0 h 97463"/>
                    <a:gd name="connsiteX1" fmla="*/ 0 w 4887"/>
                    <a:gd name="connsiteY1" fmla="*/ 97463 h 9746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887" h="97463">
                      <a:moveTo>
                        <a:pt x="0" y="0"/>
                      </a:moveTo>
                      <a:lnTo>
                        <a:pt x="0" y="97463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271" name="Forma livre: Forma 1270">
                  <a:extLst>
                    <a:ext uri="{FF2B5EF4-FFF2-40B4-BE49-F238E27FC236}">
                      <a16:creationId xmlns:a16="http://schemas.microsoft.com/office/drawing/2014/main" id="{0EC28788-09EA-2213-907D-83C58E75CAFC}"/>
                    </a:ext>
                  </a:extLst>
                </p:cNvPr>
                <p:cNvSpPr/>
                <p:nvPr/>
              </p:nvSpPr>
              <p:spPr>
                <a:xfrm>
                  <a:off x="9533130" y="5988948"/>
                  <a:ext cx="4887" cy="97463"/>
                </a:xfrm>
                <a:custGeom>
                  <a:avLst/>
                  <a:gdLst>
                    <a:gd name="connsiteX0" fmla="*/ 0 w 4887"/>
                    <a:gd name="connsiteY0" fmla="*/ 0 h 97463"/>
                    <a:gd name="connsiteX1" fmla="*/ 0 w 4887"/>
                    <a:gd name="connsiteY1" fmla="*/ 97463 h 9746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887" h="97463">
                      <a:moveTo>
                        <a:pt x="0" y="0"/>
                      </a:moveTo>
                      <a:lnTo>
                        <a:pt x="0" y="97463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1272" name="Gráfico 14">
                <a:extLst>
                  <a:ext uri="{FF2B5EF4-FFF2-40B4-BE49-F238E27FC236}">
                    <a16:creationId xmlns:a16="http://schemas.microsoft.com/office/drawing/2014/main" id="{619CE3ED-67C9-0AF2-D834-8C45332810D0}"/>
                  </a:ext>
                </a:extLst>
              </p:cNvPr>
              <p:cNvGrpSpPr/>
              <p:nvPr/>
            </p:nvGrpSpPr>
            <p:grpSpPr>
              <a:xfrm>
                <a:off x="9474183" y="5950335"/>
                <a:ext cx="91255" cy="37929"/>
                <a:chOff x="9474183" y="5950335"/>
                <a:chExt cx="91255" cy="37929"/>
              </a:xfrm>
              <a:noFill/>
            </p:grpSpPr>
            <p:sp>
              <p:nvSpPr>
                <p:cNvPr id="1273" name="Forma livre: Forma 1272">
                  <a:extLst>
                    <a:ext uri="{FF2B5EF4-FFF2-40B4-BE49-F238E27FC236}">
                      <a16:creationId xmlns:a16="http://schemas.microsoft.com/office/drawing/2014/main" id="{64F5BEDE-5D97-7213-B093-B6CB92E3AD98}"/>
                    </a:ext>
                  </a:extLst>
                </p:cNvPr>
                <p:cNvSpPr/>
                <p:nvPr/>
              </p:nvSpPr>
              <p:spPr>
                <a:xfrm>
                  <a:off x="9519884" y="5950335"/>
                  <a:ext cx="45554" cy="37929"/>
                </a:xfrm>
                <a:custGeom>
                  <a:avLst/>
                  <a:gdLst>
                    <a:gd name="connsiteX0" fmla="*/ 0 w 45554"/>
                    <a:gd name="connsiteY0" fmla="*/ 37490 h 37929"/>
                    <a:gd name="connsiteX1" fmla="*/ 26590 w 45554"/>
                    <a:gd name="connsiteY1" fmla="*/ 0 h 37929"/>
                    <a:gd name="connsiteX2" fmla="*/ 45555 w 45554"/>
                    <a:gd name="connsiteY2" fmla="*/ 18965 h 37929"/>
                    <a:gd name="connsiteX3" fmla="*/ 26590 w 45554"/>
                    <a:gd name="connsiteY3" fmla="*/ 37929 h 3792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5554" h="37929">
                      <a:moveTo>
                        <a:pt x="0" y="37490"/>
                      </a:moveTo>
                      <a:cubicBezTo>
                        <a:pt x="3470" y="14126"/>
                        <a:pt x="13393" y="0"/>
                        <a:pt x="26590" y="0"/>
                      </a:cubicBezTo>
                      <a:cubicBezTo>
                        <a:pt x="37050" y="0"/>
                        <a:pt x="45555" y="8505"/>
                        <a:pt x="45555" y="18965"/>
                      </a:cubicBezTo>
                      <a:cubicBezTo>
                        <a:pt x="45555" y="29425"/>
                        <a:pt x="37099" y="37929"/>
                        <a:pt x="26590" y="37929"/>
                      </a:cubicBez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274" name="Forma livre: Forma 1273">
                  <a:extLst>
                    <a:ext uri="{FF2B5EF4-FFF2-40B4-BE49-F238E27FC236}">
                      <a16:creationId xmlns:a16="http://schemas.microsoft.com/office/drawing/2014/main" id="{BE19B2C9-D40F-6A01-9B92-F9AFBDB4F816}"/>
                    </a:ext>
                  </a:extLst>
                </p:cNvPr>
                <p:cNvSpPr/>
                <p:nvPr/>
              </p:nvSpPr>
              <p:spPr>
                <a:xfrm>
                  <a:off x="9474183" y="5950335"/>
                  <a:ext cx="45554" cy="37929"/>
                </a:xfrm>
                <a:custGeom>
                  <a:avLst/>
                  <a:gdLst>
                    <a:gd name="connsiteX0" fmla="*/ 45555 w 45554"/>
                    <a:gd name="connsiteY0" fmla="*/ 37490 h 37929"/>
                    <a:gd name="connsiteX1" fmla="*/ 18965 w 45554"/>
                    <a:gd name="connsiteY1" fmla="*/ 0 h 37929"/>
                    <a:gd name="connsiteX2" fmla="*/ 0 w 45554"/>
                    <a:gd name="connsiteY2" fmla="*/ 18965 h 37929"/>
                    <a:gd name="connsiteX3" fmla="*/ 18965 w 45554"/>
                    <a:gd name="connsiteY3" fmla="*/ 37929 h 3792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5554" h="37929">
                      <a:moveTo>
                        <a:pt x="45555" y="37490"/>
                      </a:moveTo>
                      <a:cubicBezTo>
                        <a:pt x="42133" y="14126"/>
                        <a:pt x="32162" y="0"/>
                        <a:pt x="18965" y="0"/>
                      </a:cubicBezTo>
                      <a:cubicBezTo>
                        <a:pt x="8505" y="0"/>
                        <a:pt x="0" y="8505"/>
                        <a:pt x="0" y="18965"/>
                      </a:cubicBezTo>
                      <a:cubicBezTo>
                        <a:pt x="0" y="29425"/>
                        <a:pt x="8456" y="37929"/>
                        <a:pt x="18965" y="37929"/>
                      </a:cubicBez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sp>
          <p:nvSpPr>
            <p:cNvPr id="1275" name="Forma livre: Forma 1274">
              <a:extLst>
                <a:ext uri="{FF2B5EF4-FFF2-40B4-BE49-F238E27FC236}">
                  <a16:creationId xmlns:a16="http://schemas.microsoft.com/office/drawing/2014/main" id="{F894C57D-35E2-3B24-BCE0-7BBA1864E4BF}"/>
                </a:ext>
              </a:extLst>
            </p:cNvPr>
            <p:cNvSpPr/>
            <p:nvPr/>
          </p:nvSpPr>
          <p:spPr>
            <a:xfrm>
              <a:off x="9407318" y="5828485"/>
              <a:ext cx="224937" cy="327920"/>
            </a:xfrm>
            <a:custGeom>
              <a:avLst/>
              <a:gdLst>
                <a:gd name="connsiteX0" fmla="*/ 172882 w 224937"/>
                <a:gd name="connsiteY0" fmla="*/ 30691 h 327920"/>
                <a:gd name="connsiteX1" fmla="*/ 172882 w 224937"/>
                <a:gd name="connsiteY1" fmla="*/ 15148 h 327920"/>
                <a:gd name="connsiteX2" fmla="*/ 155091 w 224937"/>
                <a:gd name="connsiteY2" fmla="*/ 680 h 327920"/>
                <a:gd name="connsiteX3" fmla="*/ 0 w 224937"/>
                <a:gd name="connsiteY3" fmla="*/ 53713 h 327920"/>
                <a:gd name="connsiteX4" fmla="*/ 0 w 224937"/>
                <a:gd name="connsiteY4" fmla="*/ 327920 h 327920"/>
                <a:gd name="connsiteX5" fmla="*/ 209883 w 224937"/>
                <a:gd name="connsiteY5" fmla="*/ 327920 h 327920"/>
                <a:gd name="connsiteX6" fmla="*/ 224938 w 224937"/>
                <a:gd name="connsiteY6" fmla="*/ 312866 h 327920"/>
                <a:gd name="connsiteX7" fmla="*/ 224938 w 224937"/>
                <a:gd name="connsiteY7" fmla="*/ 68817 h 327920"/>
                <a:gd name="connsiteX8" fmla="*/ 209883 w 224937"/>
                <a:gd name="connsiteY8" fmla="*/ 53762 h 327920"/>
                <a:gd name="connsiteX9" fmla="*/ 293 w 224937"/>
                <a:gd name="connsiteY9" fmla="*/ 53762 h 3279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24937" h="327920">
                  <a:moveTo>
                    <a:pt x="172882" y="30691"/>
                  </a:moveTo>
                  <a:lnTo>
                    <a:pt x="172882" y="15148"/>
                  </a:lnTo>
                  <a:cubicBezTo>
                    <a:pt x="172882" y="4102"/>
                    <a:pt x="164280" y="-2155"/>
                    <a:pt x="155091" y="680"/>
                  </a:cubicBezTo>
                  <a:lnTo>
                    <a:pt x="0" y="53713"/>
                  </a:lnTo>
                  <a:lnTo>
                    <a:pt x="0" y="327920"/>
                  </a:lnTo>
                  <a:lnTo>
                    <a:pt x="209883" y="327920"/>
                  </a:lnTo>
                  <a:cubicBezTo>
                    <a:pt x="218193" y="327920"/>
                    <a:pt x="224938" y="321126"/>
                    <a:pt x="224938" y="312866"/>
                  </a:cubicBezTo>
                  <a:lnTo>
                    <a:pt x="224938" y="68817"/>
                  </a:lnTo>
                  <a:cubicBezTo>
                    <a:pt x="224938" y="60507"/>
                    <a:pt x="218144" y="53762"/>
                    <a:pt x="209883" y="53762"/>
                  </a:cubicBezTo>
                  <a:lnTo>
                    <a:pt x="293" y="53762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276" name="Gráfico 14">
            <a:extLst>
              <a:ext uri="{FF2B5EF4-FFF2-40B4-BE49-F238E27FC236}">
                <a16:creationId xmlns:a16="http://schemas.microsoft.com/office/drawing/2014/main" id="{06522F89-4F2E-7CE3-13B1-DE5CF213B1F8}"/>
              </a:ext>
            </a:extLst>
          </p:cNvPr>
          <p:cNvGrpSpPr/>
          <p:nvPr/>
        </p:nvGrpSpPr>
        <p:grpSpPr>
          <a:xfrm>
            <a:off x="8719796" y="5813524"/>
            <a:ext cx="328461" cy="346449"/>
            <a:chOff x="8719796" y="5813524"/>
            <a:chExt cx="328461" cy="346449"/>
          </a:xfrm>
          <a:noFill/>
        </p:grpSpPr>
        <p:grpSp>
          <p:nvGrpSpPr>
            <p:cNvPr id="1277" name="Gráfico 14">
              <a:extLst>
                <a:ext uri="{FF2B5EF4-FFF2-40B4-BE49-F238E27FC236}">
                  <a16:creationId xmlns:a16="http://schemas.microsoft.com/office/drawing/2014/main" id="{7938A342-22CB-47FF-D678-78E5C0BFB02C}"/>
                </a:ext>
              </a:extLst>
            </p:cNvPr>
            <p:cNvGrpSpPr/>
            <p:nvPr/>
          </p:nvGrpSpPr>
          <p:grpSpPr>
            <a:xfrm>
              <a:off x="8768870" y="5909277"/>
              <a:ext cx="230314" cy="250696"/>
              <a:chOff x="8768870" y="5909277"/>
              <a:chExt cx="230314" cy="250696"/>
            </a:xfrm>
            <a:noFill/>
          </p:grpSpPr>
          <p:sp>
            <p:nvSpPr>
              <p:cNvPr id="1278" name="Forma livre: Forma 1277">
                <a:extLst>
                  <a:ext uri="{FF2B5EF4-FFF2-40B4-BE49-F238E27FC236}">
                    <a16:creationId xmlns:a16="http://schemas.microsoft.com/office/drawing/2014/main" id="{D95F9A86-793A-2C11-A8C3-40289A4259B6}"/>
                  </a:ext>
                </a:extLst>
              </p:cNvPr>
              <p:cNvSpPr/>
              <p:nvPr/>
            </p:nvSpPr>
            <p:spPr>
              <a:xfrm>
                <a:off x="8859930" y="5909277"/>
                <a:ext cx="48193" cy="79818"/>
              </a:xfrm>
              <a:custGeom>
                <a:avLst/>
                <a:gdLst>
                  <a:gd name="connsiteX0" fmla="*/ 21164 w 48193"/>
                  <a:gd name="connsiteY0" fmla="*/ 79818 h 79818"/>
                  <a:gd name="connsiteX1" fmla="*/ 0 w 48193"/>
                  <a:gd name="connsiteY1" fmla="*/ 24097 h 79818"/>
                  <a:gd name="connsiteX2" fmla="*/ 24097 w 48193"/>
                  <a:gd name="connsiteY2" fmla="*/ 0 h 79818"/>
                  <a:gd name="connsiteX3" fmla="*/ 48194 w 48193"/>
                  <a:gd name="connsiteY3" fmla="*/ 24097 h 79818"/>
                  <a:gd name="connsiteX4" fmla="*/ 27127 w 48193"/>
                  <a:gd name="connsiteY4" fmla="*/ 79623 h 798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8193" h="79818">
                    <a:moveTo>
                      <a:pt x="21164" y="79818"/>
                    </a:moveTo>
                    <a:cubicBezTo>
                      <a:pt x="14712" y="66377"/>
                      <a:pt x="0" y="34508"/>
                      <a:pt x="0" y="24097"/>
                    </a:cubicBezTo>
                    <a:cubicBezTo>
                      <a:pt x="0" y="10802"/>
                      <a:pt x="10802" y="0"/>
                      <a:pt x="24097" y="0"/>
                    </a:cubicBezTo>
                    <a:cubicBezTo>
                      <a:pt x="37392" y="0"/>
                      <a:pt x="48194" y="10802"/>
                      <a:pt x="48194" y="24097"/>
                    </a:cubicBezTo>
                    <a:cubicBezTo>
                      <a:pt x="48194" y="34459"/>
                      <a:pt x="33628" y="66083"/>
                      <a:pt x="27127" y="79623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1279" name="Gráfico 14">
                <a:extLst>
                  <a:ext uri="{FF2B5EF4-FFF2-40B4-BE49-F238E27FC236}">
                    <a16:creationId xmlns:a16="http://schemas.microsoft.com/office/drawing/2014/main" id="{8D0C3FD0-7C9E-24CF-4CA3-D40B6E7B1258}"/>
                  </a:ext>
                </a:extLst>
              </p:cNvPr>
              <p:cNvGrpSpPr/>
              <p:nvPr/>
            </p:nvGrpSpPr>
            <p:grpSpPr>
              <a:xfrm>
                <a:off x="8802946" y="5940246"/>
                <a:ext cx="162140" cy="50401"/>
                <a:chOff x="8802946" y="5940246"/>
                <a:chExt cx="162140" cy="50401"/>
              </a:xfrm>
              <a:noFill/>
            </p:grpSpPr>
            <p:sp>
              <p:nvSpPr>
                <p:cNvPr id="1280" name="Forma livre: Forma 1279">
                  <a:extLst>
                    <a:ext uri="{FF2B5EF4-FFF2-40B4-BE49-F238E27FC236}">
                      <a16:creationId xmlns:a16="http://schemas.microsoft.com/office/drawing/2014/main" id="{B16500EF-58D5-34F2-90F9-9629624C63AC}"/>
                    </a:ext>
                  </a:extLst>
                </p:cNvPr>
                <p:cNvSpPr/>
                <p:nvPr/>
              </p:nvSpPr>
              <p:spPr>
                <a:xfrm>
                  <a:off x="8802946" y="5940246"/>
                  <a:ext cx="80103" cy="50401"/>
                </a:xfrm>
                <a:custGeom>
                  <a:avLst/>
                  <a:gdLst>
                    <a:gd name="connsiteX0" fmla="*/ 34304 w 80103"/>
                    <a:gd name="connsiteY0" fmla="*/ 2268 h 50401"/>
                    <a:gd name="connsiteX1" fmla="*/ 80103 w 80103"/>
                    <a:gd name="connsiteY1" fmla="*/ 50266 h 50401"/>
                    <a:gd name="connsiteX2" fmla="*/ 13922 w 80103"/>
                    <a:gd name="connsiteY2" fmla="*/ 45965 h 50401"/>
                    <a:gd name="connsiteX3" fmla="*/ 2289 w 80103"/>
                    <a:gd name="connsiteY3" fmla="*/ 13901 h 50401"/>
                    <a:gd name="connsiteX4" fmla="*/ 34353 w 80103"/>
                    <a:gd name="connsiteY4" fmla="*/ 2268 h 5040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80103" h="50401">
                      <a:moveTo>
                        <a:pt x="34304" y="2268"/>
                      </a:moveTo>
                      <a:cubicBezTo>
                        <a:pt x="46377" y="7889"/>
                        <a:pt x="80103" y="50266"/>
                        <a:pt x="80103" y="50266"/>
                      </a:cubicBezTo>
                      <a:cubicBezTo>
                        <a:pt x="80103" y="50266"/>
                        <a:pt x="25995" y="51586"/>
                        <a:pt x="13922" y="45965"/>
                      </a:cubicBezTo>
                      <a:cubicBezTo>
                        <a:pt x="1849" y="40344"/>
                        <a:pt x="-3381" y="25974"/>
                        <a:pt x="2289" y="13901"/>
                      </a:cubicBezTo>
                      <a:cubicBezTo>
                        <a:pt x="7910" y="1828"/>
                        <a:pt x="22280" y="-3353"/>
                        <a:pt x="34353" y="2268"/>
                      </a:cubicBezTo>
                      <a:close/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281" name="Forma livre: Forma 1280">
                  <a:extLst>
                    <a:ext uri="{FF2B5EF4-FFF2-40B4-BE49-F238E27FC236}">
                      <a16:creationId xmlns:a16="http://schemas.microsoft.com/office/drawing/2014/main" id="{A598EAF5-76A5-BE7B-131A-BC659081F5CF}"/>
                    </a:ext>
                  </a:extLst>
                </p:cNvPr>
                <p:cNvSpPr/>
                <p:nvPr/>
              </p:nvSpPr>
              <p:spPr>
                <a:xfrm>
                  <a:off x="8885005" y="5940246"/>
                  <a:ext cx="80082" cy="50401"/>
                </a:xfrm>
                <a:custGeom>
                  <a:avLst/>
                  <a:gdLst>
                    <a:gd name="connsiteX0" fmla="*/ 45799 w 80082"/>
                    <a:gd name="connsiteY0" fmla="*/ 2268 h 50401"/>
                    <a:gd name="connsiteX1" fmla="*/ 0 w 80082"/>
                    <a:gd name="connsiteY1" fmla="*/ 50266 h 50401"/>
                    <a:gd name="connsiteX2" fmla="*/ 66181 w 80082"/>
                    <a:gd name="connsiteY2" fmla="*/ 45965 h 50401"/>
                    <a:gd name="connsiteX3" fmla="*/ 77814 w 80082"/>
                    <a:gd name="connsiteY3" fmla="*/ 13901 h 50401"/>
                    <a:gd name="connsiteX4" fmla="*/ 45799 w 80082"/>
                    <a:gd name="connsiteY4" fmla="*/ 2268 h 5040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80082" h="50401">
                      <a:moveTo>
                        <a:pt x="45799" y="2268"/>
                      </a:moveTo>
                      <a:cubicBezTo>
                        <a:pt x="33726" y="7889"/>
                        <a:pt x="0" y="50266"/>
                        <a:pt x="0" y="50266"/>
                      </a:cubicBezTo>
                      <a:cubicBezTo>
                        <a:pt x="0" y="50266"/>
                        <a:pt x="54108" y="51586"/>
                        <a:pt x="66181" y="45965"/>
                      </a:cubicBezTo>
                      <a:cubicBezTo>
                        <a:pt x="78254" y="40344"/>
                        <a:pt x="83435" y="25974"/>
                        <a:pt x="77814" y="13901"/>
                      </a:cubicBezTo>
                      <a:cubicBezTo>
                        <a:pt x="72193" y="1828"/>
                        <a:pt x="57823" y="-3353"/>
                        <a:pt x="45799" y="2268"/>
                      </a:cubicBezTo>
                      <a:close/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1282" name="Forma livre: Forma 1281">
                <a:extLst>
                  <a:ext uri="{FF2B5EF4-FFF2-40B4-BE49-F238E27FC236}">
                    <a16:creationId xmlns:a16="http://schemas.microsoft.com/office/drawing/2014/main" id="{1234C388-0475-29C6-FA35-877DB9C82CCA}"/>
                  </a:ext>
                </a:extLst>
              </p:cNvPr>
              <p:cNvSpPr/>
              <p:nvPr/>
            </p:nvSpPr>
            <p:spPr>
              <a:xfrm>
                <a:off x="8784267" y="6060164"/>
                <a:ext cx="199521" cy="99809"/>
              </a:xfrm>
              <a:custGeom>
                <a:avLst/>
                <a:gdLst>
                  <a:gd name="connsiteX0" fmla="*/ 0 w 199521"/>
                  <a:gd name="connsiteY0" fmla="*/ 0 h 99809"/>
                  <a:gd name="connsiteX1" fmla="*/ 0 w 199521"/>
                  <a:gd name="connsiteY1" fmla="*/ 99809 h 99809"/>
                  <a:gd name="connsiteX2" fmla="*/ 199521 w 199521"/>
                  <a:gd name="connsiteY2" fmla="*/ 99809 h 99809"/>
                  <a:gd name="connsiteX3" fmla="*/ 199521 w 199521"/>
                  <a:gd name="connsiteY3" fmla="*/ 0 h 998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99521" h="99809">
                    <a:moveTo>
                      <a:pt x="0" y="0"/>
                    </a:moveTo>
                    <a:lnTo>
                      <a:pt x="0" y="99809"/>
                    </a:lnTo>
                    <a:lnTo>
                      <a:pt x="199521" y="99809"/>
                    </a:lnTo>
                    <a:lnTo>
                      <a:pt x="199521" y="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83" name="Forma livre: Forma 1282">
                <a:extLst>
                  <a:ext uri="{FF2B5EF4-FFF2-40B4-BE49-F238E27FC236}">
                    <a16:creationId xmlns:a16="http://schemas.microsoft.com/office/drawing/2014/main" id="{98F7C33F-E903-EF4F-1C9D-CBBD5FBF21DF}"/>
                  </a:ext>
                </a:extLst>
              </p:cNvPr>
              <p:cNvSpPr/>
              <p:nvPr/>
            </p:nvSpPr>
            <p:spPr>
              <a:xfrm>
                <a:off x="8768870" y="5990512"/>
                <a:ext cx="230314" cy="49073"/>
              </a:xfrm>
              <a:custGeom>
                <a:avLst/>
                <a:gdLst>
                  <a:gd name="connsiteX0" fmla="*/ 132851 w 230314"/>
                  <a:gd name="connsiteY0" fmla="*/ 49074 h 49073"/>
                  <a:gd name="connsiteX1" fmla="*/ 230314 w 230314"/>
                  <a:gd name="connsiteY1" fmla="*/ 49074 h 49073"/>
                  <a:gd name="connsiteX2" fmla="*/ 230314 w 230314"/>
                  <a:gd name="connsiteY2" fmla="*/ 0 h 49073"/>
                  <a:gd name="connsiteX3" fmla="*/ 0 w 230314"/>
                  <a:gd name="connsiteY3" fmla="*/ 0 h 49073"/>
                  <a:gd name="connsiteX4" fmla="*/ 0 w 230314"/>
                  <a:gd name="connsiteY4" fmla="*/ 49074 h 49073"/>
                  <a:gd name="connsiteX5" fmla="*/ 97414 w 230314"/>
                  <a:gd name="connsiteY5" fmla="*/ 49074 h 490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30314" h="49073">
                    <a:moveTo>
                      <a:pt x="132851" y="49074"/>
                    </a:moveTo>
                    <a:lnTo>
                      <a:pt x="230314" y="49074"/>
                    </a:lnTo>
                    <a:lnTo>
                      <a:pt x="230314" y="0"/>
                    </a:lnTo>
                    <a:lnTo>
                      <a:pt x="0" y="0"/>
                    </a:lnTo>
                    <a:lnTo>
                      <a:pt x="0" y="49074"/>
                    </a:lnTo>
                    <a:lnTo>
                      <a:pt x="97414" y="49074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1284" name="Gráfico 14">
                <a:extLst>
                  <a:ext uri="{FF2B5EF4-FFF2-40B4-BE49-F238E27FC236}">
                    <a16:creationId xmlns:a16="http://schemas.microsoft.com/office/drawing/2014/main" id="{8D666D54-67A7-19E1-86C7-CF4A1CE9D953}"/>
                  </a:ext>
                </a:extLst>
              </p:cNvPr>
              <p:cNvGrpSpPr/>
              <p:nvPr/>
            </p:nvGrpSpPr>
            <p:grpSpPr>
              <a:xfrm>
                <a:off x="8867018" y="5991734"/>
                <a:ext cx="34019" cy="167554"/>
                <a:chOff x="8867018" y="5991734"/>
                <a:chExt cx="34019" cy="167554"/>
              </a:xfrm>
            </p:grpSpPr>
            <p:sp>
              <p:nvSpPr>
                <p:cNvPr id="1285" name="Forma livre: Forma 1284">
                  <a:extLst>
                    <a:ext uri="{FF2B5EF4-FFF2-40B4-BE49-F238E27FC236}">
                      <a16:creationId xmlns:a16="http://schemas.microsoft.com/office/drawing/2014/main" id="{75EB2345-2058-73FE-DC86-7A6EB7C9B3A7}"/>
                    </a:ext>
                  </a:extLst>
                </p:cNvPr>
                <p:cNvSpPr/>
                <p:nvPr/>
              </p:nvSpPr>
              <p:spPr>
                <a:xfrm>
                  <a:off x="8867018" y="5991734"/>
                  <a:ext cx="4887" cy="167554"/>
                </a:xfrm>
                <a:custGeom>
                  <a:avLst/>
                  <a:gdLst>
                    <a:gd name="connsiteX0" fmla="*/ 0 w 4887"/>
                    <a:gd name="connsiteY0" fmla="*/ 0 h 167554"/>
                    <a:gd name="connsiteX1" fmla="*/ 0 w 4887"/>
                    <a:gd name="connsiteY1" fmla="*/ 167555 h 16755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887" h="167554">
                      <a:moveTo>
                        <a:pt x="0" y="0"/>
                      </a:moveTo>
                      <a:lnTo>
                        <a:pt x="0" y="167555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286" name="Forma livre: Forma 1285">
                  <a:extLst>
                    <a:ext uri="{FF2B5EF4-FFF2-40B4-BE49-F238E27FC236}">
                      <a16:creationId xmlns:a16="http://schemas.microsoft.com/office/drawing/2014/main" id="{92D90F74-364F-9AEA-A850-6295123726CE}"/>
                    </a:ext>
                  </a:extLst>
                </p:cNvPr>
                <p:cNvSpPr/>
                <p:nvPr/>
              </p:nvSpPr>
              <p:spPr>
                <a:xfrm>
                  <a:off x="8901037" y="5991734"/>
                  <a:ext cx="4887" cy="167554"/>
                </a:xfrm>
                <a:custGeom>
                  <a:avLst/>
                  <a:gdLst>
                    <a:gd name="connsiteX0" fmla="*/ 0 w 4887"/>
                    <a:gd name="connsiteY0" fmla="*/ 0 h 167554"/>
                    <a:gd name="connsiteX1" fmla="*/ 0 w 4887"/>
                    <a:gd name="connsiteY1" fmla="*/ 167555 h 16755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887" h="167554">
                      <a:moveTo>
                        <a:pt x="0" y="0"/>
                      </a:moveTo>
                      <a:lnTo>
                        <a:pt x="0" y="167555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grpSp>
          <p:nvGrpSpPr>
            <p:cNvPr id="1287" name="Gráfico 14">
              <a:extLst>
                <a:ext uri="{FF2B5EF4-FFF2-40B4-BE49-F238E27FC236}">
                  <a16:creationId xmlns:a16="http://schemas.microsoft.com/office/drawing/2014/main" id="{3711AD27-16E6-613A-7388-BE62C0E97795}"/>
                </a:ext>
              </a:extLst>
            </p:cNvPr>
            <p:cNvGrpSpPr/>
            <p:nvPr/>
          </p:nvGrpSpPr>
          <p:grpSpPr>
            <a:xfrm>
              <a:off x="8852989" y="5813524"/>
              <a:ext cx="62075" cy="62026"/>
              <a:chOff x="8852989" y="5813524"/>
              <a:chExt cx="62075" cy="62026"/>
            </a:xfrm>
          </p:grpSpPr>
          <p:sp>
            <p:nvSpPr>
              <p:cNvPr id="1288" name="Forma livre: Forma 1287">
                <a:extLst>
                  <a:ext uri="{FF2B5EF4-FFF2-40B4-BE49-F238E27FC236}">
                    <a16:creationId xmlns:a16="http://schemas.microsoft.com/office/drawing/2014/main" id="{D5AF1A2B-016B-6136-4523-202DFF39DAEE}"/>
                  </a:ext>
                </a:extLst>
              </p:cNvPr>
              <p:cNvSpPr/>
              <p:nvPr/>
            </p:nvSpPr>
            <p:spPr>
              <a:xfrm>
                <a:off x="8884027" y="5813524"/>
                <a:ext cx="4887" cy="19746"/>
              </a:xfrm>
              <a:custGeom>
                <a:avLst/>
                <a:gdLst>
                  <a:gd name="connsiteX0" fmla="*/ 0 w 4887"/>
                  <a:gd name="connsiteY0" fmla="*/ 0 h 19746"/>
                  <a:gd name="connsiteX1" fmla="*/ 0 w 4887"/>
                  <a:gd name="connsiteY1" fmla="*/ 19747 h 197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887" h="19746">
                    <a:moveTo>
                      <a:pt x="0" y="0"/>
                    </a:moveTo>
                    <a:lnTo>
                      <a:pt x="0" y="19747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89" name="Forma livre: Forma 1288">
                <a:extLst>
                  <a:ext uri="{FF2B5EF4-FFF2-40B4-BE49-F238E27FC236}">
                    <a16:creationId xmlns:a16="http://schemas.microsoft.com/office/drawing/2014/main" id="{3E1B00CE-752E-28AF-B378-BBFA3AA1F7A8}"/>
                  </a:ext>
                </a:extLst>
              </p:cNvPr>
              <p:cNvSpPr/>
              <p:nvPr/>
            </p:nvSpPr>
            <p:spPr>
              <a:xfrm>
                <a:off x="8884027" y="5855804"/>
                <a:ext cx="4887" cy="19746"/>
              </a:xfrm>
              <a:custGeom>
                <a:avLst/>
                <a:gdLst>
                  <a:gd name="connsiteX0" fmla="*/ 0 w 4887"/>
                  <a:gd name="connsiteY0" fmla="*/ 0 h 19746"/>
                  <a:gd name="connsiteX1" fmla="*/ 0 w 4887"/>
                  <a:gd name="connsiteY1" fmla="*/ 19747 h 197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887" h="19746">
                    <a:moveTo>
                      <a:pt x="0" y="0"/>
                    </a:moveTo>
                    <a:lnTo>
                      <a:pt x="0" y="19747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90" name="Forma livre: Forma 1289">
                <a:extLst>
                  <a:ext uri="{FF2B5EF4-FFF2-40B4-BE49-F238E27FC236}">
                    <a16:creationId xmlns:a16="http://schemas.microsoft.com/office/drawing/2014/main" id="{BB381736-8F5E-CB2A-B143-34B192F1197D}"/>
                  </a:ext>
                </a:extLst>
              </p:cNvPr>
              <p:cNvSpPr/>
              <p:nvPr/>
            </p:nvSpPr>
            <p:spPr>
              <a:xfrm>
                <a:off x="8895318" y="5844513"/>
                <a:ext cx="19746" cy="4887"/>
              </a:xfrm>
              <a:custGeom>
                <a:avLst/>
                <a:gdLst>
                  <a:gd name="connsiteX0" fmla="*/ 19747 w 19746"/>
                  <a:gd name="connsiteY0" fmla="*/ 0 h 4887"/>
                  <a:gd name="connsiteX1" fmla="*/ 0 w 19746"/>
                  <a:gd name="connsiteY1" fmla="*/ 0 h 48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9746" h="4887">
                    <a:moveTo>
                      <a:pt x="19747" y="0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91" name="Forma livre: Forma 1290">
                <a:extLst>
                  <a:ext uri="{FF2B5EF4-FFF2-40B4-BE49-F238E27FC236}">
                    <a16:creationId xmlns:a16="http://schemas.microsoft.com/office/drawing/2014/main" id="{B67F7394-BD76-C862-EC93-0CF3CA697F16}"/>
                  </a:ext>
                </a:extLst>
              </p:cNvPr>
              <p:cNvSpPr/>
              <p:nvPr/>
            </p:nvSpPr>
            <p:spPr>
              <a:xfrm>
                <a:off x="8852989" y="5844513"/>
                <a:ext cx="19795" cy="4887"/>
              </a:xfrm>
              <a:custGeom>
                <a:avLst/>
                <a:gdLst>
                  <a:gd name="connsiteX0" fmla="*/ 19796 w 19795"/>
                  <a:gd name="connsiteY0" fmla="*/ 0 h 4887"/>
                  <a:gd name="connsiteX1" fmla="*/ 0 w 19795"/>
                  <a:gd name="connsiteY1" fmla="*/ 0 h 48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9795" h="4887">
                    <a:moveTo>
                      <a:pt x="19796" y="0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292" name="Gráfico 14">
              <a:extLst>
                <a:ext uri="{FF2B5EF4-FFF2-40B4-BE49-F238E27FC236}">
                  <a16:creationId xmlns:a16="http://schemas.microsoft.com/office/drawing/2014/main" id="{D5619F0D-2E2B-6104-A293-21382E4D9096}"/>
                </a:ext>
              </a:extLst>
            </p:cNvPr>
            <p:cNvGrpSpPr/>
            <p:nvPr/>
          </p:nvGrpSpPr>
          <p:grpSpPr>
            <a:xfrm>
              <a:off x="8719796" y="5896617"/>
              <a:ext cx="328461" cy="62026"/>
              <a:chOff x="8719796" y="5896617"/>
              <a:chExt cx="328461" cy="62026"/>
            </a:xfrm>
          </p:grpSpPr>
          <p:grpSp>
            <p:nvGrpSpPr>
              <p:cNvPr id="1293" name="Gráfico 14">
                <a:extLst>
                  <a:ext uri="{FF2B5EF4-FFF2-40B4-BE49-F238E27FC236}">
                    <a16:creationId xmlns:a16="http://schemas.microsoft.com/office/drawing/2014/main" id="{654AA0AC-348E-894F-81B4-2E36BF5E4827}"/>
                  </a:ext>
                </a:extLst>
              </p:cNvPr>
              <p:cNvGrpSpPr/>
              <p:nvPr/>
            </p:nvGrpSpPr>
            <p:grpSpPr>
              <a:xfrm>
                <a:off x="8986183" y="5896617"/>
                <a:ext cx="62075" cy="62026"/>
                <a:chOff x="8986183" y="5896617"/>
                <a:chExt cx="62075" cy="62026"/>
              </a:xfrm>
            </p:grpSpPr>
            <p:sp>
              <p:nvSpPr>
                <p:cNvPr id="1294" name="Forma livre: Forma 1293">
                  <a:extLst>
                    <a:ext uri="{FF2B5EF4-FFF2-40B4-BE49-F238E27FC236}">
                      <a16:creationId xmlns:a16="http://schemas.microsoft.com/office/drawing/2014/main" id="{4BA25A85-5C02-F26C-3DB1-AB05C5694F70}"/>
                    </a:ext>
                  </a:extLst>
                </p:cNvPr>
                <p:cNvSpPr/>
                <p:nvPr/>
              </p:nvSpPr>
              <p:spPr>
                <a:xfrm>
                  <a:off x="9017220" y="5896617"/>
                  <a:ext cx="4887" cy="19746"/>
                </a:xfrm>
                <a:custGeom>
                  <a:avLst/>
                  <a:gdLst>
                    <a:gd name="connsiteX0" fmla="*/ 0 w 4887"/>
                    <a:gd name="connsiteY0" fmla="*/ 0 h 19746"/>
                    <a:gd name="connsiteX1" fmla="*/ 0 w 4887"/>
                    <a:gd name="connsiteY1" fmla="*/ 19747 h 197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887" h="19746">
                      <a:moveTo>
                        <a:pt x="0" y="0"/>
                      </a:moveTo>
                      <a:lnTo>
                        <a:pt x="0" y="19747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295" name="Forma livre: Forma 1294">
                  <a:extLst>
                    <a:ext uri="{FF2B5EF4-FFF2-40B4-BE49-F238E27FC236}">
                      <a16:creationId xmlns:a16="http://schemas.microsoft.com/office/drawing/2014/main" id="{AB5F55BE-6E90-FE5C-4439-F72068046C0B}"/>
                    </a:ext>
                  </a:extLst>
                </p:cNvPr>
                <p:cNvSpPr/>
                <p:nvPr/>
              </p:nvSpPr>
              <p:spPr>
                <a:xfrm>
                  <a:off x="9017220" y="5938897"/>
                  <a:ext cx="4887" cy="19746"/>
                </a:xfrm>
                <a:custGeom>
                  <a:avLst/>
                  <a:gdLst>
                    <a:gd name="connsiteX0" fmla="*/ 0 w 4887"/>
                    <a:gd name="connsiteY0" fmla="*/ 0 h 19746"/>
                    <a:gd name="connsiteX1" fmla="*/ 0 w 4887"/>
                    <a:gd name="connsiteY1" fmla="*/ 19747 h 197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887" h="19746">
                      <a:moveTo>
                        <a:pt x="0" y="0"/>
                      </a:moveTo>
                      <a:lnTo>
                        <a:pt x="0" y="19747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296" name="Forma livre: Forma 1295">
                  <a:extLst>
                    <a:ext uri="{FF2B5EF4-FFF2-40B4-BE49-F238E27FC236}">
                      <a16:creationId xmlns:a16="http://schemas.microsoft.com/office/drawing/2014/main" id="{0C4E1F18-733B-1AEB-772A-24CB9369BB31}"/>
                    </a:ext>
                  </a:extLst>
                </p:cNvPr>
                <p:cNvSpPr/>
                <p:nvPr/>
              </p:nvSpPr>
              <p:spPr>
                <a:xfrm>
                  <a:off x="9028511" y="5927606"/>
                  <a:ext cx="19746" cy="4887"/>
                </a:xfrm>
                <a:custGeom>
                  <a:avLst/>
                  <a:gdLst>
                    <a:gd name="connsiteX0" fmla="*/ 19747 w 19746"/>
                    <a:gd name="connsiteY0" fmla="*/ 0 h 4887"/>
                    <a:gd name="connsiteX1" fmla="*/ 0 w 19746"/>
                    <a:gd name="connsiteY1" fmla="*/ 0 h 48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9746" h="4887">
                      <a:moveTo>
                        <a:pt x="19747" y="0"/>
                      </a:moveTo>
                      <a:lnTo>
                        <a:pt x="0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297" name="Forma livre: Forma 1296">
                  <a:extLst>
                    <a:ext uri="{FF2B5EF4-FFF2-40B4-BE49-F238E27FC236}">
                      <a16:creationId xmlns:a16="http://schemas.microsoft.com/office/drawing/2014/main" id="{9632CE56-40F2-CFCF-2E2F-562FCF9B1C44}"/>
                    </a:ext>
                  </a:extLst>
                </p:cNvPr>
                <p:cNvSpPr/>
                <p:nvPr/>
              </p:nvSpPr>
              <p:spPr>
                <a:xfrm>
                  <a:off x="8986183" y="5927606"/>
                  <a:ext cx="19795" cy="4887"/>
                </a:xfrm>
                <a:custGeom>
                  <a:avLst/>
                  <a:gdLst>
                    <a:gd name="connsiteX0" fmla="*/ 19796 w 19795"/>
                    <a:gd name="connsiteY0" fmla="*/ 0 h 4887"/>
                    <a:gd name="connsiteX1" fmla="*/ 0 w 19795"/>
                    <a:gd name="connsiteY1" fmla="*/ 0 h 48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9795" h="4887">
                      <a:moveTo>
                        <a:pt x="19796" y="0"/>
                      </a:moveTo>
                      <a:lnTo>
                        <a:pt x="0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1298" name="Gráfico 14">
                <a:extLst>
                  <a:ext uri="{FF2B5EF4-FFF2-40B4-BE49-F238E27FC236}">
                    <a16:creationId xmlns:a16="http://schemas.microsoft.com/office/drawing/2014/main" id="{82EEDE17-CB5A-5B39-357D-20D7B4C89FB7}"/>
                  </a:ext>
                </a:extLst>
              </p:cNvPr>
              <p:cNvGrpSpPr/>
              <p:nvPr/>
            </p:nvGrpSpPr>
            <p:grpSpPr>
              <a:xfrm>
                <a:off x="8719796" y="5896617"/>
                <a:ext cx="62075" cy="62026"/>
                <a:chOff x="8719796" y="5896617"/>
                <a:chExt cx="62075" cy="62026"/>
              </a:xfrm>
            </p:grpSpPr>
            <p:sp>
              <p:nvSpPr>
                <p:cNvPr id="1299" name="Forma livre: Forma 1298">
                  <a:extLst>
                    <a:ext uri="{FF2B5EF4-FFF2-40B4-BE49-F238E27FC236}">
                      <a16:creationId xmlns:a16="http://schemas.microsoft.com/office/drawing/2014/main" id="{9501A8B0-C0CB-64A7-356D-C34BB7F58066}"/>
                    </a:ext>
                  </a:extLst>
                </p:cNvPr>
                <p:cNvSpPr/>
                <p:nvPr/>
              </p:nvSpPr>
              <p:spPr>
                <a:xfrm>
                  <a:off x="8750834" y="5896617"/>
                  <a:ext cx="4887" cy="19746"/>
                </a:xfrm>
                <a:custGeom>
                  <a:avLst/>
                  <a:gdLst>
                    <a:gd name="connsiteX0" fmla="*/ 0 w 4887"/>
                    <a:gd name="connsiteY0" fmla="*/ 0 h 19746"/>
                    <a:gd name="connsiteX1" fmla="*/ 0 w 4887"/>
                    <a:gd name="connsiteY1" fmla="*/ 19747 h 197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887" h="19746">
                      <a:moveTo>
                        <a:pt x="0" y="0"/>
                      </a:moveTo>
                      <a:lnTo>
                        <a:pt x="0" y="19747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300" name="Forma livre: Forma 1299">
                  <a:extLst>
                    <a:ext uri="{FF2B5EF4-FFF2-40B4-BE49-F238E27FC236}">
                      <a16:creationId xmlns:a16="http://schemas.microsoft.com/office/drawing/2014/main" id="{C8B223AC-DF26-ED58-6D92-7EC90C435812}"/>
                    </a:ext>
                  </a:extLst>
                </p:cNvPr>
                <p:cNvSpPr/>
                <p:nvPr/>
              </p:nvSpPr>
              <p:spPr>
                <a:xfrm>
                  <a:off x="8750834" y="5938897"/>
                  <a:ext cx="4887" cy="19746"/>
                </a:xfrm>
                <a:custGeom>
                  <a:avLst/>
                  <a:gdLst>
                    <a:gd name="connsiteX0" fmla="*/ 0 w 4887"/>
                    <a:gd name="connsiteY0" fmla="*/ 0 h 19746"/>
                    <a:gd name="connsiteX1" fmla="*/ 0 w 4887"/>
                    <a:gd name="connsiteY1" fmla="*/ 19747 h 197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887" h="19746">
                      <a:moveTo>
                        <a:pt x="0" y="0"/>
                      </a:moveTo>
                      <a:lnTo>
                        <a:pt x="0" y="19747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301" name="Forma livre: Forma 1300">
                  <a:extLst>
                    <a:ext uri="{FF2B5EF4-FFF2-40B4-BE49-F238E27FC236}">
                      <a16:creationId xmlns:a16="http://schemas.microsoft.com/office/drawing/2014/main" id="{C5F9E44B-92A4-2110-F02F-7DF603B670E8}"/>
                    </a:ext>
                  </a:extLst>
                </p:cNvPr>
                <p:cNvSpPr/>
                <p:nvPr/>
              </p:nvSpPr>
              <p:spPr>
                <a:xfrm>
                  <a:off x="8762125" y="5927606"/>
                  <a:ext cx="19746" cy="4887"/>
                </a:xfrm>
                <a:custGeom>
                  <a:avLst/>
                  <a:gdLst>
                    <a:gd name="connsiteX0" fmla="*/ 19747 w 19746"/>
                    <a:gd name="connsiteY0" fmla="*/ 0 h 4887"/>
                    <a:gd name="connsiteX1" fmla="*/ 0 w 19746"/>
                    <a:gd name="connsiteY1" fmla="*/ 0 h 48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9746" h="4887">
                      <a:moveTo>
                        <a:pt x="19747" y="0"/>
                      </a:moveTo>
                      <a:lnTo>
                        <a:pt x="0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302" name="Forma livre: Forma 1301">
                  <a:extLst>
                    <a:ext uri="{FF2B5EF4-FFF2-40B4-BE49-F238E27FC236}">
                      <a16:creationId xmlns:a16="http://schemas.microsoft.com/office/drawing/2014/main" id="{5E5E5653-B30D-0244-FC03-BC59F12D8BFD}"/>
                    </a:ext>
                  </a:extLst>
                </p:cNvPr>
                <p:cNvSpPr/>
                <p:nvPr/>
              </p:nvSpPr>
              <p:spPr>
                <a:xfrm>
                  <a:off x="8719796" y="5927606"/>
                  <a:ext cx="19795" cy="4887"/>
                </a:xfrm>
                <a:custGeom>
                  <a:avLst/>
                  <a:gdLst>
                    <a:gd name="connsiteX0" fmla="*/ 19796 w 19795"/>
                    <a:gd name="connsiteY0" fmla="*/ 0 h 4887"/>
                    <a:gd name="connsiteX1" fmla="*/ 0 w 19795"/>
                    <a:gd name="connsiteY1" fmla="*/ 0 h 48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9795" h="4887">
                      <a:moveTo>
                        <a:pt x="19796" y="0"/>
                      </a:moveTo>
                      <a:lnTo>
                        <a:pt x="0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grpSp>
          <p:nvGrpSpPr>
            <p:cNvPr id="1303" name="Gráfico 14">
              <a:extLst>
                <a:ext uri="{FF2B5EF4-FFF2-40B4-BE49-F238E27FC236}">
                  <a16:creationId xmlns:a16="http://schemas.microsoft.com/office/drawing/2014/main" id="{B13AEE56-9AD0-B8F6-9960-84E47A14BAAF}"/>
                </a:ext>
              </a:extLst>
            </p:cNvPr>
            <p:cNvGrpSpPr/>
            <p:nvPr/>
          </p:nvGrpSpPr>
          <p:grpSpPr>
            <a:xfrm>
              <a:off x="8795753" y="5858541"/>
              <a:ext cx="176548" cy="38809"/>
              <a:chOff x="8795753" y="5858541"/>
              <a:chExt cx="176548" cy="38809"/>
            </a:xfrm>
          </p:grpSpPr>
          <p:sp>
            <p:nvSpPr>
              <p:cNvPr id="1304" name="Forma livre: Forma 1303">
                <a:extLst>
                  <a:ext uri="{FF2B5EF4-FFF2-40B4-BE49-F238E27FC236}">
                    <a16:creationId xmlns:a16="http://schemas.microsoft.com/office/drawing/2014/main" id="{894F6900-84D3-ED41-B788-92910C008D1E}"/>
                  </a:ext>
                </a:extLst>
              </p:cNvPr>
              <p:cNvSpPr/>
              <p:nvPr/>
            </p:nvSpPr>
            <p:spPr>
              <a:xfrm>
                <a:off x="8945418" y="5858541"/>
                <a:ext cx="26883" cy="38809"/>
              </a:xfrm>
              <a:custGeom>
                <a:avLst/>
                <a:gdLst>
                  <a:gd name="connsiteX0" fmla="*/ 0 w 26883"/>
                  <a:gd name="connsiteY0" fmla="*/ 38809 h 38809"/>
                  <a:gd name="connsiteX1" fmla="*/ 26883 w 26883"/>
                  <a:gd name="connsiteY1" fmla="*/ 0 h 388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6883" h="38809">
                    <a:moveTo>
                      <a:pt x="0" y="38809"/>
                    </a:moveTo>
                    <a:lnTo>
                      <a:pt x="26883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305" name="Forma livre: Forma 1304">
                <a:extLst>
                  <a:ext uri="{FF2B5EF4-FFF2-40B4-BE49-F238E27FC236}">
                    <a16:creationId xmlns:a16="http://schemas.microsoft.com/office/drawing/2014/main" id="{4621F928-8ABC-9F31-4DEB-88543E663DD2}"/>
                  </a:ext>
                </a:extLst>
              </p:cNvPr>
              <p:cNvSpPr/>
              <p:nvPr/>
            </p:nvSpPr>
            <p:spPr>
              <a:xfrm>
                <a:off x="8795753" y="5858541"/>
                <a:ext cx="26883" cy="38809"/>
              </a:xfrm>
              <a:custGeom>
                <a:avLst/>
                <a:gdLst>
                  <a:gd name="connsiteX0" fmla="*/ 26883 w 26883"/>
                  <a:gd name="connsiteY0" fmla="*/ 38809 h 38809"/>
                  <a:gd name="connsiteX1" fmla="*/ 0 w 26883"/>
                  <a:gd name="connsiteY1" fmla="*/ 0 h 388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6883" h="38809">
                    <a:moveTo>
                      <a:pt x="26883" y="38809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306" name="Gráfico 14">
            <a:extLst>
              <a:ext uri="{FF2B5EF4-FFF2-40B4-BE49-F238E27FC236}">
                <a16:creationId xmlns:a16="http://schemas.microsoft.com/office/drawing/2014/main" id="{E2F1B264-228F-98E7-D9CC-E06B9FF7BC7E}"/>
              </a:ext>
            </a:extLst>
          </p:cNvPr>
          <p:cNvGrpSpPr/>
          <p:nvPr/>
        </p:nvGrpSpPr>
        <p:grpSpPr>
          <a:xfrm>
            <a:off x="8093959" y="4803260"/>
            <a:ext cx="308617" cy="211544"/>
            <a:chOff x="8093959" y="4803260"/>
            <a:chExt cx="308617" cy="211544"/>
          </a:xfrm>
          <a:noFill/>
        </p:grpSpPr>
        <p:sp>
          <p:nvSpPr>
            <p:cNvPr id="1307" name="Forma livre: Forma 1306">
              <a:extLst>
                <a:ext uri="{FF2B5EF4-FFF2-40B4-BE49-F238E27FC236}">
                  <a16:creationId xmlns:a16="http://schemas.microsoft.com/office/drawing/2014/main" id="{3341A66D-E577-1597-D5F1-F8F767AE68FF}"/>
                </a:ext>
              </a:extLst>
            </p:cNvPr>
            <p:cNvSpPr/>
            <p:nvPr/>
          </p:nvSpPr>
          <p:spPr>
            <a:xfrm>
              <a:off x="8093959" y="4803260"/>
              <a:ext cx="308617" cy="211544"/>
            </a:xfrm>
            <a:custGeom>
              <a:avLst/>
              <a:gdLst>
                <a:gd name="connsiteX0" fmla="*/ 0 w 308617"/>
                <a:gd name="connsiteY0" fmla="*/ 24439 h 211544"/>
                <a:gd name="connsiteX1" fmla="*/ 24439 w 308617"/>
                <a:gd name="connsiteY1" fmla="*/ 0 h 211544"/>
                <a:gd name="connsiteX2" fmla="*/ 284178 w 308617"/>
                <a:gd name="connsiteY2" fmla="*/ 0 h 211544"/>
                <a:gd name="connsiteX3" fmla="*/ 308617 w 308617"/>
                <a:gd name="connsiteY3" fmla="*/ 24439 h 211544"/>
                <a:gd name="connsiteX4" fmla="*/ 308617 w 308617"/>
                <a:gd name="connsiteY4" fmla="*/ 187106 h 211544"/>
                <a:gd name="connsiteX5" fmla="*/ 284178 w 308617"/>
                <a:gd name="connsiteY5" fmla="*/ 211545 h 211544"/>
                <a:gd name="connsiteX6" fmla="*/ 24439 w 308617"/>
                <a:gd name="connsiteY6" fmla="*/ 211545 h 211544"/>
                <a:gd name="connsiteX7" fmla="*/ 0 w 308617"/>
                <a:gd name="connsiteY7" fmla="*/ 187106 h 211544"/>
                <a:gd name="connsiteX8" fmla="*/ 0 w 308617"/>
                <a:gd name="connsiteY8" fmla="*/ 24439 h 2115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08617" h="211544">
                  <a:moveTo>
                    <a:pt x="0" y="24439"/>
                  </a:moveTo>
                  <a:cubicBezTo>
                    <a:pt x="0" y="10998"/>
                    <a:pt x="10998" y="0"/>
                    <a:pt x="24439" y="0"/>
                  </a:cubicBezTo>
                  <a:lnTo>
                    <a:pt x="284178" y="0"/>
                  </a:lnTo>
                  <a:cubicBezTo>
                    <a:pt x="297620" y="0"/>
                    <a:pt x="308617" y="10998"/>
                    <a:pt x="308617" y="24439"/>
                  </a:cubicBezTo>
                  <a:lnTo>
                    <a:pt x="308617" y="187106"/>
                  </a:lnTo>
                  <a:cubicBezTo>
                    <a:pt x="308617" y="200547"/>
                    <a:pt x="297620" y="211545"/>
                    <a:pt x="284178" y="211545"/>
                  </a:cubicBezTo>
                  <a:lnTo>
                    <a:pt x="24439" y="211545"/>
                  </a:lnTo>
                  <a:cubicBezTo>
                    <a:pt x="10998" y="211545"/>
                    <a:pt x="0" y="200547"/>
                    <a:pt x="0" y="187106"/>
                  </a:cubicBezTo>
                  <a:lnTo>
                    <a:pt x="0" y="24439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308" name="Forma livre: Forma 1307">
              <a:extLst>
                <a:ext uri="{FF2B5EF4-FFF2-40B4-BE49-F238E27FC236}">
                  <a16:creationId xmlns:a16="http://schemas.microsoft.com/office/drawing/2014/main" id="{95419190-F2D1-DC56-C7A6-68AC53D2834B}"/>
                </a:ext>
              </a:extLst>
            </p:cNvPr>
            <p:cNvSpPr/>
            <p:nvPr/>
          </p:nvSpPr>
          <p:spPr>
            <a:xfrm>
              <a:off x="8094399" y="4893733"/>
              <a:ext cx="169216" cy="4887"/>
            </a:xfrm>
            <a:custGeom>
              <a:avLst/>
              <a:gdLst>
                <a:gd name="connsiteX0" fmla="*/ 0 w 169216"/>
                <a:gd name="connsiteY0" fmla="*/ 0 h 4887"/>
                <a:gd name="connsiteX1" fmla="*/ 169217 w 169216"/>
                <a:gd name="connsiteY1" fmla="*/ 0 h 48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69216" h="4887">
                  <a:moveTo>
                    <a:pt x="0" y="0"/>
                  </a:moveTo>
                  <a:lnTo>
                    <a:pt x="169217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309" name="Forma livre: Forma 1308">
              <a:extLst>
                <a:ext uri="{FF2B5EF4-FFF2-40B4-BE49-F238E27FC236}">
                  <a16:creationId xmlns:a16="http://schemas.microsoft.com/office/drawing/2014/main" id="{55C95440-2CD5-E213-7F77-C419F8966AFA}"/>
                </a:ext>
              </a:extLst>
            </p:cNvPr>
            <p:cNvSpPr/>
            <p:nvPr/>
          </p:nvSpPr>
          <p:spPr>
            <a:xfrm>
              <a:off x="8312787" y="4893733"/>
              <a:ext cx="89544" cy="4887"/>
            </a:xfrm>
            <a:custGeom>
              <a:avLst/>
              <a:gdLst>
                <a:gd name="connsiteX0" fmla="*/ 0 w 89544"/>
                <a:gd name="connsiteY0" fmla="*/ 0 h 4887"/>
                <a:gd name="connsiteX1" fmla="*/ 89545 w 89544"/>
                <a:gd name="connsiteY1" fmla="*/ 0 h 48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9544" h="4887">
                  <a:moveTo>
                    <a:pt x="0" y="0"/>
                  </a:moveTo>
                  <a:lnTo>
                    <a:pt x="89545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310" name="Forma livre: Forma 1309">
              <a:extLst>
                <a:ext uri="{FF2B5EF4-FFF2-40B4-BE49-F238E27FC236}">
                  <a16:creationId xmlns:a16="http://schemas.microsoft.com/office/drawing/2014/main" id="{6AA4028F-BFFF-D5C4-B660-DD3B897C2436}"/>
                </a:ext>
              </a:extLst>
            </p:cNvPr>
            <p:cNvSpPr/>
            <p:nvPr/>
          </p:nvSpPr>
          <p:spPr>
            <a:xfrm>
              <a:off x="8305260" y="4804873"/>
              <a:ext cx="4887" cy="35730"/>
            </a:xfrm>
            <a:custGeom>
              <a:avLst/>
              <a:gdLst>
                <a:gd name="connsiteX0" fmla="*/ 0 w 4887"/>
                <a:gd name="connsiteY0" fmla="*/ 0 h 35730"/>
                <a:gd name="connsiteX1" fmla="*/ 0 w 4887"/>
                <a:gd name="connsiteY1" fmla="*/ 35730 h 35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887" h="35730">
                  <a:moveTo>
                    <a:pt x="0" y="0"/>
                  </a:moveTo>
                  <a:lnTo>
                    <a:pt x="0" y="3573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311" name="Forma livre: Forma 1310">
              <a:extLst>
                <a:ext uri="{FF2B5EF4-FFF2-40B4-BE49-F238E27FC236}">
                  <a16:creationId xmlns:a16="http://schemas.microsoft.com/office/drawing/2014/main" id="{FCD91E53-D632-DC08-DF01-9598C7317378}"/>
                </a:ext>
              </a:extLst>
            </p:cNvPr>
            <p:cNvSpPr/>
            <p:nvPr/>
          </p:nvSpPr>
          <p:spPr>
            <a:xfrm>
              <a:off x="8305260" y="4892023"/>
              <a:ext cx="4887" cy="121266"/>
            </a:xfrm>
            <a:custGeom>
              <a:avLst/>
              <a:gdLst>
                <a:gd name="connsiteX0" fmla="*/ 0 w 4887"/>
                <a:gd name="connsiteY0" fmla="*/ 0 h 121266"/>
                <a:gd name="connsiteX1" fmla="*/ 0 w 4887"/>
                <a:gd name="connsiteY1" fmla="*/ 121267 h 1212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887" h="121266">
                  <a:moveTo>
                    <a:pt x="0" y="0"/>
                  </a:moveTo>
                  <a:lnTo>
                    <a:pt x="0" y="121267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312" name="Gráfico 14">
              <a:extLst>
                <a:ext uri="{FF2B5EF4-FFF2-40B4-BE49-F238E27FC236}">
                  <a16:creationId xmlns:a16="http://schemas.microsoft.com/office/drawing/2014/main" id="{CD3E316E-B76E-2D4A-7348-D839A5180DCC}"/>
                </a:ext>
              </a:extLst>
            </p:cNvPr>
            <p:cNvGrpSpPr/>
            <p:nvPr/>
          </p:nvGrpSpPr>
          <p:grpSpPr>
            <a:xfrm>
              <a:off x="8238320" y="4825963"/>
              <a:ext cx="133879" cy="59901"/>
              <a:chOff x="8238320" y="4825963"/>
              <a:chExt cx="133879" cy="59901"/>
            </a:xfrm>
            <a:noFill/>
          </p:grpSpPr>
          <p:sp>
            <p:nvSpPr>
              <p:cNvPr id="1313" name="Forma livre: Forma 1312">
                <a:extLst>
                  <a:ext uri="{FF2B5EF4-FFF2-40B4-BE49-F238E27FC236}">
                    <a16:creationId xmlns:a16="http://schemas.microsoft.com/office/drawing/2014/main" id="{2D74B6A1-59BB-16CD-F0DA-57F37ABADC04}"/>
                  </a:ext>
                </a:extLst>
              </p:cNvPr>
              <p:cNvSpPr/>
              <p:nvPr/>
            </p:nvSpPr>
            <p:spPr>
              <a:xfrm>
                <a:off x="8238320" y="4825963"/>
                <a:ext cx="64691" cy="59901"/>
              </a:xfrm>
              <a:custGeom>
                <a:avLst/>
                <a:gdLst>
                  <a:gd name="connsiteX0" fmla="*/ 36880 w 64691"/>
                  <a:gd name="connsiteY0" fmla="*/ 5598 h 59901"/>
                  <a:gd name="connsiteX1" fmla="*/ 64691 w 64691"/>
                  <a:gd name="connsiteY1" fmla="*/ 59901 h 59901"/>
                  <a:gd name="connsiteX2" fmla="*/ 7455 w 64691"/>
                  <a:gd name="connsiteY2" fmla="*/ 38737 h 59901"/>
                  <a:gd name="connsiteX3" fmla="*/ 5598 w 64691"/>
                  <a:gd name="connsiteY3" fmla="*/ 7455 h 59901"/>
                  <a:gd name="connsiteX4" fmla="*/ 36929 w 64691"/>
                  <a:gd name="connsiteY4" fmla="*/ 5598 h 599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4691" h="59901">
                    <a:moveTo>
                      <a:pt x="36880" y="5598"/>
                    </a:moveTo>
                    <a:cubicBezTo>
                      <a:pt x="46069" y="13711"/>
                      <a:pt x="64691" y="59901"/>
                      <a:pt x="64691" y="59901"/>
                    </a:cubicBezTo>
                    <a:cubicBezTo>
                      <a:pt x="64691" y="59901"/>
                      <a:pt x="16644" y="46900"/>
                      <a:pt x="7455" y="38737"/>
                    </a:cubicBezTo>
                    <a:cubicBezTo>
                      <a:pt x="-1734" y="30623"/>
                      <a:pt x="-2516" y="16595"/>
                      <a:pt x="5598" y="7455"/>
                    </a:cubicBezTo>
                    <a:cubicBezTo>
                      <a:pt x="13711" y="-1734"/>
                      <a:pt x="27739" y="-2516"/>
                      <a:pt x="36929" y="5598"/>
                    </a:cubicBezTo>
                    <a:close/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314" name="Forma livre: Forma 1313">
                <a:extLst>
                  <a:ext uri="{FF2B5EF4-FFF2-40B4-BE49-F238E27FC236}">
                    <a16:creationId xmlns:a16="http://schemas.microsoft.com/office/drawing/2014/main" id="{61A14371-3B66-8CE7-54DA-3F5B88BE19E3}"/>
                  </a:ext>
                </a:extLst>
              </p:cNvPr>
              <p:cNvSpPr/>
              <p:nvPr/>
            </p:nvSpPr>
            <p:spPr>
              <a:xfrm>
                <a:off x="8307508" y="4825963"/>
                <a:ext cx="64691" cy="59901"/>
              </a:xfrm>
              <a:custGeom>
                <a:avLst/>
                <a:gdLst>
                  <a:gd name="connsiteX0" fmla="*/ 27812 w 64691"/>
                  <a:gd name="connsiteY0" fmla="*/ 5598 h 59901"/>
                  <a:gd name="connsiteX1" fmla="*/ 0 w 64691"/>
                  <a:gd name="connsiteY1" fmla="*/ 59901 h 59901"/>
                  <a:gd name="connsiteX2" fmla="*/ 57236 w 64691"/>
                  <a:gd name="connsiteY2" fmla="*/ 38737 h 59901"/>
                  <a:gd name="connsiteX3" fmla="*/ 59094 w 64691"/>
                  <a:gd name="connsiteY3" fmla="*/ 7455 h 59901"/>
                  <a:gd name="connsiteX4" fmla="*/ 27763 w 64691"/>
                  <a:gd name="connsiteY4" fmla="*/ 5598 h 599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4691" h="59901">
                    <a:moveTo>
                      <a:pt x="27812" y="5598"/>
                    </a:moveTo>
                    <a:cubicBezTo>
                      <a:pt x="18671" y="13711"/>
                      <a:pt x="0" y="59901"/>
                      <a:pt x="0" y="59901"/>
                    </a:cubicBezTo>
                    <a:cubicBezTo>
                      <a:pt x="0" y="59901"/>
                      <a:pt x="48047" y="46900"/>
                      <a:pt x="57236" y="38737"/>
                    </a:cubicBezTo>
                    <a:cubicBezTo>
                      <a:pt x="66426" y="30623"/>
                      <a:pt x="67208" y="16595"/>
                      <a:pt x="59094" y="7455"/>
                    </a:cubicBezTo>
                    <a:cubicBezTo>
                      <a:pt x="50980" y="-1734"/>
                      <a:pt x="36952" y="-2516"/>
                      <a:pt x="27763" y="5598"/>
                    </a:cubicBezTo>
                    <a:close/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315" name="Gráfico 14">
              <a:extLst>
                <a:ext uri="{FF2B5EF4-FFF2-40B4-BE49-F238E27FC236}">
                  <a16:creationId xmlns:a16="http://schemas.microsoft.com/office/drawing/2014/main" id="{CC4797E9-441E-D446-8CA5-83AAAB04C6EF}"/>
                </a:ext>
              </a:extLst>
            </p:cNvPr>
            <p:cNvGrpSpPr/>
            <p:nvPr/>
          </p:nvGrpSpPr>
          <p:grpSpPr>
            <a:xfrm>
              <a:off x="8257457" y="4890263"/>
              <a:ext cx="95605" cy="34801"/>
              <a:chOff x="8257457" y="4890263"/>
              <a:chExt cx="95605" cy="34801"/>
            </a:xfrm>
            <a:noFill/>
          </p:grpSpPr>
          <p:sp>
            <p:nvSpPr>
              <p:cNvPr id="1316" name="Forma livre: Forma 1315">
                <a:extLst>
                  <a:ext uri="{FF2B5EF4-FFF2-40B4-BE49-F238E27FC236}">
                    <a16:creationId xmlns:a16="http://schemas.microsoft.com/office/drawing/2014/main" id="{B77BF867-5FCF-4997-CC83-EC31A3B2C42A}"/>
                  </a:ext>
                </a:extLst>
              </p:cNvPr>
              <p:cNvSpPr/>
              <p:nvPr/>
            </p:nvSpPr>
            <p:spPr>
              <a:xfrm>
                <a:off x="8257457" y="4890263"/>
                <a:ext cx="46776" cy="34801"/>
              </a:xfrm>
              <a:custGeom>
                <a:avLst/>
                <a:gdLst>
                  <a:gd name="connsiteX0" fmla="*/ 46776 w 46776"/>
                  <a:gd name="connsiteY0" fmla="*/ 0 h 34801"/>
                  <a:gd name="connsiteX1" fmla="*/ 0 w 46776"/>
                  <a:gd name="connsiteY1" fmla="*/ 34801 h 348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6776" h="34801">
                    <a:moveTo>
                      <a:pt x="46776" y="0"/>
                    </a:moveTo>
                    <a:cubicBezTo>
                      <a:pt x="46776" y="0"/>
                      <a:pt x="25221" y="28007"/>
                      <a:pt x="0" y="34801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317" name="Forma livre: Forma 1316">
                <a:extLst>
                  <a:ext uri="{FF2B5EF4-FFF2-40B4-BE49-F238E27FC236}">
                    <a16:creationId xmlns:a16="http://schemas.microsoft.com/office/drawing/2014/main" id="{9F708764-42E4-2657-6268-819D408A20DC}"/>
                  </a:ext>
                </a:extLst>
              </p:cNvPr>
              <p:cNvSpPr/>
              <p:nvPr/>
            </p:nvSpPr>
            <p:spPr>
              <a:xfrm>
                <a:off x="8306286" y="4890263"/>
                <a:ext cx="46776" cy="34801"/>
              </a:xfrm>
              <a:custGeom>
                <a:avLst/>
                <a:gdLst>
                  <a:gd name="connsiteX0" fmla="*/ 0 w 46776"/>
                  <a:gd name="connsiteY0" fmla="*/ 0 h 34801"/>
                  <a:gd name="connsiteX1" fmla="*/ 46776 w 46776"/>
                  <a:gd name="connsiteY1" fmla="*/ 34801 h 348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6776" h="34801">
                    <a:moveTo>
                      <a:pt x="0" y="0"/>
                    </a:moveTo>
                    <a:cubicBezTo>
                      <a:pt x="0" y="0"/>
                      <a:pt x="21555" y="28007"/>
                      <a:pt x="46776" y="34801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318" name="Forma livre: Forma 1317">
              <a:extLst>
                <a:ext uri="{FF2B5EF4-FFF2-40B4-BE49-F238E27FC236}">
                  <a16:creationId xmlns:a16="http://schemas.microsoft.com/office/drawing/2014/main" id="{8CB9D01C-E877-91F6-9189-23B71616C3AC}"/>
                </a:ext>
              </a:extLst>
            </p:cNvPr>
            <p:cNvSpPr/>
            <p:nvPr/>
          </p:nvSpPr>
          <p:spPr>
            <a:xfrm>
              <a:off x="8129689" y="4942025"/>
              <a:ext cx="91646" cy="4887"/>
            </a:xfrm>
            <a:custGeom>
              <a:avLst/>
              <a:gdLst>
                <a:gd name="connsiteX0" fmla="*/ 0 w 91646"/>
                <a:gd name="connsiteY0" fmla="*/ 0 h 4887"/>
                <a:gd name="connsiteX1" fmla="*/ 91647 w 91646"/>
                <a:gd name="connsiteY1" fmla="*/ 0 h 48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1646" h="4887">
                  <a:moveTo>
                    <a:pt x="0" y="0"/>
                  </a:moveTo>
                  <a:lnTo>
                    <a:pt x="91647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319" name="Forma livre: Forma 1318">
              <a:extLst>
                <a:ext uri="{FF2B5EF4-FFF2-40B4-BE49-F238E27FC236}">
                  <a16:creationId xmlns:a16="http://schemas.microsoft.com/office/drawing/2014/main" id="{2CAC01AC-DCEF-75B1-DE67-A0E0F9A393D3}"/>
                </a:ext>
              </a:extLst>
            </p:cNvPr>
            <p:cNvSpPr/>
            <p:nvPr/>
          </p:nvSpPr>
          <p:spPr>
            <a:xfrm>
              <a:off x="8129689" y="4970228"/>
              <a:ext cx="60462" cy="4887"/>
            </a:xfrm>
            <a:custGeom>
              <a:avLst/>
              <a:gdLst>
                <a:gd name="connsiteX0" fmla="*/ 0 w 60462"/>
                <a:gd name="connsiteY0" fmla="*/ 0 h 4887"/>
                <a:gd name="connsiteX1" fmla="*/ 60462 w 60462"/>
                <a:gd name="connsiteY1" fmla="*/ 0 h 48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62" h="4887">
                  <a:moveTo>
                    <a:pt x="0" y="0"/>
                  </a:moveTo>
                  <a:lnTo>
                    <a:pt x="60462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320" name="Gráfico 14">
            <a:extLst>
              <a:ext uri="{FF2B5EF4-FFF2-40B4-BE49-F238E27FC236}">
                <a16:creationId xmlns:a16="http://schemas.microsoft.com/office/drawing/2014/main" id="{1584923A-0CBE-5633-4866-6DEE78E2B0CF}"/>
              </a:ext>
            </a:extLst>
          </p:cNvPr>
          <p:cNvGrpSpPr/>
          <p:nvPr/>
        </p:nvGrpSpPr>
        <p:grpSpPr>
          <a:xfrm>
            <a:off x="9377844" y="4762544"/>
            <a:ext cx="283933" cy="292927"/>
            <a:chOff x="9377844" y="4762544"/>
            <a:chExt cx="283933" cy="292927"/>
          </a:xfrm>
          <a:noFill/>
        </p:grpSpPr>
        <p:grpSp>
          <p:nvGrpSpPr>
            <p:cNvPr id="1321" name="Gráfico 14">
              <a:extLst>
                <a:ext uri="{FF2B5EF4-FFF2-40B4-BE49-F238E27FC236}">
                  <a16:creationId xmlns:a16="http://schemas.microsoft.com/office/drawing/2014/main" id="{3A289A35-68CD-E2AA-7DFE-FFD968364E8F}"/>
                </a:ext>
              </a:extLst>
            </p:cNvPr>
            <p:cNvGrpSpPr/>
            <p:nvPr/>
          </p:nvGrpSpPr>
          <p:grpSpPr>
            <a:xfrm>
              <a:off x="9444465" y="4800718"/>
              <a:ext cx="150691" cy="128843"/>
              <a:chOff x="9444465" y="4800718"/>
              <a:chExt cx="150691" cy="128843"/>
            </a:xfrm>
            <a:noFill/>
          </p:grpSpPr>
          <p:sp>
            <p:nvSpPr>
              <p:cNvPr id="1322" name="Forma livre: Forma 1321">
                <a:extLst>
                  <a:ext uri="{FF2B5EF4-FFF2-40B4-BE49-F238E27FC236}">
                    <a16:creationId xmlns:a16="http://schemas.microsoft.com/office/drawing/2014/main" id="{D46FB6BB-7D08-8288-C013-BFCE28FF152A}"/>
                  </a:ext>
                </a:extLst>
              </p:cNvPr>
              <p:cNvSpPr/>
              <p:nvPr/>
            </p:nvSpPr>
            <p:spPr>
              <a:xfrm>
                <a:off x="9454534" y="4888601"/>
                <a:ext cx="130504" cy="40960"/>
              </a:xfrm>
              <a:custGeom>
                <a:avLst/>
                <a:gdLst>
                  <a:gd name="connsiteX0" fmla="*/ 0 w 130504"/>
                  <a:gd name="connsiteY0" fmla="*/ 0 h 40960"/>
                  <a:gd name="connsiteX1" fmla="*/ 0 w 130504"/>
                  <a:gd name="connsiteY1" fmla="*/ 40960 h 40960"/>
                  <a:gd name="connsiteX2" fmla="*/ 130505 w 130504"/>
                  <a:gd name="connsiteY2" fmla="*/ 40960 h 40960"/>
                  <a:gd name="connsiteX3" fmla="*/ 130505 w 130504"/>
                  <a:gd name="connsiteY3" fmla="*/ 0 h 409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30504" h="40960">
                    <a:moveTo>
                      <a:pt x="0" y="0"/>
                    </a:moveTo>
                    <a:lnTo>
                      <a:pt x="0" y="40960"/>
                    </a:lnTo>
                    <a:lnTo>
                      <a:pt x="130505" y="40960"/>
                    </a:lnTo>
                    <a:lnTo>
                      <a:pt x="130505" y="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323" name="Forma livre: Forma 1322">
                <a:extLst>
                  <a:ext uri="{FF2B5EF4-FFF2-40B4-BE49-F238E27FC236}">
                    <a16:creationId xmlns:a16="http://schemas.microsoft.com/office/drawing/2014/main" id="{947B1DC1-6269-6443-C7B4-1D24DC2A5658}"/>
                  </a:ext>
                </a:extLst>
              </p:cNvPr>
              <p:cNvSpPr/>
              <p:nvPr/>
            </p:nvSpPr>
            <p:spPr>
              <a:xfrm>
                <a:off x="9444465" y="4840407"/>
                <a:ext cx="150691" cy="27958"/>
              </a:xfrm>
              <a:custGeom>
                <a:avLst/>
                <a:gdLst>
                  <a:gd name="connsiteX0" fmla="*/ 89203 w 150691"/>
                  <a:gd name="connsiteY0" fmla="*/ 27958 h 27958"/>
                  <a:gd name="connsiteX1" fmla="*/ 150692 w 150691"/>
                  <a:gd name="connsiteY1" fmla="*/ 27958 h 27958"/>
                  <a:gd name="connsiteX2" fmla="*/ 150692 w 150691"/>
                  <a:gd name="connsiteY2" fmla="*/ 0 h 27958"/>
                  <a:gd name="connsiteX3" fmla="*/ 0 w 150691"/>
                  <a:gd name="connsiteY3" fmla="*/ 0 h 27958"/>
                  <a:gd name="connsiteX4" fmla="*/ 0 w 150691"/>
                  <a:gd name="connsiteY4" fmla="*/ 27958 h 27958"/>
                  <a:gd name="connsiteX5" fmla="*/ 61782 w 150691"/>
                  <a:gd name="connsiteY5" fmla="*/ 27958 h 279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50691" h="27958">
                    <a:moveTo>
                      <a:pt x="89203" y="27958"/>
                    </a:moveTo>
                    <a:lnTo>
                      <a:pt x="150692" y="27958"/>
                    </a:lnTo>
                    <a:lnTo>
                      <a:pt x="150692" y="0"/>
                    </a:lnTo>
                    <a:lnTo>
                      <a:pt x="0" y="0"/>
                    </a:lnTo>
                    <a:lnTo>
                      <a:pt x="0" y="27958"/>
                    </a:lnTo>
                    <a:lnTo>
                      <a:pt x="61782" y="27958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1324" name="Gráfico 14">
                <a:extLst>
                  <a:ext uri="{FF2B5EF4-FFF2-40B4-BE49-F238E27FC236}">
                    <a16:creationId xmlns:a16="http://schemas.microsoft.com/office/drawing/2014/main" id="{B75CC5F6-CD5D-6BB8-A3E8-6DA3C400FE89}"/>
                  </a:ext>
                </a:extLst>
              </p:cNvPr>
              <p:cNvGrpSpPr/>
              <p:nvPr/>
            </p:nvGrpSpPr>
            <p:grpSpPr>
              <a:xfrm>
                <a:off x="9506589" y="4841091"/>
                <a:ext cx="26394" cy="88078"/>
                <a:chOff x="9506589" y="4841091"/>
                <a:chExt cx="26394" cy="88078"/>
              </a:xfrm>
            </p:grpSpPr>
            <p:sp>
              <p:nvSpPr>
                <p:cNvPr id="1325" name="Forma livre: Forma 1324">
                  <a:extLst>
                    <a:ext uri="{FF2B5EF4-FFF2-40B4-BE49-F238E27FC236}">
                      <a16:creationId xmlns:a16="http://schemas.microsoft.com/office/drawing/2014/main" id="{B4AF4119-B9B8-8ED5-3685-FE611E217057}"/>
                    </a:ext>
                  </a:extLst>
                </p:cNvPr>
                <p:cNvSpPr/>
                <p:nvPr/>
              </p:nvSpPr>
              <p:spPr>
                <a:xfrm>
                  <a:off x="9506589" y="4841091"/>
                  <a:ext cx="4887" cy="88078"/>
                </a:xfrm>
                <a:custGeom>
                  <a:avLst/>
                  <a:gdLst>
                    <a:gd name="connsiteX0" fmla="*/ 0 w 4887"/>
                    <a:gd name="connsiteY0" fmla="*/ 0 h 88078"/>
                    <a:gd name="connsiteX1" fmla="*/ 0 w 4887"/>
                    <a:gd name="connsiteY1" fmla="*/ 88079 h 880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887" h="88078">
                      <a:moveTo>
                        <a:pt x="0" y="0"/>
                      </a:moveTo>
                      <a:lnTo>
                        <a:pt x="0" y="88079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326" name="Forma livre: Forma 1325">
                  <a:extLst>
                    <a:ext uri="{FF2B5EF4-FFF2-40B4-BE49-F238E27FC236}">
                      <a16:creationId xmlns:a16="http://schemas.microsoft.com/office/drawing/2014/main" id="{4E53C8A6-A92D-39F7-FD93-FE3792567539}"/>
                    </a:ext>
                  </a:extLst>
                </p:cNvPr>
                <p:cNvSpPr/>
                <p:nvPr/>
              </p:nvSpPr>
              <p:spPr>
                <a:xfrm>
                  <a:off x="9532984" y="4841091"/>
                  <a:ext cx="4887" cy="88078"/>
                </a:xfrm>
                <a:custGeom>
                  <a:avLst/>
                  <a:gdLst>
                    <a:gd name="connsiteX0" fmla="*/ 0 w 4887"/>
                    <a:gd name="connsiteY0" fmla="*/ 0 h 88078"/>
                    <a:gd name="connsiteX1" fmla="*/ 0 w 4887"/>
                    <a:gd name="connsiteY1" fmla="*/ 88079 h 880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887" h="88078">
                      <a:moveTo>
                        <a:pt x="0" y="0"/>
                      </a:moveTo>
                      <a:lnTo>
                        <a:pt x="0" y="88079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1327" name="Gráfico 14">
                <a:extLst>
                  <a:ext uri="{FF2B5EF4-FFF2-40B4-BE49-F238E27FC236}">
                    <a16:creationId xmlns:a16="http://schemas.microsoft.com/office/drawing/2014/main" id="{275566F7-F5D7-0018-CA0B-259B7B389FC2}"/>
                  </a:ext>
                </a:extLst>
              </p:cNvPr>
              <p:cNvGrpSpPr/>
              <p:nvPr/>
            </p:nvGrpSpPr>
            <p:grpSpPr>
              <a:xfrm>
                <a:off x="9472032" y="4800718"/>
                <a:ext cx="95557" cy="39689"/>
                <a:chOff x="9472032" y="4800718"/>
                <a:chExt cx="95557" cy="39689"/>
              </a:xfrm>
              <a:noFill/>
            </p:grpSpPr>
            <p:sp>
              <p:nvSpPr>
                <p:cNvPr id="1328" name="Forma livre: Forma 1327">
                  <a:extLst>
                    <a:ext uri="{FF2B5EF4-FFF2-40B4-BE49-F238E27FC236}">
                      <a16:creationId xmlns:a16="http://schemas.microsoft.com/office/drawing/2014/main" id="{1CF0A42D-24EE-1A52-DCC1-6EE03AC19D0F}"/>
                    </a:ext>
                  </a:extLst>
                </p:cNvPr>
                <p:cNvSpPr/>
                <p:nvPr/>
              </p:nvSpPr>
              <p:spPr>
                <a:xfrm>
                  <a:off x="9519884" y="4800718"/>
                  <a:ext cx="47705" cy="39689"/>
                </a:xfrm>
                <a:custGeom>
                  <a:avLst/>
                  <a:gdLst>
                    <a:gd name="connsiteX0" fmla="*/ 0 w 47705"/>
                    <a:gd name="connsiteY0" fmla="*/ 39249 h 39689"/>
                    <a:gd name="connsiteX1" fmla="*/ 27861 w 47705"/>
                    <a:gd name="connsiteY1" fmla="*/ 0 h 39689"/>
                    <a:gd name="connsiteX2" fmla="*/ 47705 w 47705"/>
                    <a:gd name="connsiteY2" fmla="*/ 19845 h 39689"/>
                    <a:gd name="connsiteX3" fmla="*/ 27861 w 47705"/>
                    <a:gd name="connsiteY3" fmla="*/ 39689 h 3968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7705" h="39689">
                      <a:moveTo>
                        <a:pt x="0" y="39249"/>
                      </a:moveTo>
                      <a:cubicBezTo>
                        <a:pt x="3617" y="14810"/>
                        <a:pt x="14028" y="0"/>
                        <a:pt x="27861" y="0"/>
                      </a:cubicBezTo>
                      <a:cubicBezTo>
                        <a:pt x="38809" y="0"/>
                        <a:pt x="47705" y="8896"/>
                        <a:pt x="47705" y="19845"/>
                      </a:cubicBezTo>
                      <a:cubicBezTo>
                        <a:pt x="47705" y="30793"/>
                        <a:pt x="38809" y="39689"/>
                        <a:pt x="27861" y="39689"/>
                      </a:cubicBez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329" name="Forma livre: Forma 1328">
                  <a:extLst>
                    <a:ext uri="{FF2B5EF4-FFF2-40B4-BE49-F238E27FC236}">
                      <a16:creationId xmlns:a16="http://schemas.microsoft.com/office/drawing/2014/main" id="{AB9162CE-33FD-5B05-AF5E-9F2D34356D17}"/>
                    </a:ext>
                  </a:extLst>
                </p:cNvPr>
                <p:cNvSpPr/>
                <p:nvPr/>
              </p:nvSpPr>
              <p:spPr>
                <a:xfrm>
                  <a:off x="9472032" y="4800718"/>
                  <a:ext cx="47705" cy="39689"/>
                </a:xfrm>
                <a:custGeom>
                  <a:avLst/>
                  <a:gdLst>
                    <a:gd name="connsiteX0" fmla="*/ 47705 w 47705"/>
                    <a:gd name="connsiteY0" fmla="*/ 39249 h 39689"/>
                    <a:gd name="connsiteX1" fmla="*/ 19845 w 47705"/>
                    <a:gd name="connsiteY1" fmla="*/ 0 h 39689"/>
                    <a:gd name="connsiteX2" fmla="*/ 0 w 47705"/>
                    <a:gd name="connsiteY2" fmla="*/ 19845 h 39689"/>
                    <a:gd name="connsiteX3" fmla="*/ 19845 w 47705"/>
                    <a:gd name="connsiteY3" fmla="*/ 39689 h 3968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7705" h="39689">
                      <a:moveTo>
                        <a:pt x="47705" y="39249"/>
                      </a:moveTo>
                      <a:cubicBezTo>
                        <a:pt x="44088" y="14810"/>
                        <a:pt x="33677" y="0"/>
                        <a:pt x="19845" y="0"/>
                      </a:cubicBezTo>
                      <a:cubicBezTo>
                        <a:pt x="8896" y="0"/>
                        <a:pt x="0" y="8896"/>
                        <a:pt x="0" y="19845"/>
                      </a:cubicBezTo>
                      <a:cubicBezTo>
                        <a:pt x="0" y="30793"/>
                        <a:pt x="8896" y="39689"/>
                        <a:pt x="19845" y="39689"/>
                      </a:cubicBez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sp>
          <p:nvSpPr>
            <p:cNvPr id="1330" name="Forma livre: Forma 1329">
              <a:extLst>
                <a:ext uri="{FF2B5EF4-FFF2-40B4-BE49-F238E27FC236}">
                  <a16:creationId xmlns:a16="http://schemas.microsoft.com/office/drawing/2014/main" id="{6CC0B1E1-A0C7-DB3A-C729-3C9C3E2B0F51}"/>
                </a:ext>
              </a:extLst>
            </p:cNvPr>
            <p:cNvSpPr/>
            <p:nvPr/>
          </p:nvSpPr>
          <p:spPr>
            <a:xfrm>
              <a:off x="9377844" y="4762544"/>
              <a:ext cx="283933" cy="292927"/>
            </a:xfrm>
            <a:custGeom>
              <a:avLst/>
              <a:gdLst>
                <a:gd name="connsiteX0" fmla="*/ 166186 w 283933"/>
                <a:gd name="connsiteY0" fmla="*/ 214624 h 292927"/>
                <a:gd name="connsiteX1" fmla="*/ 257393 w 283933"/>
                <a:gd name="connsiteY1" fmla="*/ 214624 h 292927"/>
                <a:gd name="connsiteX2" fmla="*/ 283934 w 283933"/>
                <a:gd name="connsiteY2" fmla="*/ 188084 h 292927"/>
                <a:gd name="connsiteX3" fmla="*/ 283934 w 283933"/>
                <a:gd name="connsiteY3" fmla="*/ 26541 h 292927"/>
                <a:gd name="connsiteX4" fmla="*/ 257393 w 283933"/>
                <a:gd name="connsiteY4" fmla="*/ 0 h 292927"/>
                <a:gd name="connsiteX5" fmla="*/ 26541 w 283933"/>
                <a:gd name="connsiteY5" fmla="*/ 0 h 292927"/>
                <a:gd name="connsiteX6" fmla="*/ 0 w 283933"/>
                <a:gd name="connsiteY6" fmla="*/ 26541 h 292927"/>
                <a:gd name="connsiteX7" fmla="*/ 0 w 283933"/>
                <a:gd name="connsiteY7" fmla="*/ 188084 h 292927"/>
                <a:gd name="connsiteX8" fmla="*/ 26541 w 283933"/>
                <a:gd name="connsiteY8" fmla="*/ 214624 h 292927"/>
                <a:gd name="connsiteX9" fmla="*/ 63395 w 283933"/>
                <a:gd name="connsiteY9" fmla="*/ 214624 h 292927"/>
                <a:gd name="connsiteX10" fmla="*/ 63395 w 283933"/>
                <a:gd name="connsiteY10" fmla="*/ 292927 h 292927"/>
                <a:gd name="connsiteX11" fmla="*/ 133731 w 283933"/>
                <a:gd name="connsiteY11" fmla="*/ 214624 h 2929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83933" h="292927">
                  <a:moveTo>
                    <a:pt x="166186" y="214624"/>
                  </a:moveTo>
                  <a:lnTo>
                    <a:pt x="257393" y="214624"/>
                  </a:lnTo>
                  <a:cubicBezTo>
                    <a:pt x="272007" y="214624"/>
                    <a:pt x="283934" y="202698"/>
                    <a:pt x="283934" y="188084"/>
                  </a:cubicBezTo>
                  <a:lnTo>
                    <a:pt x="283934" y="26541"/>
                  </a:lnTo>
                  <a:cubicBezTo>
                    <a:pt x="283934" y="11926"/>
                    <a:pt x="272007" y="0"/>
                    <a:pt x="257393" y="0"/>
                  </a:cubicBezTo>
                  <a:lnTo>
                    <a:pt x="26541" y="0"/>
                  </a:lnTo>
                  <a:cubicBezTo>
                    <a:pt x="11926" y="0"/>
                    <a:pt x="0" y="11926"/>
                    <a:pt x="0" y="26541"/>
                  </a:cubicBezTo>
                  <a:lnTo>
                    <a:pt x="0" y="188084"/>
                  </a:lnTo>
                  <a:cubicBezTo>
                    <a:pt x="0" y="202698"/>
                    <a:pt x="11926" y="214624"/>
                    <a:pt x="26541" y="214624"/>
                  </a:cubicBezTo>
                  <a:lnTo>
                    <a:pt x="63395" y="214624"/>
                  </a:lnTo>
                  <a:lnTo>
                    <a:pt x="63395" y="292927"/>
                  </a:lnTo>
                  <a:lnTo>
                    <a:pt x="133731" y="214624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331" name="Gráfico 14">
            <a:extLst>
              <a:ext uri="{FF2B5EF4-FFF2-40B4-BE49-F238E27FC236}">
                <a16:creationId xmlns:a16="http://schemas.microsoft.com/office/drawing/2014/main" id="{54D68E12-4966-26DA-E317-551F6A68069E}"/>
              </a:ext>
            </a:extLst>
          </p:cNvPr>
          <p:cNvGrpSpPr/>
          <p:nvPr/>
        </p:nvGrpSpPr>
        <p:grpSpPr>
          <a:xfrm>
            <a:off x="8735291" y="4716159"/>
            <a:ext cx="297473" cy="371376"/>
            <a:chOff x="8735291" y="4716159"/>
            <a:chExt cx="297473" cy="371376"/>
          </a:xfrm>
        </p:grpSpPr>
        <p:grpSp>
          <p:nvGrpSpPr>
            <p:cNvPr id="1332" name="Gráfico 14">
              <a:extLst>
                <a:ext uri="{FF2B5EF4-FFF2-40B4-BE49-F238E27FC236}">
                  <a16:creationId xmlns:a16="http://schemas.microsoft.com/office/drawing/2014/main" id="{A915281A-7DDD-7072-36DE-DFE447EC471B}"/>
                </a:ext>
              </a:extLst>
            </p:cNvPr>
            <p:cNvGrpSpPr/>
            <p:nvPr/>
          </p:nvGrpSpPr>
          <p:grpSpPr>
            <a:xfrm>
              <a:off x="8852989" y="4716159"/>
              <a:ext cx="62075" cy="62026"/>
              <a:chOff x="8852989" y="4716159"/>
              <a:chExt cx="62075" cy="62026"/>
            </a:xfrm>
          </p:grpSpPr>
          <p:sp>
            <p:nvSpPr>
              <p:cNvPr id="1333" name="Forma livre: Forma 1332">
                <a:extLst>
                  <a:ext uri="{FF2B5EF4-FFF2-40B4-BE49-F238E27FC236}">
                    <a16:creationId xmlns:a16="http://schemas.microsoft.com/office/drawing/2014/main" id="{7D67AE28-489E-5799-8200-D833D2F3FA55}"/>
                  </a:ext>
                </a:extLst>
              </p:cNvPr>
              <p:cNvSpPr/>
              <p:nvPr/>
            </p:nvSpPr>
            <p:spPr>
              <a:xfrm>
                <a:off x="8884027" y="4716159"/>
                <a:ext cx="4887" cy="19746"/>
              </a:xfrm>
              <a:custGeom>
                <a:avLst/>
                <a:gdLst>
                  <a:gd name="connsiteX0" fmla="*/ 0 w 4887"/>
                  <a:gd name="connsiteY0" fmla="*/ 0 h 19746"/>
                  <a:gd name="connsiteX1" fmla="*/ 0 w 4887"/>
                  <a:gd name="connsiteY1" fmla="*/ 19747 h 197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887" h="19746">
                    <a:moveTo>
                      <a:pt x="0" y="0"/>
                    </a:moveTo>
                    <a:lnTo>
                      <a:pt x="0" y="19747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334" name="Forma livre: Forma 1333">
                <a:extLst>
                  <a:ext uri="{FF2B5EF4-FFF2-40B4-BE49-F238E27FC236}">
                    <a16:creationId xmlns:a16="http://schemas.microsoft.com/office/drawing/2014/main" id="{43447BFB-0023-8BBA-1D19-CBC54B9DCBC6}"/>
                  </a:ext>
                </a:extLst>
              </p:cNvPr>
              <p:cNvSpPr/>
              <p:nvPr/>
            </p:nvSpPr>
            <p:spPr>
              <a:xfrm>
                <a:off x="8884027" y="4758438"/>
                <a:ext cx="4887" cy="19746"/>
              </a:xfrm>
              <a:custGeom>
                <a:avLst/>
                <a:gdLst>
                  <a:gd name="connsiteX0" fmla="*/ 0 w 4887"/>
                  <a:gd name="connsiteY0" fmla="*/ 0 h 19746"/>
                  <a:gd name="connsiteX1" fmla="*/ 0 w 4887"/>
                  <a:gd name="connsiteY1" fmla="*/ 19747 h 197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887" h="19746">
                    <a:moveTo>
                      <a:pt x="0" y="0"/>
                    </a:moveTo>
                    <a:lnTo>
                      <a:pt x="0" y="19747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335" name="Forma livre: Forma 1334">
                <a:extLst>
                  <a:ext uri="{FF2B5EF4-FFF2-40B4-BE49-F238E27FC236}">
                    <a16:creationId xmlns:a16="http://schemas.microsoft.com/office/drawing/2014/main" id="{F88900D7-015E-9778-C24A-8F3694685603}"/>
                  </a:ext>
                </a:extLst>
              </p:cNvPr>
              <p:cNvSpPr/>
              <p:nvPr/>
            </p:nvSpPr>
            <p:spPr>
              <a:xfrm>
                <a:off x="8895318" y="4747147"/>
                <a:ext cx="19746" cy="4887"/>
              </a:xfrm>
              <a:custGeom>
                <a:avLst/>
                <a:gdLst>
                  <a:gd name="connsiteX0" fmla="*/ 19747 w 19746"/>
                  <a:gd name="connsiteY0" fmla="*/ 0 h 4887"/>
                  <a:gd name="connsiteX1" fmla="*/ 0 w 19746"/>
                  <a:gd name="connsiteY1" fmla="*/ 0 h 48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9746" h="4887">
                    <a:moveTo>
                      <a:pt x="19747" y="0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336" name="Forma livre: Forma 1335">
                <a:extLst>
                  <a:ext uri="{FF2B5EF4-FFF2-40B4-BE49-F238E27FC236}">
                    <a16:creationId xmlns:a16="http://schemas.microsoft.com/office/drawing/2014/main" id="{514F8C4E-28FE-C3DB-CAE7-2FDE5EDF2423}"/>
                  </a:ext>
                </a:extLst>
              </p:cNvPr>
              <p:cNvSpPr/>
              <p:nvPr/>
            </p:nvSpPr>
            <p:spPr>
              <a:xfrm>
                <a:off x="8852989" y="4747147"/>
                <a:ext cx="19795" cy="4887"/>
              </a:xfrm>
              <a:custGeom>
                <a:avLst/>
                <a:gdLst>
                  <a:gd name="connsiteX0" fmla="*/ 19796 w 19795"/>
                  <a:gd name="connsiteY0" fmla="*/ 0 h 4887"/>
                  <a:gd name="connsiteX1" fmla="*/ 0 w 19795"/>
                  <a:gd name="connsiteY1" fmla="*/ 0 h 48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9795" h="4887">
                    <a:moveTo>
                      <a:pt x="19796" y="0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337" name="Gráfico 14">
              <a:extLst>
                <a:ext uri="{FF2B5EF4-FFF2-40B4-BE49-F238E27FC236}">
                  <a16:creationId xmlns:a16="http://schemas.microsoft.com/office/drawing/2014/main" id="{B32886C9-4AAE-2BF7-0AD8-55191AE0AE6E}"/>
                </a:ext>
              </a:extLst>
            </p:cNvPr>
            <p:cNvGrpSpPr/>
            <p:nvPr/>
          </p:nvGrpSpPr>
          <p:grpSpPr>
            <a:xfrm>
              <a:off x="8735388" y="4819047"/>
              <a:ext cx="297277" cy="62026"/>
              <a:chOff x="8735388" y="4819047"/>
              <a:chExt cx="297277" cy="62026"/>
            </a:xfrm>
          </p:grpSpPr>
          <p:grpSp>
            <p:nvGrpSpPr>
              <p:cNvPr id="1338" name="Gráfico 14">
                <a:extLst>
                  <a:ext uri="{FF2B5EF4-FFF2-40B4-BE49-F238E27FC236}">
                    <a16:creationId xmlns:a16="http://schemas.microsoft.com/office/drawing/2014/main" id="{B01F66C9-C3AC-EED8-6F2F-8721C7F41B4A}"/>
                  </a:ext>
                </a:extLst>
              </p:cNvPr>
              <p:cNvGrpSpPr/>
              <p:nvPr/>
            </p:nvGrpSpPr>
            <p:grpSpPr>
              <a:xfrm>
                <a:off x="8735388" y="4819047"/>
                <a:ext cx="62075" cy="62026"/>
                <a:chOff x="8735388" y="4819047"/>
                <a:chExt cx="62075" cy="62026"/>
              </a:xfrm>
            </p:grpSpPr>
            <p:sp>
              <p:nvSpPr>
                <p:cNvPr id="1339" name="Forma livre: Forma 1338">
                  <a:extLst>
                    <a:ext uri="{FF2B5EF4-FFF2-40B4-BE49-F238E27FC236}">
                      <a16:creationId xmlns:a16="http://schemas.microsoft.com/office/drawing/2014/main" id="{40D86E71-74EF-75CC-0138-8579AE5CAB24}"/>
                    </a:ext>
                  </a:extLst>
                </p:cNvPr>
                <p:cNvSpPr/>
                <p:nvPr/>
              </p:nvSpPr>
              <p:spPr>
                <a:xfrm>
                  <a:off x="8766426" y="4819047"/>
                  <a:ext cx="4887" cy="19746"/>
                </a:xfrm>
                <a:custGeom>
                  <a:avLst/>
                  <a:gdLst>
                    <a:gd name="connsiteX0" fmla="*/ 0 w 4887"/>
                    <a:gd name="connsiteY0" fmla="*/ 0 h 19746"/>
                    <a:gd name="connsiteX1" fmla="*/ 0 w 4887"/>
                    <a:gd name="connsiteY1" fmla="*/ 19747 h 197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887" h="19746">
                      <a:moveTo>
                        <a:pt x="0" y="0"/>
                      </a:moveTo>
                      <a:lnTo>
                        <a:pt x="0" y="19747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340" name="Forma livre: Forma 1339">
                  <a:extLst>
                    <a:ext uri="{FF2B5EF4-FFF2-40B4-BE49-F238E27FC236}">
                      <a16:creationId xmlns:a16="http://schemas.microsoft.com/office/drawing/2014/main" id="{E1DFD24E-A681-BBB8-D8C9-2300E1FF0318}"/>
                    </a:ext>
                  </a:extLst>
                </p:cNvPr>
                <p:cNvSpPr/>
                <p:nvPr/>
              </p:nvSpPr>
              <p:spPr>
                <a:xfrm>
                  <a:off x="8766426" y="4861327"/>
                  <a:ext cx="4887" cy="19746"/>
                </a:xfrm>
                <a:custGeom>
                  <a:avLst/>
                  <a:gdLst>
                    <a:gd name="connsiteX0" fmla="*/ 0 w 4887"/>
                    <a:gd name="connsiteY0" fmla="*/ 0 h 19746"/>
                    <a:gd name="connsiteX1" fmla="*/ 0 w 4887"/>
                    <a:gd name="connsiteY1" fmla="*/ 19747 h 197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887" h="19746">
                      <a:moveTo>
                        <a:pt x="0" y="0"/>
                      </a:moveTo>
                      <a:lnTo>
                        <a:pt x="0" y="19747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341" name="Forma livre: Forma 1340">
                  <a:extLst>
                    <a:ext uri="{FF2B5EF4-FFF2-40B4-BE49-F238E27FC236}">
                      <a16:creationId xmlns:a16="http://schemas.microsoft.com/office/drawing/2014/main" id="{B90F028B-20C9-BFFD-A432-F2F0E7EA07D9}"/>
                    </a:ext>
                  </a:extLst>
                </p:cNvPr>
                <p:cNvSpPr/>
                <p:nvPr/>
              </p:nvSpPr>
              <p:spPr>
                <a:xfrm>
                  <a:off x="8777668" y="4850085"/>
                  <a:ext cx="19795" cy="4887"/>
                </a:xfrm>
                <a:custGeom>
                  <a:avLst/>
                  <a:gdLst>
                    <a:gd name="connsiteX0" fmla="*/ 19796 w 19795"/>
                    <a:gd name="connsiteY0" fmla="*/ 0 h 4887"/>
                    <a:gd name="connsiteX1" fmla="*/ 0 w 19795"/>
                    <a:gd name="connsiteY1" fmla="*/ 0 h 48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9795" h="4887">
                      <a:moveTo>
                        <a:pt x="19796" y="0"/>
                      </a:moveTo>
                      <a:lnTo>
                        <a:pt x="0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342" name="Forma livre: Forma 1341">
                  <a:extLst>
                    <a:ext uri="{FF2B5EF4-FFF2-40B4-BE49-F238E27FC236}">
                      <a16:creationId xmlns:a16="http://schemas.microsoft.com/office/drawing/2014/main" id="{AC6E5802-98CE-0055-C0BF-975747E7DAA1}"/>
                    </a:ext>
                  </a:extLst>
                </p:cNvPr>
                <p:cNvSpPr/>
                <p:nvPr/>
              </p:nvSpPr>
              <p:spPr>
                <a:xfrm>
                  <a:off x="8735388" y="4850085"/>
                  <a:ext cx="19746" cy="4887"/>
                </a:xfrm>
                <a:custGeom>
                  <a:avLst/>
                  <a:gdLst>
                    <a:gd name="connsiteX0" fmla="*/ 19747 w 19746"/>
                    <a:gd name="connsiteY0" fmla="*/ 0 h 4887"/>
                    <a:gd name="connsiteX1" fmla="*/ 0 w 19746"/>
                    <a:gd name="connsiteY1" fmla="*/ 0 h 48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9746" h="4887">
                      <a:moveTo>
                        <a:pt x="19747" y="0"/>
                      </a:moveTo>
                      <a:lnTo>
                        <a:pt x="0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1343" name="Gráfico 14">
                <a:extLst>
                  <a:ext uri="{FF2B5EF4-FFF2-40B4-BE49-F238E27FC236}">
                    <a16:creationId xmlns:a16="http://schemas.microsoft.com/office/drawing/2014/main" id="{23CD19BC-0326-19B7-0AE1-501F040F6297}"/>
                  </a:ext>
                </a:extLst>
              </p:cNvPr>
              <p:cNvGrpSpPr/>
              <p:nvPr/>
            </p:nvGrpSpPr>
            <p:grpSpPr>
              <a:xfrm>
                <a:off x="8970639" y="4819047"/>
                <a:ext cx="62026" cy="62026"/>
                <a:chOff x="8970639" y="4819047"/>
                <a:chExt cx="62026" cy="62026"/>
              </a:xfrm>
            </p:grpSpPr>
            <p:sp>
              <p:nvSpPr>
                <p:cNvPr id="1344" name="Forma livre: Forma 1343">
                  <a:extLst>
                    <a:ext uri="{FF2B5EF4-FFF2-40B4-BE49-F238E27FC236}">
                      <a16:creationId xmlns:a16="http://schemas.microsoft.com/office/drawing/2014/main" id="{87A9099D-C634-DAE2-867B-9A023022836C}"/>
                    </a:ext>
                  </a:extLst>
                </p:cNvPr>
                <p:cNvSpPr/>
                <p:nvPr/>
              </p:nvSpPr>
              <p:spPr>
                <a:xfrm>
                  <a:off x="9001677" y="4819047"/>
                  <a:ext cx="4887" cy="19746"/>
                </a:xfrm>
                <a:custGeom>
                  <a:avLst/>
                  <a:gdLst>
                    <a:gd name="connsiteX0" fmla="*/ 0 w 4887"/>
                    <a:gd name="connsiteY0" fmla="*/ 0 h 19746"/>
                    <a:gd name="connsiteX1" fmla="*/ 0 w 4887"/>
                    <a:gd name="connsiteY1" fmla="*/ 19747 h 197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887" h="19746">
                      <a:moveTo>
                        <a:pt x="0" y="0"/>
                      </a:moveTo>
                      <a:lnTo>
                        <a:pt x="0" y="19747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345" name="Forma livre: Forma 1344">
                  <a:extLst>
                    <a:ext uri="{FF2B5EF4-FFF2-40B4-BE49-F238E27FC236}">
                      <a16:creationId xmlns:a16="http://schemas.microsoft.com/office/drawing/2014/main" id="{803ABF71-5FD7-80EC-B0DA-C9BECD27F8A9}"/>
                    </a:ext>
                  </a:extLst>
                </p:cNvPr>
                <p:cNvSpPr/>
                <p:nvPr/>
              </p:nvSpPr>
              <p:spPr>
                <a:xfrm>
                  <a:off x="9001677" y="4861327"/>
                  <a:ext cx="4887" cy="19746"/>
                </a:xfrm>
                <a:custGeom>
                  <a:avLst/>
                  <a:gdLst>
                    <a:gd name="connsiteX0" fmla="*/ 0 w 4887"/>
                    <a:gd name="connsiteY0" fmla="*/ 0 h 19746"/>
                    <a:gd name="connsiteX1" fmla="*/ 0 w 4887"/>
                    <a:gd name="connsiteY1" fmla="*/ 19747 h 197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887" h="19746">
                      <a:moveTo>
                        <a:pt x="0" y="0"/>
                      </a:moveTo>
                      <a:lnTo>
                        <a:pt x="0" y="19747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346" name="Forma livre: Forma 1345">
                  <a:extLst>
                    <a:ext uri="{FF2B5EF4-FFF2-40B4-BE49-F238E27FC236}">
                      <a16:creationId xmlns:a16="http://schemas.microsoft.com/office/drawing/2014/main" id="{1269E2E4-5BE1-59AE-9C12-89C3EBA1D3B5}"/>
                    </a:ext>
                  </a:extLst>
                </p:cNvPr>
                <p:cNvSpPr/>
                <p:nvPr/>
              </p:nvSpPr>
              <p:spPr>
                <a:xfrm>
                  <a:off x="9012919" y="4850085"/>
                  <a:ext cx="19746" cy="4887"/>
                </a:xfrm>
                <a:custGeom>
                  <a:avLst/>
                  <a:gdLst>
                    <a:gd name="connsiteX0" fmla="*/ 19747 w 19746"/>
                    <a:gd name="connsiteY0" fmla="*/ 0 h 4887"/>
                    <a:gd name="connsiteX1" fmla="*/ 0 w 19746"/>
                    <a:gd name="connsiteY1" fmla="*/ 0 h 48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9746" h="4887">
                      <a:moveTo>
                        <a:pt x="19747" y="0"/>
                      </a:moveTo>
                      <a:lnTo>
                        <a:pt x="0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347" name="Forma livre: Forma 1346">
                  <a:extLst>
                    <a:ext uri="{FF2B5EF4-FFF2-40B4-BE49-F238E27FC236}">
                      <a16:creationId xmlns:a16="http://schemas.microsoft.com/office/drawing/2014/main" id="{2683EC84-F769-BA10-ED44-9D2D90563FE7}"/>
                    </a:ext>
                  </a:extLst>
                </p:cNvPr>
                <p:cNvSpPr/>
                <p:nvPr/>
              </p:nvSpPr>
              <p:spPr>
                <a:xfrm>
                  <a:off x="8970639" y="4850085"/>
                  <a:ext cx="19746" cy="4887"/>
                </a:xfrm>
                <a:custGeom>
                  <a:avLst/>
                  <a:gdLst>
                    <a:gd name="connsiteX0" fmla="*/ 19747 w 19746"/>
                    <a:gd name="connsiteY0" fmla="*/ 0 h 4887"/>
                    <a:gd name="connsiteX1" fmla="*/ 0 w 19746"/>
                    <a:gd name="connsiteY1" fmla="*/ 0 h 48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9746" h="4887">
                      <a:moveTo>
                        <a:pt x="19747" y="0"/>
                      </a:moveTo>
                      <a:lnTo>
                        <a:pt x="0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sp>
          <p:nvSpPr>
            <p:cNvPr id="1348" name="Forma livre: Forma 1347">
              <a:extLst>
                <a:ext uri="{FF2B5EF4-FFF2-40B4-BE49-F238E27FC236}">
                  <a16:creationId xmlns:a16="http://schemas.microsoft.com/office/drawing/2014/main" id="{1EA1E97E-0982-9780-3F9C-1E12ACA6A386}"/>
                </a:ext>
              </a:extLst>
            </p:cNvPr>
            <p:cNvSpPr/>
            <p:nvPr/>
          </p:nvSpPr>
          <p:spPr>
            <a:xfrm>
              <a:off x="8786613" y="4999750"/>
              <a:ext cx="194828" cy="87785"/>
            </a:xfrm>
            <a:custGeom>
              <a:avLst/>
              <a:gdLst>
                <a:gd name="connsiteX0" fmla="*/ 194829 w 194828"/>
                <a:gd name="connsiteY0" fmla="*/ 0 h 87785"/>
                <a:gd name="connsiteX1" fmla="*/ 194829 w 194828"/>
                <a:gd name="connsiteY1" fmla="*/ 43746 h 87785"/>
                <a:gd name="connsiteX2" fmla="*/ 97366 w 194828"/>
                <a:gd name="connsiteY2" fmla="*/ 87785 h 87785"/>
                <a:gd name="connsiteX3" fmla="*/ 0 w 194828"/>
                <a:gd name="connsiteY3" fmla="*/ 43746 h 87785"/>
                <a:gd name="connsiteX4" fmla="*/ 0 w 194828"/>
                <a:gd name="connsiteY4" fmla="*/ 0 h 877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4828" h="87785">
                  <a:moveTo>
                    <a:pt x="194829" y="0"/>
                  </a:moveTo>
                  <a:lnTo>
                    <a:pt x="194829" y="43746"/>
                  </a:lnTo>
                  <a:lnTo>
                    <a:pt x="97366" y="87785"/>
                  </a:lnTo>
                  <a:lnTo>
                    <a:pt x="0" y="43746"/>
                  </a:lnTo>
                  <a:lnTo>
                    <a:pt x="0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349" name="Forma livre: Forma 1348">
              <a:extLst>
                <a:ext uri="{FF2B5EF4-FFF2-40B4-BE49-F238E27FC236}">
                  <a16:creationId xmlns:a16="http://schemas.microsoft.com/office/drawing/2014/main" id="{6886B6A8-65D7-53BB-F28D-F29C193EAB00}"/>
                </a:ext>
              </a:extLst>
            </p:cNvPr>
            <p:cNvSpPr/>
            <p:nvPr/>
          </p:nvSpPr>
          <p:spPr>
            <a:xfrm>
              <a:off x="8786662" y="4919443"/>
              <a:ext cx="194779" cy="64519"/>
            </a:xfrm>
            <a:custGeom>
              <a:avLst/>
              <a:gdLst>
                <a:gd name="connsiteX0" fmla="*/ 49514 w 194779"/>
                <a:gd name="connsiteY0" fmla="*/ 0 h 64519"/>
                <a:gd name="connsiteX1" fmla="*/ 0 w 194779"/>
                <a:gd name="connsiteY1" fmla="*/ 20480 h 64519"/>
                <a:gd name="connsiteX2" fmla="*/ 97268 w 194779"/>
                <a:gd name="connsiteY2" fmla="*/ 64519 h 64519"/>
                <a:gd name="connsiteX3" fmla="*/ 194780 w 194779"/>
                <a:gd name="connsiteY3" fmla="*/ 20480 h 64519"/>
                <a:gd name="connsiteX4" fmla="*/ 145999 w 194779"/>
                <a:gd name="connsiteY4" fmla="*/ 293 h 645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4779" h="64519">
                  <a:moveTo>
                    <a:pt x="49514" y="0"/>
                  </a:moveTo>
                  <a:lnTo>
                    <a:pt x="0" y="20480"/>
                  </a:lnTo>
                  <a:lnTo>
                    <a:pt x="97268" y="64519"/>
                  </a:lnTo>
                  <a:lnTo>
                    <a:pt x="194780" y="20480"/>
                  </a:lnTo>
                  <a:lnTo>
                    <a:pt x="145999" y="293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350" name="Gráfico 14">
              <a:extLst>
                <a:ext uri="{FF2B5EF4-FFF2-40B4-BE49-F238E27FC236}">
                  <a16:creationId xmlns:a16="http://schemas.microsoft.com/office/drawing/2014/main" id="{A457977E-6CE4-ECF7-370C-C35921FAF3A8}"/>
                </a:ext>
              </a:extLst>
            </p:cNvPr>
            <p:cNvGrpSpPr/>
            <p:nvPr/>
          </p:nvGrpSpPr>
          <p:grpSpPr>
            <a:xfrm>
              <a:off x="8735291" y="4888992"/>
              <a:ext cx="297473" cy="50979"/>
              <a:chOff x="8735291" y="4888992"/>
              <a:chExt cx="297473" cy="50979"/>
            </a:xfrm>
            <a:noFill/>
          </p:grpSpPr>
          <p:sp>
            <p:nvSpPr>
              <p:cNvPr id="1351" name="Forma livre: Forma 1350">
                <a:extLst>
                  <a:ext uri="{FF2B5EF4-FFF2-40B4-BE49-F238E27FC236}">
                    <a16:creationId xmlns:a16="http://schemas.microsoft.com/office/drawing/2014/main" id="{B86B3DE8-B597-2595-6717-61118669C934}"/>
                  </a:ext>
                </a:extLst>
              </p:cNvPr>
              <p:cNvSpPr/>
              <p:nvPr/>
            </p:nvSpPr>
            <p:spPr>
              <a:xfrm>
                <a:off x="8735291" y="4888992"/>
                <a:ext cx="93552" cy="50979"/>
              </a:xfrm>
              <a:custGeom>
                <a:avLst/>
                <a:gdLst>
                  <a:gd name="connsiteX0" fmla="*/ 93553 w 93552"/>
                  <a:gd name="connsiteY0" fmla="*/ 0 h 50979"/>
                  <a:gd name="connsiteX1" fmla="*/ 0 w 93552"/>
                  <a:gd name="connsiteY1" fmla="*/ 37930 h 50979"/>
                  <a:gd name="connsiteX2" fmla="*/ 51224 w 93552"/>
                  <a:gd name="connsiteY2" fmla="*/ 50980 h 509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93552" h="50979">
                    <a:moveTo>
                      <a:pt x="93553" y="0"/>
                    </a:moveTo>
                    <a:lnTo>
                      <a:pt x="0" y="37930"/>
                    </a:lnTo>
                    <a:lnTo>
                      <a:pt x="51224" y="5098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352" name="Forma livre: Forma 1351">
                <a:extLst>
                  <a:ext uri="{FF2B5EF4-FFF2-40B4-BE49-F238E27FC236}">
                    <a16:creationId xmlns:a16="http://schemas.microsoft.com/office/drawing/2014/main" id="{CBE120BB-BD89-18A2-23BE-6D420A542AFC}"/>
                  </a:ext>
                </a:extLst>
              </p:cNvPr>
              <p:cNvSpPr/>
              <p:nvPr/>
            </p:nvSpPr>
            <p:spPr>
              <a:xfrm>
                <a:off x="8940139" y="4889481"/>
                <a:ext cx="92624" cy="50491"/>
              </a:xfrm>
              <a:custGeom>
                <a:avLst/>
                <a:gdLst>
                  <a:gd name="connsiteX0" fmla="*/ 0 w 92624"/>
                  <a:gd name="connsiteY0" fmla="*/ 0 h 50491"/>
                  <a:gd name="connsiteX1" fmla="*/ 92624 w 92624"/>
                  <a:gd name="connsiteY1" fmla="*/ 37441 h 50491"/>
                  <a:gd name="connsiteX2" fmla="*/ 41449 w 92624"/>
                  <a:gd name="connsiteY2" fmla="*/ 50491 h 504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92624" h="50491">
                    <a:moveTo>
                      <a:pt x="0" y="0"/>
                    </a:moveTo>
                    <a:lnTo>
                      <a:pt x="92624" y="37441"/>
                    </a:lnTo>
                    <a:lnTo>
                      <a:pt x="41449" y="50491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353" name="Gráfico 14">
              <a:extLst>
                <a:ext uri="{FF2B5EF4-FFF2-40B4-BE49-F238E27FC236}">
                  <a16:creationId xmlns:a16="http://schemas.microsoft.com/office/drawing/2014/main" id="{ACD49F7C-A2A1-3551-EB5F-644033B345C5}"/>
                </a:ext>
              </a:extLst>
            </p:cNvPr>
            <p:cNvGrpSpPr/>
            <p:nvPr/>
          </p:nvGrpSpPr>
          <p:grpSpPr>
            <a:xfrm>
              <a:off x="8746191" y="4940070"/>
              <a:ext cx="275722" cy="87296"/>
              <a:chOff x="8746191" y="4940070"/>
              <a:chExt cx="275722" cy="87296"/>
            </a:xfrm>
            <a:noFill/>
          </p:grpSpPr>
          <p:sp>
            <p:nvSpPr>
              <p:cNvPr id="1354" name="Forma livre: Forma 1353">
                <a:extLst>
                  <a:ext uri="{FF2B5EF4-FFF2-40B4-BE49-F238E27FC236}">
                    <a16:creationId xmlns:a16="http://schemas.microsoft.com/office/drawing/2014/main" id="{4F152A16-CECB-239B-BC82-8D018AD373EB}"/>
                  </a:ext>
                </a:extLst>
              </p:cNvPr>
              <p:cNvSpPr/>
              <p:nvPr/>
            </p:nvSpPr>
            <p:spPr>
              <a:xfrm>
                <a:off x="8746191" y="4940070"/>
                <a:ext cx="137787" cy="87296"/>
              </a:xfrm>
              <a:custGeom>
                <a:avLst/>
                <a:gdLst>
                  <a:gd name="connsiteX0" fmla="*/ 137788 w 137787"/>
                  <a:gd name="connsiteY0" fmla="*/ 43893 h 87296"/>
                  <a:gd name="connsiteX1" fmla="*/ 97903 w 137787"/>
                  <a:gd name="connsiteY1" fmla="*/ 87296 h 87296"/>
                  <a:gd name="connsiteX2" fmla="*/ 0 w 137787"/>
                  <a:gd name="connsiteY2" fmla="*/ 39200 h 87296"/>
                  <a:gd name="connsiteX3" fmla="*/ 40471 w 137787"/>
                  <a:gd name="connsiteY3" fmla="*/ 0 h 872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37787" h="87296">
                    <a:moveTo>
                      <a:pt x="137788" y="43893"/>
                    </a:moveTo>
                    <a:lnTo>
                      <a:pt x="97903" y="87296"/>
                    </a:lnTo>
                    <a:lnTo>
                      <a:pt x="0" y="39200"/>
                    </a:lnTo>
                    <a:lnTo>
                      <a:pt x="40471" y="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355" name="Forma livre: Forma 1354">
                <a:extLst>
                  <a:ext uri="{FF2B5EF4-FFF2-40B4-BE49-F238E27FC236}">
                    <a16:creationId xmlns:a16="http://schemas.microsoft.com/office/drawing/2014/main" id="{FDDD6B0F-3551-F5BC-E751-168D321F55DE}"/>
                  </a:ext>
                </a:extLst>
              </p:cNvPr>
              <p:cNvSpPr/>
              <p:nvPr/>
            </p:nvSpPr>
            <p:spPr>
              <a:xfrm>
                <a:off x="8884076" y="4940070"/>
                <a:ext cx="137836" cy="87296"/>
              </a:xfrm>
              <a:custGeom>
                <a:avLst/>
                <a:gdLst>
                  <a:gd name="connsiteX0" fmla="*/ 0 w 137836"/>
                  <a:gd name="connsiteY0" fmla="*/ 43893 h 87296"/>
                  <a:gd name="connsiteX1" fmla="*/ 39885 w 137836"/>
                  <a:gd name="connsiteY1" fmla="*/ 87296 h 87296"/>
                  <a:gd name="connsiteX2" fmla="*/ 137837 w 137836"/>
                  <a:gd name="connsiteY2" fmla="*/ 39200 h 87296"/>
                  <a:gd name="connsiteX3" fmla="*/ 97317 w 137836"/>
                  <a:gd name="connsiteY3" fmla="*/ 0 h 872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37836" h="87296">
                    <a:moveTo>
                      <a:pt x="0" y="43893"/>
                    </a:moveTo>
                    <a:lnTo>
                      <a:pt x="39885" y="87296"/>
                    </a:lnTo>
                    <a:lnTo>
                      <a:pt x="137837" y="39200"/>
                    </a:lnTo>
                    <a:lnTo>
                      <a:pt x="97317" y="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356" name="Forma livre: Forma 1355">
              <a:extLst>
                <a:ext uri="{FF2B5EF4-FFF2-40B4-BE49-F238E27FC236}">
                  <a16:creationId xmlns:a16="http://schemas.microsoft.com/office/drawing/2014/main" id="{49A27DA3-51B9-EAD1-863B-57BF959BA511}"/>
                </a:ext>
              </a:extLst>
            </p:cNvPr>
            <p:cNvSpPr/>
            <p:nvPr/>
          </p:nvSpPr>
          <p:spPr>
            <a:xfrm>
              <a:off x="8884027" y="4811911"/>
              <a:ext cx="4887" cy="140916"/>
            </a:xfrm>
            <a:custGeom>
              <a:avLst/>
              <a:gdLst>
                <a:gd name="connsiteX0" fmla="*/ 0 w 4887"/>
                <a:gd name="connsiteY0" fmla="*/ 140916 h 140916"/>
                <a:gd name="connsiteX1" fmla="*/ 0 w 4887"/>
                <a:gd name="connsiteY1" fmla="*/ 0 h 1409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887" h="140916">
                  <a:moveTo>
                    <a:pt x="0" y="140916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357" name="Gráfico 14">
              <a:extLst>
                <a:ext uri="{FF2B5EF4-FFF2-40B4-BE49-F238E27FC236}">
                  <a16:creationId xmlns:a16="http://schemas.microsoft.com/office/drawing/2014/main" id="{F7702E82-209E-DDA9-4F8D-C6BCE362094B}"/>
                </a:ext>
              </a:extLst>
            </p:cNvPr>
            <p:cNvGrpSpPr/>
            <p:nvPr/>
          </p:nvGrpSpPr>
          <p:grpSpPr>
            <a:xfrm>
              <a:off x="8836906" y="4790466"/>
              <a:ext cx="94242" cy="7600"/>
              <a:chOff x="8836906" y="4790466"/>
              <a:chExt cx="94242" cy="7600"/>
            </a:xfrm>
            <a:solidFill>
              <a:srgbClr val="394553"/>
            </a:solidFill>
          </p:grpSpPr>
          <p:sp>
            <p:nvSpPr>
              <p:cNvPr id="1358" name="Forma livre: Forma 1357">
                <a:extLst>
                  <a:ext uri="{FF2B5EF4-FFF2-40B4-BE49-F238E27FC236}">
                    <a16:creationId xmlns:a16="http://schemas.microsoft.com/office/drawing/2014/main" id="{533B12EA-3EB0-2FA6-054C-B63FDBCA353B}"/>
                  </a:ext>
                </a:extLst>
              </p:cNvPr>
              <p:cNvSpPr/>
              <p:nvPr/>
            </p:nvSpPr>
            <p:spPr>
              <a:xfrm>
                <a:off x="8923533" y="4790466"/>
                <a:ext cx="7615" cy="7600"/>
              </a:xfrm>
              <a:custGeom>
                <a:avLst/>
                <a:gdLst>
                  <a:gd name="connsiteX0" fmla="*/ 6831 w 7615"/>
                  <a:gd name="connsiteY0" fmla="*/ 1503 h 7600"/>
                  <a:gd name="connsiteX1" fmla="*/ 1503 w 7615"/>
                  <a:gd name="connsiteY1" fmla="*/ 770 h 7600"/>
                  <a:gd name="connsiteX2" fmla="*/ 770 w 7615"/>
                  <a:gd name="connsiteY2" fmla="*/ 6098 h 7600"/>
                  <a:gd name="connsiteX3" fmla="*/ 6098 w 7615"/>
                  <a:gd name="connsiteY3" fmla="*/ 6831 h 7600"/>
                  <a:gd name="connsiteX4" fmla="*/ 6831 w 7615"/>
                  <a:gd name="connsiteY4" fmla="*/ 1503 h 76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615" h="7600">
                    <a:moveTo>
                      <a:pt x="6831" y="1503"/>
                    </a:moveTo>
                    <a:cubicBezTo>
                      <a:pt x="5560" y="-159"/>
                      <a:pt x="3165" y="-501"/>
                      <a:pt x="1503" y="770"/>
                    </a:cubicBezTo>
                    <a:cubicBezTo>
                      <a:pt x="-159" y="2041"/>
                      <a:pt x="-501" y="4436"/>
                      <a:pt x="770" y="6098"/>
                    </a:cubicBezTo>
                    <a:cubicBezTo>
                      <a:pt x="2041" y="7760"/>
                      <a:pt x="4436" y="8102"/>
                      <a:pt x="6098" y="6831"/>
                    </a:cubicBezTo>
                    <a:cubicBezTo>
                      <a:pt x="7808" y="5560"/>
                      <a:pt x="8102" y="3165"/>
                      <a:pt x="6831" y="1503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359" name="Forma livre: Forma 1358">
                <a:extLst>
                  <a:ext uri="{FF2B5EF4-FFF2-40B4-BE49-F238E27FC236}">
                    <a16:creationId xmlns:a16="http://schemas.microsoft.com/office/drawing/2014/main" id="{1168EB87-9BA6-891D-7A86-AE9B3509A9AF}"/>
                  </a:ext>
                </a:extLst>
              </p:cNvPr>
              <p:cNvSpPr/>
              <p:nvPr/>
            </p:nvSpPr>
            <p:spPr>
              <a:xfrm>
                <a:off x="8836906" y="4790466"/>
                <a:ext cx="7615" cy="7600"/>
              </a:xfrm>
              <a:custGeom>
                <a:avLst/>
                <a:gdLst>
                  <a:gd name="connsiteX0" fmla="*/ 785 w 7615"/>
                  <a:gd name="connsiteY0" fmla="*/ 1503 h 7600"/>
                  <a:gd name="connsiteX1" fmla="*/ 6112 w 7615"/>
                  <a:gd name="connsiteY1" fmla="*/ 770 h 7600"/>
                  <a:gd name="connsiteX2" fmla="*/ 6845 w 7615"/>
                  <a:gd name="connsiteY2" fmla="*/ 6098 h 7600"/>
                  <a:gd name="connsiteX3" fmla="*/ 1518 w 7615"/>
                  <a:gd name="connsiteY3" fmla="*/ 6831 h 7600"/>
                  <a:gd name="connsiteX4" fmla="*/ 785 w 7615"/>
                  <a:gd name="connsiteY4" fmla="*/ 1503 h 76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615" h="7600">
                    <a:moveTo>
                      <a:pt x="785" y="1503"/>
                    </a:moveTo>
                    <a:cubicBezTo>
                      <a:pt x="2055" y="-159"/>
                      <a:pt x="4450" y="-501"/>
                      <a:pt x="6112" y="770"/>
                    </a:cubicBezTo>
                    <a:cubicBezTo>
                      <a:pt x="7774" y="2041"/>
                      <a:pt x="8116" y="4436"/>
                      <a:pt x="6845" y="6098"/>
                    </a:cubicBezTo>
                    <a:cubicBezTo>
                      <a:pt x="5575" y="7760"/>
                      <a:pt x="3180" y="8102"/>
                      <a:pt x="1518" y="6831"/>
                    </a:cubicBezTo>
                    <a:cubicBezTo>
                      <a:pt x="-193" y="5560"/>
                      <a:pt x="-486" y="3165"/>
                      <a:pt x="785" y="1503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360" name="Gráfico 14">
              <a:extLst>
                <a:ext uri="{FF2B5EF4-FFF2-40B4-BE49-F238E27FC236}">
                  <a16:creationId xmlns:a16="http://schemas.microsoft.com/office/drawing/2014/main" id="{08CEFC0A-1764-5D87-2B76-D048977AA5FC}"/>
                </a:ext>
              </a:extLst>
            </p:cNvPr>
            <p:cNvGrpSpPr/>
            <p:nvPr/>
          </p:nvGrpSpPr>
          <p:grpSpPr>
            <a:xfrm>
              <a:off x="8781041" y="4786837"/>
              <a:ext cx="205972" cy="156801"/>
              <a:chOff x="8781041" y="4786837"/>
              <a:chExt cx="205972" cy="156801"/>
            </a:xfrm>
            <a:noFill/>
          </p:grpSpPr>
          <p:sp>
            <p:nvSpPr>
              <p:cNvPr id="1361" name="Forma livre: Forma 1360">
                <a:extLst>
                  <a:ext uri="{FF2B5EF4-FFF2-40B4-BE49-F238E27FC236}">
                    <a16:creationId xmlns:a16="http://schemas.microsoft.com/office/drawing/2014/main" id="{FF3D66BB-3456-F704-3FFA-4FD073B1B6EE}"/>
                  </a:ext>
                </a:extLst>
              </p:cNvPr>
              <p:cNvSpPr/>
              <p:nvPr/>
            </p:nvSpPr>
            <p:spPr>
              <a:xfrm>
                <a:off x="8781041" y="4786837"/>
                <a:ext cx="77081" cy="156801"/>
              </a:xfrm>
              <a:custGeom>
                <a:avLst/>
                <a:gdLst>
                  <a:gd name="connsiteX0" fmla="*/ 0 w 77081"/>
                  <a:gd name="connsiteY0" fmla="*/ 0 h 156801"/>
                  <a:gd name="connsiteX1" fmla="*/ 77081 w 77081"/>
                  <a:gd name="connsiteY1" fmla="*/ 156801 h 1568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77081" h="156801">
                    <a:moveTo>
                      <a:pt x="0" y="0"/>
                    </a:moveTo>
                    <a:cubicBezTo>
                      <a:pt x="0" y="0"/>
                      <a:pt x="77081" y="54157"/>
                      <a:pt x="77081" y="156801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362" name="Forma livre: Forma 1361">
                <a:extLst>
                  <a:ext uri="{FF2B5EF4-FFF2-40B4-BE49-F238E27FC236}">
                    <a16:creationId xmlns:a16="http://schemas.microsoft.com/office/drawing/2014/main" id="{F55E13CD-EDC1-C085-A4DF-D83E44C7DF44}"/>
                  </a:ext>
                </a:extLst>
              </p:cNvPr>
              <p:cNvSpPr/>
              <p:nvPr/>
            </p:nvSpPr>
            <p:spPr>
              <a:xfrm>
                <a:off x="8909933" y="4786837"/>
                <a:ext cx="77080" cy="156801"/>
              </a:xfrm>
              <a:custGeom>
                <a:avLst/>
                <a:gdLst>
                  <a:gd name="connsiteX0" fmla="*/ 77081 w 77080"/>
                  <a:gd name="connsiteY0" fmla="*/ 0 h 156801"/>
                  <a:gd name="connsiteX1" fmla="*/ 0 w 77080"/>
                  <a:gd name="connsiteY1" fmla="*/ 156801 h 1568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77080" h="156801">
                    <a:moveTo>
                      <a:pt x="77081" y="0"/>
                    </a:moveTo>
                    <a:cubicBezTo>
                      <a:pt x="77081" y="0"/>
                      <a:pt x="0" y="54157"/>
                      <a:pt x="0" y="156801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363" name="Forma livre: Forma 1362">
              <a:extLst>
                <a:ext uri="{FF2B5EF4-FFF2-40B4-BE49-F238E27FC236}">
                  <a16:creationId xmlns:a16="http://schemas.microsoft.com/office/drawing/2014/main" id="{090066BB-1D96-0F3D-09FA-340ABAF99E96}"/>
                </a:ext>
              </a:extLst>
            </p:cNvPr>
            <p:cNvSpPr/>
            <p:nvPr/>
          </p:nvSpPr>
          <p:spPr>
            <a:xfrm>
              <a:off x="8884027" y="5022088"/>
              <a:ext cx="4887" cy="63052"/>
            </a:xfrm>
            <a:custGeom>
              <a:avLst/>
              <a:gdLst>
                <a:gd name="connsiteX0" fmla="*/ 0 w 4887"/>
                <a:gd name="connsiteY0" fmla="*/ 63053 h 63052"/>
                <a:gd name="connsiteX1" fmla="*/ 0 w 4887"/>
                <a:gd name="connsiteY1" fmla="*/ 0 h 630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887" h="63052">
                  <a:moveTo>
                    <a:pt x="0" y="63053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364" name="Gráfico 14">
            <a:extLst>
              <a:ext uri="{FF2B5EF4-FFF2-40B4-BE49-F238E27FC236}">
                <a16:creationId xmlns:a16="http://schemas.microsoft.com/office/drawing/2014/main" id="{A8E7DFAA-CB2F-E62F-D557-2179CB9792C1}"/>
              </a:ext>
            </a:extLst>
          </p:cNvPr>
          <p:cNvGrpSpPr/>
          <p:nvPr/>
        </p:nvGrpSpPr>
        <p:grpSpPr>
          <a:xfrm>
            <a:off x="8090733" y="5319342"/>
            <a:ext cx="329488" cy="258344"/>
            <a:chOff x="8090733" y="5319342"/>
            <a:chExt cx="329488" cy="258344"/>
          </a:xfrm>
          <a:noFill/>
        </p:grpSpPr>
        <p:grpSp>
          <p:nvGrpSpPr>
            <p:cNvPr id="1365" name="Gráfico 14">
              <a:extLst>
                <a:ext uri="{FF2B5EF4-FFF2-40B4-BE49-F238E27FC236}">
                  <a16:creationId xmlns:a16="http://schemas.microsoft.com/office/drawing/2014/main" id="{3F0E2BFC-D483-14A8-4470-C542F8B59785}"/>
                </a:ext>
              </a:extLst>
            </p:cNvPr>
            <p:cNvGrpSpPr/>
            <p:nvPr/>
          </p:nvGrpSpPr>
          <p:grpSpPr>
            <a:xfrm>
              <a:off x="8267917" y="5418588"/>
              <a:ext cx="152304" cy="159098"/>
              <a:chOff x="8267917" y="5418588"/>
              <a:chExt cx="152304" cy="159098"/>
            </a:xfrm>
            <a:noFill/>
          </p:grpSpPr>
          <p:sp>
            <p:nvSpPr>
              <p:cNvPr id="1366" name="Forma livre: Forma 1365">
                <a:extLst>
                  <a:ext uri="{FF2B5EF4-FFF2-40B4-BE49-F238E27FC236}">
                    <a16:creationId xmlns:a16="http://schemas.microsoft.com/office/drawing/2014/main" id="{EDF521E8-E826-B12A-9066-0B8698A4FA8C}"/>
                  </a:ext>
                </a:extLst>
              </p:cNvPr>
              <p:cNvSpPr/>
              <p:nvPr/>
            </p:nvSpPr>
            <p:spPr>
              <a:xfrm>
                <a:off x="8278132" y="5520597"/>
                <a:ext cx="131922" cy="57089"/>
              </a:xfrm>
              <a:custGeom>
                <a:avLst/>
                <a:gdLst>
                  <a:gd name="connsiteX0" fmla="*/ 0 w 131922"/>
                  <a:gd name="connsiteY0" fmla="*/ 0 h 57089"/>
                  <a:gd name="connsiteX1" fmla="*/ 0 w 131922"/>
                  <a:gd name="connsiteY1" fmla="*/ 57090 h 57089"/>
                  <a:gd name="connsiteX2" fmla="*/ 131922 w 131922"/>
                  <a:gd name="connsiteY2" fmla="*/ 57090 h 57089"/>
                  <a:gd name="connsiteX3" fmla="*/ 131922 w 131922"/>
                  <a:gd name="connsiteY3" fmla="*/ 0 h 570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31922" h="57089">
                    <a:moveTo>
                      <a:pt x="0" y="0"/>
                    </a:moveTo>
                    <a:lnTo>
                      <a:pt x="0" y="57090"/>
                    </a:lnTo>
                    <a:lnTo>
                      <a:pt x="131922" y="57090"/>
                    </a:lnTo>
                    <a:lnTo>
                      <a:pt x="131922" y="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367" name="Forma livre: Forma 1366">
                <a:extLst>
                  <a:ext uri="{FF2B5EF4-FFF2-40B4-BE49-F238E27FC236}">
                    <a16:creationId xmlns:a16="http://schemas.microsoft.com/office/drawing/2014/main" id="{6ACA7AB3-DF60-81CA-95BD-137E0F1A2027}"/>
                  </a:ext>
                </a:extLst>
              </p:cNvPr>
              <p:cNvSpPr/>
              <p:nvPr/>
            </p:nvSpPr>
            <p:spPr>
              <a:xfrm>
                <a:off x="8267917" y="5464680"/>
                <a:ext cx="152304" cy="32406"/>
              </a:xfrm>
              <a:custGeom>
                <a:avLst/>
                <a:gdLst>
                  <a:gd name="connsiteX0" fmla="*/ 91500 w 152304"/>
                  <a:gd name="connsiteY0" fmla="*/ 32406 h 32406"/>
                  <a:gd name="connsiteX1" fmla="*/ 152305 w 152304"/>
                  <a:gd name="connsiteY1" fmla="*/ 32406 h 32406"/>
                  <a:gd name="connsiteX2" fmla="*/ 152305 w 152304"/>
                  <a:gd name="connsiteY2" fmla="*/ 0 h 32406"/>
                  <a:gd name="connsiteX3" fmla="*/ 0 w 152304"/>
                  <a:gd name="connsiteY3" fmla="*/ 0 h 32406"/>
                  <a:gd name="connsiteX4" fmla="*/ 0 w 152304"/>
                  <a:gd name="connsiteY4" fmla="*/ 32406 h 32406"/>
                  <a:gd name="connsiteX5" fmla="*/ 60853 w 152304"/>
                  <a:gd name="connsiteY5" fmla="*/ 32406 h 324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52304" h="32406">
                    <a:moveTo>
                      <a:pt x="91500" y="32406"/>
                    </a:moveTo>
                    <a:lnTo>
                      <a:pt x="152305" y="32406"/>
                    </a:lnTo>
                    <a:lnTo>
                      <a:pt x="152305" y="0"/>
                    </a:lnTo>
                    <a:lnTo>
                      <a:pt x="0" y="0"/>
                    </a:lnTo>
                    <a:lnTo>
                      <a:pt x="0" y="32406"/>
                    </a:lnTo>
                    <a:lnTo>
                      <a:pt x="60853" y="32406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1368" name="Gráfico 14">
                <a:extLst>
                  <a:ext uri="{FF2B5EF4-FFF2-40B4-BE49-F238E27FC236}">
                    <a16:creationId xmlns:a16="http://schemas.microsoft.com/office/drawing/2014/main" id="{7358E300-1BA9-2AF4-638B-303E5AB9DE64}"/>
                  </a:ext>
                </a:extLst>
              </p:cNvPr>
              <p:cNvGrpSpPr/>
              <p:nvPr/>
            </p:nvGrpSpPr>
            <p:grpSpPr>
              <a:xfrm>
                <a:off x="8328770" y="5465462"/>
                <a:ext cx="30646" cy="111735"/>
                <a:chOff x="8328770" y="5465462"/>
                <a:chExt cx="30646" cy="111735"/>
              </a:xfrm>
            </p:grpSpPr>
            <p:sp>
              <p:nvSpPr>
                <p:cNvPr id="1369" name="Forma livre: Forma 1368">
                  <a:extLst>
                    <a:ext uri="{FF2B5EF4-FFF2-40B4-BE49-F238E27FC236}">
                      <a16:creationId xmlns:a16="http://schemas.microsoft.com/office/drawing/2014/main" id="{957F4333-FE98-AE4B-A930-9757C0E68EB5}"/>
                    </a:ext>
                  </a:extLst>
                </p:cNvPr>
                <p:cNvSpPr/>
                <p:nvPr/>
              </p:nvSpPr>
              <p:spPr>
                <a:xfrm>
                  <a:off x="8328770" y="5465462"/>
                  <a:ext cx="4887" cy="111735"/>
                </a:xfrm>
                <a:custGeom>
                  <a:avLst/>
                  <a:gdLst>
                    <a:gd name="connsiteX0" fmla="*/ 0 w 4887"/>
                    <a:gd name="connsiteY0" fmla="*/ 0 h 111735"/>
                    <a:gd name="connsiteX1" fmla="*/ 0 w 4887"/>
                    <a:gd name="connsiteY1" fmla="*/ 111736 h 11173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887" h="111735">
                      <a:moveTo>
                        <a:pt x="0" y="0"/>
                      </a:moveTo>
                      <a:lnTo>
                        <a:pt x="0" y="111736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370" name="Forma livre: Forma 1369">
                  <a:extLst>
                    <a:ext uri="{FF2B5EF4-FFF2-40B4-BE49-F238E27FC236}">
                      <a16:creationId xmlns:a16="http://schemas.microsoft.com/office/drawing/2014/main" id="{E9B861EF-E67D-F8D4-CF17-CA47B2138E27}"/>
                    </a:ext>
                  </a:extLst>
                </p:cNvPr>
                <p:cNvSpPr/>
                <p:nvPr/>
              </p:nvSpPr>
              <p:spPr>
                <a:xfrm>
                  <a:off x="8359417" y="5465462"/>
                  <a:ext cx="4887" cy="111735"/>
                </a:xfrm>
                <a:custGeom>
                  <a:avLst/>
                  <a:gdLst>
                    <a:gd name="connsiteX0" fmla="*/ 0 w 4887"/>
                    <a:gd name="connsiteY0" fmla="*/ 0 h 111735"/>
                    <a:gd name="connsiteX1" fmla="*/ 0 w 4887"/>
                    <a:gd name="connsiteY1" fmla="*/ 111736 h 11173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887" h="111735">
                      <a:moveTo>
                        <a:pt x="0" y="0"/>
                      </a:moveTo>
                      <a:lnTo>
                        <a:pt x="0" y="111736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1371" name="Gráfico 14">
                <a:extLst>
                  <a:ext uri="{FF2B5EF4-FFF2-40B4-BE49-F238E27FC236}">
                    <a16:creationId xmlns:a16="http://schemas.microsoft.com/office/drawing/2014/main" id="{3B662419-2EE6-D193-ADA7-0BB0256DC0F9}"/>
                  </a:ext>
                </a:extLst>
              </p:cNvPr>
              <p:cNvGrpSpPr/>
              <p:nvPr/>
            </p:nvGrpSpPr>
            <p:grpSpPr>
              <a:xfrm>
                <a:off x="8288641" y="5418588"/>
                <a:ext cx="110904" cy="46043"/>
                <a:chOff x="8288641" y="5418588"/>
                <a:chExt cx="110904" cy="46043"/>
              </a:xfrm>
              <a:noFill/>
            </p:grpSpPr>
            <p:sp>
              <p:nvSpPr>
                <p:cNvPr id="1372" name="Forma livre: Forma 1371">
                  <a:extLst>
                    <a:ext uri="{FF2B5EF4-FFF2-40B4-BE49-F238E27FC236}">
                      <a16:creationId xmlns:a16="http://schemas.microsoft.com/office/drawing/2014/main" id="{432DF635-911C-53A0-17D7-335C3F5A8E38}"/>
                    </a:ext>
                  </a:extLst>
                </p:cNvPr>
                <p:cNvSpPr/>
                <p:nvPr/>
              </p:nvSpPr>
              <p:spPr>
                <a:xfrm>
                  <a:off x="8344167" y="5418588"/>
                  <a:ext cx="55379" cy="46043"/>
                </a:xfrm>
                <a:custGeom>
                  <a:avLst/>
                  <a:gdLst>
                    <a:gd name="connsiteX0" fmla="*/ 0 w 55379"/>
                    <a:gd name="connsiteY0" fmla="*/ 45555 h 46043"/>
                    <a:gd name="connsiteX1" fmla="*/ 32357 w 55379"/>
                    <a:gd name="connsiteY1" fmla="*/ 0 h 46043"/>
                    <a:gd name="connsiteX2" fmla="*/ 55379 w 55379"/>
                    <a:gd name="connsiteY2" fmla="*/ 23022 h 46043"/>
                    <a:gd name="connsiteX3" fmla="*/ 32357 w 55379"/>
                    <a:gd name="connsiteY3" fmla="*/ 46043 h 4604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55379" h="46043">
                      <a:moveTo>
                        <a:pt x="0" y="45555"/>
                      </a:moveTo>
                      <a:cubicBezTo>
                        <a:pt x="4204" y="17156"/>
                        <a:pt x="16276" y="0"/>
                        <a:pt x="32357" y="0"/>
                      </a:cubicBezTo>
                      <a:cubicBezTo>
                        <a:pt x="45066" y="0"/>
                        <a:pt x="55379" y="10313"/>
                        <a:pt x="55379" y="23022"/>
                      </a:cubicBezTo>
                      <a:cubicBezTo>
                        <a:pt x="55379" y="35730"/>
                        <a:pt x="45066" y="46043"/>
                        <a:pt x="32357" y="46043"/>
                      </a:cubicBez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373" name="Forma livre: Forma 1372">
                  <a:extLst>
                    <a:ext uri="{FF2B5EF4-FFF2-40B4-BE49-F238E27FC236}">
                      <a16:creationId xmlns:a16="http://schemas.microsoft.com/office/drawing/2014/main" id="{658C33BD-0A32-11FA-B9B5-0CBF7CC60BA8}"/>
                    </a:ext>
                  </a:extLst>
                </p:cNvPr>
                <p:cNvSpPr/>
                <p:nvPr/>
              </p:nvSpPr>
              <p:spPr>
                <a:xfrm>
                  <a:off x="8288641" y="5418588"/>
                  <a:ext cx="55330" cy="46043"/>
                </a:xfrm>
                <a:custGeom>
                  <a:avLst/>
                  <a:gdLst>
                    <a:gd name="connsiteX0" fmla="*/ 55330 w 55330"/>
                    <a:gd name="connsiteY0" fmla="*/ 45555 h 46043"/>
                    <a:gd name="connsiteX1" fmla="*/ 23022 w 55330"/>
                    <a:gd name="connsiteY1" fmla="*/ 0 h 46043"/>
                    <a:gd name="connsiteX2" fmla="*/ 0 w 55330"/>
                    <a:gd name="connsiteY2" fmla="*/ 23022 h 46043"/>
                    <a:gd name="connsiteX3" fmla="*/ 23022 w 55330"/>
                    <a:gd name="connsiteY3" fmla="*/ 46043 h 4604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55330" h="46043">
                      <a:moveTo>
                        <a:pt x="55330" y="45555"/>
                      </a:moveTo>
                      <a:cubicBezTo>
                        <a:pt x="51127" y="17156"/>
                        <a:pt x="39054" y="0"/>
                        <a:pt x="23022" y="0"/>
                      </a:cubicBezTo>
                      <a:cubicBezTo>
                        <a:pt x="10313" y="0"/>
                        <a:pt x="0" y="10313"/>
                        <a:pt x="0" y="23022"/>
                      </a:cubicBezTo>
                      <a:cubicBezTo>
                        <a:pt x="0" y="35730"/>
                        <a:pt x="10313" y="46043"/>
                        <a:pt x="23022" y="46043"/>
                      </a:cubicBez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grpSp>
          <p:nvGrpSpPr>
            <p:cNvPr id="1374" name="Gráfico 14">
              <a:extLst>
                <a:ext uri="{FF2B5EF4-FFF2-40B4-BE49-F238E27FC236}">
                  <a16:creationId xmlns:a16="http://schemas.microsoft.com/office/drawing/2014/main" id="{0C988207-2D9A-55FE-3F18-7C954E2847EC}"/>
                </a:ext>
              </a:extLst>
            </p:cNvPr>
            <p:cNvGrpSpPr/>
            <p:nvPr/>
          </p:nvGrpSpPr>
          <p:grpSpPr>
            <a:xfrm>
              <a:off x="8090733" y="5319342"/>
              <a:ext cx="176254" cy="258295"/>
              <a:chOff x="8090733" y="5319342"/>
              <a:chExt cx="176254" cy="258295"/>
            </a:xfrm>
            <a:noFill/>
          </p:grpSpPr>
          <p:sp>
            <p:nvSpPr>
              <p:cNvPr id="1375" name="Forma livre: Forma 1374">
                <a:extLst>
                  <a:ext uri="{FF2B5EF4-FFF2-40B4-BE49-F238E27FC236}">
                    <a16:creationId xmlns:a16="http://schemas.microsoft.com/office/drawing/2014/main" id="{2E77D440-1EFF-5ED2-2E22-394A1CE9CE4B}"/>
                  </a:ext>
                </a:extLst>
              </p:cNvPr>
              <p:cNvSpPr/>
              <p:nvPr/>
            </p:nvSpPr>
            <p:spPr>
              <a:xfrm>
                <a:off x="8090733" y="5466782"/>
                <a:ext cx="62466" cy="110855"/>
              </a:xfrm>
              <a:custGeom>
                <a:avLst/>
                <a:gdLst>
                  <a:gd name="connsiteX0" fmla="*/ 62466 w 62466"/>
                  <a:gd name="connsiteY0" fmla="*/ 0 h 110855"/>
                  <a:gd name="connsiteX1" fmla="*/ 37685 w 62466"/>
                  <a:gd name="connsiteY1" fmla="*/ 4399 h 110855"/>
                  <a:gd name="connsiteX2" fmla="*/ 4546 w 62466"/>
                  <a:gd name="connsiteY2" fmla="*/ 32504 h 110855"/>
                  <a:gd name="connsiteX3" fmla="*/ 0 w 62466"/>
                  <a:gd name="connsiteY3" fmla="*/ 110856 h 1108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2466" h="110855">
                    <a:moveTo>
                      <a:pt x="62466" y="0"/>
                    </a:moveTo>
                    <a:lnTo>
                      <a:pt x="37685" y="4399"/>
                    </a:lnTo>
                    <a:cubicBezTo>
                      <a:pt x="37685" y="4399"/>
                      <a:pt x="7429" y="10167"/>
                      <a:pt x="4546" y="32504"/>
                    </a:cubicBezTo>
                    <a:lnTo>
                      <a:pt x="0" y="110856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1376" name="Gráfico 14">
                <a:extLst>
                  <a:ext uri="{FF2B5EF4-FFF2-40B4-BE49-F238E27FC236}">
                    <a16:creationId xmlns:a16="http://schemas.microsoft.com/office/drawing/2014/main" id="{195BA4EB-C177-9270-A679-55EFA714F97F}"/>
                  </a:ext>
                </a:extLst>
              </p:cNvPr>
              <p:cNvGrpSpPr/>
              <p:nvPr/>
            </p:nvGrpSpPr>
            <p:grpSpPr>
              <a:xfrm>
                <a:off x="8130569" y="5319342"/>
                <a:ext cx="136419" cy="134731"/>
                <a:chOff x="8130569" y="5319342"/>
                <a:chExt cx="136419" cy="134731"/>
              </a:xfrm>
              <a:noFill/>
            </p:grpSpPr>
            <p:sp>
              <p:nvSpPr>
                <p:cNvPr id="1377" name="Forma livre: Forma 1376">
                  <a:extLst>
                    <a:ext uri="{FF2B5EF4-FFF2-40B4-BE49-F238E27FC236}">
                      <a16:creationId xmlns:a16="http://schemas.microsoft.com/office/drawing/2014/main" id="{925AF5F6-7F7A-F814-E2A2-5BA704EBF9D7}"/>
                    </a:ext>
                  </a:extLst>
                </p:cNvPr>
                <p:cNvSpPr/>
                <p:nvPr/>
              </p:nvSpPr>
              <p:spPr>
                <a:xfrm>
                  <a:off x="8130569" y="5319342"/>
                  <a:ext cx="136419" cy="114691"/>
                </a:xfrm>
                <a:custGeom>
                  <a:avLst/>
                  <a:gdLst>
                    <a:gd name="connsiteX0" fmla="*/ 136419 w 136419"/>
                    <a:gd name="connsiteY0" fmla="*/ 114691 h 114691"/>
                    <a:gd name="connsiteX1" fmla="*/ 136419 w 136419"/>
                    <a:gd name="connsiteY1" fmla="*/ 71532 h 114691"/>
                    <a:gd name="connsiteX2" fmla="*/ 68918 w 136419"/>
                    <a:gd name="connsiteY2" fmla="*/ 72 h 114691"/>
                    <a:gd name="connsiteX3" fmla="*/ 67501 w 136419"/>
                    <a:gd name="connsiteY3" fmla="*/ 72 h 114691"/>
                    <a:gd name="connsiteX4" fmla="*/ 0 w 136419"/>
                    <a:gd name="connsiteY4" fmla="*/ 71532 h 114691"/>
                    <a:gd name="connsiteX5" fmla="*/ 0 w 136419"/>
                    <a:gd name="connsiteY5" fmla="*/ 114691 h 11469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136419" h="114691">
                      <a:moveTo>
                        <a:pt x="136419" y="114691"/>
                      </a:moveTo>
                      <a:lnTo>
                        <a:pt x="136419" y="71532"/>
                      </a:lnTo>
                      <a:cubicBezTo>
                        <a:pt x="135442" y="-5060"/>
                        <a:pt x="68918" y="72"/>
                        <a:pt x="68918" y="72"/>
                      </a:cubicBezTo>
                      <a:lnTo>
                        <a:pt x="67501" y="72"/>
                      </a:lnTo>
                      <a:cubicBezTo>
                        <a:pt x="67501" y="72"/>
                        <a:pt x="978" y="-5060"/>
                        <a:pt x="0" y="71532"/>
                      </a:cubicBezTo>
                      <a:lnTo>
                        <a:pt x="0" y="114691"/>
                      </a:ln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378" name="Forma livre: Forma 1377">
                  <a:extLst>
                    <a:ext uri="{FF2B5EF4-FFF2-40B4-BE49-F238E27FC236}">
                      <a16:creationId xmlns:a16="http://schemas.microsoft.com/office/drawing/2014/main" id="{3F27ACA6-569A-7086-AE49-21C08B51FCF7}"/>
                    </a:ext>
                  </a:extLst>
                </p:cNvPr>
                <p:cNvSpPr/>
                <p:nvPr/>
              </p:nvSpPr>
              <p:spPr>
                <a:xfrm>
                  <a:off x="8133111" y="5362134"/>
                  <a:ext cx="104246" cy="91939"/>
                </a:xfrm>
                <a:custGeom>
                  <a:avLst/>
                  <a:gdLst>
                    <a:gd name="connsiteX0" fmla="*/ 25905 w 104246"/>
                    <a:gd name="connsiteY0" fmla="*/ 32211 h 91939"/>
                    <a:gd name="connsiteX1" fmla="*/ 66132 w 104246"/>
                    <a:gd name="connsiteY1" fmla="*/ 91940 h 91939"/>
                    <a:gd name="connsiteX2" fmla="*/ 104208 w 104246"/>
                    <a:gd name="connsiteY2" fmla="*/ 32211 h 91939"/>
                    <a:gd name="connsiteX3" fmla="*/ 95410 w 104246"/>
                    <a:gd name="connsiteY3" fmla="*/ 0 h 91939"/>
                    <a:gd name="connsiteX4" fmla="*/ 0 w 104246"/>
                    <a:gd name="connsiteY4" fmla="*/ 31086 h 9193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04246" h="91939">
                      <a:moveTo>
                        <a:pt x="25905" y="32211"/>
                      </a:moveTo>
                      <a:cubicBezTo>
                        <a:pt x="25905" y="61880"/>
                        <a:pt x="45946" y="91940"/>
                        <a:pt x="66132" y="91940"/>
                      </a:cubicBezTo>
                      <a:cubicBezTo>
                        <a:pt x="86319" y="91940"/>
                        <a:pt x="104208" y="61880"/>
                        <a:pt x="104208" y="32211"/>
                      </a:cubicBezTo>
                      <a:cubicBezTo>
                        <a:pt x="104208" y="32211"/>
                        <a:pt x="105333" y="12708"/>
                        <a:pt x="95410" y="0"/>
                      </a:cubicBezTo>
                      <a:cubicBezTo>
                        <a:pt x="95410" y="0"/>
                        <a:pt x="67256" y="27274"/>
                        <a:pt x="0" y="31086"/>
                      </a:cubicBez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1379" name="Forma livre: Forma 1378">
                <a:extLst>
                  <a:ext uri="{FF2B5EF4-FFF2-40B4-BE49-F238E27FC236}">
                    <a16:creationId xmlns:a16="http://schemas.microsoft.com/office/drawing/2014/main" id="{0ECEC244-19AB-4235-603D-6C781AD1E239}"/>
                  </a:ext>
                </a:extLst>
              </p:cNvPr>
              <p:cNvSpPr/>
              <p:nvPr/>
            </p:nvSpPr>
            <p:spPr>
              <a:xfrm>
                <a:off x="8153346" y="5466782"/>
                <a:ext cx="90864" cy="79964"/>
              </a:xfrm>
              <a:custGeom>
                <a:avLst/>
                <a:gdLst>
                  <a:gd name="connsiteX0" fmla="*/ 90865 w 90864"/>
                  <a:gd name="connsiteY0" fmla="*/ 0 h 79964"/>
                  <a:gd name="connsiteX1" fmla="*/ 45799 w 90864"/>
                  <a:gd name="connsiteY1" fmla="*/ 79965 h 79964"/>
                  <a:gd name="connsiteX2" fmla="*/ 45115 w 90864"/>
                  <a:gd name="connsiteY2" fmla="*/ 79965 h 79964"/>
                  <a:gd name="connsiteX3" fmla="*/ 0 w 90864"/>
                  <a:gd name="connsiteY3" fmla="*/ 0 h 799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0864" h="79964">
                    <a:moveTo>
                      <a:pt x="90865" y="0"/>
                    </a:moveTo>
                    <a:lnTo>
                      <a:pt x="45799" y="79965"/>
                    </a:lnTo>
                    <a:lnTo>
                      <a:pt x="45115" y="79965"/>
                    </a:lnTo>
                    <a:lnTo>
                      <a:pt x="0" y="0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380" name="Gráfico 14">
            <a:extLst>
              <a:ext uri="{FF2B5EF4-FFF2-40B4-BE49-F238E27FC236}">
                <a16:creationId xmlns:a16="http://schemas.microsoft.com/office/drawing/2014/main" id="{B1BE0382-5749-16C4-4987-094D2D6316C3}"/>
              </a:ext>
            </a:extLst>
          </p:cNvPr>
          <p:cNvGrpSpPr/>
          <p:nvPr/>
        </p:nvGrpSpPr>
        <p:grpSpPr>
          <a:xfrm>
            <a:off x="9356289" y="5309091"/>
            <a:ext cx="326995" cy="278909"/>
            <a:chOff x="9356289" y="5309091"/>
            <a:chExt cx="326995" cy="278909"/>
          </a:xfrm>
          <a:noFill/>
        </p:grpSpPr>
        <p:sp>
          <p:nvSpPr>
            <p:cNvPr id="1381" name="Forma livre: Forma 1380">
              <a:extLst>
                <a:ext uri="{FF2B5EF4-FFF2-40B4-BE49-F238E27FC236}">
                  <a16:creationId xmlns:a16="http://schemas.microsoft.com/office/drawing/2014/main" id="{66CBBB5B-0724-0744-D711-B665C2F7B89C}"/>
                </a:ext>
              </a:extLst>
            </p:cNvPr>
            <p:cNvSpPr/>
            <p:nvPr/>
          </p:nvSpPr>
          <p:spPr>
            <a:xfrm>
              <a:off x="9515094" y="5416877"/>
              <a:ext cx="119360" cy="171024"/>
            </a:xfrm>
            <a:custGeom>
              <a:avLst/>
              <a:gdLst>
                <a:gd name="connsiteX0" fmla="*/ 64617 w 119360"/>
                <a:gd name="connsiteY0" fmla="*/ 11731 h 171024"/>
                <a:gd name="connsiteX1" fmla="*/ 119361 w 119360"/>
                <a:gd name="connsiteY1" fmla="*/ 150692 h 171024"/>
                <a:gd name="connsiteX2" fmla="*/ 74051 w 119360"/>
                <a:gd name="connsiteY2" fmla="*/ 127279 h 171024"/>
                <a:gd name="connsiteX3" fmla="*/ 50100 w 119360"/>
                <a:gd name="connsiteY3" fmla="*/ 171025 h 171024"/>
                <a:gd name="connsiteX4" fmla="*/ 0 w 119360"/>
                <a:gd name="connsiteY4" fmla="*/ 0 h 171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9360" h="171024">
                  <a:moveTo>
                    <a:pt x="64617" y="11731"/>
                  </a:moveTo>
                  <a:lnTo>
                    <a:pt x="119361" y="150692"/>
                  </a:lnTo>
                  <a:lnTo>
                    <a:pt x="74051" y="127279"/>
                  </a:lnTo>
                  <a:lnTo>
                    <a:pt x="50100" y="171025"/>
                  </a:lnTo>
                  <a:lnTo>
                    <a:pt x="0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382" name="Gráfico 14">
              <a:extLst>
                <a:ext uri="{FF2B5EF4-FFF2-40B4-BE49-F238E27FC236}">
                  <a16:creationId xmlns:a16="http://schemas.microsoft.com/office/drawing/2014/main" id="{3D06F85D-0787-B078-6DA9-FC5C1A50C1CF}"/>
                </a:ext>
              </a:extLst>
            </p:cNvPr>
            <p:cNvGrpSpPr/>
            <p:nvPr/>
          </p:nvGrpSpPr>
          <p:grpSpPr>
            <a:xfrm>
              <a:off x="9356289" y="5309091"/>
              <a:ext cx="326995" cy="143864"/>
              <a:chOff x="9356289" y="5309091"/>
              <a:chExt cx="326995" cy="143864"/>
            </a:xfrm>
            <a:noFill/>
          </p:grpSpPr>
          <p:sp>
            <p:nvSpPr>
              <p:cNvPr id="1383" name="Forma livre: Forma 1382">
                <a:extLst>
                  <a:ext uri="{FF2B5EF4-FFF2-40B4-BE49-F238E27FC236}">
                    <a16:creationId xmlns:a16="http://schemas.microsoft.com/office/drawing/2014/main" id="{E3D1E239-F35B-9A29-2C3D-4F17037AD698}"/>
                  </a:ext>
                </a:extLst>
              </p:cNvPr>
              <p:cNvSpPr/>
              <p:nvPr/>
            </p:nvSpPr>
            <p:spPr>
              <a:xfrm>
                <a:off x="9548429" y="5309095"/>
                <a:ext cx="134855" cy="143860"/>
              </a:xfrm>
              <a:custGeom>
                <a:avLst/>
                <a:gdLst>
                  <a:gd name="connsiteX0" fmla="*/ 0 w 134855"/>
                  <a:gd name="connsiteY0" fmla="*/ 95367 h 143860"/>
                  <a:gd name="connsiteX1" fmla="*/ 108265 w 134855"/>
                  <a:gd name="connsiteY1" fmla="*/ 142242 h 143860"/>
                  <a:gd name="connsiteX2" fmla="*/ 134855 w 134855"/>
                  <a:gd name="connsiteY2" fmla="*/ 74496 h 143860"/>
                  <a:gd name="connsiteX3" fmla="*/ 134855 w 134855"/>
                  <a:gd name="connsiteY3" fmla="*/ 69364 h 143860"/>
                  <a:gd name="connsiteX4" fmla="*/ 108265 w 134855"/>
                  <a:gd name="connsiteY4" fmla="*/ 1619 h 143860"/>
                  <a:gd name="connsiteX5" fmla="*/ 0 w 134855"/>
                  <a:gd name="connsiteY5" fmla="*/ 48493 h 1438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34855" h="143860">
                    <a:moveTo>
                      <a:pt x="0" y="95367"/>
                    </a:moveTo>
                    <a:cubicBezTo>
                      <a:pt x="0" y="95367"/>
                      <a:pt x="63346" y="154266"/>
                      <a:pt x="108265" y="142242"/>
                    </a:cubicBezTo>
                    <a:cubicBezTo>
                      <a:pt x="108265" y="142242"/>
                      <a:pt x="134855" y="137794"/>
                      <a:pt x="134855" y="74496"/>
                    </a:cubicBezTo>
                    <a:lnTo>
                      <a:pt x="134855" y="69364"/>
                    </a:lnTo>
                    <a:cubicBezTo>
                      <a:pt x="134855" y="6067"/>
                      <a:pt x="108265" y="1619"/>
                      <a:pt x="108265" y="1619"/>
                    </a:cubicBezTo>
                    <a:cubicBezTo>
                      <a:pt x="63297" y="-10405"/>
                      <a:pt x="0" y="48493"/>
                      <a:pt x="0" y="48493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384" name="Forma livre: Forma 1383">
                <a:extLst>
                  <a:ext uri="{FF2B5EF4-FFF2-40B4-BE49-F238E27FC236}">
                    <a16:creationId xmlns:a16="http://schemas.microsoft.com/office/drawing/2014/main" id="{23CE38C9-29D1-D200-C17D-48028BB24677}"/>
                  </a:ext>
                </a:extLst>
              </p:cNvPr>
              <p:cNvSpPr/>
              <p:nvPr/>
            </p:nvSpPr>
            <p:spPr>
              <a:xfrm>
                <a:off x="9356289" y="5309091"/>
                <a:ext cx="134855" cy="143864"/>
              </a:xfrm>
              <a:custGeom>
                <a:avLst/>
                <a:gdLst>
                  <a:gd name="connsiteX0" fmla="*/ 134855 w 134855"/>
                  <a:gd name="connsiteY0" fmla="*/ 95371 h 143864"/>
                  <a:gd name="connsiteX1" fmla="*/ 26590 w 134855"/>
                  <a:gd name="connsiteY1" fmla="*/ 142246 h 143864"/>
                  <a:gd name="connsiteX2" fmla="*/ 0 w 134855"/>
                  <a:gd name="connsiteY2" fmla="*/ 74500 h 143864"/>
                  <a:gd name="connsiteX3" fmla="*/ 0 w 134855"/>
                  <a:gd name="connsiteY3" fmla="*/ 69368 h 143864"/>
                  <a:gd name="connsiteX4" fmla="*/ 26590 w 134855"/>
                  <a:gd name="connsiteY4" fmla="*/ 1623 h 143864"/>
                  <a:gd name="connsiteX5" fmla="*/ 121316 w 134855"/>
                  <a:gd name="connsiteY5" fmla="*/ 37108 h 1438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34855" h="143864">
                    <a:moveTo>
                      <a:pt x="134855" y="95371"/>
                    </a:moveTo>
                    <a:cubicBezTo>
                      <a:pt x="134855" y="95371"/>
                      <a:pt x="71558" y="154270"/>
                      <a:pt x="26590" y="142246"/>
                    </a:cubicBezTo>
                    <a:cubicBezTo>
                      <a:pt x="26590" y="142246"/>
                      <a:pt x="0" y="137798"/>
                      <a:pt x="0" y="74500"/>
                    </a:cubicBezTo>
                    <a:lnTo>
                      <a:pt x="0" y="69368"/>
                    </a:lnTo>
                    <a:cubicBezTo>
                      <a:pt x="0" y="6071"/>
                      <a:pt x="26590" y="1623"/>
                      <a:pt x="26590" y="1623"/>
                    </a:cubicBezTo>
                    <a:cubicBezTo>
                      <a:pt x="58703" y="-6980"/>
                      <a:pt x="100249" y="20636"/>
                      <a:pt x="121316" y="37108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385" name="Gráfico 14">
              <a:extLst>
                <a:ext uri="{FF2B5EF4-FFF2-40B4-BE49-F238E27FC236}">
                  <a16:creationId xmlns:a16="http://schemas.microsoft.com/office/drawing/2014/main" id="{4B228FD2-5248-F314-8DF6-D9452F0626A0}"/>
                </a:ext>
              </a:extLst>
            </p:cNvPr>
            <p:cNvGrpSpPr/>
            <p:nvPr/>
          </p:nvGrpSpPr>
          <p:grpSpPr>
            <a:xfrm>
              <a:off x="9437329" y="5361303"/>
              <a:ext cx="164915" cy="38369"/>
              <a:chOff x="9437329" y="5361303"/>
              <a:chExt cx="164915" cy="38369"/>
            </a:xfrm>
          </p:grpSpPr>
          <p:grpSp>
            <p:nvGrpSpPr>
              <p:cNvPr id="1386" name="Gráfico 14">
                <a:extLst>
                  <a:ext uri="{FF2B5EF4-FFF2-40B4-BE49-F238E27FC236}">
                    <a16:creationId xmlns:a16="http://schemas.microsoft.com/office/drawing/2014/main" id="{356880A8-A1CB-0185-1E09-A47DC3337309}"/>
                  </a:ext>
                </a:extLst>
              </p:cNvPr>
              <p:cNvGrpSpPr/>
              <p:nvPr/>
            </p:nvGrpSpPr>
            <p:grpSpPr>
              <a:xfrm>
                <a:off x="9550971" y="5361303"/>
                <a:ext cx="51273" cy="38369"/>
                <a:chOff x="9550971" y="5361303"/>
                <a:chExt cx="51273" cy="38369"/>
              </a:xfrm>
            </p:grpSpPr>
            <p:sp>
              <p:nvSpPr>
                <p:cNvPr id="1387" name="Forma livre: Forma 1386">
                  <a:extLst>
                    <a:ext uri="{FF2B5EF4-FFF2-40B4-BE49-F238E27FC236}">
                      <a16:creationId xmlns:a16="http://schemas.microsoft.com/office/drawing/2014/main" id="{C022D858-A874-4FFB-24B2-E14F7C03EB60}"/>
                    </a:ext>
                  </a:extLst>
                </p:cNvPr>
                <p:cNvSpPr/>
                <p:nvPr/>
              </p:nvSpPr>
              <p:spPr>
                <a:xfrm>
                  <a:off x="9550971" y="5361303"/>
                  <a:ext cx="50637" cy="13294"/>
                </a:xfrm>
                <a:custGeom>
                  <a:avLst/>
                  <a:gdLst>
                    <a:gd name="connsiteX0" fmla="*/ 0 w 50637"/>
                    <a:gd name="connsiteY0" fmla="*/ 13295 h 13294"/>
                    <a:gd name="connsiteX1" fmla="*/ 50638 w 50637"/>
                    <a:gd name="connsiteY1" fmla="*/ 0 h 1329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50637" h="13294">
                      <a:moveTo>
                        <a:pt x="0" y="13295"/>
                      </a:moveTo>
                      <a:lnTo>
                        <a:pt x="50638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388" name="Forma livre: Forma 1387">
                  <a:extLst>
                    <a:ext uri="{FF2B5EF4-FFF2-40B4-BE49-F238E27FC236}">
                      <a16:creationId xmlns:a16="http://schemas.microsoft.com/office/drawing/2014/main" id="{79EC69D5-BB17-44B3-42D6-83D8AB8635F4}"/>
                    </a:ext>
                  </a:extLst>
                </p:cNvPr>
                <p:cNvSpPr/>
                <p:nvPr/>
              </p:nvSpPr>
              <p:spPr>
                <a:xfrm>
                  <a:off x="9551606" y="5386377"/>
                  <a:ext cx="50637" cy="13294"/>
                </a:xfrm>
                <a:custGeom>
                  <a:avLst/>
                  <a:gdLst>
                    <a:gd name="connsiteX0" fmla="*/ 0 w 50637"/>
                    <a:gd name="connsiteY0" fmla="*/ 0 h 13294"/>
                    <a:gd name="connsiteX1" fmla="*/ 50638 w 50637"/>
                    <a:gd name="connsiteY1" fmla="*/ 13295 h 1329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50637" h="13294">
                      <a:moveTo>
                        <a:pt x="0" y="0"/>
                      </a:moveTo>
                      <a:lnTo>
                        <a:pt x="50638" y="13295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1389" name="Gráfico 14">
                <a:extLst>
                  <a:ext uri="{FF2B5EF4-FFF2-40B4-BE49-F238E27FC236}">
                    <a16:creationId xmlns:a16="http://schemas.microsoft.com/office/drawing/2014/main" id="{289FA043-0C63-B4BA-C947-272237BBA2B6}"/>
                  </a:ext>
                </a:extLst>
              </p:cNvPr>
              <p:cNvGrpSpPr/>
              <p:nvPr/>
            </p:nvGrpSpPr>
            <p:grpSpPr>
              <a:xfrm>
                <a:off x="9437329" y="5361303"/>
                <a:ext cx="51322" cy="38369"/>
                <a:chOff x="9437329" y="5361303"/>
                <a:chExt cx="51322" cy="38369"/>
              </a:xfrm>
            </p:grpSpPr>
            <p:sp>
              <p:nvSpPr>
                <p:cNvPr id="1390" name="Forma livre: Forma 1389">
                  <a:extLst>
                    <a:ext uri="{FF2B5EF4-FFF2-40B4-BE49-F238E27FC236}">
                      <a16:creationId xmlns:a16="http://schemas.microsoft.com/office/drawing/2014/main" id="{A1839FCE-A427-5C61-3F4B-619F1AE272BE}"/>
                    </a:ext>
                  </a:extLst>
                </p:cNvPr>
                <p:cNvSpPr/>
                <p:nvPr/>
              </p:nvSpPr>
              <p:spPr>
                <a:xfrm>
                  <a:off x="9437964" y="5361303"/>
                  <a:ext cx="50686" cy="13294"/>
                </a:xfrm>
                <a:custGeom>
                  <a:avLst/>
                  <a:gdLst>
                    <a:gd name="connsiteX0" fmla="*/ 50687 w 50686"/>
                    <a:gd name="connsiteY0" fmla="*/ 13295 h 13294"/>
                    <a:gd name="connsiteX1" fmla="*/ 0 w 50686"/>
                    <a:gd name="connsiteY1" fmla="*/ 0 h 1329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50686" h="13294">
                      <a:moveTo>
                        <a:pt x="50687" y="13295"/>
                      </a:moveTo>
                      <a:lnTo>
                        <a:pt x="0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391" name="Forma livre: Forma 1390">
                  <a:extLst>
                    <a:ext uri="{FF2B5EF4-FFF2-40B4-BE49-F238E27FC236}">
                      <a16:creationId xmlns:a16="http://schemas.microsoft.com/office/drawing/2014/main" id="{15349E81-B3FF-2DDF-F614-9F98C07CDCFA}"/>
                    </a:ext>
                  </a:extLst>
                </p:cNvPr>
                <p:cNvSpPr/>
                <p:nvPr/>
              </p:nvSpPr>
              <p:spPr>
                <a:xfrm>
                  <a:off x="9437329" y="5386377"/>
                  <a:ext cx="50637" cy="13294"/>
                </a:xfrm>
                <a:custGeom>
                  <a:avLst/>
                  <a:gdLst>
                    <a:gd name="connsiteX0" fmla="*/ 50638 w 50637"/>
                    <a:gd name="connsiteY0" fmla="*/ 0 h 13294"/>
                    <a:gd name="connsiteX1" fmla="*/ 0 w 50637"/>
                    <a:gd name="connsiteY1" fmla="*/ 13295 h 1329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50637" h="13294">
                      <a:moveTo>
                        <a:pt x="50638" y="0"/>
                      </a:moveTo>
                      <a:lnTo>
                        <a:pt x="0" y="13295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sp>
          <p:nvSpPr>
            <p:cNvPr id="1392" name="Forma livre: Forma 1391">
              <a:extLst>
                <a:ext uri="{FF2B5EF4-FFF2-40B4-BE49-F238E27FC236}">
                  <a16:creationId xmlns:a16="http://schemas.microsoft.com/office/drawing/2014/main" id="{DE154C87-E729-6FBB-CBB2-B25386CBB03A}"/>
                </a:ext>
              </a:extLst>
            </p:cNvPr>
            <p:cNvSpPr/>
            <p:nvPr/>
          </p:nvSpPr>
          <p:spPr>
            <a:xfrm>
              <a:off x="9409224" y="5460574"/>
              <a:ext cx="100689" cy="127425"/>
            </a:xfrm>
            <a:custGeom>
              <a:avLst/>
              <a:gdLst>
                <a:gd name="connsiteX0" fmla="*/ 39054 w 100689"/>
                <a:gd name="connsiteY0" fmla="*/ 0 h 127425"/>
                <a:gd name="connsiteX1" fmla="*/ 0 w 100689"/>
                <a:gd name="connsiteY1" fmla="*/ 106799 h 127425"/>
                <a:gd name="connsiteX2" fmla="*/ 45359 w 100689"/>
                <a:gd name="connsiteY2" fmla="*/ 83533 h 127425"/>
                <a:gd name="connsiteX3" fmla="*/ 69211 w 100689"/>
                <a:gd name="connsiteY3" fmla="*/ 127426 h 127425"/>
                <a:gd name="connsiteX4" fmla="*/ 100689 w 100689"/>
                <a:gd name="connsiteY4" fmla="*/ 19111 h 1274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0689" h="127425">
                  <a:moveTo>
                    <a:pt x="39054" y="0"/>
                  </a:moveTo>
                  <a:lnTo>
                    <a:pt x="0" y="106799"/>
                  </a:lnTo>
                  <a:lnTo>
                    <a:pt x="45359" y="83533"/>
                  </a:lnTo>
                  <a:lnTo>
                    <a:pt x="69211" y="127426"/>
                  </a:lnTo>
                  <a:lnTo>
                    <a:pt x="100689" y="19111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393" name="Forma livre: Forma 1392">
              <a:extLst>
                <a:ext uri="{FF2B5EF4-FFF2-40B4-BE49-F238E27FC236}">
                  <a16:creationId xmlns:a16="http://schemas.microsoft.com/office/drawing/2014/main" id="{A426E1A7-3904-889C-3425-DA7C268D7224}"/>
                </a:ext>
              </a:extLst>
            </p:cNvPr>
            <p:cNvSpPr/>
            <p:nvPr/>
          </p:nvSpPr>
          <p:spPr>
            <a:xfrm>
              <a:off x="9491926" y="5344831"/>
              <a:ext cx="55721" cy="70922"/>
            </a:xfrm>
            <a:custGeom>
              <a:avLst/>
              <a:gdLst>
                <a:gd name="connsiteX0" fmla="*/ 15201 w 55721"/>
                <a:gd name="connsiteY0" fmla="*/ 0 h 70922"/>
                <a:gd name="connsiteX1" fmla="*/ 40520 w 55721"/>
                <a:gd name="connsiteY1" fmla="*/ 0 h 70922"/>
                <a:gd name="connsiteX2" fmla="*/ 55721 w 55721"/>
                <a:gd name="connsiteY2" fmla="*/ 15201 h 70922"/>
                <a:gd name="connsiteX3" fmla="*/ 55721 w 55721"/>
                <a:gd name="connsiteY3" fmla="*/ 55721 h 70922"/>
                <a:gd name="connsiteX4" fmla="*/ 40520 w 55721"/>
                <a:gd name="connsiteY4" fmla="*/ 70922 h 70922"/>
                <a:gd name="connsiteX5" fmla="*/ 15201 w 55721"/>
                <a:gd name="connsiteY5" fmla="*/ 70922 h 70922"/>
                <a:gd name="connsiteX6" fmla="*/ 0 w 55721"/>
                <a:gd name="connsiteY6" fmla="*/ 55721 h 70922"/>
                <a:gd name="connsiteX7" fmla="*/ 0 w 55721"/>
                <a:gd name="connsiteY7" fmla="*/ 15201 h 70922"/>
                <a:gd name="connsiteX8" fmla="*/ 15201 w 55721"/>
                <a:gd name="connsiteY8" fmla="*/ 0 h 709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5721" h="70922">
                  <a:moveTo>
                    <a:pt x="15201" y="0"/>
                  </a:moveTo>
                  <a:lnTo>
                    <a:pt x="40520" y="0"/>
                  </a:lnTo>
                  <a:cubicBezTo>
                    <a:pt x="48927" y="0"/>
                    <a:pt x="55721" y="6794"/>
                    <a:pt x="55721" y="15201"/>
                  </a:cubicBezTo>
                  <a:lnTo>
                    <a:pt x="55721" y="55721"/>
                  </a:lnTo>
                  <a:cubicBezTo>
                    <a:pt x="55721" y="64128"/>
                    <a:pt x="48927" y="70922"/>
                    <a:pt x="40520" y="70922"/>
                  </a:cubicBezTo>
                  <a:lnTo>
                    <a:pt x="15201" y="70922"/>
                  </a:lnTo>
                  <a:cubicBezTo>
                    <a:pt x="6794" y="70922"/>
                    <a:pt x="0" y="64128"/>
                    <a:pt x="0" y="55721"/>
                  </a:cubicBezTo>
                  <a:lnTo>
                    <a:pt x="0" y="15201"/>
                  </a:lnTo>
                  <a:cubicBezTo>
                    <a:pt x="0" y="6794"/>
                    <a:pt x="6794" y="0"/>
                    <a:pt x="15201" y="0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394" name="Gráfico 14">
            <a:extLst>
              <a:ext uri="{FF2B5EF4-FFF2-40B4-BE49-F238E27FC236}">
                <a16:creationId xmlns:a16="http://schemas.microsoft.com/office/drawing/2014/main" id="{B9F39E2C-6313-0E4C-5EC1-78D306CCCCEF}"/>
              </a:ext>
            </a:extLst>
          </p:cNvPr>
          <p:cNvGrpSpPr/>
          <p:nvPr/>
        </p:nvGrpSpPr>
        <p:grpSpPr>
          <a:xfrm>
            <a:off x="8725662" y="5320587"/>
            <a:ext cx="331150" cy="255828"/>
            <a:chOff x="8725662" y="5320587"/>
            <a:chExt cx="331150" cy="255828"/>
          </a:xfrm>
          <a:noFill/>
        </p:grpSpPr>
        <p:grpSp>
          <p:nvGrpSpPr>
            <p:cNvPr id="1395" name="Gráfico 14">
              <a:extLst>
                <a:ext uri="{FF2B5EF4-FFF2-40B4-BE49-F238E27FC236}">
                  <a16:creationId xmlns:a16="http://schemas.microsoft.com/office/drawing/2014/main" id="{7211D648-705D-3B11-0F12-8E2A5F57358F}"/>
                </a:ext>
              </a:extLst>
            </p:cNvPr>
            <p:cNvGrpSpPr/>
            <p:nvPr/>
          </p:nvGrpSpPr>
          <p:grpSpPr>
            <a:xfrm>
              <a:off x="8725662" y="5320587"/>
              <a:ext cx="161831" cy="255828"/>
              <a:chOff x="8725662" y="5320587"/>
              <a:chExt cx="161831" cy="255828"/>
            </a:xfrm>
            <a:noFill/>
          </p:grpSpPr>
          <p:sp>
            <p:nvSpPr>
              <p:cNvPr id="1396" name="Forma livre: Forma 1395">
                <a:extLst>
                  <a:ext uri="{FF2B5EF4-FFF2-40B4-BE49-F238E27FC236}">
                    <a16:creationId xmlns:a16="http://schemas.microsoft.com/office/drawing/2014/main" id="{FDCC4CD0-E919-FDE0-D90E-EC726A8B8BC3}"/>
                  </a:ext>
                </a:extLst>
              </p:cNvPr>
              <p:cNvSpPr/>
              <p:nvPr/>
            </p:nvSpPr>
            <p:spPr>
              <a:xfrm>
                <a:off x="8725662" y="5464191"/>
                <a:ext cx="154944" cy="112224"/>
              </a:xfrm>
              <a:custGeom>
                <a:avLst/>
                <a:gdLst>
                  <a:gd name="connsiteX0" fmla="*/ 154944 w 154944"/>
                  <a:gd name="connsiteY0" fmla="*/ 98 h 112224"/>
                  <a:gd name="connsiteX1" fmla="*/ 154797 w 154944"/>
                  <a:gd name="connsiteY1" fmla="*/ 0 h 112224"/>
                  <a:gd name="connsiteX2" fmla="*/ 114326 w 154944"/>
                  <a:gd name="connsiteY2" fmla="*/ 36708 h 112224"/>
                  <a:gd name="connsiteX3" fmla="*/ 73708 w 154944"/>
                  <a:gd name="connsiteY3" fmla="*/ 0 h 112224"/>
                  <a:gd name="connsiteX4" fmla="*/ 73611 w 154944"/>
                  <a:gd name="connsiteY4" fmla="*/ 98 h 112224"/>
                  <a:gd name="connsiteX5" fmla="*/ 28105 w 154944"/>
                  <a:gd name="connsiteY5" fmla="*/ 9874 h 112224"/>
                  <a:gd name="connsiteX6" fmla="*/ 4301 w 154944"/>
                  <a:gd name="connsiteY6" fmla="*/ 45848 h 112224"/>
                  <a:gd name="connsiteX7" fmla="*/ 0 w 154944"/>
                  <a:gd name="connsiteY7" fmla="*/ 112225 h 1122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54944" h="112224">
                    <a:moveTo>
                      <a:pt x="154944" y="98"/>
                    </a:moveTo>
                    <a:lnTo>
                      <a:pt x="154797" y="0"/>
                    </a:lnTo>
                    <a:cubicBezTo>
                      <a:pt x="151132" y="21115"/>
                      <a:pt x="136712" y="36708"/>
                      <a:pt x="114326" y="36708"/>
                    </a:cubicBezTo>
                    <a:cubicBezTo>
                      <a:pt x="91940" y="36708"/>
                      <a:pt x="77716" y="20431"/>
                      <a:pt x="73708" y="0"/>
                    </a:cubicBezTo>
                    <a:lnTo>
                      <a:pt x="73611" y="98"/>
                    </a:lnTo>
                    <a:cubicBezTo>
                      <a:pt x="51078" y="3861"/>
                      <a:pt x="28105" y="9874"/>
                      <a:pt x="28105" y="9874"/>
                    </a:cubicBezTo>
                    <a:cubicBezTo>
                      <a:pt x="28105" y="9874"/>
                      <a:pt x="8651" y="13490"/>
                      <a:pt x="4301" y="45848"/>
                    </a:cubicBezTo>
                    <a:lnTo>
                      <a:pt x="0" y="112225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397" name="Forma livre: Forma 1396">
                <a:extLst>
                  <a:ext uri="{FF2B5EF4-FFF2-40B4-BE49-F238E27FC236}">
                    <a16:creationId xmlns:a16="http://schemas.microsoft.com/office/drawing/2014/main" id="{F87104B3-FAF6-6E17-129D-346181B91057}"/>
                  </a:ext>
                </a:extLst>
              </p:cNvPr>
              <p:cNvSpPr/>
              <p:nvPr/>
            </p:nvSpPr>
            <p:spPr>
              <a:xfrm>
                <a:off x="8792563" y="5320587"/>
                <a:ext cx="94929" cy="131971"/>
              </a:xfrm>
              <a:custGeom>
                <a:avLst/>
                <a:gdLst>
                  <a:gd name="connsiteX0" fmla="*/ 47474 w 94929"/>
                  <a:gd name="connsiteY0" fmla="*/ 0 h 131971"/>
                  <a:gd name="connsiteX1" fmla="*/ 991 w 94929"/>
                  <a:gd name="connsiteY1" fmla="*/ 65986 h 131971"/>
                  <a:gd name="connsiteX2" fmla="*/ 47474 w 94929"/>
                  <a:gd name="connsiteY2" fmla="*/ 131971 h 131971"/>
                  <a:gd name="connsiteX3" fmla="*/ 93957 w 94929"/>
                  <a:gd name="connsiteY3" fmla="*/ 65986 h 131971"/>
                  <a:gd name="connsiteX4" fmla="*/ 47474 w 94929"/>
                  <a:gd name="connsiteY4" fmla="*/ 0 h 1319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94929" h="131971">
                    <a:moveTo>
                      <a:pt x="47474" y="0"/>
                    </a:moveTo>
                    <a:cubicBezTo>
                      <a:pt x="306" y="0"/>
                      <a:pt x="-2333" y="29767"/>
                      <a:pt x="991" y="65986"/>
                    </a:cubicBezTo>
                    <a:cubicBezTo>
                      <a:pt x="4265" y="102253"/>
                      <a:pt x="26114" y="131971"/>
                      <a:pt x="47474" y="131971"/>
                    </a:cubicBezTo>
                    <a:cubicBezTo>
                      <a:pt x="68834" y="131971"/>
                      <a:pt x="90682" y="102302"/>
                      <a:pt x="93957" y="65986"/>
                    </a:cubicBezTo>
                    <a:cubicBezTo>
                      <a:pt x="97232" y="29816"/>
                      <a:pt x="94641" y="0"/>
                      <a:pt x="47474" y="0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398" name="Forma livre: Forma 1397">
                <a:extLst>
                  <a:ext uri="{FF2B5EF4-FFF2-40B4-BE49-F238E27FC236}">
                    <a16:creationId xmlns:a16="http://schemas.microsoft.com/office/drawing/2014/main" id="{7BA87311-B535-895D-F15A-4091D0C325A1}"/>
                  </a:ext>
                </a:extLst>
              </p:cNvPr>
              <p:cNvSpPr/>
              <p:nvPr/>
            </p:nvSpPr>
            <p:spPr>
              <a:xfrm>
                <a:off x="8817504" y="5351820"/>
                <a:ext cx="63932" cy="18927"/>
              </a:xfrm>
              <a:custGeom>
                <a:avLst/>
                <a:gdLst>
                  <a:gd name="connsiteX0" fmla="*/ 0 w 63932"/>
                  <a:gd name="connsiteY0" fmla="*/ 18623 h 18927"/>
                  <a:gd name="connsiteX1" fmla="*/ 39298 w 63932"/>
                  <a:gd name="connsiteY1" fmla="*/ 0 h 18927"/>
                  <a:gd name="connsiteX2" fmla="*/ 63933 w 63932"/>
                  <a:gd name="connsiteY2" fmla="*/ 18476 h 189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63932" h="18927">
                    <a:moveTo>
                      <a:pt x="0" y="18623"/>
                    </a:moveTo>
                    <a:cubicBezTo>
                      <a:pt x="0" y="18623"/>
                      <a:pt x="29913" y="22826"/>
                      <a:pt x="39298" y="0"/>
                    </a:cubicBezTo>
                    <a:cubicBezTo>
                      <a:pt x="39298" y="0"/>
                      <a:pt x="49318" y="18476"/>
                      <a:pt x="63933" y="18476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399" name="Gráfico 14">
              <a:extLst>
                <a:ext uri="{FF2B5EF4-FFF2-40B4-BE49-F238E27FC236}">
                  <a16:creationId xmlns:a16="http://schemas.microsoft.com/office/drawing/2014/main" id="{748803DA-13B4-3917-A450-8A2CAED9B0AA}"/>
                </a:ext>
              </a:extLst>
            </p:cNvPr>
            <p:cNvGrpSpPr/>
            <p:nvPr/>
          </p:nvGrpSpPr>
          <p:grpSpPr>
            <a:xfrm>
              <a:off x="8904507" y="5417317"/>
              <a:ext cx="152304" cy="159098"/>
              <a:chOff x="8904507" y="5417317"/>
              <a:chExt cx="152304" cy="159098"/>
            </a:xfrm>
            <a:noFill/>
          </p:grpSpPr>
          <p:sp>
            <p:nvSpPr>
              <p:cNvPr id="1400" name="Forma livre: Forma 1399">
                <a:extLst>
                  <a:ext uri="{FF2B5EF4-FFF2-40B4-BE49-F238E27FC236}">
                    <a16:creationId xmlns:a16="http://schemas.microsoft.com/office/drawing/2014/main" id="{440DA9F5-A962-5FF4-732C-22A528B73C07}"/>
                  </a:ext>
                </a:extLst>
              </p:cNvPr>
              <p:cNvSpPr/>
              <p:nvPr/>
            </p:nvSpPr>
            <p:spPr>
              <a:xfrm>
                <a:off x="8914723" y="5519326"/>
                <a:ext cx="131873" cy="57089"/>
              </a:xfrm>
              <a:custGeom>
                <a:avLst/>
                <a:gdLst>
                  <a:gd name="connsiteX0" fmla="*/ 0 w 131873"/>
                  <a:gd name="connsiteY0" fmla="*/ 0 h 57089"/>
                  <a:gd name="connsiteX1" fmla="*/ 0 w 131873"/>
                  <a:gd name="connsiteY1" fmla="*/ 57090 h 57089"/>
                  <a:gd name="connsiteX2" fmla="*/ 131873 w 131873"/>
                  <a:gd name="connsiteY2" fmla="*/ 57090 h 57089"/>
                  <a:gd name="connsiteX3" fmla="*/ 131873 w 131873"/>
                  <a:gd name="connsiteY3" fmla="*/ 0 h 570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31873" h="57089">
                    <a:moveTo>
                      <a:pt x="0" y="0"/>
                    </a:moveTo>
                    <a:lnTo>
                      <a:pt x="0" y="57090"/>
                    </a:lnTo>
                    <a:lnTo>
                      <a:pt x="131873" y="57090"/>
                    </a:lnTo>
                    <a:lnTo>
                      <a:pt x="131873" y="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401" name="Forma livre: Forma 1400">
                <a:extLst>
                  <a:ext uri="{FF2B5EF4-FFF2-40B4-BE49-F238E27FC236}">
                    <a16:creationId xmlns:a16="http://schemas.microsoft.com/office/drawing/2014/main" id="{C9BA3C2B-FEF8-4845-68D7-B293DA204A86}"/>
                  </a:ext>
                </a:extLst>
              </p:cNvPr>
              <p:cNvSpPr/>
              <p:nvPr/>
            </p:nvSpPr>
            <p:spPr>
              <a:xfrm>
                <a:off x="8904507" y="5463409"/>
                <a:ext cx="152304" cy="32406"/>
              </a:xfrm>
              <a:custGeom>
                <a:avLst/>
                <a:gdLst>
                  <a:gd name="connsiteX0" fmla="*/ 91451 w 152304"/>
                  <a:gd name="connsiteY0" fmla="*/ 32406 h 32406"/>
                  <a:gd name="connsiteX1" fmla="*/ 152305 w 152304"/>
                  <a:gd name="connsiteY1" fmla="*/ 32406 h 32406"/>
                  <a:gd name="connsiteX2" fmla="*/ 152305 w 152304"/>
                  <a:gd name="connsiteY2" fmla="*/ 0 h 32406"/>
                  <a:gd name="connsiteX3" fmla="*/ 0 w 152304"/>
                  <a:gd name="connsiteY3" fmla="*/ 0 h 32406"/>
                  <a:gd name="connsiteX4" fmla="*/ 0 w 152304"/>
                  <a:gd name="connsiteY4" fmla="*/ 32406 h 32406"/>
                  <a:gd name="connsiteX5" fmla="*/ 60853 w 152304"/>
                  <a:gd name="connsiteY5" fmla="*/ 32406 h 324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52304" h="32406">
                    <a:moveTo>
                      <a:pt x="91451" y="32406"/>
                    </a:moveTo>
                    <a:lnTo>
                      <a:pt x="152305" y="32406"/>
                    </a:lnTo>
                    <a:lnTo>
                      <a:pt x="152305" y="0"/>
                    </a:lnTo>
                    <a:lnTo>
                      <a:pt x="0" y="0"/>
                    </a:lnTo>
                    <a:lnTo>
                      <a:pt x="0" y="32406"/>
                    </a:lnTo>
                    <a:lnTo>
                      <a:pt x="60853" y="32406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1402" name="Gráfico 14">
                <a:extLst>
                  <a:ext uri="{FF2B5EF4-FFF2-40B4-BE49-F238E27FC236}">
                    <a16:creationId xmlns:a16="http://schemas.microsoft.com/office/drawing/2014/main" id="{67CB0644-433F-16D0-24A3-30B1FA2164C3}"/>
                  </a:ext>
                </a:extLst>
              </p:cNvPr>
              <p:cNvGrpSpPr/>
              <p:nvPr/>
            </p:nvGrpSpPr>
            <p:grpSpPr>
              <a:xfrm>
                <a:off x="8965312" y="5464240"/>
                <a:ext cx="30646" cy="111686"/>
                <a:chOff x="8965312" y="5464240"/>
                <a:chExt cx="30646" cy="111686"/>
              </a:xfrm>
            </p:grpSpPr>
            <p:sp>
              <p:nvSpPr>
                <p:cNvPr id="1403" name="Forma livre: Forma 1402">
                  <a:extLst>
                    <a:ext uri="{FF2B5EF4-FFF2-40B4-BE49-F238E27FC236}">
                      <a16:creationId xmlns:a16="http://schemas.microsoft.com/office/drawing/2014/main" id="{1F25AA0D-4E05-3360-F44B-AEA33286AE18}"/>
                    </a:ext>
                  </a:extLst>
                </p:cNvPr>
                <p:cNvSpPr/>
                <p:nvPr/>
              </p:nvSpPr>
              <p:spPr>
                <a:xfrm>
                  <a:off x="8965312" y="5464240"/>
                  <a:ext cx="4887" cy="111686"/>
                </a:xfrm>
                <a:custGeom>
                  <a:avLst/>
                  <a:gdLst>
                    <a:gd name="connsiteX0" fmla="*/ 0 w 4887"/>
                    <a:gd name="connsiteY0" fmla="*/ 0 h 111686"/>
                    <a:gd name="connsiteX1" fmla="*/ 0 w 4887"/>
                    <a:gd name="connsiteY1" fmla="*/ 111687 h 11168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887" h="111686">
                      <a:moveTo>
                        <a:pt x="0" y="0"/>
                      </a:moveTo>
                      <a:lnTo>
                        <a:pt x="0" y="111687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404" name="Forma livre: Forma 1403">
                  <a:extLst>
                    <a:ext uri="{FF2B5EF4-FFF2-40B4-BE49-F238E27FC236}">
                      <a16:creationId xmlns:a16="http://schemas.microsoft.com/office/drawing/2014/main" id="{B2C929CB-7CA1-06B9-83A7-2D8BE15E9807}"/>
                    </a:ext>
                  </a:extLst>
                </p:cNvPr>
                <p:cNvSpPr/>
                <p:nvPr/>
              </p:nvSpPr>
              <p:spPr>
                <a:xfrm>
                  <a:off x="8995958" y="5464240"/>
                  <a:ext cx="4887" cy="111686"/>
                </a:xfrm>
                <a:custGeom>
                  <a:avLst/>
                  <a:gdLst>
                    <a:gd name="connsiteX0" fmla="*/ 0 w 4887"/>
                    <a:gd name="connsiteY0" fmla="*/ 0 h 111686"/>
                    <a:gd name="connsiteX1" fmla="*/ 0 w 4887"/>
                    <a:gd name="connsiteY1" fmla="*/ 111687 h 11168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887" h="111686">
                      <a:moveTo>
                        <a:pt x="0" y="0"/>
                      </a:moveTo>
                      <a:lnTo>
                        <a:pt x="0" y="111687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1405" name="Gráfico 14">
                <a:extLst>
                  <a:ext uri="{FF2B5EF4-FFF2-40B4-BE49-F238E27FC236}">
                    <a16:creationId xmlns:a16="http://schemas.microsoft.com/office/drawing/2014/main" id="{3421C0F0-C472-FAC4-C860-3208B05F47B7}"/>
                  </a:ext>
                </a:extLst>
              </p:cNvPr>
              <p:cNvGrpSpPr/>
              <p:nvPr/>
            </p:nvGrpSpPr>
            <p:grpSpPr>
              <a:xfrm>
                <a:off x="8925232" y="5417317"/>
                <a:ext cx="110855" cy="46043"/>
                <a:chOff x="8925232" y="5417317"/>
                <a:chExt cx="110855" cy="46043"/>
              </a:xfrm>
              <a:noFill/>
            </p:grpSpPr>
            <p:sp>
              <p:nvSpPr>
                <p:cNvPr id="1406" name="Forma livre: Forma 1405">
                  <a:extLst>
                    <a:ext uri="{FF2B5EF4-FFF2-40B4-BE49-F238E27FC236}">
                      <a16:creationId xmlns:a16="http://schemas.microsoft.com/office/drawing/2014/main" id="{A1E470DE-BF4D-2AD1-A64E-9DC187FDC804}"/>
                    </a:ext>
                  </a:extLst>
                </p:cNvPr>
                <p:cNvSpPr/>
                <p:nvPr/>
              </p:nvSpPr>
              <p:spPr>
                <a:xfrm>
                  <a:off x="8980708" y="5417317"/>
                  <a:ext cx="55379" cy="46043"/>
                </a:xfrm>
                <a:custGeom>
                  <a:avLst/>
                  <a:gdLst>
                    <a:gd name="connsiteX0" fmla="*/ 0 w 55379"/>
                    <a:gd name="connsiteY0" fmla="*/ 45555 h 46043"/>
                    <a:gd name="connsiteX1" fmla="*/ 32357 w 55379"/>
                    <a:gd name="connsiteY1" fmla="*/ 0 h 46043"/>
                    <a:gd name="connsiteX2" fmla="*/ 55379 w 55379"/>
                    <a:gd name="connsiteY2" fmla="*/ 23022 h 46043"/>
                    <a:gd name="connsiteX3" fmla="*/ 32357 w 55379"/>
                    <a:gd name="connsiteY3" fmla="*/ 46043 h 4604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55379" h="46043">
                      <a:moveTo>
                        <a:pt x="0" y="45555"/>
                      </a:moveTo>
                      <a:cubicBezTo>
                        <a:pt x="4204" y="17156"/>
                        <a:pt x="16276" y="0"/>
                        <a:pt x="32357" y="0"/>
                      </a:cubicBezTo>
                      <a:cubicBezTo>
                        <a:pt x="45066" y="0"/>
                        <a:pt x="55379" y="10313"/>
                        <a:pt x="55379" y="23022"/>
                      </a:cubicBezTo>
                      <a:cubicBezTo>
                        <a:pt x="55379" y="35730"/>
                        <a:pt x="45066" y="46043"/>
                        <a:pt x="32357" y="46043"/>
                      </a:cubicBez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407" name="Forma livre: Forma 1406">
                  <a:extLst>
                    <a:ext uri="{FF2B5EF4-FFF2-40B4-BE49-F238E27FC236}">
                      <a16:creationId xmlns:a16="http://schemas.microsoft.com/office/drawing/2014/main" id="{96F85F6A-5961-B91D-2FF5-5680BC8983BE}"/>
                    </a:ext>
                  </a:extLst>
                </p:cNvPr>
                <p:cNvSpPr/>
                <p:nvPr/>
              </p:nvSpPr>
              <p:spPr>
                <a:xfrm>
                  <a:off x="8925232" y="5417317"/>
                  <a:ext cx="55330" cy="46043"/>
                </a:xfrm>
                <a:custGeom>
                  <a:avLst/>
                  <a:gdLst>
                    <a:gd name="connsiteX0" fmla="*/ 55330 w 55330"/>
                    <a:gd name="connsiteY0" fmla="*/ 45555 h 46043"/>
                    <a:gd name="connsiteX1" fmla="*/ 23022 w 55330"/>
                    <a:gd name="connsiteY1" fmla="*/ 0 h 46043"/>
                    <a:gd name="connsiteX2" fmla="*/ 0 w 55330"/>
                    <a:gd name="connsiteY2" fmla="*/ 23022 h 46043"/>
                    <a:gd name="connsiteX3" fmla="*/ 23022 w 55330"/>
                    <a:gd name="connsiteY3" fmla="*/ 46043 h 4604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55330" h="46043">
                      <a:moveTo>
                        <a:pt x="55330" y="45555"/>
                      </a:moveTo>
                      <a:cubicBezTo>
                        <a:pt x="51127" y="17156"/>
                        <a:pt x="39054" y="0"/>
                        <a:pt x="23022" y="0"/>
                      </a:cubicBezTo>
                      <a:cubicBezTo>
                        <a:pt x="10313" y="0"/>
                        <a:pt x="0" y="10313"/>
                        <a:pt x="0" y="23022"/>
                      </a:cubicBezTo>
                      <a:cubicBezTo>
                        <a:pt x="0" y="35730"/>
                        <a:pt x="10313" y="46043"/>
                        <a:pt x="23022" y="46043"/>
                      </a:cubicBez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</p:grpSp>
      <p:grpSp>
        <p:nvGrpSpPr>
          <p:cNvPr id="1409" name="Gráfico 15">
            <a:extLst>
              <a:ext uri="{FF2B5EF4-FFF2-40B4-BE49-F238E27FC236}">
                <a16:creationId xmlns:a16="http://schemas.microsoft.com/office/drawing/2014/main" id="{314FE70F-C696-89F8-8735-CBE4353B23D0}"/>
              </a:ext>
            </a:extLst>
          </p:cNvPr>
          <p:cNvGrpSpPr/>
          <p:nvPr/>
        </p:nvGrpSpPr>
        <p:grpSpPr>
          <a:xfrm>
            <a:off x="11288266" y="5254406"/>
            <a:ext cx="182609" cy="346106"/>
            <a:chOff x="11288266" y="5254406"/>
            <a:chExt cx="182609" cy="346106"/>
          </a:xfrm>
          <a:noFill/>
        </p:grpSpPr>
        <p:sp>
          <p:nvSpPr>
            <p:cNvPr id="1410" name="Forma livre: Forma 1409">
              <a:extLst>
                <a:ext uri="{FF2B5EF4-FFF2-40B4-BE49-F238E27FC236}">
                  <a16:creationId xmlns:a16="http://schemas.microsoft.com/office/drawing/2014/main" id="{F48AAB98-F996-E993-610B-1B03AF121CCB}"/>
                </a:ext>
              </a:extLst>
            </p:cNvPr>
            <p:cNvSpPr/>
            <p:nvPr/>
          </p:nvSpPr>
          <p:spPr>
            <a:xfrm>
              <a:off x="11297015" y="5435402"/>
              <a:ext cx="165110" cy="165110"/>
            </a:xfrm>
            <a:custGeom>
              <a:avLst/>
              <a:gdLst>
                <a:gd name="connsiteX0" fmla="*/ 165111 w 165110"/>
                <a:gd name="connsiteY0" fmla="*/ 82555 h 165110"/>
                <a:gd name="connsiteX1" fmla="*/ 82555 w 165110"/>
                <a:gd name="connsiteY1" fmla="*/ 165111 h 165110"/>
                <a:gd name="connsiteX2" fmla="*/ 0 w 165110"/>
                <a:gd name="connsiteY2" fmla="*/ 82555 h 165110"/>
                <a:gd name="connsiteX3" fmla="*/ 82555 w 165110"/>
                <a:gd name="connsiteY3" fmla="*/ 0 h 165110"/>
                <a:gd name="connsiteX4" fmla="*/ 165111 w 165110"/>
                <a:gd name="connsiteY4" fmla="*/ 82555 h 1651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5110" h="165110">
                  <a:moveTo>
                    <a:pt x="165111" y="82555"/>
                  </a:moveTo>
                  <a:cubicBezTo>
                    <a:pt x="165111" y="128159"/>
                    <a:pt x="128159" y="165111"/>
                    <a:pt x="82555" y="165111"/>
                  </a:cubicBezTo>
                  <a:cubicBezTo>
                    <a:pt x="36952" y="165111"/>
                    <a:pt x="0" y="128159"/>
                    <a:pt x="0" y="82555"/>
                  </a:cubicBezTo>
                  <a:cubicBezTo>
                    <a:pt x="0" y="36952"/>
                    <a:pt x="36952" y="0"/>
                    <a:pt x="82555" y="0"/>
                  </a:cubicBezTo>
                  <a:cubicBezTo>
                    <a:pt x="128159" y="0"/>
                    <a:pt x="165111" y="36952"/>
                    <a:pt x="165111" y="82555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11" name="Forma livre: Forma 1410">
              <a:extLst>
                <a:ext uri="{FF2B5EF4-FFF2-40B4-BE49-F238E27FC236}">
                  <a16:creationId xmlns:a16="http://schemas.microsoft.com/office/drawing/2014/main" id="{4FF2E002-EA0D-6246-A0A1-46AFB4811741}"/>
                </a:ext>
              </a:extLst>
            </p:cNvPr>
            <p:cNvSpPr/>
            <p:nvPr/>
          </p:nvSpPr>
          <p:spPr>
            <a:xfrm>
              <a:off x="11329910" y="5468004"/>
              <a:ext cx="99369" cy="94481"/>
            </a:xfrm>
            <a:custGeom>
              <a:avLst/>
              <a:gdLst>
                <a:gd name="connsiteX0" fmla="*/ 49660 w 99369"/>
                <a:gd name="connsiteY0" fmla="*/ 0 h 94481"/>
                <a:gd name="connsiteX1" fmla="*/ 61391 w 99369"/>
                <a:gd name="connsiteY1" fmla="*/ 36121 h 94481"/>
                <a:gd name="connsiteX2" fmla="*/ 99369 w 99369"/>
                <a:gd name="connsiteY2" fmla="*/ 36121 h 94481"/>
                <a:gd name="connsiteX3" fmla="*/ 68625 w 99369"/>
                <a:gd name="connsiteY3" fmla="*/ 58410 h 94481"/>
                <a:gd name="connsiteX4" fmla="*/ 80356 w 99369"/>
                <a:gd name="connsiteY4" fmla="*/ 94482 h 94481"/>
                <a:gd name="connsiteX5" fmla="*/ 49660 w 99369"/>
                <a:gd name="connsiteY5" fmla="*/ 72193 h 94481"/>
                <a:gd name="connsiteX6" fmla="*/ 18965 w 99369"/>
                <a:gd name="connsiteY6" fmla="*/ 94482 h 94481"/>
                <a:gd name="connsiteX7" fmla="*/ 30696 w 99369"/>
                <a:gd name="connsiteY7" fmla="*/ 58410 h 94481"/>
                <a:gd name="connsiteX8" fmla="*/ 0 w 99369"/>
                <a:gd name="connsiteY8" fmla="*/ 36121 h 94481"/>
                <a:gd name="connsiteX9" fmla="*/ 37929 w 99369"/>
                <a:gd name="connsiteY9" fmla="*/ 36121 h 944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99369" h="94481">
                  <a:moveTo>
                    <a:pt x="49660" y="0"/>
                  </a:moveTo>
                  <a:lnTo>
                    <a:pt x="61391" y="36121"/>
                  </a:lnTo>
                  <a:lnTo>
                    <a:pt x="99369" y="36121"/>
                  </a:lnTo>
                  <a:lnTo>
                    <a:pt x="68625" y="58410"/>
                  </a:lnTo>
                  <a:lnTo>
                    <a:pt x="80356" y="94482"/>
                  </a:lnTo>
                  <a:lnTo>
                    <a:pt x="49660" y="72193"/>
                  </a:lnTo>
                  <a:lnTo>
                    <a:pt x="18965" y="94482"/>
                  </a:lnTo>
                  <a:lnTo>
                    <a:pt x="30696" y="58410"/>
                  </a:lnTo>
                  <a:lnTo>
                    <a:pt x="0" y="36121"/>
                  </a:lnTo>
                  <a:lnTo>
                    <a:pt x="37929" y="36121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412" name="Gráfico 15">
              <a:extLst>
                <a:ext uri="{FF2B5EF4-FFF2-40B4-BE49-F238E27FC236}">
                  <a16:creationId xmlns:a16="http://schemas.microsoft.com/office/drawing/2014/main" id="{BFD00C27-0F99-9663-5DAF-8533E3788CF6}"/>
                </a:ext>
              </a:extLst>
            </p:cNvPr>
            <p:cNvGrpSpPr/>
            <p:nvPr/>
          </p:nvGrpSpPr>
          <p:grpSpPr>
            <a:xfrm>
              <a:off x="11331377" y="5275375"/>
              <a:ext cx="96387" cy="117747"/>
              <a:chOff x="11331377" y="5275375"/>
              <a:chExt cx="96387" cy="117747"/>
            </a:xfrm>
          </p:grpSpPr>
          <p:sp>
            <p:nvSpPr>
              <p:cNvPr id="1413" name="Forma livre: Forma 1412">
                <a:extLst>
                  <a:ext uri="{FF2B5EF4-FFF2-40B4-BE49-F238E27FC236}">
                    <a16:creationId xmlns:a16="http://schemas.microsoft.com/office/drawing/2014/main" id="{806FEF6E-6EB0-B1F5-F868-F1A06EC8AF19}"/>
                  </a:ext>
                </a:extLst>
              </p:cNvPr>
              <p:cNvSpPr/>
              <p:nvPr/>
            </p:nvSpPr>
            <p:spPr>
              <a:xfrm>
                <a:off x="11331377" y="5275375"/>
                <a:ext cx="4887" cy="117747"/>
              </a:xfrm>
              <a:custGeom>
                <a:avLst/>
                <a:gdLst>
                  <a:gd name="connsiteX0" fmla="*/ 0 w 4887"/>
                  <a:gd name="connsiteY0" fmla="*/ 117748 h 117747"/>
                  <a:gd name="connsiteX1" fmla="*/ 0 w 4887"/>
                  <a:gd name="connsiteY1" fmla="*/ 0 h 1177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887" h="117747">
                    <a:moveTo>
                      <a:pt x="0" y="117748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414" name="Forma livre: Forma 1413">
                <a:extLst>
                  <a:ext uri="{FF2B5EF4-FFF2-40B4-BE49-F238E27FC236}">
                    <a16:creationId xmlns:a16="http://schemas.microsoft.com/office/drawing/2014/main" id="{DEE95E22-6E6A-040C-2ECE-9F761566C77E}"/>
                  </a:ext>
                </a:extLst>
              </p:cNvPr>
              <p:cNvSpPr/>
              <p:nvPr/>
            </p:nvSpPr>
            <p:spPr>
              <a:xfrm>
                <a:off x="11427765" y="5275375"/>
                <a:ext cx="4887" cy="117747"/>
              </a:xfrm>
              <a:custGeom>
                <a:avLst/>
                <a:gdLst>
                  <a:gd name="connsiteX0" fmla="*/ 0 w 4887"/>
                  <a:gd name="connsiteY0" fmla="*/ 117748 h 117747"/>
                  <a:gd name="connsiteX1" fmla="*/ 0 w 4887"/>
                  <a:gd name="connsiteY1" fmla="*/ 0 h 1177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887" h="117747">
                    <a:moveTo>
                      <a:pt x="0" y="117748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415" name="Forma livre: Forma 1414">
              <a:extLst>
                <a:ext uri="{FF2B5EF4-FFF2-40B4-BE49-F238E27FC236}">
                  <a16:creationId xmlns:a16="http://schemas.microsoft.com/office/drawing/2014/main" id="{5440D890-3586-29FC-58BE-2BAF3147A4E2}"/>
                </a:ext>
              </a:extLst>
            </p:cNvPr>
            <p:cNvSpPr/>
            <p:nvPr/>
          </p:nvSpPr>
          <p:spPr>
            <a:xfrm>
              <a:off x="11288266" y="5254406"/>
              <a:ext cx="182609" cy="159685"/>
            </a:xfrm>
            <a:custGeom>
              <a:avLst/>
              <a:gdLst>
                <a:gd name="connsiteX0" fmla="*/ 116086 w 182609"/>
                <a:gd name="connsiteY0" fmla="*/ 159685 h 159685"/>
                <a:gd name="connsiteX1" fmla="*/ 182609 w 182609"/>
                <a:gd name="connsiteY1" fmla="*/ 106848 h 159685"/>
                <a:gd name="connsiteX2" fmla="*/ 182609 w 182609"/>
                <a:gd name="connsiteY2" fmla="*/ 0 h 159685"/>
                <a:gd name="connsiteX3" fmla="*/ 0 w 182609"/>
                <a:gd name="connsiteY3" fmla="*/ 0 h 159685"/>
                <a:gd name="connsiteX4" fmla="*/ 0 w 182609"/>
                <a:gd name="connsiteY4" fmla="*/ 106848 h 159685"/>
                <a:gd name="connsiteX5" fmla="*/ 66523 w 182609"/>
                <a:gd name="connsiteY5" fmla="*/ 159685 h 1596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2609" h="159685">
                  <a:moveTo>
                    <a:pt x="116086" y="159685"/>
                  </a:moveTo>
                  <a:lnTo>
                    <a:pt x="182609" y="106848"/>
                  </a:lnTo>
                  <a:lnTo>
                    <a:pt x="182609" y="0"/>
                  </a:lnTo>
                  <a:lnTo>
                    <a:pt x="0" y="0"/>
                  </a:lnTo>
                  <a:lnTo>
                    <a:pt x="0" y="106848"/>
                  </a:lnTo>
                  <a:lnTo>
                    <a:pt x="66523" y="159685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416" name="Gráfico 15">
            <a:extLst>
              <a:ext uri="{FF2B5EF4-FFF2-40B4-BE49-F238E27FC236}">
                <a16:creationId xmlns:a16="http://schemas.microsoft.com/office/drawing/2014/main" id="{34E42363-A25B-0CC0-6EBD-DDD4CCE5A2D1}"/>
              </a:ext>
            </a:extLst>
          </p:cNvPr>
          <p:cNvGrpSpPr/>
          <p:nvPr/>
        </p:nvGrpSpPr>
        <p:grpSpPr>
          <a:xfrm>
            <a:off x="10018458" y="5247612"/>
            <a:ext cx="166772" cy="359695"/>
            <a:chOff x="10018458" y="5247612"/>
            <a:chExt cx="166772" cy="359695"/>
          </a:xfrm>
          <a:noFill/>
        </p:grpSpPr>
        <p:sp>
          <p:nvSpPr>
            <p:cNvPr id="1417" name="Forma livre: Forma 1416">
              <a:extLst>
                <a:ext uri="{FF2B5EF4-FFF2-40B4-BE49-F238E27FC236}">
                  <a16:creationId xmlns:a16="http://schemas.microsoft.com/office/drawing/2014/main" id="{42575380-D472-871B-F4BA-EA47AADB9B63}"/>
                </a:ext>
              </a:extLst>
            </p:cNvPr>
            <p:cNvSpPr/>
            <p:nvPr/>
          </p:nvSpPr>
          <p:spPr>
            <a:xfrm>
              <a:off x="10018458" y="5607307"/>
              <a:ext cx="166772" cy="4887"/>
            </a:xfrm>
            <a:custGeom>
              <a:avLst/>
              <a:gdLst>
                <a:gd name="connsiteX0" fmla="*/ 0 w 166772"/>
                <a:gd name="connsiteY0" fmla="*/ 0 h 4887"/>
                <a:gd name="connsiteX1" fmla="*/ 166773 w 166772"/>
                <a:gd name="connsiteY1" fmla="*/ 0 h 48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66772" h="4887">
                  <a:moveTo>
                    <a:pt x="0" y="0"/>
                  </a:moveTo>
                  <a:lnTo>
                    <a:pt x="166773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18" name="Forma livre: Forma 1417">
              <a:extLst>
                <a:ext uri="{FF2B5EF4-FFF2-40B4-BE49-F238E27FC236}">
                  <a16:creationId xmlns:a16="http://schemas.microsoft.com/office/drawing/2014/main" id="{5D3AF625-B47F-4700-E223-A41D86AD6C4B}"/>
                </a:ext>
              </a:extLst>
            </p:cNvPr>
            <p:cNvSpPr/>
            <p:nvPr/>
          </p:nvSpPr>
          <p:spPr>
            <a:xfrm>
              <a:off x="10037570" y="5556376"/>
              <a:ext cx="128549" cy="49318"/>
            </a:xfrm>
            <a:custGeom>
              <a:avLst/>
              <a:gdLst>
                <a:gd name="connsiteX0" fmla="*/ 128550 w 128549"/>
                <a:gd name="connsiteY0" fmla="*/ 49318 h 49318"/>
                <a:gd name="connsiteX1" fmla="*/ 128550 w 128549"/>
                <a:gd name="connsiteY1" fmla="*/ 0 h 49318"/>
                <a:gd name="connsiteX2" fmla="*/ 0 w 128549"/>
                <a:gd name="connsiteY2" fmla="*/ 0 h 49318"/>
                <a:gd name="connsiteX3" fmla="*/ 0 w 128549"/>
                <a:gd name="connsiteY3" fmla="*/ 49318 h 493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8549" h="49318">
                  <a:moveTo>
                    <a:pt x="128550" y="49318"/>
                  </a:moveTo>
                  <a:lnTo>
                    <a:pt x="128550" y="0"/>
                  </a:lnTo>
                  <a:lnTo>
                    <a:pt x="0" y="0"/>
                  </a:lnTo>
                  <a:lnTo>
                    <a:pt x="0" y="49318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19" name="Forma livre: Forma 1418">
              <a:extLst>
                <a:ext uri="{FF2B5EF4-FFF2-40B4-BE49-F238E27FC236}">
                  <a16:creationId xmlns:a16="http://schemas.microsoft.com/office/drawing/2014/main" id="{C54C7AB0-AA7B-58A5-1154-57B12D395DE9}"/>
                </a:ext>
              </a:extLst>
            </p:cNvPr>
            <p:cNvSpPr/>
            <p:nvPr/>
          </p:nvSpPr>
          <p:spPr>
            <a:xfrm>
              <a:off x="10075597" y="5247612"/>
              <a:ext cx="52495" cy="52495"/>
            </a:xfrm>
            <a:custGeom>
              <a:avLst/>
              <a:gdLst>
                <a:gd name="connsiteX0" fmla="*/ 52495 w 52495"/>
                <a:gd name="connsiteY0" fmla="*/ 26248 h 52495"/>
                <a:gd name="connsiteX1" fmla="*/ 26248 w 52495"/>
                <a:gd name="connsiteY1" fmla="*/ 52495 h 52495"/>
                <a:gd name="connsiteX2" fmla="*/ 0 w 52495"/>
                <a:gd name="connsiteY2" fmla="*/ 26248 h 52495"/>
                <a:gd name="connsiteX3" fmla="*/ 26248 w 52495"/>
                <a:gd name="connsiteY3" fmla="*/ 0 h 52495"/>
                <a:gd name="connsiteX4" fmla="*/ 52495 w 52495"/>
                <a:gd name="connsiteY4" fmla="*/ 26248 h 524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2495" h="52495">
                  <a:moveTo>
                    <a:pt x="52495" y="26248"/>
                  </a:moveTo>
                  <a:cubicBezTo>
                    <a:pt x="52495" y="40744"/>
                    <a:pt x="40744" y="52495"/>
                    <a:pt x="26248" y="52495"/>
                  </a:cubicBezTo>
                  <a:cubicBezTo>
                    <a:pt x="11751" y="52495"/>
                    <a:pt x="0" y="40744"/>
                    <a:pt x="0" y="26248"/>
                  </a:cubicBezTo>
                  <a:cubicBezTo>
                    <a:pt x="0" y="11751"/>
                    <a:pt x="11751" y="0"/>
                    <a:pt x="26248" y="0"/>
                  </a:cubicBezTo>
                  <a:cubicBezTo>
                    <a:pt x="40744" y="0"/>
                    <a:pt x="52495" y="11751"/>
                    <a:pt x="52495" y="26248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20" name="Forma livre: Forma 1419">
              <a:extLst>
                <a:ext uri="{FF2B5EF4-FFF2-40B4-BE49-F238E27FC236}">
                  <a16:creationId xmlns:a16="http://schemas.microsoft.com/office/drawing/2014/main" id="{CE214B8A-4D41-C018-4021-BA6860A74FA5}"/>
                </a:ext>
              </a:extLst>
            </p:cNvPr>
            <p:cNvSpPr/>
            <p:nvPr/>
          </p:nvSpPr>
          <p:spPr>
            <a:xfrm>
              <a:off x="10052267" y="5324204"/>
              <a:ext cx="99106" cy="214037"/>
            </a:xfrm>
            <a:custGeom>
              <a:avLst/>
              <a:gdLst>
                <a:gd name="connsiteX0" fmla="*/ 71182 w 99106"/>
                <a:gd name="connsiteY0" fmla="*/ 214038 h 214037"/>
                <a:gd name="connsiteX1" fmla="*/ 78905 w 99106"/>
                <a:gd name="connsiteY1" fmla="*/ 111051 h 214037"/>
                <a:gd name="connsiteX2" fmla="*/ 99042 w 99106"/>
                <a:gd name="connsiteY2" fmla="*/ 89398 h 214037"/>
                <a:gd name="connsiteX3" fmla="*/ 91173 w 99106"/>
                <a:gd name="connsiteY3" fmla="*/ 18427 h 214037"/>
                <a:gd name="connsiteX4" fmla="*/ 70791 w 99106"/>
                <a:gd name="connsiteY4" fmla="*/ 0 h 214037"/>
                <a:gd name="connsiteX5" fmla="*/ 28316 w 99106"/>
                <a:gd name="connsiteY5" fmla="*/ 0 h 214037"/>
                <a:gd name="connsiteX6" fmla="*/ 7933 w 99106"/>
                <a:gd name="connsiteY6" fmla="*/ 18427 h 214037"/>
                <a:gd name="connsiteX7" fmla="*/ 64 w 99106"/>
                <a:gd name="connsiteY7" fmla="*/ 89398 h 214037"/>
                <a:gd name="connsiteX8" fmla="*/ 20202 w 99106"/>
                <a:gd name="connsiteY8" fmla="*/ 111051 h 214037"/>
                <a:gd name="connsiteX9" fmla="*/ 27925 w 99106"/>
                <a:gd name="connsiteY9" fmla="*/ 214038 h 2140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99106" h="214037">
                  <a:moveTo>
                    <a:pt x="71182" y="214038"/>
                  </a:moveTo>
                  <a:lnTo>
                    <a:pt x="78905" y="111051"/>
                  </a:lnTo>
                  <a:cubicBezTo>
                    <a:pt x="88534" y="107581"/>
                    <a:pt x="100069" y="99516"/>
                    <a:pt x="99042" y="89398"/>
                  </a:cubicBezTo>
                  <a:lnTo>
                    <a:pt x="91173" y="18427"/>
                  </a:lnTo>
                  <a:cubicBezTo>
                    <a:pt x="90147" y="8309"/>
                    <a:pt x="80957" y="0"/>
                    <a:pt x="70791" y="0"/>
                  </a:cubicBezTo>
                  <a:lnTo>
                    <a:pt x="28316" y="0"/>
                  </a:lnTo>
                  <a:cubicBezTo>
                    <a:pt x="18100" y="0"/>
                    <a:pt x="8960" y="8309"/>
                    <a:pt x="7933" y="18427"/>
                  </a:cubicBezTo>
                  <a:lnTo>
                    <a:pt x="64" y="89398"/>
                  </a:lnTo>
                  <a:cubicBezTo>
                    <a:pt x="-963" y="99516"/>
                    <a:pt x="10573" y="107581"/>
                    <a:pt x="20202" y="111051"/>
                  </a:cubicBezTo>
                  <a:lnTo>
                    <a:pt x="27925" y="214038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21" name="Forma livre: Forma 1420">
              <a:extLst>
                <a:ext uri="{FF2B5EF4-FFF2-40B4-BE49-F238E27FC236}">
                  <a16:creationId xmlns:a16="http://schemas.microsoft.com/office/drawing/2014/main" id="{0785D438-4D4F-13D4-9C52-6CB3A6934023}"/>
                </a:ext>
              </a:extLst>
            </p:cNvPr>
            <p:cNvSpPr/>
            <p:nvPr/>
          </p:nvSpPr>
          <p:spPr>
            <a:xfrm>
              <a:off x="10071296" y="5582183"/>
              <a:ext cx="61097" cy="4887"/>
            </a:xfrm>
            <a:custGeom>
              <a:avLst/>
              <a:gdLst>
                <a:gd name="connsiteX0" fmla="*/ 0 w 61097"/>
                <a:gd name="connsiteY0" fmla="*/ 0 h 4887"/>
                <a:gd name="connsiteX1" fmla="*/ 61098 w 61097"/>
                <a:gd name="connsiteY1" fmla="*/ 0 h 48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1097" h="4887">
                  <a:moveTo>
                    <a:pt x="0" y="0"/>
                  </a:moveTo>
                  <a:lnTo>
                    <a:pt x="61098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422" name="Gráfico 15">
            <a:extLst>
              <a:ext uri="{FF2B5EF4-FFF2-40B4-BE49-F238E27FC236}">
                <a16:creationId xmlns:a16="http://schemas.microsoft.com/office/drawing/2014/main" id="{925FFE03-98A3-0821-5678-E2FB0FDB5569}"/>
              </a:ext>
            </a:extLst>
          </p:cNvPr>
          <p:cNvGrpSpPr/>
          <p:nvPr/>
        </p:nvGrpSpPr>
        <p:grpSpPr>
          <a:xfrm>
            <a:off x="10606659" y="5296899"/>
            <a:ext cx="268145" cy="254198"/>
            <a:chOff x="10606659" y="5296899"/>
            <a:chExt cx="268145" cy="254198"/>
          </a:xfrm>
          <a:noFill/>
        </p:grpSpPr>
        <p:sp>
          <p:nvSpPr>
            <p:cNvPr id="1423" name="Forma livre: Forma 1422">
              <a:extLst>
                <a:ext uri="{FF2B5EF4-FFF2-40B4-BE49-F238E27FC236}">
                  <a16:creationId xmlns:a16="http://schemas.microsoft.com/office/drawing/2014/main" id="{EB6F83FA-C964-E5D2-2C49-FE9AC7A02F96}"/>
                </a:ext>
              </a:extLst>
            </p:cNvPr>
            <p:cNvSpPr/>
            <p:nvPr/>
          </p:nvSpPr>
          <p:spPr>
            <a:xfrm>
              <a:off x="10678119" y="5524409"/>
              <a:ext cx="174250" cy="15738"/>
            </a:xfrm>
            <a:custGeom>
              <a:avLst/>
              <a:gdLst>
                <a:gd name="connsiteX0" fmla="*/ 174251 w 174250"/>
                <a:gd name="connsiteY0" fmla="*/ 0 h 15738"/>
                <a:gd name="connsiteX1" fmla="*/ 150887 w 174250"/>
                <a:gd name="connsiteY1" fmla="*/ 15739 h 15738"/>
                <a:gd name="connsiteX2" fmla="*/ 0 w 174250"/>
                <a:gd name="connsiteY2" fmla="*/ 15739 h 157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74250" h="15738">
                  <a:moveTo>
                    <a:pt x="174251" y="0"/>
                  </a:moveTo>
                  <a:cubicBezTo>
                    <a:pt x="171514" y="6061"/>
                    <a:pt x="165013" y="15739"/>
                    <a:pt x="150887" y="15739"/>
                  </a:cubicBezTo>
                  <a:lnTo>
                    <a:pt x="0" y="15739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24" name="Forma livre: Forma 1423">
              <a:extLst>
                <a:ext uri="{FF2B5EF4-FFF2-40B4-BE49-F238E27FC236}">
                  <a16:creationId xmlns:a16="http://schemas.microsoft.com/office/drawing/2014/main" id="{C7F4B975-CA16-D2AA-EE56-D1786EE7D620}"/>
                </a:ext>
              </a:extLst>
            </p:cNvPr>
            <p:cNvSpPr/>
            <p:nvPr/>
          </p:nvSpPr>
          <p:spPr>
            <a:xfrm>
              <a:off x="10679830" y="5296899"/>
              <a:ext cx="193557" cy="102871"/>
            </a:xfrm>
            <a:custGeom>
              <a:avLst/>
              <a:gdLst>
                <a:gd name="connsiteX0" fmla="*/ 0 w 193557"/>
                <a:gd name="connsiteY0" fmla="*/ 102871 h 102871"/>
                <a:gd name="connsiteX1" fmla="*/ 68234 w 193557"/>
                <a:gd name="connsiteY1" fmla="*/ 16112 h 102871"/>
                <a:gd name="connsiteX2" fmla="*/ 86954 w 193557"/>
                <a:gd name="connsiteY2" fmla="*/ 276 h 102871"/>
                <a:gd name="connsiteX3" fmla="*/ 108216 w 193557"/>
                <a:gd name="connsiteY3" fmla="*/ 20071 h 102871"/>
                <a:gd name="connsiteX4" fmla="*/ 99467 w 193557"/>
                <a:gd name="connsiteY4" fmla="*/ 89234 h 102871"/>
                <a:gd name="connsiteX5" fmla="*/ 181534 w 193557"/>
                <a:gd name="connsiteY5" fmla="*/ 89234 h 102871"/>
                <a:gd name="connsiteX6" fmla="*/ 193558 w 193557"/>
                <a:gd name="connsiteY6" fmla="*/ 98570 h 1028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93557" h="102871">
                  <a:moveTo>
                    <a:pt x="0" y="102871"/>
                  </a:moveTo>
                  <a:cubicBezTo>
                    <a:pt x="14419" y="98570"/>
                    <a:pt x="68234" y="78481"/>
                    <a:pt x="68234" y="16112"/>
                  </a:cubicBezTo>
                  <a:cubicBezTo>
                    <a:pt x="68234" y="16112"/>
                    <a:pt x="69505" y="276"/>
                    <a:pt x="86954" y="276"/>
                  </a:cubicBezTo>
                  <a:cubicBezTo>
                    <a:pt x="86954" y="276"/>
                    <a:pt x="105968" y="-3879"/>
                    <a:pt x="108216" y="20071"/>
                  </a:cubicBezTo>
                  <a:cubicBezTo>
                    <a:pt x="108216" y="20071"/>
                    <a:pt x="113153" y="61862"/>
                    <a:pt x="99467" y="89234"/>
                  </a:cubicBezTo>
                  <a:lnTo>
                    <a:pt x="181534" y="89234"/>
                  </a:lnTo>
                  <a:cubicBezTo>
                    <a:pt x="181534" y="89234"/>
                    <a:pt x="189599" y="87914"/>
                    <a:pt x="193558" y="98570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25" name="Forma livre: Forma 1424">
              <a:extLst>
                <a:ext uri="{FF2B5EF4-FFF2-40B4-BE49-F238E27FC236}">
                  <a16:creationId xmlns:a16="http://schemas.microsoft.com/office/drawing/2014/main" id="{E7E7489E-A467-C656-4F51-F8ED07A88BA3}"/>
                </a:ext>
              </a:extLst>
            </p:cNvPr>
            <p:cNvSpPr/>
            <p:nvPr/>
          </p:nvSpPr>
          <p:spPr>
            <a:xfrm>
              <a:off x="10606659" y="5395273"/>
              <a:ext cx="44870" cy="155823"/>
            </a:xfrm>
            <a:custGeom>
              <a:avLst/>
              <a:gdLst>
                <a:gd name="connsiteX0" fmla="*/ 3959 w 44870"/>
                <a:gd name="connsiteY0" fmla="*/ 0 h 155823"/>
                <a:gd name="connsiteX1" fmla="*/ 44870 w 44870"/>
                <a:gd name="connsiteY1" fmla="*/ 0 h 155823"/>
                <a:gd name="connsiteX2" fmla="*/ 44870 w 44870"/>
                <a:gd name="connsiteY2" fmla="*/ 155824 h 155823"/>
                <a:gd name="connsiteX3" fmla="*/ 0 w 44870"/>
                <a:gd name="connsiteY3" fmla="*/ 155824 h 1558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4870" h="155823">
                  <a:moveTo>
                    <a:pt x="3959" y="0"/>
                  </a:moveTo>
                  <a:lnTo>
                    <a:pt x="44870" y="0"/>
                  </a:lnTo>
                  <a:lnTo>
                    <a:pt x="44870" y="155824"/>
                  </a:lnTo>
                  <a:lnTo>
                    <a:pt x="0" y="155824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426" name="Gráfico 15">
              <a:extLst>
                <a:ext uri="{FF2B5EF4-FFF2-40B4-BE49-F238E27FC236}">
                  <a16:creationId xmlns:a16="http://schemas.microsoft.com/office/drawing/2014/main" id="{F5BD0130-95D0-ECC0-EEE1-06664199B834}"/>
                </a:ext>
              </a:extLst>
            </p:cNvPr>
            <p:cNvGrpSpPr/>
            <p:nvPr/>
          </p:nvGrpSpPr>
          <p:grpSpPr>
            <a:xfrm>
              <a:off x="10846358" y="5409252"/>
              <a:ext cx="28447" cy="17205"/>
              <a:chOff x="10846358" y="5409252"/>
              <a:chExt cx="28447" cy="17205"/>
            </a:xfrm>
            <a:noFill/>
          </p:grpSpPr>
          <p:sp>
            <p:nvSpPr>
              <p:cNvPr id="1427" name="Forma livre: Forma 1426">
                <a:extLst>
                  <a:ext uri="{FF2B5EF4-FFF2-40B4-BE49-F238E27FC236}">
                    <a16:creationId xmlns:a16="http://schemas.microsoft.com/office/drawing/2014/main" id="{4B02E210-E840-62B2-782C-71A41BC35142}"/>
                  </a:ext>
                </a:extLst>
              </p:cNvPr>
              <p:cNvSpPr/>
              <p:nvPr/>
            </p:nvSpPr>
            <p:spPr>
              <a:xfrm>
                <a:off x="10846358" y="5426457"/>
                <a:ext cx="7527" cy="4887"/>
              </a:xfrm>
              <a:custGeom>
                <a:avLst/>
                <a:gdLst>
                  <a:gd name="connsiteX0" fmla="*/ 0 w 7527"/>
                  <a:gd name="connsiteY0" fmla="*/ 0 h 4887"/>
                  <a:gd name="connsiteX1" fmla="*/ 7527 w 7527"/>
                  <a:gd name="connsiteY1" fmla="*/ 0 h 48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7527" h="4887">
                    <a:moveTo>
                      <a:pt x="0" y="0"/>
                    </a:moveTo>
                    <a:lnTo>
                      <a:pt x="7527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428" name="Forma livre: Forma 1427">
                <a:extLst>
                  <a:ext uri="{FF2B5EF4-FFF2-40B4-BE49-F238E27FC236}">
                    <a16:creationId xmlns:a16="http://schemas.microsoft.com/office/drawing/2014/main" id="{C9D900F5-DB75-94FA-51F1-F1E1DF9721C8}"/>
                  </a:ext>
                </a:extLst>
              </p:cNvPr>
              <p:cNvSpPr/>
              <p:nvPr/>
            </p:nvSpPr>
            <p:spPr>
              <a:xfrm>
                <a:off x="10853005" y="5409252"/>
                <a:ext cx="21799" cy="17159"/>
              </a:xfrm>
              <a:custGeom>
                <a:avLst/>
                <a:gdLst>
                  <a:gd name="connsiteX0" fmla="*/ 21800 w 21799"/>
                  <a:gd name="connsiteY0" fmla="*/ 0 h 17159"/>
                  <a:gd name="connsiteX1" fmla="*/ 0 w 21799"/>
                  <a:gd name="connsiteY1" fmla="*/ 17156 h 171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1799" h="17159">
                    <a:moveTo>
                      <a:pt x="21800" y="0"/>
                    </a:moveTo>
                    <a:cubicBezTo>
                      <a:pt x="20333" y="8016"/>
                      <a:pt x="14419" y="17352"/>
                      <a:pt x="0" y="17156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429" name="Gráfico 15">
              <a:extLst>
                <a:ext uri="{FF2B5EF4-FFF2-40B4-BE49-F238E27FC236}">
                  <a16:creationId xmlns:a16="http://schemas.microsoft.com/office/drawing/2014/main" id="{534F686F-12E5-9E53-8C16-783BFA22B723}"/>
                </a:ext>
              </a:extLst>
            </p:cNvPr>
            <p:cNvGrpSpPr/>
            <p:nvPr/>
          </p:nvGrpSpPr>
          <p:grpSpPr>
            <a:xfrm>
              <a:off x="10841812" y="5447622"/>
              <a:ext cx="28398" cy="17159"/>
              <a:chOff x="10841812" y="5447622"/>
              <a:chExt cx="28398" cy="17159"/>
            </a:xfrm>
            <a:noFill/>
          </p:grpSpPr>
          <p:sp>
            <p:nvSpPr>
              <p:cNvPr id="1430" name="Forma livre: Forma 1429">
                <a:extLst>
                  <a:ext uri="{FF2B5EF4-FFF2-40B4-BE49-F238E27FC236}">
                    <a16:creationId xmlns:a16="http://schemas.microsoft.com/office/drawing/2014/main" id="{F9A7F0F7-CF59-3E3A-994D-53D4B3CED6EC}"/>
                  </a:ext>
                </a:extLst>
              </p:cNvPr>
              <p:cNvSpPr/>
              <p:nvPr/>
            </p:nvSpPr>
            <p:spPr>
              <a:xfrm>
                <a:off x="10841812" y="5464778"/>
                <a:ext cx="7527" cy="4887"/>
              </a:xfrm>
              <a:custGeom>
                <a:avLst/>
                <a:gdLst>
                  <a:gd name="connsiteX0" fmla="*/ 0 w 7527"/>
                  <a:gd name="connsiteY0" fmla="*/ 0 h 4887"/>
                  <a:gd name="connsiteX1" fmla="*/ 7527 w 7527"/>
                  <a:gd name="connsiteY1" fmla="*/ 0 h 48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7527" h="4887">
                    <a:moveTo>
                      <a:pt x="0" y="0"/>
                    </a:moveTo>
                    <a:lnTo>
                      <a:pt x="7527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431" name="Forma livre: Forma 1430">
                <a:extLst>
                  <a:ext uri="{FF2B5EF4-FFF2-40B4-BE49-F238E27FC236}">
                    <a16:creationId xmlns:a16="http://schemas.microsoft.com/office/drawing/2014/main" id="{A05E285C-FDF8-8893-499A-9E9B7B92804A}"/>
                  </a:ext>
                </a:extLst>
              </p:cNvPr>
              <p:cNvSpPr/>
              <p:nvPr/>
            </p:nvSpPr>
            <p:spPr>
              <a:xfrm>
                <a:off x="10848411" y="5447622"/>
                <a:ext cx="21799" cy="17159"/>
              </a:xfrm>
              <a:custGeom>
                <a:avLst/>
                <a:gdLst>
                  <a:gd name="connsiteX0" fmla="*/ 21800 w 21799"/>
                  <a:gd name="connsiteY0" fmla="*/ 0 h 17159"/>
                  <a:gd name="connsiteX1" fmla="*/ 0 w 21799"/>
                  <a:gd name="connsiteY1" fmla="*/ 17156 h 171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1799" h="17159">
                    <a:moveTo>
                      <a:pt x="21800" y="0"/>
                    </a:moveTo>
                    <a:cubicBezTo>
                      <a:pt x="20333" y="8016"/>
                      <a:pt x="14419" y="17352"/>
                      <a:pt x="0" y="17156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432" name="Gráfico 15">
              <a:extLst>
                <a:ext uri="{FF2B5EF4-FFF2-40B4-BE49-F238E27FC236}">
                  <a16:creationId xmlns:a16="http://schemas.microsoft.com/office/drawing/2014/main" id="{7A37837A-31F4-3D61-E302-2D0FC3D01BB3}"/>
                </a:ext>
              </a:extLst>
            </p:cNvPr>
            <p:cNvGrpSpPr/>
            <p:nvPr/>
          </p:nvGrpSpPr>
          <p:grpSpPr>
            <a:xfrm>
              <a:off x="10832379" y="5486431"/>
              <a:ext cx="28447" cy="17159"/>
              <a:chOff x="10832379" y="5486431"/>
              <a:chExt cx="28447" cy="17159"/>
            </a:xfrm>
            <a:noFill/>
          </p:grpSpPr>
          <p:sp>
            <p:nvSpPr>
              <p:cNvPr id="1433" name="Forma livre: Forma 1432">
                <a:extLst>
                  <a:ext uri="{FF2B5EF4-FFF2-40B4-BE49-F238E27FC236}">
                    <a16:creationId xmlns:a16="http://schemas.microsoft.com/office/drawing/2014/main" id="{364FE454-2BC9-CC87-2069-EB696C9F856A}"/>
                  </a:ext>
                </a:extLst>
              </p:cNvPr>
              <p:cNvSpPr/>
              <p:nvPr/>
            </p:nvSpPr>
            <p:spPr>
              <a:xfrm>
                <a:off x="10832379" y="5503587"/>
                <a:ext cx="7527" cy="4887"/>
              </a:xfrm>
              <a:custGeom>
                <a:avLst/>
                <a:gdLst>
                  <a:gd name="connsiteX0" fmla="*/ 0 w 7527"/>
                  <a:gd name="connsiteY0" fmla="*/ 0 h 4887"/>
                  <a:gd name="connsiteX1" fmla="*/ 7527 w 7527"/>
                  <a:gd name="connsiteY1" fmla="*/ 0 h 48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7527" h="4887">
                    <a:moveTo>
                      <a:pt x="0" y="0"/>
                    </a:moveTo>
                    <a:lnTo>
                      <a:pt x="7527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434" name="Forma livre: Forma 1433">
                <a:extLst>
                  <a:ext uri="{FF2B5EF4-FFF2-40B4-BE49-F238E27FC236}">
                    <a16:creationId xmlns:a16="http://schemas.microsoft.com/office/drawing/2014/main" id="{FD4A835F-CCF6-AFA4-1115-5021205D5263}"/>
                  </a:ext>
                </a:extLst>
              </p:cNvPr>
              <p:cNvSpPr/>
              <p:nvPr/>
            </p:nvSpPr>
            <p:spPr>
              <a:xfrm>
                <a:off x="10839026" y="5486431"/>
                <a:ext cx="21799" cy="17159"/>
              </a:xfrm>
              <a:custGeom>
                <a:avLst/>
                <a:gdLst>
                  <a:gd name="connsiteX0" fmla="*/ 21800 w 21799"/>
                  <a:gd name="connsiteY0" fmla="*/ 0 h 17159"/>
                  <a:gd name="connsiteX1" fmla="*/ 0 w 21799"/>
                  <a:gd name="connsiteY1" fmla="*/ 17156 h 171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1799" h="17159">
                    <a:moveTo>
                      <a:pt x="21800" y="0"/>
                    </a:moveTo>
                    <a:cubicBezTo>
                      <a:pt x="20333" y="8016"/>
                      <a:pt x="14419" y="17352"/>
                      <a:pt x="0" y="17156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447" name="Gráfico 15">
            <a:extLst>
              <a:ext uri="{FF2B5EF4-FFF2-40B4-BE49-F238E27FC236}">
                <a16:creationId xmlns:a16="http://schemas.microsoft.com/office/drawing/2014/main" id="{EB4EAB7D-0C1B-4819-7345-41ED6ADE718A}"/>
              </a:ext>
            </a:extLst>
          </p:cNvPr>
          <p:cNvGrpSpPr/>
          <p:nvPr/>
        </p:nvGrpSpPr>
        <p:grpSpPr>
          <a:xfrm>
            <a:off x="9958191" y="3665276"/>
            <a:ext cx="287306" cy="297473"/>
            <a:chOff x="9958191" y="3665276"/>
            <a:chExt cx="287306" cy="297473"/>
          </a:xfrm>
        </p:grpSpPr>
        <p:sp>
          <p:nvSpPr>
            <p:cNvPr id="1448" name="Forma livre: Forma 1447">
              <a:extLst>
                <a:ext uri="{FF2B5EF4-FFF2-40B4-BE49-F238E27FC236}">
                  <a16:creationId xmlns:a16="http://schemas.microsoft.com/office/drawing/2014/main" id="{F2EECB06-8E11-29B4-4376-0706D0E06EFB}"/>
                </a:ext>
              </a:extLst>
            </p:cNvPr>
            <p:cNvSpPr/>
            <p:nvPr/>
          </p:nvSpPr>
          <p:spPr>
            <a:xfrm>
              <a:off x="10020609" y="3886646"/>
              <a:ext cx="162520" cy="76103"/>
            </a:xfrm>
            <a:custGeom>
              <a:avLst/>
              <a:gdLst>
                <a:gd name="connsiteX0" fmla="*/ 150203 w 162520"/>
                <a:gd name="connsiteY0" fmla="*/ 12220 h 76103"/>
                <a:gd name="connsiteX1" fmla="*/ 150252 w 162520"/>
                <a:gd name="connsiteY1" fmla="*/ 12953 h 76103"/>
                <a:gd name="connsiteX2" fmla="*/ 150252 w 162520"/>
                <a:gd name="connsiteY2" fmla="*/ 63151 h 76103"/>
                <a:gd name="connsiteX3" fmla="*/ 150203 w 162520"/>
                <a:gd name="connsiteY3" fmla="*/ 63884 h 76103"/>
                <a:gd name="connsiteX4" fmla="*/ 12268 w 162520"/>
                <a:gd name="connsiteY4" fmla="*/ 63884 h 76103"/>
                <a:gd name="connsiteX5" fmla="*/ 12220 w 162520"/>
                <a:gd name="connsiteY5" fmla="*/ 63151 h 76103"/>
                <a:gd name="connsiteX6" fmla="*/ 12220 w 162520"/>
                <a:gd name="connsiteY6" fmla="*/ 12953 h 76103"/>
                <a:gd name="connsiteX7" fmla="*/ 12268 w 162520"/>
                <a:gd name="connsiteY7" fmla="*/ 12220 h 76103"/>
                <a:gd name="connsiteX8" fmla="*/ 150252 w 162520"/>
                <a:gd name="connsiteY8" fmla="*/ 12220 h 76103"/>
                <a:gd name="connsiteX9" fmla="*/ 152256 w 162520"/>
                <a:gd name="connsiteY9" fmla="*/ 0 h 76103"/>
                <a:gd name="connsiteX10" fmla="*/ 10264 w 162520"/>
                <a:gd name="connsiteY10" fmla="*/ 0 h 76103"/>
                <a:gd name="connsiteX11" fmla="*/ 0 w 162520"/>
                <a:gd name="connsiteY11" fmla="*/ 12953 h 76103"/>
                <a:gd name="connsiteX12" fmla="*/ 0 w 162520"/>
                <a:gd name="connsiteY12" fmla="*/ 63151 h 76103"/>
                <a:gd name="connsiteX13" fmla="*/ 10264 w 162520"/>
                <a:gd name="connsiteY13" fmla="*/ 76103 h 76103"/>
                <a:gd name="connsiteX14" fmla="*/ 152256 w 162520"/>
                <a:gd name="connsiteY14" fmla="*/ 76103 h 76103"/>
                <a:gd name="connsiteX15" fmla="*/ 162520 w 162520"/>
                <a:gd name="connsiteY15" fmla="*/ 63151 h 76103"/>
                <a:gd name="connsiteX16" fmla="*/ 162520 w 162520"/>
                <a:gd name="connsiteY16" fmla="*/ 12953 h 76103"/>
                <a:gd name="connsiteX17" fmla="*/ 152256 w 162520"/>
                <a:gd name="connsiteY17" fmla="*/ 0 h 76103"/>
                <a:gd name="connsiteX18" fmla="*/ 152256 w 162520"/>
                <a:gd name="connsiteY18" fmla="*/ 0 h 761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62520" h="76103">
                  <a:moveTo>
                    <a:pt x="150203" y="12220"/>
                  </a:moveTo>
                  <a:cubicBezTo>
                    <a:pt x="150203" y="12220"/>
                    <a:pt x="150252" y="12659"/>
                    <a:pt x="150252" y="12953"/>
                  </a:cubicBezTo>
                  <a:lnTo>
                    <a:pt x="150252" y="63151"/>
                  </a:lnTo>
                  <a:cubicBezTo>
                    <a:pt x="150252" y="63444"/>
                    <a:pt x="150252" y="63688"/>
                    <a:pt x="150203" y="63884"/>
                  </a:cubicBezTo>
                  <a:lnTo>
                    <a:pt x="12268" y="63884"/>
                  </a:lnTo>
                  <a:cubicBezTo>
                    <a:pt x="12268" y="63884"/>
                    <a:pt x="12220" y="63444"/>
                    <a:pt x="12220" y="63151"/>
                  </a:cubicBezTo>
                  <a:lnTo>
                    <a:pt x="12220" y="12953"/>
                  </a:lnTo>
                  <a:cubicBezTo>
                    <a:pt x="12220" y="12659"/>
                    <a:pt x="12220" y="12415"/>
                    <a:pt x="12268" y="12220"/>
                  </a:cubicBezTo>
                  <a:lnTo>
                    <a:pt x="150252" y="12220"/>
                  </a:lnTo>
                  <a:moveTo>
                    <a:pt x="152256" y="0"/>
                  </a:moveTo>
                  <a:lnTo>
                    <a:pt x="10264" y="0"/>
                  </a:lnTo>
                  <a:cubicBezTo>
                    <a:pt x="4595" y="0"/>
                    <a:pt x="0" y="5817"/>
                    <a:pt x="0" y="12953"/>
                  </a:cubicBezTo>
                  <a:lnTo>
                    <a:pt x="0" y="63151"/>
                  </a:lnTo>
                  <a:cubicBezTo>
                    <a:pt x="0" y="70287"/>
                    <a:pt x="4595" y="76103"/>
                    <a:pt x="10264" y="76103"/>
                  </a:cubicBezTo>
                  <a:lnTo>
                    <a:pt x="152256" y="76103"/>
                  </a:lnTo>
                  <a:cubicBezTo>
                    <a:pt x="157926" y="76103"/>
                    <a:pt x="162520" y="70287"/>
                    <a:pt x="162520" y="63151"/>
                  </a:cubicBezTo>
                  <a:lnTo>
                    <a:pt x="162520" y="12953"/>
                  </a:lnTo>
                  <a:cubicBezTo>
                    <a:pt x="162520" y="5817"/>
                    <a:pt x="157926" y="0"/>
                    <a:pt x="152256" y="0"/>
                  </a:cubicBezTo>
                  <a:lnTo>
                    <a:pt x="152256" y="0"/>
                  </a:ln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49" name="Forma livre: Forma 1448">
              <a:extLst>
                <a:ext uri="{FF2B5EF4-FFF2-40B4-BE49-F238E27FC236}">
                  <a16:creationId xmlns:a16="http://schemas.microsoft.com/office/drawing/2014/main" id="{2D815731-FEB3-FDC7-9BA9-A8ED7E6D312C}"/>
                </a:ext>
              </a:extLst>
            </p:cNvPr>
            <p:cNvSpPr/>
            <p:nvPr/>
          </p:nvSpPr>
          <p:spPr>
            <a:xfrm>
              <a:off x="10069683" y="3924380"/>
              <a:ext cx="64323" cy="4887"/>
            </a:xfrm>
            <a:custGeom>
              <a:avLst/>
              <a:gdLst>
                <a:gd name="connsiteX0" fmla="*/ 0 w 64323"/>
                <a:gd name="connsiteY0" fmla="*/ 0 h 4887"/>
                <a:gd name="connsiteX1" fmla="*/ 64324 w 64323"/>
                <a:gd name="connsiteY1" fmla="*/ 0 h 48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4323" h="4887">
                  <a:moveTo>
                    <a:pt x="0" y="0"/>
                  </a:moveTo>
                  <a:lnTo>
                    <a:pt x="64324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bevel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50" name="Forma livre: Forma 1449">
              <a:extLst>
                <a:ext uri="{FF2B5EF4-FFF2-40B4-BE49-F238E27FC236}">
                  <a16:creationId xmlns:a16="http://schemas.microsoft.com/office/drawing/2014/main" id="{327F3D54-0F6C-17B5-2A90-95C0EEE84DCD}"/>
                </a:ext>
              </a:extLst>
            </p:cNvPr>
            <p:cNvSpPr/>
            <p:nvPr/>
          </p:nvSpPr>
          <p:spPr>
            <a:xfrm>
              <a:off x="9958191" y="3706236"/>
              <a:ext cx="287306" cy="117992"/>
            </a:xfrm>
            <a:custGeom>
              <a:avLst/>
              <a:gdLst>
                <a:gd name="connsiteX0" fmla="*/ 244587 w 287306"/>
                <a:gd name="connsiteY0" fmla="*/ 0 h 117992"/>
                <a:gd name="connsiteX1" fmla="*/ 287306 w 287306"/>
                <a:gd name="connsiteY1" fmla="*/ 0 h 117992"/>
                <a:gd name="connsiteX2" fmla="*/ 144337 w 287306"/>
                <a:gd name="connsiteY2" fmla="*/ 117992 h 117992"/>
                <a:gd name="connsiteX3" fmla="*/ 142920 w 287306"/>
                <a:gd name="connsiteY3" fmla="*/ 117992 h 117992"/>
                <a:gd name="connsiteX4" fmla="*/ 0 w 287306"/>
                <a:gd name="connsiteY4" fmla="*/ 0 h 117992"/>
                <a:gd name="connsiteX5" fmla="*/ 42720 w 287306"/>
                <a:gd name="connsiteY5" fmla="*/ 0 h 1179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87306" h="117992">
                  <a:moveTo>
                    <a:pt x="244587" y="0"/>
                  </a:moveTo>
                  <a:lnTo>
                    <a:pt x="287306" y="0"/>
                  </a:lnTo>
                  <a:cubicBezTo>
                    <a:pt x="287306" y="0"/>
                    <a:pt x="251870" y="117992"/>
                    <a:pt x="144337" y="117992"/>
                  </a:cubicBezTo>
                  <a:lnTo>
                    <a:pt x="142920" y="117992"/>
                  </a:lnTo>
                  <a:cubicBezTo>
                    <a:pt x="35388" y="117943"/>
                    <a:pt x="0" y="0"/>
                    <a:pt x="0" y="0"/>
                  </a:cubicBezTo>
                  <a:lnTo>
                    <a:pt x="42720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51" name="Forma livre: Forma 1450">
              <a:extLst>
                <a:ext uri="{FF2B5EF4-FFF2-40B4-BE49-F238E27FC236}">
                  <a16:creationId xmlns:a16="http://schemas.microsoft.com/office/drawing/2014/main" id="{DF1F1DA8-2F3E-2865-25D6-0BA9596DAA22}"/>
                </a:ext>
              </a:extLst>
            </p:cNvPr>
            <p:cNvSpPr/>
            <p:nvPr/>
          </p:nvSpPr>
          <p:spPr>
            <a:xfrm>
              <a:off x="10023052" y="3665276"/>
              <a:ext cx="157634" cy="158609"/>
            </a:xfrm>
            <a:custGeom>
              <a:avLst/>
              <a:gdLst>
                <a:gd name="connsiteX0" fmla="*/ 77766 w 157634"/>
                <a:gd name="connsiteY0" fmla="*/ 158610 h 158609"/>
                <a:gd name="connsiteX1" fmla="*/ 1 w 157634"/>
                <a:gd name="connsiteY1" fmla="*/ 0 h 158609"/>
                <a:gd name="connsiteX2" fmla="*/ 157633 w 157634"/>
                <a:gd name="connsiteY2" fmla="*/ 0 h 158609"/>
                <a:gd name="connsiteX3" fmla="*/ 79868 w 157634"/>
                <a:gd name="connsiteY3" fmla="*/ 158610 h 158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7634" h="158609">
                  <a:moveTo>
                    <a:pt x="77766" y="158610"/>
                  </a:moveTo>
                  <a:cubicBezTo>
                    <a:pt x="-1172" y="151229"/>
                    <a:pt x="1" y="0"/>
                    <a:pt x="1" y="0"/>
                  </a:cubicBezTo>
                  <a:lnTo>
                    <a:pt x="157633" y="0"/>
                  </a:lnTo>
                  <a:cubicBezTo>
                    <a:pt x="157633" y="0"/>
                    <a:pt x="158806" y="151229"/>
                    <a:pt x="79868" y="15861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452" name="Gráfico 15">
              <a:extLst>
                <a:ext uri="{FF2B5EF4-FFF2-40B4-BE49-F238E27FC236}">
                  <a16:creationId xmlns:a16="http://schemas.microsoft.com/office/drawing/2014/main" id="{FC26D1A9-C2DB-09BE-0E46-225F35F182FF}"/>
                </a:ext>
              </a:extLst>
            </p:cNvPr>
            <p:cNvGrpSpPr/>
            <p:nvPr/>
          </p:nvGrpSpPr>
          <p:grpSpPr>
            <a:xfrm>
              <a:off x="10056877" y="3824619"/>
              <a:ext cx="89984" cy="68429"/>
              <a:chOff x="10056877" y="3824619"/>
              <a:chExt cx="89984" cy="68429"/>
            </a:xfrm>
            <a:noFill/>
          </p:grpSpPr>
          <p:sp>
            <p:nvSpPr>
              <p:cNvPr id="1453" name="Forma livre: Forma 1452">
                <a:extLst>
                  <a:ext uri="{FF2B5EF4-FFF2-40B4-BE49-F238E27FC236}">
                    <a16:creationId xmlns:a16="http://schemas.microsoft.com/office/drawing/2014/main" id="{E1B7E60F-2CE7-B30A-E4E1-915C8214E3C1}"/>
                  </a:ext>
                </a:extLst>
              </p:cNvPr>
              <p:cNvSpPr/>
              <p:nvPr/>
            </p:nvSpPr>
            <p:spPr>
              <a:xfrm>
                <a:off x="10056877" y="3824619"/>
                <a:ext cx="25922" cy="68429"/>
              </a:xfrm>
              <a:custGeom>
                <a:avLst/>
                <a:gdLst>
                  <a:gd name="connsiteX0" fmla="*/ 25808 w 25922"/>
                  <a:gd name="connsiteY0" fmla="*/ 0 h 68429"/>
                  <a:gd name="connsiteX1" fmla="*/ 0 w 25922"/>
                  <a:gd name="connsiteY1" fmla="*/ 68430 h 684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5922" h="68429">
                    <a:moveTo>
                      <a:pt x="25808" y="0"/>
                    </a:moveTo>
                    <a:cubicBezTo>
                      <a:pt x="25808" y="0"/>
                      <a:pt x="29131" y="34557"/>
                      <a:pt x="0" y="68430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454" name="Forma livre: Forma 1453">
                <a:extLst>
                  <a:ext uri="{FF2B5EF4-FFF2-40B4-BE49-F238E27FC236}">
                    <a16:creationId xmlns:a16="http://schemas.microsoft.com/office/drawing/2014/main" id="{8A2C3A0E-6812-8898-FB4D-A8D6720DA850}"/>
                  </a:ext>
                </a:extLst>
              </p:cNvPr>
              <p:cNvSpPr/>
              <p:nvPr/>
            </p:nvSpPr>
            <p:spPr>
              <a:xfrm>
                <a:off x="10120939" y="3824619"/>
                <a:ext cx="25922" cy="68429"/>
              </a:xfrm>
              <a:custGeom>
                <a:avLst/>
                <a:gdLst>
                  <a:gd name="connsiteX0" fmla="*/ 115 w 25922"/>
                  <a:gd name="connsiteY0" fmla="*/ 0 h 68429"/>
                  <a:gd name="connsiteX1" fmla="*/ 25922 w 25922"/>
                  <a:gd name="connsiteY1" fmla="*/ 68430 h 684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5922" h="68429">
                    <a:moveTo>
                      <a:pt x="115" y="0"/>
                    </a:moveTo>
                    <a:cubicBezTo>
                      <a:pt x="115" y="0"/>
                      <a:pt x="-3209" y="34557"/>
                      <a:pt x="25922" y="68430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462" name="Gráfico 15">
            <a:extLst>
              <a:ext uri="{FF2B5EF4-FFF2-40B4-BE49-F238E27FC236}">
                <a16:creationId xmlns:a16="http://schemas.microsoft.com/office/drawing/2014/main" id="{B1BB5682-D2C1-FE51-1F28-F9EA102AAFA4}"/>
              </a:ext>
            </a:extLst>
          </p:cNvPr>
          <p:cNvGrpSpPr/>
          <p:nvPr/>
        </p:nvGrpSpPr>
        <p:grpSpPr>
          <a:xfrm>
            <a:off x="11293636" y="5773151"/>
            <a:ext cx="171890" cy="384280"/>
            <a:chOff x="11293636" y="5773151"/>
            <a:chExt cx="171890" cy="384280"/>
          </a:xfrm>
          <a:noFill/>
        </p:grpSpPr>
        <p:sp>
          <p:nvSpPr>
            <p:cNvPr id="1463" name="Forma livre: Forma 1462">
              <a:extLst>
                <a:ext uri="{FF2B5EF4-FFF2-40B4-BE49-F238E27FC236}">
                  <a16:creationId xmlns:a16="http://schemas.microsoft.com/office/drawing/2014/main" id="{7676CB46-7DA9-9105-51CF-BFD4FD69B599}"/>
                </a:ext>
              </a:extLst>
            </p:cNvPr>
            <p:cNvSpPr/>
            <p:nvPr/>
          </p:nvSpPr>
          <p:spPr>
            <a:xfrm>
              <a:off x="11341690" y="5773151"/>
              <a:ext cx="123836" cy="210127"/>
            </a:xfrm>
            <a:custGeom>
              <a:avLst/>
              <a:gdLst>
                <a:gd name="connsiteX0" fmla="*/ 81529 w 123836"/>
                <a:gd name="connsiteY0" fmla="*/ 210128 h 210127"/>
                <a:gd name="connsiteX1" fmla="*/ 123075 w 123836"/>
                <a:gd name="connsiteY1" fmla="*/ 156410 h 210127"/>
                <a:gd name="connsiteX2" fmla="*/ 82360 w 123836"/>
                <a:gd name="connsiteY2" fmla="*/ 73513 h 210127"/>
                <a:gd name="connsiteX3" fmla="*/ 65643 w 123836"/>
                <a:gd name="connsiteY3" fmla="*/ 0 h 210127"/>
                <a:gd name="connsiteX4" fmla="*/ 0 w 123836"/>
                <a:gd name="connsiteY4" fmla="*/ 86857 h 2101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3836" h="210127">
                  <a:moveTo>
                    <a:pt x="81529" y="210128"/>
                  </a:moveTo>
                  <a:cubicBezTo>
                    <a:pt x="118774" y="185688"/>
                    <a:pt x="123075" y="156410"/>
                    <a:pt x="123075" y="156410"/>
                  </a:cubicBezTo>
                  <a:cubicBezTo>
                    <a:pt x="130407" y="112615"/>
                    <a:pt x="82360" y="73513"/>
                    <a:pt x="82360" y="73513"/>
                  </a:cubicBezTo>
                  <a:cubicBezTo>
                    <a:pt x="53033" y="43355"/>
                    <a:pt x="65643" y="0"/>
                    <a:pt x="65643" y="0"/>
                  </a:cubicBezTo>
                  <a:cubicBezTo>
                    <a:pt x="65643" y="0"/>
                    <a:pt x="18378" y="40178"/>
                    <a:pt x="0" y="86857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64" name="Forma livre: Forma 1463">
              <a:extLst>
                <a:ext uri="{FF2B5EF4-FFF2-40B4-BE49-F238E27FC236}">
                  <a16:creationId xmlns:a16="http://schemas.microsoft.com/office/drawing/2014/main" id="{1D641C7B-9BEC-AD55-9EC0-BB8758C3924B}"/>
                </a:ext>
              </a:extLst>
            </p:cNvPr>
            <p:cNvSpPr/>
            <p:nvPr/>
          </p:nvSpPr>
          <p:spPr>
            <a:xfrm>
              <a:off x="11293636" y="5846664"/>
              <a:ext cx="73372" cy="114472"/>
            </a:xfrm>
            <a:custGeom>
              <a:avLst/>
              <a:gdLst>
                <a:gd name="connsiteX0" fmla="*/ 24055 w 73372"/>
                <a:gd name="connsiteY0" fmla="*/ 114473 h 114472"/>
                <a:gd name="connsiteX1" fmla="*/ 13106 w 73372"/>
                <a:gd name="connsiteY1" fmla="*/ 0 h 114472"/>
                <a:gd name="connsiteX2" fmla="*/ 73373 w 73372"/>
                <a:gd name="connsiteY2" fmla="*/ 87150 h 1144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73372" h="114472">
                  <a:moveTo>
                    <a:pt x="24055" y="114473"/>
                  </a:moveTo>
                  <a:cubicBezTo>
                    <a:pt x="4699" y="94433"/>
                    <a:pt x="-12946" y="59289"/>
                    <a:pt x="13106" y="0"/>
                  </a:cubicBezTo>
                  <a:cubicBezTo>
                    <a:pt x="13106" y="0"/>
                    <a:pt x="39158" y="67599"/>
                    <a:pt x="73373" y="8715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65" name="Forma livre: Forma 1464">
              <a:extLst>
                <a:ext uri="{FF2B5EF4-FFF2-40B4-BE49-F238E27FC236}">
                  <a16:creationId xmlns:a16="http://schemas.microsoft.com/office/drawing/2014/main" id="{46AB0A2D-23BE-0752-B3B6-A4255A051AFB}"/>
                </a:ext>
              </a:extLst>
            </p:cNvPr>
            <p:cNvSpPr/>
            <p:nvPr/>
          </p:nvSpPr>
          <p:spPr>
            <a:xfrm>
              <a:off x="11294180" y="5984549"/>
              <a:ext cx="171073" cy="172882"/>
            </a:xfrm>
            <a:custGeom>
              <a:avLst/>
              <a:gdLst>
                <a:gd name="connsiteX0" fmla="*/ 85635 w 171073"/>
                <a:gd name="connsiteY0" fmla="*/ 172882 h 172882"/>
                <a:gd name="connsiteX1" fmla="*/ 114424 w 171073"/>
                <a:gd name="connsiteY1" fmla="*/ 53571 h 172882"/>
                <a:gd name="connsiteX2" fmla="*/ 171074 w 171073"/>
                <a:gd name="connsiteY2" fmla="*/ 0 h 172882"/>
                <a:gd name="connsiteX3" fmla="*/ 0 w 171073"/>
                <a:gd name="connsiteY3" fmla="*/ 0 h 172882"/>
                <a:gd name="connsiteX4" fmla="*/ 56650 w 171073"/>
                <a:gd name="connsiteY4" fmla="*/ 53571 h 172882"/>
                <a:gd name="connsiteX5" fmla="*/ 85488 w 171073"/>
                <a:gd name="connsiteY5" fmla="*/ 172882 h 1728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71073" h="172882">
                  <a:moveTo>
                    <a:pt x="85635" y="172882"/>
                  </a:moveTo>
                  <a:lnTo>
                    <a:pt x="114424" y="53571"/>
                  </a:lnTo>
                  <a:lnTo>
                    <a:pt x="171074" y="0"/>
                  </a:lnTo>
                  <a:lnTo>
                    <a:pt x="0" y="0"/>
                  </a:lnTo>
                  <a:lnTo>
                    <a:pt x="56650" y="53571"/>
                  </a:lnTo>
                  <a:lnTo>
                    <a:pt x="85488" y="172882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66" name="Forma livre: Forma 1465">
              <a:extLst>
                <a:ext uri="{FF2B5EF4-FFF2-40B4-BE49-F238E27FC236}">
                  <a16:creationId xmlns:a16="http://schemas.microsoft.com/office/drawing/2014/main" id="{48F86157-3097-D74F-DDA2-5FA277FBC5EB}"/>
                </a:ext>
              </a:extLst>
            </p:cNvPr>
            <p:cNvSpPr/>
            <p:nvPr/>
          </p:nvSpPr>
          <p:spPr>
            <a:xfrm>
              <a:off x="11390177" y="5877604"/>
              <a:ext cx="33648" cy="81479"/>
            </a:xfrm>
            <a:custGeom>
              <a:avLst/>
              <a:gdLst>
                <a:gd name="connsiteX0" fmla="*/ 15152 w 33648"/>
                <a:gd name="connsiteY0" fmla="*/ 81480 h 81479"/>
                <a:gd name="connsiteX1" fmla="*/ 16765 w 33648"/>
                <a:gd name="connsiteY1" fmla="*/ 0 h 81479"/>
                <a:gd name="connsiteX2" fmla="*/ 0 w 33648"/>
                <a:gd name="connsiteY2" fmla="*/ 30940 h 814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3648" h="81479">
                  <a:moveTo>
                    <a:pt x="15152" y="81480"/>
                  </a:moveTo>
                  <a:cubicBezTo>
                    <a:pt x="15152" y="81480"/>
                    <a:pt x="55672" y="32406"/>
                    <a:pt x="16765" y="0"/>
                  </a:cubicBezTo>
                  <a:cubicBezTo>
                    <a:pt x="16765" y="0"/>
                    <a:pt x="9189" y="16814"/>
                    <a:pt x="0" y="3094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67" name="Forma livre: Forma 1466">
              <a:extLst>
                <a:ext uri="{FF2B5EF4-FFF2-40B4-BE49-F238E27FC236}">
                  <a16:creationId xmlns:a16="http://schemas.microsoft.com/office/drawing/2014/main" id="{D1017534-02CB-2DA1-EBE4-E063A79F581E}"/>
                </a:ext>
              </a:extLst>
            </p:cNvPr>
            <p:cNvSpPr/>
            <p:nvPr/>
          </p:nvSpPr>
          <p:spPr>
            <a:xfrm>
              <a:off x="11350733" y="6037289"/>
              <a:ext cx="57431" cy="4887"/>
            </a:xfrm>
            <a:custGeom>
              <a:avLst/>
              <a:gdLst>
                <a:gd name="connsiteX0" fmla="*/ 0 w 57431"/>
                <a:gd name="connsiteY0" fmla="*/ 0 h 4887"/>
                <a:gd name="connsiteX1" fmla="*/ 57432 w 57431"/>
                <a:gd name="connsiteY1" fmla="*/ 0 h 48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7431" h="4887">
                  <a:moveTo>
                    <a:pt x="0" y="0"/>
                  </a:moveTo>
                  <a:lnTo>
                    <a:pt x="57432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506" name="Gráfico 15">
            <a:extLst>
              <a:ext uri="{FF2B5EF4-FFF2-40B4-BE49-F238E27FC236}">
                <a16:creationId xmlns:a16="http://schemas.microsoft.com/office/drawing/2014/main" id="{223FB070-8C60-CB19-1DC3-551972CA936A}"/>
              </a:ext>
            </a:extLst>
          </p:cNvPr>
          <p:cNvGrpSpPr/>
          <p:nvPr/>
        </p:nvGrpSpPr>
        <p:grpSpPr>
          <a:xfrm>
            <a:off x="11201214" y="4239156"/>
            <a:ext cx="356811" cy="225328"/>
            <a:chOff x="11201214" y="4239156"/>
            <a:chExt cx="356811" cy="225328"/>
          </a:xfrm>
          <a:noFill/>
        </p:grpSpPr>
        <p:sp>
          <p:nvSpPr>
            <p:cNvPr id="1507" name="Forma livre: Forma 1506">
              <a:extLst>
                <a:ext uri="{FF2B5EF4-FFF2-40B4-BE49-F238E27FC236}">
                  <a16:creationId xmlns:a16="http://schemas.microsoft.com/office/drawing/2014/main" id="{5EC0F5DC-D246-C76C-17A6-0334A7F061C9}"/>
                </a:ext>
              </a:extLst>
            </p:cNvPr>
            <p:cNvSpPr/>
            <p:nvPr/>
          </p:nvSpPr>
          <p:spPr>
            <a:xfrm>
              <a:off x="11231323" y="4274593"/>
              <a:ext cx="296544" cy="189892"/>
            </a:xfrm>
            <a:custGeom>
              <a:avLst/>
              <a:gdLst>
                <a:gd name="connsiteX0" fmla="*/ 11389 w 296544"/>
                <a:gd name="connsiteY0" fmla="*/ 54890 h 189892"/>
                <a:gd name="connsiteX1" fmla="*/ 43795 w 296544"/>
                <a:gd name="connsiteY1" fmla="*/ 160956 h 189892"/>
                <a:gd name="connsiteX2" fmla="*/ 43795 w 296544"/>
                <a:gd name="connsiteY2" fmla="*/ 189892 h 189892"/>
                <a:gd name="connsiteX3" fmla="*/ 252701 w 296544"/>
                <a:gd name="connsiteY3" fmla="*/ 189892 h 189892"/>
                <a:gd name="connsiteX4" fmla="*/ 252701 w 296544"/>
                <a:gd name="connsiteY4" fmla="*/ 160956 h 189892"/>
                <a:gd name="connsiteX5" fmla="*/ 296544 w 296544"/>
                <a:gd name="connsiteY5" fmla="*/ 17596 h 189892"/>
                <a:gd name="connsiteX6" fmla="*/ 211496 w 296544"/>
                <a:gd name="connsiteY6" fmla="*/ 81138 h 189892"/>
                <a:gd name="connsiteX7" fmla="*/ 148346 w 296544"/>
                <a:gd name="connsiteY7" fmla="*/ 0 h 189892"/>
                <a:gd name="connsiteX8" fmla="*/ 148199 w 296544"/>
                <a:gd name="connsiteY8" fmla="*/ 0 h 189892"/>
                <a:gd name="connsiteX9" fmla="*/ 85048 w 296544"/>
                <a:gd name="connsiteY9" fmla="*/ 81138 h 189892"/>
                <a:gd name="connsiteX10" fmla="*/ 0 w 296544"/>
                <a:gd name="connsiteY10" fmla="*/ 17596 h 1898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96544" h="189892">
                  <a:moveTo>
                    <a:pt x="11389" y="54890"/>
                  </a:moveTo>
                  <a:lnTo>
                    <a:pt x="43795" y="160956"/>
                  </a:lnTo>
                  <a:lnTo>
                    <a:pt x="43795" y="189892"/>
                  </a:lnTo>
                  <a:lnTo>
                    <a:pt x="252701" y="189892"/>
                  </a:lnTo>
                  <a:lnTo>
                    <a:pt x="252701" y="160956"/>
                  </a:lnTo>
                  <a:lnTo>
                    <a:pt x="296544" y="17596"/>
                  </a:lnTo>
                  <a:lnTo>
                    <a:pt x="211496" y="81138"/>
                  </a:lnTo>
                  <a:lnTo>
                    <a:pt x="148346" y="0"/>
                  </a:lnTo>
                  <a:lnTo>
                    <a:pt x="148199" y="0"/>
                  </a:lnTo>
                  <a:lnTo>
                    <a:pt x="85048" y="81138"/>
                  </a:lnTo>
                  <a:lnTo>
                    <a:pt x="0" y="17596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08" name="Forma livre: Forma 1507">
              <a:extLst>
                <a:ext uri="{FF2B5EF4-FFF2-40B4-BE49-F238E27FC236}">
                  <a16:creationId xmlns:a16="http://schemas.microsoft.com/office/drawing/2014/main" id="{C400686A-25E7-AFD9-2C70-D392402A2D42}"/>
                </a:ext>
              </a:extLst>
            </p:cNvPr>
            <p:cNvSpPr/>
            <p:nvPr/>
          </p:nvSpPr>
          <p:spPr>
            <a:xfrm>
              <a:off x="11297895" y="4435549"/>
              <a:ext cx="186128" cy="4887"/>
            </a:xfrm>
            <a:custGeom>
              <a:avLst/>
              <a:gdLst>
                <a:gd name="connsiteX0" fmla="*/ 186128 w 186128"/>
                <a:gd name="connsiteY0" fmla="*/ 0 h 4887"/>
                <a:gd name="connsiteX1" fmla="*/ 0 w 186128"/>
                <a:gd name="connsiteY1" fmla="*/ 0 h 48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6128" h="4887">
                  <a:moveTo>
                    <a:pt x="186128" y="0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09" name="Forma livre: Forma 1508">
              <a:extLst>
                <a:ext uri="{FF2B5EF4-FFF2-40B4-BE49-F238E27FC236}">
                  <a16:creationId xmlns:a16="http://schemas.microsoft.com/office/drawing/2014/main" id="{0CCDE3ED-3B24-A802-F9A8-FAE09DA0A814}"/>
                </a:ext>
              </a:extLst>
            </p:cNvPr>
            <p:cNvSpPr/>
            <p:nvPr/>
          </p:nvSpPr>
          <p:spPr>
            <a:xfrm>
              <a:off x="11357673" y="4348790"/>
              <a:ext cx="43794" cy="43794"/>
            </a:xfrm>
            <a:custGeom>
              <a:avLst/>
              <a:gdLst>
                <a:gd name="connsiteX0" fmla="*/ 43795 w 43794"/>
                <a:gd name="connsiteY0" fmla="*/ 21897 h 43794"/>
                <a:gd name="connsiteX1" fmla="*/ 21898 w 43794"/>
                <a:gd name="connsiteY1" fmla="*/ 43795 h 43794"/>
                <a:gd name="connsiteX2" fmla="*/ 0 w 43794"/>
                <a:gd name="connsiteY2" fmla="*/ 21897 h 43794"/>
                <a:gd name="connsiteX3" fmla="*/ 21898 w 43794"/>
                <a:gd name="connsiteY3" fmla="*/ 0 h 43794"/>
                <a:gd name="connsiteX4" fmla="*/ 43795 w 43794"/>
                <a:gd name="connsiteY4" fmla="*/ 21897 h 437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3794" h="43794">
                  <a:moveTo>
                    <a:pt x="43795" y="21897"/>
                  </a:moveTo>
                  <a:cubicBezTo>
                    <a:pt x="43795" y="33970"/>
                    <a:pt x="33970" y="43795"/>
                    <a:pt x="21898" y="43795"/>
                  </a:cubicBezTo>
                  <a:cubicBezTo>
                    <a:pt x="9825" y="43795"/>
                    <a:pt x="0" y="33970"/>
                    <a:pt x="0" y="21897"/>
                  </a:cubicBezTo>
                  <a:cubicBezTo>
                    <a:pt x="0" y="9825"/>
                    <a:pt x="9825" y="0"/>
                    <a:pt x="21898" y="0"/>
                  </a:cubicBezTo>
                  <a:cubicBezTo>
                    <a:pt x="33970" y="0"/>
                    <a:pt x="43795" y="9825"/>
                    <a:pt x="43795" y="21897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510" name="Gráfico 15">
              <a:extLst>
                <a:ext uri="{FF2B5EF4-FFF2-40B4-BE49-F238E27FC236}">
                  <a16:creationId xmlns:a16="http://schemas.microsoft.com/office/drawing/2014/main" id="{CAB1AD32-0C94-0457-CC86-657664C2AE02}"/>
                </a:ext>
              </a:extLst>
            </p:cNvPr>
            <p:cNvGrpSpPr/>
            <p:nvPr/>
          </p:nvGrpSpPr>
          <p:grpSpPr>
            <a:xfrm>
              <a:off x="11287435" y="4283684"/>
              <a:ext cx="184270" cy="24048"/>
              <a:chOff x="11287435" y="4283684"/>
              <a:chExt cx="184270" cy="24048"/>
            </a:xfrm>
            <a:noFill/>
          </p:grpSpPr>
          <p:sp>
            <p:nvSpPr>
              <p:cNvPr id="1511" name="Forma livre: Forma 1510">
                <a:extLst>
                  <a:ext uri="{FF2B5EF4-FFF2-40B4-BE49-F238E27FC236}">
                    <a16:creationId xmlns:a16="http://schemas.microsoft.com/office/drawing/2014/main" id="{C2360B97-0231-52CE-5EBA-CA6E04143D15}"/>
                  </a:ext>
                </a:extLst>
              </p:cNvPr>
              <p:cNvSpPr/>
              <p:nvPr/>
            </p:nvSpPr>
            <p:spPr>
              <a:xfrm>
                <a:off x="11287435" y="4283684"/>
                <a:ext cx="39591" cy="24048"/>
              </a:xfrm>
              <a:custGeom>
                <a:avLst/>
                <a:gdLst>
                  <a:gd name="connsiteX0" fmla="*/ 39591 w 39591"/>
                  <a:gd name="connsiteY0" fmla="*/ 22533 h 24048"/>
                  <a:gd name="connsiteX1" fmla="*/ 15837 w 39591"/>
                  <a:gd name="connsiteY1" fmla="*/ 0 h 24048"/>
                  <a:gd name="connsiteX2" fmla="*/ 0 w 39591"/>
                  <a:gd name="connsiteY2" fmla="*/ 24048 h 240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9591" h="24048">
                    <a:moveTo>
                      <a:pt x="39591" y="22533"/>
                    </a:moveTo>
                    <a:lnTo>
                      <a:pt x="15837" y="0"/>
                    </a:lnTo>
                    <a:lnTo>
                      <a:pt x="0" y="24048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512" name="Forma livre: Forma 1511">
                <a:extLst>
                  <a:ext uri="{FF2B5EF4-FFF2-40B4-BE49-F238E27FC236}">
                    <a16:creationId xmlns:a16="http://schemas.microsoft.com/office/drawing/2014/main" id="{BD6243DD-45B4-3873-7FEE-FDCFB2CFD28A}"/>
                  </a:ext>
                </a:extLst>
              </p:cNvPr>
              <p:cNvSpPr/>
              <p:nvPr/>
            </p:nvSpPr>
            <p:spPr>
              <a:xfrm>
                <a:off x="11432164" y="4283684"/>
                <a:ext cx="39542" cy="24048"/>
              </a:xfrm>
              <a:custGeom>
                <a:avLst/>
                <a:gdLst>
                  <a:gd name="connsiteX0" fmla="*/ 0 w 39542"/>
                  <a:gd name="connsiteY0" fmla="*/ 22533 h 24048"/>
                  <a:gd name="connsiteX1" fmla="*/ 23755 w 39542"/>
                  <a:gd name="connsiteY1" fmla="*/ 0 h 24048"/>
                  <a:gd name="connsiteX2" fmla="*/ 39542 w 39542"/>
                  <a:gd name="connsiteY2" fmla="*/ 24048 h 240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9542" h="24048">
                    <a:moveTo>
                      <a:pt x="0" y="22533"/>
                    </a:moveTo>
                    <a:lnTo>
                      <a:pt x="23755" y="0"/>
                    </a:lnTo>
                    <a:lnTo>
                      <a:pt x="39542" y="24048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513" name="Forma livre: Forma 1512">
              <a:extLst>
                <a:ext uri="{FF2B5EF4-FFF2-40B4-BE49-F238E27FC236}">
                  <a16:creationId xmlns:a16="http://schemas.microsoft.com/office/drawing/2014/main" id="{658E9D41-5F0F-9A26-3AA6-E8F5B9A21004}"/>
                </a:ext>
              </a:extLst>
            </p:cNvPr>
            <p:cNvSpPr/>
            <p:nvPr/>
          </p:nvSpPr>
          <p:spPr>
            <a:xfrm>
              <a:off x="11363343" y="4239156"/>
              <a:ext cx="32552" cy="32552"/>
            </a:xfrm>
            <a:custGeom>
              <a:avLst/>
              <a:gdLst>
                <a:gd name="connsiteX0" fmla="*/ 32553 w 32552"/>
                <a:gd name="connsiteY0" fmla="*/ 16276 h 32552"/>
                <a:gd name="connsiteX1" fmla="*/ 16276 w 32552"/>
                <a:gd name="connsiteY1" fmla="*/ 32553 h 32552"/>
                <a:gd name="connsiteX2" fmla="*/ 0 w 32552"/>
                <a:gd name="connsiteY2" fmla="*/ 16276 h 32552"/>
                <a:gd name="connsiteX3" fmla="*/ 16276 w 32552"/>
                <a:gd name="connsiteY3" fmla="*/ 0 h 32552"/>
                <a:gd name="connsiteX4" fmla="*/ 32553 w 32552"/>
                <a:gd name="connsiteY4" fmla="*/ 16276 h 325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2552" h="32552">
                  <a:moveTo>
                    <a:pt x="32553" y="16276"/>
                  </a:moveTo>
                  <a:cubicBezTo>
                    <a:pt x="32553" y="25270"/>
                    <a:pt x="25270" y="32553"/>
                    <a:pt x="16276" y="32553"/>
                  </a:cubicBezTo>
                  <a:cubicBezTo>
                    <a:pt x="7283" y="32553"/>
                    <a:pt x="0" y="25270"/>
                    <a:pt x="0" y="16276"/>
                  </a:cubicBezTo>
                  <a:cubicBezTo>
                    <a:pt x="0" y="7283"/>
                    <a:pt x="7283" y="0"/>
                    <a:pt x="16276" y="0"/>
                  </a:cubicBezTo>
                  <a:cubicBezTo>
                    <a:pt x="25270" y="0"/>
                    <a:pt x="32553" y="7283"/>
                    <a:pt x="32553" y="16276"/>
                  </a:cubicBez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514" name="Gráfico 15">
              <a:extLst>
                <a:ext uri="{FF2B5EF4-FFF2-40B4-BE49-F238E27FC236}">
                  <a16:creationId xmlns:a16="http://schemas.microsoft.com/office/drawing/2014/main" id="{273FEDE1-C720-6A44-2C01-45FBB3EE6103}"/>
                </a:ext>
              </a:extLst>
            </p:cNvPr>
            <p:cNvGrpSpPr/>
            <p:nvPr/>
          </p:nvGrpSpPr>
          <p:grpSpPr>
            <a:xfrm>
              <a:off x="11201214" y="4261053"/>
              <a:ext cx="356811" cy="32552"/>
              <a:chOff x="11201214" y="4261053"/>
              <a:chExt cx="356811" cy="32552"/>
            </a:xfrm>
            <a:noFill/>
          </p:grpSpPr>
          <p:sp>
            <p:nvSpPr>
              <p:cNvPr id="1515" name="Forma livre: Forma 1514">
                <a:extLst>
                  <a:ext uri="{FF2B5EF4-FFF2-40B4-BE49-F238E27FC236}">
                    <a16:creationId xmlns:a16="http://schemas.microsoft.com/office/drawing/2014/main" id="{92D0ED92-4762-87EB-9991-1CF6BDA87643}"/>
                  </a:ext>
                </a:extLst>
              </p:cNvPr>
              <p:cNvSpPr/>
              <p:nvPr/>
            </p:nvSpPr>
            <p:spPr>
              <a:xfrm>
                <a:off x="11201214" y="4261053"/>
                <a:ext cx="32552" cy="32552"/>
              </a:xfrm>
              <a:custGeom>
                <a:avLst/>
                <a:gdLst>
                  <a:gd name="connsiteX0" fmla="*/ 32553 w 32552"/>
                  <a:gd name="connsiteY0" fmla="*/ 16276 h 32552"/>
                  <a:gd name="connsiteX1" fmla="*/ 16277 w 32552"/>
                  <a:gd name="connsiteY1" fmla="*/ 32553 h 32552"/>
                  <a:gd name="connsiteX2" fmla="*/ 0 w 32552"/>
                  <a:gd name="connsiteY2" fmla="*/ 16276 h 32552"/>
                  <a:gd name="connsiteX3" fmla="*/ 16277 w 32552"/>
                  <a:gd name="connsiteY3" fmla="*/ 0 h 32552"/>
                  <a:gd name="connsiteX4" fmla="*/ 32553 w 32552"/>
                  <a:gd name="connsiteY4" fmla="*/ 16276 h 325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2552" h="32552">
                    <a:moveTo>
                      <a:pt x="32553" y="16276"/>
                    </a:moveTo>
                    <a:cubicBezTo>
                      <a:pt x="32553" y="25270"/>
                      <a:pt x="25270" y="32553"/>
                      <a:pt x="16277" y="32553"/>
                    </a:cubicBezTo>
                    <a:cubicBezTo>
                      <a:pt x="7283" y="32553"/>
                      <a:pt x="0" y="25270"/>
                      <a:pt x="0" y="16276"/>
                    </a:cubicBezTo>
                    <a:cubicBezTo>
                      <a:pt x="0" y="7283"/>
                      <a:pt x="7283" y="0"/>
                      <a:pt x="16277" y="0"/>
                    </a:cubicBezTo>
                    <a:cubicBezTo>
                      <a:pt x="25270" y="0"/>
                      <a:pt x="32553" y="7283"/>
                      <a:pt x="32553" y="16276"/>
                    </a:cubicBezTo>
                    <a:close/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516" name="Forma livre: Forma 1515">
                <a:extLst>
                  <a:ext uri="{FF2B5EF4-FFF2-40B4-BE49-F238E27FC236}">
                    <a16:creationId xmlns:a16="http://schemas.microsoft.com/office/drawing/2014/main" id="{B835B371-8273-7381-48B6-9C27177B53CE}"/>
                  </a:ext>
                </a:extLst>
              </p:cNvPr>
              <p:cNvSpPr/>
              <p:nvPr/>
            </p:nvSpPr>
            <p:spPr>
              <a:xfrm>
                <a:off x="11525472" y="4261053"/>
                <a:ext cx="32552" cy="32552"/>
              </a:xfrm>
              <a:custGeom>
                <a:avLst/>
                <a:gdLst>
                  <a:gd name="connsiteX0" fmla="*/ 32553 w 32552"/>
                  <a:gd name="connsiteY0" fmla="*/ 16276 h 32552"/>
                  <a:gd name="connsiteX1" fmla="*/ 16277 w 32552"/>
                  <a:gd name="connsiteY1" fmla="*/ 32553 h 32552"/>
                  <a:gd name="connsiteX2" fmla="*/ 0 w 32552"/>
                  <a:gd name="connsiteY2" fmla="*/ 16276 h 32552"/>
                  <a:gd name="connsiteX3" fmla="*/ 16277 w 32552"/>
                  <a:gd name="connsiteY3" fmla="*/ 0 h 32552"/>
                  <a:gd name="connsiteX4" fmla="*/ 32553 w 32552"/>
                  <a:gd name="connsiteY4" fmla="*/ 16276 h 325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2552" h="32552">
                    <a:moveTo>
                      <a:pt x="32553" y="16276"/>
                    </a:moveTo>
                    <a:cubicBezTo>
                      <a:pt x="32553" y="25270"/>
                      <a:pt x="25270" y="32553"/>
                      <a:pt x="16277" y="32553"/>
                    </a:cubicBezTo>
                    <a:cubicBezTo>
                      <a:pt x="7283" y="32553"/>
                      <a:pt x="0" y="25270"/>
                      <a:pt x="0" y="16276"/>
                    </a:cubicBezTo>
                    <a:cubicBezTo>
                      <a:pt x="0" y="7283"/>
                      <a:pt x="7283" y="0"/>
                      <a:pt x="16277" y="0"/>
                    </a:cubicBezTo>
                    <a:cubicBezTo>
                      <a:pt x="25270" y="0"/>
                      <a:pt x="32553" y="7283"/>
                      <a:pt x="32553" y="16276"/>
                    </a:cubicBezTo>
                    <a:close/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517" name="Gráfico 15">
            <a:extLst>
              <a:ext uri="{FF2B5EF4-FFF2-40B4-BE49-F238E27FC236}">
                <a16:creationId xmlns:a16="http://schemas.microsoft.com/office/drawing/2014/main" id="{9BF2CE8E-A351-5449-DC49-E5881B4908AB}"/>
              </a:ext>
            </a:extLst>
          </p:cNvPr>
          <p:cNvGrpSpPr/>
          <p:nvPr/>
        </p:nvGrpSpPr>
        <p:grpSpPr>
          <a:xfrm>
            <a:off x="9957654" y="4208118"/>
            <a:ext cx="288381" cy="287404"/>
            <a:chOff x="9957654" y="4208118"/>
            <a:chExt cx="288381" cy="287404"/>
          </a:xfrm>
        </p:grpSpPr>
        <p:sp>
          <p:nvSpPr>
            <p:cNvPr id="1518" name="Forma livre: Forma 1517">
              <a:extLst>
                <a:ext uri="{FF2B5EF4-FFF2-40B4-BE49-F238E27FC236}">
                  <a16:creationId xmlns:a16="http://schemas.microsoft.com/office/drawing/2014/main" id="{E080B2E5-BAEB-BF1F-3DAD-9CC004C96EE1}"/>
                </a:ext>
              </a:extLst>
            </p:cNvPr>
            <p:cNvSpPr/>
            <p:nvPr/>
          </p:nvSpPr>
          <p:spPr>
            <a:xfrm>
              <a:off x="10035077" y="4274739"/>
              <a:ext cx="133584" cy="4887"/>
            </a:xfrm>
            <a:custGeom>
              <a:avLst/>
              <a:gdLst>
                <a:gd name="connsiteX0" fmla="*/ 0 w 133584"/>
                <a:gd name="connsiteY0" fmla="*/ 0 h 4887"/>
                <a:gd name="connsiteX1" fmla="*/ 133584 w 133584"/>
                <a:gd name="connsiteY1" fmla="*/ 0 h 48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33584" h="4887">
                  <a:moveTo>
                    <a:pt x="0" y="0"/>
                  </a:moveTo>
                  <a:lnTo>
                    <a:pt x="133584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19" name="Forma livre: Forma 1518">
              <a:extLst>
                <a:ext uri="{FF2B5EF4-FFF2-40B4-BE49-F238E27FC236}">
                  <a16:creationId xmlns:a16="http://schemas.microsoft.com/office/drawing/2014/main" id="{A7CC0100-3C15-E339-AB02-B167C257CF3F}"/>
                </a:ext>
              </a:extLst>
            </p:cNvPr>
            <p:cNvSpPr/>
            <p:nvPr/>
          </p:nvSpPr>
          <p:spPr>
            <a:xfrm>
              <a:off x="10051989" y="4303871"/>
              <a:ext cx="99760" cy="4887"/>
            </a:xfrm>
            <a:custGeom>
              <a:avLst/>
              <a:gdLst>
                <a:gd name="connsiteX0" fmla="*/ 0 w 99760"/>
                <a:gd name="connsiteY0" fmla="*/ 0 h 4887"/>
                <a:gd name="connsiteX1" fmla="*/ 99761 w 99760"/>
                <a:gd name="connsiteY1" fmla="*/ 0 h 48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9760" h="4887">
                  <a:moveTo>
                    <a:pt x="0" y="0"/>
                  </a:moveTo>
                  <a:lnTo>
                    <a:pt x="99761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520" name="Gráfico 15">
              <a:extLst>
                <a:ext uri="{FF2B5EF4-FFF2-40B4-BE49-F238E27FC236}">
                  <a16:creationId xmlns:a16="http://schemas.microsoft.com/office/drawing/2014/main" id="{56A10034-8853-3F32-DBF7-F313BF73B840}"/>
                </a:ext>
              </a:extLst>
            </p:cNvPr>
            <p:cNvGrpSpPr/>
            <p:nvPr/>
          </p:nvGrpSpPr>
          <p:grpSpPr>
            <a:xfrm>
              <a:off x="10029114" y="4332024"/>
              <a:ext cx="145461" cy="163497"/>
              <a:chOff x="10029114" y="4332024"/>
              <a:chExt cx="145461" cy="163497"/>
            </a:xfrm>
          </p:grpSpPr>
          <p:sp>
            <p:nvSpPr>
              <p:cNvPr id="1521" name="Forma livre: Forma 1520">
                <a:extLst>
                  <a:ext uri="{FF2B5EF4-FFF2-40B4-BE49-F238E27FC236}">
                    <a16:creationId xmlns:a16="http://schemas.microsoft.com/office/drawing/2014/main" id="{5847AE14-8E3B-7D0B-9927-7753672814E0}"/>
                  </a:ext>
                </a:extLst>
              </p:cNvPr>
              <p:cNvSpPr/>
              <p:nvPr/>
            </p:nvSpPr>
            <p:spPr>
              <a:xfrm>
                <a:off x="10046661" y="4332024"/>
                <a:ext cx="110367" cy="110367"/>
              </a:xfrm>
              <a:custGeom>
                <a:avLst/>
                <a:gdLst>
                  <a:gd name="connsiteX0" fmla="*/ 55184 w 110367"/>
                  <a:gd name="connsiteY0" fmla="*/ 12220 h 110367"/>
                  <a:gd name="connsiteX1" fmla="*/ 98148 w 110367"/>
                  <a:gd name="connsiteY1" fmla="*/ 55184 h 110367"/>
                  <a:gd name="connsiteX2" fmla="*/ 55184 w 110367"/>
                  <a:gd name="connsiteY2" fmla="*/ 98148 h 110367"/>
                  <a:gd name="connsiteX3" fmla="*/ 12220 w 110367"/>
                  <a:gd name="connsiteY3" fmla="*/ 55184 h 110367"/>
                  <a:gd name="connsiteX4" fmla="*/ 55184 w 110367"/>
                  <a:gd name="connsiteY4" fmla="*/ 12220 h 110367"/>
                  <a:gd name="connsiteX5" fmla="*/ 55184 w 110367"/>
                  <a:gd name="connsiteY5" fmla="*/ 0 h 110367"/>
                  <a:gd name="connsiteX6" fmla="*/ 0 w 110367"/>
                  <a:gd name="connsiteY6" fmla="*/ 55184 h 110367"/>
                  <a:gd name="connsiteX7" fmla="*/ 55184 w 110367"/>
                  <a:gd name="connsiteY7" fmla="*/ 110367 h 110367"/>
                  <a:gd name="connsiteX8" fmla="*/ 110367 w 110367"/>
                  <a:gd name="connsiteY8" fmla="*/ 55184 h 110367"/>
                  <a:gd name="connsiteX9" fmla="*/ 55184 w 110367"/>
                  <a:gd name="connsiteY9" fmla="*/ 0 h 110367"/>
                  <a:gd name="connsiteX10" fmla="*/ 55184 w 110367"/>
                  <a:gd name="connsiteY10" fmla="*/ 0 h 1103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110367" h="110367">
                    <a:moveTo>
                      <a:pt x="55184" y="12220"/>
                    </a:moveTo>
                    <a:cubicBezTo>
                      <a:pt x="78889" y="12220"/>
                      <a:pt x="98148" y="31478"/>
                      <a:pt x="98148" y="55184"/>
                    </a:cubicBezTo>
                    <a:cubicBezTo>
                      <a:pt x="98148" y="78889"/>
                      <a:pt x="78889" y="98148"/>
                      <a:pt x="55184" y="98148"/>
                    </a:cubicBezTo>
                    <a:cubicBezTo>
                      <a:pt x="31478" y="98148"/>
                      <a:pt x="12220" y="78889"/>
                      <a:pt x="12220" y="55184"/>
                    </a:cubicBezTo>
                    <a:cubicBezTo>
                      <a:pt x="12220" y="31478"/>
                      <a:pt x="31478" y="12220"/>
                      <a:pt x="55184" y="12220"/>
                    </a:cubicBezTo>
                    <a:moveTo>
                      <a:pt x="55184" y="0"/>
                    </a:moveTo>
                    <a:cubicBezTo>
                      <a:pt x="24684" y="0"/>
                      <a:pt x="0" y="24732"/>
                      <a:pt x="0" y="55184"/>
                    </a:cubicBezTo>
                    <a:cubicBezTo>
                      <a:pt x="0" y="85635"/>
                      <a:pt x="24732" y="110367"/>
                      <a:pt x="55184" y="110367"/>
                    </a:cubicBezTo>
                    <a:cubicBezTo>
                      <a:pt x="85635" y="110367"/>
                      <a:pt x="110367" y="85635"/>
                      <a:pt x="110367" y="55184"/>
                    </a:cubicBezTo>
                    <a:cubicBezTo>
                      <a:pt x="110367" y="24732"/>
                      <a:pt x="85635" y="0"/>
                      <a:pt x="55184" y="0"/>
                    </a:cubicBezTo>
                    <a:lnTo>
                      <a:pt x="55184" y="0"/>
                    </a:ln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522" name="Forma livre: Forma 1521">
                <a:extLst>
                  <a:ext uri="{FF2B5EF4-FFF2-40B4-BE49-F238E27FC236}">
                    <a16:creationId xmlns:a16="http://schemas.microsoft.com/office/drawing/2014/main" id="{D2739FEC-01CC-027B-0135-FDC7A0F985B2}"/>
                  </a:ext>
                </a:extLst>
              </p:cNvPr>
              <p:cNvSpPr/>
              <p:nvPr/>
            </p:nvSpPr>
            <p:spPr>
              <a:xfrm>
                <a:off x="10072615" y="4358028"/>
                <a:ext cx="58458" cy="58360"/>
              </a:xfrm>
              <a:custGeom>
                <a:avLst/>
                <a:gdLst>
                  <a:gd name="connsiteX0" fmla="*/ 29229 w 58458"/>
                  <a:gd name="connsiteY0" fmla="*/ 12220 h 58360"/>
                  <a:gd name="connsiteX1" fmla="*/ 46239 w 58458"/>
                  <a:gd name="connsiteY1" fmla="*/ 29180 h 58360"/>
                  <a:gd name="connsiteX2" fmla="*/ 29229 w 58458"/>
                  <a:gd name="connsiteY2" fmla="*/ 46141 h 58360"/>
                  <a:gd name="connsiteX3" fmla="*/ 12220 w 58458"/>
                  <a:gd name="connsiteY3" fmla="*/ 29180 h 58360"/>
                  <a:gd name="connsiteX4" fmla="*/ 29229 w 58458"/>
                  <a:gd name="connsiteY4" fmla="*/ 12220 h 58360"/>
                  <a:gd name="connsiteX5" fmla="*/ 29229 w 58458"/>
                  <a:gd name="connsiteY5" fmla="*/ 0 h 58360"/>
                  <a:gd name="connsiteX6" fmla="*/ 0 w 58458"/>
                  <a:gd name="connsiteY6" fmla="*/ 29180 h 58360"/>
                  <a:gd name="connsiteX7" fmla="*/ 29229 w 58458"/>
                  <a:gd name="connsiteY7" fmla="*/ 58361 h 58360"/>
                  <a:gd name="connsiteX8" fmla="*/ 58458 w 58458"/>
                  <a:gd name="connsiteY8" fmla="*/ 29180 h 58360"/>
                  <a:gd name="connsiteX9" fmla="*/ 29229 w 58458"/>
                  <a:gd name="connsiteY9" fmla="*/ 0 h 58360"/>
                  <a:gd name="connsiteX10" fmla="*/ 29229 w 58458"/>
                  <a:gd name="connsiteY10" fmla="*/ 0 h 583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58458" h="58360">
                    <a:moveTo>
                      <a:pt x="29229" y="12220"/>
                    </a:moveTo>
                    <a:cubicBezTo>
                      <a:pt x="38614" y="12220"/>
                      <a:pt x="46239" y="19845"/>
                      <a:pt x="46239" y="29180"/>
                    </a:cubicBezTo>
                    <a:cubicBezTo>
                      <a:pt x="46239" y="38516"/>
                      <a:pt x="38614" y="46141"/>
                      <a:pt x="29229" y="46141"/>
                    </a:cubicBezTo>
                    <a:cubicBezTo>
                      <a:pt x="19845" y="46141"/>
                      <a:pt x="12220" y="38516"/>
                      <a:pt x="12220" y="29180"/>
                    </a:cubicBezTo>
                    <a:cubicBezTo>
                      <a:pt x="12220" y="19845"/>
                      <a:pt x="19845" y="12220"/>
                      <a:pt x="29229" y="12220"/>
                    </a:cubicBezTo>
                    <a:moveTo>
                      <a:pt x="29229" y="0"/>
                    </a:moveTo>
                    <a:cubicBezTo>
                      <a:pt x="13099" y="0"/>
                      <a:pt x="0" y="13050"/>
                      <a:pt x="0" y="29180"/>
                    </a:cubicBezTo>
                    <a:cubicBezTo>
                      <a:pt x="0" y="45310"/>
                      <a:pt x="13050" y="58361"/>
                      <a:pt x="29229" y="58361"/>
                    </a:cubicBezTo>
                    <a:cubicBezTo>
                      <a:pt x="45408" y="58361"/>
                      <a:pt x="58458" y="45310"/>
                      <a:pt x="58458" y="29180"/>
                    </a:cubicBezTo>
                    <a:cubicBezTo>
                      <a:pt x="58458" y="13050"/>
                      <a:pt x="45408" y="0"/>
                      <a:pt x="29229" y="0"/>
                    </a:cubicBezTo>
                    <a:lnTo>
                      <a:pt x="29229" y="0"/>
                    </a:ln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1523" name="Gráfico 15">
                <a:extLst>
                  <a:ext uri="{FF2B5EF4-FFF2-40B4-BE49-F238E27FC236}">
                    <a16:creationId xmlns:a16="http://schemas.microsoft.com/office/drawing/2014/main" id="{ADCF283A-3437-4CBA-B9BA-A548D138E7BF}"/>
                  </a:ext>
                </a:extLst>
              </p:cNvPr>
              <p:cNvGrpSpPr/>
              <p:nvPr/>
            </p:nvGrpSpPr>
            <p:grpSpPr>
              <a:xfrm>
                <a:off x="10029114" y="4414335"/>
                <a:ext cx="145461" cy="81186"/>
                <a:chOff x="10029114" y="4414335"/>
                <a:chExt cx="145461" cy="81186"/>
              </a:xfrm>
              <a:noFill/>
            </p:grpSpPr>
            <p:sp>
              <p:nvSpPr>
                <p:cNvPr id="1524" name="Forma livre: Forma 1523">
                  <a:extLst>
                    <a:ext uri="{FF2B5EF4-FFF2-40B4-BE49-F238E27FC236}">
                      <a16:creationId xmlns:a16="http://schemas.microsoft.com/office/drawing/2014/main" id="{532F57D6-F2DA-2714-C270-20F0AB006DEF}"/>
                    </a:ext>
                  </a:extLst>
                </p:cNvPr>
                <p:cNvSpPr/>
                <p:nvPr/>
              </p:nvSpPr>
              <p:spPr>
                <a:xfrm>
                  <a:off x="10111083" y="4414335"/>
                  <a:ext cx="63492" cy="81186"/>
                </a:xfrm>
                <a:custGeom>
                  <a:avLst/>
                  <a:gdLst>
                    <a:gd name="connsiteX0" fmla="*/ 0 w 63492"/>
                    <a:gd name="connsiteY0" fmla="*/ 23071 h 81186"/>
                    <a:gd name="connsiteX1" fmla="*/ 27372 w 63492"/>
                    <a:gd name="connsiteY1" fmla="*/ 81187 h 81186"/>
                    <a:gd name="connsiteX2" fmla="*/ 34850 w 63492"/>
                    <a:gd name="connsiteY2" fmla="*/ 50638 h 81186"/>
                    <a:gd name="connsiteX3" fmla="*/ 63493 w 63492"/>
                    <a:gd name="connsiteY3" fmla="*/ 63346 h 81186"/>
                    <a:gd name="connsiteX4" fmla="*/ 33139 w 63492"/>
                    <a:gd name="connsiteY4" fmla="*/ 0 h 8118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63492" h="81186">
                      <a:moveTo>
                        <a:pt x="0" y="23071"/>
                      </a:moveTo>
                      <a:lnTo>
                        <a:pt x="27372" y="81187"/>
                      </a:lnTo>
                      <a:lnTo>
                        <a:pt x="34850" y="50638"/>
                      </a:lnTo>
                      <a:lnTo>
                        <a:pt x="63493" y="63346"/>
                      </a:lnTo>
                      <a:lnTo>
                        <a:pt x="33139" y="0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525" name="Forma livre: Forma 1524">
                  <a:extLst>
                    <a:ext uri="{FF2B5EF4-FFF2-40B4-BE49-F238E27FC236}">
                      <a16:creationId xmlns:a16="http://schemas.microsoft.com/office/drawing/2014/main" id="{75003FA5-3E6E-8032-58DF-955F49BD0CE4}"/>
                    </a:ext>
                  </a:extLst>
                </p:cNvPr>
                <p:cNvSpPr/>
                <p:nvPr/>
              </p:nvSpPr>
              <p:spPr>
                <a:xfrm>
                  <a:off x="10029114" y="4433642"/>
                  <a:ext cx="63492" cy="61879"/>
                </a:xfrm>
                <a:custGeom>
                  <a:avLst/>
                  <a:gdLst>
                    <a:gd name="connsiteX0" fmla="*/ 63493 w 63492"/>
                    <a:gd name="connsiteY0" fmla="*/ 3764 h 61879"/>
                    <a:gd name="connsiteX1" fmla="*/ 36121 w 63492"/>
                    <a:gd name="connsiteY1" fmla="*/ 61880 h 61879"/>
                    <a:gd name="connsiteX2" fmla="*/ 28643 w 63492"/>
                    <a:gd name="connsiteY2" fmla="*/ 31331 h 61879"/>
                    <a:gd name="connsiteX3" fmla="*/ 0 w 63492"/>
                    <a:gd name="connsiteY3" fmla="*/ 44039 h 61879"/>
                    <a:gd name="connsiteX4" fmla="*/ 21458 w 63492"/>
                    <a:gd name="connsiteY4" fmla="*/ 0 h 6187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63492" h="61879">
                      <a:moveTo>
                        <a:pt x="63493" y="3764"/>
                      </a:moveTo>
                      <a:lnTo>
                        <a:pt x="36121" y="61880"/>
                      </a:lnTo>
                      <a:lnTo>
                        <a:pt x="28643" y="31331"/>
                      </a:lnTo>
                      <a:lnTo>
                        <a:pt x="0" y="44039"/>
                      </a:lnTo>
                      <a:lnTo>
                        <a:pt x="21458" y="0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sp>
          <p:nvSpPr>
            <p:cNvPr id="1526" name="Forma livre: Forma 1525">
              <a:extLst>
                <a:ext uri="{FF2B5EF4-FFF2-40B4-BE49-F238E27FC236}">
                  <a16:creationId xmlns:a16="http://schemas.microsoft.com/office/drawing/2014/main" id="{905D34E5-925E-14E1-E797-1E9258191B45}"/>
                </a:ext>
              </a:extLst>
            </p:cNvPr>
            <p:cNvSpPr/>
            <p:nvPr/>
          </p:nvSpPr>
          <p:spPr>
            <a:xfrm>
              <a:off x="9957654" y="4208118"/>
              <a:ext cx="288381" cy="211789"/>
            </a:xfrm>
            <a:custGeom>
              <a:avLst/>
              <a:gdLst>
                <a:gd name="connsiteX0" fmla="*/ 74637 w 288381"/>
                <a:gd name="connsiteY0" fmla="*/ 211789 h 211789"/>
                <a:gd name="connsiteX1" fmla="*/ 0 w 288381"/>
                <a:gd name="connsiteY1" fmla="*/ 211789 h 211789"/>
                <a:gd name="connsiteX2" fmla="*/ 0 w 288381"/>
                <a:gd name="connsiteY2" fmla="*/ 0 h 211789"/>
                <a:gd name="connsiteX3" fmla="*/ 288382 w 288381"/>
                <a:gd name="connsiteY3" fmla="*/ 0 h 211789"/>
                <a:gd name="connsiteX4" fmla="*/ 288382 w 288381"/>
                <a:gd name="connsiteY4" fmla="*/ 211789 h 211789"/>
                <a:gd name="connsiteX5" fmla="*/ 215260 w 288381"/>
                <a:gd name="connsiteY5" fmla="*/ 211789 h 2117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88381" h="211789">
                  <a:moveTo>
                    <a:pt x="74637" y="211789"/>
                  </a:moveTo>
                  <a:lnTo>
                    <a:pt x="0" y="211789"/>
                  </a:lnTo>
                  <a:lnTo>
                    <a:pt x="0" y="0"/>
                  </a:lnTo>
                  <a:lnTo>
                    <a:pt x="288382" y="0"/>
                  </a:lnTo>
                  <a:lnTo>
                    <a:pt x="288382" y="211789"/>
                  </a:lnTo>
                  <a:lnTo>
                    <a:pt x="215260" y="211789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527" name="Gráfico 15">
              <a:extLst>
                <a:ext uri="{FF2B5EF4-FFF2-40B4-BE49-F238E27FC236}">
                  <a16:creationId xmlns:a16="http://schemas.microsoft.com/office/drawing/2014/main" id="{5447ABDA-9D3D-7DAC-633F-8BACF8D94805}"/>
                </a:ext>
              </a:extLst>
            </p:cNvPr>
            <p:cNvGrpSpPr/>
            <p:nvPr/>
          </p:nvGrpSpPr>
          <p:grpSpPr>
            <a:xfrm>
              <a:off x="9984048" y="4233437"/>
              <a:ext cx="235642" cy="161151"/>
              <a:chOff x="9984048" y="4233437"/>
              <a:chExt cx="235642" cy="161151"/>
            </a:xfrm>
            <a:noFill/>
          </p:grpSpPr>
          <p:grpSp>
            <p:nvGrpSpPr>
              <p:cNvPr id="1528" name="Gráfico 15">
                <a:extLst>
                  <a:ext uri="{FF2B5EF4-FFF2-40B4-BE49-F238E27FC236}">
                    <a16:creationId xmlns:a16="http://schemas.microsoft.com/office/drawing/2014/main" id="{F2FCA982-DC6C-5688-DCF8-6E328B96880B}"/>
                  </a:ext>
                </a:extLst>
              </p:cNvPr>
              <p:cNvGrpSpPr/>
              <p:nvPr/>
            </p:nvGrpSpPr>
            <p:grpSpPr>
              <a:xfrm>
                <a:off x="9984048" y="4233437"/>
                <a:ext cx="235642" cy="35632"/>
                <a:chOff x="9984048" y="4233437"/>
                <a:chExt cx="235642" cy="35632"/>
              </a:xfrm>
              <a:noFill/>
            </p:grpSpPr>
            <p:sp>
              <p:nvSpPr>
                <p:cNvPr id="1529" name="Forma livre: Forma 1528">
                  <a:extLst>
                    <a:ext uri="{FF2B5EF4-FFF2-40B4-BE49-F238E27FC236}">
                      <a16:creationId xmlns:a16="http://schemas.microsoft.com/office/drawing/2014/main" id="{6387577B-7CFD-378B-5E3D-D13F916F42AB}"/>
                    </a:ext>
                  </a:extLst>
                </p:cNvPr>
                <p:cNvSpPr/>
                <p:nvPr/>
              </p:nvSpPr>
              <p:spPr>
                <a:xfrm>
                  <a:off x="9984048" y="4233437"/>
                  <a:ext cx="35632" cy="35632"/>
                </a:xfrm>
                <a:custGeom>
                  <a:avLst/>
                  <a:gdLst>
                    <a:gd name="connsiteX0" fmla="*/ 0 w 35632"/>
                    <a:gd name="connsiteY0" fmla="*/ 35632 h 35632"/>
                    <a:gd name="connsiteX1" fmla="*/ 0 w 35632"/>
                    <a:gd name="connsiteY1" fmla="*/ 0 h 35632"/>
                    <a:gd name="connsiteX2" fmla="*/ 35632 w 35632"/>
                    <a:gd name="connsiteY2" fmla="*/ 0 h 3563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35632" h="35632">
                      <a:moveTo>
                        <a:pt x="0" y="35632"/>
                      </a:moveTo>
                      <a:lnTo>
                        <a:pt x="0" y="0"/>
                      </a:lnTo>
                      <a:lnTo>
                        <a:pt x="35632" y="0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530" name="Forma livre: Forma 1529">
                  <a:extLst>
                    <a:ext uri="{FF2B5EF4-FFF2-40B4-BE49-F238E27FC236}">
                      <a16:creationId xmlns:a16="http://schemas.microsoft.com/office/drawing/2014/main" id="{EB3C738B-A76E-5089-68F0-55CD3EE18C13}"/>
                    </a:ext>
                  </a:extLst>
                </p:cNvPr>
                <p:cNvSpPr/>
                <p:nvPr/>
              </p:nvSpPr>
              <p:spPr>
                <a:xfrm>
                  <a:off x="10184058" y="4233437"/>
                  <a:ext cx="35632" cy="35632"/>
                </a:xfrm>
                <a:custGeom>
                  <a:avLst/>
                  <a:gdLst>
                    <a:gd name="connsiteX0" fmla="*/ 0 w 35632"/>
                    <a:gd name="connsiteY0" fmla="*/ 0 h 35632"/>
                    <a:gd name="connsiteX1" fmla="*/ 35632 w 35632"/>
                    <a:gd name="connsiteY1" fmla="*/ 0 h 35632"/>
                    <a:gd name="connsiteX2" fmla="*/ 35632 w 35632"/>
                    <a:gd name="connsiteY2" fmla="*/ 35632 h 3563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35632" h="35632">
                      <a:moveTo>
                        <a:pt x="0" y="0"/>
                      </a:moveTo>
                      <a:lnTo>
                        <a:pt x="35632" y="0"/>
                      </a:lnTo>
                      <a:lnTo>
                        <a:pt x="35632" y="35632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1531" name="Gráfico 15">
                <a:extLst>
                  <a:ext uri="{FF2B5EF4-FFF2-40B4-BE49-F238E27FC236}">
                    <a16:creationId xmlns:a16="http://schemas.microsoft.com/office/drawing/2014/main" id="{198F6091-5D48-6614-52BA-75EDBD21D0AD}"/>
                  </a:ext>
                </a:extLst>
              </p:cNvPr>
              <p:cNvGrpSpPr/>
              <p:nvPr/>
            </p:nvGrpSpPr>
            <p:grpSpPr>
              <a:xfrm>
                <a:off x="9984048" y="4358956"/>
                <a:ext cx="235642" cy="35632"/>
                <a:chOff x="9984048" y="4358956"/>
                <a:chExt cx="235642" cy="35632"/>
              </a:xfrm>
              <a:noFill/>
            </p:grpSpPr>
            <p:sp>
              <p:nvSpPr>
                <p:cNvPr id="1532" name="Forma livre: Forma 1531">
                  <a:extLst>
                    <a:ext uri="{FF2B5EF4-FFF2-40B4-BE49-F238E27FC236}">
                      <a16:creationId xmlns:a16="http://schemas.microsoft.com/office/drawing/2014/main" id="{8045BA2E-2312-835A-F292-4AA4CB440898}"/>
                    </a:ext>
                  </a:extLst>
                </p:cNvPr>
                <p:cNvSpPr/>
                <p:nvPr/>
              </p:nvSpPr>
              <p:spPr>
                <a:xfrm>
                  <a:off x="10184058" y="4358956"/>
                  <a:ext cx="35632" cy="35632"/>
                </a:xfrm>
                <a:custGeom>
                  <a:avLst/>
                  <a:gdLst>
                    <a:gd name="connsiteX0" fmla="*/ 35632 w 35632"/>
                    <a:gd name="connsiteY0" fmla="*/ 0 h 35632"/>
                    <a:gd name="connsiteX1" fmla="*/ 35632 w 35632"/>
                    <a:gd name="connsiteY1" fmla="*/ 35632 h 35632"/>
                    <a:gd name="connsiteX2" fmla="*/ 0 w 35632"/>
                    <a:gd name="connsiteY2" fmla="*/ 35632 h 3563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35632" h="35632">
                      <a:moveTo>
                        <a:pt x="35632" y="0"/>
                      </a:moveTo>
                      <a:lnTo>
                        <a:pt x="35632" y="35632"/>
                      </a:lnTo>
                      <a:lnTo>
                        <a:pt x="0" y="35632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533" name="Forma livre: Forma 1532">
                  <a:extLst>
                    <a:ext uri="{FF2B5EF4-FFF2-40B4-BE49-F238E27FC236}">
                      <a16:creationId xmlns:a16="http://schemas.microsoft.com/office/drawing/2014/main" id="{60E305CC-810F-94B9-26A0-FECBAB52485E}"/>
                    </a:ext>
                  </a:extLst>
                </p:cNvPr>
                <p:cNvSpPr/>
                <p:nvPr/>
              </p:nvSpPr>
              <p:spPr>
                <a:xfrm>
                  <a:off x="9984048" y="4358956"/>
                  <a:ext cx="35632" cy="35632"/>
                </a:xfrm>
                <a:custGeom>
                  <a:avLst/>
                  <a:gdLst>
                    <a:gd name="connsiteX0" fmla="*/ 35632 w 35632"/>
                    <a:gd name="connsiteY0" fmla="*/ 35632 h 35632"/>
                    <a:gd name="connsiteX1" fmla="*/ 0 w 35632"/>
                    <a:gd name="connsiteY1" fmla="*/ 35632 h 35632"/>
                    <a:gd name="connsiteX2" fmla="*/ 0 w 35632"/>
                    <a:gd name="connsiteY2" fmla="*/ 0 h 3563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35632" h="35632">
                      <a:moveTo>
                        <a:pt x="35632" y="35632"/>
                      </a:moveTo>
                      <a:lnTo>
                        <a:pt x="0" y="35632"/>
                      </a:lnTo>
                      <a:lnTo>
                        <a:pt x="0" y="0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</p:grpSp>
      <p:grpSp>
        <p:nvGrpSpPr>
          <p:cNvPr id="1534" name="Gráfico 15">
            <a:extLst>
              <a:ext uri="{FF2B5EF4-FFF2-40B4-BE49-F238E27FC236}">
                <a16:creationId xmlns:a16="http://schemas.microsoft.com/office/drawing/2014/main" id="{0CFBD643-95D7-B667-753F-69A9E945D145}"/>
              </a:ext>
            </a:extLst>
          </p:cNvPr>
          <p:cNvGrpSpPr/>
          <p:nvPr/>
        </p:nvGrpSpPr>
        <p:grpSpPr>
          <a:xfrm>
            <a:off x="10590012" y="4235924"/>
            <a:ext cx="301370" cy="231777"/>
            <a:chOff x="10590012" y="4235924"/>
            <a:chExt cx="301370" cy="231777"/>
          </a:xfrm>
          <a:noFill/>
        </p:grpSpPr>
        <p:sp>
          <p:nvSpPr>
            <p:cNvPr id="1535" name="Forma livre: Forma 1534">
              <a:extLst>
                <a:ext uri="{FF2B5EF4-FFF2-40B4-BE49-F238E27FC236}">
                  <a16:creationId xmlns:a16="http://schemas.microsoft.com/office/drawing/2014/main" id="{E16FE52A-1E20-24ED-590E-23195D1C82AE}"/>
                </a:ext>
              </a:extLst>
            </p:cNvPr>
            <p:cNvSpPr/>
            <p:nvPr/>
          </p:nvSpPr>
          <p:spPr>
            <a:xfrm>
              <a:off x="10590012" y="4318778"/>
              <a:ext cx="102965" cy="148922"/>
            </a:xfrm>
            <a:custGeom>
              <a:avLst/>
              <a:gdLst>
                <a:gd name="connsiteX0" fmla="*/ 102966 w 102965"/>
                <a:gd name="connsiteY0" fmla="*/ 0 h 148922"/>
                <a:gd name="connsiteX1" fmla="*/ 35514 w 102965"/>
                <a:gd name="connsiteY1" fmla="*/ 37930 h 148922"/>
                <a:gd name="connsiteX2" fmla="*/ 88889 w 102965"/>
                <a:gd name="connsiteY2" fmla="*/ 131238 h 148922"/>
                <a:gd name="connsiteX3" fmla="*/ 4623 w 102965"/>
                <a:gd name="connsiteY3" fmla="*/ 120778 h 148922"/>
                <a:gd name="connsiteX4" fmla="*/ 23050 w 102965"/>
                <a:gd name="connsiteY4" fmla="*/ 78547 h 148922"/>
                <a:gd name="connsiteX5" fmla="*/ 49689 w 102965"/>
                <a:gd name="connsiteY5" fmla="*/ 111296 h 148922"/>
                <a:gd name="connsiteX6" fmla="*/ 64157 w 102965"/>
                <a:gd name="connsiteY6" fmla="*/ 102204 h 1489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2965" h="148922">
                  <a:moveTo>
                    <a:pt x="102966" y="0"/>
                  </a:moveTo>
                  <a:lnTo>
                    <a:pt x="35514" y="37930"/>
                  </a:lnTo>
                  <a:cubicBezTo>
                    <a:pt x="35514" y="37930"/>
                    <a:pt x="109907" y="89105"/>
                    <a:pt x="88889" y="131238"/>
                  </a:cubicBezTo>
                  <a:cubicBezTo>
                    <a:pt x="88889" y="131238"/>
                    <a:pt x="44410" y="177281"/>
                    <a:pt x="4623" y="120778"/>
                  </a:cubicBezTo>
                  <a:cubicBezTo>
                    <a:pt x="-7450" y="103622"/>
                    <a:pt x="6040" y="75370"/>
                    <a:pt x="23050" y="78547"/>
                  </a:cubicBezTo>
                  <a:cubicBezTo>
                    <a:pt x="39033" y="81578"/>
                    <a:pt x="47147" y="93944"/>
                    <a:pt x="49689" y="111296"/>
                  </a:cubicBezTo>
                  <a:lnTo>
                    <a:pt x="64157" y="102204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36" name="Forma livre: Forma 1535">
              <a:extLst>
                <a:ext uri="{FF2B5EF4-FFF2-40B4-BE49-F238E27FC236}">
                  <a16:creationId xmlns:a16="http://schemas.microsoft.com/office/drawing/2014/main" id="{DD71CD05-AB4C-4F44-059B-AD1E1E51EE46}"/>
                </a:ext>
              </a:extLst>
            </p:cNvPr>
            <p:cNvSpPr/>
            <p:nvPr/>
          </p:nvSpPr>
          <p:spPr>
            <a:xfrm>
              <a:off x="10679194" y="4235924"/>
              <a:ext cx="212188" cy="213750"/>
            </a:xfrm>
            <a:custGeom>
              <a:avLst/>
              <a:gdLst>
                <a:gd name="connsiteX0" fmla="*/ 87785 w 212188"/>
                <a:gd name="connsiteY0" fmla="*/ 153631 h 213750"/>
                <a:gd name="connsiteX1" fmla="*/ 95166 w 212188"/>
                <a:gd name="connsiteY1" fmla="*/ 113502 h 213750"/>
                <a:gd name="connsiteX2" fmla="*/ 35339 w 212188"/>
                <a:gd name="connsiteY2" fmla="*/ 69902 h 213750"/>
                <a:gd name="connsiteX3" fmla="*/ 137250 w 212188"/>
                <a:gd name="connsiteY3" fmla="*/ 11248 h 213750"/>
                <a:gd name="connsiteX4" fmla="*/ 159245 w 212188"/>
                <a:gd name="connsiteY4" fmla="*/ 6 h 213750"/>
                <a:gd name="connsiteX5" fmla="*/ 210714 w 212188"/>
                <a:gd name="connsiteY5" fmla="*/ 38376 h 213750"/>
                <a:gd name="connsiteX6" fmla="*/ 204164 w 212188"/>
                <a:gd name="connsiteY6" fmla="*/ 73959 h 213750"/>
                <a:gd name="connsiteX7" fmla="*/ 0 w 212188"/>
                <a:gd name="connsiteY7" fmla="*/ 213751 h 213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12188" h="213750">
                  <a:moveTo>
                    <a:pt x="87785" y="153631"/>
                  </a:moveTo>
                  <a:cubicBezTo>
                    <a:pt x="100543" y="138429"/>
                    <a:pt x="95166" y="113502"/>
                    <a:pt x="95166" y="113502"/>
                  </a:cubicBezTo>
                  <a:cubicBezTo>
                    <a:pt x="89105" y="68631"/>
                    <a:pt x="35339" y="69902"/>
                    <a:pt x="35339" y="69902"/>
                  </a:cubicBezTo>
                  <a:lnTo>
                    <a:pt x="137250" y="11248"/>
                  </a:lnTo>
                  <a:cubicBezTo>
                    <a:pt x="147075" y="4943"/>
                    <a:pt x="159245" y="6"/>
                    <a:pt x="159245" y="6"/>
                  </a:cubicBezTo>
                  <a:cubicBezTo>
                    <a:pt x="159245" y="6"/>
                    <a:pt x="205337" y="-1411"/>
                    <a:pt x="210714" y="38376"/>
                  </a:cubicBezTo>
                  <a:cubicBezTo>
                    <a:pt x="210714" y="38376"/>
                    <a:pt x="216824" y="61300"/>
                    <a:pt x="204164" y="73959"/>
                  </a:cubicBezTo>
                  <a:lnTo>
                    <a:pt x="0" y="213751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37" name="Forma livre: Forma 1536">
              <a:extLst>
                <a:ext uri="{FF2B5EF4-FFF2-40B4-BE49-F238E27FC236}">
                  <a16:creationId xmlns:a16="http://schemas.microsoft.com/office/drawing/2014/main" id="{64775A3E-527E-33AA-E934-029DBC4A1272}"/>
                </a:ext>
              </a:extLst>
            </p:cNvPr>
            <p:cNvSpPr/>
            <p:nvPr/>
          </p:nvSpPr>
          <p:spPr>
            <a:xfrm>
              <a:off x="10750214" y="4285679"/>
              <a:ext cx="57885" cy="81342"/>
            </a:xfrm>
            <a:custGeom>
              <a:avLst/>
              <a:gdLst>
                <a:gd name="connsiteX0" fmla="*/ 50247 w 57885"/>
                <a:gd name="connsiteY0" fmla="*/ 81342 h 81342"/>
                <a:gd name="connsiteX1" fmla="*/ 56503 w 57885"/>
                <a:gd name="connsiteY1" fmla="*/ 42435 h 81342"/>
                <a:gd name="connsiteX2" fmla="*/ 0 w 57885"/>
                <a:gd name="connsiteY2" fmla="*/ 9 h 813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57885" h="81342">
                  <a:moveTo>
                    <a:pt x="50247" y="81342"/>
                  </a:moveTo>
                  <a:cubicBezTo>
                    <a:pt x="62271" y="65457"/>
                    <a:pt x="56503" y="42435"/>
                    <a:pt x="56503" y="42435"/>
                  </a:cubicBezTo>
                  <a:cubicBezTo>
                    <a:pt x="49465" y="-1702"/>
                    <a:pt x="0" y="9"/>
                    <a:pt x="0" y="9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38" name="Forma livre: Forma 1537">
              <a:extLst>
                <a:ext uri="{FF2B5EF4-FFF2-40B4-BE49-F238E27FC236}">
                  <a16:creationId xmlns:a16="http://schemas.microsoft.com/office/drawing/2014/main" id="{4D0800C9-5A84-D43C-B994-7463E19423AF}"/>
                </a:ext>
              </a:extLst>
            </p:cNvPr>
            <p:cNvSpPr/>
            <p:nvPr/>
          </p:nvSpPr>
          <p:spPr>
            <a:xfrm>
              <a:off x="10762013" y="4377677"/>
              <a:ext cx="44623" cy="79457"/>
            </a:xfrm>
            <a:custGeom>
              <a:avLst/>
              <a:gdLst>
                <a:gd name="connsiteX0" fmla="*/ 25300 w 44623"/>
                <a:gd name="connsiteY0" fmla="*/ 0 h 79457"/>
                <a:gd name="connsiteX1" fmla="*/ 30 w 44623"/>
                <a:gd name="connsiteY1" fmla="*/ 55966 h 79457"/>
                <a:gd name="connsiteX2" fmla="*/ 21146 w 44623"/>
                <a:gd name="connsiteY2" fmla="*/ 79427 h 79457"/>
                <a:gd name="connsiteX3" fmla="*/ 44607 w 44623"/>
                <a:gd name="connsiteY3" fmla="*/ 58312 h 79457"/>
                <a:gd name="connsiteX4" fmla="*/ 42408 w 44623"/>
                <a:gd name="connsiteY4" fmla="*/ 45897 h 794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623" h="79457">
                  <a:moveTo>
                    <a:pt x="25300" y="0"/>
                  </a:moveTo>
                  <a:cubicBezTo>
                    <a:pt x="25300" y="0"/>
                    <a:pt x="666" y="43648"/>
                    <a:pt x="30" y="55966"/>
                  </a:cubicBezTo>
                  <a:cubicBezTo>
                    <a:pt x="-605" y="68283"/>
                    <a:pt x="8828" y="78792"/>
                    <a:pt x="21146" y="79427"/>
                  </a:cubicBezTo>
                  <a:cubicBezTo>
                    <a:pt x="33463" y="80063"/>
                    <a:pt x="43972" y="70580"/>
                    <a:pt x="44607" y="58312"/>
                  </a:cubicBezTo>
                  <a:cubicBezTo>
                    <a:pt x="44754" y="55575"/>
                    <a:pt x="43874" y="51127"/>
                    <a:pt x="42408" y="45897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39" name="Forma livre: Forma 1538">
              <a:extLst>
                <a:ext uri="{FF2B5EF4-FFF2-40B4-BE49-F238E27FC236}">
                  <a16:creationId xmlns:a16="http://schemas.microsoft.com/office/drawing/2014/main" id="{358E613F-62DF-27A6-E23C-AE8D971F6EFF}"/>
                </a:ext>
              </a:extLst>
            </p:cNvPr>
            <p:cNvSpPr/>
            <p:nvPr/>
          </p:nvSpPr>
          <p:spPr>
            <a:xfrm>
              <a:off x="10787606" y="4373109"/>
              <a:ext cx="76695" cy="44701"/>
            </a:xfrm>
            <a:custGeom>
              <a:avLst/>
              <a:gdLst>
                <a:gd name="connsiteX0" fmla="*/ 47314 w 76695"/>
                <a:gd name="connsiteY0" fmla="*/ 43523 h 44701"/>
                <a:gd name="connsiteX1" fmla="*/ 0 w 76695"/>
                <a:gd name="connsiteY1" fmla="*/ 4421 h 44701"/>
                <a:gd name="connsiteX2" fmla="*/ 61342 w 76695"/>
                <a:gd name="connsiteY2" fmla="*/ 1146 h 44701"/>
                <a:gd name="connsiteX3" fmla="*/ 75566 w 76695"/>
                <a:gd name="connsiteY3" fmla="*/ 29349 h 44701"/>
                <a:gd name="connsiteX4" fmla="*/ 47363 w 76695"/>
                <a:gd name="connsiteY4" fmla="*/ 43572 h 447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695" h="44701">
                  <a:moveTo>
                    <a:pt x="47314" y="43523"/>
                  </a:moveTo>
                  <a:cubicBezTo>
                    <a:pt x="35583" y="39662"/>
                    <a:pt x="0" y="4421"/>
                    <a:pt x="0" y="4421"/>
                  </a:cubicBezTo>
                  <a:cubicBezTo>
                    <a:pt x="0" y="4421"/>
                    <a:pt x="49611" y="-2716"/>
                    <a:pt x="61342" y="1146"/>
                  </a:cubicBezTo>
                  <a:cubicBezTo>
                    <a:pt x="73073" y="5007"/>
                    <a:pt x="79427" y="17618"/>
                    <a:pt x="75566" y="29349"/>
                  </a:cubicBezTo>
                  <a:cubicBezTo>
                    <a:pt x="71704" y="41079"/>
                    <a:pt x="59094" y="47434"/>
                    <a:pt x="47363" y="43572"/>
                  </a:cubicBez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40" name="Forma livre: Forma 1539">
              <a:extLst>
                <a:ext uri="{FF2B5EF4-FFF2-40B4-BE49-F238E27FC236}">
                  <a16:creationId xmlns:a16="http://schemas.microsoft.com/office/drawing/2014/main" id="{D3D56DEC-841E-0C34-BCF1-8FAC24E9234A}"/>
                </a:ext>
              </a:extLst>
            </p:cNvPr>
            <p:cNvSpPr/>
            <p:nvPr/>
          </p:nvSpPr>
          <p:spPr>
            <a:xfrm>
              <a:off x="10601967" y="4374451"/>
              <a:ext cx="43257" cy="25270"/>
            </a:xfrm>
            <a:custGeom>
              <a:avLst/>
              <a:gdLst>
                <a:gd name="connsiteX0" fmla="*/ 0 w 43257"/>
                <a:gd name="connsiteY0" fmla="*/ 25270 h 25270"/>
                <a:gd name="connsiteX1" fmla="*/ 43257 w 43257"/>
                <a:gd name="connsiteY1" fmla="*/ 0 h 252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3257" h="25270">
                  <a:moveTo>
                    <a:pt x="0" y="25270"/>
                  </a:moveTo>
                  <a:lnTo>
                    <a:pt x="43257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541" name="Gráfico 15">
            <a:extLst>
              <a:ext uri="{FF2B5EF4-FFF2-40B4-BE49-F238E27FC236}">
                <a16:creationId xmlns:a16="http://schemas.microsoft.com/office/drawing/2014/main" id="{91284E7E-A85D-51CC-64FE-93B9649BDB9B}"/>
              </a:ext>
            </a:extLst>
          </p:cNvPr>
          <p:cNvGrpSpPr/>
          <p:nvPr/>
        </p:nvGrpSpPr>
        <p:grpSpPr>
          <a:xfrm>
            <a:off x="11270865" y="4709804"/>
            <a:ext cx="217410" cy="359646"/>
            <a:chOff x="11270865" y="4709804"/>
            <a:chExt cx="217410" cy="359646"/>
          </a:xfrm>
          <a:noFill/>
        </p:grpSpPr>
        <p:sp>
          <p:nvSpPr>
            <p:cNvPr id="1542" name="Forma livre: Forma 1541">
              <a:extLst>
                <a:ext uri="{FF2B5EF4-FFF2-40B4-BE49-F238E27FC236}">
                  <a16:creationId xmlns:a16="http://schemas.microsoft.com/office/drawing/2014/main" id="{AFBCE2A8-9947-BC5C-56C2-A2DCC205503D}"/>
                </a:ext>
              </a:extLst>
            </p:cNvPr>
            <p:cNvSpPr/>
            <p:nvPr/>
          </p:nvSpPr>
          <p:spPr>
            <a:xfrm>
              <a:off x="11270865" y="4709804"/>
              <a:ext cx="217410" cy="206755"/>
            </a:xfrm>
            <a:custGeom>
              <a:avLst/>
              <a:gdLst>
                <a:gd name="connsiteX0" fmla="*/ 108705 w 217410"/>
                <a:gd name="connsiteY0" fmla="*/ 0 h 206755"/>
                <a:gd name="connsiteX1" fmla="*/ 134366 w 217410"/>
                <a:gd name="connsiteY1" fmla="*/ 78987 h 206755"/>
                <a:gd name="connsiteX2" fmla="*/ 217410 w 217410"/>
                <a:gd name="connsiteY2" fmla="*/ 78987 h 206755"/>
                <a:gd name="connsiteX3" fmla="*/ 150252 w 217410"/>
                <a:gd name="connsiteY3" fmla="*/ 127768 h 206755"/>
                <a:gd name="connsiteX4" fmla="*/ 175864 w 217410"/>
                <a:gd name="connsiteY4" fmla="*/ 206755 h 206755"/>
                <a:gd name="connsiteX5" fmla="*/ 108705 w 217410"/>
                <a:gd name="connsiteY5" fmla="*/ 157975 h 206755"/>
                <a:gd name="connsiteX6" fmla="*/ 41547 w 217410"/>
                <a:gd name="connsiteY6" fmla="*/ 206755 h 206755"/>
                <a:gd name="connsiteX7" fmla="*/ 67208 w 217410"/>
                <a:gd name="connsiteY7" fmla="*/ 127768 h 206755"/>
                <a:gd name="connsiteX8" fmla="*/ 0 w 217410"/>
                <a:gd name="connsiteY8" fmla="*/ 78987 h 206755"/>
                <a:gd name="connsiteX9" fmla="*/ 83044 w 217410"/>
                <a:gd name="connsiteY9" fmla="*/ 78987 h 206755"/>
                <a:gd name="connsiteX10" fmla="*/ 108705 w 217410"/>
                <a:gd name="connsiteY10" fmla="*/ 0 h 2067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17410" h="206755">
                  <a:moveTo>
                    <a:pt x="108705" y="0"/>
                  </a:moveTo>
                  <a:lnTo>
                    <a:pt x="134366" y="78987"/>
                  </a:lnTo>
                  <a:lnTo>
                    <a:pt x="217410" y="78987"/>
                  </a:lnTo>
                  <a:lnTo>
                    <a:pt x="150252" y="127768"/>
                  </a:lnTo>
                  <a:lnTo>
                    <a:pt x="175864" y="206755"/>
                  </a:lnTo>
                  <a:lnTo>
                    <a:pt x="108705" y="157975"/>
                  </a:lnTo>
                  <a:lnTo>
                    <a:pt x="41547" y="206755"/>
                  </a:lnTo>
                  <a:lnTo>
                    <a:pt x="67208" y="127768"/>
                  </a:lnTo>
                  <a:lnTo>
                    <a:pt x="0" y="78987"/>
                  </a:lnTo>
                  <a:lnTo>
                    <a:pt x="83044" y="78987"/>
                  </a:lnTo>
                  <a:lnTo>
                    <a:pt x="108705" y="0"/>
                  </a:ln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43" name="Forma livre: Forma 1542">
              <a:extLst>
                <a:ext uri="{FF2B5EF4-FFF2-40B4-BE49-F238E27FC236}">
                  <a16:creationId xmlns:a16="http://schemas.microsoft.com/office/drawing/2014/main" id="{2BF92F62-A516-C334-1134-D1D1D8E3AE3A}"/>
                </a:ext>
              </a:extLst>
            </p:cNvPr>
            <p:cNvSpPr/>
            <p:nvPr/>
          </p:nvSpPr>
          <p:spPr>
            <a:xfrm>
              <a:off x="11379571" y="4897986"/>
              <a:ext cx="4887" cy="64665"/>
            </a:xfrm>
            <a:custGeom>
              <a:avLst/>
              <a:gdLst>
                <a:gd name="connsiteX0" fmla="*/ 0 w 4887"/>
                <a:gd name="connsiteY0" fmla="*/ 64666 h 64665"/>
                <a:gd name="connsiteX1" fmla="*/ 0 w 4887"/>
                <a:gd name="connsiteY1" fmla="*/ 0 h 646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887" h="64665">
                  <a:moveTo>
                    <a:pt x="0" y="64666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44" name="Forma livre: Forma 1543">
              <a:extLst>
                <a:ext uri="{FF2B5EF4-FFF2-40B4-BE49-F238E27FC236}">
                  <a16:creationId xmlns:a16="http://schemas.microsoft.com/office/drawing/2014/main" id="{95AA1665-EEC2-0D65-616E-46D8424EFE11}"/>
                </a:ext>
              </a:extLst>
            </p:cNvPr>
            <p:cNvSpPr/>
            <p:nvPr/>
          </p:nvSpPr>
          <p:spPr>
            <a:xfrm>
              <a:off x="11285724" y="5069451"/>
              <a:ext cx="187692" cy="4887"/>
            </a:xfrm>
            <a:custGeom>
              <a:avLst/>
              <a:gdLst>
                <a:gd name="connsiteX0" fmla="*/ 0 w 187692"/>
                <a:gd name="connsiteY0" fmla="*/ 0 h 4887"/>
                <a:gd name="connsiteX1" fmla="*/ 187692 w 187692"/>
                <a:gd name="connsiteY1" fmla="*/ 0 h 48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7692" h="4887">
                  <a:moveTo>
                    <a:pt x="0" y="0"/>
                  </a:moveTo>
                  <a:lnTo>
                    <a:pt x="187692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45" name="Forma livre: Forma 1544">
              <a:extLst>
                <a:ext uri="{FF2B5EF4-FFF2-40B4-BE49-F238E27FC236}">
                  <a16:creationId xmlns:a16="http://schemas.microsoft.com/office/drawing/2014/main" id="{11B83641-57A3-EE40-FE1F-03BE0088C0DA}"/>
                </a:ext>
              </a:extLst>
            </p:cNvPr>
            <p:cNvSpPr/>
            <p:nvPr/>
          </p:nvSpPr>
          <p:spPr>
            <a:xfrm>
              <a:off x="11348240" y="4999946"/>
              <a:ext cx="62661" cy="32992"/>
            </a:xfrm>
            <a:custGeom>
              <a:avLst/>
              <a:gdLst>
                <a:gd name="connsiteX0" fmla="*/ 0 w 62661"/>
                <a:gd name="connsiteY0" fmla="*/ 0 h 32992"/>
                <a:gd name="connsiteX1" fmla="*/ 62662 w 62661"/>
                <a:gd name="connsiteY1" fmla="*/ 0 h 32992"/>
                <a:gd name="connsiteX2" fmla="*/ 62662 w 62661"/>
                <a:gd name="connsiteY2" fmla="*/ 32993 h 32992"/>
                <a:gd name="connsiteX3" fmla="*/ 0 w 62661"/>
                <a:gd name="connsiteY3" fmla="*/ 32993 h 329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2661" h="32992">
                  <a:moveTo>
                    <a:pt x="0" y="0"/>
                  </a:moveTo>
                  <a:lnTo>
                    <a:pt x="62662" y="0"/>
                  </a:lnTo>
                  <a:lnTo>
                    <a:pt x="62662" y="32993"/>
                  </a:lnTo>
                  <a:lnTo>
                    <a:pt x="0" y="32993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46" name="Forma livre: Forma 1545">
              <a:extLst>
                <a:ext uri="{FF2B5EF4-FFF2-40B4-BE49-F238E27FC236}">
                  <a16:creationId xmlns:a16="http://schemas.microsoft.com/office/drawing/2014/main" id="{C2FD8E91-E963-7992-0807-567C53932EAD}"/>
                </a:ext>
              </a:extLst>
            </p:cNvPr>
            <p:cNvSpPr/>
            <p:nvPr/>
          </p:nvSpPr>
          <p:spPr>
            <a:xfrm>
              <a:off x="11311777" y="4963874"/>
              <a:ext cx="135637" cy="103866"/>
            </a:xfrm>
            <a:custGeom>
              <a:avLst/>
              <a:gdLst>
                <a:gd name="connsiteX0" fmla="*/ 135637 w 135637"/>
                <a:gd name="connsiteY0" fmla="*/ 103866 h 103866"/>
                <a:gd name="connsiteX1" fmla="*/ 135637 w 135637"/>
                <a:gd name="connsiteY1" fmla="*/ 0 h 103866"/>
                <a:gd name="connsiteX2" fmla="*/ 0 w 135637"/>
                <a:gd name="connsiteY2" fmla="*/ 0 h 103866"/>
                <a:gd name="connsiteX3" fmla="*/ 0 w 135637"/>
                <a:gd name="connsiteY3" fmla="*/ 85244 h 1038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5637" h="103866">
                  <a:moveTo>
                    <a:pt x="135637" y="103866"/>
                  </a:moveTo>
                  <a:lnTo>
                    <a:pt x="135637" y="0"/>
                  </a:lnTo>
                  <a:lnTo>
                    <a:pt x="0" y="0"/>
                  </a:lnTo>
                  <a:lnTo>
                    <a:pt x="0" y="85244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547" name="Gráfico 15">
            <a:extLst>
              <a:ext uri="{FF2B5EF4-FFF2-40B4-BE49-F238E27FC236}">
                <a16:creationId xmlns:a16="http://schemas.microsoft.com/office/drawing/2014/main" id="{2A87DB72-0D65-93F2-49BA-BC2D743E5250}"/>
              </a:ext>
            </a:extLst>
          </p:cNvPr>
          <p:cNvGrpSpPr/>
          <p:nvPr/>
        </p:nvGrpSpPr>
        <p:grpSpPr>
          <a:xfrm>
            <a:off x="9926909" y="4745779"/>
            <a:ext cx="349870" cy="287697"/>
            <a:chOff x="9926909" y="4745779"/>
            <a:chExt cx="349870" cy="287697"/>
          </a:xfrm>
          <a:noFill/>
        </p:grpSpPr>
        <p:sp>
          <p:nvSpPr>
            <p:cNvPr id="1548" name="Forma livre: Forma 1547">
              <a:extLst>
                <a:ext uri="{FF2B5EF4-FFF2-40B4-BE49-F238E27FC236}">
                  <a16:creationId xmlns:a16="http://schemas.microsoft.com/office/drawing/2014/main" id="{22007355-8EBF-141C-01AA-C0FBFF1EF688}"/>
                </a:ext>
              </a:extLst>
            </p:cNvPr>
            <p:cNvSpPr/>
            <p:nvPr/>
          </p:nvSpPr>
          <p:spPr>
            <a:xfrm>
              <a:off x="9926909" y="4933618"/>
              <a:ext cx="349870" cy="99858"/>
            </a:xfrm>
            <a:custGeom>
              <a:avLst/>
              <a:gdLst>
                <a:gd name="connsiteX0" fmla="*/ 299184 w 349870"/>
                <a:gd name="connsiteY0" fmla="*/ 27763 h 99858"/>
                <a:gd name="connsiteX1" fmla="*/ 349870 w 349870"/>
                <a:gd name="connsiteY1" fmla="*/ 27763 h 99858"/>
                <a:gd name="connsiteX2" fmla="*/ 311061 w 349870"/>
                <a:gd name="connsiteY2" fmla="*/ 65008 h 99858"/>
                <a:gd name="connsiteX3" fmla="*/ 349870 w 349870"/>
                <a:gd name="connsiteY3" fmla="*/ 99858 h 99858"/>
                <a:gd name="connsiteX4" fmla="*/ 257148 w 349870"/>
                <a:gd name="connsiteY4" fmla="*/ 99858 h 99858"/>
                <a:gd name="connsiteX5" fmla="*/ 277384 w 349870"/>
                <a:gd name="connsiteY5" fmla="*/ 73708 h 99858"/>
                <a:gd name="connsiteX6" fmla="*/ 277384 w 349870"/>
                <a:gd name="connsiteY6" fmla="*/ 0 h 99858"/>
                <a:gd name="connsiteX7" fmla="*/ 72535 w 349870"/>
                <a:gd name="connsiteY7" fmla="*/ 0 h 99858"/>
                <a:gd name="connsiteX8" fmla="*/ 72535 w 349870"/>
                <a:gd name="connsiteY8" fmla="*/ 73708 h 99858"/>
                <a:gd name="connsiteX9" fmla="*/ 92722 w 349870"/>
                <a:gd name="connsiteY9" fmla="*/ 99858 h 99858"/>
                <a:gd name="connsiteX10" fmla="*/ 0 w 349870"/>
                <a:gd name="connsiteY10" fmla="*/ 99858 h 99858"/>
                <a:gd name="connsiteX11" fmla="*/ 38809 w 349870"/>
                <a:gd name="connsiteY11" fmla="*/ 65008 h 99858"/>
                <a:gd name="connsiteX12" fmla="*/ 0 w 349870"/>
                <a:gd name="connsiteY12" fmla="*/ 27763 h 99858"/>
                <a:gd name="connsiteX13" fmla="*/ 50687 w 349870"/>
                <a:gd name="connsiteY13" fmla="*/ 27763 h 998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49870" h="99858">
                  <a:moveTo>
                    <a:pt x="299184" y="27763"/>
                  </a:moveTo>
                  <a:lnTo>
                    <a:pt x="349870" y="27763"/>
                  </a:lnTo>
                  <a:lnTo>
                    <a:pt x="311061" y="65008"/>
                  </a:lnTo>
                  <a:lnTo>
                    <a:pt x="349870" y="99858"/>
                  </a:lnTo>
                  <a:lnTo>
                    <a:pt x="257148" y="99858"/>
                  </a:lnTo>
                  <a:lnTo>
                    <a:pt x="277384" y="73708"/>
                  </a:lnTo>
                  <a:lnTo>
                    <a:pt x="277384" y="0"/>
                  </a:lnTo>
                  <a:lnTo>
                    <a:pt x="72535" y="0"/>
                  </a:lnTo>
                  <a:lnTo>
                    <a:pt x="72535" y="73708"/>
                  </a:lnTo>
                  <a:lnTo>
                    <a:pt x="92722" y="99858"/>
                  </a:lnTo>
                  <a:lnTo>
                    <a:pt x="0" y="99858"/>
                  </a:lnTo>
                  <a:lnTo>
                    <a:pt x="38809" y="65008"/>
                  </a:lnTo>
                  <a:lnTo>
                    <a:pt x="0" y="27763"/>
                  </a:lnTo>
                  <a:lnTo>
                    <a:pt x="50687" y="27763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49" name="Forma livre: Forma 1548">
              <a:extLst>
                <a:ext uri="{FF2B5EF4-FFF2-40B4-BE49-F238E27FC236}">
                  <a16:creationId xmlns:a16="http://schemas.microsoft.com/office/drawing/2014/main" id="{E6BAAB4A-1444-884E-81AA-FA50494FFCEC}"/>
                </a:ext>
              </a:extLst>
            </p:cNvPr>
            <p:cNvSpPr/>
            <p:nvPr/>
          </p:nvSpPr>
          <p:spPr>
            <a:xfrm>
              <a:off x="9987714" y="4745779"/>
              <a:ext cx="228261" cy="166137"/>
            </a:xfrm>
            <a:custGeom>
              <a:avLst/>
              <a:gdLst>
                <a:gd name="connsiteX0" fmla="*/ 12513 w 228261"/>
                <a:gd name="connsiteY0" fmla="*/ 166137 h 166137"/>
                <a:gd name="connsiteX1" fmla="*/ 0 w 228261"/>
                <a:gd name="connsiteY1" fmla="*/ 114131 h 166137"/>
                <a:gd name="connsiteX2" fmla="*/ 114131 w 228261"/>
                <a:gd name="connsiteY2" fmla="*/ 0 h 166137"/>
                <a:gd name="connsiteX3" fmla="*/ 228261 w 228261"/>
                <a:gd name="connsiteY3" fmla="*/ 114131 h 166137"/>
                <a:gd name="connsiteX4" fmla="*/ 215944 w 228261"/>
                <a:gd name="connsiteY4" fmla="*/ 165697 h 1661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28261" h="166137">
                  <a:moveTo>
                    <a:pt x="12513" y="166137"/>
                  </a:moveTo>
                  <a:cubicBezTo>
                    <a:pt x="4497" y="150545"/>
                    <a:pt x="0" y="132851"/>
                    <a:pt x="0" y="114131"/>
                  </a:cubicBezTo>
                  <a:cubicBezTo>
                    <a:pt x="0" y="51078"/>
                    <a:pt x="51078" y="0"/>
                    <a:pt x="114131" y="0"/>
                  </a:cubicBezTo>
                  <a:cubicBezTo>
                    <a:pt x="177184" y="0"/>
                    <a:pt x="228261" y="51078"/>
                    <a:pt x="228261" y="114131"/>
                  </a:cubicBezTo>
                  <a:cubicBezTo>
                    <a:pt x="228261" y="132704"/>
                    <a:pt x="223813" y="150203"/>
                    <a:pt x="215944" y="165697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50" name="Forma livre: Forma 1549">
              <a:extLst>
                <a:ext uri="{FF2B5EF4-FFF2-40B4-BE49-F238E27FC236}">
                  <a16:creationId xmlns:a16="http://schemas.microsoft.com/office/drawing/2014/main" id="{DBAE4D69-E51F-80BE-59C2-2E6F18020094}"/>
                </a:ext>
              </a:extLst>
            </p:cNvPr>
            <p:cNvSpPr/>
            <p:nvPr/>
          </p:nvSpPr>
          <p:spPr>
            <a:xfrm>
              <a:off x="10013913" y="4771978"/>
              <a:ext cx="175961" cy="139889"/>
            </a:xfrm>
            <a:custGeom>
              <a:avLst/>
              <a:gdLst>
                <a:gd name="connsiteX0" fmla="*/ 16961 w 175961"/>
                <a:gd name="connsiteY0" fmla="*/ 139890 h 139889"/>
                <a:gd name="connsiteX1" fmla="*/ 0 w 175961"/>
                <a:gd name="connsiteY1" fmla="*/ 87981 h 139889"/>
                <a:gd name="connsiteX2" fmla="*/ 87981 w 175961"/>
                <a:gd name="connsiteY2" fmla="*/ 0 h 139889"/>
                <a:gd name="connsiteX3" fmla="*/ 175962 w 175961"/>
                <a:gd name="connsiteY3" fmla="*/ 87981 h 139889"/>
                <a:gd name="connsiteX4" fmla="*/ 159196 w 175961"/>
                <a:gd name="connsiteY4" fmla="*/ 139645 h 1398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5961" h="139889">
                  <a:moveTo>
                    <a:pt x="16961" y="139890"/>
                  </a:moveTo>
                  <a:cubicBezTo>
                    <a:pt x="6305" y="125324"/>
                    <a:pt x="0" y="107386"/>
                    <a:pt x="0" y="87981"/>
                  </a:cubicBezTo>
                  <a:cubicBezTo>
                    <a:pt x="0" y="39396"/>
                    <a:pt x="39396" y="0"/>
                    <a:pt x="87981" y="0"/>
                  </a:cubicBezTo>
                  <a:cubicBezTo>
                    <a:pt x="136566" y="0"/>
                    <a:pt x="175962" y="39396"/>
                    <a:pt x="175962" y="87981"/>
                  </a:cubicBezTo>
                  <a:cubicBezTo>
                    <a:pt x="175962" y="107288"/>
                    <a:pt x="169754" y="125128"/>
                    <a:pt x="159196" y="139645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51" name="Forma livre: Forma 1550">
              <a:extLst>
                <a:ext uri="{FF2B5EF4-FFF2-40B4-BE49-F238E27FC236}">
                  <a16:creationId xmlns:a16="http://schemas.microsoft.com/office/drawing/2014/main" id="{ABB9A08F-60DE-A9FC-0AE0-DDA77E0F835D}"/>
                </a:ext>
              </a:extLst>
            </p:cNvPr>
            <p:cNvSpPr/>
            <p:nvPr/>
          </p:nvSpPr>
          <p:spPr>
            <a:xfrm>
              <a:off x="10048616" y="4802869"/>
              <a:ext cx="106505" cy="101275"/>
            </a:xfrm>
            <a:custGeom>
              <a:avLst/>
              <a:gdLst>
                <a:gd name="connsiteX0" fmla="*/ 53228 w 106505"/>
                <a:gd name="connsiteY0" fmla="*/ 0 h 101275"/>
                <a:gd name="connsiteX1" fmla="*/ 65790 w 106505"/>
                <a:gd name="connsiteY1" fmla="*/ 38663 h 101275"/>
                <a:gd name="connsiteX2" fmla="*/ 106506 w 106505"/>
                <a:gd name="connsiteY2" fmla="*/ 38663 h 101275"/>
                <a:gd name="connsiteX3" fmla="*/ 73562 w 106505"/>
                <a:gd name="connsiteY3" fmla="*/ 62613 h 101275"/>
                <a:gd name="connsiteX4" fmla="*/ 86123 w 106505"/>
                <a:gd name="connsiteY4" fmla="*/ 101276 h 101275"/>
                <a:gd name="connsiteX5" fmla="*/ 53228 w 106505"/>
                <a:gd name="connsiteY5" fmla="*/ 77374 h 101275"/>
                <a:gd name="connsiteX6" fmla="*/ 20333 w 106505"/>
                <a:gd name="connsiteY6" fmla="*/ 101276 h 101275"/>
                <a:gd name="connsiteX7" fmla="*/ 32895 w 106505"/>
                <a:gd name="connsiteY7" fmla="*/ 62613 h 101275"/>
                <a:gd name="connsiteX8" fmla="*/ 0 w 106505"/>
                <a:gd name="connsiteY8" fmla="*/ 38663 h 101275"/>
                <a:gd name="connsiteX9" fmla="*/ 40667 w 106505"/>
                <a:gd name="connsiteY9" fmla="*/ 38663 h 101275"/>
                <a:gd name="connsiteX10" fmla="*/ 53228 w 106505"/>
                <a:gd name="connsiteY10" fmla="*/ 0 h 101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06505" h="101275">
                  <a:moveTo>
                    <a:pt x="53228" y="0"/>
                  </a:moveTo>
                  <a:lnTo>
                    <a:pt x="65790" y="38663"/>
                  </a:lnTo>
                  <a:lnTo>
                    <a:pt x="106506" y="38663"/>
                  </a:lnTo>
                  <a:lnTo>
                    <a:pt x="73562" y="62613"/>
                  </a:lnTo>
                  <a:lnTo>
                    <a:pt x="86123" y="101276"/>
                  </a:lnTo>
                  <a:lnTo>
                    <a:pt x="53228" y="77374"/>
                  </a:lnTo>
                  <a:lnTo>
                    <a:pt x="20333" y="101276"/>
                  </a:lnTo>
                  <a:lnTo>
                    <a:pt x="32895" y="62613"/>
                  </a:lnTo>
                  <a:lnTo>
                    <a:pt x="0" y="38663"/>
                  </a:lnTo>
                  <a:lnTo>
                    <a:pt x="40667" y="38663"/>
                  </a:lnTo>
                  <a:lnTo>
                    <a:pt x="53228" y="0"/>
                  </a:ln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52" name="Forma livre: Forma 1551">
              <a:extLst>
                <a:ext uri="{FF2B5EF4-FFF2-40B4-BE49-F238E27FC236}">
                  <a16:creationId xmlns:a16="http://schemas.microsoft.com/office/drawing/2014/main" id="{0223B494-7C87-4DF0-6E7E-4EE288A53FE5}"/>
                </a:ext>
              </a:extLst>
            </p:cNvPr>
            <p:cNvSpPr/>
            <p:nvPr/>
          </p:nvSpPr>
          <p:spPr>
            <a:xfrm>
              <a:off x="10000227" y="5006104"/>
              <a:ext cx="203284" cy="4887"/>
            </a:xfrm>
            <a:custGeom>
              <a:avLst/>
              <a:gdLst>
                <a:gd name="connsiteX0" fmla="*/ 0 w 203284"/>
                <a:gd name="connsiteY0" fmla="*/ 0 h 4887"/>
                <a:gd name="connsiteX1" fmla="*/ 203285 w 203284"/>
                <a:gd name="connsiteY1" fmla="*/ 0 h 48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03284" h="4887">
                  <a:moveTo>
                    <a:pt x="0" y="0"/>
                  </a:moveTo>
                  <a:lnTo>
                    <a:pt x="203285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 dirty="0"/>
            </a:p>
          </p:txBody>
        </p:sp>
      </p:grpSp>
      <p:grpSp>
        <p:nvGrpSpPr>
          <p:cNvPr id="1553" name="Gráfico 15">
            <a:extLst>
              <a:ext uri="{FF2B5EF4-FFF2-40B4-BE49-F238E27FC236}">
                <a16:creationId xmlns:a16="http://schemas.microsoft.com/office/drawing/2014/main" id="{263FBC45-B325-B530-6514-9274C0EFA511}"/>
              </a:ext>
            </a:extLst>
          </p:cNvPr>
          <p:cNvGrpSpPr/>
          <p:nvPr/>
        </p:nvGrpSpPr>
        <p:grpSpPr>
          <a:xfrm>
            <a:off x="10576501" y="4761273"/>
            <a:ext cx="328412" cy="256708"/>
            <a:chOff x="10576501" y="4761273"/>
            <a:chExt cx="328412" cy="256708"/>
          </a:xfrm>
          <a:noFill/>
        </p:grpSpPr>
        <p:grpSp>
          <p:nvGrpSpPr>
            <p:cNvPr id="1554" name="Gráfico 15">
              <a:extLst>
                <a:ext uri="{FF2B5EF4-FFF2-40B4-BE49-F238E27FC236}">
                  <a16:creationId xmlns:a16="http://schemas.microsoft.com/office/drawing/2014/main" id="{7AD97827-EBF9-4ECB-51EA-6F65E3D9EB1D}"/>
                </a:ext>
              </a:extLst>
            </p:cNvPr>
            <p:cNvGrpSpPr/>
            <p:nvPr/>
          </p:nvGrpSpPr>
          <p:grpSpPr>
            <a:xfrm>
              <a:off x="10576501" y="4761273"/>
              <a:ext cx="140916" cy="256708"/>
              <a:chOff x="10576501" y="4761273"/>
              <a:chExt cx="140916" cy="256708"/>
            </a:xfrm>
            <a:noFill/>
          </p:grpSpPr>
          <p:sp>
            <p:nvSpPr>
              <p:cNvPr id="1555" name="Forma livre: Forma 1554">
                <a:extLst>
                  <a:ext uri="{FF2B5EF4-FFF2-40B4-BE49-F238E27FC236}">
                    <a16:creationId xmlns:a16="http://schemas.microsoft.com/office/drawing/2014/main" id="{1C8BD60C-99B7-FACD-0379-5FEC60057CE2}"/>
                  </a:ext>
                </a:extLst>
              </p:cNvPr>
              <p:cNvSpPr/>
              <p:nvPr/>
            </p:nvSpPr>
            <p:spPr>
              <a:xfrm>
                <a:off x="10616386" y="4967148"/>
                <a:ext cx="74197" cy="44589"/>
              </a:xfrm>
              <a:custGeom>
                <a:avLst/>
                <a:gdLst>
                  <a:gd name="connsiteX0" fmla="*/ 74197 w 74197"/>
                  <a:gd name="connsiteY0" fmla="*/ 38125 h 44589"/>
                  <a:gd name="connsiteX1" fmla="*/ 28936 w 74197"/>
                  <a:gd name="connsiteY1" fmla="*/ 41400 h 44589"/>
                  <a:gd name="connsiteX2" fmla="*/ 0 w 74197"/>
                  <a:gd name="connsiteY2" fmla="*/ 6452 h 44589"/>
                  <a:gd name="connsiteX3" fmla="*/ 28692 w 74197"/>
                  <a:gd name="connsiteY3" fmla="*/ 0 h 44589"/>
                  <a:gd name="connsiteX4" fmla="*/ 45261 w 74197"/>
                  <a:gd name="connsiteY4" fmla="*/ 3177 h 44589"/>
                  <a:gd name="connsiteX5" fmla="*/ 74197 w 74197"/>
                  <a:gd name="connsiteY5" fmla="*/ 38125 h 445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74197" h="44589">
                    <a:moveTo>
                      <a:pt x="74197" y="38125"/>
                    </a:moveTo>
                    <a:cubicBezTo>
                      <a:pt x="74197" y="38125"/>
                      <a:pt x="49416" y="50149"/>
                      <a:pt x="28936" y="41400"/>
                    </a:cubicBezTo>
                    <a:cubicBezTo>
                      <a:pt x="8456" y="32651"/>
                      <a:pt x="0" y="6452"/>
                      <a:pt x="0" y="6452"/>
                    </a:cubicBezTo>
                    <a:cubicBezTo>
                      <a:pt x="0" y="6452"/>
                      <a:pt x="13442" y="-49"/>
                      <a:pt x="28692" y="0"/>
                    </a:cubicBezTo>
                    <a:cubicBezTo>
                      <a:pt x="34166" y="0"/>
                      <a:pt x="39836" y="880"/>
                      <a:pt x="45261" y="3177"/>
                    </a:cubicBezTo>
                    <a:cubicBezTo>
                      <a:pt x="65741" y="11927"/>
                      <a:pt x="74197" y="38125"/>
                      <a:pt x="74197" y="38125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556" name="Forma livre: Forma 1555">
                <a:extLst>
                  <a:ext uri="{FF2B5EF4-FFF2-40B4-BE49-F238E27FC236}">
                    <a16:creationId xmlns:a16="http://schemas.microsoft.com/office/drawing/2014/main" id="{6471E3FF-C87B-CAC1-6F0F-414E1AC0ACF2}"/>
                  </a:ext>
                </a:extLst>
              </p:cNvPr>
              <p:cNvSpPr/>
              <p:nvPr/>
            </p:nvSpPr>
            <p:spPr>
              <a:xfrm>
                <a:off x="10592973" y="4917440"/>
                <a:ext cx="65741" cy="34604"/>
              </a:xfrm>
              <a:custGeom>
                <a:avLst/>
                <a:gdLst>
                  <a:gd name="connsiteX0" fmla="*/ 15837 w 65741"/>
                  <a:gd name="connsiteY0" fmla="*/ 34605 h 34604"/>
                  <a:gd name="connsiteX1" fmla="*/ 0 w 65741"/>
                  <a:gd name="connsiteY1" fmla="*/ 3518 h 34604"/>
                  <a:gd name="connsiteX2" fmla="*/ 45310 w 65741"/>
                  <a:gd name="connsiteY2" fmla="*/ 5473 h 34604"/>
                  <a:gd name="connsiteX3" fmla="*/ 65741 w 65741"/>
                  <a:gd name="connsiteY3" fmla="*/ 30499 h 346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5741" h="34604">
                    <a:moveTo>
                      <a:pt x="15837" y="34605"/>
                    </a:moveTo>
                    <a:cubicBezTo>
                      <a:pt x="3666" y="21945"/>
                      <a:pt x="0" y="3518"/>
                      <a:pt x="0" y="3518"/>
                    </a:cubicBezTo>
                    <a:cubicBezTo>
                      <a:pt x="0" y="3518"/>
                      <a:pt x="26003" y="-5573"/>
                      <a:pt x="45310" y="5473"/>
                    </a:cubicBezTo>
                    <a:cubicBezTo>
                      <a:pt x="55721" y="11436"/>
                      <a:pt x="62075" y="21994"/>
                      <a:pt x="65741" y="30499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557" name="Forma livre: Forma 1556">
                <a:extLst>
                  <a:ext uri="{FF2B5EF4-FFF2-40B4-BE49-F238E27FC236}">
                    <a16:creationId xmlns:a16="http://schemas.microsoft.com/office/drawing/2014/main" id="{FD532881-9F56-AE40-1EF7-8C4A278997FD}"/>
                  </a:ext>
                </a:extLst>
              </p:cNvPr>
              <p:cNvSpPr/>
              <p:nvPr/>
            </p:nvSpPr>
            <p:spPr>
              <a:xfrm>
                <a:off x="10576501" y="4862791"/>
                <a:ext cx="55134" cy="36661"/>
              </a:xfrm>
              <a:custGeom>
                <a:avLst/>
                <a:gdLst>
                  <a:gd name="connsiteX0" fmla="*/ 9043 w 55134"/>
                  <a:gd name="connsiteY0" fmla="*/ 36661 h 36661"/>
                  <a:gd name="connsiteX1" fmla="*/ 0 w 55134"/>
                  <a:gd name="connsiteY1" fmla="*/ 101 h 36661"/>
                  <a:gd name="connsiteX2" fmla="*/ 43306 w 55134"/>
                  <a:gd name="connsiteY2" fmla="*/ 13542 h 36661"/>
                  <a:gd name="connsiteX3" fmla="*/ 55135 w 55134"/>
                  <a:gd name="connsiteY3" fmla="*/ 35439 h 366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5134" h="36661">
                    <a:moveTo>
                      <a:pt x="9043" y="36661"/>
                    </a:moveTo>
                    <a:cubicBezTo>
                      <a:pt x="489" y="21363"/>
                      <a:pt x="0" y="101"/>
                      <a:pt x="0" y="101"/>
                    </a:cubicBezTo>
                    <a:cubicBezTo>
                      <a:pt x="0" y="101"/>
                      <a:pt x="27421" y="-2050"/>
                      <a:pt x="43306" y="13542"/>
                    </a:cubicBezTo>
                    <a:cubicBezTo>
                      <a:pt x="49660" y="19798"/>
                      <a:pt x="53180" y="27912"/>
                      <a:pt x="55135" y="35439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558" name="Forma livre: Forma 1557">
                <a:extLst>
                  <a:ext uri="{FF2B5EF4-FFF2-40B4-BE49-F238E27FC236}">
                    <a16:creationId xmlns:a16="http://schemas.microsoft.com/office/drawing/2014/main" id="{41321674-25AA-D2D1-CBD6-92F17225B3F0}"/>
                  </a:ext>
                </a:extLst>
              </p:cNvPr>
              <p:cNvSpPr/>
              <p:nvPr/>
            </p:nvSpPr>
            <p:spPr>
              <a:xfrm>
                <a:off x="10591525" y="4815675"/>
                <a:ext cx="53578" cy="55867"/>
              </a:xfrm>
              <a:custGeom>
                <a:avLst/>
                <a:gdLst>
                  <a:gd name="connsiteX0" fmla="*/ 2035 w 53578"/>
                  <a:gd name="connsiteY0" fmla="*/ 27323 h 55867"/>
                  <a:gd name="connsiteX1" fmla="*/ 422 w 53578"/>
                  <a:gd name="connsiteY1" fmla="*/ 0 h 55867"/>
                  <a:gd name="connsiteX2" fmla="*/ 42506 w 53578"/>
                  <a:gd name="connsiteY2" fmla="*/ 16961 h 55867"/>
                  <a:gd name="connsiteX3" fmla="*/ 53503 w 53578"/>
                  <a:gd name="connsiteY3" fmla="*/ 55868 h 558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3578" h="55867">
                    <a:moveTo>
                      <a:pt x="2035" y="27323"/>
                    </a:moveTo>
                    <a:cubicBezTo>
                      <a:pt x="-1240" y="14126"/>
                      <a:pt x="422" y="0"/>
                      <a:pt x="422" y="0"/>
                    </a:cubicBezTo>
                    <a:cubicBezTo>
                      <a:pt x="422" y="0"/>
                      <a:pt x="27940" y="98"/>
                      <a:pt x="42506" y="16961"/>
                    </a:cubicBezTo>
                    <a:cubicBezTo>
                      <a:pt x="53112" y="29278"/>
                      <a:pt x="53894" y="47119"/>
                      <a:pt x="53503" y="55868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559" name="Forma livre: Forma 1558">
                <a:extLst>
                  <a:ext uri="{FF2B5EF4-FFF2-40B4-BE49-F238E27FC236}">
                    <a16:creationId xmlns:a16="http://schemas.microsoft.com/office/drawing/2014/main" id="{372551CD-AA7F-2A39-9983-5890AA399320}"/>
                  </a:ext>
                </a:extLst>
              </p:cNvPr>
              <p:cNvSpPr/>
              <p:nvPr/>
            </p:nvSpPr>
            <p:spPr>
              <a:xfrm>
                <a:off x="10608915" y="4761273"/>
                <a:ext cx="44598" cy="58311"/>
              </a:xfrm>
              <a:custGeom>
                <a:avLst/>
                <a:gdLst>
                  <a:gd name="connsiteX0" fmla="*/ 823 w 44598"/>
                  <a:gd name="connsiteY0" fmla="*/ 37441 h 58311"/>
                  <a:gd name="connsiteX1" fmla="*/ 6444 w 44598"/>
                  <a:gd name="connsiteY1" fmla="*/ 0 h 58311"/>
                  <a:gd name="connsiteX2" fmla="*/ 41392 w 44598"/>
                  <a:gd name="connsiteY2" fmla="*/ 28887 h 58311"/>
                  <a:gd name="connsiteX3" fmla="*/ 43249 w 44598"/>
                  <a:gd name="connsiteY3" fmla="*/ 58312 h 583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4598" h="58311">
                    <a:moveTo>
                      <a:pt x="823" y="37441"/>
                    </a:moveTo>
                    <a:cubicBezTo>
                      <a:pt x="-2745" y="18965"/>
                      <a:pt x="6444" y="0"/>
                      <a:pt x="6444" y="0"/>
                    </a:cubicBezTo>
                    <a:cubicBezTo>
                      <a:pt x="6444" y="0"/>
                      <a:pt x="32643" y="8407"/>
                      <a:pt x="41392" y="28887"/>
                    </a:cubicBezTo>
                    <a:cubicBezTo>
                      <a:pt x="45644" y="38760"/>
                      <a:pt x="45009" y="49660"/>
                      <a:pt x="43249" y="58312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560" name="Forma livre: Forma 1559">
                <a:extLst>
                  <a:ext uri="{FF2B5EF4-FFF2-40B4-BE49-F238E27FC236}">
                    <a16:creationId xmlns:a16="http://schemas.microsoft.com/office/drawing/2014/main" id="{DC0DF195-FC97-65BD-5674-3F202AACDE39}"/>
                  </a:ext>
                </a:extLst>
              </p:cNvPr>
              <p:cNvSpPr/>
              <p:nvPr/>
            </p:nvSpPr>
            <p:spPr>
              <a:xfrm>
                <a:off x="10690974" y="5005567"/>
                <a:ext cx="26443" cy="12415"/>
              </a:xfrm>
              <a:custGeom>
                <a:avLst/>
                <a:gdLst>
                  <a:gd name="connsiteX0" fmla="*/ 0 w 26443"/>
                  <a:gd name="connsiteY0" fmla="*/ 0 h 12415"/>
                  <a:gd name="connsiteX1" fmla="*/ 26443 w 26443"/>
                  <a:gd name="connsiteY1" fmla="*/ 12415 h 124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6443" h="12415">
                    <a:moveTo>
                      <a:pt x="0" y="0"/>
                    </a:moveTo>
                    <a:lnTo>
                      <a:pt x="26443" y="12415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561" name="Forma livre: Forma 1560">
              <a:extLst>
                <a:ext uri="{FF2B5EF4-FFF2-40B4-BE49-F238E27FC236}">
                  <a16:creationId xmlns:a16="http://schemas.microsoft.com/office/drawing/2014/main" id="{6BC2FCB4-3D8F-7982-F9E6-9CB67A7F54C4}"/>
                </a:ext>
              </a:extLst>
            </p:cNvPr>
            <p:cNvSpPr/>
            <p:nvPr/>
          </p:nvSpPr>
          <p:spPr>
            <a:xfrm>
              <a:off x="10697866" y="4787765"/>
              <a:ext cx="92917" cy="139938"/>
            </a:xfrm>
            <a:custGeom>
              <a:avLst/>
              <a:gdLst>
                <a:gd name="connsiteX0" fmla="*/ 35388 w 92917"/>
                <a:gd name="connsiteY0" fmla="*/ 37783 h 139938"/>
                <a:gd name="connsiteX1" fmla="*/ 0 w 92917"/>
                <a:gd name="connsiteY1" fmla="*/ 37783 h 139938"/>
                <a:gd name="connsiteX2" fmla="*/ 0 w 92917"/>
                <a:gd name="connsiteY2" fmla="*/ 21067 h 139938"/>
                <a:gd name="connsiteX3" fmla="*/ 35388 w 92917"/>
                <a:gd name="connsiteY3" fmla="*/ 0 h 139938"/>
                <a:gd name="connsiteX4" fmla="*/ 68576 w 92917"/>
                <a:gd name="connsiteY4" fmla="*/ 0 h 139938"/>
                <a:gd name="connsiteX5" fmla="*/ 68576 w 92917"/>
                <a:gd name="connsiteY5" fmla="*/ 111491 h 139938"/>
                <a:gd name="connsiteX6" fmla="*/ 92918 w 92917"/>
                <a:gd name="connsiteY6" fmla="*/ 123418 h 139938"/>
                <a:gd name="connsiteX7" fmla="*/ 92918 w 92917"/>
                <a:gd name="connsiteY7" fmla="*/ 139938 h 139938"/>
                <a:gd name="connsiteX8" fmla="*/ 6696 w 92917"/>
                <a:gd name="connsiteY8" fmla="*/ 139938 h 139938"/>
                <a:gd name="connsiteX9" fmla="*/ 6696 w 92917"/>
                <a:gd name="connsiteY9" fmla="*/ 123418 h 139938"/>
                <a:gd name="connsiteX10" fmla="*/ 35437 w 92917"/>
                <a:gd name="connsiteY10" fmla="*/ 111491 h 139938"/>
                <a:gd name="connsiteX11" fmla="*/ 35437 w 92917"/>
                <a:gd name="connsiteY11" fmla="*/ 37783 h 1399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92917" h="139938">
                  <a:moveTo>
                    <a:pt x="35388" y="37783"/>
                  </a:moveTo>
                  <a:lnTo>
                    <a:pt x="0" y="37783"/>
                  </a:lnTo>
                  <a:lnTo>
                    <a:pt x="0" y="21067"/>
                  </a:lnTo>
                  <a:cubicBezTo>
                    <a:pt x="0" y="21067"/>
                    <a:pt x="24977" y="10362"/>
                    <a:pt x="35388" y="0"/>
                  </a:cubicBezTo>
                  <a:lnTo>
                    <a:pt x="68576" y="0"/>
                  </a:lnTo>
                  <a:lnTo>
                    <a:pt x="68576" y="111491"/>
                  </a:lnTo>
                  <a:lnTo>
                    <a:pt x="92918" y="123418"/>
                  </a:lnTo>
                  <a:lnTo>
                    <a:pt x="92918" y="139938"/>
                  </a:lnTo>
                  <a:lnTo>
                    <a:pt x="6696" y="139938"/>
                  </a:lnTo>
                  <a:lnTo>
                    <a:pt x="6696" y="123418"/>
                  </a:lnTo>
                  <a:lnTo>
                    <a:pt x="35437" y="111491"/>
                  </a:lnTo>
                  <a:lnTo>
                    <a:pt x="35437" y="37783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562" name="Gráfico 15">
              <a:extLst>
                <a:ext uri="{FF2B5EF4-FFF2-40B4-BE49-F238E27FC236}">
                  <a16:creationId xmlns:a16="http://schemas.microsoft.com/office/drawing/2014/main" id="{216D2EC0-CF71-03AB-F94B-7A26B2C937D3}"/>
                </a:ext>
              </a:extLst>
            </p:cNvPr>
            <p:cNvGrpSpPr/>
            <p:nvPr/>
          </p:nvGrpSpPr>
          <p:grpSpPr>
            <a:xfrm>
              <a:off x="10764047" y="4761273"/>
              <a:ext cx="140867" cy="256708"/>
              <a:chOff x="10764047" y="4761273"/>
              <a:chExt cx="140867" cy="256708"/>
            </a:xfrm>
            <a:noFill/>
          </p:grpSpPr>
          <p:sp>
            <p:nvSpPr>
              <p:cNvPr id="1563" name="Forma livre: Forma 1562">
                <a:extLst>
                  <a:ext uri="{FF2B5EF4-FFF2-40B4-BE49-F238E27FC236}">
                    <a16:creationId xmlns:a16="http://schemas.microsoft.com/office/drawing/2014/main" id="{D0186A0E-47D9-8951-BF15-81784D27C3B5}"/>
                  </a:ext>
                </a:extLst>
              </p:cNvPr>
              <p:cNvSpPr/>
              <p:nvPr/>
            </p:nvSpPr>
            <p:spPr>
              <a:xfrm>
                <a:off x="10790881" y="4967148"/>
                <a:ext cx="74197" cy="44589"/>
              </a:xfrm>
              <a:custGeom>
                <a:avLst/>
                <a:gdLst>
                  <a:gd name="connsiteX0" fmla="*/ 0 w 74197"/>
                  <a:gd name="connsiteY0" fmla="*/ 38125 h 44589"/>
                  <a:gd name="connsiteX1" fmla="*/ 45261 w 74197"/>
                  <a:gd name="connsiteY1" fmla="*/ 41400 h 44589"/>
                  <a:gd name="connsiteX2" fmla="*/ 74197 w 74197"/>
                  <a:gd name="connsiteY2" fmla="*/ 6452 h 44589"/>
                  <a:gd name="connsiteX3" fmla="*/ 45506 w 74197"/>
                  <a:gd name="connsiteY3" fmla="*/ 0 h 44589"/>
                  <a:gd name="connsiteX4" fmla="*/ 28936 w 74197"/>
                  <a:gd name="connsiteY4" fmla="*/ 3177 h 44589"/>
                  <a:gd name="connsiteX5" fmla="*/ 0 w 74197"/>
                  <a:gd name="connsiteY5" fmla="*/ 38125 h 445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74197" h="44589">
                    <a:moveTo>
                      <a:pt x="0" y="38125"/>
                    </a:moveTo>
                    <a:cubicBezTo>
                      <a:pt x="0" y="38125"/>
                      <a:pt x="24781" y="50149"/>
                      <a:pt x="45261" y="41400"/>
                    </a:cubicBezTo>
                    <a:cubicBezTo>
                      <a:pt x="65741" y="32651"/>
                      <a:pt x="74197" y="6452"/>
                      <a:pt x="74197" y="6452"/>
                    </a:cubicBezTo>
                    <a:cubicBezTo>
                      <a:pt x="74197" y="6452"/>
                      <a:pt x="60756" y="-49"/>
                      <a:pt x="45506" y="0"/>
                    </a:cubicBezTo>
                    <a:cubicBezTo>
                      <a:pt x="40031" y="0"/>
                      <a:pt x="34361" y="880"/>
                      <a:pt x="28936" y="3177"/>
                    </a:cubicBezTo>
                    <a:cubicBezTo>
                      <a:pt x="8456" y="11927"/>
                      <a:pt x="0" y="38125"/>
                      <a:pt x="0" y="38125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564" name="Forma livre: Forma 1563">
                <a:extLst>
                  <a:ext uri="{FF2B5EF4-FFF2-40B4-BE49-F238E27FC236}">
                    <a16:creationId xmlns:a16="http://schemas.microsoft.com/office/drawing/2014/main" id="{AB32F0C7-28EE-3FEA-E30C-C96BB75BB458}"/>
                  </a:ext>
                </a:extLst>
              </p:cNvPr>
              <p:cNvSpPr/>
              <p:nvPr/>
            </p:nvSpPr>
            <p:spPr>
              <a:xfrm>
                <a:off x="10822701" y="4917440"/>
                <a:ext cx="65741" cy="34604"/>
              </a:xfrm>
              <a:custGeom>
                <a:avLst/>
                <a:gdLst>
                  <a:gd name="connsiteX0" fmla="*/ 49905 w 65741"/>
                  <a:gd name="connsiteY0" fmla="*/ 34605 h 34604"/>
                  <a:gd name="connsiteX1" fmla="*/ 65741 w 65741"/>
                  <a:gd name="connsiteY1" fmla="*/ 3518 h 34604"/>
                  <a:gd name="connsiteX2" fmla="*/ 20431 w 65741"/>
                  <a:gd name="connsiteY2" fmla="*/ 5473 h 34604"/>
                  <a:gd name="connsiteX3" fmla="*/ 0 w 65741"/>
                  <a:gd name="connsiteY3" fmla="*/ 30499 h 346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5741" h="34604">
                    <a:moveTo>
                      <a:pt x="49905" y="34605"/>
                    </a:moveTo>
                    <a:cubicBezTo>
                      <a:pt x="62075" y="21945"/>
                      <a:pt x="65741" y="3518"/>
                      <a:pt x="65741" y="3518"/>
                    </a:cubicBezTo>
                    <a:cubicBezTo>
                      <a:pt x="65741" y="3518"/>
                      <a:pt x="39738" y="-5573"/>
                      <a:pt x="20431" y="5473"/>
                    </a:cubicBezTo>
                    <a:cubicBezTo>
                      <a:pt x="10020" y="11436"/>
                      <a:pt x="3666" y="21994"/>
                      <a:pt x="0" y="30499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565" name="Forma livre: Forma 1564">
                <a:extLst>
                  <a:ext uri="{FF2B5EF4-FFF2-40B4-BE49-F238E27FC236}">
                    <a16:creationId xmlns:a16="http://schemas.microsoft.com/office/drawing/2014/main" id="{DB5BE124-543B-7592-5712-2DF1CDB699E7}"/>
                  </a:ext>
                </a:extLst>
              </p:cNvPr>
              <p:cNvSpPr/>
              <p:nvPr/>
            </p:nvSpPr>
            <p:spPr>
              <a:xfrm>
                <a:off x="10849779" y="4862791"/>
                <a:ext cx="55134" cy="36661"/>
              </a:xfrm>
              <a:custGeom>
                <a:avLst/>
                <a:gdLst>
                  <a:gd name="connsiteX0" fmla="*/ 46092 w 55134"/>
                  <a:gd name="connsiteY0" fmla="*/ 36661 h 36661"/>
                  <a:gd name="connsiteX1" fmla="*/ 55135 w 55134"/>
                  <a:gd name="connsiteY1" fmla="*/ 101 h 36661"/>
                  <a:gd name="connsiteX2" fmla="*/ 11829 w 55134"/>
                  <a:gd name="connsiteY2" fmla="*/ 13542 h 36661"/>
                  <a:gd name="connsiteX3" fmla="*/ 0 w 55134"/>
                  <a:gd name="connsiteY3" fmla="*/ 35439 h 366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5134" h="36661">
                    <a:moveTo>
                      <a:pt x="46092" y="36661"/>
                    </a:moveTo>
                    <a:cubicBezTo>
                      <a:pt x="54646" y="21363"/>
                      <a:pt x="55135" y="101"/>
                      <a:pt x="55135" y="101"/>
                    </a:cubicBezTo>
                    <a:cubicBezTo>
                      <a:pt x="55135" y="101"/>
                      <a:pt x="27714" y="-2050"/>
                      <a:pt x="11829" y="13542"/>
                    </a:cubicBezTo>
                    <a:cubicBezTo>
                      <a:pt x="5474" y="19798"/>
                      <a:pt x="1955" y="27912"/>
                      <a:pt x="0" y="35439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566" name="Forma livre: Forma 1565">
                <a:extLst>
                  <a:ext uri="{FF2B5EF4-FFF2-40B4-BE49-F238E27FC236}">
                    <a16:creationId xmlns:a16="http://schemas.microsoft.com/office/drawing/2014/main" id="{1C959230-CD91-4818-CC16-00298FB35B06}"/>
                  </a:ext>
                </a:extLst>
              </p:cNvPr>
              <p:cNvSpPr/>
              <p:nvPr/>
            </p:nvSpPr>
            <p:spPr>
              <a:xfrm>
                <a:off x="10836360" y="4815675"/>
                <a:ext cx="53578" cy="55867"/>
              </a:xfrm>
              <a:custGeom>
                <a:avLst/>
                <a:gdLst>
                  <a:gd name="connsiteX0" fmla="*/ 51544 w 53578"/>
                  <a:gd name="connsiteY0" fmla="*/ 27323 h 55867"/>
                  <a:gd name="connsiteX1" fmla="*/ 53157 w 53578"/>
                  <a:gd name="connsiteY1" fmla="*/ 0 h 55867"/>
                  <a:gd name="connsiteX2" fmla="*/ 11073 w 53578"/>
                  <a:gd name="connsiteY2" fmla="*/ 16961 h 55867"/>
                  <a:gd name="connsiteX3" fmla="*/ 75 w 53578"/>
                  <a:gd name="connsiteY3" fmla="*/ 55868 h 558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3578" h="55867">
                    <a:moveTo>
                      <a:pt x="51544" y="27323"/>
                    </a:moveTo>
                    <a:cubicBezTo>
                      <a:pt x="54819" y="14126"/>
                      <a:pt x="53157" y="0"/>
                      <a:pt x="53157" y="0"/>
                    </a:cubicBezTo>
                    <a:cubicBezTo>
                      <a:pt x="53157" y="0"/>
                      <a:pt x="25639" y="98"/>
                      <a:pt x="11073" y="16961"/>
                    </a:cubicBezTo>
                    <a:cubicBezTo>
                      <a:pt x="466" y="29278"/>
                      <a:pt x="-316" y="47119"/>
                      <a:pt x="75" y="55868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567" name="Forma livre: Forma 1566">
                <a:extLst>
                  <a:ext uri="{FF2B5EF4-FFF2-40B4-BE49-F238E27FC236}">
                    <a16:creationId xmlns:a16="http://schemas.microsoft.com/office/drawing/2014/main" id="{CFEA6AE9-269B-E4BF-4200-EE2BA9217C6E}"/>
                  </a:ext>
                </a:extLst>
              </p:cNvPr>
              <p:cNvSpPr/>
              <p:nvPr/>
            </p:nvSpPr>
            <p:spPr>
              <a:xfrm>
                <a:off x="10827901" y="4761273"/>
                <a:ext cx="44598" cy="58311"/>
              </a:xfrm>
              <a:custGeom>
                <a:avLst/>
                <a:gdLst>
                  <a:gd name="connsiteX0" fmla="*/ 43776 w 44598"/>
                  <a:gd name="connsiteY0" fmla="*/ 37441 h 58311"/>
                  <a:gd name="connsiteX1" fmla="*/ 38155 w 44598"/>
                  <a:gd name="connsiteY1" fmla="*/ 0 h 58311"/>
                  <a:gd name="connsiteX2" fmla="*/ 3207 w 44598"/>
                  <a:gd name="connsiteY2" fmla="*/ 28887 h 58311"/>
                  <a:gd name="connsiteX3" fmla="*/ 1350 w 44598"/>
                  <a:gd name="connsiteY3" fmla="*/ 58312 h 583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4598" h="58311">
                    <a:moveTo>
                      <a:pt x="43776" y="37441"/>
                    </a:moveTo>
                    <a:cubicBezTo>
                      <a:pt x="47344" y="18965"/>
                      <a:pt x="38155" y="0"/>
                      <a:pt x="38155" y="0"/>
                    </a:cubicBezTo>
                    <a:cubicBezTo>
                      <a:pt x="38155" y="0"/>
                      <a:pt x="11956" y="8407"/>
                      <a:pt x="3207" y="28887"/>
                    </a:cubicBezTo>
                    <a:cubicBezTo>
                      <a:pt x="-1045" y="38760"/>
                      <a:pt x="-410" y="49660"/>
                      <a:pt x="1350" y="58312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568" name="Forma livre: Forma 1567">
                <a:extLst>
                  <a:ext uri="{FF2B5EF4-FFF2-40B4-BE49-F238E27FC236}">
                    <a16:creationId xmlns:a16="http://schemas.microsoft.com/office/drawing/2014/main" id="{CA37DB0F-AF89-DDF8-D1A3-33CA7CF89D30}"/>
                  </a:ext>
                </a:extLst>
              </p:cNvPr>
              <p:cNvSpPr/>
              <p:nvPr/>
            </p:nvSpPr>
            <p:spPr>
              <a:xfrm>
                <a:off x="10764047" y="5005567"/>
                <a:ext cx="26394" cy="12415"/>
              </a:xfrm>
              <a:custGeom>
                <a:avLst/>
                <a:gdLst>
                  <a:gd name="connsiteX0" fmla="*/ 26394 w 26394"/>
                  <a:gd name="connsiteY0" fmla="*/ 0 h 12415"/>
                  <a:gd name="connsiteX1" fmla="*/ 0 w 26394"/>
                  <a:gd name="connsiteY1" fmla="*/ 12415 h 124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6394" h="12415">
                    <a:moveTo>
                      <a:pt x="26394" y="0"/>
                    </a:moveTo>
                    <a:lnTo>
                      <a:pt x="0" y="12415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570" name="Gráfico 17">
            <a:extLst>
              <a:ext uri="{FF2B5EF4-FFF2-40B4-BE49-F238E27FC236}">
                <a16:creationId xmlns:a16="http://schemas.microsoft.com/office/drawing/2014/main" id="{A1796852-E61B-34B1-192B-9684D607BB32}"/>
              </a:ext>
            </a:extLst>
          </p:cNvPr>
          <p:cNvGrpSpPr/>
          <p:nvPr/>
        </p:nvGrpSpPr>
        <p:grpSpPr>
          <a:xfrm>
            <a:off x="1330679" y="3668848"/>
            <a:ext cx="293622" cy="269158"/>
            <a:chOff x="1330679" y="3668848"/>
            <a:chExt cx="293622" cy="269158"/>
          </a:xfrm>
          <a:noFill/>
        </p:grpSpPr>
        <p:grpSp>
          <p:nvGrpSpPr>
            <p:cNvPr id="1571" name="Gráfico 17">
              <a:extLst>
                <a:ext uri="{FF2B5EF4-FFF2-40B4-BE49-F238E27FC236}">
                  <a16:creationId xmlns:a16="http://schemas.microsoft.com/office/drawing/2014/main" id="{C3D12396-0E87-A0F1-BEB8-ABBF34F155AF}"/>
                </a:ext>
              </a:extLst>
            </p:cNvPr>
            <p:cNvGrpSpPr/>
            <p:nvPr/>
          </p:nvGrpSpPr>
          <p:grpSpPr>
            <a:xfrm>
              <a:off x="1489025" y="3668848"/>
              <a:ext cx="135277" cy="269158"/>
              <a:chOff x="1489025" y="3668848"/>
              <a:chExt cx="135277" cy="269158"/>
            </a:xfrm>
            <a:noFill/>
          </p:grpSpPr>
          <p:sp>
            <p:nvSpPr>
              <p:cNvPr id="1572" name="Forma livre: Forma 1571">
                <a:extLst>
                  <a:ext uri="{FF2B5EF4-FFF2-40B4-BE49-F238E27FC236}">
                    <a16:creationId xmlns:a16="http://schemas.microsoft.com/office/drawing/2014/main" id="{BB62061C-6D8E-C08B-4D92-B35AEDC33B67}"/>
                  </a:ext>
                </a:extLst>
              </p:cNvPr>
              <p:cNvSpPr/>
              <p:nvPr/>
            </p:nvSpPr>
            <p:spPr>
              <a:xfrm>
                <a:off x="1489025" y="3668848"/>
                <a:ext cx="135277" cy="269158"/>
              </a:xfrm>
              <a:custGeom>
                <a:avLst/>
                <a:gdLst>
                  <a:gd name="connsiteX0" fmla="*/ 0 w 135277"/>
                  <a:gd name="connsiteY0" fmla="*/ 269158 h 269158"/>
                  <a:gd name="connsiteX1" fmla="*/ 19890 w 135277"/>
                  <a:gd name="connsiteY1" fmla="*/ 269158 h 269158"/>
                  <a:gd name="connsiteX2" fmla="*/ 26054 w 135277"/>
                  <a:gd name="connsiteY2" fmla="*/ 233039 h 269158"/>
                  <a:gd name="connsiteX3" fmla="*/ 52589 w 135277"/>
                  <a:gd name="connsiteY3" fmla="*/ 222011 h 269158"/>
                  <a:gd name="connsiteX4" fmla="*/ 82255 w 135277"/>
                  <a:gd name="connsiteY4" fmla="*/ 243297 h 269158"/>
                  <a:gd name="connsiteX5" fmla="*/ 109416 w 135277"/>
                  <a:gd name="connsiteY5" fmla="*/ 216136 h 269158"/>
                  <a:gd name="connsiteX6" fmla="*/ 88130 w 135277"/>
                  <a:gd name="connsiteY6" fmla="*/ 186470 h 269158"/>
                  <a:gd name="connsiteX7" fmla="*/ 99207 w 135277"/>
                  <a:gd name="connsiteY7" fmla="*/ 159694 h 269158"/>
                  <a:gd name="connsiteX8" fmla="*/ 135277 w 135277"/>
                  <a:gd name="connsiteY8" fmla="*/ 153770 h 269158"/>
                  <a:gd name="connsiteX9" fmla="*/ 135277 w 135277"/>
                  <a:gd name="connsiteY9" fmla="*/ 115388 h 269158"/>
                  <a:gd name="connsiteX10" fmla="*/ 99255 w 135277"/>
                  <a:gd name="connsiteY10" fmla="*/ 109464 h 269158"/>
                  <a:gd name="connsiteX11" fmla="*/ 88275 w 135277"/>
                  <a:gd name="connsiteY11" fmla="*/ 82881 h 269158"/>
                  <a:gd name="connsiteX12" fmla="*/ 109464 w 135277"/>
                  <a:gd name="connsiteY12" fmla="*/ 53023 h 269158"/>
                  <a:gd name="connsiteX13" fmla="*/ 82303 w 135277"/>
                  <a:gd name="connsiteY13" fmla="*/ 25861 h 269158"/>
                  <a:gd name="connsiteX14" fmla="*/ 52445 w 135277"/>
                  <a:gd name="connsiteY14" fmla="*/ 47051 h 269158"/>
                  <a:gd name="connsiteX15" fmla="*/ 25861 w 135277"/>
                  <a:gd name="connsiteY15" fmla="*/ 36071 h 269158"/>
                  <a:gd name="connsiteX16" fmla="*/ 19938 w 135277"/>
                  <a:gd name="connsiteY16" fmla="*/ 0 h 269158"/>
                  <a:gd name="connsiteX17" fmla="*/ 48 w 135277"/>
                  <a:gd name="connsiteY17" fmla="*/ 0 h 2691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135277" h="269158">
                    <a:moveTo>
                      <a:pt x="0" y="269158"/>
                    </a:moveTo>
                    <a:lnTo>
                      <a:pt x="19890" y="269158"/>
                    </a:lnTo>
                    <a:lnTo>
                      <a:pt x="26054" y="233039"/>
                    </a:lnTo>
                    <a:cubicBezTo>
                      <a:pt x="35493" y="230631"/>
                      <a:pt x="44402" y="226875"/>
                      <a:pt x="52589" y="222011"/>
                    </a:cubicBezTo>
                    <a:lnTo>
                      <a:pt x="82255" y="243297"/>
                    </a:lnTo>
                    <a:lnTo>
                      <a:pt x="109416" y="216136"/>
                    </a:lnTo>
                    <a:lnTo>
                      <a:pt x="88130" y="186470"/>
                    </a:lnTo>
                    <a:cubicBezTo>
                      <a:pt x="93042" y="178235"/>
                      <a:pt x="96799" y="169229"/>
                      <a:pt x="99207" y="159694"/>
                    </a:cubicBezTo>
                    <a:lnTo>
                      <a:pt x="135277" y="153770"/>
                    </a:lnTo>
                    <a:lnTo>
                      <a:pt x="135277" y="115388"/>
                    </a:lnTo>
                    <a:lnTo>
                      <a:pt x="99255" y="109464"/>
                    </a:lnTo>
                    <a:cubicBezTo>
                      <a:pt x="96847" y="100025"/>
                      <a:pt x="93139" y="91068"/>
                      <a:pt x="88275" y="82881"/>
                    </a:cubicBezTo>
                    <a:lnTo>
                      <a:pt x="109464" y="53023"/>
                    </a:lnTo>
                    <a:lnTo>
                      <a:pt x="82303" y="25861"/>
                    </a:lnTo>
                    <a:lnTo>
                      <a:pt x="52445" y="47051"/>
                    </a:lnTo>
                    <a:cubicBezTo>
                      <a:pt x="44258" y="42187"/>
                      <a:pt x="35348" y="38479"/>
                      <a:pt x="25861" y="36071"/>
                    </a:cubicBezTo>
                    <a:lnTo>
                      <a:pt x="19938" y="0"/>
                    </a:lnTo>
                    <a:lnTo>
                      <a:pt x="48" y="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573" name="Forma livre: Forma 1572">
                <a:extLst>
                  <a:ext uri="{FF2B5EF4-FFF2-40B4-BE49-F238E27FC236}">
                    <a16:creationId xmlns:a16="http://schemas.microsoft.com/office/drawing/2014/main" id="{2D354C28-231B-875B-8B35-D3B13A7E3F80}"/>
                  </a:ext>
                </a:extLst>
              </p:cNvPr>
              <p:cNvSpPr/>
              <p:nvPr/>
            </p:nvSpPr>
            <p:spPr>
              <a:xfrm>
                <a:off x="1489025" y="3758134"/>
                <a:ext cx="45991" cy="90634"/>
              </a:xfrm>
              <a:custGeom>
                <a:avLst/>
                <a:gdLst>
                  <a:gd name="connsiteX0" fmla="*/ 0 w 45991"/>
                  <a:gd name="connsiteY0" fmla="*/ 0 h 90634"/>
                  <a:gd name="connsiteX1" fmla="*/ 45991 w 45991"/>
                  <a:gd name="connsiteY1" fmla="*/ 45317 h 90634"/>
                  <a:gd name="connsiteX2" fmla="*/ 0 w 45991"/>
                  <a:gd name="connsiteY2" fmla="*/ 90634 h 906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45991" h="90634">
                    <a:moveTo>
                      <a:pt x="0" y="0"/>
                    </a:moveTo>
                    <a:cubicBezTo>
                      <a:pt x="24994" y="0"/>
                      <a:pt x="45991" y="20275"/>
                      <a:pt x="45991" y="45317"/>
                    </a:cubicBezTo>
                    <a:cubicBezTo>
                      <a:pt x="45991" y="70360"/>
                      <a:pt x="25042" y="90634"/>
                      <a:pt x="0" y="90634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574" name="Gráfico 17">
              <a:extLst>
                <a:ext uri="{FF2B5EF4-FFF2-40B4-BE49-F238E27FC236}">
                  <a16:creationId xmlns:a16="http://schemas.microsoft.com/office/drawing/2014/main" id="{AD54D46C-1FD3-B53E-473B-D75AC37B0E8E}"/>
                </a:ext>
              </a:extLst>
            </p:cNvPr>
            <p:cNvGrpSpPr/>
            <p:nvPr/>
          </p:nvGrpSpPr>
          <p:grpSpPr>
            <a:xfrm>
              <a:off x="1330679" y="3668945"/>
              <a:ext cx="134458" cy="268917"/>
              <a:chOff x="1330679" y="3668945"/>
              <a:chExt cx="134458" cy="268917"/>
            </a:xfrm>
            <a:noFill/>
          </p:grpSpPr>
          <p:sp>
            <p:nvSpPr>
              <p:cNvPr id="1575" name="Forma livre: Forma 1574">
                <a:extLst>
                  <a:ext uri="{FF2B5EF4-FFF2-40B4-BE49-F238E27FC236}">
                    <a16:creationId xmlns:a16="http://schemas.microsoft.com/office/drawing/2014/main" id="{570B9F96-55A9-28FA-6830-94E29C020780}"/>
                  </a:ext>
                </a:extLst>
              </p:cNvPr>
              <p:cNvSpPr/>
              <p:nvPr/>
            </p:nvSpPr>
            <p:spPr>
              <a:xfrm>
                <a:off x="1331257" y="3803355"/>
                <a:ext cx="133880" cy="4815"/>
              </a:xfrm>
              <a:custGeom>
                <a:avLst/>
                <a:gdLst>
                  <a:gd name="connsiteX0" fmla="*/ 0 w 133880"/>
                  <a:gd name="connsiteY0" fmla="*/ 0 h 4815"/>
                  <a:gd name="connsiteX1" fmla="*/ 133881 w 133880"/>
                  <a:gd name="connsiteY1" fmla="*/ 0 h 48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33880" h="4815">
                    <a:moveTo>
                      <a:pt x="0" y="0"/>
                    </a:moveTo>
                    <a:lnTo>
                      <a:pt x="133881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576" name="Forma livre: Forma 1575">
                <a:extLst>
                  <a:ext uri="{FF2B5EF4-FFF2-40B4-BE49-F238E27FC236}">
                    <a16:creationId xmlns:a16="http://schemas.microsoft.com/office/drawing/2014/main" id="{B15CCFA9-55E8-E191-2C0C-D81BBD0679B4}"/>
                  </a:ext>
                </a:extLst>
              </p:cNvPr>
              <p:cNvSpPr/>
              <p:nvPr/>
            </p:nvSpPr>
            <p:spPr>
              <a:xfrm>
                <a:off x="1390571" y="3669523"/>
                <a:ext cx="65416" cy="267617"/>
              </a:xfrm>
              <a:custGeom>
                <a:avLst/>
                <a:gdLst>
                  <a:gd name="connsiteX0" fmla="*/ 64405 w 65416"/>
                  <a:gd name="connsiteY0" fmla="*/ 267617 h 267617"/>
                  <a:gd name="connsiteX1" fmla="*/ 65417 w 65416"/>
                  <a:gd name="connsiteY1" fmla="*/ 0 h 2676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5416" h="267617">
                    <a:moveTo>
                      <a:pt x="64405" y="267617"/>
                    </a:moveTo>
                    <a:cubicBezTo>
                      <a:pt x="51740" y="257022"/>
                      <a:pt x="-74580" y="145054"/>
                      <a:pt x="65417" y="0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577" name="Forma livre: Forma 1576">
                <a:extLst>
                  <a:ext uri="{FF2B5EF4-FFF2-40B4-BE49-F238E27FC236}">
                    <a16:creationId xmlns:a16="http://schemas.microsoft.com/office/drawing/2014/main" id="{83498E67-EAFD-2213-C4AC-E8BB4490C7F0}"/>
                  </a:ext>
                </a:extLst>
              </p:cNvPr>
              <p:cNvSpPr/>
              <p:nvPr/>
            </p:nvSpPr>
            <p:spPr>
              <a:xfrm>
                <a:off x="1364439" y="3718500"/>
                <a:ext cx="99880" cy="28510"/>
              </a:xfrm>
              <a:custGeom>
                <a:avLst/>
                <a:gdLst>
                  <a:gd name="connsiteX0" fmla="*/ 0 w 99880"/>
                  <a:gd name="connsiteY0" fmla="*/ 0 h 28510"/>
                  <a:gd name="connsiteX1" fmla="*/ 99881 w 99880"/>
                  <a:gd name="connsiteY1" fmla="*/ 28510 h 285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9880" h="28510">
                    <a:moveTo>
                      <a:pt x="0" y="0"/>
                    </a:moveTo>
                    <a:cubicBezTo>
                      <a:pt x="23020" y="13870"/>
                      <a:pt x="57549" y="28606"/>
                      <a:pt x="99881" y="28510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578" name="Forma livre: Forma 1577">
                <a:extLst>
                  <a:ext uri="{FF2B5EF4-FFF2-40B4-BE49-F238E27FC236}">
                    <a16:creationId xmlns:a16="http://schemas.microsoft.com/office/drawing/2014/main" id="{066FEE7B-9A73-7F6D-D061-6207B064D098}"/>
                  </a:ext>
                </a:extLst>
              </p:cNvPr>
              <p:cNvSpPr/>
              <p:nvPr/>
            </p:nvSpPr>
            <p:spPr>
              <a:xfrm>
                <a:off x="1363379" y="3859556"/>
                <a:ext cx="100940" cy="29136"/>
              </a:xfrm>
              <a:custGeom>
                <a:avLst/>
                <a:gdLst>
                  <a:gd name="connsiteX0" fmla="*/ 0 w 100940"/>
                  <a:gd name="connsiteY0" fmla="*/ 29136 h 29136"/>
                  <a:gd name="connsiteX1" fmla="*/ 100940 w 100940"/>
                  <a:gd name="connsiteY1" fmla="*/ 0 h 291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00940" h="29136">
                    <a:moveTo>
                      <a:pt x="0" y="29136"/>
                    </a:moveTo>
                    <a:cubicBezTo>
                      <a:pt x="23020" y="15074"/>
                      <a:pt x="57935" y="-96"/>
                      <a:pt x="100940" y="0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579" name="Forma livre: Forma 1578">
                <a:extLst>
                  <a:ext uri="{FF2B5EF4-FFF2-40B4-BE49-F238E27FC236}">
                    <a16:creationId xmlns:a16="http://schemas.microsoft.com/office/drawing/2014/main" id="{455FB02C-6595-56BE-B2F1-900BAA987AB6}"/>
                  </a:ext>
                </a:extLst>
              </p:cNvPr>
              <p:cNvSpPr/>
              <p:nvPr/>
            </p:nvSpPr>
            <p:spPr>
              <a:xfrm>
                <a:off x="1330679" y="3668945"/>
                <a:ext cx="134458" cy="268917"/>
              </a:xfrm>
              <a:custGeom>
                <a:avLst/>
                <a:gdLst>
                  <a:gd name="connsiteX0" fmla="*/ 134459 w 134458"/>
                  <a:gd name="connsiteY0" fmla="*/ 268917 h 268917"/>
                  <a:gd name="connsiteX1" fmla="*/ 0 w 134458"/>
                  <a:gd name="connsiteY1" fmla="*/ 134459 h 268917"/>
                  <a:gd name="connsiteX2" fmla="*/ 134459 w 134458"/>
                  <a:gd name="connsiteY2" fmla="*/ 0 h 268917"/>
                  <a:gd name="connsiteX3" fmla="*/ 134459 w 134458"/>
                  <a:gd name="connsiteY3" fmla="*/ 268869 h 2689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34458" h="268917">
                    <a:moveTo>
                      <a:pt x="134459" y="268917"/>
                    </a:moveTo>
                    <a:cubicBezTo>
                      <a:pt x="60198" y="268917"/>
                      <a:pt x="0" y="208719"/>
                      <a:pt x="0" y="134459"/>
                    </a:cubicBezTo>
                    <a:cubicBezTo>
                      <a:pt x="0" y="60198"/>
                      <a:pt x="60198" y="0"/>
                      <a:pt x="134459" y="0"/>
                    </a:cubicBezTo>
                    <a:lnTo>
                      <a:pt x="134459" y="268869"/>
                    </a:ln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580" name="Gráfico 17">
            <a:extLst>
              <a:ext uri="{FF2B5EF4-FFF2-40B4-BE49-F238E27FC236}">
                <a16:creationId xmlns:a16="http://schemas.microsoft.com/office/drawing/2014/main" id="{6944FEAD-4615-6847-B575-0E30896C73DB}"/>
              </a:ext>
            </a:extLst>
          </p:cNvPr>
          <p:cNvGrpSpPr/>
          <p:nvPr/>
        </p:nvGrpSpPr>
        <p:grpSpPr>
          <a:xfrm>
            <a:off x="1966488" y="3657902"/>
            <a:ext cx="267208" cy="291036"/>
            <a:chOff x="1966488" y="3657902"/>
            <a:chExt cx="267208" cy="291036"/>
          </a:xfrm>
          <a:noFill/>
        </p:grpSpPr>
        <p:grpSp>
          <p:nvGrpSpPr>
            <p:cNvPr id="1581" name="Gráfico 17">
              <a:extLst>
                <a:ext uri="{FF2B5EF4-FFF2-40B4-BE49-F238E27FC236}">
                  <a16:creationId xmlns:a16="http://schemas.microsoft.com/office/drawing/2014/main" id="{373BE60B-0A31-16DC-7403-DF212A2EC66E}"/>
                </a:ext>
              </a:extLst>
            </p:cNvPr>
            <p:cNvGrpSpPr/>
            <p:nvPr/>
          </p:nvGrpSpPr>
          <p:grpSpPr>
            <a:xfrm>
              <a:off x="1966488" y="3657902"/>
              <a:ext cx="267208" cy="291036"/>
              <a:chOff x="1966488" y="3657902"/>
              <a:chExt cx="267208" cy="291036"/>
            </a:xfrm>
            <a:noFill/>
          </p:grpSpPr>
          <p:sp>
            <p:nvSpPr>
              <p:cNvPr id="1582" name="Forma livre: Forma 1581">
                <a:extLst>
                  <a:ext uri="{FF2B5EF4-FFF2-40B4-BE49-F238E27FC236}">
                    <a16:creationId xmlns:a16="http://schemas.microsoft.com/office/drawing/2014/main" id="{BB3922E0-E0F6-912E-266C-EB798FE7DE6B}"/>
                  </a:ext>
                </a:extLst>
              </p:cNvPr>
              <p:cNvSpPr/>
              <p:nvPr/>
            </p:nvSpPr>
            <p:spPr>
              <a:xfrm>
                <a:off x="1966488" y="3657902"/>
                <a:ext cx="267208" cy="291036"/>
              </a:xfrm>
              <a:custGeom>
                <a:avLst/>
                <a:gdLst>
                  <a:gd name="connsiteX0" fmla="*/ 229986 w 267208"/>
                  <a:gd name="connsiteY0" fmla="*/ 291037 h 291036"/>
                  <a:gd name="connsiteX1" fmla="*/ 225411 w 267208"/>
                  <a:gd name="connsiteY1" fmla="*/ 231176 h 291036"/>
                  <a:gd name="connsiteX2" fmla="*/ 250020 w 267208"/>
                  <a:gd name="connsiteY2" fmla="*/ 170641 h 291036"/>
                  <a:gd name="connsiteX3" fmla="*/ 224351 w 267208"/>
                  <a:gd name="connsiteY3" fmla="*/ 23901 h 291036"/>
                  <a:gd name="connsiteX4" fmla="*/ 71881 w 267208"/>
                  <a:gd name="connsiteY4" fmla="*/ 20097 h 291036"/>
                  <a:gd name="connsiteX5" fmla="*/ 35185 w 267208"/>
                  <a:gd name="connsiteY5" fmla="*/ 104663 h 291036"/>
                  <a:gd name="connsiteX6" fmla="*/ 31476 w 267208"/>
                  <a:gd name="connsiteY6" fmla="*/ 131102 h 291036"/>
                  <a:gd name="connsiteX7" fmla="*/ 655 w 267208"/>
                  <a:gd name="connsiteY7" fmla="*/ 167366 h 291036"/>
                  <a:gd name="connsiteX8" fmla="*/ 8842 w 267208"/>
                  <a:gd name="connsiteY8" fmla="*/ 179165 h 291036"/>
                  <a:gd name="connsiteX9" fmla="*/ 27624 w 267208"/>
                  <a:gd name="connsiteY9" fmla="*/ 183017 h 291036"/>
                  <a:gd name="connsiteX10" fmla="*/ 36244 w 267208"/>
                  <a:gd name="connsiteY10" fmla="*/ 210131 h 291036"/>
                  <a:gd name="connsiteX11" fmla="*/ 34270 w 267208"/>
                  <a:gd name="connsiteY11" fmla="*/ 236473 h 291036"/>
                  <a:gd name="connsiteX12" fmla="*/ 38074 w 267208"/>
                  <a:gd name="connsiteY12" fmla="*/ 261949 h 291036"/>
                  <a:gd name="connsiteX13" fmla="*/ 102751 w 267208"/>
                  <a:gd name="connsiteY13" fmla="*/ 259397 h 291036"/>
                  <a:gd name="connsiteX14" fmla="*/ 111420 w 267208"/>
                  <a:gd name="connsiteY14" fmla="*/ 290604 h 2910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267208" h="291036">
                    <a:moveTo>
                      <a:pt x="229986" y="291037"/>
                    </a:moveTo>
                    <a:cubicBezTo>
                      <a:pt x="227530" y="276830"/>
                      <a:pt x="224014" y="253714"/>
                      <a:pt x="225411" y="231176"/>
                    </a:cubicBezTo>
                    <a:cubicBezTo>
                      <a:pt x="225411" y="231176"/>
                      <a:pt x="233598" y="194238"/>
                      <a:pt x="250020" y="170641"/>
                    </a:cubicBezTo>
                    <a:cubicBezTo>
                      <a:pt x="250020" y="170641"/>
                      <a:pt x="302368" y="81355"/>
                      <a:pt x="224351" y="23901"/>
                    </a:cubicBezTo>
                    <a:cubicBezTo>
                      <a:pt x="224351" y="23901"/>
                      <a:pt x="155340" y="-27243"/>
                      <a:pt x="71881" y="20097"/>
                    </a:cubicBezTo>
                    <a:cubicBezTo>
                      <a:pt x="71881" y="20097"/>
                      <a:pt x="25312" y="40227"/>
                      <a:pt x="35185" y="104663"/>
                    </a:cubicBezTo>
                    <a:cubicBezTo>
                      <a:pt x="35185" y="104663"/>
                      <a:pt x="37159" y="122675"/>
                      <a:pt x="31476" y="131102"/>
                    </a:cubicBezTo>
                    <a:lnTo>
                      <a:pt x="655" y="167366"/>
                    </a:lnTo>
                    <a:cubicBezTo>
                      <a:pt x="655" y="167366"/>
                      <a:pt x="-3439" y="178153"/>
                      <a:pt x="8842" y="179165"/>
                    </a:cubicBezTo>
                    <a:lnTo>
                      <a:pt x="27624" y="183017"/>
                    </a:lnTo>
                    <a:cubicBezTo>
                      <a:pt x="27624" y="183017"/>
                      <a:pt x="35474" y="198332"/>
                      <a:pt x="36244" y="210131"/>
                    </a:cubicBezTo>
                    <a:cubicBezTo>
                      <a:pt x="37015" y="221929"/>
                      <a:pt x="34270" y="236473"/>
                      <a:pt x="34270" y="236473"/>
                    </a:cubicBezTo>
                    <a:cubicBezTo>
                      <a:pt x="34270" y="236473"/>
                      <a:pt x="27576" y="254148"/>
                      <a:pt x="38074" y="261949"/>
                    </a:cubicBezTo>
                    <a:cubicBezTo>
                      <a:pt x="40145" y="262479"/>
                      <a:pt x="47850" y="271196"/>
                      <a:pt x="102751" y="259397"/>
                    </a:cubicBezTo>
                    <a:cubicBezTo>
                      <a:pt x="102751" y="259397"/>
                      <a:pt x="108048" y="261901"/>
                      <a:pt x="111420" y="290604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583" name="Forma livre: Forma 1582">
                <a:extLst>
                  <a:ext uri="{FF2B5EF4-FFF2-40B4-BE49-F238E27FC236}">
                    <a16:creationId xmlns:a16="http://schemas.microsoft.com/office/drawing/2014/main" id="{71486EA7-0CFD-1AC8-6B34-EA979B9EDB47}"/>
                  </a:ext>
                </a:extLst>
              </p:cNvPr>
              <p:cNvSpPr/>
              <p:nvPr/>
            </p:nvSpPr>
            <p:spPr>
              <a:xfrm>
                <a:off x="2005140" y="3868899"/>
                <a:ext cx="23597" cy="385"/>
              </a:xfrm>
              <a:custGeom>
                <a:avLst/>
                <a:gdLst>
                  <a:gd name="connsiteX0" fmla="*/ 0 w 23597"/>
                  <a:gd name="connsiteY0" fmla="*/ 0 h 385"/>
                  <a:gd name="connsiteX1" fmla="*/ 23598 w 23597"/>
                  <a:gd name="connsiteY1" fmla="*/ 385 h 3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3597" h="385">
                    <a:moveTo>
                      <a:pt x="0" y="0"/>
                    </a:moveTo>
                    <a:lnTo>
                      <a:pt x="23598" y="385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584" name="Forma livre: Forma 1583">
              <a:extLst>
                <a:ext uri="{FF2B5EF4-FFF2-40B4-BE49-F238E27FC236}">
                  <a16:creationId xmlns:a16="http://schemas.microsoft.com/office/drawing/2014/main" id="{C4FA8091-6BA8-960C-CC24-03A0F83E3418}"/>
                </a:ext>
              </a:extLst>
            </p:cNvPr>
            <p:cNvSpPr/>
            <p:nvPr/>
          </p:nvSpPr>
          <p:spPr>
            <a:xfrm>
              <a:off x="2047471" y="3793723"/>
              <a:ext cx="119096" cy="4815"/>
            </a:xfrm>
            <a:custGeom>
              <a:avLst/>
              <a:gdLst>
                <a:gd name="connsiteX0" fmla="*/ 119096 w 119096"/>
                <a:gd name="connsiteY0" fmla="*/ 0 h 4815"/>
                <a:gd name="connsiteX1" fmla="*/ 0 w 119096"/>
                <a:gd name="connsiteY1" fmla="*/ 0 h 48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9096" h="4815">
                  <a:moveTo>
                    <a:pt x="119096" y="0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585" name="Gráfico 17">
              <a:extLst>
                <a:ext uri="{FF2B5EF4-FFF2-40B4-BE49-F238E27FC236}">
                  <a16:creationId xmlns:a16="http://schemas.microsoft.com/office/drawing/2014/main" id="{030FABA6-0402-7E4A-C640-C6382D8EF84A}"/>
                </a:ext>
              </a:extLst>
            </p:cNvPr>
            <p:cNvGrpSpPr/>
            <p:nvPr/>
          </p:nvGrpSpPr>
          <p:grpSpPr>
            <a:xfrm>
              <a:off x="2074296" y="3703522"/>
              <a:ext cx="65447" cy="72478"/>
              <a:chOff x="2074296" y="3703522"/>
              <a:chExt cx="65447" cy="72478"/>
            </a:xfrm>
          </p:grpSpPr>
          <p:sp>
            <p:nvSpPr>
              <p:cNvPr id="1586" name="Forma livre: Forma 1585">
                <a:extLst>
                  <a:ext uri="{FF2B5EF4-FFF2-40B4-BE49-F238E27FC236}">
                    <a16:creationId xmlns:a16="http://schemas.microsoft.com/office/drawing/2014/main" id="{7A22E9E4-8D0F-D95E-28BD-D3863BA1A5C2}"/>
                  </a:ext>
                </a:extLst>
              </p:cNvPr>
              <p:cNvSpPr/>
              <p:nvPr/>
            </p:nvSpPr>
            <p:spPr>
              <a:xfrm>
                <a:off x="2074296" y="3745420"/>
                <a:ext cx="4815" cy="30580"/>
              </a:xfrm>
              <a:custGeom>
                <a:avLst/>
                <a:gdLst>
                  <a:gd name="connsiteX0" fmla="*/ 0 w 4815"/>
                  <a:gd name="connsiteY0" fmla="*/ 30581 h 30580"/>
                  <a:gd name="connsiteX1" fmla="*/ 0 w 4815"/>
                  <a:gd name="connsiteY1" fmla="*/ 0 h 305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815" h="30580">
                    <a:moveTo>
                      <a:pt x="0" y="30581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587" name="Forma livre: Forma 1586">
                <a:extLst>
                  <a:ext uri="{FF2B5EF4-FFF2-40B4-BE49-F238E27FC236}">
                    <a16:creationId xmlns:a16="http://schemas.microsoft.com/office/drawing/2014/main" id="{2A790ACD-D64E-ACEE-F6F6-A4D1EE893821}"/>
                  </a:ext>
                </a:extLst>
              </p:cNvPr>
              <p:cNvSpPr/>
              <p:nvPr/>
            </p:nvSpPr>
            <p:spPr>
              <a:xfrm>
                <a:off x="2106995" y="3724471"/>
                <a:ext cx="4815" cy="51529"/>
              </a:xfrm>
              <a:custGeom>
                <a:avLst/>
                <a:gdLst>
                  <a:gd name="connsiteX0" fmla="*/ 0 w 4815"/>
                  <a:gd name="connsiteY0" fmla="*/ 51530 h 51529"/>
                  <a:gd name="connsiteX1" fmla="*/ 0 w 4815"/>
                  <a:gd name="connsiteY1" fmla="*/ 0 h 515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815" h="51529">
                    <a:moveTo>
                      <a:pt x="0" y="51530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588" name="Forma livre: Forma 1587">
                <a:extLst>
                  <a:ext uri="{FF2B5EF4-FFF2-40B4-BE49-F238E27FC236}">
                    <a16:creationId xmlns:a16="http://schemas.microsoft.com/office/drawing/2014/main" id="{EBD2AE6F-B76C-3630-8080-80CD18E75B35}"/>
                  </a:ext>
                </a:extLst>
              </p:cNvPr>
              <p:cNvSpPr/>
              <p:nvPr/>
            </p:nvSpPr>
            <p:spPr>
              <a:xfrm>
                <a:off x="2139743" y="3703522"/>
                <a:ext cx="4815" cy="72478"/>
              </a:xfrm>
              <a:custGeom>
                <a:avLst/>
                <a:gdLst>
                  <a:gd name="connsiteX0" fmla="*/ 0 w 4815"/>
                  <a:gd name="connsiteY0" fmla="*/ 72479 h 72478"/>
                  <a:gd name="connsiteX1" fmla="*/ 0 w 4815"/>
                  <a:gd name="connsiteY1" fmla="*/ 0 h 724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815" h="72478">
                    <a:moveTo>
                      <a:pt x="0" y="72479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589" name="Gráfico 17">
            <a:extLst>
              <a:ext uri="{FF2B5EF4-FFF2-40B4-BE49-F238E27FC236}">
                <a16:creationId xmlns:a16="http://schemas.microsoft.com/office/drawing/2014/main" id="{A9EC31A7-1F6F-88E7-588F-93CF9F1C7E7D}"/>
              </a:ext>
            </a:extLst>
          </p:cNvPr>
          <p:cNvGrpSpPr/>
          <p:nvPr/>
        </p:nvGrpSpPr>
        <p:grpSpPr>
          <a:xfrm>
            <a:off x="682754" y="3659024"/>
            <a:ext cx="344189" cy="288855"/>
            <a:chOff x="682754" y="3659024"/>
            <a:chExt cx="344189" cy="288855"/>
          </a:xfrm>
          <a:noFill/>
        </p:grpSpPr>
        <p:grpSp>
          <p:nvGrpSpPr>
            <p:cNvPr id="1590" name="Gráfico 17">
              <a:extLst>
                <a:ext uri="{FF2B5EF4-FFF2-40B4-BE49-F238E27FC236}">
                  <a16:creationId xmlns:a16="http://schemas.microsoft.com/office/drawing/2014/main" id="{6CAB12D9-8FBB-7390-7D2B-0EBAFC1815A7}"/>
                </a:ext>
              </a:extLst>
            </p:cNvPr>
            <p:cNvGrpSpPr/>
            <p:nvPr/>
          </p:nvGrpSpPr>
          <p:grpSpPr>
            <a:xfrm>
              <a:off x="715261" y="3730154"/>
              <a:ext cx="279175" cy="189503"/>
              <a:chOff x="715261" y="3730154"/>
              <a:chExt cx="279175" cy="189503"/>
            </a:xfrm>
            <a:noFill/>
          </p:grpSpPr>
          <p:sp>
            <p:nvSpPr>
              <p:cNvPr id="1591" name="Forma livre: Forma 1590">
                <a:extLst>
                  <a:ext uri="{FF2B5EF4-FFF2-40B4-BE49-F238E27FC236}">
                    <a16:creationId xmlns:a16="http://schemas.microsoft.com/office/drawing/2014/main" id="{5FBD9C48-D828-B6EF-183D-DAAC332FB096}"/>
                  </a:ext>
                </a:extLst>
              </p:cNvPr>
              <p:cNvSpPr/>
              <p:nvPr/>
            </p:nvSpPr>
            <p:spPr>
              <a:xfrm>
                <a:off x="910400" y="3730154"/>
                <a:ext cx="84036" cy="189503"/>
              </a:xfrm>
              <a:custGeom>
                <a:avLst/>
                <a:gdLst>
                  <a:gd name="connsiteX0" fmla="*/ 0 w 84036"/>
                  <a:gd name="connsiteY0" fmla="*/ 0 h 189503"/>
                  <a:gd name="connsiteX1" fmla="*/ 63666 w 84036"/>
                  <a:gd name="connsiteY1" fmla="*/ 0 h 189503"/>
                  <a:gd name="connsiteX2" fmla="*/ 84037 w 84036"/>
                  <a:gd name="connsiteY2" fmla="*/ 20371 h 189503"/>
                  <a:gd name="connsiteX3" fmla="*/ 84037 w 84036"/>
                  <a:gd name="connsiteY3" fmla="*/ 189504 h 1895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4036" h="189503">
                    <a:moveTo>
                      <a:pt x="0" y="0"/>
                    </a:moveTo>
                    <a:lnTo>
                      <a:pt x="63666" y="0"/>
                    </a:lnTo>
                    <a:cubicBezTo>
                      <a:pt x="74887" y="0"/>
                      <a:pt x="84037" y="9150"/>
                      <a:pt x="84037" y="20371"/>
                    </a:cubicBezTo>
                    <a:lnTo>
                      <a:pt x="84037" y="189504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592" name="Forma livre: Forma 1591">
                <a:extLst>
                  <a:ext uri="{FF2B5EF4-FFF2-40B4-BE49-F238E27FC236}">
                    <a16:creationId xmlns:a16="http://schemas.microsoft.com/office/drawing/2014/main" id="{17AF0E01-D4EF-14AE-94E0-953C67DFCF08}"/>
                  </a:ext>
                </a:extLst>
              </p:cNvPr>
              <p:cNvSpPr/>
              <p:nvPr/>
            </p:nvSpPr>
            <p:spPr>
              <a:xfrm>
                <a:off x="715261" y="3730202"/>
                <a:ext cx="83940" cy="167784"/>
              </a:xfrm>
              <a:custGeom>
                <a:avLst/>
                <a:gdLst>
                  <a:gd name="connsiteX0" fmla="*/ 0 w 83940"/>
                  <a:gd name="connsiteY0" fmla="*/ 167784 h 167784"/>
                  <a:gd name="connsiteX1" fmla="*/ 0 w 83940"/>
                  <a:gd name="connsiteY1" fmla="*/ 20371 h 167784"/>
                  <a:gd name="connsiteX2" fmla="*/ 20371 w 83940"/>
                  <a:gd name="connsiteY2" fmla="*/ 0 h 167784"/>
                  <a:gd name="connsiteX3" fmla="*/ 83940 w 83940"/>
                  <a:gd name="connsiteY3" fmla="*/ 0 h 1677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3940" h="167784">
                    <a:moveTo>
                      <a:pt x="0" y="167784"/>
                    </a:moveTo>
                    <a:lnTo>
                      <a:pt x="0" y="20371"/>
                    </a:lnTo>
                    <a:cubicBezTo>
                      <a:pt x="0" y="9150"/>
                      <a:pt x="9150" y="0"/>
                      <a:pt x="20371" y="0"/>
                    </a:cubicBezTo>
                    <a:lnTo>
                      <a:pt x="83940" y="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593" name="Forma livre: Forma 1592">
              <a:extLst>
                <a:ext uri="{FF2B5EF4-FFF2-40B4-BE49-F238E27FC236}">
                  <a16:creationId xmlns:a16="http://schemas.microsoft.com/office/drawing/2014/main" id="{1C6281B2-E143-15F0-B74A-0FB4D0A4CB10}"/>
                </a:ext>
              </a:extLst>
            </p:cNvPr>
            <p:cNvSpPr/>
            <p:nvPr/>
          </p:nvSpPr>
          <p:spPr>
            <a:xfrm>
              <a:off x="682754" y="3920429"/>
              <a:ext cx="344189" cy="27450"/>
            </a:xfrm>
            <a:custGeom>
              <a:avLst/>
              <a:gdLst>
                <a:gd name="connsiteX0" fmla="*/ 0 w 344189"/>
                <a:gd name="connsiteY0" fmla="*/ 0 h 27450"/>
                <a:gd name="connsiteX1" fmla="*/ 24705 w 344189"/>
                <a:gd name="connsiteY1" fmla="*/ 27450 h 27450"/>
                <a:gd name="connsiteX2" fmla="*/ 319484 w 344189"/>
                <a:gd name="connsiteY2" fmla="*/ 27450 h 27450"/>
                <a:gd name="connsiteX3" fmla="*/ 344189 w 344189"/>
                <a:gd name="connsiteY3" fmla="*/ 0 h 27450"/>
                <a:gd name="connsiteX4" fmla="*/ 0 w 344189"/>
                <a:gd name="connsiteY4" fmla="*/ 0 h 27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4189" h="27450">
                  <a:moveTo>
                    <a:pt x="0" y="0"/>
                  </a:moveTo>
                  <a:cubicBezTo>
                    <a:pt x="0" y="0"/>
                    <a:pt x="5008" y="27450"/>
                    <a:pt x="24705" y="27450"/>
                  </a:cubicBezTo>
                  <a:lnTo>
                    <a:pt x="319484" y="27450"/>
                  </a:lnTo>
                  <a:cubicBezTo>
                    <a:pt x="339229" y="27450"/>
                    <a:pt x="344189" y="0"/>
                    <a:pt x="344189" y="0"/>
                  </a:cubicBezTo>
                  <a:lnTo>
                    <a:pt x="0" y="0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594" name="Gráfico 17">
              <a:extLst>
                <a:ext uri="{FF2B5EF4-FFF2-40B4-BE49-F238E27FC236}">
                  <a16:creationId xmlns:a16="http://schemas.microsoft.com/office/drawing/2014/main" id="{3606808D-3195-C472-8EDC-E01430B7081C}"/>
                </a:ext>
              </a:extLst>
            </p:cNvPr>
            <p:cNvGrpSpPr/>
            <p:nvPr/>
          </p:nvGrpSpPr>
          <p:grpSpPr>
            <a:xfrm>
              <a:off x="780179" y="3659024"/>
              <a:ext cx="149339" cy="178234"/>
              <a:chOff x="780179" y="3659024"/>
              <a:chExt cx="149339" cy="178234"/>
            </a:xfrm>
            <a:noFill/>
          </p:grpSpPr>
          <p:sp>
            <p:nvSpPr>
              <p:cNvPr id="1595" name="Forma livre: Forma 1594">
                <a:extLst>
                  <a:ext uri="{FF2B5EF4-FFF2-40B4-BE49-F238E27FC236}">
                    <a16:creationId xmlns:a16="http://schemas.microsoft.com/office/drawing/2014/main" id="{1477836A-72CD-F6DD-057C-75198B414F2E}"/>
                  </a:ext>
                </a:extLst>
              </p:cNvPr>
              <p:cNvSpPr/>
              <p:nvPr/>
            </p:nvSpPr>
            <p:spPr>
              <a:xfrm>
                <a:off x="821306" y="3659024"/>
                <a:ext cx="67133" cy="178234"/>
              </a:xfrm>
              <a:custGeom>
                <a:avLst/>
                <a:gdLst>
                  <a:gd name="connsiteX0" fmla="*/ 33567 w 67133"/>
                  <a:gd name="connsiteY0" fmla="*/ 0 h 178234"/>
                  <a:gd name="connsiteX1" fmla="*/ 0 w 67133"/>
                  <a:gd name="connsiteY1" fmla="*/ 50326 h 178234"/>
                  <a:gd name="connsiteX2" fmla="*/ 0 w 67133"/>
                  <a:gd name="connsiteY2" fmla="*/ 178235 h 178234"/>
                  <a:gd name="connsiteX3" fmla="*/ 67133 w 67133"/>
                  <a:gd name="connsiteY3" fmla="*/ 178235 h 178234"/>
                  <a:gd name="connsiteX4" fmla="*/ 67133 w 67133"/>
                  <a:gd name="connsiteY4" fmla="*/ 50326 h 178234"/>
                  <a:gd name="connsiteX5" fmla="*/ 33567 w 67133"/>
                  <a:gd name="connsiteY5" fmla="*/ 0 h 1782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67133" h="178234">
                    <a:moveTo>
                      <a:pt x="33567" y="0"/>
                    </a:moveTo>
                    <a:cubicBezTo>
                      <a:pt x="33567" y="0"/>
                      <a:pt x="0" y="35397"/>
                      <a:pt x="0" y="50326"/>
                    </a:cubicBezTo>
                    <a:lnTo>
                      <a:pt x="0" y="178235"/>
                    </a:lnTo>
                    <a:lnTo>
                      <a:pt x="67133" y="178235"/>
                    </a:lnTo>
                    <a:lnTo>
                      <a:pt x="67133" y="50326"/>
                    </a:lnTo>
                    <a:cubicBezTo>
                      <a:pt x="67133" y="35348"/>
                      <a:pt x="33567" y="0"/>
                      <a:pt x="33567" y="0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1596" name="Gráfico 17">
                <a:extLst>
                  <a:ext uri="{FF2B5EF4-FFF2-40B4-BE49-F238E27FC236}">
                    <a16:creationId xmlns:a16="http://schemas.microsoft.com/office/drawing/2014/main" id="{D11EBF18-F2E4-E227-21CE-B81EC731744C}"/>
                  </a:ext>
                </a:extLst>
              </p:cNvPr>
              <p:cNvGrpSpPr/>
              <p:nvPr/>
            </p:nvGrpSpPr>
            <p:grpSpPr>
              <a:xfrm>
                <a:off x="780179" y="3740171"/>
                <a:ext cx="149339" cy="88370"/>
                <a:chOff x="780179" y="3740171"/>
                <a:chExt cx="149339" cy="88370"/>
              </a:xfrm>
              <a:noFill/>
            </p:grpSpPr>
            <p:sp>
              <p:nvSpPr>
                <p:cNvPr id="1597" name="Forma livre: Forma 1596">
                  <a:extLst>
                    <a:ext uri="{FF2B5EF4-FFF2-40B4-BE49-F238E27FC236}">
                      <a16:creationId xmlns:a16="http://schemas.microsoft.com/office/drawing/2014/main" id="{4D551CDA-06B3-81BE-611B-C33C0E39A1D1}"/>
                    </a:ext>
                  </a:extLst>
                </p:cNvPr>
                <p:cNvSpPr/>
                <p:nvPr/>
              </p:nvSpPr>
              <p:spPr>
                <a:xfrm>
                  <a:off x="780179" y="3740171"/>
                  <a:ext cx="41079" cy="88370"/>
                </a:xfrm>
                <a:custGeom>
                  <a:avLst/>
                  <a:gdLst>
                    <a:gd name="connsiteX0" fmla="*/ 41079 w 41079"/>
                    <a:gd name="connsiteY0" fmla="*/ 0 h 88370"/>
                    <a:gd name="connsiteX1" fmla="*/ 12569 w 41079"/>
                    <a:gd name="connsiteY1" fmla="*/ 42283 h 88370"/>
                    <a:gd name="connsiteX2" fmla="*/ 2456 w 41079"/>
                    <a:gd name="connsiteY2" fmla="*/ 52493 h 88370"/>
                    <a:gd name="connsiteX3" fmla="*/ 0 w 41079"/>
                    <a:gd name="connsiteY3" fmla="*/ 65881 h 88370"/>
                    <a:gd name="connsiteX4" fmla="*/ 0 w 41079"/>
                    <a:gd name="connsiteY4" fmla="*/ 88371 h 88370"/>
                    <a:gd name="connsiteX5" fmla="*/ 38719 w 41079"/>
                    <a:gd name="connsiteY5" fmla="*/ 88371 h 8837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41079" h="88370">
                      <a:moveTo>
                        <a:pt x="41079" y="0"/>
                      </a:moveTo>
                      <a:cubicBezTo>
                        <a:pt x="41079" y="9102"/>
                        <a:pt x="31785" y="26824"/>
                        <a:pt x="12569" y="42283"/>
                      </a:cubicBezTo>
                      <a:cubicBezTo>
                        <a:pt x="8813" y="45317"/>
                        <a:pt x="4912" y="48496"/>
                        <a:pt x="2456" y="52493"/>
                      </a:cubicBezTo>
                      <a:cubicBezTo>
                        <a:pt x="193" y="56249"/>
                        <a:pt x="0" y="61402"/>
                        <a:pt x="0" y="65881"/>
                      </a:cubicBezTo>
                      <a:lnTo>
                        <a:pt x="0" y="88371"/>
                      </a:lnTo>
                      <a:lnTo>
                        <a:pt x="38719" y="88371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598" name="Forma livre: Forma 1597">
                  <a:extLst>
                    <a:ext uri="{FF2B5EF4-FFF2-40B4-BE49-F238E27FC236}">
                      <a16:creationId xmlns:a16="http://schemas.microsoft.com/office/drawing/2014/main" id="{3172D9FE-34E9-73ED-BBDB-9D5028857A92}"/>
                    </a:ext>
                  </a:extLst>
                </p:cNvPr>
                <p:cNvSpPr/>
                <p:nvPr/>
              </p:nvSpPr>
              <p:spPr>
                <a:xfrm>
                  <a:off x="888439" y="3740171"/>
                  <a:ext cx="41079" cy="88370"/>
                </a:xfrm>
                <a:custGeom>
                  <a:avLst/>
                  <a:gdLst>
                    <a:gd name="connsiteX0" fmla="*/ 0 w 41079"/>
                    <a:gd name="connsiteY0" fmla="*/ 0 h 88370"/>
                    <a:gd name="connsiteX1" fmla="*/ 28510 w 41079"/>
                    <a:gd name="connsiteY1" fmla="*/ 42283 h 88370"/>
                    <a:gd name="connsiteX2" fmla="*/ 38623 w 41079"/>
                    <a:gd name="connsiteY2" fmla="*/ 52493 h 88370"/>
                    <a:gd name="connsiteX3" fmla="*/ 41079 w 41079"/>
                    <a:gd name="connsiteY3" fmla="*/ 65881 h 88370"/>
                    <a:gd name="connsiteX4" fmla="*/ 41079 w 41079"/>
                    <a:gd name="connsiteY4" fmla="*/ 88371 h 88370"/>
                    <a:gd name="connsiteX5" fmla="*/ 2360 w 41079"/>
                    <a:gd name="connsiteY5" fmla="*/ 88371 h 8837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41079" h="88370">
                      <a:moveTo>
                        <a:pt x="0" y="0"/>
                      </a:moveTo>
                      <a:cubicBezTo>
                        <a:pt x="0" y="9102"/>
                        <a:pt x="9295" y="26824"/>
                        <a:pt x="28510" y="42283"/>
                      </a:cubicBezTo>
                      <a:cubicBezTo>
                        <a:pt x="32266" y="45317"/>
                        <a:pt x="36167" y="48496"/>
                        <a:pt x="38623" y="52493"/>
                      </a:cubicBezTo>
                      <a:cubicBezTo>
                        <a:pt x="40887" y="56249"/>
                        <a:pt x="41079" y="61402"/>
                        <a:pt x="41079" y="65881"/>
                      </a:cubicBezTo>
                      <a:lnTo>
                        <a:pt x="41079" y="88371"/>
                      </a:lnTo>
                      <a:lnTo>
                        <a:pt x="2360" y="88371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1599" name="Forma livre: Forma 1598">
                <a:extLst>
                  <a:ext uri="{FF2B5EF4-FFF2-40B4-BE49-F238E27FC236}">
                    <a16:creationId xmlns:a16="http://schemas.microsoft.com/office/drawing/2014/main" id="{71028051-1F8C-E246-18C2-C1060ACEF951}"/>
                  </a:ext>
                </a:extLst>
              </p:cNvPr>
              <p:cNvSpPr/>
              <p:nvPr/>
            </p:nvSpPr>
            <p:spPr>
              <a:xfrm>
                <a:off x="842593" y="3714936"/>
                <a:ext cx="24560" cy="5682"/>
              </a:xfrm>
              <a:custGeom>
                <a:avLst/>
                <a:gdLst>
                  <a:gd name="connsiteX0" fmla="*/ 24561 w 24560"/>
                  <a:gd name="connsiteY0" fmla="*/ 5683 h 5682"/>
                  <a:gd name="connsiteX1" fmla="*/ 12280 w 24560"/>
                  <a:gd name="connsiteY1" fmla="*/ 0 h 5682"/>
                  <a:gd name="connsiteX2" fmla="*/ 0 w 24560"/>
                  <a:gd name="connsiteY2" fmla="*/ 5683 h 56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4560" h="5682">
                    <a:moveTo>
                      <a:pt x="24561" y="5683"/>
                    </a:moveTo>
                    <a:cubicBezTo>
                      <a:pt x="22538" y="2360"/>
                      <a:pt x="17819" y="0"/>
                      <a:pt x="12280" y="0"/>
                    </a:cubicBezTo>
                    <a:cubicBezTo>
                      <a:pt x="6742" y="0"/>
                      <a:pt x="2023" y="2360"/>
                      <a:pt x="0" y="5683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600" name="Gráfico 17">
              <a:extLst>
                <a:ext uri="{FF2B5EF4-FFF2-40B4-BE49-F238E27FC236}">
                  <a16:creationId xmlns:a16="http://schemas.microsoft.com/office/drawing/2014/main" id="{1B1B7A2D-82B6-7AA8-A1F2-E07C65C4ED09}"/>
                </a:ext>
              </a:extLst>
            </p:cNvPr>
            <p:cNvGrpSpPr/>
            <p:nvPr/>
          </p:nvGrpSpPr>
          <p:grpSpPr>
            <a:xfrm>
              <a:off x="747768" y="3839330"/>
              <a:ext cx="214161" cy="53696"/>
              <a:chOff x="747768" y="3839330"/>
              <a:chExt cx="214161" cy="53696"/>
            </a:xfrm>
            <a:noFill/>
          </p:grpSpPr>
          <p:grpSp>
            <p:nvGrpSpPr>
              <p:cNvPr id="1601" name="Gráfico 17">
                <a:extLst>
                  <a:ext uri="{FF2B5EF4-FFF2-40B4-BE49-F238E27FC236}">
                    <a16:creationId xmlns:a16="http://schemas.microsoft.com/office/drawing/2014/main" id="{DABEB6D0-D26D-6C04-C4DA-5E88321DC9C8}"/>
                  </a:ext>
                </a:extLst>
              </p:cNvPr>
              <p:cNvGrpSpPr/>
              <p:nvPr/>
            </p:nvGrpSpPr>
            <p:grpSpPr>
              <a:xfrm>
                <a:off x="868357" y="3839330"/>
                <a:ext cx="93572" cy="53696"/>
                <a:chOff x="868357" y="3839330"/>
                <a:chExt cx="93572" cy="53696"/>
              </a:xfrm>
              <a:noFill/>
            </p:grpSpPr>
            <p:sp>
              <p:nvSpPr>
                <p:cNvPr id="1602" name="Forma livre: Forma 1601">
                  <a:extLst>
                    <a:ext uri="{FF2B5EF4-FFF2-40B4-BE49-F238E27FC236}">
                      <a16:creationId xmlns:a16="http://schemas.microsoft.com/office/drawing/2014/main" id="{F537A46F-02AA-83B5-8FF3-E4990BE186B2}"/>
                    </a:ext>
                  </a:extLst>
                </p:cNvPr>
                <p:cNvSpPr/>
                <p:nvPr/>
              </p:nvSpPr>
              <p:spPr>
                <a:xfrm>
                  <a:off x="868357" y="3839330"/>
                  <a:ext cx="21334" cy="53696"/>
                </a:xfrm>
                <a:custGeom>
                  <a:avLst/>
                  <a:gdLst>
                    <a:gd name="connsiteX0" fmla="*/ 0 w 21334"/>
                    <a:gd name="connsiteY0" fmla="*/ 0 h 53696"/>
                    <a:gd name="connsiteX1" fmla="*/ 21334 w 21334"/>
                    <a:gd name="connsiteY1" fmla="*/ 53697 h 5369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1334" h="53696">
                      <a:moveTo>
                        <a:pt x="0" y="0"/>
                      </a:moveTo>
                      <a:cubicBezTo>
                        <a:pt x="0" y="0"/>
                        <a:pt x="867" y="45269"/>
                        <a:pt x="21334" y="53697"/>
                      </a:cubicBez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603" name="Forma livre: Forma 1602">
                  <a:extLst>
                    <a:ext uri="{FF2B5EF4-FFF2-40B4-BE49-F238E27FC236}">
                      <a16:creationId xmlns:a16="http://schemas.microsoft.com/office/drawing/2014/main" id="{F51D4B65-B79B-2CBA-421F-7ED759A90F5D}"/>
                    </a:ext>
                  </a:extLst>
                </p:cNvPr>
                <p:cNvSpPr/>
                <p:nvPr/>
              </p:nvSpPr>
              <p:spPr>
                <a:xfrm>
                  <a:off x="911507" y="3855827"/>
                  <a:ext cx="50422" cy="24678"/>
                </a:xfrm>
                <a:custGeom>
                  <a:avLst/>
                  <a:gdLst>
                    <a:gd name="connsiteX0" fmla="*/ 50422 w 50422"/>
                    <a:gd name="connsiteY0" fmla="*/ 24678 h 24678"/>
                    <a:gd name="connsiteX1" fmla="*/ 42380 w 50422"/>
                    <a:gd name="connsiteY1" fmla="*/ 7052 h 24678"/>
                    <a:gd name="connsiteX2" fmla="*/ 23598 w 50422"/>
                    <a:gd name="connsiteY2" fmla="*/ 21 h 24678"/>
                    <a:gd name="connsiteX3" fmla="*/ 0 w 50422"/>
                    <a:gd name="connsiteY3" fmla="*/ 18418 h 246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50422" h="24678">
                      <a:moveTo>
                        <a:pt x="50422" y="24678"/>
                      </a:moveTo>
                      <a:cubicBezTo>
                        <a:pt x="50133" y="17695"/>
                        <a:pt x="47099" y="11483"/>
                        <a:pt x="42380" y="7052"/>
                      </a:cubicBezTo>
                      <a:cubicBezTo>
                        <a:pt x="37516" y="2429"/>
                        <a:pt x="30821" y="-268"/>
                        <a:pt x="23598" y="21"/>
                      </a:cubicBezTo>
                      <a:cubicBezTo>
                        <a:pt x="12329" y="503"/>
                        <a:pt x="3034" y="8160"/>
                        <a:pt x="0" y="18418"/>
                      </a:cubicBez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604" name="Forma livre: Forma 1603">
                  <a:extLst>
                    <a:ext uri="{FF2B5EF4-FFF2-40B4-BE49-F238E27FC236}">
                      <a16:creationId xmlns:a16="http://schemas.microsoft.com/office/drawing/2014/main" id="{A49F195C-AA27-B1A4-FF95-67F7C6D733FD}"/>
                    </a:ext>
                  </a:extLst>
                </p:cNvPr>
                <p:cNvSpPr/>
                <p:nvPr/>
              </p:nvSpPr>
              <p:spPr>
                <a:xfrm>
                  <a:off x="888941" y="3872847"/>
                  <a:ext cx="30512" cy="20131"/>
                </a:xfrm>
                <a:custGeom>
                  <a:avLst/>
                  <a:gdLst>
                    <a:gd name="connsiteX0" fmla="*/ 30513 w 30512"/>
                    <a:gd name="connsiteY0" fmla="*/ 11029 h 20131"/>
                    <a:gd name="connsiteX1" fmla="*/ 23096 w 30512"/>
                    <a:gd name="connsiteY1" fmla="*/ 1927 h 20131"/>
                    <a:gd name="connsiteX2" fmla="*/ 11008 w 30512"/>
                    <a:gd name="connsiteY2" fmla="*/ 675 h 20131"/>
                    <a:gd name="connsiteX3" fmla="*/ 702 w 30512"/>
                    <a:gd name="connsiteY3" fmla="*/ 20131 h 2013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30512" h="20131">
                      <a:moveTo>
                        <a:pt x="30513" y="11029"/>
                      </a:moveTo>
                      <a:cubicBezTo>
                        <a:pt x="29260" y="6984"/>
                        <a:pt x="26564" y="3806"/>
                        <a:pt x="23096" y="1927"/>
                      </a:cubicBezTo>
                      <a:cubicBezTo>
                        <a:pt x="19532" y="-47"/>
                        <a:pt x="15198" y="-577"/>
                        <a:pt x="11008" y="675"/>
                      </a:cubicBezTo>
                      <a:cubicBezTo>
                        <a:pt x="2773" y="3180"/>
                        <a:pt x="-1850" y="11896"/>
                        <a:pt x="702" y="20131"/>
                      </a:cubicBez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1605" name="Gráfico 17">
                <a:extLst>
                  <a:ext uri="{FF2B5EF4-FFF2-40B4-BE49-F238E27FC236}">
                    <a16:creationId xmlns:a16="http://schemas.microsoft.com/office/drawing/2014/main" id="{B50DE457-365E-046F-4BBD-4DA0C57A6E4D}"/>
                  </a:ext>
                </a:extLst>
              </p:cNvPr>
              <p:cNvGrpSpPr/>
              <p:nvPr/>
            </p:nvGrpSpPr>
            <p:grpSpPr>
              <a:xfrm>
                <a:off x="747768" y="3839330"/>
                <a:ext cx="93572" cy="53696"/>
                <a:chOff x="747768" y="3839330"/>
                <a:chExt cx="93572" cy="53696"/>
              </a:xfrm>
              <a:noFill/>
            </p:grpSpPr>
            <p:sp>
              <p:nvSpPr>
                <p:cNvPr id="1606" name="Forma livre: Forma 1605">
                  <a:extLst>
                    <a:ext uri="{FF2B5EF4-FFF2-40B4-BE49-F238E27FC236}">
                      <a16:creationId xmlns:a16="http://schemas.microsoft.com/office/drawing/2014/main" id="{7594E20B-6018-3EB8-0BD1-302495B04CA4}"/>
                    </a:ext>
                  </a:extLst>
                </p:cNvPr>
                <p:cNvSpPr/>
                <p:nvPr/>
              </p:nvSpPr>
              <p:spPr>
                <a:xfrm>
                  <a:off x="820006" y="3839330"/>
                  <a:ext cx="21334" cy="53696"/>
                </a:xfrm>
                <a:custGeom>
                  <a:avLst/>
                  <a:gdLst>
                    <a:gd name="connsiteX0" fmla="*/ 21334 w 21334"/>
                    <a:gd name="connsiteY0" fmla="*/ 0 h 53696"/>
                    <a:gd name="connsiteX1" fmla="*/ 0 w 21334"/>
                    <a:gd name="connsiteY1" fmla="*/ 53697 h 5369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1334" h="53696">
                      <a:moveTo>
                        <a:pt x="21334" y="0"/>
                      </a:moveTo>
                      <a:cubicBezTo>
                        <a:pt x="21334" y="0"/>
                        <a:pt x="20853" y="47244"/>
                        <a:pt x="0" y="53697"/>
                      </a:cubicBez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607" name="Forma livre: Forma 1606">
                  <a:extLst>
                    <a:ext uri="{FF2B5EF4-FFF2-40B4-BE49-F238E27FC236}">
                      <a16:creationId xmlns:a16="http://schemas.microsoft.com/office/drawing/2014/main" id="{3663544F-DC17-60D8-EC2E-354A1CB4C1E2}"/>
                    </a:ext>
                  </a:extLst>
                </p:cNvPr>
                <p:cNvSpPr/>
                <p:nvPr/>
              </p:nvSpPr>
              <p:spPr>
                <a:xfrm>
                  <a:off x="747768" y="3855827"/>
                  <a:ext cx="35203" cy="24678"/>
                </a:xfrm>
                <a:custGeom>
                  <a:avLst/>
                  <a:gdLst>
                    <a:gd name="connsiteX0" fmla="*/ 0 w 35203"/>
                    <a:gd name="connsiteY0" fmla="*/ 24678 h 24678"/>
                    <a:gd name="connsiteX1" fmla="*/ 8042 w 35203"/>
                    <a:gd name="connsiteY1" fmla="*/ 7052 h 24678"/>
                    <a:gd name="connsiteX2" fmla="*/ 26824 w 35203"/>
                    <a:gd name="connsiteY2" fmla="*/ 21 h 24678"/>
                    <a:gd name="connsiteX3" fmla="*/ 35204 w 35203"/>
                    <a:gd name="connsiteY3" fmla="*/ 1803 h 246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35203" h="24678">
                      <a:moveTo>
                        <a:pt x="0" y="24678"/>
                      </a:moveTo>
                      <a:cubicBezTo>
                        <a:pt x="289" y="17695"/>
                        <a:pt x="3323" y="11483"/>
                        <a:pt x="8042" y="7052"/>
                      </a:cubicBezTo>
                      <a:cubicBezTo>
                        <a:pt x="12906" y="2429"/>
                        <a:pt x="19601" y="-268"/>
                        <a:pt x="26824" y="21"/>
                      </a:cubicBezTo>
                      <a:cubicBezTo>
                        <a:pt x="29810" y="166"/>
                        <a:pt x="32603" y="792"/>
                        <a:pt x="35204" y="1803"/>
                      </a:cubicBez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608" name="Forma livre: Forma 1607">
                  <a:extLst>
                    <a:ext uri="{FF2B5EF4-FFF2-40B4-BE49-F238E27FC236}">
                      <a16:creationId xmlns:a16="http://schemas.microsoft.com/office/drawing/2014/main" id="{96CA38E7-5012-7C3C-B2FC-5E4BE5FD1A34}"/>
                    </a:ext>
                  </a:extLst>
                </p:cNvPr>
                <p:cNvSpPr/>
                <p:nvPr/>
              </p:nvSpPr>
              <p:spPr>
                <a:xfrm>
                  <a:off x="790244" y="3872847"/>
                  <a:ext cx="30512" cy="20131"/>
                </a:xfrm>
                <a:custGeom>
                  <a:avLst/>
                  <a:gdLst>
                    <a:gd name="connsiteX0" fmla="*/ 0 w 30512"/>
                    <a:gd name="connsiteY0" fmla="*/ 11029 h 20131"/>
                    <a:gd name="connsiteX1" fmla="*/ 7416 w 30512"/>
                    <a:gd name="connsiteY1" fmla="*/ 1927 h 20131"/>
                    <a:gd name="connsiteX2" fmla="*/ 19504 w 30512"/>
                    <a:gd name="connsiteY2" fmla="*/ 675 h 20131"/>
                    <a:gd name="connsiteX3" fmla="*/ 29810 w 30512"/>
                    <a:gd name="connsiteY3" fmla="*/ 20131 h 2013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30512" h="20131">
                      <a:moveTo>
                        <a:pt x="0" y="11029"/>
                      </a:moveTo>
                      <a:cubicBezTo>
                        <a:pt x="1252" y="6984"/>
                        <a:pt x="3949" y="3806"/>
                        <a:pt x="7416" y="1927"/>
                      </a:cubicBezTo>
                      <a:cubicBezTo>
                        <a:pt x="10980" y="-47"/>
                        <a:pt x="15314" y="-577"/>
                        <a:pt x="19504" y="675"/>
                      </a:cubicBezTo>
                      <a:cubicBezTo>
                        <a:pt x="27739" y="3180"/>
                        <a:pt x="32363" y="11896"/>
                        <a:pt x="29810" y="20131"/>
                      </a:cubicBez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</p:grpSp>
      <p:grpSp>
        <p:nvGrpSpPr>
          <p:cNvPr id="1609" name="Gráfico 17">
            <a:extLst>
              <a:ext uri="{FF2B5EF4-FFF2-40B4-BE49-F238E27FC236}">
                <a16:creationId xmlns:a16="http://schemas.microsoft.com/office/drawing/2014/main" id="{B7296191-B448-1593-826F-758381E8916D}"/>
              </a:ext>
            </a:extLst>
          </p:cNvPr>
          <p:cNvGrpSpPr/>
          <p:nvPr/>
        </p:nvGrpSpPr>
        <p:grpSpPr>
          <a:xfrm>
            <a:off x="1347005" y="4203697"/>
            <a:ext cx="260923" cy="280282"/>
            <a:chOff x="1347005" y="4203697"/>
            <a:chExt cx="260923" cy="280282"/>
          </a:xfrm>
          <a:noFill/>
        </p:grpSpPr>
        <p:grpSp>
          <p:nvGrpSpPr>
            <p:cNvPr id="1610" name="Gráfico 17">
              <a:extLst>
                <a:ext uri="{FF2B5EF4-FFF2-40B4-BE49-F238E27FC236}">
                  <a16:creationId xmlns:a16="http://schemas.microsoft.com/office/drawing/2014/main" id="{7B7E226D-135C-881C-FA1B-CD90F19024A3}"/>
                </a:ext>
              </a:extLst>
            </p:cNvPr>
            <p:cNvGrpSpPr/>
            <p:nvPr/>
          </p:nvGrpSpPr>
          <p:grpSpPr>
            <a:xfrm>
              <a:off x="1420237" y="4203697"/>
              <a:ext cx="114458" cy="152325"/>
              <a:chOff x="1420237" y="4203697"/>
              <a:chExt cx="114458" cy="152325"/>
            </a:xfrm>
            <a:noFill/>
          </p:grpSpPr>
          <p:sp>
            <p:nvSpPr>
              <p:cNvPr id="1611" name="Forma livre: Forma 1610">
                <a:extLst>
                  <a:ext uri="{FF2B5EF4-FFF2-40B4-BE49-F238E27FC236}">
                    <a16:creationId xmlns:a16="http://schemas.microsoft.com/office/drawing/2014/main" id="{53C53250-F579-7BA6-4122-B0609919A8AE}"/>
                  </a:ext>
                </a:extLst>
              </p:cNvPr>
              <p:cNvSpPr/>
              <p:nvPr/>
            </p:nvSpPr>
            <p:spPr>
              <a:xfrm>
                <a:off x="1420237" y="4203697"/>
                <a:ext cx="114458" cy="152325"/>
              </a:xfrm>
              <a:custGeom>
                <a:avLst/>
                <a:gdLst>
                  <a:gd name="connsiteX0" fmla="*/ 57229 w 114458"/>
                  <a:gd name="connsiteY0" fmla="*/ 0 h 152325"/>
                  <a:gd name="connsiteX1" fmla="*/ 1173 w 114458"/>
                  <a:gd name="connsiteY1" fmla="*/ 76187 h 152325"/>
                  <a:gd name="connsiteX2" fmla="*/ 57229 w 114458"/>
                  <a:gd name="connsiteY2" fmla="*/ 152326 h 152325"/>
                  <a:gd name="connsiteX3" fmla="*/ 113286 w 114458"/>
                  <a:gd name="connsiteY3" fmla="*/ 76187 h 152325"/>
                  <a:gd name="connsiteX4" fmla="*/ 57229 w 114458"/>
                  <a:gd name="connsiteY4" fmla="*/ 0 h 1523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14458" h="152325">
                    <a:moveTo>
                      <a:pt x="57229" y="0"/>
                    </a:moveTo>
                    <a:cubicBezTo>
                      <a:pt x="354" y="0"/>
                      <a:pt x="-2776" y="34385"/>
                      <a:pt x="1173" y="76187"/>
                    </a:cubicBezTo>
                    <a:cubicBezTo>
                      <a:pt x="5170" y="118085"/>
                      <a:pt x="31465" y="152326"/>
                      <a:pt x="57229" y="152326"/>
                    </a:cubicBezTo>
                    <a:cubicBezTo>
                      <a:pt x="82994" y="152326"/>
                      <a:pt x="109289" y="118037"/>
                      <a:pt x="113286" y="76187"/>
                    </a:cubicBezTo>
                    <a:cubicBezTo>
                      <a:pt x="117235" y="34385"/>
                      <a:pt x="114105" y="0"/>
                      <a:pt x="57229" y="0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612" name="Forma livre: Forma 1611">
                <a:extLst>
                  <a:ext uri="{FF2B5EF4-FFF2-40B4-BE49-F238E27FC236}">
                    <a16:creationId xmlns:a16="http://schemas.microsoft.com/office/drawing/2014/main" id="{51D7A6A9-EF07-C4FD-7A6D-44FEA9357C10}"/>
                  </a:ext>
                </a:extLst>
              </p:cNvPr>
              <p:cNvSpPr/>
              <p:nvPr/>
            </p:nvSpPr>
            <p:spPr>
              <a:xfrm>
                <a:off x="1444719" y="4237456"/>
                <a:ext cx="49555" cy="28606"/>
              </a:xfrm>
              <a:custGeom>
                <a:avLst/>
                <a:gdLst>
                  <a:gd name="connsiteX0" fmla="*/ 49555 w 49555"/>
                  <a:gd name="connsiteY0" fmla="*/ 0 h 28606"/>
                  <a:gd name="connsiteX1" fmla="*/ 0 w 49555"/>
                  <a:gd name="connsiteY1" fmla="*/ 28606 h 286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9555" h="28606">
                    <a:moveTo>
                      <a:pt x="49555" y="0"/>
                    </a:moveTo>
                    <a:cubicBezTo>
                      <a:pt x="49555" y="0"/>
                      <a:pt x="43535" y="28606"/>
                      <a:pt x="0" y="28606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613" name="Forma livre: Forma 1612">
                <a:extLst>
                  <a:ext uri="{FF2B5EF4-FFF2-40B4-BE49-F238E27FC236}">
                    <a16:creationId xmlns:a16="http://schemas.microsoft.com/office/drawing/2014/main" id="{C1C1683E-B96E-A54E-7C1E-0A1EBB7D905C}"/>
                  </a:ext>
                </a:extLst>
              </p:cNvPr>
              <p:cNvSpPr/>
              <p:nvPr/>
            </p:nvSpPr>
            <p:spPr>
              <a:xfrm>
                <a:off x="1489314" y="4249014"/>
                <a:ext cx="43583" cy="19648"/>
              </a:xfrm>
              <a:custGeom>
                <a:avLst/>
                <a:gdLst>
                  <a:gd name="connsiteX0" fmla="*/ 0 w 43583"/>
                  <a:gd name="connsiteY0" fmla="*/ 0 h 19648"/>
                  <a:gd name="connsiteX1" fmla="*/ 43584 w 43583"/>
                  <a:gd name="connsiteY1" fmla="*/ 19649 h 196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3583" h="19648">
                    <a:moveTo>
                      <a:pt x="0" y="0"/>
                    </a:moveTo>
                    <a:cubicBezTo>
                      <a:pt x="0" y="0"/>
                      <a:pt x="19552" y="13388"/>
                      <a:pt x="43584" y="19649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614" name="Gráfico 17">
              <a:extLst>
                <a:ext uri="{FF2B5EF4-FFF2-40B4-BE49-F238E27FC236}">
                  <a16:creationId xmlns:a16="http://schemas.microsoft.com/office/drawing/2014/main" id="{B7A6CC7C-5C33-B412-FCC1-83AC2EC0D185}"/>
                </a:ext>
              </a:extLst>
            </p:cNvPr>
            <p:cNvGrpSpPr/>
            <p:nvPr/>
          </p:nvGrpSpPr>
          <p:grpSpPr>
            <a:xfrm>
              <a:off x="1347005" y="4368881"/>
              <a:ext cx="260923" cy="115098"/>
              <a:chOff x="1347005" y="4368881"/>
              <a:chExt cx="260923" cy="115098"/>
            </a:xfrm>
            <a:noFill/>
          </p:grpSpPr>
          <p:grpSp>
            <p:nvGrpSpPr>
              <p:cNvPr id="1615" name="Gráfico 17">
                <a:extLst>
                  <a:ext uri="{FF2B5EF4-FFF2-40B4-BE49-F238E27FC236}">
                    <a16:creationId xmlns:a16="http://schemas.microsoft.com/office/drawing/2014/main" id="{51B4F432-B450-EDAE-6BA5-A1CF004BEB50}"/>
                  </a:ext>
                </a:extLst>
              </p:cNvPr>
              <p:cNvGrpSpPr/>
              <p:nvPr/>
            </p:nvGrpSpPr>
            <p:grpSpPr>
              <a:xfrm>
                <a:off x="1460611" y="4421326"/>
                <a:ext cx="33710" cy="62654"/>
                <a:chOff x="1460611" y="4421326"/>
                <a:chExt cx="33710" cy="62654"/>
              </a:xfrm>
            </p:grpSpPr>
            <p:sp>
              <p:nvSpPr>
                <p:cNvPr id="1616" name="Forma livre: Forma 1615">
                  <a:extLst>
                    <a:ext uri="{FF2B5EF4-FFF2-40B4-BE49-F238E27FC236}">
                      <a16:creationId xmlns:a16="http://schemas.microsoft.com/office/drawing/2014/main" id="{9EA407AC-AC77-D21D-EA07-A497F15F0388}"/>
                    </a:ext>
                  </a:extLst>
                </p:cNvPr>
                <p:cNvSpPr/>
                <p:nvPr/>
              </p:nvSpPr>
              <p:spPr>
                <a:xfrm>
                  <a:off x="1460611" y="4421326"/>
                  <a:ext cx="7898" cy="62654"/>
                </a:xfrm>
                <a:custGeom>
                  <a:avLst/>
                  <a:gdLst>
                    <a:gd name="connsiteX0" fmla="*/ 7898 w 7898"/>
                    <a:gd name="connsiteY0" fmla="*/ 0 h 62654"/>
                    <a:gd name="connsiteX1" fmla="*/ 0 w 7898"/>
                    <a:gd name="connsiteY1" fmla="*/ 62654 h 6265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7898" h="62654">
                      <a:moveTo>
                        <a:pt x="7898" y="0"/>
                      </a:moveTo>
                      <a:lnTo>
                        <a:pt x="0" y="62654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617" name="Forma livre: Forma 1616">
                  <a:extLst>
                    <a:ext uri="{FF2B5EF4-FFF2-40B4-BE49-F238E27FC236}">
                      <a16:creationId xmlns:a16="http://schemas.microsoft.com/office/drawing/2014/main" id="{DD152FA2-A6A0-2182-10E6-2779AA762454}"/>
                    </a:ext>
                  </a:extLst>
                </p:cNvPr>
                <p:cNvSpPr/>
                <p:nvPr/>
              </p:nvSpPr>
              <p:spPr>
                <a:xfrm>
                  <a:off x="1486424" y="4421326"/>
                  <a:ext cx="7898" cy="62654"/>
                </a:xfrm>
                <a:custGeom>
                  <a:avLst/>
                  <a:gdLst>
                    <a:gd name="connsiteX0" fmla="*/ 0 w 7898"/>
                    <a:gd name="connsiteY0" fmla="*/ 0 h 62654"/>
                    <a:gd name="connsiteX1" fmla="*/ 7898 w 7898"/>
                    <a:gd name="connsiteY1" fmla="*/ 62654 h 6265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7898" h="62654">
                      <a:moveTo>
                        <a:pt x="0" y="0"/>
                      </a:moveTo>
                      <a:lnTo>
                        <a:pt x="7898" y="62654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1618" name="Gráfico 17">
                <a:extLst>
                  <a:ext uri="{FF2B5EF4-FFF2-40B4-BE49-F238E27FC236}">
                    <a16:creationId xmlns:a16="http://schemas.microsoft.com/office/drawing/2014/main" id="{61CA81F3-AFC7-516E-E2FD-04C6F3A5C8FA}"/>
                  </a:ext>
                </a:extLst>
              </p:cNvPr>
              <p:cNvGrpSpPr/>
              <p:nvPr/>
            </p:nvGrpSpPr>
            <p:grpSpPr>
              <a:xfrm>
                <a:off x="1347005" y="4368881"/>
                <a:ext cx="260923" cy="115098"/>
                <a:chOff x="1347005" y="4368881"/>
                <a:chExt cx="260923" cy="115098"/>
              </a:xfrm>
              <a:noFill/>
            </p:grpSpPr>
            <p:sp>
              <p:nvSpPr>
                <p:cNvPr id="1619" name="Forma livre: Forma 1618">
                  <a:extLst>
                    <a:ext uri="{FF2B5EF4-FFF2-40B4-BE49-F238E27FC236}">
                      <a16:creationId xmlns:a16="http://schemas.microsoft.com/office/drawing/2014/main" id="{D4303F21-B13D-8A38-2582-05BF2D87F0F6}"/>
                    </a:ext>
                  </a:extLst>
                </p:cNvPr>
                <p:cNvSpPr/>
                <p:nvPr/>
              </p:nvSpPr>
              <p:spPr>
                <a:xfrm>
                  <a:off x="1347005" y="4368881"/>
                  <a:ext cx="101036" cy="115098"/>
                </a:xfrm>
                <a:custGeom>
                  <a:avLst/>
                  <a:gdLst>
                    <a:gd name="connsiteX0" fmla="*/ 0 w 101036"/>
                    <a:gd name="connsiteY0" fmla="*/ 115099 h 115098"/>
                    <a:gd name="connsiteX1" fmla="*/ 4864 w 101036"/>
                    <a:gd name="connsiteY1" fmla="*/ 50422 h 115098"/>
                    <a:gd name="connsiteX2" fmla="*/ 31110 w 101036"/>
                    <a:gd name="connsiteY2" fmla="*/ 10739 h 115098"/>
                    <a:gd name="connsiteX3" fmla="*/ 79317 w 101036"/>
                    <a:gd name="connsiteY3" fmla="*/ 0 h 115098"/>
                    <a:gd name="connsiteX4" fmla="*/ 101037 w 101036"/>
                    <a:gd name="connsiteY4" fmla="*/ 43921 h 1150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01036" h="115098">
                      <a:moveTo>
                        <a:pt x="0" y="115099"/>
                      </a:moveTo>
                      <a:lnTo>
                        <a:pt x="4864" y="50422"/>
                      </a:lnTo>
                      <a:cubicBezTo>
                        <a:pt x="9680" y="14737"/>
                        <a:pt x="31110" y="10739"/>
                        <a:pt x="31110" y="10739"/>
                      </a:cubicBezTo>
                      <a:cubicBezTo>
                        <a:pt x="31110" y="10739"/>
                        <a:pt x="54467" y="4142"/>
                        <a:pt x="79317" y="0"/>
                      </a:cubicBezTo>
                      <a:lnTo>
                        <a:pt x="101037" y="43921"/>
                      </a:ln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620" name="Forma livre: Forma 1619">
                  <a:extLst>
                    <a:ext uri="{FF2B5EF4-FFF2-40B4-BE49-F238E27FC236}">
                      <a16:creationId xmlns:a16="http://schemas.microsoft.com/office/drawing/2014/main" id="{40401DE5-CD0C-0D3B-EE32-A7315584EA99}"/>
                    </a:ext>
                  </a:extLst>
                </p:cNvPr>
                <p:cNvSpPr/>
                <p:nvPr/>
              </p:nvSpPr>
              <p:spPr>
                <a:xfrm>
                  <a:off x="1506892" y="4368881"/>
                  <a:ext cx="101036" cy="115098"/>
                </a:xfrm>
                <a:custGeom>
                  <a:avLst/>
                  <a:gdLst>
                    <a:gd name="connsiteX0" fmla="*/ 101037 w 101036"/>
                    <a:gd name="connsiteY0" fmla="*/ 115099 h 115098"/>
                    <a:gd name="connsiteX1" fmla="*/ 96173 w 101036"/>
                    <a:gd name="connsiteY1" fmla="*/ 50422 h 115098"/>
                    <a:gd name="connsiteX2" fmla="*/ 69926 w 101036"/>
                    <a:gd name="connsiteY2" fmla="*/ 10739 h 115098"/>
                    <a:gd name="connsiteX3" fmla="*/ 21719 w 101036"/>
                    <a:gd name="connsiteY3" fmla="*/ 0 h 115098"/>
                    <a:gd name="connsiteX4" fmla="*/ 0 w 101036"/>
                    <a:gd name="connsiteY4" fmla="*/ 43921 h 1150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01036" h="115098">
                      <a:moveTo>
                        <a:pt x="101037" y="115099"/>
                      </a:moveTo>
                      <a:lnTo>
                        <a:pt x="96173" y="50422"/>
                      </a:lnTo>
                      <a:cubicBezTo>
                        <a:pt x="91357" y="14737"/>
                        <a:pt x="69926" y="10739"/>
                        <a:pt x="69926" y="10739"/>
                      </a:cubicBezTo>
                      <a:cubicBezTo>
                        <a:pt x="69926" y="10739"/>
                        <a:pt x="46569" y="4142"/>
                        <a:pt x="21719" y="0"/>
                      </a:cubicBezTo>
                      <a:lnTo>
                        <a:pt x="0" y="43921"/>
                      </a:ln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1621" name="Forma livre: Forma 1620">
                <a:extLst>
                  <a:ext uri="{FF2B5EF4-FFF2-40B4-BE49-F238E27FC236}">
                    <a16:creationId xmlns:a16="http://schemas.microsoft.com/office/drawing/2014/main" id="{53FC96E9-3993-A64D-2ED5-903A639FCFCC}"/>
                  </a:ext>
                </a:extLst>
              </p:cNvPr>
              <p:cNvSpPr/>
              <p:nvPr/>
            </p:nvSpPr>
            <p:spPr>
              <a:xfrm>
                <a:off x="1454784" y="4378850"/>
                <a:ext cx="45365" cy="51337"/>
              </a:xfrm>
              <a:custGeom>
                <a:avLst/>
                <a:gdLst>
                  <a:gd name="connsiteX0" fmla="*/ 22779 w 45365"/>
                  <a:gd name="connsiteY0" fmla="*/ 51337 h 51337"/>
                  <a:gd name="connsiteX1" fmla="*/ 0 w 45365"/>
                  <a:gd name="connsiteY1" fmla="*/ 25620 h 51337"/>
                  <a:gd name="connsiteX2" fmla="*/ 22635 w 45365"/>
                  <a:gd name="connsiteY2" fmla="*/ 0 h 51337"/>
                  <a:gd name="connsiteX3" fmla="*/ 22779 w 45365"/>
                  <a:gd name="connsiteY3" fmla="*/ 0 h 51337"/>
                  <a:gd name="connsiteX4" fmla="*/ 45365 w 45365"/>
                  <a:gd name="connsiteY4" fmla="*/ 25620 h 51337"/>
                  <a:gd name="connsiteX5" fmla="*/ 22779 w 45365"/>
                  <a:gd name="connsiteY5" fmla="*/ 51337 h 513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45365" h="51337">
                    <a:moveTo>
                      <a:pt x="22779" y="51337"/>
                    </a:moveTo>
                    <a:lnTo>
                      <a:pt x="0" y="25620"/>
                    </a:lnTo>
                    <a:lnTo>
                      <a:pt x="22635" y="0"/>
                    </a:lnTo>
                    <a:lnTo>
                      <a:pt x="22779" y="0"/>
                    </a:lnTo>
                    <a:lnTo>
                      <a:pt x="45365" y="25620"/>
                    </a:lnTo>
                    <a:lnTo>
                      <a:pt x="22779" y="51337"/>
                    </a:lnTo>
                    <a:close/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622" name="Gráfico 17">
            <a:extLst>
              <a:ext uri="{FF2B5EF4-FFF2-40B4-BE49-F238E27FC236}">
                <a16:creationId xmlns:a16="http://schemas.microsoft.com/office/drawing/2014/main" id="{AE296471-A883-D585-E888-F3461BF79B91}"/>
              </a:ext>
            </a:extLst>
          </p:cNvPr>
          <p:cNvGrpSpPr/>
          <p:nvPr/>
        </p:nvGrpSpPr>
        <p:grpSpPr>
          <a:xfrm>
            <a:off x="1983132" y="4202609"/>
            <a:ext cx="233906" cy="282430"/>
            <a:chOff x="1983132" y="4202609"/>
            <a:chExt cx="233906" cy="282430"/>
          </a:xfrm>
          <a:noFill/>
        </p:grpSpPr>
        <p:grpSp>
          <p:nvGrpSpPr>
            <p:cNvPr id="1623" name="Gráfico 17">
              <a:extLst>
                <a:ext uri="{FF2B5EF4-FFF2-40B4-BE49-F238E27FC236}">
                  <a16:creationId xmlns:a16="http://schemas.microsoft.com/office/drawing/2014/main" id="{4C807034-67AF-9162-021A-57C541C96F8E}"/>
                </a:ext>
              </a:extLst>
            </p:cNvPr>
            <p:cNvGrpSpPr/>
            <p:nvPr/>
          </p:nvGrpSpPr>
          <p:grpSpPr>
            <a:xfrm>
              <a:off x="2027437" y="4202609"/>
              <a:ext cx="145342" cy="148068"/>
              <a:chOff x="2027437" y="4202609"/>
              <a:chExt cx="145342" cy="148068"/>
            </a:xfrm>
            <a:noFill/>
          </p:grpSpPr>
          <p:sp>
            <p:nvSpPr>
              <p:cNvPr id="1624" name="Forma livre: Forma 1623">
                <a:extLst>
                  <a:ext uri="{FF2B5EF4-FFF2-40B4-BE49-F238E27FC236}">
                    <a16:creationId xmlns:a16="http://schemas.microsoft.com/office/drawing/2014/main" id="{D4F7E364-329C-FDBC-8556-058665DE60D7}"/>
                  </a:ext>
                </a:extLst>
              </p:cNvPr>
              <p:cNvSpPr/>
              <p:nvPr/>
            </p:nvSpPr>
            <p:spPr>
              <a:xfrm>
                <a:off x="2027437" y="4202609"/>
                <a:ext cx="145342" cy="136028"/>
              </a:xfrm>
              <a:custGeom>
                <a:avLst/>
                <a:gdLst>
                  <a:gd name="connsiteX0" fmla="*/ 145342 w 145342"/>
                  <a:gd name="connsiteY0" fmla="*/ 136029 h 136028"/>
                  <a:gd name="connsiteX1" fmla="*/ 145342 w 145342"/>
                  <a:gd name="connsiteY1" fmla="*/ 76216 h 136028"/>
                  <a:gd name="connsiteX2" fmla="*/ 73442 w 145342"/>
                  <a:gd name="connsiteY2" fmla="*/ 77 h 136028"/>
                  <a:gd name="connsiteX3" fmla="*/ 71901 w 145342"/>
                  <a:gd name="connsiteY3" fmla="*/ 77 h 136028"/>
                  <a:gd name="connsiteX4" fmla="*/ 0 w 145342"/>
                  <a:gd name="connsiteY4" fmla="*/ 76216 h 136028"/>
                  <a:gd name="connsiteX5" fmla="*/ 0 w 145342"/>
                  <a:gd name="connsiteY5" fmla="*/ 136029 h 1360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45342" h="136028">
                    <a:moveTo>
                      <a:pt x="145342" y="136029"/>
                    </a:moveTo>
                    <a:lnTo>
                      <a:pt x="145342" y="76216"/>
                    </a:lnTo>
                    <a:cubicBezTo>
                      <a:pt x="144283" y="-5413"/>
                      <a:pt x="73442" y="77"/>
                      <a:pt x="73442" y="77"/>
                    </a:cubicBezTo>
                    <a:lnTo>
                      <a:pt x="71901" y="77"/>
                    </a:lnTo>
                    <a:cubicBezTo>
                      <a:pt x="71901" y="77"/>
                      <a:pt x="1011" y="-5413"/>
                      <a:pt x="0" y="76216"/>
                    </a:cubicBezTo>
                    <a:lnTo>
                      <a:pt x="0" y="136029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625" name="Forma livre: Forma 1624">
                <a:extLst>
                  <a:ext uri="{FF2B5EF4-FFF2-40B4-BE49-F238E27FC236}">
                    <a16:creationId xmlns:a16="http://schemas.microsoft.com/office/drawing/2014/main" id="{855DFCBE-6727-7519-0D90-876C6BE8B42F}"/>
                  </a:ext>
                </a:extLst>
              </p:cNvPr>
              <p:cNvSpPr/>
              <p:nvPr/>
            </p:nvSpPr>
            <p:spPr>
              <a:xfrm>
                <a:off x="2030231" y="4246847"/>
                <a:ext cx="111676" cy="103829"/>
              </a:xfrm>
              <a:custGeom>
                <a:avLst/>
                <a:gdLst>
                  <a:gd name="connsiteX0" fmla="*/ 26680 w 111676"/>
                  <a:gd name="connsiteY0" fmla="*/ 36793 h 103829"/>
                  <a:gd name="connsiteX1" fmla="*/ 70408 w 111676"/>
                  <a:gd name="connsiteY1" fmla="*/ 103830 h 103829"/>
                  <a:gd name="connsiteX2" fmla="*/ 111632 w 111676"/>
                  <a:gd name="connsiteY2" fmla="*/ 36938 h 103829"/>
                  <a:gd name="connsiteX3" fmla="*/ 101567 w 111676"/>
                  <a:gd name="connsiteY3" fmla="*/ 0 h 103829"/>
                  <a:gd name="connsiteX4" fmla="*/ 0 w 111676"/>
                  <a:gd name="connsiteY4" fmla="*/ 33952 h 1038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11676" h="103829">
                    <a:moveTo>
                      <a:pt x="26680" y="36793"/>
                    </a:moveTo>
                    <a:cubicBezTo>
                      <a:pt x="26680" y="70793"/>
                      <a:pt x="47244" y="103830"/>
                      <a:pt x="70408" y="103830"/>
                    </a:cubicBezTo>
                    <a:cubicBezTo>
                      <a:pt x="93572" y="103830"/>
                      <a:pt x="111632" y="70889"/>
                      <a:pt x="111632" y="36938"/>
                    </a:cubicBezTo>
                    <a:cubicBezTo>
                      <a:pt x="111632" y="36938"/>
                      <a:pt x="112932" y="14592"/>
                      <a:pt x="101567" y="0"/>
                    </a:cubicBezTo>
                    <a:cubicBezTo>
                      <a:pt x="101567" y="0"/>
                      <a:pt x="77054" y="29618"/>
                      <a:pt x="0" y="33952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626" name="Gráfico 17">
              <a:extLst>
                <a:ext uri="{FF2B5EF4-FFF2-40B4-BE49-F238E27FC236}">
                  <a16:creationId xmlns:a16="http://schemas.microsoft.com/office/drawing/2014/main" id="{A7B2D3E4-1EBC-7B72-D048-6C7691919310}"/>
                </a:ext>
              </a:extLst>
            </p:cNvPr>
            <p:cNvGrpSpPr/>
            <p:nvPr/>
          </p:nvGrpSpPr>
          <p:grpSpPr>
            <a:xfrm>
              <a:off x="1983132" y="4358094"/>
              <a:ext cx="233906" cy="126945"/>
              <a:chOff x="1983132" y="4358094"/>
              <a:chExt cx="233906" cy="126945"/>
            </a:xfrm>
            <a:noFill/>
          </p:grpSpPr>
          <p:sp>
            <p:nvSpPr>
              <p:cNvPr id="1627" name="Forma livre: Forma 1626">
                <a:extLst>
                  <a:ext uri="{FF2B5EF4-FFF2-40B4-BE49-F238E27FC236}">
                    <a16:creationId xmlns:a16="http://schemas.microsoft.com/office/drawing/2014/main" id="{55366498-21DA-F21C-60BE-AE498CDF6DE0}"/>
                  </a:ext>
                </a:extLst>
              </p:cNvPr>
              <p:cNvSpPr/>
              <p:nvPr/>
            </p:nvSpPr>
            <p:spPr>
              <a:xfrm>
                <a:off x="1983132" y="4369989"/>
                <a:ext cx="68337" cy="115050"/>
              </a:xfrm>
              <a:custGeom>
                <a:avLst/>
                <a:gdLst>
                  <a:gd name="connsiteX0" fmla="*/ 68337 w 68337"/>
                  <a:gd name="connsiteY0" fmla="*/ 0 h 115050"/>
                  <a:gd name="connsiteX1" fmla="*/ 41416 w 68337"/>
                  <a:gd name="connsiteY1" fmla="*/ 5827 h 115050"/>
                  <a:gd name="connsiteX2" fmla="*/ 4768 w 68337"/>
                  <a:gd name="connsiteY2" fmla="*/ 39346 h 115050"/>
                  <a:gd name="connsiteX3" fmla="*/ 0 w 68337"/>
                  <a:gd name="connsiteY3" fmla="*/ 115051 h 115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8337" h="115050">
                    <a:moveTo>
                      <a:pt x="68337" y="0"/>
                    </a:moveTo>
                    <a:lnTo>
                      <a:pt x="41416" y="5827"/>
                    </a:lnTo>
                    <a:cubicBezTo>
                      <a:pt x="41416" y="5827"/>
                      <a:pt x="9054" y="12184"/>
                      <a:pt x="4768" y="39346"/>
                    </a:cubicBezTo>
                    <a:lnTo>
                      <a:pt x="0" y="115051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628" name="Forma livre: Forma 1627">
                <a:extLst>
                  <a:ext uri="{FF2B5EF4-FFF2-40B4-BE49-F238E27FC236}">
                    <a16:creationId xmlns:a16="http://schemas.microsoft.com/office/drawing/2014/main" id="{249682E5-020C-ACC2-E0EC-A3F4EA73D3C6}"/>
                  </a:ext>
                </a:extLst>
              </p:cNvPr>
              <p:cNvSpPr/>
              <p:nvPr/>
            </p:nvSpPr>
            <p:spPr>
              <a:xfrm>
                <a:off x="2027486" y="4358094"/>
                <a:ext cx="72526" cy="98917"/>
              </a:xfrm>
              <a:custGeom>
                <a:avLst/>
                <a:gdLst>
                  <a:gd name="connsiteX0" fmla="*/ 72527 w 72526"/>
                  <a:gd name="connsiteY0" fmla="*/ 98918 h 98917"/>
                  <a:gd name="connsiteX1" fmla="*/ 37082 w 72526"/>
                  <a:gd name="connsiteY1" fmla="*/ 0 h 98917"/>
                  <a:gd name="connsiteX2" fmla="*/ 0 w 72526"/>
                  <a:gd name="connsiteY2" fmla="*/ 43439 h 98917"/>
                  <a:gd name="connsiteX3" fmla="*/ 24079 w 72526"/>
                  <a:gd name="connsiteY3" fmla="*/ 43439 h 989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2526" h="98917">
                    <a:moveTo>
                      <a:pt x="72527" y="98918"/>
                    </a:moveTo>
                    <a:lnTo>
                      <a:pt x="37082" y="0"/>
                    </a:lnTo>
                    <a:lnTo>
                      <a:pt x="0" y="43439"/>
                    </a:lnTo>
                    <a:lnTo>
                      <a:pt x="24079" y="43439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1629" name="Gráfico 17">
                <a:extLst>
                  <a:ext uri="{FF2B5EF4-FFF2-40B4-BE49-F238E27FC236}">
                    <a16:creationId xmlns:a16="http://schemas.microsoft.com/office/drawing/2014/main" id="{672F1F05-143F-3667-D442-D14C4FA584AE}"/>
                  </a:ext>
                </a:extLst>
              </p:cNvPr>
              <p:cNvGrpSpPr/>
              <p:nvPr/>
            </p:nvGrpSpPr>
            <p:grpSpPr>
              <a:xfrm>
                <a:off x="2100157" y="4358094"/>
                <a:ext cx="116880" cy="126945"/>
                <a:chOff x="2100157" y="4358094"/>
                <a:chExt cx="116880" cy="126945"/>
              </a:xfrm>
              <a:noFill/>
            </p:grpSpPr>
            <p:sp>
              <p:nvSpPr>
                <p:cNvPr id="1630" name="Forma livre: Forma 1629">
                  <a:extLst>
                    <a:ext uri="{FF2B5EF4-FFF2-40B4-BE49-F238E27FC236}">
                      <a16:creationId xmlns:a16="http://schemas.microsoft.com/office/drawing/2014/main" id="{76B6D3E8-1802-297B-B215-28FEF75BDB4C}"/>
                    </a:ext>
                  </a:extLst>
                </p:cNvPr>
                <p:cNvSpPr/>
                <p:nvPr/>
              </p:nvSpPr>
              <p:spPr>
                <a:xfrm>
                  <a:off x="2148701" y="4369989"/>
                  <a:ext cx="68337" cy="115050"/>
                </a:xfrm>
                <a:custGeom>
                  <a:avLst/>
                  <a:gdLst>
                    <a:gd name="connsiteX0" fmla="*/ 0 w 68337"/>
                    <a:gd name="connsiteY0" fmla="*/ 0 h 115050"/>
                    <a:gd name="connsiteX1" fmla="*/ 26921 w 68337"/>
                    <a:gd name="connsiteY1" fmla="*/ 5827 h 115050"/>
                    <a:gd name="connsiteX2" fmla="*/ 63569 w 68337"/>
                    <a:gd name="connsiteY2" fmla="*/ 39346 h 115050"/>
                    <a:gd name="connsiteX3" fmla="*/ 68337 w 68337"/>
                    <a:gd name="connsiteY3" fmla="*/ 115051 h 1150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68337" h="115050">
                      <a:moveTo>
                        <a:pt x="0" y="0"/>
                      </a:moveTo>
                      <a:lnTo>
                        <a:pt x="26921" y="5827"/>
                      </a:lnTo>
                      <a:cubicBezTo>
                        <a:pt x="26921" y="5827"/>
                        <a:pt x="59283" y="12184"/>
                        <a:pt x="63569" y="39346"/>
                      </a:cubicBezTo>
                      <a:lnTo>
                        <a:pt x="68337" y="115051"/>
                      </a:ln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631" name="Forma livre: Forma 1630">
                  <a:extLst>
                    <a:ext uri="{FF2B5EF4-FFF2-40B4-BE49-F238E27FC236}">
                      <a16:creationId xmlns:a16="http://schemas.microsoft.com/office/drawing/2014/main" id="{D5A89A12-3866-09B4-5A60-DEADC2C4310F}"/>
                    </a:ext>
                  </a:extLst>
                </p:cNvPr>
                <p:cNvSpPr/>
                <p:nvPr/>
              </p:nvSpPr>
              <p:spPr>
                <a:xfrm>
                  <a:off x="2100157" y="4358094"/>
                  <a:ext cx="72526" cy="98917"/>
                </a:xfrm>
                <a:custGeom>
                  <a:avLst/>
                  <a:gdLst>
                    <a:gd name="connsiteX0" fmla="*/ 0 w 72526"/>
                    <a:gd name="connsiteY0" fmla="*/ 98918 h 98917"/>
                    <a:gd name="connsiteX1" fmla="*/ 35445 w 72526"/>
                    <a:gd name="connsiteY1" fmla="*/ 0 h 98917"/>
                    <a:gd name="connsiteX2" fmla="*/ 72527 w 72526"/>
                    <a:gd name="connsiteY2" fmla="*/ 43439 h 98917"/>
                    <a:gd name="connsiteX3" fmla="*/ 48447 w 72526"/>
                    <a:gd name="connsiteY3" fmla="*/ 43439 h 9891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72526" h="98917">
                      <a:moveTo>
                        <a:pt x="0" y="98918"/>
                      </a:moveTo>
                      <a:lnTo>
                        <a:pt x="35445" y="0"/>
                      </a:lnTo>
                      <a:lnTo>
                        <a:pt x="72527" y="43439"/>
                      </a:lnTo>
                      <a:lnTo>
                        <a:pt x="48447" y="43439"/>
                      </a:ln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</p:grpSp>
      <p:grpSp>
        <p:nvGrpSpPr>
          <p:cNvPr id="1632" name="Gráfico 17">
            <a:extLst>
              <a:ext uri="{FF2B5EF4-FFF2-40B4-BE49-F238E27FC236}">
                <a16:creationId xmlns:a16="http://schemas.microsoft.com/office/drawing/2014/main" id="{01DCD24C-6A7E-D4B2-1C9A-E4D3A762F515}"/>
              </a:ext>
            </a:extLst>
          </p:cNvPr>
          <p:cNvGrpSpPr/>
          <p:nvPr/>
        </p:nvGrpSpPr>
        <p:grpSpPr>
          <a:xfrm>
            <a:off x="717958" y="4169505"/>
            <a:ext cx="273781" cy="348716"/>
            <a:chOff x="717958" y="4169505"/>
            <a:chExt cx="273781" cy="348716"/>
          </a:xfrm>
          <a:noFill/>
        </p:grpSpPr>
        <p:sp>
          <p:nvSpPr>
            <p:cNvPr id="1633" name="Forma livre: Forma 1632">
              <a:extLst>
                <a:ext uri="{FF2B5EF4-FFF2-40B4-BE49-F238E27FC236}">
                  <a16:creationId xmlns:a16="http://schemas.microsoft.com/office/drawing/2014/main" id="{55D487B4-04AC-EE54-93D8-97E7786EDD11}"/>
                </a:ext>
              </a:extLst>
            </p:cNvPr>
            <p:cNvSpPr/>
            <p:nvPr/>
          </p:nvSpPr>
          <p:spPr>
            <a:xfrm>
              <a:off x="769584" y="4169505"/>
              <a:ext cx="222155" cy="315053"/>
            </a:xfrm>
            <a:custGeom>
              <a:avLst/>
              <a:gdLst>
                <a:gd name="connsiteX0" fmla="*/ 135422 w 222155"/>
                <a:gd name="connsiteY0" fmla="*/ 61980 h 315053"/>
                <a:gd name="connsiteX1" fmla="*/ 206745 w 222155"/>
                <a:gd name="connsiteY1" fmla="*/ 61980 h 315053"/>
                <a:gd name="connsiteX2" fmla="*/ 222155 w 222155"/>
                <a:gd name="connsiteY2" fmla="*/ 78884 h 315053"/>
                <a:gd name="connsiteX3" fmla="*/ 222155 w 222155"/>
                <a:gd name="connsiteY3" fmla="*/ 315053 h 315053"/>
                <a:gd name="connsiteX4" fmla="*/ 0 w 222155"/>
                <a:gd name="connsiteY4" fmla="*/ 315053 h 315053"/>
                <a:gd name="connsiteX5" fmla="*/ 0 w 222155"/>
                <a:gd name="connsiteY5" fmla="*/ 53938 h 315053"/>
                <a:gd name="connsiteX6" fmla="*/ 19071 w 222155"/>
                <a:gd name="connsiteY6" fmla="*/ 34867 h 315053"/>
                <a:gd name="connsiteX7" fmla="*/ 62317 w 222155"/>
                <a:gd name="connsiteY7" fmla="*/ 34867 h 315053"/>
                <a:gd name="connsiteX8" fmla="*/ 62317 w 222155"/>
                <a:gd name="connsiteY8" fmla="*/ 61258 h 315053"/>
                <a:gd name="connsiteX9" fmla="*/ 211031 w 222155"/>
                <a:gd name="connsiteY9" fmla="*/ 0 h 3150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22155" h="315053">
                  <a:moveTo>
                    <a:pt x="135422" y="61980"/>
                  </a:moveTo>
                  <a:lnTo>
                    <a:pt x="206745" y="61980"/>
                  </a:lnTo>
                  <a:cubicBezTo>
                    <a:pt x="217243" y="61980"/>
                    <a:pt x="222155" y="68385"/>
                    <a:pt x="222155" y="78884"/>
                  </a:cubicBezTo>
                  <a:lnTo>
                    <a:pt x="222155" y="315053"/>
                  </a:lnTo>
                  <a:cubicBezTo>
                    <a:pt x="222155" y="315053"/>
                    <a:pt x="0" y="315053"/>
                    <a:pt x="0" y="315053"/>
                  </a:cubicBezTo>
                  <a:lnTo>
                    <a:pt x="0" y="53938"/>
                  </a:lnTo>
                  <a:cubicBezTo>
                    <a:pt x="0" y="43439"/>
                    <a:pt x="8572" y="34867"/>
                    <a:pt x="19071" y="34867"/>
                  </a:cubicBezTo>
                  <a:lnTo>
                    <a:pt x="62317" y="34867"/>
                  </a:lnTo>
                  <a:lnTo>
                    <a:pt x="62317" y="61258"/>
                  </a:lnTo>
                  <a:lnTo>
                    <a:pt x="211031" y="0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34" name="Forma livre: Forma 1633">
              <a:extLst>
                <a:ext uri="{FF2B5EF4-FFF2-40B4-BE49-F238E27FC236}">
                  <a16:creationId xmlns:a16="http://schemas.microsoft.com/office/drawing/2014/main" id="{2345DADD-784E-7AB6-2F5E-DC49EE71494C}"/>
                </a:ext>
              </a:extLst>
            </p:cNvPr>
            <p:cNvSpPr/>
            <p:nvPr/>
          </p:nvSpPr>
          <p:spPr>
            <a:xfrm>
              <a:off x="770210" y="4356504"/>
              <a:ext cx="220903" cy="18155"/>
            </a:xfrm>
            <a:custGeom>
              <a:avLst/>
              <a:gdLst>
                <a:gd name="connsiteX0" fmla="*/ 220903 w 220903"/>
                <a:gd name="connsiteY0" fmla="*/ 0 h 18155"/>
                <a:gd name="connsiteX1" fmla="*/ 157093 w 220903"/>
                <a:gd name="connsiteY1" fmla="*/ 0 h 18155"/>
                <a:gd name="connsiteX2" fmla="*/ 147317 w 220903"/>
                <a:gd name="connsiteY2" fmla="*/ 18156 h 18155"/>
                <a:gd name="connsiteX3" fmla="*/ 73538 w 220903"/>
                <a:gd name="connsiteY3" fmla="*/ 18156 h 18155"/>
                <a:gd name="connsiteX4" fmla="*/ 63762 w 220903"/>
                <a:gd name="connsiteY4" fmla="*/ 0 h 18155"/>
                <a:gd name="connsiteX5" fmla="*/ 0 w 220903"/>
                <a:gd name="connsiteY5" fmla="*/ 0 h 181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20903" h="18155">
                  <a:moveTo>
                    <a:pt x="220903" y="0"/>
                  </a:moveTo>
                  <a:lnTo>
                    <a:pt x="157093" y="0"/>
                  </a:lnTo>
                  <a:lnTo>
                    <a:pt x="147317" y="18156"/>
                  </a:lnTo>
                  <a:lnTo>
                    <a:pt x="73538" y="18156"/>
                  </a:lnTo>
                  <a:lnTo>
                    <a:pt x="63762" y="0"/>
                  </a:lnTo>
                  <a:lnTo>
                    <a:pt x="0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35" name="Forma livre: Forma 1634">
              <a:extLst>
                <a:ext uri="{FF2B5EF4-FFF2-40B4-BE49-F238E27FC236}">
                  <a16:creationId xmlns:a16="http://schemas.microsoft.com/office/drawing/2014/main" id="{59DCE0AE-890A-7522-10ED-E4D4DF373C06}"/>
                </a:ext>
              </a:extLst>
            </p:cNvPr>
            <p:cNvSpPr/>
            <p:nvPr/>
          </p:nvSpPr>
          <p:spPr>
            <a:xfrm>
              <a:off x="770210" y="4420218"/>
              <a:ext cx="220903" cy="18155"/>
            </a:xfrm>
            <a:custGeom>
              <a:avLst/>
              <a:gdLst>
                <a:gd name="connsiteX0" fmla="*/ 220903 w 220903"/>
                <a:gd name="connsiteY0" fmla="*/ 0 h 18155"/>
                <a:gd name="connsiteX1" fmla="*/ 157093 w 220903"/>
                <a:gd name="connsiteY1" fmla="*/ 0 h 18155"/>
                <a:gd name="connsiteX2" fmla="*/ 147317 w 220903"/>
                <a:gd name="connsiteY2" fmla="*/ 18156 h 18155"/>
                <a:gd name="connsiteX3" fmla="*/ 73538 w 220903"/>
                <a:gd name="connsiteY3" fmla="*/ 18156 h 18155"/>
                <a:gd name="connsiteX4" fmla="*/ 63762 w 220903"/>
                <a:gd name="connsiteY4" fmla="*/ 0 h 18155"/>
                <a:gd name="connsiteX5" fmla="*/ 0 w 220903"/>
                <a:gd name="connsiteY5" fmla="*/ 0 h 181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20903" h="18155">
                  <a:moveTo>
                    <a:pt x="220903" y="0"/>
                  </a:moveTo>
                  <a:lnTo>
                    <a:pt x="157093" y="0"/>
                  </a:lnTo>
                  <a:lnTo>
                    <a:pt x="147317" y="18156"/>
                  </a:lnTo>
                  <a:lnTo>
                    <a:pt x="73538" y="18156"/>
                  </a:lnTo>
                  <a:lnTo>
                    <a:pt x="63762" y="0"/>
                  </a:lnTo>
                  <a:lnTo>
                    <a:pt x="0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36" name="Forma livre: Forma 1635">
              <a:extLst>
                <a:ext uri="{FF2B5EF4-FFF2-40B4-BE49-F238E27FC236}">
                  <a16:creationId xmlns:a16="http://schemas.microsoft.com/office/drawing/2014/main" id="{B95E66A2-3E17-288E-4BA0-23D635DD20DB}"/>
                </a:ext>
              </a:extLst>
            </p:cNvPr>
            <p:cNvSpPr/>
            <p:nvPr/>
          </p:nvSpPr>
          <p:spPr>
            <a:xfrm>
              <a:off x="770884" y="4261006"/>
              <a:ext cx="219506" cy="4815"/>
            </a:xfrm>
            <a:custGeom>
              <a:avLst/>
              <a:gdLst>
                <a:gd name="connsiteX0" fmla="*/ 0 w 219506"/>
                <a:gd name="connsiteY0" fmla="*/ 0 h 4815"/>
                <a:gd name="connsiteX1" fmla="*/ 219507 w 219506"/>
                <a:gd name="connsiteY1" fmla="*/ 0 h 48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19506" h="4815">
                  <a:moveTo>
                    <a:pt x="0" y="0"/>
                  </a:moveTo>
                  <a:lnTo>
                    <a:pt x="219507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37" name="Forma livre: Forma 1636">
              <a:extLst>
                <a:ext uri="{FF2B5EF4-FFF2-40B4-BE49-F238E27FC236}">
                  <a16:creationId xmlns:a16="http://schemas.microsoft.com/office/drawing/2014/main" id="{7B1633EF-5D9C-CD73-B9CA-BDDF77779623}"/>
                </a:ext>
              </a:extLst>
            </p:cNvPr>
            <p:cNvSpPr/>
            <p:nvPr/>
          </p:nvSpPr>
          <p:spPr>
            <a:xfrm>
              <a:off x="717958" y="4299629"/>
              <a:ext cx="49795" cy="26198"/>
            </a:xfrm>
            <a:custGeom>
              <a:avLst/>
              <a:gdLst>
                <a:gd name="connsiteX0" fmla="*/ 49796 w 49795"/>
                <a:gd name="connsiteY0" fmla="*/ 26198 h 26198"/>
                <a:gd name="connsiteX1" fmla="*/ 0 w 49795"/>
                <a:gd name="connsiteY1" fmla="*/ 0 h 261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9795" h="26198">
                  <a:moveTo>
                    <a:pt x="49796" y="26198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638" name="Gráfico 17">
              <a:extLst>
                <a:ext uri="{FF2B5EF4-FFF2-40B4-BE49-F238E27FC236}">
                  <a16:creationId xmlns:a16="http://schemas.microsoft.com/office/drawing/2014/main" id="{5FD3CD3E-AE64-2A85-7FEC-A29147221A57}"/>
                </a:ext>
              </a:extLst>
            </p:cNvPr>
            <p:cNvGrpSpPr/>
            <p:nvPr/>
          </p:nvGrpSpPr>
          <p:grpSpPr>
            <a:xfrm>
              <a:off x="818417" y="4287060"/>
              <a:ext cx="124441" cy="23886"/>
              <a:chOff x="818417" y="4287060"/>
              <a:chExt cx="124441" cy="23886"/>
            </a:xfrm>
            <a:noFill/>
          </p:grpSpPr>
          <p:sp>
            <p:nvSpPr>
              <p:cNvPr id="1639" name="Forma livre: Forma 1638">
                <a:extLst>
                  <a:ext uri="{FF2B5EF4-FFF2-40B4-BE49-F238E27FC236}">
                    <a16:creationId xmlns:a16="http://schemas.microsoft.com/office/drawing/2014/main" id="{393A04A6-AE26-C5C8-F0E5-E040CBC383DE}"/>
                  </a:ext>
                </a:extLst>
              </p:cNvPr>
              <p:cNvSpPr/>
              <p:nvPr/>
            </p:nvSpPr>
            <p:spPr>
              <a:xfrm>
                <a:off x="818417" y="4287060"/>
                <a:ext cx="52878" cy="23886"/>
              </a:xfrm>
              <a:custGeom>
                <a:avLst/>
                <a:gdLst>
                  <a:gd name="connsiteX0" fmla="*/ 0 w 52878"/>
                  <a:gd name="connsiteY0" fmla="*/ 0 h 23886"/>
                  <a:gd name="connsiteX1" fmla="*/ 52878 w 52878"/>
                  <a:gd name="connsiteY1" fmla="*/ 0 h 23886"/>
                  <a:gd name="connsiteX2" fmla="*/ 52878 w 52878"/>
                  <a:gd name="connsiteY2" fmla="*/ 23887 h 23886"/>
                  <a:gd name="connsiteX3" fmla="*/ 0 w 52878"/>
                  <a:gd name="connsiteY3" fmla="*/ 23887 h 238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2878" h="23886">
                    <a:moveTo>
                      <a:pt x="0" y="0"/>
                    </a:moveTo>
                    <a:lnTo>
                      <a:pt x="52878" y="0"/>
                    </a:lnTo>
                    <a:lnTo>
                      <a:pt x="52878" y="23887"/>
                    </a:lnTo>
                    <a:lnTo>
                      <a:pt x="0" y="23887"/>
                    </a:ln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1640" name="Gráfico 17">
                <a:extLst>
                  <a:ext uri="{FF2B5EF4-FFF2-40B4-BE49-F238E27FC236}">
                    <a16:creationId xmlns:a16="http://schemas.microsoft.com/office/drawing/2014/main" id="{CA0D806B-954F-29BA-82EF-9E65151E47DD}"/>
                  </a:ext>
                </a:extLst>
              </p:cNvPr>
              <p:cNvGrpSpPr/>
              <p:nvPr/>
            </p:nvGrpSpPr>
            <p:grpSpPr>
              <a:xfrm>
                <a:off x="890896" y="4287060"/>
                <a:ext cx="51963" cy="23886"/>
                <a:chOff x="890896" y="4287060"/>
                <a:chExt cx="51963" cy="23886"/>
              </a:xfrm>
            </p:grpSpPr>
            <p:sp>
              <p:nvSpPr>
                <p:cNvPr id="1641" name="Forma livre: Forma 1640">
                  <a:extLst>
                    <a:ext uri="{FF2B5EF4-FFF2-40B4-BE49-F238E27FC236}">
                      <a16:creationId xmlns:a16="http://schemas.microsoft.com/office/drawing/2014/main" id="{2269614D-CD2B-B69C-DEA7-2FFB171EB385}"/>
                    </a:ext>
                  </a:extLst>
                </p:cNvPr>
                <p:cNvSpPr/>
                <p:nvPr/>
              </p:nvSpPr>
              <p:spPr>
                <a:xfrm>
                  <a:off x="890896" y="4287060"/>
                  <a:ext cx="19696" cy="4815"/>
                </a:xfrm>
                <a:custGeom>
                  <a:avLst/>
                  <a:gdLst>
                    <a:gd name="connsiteX0" fmla="*/ 0 w 19696"/>
                    <a:gd name="connsiteY0" fmla="*/ 0 h 4815"/>
                    <a:gd name="connsiteX1" fmla="*/ 19697 w 19696"/>
                    <a:gd name="connsiteY1" fmla="*/ 0 h 481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9696" h="4815">
                      <a:moveTo>
                        <a:pt x="0" y="0"/>
                      </a:moveTo>
                      <a:lnTo>
                        <a:pt x="19697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642" name="Forma livre: Forma 1641">
                  <a:extLst>
                    <a:ext uri="{FF2B5EF4-FFF2-40B4-BE49-F238E27FC236}">
                      <a16:creationId xmlns:a16="http://schemas.microsoft.com/office/drawing/2014/main" id="{A623F01C-1A79-9DB4-8849-C29544BAEEB6}"/>
                    </a:ext>
                  </a:extLst>
                </p:cNvPr>
                <p:cNvSpPr/>
                <p:nvPr/>
              </p:nvSpPr>
              <p:spPr>
                <a:xfrm>
                  <a:off x="923210" y="4287060"/>
                  <a:ext cx="19648" cy="4815"/>
                </a:xfrm>
                <a:custGeom>
                  <a:avLst/>
                  <a:gdLst>
                    <a:gd name="connsiteX0" fmla="*/ 0 w 19648"/>
                    <a:gd name="connsiteY0" fmla="*/ 0 h 4815"/>
                    <a:gd name="connsiteX1" fmla="*/ 19649 w 19648"/>
                    <a:gd name="connsiteY1" fmla="*/ 0 h 481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9648" h="4815">
                      <a:moveTo>
                        <a:pt x="0" y="0"/>
                      </a:moveTo>
                      <a:lnTo>
                        <a:pt x="19649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643" name="Forma livre: Forma 1642">
                  <a:extLst>
                    <a:ext uri="{FF2B5EF4-FFF2-40B4-BE49-F238E27FC236}">
                      <a16:creationId xmlns:a16="http://schemas.microsoft.com/office/drawing/2014/main" id="{536128F6-40F3-AE32-2724-2F492AAF07E9}"/>
                    </a:ext>
                  </a:extLst>
                </p:cNvPr>
                <p:cNvSpPr/>
                <p:nvPr/>
              </p:nvSpPr>
              <p:spPr>
                <a:xfrm>
                  <a:off x="890896" y="4310946"/>
                  <a:ext cx="19696" cy="4815"/>
                </a:xfrm>
                <a:custGeom>
                  <a:avLst/>
                  <a:gdLst>
                    <a:gd name="connsiteX0" fmla="*/ 0 w 19696"/>
                    <a:gd name="connsiteY0" fmla="*/ 0 h 4815"/>
                    <a:gd name="connsiteX1" fmla="*/ 19697 w 19696"/>
                    <a:gd name="connsiteY1" fmla="*/ 0 h 481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9696" h="4815">
                      <a:moveTo>
                        <a:pt x="0" y="0"/>
                      </a:moveTo>
                      <a:lnTo>
                        <a:pt x="19697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644" name="Forma livre: Forma 1643">
                  <a:extLst>
                    <a:ext uri="{FF2B5EF4-FFF2-40B4-BE49-F238E27FC236}">
                      <a16:creationId xmlns:a16="http://schemas.microsoft.com/office/drawing/2014/main" id="{E4662CB5-C992-DB5D-C5C6-3ED1844F2EEE}"/>
                    </a:ext>
                  </a:extLst>
                </p:cNvPr>
                <p:cNvSpPr/>
                <p:nvPr/>
              </p:nvSpPr>
              <p:spPr>
                <a:xfrm>
                  <a:off x="923210" y="4310946"/>
                  <a:ext cx="19648" cy="4815"/>
                </a:xfrm>
                <a:custGeom>
                  <a:avLst/>
                  <a:gdLst>
                    <a:gd name="connsiteX0" fmla="*/ 0 w 19648"/>
                    <a:gd name="connsiteY0" fmla="*/ 0 h 4815"/>
                    <a:gd name="connsiteX1" fmla="*/ 19649 w 19648"/>
                    <a:gd name="connsiteY1" fmla="*/ 0 h 481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9648" h="4815">
                      <a:moveTo>
                        <a:pt x="0" y="0"/>
                      </a:moveTo>
                      <a:lnTo>
                        <a:pt x="19649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grpSp>
          <p:nvGrpSpPr>
            <p:cNvPr id="1645" name="Gráfico 17">
              <a:extLst>
                <a:ext uri="{FF2B5EF4-FFF2-40B4-BE49-F238E27FC236}">
                  <a16:creationId xmlns:a16="http://schemas.microsoft.com/office/drawing/2014/main" id="{2F9CF0DF-3655-B20E-54B9-18D8893F00F0}"/>
                </a:ext>
              </a:extLst>
            </p:cNvPr>
            <p:cNvGrpSpPr/>
            <p:nvPr/>
          </p:nvGrpSpPr>
          <p:grpSpPr>
            <a:xfrm>
              <a:off x="792411" y="4503099"/>
              <a:ext cx="176452" cy="15121"/>
              <a:chOff x="792411" y="4503099"/>
              <a:chExt cx="176452" cy="15121"/>
            </a:xfrm>
            <a:noFill/>
          </p:grpSpPr>
          <p:sp>
            <p:nvSpPr>
              <p:cNvPr id="1646" name="Forma livre: Forma 1645">
                <a:extLst>
                  <a:ext uri="{FF2B5EF4-FFF2-40B4-BE49-F238E27FC236}">
                    <a16:creationId xmlns:a16="http://schemas.microsoft.com/office/drawing/2014/main" id="{B5983219-0CB7-F99D-DCEC-9A7941731CE8}"/>
                  </a:ext>
                </a:extLst>
              </p:cNvPr>
              <p:cNvSpPr/>
              <p:nvPr/>
            </p:nvSpPr>
            <p:spPr>
              <a:xfrm>
                <a:off x="792411" y="4503099"/>
                <a:ext cx="30243" cy="15121"/>
              </a:xfrm>
              <a:custGeom>
                <a:avLst/>
                <a:gdLst>
                  <a:gd name="connsiteX0" fmla="*/ 30244 w 30243"/>
                  <a:gd name="connsiteY0" fmla="*/ 0 h 15121"/>
                  <a:gd name="connsiteX1" fmla="*/ 15122 w 30243"/>
                  <a:gd name="connsiteY1" fmla="*/ 15122 h 15121"/>
                  <a:gd name="connsiteX2" fmla="*/ 0 w 30243"/>
                  <a:gd name="connsiteY2" fmla="*/ 0 h 151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0243" h="15121">
                    <a:moveTo>
                      <a:pt x="30244" y="0"/>
                    </a:moveTo>
                    <a:cubicBezTo>
                      <a:pt x="30244" y="8331"/>
                      <a:pt x="23453" y="15122"/>
                      <a:pt x="15122" y="15122"/>
                    </a:cubicBezTo>
                    <a:cubicBezTo>
                      <a:pt x="6790" y="15122"/>
                      <a:pt x="0" y="8380"/>
                      <a:pt x="0" y="0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647" name="Forma livre: Forma 1646">
                <a:extLst>
                  <a:ext uri="{FF2B5EF4-FFF2-40B4-BE49-F238E27FC236}">
                    <a16:creationId xmlns:a16="http://schemas.microsoft.com/office/drawing/2014/main" id="{12018917-4E41-EFB8-B79D-48E81446892B}"/>
                  </a:ext>
                </a:extLst>
              </p:cNvPr>
              <p:cNvSpPr/>
              <p:nvPr/>
            </p:nvSpPr>
            <p:spPr>
              <a:xfrm>
                <a:off x="938621" y="4503099"/>
                <a:ext cx="30243" cy="15121"/>
              </a:xfrm>
              <a:custGeom>
                <a:avLst/>
                <a:gdLst>
                  <a:gd name="connsiteX0" fmla="*/ 30244 w 30243"/>
                  <a:gd name="connsiteY0" fmla="*/ 0 h 15121"/>
                  <a:gd name="connsiteX1" fmla="*/ 15122 w 30243"/>
                  <a:gd name="connsiteY1" fmla="*/ 15122 h 15121"/>
                  <a:gd name="connsiteX2" fmla="*/ 0 w 30243"/>
                  <a:gd name="connsiteY2" fmla="*/ 0 h 151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0243" h="15121">
                    <a:moveTo>
                      <a:pt x="30244" y="0"/>
                    </a:moveTo>
                    <a:cubicBezTo>
                      <a:pt x="30244" y="8331"/>
                      <a:pt x="23453" y="15122"/>
                      <a:pt x="15122" y="15122"/>
                    </a:cubicBezTo>
                    <a:cubicBezTo>
                      <a:pt x="6790" y="15122"/>
                      <a:pt x="0" y="8380"/>
                      <a:pt x="0" y="0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648" name="Gráfico 17">
            <a:extLst>
              <a:ext uri="{FF2B5EF4-FFF2-40B4-BE49-F238E27FC236}">
                <a16:creationId xmlns:a16="http://schemas.microsoft.com/office/drawing/2014/main" id="{DCD080A6-DBD7-BE03-3AF7-CE7CDF5904EF}"/>
              </a:ext>
            </a:extLst>
          </p:cNvPr>
          <p:cNvGrpSpPr/>
          <p:nvPr/>
        </p:nvGrpSpPr>
        <p:grpSpPr>
          <a:xfrm>
            <a:off x="1313246" y="4720005"/>
            <a:ext cx="328489" cy="328489"/>
            <a:chOff x="1313246" y="4720005"/>
            <a:chExt cx="328489" cy="328489"/>
          </a:xfrm>
          <a:noFill/>
        </p:grpSpPr>
        <p:grpSp>
          <p:nvGrpSpPr>
            <p:cNvPr id="1649" name="Gráfico 17">
              <a:extLst>
                <a:ext uri="{FF2B5EF4-FFF2-40B4-BE49-F238E27FC236}">
                  <a16:creationId xmlns:a16="http://schemas.microsoft.com/office/drawing/2014/main" id="{072E437C-8007-D331-550B-C266E509FDCB}"/>
                </a:ext>
              </a:extLst>
            </p:cNvPr>
            <p:cNvGrpSpPr/>
            <p:nvPr/>
          </p:nvGrpSpPr>
          <p:grpSpPr>
            <a:xfrm>
              <a:off x="1313246" y="4720005"/>
              <a:ext cx="328489" cy="328489"/>
              <a:chOff x="1313246" y="4720005"/>
              <a:chExt cx="328489" cy="328489"/>
            </a:xfrm>
            <a:noFill/>
          </p:grpSpPr>
          <p:sp>
            <p:nvSpPr>
              <p:cNvPr id="1650" name="Forma livre: Forma 1649">
                <a:extLst>
                  <a:ext uri="{FF2B5EF4-FFF2-40B4-BE49-F238E27FC236}">
                    <a16:creationId xmlns:a16="http://schemas.microsoft.com/office/drawing/2014/main" id="{A90D72DC-964D-674F-36F6-EB214D61200C}"/>
                  </a:ext>
                </a:extLst>
              </p:cNvPr>
              <p:cNvSpPr/>
              <p:nvPr/>
            </p:nvSpPr>
            <p:spPr>
              <a:xfrm>
                <a:off x="1344453" y="4751260"/>
                <a:ext cx="114810" cy="115098"/>
              </a:xfrm>
              <a:custGeom>
                <a:avLst/>
                <a:gdLst>
                  <a:gd name="connsiteX0" fmla="*/ 0 w 114810"/>
                  <a:gd name="connsiteY0" fmla="*/ 115099 h 115098"/>
                  <a:gd name="connsiteX1" fmla="*/ 114810 w 114810"/>
                  <a:gd name="connsiteY1" fmla="*/ 0 h 1150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4810" h="115098">
                    <a:moveTo>
                      <a:pt x="0" y="115099"/>
                    </a:moveTo>
                    <a:cubicBezTo>
                      <a:pt x="7946" y="55382"/>
                      <a:pt x="55142" y="8091"/>
                      <a:pt x="114810" y="0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651" name="Forma livre: Forma 1650">
                <a:extLst>
                  <a:ext uri="{FF2B5EF4-FFF2-40B4-BE49-F238E27FC236}">
                    <a16:creationId xmlns:a16="http://schemas.microsoft.com/office/drawing/2014/main" id="{E625A4B8-52B2-D43E-C5FB-914B4767D856}"/>
                  </a:ext>
                </a:extLst>
              </p:cNvPr>
              <p:cNvSpPr/>
              <p:nvPr/>
            </p:nvSpPr>
            <p:spPr>
              <a:xfrm>
                <a:off x="1343249" y="4884226"/>
                <a:ext cx="116110" cy="133013"/>
              </a:xfrm>
              <a:custGeom>
                <a:avLst/>
                <a:gdLst>
                  <a:gd name="connsiteX0" fmla="*/ 116110 w 116110"/>
                  <a:gd name="connsiteY0" fmla="*/ 133014 h 133013"/>
                  <a:gd name="connsiteX1" fmla="*/ 0 w 116110"/>
                  <a:gd name="connsiteY1" fmla="*/ 0 h 1330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6110" h="133013">
                    <a:moveTo>
                      <a:pt x="116110" y="133014"/>
                    </a:moveTo>
                    <a:cubicBezTo>
                      <a:pt x="50518" y="124201"/>
                      <a:pt x="0" y="68000"/>
                      <a:pt x="0" y="0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652" name="Forma livre: Forma 1651">
                <a:extLst>
                  <a:ext uri="{FF2B5EF4-FFF2-40B4-BE49-F238E27FC236}">
                    <a16:creationId xmlns:a16="http://schemas.microsoft.com/office/drawing/2014/main" id="{CDA8E659-A4A9-AC04-2FE4-85176FCF2B3A}"/>
                  </a:ext>
                </a:extLst>
              </p:cNvPr>
              <p:cNvSpPr/>
              <p:nvPr/>
            </p:nvSpPr>
            <p:spPr>
              <a:xfrm>
                <a:off x="1477467" y="4884226"/>
                <a:ext cx="134217" cy="134217"/>
              </a:xfrm>
              <a:custGeom>
                <a:avLst/>
                <a:gdLst>
                  <a:gd name="connsiteX0" fmla="*/ 134218 w 134217"/>
                  <a:gd name="connsiteY0" fmla="*/ 0 h 134217"/>
                  <a:gd name="connsiteX1" fmla="*/ 0 w 134217"/>
                  <a:gd name="connsiteY1" fmla="*/ 134218 h 1342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34217" h="134217">
                    <a:moveTo>
                      <a:pt x="134218" y="0"/>
                    </a:moveTo>
                    <a:cubicBezTo>
                      <a:pt x="134218" y="74116"/>
                      <a:pt x="74116" y="134218"/>
                      <a:pt x="0" y="134218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653" name="Forma livre: Forma 1652">
                <a:extLst>
                  <a:ext uri="{FF2B5EF4-FFF2-40B4-BE49-F238E27FC236}">
                    <a16:creationId xmlns:a16="http://schemas.microsoft.com/office/drawing/2014/main" id="{CD86740E-E070-2E54-AFA4-D047D5336393}"/>
                  </a:ext>
                </a:extLst>
              </p:cNvPr>
              <p:cNvSpPr/>
              <p:nvPr/>
            </p:nvSpPr>
            <p:spPr>
              <a:xfrm>
                <a:off x="1477467" y="4750008"/>
                <a:ext cx="133013" cy="116254"/>
              </a:xfrm>
              <a:custGeom>
                <a:avLst/>
                <a:gdLst>
                  <a:gd name="connsiteX0" fmla="*/ 0 w 133013"/>
                  <a:gd name="connsiteY0" fmla="*/ 0 h 116254"/>
                  <a:gd name="connsiteX1" fmla="*/ 133014 w 133013"/>
                  <a:gd name="connsiteY1" fmla="*/ 116255 h 1162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33013" h="116254">
                    <a:moveTo>
                      <a:pt x="0" y="0"/>
                    </a:moveTo>
                    <a:cubicBezTo>
                      <a:pt x="68048" y="0"/>
                      <a:pt x="124249" y="50615"/>
                      <a:pt x="133014" y="116255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654" name="Forma livre: Forma 1653">
                <a:extLst>
                  <a:ext uri="{FF2B5EF4-FFF2-40B4-BE49-F238E27FC236}">
                    <a16:creationId xmlns:a16="http://schemas.microsoft.com/office/drawing/2014/main" id="{9DB094AB-16EE-E071-397C-BC353F5B0599}"/>
                  </a:ext>
                </a:extLst>
              </p:cNvPr>
              <p:cNvSpPr/>
              <p:nvPr/>
            </p:nvSpPr>
            <p:spPr>
              <a:xfrm>
                <a:off x="1376093" y="4782948"/>
                <a:ext cx="83025" cy="83506"/>
              </a:xfrm>
              <a:custGeom>
                <a:avLst/>
                <a:gdLst>
                  <a:gd name="connsiteX0" fmla="*/ 0 w 83025"/>
                  <a:gd name="connsiteY0" fmla="*/ 83507 h 83506"/>
                  <a:gd name="connsiteX1" fmla="*/ 83025 w 83025"/>
                  <a:gd name="connsiteY1" fmla="*/ 0 h 835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83025" h="83506">
                    <a:moveTo>
                      <a:pt x="0" y="83507"/>
                    </a:moveTo>
                    <a:cubicBezTo>
                      <a:pt x="7368" y="41127"/>
                      <a:pt x="40694" y="7609"/>
                      <a:pt x="83025" y="0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655" name="Forma livre: Forma 1654">
                <a:extLst>
                  <a:ext uri="{FF2B5EF4-FFF2-40B4-BE49-F238E27FC236}">
                    <a16:creationId xmlns:a16="http://schemas.microsoft.com/office/drawing/2014/main" id="{3FBE08DC-955B-9471-4608-08C3446F2747}"/>
                  </a:ext>
                </a:extLst>
              </p:cNvPr>
              <p:cNvSpPr/>
              <p:nvPr/>
            </p:nvSpPr>
            <p:spPr>
              <a:xfrm>
                <a:off x="1374552" y="4884274"/>
                <a:ext cx="84855" cy="101325"/>
              </a:xfrm>
              <a:custGeom>
                <a:avLst/>
                <a:gdLst>
                  <a:gd name="connsiteX0" fmla="*/ 84855 w 84855"/>
                  <a:gd name="connsiteY0" fmla="*/ 101326 h 101325"/>
                  <a:gd name="connsiteX1" fmla="*/ 0 w 84855"/>
                  <a:gd name="connsiteY1" fmla="*/ 0 h 1013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84855" h="101325">
                    <a:moveTo>
                      <a:pt x="84855" y="101326"/>
                    </a:moveTo>
                    <a:cubicBezTo>
                      <a:pt x="36649" y="92802"/>
                      <a:pt x="0" y="50663"/>
                      <a:pt x="0" y="0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656" name="Forma livre: Forma 1655">
                <a:extLst>
                  <a:ext uri="{FF2B5EF4-FFF2-40B4-BE49-F238E27FC236}">
                    <a16:creationId xmlns:a16="http://schemas.microsoft.com/office/drawing/2014/main" id="{BA3D983B-493D-77CE-FCA0-8E6B4A18F057}"/>
                  </a:ext>
                </a:extLst>
              </p:cNvPr>
              <p:cNvSpPr/>
              <p:nvPr/>
            </p:nvSpPr>
            <p:spPr>
              <a:xfrm>
                <a:off x="1477467" y="4884226"/>
                <a:ext cx="102914" cy="102914"/>
              </a:xfrm>
              <a:custGeom>
                <a:avLst/>
                <a:gdLst>
                  <a:gd name="connsiteX0" fmla="*/ 102915 w 102914"/>
                  <a:gd name="connsiteY0" fmla="*/ 0 h 102914"/>
                  <a:gd name="connsiteX1" fmla="*/ 0 w 102914"/>
                  <a:gd name="connsiteY1" fmla="*/ 102915 h 1029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02914" h="102914">
                    <a:moveTo>
                      <a:pt x="102915" y="0"/>
                    </a:moveTo>
                    <a:cubicBezTo>
                      <a:pt x="102915" y="56827"/>
                      <a:pt x="56827" y="102915"/>
                      <a:pt x="0" y="102915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657" name="Forma livre: Forma 1656">
                <a:extLst>
                  <a:ext uri="{FF2B5EF4-FFF2-40B4-BE49-F238E27FC236}">
                    <a16:creationId xmlns:a16="http://schemas.microsoft.com/office/drawing/2014/main" id="{FAF39A1A-1B80-CF26-33C6-C059279CBD39}"/>
                  </a:ext>
                </a:extLst>
              </p:cNvPr>
              <p:cNvSpPr/>
              <p:nvPr/>
            </p:nvSpPr>
            <p:spPr>
              <a:xfrm>
                <a:off x="1477467" y="4781311"/>
                <a:ext cx="101373" cy="84951"/>
              </a:xfrm>
              <a:custGeom>
                <a:avLst/>
                <a:gdLst>
                  <a:gd name="connsiteX0" fmla="*/ 0 w 101373"/>
                  <a:gd name="connsiteY0" fmla="*/ 0 h 84951"/>
                  <a:gd name="connsiteX1" fmla="*/ 101374 w 101373"/>
                  <a:gd name="connsiteY1" fmla="*/ 84952 h 849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01373" h="84951">
                    <a:moveTo>
                      <a:pt x="0" y="0"/>
                    </a:moveTo>
                    <a:cubicBezTo>
                      <a:pt x="50711" y="0"/>
                      <a:pt x="92850" y="36697"/>
                      <a:pt x="101374" y="84952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1658" name="Gráfico 17">
                <a:extLst>
                  <a:ext uri="{FF2B5EF4-FFF2-40B4-BE49-F238E27FC236}">
                    <a16:creationId xmlns:a16="http://schemas.microsoft.com/office/drawing/2014/main" id="{E1533D4C-8AB3-8036-3A57-E1A256E11273}"/>
                  </a:ext>
                </a:extLst>
              </p:cNvPr>
              <p:cNvGrpSpPr/>
              <p:nvPr/>
            </p:nvGrpSpPr>
            <p:grpSpPr>
              <a:xfrm>
                <a:off x="1477467" y="4720005"/>
                <a:ext cx="4815" cy="328489"/>
                <a:chOff x="1477467" y="4720005"/>
                <a:chExt cx="4815" cy="328489"/>
              </a:xfrm>
            </p:grpSpPr>
            <p:sp>
              <p:nvSpPr>
                <p:cNvPr id="1659" name="Forma livre: Forma 1658">
                  <a:extLst>
                    <a:ext uri="{FF2B5EF4-FFF2-40B4-BE49-F238E27FC236}">
                      <a16:creationId xmlns:a16="http://schemas.microsoft.com/office/drawing/2014/main" id="{B5C58BF6-7C0F-3154-E872-E1833254BC28}"/>
                    </a:ext>
                  </a:extLst>
                </p:cNvPr>
                <p:cNvSpPr/>
                <p:nvPr/>
              </p:nvSpPr>
              <p:spPr>
                <a:xfrm>
                  <a:off x="1477467" y="4973223"/>
                  <a:ext cx="4815" cy="75271"/>
                </a:xfrm>
                <a:custGeom>
                  <a:avLst/>
                  <a:gdLst>
                    <a:gd name="connsiteX0" fmla="*/ 0 w 4815"/>
                    <a:gd name="connsiteY0" fmla="*/ 0 h 75271"/>
                    <a:gd name="connsiteX1" fmla="*/ 0 w 4815"/>
                    <a:gd name="connsiteY1" fmla="*/ 75272 h 752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815" h="75271">
                      <a:moveTo>
                        <a:pt x="0" y="0"/>
                      </a:moveTo>
                      <a:lnTo>
                        <a:pt x="0" y="75272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660" name="Forma livre: Forma 1659">
                  <a:extLst>
                    <a:ext uri="{FF2B5EF4-FFF2-40B4-BE49-F238E27FC236}">
                      <a16:creationId xmlns:a16="http://schemas.microsoft.com/office/drawing/2014/main" id="{D2E71C43-2C78-DAF6-88AA-654DE96FE5C0}"/>
                    </a:ext>
                  </a:extLst>
                </p:cNvPr>
                <p:cNvSpPr/>
                <p:nvPr/>
              </p:nvSpPr>
              <p:spPr>
                <a:xfrm>
                  <a:off x="1477467" y="4720005"/>
                  <a:ext cx="4815" cy="75223"/>
                </a:xfrm>
                <a:custGeom>
                  <a:avLst/>
                  <a:gdLst>
                    <a:gd name="connsiteX0" fmla="*/ 0 w 4815"/>
                    <a:gd name="connsiteY0" fmla="*/ 0 h 75223"/>
                    <a:gd name="connsiteX1" fmla="*/ 0 w 4815"/>
                    <a:gd name="connsiteY1" fmla="*/ 75224 h 7522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815" h="75223">
                      <a:moveTo>
                        <a:pt x="0" y="0"/>
                      </a:moveTo>
                      <a:lnTo>
                        <a:pt x="0" y="75224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1661" name="Gráfico 17">
                <a:extLst>
                  <a:ext uri="{FF2B5EF4-FFF2-40B4-BE49-F238E27FC236}">
                    <a16:creationId xmlns:a16="http://schemas.microsoft.com/office/drawing/2014/main" id="{7FA98018-4851-7766-E03E-48659C350887}"/>
                  </a:ext>
                </a:extLst>
              </p:cNvPr>
              <p:cNvGrpSpPr/>
              <p:nvPr/>
            </p:nvGrpSpPr>
            <p:grpSpPr>
              <a:xfrm>
                <a:off x="1313246" y="4884226"/>
                <a:ext cx="328489" cy="4815"/>
                <a:chOff x="1313246" y="4884226"/>
                <a:chExt cx="328489" cy="4815"/>
              </a:xfrm>
            </p:grpSpPr>
            <p:sp>
              <p:nvSpPr>
                <p:cNvPr id="1662" name="Forma livre: Forma 1661">
                  <a:extLst>
                    <a:ext uri="{FF2B5EF4-FFF2-40B4-BE49-F238E27FC236}">
                      <a16:creationId xmlns:a16="http://schemas.microsoft.com/office/drawing/2014/main" id="{E5876798-4937-996B-CEFA-6B52251A0AA3}"/>
                    </a:ext>
                  </a:extLst>
                </p:cNvPr>
                <p:cNvSpPr/>
                <p:nvPr/>
              </p:nvSpPr>
              <p:spPr>
                <a:xfrm>
                  <a:off x="1313246" y="4884226"/>
                  <a:ext cx="75223" cy="4815"/>
                </a:xfrm>
                <a:custGeom>
                  <a:avLst/>
                  <a:gdLst>
                    <a:gd name="connsiteX0" fmla="*/ 75224 w 75223"/>
                    <a:gd name="connsiteY0" fmla="*/ 0 h 4815"/>
                    <a:gd name="connsiteX1" fmla="*/ 0 w 75223"/>
                    <a:gd name="connsiteY1" fmla="*/ 0 h 481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75223" h="4815">
                      <a:moveTo>
                        <a:pt x="75224" y="0"/>
                      </a:moveTo>
                      <a:lnTo>
                        <a:pt x="0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663" name="Forma livre: Forma 1662">
                  <a:extLst>
                    <a:ext uri="{FF2B5EF4-FFF2-40B4-BE49-F238E27FC236}">
                      <a16:creationId xmlns:a16="http://schemas.microsoft.com/office/drawing/2014/main" id="{9C40B2EA-312D-26A2-0B7A-9EFCA20761E2}"/>
                    </a:ext>
                  </a:extLst>
                </p:cNvPr>
                <p:cNvSpPr/>
                <p:nvPr/>
              </p:nvSpPr>
              <p:spPr>
                <a:xfrm>
                  <a:off x="1566464" y="4884226"/>
                  <a:ext cx="75271" cy="4815"/>
                </a:xfrm>
                <a:custGeom>
                  <a:avLst/>
                  <a:gdLst>
                    <a:gd name="connsiteX0" fmla="*/ 75272 w 75271"/>
                    <a:gd name="connsiteY0" fmla="*/ 0 h 4815"/>
                    <a:gd name="connsiteX1" fmla="*/ 0 w 75271"/>
                    <a:gd name="connsiteY1" fmla="*/ 0 h 481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75271" h="4815">
                      <a:moveTo>
                        <a:pt x="75272" y="0"/>
                      </a:moveTo>
                      <a:lnTo>
                        <a:pt x="0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grpSp>
          <p:nvGrpSpPr>
            <p:cNvPr id="1664" name="Gráfico 17">
              <a:extLst>
                <a:ext uri="{FF2B5EF4-FFF2-40B4-BE49-F238E27FC236}">
                  <a16:creationId xmlns:a16="http://schemas.microsoft.com/office/drawing/2014/main" id="{91110E24-EB97-BF35-000B-87C452190EEE}"/>
                </a:ext>
              </a:extLst>
            </p:cNvPr>
            <p:cNvGrpSpPr/>
            <p:nvPr/>
          </p:nvGrpSpPr>
          <p:grpSpPr>
            <a:xfrm>
              <a:off x="1431331" y="4821668"/>
              <a:ext cx="92223" cy="117266"/>
              <a:chOff x="1431331" y="4821668"/>
              <a:chExt cx="92223" cy="117266"/>
            </a:xfrm>
            <a:noFill/>
          </p:grpSpPr>
          <p:sp>
            <p:nvSpPr>
              <p:cNvPr id="1665" name="Forma livre: Forma 1664">
                <a:extLst>
                  <a:ext uri="{FF2B5EF4-FFF2-40B4-BE49-F238E27FC236}">
                    <a16:creationId xmlns:a16="http://schemas.microsoft.com/office/drawing/2014/main" id="{FAE49016-9E4B-5259-8C30-2023AE01620E}"/>
                  </a:ext>
                </a:extLst>
              </p:cNvPr>
              <p:cNvSpPr/>
              <p:nvPr/>
            </p:nvSpPr>
            <p:spPr>
              <a:xfrm>
                <a:off x="1431331" y="4891112"/>
                <a:ext cx="92223" cy="47821"/>
              </a:xfrm>
              <a:custGeom>
                <a:avLst/>
                <a:gdLst>
                  <a:gd name="connsiteX0" fmla="*/ 0 w 92223"/>
                  <a:gd name="connsiteY0" fmla="*/ 47821 h 47821"/>
                  <a:gd name="connsiteX1" fmla="*/ 0 w 92223"/>
                  <a:gd name="connsiteY1" fmla="*/ 26487 h 47821"/>
                  <a:gd name="connsiteX2" fmla="*/ 27017 w 92223"/>
                  <a:gd name="connsiteY2" fmla="*/ 0 h 47821"/>
                  <a:gd name="connsiteX3" fmla="*/ 46136 w 92223"/>
                  <a:gd name="connsiteY3" fmla="*/ 21045 h 47821"/>
                  <a:gd name="connsiteX4" fmla="*/ 63858 w 92223"/>
                  <a:gd name="connsiteY4" fmla="*/ 0 h 47821"/>
                  <a:gd name="connsiteX5" fmla="*/ 92224 w 92223"/>
                  <a:gd name="connsiteY5" fmla="*/ 26487 h 47821"/>
                  <a:gd name="connsiteX6" fmla="*/ 92224 w 92223"/>
                  <a:gd name="connsiteY6" fmla="*/ 47821 h 478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92223" h="47821">
                    <a:moveTo>
                      <a:pt x="0" y="47821"/>
                    </a:moveTo>
                    <a:lnTo>
                      <a:pt x="0" y="26487"/>
                    </a:lnTo>
                    <a:cubicBezTo>
                      <a:pt x="0" y="9776"/>
                      <a:pt x="11462" y="0"/>
                      <a:pt x="27017" y="0"/>
                    </a:cubicBezTo>
                    <a:lnTo>
                      <a:pt x="46136" y="21045"/>
                    </a:lnTo>
                    <a:lnTo>
                      <a:pt x="63858" y="0"/>
                    </a:lnTo>
                    <a:cubicBezTo>
                      <a:pt x="79413" y="0"/>
                      <a:pt x="92224" y="9776"/>
                      <a:pt x="92224" y="26487"/>
                    </a:cubicBezTo>
                    <a:lnTo>
                      <a:pt x="92224" y="47821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666" name="Forma livre: Forma 1665">
                <a:extLst>
                  <a:ext uri="{FF2B5EF4-FFF2-40B4-BE49-F238E27FC236}">
                    <a16:creationId xmlns:a16="http://schemas.microsoft.com/office/drawing/2014/main" id="{EAC2C294-0DEC-D325-3B8C-D1244BC7B365}"/>
                  </a:ext>
                </a:extLst>
              </p:cNvPr>
              <p:cNvSpPr/>
              <p:nvPr/>
            </p:nvSpPr>
            <p:spPr>
              <a:xfrm>
                <a:off x="1454688" y="4821668"/>
                <a:ext cx="45606" cy="51770"/>
              </a:xfrm>
              <a:custGeom>
                <a:avLst/>
                <a:gdLst>
                  <a:gd name="connsiteX0" fmla="*/ 45606 w 45606"/>
                  <a:gd name="connsiteY0" fmla="*/ 28606 h 51770"/>
                  <a:gd name="connsiteX1" fmla="*/ 22779 w 45606"/>
                  <a:gd name="connsiteY1" fmla="*/ 51770 h 51770"/>
                  <a:gd name="connsiteX2" fmla="*/ 0 w 45606"/>
                  <a:gd name="connsiteY2" fmla="*/ 28606 h 51770"/>
                  <a:gd name="connsiteX3" fmla="*/ 0 w 45606"/>
                  <a:gd name="connsiteY3" fmla="*/ 23164 h 51770"/>
                  <a:gd name="connsiteX4" fmla="*/ 22779 w 45606"/>
                  <a:gd name="connsiteY4" fmla="*/ 0 h 51770"/>
                  <a:gd name="connsiteX5" fmla="*/ 45606 w 45606"/>
                  <a:gd name="connsiteY5" fmla="*/ 23164 h 51770"/>
                  <a:gd name="connsiteX6" fmla="*/ 45606 w 45606"/>
                  <a:gd name="connsiteY6" fmla="*/ 28606 h 517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5606" h="51770">
                    <a:moveTo>
                      <a:pt x="45606" y="28606"/>
                    </a:moveTo>
                    <a:cubicBezTo>
                      <a:pt x="45606" y="41320"/>
                      <a:pt x="35348" y="51770"/>
                      <a:pt x="22779" y="51770"/>
                    </a:cubicBezTo>
                    <a:cubicBezTo>
                      <a:pt x="10210" y="51770"/>
                      <a:pt x="0" y="41368"/>
                      <a:pt x="0" y="28606"/>
                    </a:cubicBezTo>
                    <a:lnTo>
                      <a:pt x="0" y="23164"/>
                    </a:lnTo>
                    <a:cubicBezTo>
                      <a:pt x="0" y="10402"/>
                      <a:pt x="10258" y="0"/>
                      <a:pt x="22779" y="0"/>
                    </a:cubicBezTo>
                    <a:cubicBezTo>
                      <a:pt x="35300" y="0"/>
                      <a:pt x="45606" y="10402"/>
                      <a:pt x="45606" y="23164"/>
                    </a:cubicBezTo>
                    <a:lnTo>
                      <a:pt x="45606" y="28606"/>
                    </a:ln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667" name="Gráfico 17">
            <a:extLst>
              <a:ext uri="{FF2B5EF4-FFF2-40B4-BE49-F238E27FC236}">
                <a16:creationId xmlns:a16="http://schemas.microsoft.com/office/drawing/2014/main" id="{E102A0F0-8FD0-CC67-8D25-45BD9B2B9B72}"/>
              </a:ext>
            </a:extLst>
          </p:cNvPr>
          <p:cNvGrpSpPr/>
          <p:nvPr/>
        </p:nvGrpSpPr>
        <p:grpSpPr>
          <a:xfrm>
            <a:off x="2000854" y="4715093"/>
            <a:ext cx="198461" cy="338313"/>
            <a:chOff x="2000854" y="4715093"/>
            <a:chExt cx="198461" cy="338313"/>
          </a:xfrm>
          <a:noFill/>
        </p:grpSpPr>
        <p:grpSp>
          <p:nvGrpSpPr>
            <p:cNvPr id="1668" name="Gráfico 17">
              <a:extLst>
                <a:ext uri="{FF2B5EF4-FFF2-40B4-BE49-F238E27FC236}">
                  <a16:creationId xmlns:a16="http://schemas.microsoft.com/office/drawing/2014/main" id="{030AB7B5-65DD-5D3B-02C4-92764CFEE279}"/>
                </a:ext>
              </a:extLst>
            </p:cNvPr>
            <p:cNvGrpSpPr/>
            <p:nvPr/>
          </p:nvGrpSpPr>
          <p:grpSpPr>
            <a:xfrm>
              <a:off x="2006970" y="4715093"/>
              <a:ext cx="186229" cy="213679"/>
              <a:chOff x="2006970" y="4715093"/>
              <a:chExt cx="186229" cy="213679"/>
            </a:xfrm>
            <a:noFill/>
          </p:grpSpPr>
          <p:sp>
            <p:nvSpPr>
              <p:cNvPr id="1669" name="Forma livre: Forma 1668">
                <a:extLst>
                  <a:ext uri="{FF2B5EF4-FFF2-40B4-BE49-F238E27FC236}">
                    <a16:creationId xmlns:a16="http://schemas.microsoft.com/office/drawing/2014/main" id="{9D5E4A7A-82BA-FA8E-4E1E-69C9CF951158}"/>
                  </a:ext>
                </a:extLst>
              </p:cNvPr>
              <p:cNvSpPr/>
              <p:nvPr/>
            </p:nvSpPr>
            <p:spPr>
              <a:xfrm>
                <a:off x="2006970" y="4715093"/>
                <a:ext cx="186229" cy="47339"/>
              </a:xfrm>
              <a:custGeom>
                <a:avLst/>
                <a:gdLst>
                  <a:gd name="connsiteX0" fmla="*/ 36023 w 186229"/>
                  <a:gd name="connsiteY0" fmla="*/ 47340 h 47339"/>
                  <a:gd name="connsiteX1" fmla="*/ 19263 w 186229"/>
                  <a:gd name="connsiteY1" fmla="*/ 47340 h 47339"/>
                  <a:gd name="connsiteX2" fmla="*/ 0 w 186229"/>
                  <a:gd name="connsiteY2" fmla="*/ 28076 h 47339"/>
                  <a:gd name="connsiteX3" fmla="*/ 0 w 186229"/>
                  <a:gd name="connsiteY3" fmla="*/ 19263 h 47339"/>
                  <a:gd name="connsiteX4" fmla="*/ 19263 w 186229"/>
                  <a:gd name="connsiteY4" fmla="*/ 0 h 47339"/>
                  <a:gd name="connsiteX5" fmla="*/ 166966 w 186229"/>
                  <a:gd name="connsiteY5" fmla="*/ 0 h 47339"/>
                  <a:gd name="connsiteX6" fmla="*/ 186229 w 186229"/>
                  <a:gd name="connsiteY6" fmla="*/ 19263 h 47339"/>
                  <a:gd name="connsiteX7" fmla="*/ 186229 w 186229"/>
                  <a:gd name="connsiteY7" fmla="*/ 28076 h 47339"/>
                  <a:gd name="connsiteX8" fmla="*/ 166966 w 186229"/>
                  <a:gd name="connsiteY8" fmla="*/ 47340 h 47339"/>
                  <a:gd name="connsiteX9" fmla="*/ 103396 w 186229"/>
                  <a:gd name="connsiteY9" fmla="*/ 47340 h 473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86229" h="47339">
                    <a:moveTo>
                      <a:pt x="36023" y="47340"/>
                    </a:moveTo>
                    <a:lnTo>
                      <a:pt x="19263" y="47340"/>
                    </a:lnTo>
                    <a:cubicBezTo>
                      <a:pt x="8668" y="47340"/>
                      <a:pt x="0" y="38671"/>
                      <a:pt x="0" y="28076"/>
                    </a:cubicBezTo>
                    <a:lnTo>
                      <a:pt x="0" y="19263"/>
                    </a:lnTo>
                    <a:cubicBezTo>
                      <a:pt x="0" y="8669"/>
                      <a:pt x="8668" y="0"/>
                      <a:pt x="19263" y="0"/>
                    </a:cubicBezTo>
                    <a:lnTo>
                      <a:pt x="166966" y="0"/>
                    </a:lnTo>
                    <a:cubicBezTo>
                      <a:pt x="177561" y="0"/>
                      <a:pt x="186229" y="8669"/>
                      <a:pt x="186229" y="19263"/>
                    </a:cubicBezTo>
                    <a:lnTo>
                      <a:pt x="186229" y="28076"/>
                    </a:lnTo>
                    <a:cubicBezTo>
                      <a:pt x="186229" y="38671"/>
                      <a:pt x="177561" y="47340"/>
                      <a:pt x="166966" y="47340"/>
                    </a:cubicBezTo>
                    <a:lnTo>
                      <a:pt x="103396" y="47340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670" name="Forma livre: Forma 1669">
                <a:extLst>
                  <a:ext uri="{FF2B5EF4-FFF2-40B4-BE49-F238E27FC236}">
                    <a16:creationId xmlns:a16="http://schemas.microsoft.com/office/drawing/2014/main" id="{92DD0CDF-3A4B-9084-1349-CFE52A8BEEBF}"/>
                  </a:ext>
                </a:extLst>
              </p:cNvPr>
              <p:cNvSpPr/>
              <p:nvPr/>
            </p:nvSpPr>
            <p:spPr>
              <a:xfrm>
                <a:off x="2006970" y="4824076"/>
                <a:ext cx="36022" cy="29713"/>
              </a:xfrm>
              <a:custGeom>
                <a:avLst/>
                <a:gdLst>
                  <a:gd name="connsiteX0" fmla="*/ 36023 w 36022"/>
                  <a:gd name="connsiteY0" fmla="*/ 29714 h 29713"/>
                  <a:gd name="connsiteX1" fmla="*/ 9632 w 36022"/>
                  <a:gd name="connsiteY1" fmla="*/ 29714 h 29713"/>
                  <a:gd name="connsiteX2" fmla="*/ 0 w 36022"/>
                  <a:gd name="connsiteY2" fmla="*/ 20082 h 29713"/>
                  <a:gd name="connsiteX3" fmla="*/ 0 w 36022"/>
                  <a:gd name="connsiteY3" fmla="*/ 9632 h 29713"/>
                  <a:gd name="connsiteX4" fmla="*/ 9632 w 36022"/>
                  <a:gd name="connsiteY4" fmla="*/ 0 h 29713"/>
                  <a:gd name="connsiteX5" fmla="*/ 36023 w 36022"/>
                  <a:gd name="connsiteY5" fmla="*/ 0 h 297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36022" h="29713">
                    <a:moveTo>
                      <a:pt x="36023" y="29714"/>
                    </a:moveTo>
                    <a:lnTo>
                      <a:pt x="9632" y="29714"/>
                    </a:lnTo>
                    <a:cubicBezTo>
                      <a:pt x="4334" y="29714"/>
                      <a:pt x="0" y="25380"/>
                      <a:pt x="0" y="20082"/>
                    </a:cubicBezTo>
                    <a:lnTo>
                      <a:pt x="0" y="9632"/>
                    </a:lnTo>
                    <a:cubicBezTo>
                      <a:pt x="0" y="4334"/>
                      <a:pt x="4334" y="0"/>
                      <a:pt x="9632" y="0"/>
                    </a:cubicBezTo>
                    <a:lnTo>
                      <a:pt x="36023" y="0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671" name="Forma livre: Forma 1670">
                <a:extLst>
                  <a:ext uri="{FF2B5EF4-FFF2-40B4-BE49-F238E27FC236}">
                    <a16:creationId xmlns:a16="http://schemas.microsoft.com/office/drawing/2014/main" id="{59C3BEFD-E1A8-0DBA-D8C6-205883A7AD42}"/>
                  </a:ext>
                </a:extLst>
              </p:cNvPr>
              <p:cNvSpPr/>
              <p:nvPr/>
            </p:nvSpPr>
            <p:spPr>
              <a:xfrm>
                <a:off x="2110367" y="4824076"/>
                <a:ext cx="82832" cy="29713"/>
              </a:xfrm>
              <a:custGeom>
                <a:avLst/>
                <a:gdLst>
                  <a:gd name="connsiteX0" fmla="*/ 0 w 82832"/>
                  <a:gd name="connsiteY0" fmla="*/ 0 h 29713"/>
                  <a:gd name="connsiteX1" fmla="*/ 73201 w 82832"/>
                  <a:gd name="connsiteY1" fmla="*/ 0 h 29713"/>
                  <a:gd name="connsiteX2" fmla="*/ 82833 w 82832"/>
                  <a:gd name="connsiteY2" fmla="*/ 9632 h 29713"/>
                  <a:gd name="connsiteX3" fmla="*/ 82833 w 82832"/>
                  <a:gd name="connsiteY3" fmla="*/ 20082 h 29713"/>
                  <a:gd name="connsiteX4" fmla="*/ 73201 w 82832"/>
                  <a:gd name="connsiteY4" fmla="*/ 29714 h 29713"/>
                  <a:gd name="connsiteX5" fmla="*/ 0 w 82832"/>
                  <a:gd name="connsiteY5" fmla="*/ 29714 h 297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82832" h="29713">
                    <a:moveTo>
                      <a:pt x="0" y="0"/>
                    </a:moveTo>
                    <a:lnTo>
                      <a:pt x="73201" y="0"/>
                    </a:lnTo>
                    <a:cubicBezTo>
                      <a:pt x="78498" y="0"/>
                      <a:pt x="82833" y="4334"/>
                      <a:pt x="82833" y="9632"/>
                    </a:cubicBezTo>
                    <a:lnTo>
                      <a:pt x="82833" y="20082"/>
                    </a:lnTo>
                    <a:cubicBezTo>
                      <a:pt x="82833" y="25380"/>
                      <a:pt x="78498" y="29714"/>
                      <a:pt x="73201" y="29714"/>
                    </a:cubicBezTo>
                    <a:lnTo>
                      <a:pt x="0" y="29714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672" name="Forma livre: Forma 1671">
                <a:extLst>
                  <a:ext uri="{FF2B5EF4-FFF2-40B4-BE49-F238E27FC236}">
                    <a16:creationId xmlns:a16="http://schemas.microsoft.com/office/drawing/2014/main" id="{8AD8E40D-3053-3F43-254C-0B99934E2C43}"/>
                  </a:ext>
                </a:extLst>
              </p:cNvPr>
              <p:cNvSpPr/>
              <p:nvPr/>
            </p:nvSpPr>
            <p:spPr>
              <a:xfrm>
                <a:off x="2006970" y="4899059"/>
                <a:ext cx="186229" cy="29713"/>
              </a:xfrm>
              <a:custGeom>
                <a:avLst/>
                <a:gdLst>
                  <a:gd name="connsiteX0" fmla="*/ 103396 w 186229"/>
                  <a:gd name="connsiteY0" fmla="*/ 0 h 29713"/>
                  <a:gd name="connsiteX1" fmla="*/ 176597 w 186229"/>
                  <a:gd name="connsiteY1" fmla="*/ 0 h 29713"/>
                  <a:gd name="connsiteX2" fmla="*/ 186229 w 186229"/>
                  <a:gd name="connsiteY2" fmla="*/ 9632 h 29713"/>
                  <a:gd name="connsiteX3" fmla="*/ 186229 w 186229"/>
                  <a:gd name="connsiteY3" fmla="*/ 20082 h 29713"/>
                  <a:gd name="connsiteX4" fmla="*/ 176597 w 186229"/>
                  <a:gd name="connsiteY4" fmla="*/ 29714 h 29713"/>
                  <a:gd name="connsiteX5" fmla="*/ 9632 w 186229"/>
                  <a:gd name="connsiteY5" fmla="*/ 29714 h 29713"/>
                  <a:gd name="connsiteX6" fmla="*/ 0 w 186229"/>
                  <a:gd name="connsiteY6" fmla="*/ 20082 h 29713"/>
                  <a:gd name="connsiteX7" fmla="*/ 0 w 186229"/>
                  <a:gd name="connsiteY7" fmla="*/ 9632 h 29713"/>
                  <a:gd name="connsiteX8" fmla="*/ 9632 w 186229"/>
                  <a:gd name="connsiteY8" fmla="*/ 0 h 29713"/>
                  <a:gd name="connsiteX9" fmla="*/ 36023 w 186229"/>
                  <a:gd name="connsiteY9" fmla="*/ 0 h 297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86229" h="29713">
                    <a:moveTo>
                      <a:pt x="103396" y="0"/>
                    </a:moveTo>
                    <a:lnTo>
                      <a:pt x="176597" y="0"/>
                    </a:lnTo>
                    <a:cubicBezTo>
                      <a:pt x="181895" y="0"/>
                      <a:pt x="186229" y="4334"/>
                      <a:pt x="186229" y="9632"/>
                    </a:cubicBezTo>
                    <a:lnTo>
                      <a:pt x="186229" y="20082"/>
                    </a:lnTo>
                    <a:cubicBezTo>
                      <a:pt x="186229" y="25380"/>
                      <a:pt x="181895" y="29714"/>
                      <a:pt x="176597" y="29714"/>
                    </a:cubicBezTo>
                    <a:lnTo>
                      <a:pt x="9632" y="29714"/>
                    </a:lnTo>
                    <a:cubicBezTo>
                      <a:pt x="4334" y="29714"/>
                      <a:pt x="0" y="25380"/>
                      <a:pt x="0" y="20082"/>
                    </a:cubicBezTo>
                    <a:lnTo>
                      <a:pt x="0" y="9632"/>
                    </a:lnTo>
                    <a:cubicBezTo>
                      <a:pt x="0" y="4334"/>
                      <a:pt x="4334" y="0"/>
                      <a:pt x="9632" y="0"/>
                    </a:cubicBezTo>
                    <a:lnTo>
                      <a:pt x="36023" y="0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673" name="Gráfico 17">
              <a:extLst>
                <a:ext uri="{FF2B5EF4-FFF2-40B4-BE49-F238E27FC236}">
                  <a16:creationId xmlns:a16="http://schemas.microsoft.com/office/drawing/2014/main" id="{2AB95577-3D50-9BBA-A8CA-6961AF79F9AE}"/>
                </a:ext>
              </a:extLst>
            </p:cNvPr>
            <p:cNvGrpSpPr/>
            <p:nvPr/>
          </p:nvGrpSpPr>
          <p:grpSpPr>
            <a:xfrm>
              <a:off x="2021225" y="4763348"/>
              <a:ext cx="157719" cy="59235"/>
              <a:chOff x="2021225" y="4763348"/>
              <a:chExt cx="157719" cy="59235"/>
            </a:xfrm>
          </p:grpSpPr>
          <p:sp>
            <p:nvSpPr>
              <p:cNvPr id="1674" name="Forma livre: Forma 1673">
                <a:extLst>
                  <a:ext uri="{FF2B5EF4-FFF2-40B4-BE49-F238E27FC236}">
                    <a16:creationId xmlns:a16="http://schemas.microsoft.com/office/drawing/2014/main" id="{96378856-229F-4D0E-C4D4-4B7B6F2C7D74}"/>
                  </a:ext>
                </a:extLst>
              </p:cNvPr>
              <p:cNvSpPr/>
              <p:nvPr/>
            </p:nvSpPr>
            <p:spPr>
              <a:xfrm>
                <a:off x="2021225" y="4783623"/>
                <a:ext cx="4815" cy="38960"/>
              </a:xfrm>
              <a:custGeom>
                <a:avLst/>
                <a:gdLst>
                  <a:gd name="connsiteX0" fmla="*/ 0 w 4815"/>
                  <a:gd name="connsiteY0" fmla="*/ 0 h 38960"/>
                  <a:gd name="connsiteX1" fmla="*/ 0 w 4815"/>
                  <a:gd name="connsiteY1" fmla="*/ 38960 h 389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815" h="38960">
                    <a:moveTo>
                      <a:pt x="0" y="0"/>
                    </a:moveTo>
                    <a:lnTo>
                      <a:pt x="0" y="3896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675" name="Forma livre: Forma 1674">
                <a:extLst>
                  <a:ext uri="{FF2B5EF4-FFF2-40B4-BE49-F238E27FC236}">
                    <a16:creationId xmlns:a16="http://schemas.microsoft.com/office/drawing/2014/main" id="{66C5CE2C-3329-2901-9241-15D2B7D39E22}"/>
                  </a:ext>
                </a:extLst>
              </p:cNvPr>
              <p:cNvSpPr/>
              <p:nvPr/>
            </p:nvSpPr>
            <p:spPr>
              <a:xfrm>
                <a:off x="2178944" y="4763348"/>
                <a:ext cx="4815" cy="59235"/>
              </a:xfrm>
              <a:custGeom>
                <a:avLst/>
                <a:gdLst>
                  <a:gd name="connsiteX0" fmla="*/ 0 w 4815"/>
                  <a:gd name="connsiteY0" fmla="*/ 0 h 59235"/>
                  <a:gd name="connsiteX1" fmla="*/ 0 w 4815"/>
                  <a:gd name="connsiteY1" fmla="*/ 59235 h 592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815" h="59235">
                    <a:moveTo>
                      <a:pt x="0" y="0"/>
                    </a:moveTo>
                    <a:lnTo>
                      <a:pt x="0" y="59235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676" name="Gráfico 17">
              <a:extLst>
                <a:ext uri="{FF2B5EF4-FFF2-40B4-BE49-F238E27FC236}">
                  <a16:creationId xmlns:a16="http://schemas.microsoft.com/office/drawing/2014/main" id="{267BB9C7-C1E8-1C77-9366-800DBF8B7343}"/>
                </a:ext>
              </a:extLst>
            </p:cNvPr>
            <p:cNvGrpSpPr/>
            <p:nvPr/>
          </p:nvGrpSpPr>
          <p:grpSpPr>
            <a:xfrm>
              <a:off x="2021225" y="4855186"/>
              <a:ext cx="157719" cy="42090"/>
              <a:chOff x="2021225" y="4855186"/>
              <a:chExt cx="157719" cy="42090"/>
            </a:xfrm>
          </p:grpSpPr>
          <p:sp>
            <p:nvSpPr>
              <p:cNvPr id="1677" name="Forma livre: Forma 1676">
                <a:extLst>
                  <a:ext uri="{FF2B5EF4-FFF2-40B4-BE49-F238E27FC236}">
                    <a16:creationId xmlns:a16="http://schemas.microsoft.com/office/drawing/2014/main" id="{13D18FF1-4EAE-E7B7-B6F6-D335993F30A4}"/>
                  </a:ext>
                </a:extLst>
              </p:cNvPr>
              <p:cNvSpPr/>
              <p:nvPr/>
            </p:nvSpPr>
            <p:spPr>
              <a:xfrm>
                <a:off x="2021225" y="4874112"/>
                <a:ext cx="4815" cy="23164"/>
              </a:xfrm>
              <a:custGeom>
                <a:avLst/>
                <a:gdLst>
                  <a:gd name="connsiteX0" fmla="*/ 0 w 4815"/>
                  <a:gd name="connsiteY0" fmla="*/ 0 h 23164"/>
                  <a:gd name="connsiteX1" fmla="*/ 0 w 4815"/>
                  <a:gd name="connsiteY1" fmla="*/ 23164 h 231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815" h="23164">
                    <a:moveTo>
                      <a:pt x="0" y="0"/>
                    </a:moveTo>
                    <a:lnTo>
                      <a:pt x="0" y="23164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678" name="Forma livre: Forma 1677">
                <a:extLst>
                  <a:ext uri="{FF2B5EF4-FFF2-40B4-BE49-F238E27FC236}">
                    <a16:creationId xmlns:a16="http://schemas.microsoft.com/office/drawing/2014/main" id="{B9E990EE-81CC-4057-C1E5-A46A56DCC2AD}"/>
                  </a:ext>
                </a:extLst>
              </p:cNvPr>
              <p:cNvSpPr/>
              <p:nvPr/>
            </p:nvSpPr>
            <p:spPr>
              <a:xfrm>
                <a:off x="2178944" y="4855186"/>
                <a:ext cx="4815" cy="42090"/>
              </a:xfrm>
              <a:custGeom>
                <a:avLst/>
                <a:gdLst>
                  <a:gd name="connsiteX0" fmla="*/ 0 w 4815"/>
                  <a:gd name="connsiteY0" fmla="*/ 0 h 42090"/>
                  <a:gd name="connsiteX1" fmla="*/ 0 w 4815"/>
                  <a:gd name="connsiteY1" fmla="*/ 42091 h 420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815" h="42090">
                    <a:moveTo>
                      <a:pt x="0" y="0"/>
                    </a:moveTo>
                    <a:lnTo>
                      <a:pt x="0" y="42091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679" name="Gráfico 17">
              <a:extLst>
                <a:ext uri="{FF2B5EF4-FFF2-40B4-BE49-F238E27FC236}">
                  <a16:creationId xmlns:a16="http://schemas.microsoft.com/office/drawing/2014/main" id="{A9DC3631-F69C-17AD-9140-A95B7CC56439}"/>
                </a:ext>
              </a:extLst>
            </p:cNvPr>
            <p:cNvGrpSpPr/>
            <p:nvPr/>
          </p:nvGrpSpPr>
          <p:grpSpPr>
            <a:xfrm>
              <a:off x="2029749" y="4930988"/>
              <a:ext cx="140671" cy="30725"/>
              <a:chOff x="2029749" y="4930988"/>
              <a:chExt cx="140671" cy="30725"/>
            </a:xfrm>
          </p:grpSpPr>
          <p:sp>
            <p:nvSpPr>
              <p:cNvPr id="1680" name="Forma livre: Forma 1679">
                <a:extLst>
                  <a:ext uri="{FF2B5EF4-FFF2-40B4-BE49-F238E27FC236}">
                    <a16:creationId xmlns:a16="http://schemas.microsoft.com/office/drawing/2014/main" id="{DF678118-3F40-B855-8D01-D4FD01D3844F}"/>
                  </a:ext>
                </a:extLst>
              </p:cNvPr>
              <p:cNvSpPr/>
              <p:nvPr/>
            </p:nvSpPr>
            <p:spPr>
              <a:xfrm>
                <a:off x="2029749" y="4930988"/>
                <a:ext cx="18059" cy="30725"/>
              </a:xfrm>
              <a:custGeom>
                <a:avLst/>
                <a:gdLst>
                  <a:gd name="connsiteX0" fmla="*/ 0 w 18059"/>
                  <a:gd name="connsiteY0" fmla="*/ 0 h 30725"/>
                  <a:gd name="connsiteX1" fmla="*/ 18060 w 18059"/>
                  <a:gd name="connsiteY1" fmla="*/ 30725 h 307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8059" h="30725">
                    <a:moveTo>
                      <a:pt x="0" y="0"/>
                    </a:moveTo>
                    <a:lnTo>
                      <a:pt x="18060" y="30725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681" name="Forma livre: Forma 1680">
                <a:extLst>
                  <a:ext uri="{FF2B5EF4-FFF2-40B4-BE49-F238E27FC236}">
                    <a16:creationId xmlns:a16="http://schemas.microsoft.com/office/drawing/2014/main" id="{70690FE0-6156-B1A3-6DD3-003B43CE843C}"/>
                  </a:ext>
                </a:extLst>
              </p:cNvPr>
              <p:cNvSpPr/>
              <p:nvPr/>
            </p:nvSpPr>
            <p:spPr>
              <a:xfrm>
                <a:off x="2152361" y="4930988"/>
                <a:ext cx="18059" cy="30725"/>
              </a:xfrm>
              <a:custGeom>
                <a:avLst/>
                <a:gdLst>
                  <a:gd name="connsiteX0" fmla="*/ 0 w 18059"/>
                  <a:gd name="connsiteY0" fmla="*/ 30725 h 30725"/>
                  <a:gd name="connsiteX1" fmla="*/ 18059 w 18059"/>
                  <a:gd name="connsiteY1" fmla="*/ 0 h 307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8059" h="30725">
                    <a:moveTo>
                      <a:pt x="0" y="30725"/>
                    </a:moveTo>
                    <a:lnTo>
                      <a:pt x="18059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682" name="Forma livre: Forma 1681">
              <a:extLst>
                <a:ext uri="{FF2B5EF4-FFF2-40B4-BE49-F238E27FC236}">
                  <a16:creationId xmlns:a16="http://schemas.microsoft.com/office/drawing/2014/main" id="{4B159919-39DF-6782-1E29-759F50A42594}"/>
                </a:ext>
              </a:extLst>
            </p:cNvPr>
            <p:cNvSpPr/>
            <p:nvPr/>
          </p:nvSpPr>
          <p:spPr>
            <a:xfrm>
              <a:off x="2000854" y="4963398"/>
              <a:ext cx="198461" cy="90008"/>
            </a:xfrm>
            <a:custGeom>
              <a:avLst/>
              <a:gdLst>
                <a:gd name="connsiteX0" fmla="*/ 0 w 198461"/>
                <a:gd name="connsiteY0" fmla="*/ 90008 h 90008"/>
                <a:gd name="connsiteX1" fmla="*/ 0 w 198461"/>
                <a:gd name="connsiteY1" fmla="*/ 0 h 90008"/>
                <a:gd name="connsiteX2" fmla="*/ 198461 w 198461"/>
                <a:gd name="connsiteY2" fmla="*/ 0 h 90008"/>
                <a:gd name="connsiteX3" fmla="*/ 198461 w 198461"/>
                <a:gd name="connsiteY3" fmla="*/ 90008 h 900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8461" h="90008">
                  <a:moveTo>
                    <a:pt x="0" y="90008"/>
                  </a:moveTo>
                  <a:lnTo>
                    <a:pt x="0" y="0"/>
                  </a:lnTo>
                  <a:lnTo>
                    <a:pt x="198461" y="0"/>
                  </a:lnTo>
                  <a:lnTo>
                    <a:pt x="198461" y="90008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83" name="Forma livre: Forma 1682">
              <a:extLst>
                <a:ext uri="{FF2B5EF4-FFF2-40B4-BE49-F238E27FC236}">
                  <a16:creationId xmlns:a16="http://schemas.microsoft.com/office/drawing/2014/main" id="{16DF2CF7-2516-F903-7E54-6CF9CA72C423}"/>
                </a:ext>
              </a:extLst>
            </p:cNvPr>
            <p:cNvSpPr/>
            <p:nvPr/>
          </p:nvSpPr>
          <p:spPr>
            <a:xfrm>
              <a:off x="2048290" y="5000336"/>
              <a:ext cx="103589" cy="53070"/>
            </a:xfrm>
            <a:custGeom>
              <a:avLst/>
              <a:gdLst>
                <a:gd name="connsiteX0" fmla="*/ 0 w 103589"/>
                <a:gd name="connsiteY0" fmla="*/ 53071 h 53070"/>
                <a:gd name="connsiteX1" fmla="*/ 0 w 103589"/>
                <a:gd name="connsiteY1" fmla="*/ 0 h 53070"/>
                <a:gd name="connsiteX2" fmla="*/ 103589 w 103589"/>
                <a:gd name="connsiteY2" fmla="*/ 0 h 53070"/>
                <a:gd name="connsiteX3" fmla="*/ 103589 w 103589"/>
                <a:gd name="connsiteY3" fmla="*/ 53071 h 530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3589" h="53070">
                  <a:moveTo>
                    <a:pt x="0" y="53071"/>
                  </a:moveTo>
                  <a:lnTo>
                    <a:pt x="0" y="0"/>
                  </a:lnTo>
                  <a:lnTo>
                    <a:pt x="103589" y="0"/>
                  </a:lnTo>
                  <a:lnTo>
                    <a:pt x="103589" y="53071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684" name="Gráfico 17">
              <a:extLst>
                <a:ext uri="{FF2B5EF4-FFF2-40B4-BE49-F238E27FC236}">
                  <a16:creationId xmlns:a16="http://schemas.microsoft.com/office/drawing/2014/main" id="{37F0E36C-264F-2560-1DF8-8E1B5C8E7DE2}"/>
                </a:ext>
              </a:extLst>
            </p:cNvPr>
            <p:cNvGrpSpPr/>
            <p:nvPr/>
          </p:nvGrpSpPr>
          <p:grpSpPr>
            <a:xfrm>
              <a:off x="2079015" y="5025956"/>
              <a:ext cx="42138" cy="27450"/>
              <a:chOff x="2079015" y="5025956"/>
              <a:chExt cx="42138" cy="27450"/>
            </a:xfrm>
          </p:grpSpPr>
          <p:sp>
            <p:nvSpPr>
              <p:cNvPr id="1685" name="Forma livre: Forma 1684">
                <a:extLst>
                  <a:ext uri="{FF2B5EF4-FFF2-40B4-BE49-F238E27FC236}">
                    <a16:creationId xmlns:a16="http://schemas.microsoft.com/office/drawing/2014/main" id="{C8AC9989-4F61-A7C1-B908-EE63451D5B9C}"/>
                  </a:ext>
                </a:extLst>
              </p:cNvPr>
              <p:cNvSpPr/>
              <p:nvPr/>
            </p:nvSpPr>
            <p:spPr>
              <a:xfrm>
                <a:off x="2079015" y="5025956"/>
                <a:ext cx="4815" cy="27450"/>
              </a:xfrm>
              <a:custGeom>
                <a:avLst/>
                <a:gdLst>
                  <a:gd name="connsiteX0" fmla="*/ 0 w 4815"/>
                  <a:gd name="connsiteY0" fmla="*/ 0 h 27450"/>
                  <a:gd name="connsiteX1" fmla="*/ 0 w 4815"/>
                  <a:gd name="connsiteY1" fmla="*/ 27450 h 274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815" h="27450">
                    <a:moveTo>
                      <a:pt x="0" y="0"/>
                    </a:moveTo>
                    <a:lnTo>
                      <a:pt x="0" y="2745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686" name="Forma livre: Forma 1685">
                <a:extLst>
                  <a:ext uri="{FF2B5EF4-FFF2-40B4-BE49-F238E27FC236}">
                    <a16:creationId xmlns:a16="http://schemas.microsoft.com/office/drawing/2014/main" id="{2D7B80B5-0B3A-8A50-FA85-9A17D0CA6B88}"/>
                  </a:ext>
                </a:extLst>
              </p:cNvPr>
              <p:cNvSpPr/>
              <p:nvPr/>
            </p:nvSpPr>
            <p:spPr>
              <a:xfrm>
                <a:off x="2121154" y="5025956"/>
                <a:ext cx="4815" cy="27450"/>
              </a:xfrm>
              <a:custGeom>
                <a:avLst/>
                <a:gdLst>
                  <a:gd name="connsiteX0" fmla="*/ 0 w 4815"/>
                  <a:gd name="connsiteY0" fmla="*/ 0 h 27450"/>
                  <a:gd name="connsiteX1" fmla="*/ 0 w 4815"/>
                  <a:gd name="connsiteY1" fmla="*/ 27450 h 274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815" h="27450">
                    <a:moveTo>
                      <a:pt x="0" y="0"/>
                    </a:moveTo>
                    <a:lnTo>
                      <a:pt x="0" y="2745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687" name="Gráfico 17">
            <a:extLst>
              <a:ext uri="{FF2B5EF4-FFF2-40B4-BE49-F238E27FC236}">
                <a16:creationId xmlns:a16="http://schemas.microsoft.com/office/drawing/2014/main" id="{7137298A-FB6E-8C57-0D0F-5A439A502C19}"/>
              </a:ext>
            </a:extLst>
          </p:cNvPr>
          <p:cNvGrpSpPr/>
          <p:nvPr/>
        </p:nvGrpSpPr>
        <p:grpSpPr>
          <a:xfrm>
            <a:off x="681117" y="4738065"/>
            <a:ext cx="347512" cy="303784"/>
            <a:chOff x="681117" y="4738065"/>
            <a:chExt cx="347512" cy="303784"/>
          </a:xfrm>
          <a:noFill/>
        </p:grpSpPr>
        <p:grpSp>
          <p:nvGrpSpPr>
            <p:cNvPr id="1688" name="Gráfico 17">
              <a:extLst>
                <a:ext uri="{FF2B5EF4-FFF2-40B4-BE49-F238E27FC236}">
                  <a16:creationId xmlns:a16="http://schemas.microsoft.com/office/drawing/2014/main" id="{82FFE1B3-96AF-F98D-9D5B-B9190EDF1494}"/>
                </a:ext>
              </a:extLst>
            </p:cNvPr>
            <p:cNvGrpSpPr/>
            <p:nvPr/>
          </p:nvGrpSpPr>
          <p:grpSpPr>
            <a:xfrm>
              <a:off x="784610" y="4820897"/>
              <a:ext cx="134843" cy="134843"/>
              <a:chOff x="784610" y="4820897"/>
              <a:chExt cx="134843" cy="134843"/>
            </a:xfrm>
            <a:noFill/>
          </p:grpSpPr>
          <p:sp>
            <p:nvSpPr>
              <p:cNvPr id="1689" name="Forma livre: Forma 1688">
                <a:extLst>
                  <a:ext uri="{FF2B5EF4-FFF2-40B4-BE49-F238E27FC236}">
                    <a16:creationId xmlns:a16="http://schemas.microsoft.com/office/drawing/2014/main" id="{87953AFA-0976-762D-B637-5ACB04469E49}"/>
                  </a:ext>
                </a:extLst>
              </p:cNvPr>
              <p:cNvSpPr/>
              <p:nvPr/>
            </p:nvSpPr>
            <p:spPr>
              <a:xfrm>
                <a:off x="784610" y="4820897"/>
                <a:ext cx="134843" cy="134843"/>
              </a:xfrm>
              <a:custGeom>
                <a:avLst/>
                <a:gdLst>
                  <a:gd name="connsiteX0" fmla="*/ 134844 w 134843"/>
                  <a:gd name="connsiteY0" fmla="*/ 67422 h 134843"/>
                  <a:gd name="connsiteX1" fmla="*/ 67422 w 134843"/>
                  <a:gd name="connsiteY1" fmla="*/ 134844 h 134843"/>
                  <a:gd name="connsiteX2" fmla="*/ 0 w 134843"/>
                  <a:gd name="connsiteY2" fmla="*/ 67422 h 134843"/>
                  <a:gd name="connsiteX3" fmla="*/ 67422 w 134843"/>
                  <a:gd name="connsiteY3" fmla="*/ 0 h 134843"/>
                  <a:gd name="connsiteX4" fmla="*/ 134844 w 134843"/>
                  <a:gd name="connsiteY4" fmla="*/ 67422 h 1348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34843" h="134843">
                    <a:moveTo>
                      <a:pt x="134844" y="67422"/>
                    </a:moveTo>
                    <a:cubicBezTo>
                      <a:pt x="134844" y="104658"/>
                      <a:pt x="104658" y="134844"/>
                      <a:pt x="67422" y="134844"/>
                    </a:cubicBezTo>
                    <a:cubicBezTo>
                      <a:pt x="30186" y="134844"/>
                      <a:pt x="0" y="104658"/>
                      <a:pt x="0" y="67422"/>
                    </a:cubicBezTo>
                    <a:cubicBezTo>
                      <a:pt x="0" y="30186"/>
                      <a:pt x="30186" y="0"/>
                      <a:pt x="67422" y="0"/>
                    </a:cubicBezTo>
                    <a:cubicBezTo>
                      <a:pt x="104658" y="0"/>
                      <a:pt x="134844" y="30186"/>
                      <a:pt x="134844" y="67422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1690" name="Gráfico 17">
                <a:extLst>
                  <a:ext uri="{FF2B5EF4-FFF2-40B4-BE49-F238E27FC236}">
                    <a16:creationId xmlns:a16="http://schemas.microsoft.com/office/drawing/2014/main" id="{2E3AF911-CD0A-5587-B933-876DF21291D0}"/>
                  </a:ext>
                </a:extLst>
              </p:cNvPr>
              <p:cNvGrpSpPr/>
              <p:nvPr/>
            </p:nvGrpSpPr>
            <p:grpSpPr>
              <a:xfrm>
                <a:off x="822944" y="4842665"/>
                <a:ext cx="58175" cy="91597"/>
                <a:chOff x="822944" y="4842665"/>
                <a:chExt cx="58175" cy="91597"/>
              </a:xfrm>
              <a:noFill/>
            </p:grpSpPr>
            <p:sp>
              <p:nvSpPr>
                <p:cNvPr id="1691" name="Forma livre: Forma 1690">
                  <a:extLst>
                    <a:ext uri="{FF2B5EF4-FFF2-40B4-BE49-F238E27FC236}">
                      <a16:creationId xmlns:a16="http://schemas.microsoft.com/office/drawing/2014/main" id="{26DE2C5B-B8E9-EEA5-2242-484F8BAF3959}"/>
                    </a:ext>
                  </a:extLst>
                </p:cNvPr>
                <p:cNvSpPr/>
                <p:nvPr/>
              </p:nvSpPr>
              <p:spPr>
                <a:xfrm>
                  <a:off x="822944" y="4859087"/>
                  <a:ext cx="57308" cy="29280"/>
                </a:xfrm>
                <a:custGeom>
                  <a:avLst/>
                  <a:gdLst>
                    <a:gd name="connsiteX0" fmla="*/ 29088 w 57308"/>
                    <a:gd name="connsiteY0" fmla="*/ 29280 h 29280"/>
                    <a:gd name="connsiteX1" fmla="*/ 0 w 57308"/>
                    <a:gd name="connsiteY1" fmla="*/ 14640 h 29280"/>
                    <a:gd name="connsiteX2" fmla="*/ 29088 w 57308"/>
                    <a:gd name="connsiteY2" fmla="*/ 0 h 29280"/>
                    <a:gd name="connsiteX3" fmla="*/ 57309 w 57308"/>
                    <a:gd name="connsiteY3" fmla="*/ 11076 h 292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57308" h="29280">
                      <a:moveTo>
                        <a:pt x="29088" y="29280"/>
                      </a:moveTo>
                      <a:cubicBezTo>
                        <a:pt x="13051" y="29280"/>
                        <a:pt x="0" y="22731"/>
                        <a:pt x="0" y="14640"/>
                      </a:cubicBezTo>
                      <a:cubicBezTo>
                        <a:pt x="0" y="6550"/>
                        <a:pt x="13003" y="0"/>
                        <a:pt x="29088" y="0"/>
                      </a:cubicBezTo>
                      <a:cubicBezTo>
                        <a:pt x="42717" y="0"/>
                        <a:pt x="54130" y="4720"/>
                        <a:pt x="57309" y="11076"/>
                      </a:cubicBez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692" name="Forma livre: Forma 1691">
                  <a:extLst>
                    <a:ext uri="{FF2B5EF4-FFF2-40B4-BE49-F238E27FC236}">
                      <a16:creationId xmlns:a16="http://schemas.microsoft.com/office/drawing/2014/main" id="{D35BD7D8-57AF-D15D-1F60-91FC9B7CA276}"/>
                    </a:ext>
                  </a:extLst>
                </p:cNvPr>
                <p:cNvSpPr/>
                <p:nvPr/>
              </p:nvSpPr>
              <p:spPr>
                <a:xfrm>
                  <a:off x="823377" y="4888367"/>
                  <a:ext cx="57742" cy="29280"/>
                </a:xfrm>
                <a:custGeom>
                  <a:avLst/>
                  <a:gdLst>
                    <a:gd name="connsiteX0" fmla="*/ 28654 w 57742"/>
                    <a:gd name="connsiteY0" fmla="*/ 0 h 29280"/>
                    <a:gd name="connsiteX1" fmla="*/ 57742 w 57742"/>
                    <a:gd name="connsiteY1" fmla="*/ 14640 h 29280"/>
                    <a:gd name="connsiteX2" fmla="*/ 28654 w 57742"/>
                    <a:gd name="connsiteY2" fmla="*/ 29280 h 29280"/>
                    <a:gd name="connsiteX3" fmla="*/ 0 w 57742"/>
                    <a:gd name="connsiteY3" fmla="*/ 17144 h 292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57742" h="29280">
                      <a:moveTo>
                        <a:pt x="28654" y="0"/>
                      </a:moveTo>
                      <a:cubicBezTo>
                        <a:pt x="44739" y="0"/>
                        <a:pt x="57742" y="6549"/>
                        <a:pt x="57742" y="14640"/>
                      </a:cubicBezTo>
                      <a:cubicBezTo>
                        <a:pt x="57742" y="22731"/>
                        <a:pt x="44739" y="29280"/>
                        <a:pt x="28654" y="29280"/>
                      </a:cubicBezTo>
                      <a:cubicBezTo>
                        <a:pt x="14303" y="29280"/>
                        <a:pt x="2360" y="24031"/>
                        <a:pt x="0" y="17144"/>
                      </a:cubicBez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693" name="Forma livre: Forma 1692">
                  <a:extLst>
                    <a:ext uri="{FF2B5EF4-FFF2-40B4-BE49-F238E27FC236}">
                      <a16:creationId xmlns:a16="http://schemas.microsoft.com/office/drawing/2014/main" id="{1B61A56D-98AA-CAFB-5086-6BFEABA30AE1}"/>
                    </a:ext>
                  </a:extLst>
                </p:cNvPr>
                <p:cNvSpPr/>
                <p:nvPr/>
              </p:nvSpPr>
              <p:spPr>
                <a:xfrm>
                  <a:off x="852417" y="4842665"/>
                  <a:ext cx="4815" cy="91597"/>
                </a:xfrm>
                <a:custGeom>
                  <a:avLst/>
                  <a:gdLst>
                    <a:gd name="connsiteX0" fmla="*/ 0 w 4815"/>
                    <a:gd name="connsiteY0" fmla="*/ 0 h 91597"/>
                    <a:gd name="connsiteX1" fmla="*/ 0 w 4815"/>
                    <a:gd name="connsiteY1" fmla="*/ 91598 h 9159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815" h="91597">
                      <a:moveTo>
                        <a:pt x="0" y="0"/>
                      </a:moveTo>
                      <a:lnTo>
                        <a:pt x="0" y="91598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grpSp>
          <p:nvGrpSpPr>
            <p:cNvPr id="1694" name="Gráfico 17">
              <a:extLst>
                <a:ext uri="{FF2B5EF4-FFF2-40B4-BE49-F238E27FC236}">
                  <a16:creationId xmlns:a16="http://schemas.microsoft.com/office/drawing/2014/main" id="{513E0980-5DC6-51B0-4B58-BDE0FDCA0F05}"/>
                </a:ext>
              </a:extLst>
            </p:cNvPr>
            <p:cNvGrpSpPr/>
            <p:nvPr/>
          </p:nvGrpSpPr>
          <p:grpSpPr>
            <a:xfrm>
              <a:off x="782508" y="4738065"/>
              <a:ext cx="246120" cy="96637"/>
              <a:chOff x="782508" y="4738065"/>
              <a:chExt cx="246120" cy="96637"/>
            </a:xfrm>
            <a:noFill/>
          </p:grpSpPr>
          <p:sp>
            <p:nvSpPr>
              <p:cNvPr id="1695" name="Forma livre: Forma 1694">
                <a:extLst>
                  <a:ext uri="{FF2B5EF4-FFF2-40B4-BE49-F238E27FC236}">
                    <a16:creationId xmlns:a16="http://schemas.microsoft.com/office/drawing/2014/main" id="{41F74FCC-AC6B-B94C-BBDB-DDED700E33BF}"/>
                  </a:ext>
                </a:extLst>
              </p:cNvPr>
              <p:cNvSpPr/>
              <p:nvPr/>
            </p:nvSpPr>
            <p:spPr>
              <a:xfrm>
                <a:off x="782508" y="4738065"/>
                <a:ext cx="234803" cy="41969"/>
              </a:xfrm>
              <a:custGeom>
                <a:avLst/>
                <a:gdLst>
                  <a:gd name="connsiteX0" fmla="*/ 63744 w 234803"/>
                  <a:gd name="connsiteY0" fmla="*/ 38093 h 41969"/>
                  <a:gd name="connsiteX1" fmla="*/ 19294 w 234803"/>
                  <a:gd name="connsiteY1" fmla="*/ 41850 h 41969"/>
                  <a:gd name="connsiteX2" fmla="*/ 79 w 234803"/>
                  <a:gd name="connsiteY2" fmla="*/ 28606 h 41969"/>
                  <a:gd name="connsiteX3" fmla="*/ 16019 w 234803"/>
                  <a:gd name="connsiteY3" fmla="*/ 10884 h 41969"/>
                  <a:gd name="connsiteX4" fmla="*/ 119993 w 234803"/>
                  <a:gd name="connsiteY4" fmla="*/ 0 h 41969"/>
                  <a:gd name="connsiteX5" fmla="*/ 124954 w 234803"/>
                  <a:gd name="connsiteY5" fmla="*/ 722 h 41969"/>
                  <a:gd name="connsiteX6" fmla="*/ 205379 w 234803"/>
                  <a:gd name="connsiteY6" fmla="*/ 31062 h 41969"/>
                  <a:gd name="connsiteX7" fmla="*/ 234803 w 234803"/>
                  <a:gd name="connsiteY7" fmla="*/ 23453 h 419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34803" h="41969">
                    <a:moveTo>
                      <a:pt x="63744" y="38093"/>
                    </a:moveTo>
                    <a:lnTo>
                      <a:pt x="19294" y="41850"/>
                    </a:lnTo>
                    <a:cubicBezTo>
                      <a:pt x="9614" y="42861"/>
                      <a:pt x="994" y="37371"/>
                      <a:pt x="79" y="28606"/>
                    </a:cubicBezTo>
                    <a:cubicBezTo>
                      <a:pt x="-836" y="19890"/>
                      <a:pt x="6339" y="11895"/>
                      <a:pt x="16019" y="10884"/>
                    </a:cubicBezTo>
                    <a:lnTo>
                      <a:pt x="119993" y="0"/>
                    </a:lnTo>
                    <a:lnTo>
                      <a:pt x="124954" y="722"/>
                    </a:lnTo>
                    <a:lnTo>
                      <a:pt x="205379" y="31062"/>
                    </a:lnTo>
                    <a:cubicBezTo>
                      <a:pt x="205379" y="31062"/>
                      <a:pt x="216792" y="32363"/>
                      <a:pt x="234803" y="23453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696" name="Forma livre: Forma 1695">
                <a:extLst>
                  <a:ext uri="{FF2B5EF4-FFF2-40B4-BE49-F238E27FC236}">
                    <a16:creationId xmlns:a16="http://schemas.microsoft.com/office/drawing/2014/main" id="{D5C81951-E032-5CFF-D40D-2719D7A667C6}"/>
                  </a:ext>
                </a:extLst>
              </p:cNvPr>
              <p:cNvSpPr/>
              <p:nvPr/>
            </p:nvSpPr>
            <p:spPr>
              <a:xfrm>
                <a:off x="867510" y="4764511"/>
                <a:ext cx="161118" cy="70191"/>
              </a:xfrm>
              <a:custGeom>
                <a:avLst/>
                <a:gdLst>
                  <a:gd name="connsiteX0" fmla="*/ 161119 w 161118"/>
                  <a:gd name="connsiteY0" fmla="*/ 50800 h 70191"/>
                  <a:gd name="connsiteX1" fmla="*/ 111467 w 161118"/>
                  <a:gd name="connsiteY1" fmla="*/ 69293 h 70191"/>
                  <a:gd name="connsiteX2" fmla="*/ 70725 w 161118"/>
                  <a:gd name="connsiteY2" fmla="*/ 58891 h 70191"/>
                  <a:gd name="connsiteX3" fmla="*/ 43130 w 161118"/>
                  <a:gd name="connsiteY3" fmla="*/ 43817 h 70191"/>
                  <a:gd name="connsiteX4" fmla="*/ 11924 w 161118"/>
                  <a:gd name="connsiteY4" fmla="*/ 31055 h 70191"/>
                  <a:gd name="connsiteX5" fmla="*/ 1040 w 161118"/>
                  <a:gd name="connsiteY5" fmla="*/ 9384 h 70191"/>
                  <a:gd name="connsiteX6" fmla="*/ 23963 w 161118"/>
                  <a:gd name="connsiteY6" fmla="*/ 1534 h 70191"/>
                  <a:gd name="connsiteX7" fmla="*/ 67161 w 161118"/>
                  <a:gd name="connsiteY7" fmla="*/ 19160 h 701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61118" h="70191">
                    <a:moveTo>
                      <a:pt x="161119" y="50800"/>
                    </a:moveTo>
                    <a:lnTo>
                      <a:pt x="111467" y="69293"/>
                    </a:lnTo>
                    <a:cubicBezTo>
                      <a:pt x="88977" y="73965"/>
                      <a:pt x="70725" y="58891"/>
                      <a:pt x="70725" y="58891"/>
                    </a:cubicBezTo>
                    <a:cubicBezTo>
                      <a:pt x="61671" y="52101"/>
                      <a:pt x="43130" y="43817"/>
                      <a:pt x="43130" y="43817"/>
                    </a:cubicBezTo>
                    <a:lnTo>
                      <a:pt x="11924" y="31055"/>
                    </a:lnTo>
                    <a:cubicBezTo>
                      <a:pt x="2629" y="27251"/>
                      <a:pt x="-2283" y="17523"/>
                      <a:pt x="1040" y="9384"/>
                    </a:cubicBezTo>
                    <a:cubicBezTo>
                      <a:pt x="4363" y="1245"/>
                      <a:pt x="14669" y="-2270"/>
                      <a:pt x="23963" y="1534"/>
                    </a:cubicBezTo>
                    <a:lnTo>
                      <a:pt x="67161" y="1916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697" name="Gráfico 17">
              <a:extLst>
                <a:ext uri="{FF2B5EF4-FFF2-40B4-BE49-F238E27FC236}">
                  <a16:creationId xmlns:a16="http://schemas.microsoft.com/office/drawing/2014/main" id="{14AB4323-33A8-5891-A2DD-3BA67ECCECBD}"/>
                </a:ext>
              </a:extLst>
            </p:cNvPr>
            <p:cNvGrpSpPr/>
            <p:nvPr/>
          </p:nvGrpSpPr>
          <p:grpSpPr>
            <a:xfrm>
              <a:off x="681117" y="4945211"/>
              <a:ext cx="246120" cy="96637"/>
              <a:chOff x="681117" y="4945211"/>
              <a:chExt cx="246120" cy="96637"/>
            </a:xfrm>
            <a:noFill/>
          </p:grpSpPr>
          <p:sp>
            <p:nvSpPr>
              <p:cNvPr id="1698" name="Forma livre: Forma 1697">
                <a:extLst>
                  <a:ext uri="{FF2B5EF4-FFF2-40B4-BE49-F238E27FC236}">
                    <a16:creationId xmlns:a16="http://schemas.microsoft.com/office/drawing/2014/main" id="{EEE70FB1-EE8D-5133-FE26-86EEB76DECAC}"/>
                  </a:ext>
                </a:extLst>
              </p:cNvPr>
              <p:cNvSpPr/>
              <p:nvPr/>
            </p:nvSpPr>
            <p:spPr>
              <a:xfrm>
                <a:off x="692434" y="4999879"/>
                <a:ext cx="234803" cy="41969"/>
              </a:xfrm>
              <a:custGeom>
                <a:avLst/>
                <a:gdLst>
                  <a:gd name="connsiteX0" fmla="*/ 171059 w 234803"/>
                  <a:gd name="connsiteY0" fmla="*/ 3876 h 41969"/>
                  <a:gd name="connsiteX1" fmla="*/ 215510 w 234803"/>
                  <a:gd name="connsiteY1" fmla="*/ 120 h 41969"/>
                  <a:gd name="connsiteX2" fmla="*/ 234725 w 234803"/>
                  <a:gd name="connsiteY2" fmla="*/ 13363 h 41969"/>
                  <a:gd name="connsiteX3" fmla="*/ 218784 w 234803"/>
                  <a:gd name="connsiteY3" fmla="*/ 31085 h 41969"/>
                  <a:gd name="connsiteX4" fmla="*/ 114810 w 234803"/>
                  <a:gd name="connsiteY4" fmla="*/ 41969 h 41969"/>
                  <a:gd name="connsiteX5" fmla="*/ 109850 w 234803"/>
                  <a:gd name="connsiteY5" fmla="*/ 41247 h 41969"/>
                  <a:gd name="connsiteX6" fmla="*/ 29425 w 234803"/>
                  <a:gd name="connsiteY6" fmla="*/ 10907 h 41969"/>
                  <a:gd name="connsiteX7" fmla="*/ 0 w 234803"/>
                  <a:gd name="connsiteY7" fmla="*/ 18516 h 419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34803" h="41969">
                    <a:moveTo>
                      <a:pt x="171059" y="3876"/>
                    </a:moveTo>
                    <a:lnTo>
                      <a:pt x="215510" y="120"/>
                    </a:lnTo>
                    <a:cubicBezTo>
                      <a:pt x="225189" y="-892"/>
                      <a:pt x="233810" y="4598"/>
                      <a:pt x="234725" y="13363"/>
                    </a:cubicBezTo>
                    <a:cubicBezTo>
                      <a:pt x="235640" y="22080"/>
                      <a:pt x="228464" y="30074"/>
                      <a:pt x="218784" y="31085"/>
                    </a:cubicBezTo>
                    <a:lnTo>
                      <a:pt x="114810" y="41969"/>
                    </a:lnTo>
                    <a:lnTo>
                      <a:pt x="109850" y="41247"/>
                    </a:lnTo>
                    <a:lnTo>
                      <a:pt x="29425" y="10907"/>
                    </a:lnTo>
                    <a:cubicBezTo>
                      <a:pt x="29425" y="10907"/>
                      <a:pt x="18011" y="9607"/>
                      <a:pt x="0" y="18516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699" name="Forma livre: Forma 1698">
                <a:extLst>
                  <a:ext uri="{FF2B5EF4-FFF2-40B4-BE49-F238E27FC236}">
                    <a16:creationId xmlns:a16="http://schemas.microsoft.com/office/drawing/2014/main" id="{094351BD-6F1A-F922-3D69-61BE479480C6}"/>
                  </a:ext>
                </a:extLst>
              </p:cNvPr>
              <p:cNvSpPr/>
              <p:nvPr/>
            </p:nvSpPr>
            <p:spPr>
              <a:xfrm>
                <a:off x="681117" y="4945211"/>
                <a:ext cx="161118" cy="70191"/>
              </a:xfrm>
              <a:custGeom>
                <a:avLst/>
                <a:gdLst>
                  <a:gd name="connsiteX0" fmla="*/ 0 w 161118"/>
                  <a:gd name="connsiteY0" fmla="*/ 19391 h 70191"/>
                  <a:gd name="connsiteX1" fmla="*/ 49651 w 161118"/>
                  <a:gd name="connsiteY1" fmla="*/ 898 h 70191"/>
                  <a:gd name="connsiteX2" fmla="*/ 90394 w 161118"/>
                  <a:gd name="connsiteY2" fmla="*/ 11300 h 70191"/>
                  <a:gd name="connsiteX3" fmla="*/ 117988 w 161118"/>
                  <a:gd name="connsiteY3" fmla="*/ 26374 h 70191"/>
                  <a:gd name="connsiteX4" fmla="*/ 149195 w 161118"/>
                  <a:gd name="connsiteY4" fmla="*/ 39136 h 70191"/>
                  <a:gd name="connsiteX5" fmla="*/ 160079 w 161118"/>
                  <a:gd name="connsiteY5" fmla="*/ 60807 h 70191"/>
                  <a:gd name="connsiteX6" fmla="*/ 137156 w 161118"/>
                  <a:gd name="connsiteY6" fmla="*/ 68657 h 70191"/>
                  <a:gd name="connsiteX7" fmla="*/ 93957 w 161118"/>
                  <a:gd name="connsiteY7" fmla="*/ 51031 h 701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61118" h="70191">
                    <a:moveTo>
                      <a:pt x="0" y="19391"/>
                    </a:moveTo>
                    <a:lnTo>
                      <a:pt x="49651" y="898"/>
                    </a:lnTo>
                    <a:cubicBezTo>
                      <a:pt x="72142" y="-3773"/>
                      <a:pt x="90394" y="11300"/>
                      <a:pt x="90394" y="11300"/>
                    </a:cubicBezTo>
                    <a:cubicBezTo>
                      <a:pt x="99447" y="18091"/>
                      <a:pt x="117988" y="26374"/>
                      <a:pt x="117988" y="26374"/>
                    </a:cubicBezTo>
                    <a:lnTo>
                      <a:pt x="149195" y="39136"/>
                    </a:lnTo>
                    <a:cubicBezTo>
                      <a:pt x="158490" y="42941"/>
                      <a:pt x="163402" y="52668"/>
                      <a:pt x="160079" y="60807"/>
                    </a:cubicBezTo>
                    <a:cubicBezTo>
                      <a:pt x="156756" y="68946"/>
                      <a:pt x="146450" y="72462"/>
                      <a:pt x="137156" y="68657"/>
                    </a:cubicBezTo>
                    <a:lnTo>
                      <a:pt x="93957" y="51031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700" name="Gráfico 17">
            <a:extLst>
              <a:ext uri="{FF2B5EF4-FFF2-40B4-BE49-F238E27FC236}">
                <a16:creationId xmlns:a16="http://schemas.microsoft.com/office/drawing/2014/main" id="{568EC8EE-290C-46D9-5E5F-D94FB3693552}"/>
              </a:ext>
            </a:extLst>
          </p:cNvPr>
          <p:cNvGrpSpPr/>
          <p:nvPr/>
        </p:nvGrpSpPr>
        <p:grpSpPr>
          <a:xfrm>
            <a:off x="1334966" y="5813975"/>
            <a:ext cx="285002" cy="298871"/>
            <a:chOff x="1334966" y="5813975"/>
            <a:chExt cx="285002" cy="298871"/>
          </a:xfrm>
          <a:noFill/>
        </p:grpSpPr>
        <p:grpSp>
          <p:nvGrpSpPr>
            <p:cNvPr id="1701" name="Gráfico 17">
              <a:extLst>
                <a:ext uri="{FF2B5EF4-FFF2-40B4-BE49-F238E27FC236}">
                  <a16:creationId xmlns:a16="http://schemas.microsoft.com/office/drawing/2014/main" id="{E90E5113-AA44-2DD0-8CE9-A3BDA4A68F6C}"/>
                </a:ext>
              </a:extLst>
            </p:cNvPr>
            <p:cNvGrpSpPr/>
            <p:nvPr/>
          </p:nvGrpSpPr>
          <p:grpSpPr>
            <a:xfrm>
              <a:off x="1351869" y="5958113"/>
              <a:ext cx="251195" cy="107008"/>
              <a:chOff x="1351869" y="5958113"/>
              <a:chExt cx="251195" cy="107008"/>
            </a:xfrm>
            <a:noFill/>
          </p:grpSpPr>
          <p:sp>
            <p:nvSpPr>
              <p:cNvPr id="1702" name="Forma livre: Forma 1701">
                <a:extLst>
                  <a:ext uri="{FF2B5EF4-FFF2-40B4-BE49-F238E27FC236}">
                    <a16:creationId xmlns:a16="http://schemas.microsoft.com/office/drawing/2014/main" id="{56C8DEB0-6197-21EA-6D5F-257122416C73}"/>
                  </a:ext>
                </a:extLst>
              </p:cNvPr>
              <p:cNvSpPr/>
              <p:nvPr/>
            </p:nvSpPr>
            <p:spPr>
              <a:xfrm>
                <a:off x="1520810" y="5958113"/>
                <a:ext cx="82254" cy="107008"/>
              </a:xfrm>
              <a:custGeom>
                <a:avLst/>
                <a:gdLst>
                  <a:gd name="connsiteX0" fmla="*/ 0 w 82254"/>
                  <a:gd name="connsiteY0" fmla="*/ 0 h 107008"/>
                  <a:gd name="connsiteX1" fmla="*/ 82255 w 82254"/>
                  <a:gd name="connsiteY1" fmla="*/ 0 h 107008"/>
                  <a:gd name="connsiteX2" fmla="*/ 82255 w 82254"/>
                  <a:gd name="connsiteY2" fmla="*/ 107008 h 1070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2254" h="107008">
                    <a:moveTo>
                      <a:pt x="0" y="0"/>
                    </a:moveTo>
                    <a:lnTo>
                      <a:pt x="82255" y="0"/>
                    </a:lnTo>
                    <a:lnTo>
                      <a:pt x="82255" y="107008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703" name="Forma livre: Forma 1702">
                <a:extLst>
                  <a:ext uri="{FF2B5EF4-FFF2-40B4-BE49-F238E27FC236}">
                    <a16:creationId xmlns:a16="http://schemas.microsoft.com/office/drawing/2014/main" id="{9DB12A7F-34B7-7B2A-89D5-D651FC622EB5}"/>
                  </a:ext>
                </a:extLst>
              </p:cNvPr>
              <p:cNvSpPr/>
              <p:nvPr/>
            </p:nvSpPr>
            <p:spPr>
              <a:xfrm>
                <a:off x="1437014" y="5958113"/>
                <a:ext cx="60920" cy="4815"/>
              </a:xfrm>
              <a:custGeom>
                <a:avLst/>
                <a:gdLst>
                  <a:gd name="connsiteX0" fmla="*/ 0 w 60920"/>
                  <a:gd name="connsiteY0" fmla="*/ 0 h 4815"/>
                  <a:gd name="connsiteX1" fmla="*/ 60921 w 60920"/>
                  <a:gd name="connsiteY1" fmla="*/ 0 h 48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0920" h="4815">
                    <a:moveTo>
                      <a:pt x="0" y="0"/>
                    </a:moveTo>
                    <a:lnTo>
                      <a:pt x="60921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704" name="Forma livre: Forma 1703">
                <a:extLst>
                  <a:ext uri="{FF2B5EF4-FFF2-40B4-BE49-F238E27FC236}">
                    <a16:creationId xmlns:a16="http://schemas.microsoft.com/office/drawing/2014/main" id="{CBEE92C7-D207-7902-BDDA-2676ADF52F55}"/>
                  </a:ext>
                </a:extLst>
              </p:cNvPr>
              <p:cNvSpPr/>
              <p:nvPr/>
            </p:nvSpPr>
            <p:spPr>
              <a:xfrm>
                <a:off x="1351869" y="5958113"/>
                <a:ext cx="61305" cy="107008"/>
              </a:xfrm>
              <a:custGeom>
                <a:avLst/>
                <a:gdLst>
                  <a:gd name="connsiteX0" fmla="*/ 0 w 61305"/>
                  <a:gd name="connsiteY0" fmla="*/ 107008 h 107008"/>
                  <a:gd name="connsiteX1" fmla="*/ 0 w 61305"/>
                  <a:gd name="connsiteY1" fmla="*/ 0 h 107008"/>
                  <a:gd name="connsiteX2" fmla="*/ 61306 w 61305"/>
                  <a:gd name="connsiteY2" fmla="*/ 0 h 1070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61305" h="107008">
                    <a:moveTo>
                      <a:pt x="0" y="107008"/>
                    </a:moveTo>
                    <a:lnTo>
                      <a:pt x="0" y="0"/>
                    </a:lnTo>
                    <a:lnTo>
                      <a:pt x="61306" y="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705" name="Forma livre: Forma 1704">
              <a:extLst>
                <a:ext uri="{FF2B5EF4-FFF2-40B4-BE49-F238E27FC236}">
                  <a16:creationId xmlns:a16="http://schemas.microsoft.com/office/drawing/2014/main" id="{5B4E33AE-BDBA-EA9B-B8B6-2E462A7D237C}"/>
                </a:ext>
              </a:extLst>
            </p:cNvPr>
            <p:cNvSpPr/>
            <p:nvPr/>
          </p:nvSpPr>
          <p:spPr>
            <a:xfrm>
              <a:off x="1409804" y="5813975"/>
              <a:ext cx="135325" cy="286254"/>
            </a:xfrm>
            <a:custGeom>
              <a:avLst/>
              <a:gdLst>
                <a:gd name="connsiteX0" fmla="*/ 135326 w 135325"/>
                <a:gd name="connsiteY0" fmla="*/ 286254 h 286254"/>
                <a:gd name="connsiteX1" fmla="*/ 121745 w 135325"/>
                <a:gd name="connsiteY1" fmla="*/ 273829 h 286254"/>
                <a:gd name="connsiteX2" fmla="*/ 101759 w 135325"/>
                <a:gd name="connsiteY2" fmla="*/ 61354 h 286254"/>
                <a:gd name="connsiteX3" fmla="*/ 129643 w 135325"/>
                <a:gd name="connsiteY3" fmla="*/ 33422 h 286254"/>
                <a:gd name="connsiteX4" fmla="*/ 67663 w 135325"/>
                <a:gd name="connsiteY4" fmla="*/ 0 h 286254"/>
                <a:gd name="connsiteX5" fmla="*/ 5683 w 135325"/>
                <a:gd name="connsiteY5" fmla="*/ 33422 h 286254"/>
                <a:gd name="connsiteX6" fmla="*/ 33567 w 135325"/>
                <a:gd name="connsiteY6" fmla="*/ 61354 h 286254"/>
                <a:gd name="connsiteX7" fmla="*/ 13581 w 135325"/>
                <a:gd name="connsiteY7" fmla="*/ 273829 h 286254"/>
                <a:gd name="connsiteX8" fmla="*/ 0 w 135325"/>
                <a:gd name="connsiteY8" fmla="*/ 286254 h 2862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35325" h="286254">
                  <a:moveTo>
                    <a:pt x="135326" y="286254"/>
                  </a:moveTo>
                  <a:cubicBezTo>
                    <a:pt x="124201" y="286254"/>
                    <a:pt x="121745" y="273829"/>
                    <a:pt x="121745" y="273829"/>
                  </a:cubicBezTo>
                  <a:lnTo>
                    <a:pt x="101759" y="61354"/>
                  </a:lnTo>
                  <a:cubicBezTo>
                    <a:pt x="117025" y="52156"/>
                    <a:pt x="129643" y="45076"/>
                    <a:pt x="129643" y="33422"/>
                  </a:cubicBezTo>
                  <a:cubicBezTo>
                    <a:pt x="129643" y="14977"/>
                    <a:pt x="101904" y="0"/>
                    <a:pt x="67663" y="0"/>
                  </a:cubicBezTo>
                  <a:cubicBezTo>
                    <a:pt x="33422" y="0"/>
                    <a:pt x="5683" y="14977"/>
                    <a:pt x="5683" y="33422"/>
                  </a:cubicBezTo>
                  <a:cubicBezTo>
                    <a:pt x="5683" y="45076"/>
                    <a:pt x="18300" y="52107"/>
                    <a:pt x="33567" y="61354"/>
                  </a:cubicBezTo>
                  <a:lnTo>
                    <a:pt x="13581" y="273829"/>
                  </a:lnTo>
                  <a:cubicBezTo>
                    <a:pt x="13581" y="273829"/>
                    <a:pt x="11173" y="286254"/>
                    <a:pt x="0" y="286254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706" name="Gráfico 17">
              <a:extLst>
                <a:ext uri="{FF2B5EF4-FFF2-40B4-BE49-F238E27FC236}">
                  <a16:creationId xmlns:a16="http://schemas.microsoft.com/office/drawing/2014/main" id="{01161B87-1552-B6EF-C641-47179CC16E9D}"/>
                </a:ext>
              </a:extLst>
            </p:cNvPr>
            <p:cNvGrpSpPr/>
            <p:nvPr/>
          </p:nvGrpSpPr>
          <p:grpSpPr>
            <a:xfrm>
              <a:off x="1334966" y="6086552"/>
              <a:ext cx="285002" cy="26294"/>
              <a:chOff x="1334966" y="6086552"/>
              <a:chExt cx="285002" cy="26294"/>
            </a:xfrm>
            <a:noFill/>
          </p:grpSpPr>
          <p:sp>
            <p:nvSpPr>
              <p:cNvPr id="1707" name="Forma livre: Forma 1706">
                <a:extLst>
                  <a:ext uri="{FF2B5EF4-FFF2-40B4-BE49-F238E27FC236}">
                    <a16:creationId xmlns:a16="http://schemas.microsoft.com/office/drawing/2014/main" id="{05A17E17-CA80-5793-BD7C-DBB77F6470F2}"/>
                  </a:ext>
                </a:extLst>
              </p:cNvPr>
              <p:cNvSpPr/>
              <p:nvPr/>
            </p:nvSpPr>
            <p:spPr>
              <a:xfrm>
                <a:off x="1334966" y="6086552"/>
                <a:ext cx="76427" cy="26294"/>
              </a:xfrm>
              <a:custGeom>
                <a:avLst/>
                <a:gdLst>
                  <a:gd name="connsiteX0" fmla="*/ 0 w 76427"/>
                  <a:gd name="connsiteY0" fmla="*/ 0 h 26294"/>
                  <a:gd name="connsiteX1" fmla="*/ 76428 w 76427"/>
                  <a:gd name="connsiteY1" fmla="*/ 0 h 26294"/>
                  <a:gd name="connsiteX2" fmla="*/ 76428 w 76427"/>
                  <a:gd name="connsiteY2" fmla="*/ 26294 h 26294"/>
                  <a:gd name="connsiteX3" fmla="*/ 0 w 76427"/>
                  <a:gd name="connsiteY3" fmla="*/ 26294 h 262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6427" h="26294">
                    <a:moveTo>
                      <a:pt x="0" y="0"/>
                    </a:moveTo>
                    <a:lnTo>
                      <a:pt x="76428" y="0"/>
                    </a:lnTo>
                    <a:lnTo>
                      <a:pt x="76428" y="26294"/>
                    </a:lnTo>
                    <a:lnTo>
                      <a:pt x="0" y="26294"/>
                    </a:ln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708" name="Forma livre: Forma 1707">
                <a:extLst>
                  <a:ext uri="{FF2B5EF4-FFF2-40B4-BE49-F238E27FC236}">
                    <a16:creationId xmlns:a16="http://schemas.microsoft.com/office/drawing/2014/main" id="{84BEE96D-A350-715E-0A31-29C284930B4E}"/>
                  </a:ext>
                </a:extLst>
              </p:cNvPr>
              <p:cNvSpPr/>
              <p:nvPr/>
            </p:nvSpPr>
            <p:spPr>
              <a:xfrm>
                <a:off x="1543540" y="6086552"/>
                <a:ext cx="76427" cy="26294"/>
              </a:xfrm>
              <a:custGeom>
                <a:avLst/>
                <a:gdLst>
                  <a:gd name="connsiteX0" fmla="*/ 0 w 76427"/>
                  <a:gd name="connsiteY0" fmla="*/ 0 h 26294"/>
                  <a:gd name="connsiteX1" fmla="*/ 76428 w 76427"/>
                  <a:gd name="connsiteY1" fmla="*/ 0 h 26294"/>
                  <a:gd name="connsiteX2" fmla="*/ 76428 w 76427"/>
                  <a:gd name="connsiteY2" fmla="*/ 26294 h 26294"/>
                  <a:gd name="connsiteX3" fmla="*/ 0 w 76427"/>
                  <a:gd name="connsiteY3" fmla="*/ 26294 h 262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6427" h="26294">
                    <a:moveTo>
                      <a:pt x="0" y="0"/>
                    </a:moveTo>
                    <a:lnTo>
                      <a:pt x="76428" y="0"/>
                    </a:lnTo>
                    <a:lnTo>
                      <a:pt x="76428" y="26294"/>
                    </a:lnTo>
                    <a:lnTo>
                      <a:pt x="0" y="26294"/>
                    </a:ln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709" name="Forma livre: Forma 1708">
              <a:extLst>
                <a:ext uri="{FF2B5EF4-FFF2-40B4-BE49-F238E27FC236}">
                  <a16:creationId xmlns:a16="http://schemas.microsoft.com/office/drawing/2014/main" id="{A6EA215A-6A0C-C9AC-1110-6F9095893CAB}"/>
                </a:ext>
              </a:extLst>
            </p:cNvPr>
            <p:cNvSpPr/>
            <p:nvPr/>
          </p:nvSpPr>
          <p:spPr>
            <a:xfrm>
              <a:off x="1433016" y="6086552"/>
              <a:ext cx="88852" cy="25909"/>
            </a:xfrm>
            <a:custGeom>
              <a:avLst/>
              <a:gdLst>
                <a:gd name="connsiteX0" fmla="*/ 88853 w 88852"/>
                <a:gd name="connsiteY0" fmla="*/ 25909 h 25909"/>
                <a:gd name="connsiteX1" fmla="*/ 67326 w 88852"/>
                <a:gd name="connsiteY1" fmla="*/ 0 h 25909"/>
                <a:gd name="connsiteX2" fmla="*/ 21527 w 88852"/>
                <a:gd name="connsiteY2" fmla="*/ 0 h 25909"/>
                <a:gd name="connsiteX3" fmla="*/ 0 w 88852"/>
                <a:gd name="connsiteY3" fmla="*/ 25909 h 259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8852" h="25909">
                  <a:moveTo>
                    <a:pt x="88853" y="25909"/>
                  </a:moveTo>
                  <a:cubicBezTo>
                    <a:pt x="67952" y="14833"/>
                    <a:pt x="67326" y="0"/>
                    <a:pt x="67326" y="0"/>
                  </a:cubicBezTo>
                  <a:lnTo>
                    <a:pt x="21527" y="0"/>
                  </a:lnTo>
                  <a:cubicBezTo>
                    <a:pt x="21527" y="0"/>
                    <a:pt x="20949" y="14833"/>
                    <a:pt x="0" y="25909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10" name="Forma livre: Forma 1709">
              <a:extLst>
                <a:ext uri="{FF2B5EF4-FFF2-40B4-BE49-F238E27FC236}">
                  <a16:creationId xmlns:a16="http://schemas.microsoft.com/office/drawing/2014/main" id="{99BADBF0-CC6E-DA1B-84F3-C1FFAA33A6C1}"/>
                </a:ext>
              </a:extLst>
            </p:cNvPr>
            <p:cNvSpPr/>
            <p:nvPr/>
          </p:nvSpPr>
          <p:spPr>
            <a:xfrm>
              <a:off x="1410960" y="6112847"/>
              <a:ext cx="133013" cy="4815"/>
            </a:xfrm>
            <a:custGeom>
              <a:avLst/>
              <a:gdLst>
                <a:gd name="connsiteX0" fmla="*/ 0 w 133013"/>
                <a:gd name="connsiteY0" fmla="*/ 0 h 4815"/>
                <a:gd name="connsiteX1" fmla="*/ 133014 w 133013"/>
                <a:gd name="connsiteY1" fmla="*/ 0 h 48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33013" h="4815">
                  <a:moveTo>
                    <a:pt x="0" y="0"/>
                  </a:moveTo>
                  <a:lnTo>
                    <a:pt x="133014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711" name="Gráfico 17">
            <a:extLst>
              <a:ext uri="{FF2B5EF4-FFF2-40B4-BE49-F238E27FC236}">
                <a16:creationId xmlns:a16="http://schemas.microsoft.com/office/drawing/2014/main" id="{0C8EE764-6FAE-744F-D40A-7964A887F5C4}"/>
              </a:ext>
            </a:extLst>
          </p:cNvPr>
          <p:cNvGrpSpPr/>
          <p:nvPr/>
        </p:nvGrpSpPr>
        <p:grpSpPr>
          <a:xfrm>
            <a:off x="1932661" y="5871054"/>
            <a:ext cx="334894" cy="200520"/>
            <a:chOff x="1932661" y="5871054"/>
            <a:chExt cx="334894" cy="200520"/>
          </a:xfrm>
          <a:noFill/>
        </p:grpSpPr>
        <p:sp>
          <p:nvSpPr>
            <p:cNvPr id="1712" name="Forma livre: Forma 1711">
              <a:extLst>
                <a:ext uri="{FF2B5EF4-FFF2-40B4-BE49-F238E27FC236}">
                  <a16:creationId xmlns:a16="http://schemas.microsoft.com/office/drawing/2014/main" id="{94AECDC9-0E5F-BC73-17B1-E02543ED703A}"/>
                </a:ext>
              </a:extLst>
            </p:cNvPr>
            <p:cNvSpPr/>
            <p:nvPr/>
          </p:nvSpPr>
          <p:spPr>
            <a:xfrm>
              <a:off x="1943256" y="5871054"/>
              <a:ext cx="315978" cy="88455"/>
            </a:xfrm>
            <a:custGeom>
              <a:avLst/>
              <a:gdLst>
                <a:gd name="connsiteX0" fmla="*/ 314090 w 315978"/>
                <a:gd name="connsiteY0" fmla="*/ 87637 h 88455"/>
                <a:gd name="connsiteX1" fmla="*/ 315390 w 315978"/>
                <a:gd name="connsiteY1" fmla="*/ 80461 h 88455"/>
                <a:gd name="connsiteX2" fmla="*/ 286399 w 315978"/>
                <a:gd name="connsiteY2" fmla="*/ 38467 h 88455"/>
                <a:gd name="connsiteX3" fmla="*/ 88227 w 315978"/>
                <a:gd name="connsiteY3" fmla="*/ 1529 h 88455"/>
                <a:gd name="connsiteX4" fmla="*/ 0 w 315978"/>
                <a:gd name="connsiteY4" fmla="*/ 49014 h 88455"/>
                <a:gd name="connsiteX5" fmla="*/ 205926 w 315978"/>
                <a:gd name="connsiteY5" fmla="*/ 88456 h 884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15978" h="88455">
                  <a:moveTo>
                    <a:pt x="314090" y="87637"/>
                  </a:moveTo>
                  <a:lnTo>
                    <a:pt x="315390" y="80461"/>
                  </a:lnTo>
                  <a:cubicBezTo>
                    <a:pt x="318954" y="60957"/>
                    <a:pt x="305951" y="42031"/>
                    <a:pt x="286399" y="38467"/>
                  </a:cubicBezTo>
                  <a:lnTo>
                    <a:pt x="88227" y="1529"/>
                  </a:lnTo>
                  <a:cubicBezTo>
                    <a:pt x="46377" y="-6128"/>
                    <a:pt x="9391" y="15784"/>
                    <a:pt x="0" y="49014"/>
                  </a:cubicBezTo>
                  <a:lnTo>
                    <a:pt x="205926" y="88456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13" name="Forma livre: Forma 1712">
              <a:extLst>
                <a:ext uri="{FF2B5EF4-FFF2-40B4-BE49-F238E27FC236}">
                  <a16:creationId xmlns:a16="http://schemas.microsoft.com/office/drawing/2014/main" id="{61719405-B457-9871-884B-376821A373A0}"/>
                </a:ext>
              </a:extLst>
            </p:cNvPr>
            <p:cNvSpPr/>
            <p:nvPr/>
          </p:nvSpPr>
          <p:spPr>
            <a:xfrm>
              <a:off x="1932661" y="5960329"/>
              <a:ext cx="334894" cy="111246"/>
            </a:xfrm>
            <a:custGeom>
              <a:avLst/>
              <a:gdLst>
                <a:gd name="connsiteX0" fmla="*/ 334894 w 334894"/>
                <a:gd name="connsiteY0" fmla="*/ 0 h 111246"/>
                <a:gd name="connsiteX1" fmla="*/ 242334 w 334894"/>
                <a:gd name="connsiteY1" fmla="*/ 0 h 111246"/>
                <a:gd name="connsiteX2" fmla="*/ 221288 w 334894"/>
                <a:gd name="connsiteY2" fmla="*/ 75609 h 111246"/>
                <a:gd name="connsiteX3" fmla="*/ 41224 w 334894"/>
                <a:gd name="connsiteY3" fmla="*/ 75609 h 111246"/>
                <a:gd name="connsiteX4" fmla="*/ 0 w 334894"/>
                <a:gd name="connsiteY4" fmla="*/ 111246 h 111246"/>
                <a:gd name="connsiteX5" fmla="*/ 334894 w 334894"/>
                <a:gd name="connsiteY5" fmla="*/ 111246 h 111246"/>
                <a:gd name="connsiteX6" fmla="*/ 334894 w 334894"/>
                <a:gd name="connsiteY6" fmla="*/ 0 h 111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34894" h="111246">
                  <a:moveTo>
                    <a:pt x="334894" y="0"/>
                  </a:moveTo>
                  <a:lnTo>
                    <a:pt x="242334" y="0"/>
                  </a:lnTo>
                  <a:lnTo>
                    <a:pt x="221288" y="75609"/>
                  </a:lnTo>
                  <a:lnTo>
                    <a:pt x="41224" y="75609"/>
                  </a:lnTo>
                  <a:cubicBezTo>
                    <a:pt x="18541" y="75609"/>
                    <a:pt x="0" y="94583"/>
                    <a:pt x="0" y="111246"/>
                  </a:cubicBezTo>
                  <a:lnTo>
                    <a:pt x="334894" y="111246"/>
                  </a:lnTo>
                  <a:lnTo>
                    <a:pt x="334894" y="0"/>
                  </a:ln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14" name="Forma livre: Forma 1713">
              <a:extLst>
                <a:ext uri="{FF2B5EF4-FFF2-40B4-BE49-F238E27FC236}">
                  <a16:creationId xmlns:a16="http://schemas.microsoft.com/office/drawing/2014/main" id="{26AB409C-6197-19F8-23B2-CAB9B8D4C502}"/>
                </a:ext>
              </a:extLst>
            </p:cNvPr>
            <p:cNvSpPr/>
            <p:nvPr/>
          </p:nvSpPr>
          <p:spPr>
            <a:xfrm>
              <a:off x="1977353" y="5929603"/>
              <a:ext cx="162197" cy="58946"/>
            </a:xfrm>
            <a:custGeom>
              <a:avLst/>
              <a:gdLst>
                <a:gd name="connsiteX0" fmla="*/ 0 w 162197"/>
                <a:gd name="connsiteY0" fmla="*/ 0 h 58946"/>
                <a:gd name="connsiteX1" fmla="*/ 0 w 162197"/>
                <a:gd name="connsiteY1" fmla="*/ 58946 h 58946"/>
                <a:gd name="connsiteX2" fmla="*/ 162198 w 162197"/>
                <a:gd name="connsiteY2" fmla="*/ 58946 h 589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2197" h="58946">
                  <a:moveTo>
                    <a:pt x="0" y="0"/>
                  </a:moveTo>
                  <a:lnTo>
                    <a:pt x="0" y="58946"/>
                  </a:lnTo>
                  <a:lnTo>
                    <a:pt x="162198" y="58946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15" name="Forma livre: Forma 1714">
              <a:extLst>
                <a:ext uri="{FF2B5EF4-FFF2-40B4-BE49-F238E27FC236}">
                  <a16:creationId xmlns:a16="http://schemas.microsoft.com/office/drawing/2014/main" id="{DF3C9B82-9FBB-F024-6FDB-AFA9720173FB}"/>
                </a:ext>
              </a:extLst>
            </p:cNvPr>
            <p:cNvSpPr/>
            <p:nvPr/>
          </p:nvSpPr>
          <p:spPr>
            <a:xfrm>
              <a:off x="1997146" y="5962592"/>
              <a:ext cx="36215" cy="4815"/>
            </a:xfrm>
            <a:custGeom>
              <a:avLst/>
              <a:gdLst>
                <a:gd name="connsiteX0" fmla="*/ 0 w 36215"/>
                <a:gd name="connsiteY0" fmla="*/ 0 h 4815"/>
                <a:gd name="connsiteX1" fmla="*/ 36215 w 36215"/>
                <a:gd name="connsiteY1" fmla="*/ 0 h 48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6215" h="4815">
                  <a:moveTo>
                    <a:pt x="0" y="0"/>
                  </a:moveTo>
                  <a:lnTo>
                    <a:pt x="36215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716" name="Gráfico 17">
            <a:extLst>
              <a:ext uri="{FF2B5EF4-FFF2-40B4-BE49-F238E27FC236}">
                <a16:creationId xmlns:a16="http://schemas.microsoft.com/office/drawing/2014/main" id="{D8BD1E84-49C2-BAB5-732F-72619C545FFA}"/>
              </a:ext>
            </a:extLst>
          </p:cNvPr>
          <p:cNvGrpSpPr/>
          <p:nvPr/>
        </p:nvGrpSpPr>
        <p:grpSpPr>
          <a:xfrm>
            <a:off x="1326716" y="5284858"/>
            <a:ext cx="301502" cy="280666"/>
            <a:chOff x="1326716" y="5284858"/>
            <a:chExt cx="301502" cy="280666"/>
          </a:xfrm>
          <a:noFill/>
        </p:grpSpPr>
        <p:grpSp>
          <p:nvGrpSpPr>
            <p:cNvPr id="1717" name="Gráfico 17">
              <a:extLst>
                <a:ext uri="{FF2B5EF4-FFF2-40B4-BE49-F238E27FC236}">
                  <a16:creationId xmlns:a16="http://schemas.microsoft.com/office/drawing/2014/main" id="{428691F4-F0E6-07A4-70AD-66E55558DF70}"/>
                </a:ext>
              </a:extLst>
            </p:cNvPr>
            <p:cNvGrpSpPr/>
            <p:nvPr/>
          </p:nvGrpSpPr>
          <p:grpSpPr>
            <a:xfrm>
              <a:off x="1430271" y="5284983"/>
              <a:ext cx="94438" cy="113287"/>
              <a:chOff x="1430271" y="5284983"/>
              <a:chExt cx="94438" cy="113287"/>
            </a:xfrm>
            <a:noFill/>
          </p:grpSpPr>
          <p:sp>
            <p:nvSpPr>
              <p:cNvPr id="1718" name="Forma livre: Forma 1717">
                <a:extLst>
                  <a:ext uri="{FF2B5EF4-FFF2-40B4-BE49-F238E27FC236}">
                    <a16:creationId xmlns:a16="http://schemas.microsoft.com/office/drawing/2014/main" id="{17916EA3-C2A7-3548-2769-1EB2E19896CE}"/>
                  </a:ext>
                </a:extLst>
              </p:cNvPr>
              <p:cNvSpPr/>
              <p:nvPr/>
            </p:nvSpPr>
            <p:spPr>
              <a:xfrm>
                <a:off x="1430271" y="5354446"/>
                <a:ext cx="94438" cy="43824"/>
              </a:xfrm>
              <a:custGeom>
                <a:avLst/>
                <a:gdLst>
                  <a:gd name="connsiteX0" fmla="*/ 94439 w 94438"/>
                  <a:gd name="connsiteY0" fmla="*/ 43824 h 43824"/>
                  <a:gd name="connsiteX1" fmla="*/ 91790 w 94438"/>
                  <a:gd name="connsiteY1" fmla="*/ 18348 h 43824"/>
                  <a:gd name="connsiteX2" fmla="*/ 71515 w 94438"/>
                  <a:gd name="connsiteY2" fmla="*/ 0 h 43824"/>
                  <a:gd name="connsiteX3" fmla="*/ 22923 w 94438"/>
                  <a:gd name="connsiteY3" fmla="*/ 0 h 43824"/>
                  <a:gd name="connsiteX4" fmla="*/ 2649 w 94438"/>
                  <a:gd name="connsiteY4" fmla="*/ 18348 h 43824"/>
                  <a:gd name="connsiteX5" fmla="*/ 0 w 94438"/>
                  <a:gd name="connsiteY5" fmla="*/ 43824 h 438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94438" h="43824">
                    <a:moveTo>
                      <a:pt x="94439" y="43824"/>
                    </a:moveTo>
                    <a:lnTo>
                      <a:pt x="91790" y="18348"/>
                    </a:lnTo>
                    <a:cubicBezTo>
                      <a:pt x="90779" y="6357"/>
                      <a:pt x="81629" y="0"/>
                      <a:pt x="71515" y="0"/>
                    </a:cubicBezTo>
                    <a:lnTo>
                      <a:pt x="22923" y="0"/>
                    </a:lnTo>
                    <a:cubicBezTo>
                      <a:pt x="12762" y="0"/>
                      <a:pt x="3612" y="6357"/>
                      <a:pt x="2649" y="18348"/>
                    </a:cubicBezTo>
                    <a:lnTo>
                      <a:pt x="0" y="43824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719" name="Forma livre: Forma 1718">
                <a:extLst>
                  <a:ext uri="{FF2B5EF4-FFF2-40B4-BE49-F238E27FC236}">
                    <a16:creationId xmlns:a16="http://schemas.microsoft.com/office/drawing/2014/main" id="{A271F733-ACFF-4854-9845-9261E7B897C7}"/>
                  </a:ext>
                </a:extLst>
              </p:cNvPr>
              <p:cNvSpPr/>
              <p:nvPr/>
            </p:nvSpPr>
            <p:spPr>
              <a:xfrm>
                <a:off x="1454814" y="5284983"/>
                <a:ext cx="45306" cy="45306"/>
              </a:xfrm>
              <a:custGeom>
                <a:avLst/>
                <a:gdLst>
                  <a:gd name="connsiteX0" fmla="*/ 5364 w 45306"/>
                  <a:gd name="connsiteY0" fmla="*/ 8013 h 45306"/>
                  <a:gd name="connsiteX1" fmla="*/ 8013 w 45306"/>
                  <a:gd name="connsiteY1" fmla="*/ 39942 h 45306"/>
                  <a:gd name="connsiteX2" fmla="*/ 39942 w 45306"/>
                  <a:gd name="connsiteY2" fmla="*/ 37293 h 45306"/>
                  <a:gd name="connsiteX3" fmla="*/ 37293 w 45306"/>
                  <a:gd name="connsiteY3" fmla="*/ 5364 h 45306"/>
                  <a:gd name="connsiteX4" fmla="*/ 5364 w 45306"/>
                  <a:gd name="connsiteY4" fmla="*/ 8013 h 453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5306" h="45306">
                    <a:moveTo>
                      <a:pt x="5364" y="8013"/>
                    </a:moveTo>
                    <a:cubicBezTo>
                      <a:pt x="-2726" y="17548"/>
                      <a:pt x="-1522" y="31851"/>
                      <a:pt x="8013" y="39942"/>
                    </a:cubicBezTo>
                    <a:cubicBezTo>
                      <a:pt x="17548" y="48033"/>
                      <a:pt x="31851" y="46829"/>
                      <a:pt x="39942" y="37293"/>
                    </a:cubicBezTo>
                    <a:cubicBezTo>
                      <a:pt x="48033" y="27758"/>
                      <a:pt x="46829" y="13455"/>
                      <a:pt x="37293" y="5364"/>
                    </a:cubicBezTo>
                    <a:cubicBezTo>
                      <a:pt x="27758" y="-2726"/>
                      <a:pt x="13455" y="-1522"/>
                      <a:pt x="5364" y="8013"/>
                    </a:cubicBezTo>
                    <a:close/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720" name="Forma livre: Forma 1719">
              <a:extLst>
                <a:ext uri="{FF2B5EF4-FFF2-40B4-BE49-F238E27FC236}">
                  <a16:creationId xmlns:a16="http://schemas.microsoft.com/office/drawing/2014/main" id="{3ABB4926-E860-D4B7-A940-F311F79AD6CC}"/>
                </a:ext>
              </a:extLst>
            </p:cNvPr>
            <p:cNvSpPr/>
            <p:nvPr/>
          </p:nvSpPr>
          <p:spPr>
            <a:xfrm>
              <a:off x="1369592" y="5435545"/>
              <a:ext cx="215798" cy="4815"/>
            </a:xfrm>
            <a:custGeom>
              <a:avLst/>
              <a:gdLst>
                <a:gd name="connsiteX0" fmla="*/ 0 w 215798"/>
                <a:gd name="connsiteY0" fmla="*/ 0 h 4815"/>
                <a:gd name="connsiteX1" fmla="*/ 215798 w 215798"/>
                <a:gd name="connsiteY1" fmla="*/ 0 h 48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15798" h="4815">
                  <a:moveTo>
                    <a:pt x="0" y="0"/>
                  </a:moveTo>
                  <a:lnTo>
                    <a:pt x="215798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21" name="Forma livre: Forma 1720">
              <a:extLst>
                <a:ext uri="{FF2B5EF4-FFF2-40B4-BE49-F238E27FC236}">
                  <a16:creationId xmlns:a16="http://schemas.microsoft.com/office/drawing/2014/main" id="{45890E45-42F3-3C4E-FC71-C60DF0D0866B}"/>
                </a:ext>
              </a:extLst>
            </p:cNvPr>
            <p:cNvSpPr/>
            <p:nvPr/>
          </p:nvSpPr>
          <p:spPr>
            <a:xfrm>
              <a:off x="1477467" y="5435111"/>
              <a:ext cx="4815" cy="125501"/>
            </a:xfrm>
            <a:custGeom>
              <a:avLst/>
              <a:gdLst>
                <a:gd name="connsiteX0" fmla="*/ 0 w 4815"/>
                <a:gd name="connsiteY0" fmla="*/ 0 h 125501"/>
                <a:gd name="connsiteX1" fmla="*/ 0 w 4815"/>
                <a:gd name="connsiteY1" fmla="*/ 125501 h 1255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815" h="125501">
                  <a:moveTo>
                    <a:pt x="0" y="0"/>
                  </a:moveTo>
                  <a:lnTo>
                    <a:pt x="0" y="125501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722" name="Gráfico 17">
              <a:extLst>
                <a:ext uri="{FF2B5EF4-FFF2-40B4-BE49-F238E27FC236}">
                  <a16:creationId xmlns:a16="http://schemas.microsoft.com/office/drawing/2014/main" id="{5B907AB3-510B-2D40-568F-88D7BD94AF58}"/>
                </a:ext>
              </a:extLst>
            </p:cNvPr>
            <p:cNvGrpSpPr/>
            <p:nvPr/>
          </p:nvGrpSpPr>
          <p:grpSpPr>
            <a:xfrm>
              <a:off x="1326716" y="5284858"/>
              <a:ext cx="301502" cy="280666"/>
              <a:chOff x="1326716" y="5284858"/>
              <a:chExt cx="301502" cy="280666"/>
            </a:xfrm>
            <a:noFill/>
          </p:grpSpPr>
          <p:grpSp>
            <p:nvGrpSpPr>
              <p:cNvPr id="1723" name="Gráfico 17">
                <a:extLst>
                  <a:ext uri="{FF2B5EF4-FFF2-40B4-BE49-F238E27FC236}">
                    <a16:creationId xmlns:a16="http://schemas.microsoft.com/office/drawing/2014/main" id="{62CE7A46-480C-3AF8-A841-FDF7BC3D90B8}"/>
                  </a:ext>
                </a:extLst>
              </p:cNvPr>
              <p:cNvGrpSpPr/>
              <p:nvPr/>
            </p:nvGrpSpPr>
            <p:grpSpPr>
              <a:xfrm>
                <a:off x="1326716" y="5284858"/>
                <a:ext cx="131391" cy="280666"/>
                <a:chOff x="1326716" y="5284858"/>
                <a:chExt cx="131391" cy="280666"/>
              </a:xfrm>
              <a:noFill/>
            </p:grpSpPr>
            <p:sp>
              <p:nvSpPr>
                <p:cNvPr id="1724" name="Forma livre: Forma 1723">
                  <a:extLst>
                    <a:ext uri="{FF2B5EF4-FFF2-40B4-BE49-F238E27FC236}">
                      <a16:creationId xmlns:a16="http://schemas.microsoft.com/office/drawing/2014/main" id="{269FBE74-EAAA-8498-90FC-A8E3C80F556F}"/>
                    </a:ext>
                  </a:extLst>
                </p:cNvPr>
                <p:cNvSpPr/>
                <p:nvPr/>
              </p:nvSpPr>
              <p:spPr>
                <a:xfrm>
                  <a:off x="1326716" y="5346800"/>
                  <a:ext cx="131391" cy="218724"/>
                </a:xfrm>
                <a:custGeom>
                  <a:avLst/>
                  <a:gdLst>
                    <a:gd name="connsiteX0" fmla="*/ 101437 w 131391"/>
                    <a:gd name="connsiteY0" fmla="*/ 218725 h 218724"/>
                    <a:gd name="connsiteX1" fmla="*/ 82366 w 131391"/>
                    <a:gd name="connsiteY1" fmla="*/ 138396 h 218724"/>
                    <a:gd name="connsiteX2" fmla="*/ 20723 w 131391"/>
                    <a:gd name="connsiteY2" fmla="*/ 138396 h 218724"/>
                    <a:gd name="connsiteX3" fmla="*/ 1171 w 131391"/>
                    <a:gd name="connsiteY3" fmla="*/ 96932 h 218724"/>
                    <a:gd name="connsiteX4" fmla="*/ 14848 w 131391"/>
                    <a:gd name="connsiteY4" fmla="*/ 16170 h 218724"/>
                    <a:gd name="connsiteX5" fmla="*/ 51496 w 131391"/>
                    <a:gd name="connsiteY5" fmla="*/ 1770 h 218724"/>
                    <a:gd name="connsiteX6" fmla="*/ 72397 w 131391"/>
                    <a:gd name="connsiteY6" fmla="*/ 63510 h 218724"/>
                    <a:gd name="connsiteX7" fmla="*/ 131391 w 131391"/>
                    <a:gd name="connsiteY7" fmla="*/ 77765 h 21872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391" h="218724">
                      <a:moveTo>
                        <a:pt x="101437" y="218725"/>
                      </a:moveTo>
                      <a:lnTo>
                        <a:pt x="82366" y="138396"/>
                      </a:lnTo>
                      <a:lnTo>
                        <a:pt x="20723" y="138396"/>
                      </a:lnTo>
                      <a:cubicBezTo>
                        <a:pt x="-4319" y="134977"/>
                        <a:pt x="-322" y="108923"/>
                        <a:pt x="1171" y="96932"/>
                      </a:cubicBezTo>
                      <a:cubicBezTo>
                        <a:pt x="4108" y="72804"/>
                        <a:pt x="8250" y="26524"/>
                        <a:pt x="14848" y="16170"/>
                      </a:cubicBezTo>
                      <a:cubicBezTo>
                        <a:pt x="26261" y="-1890"/>
                        <a:pt x="47355" y="-1553"/>
                        <a:pt x="51496" y="1770"/>
                      </a:cubicBezTo>
                      <a:cubicBezTo>
                        <a:pt x="61128" y="9524"/>
                        <a:pt x="62428" y="22864"/>
                        <a:pt x="72397" y="63510"/>
                      </a:cubicBezTo>
                      <a:lnTo>
                        <a:pt x="131391" y="77765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725" name="Forma livre: Forma 1724">
                  <a:extLst>
                    <a:ext uri="{FF2B5EF4-FFF2-40B4-BE49-F238E27FC236}">
                      <a16:creationId xmlns:a16="http://schemas.microsoft.com/office/drawing/2014/main" id="{ADB39222-57E5-E1F0-063F-830404536094}"/>
                    </a:ext>
                  </a:extLst>
                </p:cNvPr>
                <p:cNvSpPr/>
                <p:nvPr/>
              </p:nvSpPr>
              <p:spPr>
                <a:xfrm>
                  <a:off x="1372655" y="5284858"/>
                  <a:ext cx="45258" cy="45238"/>
                </a:xfrm>
                <a:custGeom>
                  <a:avLst/>
                  <a:gdLst>
                    <a:gd name="connsiteX0" fmla="*/ 39894 w 45258"/>
                    <a:gd name="connsiteY0" fmla="*/ 7993 h 45238"/>
                    <a:gd name="connsiteX1" fmla="*/ 37245 w 45258"/>
                    <a:gd name="connsiteY1" fmla="*/ 39874 h 45238"/>
                    <a:gd name="connsiteX2" fmla="*/ 5364 w 45258"/>
                    <a:gd name="connsiteY2" fmla="*/ 37225 h 45238"/>
                    <a:gd name="connsiteX3" fmla="*/ 8013 w 45258"/>
                    <a:gd name="connsiteY3" fmla="*/ 5344 h 45238"/>
                    <a:gd name="connsiteX4" fmla="*/ 39894 w 45258"/>
                    <a:gd name="connsiteY4" fmla="*/ 7993 h 4523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45258" h="45238">
                      <a:moveTo>
                        <a:pt x="39894" y="7993"/>
                      </a:moveTo>
                      <a:cubicBezTo>
                        <a:pt x="47985" y="17529"/>
                        <a:pt x="46781" y="31832"/>
                        <a:pt x="37245" y="39874"/>
                      </a:cubicBezTo>
                      <a:cubicBezTo>
                        <a:pt x="27710" y="47965"/>
                        <a:pt x="13407" y="46761"/>
                        <a:pt x="5364" y="37225"/>
                      </a:cubicBezTo>
                      <a:cubicBezTo>
                        <a:pt x="-2726" y="27690"/>
                        <a:pt x="-1522" y="13387"/>
                        <a:pt x="8013" y="5344"/>
                      </a:cubicBezTo>
                      <a:cubicBezTo>
                        <a:pt x="17548" y="-2698"/>
                        <a:pt x="31851" y="-1542"/>
                        <a:pt x="39894" y="7993"/>
                      </a:cubicBezTo>
                      <a:close/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726" name="Forma livre: Forma 1725">
                  <a:extLst>
                    <a:ext uri="{FF2B5EF4-FFF2-40B4-BE49-F238E27FC236}">
                      <a16:creationId xmlns:a16="http://schemas.microsoft.com/office/drawing/2014/main" id="{1002ACEB-4871-1F93-40BE-650902C207E5}"/>
                    </a:ext>
                  </a:extLst>
                </p:cNvPr>
                <p:cNvSpPr/>
                <p:nvPr/>
              </p:nvSpPr>
              <p:spPr>
                <a:xfrm>
                  <a:off x="1368966" y="5414740"/>
                  <a:ext cx="82832" cy="147220"/>
                </a:xfrm>
                <a:custGeom>
                  <a:avLst/>
                  <a:gdLst>
                    <a:gd name="connsiteX0" fmla="*/ 5153 w 82832"/>
                    <a:gd name="connsiteY0" fmla="*/ 0 h 147220"/>
                    <a:gd name="connsiteX1" fmla="*/ 0 w 82832"/>
                    <a:gd name="connsiteY1" fmla="*/ 32989 h 147220"/>
                    <a:gd name="connsiteX2" fmla="*/ 54419 w 82832"/>
                    <a:gd name="connsiteY2" fmla="*/ 42283 h 147220"/>
                    <a:gd name="connsiteX3" fmla="*/ 67229 w 82832"/>
                    <a:gd name="connsiteY3" fmla="*/ 55816 h 147220"/>
                    <a:gd name="connsiteX4" fmla="*/ 82833 w 82832"/>
                    <a:gd name="connsiteY4" fmla="*/ 147221 h 14722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82832" h="147220">
                      <a:moveTo>
                        <a:pt x="5153" y="0"/>
                      </a:moveTo>
                      <a:lnTo>
                        <a:pt x="0" y="32989"/>
                      </a:lnTo>
                      <a:lnTo>
                        <a:pt x="54419" y="42283"/>
                      </a:lnTo>
                      <a:cubicBezTo>
                        <a:pt x="54419" y="42283"/>
                        <a:pt x="64725" y="44595"/>
                        <a:pt x="67229" y="55816"/>
                      </a:cubicBezTo>
                      <a:lnTo>
                        <a:pt x="82833" y="147221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727" name="Forma livre: Forma 1726">
                  <a:extLst>
                    <a:ext uri="{FF2B5EF4-FFF2-40B4-BE49-F238E27FC236}">
                      <a16:creationId xmlns:a16="http://schemas.microsoft.com/office/drawing/2014/main" id="{E0E0D2A2-73F1-B518-6D8B-5B9627ECE78C}"/>
                    </a:ext>
                  </a:extLst>
                </p:cNvPr>
                <p:cNvSpPr/>
                <p:nvPr/>
              </p:nvSpPr>
              <p:spPr>
                <a:xfrm>
                  <a:off x="1366702" y="5390517"/>
                  <a:ext cx="13436" cy="42283"/>
                </a:xfrm>
                <a:custGeom>
                  <a:avLst/>
                  <a:gdLst>
                    <a:gd name="connsiteX0" fmla="*/ 0 w 13436"/>
                    <a:gd name="connsiteY0" fmla="*/ 0 h 42283"/>
                    <a:gd name="connsiteX1" fmla="*/ 13436 w 13436"/>
                    <a:gd name="connsiteY1" fmla="*/ 42283 h 4228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3436" h="42283">
                      <a:moveTo>
                        <a:pt x="0" y="0"/>
                      </a:moveTo>
                      <a:lnTo>
                        <a:pt x="13436" y="42283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1728" name="Gráfico 17">
                <a:extLst>
                  <a:ext uri="{FF2B5EF4-FFF2-40B4-BE49-F238E27FC236}">
                    <a16:creationId xmlns:a16="http://schemas.microsoft.com/office/drawing/2014/main" id="{EFBF4FFA-78B7-C019-AD40-C879A3096DB5}"/>
                  </a:ext>
                </a:extLst>
              </p:cNvPr>
              <p:cNvGrpSpPr/>
              <p:nvPr/>
            </p:nvGrpSpPr>
            <p:grpSpPr>
              <a:xfrm>
                <a:off x="1496826" y="5284858"/>
                <a:ext cx="131391" cy="280666"/>
                <a:chOff x="1496826" y="5284858"/>
                <a:chExt cx="131391" cy="280666"/>
              </a:xfrm>
              <a:noFill/>
            </p:grpSpPr>
            <p:sp>
              <p:nvSpPr>
                <p:cNvPr id="1729" name="Forma livre: Forma 1728">
                  <a:extLst>
                    <a:ext uri="{FF2B5EF4-FFF2-40B4-BE49-F238E27FC236}">
                      <a16:creationId xmlns:a16="http://schemas.microsoft.com/office/drawing/2014/main" id="{9545EB34-BFF3-D010-B931-614559099BA7}"/>
                    </a:ext>
                  </a:extLst>
                </p:cNvPr>
                <p:cNvSpPr/>
                <p:nvPr/>
              </p:nvSpPr>
              <p:spPr>
                <a:xfrm>
                  <a:off x="1496826" y="5346800"/>
                  <a:ext cx="131391" cy="218724"/>
                </a:xfrm>
                <a:custGeom>
                  <a:avLst/>
                  <a:gdLst>
                    <a:gd name="connsiteX0" fmla="*/ 29955 w 131391"/>
                    <a:gd name="connsiteY0" fmla="*/ 218725 h 218724"/>
                    <a:gd name="connsiteX1" fmla="*/ 49025 w 131391"/>
                    <a:gd name="connsiteY1" fmla="*/ 138396 h 218724"/>
                    <a:gd name="connsiteX2" fmla="*/ 110668 w 131391"/>
                    <a:gd name="connsiteY2" fmla="*/ 138396 h 218724"/>
                    <a:gd name="connsiteX3" fmla="*/ 130221 w 131391"/>
                    <a:gd name="connsiteY3" fmla="*/ 96932 h 218724"/>
                    <a:gd name="connsiteX4" fmla="*/ 116544 w 131391"/>
                    <a:gd name="connsiteY4" fmla="*/ 16170 h 218724"/>
                    <a:gd name="connsiteX5" fmla="*/ 79895 w 131391"/>
                    <a:gd name="connsiteY5" fmla="*/ 1770 h 218724"/>
                    <a:gd name="connsiteX6" fmla="*/ 58994 w 131391"/>
                    <a:gd name="connsiteY6" fmla="*/ 63510 h 218724"/>
                    <a:gd name="connsiteX7" fmla="*/ 0 w 131391"/>
                    <a:gd name="connsiteY7" fmla="*/ 77765 h 21872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391" h="218724">
                      <a:moveTo>
                        <a:pt x="29955" y="218725"/>
                      </a:moveTo>
                      <a:lnTo>
                        <a:pt x="49025" y="138396"/>
                      </a:lnTo>
                      <a:lnTo>
                        <a:pt x="110668" y="138396"/>
                      </a:lnTo>
                      <a:cubicBezTo>
                        <a:pt x="135711" y="134977"/>
                        <a:pt x="131714" y="108923"/>
                        <a:pt x="130221" y="96932"/>
                      </a:cubicBezTo>
                      <a:cubicBezTo>
                        <a:pt x="127283" y="72804"/>
                        <a:pt x="123141" y="26524"/>
                        <a:pt x="116544" y="16170"/>
                      </a:cubicBezTo>
                      <a:cubicBezTo>
                        <a:pt x="105130" y="-1890"/>
                        <a:pt x="84037" y="-1553"/>
                        <a:pt x="79895" y="1770"/>
                      </a:cubicBezTo>
                      <a:cubicBezTo>
                        <a:pt x="70263" y="9524"/>
                        <a:pt x="68963" y="22864"/>
                        <a:pt x="58994" y="63510"/>
                      </a:cubicBezTo>
                      <a:lnTo>
                        <a:pt x="0" y="77765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730" name="Forma livre: Forma 1729">
                  <a:extLst>
                    <a:ext uri="{FF2B5EF4-FFF2-40B4-BE49-F238E27FC236}">
                      <a16:creationId xmlns:a16="http://schemas.microsoft.com/office/drawing/2014/main" id="{383D2510-4BC3-E62F-7B42-E9AD899E1147}"/>
                    </a:ext>
                  </a:extLst>
                </p:cNvPr>
                <p:cNvSpPr/>
                <p:nvPr/>
              </p:nvSpPr>
              <p:spPr>
                <a:xfrm>
                  <a:off x="1537068" y="5284858"/>
                  <a:ext cx="45258" cy="45238"/>
                </a:xfrm>
                <a:custGeom>
                  <a:avLst/>
                  <a:gdLst>
                    <a:gd name="connsiteX0" fmla="*/ 5364 w 45258"/>
                    <a:gd name="connsiteY0" fmla="*/ 7993 h 45238"/>
                    <a:gd name="connsiteX1" fmla="*/ 8013 w 45258"/>
                    <a:gd name="connsiteY1" fmla="*/ 39874 h 45238"/>
                    <a:gd name="connsiteX2" fmla="*/ 39894 w 45258"/>
                    <a:gd name="connsiteY2" fmla="*/ 37225 h 45238"/>
                    <a:gd name="connsiteX3" fmla="*/ 37245 w 45258"/>
                    <a:gd name="connsiteY3" fmla="*/ 5344 h 45238"/>
                    <a:gd name="connsiteX4" fmla="*/ 5364 w 45258"/>
                    <a:gd name="connsiteY4" fmla="*/ 7993 h 4523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45258" h="45238">
                      <a:moveTo>
                        <a:pt x="5364" y="7993"/>
                      </a:moveTo>
                      <a:cubicBezTo>
                        <a:pt x="-2726" y="17529"/>
                        <a:pt x="-1522" y="31832"/>
                        <a:pt x="8013" y="39874"/>
                      </a:cubicBezTo>
                      <a:cubicBezTo>
                        <a:pt x="17548" y="47965"/>
                        <a:pt x="31851" y="46761"/>
                        <a:pt x="39894" y="37225"/>
                      </a:cubicBezTo>
                      <a:cubicBezTo>
                        <a:pt x="47985" y="27690"/>
                        <a:pt x="46781" y="13387"/>
                        <a:pt x="37245" y="5344"/>
                      </a:cubicBezTo>
                      <a:cubicBezTo>
                        <a:pt x="27710" y="-2698"/>
                        <a:pt x="13407" y="-1542"/>
                        <a:pt x="5364" y="7993"/>
                      </a:cubicBezTo>
                      <a:close/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731" name="Forma livre: Forma 1730">
                  <a:extLst>
                    <a:ext uri="{FF2B5EF4-FFF2-40B4-BE49-F238E27FC236}">
                      <a16:creationId xmlns:a16="http://schemas.microsoft.com/office/drawing/2014/main" id="{F337E1CC-CE2D-F07F-1679-9FB58E76BB95}"/>
                    </a:ext>
                  </a:extLst>
                </p:cNvPr>
                <p:cNvSpPr/>
                <p:nvPr/>
              </p:nvSpPr>
              <p:spPr>
                <a:xfrm>
                  <a:off x="1503135" y="5414740"/>
                  <a:ext cx="82832" cy="147220"/>
                </a:xfrm>
                <a:custGeom>
                  <a:avLst/>
                  <a:gdLst>
                    <a:gd name="connsiteX0" fmla="*/ 77680 w 82832"/>
                    <a:gd name="connsiteY0" fmla="*/ 0 h 147220"/>
                    <a:gd name="connsiteX1" fmla="*/ 82833 w 82832"/>
                    <a:gd name="connsiteY1" fmla="*/ 32989 h 147220"/>
                    <a:gd name="connsiteX2" fmla="*/ 28414 w 82832"/>
                    <a:gd name="connsiteY2" fmla="*/ 42283 h 147220"/>
                    <a:gd name="connsiteX3" fmla="*/ 15603 w 82832"/>
                    <a:gd name="connsiteY3" fmla="*/ 55816 h 147220"/>
                    <a:gd name="connsiteX4" fmla="*/ 0 w 82832"/>
                    <a:gd name="connsiteY4" fmla="*/ 147221 h 14722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82832" h="147220">
                      <a:moveTo>
                        <a:pt x="77680" y="0"/>
                      </a:moveTo>
                      <a:lnTo>
                        <a:pt x="82833" y="32989"/>
                      </a:lnTo>
                      <a:lnTo>
                        <a:pt x="28414" y="42283"/>
                      </a:lnTo>
                      <a:cubicBezTo>
                        <a:pt x="28414" y="42283"/>
                        <a:pt x="18108" y="44595"/>
                        <a:pt x="15603" y="55816"/>
                      </a:cubicBezTo>
                      <a:lnTo>
                        <a:pt x="0" y="147221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732" name="Forma livre: Forma 1731">
                  <a:extLst>
                    <a:ext uri="{FF2B5EF4-FFF2-40B4-BE49-F238E27FC236}">
                      <a16:creationId xmlns:a16="http://schemas.microsoft.com/office/drawing/2014/main" id="{8A102D08-E628-4BFA-7376-AADAE4A0023E}"/>
                    </a:ext>
                  </a:extLst>
                </p:cNvPr>
                <p:cNvSpPr/>
                <p:nvPr/>
              </p:nvSpPr>
              <p:spPr>
                <a:xfrm>
                  <a:off x="1574795" y="5390517"/>
                  <a:ext cx="13484" cy="42283"/>
                </a:xfrm>
                <a:custGeom>
                  <a:avLst/>
                  <a:gdLst>
                    <a:gd name="connsiteX0" fmla="*/ 13484 w 13484"/>
                    <a:gd name="connsiteY0" fmla="*/ 0 h 42283"/>
                    <a:gd name="connsiteX1" fmla="*/ 0 w 13484"/>
                    <a:gd name="connsiteY1" fmla="*/ 42283 h 4228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3484" h="42283">
                      <a:moveTo>
                        <a:pt x="13484" y="0"/>
                      </a:moveTo>
                      <a:lnTo>
                        <a:pt x="0" y="42283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</p:grpSp>
      <p:grpSp>
        <p:nvGrpSpPr>
          <p:cNvPr id="1733" name="Gráfico 17">
            <a:extLst>
              <a:ext uri="{FF2B5EF4-FFF2-40B4-BE49-F238E27FC236}">
                <a16:creationId xmlns:a16="http://schemas.microsoft.com/office/drawing/2014/main" id="{58AD3184-34B0-7ED2-7EFB-3CD9D085BF09}"/>
              </a:ext>
            </a:extLst>
          </p:cNvPr>
          <p:cNvGrpSpPr/>
          <p:nvPr/>
        </p:nvGrpSpPr>
        <p:grpSpPr>
          <a:xfrm>
            <a:off x="1953610" y="5269052"/>
            <a:ext cx="292996" cy="312269"/>
            <a:chOff x="1953610" y="5269052"/>
            <a:chExt cx="292996" cy="312269"/>
          </a:xfrm>
          <a:noFill/>
        </p:grpSpPr>
        <p:sp>
          <p:nvSpPr>
            <p:cNvPr id="1734" name="Forma livre: Forma 1733">
              <a:extLst>
                <a:ext uri="{FF2B5EF4-FFF2-40B4-BE49-F238E27FC236}">
                  <a16:creationId xmlns:a16="http://schemas.microsoft.com/office/drawing/2014/main" id="{0D09C365-7AA8-CA37-69F3-706D8EC060B6}"/>
                </a:ext>
              </a:extLst>
            </p:cNvPr>
            <p:cNvSpPr/>
            <p:nvPr/>
          </p:nvSpPr>
          <p:spPr>
            <a:xfrm>
              <a:off x="1953610" y="5351701"/>
              <a:ext cx="51577" cy="140382"/>
            </a:xfrm>
            <a:custGeom>
              <a:avLst/>
              <a:gdLst>
                <a:gd name="connsiteX0" fmla="*/ 51578 w 51577"/>
                <a:gd name="connsiteY0" fmla="*/ 140382 h 140382"/>
                <a:gd name="connsiteX1" fmla="*/ 43680 w 51577"/>
                <a:gd name="connsiteY1" fmla="*/ 140238 h 140382"/>
                <a:gd name="connsiteX2" fmla="*/ 0 w 51577"/>
                <a:gd name="connsiteY2" fmla="*/ 97136 h 140382"/>
                <a:gd name="connsiteX3" fmla="*/ 0 w 51577"/>
                <a:gd name="connsiteY3" fmla="*/ 0 h 1403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1577" h="140382">
                  <a:moveTo>
                    <a:pt x="51578" y="140382"/>
                  </a:moveTo>
                  <a:lnTo>
                    <a:pt x="43680" y="140238"/>
                  </a:lnTo>
                  <a:cubicBezTo>
                    <a:pt x="19649" y="140238"/>
                    <a:pt x="0" y="121167"/>
                    <a:pt x="0" y="97136"/>
                  </a:cubicBezTo>
                  <a:lnTo>
                    <a:pt x="0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735" name="Gráfico 17">
              <a:extLst>
                <a:ext uri="{FF2B5EF4-FFF2-40B4-BE49-F238E27FC236}">
                  <a16:creationId xmlns:a16="http://schemas.microsoft.com/office/drawing/2014/main" id="{BFF9B31F-89F5-266A-3DD5-5CC0E6C1DC5E}"/>
                </a:ext>
              </a:extLst>
            </p:cNvPr>
            <p:cNvGrpSpPr/>
            <p:nvPr/>
          </p:nvGrpSpPr>
          <p:grpSpPr>
            <a:xfrm>
              <a:off x="1973173" y="5269052"/>
              <a:ext cx="148751" cy="312269"/>
              <a:chOff x="1973173" y="5269052"/>
              <a:chExt cx="148751" cy="312269"/>
            </a:xfrm>
            <a:noFill/>
          </p:grpSpPr>
          <p:sp>
            <p:nvSpPr>
              <p:cNvPr id="1736" name="Forma livre: Forma 1735">
                <a:extLst>
                  <a:ext uri="{FF2B5EF4-FFF2-40B4-BE49-F238E27FC236}">
                    <a16:creationId xmlns:a16="http://schemas.microsoft.com/office/drawing/2014/main" id="{46B7C0C2-0CD5-23AF-3588-BDAE116F5D39}"/>
                  </a:ext>
                </a:extLst>
              </p:cNvPr>
              <p:cNvSpPr/>
              <p:nvPr/>
            </p:nvSpPr>
            <p:spPr>
              <a:xfrm>
                <a:off x="1973173" y="5338369"/>
                <a:ext cx="148751" cy="242951"/>
              </a:xfrm>
              <a:custGeom>
                <a:avLst/>
                <a:gdLst>
                  <a:gd name="connsiteX0" fmla="*/ 113403 w 148751"/>
                  <a:gd name="connsiteY0" fmla="*/ 242952 h 242951"/>
                  <a:gd name="connsiteX1" fmla="*/ 92069 w 148751"/>
                  <a:gd name="connsiteY1" fmla="*/ 153569 h 242951"/>
                  <a:gd name="connsiteX2" fmla="*/ 23154 w 148751"/>
                  <a:gd name="connsiteY2" fmla="*/ 153569 h 242951"/>
                  <a:gd name="connsiteX3" fmla="*/ 1290 w 148751"/>
                  <a:gd name="connsiteY3" fmla="*/ 107193 h 242951"/>
                  <a:gd name="connsiteX4" fmla="*/ 16557 w 148751"/>
                  <a:gd name="connsiteY4" fmla="*/ 18099 h 242951"/>
                  <a:gd name="connsiteX5" fmla="*/ 57539 w 148751"/>
                  <a:gd name="connsiteY5" fmla="*/ 1966 h 242951"/>
                  <a:gd name="connsiteX6" fmla="*/ 80896 w 148751"/>
                  <a:gd name="connsiteY6" fmla="*/ 70977 h 242951"/>
                  <a:gd name="connsiteX7" fmla="*/ 148752 w 148751"/>
                  <a:gd name="connsiteY7" fmla="*/ 88122 h 2429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48751" h="242951">
                    <a:moveTo>
                      <a:pt x="113403" y="242952"/>
                    </a:moveTo>
                    <a:lnTo>
                      <a:pt x="92069" y="153569"/>
                    </a:lnTo>
                    <a:lnTo>
                      <a:pt x="23154" y="153569"/>
                    </a:lnTo>
                    <a:cubicBezTo>
                      <a:pt x="-4826" y="149717"/>
                      <a:pt x="-347" y="120581"/>
                      <a:pt x="1290" y="107193"/>
                    </a:cubicBezTo>
                    <a:cubicBezTo>
                      <a:pt x="4565" y="80176"/>
                      <a:pt x="9188" y="29705"/>
                      <a:pt x="16557" y="18099"/>
                    </a:cubicBezTo>
                    <a:cubicBezTo>
                      <a:pt x="29319" y="-2079"/>
                      <a:pt x="52916" y="-1742"/>
                      <a:pt x="57539" y="1966"/>
                    </a:cubicBezTo>
                    <a:cubicBezTo>
                      <a:pt x="68327" y="10635"/>
                      <a:pt x="69772" y="25564"/>
                      <a:pt x="80896" y="70977"/>
                    </a:cubicBezTo>
                    <a:lnTo>
                      <a:pt x="148752" y="88122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737" name="Forma livre: Forma 1736">
                <a:extLst>
                  <a:ext uri="{FF2B5EF4-FFF2-40B4-BE49-F238E27FC236}">
                    <a16:creationId xmlns:a16="http://schemas.microsoft.com/office/drawing/2014/main" id="{24B10AF5-8248-B7F6-C316-08A1B70DA602}"/>
                  </a:ext>
                </a:extLst>
              </p:cNvPr>
              <p:cNvSpPr/>
              <p:nvPr/>
            </p:nvSpPr>
            <p:spPr>
              <a:xfrm>
                <a:off x="2024423" y="5269052"/>
                <a:ext cx="50672" cy="50652"/>
              </a:xfrm>
              <a:custGeom>
                <a:avLst/>
                <a:gdLst>
                  <a:gd name="connsiteX0" fmla="*/ 44672 w 50672"/>
                  <a:gd name="connsiteY0" fmla="*/ 8967 h 50652"/>
                  <a:gd name="connsiteX1" fmla="*/ 41686 w 50672"/>
                  <a:gd name="connsiteY1" fmla="*/ 44652 h 50652"/>
                  <a:gd name="connsiteX2" fmla="*/ 6001 w 50672"/>
                  <a:gd name="connsiteY2" fmla="*/ 41666 h 50652"/>
                  <a:gd name="connsiteX3" fmla="*/ 8986 w 50672"/>
                  <a:gd name="connsiteY3" fmla="*/ 5981 h 50652"/>
                  <a:gd name="connsiteX4" fmla="*/ 44672 w 50672"/>
                  <a:gd name="connsiteY4" fmla="*/ 8967 h 506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0672" h="50652">
                    <a:moveTo>
                      <a:pt x="44672" y="8967"/>
                    </a:moveTo>
                    <a:cubicBezTo>
                      <a:pt x="53726" y="19658"/>
                      <a:pt x="52377" y="35646"/>
                      <a:pt x="41686" y="44652"/>
                    </a:cubicBezTo>
                    <a:cubicBezTo>
                      <a:pt x="30995" y="53706"/>
                      <a:pt x="15006" y="52357"/>
                      <a:pt x="6001" y="41666"/>
                    </a:cubicBezTo>
                    <a:cubicBezTo>
                      <a:pt x="-3053" y="30975"/>
                      <a:pt x="-1705" y="15035"/>
                      <a:pt x="8986" y="5981"/>
                    </a:cubicBezTo>
                    <a:cubicBezTo>
                      <a:pt x="19629" y="-3025"/>
                      <a:pt x="35618" y="-1725"/>
                      <a:pt x="44672" y="8967"/>
                    </a:cubicBezTo>
                    <a:close/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738" name="Forma livre: Forma 1737">
                <a:extLst>
                  <a:ext uri="{FF2B5EF4-FFF2-40B4-BE49-F238E27FC236}">
                    <a16:creationId xmlns:a16="http://schemas.microsoft.com/office/drawing/2014/main" id="{5D3A4803-7706-689B-F6A3-07E195A10ADF}"/>
                  </a:ext>
                </a:extLst>
              </p:cNvPr>
              <p:cNvSpPr/>
              <p:nvPr/>
            </p:nvSpPr>
            <p:spPr>
              <a:xfrm>
                <a:off x="2020358" y="5414355"/>
                <a:ext cx="92657" cy="163016"/>
              </a:xfrm>
              <a:custGeom>
                <a:avLst/>
                <a:gdLst>
                  <a:gd name="connsiteX0" fmla="*/ 5779 w 92657"/>
                  <a:gd name="connsiteY0" fmla="*/ 0 h 163016"/>
                  <a:gd name="connsiteX1" fmla="*/ 0 w 92657"/>
                  <a:gd name="connsiteY1" fmla="*/ 36938 h 163016"/>
                  <a:gd name="connsiteX2" fmla="*/ 60872 w 92657"/>
                  <a:gd name="connsiteY2" fmla="*/ 47340 h 163016"/>
                  <a:gd name="connsiteX3" fmla="*/ 75224 w 92657"/>
                  <a:gd name="connsiteY3" fmla="*/ 62462 h 163016"/>
                  <a:gd name="connsiteX4" fmla="*/ 92657 w 92657"/>
                  <a:gd name="connsiteY4" fmla="*/ 163017 h 1630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92657" h="163016">
                    <a:moveTo>
                      <a:pt x="5779" y="0"/>
                    </a:moveTo>
                    <a:lnTo>
                      <a:pt x="0" y="36938"/>
                    </a:lnTo>
                    <a:lnTo>
                      <a:pt x="60872" y="47340"/>
                    </a:lnTo>
                    <a:cubicBezTo>
                      <a:pt x="60872" y="47340"/>
                      <a:pt x="72382" y="49940"/>
                      <a:pt x="75224" y="62462"/>
                    </a:cubicBezTo>
                    <a:lnTo>
                      <a:pt x="92657" y="163017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739" name="Forma livre: Forma 1738">
                <a:extLst>
                  <a:ext uri="{FF2B5EF4-FFF2-40B4-BE49-F238E27FC236}">
                    <a16:creationId xmlns:a16="http://schemas.microsoft.com/office/drawing/2014/main" id="{DCA508CD-7341-FF46-7FB3-6C996832A402}"/>
                  </a:ext>
                </a:extLst>
              </p:cNvPr>
              <p:cNvSpPr/>
              <p:nvPr/>
            </p:nvSpPr>
            <p:spPr>
              <a:xfrm>
                <a:off x="2017806" y="5387242"/>
                <a:ext cx="15073" cy="47291"/>
              </a:xfrm>
              <a:custGeom>
                <a:avLst/>
                <a:gdLst>
                  <a:gd name="connsiteX0" fmla="*/ 0 w 15073"/>
                  <a:gd name="connsiteY0" fmla="*/ 0 h 47291"/>
                  <a:gd name="connsiteX1" fmla="*/ 15074 w 15073"/>
                  <a:gd name="connsiteY1" fmla="*/ 47292 h 472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5073" h="47291">
                    <a:moveTo>
                      <a:pt x="0" y="0"/>
                    </a:moveTo>
                    <a:lnTo>
                      <a:pt x="15074" y="47292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740" name="Forma livre: Forma 1739">
              <a:extLst>
                <a:ext uri="{FF2B5EF4-FFF2-40B4-BE49-F238E27FC236}">
                  <a16:creationId xmlns:a16="http://schemas.microsoft.com/office/drawing/2014/main" id="{6E767078-B5B3-8511-EBE2-6D36099D610F}"/>
                </a:ext>
              </a:extLst>
            </p:cNvPr>
            <p:cNvSpPr/>
            <p:nvPr/>
          </p:nvSpPr>
          <p:spPr>
            <a:xfrm>
              <a:off x="2020792" y="5437423"/>
              <a:ext cx="225815" cy="4815"/>
            </a:xfrm>
            <a:custGeom>
              <a:avLst/>
              <a:gdLst>
                <a:gd name="connsiteX0" fmla="*/ 0 w 225815"/>
                <a:gd name="connsiteY0" fmla="*/ 0 h 4815"/>
                <a:gd name="connsiteX1" fmla="*/ 225816 w 225815"/>
                <a:gd name="connsiteY1" fmla="*/ 0 h 48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25815" h="4815">
                  <a:moveTo>
                    <a:pt x="0" y="0"/>
                  </a:moveTo>
                  <a:lnTo>
                    <a:pt x="225816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41" name="Forma livre: Forma 1740">
              <a:extLst>
                <a:ext uri="{FF2B5EF4-FFF2-40B4-BE49-F238E27FC236}">
                  <a16:creationId xmlns:a16="http://schemas.microsoft.com/office/drawing/2014/main" id="{F487C62E-E521-5AC6-BEC3-0D46BB81DE91}"/>
                </a:ext>
              </a:extLst>
            </p:cNvPr>
            <p:cNvSpPr/>
            <p:nvPr/>
          </p:nvSpPr>
          <p:spPr>
            <a:xfrm>
              <a:off x="2217616" y="5436941"/>
              <a:ext cx="4815" cy="142693"/>
            </a:xfrm>
            <a:custGeom>
              <a:avLst/>
              <a:gdLst>
                <a:gd name="connsiteX0" fmla="*/ 0 w 4815"/>
                <a:gd name="connsiteY0" fmla="*/ 0 h 142693"/>
                <a:gd name="connsiteX1" fmla="*/ 0 w 4815"/>
                <a:gd name="connsiteY1" fmla="*/ 142694 h 1426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815" h="142693">
                  <a:moveTo>
                    <a:pt x="0" y="0"/>
                  </a:moveTo>
                  <a:lnTo>
                    <a:pt x="0" y="142694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42" name="Forma livre: Forma 1741">
              <a:extLst>
                <a:ext uri="{FF2B5EF4-FFF2-40B4-BE49-F238E27FC236}">
                  <a16:creationId xmlns:a16="http://schemas.microsoft.com/office/drawing/2014/main" id="{22DC05D6-957C-3CBE-FE31-71C892B9A50A}"/>
                </a:ext>
              </a:extLst>
            </p:cNvPr>
            <p:cNvSpPr/>
            <p:nvPr/>
          </p:nvSpPr>
          <p:spPr>
            <a:xfrm>
              <a:off x="2089851" y="5354687"/>
              <a:ext cx="129353" cy="80135"/>
            </a:xfrm>
            <a:custGeom>
              <a:avLst/>
              <a:gdLst>
                <a:gd name="connsiteX0" fmla="*/ 0 w 129353"/>
                <a:gd name="connsiteY0" fmla="*/ 40742 h 80135"/>
                <a:gd name="connsiteX1" fmla="*/ 14929 w 129353"/>
                <a:gd name="connsiteY1" fmla="*/ 0 h 80135"/>
                <a:gd name="connsiteX2" fmla="*/ 129354 w 129353"/>
                <a:gd name="connsiteY2" fmla="*/ 0 h 80135"/>
                <a:gd name="connsiteX3" fmla="*/ 101133 w 129353"/>
                <a:gd name="connsiteY3" fmla="*/ 80136 h 80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53" h="80135">
                  <a:moveTo>
                    <a:pt x="0" y="40742"/>
                  </a:moveTo>
                  <a:lnTo>
                    <a:pt x="14929" y="0"/>
                  </a:lnTo>
                  <a:lnTo>
                    <a:pt x="129354" y="0"/>
                  </a:lnTo>
                  <a:lnTo>
                    <a:pt x="101133" y="80136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43" name="Forma livre: Forma 1742">
              <a:extLst>
                <a:ext uri="{FF2B5EF4-FFF2-40B4-BE49-F238E27FC236}">
                  <a16:creationId xmlns:a16="http://schemas.microsoft.com/office/drawing/2014/main" id="{80103071-CE71-E566-4F4B-C0F290E7B468}"/>
                </a:ext>
              </a:extLst>
            </p:cNvPr>
            <p:cNvSpPr/>
            <p:nvPr/>
          </p:nvSpPr>
          <p:spPr>
            <a:xfrm>
              <a:off x="2005477" y="5494539"/>
              <a:ext cx="4815" cy="85096"/>
            </a:xfrm>
            <a:custGeom>
              <a:avLst/>
              <a:gdLst>
                <a:gd name="connsiteX0" fmla="*/ 0 w 4815"/>
                <a:gd name="connsiteY0" fmla="*/ 0 h 85096"/>
                <a:gd name="connsiteX1" fmla="*/ 0 w 4815"/>
                <a:gd name="connsiteY1" fmla="*/ 85096 h 850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815" h="85096">
                  <a:moveTo>
                    <a:pt x="0" y="0"/>
                  </a:moveTo>
                  <a:lnTo>
                    <a:pt x="0" y="85096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744" name="Gráfico 17">
            <a:extLst>
              <a:ext uri="{FF2B5EF4-FFF2-40B4-BE49-F238E27FC236}">
                <a16:creationId xmlns:a16="http://schemas.microsoft.com/office/drawing/2014/main" id="{A6710A49-AB01-E824-42F8-D5C515C47466}"/>
              </a:ext>
            </a:extLst>
          </p:cNvPr>
          <p:cNvGrpSpPr/>
          <p:nvPr/>
        </p:nvGrpSpPr>
        <p:grpSpPr>
          <a:xfrm>
            <a:off x="707448" y="5277729"/>
            <a:ext cx="294838" cy="294935"/>
            <a:chOff x="707448" y="5277729"/>
            <a:chExt cx="294838" cy="294935"/>
          </a:xfrm>
        </p:grpSpPr>
        <p:sp>
          <p:nvSpPr>
            <p:cNvPr id="1745" name="Forma livre: Forma 1744">
              <a:extLst>
                <a:ext uri="{FF2B5EF4-FFF2-40B4-BE49-F238E27FC236}">
                  <a16:creationId xmlns:a16="http://schemas.microsoft.com/office/drawing/2014/main" id="{4BCC7D13-8AEB-7E7D-DB14-4395AC93B34F}"/>
                </a:ext>
              </a:extLst>
            </p:cNvPr>
            <p:cNvSpPr/>
            <p:nvPr/>
          </p:nvSpPr>
          <p:spPr>
            <a:xfrm>
              <a:off x="804740" y="5369327"/>
              <a:ext cx="105996" cy="105948"/>
            </a:xfrm>
            <a:custGeom>
              <a:avLst/>
              <a:gdLst>
                <a:gd name="connsiteX0" fmla="*/ 105997 w 105996"/>
                <a:gd name="connsiteY0" fmla="*/ 105949 h 105948"/>
                <a:gd name="connsiteX1" fmla="*/ 0 w 105996"/>
                <a:gd name="connsiteY1" fmla="*/ 0 h 1059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5996" h="105948">
                  <a:moveTo>
                    <a:pt x="105997" y="105949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46" name="Forma livre: Forma 1745">
              <a:extLst>
                <a:ext uri="{FF2B5EF4-FFF2-40B4-BE49-F238E27FC236}">
                  <a16:creationId xmlns:a16="http://schemas.microsoft.com/office/drawing/2014/main" id="{0179D3A9-09B4-021E-F6E4-91EB798DE313}"/>
                </a:ext>
              </a:extLst>
            </p:cNvPr>
            <p:cNvSpPr/>
            <p:nvPr/>
          </p:nvSpPr>
          <p:spPr>
            <a:xfrm>
              <a:off x="707448" y="5340239"/>
              <a:ext cx="232425" cy="232425"/>
            </a:xfrm>
            <a:custGeom>
              <a:avLst/>
              <a:gdLst>
                <a:gd name="connsiteX0" fmla="*/ 124984 w 232425"/>
                <a:gd name="connsiteY0" fmla="*/ 0 h 232425"/>
                <a:gd name="connsiteX1" fmla="*/ 11955 w 232425"/>
                <a:gd name="connsiteY1" fmla="*/ 113028 h 232425"/>
                <a:gd name="connsiteX2" fmla="*/ 11955 w 232425"/>
                <a:gd name="connsiteY2" fmla="*/ 170963 h 232425"/>
                <a:gd name="connsiteX3" fmla="*/ 61462 w 232425"/>
                <a:gd name="connsiteY3" fmla="*/ 220470 h 232425"/>
                <a:gd name="connsiteX4" fmla="*/ 119397 w 232425"/>
                <a:gd name="connsiteY4" fmla="*/ 220470 h 232425"/>
                <a:gd name="connsiteX5" fmla="*/ 232425 w 232425"/>
                <a:gd name="connsiteY5" fmla="*/ 107442 h 232425"/>
                <a:gd name="connsiteX6" fmla="*/ 125032 w 232425"/>
                <a:gd name="connsiteY6" fmla="*/ 48 h 2324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32425" h="232425">
                  <a:moveTo>
                    <a:pt x="124984" y="0"/>
                  </a:moveTo>
                  <a:lnTo>
                    <a:pt x="11955" y="113028"/>
                  </a:lnTo>
                  <a:cubicBezTo>
                    <a:pt x="-3985" y="128969"/>
                    <a:pt x="-3985" y="155022"/>
                    <a:pt x="11955" y="170963"/>
                  </a:cubicBezTo>
                  <a:lnTo>
                    <a:pt x="61462" y="220470"/>
                  </a:lnTo>
                  <a:cubicBezTo>
                    <a:pt x="77403" y="236410"/>
                    <a:pt x="103457" y="236410"/>
                    <a:pt x="119397" y="220470"/>
                  </a:cubicBezTo>
                  <a:lnTo>
                    <a:pt x="232425" y="107442"/>
                  </a:lnTo>
                  <a:lnTo>
                    <a:pt x="125032" y="48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47" name="Forma livre: Forma 1746">
              <a:extLst>
                <a:ext uri="{FF2B5EF4-FFF2-40B4-BE49-F238E27FC236}">
                  <a16:creationId xmlns:a16="http://schemas.microsoft.com/office/drawing/2014/main" id="{8C05AD76-137B-F7DB-E4F6-64DECADB5C72}"/>
                </a:ext>
              </a:extLst>
            </p:cNvPr>
            <p:cNvSpPr/>
            <p:nvPr/>
          </p:nvSpPr>
          <p:spPr>
            <a:xfrm>
              <a:off x="859400" y="5277729"/>
              <a:ext cx="142886" cy="142886"/>
            </a:xfrm>
            <a:custGeom>
              <a:avLst/>
              <a:gdLst>
                <a:gd name="connsiteX0" fmla="*/ 0 w 142886"/>
                <a:gd name="connsiteY0" fmla="*/ 53504 h 142886"/>
                <a:gd name="connsiteX1" fmla="*/ 53504 w 142886"/>
                <a:gd name="connsiteY1" fmla="*/ 0 h 142886"/>
                <a:gd name="connsiteX2" fmla="*/ 142886 w 142886"/>
                <a:gd name="connsiteY2" fmla="*/ 89382 h 142886"/>
                <a:gd name="connsiteX3" fmla="*/ 89430 w 142886"/>
                <a:gd name="connsiteY3" fmla="*/ 142886 h 1428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2886" h="142886">
                  <a:moveTo>
                    <a:pt x="0" y="53504"/>
                  </a:moveTo>
                  <a:lnTo>
                    <a:pt x="53504" y="0"/>
                  </a:lnTo>
                  <a:lnTo>
                    <a:pt x="142886" y="89382"/>
                  </a:lnTo>
                  <a:lnTo>
                    <a:pt x="89430" y="142886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748" name="Gráfico 17">
              <a:extLst>
                <a:ext uri="{FF2B5EF4-FFF2-40B4-BE49-F238E27FC236}">
                  <a16:creationId xmlns:a16="http://schemas.microsoft.com/office/drawing/2014/main" id="{1640757F-7E8B-85CC-A244-D822A08A91B7}"/>
                </a:ext>
              </a:extLst>
            </p:cNvPr>
            <p:cNvGrpSpPr/>
            <p:nvPr/>
          </p:nvGrpSpPr>
          <p:grpSpPr>
            <a:xfrm>
              <a:off x="910871" y="5322331"/>
              <a:ext cx="46892" cy="46821"/>
              <a:chOff x="910871" y="5322331"/>
              <a:chExt cx="46892" cy="46821"/>
            </a:xfrm>
            <a:solidFill>
              <a:srgbClr val="394553"/>
            </a:solidFill>
          </p:grpSpPr>
          <p:sp>
            <p:nvSpPr>
              <p:cNvPr id="1749" name="Forma livre: Forma 1748">
                <a:extLst>
                  <a:ext uri="{FF2B5EF4-FFF2-40B4-BE49-F238E27FC236}">
                    <a16:creationId xmlns:a16="http://schemas.microsoft.com/office/drawing/2014/main" id="{F5E0CE70-EB22-381A-5196-6A2FFC274FC0}"/>
                  </a:ext>
                </a:extLst>
              </p:cNvPr>
              <p:cNvSpPr/>
              <p:nvPr/>
            </p:nvSpPr>
            <p:spPr>
              <a:xfrm rot="-2701201">
                <a:off x="911739" y="5323199"/>
                <a:ext cx="4189" cy="4189"/>
              </a:xfrm>
              <a:custGeom>
                <a:avLst/>
                <a:gdLst>
                  <a:gd name="connsiteX0" fmla="*/ 0 w 4189"/>
                  <a:gd name="connsiteY0" fmla="*/ 0 h 4189"/>
                  <a:gd name="connsiteX1" fmla="*/ 4190 w 4189"/>
                  <a:gd name="connsiteY1" fmla="*/ 0 h 4189"/>
                  <a:gd name="connsiteX2" fmla="*/ 4190 w 4189"/>
                  <a:gd name="connsiteY2" fmla="*/ 4190 h 4189"/>
                  <a:gd name="connsiteX3" fmla="*/ 0 w 4189"/>
                  <a:gd name="connsiteY3" fmla="*/ 4190 h 41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89" h="4189">
                    <a:moveTo>
                      <a:pt x="0" y="0"/>
                    </a:moveTo>
                    <a:lnTo>
                      <a:pt x="4190" y="0"/>
                    </a:lnTo>
                    <a:lnTo>
                      <a:pt x="4190" y="4190"/>
                    </a:lnTo>
                    <a:lnTo>
                      <a:pt x="0" y="4190"/>
                    </a:ln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750" name="Forma livre: Forma 1749">
                <a:extLst>
                  <a:ext uri="{FF2B5EF4-FFF2-40B4-BE49-F238E27FC236}">
                    <a16:creationId xmlns:a16="http://schemas.microsoft.com/office/drawing/2014/main" id="{96651CEF-547A-CA41-6ED8-B1E5D9F63F77}"/>
                  </a:ext>
                </a:extLst>
              </p:cNvPr>
              <p:cNvSpPr/>
              <p:nvPr/>
            </p:nvSpPr>
            <p:spPr>
              <a:xfrm rot="-2697601">
                <a:off x="952665" y="5364078"/>
                <a:ext cx="4237" cy="4189"/>
              </a:xfrm>
              <a:custGeom>
                <a:avLst/>
                <a:gdLst>
                  <a:gd name="connsiteX0" fmla="*/ 0 w 4237"/>
                  <a:gd name="connsiteY0" fmla="*/ 0 h 4189"/>
                  <a:gd name="connsiteX1" fmla="*/ 4238 w 4237"/>
                  <a:gd name="connsiteY1" fmla="*/ 0 h 4189"/>
                  <a:gd name="connsiteX2" fmla="*/ 4238 w 4237"/>
                  <a:gd name="connsiteY2" fmla="*/ 4190 h 4189"/>
                  <a:gd name="connsiteX3" fmla="*/ 0 w 4237"/>
                  <a:gd name="connsiteY3" fmla="*/ 4190 h 41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237" h="4189">
                    <a:moveTo>
                      <a:pt x="0" y="0"/>
                    </a:moveTo>
                    <a:lnTo>
                      <a:pt x="4238" y="0"/>
                    </a:lnTo>
                    <a:lnTo>
                      <a:pt x="4238" y="4190"/>
                    </a:lnTo>
                    <a:lnTo>
                      <a:pt x="0" y="4190"/>
                    </a:ln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751" name="Gráfico 17">
            <a:extLst>
              <a:ext uri="{FF2B5EF4-FFF2-40B4-BE49-F238E27FC236}">
                <a16:creationId xmlns:a16="http://schemas.microsoft.com/office/drawing/2014/main" id="{27CFEBD6-01A6-4570-6F7A-B5000907C2AA}"/>
              </a:ext>
            </a:extLst>
          </p:cNvPr>
          <p:cNvGrpSpPr/>
          <p:nvPr/>
        </p:nvGrpSpPr>
        <p:grpSpPr>
          <a:xfrm>
            <a:off x="683043" y="5853657"/>
            <a:ext cx="355410" cy="235386"/>
            <a:chOff x="683043" y="5853657"/>
            <a:chExt cx="355410" cy="235386"/>
          </a:xfrm>
          <a:noFill/>
        </p:grpSpPr>
        <p:sp>
          <p:nvSpPr>
            <p:cNvPr id="1752" name="Forma livre: Forma 1751">
              <a:extLst>
                <a:ext uri="{FF2B5EF4-FFF2-40B4-BE49-F238E27FC236}">
                  <a16:creationId xmlns:a16="http://schemas.microsoft.com/office/drawing/2014/main" id="{F1FD6CBE-2CCF-B0AB-AFAA-390DBD5028CD}"/>
                </a:ext>
              </a:extLst>
            </p:cNvPr>
            <p:cNvSpPr/>
            <p:nvPr/>
          </p:nvSpPr>
          <p:spPr>
            <a:xfrm>
              <a:off x="683043" y="5853657"/>
              <a:ext cx="355410" cy="235386"/>
            </a:xfrm>
            <a:custGeom>
              <a:avLst/>
              <a:gdLst>
                <a:gd name="connsiteX0" fmla="*/ 355410 w 355410"/>
                <a:gd name="connsiteY0" fmla="*/ 93524 h 235386"/>
                <a:gd name="connsiteX1" fmla="*/ 306626 w 355410"/>
                <a:gd name="connsiteY1" fmla="*/ 93524 h 235386"/>
                <a:gd name="connsiteX2" fmla="*/ 300558 w 355410"/>
                <a:gd name="connsiteY2" fmla="*/ 113750 h 235386"/>
                <a:gd name="connsiteX3" fmla="*/ 229909 w 355410"/>
                <a:gd name="connsiteY3" fmla="*/ 151555 h 235386"/>
                <a:gd name="connsiteX4" fmla="*/ 191141 w 355410"/>
                <a:gd name="connsiteY4" fmla="*/ 81436 h 235386"/>
                <a:gd name="connsiteX5" fmla="*/ 203855 w 355410"/>
                <a:gd name="connsiteY5" fmla="*/ 36745 h 235386"/>
                <a:gd name="connsiteX6" fmla="*/ 195668 w 355410"/>
                <a:gd name="connsiteY6" fmla="*/ 28943 h 235386"/>
                <a:gd name="connsiteX7" fmla="*/ 117988 w 355410"/>
                <a:gd name="connsiteY7" fmla="*/ 0 h 235386"/>
                <a:gd name="connsiteX8" fmla="*/ 0 w 355410"/>
                <a:gd name="connsiteY8" fmla="*/ 117218 h 235386"/>
                <a:gd name="connsiteX9" fmla="*/ 0 w 355410"/>
                <a:gd name="connsiteY9" fmla="*/ 164895 h 235386"/>
                <a:gd name="connsiteX10" fmla="*/ 70311 w 355410"/>
                <a:gd name="connsiteY10" fmla="*/ 235255 h 235386"/>
                <a:gd name="connsiteX11" fmla="*/ 208623 w 355410"/>
                <a:gd name="connsiteY11" fmla="*/ 235255 h 235386"/>
                <a:gd name="connsiteX12" fmla="*/ 337062 w 355410"/>
                <a:gd name="connsiteY12" fmla="*/ 115629 h 2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55410" h="235386">
                  <a:moveTo>
                    <a:pt x="355410" y="93524"/>
                  </a:moveTo>
                  <a:lnTo>
                    <a:pt x="306626" y="93524"/>
                  </a:lnTo>
                  <a:lnTo>
                    <a:pt x="300558" y="113750"/>
                  </a:lnTo>
                  <a:cubicBezTo>
                    <a:pt x="291793" y="143416"/>
                    <a:pt x="259623" y="160320"/>
                    <a:pt x="229909" y="151555"/>
                  </a:cubicBezTo>
                  <a:cubicBezTo>
                    <a:pt x="200243" y="142790"/>
                    <a:pt x="182376" y="111102"/>
                    <a:pt x="191141" y="81436"/>
                  </a:cubicBezTo>
                  <a:lnTo>
                    <a:pt x="203855" y="36745"/>
                  </a:lnTo>
                  <a:cubicBezTo>
                    <a:pt x="201303" y="34048"/>
                    <a:pt x="198461" y="31351"/>
                    <a:pt x="195668" y="28943"/>
                  </a:cubicBezTo>
                  <a:cubicBezTo>
                    <a:pt x="175056" y="10932"/>
                    <a:pt x="147317" y="0"/>
                    <a:pt x="117988" y="0"/>
                  </a:cubicBezTo>
                  <a:cubicBezTo>
                    <a:pt x="53504" y="0"/>
                    <a:pt x="0" y="52734"/>
                    <a:pt x="0" y="117218"/>
                  </a:cubicBezTo>
                  <a:lnTo>
                    <a:pt x="0" y="164895"/>
                  </a:lnTo>
                  <a:cubicBezTo>
                    <a:pt x="0" y="203566"/>
                    <a:pt x="31640" y="235255"/>
                    <a:pt x="70311" y="235255"/>
                  </a:cubicBezTo>
                  <a:lnTo>
                    <a:pt x="208623" y="235255"/>
                  </a:lnTo>
                  <a:cubicBezTo>
                    <a:pt x="218977" y="235255"/>
                    <a:pt x="306722" y="244164"/>
                    <a:pt x="337062" y="115629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53" name="Forma livre: Forma 1752">
              <a:extLst>
                <a:ext uri="{FF2B5EF4-FFF2-40B4-BE49-F238E27FC236}">
                  <a16:creationId xmlns:a16="http://schemas.microsoft.com/office/drawing/2014/main" id="{2B402047-E447-86AB-8419-329E6814EC7D}"/>
                </a:ext>
              </a:extLst>
            </p:cNvPr>
            <p:cNvSpPr/>
            <p:nvPr/>
          </p:nvSpPr>
          <p:spPr>
            <a:xfrm>
              <a:off x="721377" y="5883419"/>
              <a:ext cx="62461" cy="46328"/>
            </a:xfrm>
            <a:custGeom>
              <a:avLst/>
              <a:gdLst>
                <a:gd name="connsiteX0" fmla="*/ 0 w 62461"/>
                <a:gd name="connsiteY0" fmla="*/ 46329 h 46328"/>
                <a:gd name="connsiteX1" fmla="*/ 62462 w 62461"/>
                <a:gd name="connsiteY1" fmla="*/ 0 h 463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461" h="46328">
                  <a:moveTo>
                    <a:pt x="0" y="46329"/>
                  </a:moveTo>
                  <a:cubicBezTo>
                    <a:pt x="12473" y="22683"/>
                    <a:pt x="35300" y="5249"/>
                    <a:pt x="62462" y="0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54" name="Forma livre: Forma 1753">
              <a:extLst>
                <a:ext uri="{FF2B5EF4-FFF2-40B4-BE49-F238E27FC236}">
                  <a16:creationId xmlns:a16="http://schemas.microsoft.com/office/drawing/2014/main" id="{352F9ED0-1A33-EBD0-4D4A-81CFC1A49159}"/>
                </a:ext>
              </a:extLst>
            </p:cNvPr>
            <p:cNvSpPr/>
            <p:nvPr/>
          </p:nvSpPr>
          <p:spPr>
            <a:xfrm rot="-5322000">
              <a:off x="757174" y="5926771"/>
              <a:ext cx="88322" cy="88322"/>
            </a:xfrm>
            <a:custGeom>
              <a:avLst/>
              <a:gdLst>
                <a:gd name="connsiteX0" fmla="*/ 88323 w 88322"/>
                <a:gd name="connsiteY0" fmla="*/ 44161 h 88322"/>
                <a:gd name="connsiteX1" fmla="*/ 44161 w 88322"/>
                <a:gd name="connsiteY1" fmla="*/ 88323 h 88322"/>
                <a:gd name="connsiteX2" fmla="*/ 0 w 88322"/>
                <a:gd name="connsiteY2" fmla="*/ 44161 h 88322"/>
                <a:gd name="connsiteX3" fmla="*/ 44161 w 88322"/>
                <a:gd name="connsiteY3" fmla="*/ 0 h 88322"/>
                <a:gd name="connsiteX4" fmla="*/ 88323 w 88322"/>
                <a:gd name="connsiteY4" fmla="*/ 44161 h 883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322" h="88322">
                  <a:moveTo>
                    <a:pt x="88323" y="44161"/>
                  </a:moveTo>
                  <a:cubicBezTo>
                    <a:pt x="88323" y="68551"/>
                    <a:pt x="68551" y="88323"/>
                    <a:pt x="44161" y="88323"/>
                  </a:cubicBezTo>
                  <a:cubicBezTo>
                    <a:pt x="19772" y="88323"/>
                    <a:pt x="0" y="68551"/>
                    <a:pt x="0" y="44161"/>
                  </a:cubicBezTo>
                  <a:cubicBezTo>
                    <a:pt x="0" y="19772"/>
                    <a:pt x="19772" y="0"/>
                    <a:pt x="44161" y="0"/>
                  </a:cubicBezTo>
                  <a:cubicBezTo>
                    <a:pt x="68551" y="0"/>
                    <a:pt x="88323" y="19772"/>
                    <a:pt x="88323" y="44161"/>
                  </a:cubicBez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55" name="Forma livre: Forma 1754">
              <a:extLst>
                <a:ext uri="{FF2B5EF4-FFF2-40B4-BE49-F238E27FC236}">
                  <a16:creationId xmlns:a16="http://schemas.microsoft.com/office/drawing/2014/main" id="{129A2DE2-EECF-5A64-10CF-5D3370FDD35D}"/>
                </a:ext>
              </a:extLst>
            </p:cNvPr>
            <p:cNvSpPr/>
            <p:nvPr/>
          </p:nvSpPr>
          <p:spPr>
            <a:xfrm>
              <a:off x="897301" y="5921561"/>
              <a:ext cx="12811" cy="59764"/>
            </a:xfrm>
            <a:custGeom>
              <a:avLst/>
              <a:gdLst>
                <a:gd name="connsiteX0" fmla="*/ 0 w 12811"/>
                <a:gd name="connsiteY0" fmla="*/ 0 h 59764"/>
                <a:gd name="connsiteX1" fmla="*/ 12810 w 12811"/>
                <a:gd name="connsiteY1" fmla="*/ 51626 h 59764"/>
                <a:gd name="connsiteX2" fmla="*/ 12473 w 12811"/>
                <a:gd name="connsiteY2" fmla="*/ 59765 h 597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811" h="59764">
                  <a:moveTo>
                    <a:pt x="0" y="0"/>
                  </a:moveTo>
                  <a:cubicBezTo>
                    <a:pt x="8235" y="15363"/>
                    <a:pt x="12906" y="32940"/>
                    <a:pt x="12810" y="51626"/>
                  </a:cubicBezTo>
                  <a:cubicBezTo>
                    <a:pt x="12810" y="54371"/>
                    <a:pt x="12666" y="57068"/>
                    <a:pt x="12473" y="59765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757" name="Gráfico 18">
            <a:extLst>
              <a:ext uri="{FF2B5EF4-FFF2-40B4-BE49-F238E27FC236}">
                <a16:creationId xmlns:a16="http://schemas.microsoft.com/office/drawing/2014/main" id="{24855FB6-CDDA-8A24-7FB5-E450E5A6334A}"/>
              </a:ext>
            </a:extLst>
          </p:cNvPr>
          <p:cNvGrpSpPr/>
          <p:nvPr/>
        </p:nvGrpSpPr>
        <p:grpSpPr>
          <a:xfrm>
            <a:off x="3177317" y="3655508"/>
            <a:ext cx="334991" cy="271373"/>
            <a:chOff x="3177317" y="3655508"/>
            <a:chExt cx="334991" cy="271373"/>
          </a:xfrm>
        </p:grpSpPr>
        <p:sp>
          <p:nvSpPr>
            <p:cNvPr id="1758" name="Forma livre: Forma 1757">
              <a:extLst>
                <a:ext uri="{FF2B5EF4-FFF2-40B4-BE49-F238E27FC236}">
                  <a16:creationId xmlns:a16="http://schemas.microsoft.com/office/drawing/2014/main" id="{C31908C0-8429-CFC7-0812-1CC2AD7DF3E6}"/>
                </a:ext>
              </a:extLst>
            </p:cNvPr>
            <p:cNvSpPr/>
            <p:nvPr/>
          </p:nvSpPr>
          <p:spPr>
            <a:xfrm>
              <a:off x="3480716" y="3766129"/>
              <a:ext cx="4815" cy="111583"/>
            </a:xfrm>
            <a:custGeom>
              <a:avLst/>
              <a:gdLst>
                <a:gd name="connsiteX0" fmla="*/ 0 w 4815"/>
                <a:gd name="connsiteY0" fmla="*/ 0 h 111583"/>
                <a:gd name="connsiteX1" fmla="*/ 0 w 4815"/>
                <a:gd name="connsiteY1" fmla="*/ 111583 h 1115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815" h="111583">
                  <a:moveTo>
                    <a:pt x="0" y="0"/>
                  </a:moveTo>
                  <a:lnTo>
                    <a:pt x="0" y="111583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59" name="Forma livre: Forma 1758">
              <a:extLst>
                <a:ext uri="{FF2B5EF4-FFF2-40B4-BE49-F238E27FC236}">
                  <a16:creationId xmlns:a16="http://schemas.microsoft.com/office/drawing/2014/main" id="{2D55B528-68CA-8A0A-0183-A02ADB92C151}"/>
                </a:ext>
              </a:extLst>
            </p:cNvPr>
            <p:cNvSpPr/>
            <p:nvPr/>
          </p:nvSpPr>
          <p:spPr>
            <a:xfrm>
              <a:off x="3209005" y="3711420"/>
              <a:ext cx="79365" cy="166291"/>
            </a:xfrm>
            <a:custGeom>
              <a:avLst/>
              <a:gdLst>
                <a:gd name="connsiteX0" fmla="*/ 0 w 79365"/>
                <a:gd name="connsiteY0" fmla="*/ 166292 h 166291"/>
                <a:gd name="connsiteX1" fmla="*/ 0 w 79365"/>
                <a:gd name="connsiteY1" fmla="*/ 19841 h 166291"/>
                <a:gd name="connsiteX2" fmla="*/ 19841 w 79365"/>
                <a:gd name="connsiteY2" fmla="*/ 0 h 166291"/>
                <a:gd name="connsiteX3" fmla="*/ 79365 w 79365"/>
                <a:gd name="connsiteY3" fmla="*/ 0 h 1662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9365" h="166291">
                  <a:moveTo>
                    <a:pt x="0" y="166292"/>
                  </a:moveTo>
                  <a:lnTo>
                    <a:pt x="0" y="19841"/>
                  </a:lnTo>
                  <a:cubicBezTo>
                    <a:pt x="0" y="8909"/>
                    <a:pt x="8909" y="0"/>
                    <a:pt x="19841" y="0"/>
                  </a:cubicBezTo>
                  <a:lnTo>
                    <a:pt x="79365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60" name="Forma livre: Forma 1759">
              <a:extLst>
                <a:ext uri="{FF2B5EF4-FFF2-40B4-BE49-F238E27FC236}">
                  <a16:creationId xmlns:a16="http://schemas.microsoft.com/office/drawing/2014/main" id="{407BB403-B9FA-5689-8976-620CB29DC958}"/>
                </a:ext>
              </a:extLst>
            </p:cNvPr>
            <p:cNvSpPr/>
            <p:nvPr/>
          </p:nvSpPr>
          <p:spPr>
            <a:xfrm>
              <a:off x="3177317" y="3899576"/>
              <a:ext cx="334991" cy="27305"/>
            </a:xfrm>
            <a:custGeom>
              <a:avLst/>
              <a:gdLst>
                <a:gd name="connsiteX0" fmla="*/ 48 w 334991"/>
                <a:gd name="connsiteY0" fmla="*/ 0 h 27305"/>
                <a:gd name="connsiteX1" fmla="*/ 24994 w 334991"/>
                <a:gd name="connsiteY1" fmla="*/ 27306 h 27305"/>
                <a:gd name="connsiteX2" fmla="*/ 309997 w 334991"/>
                <a:gd name="connsiteY2" fmla="*/ 27306 h 27305"/>
                <a:gd name="connsiteX3" fmla="*/ 334991 w 334991"/>
                <a:gd name="connsiteY3" fmla="*/ 0 h 27305"/>
                <a:gd name="connsiteX4" fmla="*/ 0 w 334991"/>
                <a:gd name="connsiteY4" fmla="*/ 0 h 273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4991" h="27305">
                  <a:moveTo>
                    <a:pt x="48" y="0"/>
                  </a:moveTo>
                  <a:cubicBezTo>
                    <a:pt x="48" y="0"/>
                    <a:pt x="5827" y="27306"/>
                    <a:pt x="24994" y="27306"/>
                  </a:cubicBezTo>
                  <a:lnTo>
                    <a:pt x="309997" y="27306"/>
                  </a:lnTo>
                  <a:cubicBezTo>
                    <a:pt x="329212" y="27306"/>
                    <a:pt x="334991" y="0"/>
                    <a:pt x="334991" y="0"/>
                  </a:cubicBezTo>
                  <a:lnTo>
                    <a:pt x="0" y="0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761" name="Gráfico 18">
              <a:extLst>
                <a:ext uri="{FF2B5EF4-FFF2-40B4-BE49-F238E27FC236}">
                  <a16:creationId xmlns:a16="http://schemas.microsoft.com/office/drawing/2014/main" id="{7B295D9A-84CC-2BA0-38CA-8DBF886C1F8F}"/>
                </a:ext>
              </a:extLst>
            </p:cNvPr>
            <p:cNvGrpSpPr/>
            <p:nvPr/>
          </p:nvGrpSpPr>
          <p:grpSpPr>
            <a:xfrm>
              <a:off x="3399328" y="3697647"/>
              <a:ext cx="67181" cy="5779"/>
              <a:chOff x="3399328" y="3697647"/>
              <a:chExt cx="67181" cy="5779"/>
            </a:xfrm>
            <a:solidFill>
              <a:srgbClr val="3A4553"/>
            </a:solidFill>
          </p:grpSpPr>
          <p:sp>
            <p:nvSpPr>
              <p:cNvPr id="1762" name="Forma livre: Forma 1761">
                <a:extLst>
                  <a:ext uri="{FF2B5EF4-FFF2-40B4-BE49-F238E27FC236}">
                    <a16:creationId xmlns:a16="http://schemas.microsoft.com/office/drawing/2014/main" id="{9091AA06-111A-32EE-E531-D698FEC7AB01}"/>
                  </a:ext>
                </a:extLst>
              </p:cNvPr>
              <p:cNvSpPr/>
              <p:nvPr/>
            </p:nvSpPr>
            <p:spPr>
              <a:xfrm>
                <a:off x="3399328" y="3697647"/>
                <a:ext cx="5779" cy="5779"/>
              </a:xfrm>
              <a:custGeom>
                <a:avLst/>
                <a:gdLst>
                  <a:gd name="connsiteX0" fmla="*/ 5779 w 5779"/>
                  <a:gd name="connsiteY0" fmla="*/ 2890 h 5779"/>
                  <a:gd name="connsiteX1" fmla="*/ 2890 w 5779"/>
                  <a:gd name="connsiteY1" fmla="*/ 5779 h 5779"/>
                  <a:gd name="connsiteX2" fmla="*/ 0 w 5779"/>
                  <a:gd name="connsiteY2" fmla="*/ 2890 h 5779"/>
                  <a:gd name="connsiteX3" fmla="*/ 2890 w 5779"/>
                  <a:gd name="connsiteY3" fmla="*/ 0 h 5779"/>
                  <a:gd name="connsiteX4" fmla="*/ 5779 w 5779"/>
                  <a:gd name="connsiteY4" fmla="*/ 2890 h 57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779" h="5779">
                    <a:moveTo>
                      <a:pt x="5779" y="2890"/>
                    </a:moveTo>
                    <a:cubicBezTo>
                      <a:pt x="5779" y="4479"/>
                      <a:pt x="4479" y="5779"/>
                      <a:pt x="2890" y="5779"/>
                    </a:cubicBezTo>
                    <a:cubicBezTo>
                      <a:pt x="1300" y="5779"/>
                      <a:pt x="0" y="4479"/>
                      <a:pt x="0" y="2890"/>
                    </a:cubicBezTo>
                    <a:cubicBezTo>
                      <a:pt x="0" y="1300"/>
                      <a:pt x="1300" y="0"/>
                      <a:pt x="2890" y="0"/>
                    </a:cubicBezTo>
                    <a:cubicBezTo>
                      <a:pt x="4479" y="0"/>
                      <a:pt x="5779" y="1300"/>
                      <a:pt x="5779" y="2890"/>
                    </a:cubicBezTo>
                    <a:close/>
                  </a:path>
                </a:pathLst>
              </a:custGeom>
              <a:solidFill>
                <a:srgbClr val="3A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763" name="Forma livre: Forma 1762">
                <a:extLst>
                  <a:ext uri="{FF2B5EF4-FFF2-40B4-BE49-F238E27FC236}">
                    <a16:creationId xmlns:a16="http://schemas.microsoft.com/office/drawing/2014/main" id="{53D9252C-2D58-B954-7F13-8359C94FACC0}"/>
                  </a:ext>
                </a:extLst>
              </p:cNvPr>
              <p:cNvSpPr/>
              <p:nvPr/>
            </p:nvSpPr>
            <p:spPr>
              <a:xfrm>
                <a:off x="3430005" y="3697647"/>
                <a:ext cx="5779" cy="5779"/>
              </a:xfrm>
              <a:custGeom>
                <a:avLst/>
                <a:gdLst>
                  <a:gd name="connsiteX0" fmla="*/ 5779 w 5779"/>
                  <a:gd name="connsiteY0" fmla="*/ 2890 h 5779"/>
                  <a:gd name="connsiteX1" fmla="*/ 2890 w 5779"/>
                  <a:gd name="connsiteY1" fmla="*/ 5779 h 5779"/>
                  <a:gd name="connsiteX2" fmla="*/ 0 w 5779"/>
                  <a:gd name="connsiteY2" fmla="*/ 2890 h 5779"/>
                  <a:gd name="connsiteX3" fmla="*/ 2890 w 5779"/>
                  <a:gd name="connsiteY3" fmla="*/ 0 h 5779"/>
                  <a:gd name="connsiteX4" fmla="*/ 5779 w 5779"/>
                  <a:gd name="connsiteY4" fmla="*/ 2890 h 57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779" h="5779">
                    <a:moveTo>
                      <a:pt x="5779" y="2890"/>
                    </a:moveTo>
                    <a:cubicBezTo>
                      <a:pt x="5779" y="4479"/>
                      <a:pt x="4479" y="5779"/>
                      <a:pt x="2890" y="5779"/>
                    </a:cubicBezTo>
                    <a:cubicBezTo>
                      <a:pt x="1300" y="5779"/>
                      <a:pt x="0" y="4479"/>
                      <a:pt x="0" y="2890"/>
                    </a:cubicBezTo>
                    <a:cubicBezTo>
                      <a:pt x="0" y="1300"/>
                      <a:pt x="1300" y="0"/>
                      <a:pt x="2890" y="0"/>
                    </a:cubicBezTo>
                    <a:cubicBezTo>
                      <a:pt x="4479" y="0"/>
                      <a:pt x="5779" y="1300"/>
                      <a:pt x="5779" y="2890"/>
                    </a:cubicBezTo>
                    <a:close/>
                  </a:path>
                </a:pathLst>
              </a:custGeom>
              <a:solidFill>
                <a:srgbClr val="3A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764" name="Forma livre: Forma 1763">
                <a:extLst>
                  <a:ext uri="{FF2B5EF4-FFF2-40B4-BE49-F238E27FC236}">
                    <a16:creationId xmlns:a16="http://schemas.microsoft.com/office/drawing/2014/main" id="{62B9E81C-4E11-6D92-202C-DDA7F7D042E8}"/>
                  </a:ext>
                </a:extLst>
              </p:cNvPr>
              <p:cNvSpPr/>
              <p:nvPr/>
            </p:nvSpPr>
            <p:spPr>
              <a:xfrm>
                <a:off x="3460730" y="3697647"/>
                <a:ext cx="5779" cy="5779"/>
              </a:xfrm>
              <a:custGeom>
                <a:avLst/>
                <a:gdLst>
                  <a:gd name="connsiteX0" fmla="*/ 5779 w 5779"/>
                  <a:gd name="connsiteY0" fmla="*/ 2890 h 5779"/>
                  <a:gd name="connsiteX1" fmla="*/ 2890 w 5779"/>
                  <a:gd name="connsiteY1" fmla="*/ 5779 h 5779"/>
                  <a:gd name="connsiteX2" fmla="*/ 0 w 5779"/>
                  <a:gd name="connsiteY2" fmla="*/ 2890 h 5779"/>
                  <a:gd name="connsiteX3" fmla="*/ 2890 w 5779"/>
                  <a:gd name="connsiteY3" fmla="*/ 0 h 5779"/>
                  <a:gd name="connsiteX4" fmla="*/ 5779 w 5779"/>
                  <a:gd name="connsiteY4" fmla="*/ 2890 h 57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779" h="5779">
                    <a:moveTo>
                      <a:pt x="5779" y="2890"/>
                    </a:moveTo>
                    <a:cubicBezTo>
                      <a:pt x="5779" y="4479"/>
                      <a:pt x="4479" y="5779"/>
                      <a:pt x="2890" y="5779"/>
                    </a:cubicBezTo>
                    <a:cubicBezTo>
                      <a:pt x="1300" y="5779"/>
                      <a:pt x="0" y="4479"/>
                      <a:pt x="0" y="2890"/>
                    </a:cubicBezTo>
                    <a:cubicBezTo>
                      <a:pt x="0" y="1300"/>
                      <a:pt x="1300" y="0"/>
                      <a:pt x="2890" y="0"/>
                    </a:cubicBezTo>
                    <a:cubicBezTo>
                      <a:pt x="4479" y="0"/>
                      <a:pt x="5779" y="1300"/>
                      <a:pt x="5779" y="2890"/>
                    </a:cubicBezTo>
                    <a:close/>
                  </a:path>
                </a:pathLst>
              </a:custGeom>
              <a:solidFill>
                <a:srgbClr val="3A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765" name="Gráfico 18">
              <a:extLst>
                <a:ext uri="{FF2B5EF4-FFF2-40B4-BE49-F238E27FC236}">
                  <a16:creationId xmlns:a16="http://schemas.microsoft.com/office/drawing/2014/main" id="{1808E848-E60A-C9D2-AB30-0B9A1C0A9DD3}"/>
                </a:ext>
              </a:extLst>
            </p:cNvPr>
            <p:cNvGrpSpPr/>
            <p:nvPr/>
          </p:nvGrpSpPr>
          <p:grpSpPr>
            <a:xfrm>
              <a:off x="3309699" y="3699092"/>
              <a:ext cx="70712" cy="94101"/>
              <a:chOff x="3309699" y="3699092"/>
              <a:chExt cx="70712" cy="94101"/>
            </a:xfrm>
            <a:noFill/>
          </p:grpSpPr>
          <p:sp>
            <p:nvSpPr>
              <p:cNvPr id="1766" name="Forma livre: Forma 1765">
                <a:extLst>
                  <a:ext uri="{FF2B5EF4-FFF2-40B4-BE49-F238E27FC236}">
                    <a16:creationId xmlns:a16="http://schemas.microsoft.com/office/drawing/2014/main" id="{FB3C3C91-89AB-1B2B-CAD9-7B606618E8C0}"/>
                  </a:ext>
                </a:extLst>
              </p:cNvPr>
              <p:cNvSpPr/>
              <p:nvPr/>
            </p:nvSpPr>
            <p:spPr>
              <a:xfrm>
                <a:off x="3309699" y="3699092"/>
                <a:ext cx="70712" cy="94101"/>
              </a:xfrm>
              <a:custGeom>
                <a:avLst/>
                <a:gdLst>
                  <a:gd name="connsiteX0" fmla="*/ 35355 w 70712"/>
                  <a:gd name="connsiteY0" fmla="*/ 0 h 94101"/>
                  <a:gd name="connsiteX1" fmla="*/ 729 w 70712"/>
                  <a:gd name="connsiteY1" fmla="*/ 47051 h 94101"/>
                  <a:gd name="connsiteX2" fmla="*/ 35355 w 70712"/>
                  <a:gd name="connsiteY2" fmla="*/ 94102 h 94101"/>
                  <a:gd name="connsiteX3" fmla="*/ 69981 w 70712"/>
                  <a:gd name="connsiteY3" fmla="*/ 47051 h 94101"/>
                  <a:gd name="connsiteX4" fmla="*/ 35355 w 70712"/>
                  <a:gd name="connsiteY4" fmla="*/ 0 h 941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0712" h="94101">
                    <a:moveTo>
                      <a:pt x="35355" y="0"/>
                    </a:moveTo>
                    <a:cubicBezTo>
                      <a:pt x="247" y="0"/>
                      <a:pt x="-1728" y="21238"/>
                      <a:pt x="729" y="47051"/>
                    </a:cubicBezTo>
                    <a:cubicBezTo>
                      <a:pt x="3185" y="72912"/>
                      <a:pt x="19462" y="94102"/>
                      <a:pt x="35355" y="94102"/>
                    </a:cubicBezTo>
                    <a:cubicBezTo>
                      <a:pt x="51247" y="94102"/>
                      <a:pt x="67525" y="72912"/>
                      <a:pt x="69981" y="47051"/>
                    </a:cubicBezTo>
                    <a:cubicBezTo>
                      <a:pt x="72437" y="21238"/>
                      <a:pt x="70510" y="0"/>
                      <a:pt x="35355" y="0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767" name="Forma livre: Forma 1766">
                <a:extLst>
                  <a:ext uri="{FF2B5EF4-FFF2-40B4-BE49-F238E27FC236}">
                    <a16:creationId xmlns:a16="http://schemas.microsoft.com/office/drawing/2014/main" id="{B40CD62D-0096-CF6C-FC36-3CC27F862714}"/>
                  </a:ext>
                </a:extLst>
              </p:cNvPr>
              <p:cNvSpPr/>
              <p:nvPr/>
            </p:nvSpPr>
            <p:spPr>
              <a:xfrm>
                <a:off x="3332532" y="3726012"/>
                <a:ext cx="46810" cy="13243"/>
              </a:xfrm>
              <a:custGeom>
                <a:avLst/>
                <a:gdLst>
                  <a:gd name="connsiteX0" fmla="*/ 46810 w 46810"/>
                  <a:gd name="connsiteY0" fmla="*/ 13244 h 13243"/>
                  <a:gd name="connsiteX1" fmla="*/ 22731 w 46810"/>
                  <a:gd name="connsiteY1" fmla="*/ 0 h 13243"/>
                  <a:gd name="connsiteX2" fmla="*/ 0 w 46810"/>
                  <a:gd name="connsiteY2" fmla="*/ 11365 h 132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46810" h="13243">
                    <a:moveTo>
                      <a:pt x="46810" y="13244"/>
                    </a:moveTo>
                    <a:cubicBezTo>
                      <a:pt x="31977" y="9391"/>
                      <a:pt x="22731" y="0"/>
                      <a:pt x="22731" y="0"/>
                    </a:cubicBezTo>
                    <a:cubicBezTo>
                      <a:pt x="22731" y="0"/>
                      <a:pt x="18974" y="8283"/>
                      <a:pt x="0" y="11365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768" name="Forma livre: Forma 1767">
              <a:extLst>
                <a:ext uri="{FF2B5EF4-FFF2-40B4-BE49-F238E27FC236}">
                  <a16:creationId xmlns:a16="http://schemas.microsoft.com/office/drawing/2014/main" id="{D5F1188F-9F2C-030C-BE28-1F0F733ABD19}"/>
                </a:ext>
              </a:extLst>
            </p:cNvPr>
            <p:cNvSpPr/>
            <p:nvPr/>
          </p:nvSpPr>
          <p:spPr>
            <a:xfrm>
              <a:off x="3358056" y="3655508"/>
              <a:ext cx="142067" cy="90104"/>
            </a:xfrm>
            <a:custGeom>
              <a:avLst/>
              <a:gdLst>
                <a:gd name="connsiteX0" fmla="*/ 0 w 142067"/>
                <a:gd name="connsiteY0" fmla="*/ 24416 h 90104"/>
                <a:gd name="connsiteX1" fmla="*/ 0 w 142067"/>
                <a:gd name="connsiteY1" fmla="*/ 0 h 90104"/>
                <a:gd name="connsiteX2" fmla="*/ 142068 w 142067"/>
                <a:gd name="connsiteY2" fmla="*/ 0 h 90104"/>
                <a:gd name="connsiteX3" fmla="*/ 142068 w 142067"/>
                <a:gd name="connsiteY3" fmla="*/ 90105 h 90104"/>
                <a:gd name="connsiteX4" fmla="*/ 43872 w 142067"/>
                <a:gd name="connsiteY4" fmla="*/ 90105 h 901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2067" h="90104">
                  <a:moveTo>
                    <a:pt x="0" y="24416"/>
                  </a:moveTo>
                  <a:lnTo>
                    <a:pt x="0" y="0"/>
                  </a:lnTo>
                  <a:lnTo>
                    <a:pt x="142068" y="0"/>
                  </a:lnTo>
                  <a:lnTo>
                    <a:pt x="142068" y="90105"/>
                  </a:lnTo>
                  <a:lnTo>
                    <a:pt x="43872" y="90105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69" name="Forma livre: Forma 1768">
              <a:extLst>
                <a:ext uri="{FF2B5EF4-FFF2-40B4-BE49-F238E27FC236}">
                  <a16:creationId xmlns:a16="http://schemas.microsoft.com/office/drawing/2014/main" id="{6BA5C32D-4EF9-1C55-2368-2F58DE6DFE16}"/>
                </a:ext>
              </a:extLst>
            </p:cNvPr>
            <p:cNvSpPr/>
            <p:nvPr/>
          </p:nvSpPr>
          <p:spPr>
            <a:xfrm>
              <a:off x="3275946" y="3807786"/>
              <a:ext cx="137878" cy="69926"/>
            </a:xfrm>
            <a:custGeom>
              <a:avLst/>
              <a:gdLst>
                <a:gd name="connsiteX0" fmla="*/ 137878 w 137878"/>
                <a:gd name="connsiteY0" fmla="*/ 69926 h 69926"/>
                <a:gd name="connsiteX1" fmla="*/ 137878 w 137878"/>
                <a:gd name="connsiteY1" fmla="*/ 31399 h 69926"/>
                <a:gd name="connsiteX2" fmla="*/ 112306 w 137878"/>
                <a:gd name="connsiteY2" fmla="*/ 3901 h 69926"/>
                <a:gd name="connsiteX3" fmla="*/ 99351 w 137878"/>
                <a:gd name="connsiteY3" fmla="*/ 0 h 69926"/>
                <a:gd name="connsiteX4" fmla="*/ 68915 w 137878"/>
                <a:gd name="connsiteY4" fmla="*/ 37949 h 69926"/>
                <a:gd name="connsiteX5" fmla="*/ 38479 w 137878"/>
                <a:gd name="connsiteY5" fmla="*/ 0 h 69926"/>
                <a:gd name="connsiteX6" fmla="*/ 25572 w 137878"/>
                <a:gd name="connsiteY6" fmla="*/ 3901 h 69926"/>
                <a:gd name="connsiteX7" fmla="*/ 0 w 137878"/>
                <a:gd name="connsiteY7" fmla="*/ 31399 h 69926"/>
                <a:gd name="connsiteX8" fmla="*/ 0 w 137878"/>
                <a:gd name="connsiteY8" fmla="*/ 69926 h 699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37878" h="69926">
                  <a:moveTo>
                    <a:pt x="137878" y="69926"/>
                  </a:moveTo>
                  <a:lnTo>
                    <a:pt x="137878" y="31399"/>
                  </a:lnTo>
                  <a:cubicBezTo>
                    <a:pt x="137878" y="10306"/>
                    <a:pt x="112306" y="3901"/>
                    <a:pt x="112306" y="3901"/>
                  </a:cubicBezTo>
                  <a:lnTo>
                    <a:pt x="99351" y="0"/>
                  </a:lnTo>
                  <a:lnTo>
                    <a:pt x="68915" y="37949"/>
                  </a:lnTo>
                  <a:lnTo>
                    <a:pt x="38479" y="0"/>
                  </a:lnTo>
                  <a:lnTo>
                    <a:pt x="25572" y="3901"/>
                  </a:lnTo>
                  <a:cubicBezTo>
                    <a:pt x="25572" y="3901"/>
                    <a:pt x="0" y="10306"/>
                    <a:pt x="0" y="31399"/>
                  </a:cubicBezTo>
                  <a:lnTo>
                    <a:pt x="0" y="69926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70" name="Forma livre: Forma 1769">
              <a:extLst>
                <a:ext uri="{FF2B5EF4-FFF2-40B4-BE49-F238E27FC236}">
                  <a16:creationId xmlns:a16="http://schemas.microsoft.com/office/drawing/2014/main" id="{5EB0B239-624C-00B1-8189-83C91A8D3801}"/>
                </a:ext>
              </a:extLst>
            </p:cNvPr>
            <p:cNvSpPr/>
            <p:nvPr/>
          </p:nvSpPr>
          <p:spPr>
            <a:xfrm>
              <a:off x="3411368" y="3745806"/>
              <a:ext cx="22490" cy="26920"/>
            </a:xfrm>
            <a:custGeom>
              <a:avLst/>
              <a:gdLst>
                <a:gd name="connsiteX0" fmla="*/ 22490 w 22490"/>
                <a:gd name="connsiteY0" fmla="*/ 0 h 26920"/>
                <a:gd name="connsiteX1" fmla="*/ 0 w 22490"/>
                <a:gd name="connsiteY1" fmla="*/ 26921 h 269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2490" h="26920">
                  <a:moveTo>
                    <a:pt x="22490" y="0"/>
                  </a:moveTo>
                  <a:lnTo>
                    <a:pt x="0" y="26921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771" name="Gráfico 18">
            <a:extLst>
              <a:ext uri="{FF2B5EF4-FFF2-40B4-BE49-F238E27FC236}">
                <a16:creationId xmlns:a16="http://schemas.microsoft.com/office/drawing/2014/main" id="{563D7344-90D0-3096-91CF-7C4CF18022E1}"/>
              </a:ext>
            </a:extLst>
          </p:cNvPr>
          <p:cNvGrpSpPr/>
          <p:nvPr/>
        </p:nvGrpSpPr>
        <p:grpSpPr>
          <a:xfrm>
            <a:off x="3189742" y="4219252"/>
            <a:ext cx="310237" cy="227838"/>
            <a:chOff x="3189742" y="4219252"/>
            <a:chExt cx="310237" cy="227838"/>
          </a:xfrm>
        </p:grpSpPr>
        <p:grpSp>
          <p:nvGrpSpPr>
            <p:cNvPr id="1772" name="Gráfico 18">
              <a:extLst>
                <a:ext uri="{FF2B5EF4-FFF2-40B4-BE49-F238E27FC236}">
                  <a16:creationId xmlns:a16="http://schemas.microsoft.com/office/drawing/2014/main" id="{28B0CC88-5A91-7EC5-F303-D8A75510B5D5}"/>
                </a:ext>
              </a:extLst>
            </p:cNvPr>
            <p:cNvGrpSpPr/>
            <p:nvPr/>
          </p:nvGrpSpPr>
          <p:grpSpPr>
            <a:xfrm>
              <a:off x="3189742" y="4219252"/>
              <a:ext cx="310237" cy="227838"/>
              <a:chOff x="3189742" y="4219252"/>
              <a:chExt cx="310237" cy="227838"/>
            </a:xfrm>
          </p:grpSpPr>
          <p:sp>
            <p:nvSpPr>
              <p:cNvPr id="1773" name="Forma livre: Forma 1772">
                <a:extLst>
                  <a:ext uri="{FF2B5EF4-FFF2-40B4-BE49-F238E27FC236}">
                    <a16:creationId xmlns:a16="http://schemas.microsoft.com/office/drawing/2014/main" id="{1E89B893-712C-A587-EB15-470E4821F221}"/>
                  </a:ext>
                </a:extLst>
              </p:cNvPr>
              <p:cNvSpPr/>
              <p:nvPr/>
            </p:nvSpPr>
            <p:spPr>
              <a:xfrm>
                <a:off x="3211461" y="4276368"/>
                <a:ext cx="266798" cy="4815"/>
              </a:xfrm>
              <a:custGeom>
                <a:avLst/>
                <a:gdLst>
                  <a:gd name="connsiteX0" fmla="*/ 0 w 266798"/>
                  <a:gd name="connsiteY0" fmla="*/ 0 h 4815"/>
                  <a:gd name="connsiteX1" fmla="*/ 266798 w 266798"/>
                  <a:gd name="connsiteY1" fmla="*/ 0 h 48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66798" h="4815">
                    <a:moveTo>
                      <a:pt x="0" y="0"/>
                    </a:moveTo>
                    <a:lnTo>
                      <a:pt x="266798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1774" name="Gráfico 18">
                <a:extLst>
                  <a:ext uri="{FF2B5EF4-FFF2-40B4-BE49-F238E27FC236}">
                    <a16:creationId xmlns:a16="http://schemas.microsoft.com/office/drawing/2014/main" id="{767AD3DD-ABE0-7631-0576-0F952634D7D9}"/>
                  </a:ext>
                </a:extLst>
              </p:cNvPr>
              <p:cNvGrpSpPr/>
              <p:nvPr/>
            </p:nvGrpSpPr>
            <p:grpSpPr>
              <a:xfrm>
                <a:off x="3226054" y="4244439"/>
                <a:ext cx="79268" cy="7512"/>
                <a:chOff x="3226054" y="4244439"/>
                <a:chExt cx="79268" cy="7512"/>
              </a:xfrm>
              <a:solidFill>
                <a:srgbClr val="3A4553"/>
              </a:solidFill>
            </p:grpSpPr>
            <p:sp>
              <p:nvSpPr>
                <p:cNvPr id="1775" name="Forma livre: Forma 1774">
                  <a:extLst>
                    <a:ext uri="{FF2B5EF4-FFF2-40B4-BE49-F238E27FC236}">
                      <a16:creationId xmlns:a16="http://schemas.microsoft.com/office/drawing/2014/main" id="{9325B218-E493-EC5D-93EE-FB3E105DD8F5}"/>
                    </a:ext>
                  </a:extLst>
                </p:cNvPr>
                <p:cNvSpPr/>
                <p:nvPr/>
              </p:nvSpPr>
              <p:spPr>
                <a:xfrm>
                  <a:off x="3226054" y="4244439"/>
                  <a:ext cx="7512" cy="7512"/>
                </a:xfrm>
                <a:custGeom>
                  <a:avLst/>
                  <a:gdLst>
                    <a:gd name="connsiteX0" fmla="*/ 7513 w 7512"/>
                    <a:gd name="connsiteY0" fmla="*/ 3756 h 7512"/>
                    <a:gd name="connsiteX1" fmla="*/ 3756 w 7512"/>
                    <a:gd name="connsiteY1" fmla="*/ 7513 h 7512"/>
                    <a:gd name="connsiteX2" fmla="*/ 0 w 7512"/>
                    <a:gd name="connsiteY2" fmla="*/ 3756 h 7512"/>
                    <a:gd name="connsiteX3" fmla="*/ 3756 w 7512"/>
                    <a:gd name="connsiteY3" fmla="*/ 0 h 7512"/>
                    <a:gd name="connsiteX4" fmla="*/ 7513 w 7512"/>
                    <a:gd name="connsiteY4" fmla="*/ 3756 h 751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7512" h="7512">
                      <a:moveTo>
                        <a:pt x="7513" y="3756"/>
                      </a:moveTo>
                      <a:cubicBezTo>
                        <a:pt x="7513" y="5827"/>
                        <a:pt x="5827" y="7513"/>
                        <a:pt x="3756" y="7513"/>
                      </a:cubicBezTo>
                      <a:cubicBezTo>
                        <a:pt x="1686" y="7513"/>
                        <a:pt x="0" y="5827"/>
                        <a:pt x="0" y="3756"/>
                      </a:cubicBezTo>
                      <a:cubicBezTo>
                        <a:pt x="0" y="1686"/>
                        <a:pt x="1686" y="0"/>
                        <a:pt x="3756" y="0"/>
                      </a:cubicBezTo>
                      <a:cubicBezTo>
                        <a:pt x="5827" y="0"/>
                        <a:pt x="7513" y="1686"/>
                        <a:pt x="7513" y="3756"/>
                      </a:cubicBezTo>
                      <a:close/>
                    </a:path>
                  </a:pathLst>
                </a:custGeom>
                <a:solidFill>
                  <a:srgbClr val="3A4553"/>
                </a:solidFill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776" name="Forma livre: Forma 1775">
                  <a:extLst>
                    <a:ext uri="{FF2B5EF4-FFF2-40B4-BE49-F238E27FC236}">
                      <a16:creationId xmlns:a16="http://schemas.microsoft.com/office/drawing/2014/main" id="{CF17D66A-9010-9697-2318-27C6C35CF278}"/>
                    </a:ext>
                  </a:extLst>
                </p:cNvPr>
                <p:cNvSpPr/>
                <p:nvPr/>
              </p:nvSpPr>
              <p:spPr>
                <a:xfrm>
                  <a:off x="3261932" y="4244439"/>
                  <a:ext cx="7512" cy="7512"/>
                </a:xfrm>
                <a:custGeom>
                  <a:avLst/>
                  <a:gdLst>
                    <a:gd name="connsiteX0" fmla="*/ 7513 w 7512"/>
                    <a:gd name="connsiteY0" fmla="*/ 3756 h 7512"/>
                    <a:gd name="connsiteX1" fmla="*/ 3756 w 7512"/>
                    <a:gd name="connsiteY1" fmla="*/ 7513 h 7512"/>
                    <a:gd name="connsiteX2" fmla="*/ 0 w 7512"/>
                    <a:gd name="connsiteY2" fmla="*/ 3756 h 7512"/>
                    <a:gd name="connsiteX3" fmla="*/ 3756 w 7512"/>
                    <a:gd name="connsiteY3" fmla="*/ 0 h 7512"/>
                    <a:gd name="connsiteX4" fmla="*/ 7513 w 7512"/>
                    <a:gd name="connsiteY4" fmla="*/ 3756 h 751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7512" h="7512">
                      <a:moveTo>
                        <a:pt x="7513" y="3756"/>
                      </a:moveTo>
                      <a:cubicBezTo>
                        <a:pt x="7513" y="5831"/>
                        <a:pt x="5831" y="7513"/>
                        <a:pt x="3756" y="7513"/>
                      </a:cubicBezTo>
                      <a:cubicBezTo>
                        <a:pt x="1682" y="7513"/>
                        <a:pt x="0" y="5831"/>
                        <a:pt x="0" y="3756"/>
                      </a:cubicBezTo>
                      <a:cubicBezTo>
                        <a:pt x="0" y="1682"/>
                        <a:pt x="1682" y="0"/>
                        <a:pt x="3756" y="0"/>
                      </a:cubicBezTo>
                      <a:cubicBezTo>
                        <a:pt x="5831" y="0"/>
                        <a:pt x="7513" y="1682"/>
                        <a:pt x="7513" y="3756"/>
                      </a:cubicBezTo>
                      <a:close/>
                    </a:path>
                  </a:pathLst>
                </a:custGeom>
                <a:solidFill>
                  <a:srgbClr val="3A4553"/>
                </a:solidFill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777" name="Forma livre: Forma 1776">
                  <a:extLst>
                    <a:ext uri="{FF2B5EF4-FFF2-40B4-BE49-F238E27FC236}">
                      <a16:creationId xmlns:a16="http://schemas.microsoft.com/office/drawing/2014/main" id="{5CAAE8D9-6BEF-F7C6-E687-5083A9161F99}"/>
                    </a:ext>
                  </a:extLst>
                </p:cNvPr>
                <p:cNvSpPr/>
                <p:nvPr/>
              </p:nvSpPr>
              <p:spPr>
                <a:xfrm>
                  <a:off x="3297810" y="4244439"/>
                  <a:ext cx="7512" cy="7512"/>
                </a:xfrm>
                <a:custGeom>
                  <a:avLst/>
                  <a:gdLst>
                    <a:gd name="connsiteX0" fmla="*/ 7513 w 7512"/>
                    <a:gd name="connsiteY0" fmla="*/ 3756 h 7512"/>
                    <a:gd name="connsiteX1" fmla="*/ 3756 w 7512"/>
                    <a:gd name="connsiteY1" fmla="*/ 7513 h 7512"/>
                    <a:gd name="connsiteX2" fmla="*/ 0 w 7512"/>
                    <a:gd name="connsiteY2" fmla="*/ 3756 h 7512"/>
                    <a:gd name="connsiteX3" fmla="*/ 3756 w 7512"/>
                    <a:gd name="connsiteY3" fmla="*/ 0 h 7512"/>
                    <a:gd name="connsiteX4" fmla="*/ 7513 w 7512"/>
                    <a:gd name="connsiteY4" fmla="*/ 3756 h 751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7512" h="7512">
                      <a:moveTo>
                        <a:pt x="7513" y="3756"/>
                      </a:moveTo>
                      <a:cubicBezTo>
                        <a:pt x="7513" y="5831"/>
                        <a:pt x="5831" y="7513"/>
                        <a:pt x="3756" y="7513"/>
                      </a:cubicBezTo>
                      <a:cubicBezTo>
                        <a:pt x="1682" y="7513"/>
                        <a:pt x="0" y="5831"/>
                        <a:pt x="0" y="3756"/>
                      </a:cubicBezTo>
                      <a:cubicBezTo>
                        <a:pt x="0" y="1682"/>
                        <a:pt x="1682" y="0"/>
                        <a:pt x="3756" y="0"/>
                      </a:cubicBezTo>
                      <a:cubicBezTo>
                        <a:pt x="5831" y="0"/>
                        <a:pt x="7513" y="1682"/>
                        <a:pt x="7513" y="3756"/>
                      </a:cubicBezTo>
                      <a:close/>
                    </a:path>
                  </a:pathLst>
                </a:custGeom>
                <a:solidFill>
                  <a:srgbClr val="3A4553"/>
                </a:solidFill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1778" name="Forma livre: Forma 1777">
                <a:extLst>
                  <a:ext uri="{FF2B5EF4-FFF2-40B4-BE49-F238E27FC236}">
                    <a16:creationId xmlns:a16="http://schemas.microsoft.com/office/drawing/2014/main" id="{002EEE95-8F6E-3039-E68E-D640E6CABC93}"/>
                  </a:ext>
                </a:extLst>
              </p:cNvPr>
              <p:cNvSpPr/>
              <p:nvPr/>
            </p:nvSpPr>
            <p:spPr>
              <a:xfrm>
                <a:off x="3189742" y="4219252"/>
                <a:ext cx="310237" cy="227838"/>
              </a:xfrm>
              <a:custGeom>
                <a:avLst/>
                <a:gdLst>
                  <a:gd name="connsiteX0" fmla="*/ 293045 w 310237"/>
                  <a:gd name="connsiteY0" fmla="*/ 0 h 227838"/>
                  <a:gd name="connsiteX1" fmla="*/ 310238 w 310237"/>
                  <a:gd name="connsiteY1" fmla="*/ 17193 h 227838"/>
                  <a:gd name="connsiteX2" fmla="*/ 310238 w 310237"/>
                  <a:gd name="connsiteY2" fmla="*/ 210646 h 227838"/>
                  <a:gd name="connsiteX3" fmla="*/ 293045 w 310237"/>
                  <a:gd name="connsiteY3" fmla="*/ 227838 h 227838"/>
                  <a:gd name="connsiteX4" fmla="*/ 17193 w 310237"/>
                  <a:gd name="connsiteY4" fmla="*/ 227838 h 227838"/>
                  <a:gd name="connsiteX5" fmla="*/ 0 w 310237"/>
                  <a:gd name="connsiteY5" fmla="*/ 210646 h 227838"/>
                  <a:gd name="connsiteX6" fmla="*/ 0 w 310237"/>
                  <a:gd name="connsiteY6" fmla="*/ 17193 h 227838"/>
                  <a:gd name="connsiteX7" fmla="*/ 17193 w 310237"/>
                  <a:gd name="connsiteY7" fmla="*/ 0 h 2278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10237" h="227838">
                    <a:moveTo>
                      <a:pt x="293045" y="0"/>
                    </a:moveTo>
                    <a:cubicBezTo>
                      <a:pt x="302540" y="0"/>
                      <a:pt x="310238" y="7697"/>
                      <a:pt x="310238" y="17193"/>
                    </a:cubicBezTo>
                    <a:lnTo>
                      <a:pt x="310238" y="210646"/>
                    </a:lnTo>
                    <a:cubicBezTo>
                      <a:pt x="310238" y="220141"/>
                      <a:pt x="302540" y="227838"/>
                      <a:pt x="293045" y="227838"/>
                    </a:cubicBezTo>
                    <a:lnTo>
                      <a:pt x="17193" y="227838"/>
                    </a:lnTo>
                    <a:cubicBezTo>
                      <a:pt x="7697" y="227838"/>
                      <a:pt x="0" y="220141"/>
                      <a:pt x="0" y="210646"/>
                    </a:cubicBezTo>
                    <a:lnTo>
                      <a:pt x="0" y="17193"/>
                    </a:lnTo>
                    <a:cubicBezTo>
                      <a:pt x="0" y="7697"/>
                      <a:pt x="7697" y="0"/>
                      <a:pt x="17193" y="0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779" name="Gráfico 18">
              <a:extLst>
                <a:ext uri="{FF2B5EF4-FFF2-40B4-BE49-F238E27FC236}">
                  <a16:creationId xmlns:a16="http://schemas.microsoft.com/office/drawing/2014/main" id="{C08FE9E4-9BBD-BD22-28DF-1E725DF494F4}"/>
                </a:ext>
              </a:extLst>
            </p:cNvPr>
            <p:cNvGrpSpPr/>
            <p:nvPr/>
          </p:nvGrpSpPr>
          <p:grpSpPr>
            <a:xfrm>
              <a:off x="3246328" y="4308153"/>
              <a:ext cx="194897" cy="107875"/>
              <a:chOff x="3246328" y="4308153"/>
              <a:chExt cx="194897" cy="107875"/>
            </a:xfrm>
            <a:noFill/>
          </p:grpSpPr>
          <p:sp>
            <p:nvSpPr>
              <p:cNvPr id="1780" name="Forma livre: Forma 1779">
                <a:extLst>
                  <a:ext uri="{FF2B5EF4-FFF2-40B4-BE49-F238E27FC236}">
                    <a16:creationId xmlns:a16="http://schemas.microsoft.com/office/drawing/2014/main" id="{CDB22D94-EA86-AFD2-CEE1-0DB727367587}"/>
                  </a:ext>
                </a:extLst>
              </p:cNvPr>
              <p:cNvSpPr/>
              <p:nvPr/>
            </p:nvSpPr>
            <p:spPr>
              <a:xfrm>
                <a:off x="3246328" y="4308153"/>
                <a:ext cx="194897" cy="89671"/>
              </a:xfrm>
              <a:custGeom>
                <a:avLst/>
                <a:gdLst>
                  <a:gd name="connsiteX0" fmla="*/ 194898 w 194897"/>
                  <a:gd name="connsiteY0" fmla="*/ 89671 h 89671"/>
                  <a:gd name="connsiteX1" fmla="*/ 194898 w 194897"/>
                  <a:gd name="connsiteY1" fmla="*/ 27836 h 89671"/>
                  <a:gd name="connsiteX2" fmla="*/ 97473 w 194897"/>
                  <a:gd name="connsiteY2" fmla="*/ 0 h 89671"/>
                  <a:gd name="connsiteX3" fmla="*/ 0 w 194897"/>
                  <a:gd name="connsiteY3" fmla="*/ 27980 h 89671"/>
                  <a:gd name="connsiteX4" fmla="*/ 97473 w 194897"/>
                  <a:gd name="connsiteY4" fmla="*/ 59909 h 89671"/>
                  <a:gd name="connsiteX5" fmla="*/ 191430 w 194897"/>
                  <a:gd name="connsiteY5" fmla="*/ 29280 h 896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94897" h="89671">
                    <a:moveTo>
                      <a:pt x="194898" y="89671"/>
                    </a:moveTo>
                    <a:lnTo>
                      <a:pt x="194898" y="27836"/>
                    </a:lnTo>
                    <a:lnTo>
                      <a:pt x="97473" y="0"/>
                    </a:lnTo>
                    <a:lnTo>
                      <a:pt x="0" y="27980"/>
                    </a:lnTo>
                    <a:lnTo>
                      <a:pt x="97473" y="59909"/>
                    </a:lnTo>
                    <a:lnTo>
                      <a:pt x="191430" y="29280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781" name="Forma livre: Forma 1780">
                <a:extLst>
                  <a:ext uri="{FF2B5EF4-FFF2-40B4-BE49-F238E27FC236}">
                    <a16:creationId xmlns:a16="http://schemas.microsoft.com/office/drawing/2014/main" id="{FECCFFDC-E529-0315-693A-177009F2BEEA}"/>
                  </a:ext>
                </a:extLst>
              </p:cNvPr>
              <p:cNvSpPr/>
              <p:nvPr/>
            </p:nvSpPr>
            <p:spPr>
              <a:xfrm>
                <a:off x="3291068" y="4352218"/>
                <a:ext cx="105370" cy="63810"/>
              </a:xfrm>
              <a:custGeom>
                <a:avLst/>
                <a:gdLst>
                  <a:gd name="connsiteX0" fmla="*/ 0 w 105370"/>
                  <a:gd name="connsiteY0" fmla="*/ 20275 h 63810"/>
                  <a:gd name="connsiteX1" fmla="*/ 0 w 105370"/>
                  <a:gd name="connsiteY1" fmla="*/ 44787 h 63810"/>
                  <a:gd name="connsiteX2" fmla="*/ 52685 w 105370"/>
                  <a:gd name="connsiteY2" fmla="*/ 63810 h 63810"/>
                  <a:gd name="connsiteX3" fmla="*/ 105371 w 105370"/>
                  <a:gd name="connsiteY3" fmla="*/ 44787 h 63810"/>
                  <a:gd name="connsiteX4" fmla="*/ 105371 w 105370"/>
                  <a:gd name="connsiteY4" fmla="*/ 0 h 638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05370" h="63810">
                    <a:moveTo>
                      <a:pt x="0" y="20275"/>
                    </a:moveTo>
                    <a:lnTo>
                      <a:pt x="0" y="44787"/>
                    </a:lnTo>
                    <a:cubicBezTo>
                      <a:pt x="12232" y="56394"/>
                      <a:pt x="31496" y="63810"/>
                      <a:pt x="52685" y="63810"/>
                    </a:cubicBezTo>
                    <a:cubicBezTo>
                      <a:pt x="73875" y="63810"/>
                      <a:pt x="93187" y="56394"/>
                      <a:pt x="105371" y="44787"/>
                    </a:cubicBezTo>
                    <a:lnTo>
                      <a:pt x="105371" y="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782" name="Gráfico 18">
            <a:extLst>
              <a:ext uri="{FF2B5EF4-FFF2-40B4-BE49-F238E27FC236}">
                <a16:creationId xmlns:a16="http://schemas.microsoft.com/office/drawing/2014/main" id="{86D4BF43-5095-D194-3161-DB0487890E44}"/>
              </a:ext>
            </a:extLst>
          </p:cNvPr>
          <p:cNvGrpSpPr/>
          <p:nvPr/>
        </p:nvGrpSpPr>
        <p:grpSpPr>
          <a:xfrm>
            <a:off x="3223357" y="5270843"/>
            <a:ext cx="243008" cy="292466"/>
            <a:chOff x="3223357" y="5270843"/>
            <a:chExt cx="243008" cy="292466"/>
          </a:xfrm>
          <a:noFill/>
        </p:grpSpPr>
        <p:grpSp>
          <p:nvGrpSpPr>
            <p:cNvPr id="1783" name="Gráfico 18">
              <a:extLst>
                <a:ext uri="{FF2B5EF4-FFF2-40B4-BE49-F238E27FC236}">
                  <a16:creationId xmlns:a16="http://schemas.microsoft.com/office/drawing/2014/main" id="{90FFBAB1-BA7E-371E-7796-1B1E9AA907A0}"/>
                </a:ext>
              </a:extLst>
            </p:cNvPr>
            <p:cNvGrpSpPr/>
            <p:nvPr/>
          </p:nvGrpSpPr>
          <p:grpSpPr>
            <a:xfrm>
              <a:off x="3223357" y="5270843"/>
              <a:ext cx="162005" cy="292466"/>
              <a:chOff x="3223357" y="5270843"/>
              <a:chExt cx="162005" cy="292466"/>
            </a:xfrm>
            <a:noFill/>
          </p:grpSpPr>
          <p:grpSp>
            <p:nvGrpSpPr>
              <p:cNvPr id="1784" name="Gráfico 18">
                <a:extLst>
                  <a:ext uri="{FF2B5EF4-FFF2-40B4-BE49-F238E27FC236}">
                    <a16:creationId xmlns:a16="http://schemas.microsoft.com/office/drawing/2014/main" id="{8DE15B4D-73DC-3719-5AED-DBB24F4200C4}"/>
                  </a:ext>
                </a:extLst>
              </p:cNvPr>
              <p:cNvGrpSpPr/>
              <p:nvPr/>
            </p:nvGrpSpPr>
            <p:grpSpPr>
              <a:xfrm>
                <a:off x="3223357" y="5270843"/>
                <a:ext cx="162005" cy="292466"/>
                <a:chOff x="3223357" y="5270843"/>
                <a:chExt cx="162005" cy="292466"/>
              </a:xfrm>
              <a:noFill/>
            </p:grpSpPr>
            <p:sp>
              <p:nvSpPr>
                <p:cNvPr id="1785" name="Forma livre: Forma 1784">
                  <a:extLst>
                    <a:ext uri="{FF2B5EF4-FFF2-40B4-BE49-F238E27FC236}">
                      <a16:creationId xmlns:a16="http://schemas.microsoft.com/office/drawing/2014/main" id="{EC371A0E-F205-0FCF-9FEC-894083786FC7}"/>
                    </a:ext>
                  </a:extLst>
                </p:cNvPr>
                <p:cNvSpPr/>
                <p:nvPr/>
              </p:nvSpPr>
              <p:spPr>
                <a:xfrm>
                  <a:off x="3223453" y="5270843"/>
                  <a:ext cx="161909" cy="292466"/>
                </a:xfrm>
                <a:custGeom>
                  <a:avLst/>
                  <a:gdLst>
                    <a:gd name="connsiteX0" fmla="*/ 161909 w 161909"/>
                    <a:gd name="connsiteY0" fmla="*/ 193116 h 292466"/>
                    <a:gd name="connsiteX1" fmla="*/ 161909 w 161909"/>
                    <a:gd name="connsiteY1" fmla="*/ 279223 h 292466"/>
                    <a:gd name="connsiteX2" fmla="*/ 148666 w 161909"/>
                    <a:gd name="connsiteY2" fmla="*/ 292467 h 292466"/>
                    <a:gd name="connsiteX3" fmla="*/ 13244 w 161909"/>
                    <a:gd name="connsiteY3" fmla="*/ 292467 h 292466"/>
                    <a:gd name="connsiteX4" fmla="*/ 0 w 161909"/>
                    <a:gd name="connsiteY4" fmla="*/ 279223 h 292466"/>
                    <a:gd name="connsiteX5" fmla="*/ 0 w 161909"/>
                    <a:gd name="connsiteY5" fmla="*/ 13244 h 292466"/>
                    <a:gd name="connsiteX6" fmla="*/ 13244 w 161909"/>
                    <a:gd name="connsiteY6" fmla="*/ 0 h 292466"/>
                    <a:gd name="connsiteX7" fmla="*/ 148666 w 161909"/>
                    <a:gd name="connsiteY7" fmla="*/ 0 h 292466"/>
                    <a:gd name="connsiteX8" fmla="*/ 161909 w 161909"/>
                    <a:gd name="connsiteY8" fmla="*/ 13244 h 292466"/>
                    <a:gd name="connsiteX9" fmla="*/ 161909 w 161909"/>
                    <a:gd name="connsiteY9" fmla="*/ 42813 h 29246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161909" h="292466">
                      <a:moveTo>
                        <a:pt x="161909" y="193116"/>
                      </a:moveTo>
                      <a:lnTo>
                        <a:pt x="161909" y="279223"/>
                      </a:lnTo>
                      <a:cubicBezTo>
                        <a:pt x="161909" y="286495"/>
                        <a:pt x="155937" y="292467"/>
                        <a:pt x="148666" y="292467"/>
                      </a:cubicBezTo>
                      <a:lnTo>
                        <a:pt x="13244" y="292467"/>
                      </a:lnTo>
                      <a:cubicBezTo>
                        <a:pt x="5924" y="292467"/>
                        <a:pt x="0" y="286495"/>
                        <a:pt x="0" y="279223"/>
                      </a:cubicBezTo>
                      <a:lnTo>
                        <a:pt x="0" y="13244"/>
                      </a:lnTo>
                      <a:cubicBezTo>
                        <a:pt x="0" y="5972"/>
                        <a:pt x="5972" y="0"/>
                        <a:pt x="13244" y="0"/>
                      </a:cubicBezTo>
                      <a:lnTo>
                        <a:pt x="148666" y="0"/>
                      </a:lnTo>
                      <a:cubicBezTo>
                        <a:pt x="155937" y="0"/>
                        <a:pt x="161909" y="5972"/>
                        <a:pt x="161909" y="13244"/>
                      </a:cubicBezTo>
                      <a:lnTo>
                        <a:pt x="161909" y="42813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786" name="Forma livre: Forma 1785">
                  <a:extLst>
                    <a:ext uri="{FF2B5EF4-FFF2-40B4-BE49-F238E27FC236}">
                      <a16:creationId xmlns:a16="http://schemas.microsoft.com/office/drawing/2014/main" id="{90414D2C-6B6E-DD9C-7DD8-289E367CD7A1}"/>
                    </a:ext>
                  </a:extLst>
                </p:cNvPr>
                <p:cNvSpPr/>
                <p:nvPr/>
              </p:nvSpPr>
              <p:spPr>
                <a:xfrm>
                  <a:off x="3223357" y="5505953"/>
                  <a:ext cx="162005" cy="4815"/>
                </a:xfrm>
                <a:custGeom>
                  <a:avLst/>
                  <a:gdLst>
                    <a:gd name="connsiteX0" fmla="*/ 0 w 162005"/>
                    <a:gd name="connsiteY0" fmla="*/ 0 h 4815"/>
                    <a:gd name="connsiteX1" fmla="*/ 162005 w 162005"/>
                    <a:gd name="connsiteY1" fmla="*/ 0 h 481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62005" h="4815">
                      <a:moveTo>
                        <a:pt x="0" y="0"/>
                      </a:moveTo>
                      <a:lnTo>
                        <a:pt x="162005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787" name="Forma livre: Forma 1786">
                  <a:extLst>
                    <a:ext uri="{FF2B5EF4-FFF2-40B4-BE49-F238E27FC236}">
                      <a16:creationId xmlns:a16="http://schemas.microsoft.com/office/drawing/2014/main" id="{25B5734A-78F7-5249-B924-6D571FBD05BB}"/>
                    </a:ext>
                  </a:extLst>
                </p:cNvPr>
                <p:cNvSpPr/>
                <p:nvPr/>
              </p:nvSpPr>
              <p:spPr>
                <a:xfrm>
                  <a:off x="3293379" y="5534029"/>
                  <a:ext cx="22008" cy="4815"/>
                </a:xfrm>
                <a:custGeom>
                  <a:avLst/>
                  <a:gdLst>
                    <a:gd name="connsiteX0" fmla="*/ 0 w 22008"/>
                    <a:gd name="connsiteY0" fmla="*/ 0 h 4815"/>
                    <a:gd name="connsiteX1" fmla="*/ 22008 w 22008"/>
                    <a:gd name="connsiteY1" fmla="*/ 0 h 481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2008" h="4815">
                      <a:moveTo>
                        <a:pt x="0" y="0"/>
                      </a:moveTo>
                      <a:lnTo>
                        <a:pt x="22008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1788" name="Forma livre: Forma 1787">
                <a:extLst>
                  <a:ext uri="{FF2B5EF4-FFF2-40B4-BE49-F238E27FC236}">
                    <a16:creationId xmlns:a16="http://schemas.microsoft.com/office/drawing/2014/main" id="{781D9641-B57A-B0F8-3DBA-C4E4D61DD8DC}"/>
                  </a:ext>
                </a:extLst>
              </p:cNvPr>
              <p:cNvSpPr/>
              <p:nvPr/>
            </p:nvSpPr>
            <p:spPr>
              <a:xfrm>
                <a:off x="3223357" y="5505953"/>
                <a:ext cx="162005" cy="4815"/>
              </a:xfrm>
              <a:custGeom>
                <a:avLst/>
                <a:gdLst>
                  <a:gd name="connsiteX0" fmla="*/ 0 w 162005"/>
                  <a:gd name="connsiteY0" fmla="*/ 0 h 4815"/>
                  <a:gd name="connsiteX1" fmla="*/ 162005 w 162005"/>
                  <a:gd name="connsiteY1" fmla="*/ 0 h 48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62005" h="4815">
                    <a:moveTo>
                      <a:pt x="0" y="0"/>
                    </a:moveTo>
                    <a:lnTo>
                      <a:pt x="162005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789" name="Gráfico 18">
              <a:extLst>
                <a:ext uri="{FF2B5EF4-FFF2-40B4-BE49-F238E27FC236}">
                  <a16:creationId xmlns:a16="http://schemas.microsoft.com/office/drawing/2014/main" id="{5C0088AE-C08D-3F28-9D28-A88BBD4BC08B}"/>
                </a:ext>
              </a:extLst>
            </p:cNvPr>
            <p:cNvGrpSpPr/>
            <p:nvPr/>
          </p:nvGrpSpPr>
          <p:grpSpPr>
            <a:xfrm>
              <a:off x="3259909" y="5330415"/>
              <a:ext cx="206455" cy="114328"/>
              <a:chOff x="3259909" y="5330415"/>
              <a:chExt cx="206455" cy="114328"/>
            </a:xfrm>
            <a:noFill/>
          </p:grpSpPr>
          <p:sp>
            <p:nvSpPr>
              <p:cNvPr id="1790" name="Forma livre: Forma 1789">
                <a:extLst>
                  <a:ext uri="{FF2B5EF4-FFF2-40B4-BE49-F238E27FC236}">
                    <a16:creationId xmlns:a16="http://schemas.microsoft.com/office/drawing/2014/main" id="{707D641C-0B92-6A1C-3FF2-D1A59B3C6DD4}"/>
                  </a:ext>
                </a:extLst>
              </p:cNvPr>
              <p:cNvSpPr/>
              <p:nvPr/>
            </p:nvSpPr>
            <p:spPr>
              <a:xfrm>
                <a:off x="3259909" y="5330415"/>
                <a:ext cx="206455" cy="94968"/>
              </a:xfrm>
              <a:custGeom>
                <a:avLst/>
                <a:gdLst>
                  <a:gd name="connsiteX0" fmla="*/ 206456 w 206455"/>
                  <a:gd name="connsiteY0" fmla="*/ 94969 h 94968"/>
                  <a:gd name="connsiteX1" fmla="*/ 206456 w 206455"/>
                  <a:gd name="connsiteY1" fmla="*/ 29473 h 94968"/>
                  <a:gd name="connsiteX2" fmla="*/ 103252 w 206455"/>
                  <a:gd name="connsiteY2" fmla="*/ 0 h 94968"/>
                  <a:gd name="connsiteX3" fmla="*/ 0 w 206455"/>
                  <a:gd name="connsiteY3" fmla="*/ 29666 h 94968"/>
                  <a:gd name="connsiteX4" fmla="*/ 103252 w 206455"/>
                  <a:gd name="connsiteY4" fmla="*/ 63473 h 94968"/>
                  <a:gd name="connsiteX5" fmla="*/ 202844 w 206455"/>
                  <a:gd name="connsiteY5" fmla="*/ 31014 h 949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06455" h="94968">
                    <a:moveTo>
                      <a:pt x="206456" y="94969"/>
                    </a:moveTo>
                    <a:lnTo>
                      <a:pt x="206456" y="29473"/>
                    </a:lnTo>
                    <a:lnTo>
                      <a:pt x="103252" y="0"/>
                    </a:lnTo>
                    <a:lnTo>
                      <a:pt x="0" y="29666"/>
                    </a:lnTo>
                    <a:lnTo>
                      <a:pt x="103252" y="63473"/>
                    </a:lnTo>
                    <a:lnTo>
                      <a:pt x="202844" y="31014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791" name="Forma livre: Forma 1790">
                <a:extLst>
                  <a:ext uri="{FF2B5EF4-FFF2-40B4-BE49-F238E27FC236}">
                    <a16:creationId xmlns:a16="http://schemas.microsoft.com/office/drawing/2014/main" id="{EB90BE6C-C430-BA0F-7B36-2DA409695F01}"/>
                  </a:ext>
                </a:extLst>
              </p:cNvPr>
              <p:cNvSpPr/>
              <p:nvPr/>
            </p:nvSpPr>
            <p:spPr>
              <a:xfrm>
                <a:off x="3307345" y="5377080"/>
                <a:ext cx="111631" cy="67662"/>
              </a:xfrm>
              <a:custGeom>
                <a:avLst/>
                <a:gdLst>
                  <a:gd name="connsiteX0" fmla="*/ 0 w 111631"/>
                  <a:gd name="connsiteY0" fmla="*/ 21527 h 67662"/>
                  <a:gd name="connsiteX1" fmla="*/ 0 w 111631"/>
                  <a:gd name="connsiteY1" fmla="*/ 47484 h 67662"/>
                  <a:gd name="connsiteX2" fmla="*/ 55816 w 111631"/>
                  <a:gd name="connsiteY2" fmla="*/ 67663 h 67662"/>
                  <a:gd name="connsiteX3" fmla="*/ 111632 w 111631"/>
                  <a:gd name="connsiteY3" fmla="*/ 47484 h 67662"/>
                  <a:gd name="connsiteX4" fmla="*/ 111632 w 111631"/>
                  <a:gd name="connsiteY4" fmla="*/ 0 h 676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11631" h="67662">
                    <a:moveTo>
                      <a:pt x="0" y="21527"/>
                    </a:moveTo>
                    <a:lnTo>
                      <a:pt x="0" y="47484"/>
                    </a:lnTo>
                    <a:cubicBezTo>
                      <a:pt x="12955" y="59765"/>
                      <a:pt x="33374" y="67663"/>
                      <a:pt x="55816" y="67663"/>
                    </a:cubicBezTo>
                    <a:cubicBezTo>
                      <a:pt x="78258" y="67663"/>
                      <a:pt x="98725" y="59765"/>
                      <a:pt x="111632" y="47484"/>
                    </a:cubicBezTo>
                    <a:lnTo>
                      <a:pt x="111632" y="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792" name="Gráfico 18">
            <a:extLst>
              <a:ext uri="{FF2B5EF4-FFF2-40B4-BE49-F238E27FC236}">
                <a16:creationId xmlns:a16="http://schemas.microsoft.com/office/drawing/2014/main" id="{96442739-E6CE-ECFD-5F55-4264BA9407C5}"/>
              </a:ext>
            </a:extLst>
          </p:cNvPr>
          <p:cNvGrpSpPr/>
          <p:nvPr/>
        </p:nvGrpSpPr>
        <p:grpSpPr>
          <a:xfrm>
            <a:off x="3214736" y="4730937"/>
            <a:ext cx="260293" cy="288373"/>
            <a:chOff x="3214736" y="4730937"/>
            <a:chExt cx="260293" cy="288373"/>
          </a:xfrm>
          <a:noFill/>
        </p:grpSpPr>
        <p:sp>
          <p:nvSpPr>
            <p:cNvPr id="1793" name="Forma livre: Forma 1792">
              <a:extLst>
                <a:ext uri="{FF2B5EF4-FFF2-40B4-BE49-F238E27FC236}">
                  <a16:creationId xmlns:a16="http://schemas.microsoft.com/office/drawing/2014/main" id="{7DBECD13-9DA6-7A45-0A32-F0DAB81A5265}"/>
                </a:ext>
              </a:extLst>
            </p:cNvPr>
            <p:cNvSpPr/>
            <p:nvPr/>
          </p:nvSpPr>
          <p:spPr>
            <a:xfrm>
              <a:off x="3214736" y="4730937"/>
              <a:ext cx="226634" cy="168940"/>
            </a:xfrm>
            <a:custGeom>
              <a:avLst/>
              <a:gdLst>
                <a:gd name="connsiteX0" fmla="*/ 34722 w 226634"/>
                <a:gd name="connsiteY0" fmla="*/ 168940 h 168940"/>
                <a:gd name="connsiteX1" fmla="*/ 0 w 226634"/>
                <a:gd name="connsiteY1" fmla="*/ 168940 h 168940"/>
                <a:gd name="connsiteX2" fmla="*/ 0 w 226634"/>
                <a:gd name="connsiteY2" fmla="*/ 0 h 168940"/>
                <a:gd name="connsiteX3" fmla="*/ 226634 w 226634"/>
                <a:gd name="connsiteY3" fmla="*/ 0 h 168940"/>
                <a:gd name="connsiteX4" fmla="*/ 226634 w 226634"/>
                <a:gd name="connsiteY4" fmla="*/ 24513 h 1689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26634" h="168940">
                  <a:moveTo>
                    <a:pt x="34722" y="168940"/>
                  </a:moveTo>
                  <a:lnTo>
                    <a:pt x="0" y="168940"/>
                  </a:lnTo>
                  <a:lnTo>
                    <a:pt x="0" y="0"/>
                  </a:lnTo>
                  <a:lnTo>
                    <a:pt x="226634" y="0"/>
                  </a:lnTo>
                  <a:lnTo>
                    <a:pt x="226634" y="24513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794" name="Gráfico 18">
              <a:extLst>
                <a:ext uri="{FF2B5EF4-FFF2-40B4-BE49-F238E27FC236}">
                  <a16:creationId xmlns:a16="http://schemas.microsoft.com/office/drawing/2014/main" id="{304C983A-B1B0-2EEE-DB4A-92976FB4B63B}"/>
                </a:ext>
              </a:extLst>
            </p:cNvPr>
            <p:cNvGrpSpPr/>
            <p:nvPr/>
          </p:nvGrpSpPr>
          <p:grpSpPr>
            <a:xfrm>
              <a:off x="3270154" y="4882624"/>
              <a:ext cx="105444" cy="35133"/>
              <a:chOff x="3270154" y="4882624"/>
              <a:chExt cx="105444" cy="35133"/>
            </a:xfrm>
            <a:noFill/>
          </p:grpSpPr>
          <p:sp>
            <p:nvSpPr>
              <p:cNvPr id="1795" name="Forma livre: Forma 1794">
                <a:extLst>
                  <a:ext uri="{FF2B5EF4-FFF2-40B4-BE49-F238E27FC236}">
                    <a16:creationId xmlns:a16="http://schemas.microsoft.com/office/drawing/2014/main" id="{3EEB78C3-E6F4-1E49-313B-3B9818ABFEF9}"/>
                  </a:ext>
                </a:extLst>
              </p:cNvPr>
              <p:cNvSpPr/>
              <p:nvPr/>
            </p:nvSpPr>
            <p:spPr>
              <a:xfrm>
                <a:off x="3340465" y="4882624"/>
                <a:ext cx="35133" cy="35133"/>
              </a:xfrm>
              <a:custGeom>
                <a:avLst/>
                <a:gdLst>
                  <a:gd name="connsiteX0" fmla="*/ 4154 w 35133"/>
                  <a:gd name="connsiteY0" fmla="*/ 6225 h 35133"/>
                  <a:gd name="connsiteX1" fmla="*/ 6225 w 35133"/>
                  <a:gd name="connsiteY1" fmla="*/ 30979 h 35133"/>
                  <a:gd name="connsiteX2" fmla="*/ 30979 w 35133"/>
                  <a:gd name="connsiteY2" fmla="*/ 28908 h 35133"/>
                  <a:gd name="connsiteX3" fmla="*/ 28908 w 35133"/>
                  <a:gd name="connsiteY3" fmla="*/ 4155 h 35133"/>
                  <a:gd name="connsiteX4" fmla="*/ 4154 w 35133"/>
                  <a:gd name="connsiteY4" fmla="*/ 6225 h 351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5133" h="35133">
                    <a:moveTo>
                      <a:pt x="4154" y="6225"/>
                    </a:moveTo>
                    <a:cubicBezTo>
                      <a:pt x="-2106" y="13642"/>
                      <a:pt x="-1191" y="24718"/>
                      <a:pt x="6225" y="30979"/>
                    </a:cubicBezTo>
                    <a:cubicBezTo>
                      <a:pt x="13642" y="37239"/>
                      <a:pt x="24718" y="36324"/>
                      <a:pt x="30979" y="28908"/>
                    </a:cubicBezTo>
                    <a:cubicBezTo>
                      <a:pt x="37239" y="21492"/>
                      <a:pt x="36324" y="10415"/>
                      <a:pt x="28908" y="4155"/>
                    </a:cubicBezTo>
                    <a:cubicBezTo>
                      <a:pt x="21492" y="-2106"/>
                      <a:pt x="10415" y="-1191"/>
                      <a:pt x="4154" y="6225"/>
                    </a:cubicBezTo>
                    <a:close/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796" name="Forma livre: Forma 1795">
                <a:extLst>
                  <a:ext uri="{FF2B5EF4-FFF2-40B4-BE49-F238E27FC236}">
                    <a16:creationId xmlns:a16="http://schemas.microsoft.com/office/drawing/2014/main" id="{F7729AF7-45D9-879D-814E-B19EF5E9A874}"/>
                  </a:ext>
                </a:extLst>
              </p:cNvPr>
              <p:cNvSpPr/>
              <p:nvPr/>
            </p:nvSpPr>
            <p:spPr>
              <a:xfrm>
                <a:off x="3270154" y="4882624"/>
                <a:ext cx="35133" cy="35133"/>
              </a:xfrm>
              <a:custGeom>
                <a:avLst/>
                <a:gdLst>
                  <a:gd name="connsiteX0" fmla="*/ 4154 w 35133"/>
                  <a:gd name="connsiteY0" fmla="*/ 6225 h 35133"/>
                  <a:gd name="connsiteX1" fmla="*/ 6225 w 35133"/>
                  <a:gd name="connsiteY1" fmla="*/ 30979 h 35133"/>
                  <a:gd name="connsiteX2" fmla="*/ 30979 w 35133"/>
                  <a:gd name="connsiteY2" fmla="*/ 28908 h 35133"/>
                  <a:gd name="connsiteX3" fmla="*/ 28908 w 35133"/>
                  <a:gd name="connsiteY3" fmla="*/ 4155 h 35133"/>
                  <a:gd name="connsiteX4" fmla="*/ 4154 w 35133"/>
                  <a:gd name="connsiteY4" fmla="*/ 6225 h 351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5133" h="35133">
                    <a:moveTo>
                      <a:pt x="4154" y="6225"/>
                    </a:moveTo>
                    <a:cubicBezTo>
                      <a:pt x="-2106" y="13642"/>
                      <a:pt x="-1191" y="24718"/>
                      <a:pt x="6225" y="30979"/>
                    </a:cubicBezTo>
                    <a:cubicBezTo>
                      <a:pt x="13642" y="37239"/>
                      <a:pt x="24718" y="36324"/>
                      <a:pt x="30979" y="28908"/>
                    </a:cubicBezTo>
                    <a:cubicBezTo>
                      <a:pt x="37239" y="21492"/>
                      <a:pt x="36324" y="10415"/>
                      <a:pt x="28908" y="4155"/>
                    </a:cubicBezTo>
                    <a:cubicBezTo>
                      <a:pt x="21492" y="-2106"/>
                      <a:pt x="10415" y="-1191"/>
                      <a:pt x="4154" y="6225"/>
                    </a:cubicBezTo>
                    <a:close/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797" name="Gráfico 18">
              <a:extLst>
                <a:ext uri="{FF2B5EF4-FFF2-40B4-BE49-F238E27FC236}">
                  <a16:creationId xmlns:a16="http://schemas.microsoft.com/office/drawing/2014/main" id="{6D1E03AB-6B81-23EC-B59B-62E6FF1252DE}"/>
                </a:ext>
              </a:extLst>
            </p:cNvPr>
            <p:cNvGrpSpPr/>
            <p:nvPr/>
          </p:nvGrpSpPr>
          <p:grpSpPr>
            <a:xfrm>
              <a:off x="3217529" y="4931168"/>
              <a:ext cx="210741" cy="88142"/>
              <a:chOff x="3217529" y="4931168"/>
              <a:chExt cx="210741" cy="88142"/>
            </a:xfrm>
            <a:noFill/>
          </p:grpSpPr>
          <p:grpSp>
            <p:nvGrpSpPr>
              <p:cNvPr id="1798" name="Gráfico 18">
                <a:extLst>
                  <a:ext uri="{FF2B5EF4-FFF2-40B4-BE49-F238E27FC236}">
                    <a16:creationId xmlns:a16="http://schemas.microsoft.com/office/drawing/2014/main" id="{2111C551-779A-A98F-50B7-18CA3D384706}"/>
                  </a:ext>
                </a:extLst>
              </p:cNvPr>
              <p:cNvGrpSpPr/>
              <p:nvPr/>
            </p:nvGrpSpPr>
            <p:grpSpPr>
              <a:xfrm>
                <a:off x="3217529" y="4931168"/>
                <a:ext cx="70215" cy="88094"/>
                <a:chOff x="3217529" y="4931168"/>
                <a:chExt cx="70215" cy="88094"/>
              </a:xfrm>
              <a:noFill/>
            </p:grpSpPr>
            <p:sp>
              <p:nvSpPr>
                <p:cNvPr id="1799" name="Forma livre: Forma 1798">
                  <a:extLst>
                    <a:ext uri="{FF2B5EF4-FFF2-40B4-BE49-F238E27FC236}">
                      <a16:creationId xmlns:a16="http://schemas.microsoft.com/office/drawing/2014/main" id="{32FA9FB6-DF90-F4C3-48D2-7357BE557244}"/>
                    </a:ext>
                  </a:extLst>
                </p:cNvPr>
                <p:cNvSpPr/>
                <p:nvPr/>
              </p:nvSpPr>
              <p:spPr>
                <a:xfrm>
                  <a:off x="3217529" y="4989549"/>
                  <a:ext cx="70215" cy="29713"/>
                </a:xfrm>
                <a:custGeom>
                  <a:avLst/>
                  <a:gdLst>
                    <a:gd name="connsiteX0" fmla="*/ 70215 w 70215"/>
                    <a:gd name="connsiteY0" fmla="*/ 29714 h 29713"/>
                    <a:gd name="connsiteX1" fmla="*/ 68241 w 70215"/>
                    <a:gd name="connsiteY1" fmla="*/ 13629 h 29713"/>
                    <a:gd name="connsiteX2" fmla="*/ 53167 w 70215"/>
                    <a:gd name="connsiteY2" fmla="*/ 0 h 29713"/>
                    <a:gd name="connsiteX3" fmla="*/ 17048 w 70215"/>
                    <a:gd name="connsiteY3" fmla="*/ 0 h 29713"/>
                    <a:gd name="connsiteX4" fmla="*/ 1975 w 70215"/>
                    <a:gd name="connsiteY4" fmla="*/ 13629 h 29713"/>
                    <a:gd name="connsiteX5" fmla="*/ 0 w 70215"/>
                    <a:gd name="connsiteY5" fmla="*/ 29714 h 2971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70215" h="29713">
                      <a:moveTo>
                        <a:pt x="70215" y="29714"/>
                      </a:moveTo>
                      <a:lnTo>
                        <a:pt x="68241" y="13629"/>
                      </a:lnTo>
                      <a:cubicBezTo>
                        <a:pt x="67518" y="4719"/>
                        <a:pt x="60680" y="0"/>
                        <a:pt x="53167" y="0"/>
                      </a:cubicBezTo>
                      <a:lnTo>
                        <a:pt x="17048" y="0"/>
                      </a:lnTo>
                      <a:cubicBezTo>
                        <a:pt x="9487" y="0"/>
                        <a:pt x="2697" y="4719"/>
                        <a:pt x="1975" y="13629"/>
                      </a:cubicBezTo>
                      <a:lnTo>
                        <a:pt x="0" y="29714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800" name="Forma livre: Forma 1799">
                  <a:extLst>
                    <a:ext uri="{FF2B5EF4-FFF2-40B4-BE49-F238E27FC236}">
                      <a16:creationId xmlns:a16="http://schemas.microsoft.com/office/drawing/2014/main" id="{EA920B1F-2D76-3DF7-7F9A-D35AAB4AA603}"/>
                    </a:ext>
                  </a:extLst>
                </p:cNvPr>
                <p:cNvSpPr/>
                <p:nvPr/>
              </p:nvSpPr>
              <p:spPr>
                <a:xfrm>
                  <a:off x="3235046" y="4931168"/>
                  <a:ext cx="35133" cy="35133"/>
                </a:xfrm>
                <a:custGeom>
                  <a:avLst/>
                  <a:gdLst>
                    <a:gd name="connsiteX0" fmla="*/ 4154 w 35133"/>
                    <a:gd name="connsiteY0" fmla="*/ 6225 h 35133"/>
                    <a:gd name="connsiteX1" fmla="*/ 6225 w 35133"/>
                    <a:gd name="connsiteY1" fmla="*/ 30979 h 35133"/>
                    <a:gd name="connsiteX2" fmla="*/ 30979 w 35133"/>
                    <a:gd name="connsiteY2" fmla="*/ 28908 h 35133"/>
                    <a:gd name="connsiteX3" fmla="*/ 28908 w 35133"/>
                    <a:gd name="connsiteY3" fmla="*/ 4154 h 35133"/>
                    <a:gd name="connsiteX4" fmla="*/ 4154 w 35133"/>
                    <a:gd name="connsiteY4" fmla="*/ 6225 h 351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5133" h="35133">
                      <a:moveTo>
                        <a:pt x="4154" y="6225"/>
                      </a:moveTo>
                      <a:cubicBezTo>
                        <a:pt x="-2106" y="13642"/>
                        <a:pt x="-1191" y="24718"/>
                        <a:pt x="6225" y="30979"/>
                      </a:cubicBezTo>
                      <a:cubicBezTo>
                        <a:pt x="13642" y="37239"/>
                        <a:pt x="24718" y="36324"/>
                        <a:pt x="30979" y="28908"/>
                      </a:cubicBezTo>
                      <a:cubicBezTo>
                        <a:pt x="37239" y="21492"/>
                        <a:pt x="36324" y="10415"/>
                        <a:pt x="28908" y="4154"/>
                      </a:cubicBezTo>
                      <a:cubicBezTo>
                        <a:pt x="21492" y="-2106"/>
                        <a:pt x="10415" y="-1191"/>
                        <a:pt x="4154" y="6225"/>
                      </a:cubicBezTo>
                      <a:close/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1801" name="Gráfico 18">
                <a:extLst>
                  <a:ext uri="{FF2B5EF4-FFF2-40B4-BE49-F238E27FC236}">
                    <a16:creationId xmlns:a16="http://schemas.microsoft.com/office/drawing/2014/main" id="{5612DBDF-EAE2-733A-7086-64E5049D4CB4}"/>
                  </a:ext>
                </a:extLst>
              </p:cNvPr>
              <p:cNvGrpSpPr/>
              <p:nvPr/>
            </p:nvGrpSpPr>
            <p:grpSpPr>
              <a:xfrm>
                <a:off x="3287793" y="4931168"/>
                <a:ext cx="70215" cy="88094"/>
                <a:chOff x="3287793" y="4931168"/>
                <a:chExt cx="70215" cy="88094"/>
              </a:xfrm>
              <a:noFill/>
            </p:grpSpPr>
            <p:sp>
              <p:nvSpPr>
                <p:cNvPr id="1802" name="Forma livre: Forma 1801">
                  <a:extLst>
                    <a:ext uri="{FF2B5EF4-FFF2-40B4-BE49-F238E27FC236}">
                      <a16:creationId xmlns:a16="http://schemas.microsoft.com/office/drawing/2014/main" id="{CE39C7E5-0CEB-61C0-79D6-3C6EAE76908E}"/>
                    </a:ext>
                  </a:extLst>
                </p:cNvPr>
                <p:cNvSpPr/>
                <p:nvPr/>
              </p:nvSpPr>
              <p:spPr>
                <a:xfrm>
                  <a:off x="3287793" y="4989500"/>
                  <a:ext cx="70215" cy="29761"/>
                </a:xfrm>
                <a:custGeom>
                  <a:avLst/>
                  <a:gdLst>
                    <a:gd name="connsiteX0" fmla="*/ 70215 w 70215"/>
                    <a:gd name="connsiteY0" fmla="*/ 29762 h 29761"/>
                    <a:gd name="connsiteX1" fmla="*/ 68241 w 70215"/>
                    <a:gd name="connsiteY1" fmla="*/ 13629 h 29761"/>
                    <a:gd name="connsiteX2" fmla="*/ 53167 w 70215"/>
                    <a:gd name="connsiteY2" fmla="*/ 0 h 29761"/>
                    <a:gd name="connsiteX3" fmla="*/ 17048 w 70215"/>
                    <a:gd name="connsiteY3" fmla="*/ 0 h 29761"/>
                    <a:gd name="connsiteX4" fmla="*/ 1975 w 70215"/>
                    <a:gd name="connsiteY4" fmla="*/ 13629 h 29761"/>
                    <a:gd name="connsiteX5" fmla="*/ 0 w 70215"/>
                    <a:gd name="connsiteY5" fmla="*/ 29714 h 2976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70215" h="29761">
                      <a:moveTo>
                        <a:pt x="70215" y="29762"/>
                      </a:moveTo>
                      <a:lnTo>
                        <a:pt x="68241" y="13629"/>
                      </a:lnTo>
                      <a:cubicBezTo>
                        <a:pt x="67518" y="4720"/>
                        <a:pt x="60680" y="0"/>
                        <a:pt x="53167" y="0"/>
                      </a:cubicBezTo>
                      <a:lnTo>
                        <a:pt x="17048" y="0"/>
                      </a:lnTo>
                      <a:cubicBezTo>
                        <a:pt x="9487" y="0"/>
                        <a:pt x="2697" y="4720"/>
                        <a:pt x="1975" y="13629"/>
                      </a:cubicBezTo>
                      <a:lnTo>
                        <a:pt x="0" y="29714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803" name="Forma livre: Forma 1802">
                  <a:extLst>
                    <a:ext uri="{FF2B5EF4-FFF2-40B4-BE49-F238E27FC236}">
                      <a16:creationId xmlns:a16="http://schemas.microsoft.com/office/drawing/2014/main" id="{E9BD95DA-9019-92C8-0CC7-D026057D53D9}"/>
                    </a:ext>
                  </a:extLst>
                </p:cNvPr>
                <p:cNvSpPr/>
                <p:nvPr/>
              </p:nvSpPr>
              <p:spPr>
                <a:xfrm>
                  <a:off x="3305310" y="4931168"/>
                  <a:ext cx="35133" cy="35133"/>
                </a:xfrm>
                <a:custGeom>
                  <a:avLst/>
                  <a:gdLst>
                    <a:gd name="connsiteX0" fmla="*/ 4154 w 35133"/>
                    <a:gd name="connsiteY0" fmla="*/ 6225 h 35133"/>
                    <a:gd name="connsiteX1" fmla="*/ 6225 w 35133"/>
                    <a:gd name="connsiteY1" fmla="*/ 30979 h 35133"/>
                    <a:gd name="connsiteX2" fmla="*/ 30979 w 35133"/>
                    <a:gd name="connsiteY2" fmla="*/ 28908 h 35133"/>
                    <a:gd name="connsiteX3" fmla="*/ 28908 w 35133"/>
                    <a:gd name="connsiteY3" fmla="*/ 4154 h 35133"/>
                    <a:gd name="connsiteX4" fmla="*/ 4154 w 35133"/>
                    <a:gd name="connsiteY4" fmla="*/ 6225 h 351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5133" h="35133">
                      <a:moveTo>
                        <a:pt x="4154" y="6225"/>
                      </a:moveTo>
                      <a:cubicBezTo>
                        <a:pt x="-2106" y="13642"/>
                        <a:pt x="-1191" y="24718"/>
                        <a:pt x="6225" y="30979"/>
                      </a:cubicBezTo>
                      <a:cubicBezTo>
                        <a:pt x="13642" y="37239"/>
                        <a:pt x="24718" y="36324"/>
                        <a:pt x="30979" y="28908"/>
                      </a:cubicBezTo>
                      <a:cubicBezTo>
                        <a:pt x="37239" y="21492"/>
                        <a:pt x="36324" y="10415"/>
                        <a:pt x="28908" y="4154"/>
                      </a:cubicBezTo>
                      <a:cubicBezTo>
                        <a:pt x="21492" y="-2106"/>
                        <a:pt x="10415" y="-1191"/>
                        <a:pt x="4154" y="6225"/>
                      </a:cubicBezTo>
                      <a:close/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1804" name="Gráfico 18">
                <a:extLst>
                  <a:ext uri="{FF2B5EF4-FFF2-40B4-BE49-F238E27FC236}">
                    <a16:creationId xmlns:a16="http://schemas.microsoft.com/office/drawing/2014/main" id="{9393613B-32D3-E6B2-FC35-ED105A60E1F9}"/>
                  </a:ext>
                </a:extLst>
              </p:cNvPr>
              <p:cNvGrpSpPr/>
              <p:nvPr/>
            </p:nvGrpSpPr>
            <p:grpSpPr>
              <a:xfrm>
                <a:off x="3358056" y="4931168"/>
                <a:ext cx="70215" cy="88142"/>
                <a:chOff x="3358056" y="4931168"/>
                <a:chExt cx="70215" cy="88142"/>
              </a:xfrm>
              <a:noFill/>
            </p:grpSpPr>
            <p:sp>
              <p:nvSpPr>
                <p:cNvPr id="1805" name="Forma livre: Forma 1804">
                  <a:extLst>
                    <a:ext uri="{FF2B5EF4-FFF2-40B4-BE49-F238E27FC236}">
                      <a16:creationId xmlns:a16="http://schemas.microsoft.com/office/drawing/2014/main" id="{3B6039BD-6EC2-38B0-7ED9-588EA14722E5}"/>
                    </a:ext>
                  </a:extLst>
                </p:cNvPr>
                <p:cNvSpPr/>
                <p:nvPr/>
              </p:nvSpPr>
              <p:spPr>
                <a:xfrm>
                  <a:off x="3358056" y="4989549"/>
                  <a:ext cx="70215" cy="29761"/>
                </a:xfrm>
                <a:custGeom>
                  <a:avLst/>
                  <a:gdLst>
                    <a:gd name="connsiteX0" fmla="*/ 70215 w 70215"/>
                    <a:gd name="connsiteY0" fmla="*/ 29762 h 29761"/>
                    <a:gd name="connsiteX1" fmla="*/ 68241 w 70215"/>
                    <a:gd name="connsiteY1" fmla="*/ 13629 h 29761"/>
                    <a:gd name="connsiteX2" fmla="*/ 53167 w 70215"/>
                    <a:gd name="connsiteY2" fmla="*/ 0 h 29761"/>
                    <a:gd name="connsiteX3" fmla="*/ 17048 w 70215"/>
                    <a:gd name="connsiteY3" fmla="*/ 0 h 29761"/>
                    <a:gd name="connsiteX4" fmla="*/ 1974 w 70215"/>
                    <a:gd name="connsiteY4" fmla="*/ 13629 h 29761"/>
                    <a:gd name="connsiteX5" fmla="*/ 0 w 70215"/>
                    <a:gd name="connsiteY5" fmla="*/ 29762 h 2976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70215" h="29761">
                      <a:moveTo>
                        <a:pt x="70215" y="29762"/>
                      </a:moveTo>
                      <a:lnTo>
                        <a:pt x="68241" y="13629"/>
                      </a:lnTo>
                      <a:cubicBezTo>
                        <a:pt x="67518" y="4719"/>
                        <a:pt x="60680" y="0"/>
                        <a:pt x="53167" y="0"/>
                      </a:cubicBezTo>
                      <a:lnTo>
                        <a:pt x="17048" y="0"/>
                      </a:lnTo>
                      <a:cubicBezTo>
                        <a:pt x="9487" y="0"/>
                        <a:pt x="2697" y="4719"/>
                        <a:pt x="1974" y="13629"/>
                      </a:cubicBezTo>
                      <a:lnTo>
                        <a:pt x="0" y="29762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806" name="Forma livre: Forma 1805">
                  <a:extLst>
                    <a:ext uri="{FF2B5EF4-FFF2-40B4-BE49-F238E27FC236}">
                      <a16:creationId xmlns:a16="http://schemas.microsoft.com/office/drawing/2014/main" id="{DAF31FF0-00D9-60D4-7573-427A076D902E}"/>
                    </a:ext>
                  </a:extLst>
                </p:cNvPr>
                <p:cNvSpPr/>
                <p:nvPr/>
              </p:nvSpPr>
              <p:spPr>
                <a:xfrm>
                  <a:off x="3375573" y="4931168"/>
                  <a:ext cx="35133" cy="35133"/>
                </a:xfrm>
                <a:custGeom>
                  <a:avLst/>
                  <a:gdLst>
                    <a:gd name="connsiteX0" fmla="*/ 4154 w 35133"/>
                    <a:gd name="connsiteY0" fmla="*/ 6225 h 35133"/>
                    <a:gd name="connsiteX1" fmla="*/ 6225 w 35133"/>
                    <a:gd name="connsiteY1" fmla="*/ 30979 h 35133"/>
                    <a:gd name="connsiteX2" fmla="*/ 30979 w 35133"/>
                    <a:gd name="connsiteY2" fmla="*/ 28908 h 35133"/>
                    <a:gd name="connsiteX3" fmla="*/ 28908 w 35133"/>
                    <a:gd name="connsiteY3" fmla="*/ 4154 h 35133"/>
                    <a:gd name="connsiteX4" fmla="*/ 4154 w 35133"/>
                    <a:gd name="connsiteY4" fmla="*/ 6225 h 351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5133" h="35133">
                      <a:moveTo>
                        <a:pt x="4154" y="6225"/>
                      </a:moveTo>
                      <a:cubicBezTo>
                        <a:pt x="-2106" y="13642"/>
                        <a:pt x="-1191" y="24718"/>
                        <a:pt x="6225" y="30979"/>
                      </a:cubicBezTo>
                      <a:cubicBezTo>
                        <a:pt x="13642" y="37239"/>
                        <a:pt x="24718" y="36324"/>
                        <a:pt x="30979" y="28908"/>
                      </a:cubicBezTo>
                      <a:cubicBezTo>
                        <a:pt x="37239" y="21492"/>
                        <a:pt x="36324" y="10415"/>
                        <a:pt x="28908" y="4154"/>
                      </a:cubicBezTo>
                      <a:cubicBezTo>
                        <a:pt x="21492" y="-2106"/>
                        <a:pt x="10415" y="-1191"/>
                        <a:pt x="4154" y="6225"/>
                      </a:cubicBezTo>
                      <a:close/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sp>
          <p:nvSpPr>
            <p:cNvPr id="1807" name="Forma livre: Forma 1806">
              <a:extLst>
                <a:ext uri="{FF2B5EF4-FFF2-40B4-BE49-F238E27FC236}">
                  <a16:creationId xmlns:a16="http://schemas.microsoft.com/office/drawing/2014/main" id="{2EE9DA98-2B7F-2E68-127C-EF2BEBB77BA4}"/>
                </a:ext>
              </a:extLst>
            </p:cNvPr>
            <p:cNvSpPr/>
            <p:nvPr/>
          </p:nvSpPr>
          <p:spPr>
            <a:xfrm>
              <a:off x="3407130" y="4836452"/>
              <a:ext cx="67900" cy="148858"/>
            </a:xfrm>
            <a:custGeom>
              <a:avLst/>
              <a:gdLst>
                <a:gd name="connsiteX0" fmla="*/ 53263 w 67900"/>
                <a:gd name="connsiteY0" fmla="*/ 148858 h 148858"/>
                <a:gd name="connsiteX1" fmla="*/ 54949 w 67900"/>
                <a:gd name="connsiteY1" fmla="*/ 79654 h 148858"/>
                <a:gd name="connsiteX2" fmla="*/ 67855 w 67900"/>
                <a:gd name="connsiteY2" fmla="*/ 65062 h 148858"/>
                <a:gd name="connsiteX3" fmla="*/ 63232 w 67900"/>
                <a:gd name="connsiteY3" fmla="*/ 12425 h 148858"/>
                <a:gd name="connsiteX4" fmla="*/ 49507 w 67900"/>
                <a:gd name="connsiteY4" fmla="*/ 0 h 148858"/>
                <a:gd name="connsiteX5" fmla="*/ 18348 w 67900"/>
                <a:gd name="connsiteY5" fmla="*/ 0 h 148858"/>
                <a:gd name="connsiteX6" fmla="*/ 4623 w 67900"/>
                <a:gd name="connsiteY6" fmla="*/ 12425 h 148858"/>
                <a:gd name="connsiteX7" fmla="*/ 0 w 67900"/>
                <a:gd name="connsiteY7" fmla="*/ 65062 h 1488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67900" h="148858">
                  <a:moveTo>
                    <a:pt x="53263" y="148858"/>
                  </a:moveTo>
                  <a:lnTo>
                    <a:pt x="54949" y="79654"/>
                  </a:lnTo>
                  <a:cubicBezTo>
                    <a:pt x="61450" y="77294"/>
                    <a:pt x="68530" y="71901"/>
                    <a:pt x="67855" y="65062"/>
                  </a:cubicBezTo>
                  <a:lnTo>
                    <a:pt x="63232" y="12425"/>
                  </a:lnTo>
                  <a:cubicBezTo>
                    <a:pt x="62558" y="5586"/>
                    <a:pt x="56346" y="0"/>
                    <a:pt x="49507" y="0"/>
                  </a:cubicBezTo>
                  <a:lnTo>
                    <a:pt x="18348" y="0"/>
                  </a:lnTo>
                  <a:cubicBezTo>
                    <a:pt x="11510" y="0"/>
                    <a:pt x="5297" y="5586"/>
                    <a:pt x="4623" y="12425"/>
                  </a:cubicBezTo>
                  <a:lnTo>
                    <a:pt x="0" y="65062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08" name="Forma livre: Forma 1807">
              <a:extLst>
                <a:ext uri="{FF2B5EF4-FFF2-40B4-BE49-F238E27FC236}">
                  <a16:creationId xmlns:a16="http://schemas.microsoft.com/office/drawing/2014/main" id="{D038BD59-BDE6-CC7C-7BC4-91716FE635D0}"/>
                </a:ext>
              </a:extLst>
            </p:cNvPr>
            <p:cNvSpPr/>
            <p:nvPr/>
          </p:nvSpPr>
          <p:spPr>
            <a:xfrm>
              <a:off x="3422492" y="4775532"/>
              <a:ext cx="37082" cy="37082"/>
            </a:xfrm>
            <a:custGeom>
              <a:avLst/>
              <a:gdLst>
                <a:gd name="connsiteX0" fmla="*/ 37082 w 37082"/>
                <a:gd name="connsiteY0" fmla="*/ 18541 h 37082"/>
                <a:gd name="connsiteX1" fmla="*/ 18541 w 37082"/>
                <a:gd name="connsiteY1" fmla="*/ 37082 h 37082"/>
                <a:gd name="connsiteX2" fmla="*/ 0 w 37082"/>
                <a:gd name="connsiteY2" fmla="*/ 18541 h 37082"/>
                <a:gd name="connsiteX3" fmla="*/ 18541 w 37082"/>
                <a:gd name="connsiteY3" fmla="*/ 0 h 37082"/>
                <a:gd name="connsiteX4" fmla="*/ 37082 w 37082"/>
                <a:gd name="connsiteY4" fmla="*/ 18541 h 370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7082" h="37082">
                  <a:moveTo>
                    <a:pt x="37082" y="18541"/>
                  </a:moveTo>
                  <a:cubicBezTo>
                    <a:pt x="37082" y="28799"/>
                    <a:pt x="28799" y="37082"/>
                    <a:pt x="18541" y="37082"/>
                  </a:cubicBezTo>
                  <a:cubicBezTo>
                    <a:pt x="8283" y="37082"/>
                    <a:pt x="0" y="28799"/>
                    <a:pt x="0" y="18541"/>
                  </a:cubicBezTo>
                  <a:cubicBezTo>
                    <a:pt x="0" y="8283"/>
                    <a:pt x="8283" y="0"/>
                    <a:pt x="18541" y="0"/>
                  </a:cubicBezTo>
                  <a:cubicBezTo>
                    <a:pt x="28799" y="0"/>
                    <a:pt x="37082" y="8283"/>
                    <a:pt x="37082" y="18541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809" name="Gráfico 18">
            <a:extLst>
              <a:ext uri="{FF2B5EF4-FFF2-40B4-BE49-F238E27FC236}">
                <a16:creationId xmlns:a16="http://schemas.microsoft.com/office/drawing/2014/main" id="{FC49C0C2-F893-360C-1F7D-BA79C6B0B16A}"/>
              </a:ext>
            </a:extLst>
          </p:cNvPr>
          <p:cNvGrpSpPr/>
          <p:nvPr/>
        </p:nvGrpSpPr>
        <p:grpSpPr>
          <a:xfrm>
            <a:off x="3195810" y="5802224"/>
            <a:ext cx="298101" cy="313608"/>
            <a:chOff x="3195810" y="5802224"/>
            <a:chExt cx="298101" cy="313608"/>
          </a:xfrm>
        </p:grpSpPr>
        <p:sp>
          <p:nvSpPr>
            <p:cNvPr id="1810" name="Forma livre: Forma 1809">
              <a:extLst>
                <a:ext uri="{FF2B5EF4-FFF2-40B4-BE49-F238E27FC236}">
                  <a16:creationId xmlns:a16="http://schemas.microsoft.com/office/drawing/2014/main" id="{C23D2737-CAD4-8463-7C58-5936133975B2}"/>
                </a:ext>
              </a:extLst>
            </p:cNvPr>
            <p:cNvSpPr/>
            <p:nvPr/>
          </p:nvSpPr>
          <p:spPr>
            <a:xfrm>
              <a:off x="3209043" y="5868540"/>
              <a:ext cx="68395" cy="87695"/>
            </a:xfrm>
            <a:custGeom>
              <a:avLst/>
              <a:gdLst>
                <a:gd name="connsiteX0" fmla="*/ 45857 w 68395"/>
                <a:gd name="connsiteY0" fmla="*/ 87695 h 87695"/>
                <a:gd name="connsiteX1" fmla="*/ 2466 w 68395"/>
                <a:gd name="connsiteY1" fmla="*/ 11605 h 87695"/>
                <a:gd name="connsiteX2" fmla="*/ 68396 w 68395"/>
                <a:gd name="connsiteY2" fmla="*/ 5248 h 876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8395" h="87695">
                  <a:moveTo>
                    <a:pt x="45857" y="87695"/>
                  </a:moveTo>
                  <a:cubicBezTo>
                    <a:pt x="11135" y="57067"/>
                    <a:pt x="-6924" y="27690"/>
                    <a:pt x="2466" y="11605"/>
                  </a:cubicBezTo>
                  <a:cubicBezTo>
                    <a:pt x="10220" y="-1735"/>
                    <a:pt x="35166" y="-3180"/>
                    <a:pt x="68396" y="5248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11" name="Forma livre: Forma 1810">
              <a:extLst>
                <a:ext uri="{FF2B5EF4-FFF2-40B4-BE49-F238E27FC236}">
                  <a16:creationId xmlns:a16="http://schemas.microsoft.com/office/drawing/2014/main" id="{276C187A-DE01-268A-942A-3949ACAB53DC}"/>
                </a:ext>
              </a:extLst>
            </p:cNvPr>
            <p:cNvSpPr/>
            <p:nvPr/>
          </p:nvSpPr>
          <p:spPr>
            <a:xfrm>
              <a:off x="3347702" y="6017686"/>
              <a:ext cx="137291" cy="31882"/>
            </a:xfrm>
            <a:custGeom>
              <a:avLst/>
              <a:gdLst>
                <a:gd name="connsiteX0" fmla="*/ 135759 w 137291"/>
                <a:gd name="connsiteY0" fmla="*/ 1156 h 31882"/>
                <a:gd name="connsiteX1" fmla="*/ 134844 w 137291"/>
                <a:gd name="connsiteY1" fmla="*/ 20275 h 31882"/>
                <a:gd name="connsiteX2" fmla="*/ 0 w 137291"/>
                <a:gd name="connsiteY2" fmla="*/ 0 h 318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37291" h="31882">
                  <a:moveTo>
                    <a:pt x="135759" y="1156"/>
                  </a:moveTo>
                  <a:cubicBezTo>
                    <a:pt x="138022" y="8620"/>
                    <a:pt x="137830" y="15122"/>
                    <a:pt x="134844" y="20275"/>
                  </a:cubicBezTo>
                  <a:cubicBezTo>
                    <a:pt x="122275" y="41850"/>
                    <a:pt x="64677" y="32363"/>
                    <a:pt x="0" y="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12" name="Forma livre: Forma 1811">
              <a:extLst>
                <a:ext uri="{FF2B5EF4-FFF2-40B4-BE49-F238E27FC236}">
                  <a16:creationId xmlns:a16="http://schemas.microsoft.com/office/drawing/2014/main" id="{EE65FF8E-2DEF-8E32-03DD-1850BFEEA563}"/>
                </a:ext>
              </a:extLst>
            </p:cNvPr>
            <p:cNvSpPr/>
            <p:nvPr/>
          </p:nvSpPr>
          <p:spPr>
            <a:xfrm>
              <a:off x="3374430" y="5915686"/>
              <a:ext cx="85481" cy="66555"/>
            </a:xfrm>
            <a:custGeom>
              <a:avLst/>
              <a:gdLst>
                <a:gd name="connsiteX0" fmla="*/ 0 w 85481"/>
                <a:gd name="connsiteY0" fmla="*/ 0 h 66555"/>
                <a:gd name="connsiteX1" fmla="*/ 85481 w 85481"/>
                <a:gd name="connsiteY1" fmla="*/ 66555 h 665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5481" h="66555">
                  <a:moveTo>
                    <a:pt x="0" y="0"/>
                  </a:moveTo>
                  <a:cubicBezTo>
                    <a:pt x="35974" y="21142"/>
                    <a:pt x="65929" y="44932"/>
                    <a:pt x="85481" y="66555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13" name="Forma livre: Forma 1812">
              <a:extLst>
                <a:ext uri="{FF2B5EF4-FFF2-40B4-BE49-F238E27FC236}">
                  <a16:creationId xmlns:a16="http://schemas.microsoft.com/office/drawing/2014/main" id="{58A7E4F4-A61E-6423-D670-6E62B86C8199}"/>
                </a:ext>
              </a:extLst>
            </p:cNvPr>
            <p:cNvSpPr/>
            <p:nvPr/>
          </p:nvSpPr>
          <p:spPr>
            <a:xfrm>
              <a:off x="3208012" y="5870040"/>
              <a:ext cx="277874" cy="178025"/>
            </a:xfrm>
            <a:custGeom>
              <a:avLst/>
              <a:gdLst>
                <a:gd name="connsiteX0" fmla="*/ 20594 w 277874"/>
                <a:gd name="connsiteY0" fmla="*/ 116343 h 178025"/>
                <a:gd name="connsiteX1" fmla="*/ 113781 w 277874"/>
                <a:gd name="connsiteY1" fmla="*/ 44346 h 178025"/>
                <a:gd name="connsiteX2" fmla="*/ 275545 w 277874"/>
                <a:gd name="connsiteY2" fmla="*/ 12031 h 178025"/>
                <a:gd name="connsiteX3" fmla="*/ 164106 w 277874"/>
                <a:gd name="connsiteY3" fmla="*/ 133680 h 178025"/>
                <a:gd name="connsiteX4" fmla="*/ 2342 w 277874"/>
                <a:gd name="connsiteY4" fmla="*/ 165994 h 178025"/>
                <a:gd name="connsiteX5" fmla="*/ 415 w 277874"/>
                <a:gd name="connsiteY5" fmla="*/ 151884 h 178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77874" h="178025">
                  <a:moveTo>
                    <a:pt x="20594" y="116343"/>
                  </a:moveTo>
                  <a:cubicBezTo>
                    <a:pt x="40483" y="93179"/>
                    <a:pt x="73472" y="67029"/>
                    <a:pt x="113781" y="44346"/>
                  </a:cubicBezTo>
                  <a:cubicBezTo>
                    <a:pt x="189245" y="1822"/>
                    <a:pt x="261675" y="-12626"/>
                    <a:pt x="275545" y="12031"/>
                  </a:cubicBezTo>
                  <a:cubicBezTo>
                    <a:pt x="289463" y="36689"/>
                    <a:pt x="239571" y="91156"/>
                    <a:pt x="164106" y="133680"/>
                  </a:cubicBezTo>
                  <a:cubicBezTo>
                    <a:pt x="88642" y="176204"/>
                    <a:pt x="16211" y="190652"/>
                    <a:pt x="2342" y="165994"/>
                  </a:cubicBezTo>
                  <a:cubicBezTo>
                    <a:pt x="78" y="161997"/>
                    <a:pt x="-500" y="157229"/>
                    <a:pt x="415" y="151884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14" name="Forma livre: Forma 1813">
              <a:extLst>
                <a:ext uri="{FF2B5EF4-FFF2-40B4-BE49-F238E27FC236}">
                  <a16:creationId xmlns:a16="http://schemas.microsoft.com/office/drawing/2014/main" id="{F8686E66-AC08-A56E-219D-9EB25F0E8CAC}"/>
                </a:ext>
              </a:extLst>
            </p:cNvPr>
            <p:cNvSpPr/>
            <p:nvPr/>
          </p:nvSpPr>
          <p:spPr>
            <a:xfrm>
              <a:off x="3330124" y="5802224"/>
              <a:ext cx="55960" cy="56200"/>
            </a:xfrm>
            <a:custGeom>
              <a:avLst/>
              <a:gdLst>
                <a:gd name="connsiteX0" fmla="*/ 0 w 55960"/>
                <a:gd name="connsiteY0" fmla="*/ 8331 h 56200"/>
                <a:gd name="connsiteX1" fmla="*/ 16470 w 55960"/>
                <a:gd name="connsiteY1" fmla="*/ 0 h 56200"/>
                <a:gd name="connsiteX2" fmla="*/ 55960 w 55960"/>
                <a:gd name="connsiteY2" fmla="*/ 56201 h 56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55960" h="56200">
                  <a:moveTo>
                    <a:pt x="0" y="8331"/>
                  </a:moveTo>
                  <a:cubicBezTo>
                    <a:pt x="5153" y="2938"/>
                    <a:pt x="10691" y="48"/>
                    <a:pt x="16470" y="0"/>
                  </a:cubicBezTo>
                  <a:cubicBezTo>
                    <a:pt x="32266" y="0"/>
                    <a:pt x="46473" y="21816"/>
                    <a:pt x="55960" y="56201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15" name="Forma livre: Forma 1814">
              <a:extLst>
                <a:ext uri="{FF2B5EF4-FFF2-40B4-BE49-F238E27FC236}">
                  <a16:creationId xmlns:a16="http://schemas.microsoft.com/office/drawing/2014/main" id="{DD7B718E-4667-54EC-3DF6-2A5E1F2EBFD7}"/>
                </a:ext>
              </a:extLst>
            </p:cNvPr>
            <p:cNvSpPr/>
            <p:nvPr/>
          </p:nvSpPr>
          <p:spPr>
            <a:xfrm>
              <a:off x="3295738" y="5848986"/>
              <a:ext cx="90443" cy="266846"/>
            </a:xfrm>
            <a:custGeom>
              <a:avLst/>
              <a:gdLst>
                <a:gd name="connsiteX0" fmla="*/ 90443 w 90443"/>
                <a:gd name="connsiteY0" fmla="*/ 212187 h 266846"/>
                <a:gd name="connsiteX1" fmla="*/ 51723 w 90443"/>
                <a:gd name="connsiteY1" fmla="*/ 266847 h 266846"/>
                <a:gd name="connsiteX2" fmla="*/ 1 w 90443"/>
                <a:gd name="connsiteY2" fmla="*/ 110187 h 266846"/>
                <a:gd name="connsiteX3" fmla="*/ 14497 w 90443"/>
                <a:gd name="connsiteY3" fmla="*/ 0 h 266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0443" h="266846">
                  <a:moveTo>
                    <a:pt x="90443" y="212187"/>
                  </a:moveTo>
                  <a:cubicBezTo>
                    <a:pt x="81148" y="245609"/>
                    <a:pt x="67231" y="266798"/>
                    <a:pt x="51723" y="266847"/>
                  </a:cubicBezTo>
                  <a:cubicBezTo>
                    <a:pt x="23406" y="266943"/>
                    <a:pt x="242" y="196776"/>
                    <a:pt x="1" y="110187"/>
                  </a:cubicBezTo>
                  <a:cubicBezTo>
                    <a:pt x="-95" y="67229"/>
                    <a:pt x="5443" y="28317"/>
                    <a:pt x="14497" y="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16" name="Forma livre: Forma 1815">
              <a:extLst>
                <a:ext uri="{FF2B5EF4-FFF2-40B4-BE49-F238E27FC236}">
                  <a16:creationId xmlns:a16="http://schemas.microsoft.com/office/drawing/2014/main" id="{CF6BAC5E-A2B3-2DB1-645D-5FB095F5EF96}"/>
                </a:ext>
              </a:extLst>
            </p:cNvPr>
            <p:cNvSpPr/>
            <p:nvPr/>
          </p:nvSpPr>
          <p:spPr>
            <a:xfrm>
              <a:off x="3297569" y="5808918"/>
              <a:ext cx="40934" cy="40934"/>
            </a:xfrm>
            <a:custGeom>
              <a:avLst/>
              <a:gdLst>
                <a:gd name="connsiteX0" fmla="*/ 40935 w 40934"/>
                <a:gd name="connsiteY0" fmla="*/ 20467 h 40934"/>
                <a:gd name="connsiteX1" fmla="*/ 20467 w 40934"/>
                <a:gd name="connsiteY1" fmla="*/ 40935 h 40934"/>
                <a:gd name="connsiteX2" fmla="*/ 0 w 40934"/>
                <a:gd name="connsiteY2" fmla="*/ 20467 h 40934"/>
                <a:gd name="connsiteX3" fmla="*/ 20467 w 40934"/>
                <a:gd name="connsiteY3" fmla="*/ 0 h 40934"/>
                <a:gd name="connsiteX4" fmla="*/ 40935 w 40934"/>
                <a:gd name="connsiteY4" fmla="*/ 20467 h 40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0934" h="40934">
                  <a:moveTo>
                    <a:pt x="40935" y="20467"/>
                  </a:moveTo>
                  <a:cubicBezTo>
                    <a:pt x="40935" y="31785"/>
                    <a:pt x="31785" y="40935"/>
                    <a:pt x="20467" y="40935"/>
                  </a:cubicBezTo>
                  <a:cubicBezTo>
                    <a:pt x="9150" y="40935"/>
                    <a:pt x="0" y="31785"/>
                    <a:pt x="0" y="20467"/>
                  </a:cubicBezTo>
                  <a:cubicBezTo>
                    <a:pt x="0" y="9150"/>
                    <a:pt x="9150" y="0"/>
                    <a:pt x="20467" y="0"/>
                  </a:cubicBezTo>
                  <a:cubicBezTo>
                    <a:pt x="31785" y="0"/>
                    <a:pt x="40935" y="9150"/>
                    <a:pt x="40935" y="20467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17" name="Forma livre: Forma 1816">
              <a:extLst>
                <a:ext uri="{FF2B5EF4-FFF2-40B4-BE49-F238E27FC236}">
                  <a16:creationId xmlns:a16="http://schemas.microsoft.com/office/drawing/2014/main" id="{F315C890-F0AD-CFF4-FA66-A7F2B95260F1}"/>
                </a:ext>
              </a:extLst>
            </p:cNvPr>
            <p:cNvSpPr/>
            <p:nvPr/>
          </p:nvSpPr>
          <p:spPr>
            <a:xfrm>
              <a:off x="3195810" y="5983011"/>
              <a:ext cx="40934" cy="40934"/>
            </a:xfrm>
            <a:custGeom>
              <a:avLst/>
              <a:gdLst>
                <a:gd name="connsiteX0" fmla="*/ 40935 w 40934"/>
                <a:gd name="connsiteY0" fmla="*/ 20467 h 40934"/>
                <a:gd name="connsiteX1" fmla="*/ 20467 w 40934"/>
                <a:gd name="connsiteY1" fmla="*/ 40935 h 40934"/>
                <a:gd name="connsiteX2" fmla="*/ 0 w 40934"/>
                <a:gd name="connsiteY2" fmla="*/ 20467 h 40934"/>
                <a:gd name="connsiteX3" fmla="*/ 20467 w 40934"/>
                <a:gd name="connsiteY3" fmla="*/ 0 h 40934"/>
                <a:gd name="connsiteX4" fmla="*/ 40935 w 40934"/>
                <a:gd name="connsiteY4" fmla="*/ 20467 h 40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0934" h="40934">
                  <a:moveTo>
                    <a:pt x="40935" y="20467"/>
                  </a:moveTo>
                  <a:cubicBezTo>
                    <a:pt x="40935" y="31785"/>
                    <a:pt x="31785" y="40935"/>
                    <a:pt x="20467" y="40935"/>
                  </a:cubicBezTo>
                  <a:cubicBezTo>
                    <a:pt x="9150" y="40935"/>
                    <a:pt x="0" y="31785"/>
                    <a:pt x="0" y="20467"/>
                  </a:cubicBezTo>
                  <a:cubicBezTo>
                    <a:pt x="0" y="9150"/>
                    <a:pt x="9150" y="0"/>
                    <a:pt x="20467" y="0"/>
                  </a:cubicBezTo>
                  <a:cubicBezTo>
                    <a:pt x="31785" y="0"/>
                    <a:pt x="40935" y="9150"/>
                    <a:pt x="40935" y="20467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18" name="Forma livre: Forma 1817">
              <a:extLst>
                <a:ext uri="{FF2B5EF4-FFF2-40B4-BE49-F238E27FC236}">
                  <a16:creationId xmlns:a16="http://schemas.microsoft.com/office/drawing/2014/main" id="{CC8B7060-00B9-0917-966A-7548184EE3BD}"/>
                </a:ext>
              </a:extLst>
            </p:cNvPr>
            <p:cNvSpPr/>
            <p:nvPr/>
          </p:nvSpPr>
          <p:spPr>
            <a:xfrm>
              <a:off x="3452977" y="5979544"/>
              <a:ext cx="40934" cy="40934"/>
            </a:xfrm>
            <a:custGeom>
              <a:avLst/>
              <a:gdLst>
                <a:gd name="connsiteX0" fmla="*/ 40935 w 40934"/>
                <a:gd name="connsiteY0" fmla="*/ 20467 h 40934"/>
                <a:gd name="connsiteX1" fmla="*/ 20467 w 40934"/>
                <a:gd name="connsiteY1" fmla="*/ 40935 h 40934"/>
                <a:gd name="connsiteX2" fmla="*/ 0 w 40934"/>
                <a:gd name="connsiteY2" fmla="*/ 20467 h 40934"/>
                <a:gd name="connsiteX3" fmla="*/ 20467 w 40934"/>
                <a:gd name="connsiteY3" fmla="*/ 0 h 40934"/>
                <a:gd name="connsiteX4" fmla="*/ 40935 w 40934"/>
                <a:gd name="connsiteY4" fmla="*/ 20467 h 40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0934" h="40934">
                  <a:moveTo>
                    <a:pt x="40935" y="20467"/>
                  </a:moveTo>
                  <a:cubicBezTo>
                    <a:pt x="40935" y="31785"/>
                    <a:pt x="31785" y="40935"/>
                    <a:pt x="20467" y="40935"/>
                  </a:cubicBezTo>
                  <a:cubicBezTo>
                    <a:pt x="9150" y="40935"/>
                    <a:pt x="0" y="31785"/>
                    <a:pt x="0" y="20467"/>
                  </a:cubicBezTo>
                  <a:cubicBezTo>
                    <a:pt x="0" y="9150"/>
                    <a:pt x="9150" y="0"/>
                    <a:pt x="20467" y="0"/>
                  </a:cubicBezTo>
                  <a:cubicBezTo>
                    <a:pt x="31785" y="0"/>
                    <a:pt x="40935" y="9150"/>
                    <a:pt x="40935" y="20467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19" name="Forma livre: Forma 1818">
              <a:extLst>
                <a:ext uri="{FF2B5EF4-FFF2-40B4-BE49-F238E27FC236}">
                  <a16:creationId xmlns:a16="http://schemas.microsoft.com/office/drawing/2014/main" id="{252804D5-EF77-F8C1-D96D-DEBE82889729}"/>
                </a:ext>
              </a:extLst>
            </p:cNvPr>
            <p:cNvSpPr/>
            <p:nvPr/>
          </p:nvSpPr>
          <p:spPr>
            <a:xfrm>
              <a:off x="3336863" y="5948915"/>
              <a:ext cx="20264" cy="20274"/>
            </a:xfrm>
            <a:custGeom>
              <a:avLst/>
              <a:gdLst>
                <a:gd name="connsiteX0" fmla="*/ 10117 w 20264"/>
                <a:gd name="connsiteY0" fmla="*/ 20275 h 20274"/>
                <a:gd name="connsiteX1" fmla="*/ 5156 w 20264"/>
                <a:gd name="connsiteY1" fmla="*/ 18974 h 20274"/>
                <a:gd name="connsiteX2" fmla="*/ 1304 w 20264"/>
                <a:gd name="connsiteY2" fmla="*/ 5153 h 20274"/>
                <a:gd name="connsiteX3" fmla="*/ 10165 w 20264"/>
                <a:gd name="connsiteY3" fmla="*/ 0 h 20274"/>
                <a:gd name="connsiteX4" fmla="*/ 15125 w 20264"/>
                <a:gd name="connsiteY4" fmla="*/ 1300 h 20274"/>
                <a:gd name="connsiteX5" fmla="*/ 19893 w 20264"/>
                <a:gd name="connsiteY5" fmla="*/ 7416 h 20274"/>
                <a:gd name="connsiteX6" fmla="*/ 18930 w 20264"/>
                <a:gd name="connsiteY6" fmla="*/ 15122 h 20274"/>
                <a:gd name="connsiteX7" fmla="*/ 10068 w 20264"/>
                <a:gd name="connsiteY7" fmla="*/ 20275 h 202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0264" h="20274">
                  <a:moveTo>
                    <a:pt x="10117" y="20275"/>
                  </a:moveTo>
                  <a:cubicBezTo>
                    <a:pt x="8383" y="20275"/>
                    <a:pt x="6649" y="19841"/>
                    <a:pt x="5156" y="18974"/>
                  </a:cubicBezTo>
                  <a:cubicBezTo>
                    <a:pt x="292" y="16229"/>
                    <a:pt x="-1441" y="10017"/>
                    <a:pt x="1304" y="5153"/>
                  </a:cubicBezTo>
                  <a:cubicBezTo>
                    <a:pt x="3085" y="1975"/>
                    <a:pt x="6505" y="0"/>
                    <a:pt x="10165" y="0"/>
                  </a:cubicBezTo>
                  <a:cubicBezTo>
                    <a:pt x="11898" y="0"/>
                    <a:pt x="13632" y="433"/>
                    <a:pt x="15125" y="1300"/>
                  </a:cubicBezTo>
                  <a:cubicBezTo>
                    <a:pt x="17485" y="2649"/>
                    <a:pt x="19170" y="4816"/>
                    <a:pt x="19893" y="7416"/>
                  </a:cubicBezTo>
                  <a:cubicBezTo>
                    <a:pt x="20615" y="10017"/>
                    <a:pt x="20278" y="12762"/>
                    <a:pt x="18930" y="15122"/>
                  </a:cubicBezTo>
                  <a:cubicBezTo>
                    <a:pt x="17148" y="18300"/>
                    <a:pt x="13729" y="20275"/>
                    <a:pt x="10068" y="20275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820" name="Gráfico 18">
            <a:extLst>
              <a:ext uri="{FF2B5EF4-FFF2-40B4-BE49-F238E27FC236}">
                <a16:creationId xmlns:a16="http://schemas.microsoft.com/office/drawing/2014/main" id="{E0F2D16F-11FB-AE66-761C-8A8BDEAFFE12}"/>
              </a:ext>
            </a:extLst>
          </p:cNvPr>
          <p:cNvGrpSpPr/>
          <p:nvPr/>
        </p:nvGrpSpPr>
        <p:grpSpPr>
          <a:xfrm>
            <a:off x="2569239" y="3676981"/>
            <a:ext cx="296981" cy="228412"/>
            <a:chOff x="2569239" y="3676981"/>
            <a:chExt cx="296981" cy="228412"/>
          </a:xfrm>
          <a:noFill/>
        </p:grpSpPr>
        <p:sp>
          <p:nvSpPr>
            <p:cNvPr id="1821" name="Forma livre: Forma 1820">
              <a:extLst>
                <a:ext uri="{FF2B5EF4-FFF2-40B4-BE49-F238E27FC236}">
                  <a16:creationId xmlns:a16="http://schemas.microsoft.com/office/drawing/2014/main" id="{507CC849-5558-B3B7-83BF-9CEE86AA8B19}"/>
                </a:ext>
              </a:extLst>
            </p:cNvPr>
            <p:cNvSpPr/>
            <p:nvPr/>
          </p:nvSpPr>
          <p:spPr>
            <a:xfrm>
              <a:off x="2569239" y="3758664"/>
              <a:ext cx="101497" cy="146729"/>
            </a:xfrm>
            <a:custGeom>
              <a:avLst/>
              <a:gdLst>
                <a:gd name="connsiteX0" fmla="*/ 101498 w 101497"/>
                <a:gd name="connsiteY0" fmla="*/ 0 h 146729"/>
                <a:gd name="connsiteX1" fmla="*/ 35039 w 101497"/>
                <a:gd name="connsiteY1" fmla="*/ 37371 h 146729"/>
                <a:gd name="connsiteX2" fmla="*/ 87580 w 101497"/>
                <a:gd name="connsiteY2" fmla="*/ 129306 h 146729"/>
                <a:gd name="connsiteX3" fmla="*/ 4555 w 101497"/>
                <a:gd name="connsiteY3" fmla="*/ 119000 h 146729"/>
                <a:gd name="connsiteX4" fmla="*/ 22711 w 101497"/>
                <a:gd name="connsiteY4" fmla="*/ 77391 h 146729"/>
                <a:gd name="connsiteX5" fmla="*/ 48957 w 101497"/>
                <a:gd name="connsiteY5" fmla="*/ 109657 h 146729"/>
                <a:gd name="connsiteX6" fmla="*/ 63212 w 101497"/>
                <a:gd name="connsiteY6" fmla="*/ 100700 h 1467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1497" h="146729">
                  <a:moveTo>
                    <a:pt x="101498" y="0"/>
                  </a:moveTo>
                  <a:lnTo>
                    <a:pt x="35039" y="37371"/>
                  </a:lnTo>
                  <a:cubicBezTo>
                    <a:pt x="35039" y="37371"/>
                    <a:pt x="108337" y="87793"/>
                    <a:pt x="87580" y="129306"/>
                  </a:cubicBezTo>
                  <a:cubicBezTo>
                    <a:pt x="87580" y="129306"/>
                    <a:pt x="43756" y="174671"/>
                    <a:pt x="4555" y="119000"/>
                  </a:cubicBezTo>
                  <a:cubicBezTo>
                    <a:pt x="-7340" y="102096"/>
                    <a:pt x="5951" y="74260"/>
                    <a:pt x="22711" y="77391"/>
                  </a:cubicBezTo>
                  <a:cubicBezTo>
                    <a:pt x="38458" y="80377"/>
                    <a:pt x="46453" y="92561"/>
                    <a:pt x="48957" y="109657"/>
                  </a:cubicBezTo>
                  <a:lnTo>
                    <a:pt x="63212" y="100700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22" name="Forma livre: Forma 1821">
              <a:extLst>
                <a:ext uri="{FF2B5EF4-FFF2-40B4-BE49-F238E27FC236}">
                  <a16:creationId xmlns:a16="http://schemas.microsoft.com/office/drawing/2014/main" id="{5E79A9C7-B559-ADCA-E845-6EE0693945B9}"/>
                </a:ext>
              </a:extLst>
            </p:cNvPr>
            <p:cNvSpPr/>
            <p:nvPr/>
          </p:nvSpPr>
          <p:spPr>
            <a:xfrm>
              <a:off x="2657156" y="3676981"/>
              <a:ext cx="209063" cy="210603"/>
            </a:xfrm>
            <a:custGeom>
              <a:avLst/>
              <a:gdLst>
                <a:gd name="connsiteX0" fmla="*/ 86493 w 209063"/>
                <a:gd name="connsiteY0" fmla="*/ 151369 h 210603"/>
                <a:gd name="connsiteX1" fmla="*/ 93765 w 209063"/>
                <a:gd name="connsiteY1" fmla="*/ 111830 h 210603"/>
                <a:gd name="connsiteX2" fmla="*/ 34819 w 209063"/>
                <a:gd name="connsiteY2" fmla="*/ 68873 h 210603"/>
                <a:gd name="connsiteX3" fmla="*/ 135229 w 209063"/>
                <a:gd name="connsiteY3" fmla="*/ 11083 h 210603"/>
                <a:gd name="connsiteX4" fmla="*/ 156901 w 209063"/>
                <a:gd name="connsiteY4" fmla="*/ 6 h 210603"/>
                <a:gd name="connsiteX5" fmla="*/ 207612 w 209063"/>
                <a:gd name="connsiteY5" fmla="*/ 37811 h 210603"/>
                <a:gd name="connsiteX6" fmla="*/ 201158 w 209063"/>
                <a:gd name="connsiteY6" fmla="*/ 72870 h 210603"/>
                <a:gd name="connsiteX7" fmla="*/ 0 w 209063"/>
                <a:gd name="connsiteY7" fmla="*/ 210604 h 2106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09063" h="210603">
                  <a:moveTo>
                    <a:pt x="86493" y="151369"/>
                  </a:moveTo>
                  <a:cubicBezTo>
                    <a:pt x="99062" y="136391"/>
                    <a:pt x="93765" y="111830"/>
                    <a:pt x="93765" y="111830"/>
                  </a:cubicBezTo>
                  <a:cubicBezTo>
                    <a:pt x="87793" y="67621"/>
                    <a:pt x="34819" y="68873"/>
                    <a:pt x="34819" y="68873"/>
                  </a:cubicBezTo>
                  <a:lnTo>
                    <a:pt x="135229" y="11083"/>
                  </a:lnTo>
                  <a:cubicBezTo>
                    <a:pt x="144909" y="4870"/>
                    <a:pt x="156901" y="6"/>
                    <a:pt x="156901" y="6"/>
                  </a:cubicBezTo>
                  <a:cubicBezTo>
                    <a:pt x="156901" y="6"/>
                    <a:pt x="202314" y="-1390"/>
                    <a:pt x="207612" y="37811"/>
                  </a:cubicBezTo>
                  <a:cubicBezTo>
                    <a:pt x="207612" y="37811"/>
                    <a:pt x="213631" y="60397"/>
                    <a:pt x="201158" y="72870"/>
                  </a:cubicBezTo>
                  <a:lnTo>
                    <a:pt x="0" y="210604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23" name="Forma livre: Forma 1822">
              <a:extLst>
                <a:ext uri="{FF2B5EF4-FFF2-40B4-BE49-F238E27FC236}">
                  <a16:creationId xmlns:a16="http://schemas.microsoft.com/office/drawing/2014/main" id="{F475DA64-7FBB-79B6-83DE-31A61CE1BA17}"/>
                </a:ext>
              </a:extLst>
            </p:cNvPr>
            <p:cNvSpPr/>
            <p:nvPr/>
          </p:nvSpPr>
          <p:spPr>
            <a:xfrm>
              <a:off x="2727179" y="3726004"/>
              <a:ext cx="57033" cy="80144"/>
            </a:xfrm>
            <a:custGeom>
              <a:avLst/>
              <a:gdLst>
                <a:gd name="connsiteX0" fmla="*/ 49507 w 57033"/>
                <a:gd name="connsiteY0" fmla="*/ 80145 h 80144"/>
                <a:gd name="connsiteX1" fmla="*/ 55671 w 57033"/>
                <a:gd name="connsiteY1" fmla="*/ 41810 h 80144"/>
                <a:gd name="connsiteX2" fmla="*/ 0 w 57033"/>
                <a:gd name="connsiteY2" fmla="*/ 9 h 801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57033" h="80144">
                  <a:moveTo>
                    <a:pt x="49507" y="80145"/>
                  </a:moveTo>
                  <a:cubicBezTo>
                    <a:pt x="61354" y="64493"/>
                    <a:pt x="55671" y="41810"/>
                    <a:pt x="55671" y="41810"/>
                  </a:cubicBezTo>
                  <a:cubicBezTo>
                    <a:pt x="48736" y="-1677"/>
                    <a:pt x="0" y="9"/>
                    <a:pt x="0" y="9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24" name="Forma livre: Forma 1823">
              <a:extLst>
                <a:ext uri="{FF2B5EF4-FFF2-40B4-BE49-F238E27FC236}">
                  <a16:creationId xmlns:a16="http://schemas.microsoft.com/office/drawing/2014/main" id="{716231DA-A082-B967-AC4F-82E011D49338}"/>
                </a:ext>
              </a:extLst>
            </p:cNvPr>
            <p:cNvSpPr/>
            <p:nvPr/>
          </p:nvSpPr>
          <p:spPr>
            <a:xfrm>
              <a:off x="2738755" y="3816695"/>
              <a:ext cx="43966" cy="78287"/>
            </a:xfrm>
            <a:custGeom>
              <a:avLst/>
              <a:gdLst>
                <a:gd name="connsiteX0" fmla="*/ 24928 w 43966"/>
                <a:gd name="connsiteY0" fmla="*/ 0 h 78287"/>
                <a:gd name="connsiteX1" fmla="*/ 30 w 43966"/>
                <a:gd name="connsiteY1" fmla="*/ 55142 h 78287"/>
                <a:gd name="connsiteX2" fmla="*/ 20834 w 43966"/>
                <a:gd name="connsiteY2" fmla="*/ 78258 h 78287"/>
                <a:gd name="connsiteX3" fmla="*/ 43950 w 43966"/>
                <a:gd name="connsiteY3" fmla="*/ 57453 h 78287"/>
                <a:gd name="connsiteX4" fmla="*/ 41783 w 43966"/>
                <a:gd name="connsiteY4" fmla="*/ 45221 h 782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3966" h="78287">
                  <a:moveTo>
                    <a:pt x="24928" y="0"/>
                  </a:moveTo>
                  <a:cubicBezTo>
                    <a:pt x="24928" y="0"/>
                    <a:pt x="656" y="43006"/>
                    <a:pt x="30" y="55142"/>
                  </a:cubicBezTo>
                  <a:cubicBezTo>
                    <a:pt x="-596" y="67277"/>
                    <a:pt x="8698" y="77632"/>
                    <a:pt x="20834" y="78258"/>
                  </a:cubicBezTo>
                  <a:cubicBezTo>
                    <a:pt x="32970" y="78884"/>
                    <a:pt x="43324" y="69541"/>
                    <a:pt x="43950" y="57453"/>
                  </a:cubicBezTo>
                  <a:cubicBezTo>
                    <a:pt x="44095" y="54756"/>
                    <a:pt x="43228" y="50374"/>
                    <a:pt x="41783" y="45221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25" name="Forma livre: Forma 1824">
              <a:extLst>
                <a:ext uri="{FF2B5EF4-FFF2-40B4-BE49-F238E27FC236}">
                  <a16:creationId xmlns:a16="http://schemas.microsoft.com/office/drawing/2014/main" id="{F34105DF-1BCB-04FB-8492-C6AE9B571706}"/>
                </a:ext>
              </a:extLst>
            </p:cNvPr>
            <p:cNvSpPr/>
            <p:nvPr/>
          </p:nvSpPr>
          <p:spPr>
            <a:xfrm>
              <a:off x="2763972" y="3812147"/>
              <a:ext cx="75566" cy="44043"/>
            </a:xfrm>
            <a:custGeom>
              <a:avLst/>
              <a:gdLst>
                <a:gd name="connsiteX0" fmla="*/ 46618 w 75566"/>
                <a:gd name="connsiteY0" fmla="*/ 42882 h 44043"/>
                <a:gd name="connsiteX1" fmla="*/ 0 w 75566"/>
                <a:gd name="connsiteY1" fmla="*/ 4356 h 44043"/>
                <a:gd name="connsiteX2" fmla="*/ 60439 w 75566"/>
                <a:gd name="connsiteY2" fmla="*/ 1129 h 44043"/>
                <a:gd name="connsiteX3" fmla="*/ 74453 w 75566"/>
                <a:gd name="connsiteY3" fmla="*/ 28916 h 44043"/>
                <a:gd name="connsiteX4" fmla="*/ 46666 w 75566"/>
                <a:gd name="connsiteY4" fmla="*/ 42931 h 440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5566" h="44043">
                  <a:moveTo>
                    <a:pt x="46618" y="42882"/>
                  </a:moveTo>
                  <a:cubicBezTo>
                    <a:pt x="35059" y="39078"/>
                    <a:pt x="0" y="4356"/>
                    <a:pt x="0" y="4356"/>
                  </a:cubicBezTo>
                  <a:cubicBezTo>
                    <a:pt x="0" y="4356"/>
                    <a:pt x="48881" y="-2676"/>
                    <a:pt x="60439" y="1129"/>
                  </a:cubicBezTo>
                  <a:cubicBezTo>
                    <a:pt x="71997" y="4933"/>
                    <a:pt x="78258" y="17358"/>
                    <a:pt x="74453" y="28916"/>
                  </a:cubicBezTo>
                  <a:cubicBezTo>
                    <a:pt x="70649" y="40474"/>
                    <a:pt x="58224" y="46735"/>
                    <a:pt x="46666" y="42931"/>
                  </a:cubicBez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26" name="Forma livre: Forma 1825">
              <a:extLst>
                <a:ext uri="{FF2B5EF4-FFF2-40B4-BE49-F238E27FC236}">
                  <a16:creationId xmlns:a16="http://schemas.microsoft.com/office/drawing/2014/main" id="{91739949-B653-9B87-2AF7-FD0104269C97}"/>
                </a:ext>
              </a:extLst>
            </p:cNvPr>
            <p:cNvSpPr/>
            <p:nvPr/>
          </p:nvSpPr>
          <p:spPr>
            <a:xfrm>
              <a:off x="2581066" y="3813517"/>
              <a:ext cx="42620" cy="24849"/>
            </a:xfrm>
            <a:custGeom>
              <a:avLst/>
              <a:gdLst>
                <a:gd name="connsiteX0" fmla="*/ 0 w 42620"/>
                <a:gd name="connsiteY0" fmla="*/ 24850 h 24849"/>
                <a:gd name="connsiteX1" fmla="*/ 42620 w 42620"/>
                <a:gd name="connsiteY1" fmla="*/ 0 h 248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2620" h="24849">
                  <a:moveTo>
                    <a:pt x="0" y="24850"/>
                  </a:moveTo>
                  <a:lnTo>
                    <a:pt x="4262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827" name="Gráfico 18">
            <a:extLst>
              <a:ext uri="{FF2B5EF4-FFF2-40B4-BE49-F238E27FC236}">
                <a16:creationId xmlns:a16="http://schemas.microsoft.com/office/drawing/2014/main" id="{0B45AE64-53C8-6255-2411-5A1BB847892E}"/>
              </a:ext>
            </a:extLst>
          </p:cNvPr>
          <p:cNvGrpSpPr/>
          <p:nvPr/>
        </p:nvGrpSpPr>
        <p:grpSpPr>
          <a:xfrm>
            <a:off x="2587375" y="4182893"/>
            <a:ext cx="260778" cy="300509"/>
            <a:chOff x="2587375" y="4182893"/>
            <a:chExt cx="260778" cy="300509"/>
          </a:xfrm>
          <a:noFill/>
        </p:grpSpPr>
        <p:sp>
          <p:nvSpPr>
            <p:cNvPr id="1828" name="Forma livre: Forma 1827">
              <a:extLst>
                <a:ext uri="{FF2B5EF4-FFF2-40B4-BE49-F238E27FC236}">
                  <a16:creationId xmlns:a16="http://schemas.microsoft.com/office/drawing/2014/main" id="{2095C76D-F0C2-5228-4177-E0AF615AC702}"/>
                </a:ext>
              </a:extLst>
            </p:cNvPr>
            <p:cNvSpPr/>
            <p:nvPr/>
          </p:nvSpPr>
          <p:spPr>
            <a:xfrm>
              <a:off x="2620941" y="4182893"/>
              <a:ext cx="193693" cy="89093"/>
            </a:xfrm>
            <a:custGeom>
              <a:avLst/>
              <a:gdLst>
                <a:gd name="connsiteX0" fmla="*/ 193694 w 193693"/>
                <a:gd name="connsiteY0" fmla="*/ 89093 h 89093"/>
                <a:gd name="connsiteX1" fmla="*/ 193694 w 193693"/>
                <a:gd name="connsiteY1" fmla="*/ 27643 h 89093"/>
                <a:gd name="connsiteX2" fmla="*/ 96847 w 193693"/>
                <a:gd name="connsiteY2" fmla="*/ 0 h 89093"/>
                <a:gd name="connsiteX3" fmla="*/ 0 w 193693"/>
                <a:gd name="connsiteY3" fmla="*/ 27836 h 89093"/>
                <a:gd name="connsiteX4" fmla="*/ 96847 w 193693"/>
                <a:gd name="connsiteY4" fmla="*/ 59572 h 89093"/>
                <a:gd name="connsiteX5" fmla="*/ 190275 w 193693"/>
                <a:gd name="connsiteY5" fmla="*/ 29088 h 890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93693" h="89093">
                  <a:moveTo>
                    <a:pt x="193694" y="89093"/>
                  </a:moveTo>
                  <a:lnTo>
                    <a:pt x="193694" y="27643"/>
                  </a:lnTo>
                  <a:lnTo>
                    <a:pt x="96847" y="0"/>
                  </a:lnTo>
                  <a:lnTo>
                    <a:pt x="0" y="27836"/>
                  </a:lnTo>
                  <a:lnTo>
                    <a:pt x="96847" y="59572"/>
                  </a:lnTo>
                  <a:lnTo>
                    <a:pt x="190275" y="29088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29" name="Forma livre: Forma 1828">
              <a:extLst>
                <a:ext uri="{FF2B5EF4-FFF2-40B4-BE49-F238E27FC236}">
                  <a16:creationId xmlns:a16="http://schemas.microsoft.com/office/drawing/2014/main" id="{C229F1D4-4CD3-9FCF-565B-CDEEDD5E9F1A}"/>
                </a:ext>
              </a:extLst>
            </p:cNvPr>
            <p:cNvSpPr/>
            <p:nvPr/>
          </p:nvSpPr>
          <p:spPr>
            <a:xfrm>
              <a:off x="2657156" y="4223105"/>
              <a:ext cx="121215" cy="53022"/>
            </a:xfrm>
            <a:custGeom>
              <a:avLst/>
              <a:gdLst>
                <a:gd name="connsiteX0" fmla="*/ 0 w 121215"/>
                <a:gd name="connsiteY0" fmla="*/ 21238 h 53022"/>
                <a:gd name="connsiteX1" fmla="*/ 0 w 121215"/>
                <a:gd name="connsiteY1" fmla="*/ 32748 h 53022"/>
                <a:gd name="connsiteX2" fmla="*/ 60632 w 121215"/>
                <a:gd name="connsiteY2" fmla="*/ 53023 h 53022"/>
                <a:gd name="connsiteX3" fmla="*/ 121215 w 121215"/>
                <a:gd name="connsiteY3" fmla="*/ 32748 h 53022"/>
                <a:gd name="connsiteX4" fmla="*/ 121215 w 121215"/>
                <a:gd name="connsiteY4" fmla="*/ 0 h 53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1215" h="53022">
                  <a:moveTo>
                    <a:pt x="0" y="21238"/>
                  </a:moveTo>
                  <a:lnTo>
                    <a:pt x="0" y="32748"/>
                  </a:lnTo>
                  <a:cubicBezTo>
                    <a:pt x="14062" y="45125"/>
                    <a:pt x="36215" y="53023"/>
                    <a:pt x="60632" y="53023"/>
                  </a:cubicBezTo>
                  <a:cubicBezTo>
                    <a:pt x="85048" y="53023"/>
                    <a:pt x="107201" y="45076"/>
                    <a:pt x="121215" y="32748"/>
                  </a:cubicBezTo>
                  <a:lnTo>
                    <a:pt x="121215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30" name="Forma livre: Forma 1829">
              <a:extLst>
                <a:ext uri="{FF2B5EF4-FFF2-40B4-BE49-F238E27FC236}">
                  <a16:creationId xmlns:a16="http://schemas.microsoft.com/office/drawing/2014/main" id="{A0372CE5-9877-ECD1-9FE0-96384C989492}"/>
                </a:ext>
              </a:extLst>
            </p:cNvPr>
            <p:cNvSpPr/>
            <p:nvPr/>
          </p:nvSpPr>
          <p:spPr>
            <a:xfrm>
              <a:off x="2665247" y="4262306"/>
              <a:ext cx="105124" cy="93475"/>
            </a:xfrm>
            <a:custGeom>
              <a:avLst/>
              <a:gdLst>
                <a:gd name="connsiteX0" fmla="*/ 0 w 105124"/>
                <a:gd name="connsiteY0" fmla="*/ 22827 h 93475"/>
                <a:gd name="connsiteX1" fmla="*/ 52011 w 105124"/>
                <a:gd name="connsiteY1" fmla="*/ 93476 h 93475"/>
                <a:gd name="connsiteX2" fmla="*/ 104023 w 105124"/>
                <a:gd name="connsiteY2" fmla="*/ 22827 h 93475"/>
                <a:gd name="connsiteX3" fmla="*/ 105082 w 105124"/>
                <a:gd name="connsiteY3" fmla="*/ 0 h 93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5124" h="93475">
                  <a:moveTo>
                    <a:pt x="0" y="22827"/>
                  </a:moveTo>
                  <a:cubicBezTo>
                    <a:pt x="3708" y="61691"/>
                    <a:pt x="25380" y="93476"/>
                    <a:pt x="52011" y="93476"/>
                  </a:cubicBezTo>
                  <a:cubicBezTo>
                    <a:pt x="78643" y="93476"/>
                    <a:pt x="100314" y="61691"/>
                    <a:pt x="104023" y="22827"/>
                  </a:cubicBezTo>
                  <a:cubicBezTo>
                    <a:pt x="104793" y="14833"/>
                    <a:pt x="105275" y="7176"/>
                    <a:pt x="105082" y="0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31" name="Forma livre: Forma 1830">
              <a:extLst>
                <a:ext uri="{FF2B5EF4-FFF2-40B4-BE49-F238E27FC236}">
                  <a16:creationId xmlns:a16="http://schemas.microsoft.com/office/drawing/2014/main" id="{A9A4C966-0A7E-916E-5BA9-F65B25FAB0FD}"/>
                </a:ext>
              </a:extLst>
            </p:cNvPr>
            <p:cNvSpPr/>
            <p:nvPr/>
          </p:nvSpPr>
          <p:spPr>
            <a:xfrm>
              <a:off x="2587375" y="4367581"/>
              <a:ext cx="260778" cy="115821"/>
            </a:xfrm>
            <a:custGeom>
              <a:avLst/>
              <a:gdLst>
                <a:gd name="connsiteX0" fmla="*/ 260779 w 260778"/>
                <a:gd name="connsiteY0" fmla="*/ 115821 h 115821"/>
                <a:gd name="connsiteX1" fmla="*/ 255915 w 260778"/>
                <a:gd name="connsiteY1" fmla="*/ 50759 h 115821"/>
                <a:gd name="connsiteX2" fmla="*/ 229524 w 260778"/>
                <a:gd name="connsiteY2" fmla="*/ 10836 h 115821"/>
                <a:gd name="connsiteX3" fmla="*/ 181028 w 260778"/>
                <a:gd name="connsiteY3" fmla="*/ 0 h 115821"/>
                <a:gd name="connsiteX4" fmla="*/ 130413 w 260778"/>
                <a:gd name="connsiteY4" fmla="*/ 67518 h 115821"/>
                <a:gd name="connsiteX5" fmla="*/ 79799 w 260778"/>
                <a:gd name="connsiteY5" fmla="*/ 0 h 115821"/>
                <a:gd name="connsiteX6" fmla="*/ 31303 w 260778"/>
                <a:gd name="connsiteY6" fmla="*/ 10836 h 115821"/>
                <a:gd name="connsiteX7" fmla="*/ 4864 w 260778"/>
                <a:gd name="connsiteY7" fmla="*/ 50759 h 115821"/>
                <a:gd name="connsiteX8" fmla="*/ 0 w 260778"/>
                <a:gd name="connsiteY8" fmla="*/ 115821 h 1158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60778" h="115821">
                  <a:moveTo>
                    <a:pt x="260779" y="115821"/>
                  </a:moveTo>
                  <a:lnTo>
                    <a:pt x="255915" y="50759"/>
                  </a:lnTo>
                  <a:cubicBezTo>
                    <a:pt x="251099" y="14833"/>
                    <a:pt x="229524" y="10836"/>
                    <a:pt x="229524" y="10836"/>
                  </a:cubicBezTo>
                  <a:cubicBezTo>
                    <a:pt x="229524" y="10836"/>
                    <a:pt x="206022" y="4190"/>
                    <a:pt x="181028" y="0"/>
                  </a:cubicBezTo>
                  <a:lnTo>
                    <a:pt x="130413" y="67518"/>
                  </a:lnTo>
                  <a:lnTo>
                    <a:pt x="79799" y="0"/>
                  </a:lnTo>
                  <a:cubicBezTo>
                    <a:pt x="54853" y="4190"/>
                    <a:pt x="31303" y="10836"/>
                    <a:pt x="31303" y="10836"/>
                  </a:cubicBezTo>
                  <a:cubicBezTo>
                    <a:pt x="31303" y="10836"/>
                    <a:pt x="9728" y="14833"/>
                    <a:pt x="4864" y="50759"/>
                  </a:cubicBezTo>
                  <a:lnTo>
                    <a:pt x="0" y="115821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32" name="Forma livre: Forma 1831">
              <a:extLst>
                <a:ext uri="{FF2B5EF4-FFF2-40B4-BE49-F238E27FC236}">
                  <a16:creationId xmlns:a16="http://schemas.microsoft.com/office/drawing/2014/main" id="{693A85F9-C248-D99D-CDC0-BCC543C3123E}"/>
                </a:ext>
              </a:extLst>
            </p:cNvPr>
            <p:cNvSpPr/>
            <p:nvPr/>
          </p:nvSpPr>
          <p:spPr>
            <a:xfrm>
              <a:off x="2769077" y="4421759"/>
              <a:ext cx="34914" cy="4815"/>
            </a:xfrm>
            <a:custGeom>
              <a:avLst/>
              <a:gdLst>
                <a:gd name="connsiteX0" fmla="*/ 0 w 34914"/>
                <a:gd name="connsiteY0" fmla="*/ 0 h 4815"/>
                <a:gd name="connsiteX1" fmla="*/ 34915 w 34914"/>
                <a:gd name="connsiteY1" fmla="*/ 0 h 48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4914" h="4815">
                  <a:moveTo>
                    <a:pt x="0" y="0"/>
                  </a:moveTo>
                  <a:lnTo>
                    <a:pt x="34915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833" name="Gráfico 18">
            <a:extLst>
              <a:ext uri="{FF2B5EF4-FFF2-40B4-BE49-F238E27FC236}">
                <a16:creationId xmlns:a16="http://schemas.microsoft.com/office/drawing/2014/main" id="{20783696-0E95-ABCF-0026-9FFB7316311C}"/>
              </a:ext>
            </a:extLst>
          </p:cNvPr>
          <p:cNvGrpSpPr/>
          <p:nvPr/>
        </p:nvGrpSpPr>
        <p:grpSpPr>
          <a:xfrm>
            <a:off x="2549040" y="5278452"/>
            <a:ext cx="337447" cy="277248"/>
            <a:chOff x="2549040" y="5278452"/>
            <a:chExt cx="337447" cy="277248"/>
          </a:xfrm>
        </p:grpSpPr>
        <p:grpSp>
          <p:nvGrpSpPr>
            <p:cNvPr id="1834" name="Gráfico 18">
              <a:extLst>
                <a:ext uri="{FF2B5EF4-FFF2-40B4-BE49-F238E27FC236}">
                  <a16:creationId xmlns:a16="http://schemas.microsoft.com/office/drawing/2014/main" id="{78F30AA5-BE77-A852-6950-5D932DF587D6}"/>
                </a:ext>
              </a:extLst>
            </p:cNvPr>
            <p:cNvGrpSpPr/>
            <p:nvPr/>
          </p:nvGrpSpPr>
          <p:grpSpPr>
            <a:xfrm>
              <a:off x="2606349" y="5419364"/>
              <a:ext cx="83362" cy="7512"/>
              <a:chOff x="2606349" y="5419364"/>
              <a:chExt cx="83362" cy="7512"/>
            </a:xfrm>
            <a:solidFill>
              <a:srgbClr val="3A4553"/>
            </a:solidFill>
          </p:grpSpPr>
          <p:sp>
            <p:nvSpPr>
              <p:cNvPr id="1835" name="Forma livre: Forma 1834">
                <a:extLst>
                  <a:ext uri="{FF2B5EF4-FFF2-40B4-BE49-F238E27FC236}">
                    <a16:creationId xmlns:a16="http://schemas.microsoft.com/office/drawing/2014/main" id="{A3BC2F47-386C-7077-92C4-017E295EA144}"/>
                  </a:ext>
                </a:extLst>
              </p:cNvPr>
              <p:cNvSpPr/>
              <p:nvPr/>
            </p:nvSpPr>
            <p:spPr>
              <a:xfrm>
                <a:off x="2606349" y="5419364"/>
                <a:ext cx="7512" cy="7512"/>
              </a:xfrm>
              <a:custGeom>
                <a:avLst/>
                <a:gdLst>
                  <a:gd name="connsiteX0" fmla="*/ 7513 w 7512"/>
                  <a:gd name="connsiteY0" fmla="*/ 3756 h 7512"/>
                  <a:gd name="connsiteX1" fmla="*/ 3756 w 7512"/>
                  <a:gd name="connsiteY1" fmla="*/ 7513 h 7512"/>
                  <a:gd name="connsiteX2" fmla="*/ 0 w 7512"/>
                  <a:gd name="connsiteY2" fmla="*/ 3756 h 7512"/>
                  <a:gd name="connsiteX3" fmla="*/ 3756 w 7512"/>
                  <a:gd name="connsiteY3" fmla="*/ 0 h 7512"/>
                  <a:gd name="connsiteX4" fmla="*/ 7513 w 7512"/>
                  <a:gd name="connsiteY4" fmla="*/ 3756 h 75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512" h="7512">
                    <a:moveTo>
                      <a:pt x="7513" y="3756"/>
                    </a:moveTo>
                    <a:cubicBezTo>
                      <a:pt x="7513" y="5827"/>
                      <a:pt x="5827" y="7513"/>
                      <a:pt x="3756" y="7513"/>
                    </a:cubicBezTo>
                    <a:cubicBezTo>
                      <a:pt x="1686" y="7513"/>
                      <a:pt x="0" y="5827"/>
                      <a:pt x="0" y="3756"/>
                    </a:cubicBezTo>
                    <a:cubicBezTo>
                      <a:pt x="0" y="1685"/>
                      <a:pt x="1686" y="0"/>
                      <a:pt x="3756" y="0"/>
                    </a:cubicBezTo>
                    <a:cubicBezTo>
                      <a:pt x="5827" y="0"/>
                      <a:pt x="7513" y="1685"/>
                      <a:pt x="7513" y="3756"/>
                    </a:cubicBezTo>
                    <a:close/>
                  </a:path>
                </a:pathLst>
              </a:custGeom>
              <a:solidFill>
                <a:srgbClr val="3A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836" name="Forma livre: Forma 1835">
                <a:extLst>
                  <a:ext uri="{FF2B5EF4-FFF2-40B4-BE49-F238E27FC236}">
                    <a16:creationId xmlns:a16="http://schemas.microsoft.com/office/drawing/2014/main" id="{C623534C-2756-A2CD-DDBF-3120B48B2E8F}"/>
                  </a:ext>
                </a:extLst>
              </p:cNvPr>
              <p:cNvSpPr/>
              <p:nvPr/>
            </p:nvSpPr>
            <p:spPr>
              <a:xfrm>
                <a:off x="2644250" y="5419364"/>
                <a:ext cx="7512" cy="7512"/>
              </a:xfrm>
              <a:custGeom>
                <a:avLst/>
                <a:gdLst>
                  <a:gd name="connsiteX0" fmla="*/ 7513 w 7512"/>
                  <a:gd name="connsiteY0" fmla="*/ 3756 h 7512"/>
                  <a:gd name="connsiteX1" fmla="*/ 3756 w 7512"/>
                  <a:gd name="connsiteY1" fmla="*/ 7513 h 7512"/>
                  <a:gd name="connsiteX2" fmla="*/ 0 w 7512"/>
                  <a:gd name="connsiteY2" fmla="*/ 3756 h 7512"/>
                  <a:gd name="connsiteX3" fmla="*/ 3756 w 7512"/>
                  <a:gd name="connsiteY3" fmla="*/ 0 h 7512"/>
                  <a:gd name="connsiteX4" fmla="*/ 7513 w 7512"/>
                  <a:gd name="connsiteY4" fmla="*/ 3756 h 75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512" h="7512">
                    <a:moveTo>
                      <a:pt x="7513" y="3756"/>
                    </a:moveTo>
                    <a:cubicBezTo>
                      <a:pt x="7513" y="5831"/>
                      <a:pt x="5831" y="7513"/>
                      <a:pt x="3756" y="7513"/>
                    </a:cubicBezTo>
                    <a:cubicBezTo>
                      <a:pt x="1682" y="7513"/>
                      <a:pt x="0" y="5831"/>
                      <a:pt x="0" y="3756"/>
                    </a:cubicBezTo>
                    <a:cubicBezTo>
                      <a:pt x="0" y="1682"/>
                      <a:pt x="1682" y="0"/>
                      <a:pt x="3756" y="0"/>
                    </a:cubicBezTo>
                    <a:cubicBezTo>
                      <a:pt x="5831" y="0"/>
                      <a:pt x="7513" y="1682"/>
                      <a:pt x="7513" y="3756"/>
                    </a:cubicBezTo>
                    <a:close/>
                  </a:path>
                </a:pathLst>
              </a:custGeom>
              <a:solidFill>
                <a:srgbClr val="3A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837" name="Forma livre: Forma 1836">
                <a:extLst>
                  <a:ext uri="{FF2B5EF4-FFF2-40B4-BE49-F238E27FC236}">
                    <a16:creationId xmlns:a16="http://schemas.microsoft.com/office/drawing/2014/main" id="{93FC09BB-ACC7-9287-C089-55AFF2D61821}"/>
                  </a:ext>
                </a:extLst>
              </p:cNvPr>
              <p:cNvSpPr/>
              <p:nvPr/>
            </p:nvSpPr>
            <p:spPr>
              <a:xfrm>
                <a:off x="2682199" y="5419364"/>
                <a:ext cx="7512" cy="7512"/>
              </a:xfrm>
              <a:custGeom>
                <a:avLst/>
                <a:gdLst>
                  <a:gd name="connsiteX0" fmla="*/ 7513 w 7512"/>
                  <a:gd name="connsiteY0" fmla="*/ 3756 h 7512"/>
                  <a:gd name="connsiteX1" fmla="*/ 3756 w 7512"/>
                  <a:gd name="connsiteY1" fmla="*/ 7513 h 7512"/>
                  <a:gd name="connsiteX2" fmla="*/ 0 w 7512"/>
                  <a:gd name="connsiteY2" fmla="*/ 3756 h 7512"/>
                  <a:gd name="connsiteX3" fmla="*/ 3756 w 7512"/>
                  <a:gd name="connsiteY3" fmla="*/ 0 h 7512"/>
                  <a:gd name="connsiteX4" fmla="*/ 7513 w 7512"/>
                  <a:gd name="connsiteY4" fmla="*/ 3756 h 75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512" h="7512">
                    <a:moveTo>
                      <a:pt x="7513" y="3756"/>
                    </a:moveTo>
                    <a:cubicBezTo>
                      <a:pt x="7513" y="5831"/>
                      <a:pt x="5831" y="7513"/>
                      <a:pt x="3756" y="7513"/>
                    </a:cubicBezTo>
                    <a:cubicBezTo>
                      <a:pt x="1682" y="7513"/>
                      <a:pt x="0" y="5831"/>
                      <a:pt x="0" y="3756"/>
                    </a:cubicBezTo>
                    <a:cubicBezTo>
                      <a:pt x="0" y="1682"/>
                      <a:pt x="1682" y="0"/>
                      <a:pt x="3756" y="0"/>
                    </a:cubicBezTo>
                    <a:cubicBezTo>
                      <a:pt x="5831" y="0"/>
                      <a:pt x="7513" y="1682"/>
                      <a:pt x="7513" y="3756"/>
                    </a:cubicBezTo>
                    <a:close/>
                  </a:path>
                </a:pathLst>
              </a:custGeom>
              <a:solidFill>
                <a:srgbClr val="3A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838" name="Forma livre: Forma 1837">
              <a:extLst>
                <a:ext uri="{FF2B5EF4-FFF2-40B4-BE49-F238E27FC236}">
                  <a16:creationId xmlns:a16="http://schemas.microsoft.com/office/drawing/2014/main" id="{AC0D02E8-3E54-99CE-8441-9B83352D8CE2}"/>
                </a:ext>
              </a:extLst>
            </p:cNvPr>
            <p:cNvSpPr/>
            <p:nvPr/>
          </p:nvSpPr>
          <p:spPr>
            <a:xfrm>
              <a:off x="2688459" y="5278452"/>
              <a:ext cx="198028" cy="207515"/>
            </a:xfrm>
            <a:custGeom>
              <a:avLst/>
              <a:gdLst>
                <a:gd name="connsiteX0" fmla="*/ 80329 w 198028"/>
                <a:gd name="connsiteY0" fmla="*/ 150351 h 207515"/>
                <a:gd name="connsiteX1" fmla="*/ 108116 w 198028"/>
                <a:gd name="connsiteY1" fmla="*/ 150351 h 207515"/>
                <a:gd name="connsiteX2" fmla="*/ 157382 w 198028"/>
                <a:gd name="connsiteY2" fmla="*/ 207515 h 207515"/>
                <a:gd name="connsiteX3" fmla="*/ 157382 w 198028"/>
                <a:gd name="connsiteY3" fmla="*/ 150351 h 207515"/>
                <a:gd name="connsiteX4" fmla="*/ 170722 w 198028"/>
                <a:gd name="connsiteY4" fmla="*/ 150351 h 207515"/>
                <a:gd name="connsiteX5" fmla="*/ 198028 w 198028"/>
                <a:gd name="connsiteY5" fmla="*/ 123045 h 207515"/>
                <a:gd name="connsiteX6" fmla="*/ 198028 w 198028"/>
                <a:gd name="connsiteY6" fmla="*/ 27306 h 207515"/>
                <a:gd name="connsiteX7" fmla="*/ 170722 w 198028"/>
                <a:gd name="connsiteY7" fmla="*/ 0 h 207515"/>
                <a:gd name="connsiteX8" fmla="*/ 27306 w 198028"/>
                <a:gd name="connsiteY8" fmla="*/ 0 h 207515"/>
                <a:gd name="connsiteX9" fmla="*/ 0 w 198028"/>
                <a:gd name="connsiteY9" fmla="*/ 27306 h 207515"/>
                <a:gd name="connsiteX10" fmla="*/ 0 w 198028"/>
                <a:gd name="connsiteY10" fmla="*/ 48496 h 2075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98028" h="207515">
                  <a:moveTo>
                    <a:pt x="80329" y="150351"/>
                  </a:moveTo>
                  <a:lnTo>
                    <a:pt x="108116" y="150351"/>
                  </a:lnTo>
                  <a:lnTo>
                    <a:pt x="157382" y="207515"/>
                  </a:lnTo>
                  <a:lnTo>
                    <a:pt x="157382" y="150351"/>
                  </a:lnTo>
                  <a:lnTo>
                    <a:pt x="170722" y="150351"/>
                  </a:lnTo>
                  <a:cubicBezTo>
                    <a:pt x="185748" y="150351"/>
                    <a:pt x="198028" y="138071"/>
                    <a:pt x="198028" y="123045"/>
                  </a:cubicBezTo>
                  <a:lnTo>
                    <a:pt x="198028" y="27306"/>
                  </a:lnTo>
                  <a:cubicBezTo>
                    <a:pt x="198028" y="12280"/>
                    <a:pt x="185748" y="0"/>
                    <a:pt x="170722" y="0"/>
                  </a:cubicBezTo>
                  <a:lnTo>
                    <a:pt x="27306" y="0"/>
                  </a:lnTo>
                  <a:cubicBezTo>
                    <a:pt x="12280" y="0"/>
                    <a:pt x="0" y="12280"/>
                    <a:pt x="0" y="27306"/>
                  </a:cubicBezTo>
                  <a:lnTo>
                    <a:pt x="0" y="48496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39" name="Forma livre: Forma 1838">
              <a:extLst>
                <a:ext uri="{FF2B5EF4-FFF2-40B4-BE49-F238E27FC236}">
                  <a16:creationId xmlns:a16="http://schemas.microsoft.com/office/drawing/2014/main" id="{1FD312FD-59B4-03F9-F10B-EDB565C5F38A}"/>
                </a:ext>
              </a:extLst>
            </p:cNvPr>
            <p:cNvSpPr/>
            <p:nvPr/>
          </p:nvSpPr>
          <p:spPr>
            <a:xfrm>
              <a:off x="2549040" y="5348185"/>
              <a:ext cx="198028" cy="207515"/>
            </a:xfrm>
            <a:custGeom>
              <a:avLst/>
              <a:gdLst>
                <a:gd name="connsiteX0" fmla="*/ 40646 w 198028"/>
                <a:gd name="connsiteY0" fmla="*/ 207515 h 207515"/>
                <a:gd name="connsiteX1" fmla="*/ 40646 w 198028"/>
                <a:gd name="connsiteY1" fmla="*/ 150351 h 207515"/>
                <a:gd name="connsiteX2" fmla="*/ 27306 w 198028"/>
                <a:gd name="connsiteY2" fmla="*/ 150351 h 207515"/>
                <a:gd name="connsiteX3" fmla="*/ 0 w 198028"/>
                <a:gd name="connsiteY3" fmla="*/ 123045 h 207515"/>
                <a:gd name="connsiteX4" fmla="*/ 0 w 198028"/>
                <a:gd name="connsiteY4" fmla="*/ 27306 h 207515"/>
                <a:gd name="connsiteX5" fmla="*/ 27306 w 198028"/>
                <a:gd name="connsiteY5" fmla="*/ 0 h 207515"/>
                <a:gd name="connsiteX6" fmla="*/ 170722 w 198028"/>
                <a:gd name="connsiteY6" fmla="*/ 0 h 207515"/>
                <a:gd name="connsiteX7" fmla="*/ 198028 w 198028"/>
                <a:gd name="connsiteY7" fmla="*/ 27306 h 207515"/>
                <a:gd name="connsiteX8" fmla="*/ 198028 w 198028"/>
                <a:gd name="connsiteY8" fmla="*/ 123045 h 207515"/>
                <a:gd name="connsiteX9" fmla="*/ 170722 w 198028"/>
                <a:gd name="connsiteY9" fmla="*/ 150351 h 207515"/>
                <a:gd name="connsiteX10" fmla="*/ 89912 w 198028"/>
                <a:gd name="connsiteY10" fmla="*/ 150351 h 207515"/>
                <a:gd name="connsiteX11" fmla="*/ 40646 w 198028"/>
                <a:gd name="connsiteY11" fmla="*/ 207515 h 2075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98028" h="207515">
                  <a:moveTo>
                    <a:pt x="40646" y="207515"/>
                  </a:moveTo>
                  <a:lnTo>
                    <a:pt x="40646" y="150351"/>
                  </a:lnTo>
                  <a:lnTo>
                    <a:pt x="27306" y="150351"/>
                  </a:lnTo>
                  <a:cubicBezTo>
                    <a:pt x="12280" y="150351"/>
                    <a:pt x="0" y="138071"/>
                    <a:pt x="0" y="123045"/>
                  </a:cubicBezTo>
                  <a:lnTo>
                    <a:pt x="0" y="27306"/>
                  </a:lnTo>
                  <a:cubicBezTo>
                    <a:pt x="0" y="12280"/>
                    <a:pt x="12280" y="0"/>
                    <a:pt x="27306" y="0"/>
                  </a:cubicBezTo>
                  <a:lnTo>
                    <a:pt x="170722" y="0"/>
                  </a:lnTo>
                  <a:cubicBezTo>
                    <a:pt x="185748" y="0"/>
                    <a:pt x="198028" y="12280"/>
                    <a:pt x="198028" y="27306"/>
                  </a:cubicBezTo>
                  <a:lnTo>
                    <a:pt x="198028" y="123045"/>
                  </a:lnTo>
                  <a:cubicBezTo>
                    <a:pt x="198028" y="138071"/>
                    <a:pt x="185748" y="150351"/>
                    <a:pt x="170722" y="150351"/>
                  </a:cubicBezTo>
                  <a:lnTo>
                    <a:pt x="89912" y="150351"/>
                  </a:lnTo>
                  <a:lnTo>
                    <a:pt x="40646" y="207515"/>
                  </a:ln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40" name="Forma livre: Forma 1839">
              <a:extLst>
                <a:ext uri="{FF2B5EF4-FFF2-40B4-BE49-F238E27FC236}">
                  <a16:creationId xmlns:a16="http://schemas.microsoft.com/office/drawing/2014/main" id="{42F35122-61E8-73D6-CD19-240875D8D82B}"/>
                </a:ext>
              </a:extLst>
            </p:cNvPr>
            <p:cNvSpPr/>
            <p:nvPr/>
          </p:nvSpPr>
          <p:spPr>
            <a:xfrm>
              <a:off x="2781694" y="5349582"/>
              <a:ext cx="7512" cy="7512"/>
            </a:xfrm>
            <a:custGeom>
              <a:avLst/>
              <a:gdLst>
                <a:gd name="connsiteX0" fmla="*/ 7513 w 7512"/>
                <a:gd name="connsiteY0" fmla="*/ 3756 h 7512"/>
                <a:gd name="connsiteX1" fmla="*/ 3756 w 7512"/>
                <a:gd name="connsiteY1" fmla="*/ 7513 h 7512"/>
                <a:gd name="connsiteX2" fmla="*/ 0 w 7512"/>
                <a:gd name="connsiteY2" fmla="*/ 3756 h 7512"/>
                <a:gd name="connsiteX3" fmla="*/ 3756 w 7512"/>
                <a:gd name="connsiteY3" fmla="*/ 0 h 7512"/>
                <a:gd name="connsiteX4" fmla="*/ 7513 w 7512"/>
                <a:gd name="connsiteY4" fmla="*/ 3756 h 75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512" h="7512">
                  <a:moveTo>
                    <a:pt x="7513" y="3756"/>
                  </a:moveTo>
                  <a:cubicBezTo>
                    <a:pt x="7513" y="5831"/>
                    <a:pt x="5831" y="7513"/>
                    <a:pt x="3756" y="7513"/>
                  </a:cubicBezTo>
                  <a:cubicBezTo>
                    <a:pt x="1682" y="7513"/>
                    <a:pt x="0" y="5831"/>
                    <a:pt x="0" y="3756"/>
                  </a:cubicBezTo>
                  <a:cubicBezTo>
                    <a:pt x="0" y="1682"/>
                    <a:pt x="1682" y="0"/>
                    <a:pt x="3756" y="0"/>
                  </a:cubicBezTo>
                  <a:cubicBezTo>
                    <a:pt x="5831" y="0"/>
                    <a:pt x="7513" y="1682"/>
                    <a:pt x="7513" y="3756"/>
                  </a:cubicBezTo>
                  <a:close/>
                </a:path>
              </a:pathLst>
            </a:custGeom>
            <a:solidFill>
              <a:srgbClr val="3A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41" name="Forma livre: Forma 1840">
              <a:extLst>
                <a:ext uri="{FF2B5EF4-FFF2-40B4-BE49-F238E27FC236}">
                  <a16:creationId xmlns:a16="http://schemas.microsoft.com/office/drawing/2014/main" id="{4D398F55-D9B0-160D-0E5F-C7B27A657853}"/>
                </a:ext>
              </a:extLst>
            </p:cNvPr>
            <p:cNvSpPr/>
            <p:nvPr/>
          </p:nvSpPr>
          <p:spPr>
            <a:xfrm>
              <a:off x="2819643" y="5349582"/>
              <a:ext cx="7512" cy="7512"/>
            </a:xfrm>
            <a:custGeom>
              <a:avLst/>
              <a:gdLst>
                <a:gd name="connsiteX0" fmla="*/ 7513 w 7512"/>
                <a:gd name="connsiteY0" fmla="*/ 3756 h 7512"/>
                <a:gd name="connsiteX1" fmla="*/ 3756 w 7512"/>
                <a:gd name="connsiteY1" fmla="*/ 7513 h 7512"/>
                <a:gd name="connsiteX2" fmla="*/ 0 w 7512"/>
                <a:gd name="connsiteY2" fmla="*/ 3756 h 7512"/>
                <a:gd name="connsiteX3" fmla="*/ 3756 w 7512"/>
                <a:gd name="connsiteY3" fmla="*/ 0 h 7512"/>
                <a:gd name="connsiteX4" fmla="*/ 7513 w 7512"/>
                <a:gd name="connsiteY4" fmla="*/ 3756 h 75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512" h="7512">
                  <a:moveTo>
                    <a:pt x="7513" y="3756"/>
                  </a:moveTo>
                  <a:cubicBezTo>
                    <a:pt x="7513" y="5831"/>
                    <a:pt x="5831" y="7513"/>
                    <a:pt x="3756" y="7513"/>
                  </a:cubicBezTo>
                  <a:cubicBezTo>
                    <a:pt x="1682" y="7513"/>
                    <a:pt x="0" y="5831"/>
                    <a:pt x="0" y="3756"/>
                  </a:cubicBezTo>
                  <a:cubicBezTo>
                    <a:pt x="0" y="1682"/>
                    <a:pt x="1682" y="0"/>
                    <a:pt x="3756" y="0"/>
                  </a:cubicBezTo>
                  <a:cubicBezTo>
                    <a:pt x="5831" y="0"/>
                    <a:pt x="7513" y="1682"/>
                    <a:pt x="7513" y="3756"/>
                  </a:cubicBezTo>
                  <a:close/>
                </a:path>
              </a:pathLst>
            </a:custGeom>
            <a:solidFill>
              <a:srgbClr val="3A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842" name="Gráfico 18">
            <a:extLst>
              <a:ext uri="{FF2B5EF4-FFF2-40B4-BE49-F238E27FC236}">
                <a16:creationId xmlns:a16="http://schemas.microsoft.com/office/drawing/2014/main" id="{2E32D5C9-B9D9-B6B1-DE12-8B01E0812264}"/>
              </a:ext>
            </a:extLst>
          </p:cNvPr>
          <p:cNvGrpSpPr/>
          <p:nvPr/>
        </p:nvGrpSpPr>
        <p:grpSpPr>
          <a:xfrm>
            <a:off x="2550581" y="4743603"/>
            <a:ext cx="334413" cy="263042"/>
            <a:chOff x="2550581" y="4743603"/>
            <a:chExt cx="334413" cy="263042"/>
          </a:xfrm>
          <a:noFill/>
        </p:grpSpPr>
        <p:grpSp>
          <p:nvGrpSpPr>
            <p:cNvPr id="1843" name="Gráfico 18">
              <a:extLst>
                <a:ext uri="{FF2B5EF4-FFF2-40B4-BE49-F238E27FC236}">
                  <a16:creationId xmlns:a16="http://schemas.microsoft.com/office/drawing/2014/main" id="{0A341FE5-B290-F7AF-72E5-247B3AAFFEE4}"/>
                </a:ext>
              </a:extLst>
            </p:cNvPr>
            <p:cNvGrpSpPr/>
            <p:nvPr/>
          </p:nvGrpSpPr>
          <p:grpSpPr>
            <a:xfrm>
              <a:off x="2644587" y="4743603"/>
              <a:ext cx="50422" cy="262030"/>
              <a:chOff x="2644587" y="4743603"/>
              <a:chExt cx="50422" cy="262030"/>
            </a:xfrm>
            <a:noFill/>
          </p:grpSpPr>
          <p:sp>
            <p:nvSpPr>
              <p:cNvPr id="1844" name="Forma livre: Forma 1843">
                <a:extLst>
                  <a:ext uri="{FF2B5EF4-FFF2-40B4-BE49-F238E27FC236}">
                    <a16:creationId xmlns:a16="http://schemas.microsoft.com/office/drawing/2014/main" id="{01C1A038-3D84-E4D7-88D2-614E412616F5}"/>
                  </a:ext>
                </a:extLst>
              </p:cNvPr>
              <p:cNvSpPr/>
              <p:nvPr/>
            </p:nvSpPr>
            <p:spPr>
              <a:xfrm>
                <a:off x="2644587" y="4743603"/>
                <a:ext cx="50422" cy="262030"/>
              </a:xfrm>
              <a:custGeom>
                <a:avLst/>
                <a:gdLst>
                  <a:gd name="connsiteX0" fmla="*/ 0 w 50422"/>
                  <a:gd name="connsiteY0" fmla="*/ 262031 h 262030"/>
                  <a:gd name="connsiteX1" fmla="*/ 0 w 50422"/>
                  <a:gd name="connsiteY1" fmla="*/ 0 h 262030"/>
                  <a:gd name="connsiteX2" fmla="*/ 50422 w 50422"/>
                  <a:gd name="connsiteY2" fmla="*/ 0 h 262030"/>
                  <a:gd name="connsiteX3" fmla="*/ 50422 w 50422"/>
                  <a:gd name="connsiteY3" fmla="*/ 262031 h 2620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0422" h="262030">
                    <a:moveTo>
                      <a:pt x="0" y="262031"/>
                    </a:moveTo>
                    <a:lnTo>
                      <a:pt x="0" y="0"/>
                    </a:lnTo>
                    <a:lnTo>
                      <a:pt x="50422" y="0"/>
                    </a:lnTo>
                    <a:lnTo>
                      <a:pt x="50422" y="262031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845" name="Forma livre: Forma 1844">
                <a:extLst>
                  <a:ext uri="{FF2B5EF4-FFF2-40B4-BE49-F238E27FC236}">
                    <a16:creationId xmlns:a16="http://schemas.microsoft.com/office/drawing/2014/main" id="{5FF912FE-0D24-29B1-3065-0949477650FB}"/>
                  </a:ext>
                </a:extLst>
              </p:cNvPr>
              <p:cNvSpPr/>
              <p:nvPr/>
            </p:nvSpPr>
            <p:spPr>
              <a:xfrm>
                <a:off x="2669822" y="4785549"/>
                <a:ext cx="4815" cy="101373"/>
              </a:xfrm>
              <a:custGeom>
                <a:avLst/>
                <a:gdLst>
                  <a:gd name="connsiteX0" fmla="*/ 0 w 4815"/>
                  <a:gd name="connsiteY0" fmla="*/ 0 h 101373"/>
                  <a:gd name="connsiteX1" fmla="*/ 0 w 4815"/>
                  <a:gd name="connsiteY1" fmla="*/ 101374 h 1013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815" h="101373">
                    <a:moveTo>
                      <a:pt x="0" y="0"/>
                    </a:moveTo>
                    <a:lnTo>
                      <a:pt x="0" y="101374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846" name="Gráfico 18">
              <a:extLst>
                <a:ext uri="{FF2B5EF4-FFF2-40B4-BE49-F238E27FC236}">
                  <a16:creationId xmlns:a16="http://schemas.microsoft.com/office/drawing/2014/main" id="{5DFD8D01-277C-8CAB-BBEC-DE144FEAD93E}"/>
                </a:ext>
              </a:extLst>
            </p:cNvPr>
            <p:cNvGrpSpPr/>
            <p:nvPr/>
          </p:nvGrpSpPr>
          <p:grpSpPr>
            <a:xfrm>
              <a:off x="2766910" y="4782130"/>
              <a:ext cx="88852" cy="223503"/>
              <a:chOff x="2766910" y="4782130"/>
              <a:chExt cx="88852" cy="223503"/>
            </a:xfrm>
            <a:noFill/>
          </p:grpSpPr>
          <p:sp>
            <p:nvSpPr>
              <p:cNvPr id="1847" name="Forma livre: Forma 1846">
                <a:extLst>
                  <a:ext uri="{FF2B5EF4-FFF2-40B4-BE49-F238E27FC236}">
                    <a16:creationId xmlns:a16="http://schemas.microsoft.com/office/drawing/2014/main" id="{5F37D5CB-343B-C8DA-42CC-D9BE6BE58818}"/>
                  </a:ext>
                </a:extLst>
              </p:cNvPr>
              <p:cNvSpPr/>
              <p:nvPr/>
            </p:nvSpPr>
            <p:spPr>
              <a:xfrm>
                <a:off x="2766910" y="4782130"/>
                <a:ext cx="88852" cy="223503"/>
              </a:xfrm>
              <a:custGeom>
                <a:avLst/>
                <a:gdLst>
                  <a:gd name="connsiteX0" fmla="*/ 3564 w 88852"/>
                  <a:gd name="connsiteY0" fmla="*/ 28510 h 223503"/>
                  <a:gd name="connsiteX1" fmla="*/ 0 w 88852"/>
                  <a:gd name="connsiteY1" fmla="*/ 9102 h 223503"/>
                  <a:gd name="connsiteX2" fmla="*/ 49218 w 88852"/>
                  <a:gd name="connsiteY2" fmla="*/ 0 h 223503"/>
                  <a:gd name="connsiteX3" fmla="*/ 88853 w 88852"/>
                  <a:gd name="connsiteY3" fmla="*/ 214402 h 223503"/>
                  <a:gd name="connsiteX4" fmla="*/ 39635 w 88852"/>
                  <a:gd name="connsiteY4" fmla="*/ 223504 h 223503"/>
                  <a:gd name="connsiteX5" fmla="*/ 7513 w 88852"/>
                  <a:gd name="connsiteY5" fmla="*/ 49844 h 223503"/>
                  <a:gd name="connsiteX6" fmla="*/ 3564 w 88852"/>
                  <a:gd name="connsiteY6" fmla="*/ 28510 h 2235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88852" h="223503">
                    <a:moveTo>
                      <a:pt x="3564" y="28510"/>
                    </a:moveTo>
                    <a:lnTo>
                      <a:pt x="0" y="9102"/>
                    </a:lnTo>
                    <a:lnTo>
                      <a:pt x="49218" y="0"/>
                    </a:lnTo>
                    <a:lnTo>
                      <a:pt x="88853" y="214402"/>
                    </a:lnTo>
                    <a:lnTo>
                      <a:pt x="39635" y="223504"/>
                    </a:lnTo>
                    <a:lnTo>
                      <a:pt x="7513" y="49844"/>
                    </a:lnTo>
                    <a:lnTo>
                      <a:pt x="3564" y="28510"/>
                    </a:ln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848" name="Forma livre: Forma 1847">
                <a:extLst>
                  <a:ext uri="{FF2B5EF4-FFF2-40B4-BE49-F238E27FC236}">
                    <a16:creationId xmlns:a16="http://schemas.microsoft.com/office/drawing/2014/main" id="{7B96A07C-0F02-C1AF-D605-773A4182B283}"/>
                  </a:ext>
                </a:extLst>
              </p:cNvPr>
              <p:cNvSpPr/>
              <p:nvPr/>
            </p:nvSpPr>
            <p:spPr>
              <a:xfrm>
                <a:off x="2803510" y="4851526"/>
                <a:ext cx="15651" cy="84710"/>
              </a:xfrm>
              <a:custGeom>
                <a:avLst/>
                <a:gdLst>
                  <a:gd name="connsiteX0" fmla="*/ 0 w 15651"/>
                  <a:gd name="connsiteY0" fmla="*/ 0 h 84710"/>
                  <a:gd name="connsiteX1" fmla="*/ 15652 w 15651"/>
                  <a:gd name="connsiteY1" fmla="*/ 84711 h 847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5651" h="84710">
                    <a:moveTo>
                      <a:pt x="0" y="0"/>
                    </a:moveTo>
                    <a:lnTo>
                      <a:pt x="15652" y="84711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849" name="Gráfico 18">
              <a:extLst>
                <a:ext uri="{FF2B5EF4-FFF2-40B4-BE49-F238E27FC236}">
                  <a16:creationId xmlns:a16="http://schemas.microsoft.com/office/drawing/2014/main" id="{DA32BFC0-A5EC-656F-CF2C-E0000BDCDABB}"/>
                </a:ext>
              </a:extLst>
            </p:cNvPr>
            <p:cNvGrpSpPr/>
            <p:nvPr/>
          </p:nvGrpSpPr>
          <p:grpSpPr>
            <a:xfrm>
              <a:off x="2573120" y="4791809"/>
              <a:ext cx="51963" cy="194753"/>
              <a:chOff x="2573120" y="4791809"/>
              <a:chExt cx="51963" cy="194753"/>
            </a:xfrm>
            <a:noFill/>
          </p:grpSpPr>
          <p:grpSp>
            <p:nvGrpSpPr>
              <p:cNvPr id="1850" name="Gráfico 18">
                <a:extLst>
                  <a:ext uri="{FF2B5EF4-FFF2-40B4-BE49-F238E27FC236}">
                    <a16:creationId xmlns:a16="http://schemas.microsoft.com/office/drawing/2014/main" id="{69995D1D-3E2D-4CC8-471D-BE70A5EC7C51}"/>
                  </a:ext>
                </a:extLst>
              </p:cNvPr>
              <p:cNvGrpSpPr/>
              <p:nvPr/>
            </p:nvGrpSpPr>
            <p:grpSpPr>
              <a:xfrm>
                <a:off x="2592479" y="4829566"/>
                <a:ext cx="32603" cy="51481"/>
                <a:chOff x="2592479" y="4829566"/>
                <a:chExt cx="32603" cy="51481"/>
              </a:xfrm>
            </p:grpSpPr>
            <p:sp>
              <p:nvSpPr>
                <p:cNvPr id="1851" name="Forma livre: Forma 1850">
                  <a:extLst>
                    <a:ext uri="{FF2B5EF4-FFF2-40B4-BE49-F238E27FC236}">
                      <a16:creationId xmlns:a16="http://schemas.microsoft.com/office/drawing/2014/main" id="{2236C0DF-7EC8-9233-268A-44BFDFDC1917}"/>
                    </a:ext>
                  </a:extLst>
                </p:cNvPr>
                <p:cNvSpPr/>
                <p:nvPr/>
              </p:nvSpPr>
              <p:spPr>
                <a:xfrm>
                  <a:off x="2592479" y="4829566"/>
                  <a:ext cx="32603" cy="4815"/>
                </a:xfrm>
                <a:custGeom>
                  <a:avLst/>
                  <a:gdLst>
                    <a:gd name="connsiteX0" fmla="*/ 0 w 32603"/>
                    <a:gd name="connsiteY0" fmla="*/ 0 h 4815"/>
                    <a:gd name="connsiteX1" fmla="*/ 32603 w 32603"/>
                    <a:gd name="connsiteY1" fmla="*/ 0 h 481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32603" h="4815">
                      <a:moveTo>
                        <a:pt x="0" y="0"/>
                      </a:moveTo>
                      <a:lnTo>
                        <a:pt x="32603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852" name="Forma livre: Forma 1851">
                  <a:extLst>
                    <a:ext uri="{FF2B5EF4-FFF2-40B4-BE49-F238E27FC236}">
                      <a16:creationId xmlns:a16="http://schemas.microsoft.com/office/drawing/2014/main" id="{50F5E14D-4724-ADC7-351B-0304F6955453}"/>
                    </a:ext>
                  </a:extLst>
                </p:cNvPr>
                <p:cNvSpPr/>
                <p:nvPr/>
              </p:nvSpPr>
              <p:spPr>
                <a:xfrm>
                  <a:off x="2592479" y="4855909"/>
                  <a:ext cx="32603" cy="4815"/>
                </a:xfrm>
                <a:custGeom>
                  <a:avLst/>
                  <a:gdLst>
                    <a:gd name="connsiteX0" fmla="*/ 0 w 32603"/>
                    <a:gd name="connsiteY0" fmla="*/ 0 h 4815"/>
                    <a:gd name="connsiteX1" fmla="*/ 32603 w 32603"/>
                    <a:gd name="connsiteY1" fmla="*/ 0 h 481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32603" h="4815">
                      <a:moveTo>
                        <a:pt x="0" y="0"/>
                      </a:moveTo>
                      <a:lnTo>
                        <a:pt x="32603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853" name="Forma livre: Forma 1852">
                  <a:extLst>
                    <a:ext uri="{FF2B5EF4-FFF2-40B4-BE49-F238E27FC236}">
                      <a16:creationId xmlns:a16="http://schemas.microsoft.com/office/drawing/2014/main" id="{20A894C7-2D95-1FA3-FFB1-814DF447B688}"/>
                    </a:ext>
                  </a:extLst>
                </p:cNvPr>
                <p:cNvSpPr/>
                <p:nvPr/>
              </p:nvSpPr>
              <p:spPr>
                <a:xfrm>
                  <a:off x="2592479" y="4881047"/>
                  <a:ext cx="32603" cy="4815"/>
                </a:xfrm>
                <a:custGeom>
                  <a:avLst/>
                  <a:gdLst>
                    <a:gd name="connsiteX0" fmla="*/ 0 w 32603"/>
                    <a:gd name="connsiteY0" fmla="*/ 0 h 4815"/>
                    <a:gd name="connsiteX1" fmla="*/ 32603 w 32603"/>
                    <a:gd name="connsiteY1" fmla="*/ 0 h 481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32603" h="4815">
                      <a:moveTo>
                        <a:pt x="0" y="0"/>
                      </a:moveTo>
                      <a:lnTo>
                        <a:pt x="32603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1854" name="Forma livre: Forma 1853">
                <a:extLst>
                  <a:ext uri="{FF2B5EF4-FFF2-40B4-BE49-F238E27FC236}">
                    <a16:creationId xmlns:a16="http://schemas.microsoft.com/office/drawing/2014/main" id="{C01665FE-9F17-F825-CAB6-3260347DD320}"/>
                  </a:ext>
                </a:extLst>
              </p:cNvPr>
              <p:cNvSpPr/>
              <p:nvPr/>
            </p:nvSpPr>
            <p:spPr>
              <a:xfrm>
                <a:off x="2573120" y="4791809"/>
                <a:ext cx="51963" cy="194753"/>
              </a:xfrm>
              <a:custGeom>
                <a:avLst/>
                <a:gdLst>
                  <a:gd name="connsiteX0" fmla="*/ 0 w 51963"/>
                  <a:gd name="connsiteY0" fmla="*/ 194753 h 194753"/>
                  <a:gd name="connsiteX1" fmla="*/ 0 w 51963"/>
                  <a:gd name="connsiteY1" fmla="*/ 0 h 194753"/>
                  <a:gd name="connsiteX2" fmla="*/ 51963 w 51963"/>
                  <a:gd name="connsiteY2" fmla="*/ 0 h 1947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51963" h="194753">
                    <a:moveTo>
                      <a:pt x="0" y="194753"/>
                    </a:moveTo>
                    <a:lnTo>
                      <a:pt x="0" y="0"/>
                    </a:lnTo>
                    <a:lnTo>
                      <a:pt x="51963" y="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855" name="Forma livre: Forma 1854">
              <a:extLst>
                <a:ext uri="{FF2B5EF4-FFF2-40B4-BE49-F238E27FC236}">
                  <a16:creationId xmlns:a16="http://schemas.microsoft.com/office/drawing/2014/main" id="{6C2B6A95-AF96-C3B2-A3CD-921111D0F043}"/>
                </a:ext>
              </a:extLst>
            </p:cNvPr>
            <p:cNvSpPr/>
            <p:nvPr/>
          </p:nvSpPr>
          <p:spPr>
            <a:xfrm>
              <a:off x="2550581" y="5006645"/>
              <a:ext cx="334413" cy="4815"/>
            </a:xfrm>
            <a:custGeom>
              <a:avLst/>
              <a:gdLst>
                <a:gd name="connsiteX0" fmla="*/ 0 w 334413"/>
                <a:gd name="connsiteY0" fmla="*/ 0 h 4815"/>
                <a:gd name="connsiteX1" fmla="*/ 334413 w 334413"/>
                <a:gd name="connsiteY1" fmla="*/ 0 h 48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34413" h="4815">
                  <a:moveTo>
                    <a:pt x="0" y="0"/>
                  </a:moveTo>
                  <a:lnTo>
                    <a:pt x="334413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856" name="Gráfico 18">
              <a:extLst>
                <a:ext uri="{FF2B5EF4-FFF2-40B4-BE49-F238E27FC236}">
                  <a16:creationId xmlns:a16="http://schemas.microsoft.com/office/drawing/2014/main" id="{136CC5A6-75C7-D186-050E-336DADBEF607}"/>
                </a:ext>
              </a:extLst>
            </p:cNvPr>
            <p:cNvGrpSpPr/>
            <p:nvPr/>
          </p:nvGrpSpPr>
          <p:grpSpPr>
            <a:xfrm>
              <a:off x="2714369" y="4856246"/>
              <a:ext cx="56538" cy="149387"/>
              <a:chOff x="2714369" y="4856246"/>
              <a:chExt cx="56538" cy="149387"/>
            </a:xfrm>
            <a:noFill/>
          </p:grpSpPr>
          <p:sp>
            <p:nvSpPr>
              <p:cNvPr id="1857" name="Forma livre: Forma 1856">
                <a:extLst>
                  <a:ext uri="{FF2B5EF4-FFF2-40B4-BE49-F238E27FC236}">
                    <a16:creationId xmlns:a16="http://schemas.microsoft.com/office/drawing/2014/main" id="{CFDE1C5F-F397-51B1-7409-875D4C6926E1}"/>
                  </a:ext>
                </a:extLst>
              </p:cNvPr>
              <p:cNvSpPr/>
              <p:nvPr/>
            </p:nvSpPr>
            <p:spPr>
              <a:xfrm>
                <a:off x="2714369" y="4856246"/>
                <a:ext cx="56538" cy="149387"/>
              </a:xfrm>
              <a:custGeom>
                <a:avLst/>
                <a:gdLst>
                  <a:gd name="connsiteX0" fmla="*/ 0 w 56538"/>
                  <a:gd name="connsiteY0" fmla="*/ 0 h 149387"/>
                  <a:gd name="connsiteX1" fmla="*/ 56538 w 56538"/>
                  <a:gd name="connsiteY1" fmla="*/ 0 h 149387"/>
                  <a:gd name="connsiteX2" fmla="*/ 56538 w 56538"/>
                  <a:gd name="connsiteY2" fmla="*/ 149388 h 1493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56538" h="149387">
                    <a:moveTo>
                      <a:pt x="0" y="0"/>
                    </a:moveTo>
                    <a:lnTo>
                      <a:pt x="56538" y="0"/>
                    </a:lnTo>
                    <a:lnTo>
                      <a:pt x="56538" y="149388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858" name="Forma livre: Forma 1857">
                <a:extLst>
                  <a:ext uri="{FF2B5EF4-FFF2-40B4-BE49-F238E27FC236}">
                    <a16:creationId xmlns:a16="http://schemas.microsoft.com/office/drawing/2014/main" id="{C996EE15-16A1-9F61-7B72-01B3FB86A860}"/>
                  </a:ext>
                </a:extLst>
              </p:cNvPr>
              <p:cNvSpPr/>
              <p:nvPr/>
            </p:nvSpPr>
            <p:spPr>
              <a:xfrm>
                <a:off x="2720629" y="4886537"/>
                <a:ext cx="24560" cy="50084"/>
              </a:xfrm>
              <a:custGeom>
                <a:avLst/>
                <a:gdLst>
                  <a:gd name="connsiteX0" fmla="*/ 0 w 24560"/>
                  <a:gd name="connsiteY0" fmla="*/ 0 h 50084"/>
                  <a:gd name="connsiteX1" fmla="*/ 24561 w 24560"/>
                  <a:gd name="connsiteY1" fmla="*/ 0 h 50084"/>
                  <a:gd name="connsiteX2" fmla="*/ 24561 w 24560"/>
                  <a:gd name="connsiteY2" fmla="*/ 50085 h 50084"/>
                  <a:gd name="connsiteX3" fmla="*/ 0 w 24560"/>
                  <a:gd name="connsiteY3" fmla="*/ 50085 h 500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4560" h="50084">
                    <a:moveTo>
                      <a:pt x="0" y="0"/>
                    </a:moveTo>
                    <a:lnTo>
                      <a:pt x="24561" y="0"/>
                    </a:lnTo>
                    <a:lnTo>
                      <a:pt x="24561" y="50085"/>
                    </a:lnTo>
                    <a:lnTo>
                      <a:pt x="0" y="50085"/>
                    </a:ln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859" name="Gráfico 18">
            <a:extLst>
              <a:ext uri="{FF2B5EF4-FFF2-40B4-BE49-F238E27FC236}">
                <a16:creationId xmlns:a16="http://schemas.microsoft.com/office/drawing/2014/main" id="{862F9C3B-6113-729B-9960-C73CFC4EDDB0}"/>
              </a:ext>
            </a:extLst>
          </p:cNvPr>
          <p:cNvGrpSpPr/>
          <p:nvPr/>
        </p:nvGrpSpPr>
        <p:grpSpPr>
          <a:xfrm>
            <a:off x="2584967" y="5835694"/>
            <a:ext cx="265642" cy="246668"/>
            <a:chOff x="2584967" y="5835694"/>
            <a:chExt cx="265642" cy="246668"/>
          </a:xfrm>
          <a:noFill/>
        </p:grpSpPr>
        <p:sp>
          <p:nvSpPr>
            <p:cNvPr id="1860" name="Forma livre: Forma 1859">
              <a:extLst>
                <a:ext uri="{FF2B5EF4-FFF2-40B4-BE49-F238E27FC236}">
                  <a16:creationId xmlns:a16="http://schemas.microsoft.com/office/drawing/2014/main" id="{3841A1F3-79CC-A79F-9D09-46257EC16FF7}"/>
                </a:ext>
              </a:extLst>
            </p:cNvPr>
            <p:cNvSpPr/>
            <p:nvPr/>
          </p:nvSpPr>
          <p:spPr>
            <a:xfrm>
              <a:off x="2584967" y="6052023"/>
              <a:ext cx="265642" cy="30339"/>
            </a:xfrm>
            <a:custGeom>
              <a:avLst/>
              <a:gdLst>
                <a:gd name="connsiteX0" fmla="*/ 6646 w 265642"/>
                <a:gd name="connsiteY0" fmla="*/ 0 h 30339"/>
                <a:gd name="connsiteX1" fmla="*/ 258949 w 265642"/>
                <a:gd name="connsiteY1" fmla="*/ 0 h 30339"/>
                <a:gd name="connsiteX2" fmla="*/ 265643 w 265642"/>
                <a:gd name="connsiteY2" fmla="*/ 30340 h 30339"/>
                <a:gd name="connsiteX3" fmla="*/ 0 w 265642"/>
                <a:gd name="connsiteY3" fmla="*/ 30340 h 30339"/>
                <a:gd name="connsiteX4" fmla="*/ 6646 w 265642"/>
                <a:gd name="connsiteY4" fmla="*/ 0 h 303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65642" h="30339">
                  <a:moveTo>
                    <a:pt x="6646" y="0"/>
                  </a:moveTo>
                  <a:lnTo>
                    <a:pt x="258949" y="0"/>
                  </a:lnTo>
                  <a:lnTo>
                    <a:pt x="265643" y="30340"/>
                  </a:lnTo>
                  <a:lnTo>
                    <a:pt x="0" y="30340"/>
                  </a:lnTo>
                  <a:lnTo>
                    <a:pt x="6646" y="0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61" name="Forma livre: Forma 1860">
              <a:extLst>
                <a:ext uri="{FF2B5EF4-FFF2-40B4-BE49-F238E27FC236}">
                  <a16:creationId xmlns:a16="http://schemas.microsoft.com/office/drawing/2014/main" id="{CB60646F-93E6-74AA-51D2-D98EC83FE051}"/>
                </a:ext>
              </a:extLst>
            </p:cNvPr>
            <p:cNvSpPr/>
            <p:nvPr/>
          </p:nvSpPr>
          <p:spPr>
            <a:xfrm>
              <a:off x="2731513" y="5866901"/>
              <a:ext cx="117266" cy="4815"/>
            </a:xfrm>
            <a:custGeom>
              <a:avLst/>
              <a:gdLst>
                <a:gd name="connsiteX0" fmla="*/ 117266 w 117266"/>
                <a:gd name="connsiteY0" fmla="*/ 0 h 4815"/>
                <a:gd name="connsiteX1" fmla="*/ 0 w 117266"/>
                <a:gd name="connsiteY1" fmla="*/ 0 h 48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266" h="4815">
                  <a:moveTo>
                    <a:pt x="117266" y="0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62" name="Forma livre: Forma 1861">
              <a:extLst>
                <a:ext uri="{FF2B5EF4-FFF2-40B4-BE49-F238E27FC236}">
                  <a16:creationId xmlns:a16="http://schemas.microsoft.com/office/drawing/2014/main" id="{9F6C3676-2A29-B12E-F9D2-3F78A060E826}"/>
                </a:ext>
              </a:extLst>
            </p:cNvPr>
            <p:cNvSpPr/>
            <p:nvPr/>
          </p:nvSpPr>
          <p:spPr>
            <a:xfrm>
              <a:off x="2586074" y="5866901"/>
              <a:ext cx="46858" cy="4815"/>
            </a:xfrm>
            <a:custGeom>
              <a:avLst/>
              <a:gdLst>
                <a:gd name="connsiteX0" fmla="*/ 46858 w 46858"/>
                <a:gd name="connsiteY0" fmla="*/ 0 h 4815"/>
                <a:gd name="connsiteX1" fmla="*/ 0 w 46858"/>
                <a:gd name="connsiteY1" fmla="*/ 0 h 48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6858" h="4815">
                  <a:moveTo>
                    <a:pt x="46858" y="0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63" name="Forma livre: Forma 1862">
              <a:extLst>
                <a:ext uri="{FF2B5EF4-FFF2-40B4-BE49-F238E27FC236}">
                  <a16:creationId xmlns:a16="http://schemas.microsoft.com/office/drawing/2014/main" id="{B5EAB382-A7C4-23B8-B521-EB423B9AABB5}"/>
                </a:ext>
              </a:extLst>
            </p:cNvPr>
            <p:cNvSpPr/>
            <p:nvPr/>
          </p:nvSpPr>
          <p:spPr>
            <a:xfrm>
              <a:off x="2653544" y="5856065"/>
              <a:ext cx="4815" cy="21671"/>
            </a:xfrm>
            <a:custGeom>
              <a:avLst/>
              <a:gdLst>
                <a:gd name="connsiteX0" fmla="*/ 0 w 4815"/>
                <a:gd name="connsiteY0" fmla="*/ 21671 h 21671"/>
                <a:gd name="connsiteX1" fmla="*/ 0 w 4815"/>
                <a:gd name="connsiteY1" fmla="*/ 0 h 216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815" h="21671">
                  <a:moveTo>
                    <a:pt x="0" y="21671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64" name="Forma livre: Forma 1863">
              <a:extLst>
                <a:ext uri="{FF2B5EF4-FFF2-40B4-BE49-F238E27FC236}">
                  <a16:creationId xmlns:a16="http://schemas.microsoft.com/office/drawing/2014/main" id="{5D6AB01E-7D03-0946-D176-72BFAA77864C}"/>
                </a:ext>
              </a:extLst>
            </p:cNvPr>
            <p:cNvSpPr/>
            <p:nvPr/>
          </p:nvSpPr>
          <p:spPr>
            <a:xfrm>
              <a:off x="2682440" y="5856065"/>
              <a:ext cx="4815" cy="21671"/>
            </a:xfrm>
            <a:custGeom>
              <a:avLst/>
              <a:gdLst>
                <a:gd name="connsiteX0" fmla="*/ 0 w 4815"/>
                <a:gd name="connsiteY0" fmla="*/ 21671 h 21671"/>
                <a:gd name="connsiteX1" fmla="*/ 0 w 4815"/>
                <a:gd name="connsiteY1" fmla="*/ 0 h 216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815" h="21671">
                  <a:moveTo>
                    <a:pt x="0" y="21671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65" name="Forma livre: Forma 1864">
              <a:extLst>
                <a:ext uri="{FF2B5EF4-FFF2-40B4-BE49-F238E27FC236}">
                  <a16:creationId xmlns:a16="http://schemas.microsoft.com/office/drawing/2014/main" id="{66C0A2B3-B284-DCC6-76DD-E910BC039B4B}"/>
                </a:ext>
              </a:extLst>
            </p:cNvPr>
            <p:cNvSpPr/>
            <p:nvPr/>
          </p:nvSpPr>
          <p:spPr>
            <a:xfrm>
              <a:off x="2711190" y="5856065"/>
              <a:ext cx="4815" cy="21671"/>
            </a:xfrm>
            <a:custGeom>
              <a:avLst/>
              <a:gdLst>
                <a:gd name="connsiteX0" fmla="*/ 0 w 4815"/>
                <a:gd name="connsiteY0" fmla="*/ 21671 h 21671"/>
                <a:gd name="connsiteX1" fmla="*/ 0 w 4815"/>
                <a:gd name="connsiteY1" fmla="*/ 0 h 216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815" h="21671">
                  <a:moveTo>
                    <a:pt x="0" y="21671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66" name="Forma livre: Forma 1865">
              <a:extLst>
                <a:ext uri="{FF2B5EF4-FFF2-40B4-BE49-F238E27FC236}">
                  <a16:creationId xmlns:a16="http://schemas.microsoft.com/office/drawing/2014/main" id="{2F4A2169-2EB6-CF10-EA40-3D71A9C20F1C}"/>
                </a:ext>
              </a:extLst>
            </p:cNvPr>
            <p:cNvSpPr/>
            <p:nvPr/>
          </p:nvSpPr>
          <p:spPr>
            <a:xfrm>
              <a:off x="2801969" y="5932156"/>
              <a:ext cx="46810" cy="4815"/>
            </a:xfrm>
            <a:custGeom>
              <a:avLst/>
              <a:gdLst>
                <a:gd name="connsiteX0" fmla="*/ 46810 w 46810"/>
                <a:gd name="connsiteY0" fmla="*/ 0 h 4815"/>
                <a:gd name="connsiteX1" fmla="*/ 0 w 46810"/>
                <a:gd name="connsiteY1" fmla="*/ 0 h 48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6810" h="4815">
                  <a:moveTo>
                    <a:pt x="46810" y="0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67" name="Forma livre: Forma 1866">
              <a:extLst>
                <a:ext uri="{FF2B5EF4-FFF2-40B4-BE49-F238E27FC236}">
                  <a16:creationId xmlns:a16="http://schemas.microsoft.com/office/drawing/2014/main" id="{6D549D38-6601-45D8-ABE0-6A953E81B0A6}"/>
                </a:ext>
              </a:extLst>
            </p:cNvPr>
            <p:cNvSpPr/>
            <p:nvPr/>
          </p:nvSpPr>
          <p:spPr>
            <a:xfrm>
              <a:off x="2702714" y="5932156"/>
              <a:ext cx="58079" cy="4815"/>
            </a:xfrm>
            <a:custGeom>
              <a:avLst/>
              <a:gdLst>
                <a:gd name="connsiteX0" fmla="*/ 58079 w 58079"/>
                <a:gd name="connsiteY0" fmla="*/ 0 h 4815"/>
                <a:gd name="connsiteX1" fmla="*/ 0 w 58079"/>
                <a:gd name="connsiteY1" fmla="*/ 0 h 48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8079" h="4815">
                  <a:moveTo>
                    <a:pt x="58079" y="0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68" name="Forma livre: Forma 1867">
              <a:extLst>
                <a:ext uri="{FF2B5EF4-FFF2-40B4-BE49-F238E27FC236}">
                  <a16:creationId xmlns:a16="http://schemas.microsoft.com/office/drawing/2014/main" id="{3F0D755C-27C1-8D49-2DEE-82730D125896}"/>
                </a:ext>
              </a:extLst>
            </p:cNvPr>
            <p:cNvSpPr/>
            <p:nvPr/>
          </p:nvSpPr>
          <p:spPr>
            <a:xfrm>
              <a:off x="2586074" y="5932156"/>
              <a:ext cx="46858" cy="4815"/>
            </a:xfrm>
            <a:custGeom>
              <a:avLst/>
              <a:gdLst>
                <a:gd name="connsiteX0" fmla="*/ 46858 w 46858"/>
                <a:gd name="connsiteY0" fmla="*/ 0 h 4815"/>
                <a:gd name="connsiteX1" fmla="*/ 0 w 46858"/>
                <a:gd name="connsiteY1" fmla="*/ 0 h 48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6858" h="4815">
                  <a:moveTo>
                    <a:pt x="46858" y="0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69" name="Forma livre: Forma 1868">
              <a:extLst>
                <a:ext uri="{FF2B5EF4-FFF2-40B4-BE49-F238E27FC236}">
                  <a16:creationId xmlns:a16="http://schemas.microsoft.com/office/drawing/2014/main" id="{2248E1FB-07F7-08E1-C9A6-A543DC37D3D9}"/>
                </a:ext>
              </a:extLst>
            </p:cNvPr>
            <p:cNvSpPr/>
            <p:nvPr/>
          </p:nvSpPr>
          <p:spPr>
            <a:xfrm>
              <a:off x="2781261" y="5921320"/>
              <a:ext cx="4815" cy="21671"/>
            </a:xfrm>
            <a:custGeom>
              <a:avLst/>
              <a:gdLst>
                <a:gd name="connsiteX0" fmla="*/ 0 w 4815"/>
                <a:gd name="connsiteY0" fmla="*/ 21671 h 21671"/>
                <a:gd name="connsiteX1" fmla="*/ 0 w 4815"/>
                <a:gd name="connsiteY1" fmla="*/ 0 h 216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815" h="21671">
                  <a:moveTo>
                    <a:pt x="0" y="21671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70" name="Forma livre: Forma 1869">
              <a:extLst>
                <a:ext uri="{FF2B5EF4-FFF2-40B4-BE49-F238E27FC236}">
                  <a16:creationId xmlns:a16="http://schemas.microsoft.com/office/drawing/2014/main" id="{7814CBA5-F04C-CDBE-D798-0651459ADE80}"/>
                </a:ext>
              </a:extLst>
            </p:cNvPr>
            <p:cNvSpPr/>
            <p:nvPr/>
          </p:nvSpPr>
          <p:spPr>
            <a:xfrm>
              <a:off x="2802258" y="5997314"/>
              <a:ext cx="46521" cy="4815"/>
            </a:xfrm>
            <a:custGeom>
              <a:avLst/>
              <a:gdLst>
                <a:gd name="connsiteX0" fmla="*/ 46521 w 46521"/>
                <a:gd name="connsiteY0" fmla="*/ 0 h 4815"/>
                <a:gd name="connsiteX1" fmla="*/ 0 w 46521"/>
                <a:gd name="connsiteY1" fmla="*/ 0 h 48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6521" h="4815">
                  <a:moveTo>
                    <a:pt x="46521" y="0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71" name="Forma livre: Forma 1870">
              <a:extLst>
                <a:ext uri="{FF2B5EF4-FFF2-40B4-BE49-F238E27FC236}">
                  <a16:creationId xmlns:a16="http://schemas.microsoft.com/office/drawing/2014/main" id="{D2F5A3AE-8247-056D-176E-4C5B68BF5970}"/>
                </a:ext>
              </a:extLst>
            </p:cNvPr>
            <p:cNvSpPr/>
            <p:nvPr/>
          </p:nvSpPr>
          <p:spPr>
            <a:xfrm>
              <a:off x="2586074" y="5997314"/>
              <a:ext cx="117217" cy="4815"/>
            </a:xfrm>
            <a:custGeom>
              <a:avLst/>
              <a:gdLst>
                <a:gd name="connsiteX0" fmla="*/ 117218 w 117217"/>
                <a:gd name="connsiteY0" fmla="*/ 0 h 4815"/>
                <a:gd name="connsiteX1" fmla="*/ 0 w 117217"/>
                <a:gd name="connsiteY1" fmla="*/ 0 h 48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217" h="4815">
                  <a:moveTo>
                    <a:pt x="117218" y="0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72" name="Forma livre: Forma 1871">
              <a:extLst>
                <a:ext uri="{FF2B5EF4-FFF2-40B4-BE49-F238E27FC236}">
                  <a16:creationId xmlns:a16="http://schemas.microsoft.com/office/drawing/2014/main" id="{7C7EF9B5-B130-D1B0-914C-E74CE7EC6EC6}"/>
                </a:ext>
              </a:extLst>
            </p:cNvPr>
            <p:cNvSpPr/>
            <p:nvPr/>
          </p:nvSpPr>
          <p:spPr>
            <a:xfrm>
              <a:off x="2609431" y="5835694"/>
              <a:ext cx="4815" cy="192008"/>
            </a:xfrm>
            <a:custGeom>
              <a:avLst/>
              <a:gdLst>
                <a:gd name="connsiteX0" fmla="*/ 0 w 4815"/>
                <a:gd name="connsiteY0" fmla="*/ 192008 h 192008"/>
                <a:gd name="connsiteX1" fmla="*/ 0 w 4815"/>
                <a:gd name="connsiteY1" fmla="*/ 0 h 1920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815" h="192008">
                  <a:moveTo>
                    <a:pt x="0" y="192008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73" name="Forma livre: Forma 1872">
              <a:extLst>
                <a:ext uri="{FF2B5EF4-FFF2-40B4-BE49-F238E27FC236}">
                  <a16:creationId xmlns:a16="http://schemas.microsoft.com/office/drawing/2014/main" id="{31F8DA67-7BDD-4F42-4330-8F15BC6CE6D0}"/>
                </a:ext>
              </a:extLst>
            </p:cNvPr>
            <p:cNvSpPr/>
            <p:nvPr/>
          </p:nvSpPr>
          <p:spPr>
            <a:xfrm>
              <a:off x="2826000" y="5835694"/>
              <a:ext cx="4815" cy="214883"/>
            </a:xfrm>
            <a:custGeom>
              <a:avLst/>
              <a:gdLst>
                <a:gd name="connsiteX0" fmla="*/ 0 w 4815"/>
                <a:gd name="connsiteY0" fmla="*/ 214883 h 214883"/>
                <a:gd name="connsiteX1" fmla="*/ 0 w 4815"/>
                <a:gd name="connsiteY1" fmla="*/ 0 h 2148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815" h="214883">
                  <a:moveTo>
                    <a:pt x="0" y="214883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74" name="Forma livre: Forma 1873">
              <a:extLst>
                <a:ext uri="{FF2B5EF4-FFF2-40B4-BE49-F238E27FC236}">
                  <a16:creationId xmlns:a16="http://schemas.microsoft.com/office/drawing/2014/main" id="{F0CC0C0F-563B-B1F6-BA6A-4EFED52CE20E}"/>
                </a:ext>
              </a:extLst>
            </p:cNvPr>
            <p:cNvSpPr/>
            <p:nvPr/>
          </p:nvSpPr>
          <p:spPr>
            <a:xfrm>
              <a:off x="2723615" y="5986479"/>
              <a:ext cx="4815" cy="21671"/>
            </a:xfrm>
            <a:custGeom>
              <a:avLst/>
              <a:gdLst>
                <a:gd name="connsiteX0" fmla="*/ 0 w 4815"/>
                <a:gd name="connsiteY0" fmla="*/ 21671 h 21671"/>
                <a:gd name="connsiteX1" fmla="*/ 0 w 4815"/>
                <a:gd name="connsiteY1" fmla="*/ 0 h 216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815" h="21671">
                  <a:moveTo>
                    <a:pt x="0" y="21671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75" name="Forma livre: Forma 1874">
              <a:extLst>
                <a:ext uri="{FF2B5EF4-FFF2-40B4-BE49-F238E27FC236}">
                  <a16:creationId xmlns:a16="http://schemas.microsoft.com/office/drawing/2014/main" id="{00D1FDFD-CB7E-BD86-FCCA-3514C1CA5889}"/>
                </a:ext>
              </a:extLst>
            </p:cNvPr>
            <p:cNvSpPr/>
            <p:nvPr/>
          </p:nvSpPr>
          <p:spPr>
            <a:xfrm>
              <a:off x="2752510" y="5986479"/>
              <a:ext cx="4815" cy="21671"/>
            </a:xfrm>
            <a:custGeom>
              <a:avLst/>
              <a:gdLst>
                <a:gd name="connsiteX0" fmla="*/ 0 w 4815"/>
                <a:gd name="connsiteY0" fmla="*/ 21671 h 21671"/>
                <a:gd name="connsiteX1" fmla="*/ 0 w 4815"/>
                <a:gd name="connsiteY1" fmla="*/ 0 h 216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815" h="21671">
                  <a:moveTo>
                    <a:pt x="0" y="21671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76" name="Forma livre: Forma 1875">
              <a:extLst>
                <a:ext uri="{FF2B5EF4-FFF2-40B4-BE49-F238E27FC236}">
                  <a16:creationId xmlns:a16="http://schemas.microsoft.com/office/drawing/2014/main" id="{9CB4DDFF-BE38-900B-578B-A2B64D16C8DE}"/>
                </a:ext>
              </a:extLst>
            </p:cNvPr>
            <p:cNvSpPr/>
            <p:nvPr/>
          </p:nvSpPr>
          <p:spPr>
            <a:xfrm>
              <a:off x="2781261" y="5986479"/>
              <a:ext cx="4815" cy="21671"/>
            </a:xfrm>
            <a:custGeom>
              <a:avLst/>
              <a:gdLst>
                <a:gd name="connsiteX0" fmla="*/ 0 w 4815"/>
                <a:gd name="connsiteY0" fmla="*/ 21671 h 21671"/>
                <a:gd name="connsiteX1" fmla="*/ 0 w 4815"/>
                <a:gd name="connsiteY1" fmla="*/ 0 h 216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815" h="21671">
                  <a:moveTo>
                    <a:pt x="0" y="21671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77" name="Forma livre: Forma 1876">
              <a:extLst>
                <a:ext uri="{FF2B5EF4-FFF2-40B4-BE49-F238E27FC236}">
                  <a16:creationId xmlns:a16="http://schemas.microsoft.com/office/drawing/2014/main" id="{7FAB6C79-AB4C-13C9-ECF4-6D09A0D9A57E}"/>
                </a:ext>
              </a:extLst>
            </p:cNvPr>
            <p:cNvSpPr/>
            <p:nvPr/>
          </p:nvSpPr>
          <p:spPr>
            <a:xfrm>
              <a:off x="2653544" y="5921320"/>
              <a:ext cx="4815" cy="21719"/>
            </a:xfrm>
            <a:custGeom>
              <a:avLst/>
              <a:gdLst>
                <a:gd name="connsiteX0" fmla="*/ 0 w 4815"/>
                <a:gd name="connsiteY0" fmla="*/ 21720 h 21719"/>
                <a:gd name="connsiteX1" fmla="*/ 0 w 4815"/>
                <a:gd name="connsiteY1" fmla="*/ 0 h 217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815" h="21719">
                  <a:moveTo>
                    <a:pt x="0" y="21720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78" name="Forma livre: Forma 1877">
              <a:extLst>
                <a:ext uri="{FF2B5EF4-FFF2-40B4-BE49-F238E27FC236}">
                  <a16:creationId xmlns:a16="http://schemas.microsoft.com/office/drawing/2014/main" id="{2B4B2632-BC03-E057-7F4F-16C867AC9E79}"/>
                </a:ext>
              </a:extLst>
            </p:cNvPr>
            <p:cNvSpPr/>
            <p:nvPr/>
          </p:nvSpPr>
          <p:spPr>
            <a:xfrm>
              <a:off x="2682440" y="5921320"/>
              <a:ext cx="4815" cy="21719"/>
            </a:xfrm>
            <a:custGeom>
              <a:avLst/>
              <a:gdLst>
                <a:gd name="connsiteX0" fmla="*/ 0 w 4815"/>
                <a:gd name="connsiteY0" fmla="*/ 21720 h 21719"/>
                <a:gd name="connsiteX1" fmla="*/ 0 w 4815"/>
                <a:gd name="connsiteY1" fmla="*/ 0 h 217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815" h="21719">
                  <a:moveTo>
                    <a:pt x="0" y="21720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879" name="Gráfico 18">
            <a:extLst>
              <a:ext uri="{FF2B5EF4-FFF2-40B4-BE49-F238E27FC236}">
                <a16:creationId xmlns:a16="http://schemas.microsoft.com/office/drawing/2014/main" id="{7AF63A8E-7161-A532-A478-9DEBDFDE8458}"/>
              </a:ext>
            </a:extLst>
          </p:cNvPr>
          <p:cNvGrpSpPr/>
          <p:nvPr/>
        </p:nvGrpSpPr>
        <p:grpSpPr>
          <a:xfrm>
            <a:off x="3821053" y="3670534"/>
            <a:ext cx="301857" cy="241322"/>
            <a:chOff x="3821053" y="3670534"/>
            <a:chExt cx="301857" cy="241322"/>
          </a:xfrm>
          <a:noFill/>
        </p:grpSpPr>
        <p:grpSp>
          <p:nvGrpSpPr>
            <p:cNvPr id="1880" name="Gráfico 18">
              <a:extLst>
                <a:ext uri="{FF2B5EF4-FFF2-40B4-BE49-F238E27FC236}">
                  <a16:creationId xmlns:a16="http://schemas.microsoft.com/office/drawing/2014/main" id="{203234FE-8865-5792-77E9-CFA6C2FAA53F}"/>
                </a:ext>
              </a:extLst>
            </p:cNvPr>
            <p:cNvGrpSpPr/>
            <p:nvPr/>
          </p:nvGrpSpPr>
          <p:grpSpPr>
            <a:xfrm>
              <a:off x="3850718" y="3676794"/>
              <a:ext cx="242526" cy="226874"/>
              <a:chOff x="3850718" y="3676794"/>
              <a:chExt cx="242526" cy="226874"/>
            </a:xfrm>
            <a:noFill/>
          </p:grpSpPr>
          <p:sp>
            <p:nvSpPr>
              <p:cNvPr id="1881" name="Forma livre: Forma 1880">
                <a:extLst>
                  <a:ext uri="{FF2B5EF4-FFF2-40B4-BE49-F238E27FC236}">
                    <a16:creationId xmlns:a16="http://schemas.microsoft.com/office/drawing/2014/main" id="{93928AAD-C578-04D7-B69D-8E9ECF504106}"/>
                  </a:ext>
                </a:extLst>
              </p:cNvPr>
              <p:cNvSpPr/>
              <p:nvPr/>
            </p:nvSpPr>
            <p:spPr>
              <a:xfrm>
                <a:off x="3971982" y="3676794"/>
                <a:ext cx="121263" cy="226874"/>
              </a:xfrm>
              <a:custGeom>
                <a:avLst/>
                <a:gdLst>
                  <a:gd name="connsiteX0" fmla="*/ 0 w 121263"/>
                  <a:gd name="connsiteY0" fmla="*/ 34963 h 226874"/>
                  <a:gd name="connsiteX1" fmla="*/ 75561 w 121263"/>
                  <a:gd name="connsiteY1" fmla="*/ 0 h 226874"/>
                  <a:gd name="connsiteX2" fmla="*/ 121263 w 121263"/>
                  <a:gd name="connsiteY2" fmla="*/ 0 h 226874"/>
                  <a:gd name="connsiteX3" fmla="*/ 121263 w 121263"/>
                  <a:gd name="connsiteY3" fmla="*/ 191864 h 226874"/>
                  <a:gd name="connsiteX4" fmla="*/ 75561 w 121263"/>
                  <a:gd name="connsiteY4" fmla="*/ 191864 h 226874"/>
                  <a:gd name="connsiteX5" fmla="*/ 0 w 121263"/>
                  <a:gd name="connsiteY5" fmla="*/ 226875 h 2268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21263" h="226874">
                    <a:moveTo>
                      <a:pt x="0" y="34963"/>
                    </a:moveTo>
                    <a:cubicBezTo>
                      <a:pt x="14448" y="7513"/>
                      <a:pt x="44402" y="0"/>
                      <a:pt x="75561" y="0"/>
                    </a:cubicBezTo>
                    <a:lnTo>
                      <a:pt x="121263" y="0"/>
                    </a:lnTo>
                    <a:lnTo>
                      <a:pt x="121263" y="191864"/>
                    </a:lnTo>
                    <a:lnTo>
                      <a:pt x="75561" y="191864"/>
                    </a:lnTo>
                    <a:cubicBezTo>
                      <a:pt x="44402" y="191864"/>
                      <a:pt x="14448" y="199425"/>
                      <a:pt x="0" y="226875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882" name="Forma livre: Forma 1881">
                <a:extLst>
                  <a:ext uri="{FF2B5EF4-FFF2-40B4-BE49-F238E27FC236}">
                    <a16:creationId xmlns:a16="http://schemas.microsoft.com/office/drawing/2014/main" id="{6BFAA152-3148-A377-8A3D-6EC1264A1238}"/>
                  </a:ext>
                </a:extLst>
              </p:cNvPr>
              <p:cNvSpPr/>
              <p:nvPr/>
            </p:nvSpPr>
            <p:spPr>
              <a:xfrm>
                <a:off x="3850718" y="3676794"/>
                <a:ext cx="121263" cy="226874"/>
              </a:xfrm>
              <a:custGeom>
                <a:avLst/>
                <a:gdLst>
                  <a:gd name="connsiteX0" fmla="*/ 27643 w 121263"/>
                  <a:gd name="connsiteY0" fmla="*/ 0 h 226874"/>
                  <a:gd name="connsiteX1" fmla="*/ 0 w 121263"/>
                  <a:gd name="connsiteY1" fmla="*/ 0 h 226874"/>
                  <a:gd name="connsiteX2" fmla="*/ 0 w 121263"/>
                  <a:gd name="connsiteY2" fmla="*/ 191864 h 226874"/>
                  <a:gd name="connsiteX3" fmla="*/ 45702 w 121263"/>
                  <a:gd name="connsiteY3" fmla="*/ 191864 h 226874"/>
                  <a:gd name="connsiteX4" fmla="*/ 121263 w 121263"/>
                  <a:gd name="connsiteY4" fmla="*/ 226875 h 2268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1263" h="226874">
                    <a:moveTo>
                      <a:pt x="27643" y="0"/>
                    </a:moveTo>
                    <a:lnTo>
                      <a:pt x="0" y="0"/>
                    </a:lnTo>
                    <a:lnTo>
                      <a:pt x="0" y="191864"/>
                    </a:lnTo>
                    <a:lnTo>
                      <a:pt x="45702" y="191864"/>
                    </a:lnTo>
                    <a:cubicBezTo>
                      <a:pt x="76861" y="191864"/>
                      <a:pt x="106864" y="199425"/>
                      <a:pt x="121263" y="226875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883" name="Forma livre: Forma 1882">
                <a:extLst>
                  <a:ext uri="{FF2B5EF4-FFF2-40B4-BE49-F238E27FC236}">
                    <a16:creationId xmlns:a16="http://schemas.microsoft.com/office/drawing/2014/main" id="{3DC63FCD-81B4-A1F5-D535-7EE09F68826D}"/>
                  </a:ext>
                </a:extLst>
              </p:cNvPr>
              <p:cNvSpPr/>
              <p:nvPr/>
            </p:nvSpPr>
            <p:spPr>
              <a:xfrm>
                <a:off x="3919730" y="3678432"/>
                <a:ext cx="52252" cy="33325"/>
              </a:xfrm>
              <a:custGeom>
                <a:avLst/>
                <a:gdLst>
                  <a:gd name="connsiteX0" fmla="*/ 52252 w 52252"/>
                  <a:gd name="connsiteY0" fmla="*/ 33326 h 33325"/>
                  <a:gd name="connsiteX1" fmla="*/ 0 w 52252"/>
                  <a:gd name="connsiteY1" fmla="*/ 0 h 333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2252" h="33325">
                    <a:moveTo>
                      <a:pt x="52252" y="33326"/>
                    </a:moveTo>
                    <a:cubicBezTo>
                      <a:pt x="41513" y="12858"/>
                      <a:pt x="22057" y="3467"/>
                      <a:pt x="0" y="0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884" name="Forma livre: Forma 1883">
              <a:extLst>
                <a:ext uri="{FF2B5EF4-FFF2-40B4-BE49-F238E27FC236}">
                  <a16:creationId xmlns:a16="http://schemas.microsoft.com/office/drawing/2014/main" id="{0FF6962C-D455-304B-04DA-70F2AE726B14}"/>
                </a:ext>
              </a:extLst>
            </p:cNvPr>
            <p:cNvSpPr/>
            <p:nvPr/>
          </p:nvSpPr>
          <p:spPr>
            <a:xfrm>
              <a:off x="3971982" y="3714021"/>
              <a:ext cx="4815" cy="182231"/>
            </a:xfrm>
            <a:custGeom>
              <a:avLst/>
              <a:gdLst>
                <a:gd name="connsiteX0" fmla="*/ 0 w 4815"/>
                <a:gd name="connsiteY0" fmla="*/ 0 h 182231"/>
                <a:gd name="connsiteX1" fmla="*/ 0 w 4815"/>
                <a:gd name="connsiteY1" fmla="*/ 182232 h 1822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815" h="182231">
                  <a:moveTo>
                    <a:pt x="0" y="0"/>
                  </a:moveTo>
                  <a:lnTo>
                    <a:pt x="0" y="182232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85" name="Forma livre: Forma 1884">
              <a:extLst>
                <a:ext uri="{FF2B5EF4-FFF2-40B4-BE49-F238E27FC236}">
                  <a16:creationId xmlns:a16="http://schemas.microsoft.com/office/drawing/2014/main" id="{D2DFE959-68D7-3B7E-0563-5CBC05F074B9}"/>
                </a:ext>
              </a:extLst>
            </p:cNvPr>
            <p:cNvSpPr/>
            <p:nvPr/>
          </p:nvSpPr>
          <p:spPr>
            <a:xfrm>
              <a:off x="3880432" y="3670534"/>
              <a:ext cx="37322" cy="59042"/>
            </a:xfrm>
            <a:custGeom>
              <a:avLst/>
              <a:gdLst>
                <a:gd name="connsiteX0" fmla="*/ 37323 w 37322"/>
                <a:gd name="connsiteY0" fmla="*/ 59042 h 59042"/>
                <a:gd name="connsiteX1" fmla="*/ 18589 w 37322"/>
                <a:gd name="connsiteY1" fmla="*/ 44884 h 59042"/>
                <a:gd name="connsiteX2" fmla="*/ 0 w 37322"/>
                <a:gd name="connsiteY2" fmla="*/ 59042 h 59042"/>
                <a:gd name="connsiteX3" fmla="*/ 0 w 37322"/>
                <a:gd name="connsiteY3" fmla="*/ 0 h 59042"/>
                <a:gd name="connsiteX4" fmla="*/ 37323 w 37322"/>
                <a:gd name="connsiteY4" fmla="*/ 0 h 59042"/>
                <a:gd name="connsiteX5" fmla="*/ 37323 w 37322"/>
                <a:gd name="connsiteY5" fmla="*/ 59042 h 590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7322" h="59042">
                  <a:moveTo>
                    <a:pt x="37323" y="59042"/>
                  </a:moveTo>
                  <a:lnTo>
                    <a:pt x="18589" y="44884"/>
                  </a:lnTo>
                  <a:lnTo>
                    <a:pt x="0" y="59042"/>
                  </a:lnTo>
                  <a:lnTo>
                    <a:pt x="0" y="0"/>
                  </a:lnTo>
                  <a:lnTo>
                    <a:pt x="37323" y="0"/>
                  </a:lnTo>
                  <a:lnTo>
                    <a:pt x="37323" y="59042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86" name="Forma livre: Forma 1885">
              <a:extLst>
                <a:ext uri="{FF2B5EF4-FFF2-40B4-BE49-F238E27FC236}">
                  <a16:creationId xmlns:a16="http://schemas.microsoft.com/office/drawing/2014/main" id="{23E3F555-D8DE-3722-266E-1DBE640D2509}"/>
                </a:ext>
              </a:extLst>
            </p:cNvPr>
            <p:cNvSpPr/>
            <p:nvPr/>
          </p:nvSpPr>
          <p:spPr>
            <a:xfrm>
              <a:off x="3821053" y="3704582"/>
              <a:ext cx="301857" cy="207274"/>
            </a:xfrm>
            <a:custGeom>
              <a:avLst/>
              <a:gdLst>
                <a:gd name="connsiteX0" fmla="*/ 301858 w 301857"/>
                <a:gd name="connsiteY0" fmla="*/ 0 h 207274"/>
                <a:gd name="connsiteX1" fmla="*/ 301858 w 301857"/>
                <a:gd name="connsiteY1" fmla="*/ 192875 h 207274"/>
                <a:gd name="connsiteX2" fmla="*/ 191141 w 301857"/>
                <a:gd name="connsiteY2" fmla="*/ 192875 h 207274"/>
                <a:gd name="connsiteX3" fmla="*/ 177368 w 301857"/>
                <a:gd name="connsiteY3" fmla="*/ 207274 h 207274"/>
                <a:gd name="connsiteX4" fmla="*/ 124490 w 301857"/>
                <a:gd name="connsiteY4" fmla="*/ 207274 h 207274"/>
                <a:gd name="connsiteX5" fmla="*/ 110717 w 301857"/>
                <a:gd name="connsiteY5" fmla="*/ 192875 h 207274"/>
                <a:gd name="connsiteX6" fmla="*/ 0 w 301857"/>
                <a:gd name="connsiteY6" fmla="*/ 192875 h 207274"/>
                <a:gd name="connsiteX7" fmla="*/ 0 w 301857"/>
                <a:gd name="connsiteY7" fmla="*/ 0 h 2072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01857" h="207274">
                  <a:moveTo>
                    <a:pt x="301858" y="0"/>
                  </a:moveTo>
                  <a:lnTo>
                    <a:pt x="301858" y="192875"/>
                  </a:lnTo>
                  <a:lnTo>
                    <a:pt x="191141" y="192875"/>
                  </a:lnTo>
                  <a:cubicBezTo>
                    <a:pt x="191141" y="192875"/>
                    <a:pt x="184977" y="207274"/>
                    <a:pt x="177368" y="207274"/>
                  </a:cubicBezTo>
                  <a:lnTo>
                    <a:pt x="124490" y="207274"/>
                  </a:lnTo>
                  <a:cubicBezTo>
                    <a:pt x="116881" y="207274"/>
                    <a:pt x="110717" y="192875"/>
                    <a:pt x="110717" y="192875"/>
                  </a:cubicBezTo>
                  <a:lnTo>
                    <a:pt x="0" y="192875"/>
                  </a:lnTo>
                  <a:lnTo>
                    <a:pt x="0" y="0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887" name="Gráfico 18">
            <a:extLst>
              <a:ext uri="{FF2B5EF4-FFF2-40B4-BE49-F238E27FC236}">
                <a16:creationId xmlns:a16="http://schemas.microsoft.com/office/drawing/2014/main" id="{DC07E322-767D-1DE1-D083-3B62A077CC77}"/>
              </a:ext>
            </a:extLst>
          </p:cNvPr>
          <p:cNvGrpSpPr/>
          <p:nvPr/>
        </p:nvGrpSpPr>
        <p:grpSpPr>
          <a:xfrm>
            <a:off x="3834152" y="4176202"/>
            <a:ext cx="275611" cy="313894"/>
            <a:chOff x="3834152" y="4176202"/>
            <a:chExt cx="275611" cy="313894"/>
          </a:xfrm>
          <a:noFill/>
        </p:grpSpPr>
        <p:sp>
          <p:nvSpPr>
            <p:cNvPr id="1888" name="Forma livre: Forma 1887">
              <a:extLst>
                <a:ext uri="{FF2B5EF4-FFF2-40B4-BE49-F238E27FC236}">
                  <a16:creationId xmlns:a16="http://schemas.microsoft.com/office/drawing/2014/main" id="{3AD41577-A906-F486-8608-B97AB97DC1A4}"/>
                </a:ext>
              </a:extLst>
            </p:cNvPr>
            <p:cNvSpPr/>
            <p:nvPr/>
          </p:nvSpPr>
          <p:spPr>
            <a:xfrm>
              <a:off x="3834152" y="4259320"/>
              <a:ext cx="51866" cy="141056"/>
            </a:xfrm>
            <a:custGeom>
              <a:avLst/>
              <a:gdLst>
                <a:gd name="connsiteX0" fmla="*/ 51867 w 51866"/>
                <a:gd name="connsiteY0" fmla="*/ 141056 h 141056"/>
                <a:gd name="connsiteX1" fmla="*/ 43921 w 51866"/>
                <a:gd name="connsiteY1" fmla="*/ 140912 h 141056"/>
                <a:gd name="connsiteX2" fmla="*/ 0 w 51866"/>
                <a:gd name="connsiteY2" fmla="*/ 97617 h 141056"/>
                <a:gd name="connsiteX3" fmla="*/ 0 w 51866"/>
                <a:gd name="connsiteY3" fmla="*/ 0 h 141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1866" h="141056">
                  <a:moveTo>
                    <a:pt x="51867" y="141056"/>
                  </a:moveTo>
                  <a:lnTo>
                    <a:pt x="43921" y="140912"/>
                  </a:lnTo>
                  <a:cubicBezTo>
                    <a:pt x="19793" y="140912"/>
                    <a:pt x="0" y="121745"/>
                    <a:pt x="0" y="97617"/>
                  </a:cubicBezTo>
                  <a:lnTo>
                    <a:pt x="0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889" name="Gráfico 18">
              <a:extLst>
                <a:ext uri="{FF2B5EF4-FFF2-40B4-BE49-F238E27FC236}">
                  <a16:creationId xmlns:a16="http://schemas.microsoft.com/office/drawing/2014/main" id="{D15DD461-A280-B2A6-D0A8-96333EF0D3E0}"/>
                </a:ext>
              </a:extLst>
            </p:cNvPr>
            <p:cNvGrpSpPr/>
            <p:nvPr/>
          </p:nvGrpSpPr>
          <p:grpSpPr>
            <a:xfrm>
              <a:off x="3853815" y="4176202"/>
              <a:ext cx="156212" cy="313894"/>
              <a:chOff x="3853815" y="4176202"/>
              <a:chExt cx="156212" cy="313894"/>
            </a:xfrm>
            <a:noFill/>
          </p:grpSpPr>
          <p:sp>
            <p:nvSpPr>
              <p:cNvPr id="1890" name="Forma livre: Forma 1889">
                <a:extLst>
                  <a:ext uri="{FF2B5EF4-FFF2-40B4-BE49-F238E27FC236}">
                    <a16:creationId xmlns:a16="http://schemas.microsoft.com/office/drawing/2014/main" id="{9B399DAB-7464-4A9C-494A-19E7F679D49C}"/>
                  </a:ext>
                </a:extLst>
              </p:cNvPr>
              <p:cNvSpPr/>
              <p:nvPr/>
            </p:nvSpPr>
            <p:spPr>
              <a:xfrm>
                <a:off x="3853815" y="4245863"/>
                <a:ext cx="156212" cy="244233"/>
              </a:xfrm>
              <a:custGeom>
                <a:avLst/>
                <a:gdLst>
                  <a:gd name="connsiteX0" fmla="*/ 114025 w 156212"/>
                  <a:gd name="connsiteY0" fmla="*/ 244233 h 244233"/>
                  <a:gd name="connsiteX1" fmla="*/ 92595 w 156212"/>
                  <a:gd name="connsiteY1" fmla="*/ 154369 h 244233"/>
                  <a:gd name="connsiteX2" fmla="*/ 23294 w 156212"/>
                  <a:gd name="connsiteY2" fmla="*/ 154369 h 244233"/>
                  <a:gd name="connsiteX3" fmla="*/ 1286 w 156212"/>
                  <a:gd name="connsiteY3" fmla="*/ 107752 h 244233"/>
                  <a:gd name="connsiteX4" fmla="*/ 16649 w 156212"/>
                  <a:gd name="connsiteY4" fmla="*/ 18177 h 244233"/>
                  <a:gd name="connsiteX5" fmla="*/ 57824 w 156212"/>
                  <a:gd name="connsiteY5" fmla="*/ 1995 h 244233"/>
                  <a:gd name="connsiteX6" fmla="*/ 81326 w 156212"/>
                  <a:gd name="connsiteY6" fmla="*/ 71392 h 244233"/>
                  <a:gd name="connsiteX7" fmla="*/ 156212 w 156212"/>
                  <a:gd name="connsiteY7" fmla="*/ 89018 h 2442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56212" h="244233">
                    <a:moveTo>
                      <a:pt x="114025" y="244233"/>
                    </a:moveTo>
                    <a:lnTo>
                      <a:pt x="92595" y="154369"/>
                    </a:lnTo>
                    <a:lnTo>
                      <a:pt x="23294" y="154369"/>
                    </a:lnTo>
                    <a:cubicBezTo>
                      <a:pt x="-4830" y="150516"/>
                      <a:pt x="-351" y="121188"/>
                      <a:pt x="1286" y="107752"/>
                    </a:cubicBezTo>
                    <a:cubicBezTo>
                      <a:pt x="4561" y="80590"/>
                      <a:pt x="9232" y="29879"/>
                      <a:pt x="16649" y="18177"/>
                    </a:cubicBezTo>
                    <a:cubicBezTo>
                      <a:pt x="29507" y="-2098"/>
                      <a:pt x="53201" y="-1761"/>
                      <a:pt x="57824" y="1995"/>
                    </a:cubicBezTo>
                    <a:cubicBezTo>
                      <a:pt x="68660" y="10712"/>
                      <a:pt x="70105" y="25738"/>
                      <a:pt x="81326" y="71392"/>
                    </a:cubicBezTo>
                    <a:lnTo>
                      <a:pt x="156212" y="89018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891" name="Forma livre: Forma 1890">
                <a:extLst>
                  <a:ext uri="{FF2B5EF4-FFF2-40B4-BE49-F238E27FC236}">
                    <a16:creationId xmlns:a16="http://schemas.microsoft.com/office/drawing/2014/main" id="{F8621209-FD94-1148-E93C-DA7830FF9032}"/>
                  </a:ext>
                </a:extLst>
              </p:cNvPr>
              <p:cNvSpPr/>
              <p:nvPr/>
            </p:nvSpPr>
            <p:spPr>
              <a:xfrm>
                <a:off x="3905382" y="4176202"/>
                <a:ext cx="50896" cy="50916"/>
              </a:xfrm>
              <a:custGeom>
                <a:avLst/>
                <a:gdLst>
                  <a:gd name="connsiteX0" fmla="*/ 44880 w 50896"/>
                  <a:gd name="connsiteY0" fmla="*/ 9002 h 50916"/>
                  <a:gd name="connsiteX1" fmla="*/ 41894 w 50896"/>
                  <a:gd name="connsiteY1" fmla="*/ 44880 h 50916"/>
                  <a:gd name="connsiteX2" fmla="*/ 6016 w 50896"/>
                  <a:gd name="connsiteY2" fmla="*/ 41895 h 50916"/>
                  <a:gd name="connsiteX3" fmla="*/ 9002 w 50896"/>
                  <a:gd name="connsiteY3" fmla="*/ 6016 h 50916"/>
                  <a:gd name="connsiteX4" fmla="*/ 44880 w 50896"/>
                  <a:gd name="connsiteY4" fmla="*/ 9002 h 509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0896" h="50916">
                    <a:moveTo>
                      <a:pt x="44880" y="9002"/>
                    </a:moveTo>
                    <a:cubicBezTo>
                      <a:pt x="53934" y="19742"/>
                      <a:pt x="52634" y="35778"/>
                      <a:pt x="41894" y="44880"/>
                    </a:cubicBezTo>
                    <a:cubicBezTo>
                      <a:pt x="31155" y="53982"/>
                      <a:pt x="15118" y="52634"/>
                      <a:pt x="6016" y="41895"/>
                    </a:cubicBezTo>
                    <a:cubicBezTo>
                      <a:pt x="-3037" y="31155"/>
                      <a:pt x="-1737" y="15118"/>
                      <a:pt x="9002" y="6016"/>
                    </a:cubicBezTo>
                    <a:cubicBezTo>
                      <a:pt x="19742" y="-3037"/>
                      <a:pt x="35778" y="-1737"/>
                      <a:pt x="44880" y="9002"/>
                    </a:cubicBezTo>
                    <a:close/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892" name="Forma livre: Forma 1891">
                <a:extLst>
                  <a:ext uri="{FF2B5EF4-FFF2-40B4-BE49-F238E27FC236}">
                    <a16:creationId xmlns:a16="http://schemas.microsoft.com/office/drawing/2014/main" id="{D22893F6-0F1C-5BB1-80B1-A2207DE7FEA4}"/>
                  </a:ext>
                </a:extLst>
              </p:cNvPr>
              <p:cNvSpPr/>
              <p:nvPr/>
            </p:nvSpPr>
            <p:spPr>
              <a:xfrm>
                <a:off x="3901333" y="4322264"/>
                <a:ext cx="93090" cy="163883"/>
              </a:xfrm>
              <a:custGeom>
                <a:avLst/>
                <a:gdLst>
                  <a:gd name="connsiteX0" fmla="*/ 5779 w 93090"/>
                  <a:gd name="connsiteY0" fmla="*/ 0 h 163883"/>
                  <a:gd name="connsiteX1" fmla="*/ 0 w 93090"/>
                  <a:gd name="connsiteY1" fmla="*/ 37130 h 163883"/>
                  <a:gd name="connsiteX2" fmla="*/ 61161 w 93090"/>
                  <a:gd name="connsiteY2" fmla="*/ 47581 h 163883"/>
                  <a:gd name="connsiteX3" fmla="*/ 75561 w 93090"/>
                  <a:gd name="connsiteY3" fmla="*/ 62799 h 163883"/>
                  <a:gd name="connsiteX4" fmla="*/ 93091 w 93090"/>
                  <a:gd name="connsiteY4" fmla="*/ 163884 h 1638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93090" h="163883">
                    <a:moveTo>
                      <a:pt x="5779" y="0"/>
                    </a:moveTo>
                    <a:lnTo>
                      <a:pt x="0" y="37130"/>
                    </a:lnTo>
                    <a:lnTo>
                      <a:pt x="61161" y="47581"/>
                    </a:lnTo>
                    <a:cubicBezTo>
                      <a:pt x="61161" y="47581"/>
                      <a:pt x="72719" y="50181"/>
                      <a:pt x="75561" y="62799"/>
                    </a:cubicBezTo>
                    <a:lnTo>
                      <a:pt x="93091" y="163884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893" name="Forma livre: Forma 1892">
                <a:extLst>
                  <a:ext uri="{FF2B5EF4-FFF2-40B4-BE49-F238E27FC236}">
                    <a16:creationId xmlns:a16="http://schemas.microsoft.com/office/drawing/2014/main" id="{75B8A4DE-906C-F358-291C-A13F341B3AD1}"/>
                  </a:ext>
                </a:extLst>
              </p:cNvPr>
              <p:cNvSpPr/>
              <p:nvPr/>
            </p:nvSpPr>
            <p:spPr>
              <a:xfrm>
                <a:off x="3898732" y="4295054"/>
                <a:ext cx="15121" cy="47532"/>
              </a:xfrm>
              <a:custGeom>
                <a:avLst/>
                <a:gdLst>
                  <a:gd name="connsiteX0" fmla="*/ 0 w 15121"/>
                  <a:gd name="connsiteY0" fmla="*/ 0 h 47532"/>
                  <a:gd name="connsiteX1" fmla="*/ 15122 w 15121"/>
                  <a:gd name="connsiteY1" fmla="*/ 47532 h 475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5121" h="47532">
                    <a:moveTo>
                      <a:pt x="0" y="0"/>
                    </a:moveTo>
                    <a:lnTo>
                      <a:pt x="15122" y="47532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894" name="Forma livre: Forma 1893">
              <a:extLst>
                <a:ext uri="{FF2B5EF4-FFF2-40B4-BE49-F238E27FC236}">
                  <a16:creationId xmlns:a16="http://schemas.microsoft.com/office/drawing/2014/main" id="{1956DB80-3B34-8808-9532-784518891E55}"/>
                </a:ext>
              </a:extLst>
            </p:cNvPr>
            <p:cNvSpPr/>
            <p:nvPr/>
          </p:nvSpPr>
          <p:spPr>
            <a:xfrm>
              <a:off x="3901718" y="4345476"/>
              <a:ext cx="208045" cy="4815"/>
            </a:xfrm>
            <a:custGeom>
              <a:avLst/>
              <a:gdLst>
                <a:gd name="connsiteX0" fmla="*/ 0 w 208045"/>
                <a:gd name="connsiteY0" fmla="*/ 0 h 4815"/>
                <a:gd name="connsiteX1" fmla="*/ 208045 w 208045"/>
                <a:gd name="connsiteY1" fmla="*/ 0 h 48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08045" h="4815">
                  <a:moveTo>
                    <a:pt x="0" y="0"/>
                  </a:moveTo>
                  <a:lnTo>
                    <a:pt x="208045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95" name="Forma livre: Forma 1894">
              <a:extLst>
                <a:ext uri="{FF2B5EF4-FFF2-40B4-BE49-F238E27FC236}">
                  <a16:creationId xmlns:a16="http://schemas.microsoft.com/office/drawing/2014/main" id="{66650F4C-3592-621B-F272-CD707F24AC02}"/>
                </a:ext>
              </a:extLst>
            </p:cNvPr>
            <p:cNvSpPr/>
            <p:nvPr/>
          </p:nvSpPr>
          <p:spPr>
            <a:xfrm>
              <a:off x="4080627" y="4345669"/>
              <a:ext cx="4815" cy="142741"/>
            </a:xfrm>
            <a:custGeom>
              <a:avLst/>
              <a:gdLst>
                <a:gd name="connsiteX0" fmla="*/ 0 w 4815"/>
                <a:gd name="connsiteY0" fmla="*/ 0 h 142741"/>
                <a:gd name="connsiteX1" fmla="*/ 0 w 4815"/>
                <a:gd name="connsiteY1" fmla="*/ 142742 h 1427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815" h="142741">
                  <a:moveTo>
                    <a:pt x="0" y="0"/>
                  </a:moveTo>
                  <a:lnTo>
                    <a:pt x="0" y="142742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96" name="Forma livre: Forma 1895">
              <a:extLst>
                <a:ext uri="{FF2B5EF4-FFF2-40B4-BE49-F238E27FC236}">
                  <a16:creationId xmlns:a16="http://schemas.microsoft.com/office/drawing/2014/main" id="{91D42DEB-DA25-F164-7724-EDD42955312B}"/>
                </a:ext>
              </a:extLst>
            </p:cNvPr>
            <p:cNvSpPr/>
            <p:nvPr/>
          </p:nvSpPr>
          <p:spPr>
            <a:xfrm>
              <a:off x="3886356" y="4402881"/>
              <a:ext cx="4815" cy="85529"/>
            </a:xfrm>
            <a:custGeom>
              <a:avLst/>
              <a:gdLst>
                <a:gd name="connsiteX0" fmla="*/ 0 w 4815"/>
                <a:gd name="connsiteY0" fmla="*/ 0 h 85529"/>
                <a:gd name="connsiteX1" fmla="*/ 0 w 4815"/>
                <a:gd name="connsiteY1" fmla="*/ 85530 h 855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815" h="85529">
                  <a:moveTo>
                    <a:pt x="0" y="0"/>
                  </a:moveTo>
                  <a:lnTo>
                    <a:pt x="0" y="8553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897" name="Gráfico 18">
            <a:extLst>
              <a:ext uri="{FF2B5EF4-FFF2-40B4-BE49-F238E27FC236}">
                <a16:creationId xmlns:a16="http://schemas.microsoft.com/office/drawing/2014/main" id="{E49228BE-0803-FF9B-7FC8-3A19E585F585}"/>
              </a:ext>
            </a:extLst>
          </p:cNvPr>
          <p:cNvGrpSpPr/>
          <p:nvPr/>
        </p:nvGrpSpPr>
        <p:grpSpPr>
          <a:xfrm>
            <a:off x="3831644" y="5270409"/>
            <a:ext cx="280675" cy="293387"/>
            <a:chOff x="3831644" y="5270409"/>
            <a:chExt cx="280675" cy="293387"/>
          </a:xfrm>
          <a:noFill/>
        </p:grpSpPr>
        <p:sp>
          <p:nvSpPr>
            <p:cNvPr id="1898" name="Forma livre: Forma 1897">
              <a:extLst>
                <a:ext uri="{FF2B5EF4-FFF2-40B4-BE49-F238E27FC236}">
                  <a16:creationId xmlns:a16="http://schemas.microsoft.com/office/drawing/2014/main" id="{DAB61956-644B-141D-42A2-96188789C2BF}"/>
                </a:ext>
              </a:extLst>
            </p:cNvPr>
            <p:cNvSpPr/>
            <p:nvPr/>
          </p:nvSpPr>
          <p:spPr>
            <a:xfrm>
              <a:off x="3893724" y="5270409"/>
              <a:ext cx="78209" cy="78209"/>
            </a:xfrm>
            <a:custGeom>
              <a:avLst/>
              <a:gdLst>
                <a:gd name="connsiteX0" fmla="*/ 39105 w 78209"/>
                <a:gd name="connsiteY0" fmla="*/ 78210 h 78209"/>
                <a:gd name="connsiteX1" fmla="*/ 0 w 78209"/>
                <a:gd name="connsiteY1" fmla="*/ 39105 h 78209"/>
                <a:gd name="connsiteX2" fmla="*/ 39105 w 78209"/>
                <a:gd name="connsiteY2" fmla="*/ 0 h 78209"/>
                <a:gd name="connsiteX3" fmla="*/ 78209 w 78209"/>
                <a:gd name="connsiteY3" fmla="*/ 39105 h 782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8209" h="78209">
                  <a:moveTo>
                    <a:pt x="39105" y="78210"/>
                  </a:moveTo>
                  <a:cubicBezTo>
                    <a:pt x="17482" y="78210"/>
                    <a:pt x="0" y="60680"/>
                    <a:pt x="0" y="39105"/>
                  </a:cubicBezTo>
                  <a:cubicBezTo>
                    <a:pt x="0" y="17530"/>
                    <a:pt x="17530" y="0"/>
                    <a:pt x="39105" y="0"/>
                  </a:cubicBezTo>
                  <a:cubicBezTo>
                    <a:pt x="60680" y="0"/>
                    <a:pt x="78209" y="17530"/>
                    <a:pt x="78209" y="39105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99" name="Forma livre: Forma 1898">
              <a:extLst>
                <a:ext uri="{FF2B5EF4-FFF2-40B4-BE49-F238E27FC236}">
                  <a16:creationId xmlns:a16="http://schemas.microsoft.com/office/drawing/2014/main" id="{DB4F40C6-41E9-21E5-6763-C80E2F3EE1B6}"/>
                </a:ext>
              </a:extLst>
            </p:cNvPr>
            <p:cNvSpPr/>
            <p:nvPr/>
          </p:nvSpPr>
          <p:spPr>
            <a:xfrm>
              <a:off x="3894999" y="5475468"/>
              <a:ext cx="77030" cy="88328"/>
            </a:xfrm>
            <a:custGeom>
              <a:avLst/>
              <a:gdLst>
                <a:gd name="connsiteX0" fmla="*/ 77031 w 77030"/>
                <a:gd name="connsiteY0" fmla="*/ 50807 h 88328"/>
                <a:gd name="connsiteX1" fmla="*/ 58345 w 77030"/>
                <a:gd name="connsiteY1" fmla="*/ 82833 h 88328"/>
                <a:gd name="connsiteX2" fmla="*/ 5515 w 77030"/>
                <a:gd name="connsiteY2" fmla="*/ 69637 h 88328"/>
                <a:gd name="connsiteX3" fmla="*/ 10139 w 77030"/>
                <a:gd name="connsiteY3" fmla="*/ 23790 h 88328"/>
                <a:gd name="connsiteX4" fmla="*/ 32003 w 77030"/>
                <a:gd name="connsiteY4" fmla="*/ 0 h 883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7030" h="88328">
                  <a:moveTo>
                    <a:pt x="77031" y="50807"/>
                  </a:moveTo>
                  <a:cubicBezTo>
                    <a:pt x="76694" y="63521"/>
                    <a:pt x="70096" y="75802"/>
                    <a:pt x="58345" y="82833"/>
                  </a:cubicBezTo>
                  <a:cubicBezTo>
                    <a:pt x="40141" y="93765"/>
                    <a:pt x="16447" y="87889"/>
                    <a:pt x="5515" y="69637"/>
                  </a:cubicBezTo>
                  <a:cubicBezTo>
                    <a:pt x="-3490" y="54660"/>
                    <a:pt x="-1131" y="36023"/>
                    <a:pt x="10139" y="23790"/>
                  </a:cubicBezTo>
                  <a:lnTo>
                    <a:pt x="32003" y="0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00" name="Forma livre: Forma 1899">
              <a:extLst>
                <a:ext uri="{FF2B5EF4-FFF2-40B4-BE49-F238E27FC236}">
                  <a16:creationId xmlns:a16="http://schemas.microsoft.com/office/drawing/2014/main" id="{C86A5BBE-26D4-77A9-DAAC-63127025610B}"/>
                </a:ext>
              </a:extLst>
            </p:cNvPr>
            <p:cNvSpPr/>
            <p:nvPr/>
          </p:nvSpPr>
          <p:spPr>
            <a:xfrm>
              <a:off x="3972126" y="5270409"/>
              <a:ext cx="76631" cy="293376"/>
            </a:xfrm>
            <a:custGeom>
              <a:avLst/>
              <a:gdLst>
                <a:gd name="connsiteX0" fmla="*/ 63521 w 76631"/>
                <a:gd name="connsiteY0" fmla="*/ 225623 h 293376"/>
                <a:gd name="connsiteX1" fmla="*/ 66507 w 76631"/>
                <a:gd name="connsiteY1" fmla="*/ 228850 h 293376"/>
                <a:gd name="connsiteX2" fmla="*/ 71130 w 76631"/>
                <a:gd name="connsiteY2" fmla="*/ 274696 h 293376"/>
                <a:gd name="connsiteX3" fmla="*/ 18300 w 76631"/>
                <a:gd name="connsiteY3" fmla="*/ 287892 h 293376"/>
                <a:gd name="connsiteX4" fmla="*/ 0 w 76631"/>
                <a:gd name="connsiteY4" fmla="*/ 255866 h 293376"/>
                <a:gd name="connsiteX5" fmla="*/ 0 w 76631"/>
                <a:gd name="connsiteY5" fmla="*/ 39105 h 293376"/>
                <a:gd name="connsiteX6" fmla="*/ 38816 w 76631"/>
                <a:gd name="connsiteY6" fmla="*/ 0 h 293376"/>
                <a:gd name="connsiteX7" fmla="*/ 64244 w 76631"/>
                <a:gd name="connsiteY7" fmla="*/ 9584 h 2933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6631" h="293376">
                  <a:moveTo>
                    <a:pt x="63521" y="225623"/>
                  </a:moveTo>
                  <a:lnTo>
                    <a:pt x="66507" y="228850"/>
                  </a:lnTo>
                  <a:cubicBezTo>
                    <a:pt x="77728" y="241082"/>
                    <a:pt x="80136" y="259719"/>
                    <a:pt x="71130" y="274696"/>
                  </a:cubicBezTo>
                  <a:cubicBezTo>
                    <a:pt x="60198" y="292900"/>
                    <a:pt x="36504" y="298824"/>
                    <a:pt x="18300" y="287892"/>
                  </a:cubicBezTo>
                  <a:cubicBezTo>
                    <a:pt x="6598" y="280861"/>
                    <a:pt x="337" y="268580"/>
                    <a:pt x="0" y="255866"/>
                  </a:cubicBezTo>
                  <a:lnTo>
                    <a:pt x="0" y="39105"/>
                  </a:lnTo>
                  <a:cubicBezTo>
                    <a:pt x="0" y="17482"/>
                    <a:pt x="17241" y="0"/>
                    <a:pt x="38816" y="0"/>
                  </a:cubicBezTo>
                  <a:cubicBezTo>
                    <a:pt x="47725" y="0"/>
                    <a:pt x="57453" y="3756"/>
                    <a:pt x="64244" y="9584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01" name="Forma livre: Forma 1900">
              <a:extLst>
                <a:ext uri="{FF2B5EF4-FFF2-40B4-BE49-F238E27FC236}">
                  <a16:creationId xmlns:a16="http://schemas.microsoft.com/office/drawing/2014/main" id="{70A8C7E2-FBDB-52D6-89C0-7E5C46F4DF66}"/>
                </a:ext>
              </a:extLst>
            </p:cNvPr>
            <p:cNvSpPr/>
            <p:nvPr/>
          </p:nvSpPr>
          <p:spPr>
            <a:xfrm>
              <a:off x="3831644" y="5313318"/>
              <a:ext cx="62224" cy="212283"/>
            </a:xfrm>
            <a:custGeom>
              <a:avLst/>
              <a:gdLst>
                <a:gd name="connsiteX0" fmla="*/ 39109 w 62224"/>
                <a:gd name="connsiteY0" fmla="*/ 0 h 212283"/>
                <a:gd name="connsiteX1" fmla="*/ 26106 w 62224"/>
                <a:gd name="connsiteY1" fmla="*/ 46136 h 212283"/>
                <a:gd name="connsiteX2" fmla="*/ 21290 w 62224"/>
                <a:gd name="connsiteY2" fmla="*/ 143657 h 212283"/>
                <a:gd name="connsiteX3" fmla="*/ 62225 w 62224"/>
                <a:gd name="connsiteY3" fmla="*/ 212283 h 2122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2224" h="212283">
                  <a:moveTo>
                    <a:pt x="39109" y="0"/>
                  </a:moveTo>
                  <a:cubicBezTo>
                    <a:pt x="28610" y="5586"/>
                    <a:pt x="19075" y="18108"/>
                    <a:pt x="26106" y="46136"/>
                  </a:cubicBezTo>
                  <a:cubicBezTo>
                    <a:pt x="26106" y="46136"/>
                    <a:pt x="-29277" y="94295"/>
                    <a:pt x="21290" y="143657"/>
                  </a:cubicBezTo>
                  <a:cubicBezTo>
                    <a:pt x="21290" y="143657"/>
                    <a:pt x="6842" y="208671"/>
                    <a:pt x="62225" y="212283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902" name="Gráfico 18">
              <a:extLst>
                <a:ext uri="{FF2B5EF4-FFF2-40B4-BE49-F238E27FC236}">
                  <a16:creationId xmlns:a16="http://schemas.microsoft.com/office/drawing/2014/main" id="{6A47C292-C5C2-A884-AD77-1F8DF082A305}"/>
                </a:ext>
              </a:extLst>
            </p:cNvPr>
            <p:cNvGrpSpPr/>
            <p:nvPr/>
          </p:nvGrpSpPr>
          <p:grpSpPr>
            <a:xfrm>
              <a:off x="3876868" y="5284086"/>
              <a:ext cx="95223" cy="234917"/>
              <a:chOff x="3876868" y="5284086"/>
              <a:chExt cx="95223" cy="234917"/>
            </a:xfrm>
            <a:noFill/>
          </p:grpSpPr>
          <p:sp>
            <p:nvSpPr>
              <p:cNvPr id="1903" name="Forma livre: Forma 1902">
                <a:extLst>
                  <a:ext uri="{FF2B5EF4-FFF2-40B4-BE49-F238E27FC236}">
                    <a16:creationId xmlns:a16="http://schemas.microsoft.com/office/drawing/2014/main" id="{93088D3F-9176-29ED-D387-E4FC172E7217}"/>
                  </a:ext>
                </a:extLst>
              </p:cNvPr>
              <p:cNvSpPr/>
              <p:nvPr/>
            </p:nvSpPr>
            <p:spPr>
              <a:xfrm>
                <a:off x="3937163" y="5284086"/>
                <a:ext cx="33088" cy="36546"/>
              </a:xfrm>
              <a:custGeom>
                <a:avLst/>
                <a:gdLst>
                  <a:gd name="connsiteX0" fmla="*/ 25283 w 33088"/>
                  <a:gd name="connsiteY0" fmla="*/ 0 h 36546"/>
                  <a:gd name="connsiteX1" fmla="*/ 28751 w 33088"/>
                  <a:gd name="connsiteY1" fmla="*/ 28751 h 36546"/>
                  <a:gd name="connsiteX2" fmla="*/ 0 w 33088"/>
                  <a:gd name="connsiteY2" fmla="*/ 32170 h 365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3088" h="36546">
                    <a:moveTo>
                      <a:pt x="25283" y="0"/>
                    </a:moveTo>
                    <a:cubicBezTo>
                      <a:pt x="34144" y="6983"/>
                      <a:pt x="35686" y="19889"/>
                      <a:pt x="28751" y="28751"/>
                    </a:cubicBezTo>
                    <a:cubicBezTo>
                      <a:pt x="21768" y="37612"/>
                      <a:pt x="8861" y="39153"/>
                      <a:pt x="0" y="32170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904" name="Forma livre: Forma 1903">
                <a:extLst>
                  <a:ext uri="{FF2B5EF4-FFF2-40B4-BE49-F238E27FC236}">
                    <a16:creationId xmlns:a16="http://schemas.microsoft.com/office/drawing/2014/main" id="{8564B7BD-307B-812C-A48A-E3CC752C6FC2}"/>
                  </a:ext>
                </a:extLst>
              </p:cNvPr>
              <p:cNvSpPr/>
              <p:nvPr/>
            </p:nvSpPr>
            <p:spPr>
              <a:xfrm>
                <a:off x="3891896" y="5345087"/>
                <a:ext cx="25329" cy="40325"/>
              </a:xfrm>
              <a:custGeom>
                <a:avLst/>
                <a:gdLst>
                  <a:gd name="connsiteX0" fmla="*/ 15601 w 25329"/>
                  <a:gd name="connsiteY0" fmla="*/ 40325 h 40325"/>
                  <a:gd name="connsiteX1" fmla="*/ 576 w 25329"/>
                  <a:gd name="connsiteY1" fmla="*/ 15572 h 40325"/>
                  <a:gd name="connsiteX2" fmla="*/ 25329 w 25329"/>
                  <a:gd name="connsiteY2" fmla="*/ 594 h 403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5329" h="40325">
                    <a:moveTo>
                      <a:pt x="15601" y="40325"/>
                    </a:moveTo>
                    <a:cubicBezTo>
                      <a:pt x="4669" y="37628"/>
                      <a:pt x="-2073" y="26504"/>
                      <a:pt x="576" y="15572"/>
                    </a:cubicBezTo>
                    <a:cubicBezTo>
                      <a:pt x="3225" y="4639"/>
                      <a:pt x="14397" y="-2103"/>
                      <a:pt x="25329" y="594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905" name="Forma livre: Forma 1904">
                <a:extLst>
                  <a:ext uri="{FF2B5EF4-FFF2-40B4-BE49-F238E27FC236}">
                    <a16:creationId xmlns:a16="http://schemas.microsoft.com/office/drawing/2014/main" id="{EBA41A30-21B6-C693-A76B-F596A9B72AC0}"/>
                  </a:ext>
                </a:extLst>
              </p:cNvPr>
              <p:cNvSpPr/>
              <p:nvPr/>
            </p:nvSpPr>
            <p:spPr>
              <a:xfrm>
                <a:off x="3886067" y="5391517"/>
                <a:ext cx="84614" cy="56645"/>
              </a:xfrm>
              <a:custGeom>
                <a:avLst/>
                <a:gdLst>
                  <a:gd name="connsiteX0" fmla="*/ 84615 w 84614"/>
                  <a:gd name="connsiteY0" fmla="*/ 5550 h 56645"/>
                  <a:gd name="connsiteX1" fmla="*/ 54708 w 84614"/>
                  <a:gd name="connsiteY1" fmla="*/ 6946 h 56645"/>
                  <a:gd name="connsiteX2" fmla="*/ 0 w 84614"/>
                  <a:gd name="connsiteY2" fmla="*/ 56646 h 566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4614" h="56645">
                    <a:moveTo>
                      <a:pt x="84615" y="5550"/>
                    </a:moveTo>
                    <a:cubicBezTo>
                      <a:pt x="75753" y="-2589"/>
                      <a:pt x="62173" y="-1482"/>
                      <a:pt x="54708" y="6946"/>
                    </a:cubicBezTo>
                    <a:cubicBezTo>
                      <a:pt x="54708" y="6946"/>
                      <a:pt x="23309" y="56646"/>
                      <a:pt x="0" y="56646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906" name="Forma livre: Forma 1905">
                <a:extLst>
                  <a:ext uri="{FF2B5EF4-FFF2-40B4-BE49-F238E27FC236}">
                    <a16:creationId xmlns:a16="http://schemas.microsoft.com/office/drawing/2014/main" id="{1BDD7200-AE5C-3F1D-4F39-3BDDE6C5D2E0}"/>
                  </a:ext>
                </a:extLst>
              </p:cNvPr>
              <p:cNvSpPr/>
              <p:nvPr/>
            </p:nvSpPr>
            <p:spPr>
              <a:xfrm>
                <a:off x="3944242" y="5503570"/>
                <a:ext cx="27849" cy="15433"/>
              </a:xfrm>
              <a:custGeom>
                <a:avLst/>
                <a:gdLst>
                  <a:gd name="connsiteX0" fmla="*/ 0 w 27849"/>
                  <a:gd name="connsiteY0" fmla="*/ 7776 h 15433"/>
                  <a:gd name="connsiteX1" fmla="*/ 20082 w 27849"/>
                  <a:gd name="connsiteY1" fmla="*/ 1756 h 15433"/>
                  <a:gd name="connsiteX2" fmla="*/ 27836 w 27849"/>
                  <a:gd name="connsiteY2" fmla="*/ 15434 h 154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7849" h="15433">
                    <a:moveTo>
                      <a:pt x="0" y="7776"/>
                    </a:moveTo>
                    <a:cubicBezTo>
                      <a:pt x="3853" y="601"/>
                      <a:pt x="12907" y="-2096"/>
                      <a:pt x="20082" y="1756"/>
                    </a:cubicBezTo>
                    <a:cubicBezTo>
                      <a:pt x="25235" y="4501"/>
                      <a:pt x="28077" y="9943"/>
                      <a:pt x="27836" y="15434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907" name="Forma livre: Forma 1906">
                <a:extLst>
                  <a:ext uri="{FF2B5EF4-FFF2-40B4-BE49-F238E27FC236}">
                    <a16:creationId xmlns:a16="http://schemas.microsoft.com/office/drawing/2014/main" id="{03A06BD2-DB00-F3F8-E623-81C0FFA2EAB4}"/>
                  </a:ext>
                </a:extLst>
              </p:cNvPr>
              <p:cNvSpPr/>
              <p:nvPr/>
            </p:nvSpPr>
            <p:spPr>
              <a:xfrm>
                <a:off x="3890690" y="5482885"/>
                <a:ext cx="21719" cy="7657"/>
              </a:xfrm>
              <a:custGeom>
                <a:avLst/>
                <a:gdLst>
                  <a:gd name="connsiteX0" fmla="*/ 0 w 21719"/>
                  <a:gd name="connsiteY0" fmla="*/ 0 h 7657"/>
                  <a:gd name="connsiteX1" fmla="*/ 21720 w 21719"/>
                  <a:gd name="connsiteY1" fmla="*/ 7657 h 76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1719" h="7657">
                    <a:moveTo>
                      <a:pt x="0" y="0"/>
                    </a:moveTo>
                    <a:lnTo>
                      <a:pt x="21720" y="7657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908" name="Forma livre: Forma 1907">
                <a:extLst>
                  <a:ext uri="{FF2B5EF4-FFF2-40B4-BE49-F238E27FC236}">
                    <a16:creationId xmlns:a16="http://schemas.microsoft.com/office/drawing/2014/main" id="{5C999FD7-8BFD-2B80-2BC2-07FB911F8A20}"/>
                  </a:ext>
                </a:extLst>
              </p:cNvPr>
              <p:cNvSpPr/>
              <p:nvPr/>
            </p:nvSpPr>
            <p:spPr>
              <a:xfrm>
                <a:off x="3876868" y="5407613"/>
                <a:ext cx="34914" cy="25283"/>
              </a:xfrm>
              <a:custGeom>
                <a:avLst/>
                <a:gdLst>
                  <a:gd name="connsiteX0" fmla="*/ 0 w 34914"/>
                  <a:gd name="connsiteY0" fmla="*/ 0 h 25283"/>
                  <a:gd name="connsiteX1" fmla="*/ 34915 w 34914"/>
                  <a:gd name="connsiteY1" fmla="*/ 25283 h 252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4914" h="25283">
                    <a:moveTo>
                      <a:pt x="0" y="0"/>
                    </a:moveTo>
                    <a:cubicBezTo>
                      <a:pt x="0" y="0"/>
                      <a:pt x="20467" y="9632"/>
                      <a:pt x="34915" y="25283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909" name="Gráfico 18">
              <a:extLst>
                <a:ext uri="{FF2B5EF4-FFF2-40B4-BE49-F238E27FC236}">
                  <a16:creationId xmlns:a16="http://schemas.microsoft.com/office/drawing/2014/main" id="{E38D2526-E2E9-8270-427C-915209139252}"/>
                </a:ext>
              </a:extLst>
            </p:cNvPr>
            <p:cNvGrpSpPr/>
            <p:nvPr/>
          </p:nvGrpSpPr>
          <p:grpSpPr>
            <a:xfrm>
              <a:off x="3972068" y="5299979"/>
              <a:ext cx="140251" cy="225622"/>
              <a:chOff x="3972068" y="5299979"/>
              <a:chExt cx="140251" cy="225622"/>
            </a:xfrm>
            <a:noFill/>
          </p:grpSpPr>
          <p:sp>
            <p:nvSpPr>
              <p:cNvPr id="1910" name="Forma livre: Forma 1909">
                <a:extLst>
                  <a:ext uri="{FF2B5EF4-FFF2-40B4-BE49-F238E27FC236}">
                    <a16:creationId xmlns:a16="http://schemas.microsoft.com/office/drawing/2014/main" id="{91303A7F-787F-96E6-434B-5B631EAB47B9}"/>
                  </a:ext>
                </a:extLst>
              </p:cNvPr>
              <p:cNvSpPr/>
              <p:nvPr/>
            </p:nvSpPr>
            <p:spPr>
              <a:xfrm>
                <a:off x="4002225" y="5327854"/>
                <a:ext cx="39730" cy="20813"/>
              </a:xfrm>
              <a:custGeom>
                <a:avLst/>
                <a:gdLst>
                  <a:gd name="connsiteX0" fmla="*/ 0 w 39730"/>
                  <a:gd name="connsiteY0" fmla="*/ 972 h 20813"/>
                  <a:gd name="connsiteX1" fmla="*/ 39731 w 39730"/>
                  <a:gd name="connsiteY1" fmla="*/ 20813 h 208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9730" h="20813">
                    <a:moveTo>
                      <a:pt x="0" y="972"/>
                    </a:moveTo>
                    <a:cubicBezTo>
                      <a:pt x="16567" y="-3025"/>
                      <a:pt x="33229" y="5643"/>
                      <a:pt x="39731" y="20813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911" name="Forma livre: Forma 1910">
                <a:extLst>
                  <a:ext uri="{FF2B5EF4-FFF2-40B4-BE49-F238E27FC236}">
                    <a16:creationId xmlns:a16="http://schemas.microsoft.com/office/drawing/2014/main" id="{EE7CEEE9-6B8F-CADC-72EE-E9E74C6952AF}"/>
                  </a:ext>
                </a:extLst>
              </p:cNvPr>
              <p:cNvSpPr/>
              <p:nvPr/>
            </p:nvSpPr>
            <p:spPr>
              <a:xfrm>
                <a:off x="4005211" y="5470556"/>
                <a:ext cx="38554" cy="36971"/>
              </a:xfrm>
              <a:custGeom>
                <a:avLst/>
                <a:gdLst>
                  <a:gd name="connsiteX0" fmla="*/ 38479 w 38554"/>
                  <a:gd name="connsiteY0" fmla="*/ 0 h 36971"/>
                  <a:gd name="connsiteX1" fmla="*/ 24079 w 38554"/>
                  <a:gd name="connsiteY1" fmla="*/ 29473 h 36971"/>
                  <a:gd name="connsiteX2" fmla="*/ 0 w 38554"/>
                  <a:gd name="connsiteY2" fmla="*/ 36889 h 369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8554" h="36971">
                    <a:moveTo>
                      <a:pt x="38479" y="0"/>
                    </a:moveTo>
                    <a:cubicBezTo>
                      <a:pt x="39249" y="10547"/>
                      <a:pt x="34144" y="21912"/>
                      <a:pt x="24079" y="29473"/>
                    </a:cubicBezTo>
                    <a:cubicBezTo>
                      <a:pt x="16663" y="35011"/>
                      <a:pt x="7994" y="37467"/>
                      <a:pt x="0" y="36889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912" name="Forma livre: Forma 1911">
                <a:extLst>
                  <a:ext uri="{FF2B5EF4-FFF2-40B4-BE49-F238E27FC236}">
                    <a16:creationId xmlns:a16="http://schemas.microsoft.com/office/drawing/2014/main" id="{D23FA4E4-17E5-476A-6D8B-D74DF6E5FB29}"/>
                  </a:ext>
                </a:extLst>
              </p:cNvPr>
              <p:cNvSpPr/>
              <p:nvPr/>
            </p:nvSpPr>
            <p:spPr>
              <a:xfrm>
                <a:off x="3972068" y="5460227"/>
                <a:ext cx="33720" cy="15433"/>
              </a:xfrm>
              <a:custGeom>
                <a:avLst/>
                <a:gdLst>
                  <a:gd name="connsiteX0" fmla="*/ 33721 w 33720"/>
                  <a:gd name="connsiteY0" fmla="*/ 7776 h 15433"/>
                  <a:gd name="connsiteX1" fmla="*/ 9256 w 33720"/>
                  <a:gd name="connsiteY1" fmla="*/ 1756 h 15433"/>
                  <a:gd name="connsiteX2" fmla="*/ 10 w 33720"/>
                  <a:gd name="connsiteY2" fmla="*/ 15434 h 154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3720" h="15433">
                    <a:moveTo>
                      <a:pt x="33721" y="7776"/>
                    </a:moveTo>
                    <a:cubicBezTo>
                      <a:pt x="29868" y="601"/>
                      <a:pt x="16432" y="-2096"/>
                      <a:pt x="9256" y="1756"/>
                    </a:cubicBezTo>
                    <a:cubicBezTo>
                      <a:pt x="4103" y="4501"/>
                      <a:pt x="-231" y="9943"/>
                      <a:pt x="10" y="15434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913" name="Forma livre: Forma 1912">
                <a:extLst>
                  <a:ext uri="{FF2B5EF4-FFF2-40B4-BE49-F238E27FC236}">
                    <a16:creationId xmlns:a16="http://schemas.microsoft.com/office/drawing/2014/main" id="{47603244-72D8-D69B-CF9A-1E8DDE6A14E4}"/>
                  </a:ext>
                </a:extLst>
              </p:cNvPr>
              <p:cNvSpPr/>
              <p:nvPr/>
            </p:nvSpPr>
            <p:spPr>
              <a:xfrm>
                <a:off x="4050095" y="5359454"/>
                <a:ext cx="62224" cy="166147"/>
              </a:xfrm>
              <a:custGeom>
                <a:avLst/>
                <a:gdLst>
                  <a:gd name="connsiteX0" fmla="*/ 36119 w 62224"/>
                  <a:gd name="connsiteY0" fmla="*/ 0 h 166147"/>
                  <a:gd name="connsiteX1" fmla="*/ 40935 w 62224"/>
                  <a:gd name="connsiteY1" fmla="*/ 97521 h 166147"/>
                  <a:gd name="connsiteX2" fmla="*/ 0 w 62224"/>
                  <a:gd name="connsiteY2" fmla="*/ 166147 h 1661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62224" h="166147">
                    <a:moveTo>
                      <a:pt x="36119" y="0"/>
                    </a:moveTo>
                    <a:cubicBezTo>
                      <a:pt x="36119" y="0"/>
                      <a:pt x="91501" y="48159"/>
                      <a:pt x="40935" y="97521"/>
                    </a:cubicBezTo>
                    <a:cubicBezTo>
                      <a:pt x="40935" y="97521"/>
                      <a:pt x="55382" y="162535"/>
                      <a:pt x="0" y="166147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914" name="Forma livre: Forma 1913">
                <a:extLst>
                  <a:ext uri="{FF2B5EF4-FFF2-40B4-BE49-F238E27FC236}">
                    <a16:creationId xmlns:a16="http://schemas.microsoft.com/office/drawing/2014/main" id="{B141A4A0-5A01-B1EF-814D-CF7BAD0FB766}"/>
                  </a:ext>
                </a:extLst>
              </p:cNvPr>
              <p:cNvSpPr/>
              <p:nvPr/>
            </p:nvSpPr>
            <p:spPr>
              <a:xfrm>
                <a:off x="3973812" y="5408095"/>
                <a:ext cx="55623" cy="21163"/>
              </a:xfrm>
              <a:custGeom>
                <a:avLst/>
                <a:gdLst>
                  <a:gd name="connsiteX0" fmla="*/ 0 w 55623"/>
                  <a:gd name="connsiteY0" fmla="*/ 19360 h 21163"/>
                  <a:gd name="connsiteX1" fmla="*/ 55623 w 55623"/>
                  <a:gd name="connsiteY1" fmla="*/ 0 h 211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5623" h="21163">
                    <a:moveTo>
                      <a:pt x="0" y="19360"/>
                    </a:moveTo>
                    <a:cubicBezTo>
                      <a:pt x="0" y="19360"/>
                      <a:pt x="39105" y="29906"/>
                      <a:pt x="55623" y="0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915" name="Forma livre: Forma 1914">
                <a:extLst>
                  <a:ext uri="{FF2B5EF4-FFF2-40B4-BE49-F238E27FC236}">
                    <a16:creationId xmlns:a16="http://schemas.microsoft.com/office/drawing/2014/main" id="{71A6E8D2-8129-B601-253B-0C4835D5FC92}"/>
                  </a:ext>
                </a:extLst>
              </p:cNvPr>
              <p:cNvSpPr/>
              <p:nvPr/>
            </p:nvSpPr>
            <p:spPr>
              <a:xfrm>
                <a:off x="4020140" y="5419075"/>
                <a:ext cx="46954" cy="10846"/>
              </a:xfrm>
              <a:custGeom>
                <a:avLst/>
                <a:gdLst>
                  <a:gd name="connsiteX0" fmla="*/ 0 w 46954"/>
                  <a:gd name="connsiteY0" fmla="*/ 2167 h 10846"/>
                  <a:gd name="connsiteX1" fmla="*/ 46955 w 46954"/>
                  <a:gd name="connsiteY1" fmla="*/ 0 h 108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6954" h="10846">
                    <a:moveTo>
                      <a:pt x="0" y="2167"/>
                    </a:moveTo>
                    <a:cubicBezTo>
                      <a:pt x="0" y="2167"/>
                      <a:pt x="25909" y="23068"/>
                      <a:pt x="46955" y="0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916" name="Forma livre: Forma 1915">
                <a:extLst>
                  <a:ext uri="{FF2B5EF4-FFF2-40B4-BE49-F238E27FC236}">
                    <a16:creationId xmlns:a16="http://schemas.microsoft.com/office/drawing/2014/main" id="{68D02345-1533-81B2-3003-71A47599B2E8}"/>
                  </a:ext>
                </a:extLst>
              </p:cNvPr>
              <p:cNvSpPr/>
              <p:nvPr/>
            </p:nvSpPr>
            <p:spPr>
              <a:xfrm>
                <a:off x="4016962" y="5299979"/>
                <a:ext cx="74356" cy="58416"/>
              </a:xfrm>
              <a:custGeom>
                <a:avLst/>
                <a:gdLst>
                  <a:gd name="connsiteX0" fmla="*/ 0 w 74356"/>
                  <a:gd name="connsiteY0" fmla="*/ 27210 h 58416"/>
                  <a:gd name="connsiteX1" fmla="*/ 36408 w 74356"/>
                  <a:gd name="connsiteY1" fmla="*/ 0 h 58416"/>
                  <a:gd name="connsiteX2" fmla="*/ 74357 w 74356"/>
                  <a:gd name="connsiteY2" fmla="*/ 37949 h 58416"/>
                  <a:gd name="connsiteX3" fmla="*/ 68337 w 74356"/>
                  <a:gd name="connsiteY3" fmla="*/ 58416 h 584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4356" h="58416">
                    <a:moveTo>
                      <a:pt x="0" y="27210"/>
                    </a:moveTo>
                    <a:cubicBezTo>
                      <a:pt x="4623" y="11462"/>
                      <a:pt x="19167" y="0"/>
                      <a:pt x="36408" y="0"/>
                    </a:cubicBezTo>
                    <a:cubicBezTo>
                      <a:pt x="57357" y="0"/>
                      <a:pt x="74357" y="17000"/>
                      <a:pt x="74357" y="37949"/>
                    </a:cubicBezTo>
                    <a:cubicBezTo>
                      <a:pt x="74357" y="45510"/>
                      <a:pt x="72142" y="52541"/>
                      <a:pt x="68337" y="58416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917" name="Forma livre: Forma 1916">
                <a:extLst>
                  <a:ext uri="{FF2B5EF4-FFF2-40B4-BE49-F238E27FC236}">
                    <a16:creationId xmlns:a16="http://schemas.microsoft.com/office/drawing/2014/main" id="{6CB4B31B-5980-EB75-F5A9-F8B27F18BED3}"/>
                  </a:ext>
                </a:extLst>
              </p:cNvPr>
              <p:cNvSpPr/>
              <p:nvPr/>
            </p:nvSpPr>
            <p:spPr>
              <a:xfrm>
                <a:off x="3972752" y="5359599"/>
                <a:ext cx="34914" cy="17963"/>
              </a:xfrm>
              <a:custGeom>
                <a:avLst/>
                <a:gdLst>
                  <a:gd name="connsiteX0" fmla="*/ 0 w 34914"/>
                  <a:gd name="connsiteY0" fmla="*/ 0 h 17963"/>
                  <a:gd name="connsiteX1" fmla="*/ 34915 w 34914"/>
                  <a:gd name="connsiteY1" fmla="*/ 17963 h 179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4914" h="17963">
                    <a:moveTo>
                      <a:pt x="0" y="0"/>
                    </a:moveTo>
                    <a:cubicBezTo>
                      <a:pt x="0" y="0"/>
                      <a:pt x="21286" y="17963"/>
                      <a:pt x="34915" y="17963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918" name="Forma livre: Forma 1917">
              <a:extLst>
                <a:ext uri="{FF2B5EF4-FFF2-40B4-BE49-F238E27FC236}">
                  <a16:creationId xmlns:a16="http://schemas.microsoft.com/office/drawing/2014/main" id="{3F5096DB-ED59-C9B9-7942-BC46C7C4B6F6}"/>
                </a:ext>
              </a:extLst>
            </p:cNvPr>
            <p:cNvSpPr/>
            <p:nvPr/>
          </p:nvSpPr>
          <p:spPr>
            <a:xfrm>
              <a:off x="4073789" y="5350304"/>
              <a:ext cx="12424" cy="9150"/>
            </a:xfrm>
            <a:custGeom>
              <a:avLst/>
              <a:gdLst>
                <a:gd name="connsiteX0" fmla="*/ 12425 w 12424"/>
                <a:gd name="connsiteY0" fmla="*/ 9150 h 9150"/>
                <a:gd name="connsiteX1" fmla="*/ 0 w 12424"/>
                <a:gd name="connsiteY1" fmla="*/ 0 h 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424" h="9150">
                  <a:moveTo>
                    <a:pt x="12425" y="9150"/>
                  </a:moveTo>
                  <a:cubicBezTo>
                    <a:pt x="12425" y="9150"/>
                    <a:pt x="3901" y="2071"/>
                    <a:pt x="0" y="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919" name="Gráfico 18">
            <a:extLst>
              <a:ext uri="{FF2B5EF4-FFF2-40B4-BE49-F238E27FC236}">
                <a16:creationId xmlns:a16="http://schemas.microsoft.com/office/drawing/2014/main" id="{AC003678-4736-24CC-1438-8598EF8DD7A6}"/>
              </a:ext>
            </a:extLst>
          </p:cNvPr>
          <p:cNvGrpSpPr/>
          <p:nvPr/>
        </p:nvGrpSpPr>
        <p:grpSpPr>
          <a:xfrm>
            <a:off x="3831503" y="4717405"/>
            <a:ext cx="280957" cy="315486"/>
            <a:chOff x="3831503" y="4717405"/>
            <a:chExt cx="280957" cy="315486"/>
          </a:xfrm>
        </p:grpSpPr>
        <p:sp>
          <p:nvSpPr>
            <p:cNvPr id="1920" name="Forma livre: Forma 1919">
              <a:extLst>
                <a:ext uri="{FF2B5EF4-FFF2-40B4-BE49-F238E27FC236}">
                  <a16:creationId xmlns:a16="http://schemas.microsoft.com/office/drawing/2014/main" id="{8FF3B925-C635-6A04-2D93-044FEC9EE42F}"/>
                </a:ext>
              </a:extLst>
            </p:cNvPr>
            <p:cNvSpPr/>
            <p:nvPr/>
          </p:nvSpPr>
          <p:spPr>
            <a:xfrm>
              <a:off x="3831503" y="4717405"/>
              <a:ext cx="219699" cy="219699"/>
            </a:xfrm>
            <a:custGeom>
              <a:avLst/>
              <a:gdLst>
                <a:gd name="connsiteX0" fmla="*/ 219700 w 219699"/>
                <a:gd name="connsiteY0" fmla="*/ 109850 h 219699"/>
                <a:gd name="connsiteX1" fmla="*/ 109850 w 219699"/>
                <a:gd name="connsiteY1" fmla="*/ 219699 h 219699"/>
                <a:gd name="connsiteX2" fmla="*/ 0 w 219699"/>
                <a:gd name="connsiteY2" fmla="*/ 109850 h 219699"/>
                <a:gd name="connsiteX3" fmla="*/ 109850 w 219699"/>
                <a:gd name="connsiteY3" fmla="*/ 0 h 219699"/>
                <a:gd name="connsiteX4" fmla="*/ 219700 w 219699"/>
                <a:gd name="connsiteY4" fmla="*/ 109850 h 2196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19699" h="219699">
                  <a:moveTo>
                    <a:pt x="219700" y="109850"/>
                  </a:moveTo>
                  <a:cubicBezTo>
                    <a:pt x="219700" y="170529"/>
                    <a:pt x="170530" y="219699"/>
                    <a:pt x="109850" y="219699"/>
                  </a:cubicBezTo>
                  <a:cubicBezTo>
                    <a:pt x="49170" y="219699"/>
                    <a:pt x="0" y="170529"/>
                    <a:pt x="0" y="109850"/>
                  </a:cubicBezTo>
                  <a:cubicBezTo>
                    <a:pt x="0" y="49170"/>
                    <a:pt x="49170" y="0"/>
                    <a:pt x="109850" y="0"/>
                  </a:cubicBezTo>
                  <a:cubicBezTo>
                    <a:pt x="170530" y="0"/>
                    <a:pt x="219700" y="49170"/>
                    <a:pt x="219700" y="109850"/>
                  </a:cubicBez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21" name="Forma livre: Forma 1920">
              <a:extLst>
                <a:ext uri="{FF2B5EF4-FFF2-40B4-BE49-F238E27FC236}">
                  <a16:creationId xmlns:a16="http://schemas.microsoft.com/office/drawing/2014/main" id="{068AEE2A-7D50-7ED4-7450-832130FA8017}"/>
                </a:ext>
              </a:extLst>
            </p:cNvPr>
            <p:cNvSpPr/>
            <p:nvPr/>
          </p:nvSpPr>
          <p:spPr>
            <a:xfrm>
              <a:off x="3864636" y="4749863"/>
              <a:ext cx="58464" cy="53504"/>
            </a:xfrm>
            <a:custGeom>
              <a:avLst/>
              <a:gdLst>
                <a:gd name="connsiteX0" fmla="*/ 0 w 58464"/>
                <a:gd name="connsiteY0" fmla="*/ 53504 h 53504"/>
                <a:gd name="connsiteX1" fmla="*/ 58465 w 58464"/>
                <a:gd name="connsiteY1" fmla="*/ 0 h 535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8464" h="53504">
                  <a:moveTo>
                    <a:pt x="0" y="53504"/>
                  </a:moveTo>
                  <a:cubicBezTo>
                    <a:pt x="8428" y="26728"/>
                    <a:pt x="30725" y="6116"/>
                    <a:pt x="58465" y="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22" name="Forma livre: Forma 1921">
              <a:extLst>
                <a:ext uri="{FF2B5EF4-FFF2-40B4-BE49-F238E27FC236}">
                  <a16:creationId xmlns:a16="http://schemas.microsoft.com/office/drawing/2014/main" id="{508CFA30-3D54-3599-6B89-731E8802A61C}"/>
                </a:ext>
              </a:extLst>
            </p:cNvPr>
            <p:cNvSpPr/>
            <p:nvPr/>
          </p:nvSpPr>
          <p:spPr>
            <a:xfrm>
              <a:off x="4032902" y="4868382"/>
              <a:ext cx="56393" cy="82591"/>
            </a:xfrm>
            <a:custGeom>
              <a:avLst/>
              <a:gdLst>
                <a:gd name="connsiteX0" fmla="*/ 56394 w 56393"/>
                <a:gd name="connsiteY0" fmla="*/ 0 h 82591"/>
                <a:gd name="connsiteX1" fmla="*/ 0 w 56393"/>
                <a:gd name="connsiteY1" fmla="*/ 82592 h 825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6393" h="82591">
                  <a:moveTo>
                    <a:pt x="56394" y="0"/>
                  </a:moveTo>
                  <a:cubicBezTo>
                    <a:pt x="47195" y="33422"/>
                    <a:pt x="27017" y="62317"/>
                    <a:pt x="0" y="82592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23" name="Forma livre: Forma 1922">
              <a:extLst>
                <a:ext uri="{FF2B5EF4-FFF2-40B4-BE49-F238E27FC236}">
                  <a16:creationId xmlns:a16="http://schemas.microsoft.com/office/drawing/2014/main" id="{063BB774-6B5E-6D5C-C263-E841337B27F0}"/>
                </a:ext>
              </a:extLst>
            </p:cNvPr>
            <p:cNvSpPr/>
            <p:nvPr/>
          </p:nvSpPr>
          <p:spPr>
            <a:xfrm>
              <a:off x="3910724" y="4796674"/>
              <a:ext cx="61209" cy="61209"/>
            </a:xfrm>
            <a:custGeom>
              <a:avLst/>
              <a:gdLst>
                <a:gd name="connsiteX0" fmla="*/ 30629 w 61209"/>
                <a:gd name="connsiteY0" fmla="*/ 0 h 61209"/>
                <a:gd name="connsiteX1" fmla="*/ 61210 w 61209"/>
                <a:gd name="connsiteY1" fmla="*/ 30581 h 61209"/>
                <a:gd name="connsiteX2" fmla="*/ 30629 w 61209"/>
                <a:gd name="connsiteY2" fmla="*/ 61209 h 61209"/>
                <a:gd name="connsiteX3" fmla="*/ 0 w 61209"/>
                <a:gd name="connsiteY3" fmla="*/ 30581 h 612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1209" h="61209">
                  <a:moveTo>
                    <a:pt x="30629" y="0"/>
                  </a:moveTo>
                  <a:cubicBezTo>
                    <a:pt x="47532" y="0"/>
                    <a:pt x="61210" y="13677"/>
                    <a:pt x="61210" y="30581"/>
                  </a:cubicBezTo>
                  <a:cubicBezTo>
                    <a:pt x="61210" y="47484"/>
                    <a:pt x="47532" y="61209"/>
                    <a:pt x="30629" y="61209"/>
                  </a:cubicBezTo>
                  <a:cubicBezTo>
                    <a:pt x="13725" y="61209"/>
                    <a:pt x="0" y="47484"/>
                    <a:pt x="0" y="30581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24" name="Forma livre: Forma 1923">
              <a:extLst>
                <a:ext uri="{FF2B5EF4-FFF2-40B4-BE49-F238E27FC236}">
                  <a16:creationId xmlns:a16="http://schemas.microsoft.com/office/drawing/2014/main" id="{20D903DA-C918-B56C-2D81-A99B8A1D262D}"/>
                </a:ext>
              </a:extLst>
            </p:cNvPr>
            <p:cNvSpPr/>
            <p:nvPr/>
          </p:nvSpPr>
          <p:spPr>
            <a:xfrm>
              <a:off x="4076341" y="4831685"/>
              <a:ext cx="36118" cy="36118"/>
            </a:xfrm>
            <a:custGeom>
              <a:avLst/>
              <a:gdLst>
                <a:gd name="connsiteX0" fmla="*/ 36119 w 36118"/>
                <a:gd name="connsiteY0" fmla="*/ 18059 h 36118"/>
                <a:gd name="connsiteX1" fmla="*/ 18059 w 36118"/>
                <a:gd name="connsiteY1" fmla="*/ 36119 h 36118"/>
                <a:gd name="connsiteX2" fmla="*/ 0 w 36118"/>
                <a:gd name="connsiteY2" fmla="*/ 18059 h 36118"/>
                <a:gd name="connsiteX3" fmla="*/ 18059 w 36118"/>
                <a:gd name="connsiteY3" fmla="*/ 0 h 36118"/>
                <a:gd name="connsiteX4" fmla="*/ 36119 w 36118"/>
                <a:gd name="connsiteY4" fmla="*/ 18059 h 361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6118" h="36118">
                  <a:moveTo>
                    <a:pt x="36119" y="18059"/>
                  </a:moveTo>
                  <a:cubicBezTo>
                    <a:pt x="36119" y="28028"/>
                    <a:pt x="28028" y="36119"/>
                    <a:pt x="18059" y="36119"/>
                  </a:cubicBezTo>
                  <a:cubicBezTo>
                    <a:pt x="8091" y="36119"/>
                    <a:pt x="0" y="28028"/>
                    <a:pt x="0" y="18059"/>
                  </a:cubicBezTo>
                  <a:cubicBezTo>
                    <a:pt x="0" y="8091"/>
                    <a:pt x="8091" y="0"/>
                    <a:pt x="18059" y="0"/>
                  </a:cubicBezTo>
                  <a:cubicBezTo>
                    <a:pt x="28028" y="0"/>
                    <a:pt x="36119" y="8091"/>
                    <a:pt x="36119" y="18059"/>
                  </a:cubicBez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25" name="Forma livre: Forma 1924">
              <a:extLst>
                <a:ext uri="{FF2B5EF4-FFF2-40B4-BE49-F238E27FC236}">
                  <a16:creationId xmlns:a16="http://schemas.microsoft.com/office/drawing/2014/main" id="{C5E74576-71AD-2809-46AB-3E97456E5805}"/>
                </a:ext>
              </a:extLst>
            </p:cNvPr>
            <p:cNvSpPr/>
            <p:nvPr/>
          </p:nvSpPr>
          <p:spPr>
            <a:xfrm>
              <a:off x="3851441" y="4917359"/>
              <a:ext cx="179775" cy="115532"/>
            </a:xfrm>
            <a:custGeom>
              <a:avLst/>
              <a:gdLst>
                <a:gd name="connsiteX0" fmla="*/ 154926 w 179775"/>
                <a:gd name="connsiteY0" fmla="*/ 0 h 115532"/>
                <a:gd name="connsiteX1" fmla="*/ 179776 w 179775"/>
                <a:gd name="connsiteY1" fmla="*/ 38334 h 115532"/>
                <a:gd name="connsiteX2" fmla="*/ 179776 w 179775"/>
                <a:gd name="connsiteY2" fmla="*/ 91983 h 115532"/>
                <a:gd name="connsiteX3" fmla="*/ 156226 w 179775"/>
                <a:gd name="connsiteY3" fmla="*/ 115532 h 115532"/>
                <a:gd name="connsiteX4" fmla="*/ 23549 w 179775"/>
                <a:gd name="connsiteY4" fmla="*/ 115532 h 115532"/>
                <a:gd name="connsiteX5" fmla="*/ 0 w 179775"/>
                <a:gd name="connsiteY5" fmla="*/ 91983 h 115532"/>
                <a:gd name="connsiteX6" fmla="*/ 0 w 179775"/>
                <a:gd name="connsiteY6" fmla="*/ 38334 h 115532"/>
                <a:gd name="connsiteX7" fmla="*/ 13003 w 179775"/>
                <a:gd name="connsiteY7" fmla="*/ 18589 h 1155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9775" h="115532">
                  <a:moveTo>
                    <a:pt x="154926" y="0"/>
                  </a:moveTo>
                  <a:lnTo>
                    <a:pt x="179776" y="38334"/>
                  </a:lnTo>
                  <a:lnTo>
                    <a:pt x="179776" y="91983"/>
                  </a:lnTo>
                  <a:cubicBezTo>
                    <a:pt x="179776" y="104938"/>
                    <a:pt x="169181" y="115532"/>
                    <a:pt x="156226" y="115532"/>
                  </a:cubicBezTo>
                  <a:lnTo>
                    <a:pt x="23549" y="115532"/>
                  </a:lnTo>
                  <a:cubicBezTo>
                    <a:pt x="10595" y="115532"/>
                    <a:pt x="0" y="104938"/>
                    <a:pt x="0" y="91983"/>
                  </a:cubicBezTo>
                  <a:lnTo>
                    <a:pt x="0" y="38334"/>
                  </a:lnTo>
                  <a:lnTo>
                    <a:pt x="13003" y="18589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26" name="Forma livre: Forma 1925">
              <a:extLst>
                <a:ext uri="{FF2B5EF4-FFF2-40B4-BE49-F238E27FC236}">
                  <a16:creationId xmlns:a16="http://schemas.microsoft.com/office/drawing/2014/main" id="{3108612C-711E-5D09-D2B1-9A125FA313F1}"/>
                </a:ext>
              </a:extLst>
            </p:cNvPr>
            <p:cNvSpPr/>
            <p:nvPr/>
          </p:nvSpPr>
          <p:spPr>
            <a:xfrm>
              <a:off x="3937163" y="4823113"/>
              <a:ext cx="8283" cy="8283"/>
            </a:xfrm>
            <a:custGeom>
              <a:avLst/>
              <a:gdLst>
                <a:gd name="connsiteX0" fmla="*/ 8283 w 8283"/>
                <a:gd name="connsiteY0" fmla="*/ 4142 h 8283"/>
                <a:gd name="connsiteX1" fmla="*/ 4142 w 8283"/>
                <a:gd name="connsiteY1" fmla="*/ 8283 h 8283"/>
                <a:gd name="connsiteX2" fmla="*/ 0 w 8283"/>
                <a:gd name="connsiteY2" fmla="*/ 4142 h 8283"/>
                <a:gd name="connsiteX3" fmla="*/ 4142 w 8283"/>
                <a:gd name="connsiteY3" fmla="*/ 0 h 8283"/>
                <a:gd name="connsiteX4" fmla="*/ 8283 w 8283"/>
                <a:gd name="connsiteY4" fmla="*/ 4142 h 82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283" h="8283">
                  <a:moveTo>
                    <a:pt x="8283" y="4142"/>
                  </a:moveTo>
                  <a:cubicBezTo>
                    <a:pt x="8283" y="6405"/>
                    <a:pt x="6453" y="8283"/>
                    <a:pt x="4142" y="8283"/>
                  </a:cubicBezTo>
                  <a:cubicBezTo>
                    <a:pt x="1830" y="8283"/>
                    <a:pt x="0" y="6453"/>
                    <a:pt x="0" y="4142"/>
                  </a:cubicBezTo>
                  <a:cubicBezTo>
                    <a:pt x="0" y="1830"/>
                    <a:pt x="1830" y="0"/>
                    <a:pt x="4142" y="0"/>
                  </a:cubicBezTo>
                  <a:cubicBezTo>
                    <a:pt x="6453" y="0"/>
                    <a:pt x="8283" y="1830"/>
                    <a:pt x="8283" y="4142"/>
                  </a:cubicBezTo>
                  <a:close/>
                </a:path>
              </a:pathLst>
            </a:custGeom>
            <a:solidFill>
              <a:srgbClr val="3A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927" name="Gráfico 18">
              <a:extLst>
                <a:ext uri="{FF2B5EF4-FFF2-40B4-BE49-F238E27FC236}">
                  <a16:creationId xmlns:a16="http://schemas.microsoft.com/office/drawing/2014/main" id="{EFFD608F-F413-8D56-BF7E-A2693200ACAA}"/>
                </a:ext>
              </a:extLst>
            </p:cNvPr>
            <p:cNvGrpSpPr/>
            <p:nvPr/>
          </p:nvGrpSpPr>
          <p:grpSpPr>
            <a:xfrm>
              <a:off x="3881203" y="4998073"/>
              <a:ext cx="120251" cy="8283"/>
              <a:chOff x="3881203" y="4998073"/>
              <a:chExt cx="120251" cy="8283"/>
            </a:xfrm>
            <a:solidFill>
              <a:srgbClr val="3A4553"/>
            </a:solidFill>
          </p:grpSpPr>
          <p:sp>
            <p:nvSpPr>
              <p:cNvPr id="1928" name="Forma livre: Forma 1927">
                <a:extLst>
                  <a:ext uri="{FF2B5EF4-FFF2-40B4-BE49-F238E27FC236}">
                    <a16:creationId xmlns:a16="http://schemas.microsoft.com/office/drawing/2014/main" id="{2056FA3A-9F9C-7341-8198-03C72100A260}"/>
                  </a:ext>
                </a:extLst>
              </p:cNvPr>
              <p:cNvSpPr/>
              <p:nvPr/>
            </p:nvSpPr>
            <p:spPr>
              <a:xfrm>
                <a:off x="3881203" y="4998073"/>
                <a:ext cx="8283" cy="8283"/>
              </a:xfrm>
              <a:custGeom>
                <a:avLst/>
                <a:gdLst>
                  <a:gd name="connsiteX0" fmla="*/ 8283 w 8283"/>
                  <a:gd name="connsiteY0" fmla="*/ 4142 h 8283"/>
                  <a:gd name="connsiteX1" fmla="*/ 4142 w 8283"/>
                  <a:gd name="connsiteY1" fmla="*/ 8283 h 8283"/>
                  <a:gd name="connsiteX2" fmla="*/ 0 w 8283"/>
                  <a:gd name="connsiteY2" fmla="*/ 4142 h 8283"/>
                  <a:gd name="connsiteX3" fmla="*/ 4142 w 8283"/>
                  <a:gd name="connsiteY3" fmla="*/ 0 h 8283"/>
                  <a:gd name="connsiteX4" fmla="*/ 8283 w 8283"/>
                  <a:gd name="connsiteY4" fmla="*/ 4142 h 82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283" h="8283">
                    <a:moveTo>
                      <a:pt x="8283" y="4142"/>
                    </a:moveTo>
                    <a:cubicBezTo>
                      <a:pt x="8283" y="6405"/>
                      <a:pt x="6453" y="8283"/>
                      <a:pt x="4142" y="8283"/>
                    </a:cubicBezTo>
                    <a:cubicBezTo>
                      <a:pt x="1830" y="8283"/>
                      <a:pt x="0" y="6453"/>
                      <a:pt x="0" y="4142"/>
                    </a:cubicBezTo>
                    <a:cubicBezTo>
                      <a:pt x="0" y="1830"/>
                      <a:pt x="1830" y="0"/>
                      <a:pt x="4142" y="0"/>
                    </a:cubicBezTo>
                    <a:cubicBezTo>
                      <a:pt x="6453" y="0"/>
                      <a:pt x="8283" y="1830"/>
                      <a:pt x="8283" y="4142"/>
                    </a:cubicBezTo>
                    <a:close/>
                  </a:path>
                </a:pathLst>
              </a:custGeom>
              <a:solidFill>
                <a:srgbClr val="3A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929" name="Forma livre: Forma 1928">
                <a:extLst>
                  <a:ext uri="{FF2B5EF4-FFF2-40B4-BE49-F238E27FC236}">
                    <a16:creationId xmlns:a16="http://schemas.microsoft.com/office/drawing/2014/main" id="{BC833AE1-F58C-E4F1-EC45-C15E95282C0F}"/>
                  </a:ext>
                </a:extLst>
              </p:cNvPr>
              <p:cNvSpPr/>
              <p:nvPr/>
            </p:nvSpPr>
            <p:spPr>
              <a:xfrm>
                <a:off x="3993171" y="4998073"/>
                <a:ext cx="8283" cy="8283"/>
              </a:xfrm>
              <a:custGeom>
                <a:avLst/>
                <a:gdLst>
                  <a:gd name="connsiteX0" fmla="*/ 8283 w 8283"/>
                  <a:gd name="connsiteY0" fmla="*/ 4142 h 8283"/>
                  <a:gd name="connsiteX1" fmla="*/ 4142 w 8283"/>
                  <a:gd name="connsiteY1" fmla="*/ 8283 h 8283"/>
                  <a:gd name="connsiteX2" fmla="*/ 0 w 8283"/>
                  <a:gd name="connsiteY2" fmla="*/ 4142 h 8283"/>
                  <a:gd name="connsiteX3" fmla="*/ 4142 w 8283"/>
                  <a:gd name="connsiteY3" fmla="*/ 0 h 8283"/>
                  <a:gd name="connsiteX4" fmla="*/ 8283 w 8283"/>
                  <a:gd name="connsiteY4" fmla="*/ 4142 h 82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283" h="8283">
                    <a:moveTo>
                      <a:pt x="8283" y="4142"/>
                    </a:moveTo>
                    <a:cubicBezTo>
                      <a:pt x="8283" y="6405"/>
                      <a:pt x="6453" y="8283"/>
                      <a:pt x="4142" y="8283"/>
                    </a:cubicBezTo>
                    <a:cubicBezTo>
                      <a:pt x="1830" y="8283"/>
                      <a:pt x="0" y="6453"/>
                      <a:pt x="0" y="4142"/>
                    </a:cubicBezTo>
                    <a:cubicBezTo>
                      <a:pt x="0" y="1830"/>
                      <a:pt x="1830" y="0"/>
                      <a:pt x="4142" y="0"/>
                    </a:cubicBezTo>
                    <a:cubicBezTo>
                      <a:pt x="6453" y="0"/>
                      <a:pt x="8283" y="1830"/>
                      <a:pt x="8283" y="4142"/>
                    </a:cubicBezTo>
                    <a:close/>
                  </a:path>
                </a:pathLst>
              </a:custGeom>
              <a:solidFill>
                <a:srgbClr val="3A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930" name="Gráfico 18">
            <a:extLst>
              <a:ext uri="{FF2B5EF4-FFF2-40B4-BE49-F238E27FC236}">
                <a16:creationId xmlns:a16="http://schemas.microsoft.com/office/drawing/2014/main" id="{587E47A8-27F9-99E3-A673-059D09B253D8}"/>
              </a:ext>
            </a:extLst>
          </p:cNvPr>
          <p:cNvGrpSpPr/>
          <p:nvPr/>
        </p:nvGrpSpPr>
        <p:grpSpPr>
          <a:xfrm>
            <a:off x="3830107" y="5826641"/>
            <a:ext cx="283702" cy="264775"/>
            <a:chOff x="3830107" y="5826641"/>
            <a:chExt cx="283702" cy="264775"/>
          </a:xfrm>
          <a:noFill/>
        </p:grpSpPr>
        <p:sp>
          <p:nvSpPr>
            <p:cNvPr id="1931" name="Forma livre: Forma 1930">
              <a:extLst>
                <a:ext uri="{FF2B5EF4-FFF2-40B4-BE49-F238E27FC236}">
                  <a16:creationId xmlns:a16="http://schemas.microsoft.com/office/drawing/2014/main" id="{791FFB7C-F166-0393-B4C2-5105F94AA444}"/>
                </a:ext>
              </a:extLst>
            </p:cNvPr>
            <p:cNvSpPr/>
            <p:nvPr/>
          </p:nvSpPr>
          <p:spPr>
            <a:xfrm>
              <a:off x="3830107" y="5879470"/>
              <a:ext cx="175971" cy="211945"/>
            </a:xfrm>
            <a:custGeom>
              <a:avLst/>
              <a:gdLst>
                <a:gd name="connsiteX0" fmla="*/ 87986 w 175971"/>
                <a:gd name="connsiteY0" fmla="*/ 14544 h 211945"/>
                <a:gd name="connsiteX1" fmla="*/ 0 w 175971"/>
                <a:gd name="connsiteY1" fmla="*/ 0 h 211945"/>
                <a:gd name="connsiteX2" fmla="*/ 0 w 175971"/>
                <a:gd name="connsiteY2" fmla="*/ 110428 h 211945"/>
                <a:gd name="connsiteX3" fmla="*/ 87986 w 175971"/>
                <a:gd name="connsiteY3" fmla="*/ 211946 h 211945"/>
                <a:gd name="connsiteX4" fmla="*/ 175971 w 175971"/>
                <a:gd name="connsiteY4" fmla="*/ 110428 h 211945"/>
                <a:gd name="connsiteX5" fmla="*/ 175971 w 175971"/>
                <a:gd name="connsiteY5" fmla="*/ 0 h 211945"/>
                <a:gd name="connsiteX6" fmla="*/ 87986 w 175971"/>
                <a:gd name="connsiteY6" fmla="*/ 14544 h 2119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75971" h="211945">
                  <a:moveTo>
                    <a:pt x="87986" y="14544"/>
                  </a:moveTo>
                  <a:cubicBezTo>
                    <a:pt x="41850" y="14544"/>
                    <a:pt x="0" y="0"/>
                    <a:pt x="0" y="0"/>
                  </a:cubicBezTo>
                  <a:lnTo>
                    <a:pt x="0" y="110428"/>
                  </a:lnTo>
                  <a:cubicBezTo>
                    <a:pt x="0" y="166243"/>
                    <a:pt x="46088" y="211946"/>
                    <a:pt x="87986" y="211946"/>
                  </a:cubicBezTo>
                  <a:cubicBezTo>
                    <a:pt x="129884" y="211946"/>
                    <a:pt x="175971" y="166243"/>
                    <a:pt x="175971" y="110428"/>
                  </a:cubicBezTo>
                  <a:lnTo>
                    <a:pt x="175971" y="0"/>
                  </a:lnTo>
                  <a:cubicBezTo>
                    <a:pt x="175971" y="0"/>
                    <a:pt x="134073" y="14544"/>
                    <a:pt x="87986" y="14544"/>
                  </a:cubicBez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32" name="Forma livre: Forma 1931">
              <a:extLst>
                <a:ext uri="{FF2B5EF4-FFF2-40B4-BE49-F238E27FC236}">
                  <a16:creationId xmlns:a16="http://schemas.microsoft.com/office/drawing/2014/main" id="{EA3A0BE9-75A1-791D-476C-4A3E2134B7B8}"/>
                </a:ext>
              </a:extLst>
            </p:cNvPr>
            <p:cNvSpPr/>
            <p:nvPr/>
          </p:nvSpPr>
          <p:spPr>
            <a:xfrm>
              <a:off x="3876868" y="6002082"/>
              <a:ext cx="82447" cy="41223"/>
            </a:xfrm>
            <a:custGeom>
              <a:avLst/>
              <a:gdLst>
                <a:gd name="connsiteX0" fmla="*/ 82447 w 82447"/>
                <a:gd name="connsiteY0" fmla="*/ 0 h 41223"/>
                <a:gd name="connsiteX1" fmla="*/ 41224 w 82447"/>
                <a:gd name="connsiteY1" fmla="*/ 41224 h 41223"/>
                <a:gd name="connsiteX2" fmla="*/ 0 w 82447"/>
                <a:gd name="connsiteY2" fmla="*/ 0 h 41223"/>
                <a:gd name="connsiteX3" fmla="*/ 41224 w 82447"/>
                <a:gd name="connsiteY3" fmla="*/ 8235 h 41223"/>
                <a:gd name="connsiteX4" fmla="*/ 82447 w 82447"/>
                <a:gd name="connsiteY4" fmla="*/ 0 h 412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2447" h="41223">
                  <a:moveTo>
                    <a:pt x="82447" y="0"/>
                  </a:moveTo>
                  <a:cubicBezTo>
                    <a:pt x="82447" y="22779"/>
                    <a:pt x="64003" y="41224"/>
                    <a:pt x="41224" y="41224"/>
                  </a:cubicBezTo>
                  <a:cubicBezTo>
                    <a:pt x="18445" y="41224"/>
                    <a:pt x="0" y="22779"/>
                    <a:pt x="0" y="0"/>
                  </a:cubicBezTo>
                  <a:cubicBezTo>
                    <a:pt x="0" y="0"/>
                    <a:pt x="18445" y="8235"/>
                    <a:pt x="41224" y="8235"/>
                  </a:cubicBezTo>
                  <a:cubicBezTo>
                    <a:pt x="64003" y="8235"/>
                    <a:pt x="82447" y="0"/>
                    <a:pt x="82447" y="0"/>
                  </a:cubicBez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933" name="Gráfico 18">
              <a:extLst>
                <a:ext uri="{FF2B5EF4-FFF2-40B4-BE49-F238E27FC236}">
                  <a16:creationId xmlns:a16="http://schemas.microsoft.com/office/drawing/2014/main" id="{C86BE459-163B-36F4-0A26-FCFA7C224F79}"/>
                </a:ext>
              </a:extLst>
            </p:cNvPr>
            <p:cNvGrpSpPr/>
            <p:nvPr/>
          </p:nvGrpSpPr>
          <p:grpSpPr>
            <a:xfrm>
              <a:off x="3867911" y="5939765"/>
              <a:ext cx="100362" cy="9005"/>
              <a:chOff x="3867911" y="5939765"/>
              <a:chExt cx="100362" cy="9005"/>
            </a:xfrm>
            <a:noFill/>
          </p:grpSpPr>
          <p:sp>
            <p:nvSpPr>
              <p:cNvPr id="1934" name="Forma livre: Forma 1933">
                <a:extLst>
                  <a:ext uri="{FF2B5EF4-FFF2-40B4-BE49-F238E27FC236}">
                    <a16:creationId xmlns:a16="http://schemas.microsoft.com/office/drawing/2014/main" id="{783E3F33-ED0C-5BA1-D8C1-E99D5874427A}"/>
                  </a:ext>
                </a:extLst>
              </p:cNvPr>
              <p:cNvSpPr/>
              <p:nvPr/>
            </p:nvSpPr>
            <p:spPr>
              <a:xfrm>
                <a:off x="3867911" y="5939765"/>
                <a:ext cx="30002" cy="9005"/>
              </a:xfrm>
              <a:custGeom>
                <a:avLst/>
                <a:gdLst>
                  <a:gd name="connsiteX0" fmla="*/ 0 w 30002"/>
                  <a:gd name="connsiteY0" fmla="*/ 9006 h 9005"/>
                  <a:gd name="connsiteX1" fmla="*/ 15074 w 30002"/>
                  <a:gd name="connsiteY1" fmla="*/ 0 h 9005"/>
                  <a:gd name="connsiteX2" fmla="*/ 30003 w 30002"/>
                  <a:gd name="connsiteY2" fmla="*/ 8765 h 90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0002" h="9005">
                    <a:moveTo>
                      <a:pt x="0" y="9006"/>
                    </a:moveTo>
                    <a:cubicBezTo>
                      <a:pt x="2890" y="3660"/>
                      <a:pt x="8572" y="0"/>
                      <a:pt x="15074" y="0"/>
                    </a:cubicBezTo>
                    <a:cubicBezTo>
                      <a:pt x="21575" y="0"/>
                      <a:pt x="27065" y="3515"/>
                      <a:pt x="30003" y="8765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935" name="Forma livre: Forma 1934">
                <a:extLst>
                  <a:ext uri="{FF2B5EF4-FFF2-40B4-BE49-F238E27FC236}">
                    <a16:creationId xmlns:a16="http://schemas.microsoft.com/office/drawing/2014/main" id="{7A2BD824-3416-FA2E-3F11-B10B8A0B2696}"/>
                  </a:ext>
                </a:extLst>
              </p:cNvPr>
              <p:cNvSpPr/>
              <p:nvPr/>
            </p:nvSpPr>
            <p:spPr>
              <a:xfrm>
                <a:off x="3938271" y="5939765"/>
                <a:ext cx="30002" cy="9005"/>
              </a:xfrm>
              <a:custGeom>
                <a:avLst/>
                <a:gdLst>
                  <a:gd name="connsiteX0" fmla="*/ 0 w 30002"/>
                  <a:gd name="connsiteY0" fmla="*/ 9006 h 9005"/>
                  <a:gd name="connsiteX1" fmla="*/ 15074 w 30002"/>
                  <a:gd name="connsiteY1" fmla="*/ 0 h 9005"/>
                  <a:gd name="connsiteX2" fmla="*/ 30003 w 30002"/>
                  <a:gd name="connsiteY2" fmla="*/ 8765 h 90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0002" h="9005">
                    <a:moveTo>
                      <a:pt x="0" y="9006"/>
                    </a:moveTo>
                    <a:cubicBezTo>
                      <a:pt x="2890" y="3660"/>
                      <a:pt x="8572" y="0"/>
                      <a:pt x="15074" y="0"/>
                    </a:cubicBezTo>
                    <a:cubicBezTo>
                      <a:pt x="21575" y="0"/>
                      <a:pt x="27065" y="3515"/>
                      <a:pt x="30003" y="8765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936" name="Forma livre: Forma 1935">
              <a:extLst>
                <a:ext uri="{FF2B5EF4-FFF2-40B4-BE49-F238E27FC236}">
                  <a16:creationId xmlns:a16="http://schemas.microsoft.com/office/drawing/2014/main" id="{5EEFDFE7-7916-6634-E084-26EE2F306977}"/>
                </a:ext>
              </a:extLst>
            </p:cNvPr>
            <p:cNvSpPr/>
            <p:nvPr/>
          </p:nvSpPr>
          <p:spPr>
            <a:xfrm>
              <a:off x="3937837" y="5826641"/>
              <a:ext cx="175971" cy="211947"/>
            </a:xfrm>
            <a:custGeom>
              <a:avLst/>
              <a:gdLst>
                <a:gd name="connsiteX0" fmla="*/ 81099 w 175971"/>
                <a:gd name="connsiteY0" fmla="*/ 211561 h 211947"/>
                <a:gd name="connsiteX1" fmla="*/ 87986 w 175971"/>
                <a:gd name="connsiteY1" fmla="*/ 211946 h 211947"/>
                <a:gd name="connsiteX2" fmla="*/ 175971 w 175971"/>
                <a:gd name="connsiteY2" fmla="*/ 110428 h 211947"/>
                <a:gd name="connsiteX3" fmla="*/ 175971 w 175971"/>
                <a:gd name="connsiteY3" fmla="*/ 0 h 211947"/>
                <a:gd name="connsiteX4" fmla="*/ 87986 w 175971"/>
                <a:gd name="connsiteY4" fmla="*/ 14544 h 211947"/>
                <a:gd name="connsiteX5" fmla="*/ 0 w 175971"/>
                <a:gd name="connsiteY5" fmla="*/ 0 h 211947"/>
                <a:gd name="connsiteX6" fmla="*/ 0 w 175971"/>
                <a:gd name="connsiteY6" fmla="*/ 44547 h 2119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75971" h="211947">
                  <a:moveTo>
                    <a:pt x="81099" y="211561"/>
                  </a:moveTo>
                  <a:cubicBezTo>
                    <a:pt x="83362" y="211994"/>
                    <a:pt x="86252" y="211946"/>
                    <a:pt x="87986" y="211946"/>
                  </a:cubicBezTo>
                  <a:cubicBezTo>
                    <a:pt x="129884" y="211946"/>
                    <a:pt x="175971" y="166243"/>
                    <a:pt x="175971" y="110428"/>
                  </a:cubicBezTo>
                  <a:lnTo>
                    <a:pt x="175971" y="0"/>
                  </a:lnTo>
                  <a:cubicBezTo>
                    <a:pt x="175971" y="0"/>
                    <a:pt x="134073" y="14544"/>
                    <a:pt x="87986" y="14544"/>
                  </a:cubicBezTo>
                  <a:cubicBezTo>
                    <a:pt x="41898" y="14544"/>
                    <a:pt x="0" y="0"/>
                    <a:pt x="0" y="0"/>
                  </a:cubicBezTo>
                  <a:lnTo>
                    <a:pt x="0" y="44547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37" name="Forma livre: Forma 1936">
              <a:extLst>
                <a:ext uri="{FF2B5EF4-FFF2-40B4-BE49-F238E27FC236}">
                  <a16:creationId xmlns:a16="http://schemas.microsoft.com/office/drawing/2014/main" id="{81920101-BB4B-C275-2E88-304811098E3B}"/>
                </a:ext>
              </a:extLst>
            </p:cNvPr>
            <p:cNvSpPr/>
            <p:nvPr/>
          </p:nvSpPr>
          <p:spPr>
            <a:xfrm>
              <a:off x="4025823" y="5946796"/>
              <a:ext cx="41223" cy="41223"/>
            </a:xfrm>
            <a:custGeom>
              <a:avLst/>
              <a:gdLst>
                <a:gd name="connsiteX0" fmla="*/ 0 w 41223"/>
                <a:gd name="connsiteY0" fmla="*/ 32989 h 41223"/>
                <a:gd name="connsiteX1" fmla="*/ 41224 w 41223"/>
                <a:gd name="connsiteY1" fmla="*/ 41224 h 41223"/>
                <a:gd name="connsiteX2" fmla="*/ 0 w 41223"/>
                <a:gd name="connsiteY2" fmla="*/ 0 h 412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1223" h="41223">
                  <a:moveTo>
                    <a:pt x="0" y="32989"/>
                  </a:moveTo>
                  <a:cubicBezTo>
                    <a:pt x="22779" y="32989"/>
                    <a:pt x="41224" y="41224"/>
                    <a:pt x="41224" y="41224"/>
                  </a:cubicBezTo>
                  <a:cubicBezTo>
                    <a:pt x="41224" y="18445"/>
                    <a:pt x="22779" y="0"/>
                    <a:pt x="0" y="0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38" name="Forma livre: Forma 1937">
              <a:extLst>
                <a:ext uri="{FF2B5EF4-FFF2-40B4-BE49-F238E27FC236}">
                  <a16:creationId xmlns:a16="http://schemas.microsoft.com/office/drawing/2014/main" id="{0AF33998-AF88-5435-DE0A-964D085E525F}"/>
                </a:ext>
              </a:extLst>
            </p:cNvPr>
            <p:cNvSpPr/>
            <p:nvPr/>
          </p:nvSpPr>
          <p:spPr>
            <a:xfrm>
              <a:off x="4046001" y="5886935"/>
              <a:ext cx="30002" cy="9005"/>
            </a:xfrm>
            <a:custGeom>
              <a:avLst/>
              <a:gdLst>
                <a:gd name="connsiteX0" fmla="*/ 0 w 30002"/>
                <a:gd name="connsiteY0" fmla="*/ 0 h 9005"/>
                <a:gd name="connsiteX1" fmla="*/ 15074 w 30002"/>
                <a:gd name="connsiteY1" fmla="*/ 9006 h 9005"/>
                <a:gd name="connsiteX2" fmla="*/ 30003 w 30002"/>
                <a:gd name="connsiteY2" fmla="*/ 289 h 90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0002" h="9005">
                  <a:moveTo>
                    <a:pt x="0" y="0"/>
                  </a:moveTo>
                  <a:cubicBezTo>
                    <a:pt x="2890" y="5346"/>
                    <a:pt x="8572" y="9006"/>
                    <a:pt x="15074" y="9006"/>
                  </a:cubicBezTo>
                  <a:cubicBezTo>
                    <a:pt x="21575" y="9006"/>
                    <a:pt x="27065" y="5490"/>
                    <a:pt x="30003" y="289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940" name="Gráfico 19">
            <a:extLst>
              <a:ext uri="{FF2B5EF4-FFF2-40B4-BE49-F238E27FC236}">
                <a16:creationId xmlns:a16="http://schemas.microsoft.com/office/drawing/2014/main" id="{71651E2B-6214-78F0-ACB1-567B3DF33AB8}"/>
              </a:ext>
            </a:extLst>
          </p:cNvPr>
          <p:cNvGrpSpPr/>
          <p:nvPr/>
        </p:nvGrpSpPr>
        <p:grpSpPr>
          <a:xfrm>
            <a:off x="4400878" y="3663840"/>
            <a:ext cx="360659" cy="260971"/>
            <a:chOff x="4400878" y="3663840"/>
            <a:chExt cx="360659" cy="260971"/>
          </a:xfrm>
          <a:noFill/>
        </p:grpSpPr>
        <p:sp>
          <p:nvSpPr>
            <p:cNvPr id="1941" name="Forma livre: Forma 1940">
              <a:extLst>
                <a:ext uri="{FF2B5EF4-FFF2-40B4-BE49-F238E27FC236}">
                  <a16:creationId xmlns:a16="http://schemas.microsoft.com/office/drawing/2014/main" id="{1B5B8E7E-EB45-B3E8-9B1D-4FCC91FF5668}"/>
                </a:ext>
              </a:extLst>
            </p:cNvPr>
            <p:cNvSpPr/>
            <p:nvPr/>
          </p:nvSpPr>
          <p:spPr>
            <a:xfrm>
              <a:off x="4462136" y="3733718"/>
              <a:ext cx="96317" cy="189166"/>
            </a:xfrm>
            <a:custGeom>
              <a:avLst/>
              <a:gdLst>
                <a:gd name="connsiteX0" fmla="*/ 0 w 96317"/>
                <a:gd name="connsiteY0" fmla="*/ 189167 h 189166"/>
                <a:gd name="connsiteX1" fmla="*/ 0 w 96317"/>
                <a:gd name="connsiteY1" fmla="*/ 103974 h 189166"/>
                <a:gd name="connsiteX2" fmla="*/ 47677 w 96317"/>
                <a:gd name="connsiteY2" fmla="*/ 0 h 189166"/>
                <a:gd name="connsiteX3" fmla="*/ 96317 w 96317"/>
                <a:gd name="connsiteY3" fmla="*/ 103974 h 189166"/>
                <a:gd name="connsiteX4" fmla="*/ 96317 w 96317"/>
                <a:gd name="connsiteY4" fmla="*/ 189167 h 1891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6317" h="189166">
                  <a:moveTo>
                    <a:pt x="0" y="189167"/>
                  </a:moveTo>
                  <a:lnTo>
                    <a:pt x="0" y="103974"/>
                  </a:lnTo>
                  <a:lnTo>
                    <a:pt x="47677" y="0"/>
                  </a:lnTo>
                  <a:lnTo>
                    <a:pt x="96317" y="103974"/>
                  </a:lnTo>
                  <a:lnTo>
                    <a:pt x="96317" y="189167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42" name="Forma livre: Forma 1941">
              <a:extLst>
                <a:ext uri="{FF2B5EF4-FFF2-40B4-BE49-F238E27FC236}">
                  <a16:creationId xmlns:a16="http://schemas.microsoft.com/office/drawing/2014/main" id="{B718965C-11A8-991C-8BAE-C43A356E544E}"/>
                </a:ext>
              </a:extLst>
            </p:cNvPr>
            <p:cNvSpPr/>
            <p:nvPr/>
          </p:nvSpPr>
          <p:spPr>
            <a:xfrm>
              <a:off x="4509813" y="3733718"/>
              <a:ext cx="132484" cy="4815"/>
            </a:xfrm>
            <a:custGeom>
              <a:avLst/>
              <a:gdLst>
                <a:gd name="connsiteX0" fmla="*/ 132484 w 132484"/>
                <a:gd name="connsiteY0" fmla="*/ 0 h 4815"/>
                <a:gd name="connsiteX1" fmla="*/ 0 w 132484"/>
                <a:gd name="connsiteY1" fmla="*/ 0 h 48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32484" h="4815">
                  <a:moveTo>
                    <a:pt x="132484" y="0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43" name="Forma livre: Forma 1942">
              <a:extLst>
                <a:ext uri="{FF2B5EF4-FFF2-40B4-BE49-F238E27FC236}">
                  <a16:creationId xmlns:a16="http://schemas.microsoft.com/office/drawing/2014/main" id="{F0C9DD64-72F8-AC59-60DA-7BE1B90226AB}"/>
                </a:ext>
              </a:extLst>
            </p:cNvPr>
            <p:cNvSpPr/>
            <p:nvPr/>
          </p:nvSpPr>
          <p:spPr>
            <a:xfrm>
              <a:off x="4559705" y="3837692"/>
              <a:ext cx="91453" cy="4815"/>
            </a:xfrm>
            <a:custGeom>
              <a:avLst/>
              <a:gdLst>
                <a:gd name="connsiteX0" fmla="*/ 0 w 91453"/>
                <a:gd name="connsiteY0" fmla="*/ 0 h 4815"/>
                <a:gd name="connsiteX1" fmla="*/ 91453 w 91453"/>
                <a:gd name="connsiteY1" fmla="*/ 0 h 48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1453" h="4815">
                  <a:moveTo>
                    <a:pt x="0" y="0"/>
                  </a:moveTo>
                  <a:lnTo>
                    <a:pt x="91453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44" name="Forma livre: Forma 1943">
              <a:extLst>
                <a:ext uri="{FF2B5EF4-FFF2-40B4-BE49-F238E27FC236}">
                  <a16:creationId xmlns:a16="http://schemas.microsoft.com/office/drawing/2014/main" id="{21FC033F-429D-2AC2-7D90-3DFDC61EBC0E}"/>
                </a:ext>
              </a:extLst>
            </p:cNvPr>
            <p:cNvSpPr/>
            <p:nvPr/>
          </p:nvSpPr>
          <p:spPr>
            <a:xfrm>
              <a:off x="4400878" y="3732466"/>
              <a:ext cx="71997" cy="16518"/>
            </a:xfrm>
            <a:custGeom>
              <a:avLst/>
              <a:gdLst>
                <a:gd name="connsiteX0" fmla="*/ 0 w 71997"/>
                <a:gd name="connsiteY0" fmla="*/ 16518 h 16518"/>
                <a:gd name="connsiteX1" fmla="*/ 24272 w 71997"/>
                <a:gd name="connsiteY1" fmla="*/ 16518 h 16518"/>
                <a:gd name="connsiteX2" fmla="*/ 40790 w 71997"/>
                <a:gd name="connsiteY2" fmla="*/ 0 h 16518"/>
                <a:gd name="connsiteX3" fmla="*/ 57309 w 71997"/>
                <a:gd name="connsiteY3" fmla="*/ 16518 h 16518"/>
                <a:gd name="connsiteX4" fmla="*/ 71997 w 71997"/>
                <a:gd name="connsiteY4" fmla="*/ 16518 h 16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997" h="16518">
                  <a:moveTo>
                    <a:pt x="0" y="16518"/>
                  </a:moveTo>
                  <a:lnTo>
                    <a:pt x="24272" y="16518"/>
                  </a:lnTo>
                  <a:cubicBezTo>
                    <a:pt x="24272" y="7368"/>
                    <a:pt x="31688" y="0"/>
                    <a:pt x="40790" y="0"/>
                  </a:cubicBezTo>
                  <a:cubicBezTo>
                    <a:pt x="49892" y="0"/>
                    <a:pt x="57309" y="7416"/>
                    <a:pt x="57309" y="16518"/>
                  </a:cubicBezTo>
                  <a:lnTo>
                    <a:pt x="71997" y="16518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45" name="Forma livre: Forma 1944">
              <a:extLst>
                <a:ext uri="{FF2B5EF4-FFF2-40B4-BE49-F238E27FC236}">
                  <a16:creationId xmlns:a16="http://schemas.microsoft.com/office/drawing/2014/main" id="{CFF3E9D5-4016-23D3-F35C-CD60FA3A57BF}"/>
                </a:ext>
              </a:extLst>
            </p:cNvPr>
            <p:cNvSpPr/>
            <p:nvPr/>
          </p:nvSpPr>
          <p:spPr>
            <a:xfrm>
              <a:off x="4547184" y="3663840"/>
              <a:ext cx="64676" cy="13532"/>
            </a:xfrm>
            <a:custGeom>
              <a:avLst/>
              <a:gdLst>
                <a:gd name="connsiteX0" fmla="*/ 64677 w 64676"/>
                <a:gd name="connsiteY0" fmla="*/ 13533 h 13532"/>
                <a:gd name="connsiteX1" fmla="*/ 51578 w 64676"/>
                <a:gd name="connsiteY1" fmla="*/ 13533 h 13532"/>
                <a:gd name="connsiteX2" fmla="*/ 38093 w 64676"/>
                <a:gd name="connsiteY2" fmla="*/ 0 h 13532"/>
                <a:gd name="connsiteX3" fmla="*/ 24561 w 64676"/>
                <a:gd name="connsiteY3" fmla="*/ 13533 h 13532"/>
                <a:gd name="connsiteX4" fmla="*/ 0 w 64676"/>
                <a:gd name="connsiteY4" fmla="*/ 13533 h 135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4676" h="13532">
                  <a:moveTo>
                    <a:pt x="64677" y="13533"/>
                  </a:moveTo>
                  <a:lnTo>
                    <a:pt x="51578" y="13533"/>
                  </a:lnTo>
                  <a:cubicBezTo>
                    <a:pt x="51578" y="6068"/>
                    <a:pt x="45510" y="0"/>
                    <a:pt x="38093" y="0"/>
                  </a:cubicBezTo>
                  <a:cubicBezTo>
                    <a:pt x="30677" y="0"/>
                    <a:pt x="24561" y="6068"/>
                    <a:pt x="24561" y="13533"/>
                  </a:cubicBezTo>
                  <a:lnTo>
                    <a:pt x="0" y="13533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46" name="Forma livre: Forma 1945">
              <a:extLst>
                <a:ext uri="{FF2B5EF4-FFF2-40B4-BE49-F238E27FC236}">
                  <a16:creationId xmlns:a16="http://schemas.microsoft.com/office/drawing/2014/main" id="{D84EB0E0-5D2F-4707-FFC9-A6A2C52C5244}"/>
                </a:ext>
              </a:extLst>
            </p:cNvPr>
            <p:cNvSpPr/>
            <p:nvPr/>
          </p:nvSpPr>
          <p:spPr>
            <a:xfrm>
              <a:off x="4612439" y="3699862"/>
              <a:ext cx="26968" cy="4815"/>
            </a:xfrm>
            <a:custGeom>
              <a:avLst/>
              <a:gdLst>
                <a:gd name="connsiteX0" fmla="*/ 0 w 26968"/>
                <a:gd name="connsiteY0" fmla="*/ 0 h 4815"/>
                <a:gd name="connsiteX1" fmla="*/ 26969 w 26968"/>
                <a:gd name="connsiteY1" fmla="*/ 0 h 48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6968" h="4815">
                  <a:moveTo>
                    <a:pt x="0" y="0"/>
                  </a:moveTo>
                  <a:lnTo>
                    <a:pt x="26969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47" name="Forma livre: Forma 1946">
              <a:extLst>
                <a:ext uri="{FF2B5EF4-FFF2-40B4-BE49-F238E27FC236}">
                  <a16:creationId xmlns:a16="http://schemas.microsoft.com/office/drawing/2014/main" id="{BDB594B7-85DB-BDB5-D42A-21D9E6E6AB30}"/>
                </a:ext>
              </a:extLst>
            </p:cNvPr>
            <p:cNvSpPr/>
            <p:nvPr/>
          </p:nvSpPr>
          <p:spPr>
            <a:xfrm>
              <a:off x="4574731" y="3705353"/>
              <a:ext cx="11269" cy="4815"/>
            </a:xfrm>
            <a:custGeom>
              <a:avLst/>
              <a:gdLst>
                <a:gd name="connsiteX0" fmla="*/ 0 w 11269"/>
                <a:gd name="connsiteY0" fmla="*/ 0 h 4815"/>
                <a:gd name="connsiteX1" fmla="*/ 11269 w 11269"/>
                <a:gd name="connsiteY1" fmla="*/ 0 h 48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69" h="4815">
                  <a:moveTo>
                    <a:pt x="0" y="0"/>
                  </a:moveTo>
                  <a:lnTo>
                    <a:pt x="11269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948" name="Gráfico 19">
              <a:extLst>
                <a:ext uri="{FF2B5EF4-FFF2-40B4-BE49-F238E27FC236}">
                  <a16:creationId xmlns:a16="http://schemas.microsoft.com/office/drawing/2014/main" id="{FE46CCB5-D908-4C26-C700-168F5315C2CD}"/>
                </a:ext>
              </a:extLst>
            </p:cNvPr>
            <p:cNvGrpSpPr/>
            <p:nvPr/>
          </p:nvGrpSpPr>
          <p:grpSpPr>
            <a:xfrm>
              <a:off x="4650201" y="3699574"/>
              <a:ext cx="111337" cy="223311"/>
              <a:chOff x="4650201" y="3699574"/>
              <a:chExt cx="111337" cy="223311"/>
            </a:xfrm>
            <a:noFill/>
          </p:grpSpPr>
          <p:sp>
            <p:nvSpPr>
              <p:cNvPr id="1949" name="Forma livre: Forma 1948">
                <a:extLst>
                  <a:ext uri="{FF2B5EF4-FFF2-40B4-BE49-F238E27FC236}">
                    <a16:creationId xmlns:a16="http://schemas.microsoft.com/office/drawing/2014/main" id="{DC38B1BC-F5E2-E989-05C8-6F3A4FD7DD5F}"/>
                  </a:ext>
                </a:extLst>
              </p:cNvPr>
              <p:cNvSpPr/>
              <p:nvPr/>
            </p:nvSpPr>
            <p:spPr>
              <a:xfrm>
                <a:off x="4650201" y="3699574"/>
                <a:ext cx="111337" cy="175074"/>
              </a:xfrm>
              <a:custGeom>
                <a:avLst/>
                <a:gdLst>
                  <a:gd name="connsiteX0" fmla="*/ 109989 w 111337"/>
                  <a:gd name="connsiteY0" fmla="*/ 101470 h 175074"/>
                  <a:gd name="connsiteX1" fmla="*/ 55473 w 111337"/>
                  <a:gd name="connsiteY1" fmla="*/ 175056 h 175074"/>
                  <a:gd name="connsiteX2" fmla="*/ 1006 w 111337"/>
                  <a:gd name="connsiteY2" fmla="*/ 102144 h 175074"/>
                  <a:gd name="connsiteX3" fmla="*/ 55762 w 111337"/>
                  <a:gd name="connsiteY3" fmla="*/ 0 h 175074"/>
                  <a:gd name="connsiteX4" fmla="*/ 109989 w 111337"/>
                  <a:gd name="connsiteY4" fmla="*/ 101518 h 1750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11337" h="175074">
                    <a:moveTo>
                      <a:pt x="109989" y="101470"/>
                    </a:moveTo>
                    <a:cubicBezTo>
                      <a:pt x="118513" y="154589"/>
                      <a:pt x="84994" y="175779"/>
                      <a:pt x="55473" y="175056"/>
                    </a:cubicBezTo>
                    <a:cubicBezTo>
                      <a:pt x="25952" y="174334"/>
                      <a:pt x="-6122" y="149869"/>
                      <a:pt x="1006" y="102144"/>
                    </a:cubicBezTo>
                    <a:cubicBezTo>
                      <a:pt x="6400" y="66025"/>
                      <a:pt x="26385" y="0"/>
                      <a:pt x="55762" y="0"/>
                    </a:cubicBezTo>
                    <a:cubicBezTo>
                      <a:pt x="85139" y="0"/>
                      <a:pt x="103824" y="62991"/>
                      <a:pt x="109989" y="101518"/>
                    </a:cubicBezTo>
                    <a:close/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1950" name="Gráfico 19">
                <a:extLst>
                  <a:ext uri="{FF2B5EF4-FFF2-40B4-BE49-F238E27FC236}">
                    <a16:creationId xmlns:a16="http://schemas.microsoft.com/office/drawing/2014/main" id="{1587FECD-84B8-9F61-57E4-74F35195471B}"/>
                  </a:ext>
                </a:extLst>
              </p:cNvPr>
              <p:cNvGrpSpPr/>
              <p:nvPr/>
            </p:nvGrpSpPr>
            <p:grpSpPr>
              <a:xfrm>
                <a:off x="4672300" y="3781010"/>
                <a:ext cx="32651" cy="59235"/>
                <a:chOff x="4672300" y="3781010"/>
                <a:chExt cx="32651" cy="59235"/>
              </a:xfrm>
            </p:grpSpPr>
            <p:sp>
              <p:nvSpPr>
                <p:cNvPr id="1951" name="Forma livre: Forma 1950">
                  <a:extLst>
                    <a:ext uri="{FF2B5EF4-FFF2-40B4-BE49-F238E27FC236}">
                      <a16:creationId xmlns:a16="http://schemas.microsoft.com/office/drawing/2014/main" id="{7C465369-25A5-5ED6-705A-D79BB647A8BA}"/>
                    </a:ext>
                  </a:extLst>
                </p:cNvPr>
                <p:cNvSpPr/>
                <p:nvPr/>
              </p:nvSpPr>
              <p:spPr>
                <a:xfrm>
                  <a:off x="4672300" y="3811012"/>
                  <a:ext cx="32651" cy="29232"/>
                </a:xfrm>
                <a:custGeom>
                  <a:avLst/>
                  <a:gdLst>
                    <a:gd name="connsiteX0" fmla="*/ 32652 w 32651"/>
                    <a:gd name="connsiteY0" fmla="*/ 29232 h 29232"/>
                    <a:gd name="connsiteX1" fmla="*/ 0 w 32651"/>
                    <a:gd name="connsiteY1" fmla="*/ 0 h 2923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32651" h="29232">
                      <a:moveTo>
                        <a:pt x="32652" y="29232"/>
                      </a:moveTo>
                      <a:lnTo>
                        <a:pt x="0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952" name="Forma livre: Forma 1951">
                  <a:extLst>
                    <a:ext uri="{FF2B5EF4-FFF2-40B4-BE49-F238E27FC236}">
                      <a16:creationId xmlns:a16="http://schemas.microsoft.com/office/drawing/2014/main" id="{99D0E6CC-D41F-0B26-5954-2B1F933F20D8}"/>
                    </a:ext>
                  </a:extLst>
                </p:cNvPr>
                <p:cNvSpPr/>
                <p:nvPr/>
              </p:nvSpPr>
              <p:spPr>
                <a:xfrm>
                  <a:off x="4684725" y="3781010"/>
                  <a:ext cx="19648" cy="17674"/>
                </a:xfrm>
                <a:custGeom>
                  <a:avLst/>
                  <a:gdLst>
                    <a:gd name="connsiteX0" fmla="*/ 19649 w 19648"/>
                    <a:gd name="connsiteY0" fmla="*/ 17674 h 17674"/>
                    <a:gd name="connsiteX1" fmla="*/ 0 w 19648"/>
                    <a:gd name="connsiteY1" fmla="*/ 0 h 176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9648" h="17674">
                      <a:moveTo>
                        <a:pt x="19649" y="17674"/>
                      </a:moveTo>
                      <a:lnTo>
                        <a:pt x="0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1953" name="Gráfico 19">
                <a:extLst>
                  <a:ext uri="{FF2B5EF4-FFF2-40B4-BE49-F238E27FC236}">
                    <a16:creationId xmlns:a16="http://schemas.microsoft.com/office/drawing/2014/main" id="{1A6ECEBC-9E4A-5931-447C-6D3BC1DE84D7}"/>
                  </a:ext>
                </a:extLst>
              </p:cNvPr>
              <p:cNvGrpSpPr/>
              <p:nvPr/>
            </p:nvGrpSpPr>
            <p:grpSpPr>
              <a:xfrm>
                <a:off x="4706733" y="3781010"/>
                <a:ext cx="32603" cy="59235"/>
                <a:chOff x="4706733" y="3781010"/>
                <a:chExt cx="32603" cy="59235"/>
              </a:xfrm>
            </p:grpSpPr>
            <p:sp>
              <p:nvSpPr>
                <p:cNvPr id="1954" name="Forma livre: Forma 1953">
                  <a:extLst>
                    <a:ext uri="{FF2B5EF4-FFF2-40B4-BE49-F238E27FC236}">
                      <a16:creationId xmlns:a16="http://schemas.microsoft.com/office/drawing/2014/main" id="{488A5C95-5D0C-3C25-790F-8E182C471708}"/>
                    </a:ext>
                  </a:extLst>
                </p:cNvPr>
                <p:cNvSpPr/>
                <p:nvPr/>
              </p:nvSpPr>
              <p:spPr>
                <a:xfrm>
                  <a:off x="4706733" y="3811012"/>
                  <a:ext cx="32603" cy="29232"/>
                </a:xfrm>
                <a:custGeom>
                  <a:avLst/>
                  <a:gdLst>
                    <a:gd name="connsiteX0" fmla="*/ 0 w 32603"/>
                    <a:gd name="connsiteY0" fmla="*/ 29232 h 29232"/>
                    <a:gd name="connsiteX1" fmla="*/ 32603 w 32603"/>
                    <a:gd name="connsiteY1" fmla="*/ 0 h 2923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32603" h="29232">
                      <a:moveTo>
                        <a:pt x="0" y="29232"/>
                      </a:moveTo>
                      <a:lnTo>
                        <a:pt x="32603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955" name="Forma livre: Forma 1954">
                  <a:extLst>
                    <a:ext uri="{FF2B5EF4-FFF2-40B4-BE49-F238E27FC236}">
                      <a16:creationId xmlns:a16="http://schemas.microsoft.com/office/drawing/2014/main" id="{F146A8A0-B71C-A905-AC78-46B2A76E9E5C}"/>
                    </a:ext>
                  </a:extLst>
                </p:cNvPr>
                <p:cNvSpPr/>
                <p:nvPr/>
              </p:nvSpPr>
              <p:spPr>
                <a:xfrm>
                  <a:off x="4707263" y="3781010"/>
                  <a:ext cx="19696" cy="17674"/>
                </a:xfrm>
                <a:custGeom>
                  <a:avLst/>
                  <a:gdLst>
                    <a:gd name="connsiteX0" fmla="*/ 0 w 19696"/>
                    <a:gd name="connsiteY0" fmla="*/ 17674 h 17674"/>
                    <a:gd name="connsiteX1" fmla="*/ 19697 w 19696"/>
                    <a:gd name="connsiteY1" fmla="*/ 0 h 176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9696" h="17674">
                      <a:moveTo>
                        <a:pt x="0" y="17674"/>
                      </a:moveTo>
                      <a:lnTo>
                        <a:pt x="19697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1956" name="Forma livre: Forma 1955">
                <a:extLst>
                  <a:ext uri="{FF2B5EF4-FFF2-40B4-BE49-F238E27FC236}">
                    <a16:creationId xmlns:a16="http://schemas.microsoft.com/office/drawing/2014/main" id="{E59A5034-3BFA-D10F-C40C-63B251DF1972}"/>
                  </a:ext>
                </a:extLst>
              </p:cNvPr>
              <p:cNvSpPr/>
              <p:nvPr/>
            </p:nvSpPr>
            <p:spPr>
              <a:xfrm>
                <a:off x="4705867" y="3760253"/>
                <a:ext cx="4815" cy="162631"/>
              </a:xfrm>
              <a:custGeom>
                <a:avLst/>
                <a:gdLst>
                  <a:gd name="connsiteX0" fmla="*/ 0 w 4815"/>
                  <a:gd name="connsiteY0" fmla="*/ 0 h 162631"/>
                  <a:gd name="connsiteX1" fmla="*/ 0 w 4815"/>
                  <a:gd name="connsiteY1" fmla="*/ 162631 h 1626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815" h="162631">
                    <a:moveTo>
                      <a:pt x="0" y="0"/>
                    </a:moveTo>
                    <a:lnTo>
                      <a:pt x="0" y="162631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957" name="Forma livre: Forma 1956">
              <a:extLst>
                <a:ext uri="{FF2B5EF4-FFF2-40B4-BE49-F238E27FC236}">
                  <a16:creationId xmlns:a16="http://schemas.microsoft.com/office/drawing/2014/main" id="{D0034B02-D838-CBA1-4C43-65296E8DBD3A}"/>
                </a:ext>
              </a:extLst>
            </p:cNvPr>
            <p:cNvSpPr/>
            <p:nvPr/>
          </p:nvSpPr>
          <p:spPr>
            <a:xfrm>
              <a:off x="4493439" y="3870007"/>
              <a:ext cx="30532" cy="53793"/>
            </a:xfrm>
            <a:custGeom>
              <a:avLst/>
              <a:gdLst>
                <a:gd name="connsiteX0" fmla="*/ 0 w 30532"/>
                <a:gd name="connsiteY0" fmla="*/ 53793 h 53793"/>
                <a:gd name="connsiteX1" fmla="*/ 0 w 30532"/>
                <a:gd name="connsiteY1" fmla="*/ 0 h 53793"/>
                <a:gd name="connsiteX2" fmla="*/ 30533 w 30532"/>
                <a:gd name="connsiteY2" fmla="*/ 0 h 53793"/>
                <a:gd name="connsiteX3" fmla="*/ 30533 w 30532"/>
                <a:gd name="connsiteY3" fmla="*/ 53793 h 537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0532" h="53793">
                  <a:moveTo>
                    <a:pt x="0" y="53793"/>
                  </a:moveTo>
                  <a:lnTo>
                    <a:pt x="0" y="0"/>
                  </a:lnTo>
                  <a:lnTo>
                    <a:pt x="30533" y="0"/>
                  </a:lnTo>
                  <a:lnTo>
                    <a:pt x="30533" y="53793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58" name="Forma livre: Forma 1957">
              <a:extLst>
                <a:ext uri="{FF2B5EF4-FFF2-40B4-BE49-F238E27FC236}">
                  <a16:creationId xmlns:a16="http://schemas.microsoft.com/office/drawing/2014/main" id="{D3B9F789-69FC-8B6F-7E05-D2AF84336223}"/>
                </a:ext>
              </a:extLst>
            </p:cNvPr>
            <p:cNvSpPr/>
            <p:nvPr/>
          </p:nvSpPr>
          <p:spPr>
            <a:xfrm>
              <a:off x="4437383" y="3924811"/>
              <a:ext cx="295838" cy="4815"/>
            </a:xfrm>
            <a:custGeom>
              <a:avLst/>
              <a:gdLst>
                <a:gd name="connsiteX0" fmla="*/ 0 w 295838"/>
                <a:gd name="connsiteY0" fmla="*/ 0 h 4815"/>
                <a:gd name="connsiteX1" fmla="*/ 295838 w 295838"/>
                <a:gd name="connsiteY1" fmla="*/ 0 h 48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95838" h="4815">
                  <a:moveTo>
                    <a:pt x="0" y="0"/>
                  </a:moveTo>
                  <a:lnTo>
                    <a:pt x="295838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959" name="Gráfico 19">
            <a:extLst>
              <a:ext uri="{FF2B5EF4-FFF2-40B4-BE49-F238E27FC236}">
                <a16:creationId xmlns:a16="http://schemas.microsoft.com/office/drawing/2014/main" id="{CD1617C3-605B-8763-3959-239209CF49E2}"/>
              </a:ext>
            </a:extLst>
          </p:cNvPr>
          <p:cNvGrpSpPr/>
          <p:nvPr/>
        </p:nvGrpSpPr>
        <p:grpSpPr>
          <a:xfrm>
            <a:off x="4417108" y="5834538"/>
            <a:ext cx="328248" cy="274407"/>
            <a:chOff x="4417108" y="5834538"/>
            <a:chExt cx="328248" cy="274407"/>
          </a:xfrm>
          <a:noFill/>
        </p:grpSpPr>
        <p:sp>
          <p:nvSpPr>
            <p:cNvPr id="1960" name="Forma livre: Forma 1959">
              <a:extLst>
                <a:ext uri="{FF2B5EF4-FFF2-40B4-BE49-F238E27FC236}">
                  <a16:creationId xmlns:a16="http://schemas.microsoft.com/office/drawing/2014/main" id="{1C1F67F9-5D5F-9BD4-B2AA-B3250ACB9EC4}"/>
                </a:ext>
              </a:extLst>
            </p:cNvPr>
            <p:cNvSpPr/>
            <p:nvPr/>
          </p:nvSpPr>
          <p:spPr>
            <a:xfrm>
              <a:off x="4417108" y="5956139"/>
              <a:ext cx="328248" cy="152807"/>
            </a:xfrm>
            <a:custGeom>
              <a:avLst/>
              <a:gdLst>
                <a:gd name="connsiteX0" fmla="*/ 328249 w 328248"/>
                <a:gd name="connsiteY0" fmla="*/ 121841 h 152807"/>
                <a:gd name="connsiteX1" fmla="*/ 328249 w 328248"/>
                <a:gd name="connsiteY1" fmla="*/ 30966 h 152807"/>
                <a:gd name="connsiteX2" fmla="*/ 297524 w 328248"/>
                <a:gd name="connsiteY2" fmla="*/ 0 h 152807"/>
                <a:gd name="connsiteX3" fmla="*/ 297524 w 328248"/>
                <a:gd name="connsiteY3" fmla="*/ 90875 h 152807"/>
                <a:gd name="connsiteX4" fmla="*/ 328249 w 328248"/>
                <a:gd name="connsiteY4" fmla="*/ 121841 h 152807"/>
                <a:gd name="connsiteX5" fmla="*/ 297524 w 328248"/>
                <a:gd name="connsiteY5" fmla="*/ 152807 h 152807"/>
                <a:gd name="connsiteX6" fmla="*/ 30725 w 328248"/>
                <a:gd name="connsiteY6" fmla="*/ 152807 h 152807"/>
                <a:gd name="connsiteX7" fmla="*/ 0 w 328248"/>
                <a:gd name="connsiteY7" fmla="*/ 121841 h 152807"/>
                <a:gd name="connsiteX8" fmla="*/ 30725 w 328248"/>
                <a:gd name="connsiteY8" fmla="*/ 90875 h 152807"/>
                <a:gd name="connsiteX9" fmla="*/ 30725 w 328248"/>
                <a:gd name="connsiteY9" fmla="*/ 0 h 152807"/>
                <a:gd name="connsiteX10" fmla="*/ 0 w 328248"/>
                <a:gd name="connsiteY10" fmla="*/ 30966 h 152807"/>
                <a:gd name="connsiteX11" fmla="*/ 0 w 328248"/>
                <a:gd name="connsiteY11" fmla="*/ 121841 h 152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28248" h="152807">
                  <a:moveTo>
                    <a:pt x="328249" y="121841"/>
                  </a:moveTo>
                  <a:lnTo>
                    <a:pt x="328249" y="30966"/>
                  </a:lnTo>
                  <a:cubicBezTo>
                    <a:pt x="328249" y="13870"/>
                    <a:pt x="314620" y="0"/>
                    <a:pt x="297524" y="0"/>
                  </a:cubicBezTo>
                  <a:lnTo>
                    <a:pt x="297524" y="90875"/>
                  </a:lnTo>
                  <a:cubicBezTo>
                    <a:pt x="314620" y="90875"/>
                    <a:pt x="328249" y="104745"/>
                    <a:pt x="328249" y="121841"/>
                  </a:cubicBezTo>
                  <a:cubicBezTo>
                    <a:pt x="328249" y="138937"/>
                    <a:pt x="314620" y="152807"/>
                    <a:pt x="297524" y="152807"/>
                  </a:cubicBezTo>
                  <a:lnTo>
                    <a:pt x="30725" y="152807"/>
                  </a:lnTo>
                  <a:cubicBezTo>
                    <a:pt x="13629" y="152807"/>
                    <a:pt x="0" y="138937"/>
                    <a:pt x="0" y="121841"/>
                  </a:cubicBezTo>
                  <a:cubicBezTo>
                    <a:pt x="0" y="104745"/>
                    <a:pt x="13629" y="90875"/>
                    <a:pt x="30725" y="90875"/>
                  </a:cubicBezTo>
                  <a:lnTo>
                    <a:pt x="30725" y="0"/>
                  </a:lnTo>
                  <a:cubicBezTo>
                    <a:pt x="13629" y="0"/>
                    <a:pt x="0" y="13870"/>
                    <a:pt x="0" y="30966"/>
                  </a:cubicBezTo>
                  <a:lnTo>
                    <a:pt x="0" y="121841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61" name="Forma livre: Forma 1960">
              <a:extLst>
                <a:ext uri="{FF2B5EF4-FFF2-40B4-BE49-F238E27FC236}">
                  <a16:creationId xmlns:a16="http://schemas.microsoft.com/office/drawing/2014/main" id="{8B68AEA5-18A3-1D18-AF02-330133CB3A9E}"/>
                </a:ext>
              </a:extLst>
            </p:cNvPr>
            <p:cNvSpPr/>
            <p:nvPr/>
          </p:nvSpPr>
          <p:spPr>
            <a:xfrm>
              <a:off x="4474994" y="5834538"/>
              <a:ext cx="212427" cy="104022"/>
            </a:xfrm>
            <a:custGeom>
              <a:avLst/>
              <a:gdLst>
                <a:gd name="connsiteX0" fmla="*/ 212427 w 212427"/>
                <a:gd name="connsiteY0" fmla="*/ 104023 h 104022"/>
                <a:gd name="connsiteX1" fmla="*/ 106190 w 212427"/>
                <a:gd name="connsiteY1" fmla="*/ 0 h 104022"/>
                <a:gd name="connsiteX2" fmla="*/ 56249 w 212427"/>
                <a:gd name="connsiteY2" fmla="*/ 48785 h 104022"/>
                <a:gd name="connsiteX3" fmla="*/ 56249 w 212427"/>
                <a:gd name="connsiteY3" fmla="*/ 19071 h 104022"/>
                <a:gd name="connsiteX4" fmla="*/ 33181 w 212427"/>
                <a:gd name="connsiteY4" fmla="*/ 19071 h 104022"/>
                <a:gd name="connsiteX5" fmla="*/ 33181 w 212427"/>
                <a:gd name="connsiteY5" fmla="*/ 71371 h 104022"/>
                <a:gd name="connsiteX6" fmla="*/ 0 w 212427"/>
                <a:gd name="connsiteY6" fmla="*/ 104023 h 104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12427" h="104022">
                  <a:moveTo>
                    <a:pt x="212427" y="104023"/>
                  </a:moveTo>
                  <a:lnTo>
                    <a:pt x="106190" y="0"/>
                  </a:lnTo>
                  <a:lnTo>
                    <a:pt x="56249" y="48785"/>
                  </a:lnTo>
                  <a:lnTo>
                    <a:pt x="56249" y="19071"/>
                  </a:lnTo>
                  <a:lnTo>
                    <a:pt x="33181" y="19071"/>
                  </a:lnTo>
                  <a:lnTo>
                    <a:pt x="33181" y="71371"/>
                  </a:lnTo>
                  <a:lnTo>
                    <a:pt x="0" y="104023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962" name="Gráfico 19">
              <a:extLst>
                <a:ext uri="{FF2B5EF4-FFF2-40B4-BE49-F238E27FC236}">
                  <a16:creationId xmlns:a16="http://schemas.microsoft.com/office/drawing/2014/main" id="{35DB0DB6-C124-A48C-91E0-E8F448416750}"/>
                </a:ext>
              </a:extLst>
            </p:cNvPr>
            <p:cNvGrpSpPr/>
            <p:nvPr/>
          </p:nvGrpSpPr>
          <p:grpSpPr>
            <a:xfrm>
              <a:off x="4448603" y="5990524"/>
              <a:ext cx="265209" cy="4815"/>
              <a:chOff x="4448603" y="5990524"/>
              <a:chExt cx="265209" cy="4815"/>
            </a:xfrm>
          </p:grpSpPr>
          <p:sp>
            <p:nvSpPr>
              <p:cNvPr id="1963" name="Forma livre: Forma 1962">
                <a:extLst>
                  <a:ext uri="{FF2B5EF4-FFF2-40B4-BE49-F238E27FC236}">
                    <a16:creationId xmlns:a16="http://schemas.microsoft.com/office/drawing/2014/main" id="{D27CA2A3-8D45-F1DD-7012-FBBBC3C53E45}"/>
                  </a:ext>
                </a:extLst>
              </p:cNvPr>
              <p:cNvSpPr/>
              <p:nvPr/>
            </p:nvSpPr>
            <p:spPr>
              <a:xfrm>
                <a:off x="4448603" y="5990524"/>
                <a:ext cx="35878" cy="4815"/>
              </a:xfrm>
              <a:custGeom>
                <a:avLst/>
                <a:gdLst>
                  <a:gd name="connsiteX0" fmla="*/ 0 w 35878"/>
                  <a:gd name="connsiteY0" fmla="*/ 0 h 4815"/>
                  <a:gd name="connsiteX1" fmla="*/ 35878 w 35878"/>
                  <a:gd name="connsiteY1" fmla="*/ 0 h 48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5878" h="4815">
                    <a:moveTo>
                      <a:pt x="0" y="0"/>
                    </a:moveTo>
                    <a:lnTo>
                      <a:pt x="35878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964" name="Forma livre: Forma 1963">
                <a:extLst>
                  <a:ext uri="{FF2B5EF4-FFF2-40B4-BE49-F238E27FC236}">
                    <a16:creationId xmlns:a16="http://schemas.microsoft.com/office/drawing/2014/main" id="{8AD1CCB0-FB7A-4C4C-27E8-7ECE1A1F9F1D}"/>
                  </a:ext>
                </a:extLst>
              </p:cNvPr>
              <p:cNvSpPr/>
              <p:nvPr/>
            </p:nvSpPr>
            <p:spPr>
              <a:xfrm>
                <a:off x="4677935" y="5990524"/>
                <a:ext cx="35878" cy="4815"/>
              </a:xfrm>
              <a:custGeom>
                <a:avLst/>
                <a:gdLst>
                  <a:gd name="connsiteX0" fmla="*/ 0 w 35878"/>
                  <a:gd name="connsiteY0" fmla="*/ 0 h 4815"/>
                  <a:gd name="connsiteX1" fmla="*/ 35878 w 35878"/>
                  <a:gd name="connsiteY1" fmla="*/ 0 h 48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5878" h="4815">
                    <a:moveTo>
                      <a:pt x="0" y="0"/>
                    </a:moveTo>
                    <a:lnTo>
                      <a:pt x="35878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965" name="Forma livre: Forma 1964">
              <a:extLst>
                <a:ext uri="{FF2B5EF4-FFF2-40B4-BE49-F238E27FC236}">
                  <a16:creationId xmlns:a16="http://schemas.microsoft.com/office/drawing/2014/main" id="{F2393791-F1A9-5675-4229-8C9E359F47D5}"/>
                </a:ext>
              </a:extLst>
            </p:cNvPr>
            <p:cNvSpPr/>
            <p:nvPr/>
          </p:nvSpPr>
          <p:spPr>
            <a:xfrm>
              <a:off x="4507405" y="5873210"/>
              <a:ext cx="147606" cy="168988"/>
            </a:xfrm>
            <a:custGeom>
              <a:avLst/>
              <a:gdLst>
                <a:gd name="connsiteX0" fmla="*/ 73827 w 147606"/>
                <a:gd name="connsiteY0" fmla="*/ 0 h 168988"/>
                <a:gd name="connsiteX1" fmla="*/ 0 w 147606"/>
                <a:gd name="connsiteY1" fmla="*/ 74212 h 168988"/>
                <a:gd name="connsiteX2" fmla="*/ 0 w 147606"/>
                <a:gd name="connsiteY2" fmla="*/ 168988 h 168988"/>
                <a:gd name="connsiteX3" fmla="*/ 56683 w 147606"/>
                <a:gd name="connsiteY3" fmla="*/ 168988 h 168988"/>
                <a:gd name="connsiteX4" fmla="*/ 56683 w 147606"/>
                <a:gd name="connsiteY4" fmla="*/ 118277 h 168988"/>
                <a:gd name="connsiteX5" fmla="*/ 90923 w 147606"/>
                <a:gd name="connsiteY5" fmla="*/ 118277 h 168988"/>
                <a:gd name="connsiteX6" fmla="*/ 90923 w 147606"/>
                <a:gd name="connsiteY6" fmla="*/ 168988 h 168988"/>
                <a:gd name="connsiteX7" fmla="*/ 147606 w 147606"/>
                <a:gd name="connsiteY7" fmla="*/ 168988 h 168988"/>
                <a:gd name="connsiteX8" fmla="*/ 147606 w 147606"/>
                <a:gd name="connsiteY8" fmla="*/ 74212 h 168988"/>
                <a:gd name="connsiteX9" fmla="*/ 73827 w 147606"/>
                <a:gd name="connsiteY9" fmla="*/ 0 h 1689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47606" h="168988">
                  <a:moveTo>
                    <a:pt x="73827" y="0"/>
                  </a:moveTo>
                  <a:lnTo>
                    <a:pt x="0" y="74212"/>
                  </a:lnTo>
                  <a:lnTo>
                    <a:pt x="0" y="168988"/>
                  </a:lnTo>
                  <a:lnTo>
                    <a:pt x="56683" y="168988"/>
                  </a:lnTo>
                  <a:lnTo>
                    <a:pt x="56683" y="118277"/>
                  </a:lnTo>
                  <a:lnTo>
                    <a:pt x="90923" y="118277"/>
                  </a:lnTo>
                  <a:lnTo>
                    <a:pt x="90923" y="168988"/>
                  </a:lnTo>
                  <a:lnTo>
                    <a:pt x="147606" y="168988"/>
                  </a:lnTo>
                  <a:lnTo>
                    <a:pt x="147606" y="74212"/>
                  </a:lnTo>
                  <a:lnTo>
                    <a:pt x="73827" y="0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966" name="Gráfico 19">
            <a:extLst>
              <a:ext uri="{FF2B5EF4-FFF2-40B4-BE49-F238E27FC236}">
                <a16:creationId xmlns:a16="http://schemas.microsoft.com/office/drawing/2014/main" id="{BC65C62E-65CB-E918-C559-81B22BEEFAD6}"/>
              </a:ext>
            </a:extLst>
          </p:cNvPr>
          <p:cNvGrpSpPr/>
          <p:nvPr/>
        </p:nvGrpSpPr>
        <p:grpSpPr>
          <a:xfrm>
            <a:off x="4450530" y="4740251"/>
            <a:ext cx="261356" cy="285561"/>
            <a:chOff x="4450530" y="4740251"/>
            <a:chExt cx="261356" cy="285561"/>
          </a:xfrm>
          <a:noFill/>
        </p:grpSpPr>
        <p:grpSp>
          <p:nvGrpSpPr>
            <p:cNvPr id="1967" name="Gráfico 19">
              <a:extLst>
                <a:ext uri="{FF2B5EF4-FFF2-40B4-BE49-F238E27FC236}">
                  <a16:creationId xmlns:a16="http://schemas.microsoft.com/office/drawing/2014/main" id="{88BA54EF-4AA8-E6A6-EA37-3D54ED3085FA}"/>
                </a:ext>
              </a:extLst>
            </p:cNvPr>
            <p:cNvGrpSpPr/>
            <p:nvPr/>
          </p:nvGrpSpPr>
          <p:grpSpPr>
            <a:xfrm>
              <a:off x="4494836" y="4740251"/>
              <a:ext cx="145342" cy="148068"/>
              <a:chOff x="4494836" y="4740251"/>
              <a:chExt cx="145342" cy="148068"/>
            </a:xfrm>
            <a:noFill/>
          </p:grpSpPr>
          <p:sp>
            <p:nvSpPr>
              <p:cNvPr id="1968" name="Forma livre: Forma 1967">
                <a:extLst>
                  <a:ext uri="{FF2B5EF4-FFF2-40B4-BE49-F238E27FC236}">
                    <a16:creationId xmlns:a16="http://schemas.microsoft.com/office/drawing/2014/main" id="{ACF976C5-963C-18C0-CBB1-0D4C9B3DAAC9}"/>
                  </a:ext>
                </a:extLst>
              </p:cNvPr>
              <p:cNvSpPr/>
              <p:nvPr/>
            </p:nvSpPr>
            <p:spPr>
              <a:xfrm>
                <a:off x="4494836" y="4740251"/>
                <a:ext cx="145342" cy="136028"/>
              </a:xfrm>
              <a:custGeom>
                <a:avLst/>
                <a:gdLst>
                  <a:gd name="connsiteX0" fmla="*/ 145343 w 145342"/>
                  <a:gd name="connsiteY0" fmla="*/ 136029 h 136028"/>
                  <a:gd name="connsiteX1" fmla="*/ 145343 w 145342"/>
                  <a:gd name="connsiteY1" fmla="*/ 76216 h 136028"/>
                  <a:gd name="connsiteX2" fmla="*/ 72671 w 145342"/>
                  <a:gd name="connsiteY2" fmla="*/ 77 h 136028"/>
                  <a:gd name="connsiteX3" fmla="*/ 0 w 145342"/>
                  <a:gd name="connsiteY3" fmla="*/ 76216 h 136028"/>
                  <a:gd name="connsiteX4" fmla="*/ 0 w 145342"/>
                  <a:gd name="connsiteY4" fmla="*/ 136029 h 1360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45342" h="136028">
                    <a:moveTo>
                      <a:pt x="145343" y="136029"/>
                    </a:moveTo>
                    <a:lnTo>
                      <a:pt x="145343" y="76216"/>
                    </a:lnTo>
                    <a:cubicBezTo>
                      <a:pt x="144283" y="-5413"/>
                      <a:pt x="72671" y="77"/>
                      <a:pt x="72671" y="77"/>
                    </a:cubicBezTo>
                    <a:cubicBezTo>
                      <a:pt x="72671" y="77"/>
                      <a:pt x="1011" y="-5413"/>
                      <a:pt x="0" y="76216"/>
                    </a:cubicBezTo>
                    <a:lnTo>
                      <a:pt x="0" y="136029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969" name="Forma livre: Forma 1968">
                <a:extLst>
                  <a:ext uri="{FF2B5EF4-FFF2-40B4-BE49-F238E27FC236}">
                    <a16:creationId xmlns:a16="http://schemas.microsoft.com/office/drawing/2014/main" id="{9162B162-0EE5-0343-9211-E658758EB3A7}"/>
                  </a:ext>
                </a:extLst>
              </p:cNvPr>
              <p:cNvSpPr/>
              <p:nvPr/>
            </p:nvSpPr>
            <p:spPr>
              <a:xfrm>
                <a:off x="4497629" y="4784489"/>
                <a:ext cx="111676" cy="103829"/>
              </a:xfrm>
              <a:custGeom>
                <a:avLst/>
                <a:gdLst>
                  <a:gd name="connsiteX0" fmla="*/ 26680 w 111676"/>
                  <a:gd name="connsiteY0" fmla="*/ 36793 h 103829"/>
                  <a:gd name="connsiteX1" fmla="*/ 70408 w 111676"/>
                  <a:gd name="connsiteY1" fmla="*/ 103830 h 103829"/>
                  <a:gd name="connsiteX2" fmla="*/ 111632 w 111676"/>
                  <a:gd name="connsiteY2" fmla="*/ 36938 h 103829"/>
                  <a:gd name="connsiteX3" fmla="*/ 101566 w 111676"/>
                  <a:gd name="connsiteY3" fmla="*/ 0 h 103829"/>
                  <a:gd name="connsiteX4" fmla="*/ 0 w 111676"/>
                  <a:gd name="connsiteY4" fmla="*/ 33952 h 1038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11676" h="103829">
                    <a:moveTo>
                      <a:pt x="26680" y="36793"/>
                    </a:moveTo>
                    <a:cubicBezTo>
                      <a:pt x="26680" y="70793"/>
                      <a:pt x="47244" y="103830"/>
                      <a:pt x="70408" y="103830"/>
                    </a:cubicBezTo>
                    <a:cubicBezTo>
                      <a:pt x="93572" y="103830"/>
                      <a:pt x="111632" y="70889"/>
                      <a:pt x="111632" y="36938"/>
                    </a:cubicBezTo>
                    <a:cubicBezTo>
                      <a:pt x="111632" y="36938"/>
                      <a:pt x="112932" y="14592"/>
                      <a:pt x="101566" y="0"/>
                    </a:cubicBezTo>
                    <a:cubicBezTo>
                      <a:pt x="101566" y="0"/>
                      <a:pt x="77054" y="29618"/>
                      <a:pt x="0" y="33952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970" name="Gráfico 19">
              <a:extLst>
                <a:ext uri="{FF2B5EF4-FFF2-40B4-BE49-F238E27FC236}">
                  <a16:creationId xmlns:a16="http://schemas.microsoft.com/office/drawing/2014/main" id="{F924C7EA-9D5C-2C90-718C-207B1E5B0899}"/>
                </a:ext>
              </a:extLst>
            </p:cNvPr>
            <p:cNvGrpSpPr/>
            <p:nvPr/>
          </p:nvGrpSpPr>
          <p:grpSpPr>
            <a:xfrm>
              <a:off x="4450530" y="4895784"/>
              <a:ext cx="165328" cy="126897"/>
              <a:chOff x="4450530" y="4895784"/>
              <a:chExt cx="165328" cy="126897"/>
            </a:xfrm>
            <a:noFill/>
          </p:grpSpPr>
          <p:sp>
            <p:nvSpPr>
              <p:cNvPr id="1971" name="Forma livre: Forma 1970">
                <a:extLst>
                  <a:ext uri="{FF2B5EF4-FFF2-40B4-BE49-F238E27FC236}">
                    <a16:creationId xmlns:a16="http://schemas.microsoft.com/office/drawing/2014/main" id="{24CFDB24-8099-2146-6981-8FE8FBFC0C72}"/>
                  </a:ext>
                </a:extLst>
              </p:cNvPr>
              <p:cNvSpPr/>
              <p:nvPr/>
            </p:nvSpPr>
            <p:spPr>
              <a:xfrm>
                <a:off x="4450530" y="4907631"/>
                <a:ext cx="68337" cy="115050"/>
              </a:xfrm>
              <a:custGeom>
                <a:avLst/>
                <a:gdLst>
                  <a:gd name="connsiteX0" fmla="*/ 68337 w 68337"/>
                  <a:gd name="connsiteY0" fmla="*/ 0 h 115050"/>
                  <a:gd name="connsiteX1" fmla="*/ 41416 w 68337"/>
                  <a:gd name="connsiteY1" fmla="*/ 5827 h 115050"/>
                  <a:gd name="connsiteX2" fmla="*/ 4768 w 68337"/>
                  <a:gd name="connsiteY2" fmla="*/ 39346 h 115050"/>
                  <a:gd name="connsiteX3" fmla="*/ 0 w 68337"/>
                  <a:gd name="connsiteY3" fmla="*/ 115051 h 115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8337" h="115050">
                    <a:moveTo>
                      <a:pt x="68337" y="0"/>
                    </a:moveTo>
                    <a:lnTo>
                      <a:pt x="41416" y="5827"/>
                    </a:lnTo>
                    <a:cubicBezTo>
                      <a:pt x="41416" y="5827"/>
                      <a:pt x="9054" y="12184"/>
                      <a:pt x="4768" y="39346"/>
                    </a:cubicBezTo>
                    <a:lnTo>
                      <a:pt x="0" y="115051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972" name="Forma livre: Forma 1971">
                <a:extLst>
                  <a:ext uri="{FF2B5EF4-FFF2-40B4-BE49-F238E27FC236}">
                    <a16:creationId xmlns:a16="http://schemas.microsoft.com/office/drawing/2014/main" id="{B87F4066-33C8-04B1-5FA8-A32D9EF34E8C}"/>
                  </a:ext>
                </a:extLst>
              </p:cNvPr>
              <p:cNvSpPr/>
              <p:nvPr/>
            </p:nvSpPr>
            <p:spPr>
              <a:xfrm>
                <a:off x="4494932" y="4895784"/>
                <a:ext cx="72478" cy="98869"/>
              </a:xfrm>
              <a:custGeom>
                <a:avLst/>
                <a:gdLst>
                  <a:gd name="connsiteX0" fmla="*/ 72479 w 72478"/>
                  <a:gd name="connsiteY0" fmla="*/ 98870 h 98869"/>
                  <a:gd name="connsiteX1" fmla="*/ 37034 w 72478"/>
                  <a:gd name="connsiteY1" fmla="*/ 0 h 98869"/>
                  <a:gd name="connsiteX2" fmla="*/ 0 w 72478"/>
                  <a:gd name="connsiteY2" fmla="*/ 43391 h 98869"/>
                  <a:gd name="connsiteX3" fmla="*/ 24079 w 72478"/>
                  <a:gd name="connsiteY3" fmla="*/ 43391 h 988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2478" h="98869">
                    <a:moveTo>
                      <a:pt x="72479" y="98870"/>
                    </a:moveTo>
                    <a:lnTo>
                      <a:pt x="37034" y="0"/>
                    </a:lnTo>
                    <a:lnTo>
                      <a:pt x="0" y="43391"/>
                    </a:lnTo>
                    <a:lnTo>
                      <a:pt x="24079" y="43391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973" name="Forma livre: Forma 1972">
                <a:extLst>
                  <a:ext uri="{FF2B5EF4-FFF2-40B4-BE49-F238E27FC236}">
                    <a16:creationId xmlns:a16="http://schemas.microsoft.com/office/drawing/2014/main" id="{0EE5FDD3-374C-F02A-5B91-5A9E797EB879}"/>
                  </a:ext>
                </a:extLst>
              </p:cNvPr>
              <p:cNvSpPr/>
              <p:nvPr/>
            </p:nvSpPr>
            <p:spPr>
              <a:xfrm>
                <a:off x="4587926" y="4895784"/>
                <a:ext cx="27931" cy="42475"/>
              </a:xfrm>
              <a:custGeom>
                <a:avLst/>
                <a:gdLst>
                  <a:gd name="connsiteX0" fmla="*/ 0 w 27931"/>
                  <a:gd name="connsiteY0" fmla="*/ 42476 h 42475"/>
                  <a:gd name="connsiteX1" fmla="*/ 15074 w 27931"/>
                  <a:gd name="connsiteY1" fmla="*/ 0 h 42475"/>
                  <a:gd name="connsiteX2" fmla="*/ 27932 w 27931"/>
                  <a:gd name="connsiteY2" fmla="*/ 15170 h 424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7931" h="42475">
                    <a:moveTo>
                      <a:pt x="0" y="42476"/>
                    </a:moveTo>
                    <a:lnTo>
                      <a:pt x="15074" y="0"/>
                    </a:lnTo>
                    <a:lnTo>
                      <a:pt x="27932" y="15170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974" name="Forma livre: Forma 1973">
              <a:extLst>
                <a:ext uri="{FF2B5EF4-FFF2-40B4-BE49-F238E27FC236}">
                  <a16:creationId xmlns:a16="http://schemas.microsoft.com/office/drawing/2014/main" id="{C824878F-4BD1-C6A2-71D6-C91F65071842}"/>
                </a:ext>
              </a:extLst>
            </p:cNvPr>
            <p:cNvSpPr/>
            <p:nvPr/>
          </p:nvSpPr>
          <p:spPr>
            <a:xfrm>
              <a:off x="4592646" y="4909364"/>
              <a:ext cx="119240" cy="57838"/>
            </a:xfrm>
            <a:custGeom>
              <a:avLst/>
              <a:gdLst>
                <a:gd name="connsiteX0" fmla="*/ 0 w 119240"/>
                <a:gd name="connsiteY0" fmla="*/ 57790 h 57838"/>
                <a:gd name="connsiteX1" fmla="*/ 59476 w 119240"/>
                <a:gd name="connsiteY1" fmla="*/ 0 h 57838"/>
                <a:gd name="connsiteX2" fmla="*/ 119241 w 119240"/>
                <a:gd name="connsiteY2" fmla="*/ 57838 h 578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19240" h="57838">
                  <a:moveTo>
                    <a:pt x="0" y="57790"/>
                  </a:moveTo>
                  <a:lnTo>
                    <a:pt x="59476" y="0"/>
                  </a:lnTo>
                  <a:lnTo>
                    <a:pt x="119241" y="57838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75" name="Forma livre: Forma 1974">
              <a:extLst>
                <a:ext uri="{FF2B5EF4-FFF2-40B4-BE49-F238E27FC236}">
                  <a16:creationId xmlns:a16="http://schemas.microsoft.com/office/drawing/2014/main" id="{B1954DE4-8241-FA8A-4588-EDBF82E13865}"/>
                </a:ext>
              </a:extLst>
            </p:cNvPr>
            <p:cNvSpPr/>
            <p:nvPr/>
          </p:nvSpPr>
          <p:spPr>
            <a:xfrm>
              <a:off x="4639456" y="4989789"/>
              <a:ext cx="25620" cy="36022"/>
            </a:xfrm>
            <a:custGeom>
              <a:avLst/>
              <a:gdLst>
                <a:gd name="connsiteX0" fmla="*/ 25620 w 25620"/>
                <a:gd name="connsiteY0" fmla="*/ 36023 h 36022"/>
                <a:gd name="connsiteX1" fmla="*/ 25620 w 25620"/>
                <a:gd name="connsiteY1" fmla="*/ 0 h 36022"/>
                <a:gd name="connsiteX2" fmla="*/ 0 w 25620"/>
                <a:gd name="connsiteY2" fmla="*/ 0 h 36022"/>
                <a:gd name="connsiteX3" fmla="*/ 0 w 25620"/>
                <a:gd name="connsiteY3" fmla="*/ 36023 h 3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620" h="36022">
                  <a:moveTo>
                    <a:pt x="25620" y="36023"/>
                  </a:moveTo>
                  <a:lnTo>
                    <a:pt x="25620" y="0"/>
                  </a:lnTo>
                  <a:lnTo>
                    <a:pt x="0" y="0"/>
                  </a:lnTo>
                  <a:lnTo>
                    <a:pt x="0" y="36023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976" name="Gráfico 19">
              <a:extLst>
                <a:ext uri="{FF2B5EF4-FFF2-40B4-BE49-F238E27FC236}">
                  <a16:creationId xmlns:a16="http://schemas.microsoft.com/office/drawing/2014/main" id="{B43A12FA-1BCC-BE80-55E2-09CAD6F4BD90}"/>
                </a:ext>
              </a:extLst>
            </p:cNvPr>
            <p:cNvGrpSpPr/>
            <p:nvPr/>
          </p:nvGrpSpPr>
          <p:grpSpPr>
            <a:xfrm>
              <a:off x="4609646" y="4951359"/>
              <a:ext cx="85240" cy="74453"/>
              <a:chOff x="4609646" y="4951359"/>
              <a:chExt cx="85240" cy="74453"/>
            </a:xfrm>
          </p:grpSpPr>
          <p:sp>
            <p:nvSpPr>
              <p:cNvPr id="1977" name="Forma livre: Forma 1976">
                <a:extLst>
                  <a:ext uri="{FF2B5EF4-FFF2-40B4-BE49-F238E27FC236}">
                    <a16:creationId xmlns:a16="http://schemas.microsoft.com/office/drawing/2014/main" id="{D5361566-CBD4-AC1F-1822-0B9F4A3C0B05}"/>
                  </a:ext>
                </a:extLst>
              </p:cNvPr>
              <p:cNvSpPr/>
              <p:nvPr/>
            </p:nvSpPr>
            <p:spPr>
              <a:xfrm>
                <a:off x="4609646" y="4951359"/>
                <a:ext cx="4815" cy="74453"/>
              </a:xfrm>
              <a:custGeom>
                <a:avLst/>
                <a:gdLst>
                  <a:gd name="connsiteX0" fmla="*/ 0 w 4815"/>
                  <a:gd name="connsiteY0" fmla="*/ 74453 h 74453"/>
                  <a:gd name="connsiteX1" fmla="*/ 0 w 4815"/>
                  <a:gd name="connsiteY1" fmla="*/ 0 h 744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815" h="74453">
                    <a:moveTo>
                      <a:pt x="0" y="74453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978" name="Forma livre: Forma 1977">
                <a:extLst>
                  <a:ext uri="{FF2B5EF4-FFF2-40B4-BE49-F238E27FC236}">
                    <a16:creationId xmlns:a16="http://schemas.microsoft.com/office/drawing/2014/main" id="{A716716B-6819-9903-0B46-B102DD400D2D}"/>
                  </a:ext>
                </a:extLst>
              </p:cNvPr>
              <p:cNvSpPr/>
              <p:nvPr/>
            </p:nvSpPr>
            <p:spPr>
              <a:xfrm>
                <a:off x="4694886" y="4951985"/>
                <a:ext cx="4815" cy="73827"/>
              </a:xfrm>
              <a:custGeom>
                <a:avLst/>
                <a:gdLst>
                  <a:gd name="connsiteX0" fmla="*/ 0 w 4815"/>
                  <a:gd name="connsiteY0" fmla="*/ 0 h 73827"/>
                  <a:gd name="connsiteX1" fmla="*/ 0 w 4815"/>
                  <a:gd name="connsiteY1" fmla="*/ 73827 h 738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815" h="73827">
                    <a:moveTo>
                      <a:pt x="0" y="0"/>
                    </a:moveTo>
                    <a:lnTo>
                      <a:pt x="0" y="73827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979" name="Gráfico 19">
            <a:extLst>
              <a:ext uri="{FF2B5EF4-FFF2-40B4-BE49-F238E27FC236}">
                <a16:creationId xmlns:a16="http://schemas.microsoft.com/office/drawing/2014/main" id="{1042D034-3520-CDB2-4A33-88C960417347}"/>
              </a:ext>
            </a:extLst>
          </p:cNvPr>
          <p:cNvGrpSpPr/>
          <p:nvPr/>
        </p:nvGrpSpPr>
        <p:grpSpPr>
          <a:xfrm>
            <a:off x="4448603" y="4212992"/>
            <a:ext cx="265209" cy="255770"/>
            <a:chOff x="4448603" y="4212992"/>
            <a:chExt cx="265209" cy="255770"/>
          </a:xfrm>
          <a:noFill/>
        </p:grpSpPr>
        <p:grpSp>
          <p:nvGrpSpPr>
            <p:cNvPr id="1980" name="Gráfico 19">
              <a:extLst>
                <a:ext uri="{FF2B5EF4-FFF2-40B4-BE49-F238E27FC236}">
                  <a16:creationId xmlns:a16="http://schemas.microsoft.com/office/drawing/2014/main" id="{D539CCB2-D9A5-3ECB-E4A5-392D428EAC33}"/>
                </a:ext>
              </a:extLst>
            </p:cNvPr>
            <p:cNvGrpSpPr/>
            <p:nvPr/>
          </p:nvGrpSpPr>
          <p:grpSpPr>
            <a:xfrm>
              <a:off x="4448603" y="4212992"/>
              <a:ext cx="265209" cy="255770"/>
              <a:chOff x="4448603" y="4212992"/>
              <a:chExt cx="265209" cy="255770"/>
            </a:xfrm>
            <a:noFill/>
          </p:grpSpPr>
          <p:sp>
            <p:nvSpPr>
              <p:cNvPr id="1981" name="Forma livre: Forma 1980">
                <a:extLst>
                  <a:ext uri="{FF2B5EF4-FFF2-40B4-BE49-F238E27FC236}">
                    <a16:creationId xmlns:a16="http://schemas.microsoft.com/office/drawing/2014/main" id="{67CDE832-E81D-302F-379F-CFC53407DD67}"/>
                  </a:ext>
                </a:extLst>
              </p:cNvPr>
              <p:cNvSpPr/>
              <p:nvPr/>
            </p:nvSpPr>
            <p:spPr>
              <a:xfrm>
                <a:off x="4448603" y="4212992"/>
                <a:ext cx="265209" cy="255770"/>
              </a:xfrm>
              <a:custGeom>
                <a:avLst/>
                <a:gdLst>
                  <a:gd name="connsiteX0" fmla="*/ 0 w 265209"/>
                  <a:gd name="connsiteY0" fmla="*/ 255770 h 255770"/>
                  <a:gd name="connsiteX1" fmla="*/ 0 w 265209"/>
                  <a:gd name="connsiteY1" fmla="*/ 74020 h 255770"/>
                  <a:gd name="connsiteX2" fmla="*/ 132243 w 265209"/>
                  <a:gd name="connsiteY2" fmla="*/ 0 h 255770"/>
                  <a:gd name="connsiteX3" fmla="*/ 265209 w 265209"/>
                  <a:gd name="connsiteY3" fmla="*/ 74068 h 255770"/>
                  <a:gd name="connsiteX4" fmla="*/ 265209 w 265209"/>
                  <a:gd name="connsiteY4" fmla="*/ 255770 h 2557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65209" h="255770">
                    <a:moveTo>
                      <a:pt x="0" y="255770"/>
                    </a:moveTo>
                    <a:lnTo>
                      <a:pt x="0" y="74020"/>
                    </a:lnTo>
                    <a:lnTo>
                      <a:pt x="132243" y="0"/>
                    </a:lnTo>
                    <a:lnTo>
                      <a:pt x="265209" y="74068"/>
                    </a:lnTo>
                    <a:lnTo>
                      <a:pt x="265209" y="25577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982" name="Forma livre: Forma 1981">
                <a:extLst>
                  <a:ext uri="{FF2B5EF4-FFF2-40B4-BE49-F238E27FC236}">
                    <a16:creationId xmlns:a16="http://schemas.microsoft.com/office/drawing/2014/main" id="{CFD21E8B-F558-85AA-6EB9-2513B2AA81DE}"/>
                  </a:ext>
                </a:extLst>
              </p:cNvPr>
              <p:cNvSpPr/>
              <p:nvPr/>
            </p:nvSpPr>
            <p:spPr>
              <a:xfrm>
                <a:off x="4490068" y="4337145"/>
                <a:ext cx="182280" cy="131617"/>
              </a:xfrm>
              <a:custGeom>
                <a:avLst/>
                <a:gdLst>
                  <a:gd name="connsiteX0" fmla="*/ 0 w 182280"/>
                  <a:gd name="connsiteY0" fmla="*/ 131617 h 131617"/>
                  <a:gd name="connsiteX1" fmla="*/ 0 w 182280"/>
                  <a:gd name="connsiteY1" fmla="*/ 0 h 131617"/>
                  <a:gd name="connsiteX2" fmla="*/ 182280 w 182280"/>
                  <a:gd name="connsiteY2" fmla="*/ 0 h 131617"/>
                  <a:gd name="connsiteX3" fmla="*/ 182280 w 182280"/>
                  <a:gd name="connsiteY3" fmla="*/ 131617 h 1316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82280" h="131617">
                    <a:moveTo>
                      <a:pt x="0" y="131617"/>
                    </a:moveTo>
                    <a:lnTo>
                      <a:pt x="0" y="0"/>
                    </a:lnTo>
                    <a:lnTo>
                      <a:pt x="182280" y="0"/>
                    </a:lnTo>
                    <a:lnTo>
                      <a:pt x="182280" y="131617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1983" name="Gráfico 19">
                <a:extLst>
                  <a:ext uri="{FF2B5EF4-FFF2-40B4-BE49-F238E27FC236}">
                    <a16:creationId xmlns:a16="http://schemas.microsoft.com/office/drawing/2014/main" id="{EB572020-1CBA-23C5-DA11-41D267007B0E}"/>
                  </a:ext>
                </a:extLst>
              </p:cNvPr>
              <p:cNvGrpSpPr/>
              <p:nvPr/>
            </p:nvGrpSpPr>
            <p:grpSpPr>
              <a:xfrm>
                <a:off x="4502011" y="4305504"/>
                <a:ext cx="158393" cy="4815"/>
                <a:chOff x="4502011" y="4305504"/>
                <a:chExt cx="158393" cy="4815"/>
              </a:xfrm>
            </p:grpSpPr>
            <p:sp>
              <p:nvSpPr>
                <p:cNvPr id="1984" name="Forma livre: Forma 1983">
                  <a:extLst>
                    <a:ext uri="{FF2B5EF4-FFF2-40B4-BE49-F238E27FC236}">
                      <a16:creationId xmlns:a16="http://schemas.microsoft.com/office/drawing/2014/main" id="{414EEAC6-7011-9F4A-FBB5-21C2B05BBA75}"/>
                    </a:ext>
                  </a:extLst>
                </p:cNvPr>
                <p:cNvSpPr/>
                <p:nvPr/>
              </p:nvSpPr>
              <p:spPr>
                <a:xfrm>
                  <a:off x="4502011" y="4305504"/>
                  <a:ext cx="35492" cy="4815"/>
                </a:xfrm>
                <a:custGeom>
                  <a:avLst/>
                  <a:gdLst>
                    <a:gd name="connsiteX0" fmla="*/ 0 w 35492"/>
                    <a:gd name="connsiteY0" fmla="*/ 0 h 4815"/>
                    <a:gd name="connsiteX1" fmla="*/ 35493 w 35492"/>
                    <a:gd name="connsiteY1" fmla="*/ 0 h 481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35492" h="4815">
                      <a:moveTo>
                        <a:pt x="0" y="0"/>
                      </a:moveTo>
                      <a:lnTo>
                        <a:pt x="35493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985" name="Forma livre: Forma 1984">
                  <a:extLst>
                    <a:ext uri="{FF2B5EF4-FFF2-40B4-BE49-F238E27FC236}">
                      <a16:creationId xmlns:a16="http://schemas.microsoft.com/office/drawing/2014/main" id="{F22796F4-B25E-4E1F-BC39-687EF440FD1A}"/>
                    </a:ext>
                  </a:extLst>
                </p:cNvPr>
                <p:cNvSpPr/>
                <p:nvPr/>
              </p:nvSpPr>
              <p:spPr>
                <a:xfrm>
                  <a:off x="4563462" y="4305504"/>
                  <a:ext cx="35492" cy="4815"/>
                </a:xfrm>
                <a:custGeom>
                  <a:avLst/>
                  <a:gdLst>
                    <a:gd name="connsiteX0" fmla="*/ 0 w 35492"/>
                    <a:gd name="connsiteY0" fmla="*/ 0 h 4815"/>
                    <a:gd name="connsiteX1" fmla="*/ 35493 w 35492"/>
                    <a:gd name="connsiteY1" fmla="*/ 0 h 481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35492" h="4815">
                      <a:moveTo>
                        <a:pt x="0" y="0"/>
                      </a:moveTo>
                      <a:lnTo>
                        <a:pt x="35493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986" name="Forma livre: Forma 1985">
                  <a:extLst>
                    <a:ext uri="{FF2B5EF4-FFF2-40B4-BE49-F238E27FC236}">
                      <a16:creationId xmlns:a16="http://schemas.microsoft.com/office/drawing/2014/main" id="{7725D81D-C252-2DAB-FC28-B34464058816}"/>
                    </a:ext>
                  </a:extLst>
                </p:cNvPr>
                <p:cNvSpPr/>
                <p:nvPr/>
              </p:nvSpPr>
              <p:spPr>
                <a:xfrm>
                  <a:off x="4624912" y="4305504"/>
                  <a:ext cx="35492" cy="4815"/>
                </a:xfrm>
                <a:custGeom>
                  <a:avLst/>
                  <a:gdLst>
                    <a:gd name="connsiteX0" fmla="*/ 0 w 35492"/>
                    <a:gd name="connsiteY0" fmla="*/ 0 h 4815"/>
                    <a:gd name="connsiteX1" fmla="*/ 35493 w 35492"/>
                    <a:gd name="connsiteY1" fmla="*/ 0 h 481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35492" h="4815">
                      <a:moveTo>
                        <a:pt x="0" y="0"/>
                      </a:moveTo>
                      <a:lnTo>
                        <a:pt x="35493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1987" name="Forma livre: Forma 1986">
                <a:extLst>
                  <a:ext uri="{FF2B5EF4-FFF2-40B4-BE49-F238E27FC236}">
                    <a16:creationId xmlns:a16="http://schemas.microsoft.com/office/drawing/2014/main" id="{377A75FB-8CCD-A981-2F91-044AE0B2BB48}"/>
                  </a:ext>
                </a:extLst>
              </p:cNvPr>
              <p:cNvSpPr/>
              <p:nvPr/>
            </p:nvSpPr>
            <p:spPr>
              <a:xfrm>
                <a:off x="4490453" y="4364402"/>
                <a:ext cx="181509" cy="4815"/>
              </a:xfrm>
              <a:custGeom>
                <a:avLst/>
                <a:gdLst>
                  <a:gd name="connsiteX0" fmla="*/ 0 w 181509"/>
                  <a:gd name="connsiteY0" fmla="*/ 0 h 4815"/>
                  <a:gd name="connsiteX1" fmla="*/ 181510 w 181509"/>
                  <a:gd name="connsiteY1" fmla="*/ 0 h 48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81509" h="4815">
                    <a:moveTo>
                      <a:pt x="0" y="0"/>
                    </a:moveTo>
                    <a:lnTo>
                      <a:pt x="18151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988" name="Gráfico 19">
              <a:extLst>
                <a:ext uri="{FF2B5EF4-FFF2-40B4-BE49-F238E27FC236}">
                  <a16:creationId xmlns:a16="http://schemas.microsoft.com/office/drawing/2014/main" id="{55E4A790-9C10-DCCE-9186-3C615DC5FB8B}"/>
                </a:ext>
              </a:extLst>
            </p:cNvPr>
            <p:cNvGrpSpPr/>
            <p:nvPr/>
          </p:nvGrpSpPr>
          <p:grpSpPr>
            <a:xfrm>
              <a:off x="4533796" y="4396669"/>
              <a:ext cx="94824" cy="66073"/>
              <a:chOff x="4533796" y="4396669"/>
              <a:chExt cx="94824" cy="66073"/>
            </a:xfrm>
            <a:noFill/>
          </p:grpSpPr>
          <p:sp>
            <p:nvSpPr>
              <p:cNvPr id="1989" name="Forma livre: Forma 1988">
                <a:extLst>
                  <a:ext uri="{FF2B5EF4-FFF2-40B4-BE49-F238E27FC236}">
                    <a16:creationId xmlns:a16="http://schemas.microsoft.com/office/drawing/2014/main" id="{6C326883-4F07-CB71-E2B3-99BE4EB2321C}"/>
                  </a:ext>
                </a:extLst>
              </p:cNvPr>
              <p:cNvSpPr/>
              <p:nvPr/>
            </p:nvSpPr>
            <p:spPr>
              <a:xfrm>
                <a:off x="4581232" y="4431487"/>
                <a:ext cx="4815" cy="31014"/>
              </a:xfrm>
              <a:custGeom>
                <a:avLst/>
                <a:gdLst>
                  <a:gd name="connsiteX0" fmla="*/ 0 w 4815"/>
                  <a:gd name="connsiteY0" fmla="*/ 0 h 31014"/>
                  <a:gd name="connsiteX1" fmla="*/ 0 w 4815"/>
                  <a:gd name="connsiteY1" fmla="*/ 31014 h 310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815" h="31014">
                    <a:moveTo>
                      <a:pt x="0" y="0"/>
                    </a:moveTo>
                    <a:lnTo>
                      <a:pt x="0" y="31014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990" name="Forma livre: Forma 1989">
                <a:extLst>
                  <a:ext uri="{FF2B5EF4-FFF2-40B4-BE49-F238E27FC236}">
                    <a16:creationId xmlns:a16="http://schemas.microsoft.com/office/drawing/2014/main" id="{D813C9CB-B84F-7268-195B-68B45398383D}"/>
                  </a:ext>
                </a:extLst>
              </p:cNvPr>
              <p:cNvSpPr/>
              <p:nvPr/>
            </p:nvSpPr>
            <p:spPr>
              <a:xfrm>
                <a:off x="4582918" y="4430042"/>
                <a:ext cx="45317" cy="4815"/>
              </a:xfrm>
              <a:custGeom>
                <a:avLst/>
                <a:gdLst>
                  <a:gd name="connsiteX0" fmla="*/ 0 w 45317"/>
                  <a:gd name="connsiteY0" fmla="*/ 0 h 4815"/>
                  <a:gd name="connsiteX1" fmla="*/ 45317 w 45317"/>
                  <a:gd name="connsiteY1" fmla="*/ 0 h 48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5317" h="4815">
                    <a:moveTo>
                      <a:pt x="0" y="0"/>
                    </a:moveTo>
                    <a:lnTo>
                      <a:pt x="45317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991" name="Forma livre: Forma 1990">
                <a:extLst>
                  <a:ext uri="{FF2B5EF4-FFF2-40B4-BE49-F238E27FC236}">
                    <a16:creationId xmlns:a16="http://schemas.microsoft.com/office/drawing/2014/main" id="{9729BB2A-AD3C-FB42-B412-FC726110E9D4}"/>
                  </a:ext>
                </a:extLst>
              </p:cNvPr>
              <p:cNvSpPr/>
              <p:nvPr/>
            </p:nvSpPr>
            <p:spPr>
              <a:xfrm>
                <a:off x="4533796" y="4396669"/>
                <a:ext cx="94824" cy="66073"/>
              </a:xfrm>
              <a:custGeom>
                <a:avLst/>
                <a:gdLst>
                  <a:gd name="connsiteX0" fmla="*/ 94824 w 94824"/>
                  <a:gd name="connsiteY0" fmla="*/ 0 h 66073"/>
                  <a:gd name="connsiteX1" fmla="*/ 47436 w 94824"/>
                  <a:gd name="connsiteY1" fmla="*/ 0 h 66073"/>
                  <a:gd name="connsiteX2" fmla="*/ 47436 w 94824"/>
                  <a:gd name="connsiteY2" fmla="*/ 33374 h 66073"/>
                  <a:gd name="connsiteX3" fmla="*/ 0 w 94824"/>
                  <a:gd name="connsiteY3" fmla="*/ 33374 h 66073"/>
                  <a:gd name="connsiteX4" fmla="*/ 0 w 94824"/>
                  <a:gd name="connsiteY4" fmla="*/ 66074 h 66073"/>
                  <a:gd name="connsiteX5" fmla="*/ 94824 w 94824"/>
                  <a:gd name="connsiteY5" fmla="*/ 66074 h 66073"/>
                  <a:gd name="connsiteX6" fmla="*/ 94824 w 94824"/>
                  <a:gd name="connsiteY6" fmla="*/ 0 h 660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94824" h="66073">
                    <a:moveTo>
                      <a:pt x="94824" y="0"/>
                    </a:moveTo>
                    <a:lnTo>
                      <a:pt x="47436" y="0"/>
                    </a:lnTo>
                    <a:lnTo>
                      <a:pt x="47436" y="33374"/>
                    </a:lnTo>
                    <a:lnTo>
                      <a:pt x="0" y="33374"/>
                    </a:lnTo>
                    <a:lnTo>
                      <a:pt x="0" y="66074"/>
                    </a:lnTo>
                    <a:lnTo>
                      <a:pt x="94824" y="66074"/>
                    </a:lnTo>
                    <a:lnTo>
                      <a:pt x="94824" y="0"/>
                    </a:ln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992" name="Gráfico 19">
            <a:extLst>
              <a:ext uri="{FF2B5EF4-FFF2-40B4-BE49-F238E27FC236}">
                <a16:creationId xmlns:a16="http://schemas.microsoft.com/office/drawing/2014/main" id="{E278D495-6935-D8C2-E36F-4865747BA170}"/>
              </a:ext>
            </a:extLst>
          </p:cNvPr>
          <p:cNvGrpSpPr/>
          <p:nvPr/>
        </p:nvGrpSpPr>
        <p:grpSpPr>
          <a:xfrm>
            <a:off x="5059880" y="3660324"/>
            <a:ext cx="294826" cy="268050"/>
            <a:chOff x="5059880" y="3660324"/>
            <a:chExt cx="294826" cy="268050"/>
          </a:xfrm>
        </p:grpSpPr>
        <p:sp>
          <p:nvSpPr>
            <p:cNvPr id="1993" name="Forma livre: Forma 1992">
              <a:extLst>
                <a:ext uri="{FF2B5EF4-FFF2-40B4-BE49-F238E27FC236}">
                  <a16:creationId xmlns:a16="http://schemas.microsoft.com/office/drawing/2014/main" id="{2419F31C-6C71-BD02-AEBB-85D08BCCB876}"/>
                </a:ext>
              </a:extLst>
            </p:cNvPr>
            <p:cNvSpPr/>
            <p:nvPr/>
          </p:nvSpPr>
          <p:spPr>
            <a:xfrm>
              <a:off x="5229735" y="3798299"/>
              <a:ext cx="75373" cy="81436"/>
            </a:xfrm>
            <a:custGeom>
              <a:avLst/>
              <a:gdLst>
                <a:gd name="connsiteX0" fmla="*/ 0 w 75373"/>
                <a:gd name="connsiteY0" fmla="*/ 81436 h 81436"/>
                <a:gd name="connsiteX1" fmla="*/ 75368 w 75373"/>
                <a:gd name="connsiteY1" fmla="*/ 19793 h 81436"/>
                <a:gd name="connsiteX2" fmla="*/ 69734 w 75373"/>
                <a:gd name="connsiteY2" fmla="*/ 0 h 814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75373" h="81436">
                  <a:moveTo>
                    <a:pt x="0" y="81436"/>
                  </a:moveTo>
                  <a:cubicBezTo>
                    <a:pt x="70360" y="78739"/>
                    <a:pt x="75368" y="19793"/>
                    <a:pt x="75368" y="19793"/>
                  </a:cubicBezTo>
                  <a:cubicBezTo>
                    <a:pt x="75368" y="19793"/>
                    <a:pt x="75753" y="6694"/>
                    <a:pt x="69734" y="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94" name="Forma livre: Forma 1993">
              <a:extLst>
                <a:ext uri="{FF2B5EF4-FFF2-40B4-BE49-F238E27FC236}">
                  <a16:creationId xmlns:a16="http://schemas.microsoft.com/office/drawing/2014/main" id="{9B41EC9C-76C0-5E87-921A-375D78A6D951}"/>
                </a:ext>
              </a:extLst>
            </p:cNvPr>
            <p:cNvSpPr/>
            <p:nvPr/>
          </p:nvSpPr>
          <p:spPr>
            <a:xfrm>
              <a:off x="5119404" y="3718227"/>
              <a:ext cx="179152" cy="210147"/>
            </a:xfrm>
            <a:custGeom>
              <a:avLst/>
              <a:gdLst>
                <a:gd name="connsiteX0" fmla="*/ 0 w 179152"/>
                <a:gd name="connsiteY0" fmla="*/ 104776 h 210147"/>
                <a:gd name="connsiteX1" fmla="*/ 86878 w 179152"/>
                <a:gd name="connsiteY1" fmla="*/ 210147 h 210147"/>
                <a:gd name="connsiteX2" fmla="*/ 177705 w 179152"/>
                <a:gd name="connsiteY2" fmla="*/ 104776 h 210147"/>
                <a:gd name="connsiteX3" fmla="*/ 173612 w 179152"/>
                <a:gd name="connsiteY3" fmla="*/ 41496 h 210147"/>
                <a:gd name="connsiteX4" fmla="*/ 112354 w 179152"/>
                <a:gd name="connsiteY4" fmla="*/ 6918 h 210147"/>
                <a:gd name="connsiteX5" fmla="*/ 98581 w 179152"/>
                <a:gd name="connsiteY5" fmla="*/ 7785 h 210147"/>
                <a:gd name="connsiteX6" fmla="*/ 4094 w 179152"/>
                <a:gd name="connsiteY6" fmla="*/ 61337 h 2101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79152" h="210147">
                  <a:moveTo>
                    <a:pt x="0" y="104776"/>
                  </a:moveTo>
                  <a:cubicBezTo>
                    <a:pt x="0" y="104776"/>
                    <a:pt x="13966" y="210147"/>
                    <a:pt x="86878" y="210147"/>
                  </a:cubicBezTo>
                  <a:cubicBezTo>
                    <a:pt x="159790" y="210147"/>
                    <a:pt x="177705" y="104776"/>
                    <a:pt x="177705" y="104776"/>
                  </a:cubicBezTo>
                  <a:cubicBezTo>
                    <a:pt x="182569" y="72944"/>
                    <a:pt x="173612" y="41496"/>
                    <a:pt x="173612" y="41496"/>
                  </a:cubicBezTo>
                  <a:cubicBezTo>
                    <a:pt x="173612" y="41496"/>
                    <a:pt x="135133" y="30371"/>
                    <a:pt x="112354" y="6918"/>
                  </a:cubicBezTo>
                  <a:cubicBezTo>
                    <a:pt x="102722" y="-3002"/>
                    <a:pt x="102337" y="-1847"/>
                    <a:pt x="98581" y="7785"/>
                  </a:cubicBezTo>
                  <a:cubicBezTo>
                    <a:pt x="72093" y="76026"/>
                    <a:pt x="4094" y="61337"/>
                    <a:pt x="4094" y="61337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995" name="Gráfico 19">
              <a:extLst>
                <a:ext uri="{FF2B5EF4-FFF2-40B4-BE49-F238E27FC236}">
                  <a16:creationId xmlns:a16="http://schemas.microsoft.com/office/drawing/2014/main" id="{3E11B7A9-A0F1-47A4-AD52-BF70038FDCC2}"/>
                </a:ext>
              </a:extLst>
            </p:cNvPr>
            <p:cNvGrpSpPr/>
            <p:nvPr/>
          </p:nvGrpSpPr>
          <p:grpSpPr>
            <a:xfrm>
              <a:off x="5166551" y="3805185"/>
              <a:ext cx="84951" cy="7512"/>
              <a:chOff x="5166551" y="3805185"/>
              <a:chExt cx="84951" cy="7512"/>
            </a:xfrm>
            <a:solidFill>
              <a:srgbClr val="394553"/>
            </a:solidFill>
          </p:grpSpPr>
          <p:sp>
            <p:nvSpPr>
              <p:cNvPr id="1996" name="Forma livre: Forma 1995">
                <a:extLst>
                  <a:ext uri="{FF2B5EF4-FFF2-40B4-BE49-F238E27FC236}">
                    <a16:creationId xmlns:a16="http://schemas.microsoft.com/office/drawing/2014/main" id="{BD958AB7-4C23-FB5E-BE91-DEA2C53AA2EF}"/>
                  </a:ext>
                </a:extLst>
              </p:cNvPr>
              <p:cNvSpPr/>
              <p:nvPr/>
            </p:nvSpPr>
            <p:spPr>
              <a:xfrm>
                <a:off x="5166551" y="3805185"/>
                <a:ext cx="7512" cy="7512"/>
              </a:xfrm>
              <a:custGeom>
                <a:avLst/>
                <a:gdLst>
                  <a:gd name="connsiteX0" fmla="*/ 7513 w 7512"/>
                  <a:gd name="connsiteY0" fmla="*/ 3756 h 7512"/>
                  <a:gd name="connsiteX1" fmla="*/ 3756 w 7512"/>
                  <a:gd name="connsiteY1" fmla="*/ 7513 h 7512"/>
                  <a:gd name="connsiteX2" fmla="*/ 0 w 7512"/>
                  <a:gd name="connsiteY2" fmla="*/ 3756 h 7512"/>
                  <a:gd name="connsiteX3" fmla="*/ 3756 w 7512"/>
                  <a:gd name="connsiteY3" fmla="*/ 0 h 7512"/>
                  <a:gd name="connsiteX4" fmla="*/ 7513 w 7512"/>
                  <a:gd name="connsiteY4" fmla="*/ 3756 h 75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512" h="7512">
                    <a:moveTo>
                      <a:pt x="7513" y="3756"/>
                    </a:moveTo>
                    <a:cubicBezTo>
                      <a:pt x="7513" y="5827"/>
                      <a:pt x="5827" y="7513"/>
                      <a:pt x="3756" y="7513"/>
                    </a:cubicBezTo>
                    <a:cubicBezTo>
                      <a:pt x="1686" y="7513"/>
                      <a:pt x="0" y="5827"/>
                      <a:pt x="0" y="3756"/>
                    </a:cubicBezTo>
                    <a:cubicBezTo>
                      <a:pt x="0" y="1686"/>
                      <a:pt x="1686" y="0"/>
                      <a:pt x="3756" y="0"/>
                    </a:cubicBezTo>
                    <a:cubicBezTo>
                      <a:pt x="5827" y="0"/>
                      <a:pt x="7513" y="1686"/>
                      <a:pt x="7513" y="3756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997" name="Forma livre: Forma 1996">
                <a:extLst>
                  <a:ext uri="{FF2B5EF4-FFF2-40B4-BE49-F238E27FC236}">
                    <a16:creationId xmlns:a16="http://schemas.microsoft.com/office/drawing/2014/main" id="{B772BA15-98C7-D1B3-9262-9042DEB7A9DD}"/>
                  </a:ext>
                </a:extLst>
              </p:cNvPr>
              <p:cNvSpPr/>
              <p:nvPr/>
            </p:nvSpPr>
            <p:spPr>
              <a:xfrm>
                <a:off x="5243990" y="3805185"/>
                <a:ext cx="7512" cy="7512"/>
              </a:xfrm>
              <a:custGeom>
                <a:avLst/>
                <a:gdLst>
                  <a:gd name="connsiteX0" fmla="*/ 7513 w 7512"/>
                  <a:gd name="connsiteY0" fmla="*/ 3756 h 7512"/>
                  <a:gd name="connsiteX1" fmla="*/ 3756 w 7512"/>
                  <a:gd name="connsiteY1" fmla="*/ 7513 h 7512"/>
                  <a:gd name="connsiteX2" fmla="*/ 0 w 7512"/>
                  <a:gd name="connsiteY2" fmla="*/ 3756 h 7512"/>
                  <a:gd name="connsiteX3" fmla="*/ 3756 w 7512"/>
                  <a:gd name="connsiteY3" fmla="*/ 0 h 7512"/>
                  <a:gd name="connsiteX4" fmla="*/ 7513 w 7512"/>
                  <a:gd name="connsiteY4" fmla="*/ 3756 h 75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512" h="7512">
                    <a:moveTo>
                      <a:pt x="7513" y="3756"/>
                    </a:moveTo>
                    <a:cubicBezTo>
                      <a:pt x="7513" y="5827"/>
                      <a:pt x="5827" y="7513"/>
                      <a:pt x="3756" y="7513"/>
                    </a:cubicBezTo>
                    <a:cubicBezTo>
                      <a:pt x="1686" y="7513"/>
                      <a:pt x="0" y="5827"/>
                      <a:pt x="0" y="3756"/>
                    </a:cubicBezTo>
                    <a:cubicBezTo>
                      <a:pt x="0" y="1686"/>
                      <a:pt x="1686" y="0"/>
                      <a:pt x="3756" y="0"/>
                    </a:cubicBezTo>
                    <a:cubicBezTo>
                      <a:pt x="5827" y="0"/>
                      <a:pt x="7513" y="1686"/>
                      <a:pt x="7513" y="3756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998" name="Forma livre: Forma 1997">
              <a:extLst>
                <a:ext uri="{FF2B5EF4-FFF2-40B4-BE49-F238E27FC236}">
                  <a16:creationId xmlns:a16="http://schemas.microsoft.com/office/drawing/2014/main" id="{2A7F07A5-1CA7-FB14-F7D3-07AC25E45C03}"/>
                </a:ext>
              </a:extLst>
            </p:cNvPr>
            <p:cNvSpPr/>
            <p:nvPr/>
          </p:nvSpPr>
          <p:spPr>
            <a:xfrm>
              <a:off x="5188753" y="3866925"/>
              <a:ext cx="40501" cy="24753"/>
            </a:xfrm>
            <a:custGeom>
              <a:avLst/>
              <a:gdLst>
                <a:gd name="connsiteX0" fmla="*/ 10161 w 40501"/>
                <a:gd name="connsiteY0" fmla="*/ 0 h 24753"/>
                <a:gd name="connsiteX1" fmla="*/ 30388 w 40501"/>
                <a:gd name="connsiteY1" fmla="*/ 0 h 24753"/>
                <a:gd name="connsiteX2" fmla="*/ 40501 w 40501"/>
                <a:gd name="connsiteY2" fmla="*/ 10113 h 24753"/>
                <a:gd name="connsiteX3" fmla="*/ 40501 w 40501"/>
                <a:gd name="connsiteY3" fmla="*/ 14640 h 24753"/>
                <a:gd name="connsiteX4" fmla="*/ 30388 w 40501"/>
                <a:gd name="connsiteY4" fmla="*/ 24753 h 24753"/>
                <a:gd name="connsiteX5" fmla="*/ 10113 w 40501"/>
                <a:gd name="connsiteY5" fmla="*/ 24753 h 24753"/>
                <a:gd name="connsiteX6" fmla="*/ 0 w 40501"/>
                <a:gd name="connsiteY6" fmla="*/ 14640 h 24753"/>
                <a:gd name="connsiteX7" fmla="*/ 0 w 40501"/>
                <a:gd name="connsiteY7" fmla="*/ 10113 h 24753"/>
                <a:gd name="connsiteX8" fmla="*/ 10113 w 40501"/>
                <a:gd name="connsiteY8" fmla="*/ 0 h 247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0501" h="24753">
                  <a:moveTo>
                    <a:pt x="10161" y="0"/>
                  </a:moveTo>
                  <a:lnTo>
                    <a:pt x="30388" y="0"/>
                  </a:lnTo>
                  <a:cubicBezTo>
                    <a:pt x="35974" y="0"/>
                    <a:pt x="40501" y="4527"/>
                    <a:pt x="40501" y="10113"/>
                  </a:cubicBezTo>
                  <a:lnTo>
                    <a:pt x="40501" y="14640"/>
                  </a:lnTo>
                  <a:cubicBezTo>
                    <a:pt x="40501" y="20227"/>
                    <a:pt x="35974" y="24753"/>
                    <a:pt x="30388" y="24753"/>
                  </a:cubicBezTo>
                  <a:lnTo>
                    <a:pt x="10113" y="24753"/>
                  </a:lnTo>
                  <a:cubicBezTo>
                    <a:pt x="4527" y="24753"/>
                    <a:pt x="0" y="20227"/>
                    <a:pt x="0" y="14640"/>
                  </a:cubicBezTo>
                  <a:lnTo>
                    <a:pt x="0" y="10113"/>
                  </a:lnTo>
                  <a:cubicBezTo>
                    <a:pt x="0" y="4527"/>
                    <a:pt x="4527" y="0"/>
                    <a:pt x="10113" y="0"/>
                  </a:cubicBez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99" name="Forma livre: Forma 1998">
              <a:extLst>
                <a:ext uri="{FF2B5EF4-FFF2-40B4-BE49-F238E27FC236}">
                  <a16:creationId xmlns:a16="http://schemas.microsoft.com/office/drawing/2014/main" id="{1BEF5FB1-D734-8AEB-4B58-DF8AC03239E8}"/>
                </a:ext>
              </a:extLst>
            </p:cNvPr>
            <p:cNvSpPr/>
            <p:nvPr/>
          </p:nvSpPr>
          <p:spPr>
            <a:xfrm>
              <a:off x="5059880" y="3660324"/>
              <a:ext cx="294826" cy="240304"/>
            </a:xfrm>
            <a:custGeom>
              <a:avLst/>
              <a:gdLst>
                <a:gd name="connsiteX0" fmla="*/ 246476 w 294826"/>
                <a:gd name="connsiteY0" fmla="*/ 233087 h 240304"/>
                <a:gd name="connsiteX1" fmla="*/ 294827 w 294826"/>
                <a:gd name="connsiteY1" fmla="*/ 228272 h 240304"/>
                <a:gd name="connsiteX2" fmla="*/ 272915 w 294826"/>
                <a:gd name="connsiteY2" fmla="*/ 179535 h 240304"/>
                <a:gd name="connsiteX3" fmla="*/ 278549 w 294826"/>
                <a:gd name="connsiteY3" fmla="*/ 136192 h 240304"/>
                <a:gd name="connsiteX4" fmla="*/ 147413 w 294826"/>
                <a:gd name="connsiteY4" fmla="*/ 0 h 240304"/>
                <a:gd name="connsiteX5" fmla="*/ 16278 w 294826"/>
                <a:gd name="connsiteY5" fmla="*/ 136192 h 240304"/>
                <a:gd name="connsiteX6" fmla="*/ 21912 w 294826"/>
                <a:gd name="connsiteY6" fmla="*/ 179535 h 240304"/>
                <a:gd name="connsiteX7" fmla="*/ 0 w 294826"/>
                <a:gd name="connsiteY7" fmla="*/ 228272 h 240304"/>
                <a:gd name="connsiteX8" fmla="*/ 48351 w 294826"/>
                <a:gd name="connsiteY8" fmla="*/ 233087 h 2403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94826" h="240304">
                  <a:moveTo>
                    <a:pt x="246476" y="233087"/>
                  </a:moveTo>
                  <a:cubicBezTo>
                    <a:pt x="279753" y="251773"/>
                    <a:pt x="294827" y="228272"/>
                    <a:pt x="294827" y="228272"/>
                  </a:cubicBezTo>
                  <a:cubicBezTo>
                    <a:pt x="271374" y="207804"/>
                    <a:pt x="273637" y="195187"/>
                    <a:pt x="272915" y="179535"/>
                  </a:cubicBezTo>
                  <a:cubicBezTo>
                    <a:pt x="272144" y="163065"/>
                    <a:pt x="273733" y="159453"/>
                    <a:pt x="278549" y="136192"/>
                  </a:cubicBezTo>
                  <a:cubicBezTo>
                    <a:pt x="293623" y="14640"/>
                    <a:pt x="176212" y="0"/>
                    <a:pt x="147413" y="0"/>
                  </a:cubicBezTo>
                  <a:cubicBezTo>
                    <a:pt x="118615" y="0"/>
                    <a:pt x="1108" y="14014"/>
                    <a:pt x="16278" y="136192"/>
                  </a:cubicBezTo>
                  <a:cubicBezTo>
                    <a:pt x="21093" y="159453"/>
                    <a:pt x="22683" y="163065"/>
                    <a:pt x="21912" y="179535"/>
                  </a:cubicBezTo>
                  <a:cubicBezTo>
                    <a:pt x="21190" y="195235"/>
                    <a:pt x="23501" y="207852"/>
                    <a:pt x="0" y="228272"/>
                  </a:cubicBezTo>
                  <a:cubicBezTo>
                    <a:pt x="0" y="228272"/>
                    <a:pt x="15026" y="251773"/>
                    <a:pt x="48351" y="233087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2000" name="Gráfico 19">
            <a:extLst>
              <a:ext uri="{FF2B5EF4-FFF2-40B4-BE49-F238E27FC236}">
                <a16:creationId xmlns:a16="http://schemas.microsoft.com/office/drawing/2014/main" id="{529C2579-902D-B06C-852D-61566A656EA1}"/>
              </a:ext>
            </a:extLst>
          </p:cNvPr>
          <p:cNvGrpSpPr/>
          <p:nvPr/>
        </p:nvGrpSpPr>
        <p:grpSpPr>
          <a:xfrm>
            <a:off x="5061662" y="5843544"/>
            <a:ext cx="291359" cy="256347"/>
            <a:chOff x="5061662" y="5843544"/>
            <a:chExt cx="291359" cy="256347"/>
          </a:xfrm>
          <a:noFill/>
        </p:grpSpPr>
        <p:grpSp>
          <p:nvGrpSpPr>
            <p:cNvPr id="2001" name="Gráfico 19">
              <a:extLst>
                <a:ext uri="{FF2B5EF4-FFF2-40B4-BE49-F238E27FC236}">
                  <a16:creationId xmlns:a16="http://schemas.microsoft.com/office/drawing/2014/main" id="{63B647D9-179F-73EE-E436-3E2F09525281}"/>
                </a:ext>
              </a:extLst>
            </p:cNvPr>
            <p:cNvGrpSpPr/>
            <p:nvPr/>
          </p:nvGrpSpPr>
          <p:grpSpPr>
            <a:xfrm>
              <a:off x="5080637" y="5872680"/>
              <a:ext cx="253362" cy="225670"/>
              <a:chOff x="5080637" y="5872680"/>
              <a:chExt cx="253362" cy="225670"/>
            </a:xfrm>
          </p:grpSpPr>
          <p:sp>
            <p:nvSpPr>
              <p:cNvPr id="2002" name="Forma livre: Forma 2001">
                <a:extLst>
                  <a:ext uri="{FF2B5EF4-FFF2-40B4-BE49-F238E27FC236}">
                    <a16:creationId xmlns:a16="http://schemas.microsoft.com/office/drawing/2014/main" id="{C8797458-F547-7E90-6307-1B34163AFA8A}"/>
                  </a:ext>
                </a:extLst>
              </p:cNvPr>
              <p:cNvSpPr/>
              <p:nvPr/>
            </p:nvSpPr>
            <p:spPr>
              <a:xfrm>
                <a:off x="5080637" y="5872680"/>
                <a:ext cx="4815" cy="206214"/>
              </a:xfrm>
              <a:custGeom>
                <a:avLst/>
                <a:gdLst>
                  <a:gd name="connsiteX0" fmla="*/ 0 w 4815"/>
                  <a:gd name="connsiteY0" fmla="*/ 206215 h 206214"/>
                  <a:gd name="connsiteX1" fmla="*/ 0 w 4815"/>
                  <a:gd name="connsiteY1" fmla="*/ 0 h 2062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815" h="206214">
                    <a:moveTo>
                      <a:pt x="0" y="206215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003" name="Forma livre: Forma 2002">
                <a:extLst>
                  <a:ext uri="{FF2B5EF4-FFF2-40B4-BE49-F238E27FC236}">
                    <a16:creationId xmlns:a16="http://schemas.microsoft.com/office/drawing/2014/main" id="{27D23049-E2AB-0AB2-BB16-573CDFE3A229}"/>
                  </a:ext>
                </a:extLst>
              </p:cNvPr>
              <p:cNvSpPr/>
              <p:nvPr/>
            </p:nvSpPr>
            <p:spPr>
              <a:xfrm>
                <a:off x="5333999" y="5872680"/>
                <a:ext cx="4815" cy="225670"/>
              </a:xfrm>
              <a:custGeom>
                <a:avLst/>
                <a:gdLst>
                  <a:gd name="connsiteX0" fmla="*/ 0 w 4815"/>
                  <a:gd name="connsiteY0" fmla="*/ 0 h 225670"/>
                  <a:gd name="connsiteX1" fmla="*/ 0 w 4815"/>
                  <a:gd name="connsiteY1" fmla="*/ 225671 h 2256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815" h="225670">
                    <a:moveTo>
                      <a:pt x="0" y="0"/>
                    </a:moveTo>
                    <a:lnTo>
                      <a:pt x="0" y="225671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2004" name="Forma livre: Forma 2003">
              <a:extLst>
                <a:ext uri="{FF2B5EF4-FFF2-40B4-BE49-F238E27FC236}">
                  <a16:creationId xmlns:a16="http://schemas.microsoft.com/office/drawing/2014/main" id="{DC7FF9E9-7B01-2D6F-F2E7-55648BF31FA4}"/>
                </a:ext>
              </a:extLst>
            </p:cNvPr>
            <p:cNvSpPr/>
            <p:nvPr/>
          </p:nvSpPr>
          <p:spPr>
            <a:xfrm>
              <a:off x="5065515" y="5843544"/>
              <a:ext cx="283605" cy="27257"/>
            </a:xfrm>
            <a:custGeom>
              <a:avLst/>
              <a:gdLst>
                <a:gd name="connsiteX0" fmla="*/ 30340 w 283605"/>
                <a:gd name="connsiteY0" fmla="*/ 27258 h 27257"/>
                <a:gd name="connsiteX1" fmla="*/ 0 w 283605"/>
                <a:gd name="connsiteY1" fmla="*/ 27258 h 27257"/>
                <a:gd name="connsiteX2" fmla="*/ 0 w 283605"/>
                <a:gd name="connsiteY2" fmla="*/ 0 h 27257"/>
                <a:gd name="connsiteX3" fmla="*/ 283606 w 283605"/>
                <a:gd name="connsiteY3" fmla="*/ 0 h 27257"/>
                <a:gd name="connsiteX4" fmla="*/ 283606 w 283605"/>
                <a:gd name="connsiteY4" fmla="*/ 27258 h 27257"/>
                <a:gd name="connsiteX5" fmla="*/ 73875 w 283605"/>
                <a:gd name="connsiteY5" fmla="*/ 27258 h 272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83605" h="27257">
                  <a:moveTo>
                    <a:pt x="30340" y="27258"/>
                  </a:moveTo>
                  <a:lnTo>
                    <a:pt x="0" y="27258"/>
                  </a:lnTo>
                  <a:lnTo>
                    <a:pt x="0" y="0"/>
                  </a:lnTo>
                  <a:lnTo>
                    <a:pt x="283606" y="0"/>
                  </a:lnTo>
                  <a:lnTo>
                    <a:pt x="283606" y="27258"/>
                  </a:lnTo>
                  <a:lnTo>
                    <a:pt x="73875" y="27258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2005" name="Gráfico 19">
              <a:extLst>
                <a:ext uri="{FF2B5EF4-FFF2-40B4-BE49-F238E27FC236}">
                  <a16:creationId xmlns:a16="http://schemas.microsoft.com/office/drawing/2014/main" id="{F3A9B64A-D5ED-A98C-466A-F2AA2C8C7D3D}"/>
                </a:ext>
              </a:extLst>
            </p:cNvPr>
            <p:cNvGrpSpPr/>
            <p:nvPr/>
          </p:nvGrpSpPr>
          <p:grpSpPr>
            <a:xfrm>
              <a:off x="5152661" y="5963170"/>
              <a:ext cx="110113" cy="110475"/>
              <a:chOff x="5152661" y="5963170"/>
              <a:chExt cx="110113" cy="110475"/>
            </a:xfrm>
            <a:noFill/>
          </p:grpSpPr>
          <p:sp>
            <p:nvSpPr>
              <p:cNvPr id="2006" name="Forma livre: Forma 2005">
                <a:extLst>
                  <a:ext uri="{FF2B5EF4-FFF2-40B4-BE49-F238E27FC236}">
                    <a16:creationId xmlns:a16="http://schemas.microsoft.com/office/drawing/2014/main" id="{9F3D5215-7478-C5F0-A25D-8F84703A0C7D}"/>
                  </a:ext>
                </a:extLst>
              </p:cNvPr>
              <p:cNvSpPr/>
              <p:nvPr/>
            </p:nvSpPr>
            <p:spPr>
              <a:xfrm>
                <a:off x="5187260" y="5963170"/>
                <a:ext cx="75515" cy="110475"/>
              </a:xfrm>
              <a:custGeom>
                <a:avLst/>
                <a:gdLst>
                  <a:gd name="connsiteX0" fmla="*/ 0 w 75515"/>
                  <a:gd name="connsiteY0" fmla="*/ 23742 h 110475"/>
                  <a:gd name="connsiteX1" fmla="*/ 15122 w 75515"/>
                  <a:gd name="connsiteY1" fmla="*/ 0 h 110475"/>
                  <a:gd name="connsiteX2" fmla="*/ 36889 w 75515"/>
                  <a:gd name="connsiteY2" fmla="*/ 59283 h 110475"/>
                  <a:gd name="connsiteX3" fmla="*/ 58513 w 75515"/>
                  <a:gd name="connsiteY3" fmla="*/ 37516 h 110475"/>
                  <a:gd name="connsiteX4" fmla="*/ 71564 w 75515"/>
                  <a:gd name="connsiteY4" fmla="*/ 110476 h 1104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5515" h="110475">
                    <a:moveTo>
                      <a:pt x="0" y="23742"/>
                    </a:moveTo>
                    <a:cubicBezTo>
                      <a:pt x="5924" y="8669"/>
                      <a:pt x="15122" y="0"/>
                      <a:pt x="15122" y="0"/>
                    </a:cubicBezTo>
                    <a:cubicBezTo>
                      <a:pt x="8283" y="40646"/>
                      <a:pt x="36889" y="59283"/>
                      <a:pt x="36889" y="59283"/>
                    </a:cubicBezTo>
                    <a:cubicBezTo>
                      <a:pt x="36889" y="59283"/>
                      <a:pt x="57020" y="48640"/>
                      <a:pt x="58513" y="37516"/>
                    </a:cubicBezTo>
                    <a:cubicBezTo>
                      <a:pt x="58513" y="37516"/>
                      <a:pt x="85385" y="84711"/>
                      <a:pt x="71564" y="110476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007" name="Forma livre: Forma 2006">
                <a:extLst>
                  <a:ext uri="{FF2B5EF4-FFF2-40B4-BE49-F238E27FC236}">
                    <a16:creationId xmlns:a16="http://schemas.microsoft.com/office/drawing/2014/main" id="{68C7AAF9-0053-2D01-E6E8-B2AA3D0F58BC}"/>
                  </a:ext>
                </a:extLst>
              </p:cNvPr>
              <p:cNvSpPr/>
              <p:nvPr/>
            </p:nvSpPr>
            <p:spPr>
              <a:xfrm>
                <a:off x="5152661" y="6000348"/>
                <a:ext cx="37054" cy="73249"/>
              </a:xfrm>
              <a:custGeom>
                <a:avLst/>
                <a:gdLst>
                  <a:gd name="connsiteX0" fmla="*/ 37054 w 37054"/>
                  <a:gd name="connsiteY0" fmla="*/ 41465 h 73249"/>
                  <a:gd name="connsiteX1" fmla="*/ 14468 w 37054"/>
                  <a:gd name="connsiteY1" fmla="*/ 0 h 73249"/>
                  <a:gd name="connsiteX2" fmla="*/ 8737 w 37054"/>
                  <a:gd name="connsiteY2" fmla="*/ 34482 h 73249"/>
                  <a:gd name="connsiteX3" fmla="*/ 3391 w 37054"/>
                  <a:gd name="connsiteY3" fmla="*/ 73249 h 732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7054" h="73249">
                    <a:moveTo>
                      <a:pt x="37054" y="41465"/>
                    </a:moveTo>
                    <a:cubicBezTo>
                      <a:pt x="33780" y="17048"/>
                      <a:pt x="14468" y="0"/>
                      <a:pt x="14468" y="0"/>
                    </a:cubicBezTo>
                    <a:cubicBezTo>
                      <a:pt x="14468" y="0"/>
                      <a:pt x="22125" y="16181"/>
                      <a:pt x="8737" y="34482"/>
                    </a:cubicBezTo>
                    <a:cubicBezTo>
                      <a:pt x="8737" y="34482"/>
                      <a:pt x="-6626" y="52782"/>
                      <a:pt x="3391" y="73249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2008" name="Forma livre: Forma 2007">
              <a:extLst>
                <a:ext uri="{FF2B5EF4-FFF2-40B4-BE49-F238E27FC236}">
                  <a16:creationId xmlns:a16="http://schemas.microsoft.com/office/drawing/2014/main" id="{D0D71C35-3342-972A-B840-C7C25E024236}"/>
                </a:ext>
              </a:extLst>
            </p:cNvPr>
            <p:cNvSpPr/>
            <p:nvPr/>
          </p:nvSpPr>
          <p:spPr>
            <a:xfrm>
              <a:off x="5122872" y="5919442"/>
              <a:ext cx="169132" cy="178908"/>
            </a:xfrm>
            <a:custGeom>
              <a:avLst/>
              <a:gdLst>
                <a:gd name="connsiteX0" fmla="*/ 0 w 169132"/>
                <a:gd name="connsiteY0" fmla="*/ 159453 h 178908"/>
                <a:gd name="connsiteX1" fmla="*/ 0 w 169132"/>
                <a:gd name="connsiteY1" fmla="*/ 82977 h 178908"/>
                <a:gd name="connsiteX2" fmla="*/ 84566 w 169132"/>
                <a:gd name="connsiteY2" fmla="*/ 0 h 178908"/>
                <a:gd name="connsiteX3" fmla="*/ 169133 w 169132"/>
                <a:gd name="connsiteY3" fmla="*/ 82977 h 178908"/>
                <a:gd name="connsiteX4" fmla="*/ 169133 w 169132"/>
                <a:gd name="connsiteY4" fmla="*/ 178909 h 1789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9132" h="178908">
                  <a:moveTo>
                    <a:pt x="0" y="159453"/>
                  </a:moveTo>
                  <a:lnTo>
                    <a:pt x="0" y="82977"/>
                  </a:lnTo>
                  <a:cubicBezTo>
                    <a:pt x="0" y="37371"/>
                    <a:pt x="38045" y="0"/>
                    <a:pt x="84566" y="0"/>
                  </a:cubicBezTo>
                  <a:cubicBezTo>
                    <a:pt x="131088" y="0"/>
                    <a:pt x="169133" y="37323"/>
                    <a:pt x="169133" y="82977"/>
                  </a:cubicBezTo>
                  <a:lnTo>
                    <a:pt x="169133" y="178909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09" name="Forma livre: Forma 2008">
              <a:extLst>
                <a:ext uri="{FF2B5EF4-FFF2-40B4-BE49-F238E27FC236}">
                  <a16:creationId xmlns:a16="http://schemas.microsoft.com/office/drawing/2014/main" id="{BC1951DA-D371-7309-4360-01D465CD4B08}"/>
                </a:ext>
              </a:extLst>
            </p:cNvPr>
            <p:cNvSpPr/>
            <p:nvPr/>
          </p:nvSpPr>
          <p:spPr>
            <a:xfrm>
              <a:off x="5061662" y="6099892"/>
              <a:ext cx="291359" cy="4815"/>
            </a:xfrm>
            <a:custGeom>
              <a:avLst/>
              <a:gdLst>
                <a:gd name="connsiteX0" fmla="*/ 0 w 291359"/>
                <a:gd name="connsiteY0" fmla="*/ 0 h 4815"/>
                <a:gd name="connsiteX1" fmla="*/ 291359 w 291359"/>
                <a:gd name="connsiteY1" fmla="*/ 0 h 48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91359" h="4815">
                  <a:moveTo>
                    <a:pt x="0" y="0"/>
                  </a:moveTo>
                  <a:lnTo>
                    <a:pt x="291359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2010" name="Gráfico 19">
            <a:extLst>
              <a:ext uri="{FF2B5EF4-FFF2-40B4-BE49-F238E27FC236}">
                <a16:creationId xmlns:a16="http://schemas.microsoft.com/office/drawing/2014/main" id="{3B155619-0855-EAA1-46F2-4C6BCFD29289}"/>
              </a:ext>
            </a:extLst>
          </p:cNvPr>
          <p:cNvGrpSpPr/>
          <p:nvPr/>
        </p:nvGrpSpPr>
        <p:grpSpPr>
          <a:xfrm>
            <a:off x="5059158" y="4743844"/>
            <a:ext cx="296319" cy="278404"/>
            <a:chOff x="5059158" y="4743844"/>
            <a:chExt cx="296319" cy="278404"/>
          </a:xfrm>
          <a:noFill/>
        </p:grpSpPr>
        <p:grpSp>
          <p:nvGrpSpPr>
            <p:cNvPr id="2011" name="Gráfico 19">
              <a:extLst>
                <a:ext uri="{FF2B5EF4-FFF2-40B4-BE49-F238E27FC236}">
                  <a16:creationId xmlns:a16="http://schemas.microsoft.com/office/drawing/2014/main" id="{524FCD9A-B285-4F32-1FF9-68128E0FF18A}"/>
                </a:ext>
              </a:extLst>
            </p:cNvPr>
            <p:cNvGrpSpPr/>
            <p:nvPr/>
          </p:nvGrpSpPr>
          <p:grpSpPr>
            <a:xfrm>
              <a:off x="5236237" y="4905801"/>
              <a:ext cx="119240" cy="116447"/>
              <a:chOff x="5236237" y="4905801"/>
              <a:chExt cx="119240" cy="116447"/>
            </a:xfrm>
            <a:noFill/>
          </p:grpSpPr>
          <p:sp>
            <p:nvSpPr>
              <p:cNvPr id="2012" name="Forma livre: Forma 2011">
                <a:extLst>
                  <a:ext uri="{FF2B5EF4-FFF2-40B4-BE49-F238E27FC236}">
                    <a16:creationId xmlns:a16="http://schemas.microsoft.com/office/drawing/2014/main" id="{058960F9-BEE0-9974-1419-21BA83980192}"/>
                  </a:ext>
                </a:extLst>
              </p:cNvPr>
              <p:cNvSpPr/>
              <p:nvPr/>
            </p:nvSpPr>
            <p:spPr>
              <a:xfrm>
                <a:off x="5236237" y="4905801"/>
                <a:ext cx="119240" cy="57790"/>
              </a:xfrm>
              <a:custGeom>
                <a:avLst/>
                <a:gdLst>
                  <a:gd name="connsiteX0" fmla="*/ 0 w 119240"/>
                  <a:gd name="connsiteY0" fmla="*/ 57790 h 57790"/>
                  <a:gd name="connsiteX1" fmla="*/ 59476 w 119240"/>
                  <a:gd name="connsiteY1" fmla="*/ 0 h 57790"/>
                  <a:gd name="connsiteX2" fmla="*/ 119241 w 119240"/>
                  <a:gd name="connsiteY2" fmla="*/ 57790 h 577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19240" h="57790">
                    <a:moveTo>
                      <a:pt x="0" y="57790"/>
                    </a:moveTo>
                    <a:lnTo>
                      <a:pt x="59476" y="0"/>
                    </a:lnTo>
                    <a:lnTo>
                      <a:pt x="119241" y="57790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013" name="Forma livre: Forma 2012">
                <a:extLst>
                  <a:ext uri="{FF2B5EF4-FFF2-40B4-BE49-F238E27FC236}">
                    <a16:creationId xmlns:a16="http://schemas.microsoft.com/office/drawing/2014/main" id="{7D9BF70A-CA2F-C60A-4CDF-CE6D594D5A2D}"/>
                  </a:ext>
                </a:extLst>
              </p:cNvPr>
              <p:cNvSpPr/>
              <p:nvPr/>
            </p:nvSpPr>
            <p:spPr>
              <a:xfrm>
                <a:off x="5283095" y="4986226"/>
                <a:ext cx="25572" cy="36022"/>
              </a:xfrm>
              <a:custGeom>
                <a:avLst/>
                <a:gdLst>
                  <a:gd name="connsiteX0" fmla="*/ 25572 w 25572"/>
                  <a:gd name="connsiteY0" fmla="*/ 36023 h 36022"/>
                  <a:gd name="connsiteX1" fmla="*/ 25572 w 25572"/>
                  <a:gd name="connsiteY1" fmla="*/ 0 h 36022"/>
                  <a:gd name="connsiteX2" fmla="*/ 0 w 25572"/>
                  <a:gd name="connsiteY2" fmla="*/ 0 h 36022"/>
                  <a:gd name="connsiteX3" fmla="*/ 0 w 25572"/>
                  <a:gd name="connsiteY3" fmla="*/ 36023 h 360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5572" h="36022">
                    <a:moveTo>
                      <a:pt x="25572" y="36023"/>
                    </a:moveTo>
                    <a:lnTo>
                      <a:pt x="25572" y="0"/>
                    </a:lnTo>
                    <a:lnTo>
                      <a:pt x="0" y="0"/>
                    </a:lnTo>
                    <a:lnTo>
                      <a:pt x="0" y="36023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2014" name="Gráfico 19">
                <a:extLst>
                  <a:ext uri="{FF2B5EF4-FFF2-40B4-BE49-F238E27FC236}">
                    <a16:creationId xmlns:a16="http://schemas.microsoft.com/office/drawing/2014/main" id="{36218274-9FA1-008B-0AB0-808CE44C94D0}"/>
                  </a:ext>
                </a:extLst>
              </p:cNvPr>
              <p:cNvGrpSpPr/>
              <p:nvPr/>
            </p:nvGrpSpPr>
            <p:grpSpPr>
              <a:xfrm>
                <a:off x="5253285" y="4947747"/>
                <a:ext cx="85192" cy="74501"/>
                <a:chOff x="5253285" y="4947747"/>
                <a:chExt cx="85192" cy="74501"/>
              </a:xfrm>
            </p:grpSpPr>
            <p:sp>
              <p:nvSpPr>
                <p:cNvPr id="2015" name="Forma livre: Forma 2014">
                  <a:extLst>
                    <a:ext uri="{FF2B5EF4-FFF2-40B4-BE49-F238E27FC236}">
                      <a16:creationId xmlns:a16="http://schemas.microsoft.com/office/drawing/2014/main" id="{9B7962C5-7973-6FA6-F978-B2F0A28B5624}"/>
                    </a:ext>
                  </a:extLst>
                </p:cNvPr>
                <p:cNvSpPr/>
                <p:nvPr/>
              </p:nvSpPr>
              <p:spPr>
                <a:xfrm>
                  <a:off x="5253285" y="4947747"/>
                  <a:ext cx="4815" cy="74501"/>
                </a:xfrm>
                <a:custGeom>
                  <a:avLst/>
                  <a:gdLst>
                    <a:gd name="connsiteX0" fmla="*/ 0 w 4815"/>
                    <a:gd name="connsiteY0" fmla="*/ 74501 h 74501"/>
                    <a:gd name="connsiteX1" fmla="*/ 0 w 4815"/>
                    <a:gd name="connsiteY1" fmla="*/ 0 h 7450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815" h="74501">
                      <a:moveTo>
                        <a:pt x="0" y="74501"/>
                      </a:moveTo>
                      <a:lnTo>
                        <a:pt x="0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016" name="Forma livre: Forma 2015">
                  <a:extLst>
                    <a:ext uri="{FF2B5EF4-FFF2-40B4-BE49-F238E27FC236}">
                      <a16:creationId xmlns:a16="http://schemas.microsoft.com/office/drawing/2014/main" id="{9732635C-6CBD-5B48-2F4F-A98FCF733D08}"/>
                    </a:ext>
                  </a:extLst>
                </p:cNvPr>
                <p:cNvSpPr/>
                <p:nvPr/>
              </p:nvSpPr>
              <p:spPr>
                <a:xfrm>
                  <a:off x="5338478" y="4948373"/>
                  <a:ext cx="4815" cy="73875"/>
                </a:xfrm>
                <a:custGeom>
                  <a:avLst/>
                  <a:gdLst>
                    <a:gd name="connsiteX0" fmla="*/ 0 w 4815"/>
                    <a:gd name="connsiteY0" fmla="*/ 0 h 73875"/>
                    <a:gd name="connsiteX1" fmla="*/ 0 w 4815"/>
                    <a:gd name="connsiteY1" fmla="*/ 73875 h 738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815" h="73875">
                      <a:moveTo>
                        <a:pt x="0" y="0"/>
                      </a:moveTo>
                      <a:lnTo>
                        <a:pt x="0" y="73875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grpSp>
          <p:nvGrpSpPr>
            <p:cNvPr id="2017" name="Gráfico 19">
              <a:extLst>
                <a:ext uri="{FF2B5EF4-FFF2-40B4-BE49-F238E27FC236}">
                  <a16:creationId xmlns:a16="http://schemas.microsoft.com/office/drawing/2014/main" id="{C1205AD0-BDA2-3322-DDE4-C54B76CAB279}"/>
                </a:ext>
              </a:extLst>
            </p:cNvPr>
            <p:cNvGrpSpPr/>
            <p:nvPr/>
          </p:nvGrpSpPr>
          <p:grpSpPr>
            <a:xfrm>
              <a:off x="5134982" y="4743844"/>
              <a:ext cx="108391" cy="144331"/>
              <a:chOff x="5134982" y="4743844"/>
              <a:chExt cx="108391" cy="144331"/>
            </a:xfrm>
            <a:noFill/>
          </p:grpSpPr>
          <p:sp>
            <p:nvSpPr>
              <p:cNvPr id="2018" name="Forma livre: Forma 2017">
                <a:extLst>
                  <a:ext uri="{FF2B5EF4-FFF2-40B4-BE49-F238E27FC236}">
                    <a16:creationId xmlns:a16="http://schemas.microsoft.com/office/drawing/2014/main" id="{ADEE2EEE-DC20-5803-C3AB-CABBF8276393}"/>
                  </a:ext>
                </a:extLst>
              </p:cNvPr>
              <p:cNvSpPr/>
              <p:nvPr/>
            </p:nvSpPr>
            <p:spPr>
              <a:xfrm>
                <a:off x="5134982" y="4743844"/>
                <a:ext cx="108391" cy="144331"/>
              </a:xfrm>
              <a:custGeom>
                <a:avLst/>
                <a:gdLst>
                  <a:gd name="connsiteX0" fmla="*/ 54204 w 108391"/>
                  <a:gd name="connsiteY0" fmla="*/ 0 h 144331"/>
                  <a:gd name="connsiteX1" fmla="*/ 1134 w 108391"/>
                  <a:gd name="connsiteY1" fmla="*/ 72190 h 144331"/>
                  <a:gd name="connsiteX2" fmla="*/ 54204 w 108391"/>
                  <a:gd name="connsiteY2" fmla="*/ 144331 h 144331"/>
                  <a:gd name="connsiteX3" fmla="*/ 107275 w 108391"/>
                  <a:gd name="connsiteY3" fmla="*/ 72190 h 144331"/>
                  <a:gd name="connsiteX4" fmla="*/ 54204 w 108391"/>
                  <a:gd name="connsiteY4" fmla="*/ 0 h 144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08391" h="144331">
                    <a:moveTo>
                      <a:pt x="54204" y="0"/>
                    </a:moveTo>
                    <a:cubicBezTo>
                      <a:pt x="363" y="0"/>
                      <a:pt x="-2671" y="32555"/>
                      <a:pt x="1134" y="72190"/>
                    </a:cubicBezTo>
                    <a:cubicBezTo>
                      <a:pt x="4938" y="111872"/>
                      <a:pt x="29836" y="144331"/>
                      <a:pt x="54204" y="144331"/>
                    </a:cubicBezTo>
                    <a:cubicBezTo>
                      <a:pt x="78573" y="144331"/>
                      <a:pt x="103519" y="111872"/>
                      <a:pt x="107275" y="72190"/>
                    </a:cubicBezTo>
                    <a:cubicBezTo>
                      <a:pt x="111032" y="32603"/>
                      <a:pt x="108046" y="0"/>
                      <a:pt x="54204" y="0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019" name="Forma livre: Forma 2018">
                <a:extLst>
                  <a:ext uri="{FF2B5EF4-FFF2-40B4-BE49-F238E27FC236}">
                    <a16:creationId xmlns:a16="http://schemas.microsoft.com/office/drawing/2014/main" id="{6776B0B8-2226-9869-DB08-3CF3229694C9}"/>
                  </a:ext>
                </a:extLst>
              </p:cNvPr>
              <p:cNvSpPr/>
              <p:nvPr/>
            </p:nvSpPr>
            <p:spPr>
              <a:xfrm>
                <a:off x="5158220" y="4775821"/>
                <a:ext cx="46906" cy="27065"/>
              </a:xfrm>
              <a:custGeom>
                <a:avLst/>
                <a:gdLst>
                  <a:gd name="connsiteX0" fmla="*/ 46906 w 46906"/>
                  <a:gd name="connsiteY0" fmla="*/ 0 h 27065"/>
                  <a:gd name="connsiteX1" fmla="*/ 0 w 46906"/>
                  <a:gd name="connsiteY1" fmla="*/ 27065 h 270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6906" h="27065">
                    <a:moveTo>
                      <a:pt x="46906" y="0"/>
                    </a:moveTo>
                    <a:cubicBezTo>
                      <a:pt x="46906" y="0"/>
                      <a:pt x="41176" y="27065"/>
                      <a:pt x="0" y="27065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020" name="Forma livre: Forma 2019">
                <a:extLst>
                  <a:ext uri="{FF2B5EF4-FFF2-40B4-BE49-F238E27FC236}">
                    <a16:creationId xmlns:a16="http://schemas.microsoft.com/office/drawing/2014/main" id="{7D11A144-5B01-4252-A45B-44CB5E5902E4}"/>
                  </a:ext>
                </a:extLst>
              </p:cNvPr>
              <p:cNvSpPr/>
              <p:nvPr/>
            </p:nvSpPr>
            <p:spPr>
              <a:xfrm>
                <a:off x="5200455" y="4786801"/>
                <a:ext cx="41271" cy="18637"/>
              </a:xfrm>
              <a:custGeom>
                <a:avLst/>
                <a:gdLst>
                  <a:gd name="connsiteX0" fmla="*/ 0 w 41271"/>
                  <a:gd name="connsiteY0" fmla="*/ 0 h 18637"/>
                  <a:gd name="connsiteX1" fmla="*/ 41272 w 41271"/>
                  <a:gd name="connsiteY1" fmla="*/ 18637 h 186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1271" h="18637">
                    <a:moveTo>
                      <a:pt x="0" y="0"/>
                    </a:moveTo>
                    <a:cubicBezTo>
                      <a:pt x="0" y="0"/>
                      <a:pt x="18493" y="12666"/>
                      <a:pt x="41272" y="18637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2021" name="Gráfico 19">
              <a:extLst>
                <a:ext uri="{FF2B5EF4-FFF2-40B4-BE49-F238E27FC236}">
                  <a16:creationId xmlns:a16="http://schemas.microsoft.com/office/drawing/2014/main" id="{4703C89E-E3D3-FD3D-A326-5ACE35F0D071}"/>
                </a:ext>
              </a:extLst>
            </p:cNvPr>
            <p:cNvGrpSpPr/>
            <p:nvPr/>
          </p:nvGrpSpPr>
          <p:grpSpPr>
            <a:xfrm>
              <a:off x="5059158" y="4903730"/>
              <a:ext cx="202314" cy="115098"/>
              <a:chOff x="5059158" y="4903730"/>
              <a:chExt cx="202314" cy="115098"/>
            </a:xfrm>
            <a:noFill/>
          </p:grpSpPr>
          <p:grpSp>
            <p:nvGrpSpPr>
              <p:cNvPr id="2022" name="Gráfico 19">
                <a:extLst>
                  <a:ext uri="{FF2B5EF4-FFF2-40B4-BE49-F238E27FC236}">
                    <a16:creationId xmlns:a16="http://schemas.microsoft.com/office/drawing/2014/main" id="{9AD277C1-DA09-C5BC-02FC-D7CFA3D031B9}"/>
                  </a:ext>
                </a:extLst>
              </p:cNvPr>
              <p:cNvGrpSpPr/>
              <p:nvPr/>
            </p:nvGrpSpPr>
            <p:grpSpPr>
              <a:xfrm>
                <a:off x="5172764" y="4956126"/>
                <a:ext cx="33711" cy="62702"/>
                <a:chOff x="5172764" y="4956126"/>
                <a:chExt cx="33711" cy="62702"/>
              </a:xfrm>
            </p:grpSpPr>
            <p:sp>
              <p:nvSpPr>
                <p:cNvPr id="2023" name="Forma livre: Forma 2022">
                  <a:extLst>
                    <a:ext uri="{FF2B5EF4-FFF2-40B4-BE49-F238E27FC236}">
                      <a16:creationId xmlns:a16="http://schemas.microsoft.com/office/drawing/2014/main" id="{21325150-54C2-C501-CD26-59728112A5D5}"/>
                    </a:ext>
                  </a:extLst>
                </p:cNvPr>
                <p:cNvSpPr/>
                <p:nvPr/>
              </p:nvSpPr>
              <p:spPr>
                <a:xfrm>
                  <a:off x="5172764" y="4956126"/>
                  <a:ext cx="7898" cy="62702"/>
                </a:xfrm>
                <a:custGeom>
                  <a:avLst/>
                  <a:gdLst>
                    <a:gd name="connsiteX0" fmla="*/ 7898 w 7898"/>
                    <a:gd name="connsiteY0" fmla="*/ 0 h 62702"/>
                    <a:gd name="connsiteX1" fmla="*/ 0 w 7898"/>
                    <a:gd name="connsiteY1" fmla="*/ 62702 h 6270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7898" h="62702">
                      <a:moveTo>
                        <a:pt x="7898" y="0"/>
                      </a:moveTo>
                      <a:lnTo>
                        <a:pt x="0" y="62702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024" name="Forma livre: Forma 2023">
                  <a:extLst>
                    <a:ext uri="{FF2B5EF4-FFF2-40B4-BE49-F238E27FC236}">
                      <a16:creationId xmlns:a16="http://schemas.microsoft.com/office/drawing/2014/main" id="{4A6BBE90-487A-CF48-7ED8-30714B433BE0}"/>
                    </a:ext>
                  </a:extLst>
                </p:cNvPr>
                <p:cNvSpPr/>
                <p:nvPr/>
              </p:nvSpPr>
              <p:spPr>
                <a:xfrm>
                  <a:off x="5198529" y="4956126"/>
                  <a:ext cx="7946" cy="62702"/>
                </a:xfrm>
                <a:custGeom>
                  <a:avLst/>
                  <a:gdLst>
                    <a:gd name="connsiteX0" fmla="*/ 0 w 7946"/>
                    <a:gd name="connsiteY0" fmla="*/ 0 h 62702"/>
                    <a:gd name="connsiteX1" fmla="*/ 7946 w 7946"/>
                    <a:gd name="connsiteY1" fmla="*/ 62702 h 6270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7946" h="62702">
                      <a:moveTo>
                        <a:pt x="0" y="0"/>
                      </a:moveTo>
                      <a:lnTo>
                        <a:pt x="7946" y="62702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2025" name="Gráfico 19">
                <a:extLst>
                  <a:ext uri="{FF2B5EF4-FFF2-40B4-BE49-F238E27FC236}">
                    <a16:creationId xmlns:a16="http://schemas.microsoft.com/office/drawing/2014/main" id="{7A8DE4F6-0D02-7285-A14E-A3CDA9711DBA}"/>
                  </a:ext>
                </a:extLst>
              </p:cNvPr>
              <p:cNvGrpSpPr/>
              <p:nvPr/>
            </p:nvGrpSpPr>
            <p:grpSpPr>
              <a:xfrm>
                <a:off x="5059158" y="4903730"/>
                <a:ext cx="202314" cy="115098"/>
                <a:chOff x="5059158" y="4903730"/>
                <a:chExt cx="202314" cy="115098"/>
              </a:xfrm>
              <a:noFill/>
            </p:grpSpPr>
            <p:sp>
              <p:nvSpPr>
                <p:cNvPr id="2026" name="Forma livre: Forma 2025">
                  <a:extLst>
                    <a:ext uri="{FF2B5EF4-FFF2-40B4-BE49-F238E27FC236}">
                      <a16:creationId xmlns:a16="http://schemas.microsoft.com/office/drawing/2014/main" id="{47C82F13-2197-2980-5F73-115C88F9C520}"/>
                    </a:ext>
                  </a:extLst>
                </p:cNvPr>
                <p:cNvSpPr/>
                <p:nvPr/>
              </p:nvSpPr>
              <p:spPr>
                <a:xfrm>
                  <a:off x="5059158" y="4903730"/>
                  <a:ext cx="101036" cy="115098"/>
                </a:xfrm>
                <a:custGeom>
                  <a:avLst/>
                  <a:gdLst>
                    <a:gd name="connsiteX0" fmla="*/ 0 w 101036"/>
                    <a:gd name="connsiteY0" fmla="*/ 115099 h 115098"/>
                    <a:gd name="connsiteX1" fmla="*/ 4864 w 101036"/>
                    <a:gd name="connsiteY1" fmla="*/ 50422 h 115098"/>
                    <a:gd name="connsiteX2" fmla="*/ 31110 w 101036"/>
                    <a:gd name="connsiteY2" fmla="*/ 10739 h 115098"/>
                    <a:gd name="connsiteX3" fmla="*/ 79317 w 101036"/>
                    <a:gd name="connsiteY3" fmla="*/ 0 h 115098"/>
                    <a:gd name="connsiteX4" fmla="*/ 101037 w 101036"/>
                    <a:gd name="connsiteY4" fmla="*/ 43921 h 1150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01036" h="115098">
                      <a:moveTo>
                        <a:pt x="0" y="115099"/>
                      </a:moveTo>
                      <a:lnTo>
                        <a:pt x="4864" y="50422"/>
                      </a:lnTo>
                      <a:cubicBezTo>
                        <a:pt x="9680" y="14737"/>
                        <a:pt x="31110" y="10739"/>
                        <a:pt x="31110" y="10739"/>
                      </a:cubicBezTo>
                      <a:cubicBezTo>
                        <a:pt x="31110" y="10739"/>
                        <a:pt x="54467" y="4142"/>
                        <a:pt x="79317" y="0"/>
                      </a:cubicBezTo>
                      <a:lnTo>
                        <a:pt x="101037" y="43921"/>
                      </a:ln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027" name="Forma livre: Forma 2026">
                  <a:extLst>
                    <a:ext uri="{FF2B5EF4-FFF2-40B4-BE49-F238E27FC236}">
                      <a16:creationId xmlns:a16="http://schemas.microsoft.com/office/drawing/2014/main" id="{852B5E33-6BE1-93B5-415E-E82E1ECA6A47}"/>
                    </a:ext>
                  </a:extLst>
                </p:cNvPr>
                <p:cNvSpPr/>
                <p:nvPr/>
              </p:nvSpPr>
              <p:spPr>
                <a:xfrm>
                  <a:off x="5219044" y="4903730"/>
                  <a:ext cx="42427" cy="43920"/>
                </a:xfrm>
                <a:custGeom>
                  <a:avLst/>
                  <a:gdLst>
                    <a:gd name="connsiteX0" fmla="*/ 42428 w 42427"/>
                    <a:gd name="connsiteY0" fmla="*/ 3997 h 43920"/>
                    <a:gd name="connsiteX1" fmla="*/ 21719 w 42427"/>
                    <a:gd name="connsiteY1" fmla="*/ 0 h 43920"/>
                    <a:gd name="connsiteX2" fmla="*/ 0 w 42427"/>
                    <a:gd name="connsiteY2" fmla="*/ 43921 h 4392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42427" h="43920">
                      <a:moveTo>
                        <a:pt x="42428" y="3997"/>
                      </a:moveTo>
                      <a:cubicBezTo>
                        <a:pt x="36023" y="2601"/>
                        <a:pt x="28943" y="1204"/>
                        <a:pt x="21719" y="0"/>
                      </a:cubicBezTo>
                      <a:lnTo>
                        <a:pt x="0" y="43921"/>
                      </a:ln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2028" name="Forma livre: Forma 2027">
                <a:extLst>
                  <a:ext uri="{FF2B5EF4-FFF2-40B4-BE49-F238E27FC236}">
                    <a16:creationId xmlns:a16="http://schemas.microsoft.com/office/drawing/2014/main" id="{898CAF25-1366-684B-FEDD-25AE204D340A}"/>
                  </a:ext>
                </a:extLst>
              </p:cNvPr>
              <p:cNvSpPr/>
              <p:nvPr/>
            </p:nvSpPr>
            <p:spPr>
              <a:xfrm>
                <a:off x="5166937" y="4913651"/>
                <a:ext cx="45317" cy="51337"/>
              </a:xfrm>
              <a:custGeom>
                <a:avLst/>
                <a:gdLst>
                  <a:gd name="connsiteX0" fmla="*/ 22731 w 45317"/>
                  <a:gd name="connsiteY0" fmla="*/ 51337 h 51337"/>
                  <a:gd name="connsiteX1" fmla="*/ 0 w 45317"/>
                  <a:gd name="connsiteY1" fmla="*/ 25668 h 51337"/>
                  <a:gd name="connsiteX2" fmla="*/ 22586 w 45317"/>
                  <a:gd name="connsiteY2" fmla="*/ 0 h 51337"/>
                  <a:gd name="connsiteX3" fmla="*/ 22731 w 45317"/>
                  <a:gd name="connsiteY3" fmla="*/ 0 h 51337"/>
                  <a:gd name="connsiteX4" fmla="*/ 45317 w 45317"/>
                  <a:gd name="connsiteY4" fmla="*/ 25668 h 51337"/>
                  <a:gd name="connsiteX5" fmla="*/ 22731 w 45317"/>
                  <a:gd name="connsiteY5" fmla="*/ 51337 h 513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45317" h="51337">
                    <a:moveTo>
                      <a:pt x="22731" y="51337"/>
                    </a:moveTo>
                    <a:lnTo>
                      <a:pt x="0" y="25668"/>
                    </a:lnTo>
                    <a:lnTo>
                      <a:pt x="22586" y="0"/>
                    </a:lnTo>
                    <a:lnTo>
                      <a:pt x="22731" y="0"/>
                    </a:lnTo>
                    <a:lnTo>
                      <a:pt x="45317" y="25668"/>
                    </a:lnTo>
                    <a:lnTo>
                      <a:pt x="22731" y="51337"/>
                    </a:lnTo>
                    <a:close/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2029" name="Gráfico 19">
            <a:extLst>
              <a:ext uri="{FF2B5EF4-FFF2-40B4-BE49-F238E27FC236}">
                <a16:creationId xmlns:a16="http://schemas.microsoft.com/office/drawing/2014/main" id="{85C1C8AC-CC99-1A7F-84BE-48FB47FD2AAC}"/>
              </a:ext>
            </a:extLst>
          </p:cNvPr>
          <p:cNvGrpSpPr/>
          <p:nvPr/>
        </p:nvGrpSpPr>
        <p:grpSpPr>
          <a:xfrm>
            <a:off x="5052271" y="4210777"/>
            <a:ext cx="310093" cy="260200"/>
            <a:chOff x="5052271" y="4210777"/>
            <a:chExt cx="310093" cy="260200"/>
          </a:xfrm>
          <a:noFill/>
        </p:grpSpPr>
        <p:grpSp>
          <p:nvGrpSpPr>
            <p:cNvPr id="2030" name="Gráfico 19">
              <a:extLst>
                <a:ext uri="{FF2B5EF4-FFF2-40B4-BE49-F238E27FC236}">
                  <a16:creationId xmlns:a16="http://schemas.microsoft.com/office/drawing/2014/main" id="{5E7AB63F-81CC-FE0E-9A26-C631F1347379}"/>
                </a:ext>
              </a:extLst>
            </p:cNvPr>
            <p:cNvGrpSpPr/>
            <p:nvPr/>
          </p:nvGrpSpPr>
          <p:grpSpPr>
            <a:xfrm>
              <a:off x="5052271" y="4210777"/>
              <a:ext cx="150591" cy="131954"/>
              <a:chOff x="5052271" y="4210777"/>
              <a:chExt cx="150591" cy="131954"/>
            </a:xfrm>
            <a:noFill/>
          </p:grpSpPr>
          <p:sp>
            <p:nvSpPr>
              <p:cNvPr id="2031" name="Forma livre: Forma 2030">
                <a:extLst>
                  <a:ext uri="{FF2B5EF4-FFF2-40B4-BE49-F238E27FC236}">
                    <a16:creationId xmlns:a16="http://schemas.microsoft.com/office/drawing/2014/main" id="{468272C1-786D-241B-6822-58020B13576D}"/>
                  </a:ext>
                </a:extLst>
              </p:cNvPr>
              <p:cNvSpPr/>
              <p:nvPr/>
            </p:nvSpPr>
            <p:spPr>
              <a:xfrm>
                <a:off x="5052271" y="4210777"/>
                <a:ext cx="150591" cy="65495"/>
              </a:xfrm>
              <a:custGeom>
                <a:avLst/>
                <a:gdLst>
                  <a:gd name="connsiteX0" fmla="*/ 0 w 150591"/>
                  <a:gd name="connsiteY0" fmla="*/ 65496 h 65495"/>
                  <a:gd name="connsiteX1" fmla="*/ 75079 w 150591"/>
                  <a:gd name="connsiteY1" fmla="*/ 0 h 65495"/>
                  <a:gd name="connsiteX2" fmla="*/ 150592 w 150591"/>
                  <a:gd name="connsiteY2" fmla="*/ 65496 h 65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50591" h="65495">
                    <a:moveTo>
                      <a:pt x="0" y="65496"/>
                    </a:moveTo>
                    <a:lnTo>
                      <a:pt x="75079" y="0"/>
                    </a:lnTo>
                    <a:lnTo>
                      <a:pt x="150592" y="65496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032" name="Forma livre: Forma 2031">
                <a:extLst>
                  <a:ext uri="{FF2B5EF4-FFF2-40B4-BE49-F238E27FC236}">
                    <a16:creationId xmlns:a16="http://schemas.microsoft.com/office/drawing/2014/main" id="{FCC8A70C-680E-827B-3205-75A38D2AA2D1}"/>
                  </a:ext>
                </a:extLst>
              </p:cNvPr>
              <p:cNvSpPr/>
              <p:nvPr/>
            </p:nvSpPr>
            <p:spPr>
              <a:xfrm>
                <a:off x="5112084" y="4303626"/>
                <a:ext cx="30965" cy="39104"/>
              </a:xfrm>
              <a:custGeom>
                <a:avLst/>
                <a:gdLst>
                  <a:gd name="connsiteX0" fmla="*/ 30966 w 30965"/>
                  <a:gd name="connsiteY0" fmla="*/ 39105 h 39104"/>
                  <a:gd name="connsiteX1" fmla="*/ 30966 w 30965"/>
                  <a:gd name="connsiteY1" fmla="*/ 0 h 39104"/>
                  <a:gd name="connsiteX2" fmla="*/ 0 w 30965"/>
                  <a:gd name="connsiteY2" fmla="*/ 0 h 39104"/>
                  <a:gd name="connsiteX3" fmla="*/ 0 w 30965"/>
                  <a:gd name="connsiteY3" fmla="*/ 39105 h 391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0965" h="39104">
                    <a:moveTo>
                      <a:pt x="30966" y="39105"/>
                    </a:moveTo>
                    <a:lnTo>
                      <a:pt x="30966" y="0"/>
                    </a:lnTo>
                    <a:lnTo>
                      <a:pt x="0" y="0"/>
                    </a:lnTo>
                    <a:lnTo>
                      <a:pt x="0" y="39105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2033" name="Gráfico 19">
                <a:extLst>
                  <a:ext uri="{FF2B5EF4-FFF2-40B4-BE49-F238E27FC236}">
                    <a16:creationId xmlns:a16="http://schemas.microsoft.com/office/drawing/2014/main" id="{F3030B04-2F48-9958-619E-65D9240D7522}"/>
                  </a:ext>
                </a:extLst>
              </p:cNvPr>
              <p:cNvGrpSpPr/>
              <p:nvPr/>
            </p:nvGrpSpPr>
            <p:grpSpPr>
              <a:xfrm>
                <a:off x="5073750" y="4258357"/>
                <a:ext cx="107634" cy="84373"/>
                <a:chOff x="5073750" y="4258357"/>
                <a:chExt cx="107634" cy="84373"/>
              </a:xfrm>
            </p:grpSpPr>
            <p:sp>
              <p:nvSpPr>
                <p:cNvPr id="2034" name="Forma livre: Forma 2033">
                  <a:extLst>
                    <a:ext uri="{FF2B5EF4-FFF2-40B4-BE49-F238E27FC236}">
                      <a16:creationId xmlns:a16="http://schemas.microsoft.com/office/drawing/2014/main" id="{09D8EC4F-0869-45E7-B72E-8664422E3B1F}"/>
                    </a:ext>
                  </a:extLst>
                </p:cNvPr>
                <p:cNvSpPr/>
                <p:nvPr/>
              </p:nvSpPr>
              <p:spPr>
                <a:xfrm>
                  <a:off x="5073750" y="4258357"/>
                  <a:ext cx="4815" cy="84373"/>
                </a:xfrm>
                <a:custGeom>
                  <a:avLst/>
                  <a:gdLst>
                    <a:gd name="connsiteX0" fmla="*/ 0 w 4815"/>
                    <a:gd name="connsiteY0" fmla="*/ 84374 h 84373"/>
                    <a:gd name="connsiteX1" fmla="*/ 0 w 4815"/>
                    <a:gd name="connsiteY1" fmla="*/ 0 h 8437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815" h="84373">
                      <a:moveTo>
                        <a:pt x="0" y="84374"/>
                      </a:moveTo>
                      <a:lnTo>
                        <a:pt x="0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035" name="Forma livre: Forma 2034">
                  <a:extLst>
                    <a:ext uri="{FF2B5EF4-FFF2-40B4-BE49-F238E27FC236}">
                      <a16:creationId xmlns:a16="http://schemas.microsoft.com/office/drawing/2014/main" id="{F4E5C631-1EEF-4617-7621-A702FCDAE037}"/>
                    </a:ext>
                  </a:extLst>
                </p:cNvPr>
                <p:cNvSpPr/>
                <p:nvPr/>
              </p:nvSpPr>
              <p:spPr>
                <a:xfrm>
                  <a:off x="5181384" y="4259080"/>
                  <a:ext cx="4815" cy="83651"/>
                </a:xfrm>
                <a:custGeom>
                  <a:avLst/>
                  <a:gdLst>
                    <a:gd name="connsiteX0" fmla="*/ 0 w 4815"/>
                    <a:gd name="connsiteY0" fmla="*/ 0 h 83651"/>
                    <a:gd name="connsiteX1" fmla="*/ 0 w 4815"/>
                    <a:gd name="connsiteY1" fmla="*/ 83651 h 8365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815" h="83651">
                      <a:moveTo>
                        <a:pt x="0" y="0"/>
                      </a:moveTo>
                      <a:lnTo>
                        <a:pt x="0" y="83651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grpSp>
          <p:nvGrpSpPr>
            <p:cNvPr id="2036" name="Gráfico 19">
              <a:extLst>
                <a:ext uri="{FF2B5EF4-FFF2-40B4-BE49-F238E27FC236}">
                  <a16:creationId xmlns:a16="http://schemas.microsoft.com/office/drawing/2014/main" id="{476AFEAB-CFBB-4A22-96E1-11108A302D1D}"/>
                </a:ext>
              </a:extLst>
            </p:cNvPr>
            <p:cNvGrpSpPr/>
            <p:nvPr/>
          </p:nvGrpSpPr>
          <p:grpSpPr>
            <a:xfrm>
              <a:off x="5211772" y="4339023"/>
              <a:ext cx="150591" cy="131954"/>
              <a:chOff x="5211772" y="4339023"/>
              <a:chExt cx="150591" cy="131954"/>
            </a:xfrm>
            <a:noFill/>
          </p:grpSpPr>
          <p:sp>
            <p:nvSpPr>
              <p:cNvPr id="2037" name="Forma livre: Forma 2036">
                <a:extLst>
                  <a:ext uri="{FF2B5EF4-FFF2-40B4-BE49-F238E27FC236}">
                    <a16:creationId xmlns:a16="http://schemas.microsoft.com/office/drawing/2014/main" id="{3617CC75-7C63-F26B-F278-E319A44C36E6}"/>
                  </a:ext>
                </a:extLst>
              </p:cNvPr>
              <p:cNvSpPr/>
              <p:nvPr/>
            </p:nvSpPr>
            <p:spPr>
              <a:xfrm>
                <a:off x="5211772" y="4339023"/>
                <a:ext cx="150591" cy="65495"/>
              </a:xfrm>
              <a:custGeom>
                <a:avLst/>
                <a:gdLst>
                  <a:gd name="connsiteX0" fmla="*/ 0 w 150591"/>
                  <a:gd name="connsiteY0" fmla="*/ 65496 h 65495"/>
                  <a:gd name="connsiteX1" fmla="*/ 75079 w 150591"/>
                  <a:gd name="connsiteY1" fmla="*/ 0 h 65495"/>
                  <a:gd name="connsiteX2" fmla="*/ 150592 w 150591"/>
                  <a:gd name="connsiteY2" fmla="*/ 65496 h 65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50591" h="65495">
                    <a:moveTo>
                      <a:pt x="0" y="65496"/>
                    </a:moveTo>
                    <a:lnTo>
                      <a:pt x="75079" y="0"/>
                    </a:lnTo>
                    <a:lnTo>
                      <a:pt x="150592" y="65496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038" name="Forma livre: Forma 2037">
                <a:extLst>
                  <a:ext uri="{FF2B5EF4-FFF2-40B4-BE49-F238E27FC236}">
                    <a16:creationId xmlns:a16="http://schemas.microsoft.com/office/drawing/2014/main" id="{A4542E26-FCB6-C5FB-3D41-BEFF549C475F}"/>
                  </a:ext>
                </a:extLst>
              </p:cNvPr>
              <p:cNvSpPr/>
              <p:nvPr/>
            </p:nvSpPr>
            <p:spPr>
              <a:xfrm>
                <a:off x="5271585" y="4431873"/>
                <a:ext cx="30965" cy="39104"/>
              </a:xfrm>
              <a:custGeom>
                <a:avLst/>
                <a:gdLst>
                  <a:gd name="connsiteX0" fmla="*/ 30966 w 30965"/>
                  <a:gd name="connsiteY0" fmla="*/ 39105 h 39104"/>
                  <a:gd name="connsiteX1" fmla="*/ 30966 w 30965"/>
                  <a:gd name="connsiteY1" fmla="*/ 0 h 39104"/>
                  <a:gd name="connsiteX2" fmla="*/ 0 w 30965"/>
                  <a:gd name="connsiteY2" fmla="*/ 0 h 39104"/>
                  <a:gd name="connsiteX3" fmla="*/ 0 w 30965"/>
                  <a:gd name="connsiteY3" fmla="*/ 39105 h 391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0965" h="39104">
                    <a:moveTo>
                      <a:pt x="30966" y="39105"/>
                    </a:moveTo>
                    <a:lnTo>
                      <a:pt x="30966" y="0"/>
                    </a:lnTo>
                    <a:lnTo>
                      <a:pt x="0" y="0"/>
                    </a:lnTo>
                    <a:lnTo>
                      <a:pt x="0" y="39105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2039" name="Gráfico 19">
                <a:extLst>
                  <a:ext uri="{FF2B5EF4-FFF2-40B4-BE49-F238E27FC236}">
                    <a16:creationId xmlns:a16="http://schemas.microsoft.com/office/drawing/2014/main" id="{58342FB5-EA75-BA4D-E398-EF582A737900}"/>
                  </a:ext>
                </a:extLst>
              </p:cNvPr>
              <p:cNvGrpSpPr/>
              <p:nvPr/>
            </p:nvGrpSpPr>
            <p:grpSpPr>
              <a:xfrm>
                <a:off x="5233251" y="4386603"/>
                <a:ext cx="107634" cy="84373"/>
                <a:chOff x="5233251" y="4386603"/>
                <a:chExt cx="107634" cy="84373"/>
              </a:xfrm>
            </p:grpSpPr>
            <p:sp>
              <p:nvSpPr>
                <p:cNvPr id="2040" name="Forma livre: Forma 2039">
                  <a:extLst>
                    <a:ext uri="{FF2B5EF4-FFF2-40B4-BE49-F238E27FC236}">
                      <a16:creationId xmlns:a16="http://schemas.microsoft.com/office/drawing/2014/main" id="{9BC3F3FC-BA5D-7BCC-F83C-27650C17AD56}"/>
                    </a:ext>
                  </a:extLst>
                </p:cNvPr>
                <p:cNvSpPr/>
                <p:nvPr/>
              </p:nvSpPr>
              <p:spPr>
                <a:xfrm>
                  <a:off x="5233251" y="4386603"/>
                  <a:ext cx="4815" cy="84373"/>
                </a:xfrm>
                <a:custGeom>
                  <a:avLst/>
                  <a:gdLst>
                    <a:gd name="connsiteX0" fmla="*/ 0 w 4815"/>
                    <a:gd name="connsiteY0" fmla="*/ 84374 h 84373"/>
                    <a:gd name="connsiteX1" fmla="*/ 0 w 4815"/>
                    <a:gd name="connsiteY1" fmla="*/ 0 h 8437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815" h="84373">
                      <a:moveTo>
                        <a:pt x="0" y="84374"/>
                      </a:moveTo>
                      <a:lnTo>
                        <a:pt x="0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041" name="Forma livre: Forma 2040">
                  <a:extLst>
                    <a:ext uri="{FF2B5EF4-FFF2-40B4-BE49-F238E27FC236}">
                      <a16:creationId xmlns:a16="http://schemas.microsoft.com/office/drawing/2014/main" id="{17BD99C8-9275-3605-9A7A-2A8E09057EB6}"/>
                    </a:ext>
                  </a:extLst>
                </p:cNvPr>
                <p:cNvSpPr/>
                <p:nvPr/>
              </p:nvSpPr>
              <p:spPr>
                <a:xfrm>
                  <a:off x="5340885" y="4387326"/>
                  <a:ext cx="4815" cy="83651"/>
                </a:xfrm>
                <a:custGeom>
                  <a:avLst/>
                  <a:gdLst>
                    <a:gd name="connsiteX0" fmla="*/ 0 w 4815"/>
                    <a:gd name="connsiteY0" fmla="*/ 0 h 83651"/>
                    <a:gd name="connsiteX1" fmla="*/ 0 w 4815"/>
                    <a:gd name="connsiteY1" fmla="*/ 83651 h 8365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815" h="83651">
                      <a:moveTo>
                        <a:pt x="0" y="0"/>
                      </a:moveTo>
                      <a:lnTo>
                        <a:pt x="0" y="83651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grpSp>
          <p:nvGrpSpPr>
            <p:cNvPr id="2042" name="Gráfico 19">
              <a:extLst>
                <a:ext uri="{FF2B5EF4-FFF2-40B4-BE49-F238E27FC236}">
                  <a16:creationId xmlns:a16="http://schemas.microsoft.com/office/drawing/2014/main" id="{B12B56BF-510F-EABF-F978-9F1B8859122A}"/>
                </a:ext>
              </a:extLst>
            </p:cNvPr>
            <p:cNvGrpSpPr/>
            <p:nvPr/>
          </p:nvGrpSpPr>
          <p:grpSpPr>
            <a:xfrm>
              <a:off x="5098840" y="4362861"/>
              <a:ext cx="111535" cy="80424"/>
              <a:chOff x="5098840" y="4362861"/>
              <a:chExt cx="111535" cy="80424"/>
            </a:xfrm>
            <a:noFill/>
          </p:grpSpPr>
          <p:sp>
            <p:nvSpPr>
              <p:cNvPr id="2043" name="Forma livre: Forma 2042">
                <a:extLst>
                  <a:ext uri="{FF2B5EF4-FFF2-40B4-BE49-F238E27FC236}">
                    <a16:creationId xmlns:a16="http://schemas.microsoft.com/office/drawing/2014/main" id="{44590E77-3EF9-41EC-EC8B-A3B127198FDE}"/>
                  </a:ext>
                </a:extLst>
              </p:cNvPr>
              <p:cNvSpPr/>
              <p:nvPr/>
            </p:nvSpPr>
            <p:spPr>
              <a:xfrm>
                <a:off x="5127254" y="4364210"/>
                <a:ext cx="83121" cy="79076"/>
              </a:xfrm>
              <a:custGeom>
                <a:avLst/>
                <a:gdLst>
                  <a:gd name="connsiteX0" fmla="*/ 83122 w 83121"/>
                  <a:gd name="connsiteY0" fmla="*/ 79076 h 79076"/>
                  <a:gd name="connsiteX1" fmla="*/ 25187 w 83121"/>
                  <a:gd name="connsiteY1" fmla="*/ 79076 h 79076"/>
                  <a:gd name="connsiteX2" fmla="*/ 0 w 83121"/>
                  <a:gd name="connsiteY2" fmla="*/ 53889 h 79076"/>
                  <a:gd name="connsiteX3" fmla="*/ 0 w 83121"/>
                  <a:gd name="connsiteY3" fmla="*/ 0 h 790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3121" h="79076">
                    <a:moveTo>
                      <a:pt x="83122" y="79076"/>
                    </a:moveTo>
                    <a:lnTo>
                      <a:pt x="25187" y="79076"/>
                    </a:lnTo>
                    <a:cubicBezTo>
                      <a:pt x="11317" y="79076"/>
                      <a:pt x="0" y="67759"/>
                      <a:pt x="0" y="53889"/>
                    </a:cubicBezTo>
                    <a:lnTo>
                      <a:pt x="0" y="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044" name="Forma livre: Forma 2043">
                <a:extLst>
                  <a:ext uri="{FF2B5EF4-FFF2-40B4-BE49-F238E27FC236}">
                    <a16:creationId xmlns:a16="http://schemas.microsoft.com/office/drawing/2014/main" id="{C0B76035-2EE4-1991-5D7A-73C6CCA49234}"/>
                  </a:ext>
                </a:extLst>
              </p:cNvPr>
              <p:cNvSpPr/>
              <p:nvPr/>
            </p:nvSpPr>
            <p:spPr>
              <a:xfrm>
                <a:off x="5098840" y="4362861"/>
                <a:ext cx="56778" cy="28269"/>
              </a:xfrm>
              <a:custGeom>
                <a:avLst/>
                <a:gdLst>
                  <a:gd name="connsiteX0" fmla="*/ 56779 w 56778"/>
                  <a:gd name="connsiteY0" fmla="*/ 28269 h 28269"/>
                  <a:gd name="connsiteX1" fmla="*/ 28414 w 56778"/>
                  <a:gd name="connsiteY1" fmla="*/ 0 h 28269"/>
                  <a:gd name="connsiteX2" fmla="*/ 0 w 56778"/>
                  <a:gd name="connsiteY2" fmla="*/ 28269 h 282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56778" h="28269">
                    <a:moveTo>
                      <a:pt x="56779" y="28269"/>
                    </a:moveTo>
                    <a:lnTo>
                      <a:pt x="28414" y="0"/>
                    </a:lnTo>
                    <a:lnTo>
                      <a:pt x="0" y="28269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2045" name="Gráfico 19">
              <a:extLst>
                <a:ext uri="{FF2B5EF4-FFF2-40B4-BE49-F238E27FC236}">
                  <a16:creationId xmlns:a16="http://schemas.microsoft.com/office/drawing/2014/main" id="{A269C6C6-61AE-C5AD-01A1-EAB2A9E73D77}"/>
                </a:ext>
              </a:extLst>
            </p:cNvPr>
            <p:cNvGrpSpPr/>
            <p:nvPr/>
          </p:nvGrpSpPr>
          <p:grpSpPr>
            <a:xfrm>
              <a:off x="5192413" y="4231003"/>
              <a:ext cx="122804" cy="80424"/>
              <a:chOff x="5192413" y="4231003"/>
              <a:chExt cx="122804" cy="80424"/>
            </a:xfrm>
            <a:noFill/>
          </p:grpSpPr>
          <p:sp>
            <p:nvSpPr>
              <p:cNvPr id="2046" name="Forma livre: Forma 2045">
                <a:extLst>
                  <a:ext uri="{FF2B5EF4-FFF2-40B4-BE49-F238E27FC236}">
                    <a16:creationId xmlns:a16="http://schemas.microsoft.com/office/drawing/2014/main" id="{4FDC5DC7-C1A4-2EEF-7D21-E2563436C2ED}"/>
                  </a:ext>
                </a:extLst>
              </p:cNvPr>
              <p:cNvSpPr/>
              <p:nvPr/>
            </p:nvSpPr>
            <p:spPr>
              <a:xfrm>
                <a:off x="5192413" y="4231003"/>
                <a:ext cx="94390" cy="79076"/>
              </a:xfrm>
              <a:custGeom>
                <a:avLst/>
                <a:gdLst>
                  <a:gd name="connsiteX0" fmla="*/ 0 w 94390"/>
                  <a:gd name="connsiteY0" fmla="*/ 0 h 79076"/>
                  <a:gd name="connsiteX1" fmla="*/ 69204 w 94390"/>
                  <a:gd name="connsiteY1" fmla="*/ 0 h 79076"/>
                  <a:gd name="connsiteX2" fmla="*/ 94391 w 94390"/>
                  <a:gd name="connsiteY2" fmla="*/ 25187 h 79076"/>
                  <a:gd name="connsiteX3" fmla="*/ 94391 w 94390"/>
                  <a:gd name="connsiteY3" fmla="*/ 79076 h 790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4390" h="79076">
                    <a:moveTo>
                      <a:pt x="0" y="0"/>
                    </a:moveTo>
                    <a:lnTo>
                      <a:pt x="69204" y="0"/>
                    </a:lnTo>
                    <a:cubicBezTo>
                      <a:pt x="83074" y="0"/>
                      <a:pt x="94391" y="11317"/>
                      <a:pt x="94391" y="25187"/>
                    </a:cubicBezTo>
                    <a:lnTo>
                      <a:pt x="94391" y="79076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047" name="Forma livre: Forma 2046">
                <a:extLst>
                  <a:ext uri="{FF2B5EF4-FFF2-40B4-BE49-F238E27FC236}">
                    <a16:creationId xmlns:a16="http://schemas.microsoft.com/office/drawing/2014/main" id="{D46267A1-7AEE-3AB0-742F-F5C376D8B158}"/>
                  </a:ext>
                </a:extLst>
              </p:cNvPr>
              <p:cNvSpPr/>
              <p:nvPr/>
            </p:nvSpPr>
            <p:spPr>
              <a:xfrm>
                <a:off x="5258390" y="4283207"/>
                <a:ext cx="56827" cy="28220"/>
              </a:xfrm>
              <a:custGeom>
                <a:avLst/>
                <a:gdLst>
                  <a:gd name="connsiteX0" fmla="*/ 0 w 56827"/>
                  <a:gd name="connsiteY0" fmla="*/ 0 h 28220"/>
                  <a:gd name="connsiteX1" fmla="*/ 28414 w 56827"/>
                  <a:gd name="connsiteY1" fmla="*/ 28221 h 28220"/>
                  <a:gd name="connsiteX2" fmla="*/ 56827 w 56827"/>
                  <a:gd name="connsiteY2" fmla="*/ 0 h 282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56827" h="28220">
                    <a:moveTo>
                      <a:pt x="0" y="0"/>
                    </a:moveTo>
                    <a:lnTo>
                      <a:pt x="28414" y="28221"/>
                    </a:lnTo>
                    <a:lnTo>
                      <a:pt x="56827" y="0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2048" name="Gráfico 19">
            <a:extLst>
              <a:ext uri="{FF2B5EF4-FFF2-40B4-BE49-F238E27FC236}">
                <a16:creationId xmlns:a16="http://schemas.microsoft.com/office/drawing/2014/main" id="{1EAD02A3-9505-C83F-28EE-FFBC3644B469}"/>
              </a:ext>
            </a:extLst>
          </p:cNvPr>
          <p:cNvGrpSpPr/>
          <p:nvPr/>
        </p:nvGrpSpPr>
        <p:grpSpPr>
          <a:xfrm>
            <a:off x="5678333" y="3680406"/>
            <a:ext cx="310237" cy="227838"/>
            <a:chOff x="5678333" y="3680406"/>
            <a:chExt cx="310237" cy="227838"/>
          </a:xfrm>
        </p:grpSpPr>
        <p:grpSp>
          <p:nvGrpSpPr>
            <p:cNvPr id="2049" name="Gráfico 19">
              <a:extLst>
                <a:ext uri="{FF2B5EF4-FFF2-40B4-BE49-F238E27FC236}">
                  <a16:creationId xmlns:a16="http://schemas.microsoft.com/office/drawing/2014/main" id="{B4E560E9-9608-80BF-BCC9-D523E449E07B}"/>
                </a:ext>
              </a:extLst>
            </p:cNvPr>
            <p:cNvGrpSpPr/>
            <p:nvPr/>
          </p:nvGrpSpPr>
          <p:grpSpPr>
            <a:xfrm>
              <a:off x="5718400" y="3773834"/>
              <a:ext cx="116254" cy="102674"/>
              <a:chOff x="5718400" y="3773834"/>
              <a:chExt cx="116254" cy="102674"/>
            </a:xfrm>
            <a:noFill/>
          </p:grpSpPr>
          <p:sp>
            <p:nvSpPr>
              <p:cNvPr id="2050" name="Forma livre: Forma 2049">
                <a:extLst>
                  <a:ext uri="{FF2B5EF4-FFF2-40B4-BE49-F238E27FC236}">
                    <a16:creationId xmlns:a16="http://schemas.microsoft.com/office/drawing/2014/main" id="{C3609A4B-0131-83C8-2E90-E480ABA53050}"/>
                  </a:ext>
                </a:extLst>
              </p:cNvPr>
              <p:cNvSpPr/>
              <p:nvPr/>
            </p:nvSpPr>
            <p:spPr>
              <a:xfrm>
                <a:off x="5718400" y="3773834"/>
                <a:ext cx="116254" cy="50566"/>
              </a:xfrm>
              <a:custGeom>
                <a:avLst/>
                <a:gdLst>
                  <a:gd name="connsiteX0" fmla="*/ 0 w 116254"/>
                  <a:gd name="connsiteY0" fmla="*/ 50566 h 50566"/>
                  <a:gd name="connsiteX1" fmla="*/ 57983 w 116254"/>
                  <a:gd name="connsiteY1" fmla="*/ 0 h 50566"/>
                  <a:gd name="connsiteX2" fmla="*/ 116255 w 116254"/>
                  <a:gd name="connsiteY2" fmla="*/ 50566 h 505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16254" h="50566">
                    <a:moveTo>
                      <a:pt x="0" y="50566"/>
                    </a:moveTo>
                    <a:lnTo>
                      <a:pt x="57983" y="0"/>
                    </a:lnTo>
                    <a:lnTo>
                      <a:pt x="116255" y="50566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051" name="Forma livre: Forma 2050">
                <a:extLst>
                  <a:ext uri="{FF2B5EF4-FFF2-40B4-BE49-F238E27FC236}">
                    <a16:creationId xmlns:a16="http://schemas.microsoft.com/office/drawing/2014/main" id="{7002A85B-AD7C-B99B-DDFA-39EDCF4931B9}"/>
                  </a:ext>
                </a:extLst>
              </p:cNvPr>
              <p:cNvSpPr/>
              <p:nvPr/>
            </p:nvSpPr>
            <p:spPr>
              <a:xfrm>
                <a:off x="5763862" y="3843471"/>
                <a:ext cx="25331" cy="33036"/>
              </a:xfrm>
              <a:custGeom>
                <a:avLst/>
                <a:gdLst>
                  <a:gd name="connsiteX0" fmla="*/ 25331 w 25331"/>
                  <a:gd name="connsiteY0" fmla="*/ 33037 h 33036"/>
                  <a:gd name="connsiteX1" fmla="*/ 25331 w 25331"/>
                  <a:gd name="connsiteY1" fmla="*/ 0 h 33036"/>
                  <a:gd name="connsiteX2" fmla="*/ 0 w 25331"/>
                  <a:gd name="connsiteY2" fmla="*/ 0 h 33036"/>
                  <a:gd name="connsiteX3" fmla="*/ 0 w 25331"/>
                  <a:gd name="connsiteY3" fmla="*/ 33037 h 330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5331" h="33036">
                    <a:moveTo>
                      <a:pt x="25331" y="33037"/>
                    </a:moveTo>
                    <a:lnTo>
                      <a:pt x="25331" y="0"/>
                    </a:lnTo>
                    <a:lnTo>
                      <a:pt x="0" y="0"/>
                    </a:lnTo>
                    <a:lnTo>
                      <a:pt x="0" y="33037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2052" name="Gráfico 19">
                <a:extLst>
                  <a:ext uri="{FF2B5EF4-FFF2-40B4-BE49-F238E27FC236}">
                    <a16:creationId xmlns:a16="http://schemas.microsoft.com/office/drawing/2014/main" id="{98799ED9-C60B-0082-01FC-9167BBB695D7}"/>
                  </a:ext>
                </a:extLst>
              </p:cNvPr>
              <p:cNvGrpSpPr/>
              <p:nvPr/>
            </p:nvGrpSpPr>
            <p:grpSpPr>
              <a:xfrm>
                <a:off x="5734967" y="3811350"/>
                <a:ext cx="83121" cy="65158"/>
                <a:chOff x="5734967" y="3811350"/>
                <a:chExt cx="83121" cy="65158"/>
              </a:xfrm>
            </p:grpSpPr>
            <p:sp>
              <p:nvSpPr>
                <p:cNvPr id="2053" name="Forma livre: Forma 2052">
                  <a:extLst>
                    <a:ext uri="{FF2B5EF4-FFF2-40B4-BE49-F238E27FC236}">
                      <a16:creationId xmlns:a16="http://schemas.microsoft.com/office/drawing/2014/main" id="{37D00EDB-737A-FA56-2C06-173C150F0475}"/>
                    </a:ext>
                  </a:extLst>
                </p:cNvPr>
                <p:cNvSpPr/>
                <p:nvPr/>
              </p:nvSpPr>
              <p:spPr>
                <a:xfrm>
                  <a:off x="5734967" y="3811350"/>
                  <a:ext cx="4815" cy="65158"/>
                </a:xfrm>
                <a:custGeom>
                  <a:avLst/>
                  <a:gdLst>
                    <a:gd name="connsiteX0" fmla="*/ 0 w 4815"/>
                    <a:gd name="connsiteY0" fmla="*/ 65159 h 65158"/>
                    <a:gd name="connsiteX1" fmla="*/ 0 w 4815"/>
                    <a:gd name="connsiteY1" fmla="*/ 0 h 6515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815" h="65158">
                      <a:moveTo>
                        <a:pt x="0" y="65159"/>
                      </a:moveTo>
                      <a:lnTo>
                        <a:pt x="0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054" name="Forma livre: Forma 2053">
                  <a:extLst>
                    <a:ext uri="{FF2B5EF4-FFF2-40B4-BE49-F238E27FC236}">
                      <a16:creationId xmlns:a16="http://schemas.microsoft.com/office/drawing/2014/main" id="{4DB55C45-5A3E-9FDC-89C6-3B75E2B8F31D}"/>
                    </a:ext>
                  </a:extLst>
                </p:cNvPr>
                <p:cNvSpPr/>
                <p:nvPr/>
              </p:nvSpPr>
              <p:spPr>
                <a:xfrm>
                  <a:off x="5818089" y="3811927"/>
                  <a:ext cx="4815" cy="64580"/>
                </a:xfrm>
                <a:custGeom>
                  <a:avLst/>
                  <a:gdLst>
                    <a:gd name="connsiteX0" fmla="*/ 0 w 4815"/>
                    <a:gd name="connsiteY0" fmla="*/ 0 h 64580"/>
                    <a:gd name="connsiteX1" fmla="*/ 0 w 4815"/>
                    <a:gd name="connsiteY1" fmla="*/ 64581 h 645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815" h="64580">
                      <a:moveTo>
                        <a:pt x="0" y="0"/>
                      </a:moveTo>
                      <a:lnTo>
                        <a:pt x="0" y="64581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grpSp>
          <p:nvGrpSpPr>
            <p:cNvPr id="2055" name="Gráfico 19">
              <a:extLst>
                <a:ext uri="{FF2B5EF4-FFF2-40B4-BE49-F238E27FC236}">
                  <a16:creationId xmlns:a16="http://schemas.microsoft.com/office/drawing/2014/main" id="{3B407AAA-510C-56E7-E363-458A913E935B}"/>
                </a:ext>
              </a:extLst>
            </p:cNvPr>
            <p:cNvGrpSpPr/>
            <p:nvPr/>
          </p:nvGrpSpPr>
          <p:grpSpPr>
            <a:xfrm>
              <a:off x="5678333" y="3680406"/>
              <a:ext cx="310237" cy="227838"/>
              <a:chOff x="5678333" y="3680406"/>
              <a:chExt cx="310237" cy="227838"/>
            </a:xfrm>
          </p:grpSpPr>
          <p:sp>
            <p:nvSpPr>
              <p:cNvPr id="2056" name="Forma livre: Forma 2055">
                <a:extLst>
                  <a:ext uri="{FF2B5EF4-FFF2-40B4-BE49-F238E27FC236}">
                    <a16:creationId xmlns:a16="http://schemas.microsoft.com/office/drawing/2014/main" id="{20961C71-2C86-C38B-783A-1BC926E28103}"/>
                  </a:ext>
                </a:extLst>
              </p:cNvPr>
              <p:cNvSpPr/>
              <p:nvPr/>
            </p:nvSpPr>
            <p:spPr>
              <a:xfrm>
                <a:off x="5700052" y="3736752"/>
                <a:ext cx="266750" cy="4815"/>
              </a:xfrm>
              <a:custGeom>
                <a:avLst/>
                <a:gdLst>
                  <a:gd name="connsiteX0" fmla="*/ 0 w 266750"/>
                  <a:gd name="connsiteY0" fmla="*/ 0 h 4815"/>
                  <a:gd name="connsiteX1" fmla="*/ 266750 w 266750"/>
                  <a:gd name="connsiteY1" fmla="*/ 0 h 48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66750" h="4815">
                    <a:moveTo>
                      <a:pt x="0" y="0"/>
                    </a:moveTo>
                    <a:lnTo>
                      <a:pt x="26675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2057" name="Gráfico 19">
                <a:extLst>
                  <a:ext uri="{FF2B5EF4-FFF2-40B4-BE49-F238E27FC236}">
                    <a16:creationId xmlns:a16="http://schemas.microsoft.com/office/drawing/2014/main" id="{3BB8B9F2-522E-297F-19D3-2C41B36250D7}"/>
                  </a:ext>
                </a:extLst>
              </p:cNvPr>
              <p:cNvGrpSpPr/>
              <p:nvPr/>
            </p:nvGrpSpPr>
            <p:grpSpPr>
              <a:xfrm>
                <a:off x="5714644" y="3705642"/>
                <a:ext cx="79269" cy="7512"/>
                <a:chOff x="5714644" y="3705642"/>
                <a:chExt cx="79269" cy="7512"/>
              </a:xfrm>
              <a:solidFill>
                <a:srgbClr val="3A4553"/>
              </a:solidFill>
            </p:grpSpPr>
            <p:sp>
              <p:nvSpPr>
                <p:cNvPr id="2058" name="Forma livre: Forma 2057">
                  <a:extLst>
                    <a:ext uri="{FF2B5EF4-FFF2-40B4-BE49-F238E27FC236}">
                      <a16:creationId xmlns:a16="http://schemas.microsoft.com/office/drawing/2014/main" id="{9B64D84A-2282-0D5C-F647-B23C34D106CA}"/>
                    </a:ext>
                  </a:extLst>
                </p:cNvPr>
                <p:cNvSpPr/>
                <p:nvPr/>
              </p:nvSpPr>
              <p:spPr>
                <a:xfrm>
                  <a:off x="5714644" y="3705642"/>
                  <a:ext cx="7512" cy="7512"/>
                </a:xfrm>
                <a:custGeom>
                  <a:avLst/>
                  <a:gdLst>
                    <a:gd name="connsiteX0" fmla="*/ 7513 w 7512"/>
                    <a:gd name="connsiteY0" fmla="*/ 3756 h 7512"/>
                    <a:gd name="connsiteX1" fmla="*/ 3756 w 7512"/>
                    <a:gd name="connsiteY1" fmla="*/ 7513 h 7512"/>
                    <a:gd name="connsiteX2" fmla="*/ 0 w 7512"/>
                    <a:gd name="connsiteY2" fmla="*/ 3756 h 7512"/>
                    <a:gd name="connsiteX3" fmla="*/ 3756 w 7512"/>
                    <a:gd name="connsiteY3" fmla="*/ 0 h 7512"/>
                    <a:gd name="connsiteX4" fmla="*/ 7513 w 7512"/>
                    <a:gd name="connsiteY4" fmla="*/ 3756 h 751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7512" h="7512">
                      <a:moveTo>
                        <a:pt x="7513" y="3756"/>
                      </a:moveTo>
                      <a:cubicBezTo>
                        <a:pt x="7513" y="5827"/>
                        <a:pt x="5827" y="7513"/>
                        <a:pt x="3756" y="7513"/>
                      </a:cubicBezTo>
                      <a:cubicBezTo>
                        <a:pt x="1686" y="7513"/>
                        <a:pt x="0" y="5827"/>
                        <a:pt x="0" y="3756"/>
                      </a:cubicBezTo>
                      <a:cubicBezTo>
                        <a:pt x="0" y="1686"/>
                        <a:pt x="1686" y="0"/>
                        <a:pt x="3756" y="0"/>
                      </a:cubicBezTo>
                      <a:cubicBezTo>
                        <a:pt x="5827" y="0"/>
                        <a:pt x="7513" y="1686"/>
                        <a:pt x="7513" y="3756"/>
                      </a:cubicBezTo>
                      <a:close/>
                    </a:path>
                  </a:pathLst>
                </a:custGeom>
                <a:solidFill>
                  <a:srgbClr val="3A4553"/>
                </a:solidFill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059" name="Forma livre: Forma 2058">
                  <a:extLst>
                    <a:ext uri="{FF2B5EF4-FFF2-40B4-BE49-F238E27FC236}">
                      <a16:creationId xmlns:a16="http://schemas.microsoft.com/office/drawing/2014/main" id="{32C7D9F9-FE3B-2EEA-E6B3-978FB2F77C3D}"/>
                    </a:ext>
                  </a:extLst>
                </p:cNvPr>
                <p:cNvSpPr/>
                <p:nvPr/>
              </p:nvSpPr>
              <p:spPr>
                <a:xfrm>
                  <a:off x="5750522" y="3705642"/>
                  <a:ext cx="7512" cy="7512"/>
                </a:xfrm>
                <a:custGeom>
                  <a:avLst/>
                  <a:gdLst>
                    <a:gd name="connsiteX0" fmla="*/ 7513 w 7512"/>
                    <a:gd name="connsiteY0" fmla="*/ 3756 h 7512"/>
                    <a:gd name="connsiteX1" fmla="*/ 3756 w 7512"/>
                    <a:gd name="connsiteY1" fmla="*/ 7513 h 7512"/>
                    <a:gd name="connsiteX2" fmla="*/ 0 w 7512"/>
                    <a:gd name="connsiteY2" fmla="*/ 3756 h 7512"/>
                    <a:gd name="connsiteX3" fmla="*/ 3756 w 7512"/>
                    <a:gd name="connsiteY3" fmla="*/ 0 h 7512"/>
                    <a:gd name="connsiteX4" fmla="*/ 7513 w 7512"/>
                    <a:gd name="connsiteY4" fmla="*/ 3756 h 751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7512" h="7512">
                      <a:moveTo>
                        <a:pt x="7513" y="3756"/>
                      </a:moveTo>
                      <a:cubicBezTo>
                        <a:pt x="7513" y="5831"/>
                        <a:pt x="5831" y="7513"/>
                        <a:pt x="3756" y="7513"/>
                      </a:cubicBezTo>
                      <a:cubicBezTo>
                        <a:pt x="1682" y="7513"/>
                        <a:pt x="0" y="5831"/>
                        <a:pt x="0" y="3756"/>
                      </a:cubicBezTo>
                      <a:cubicBezTo>
                        <a:pt x="0" y="1682"/>
                        <a:pt x="1682" y="0"/>
                        <a:pt x="3756" y="0"/>
                      </a:cubicBezTo>
                      <a:cubicBezTo>
                        <a:pt x="5831" y="0"/>
                        <a:pt x="7513" y="1682"/>
                        <a:pt x="7513" y="3756"/>
                      </a:cubicBezTo>
                      <a:close/>
                    </a:path>
                  </a:pathLst>
                </a:custGeom>
                <a:solidFill>
                  <a:srgbClr val="3A4553"/>
                </a:solidFill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060" name="Forma livre: Forma 2059">
                  <a:extLst>
                    <a:ext uri="{FF2B5EF4-FFF2-40B4-BE49-F238E27FC236}">
                      <a16:creationId xmlns:a16="http://schemas.microsoft.com/office/drawing/2014/main" id="{1CAE80AB-538A-C18B-912D-702C2FB7DC3E}"/>
                    </a:ext>
                  </a:extLst>
                </p:cNvPr>
                <p:cNvSpPr/>
                <p:nvPr/>
              </p:nvSpPr>
              <p:spPr>
                <a:xfrm>
                  <a:off x="5786400" y="3705642"/>
                  <a:ext cx="7512" cy="7512"/>
                </a:xfrm>
                <a:custGeom>
                  <a:avLst/>
                  <a:gdLst>
                    <a:gd name="connsiteX0" fmla="*/ 7513 w 7512"/>
                    <a:gd name="connsiteY0" fmla="*/ 3756 h 7512"/>
                    <a:gd name="connsiteX1" fmla="*/ 3756 w 7512"/>
                    <a:gd name="connsiteY1" fmla="*/ 7513 h 7512"/>
                    <a:gd name="connsiteX2" fmla="*/ 0 w 7512"/>
                    <a:gd name="connsiteY2" fmla="*/ 3756 h 7512"/>
                    <a:gd name="connsiteX3" fmla="*/ 3756 w 7512"/>
                    <a:gd name="connsiteY3" fmla="*/ 0 h 7512"/>
                    <a:gd name="connsiteX4" fmla="*/ 7513 w 7512"/>
                    <a:gd name="connsiteY4" fmla="*/ 3756 h 751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7512" h="7512">
                      <a:moveTo>
                        <a:pt x="7513" y="3756"/>
                      </a:moveTo>
                      <a:cubicBezTo>
                        <a:pt x="7513" y="5831"/>
                        <a:pt x="5831" y="7513"/>
                        <a:pt x="3756" y="7513"/>
                      </a:cubicBezTo>
                      <a:cubicBezTo>
                        <a:pt x="1682" y="7513"/>
                        <a:pt x="0" y="5831"/>
                        <a:pt x="0" y="3756"/>
                      </a:cubicBezTo>
                      <a:cubicBezTo>
                        <a:pt x="0" y="1682"/>
                        <a:pt x="1682" y="0"/>
                        <a:pt x="3756" y="0"/>
                      </a:cubicBezTo>
                      <a:cubicBezTo>
                        <a:pt x="5831" y="0"/>
                        <a:pt x="7513" y="1682"/>
                        <a:pt x="7513" y="3756"/>
                      </a:cubicBezTo>
                      <a:close/>
                    </a:path>
                  </a:pathLst>
                </a:custGeom>
                <a:solidFill>
                  <a:srgbClr val="3A4553"/>
                </a:solidFill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2061" name="Forma livre: Forma 2060">
                <a:extLst>
                  <a:ext uri="{FF2B5EF4-FFF2-40B4-BE49-F238E27FC236}">
                    <a16:creationId xmlns:a16="http://schemas.microsoft.com/office/drawing/2014/main" id="{50BFFEE3-2560-798F-F725-73CBEFA0DFC5}"/>
                  </a:ext>
                </a:extLst>
              </p:cNvPr>
              <p:cNvSpPr/>
              <p:nvPr/>
            </p:nvSpPr>
            <p:spPr>
              <a:xfrm>
                <a:off x="5678333" y="3680406"/>
                <a:ext cx="310237" cy="227838"/>
              </a:xfrm>
              <a:custGeom>
                <a:avLst/>
                <a:gdLst>
                  <a:gd name="connsiteX0" fmla="*/ 293045 w 310237"/>
                  <a:gd name="connsiteY0" fmla="*/ 0 h 227838"/>
                  <a:gd name="connsiteX1" fmla="*/ 310237 w 310237"/>
                  <a:gd name="connsiteY1" fmla="*/ 17193 h 227838"/>
                  <a:gd name="connsiteX2" fmla="*/ 310237 w 310237"/>
                  <a:gd name="connsiteY2" fmla="*/ 210646 h 227838"/>
                  <a:gd name="connsiteX3" fmla="*/ 293045 w 310237"/>
                  <a:gd name="connsiteY3" fmla="*/ 227838 h 227838"/>
                  <a:gd name="connsiteX4" fmla="*/ 17193 w 310237"/>
                  <a:gd name="connsiteY4" fmla="*/ 227838 h 227838"/>
                  <a:gd name="connsiteX5" fmla="*/ 0 w 310237"/>
                  <a:gd name="connsiteY5" fmla="*/ 210646 h 227838"/>
                  <a:gd name="connsiteX6" fmla="*/ 0 w 310237"/>
                  <a:gd name="connsiteY6" fmla="*/ 17193 h 227838"/>
                  <a:gd name="connsiteX7" fmla="*/ 17193 w 310237"/>
                  <a:gd name="connsiteY7" fmla="*/ 0 h 2278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10237" h="227838">
                    <a:moveTo>
                      <a:pt x="293045" y="0"/>
                    </a:moveTo>
                    <a:cubicBezTo>
                      <a:pt x="302540" y="0"/>
                      <a:pt x="310237" y="7697"/>
                      <a:pt x="310237" y="17193"/>
                    </a:cubicBezTo>
                    <a:lnTo>
                      <a:pt x="310237" y="210646"/>
                    </a:lnTo>
                    <a:cubicBezTo>
                      <a:pt x="310237" y="220141"/>
                      <a:pt x="302540" y="227838"/>
                      <a:pt x="293045" y="227838"/>
                    </a:cubicBezTo>
                    <a:lnTo>
                      <a:pt x="17193" y="227838"/>
                    </a:lnTo>
                    <a:cubicBezTo>
                      <a:pt x="7697" y="227838"/>
                      <a:pt x="0" y="220141"/>
                      <a:pt x="0" y="210646"/>
                    </a:cubicBezTo>
                    <a:lnTo>
                      <a:pt x="0" y="17193"/>
                    </a:lnTo>
                    <a:cubicBezTo>
                      <a:pt x="0" y="7697"/>
                      <a:pt x="7697" y="0"/>
                      <a:pt x="17193" y="0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2062" name="Forma livre: Forma 2061">
              <a:extLst>
                <a:ext uri="{FF2B5EF4-FFF2-40B4-BE49-F238E27FC236}">
                  <a16:creationId xmlns:a16="http://schemas.microsoft.com/office/drawing/2014/main" id="{3EE5AC6F-B201-6984-F3EB-E53FFCCC9F3D}"/>
                </a:ext>
              </a:extLst>
            </p:cNvPr>
            <p:cNvSpPr/>
            <p:nvPr/>
          </p:nvSpPr>
          <p:spPr>
            <a:xfrm>
              <a:off x="5864273" y="3774412"/>
              <a:ext cx="86685" cy="4815"/>
            </a:xfrm>
            <a:custGeom>
              <a:avLst/>
              <a:gdLst>
                <a:gd name="connsiteX0" fmla="*/ 0 w 86685"/>
                <a:gd name="connsiteY0" fmla="*/ 0 h 4815"/>
                <a:gd name="connsiteX1" fmla="*/ 86685 w 86685"/>
                <a:gd name="connsiteY1" fmla="*/ 0 h 48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6685" h="4815">
                  <a:moveTo>
                    <a:pt x="0" y="0"/>
                  </a:moveTo>
                  <a:lnTo>
                    <a:pt x="86685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63" name="Forma livre: Forma 2062">
              <a:extLst>
                <a:ext uri="{FF2B5EF4-FFF2-40B4-BE49-F238E27FC236}">
                  <a16:creationId xmlns:a16="http://schemas.microsoft.com/office/drawing/2014/main" id="{A5B6DD55-3AB9-BAE4-0A96-806F40208123}"/>
                </a:ext>
              </a:extLst>
            </p:cNvPr>
            <p:cNvSpPr/>
            <p:nvPr/>
          </p:nvSpPr>
          <p:spPr>
            <a:xfrm>
              <a:off x="5864273" y="3805908"/>
              <a:ext cx="86685" cy="4815"/>
            </a:xfrm>
            <a:custGeom>
              <a:avLst/>
              <a:gdLst>
                <a:gd name="connsiteX0" fmla="*/ 0 w 86685"/>
                <a:gd name="connsiteY0" fmla="*/ 0 h 4815"/>
                <a:gd name="connsiteX1" fmla="*/ 86685 w 86685"/>
                <a:gd name="connsiteY1" fmla="*/ 0 h 48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6685" h="4815">
                  <a:moveTo>
                    <a:pt x="0" y="0"/>
                  </a:moveTo>
                  <a:lnTo>
                    <a:pt x="86685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64" name="Forma livre: Forma 2063">
              <a:extLst>
                <a:ext uri="{FF2B5EF4-FFF2-40B4-BE49-F238E27FC236}">
                  <a16:creationId xmlns:a16="http://schemas.microsoft.com/office/drawing/2014/main" id="{04B5862E-2A22-C159-9232-3F88A8BA7185}"/>
                </a:ext>
              </a:extLst>
            </p:cNvPr>
            <p:cNvSpPr/>
            <p:nvPr/>
          </p:nvSpPr>
          <p:spPr>
            <a:xfrm>
              <a:off x="5864273" y="3837403"/>
              <a:ext cx="86685" cy="4815"/>
            </a:xfrm>
            <a:custGeom>
              <a:avLst/>
              <a:gdLst>
                <a:gd name="connsiteX0" fmla="*/ 0 w 86685"/>
                <a:gd name="connsiteY0" fmla="*/ 0 h 4815"/>
                <a:gd name="connsiteX1" fmla="*/ 86685 w 86685"/>
                <a:gd name="connsiteY1" fmla="*/ 0 h 48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6685" h="4815">
                  <a:moveTo>
                    <a:pt x="0" y="0"/>
                  </a:moveTo>
                  <a:lnTo>
                    <a:pt x="86685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65" name="Forma livre: Forma 2064">
              <a:extLst>
                <a:ext uri="{FF2B5EF4-FFF2-40B4-BE49-F238E27FC236}">
                  <a16:creationId xmlns:a16="http://schemas.microsoft.com/office/drawing/2014/main" id="{015CF0F8-C632-65EC-F83A-2D31F5036E45}"/>
                </a:ext>
              </a:extLst>
            </p:cNvPr>
            <p:cNvSpPr/>
            <p:nvPr/>
          </p:nvSpPr>
          <p:spPr>
            <a:xfrm>
              <a:off x="5864273" y="3868899"/>
              <a:ext cx="86685" cy="4815"/>
            </a:xfrm>
            <a:custGeom>
              <a:avLst/>
              <a:gdLst>
                <a:gd name="connsiteX0" fmla="*/ 0 w 86685"/>
                <a:gd name="connsiteY0" fmla="*/ 0 h 4815"/>
                <a:gd name="connsiteX1" fmla="*/ 86685 w 86685"/>
                <a:gd name="connsiteY1" fmla="*/ 0 h 48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6685" h="4815">
                  <a:moveTo>
                    <a:pt x="0" y="0"/>
                  </a:moveTo>
                  <a:lnTo>
                    <a:pt x="86685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2066" name="Gráfico 19">
            <a:extLst>
              <a:ext uri="{FF2B5EF4-FFF2-40B4-BE49-F238E27FC236}">
                <a16:creationId xmlns:a16="http://schemas.microsoft.com/office/drawing/2014/main" id="{283F0417-0149-B472-52A0-22C9CEAA4702}"/>
              </a:ext>
            </a:extLst>
          </p:cNvPr>
          <p:cNvGrpSpPr/>
          <p:nvPr/>
        </p:nvGrpSpPr>
        <p:grpSpPr>
          <a:xfrm>
            <a:off x="5717834" y="5834057"/>
            <a:ext cx="231198" cy="275370"/>
            <a:chOff x="5717834" y="5834057"/>
            <a:chExt cx="231198" cy="275370"/>
          </a:xfrm>
          <a:noFill/>
        </p:grpSpPr>
        <p:grpSp>
          <p:nvGrpSpPr>
            <p:cNvPr id="2067" name="Gráfico 19">
              <a:extLst>
                <a:ext uri="{FF2B5EF4-FFF2-40B4-BE49-F238E27FC236}">
                  <a16:creationId xmlns:a16="http://schemas.microsoft.com/office/drawing/2014/main" id="{5B8A07F6-9E85-5DAB-18AC-F448E02564E1}"/>
                </a:ext>
              </a:extLst>
            </p:cNvPr>
            <p:cNvGrpSpPr/>
            <p:nvPr/>
          </p:nvGrpSpPr>
          <p:grpSpPr>
            <a:xfrm>
              <a:off x="5717834" y="5932493"/>
              <a:ext cx="142909" cy="176934"/>
              <a:chOff x="5717834" y="5932493"/>
              <a:chExt cx="142909" cy="176934"/>
            </a:xfrm>
            <a:noFill/>
          </p:grpSpPr>
          <p:sp>
            <p:nvSpPr>
              <p:cNvPr id="2068" name="Forma livre: Forma 2067">
                <a:extLst>
                  <a:ext uri="{FF2B5EF4-FFF2-40B4-BE49-F238E27FC236}">
                    <a16:creationId xmlns:a16="http://schemas.microsoft.com/office/drawing/2014/main" id="{2FDC8624-F1E9-7074-385B-72737C8B2CD4}"/>
                  </a:ext>
                </a:extLst>
              </p:cNvPr>
              <p:cNvSpPr/>
              <p:nvPr/>
            </p:nvSpPr>
            <p:spPr>
              <a:xfrm>
                <a:off x="5764488" y="5966310"/>
                <a:ext cx="96254" cy="143117"/>
              </a:xfrm>
              <a:custGeom>
                <a:avLst/>
                <a:gdLst>
                  <a:gd name="connsiteX0" fmla="*/ 0 w 96254"/>
                  <a:gd name="connsiteY0" fmla="*/ 68954 h 143117"/>
                  <a:gd name="connsiteX1" fmla="*/ 55960 w 96254"/>
                  <a:gd name="connsiteY1" fmla="*/ 8900 h 143117"/>
                  <a:gd name="connsiteX2" fmla="*/ 89142 w 96254"/>
                  <a:gd name="connsiteY2" fmla="*/ 4566 h 143117"/>
                  <a:gd name="connsiteX3" fmla="*/ 90972 w 96254"/>
                  <a:gd name="connsiteY3" fmla="*/ 38903 h 143117"/>
                  <a:gd name="connsiteX4" fmla="*/ 20660 w 96254"/>
                  <a:gd name="connsiteY4" fmla="*/ 143118 h 1431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96254" h="143117">
                    <a:moveTo>
                      <a:pt x="0" y="68954"/>
                    </a:moveTo>
                    <a:lnTo>
                      <a:pt x="55960" y="8900"/>
                    </a:lnTo>
                    <a:cubicBezTo>
                      <a:pt x="65496" y="-972"/>
                      <a:pt x="80473" y="-2947"/>
                      <a:pt x="89142" y="4566"/>
                    </a:cubicBezTo>
                    <a:cubicBezTo>
                      <a:pt x="97858" y="12030"/>
                      <a:pt x="98677" y="27489"/>
                      <a:pt x="90972" y="38903"/>
                    </a:cubicBezTo>
                    <a:lnTo>
                      <a:pt x="20660" y="143118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069" name="Forma livre: Forma 2068">
                <a:extLst>
                  <a:ext uri="{FF2B5EF4-FFF2-40B4-BE49-F238E27FC236}">
                    <a16:creationId xmlns:a16="http://schemas.microsoft.com/office/drawing/2014/main" id="{8A666750-67AF-09FE-FB4C-22AB731B07BA}"/>
                  </a:ext>
                </a:extLst>
              </p:cNvPr>
              <p:cNvSpPr/>
              <p:nvPr/>
            </p:nvSpPr>
            <p:spPr>
              <a:xfrm>
                <a:off x="5717834" y="5932493"/>
                <a:ext cx="71793" cy="176693"/>
              </a:xfrm>
              <a:custGeom>
                <a:avLst/>
                <a:gdLst>
                  <a:gd name="connsiteX0" fmla="*/ 71793 w 71793"/>
                  <a:gd name="connsiteY0" fmla="*/ 0 h 176693"/>
                  <a:gd name="connsiteX1" fmla="*/ 374 w 71793"/>
                  <a:gd name="connsiteY1" fmla="*/ 69011 h 176693"/>
                  <a:gd name="connsiteX2" fmla="*/ 2734 w 71793"/>
                  <a:gd name="connsiteY2" fmla="*/ 176694 h 1766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71793" h="176693">
                    <a:moveTo>
                      <a:pt x="71793" y="0"/>
                    </a:moveTo>
                    <a:cubicBezTo>
                      <a:pt x="59465" y="10595"/>
                      <a:pt x="1819" y="60439"/>
                      <a:pt x="374" y="69011"/>
                    </a:cubicBezTo>
                    <a:cubicBezTo>
                      <a:pt x="-974" y="76813"/>
                      <a:pt x="1675" y="148714"/>
                      <a:pt x="2734" y="176694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2070" name="Forma livre: Forma 2069">
              <a:extLst>
                <a:ext uri="{FF2B5EF4-FFF2-40B4-BE49-F238E27FC236}">
                  <a16:creationId xmlns:a16="http://schemas.microsoft.com/office/drawing/2014/main" id="{8B6CDA7A-0433-774C-33F3-31B3C18F986D}"/>
                </a:ext>
              </a:extLst>
            </p:cNvPr>
            <p:cNvSpPr/>
            <p:nvPr/>
          </p:nvSpPr>
          <p:spPr>
            <a:xfrm>
              <a:off x="5790060" y="5834057"/>
              <a:ext cx="158971" cy="246138"/>
            </a:xfrm>
            <a:custGeom>
              <a:avLst/>
              <a:gdLst>
                <a:gd name="connsiteX0" fmla="*/ 40646 w 158971"/>
                <a:gd name="connsiteY0" fmla="*/ 246138 h 246138"/>
                <a:gd name="connsiteX1" fmla="*/ 158971 w 158971"/>
                <a:gd name="connsiteY1" fmla="*/ 246138 h 246138"/>
                <a:gd name="connsiteX2" fmla="*/ 158971 w 158971"/>
                <a:gd name="connsiteY2" fmla="*/ 0 h 246138"/>
                <a:gd name="connsiteX3" fmla="*/ 0 w 158971"/>
                <a:gd name="connsiteY3" fmla="*/ 0 h 246138"/>
                <a:gd name="connsiteX4" fmla="*/ 0 w 158971"/>
                <a:gd name="connsiteY4" fmla="*/ 173082 h 246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8971" h="246138">
                  <a:moveTo>
                    <a:pt x="40646" y="246138"/>
                  </a:moveTo>
                  <a:lnTo>
                    <a:pt x="158971" y="246138"/>
                  </a:lnTo>
                  <a:lnTo>
                    <a:pt x="158971" y="0"/>
                  </a:lnTo>
                  <a:lnTo>
                    <a:pt x="0" y="0"/>
                  </a:lnTo>
                  <a:lnTo>
                    <a:pt x="0" y="173082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2071" name="Gráfico 19">
              <a:extLst>
                <a:ext uri="{FF2B5EF4-FFF2-40B4-BE49-F238E27FC236}">
                  <a16:creationId xmlns:a16="http://schemas.microsoft.com/office/drawing/2014/main" id="{E2E028FD-C867-03E4-4D21-C0ACCCCA3C10}"/>
                </a:ext>
              </a:extLst>
            </p:cNvPr>
            <p:cNvGrpSpPr/>
            <p:nvPr/>
          </p:nvGrpSpPr>
          <p:grpSpPr>
            <a:xfrm>
              <a:off x="5823675" y="5867623"/>
              <a:ext cx="91742" cy="77920"/>
              <a:chOff x="5823675" y="5867623"/>
              <a:chExt cx="91742" cy="77920"/>
            </a:xfrm>
            <a:noFill/>
          </p:grpSpPr>
          <p:grpSp>
            <p:nvGrpSpPr>
              <p:cNvPr id="2072" name="Gráfico 19">
                <a:extLst>
                  <a:ext uri="{FF2B5EF4-FFF2-40B4-BE49-F238E27FC236}">
                    <a16:creationId xmlns:a16="http://schemas.microsoft.com/office/drawing/2014/main" id="{AC6E2CB8-D9FF-622A-2884-A9825C80F132}"/>
                  </a:ext>
                </a:extLst>
              </p:cNvPr>
              <p:cNvGrpSpPr/>
              <p:nvPr/>
            </p:nvGrpSpPr>
            <p:grpSpPr>
              <a:xfrm>
                <a:off x="5823675" y="5867623"/>
                <a:ext cx="91742" cy="77920"/>
                <a:chOff x="5823675" y="5867623"/>
                <a:chExt cx="91742" cy="77920"/>
              </a:xfrm>
              <a:noFill/>
            </p:grpSpPr>
            <p:sp>
              <p:nvSpPr>
                <p:cNvPr id="2073" name="Forma livre: Forma 2072">
                  <a:extLst>
                    <a:ext uri="{FF2B5EF4-FFF2-40B4-BE49-F238E27FC236}">
                      <a16:creationId xmlns:a16="http://schemas.microsoft.com/office/drawing/2014/main" id="{B55B7E37-8DF0-CDDF-9CA9-E2738D8CCF72}"/>
                    </a:ext>
                  </a:extLst>
                </p:cNvPr>
                <p:cNvSpPr/>
                <p:nvPr/>
              </p:nvSpPr>
              <p:spPr>
                <a:xfrm>
                  <a:off x="5823675" y="5867623"/>
                  <a:ext cx="91742" cy="38045"/>
                </a:xfrm>
                <a:custGeom>
                  <a:avLst/>
                  <a:gdLst>
                    <a:gd name="connsiteX0" fmla="*/ 0 w 91742"/>
                    <a:gd name="connsiteY0" fmla="*/ 38045 h 38045"/>
                    <a:gd name="connsiteX1" fmla="*/ 45751 w 91742"/>
                    <a:gd name="connsiteY1" fmla="*/ 0 h 38045"/>
                    <a:gd name="connsiteX2" fmla="*/ 91742 w 91742"/>
                    <a:gd name="connsiteY2" fmla="*/ 38045 h 3804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91742" h="38045">
                      <a:moveTo>
                        <a:pt x="0" y="38045"/>
                      </a:moveTo>
                      <a:lnTo>
                        <a:pt x="45751" y="0"/>
                      </a:lnTo>
                      <a:lnTo>
                        <a:pt x="91742" y="38045"/>
                      </a:ln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grpSp>
              <p:nvGrpSpPr>
                <p:cNvPr id="2074" name="Gráfico 19">
                  <a:extLst>
                    <a:ext uri="{FF2B5EF4-FFF2-40B4-BE49-F238E27FC236}">
                      <a16:creationId xmlns:a16="http://schemas.microsoft.com/office/drawing/2014/main" id="{1BB58BB2-5AA0-5599-6A44-2FBCEF28F3DE}"/>
                    </a:ext>
                  </a:extLst>
                </p:cNvPr>
                <p:cNvGrpSpPr/>
                <p:nvPr/>
              </p:nvGrpSpPr>
              <p:grpSpPr>
                <a:xfrm>
                  <a:off x="5839760" y="5893629"/>
                  <a:ext cx="59572" cy="51914"/>
                  <a:chOff x="5839760" y="5893629"/>
                  <a:chExt cx="59572" cy="51914"/>
                </a:xfrm>
              </p:grpSpPr>
              <p:sp>
                <p:nvSpPr>
                  <p:cNvPr id="2075" name="Forma livre: Forma 2074">
                    <a:extLst>
                      <a:ext uri="{FF2B5EF4-FFF2-40B4-BE49-F238E27FC236}">
                        <a16:creationId xmlns:a16="http://schemas.microsoft.com/office/drawing/2014/main" id="{07A7BAE5-8975-F28E-7858-98B0D0162A18}"/>
                      </a:ext>
                    </a:extLst>
                  </p:cNvPr>
                  <p:cNvSpPr/>
                  <p:nvPr/>
                </p:nvSpPr>
                <p:spPr>
                  <a:xfrm>
                    <a:off x="5839760" y="5893629"/>
                    <a:ext cx="4815" cy="51914"/>
                  </a:xfrm>
                  <a:custGeom>
                    <a:avLst/>
                    <a:gdLst>
                      <a:gd name="connsiteX0" fmla="*/ 0 w 4815"/>
                      <a:gd name="connsiteY0" fmla="*/ 51915 h 51914"/>
                      <a:gd name="connsiteX1" fmla="*/ 0 w 4815"/>
                      <a:gd name="connsiteY1" fmla="*/ 0 h 5191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4815" h="51914">
                        <a:moveTo>
                          <a:pt x="0" y="51915"/>
                        </a:moveTo>
                        <a:lnTo>
                          <a:pt x="0" y="0"/>
                        </a:lnTo>
                      </a:path>
                    </a:pathLst>
                  </a:custGeom>
                  <a:ln w="6350" cap="flat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2076" name="Forma livre: Forma 2075">
                    <a:extLst>
                      <a:ext uri="{FF2B5EF4-FFF2-40B4-BE49-F238E27FC236}">
                        <a16:creationId xmlns:a16="http://schemas.microsoft.com/office/drawing/2014/main" id="{CB4AE958-1697-AE67-3141-294664C7598F}"/>
                      </a:ext>
                    </a:extLst>
                  </p:cNvPr>
                  <p:cNvSpPr/>
                  <p:nvPr/>
                </p:nvSpPr>
                <p:spPr>
                  <a:xfrm>
                    <a:off x="5899332" y="5894062"/>
                    <a:ext cx="4815" cy="51481"/>
                  </a:xfrm>
                  <a:custGeom>
                    <a:avLst/>
                    <a:gdLst>
                      <a:gd name="connsiteX0" fmla="*/ 0 w 4815"/>
                      <a:gd name="connsiteY0" fmla="*/ 0 h 51481"/>
                      <a:gd name="connsiteX1" fmla="*/ 0 w 4815"/>
                      <a:gd name="connsiteY1" fmla="*/ 51481 h 5148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4815" h="51481">
                        <a:moveTo>
                          <a:pt x="0" y="0"/>
                        </a:moveTo>
                        <a:lnTo>
                          <a:pt x="0" y="51481"/>
                        </a:lnTo>
                      </a:path>
                    </a:pathLst>
                  </a:custGeom>
                  <a:ln w="6350" cap="flat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</p:grpSp>
          <p:sp>
            <p:nvSpPr>
              <p:cNvPr id="2077" name="Forma livre: Forma 2076">
                <a:extLst>
                  <a:ext uri="{FF2B5EF4-FFF2-40B4-BE49-F238E27FC236}">
                    <a16:creationId xmlns:a16="http://schemas.microsoft.com/office/drawing/2014/main" id="{B468D04D-90B8-4267-D312-7368A341BED9}"/>
                  </a:ext>
                </a:extLst>
              </p:cNvPr>
              <p:cNvSpPr/>
              <p:nvPr/>
            </p:nvSpPr>
            <p:spPr>
              <a:xfrm>
                <a:off x="5869522" y="5921994"/>
                <a:ext cx="4815" cy="23549"/>
              </a:xfrm>
              <a:custGeom>
                <a:avLst/>
                <a:gdLst>
                  <a:gd name="connsiteX0" fmla="*/ 0 w 4815"/>
                  <a:gd name="connsiteY0" fmla="*/ 23549 h 23549"/>
                  <a:gd name="connsiteX1" fmla="*/ 0 w 4815"/>
                  <a:gd name="connsiteY1" fmla="*/ 0 h 235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815" h="23549">
                    <a:moveTo>
                      <a:pt x="0" y="23549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2078" name="Forma livre: Forma 2077">
              <a:extLst>
                <a:ext uri="{FF2B5EF4-FFF2-40B4-BE49-F238E27FC236}">
                  <a16:creationId xmlns:a16="http://schemas.microsoft.com/office/drawing/2014/main" id="{3F277A8F-D006-4BC8-C340-576E2E798CF9}"/>
                </a:ext>
              </a:extLst>
            </p:cNvPr>
            <p:cNvSpPr/>
            <p:nvPr/>
          </p:nvSpPr>
          <p:spPr>
            <a:xfrm>
              <a:off x="5857434" y="6039598"/>
              <a:ext cx="65254" cy="4815"/>
            </a:xfrm>
            <a:custGeom>
              <a:avLst/>
              <a:gdLst>
                <a:gd name="connsiteX0" fmla="*/ 65255 w 65254"/>
                <a:gd name="connsiteY0" fmla="*/ 0 h 4815"/>
                <a:gd name="connsiteX1" fmla="*/ 0 w 65254"/>
                <a:gd name="connsiteY1" fmla="*/ 0 h 48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5254" h="4815">
                  <a:moveTo>
                    <a:pt x="65255" y="0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79" name="Forma livre: Forma 2078">
              <a:extLst>
                <a:ext uri="{FF2B5EF4-FFF2-40B4-BE49-F238E27FC236}">
                  <a16:creationId xmlns:a16="http://schemas.microsoft.com/office/drawing/2014/main" id="{F9BF145F-E347-3BC5-0141-7F287B65BE69}"/>
                </a:ext>
              </a:extLst>
            </p:cNvPr>
            <p:cNvSpPr/>
            <p:nvPr/>
          </p:nvSpPr>
          <p:spPr>
            <a:xfrm>
              <a:off x="5874145" y="6013688"/>
              <a:ext cx="48543" cy="4815"/>
            </a:xfrm>
            <a:custGeom>
              <a:avLst/>
              <a:gdLst>
                <a:gd name="connsiteX0" fmla="*/ 48544 w 48543"/>
                <a:gd name="connsiteY0" fmla="*/ 0 h 4815"/>
                <a:gd name="connsiteX1" fmla="*/ 0 w 48543"/>
                <a:gd name="connsiteY1" fmla="*/ 0 h 48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8543" h="4815">
                  <a:moveTo>
                    <a:pt x="48544" y="0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2080" name="Gráfico 19">
            <a:extLst>
              <a:ext uri="{FF2B5EF4-FFF2-40B4-BE49-F238E27FC236}">
                <a16:creationId xmlns:a16="http://schemas.microsoft.com/office/drawing/2014/main" id="{D03E910C-790F-ED79-6DE2-7FA74FD7E9D5}"/>
              </a:ext>
            </a:extLst>
          </p:cNvPr>
          <p:cNvGrpSpPr/>
          <p:nvPr/>
        </p:nvGrpSpPr>
        <p:grpSpPr>
          <a:xfrm>
            <a:off x="5661766" y="4755787"/>
            <a:ext cx="343226" cy="254469"/>
            <a:chOff x="5661766" y="4755787"/>
            <a:chExt cx="343226" cy="254469"/>
          </a:xfrm>
        </p:grpSpPr>
        <p:sp>
          <p:nvSpPr>
            <p:cNvPr id="2081" name="Forma livre: Forma 2080">
              <a:extLst>
                <a:ext uri="{FF2B5EF4-FFF2-40B4-BE49-F238E27FC236}">
                  <a16:creationId xmlns:a16="http://schemas.microsoft.com/office/drawing/2014/main" id="{8FC24E70-F044-2E86-3D82-0854D0A109FA}"/>
                </a:ext>
              </a:extLst>
            </p:cNvPr>
            <p:cNvSpPr/>
            <p:nvPr/>
          </p:nvSpPr>
          <p:spPr>
            <a:xfrm>
              <a:off x="5689120" y="4784586"/>
              <a:ext cx="288614" cy="4815"/>
            </a:xfrm>
            <a:custGeom>
              <a:avLst/>
              <a:gdLst>
                <a:gd name="connsiteX0" fmla="*/ 0 w 288614"/>
                <a:gd name="connsiteY0" fmla="*/ 0 h 4815"/>
                <a:gd name="connsiteX1" fmla="*/ 288614 w 288614"/>
                <a:gd name="connsiteY1" fmla="*/ 0 h 48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88614" h="4815">
                  <a:moveTo>
                    <a:pt x="0" y="0"/>
                  </a:moveTo>
                  <a:lnTo>
                    <a:pt x="288614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82" name="Forma livre: Forma 2081">
              <a:extLst>
                <a:ext uri="{FF2B5EF4-FFF2-40B4-BE49-F238E27FC236}">
                  <a16:creationId xmlns:a16="http://schemas.microsoft.com/office/drawing/2014/main" id="{C82DD6AF-7EEE-74C9-E6E1-F1C0755B2FAA}"/>
                </a:ext>
              </a:extLst>
            </p:cNvPr>
            <p:cNvSpPr/>
            <p:nvPr/>
          </p:nvSpPr>
          <p:spPr>
            <a:xfrm>
              <a:off x="5689120" y="4811266"/>
              <a:ext cx="288614" cy="4815"/>
            </a:xfrm>
            <a:custGeom>
              <a:avLst/>
              <a:gdLst>
                <a:gd name="connsiteX0" fmla="*/ 0 w 288614"/>
                <a:gd name="connsiteY0" fmla="*/ 0 h 4815"/>
                <a:gd name="connsiteX1" fmla="*/ 288614 w 288614"/>
                <a:gd name="connsiteY1" fmla="*/ 0 h 48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88614" h="4815">
                  <a:moveTo>
                    <a:pt x="0" y="0"/>
                  </a:moveTo>
                  <a:lnTo>
                    <a:pt x="288614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83" name="Forma livre: Forma 2082">
              <a:extLst>
                <a:ext uri="{FF2B5EF4-FFF2-40B4-BE49-F238E27FC236}">
                  <a16:creationId xmlns:a16="http://schemas.microsoft.com/office/drawing/2014/main" id="{BAC26576-84B0-048A-F407-716AE83496CB}"/>
                </a:ext>
              </a:extLst>
            </p:cNvPr>
            <p:cNvSpPr/>
            <p:nvPr/>
          </p:nvSpPr>
          <p:spPr>
            <a:xfrm>
              <a:off x="5964154" y="4840401"/>
              <a:ext cx="5393" cy="5393"/>
            </a:xfrm>
            <a:custGeom>
              <a:avLst/>
              <a:gdLst>
                <a:gd name="connsiteX0" fmla="*/ 5394 w 5393"/>
                <a:gd name="connsiteY0" fmla="*/ 2697 h 5393"/>
                <a:gd name="connsiteX1" fmla="*/ 2697 w 5393"/>
                <a:gd name="connsiteY1" fmla="*/ 5394 h 5393"/>
                <a:gd name="connsiteX2" fmla="*/ 0 w 5393"/>
                <a:gd name="connsiteY2" fmla="*/ 2697 h 5393"/>
                <a:gd name="connsiteX3" fmla="*/ 2697 w 5393"/>
                <a:gd name="connsiteY3" fmla="*/ 0 h 5393"/>
                <a:gd name="connsiteX4" fmla="*/ 5394 w 5393"/>
                <a:gd name="connsiteY4" fmla="*/ 2697 h 53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393" h="5393">
                  <a:moveTo>
                    <a:pt x="5394" y="2697"/>
                  </a:moveTo>
                  <a:cubicBezTo>
                    <a:pt x="5394" y="4190"/>
                    <a:pt x="4190" y="5394"/>
                    <a:pt x="2697" y="5394"/>
                  </a:cubicBezTo>
                  <a:cubicBezTo>
                    <a:pt x="1204" y="5394"/>
                    <a:pt x="0" y="4190"/>
                    <a:pt x="0" y="2697"/>
                  </a:cubicBezTo>
                  <a:cubicBezTo>
                    <a:pt x="0" y="1204"/>
                    <a:pt x="1204" y="0"/>
                    <a:pt x="2697" y="0"/>
                  </a:cubicBezTo>
                  <a:cubicBezTo>
                    <a:pt x="4190" y="0"/>
                    <a:pt x="5394" y="1204"/>
                    <a:pt x="5394" y="2697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2084" name="Gráfico 19">
              <a:extLst>
                <a:ext uri="{FF2B5EF4-FFF2-40B4-BE49-F238E27FC236}">
                  <a16:creationId xmlns:a16="http://schemas.microsoft.com/office/drawing/2014/main" id="{62EB2CDB-2DE4-0E48-CB8F-EA1AEBB57743}"/>
                </a:ext>
              </a:extLst>
            </p:cNvPr>
            <p:cNvGrpSpPr/>
            <p:nvPr/>
          </p:nvGrpSpPr>
          <p:grpSpPr>
            <a:xfrm>
              <a:off x="5872508" y="4939753"/>
              <a:ext cx="60727" cy="70118"/>
              <a:chOff x="5872508" y="4939753"/>
              <a:chExt cx="60727" cy="70118"/>
            </a:xfrm>
          </p:grpSpPr>
          <p:sp>
            <p:nvSpPr>
              <p:cNvPr id="2085" name="Forma livre: Forma 2084">
                <a:extLst>
                  <a:ext uri="{FF2B5EF4-FFF2-40B4-BE49-F238E27FC236}">
                    <a16:creationId xmlns:a16="http://schemas.microsoft.com/office/drawing/2014/main" id="{B3A53B6A-3C08-4E58-916E-AFF9ED66598E}"/>
                  </a:ext>
                </a:extLst>
              </p:cNvPr>
              <p:cNvSpPr/>
              <p:nvPr/>
            </p:nvSpPr>
            <p:spPr>
              <a:xfrm>
                <a:off x="5902848" y="4939753"/>
                <a:ext cx="4815" cy="70118"/>
              </a:xfrm>
              <a:custGeom>
                <a:avLst/>
                <a:gdLst>
                  <a:gd name="connsiteX0" fmla="*/ 0 w 4815"/>
                  <a:gd name="connsiteY0" fmla="*/ 0 h 70118"/>
                  <a:gd name="connsiteX1" fmla="*/ 0 w 4815"/>
                  <a:gd name="connsiteY1" fmla="*/ 70119 h 701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815" h="70118">
                    <a:moveTo>
                      <a:pt x="0" y="0"/>
                    </a:moveTo>
                    <a:lnTo>
                      <a:pt x="0" y="70119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086" name="Forma livre: Forma 2085">
                <a:extLst>
                  <a:ext uri="{FF2B5EF4-FFF2-40B4-BE49-F238E27FC236}">
                    <a16:creationId xmlns:a16="http://schemas.microsoft.com/office/drawing/2014/main" id="{E6C0FBE7-1482-3F8E-1EF6-5695A6F71EBC}"/>
                  </a:ext>
                </a:extLst>
              </p:cNvPr>
              <p:cNvSpPr/>
              <p:nvPr/>
            </p:nvSpPr>
            <p:spPr>
              <a:xfrm>
                <a:off x="5872508" y="4957282"/>
                <a:ext cx="60727" cy="35059"/>
              </a:xfrm>
              <a:custGeom>
                <a:avLst/>
                <a:gdLst>
                  <a:gd name="connsiteX0" fmla="*/ 0 w 60727"/>
                  <a:gd name="connsiteY0" fmla="*/ 0 h 35059"/>
                  <a:gd name="connsiteX1" fmla="*/ 60728 w 60727"/>
                  <a:gd name="connsiteY1" fmla="*/ 35059 h 350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0727" h="35059">
                    <a:moveTo>
                      <a:pt x="0" y="0"/>
                    </a:moveTo>
                    <a:lnTo>
                      <a:pt x="60728" y="35059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087" name="Forma livre: Forma 2086">
                <a:extLst>
                  <a:ext uri="{FF2B5EF4-FFF2-40B4-BE49-F238E27FC236}">
                    <a16:creationId xmlns:a16="http://schemas.microsoft.com/office/drawing/2014/main" id="{D7486C6B-3B96-C2AB-C5D1-B4C015FD4517}"/>
                  </a:ext>
                </a:extLst>
              </p:cNvPr>
              <p:cNvSpPr/>
              <p:nvPr/>
            </p:nvSpPr>
            <p:spPr>
              <a:xfrm>
                <a:off x="5872508" y="4957282"/>
                <a:ext cx="60727" cy="35059"/>
              </a:xfrm>
              <a:custGeom>
                <a:avLst/>
                <a:gdLst>
                  <a:gd name="connsiteX0" fmla="*/ 60728 w 60727"/>
                  <a:gd name="connsiteY0" fmla="*/ 0 h 35059"/>
                  <a:gd name="connsiteX1" fmla="*/ 0 w 60727"/>
                  <a:gd name="connsiteY1" fmla="*/ 35059 h 350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0727" h="35059">
                    <a:moveTo>
                      <a:pt x="60728" y="0"/>
                    </a:moveTo>
                    <a:lnTo>
                      <a:pt x="0" y="35059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2088" name="Forma livre: Forma 2087">
              <a:extLst>
                <a:ext uri="{FF2B5EF4-FFF2-40B4-BE49-F238E27FC236}">
                  <a16:creationId xmlns:a16="http://schemas.microsoft.com/office/drawing/2014/main" id="{5256F7E4-D5F0-2864-BA0E-50838370268E}"/>
                </a:ext>
              </a:extLst>
            </p:cNvPr>
            <p:cNvSpPr/>
            <p:nvPr/>
          </p:nvSpPr>
          <p:spPr>
            <a:xfrm>
              <a:off x="5738934" y="4939367"/>
              <a:ext cx="8974" cy="70889"/>
            </a:xfrm>
            <a:custGeom>
              <a:avLst/>
              <a:gdLst>
                <a:gd name="connsiteX0" fmla="*/ 4027 w 8974"/>
                <a:gd name="connsiteY0" fmla="*/ 0 h 70889"/>
                <a:gd name="connsiteX1" fmla="*/ 8747 w 8974"/>
                <a:gd name="connsiteY1" fmla="*/ 22201 h 70889"/>
                <a:gd name="connsiteX2" fmla="*/ 4412 w 8974"/>
                <a:gd name="connsiteY2" fmla="*/ 33037 h 70889"/>
                <a:gd name="connsiteX3" fmla="*/ 319 w 8974"/>
                <a:gd name="connsiteY3" fmla="*/ 43824 h 70889"/>
                <a:gd name="connsiteX4" fmla="*/ 6917 w 8974"/>
                <a:gd name="connsiteY4" fmla="*/ 70889 h 708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974" h="70889">
                  <a:moveTo>
                    <a:pt x="4027" y="0"/>
                  </a:moveTo>
                  <a:lnTo>
                    <a:pt x="8747" y="22201"/>
                  </a:lnTo>
                  <a:cubicBezTo>
                    <a:pt x="9662" y="26632"/>
                    <a:pt x="7735" y="31544"/>
                    <a:pt x="4412" y="33037"/>
                  </a:cubicBezTo>
                  <a:cubicBezTo>
                    <a:pt x="1089" y="34530"/>
                    <a:pt x="-789" y="39394"/>
                    <a:pt x="319" y="43824"/>
                  </a:cubicBezTo>
                  <a:lnTo>
                    <a:pt x="6917" y="70889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89" name="Forma livre: Forma 2088">
              <a:extLst>
                <a:ext uri="{FF2B5EF4-FFF2-40B4-BE49-F238E27FC236}">
                  <a16:creationId xmlns:a16="http://schemas.microsoft.com/office/drawing/2014/main" id="{2F083819-295B-C2EA-978E-84D4DB241A37}"/>
                </a:ext>
              </a:extLst>
            </p:cNvPr>
            <p:cNvSpPr/>
            <p:nvPr/>
          </p:nvSpPr>
          <p:spPr>
            <a:xfrm>
              <a:off x="5780495" y="4939367"/>
              <a:ext cx="8990" cy="70889"/>
            </a:xfrm>
            <a:custGeom>
              <a:avLst/>
              <a:gdLst>
                <a:gd name="connsiteX0" fmla="*/ 4027 w 8990"/>
                <a:gd name="connsiteY0" fmla="*/ 0 h 70889"/>
                <a:gd name="connsiteX1" fmla="*/ 8747 w 8990"/>
                <a:gd name="connsiteY1" fmla="*/ 22201 h 70889"/>
                <a:gd name="connsiteX2" fmla="*/ 4412 w 8990"/>
                <a:gd name="connsiteY2" fmla="*/ 33037 h 70889"/>
                <a:gd name="connsiteX3" fmla="*/ 319 w 8990"/>
                <a:gd name="connsiteY3" fmla="*/ 43824 h 70889"/>
                <a:gd name="connsiteX4" fmla="*/ 6917 w 8990"/>
                <a:gd name="connsiteY4" fmla="*/ 70889 h 708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990" h="70889">
                  <a:moveTo>
                    <a:pt x="4027" y="0"/>
                  </a:moveTo>
                  <a:lnTo>
                    <a:pt x="8747" y="22201"/>
                  </a:lnTo>
                  <a:cubicBezTo>
                    <a:pt x="9710" y="26632"/>
                    <a:pt x="7735" y="31544"/>
                    <a:pt x="4412" y="33037"/>
                  </a:cubicBezTo>
                  <a:cubicBezTo>
                    <a:pt x="1089" y="34530"/>
                    <a:pt x="-789" y="39394"/>
                    <a:pt x="319" y="43824"/>
                  </a:cubicBezTo>
                  <a:lnTo>
                    <a:pt x="6917" y="70889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90" name="Forma livre: Forma 2089">
              <a:extLst>
                <a:ext uri="{FF2B5EF4-FFF2-40B4-BE49-F238E27FC236}">
                  <a16:creationId xmlns:a16="http://schemas.microsoft.com/office/drawing/2014/main" id="{98707E9D-EF7E-5661-CB2E-9D9188EA750D}"/>
                </a:ext>
              </a:extLst>
            </p:cNvPr>
            <p:cNvSpPr/>
            <p:nvPr/>
          </p:nvSpPr>
          <p:spPr>
            <a:xfrm>
              <a:off x="5822056" y="4939367"/>
              <a:ext cx="8990" cy="70889"/>
            </a:xfrm>
            <a:custGeom>
              <a:avLst/>
              <a:gdLst>
                <a:gd name="connsiteX0" fmla="*/ 4027 w 8990"/>
                <a:gd name="connsiteY0" fmla="*/ 0 h 70889"/>
                <a:gd name="connsiteX1" fmla="*/ 8747 w 8990"/>
                <a:gd name="connsiteY1" fmla="*/ 22201 h 70889"/>
                <a:gd name="connsiteX2" fmla="*/ 4412 w 8990"/>
                <a:gd name="connsiteY2" fmla="*/ 33037 h 70889"/>
                <a:gd name="connsiteX3" fmla="*/ 319 w 8990"/>
                <a:gd name="connsiteY3" fmla="*/ 43824 h 70889"/>
                <a:gd name="connsiteX4" fmla="*/ 6917 w 8990"/>
                <a:gd name="connsiteY4" fmla="*/ 70889 h 708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990" h="70889">
                  <a:moveTo>
                    <a:pt x="4027" y="0"/>
                  </a:moveTo>
                  <a:lnTo>
                    <a:pt x="8747" y="22201"/>
                  </a:lnTo>
                  <a:cubicBezTo>
                    <a:pt x="9710" y="26632"/>
                    <a:pt x="7735" y="31544"/>
                    <a:pt x="4412" y="33037"/>
                  </a:cubicBezTo>
                  <a:cubicBezTo>
                    <a:pt x="1089" y="34530"/>
                    <a:pt x="-789" y="39394"/>
                    <a:pt x="319" y="43824"/>
                  </a:cubicBezTo>
                  <a:lnTo>
                    <a:pt x="6917" y="70889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91" name="Forma livre: Forma 2090">
              <a:extLst>
                <a:ext uri="{FF2B5EF4-FFF2-40B4-BE49-F238E27FC236}">
                  <a16:creationId xmlns:a16="http://schemas.microsoft.com/office/drawing/2014/main" id="{350ECE31-4CF8-19EA-B018-F1E5E0B1ADCE}"/>
                </a:ext>
              </a:extLst>
            </p:cNvPr>
            <p:cNvSpPr/>
            <p:nvPr/>
          </p:nvSpPr>
          <p:spPr>
            <a:xfrm>
              <a:off x="5661766" y="4755787"/>
              <a:ext cx="343226" cy="150351"/>
            </a:xfrm>
            <a:custGeom>
              <a:avLst/>
              <a:gdLst>
                <a:gd name="connsiteX0" fmla="*/ 287651 w 343226"/>
                <a:gd name="connsiteY0" fmla="*/ 150351 h 150351"/>
                <a:gd name="connsiteX1" fmla="*/ 287651 w 343226"/>
                <a:gd name="connsiteY1" fmla="*/ 122082 h 150351"/>
                <a:gd name="connsiteX2" fmla="*/ 277923 w 343226"/>
                <a:gd name="connsiteY2" fmla="*/ 112354 h 150351"/>
                <a:gd name="connsiteX3" fmla="*/ 65351 w 343226"/>
                <a:gd name="connsiteY3" fmla="*/ 112354 h 150351"/>
                <a:gd name="connsiteX4" fmla="*/ 55623 w 343226"/>
                <a:gd name="connsiteY4" fmla="*/ 122082 h 150351"/>
                <a:gd name="connsiteX5" fmla="*/ 55623 w 343226"/>
                <a:gd name="connsiteY5" fmla="*/ 150351 h 150351"/>
                <a:gd name="connsiteX6" fmla="*/ 15940 w 343226"/>
                <a:gd name="connsiteY6" fmla="*/ 150351 h 150351"/>
                <a:gd name="connsiteX7" fmla="*/ 0 w 343226"/>
                <a:gd name="connsiteY7" fmla="*/ 130895 h 150351"/>
                <a:gd name="connsiteX8" fmla="*/ 0 w 343226"/>
                <a:gd name="connsiteY8" fmla="*/ 19456 h 150351"/>
                <a:gd name="connsiteX9" fmla="*/ 19456 w 343226"/>
                <a:gd name="connsiteY9" fmla="*/ 0 h 150351"/>
                <a:gd name="connsiteX10" fmla="*/ 323770 w 343226"/>
                <a:gd name="connsiteY10" fmla="*/ 0 h 150351"/>
                <a:gd name="connsiteX11" fmla="*/ 343226 w 343226"/>
                <a:gd name="connsiteY11" fmla="*/ 19456 h 150351"/>
                <a:gd name="connsiteX12" fmla="*/ 343226 w 343226"/>
                <a:gd name="connsiteY12" fmla="*/ 130895 h 150351"/>
                <a:gd name="connsiteX13" fmla="*/ 320255 w 343226"/>
                <a:gd name="connsiteY13" fmla="*/ 150351 h 150351"/>
                <a:gd name="connsiteX14" fmla="*/ 287603 w 343226"/>
                <a:gd name="connsiteY14" fmla="*/ 150351 h 1503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43226" h="150351">
                  <a:moveTo>
                    <a:pt x="287651" y="150351"/>
                  </a:moveTo>
                  <a:lnTo>
                    <a:pt x="287651" y="122082"/>
                  </a:lnTo>
                  <a:cubicBezTo>
                    <a:pt x="287651" y="116736"/>
                    <a:pt x="283269" y="112354"/>
                    <a:pt x="277923" y="112354"/>
                  </a:cubicBezTo>
                  <a:lnTo>
                    <a:pt x="65351" y="112354"/>
                  </a:lnTo>
                  <a:cubicBezTo>
                    <a:pt x="60006" y="112354"/>
                    <a:pt x="55623" y="116736"/>
                    <a:pt x="55623" y="122082"/>
                  </a:cubicBezTo>
                  <a:lnTo>
                    <a:pt x="55623" y="150351"/>
                  </a:lnTo>
                  <a:lnTo>
                    <a:pt x="15940" y="150351"/>
                  </a:lnTo>
                  <a:cubicBezTo>
                    <a:pt x="8717" y="150351"/>
                    <a:pt x="0" y="141586"/>
                    <a:pt x="0" y="130895"/>
                  </a:cubicBezTo>
                  <a:lnTo>
                    <a:pt x="0" y="19456"/>
                  </a:lnTo>
                  <a:cubicBezTo>
                    <a:pt x="0" y="8765"/>
                    <a:pt x="8765" y="0"/>
                    <a:pt x="19456" y="0"/>
                  </a:cubicBezTo>
                  <a:lnTo>
                    <a:pt x="323770" y="0"/>
                  </a:lnTo>
                  <a:cubicBezTo>
                    <a:pt x="334461" y="0"/>
                    <a:pt x="343226" y="8765"/>
                    <a:pt x="343226" y="19456"/>
                  </a:cubicBezTo>
                  <a:lnTo>
                    <a:pt x="343226" y="130895"/>
                  </a:lnTo>
                  <a:cubicBezTo>
                    <a:pt x="343226" y="141586"/>
                    <a:pt x="334461" y="150351"/>
                    <a:pt x="320255" y="150351"/>
                  </a:cubicBezTo>
                  <a:lnTo>
                    <a:pt x="287603" y="150351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92" name="Forma livre: Forma 2091">
              <a:extLst>
                <a:ext uri="{FF2B5EF4-FFF2-40B4-BE49-F238E27FC236}">
                  <a16:creationId xmlns:a16="http://schemas.microsoft.com/office/drawing/2014/main" id="{D0450FF8-4B43-FFB7-0D7F-718FD07F2982}"/>
                </a:ext>
              </a:extLst>
            </p:cNvPr>
            <p:cNvSpPr/>
            <p:nvPr/>
          </p:nvSpPr>
          <p:spPr>
            <a:xfrm>
              <a:off x="5738097" y="4906186"/>
              <a:ext cx="190707" cy="4815"/>
            </a:xfrm>
            <a:custGeom>
              <a:avLst/>
              <a:gdLst>
                <a:gd name="connsiteX0" fmla="*/ 0 w 190707"/>
                <a:gd name="connsiteY0" fmla="*/ 0 h 4815"/>
                <a:gd name="connsiteX1" fmla="*/ 190708 w 190707"/>
                <a:gd name="connsiteY1" fmla="*/ 0 h 48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90707" h="4815">
                  <a:moveTo>
                    <a:pt x="0" y="0"/>
                  </a:moveTo>
                  <a:lnTo>
                    <a:pt x="190708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2093" name="Gráfico 19">
            <a:extLst>
              <a:ext uri="{FF2B5EF4-FFF2-40B4-BE49-F238E27FC236}">
                <a16:creationId xmlns:a16="http://schemas.microsoft.com/office/drawing/2014/main" id="{AA94CD83-6057-EBEB-1B0F-0B626D942289}"/>
              </a:ext>
            </a:extLst>
          </p:cNvPr>
          <p:cNvGrpSpPr/>
          <p:nvPr/>
        </p:nvGrpSpPr>
        <p:grpSpPr>
          <a:xfrm>
            <a:off x="5665330" y="4160403"/>
            <a:ext cx="336194" cy="307203"/>
            <a:chOff x="5665330" y="4160403"/>
            <a:chExt cx="336194" cy="307203"/>
          </a:xfrm>
          <a:noFill/>
        </p:grpSpPr>
        <p:grpSp>
          <p:nvGrpSpPr>
            <p:cNvPr id="2094" name="Gráfico 19">
              <a:extLst>
                <a:ext uri="{FF2B5EF4-FFF2-40B4-BE49-F238E27FC236}">
                  <a16:creationId xmlns:a16="http://schemas.microsoft.com/office/drawing/2014/main" id="{03F3D046-B564-BD11-D16F-E5908C4DB78A}"/>
                </a:ext>
              </a:extLst>
            </p:cNvPr>
            <p:cNvGrpSpPr/>
            <p:nvPr/>
          </p:nvGrpSpPr>
          <p:grpSpPr>
            <a:xfrm>
              <a:off x="5831766" y="4219590"/>
              <a:ext cx="169758" cy="51337"/>
              <a:chOff x="5831766" y="4219590"/>
              <a:chExt cx="169758" cy="51337"/>
            </a:xfrm>
          </p:grpSpPr>
          <p:sp>
            <p:nvSpPr>
              <p:cNvPr id="2095" name="Forma livre: Forma 2094">
                <a:extLst>
                  <a:ext uri="{FF2B5EF4-FFF2-40B4-BE49-F238E27FC236}">
                    <a16:creationId xmlns:a16="http://schemas.microsoft.com/office/drawing/2014/main" id="{90AA2EB5-5CBF-E0AE-792E-D0013519B34D}"/>
                  </a:ext>
                </a:extLst>
              </p:cNvPr>
              <p:cNvSpPr/>
              <p:nvPr/>
            </p:nvSpPr>
            <p:spPr>
              <a:xfrm>
                <a:off x="5980528" y="4264570"/>
                <a:ext cx="20997" cy="6356"/>
              </a:xfrm>
              <a:custGeom>
                <a:avLst/>
                <a:gdLst>
                  <a:gd name="connsiteX0" fmla="*/ 0 w 20997"/>
                  <a:gd name="connsiteY0" fmla="*/ 0 h 6356"/>
                  <a:gd name="connsiteX1" fmla="*/ 20997 w 20997"/>
                  <a:gd name="connsiteY1" fmla="*/ 6357 h 63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0997" h="6356">
                    <a:moveTo>
                      <a:pt x="0" y="0"/>
                    </a:moveTo>
                    <a:lnTo>
                      <a:pt x="20997" y="6357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096" name="Forma livre: Forma 2095">
                <a:extLst>
                  <a:ext uri="{FF2B5EF4-FFF2-40B4-BE49-F238E27FC236}">
                    <a16:creationId xmlns:a16="http://schemas.microsoft.com/office/drawing/2014/main" id="{3D8FD197-484D-45D0-2E74-A4EBE475850F}"/>
                  </a:ext>
                </a:extLst>
              </p:cNvPr>
              <p:cNvSpPr/>
              <p:nvPr/>
            </p:nvSpPr>
            <p:spPr>
              <a:xfrm>
                <a:off x="5831766" y="4219590"/>
                <a:ext cx="21045" cy="6356"/>
              </a:xfrm>
              <a:custGeom>
                <a:avLst/>
                <a:gdLst>
                  <a:gd name="connsiteX0" fmla="*/ 0 w 21045"/>
                  <a:gd name="connsiteY0" fmla="*/ 0 h 6356"/>
                  <a:gd name="connsiteX1" fmla="*/ 21045 w 21045"/>
                  <a:gd name="connsiteY1" fmla="*/ 6357 h 63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1045" h="6356">
                    <a:moveTo>
                      <a:pt x="0" y="0"/>
                    </a:moveTo>
                    <a:lnTo>
                      <a:pt x="21045" y="6357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2097" name="Forma livre: Forma 2096">
              <a:extLst>
                <a:ext uri="{FF2B5EF4-FFF2-40B4-BE49-F238E27FC236}">
                  <a16:creationId xmlns:a16="http://schemas.microsoft.com/office/drawing/2014/main" id="{84B342D1-13B6-84CD-10EA-66EA793F933F}"/>
                </a:ext>
              </a:extLst>
            </p:cNvPr>
            <p:cNvSpPr/>
            <p:nvPr/>
          </p:nvSpPr>
          <p:spPr>
            <a:xfrm>
              <a:off x="5875783" y="4203938"/>
              <a:ext cx="82206" cy="81532"/>
            </a:xfrm>
            <a:custGeom>
              <a:avLst/>
              <a:gdLst>
                <a:gd name="connsiteX0" fmla="*/ 50615 w 82206"/>
                <a:gd name="connsiteY0" fmla="*/ 81532 h 81532"/>
                <a:gd name="connsiteX1" fmla="*/ 72864 w 82206"/>
                <a:gd name="connsiteY1" fmla="*/ 67566 h 81532"/>
                <a:gd name="connsiteX2" fmla="*/ 67085 w 82206"/>
                <a:gd name="connsiteY2" fmla="*/ 9343 h 81532"/>
                <a:gd name="connsiteX3" fmla="*/ 8861 w 82206"/>
                <a:gd name="connsiteY3" fmla="*/ 15122 h 81532"/>
                <a:gd name="connsiteX4" fmla="*/ 0 w 82206"/>
                <a:gd name="connsiteY4" fmla="*/ 34963 h 815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2206" h="81532">
                  <a:moveTo>
                    <a:pt x="50615" y="81532"/>
                  </a:moveTo>
                  <a:cubicBezTo>
                    <a:pt x="59042" y="79510"/>
                    <a:pt x="66940" y="74790"/>
                    <a:pt x="72864" y="67566"/>
                  </a:cubicBezTo>
                  <a:cubicBezTo>
                    <a:pt x="87312" y="49940"/>
                    <a:pt x="84711" y="23790"/>
                    <a:pt x="67085" y="9343"/>
                  </a:cubicBezTo>
                  <a:cubicBezTo>
                    <a:pt x="49459" y="-5105"/>
                    <a:pt x="23309" y="-2504"/>
                    <a:pt x="8861" y="15122"/>
                  </a:cubicBezTo>
                  <a:cubicBezTo>
                    <a:pt x="3997" y="21045"/>
                    <a:pt x="1108" y="27884"/>
                    <a:pt x="0" y="34963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98" name="Forma livre: Forma 2097">
              <a:extLst>
                <a:ext uri="{FF2B5EF4-FFF2-40B4-BE49-F238E27FC236}">
                  <a16:creationId xmlns:a16="http://schemas.microsoft.com/office/drawing/2014/main" id="{E4CEDEEE-C921-1BCA-8E73-CCB9ACA87002}"/>
                </a:ext>
              </a:extLst>
            </p:cNvPr>
            <p:cNvSpPr/>
            <p:nvPr/>
          </p:nvSpPr>
          <p:spPr>
            <a:xfrm>
              <a:off x="5665330" y="4467606"/>
              <a:ext cx="293526" cy="4815"/>
            </a:xfrm>
            <a:custGeom>
              <a:avLst/>
              <a:gdLst>
                <a:gd name="connsiteX0" fmla="*/ 0 w 293526"/>
                <a:gd name="connsiteY0" fmla="*/ 0 h 4815"/>
                <a:gd name="connsiteX1" fmla="*/ 293527 w 293526"/>
                <a:gd name="connsiteY1" fmla="*/ 0 h 48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93526" h="4815">
                  <a:moveTo>
                    <a:pt x="0" y="0"/>
                  </a:moveTo>
                  <a:lnTo>
                    <a:pt x="293527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99" name="Forma livre: Forma 2098">
              <a:extLst>
                <a:ext uri="{FF2B5EF4-FFF2-40B4-BE49-F238E27FC236}">
                  <a16:creationId xmlns:a16="http://schemas.microsoft.com/office/drawing/2014/main" id="{924BBCA0-9155-E46A-D105-F92F41C553D0}"/>
                </a:ext>
              </a:extLst>
            </p:cNvPr>
            <p:cNvSpPr/>
            <p:nvPr/>
          </p:nvSpPr>
          <p:spPr>
            <a:xfrm>
              <a:off x="5684015" y="4262403"/>
              <a:ext cx="103444" cy="204962"/>
            </a:xfrm>
            <a:custGeom>
              <a:avLst/>
              <a:gdLst>
                <a:gd name="connsiteX0" fmla="*/ 0 w 103444"/>
                <a:gd name="connsiteY0" fmla="*/ 204963 h 204962"/>
                <a:gd name="connsiteX1" fmla="*/ 0 w 103444"/>
                <a:gd name="connsiteY1" fmla="*/ 111632 h 204962"/>
                <a:gd name="connsiteX2" fmla="*/ 51193 w 103444"/>
                <a:gd name="connsiteY2" fmla="*/ 0 h 204962"/>
                <a:gd name="connsiteX3" fmla="*/ 103445 w 103444"/>
                <a:gd name="connsiteY3" fmla="*/ 111632 h 204962"/>
                <a:gd name="connsiteX4" fmla="*/ 103445 w 103444"/>
                <a:gd name="connsiteY4" fmla="*/ 204963 h 204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3444" h="204962">
                  <a:moveTo>
                    <a:pt x="0" y="204963"/>
                  </a:moveTo>
                  <a:lnTo>
                    <a:pt x="0" y="111632"/>
                  </a:lnTo>
                  <a:lnTo>
                    <a:pt x="51193" y="0"/>
                  </a:lnTo>
                  <a:lnTo>
                    <a:pt x="103445" y="111632"/>
                  </a:lnTo>
                  <a:lnTo>
                    <a:pt x="103445" y="204963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00" name="Forma livre: Forma 2099">
              <a:extLst>
                <a:ext uri="{FF2B5EF4-FFF2-40B4-BE49-F238E27FC236}">
                  <a16:creationId xmlns:a16="http://schemas.microsoft.com/office/drawing/2014/main" id="{97C09090-D57F-1143-D41F-206F30807487}"/>
                </a:ext>
              </a:extLst>
            </p:cNvPr>
            <p:cNvSpPr/>
            <p:nvPr/>
          </p:nvSpPr>
          <p:spPr>
            <a:xfrm>
              <a:off x="5735208" y="4262403"/>
              <a:ext cx="206600" cy="204962"/>
            </a:xfrm>
            <a:custGeom>
              <a:avLst/>
              <a:gdLst>
                <a:gd name="connsiteX0" fmla="*/ 206600 w 206600"/>
                <a:gd name="connsiteY0" fmla="*/ 204963 h 204962"/>
                <a:gd name="connsiteX1" fmla="*/ 206600 w 206600"/>
                <a:gd name="connsiteY1" fmla="*/ 111632 h 204962"/>
                <a:gd name="connsiteX2" fmla="*/ 154348 w 206600"/>
                <a:gd name="connsiteY2" fmla="*/ 0 h 204962"/>
                <a:gd name="connsiteX3" fmla="*/ 0 w 206600"/>
                <a:gd name="connsiteY3" fmla="*/ 0 h 204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6600" h="204962">
                  <a:moveTo>
                    <a:pt x="206600" y="204963"/>
                  </a:moveTo>
                  <a:lnTo>
                    <a:pt x="206600" y="111632"/>
                  </a:lnTo>
                  <a:lnTo>
                    <a:pt x="154348" y="0"/>
                  </a:lnTo>
                  <a:lnTo>
                    <a:pt x="0" y="0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01" name="Forma livre: Forma 2100">
              <a:extLst>
                <a:ext uri="{FF2B5EF4-FFF2-40B4-BE49-F238E27FC236}">
                  <a16:creationId xmlns:a16="http://schemas.microsoft.com/office/drawing/2014/main" id="{41DDE9FA-2A30-3C5C-A5D3-56CBEE41F0D1}"/>
                </a:ext>
              </a:extLst>
            </p:cNvPr>
            <p:cNvSpPr/>
            <p:nvPr/>
          </p:nvSpPr>
          <p:spPr>
            <a:xfrm>
              <a:off x="5787460" y="4374034"/>
              <a:ext cx="153866" cy="4815"/>
            </a:xfrm>
            <a:custGeom>
              <a:avLst/>
              <a:gdLst>
                <a:gd name="connsiteX0" fmla="*/ 0 w 153866"/>
                <a:gd name="connsiteY0" fmla="*/ 0 h 4815"/>
                <a:gd name="connsiteX1" fmla="*/ 153867 w 153866"/>
                <a:gd name="connsiteY1" fmla="*/ 0 h 48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3866" h="4815">
                  <a:moveTo>
                    <a:pt x="0" y="0"/>
                  </a:moveTo>
                  <a:lnTo>
                    <a:pt x="153867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02" name="Forma livre: Forma 2101">
              <a:extLst>
                <a:ext uri="{FF2B5EF4-FFF2-40B4-BE49-F238E27FC236}">
                  <a16:creationId xmlns:a16="http://schemas.microsoft.com/office/drawing/2014/main" id="{037C48F0-73C7-230D-6D3E-190611A1E405}"/>
                </a:ext>
              </a:extLst>
            </p:cNvPr>
            <p:cNvSpPr/>
            <p:nvPr/>
          </p:nvSpPr>
          <p:spPr>
            <a:xfrm>
              <a:off x="5771808" y="4336470"/>
              <a:ext cx="150640" cy="4815"/>
            </a:xfrm>
            <a:custGeom>
              <a:avLst/>
              <a:gdLst>
                <a:gd name="connsiteX0" fmla="*/ 0 w 150640"/>
                <a:gd name="connsiteY0" fmla="*/ 0 h 4815"/>
                <a:gd name="connsiteX1" fmla="*/ 150640 w 150640"/>
                <a:gd name="connsiteY1" fmla="*/ 0 h 48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0640" h="4815">
                  <a:moveTo>
                    <a:pt x="0" y="0"/>
                  </a:moveTo>
                  <a:lnTo>
                    <a:pt x="15064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03" name="Forma livre: Forma 2102">
              <a:extLst>
                <a:ext uri="{FF2B5EF4-FFF2-40B4-BE49-F238E27FC236}">
                  <a16:creationId xmlns:a16="http://schemas.microsoft.com/office/drawing/2014/main" id="{C16F9848-46A5-CCCB-0965-4F9496C0F08F}"/>
                </a:ext>
              </a:extLst>
            </p:cNvPr>
            <p:cNvSpPr/>
            <p:nvPr/>
          </p:nvSpPr>
          <p:spPr>
            <a:xfrm>
              <a:off x="5754182" y="4298955"/>
              <a:ext cx="150977" cy="4815"/>
            </a:xfrm>
            <a:custGeom>
              <a:avLst/>
              <a:gdLst>
                <a:gd name="connsiteX0" fmla="*/ 0 w 150977"/>
                <a:gd name="connsiteY0" fmla="*/ 0 h 4815"/>
                <a:gd name="connsiteX1" fmla="*/ 150977 w 150977"/>
                <a:gd name="connsiteY1" fmla="*/ 0 h 48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0977" h="4815">
                  <a:moveTo>
                    <a:pt x="0" y="0"/>
                  </a:moveTo>
                  <a:lnTo>
                    <a:pt x="150977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04" name="Forma livre: Forma 2103">
              <a:extLst>
                <a:ext uri="{FF2B5EF4-FFF2-40B4-BE49-F238E27FC236}">
                  <a16:creationId xmlns:a16="http://schemas.microsoft.com/office/drawing/2014/main" id="{D67E19DA-1C83-867E-3FEF-5B18FD42E1D0}"/>
                </a:ext>
              </a:extLst>
            </p:cNvPr>
            <p:cNvSpPr/>
            <p:nvPr/>
          </p:nvSpPr>
          <p:spPr>
            <a:xfrm>
              <a:off x="5788038" y="4263173"/>
              <a:ext cx="52541" cy="110620"/>
            </a:xfrm>
            <a:custGeom>
              <a:avLst/>
              <a:gdLst>
                <a:gd name="connsiteX0" fmla="*/ 0 w 52541"/>
                <a:gd name="connsiteY0" fmla="*/ 0 h 110620"/>
                <a:gd name="connsiteX1" fmla="*/ 52541 w 52541"/>
                <a:gd name="connsiteY1" fmla="*/ 110620 h 1106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2541" h="110620">
                  <a:moveTo>
                    <a:pt x="0" y="0"/>
                  </a:moveTo>
                  <a:lnTo>
                    <a:pt x="52541" y="11062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05" name="Forma livre: Forma 2104">
              <a:extLst>
                <a:ext uri="{FF2B5EF4-FFF2-40B4-BE49-F238E27FC236}">
                  <a16:creationId xmlns:a16="http://schemas.microsoft.com/office/drawing/2014/main" id="{A3535B8D-0DF3-5D2B-EFAF-4C0AC78617DB}"/>
                </a:ext>
              </a:extLst>
            </p:cNvPr>
            <p:cNvSpPr/>
            <p:nvPr/>
          </p:nvSpPr>
          <p:spPr>
            <a:xfrm>
              <a:off x="5839086" y="4263173"/>
              <a:ext cx="52589" cy="110620"/>
            </a:xfrm>
            <a:custGeom>
              <a:avLst/>
              <a:gdLst>
                <a:gd name="connsiteX0" fmla="*/ 0 w 52589"/>
                <a:gd name="connsiteY0" fmla="*/ 0 h 110620"/>
                <a:gd name="connsiteX1" fmla="*/ 52589 w 52589"/>
                <a:gd name="connsiteY1" fmla="*/ 110620 h 1106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2589" h="110620">
                  <a:moveTo>
                    <a:pt x="0" y="0"/>
                  </a:moveTo>
                  <a:lnTo>
                    <a:pt x="52589" y="11062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2106" name="Gráfico 19">
              <a:extLst>
                <a:ext uri="{FF2B5EF4-FFF2-40B4-BE49-F238E27FC236}">
                  <a16:creationId xmlns:a16="http://schemas.microsoft.com/office/drawing/2014/main" id="{5F36E3B9-EF04-D248-68AB-9F0036DE727C}"/>
                </a:ext>
              </a:extLst>
            </p:cNvPr>
            <p:cNvGrpSpPr/>
            <p:nvPr/>
          </p:nvGrpSpPr>
          <p:grpSpPr>
            <a:xfrm>
              <a:off x="5874771" y="4167097"/>
              <a:ext cx="83747" cy="156370"/>
              <a:chOff x="5874771" y="4167097"/>
              <a:chExt cx="83747" cy="156370"/>
            </a:xfrm>
          </p:grpSpPr>
          <p:sp>
            <p:nvSpPr>
              <p:cNvPr id="2107" name="Forma livre: Forma 2106">
                <a:extLst>
                  <a:ext uri="{FF2B5EF4-FFF2-40B4-BE49-F238E27FC236}">
                    <a16:creationId xmlns:a16="http://schemas.microsoft.com/office/drawing/2014/main" id="{4F548943-2859-4335-C828-276D136FB591}"/>
                  </a:ext>
                </a:extLst>
              </p:cNvPr>
              <p:cNvSpPr/>
              <p:nvPr/>
            </p:nvSpPr>
            <p:spPr>
              <a:xfrm>
                <a:off x="5948165" y="4304060"/>
                <a:ext cx="10354" cy="19407"/>
              </a:xfrm>
              <a:custGeom>
                <a:avLst/>
                <a:gdLst>
                  <a:gd name="connsiteX0" fmla="*/ 0 w 10354"/>
                  <a:gd name="connsiteY0" fmla="*/ 0 h 19407"/>
                  <a:gd name="connsiteX1" fmla="*/ 10354 w 10354"/>
                  <a:gd name="connsiteY1" fmla="*/ 19408 h 194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0354" h="19407">
                    <a:moveTo>
                      <a:pt x="0" y="0"/>
                    </a:moveTo>
                    <a:lnTo>
                      <a:pt x="10354" y="19408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108" name="Forma livre: Forma 2107">
                <a:extLst>
                  <a:ext uri="{FF2B5EF4-FFF2-40B4-BE49-F238E27FC236}">
                    <a16:creationId xmlns:a16="http://schemas.microsoft.com/office/drawing/2014/main" id="{EBA6450B-F0C5-EF5D-C584-9BAE8887C0D4}"/>
                  </a:ext>
                </a:extLst>
              </p:cNvPr>
              <p:cNvSpPr/>
              <p:nvPr/>
            </p:nvSpPr>
            <p:spPr>
              <a:xfrm>
                <a:off x="5874771" y="4167097"/>
                <a:ext cx="10354" cy="19359"/>
              </a:xfrm>
              <a:custGeom>
                <a:avLst/>
                <a:gdLst>
                  <a:gd name="connsiteX0" fmla="*/ 0 w 10354"/>
                  <a:gd name="connsiteY0" fmla="*/ 0 h 19359"/>
                  <a:gd name="connsiteX1" fmla="*/ 10354 w 10354"/>
                  <a:gd name="connsiteY1" fmla="*/ 19360 h 193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0354" h="19359">
                    <a:moveTo>
                      <a:pt x="0" y="0"/>
                    </a:moveTo>
                    <a:lnTo>
                      <a:pt x="10354" y="1936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2109" name="Forma livre: Forma 2108">
              <a:extLst>
                <a:ext uri="{FF2B5EF4-FFF2-40B4-BE49-F238E27FC236}">
                  <a16:creationId xmlns:a16="http://schemas.microsoft.com/office/drawing/2014/main" id="{0496B512-0BCC-DDBE-B04D-0E566C7A50AC}"/>
                </a:ext>
              </a:extLst>
            </p:cNvPr>
            <p:cNvSpPr/>
            <p:nvPr/>
          </p:nvSpPr>
          <p:spPr>
            <a:xfrm>
              <a:off x="5935981" y="4160403"/>
              <a:ext cx="6356" cy="20997"/>
            </a:xfrm>
            <a:custGeom>
              <a:avLst/>
              <a:gdLst>
                <a:gd name="connsiteX0" fmla="*/ 6357 w 6356"/>
                <a:gd name="connsiteY0" fmla="*/ 0 h 20997"/>
                <a:gd name="connsiteX1" fmla="*/ 0 w 6356"/>
                <a:gd name="connsiteY1" fmla="*/ 20997 h 209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356" h="20997">
                  <a:moveTo>
                    <a:pt x="6357" y="0"/>
                  </a:moveTo>
                  <a:lnTo>
                    <a:pt x="0" y="20997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10" name="Forma livre: Forma 2109">
              <a:extLst>
                <a:ext uri="{FF2B5EF4-FFF2-40B4-BE49-F238E27FC236}">
                  <a16:creationId xmlns:a16="http://schemas.microsoft.com/office/drawing/2014/main" id="{C997880F-1A79-5C20-820E-7C66BB334AC9}"/>
                </a:ext>
              </a:extLst>
            </p:cNvPr>
            <p:cNvSpPr/>
            <p:nvPr/>
          </p:nvSpPr>
          <p:spPr>
            <a:xfrm>
              <a:off x="5975471" y="4203408"/>
              <a:ext cx="19359" cy="10354"/>
            </a:xfrm>
            <a:custGeom>
              <a:avLst/>
              <a:gdLst>
                <a:gd name="connsiteX0" fmla="*/ 19360 w 19359"/>
                <a:gd name="connsiteY0" fmla="*/ 0 h 10354"/>
                <a:gd name="connsiteX1" fmla="*/ 0 w 19359"/>
                <a:gd name="connsiteY1" fmla="*/ 10354 h 103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9359" h="10354">
                  <a:moveTo>
                    <a:pt x="19360" y="0"/>
                  </a:moveTo>
                  <a:lnTo>
                    <a:pt x="0" y="10354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2111" name="Gráfico 19">
            <a:extLst>
              <a:ext uri="{FF2B5EF4-FFF2-40B4-BE49-F238E27FC236}">
                <a16:creationId xmlns:a16="http://schemas.microsoft.com/office/drawing/2014/main" id="{23427EF9-DB10-B5D4-C2FB-A49AB6B6A91E}"/>
              </a:ext>
            </a:extLst>
          </p:cNvPr>
          <p:cNvGrpSpPr/>
          <p:nvPr/>
        </p:nvGrpSpPr>
        <p:grpSpPr>
          <a:xfrm>
            <a:off x="5683004" y="5282256"/>
            <a:ext cx="300846" cy="270602"/>
            <a:chOff x="5683004" y="5282256"/>
            <a:chExt cx="300846" cy="270602"/>
          </a:xfrm>
          <a:noFill/>
        </p:grpSpPr>
        <p:sp>
          <p:nvSpPr>
            <p:cNvPr id="2112" name="Forma livre: Forma 2111">
              <a:extLst>
                <a:ext uri="{FF2B5EF4-FFF2-40B4-BE49-F238E27FC236}">
                  <a16:creationId xmlns:a16="http://schemas.microsoft.com/office/drawing/2014/main" id="{A2DADE94-099A-CA43-DFDB-E4BE0FCEA42D}"/>
                </a:ext>
              </a:extLst>
            </p:cNvPr>
            <p:cNvSpPr/>
            <p:nvPr/>
          </p:nvSpPr>
          <p:spPr>
            <a:xfrm>
              <a:off x="5867644" y="5452256"/>
              <a:ext cx="55189" cy="55189"/>
            </a:xfrm>
            <a:custGeom>
              <a:avLst/>
              <a:gdLst>
                <a:gd name="connsiteX0" fmla="*/ 0 w 55189"/>
                <a:gd name="connsiteY0" fmla="*/ 55190 h 55189"/>
                <a:gd name="connsiteX1" fmla="*/ 55190 w 55189"/>
                <a:gd name="connsiteY1" fmla="*/ 0 h 551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5189" h="55189">
                  <a:moveTo>
                    <a:pt x="0" y="55190"/>
                  </a:moveTo>
                  <a:lnTo>
                    <a:pt x="5519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13" name="Forma livre: Forma 2112">
              <a:extLst>
                <a:ext uri="{FF2B5EF4-FFF2-40B4-BE49-F238E27FC236}">
                  <a16:creationId xmlns:a16="http://schemas.microsoft.com/office/drawing/2014/main" id="{14010553-3323-16E7-C315-DF7BF41BDEA8}"/>
                </a:ext>
              </a:extLst>
            </p:cNvPr>
            <p:cNvSpPr/>
            <p:nvPr/>
          </p:nvSpPr>
          <p:spPr>
            <a:xfrm>
              <a:off x="5903763" y="5484715"/>
              <a:ext cx="22875" cy="22778"/>
            </a:xfrm>
            <a:custGeom>
              <a:avLst/>
              <a:gdLst>
                <a:gd name="connsiteX0" fmla="*/ 0 w 22875"/>
                <a:gd name="connsiteY0" fmla="*/ 22779 h 22778"/>
                <a:gd name="connsiteX1" fmla="*/ 22875 w 22875"/>
                <a:gd name="connsiteY1" fmla="*/ 0 h 227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2875" h="22778">
                  <a:moveTo>
                    <a:pt x="0" y="22779"/>
                  </a:moveTo>
                  <a:lnTo>
                    <a:pt x="22875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2114" name="Gráfico 19">
              <a:extLst>
                <a:ext uri="{FF2B5EF4-FFF2-40B4-BE49-F238E27FC236}">
                  <a16:creationId xmlns:a16="http://schemas.microsoft.com/office/drawing/2014/main" id="{DE3756D0-D6C1-DBB6-83C8-D614179E6BE1}"/>
                </a:ext>
              </a:extLst>
            </p:cNvPr>
            <p:cNvGrpSpPr/>
            <p:nvPr/>
          </p:nvGrpSpPr>
          <p:grpSpPr>
            <a:xfrm>
              <a:off x="5708046" y="5416570"/>
              <a:ext cx="250761" cy="136288"/>
              <a:chOff x="5708046" y="5416570"/>
              <a:chExt cx="250761" cy="136288"/>
            </a:xfrm>
          </p:grpSpPr>
          <p:sp>
            <p:nvSpPr>
              <p:cNvPr id="2115" name="Forma livre: Forma 2114">
                <a:extLst>
                  <a:ext uri="{FF2B5EF4-FFF2-40B4-BE49-F238E27FC236}">
                    <a16:creationId xmlns:a16="http://schemas.microsoft.com/office/drawing/2014/main" id="{8A76DC8B-32D7-646A-FBA1-0AEE95F94E11}"/>
                  </a:ext>
                </a:extLst>
              </p:cNvPr>
              <p:cNvSpPr/>
              <p:nvPr/>
            </p:nvSpPr>
            <p:spPr>
              <a:xfrm>
                <a:off x="5708046" y="5416570"/>
                <a:ext cx="4815" cy="136288"/>
              </a:xfrm>
              <a:custGeom>
                <a:avLst/>
                <a:gdLst>
                  <a:gd name="connsiteX0" fmla="*/ 0 w 4815"/>
                  <a:gd name="connsiteY0" fmla="*/ 136289 h 136288"/>
                  <a:gd name="connsiteX1" fmla="*/ 0 w 4815"/>
                  <a:gd name="connsiteY1" fmla="*/ 0 h 1362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815" h="136288">
                    <a:moveTo>
                      <a:pt x="0" y="136289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116" name="Forma livre: Forma 2115">
                <a:extLst>
                  <a:ext uri="{FF2B5EF4-FFF2-40B4-BE49-F238E27FC236}">
                    <a16:creationId xmlns:a16="http://schemas.microsoft.com/office/drawing/2014/main" id="{2E506ACA-4375-8879-F07E-3661159A2AC8}"/>
                  </a:ext>
                </a:extLst>
              </p:cNvPr>
              <p:cNvSpPr/>
              <p:nvPr/>
            </p:nvSpPr>
            <p:spPr>
              <a:xfrm>
                <a:off x="5958808" y="5416570"/>
                <a:ext cx="4815" cy="136288"/>
              </a:xfrm>
              <a:custGeom>
                <a:avLst/>
                <a:gdLst>
                  <a:gd name="connsiteX0" fmla="*/ 0 w 4815"/>
                  <a:gd name="connsiteY0" fmla="*/ 0 h 136288"/>
                  <a:gd name="connsiteX1" fmla="*/ 0 w 4815"/>
                  <a:gd name="connsiteY1" fmla="*/ 136289 h 1362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815" h="136288">
                    <a:moveTo>
                      <a:pt x="0" y="0"/>
                    </a:moveTo>
                    <a:lnTo>
                      <a:pt x="0" y="136289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117" name="Forma livre: Forma 2116">
                <a:extLst>
                  <a:ext uri="{FF2B5EF4-FFF2-40B4-BE49-F238E27FC236}">
                    <a16:creationId xmlns:a16="http://schemas.microsoft.com/office/drawing/2014/main" id="{28835BB5-009D-7204-58B5-317E15102B3E}"/>
                  </a:ext>
                </a:extLst>
              </p:cNvPr>
              <p:cNvSpPr/>
              <p:nvPr/>
            </p:nvSpPr>
            <p:spPr>
              <a:xfrm>
                <a:off x="5787026" y="5416570"/>
                <a:ext cx="4815" cy="135903"/>
              </a:xfrm>
              <a:custGeom>
                <a:avLst/>
                <a:gdLst>
                  <a:gd name="connsiteX0" fmla="*/ 0 w 4815"/>
                  <a:gd name="connsiteY0" fmla="*/ 0 h 135903"/>
                  <a:gd name="connsiteX1" fmla="*/ 0 w 4815"/>
                  <a:gd name="connsiteY1" fmla="*/ 135903 h 1359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815" h="135903">
                    <a:moveTo>
                      <a:pt x="0" y="0"/>
                    </a:moveTo>
                    <a:lnTo>
                      <a:pt x="0" y="135903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2118" name="Forma livre: Forma 2117">
              <a:extLst>
                <a:ext uri="{FF2B5EF4-FFF2-40B4-BE49-F238E27FC236}">
                  <a16:creationId xmlns:a16="http://schemas.microsoft.com/office/drawing/2014/main" id="{B6057FCE-CA8C-442A-F283-7F12E27DAAA3}"/>
                </a:ext>
              </a:extLst>
            </p:cNvPr>
            <p:cNvSpPr/>
            <p:nvPr/>
          </p:nvSpPr>
          <p:spPr>
            <a:xfrm>
              <a:off x="5759769" y="5460635"/>
              <a:ext cx="4815" cy="18396"/>
            </a:xfrm>
            <a:custGeom>
              <a:avLst/>
              <a:gdLst>
                <a:gd name="connsiteX0" fmla="*/ 0 w 4815"/>
                <a:gd name="connsiteY0" fmla="*/ 0 h 18396"/>
                <a:gd name="connsiteX1" fmla="*/ 0 w 4815"/>
                <a:gd name="connsiteY1" fmla="*/ 18397 h 18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815" h="18396">
                  <a:moveTo>
                    <a:pt x="0" y="0"/>
                  </a:moveTo>
                  <a:lnTo>
                    <a:pt x="0" y="18397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19" name="Forma livre: Forma 2118">
              <a:extLst>
                <a:ext uri="{FF2B5EF4-FFF2-40B4-BE49-F238E27FC236}">
                  <a16:creationId xmlns:a16="http://schemas.microsoft.com/office/drawing/2014/main" id="{562A9400-3C8D-5D3A-7429-A27CA6374C18}"/>
                </a:ext>
              </a:extLst>
            </p:cNvPr>
            <p:cNvSpPr/>
            <p:nvPr/>
          </p:nvSpPr>
          <p:spPr>
            <a:xfrm>
              <a:off x="5722735" y="5343032"/>
              <a:ext cx="251435" cy="4815"/>
            </a:xfrm>
            <a:custGeom>
              <a:avLst/>
              <a:gdLst>
                <a:gd name="connsiteX0" fmla="*/ 251436 w 251435"/>
                <a:gd name="connsiteY0" fmla="*/ 0 h 4815"/>
                <a:gd name="connsiteX1" fmla="*/ 0 w 251435"/>
                <a:gd name="connsiteY1" fmla="*/ 0 h 48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51435" h="4815">
                  <a:moveTo>
                    <a:pt x="251436" y="0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20" name="Forma livre: Forma 2119">
              <a:extLst>
                <a:ext uri="{FF2B5EF4-FFF2-40B4-BE49-F238E27FC236}">
                  <a16:creationId xmlns:a16="http://schemas.microsoft.com/office/drawing/2014/main" id="{A2AECDF4-2969-BB94-00AA-396252900681}"/>
                </a:ext>
              </a:extLst>
            </p:cNvPr>
            <p:cNvSpPr/>
            <p:nvPr/>
          </p:nvSpPr>
          <p:spPr>
            <a:xfrm>
              <a:off x="5691432" y="5282256"/>
              <a:ext cx="283942" cy="113943"/>
            </a:xfrm>
            <a:custGeom>
              <a:avLst/>
              <a:gdLst>
                <a:gd name="connsiteX0" fmla="*/ 249317 w 283942"/>
                <a:gd name="connsiteY0" fmla="*/ 0 h 113943"/>
                <a:gd name="connsiteX1" fmla="*/ 35348 w 283942"/>
                <a:gd name="connsiteY1" fmla="*/ 0 h 113943"/>
                <a:gd name="connsiteX2" fmla="*/ 0 w 283942"/>
                <a:gd name="connsiteY2" fmla="*/ 60921 h 113943"/>
                <a:gd name="connsiteX3" fmla="*/ 0 w 283942"/>
                <a:gd name="connsiteY3" fmla="*/ 85578 h 113943"/>
                <a:gd name="connsiteX4" fmla="*/ 28414 w 283942"/>
                <a:gd name="connsiteY4" fmla="*/ 113943 h 113943"/>
                <a:gd name="connsiteX5" fmla="*/ 56490 w 283942"/>
                <a:gd name="connsiteY5" fmla="*/ 85578 h 113943"/>
                <a:gd name="connsiteX6" fmla="*/ 84566 w 283942"/>
                <a:gd name="connsiteY6" fmla="*/ 113943 h 113943"/>
                <a:gd name="connsiteX7" fmla="*/ 112980 w 283942"/>
                <a:gd name="connsiteY7" fmla="*/ 85578 h 113943"/>
                <a:gd name="connsiteX8" fmla="*/ 141394 w 283942"/>
                <a:gd name="connsiteY8" fmla="*/ 113943 h 113943"/>
                <a:gd name="connsiteX9" fmla="*/ 169759 w 283942"/>
                <a:gd name="connsiteY9" fmla="*/ 85578 h 113943"/>
                <a:gd name="connsiteX10" fmla="*/ 198172 w 283942"/>
                <a:gd name="connsiteY10" fmla="*/ 113943 h 113943"/>
                <a:gd name="connsiteX11" fmla="*/ 226875 w 283942"/>
                <a:gd name="connsiteY11" fmla="*/ 85578 h 113943"/>
                <a:gd name="connsiteX12" fmla="*/ 255577 w 283942"/>
                <a:gd name="connsiteY12" fmla="*/ 113943 h 113943"/>
                <a:gd name="connsiteX13" fmla="*/ 283943 w 283942"/>
                <a:gd name="connsiteY13" fmla="*/ 85578 h 113943"/>
                <a:gd name="connsiteX14" fmla="*/ 283943 w 283942"/>
                <a:gd name="connsiteY14" fmla="*/ 60921 h 113943"/>
                <a:gd name="connsiteX15" fmla="*/ 249317 w 283942"/>
                <a:gd name="connsiteY15" fmla="*/ 0 h 1139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283942" h="113943">
                  <a:moveTo>
                    <a:pt x="249317" y="0"/>
                  </a:moveTo>
                  <a:lnTo>
                    <a:pt x="35348" y="0"/>
                  </a:lnTo>
                  <a:lnTo>
                    <a:pt x="0" y="60921"/>
                  </a:lnTo>
                  <a:lnTo>
                    <a:pt x="0" y="85578"/>
                  </a:lnTo>
                  <a:cubicBezTo>
                    <a:pt x="0" y="101277"/>
                    <a:pt x="12714" y="113943"/>
                    <a:pt x="28414" y="113943"/>
                  </a:cubicBezTo>
                  <a:cubicBezTo>
                    <a:pt x="44113" y="113943"/>
                    <a:pt x="56490" y="101229"/>
                    <a:pt x="56490" y="85578"/>
                  </a:cubicBezTo>
                  <a:cubicBezTo>
                    <a:pt x="56490" y="101277"/>
                    <a:pt x="68915" y="113943"/>
                    <a:pt x="84566" y="113943"/>
                  </a:cubicBezTo>
                  <a:cubicBezTo>
                    <a:pt x="100218" y="113943"/>
                    <a:pt x="112980" y="101229"/>
                    <a:pt x="112980" y="85578"/>
                  </a:cubicBezTo>
                  <a:cubicBezTo>
                    <a:pt x="112980" y="101277"/>
                    <a:pt x="125694" y="113943"/>
                    <a:pt x="141394" y="113943"/>
                  </a:cubicBezTo>
                  <a:cubicBezTo>
                    <a:pt x="157093" y="113943"/>
                    <a:pt x="169759" y="101229"/>
                    <a:pt x="169759" y="85578"/>
                  </a:cubicBezTo>
                  <a:cubicBezTo>
                    <a:pt x="169759" y="101277"/>
                    <a:pt x="182473" y="113943"/>
                    <a:pt x="198172" y="113943"/>
                  </a:cubicBezTo>
                  <a:cubicBezTo>
                    <a:pt x="213872" y="113943"/>
                    <a:pt x="226875" y="101229"/>
                    <a:pt x="226875" y="85578"/>
                  </a:cubicBezTo>
                  <a:cubicBezTo>
                    <a:pt x="226875" y="101277"/>
                    <a:pt x="239878" y="113943"/>
                    <a:pt x="255577" y="113943"/>
                  </a:cubicBezTo>
                  <a:cubicBezTo>
                    <a:pt x="271277" y="113943"/>
                    <a:pt x="283943" y="101229"/>
                    <a:pt x="283943" y="85578"/>
                  </a:cubicBezTo>
                  <a:lnTo>
                    <a:pt x="283943" y="60921"/>
                  </a:lnTo>
                  <a:lnTo>
                    <a:pt x="249317" y="0"/>
                  </a:ln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2121" name="Gráfico 19">
              <a:extLst>
                <a:ext uri="{FF2B5EF4-FFF2-40B4-BE49-F238E27FC236}">
                  <a16:creationId xmlns:a16="http://schemas.microsoft.com/office/drawing/2014/main" id="{47D5C0D5-9808-2E86-920B-EA8C00FBDAE4}"/>
                </a:ext>
              </a:extLst>
            </p:cNvPr>
            <p:cNvGrpSpPr/>
            <p:nvPr/>
          </p:nvGrpSpPr>
          <p:grpSpPr>
            <a:xfrm>
              <a:off x="5758854" y="5282786"/>
              <a:ext cx="147943" cy="34048"/>
              <a:chOff x="5758854" y="5282786"/>
              <a:chExt cx="147943" cy="34048"/>
            </a:xfrm>
          </p:grpSpPr>
          <p:sp>
            <p:nvSpPr>
              <p:cNvPr id="2122" name="Forma livre: Forma 2121">
                <a:extLst>
                  <a:ext uri="{FF2B5EF4-FFF2-40B4-BE49-F238E27FC236}">
                    <a16:creationId xmlns:a16="http://schemas.microsoft.com/office/drawing/2014/main" id="{953E2CCA-63BE-3033-B46D-75F234DE73C3}"/>
                  </a:ext>
                </a:extLst>
              </p:cNvPr>
              <p:cNvSpPr/>
              <p:nvPr/>
            </p:nvSpPr>
            <p:spPr>
              <a:xfrm>
                <a:off x="5808457" y="5282786"/>
                <a:ext cx="2118" cy="34048"/>
              </a:xfrm>
              <a:custGeom>
                <a:avLst/>
                <a:gdLst>
                  <a:gd name="connsiteX0" fmla="*/ 0 w 2118"/>
                  <a:gd name="connsiteY0" fmla="*/ 34048 h 34048"/>
                  <a:gd name="connsiteX1" fmla="*/ 2119 w 2118"/>
                  <a:gd name="connsiteY1" fmla="*/ 0 h 340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118" h="34048">
                    <a:moveTo>
                      <a:pt x="0" y="34048"/>
                    </a:moveTo>
                    <a:lnTo>
                      <a:pt x="2119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123" name="Forma livre: Forma 2122">
                <a:extLst>
                  <a:ext uri="{FF2B5EF4-FFF2-40B4-BE49-F238E27FC236}">
                    <a16:creationId xmlns:a16="http://schemas.microsoft.com/office/drawing/2014/main" id="{142BA999-0617-2D84-FA88-BA69B0115189}"/>
                  </a:ext>
                </a:extLst>
              </p:cNvPr>
              <p:cNvSpPr/>
              <p:nvPr/>
            </p:nvSpPr>
            <p:spPr>
              <a:xfrm>
                <a:off x="5758854" y="5282786"/>
                <a:ext cx="8042" cy="34048"/>
              </a:xfrm>
              <a:custGeom>
                <a:avLst/>
                <a:gdLst>
                  <a:gd name="connsiteX0" fmla="*/ 0 w 8042"/>
                  <a:gd name="connsiteY0" fmla="*/ 34048 h 34048"/>
                  <a:gd name="connsiteX1" fmla="*/ 8042 w 8042"/>
                  <a:gd name="connsiteY1" fmla="*/ 0 h 340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8042" h="34048">
                    <a:moveTo>
                      <a:pt x="0" y="34048"/>
                    </a:moveTo>
                    <a:lnTo>
                      <a:pt x="8042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124" name="Forma livre: Forma 2123">
                <a:extLst>
                  <a:ext uri="{FF2B5EF4-FFF2-40B4-BE49-F238E27FC236}">
                    <a16:creationId xmlns:a16="http://schemas.microsoft.com/office/drawing/2014/main" id="{D260F79F-1BEE-108D-D025-230C917979E4}"/>
                  </a:ext>
                </a:extLst>
              </p:cNvPr>
              <p:cNvSpPr/>
              <p:nvPr/>
            </p:nvSpPr>
            <p:spPr>
              <a:xfrm>
                <a:off x="5855075" y="5282786"/>
                <a:ext cx="2167" cy="34048"/>
              </a:xfrm>
              <a:custGeom>
                <a:avLst/>
                <a:gdLst>
                  <a:gd name="connsiteX0" fmla="*/ 2167 w 2167"/>
                  <a:gd name="connsiteY0" fmla="*/ 34048 h 34048"/>
                  <a:gd name="connsiteX1" fmla="*/ 0 w 2167"/>
                  <a:gd name="connsiteY1" fmla="*/ 0 h 340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167" h="34048">
                    <a:moveTo>
                      <a:pt x="2167" y="34048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125" name="Forma livre: Forma 2124">
                <a:extLst>
                  <a:ext uri="{FF2B5EF4-FFF2-40B4-BE49-F238E27FC236}">
                    <a16:creationId xmlns:a16="http://schemas.microsoft.com/office/drawing/2014/main" id="{EC88B459-A5E5-C236-4543-E3F46B613E80}"/>
                  </a:ext>
                </a:extLst>
              </p:cNvPr>
              <p:cNvSpPr/>
              <p:nvPr/>
            </p:nvSpPr>
            <p:spPr>
              <a:xfrm>
                <a:off x="5898754" y="5282786"/>
                <a:ext cx="8042" cy="34048"/>
              </a:xfrm>
              <a:custGeom>
                <a:avLst/>
                <a:gdLst>
                  <a:gd name="connsiteX0" fmla="*/ 8043 w 8042"/>
                  <a:gd name="connsiteY0" fmla="*/ 34048 h 34048"/>
                  <a:gd name="connsiteX1" fmla="*/ 0 w 8042"/>
                  <a:gd name="connsiteY1" fmla="*/ 0 h 340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8042" h="34048">
                    <a:moveTo>
                      <a:pt x="8043" y="34048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2126" name="Forma livre: Forma 2125">
              <a:extLst>
                <a:ext uri="{FF2B5EF4-FFF2-40B4-BE49-F238E27FC236}">
                  <a16:creationId xmlns:a16="http://schemas.microsoft.com/office/drawing/2014/main" id="{CC5310CD-0FAF-5D2A-2649-8A5BEECDC7D0}"/>
                </a:ext>
              </a:extLst>
            </p:cNvPr>
            <p:cNvSpPr/>
            <p:nvPr/>
          </p:nvSpPr>
          <p:spPr>
            <a:xfrm>
              <a:off x="5683004" y="5552859"/>
              <a:ext cx="300846" cy="4815"/>
            </a:xfrm>
            <a:custGeom>
              <a:avLst/>
              <a:gdLst>
                <a:gd name="connsiteX0" fmla="*/ 0 w 300846"/>
                <a:gd name="connsiteY0" fmla="*/ 0 h 4815"/>
                <a:gd name="connsiteX1" fmla="*/ 300847 w 300846"/>
                <a:gd name="connsiteY1" fmla="*/ 0 h 48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00846" h="4815">
                  <a:moveTo>
                    <a:pt x="0" y="0"/>
                  </a:moveTo>
                  <a:lnTo>
                    <a:pt x="300847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2127" name="Gráfico 19">
            <a:extLst>
              <a:ext uri="{FF2B5EF4-FFF2-40B4-BE49-F238E27FC236}">
                <a16:creationId xmlns:a16="http://schemas.microsoft.com/office/drawing/2014/main" id="{147A6A50-12C0-E00C-0EB4-90B650311EEB}"/>
              </a:ext>
            </a:extLst>
          </p:cNvPr>
          <p:cNvGrpSpPr/>
          <p:nvPr/>
        </p:nvGrpSpPr>
        <p:grpSpPr>
          <a:xfrm>
            <a:off x="5041339" y="5291551"/>
            <a:ext cx="333449" cy="251243"/>
            <a:chOff x="5041339" y="5291551"/>
            <a:chExt cx="333449" cy="251243"/>
          </a:xfrm>
          <a:noFill/>
        </p:grpSpPr>
        <p:sp>
          <p:nvSpPr>
            <p:cNvPr id="2128" name="Forma livre: Forma 2127">
              <a:extLst>
                <a:ext uri="{FF2B5EF4-FFF2-40B4-BE49-F238E27FC236}">
                  <a16:creationId xmlns:a16="http://schemas.microsoft.com/office/drawing/2014/main" id="{3EE2BBDC-B5BE-B175-AFAC-F46D785758BE}"/>
                </a:ext>
              </a:extLst>
            </p:cNvPr>
            <p:cNvSpPr/>
            <p:nvPr/>
          </p:nvSpPr>
          <p:spPr>
            <a:xfrm>
              <a:off x="5160532" y="5404097"/>
              <a:ext cx="4815" cy="136770"/>
            </a:xfrm>
            <a:custGeom>
              <a:avLst/>
              <a:gdLst>
                <a:gd name="connsiteX0" fmla="*/ 0 w 4815"/>
                <a:gd name="connsiteY0" fmla="*/ 0 h 136770"/>
                <a:gd name="connsiteX1" fmla="*/ 0 w 4815"/>
                <a:gd name="connsiteY1" fmla="*/ 136770 h 1367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815" h="136770">
                  <a:moveTo>
                    <a:pt x="0" y="0"/>
                  </a:moveTo>
                  <a:lnTo>
                    <a:pt x="0" y="13677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29" name="Forma livre: Forma 2128">
              <a:extLst>
                <a:ext uri="{FF2B5EF4-FFF2-40B4-BE49-F238E27FC236}">
                  <a16:creationId xmlns:a16="http://schemas.microsoft.com/office/drawing/2014/main" id="{3E64C513-DB94-E524-99FC-3823DEDC7400}"/>
                </a:ext>
              </a:extLst>
            </p:cNvPr>
            <p:cNvSpPr/>
            <p:nvPr/>
          </p:nvSpPr>
          <p:spPr>
            <a:xfrm>
              <a:off x="5249962" y="5370772"/>
              <a:ext cx="123334" cy="171251"/>
            </a:xfrm>
            <a:custGeom>
              <a:avLst/>
              <a:gdLst>
                <a:gd name="connsiteX0" fmla="*/ 48 w 123334"/>
                <a:gd name="connsiteY0" fmla="*/ 171252 h 171251"/>
                <a:gd name="connsiteX1" fmla="*/ 0 w 123334"/>
                <a:gd name="connsiteY1" fmla="*/ 0 h 171251"/>
                <a:gd name="connsiteX2" fmla="*/ 123334 w 123334"/>
                <a:gd name="connsiteY2" fmla="*/ 0 h 1712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3334" h="171251">
                  <a:moveTo>
                    <a:pt x="48" y="171252"/>
                  </a:moveTo>
                  <a:lnTo>
                    <a:pt x="0" y="0"/>
                  </a:lnTo>
                  <a:lnTo>
                    <a:pt x="123334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30" name="Forma livre: Forma 2129">
              <a:extLst>
                <a:ext uri="{FF2B5EF4-FFF2-40B4-BE49-F238E27FC236}">
                  <a16:creationId xmlns:a16="http://schemas.microsoft.com/office/drawing/2014/main" id="{40D6662A-303E-6040-4790-736522E0C7C9}"/>
                </a:ext>
              </a:extLst>
            </p:cNvPr>
            <p:cNvSpPr/>
            <p:nvPr/>
          </p:nvSpPr>
          <p:spPr>
            <a:xfrm>
              <a:off x="5041484" y="5297908"/>
              <a:ext cx="333305" cy="244886"/>
            </a:xfrm>
            <a:custGeom>
              <a:avLst/>
              <a:gdLst>
                <a:gd name="connsiteX0" fmla="*/ 208478 w 333305"/>
                <a:gd name="connsiteY0" fmla="*/ 53071 h 244886"/>
                <a:gd name="connsiteX1" fmla="*/ 208478 w 333305"/>
                <a:gd name="connsiteY1" fmla="*/ 0 h 244886"/>
                <a:gd name="connsiteX2" fmla="*/ 333305 w 333305"/>
                <a:gd name="connsiteY2" fmla="*/ 0 h 244886"/>
                <a:gd name="connsiteX3" fmla="*/ 333305 w 333305"/>
                <a:gd name="connsiteY3" fmla="*/ 244886 h 244886"/>
                <a:gd name="connsiteX4" fmla="*/ 0 w 333305"/>
                <a:gd name="connsiteY4" fmla="*/ 244886 h 244886"/>
                <a:gd name="connsiteX5" fmla="*/ 0 w 333305"/>
                <a:gd name="connsiteY5" fmla="*/ 103444 h 244886"/>
                <a:gd name="connsiteX6" fmla="*/ 206697 w 333305"/>
                <a:gd name="connsiteY6" fmla="*/ 103396 h 2448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33305" h="244886">
                  <a:moveTo>
                    <a:pt x="208478" y="53071"/>
                  </a:moveTo>
                  <a:lnTo>
                    <a:pt x="208478" y="0"/>
                  </a:lnTo>
                  <a:lnTo>
                    <a:pt x="333305" y="0"/>
                  </a:lnTo>
                  <a:lnTo>
                    <a:pt x="333305" y="244886"/>
                  </a:lnTo>
                  <a:lnTo>
                    <a:pt x="0" y="244886"/>
                  </a:lnTo>
                  <a:lnTo>
                    <a:pt x="0" y="103444"/>
                  </a:lnTo>
                  <a:lnTo>
                    <a:pt x="206697" y="103396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31" name="Forma livre: Forma 2130">
              <a:extLst>
                <a:ext uri="{FF2B5EF4-FFF2-40B4-BE49-F238E27FC236}">
                  <a16:creationId xmlns:a16="http://schemas.microsoft.com/office/drawing/2014/main" id="{3BFAC41A-7F85-20E4-E26B-CE439A9DE9D9}"/>
                </a:ext>
              </a:extLst>
            </p:cNvPr>
            <p:cNvSpPr/>
            <p:nvPr/>
          </p:nvSpPr>
          <p:spPr>
            <a:xfrm>
              <a:off x="5276497" y="5441613"/>
              <a:ext cx="4815" cy="35878"/>
            </a:xfrm>
            <a:custGeom>
              <a:avLst/>
              <a:gdLst>
                <a:gd name="connsiteX0" fmla="*/ 0 w 4815"/>
                <a:gd name="connsiteY0" fmla="*/ 0 h 35878"/>
                <a:gd name="connsiteX1" fmla="*/ 0 w 4815"/>
                <a:gd name="connsiteY1" fmla="*/ 35878 h 358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815" h="35878">
                  <a:moveTo>
                    <a:pt x="0" y="0"/>
                  </a:moveTo>
                  <a:lnTo>
                    <a:pt x="0" y="35878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32" name="Forma livre: Forma 2131">
              <a:extLst>
                <a:ext uri="{FF2B5EF4-FFF2-40B4-BE49-F238E27FC236}">
                  <a16:creationId xmlns:a16="http://schemas.microsoft.com/office/drawing/2014/main" id="{B499B238-5438-0CA7-6192-4CAB19205818}"/>
                </a:ext>
              </a:extLst>
            </p:cNvPr>
            <p:cNvSpPr/>
            <p:nvPr/>
          </p:nvSpPr>
          <p:spPr>
            <a:xfrm>
              <a:off x="5276497" y="5321554"/>
              <a:ext cx="4815" cy="27065"/>
            </a:xfrm>
            <a:custGeom>
              <a:avLst/>
              <a:gdLst>
                <a:gd name="connsiteX0" fmla="*/ 0 w 4815"/>
                <a:gd name="connsiteY0" fmla="*/ 0 h 27065"/>
                <a:gd name="connsiteX1" fmla="*/ 0 w 4815"/>
                <a:gd name="connsiteY1" fmla="*/ 27065 h 270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815" h="27065">
                  <a:moveTo>
                    <a:pt x="0" y="0"/>
                  </a:moveTo>
                  <a:lnTo>
                    <a:pt x="0" y="27065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33" name="Forma livre: Forma 2132">
              <a:extLst>
                <a:ext uri="{FF2B5EF4-FFF2-40B4-BE49-F238E27FC236}">
                  <a16:creationId xmlns:a16="http://schemas.microsoft.com/office/drawing/2014/main" id="{3D6DDB64-8C31-4D0C-160B-C24B5090DCE6}"/>
                </a:ext>
              </a:extLst>
            </p:cNvPr>
            <p:cNvSpPr/>
            <p:nvPr/>
          </p:nvSpPr>
          <p:spPr>
            <a:xfrm>
              <a:off x="5041339" y="5313800"/>
              <a:ext cx="118566" cy="35781"/>
            </a:xfrm>
            <a:custGeom>
              <a:avLst/>
              <a:gdLst>
                <a:gd name="connsiteX0" fmla="*/ 118566 w 118566"/>
                <a:gd name="connsiteY0" fmla="*/ 35782 h 35781"/>
                <a:gd name="connsiteX1" fmla="*/ 0 w 118566"/>
                <a:gd name="connsiteY1" fmla="*/ 35782 h 35781"/>
                <a:gd name="connsiteX2" fmla="*/ 34722 w 118566"/>
                <a:gd name="connsiteY2" fmla="*/ 0 h 35781"/>
                <a:gd name="connsiteX3" fmla="*/ 83844 w 118566"/>
                <a:gd name="connsiteY3" fmla="*/ 0 h 35781"/>
                <a:gd name="connsiteX4" fmla="*/ 118566 w 118566"/>
                <a:gd name="connsiteY4" fmla="*/ 35782 h 357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8566" h="35781">
                  <a:moveTo>
                    <a:pt x="118566" y="35782"/>
                  </a:moveTo>
                  <a:lnTo>
                    <a:pt x="0" y="35782"/>
                  </a:lnTo>
                  <a:lnTo>
                    <a:pt x="34722" y="0"/>
                  </a:lnTo>
                  <a:lnTo>
                    <a:pt x="83844" y="0"/>
                  </a:lnTo>
                  <a:lnTo>
                    <a:pt x="118566" y="35782"/>
                  </a:ln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2134" name="Gráfico 19">
              <a:extLst>
                <a:ext uri="{FF2B5EF4-FFF2-40B4-BE49-F238E27FC236}">
                  <a16:creationId xmlns:a16="http://schemas.microsoft.com/office/drawing/2014/main" id="{377CC6AD-3C34-80D5-BBCB-B667A397A401}"/>
                </a:ext>
              </a:extLst>
            </p:cNvPr>
            <p:cNvGrpSpPr/>
            <p:nvPr/>
          </p:nvGrpSpPr>
          <p:grpSpPr>
            <a:xfrm>
              <a:off x="5076110" y="5291551"/>
              <a:ext cx="49025" cy="22297"/>
              <a:chOff x="5076110" y="5291551"/>
              <a:chExt cx="49025" cy="22297"/>
            </a:xfrm>
          </p:grpSpPr>
          <p:sp>
            <p:nvSpPr>
              <p:cNvPr id="2135" name="Forma livre: Forma 2134">
                <a:extLst>
                  <a:ext uri="{FF2B5EF4-FFF2-40B4-BE49-F238E27FC236}">
                    <a16:creationId xmlns:a16="http://schemas.microsoft.com/office/drawing/2014/main" id="{3A63315E-51D5-DD4A-033B-4C41470D335C}"/>
                  </a:ext>
                </a:extLst>
              </p:cNvPr>
              <p:cNvSpPr/>
              <p:nvPr/>
            </p:nvSpPr>
            <p:spPr>
              <a:xfrm>
                <a:off x="5076110" y="5291551"/>
                <a:ext cx="4815" cy="22297"/>
              </a:xfrm>
              <a:custGeom>
                <a:avLst/>
                <a:gdLst>
                  <a:gd name="connsiteX0" fmla="*/ 0 w 4815"/>
                  <a:gd name="connsiteY0" fmla="*/ 22297 h 22297"/>
                  <a:gd name="connsiteX1" fmla="*/ 0 w 4815"/>
                  <a:gd name="connsiteY1" fmla="*/ 0 h 222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815" h="22297">
                    <a:moveTo>
                      <a:pt x="0" y="22297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136" name="Forma livre: Forma 2135">
                <a:extLst>
                  <a:ext uri="{FF2B5EF4-FFF2-40B4-BE49-F238E27FC236}">
                    <a16:creationId xmlns:a16="http://schemas.microsoft.com/office/drawing/2014/main" id="{02912FD7-9C67-02A8-C24C-2E60DE383576}"/>
                  </a:ext>
                </a:extLst>
              </p:cNvPr>
              <p:cNvSpPr/>
              <p:nvPr/>
            </p:nvSpPr>
            <p:spPr>
              <a:xfrm>
                <a:off x="5125135" y="5291551"/>
                <a:ext cx="4815" cy="22297"/>
              </a:xfrm>
              <a:custGeom>
                <a:avLst/>
                <a:gdLst>
                  <a:gd name="connsiteX0" fmla="*/ 0 w 4815"/>
                  <a:gd name="connsiteY0" fmla="*/ 22297 h 22297"/>
                  <a:gd name="connsiteX1" fmla="*/ 0 w 4815"/>
                  <a:gd name="connsiteY1" fmla="*/ 0 h 222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815" h="22297">
                    <a:moveTo>
                      <a:pt x="0" y="22297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2137" name="Forma livre: Forma 2136">
              <a:extLst>
                <a:ext uri="{FF2B5EF4-FFF2-40B4-BE49-F238E27FC236}">
                  <a16:creationId xmlns:a16="http://schemas.microsoft.com/office/drawing/2014/main" id="{1E97CAEC-8776-F971-506B-E7156407042E}"/>
                </a:ext>
              </a:extLst>
            </p:cNvPr>
            <p:cNvSpPr/>
            <p:nvPr/>
          </p:nvSpPr>
          <p:spPr>
            <a:xfrm>
              <a:off x="5160724" y="5442287"/>
              <a:ext cx="89093" cy="4815"/>
            </a:xfrm>
            <a:custGeom>
              <a:avLst/>
              <a:gdLst>
                <a:gd name="connsiteX0" fmla="*/ 0 w 89093"/>
                <a:gd name="connsiteY0" fmla="*/ 0 h 4815"/>
                <a:gd name="connsiteX1" fmla="*/ 89093 w 89093"/>
                <a:gd name="connsiteY1" fmla="*/ 0 h 48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9093" h="4815">
                  <a:moveTo>
                    <a:pt x="0" y="0"/>
                  </a:moveTo>
                  <a:lnTo>
                    <a:pt x="89093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38" name="Forma livre: Forma 2137">
              <a:extLst>
                <a:ext uri="{FF2B5EF4-FFF2-40B4-BE49-F238E27FC236}">
                  <a16:creationId xmlns:a16="http://schemas.microsoft.com/office/drawing/2014/main" id="{81B58EC0-8575-E03C-9642-DA06BBEA887C}"/>
                </a:ext>
              </a:extLst>
            </p:cNvPr>
            <p:cNvSpPr/>
            <p:nvPr/>
          </p:nvSpPr>
          <p:spPr>
            <a:xfrm>
              <a:off x="5065129" y="5456446"/>
              <a:ext cx="71371" cy="55045"/>
            </a:xfrm>
            <a:custGeom>
              <a:avLst/>
              <a:gdLst>
                <a:gd name="connsiteX0" fmla="*/ 0 w 71371"/>
                <a:gd name="connsiteY0" fmla="*/ 0 h 55045"/>
                <a:gd name="connsiteX1" fmla="*/ 71371 w 71371"/>
                <a:gd name="connsiteY1" fmla="*/ 0 h 55045"/>
                <a:gd name="connsiteX2" fmla="*/ 71371 w 71371"/>
                <a:gd name="connsiteY2" fmla="*/ 55045 h 55045"/>
                <a:gd name="connsiteX3" fmla="*/ 0 w 71371"/>
                <a:gd name="connsiteY3" fmla="*/ 55045 h 550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1371" h="55045">
                  <a:moveTo>
                    <a:pt x="0" y="0"/>
                  </a:moveTo>
                  <a:lnTo>
                    <a:pt x="71371" y="0"/>
                  </a:lnTo>
                  <a:lnTo>
                    <a:pt x="71371" y="55045"/>
                  </a:lnTo>
                  <a:lnTo>
                    <a:pt x="0" y="55045"/>
                  </a:ln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39" name="Forma livre: Forma 2138">
              <a:extLst>
                <a:ext uri="{FF2B5EF4-FFF2-40B4-BE49-F238E27FC236}">
                  <a16:creationId xmlns:a16="http://schemas.microsoft.com/office/drawing/2014/main" id="{832D8FDD-8C9D-10F7-B5A7-0379013111AA}"/>
                </a:ext>
              </a:extLst>
            </p:cNvPr>
            <p:cNvSpPr/>
            <p:nvPr/>
          </p:nvSpPr>
          <p:spPr>
            <a:xfrm>
              <a:off x="5068115" y="5488038"/>
              <a:ext cx="65351" cy="4815"/>
            </a:xfrm>
            <a:custGeom>
              <a:avLst/>
              <a:gdLst>
                <a:gd name="connsiteX0" fmla="*/ 0 w 65351"/>
                <a:gd name="connsiteY0" fmla="*/ 0 h 4815"/>
                <a:gd name="connsiteX1" fmla="*/ 65351 w 65351"/>
                <a:gd name="connsiteY1" fmla="*/ 0 h 48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5351" h="4815">
                  <a:moveTo>
                    <a:pt x="0" y="0"/>
                  </a:moveTo>
                  <a:lnTo>
                    <a:pt x="65351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40" name="Forma livre: Forma 2139">
              <a:extLst>
                <a:ext uri="{FF2B5EF4-FFF2-40B4-BE49-F238E27FC236}">
                  <a16:creationId xmlns:a16="http://schemas.microsoft.com/office/drawing/2014/main" id="{AE798FA8-7808-E730-EED0-72EAF2BD8DE4}"/>
                </a:ext>
              </a:extLst>
            </p:cNvPr>
            <p:cNvSpPr/>
            <p:nvPr/>
          </p:nvSpPr>
          <p:spPr>
            <a:xfrm>
              <a:off x="5061469" y="5428995"/>
              <a:ext cx="78642" cy="4815"/>
            </a:xfrm>
            <a:custGeom>
              <a:avLst/>
              <a:gdLst>
                <a:gd name="connsiteX0" fmla="*/ 0 w 78642"/>
                <a:gd name="connsiteY0" fmla="*/ 0 h 4815"/>
                <a:gd name="connsiteX1" fmla="*/ 78643 w 78642"/>
                <a:gd name="connsiteY1" fmla="*/ 0 h 48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8642" h="4815">
                  <a:moveTo>
                    <a:pt x="0" y="0"/>
                  </a:moveTo>
                  <a:lnTo>
                    <a:pt x="78643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2141" name="Gráfico 19">
            <a:extLst>
              <a:ext uri="{FF2B5EF4-FFF2-40B4-BE49-F238E27FC236}">
                <a16:creationId xmlns:a16="http://schemas.microsoft.com/office/drawing/2014/main" id="{95BE37A9-7F87-BDD9-EDDD-1141C31F0142}"/>
              </a:ext>
            </a:extLst>
          </p:cNvPr>
          <p:cNvGrpSpPr/>
          <p:nvPr/>
        </p:nvGrpSpPr>
        <p:grpSpPr>
          <a:xfrm>
            <a:off x="4443065" y="5305709"/>
            <a:ext cx="287843" cy="258659"/>
            <a:chOff x="4443065" y="5305709"/>
            <a:chExt cx="287843" cy="258659"/>
          </a:xfrm>
          <a:noFill/>
        </p:grpSpPr>
        <p:sp>
          <p:nvSpPr>
            <p:cNvPr id="2142" name="Forma livre: Forma 2141">
              <a:extLst>
                <a:ext uri="{FF2B5EF4-FFF2-40B4-BE49-F238E27FC236}">
                  <a16:creationId xmlns:a16="http://schemas.microsoft.com/office/drawing/2014/main" id="{E4836F67-91E9-9199-9B0B-475D7FD0658F}"/>
                </a:ext>
              </a:extLst>
            </p:cNvPr>
            <p:cNvSpPr/>
            <p:nvPr/>
          </p:nvSpPr>
          <p:spPr>
            <a:xfrm>
              <a:off x="4675566" y="5498103"/>
              <a:ext cx="46409" cy="66266"/>
            </a:xfrm>
            <a:custGeom>
              <a:avLst/>
              <a:gdLst>
                <a:gd name="connsiteX0" fmla="*/ 38343 w 46409"/>
                <a:gd name="connsiteY0" fmla="*/ 22779 h 66266"/>
                <a:gd name="connsiteX1" fmla="*/ 23222 w 46409"/>
                <a:gd name="connsiteY1" fmla="*/ 0 h 66266"/>
                <a:gd name="connsiteX2" fmla="*/ 8100 w 46409"/>
                <a:gd name="connsiteY2" fmla="*/ 22779 h 66266"/>
                <a:gd name="connsiteX3" fmla="*/ 23222 w 46409"/>
                <a:gd name="connsiteY3" fmla="*/ 66266 h 66266"/>
                <a:gd name="connsiteX4" fmla="*/ 38343 w 46409"/>
                <a:gd name="connsiteY4" fmla="*/ 22779 h 662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6409" h="66266">
                  <a:moveTo>
                    <a:pt x="38343" y="22779"/>
                  </a:moveTo>
                  <a:cubicBezTo>
                    <a:pt x="24618" y="6646"/>
                    <a:pt x="23318" y="819"/>
                    <a:pt x="23222" y="0"/>
                  </a:cubicBezTo>
                  <a:cubicBezTo>
                    <a:pt x="23125" y="819"/>
                    <a:pt x="21825" y="6646"/>
                    <a:pt x="8100" y="22779"/>
                  </a:cubicBezTo>
                  <a:cubicBezTo>
                    <a:pt x="-7937" y="41609"/>
                    <a:pt x="1261" y="66218"/>
                    <a:pt x="23222" y="66266"/>
                  </a:cubicBezTo>
                  <a:cubicBezTo>
                    <a:pt x="45038" y="66218"/>
                    <a:pt x="54380" y="41609"/>
                    <a:pt x="38343" y="22779"/>
                  </a:cubicBez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43" name="Forma livre: Forma 2142">
              <a:extLst>
                <a:ext uri="{FF2B5EF4-FFF2-40B4-BE49-F238E27FC236}">
                  <a16:creationId xmlns:a16="http://schemas.microsoft.com/office/drawing/2014/main" id="{05C64A03-31FA-A988-6D18-E63069BC5C93}"/>
                </a:ext>
              </a:extLst>
            </p:cNvPr>
            <p:cNvSpPr/>
            <p:nvPr/>
          </p:nvSpPr>
          <p:spPr>
            <a:xfrm>
              <a:off x="4457224" y="5373757"/>
              <a:ext cx="273685" cy="135903"/>
            </a:xfrm>
            <a:custGeom>
              <a:avLst/>
              <a:gdLst>
                <a:gd name="connsiteX0" fmla="*/ 0 w 273685"/>
                <a:gd name="connsiteY0" fmla="*/ 116014 h 135903"/>
                <a:gd name="connsiteX1" fmla="*/ 0 w 273685"/>
                <a:gd name="connsiteY1" fmla="*/ 0 h 135903"/>
                <a:gd name="connsiteX2" fmla="*/ 75368 w 273685"/>
                <a:gd name="connsiteY2" fmla="*/ 0 h 135903"/>
                <a:gd name="connsiteX3" fmla="*/ 101374 w 273685"/>
                <a:gd name="connsiteY3" fmla="*/ 24416 h 135903"/>
                <a:gd name="connsiteX4" fmla="*/ 235977 w 273685"/>
                <a:gd name="connsiteY4" fmla="*/ 24416 h 135903"/>
                <a:gd name="connsiteX5" fmla="*/ 273685 w 273685"/>
                <a:gd name="connsiteY5" fmla="*/ 59909 h 135903"/>
                <a:gd name="connsiteX6" fmla="*/ 125020 w 273685"/>
                <a:gd name="connsiteY6" fmla="*/ 76187 h 135903"/>
                <a:gd name="connsiteX7" fmla="*/ 75464 w 273685"/>
                <a:gd name="connsiteY7" fmla="*/ 129450 h 135903"/>
                <a:gd name="connsiteX8" fmla="*/ 75464 w 273685"/>
                <a:gd name="connsiteY8" fmla="*/ 135903 h 1359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73685" h="135903">
                  <a:moveTo>
                    <a:pt x="0" y="116014"/>
                  </a:moveTo>
                  <a:lnTo>
                    <a:pt x="0" y="0"/>
                  </a:lnTo>
                  <a:lnTo>
                    <a:pt x="75368" y="0"/>
                  </a:lnTo>
                  <a:cubicBezTo>
                    <a:pt x="75368" y="0"/>
                    <a:pt x="76957" y="24416"/>
                    <a:pt x="101374" y="24416"/>
                  </a:cubicBezTo>
                  <a:lnTo>
                    <a:pt x="235977" y="24416"/>
                  </a:lnTo>
                  <a:cubicBezTo>
                    <a:pt x="240937" y="24416"/>
                    <a:pt x="261116" y="25139"/>
                    <a:pt x="273685" y="59909"/>
                  </a:cubicBezTo>
                  <a:lnTo>
                    <a:pt x="125020" y="76187"/>
                  </a:lnTo>
                  <a:cubicBezTo>
                    <a:pt x="125020" y="76187"/>
                    <a:pt x="75464" y="82833"/>
                    <a:pt x="75464" y="129450"/>
                  </a:cubicBezTo>
                  <a:lnTo>
                    <a:pt x="75464" y="135903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44" name="Forma livre: Forma 2143">
              <a:extLst>
                <a:ext uri="{FF2B5EF4-FFF2-40B4-BE49-F238E27FC236}">
                  <a16:creationId xmlns:a16="http://schemas.microsoft.com/office/drawing/2014/main" id="{7CCFEBCB-1E7C-D171-94B2-D699C91F11CA}"/>
                </a:ext>
              </a:extLst>
            </p:cNvPr>
            <p:cNvSpPr/>
            <p:nvPr/>
          </p:nvSpPr>
          <p:spPr>
            <a:xfrm>
              <a:off x="4457368" y="5305709"/>
              <a:ext cx="75223" cy="67710"/>
            </a:xfrm>
            <a:custGeom>
              <a:avLst/>
              <a:gdLst>
                <a:gd name="connsiteX0" fmla="*/ 0 w 75223"/>
                <a:gd name="connsiteY0" fmla="*/ 47147 h 67710"/>
                <a:gd name="connsiteX1" fmla="*/ 0 w 75223"/>
                <a:gd name="connsiteY1" fmla="*/ 17771 h 67710"/>
                <a:gd name="connsiteX2" fmla="*/ 17771 w 75223"/>
                <a:gd name="connsiteY2" fmla="*/ 0 h 67710"/>
                <a:gd name="connsiteX3" fmla="*/ 57405 w 75223"/>
                <a:gd name="connsiteY3" fmla="*/ 0 h 67710"/>
                <a:gd name="connsiteX4" fmla="*/ 75224 w 75223"/>
                <a:gd name="connsiteY4" fmla="*/ 17771 h 67710"/>
                <a:gd name="connsiteX5" fmla="*/ 75224 w 75223"/>
                <a:gd name="connsiteY5" fmla="*/ 67711 h 677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5223" h="67710">
                  <a:moveTo>
                    <a:pt x="0" y="47147"/>
                  </a:moveTo>
                  <a:lnTo>
                    <a:pt x="0" y="17771"/>
                  </a:lnTo>
                  <a:cubicBezTo>
                    <a:pt x="0" y="7994"/>
                    <a:pt x="7994" y="0"/>
                    <a:pt x="17771" y="0"/>
                  </a:cubicBezTo>
                  <a:lnTo>
                    <a:pt x="57405" y="0"/>
                  </a:lnTo>
                  <a:cubicBezTo>
                    <a:pt x="67181" y="0"/>
                    <a:pt x="75224" y="7994"/>
                    <a:pt x="75224" y="17771"/>
                  </a:cubicBezTo>
                  <a:lnTo>
                    <a:pt x="75224" y="67711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45" name="Forma livre: Forma 2144">
              <a:extLst>
                <a:ext uri="{FF2B5EF4-FFF2-40B4-BE49-F238E27FC236}">
                  <a16:creationId xmlns:a16="http://schemas.microsoft.com/office/drawing/2014/main" id="{E39A2B2D-81E7-13DD-942A-20A9222FBA62}"/>
                </a:ext>
              </a:extLst>
            </p:cNvPr>
            <p:cNvSpPr/>
            <p:nvPr/>
          </p:nvSpPr>
          <p:spPr>
            <a:xfrm>
              <a:off x="4533652" y="5321602"/>
              <a:ext cx="97424" cy="17626"/>
            </a:xfrm>
            <a:custGeom>
              <a:avLst/>
              <a:gdLst>
                <a:gd name="connsiteX0" fmla="*/ 0 w 97424"/>
                <a:gd name="connsiteY0" fmla="*/ 17626 h 17626"/>
                <a:gd name="connsiteX1" fmla="*/ 97425 w 97424"/>
                <a:gd name="connsiteY1" fmla="*/ 0 h 176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7424" h="17626">
                  <a:moveTo>
                    <a:pt x="0" y="17626"/>
                  </a:moveTo>
                  <a:lnTo>
                    <a:pt x="97425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46" name="Forma livre: Forma 2145">
              <a:extLst>
                <a:ext uri="{FF2B5EF4-FFF2-40B4-BE49-F238E27FC236}">
                  <a16:creationId xmlns:a16="http://schemas.microsoft.com/office/drawing/2014/main" id="{53D1A88D-F97A-ED83-B0AD-265442D54287}"/>
                </a:ext>
              </a:extLst>
            </p:cNvPr>
            <p:cNvSpPr/>
            <p:nvPr/>
          </p:nvSpPr>
          <p:spPr>
            <a:xfrm>
              <a:off x="4657082" y="5436026"/>
              <a:ext cx="64339" cy="31014"/>
            </a:xfrm>
            <a:custGeom>
              <a:avLst/>
              <a:gdLst>
                <a:gd name="connsiteX0" fmla="*/ 0 w 64339"/>
                <a:gd name="connsiteY0" fmla="*/ 7031 h 31014"/>
                <a:gd name="connsiteX1" fmla="*/ 2841 w 64339"/>
                <a:gd name="connsiteY1" fmla="*/ 31014 h 31014"/>
                <a:gd name="connsiteX2" fmla="*/ 64340 w 64339"/>
                <a:gd name="connsiteY2" fmla="*/ 24224 h 31014"/>
                <a:gd name="connsiteX3" fmla="*/ 61402 w 64339"/>
                <a:gd name="connsiteY3" fmla="*/ 0 h 310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4339" h="31014">
                  <a:moveTo>
                    <a:pt x="0" y="7031"/>
                  </a:moveTo>
                  <a:lnTo>
                    <a:pt x="2841" y="31014"/>
                  </a:lnTo>
                  <a:lnTo>
                    <a:pt x="64340" y="24224"/>
                  </a:lnTo>
                  <a:lnTo>
                    <a:pt x="61402" y="0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47" name="Forma livre: Forma 2146">
              <a:extLst>
                <a:ext uri="{FF2B5EF4-FFF2-40B4-BE49-F238E27FC236}">
                  <a16:creationId xmlns:a16="http://schemas.microsoft.com/office/drawing/2014/main" id="{BC423549-519B-D925-B452-B495A012E05E}"/>
                </a:ext>
              </a:extLst>
            </p:cNvPr>
            <p:cNvSpPr/>
            <p:nvPr/>
          </p:nvSpPr>
          <p:spPr>
            <a:xfrm>
              <a:off x="4443065" y="5510768"/>
              <a:ext cx="105130" cy="26487"/>
            </a:xfrm>
            <a:custGeom>
              <a:avLst/>
              <a:gdLst>
                <a:gd name="connsiteX0" fmla="*/ 105130 w 105130"/>
                <a:gd name="connsiteY0" fmla="*/ 26487 h 26487"/>
                <a:gd name="connsiteX1" fmla="*/ 0 w 105130"/>
                <a:gd name="connsiteY1" fmla="*/ 26487 h 26487"/>
                <a:gd name="connsiteX2" fmla="*/ 4816 w 105130"/>
                <a:gd name="connsiteY2" fmla="*/ 0 h 26487"/>
                <a:gd name="connsiteX3" fmla="*/ 100314 w 105130"/>
                <a:gd name="connsiteY3" fmla="*/ 0 h 26487"/>
                <a:gd name="connsiteX4" fmla="*/ 105130 w 105130"/>
                <a:gd name="connsiteY4" fmla="*/ 26487 h 264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5130" h="26487">
                  <a:moveTo>
                    <a:pt x="105130" y="26487"/>
                  </a:moveTo>
                  <a:lnTo>
                    <a:pt x="0" y="26487"/>
                  </a:lnTo>
                  <a:lnTo>
                    <a:pt x="4816" y="0"/>
                  </a:lnTo>
                  <a:lnTo>
                    <a:pt x="100314" y="0"/>
                  </a:lnTo>
                  <a:lnTo>
                    <a:pt x="105130" y="26487"/>
                  </a:ln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6" name="Agrupar 15">
            <a:extLst>
              <a:ext uri="{FF2B5EF4-FFF2-40B4-BE49-F238E27FC236}">
                <a16:creationId xmlns:a16="http://schemas.microsoft.com/office/drawing/2014/main" id="{CBD0AA2B-2F3C-342D-D670-AD2AC9E854D1}"/>
              </a:ext>
            </a:extLst>
          </p:cNvPr>
          <p:cNvGrpSpPr/>
          <p:nvPr/>
        </p:nvGrpSpPr>
        <p:grpSpPr>
          <a:xfrm>
            <a:off x="11252358" y="3649437"/>
            <a:ext cx="289561" cy="360588"/>
            <a:chOff x="5854064" y="3125056"/>
            <a:chExt cx="485394" cy="604457"/>
          </a:xfrm>
        </p:grpSpPr>
        <p:grpSp>
          <p:nvGrpSpPr>
            <p:cNvPr id="5" name="Gráfico 2">
              <a:extLst>
                <a:ext uri="{FF2B5EF4-FFF2-40B4-BE49-F238E27FC236}">
                  <a16:creationId xmlns:a16="http://schemas.microsoft.com/office/drawing/2014/main" id="{A29650C0-6BE9-C5F4-19C5-417E1A365D68}"/>
                </a:ext>
              </a:extLst>
            </p:cNvPr>
            <p:cNvGrpSpPr/>
            <p:nvPr/>
          </p:nvGrpSpPr>
          <p:grpSpPr>
            <a:xfrm>
              <a:off x="5854064" y="3125056"/>
              <a:ext cx="485394" cy="276796"/>
              <a:chOff x="5854064" y="3125056"/>
              <a:chExt cx="485394" cy="276796"/>
            </a:xfrm>
          </p:grpSpPr>
          <p:grpSp>
            <p:nvGrpSpPr>
              <p:cNvPr id="6" name="Gráfico 2">
                <a:extLst>
                  <a:ext uri="{FF2B5EF4-FFF2-40B4-BE49-F238E27FC236}">
                    <a16:creationId xmlns:a16="http://schemas.microsoft.com/office/drawing/2014/main" id="{6670BBC4-A402-6970-F4B2-96CC9474C4AA}"/>
                  </a:ext>
                </a:extLst>
              </p:cNvPr>
              <p:cNvGrpSpPr/>
              <p:nvPr/>
            </p:nvGrpSpPr>
            <p:grpSpPr>
              <a:xfrm>
                <a:off x="6056661" y="3125056"/>
                <a:ext cx="282797" cy="276796"/>
                <a:chOff x="6056661" y="3125056"/>
                <a:chExt cx="282797" cy="276796"/>
              </a:xfrm>
            </p:grpSpPr>
            <p:sp>
              <p:nvSpPr>
                <p:cNvPr id="7" name="Forma livre: Forma 6">
                  <a:extLst>
                    <a:ext uri="{FF2B5EF4-FFF2-40B4-BE49-F238E27FC236}">
                      <a16:creationId xmlns:a16="http://schemas.microsoft.com/office/drawing/2014/main" id="{7A09AF04-16AB-F5EE-98FC-AE8EE31A71D6}"/>
                    </a:ext>
                  </a:extLst>
                </p:cNvPr>
                <p:cNvSpPr/>
                <p:nvPr/>
              </p:nvSpPr>
              <p:spPr>
                <a:xfrm>
                  <a:off x="6056661" y="3125056"/>
                  <a:ext cx="136874" cy="255651"/>
                </a:xfrm>
                <a:custGeom>
                  <a:avLst/>
                  <a:gdLst>
                    <a:gd name="connsiteX0" fmla="*/ 0 w 136874"/>
                    <a:gd name="connsiteY0" fmla="*/ 255651 h 255651"/>
                    <a:gd name="connsiteX1" fmla="*/ 136874 w 136874"/>
                    <a:gd name="connsiteY1" fmla="*/ 0 h 25565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36874" h="255651">
                      <a:moveTo>
                        <a:pt x="0" y="255651"/>
                      </a:moveTo>
                      <a:lnTo>
                        <a:pt x="136874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8" name="Forma livre: Forma 7">
                  <a:extLst>
                    <a:ext uri="{FF2B5EF4-FFF2-40B4-BE49-F238E27FC236}">
                      <a16:creationId xmlns:a16="http://schemas.microsoft.com/office/drawing/2014/main" id="{EAE297BF-C1DF-6EAF-689E-4A6C9E17AEDB}"/>
                    </a:ext>
                  </a:extLst>
                </p:cNvPr>
                <p:cNvSpPr/>
                <p:nvPr/>
              </p:nvSpPr>
              <p:spPr>
                <a:xfrm>
                  <a:off x="6191916" y="3125056"/>
                  <a:ext cx="147542" cy="276796"/>
                </a:xfrm>
                <a:custGeom>
                  <a:avLst/>
                  <a:gdLst>
                    <a:gd name="connsiteX0" fmla="*/ 0 w 147542"/>
                    <a:gd name="connsiteY0" fmla="*/ 276797 h 276796"/>
                    <a:gd name="connsiteX1" fmla="*/ 147542 w 147542"/>
                    <a:gd name="connsiteY1" fmla="*/ 0 h 27679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47542" h="276796">
                      <a:moveTo>
                        <a:pt x="0" y="276797"/>
                      </a:moveTo>
                      <a:lnTo>
                        <a:pt x="147542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9" name="Gráfico 2">
                <a:extLst>
                  <a:ext uri="{FF2B5EF4-FFF2-40B4-BE49-F238E27FC236}">
                    <a16:creationId xmlns:a16="http://schemas.microsoft.com/office/drawing/2014/main" id="{9C5CB651-A401-5BC5-CB95-04AC68CB8EA7}"/>
                  </a:ext>
                </a:extLst>
              </p:cNvPr>
              <p:cNvGrpSpPr/>
              <p:nvPr/>
            </p:nvGrpSpPr>
            <p:grpSpPr>
              <a:xfrm>
                <a:off x="5854064" y="3125056"/>
                <a:ext cx="217551" cy="276034"/>
                <a:chOff x="5854064" y="3125056"/>
                <a:chExt cx="217551" cy="276034"/>
              </a:xfrm>
            </p:grpSpPr>
            <p:sp>
              <p:nvSpPr>
                <p:cNvPr id="10" name="Forma livre: Forma 9">
                  <a:extLst>
                    <a:ext uri="{FF2B5EF4-FFF2-40B4-BE49-F238E27FC236}">
                      <a16:creationId xmlns:a16="http://schemas.microsoft.com/office/drawing/2014/main" id="{63770953-5659-DCC7-D4A9-BE3DA7FF0D04}"/>
                    </a:ext>
                  </a:extLst>
                </p:cNvPr>
                <p:cNvSpPr/>
                <p:nvPr/>
              </p:nvSpPr>
              <p:spPr>
                <a:xfrm>
                  <a:off x="6001797" y="3125056"/>
                  <a:ext cx="69818" cy="130587"/>
                </a:xfrm>
                <a:custGeom>
                  <a:avLst/>
                  <a:gdLst>
                    <a:gd name="connsiteX0" fmla="*/ 69818 w 69818"/>
                    <a:gd name="connsiteY0" fmla="*/ 130588 h 130587"/>
                    <a:gd name="connsiteX1" fmla="*/ 0 w 69818"/>
                    <a:gd name="connsiteY1" fmla="*/ 0 h 1305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69818" h="130587">
                      <a:moveTo>
                        <a:pt x="69818" y="130588"/>
                      </a:moveTo>
                      <a:lnTo>
                        <a:pt x="0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1" name="Forma livre: Forma 10">
                  <a:extLst>
                    <a:ext uri="{FF2B5EF4-FFF2-40B4-BE49-F238E27FC236}">
                      <a16:creationId xmlns:a16="http://schemas.microsoft.com/office/drawing/2014/main" id="{8C33D1F1-FAC3-A1F9-007E-9117ABA7956E}"/>
                    </a:ext>
                  </a:extLst>
                </p:cNvPr>
                <p:cNvSpPr/>
                <p:nvPr/>
              </p:nvSpPr>
              <p:spPr>
                <a:xfrm>
                  <a:off x="5854064" y="3125056"/>
                  <a:ext cx="147637" cy="276034"/>
                </a:xfrm>
                <a:custGeom>
                  <a:avLst/>
                  <a:gdLst>
                    <a:gd name="connsiteX0" fmla="*/ 147638 w 147637"/>
                    <a:gd name="connsiteY0" fmla="*/ 276035 h 276034"/>
                    <a:gd name="connsiteX1" fmla="*/ 0 w 147637"/>
                    <a:gd name="connsiteY1" fmla="*/ 0 h 27603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47637" h="276034">
                      <a:moveTo>
                        <a:pt x="147638" y="276035"/>
                      </a:moveTo>
                      <a:lnTo>
                        <a:pt x="0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grpSp>
          <p:nvGrpSpPr>
            <p:cNvPr id="12" name="Gráfico 2">
              <a:extLst>
                <a:ext uri="{FF2B5EF4-FFF2-40B4-BE49-F238E27FC236}">
                  <a16:creationId xmlns:a16="http://schemas.microsoft.com/office/drawing/2014/main" id="{D7DDA1BE-049D-776C-DFE5-AE7940FB02EC}"/>
                </a:ext>
              </a:extLst>
            </p:cNvPr>
            <p:cNvGrpSpPr/>
            <p:nvPr/>
          </p:nvGrpSpPr>
          <p:grpSpPr>
            <a:xfrm>
              <a:off x="5918548" y="3372516"/>
              <a:ext cx="356996" cy="356997"/>
              <a:chOff x="5918548" y="3372516"/>
              <a:chExt cx="356996" cy="356997"/>
            </a:xfrm>
            <a:noFill/>
          </p:grpSpPr>
          <p:sp>
            <p:nvSpPr>
              <p:cNvPr id="13" name="Forma livre: Forma 12">
                <a:extLst>
                  <a:ext uri="{FF2B5EF4-FFF2-40B4-BE49-F238E27FC236}">
                    <a16:creationId xmlns:a16="http://schemas.microsoft.com/office/drawing/2014/main" id="{79DB1005-C6A9-A4E3-7702-3ED030777D98}"/>
                  </a:ext>
                </a:extLst>
              </p:cNvPr>
              <p:cNvSpPr/>
              <p:nvPr/>
            </p:nvSpPr>
            <p:spPr>
              <a:xfrm>
                <a:off x="5918548" y="3372516"/>
                <a:ext cx="356996" cy="356997"/>
              </a:xfrm>
              <a:custGeom>
                <a:avLst/>
                <a:gdLst>
                  <a:gd name="connsiteX0" fmla="*/ 178499 w 356996"/>
                  <a:gd name="connsiteY0" fmla="*/ 0 h 356997"/>
                  <a:gd name="connsiteX1" fmla="*/ 0 w 356996"/>
                  <a:gd name="connsiteY1" fmla="*/ 178499 h 356997"/>
                  <a:gd name="connsiteX2" fmla="*/ 178499 w 356996"/>
                  <a:gd name="connsiteY2" fmla="*/ 356997 h 356997"/>
                  <a:gd name="connsiteX3" fmla="*/ 356997 w 356996"/>
                  <a:gd name="connsiteY3" fmla="*/ 178499 h 356997"/>
                  <a:gd name="connsiteX4" fmla="*/ 178499 w 356996"/>
                  <a:gd name="connsiteY4" fmla="*/ 0 h 356997"/>
                  <a:gd name="connsiteX5" fmla="*/ 178499 w 356996"/>
                  <a:gd name="connsiteY5" fmla="*/ 0 h 3569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356996" h="356997">
                    <a:moveTo>
                      <a:pt x="178499" y="0"/>
                    </a:moveTo>
                    <a:cubicBezTo>
                      <a:pt x="79915" y="0"/>
                      <a:pt x="0" y="79915"/>
                      <a:pt x="0" y="178499"/>
                    </a:cubicBezTo>
                    <a:cubicBezTo>
                      <a:pt x="0" y="277082"/>
                      <a:pt x="79915" y="356997"/>
                      <a:pt x="178499" y="356997"/>
                    </a:cubicBezTo>
                    <a:cubicBezTo>
                      <a:pt x="277082" y="356997"/>
                      <a:pt x="356997" y="277082"/>
                      <a:pt x="356997" y="178499"/>
                    </a:cubicBezTo>
                    <a:cubicBezTo>
                      <a:pt x="356997" y="79915"/>
                      <a:pt x="277082" y="0"/>
                      <a:pt x="178499" y="0"/>
                    </a:cubicBezTo>
                    <a:lnTo>
                      <a:pt x="178499" y="0"/>
                    </a:ln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4" name="Forma livre: Forma 13">
                <a:extLst>
                  <a:ext uri="{FF2B5EF4-FFF2-40B4-BE49-F238E27FC236}">
                    <a16:creationId xmlns:a16="http://schemas.microsoft.com/office/drawing/2014/main" id="{5D07B0F1-8464-479C-6694-77D223262697}"/>
                  </a:ext>
                </a:extLst>
              </p:cNvPr>
              <p:cNvSpPr/>
              <p:nvPr/>
            </p:nvSpPr>
            <p:spPr>
              <a:xfrm>
                <a:off x="5978841" y="3432809"/>
                <a:ext cx="236505" cy="236505"/>
              </a:xfrm>
              <a:custGeom>
                <a:avLst/>
                <a:gdLst>
                  <a:gd name="connsiteX0" fmla="*/ 118205 w 236505"/>
                  <a:gd name="connsiteY0" fmla="*/ 0 h 236505"/>
                  <a:gd name="connsiteX1" fmla="*/ 0 w 236505"/>
                  <a:gd name="connsiteY1" fmla="*/ 118300 h 236505"/>
                  <a:gd name="connsiteX2" fmla="*/ 118205 w 236505"/>
                  <a:gd name="connsiteY2" fmla="*/ 236506 h 236505"/>
                  <a:gd name="connsiteX3" fmla="*/ 236506 w 236505"/>
                  <a:gd name="connsiteY3" fmla="*/ 118300 h 236505"/>
                  <a:gd name="connsiteX4" fmla="*/ 118205 w 236505"/>
                  <a:gd name="connsiteY4" fmla="*/ 0 h 236505"/>
                  <a:gd name="connsiteX5" fmla="*/ 118205 w 236505"/>
                  <a:gd name="connsiteY5" fmla="*/ 0 h 2365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36505" h="236505">
                    <a:moveTo>
                      <a:pt x="118205" y="0"/>
                    </a:moveTo>
                    <a:cubicBezTo>
                      <a:pt x="52864" y="0"/>
                      <a:pt x="0" y="52959"/>
                      <a:pt x="0" y="118300"/>
                    </a:cubicBezTo>
                    <a:cubicBezTo>
                      <a:pt x="0" y="183642"/>
                      <a:pt x="52959" y="236506"/>
                      <a:pt x="118205" y="236506"/>
                    </a:cubicBezTo>
                    <a:cubicBezTo>
                      <a:pt x="183452" y="236506"/>
                      <a:pt x="236506" y="183547"/>
                      <a:pt x="236506" y="118300"/>
                    </a:cubicBezTo>
                    <a:cubicBezTo>
                      <a:pt x="236506" y="53054"/>
                      <a:pt x="183547" y="0"/>
                      <a:pt x="118205" y="0"/>
                    </a:cubicBezTo>
                    <a:lnTo>
                      <a:pt x="118205" y="0"/>
                    </a:ln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5" name="Forma livre: Forma 14">
                <a:extLst>
                  <a:ext uri="{FF2B5EF4-FFF2-40B4-BE49-F238E27FC236}">
                    <a16:creationId xmlns:a16="http://schemas.microsoft.com/office/drawing/2014/main" id="{994D894A-3E20-65C8-16FD-8D297DBF1E15}"/>
                  </a:ext>
                </a:extLst>
              </p:cNvPr>
              <p:cNvSpPr/>
              <p:nvPr/>
            </p:nvSpPr>
            <p:spPr>
              <a:xfrm>
                <a:off x="6068948" y="3508342"/>
                <a:ext cx="30956" cy="85534"/>
              </a:xfrm>
              <a:custGeom>
                <a:avLst/>
                <a:gdLst>
                  <a:gd name="connsiteX0" fmla="*/ 30956 w 30956"/>
                  <a:gd name="connsiteY0" fmla="*/ 85534 h 85534"/>
                  <a:gd name="connsiteX1" fmla="*/ 30956 w 30956"/>
                  <a:gd name="connsiteY1" fmla="*/ 0 h 85534"/>
                  <a:gd name="connsiteX2" fmla="*/ 0 w 30956"/>
                  <a:gd name="connsiteY2" fmla="*/ 24384 h 855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0956" h="85534">
                    <a:moveTo>
                      <a:pt x="30956" y="85534"/>
                    </a:moveTo>
                    <a:lnTo>
                      <a:pt x="30956" y="0"/>
                    </a:lnTo>
                    <a:lnTo>
                      <a:pt x="0" y="24384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737" name="Agrupar 736">
            <a:extLst>
              <a:ext uri="{FF2B5EF4-FFF2-40B4-BE49-F238E27FC236}">
                <a16:creationId xmlns:a16="http://schemas.microsoft.com/office/drawing/2014/main" id="{CF183556-B9BB-705B-EF85-4F314B59FDF9}"/>
              </a:ext>
            </a:extLst>
          </p:cNvPr>
          <p:cNvGrpSpPr/>
          <p:nvPr/>
        </p:nvGrpSpPr>
        <p:grpSpPr>
          <a:xfrm>
            <a:off x="10603071" y="3653768"/>
            <a:ext cx="272098" cy="326863"/>
            <a:chOff x="10612596" y="3808550"/>
            <a:chExt cx="511206" cy="614097"/>
          </a:xfrm>
        </p:grpSpPr>
        <p:sp>
          <p:nvSpPr>
            <p:cNvPr id="20" name="Forma livre: Forma 19">
              <a:extLst>
                <a:ext uri="{FF2B5EF4-FFF2-40B4-BE49-F238E27FC236}">
                  <a16:creationId xmlns:a16="http://schemas.microsoft.com/office/drawing/2014/main" id="{42E91359-2551-8DF5-3A8C-EA3EF35124E5}"/>
                </a:ext>
              </a:extLst>
            </p:cNvPr>
            <p:cNvSpPr/>
            <p:nvPr/>
          </p:nvSpPr>
          <p:spPr>
            <a:xfrm>
              <a:off x="10729944" y="3880104"/>
              <a:ext cx="276606" cy="276605"/>
            </a:xfrm>
            <a:custGeom>
              <a:avLst/>
              <a:gdLst>
                <a:gd name="connsiteX0" fmla="*/ 138303 w 276606"/>
                <a:gd name="connsiteY0" fmla="*/ 0 h 276605"/>
                <a:gd name="connsiteX1" fmla="*/ 0 w 276606"/>
                <a:gd name="connsiteY1" fmla="*/ 138303 h 276605"/>
                <a:gd name="connsiteX2" fmla="*/ 138303 w 276606"/>
                <a:gd name="connsiteY2" fmla="*/ 276606 h 276605"/>
                <a:gd name="connsiteX3" fmla="*/ 276606 w 276606"/>
                <a:gd name="connsiteY3" fmla="*/ 138303 h 276605"/>
                <a:gd name="connsiteX4" fmla="*/ 138303 w 276606"/>
                <a:gd name="connsiteY4" fmla="*/ 0 h 276605"/>
                <a:gd name="connsiteX5" fmla="*/ 138303 w 276606"/>
                <a:gd name="connsiteY5" fmla="*/ 0 h 2766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76606" h="276605">
                  <a:moveTo>
                    <a:pt x="138303" y="0"/>
                  </a:moveTo>
                  <a:cubicBezTo>
                    <a:pt x="61913" y="0"/>
                    <a:pt x="0" y="61913"/>
                    <a:pt x="0" y="138303"/>
                  </a:cubicBezTo>
                  <a:cubicBezTo>
                    <a:pt x="0" y="214693"/>
                    <a:pt x="61913" y="276606"/>
                    <a:pt x="138303" y="276606"/>
                  </a:cubicBezTo>
                  <a:cubicBezTo>
                    <a:pt x="214694" y="276606"/>
                    <a:pt x="276606" y="214693"/>
                    <a:pt x="276606" y="138303"/>
                  </a:cubicBezTo>
                  <a:cubicBezTo>
                    <a:pt x="276606" y="61913"/>
                    <a:pt x="214694" y="0"/>
                    <a:pt x="138303" y="0"/>
                  </a:cubicBezTo>
                  <a:lnTo>
                    <a:pt x="138303" y="0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" name="Forma livre: Forma 20">
              <a:extLst>
                <a:ext uri="{FF2B5EF4-FFF2-40B4-BE49-F238E27FC236}">
                  <a16:creationId xmlns:a16="http://schemas.microsoft.com/office/drawing/2014/main" id="{59A66354-2F9A-E009-221C-B4027CFD2AE5}"/>
                </a:ext>
              </a:extLst>
            </p:cNvPr>
            <p:cNvSpPr/>
            <p:nvPr/>
          </p:nvSpPr>
          <p:spPr>
            <a:xfrm>
              <a:off x="10839481" y="3972210"/>
              <a:ext cx="34290" cy="100107"/>
            </a:xfrm>
            <a:custGeom>
              <a:avLst/>
              <a:gdLst>
                <a:gd name="connsiteX0" fmla="*/ 34290 w 34290"/>
                <a:gd name="connsiteY0" fmla="*/ 100108 h 100107"/>
                <a:gd name="connsiteX1" fmla="*/ 34290 w 34290"/>
                <a:gd name="connsiteY1" fmla="*/ 0 h 100107"/>
                <a:gd name="connsiteX2" fmla="*/ 0 w 34290"/>
                <a:gd name="connsiteY2" fmla="*/ 27432 h 1001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4290" h="100107">
                  <a:moveTo>
                    <a:pt x="34290" y="100108"/>
                  </a:moveTo>
                  <a:lnTo>
                    <a:pt x="34290" y="0"/>
                  </a:lnTo>
                  <a:lnTo>
                    <a:pt x="0" y="27432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5" name="Forma livre: Forma 204">
              <a:extLst>
                <a:ext uri="{FF2B5EF4-FFF2-40B4-BE49-F238E27FC236}">
                  <a16:creationId xmlns:a16="http://schemas.microsoft.com/office/drawing/2014/main" id="{F19C39B2-D405-8D86-B005-E05941FFAB1B}"/>
                </a:ext>
              </a:extLst>
            </p:cNvPr>
            <p:cNvSpPr/>
            <p:nvPr/>
          </p:nvSpPr>
          <p:spPr>
            <a:xfrm>
              <a:off x="10658486" y="3808550"/>
              <a:ext cx="419257" cy="415259"/>
            </a:xfrm>
            <a:custGeom>
              <a:avLst/>
              <a:gdLst>
                <a:gd name="connsiteX0" fmla="*/ 198141 w 419257"/>
                <a:gd name="connsiteY0" fmla="*/ 4021 h 415259"/>
                <a:gd name="connsiteX1" fmla="*/ 229764 w 419257"/>
                <a:gd name="connsiteY1" fmla="*/ 4783 h 415259"/>
                <a:gd name="connsiteX2" fmla="*/ 261577 w 419257"/>
                <a:gd name="connsiteY2" fmla="*/ 27357 h 415259"/>
                <a:gd name="connsiteX3" fmla="*/ 295962 w 419257"/>
                <a:gd name="connsiteY3" fmla="*/ 40883 h 415259"/>
                <a:gd name="connsiteX4" fmla="*/ 334539 w 419257"/>
                <a:gd name="connsiteY4" fmla="*/ 45931 h 415259"/>
                <a:gd name="connsiteX5" fmla="*/ 358256 w 419257"/>
                <a:gd name="connsiteY5" fmla="*/ 66791 h 415259"/>
                <a:gd name="connsiteX6" fmla="*/ 368067 w 419257"/>
                <a:gd name="connsiteY6" fmla="*/ 104510 h 415259"/>
                <a:gd name="connsiteX7" fmla="*/ 385783 w 419257"/>
                <a:gd name="connsiteY7" fmla="*/ 136990 h 415259"/>
                <a:gd name="connsiteX8" fmla="*/ 412167 w 419257"/>
                <a:gd name="connsiteY8" fmla="*/ 165660 h 415259"/>
                <a:gd name="connsiteX9" fmla="*/ 416930 w 419257"/>
                <a:gd name="connsiteY9" fmla="*/ 196902 h 415259"/>
                <a:gd name="connsiteX10" fmla="*/ 400261 w 419257"/>
                <a:gd name="connsiteY10" fmla="*/ 232050 h 415259"/>
                <a:gd name="connsiteX11" fmla="*/ 392927 w 419257"/>
                <a:gd name="connsiteY11" fmla="*/ 268245 h 415259"/>
                <a:gd name="connsiteX12" fmla="*/ 394641 w 419257"/>
                <a:gd name="connsiteY12" fmla="*/ 307202 h 415259"/>
                <a:gd name="connsiteX13" fmla="*/ 378163 w 419257"/>
                <a:gd name="connsiteY13" fmla="*/ 334158 h 415259"/>
                <a:gd name="connsiteX14" fmla="*/ 342730 w 419257"/>
                <a:gd name="connsiteY14" fmla="*/ 350350 h 415259"/>
                <a:gd name="connsiteX15" fmla="*/ 313869 w 419257"/>
                <a:gd name="connsiteY15" fmla="*/ 373401 h 415259"/>
                <a:gd name="connsiteX16" fmla="*/ 290152 w 419257"/>
                <a:gd name="connsiteY16" fmla="*/ 404357 h 415259"/>
                <a:gd name="connsiteX17" fmla="*/ 260244 w 419257"/>
                <a:gd name="connsiteY17" fmla="*/ 414453 h 415259"/>
                <a:gd name="connsiteX18" fmla="*/ 222620 w 419257"/>
                <a:gd name="connsiteY18" fmla="*/ 404166 h 415259"/>
                <a:gd name="connsiteX19" fmla="*/ 185663 w 419257"/>
                <a:gd name="connsiteY19" fmla="*/ 403309 h 415259"/>
                <a:gd name="connsiteX20" fmla="*/ 147658 w 419257"/>
                <a:gd name="connsiteY20" fmla="*/ 411786 h 415259"/>
                <a:gd name="connsiteX21" fmla="*/ 118226 w 419257"/>
                <a:gd name="connsiteY21" fmla="*/ 400261 h 415259"/>
                <a:gd name="connsiteX22" fmla="*/ 96128 w 419257"/>
                <a:gd name="connsiteY22" fmla="*/ 368162 h 415259"/>
                <a:gd name="connsiteX23" fmla="*/ 68410 w 419257"/>
                <a:gd name="connsiteY23" fmla="*/ 343683 h 415259"/>
                <a:gd name="connsiteX24" fmla="*/ 33834 w 419257"/>
                <a:gd name="connsiteY24" fmla="*/ 325776 h 415259"/>
                <a:gd name="connsiteX25" fmla="*/ 18690 w 419257"/>
                <a:gd name="connsiteY25" fmla="*/ 298058 h 415259"/>
                <a:gd name="connsiteX26" fmla="*/ 22309 w 419257"/>
                <a:gd name="connsiteY26" fmla="*/ 259291 h 415259"/>
                <a:gd name="connsiteX27" fmla="*/ 16785 w 419257"/>
                <a:gd name="connsiteY27" fmla="*/ 222715 h 415259"/>
                <a:gd name="connsiteX28" fmla="*/ 1830 w 419257"/>
                <a:gd name="connsiteY28" fmla="*/ 186711 h 415259"/>
                <a:gd name="connsiteX29" fmla="*/ 8117 w 419257"/>
                <a:gd name="connsiteY29" fmla="*/ 155754 h 415259"/>
                <a:gd name="connsiteX30" fmla="*/ 35835 w 419257"/>
                <a:gd name="connsiteY30" fmla="*/ 128418 h 415259"/>
                <a:gd name="connsiteX31" fmla="*/ 55075 w 419257"/>
                <a:gd name="connsiteY31" fmla="*/ 96890 h 415259"/>
                <a:gd name="connsiteX32" fmla="*/ 66696 w 419257"/>
                <a:gd name="connsiteY32" fmla="*/ 59742 h 415259"/>
                <a:gd name="connsiteX33" fmla="*/ 91365 w 419257"/>
                <a:gd name="connsiteY33" fmla="*/ 40026 h 415259"/>
                <a:gd name="connsiteX34" fmla="*/ 130227 w 419257"/>
                <a:gd name="connsiteY34" fmla="*/ 36882 h 415259"/>
                <a:gd name="connsiteX35" fmla="*/ 165279 w 419257"/>
                <a:gd name="connsiteY35" fmla="*/ 25071 h 415259"/>
                <a:gd name="connsiteX36" fmla="*/ 198141 w 419257"/>
                <a:gd name="connsiteY36" fmla="*/ 4116 h 4152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419257" h="415259">
                  <a:moveTo>
                    <a:pt x="198141" y="4021"/>
                  </a:moveTo>
                  <a:cubicBezTo>
                    <a:pt x="206999" y="-1599"/>
                    <a:pt x="221191" y="-1313"/>
                    <a:pt x="229764" y="4783"/>
                  </a:cubicBezTo>
                  <a:lnTo>
                    <a:pt x="261577" y="27357"/>
                  </a:lnTo>
                  <a:cubicBezTo>
                    <a:pt x="270150" y="33453"/>
                    <a:pt x="285580" y="39454"/>
                    <a:pt x="295962" y="40883"/>
                  </a:cubicBezTo>
                  <a:lnTo>
                    <a:pt x="334539" y="45931"/>
                  </a:lnTo>
                  <a:cubicBezTo>
                    <a:pt x="344921" y="47265"/>
                    <a:pt x="355589" y="56694"/>
                    <a:pt x="358256" y="66791"/>
                  </a:cubicBezTo>
                  <a:lnTo>
                    <a:pt x="368067" y="104510"/>
                  </a:lnTo>
                  <a:cubicBezTo>
                    <a:pt x="370734" y="114606"/>
                    <a:pt x="378639" y="129275"/>
                    <a:pt x="385783" y="136990"/>
                  </a:cubicBezTo>
                  <a:lnTo>
                    <a:pt x="412167" y="165660"/>
                  </a:lnTo>
                  <a:cubicBezTo>
                    <a:pt x="419216" y="173376"/>
                    <a:pt x="421407" y="187473"/>
                    <a:pt x="416930" y="196902"/>
                  </a:cubicBezTo>
                  <a:lnTo>
                    <a:pt x="400261" y="232050"/>
                  </a:lnTo>
                  <a:cubicBezTo>
                    <a:pt x="395784" y="241479"/>
                    <a:pt x="392451" y="257862"/>
                    <a:pt x="392927" y="268245"/>
                  </a:cubicBezTo>
                  <a:lnTo>
                    <a:pt x="394641" y="307202"/>
                  </a:lnTo>
                  <a:cubicBezTo>
                    <a:pt x="395118" y="317679"/>
                    <a:pt x="387688" y="329776"/>
                    <a:pt x="378163" y="334158"/>
                  </a:cubicBezTo>
                  <a:lnTo>
                    <a:pt x="342730" y="350350"/>
                  </a:lnTo>
                  <a:cubicBezTo>
                    <a:pt x="333205" y="354732"/>
                    <a:pt x="320156" y="365114"/>
                    <a:pt x="313869" y="373401"/>
                  </a:cubicBezTo>
                  <a:lnTo>
                    <a:pt x="290152" y="404357"/>
                  </a:lnTo>
                  <a:cubicBezTo>
                    <a:pt x="283770" y="412644"/>
                    <a:pt x="270340" y="417216"/>
                    <a:pt x="260244" y="414453"/>
                  </a:cubicBezTo>
                  <a:lnTo>
                    <a:pt x="222620" y="404166"/>
                  </a:lnTo>
                  <a:cubicBezTo>
                    <a:pt x="212523" y="401404"/>
                    <a:pt x="195855" y="401023"/>
                    <a:pt x="185663" y="403309"/>
                  </a:cubicBezTo>
                  <a:lnTo>
                    <a:pt x="147658" y="411786"/>
                  </a:lnTo>
                  <a:cubicBezTo>
                    <a:pt x="137466" y="414072"/>
                    <a:pt x="124227" y="408834"/>
                    <a:pt x="118226" y="400261"/>
                  </a:cubicBezTo>
                  <a:lnTo>
                    <a:pt x="96128" y="368162"/>
                  </a:lnTo>
                  <a:cubicBezTo>
                    <a:pt x="90222" y="359494"/>
                    <a:pt x="77649" y="348540"/>
                    <a:pt x="68410" y="343683"/>
                  </a:cubicBezTo>
                  <a:lnTo>
                    <a:pt x="33834" y="325776"/>
                  </a:lnTo>
                  <a:cubicBezTo>
                    <a:pt x="24500" y="320918"/>
                    <a:pt x="17737" y="308440"/>
                    <a:pt x="18690" y="298058"/>
                  </a:cubicBezTo>
                  <a:lnTo>
                    <a:pt x="22309" y="259291"/>
                  </a:lnTo>
                  <a:cubicBezTo>
                    <a:pt x="23262" y="248814"/>
                    <a:pt x="20785" y="232431"/>
                    <a:pt x="16785" y="222715"/>
                  </a:cubicBezTo>
                  <a:lnTo>
                    <a:pt x="1830" y="186711"/>
                  </a:lnTo>
                  <a:cubicBezTo>
                    <a:pt x="-2170" y="176995"/>
                    <a:pt x="592" y="163089"/>
                    <a:pt x="8117" y="155754"/>
                  </a:cubicBezTo>
                  <a:lnTo>
                    <a:pt x="35835" y="128418"/>
                  </a:lnTo>
                  <a:cubicBezTo>
                    <a:pt x="43264" y="121083"/>
                    <a:pt x="51932" y="106891"/>
                    <a:pt x="55075" y="96890"/>
                  </a:cubicBezTo>
                  <a:lnTo>
                    <a:pt x="66696" y="59742"/>
                  </a:lnTo>
                  <a:cubicBezTo>
                    <a:pt x="69839" y="49741"/>
                    <a:pt x="80983" y="40883"/>
                    <a:pt x="91365" y="40026"/>
                  </a:cubicBezTo>
                  <a:lnTo>
                    <a:pt x="130227" y="36882"/>
                  </a:lnTo>
                  <a:cubicBezTo>
                    <a:pt x="140705" y="36025"/>
                    <a:pt x="156421" y="30691"/>
                    <a:pt x="165279" y="25071"/>
                  </a:cubicBezTo>
                  <a:lnTo>
                    <a:pt x="198141" y="4116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374" name="Gráfico 17">
              <a:extLst>
                <a:ext uri="{FF2B5EF4-FFF2-40B4-BE49-F238E27FC236}">
                  <a16:creationId xmlns:a16="http://schemas.microsoft.com/office/drawing/2014/main" id="{DB858DAA-8CF2-3A5C-B2AE-A0151D013967}"/>
                </a:ext>
              </a:extLst>
            </p:cNvPr>
            <p:cNvGrpSpPr/>
            <p:nvPr/>
          </p:nvGrpSpPr>
          <p:grpSpPr>
            <a:xfrm>
              <a:off x="10612596" y="4190714"/>
              <a:ext cx="511206" cy="231933"/>
              <a:chOff x="10612596" y="4190714"/>
              <a:chExt cx="511206" cy="231933"/>
            </a:xfrm>
            <a:noFill/>
          </p:grpSpPr>
          <p:sp>
            <p:nvSpPr>
              <p:cNvPr id="536" name="Forma livre: Forma 535">
                <a:extLst>
                  <a:ext uri="{FF2B5EF4-FFF2-40B4-BE49-F238E27FC236}">
                    <a16:creationId xmlns:a16="http://schemas.microsoft.com/office/drawing/2014/main" id="{84FF54C3-AF85-534C-B41E-16F2E5229732}"/>
                  </a:ext>
                </a:extLst>
              </p:cNvPr>
              <p:cNvSpPr/>
              <p:nvPr/>
            </p:nvSpPr>
            <p:spPr>
              <a:xfrm>
                <a:off x="10612596" y="4190714"/>
                <a:ext cx="203549" cy="231933"/>
              </a:xfrm>
              <a:custGeom>
                <a:avLst/>
                <a:gdLst>
                  <a:gd name="connsiteX0" fmla="*/ 203549 w 203549"/>
                  <a:gd name="connsiteY0" fmla="*/ 77533 h 231933"/>
                  <a:gd name="connsiteX1" fmla="*/ 126683 w 203549"/>
                  <a:gd name="connsiteY1" fmla="*/ 231934 h 231933"/>
                  <a:gd name="connsiteX2" fmla="*/ 100394 w 203549"/>
                  <a:gd name="connsiteY2" fmla="*/ 124682 h 231933"/>
                  <a:gd name="connsiteX3" fmla="*/ 0 w 203549"/>
                  <a:gd name="connsiteY3" fmla="*/ 169355 h 231933"/>
                  <a:gd name="connsiteX4" fmla="*/ 82487 w 203549"/>
                  <a:gd name="connsiteY4" fmla="*/ 0 h 2319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03549" h="231933">
                    <a:moveTo>
                      <a:pt x="203549" y="77533"/>
                    </a:moveTo>
                    <a:lnTo>
                      <a:pt x="126683" y="231934"/>
                    </a:lnTo>
                    <a:lnTo>
                      <a:pt x="100394" y="124682"/>
                    </a:lnTo>
                    <a:lnTo>
                      <a:pt x="0" y="169355"/>
                    </a:lnTo>
                    <a:lnTo>
                      <a:pt x="82487" y="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630" name="Forma livre: Forma 629">
                <a:extLst>
                  <a:ext uri="{FF2B5EF4-FFF2-40B4-BE49-F238E27FC236}">
                    <a16:creationId xmlns:a16="http://schemas.microsoft.com/office/drawing/2014/main" id="{AE4C3936-67D9-E2D1-366A-3FCC5A8A8B5A}"/>
                  </a:ext>
                </a:extLst>
              </p:cNvPr>
              <p:cNvSpPr/>
              <p:nvPr/>
            </p:nvSpPr>
            <p:spPr>
              <a:xfrm>
                <a:off x="10920349" y="4190714"/>
                <a:ext cx="203453" cy="231933"/>
              </a:xfrm>
              <a:custGeom>
                <a:avLst/>
                <a:gdLst>
                  <a:gd name="connsiteX0" fmla="*/ 0 w 203453"/>
                  <a:gd name="connsiteY0" fmla="*/ 77533 h 231933"/>
                  <a:gd name="connsiteX1" fmla="*/ 76771 w 203453"/>
                  <a:gd name="connsiteY1" fmla="*/ 231934 h 231933"/>
                  <a:gd name="connsiteX2" fmla="*/ 103061 w 203453"/>
                  <a:gd name="connsiteY2" fmla="*/ 124682 h 231933"/>
                  <a:gd name="connsiteX3" fmla="*/ 203454 w 203453"/>
                  <a:gd name="connsiteY3" fmla="*/ 169355 h 231933"/>
                  <a:gd name="connsiteX4" fmla="*/ 120967 w 203453"/>
                  <a:gd name="connsiteY4" fmla="*/ 0 h 2319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03453" h="231933">
                    <a:moveTo>
                      <a:pt x="0" y="77533"/>
                    </a:moveTo>
                    <a:lnTo>
                      <a:pt x="76771" y="231934"/>
                    </a:lnTo>
                    <a:lnTo>
                      <a:pt x="103061" y="124682"/>
                    </a:lnTo>
                    <a:lnTo>
                      <a:pt x="203454" y="169355"/>
                    </a:lnTo>
                    <a:lnTo>
                      <a:pt x="120967" y="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2161" name="Agrupar 2160">
            <a:extLst>
              <a:ext uri="{FF2B5EF4-FFF2-40B4-BE49-F238E27FC236}">
                <a16:creationId xmlns:a16="http://schemas.microsoft.com/office/drawing/2014/main" id="{24140DEA-ED07-B3ED-538D-8E4DBCBE0E6A}"/>
              </a:ext>
            </a:extLst>
          </p:cNvPr>
          <p:cNvGrpSpPr/>
          <p:nvPr/>
        </p:nvGrpSpPr>
        <p:grpSpPr>
          <a:xfrm>
            <a:off x="10015403" y="5810249"/>
            <a:ext cx="208350" cy="339661"/>
            <a:chOff x="9465468" y="5112543"/>
            <a:chExt cx="420147" cy="684943"/>
          </a:xfrm>
        </p:grpSpPr>
        <p:grpSp>
          <p:nvGrpSpPr>
            <p:cNvPr id="1569" name="Gráfico 1153">
              <a:extLst>
                <a:ext uri="{FF2B5EF4-FFF2-40B4-BE49-F238E27FC236}">
                  <a16:creationId xmlns:a16="http://schemas.microsoft.com/office/drawing/2014/main" id="{C199733C-6984-93D4-442B-49E9179B04A6}"/>
                </a:ext>
              </a:extLst>
            </p:cNvPr>
            <p:cNvGrpSpPr/>
            <p:nvPr/>
          </p:nvGrpSpPr>
          <p:grpSpPr>
            <a:xfrm>
              <a:off x="9645871" y="5520975"/>
              <a:ext cx="59340" cy="65531"/>
              <a:chOff x="9645871" y="5520975"/>
              <a:chExt cx="59340" cy="65531"/>
            </a:xfrm>
          </p:grpSpPr>
          <p:sp>
            <p:nvSpPr>
              <p:cNvPr id="1756" name="Forma livre: Forma 1755">
                <a:extLst>
                  <a:ext uri="{FF2B5EF4-FFF2-40B4-BE49-F238E27FC236}">
                    <a16:creationId xmlns:a16="http://schemas.microsoft.com/office/drawing/2014/main" id="{BDAAAF4A-0E00-FBF3-DC4A-AE3299D48DAE}"/>
                  </a:ext>
                </a:extLst>
              </p:cNvPr>
              <p:cNvSpPr/>
              <p:nvPr/>
            </p:nvSpPr>
            <p:spPr>
              <a:xfrm>
                <a:off x="9645871" y="5520975"/>
                <a:ext cx="9525" cy="65531"/>
              </a:xfrm>
              <a:custGeom>
                <a:avLst/>
                <a:gdLst>
                  <a:gd name="connsiteX0" fmla="*/ 0 w 9525"/>
                  <a:gd name="connsiteY0" fmla="*/ 65532 h 65531"/>
                  <a:gd name="connsiteX1" fmla="*/ 0 w 9525"/>
                  <a:gd name="connsiteY1" fmla="*/ 0 h 655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525" h="65531">
                    <a:moveTo>
                      <a:pt x="0" y="65532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939" name="Forma livre: Forma 1938">
                <a:extLst>
                  <a:ext uri="{FF2B5EF4-FFF2-40B4-BE49-F238E27FC236}">
                    <a16:creationId xmlns:a16="http://schemas.microsoft.com/office/drawing/2014/main" id="{9F45BD32-F046-B7ED-1E4A-93F324537272}"/>
                  </a:ext>
                </a:extLst>
              </p:cNvPr>
              <p:cNvSpPr/>
              <p:nvPr/>
            </p:nvSpPr>
            <p:spPr>
              <a:xfrm>
                <a:off x="9705212" y="5520975"/>
                <a:ext cx="9525" cy="65531"/>
              </a:xfrm>
              <a:custGeom>
                <a:avLst/>
                <a:gdLst>
                  <a:gd name="connsiteX0" fmla="*/ 0 w 9525"/>
                  <a:gd name="connsiteY0" fmla="*/ 65532 h 65531"/>
                  <a:gd name="connsiteX1" fmla="*/ 0 w 9525"/>
                  <a:gd name="connsiteY1" fmla="*/ 0 h 655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525" h="65531">
                    <a:moveTo>
                      <a:pt x="0" y="65532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2148" name="Forma livre: Forma 2147">
              <a:extLst>
                <a:ext uri="{FF2B5EF4-FFF2-40B4-BE49-F238E27FC236}">
                  <a16:creationId xmlns:a16="http://schemas.microsoft.com/office/drawing/2014/main" id="{CBE9C655-E68D-3206-D916-C86481755F98}"/>
                </a:ext>
              </a:extLst>
            </p:cNvPr>
            <p:cNvSpPr/>
            <p:nvPr/>
          </p:nvSpPr>
          <p:spPr>
            <a:xfrm>
              <a:off x="9495662" y="5787961"/>
              <a:ext cx="359664" cy="9525"/>
            </a:xfrm>
            <a:custGeom>
              <a:avLst/>
              <a:gdLst>
                <a:gd name="connsiteX0" fmla="*/ 0 w 359664"/>
                <a:gd name="connsiteY0" fmla="*/ 0 h 9525"/>
                <a:gd name="connsiteX1" fmla="*/ 359664 w 359664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59664" h="9525">
                  <a:moveTo>
                    <a:pt x="0" y="0"/>
                  </a:moveTo>
                  <a:lnTo>
                    <a:pt x="359664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49" name="Forma livre: Forma 2148">
              <a:extLst>
                <a:ext uri="{FF2B5EF4-FFF2-40B4-BE49-F238E27FC236}">
                  <a16:creationId xmlns:a16="http://schemas.microsoft.com/office/drawing/2014/main" id="{6A0D47E0-B026-F6CD-B5B5-80AC2211B0F5}"/>
                </a:ext>
              </a:extLst>
            </p:cNvPr>
            <p:cNvSpPr/>
            <p:nvPr/>
          </p:nvSpPr>
          <p:spPr>
            <a:xfrm>
              <a:off x="9543382" y="5634894"/>
              <a:ext cx="264318" cy="149732"/>
            </a:xfrm>
            <a:custGeom>
              <a:avLst/>
              <a:gdLst>
                <a:gd name="connsiteX0" fmla="*/ 264319 w 264318"/>
                <a:gd name="connsiteY0" fmla="*/ 149733 h 149732"/>
                <a:gd name="connsiteX1" fmla="*/ 264319 w 264318"/>
                <a:gd name="connsiteY1" fmla="*/ 0 h 149732"/>
                <a:gd name="connsiteX2" fmla="*/ 0 w 264318"/>
                <a:gd name="connsiteY2" fmla="*/ 0 h 149732"/>
                <a:gd name="connsiteX3" fmla="*/ 0 w 264318"/>
                <a:gd name="connsiteY3" fmla="*/ 113443 h 1497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64318" h="149732">
                  <a:moveTo>
                    <a:pt x="264319" y="149733"/>
                  </a:moveTo>
                  <a:lnTo>
                    <a:pt x="264319" y="0"/>
                  </a:lnTo>
                  <a:lnTo>
                    <a:pt x="0" y="0"/>
                  </a:lnTo>
                  <a:lnTo>
                    <a:pt x="0" y="113443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50" name="Forma livre: Forma 2149">
              <a:extLst>
                <a:ext uri="{FF2B5EF4-FFF2-40B4-BE49-F238E27FC236}">
                  <a16:creationId xmlns:a16="http://schemas.microsoft.com/office/drawing/2014/main" id="{4FFD7D25-CA2C-EE12-BFB2-5579C6B9F9EF}"/>
                </a:ext>
              </a:extLst>
            </p:cNvPr>
            <p:cNvSpPr/>
            <p:nvPr/>
          </p:nvSpPr>
          <p:spPr>
            <a:xfrm>
              <a:off x="9585007" y="5587269"/>
              <a:ext cx="180974" cy="47625"/>
            </a:xfrm>
            <a:custGeom>
              <a:avLst/>
              <a:gdLst>
                <a:gd name="connsiteX0" fmla="*/ 0 w 180974"/>
                <a:gd name="connsiteY0" fmla="*/ 0 h 47625"/>
                <a:gd name="connsiteX1" fmla="*/ 180975 w 180974"/>
                <a:gd name="connsiteY1" fmla="*/ 0 h 47625"/>
                <a:gd name="connsiteX2" fmla="*/ 180975 w 180974"/>
                <a:gd name="connsiteY2" fmla="*/ 47625 h 476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80974" h="47625">
                  <a:moveTo>
                    <a:pt x="0" y="0"/>
                  </a:moveTo>
                  <a:lnTo>
                    <a:pt x="180975" y="0"/>
                  </a:lnTo>
                  <a:lnTo>
                    <a:pt x="180975" y="47625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2151" name="Gráfico 1153">
              <a:extLst>
                <a:ext uri="{FF2B5EF4-FFF2-40B4-BE49-F238E27FC236}">
                  <a16:creationId xmlns:a16="http://schemas.microsoft.com/office/drawing/2014/main" id="{2E165BFA-7B4C-BA90-4B35-53BB3F5D2F1F}"/>
                </a:ext>
              </a:extLst>
            </p:cNvPr>
            <p:cNvGrpSpPr/>
            <p:nvPr/>
          </p:nvGrpSpPr>
          <p:grpSpPr>
            <a:xfrm>
              <a:off x="9465468" y="5112543"/>
              <a:ext cx="420147" cy="420052"/>
              <a:chOff x="9465468" y="5112543"/>
              <a:chExt cx="420147" cy="420052"/>
            </a:xfrm>
            <a:noFill/>
          </p:grpSpPr>
          <p:grpSp>
            <p:nvGrpSpPr>
              <p:cNvPr id="2152" name="Gráfico 1153">
                <a:extLst>
                  <a:ext uri="{FF2B5EF4-FFF2-40B4-BE49-F238E27FC236}">
                    <a16:creationId xmlns:a16="http://schemas.microsoft.com/office/drawing/2014/main" id="{12F03FD3-D27E-C7FF-09E3-EA3DAF199C2E}"/>
                  </a:ext>
                </a:extLst>
              </p:cNvPr>
              <p:cNvGrpSpPr/>
              <p:nvPr/>
            </p:nvGrpSpPr>
            <p:grpSpPr>
              <a:xfrm>
                <a:off x="9465468" y="5112543"/>
                <a:ext cx="420147" cy="420052"/>
                <a:chOff x="9465468" y="5112543"/>
                <a:chExt cx="420147" cy="420052"/>
              </a:xfrm>
              <a:noFill/>
            </p:grpSpPr>
            <p:sp>
              <p:nvSpPr>
                <p:cNvPr id="2153" name="Forma livre: Forma 2152">
                  <a:extLst>
                    <a:ext uri="{FF2B5EF4-FFF2-40B4-BE49-F238E27FC236}">
                      <a16:creationId xmlns:a16="http://schemas.microsoft.com/office/drawing/2014/main" id="{D3B540EB-09D9-F773-9606-CE89AE2524E7}"/>
                    </a:ext>
                  </a:extLst>
                </p:cNvPr>
                <p:cNvSpPr/>
                <p:nvPr/>
              </p:nvSpPr>
              <p:spPr>
                <a:xfrm>
                  <a:off x="9465468" y="5112543"/>
                  <a:ext cx="420147" cy="420052"/>
                </a:xfrm>
                <a:custGeom>
                  <a:avLst/>
                  <a:gdLst>
                    <a:gd name="connsiteX0" fmla="*/ 210026 w 420147"/>
                    <a:gd name="connsiteY0" fmla="*/ 0 h 420052"/>
                    <a:gd name="connsiteX1" fmla="*/ 0 w 420147"/>
                    <a:gd name="connsiteY1" fmla="*/ 210026 h 420052"/>
                    <a:gd name="connsiteX2" fmla="*/ 210026 w 420147"/>
                    <a:gd name="connsiteY2" fmla="*/ 420053 h 420052"/>
                    <a:gd name="connsiteX3" fmla="*/ 420148 w 420147"/>
                    <a:gd name="connsiteY3" fmla="*/ 210026 h 420052"/>
                    <a:gd name="connsiteX4" fmla="*/ 210026 w 420147"/>
                    <a:gd name="connsiteY4" fmla="*/ 0 h 420052"/>
                    <a:gd name="connsiteX5" fmla="*/ 210026 w 420147"/>
                    <a:gd name="connsiteY5" fmla="*/ 0 h 42005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420147" h="420052">
                      <a:moveTo>
                        <a:pt x="210026" y="0"/>
                      </a:moveTo>
                      <a:cubicBezTo>
                        <a:pt x="94012" y="0"/>
                        <a:pt x="0" y="94012"/>
                        <a:pt x="0" y="210026"/>
                      </a:cubicBezTo>
                      <a:cubicBezTo>
                        <a:pt x="0" y="326041"/>
                        <a:pt x="94012" y="420053"/>
                        <a:pt x="210026" y="420053"/>
                      </a:cubicBezTo>
                      <a:cubicBezTo>
                        <a:pt x="326041" y="420053"/>
                        <a:pt x="420148" y="326041"/>
                        <a:pt x="420148" y="210026"/>
                      </a:cubicBezTo>
                      <a:cubicBezTo>
                        <a:pt x="420148" y="94012"/>
                        <a:pt x="326136" y="0"/>
                        <a:pt x="210026" y="0"/>
                      </a:cubicBezTo>
                      <a:lnTo>
                        <a:pt x="210026" y="0"/>
                      </a:lnTo>
                      <a:close/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154" name="Forma livre: Forma 2153">
                  <a:extLst>
                    <a:ext uri="{FF2B5EF4-FFF2-40B4-BE49-F238E27FC236}">
                      <a16:creationId xmlns:a16="http://schemas.microsoft.com/office/drawing/2014/main" id="{D7E1A232-E9B2-0662-AB28-7C3419209261}"/>
                    </a:ext>
                  </a:extLst>
                </p:cNvPr>
                <p:cNvSpPr/>
                <p:nvPr/>
              </p:nvSpPr>
              <p:spPr>
                <a:xfrm>
                  <a:off x="9525285" y="5164073"/>
                  <a:ext cx="270201" cy="288131"/>
                </a:xfrm>
                <a:custGeom>
                  <a:avLst/>
                  <a:gdLst>
                    <a:gd name="connsiteX0" fmla="*/ 270129 w 270201"/>
                    <a:gd name="connsiteY0" fmla="*/ 0 h 288131"/>
                    <a:gd name="connsiteX1" fmla="*/ 0 w 270201"/>
                    <a:gd name="connsiteY1" fmla="*/ 288131 h 28813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70201" h="288131">
                      <a:moveTo>
                        <a:pt x="270129" y="0"/>
                      </a:moveTo>
                      <a:cubicBezTo>
                        <a:pt x="270129" y="0"/>
                        <a:pt x="282035" y="152495"/>
                        <a:pt x="0" y="288131"/>
                      </a:cubicBez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155" name="Forma livre: Forma 2154">
                  <a:extLst>
                    <a:ext uri="{FF2B5EF4-FFF2-40B4-BE49-F238E27FC236}">
                      <a16:creationId xmlns:a16="http://schemas.microsoft.com/office/drawing/2014/main" id="{58A7FF4B-AD76-FE40-42A4-B71EBECD2643}"/>
                    </a:ext>
                  </a:extLst>
                </p:cNvPr>
                <p:cNvSpPr/>
                <p:nvPr/>
              </p:nvSpPr>
              <p:spPr>
                <a:xfrm>
                  <a:off x="9737311" y="5299709"/>
                  <a:ext cx="77152" cy="166782"/>
                </a:xfrm>
                <a:custGeom>
                  <a:avLst/>
                  <a:gdLst>
                    <a:gd name="connsiteX0" fmla="*/ 0 w 77152"/>
                    <a:gd name="connsiteY0" fmla="*/ 0 h 166782"/>
                    <a:gd name="connsiteX1" fmla="*/ 77152 w 77152"/>
                    <a:gd name="connsiteY1" fmla="*/ 166783 h 16678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77152" h="166782">
                      <a:moveTo>
                        <a:pt x="0" y="0"/>
                      </a:moveTo>
                      <a:cubicBezTo>
                        <a:pt x="36862" y="41148"/>
                        <a:pt x="66961" y="95536"/>
                        <a:pt x="77152" y="166783"/>
                      </a:cubicBez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156" name="Forma livre: Forma 2155">
                  <a:extLst>
                    <a:ext uri="{FF2B5EF4-FFF2-40B4-BE49-F238E27FC236}">
                      <a16:creationId xmlns:a16="http://schemas.microsoft.com/office/drawing/2014/main" id="{17A00E50-DCE0-C7F8-4599-685A2FE127BC}"/>
                    </a:ext>
                  </a:extLst>
                </p:cNvPr>
                <p:cNvSpPr/>
                <p:nvPr/>
              </p:nvSpPr>
              <p:spPr>
                <a:xfrm>
                  <a:off x="9484899" y="5126259"/>
                  <a:ext cx="210712" cy="175454"/>
                </a:xfrm>
                <a:custGeom>
                  <a:avLst/>
                  <a:gdLst>
                    <a:gd name="connsiteX0" fmla="*/ 202216 w 210712"/>
                    <a:gd name="connsiteY0" fmla="*/ 0 h 175454"/>
                    <a:gd name="connsiteX1" fmla="*/ 191548 w 210712"/>
                    <a:gd name="connsiteY1" fmla="*/ 120206 h 175454"/>
                    <a:gd name="connsiteX2" fmla="*/ 0 w 210712"/>
                    <a:gd name="connsiteY2" fmla="*/ 149924 h 17545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210712" h="175454">
                      <a:moveTo>
                        <a:pt x="202216" y="0"/>
                      </a:moveTo>
                      <a:cubicBezTo>
                        <a:pt x="202216" y="0"/>
                        <a:pt x="227171" y="60674"/>
                        <a:pt x="191548" y="120206"/>
                      </a:cubicBezTo>
                      <a:cubicBezTo>
                        <a:pt x="191548" y="120206"/>
                        <a:pt x="123730" y="221361"/>
                        <a:pt x="0" y="149924"/>
                      </a:cubicBez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157" name="Forma livre: Forma 2156">
                  <a:extLst>
                    <a:ext uri="{FF2B5EF4-FFF2-40B4-BE49-F238E27FC236}">
                      <a16:creationId xmlns:a16="http://schemas.microsoft.com/office/drawing/2014/main" id="{42123906-7E7B-B940-36FE-139F4F9D67C1}"/>
                    </a:ext>
                  </a:extLst>
                </p:cNvPr>
                <p:cNvSpPr/>
                <p:nvPr/>
              </p:nvSpPr>
              <p:spPr>
                <a:xfrm>
                  <a:off x="9739973" y="5327100"/>
                  <a:ext cx="133926" cy="176253"/>
                </a:xfrm>
                <a:custGeom>
                  <a:avLst/>
                  <a:gdLst>
                    <a:gd name="connsiteX0" fmla="*/ 133927 w 133926"/>
                    <a:gd name="connsiteY0" fmla="*/ 3755 h 176253"/>
                    <a:gd name="connsiteX1" fmla="*/ 22103 w 133926"/>
                    <a:gd name="connsiteY1" fmla="*/ 41855 h 176253"/>
                    <a:gd name="connsiteX2" fmla="*/ 17341 w 133926"/>
                    <a:gd name="connsiteY2" fmla="*/ 176253 h 17625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33926" h="176253">
                      <a:moveTo>
                        <a:pt x="133927" y="3755"/>
                      </a:moveTo>
                      <a:cubicBezTo>
                        <a:pt x="133927" y="3755"/>
                        <a:pt x="72110" y="-17676"/>
                        <a:pt x="22103" y="41855"/>
                      </a:cubicBezTo>
                      <a:cubicBezTo>
                        <a:pt x="22103" y="41855"/>
                        <a:pt x="-24283" y="96624"/>
                        <a:pt x="17341" y="176253"/>
                      </a:cubicBez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2158" name="Gráfico 1153">
                <a:extLst>
                  <a:ext uri="{FF2B5EF4-FFF2-40B4-BE49-F238E27FC236}">
                    <a16:creationId xmlns:a16="http://schemas.microsoft.com/office/drawing/2014/main" id="{D846B985-E853-9850-1B20-35FCDCC7400E}"/>
                  </a:ext>
                </a:extLst>
              </p:cNvPr>
              <p:cNvGrpSpPr/>
              <p:nvPr/>
            </p:nvGrpSpPr>
            <p:grpSpPr>
              <a:xfrm>
                <a:off x="9534905" y="5180932"/>
                <a:ext cx="174307" cy="90773"/>
                <a:chOff x="9534905" y="5180932"/>
                <a:chExt cx="174307" cy="90773"/>
              </a:xfrm>
              <a:noFill/>
            </p:grpSpPr>
            <p:sp>
              <p:nvSpPr>
                <p:cNvPr id="2159" name="Forma livre: Forma 2158">
                  <a:extLst>
                    <a:ext uri="{FF2B5EF4-FFF2-40B4-BE49-F238E27FC236}">
                      <a16:creationId xmlns:a16="http://schemas.microsoft.com/office/drawing/2014/main" id="{7D4860AD-1AEB-44CE-63B0-AA1059976CC2}"/>
                    </a:ext>
                  </a:extLst>
                </p:cNvPr>
                <p:cNvSpPr/>
                <p:nvPr/>
              </p:nvSpPr>
              <p:spPr>
                <a:xfrm>
                  <a:off x="9677113" y="5246369"/>
                  <a:ext cx="32099" cy="25336"/>
                </a:xfrm>
                <a:custGeom>
                  <a:avLst/>
                  <a:gdLst>
                    <a:gd name="connsiteX0" fmla="*/ 0 w 32099"/>
                    <a:gd name="connsiteY0" fmla="*/ 0 h 25336"/>
                    <a:gd name="connsiteX1" fmla="*/ 32099 w 32099"/>
                    <a:gd name="connsiteY1" fmla="*/ 25336 h 2533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32099" h="25336">
                      <a:moveTo>
                        <a:pt x="0" y="0"/>
                      </a:moveTo>
                      <a:cubicBezTo>
                        <a:pt x="10763" y="7620"/>
                        <a:pt x="21527" y="16002"/>
                        <a:pt x="32099" y="25336"/>
                      </a:cubicBez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160" name="Forma livre: Forma 2159">
                  <a:extLst>
                    <a:ext uri="{FF2B5EF4-FFF2-40B4-BE49-F238E27FC236}">
                      <a16:creationId xmlns:a16="http://schemas.microsoft.com/office/drawing/2014/main" id="{6A9BFCE2-FDC3-4A31-CF46-0C5B329546C1}"/>
                    </a:ext>
                  </a:extLst>
                </p:cNvPr>
                <p:cNvSpPr/>
                <p:nvPr/>
              </p:nvSpPr>
              <p:spPr>
                <a:xfrm>
                  <a:off x="9534905" y="5180932"/>
                  <a:ext cx="108775" cy="44100"/>
                </a:xfrm>
                <a:custGeom>
                  <a:avLst/>
                  <a:gdLst>
                    <a:gd name="connsiteX0" fmla="*/ 0 w 108775"/>
                    <a:gd name="connsiteY0" fmla="*/ 0 h 44100"/>
                    <a:gd name="connsiteX1" fmla="*/ 108775 w 108775"/>
                    <a:gd name="connsiteY1" fmla="*/ 44101 h 441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08775" h="44100">
                      <a:moveTo>
                        <a:pt x="0" y="0"/>
                      </a:moveTo>
                      <a:cubicBezTo>
                        <a:pt x="0" y="0"/>
                        <a:pt x="50483" y="10763"/>
                        <a:pt x="108775" y="44101"/>
                      </a:cubicBez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</p:grpSp>
      <p:grpSp>
        <p:nvGrpSpPr>
          <p:cNvPr id="2185" name="Agrupar 2184">
            <a:extLst>
              <a:ext uri="{FF2B5EF4-FFF2-40B4-BE49-F238E27FC236}">
                <a16:creationId xmlns:a16="http://schemas.microsoft.com/office/drawing/2014/main" id="{D7C2584D-2C65-B6AA-ECED-135FE88B9A2A}"/>
              </a:ext>
            </a:extLst>
          </p:cNvPr>
          <p:cNvGrpSpPr/>
          <p:nvPr/>
        </p:nvGrpSpPr>
        <p:grpSpPr>
          <a:xfrm>
            <a:off x="10646570" y="5805488"/>
            <a:ext cx="211930" cy="345402"/>
            <a:chOff x="10746581" y="5322093"/>
            <a:chExt cx="420147" cy="684752"/>
          </a:xfrm>
        </p:grpSpPr>
        <p:grpSp>
          <p:nvGrpSpPr>
            <p:cNvPr id="2165" name="Gráfico 2162">
              <a:extLst>
                <a:ext uri="{FF2B5EF4-FFF2-40B4-BE49-F238E27FC236}">
                  <a16:creationId xmlns:a16="http://schemas.microsoft.com/office/drawing/2014/main" id="{1486252B-4999-A931-8BCF-A564DE0910D2}"/>
                </a:ext>
              </a:extLst>
            </p:cNvPr>
            <p:cNvGrpSpPr/>
            <p:nvPr/>
          </p:nvGrpSpPr>
          <p:grpSpPr>
            <a:xfrm>
              <a:off x="10926984" y="5730334"/>
              <a:ext cx="59340" cy="65532"/>
              <a:chOff x="10926984" y="5730334"/>
              <a:chExt cx="59340" cy="65532"/>
            </a:xfrm>
          </p:grpSpPr>
          <p:sp>
            <p:nvSpPr>
              <p:cNvPr id="2166" name="Forma livre: Forma 2165">
                <a:extLst>
                  <a:ext uri="{FF2B5EF4-FFF2-40B4-BE49-F238E27FC236}">
                    <a16:creationId xmlns:a16="http://schemas.microsoft.com/office/drawing/2014/main" id="{ED7DE159-85EC-A5C4-F3A1-BDE43099EF8C}"/>
                  </a:ext>
                </a:extLst>
              </p:cNvPr>
              <p:cNvSpPr/>
              <p:nvPr/>
            </p:nvSpPr>
            <p:spPr>
              <a:xfrm>
                <a:off x="10926984" y="5730334"/>
                <a:ext cx="9525" cy="65532"/>
              </a:xfrm>
              <a:custGeom>
                <a:avLst/>
                <a:gdLst>
                  <a:gd name="connsiteX0" fmla="*/ 0 w 9525"/>
                  <a:gd name="connsiteY0" fmla="*/ 65532 h 65532"/>
                  <a:gd name="connsiteX1" fmla="*/ 0 w 9525"/>
                  <a:gd name="connsiteY1" fmla="*/ 0 h 655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525" h="65532">
                    <a:moveTo>
                      <a:pt x="0" y="65532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167" name="Forma livre: Forma 2166">
                <a:extLst>
                  <a:ext uri="{FF2B5EF4-FFF2-40B4-BE49-F238E27FC236}">
                    <a16:creationId xmlns:a16="http://schemas.microsoft.com/office/drawing/2014/main" id="{0046A2CB-9938-0BEA-B216-4F35D089710E}"/>
                  </a:ext>
                </a:extLst>
              </p:cNvPr>
              <p:cNvSpPr/>
              <p:nvPr/>
            </p:nvSpPr>
            <p:spPr>
              <a:xfrm>
                <a:off x="10986325" y="5730334"/>
                <a:ext cx="9525" cy="65532"/>
              </a:xfrm>
              <a:custGeom>
                <a:avLst/>
                <a:gdLst>
                  <a:gd name="connsiteX0" fmla="*/ 0 w 9525"/>
                  <a:gd name="connsiteY0" fmla="*/ 65532 h 65532"/>
                  <a:gd name="connsiteX1" fmla="*/ 0 w 9525"/>
                  <a:gd name="connsiteY1" fmla="*/ 0 h 655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525" h="65532">
                    <a:moveTo>
                      <a:pt x="0" y="65532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2168" name="Forma livre: Forma 2167">
              <a:extLst>
                <a:ext uri="{FF2B5EF4-FFF2-40B4-BE49-F238E27FC236}">
                  <a16:creationId xmlns:a16="http://schemas.microsoft.com/office/drawing/2014/main" id="{7D51EC03-1BFD-3ED7-02DA-4447F9396C06}"/>
                </a:ext>
              </a:extLst>
            </p:cNvPr>
            <p:cNvSpPr/>
            <p:nvPr/>
          </p:nvSpPr>
          <p:spPr>
            <a:xfrm>
              <a:off x="10776775" y="5997320"/>
              <a:ext cx="359664" cy="9525"/>
            </a:xfrm>
            <a:custGeom>
              <a:avLst/>
              <a:gdLst>
                <a:gd name="connsiteX0" fmla="*/ 0 w 359664"/>
                <a:gd name="connsiteY0" fmla="*/ 0 h 9525"/>
                <a:gd name="connsiteX1" fmla="*/ 359664 w 359664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59664" h="9525">
                  <a:moveTo>
                    <a:pt x="0" y="0"/>
                  </a:moveTo>
                  <a:lnTo>
                    <a:pt x="359664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69" name="Forma livre: Forma 2168">
              <a:extLst>
                <a:ext uri="{FF2B5EF4-FFF2-40B4-BE49-F238E27FC236}">
                  <a16:creationId xmlns:a16="http://schemas.microsoft.com/office/drawing/2014/main" id="{9FD975A7-860D-8B6B-451E-562C9362519A}"/>
                </a:ext>
              </a:extLst>
            </p:cNvPr>
            <p:cNvSpPr/>
            <p:nvPr/>
          </p:nvSpPr>
          <p:spPr>
            <a:xfrm>
              <a:off x="10824495" y="5844253"/>
              <a:ext cx="264318" cy="149733"/>
            </a:xfrm>
            <a:custGeom>
              <a:avLst/>
              <a:gdLst>
                <a:gd name="connsiteX0" fmla="*/ 264319 w 264318"/>
                <a:gd name="connsiteY0" fmla="*/ 149733 h 149733"/>
                <a:gd name="connsiteX1" fmla="*/ 264319 w 264318"/>
                <a:gd name="connsiteY1" fmla="*/ 0 h 149733"/>
                <a:gd name="connsiteX2" fmla="*/ 0 w 264318"/>
                <a:gd name="connsiteY2" fmla="*/ 0 h 149733"/>
                <a:gd name="connsiteX3" fmla="*/ 0 w 264318"/>
                <a:gd name="connsiteY3" fmla="*/ 113348 h 1497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64318" h="149733">
                  <a:moveTo>
                    <a:pt x="264319" y="149733"/>
                  </a:moveTo>
                  <a:lnTo>
                    <a:pt x="264319" y="0"/>
                  </a:lnTo>
                  <a:lnTo>
                    <a:pt x="0" y="0"/>
                  </a:lnTo>
                  <a:lnTo>
                    <a:pt x="0" y="113348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2170" name="Gráfico 2162">
              <a:extLst>
                <a:ext uri="{FF2B5EF4-FFF2-40B4-BE49-F238E27FC236}">
                  <a16:creationId xmlns:a16="http://schemas.microsoft.com/office/drawing/2014/main" id="{3CAE01FF-9007-10D7-794A-1A93C64C5C21}"/>
                </a:ext>
              </a:extLst>
            </p:cNvPr>
            <p:cNvGrpSpPr/>
            <p:nvPr/>
          </p:nvGrpSpPr>
          <p:grpSpPr>
            <a:xfrm>
              <a:off x="10746581" y="5322093"/>
              <a:ext cx="420147" cy="420052"/>
              <a:chOff x="10746581" y="5322093"/>
              <a:chExt cx="420147" cy="420052"/>
            </a:xfrm>
            <a:noFill/>
          </p:grpSpPr>
          <p:sp>
            <p:nvSpPr>
              <p:cNvPr id="2171" name="Forma livre: Forma 2170">
                <a:extLst>
                  <a:ext uri="{FF2B5EF4-FFF2-40B4-BE49-F238E27FC236}">
                    <a16:creationId xmlns:a16="http://schemas.microsoft.com/office/drawing/2014/main" id="{DDCEC88F-C307-1E41-FB98-79B7F4A5ED47}"/>
                  </a:ext>
                </a:extLst>
              </p:cNvPr>
              <p:cNvSpPr/>
              <p:nvPr/>
            </p:nvSpPr>
            <p:spPr>
              <a:xfrm>
                <a:off x="10746581" y="5322093"/>
                <a:ext cx="420147" cy="420052"/>
              </a:xfrm>
              <a:custGeom>
                <a:avLst/>
                <a:gdLst>
                  <a:gd name="connsiteX0" fmla="*/ 210026 w 420147"/>
                  <a:gd name="connsiteY0" fmla="*/ 0 h 420052"/>
                  <a:gd name="connsiteX1" fmla="*/ 0 w 420147"/>
                  <a:gd name="connsiteY1" fmla="*/ 210026 h 420052"/>
                  <a:gd name="connsiteX2" fmla="*/ 210026 w 420147"/>
                  <a:gd name="connsiteY2" fmla="*/ 420053 h 420052"/>
                  <a:gd name="connsiteX3" fmla="*/ 420148 w 420147"/>
                  <a:gd name="connsiteY3" fmla="*/ 210026 h 420052"/>
                  <a:gd name="connsiteX4" fmla="*/ 210026 w 420147"/>
                  <a:gd name="connsiteY4" fmla="*/ 0 h 420052"/>
                  <a:gd name="connsiteX5" fmla="*/ 210026 w 420147"/>
                  <a:gd name="connsiteY5" fmla="*/ 0 h 4200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420147" h="420052">
                    <a:moveTo>
                      <a:pt x="210026" y="0"/>
                    </a:moveTo>
                    <a:cubicBezTo>
                      <a:pt x="94012" y="0"/>
                      <a:pt x="0" y="94012"/>
                      <a:pt x="0" y="210026"/>
                    </a:cubicBezTo>
                    <a:cubicBezTo>
                      <a:pt x="0" y="326041"/>
                      <a:pt x="94012" y="420053"/>
                      <a:pt x="210026" y="420053"/>
                    </a:cubicBezTo>
                    <a:cubicBezTo>
                      <a:pt x="326041" y="420053"/>
                      <a:pt x="420148" y="326041"/>
                      <a:pt x="420148" y="210026"/>
                    </a:cubicBezTo>
                    <a:cubicBezTo>
                      <a:pt x="420148" y="94012"/>
                      <a:pt x="326041" y="0"/>
                      <a:pt x="210026" y="0"/>
                    </a:cubicBezTo>
                    <a:lnTo>
                      <a:pt x="210026" y="0"/>
                    </a:ln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2172" name="Gráfico 2162">
                <a:extLst>
                  <a:ext uri="{FF2B5EF4-FFF2-40B4-BE49-F238E27FC236}">
                    <a16:creationId xmlns:a16="http://schemas.microsoft.com/office/drawing/2014/main" id="{78187228-84A8-2A81-2A80-5C9BC46C780D}"/>
                  </a:ext>
                </a:extLst>
              </p:cNvPr>
              <p:cNvGrpSpPr/>
              <p:nvPr/>
            </p:nvGrpSpPr>
            <p:grpSpPr>
              <a:xfrm>
                <a:off x="10757154" y="5341048"/>
                <a:ext cx="399002" cy="385476"/>
                <a:chOff x="10757154" y="5341048"/>
                <a:chExt cx="399002" cy="385476"/>
              </a:xfrm>
              <a:noFill/>
            </p:grpSpPr>
            <p:sp>
              <p:nvSpPr>
                <p:cNvPr id="2173" name="Forma livre: Forma 2172">
                  <a:extLst>
                    <a:ext uri="{FF2B5EF4-FFF2-40B4-BE49-F238E27FC236}">
                      <a16:creationId xmlns:a16="http://schemas.microsoft.com/office/drawing/2014/main" id="{2A14AE6B-2C2D-F209-8EB5-649421F62E97}"/>
                    </a:ext>
                  </a:extLst>
                </p:cNvPr>
                <p:cNvSpPr/>
                <p:nvPr/>
              </p:nvSpPr>
              <p:spPr>
                <a:xfrm>
                  <a:off x="10885646" y="5341048"/>
                  <a:ext cx="70961" cy="105727"/>
                </a:xfrm>
                <a:custGeom>
                  <a:avLst/>
                  <a:gdLst>
                    <a:gd name="connsiteX0" fmla="*/ 70961 w 70961"/>
                    <a:gd name="connsiteY0" fmla="*/ 105728 h 105727"/>
                    <a:gd name="connsiteX1" fmla="*/ 70961 w 70961"/>
                    <a:gd name="connsiteY1" fmla="*/ 53149 h 105727"/>
                    <a:gd name="connsiteX2" fmla="*/ 0 w 70961"/>
                    <a:gd name="connsiteY2" fmla="*/ 0 h 10572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70961" h="105727">
                      <a:moveTo>
                        <a:pt x="70961" y="105728"/>
                      </a:moveTo>
                      <a:lnTo>
                        <a:pt x="70961" y="53149"/>
                      </a:lnTo>
                      <a:lnTo>
                        <a:pt x="0" y="0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174" name="Forma livre: Forma 2173">
                  <a:extLst>
                    <a:ext uri="{FF2B5EF4-FFF2-40B4-BE49-F238E27FC236}">
                      <a16:creationId xmlns:a16="http://schemas.microsoft.com/office/drawing/2014/main" id="{CD56836E-F939-1829-545F-1DB1F27E8673}"/>
                    </a:ext>
                  </a:extLst>
                </p:cNvPr>
                <p:cNvSpPr/>
                <p:nvPr/>
              </p:nvSpPr>
              <p:spPr>
                <a:xfrm>
                  <a:off x="10804874" y="5399721"/>
                  <a:ext cx="69818" cy="106584"/>
                </a:xfrm>
                <a:custGeom>
                  <a:avLst/>
                  <a:gdLst>
                    <a:gd name="connsiteX0" fmla="*/ 69818 w 69818"/>
                    <a:gd name="connsiteY0" fmla="*/ 106585 h 106584"/>
                    <a:gd name="connsiteX1" fmla="*/ 21622 w 69818"/>
                    <a:gd name="connsiteY1" fmla="*/ 86487 h 106584"/>
                    <a:gd name="connsiteX2" fmla="*/ 0 w 69818"/>
                    <a:gd name="connsiteY2" fmla="*/ 0 h 10658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69818" h="106584">
                      <a:moveTo>
                        <a:pt x="69818" y="106585"/>
                      </a:moveTo>
                      <a:lnTo>
                        <a:pt x="21622" y="86487"/>
                      </a:lnTo>
                      <a:lnTo>
                        <a:pt x="0" y="0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175" name="Forma livre: Forma 2174">
                  <a:extLst>
                    <a:ext uri="{FF2B5EF4-FFF2-40B4-BE49-F238E27FC236}">
                      <a16:creationId xmlns:a16="http://schemas.microsoft.com/office/drawing/2014/main" id="{5C122436-DEFC-6F04-F5B8-C257EB8FEDBA}"/>
                    </a:ext>
                  </a:extLst>
                </p:cNvPr>
                <p:cNvSpPr/>
                <p:nvPr/>
              </p:nvSpPr>
              <p:spPr>
                <a:xfrm>
                  <a:off x="10757154" y="5486209"/>
                  <a:ext cx="69342" cy="54292"/>
                </a:xfrm>
                <a:custGeom>
                  <a:avLst/>
                  <a:gdLst>
                    <a:gd name="connsiteX0" fmla="*/ 69342 w 69342"/>
                    <a:gd name="connsiteY0" fmla="*/ 0 h 54292"/>
                    <a:gd name="connsiteX1" fmla="*/ 0 w 69342"/>
                    <a:gd name="connsiteY1" fmla="*/ 54293 h 542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69342" h="54292">
                      <a:moveTo>
                        <a:pt x="69342" y="0"/>
                      </a:moveTo>
                      <a:lnTo>
                        <a:pt x="0" y="54293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176" name="Forma livre: Forma 2175">
                  <a:extLst>
                    <a:ext uri="{FF2B5EF4-FFF2-40B4-BE49-F238E27FC236}">
                      <a16:creationId xmlns:a16="http://schemas.microsoft.com/office/drawing/2014/main" id="{C15043C2-C2C6-60EE-0734-0C22E9A81D3E}"/>
                    </a:ext>
                  </a:extLst>
                </p:cNvPr>
                <p:cNvSpPr/>
                <p:nvPr/>
              </p:nvSpPr>
              <p:spPr>
                <a:xfrm>
                  <a:off x="10788205" y="5602604"/>
                  <a:ext cx="117824" cy="37242"/>
                </a:xfrm>
                <a:custGeom>
                  <a:avLst/>
                  <a:gdLst>
                    <a:gd name="connsiteX0" fmla="*/ 117824 w 117824"/>
                    <a:gd name="connsiteY0" fmla="*/ 0 h 37242"/>
                    <a:gd name="connsiteX1" fmla="*/ 88297 w 117824"/>
                    <a:gd name="connsiteY1" fmla="*/ 37243 h 37242"/>
                    <a:gd name="connsiteX2" fmla="*/ 0 w 117824"/>
                    <a:gd name="connsiteY2" fmla="*/ 35528 h 3724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17824" h="37242">
                      <a:moveTo>
                        <a:pt x="117824" y="0"/>
                      </a:moveTo>
                      <a:lnTo>
                        <a:pt x="88297" y="37243"/>
                      </a:lnTo>
                      <a:lnTo>
                        <a:pt x="0" y="35528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177" name="Forma livre: Forma 2176">
                  <a:extLst>
                    <a:ext uri="{FF2B5EF4-FFF2-40B4-BE49-F238E27FC236}">
                      <a16:creationId xmlns:a16="http://schemas.microsoft.com/office/drawing/2014/main" id="{A59B4EB7-ABC3-D1CB-C061-A92505FC08DC}"/>
                    </a:ext>
                  </a:extLst>
                </p:cNvPr>
                <p:cNvSpPr/>
                <p:nvPr/>
              </p:nvSpPr>
              <p:spPr>
                <a:xfrm>
                  <a:off x="10876502" y="5639847"/>
                  <a:ext cx="28765" cy="86677"/>
                </a:xfrm>
                <a:custGeom>
                  <a:avLst/>
                  <a:gdLst>
                    <a:gd name="connsiteX0" fmla="*/ 0 w 28765"/>
                    <a:gd name="connsiteY0" fmla="*/ 0 h 86677"/>
                    <a:gd name="connsiteX1" fmla="*/ 28765 w 28765"/>
                    <a:gd name="connsiteY1" fmla="*/ 86677 h 8667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8765" h="86677">
                      <a:moveTo>
                        <a:pt x="0" y="0"/>
                      </a:moveTo>
                      <a:lnTo>
                        <a:pt x="28765" y="86677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178" name="Forma livre: Forma 2177">
                  <a:extLst>
                    <a:ext uri="{FF2B5EF4-FFF2-40B4-BE49-F238E27FC236}">
                      <a16:creationId xmlns:a16="http://schemas.microsoft.com/office/drawing/2014/main" id="{CA87E6E5-9ECC-3729-338E-3FFDF93D22BA}"/>
                    </a:ext>
                  </a:extLst>
                </p:cNvPr>
                <p:cNvSpPr/>
                <p:nvPr/>
              </p:nvSpPr>
              <p:spPr>
                <a:xfrm>
                  <a:off x="10956607" y="5341048"/>
                  <a:ext cx="70961" cy="53149"/>
                </a:xfrm>
                <a:custGeom>
                  <a:avLst/>
                  <a:gdLst>
                    <a:gd name="connsiteX0" fmla="*/ 0 w 70961"/>
                    <a:gd name="connsiteY0" fmla="*/ 53149 h 53149"/>
                    <a:gd name="connsiteX1" fmla="*/ 70961 w 70961"/>
                    <a:gd name="connsiteY1" fmla="*/ 0 h 5314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70961" h="53149">
                      <a:moveTo>
                        <a:pt x="0" y="53149"/>
                      </a:moveTo>
                      <a:lnTo>
                        <a:pt x="70961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179" name="Forma livre: Forma 2178">
                  <a:extLst>
                    <a:ext uri="{FF2B5EF4-FFF2-40B4-BE49-F238E27FC236}">
                      <a16:creationId xmlns:a16="http://schemas.microsoft.com/office/drawing/2014/main" id="{3D838067-B9B0-276A-87A0-A5741533D177}"/>
                    </a:ext>
                  </a:extLst>
                </p:cNvPr>
                <p:cNvSpPr/>
                <p:nvPr/>
              </p:nvSpPr>
              <p:spPr>
                <a:xfrm>
                  <a:off x="11038522" y="5399721"/>
                  <a:ext cx="69913" cy="106584"/>
                </a:xfrm>
                <a:custGeom>
                  <a:avLst/>
                  <a:gdLst>
                    <a:gd name="connsiteX0" fmla="*/ 0 w 69913"/>
                    <a:gd name="connsiteY0" fmla="*/ 106585 h 106584"/>
                    <a:gd name="connsiteX1" fmla="*/ 47530 w 69913"/>
                    <a:gd name="connsiteY1" fmla="*/ 87725 h 106584"/>
                    <a:gd name="connsiteX2" fmla="*/ 69914 w 69913"/>
                    <a:gd name="connsiteY2" fmla="*/ 0 h 10658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69913" h="106584">
                      <a:moveTo>
                        <a:pt x="0" y="106585"/>
                      </a:moveTo>
                      <a:lnTo>
                        <a:pt x="47530" y="87725"/>
                      </a:lnTo>
                      <a:lnTo>
                        <a:pt x="69914" y="0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180" name="Forma livre: Forma 2179">
                  <a:extLst>
                    <a:ext uri="{FF2B5EF4-FFF2-40B4-BE49-F238E27FC236}">
                      <a16:creationId xmlns:a16="http://schemas.microsoft.com/office/drawing/2014/main" id="{35F347B5-9E99-28C8-63E8-1A10DFB79E9E}"/>
                    </a:ext>
                  </a:extLst>
                </p:cNvPr>
                <p:cNvSpPr/>
                <p:nvPr/>
              </p:nvSpPr>
              <p:spPr>
                <a:xfrm>
                  <a:off x="11086052" y="5487447"/>
                  <a:ext cx="70104" cy="53054"/>
                </a:xfrm>
                <a:custGeom>
                  <a:avLst/>
                  <a:gdLst>
                    <a:gd name="connsiteX0" fmla="*/ 0 w 70104"/>
                    <a:gd name="connsiteY0" fmla="*/ 0 h 53054"/>
                    <a:gd name="connsiteX1" fmla="*/ 70104 w 70104"/>
                    <a:gd name="connsiteY1" fmla="*/ 53054 h 5305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70104" h="53054">
                      <a:moveTo>
                        <a:pt x="0" y="0"/>
                      </a:moveTo>
                      <a:lnTo>
                        <a:pt x="70104" y="53054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181" name="Forma livre: Forma 2180">
                  <a:extLst>
                    <a:ext uri="{FF2B5EF4-FFF2-40B4-BE49-F238E27FC236}">
                      <a16:creationId xmlns:a16="http://schemas.microsoft.com/office/drawing/2014/main" id="{D62E266A-3738-8F79-CC53-D8BC4E2EB2C1}"/>
                    </a:ext>
                  </a:extLst>
                </p:cNvPr>
                <p:cNvSpPr/>
                <p:nvPr/>
              </p:nvSpPr>
              <p:spPr>
                <a:xfrm>
                  <a:off x="11007280" y="5602604"/>
                  <a:ext cx="117728" cy="40766"/>
                </a:xfrm>
                <a:custGeom>
                  <a:avLst/>
                  <a:gdLst>
                    <a:gd name="connsiteX0" fmla="*/ 0 w 117728"/>
                    <a:gd name="connsiteY0" fmla="*/ 0 h 40766"/>
                    <a:gd name="connsiteX1" fmla="*/ 28765 w 117728"/>
                    <a:gd name="connsiteY1" fmla="*/ 40767 h 40766"/>
                    <a:gd name="connsiteX2" fmla="*/ 117729 w 117728"/>
                    <a:gd name="connsiteY2" fmla="*/ 35528 h 4076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17728" h="40766">
                      <a:moveTo>
                        <a:pt x="0" y="0"/>
                      </a:moveTo>
                      <a:lnTo>
                        <a:pt x="28765" y="40767"/>
                      </a:lnTo>
                      <a:lnTo>
                        <a:pt x="117729" y="35528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182" name="Forma livre: Forma 2181">
                  <a:extLst>
                    <a:ext uri="{FF2B5EF4-FFF2-40B4-BE49-F238E27FC236}">
                      <a16:creationId xmlns:a16="http://schemas.microsoft.com/office/drawing/2014/main" id="{1671A69C-B617-546B-1FB5-87A040350A0B}"/>
                    </a:ext>
                  </a:extLst>
                </p:cNvPr>
                <p:cNvSpPr/>
                <p:nvPr/>
              </p:nvSpPr>
              <p:spPr>
                <a:xfrm>
                  <a:off x="11008042" y="5643371"/>
                  <a:ext cx="28003" cy="83153"/>
                </a:xfrm>
                <a:custGeom>
                  <a:avLst/>
                  <a:gdLst>
                    <a:gd name="connsiteX0" fmla="*/ 28003 w 28003"/>
                    <a:gd name="connsiteY0" fmla="*/ 0 h 83153"/>
                    <a:gd name="connsiteX1" fmla="*/ 0 w 28003"/>
                    <a:gd name="connsiteY1" fmla="*/ 83153 h 8315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8003" h="83153">
                      <a:moveTo>
                        <a:pt x="28003" y="0"/>
                      </a:moveTo>
                      <a:lnTo>
                        <a:pt x="0" y="83153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183" name="Forma livre: Forma 2182">
                  <a:extLst>
                    <a:ext uri="{FF2B5EF4-FFF2-40B4-BE49-F238E27FC236}">
                      <a16:creationId xmlns:a16="http://schemas.microsoft.com/office/drawing/2014/main" id="{4CFF256F-6955-A81F-245E-1A754F55431D}"/>
                    </a:ext>
                  </a:extLst>
                </p:cNvPr>
                <p:cNvSpPr/>
                <p:nvPr/>
              </p:nvSpPr>
              <p:spPr>
                <a:xfrm>
                  <a:off x="10874692" y="5446775"/>
                  <a:ext cx="163829" cy="155829"/>
                </a:xfrm>
                <a:custGeom>
                  <a:avLst/>
                  <a:gdLst>
                    <a:gd name="connsiteX0" fmla="*/ 31337 w 163829"/>
                    <a:gd name="connsiteY0" fmla="*/ 155829 h 155829"/>
                    <a:gd name="connsiteX1" fmla="*/ 0 w 163829"/>
                    <a:gd name="connsiteY1" fmla="*/ 59531 h 155829"/>
                    <a:gd name="connsiteX2" fmla="*/ 81915 w 163829"/>
                    <a:gd name="connsiteY2" fmla="*/ 0 h 155829"/>
                    <a:gd name="connsiteX3" fmla="*/ 163830 w 163829"/>
                    <a:gd name="connsiteY3" fmla="*/ 59531 h 155829"/>
                    <a:gd name="connsiteX4" fmla="*/ 132588 w 163829"/>
                    <a:gd name="connsiteY4" fmla="*/ 155829 h 155829"/>
                    <a:gd name="connsiteX5" fmla="*/ 31337 w 163829"/>
                    <a:gd name="connsiteY5" fmla="*/ 155829 h 15582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163829" h="155829">
                      <a:moveTo>
                        <a:pt x="31337" y="155829"/>
                      </a:moveTo>
                      <a:lnTo>
                        <a:pt x="0" y="59531"/>
                      </a:lnTo>
                      <a:lnTo>
                        <a:pt x="81915" y="0"/>
                      </a:lnTo>
                      <a:lnTo>
                        <a:pt x="163830" y="59531"/>
                      </a:lnTo>
                      <a:lnTo>
                        <a:pt x="132588" y="155829"/>
                      </a:lnTo>
                      <a:lnTo>
                        <a:pt x="31337" y="155829"/>
                      </a:lnTo>
                      <a:close/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sp>
          <p:nvSpPr>
            <p:cNvPr id="2184" name="Forma livre: Forma 2183">
              <a:extLst>
                <a:ext uri="{FF2B5EF4-FFF2-40B4-BE49-F238E27FC236}">
                  <a16:creationId xmlns:a16="http://schemas.microsoft.com/office/drawing/2014/main" id="{79B1FA5B-52DE-CBF2-558E-769C3741FA25}"/>
                </a:ext>
              </a:extLst>
            </p:cNvPr>
            <p:cNvSpPr/>
            <p:nvPr/>
          </p:nvSpPr>
          <p:spPr>
            <a:xfrm>
              <a:off x="10866120" y="5796628"/>
              <a:ext cx="180974" cy="47625"/>
            </a:xfrm>
            <a:custGeom>
              <a:avLst/>
              <a:gdLst>
                <a:gd name="connsiteX0" fmla="*/ 0 w 180974"/>
                <a:gd name="connsiteY0" fmla="*/ 0 h 47625"/>
                <a:gd name="connsiteX1" fmla="*/ 180975 w 180974"/>
                <a:gd name="connsiteY1" fmla="*/ 0 h 47625"/>
                <a:gd name="connsiteX2" fmla="*/ 180975 w 180974"/>
                <a:gd name="connsiteY2" fmla="*/ 47625 h 476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80974" h="47625">
                  <a:moveTo>
                    <a:pt x="0" y="0"/>
                  </a:moveTo>
                  <a:lnTo>
                    <a:pt x="180975" y="0"/>
                  </a:lnTo>
                  <a:lnTo>
                    <a:pt x="180975" y="47625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2202" name="Agrupar 2201">
            <a:extLst>
              <a:ext uri="{FF2B5EF4-FFF2-40B4-BE49-F238E27FC236}">
                <a16:creationId xmlns:a16="http://schemas.microsoft.com/office/drawing/2014/main" id="{B8A3E95F-D669-1543-0F41-225129D4A9F7}"/>
              </a:ext>
            </a:extLst>
          </p:cNvPr>
          <p:cNvGrpSpPr/>
          <p:nvPr/>
        </p:nvGrpSpPr>
        <p:grpSpPr>
          <a:xfrm>
            <a:off x="6230983" y="2550070"/>
            <a:ext cx="338453" cy="252511"/>
            <a:chOff x="5784056" y="3198018"/>
            <a:chExt cx="624935" cy="466248"/>
          </a:xfrm>
        </p:grpSpPr>
        <p:sp>
          <p:nvSpPr>
            <p:cNvPr id="2189" name="Forma livre: Forma 2188">
              <a:extLst>
                <a:ext uri="{FF2B5EF4-FFF2-40B4-BE49-F238E27FC236}">
                  <a16:creationId xmlns:a16="http://schemas.microsoft.com/office/drawing/2014/main" id="{C79AAD56-3773-7071-65AA-7D5F9B9C4899}"/>
                </a:ext>
              </a:extLst>
            </p:cNvPr>
            <p:cNvSpPr/>
            <p:nvPr/>
          </p:nvSpPr>
          <p:spPr>
            <a:xfrm>
              <a:off x="5784056" y="3333940"/>
              <a:ext cx="624935" cy="9525"/>
            </a:xfrm>
            <a:custGeom>
              <a:avLst/>
              <a:gdLst>
                <a:gd name="connsiteX0" fmla="*/ 0 w 624935"/>
                <a:gd name="connsiteY0" fmla="*/ 0 h 9525"/>
                <a:gd name="connsiteX1" fmla="*/ 624935 w 624935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4935" h="9525">
                  <a:moveTo>
                    <a:pt x="0" y="0"/>
                  </a:moveTo>
                  <a:lnTo>
                    <a:pt x="624935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2190" name="Gráfico 2186">
              <a:extLst>
                <a:ext uri="{FF2B5EF4-FFF2-40B4-BE49-F238E27FC236}">
                  <a16:creationId xmlns:a16="http://schemas.microsoft.com/office/drawing/2014/main" id="{6F0C1F94-ECFE-A210-4102-404F88045B63}"/>
                </a:ext>
              </a:extLst>
            </p:cNvPr>
            <p:cNvGrpSpPr/>
            <p:nvPr/>
          </p:nvGrpSpPr>
          <p:grpSpPr>
            <a:xfrm>
              <a:off x="5784056" y="3198018"/>
              <a:ext cx="624935" cy="466248"/>
              <a:chOff x="5784056" y="3198018"/>
              <a:chExt cx="624935" cy="466248"/>
            </a:xfrm>
          </p:grpSpPr>
          <p:sp>
            <p:nvSpPr>
              <p:cNvPr id="2191" name="Forma livre: Forma 2190">
                <a:extLst>
                  <a:ext uri="{FF2B5EF4-FFF2-40B4-BE49-F238E27FC236}">
                    <a16:creationId xmlns:a16="http://schemas.microsoft.com/office/drawing/2014/main" id="{8775EAD4-6759-A782-3C28-5C1EF85C3B1E}"/>
                  </a:ext>
                </a:extLst>
              </p:cNvPr>
              <p:cNvSpPr/>
              <p:nvPr/>
            </p:nvSpPr>
            <p:spPr>
              <a:xfrm>
                <a:off x="5784056" y="3198018"/>
                <a:ext cx="624935" cy="466248"/>
              </a:xfrm>
              <a:custGeom>
                <a:avLst/>
                <a:gdLst>
                  <a:gd name="connsiteX0" fmla="*/ 577310 w 624935"/>
                  <a:gd name="connsiteY0" fmla="*/ 0 h 466248"/>
                  <a:gd name="connsiteX1" fmla="*/ 47625 w 624935"/>
                  <a:gd name="connsiteY1" fmla="*/ 0 h 466248"/>
                  <a:gd name="connsiteX2" fmla="*/ 0 w 624935"/>
                  <a:gd name="connsiteY2" fmla="*/ 47625 h 466248"/>
                  <a:gd name="connsiteX3" fmla="*/ 0 w 624935"/>
                  <a:gd name="connsiteY3" fmla="*/ 418624 h 466248"/>
                  <a:gd name="connsiteX4" fmla="*/ 47625 w 624935"/>
                  <a:gd name="connsiteY4" fmla="*/ 466249 h 466248"/>
                  <a:gd name="connsiteX5" fmla="*/ 577310 w 624935"/>
                  <a:gd name="connsiteY5" fmla="*/ 466249 h 466248"/>
                  <a:gd name="connsiteX6" fmla="*/ 624935 w 624935"/>
                  <a:gd name="connsiteY6" fmla="*/ 418624 h 466248"/>
                  <a:gd name="connsiteX7" fmla="*/ 624935 w 624935"/>
                  <a:gd name="connsiteY7" fmla="*/ 47625 h 466248"/>
                  <a:gd name="connsiteX8" fmla="*/ 577310 w 624935"/>
                  <a:gd name="connsiteY8" fmla="*/ 0 h 466248"/>
                  <a:gd name="connsiteX9" fmla="*/ 577310 w 624935"/>
                  <a:gd name="connsiteY9" fmla="*/ 0 h 4662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624935" h="466248">
                    <a:moveTo>
                      <a:pt x="577310" y="0"/>
                    </a:moveTo>
                    <a:lnTo>
                      <a:pt x="47625" y="0"/>
                    </a:lnTo>
                    <a:cubicBezTo>
                      <a:pt x="21431" y="0"/>
                      <a:pt x="0" y="21431"/>
                      <a:pt x="0" y="47625"/>
                    </a:cubicBezTo>
                    <a:lnTo>
                      <a:pt x="0" y="418624"/>
                    </a:lnTo>
                    <a:cubicBezTo>
                      <a:pt x="0" y="444818"/>
                      <a:pt x="21431" y="466249"/>
                      <a:pt x="47625" y="466249"/>
                    </a:cubicBezTo>
                    <a:lnTo>
                      <a:pt x="577310" y="466249"/>
                    </a:lnTo>
                    <a:cubicBezTo>
                      <a:pt x="603504" y="466249"/>
                      <a:pt x="624935" y="444818"/>
                      <a:pt x="624935" y="418624"/>
                    </a:cubicBezTo>
                    <a:lnTo>
                      <a:pt x="624935" y="47625"/>
                    </a:lnTo>
                    <a:cubicBezTo>
                      <a:pt x="624935" y="21431"/>
                      <a:pt x="603504" y="0"/>
                      <a:pt x="577310" y="0"/>
                    </a:cubicBezTo>
                    <a:lnTo>
                      <a:pt x="577310" y="0"/>
                    </a:ln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2192" name="Gráfico 2186">
                <a:extLst>
                  <a:ext uri="{FF2B5EF4-FFF2-40B4-BE49-F238E27FC236}">
                    <a16:creationId xmlns:a16="http://schemas.microsoft.com/office/drawing/2014/main" id="{67E22A51-1E35-CD66-CB89-9D3E675BE7C2}"/>
                  </a:ext>
                </a:extLst>
              </p:cNvPr>
              <p:cNvGrpSpPr/>
              <p:nvPr/>
            </p:nvGrpSpPr>
            <p:grpSpPr>
              <a:xfrm>
                <a:off x="5865780" y="3266502"/>
                <a:ext cx="156781" cy="14859"/>
                <a:chOff x="5865780" y="3266502"/>
                <a:chExt cx="156781" cy="14859"/>
              </a:xfrm>
              <a:solidFill>
                <a:srgbClr val="394553"/>
              </a:solidFill>
            </p:grpSpPr>
            <p:sp>
              <p:nvSpPr>
                <p:cNvPr id="2193" name="Forma livre: Forma 2192">
                  <a:extLst>
                    <a:ext uri="{FF2B5EF4-FFF2-40B4-BE49-F238E27FC236}">
                      <a16:creationId xmlns:a16="http://schemas.microsoft.com/office/drawing/2014/main" id="{2574950A-697A-AE9F-D063-A9794CC431A1}"/>
                    </a:ext>
                  </a:extLst>
                </p:cNvPr>
                <p:cNvSpPr/>
                <p:nvPr/>
              </p:nvSpPr>
              <p:spPr>
                <a:xfrm>
                  <a:off x="5865780" y="3266502"/>
                  <a:ext cx="14859" cy="14859"/>
                </a:xfrm>
                <a:custGeom>
                  <a:avLst/>
                  <a:gdLst>
                    <a:gd name="connsiteX0" fmla="*/ 14859 w 14859"/>
                    <a:gd name="connsiteY0" fmla="*/ 7430 h 14859"/>
                    <a:gd name="connsiteX1" fmla="*/ 7429 w 14859"/>
                    <a:gd name="connsiteY1" fmla="*/ 14859 h 14859"/>
                    <a:gd name="connsiteX2" fmla="*/ 0 w 14859"/>
                    <a:gd name="connsiteY2" fmla="*/ 7430 h 14859"/>
                    <a:gd name="connsiteX3" fmla="*/ 7429 w 14859"/>
                    <a:gd name="connsiteY3" fmla="*/ 0 h 14859"/>
                    <a:gd name="connsiteX4" fmla="*/ 14859 w 14859"/>
                    <a:gd name="connsiteY4" fmla="*/ 7430 h 1485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4859" h="14859">
                      <a:moveTo>
                        <a:pt x="14859" y="7430"/>
                      </a:moveTo>
                      <a:cubicBezTo>
                        <a:pt x="14859" y="11525"/>
                        <a:pt x="11525" y="14859"/>
                        <a:pt x="7429" y="14859"/>
                      </a:cubicBezTo>
                      <a:cubicBezTo>
                        <a:pt x="3334" y="14859"/>
                        <a:pt x="0" y="11525"/>
                        <a:pt x="0" y="7430"/>
                      </a:cubicBezTo>
                      <a:cubicBezTo>
                        <a:pt x="0" y="3334"/>
                        <a:pt x="3334" y="0"/>
                        <a:pt x="7429" y="0"/>
                      </a:cubicBezTo>
                      <a:cubicBezTo>
                        <a:pt x="11525" y="0"/>
                        <a:pt x="14859" y="3334"/>
                        <a:pt x="14859" y="7430"/>
                      </a:cubicBezTo>
                      <a:close/>
                    </a:path>
                  </a:pathLst>
                </a:custGeom>
                <a:solidFill>
                  <a:srgbClr val="394553"/>
                </a:solidFill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194" name="Forma livre: Forma 2193">
                  <a:extLst>
                    <a:ext uri="{FF2B5EF4-FFF2-40B4-BE49-F238E27FC236}">
                      <a16:creationId xmlns:a16="http://schemas.microsoft.com/office/drawing/2014/main" id="{6936C85C-F2E5-88C5-558C-FEF09CC98731}"/>
                    </a:ext>
                  </a:extLst>
                </p:cNvPr>
                <p:cNvSpPr/>
                <p:nvPr/>
              </p:nvSpPr>
              <p:spPr>
                <a:xfrm>
                  <a:off x="5936742" y="3266503"/>
                  <a:ext cx="14859" cy="14858"/>
                </a:xfrm>
                <a:custGeom>
                  <a:avLst/>
                  <a:gdLst>
                    <a:gd name="connsiteX0" fmla="*/ 14859 w 14859"/>
                    <a:gd name="connsiteY0" fmla="*/ 7430 h 14858"/>
                    <a:gd name="connsiteX1" fmla="*/ 7429 w 14859"/>
                    <a:gd name="connsiteY1" fmla="*/ 14859 h 14858"/>
                    <a:gd name="connsiteX2" fmla="*/ 0 w 14859"/>
                    <a:gd name="connsiteY2" fmla="*/ 7430 h 14858"/>
                    <a:gd name="connsiteX3" fmla="*/ 7429 w 14859"/>
                    <a:gd name="connsiteY3" fmla="*/ 0 h 14858"/>
                    <a:gd name="connsiteX4" fmla="*/ 14859 w 14859"/>
                    <a:gd name="connsiteY4" fmla="*/ 7430 h 1485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4859" h="14858">
                      <a:moveTo>
                        <a:pt x="14859" y="7430"/>
                      </a:moveTo>
                      <a:cubicBezTo>
                        <a:pt x="14859" y="11533"/>
                        <a:pt x="11533" y="14859"/>
                        <a:pt x="7429" y="14859"/>
                      </a:cubicBezTo>
                      <a:cubicBezTo>
                        <a:pt x="3326" y="14859"/>
                        <a:pt x="0" y="11533"/>
                        <a:pt x="0" y="7430"/>
                      </a:cubicBezTo>
                      <a:cubicBezTo>
                        <a:pt x="0" y="3326"/>
                        <a:pt x="3326" y="0"/>
                        <a:pt x="7429" y="0"/>
                      </a:cubicBezTo>
                      <a:cubicBezTo>
                        <a:pt x="11533" y="0"/>
                        <a:pt x="14859" y="3326"/>
                        <a:pt x="14859" y="7430"/>
                      </a:cubicBezTo>
                      <a:close/>
                    </a:path>
                  </a:pathLst>
                </a:custGeom>
                <a:solidFill>
                  <a:srgbClr val="394553"/>
                </a:solidFill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195" name="Forma livre: Forma 2194">
                  <a:extLst>
                    <a:ext uri="{FF2B5EF4-FFF2-40B4-BE49-F238E27FC236}">
                      <a16:creationId xmlns:a16="http://schemas.microsoft.com/office/drawing/2014/main" id="{7AA2EE06-D865-7E83-CF08-187F22BB7C37}"/>
                    </a:ext>
                  </a:extLst>
                </p:cNvPr>
                <p:cNvSpPr/>
                <p:nvPr/>
              </p:nvSpPr>
              <p:spPr>
                <a:xfrm>
                  <a:off x="6007703" y="3266503"/>
                  <a:ext cx="14859" cy="14858"/>
                </a:xfrm>
                <a:custGeom>
                  <a:avLst/>
                  <a:gdLst>
                    <a:gd name="connsiteX0" fmla="*/ 14859 w 14859"/>
                    <a:gd name="connsiteY0" fmla="*/ 7430 h 14858"/>
                    <a:gd name="connsiteX1" fmla="*/ 7430 w 14859"/>
                    <a:gd name="connsiteY1" fmla="*/ 14859 h 14858"/>
                    <a:gd name="connsiteX2" fmla="*/ 0 w 14859"/>
                    <a:gd name="connsiteY2" fmla="*/ 7430 h 14858"/>
                    <a:gd name="connsiteX3" fmla="*/ 7430 w 14859"/>
                    <a:gd name="connsiteY3" fmla="*/ 0 h 14858"/>
                    <a:gd name="connsiteX4" fmla="*/ 14859 w 14859"/>
                    <a:gd name="connsiteY4" fmla="*/ 7430 h 1485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4859" h="14858">
                      <a:moveTo>
                        <a:pt x="14859" y="7430"/>
                      </a:moveTo>
                      <a:cubicBezTo>
                        <a:pt x="14859" y="11533"/>
                        <a:pt x="11533" y="14859"/>
                        <a:pt x="7430" y="14859"/>
                      </a:cubicBezTo>
                      <a:cubicBezTo>
                        <a:pt x="3326" y="14859"/>
                        <a:pt x="0" y="11533"/>
                        <a:pt x="0" y="7430"/>
                      </a:cubicBezTo>
                      <a:cubicBezTo>
                        <a:pt x="0" y="3326"/>
                        <a:pt x="3326" y="0"/>
                        <a:pt x="7430" y="0"/>
                      </a:cubicBezTo>
                      <a:cubicBezTo>
                        <a:pt x="11533" y="0"/>
                        <a:pt x="14859" y="3326"/>
                        <a:pt x="14859" y="7430"/>
                      </a:cubicBezTo>
                      <a:close/>
                    </a:path>
                  </a:pathLst>
                </a:custGeom>
                <a:solidFill>
                  <a:srgbClr val="394553"/>
                </a:solidFill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grpSp>
          <p:nvGrpSpPr>
            <p:cNvPr id="2196" name="Gráfico 2186">
              <a:extLst>
                <a:ext uri="{FF2B5EF4-FFF2-40B4-BE49-F238E27FC236}">
                  <a16:creationId xmlns:a16="http://schemas.microsoft.com/office/drawing/2014/main" id="{67EB7373-F98E-9669-0043-6E4B3ADB3E13}"/>
                </a:ext>
              </a:extLst>
            </p:cNvPr>
            <p:cNvGrpSpPr/>
            <p:nvPr/>
          </p:nvGrpSpPr>
          <p:grpSpPr>
            <a:xfrm>
              <a:off x="5886735" y="3412616"/>
              <a:ext cx="419481" cy="157638"/>
              <a:chOff x="5886735" y="3412616"/>
              <a:chExt cx="419481" cy="157638"/>
            </a:xfrm>
            <a:noFill/>
          </p:grpSpPr>
          <p:sp>
            <p:nvSpPr>
              <p:cNvPr id="2197" name="Forma livre: Forma 2196">
                <a:extLst>
                  <a:ext uri="{FF2B5EF4-FFF2-40B4-BE49-F238E27FC236}">
                    <a16:creationId xmlns:a16="http://schemas.microsoft.com/office/drawing/2014/main" id="{4314F2D1-320A-A8AA-9356-F184365ABCC7}"/>
                  </a:ext>
                </a:extLst>
              </p:cNvPr>
              <p:cNvSpPr/>
              <p:nvPr/>
            </p:nvSpPr>
            <p:spPr>
              <a:xfrm>
                <a:off x="5886735" y="3412616"/>
                <a:ext cx="160877" cy="157638"/>
              </a:xfrm>
              <a:custGeom>
                <a:avLst/>
                <a:gdLst>
                  <a:gd name="connsiteX0" fmla="*/ 0 w 160877"/>
                  <a:gd name="connsiteY0" fmla="*/ 0 h 157638"/>
                  <a:gd name="connsiteX1" fmla="*/ 160877 w 160877"/>
                  <a:gd name="connsiteY1" fmla="*/ 0 h 157638"/>
                  <a:gd name="connsiteX2" fmla="*/ 160877 w 160877"/>
                  <a:gd name="connsiteY2" fmla="*/ 157639 h 157638"/>
                  <a:gd name="connsiteX3" fmla="*/ 0 w 160877"/>
                  <a:gd name="connsiteY3" fmla="*/ 157639 h 1576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60877" h="157638">
                    <a:moveTo>
                      <a:pt x="0" y="0"/>
                    </a:moveTo>
                    <a:lnTo>
                      <a:pt x="160877" y="0"/>
                    </a:lnTo>
                    <a:lnTo>
                      <a:pt x="160877" y="157639"/>
                    </a:lnTo>
                    <a:lnTo>
                      <a:pt x="0" y="157639"/>
                    </a:ln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2198" name="Gráfico 2186">
                <a:extLst>
                  <a:ext uri="{FF2B5EF4-FFF2-40B4-BE49-F238E27FC236}">
                    <a16:creationId xmlns:a16="http://schemas.microsoft.com/office/drawing/2014/main" id="{F797007E-5188-6185-72D6-763257572A2A}"/>
                  </a:ext>
                </a:extLst>
              </p:cNvPr>
              <p:cNvGrpSpPr/>
              <p:nvPr/>
            </p:nvGrpSpPr>
            <p:grpSpPr>
              <a:xfrm>
                <a:off x="6136481" y="3415855"/>
                <a:ext cx="169735" cy="151066"/>
                <a:chOff x="6136481" y="3415855"/>
                <a:chExt cx="169735" cy="151066"/>
              </a:xfrm>
            </p:grpSpPr>
            <p:sp>
              <p:nvSpPr>
                <p:cNvPr id="2199" name="Forma livre: Forma 2198">
                  <a:extLst>
                    <a:ext uri="{FF2B5EF4-FFF2-40B4-BE49-F238E27FC236}">
                      <a16:creationId xmlns:a16="http://schemas.microsoft.com/office/drawing/2014/main" id="{E8987789-9C06-372A-AC65-1FC9CE6163A9}"/>
                    </a:ext>
                  </a:extLst>
                </p:cNvPr>
                <p:cNvSpPr/>
                <p:nvPr/>
              </p:nvSpPr>
              <p:spPr>
                <a:xfrm>
                  <a:off x="6136481" y="3415855"/>
                  <a:ext cx="169735" cy="9525"/>
                </a:xfrm>
                <a:custGeom>
                  <a:avLst/>
                  <a:gdLst>
                    <a:gd name="connsiteX0" fmla="*/ 0 w 169735"/>
                    <a:gd name="connsiteY0" fmla="*/ 0 h 9525"/>
                    <a:gd name="connsiteX1" fmla="*/ 169736 w 169735"/>
                    <a:gd name="connsiteY1" fmla="*/ 0 h 952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69735" h="9525">
                      <a:moveTo>
                        <a:pt x="0" y="0"/>
                      </a:moveTo>
                      <a:lnTo>
                        <a:pt x="169736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200" name="Forma livre: Forma 2199">
                  <a:extLst>
                    <a:ext uri="{FF2B5EF4-FFF2-40B4-BE49-F238E27FC236}">
                      <a16:creationId xmlns:a16="http://schemas.microsoft.com/office/drawing/2014/main" id="{F9EE6C73-7166-C4DE-7577-5D618C757A83}"/>
                    </a:ext>
                  </a:extLst>
                </p:cNvPr>
                <p:cNvSpPr/>
                <p:nvPr/>
              </p:nvSpPr>
              <p:spPr>
                <a:xfrm>
                  <a:off x="6136481" y="3491388"/>
                  <a:ext cx="169735" cy="9525"/>
                </a:xfrm>
                <a:custGeom>
                  <a:avLst/>
                  <a:gdLst>
                    <a:gd name="connsiteX0" fmla="*/ 0 w 169735"/>
                    <a:gd name="connsiteY0" fmla="*/ 0 h 9525"/>
                    <a:gd name="connsiteX1" fmla="*/ 169736 w 169735"/>
                    <a:gd name="connsiteY1" fmla="*/ 0 h 952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69735" h="9525">
                      <a:moveTo>
                        <a:pt x="0" y="0"/>
                      </a:moveTo>
                      <a:lnTo>
                        <a:pt x="169736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201" name="Forma livre: Forma 2200">
                  <a:extLst>
                    <a:ext uri="{FF2B5EF4-FFF2-40B4-BE49-F238E27FC236}">
                      <a16:creationId xmlns:a16="http://schemas.microsoft.com/office/drawing/2014/main" id="{77E6AA75-9485-A0CA-5FFD-4FCB475A0BE4}"/>
                    </a:ext>
                  </a:extLst>
                </p:cNvPr>
                <p:cNvSpPr/>
                <p:nvPr/>
              </p:nvSpPr>
              <p:spPr>
                <a:xfrm>
                  <a:off x="6136481" y="3566921"/>
                  <a:ext cx="169735" cy="9525"/>
                </a:xfrm>
                <a:custGeom>
                  <a:avLst/>
                  <a:gdLst>
                    <a:gd name="connsiteX0" fmla="*/ 0 w 169735"/>
                    <a:gd name="connsiteY0" fmla="*/ 0 h 9525"/>
                    <a:gd name="connsiteX1" fmla="*/ 169736 w 169735"/>
                    <a:gd name="connsiteY1" fmla="*/ 0 h 952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69735" h="9525">
                      <a:moveTo>
                        <a:pt x="0" y="0"/>
                      </a:moveTo>
                      <a:lnTo>
                        <a:pt x="169736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</p:grpSp>
      <p:grpSp>
        <p:nvGrpSpPr>
          <p:cNvPr id="2217" name="Agrupar 2216">
            <a:extLst>
              <a:ext uri="{FF2B5EF4-FFF2-40B4-BE49-F238E27FC236}">
                <a16:creationId xmlns:a16="http://schemas.microsoft.com/office/drawing/2014/main" id="{CF22663D-95A6-0121-6C71-B3E539546153}"/>
              </a:ext>
            </a:extLst>
          </p:cNvPr>
          <p:cNvGrpSpPr/>
          <p:nvPr/>
        </p:nvGrpSpPr>
        <p:grpSpPr>
          <a:xfrm>
            <a:off x="6849008" y="2550070"/>
            <a:ext cx="341032" cy="252511"/>
            <a:chOff x="5779293" y="3198018"/>
            <a:chExt cx="629697" cy="466248"/>
          </a:xfrm>
        </p:grpSpPr>
        <p:grpSp>
          <p:nvGrpSpPr>
            <p:cNvPr id="2206" name="Gráfico 2203">
              <a:extLst>
                <a:ext uri="{FF2B5EF4-FFF2-40B4-BE49-F238E27FC236}">
                  <a16:creationId xmlns:a16="http://schemas.microsoft.com/office/drawing/2014/main" id="{4819E9A8-68EA-3DCE-6085-DEB071180211}"/>
                </a:ext>
              </a:extLst>
            </p:cNvPr>
            <p:cNvGrpSpPr/>
            <p:nvPr/>
          </p:nvGrpSpPr>
          <p:grpSpPr>
            <a:xfrm>
              <a:off x="5779293" y="3198018"/>
              <a:ext cx="629697" cy="466248"/>
              <a:chOff x="5779293" y="3198018"/>
              <a:chExt cx="629697" cy="466248"/>
            </a:xfrm>
          </p:grpSpPr>
          <p:sp>
            <p:nvSpPr>
              <p:cNvPr id="2207" name="Forma livre: Forma 2206">
                <a:extLst>
                  <a:ext uri="{FF2B5EF4-FFF2-40B4-BE49-F238E27FC236}">
                    <a16:creationId xmlns:a16="http://schemas.microsoft.com/office/drawing/2014/main" id="{FB809EBF-CA70-2CB8-95F5-3630ADAC3EFD}"/>
                  </a:ext>
                </a:extLst>
              </p:cNvPr>
              <p:cNvSpPr/>
              <p:nvPr/>
            </p:nvSpPr>
            <p:spPr>
              <a:xfrm>
                <a:off x="5784056" y="3198018"/>
                <a:ext cx="624935" cy="466248"/>
              </a:xfrm>
              <a:custGeom>
                <a:avLst/>
                <a:gdLst>
                  <a:gd name="connsiteX0" fmla="*/ 577310 w 624935"/>
                  <a:gd name="connsiteY0" fmla="*/ 0 h 466248"/>
                  <a:gd name="connsiteX1" fmla="*/ 47625 w 624935"/>
                  <a:gd name="connsiteY1" fmla="*/ 0 h 466248"/>
                  <a:gd name="connsiteX2" fmla="*/ 0 w 624935"/>
                  <a:gd name="connsiteY2" fmla="*/ 47625 h 466248"/>
                  <a:gd name="connsiteX3" fmla="*/ 0 w 624935"/>
                  <a:gd name="connsiteY3" fmla="*/ 418624 h 466248"/>
                  <a:gd name="connsiteX4" fmla="*/ 47625 w 624935"/>
                  <a:gd name="connsiteY4" fmla="*/ 466249 h 466248"/>
                  <a:gd name="connsiteX5" fmla="*/ 577310 w 624935"/>
                  <a:gd name="connsiteY5" fmla="*/ 466249 h 466248"/>
                  <a:gd name="connsiteX6" fmla="*/ 624935 w 624935"/>
                  <a:gd name="connsiteY6" fmla="*/ 418624 h 466248"/>
                  <a:gd name="connsiteX7" fmla="*/ 624935 w 624935"/>
                  <a:gd name="connsiteY7" fmla="*/ 47625 h 466248"/>
                  <a:gd name="connsiteX8" fmla="*/ 577310 w 624935"/>
                  <a:gd name="connsiteY8" fmla="*/ 0 h 466248"/>
                  <a:gd name="connsiteX9" fmla="*/ 577310 w 624935"/>
                  <a:gd name="connsiteY9" fmla="*/ 0 h 4662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624935" h="466248">
                    <a:moveTo>
                      <a:pt x="577310" y="0"/>
                    </a:moveTo>
                    <a:lnTo>
                      <a:pt x="47625" y="0"/>
                    </a:lnTo>
                    <a:cubicBezTo>
                      <a:pt x="21431" y="0"/>
                      <a:pt x="0" y="21431"/>
                      <a:pt x="0" y="47625"/>
                    </a:cubicBezTo>
                    <a:lnTo>
                      <a:pt x="0" y="418624"/>
                    </a:lnTo>
                    <a:cubicBezTo>
                      <a:pt x="0" y="444818"/>
                      <a:pt x="21431" y="466249"/>
                      <a:pt x="47625" y="466249"/>
                    </a:cubicBezTo>
                    <a:lnTo>
                      <a:pt x="577310" y="466249"/>
                    </a:lnTo>
                    <a:cubicBezTo>
                      <a:pt x="603504" y="466249"/>
                      <a:pt x="624935" y="444818"/>
                      <a:pt x="624935" y="418624"/>
                    </a:cubicBezTo>
                    <a:lnTo>
                      <a:pt x="624935" y="47625"/>
                    </a:lnTo>
                    <a:cubicBezTo>
                      <a:pt x="624935" y="21431"/>
                      <a:pt x="603504" y="0"/>
                      <a:pt x="577310" y="0"/>
                    </a:cubicBezTo>
                    <a:lnTo>
                      <a:pt x="577310" y="0"/>
                    </a:ln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208" name="Forma livre: Forma 2207">
                <a:extLst>
                  <a:ext uri="{FF2B5EF4-FFF2-40B4-BE49-F238E27FC236}">
                    <a16:creationId xmlns:a16="http://schemas.microsoft.com/office/drawing/2014/main" id="{4E44DA94-F40C-A227-B2ED-D335DB567CF2}"/>
                  </a:ext>
                </a:extLst>
              </p:cNvPr>
              <p:cNvSpPr/>
              <p:nvPr/>
            </p:nvSpPr>
            <p:spPr>
              <a:xfrm>
                <a:off x="5779293" y="3333940"/>
                <a:ext cx="629697" cy="9525"/>
              </a:xfrm>
              <a:custGeom>
                <a:avLst/>
                <a:gdLst>
                  <a:gd name="connsiteX0" fmla="*/ 0 w 629697"/>
                  <a:gd name="connsiteY0" fmla="*/ 0 h 9525"/>
                  <a:gd name="connsiteX1" fmla="*/ 629698 w 629697"/>
                  <a:gd name="connsiteY1" fmla="*/ 0 h 9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29697" h="9525">
                    <a:moveTo>
                      <a:pt x="0" y="0"/>
                    </a:moveTo>
                    <a:lnTo>
                      <a:pt x="629698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2209" name="Gráfico 2203">
                <a:extLst>
                  <a:ext uri="{FF2B5EF4-FFF2-40B4-BE49-F238E27FC236}">
                    <a16:creationId xmlns:a16="http://schemas.microsoft.com/office/drawing/2014/main" id="{EED3FA9E-75B2-5CDC-9639-66CF297F7F64}"/>
                  </a:ext>
                </a:extLst>
              </p:cNvPr>
              <p:cNvGrpSpPr/>
              <p:nvPr/>
            </p:nvGrpSpPr>
            <p:grpSpPr>
              <a:xfrm>
                <a:off x="5865780" y="3266502"/>
                <a:ext cx="156781" cy="14859"/>
                <a:chOff x="5865780" y="3266502"/>
                <a:chExt cx="156781" cy="14859"/>
              </a:xfrm>
              <a:solidFill>
                <a:srgbClr val="394553"/>
              </a:solidFill>
            </p:grpSpPr>
            <p:sp>
              <p:nvSpPr>
                <p:cNvPr id="2210" name="Forma livre: Forma 2209">
                  <a:extLst>
                    <a:ext uri="{FF2B5EF4-FFF2-40B4-BE49-F238E27FC236}">
                      <a16:creationId xmlns:a16="http://schemas.microsoft.com/office/drawing/2014/main" id="{7B10F5C4-46A4-0B68-2018-E7975E81A447}"/>
                    </a:ext>
                  </a:extLst>
                </p:cNvPr>
                <p:cNvSpPr/>
                <p:nvPr/>
              </p:nvSpPr>
              <p:spPr>
                <a:xfrm>
                  <a:off x="5865780" y="3266502"/>
                  <a:ext cx="14859" cy="14859"/>
                </a:xfrm>
                <a:custGeom>
                  <a:avLst/>
                  <a:gdLst>
                    <a:gd name="connsiteX0" fmla="*/ 14859 w 14859"/>
                    <a:gd name="connsiteY0" fmla="*/ 7430 h 14859"/>
                    <a:gd name="connsiteX1" fmla="*/ 7429 w 14859"/>
                    <a:gd name="connsiteY1" fmla="*/ 14859 h 14859"/>
                    <a:gd name="connsiteX2" fmla="*/ 0 w 14859"/>
                    <a:gd name="connsiteY2" fmla="*/ 7430 h 14859"/>
                    <a:gd name="connsiteX3" fmla="*/ 7429 w 14859"/>
                    <a:gd name="connsiteY3" fmla="*/ 0 h 14859"/>
                    <a:gd name="connsiteX4" fmla="*/ 14859 w 14859"/>
                    <a:gd name="connsiteY4" fmla="*/ 7430 h 1485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4859" h="14859">
                      <a:moveTo>
                        <a:pt x="14859" y="7430"/>
                      </a:moveTo>
                      <a:cubicBezTo>
                        <a:pt x="14859" y="11525"/>
                        <a:pt x="11525" y="14859"/>
                        <a:pt x="7429" y="14859"/>
                      </a:cubicBezTo>
                      <a:cubicBezTo>
                        <a:pt x="3334" y="14859"/>
                        <a:pt x="0" y="11525"/>
                        <a:pt x="0" y="7430"/>
                      </a:cubicBezTo>
                      <a:cubicBezTo>
                        <a:pt x="0" y="3334"/>
                        <a:pt x="3334" y="0"/>
                        <a:pt x="7429" y="0"/>
                      </a:cubicBezTo>
                      <a:cubicBezTo>
                        <a:pt x="11525" y="0"/>
                        <a:pt x="14859" y="3334"/>
                        <a:pt x="14859" y="7430"/>
                      </a:cubicBezTo>
                      <a:close/>
                    </a:path>
                  </a:pathLst>
                </a:custGeom>
                <a:solidFill>
                  <a:srgbClr val="394553"/>
                </a:solidFill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211" name="Forma livre: Forma 2210">
                  <a:extLst>
                    <a:ext uri="{FF2B5EF4-FFF2-40B4-BE49-F238E27FC236}">
                      <a16:creationId xmlns:a16="http://schemas.microsoft.com/office/drawing/2014/main" id="{DBFAC2B4-AFDF-CEA5-B6F1-AE561E855ECB}"/>
                    </a:ext>
                  </a:extLst>
                </p:cNvPr>
                <p:cNvSpPr/>
                <p:nvPr/>
              </p:nvSpPr>
              <p:spPr>
                <a:xfrm>
                  <a:off x="5936742" y="3266503"/>
                  <a:ext cx="14859" cy="14858"/>
                </a:xfrm>
                <a:custGeom>
                  <a:avLst/>
                  <a:gdLst>
                    <a:gd name="connsiteX0" fmla="*/ 14859 w 14859"/>
                    <a:gd name="connsiteY0" fmla="*/ 7430 h 14858"/>
                    <a:gd name="connsiteX1" fmla="*/ 7429 w 14859"/>
                    <a:gd name="connsiteY1" fmla="*/ 14859 h 14858"/>
                    <a:gd name="connsiteX2" fmla="*/ 0 w 14859"/>
                    <a:gd name="connsiteY2" fmla="*/ 7430 h 14858"/>
                    <a:gd name="connsiteX3" fmla="*/ 7429 w 14859"/>
                    <a:gd name="connsiteY3" fmla="*/ 0 h 14858"/>
                    <a:gd name="connsiteX4" fmla="*/ 14859 w 14859"/>
                    <a:gd name="connsiteY4" fmla="*/ 7430 h 1485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4859" h="14858">
                      <a:moveTo>
                        <a:pt x="14859" y="7430"/>
                      </a:moveTo>
                      <a:cubicBezTo>
                        <a:pt x="14859" y="11533"/>
                        <a:pt x="11533" y="14859"/>
                        <a:pt x="7429" y="14859"/>
                      </a:cubicBezTo>
                      <a:cubicBezTo>
                        <a:pt x="3326" y="14859"/>
                        <a:pt x="0" y="11533"/>
                        <a:pt x="0" y="7430"/>
                      </a:cubicBezTo>
                      <a:cubicBezTo>
                        <a:pt x="0" y="3326"/>
                        <a:pt x="3326" y="0"/>
                        <a:pt x="7429" y="0"/>
                      </a:cubicBezTo>
                      <a:cubicBezTo>
                        <a:pt x="11533" y="0"/>
                        <a:pt x="14859" y="3326"/>
                        <a:pt x="14859" y="7430"/>
                      </a:cubicBezTo>
                      <a:close/>
                    </a:path>
                  </a:pathLst>
                </a:custGeom>
                <a:solidFill>
                  <a:srgbClr val="394553"/>
                </a:solidFill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212" name="Forma livre: Forma 2211">
                  <a:extLst>
                    <a:ext uri="{FF2B5EF4-FFF2-40B4-BE49-F238E27FC236}">
                      <a16:creationId xmlns:a16="http://schemas.microsoft.com/office/drawing/2014/main" id="{C631BD99-F996-0012-443F-17A81CAFAEDC}"/>
                    </a:ext>
                  </a:extLst>
                </p:cNvPr>
                <p:cNvSpPr/>
                <p:nvPr/>
              </p:nvSpPr>
              <p:spPr>
                <a:xfrm>
                  <a:off x="6007703" y="3266503"/>
                  <a:ext cx="14859" cy="14858"/>
                </a:xfrm>
                <a:custGeom>
                  <a:avLst/>
                  <a:gdLst>
                    <a:gd name="connsiteX0" fmla="*/ 14859 w 14859"/>
                    <a:gd name="connsiteY0" fmla="*/ 7430 h 14858"/>
                    <a:gd name="connsiteX1" fmla="*/ 7430 w 14859"/>
                    <a:gd name="connsiteY1" fmla="*/ 14859 h 14858"/>
                    <a:gd name="connsiteX2" fmla="*/ 0 w 14859"/>
                    <a:gd name="connsiteY2" fmla="*/ 7430 h 14858"/>
                    <a:gd name="connsiteX3" fmla="*/ 7430 w 14859"/>
                    <a:gd name="connsiteY3" fmla="*/ 0 h 14858"/>
                    <a:gd name="connsiteX4" fmla="*/ 14859 w 14859"/>
                    <a:gd name="connsiteY4" fmla="*/ 7430 h 1485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4859" h="14858">
                      <a:moveTo>
                        <a:pt x="14859" y="7430"/>
                      </a:moveTo>
                      <a:cubicBezTo>
                        <a:pt x="14859" y="11533"/>
                        <a:pt x="11533" y="14859"/>
                        <a:pt x="7430" y="14859"/>
                      </a:cubicBezTo>
                      <a:cubicBezTo>
                        <a:pt x="3326" y="14859"/>
                        <a:pt x="0" y="11533"/>
                        <a:pt x="0" y="7430"/>
                      </a:cubicBezTo>
                      <a:cubicBezTo>
                        <a:pt x="0" y="3326"/>
                        <a:pt x="3326" y="0"/>
                        <a:pt x="7430" y="0"/>
                      </a:cubicBezTo>
                      <a:cubicBezTo>
                        <a:pt x="11533" y="0"/>
                        <a:pt x="14859" y="3326"/>
                        <a:pt x="14859" y="7430"/>
                      </a:cubicBezTo>
                      <a:close/>
                    </a:path>
                  </a:pathLst>
                </a:custGeom>
                <a:solidFill>
                  <a:srgbClr val="394553"/>
                </a:solidFill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sp>
          <p:nvSpPr>
            <p:cNvPr id="2213" name="Forma livre: Forma 2212">
              <a:extLst>
                <a:ext uri="{FF2B5EF4-FFF2-40B4-BE49-F238E27FC236}">
                  <a16:creationId xmlns:a16="http://schemas.microsoft.com/office/drawing/2014/main" id="{5D003EFE-A37F-4CE2-31F8-6D05143AEDA9}"/>
                </a:ext>
              </a:extLst>
            </p:cNvPr>
            <p:cNvSpPr/>
            <p:nvPr/>
          </p:nvSpPr>
          <p:spPr>
            <a:xfrm>
              <a:off x="6023705" y="3433095"/>
              <a:ext cx="42100" cy="118490"/>
            </a:xfrm>
            <a:custGeom>
              <a:avLst/>
              <a:gdLst>
                <a:gd name="connsiteX0" fmla="*/ 0 w 42100"/>
                <a:gd name="connsiteY0" fmla="*/ 0 h 118490"/>
                <a:gd name="connsiteX1" fmla="*/ 0 w 42100"/>
                <a:gd name="connsiteY1" fmla="*/ 118491 h 118490"/>
                <a:gd name="connsiteX2" fmla="*/ 42101 w 42100"/>
                <a:gd name="connsiteY2" fmla="*/ 118491 h 1184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2100" h="118490">
                  <a:moveTo>
                    <a:pt x="0" y="0"/>
                  </a:moveTo>
                  <a:lnTo>
                    <a:pt x="0" y="118491"/>
                  </a:lnTo>
                  <a:lnTo>
                    <a:pt x="42101" y="118491"/>
                  </a:lnTo>
                </a:path>
              </a:pathLst>
            </a:custGeom>
            <a:noFill/>
            <a:ln w="6350" cap="sq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214" name="Forma livre: Forma 2213">
              <a:extLst>
                <a:ext uri="{FF2B5EF4-FFF2-40B4-BE49-F238E27FC236}">
                  <a16:creationId xmlns:a16="http://schemas.microsoft.com/office/drawing/2014/main" id="{AEA9C04D-AC15-A676-4401-1747DD4DFAF1}"/>
                </a:ext>
              </a:extLst>
            </p:cNvPr>
            <p:cNvSpPr/>
            <p:nvPr/>
          </p:nvSpPr>
          <p:spPr>
            <a:xfrm>
              <a:off x="6113526" y="3429761"/>
              <a:ext cx="62102" cy="125253"/>
            </a:xfrm>
            <a:custGeom>
              <a:avLst/>
              <a:gdLst>
                <a:gd name="connsiteX0" fmla="*/ 32480 w 62102"/>
                <a:gd name="connsiteY0" fmla="*/ 0 h 125253"/>
                <a:gd name="connsiteX1" fmla="*/ 62103 w 62102"/>
                <a:gd name="connsiteY1" fmla="*/ 29623 h 125253"/>
                <a:gd name="connsiteX2" fmla="*/ 62103 w 62102"/>
                <a:gd name="connsiteY2" fmla="*/ 95631 h 125253"/>
                <a:gd name="connsiteX3" fmla="*/ 32480 w 62102"/>
                <a:gd name="connsiteY3" fmla="*/ 125254 h 125253"/>
                <a:gd name="connsiteX4" fmla="*/ 29623 w 62102"/>
                <a:gd name="connsiteY4" fmla="*/ 125254 h 125253"/>
                <a:gd name="connsiteX5" fmla="*/ 0 w 62102"/>
                <a:gd name="connsiteY5" fmla="*/ 95631 h 125253"/>
                <a:gd name="connsiteX6" fmla="*/ 0 w 62102"/>
                <a:gd name="connsiteY6" fmla="*/ 29623 h 125253"/>
                <a:gd name="connsiteX7" fmla="*/ 29623 w 62102"/>
                <a:gd name="connsiteY7" fmla="*/ 0 h 1252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62102" h="125253">
                  <a:moveTo>
                    <a:pt x="32480" y="0"/>
                  </a:moveTo>
                  <a:cubicBezTo>
                    <a:pt x="48840" y="0"/>
                    <a:pt x="62103" y="13263"/>
                    <a:pt x="62103" y="29623"/>
                  </a:cubicBezTo>
                  <a:lnTo>
                    <a:pt x="62103" y="95631"/>
                  </a:lnTo>
                  <a:cubicBezTo>
                    <a:pt x="62103" y="111991"/>
                    <a:pt x="48840" y="125254"/>
                    <a:pt x="32480" y="125254"/>
                  </a:cubicBezTo>
                  <a:lnTo>
                    <a:pt x="29623" y="125254"/>
                  </a:lnTo>
                  <a:cubicBezTo>
                    <a:pt x="13263" y="125254"/>
                    <a:pt x="0" y="111991"/>
                    <a:pt x="0" y="95631"/>
                  </a:cubicBezTo>
                  <a:lnTo>
                    <a:pt x="0" y="29623"/>
                  </a:lnTo>
                  <a:cubicBezTo>
                    <a:pt x="0" y="13263"/>
                    <a:pt x="13263" y="0"/>
                    <a:pt x="29623" y="0"/>
                  </a:cubicBezTo>
                  <a:close/>
                </a:path>
              </a:pathLst>
            </a:custGeom>
            <a:noFill/>
            <a:ln w="6350" cap="sq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215" name="Forma livre: Forma 2214">
              <a:extLst>
                <a:ext uri="{FF2B5EF4-FFF2-40B4-BE49-F238E27FC236}">
                  <a16:creationId xmlns:a16="http://schemas.microsoft.com/office/drawing/2014/main" id="{46F87B92-A2FC-281B-F456-CAADC671B262}"/>
                </a:ext>
              </a:extLst>
            </p:cNvPr>
            <p:cNvSpPr/>
            <p:nvPr/>
          </p:nvSpPr>
          <p:spPr>
            <a:xfrm>
              <a:off x="6232016" y="3429761"/>
              <a:ext cx="65436" cy="125253"/>
            </a:xfrm>
            <a:custGeom>
              <a:avLst/>
              <a:gdLst>
                <a:gd name="connsiteX0" fmla="*/ 65437 w 65436"/>
                <a:gd name="connsiteY0" fmla="*/ 29623 h 125253"/>
                <a:gd name="connsiteX1" fmla="*/ 35814 w 65436"/>
                <a:gd name="connsiteY1" fmla="*/ 0 h 125253"/>
                <a:gd name="connsiteX2" fmla="*/ 29623 w 65436"/>
                <a:gd name="connsiteY2" fmla="*/ 0 h 125253"/>
                <a:gd name="connsiteX3" fmla="*/ 0 w 65436"/>
                <a:gd name="connsiteY3" fmla="*/ 29623 h 125253"/>
                <a:gd name="connsiteX4" fmla="*/ 0 w 65436"/>
                <a:gd name="connsiteY4" fmla="*/ 95631 h 125253"/>
                <a:gd name="connsiteX5" fmla="*/ 29623 w 65436"/>
                <a:gd name="connsiteY5" fmla="*/ 125254 h 125253"/>
                <a:gd name="connsiteX6" fmla="*/ 35814 w 65436"/>
                <a:gd name="connsiteY6" fmla="*/ 125254 h 125253"/>
                <a:gd name="connsiteX7" fmla="*/ 65437 w 65436"/>
                <a:gd name="connsiteY7" fmla="*/ 95631 h 125253"/>
                <a:gd name="connsiteX8" fmla="*/ 65437 w 65436"/>
                <a:gd name="connsiteY8" fmla="*/ 74962 h 125253"/>
                <a:gd name="connsiteX9" fmla="*/ 44387 w 65436"/>
                <a:gd name="connsiteY9" fmla="*/ 74962 h 1252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65436" h="125253">
                  <a:moveTo>
                    <a:pt x="65437" y="29623"/>
                  </a:moveTo>
                  <a:cubicBezTo>
                    <a:pt x="65437" y="13335"/>
                    <a:pt x="52102" y="0"/>
                    <a:pt x="35814" y="0"/>
                  </a:cubicBezTo>
                  <a:lnTo>
                    <a:pt x="29623" y="0"/>
                  </a:lnTo>
                  <a:cubicBezTo>
                    <a:pt x="13335" y="0"/>
                    <a:pt x="0" y="13335"/>
                    <a:pt x="0" y="29623"/>
                  </a:cubicBezTo>
                  <a:lnTo>
                    <a:pt x="0" y="95631"/>
                  </a:lnTo>
                  <a:cubicBezTo>
                    <a:pt x="0" y="111919"/>
                    <a:pt x="13335" y="125254"/>
                    <a:pt x="29623" y="125254"/>
                  </a:cubicBezTo>
                  <a:lnTo>
                    <a:pt x="35814" y="125254"/>
                  </a:lnTo>
                  <a:cubicBezTo>
                    <a:pt x="52102" y="125254"/>
                    <a:pt x="65437" y="111919"/>
                    <a:pt x="65437" y="95631"/>
                  </a:cubicBezTo>
                  <a:lnTo>
                    <a:pt x="65437" y="74962"/>
                  </a:lnTo>
                  <a:lnTo>
                    <a:pt x="44387" y="74962"/>
                  </a:lnTo>
                </a:path>
              </a:pathLst>
            </a:custGeom>
            <a:noFill/>
            <a:ln w="6350" cap="sq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216" name="Forma livre: Forma 2215">
              <a:extLst>
                <a:ext uri="{FF2B5EF4-FFF2-40B4-BE49-F238E27FC236}">
                  <a16:creationId xmlns:a16="http://schemas.microsoft.com/office/drawing/2014/main" id="{93EDDF3F-2A8C-3316-9FD9-6726A361CDB3}"/>
                </a:ext>
              </a:extLst>
            </p:cNvPr>
            <p:cNvSpPr/>
            <p:nvPr/>
          </p:nvSpPr>
          <p:spPr>
            <a:xfrm>
              <a:off x="5898165" y="3433095"/>
              <a:ext cx="65341" cy="118490"/>
            </a:xfrm>
            <a:custGeom>
              <a:avLst/>
              <a:gdLst>
                <a:gd name="connsiteX0" fmla="*/ 4191 w 65341"/>
                <a:gd name="connsiteY0" fmla="*/ 59150 h 118490"/>
                <a:gd name="connsiteX1" fmla="*/ 40672 w 65341"/>
                <a:gd name="connsiteY1" fmla="*/ 59150 h 118490"/>
                <a:gd name="connsiteX2" fmla="*/ 65342 w 65341"/>
                <a:gd name="connsiteY2" fmla="*/ 34480 h 118490"/>
                <a:gd name="connsiteX3" fmla="*/ 65342 w 65341"/>
                <a:gd name="connsiteY3" fmla="*/ 24670 h 118490"/>
                <a:gd name="connsiteX4" fmla="*/ 40672 w 65341"/>
                <a:gd name="connsiteY4" fmla="*/ 0 h 118490"/>
                <a:gd name="connsiteX5" fmla="*/ 0 w 65341"/>
                <a:gd name="connsiteY5" fmla="*/ 0 h 118490"/>
                <a:gd name="connsiteX6" fmla="*/ 0 w 65341"/>
                <a:gd name="connsiteY6" fmla="*/ 118491 h 118490"/>
                <a:gd name="connsiteX7" fmla="*/ 40672 w 65341"/>
                <a:gd name="connsiteY7" fmla="*/ 118491 h 118490"/>
                <a:gd name="connsiteX8" fmla="*/ 65342 w 65341"/>
                <a:gd name="connsiteY8" fmla="*/ 93821 h 118490"/>
                <a:gd name="connsiteX9" fmla="*/ 65342 w 65341"/>
                <a:gd name="connsiteY9" fmla="*/ 84011 h 118490"/>
                <a:gd name="connsiteX10" fmla="*/ 40672 w 65341"/>
                <a:gd name="connsiteY10" fmla="*/ 59341 h 1184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65341" h="118490">
                  <a:moveTo>
                    <a:pt x="4191" y="59150"/>
                  </a:moveTo>
                  <a:lnTo>
                    <a:pt x="40672" y="59150"/>
                  </a:lnTo>
                  <a:cubicBezTo>
                    <a:pt x="54293" y="59150"/>
                    <a:pt x="65342" y="48006"/>
                    <a:pt x="65342" y="34480"/>
                  </a:cubicBezTo>
                  <a:lnTo>
                    <a:pt x="65342" y="24670"/>
                  </a:lnTo>
                  <a:cubicBezTo>
                    <a:pt x="65342" y="11049"/>
                    <a:pt x="54197" y="0"/>
                    <a:pt x="40672" y="0"/>
                  </a:cubicBezTo>
                  <a:lnTo>
                    <a:pt x="0" y="0"/>
                  </a:lnTo>
                  <a:lnTo>
                    <a:pt x="0" y="118491"/>
                  </a:lnTo>
                  <a:lnTo>
                    <a:pt x="40672" y="118491"/>
                  </a:lnTo>
                  <a:cubicBezTo>
                    <a:pt x="54293" y="118491"/>
                    <a:pt x="65342" y="107347"/>
                    <a:pt x="65342" y="93821"/>
                  </a:cubicBezTo>
                  <a:lnTo>
                    <a:pt x="65342" y="84011"/>
                  </a:lnTo>
                  <a:cubicBezTo>
                    <a:pt x="65342" y="70390"/>
                    <a:pt x="54197" y="59341"/>
                    <a:pt x="40672" y="59341"/>
                  </a:cubicBezTo>
                </a:path>
              </a:pathLst>
            </a:custGeom>
            <a:noFill/>
            <a:ln w="6350" cap="sq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2231" name="Agrupar 2230">
            <a:extLst>
              <a:ext uri="{FF2B5EF4-FFF2-40B4-BE49-F238E27FC236}">
                <a16:creationId xmlns:a16="http://schemas.microsoft.com/office/drawing/2014/main" id="{6A7974C5-780E-A46B-4CA5-AC37E2A2B27A}"/>
              </a:ext>
            </a:extLst>
          </p:cNvPr>
          <p:cNvGrpSpPr/>
          <p:nvPr/>
        </p:nvGrpSpPr>
        <p:grpSpPr>
          <a:xfrm>
            <a:off x="7493094" y="2517775"/>
            <a:ext cx="295325" cy="295275"/>
            <a:chOff x="5817393" y="3150393"/>
            <a:chExt cx="560546" cy="560451"/>
          </a:xfrm>
        </p:grpSpPr>
        <p:grpSp>
          <p:nvGrpSpPr>
            <p:cNvPr id="2221" name="Gráfico 2218">
              <a:extLst>
                <a:ext uri="{FF2B5EF4-FFF2-40B4-BE49-F238E27FC236}">
                  <a16:creationId xmlns:a16="http://schemas.microsoft.com/office/drawing/2014/main" id="{329B4E80-9E83-07DD-5784-F0EA825B9461}"/>
                </a:ext>
              </a:extLst>
            </p:cNvPr>
            <p:cNvGrpSpPr/>
            <p:nvPr/>
          </p:nvGrpSpPr>
          <p:grpSpPr>
            <a:xfrm>
              <a:off x="5959125" y="3290982"/>
              <a:ext cx="277082" cy="276891"/>
              <a:chOff x="5959125" y="3290982"/>
              <a:chExt cx="277082" cy="276891"/>
            </a:xfrm>
            <a:noFill/>
          </p:grpSpPr>
          <p:sp>
            <p:nvSpPr>
              <p:cNvPr id="2222" name="Forma livre: Forma 2221">
                <a:extLst>
                  <a:ext uri="{FF2B5EF4-FFF2-40B4-BE49-F238E27FC236}">
                    <a16:creationId xmlns:a16="http://schemas.microsoft.com/office/drawing/2014/main" id="{24D3C3D4-8422-3241-412F-619C9F1F250A}"/>
                  </a:ext>
                </a:extLst>
              </p:cNvPr>
              <p:cNvSpPr/>
              <p:nvPr/>
            </p:nvSpPr>
            <p:spPr>
              <a:xfrm>
                <a:off x="6068757" y="3290982"/>
                <a:ext cx="167449" cy="167354"/>
              </a:xfrm>
              <a:custGeom>
                <a:avLst/>
                <a:gdLst>
                  <a:gd name="connsiteX0" fmla="*/ 0 w 167449"/>
                  <a:gd name="connsiteY0" fmla="*/ 110490 h 167354"/>
                  <a:gd name="connsiteX1" fmla="*/ 167450 w 167449"/>
                  <a:gd name="connsiteY1" fmla="*/ 0 h 167354"/>
                  <a:gd name="connsiteX2" fmla="*/ 56864 w 167449"/>
                  <a:gd name="connsiteY2" fmla="*/ 167354 h 167354"/>
                  <a:gd name="connsiteX3" fmla="*/ 0 w 167449"/>
                  <a:gd name="connsiteY3" fmla="*/ 110490 h 1673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67449" h="167354">
                    <a:moveTo>
                      <a:pt x="0" y="110490"/>
                    </a:moveTo>
                    <a:lnTo>
                      <a:pt x="167450" y="0"/>
                    </a:lnTo>
                    <a:lnTo>
                      <a:pt x="56864" y="167354"/>
                    </a:lnTo>
                    <a:lnTo>
                      <a:pt x="0" y="110490"/>
                    </a:lnTo>
                    <a:close/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223" name="Forma livre: Forma 2222">
                <a:extLst>
                  <a:ext uri="{FF2B5EF4-FFF2-40B4-BE49-F238E27FC236}">
                    <a16:creationId xmlns:a16="http://schemas.microsoft.com/office/drawing/2014/main" id="{DD70FC8D-BD36-BB3E-B8AD-06C91D8C0302}"/>
                  </a:ext>
                </a:extLst>
              </p:cNvPr>
              <p:cNvSpPr/>
              <p:nvPr/>
            </p:nvSpPr>
            <p:spPr>
              <a:xfrm>
                <a:off x="5959125" y="3401567"/>
                <a:ext cx="166401" cy="166306"/>
              </a:xfrm>
              <a:custGeom>
                <a:avLst/>
                <a:gdLst>
                  <a:gd name="connsiteX0" fmla="*/ 166402 w 166401"/>
                  <a:gd name="connsiteY0" fmla="*/ 56864 h 166306"/>
                  <a:gd name="connsiteX1" fmla="*/ 0 w 166401"/>
                  <a:gd name="connsiteY1" fmla="*/ 166307 h 166306"/>
                  <a:gd name="connsiteX2" fmla="*/ 109538 w 166401"/>
                  <a:gd name="connsiteY2" fmla="*/ 0 h 1663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66401" h="166306">
                    <a:moveTo>
                      <a:pt x="166402" y="56864"/>
                    </a:moveTo>
                    <a:lnTo>
                      <a:pt x="0" y="166307"/>
                    </a:lnTo>
                    <a:lnTo>
                      <a:pt x="109538" y="0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2224" name="Forma livre: Forma 2223">
              <a:extLst>
                <a:ext uri="{FF2B5EF4-FFF2-40B4-BE49-F238E27FC236}">
                  <a16:creationId xmlns:a16="http://schemas.microsoft.com/office/drawing/2014/main" id="{AD510DE4-EC27-011E-ECA4-92AC37A22CBD}"/>
                </a:ext>
              </a:extLst>
            </p:cNvPr>
            <p:cNvSpPr/>
            <p:nvPr/>
          </p:nvSpPr>
          <p:spPr>
            <a:xfrm>
              <a:off x="5817393" y="3150393"/>
              <a:ext cx="560546" cy="560451"/>
            </a:xfrm>
            <a:custGeom>
              <a:avLst/>
              <a:gdLst>
                <a:gd name="connsiteX0" fmla="*/ 280226 w 560546"/>
                <a:gd name="connsiteY0" fmla="*/ 0 h 560451"/>
                <a:gd name="connsiteX1" fmla="*/ 0 w 560546"/>
                <a:gd name="connsiteY1" fmla="*/ 280226 h 560451"/>
                <a:gd name="connsiteX2" fmla="*/ 280226 w 560546"/>
                <a:gd name="connsiteY2" fmla="*/ 560451 h 560451"/>
                <a:gd name="connsiteX3" fmla="*/ 560546 w 560546"/>
                <a:gd name="connsiteY3" fmla="*/ 280226 h 560451"/>
                <a:gd name="connsiteX4" fmla="*/ 280226 w 560546"/>
                <a:gd name="connsiteY4" fmla="*/ 0 h 560451"/>
                <a:gd name="connsiteX5" fmla="*/ 280226 w 560546"/>
                <a:gd name="connsiteY5" fmla="*/ 0 h 5604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60546" h="560451">
                  <a:moveTo>
                    <a:pt x="280226" y="0"/>
                  </a:moveTo>
                  <a:cubicBezTo>
                    <a:pt x="125444" y="0"/>
                    <a:pt x="0" y="125444"/>
                    <a:pt x="0" y="280226"/>
                  </a:cubicBezTo>
                  <a:cubicBezTo>
                    <a:pt x="0" y="435007"/>
                    <a:pt x="125444" y="560451"/>
                    <a:pt x="280226" y="560451"/>
                  </a:cubicBezTo>
                  <a:cubicBezTo>
                    <a:pt x="435007" y="560451"/>
                    <a:pt x="560546" y="435007"/>
                    <a:pt x="560546" y="280226"/>
                  </a:cubicBezTo>
                  <a:cubicBezTo>
                    <a:pt x="560546" y="125444"/>
                    <a:pt x="435102" y="0"/>
                    <a:pt x="280226" y="0"/>
                  </a:cubicBezTo>
                  <a:lnTo>
                    <a:pt x="280226" y="0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2225" name="Gráfico 2218">
              <a:extLst>
                <a:ext uri="{FF2B5EF4-FFF2-40B4-BE49-F238E27FC236}">
                  <a16:creationId xmlns:a16="http://schemas.microsoft.com/office/drawing/2014/main" id="{D94AEDC8-4D3B-C75D-FAD5-5B2DC9995719}"/>
                </a:ext>
              </a:extLst>
            </p:cNvPr>
            <p:cNvGrpSpPr/>
            <p:nvPr/>
          </p:nvGrpSpPr>
          <p:grpSpPr>
            <a:xfrm>
              <a:off x="6090284" y="3226307"/>
              <a:ext cx="14858" cy="408622"/>
              <a:chOff x="6090284" y="3226307"/>
              <a:chExt cx="14858" cy="408622"/>
            </a:xfrm>
            <a:solidFill>
              <a:srgbClr val="394553"/>
            </a:solidFill>
          </p:grpSpPr>
          <p:sp>
            <p:nvSpPr>
              <p:cNvPr id="2226" name="Forma livre: Forma 2225">
                <a:extLst>
                  <a:ext uri="{FF2B5EF4-FFF2-40B4-BE49-F238E27FC236}">
                    <a16:creationId xmlns:a16="http://schemas.microsoft.com/office/drawing/2014/main" id="{4A11AC9A-EB7A-9D58-1355-5F18F6A29851}"/>
                  </a:ext>
                </a:extLst>
              </p:cNvPr>
              <p:cNvSpPr/>
              <p:nvPr/>
            </p:nvSpPr>
            <p:spPr>
              <a:xfrm>
                <a:off x="6090284" y="3226307"/>
                <a:ext cx="14858" cy="14858"/>
              </a:xfrm>
              <a:custGeom>
                <a:avLst/>
                <a:gdLst>
                  <a:gd name="connsiteX0" fmla="*/ 14859 w 14858"/>
                  <a:gd name="connsiteY0" fmla="*/ 7429 h 14858"/>
                  <a:gd name="connsiteX1" fmla="*/ 7430 w 14858"/>
                  <a:gd name="connsiteY1" fmla="*/ 14859 h 14858"/>
                  <a:gd name="connsiteX2" fmla="*/ 0 w 14858"/>
                  <a:gd name="connsiteY2" fmla="*/ 7429 h 14858"/>
                  <a:gd name="connsiteX3" fmla="*/ 7430 w 14858"/>
                  <a:gd name="connsiteY3" fmla="*/ 0 h 14858"/>
                  <a:gd name="connsiteX4" fmla="*/ 14859 w 14858"/>
                  <a:gd name="connsiteY4" fmla="*/ 7429 h 148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4858" h="14858">
                    <a:moveTo>
                      <a:pt x="14859" y="7429"/>
                    </a:moveTo>
                    <a:cubicBezTo>
                      <a:pt x="14859" y="11525"/>
                      <a:pt x="11525" y="14859"/>
                      <a:pt x="7430" y="14859"/>
                    </a:cubicBezTo>
                    <a:cubicBezTo>
                      <a:pt x="3334" y="14859"/>
                      <a:pt x="0" y="11525"/>
                      <a:pt x="0" y="7429"/>
                    </a:cubicBezTo>
                    <a:cubicBezTo>
                      <a:pt x="0" y="3334"/>
                      <a:pt x="3334" y="0"/>
                      <a:pt x="7430" y="0"/>
                    </a:cubicBezTo>
                    <a:cubicBezTo>
                      <a:pt x="11525" y="0"/>
                      <a:pt x="14859" y="3334"/>
                      <a:pt x="14859" y="7429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227" name="Forma livre: Forma 2226">
                <a:extLst>
                  <a:ext uri="{FF2B5EF4-FFF2-40B4-BE49-F238E27FC236}">
                    <a16:creationId xmlns:a16="http://schemas.microsoft.com/office/drawing/2014/main" id="{FF9F4EFF-29B3-2291-B0ED-E757E8AAE929}"/>
                  </a:ext>
                </a:extLst>
              </p:cNvPr>
              <p:cNvSpPr/>
              <p:nvPr/>
            </p:nvSpPr>
            <p:spPr>
              <a:xfrm>
                <a:off x="6090284" y="3620071"/>
                <a:ext cx="14858" cy="14858"/>
              </a:xfrm>
              <a:custGeom>
                <a:avLst/>
                <a:gdLst>
                  <a:gd name="connsiteX0" fmla="*/ 14859 w 14858"/>
                  <a:gd name="connsiteY0" fmla="*/ 7429 h 14858"/>
                  <a:gd name="connsiteX1" fmla="*/ 7430 w 14858"/>
                  <a:gd name="connsiteY1" fmla="*/ 14859 h 14858"/>
                  <a:gd name="connsiteX2" fmla="*/ 0 w 14858"/>
                  <a:gd name="connsiteY2" fmla="*/ 7429 h 14858"/>
                  <a:gd name="connsiteX3" fmla="*/ 7430 w 14858"/>
                  <a:gd name="connsiteY3" fmla="*/ 0 h 14858"/>
                  <a:gd name="connsiteX4" fmla="*/ 14859 w 14858"/>
                  <a:gd name="connsiteY4" fmla="*/ 7429 h 148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4858" h="14858">
                    <a:moveTo>
                      <a:pt x="14859" y="7429"/>
                    </a:moveTo>
                    <a:cubicBezTo>
                      <a:pt x="14859" y="11525"/>
                      <a:pt x="11525" y="14859"/>
                      <a:pt x="7430" y="14859"/>
                    </a:cubicBezTo>
                    <a:cubicBezTo>
                      <a:pt x="3334" y="14859"/>
                      <a:pt x="0" y="11525"/>
                      <a:pt x="0" y="7429"/>
                    </a:cubicBezTo>
                    <a:cubicBezTo>
                      <a:pt x="0" y="3334"/>
                      <a:pt x="3334" y="0"/>
                      <a:pt x="7430" y="0"/>
                    </a:cubicBezTo>
                    <a:cubicBezTo>
                      <a:pt x="11525" y="0"/>
                      <a:pt x="14859" y="3334"/>
                      <a:pt x="14859" y="7429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2228" name="Gráfico 2218">
              <a:extLst>
                <a:ext uri="{FF2B5EF4-FFF2-40B4-BE49-F238E27FC236}">
                  <a16:creationId xmlns:a16="http://schemas.microsoft.com/office/drawing/2014/main" id="{F7B0F3C9-9EB2-7A8E-C0D2-50ED04EBCD44}"/>
                </a:ext>
              </a:extLst>
            </p:cNvPr>
            <p:cNvGrpSpPr/>
            <p:nvPr/>
          </p:nvGrpSpPr>
          <p:grpSpPr>
            <a:xfrm>
              <a:off x="5893402" y="3423189"/>
              <a:ext cx="408527" cy="14859"/>
              <a:chOff x="5893402" y="3423189"/>
              <a:chExt cx="408527" cy="14859"/>
            </a:xfrm>
            <a:solidFill>
              <a:srgbClr val="394553"/>
            </a:solidFill>
          </p:grpSpPr>
          <p:sp>
            <p:nvSpPr>
              <p:cNvPr id="2229" name="Forma livre: Forma 2228">
                <a:extLst>
                  <a:ext uri="{FF2B5EF4-FFF2-40B4-BE49-F238E27FC236}">
                    <a16:creationId xmlns:a16="http://schemas.microsoft.com/office/drawing/2014/main" id="{91016C55-27F7-385F-281C-A7A30D3C1D57}"/>
                  </a:ext>
                </a:extLst>
              </p:cNvPr>
              <p:cNvSpPr/>
              <p:nvPr/>
            </p:nvSpPr>
            <p:spPr>
              <a:xfrm>
                <a:off x="6287071" y="3423189"/>
                <a:ext cx="14858" cy="14859"/>
              </a:xfrm>
              <a:custGeom>
                <a:avLst/>
                <a:gdLst>
                  <a:gd name="connsiteX0" fmla="*/ 7429 w 14858"/>
                  <a:gd name="connsiteY0" fmla="*/ 14859 h 14859"/>
                  <a:gd name="connsiteX1" fmla="*/ 0 w 14858"/>
                  <a:gd name="connsiteY1" fmla="*/ 7430 h 14859"/>
                  <a:gd name="connsiteX2" fmla="*/ 7429 w 14858"/>
                  <a:gd name="connsiteY2" fmla="*/ 0 h 14859"/>
                  <a:gd name="connsiteX3" fmla="*/ 14859 w 14858"/>
                  <a:gd name="connsiteY3" fmla="*/ 7430 h 14859"/>
                  <a:gd name="connsiteX4" fmla="*/ 7429 w 14858"/>
                  <a:gd name="connsiteY4" fmla="*/ 14859 h 148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4858" h="14859">
                    <a:moveTo>
                      <a:pt x="7429" y="14859"/>
                    </a:moveTo>
                    <a:cubicBezTo>
                      <a:pt x="3334" y="14859"/>
                      <a:pt x="0" y="11525"/>
                      <a:pt x="0" y="7430"/>
                    </a:cubicBezTo>
                    <a:cubicBezTo>
                      <a:pt x="0" y="3334"/>
                      <a:pt x="3334" y="0"/>
                      <a:pt x="7429" y="0"/>
                    </a:cubicBezTo>
                    <a:cubicBezTo>
                      <a:pt x="11525" y="0"/>
                      <a:pt x="14859" y="3334"/>
                      <a:pt x="14859" y="7430"/>
                    </a:cubicBezTo>
                    <a:cubicBezTo>
                      <a:pt x="14859" y="11525"/>
                      <a:pt x="11525" y="14859"/>
                      <a:pt x="7429" y="14859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230" name="Forma livre: Forma 2229">
                <a:extLst>
                  <a:ext uri="{FF2B5EF4-FFF2-40B4-BE49-F238E27FC236}">
                    <a16:creationId xmlns:a16="http://schemas.microsoft.com/office/drawing/2014/main" id="{34029F61-CDE9-C971-35FC-9DA6687932F3}"/>
                  </a:ext>
                </a:extLst>
              </p:cNvPr>
              <p:cNvSpPr/>
              <p:nvPr/>
            </p:nvSpPr>
            <p:spPr>
              <a:xfrm>
                <a:off x="5893402" y="3423189"/>
                <a:ext cx="14859" cy="14859"/>
              </a:xfrm>
              <a:custGeom>
                <a:avLst/>
                <a:gdLst>
                  <a:gd name="connsiteX0" fmla="*/ 7430 w 14859"/>
                  <a:gd name="connsiteY0" fmla="*/ 14859 h 14859"/>
                  <a:gd name="connsiteX1" fmla="*/ 0 w 14859"/>
                  <a:gd name="connsiteY1" fmla="*/ 7430 h 14859"/>
                  <a:gd name="connsiteX2" fmla="*/ 7430 w 14859"/>
                  <a:gd name="connsiteY2" fmla="*/ 0 h 14859"/>
                  <a:gd name="connsiteX3" fmla="*/ 14859 w 14859"/>
                  <a:gd name="connsiteY3" fmla="*/ 7430 h 14859"/>
                  <a:gd name="connsiteX4" fmla="*/ 7430 w 14859"/>
                  <a:gd name="connsiteY4" fmla="*/ 14859 h 148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4859" h="14859">
                    <a:moveTo>
                      <a:pt x="7430" y="14859"/>
                    </a:moveTo>
                    <a:cubicBezTo>
                      <a:pt x="3334" y="14859"/>
                      <a:pt x="0" y="11525"/>
                      <a:pt x="0" y="7430"/>
                    </a:cubicBezTo>
                    <a:cubicBezTo>
                      <a:pt x="0" y="3334"/>
                      <a:pt x="3334" y="0"/>
                      <a:pt x="7430" y="0"/>
                    </a:cubicBezTo>
                    <a:cubicBezTo>
                      <a:pt x="11525" y="0"/>
                      <a:pt x="14859" y="3334"/>
                      <a:pt x="14859" y="7430"/>
                    </a:cubicBezTo>
                    <a:cubicBezTo>
                      <a:pt x="14859" y="11525"/>
                      <a:pt x="11525" y="14859"/>
                      <a:pt x="7430" y="14859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655384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áfico 2">
            <a:extLst>
              <a:ext uri="{FF2B5EF4-FFF2-40B4-BE49-F238E27FC236}">
                <a16:creationId xmlns:a16="http://schemas.microsoft.com/office/drawing/2014/main" id="{48177031-C702-5E6A-8A94-15F1CEF61851}"/>
              </a:ext>
            </a:extLst>
          </p:cNvPr>
          <p:cNvGrpSpPr/>
          <p:nvPr/>
        </p:nvGrpSpPr>
        <p:grpSpPr>
          <a:xfrm>
            <a:off x="837143" y="1001315"/>
            <a:ext cx="274462" cy="300656"/>
            <a:chOff x="837143" y="1001315"/>
            <a:chExt cx="274462" cy="300656"/>
          </a:xfrm>
          <a:noFill/>
        </p:grpSpPr>
        <p:sp>
          <p:nvSpPr>
            <p:cNvPr id="23" name="Forma livre: Forma 22">
              <a:extLst>
                <a:ext uri="{FF2B5EF4-FFF2-40B4-BE49-F238E27FC236}">
                  <a16:creationId xmlns:a16="http://schemas.microsoft.com/office/drawing/2014/main" id="{1CEC7B41-72DF-10EF-EAE9-F3E9A54790E3}"/>
                </a:ext>
              </a:extLst>
            </p:cNvPr>
            <p:cNvSpPr/>
            <p:nvPr/>
          </p:nvSpPr>
          <p:spPr>
            <a:xfrm>
              <a:off x="851144" y="1040653"/>
              <a:ext cx="246459" cy="172688"/>
            </a:xfrm>
            <a:custGeom>
              <a:avLst/>
              <a:gdLst>
                <a:gd name="connsiteX0" fmla="*/ 0 w 246459"/>
                <a:gd name="connsiteY0" fmla="*/ 19479 h 172688"/>
                <a:gd name="connsiteX1" fmla="*/ 0 w 246459"/>
                <a:gd name="connsiteY1" fmla="*/ 148352 h 172688"/>
                <a:gd name="connsiteX2" fmla="*/ 24336 w 246459"/>
                <a:gd name="connsiteY2" fmla="*/ 172688 h 172688"/>
                <a:gd name="connsiteX3" fmla="*/ 222123 w 246459"/>
                <a:gd name="connsiteY3" fmla="*/ 172688 h 172688"/>
                <a:gd name="connsiteX4" fmla="*/ 246459 w 246459"/>
                <a:gd name="connsiteY4" fmla="*/ 148352 h 172688"/>
                <a:gd name="connsiteX5" fmla="*/ 246459 w 246459"/>
                <a:gd name="connsiteY5" fmla="*/ 0 h 1726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46459" h="172688">
                  <a:moveTo>
                    <a:pt x="0" y="19479"/>
                  </a:moveTo>
                  <a:lnTo>
                    <a:pt x="0" y="148352"/>
                  </a:lnTo>
                  <a:cubicBezTo>
                    <a:pt x="0" y="161735"/>
                    <a:pt x="10954" y="172688"/>
                    <a:pt x="24336" y="172688"/>
                  </a:cubicBezTo>
                  <a:lnTo>
                    <a:pt x="222123" y="172688"/>
                  </a:lnTo>
                  <a:cubicBezTo>
                    <a:pt x="235506" y="172688"/>
                    <a:pt x="246459" y="161735"/>
                    <a:pt x="246459" y="148352"/>
                  </a:cubicBezTo>
                  <a:lnTo>
                    <a:pt x="246459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4" name="Forma livre: Forma 23">
              <a:extLst>
                <a:ext uri="{FF2B5EF4-FFF2-40B4-BE49-F238E27FC236}">
                  <a16:creationId xmlns:a16="http://schemas.microsoft.com/office/drawing/2014/main" id="{CB4564B7-7B20-4791-1CA2-65A532715E52}"/>
                </a:ext>
              </a:extLst>
            </p:cNvPr>
            <p:cNvSpPr/>
            <p:nvPr/>
          </p:nvSpPr>
          <p:spPr>
            <a:xfrm>
              <a:off x="837143" y="1016126"/>
              <a:ext cx="274462" cy="24193"/>
            </a:xfrm>
            <a:custGeom>
              <a:avLst/>
              <a:gdLst>
                <a:gd name="connsiteX0" fmla="*/ 45244 w 274462"/>
                <a:gd name="connsiteY0" fmla="*/ 24194 h 24193"/>
                <a:gd name="connsiteX1" fmla="*/ 0 w 274462"/>
                <a:gd name="connsiteY1" fmla="*/ 24194 h 24193"/>
                <a:gd name="connsiteX2" fmla="*/ 0 w 274462"/>
                <a:gd name="connsiteY2" fmla="*/ 0 h 24193"/>
                <a:gd name="connsiteX3" fmla="*/ 274463 w 274462"/>
                <a:gd name="connsiteY3" fmla="*/ 0 h 24193"/>
                <a:gd name="connsiteX4" fmla="*/ 274463 w 274462"/>
                <a:gd name="connsiteY4" fmla="*/ 24194 h 24193"/>
                <a:gd name="connsiteX5" fmla="*/ 85725 w 274462"/>
                <a:gd name="connsiteY5" fmla="*/ 24194 h 241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74462" h="24193">
                  <a:moveTo>
                    <a:pt x="45244" y="24194"/>
                  </a:moveTo>
                  <a:lnTo>
                    <a:pt x="0" y="24194"/>
                  </a:lnTo>
                  <a:lnTo>
                    <a:pt x="0" y="0"/>
                  </a:lnTo>
                  <a:lnTo>
                    <a:pt x="274463" y="0"/>
                  </a:lnTo>
                  <a:lnTo>
                    <a:pt x="274463" y="24194"/>
                  </a:lnTo>
                  <a:lnTo>
                    <a:pt x="85725" y="24194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5" name="Forma livre: Forma 24">
              <a:extLst>
                <a:ext uri="{FF2B5EF4-FFF2-40B4-BE49-F238E27FC236}">
                  <a16:creationId xmlns:a16="http://schemas.microsoft.com/office/drawing/2014/main" id="{44866920-8AA1-7FF4-FF3B-B11AEA9BD37D}"/>
                </a:ext>
              </a:extLst>
            </p:cNvPr>
            <p:cNvSpPr/>
            <p:nvPr/>
          </p:nvSpPr>
          <p:spPr>
            <a:xfrm>
              <a:off x="974350" y="1237916"/>
              <a:ext cx="4762" cy="64055"/>
            </a:xfrm>
            <a:custGeom>
              <a:avLst/>
              <a:gdLst>
                <a:gd name="connsiteX0" fmla="*/ 0 w 4762"/>
                <a:gd name="connsiteY0" fmla="*/ 64056 h 64055"/>
                <a:gd name="connsiteX1" fmla="*/ 0 w 4762"/>
                <a:gd name="connsiteY1" fmla="*/ 0 h 640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762" h="64055">
                  <a:moveTo>
                    <a:pt x="0" y="64056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26" name="Gráfico 2">
              <a:extLst>
                <a:ext uri="{FF2B5EF4-FFF2-40B4-BE49-F238E27FC236}">
                  <a16:creationId xmlns:a16="http://schemas.microsoft.com/office/drawing/2014/main" id="{66E9CC3A-8672-15C6-01CC-2F25E507A09C}"/>
                </a:ext>
              </a:extLst>
            </p:cNvPr>
            <p:cNvGrpSpPr/>
            <p:nvPr/>
          </p:nvGrpSpPr>
          <p:grpSpPr>
            <a:xfrm>
              <a:off x="887720" y="1073609"/>
              <a:ext cx="174259" cy="107584"/>
              <a:chOff x="887720" y="1073609"/>
              <a:chExt cx="174259" cy="107584"/>
            </a:xfrm>
            <a:noFill/>
          </p:grpSpPr>
          <p:grpSp>
            <p:nvGrpSpPr>
              <p:cNvPr id="27" name="Gráfico 2">
                <a:extLst>
                  <a:ext uri="{FF2B5EF4-FFF2-40B4-BE49-F238E27FC236}">
                    <a16:creationId xmlns:a16="http://schemas.microsoft.com/office/drawing/2014/main" id="{492FD1E5-891B-C0D5-7CC9-8D54908504C7}"/>
                  </a:ext>
                </a:extLst>
              </p:cNvPr>
              <p:cNvGrpSpPr/>
              <p:nvPr/>
            </p:nvGrpSpPr>
            <p:grpSpPr>
              <a:xfrm>
                <a:off x="1030643" y="1083039"/>
                <a:ext cx="31337" cy="31337"/>
                <a:chOff x="1030643" y="1083039"/>
                <a:chExt cx="31337" cy="31337"/>
              </a:xfrm>
            </p:grpSpPr>
            <p:sp>
              <p:nvSpPr>
                <p:cNvPr id="28" name="Forma livre: Forma 27">
                  <a:extLst>
                    <a:ext uri="{FF2B5EF4-FFF2-40B4-BE49-F238E27FC236}">
                      <a16:creationId xmlns:a16="http://schemas.microsoft.com/office/drawing/2014/main" id="{E0940FAF-0315-B38D-C242-A2A5099EB11A}"/>
                    </a:ext>
                  </a:extLst>
                </p:cNvPr>
                <p:cNvSpPr/>
                <p:nvPr/>
              </p:nvSpPr>
              <p:spPr>
                <a:xfrm>
                  <a:off x="1030643" y="1083039"/>
                  <a:ext cx="31337" cy="31337"/>
                </a:xfrm>
                <a:custGeom>
                  <a:avLst/>
                  <a:gdLst>
                    <a:gd name="connsiteX0" fmla="*/ 0 w 31337"/>
                    <a:gd name="connsiteY0" fmla="*/ 0 h 31337"/>
                    <a:gd name="connsiteX1" fmla="*/ 31337 w 31337"/>
                    <a:gd name="connsiteY1" fmla="*/ 31337 h 3133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31337" h="31337">
                      <a:moveTo>
                        <a:pt x="0" y="0"/>
                      </a:moveTo>
                      <a:lnTo>
                        <a:pt x="31337" y="31337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9" name="Forma livre: Forma 28">
                  <a:extLst>
                    <a:ext uri="{FF2B5EF4-FFF2-40B4-BE49-F238E27FC236}">
                      <a16:creationId xmlns:a16="http://schemas.microsoft.com/office/drawing/2014/main" id="{7A613BE4-3166-3916-1405-4BD9EE4CA735}"/>
                    </a:ext>
                  </a:extLst>
                </p:cNvPr>
                <p:cNvSpPr/>
                <p:nvPr/>
              </p:nvSpPr>
              <p:spPr>
                <a:xfrm>
                  <a:off x="1030643" y="1083039"/>
                  <a:ext cx="31337" cy="31337"/>
                </a:xfrm>
                <a:custGeom>
                  <a:avLst/>
                  <a:gdLst>
                    <a:gd name="connsiteX0" fmla="*/ 0 w 31337"/>
                    <a:gd name="connsiteY0" fmla="*/ 31337 h 31337"/>
                    <a:gd name="connsiteX1" fmla="*/ 31337 w 31337"/>
                    <a:gd name="connsiteY1" fmla="*/ 0 h 3133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31337" h="31337">
                      <a:moveTo>
                        <a:pt x="0" y="31337"/>
                      </a:moveTo>
                      <a:lnTo>
                        <a:pt x="31337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30" name="Gráfico 2">
                <a:extLst>
                  <a:ext uri="{FF2B5EF4-FFF2-40B4-BE49-F238E27FC236}">
                    <a16:creationId xmlns:a16="http://schemas.microsoft.com/office/drawing/2014/main" id="{8C991776-65A7-EB4C-3F70-5B0AC324ABA3}"/>
                  </a:ext>
                </a:extLst>
              </p:cNvPr>
              <p:cNvGrpSpPr/>
              <p:nvPr/>
            </p:nvGrpSpPr>
            <p:grpSpPr>
              <a:xfrm>
                <a:off x="943013" y="1149857"/>
                <a:ext cx="31337" cy="31337"/>
                <a:chOff x="943013" y="1149857"/>
                <a:chExt cx="31337" cy="31337"/>
              </a:xfrm>
            </p:grpSpPr>
            <p:sp>
              <p:nvSpPr>
                <p:cNvPr id="31" name="Forma livre: Forma 30">
                  <a:extLst>
                    <a:ext uri="{FF2B5EF4-FFF2-40B4-BE49-F238E27FC236}">
                      <a16:creationId xmlns:a16="http://schemas.microsoft.com/office/drawing/2014/main" id="{A9B6252B-3F0E-571D-BE73-4CFF4321EE0E}"/>
                    </a:ext>
                  </a:extLst>
                </p:cNvPr>
                <p:cNvSpPr/>
                <p:nvPr/>
              </p:nvSpPr>
              <p:spPr>
                <a:xfrm>
                  <a:off x="943013" y="1149857"/>
                  <a:ext cx="31337" cy="31337"/>
                </a:xfrm>
                <a:custGeom>
                  <a:avLst/>
                  <a:gdLst>
                    <a:gd name="connsiteX0" fmla="*/ 0 w 31337"/>
                    <a:gd name="connsiteY0" fmla="*/ 0 h 31337"/>
                    <a:gd name="connsiteX1" fmla="*/ 31337 w 31337"/>
                    <a:gd name="connsiteY1" fmla="*/ 31337 h 3133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31337" h="31337">
                      <a:moveTo>
                        <a:pt x="0" y="0"/>
                      </a:moveTo>
                      <a:lnTo>
                        <a:pt x="31337" y="31337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32" name="Forma livre: Forma 31">
                  <a:extLst>
                    <a:ext uri="{FF2B5EF4-FFF2-40B4-BE49-F238E27FC236}">
                      <a16:creationId xmlns:a16="http://schemas.microsoft.com/office/drawing/2014/main" id="{1FC44414-2BC2-0BC0-B79C-8D0B99D7C3CF}"/>
                    </a:ext>
                  </a:extLst>
                </p:cNvPr>
                <p:cNvSpPr/>
                <p:nvPr/>
              </p:nvSpPr>
              <p:spPr>
                <a:xfrm>
                  <a:off x="943013" y="1149857"/>
                  <a:ext cx="31337" cy="31337"/>
                </a:xfrm>
                <a:custGeom>
                  <a:avLst/>
                  <a:gdLst>
                    <a:gd name="connsiteX0" fmla="*/ 0 w 31337"/>
                    <a:gd name="connsiteY0" fmla="*/ 31337 h 31337"/>
                    <a:gd name="connsiteX1" fmla="*/ 31337 w 31337"/>
                    <a:gd name="connsiteY1" fmla="*/ 0 h 3133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31337" h="31337">
                      <a:moveTo>
                        <a:pt x="0" y="31337"/>
                      </a:moveTo>
                      <a:lnTo>
                        <a:pt x="31337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33" name="Forma livre: Forma 32">
                <a:extLst>
                  <a:ext uri="{FF2B5EF4-FFF2-40B4-BE49-F238E27FC236}">
                    <a16:creationId xmlns:a16="http://schemas.microsoft.com/office/drawing/2014/main" id="{A8CC89A0-E0B0-2061-5CA9-96752DB92888}"/>
                  </a:ext>
                </a:extLst>
              </p:cNvPr>
              <p:cNvSpPr/>
              <p:nvPr/>
            </p:nvSpPr>
            <p:spPr>
              <a:xfrm>
                <a:off x="887720" y="1073609"/>
                <a:ext cx="40576" cy="40576"/>
              </a:xfrm>
              <a:custGeom>
                <a:avLst/>
                <a:gdLst>
                  <a:gd name="connsiteX0" fmla="*/ 0 w 40576"/>
                  <a:gd name="connsiteY0" fmla="*/ 20288 h 40576"/>
                  <a:gd name="connsiteX1" fmla="*/ 20288 w 40576"/>
                  <a:gd name="connsiteY1" fmla="*/ 40577 h 40576"/>
                  <a:gd name="connsiteX2" fmla="*/ 40577 w 40576"/>
                  <a:gd name="connsiteY2" fmla="*/ 20288 h 40576"/>
                  <a:gd name="connsiteX3" fmla="*/ 20288 w 40576"/>
                  <a:gd name="connsiteY3" fmla="*/ 0 h 40576"/>
                  <a:gd name="connsiteX4" fmla="*/ 0 w 40576"/>
                  <a:gd name="connsiteY4" fmla="*/ 20288 h 405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0576" h="40576">
                    <a:moveTo>
                      <a:pt x="0" y="20288"/>
                    </a:moveTo>
                    <a:cubicBezTo>
                      <a:pt x="0" y="31480"/>
                      <a:pt x="9096" y="40577"/>
                      <a:pt x="20288" y="40577"/>
                    </a:cubicBezTo>
                    <a:cubicBezTo>
                      <a:pt x="31480" y="40577"/>
                      <a:pt x="40577" y="31480"/>
                      <a:pt x="40577" y="20288"/>
                    </a:cubicBezTo>
                    <a:cubicBezTo>
                      <a:pt x="40577" y="9096"/>
                      <a:pt x="31480" y="0"/>
                      <a:pt x="20288" y="0"/>
                    </a:cubicBezTo>
                    <a:cubicBezTo>
                      <a:pt x="9096" y="0"/>
                      <a:pt x="0" y="9096"/>
                      <a:pt x="0" y="20288"/>
                    </a:cubicBezTo>
                    <a:close/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34" name="Gráfico 2">
                <a:extLst>
                  <a:ext uri="{FF2B5EF4-FFF2-40B4-BE49-F238E27FC236}">
                    <a16:creationId xmlns:a16="http://schemas.microsoft.com/office/drawing/2014/main" id="{8464D4D4-0819-471F-2834-C8BABFE01362}"/>
                  </a:ext>
                </a:extLst>
              </p:cNvPr>
              <p:cNvGrpSpPr/>
              <p:nvPr/>
            </p:nvGrpSpPr>
            <p:grpSpPr>
              <a:xfrm>
                <a:off x="953633" y="1085516"/>
                <a:ext cx="67294" cy="87201"/>
                <a:chOff x="953633" y="1085516"/>
                <a:chExt cx="67294" cy="87201"/>
              </a:xfrm>
              <a:noFill/>
            </p:grpSpPr>
            <p:sp>
              <p:nvSpPr>
                <p:cNvPr id="35" name="Forma livre: Forma 34">
                  <a:extLst>
                    <a:ext uri="{FF2B5EF4-FFF2-40B4-BE49-F238E27FC236}">
                      <a16:creationId xmlns:a16="http://schemas.microsoft.com/office/drawing/2014/main" id="{93B8225A-B8EA-E669-2727-C131E85BF1A6}"/>
                    </a:ext>
                  </a:extLst>
                </p:cNvPr>
                <p:cNvSpPr/>
                <p:nvPr/>
              </p:nvSpPr>
              <p:spPr>
                <a:xfrm>
                  <a:off x="955491" y="1095946"/>
                  <a:ext cx="65436" cy="76771"/>
                </a:xfrm>
                <a:custGeom>
                  <a:avLst/>
                  <a:gdLst>
                    <a:gd name="connsiteX0" fmla="*/ 0 w 65436"/>
                    <a:gd name="connsiteY0" fmla="*/ 0 h 76771"/>
                    <a:gd name="connsiteX1" fmla="*/ 65437 w 65436"/>
                    <a:gd name="connsiteY1" fmla="*/ 76772 h 767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65436" h="76771">
                      <a:moveTo>
                        <a:pt x="0" y="0"/>
                      </a:moveTo>
                      <a:cubicBezTo>
                        <a:pt x="0" y="0"/>
                        <a:pt x="60960" y="16050"/>
                        <a:pt x="65437" y="76772"/>
                      </a:cubicBez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36" name="Forma livre: Forma 35">
                  <a:extLst>
                    <a:ext uri="{FF2B5EF4-FFF2-40B4-BE49-F238E27FC236}">
                      <a16:creationId xmlns:a16="http://schemas.microsoft.com/office/drawing/2014/main" id="{DBEB8DE5-CF18-77CA-675E-5AB80E179AF5}"/>
                    </a:ext>
                  </a:extLst>
                </p:cNvPr>
                <p:cNvSpPr/>
                <p:nvPr/>
              </p:nvSpPr>
              <p:spPr>
                <a:xfrm>
                  <a:off x="953633" y="1095660"/>
                  <a:ext cx="11287" cy="24717"/>
                </a:xfrm>
                <a:custGeom>
                  <a:avLst/>
                  <a:gdLst>
                    <a:gd name="connsiteX0" fmla="*/ 0 w 11287"/>
                    <a:gd name="connsiteY0" fmla="*/ 0 h 24717"/>
                    <a:gd name="connsiteX1" fmla="*/ 11287 w 11287"/>
                    <a:gd name="connsiteY1" fmla="*/ 24717 h 2471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1287" h="24717">
                      <a:moveTo>
                        <a:pt x="0" y="0"/>
                      </a:moveTo>
                      <a:lnTo>
                        <a:pt x="11287" y="24717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37" name="Forma livre: Forma 36">
                  <a:extLst>
                    <a:ext uri="{FF2B5EF4-FFF2-40B4-BE49-F238E27FC236}">
                      <a16:creationId xmlns:a16="http://schemas.microsoft.com/office/drawing/2014/main" id="{F801914C-9AD4-1695-7A21-AC72B7B42E3F}"/>
                    </a:ext>
                  </a:extLst>
                </p:cNvPr>
                <p:cNvSpPr/>
                <p:nvPr/>
              </p:nvSpPr>
              <p:spPr>
                <a:xfrm>
                  <a:off x="953681" y="1085516"/>
                  <a:ext cx="24336" cy="10048"/>
                </a:xfrm>
                <a:custGeom>
                  <a:avLst/>
                  <a:gdLst>
                    <a:gd name="connsiteX0" fmla="*/ 0 w 24336"/>
                    <a:gd name="connsiteY0" fmla="*/ 10049 h 10048"/>
                    <a:gd name="connsiteX1" fmla="*/ 24336 w 24336"/>
                    <a:gd name="connsiteY1" fmla="*/ 0 h 100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4336" h="10048">
                      <a:moveTo>
                        <a:pt x="0" y="10049"/>
                      </a:moveTo>
                      <a:lnTo>
                        <a:pt x="24336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sp>
          <p:nvSpPr>
            <p:cNvPr id="38" name="Forma livre: Forma 37">
              <a:extLst>
                <a:ext uri="{FF2B5EF4-FFF2-40B4-BE49-F238E27FC236}">
                  <a16:creationId xmlns:a16="http://schemas.microsoft.com/office/drawing/2014/main" id="{073E7E5D-7E42-9755-3FD8-AD2E96A5DCC9}"/>
                </a:ext>
              </a:extLst>
            </p:cNvPr>
            <p:cNvSpPr/>
            <p:nvPr/>
          </p:nvSpPr>
          <p:spPr>
            <a:xfrm>
              <a:off x="974350" y="1001315"/>
              <a:ext cx="4762" cy="13477"/>
            </a:xfrm>
            <a:custGeom>
              <a:avLst/>
              <a:gdLst>
                <a:gd name="connsiteX0" fmla="*/ 0 w 4762"/>
                <a:gd name="connsiteY0" fmla="*/ 13478 h 13477"/>
                <a:gd name="connsiteX1" fmla="*/ 0 w 4762"/>
                <a:gd name="connsiteY1" fmla="*/ 0 h 134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762" h="13477">
                  <a:moveTo>
                    <a:pt x="0" y="13478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39" name="Gráfico 2">
              <a:extLst>
                <a:ext uri="{FF2B5EF4-FFF2-40B4-BE49-F238E27FC236}">
                  <a16:creationId xmlns:a16="http://schemas.microsoft.com/office/drawing/2014/main" id="{2A6F9F3A-99C6-32EF-F2EB-7AEA2434A8ED}"/>
                </a:ext>
              </a:extLst>
            </p:cNvPr>
            <p:cNvGrpSpPr/>
            <p:nvPr/>
          </p:nvGrpSpPr>
          <p:grpSpPr>
            <a:xfrm>
              <a:off x="924201" y="1257585"/>
              <a:ext cx="100345" cy="44386"/>
              <a:chOff x="924201" y="1257585"/>
              <a:chExt cx="100345" cy="44386"/>
            </a:xfrm>
          </p:grpSpPr>
          <p:sp>
            <p:nvSpPr>
              <p:cNvPr id="40" name="Forma livre: Forma 39">
                <a:extLst>
                  <a:ext uri="{FF2B5EF4-FFF2-40B4-BE49-F238E27FC236}">
                    <a16:creationId xmlns:a16="http://schemas.microsoft.com/office/drawing/2014/main" id="{3A86F55C-2771-FD0B-89EB-CC2D289BDFB6}"/>
                  </a:ext>
                </a:extLst>
              </p:cNvPr>
              <p:cNvSpPr/>
              <p:nvPr/>
            </p:nvSpPr>
            <p:spPr>
              <a:xfrm>
                <a:off x="924201" y="1257585"/>
                <a:ext cx="49815" cy="44386"/>
              </a:xfrm>
              <a:custGeom>
                <a:avLst/>
                <a:gdLst>
                  <a:gd name="connsiteX0" fmla="*/ 49816 w 49815"/>
                  <a:gd name="connsiteY0" fmla="*/ 0 h 44386"/>
                  <a:gd name="connsiteX1" fmla="*/ 0 w 49815"/>
                  <a:gd name="connsiteY1" fmla="*/ 44386 h 443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9815" h="44386">
                    <a:moveTo>
                      <a:pt x="49816" y="0"/>
                    </a:moveTo>
                    <a:lnTo>
                      <a:pt x="0" y="44386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1" name="Forma livre: Forma 40">
                <a:extLst>
                  <a:ext uri="{FF2B5EF4-FFF2-40B4-BE49-F238E27FC236}">
                    <a16:creationId xmlns:a16="http://schemas.microsoft.com/office/drawing/2014/main" id="{127C6DA3-98A4-CCAF-69CF-63CF6811A059}"/>
                  </a:ext>
                </a:extLst>
              </p:cNvPr>
              <p:cNvSpPr/>
              <p:nvPr/>
            </p:nvSpPr>
            <p:spPr>
              <a:xfrm>
                <a:off x="974731" y="1257585"/>
                <a:ext cx="49815" cy="44386"/>
              </a:xfrm>
              <a:custGeom>
                <a:avLst/>
                <a:gdLst>
                  <a:gd name="connsiteX0" fmla="*/ 0 w 49815"/>
                  <a:gd name="connsiteY0" fmla="*/ 0 h 44386"/>
                  <a:gd name="connsiteX1" fmla="*/ 49816 w 49815"/>
                  <a:gd name="connsiteY1" fmla="*/ 44386 h 443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9815" h="44386">
                    <a:moveTo>
                      <a:pt x="0" y="0"/>
                    </a:moveTo>
                    <a:lnTo>
                      <a:pt x="49816" y="44386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42" name="Gráfico 2">
            <a:extLst>
              <a:ext uri="{FF2B5EF4-FFF2-40B4-BE49-F238E27FC236}">
                <a16:creationId xmlns:a16="http://schemas.microsoft.com/office/drawing/2014/main" id="{6B262EC3-39A1-6D43-B2CA-9D457718EEC1}"/>
              </a:ext>
            </a:extLst>
          </p:cNvPr>
          <p:cNvGrpSpPr/>
          <p:nvPr/>
        </p:nvGrpSpPr>
        <p:grpSpPr>
          <a:xfrm>
            <a:off x="874624" y="2570463"/>
            <a:ext cx="199501" cy="346376"/>
            <a:chOff x="874624" y="2570463"/>
            <a:chExt cx="199501" cy="346376"/>
          </a:xfrm>
          <a:noFill/>
        </p:grpSpPr>
        <p:sp>
          <p:nvSpPr>
            <p:cNvPr id="43" name="Forma livre: Forma 42">
              <a:extLst>
                <a:ext uri="{FF2B5EF4-FFF2-40B4-BE49-F238E27FC236}">
                  <a16:creationId xmlns:a16="http://schemas.microsoft.com/office/drawing/2014/main" id="{A37D5C8F-7857-08E8-CABB-9D7EC0A8EC14}"/>
                </a:ext>
              </a:extLst>
            </p:cNvPr>
            <p:cNvSpPr/>
            <p:nvPr/>
          </p:nvSpPr>
          <p:spPr>
            <a:xfrm>
              <a:off x="928527" y="2719815"/>
              <a:ext cx="91742" cy="197024"/>
            </a:xfrm>
            <a:custGeom>
              <a:avLst/>
              <a:gdLst>
                <a:gd name="connsiteX0" fmla="*/ 71494 w 91742"/>
                <a:gd name="connsiteY0" fmla="*/ 197025 h 197024"/>
                <a:gd name="connsiteX1" fmla="*/ 73732 w 91742"/>
                <a:gd name="connsiteY1" fmla="*/ 105442 h 197024"/>
                <a:gd name="connsiteX2" fmla="*/ 91687 w 91742"/>
                <a:gd name="connsiteY2" fmla="*/ 86106 h 197024"/>
                <a:gd name="connsiteX3" fmla="*/ 84686 w 91742"/>
                <a:gd name="connsiteY3" fmla="*/ 16431 h 197024"/>
                <a:gd name="connsiteX4" fmla="*/ 66493 w 91742"/>
                <a:gd name="connsiteY4" fmla="*/ 0 h 197024"/>
                <a:gd name="connsiteX5" fmla="*/ 25202 w 91742"/>
                <a:gd name="connsiteY5" fmla="*/ 0 h 197024"/>
                <a:gd name="connsiteX6" fmla="*/ 7057 w 91742"/>
                <a:gd name="connsiteY6" fmla="*/ 16431 h 197024"/>
                <a:gd name="connsiteX7" fmla="*/ 56 w 91742"/>
                <a:gd name="connsiteY7" fmla="*/ 86106 h 197024"/>
                <a:gd name="connsiteX8" fmla="*/ 18011 w 91742"/>
                <a:gd name="connsiteY8" fmla="*/ 105442 h 197024"/>
                <a:gd name="connsiteX9" fmla="*/ 20249 w 91742"/>
                <a:gd name="connsiteY9" fmla="*/ 197025 h 197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91742" h="197024">
                  <a:moveTo>
                    <a:pt x="71494" y="197025"/>
                  </a:moveTo>
                  <a:lnTo>
                    <a:pt x="73732" y="105442"/>
                  </a:lnTo>
                  <a:cubicBezTo>
                    <a:pt x="82352" y="102346"/>
                    <a:pt x="92591" y="95155"/>
                    <a:pt x="91687" y="86106"/>
                  </a:cubicBezTo>
                  <a:lnTo>
                    <a:pt x="84686" y="16431"/>
                  </a:lnTo>
                  <a:cubicBezTo>
                    <a:pt x="83781" y="7382"/>
                    <a:pt x="75589" y="0"/>
                    <a:pt x="66493" y="0"/>
                  </a:cubicBezTo>
                  <a:lnTo>
                    <a:pt x="25202" y="0"/>
                  </a:lnTo>
                  <a:cubicBezTo>
                    <a:pt x="16106" y="0"/>
                    <a:pt x="7962" y="7382"/>
                    <a:pt x="7057" y="16431"/>
                  </a:cubicBezTo>
                  <a:lnTo>
                    <a:pt x="56" y="86106"/>
                  </a:lnTo>
                  <a:cubicBezTo>
                    <a:pt x="-849" y="95155"/>
                    <a:pt x="9390" y="102346"/>
                    <a:pt x="18011" y="105442"/>
                  </a:cubicBezTo>
                  <a:lnTo>
                    <a:pt x="20249" y="197025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4" name="Forma livre: Forma 43">
              <a:extLst>
                <a:ext uri="{FF2B5EF4-FFF2-40B4-BE49-F238E27FC236}">
                  <a16:creationId xmlns:a16="http://schemas.microsoft.com/office/drawing/2014/main" id="{3F91C6FD-4F22-02C4-1355-D740C73D0BE4}"/>
                </a:ext>
              </a:extLst>
            </p:cNvPr>
            <p:cNvSpPr/>
            <p:nvPr/>
          </p:nvSpPr>
          <p:spPr>
            <a:xfrm>
              <a:off x="950395" y="2646473"/>
              <a:ext cx="48006" cy="48005"/>
            </a:xfrm>
            <a:custGeom>
              <a:avLst/>
              <a:gdLst>
                <a:gd name="connsiteX0" fmla="*/ 48006 w 48006"/>
                <a:gd name="connsiteY0" fmla="*/ 24003 h 48005"/>
                <a:gd name="connsiteX1" fmla="*/ 24003 w 48006"/>
                <a:gd name="connsiteY1" fmla="*/ 48006 h 48005"/>
                <a:gd name="connsiteX2" fmla="*/ 0 w 48006"/>
                <a:gd name="connsiteY2" fmla="*/ 24003 h 48005"/>
                <a:gd name="connsiteX3" fmla="*/ 24003 w 48006"/>
                <a:gd name="connsiteY3" fmla="*/ 0 h 48005"/>
                <a:gd name="connsiteX4" fmla="*/ 48006 w 48006"/>
                <a:gd name="connsiteY4" fmla="*/ 24003 h 480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8006" h="48005">
                  <a:moveTo>
                    <a:pt x="48006" y="24003"/>
                  </a:moveTo>
                  <a:cubicBezTo>
                    <a:pt x="48006" y="37290"/>
                    <a:pt x="37243" y="48006"/>
                    <a:pt x="24003" y="48006"/>
                  </a:cubicBezTo>
                  <a:cubicBezTo>
                    <a:pt x="10763" y="48006"/>
                    <a:pt x="0" y="37243"/>
                    <a:pt x="0" y="24003"/>
                  </a:cubicBezTo>
                  <a:cubicBezTo>
                    <a:pt x="0" y="10763"/>
                    <a:pt x="10763" y="0"/>
                    <a:pt x="24003" y="0"/>
                  </a:cubicBezTo>
                  <a:cubicBezTo>
                    <a:pt x="37243" y="0"/>
                    <a:pt x="48006" y="10763"/>
                    <a:pt x="48006" y="24003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45" name="Gráfico 2">
              <a:extLst>
                <a:ext uri="{FF2B5EF4-FFF2-40B4-BE49-F238E27FC236}">
                  <a16:creationId xmlns:a16="http://schemas.microsoft.com/office/drawing/2014/main" id="{D92F23D2-2712-6276-4337-6FE90743F3DE}"/>
                </a:ext>
              </a:extLst>
            </p:cNvPr>
            <p:cNvGrpSpPr/>
            <p:nvPr/>
          </p:nvGrpSpPr>
          <p:grpSpPr>
            <a:xfrm>
              <a:off x="874624" y="2670476"/>
              <a:ext cx="199501" cy="4762"/>
              <a:chOff x="874624" y="2670476"/>
              <a:chExt cx="199501" cy="4762"/>
            </a:xfrm>
          </p:grpSpPr>
          <p:sp>
            <p:nvSpPr>
              <p:cNvPr id="46" name="Forma livre: Forma 45">
                <a:extLst>
                  <a:ext uri="{FF2B5EF4-FFF2-40B4-BE49-F238E27FC236}">
                    <a16:creationId xmlns:a16="http://schemas.microsoft.com/office/drawing/2014/main" id="{817B7786-D8EB-F700-AE71-4EF8E5A8CBFA}"/>
                  </a:ext>
                </a:extLst>
              </p:cNvPr>
              <p:cNvSpPr/>
              <p:nvPr/>
            </p:nvSpPr>
            <p:spPr>
              <a:xfrm>
                <a:off x="1025404" y="2670476"/>
                <a:ext cx="48720" cy="4762"/>
              </a:xfrm>
              <a:custGeom>
                <a:avLst/>
                <a:gdLst>
                  <a:gd name="connsiteX0" fmla="*/ 48720 w 48720"/>
                  <a:gd name="connsiteY0" fmla="*/ 0 h 4762"/>
                  <a:gd name="connsiteX1" fmla="*/ 0 w 48720"/>
                  <a:gd name="connsiteY1" fmla="*/ 0 h 47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8720" h="4762">
                    <a:moveTo>
                      <a:pt x="48720" y="0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7" name="Forma livre: Forma 46">
                <a:extLst>
                  <a:ext uri="{FF2B5EF4-FFF2-40B4-BE49-F238E27FC236}">
                    <a16:creationId xmlns:a16="http://schemas.microsoft.com/office/drawing/2014/main" id="{B8EF57EE-1DFF-4648-948F-85C43FD34134}"/>
                  </a:ext>
                </a:extLst>
              </p:cNvPr>
              <p:cNvSpPr/>
              <p:nvPr/>
            </p:nvSpPr>
            <p:spPr>
              <a:xfrm>
                <a:off x="874624" y="2670476"/>
                <a:ext cx="48720" cy="4762"/>
              </a:xfrm>
              <a:custGeom>
                <a:avLst/>
                <a:gdLst>
                  <a:gd name="connsiteX0" fmla="*/ 48720 w 48720"/>
                  <a:gd name="connsiteY0" fmla="*/ 0 h 4762"/>
                  <a:gd name="connsiteX1" fmla="*/ 0 w 48720"/>
                  <a:gd name="connsiteY1" fmla="*/ 0 h 47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8720" h="4762">
                    <a:moveTo>
                      <a:pt x="48720" y="0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48" name="Forma livre: Forma 47">
              <a:extLst>
                <a:ext uri="{FF2B5EF4-FFF2-40B4-BE49-F238E27FC236}">
                  <a16:creationId xmlns:a16="http://schemas.microsoft.com/office/drawing/2014/main" id="{E60DF7E7-4E9F-AAB8-2212-62B359FC522E}"/>
                </a:ext>
              </a:extLst>
            </p:cNvPr>
            <p:cNvSpPr/>
            <p:nvPr/>
          </p:nvSpPr>
          <p:spPr>
            <a:xfrm>
              <a:off x="923820" y="2619946"/>
              <a:ext cx="101060" cy="84582"/>
            </a:xfrm>
            <a:custGeom>
              <a:avLst/>
              <a:gdLst>
                <a:gd name="connsiteX0" fmla="*/ 13097 w 101060"/>
                <a:gd name="connsiteY0" fmla="*/ 84439 h 84582"/>
                <a:gd name="connsiteX1" fmla="*/ 0 w 101060"/>
                <a:gd name="connsiteY1" fmla="*/ 50530 h 84582"/>
                <a:gd name="connsiteX2" fmla="*/ 50530 w 101060"/>
                <a:gd name="connsiteY2" fmla="*/ 0 h 84582"/>
                <a:gd name="connsiteX3" fmla="*/ 101060 w 101060"/>
                <a:gd name="connsiteY3" fmla="*/ 50530 h 84582"/>
                <a:gd name="connsiteX4" fmla="*/ 87868 w 101060"/>
                <a:gd name="connsiteY4" fmla="*/ 84582 h 845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1060" h="84582">
                  <a:moveTo>
                    <a:pt x="13097" y="84439"/>
                  </a:moveTo>
                  <a:cubicBezTo>
                    <a:pt x="4953" y="75486"/>
                    <a:pt x="0" y="63579"/>
                    <a:pt x="0" y="50530"/>
                  </a:cubicBezTo>
                  <a:cubicBezTo>
                    <a:pt x="0" y="22622"/>
                    <a:pt x="22622" y="0"/>
                    <a:pt x="50530" y="0"/>
                  </a:cubicBezTo>
                  <a:cubicBezTo>
                    <a:pt x="78438" y="0"/>
                    <a:pt x="101060" y="22622"/>
                    <a:pt x="101060" y="50530"/>
                  </a:cubicBezTo>
                  <a:cubicBezTo>
                    <a:pt x="101060" y="63627"/>
                    <a:pt x="96060" y="75581"/>
                    <a:pt x="87868" y="84582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49" name="Gráfico 2">
              <a:extLst>
                <a:ext uri="{FF2B5EF4-FFF2-40B4-BE49-F238E27FC236}">
                  <a16:creationId xmlns:a16="http://schemas.microsoft.com/office/drawing/2014/main" id="{C1003DED-8218-C7FC-B035-B29637A531BF}"/>
                </a:ext>
              </a:extLst>
            </p:cNvPr>
            <p:cNvGrpSpPr/>
            <p:nvPr/>
          </p:nvGrpSpPr>
          <p:grpSpPr>
            <a:xfrm>
              <a:off x="895293" y="2591418"/>
              <a:ext cx="158162" cy="133635"/>
              <a:chOff x="895293" y="2591418"/>
              <a:chExt cx="158162" cy="133635"/>
            </a:xfrm>
            <a:noFill/>
          </p:grpSpPr>
          <p:sp>
            <p:nvSpPr>
              <p:cNvPr id="50" name="Forma livre: Forma 49">
                <a:extLst>
                  <a:ext uri="{FF2B5EF4-FFF2-40B4-BE49-F238E27FC236}">
                    <a16:creationId xmlns:a16="http://schemas.microsoft.com/office/drawing/2014/main" id="{336F8380-1462-E09E-77B8-759EFE0476B6}"/>
                  </a:ext>
                </a:extLst>
              </p:cNvPr>
              <p:cNvSpPr/>
              <p:nvPr/>
            </p:nvSpPr>
            <p:spPr>
              <a:xfrm>
                <a:off x="895293" y="2670476"/>
                <a:ext cx="21574" cy="54244"/>
              </a:xfrm>
              <a:custGeom>
                <a:avLst/>
                <a:gdLst>
                  <a:gd name="connsiteX0" fmla="*/ 21574 w 21574"/>
                  <a:gd name="connsiteY0" fmla="*/ 54245 h 54244"/>
                  <a:gd name="connsiteX1" fmla="*/ 0 w 21574"/>
                  <a:gd name="connsiteY1" fmla="*/ 0 h 542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1574" h="54244">
                    <a:moveTo>
                      <a:pt x="21574" y="54245"/>
                    </a:moveTo>
                    <a:cubicBezTo>
                      <a:pt x="8192" y="40100"/>
                      <a:pt x="0" y="21003"/>
                      <a:pt x="0" y="0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1" name="Forma livre: Forma 50">
                <a:extLst>
                  <a:ext uri="{FF2B5EF4-FFF2-40B4-BE49-F238E27FC236}">
                    <a16:creationId xmlns:a16="http://schemas.microsoft.com/office/drawing/2014/main" id="{0CC8C1DE-F1AA-F506-5953-C5E779C40EA4}"/>
                  </a:ext>
                </a:extLst>
              </p:cNvPr>
              <p:cNvSpPr/>
              <p:nvPr/>
            </p:nvSpPr>
            <p:spPr>
              <a:xfrm>
                <a:off x="897722" y="2594085"/>
                <a:ext cx="56197" cy="56959"/>
              </a:xfrm>
              <a:custGeom>
                <a:avLst/>
                <a:gdLst>
                  <a:gd name="connsiteX0" fmla="*/ 0 w 56197"/>
                  <a:gd name="connsiteY0" fmla="*/ 56959 h 56959"/>
                  <a:gd name="connsiteX1" fmla="*/ 56198 w 56197"/>
                  <a:gd name="connsiteY1" fmla="*/ 0 h 569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6197" h="56959">
                    <a:moveTo>
                      <a:pt x="0" y="56959"/>
                    </a:moveTo>
                    <a:cubicBezTo>
                      <a:pt x="7001" y="29242"/>
                      <a:pt x="28623" y="7334"/>
                      <a:pt x="56198" y="0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2" name="Forma livre: Forma 51">
                <a:extLst>
                  <a:ext uri="{FF2B5EF4-FFF2-40B4-BE49-F238E27FC236}">
                    <a16:creationId xmlns:a16="http://schemas.microsoft.com/office/drawing/2014/main" id="{3FAB230D-60D7-6C17-E6D9-42B30983FD14}"/>
                  </a:ext>
                </a:extLst>
              </p:cNvPr>
              <p:cNvSpPr/>
              <p:nvPr/>
            </p:nvSpPr>
            <p:spPr>
              <a:xfrm>
                <a:off x="1031596" y="2670476"/>
                <a:ext cx="21859" cy="54578"/>
              </a:xfrm>
              <a:custGeom>
                <a:avLst/>
                <a:gdLst>
                  <a:gd name="connsiteX0" fmla="*/ 21860 w 21859"/>
                  <a:gd name="connsiteY0" fmla="*/ 0 h 54578"/>
                  <a:gd name="connsiteX1" fmla="*/ 0 w 21859"/>
                  <a:gd name="connsiteY1" fmla="*/ 54578 h 545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1859" h="54578">
                    <a:moveTo>
                      <a:pt x="21860" y="0"/>
                    </a:moveTo>
                    <a:cubicBezTo>
                      <a:pt x="21860" y="21193"/>
                      <a:pt x="13526" y="40386"/>
                      <a:pt x="0" y="54578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3" name="Forma livre: Forma 52">
                <a:extLst>
                  <a:ext uri="{FF2B5EF4-FFF2-40B4-BE49-F238E27FC236}">
                    <a16:creationId xmlns:a16="http://schemas.microsoft.com/office/drawing/2014/main" id="{AAC107D4-CE0D-7F01-008D-2813C170D028}"/>
                  </a:ext>
                </a:extLst>
              </p:cNvPr>
              <p:cNvSpPr/>
              <p:nvPr/>
            </p:nvSpPr>
            <p:spPr>
              <a:xfrm>
                <a:off x="974350" y="2591418"/>
                <a:ext cx="76628" cy="59483"/>
              </a:xfrm>
              <a:custGeom>
                <a:avLst/>
                <a:gdLst>
                  <a:gd name="connsiteX0" fmla="*/ 0 w 76628"/>
                  <a:gd name="connsiteY0" fmla="*/ 0 h 59483"/>
                  <a:gd name="connsiteX1" fmla="*/ 76629 w 76628"/>
                  <a:gd name="connsiteY1" fmla="*/ 59484 h 59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76628" h="59483">
                    <a:moveTo>
                      <a:pt x="0" y="0"/>
                    </a:moveTo>
                    <a:cubicBezTo>
                      <a:pt x="36909" y="0"/>
                      <a:pt x="67913" y="25289"/>
                      <a:pt x="76629" y="59484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54" name="Forma livre: Forma 53">
              <a:extLst>
                <a:ext uri="{FF2B5EF4-FFF2-40B4-BE49-F238E27FC236}">
                  <a16:creationId xmlns:a16="http://schemas.microsoft.com/office/drawing/2014/main" id="{26467DD4-4D98-0D41-58AC-B95248647169}"/>
                </a:ext>
              </a:extLst>
            </p:cNvPr>
            <p:cNvSpPr/>
            <p:nvPr/>
          </p:nvSpPr>
          <p:spPr>
            <a:xfrm>
              <a:off x="974350" y="2570463"/>
              <a:ext cx="4762" cy="48768"/>
            </a:xfrm>
            <a:custGeom>
              <a:avLst/>
              <a:gdLst>
                <a:gd name="connsiteX0" fmla="*/ 0 w 4762"/>
                <a:gd name="connsiteY0" fmla="*/ 48768 h 48768"/>
                <a:gd name="connsiteX1" fmla="*/ 0 w 4762"/>
                <a:gd name="connsiteY1" fmla="*/ 0 h 487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762" h="48768">
                  <a:moveTo>
                    <a:pt x="0" y="48768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55" name="Gráfico 2">
            <a:extLst>
              <a:ext uri="{FF2B5EF4-FFF2-40B4-BE49-F238E27FC236}">
                <a16:creationId xmlns:a16="http://schemas.microsoft.com/office/drawing/2014/main" id="{AEEDB74D-6A4A-FE29-3331-CEC23CC7C870}"/>
              </a:ext>
            </a:extLst>
          </p:cNvPr>
          <p:cNvGrpSpPr/>
          <p:nvPr/>
        </p:nvGrpSpPr>
        <p:grpSpPr>
          <a:xfrm>
            <a:off x="837495" y="1527476"/>
            <a:ext cx="273757" cy="310134"/>
            <a:chOff x="837495" y="1527476"/>
            <a:chExt cx="273757" cy="310134"/>
          </a:xfrm>
          <a:noFill/>
        </p:grpSpPr>
        <p:grpSp>
          <p:nvGrpSpPr>
            <p:cNvPr id="56" name="Gráfico 2">
              <a:extLst>
                <a:ext uri="{FF2B5EF4-FFF2-40B4-BE49-F238E27FC236}">
                  <a16:creationId xmlns:a16="http://schemas.microsoft.com/office/drawing/2014/main" id="{2286CD94-A115-B0F8-61D6-9C8CEAE32864}"/>
                </a:ext>
              </a:extLst>
            </p:cNvPr>
            <p:cNvGrpSpPr/>
            <p:nvPr/>
          </p:nvGrpSpPr>
          <p:grpSpPr>
            <a:xfrm>
              <a:off x="893626" y="1568338"/>
              <a:ext cx="161496" cy="228409"/>
              <a:chOff x="893626" y="1568338"/>
              <a:chExt cx="161496" cy="228409"/>
            </a:xfrm>
          </p:grpSpPr>
          <p:grpSp>
            <p:nvGrpSpPr>
              <p:cNvPr id="57" name="Gráfico 2">
                <a:extLst>
                  <a:ext uri="{FF2B5EF4-FFF2-40B4-BE49-F238E27FC236}">
                    <a16:creationId xmlns:a16="http://schemas.microsoft.com/office/drawing/2014/main" id="{EBD143E8-7742-0217-2C36-CB248096ECCC}"/>
                  </a:ext>
                </a:extLst>
              </p:cNvPr>
              <p:cNvGrpSpPr/>
              <p:nvPr/>
            </p:nvGrpSpPr>
            <p:grpSpPr>
              <a:xfrm>
                <a:off x="893626" y="1568338"/>
                <a:ext cx="161496" cy="25955"/>
                <a:chOff x="893626" y="1568338"/>
                <a:chExt cx="161496" cy="25955"/>
              </a:xfrm>
            </p:grpSpPr>
            <p:sp>
              <p:nvSpPr>
                <p:cNvPr id="58" name="Forma livre: Forma 57">
                  <a:extLst>
                    <a:ext uri="{FF2B5EF4-FFF2-40B4-BE49-F238E27FC236}">
                      <a16:creationId xmlns:a16="http://schemas.microsoft.com/office/drawing/2014/main" id="{3FF19962-3FC9-4D69-A4AC-EF22B31EFE45}"/>
                    </a:ext>
                  </a:extLst>
                </p:cNvPr>
                <p:cNvSpPr/>
                <p:nvPr/>
              </p:nvSpPr>
              <p:spPr>
                <a:xfrm>
                  <a:off x="1010260" y="1568338"/>
                  <a:ext cx="44862" cy="25955"/>
                </a:xfrm>
                <a:custGeom>
                  <a:avLst/>
                  <a:gdLst>
                    <a:gd name="connsiteX0" fmla="*/ 0 w 44862"/>
                    <a:gd name="connsiteY0" fmla="*/ 0 h 25955"/>
                    <a:gd name="connsiteX1" fmla="*/ 44863 w 44862"/>
                    <a:gd name="connsiteY1" fmla="*/ 25956 h 2595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4862" h="25955">
                      <a:moveTo>
                        <a:pt x="0" y="0"/>
                      </a:moveTo>
                      <a:lnTo>
                        <a:pt x="44863" y="25956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59" name="Forma livre: Forma 58">
                  <a:extLst>
                    <a:ext uri="{FF2B5EF4-FFF2-40B4-BE49-F238E27FC236}">
                      <a16:creationId xmlns:a16="http://schemas.microsoft.com/office/drawing/2014/main" id="{8EE2E4C3-3909-9139-BE6E-02CA12276048}"/>
                    </a:ext>
                  </a:extLst>
                </p:cNvPr>
                <p:cNvSpPr/>
                <p:nvPr/>
              </p:nvSpPr>
              <p:spPr>
                <a:xfrm>
                  <a:off x="893626" y="1568338"/>
                  <a:ext cx="44862" cy="25955"/>
                </a:xfrm>
                <a:custGeom>
                  <a:avLst/>
                  <a:gdLst>
                    <a:gd name="connsiteX0" fmla="*/ 44863 w 44862"/>
                    <a:gd name="connsiteY0" fmla="*/ 0 h 25955"/>
                    <a:gd name="connsiteX1" fmla="*/ 0 w 44862"/>
                    <a:gd name="connsiteY1" fmla="*/ 25956 h 2595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4862" h="25955">
                      <a:moveTo>
                        <a:pt x="44863" y="0"/>
                      </a:moveTo>
                      <a:lnTo>
                        <a:pt x="0" y="25956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60" name="Gráfico 2">
                <a:extLst>
                  <a:ext uri="{FF2B5EF4-FFF2-40B4-BE49-F238E27FC236}">
                    <a16:creationId xmlns:a16="http://schemas.microsoft.com/office/drawing/2014/main" id="{46A00C08-4368-B538-D9B7-3E4CAE3680DD}"/>
                  </a:ext>
                </a:extLst>
              </p:cNvPr>
              <p:cNvGrpSpPr/>
              <p:nvPr/>
            </p:nvGrpSpPr>
            <p:grpSpPr>
              <a:xfrm>
                <a:off x="893626" y="1770792"/>
                <a:ext cx="161496" cy="25955"/>
                <a:chOff x="893626" y="1770792"/>
                <a:chExt cx="161496" cy="25955"/>
              </a:xfrm>
            </p:grpSpPr>
            <p:sp>
              <p:nvSpPr>
                <p:cNvPr id="61" name="Forma livre: Forma 60">
                  <a:extLst>
                    <a:ext uri="{FF2B5EF4-FFF2-40B4-BE49-F238E27FC236}">
                      <a16:creationId xmlns:a16="http://schemas.microsoft.com/office/drawing/2014/main" id="{E8E57305-6E59-85A9-C95F-42EC798D86A7}"/>
                    </a:ext>
                  </a:extLst>
                </p:cNvPr>
                <p:cNvSpPr/>
                <p:nvPr/>
              </p:nvSpPr>
              <p:spPr>
                <a:xfrm>
                  <a:off x="1010260" y="1770792"/>
                  <a:ext cx="44862" cy="25955"/>
                </a:xfrm>
                <a:custGeom>
                  <a:avLst/>
                  <a:gdLst>
                    <a:gd name="connsiteX0" fmla="*/ 0 w 44862"/>
                    <a:gd name="connsiteY0" fmla="*/ 25956 h 25955"/>
                    <a:gd name="connsiteX1" fmla="*/ 44863 w 44862"/>
                    <a:gd name="connsiteY1" fmla="*/ 0 h 2595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4862" h="25955">
                      <a:moveTo>
                        <a:pt x="0" y="25956"/>
                      </a:moveTo>
                      <a:lnTo>
                        <a:pt x="44863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62" name="Forma livre: Forma 61">
                  <a:extLst>
                    <a:ext uri="{FF2B5EF4-FFF2-40B4-BE49-F238E27FC236}">
                      <a16:creationId xmlns:a16="http://schemas.microsoft.com/office/drawing/2014/main" id="{9318BC15-FF74-81E3-00FB-31A01A978332}"/>
                    </a:ext>
                  </a:extLst>
                </p:cNvPr>
                <p:cNvSpPr/>
                <p:nvPr/>
              </p:nvSpPr>
              <p:spPr>
                <a:xfrm>
                  <a:off x="893626" y="1770792"/>
                  <a:ext cx="44862" cy="25955"/>
                </a:xfrm>
                <a:custGeom>
                  <a:avLst/>
                  <a:gdLst>
                    <a:gd name="connsiteX0" fmla="*/ 44863 w 44862"/>
                    <a:gd name="connsiteY0" fmla="*/ 25956 h 25955"/>
                    <a:gd name="connsiteX1" fmla="*/ 0 w 44862"/>
                    <a:gd name="connsiteY1" fmla="*/ 0 h 2595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4862" h="25955">
                      <a:moveTo>
                        <a:pt x="44863" y="25956"/>
                      </a:moveTo>
                      <a:lnTo>
                        <a:pt x="0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grpSp>
          <p:nvGrpSpPr>
            <p:cNvPr id="63" name="Gráfico 2">
              <a:extLst>
                <a:ext uri="{FF2B5EF4-FFF2-40B4-BE49-F238E27FC236}">
                  <a16:creationId xmlns:a16="http://schemas.microsoft.com/office/drawing/2014/main" id="{17F5E05E-B07C-5479-9D36-09175FAE9C6A}"/>
                </a:ext>
              </a:extLst>
            </p:cNvPr>
            <p:cNvGrpSpPr/>
            <p:nvPr/>
          </p:nvGrpSpPr>
          <p:grpSpPr>
            <a:xfrm>
              <a:off x="954491" y="1527476"/>
              <a:ext cx="39766" cy="310134"/>
              <a:chOff x="954491" y="1527476"/>
              <a:chExt cx="39766" cy="310134"/>
            </a:xfrm>
            <a:noFill/>
          </p:grpSpPr>
          <p:grpSp>
            <p:nvGrpSpPr>
              <p:cNvPr id="64" name="Gráfico 2">
                <a:extLst>
                  <a:ext uri="{FF2B5EF4-FFF2-40B4-BE49-F238E27FC236}">
                    <a16:creationId xmlns:a16="http://schemas.microsoft.com/office/drawing/2014/main" id="{8D00B0E0-5B89-E090-C354-7F004A0B2F65}"/>
                  </a:ext>
                </a:extLst>
              </p:cNvPr>
              <p:cNvGrpSpPr/>
              <p:nvPr/>
            </p:nvGrpSpPr>
            <p:grpSpPr>
              <a:xfrm>
                <a:off x="954538" y="1527476"/>
                <a:ext cx="39719" cy="72294"/>
                <a:chOff x="954538" y="1527476"/>
                <a:chExt cx="39719" cy="72294"/>
              </a:xfrm>
              <a:noFill/>
            </p:grpSpPr>
            <p:sp>
              <p:nvSpPr>
                <p:cNvPr id="65" name="Forma livre: Forma 64">
                  <a:extLst>
                    <a:ext uri="{FF2B5EF4-FFF2-40B4-BE49-F238E27FC236}">
                      <a16:creationId xmlns:a16="http://schemas.microsoft.com/office/drawing/2014/main" id="{89192D00-FB11-37EC-C600-DC6E7440BBE9}"/>
                    </a:ext>
                  </a:extLst>
                </p:cNvPr>
                <p:cNvSpPr/>
                <p:nvPr/>
              </p:nvSpPr>
              <p:spPr>
                <a:xfrm>
                  <a:off x="954538" y="1527476"/>
                  <a:ext cx="39719" cy="39719"/>
                </a:xfrm>
                <a:custGeom>
                  <a:avLst/>
                  <a:gdLst>
                    <a:gd name="connsiteX0" fmla="*/ 39719 w 39719"/>
                    <a:gd name="connsiteY0" fmla="*/ 19860 h 39719"/>
                    <a:gd name="connsiteX1" fmla="*/ 19860 w 39719"/>
                    <a:gd name="connsiteY1" fmla="*/ 39719 h 39719"/>
                    <a:gd name="connsiteX2" fmla="*/ 0 w 39719"/>
                    <a:gd name="connsiteY2" fmla="*/ 19860 h 39719"/>
                    <a:gd name="connsiteX3" fmla="*/ 19860 w 39719"/>
                    <a:gd name="connsiteY3" fmla="*/ 0 h 39719"/>
                    <a:gd name="connsiteX4" fmla="*/ 39719 w 39719"/>
                    <a:gd name="connsiteY4" fmla="*/ 19860 h 3971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9719" h="39719">
                      <a:moveTo>
                        <a:pt x="39719" y="19860"/>
                      </a:moveTo>
                      <a:cubicBezTo>
                        <a:pt x="39719" y="30861"/>
                        <a:pt x="30813" y="39719"/>
                        <a:pt x="19860" y="39719"/>
                      </a:cubicBezTo>
                      <a:cubicBezTo>
                        <a:pt x="8906" y="39719"/>
                        <a:pt x="0" y="30813"/>
                        <a:pt x="0" y="19860"/>
                      </a:cubicBezTo>
                      <a:cubicBezTo>
                        <a:pt x="0" y="8906"/>
                        <a:pt x="8906" y="0"/>
                        <a:pt x="19860" y="0"/>
                      </a:cubicBezTo>
                      <a:cubicBezTo>
                        <a:pt x="30813" y="0"/>
                        <a:pt x="39719" y="8906"/>
                        <a:pt x="39719" y="19860"/>
                      </a:cubicBezTo>
                      <a:close/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66" name="Forma livre: Forma 65">
                  <a:extLst>
                    <a:ext uri="{FF2B5EF4-FFF2-40B4-BE49-F238E27FC236}">
                      <a16:creationId xmlns:a16="http://schemas.microsoft.com/office/drawing/2014/main" id="{184B046C-7C3C-AF36-CEB3-A488C15A8B5F}"/>
                    </a:ext>
                  </a:extLst>
                </p:cNvPr>
                <p:cNvSpPr/>
                <p:nvPr/>
              </p:nvSpPr>
              <p:spPr>
                <a:xfrm>
                  <a:off x="974350" y="1569386"/>
                  <a:ext cx="4762" cy="30384"/>
                </a:xfrm>
                <a:custGeom>
                  <a:avLst/>
                  <a:gdLst>
                    <a:gd name="connsiteX0" fmla="*/ 0 w 4762"/>
                    <a:gd name="connsiteY0" fmla="*/ 0 h 30384"/>
                    <a:gd name="connsiteX1" fmla="*/ 0 w 4762"/>
                    <a:gd name="connsiteY1" fmla="*/ 30385 h 3038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762" h="30384">
                      <a:moveTo>
                        <a:pt x="0" y="0"/>
                      </a:moveTo>
                      <a:lnTo>
                        <a:pt x="0" y="30385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67" name="Gráfico 2">
                <a:extLst>
                  <a:ext uri="{FF2B5EF4-FFF2-40B4-BE49-F238E27FC236}">
                    <a16:creationId xmlns:a16="http://schemas.microsoft.com/office/drawing/2014/main" id="{215CB68D-39C1-6D92-66C9-EB7D81795FC4}"/>
                  </a:ext>
                </a:extLst>
              </p:cNvPr>
              <p:cNvGrpSpPr/>
              <p:nvPr/>
            </p:nvGrpSpPr>
            <p:grpSpPr>
              <a:xfrm>
                <a:off x="954491" y="1765315"/>
                <a:ext cx="39719" cy="72294"/>
                <a:chOff x="954491" y="1765315"/>
                <a:chExt cx="39719" cy="72294"/>
              </a:xfrm>
              <a:noFill/>
            </p:grpSpPr>
            <p:sp>
              <p:nvSpPr>
                <p:cNvPr id="68" name="Forma livre: Forma 67">
                  <a:extLst>
                    <a:ext uri="{FF2B5EF4-FFF2-40B4-BE49-F238E27FC236}">
                      <a16:creationId xmlns:a16="http://schemas.microsoft.com/office/drawing/2014/main" id="{6DE9C648-5AA5-9C29-6F78-D8ED397B4D4D}"/>
                    </a:ext>
                  </a:extLst>
                </p:cNvPr>
                <p:cNvSpPr/>
                <p:nvPr/>
              </p:nvSpPr>
              <p:spPr>
                <a:xfrm>
                  <a:off x="954491" y="1797891"/>
                  <a:ext cx="39719" cy="39719"/>
                </a:xfrm>
                <a:custGeom>
                  <a:avLst/>
                  <a:gdLst>
                    <a:gd name="connsiteX0" fmla="*/ 0 w 39719"/>
                    <a:gd name="connsiteY0" fmla="*/ 19860 h 39719"/>
                    <a:gd name="connsiteX1" fmla="*/ 19860 w 39719"/>
                    <a:gd name="connsiteY1" fmla="*/ 0 h 39719"/>
                    <a:gd name="connsiteX2" fmla="*/ 39719 w 39719"/>
                    <a:gd name="connsiteY2" fmla="*/ 19860 h 39719"/>
                    <a:gd name="connsiteX3" fmla="*/ 19860 w 39719"/>
                    <a:gd name="connsiteY3" fmla="*/ 39719 h 39719"/>
                    <a:gd name="connsiteX4" fmla="*/ 0 w 39719"/>
                    <a:gd name="connsiteY4" fmla="*/ 19860 h 3971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9719" h="39719">
                      <a:moveTo>
                        <a:pt x="0" y="19860"/>
                      </a:moveTo>
                      <a:cubicBezTo>
                        <a:pt x="0" y="8858"/>
                        <a:pt x="8906" y="0"/>
                        <a:pt x="19860" y="0"/>
                      </a:cubicBezTo>
                      <a:cubicBezTo>
                        <a:pt x="30813" y="0"/>
                        <a:pt x="39719" y="8906"/>
                        <a:pt x="39719" y="19860"/>
                      </a:cubicBezTo>
                      <a:cubicBezTo>
                        <a:pt x="39719" y="30813"/>
                        <a:pt x="30813" y="39719"/>
                        <a:pt x="19860" y="39719"/>
                      </a:cubicBezTo>
                      <a:cubicBezTo>
                        <a:pt x="8906" y="39719"/>
                        <a:pt x="0" y="30813"/>
                        <a:pt x="0" y="19860"/>
                      </a:cubicBezTo>
                      <a:close/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69" name="Forma livre: Forma 68">
                  <a:extLst>
                    <a:ext uri="{FF2B5EF4-FFF2-40B4-BE49-F238E27FC236}">
                      <a16:creationId xmlns:a16="http://schemas.microsoft.com/office/drawing/2014/main" id="{9BC5B3DE-1540-0AD9-9F39-342E4421DDBF}"/>
                    </a:ext>
                  </a:extLst>
                </p:cNvPr>
                <p:cNvSpPr/>
                <p:nvPr/>
              </p:nvSpPr>
              <p:spPr>
                <a:xfrm>
                  <a:off x="974350" y="1765315"/>
                  <a:ext cx="4762" cy="30337"/>
                </a:xfrm>
                <a:custGeom>
                  <a:avLst/>
                  <a:gdLst>
                    <a:gd name="connsiteX0" fmla="*/ 0 w 4762"/>
                    <a:gd name="connsiteY0" fmla="*/ 30337 h 30337"/>
                    <a:gd name="connsiteX1" fmla="*/ 0 w 4762"/>
                    <a:gd name="connsiteY1" fmla="*/ 0 h 3033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762" h="30337">
                      <a:moveTo>
                        <a:pt x="0" y="30337"/>
                      </a:moveTo>
                      <a:lnTo>
                        <a:pt x="0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grpSp>
          <p:nvGrpSpPr>
            <p:cNvPr id="70" name="Gráfico 2">
              <a:extLst>
                <a:ext uri="{FF2B5EF4-FFF2-40B4-BE49-F238E27FC236}">
                  <a16:creationId xmlns:a16="http://schemas.microsoft.com/office/drawing/2014/main" id="{6460395B-4521-6738-6EA8-3ECC215A4FCD}"/>
                </a:ext>
              </a:extLst>
            </p:cNvPr>
            <p:cNvGrpSpPr/>
            <p:nvPr/>
          </p:nvGrpSpPr>
          <p:grpSpPr>
            <a:xfrm>
              <a:off x="837495" y="1594789"/>
              <a:ext cx="273757" cy="175459"/>
              <a:chOff x="837495" y="1594789"/>
              <a:chExt cx="273757" cy="175459"/>
            </a:xfrm>
            <a:noFill/>
          </p:grpSpPr>
          <p:grpSp>
            <p:nvGrpSpPr>
              <p:cNvPr id="71" name="Gráfico 2">
                <a:extLst>
                  <a:ext uri="{FF2B5EF4-FFF2-40B4-BE49-F238E27FC236}">
                    <a16:creationId xmlns:a16="http://schemas.microsoft.com/office/drawing/2014/main" id="{D019A574-9F89-7D21-95E9-84B155B1ED48}"/>
                  </a:ext>
                </a:extLst>
              </p:cNvPr>
              <p:cNvGrpSpPr/>
              <p:nvPr/>
            </p:nvGrpSpPr>
            <p:grpSpPr>
              <a:xfrm>
                <a:off x="837495" y="1594789"/>
                <a:ext cx="273710" cy="46224"/>
                <a:chOff x="837495" y="1594789"/>
                <a:chExt cx="273710" cy="46224"/>
              </a:xfrm>
              <a:noFill/>
            </p:grpSpPr>
            <p:grpSp>
              <p:nvGrpSpPr>
                <p:cNvPr id="72" name="Gráfico 2">
                  <a:extLst>
                    <a:ext uri="{FF2B5EF4-FFF2-40B4-BE49-F238E27FC236}">
                      <a16:creationId xmlns:a16="http://schemas.microsoft.com/office/drawing/2014/main" id="{867E485E-23FB-A16B-53B0-EBA14B23B9BC}"/>
                    </a:ext>
                  </a:extLst>
                </p:cNvPr>
                <p:cNvGrpSpPr/>
                <p:nvPr/>
              </p:nvGrpSpPr>
              <p:grpSpPr>
                <a:xfrm>
                  <a:off x="1045978" y="1594789"/>
                  <a:ext cx="65227" cy="46224"/>
                  <a:chOff x="1045978" y="1594789"/>
                  <a:chExt cx="65227" cy="46224"/>
                </a:xfrm>
                <a:noFill/>
              </p:grpSpPr>
              <p:sp>
                <p:nvSpPr>
                  <p:cNvPr id="73" name="Forma livre: Forma 72">
                    <a:extLst>
                      <a:ext uri="{FF2B5EF4-FFF2-40B4-BE49-F238E27FC236}">
                        <a16:creationId xmlns:a16="http://schemas.microsoft.com/office/drawing/2014/main" id="{453451C5-775F-E6FF-2C36-AB5C63142417}"/>
                      </a:ext>
                    </a:extLst>
                  </p:cNvPr>
                  <p:cNvSpPr/>
                  <p:nvPr/>
                </p:nvSpPr>
                <p:spPr>
                  <a:xfrm>
                    <a:off x="1071429" y="1594789"/>
                    <a:ext cx="39776" cy="39776"/>
                  </a:xfrm>
                  <a:custGeom>
                    <a:avLst/>
                    <a:gdLst>
                      <a:gd name="connsiteX0" fmla="*/ 29889 w 39776"/>
                      <a:gd name="connsiteY0" fmla="*/ 37081 h 39776"/>
                      <a:gd name="connsiteX1" fmla="*/ 2695 w 39776"/>
                      <a:gd name="connsiteY1" fmla="*/ 29842 h 39776"/>
                      <a:gd name="connsiteX2" fmla="*/ 9934 w 39776"/>
                      <a:gd name="connsiteY2" fmla="*/ 2695 h 39776"/>
                      <a:gd name="connsiteX3" fmla="*/ 37081 w 39776"/>
                      <a:gd name="connsiteY3" fmla="*/ 9934 h 39776"/>
                      <a:gd name="connsiteX4" fmla="*/ 29842 w 39776"/>
                      <a:gd name="connsiteY4" fmla="*/ 37081 h 3977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39776" h="39776">
                        <a:moveTo>
                          <a:pt x="29889" y="37081"/>
                        </a:moveTo>
                        <a:cubicBezTo>
                          <a:pt x="20412" y="42605"/>
                          <a:pt x="8220" y="39367"/>
                          <a:pt x="2695" y="29842"/>
                        </a:cubicBezTo>
                        <a:cubicBezTo>
                          <a:pt x="-2829" y="20317"/>
                          <a:pt x="409" y="8172"/>
                          <a:pt x="9934" y="2695"/>
                        </a:cubicBezTo>
                        <a:cubicBezTo>
                          <a:pt x="19412" y="-2829"/>
                          <a:pt x="31604" y="409"/>
                          <a:pt x="37081" y="9934"/>
                        </a:cubicBezTo>
                        <a:cubicBezTo>
                          <a:pt x="42605" y="19412"/>
                          <a:pt x="39367" y="31604"/>
                          <a:pt x="29842" y="37081"/>
                        </a:cubicBezTo>
                        <a:close/>
                      </a:path>
                    </a:pathLst>
                  </a:custGeom>
                  <a:noFill/>
                  <a:ln w="6350" cap="flat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74" name="Forma livre: Forma 73">
                    <a:extLst>
                      <a:ext uri="{FF2B5EF4-FFF2-40B4-BE49-F238E27FC236}">
                        <a16:creationId xmlns:a16="http://schemas.microsoft.com/office/drawing/2014/main" id="{DA5B27CD-D148-7323-11E2-74D3D068E879}"/>
                      </a:ext>
                    </a:extLst>
                  </p:cNvPr>
                  <p:cNvSpPr/>
                  <p:nvPr/>
                </p:nvSpPr>
                <p:spPr>
                  <a:xfrm>
                    <a:off x="1045978" y="1625774"/>
                    <a:ext cx="26241" cy="15240"/>
                  </a:xfrm>
                  <a:custGeom>
                    <a:avLst/>
                    <a:gdLst>
                      <a:gd name="connsiteX0" fmla="*/ 26241 w 26241"/>
                      <a:gd name="connsiteY0" fmla="*/ 0 h 15240"/>
                      <a:gd name="connsiteX1" fmla="*/ 0 w 26241"/>
                      <a:gd name="connsiteY1" fmla="*/ 15240 h 1524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26241" h="15240">
                        <a:moveTo>
                          <a:pt x="26241" y="0"/>
                        </a:moveTo>
                        <a:lnTo>
                          <a:pt x="0" y="15240"/>
                        </a:lnTo>
                      </a:path>
                    </a:pathLst>
                  </a:custGeom>
                  <a:ln w="6350" cap="flat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  <p:grpSp>
              <p:nvGrpSpPr>
                <p:cNvPr id="75" name="Gráfico 2">
                  <a:extLst>
                    <a:ext uri="{FF2B5EF4-FFF2-40B4-BE49-F238E27FC236}">
                      <a16:creationId xmlns:a16="http://schemas.microsoft.com/office/drawing/2014/main" id="{FA5365B7-AEDF-FFAD-2DC9-2018A709B467}"/>
                    </a:ext>
                  </a:extLst>
                </p:cNvPr>
                <p:cNvGrpSpPr/>
                <p:nvPr/>
              </p:nvGrpSpPr>
              <p:grpSpPr>
                <a:xfrm>
                  <a:off x="837495" y="1594789"/>
                  <a:ext cx="65274" cy="46224"/>
                  <a:chOff x="837495" y="1594789"/>
                  <a:chExt cx="65274" cy="46224"/>
                </a:xfrm>
                <a:noFill/>
              </p:grpSpPr>
              <p:sp>
                <p:nvSpPr>
                  <p:cNvPr id="76" name="Forma livre: Forma 75">
                    <a:extLst>
                      <a:ext uri="{FF2B5EF4-FFF2-40B4-BE49-F238E27FC236}">
                        <a16:creationId xmlns:a16="http://schemas.microsoft.com/office/drawing/2014/main" id="{0CA16CCE-3006-3CF0-413F-8CDDD3A96F08}"/>
                      </a:ext>
                    </a:extLst>
                  </p:cNvPr>
                  <p:cNvSpPr/>
                  <p:nvPr/>
                </p:nvSpPr>
                <p:spPr>
                  <a:xfrm>
                    <a:off x="837495" y="1594789"/>
                    <a:ext cx="39776" cy="39776"/>
                  </a:xfrm>
                  <a:custGeom>
                    <a:avLst/>
                    <a:gdLst>
                      <a:gd name="connsiteX0" fmla="*/ 9934 w 39776"/>
                      <a:gd name="connsiteY0" fmla="*/ 37081 h 39776"/>
                      <a:gd name="connsiteX1" fmla="*/ 37081 w 39776"/>
                      <a:gd name="connsiteY1" fmla="*/ 29842 h 39776"/>
                      <a:gd name="connsiteX2" fmla="*/ 29842 w 39776"/>
                      <a:gd name="connsiteY2" fmla="*/ 2695 h 39776"/>
                      <a:gd name="connsiteX3" fmla="*/ 2695 w 39776"/>
                      <a:gd name="connsiteY3" fmla="*/ 9934 h 39776"/>
                      <a:gd name="connsiteX4" fmla="*/ 9934 w 39776"/>
                      <a:gd name="connsiteY4" fmla="*/ 37081 h 3977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39776" h="39776">
                        <a:moveTo>
                          <a:pt x="9934" y="37081"/>
                        </a:moveTo>
                        <a:cubicBezTo>
                          <a:pt x="19412" y="42605"/>
                          <a:pt x="31604" y="39367"/>
                          <a:pt x="37081" y="29842"/>
                        </a:cubicBezTo>
                        <a:cubicBezTo>
                          <a:pt x="42605" y="20317"/>
                          <a:pt x="39367" y="8172"/>
                          <a:pt x="29842" y="2695"/>
                        </a:cubicBezTo>
                        <a:cubicBezTo>
                          <a:pt x="20364" y="-2829"/>
                          <a:pt x="8172" y="409"/>
                          <a:pt x="2695" y="9934"/>
                        </a:cubicBezTo>
                        <a:cubicBezTo>
                          <a:pt x="-2829" y="19412"/>
                          <a:pt x="409" y="31604"/>
                          <a:pt x="9934" y="37081"/>
                        </a:cubicBezTo>
                        <a:close/>
                      </a:path>
                    </a:pathLst>
                  </a:custGeom>
                  <a:noFill/>
                  <a:ln w="6350" cap="flat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77" name="Forma livre: Forma 76">
                    <a:extLst>
                      <a:ext uri="{FF2B5EF4-FFF2-40B4-BE49-F238E27FC236}">
                        <a16:creationId xmlns:a16="http://schemas.microsoft.com/office/drawing/2014/main" id="{A3DA5740-1113-499F-1AEC-363EEEBA329F}"/>
                      </a:ext>
                    </a:extLst>
                  </p:cNvPr>
                  <p:cNvSpPr/>
                  <p:nvPr/>
                </p:nvSpPr>
                <p:spPr>
                  <a:xfrm>
                    <a:off x="876529" y="1625774"/>
                    <a:ext cx="26241" cy="15240"/>
                  </a:xfrm>
                  <a:custGeom>
                    <a:avLst/>
                    <a:gdLst>
                      <a:gd name="connsiteX0" fmla="*/ 0 w 26241"/>
                      <a:gd name="connsiteY0" fmla="*/ 0 h 15240"/>
                      <a:gd name="connsiteX1" fmla="*/ 26241 w 26241"/>
                      <a:gd name="connsiteY1" fmla="*/ 15240 h 1524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26241" h="15240">
                        <a:moveTo>
                          <a:pt x="0" y="0"/>
                        </a:moveTo>
                        <a:lnTo>
                          <a:pt x="26241" y="15240"/>
                        </a:lnTo>
                      </a:path>
                    </a:pathLst>
                  </a:custGeom>
                  <a:ln w="6350" cap="flat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</p:grpSp>
          <p:grpSp>
            <p:nvGrpSpPr>
              <p:cNvPr id="78" name="Gráfico 2">
                <a:extLst>
                  <a:ext uri="{FF2B5EF4-FFF2-40B4-BE49-F238E27FC236}">
                    <a16:creationId xmlns:a16="http://schemas.microsoft.com/office/drawing/2014/main" id="{08123B85-9FBE-EE5C-8800-EB6C674178B2}"/>
                  </a:ext>
                </a:extLst>
              </p:cNvPr>
              <p:cNvGrpSpPr/>
              <p:nvPr/>
            </p:nvGrpSpPr>
            <p:grpSpPr>
              <a:xfrm>
                <a:off x="837495" y="1724072"/>
                <a:ext cx="273757" cy="46177"/>
                <a:chOff x="837495" y="1724072"/>
                <a:chExt cx="273757" cy="46177"/>
              </a:xfrm>
              <a:noFill/>
            </p:grpSpPr>
            <p:grpSp>
              <p:nvGrpSpPr>
                <p:cNvPr id="79" name="Gráfico 2">
                  <a:extLst>
                    <a:ext uri="{FF2B5EF4-FFF2-40B4-BE49-F238E27FC236}">
                      <a16:creationId xmlns:a16="http://schemas.microsoft.com/office/drawing/2014/main" id="{F856A0CE-8A0B-EF75-3911-77A331D049D6}"/>
                    </a:ext>
                  </a:extLst>
                </p:cNvPr>
                <p:cNvGrpSpPr/>
                <p:nvPr/>
              </p:nvGrpSpPr>
              <p:grpSpPr>
                <a:xfrm>
                  <a:off x="837495" y="1724072"/>
                  <a:ext cx="65274" cy="46177"/>
                  <a:chOff x="837495" y="1724072"/>
                  <a:chExt cx="65274" cy="46177"/>
                </a:xfrm>
                <a:noFill/>
              </p:grpSpPr>
              <p:sp>
                <p:nvSpPr>
                  <p:cNvPr id="80" name="Forma livre: Forma 79">
                    <a:extLst>
                      <a:ext uri="{FF2B5EF4-FFF2-40B4-BE49-F238E27FC236}">
                        <a16:creationId xmlns:a16="http://schemas.microsoft.com/office/drawing/2014/main" id="{6D8C0842-22DF-95D6-8434-38C018952C0D}"/>
                      </a:ext>
                    </a:extLst>
                  </p:cNvPr>
                  <p:cNvSpPr/>
                  <p:nvPr/>
                </p:nvSpPr>
                <p:spPr>
                  <a:xfrm>
                    <a:off x="837495" y="1730473"/>
                    <a:ext cx="39776" cy="39776"/>
                  </a:xfrm>
                  <a:custGeom>
                    <a:avLst/>
                    <a:gdLst>
                      <a:gd name="connsiteX0" fmla="*/ 9934 w 39776"/>
                      <a:gd name="connsiteY0" fmla="*/ 2695 h 39776"/>
                      <a:gd name="connsiteX1" fmla="*/ 37081 w 39776"/>
                      <a:gd name="connsiteY1" fmla="*/ 9934 h 39776"/>
                      <a:gd name="connsiteX2" fmla="*/ 29842 w 39776"/>
                      <a:gd name="connsiteY2" fmla="*/ 37081 h 39776"/>
                      <a:gd name="connsiteX3" fmla="*/ 2695 w 39776"/>
                      <a:gd name="connsiteY3" fmla="*/ 29842 h 39776"/>
                      <a:gd name="connsiteX4" fmla="*/ 9934 w 39776"/>
                      <a:gd name="connsiteY4" fmla="*/ 2695 h 3977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39776" h="39776">
                        <a:moveTo>
                          <a:pt x="9934" y="2695"/>
                        </a:moveTo>
                        <a:cubicBezTo>
                          <a:pt x="19412" y="-2829"/>
                          <a:pt x="31604" y="409"/>
                          <a:pt x="37081" y="9934"/>
                        </a:cubicBezTo>
                        <a:cubicBezTo>
                          <a:pt x="42605" y="19412"/>
                          <a:pt x="39367" y="31604"/>
                          <a:pt x="29842" y="37081"/>
                        </a:cubicBezTo>
                        <a:cubicBezTo>
                          <a:pt x="20364" y="42605"/>
                          <a:pt x="8172" y="39367"/>
                          <a:pt x="2695" y="29842"/>
                        </a:cubicBezTo>
                        <a:cubicBezTo>
                          <a:pt x="-2829" y="20364"/>
                          <a:pt x="409" y="8172"/>
                          <a:pt x="9934" y="2695"/>
                        </a:cubicBezTo>
                        <a:close/>
                      </a:path>
                    </a:pathLst>
                  </a:custGeom>
                  <a:noFill/>
                  <a:ln w="6350" cap="flat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81" name="Forma livre: Forma 80">
                    <a:extLst>
                      <a:ext uri="{FF2B5EF4-FFF2-40B4-BE49-F238E27FC236}">
                        <a16:creationId xmlns:a16="http://schemas.microsoft.com/office/drawing/2014/main" id="{5F5C3253-A117-7BDF-B4E9-0AC1365D17B9}"/>
                      </a:ext>
                    </a:extLst>
                  </p:cNvPr>
                  <p:cNvSpPr/>
                  <p:nvPr/>
                </p:nvSpPr>
                <p:spPr>
                  <a:xfrm>
                    <a:off x="876529" y="1724072"/>
                    <a:ext cx="26241" cy="15240"/>
                  </a:xfrm>
                  <a:custGeom>
                    <a:avLst/>
                    <a:gdLst>
                      <a:gd name="connsiteX0" fmla="*/ 0 w 26241"/>
                      <a:gd name="connsiteY0" fmla="*/ 15240 h 15240"/>
                      <a:gd name="connsiteX1" fmla="*/ 26241 w 26241"/>
                      <a:gd name="connsiteY1" fmla="*/ 0 h 1524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26241" h="15240">
                        <a:moveTo>
                          <a:pt x="0" y="15240"/>
                        </a:moveTo>
                        <a:lnTo>
                          <a:pt x="26241" y="0"/>
                        </a:lnTo>
                      </a:path>
                    </a:pathLst>
                  </a:custGeom>
                  <a:ln w="6350" cap="flat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  <p:grpSp>
              <p:nvGrpSpPr>
                <p:cNvPr id="82" name="Gráfico 2">
                  <a:extLst>
                    <a:ext uri="{FF2B5EF4-FFF2-40B4-BE49-F238E27FC236}">
                      <a16:creationId xmlns:a16="http://schemas.microsoft.com/office/drawing/2014/main" id="{277DFCC6-2E75-9A37-36B9-46E96BF16024}"/>
                    </a:ext>
                  </a:extLst>
                </p:cNvPr>
                <p:cNvGrpSpPr/>
                <p:nvPr/>
              </p:nvGrpSpPr>
              <p:grpSpPr>
                <a:xfrm>
                  <a:off x="1045978" y="1724072"/>
                  <a:ext cx="65274" cy="46177"/>
                  <a:chOff x="1045978" y="1724072"/>
                  <a:chExt cx="65274" cy="46177"/>
                </a:xfrm>
                <a:noFill/>
              </p:grpSpPr>
              <p:sp>
                <p:nvSpPr>
                  <p:cNvPr id="83" name="Forma livre: Forma 82">
                    <a:extLst>
                      <a:ext uri="{FF2B5EF4-FFF2-40B4-BE49-F238E27FC236}">
                        <a16:creationId xmlns:a16="http://schemas.microsoft.com/office/drawing/2014/main" id="{82CE4D71-BCE7-6496-0A08-70E1298849CA}"/>
                      </a:ext>
                    </a:extLst>
                  </p:cNvPr>
                  <p:cNvSpPr/>
                  <p:nvPr/>
                </p:nvSpPr>
                <p:spPr>
                  <a:xfrm>
                    <a:off x="1071477" y="1730473"/>
                    <a:ext cx="39776" cy="39776"/>
                  </a:xfrm>
                  <a:custGeom>
                    <a:avLst/>
                    <a:gdLst>
                      <a:gd name="connsiteX0" fmla="*/ 29842 w 39776"/>
                      <a:gd name="connsiteY0" fmla="*/ 2695 h 39776"/>
                      <a:gd name="connsiteX1" fmla="*/ 2695 w 39776"/>
                      <a:gd name="connsiteY1" fmla="*/ 9934 h 39776"/>
                      <a:gd name="connsiteX2" fmla="*/ 9934 w 39776"/>
                      <a:gd name="connsiteY2" fmla="*/ 37081 h 39776"/>
                      <a:gd name="connsiteX3" fmla="*/ 37081 w 39776"/>
                      <a:gd name="connsiteY3" fmla="*/ 29842 h 39776"/>
                      <a:gd name="connsiteX4" fmla="*/ 29842 w 39776"/>
                      <a:gd name="connsiteY4" fmla="*/ 2695 h 3977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39776" h="39776">
                        <a:moveTo>
                          <a:pt x="29842" y="2695"/>
                        </a:moveTo>
                        <a:cubicBezTo>
                          <a:pt x="20364" y="-2829"/>
                          <a:pt x="8172" y="409"/>
                          <a:pt x="2695" y="9934"/>
                        </a:cubicBezTo>
                        <a:cubicBezTo>
                          <a:pt x="-2829" y="19412"/>
                          <a:pt x="409" y="31604"/>
                          <a:pt x="9934" y="37081"/>
                        </a:cubicBezTo>
                        <a:cubicBezTo>
                          <a:pt x="19412" y="42605"/>
                          <a:pt x="31604" y="39367"/>
                          <a:pt x="37081" y="29842"/>
                        </a:cubicBezTo>
                        <a:cubicBezTo>
                          <a:pt x="42605" y="20364"/>
                          <a:pt x="39367" y="8172"/>
                          <a:pt x="29842" y="2695"/>
                        </a:cubicBezTo>
                        <a:close/>
                      </a:path>
                    </a:pathLst>
                  </a:custGeom>
                  <a:noFill/>
                  <a:ln w="6350" cap="flat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84" name="Forma livre: Forma 83">
                    <a:extLst>
                      <a:ext uri="{FF2B5EF4-FFF2-40B4-BE49-F238E27FC236}">
                        <a16:creationId xmlns:a16="http://schemas.microsoft.com/office/drawing/2014/main" id="{DD1DC757-DF94-BA0B-7020-9BBD3C39ACAA}"/>
                      </a:ext>
                    </a:extLst>
                  </p:cNvPr>
                  <p:cNvSpPr/>
                  <p:nvPr/>
                </p:nvSpPr>
                <p:spPr>
                  <a:xfrm>
                    <a:off x="1045978" y="1724072"/>
                    <a:ext cx="26241" cy="15240"/>
                  </a:xfrm>
                  <a:custGeom>
                    <a:avLst/>
                    <a:gdLst>
                      <a:gd name="connsiteX0" fmla="*/ 26241 w 26241"/>
                      <a:gd name="connsiteY0" fmla="*/ 15240 h 15240"/>
                      <a:gd name="connsiteX1" fmla="*/ 0 w 26241"/>
                      <a:gd name="connsiteY1" fmla="*/ 0 h 1524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26241" h="15240">
                        <a:moveTo>
                          <a:pt x="26241" y="15240"/>
                        </a:moveTo>
                        <a:lnTo>
                          <a:pt x="0" y="0"/>
                        </a:lnTo>
                      </a:path>
                    </a:pathLst>
                  </a:custGeom>
                  <a:ln w="6350" cap="flat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</p:grpSp>
        </p:grpSp>
        <p:grpSp>
          <p:nvGrpSpPr>
            <p:cNvPr id="85" name="Gráfico 2">
              <a:extLst>
                <a:ext uri="{FF2B5EF4-FFF2-40B4-BE49-F238E27FC236}">
                  <a16:creationId xmlns:a16="http://schemas.microsoft.com/office/drawing/2014/main" id="{27214BB5-C16E-849E-C7B2-DA4EDFF7E529}"/>
                </a:ext>
              </a:extLst>
            </p:cNvPr>
            <p:cNvGrpSpPr/>
            <p:nvPr/>
          </p:nvGrpSpPr>
          <p:grpSpPr>
            <a:xfrm>
              <a:off x="892102" y="1600437"/>
              <a:ext cx="164544" cy="164211"/>
              <a:chOff x="892102" y="1600437"/>
              <a:chExt cx="164544" cy="164211"/>
            </a:xfrm>
            <a:noFill/>
          </p:grpSpPr>
          <p:sp>
            <p:nvSpPr>
              <p:cNvPr id="86" name="Forma livre: Forma 85">
                <a:extLst>
                  <a:ext uri="{FF2B5EF4-FFF2-40B4-BE49-F238E27FC236}">
                    <a16:creationId xmlns:a16="http://schemas.microsoft.com/office/drawing/2014/main" id="{397A802C-DA28-72BA-C249-BE54750CC6BC}"/>
                  </a:ext>
                </a:extLst>
              </p:cNvPr>
              <p:cNvSpPr/>
              <p:nvPr/>
            </p:nvSpPr>
            <p:spPr>
              <a:xfrm>
                <a:off x="911771" y="1682543"/>
                <a:ext cx="144875" cy="4762"/>
              </a:xfrm>
              <a:custGeom>
                <a:avLst/>
                <a:gdLst>
                  <a:gd name="connsiteX0" fmla="*/ 144875 w 144875"/>
                  <a:gd name="connsiteY0" fmla="*/ 0 h 4762"/>
                  <a:gd name="connsiteX1" fmla="*/ 0 w 144875"/>
                  <a:gd name="connsiteY1" fmla="*/ 0 h 47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44875" h="4762">
                    <a:moveTo>
                      <a:pt x="144875" y="0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87" name="Gráfico 2">
                <a:extLst>
                  <a:ext uri="{FF2B5EF4-FFF2-40B4-BE49-F238E27FC236}">
                    <a16:creationId xmlns:a16="http://schemas.microsoft.com/office/drawing/2014/main" id="{FD2741D0-BA10-7B03-843F-06724E150482}"/>
                  </a:ext>
                </a:extLst>
              </p:cNvPr>
              <p:cNvGrpSpPr/>
              <p:nvPr/>
            </p:nvGrpSpPr>
            <p:grpSpPr>
              <a:xfrm>
                <a:off x="943941" y="1622250"/>
                <a:ext cx="60485" cy="141255"/>
                <a:chOff x="943941" y="1622250"/>
                <a:chExt cx="60485" cy="141255"/>
              </a:xfrm>
              <a:noFill/>
            </p:grpSpPr>
            <p:sp>
              <p:nvSpPr>
                <p:cNvPr id="88" name="Forma livre: Forma 87">
                  <a:extLst>
                    <a:ext uri="{FF2B5EF4-FFF2-40B4-BE49-F238E27FC236}">
                      <a16:creationId xmlns:a16="http://schemas.microsoft.com/office/drawing/2014/main" id="{16F70E54-2339-6835-96D8-CA0CCF742B17}"/>
                    </a:ext>
                  </a:extLst>
                </p:cNvPr>
                <p:cNvSpPr/>
                <p:nvPr/>
              </p:nvSpPr>
              <p:spPr>
                <a:xfrm>
                  <a:off x="943941" y="1622392"/>
                  <a:ext cx="27742" cy="141112"/>
                </a:xfrm>
                <a:custGeom>
                  <a:avLst/>
                  <a:gdLst>
                    <a:gd name="connsiteX0" fmla="*/ 14122 w 27742"/>
                    <a:gd name="connsiteY0" fmla="*/ 0 h 141112"/>
                    <a:gd name="connsiteX1" fmla="*/ 27742 w 27742"/>
                    <a:gd name="connsiteY1" fmla="*/ 141113 h 14111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7742" h="141112">
                      <a:moveTo>
                        <a:pt x="14122" y="0"/>
                      </a:moveTo>
                      <a:cubicBezTo>
                        <a:pt x="167" y="27099"/>
                        <a:pt x="-14120" y="78534"/>
                        <a:pt x="27742" y="141113"/>
                      </a:cubicBez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89" name="Forma livre: Forma 88">
                  <a:extLst>
                    <a:ext uri="{FF2B5EF4-FFF2-40B4-BE49-F238E27FC236}">
                      <a16:creationId xmlns:a16="http://schemas.microsoft.com/office/drawing/2014/main" id="{C66FB459-C200-D2B6-4B83-FDB662DE80D0}"/>
                    </a:ext>
                  </a:extLst>
                </p:cNvPr>
                <p:cNvSpPr/>
                <p:nvPr/>
              </p:nvSpPr>
              <p:spPr>
                <a:xfrm>
                  <a:off x="976636" y="1622250"/>
                  <a:ext cx="27790" cy="141255"/>
                </a:xfrm>
                <a:custGeom>
                  <a:avLst/>
                  <a:gdLst>
                    <a:gd name="connsiteX0" fmla="*/ 13573 w 27790"/>
                    <a:gd name="connsiteY0" fmla="*/ 0 h 141255"/>
                    <a:gd name="connsiteX1" fmla="*/ 0 w 27790"/>
                    <a:gd name="connsiteY1" fmla="*/ 141256 h 14125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7790" h="141255">
                      <a:moveTo>
                        <a:pt x="13573" y="0"/>
                      </a:moveTo>
                      <a:cubicBezTo>
                        <a:pt x="27575" y="27051"/>
                        <a:pt x="42005" y="78581"/>
                        <a:pt x="0" y="141256"/>
                      </a:cubicBez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90" name="Forma livre: Forma 89">
                <a:extLst>
                  <a:ext uri="{FF2B5EF4-FFF2-40B4-BE49-F238E27FC236}">
                    <a16:creationId xmlns:a16="http://schemas.microsoft.com/office/drawing/2014/main" id="{D79EB770-B54A-56B2-1D7B-9B0C708B940A}"/>
                  </a:ext>
                </a:extLst>
              </p:cNvPr>
              <p:cNvSpPr/>
              <p:nvPr/>
            </p:nvSpPr>
            <p:spPr>
              <a:xfrm>
                <a:off x="892102" y="1600437"/>
                <a:ext cx="164211" cy="164211"/>
              </a:xfrm>
              <a:custGeom>
                <a:avLst/>
                <a:gdLst>
                  <a:gd name="connsiteX0" fmla="*/ 164211 w 164211"/>
                  <a:gd name="connsiteY0" fmla="*/ 82105 h 164211"/>
                  <a:gd name="connsiteX1" fmla="*/ 82106 w 164211"/>
                  <a:gd name="connsiteY1" fmla="*/ 164211 h 164211"/>
                  <a:gd name="connsiteX2" fmla="*/ 0 w 164211"/>
                  <a:gd name="connsiteY2" fmla="*/ 82105 h 164211"/>
                  <a:gd name="connsiteX3" fmla="*/ 82106 w 164211"/>
                  <a:gd name="connsiteY3" fmla="*/ 0 h 164211"/>
                  <a:gd name="connsiteX4" fmla="*/ 164211 w 164211"/>
                  <a:gd name="connsiteY4" fmla="*/ 82105 h 1642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211" h="164211">
                    <a:moveTo>
                      <a:pt x="164211" y="82105"/>
                    </a:moveTo>
                    <a:cubicBezTo>
                      <a:pt x="164211" y="127445"/>
                      <a:pt x="127445" y="164211"/>
                      <a:pt x="82106" y="164211"/>
                    </a:cubicBezTo>
                    <a:cubicBezTo>
                      <a:pt x="36767" y="164211"/>
                      <a:pt x="0" y="127445"/>
                      <a:pt x="0" y="82105"/>
                    </a:cubicBezTo>
                    <a:cubicBezTo>
                      <a:pt x="0" y="36767"/>
                      <a:pt x="36767" y="0"/>
                      <a:pt x="82106" y="0"/>
                    </a:cubicBezTo>
                    <a:cubicBezTo>
                      <a:pt x="127445" y="0"/>
                      <a:pt x="164211" y="36767"/>
                      <a:pt x="164211" y="82105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91" name="Gráfico 2">
              <a:extLst>
                <a:ext uri="{FF2B5EF4-FFF2-40B4-BE49-F238E27FC236}">
                  <a16:creationId xmlns:a16="http://schemas.microsoft.com/office/drawing/2014/main" id="{2979AE86-6798-B5B2-97B8-A640820133C8}"/>
                </a:ext>
              </a:extLst>
            </p:cNvPr>
            <p:cNvGrpSpPr/>
            <p:nvPr/>
          </p:nvGrpSpPr>
          <p:grpSpPr>
            <a:xfrm>
              <a:off x="857621" y="1656587"/>
              <a:ext cx="233505" cy="51911"/>
              <a:chOff x="857621" y="1656587"/>
              <a:chExt cx="233505" cy="51911"/>
            </a:xfrm>
          </p:grpSpPr>
          <p:sp>
            <p:nvSpPr>
              <p:cNvPr id="92" name="Forma livre: Forma 91">
                <a:extLst>
                  <a:ext uri="{FF2B5EF4-FFF2-40B4-BE49-F238E27FC236}">
                    <a16:creationId xmlns:a16="http://schemas.microsoft.com/office/drawing/2014/main" id="{2ED2B730-B124-5E5C-A7F2-63D01CB2E2D3}"/>
                  </a:ext>
                </a:extLst>
              </p:cNvPr>
              <p:cNvSpPr/>
              <p:nvPr/>
            </p:nvSpPr>
            <p:spPr>
              <a:xfrm>
                <a:off x="857621" y="1656587"/>
                <a:ext cx="4762" cy="51911"/>
              </a:xfrm>
              <a:custGeom>
                <a:avLst/>
                <a:gdLst>
                  <a:gd name="connsiteX0" fmla="*/ 0 w 4762"/>
                  <a:gd name="connsiteY0" fmla="*/ 0 h 51911"/>
                  <a:gd name="connsiteX1" fmla="*/ 0 w 4762"/>
                  <a:gd name="connsiteY1" fmla="*/ 51911 h 519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62" h="51911">
                    <a:moveTo>
                      <a:pt x="0" y="0"/>
                    </a:moveTo>
                    <a:lnTo>
                      <a:pt x="0" y="51911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3" name="Forma livre: Forma 92">
                <a:extLst>
                  <a:ext uri="{FF2B5EF4-FFF2-40B4-BE49-F238E27FC236}">
                    <a16:creationId xmlns:a16="http://schemas.microsoft.com/office/drawing/2014/main" id="{133F6425-246C-3789-099A-1D023C6708D0}"/>
                  </a:ext>
                </a:extLst>
              </p:cNvPr>
              <p:cNvSpPr/>
              <p:nvPr/>
            </p:nvSpPr>
            <p:spPr>
              <a:xfrm>
                <a:off x="1091127" y="1656587"/>
                <a:ext cx="4762" cy="51911"/>
              </a:xfrm>
              <a:custGeom>
                <a:avLst/>
                <a:gdLst>
                  <a:gd name="connsiteX0" fmla="*/ 0 w 4762"/>
                  <a:gd name="connsiteY0" fmla="*/ 0 h 51911"/>
                  <a:gd name="connsiteX1" fmla="*/ 0 w 4762"/>
                  <a:gd name="connsiteY1" fmla="*/ 51911 h 519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62" h="51911">
                    <a:moveTo>
                      <a:pt x="0" y="0"/>
                    </a:moveTo>
                    <a:lnTo>
                      <a:pt x="0" y="51911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94" name="Gráfico 2">
            <a:extLst>
              <a:ext uri="{FF2B5EF4-FFF2-40B4-BE49-F238E27FC236}">
                <a16:creationId xmlns:a16="http://schemas.microsoft.com/office/drawing/2014/main" id="{525B1970-8D4E-C088-92ED-AABBAE1DFCEC}"/>
              </a:ext>
            </a:extLst>
          </p:cNvPr>
          <p:cNvGrpSpPr/>
          <p:nvPr/>
        </p:nvGrpSpPr>
        <p:grpSpPr>
          <a:xfrm>
            <a:off x="839810" y="2049615"/>
            <a:ext cx="269091" cy="326966"/>
            <a:chOff x="839810" y="2049615"/>
            <a:chExt cx="269091" cy="326966"/>
          </a:xfrm>
          <a:noFill/>
        </p:grpSpPr>
        <p:sp>
          <p:nvSpPr>
            <p:cNvPr id="95" name="Forma livre: Forma 94">
              <a:extLst>
                <a:ext uri="{FF2B5EF4-FFF2-40B4-BE49-F238E27FC236}">
                  <a16:creationId xmlns:a16="http://schemas.microsoft.com/office/drawing/2014/main" id="{00E3DE95-34BC-A35F-60C3-577D370A97B8}"/>
                </a:ext>
              </a:extLst>
            </p:cNvPr>
            <p:cNvSpPr/>
            <p:nvPr/>
          </p:nvSpPr>
          <p:spPr>
            <a:xfrm>
              <a:off x="839810" y="2170937"/>
              <a:ext cx="246316" cy="205644"/>
            </a:xfrm>
            <a:custGeom>
              <a:avLst/>
              <a:gdLst>
                <a:gd name="connsiteX0" fmla="*/ 230934 w 246316"/>
                <a:gd name="connsiteY0" fmla="*/ 22812 h 205644"/>
                <a:gd name="connsiteX1" fmla="*/ 246317 w 246316"/>
                <a:gd name="connsiteY1" fmla="*/ 82487 h 205644"/>
                <a:gd name="connsiteX2" fmla="*/ 123158 w 246316"/>
                <a:gd name="connsiteY2" fmla="*/ 205645 h 205644"/>
                <a:gd name="connsiteX3" fmla="*/ 0 w 246316"/>
                <a:gd name="connsiteY3" fmla="*/ 82487 h 205644"/>
                <a:gd name="connsiteX4" fmla="*/ 31718 w 246316"/>
                <a:gd name="connsiteY4" fmla="*/ 0 h 2056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6316" h="205644">
                  <a:moveTo>
                    <a:pt x="230934" y="22812"/>
                  </a:moveTo>
                  <a:cubicBezTo>
                    <a:pt x="240744" y="40481"/>
                    <a:pt x="246317" y="60817"/>
                    <a:pt x="246317" y="82487"/>
                  </a:cubicBezTo>
                  <a:cubicBezTo>
                    <a:pt x="246317" y="150495"/>
                    <a:pt x="191167" y="205645"/>
                    <a:pt x="123158" y="205645"/>
                  </a:cubicBezTo>
                  <a:cubicBezTo>
                    <a:pt x="55150" y="205645"/>
                    <a:pt x="0" y="150495"/>
                    <a:pt x="0" y="82487"/>
                  </a:cubicBezTo>
                  <a:cubicBezTo>
                    <a:pt x="0" y="50768"/>
                    <a:pt x="12002" y="21812"/>
                    <a:pt x="31718" y="0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6" name="Forma livre: Forma 95">
              <a:extLst>
                <a:ext uri="{FF2B5EF4-FFF2-40B4-BE49-F238E27FC236}">
                  <a16:creationId xmlns:a16="http://schemas.microsoft.com/office/drawing/2014/main" id="{00EDE65D-7301-B817-02D4-925B240A8F41}"/>
                </a:ext>
              </a:extLst>
            </p:cNvPr>
            <p:cNvSpPr/>
            <p:nvPr/>
          </p:nvSpPr>
          <p:spPr>
            <a:xfrm>
              <a:off x="887625" y="2130313"/>
              <a:ext cx="168544" cy="42672"/>
            </a:xfrm>
            <a:custGeom>
              <a:avLst/>
              <a:gdLst>
                <a:gd name="connsiteX0" fmla="*/ 0 w 168544"/>
                <a:gd name="connsiteY0" fmla="*/ 25718 h 42672"/>
                <a:gd name="connsiteX1" fmla="*/ 75343 w 168544"/>
                <a:gd name="connsiteY1" fmla="*/ 0 h 42672"/>
                <a:gd name="connsiteX2" fmla="*/ 168545 w 168544"/>
                <a:gd name="connsiteY2" fmla="*/ 42672 h 426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8544" h="42672">
                  <a:moveTo>
                    <a:pt x="0" y="25718"/>
                  </a:moveTo>
                  <a:cubicBezTo>
                    <a:pt x="20812" y="9573"/>
                    <a:pt x="46958" y="0"/>
                    <a:pt x="75343" y="0"/>
                  </a:cubicBezTo>
                  <a:cubicBezTo>
                    <a:pt x="112586" y="0"/>
                    <a:pt x="145971" y="16526"/>
                    <a:pt x="168545" y="42672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97" name="Gráfico 2">
              <a:extLst>
                <a:ext uri="{FF2B5EF4-FFF2-40B4-BE49-F238E27FC236}">
                  <a16:creationId xmlns:a16="http://schemas.microsoft.com/office/drawing/2014/main" id="{CCDE113A-2C12-6B0F-89EB-1CD954243AFA}"/>
                </a:ext>
              </a:extLst>
            </p:cNvPr>
            <p:cNvGrpSpPr/>
            <p:nvPr/>
          </p:nvGrpSpPr>
          <p:grpSpPr>
            <a:xfrm>
              <a:off x="998196" y="2143791"/>
              <a:ext cx="86358" cy="164163"/>
              <a:chOff x="998196" y="2143791"/>
              <a:chExt cx="86358" cy="164163"/>
            </a:xfrm>
            <a:noFill/>
          </p:grpSpPr>
          <p:sp>
            <p:nvSpPr>
              <p:cNvPr id="98" name="Forma livre: Forma 97">
                <a:extLst>
                  <a:ext uri="{FF2B5EF4-FFF2-40B4-BE49-F238E27FC236}">
                    <a16:creationId xmlns:a16="http://schemas.microsoft.com/office/drawing/2014/main" id="{34FE4124-E878-F7B9-B061-A0918C9B6F3B}"/>
                  </a:ext>
                </a:extLst>
              </p:cNvPr>
              <p:cNvSpPr/>
              <p:nvPr/>
            </p:nvSpPr>
            <p:spPr>
              <a:xfrm>
                <a:off x="1000115" y="2143791"/>
                <a:ext cx="36671" cy="42576"/>
              </a:xfrm>
              <a:custGeom>
                <a:avLst/>
                <a:gdLst>
                  <a:gd name="connsiteX0" fmla="*/ 36671 w 36671"/>
                  <a:gd name="connsiteY0" fmla="*/ 39957 h 42576"/>
                  <a:gd name="connsiteX1" fmla="*/ 14049 w 36671"/>
                  <a:gd name="connsiteY1" fmla="*/ 42577 h 42576"/>
                  <a:gd name="connsiteX2" fmla="*/ 0 w 36671"/>
                  <a:gd name="connsiteY2" fmla="*/ 34766 h 42576"/>
                  <a:gd name="connsiteX3" fmla="*/ 12001 w 36671"/>
                  <a:gd name="connsiteY3" fmla="*/ 0 h 425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6671" h="42576">
                    <a:moveTo>
                      <a:pt x="36671" y="39957"/>
                    </a:moveTo>
                    <a:lnTo>
                      <a:pt x="14049" y="42577"/>
                    </a:lnTo>
                    <a:lnTo>
                      <a:pt x="0" y="34766"/>
                    </a:lnTo>
                    <a:lnTo>
                      <a:pt x="12001" y="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9" name="Forma livre: Forma 98">
                <a:extLst>
                  <a:ext uri="{FF2B5EF4-FFF2-40B4-BE49-F238E27FC236}">
                    <a16:creationId xmlns:a16="http://schemas.microsoft.com/office/drawing/2014/main" id="{872E94BE-E2E9-A0CC-2153-D14BAF3D81B0}"/>
                  </a:ext>
                </a:extLst>
              </p:cNvPr>
              <p:cNvSpPr/>
              <p:nvPr/>
            </p:nvSpPr>
            <p:spPr>
              <a:xfrm>
                <a:off x="998196" y="2209752"/>
                <a:ext cx="86358" cy="98202"/>
              </a:xfrm>
              <a:custGeom>
                <a:avLst/>
                <a:gdLst>
                  <a:gd name="connsiteX0" fmla="*/ 86359 w 86358"/>
                  <a:gd name="connsiteY0" fmla="*/ 28861 h 98202"/>
                  <a:gd name="connsiteX1" fmla="*/ 40496 w 86358"/>
                  <a:gd name="connsiteY1" fmla="*/ 98203 h 98202"/>
                  <a:gd name="connsiteX2" fmla="*/ 26684 w 86358"/>
                  <a:gd name="connsiteY2" fmla="*/ 41196 h 98202"/>
                  <a:gd name="connsiteX3" fmla="*/ 16683 w 86358"/>
                  <a:gd name="connsiteY3" fmla="*/ 41100 h 98202"/>
                  <a:gd name="connsiteX4" fmla="*/ 11825 w 86358"/>
                  <a:gd name="connsiteY4" fmla="*/ 3572 h 98202"/>
                  <a:gd name="connsiteX5" fmla="*/ 41448 w 86358"/>
                  <a:gd name="connsiteY5" fmla="*/ 0 h 982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86358" h="98202">
                    <a:moveTo>
                      <a:pt x="86359" y="28861"/>
                    </a:moveTo>
                    <a:lnTo>
                      <a:pt x="40496" y="98203"/>
                    </a:lnTo>
                    <a:lnTo>
                      <a:pt x="26684" y="41196"/>
                    </a:lnTo>
                    <a:lnTo>
                      <a:pt x="16683" y="41100"/>
                    </a:lnTo>
                    <a:cubicBezTo>
                      <a:pt x="16683" y="41100"/>
                      <a:pt x="-17369" y="28337"/>
                      <a:pt x="11825" y="3572"/>
                    </a:cubicBezTo>
                    <a:lnTo>
                      <a:pt x="41448" y="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00" name="Gráfico 2">
              <a:extLst>
                <a:ext uri="{FF2B5EF4-FFF2-40B4-BE49-F238E27FC236}">
                  <a16:creationId xmlns:a16="http://schemas.microsoft.com/office/drawing/2014/main" id="{47E55AFE-1C39-479F-3502-B851716D46B3}"/>
                </a:ext>
              </a:extLst>
            </p:cNvPr>
            <p:cNvGrpSpPr/>
            <p:nvPr/>
          </p:nvGrpSpPr>
          <p:grpSpPr>
            <a:xfrm>
              <a:off x="847530" y="2086646"/>
              <a:ext cx="47524" cy="86005"/>
              <a:chOff x="847530" y="2086646"/>
              <a:chExt cx="47524" cy="86005"/>
            </a:xfrm>
            <a:noFill/>
          </p:grpSpPr>
          <p:sp>
            <p:nvSpPr>
              <p:cNvPr id="101" name="Forma livre: Forma 100">
                <a:extLst>
                  <a:ext uri="{FF2B5EF4-FFF2-40B4-BE49-F238E27FC236}">
                    <a16:creationId xmlns:a16="http://schemas.microsoft.com/office/drawing/2014/main" id="{2217DB77-5FD8-BF8B-2730-48DB05AFE7C8}"/>
                  </a:ext>
                </a:extLst>
              </p:cNvPr>
              <p:cNvSpPr/>
              <p:nvPr/>
            </p:nvSpPr>
            <p:spPr>
              <a:xfrm>
                <a:off x="847530" y="2086646"/>
                <a:ext cx="35422" cy="35422"/>
              </a:xfrm>
              <a:custGeom>
                <a:avLst/>
                <a:gdLst>
                  <a:gd name="connsiteX0" fmla="*/ 33951 w 35422"/>
                  <a:gd name="connsiteY0" fmla="*/ 10663 h 35422"/>
                  <a:gd name="connsiteX1" fmla="*/ 24760 w 35422"/>
                  <a:gd name="connsiteY1" fmla="*/ 33951 h 35422"/>
                  <a:gd name="connsiteX2" fmla="*/ 1471 w 35422"/>
                  <a:gd name="connsiteY2" fmla="*/ 24760 h 35422"/>
                  <a:gd name="connsiteX3" fmla="*/ 10663 w 35422"/>
                  <a:gd name="connsiteY3" fmla="*/ 1471 h 35422"/>
                  <a:gd name="connsiteX4" fmla="*/ 33951 w 35422"/>
                  <a:gd name="connsiteY4" fmla="*/ 10663 h 354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5422" h="35422">
                    <a:moveTo>
                      <a:pt x="33951" y="10663"/>
                    </a:moveTo>
                    <a:cubicBezTo>
                      <a:pt x="37857" y="19616"/>
                      <a:pt x="33713" y="30046"/>
                      <a:pt x="24760" y="33951"/>
                    </a:cubicBezTo>
                    <a:cubicBezTo>
                      <a:pt x="15806" y="37857"/>
                      <a:pt x="5376" y="33713"/>
                      <a:pt x="1471" y="24760"/>
                    </a:cubicBezTo>
                    <a:cubicBezTo>
                      <a:pt x="-2434" y="15806"/>
                      <a:pt x="1709" y="5376"/>
                      <a:pt x="10663" y="1471"/>
                    </a:cubicBezTo>
                    <a:cubicBezTo>
                      <a:pt x="19616" y="-2434"/>
                      <a:pt x="30046" y="1709"/>
                      <a:pt x="33951" y="10663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02" name="Forma livre: Forma 101">
                <a:extLst>
                  <a:ext uri="{FF2B5EF4-FFF2-40B4-BE49-F238E27FC236}">
                    <a16:creationId xmlns:a16="http://schemas.microsoft.com/office/drawing/2014/main" id="{C49C1231-F40A-AAA6-17FB-96B1A6884014}"/>
                  </a:ext>
                </a:extLst>
              </p:cNvPr>
              <p:cNvSpPr/>
              <p:nvPr/>
            </p:nvSpPr>
            <p:spPr>
              <a:xfrm>
                <a:off x="872290" y="2120550"/>
                <a:ext cx="22764" cy="52101"/>
              </a:xfrm>
              <a:custGeom>
                <a:avLst/>
                <a:gdLst>
                  <a:gd name="connsiteX0" fmla="*/ 0 w 22764"/>
                  <a:gd name="connsiteY0" fmla="*/ 0 h 52101"/>
                  <a:gd name="connsiteX1" fmla="*/ 22765 w 22764"/>
                  <a:gd name="connsiteY1" fmla="*/ 52102 h 521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2764" h="52101">
                    <a:moveTo>
                      <a:pt x="0" y="0"/>
                    </a:moveTo>
                    <a:lnTo>
                      <a:pt x="22765" y="52102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03" name="Gráfico 2">
              <a:extLst>
                <a:ext uri="{FF2B5EF4-FFF2-40B4-BE49-F238E27FC236}">
                  <a16:creationId xmlns:a16="http://schemas.microsoft.com/office/drawing/2014/main" id="{D5F2C852-473E-349C-289B-C3310B3F0725}"/>
                </a:ext>
              </a:extLst>
            </p:cNvPr>
            <p:cNvGrpSpPr/>
            <p:nvPr/>
          </p:nvGrpSpPr>
          <p:grpSpPr>
            <a:xfrm>
              <a:off x="972947" y="2049615"/>
              <a:ext cx="35380" cy="80269"/>
              <a:chOff x="972947" y="2049615"/>
              <a:chExt cx="35380" cy="80269"/>
            </a:xfrm>
            <a:noFill/>
          </p:grpSpPr>
          <p:sp>
            <p:nvSpPr>
              <p:cNvPr id="104" name="Forma livre: Forma 103">
                <a:extLst>
                  <a:ext uri="{FF2B5EF4-FFF2-40B4-BE49-F238E27FC236}">
                    <a16:creationId xmlns:a16="http://schemas.microsoft.com/office/drawing/2014/main" id="{E68AB78E-E248-3012-6FE0-DD2D777A33AD}"/>
                  </a:ext>
                </a:extLst>
              </p:cNvPr>
              <p:cNvSpPr/>
              <p:nvPr/>
            </p:nvSpPr>
            <p:spPr>
              <a:xfrm>
                <a:off x="972947" y="2049615"/>
                <a:ext cx="35380" cy="35380"/>
              </a:xfrm>
              <a:custGeom>
                <a:avLst/>
                <a:gdLst>
                  <a:gd name="connsiteX0" fmla="*/ 35312 w 35380"/>
                  <a:gd name="connsiteY0" fmla="*/ 19214 h 35380"/>
                  <a:gd name="connsiteX1" fmla="*/ 16167 w 35380"/>
                  <a:gd name="connsiteY1" fmla="*/ 35311 h 35380"/>
                  <a:gd name="connsiteX2" fmla="*/ 69 w 35380"/>
                  <a:gd name="connsiteY2" fmla="*/ 16166 h 35380"/>
                  <a:gd name="connsiteX3" fmla="*/ 19215 w 35380"/>
                  <a:gd name="connsiteY3" fmla="*/ 69 h 35380"/>
                  <a:gd name="connsiteX4" fmla="*/ 35312 w 35380"/>
                  <a:gd name="connsiteY4" fmla="*/ 19214 h 353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5380" h="35380">
                    <a:moveTo>
                      <a:pt x="35312" y="19214"/>
                    </a:moveTo>
                    <a:cubicBezTo>
                      <a:pt x="34455" y="28930"/>
                      <a:pt x="25882" y="36169"/>
                      <a:pt x="16167" y="35311"/>
                    </a:cubicBezTo>
                    <a:cubicBezTo>
                      <a:pt x="6403" y="34454"/>
                      <a:pt x="-788" y="25882"/>
                      <a:pt x="69" y="16166"/>
                    </a:cubicBezTo>
                    <a:cubicBezTo>
                      <a:pt x="927" y="6451"/>
                      <a:pt x="9499" y="-788"/>
                      <a:pt x="19215" y="69"/>
                    </a:cubicBezTo>
                    <a:cubicBezTo>
                      <a:pt x="28930" y="926"/>
                      <a:pt x="36169" y="9499"/>
                      <a:pt x="35312" y="19214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05" name="Forma livre: Forma 104">
                <a:extLst>
                  <a:ext uri="{FF2B5EF4-FFF2-40B4-BE49-F238E27FC236}">
                    <a16:creationId xmlns:a16="http://schemas.microsoft.com/office/drawing/2014/main" id="{CC313B50-816E-C6B7-4B39-5F447AECA5DD}"/>
                  </a:ext>
                </a:extLst>
              </p:cNvPr>
              <p:cNvSpPr/>
              <p:nvPr/>
            </p:nvSpPr>
            <p:spPr>
              <a:xfrm>
                <a:off x="984304" y="2084926"/>
                <a:ext cx="4762" cy="44958"/>
              </a:xfrm>
              <a:custGeom>
                <a:avLst/>
                <a:gdLst>
                  <a:gd name="connsiteX0" fmla="*/ 4763 w 4762"/>
                  <a:gd name="connsiteY0" fmla="*/ 0 h 44958"/>
                  <a:gd name="connsiteX1" fmla="*/ 0 w 4762"/>
                  <a:gd name="connsiteY1" fmla="*/ 44958 h 449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62" h="44958">
                    <a:moveTo>
                      <a:pt x="4763" y="0"/>
                    </a:moveTo>
                    <a:lnTo>
                      <a:pt x="0" y="44958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06" name="Gráfico 2">
              <a:extLst>
                <a:ext uri="{FF2B5EF4-FFF2-40B4-BE49-F238E27FC236}">
                  <a16:creationId xmlns:a16="http://schemas.microsoft.com/office/drawing/2014/main" id="{0B1FA78D-450E-0757-F868-2EA847626722}"/>
                </a:ext>
              </a:extLst>
            </p:cNvPr>
            <p:cNvGrpSpPr/>
            <p:nvPr/>
          </p:nvGrpSpPr>
          <p:grpSpPr>
            <a:xfrm>
              <a:off x="927964" y="2177873"/>
              <a:ext cx="47737" cy="74740"/>
              <a:chOff x="927964" y="2177873"/>
              <a:chExt cx="47737" cy="74740"/>
            </a:xfrm>
            <a:noFill/>
          </p:grpSpPr>
          <p:sp>
            <p:nvSpPr>
              <p:cNvPr id="107" name="Forma livre: Forma 106">
                <a:extLst>
                  <a:ext uri="{FF2B5EF4-FFF2-40B4-BE49-F238E27FC236}">
                    <a16:creationId xmlns:a16="http://schemas.microsoft.com/office/drawing/2014/main" id="{1B56E88A-6425-984A-BC5B-35E56C0DE971}"/>
                  </a:ext>
                </a:extLst>
              </p:cNvPr>
              <p:cNvSpPr/>
              <p:nvPr/>
            </p:nvSpPr>
            <p:spPr>
              <a:xfrm>
                <a:off x="940329" y="2177873"/>
                <a:ext cx="35371" cy="35371"/>
              </a:xfrm>
              <a:custGeom>
                <a:avLst/>
                <a:gdLst>
                  <a:gd name="connsiteX0" fmla="*/ 33736 w 35371"/>
                  <a:gd name="connsiteY0" fmla="*/ 25115 h 35371"/>
                  <a:gd name="connsiteX1" fmla="*/ 10256 w 35371"/>
                  <a:gd name="connsiteY1" fmla="*/ 33736 h 35371"/>
                  <a:gd name="connsiteX2" fmla="*/ 1636 w 35371"/>
                  <a:gd name="connsiteY2" fmla="*/ 10256 h 35371"/>
                  <a:gd name="connsiteX3" fmla="*/ 25115 w 35371"/>
                  <a:gd name="connsiteY3" fmla="*/ 1636 h 35371"/>
                  <a:gd name="connsiteX4" fmla="*/ 33736 w 35371"/>
                  <a:gd name="connsiteY4" fmla="*/ 25115 h 353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5371" h="35371">
                    <a:moveTo>
                      <a:pt x="33736" y="25115"/>
                    </a:moveTo>
                    <a:cubicBezTo>
                      <a:pt x="29640" y="33974"/>
                      <a:pt x="19115" y="37831"/>
                      <a:pt x="10256" y="33736"/>
                    </a:cubicBezTo>
                    <a:cubicBezTo>
                      <a:pt x="1398" y="29640"/>
                      <a:pt x="-2459" y="19115"/>
                      <a:pt x="1636" y="10256"/>
                    </a:cubicBezTo>
                    <a:cubicBezTo>
                      <a:pt x="5732" y="1398"/>
                      <a:pt x="16257" y="-2459"/>
                      <a:pt x="25115" y="1636"/>
                    </a:cubicBezTo>
                    <a:cubicBezTo>
                      <a:pt x="33974" y="5732"/>
                      <a:pt x="37831" y="16257"/>
                      <a:pt x="33736" y="25115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08" name="Forma livre: Forma 107">
                <a:extLst>
                  <a:ext uri="{FF2B5EF4-FFF2-40B4-BE49-F238E27FC236}">
                    <a16:creationId xmlns:a16="http://schemas.microsoft.com/office/drawing/2014/main" id="{D9205FE5-A03C-E1A7-D8CE-80E78CDA946B}"/>
                  </a:ext>
                </a:extLst>
              </p:cNvPr>
              <p:cNvSpPr/>
              <p:nvPr/>
            </p:nvSpPr>
            <p:spPr>
              <a:xfrm>
                <a:off x="927964" y="2211657"/>
                <a:ext cx="22621" cy="40957"/>
              </a:xfrm>
              <a:custGeom>
                <a:avLst/>
                <a:gdLst>
                  <a:gd name="connsiteX0" fmla="*/ 22622 w 22621"/>
                  <a:gd name="connsiteY0" fmla="*/ 0 h 40957"/>
                  <a:gd name="connsiteX1" fmla="*/ 0 w 22621"/>
                  <a:gd name="connsiteY1" fmla="*/ 40957 h 409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2621" h="40957">
                    <a:moveTo>
                      <a:pt x="22622" y="0"/>
                    </a:moveTo>
                    <a:lnTo>
                      <a:pt x="0" y="40957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09" name="Gráfico 2">
              <a:extLst>
                <a:ext uri="{FF2B5EF4-FFF2-40B4-BE49-F238E27FC236}">
                  <a16:creationId xmlns:a16="http://schemas.microsoft.com/office/drawing/2014/main" id="{AF6DD7DB-D587-29F3-3134-8F47A23D29A7}"/>
                </a:ext>
              </a:extLst>
            </p:cNvPr>
            <p:cNvGrpSpPr/>
            <p:nvPr/>
          </p:nvGrpSpPr>
          <p:grpSpPr>
            <a:xfrm>
              <a:off x="1055027" y="2130255"/>
              <a:ext cx="53874" cy="97260"/>
              <a:chOff x="1055027" y="2130255"/>
              <a:chExt cx="53874" cy="97260"/>
            </a:xfrm>
            <a:noFill/>
          </p:grpSpPr>
          <p:sp>
            <p:nvSpPr>
              <p:cNvPr id="110" name="Forma livre: Forma 109">
                <a:extLst>
                  <a:ext uri="{FF2B5EF4-FFF2-40B4-BE49-F238E27FC236}">
                    <a16:creationId xmlns:a16="http://schemas.microsoft.com/office/drawing/2014/main" id="{709353DD-28E1-4E8E-0302-942A923E622A}"/>
                  </a:ext>
                </a:extLst>
              </p:cNvPr>
              <p:cNvSpPr/>
              <p:nvPr/>
            </p:nvSpPr>
            <p:spPr>
              <a:xfrm>
                <a:off x="1055027" y="2164365"/>
                <a:ext cx="29527" cy="63150"/>
              </a:xfrm>
              <a:custGeom>
                <a:avLst/>
                <a:gdLst>
                  <a:gd name="connsiteX0" fmla="*/ 29528 w 29527"/>
                  <a:gd name="connsiteY0" fmla="*/ 0 h 63150"/>
                  <a:gd name="connsiteX1" fmla="*/ 0 w 29527"/>
                  <a:gd name="connsiteY1" fmla="*/ 63151 h 63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9527" h="63150">
                    <a:moveTo>
                      <a:pt x="29528" y="0"/>
                    </a:moveTo>
                    <a:lnTo>
                      <a:pt x="0" y="63151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11" name="Forma livre: Forma 110">
                <a:extLst>
                  <a:ext uri="{FF2B5EF4-FFF2-40B4-BE49-F238E27FC236}">
                    <a16:creationId xmlns:a16="http://schemas.microsoft.com/office/drawing/2014/main" id="{56700C43-8785-7CAE-3654-20FA8A882160}"/>
                  </a:ext>
                </a:extLst>
              </p:cNvPr>
              <p:cNvSpPr/>
              <p:nvPr/>
            </p:nvSpPr>
            <p:spPr>
              <a:xfrm>
                <a:off x="1073495" y="2130255"/>
                <a:ext cx="35406" cy="35406"/>
              </a:xfrm>
              <a:custGeom>
                <a:avLst/>
                <a:gdLst>
                  <a:gd name="connsiteX0" fmla="*/ 34110 w 35406"/>
                  <a:gd name="connsiteY0" fmla="*/ 24347 h 35406"/>
                  <a:gd name="connsiteX1" fmla="*/ 11059 w 35406"/>
                  <a:gd name="connsiteY1" fmla="*/ 34110 h 35406"/>
                  <a:gd name="connsiteX2" fmla="*/ 1296 w 35406"/>
                  <a:gd name="connsiteY2" fmla="*/ 11059 h 35406"/>
                  <a:gd name="connsiteX3" fmla="*/ 24347 w 35406"/>
                  <a:gd name="connsiteY3" fmla="*/ 1296 h 35406"/>
                  <a:gd name="connsiteX4" fmla="*/ 34110 w 35406"/>
                  <a:gd name="connsiteY4" fmla="*/ 24347 h 354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5406" h="35406">
                    <a:moveTo>
                      <a:pt x="34110" y="24347"/>
                    </a:moveTo>
                    <a:cubicBezTo>
                      <a:pt x="30443" y="33395"/>
                      <a:pt x="20108" y="37777"/>
                      <a:pt x="11059" y="34110"/>
                    </a:cubicBezTo>
                    <a:cubicBezTo>
                      <a:pt x="2011" y="30443"/>
                      <a:pt x="-2371" y="20156"/>
                      <a:pt x="1296" y="11059"/>
                    </a:cubicBezTo>
                    <a:cubicBezTo>
                      <a:pt x="4963" y="2011"/>
                      <a:pt x="15298" y="-2371"/>
                      <a:pt x="24347" y="1296"/>
                    </a:cubicBezTo>
                    <a:cubicBezTo>
                      <a:pt x="33396" y="4963"/>
                      <a:pt x="37777" y="15250"/>
                      <a:pt x="34110" y="24347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12" name="Forma livre: Forma 111">
              <a:extLst>
                <a:ext uri="{FF2B5EF4-FFF2-40B4-BE49-F238E27FC236}">
                  <a16:creationId xmlns:a16="http://schemas.microsoft.com/office/drawing/2014/main" id="{BFE57CE4-38D5-9CD1-8804-2EB551BEFF85}"/>
                </a:ext>
              </a:extLst>
            </p:cNvPr>
            <p:cNvSpPr/>
            <p:nvPr/>
          </p:nvSpPr>
          <p:spPr>
            <a:xfrm>
              <a:off x="884006" y="2142410"/>
              <a:ext cx="34528" cy="90439"/>
            </a:xfrm>
            <a:custGeom>
              <a:avLst/>
              <a:gdLst>
                <a:gd name="connsiteX0" fmla="*/ 31766 w 34528"/>
                <a:gd name="connsiteY0" fmla="*/ 88916 h 90439"/>
                <a:gd name="connsiteX1" fmla="*/ 2762 w 34528"/>
                <a:gd name="connsiteY1" fmla="*/ 90440 h 90439"/>
                <a:gd name="connsiteX2" fmla="*/ 0 w 34528"/>
                <a:gd name="connsiteY2" fmla="*/ 68342 h 90439"/>
                <a:gd name="connsiteX3" fmla="*/ 34528 w 34528"/>
                <a:gd name="connsiteY3" fmla="*/ 44863 h 90439"/>
                <a:gd name="connsiteX4" fmla="*/ 33147 w 34528"/>
                <a:gd name="connsiteY4" fmla="*/ 0 h 904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528" h="90439">
                  <a:moveTo>
                    <a:pt x="31766" y="88916"/>
                  </a:moveTo>
                  <a:lnTo>
                    <a:pt x="2762" y="90440"/>
                  </a:lnTo>
                  <a:lnTo>
                    <a:pt x="0" y="68342"/>
                  </a:lnTo>
                  <a:lnTo>
                    <a:pt x="34528" y="44863"/>
                  </a:lnTo>
                  <a:lnTo>
                    <a:pt x="33147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3" name="Forma livre: Forma 112">
              <a:extLst>
                <a:ext uri="{FF2B5EF4-FFF2-40B4-BE49-F238E27FC236}">
                  <a16:creationId xmlns:a16="http://schemas.microsoft.com/office/drawing/2014/main" id="{07AFB2D5-927A-7A86-B13F-309EB4915580}"/>
                </a:ext>
              </a:extLst>
            </p:cNvPr>
            <p:cNvSpPr/>
            <p:nvPr/>
          </p:nvSpPr>
          <p:spPr>
            <a:xfrm>
              <a:off x="852668" y="2201370"/>
              <a:ext cx="102489" cy="123539"/>
            </a:xfrm>
            <a:custGeom>
              <a:avLst/>
              <a:gdLst>
                <a:gd name="connsiteX0" fmla="*/ 0 w 102489"/>
                <a:gd name="connsiteY0" fmla="*/ 0 h 123539"/>
                <a:gd name="connsiteX1" fmla="*/ 34100 w 102489"/>
                <a:gd name="connsiteY1" fmla="*/ 33528 h 123539"/>
                <a:gd name="connsiteX2" fmla="*/ 28575 w 102489"/>
                <a:gd name="connsiteY2" fmla="*/ 62532 h 123539"/>
                <a:gd name="connsiteX3" fmla="*/ 48578 w 102489"/>
                <a:gd name="connsiteY3" fmla="*/ 74295 h 123539"/>
                <a:gd name="connsiteX4" fmla="*/ 62627 w 102489"/>
                <a:gd name="connsiteY4" fmla="*/ 123539 h 123539"/>
                <a:gd name="connsiteX5" fmla="*/ 102489 w 102489"/>
                <a:gd name="connsiteY5" fmla="*/ 50816 h 123539"/>
                <a:gd name="connsiteX6" fmla="*/ 81486 w 102489"/>
                <a:gd name="connsiteY6" fmla="*/ 40005 h 1235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2489" h="123539">
                  <a:moveTo>
                    <a:pt x="0" y="0"/>
                  </a:moveTo>
                  <a:lnTo>
                    <a:pt x="34100" y="33528"/>
                  </a:lnTo>
                  <a:lnTo>
                    <a:pt x="28575" y="62532"/>
                  </a:lnTo>
                  <a:lnTo>
                    <a:pt x="48578" y="74295"/>
                  </a:lnTo>
                  <a:lnTo>
                    <a:pt x="62627" y="123539"/>
                  </a:lnTo>
                  <a:lnTo>
                    <a:pt x="102489" y="50816"/>
                  </a:lnTo>
                  <a:lnTo>
                    <a:pt x="81486" y="40005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14" name="Gráfico 2">
            <a:extLst>
              <a:ext uri="{FF2B5EF4-FFF2-40B4-BE49-F238E27FC236}">
                <a16:creationId xmlns:a16="http://schemas.microsoft.com/office/drawing/2014/main" id="{937B298E-D93A-A6F7-EDE5-AB12621066AD}"/>
              </a:ext>
            </a:extLst>
          </p:cNvPr>
          <p:cNvGrpSpPr/>
          <p:nvPr/>
        </p:nvGrpSpPr>
        <p:grpSpPr>
          <a:xfrm>
            <a:off x="2053390" y="2590323"/>
            <a:ext cx="322836" cy="306752"/>
            <a:chOff x="2053390" y="2590323"/>
            <a:chExt cx="322836" cy="306752"/>
          </a:xfrm>
          <a:noFill/>
        </p:grpSpPr>
        <p:sp>
          <p:nvSpPr>
            <p:cNvPr id="115" name="Forma livre: Forma 114">
              <a:extLst>
                <a:ext uri="{FF2B5EF4-FFF2-40B4-BE49-F238E27FC236}">
                  <a16:creationId xmlns:a16="http://schemas.microsoft.com/office/drawing/2014/main" id="{A0AFCC46-730A-09DD-995F-EA6CFF4910E3}"/>
                </a:ext>
              </a:extLst>
            </p:cNvPr>
            <p:cNvSpPr/>
            <p:nvPr/>
          </p:nvSpPr>
          <p:spPr>
            <a:xfrm>
              <a:off x="2119684" y="2590323"/>
              <a:ext cx="211216" cy="168592"/>
            </a:xfrm>
            <a:custGeom>
              <a:avLst/>
              <a:gdLst>
                <a:gd name="connsiteX0" fmla="*/ 18717 w 211216"/>
                <a:gd name="connsiteY0" fmla="*/ 165592 h 168592"/>
                <a:gd name="connsiteX1" fmla="*/ 0 w 211216"/>
                <a:gd name="connsiteY1" fmla="*/ 105585 h 168592"/>
                <a:gd name="connsiteX2" fmla="*/ 105585 w 211216"/>
                <a:gd name="connsiteY2" fmla="*/ 0 h 168592"/>
                <a:gd name="connsiteX3" fmla="*/ 211217 w 211216"/>
                <a:gd name="connsiteY3" fmla="*/ 105585 h 168592"/>
                <a:gd name="connsiteX4" fmla="*/ 190357 w 211216"/>
                <a:gd name="connsiteY4" fmla="*/ 168593 h 1685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11216" h="168592">
                  <a:moveTo>
                    <a:pt x="18717" y="165592"/>
                  </a:moveTo>
                  <a:cubicBezTo>
                    <a:pt x="6906" y="148542"/>
                    <a:pt x="0" y="127873"/>
                    <a:pt x="0" y="105585"/>
                  </a:cubicBezTo>
                  <a:cubicBezTo>
                    <a:pt x="0" y="47244"/>
                    <a:pt x="47292" y="0"/>
                    <a:pt x="105585" y="0"/>
                  </a:cubicBezTo>
                  <a:cubicBezTo>
                    <a:pt x="163878" y="0"/>
                    <a:pt x="211217" y="47292"/>
                    <a:pt x="211217" y="105585"/>
                  </a:cubicBezTo>
                  <a:cubicBezTo>
                    <a:pt x="211217" y="129207"/>
                    <a:pt x="203454" y="150971"/>
                    <a:pt x="190357" y="168593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6" name="Forma livre: Forma 115">
              <a:extLst>
                <a:ext uri="{FF2B5EF4-FFF2-40B4-BE49-F238E27FC236}">
                  <a16:creationId xmlns:a16="http://schemas.microsoft.com/office/drawing/2014/main" id="{632B2890-A926-ABE1-B811-2A255002DE23}"/>
                </a:ext>
              </a:extLst>
            </p:cNvPr>
            <p:cNvSpPr/>
            <p:nvPr/>
          </p:nvSpPr>
          <p:spPr>
            <a:xfrm>
              <a:off x="2131686" y="2599658"/>
              <a:ext cx="88344" cy="157353"/>
            </a:xfrm>
            <a:custGeom>
              <a:avLst/>
              <a:gdLst>
                <a:gd name="connsiteX0" fmla="*/ 0 w 88344"/>
                <a:gd name="connsiteY0" fmla="*/ 50864 h 157353"/>
                <a:gd name="connsiteX1" fmla="*/ 29385 w 88344"/>
                <a:gd name="connsiteY1" fmla="*/ 79772 h 157353"/>
                <a:gd name="connsiteX2" fmla="*/ 24622 w 88344"/>
                <a:gd name="connsiteY2" fmla="*/ 104775 h 157353"/>
                <a:gd name="connsiteX3" fmla="*/ 41910 w 88344"/>
                <a:gd name="connsiteY3" fmla="*/ 114872 h 157353"/>
                <a:gd name="connsiteX4" fmla="*/ 54007 w 88344"/>
                <a:gd name="connsiteY4" fmla="*/ 157353 h 157353"/>
                <a:gd name="connsiteX5" fmla="*/ 88344 w 88344"/>
                <a:gd name="connsiteY5" fmla="*/ 94631 h 157353"/>
                <a:gd name="connsiteX6" fmla="*/ 52626 w 88344"/>
                <a:gd name="connsiteY6" fmla="*/ 76200 h 157353"/>
                <a:gd name="connsiteX7" fmla="*/ 29385 w 88344"/>
                <a:gd name="connsiteY7" fmla="*/ 77962 h 157353"/>
                <a:gd name="connsiteX8" fmla="*/ 27003 w 88344"/>
                <a:gd name="connsiteY8" fmla="*/ 58912 h 157353"/>
                <a:gd name="connsiteX9" fmla="*/ 56769 w 88344"/>
                <a:gd name="connsiteY9" fmla="*/ 38672 h 157353"/>
                <a:gd name="connsiteX10" fmla="*/ 55578 w 88344"/>
                <a:gd name="connsiteY10" fmla="*/ 0 h 1573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8344" h="157353">
                  <a:moveTo>
                    <a:pt x="0" y="50864"/>
                  </a:moveTo>
                  <a:lnTo>
                    <a:pt x="29385" y="79772"/>
                  </a:lnTo>
                  <a:lnTo>
                    <a:pt x="24622" y="104775"/>
                  </a:lnTo>
                  <a:lnTo>
                    <a:pt x="41910" y="114872"/>
                  </a:lnTo>
                  <a:lnTo>
                    <a:pt x="54007" y="157353"/>
                  </a:lnTo>
                  <a:lnTo>
                    <a:pt x="88344" y="94631"/>
                  </a:lnTo>
                  <a:lnTo>
                    <a:pt x="52626" y="76200"/>
                  </a:lnTo>
                  <a:lnTo>
                    <a:pt x="29385" y="77962"/>
                  </a:lnTo>
                  <a:lnTo>
                    <a:pt x="27003" y="58912"/>
                  </a:lnTo>
                  <a:lnTo>
                    <a:pt x="56769" y="38672"/>
                  </a:lnTo>
                  <a:lnTo>
                    <a:pt x="55578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7" name="Forma livre: Forma 116">
              <a:extLst>
                <a:ext uri="{FF2B5EF4-FFF2-40B4-BE49-F238E27FC236}">
                  <a16:creationId xmlns:a16="http://schemas.microsoft.com/office/drawing/2014/main" id="{E84F16D3-150B-DF71-3624-107B3F2CB6E9}"/>
                </a:ext>
              </a:extLst>
            </p:cNvPr>
            <p:cNvSpPr/>
            <p:nvPr/>
          </p:nvSpPr>
          <p:spPr>
            <a:xfrm>
              <a:off x="2256381" y="2601467"/>
              <a:ext cx="72615" cy="134112"/>
            </a:xfrm>
            <a:custGeom>
              <a:avLst/>
              <a:gdLst>
                <a:gd name="connsiteX0" fmla="*/ 72615 w 72615"/>
                <a:gd name="connsiteY0" fmla="*/ 81582 h 134112"/>
                <a:gd name="connsiteX1" fmla="*/ 47422 w 72615"/>
                <a:gd name="connsiteY1" fmla="*/ 118348 h 134112"/>
                <a:gd name="connsiteX2" fmla="*/ 36706 w 72615"/>
                <a:gd name="connsiteY2" fmla="*/ 134112 h 134112"/>
                <a:gd name="connsiteX3" fmla="*/ 26276 w 72615"/>
                <a:gd name="connsiteY3" fmla="*/ 90488 h 134112"/>
                <a:gd name="connsiteX4" fmla="*/ 14275 w 72615"/>
                <a:gd name="connsiteY4" fmla="*/ 89916 h 134112"/>
                <a:gd name="connsiteX5" fmla="*/ 10131 w 72615"/>
                <a:gd name="connsiteY5" fmla="*/ 58388 h 134112"/>
                <a:gd name="connsiteX6" fmla="*/ 40469 w 72615"/>
                <a:gd name="connsiteY6" fmla="*/ 54816 h 134112"/>
                <a:gd name="connsiteX7" fmla="*/ 52375 w 72615"/>
                <a:gd name="connsiteY7" fmla="*/ 31575 h 134112"/>
                <a:gd name="connsiteX8" fmla="*/ 13703 w 72615"/>
                <a:gd name="connsiteY8" fmla="*/ 35766 h 134112"/>
                <a:gd name="connsiteX9" fmla="*/ 3083 w 72615"/>
                <a:gd name="connsiteY9" fmla="*/ 29194 h 134112"/>
                <a:gd name="connsiteX10" fmla="*/ 13465 w 72615"/>
                <a:gd name="connsiteY10" fmla="*/ 0 h 1341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2615" h="134112">
                  <a:moveTo>
                    <a:pt x="72615" y="81582"/>
                  </a:moveTo>
                  <a:lnTo>
                    <a:pt x="47422" y="118348"/>
                  </a:lnTo>
                  <a:lnTo>
                    <a:pt x="36706" y="134112"/>
                  </a:lnTo>
                  <a:lnTo>
                    <a:pt x="26276" y="90488"/>
                  </a:lnTo>
                  <a:lnTo>
                    <a:pt x="14275" y="89916"/>
                  </a:lnTo>
                  <a:cubicBezTo>
                    <a:pt x="14275" y="89916"/>
                    <a:pt x="-14872" y="79200"/>
                    <a:pt x="10131" y="58388"/>
                  </a:cubicBezTo>
                  <a:lnTo>
                    <a:pt x="40469" y="54816"/>
                  </a:lnTo>
                  <a:lnTo>
                    <a:pt x="52375" y="31575"/>
                  </a:lnTo>
                  <a:lnTo>
                    <a:pt x="13703" y="35766"/>
                  </a:lnTo>
                  <a:lnTo>
                    <a:pt x="3083" y="29194"/>
                  </a:lnTo>
                  <a:lnTo>
                    <a:pt x="13465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18" name="Gráfico 2">
              <a:extLst>
                <a:ext uri="{FF2B5EF4-FFF2-40B4-BE49-F238E27FC236}">
                  <a16:creationId xmlns:a16="http://schemas.microsoft.com/office/drawing/2014/main" id="{D7FEB223-0264-5E15-462D-4700C353E33D}"/>
                </a:ext>
              </a:extLst>
            </p:cNvPr>
            <p:cNvGrpSpPr/>
            <p:nvPr/>
          </p:nvGrpSpPr>
          <p:grpSpPr>
            <a:xfrm>
              <a:off x="2053390" y="2765425"/>
              <a:ext cx="322836" cy="131650"/>
              <a:chOff x="2053390" y="2765425"/>
              <a:chExt cx="322836" cy="131650"/>
            </a:xfrm>
            <a:noFill/>
          </p:grpSpPr>
          <p:sp>
            <p:nvSpPr>
              <p:cNvPr id="119" name="Forma livre: Forma 118">
                <a:extLst>
                  <a:ext uri="{FF2B5EF4-FFF2-40B4-BE49-F238E27FC236}">
                    <a16:creationId xmlns:a16="http://schemas.microsoft.com/office/drawing/2014/main" id="{0C8B6FAF-AB45-EC38-7700-B5D71616DBDE}"/>
                  </a:ext>
                </a:extLst>
              </p:cNvPr>
              <p:cNvSpPr/>
              <p:nvPr/>
            </p:nvSpPr>
            <p:spPr>
              <a:xfrm>
                <a:off x="2093252" y="2765425"/>
                <a:ext cx="282974" cy="131650"/>
              </a:xfrm>
              <a:custGeom>
                <a:avLst/>
                <a:gdLst>
                  <a:gd name="connsiteX0" fmla="*/ 193120 w 282974"/>
                  <a:gd name="connsiteY0" fmla="*/ 32828 h 131650"/>
                  <a:gd name="connsiteX1" fmla="*/ 251032 w 282974"/>
                  <a:gd name="connsiteY1" fmla="*/ 3253 h 131650"/>
                  <a:gd name="connsiteX2" fmla="*/ 280750 w 282974"/>
                  <a:gd name="connsiteY2" fmla="*/ 9730 h 131650"/>
                  <a:gd name="connsiteX3" fmla="*/ 270224 w 282974"/>
                  <a:gd name="connsiteY3" fmla="*/ 38972 h 131650"/>
                  <a:gd name="connsiteX4" fmla="*/ 150114 w 282974"/>
                  <a:gd name="connsiteY4" fmla="*/ 103361 h 131650"/>
                  <a:gd name="connsiteX5" fmla="*/ 143780 w 282974"/>
                  <a:gd name="connsiteY5" fmla="*/ 104933 h 131650"/>
                  <a:gd name="connsiteX6" fmla="*/ 31766 w 282974"/>
                  <a:gd name="connsiteY6" fmla="*/ 107981 h 131650"/>
                  <a:gd name="connsiteX7" fmla="*/ 0 w 282974"/>
                  <a:gd name="connsiteY7" fmla="*/ 131650 h 1316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82974" h="131650">
                    <a:moveTo>
                      <a:pt x="193120" y="32828"/>
                    </a:moveTo>
                    <a:lnTo>
                      <a:pt x="251032" y="3253"/>
                    </a:lnTo>
                    <a:cubicBezTo>
                      <a:pt x="262223" y="-2748"/>
                      <a:pt x="275368" y="-366"/>
                      <a:pt x="280750" y="9730"/>
                    </a:cubicBezTo>
                    <a:cubicBezTo>
                      <a:pt x="286131" y="19827"/>
                      <a:pt x="281416" y="32971"/>
                      <a:pt x="270224" y="38972"/>
                    </a:cubicBezTo>
                    <a:lnTo>
                      <a:pt x="150114" y="103361"/>
                    </a:lnTo>
                    <a:lnTo>
                      <a:pt x="143780" y="104933"/>
                    </a:lnTo>
                    <a:lnTo>
                      <a:pt x="31766" y="107981"/>
                    </a:lnTo>
                    <a:cubicBezTo>
                      <a:pt x="31766" y="107981"/>
                      <a:pt x="17336" y="112029"/>
                      <a:pt x="0" y="131650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0" name="Forma livre: Forma 119">
                <a:extLst>
                  <a:ext uri="{FF2B5EF4-FFF2-40B4-BE49-F238E27FC236}">
                    <a16:creationId xmlns:a16="http://schemas.microsoft.com/office/drawing/2014/main" id="{FAF66819-FF2F-44EC-8687-DFA837DBB36D}"/>
                  </a:ext>
                </a:extLst>
              </p:cNvPr>
              <p:cNvSpPr/>
              <p:nvPr/>
            </p:nvSpPr>
            <p:spPr>
              <a:xfrm>
                <a:off x="2053390" y="2781331"/>
                <a:ext cx="213598" cy="56832"/>
              </a:xfrm>
              <a:custGeom>
                <a:avLst/>
                <a:gdLst>
                  <a:gd name="connsiteX0" fmla="*/ 0 w 213598"/>
                  <a:gd name="connsiteY0" fmla="*/ 56833 h 56832"/>
                  <a:gd name="connsiteX1" fmla="*/ 50816 w 213598"/>
                  <a:gd name="connsiteY1" fmla="*/ 10065 h 56832"/>
                  <a:gd name="connsiteX2" fmla="*/ 105108 w 213598"/>
                  <a:gd name="connsiteY2" fmla="*/ 2540 h 56832"/>
                  <a:gd name="connsiteX3" fmla="*/ 145828 w 213598"/>
                  <a:gd name="connsiteY3" fmla="*/ 7160 h 56832"/>
                  <a:gd name="connsiteX4" fmla="*/ 189786 w 213598"/>
                  <a:gd name="connsiteY4" fmla="*/ 7160 h 56832"/>
                  <a:gd name="connsiteX5" fmla="*/ 213598 w 213598"/>
                  <a:gd name="connsiteY5" fmla="*/ 27924 h 56832"/>
                  <a:gd name="connsiteX6" fmla="*/ 189786 w 213598"/>
                  <a:gd name="connsiteY6" fmla="*/ 48689 h 56832"/>
                  <a:gd name="connsiteX7" fmla="*/ 128969 w 213598"/>
                  <a:gd name="connsiteY7" fmla="*/ 48689 h 568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13598" h="56832">
                    <a:moveTo>
                      <a:pt x="0" y="56833"/>
                    </a:moveTo>
                    <a:lnTo>
                      <a:pt x="50816" y="10065"/>
                    </a:lnTo>
                    <a:cubicBezTo>
                      <a:pt x="75629" y="-6699"/>
                      <a:pt x="105108" y="2540"/>
                      <a:pt x="105108" y="2540"/>
                    </a:cubicBezTo>
                    <a:cubicBezTo>
                      <a:pt x="119348" y="6302"/>
                      <a:pt x="145828" y="7160"/>
                      <a:pt x="145828" y="7160"/>
                    </a:cubicBezTo>
                    <a:lnTo>
                      <a:pt x="189786" y="7160"/>
                    </a:lnTo>
                    <a:cubicBezTo>
                      <a:pt x="202883" y="7160"/>
                      <a:pt x="213598" y="16494"/>
                      <a:pt x="213598" y="27924"/>
                    </a:cubicBezTo>
                    <a:cubicBezTo>
                      <a:pt x="213598" y="39354"/>
                      <a:pt x="202883" y="48689"/>
                      <a:pt x="189786" y="48689"/>
                    </a:cubicBezTo>
                    <a:lnTo>
                      <a:pt x="128969" y="48689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21" name="Gráfico 2">
            <a:extLst>
              <a:ext uri="{FF2B5EF4-FFF2-40B4-BE49-F238E27FC236}">
                <a16:creationId xmlns:a16="http://schemas.microsoft.com/office/drawing/2014/main" id="{92382487-8C8B-CC5D-89EA-5F06A7FD7F43}"/>
              </a:ext>
            </a:extLst>
          </p:cNvPr>
          <p:cNvGrpSpPr/>
          <p:nvPr/>
        </p:nvGrpSpPr>
        <p:grpSpPr>
          <a:xfrm>
            <a:off x="2078776" y="3125438"/>
            <a:ext cx="272031" cy="288893"/>
            <a:chOff x="2078776" y="3125438"/>
            <a:chExt cx="272031" cy="288893"/>
          </a:xfrm>
          <a:noFill/>
        </p:grpSpPr>
        <p:grpSp>
          <p:nvGrpSpPr>
            <p:cNvPr id="122" name="Gráfico 2">
              <a:extLst>
                <a:ext uri="{FF2B5EF4-FFF2-40B4-BE49-F238E27FC236}">
                  <a16:creationId xmlns:a16="http://schemas.microsoft.com/office/drawing/2014/main" id="{C71903E0-E88B-8F33-E25E-BE0CBCA76D82}"/>
                </a:ext>
              </a:extLst>
            </p:cNvPr>
            <p:cNvGrpSpPr/>
            <p:nvPr/>
          </p:nvGrpSpPr>
          <p:grpSpPr>
            <a:xfrm>
              <a:off x="2134591" y="3166109"/>
              <a:ext cx="160401" cy="25765"/>
              <a:chOff x="2134591" y="3166109"/>
              <a:chExt cx="160401" cy="25765"/>
            </a:xfrm>
          </p:grpSpPr>
          <p:sp>
            <p:nvSpPr>
              <p:cNvPr id="123" name="Forma livre: Forma 122">
                <a:extLst>
                  <a:ext uri="{FF2B5EF4-FFF2-40B4-BE49-F238E27FC236}">
                    <a16:creationId xmlns:a16="http://schemas.microsoft.com/office/drawing/2014/main" id="{AC248F9D-986A-6AF3-BA9D-5AA627E39EE5}"/>
                  </a:ext>
                </a:extLst>
              </p:cNvPr>
              <p:cNvSpPr/>
              <p:nvPr/>
            </p:nvSpPr>
            <p:spPr>
              <a:xfrm>
                <a:off x="2250415" y="3166109"/>
                <a:ext cx="44577" cy="25765"/>
              </a:xfrm>
              <a:custGeom>
                <a:avLst/>
                <a:gdLst>
                  <a:gd name="connsiteX0" fmla="*/ 0 w 44577"/>
                  <a:gd name="connsiteY0" fmla="*/ 0 h 25765"/>
                  <a:gd name="connsiteX1" fmla="*/ 44577 w 44577"/>
                  <a:gd name="connsiteY1" fmla="*/ 25765 h 257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4577" h="25765">
                    <a:moveTo>
                      <a:pt x="0" y="0"/>
                    </a:moveTo>
                    <a:lnTo>
                      <a:pt x="44577" y="25765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4" name="Forma livre: Forma 123">
                <a:extLst>
                  <a:ext uri="{FF2B5EF4-FFF2-40B4-BE49-F238E27FC236}">
                    <a16:creationId xmlns:a16="http://schemas.microsoft.com/office/drawing/2014/main" id="{4FA9F5DF-CD84-F252-F88C-C4B087A76A22}"/>
                  </a:ext>
                </a:extLst>
              </p:cNvPr>
              <p:cNvSpPr/>
              <p:nvPr/>
            </p:nvSpPr>
            <p:spPr>
              <a:xfrm>
                <a:off x="2134591" y="3166109"/>
                <a:ext cx="44577" cy="25765"/>
              </a:xfrm>
              <a:custGeom>
                <a:avLst/>
                <a:gdLst>
                  <a:gd name="connsiteX0" fmla="*/ 44577 w 44577"/>
                  <a:gd name="connsiteY0" fmla="*/ 0 h 25765"/>
                  <a:gd name="connsiteX1" fmla="*/ 0 w 44577"/>
                  <a:gd name="connsiteY1" fmla="*/ 25765 h 257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4577" h="25765">
                    <a:moveTo>
                      <a:pt x="44577" y="0"/>
                    </a:moveTo>
                    <a:lnTo>
                      <a:pt x="0" y="25765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25" name="Gráfico 2">
              <a:extLst>
                <a:ext uri="{FF2B5EF4-FFF2-40B4-BE49-F238E27FC236}">
                  <a16:creationId xmlns:a16="http://schemas.microsoft.com/office/drawing/2014/main" id="{4E624CFB-855C-1A77-5904-53CC2D41ECBC}"/>
                </a:ext>
              </a:extLst>
            </p:cNvPr>
            <p:cNvGrpSpPr/>
            <p:nvPr/>
          </p:nvGrpSpPr>
          <p:grpSpPr>
            <a:xfrm>
              <a:off x="2195075" y="3125438"/>
              <a:ext cx="39481" cy="100822"/>
              <a:chOff x="2195075" y="3125438"/>
              <a:chExt cx="39481" cy="100822"/>
            </a:xfrm>
            <a:noFill/>
          </p:grpSpPr>
          <p:sp>
            <p:nvSpPr>
              <p:cNvPr id="126" name="Forma livre: Forma 125">
                <a:extLst>
                  <a:ext uri="{FF2B5EF4-FFF2-40B4-BE49-F238E27FC236}">
                    <a16:creationId xmlns:a16="http://schemas.microsoft.com/office/drawing/2014/main" id="{62EDC02A-740A-48D2-402A-A44B6CF990DA}"/>
                  </a:ext>
                </a:extLst>
              </p:cNvPr>
              <p:cNvSpPr/>
              <p:nvPr/>
            </p:nvSpPr>
            <p:spPr>
              <a:xfrm>
                <a:off x="2195075" y="3125438"/>
                <a:ext cx="39481" cy="39528"/>
              </a:xfrm>
              <a:custGeom>
                <a:avLst/>
                <a:gdLst>
                  <a:gd name="connsiteX0" fmla="*/ 39481 w 39481"/>
                  <a:gd name="connsiteY0" fmla="*/ 19764 h 39528"/>
                  <a:gd name="connsiteX1" fmla="*/ 19764 w 39481"/>
                  <a:gd name="connsiteY1" fmla="*/ 39529 h 39528"/>
                  <a:gd name="connsiteX2" fmla="*/ 0 w 39481"/>
                  <a:gd name="connsiteY2" fmla="*/ 19764 h 39528"/>
                  <a:gd name="connsiteX3" fmla="*/ 19764 w 39481"/>
                  <a:gd name="connsiteY3" fmla="*/ 0 h 39528"/>
                  <a:gd name="connsiteX4" fmla="*/ 39481 w 39481"/>
                  <a:gd name="connsiteY4" fmla="*/ 19764 h 395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9481" h="39528">
                    <a:moveTo>
                      <a:pt x="39481" y="19764"/>
                    </a:moveTo>
                    <a:cubicBezTo>
                      <a:pt x="39481" y="30671"/>
                      <a:pt x="30671" y="39529"/>
                      <a:pt x="19764" y="39529"/>
                    </a:cubicBezTo>
                    <a:cubicBezTo>
                      <a:pt x="8858" y="39529"/>
                      <a:pt x="0" y="30671"/>
                      <a:pt x="0" y="19764"/>
                    </a:cubicBezTo>
                    <a:cubicBezTo>
                      <a:pt x="0" y="8858"/>
                      <a:pt x="8858" y="0"/>
                      <a:pt x="19764" y="0"/>
                    </a:cubicBezTo>
                    <a:cubicBezTo>
                      <a:pt x="30671" y="0"/>
                      <a:pt x="39481" y="8858"/>
                      <a:pt x="39481" y="19764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7" name="Forma livre: Forma 126">
                <a:extLst>
                  <a:ext uri="{FF2B5EF4-FFF2-40B4-BE49-F238E27FC236}">
                    <a16:creationId xmlns:a16="http://schemas.microsoft.com/office/drawing/2014/main" id="{C7511E3C-378A-D5FE-4E3D-7D57D25B109D}"/>
                  </a:ext>
                </a:extLst>
              </p:cNvPr>
              <p:cNvSpPr/>
              <p:nvPr/>
            </p:nvSpPr>
            <p:spPr>
              <a:xfrm>
                <a:off x="2214791" y="3167157"/>
                <a:ext cx="4762" cy="59102"/>
              </a:xfrm>
              <a:custGeom>
                <a:avLst/>
                <a:gdLst>
                  <a:gd name="connsiteX0" fmla="*/ 0 w 4762"/>
                  <a:gd name="connsiteY0" fmla="*/ 0 h 59102"/>
                  <a:gd name="connsiteX1" fmla="*/ 0 w 4762"/>
                  <a:gd name="connsiteY1" fmla="*/ 59103 h 591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62" h="59102">
                    <a:moveTo>
                      <a:pt x="0" y="0"/>
                    </a:moveTo>
                    <a:lnTo>
                      <a:pt x="0" y="59103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28" name="Gráfico 2">
              <a:extLst>
                <a:ext uri="{FF2B5EF4-FFF2-40B4-BE49-F238E27FC236}">
                  <a16:creationId xmlns:a16="http://schemas.microsoft.com/office/drawing/2014/main" id="{AD93B581-8172-367A-9824-980B9CFF2C83}"/>
                </a:ext>
              </a:extLst>
            </p:cNvPr>
            <p:cNvGrpSpPr/>
            <p:nvPr/>
          </p:nvGrpSpPr>
          <p:grpSpPr>
            <a:xfrm>
              <a:off x="2098825" y="3253739"/>
              <a:ext cx="231933" cy="51577"/>
              <a:chOff x="2098825" y="3253739"/>
              <a:chExt cx="231933" cy="51577"/>
            </a:xfrm>
          </p:grpSpPr>
          <p:sp>
            <p:nvSpPr>
              <p:cNvPr id="129" name="Forma livre: Forma 128">
                <a:extLst>
                  <a:ext uri="{FF2B5EF4-FFF2-40B4-BE49-F238E27FC236}">
                    <a16:creationId xmlns:a16="http://schemas.microsoft.com/office/drawing/2014/main" id="{9873E759-33EB-28E8-38DF-B0471A320D2D}"/>
                  </a:ext>
                </a:extLst>
              </p:cNvPr>
              <p:cNvSpPr/>
              <p:nvPr/>
            </p:nvSpPr>
            <p:spPr>
              <a:xfrm>
                <a:off x="2098825" y="3253739"/>
                <a:ext cx="4762" cy="51577"/>
              </a:xfrm>
              <a:custGeom>
                <a:avLst/>
                <a:gdLst>
                  <a:gd name="connsiteX0" fmla="*/ 0 w 4762"/>
                  <a:gd name="connsiteY0" fmla="*/ 0 h 51577"/>
                  <a:gd name="connsiteX1" fmla="*/ 0 w 4762"/>
                  <a:gd name="connsiteY1" fmla="*/ 51578 h 515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62" h="51577">
                    <a:moveTo>
                      <a:pt x="0" y="0"/>
                    </a:moveTo>
                    <a:lnTo>
                      <a:pt x="0" y="51578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30" name="Forma livre: Forma 129">
                <a:extLst>
                  <a:ext uri="{FF2B5EF4-FFF2-40B4-BE49-F238E27FC236}">
                    <a16:creationId xmlns:a16="http://schemas.microsoft.com/office/drawing/2014/main" id="{E0E27054-EB51-E6AC-929C-3E0633181C97}"/>
                  </a:ext>
                </a:extLst>
              </p:cNvPr>
              <p:cNvSpPr/>
              <p:nvPr/>
            </p:nvSpPr>
            <p:spPr>
              <a:xfrm>
                <a:off x="2330758" y="3253739"/>
                <a:ext cx="4762" cy="51577"/>
              </a:xfrm>
              <a:custGeom>
                <a:avLst/>
                <a:gdLst>
                  <a:gd name="connsiteX0" fmla="*/ 0 w 4762"/>
                  <a:gd name="connsiteY0" fmla="*/ 0 h 51577"/>
                  <a:gd name="connsiteX1" fmla="*/ 0 w 4762"/>
                  <a:gd name="connsiteY1" fmla="*/ 51578 h 515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62" h="51577">
                    <a:moveTo>
                      <a:pt x="0" y="0"/>
                    </a:moveTo>
                    <a:lnTo>
                      <a:pt x="0" y="51578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31" name="Gráfico 2">
              <a:extLst>
                <a:ext uri="{FF2B5EF4-FFF2-40B4-BE49-F238E27FC236}">
                  <a16:creationId xmlns:a16="http://schemas.microsoft.com/office/drawing/2014/main" id="{CAAD0F52-4FC6-00B7-FEDD-28A3AD936375}"/>
                </a:ext>
              </a:extLst>
            </p:cNvPr>
            <p:cNvGrpSpPr/>
            <p:nvPr/>
          </p:nvGrpSpPr>
          <p:grpSpPr>
            <a:xfrm>
              <a:off x="2155832" y="3249310"/>
              <a:ext cx="117919" cy="165020"/>
              <a:chOff x="2155832" y="3249310"/>
              <a:chExt cx="117919" cy="165020"/>
            </a:xfrm>
            <a:noFill/>
          </p:grpSpPr>
          <p:sp>
            <p:nvSpPr>
              <p:cNvPr id="132" name="Forma livre: Forma 131">
                <a:extLst>
                  <a:ext uri="{FF2B5EF4-FFF2-40B4-BE49-F238E27FC236}">
                    <a16:creationId xmlns:a16="http://schemas.microsoft.com/office/drawing/2014/main" id="{EE812549-38DB-24CA-4AD0-237EE9D281DC}"/>
                  </a:ext>
                </a:extLst>
              </p:cNvPr>
              <p:cNvSpPr/>
              <p:nvPr/>
            </p:nvSpPr>
            <p:spPr>
              <a:xfrm>
                <a:off x="2155832" y="3340798"/>
                <a:ext cx="117919" cy="73533"/>
              </a:xfrm>
              <a:custGeom>
                <a:avLst/>
                <a:gdLst>
                  <a:gd name="connsiteX0" fmla="*/ 0 w 117919"/>
                  <a:gd name="connsiteY0" fmla="*/ 73533 h 73533"/>
                  <a:gd name="connsiteX1" fmla="*/ 0 w 117919"/>
                  <a:gd name="connsiteY1" fmla="*/ 28861 h 73533"/>
                  <a:gd name="connsiteX2" fmla="*/ 34862 w 117919"/>
                  <a:gd name="connsiteY2" fmla="*/ 0 h 73533"/>
                  <a:gd name="connsiteX3" fmla="*/ 58960 w 117919"/>
                  <a:gd name="connsiteY3" fmla="*/ 26575 h 73533"/>
                  <a:gd name="connsiteX4" fmla="*/ 81343 w 117919"/>
                  <a:gd name="connsiteY4" fmla="*/ 0 h 73533"/>
                  <a:gd name="connsiteX5" fmla="*/ 117919 w 117919"/>
                  <a:gd name="connsiteY5" fmla="*/ 28861 h 73533"/>
                  <a:gd name="connsiteX6" fmla="*/ 117919 w 117919"/>
                  <a:gd name="connsiteY6" fmla="*/ 73533 h 735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17919" h="73533">
                    <a:moveTo>
                      <a:pt x="0" y="73533"/>
                    </a:moveTo>
                    <a:lnTo>
                      <a:pt x="0" y="28861"/>
                    </a:lnTo>
                    <a:cubicBezTo>
                      <a:pt x="0" y="7810"/>
                      <a:pt x="15240" y="0"/>
                      <a:pt x="34862" y="0"/>
                    </a:cubicBezTo>
                    <a:lnTo>
                      <a:pt x="58960" y="26575"/>
                    </a:lnTo>
                    <a:lnTo>
                      <a:pt x="81343" y="0"/>
                    </a:lnTo>
                    <a:cubicBezTo>
                      <a:pt x="100965" y="0"/>
                      <a:pt x="117919" y="7763"/>
                      <a:pt x="117919" y="28861"/>
                    </a:cubicBezTo>
                    <a:lnTo>
                      <a:pt x="117919" y="73533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33" name="Forma livre: Forma 132">
                <a:extLst>
                  <a:ext uri="{FF2B5EF4-FFF2-40B4-BE49-F238E27FC236}">
                    <a16:creationId xmlns:a16="http://schemas.microsoft.com/office/drawing/2014/main" id="{B9983E72-4FB0-761E-94BB-2C58051F68E5}"/>
                  </a:ext>
                </a:extLst>
              </p:cNvPr>
              <p:cNvSpPr/>
              <p:nvPr/>
            </p:nvSpPr>
            <p:spPr>
              <a:xfrm>
                <a:off x="2186026" y="3249310"/>
                <a:ext cx="57530" cy="69199"/>
              </a:xfrm>
              <a:custGeom>
                <a:avLst/>
                <a:gdLst>
                  <a:gd name="connsiteX0" fmla="*/ 57531 w 57530"/>
                  <a:gd name="connsiteY0" fmla="*/ 40005 h 69199"/>
                  <a:gd name="connsiteX1" fmla="*/ 28766 w 57530"/>
                  <a:gd name="connsiteY1" fmla="*/ 69199 h 69199"/>
                  <a:gd name="connsiteX2" fmla="*/ 0 w 57530"/>
                  <a:gd name="connsiteY2" fmla="*/ 40005 h 69199"/>
                  <a:gd name="connsiteX3" fmla="*/ 0 w 57530"/>
                  <a:gd name="connsiteY3" fmla="*/ 29194 h 69199"/>
                  <a:gd name="connsiteX4" fmla="*/ 28766 w 57530"/>
                  <a:gd name="connsiteY4" fmla="*/ 0 h 69199"/>
                  <a:gd name="connsiteX5" fmla="*/ 57531 w 57530"/>
                  <a:gd name="connsiteY5" fmla="*/ 29194 h 69199"/>
                  <a:gd name="connsiteX6" fmla="*/ 57531 w 57530"/>
                  <a:gd name="connsiteY6" fmla="*/ 40005 h 691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57530" h="69199">
                    <a:moveTo>
                      <a:pt x="57531" y="40005"/>
                    </a:moveTo>
                    <a:cubicBezTo>
                      <a:pt x="57531" y="56055"/>
                      <a:pt x="44577" y="69199"/>
                      <a:pt x="28766" y="69199"/>
                    </a:cubicBezTo>
                    <a:cubicBezTo>
                      <a:pt x="12954" y="69199"/>
                      <a:pt x="0" y="56055"/>
                      <a:pt x="0" y="40005"/>
                    </a:cubicBezTo>
                    <a:lnTo>
                      <a:pt x="0" y="29194"/>
                    </a:lnTo>
                    <a:cubicBezTo>
                      <a:pt x="0" y="13145"/>
                      <a:pt x="12954" y="0"/>
                      <a:pt x="28766" y="0"/>
                    </a:cubicBezTo>
                    <a:cubicBezTo>
                      <a:pt x="44577" y="0"/>
                      <a:pt x="57531" y="13145"/>
                      <a:pt x="57531" y="29194"/>
                    </a:cubicBezTo>
                    <a:lnTo>
                      <a:pt x="57531" y="40005"/>
                    </a:ln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34" name="Gráfico 2">
              <a:extLst>
                <a:ext uri="{FF2B5EF4-FFF2-40B4-BE49-F238E27FC236}">
                  <a16:creationId xmlns:a16="http://schemas.microsoft.com/office/drawing/2014/main" id="{0F62F9E0-B8C9-C3C3-EFA0-3A10B12FAC11}"/>
                </a:ext>
              </a:extLst>
            </p:cNvPr>
            <p:cNvGrpSpPr/>
            <p:nvPr/>
          </p:nvGrpSpPr>
          <p:grpSpPr>
            <a:xfrm>
              <a:off x="2078823" y="3192342"/>
              <a:ext cx="271935" cy="60064"/>
              <a:chOff x="2078823" y="3192342"/>
              <a:chExt cx="271935" cy="60064"/>
            </a:xfrm>
            <a:noFill/>
          </p:grpSpPr>
          <p:grpSp>
            <p:nvGrpSpPr>
              <p:cNvPr id="135" name="Gráfico 2">
                <a:extLst>
                  <a:ext uri="{FF2B5EF4-FFF2-40B4-BE49-F238E27FC236}">
                    <a16:creationId xmlns:a16="http://schemas.microsoft.com/office/drawing/2014/main" id="{89D2F96E-4718-5BC8-2E64-9BA2B92E143A}"/>
                  </a:ext>
                </a:extLst>
              </p:cNvPr>
              <p:cNvGrpSpPr/>
              <p:nvPr/>
            </p:nvGrpSpPr>
            <p:grpSpPr>
              <a:xfrm>
                <a:off x="2261702" y="3192342"/>
                <a:ext cx="89057" cy="60064"/>
                <a:chOff x="2261702" y="3192342"/>
                <a:chExt cx="89057" cy="60064"/>
              </a:xfrm>
              <a:noFill/>
            </p:grpSpPr>
            <p:sp>
              <p:nvSpPr>
                <p:cNvPr id="136" name="Forma livre: Forma 135">
                  <a:extLst>
                    <a:ext uri="{FF2B5EF4-FFF2-40B4-BE49-F238E27FC236}">
                      <a16:creationId xmlns:a16="http://schemas.microsoft.com/office/drawing/2014/main" id="{9F7F7906-03A5-CDAC-CC28-8F3D5F01F624}"/>
                    </a:ext>
                  </a:extLst>
                </p:cNvPr>
                <p:cNvSpPr/>
                <p:nvPr/>
              </p:nvSpPr>
              <p:spPr>
                <a:xfrm>
                  <a:off x="2311234" y="3192342"/>
                  <a:ext cx="39525" cy="39546"/>
                </a:xfrm>
                <a:custGeom>
                  <a:avLst/>
                  <a:gdLst>
                    <a:gd name="connsiteX0" fmla="*/ 29669 w 39525"/>
                    <a:gd name="connsiteY0" fmla="*/ 36871 h 39546"/>
                    <a:gd name="connsiteX1" fmla="*/ 2666 w 39525"/>
                    <a:gd name="connsiteY1" fmla="*/ 29679 h 39546"/>
                    <a:gd name="connsiteX2" fmla="*/ 9857 w 39525"/>
                    <a:gd name="connsiteY2" fmla="*/ 2676 h 39546"/>
                    <a:gd name="connsiteX3" fmla="*/ 36860 w 39525"/>
                    <a:gd name="connsiteY3" fmla="*/ 9867 h 39546"/>
                    <a:gd name="connsiteX4" fmla="*/ 29669 w 39525"/>
                    <a:gd name="connsiteY4" fmla="*/ 36871 h 395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9525" h="39546">
                      <a:moveTo>
                        <a:pt x="29669" y="36871"/>
                      </a:moveTo>
                      <a:cubicBezTo>
                        <a:pt x="20239" y="42348"/>
                        <a:pt x="8142" y="39157"/>
                        <a:pt x="2666" y="29679"/>
                      </a:cubicBezTo>
                      <a:cubicBezTo>
                        <a:pt x="-2811" y="20250"/>
                        <a:pt x="427" y="8153"/>
                        <a:pt x="9857" y="2676"/>
                      </a:cubicBezTo>
                      <a:cubicBezTo>
                        <a:pt x="19287" y="-2801"/>
                        <a:pt x="31383" y="390"/>
                        <a:pt x="36860" y="9867"/>
                      </a:cubicBezTo>
                      <a:cubicBezTo>
                        <a:pt x="42337" y="19297"/>
                        <a:pt x="39099" y="31394"/>
                        <a:pt x="29669" y="36871"/>
                      </a:cubicBezTo>
                      <a:close/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37" name="Forma livre: Forma 136">
                  <a:extLst>
                    <a:ext uri="{FF2B5EF4-FFF2-40B4-BE49-F238E27FC236}">
                      <a16:creationId xmlns:a16="http://schemas.microsoft.com/office/drawing/2014/main" id="{F6AB309F-E452-516D-4FC1-7DE27FFDF5B3}"/>
                    </a:ext>
                  </a:extLst>
                </p:cNvPr>
                <p:cNvSpPr/>
                <p:nvPr/>
              </p:nvSpPr>
              <p:spPr>
                <a:xfrm>
                  <a:off x="2261702" y="3223164"/>
                  <a:ext cx="50292" cy="29241"/>
                </a:xfrm>
                <a:custGeom>
                  <a:avLst/>
                  <a:gdLst>
                    <a:gd name="connsiteX0" fmla="*/ 50292 w 50292"/>
                    <a:gd name="connsiteY0" fmla="*/ 0 h 29241"/>
                    <a:gd name="connsiteX1" fmla="*/ 0 w 50292"/>
                    <a:gd name="connsiteY1" fmla="*/ 29242 h 2924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50292" h="29241">
                      <a:moveTo>
                        <a:pt x="50292" y="0"/>
                      </a:moveTo>
                      <a:lnTo>
                        <a:pt x="0" y="29242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138" name="Gráfico 2">
                <a:extLst>
                  <a:ext uri="{FF2B5EF4-FFF2-40B4-BE49-F238E27FC236}">
                    <a16:creationId xmlns:a16="http://schemas.microsoft.com/office/drawing/2014/main" id="{EC8B45F7-5BC5-EE75-BB98-4F071813FC00}"/>
                  </a:ext>
                </a:extLst>
              </p:cNvPr>
              <p:cNvGrpSpPr/>
              <p:nvPr/>
            </p:nvGrpSpPr>
            <p:grpSpPr>
              <a:xfrm>
                <a:off x="2078823" y="3192342"/>
                <a:ext cx="89057" cy="60064"/>
                <a:chOff x="2078823" y="3192342"/>
                <a:chExt cx="89057" cy="60064"/>
              </a:xfrm>
              <a:noFill/>
            </p:grpSpPr>
            <p:sp>
              <p:nvSpPr>
                <p:cNvPr id="139" name="Forma livre: Forma 138">
                  <a:extLst>
                    <a:ext uri="{FF2B5EF4-FFF2-40B4-BE49-F238E27FC236}">
                      <a16:creationId xmlns:a16="http://schemas.microsoft.com/office/drawing/2014/main" id="{7E7BFB29-1960-54D7-9626-6FADFE11772A}"/>
                    </a:ext>
                  </a:extLst>
                </p:cNvPr>
                <p:cNvSpPr/>
                <p:nvPr/>
              </p:nvSpPr>
              <p:spPr>
                <a:xfrm>
                  <a:off x="2078823" y="3192342"/>
                  <a:ext cx="39525" cy="39546"/>
                </a:xfrm>
                <a:custGeom>
                  <a:avLst/>
                  <a:gdLst>
                    <a:gd name="connsiteX0" fmla="*/ 9857 w 39525"/>
                    <a:gd name="connsiteY0" fmla="*/ 36871 h 39546"/>
                    <a:gd name="connsiteX1" fmla="*/ 36860 w 39525"/>
                    <a:gd name="connsiteY1" fmla="*/ 29679 h 39546"/>
                    <a:gd name="connsiteX2" fmla="*/ 29669 w 39525"/>
                    <a:gd name="connsiteY2" fmla="*/ 2676 h 39546"/>
                    <a:gd name="connsiteX3" fmla="*/ 2665 w 39525"/>
                    <a:gd name="connsiteY3" fmla="*/ 9867 h 39546"/>
                    <a:gd name="connsiteX4" fmla="*/ 9857 w 39525"/>
                    <a:gd name="connsiteY4" fmla="*/ 36871 h 395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9525" h="39546">
                      <a:moveTo>
                        <a:pt x="9857" y="36871"/>
                      </a:moveTo>
                      <a:cubicBezTo>
                        <a:pt x="19287" y="42348"/>
                        <a:pt x="31383" y="39157"/>
                        <a:pt x="36860" y="29679"/>
                      </a:cubicBezTo>
                      <a:cubicBezTo>
                        <a:pt x="42337" y="20250"/>
                        <a:pt x="39099" y="8153"/>
                        <a:pt x="29669" y="2676"/>
                      </a:cubicBezTo>
                      <a:cubicBezTo>
                        <a:pt x="20239" y="-2801"/>
                        <a:pt x="8142" y="390"/>
                        <a:pt x="2665" y="9867"/>
                      </a:cubicBezTo>
                      <a:cubicBezTo>
                        <a:pt x="-2811" y="19297"/>
                        <a:pt x="427" y="31394"/>
                        <a:pt x="9857" y="36871"/>
                      </a:cubicBezTo>
                      <a:close/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40" name="Forma livre: Forma 139">
                  <a:extLst>
                    <a:ext uri="{FF2B5EF4-FFF2-40B4-BE49-F238E27FC236}">
                      <a16:creationId xmlns:a16="http://schemas.microsoft.com/office/drawing/2014/main" id="{7C3B80DA-B8E0-C5D6-57F9-9AA1B2629038}"/>
                    </a:ext>
                  </a:extLst>
                </p:cNvPr>
                <p:cNvSpPr/>
                <p:nvPr/>
              </p:nvSpPr>
              <p:spPr>
                <a:xfrm>
                  <a:off x="2117589" y="3223164"/>
                  <a:ext cx="50292" cy="29241"/>
                </a:xfrm>
                <a:custGeom>
                  <a:avLst/>
                  <a:gdLst>
                    <a:gd name="connsiteX0" fmla="*/ 0 w 50292"/>
                    <a:gd name="connsiteY0" fmla="*/ 0 h 29241"/>
                    <a:gd name="connsiteX1" fmla="*/ 50292 w 50292"/>
                    <a:gd name="connsiteY1" fmla="*/ 29242 h 2924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50292" h="29241">
                      <a:moveTo>
                        <a:pt x="0" y="0"/>
                      </a:moveTo>
                      <a:lnTo>
                        <a:pt x="50292" y="29242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grpSp>
          <p:nvGrpSpPr>
            <p:cNvPr id="141" name="Gráfico 2">
              <a:extLst>
                <a:ext uri="{FF2B5EF4-FFF2-40B4-BE49-F238E27FC236}">
                  <a16:creationId xmlns:a16="http://schemas.microsoft.com/office/drawing/2014/main" id="{F5BF7161-863A-D8DB-3977-1648BF5D3FC5}"/>
                </a:ext>
              </a:extLst>
            </p:cNvPr>
            <p:cNvGrpSpPr/>
            <p:nvPr/>
          </p:nvGrpSpPr>
          <p:grpSpPr>
            <a:xfrm>
              <a:off x="2078776" y="3307413"/>
              <a:ext cx="272031" cy="59302"/>
              <a:chOff x="2078776" y="3307413"/>
              <a:chExt cx="272031" cy="59302"/>
            </a:xfrm>
            <a:noFill/>
          </p:grpSpPr>
          <p:grpSp>
            <p:nvGrpSpPr>
              <p:cNvPr id="142" name="Gráfico 2">
                <a:extLst>
                  <a:ext uri="{FF2B5EF4-FFF2-40B4-BE49-F238E27FC236}">
                    <a16:creationId xmlns:a16="http://schemas.microsoft.com/office/drawing/2014/main" id="{DFB700AD-47FA-A7E0-E96E-AACE0D5A041B}"/>
                  </a:ext>
                </a:extLst>
              </p:cNvPr>
              <p:cNvGrpSpPr/>
              <p:nvPr/>
            </p:nvGrpSpPr>
            <p:grpSpPr>
              <a:xfrm>
                <a:off x="2263036" y="3307413"/>
                <a:ext cx="87771" cy="59302"/>
                <a:chOff x="2263036" y="3307413"/>
                <a:chExt cx="87771" cy="59302"/>
              </a:xfrm>
              <a:noFill/>
            </p:grpSpPr>
            <p:sp>
              <p:nvSpPr>
                <p:cNvPr id="143" name="Forma livre: Forma 142">
                  <a:extLst>
                    <a:ext uri="{FF2B5EF4-FFF2-40B4-BE49-F238E27FC236}">
                      <a16:creationId xmlns:a16="http://schemas.microsoft.com/office/drawing/2014/main" id="{A6823276-6C96-9AF7-7B75-06C73C6F0E18}"/>
                    </a:ext>
                  </a:extLst>
                </p:cNvPr>
                <p:cNvSpPr/>
                <p:nvPr/>
              </p:nvSpPr>
              <p:spPr>
                <a:xfrm>
                  <a:off x="2311281" y="3327179"/>
                  <a:ext cx="39525" cy="39536"/>
                </a:xfrm>
                <a:custGeom>
                  <a:avLst/>
                  <a:gdLst>
                    <a:gd name="connsiteX0" fmla="*/ 29621 w 39525"/>
                    <a:gd name="connsiteY0" fmla="*/ 2665 h 39536"/>
                    <a:gd name="connsiteX1" fmla="*/ 2665 w 39525"/>
                    <a:gd name="connsiteY1" fmla="*/ 9857 h 39536"/>
                    <a:gd name="connsiteX2" fmla="*/ 9857 w 39525"/>
                    <a:gd name="connsiteY2" fmla="*/ 36860 h 39536"/>
                    <a:gd name="connsiteX3" fmla="*/ 36860 w 39525"/>
                    <a:gd name="connsiteY3" fmla="*/ 29669 h 39536"/>
                    <a:gd name="connsiteX4" fmla="*/ 29669 w 39525"/>
                    <a:gd name="connsiteY4" fmla="*/ 2665 h 3953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9525" h="39536">
                      <a:moveTo>
                        <a:pt x="29621" y="2665"/>
                      </a:moveTo>
                      <a:cubicBezTo>
                        <a:pt x="20192" y="-2811"/>
                        <a:pt x="8095" y="427"/>
                        <a:pt x="2665" y="9857"/>
                      </a:cubicBezTo>
                      <a:cubicBezTo>
                        <a:pt x="-2811" y="19287"/>
                        <a:pt x="427" y="31383"/>
                        <a:pt x="9857" y="36860"/>
                      </a:cubicBezTo>
                      <a:cubicBezTo>
                        <a:pt x="19287" y="42337"/>
                        <a:pt x="31383" y="39146"/>
                        <a:pt x="36860" y="29669"/>
                      </a:cubicBezTo>
                      <a:cubicBezTo>
                        <a:pt x="42337" y="20239"/>
                        <a:pt x="39099" y="8142"/>
                        <a:pt x="29669" y="2665"/>
                      </a:cubicBezTo>
                      <a:close/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44" name="Forma livre: Forma 143">
                  <a:extLst>
                    <a:ext uri="{FF2B5EF4-FFF2-40B4-BE49-F238E27FC236}">
                      <a16:creationId xmlns:a16="http://schemas.microsoft.com/office/drawing/2014/main" id="{0657CC07-C04B-8D37-DE15-A0CFBB9F1396}"/>
                    </a:ext>
                  </a:extLst>
                </p:cNvPr>
                <p:cNvSpPr/>
                <p:nvPr/>
              </p:nvSpPr>
              <p:spPr>
                <a:xfrm>
                  <a:off x="2263036" y="3307413"/>
                  <a:ext cx="48958" cy="28479"/>
                </a:xfrm>
                <a:custGeom>
                  <a:avLst/>
                  <a:gdLst>
                    <a:gd name="connsiteX0" fmla="*/ 48958 w 48958"/>
                    <a:gd name="connsiteY0" fmla="*/ 28480 h 28479"/>
                    <a:gd name="connsiteX1" fmla="*/ 0 w 48958"/>
                    <a:gd name="connsiteY1" fmla="*/ 0 h 2847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8958" h="28479">
                      <a:moveTo>
                        <a:pt x="48958" y="28480"/>
                      </a:moveTo>
                      <a:lnTo>
                        <a:pt x="0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145" name="Forma livre: Forma 144">
                <a:extLst>
                  <a:ext uri="{FF2B5EF4-FFF2-40B4-BE49-F238E27FC236}">
                    <a16:creationId xmlns:a16="http://schemas.microsoft.com/office/drawing/2014/main" id="{5253CB9C-3ACC-0E5C-C68D-46D2C58B6B6E}"/>
                  </a:ext>
                </a:extLst>
              </p:cNvPr>
              <p:cNvSpPr/>
              <p:nvPr/>
            </p:nvSpPr>
            <p:spPr>
              <a:xfrm>
                <a:off x="2078776" y="3327179"/>
                <a:ext cx="39525" cy="39536"/>
              </a:xfrm>
              <a:custGeom>
                <a:avLst/>
                <a:gdLst>
                  <a:gd name="connsiteX0" fmla="*/ 9905 w 39525"/>
                  <a:gd name="connsiteY0" fmla="*/ 2665 h 39536"/>
                  <a:gd name="connsiteX1" fmla="*/ 36860 w 39525"/>
                  <a:gd name="connsiteY1" fmla="*/ 9857 h 39536"/>
                  <a:gd name="connsiteX2" fmla="*/ 29669 w 39525"/>
                  <a:gd name="connsiteY2" fmla="*/ 36860 h 39536"/>
                  <a:gd name="connsiteX3" fmla="*/ 2666 w 39525"/>
                  <a:gd name="connsiteY3" fmla="*/ 29669 h 39536"/>
                  <a:gd name="connsiteX4" fmla="*/ 9857 w 39525"/>
                  <a:gd name="connsiteY4" fmla="*/ 2665 h 395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9525" h="39536">
                    <a:moveTo>
                      <a:pt x="9905" y="2665"/>
                    </a:moveTo>
                    <a:cubicBezTo>
                      <a:pt x="19334" y="-2811"/>
                      <a:pt x="31431" y="427"/>
                      <a:pt x="36860" y="9857"/>
                    </a:cubicBezTo>
                    <a:cubicBezTo>
                      <a:pt x="42337" y="19287"/>
                      <a:pt x="39099" y="31383"/>
                      <a:pt x="29669" y="36860"/>
                    </a:cubicBezTo>
                    <a:cubicBezTo>
                      <a:pt x="20239" y="42337"/>
                      <a:pt x="8142" y="39146"/>
                      <a:pt x="2666" y="29669"/>
                    </a:cubicBezTo>
                    <a:cubicBezTo>
                      <a:pt x="-2811" y="20239"/>
                      <a:pt x="427" y="8142"/>
                      <a:pt x="9857" y="2665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46" name="Forma livre: Forma 145">
                <a:extLst>
                  <a:ext uri="{FF2B5EF4-FFF2-40B4-BE49-F238E27FC236}">
                    <a16:creationId xmlns:a16="http://schemas.microsoft.com/office/drawing/2014/main" id="{574012F0-FF41-FF1B-6BF5-6E42A4350EAD}"/>
                  </a:ext>
                </a:extLst>
              </p:cNvPr>
              <p:cNvSpPr/>
              <p:nvPr/>
            </p:nvSpPr>
            <p:spPr>
              <a:xfrm>
                <a:off x="2117541" y="3307413"/>
                <a:ext cx="49006" cy="28479"/>
              </a:xfrm>
              <a:custGeom>
                <a:avLst/>
                <a:gdLst>
                  <a:gd name="connsiteX0" fmla="*/ 0 w 49006"/>
                  <a:gd name="connsiteY0" fmla="*/ 28480 h 28479"/>
                  <a:gd name="connsiteX1" fmla="*/ 49006 w 49006"/>
                  <a:gd name="connsiteY1" fmla="*/ 0 h 284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9006" h="28479">
                    <a:moveTo>
                      <a:pt x="0" y="28480"/>
                    </a:moveTo>
                    <a:lnTo>
                      <a:pt x="49006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47" name="Gráfico 2">
            <a:extLst>
              <a:ext uri="{FF2B5EF4-FFF2-40B4-BE49-F238E27FC236}">
                <a16:creationId xmlns:a16="http://schemas.microsoft.com/office/drawing/2014/main" id="{2EB58999-9682-BD01-CD3F-0879369CEA13}"/>
              </a:ext>
            </a:extLst>
          </p:cNvPr>
          <p:cNvGrpSpPr/>
          <p:nvPr/>
        </p:nvGrpSpPr>
        <p:grpSpPr>
          <a:xfrm>
            <a:off x="2076965" y="1535524"/>
            <a:ext cx="275605" cy="294084"/>
            <a:chOff x="2076965" y="1535524"/>
            <a:chExt cx="275605" cy="294084"/>
          </a:xfrm>
          <a:noFill/>
        </p:grpSpPr>
        <p:sp>
          <p:nvSpPr>
            <p:cNvPr id="148" name="Forma livre: Forma 147">
              <a:extLst>
                <a:ext uri="{FF2B5EF4-FFF2-40B4-BE49-F238E27FC236}">
                  <a16:creationId xmlns:a16="http://schemas.microsoft.com/office/drawing/2014/main" id="{5F0C4A1C-F579-33F8-76DC-AEBC504AB12B}"/>
                </a:ext>
              </a:extLst>
            </p:cNvPr>
            <p:cNvSpPr/>
            <p:nvPr/>
          </p:nvSpPr>
          <p:spPr>
            <a:xfrm>
              <a:off x="2156451" y="1690639"/>
              <a:ext cx="116728" cy="102774"/>
            </a:xfrm>
            <a:custGeom>
              <a:avLst/>
              <a:gdLst>
                <a:gd name="connsiteX0" fmla="*/ 20431 w 116728"/>
                <a:gd name="connsiteY0" fmla="*/ 0 h 102774"/>
                <a:gd name="connsiteX1" fmla="*/ 0 w 116728"/>
                <a:gd name="connsiteY1" fmla="*/ 44386 h 102774"/>
                <a:gd name="connsiteX2" fmla="*/ 58388 w 116728"/>
                <a:gd name="connsiteY2" fmla="*/ 102775 h 102774"/>
                <a:gd name="connsiteX3" fmla="*/ 116729 w 116728"/>
                <a:gd name="connsiteY3" fmla="*/ 44386 h 102774"/>
                <a:gd name="connsiteX4" fmla="*/ 97250 w 116728"/>
                <a:gd name="connsiteY4" fmla="*/ 143 h 1027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6728" h="102774">
                  <a:moveTo>
                    <a:pt x="20431" y="0"/>
                  </a:moveTo>
                  <a:cubicBezTo>
                    <a:pt x="7906" y="10716"/>
                    <a:pt x="0" y="26622"/>
                    <a:pt x="0" y="44386"/>
                  </a:cubicBezTo>
                  <a:cubicBezTo>
                    <a:pt x="0" y="76629"/>
                    <a:pt x="26146" y="102775"/>
                    <a:pt x="58388" y="102775"/>
                  </a:cubicBezTo>
                  <a:cubicBezTo>
                    <a:pt x="90630" y="102775"/>
                    <a:pt x="116729" y="76629"/>
                    <a:pt x="116729" y="44386"/>
                  </a:cubicBezTo>
                  <a:cubicBezTo>
                    <a:pt x="116729" y="27194"/>
                    <a:pt x="109061" y="10811"/>
                    <a:pt x="97250" y="143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9" name="Forma livre: Forma 148">
              <a:extLst>
                <a:ext uri="{FF2B5EF4-FFF2-40B4-BE49-F238E27FC236}">
                  <a16:creationId xmlns:a16="http://schemas.microsoft.com/office/drawing/2014/main" id="{226FD1B6-EB71-D004-CBC8-60C7AA1FEC85}"/>
                </a:ext>
              </a:extLst>
            </p:cNvPr>
            <p:cNvSpPr/>
            <p:nvPr/>
          </p:nvSpPr>
          <p:spPr>
            <a:xfrm>
              <a:off x="2190598" y="1710880"/>
              <a:ext cx="48387" cy="48386"/>
            </a:xfrm>
            <a:custGeom>
              <a:avLst/>
              <a:gdLst>
                <a:gd name="connsiteX0" fmla="*/ 24194 w 48387"/>
                <a:gd name="connsiteY0" fmla="*/ 0 h 48386"/>
                <a:gd name="connsiteX1" fmla="*/ 0 w 48387"/>
                <a:gd name="connsiteY1" fmla="*/ 24194 h 48386"/>
                <a:gd name="connsiteX2" fmla="*/ 24194 w 48387"/>
                <a:gd name="connsiteY2" fmla="*/ 48387 h 48386"/>
                <a:gd name="connsiteX3" fmla="*/ 48387 w 48387"/>
                <a:gd name="connsiteY3" fmla="*/ 24194 h 48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8387" h="48386">
                  <a:moveTo>
                    <a:pt x="24194" y="0"/>
                  </a:moveTo>
                  <a:cubicBezTo>
                    <a:pt x="10811" y="0"/>
                    <a:pt x="0" y="10811"/>
                    <a:pt x="0" y="24194"/>
                  </a:cubicBezTo>
                  <a:cubicBezTo>
                    <a:pt x="0" y="37576"/>
                    <a:pt x="10811" y="48387"/>
                    <a:pt x="24194" y="48387"/>
                  </a:cubicBezTo>
                  <a:cubicBezTo>
                    <a:pt x="37576" y="48387"/>
                    <a:pt x="48387" y="37576"/>
                    <a:pt x="48387" y="24194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0" name="Forma livre: Forma 149">
              <a:extLst>
                <a:ext uri="{FF2B5EF4-FFF2-40B4-BE49-F238E27FC236}">
                  <a16:creationId xmlns:a16="http://schemas.microsoft.com/office/drawing/2014/main" id="{5785D57D-FAB1-3776-CAA3-9EE90D850502}"/>
                </a:ext>
              </a:extLst>
            </p:cNvPr>
            <p:cNvSpPr/>
            <p:nvPr/>
          </p:nvSpPr>
          <p:spPr>
            <a:xfrm>
              <a:off x="2082870" y="1684067"/>
              <a:ext cx="263842" cy="145542"/>
            </a:xfrm>
            <a:custGeom>
              <a:avLst/>
              <a:gdLst>
                <a:gd name="connsiteX0" fmla="*/ 0 w 263842"/>
                <a:gd name="connsiteY0" fmla="*/ 70914 h 145542"/>
                <a:gd name="connsiteX1" fmla="*/ 131921 w 263842"/>
                <a:gd name="connsiteY1" fmla="*/ 145542 h 145542"/>
                <a:gd name="connsiteX2" fmla="*/ 263843 w 263842"/>
                <a:gd name="connsiteY2" fmla="*/ 72771 h 145542"/>
                <a:gd name="connsiteX3" fmla="*/ 131921 w 263842"/>
                <a:gd name="connsiteY3" fmla="*/ 0 h 145542"/>
                <a:gd name="connsiteX4" fmla="*/ 0 w 263842"/>
                <a:gd name="connsiteY4" fmla="*/ 70914 h 1455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63842" h="145542">
                  <a:moveTo>
                    <a:pt x="0" y="70914"/>
                  </a:moveTo>
                  <a:cubicBezTo>
                    <a:pt x="0" y="70914"/>
                    <a:pt x="59055" y="145542"/>
                    <a:pt x="131921" y="145542"/>
                  </a:cubicBezTo>
                  <a:cubicBezTo>
                    <a:pt x="204788" y="145542"/>
                    <a:pt x="263843" y="72771"/>
                    <a:pt x="263843" y="72771"/>
                  </a:cubicBezTo>
                  <a:cubicBezTo>
                    <a:pt x="263843" y="72771"/>
                    <a:pt x="204788" y="0"/>
                    <a:pt x="131921" y="0"/>
                  </a:cubicBezTo>
                  <a:cubicBezTo>
                    <a:pt x="59055" y="0"/>
                    <a:pt x="0" y="70914"/>
                    <a:pt x="0" y="70914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1" name="Forma livre: Forma 150">
              <a:extLst>
                <a:ext uri="{FF2B5EF4-FFF2-40B4-BE49-F238E27FC236}">
                  <a16:creationId xmlns:a16="http://schemas.microsoft.com/office/drawing/2014/main" id="{D5FE9163-8A84-2F66-9719-E3F24F0DD661}"/>
                </a:ext>
              </a:extLst>
            </p:cNvPr>
            <p:cNvSpPr/>
            <p:nvPr/>
          </p:nvSpPr>
          <p:spPr>
            <a:xfrm>
              <a:off x="2076965" y="1535524"/>
              <a:ext cx="275605" cy="162734"/>
            </a:xfrm>
            <a:custGeom>
              <a:avLst/>
              <a:gdLst>
                <a:gd name="connsiteX0" fmla="*/ 244316 w 275605"/>
                <a:gd name="connsiteY0" fmla="*/ 162544 h 162734"/>
                <a:gd name="connsiteX1" fmla="*/ 275606 w 275605"/>
                <a:gd name="connsiteY1" fmla="*/ 157401 h 162734"/>
                <a:gd name="connsiteX2" fmla="*/ 275606 w 275605"/>
                <a:gd name="connsiteY2" fmla="*/ 118062 h 162734"/>
                <a:gd name="connsiteX3" fmla="*/ 238697 w 275605"/>
                <a:gd name="connsiteY3" fmla="*/ 112014 h 162734"/>
                <a:gd name="connsiteX4" fmla="*/ 227457 w 275605"/>
                <a:gd name="connsiteY4" fmla="*/ 84820 h 162734"/>
                <a:gd name="connsiteX5" fmla="*/ 249126 w 275605"/>
                <a:gd name="connsiteY5" fmla="*/ 54245 h 162734"/>
                <a:gd name="connsiteX6" fmla="*/ 221313 w 275605"/>
                <a:gd name="connsiteY6" fmla="*/ 26432 h 162734"/>
                <a:gd name="connsiteX7" fmla="*/ 190738 w 275605"/>
                <a:gd name="connsiteY7" fmla="*/ 48149 h 162734"/>
                <a:gd name="connsiteX8" fmla="*/ 163544 w 275605"/>
                <a:gd name="connsiteY8" fmla="*/ 36909 h 162734"/>
                <a:gd name="connsiteX9" fmla="*/ 157448 w 275605"/>
                <a:gd name="connsiteY9" fmla="*/ 0 h 162734"/>
                <a:gd name="connsiteX10" fmla="*/ 118110 w 275605"/>
                <a:gd name="connsiteY10" fmla="*/ 0 h 162734"/>
                <a:gd name="connsiteX11" fmla="*/ 112014 w 275605"/>
                <a:gd name="connsiteY11" fmla="*/ 36957 h 162734"/>
                <a:gd name="connsiteX12" fmla="*/ 84820 w 275605"/>
                <a:gd name="connsiteY12" fmla="*/ 48197 h 162734"/>
                <a:gd name="connsiteX13" fmla="*/ 54245 w 275605"/>
                <a:gd name="connsiteY13" fmla="*/ 26480 h 162734"/>
                <a:gd name="connsiteX14" fmla="*/ 26432 w 275605"/>
                <a:gd name="connsiteY14" fmla="*/ 54293 h 162734"/>
                <a:gd name="connsiteX15" fmla="*/ 48149 w 275605"/>
                <a:gd name="connsiteY15" fmla="*/ 84868 h 162734"/>
                <a:gd name="connsiteX16" fmla="*/ 36957 w 275605"/>
                <a:gd name="connsiteY16" fmla="*/ 111871 h 162734"/>
                <a:gd name="connsiteX17" fmla="*/ 0 w 275605"/>
                <a:gd name="connsiteY17" fmla="*/ 118158 h 162734"/>
                <a:gd name="connsiteX18" fmla="*/ 0 w 275605"/>
                <a:gd name="connsiteY18" fmla="*/ 157496 h 162734"/>
                <a:gd name="connsiteX19" fmla="*/ 29432 w 275605"/>
                <a:gd name="connsiteY19" fmla="*/ 162735 h 1627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275605" h="162734">
                  <a:moveTo>
                    <a:pt x="244316" y="162544"/>
                  </a:moveTo>
                  <a:lnTo>
                    <a:pt x="275606" y="157401"/>
                  </a:lnTo>
                  <a:lnTo>
                    <a:pt x="275606" y="118062"/>
                  </a:lnTo>
                  <a:lnTo>
                    <a:pt x="238697" y="112014"/>
                  </a:lnTo>
                  <a:cubicBezTo>
                    <a:pt x="236220" y="102346"/>
                    <a:pt x="232458" y="93202"/>
                    <a:pt x="227457" y="84820"/>
                  </a:cubicBezTo>
                  <a:lnTo>
                    <a:pt x="249126" y="54245"/>
                  </a:lnTo>
                  <a:lnTo>
                    <a:pt x="221313" y="26432"/>
                  </a:lnTo>
                  <a:lnTo>
                    <a:pt x="190738" y="48149"/>
                  </a:lnTo>
                  <a:cubicBezTo>
                    <a:pt x="182356" y="43196"/>
                    <a:pt x="173212" y="39386"/>
                    <a:pt x="163544" y="36909"/>
                  </a:cubicBezTo>
                  <a:lnTo>
                    <a:pt x="157448" y="0"/>
                  </a:lnTo>
                  <a:lnTo>
                    <a:pt x="118110" y="0"/>
                  </a:lnTo>
                  <a:lnTo>
                    <a:pt x="112014" y="36957"/>
                  </a:lnTo>
                  <a:cubicBezTo>
                    <a:pt x="102346" y="39434"/>
                    <a:pt x="93202" y="43196"/>
                    <a:pt x="84820" y="48197"/>
                  </a:cubicBezTo>
                  <a:lnTo>
                    <a:pt x="54245" y="26480"/>
                  </a:lnTo>
                  <a:lnTo>
                    <a:pt x="26432" y="54293"/>
                  </a:lnTo>
                  <a:lnTo>
                    <a:pt x="48149" y="84868"/>
                  </a:lnTo>
                  <a:cubicBezTo>
                    <a:pt x="43196" y="93202"/>
                    <a:pt x="39434" y="102251"/>
                    <a:pt x="36957" y="111871"/>
                  </a:cubicBezTo>
                  <a:lnTo>
                    <a:pt x="0" y="118158"/>
                  </a:lnTo>
                  <a:lnTo>
                    <a:pt x="0" y="157496"/>
                  </a:lnTo>
                  <a:lnTo>
                    <a:pt x="29432" y="162735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2" name="Forma livre: Forma 151">
              <a:extLst>
                <a:ext uri="{FF2B5EF4-FFF2-40B4-BE49-F238E27FC236}">
                  <a16:creationId xmlns:a16="http://schemas.microsoft.com/office/drawing/2014/main" id="{71A24DD4-4066-D14F-62E6-4CE40289427B}"/>
                </a:ext>
              </a:extLst>
            </p:cNvPr>
            <p:cNvSpPr/>
            <p:nvPr/>
          </p:nvSpPr>
          <p:spPr>
            <a:xfrm>
              <a:off x="2149545" y="1606962"/>
              <a:ext cx="130492" cy="65246"/>
            </a:xfrm>
            <a:custGeom>
              <a:avLst/>
              <a:gdLst>
                <a:gd name="connsiteX0" fmla="*/ 0 w 130492"/>
                <a:gd name="connsiteY0" fmla="*/ 65246 h 65246"/>
                <a:gd name="connsiteX1" fmla="*/ 65246 w 130492"/>
                <a:gd name="connsiteY1" fmla="*/ 0 h 65246"/>
                <a:gd name="connsiteX2" fmla="*/ 130493 w 130492"/>
                <a:gd name="connsiteY2" fmla="*/ 65246 h 65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30492" h="65246">
                  <a:moveTo>
                    <a:pt x="0" y="65246"/>
                  </a:moveTo>
                  <a:cubicBezTo>
                    <a:pt x="0" y="29194"/>
                    <a:pt x="29194" y="0"/>
                    <a:pt x="65246" y="0"/>
                  </a:cubicBezTo>
                  <a:cubicBezTo>
                    <a:pt x="101298" y="0"/>
                    <a:pt x="130493" y="29194"/>
                    <a:pt x="130493" y="65246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53" name="Gráfico 2">
            <a:extLst>
              <a:ext uri="{FF2B5EF4-FFF2-40B4-BE49-F238E27FC236}">
                <a16:creationId xmlns:a16="http://schemas.microsoft.com/office/drawing/2014/main" id="{50384073-AB0F-E810-70A1-18FFF6B69C9B}"/>
              </a:ext>
            </a:extLst>
          </p:cNvPr>
          <p:cNvGrpSpPr/>
          <p:nvPr/>
        </p:nvGrpSpPr>
        <p:grpSpPr>
          <a:xfrm>
            <a:off x="2067863" y="2074965"/>
            <a:ext cx="293804" cy="276328"/>
            <a:chOff x="2067863" y="2074965"/>
            <a:chExt cx="293804" cy="276328"/>
          </a:xfrm>
          <a:noFill/>
        </p:grpSpPr>
        <p:grpSp>
          <p:nvGrpSpPr>
            <p:cNvPr id="154" name="Gráfico 2">
              <a:extLst>
                <a:ext uri="{FF2B5EF4-FFF2-40B4-BE49-F238E27FC236}">
                  <a16:creationId xmlns:a16="http://schemas.microsoft.com/office/drawing/2014/main" id="{C4C6A4B8-E7E2-F7F5-2899-608D3BC0660D}"/>
                </a:ext>
              </a:extLst>
            </p:cNvPr>
            <p:cNvGrpSpPr/>
            <p:nvPr/>
          </p:nvGrpSpPr>
          <p:grpSpPr>
            <a:xfrm>
              <a:off x="2067863" y="2074965"/>
              <a:ext cx="213365" cy="276328"/>
              <a:chOff x="2067863" y="2074965"/>
              <a:chExt cx="213365" cy="276328"/>
            </a:xfrm>
            <a:noFill/>
          </p:grpSpPr>
          <p:sp>
            <p:nvSpPr>
              <p:cNvPr id="155" name="Forma livre: Forma 154">
                <a:extLst>
                  <a:ext uri="{FF2B5EF4-FFF2-40B4-BE49-F238E27FC236}">
                    <a16:creationId xmlns:a16="http://schemas.microsoft.com/office/drawing/2014/main" id="{4A2ABE79-1570-7774-9081-1CBA2F4AD981}"/>
                  </a:ext>
                </a:extLst>
              </p:cNvPr>
              <p:cNvSpPr/>
              <p:nvPr/>
            </p:nvSpPr>
            <p:spPr>
              <a:xfrm>
                <a:off x="2067863" y="2074965"/>
                <a:ext cx="213365" cy="276328"/>
              </a:xfrm>
              <a:custGeom>
                <a:avLst/>
                <a:gdLst>
                  <a:gd name="connsiteX0" fmla="*/ 213366 w 213365"/>
                  <a:gd name="connsiteY0" fmla="*/ 22725 h 276328"/>
                  <a:gd name="connsiteX1" fmla="*/ 68395 w 213365"/>
                  <a:gd name="connsiteY1" fmla="*/ 19105 h 276328"/>
                  <a:gd name="connsiteX2" fmla="*/ 33486 w 213365"/>
                  <a:gd name="connsiteY2" fmla="*/ 99544 h 276328"/>
                  <a:gd name="connsiteX3" fmla="*/ 29962 w 213365"/>
                  <a:gd name="connsiteY3" fmla="*/ 124690 h 276328"/>
                  <a:gd name="connsiteX4" fmla="*/ 625 w 213365"/>
                  <a:gd name="connsiteY4" fmla="*/ 159170 h 276328"/>
                  <a:gd name="connsiteX5" fmla="*/ 8435 w 213365"/>
                  <a:gd name="connsiteY5" fmla="*/ 170410 h 276328"/>
                  <a:gd name="connsiteX6" fmla="*/ 26295 w 213365"/>
                  <a:gd name="connsiteY6" fmla="*/ 174077 h 276328"/>
                  <a:gd name="connsiteX7" fmla="*/ 34534 w 213365"/>
                  <a:gd name="connsiteY7" fmla="*/ 199842 h 276328"/>
                  <a:gd name="connsiteX8" fmla="*/ 32676 w 213365"/>
                  <a:gd name="connsiteY8" fmla="*/ 224893 h 276328"/>
                  <a:gd name="connsiteX9" fmla="*/ 36296 w 213365"/>
                  <a:gd name="connsiteY9" fmla="*/ 249087 h 276328"/>
                  <a:gd name="connsiteX10" fmla="*/ 97780 w 213365"/>
                  <a:gd name="connsiteY10" fmla="*/ 246658 h 276328"/>
                  <a:gd name="connsiteX11" fmla="*/ 106019 w 213365"/>
                  <a:gd name="connsiteY11" fmla="*/ 276328 h 2763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213365" h="276328">
                    <a:moveTo>
                      <a:pt x="213366" y="22725"/>
                    </a:moveTo>
                    <a:cubicBezTo>
                      <a:pt x="213366" y="22725"/>
                      <a:pt x="147738" y="-25900"/>
                      <a:pt x="68395" y="19105"/>
                    </a:cubicBezTo>
                    <a:cubicBezTo>
                      <a:pt x="68395" y="19105"/>
                      <a:pt x="24152" y="38251"/>
                      <a:pt x="33486" y="99544"/>
                    </a:cubicBezTo>
                    <a:cubicBezTo>
                      <a:pt x="33486" y="99544"/>
                      <a:pt x="35391" y="116689"/>
                      <a:pt x="29962" y="124690"/>
                    </a:cubicBezTo>
                    <a:lnTo>
                      <a:pt x="625" y="159170"/>
                    </a:lnTo>
                    <a:cubicBezTo>
                      <a:pt x="625" y="159170"/>
                      <a:pt x="-3280" y="169410"/>
                      <a:pt x="8435" y="170410"/>
                    </a:cubicBezTo>
                    <a:lnTo>
                      <a:pt x="26295" y="174077"/>
                    </a:lnTo>
                    <a:cubicBezTo>
                      <a:pt x="26295" y="174077"/>
                      <a:pt x="33772" y="188650"/>
                      <a:pt x="34534" y="199842"/>
                    </a:cubicBezTo>
                    <a:cubicBezTo>
                      <a:pt x="35296" y="211034"/>
                      <a:pt x="32676" y="224893"/>
                      <a:pt x="32676" y="224893"/>
                    </a:cubicBezTo>
                    <a:cubicBezTo>
                      <a:pt x="32676" y="224893"/>
                      <a:pt x="26342" y="241705"/>
                      <a:pt x="36296" y="249087"/>
                    </a:cubicBezTo>
                    <a:cubicBezTo>
                      <a:pt x="38249" y="249563"/>
                      <a:pt x="45583" y="257897"/>
                      <a:pt x="97780" y="246658"/>
                    </a:cubicBezTo>
                    <a:cubicBezTo>
                      <a:pt x="97780" y="246658"/>
                      <a:pt x="102828" y="249039"/>
                      <a:pt x="106019" y="276328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56" name="Forma livre: Forma 155">
                <a:extLst>
                  <a:ext uri="{FF2B5EF4-FFF2-40B4-BE49-F238E27FC236}">
                    <a16:creationId xmlns:a16="http://schemas.microsoft.com/office/drawing/2014/main" id="{E003E5D0-FB21-AC8B-469C-7C6A445A77D3}"/>
                  </a:ext>
                </a:extLst>
              </p:cNvPr>
              <p:cNvSpPr/>
              <p:nvPr/>
            </p:nvSpPr>
            <p:spPr>
              <a:xfrm>
                <a:off x="2104635" y="2275522"/>
                <a:ext cx="22431" cy="381"/>
              </a:xfrm>
              <a:custGeom>
                <a:avLst/>
                <a:gdLst>
                  <a:gd name="connsiteX0" fmla="*/ 0 w 22431"/>
                  <a:gd name="connsiteY0" fmla="*/ 0 h 381"/>
                  <a:gd name="connsiteX1" fmla="*/ 22431 w 22431"/>
                  <a:gd name="connsiteY1" fmla="*/ 381 h 3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2431" h="381">
                    <a:moveTo>
                      <a:pt x="0" y="0"/>
                    </a:moveTo>
                    <a:lnTo>
                      <a:pt x="22431" y="381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57" name="Gráfico 2">
              <a:extLst>
                <a:ext uri="{FF2B5EF4-FFF2-40B4-BE49-F238E27FC236}">
                  <a16:creationId xmlns:a16="http://schemas.microsoft.com/office/drawing/2014/main" id="{C3BE88EA-C8A6-5A1E-49F3-253962D3F727}"/>
                </a:ext>
              </a:extLst>
            </p:cNvPr>
            <p:cNvGrpSpPr/>
            <p:nvPr/>
          </p:nvGrpSpPr>
          <p:grpSpPr>
            <a:xfrm>
              <a:off x="2208172" y="2297334"/>
              <a:ext cx="153495" cy="52006"/>
              <a:chOff x="2208172" y="2297334"/>
              <a:chExt cx="153495" cy="52006"/>
            </a:xfrm>
            <a:noFill/>
          </p:grpSpPr>
          <p:sp>
            <p:nvSpPr>
              <p:cNvPr id="158" name="Forma livre: Forma 157">
                <a:extLst>
                  <a:ext uri="{FF2B5EF4-FFF2-40B4-BE49-F238E27FC236}">
                    <a16:creationId xmlns:a16="http://schemas.microsoft.com/office/drawing/2014/main" id="{C1B7E267-0117-1396-F829-C3B16E2873E8}"/>
                  </a:ext>
                </a:extLst>
              </p:cNvPr>
              <p:cNvSpPr/>
              <p:nvPr/>
            </p:nvSpPr>
            <p:spPr>
              <a:xfrm>
                <a:off x="2286086" y="2297382"/>
                <a:ext cx="60959" cy="22193"/>
              </a:xfrm>
              <a:custGeom>
                <a:avLst/>
                <a:gdLst>
                  <a:gd name="connsiteX0" fmla="*/ 60960 w 60959"/>
                  <a:gd name="connsiteY0" fmla="*/ 22193 h 22193"/>
                  <a:gd name="connsiteX1" fmla="*/ 60960 w 60959"/>
                  <a:gd name="connsiteY1" fmla="*/ 6144 h 22193"/>
                  <a:gd name="connsiteX2" fmla="*/ 54531 w 60959"/>
                  <a:gd name="connsiteY2" fmla="*/ 0 h 22193"/>
                  <a:gd name="connsiteX3" fmla="*/ 0 w 60959"/>
                  <a:gd name="connsiteY3" fmla="*/ 0 h 221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0959" h="22193">
                    <a:moveTo>
                      <a:pt x="60960" y="22193"/>
                    </a:moveTo>
                    <a:lnTo>
                      <a:pt x="60960" y="6144"/>
                    </a:lnTo>
                    <a:cubicBezTo>
                      <a:pt x="60960" y="2905"/>
                      <a:pt x="57674" y="0"/>
                      <a:pt x="54531" y="0"/>
                    </a:cubicBezTo>
                    <a:lnTo>
                      <a:pt x="0" y="0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59" name="Forma livre: Forma 158">
                <a:extLst>
                  <a:ext uri="{FF2B5EF4-FFF2-40B4-BE49-F238E27FC236}">
                    <a16:creationId xmlns:a16="http://schemas.microsoft.com/office/drawing/2014/main" id="{E95ABF92-0655-36B2-ECAB-EC82550776D0}"/>
                  </a:ext>
                </a:extLst>
              </p:cNvPr>
              <p:cNvSpPr/>
              <p:nvPr/>
            </p:nvSpPr>
            <p:spPr>
              <a:xfrm>
                <a:off x="2208172" y="2297334"/>
                <a:ext cx="153495" cy="52006"/>
              </a:xfrm>
              <a:custGeom>
                <a:avLst/>
                <a:gdLst>
                  <a:gd name="connsiteX0" fmla="*/ 70866 w 153495"/>
                  <a:gd name="connsiteY0" fmla="*/ 23813 h 52006"/>
                  <a:gd name="connsiteX1" fmla="*/ 147066 w 153495"/>
                  <a:gd name="connsiteY1" fmla="*/ 23813 h 52006"/>
                  <a:gd name="connsiteX2" fmla="*/ 153495 w 153495"/>
                  <a:gd name="connsiteY2" fmla="*/ 29956 h 52006"/>
                  <a:gd name="connsiteX3" fmla="*/ 153495 w 153495"/>
                  <a:gd name="connsiteY3" fmla="*/ 52006 h 52006"/>
                  <a:gd name="connsiteX4" fmla="*/ 0 w 153495"/>
                  <a:gd name="connsiteY4" fmla="*/ 52006 h 52006"/>
                  <a:gd name="connsiteX5" fmla="*/ 0 w 153495"/>
                  <a:gd name="connsiteY5" fmla="*/ 29956 h 52006"/>
                  <a:gd name="connsiteX6" fmla="*/ 6477 w 153495"/>
                  <a:gd name="connsiteY6" fmla="*/ 23813 h 52006"/>
                  <a:gd name="connsiteX7" fmla="*/ 14669 w 153495"/>
                  <a:gd name="connsiteY7" fmla="*/ 23813 h 52006"/>
                  <a:gd name="connsiteX8" fmla="*/ 14669 w 153495"/>
                  <a:gd name="connsiteY8" fmla="*/ 6144 h 52006"/>
                  <a:gd name="connsiteX9" fmla="*/ 21146 w 153495"/>
                  <a:gd name="connsiteY9" fmla="*/ 0 h 52006"/>
                  <a:gd name="connsiteX10" fmla="*/ 44529 w 153495"/>
                  <a:gd name="connsiteY10" fmla="*/ 0 h 520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153495" h="52006">
                    <a:moveTo>
                      <a:pt x="70866" y="23813"/>
                    </a:moveTo>
                    <a:lnTo>
                      <a:pt x="147066" y="23813"/>
                    </a:lnTo>
                    <a:cubicBezTo>
                      <a:pt x="150209" y="23813"/>
                      <a:pt x="153495" y="26718"/>
                      <a:pt x="153495" y="29956"/>
                    </a:cubicBezTo>
                    <a:lnTo>
                      <a:pt x="153495" y="52006"/>
                    </a:lnTo>
                    <a:lnTo>
                      <a:pt x="0" y="52006"/>
                    </a:lnTo>
                    <a:lnTo>
                      <a:pt x="0" y="29956"/>
                    </a:lnTo>
                    <a:cubicBezTo>
                      <a:pt x="0" y="26718"/>
                      <a:pt x="3286" y="23813"/>
                      <a:pt x="6477" y="23813"/>
                    </a:cubicBezTo>
                    <a:lnTo>
                      <a:pt x="14669" y="23813"/>
                    </a:lnTo>
                    <a:lnTo>
                      <a:pt x="14669" y="6144"/>
                    </a:lnTo>
                    <a:cubicBezTo>
                      <a:pt x="14669" y="2905"/>
                      <a:pt x="17955" y="0"/>
                      <a:pt x="21146" y="0"/>
                    </a:cubicBezTo>
                    <a:lnTo>
                      <a:pt x="44529" y="0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60" name="Gráfico 2">
              <a:extLst>
                <a:ext uri="{FF2B5EF4-FFF2-40B4-BE49-F238E27FC236}">
                  <a16:creationId xmlns:a16="http://schemas.microsoft.com/office/drawing/2014/main" id="{C167E227-025C-C6EB-C638-F57BD282EFAB}"/>
                </a:ext>
              </a:extLst>
            </p:cNvPr>
            <p:cNvGrpSpPr/>
            <p:nvPr/>
          </p:nvGrpSpPr>
          <p:grpSpPr>
            <a:xfrm>
              <a:off x="2227603" y="2124693"/>
              <a:ext cx="114680" cy="170735"/>
              <a:chOff x="2227603" y="2124693"/>
              <a:chExt cx="114680" cy="170735"/>
            </a:xfrm>
            <a:noFill/>
          </p:grpSpPr>
          <p:sp>
            <p:nvSpPr>
              <p:cNvPr id="161" name="Forma livre: Forma 160">
                <a:extLst>
                  <a:ext uri="{FF2B5EF4-FFF2-40B4-BE49-F238E27FC236}">
                    <a16:creationId xmlns:a16="http://schemas.microsoft.com/office/drawing/2014/main" id="{3A3D72BD-684C-4BFB-5329-07102D9AAE3E}"/>
                  </a:ext>
                </a:extLst>
              </p:cNvPr>
              <p:cNvSpPr/>
              <p:nvPr/>
            </p:nvSpPr>
            <p:spPr>
              <a:xfrm>
                <a:off x="2273465" y="2124693"/>
                <a:ext cx="68818" cy="170735"/>
              </a:xfrm>
              <a:custGeom>
                <a:avLst/>
                <a:gdLst>
                  <a:gd name="connsiteX0" fmla="*/ 0 w 68818"/>
                  <a:gd name="connsiteY0" fmla="*/ 22288 h 170735"/>
                  <a:gd name="connsiteX1" fmla="*/ 0 w 68818"/>
                  <a:gd name="connsiteY1" fmla="*/ 0 h 170735"/>
                  <a:gd name="connsiteX2" fmla="*/ 22955 w 68818"/>
                  <a:gd name="connsiteY2" fmla="*/ 0 h 170735"/>
                  <a:gd name="connsiteX3" fmla="*/ 22955 w 68818"/>
                  <a:gd name="connsiteY3" fmla="*/ 22288 h 170735"/>
                  <a:gd name="connsiteX4" fmla="*/ 46101 w 68818"/>
                  <a:gd name="connsiteY4" fmla="*/ 22288 h 170735"/>
                  <a:gd name="connsiteX5" fmla="*/ 46101 w 68818"/>
                  <a:gd name="connsiteY5" fmla="*/ 0 h 170735"/>
                  <a:gd name="connsiteX6" fmla="*/ 68818 w 68818"/>
                  <a:gd name="connsiteY6" fmla="*/ 0 h 170735"/>
                  <a:gd name="connsiteX7" fmla="*/ 68818 w 68818"/>
                  <a:gd name="connsiteY7" fmla="*/ 41910 h 170735"/>
                  <a:gd name="connsiteX8" fmla="*/ 46673 w 68818"/>
                  <a:gd name="connsiteY8" fmla="*/ 54292 h 170735"/>
                  <a:gd name="connsiteX9" fmla="*/ 60579 w 68818"/>
                  <a:gd name="connsiteY9" fmla="*/ 170736 h 1707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68818" h="170735">
                    <a:moveTo>
                      <a:pt x="0" y="22288"/>
                    </a:moveTo>
                    <a:lnTo>
                      <a:pt x="0" y="0"/>
                    </a:lnTo>
                    <a:lnTo>
                      <a:pt x="22955" y="0"/>
                    </a:lnTo>
                    <a:lnTo>
                      <a:pt x="22955" y="22288"/>
                    </a:lnTo>
                    <a:lnTo>
                      <a:pt x="46101" y="22288"/>
                    </a:lnTo>
                    <a:lnTo>
                      <a:pt x="46101" y="0"/>
                    </a:lnTo>
                    <a:lnTo>
                      <a:pt x="68818" y="0"/>
                    </a:lnTo>
                    <a:lnTo>
                      <a:pt x="68818" y="41910"/>
                    </a:lnTo>
                    <a:lnTo>
                      <a:pt x="46673" y="54292"/>
                    </a:lnTo>
                    <a:lnTo>
                      <a:pt x="60579" y="170736"/>
                    </a:lnTo>
                  </a:path>
                </a:pathLst>
              </a:custGeom>
              <a:noFill/>
              <a:ln w="6350" cap="sq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62" name="Forma livre: Forma 161">
                <a:extLst>
                  <a:ext uri="{FF2B5EF4-FFF2-40B4-BE49-F238E27FC236}">
                    <a16:creationId xmlns:a16="http://schemas.microsoft.com/office/drawing/2014/main" id="{C45E441D-6FAD-2628-0B28-26CEDC10FAFD}"/>
                  </a:ext>
                </a:extLst>
              </p:cNvPr>
              <p:cNvSpPr/>
              <p:nvPr/>
            </p:nvSpPr>
            <p:spPr>
              <a:xfrm>
                <a:off x="2227603" y="2124693"/>
                <a:ext cx="22669" cy="170735"/>
              </a:xfrm>
              <a:custGeom>
                <a:avLst/>
                <a:gdLst>
                  <a:gd name="connsiteX0" fmla="*/ 8239 w 22669"/>
                  <a:gd name="connsiteY0" fmla="*/ 170736 h 170735"/>
                  <a:gd name="connsiteX1" fmla="*/ 22146 w 22669"/>
                  <a:gd name="connsiteY1" fmla="*/ 54292 h 170735"/>
                  <a:gd name="connsiteX2" fmla="*/ 0 w 22669"/>
                  <a:gd name="connsiteY2" fmla="*/ 41910 h 170735"/>
                  <a:gd name="connsiteX3" fmla="*/ 0 w 22669"/>
                  <a:gd name="connsiteY3" fmla="*/ 0 h 170735"/>
                  <a:gd name="connsiteX4" fmla="*/ 22669 w 22669"/>
                  <a:gd name="connsiteY4" fmla="*/ 0 h 170735"/>
                  <a:gd name="connsiteX5" fmla="*/ 22669 w 22669"/>
                  <a:gd name="connsiteY5" fmla="*/ 22288 h 1707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2669" h="170735">
                    <a:moveTo>
                      <a:pt x="8239" y="170736"/>
                    </a:moveTo>
                    <a:lnTo>
                      <a:pt x="22146" y="54292"/>
                    </a:lnTo>
                    <a:lnTo>
                      <a:pt x="0" y="41910"/>
                    </a:lnTo>
                    <a:lnTo>
                      <a:pt x="0" y="0"/>
                    </a:lnTo>
                    <a:lnTo>
                      <a:pt x="22669" y="0"/>
                    </a:lnTo>
                    <a:lnTo>
                      <a:pt x="22669" y="22288"/>
                    </a:lnTo>
                  </a:path>
                </a:pathLst>
              </a:custGeom>
              <a:noFill/>
              <a:ln w="6350" cap="sq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63" name="Forma livre: Forma 162">
              <a:extLst>
                <a:ext uri="{FF2B5EF4-FFF2-40B4-BE49-F238E27FC236}">
                  <a16:creationId xmlns:a16="http://schemas.microsoft.com/office/drawing/2014/main" id="{B286E51B-2EF4-6593-0020-69ABA1A88275}"/>
                </a:ext>
              </a:extLst>
            </p:cNvPr>
            <p:cNvSpPr/>
            <p:nvPr/>
          </p:nvSpPr>
          <p:spPr>
            <a:xfrm>
              <a:off x="2270703" y="2181558"/>
              <a:ext cx="46624" cy="4762"/>
            </a:xfrm>
            <a:custGeom>
              <a:avLst/>
              <a:gdLst>
                <a:gd name="connsiteX0" fmla="*/ 46625 w 46624"/>
                <a:gd name="connsiteY0" fmla="*/ 0 h 4762"/>
                <a:gd name="connsiteX1" fmla="*/ 0 w 46624"/>
                <a:gd name="connsiteY1" fmla="*/ 0 h 47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6624" h="4762">
                  <a:moveTo>
                    <a:pt x="46625" y="0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64" name="Gráfico 2">
            <a:extLst>
              <a:ext uri="{FF2B5EF4-FFF2-40B4-BE49-F238E27FC236}">
                <a16:creationId xmlns:a16="http://schemas.microsoft.com/office/drawing/2014/main" id="{8EC696C7-9DCB-6712-27CF-0D13D537B661}"/>
              </a:ext>
            </a:extLst>
          </p:cNvPr>
          <p:cNvGrpSpPr/>
          <p:nvPr/>
        </p:nvGrpSpPr>
        <p:grpSpPr>
          <a:xfrm>
            <a:off x="1462481" y="1008063"/>
            <a:ext cx="264244" cy="287812"/>
            <a:chOff x="1462481" y="1008063"/>
            <a:chExt cx="264244" cy="287812"/>
          </a:xfrm>
          <a:noFill/>
        </p:grpSpPr>
        <p:grpSp>
          <p:nvGrpSpPr>
            <p:cNvPr id="165" name="Gráfico 2">
              <a:extLst>
                <a:ext uri="{FF2B5EF4-FFF2-40B4-BE49-F238E27FC236}">
                  <a16:creationId xmlns:a16="http://schemas.microsoft.com/office/drawing/2014/main" id="{195AFC1C-71C5-216B-6AD8-9CFE48941B5E}"/>
                </a:ext>
              </a:extLst>
            </p:cNvPr>
            <p:cNvGrpSpPr/>
            <p:nvPr/>
          </p:nvGrpSpPr>
          <p:grpSpPr>
            <a:xfrm>
              <a:off x="1462481" y="1008063"/>
              <a:ext cx="264244" cy="287812"/>
              <a:chOff x="1462481" y="1008063"/>
              <a:chExt cx="264244" cy="287812"/>
            </a:xfrm>
            <a:noFill/>
          </p:grpSpPr>
          <p:sp>
            <p:nvSpPr>
              <p:cNvPr id="166" name="Forma livre: Forma 165">
                <a:extLst>
                  <a:ext uri="{FF2B5EF4-FFF2-40B4-BE49-F238E27FC236}">
                    <a16:creationId xmlns:a16="http://schemas.microsoft.com/office/drawing/2014/main" id="{C1BD02FA-39A4-5A42-6C72-D70A8FFCC52C}"/>
                  </a:ext>
                </a:extLst>
              </p:cNvPr>
              <p:cNvSpPr/>
              <p:nvPr/>
            </p:nvSpPr>
            <p:spPr>
              <a:xfrm>
                <a:off x="1462481" y="1008063"/>
                <a:ext cx="264244" cy="287812"/>
              </a:xfrm>
              <a:custGeom>
                <a:avLst/>
                <a:gdLst>
                  <a:gd name="connsiteX0" fmla="*/ 227435 w 264244"/>
                  <a:gd name="connsiteY0" fmla="*/ 287813 h 287812"/>
                  <a:gd name="connsiteX1" fmla="*/ 222911 w 264244"/>
                  <a:gd name="connsiteY1" fmla="*/ 228615 h 287812"/>
                  <a:gd name="connsiteX2" fmla="*/ 247247 w 264244"/>
                  <a:gd name="connsiteY2" fmla="*/ 168750 h 287812"/>
                  <a:gd name="connsiteX3" fmla="*/ 221863 w 264244"/>
                  <a:gd name="connsiteY3" fmla="*/ 23637 h 287812"/>
                  <a:gd name="connsiteX4" fmla="*/ 71082 w 264244"/>
                  <a:gd name="connsiteY4" fmla="*/ 19874 h 287812"/>
                  <a:gd name="connsiteX5" fmla="*/ 34792 w 264244"/>
                  <a:gd name="connsiteY5" fmla="*/ 103551 h 287812"/>
                  <a:gd name="connsiteX6" fmla="*/ 31125 w 264244"/>
                  <a:gd name="connsiteY6" fmla="*/ 129698 h 287812"/>
                  <a:gd name="connsiteX7" fmla="*/ 645 w 264244"/>
                  <a:gd name="connsiteY7" fmla="*/ 165559 h 287812"/>
                  <a:gd name="connsiteX8" fmla="*/ 8789 w 264244"/>
                  <a:gd name="connsiteY8" fmla="*/ 177227 h 287812"/>
                  <a:gd name="connsiteX9" fmla="*/ 27362 w 264244"/>
                  <a:gd name="connsiteY9" fmla="*/ 181037 h 287812"/>
                  <a:gd name="connsiteX10" fmla="*/ 35887 w 264244"/>
                  <a:gd name="connsiteY10" fmla="*/ 207850 h 287812"/>
                  <a:gd name="connsiteX11" fmla="*/ 33935 w 264244"/>
                  <a:gd name="connsiteY11" fmla="*/ 233901 h 287812"/>
                  <a:gd name="connsiteX12" fmla="*/ 37697 w 264244"/>
                  <a:gd name="connsiteY12" fmla="*/ 259095 h 287812"/>
                  <a:gd name="connsiteX13" fmla="*/ 101657 w 264244"/>
                  <a:gd name="connsiteY13" fmla="*/ 256571 h 287812"/>
                  <a:gd name="connsiteX14" fmla="*/ 110230 w 264244"/>
                  <a:gd name="connsiteY14" fmla="*/ 287432 h 2878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264244" h="287812">
                    <a:moveTo>
                      <a:pt x="227435" y="287813"/>
                    </a:moveTo>
                    <a:cubicBezTo>
                      <a:pt x="225006" y="273763"/>
                      <a:pt x="221529" y="250903"/>
                      <a:pt x="222911" y="228615"/>
                    </a:cubicBezTo>
                    <a:cubicBezTo>
                      <a:pt x="222911" y="228615"/>
                      <a:pt x="231007" y="192086"/>
                      <a:pt x="247247" y="168750"/>
                    </a:cubicBezTo>
                    <a:cubicBezTo>
                      <a:pt x="247247" y="168750"/>
                      <a:pt x="299015" y="80453"/>
                      <a:pt x="221863" y="23637"/>
                    </a:cubicBezTo>
                    <a:cubicBezTo>
                      <a:pt x="221863" y="23637"/>
                      <a:pt x="153616" y="-26941"/>
                      <a:pt x="71082" y="19874"/>
                    </a:cubicBezTo>
                    <a:cubicBezTo>
                      <a:pt x="71082" y="19874"/>
                      <a:pt x="25029" y="39782"/>
                      <a:pt x="34792" y="103551"/>
                    </a:cubicBezTo>
                    <a:cubicBezTo>
                      <a:pt x="34792" y="103551"/>
                      <a:pt x="36744" y="121363"/>
                      <a:pt x="31125" y="129698"/>
                    </a:cubicBezTo>
                    <a:lnTo>
                      <a:pt x="645" y="165559"/>
                    </a:lnTo>
                    <a:cubicBezTo>
                      <a:pt x="645" y="165559"/>
                      <a:pt x="-3403" y="176227"/>
                      <a:pt x="8789" y="177227"/>
                    </a:cubicBezTo>
                    <a:lnTo>
                      <a:pt x="27362" y="181037"/>
                    </a:lnTo>
                    <a:cubicBezTo>
                      <a:pt x="27362" y="181037"/>
                      <a:pt x="35125" y="196182"/>
                      <a:pt x="35887" y="207850"/>
                    </a:cubicBezTo>
                    <a:cubicBezTo>
                      <a:pt x="36649" y="219518"/>
                      <a:pt x="33935" y="233901"/>
                      <a:pt x="33935" y="233901"/>
                    </a:cubicBezTo>
                    <a:cubicBezTo>
                      <a:pt x="33935" y="233901"/>
                      <a:pt x="27315" y="251379"/>
                      <a:pt x="37697" y="259095"/>
                    </a:cubicBezTo>
                    <a:cubicBezTo>
                      <a:pt x="39745" y="259619"/>
                      <a:pt x="47365" y="268239"/>
                      <a:pt x="101657" y="256571"/>
                    </a:cubicBezTo>
                    <a:cubicBezTo>
                      <a:pt x="101657" y="256571"/>
                      <a:pt x="106896" y="259047"/>
                      <a:pt x="110230" y="287432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67" name="Forma livre: Forma 166">
                <a:extLst>
                  <a:ext uri="{FF2B5EF4-FFF2-40B4-BE49-F238E27FC236}">
                    <a16:creationId xmlns:a16="http://schemas.microsoft.com/office/drawing/2014/main" id="{27084F78-1C60-5559-A2B7-5F232FEC73F4}"/>
                  </a:ext>
                </a:extLst>
              </p:cNvPr>
              <p:cNvSpPr/>
              <p:nvPr/>
            </p:nvSpPr>
            <p:spPr>
              <a:xfrm>
                <a:off x="1500702" y="1216675"/>
                <a:ext cx="23288" cy="428"/>
              </a:xfrm>
              <a:custGeom>
                <a:avLst/>
                <a:gdLst>
                  <a:gd name="connsiteX0" fmla="*/ 0 w 23288"/>
                  <a:gd name="connsiteY0" fmla="*/ 0 h 428"/>
                  <a:gd name="connsiteX1" fmla="*/ 23289 w 23288"/>
                  <a:gd name="connsiteY1" fmla="*/ 429 h 4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3288" h="428">
                    <a:moveTo>
                      <a:pt x="0" y="0"/>
                    </a:moveTo>
                    <a:lnTo>
                      <a:pt x="23289" y="429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68" name="Gráfico 2">
              <a:extLst>
                <a:ext uri="{FF2B5EF4-FFF2-40B4-BE49-F238E27FC236}">
                  <a16:creationId xmlns:a16="http://schemas.microsoft.com/office/drawing/2014/main" id="{257C4FCF-9B40-095E-95E4-1341E06D9531}"/>
                </a:ext>
              </a:extLst>
            </p:cNvPr>
            <p:cNvGrpSpPr/>
            <p:nvPr/>
          </p:nvGrpSpPr>
          <p:grpSpPr>
            <a:xfrm>
              <a:off x="1535373" y="1042463"/>
              <a:ext cx="147256" cy="147637"/>
              <a:chOff x="1535373" y="1042463"/>
              <a:chExt cx="147256" cy="147637"/>
            </a:xfrm>
            <a:noFill/>
          </p:grpSpPr>
          <p:sp>
            <p:nvSpPr>
              <p:cNvPr id="169" name="Forma livre: Forma 168">
                <a:extLst>
                  <a:ext uri="{FF2B5EF4-FFF2-40B4-BE49-F238E27FC236}">
                    <a16:creationId xmlns:a16="http://schemas.microsoft.com/office/drawing/2014/main" id="{AE483798-33C5-05FF-AF82-D442F5C02561}"/>
                  </a:ext>
                </a:extLst>
              </p:cNvPr>
              <p:cNvSpPr/>
              <p:nvPr/>
            </p:nvSpPr>
            <p:spPr>
              <a:xfrm>
                <a:off x="1535373" y="1042463"/>
                <a:ext cx="147256" cy="147637"/>
              </a:xfrm>
              <a:custGeom>
                <a:avLst/>
                <a:gdLst>
                  <a:gd name="connsiteX0" fmla="*/ 147257 w 147256"/>
                  <a:gd name="connsiteY0" fmla="*/ 81582 h 147637"/>
                  <a:gd name="connsiteX1" fmla="*/ 73819 w 147256"/>
                  <a:gd name="connsiteY1" fmla="*/ 147638 h 147637"/>
                  <a:gd name="connsiteX2" fmla="*/ 0 w 147256"/>
                  <a:gd name="connsiteY2" fmla="*/ 73819 h 147637"/>
                  <a:gd name="connsiteX3" fmla="*/ 73819 w 147256"/>
                  <a:gd name="connsiteY3" fmla="*/ 0 h 147637"/>
                  <a:gd name="connsiteX4" fmla="*/ 147257 w 147256"/>
                  <a:gd name="connsiteY4" fmla="*/ 66056 h 1476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47256" h="147637">
                    <a:moveTo>
                      <a:pt x="147257" y="81582"/>
                    </a:moveTo>
                    <a:cubicBezTo>
                      <a:pt x="143399" y="118682"/>
                      <a:pt x="112014" y="147638"/>
                      <a:pt x="73819" y="147638"/>
                    </a:cubicBezTo>
                    <a:cubicBezTo>
                      <a:pt x="33052" y="147638"/>
                      <a:pt x="0" y="114586"/>
                      <a:pt x="0" y="73819"/>
                    </a:cubicBezTo>
                    <a:cubicBezTo>
                      <a:pt x="0" y="33052"/>
                      <a:pt x="33052" y="0"/>
                      <a:pt x="73819" y="0"/>
                    </a:cubicBezTo>
                    <a:cubicBezTo>
                      <a:pt x="111966" y="0"/>
                      <a:pt x="143351" y="28956"/>
                      <a:pt x="147257" y="66056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70" name="Forma livre: Forma 169">
                <a:extLst>
                  <a:ext uri="{FF2B5EF4-FFF2-40B4-BE49-F238E27FC236}">
                    <a16:creationId xmlns:a16="http://schemas.microsoft.com/office/drawing/2014/main" id="{4B780FFF-3927-A82B-53B2-6931F45944DE}"/>
                  </a:ext>
                </a:extLst>
              </p:cNvPr>
              <p:cNvSpPr/>
              <p:nvPr/>
            </p:nvSpPr>
            <p:spPr>
              <a:xfrm>
                <a:off x="1562757" y="1077181"/>
                <a:ext cx="58769" cy="85582"/>
              </a:xfrm>
              <a:custGeom>
                <a:avLst/>
                <a:gdLst>
                  <a:gd name="connsiteX0" fmla="*/ 58769 w 58769"/>
                  <a:gd name="connsiteY0" fmla="*/ 83915 h 85582"/>
                  <a:gd name="connsiteX1" fmla="*/ 46434 w 58769"/>
                  <a:gd name="connsiteY1" fmla="*/ 85582 h 85582"/>
                  <a:gd name="connsiteX2" fmla="*/ 0 w 58769"/>
                  <a:gd name="connsiteY2" fmla="*/ 39148 h 85582"/>
                  <a:gd name="connsiteX3" fmla="*/ 21479 w 58769"/>
                  <a:gd name="connsiteY3" fmla="*/ 0 h 855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8769" h="85582">
                    <a:moveTo>
                      <a:pt x="58769" y="83915"/>
                    </a:moveTo>
                    <a:cubicBezTo>
                      <a:pt x="54864" y="85011"/>
                      <a:pt x="50721" y="85582"/>
                      <a:pt x="46434" y="85582"/>
                    </a:cubicBezTo>
                    <a:cubicBezTo>
                      <a:pt x="20812" y="85582"/>
                      <a:pt x="0" y="64770"/>
                      <a:pt x="0" y="39148"/>
                    </a:cubicBezTo>
                    <a:cubicBezTo>
                      <a:pt x="0" y="22717"/>
                      <a:pt x="8573" y="8239"/>
                      <a:pt x="21479" y="0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71" name="Forma livre: Forma 170">
                <a:extLst>
                  <a:ext uri="{FF2B5EF4-FFF2-40B4-BE49-F238E27FC236}">
                    <a16:creationId xmlns:a16="http://schemas.microsoft.com/office/drawing/2014/main" id="{CD14FB98-EA07-8C90-AA82-C2D4B55BD6DB}"/>
                  </a:ext>
                </a:extLst>
              </p:cNvPr>
              <p:cNvSpPr/>
              <p:nvPr/>
            </p:nvSpPr>
            <p:spPr>
              <a:xfrm>
                <a:off x="1600000" y="1069847"/>
                <a:ext cx="55625" cy="84296"/>
              </a:xfrm>
              <a:custGeom>
                <a:avLst/>
                <a:gdLst>
                  <a:gd name="connsiteX0" fmla="*/ 0 w 55625"/>
                  <a:gd name="connsiteY0" fmla="*/ 905 h 84296"/>
                  <a:gd name="connsiteX1" fmla="*/ 9192 w 55625"/>
                  <a:gd name="connsiteY1" fmla="*/ 0 h 84296"/>
                  <a:gd name="connsiteX2" fmla="*/ 55626 w 55625"/>
                  <a:gd name="connsiteY2" fmla="*/ 46434 h 84296"/>
                  <a:gd name="connsiteX3" fmla="*/ 36100 w 55625"/>
                  <a:gd name="connsiteY3" fmla="*/ 84296 h 842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5625" h="84296">
                    <a:moveTo>
                      <a:pt x="0" y="905"/>
                    </a:moveTo>
                    <a:cubicBezTo>
                      <a:pt x="2953" y="333"/>
                      <a:pt x="6048" y="0"/>
                      <a:pt x="9192" y="0"/>
                    </a:cubicBezTo>
                    <a:cubicBezTo>
                      <a:pt x="34814" y="0"/>
                      <a:pt x="55626" y="20812"/>
                      <a:pt x="55626" y="46434"/>
                    </a:cubicBezTo>
                    <a:cubicBezTo>
                      <a:pt x="55626" y="62055"/>
                      <a:pt x="47911" y="75867"/>
                      <a:pt x="36100" y="84296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72" name="Forma livre: Forma 171">
                <a:extLst>
                  <a:ext uri="{FF2B5EF4-FFF2-40B4-BE49-F238E27FC236}">
                    <a16:creationId xmlns:a16="http://schemas.microsoft.com/office/drawing/2014/main" id="{0A375BF9-7E1B-F9A5-F9AF-A5F6D9C4020B}"/>
                  </a:ext>
                </a:extLst>
              </p:cNvPr>
              <p:cNvSpPr/>
              <p:nvPr/>
            </p:nvSpPr>
            <p:spPr>
              <a:xfrm>
                <a:off x="1589713" y="1096898"/>
                <a:ext cx="38862" cy="37242"/>
              </a:xfrm>
              <a:custGeom>
                <a:avLst/>
                <a:gdLst>
                  <a:gd name="connsiteX0" fmla="*/ 11144 w 38862"/>
                  <a:gd name="connsiteY0" fmla="*/ 37005 h 37242"/>
                  <a:gd name="connsiteX1" fmla="*/ 0 w 38862"/>
                  <a:gd name="connsiteY1" fmla="*/ 19431 h 37242"/>
                  <a:gd name="connsiteX2" fmla="*/ 19431 w 38862"/>
                  <a:gd name="connsiteY2" fmla="*/ 0 h 37242"/>
                  <a:gd name="connsiteX3" fmla="*/ 38862 w 38862"/>
                  <a:gd name="connsiteY3" fmla="*/ 19431 h 37242"/>
                  <a:gd name="connsiteX4" fmla="*/ 27194 w 38862"/>
                  <a:gd name="connsiteY4" fmla="*/ 37243 h 372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8862" h="37242">
                    <a:moveTo>
                      <a:pt x="11144" y="37005"/>
                    </a:moveTo>
                    <a:cubicBezTo>
                      <a:pt x="4572" y="33909"/>
                      <a:pt x="0" y="27194"/>
                      <a:pt x="0" y="19431"/>
                    </a:cubicBezTo>
                    <a:cubicBezTo>
                      <a:pt x="0" y="8715"/>
                      <a:pt x="8715" y="0"/>
                      <a:pt x="19431" y="0"/>
                    </a:cubicBezTo>
                    <a:cubicBezTo>
                      <a:pt x="30147" y="0"/>
                      <a:pt x="38862" y="8715"/>
                      <a:pt x="38862" y="19431"/>
                    </a:cubicBezTo>
                    <a:cubicBezTo>
                      <a:pt x="38862" y="27384"/>
                      <a:pt x="34052" y="34242"/>
                      <a:pt x="27194" y="37243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73" name="Forma livre: Forma 172">
                <a:extLst>
                  <a:ext uri="{FF2B5EF4-FFF2-40B4-BE49-F238E27FC236}">
                    <a16:creationId xmlns:a16="http://schemas.microsoft.com/office/drawing/2014/main" id="{D4DDD8B6-0E92-207E-0B8A-12E8DBF2A89C}"/>
                  </a:ext>
                </a:extLst>
              </p:cNvPr>
              <p:cNvSpPr/>
              <p:nvPr/>
            </p:nvSpPr>
            <p:spPr>
              <a:xfrm>
                <a:off x="1566520" y="1098851"/>
                <a:ext cx="24384" cy="9858"/>
              </a:xfrm>
              <a:custGeom>
                <a:avLst/>
                <a:gdLst>
                  <a:gd name="connsiteX0" fmla="*/ 24384 w 24384"/>
                  <a:gd name="connsiteY0" fmla="*/ 9858 h 9858"/>
                  <a:gd name="connsiteX1" fmla="*/ 0 w 24384"/>
                  <a:gd name="connsiteY1" fmla="*/ 0 h 98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4384" h="9858">
                    <a:moveTo>
                      <a:pt x="24384" y="9858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74" name="Forma livre: Forma 173">
                <a:extLst>
                  <a:ext uri="{FF2B5EF4-FFF2-40B4-BE49-F238E27FC236}">
                    <a16:creationId xmlns:a16="http://schemas.microsoft.com/office/drawing/2014/main" id="{848DF29E-09C4-E72C-D1AE-F758946C1734}"/>
                  </a:ext>
                </a:extLst>
              </p:cNvPr>
              <p:cNvSpPr/>
              <p:nvPr/>
            </p:nvSpPr>
            <p:spPr>
              <a:xfrm>
                <a:off x="1561567" y="1151857"/>
                <a:ext cx="17430" cy="20383"/>
              </a:xfrm>
              <a:custGeom>
                <a:avLst/>
                <a:gdLst>
                  <a:gd name="connsiteX0" fmla="*/ 17431 w 17430"/>
                  <a:gd name="connsiteY0" fmla="*/ 0 h 20383"/>
                  <a:gd name="connsiteX1" fmla="*/ 0 w 17430"/>
                  <a:gd name="connsiteY1" fmla="*/ 20384 h 203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7430" h="20383">
                    <a:moveTo>
                      <a:pt x="17431" y="0"/>
                    </a:moveTo>
                    <a:lnTo>
                      <a:pt x="0" y="20384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75" name="Gráfico 2">
            <a:extLst>
              <a:ext uri="{FF2B5EF4-FFF2-40B4-BE49-F238E27FC236}">
                <a16:creationId xmlns:a16="http://schemas.microsoft.com/office/drawing/2014/main" id="{FEE4F701-E4BE-B4E2-B80C-A2EE342535E0}"/>
              </a:ext>
            </a:extLst>
          </p:cNvPr>
          <p:cNvGrpSpPr/>
          <p:nvPr/>
        </p:nvGrpSpPr>
        <p:grpSpPr>
          <a:xfrm>
            <a:off x="1441790" y="2611659"/>
            <a:ext cx="305609" cy="263985"/>
            <a:chOff x="1441790" y="2611659"/>
            <a:chExt cx="305609" cy="263985"/>
          </a:xfrm>
          <a:noFill/>
        </p:grpSpPr>
        <p:sp>
          <p:nvSpPr>
            <p:cNvPr id="176" name="Forma livre: Forma 175">
              <a:extLst>
                <a:ext uri="{FF2B5EF4-FFF2-40B4-BE49-F238E27FC236}">
                  <a16:creationId xmlns:a16="http://schemas.microsoft.com/office/drawing/2014/main" id="{88CD6F10-6CDE-092B-A464-7222AA1E2E5C}"/>
                </a:ext>
              </a:extLst>
            </p:cNvPr>
            <p:cNvSpPr/>
            <p:nvPr/>
          </p:nvSpPr>
          <p:spPr>
            <a:xfrm>
              <a:off x="1494368" y="2794777"/>
              <a:ext cx="45577" cy="37099"/>
            </a:xfrm>
            <a:custGeom>
              <a:avLst/>
              <a:gdLst>
                <a:gd name="connsiteX0" fmla="*/ 0 w 45577"/>
                <a:gd name="connsiteY0" fmla="*/ 0 h 37099"/>
                <a:gd name="connsiteX1" fmla="*/ 9144 w 45577"/>
                <a:gd name="connsiteY1" fmla="*/ 37100 h 37099"/>
                <a:gd name="connsiteX2" fmla="*/ 35243 w 45577"/>
                <a:gd name="connsiteY2" fmla="*/ 2334 h 37099"/>
                <a:gd name="connsiteX3" fmla="*/ 45577 w 45577"/>
                <a:gd name="connsiteY3" fmla="*/ 17812 h 370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5577" h="37099">
                  <a:moveTo>
                    <a:pt x="0" y="0"/>
                  </a:moveTo>
                  <a:lnTo>
                    <a:pt x="9144" y="37100"/>
                  </a:lnTo>
                  <a:lnTo>
                    <a:pt x="35243" y="2334"/>
                  </a:lnTo>
                  <a:lnTo>
                    <a:pt x="45577" y="17812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77" name="Gráfico 2">
              <a:extLst>
                <a:ext uri="{FF2B5EF4-FFF2-40B4-BE49-F238E27FC236}">
                  <a16:creationId xmlns:a16="http://schemas.microsoft.com/office/drawing/2014/main" id="{79E9401C-77BB-AEB1-6F62-2CA8E587FBCE}"/>
                </a:ext>
              </a:extLst>
            </p:cNvPr>
            <p:cNvGrpSpPr/>
            <p:nvPr/>
          </p:nvGrpSpPr>
          <p:grpSpPr>
            <a:xfrm>
              <a:off x="1637338" y="2611659"/>
              <a:ext cx="102012" cy="91201"/>
              <a:chOff x="1637338" y="2611659"/>
              <a:chExt cx="102012" cy="91201"/>
            </a:xfrm>
            <a:noFill/>
          </p:grpSpPr>
          <p:sp>
            <p:nvSpPr>
              <p:cNvPr id="178" name="Forma livre: Forma 177">
                <a:extLst>
                  <a:ext uri="{FF2B5EF4-FFF2-40B4-BE49-F238E27FC236}">
                    <a16:creationId xmlns:a16="http://schemas.microsoft.com/office/drawing/2014/main" id="{E2219C26-D4FD-6DFD-3DA0-0D0D397C9CD9}"/>
                  </a:ext>
                </a:extLst>
              </p:cNvPr>
              <p:cNvSpPr/>
              <p:nvPr/>
            </p:nvSpPr>
            <p:spPr>
              <a:xfrm>
                <a:off x="1637338" y="2611659"/>
                <a:ext cx="102012" cy="91201"/>
              </a:xfrm>
              <a:custGeom>
                <a:avLst/>
                <a:gdLst>
                  <a:gd name="connsiteX0" fmla="*/ 53102 w 102012"/>
                  <a:gd name="connsiteY0" fmla="*/ 19860 h 91201"/>
                  <a:gd name="connsiteX1" fmla="*/ 102013 w 102012"/>
                  <a:gd name="connsiteY1" fmla="*/ 19860 h 91201"/>
                  <a:gd name="connsiteX2" fmla="*/ 79296 w 102012"/>
                  <a:gd name="connsiteY2" fmla="*/ 45006 h 91201"/>
                  <a:gd name="connsiteX3" fmla="*/ 102013 w 102012"/>
                  <a:gd name="connsiteY3" fmla="*/ 70152 h 91201"/>
                  <a:gd name="connsiteX4" fmla="*/ 29575 w 102012"/>
                  <a:gd name="connsiteY4" fmla="*/ 70152 h 91201"/>
                  <a:gd name="connsiteX5" fmla="*/ 49863 w 102012"/>
                  <a:gd name="connsiteY5" fmla="*/ 50340 h 91201"/>
                  <a:gd name="connsiteX6" fmla="*/ 49863 w 102012"/>
                  <a:gd name="connsiteY6" fmla="*/ 0 h 91201"/>
                  <a:gd name="connsiteX7" fmla="*/ 0 w 102012"/>
                  <a:gd name="connsiteY7" fmla="*/ 0 h 91201"/>
                  <a:gd name="connsiteX8" fmla="*/ 0 w 102012"/>
                  <a:gd name="connsiteY8" fmla="*/ 91202 h 912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02012" h="91201">
                    <a:moveTo>
                      <a:pt x="53102" y="19860"/>
                    </a:moveTo>
                    <a:lnTo>
                      <a:pt x="102013" y="19860"/>
                    </a:lnTo>
                    <a:lnTo>
                      <a:pt x="79296" y="45006"/>
                    </a:lnTo>
                    <a:lnTo>
                      <a:pt x="102013" y="70152"/>
                    </a:lnTo>
                    <a:lnTo>
                      <a:pt x="29575" y="70152"/>
                    </a:lnTo>
                    <a:lnTo>
                      <a:pt x="49863" y="50340"/>
                    </a:lnTo>
                    <a:lnTo>
                      <a:pt x="49863" y="0"/>
                    </a:lnTo>
                    <a:lnTo>
                      <a:pt x="0" y="0"/>
                    </a:lnTo>
                    <a:lnTo>
                      <a:pt x="0" y="91202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79" name="Forma livre: Forma 178">
                <a:extLst>
                  <a:ext uri="{FF2B5EF4-FFF2-40B4-BE49-F238E27FC236}">
                    <a16:creationId xmlns:a16="http://schemas.microsoft.com/office/drawing/2014/main" id="{0A790B6F-7B50-78D2-D62F-0E94544B3BC1}"/>
                  </a:ext>
                </a:extLst>
              </p:cNvPr>
              <p:cNvSpPr/>
              <p:nvPr/>
            </p:nvSpPr>
            <p:spPr>
              <a:xfrm>
                <a:off x="1639100" y="2661856"/>
                <a:ext cx="47720" cy="4762"/>
              </a:xfrm>
              <a:custGeom>
                <a:avLst/>
                <a:gdLst>
                  <a:gd name="connsiteX0" fmla="*/ 0 w 47720"/>
                  <a:gd name="connsiteY0" fmla="*/ 0 h 4762"/>
                  <a:gd name="connsiteX1" fmla="*/ 47720 w 47720"/>
                  <a:gd name="connsiteY1" fmla="*/ 0 h 47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720" h="4762">
                    <a:moveTo>
                      <a:pt x="0" y="0"/>
                    </a:moveTo>
                    <a:lnTo>
                      <a:pt x="4772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80" name="Forma livre: Forma 179">
              <a:extLst>
                <a:ext uri="{FF2B5EF4-FFF2-40B4-BE49-F238E27FC236}">
                  <a16:creationId xmlns:a16="http://schemas.microsoft.com/office/drawing/2014/main" id="{94FC00E3-B5E8-E1A2-4FF9-37400D76E515}"/>
                </a:ext>
              </a:extLst>
            </p:cNvPr>
            <p:cNvSpPr/>
            <p:nvPr/>
          </p:nvSpPr>
          <p:spPr>
            <a:xfrm>
              <a:off x="1570234" y="2784633"/>
              <a:ext cx="134397" cy="44386"/>
            </a:xfrm>
            <a:custGeom>
              <a:avLst/>
              <a:gdLst>
                <a:gd name="connsiteX0" fmla="*/ 134398 w 134397"/>
                <a:gd name="connsiteY0" fmla="*/ 26098 h 44386"/>
                <a:gd name="connsiteX1" fmla="*/ 87630 w 134397"/>
                <a:gd name="connsiteY1" fmla="*/ 0 h 44386"/>
                <a:gd name="connsiteX2" fmla="*/ 67247 w 134397"/>
                <a:gd name="connsiteY2" fmla="*/ 44386 h 44386"/>
                <a:gd name="connsiteX3" fmla="*/ 46815 w 134397"/>
                <a:gd name="connsiteY3" fmla="*/ 0 h 44386"/>
                <a:gd name="connsiteX4" fmla="*/ 0 w 134397"/>
                <a:gd name="connsiteY4" fmla="*/ 26098 h 44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4397" h="44386">
                  <a:moveTo>
                    <a:pt x="134398" y="26098"/>
                  </a:moveTo>
                  <a:lnTo>
                    <a:pt x="87630" y="0"/>
                  </a:lnTo>
                  <a:lnTo>
                    <a:pt x="67247" y="44386"/>
                  </a:lnTo>
                  <a:lnTo>
                    <a:pt x="46815" y="0"/>
                  </a:lnTo>
                  <a:lnTo>
                    <a:pt x="0" y="26098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1" name="Forma livre: Forma 180">
              <a:extLst>
                <a:ext uri="{FF2B5EF4-FFF2-40B4-BE49-F238E27FC236}">
                  <a16:creationId xmlns:a16="http://schemas.microsoft.com/office/drawing/2014/main" id="{2EB44252-ED15-70FA-530C-89FACB8160FE}"/>
                </a:ext>
              </a:extLst>
            </p:cNvPr>
            <p:cNvSpPr/>
            <p:nvPr/>
          </p:nvSpPr>
          <p:spPr>
            <a:xfrm>
              <a:off x="1527467" y="2702528"/>
              <a:ext cx="219932" cy="173116"/>
            </a:xfrm>
            <a:custGeom>
              <a:avLst/>
              <a:gdLst>
                <a:gd name="connsiteX0" fmla="*/ 219932 w 219932"/>
                <a:gd name="connsiteY0" fmla="*/ 173117 h 173116"/>
                <a:gd name="connsiteX1" fmla="*/ 109966 w 219932"/>
                <a:gd name="connsiteY1" fmla="*/ 0 h 173116"/>
                <a:gd name="connsiteX2" fmla="*/ 0 w 219932"/>
                <a:gd name="connsiteY2" fmla="*/ 173117 h 1731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19932" h="173116">
                  <a:moveTo>
                    <a:pt x="219932" y="173117"/>
                  </a:moveTo>
                  <a:lnTo>
                    <a:pt x="109966" y="0"/>
                  </a:lnTo>
                  <a:lnTo>
                    <a:pt x="0" y="173117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2" name="Forma livre: Forma 181">
              <a:extLst>
                <a:ext uri="{FF2B5EF4-FFF2-40B4-BE49-F238E27FC236}">
                  <a16:creationId xmlns:a16="http://schemas.microsoft.com/office/drawing/2014/main" id="{0165F9B8-5884-76F9-3011-AFACC52DC4D9}"/>
                </a:ext>
              </a:extLst>
            </p:cNvPr>
            <p:cNvSpPr/>
            <p:nvPr/>
          </p:nvSpPr>
          <p:spPr>
            <a:xfrm>
              <a:off x="1441790" y="2737389"/>
              <a:ext cx="117443" cy="138255"/>
            </a:xfrm>
            <a:custGeom>
              <a:avLst/>
              <a:gdLst>
                <a:gd name="connsiteX0" fmla="*/ 117443 w 117443"/>
                <a:gd name="connsiteY0" fmla="*/ 46101 h 138255"/>
                <a:gd name="connsiteX1" fmla="*/ 87821 w 117443"/>
                <a:gd name="connsiteY1" fmla="*/ 0 h 138255"/>
                <a:gd name="connsiteX2" fmla="*/ 0 w 117443"/>
                <a:gd name="connsiteY2" fmla="*/ 138255 h 1382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17443" h="138255">
                  <a:moveTo>
                    <a:pt x="117443" y="46101"/>
                  </a:moveTo>
                  <a:lnTo>
                    <a:pt x="87821" y="0"/>
                  </a:lnTo>
                  <a:lnTo>
                    <a:pt x="0" y="138255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83" name="Gráfico 2">
            <a:extLst>
              <a:ext uri="{FF2B5EF4-FFF2-40B4-BE49-F238E27FC236}">
                <a16:creationId xmlns:a16="http://schemas.microsoft.com/office/drawing/2014/main" id="{00CDF524-1B5F-BDD8-A46C-47F1452B6182}"/>
              </a:ext>
            </a:extLst>
          </p:cNvPr>
          <p:cNvGrpSpPr/>
          <p:nvPr/>
        </p:nvGrpSpPr>
        <p:grpSpPr>
          <a:xfrm>
            <a:off x="1450172" y="3118913"/>
            <a:ext cx="288845" cy="301990"/>
            <a:chOff x="1450172" y="3118913"/>
            <a:chExt cx="288845" cy="301990"/>
          </a:xfrm>
          <a:noFill/>
        </p:grpSpPr>
        <p:grpSp>
          <p:nvGrpSpPr>
            <p:cNvPr id="184" name="Gráfico 2">
              <a:extLst>
                <a:ext uri="{FF2B5EF4-FFF2-40B4-BE49-F238E27FC236}">
                  <a16:creationId xmlns:a16="http://schemas.microsoft.com/office/drawing/2014/main" id="{13225750-02DD-7DAD-36B2-48293B92CD3E}"/>
                </a:ext>
              </a:extLst>
            </p:cNvPr>
            <p:cNvGrpSpPr/>
            <p:nvPr/>
          </p:nvGrpSpPr>
          <p:grpSpPr>
            <a:xfrm>
              <a:off x="1450172" y="3157775"/>
              <a:ext cx="128730" cy="257508"/>
              <a:chOff x="1450172" y="3157775"/>
              <a:chExt cx="128730" cy="257508"/>
            </a:xfrm>
            <a:noFill/>
          </p:grpSpPr>
          <p:sp>
            <p:nvSpPr>
              <p:cNvPr id="185" name="Forma livre: Forma 184">
                <a:extLst>
                  <a:ext uri="{FF2B5EF4-FFF2-40B4-BE49-F238E27FC236}">
                    <a16:creationId xmlns:a16="http://schemas.microsoft.com/office/drawing/2014/main" id="{AC3DDFB0-7116-1BBC-30CD-095858CF309A}"/>
                  </a:ext>
                </a:extLst>
              </p:cNvPr>
              <p:cNvSpPr/>
              <p:nvPr/>
            </p:nvSpPr>
            <p:spPr>
              <a:xfrm>
                <a:off x="1470365" y="3286410"/>
                <a:ext cx="108489" cy="4762"/>
              </a:xfrm>
              <a:custGeom>
                <a:avLst/>
                <a:gdLst>
                  <a:gd name="connsiteX0" fmla="*/ 0 w 108489"/>
                  <a:gd name="connsiteY0" fmla="*/ 0 h 4762"/>
                  <a:gd name="connsiteX1" fmla="*/ 108490 w 108489"/>
                  <a:gd name="connsiteY1" fmla="*/ 0 h 47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08489" h="4762">
                    <a:moveTo>
                      <a:pt x="0" y="0"/>
                    </a:moveTo>
                    <a:lnTo>
                      <a:pt x="10849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86" name="Forma livre: Forma 185">
                <a:extLst>
                  <a:ext uri="{FF2B5EF4-FFF2-40B4-BE49-F238E27FC236}">
                    <a16:creationId xmlns:a16="http://schemas.microsoft.com/office/drawing/2014/main" id="{BF263350-C815-AE3C-7349-5F02060DD846}"/>
                  </a:ext>
                </a:extLst>
              </p:cNvPr>
              <p:cNvSpPr/>
              <p:nvPr/>
            </p:nvSpPr>
            <p:spPr>
              <a:xfrm>
                <a:off x="1507448" y="3158251"/>
                <a:ext cx="62643" cy="256270"/>
              </a:xfrm>
              <a:custGeom>
                <a:avLst/>
                <a:gdLst>
                  <a:gd name="connsiteX0" fmla="*/ 61691 w 62643"/>
                  <a:gd name="connsiteY0" fmla="*/ 256270 h 256270"/>
                  <a:gd name="connsiteX1" fmla="*/ 62644 w 62643"/>
                  <a:gd name="connsiteY1" fmla="*/ 0 h 2562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2643" h="256270">
                    <a:moveTo>
                      <a:pt x="61691" y="256270"/>
                    </a:moveTo>
                    <a:cubicBezTo>
                      <a:pt x="49547" y="246126"/>
                      <a:pt x="-71421" y="138922"/>
                      <a:pt x="62644" y="0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87" name="Forma livre: Forma 186">
                <a:extLst>
                  <a:ext uri="{FF2B5EF4-FFF2-40B4-BE49-F238E27FC236}">
                    <a16:creationId xmlns:a16="http://schemas.microsoft.com/office/drawing/2014/main" id="{EC5A82E9-1A74-42BA-F781-43C9966B2A5C}"/>
                  </a:ext>
                </a:extLst>
              </p:cNvPr>
              <p:cNvSpPr/>
              <p:nvPr/>
            </p:nvSpPr>
            <p:spPr>
              <a:xfrm>
                <a:off x="1497749" y="3213449"/>
                <a:ext cx="80343" cy="18955"/>
              </a:xfrm>
              <a:custGeom>
                <a:avLst/>
                <a:gdLst>
                  <a:gd name="connsiteX0" fmla="*/ 0 w 80343"/>
                  <a:gd name="connsiteY0" fmla="*/ 0 h 18955"/>
                  <a:gd name="connsiteX1" fmla="*/ 80343 w 80343"/>
                  <a:gd name="connsiteY1" fmla="*/ 18955 h 189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80343" h="18955">
                    <a:moveTo>
                      <a:pt x="0" y="0"/>
                    </a:moveTo>
                    <a:cubicBezTo>
                      <a:pt x="20955" y="10239"/>
                      <a:pt x="48292" y="19050"/>
                      <a:pt x="80343" y="18955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88" name="Forma livre: Forma 187">
                <a:extLst>
                  <a:ext uri="{FF2B5EF4-FFF2-40B4-BE49-F238E27FC236}">
                    <a16:creationId xmlns:a16="http://schemas.microsoft.com/office/drawing/2014/main" id="{07566AA7-9DAC-EB7D-8D9F-20D75828DD68}"/>
                  </a:ext>
                </a:extLst>
              </p:cNvPr>
              <p:cNvSpPr/>
              <p:nvPr/>
            </p:nvSpPr>
            <p:spPr>
              <a:xfrm>
                <a:off x="1481414" y="3340226"/>
                <a:ext cx="96678" cy="27908"/>
              </a:xfrm>
              <a:custGeom>
                <a:avLst/>
                <a:gdLst>
                  <a:gd name="connsiteX0" fmla="*/ 0 w 96678"/>
                  <a:gd name="connsiteY0" fmla="*/ 27909 h 27908"/>
                  <a:gd name="connsiteX1" fmla="*/ 96679 w 96678"/>
                  <a:gd name="connsiteY1" fmla="*/ 0 h 279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6678" h="27908">
                    <a:moveTo>
                      <a:pt x="0" y="27909"/>
                    </a:moveTo>
                    <a:cubicBezTo>
                      <a:pt x="22050" y="14479"/>
                      <a:pt x="55483" y="-95"/>
                      <a:pt x="96679" y="0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89" name="Forma livre: Forma 188">
                <a:extLst>
                  <a:ext uri="{FF2B5EF4-FFF2-40B4-BE49-F238E27FC236}">
                    <a16:creationId xmlns:a16="http://schemas.microsoft.com/office/drawing/2014/main" id="{AF10B71E-3043-D1F9-07D3-780719A3AD7F}"/>
                  </a:ext>
                </a:extLst>
              </p:cNvPr>
              <p:cNvSpPr/>
              <p:nvPr/>
            </p:nvSpPr>
            <p:spPr>
              <a:xfrm>
                <a:off x="1450172" y="3157775"/>
                <a:ext cx="128730" cy="257508"/>
              </a:xfrm>
              <a:custGeom>
                <a:avLst/>
                <a:gdLst>
                  <a:gd name="connsiteX0" fmla="*/ 128730 w 128730"/>
                  <a:gd name="connsiteY0" fmla="*/ 257461 h 257508"/>
                  <a:gd name="connsiteX1" fmla="*/ 0 w 128730"/>
                  <a:gd name="connsiteY1" fmla="*/ 128730 h 257508"/>
                  <a:gd name="connsiteX2" fmla="*/ 128730 w 128730"/>
                  <a:gd name="connsiteY2" fmla="*/ 0 h 257508"/>
                  <a:gd name="connsiteX3" fmla="*/ 128730 w 128730"/>
                  <a:gd name="connsiteY3" fmla="*/ 257508 h 2575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28730" h="257508">
                    <a:moveTo>
                      <a:pt x="128730" y="257461"/>
                    </a:moveTo>
                    <a:cubicBezTo>
                      <a:pt x="57626" y="257461"/>
                      <a:pt x="0" y="199835"/>
                      <a:pt x="0" y="128730"/>
                    </a:cubicBezTo>
                    <a:cubicBezTo>
                      <a:pt x="0" y="57626"/>
                      <a:pt x="57626" y="0"/>
                      <a:pt x="128730" y="0"/>
                    </a:cubicBezTo>
                    <a:lnTo>
                      <a:pt x="128730" y="257508"/>
                    </a:ln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90" name="Forma livre: Forma 189">
              <a:extLst>
                <a:ext uri="{FF2B5EF4-FFF2-40B4-BE49-F238E27FC236}">
                  <a16:creationId xmlns:a16="http://schemas.microsoft.com/office/drawing/2014/main" id="{8B440F48-0D69-D4CB-0D36-AA4599B67FCC}"/>
                </a:ext>
              </a:extLst>
            </p:cNvPr>
            <p:cNvSpPr/>
            <p:nvPr/>
          </p:nvSpPr>
          <p:spPr>
            <a:xfrm>
              <a:off x="1603715" y="3228165"/>
              <a:ext cx="60388" cy="4762"/>
            </a:xfrm>
            <a:custGeom>
              <a:avLst/>
              <a:gdLst>
                <a:gd name="connsiteX0" fmla="*/ 0 w 60388"/>
                <a:gd name="connsiteY0" fmla="*/ 0 h 4762"/>
                <a:gd name="connsiteX1" fmla="*/ 60389 w 60388"/>
                <a:gd name="connsiteY1" fmla="*/ 0 h 47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388" h="4762">
                  <a:moveTo>
                    <a:pt x="0" y="0"/>
                  </a:moveTo>
                  <a:lnTo>
                    <a:pt x="60389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1" name="Forma livre: Forma 190">
              <a:extLst>
                <a:ext uri="{FF2B5EF4-FFF2-40B4-BE49-F238E27FC236}">
                  <a16:creationId xmlns:a16="http://schemas.microsoft.com/office/drawing/2014/main" id="{9F3E2F9A-F229-C4C8-495A-4C31695183C4}"/>
                </a:ext>
              </a:extLst>
            </p:cNvPr>
            <p:cNvSpPr/>
            <p:nvPr/>
          </p:nvSpPr>
          <p:spPr>
            <a:xfrm>
              <a:off x="1603715" y="3259312"/>
              <a:ext cx="60388" cy="4762"/>
            </a:xfrm>
            <a:custGeom>
              <a:avLst/>
              <a:gdLst>
                <a:gd name="connsiteX0" fmla="*/ 0 w 60388"/>
                <a:gd name="connsiteY0" fmla="*/ 0 h 4762"/>
                <a:gd name="connsiteX1" fmla="*/ 60389 w 60388"/>
                <a:gd name="connsiteY1" fmla="*/ 0 h 47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388" h="4762">
                  <a:moveTo>
                    <a:pt x="0" y="0"/>
                  </a:moveTo>
                  <a:lnTo>
                    <a:pt x="60389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2" name="Forma livre: Forma 191">
              <a:extLst>
                <a:ext uri="{FF2B5EF4-FFF2-40B4-BE49-F238E27FC236}">
                  <a16:creationId xmlns:a16="http://schemas.microsoft.com/office/drawing/2014/main" id="{B936F8F7-E536-9931-8ADD-1952F1A3C078}"/>
                </a:ext>
              </a:extLst>
            </p:cNvPr>
            <p:cNvSpPr/>
            <p:nvPr/>
          </p:nvSpPr>
          <p:spPr>
            <a:xfrm>
              <a:off x="1603715" y="3290506"/>
              <a:ext cx="60388" cy="4762"/>
            </a:xfrm>
            <a:custGeom>
              <a:avLst/>
              <a:gdLst>
                <a:gd name="connsiteX0" fmla="*/ 0 w 60388"/>
                <a:gd name="connsiteY0" fmla="*/ 0 h 4762"/>
                <a:gd name="connsiteX1" fmla="*/ 60389 w 60388"/>
                <a:gd name="connsiteY1" fmla="*/ 0 h 47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388" h="4762">
                  <a:moveTo>
                    <a:pt x="0" y="0"/>
                  </a:moveTo>
                  <a:lnTo>
                    <a:pt x="60389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3" name="Forma livre: Forma 192">
              <a:extLst>
                <a:ext uri="{FF2B5EF4-FFF2-40B4-BE49-F238E27FC236}">
                  <a16:creationId xmlns:a16="http://schemas.microsoft.com/office/drawing/2014/main" id="{F992AAD6-E67E-CAC2-FE3E-D383921E7007}"/>
                </a:ext>
              </a:extLst>
            </p:cNvPr>
            <p:cNvSpPr/>
            <p:nvPr/>
          </p:nvSpPr>
          <p:spPr>
            <a:xfrm>
              <a:off x="1603715" y="3352799"/>
              <a:ext cx="60388" cy="4762"/>
            </a:xfrm>
            <a:custGeom>
              <a:avLst/>
              <a:gdLst>
                <a:gd name="connsiteX0" fmla="*/ 0 w 60388"/>
                <a:gd name="connsiteY0" fmla="*/ 0 h 4762"/>
                <a:gd name="connsiteX1" fmla="*/ 60389 w 60388"/>
                <a:gd name="connsiteY1" fmla="*/ 0 h 47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388" h="4762">
                  <a:moveTo>
                    <a:pt x="0" y="0"/>
                  </a:moveTo>
                  <a:lnTo>
                    <a:pt x="60389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4" name="Forma livre: Forma 193">
              <a:extLst>
                <a:ext uri="{FF2B5EF4-FFF2-40B4-BE49-F238E27FC236}">
                  <a16:creationId xmlns:a16="http://schemas.microsoft.com/office/drawing/2014/main" id="{17663E60-CAA9-6B08-775C-C72996A5CC80}"/>
                </a:ext>
              </a:extLst>
            </p:cNvPr>
            <p:cNvSpPr/>
            <p:nvPr/>
          </p:nvSpPr>
          <p:spPr>
            <a:xfrm>
              <a:off x="1603715" y="3383946"/>
              <a:ext cx="60388" cy="4762"/>
            </a:xfrm>
            <a:custGeom>
              <a:avLst/>
              <a:gdLst>
                <a:gd name="connsiteX0" fmla="*/ 0 w 60388"/>
                <a:gd name="connsiteY0" fmla="*/ 0 h 4762"/>
                <a:gd name="connsiteX1" fmla="*/ 60389 w 60388"/>
                <a:gd name="connsiteY1" fmla="*/ 0 h 47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388" h="4762">
                  <a:moveTo>
                    <a:pt x="0" y="0"/>
                  </a:moveTo>
                  <a:lnTo>
                    <a:pt x="60389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5" name="Forma livre: Forma 194">
              <a:extLst>
                <a:ext uri="{FF2B5EF4-FFF2-40B4-BE49-F238E27FC236}">
                  <a16:creationId xmlns:a16="http://schemas.microsoft.com/office/drawing/2014/main" id="{77BAD4C0-3C4C-8313-9C7D-322CB53C00DE}"/>
                </a:ext>
              </a:extLst>
            </p:cNvPr>
            <p:cNvSpPr/>
            <p:nvPr/>
          </p:nvSpPr>
          <p:spPr>
            <a:xfrm>
              <a:off x="1603715" y="3321653"/>
              <a:ext cx="60388" cy="4762"/>
            </a:xfrm>
            <a:custGeom>
              <a:avLst/>
              <a:gdLst>
                <a:gd name="connsiteX0" fmla="*/ 0 w 60388"/>
                <a:gd name="connsiteY0" fmla="*/ 0 h 4762"/>
                <a:gd name="connsiteX1" fmla="*/ 60389 w 60388"/>
                <a:gd name="connsiteY1" fmla="*/ 0 h 47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388" h="4762">
                  <a:moveTo>
                    <a:pt x="0" y="0"/>
                  </a:moveTo>
                  <a:lnTo>
                    <a:pt x="60389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6" name="Forma livre: Forma 195">
              <a:extLst>
                <a:ext uri="{FF2B5EF4-FFF2-40B4-BE49-F238E27FC236}">
                  <a16:creationId xmlns:a16="http://schemas.microsoft.com/office/drawing/2014/main" id="{B65434DC-0ABF-CCE9-88A3-5642EE6A22B0}"/>
                </a:ext>
              </a:extLst>
            </p:cNvPr>
            <p:cNvSpPr/>
            <p:nvPr/>
          </p:nvSpPr>
          <p:spPr>
            <a:xfrm>
              <a:off x="1603715" y="3415093"/>
              <a:ext cx="60388" cy="4762"/>
            </a:xfrm>
            <a:custGeom>
              <a:avLst/>
              <a:gdLst>
                <a:gd name="connsiteX0" fmla="*/ 0 w 60388"/>
                <a:gd name="connsiteY0" fmla="*/ 0 h 4762"/>
                <a:gd name="connsiteX1" fmla="*/ 60389 w 60388"/>
                <a:gd name="connsiteY1" fmla="*/ 0 h 47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388" h="4762">
                  <a:moveTo>
                    <a:pt x="0" y="0"/>
                  </a:moveTo>
                  <a:lnTo>
                    <a:pt x="60389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7" name="Forma livre: Forma 196">
              <a:extLst>
                <a:ext uri="{FF2B5EF4-FFF2-40B4-BE49-F238E27FC236}">
                  <a16:creationId xmlns:a16="http://schemas.microsoft.com/office/drawing/2014/main" id="{45385181-E726-5496-AAEB-FB296B92699E}"/>
                </a:ext>
              </a:extLst>
            </p:cNvPr>
            <p:cNvSpPr/>
            <p:nvPr/>
          </p:nvSpPr>
          <p:spPr>
            <a:xfrm>
              <a:off x="1634957" y="3118913"/>
              <a:ext cx="4762" cy="25527"/>
            </a:xfrm>
            <a:custGeom>
              <a:avLst/>
              <a:gdLst>
                <a:gd name="connsiteX0" fmla="*/ 0 w 4762"/>
                <a:gd name="connsiteY0" fmla="*/ 0 h 25527"/>
                <a:gd name="connsiteX1" fmla="*/ 0 w 4762"/>
                <a:gd name="connsiteY1" fmla="*/ 25527 h 255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762" h="25527">
                  <a:moveTo>
                    <a:pt x="0" y="0"/>
                  </a:moveTo>
                  <a:lnTo>
                    <a:pt x="0" y="25527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8" name="Forma livre: Forma 197">
              <a:extLst>
                <a:ext uri="{FF2B5EF4-FFF2-40B4-BE49-F238E27FC236}">
                  <a16:creationId xmlns:a16="http://schemas.microsoft.com/office/drawing/2014/main" id="{3FA7384B-0386-E7EA-3E82-1668A82836DA}"/>
                </a:ext>
              </a:extLst>
            </p:cNvPr>
            <p:cNvSpPr/>
            <p:nvPr/>
          </p:nvSpPr>
          <p:spPr>
            <a:xfrm>
              <a:off x="1581950" y="3196637"/>
              <a:ext cx="106870" cy="224266"/>
            </a:xfrm>
            <a:custGeom>
              <a:avLst/>
              <a:gdLst>
                <a:gd name="connsiteX0" fmla="*/ 0 w 106870"/>
                <a:gd name="connsiteY0" fmla="*/ 0 h 224266"/>
                <a:gd name="connsiteX1" fmla="*/ 106870 w 106870"/>
                <a:gd name="connsiteY1" fmla="*/ 0 h 224266"/>
                <a:gd name="connsiteX2" fmla="*/ 106870 w 106870"/>
                <a:gd name="connsiteY2" fmla="*/ 224266 h 2242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06870" h="224266">
                  <a:moveTo>
                    <a:pt x="0" y="0"/>
                  </a:moveTo>
                  <a:lnTo>
                    <a:pt x="106870" y="0"/>
                  </a:lnTo>
                  <a:lnTo>
                    <a:pt x="106870" y="224266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9" name="Forma livre: Forma 198">
              <a:extLst>
                <a:ext uri="{FF2B5EF4-FFF2-40B4-BE49-F238E27FC236}">
                  <a16:creationId xmlns:a16="http://schemas.microsoft.com/office/drawing/2014/main" id="{28838264-A8C6-11B0-497C-21AD598FB8AE}"/>
                </a:ext>
              </a:extLst>
            </p:cNvPr>
            <p:cNvSpPr/>
            <p:nvPr/>
          </p:nvSpPr>
          <p:spPr>
            <a:xfrm>
              <a:off x="1603620" y="3169872"/>
              <a:ext cx="62722" cy="25955"/>
            </a:xfrm>
            <a:custGeom>
              <a:avLst/>
              <a:gdLst>
                <a:gd name="connsiteX0" fmla="*/ 0 w 62722"/>
                <a:gd name="connsiteY0" fmla="*/ 25956 h 25955"/>
                <a:gd name="connsiteX1" fmla="*/ 0 w 62722"/>
                <a:gd name="connsiteY1" fmla="*/ 0 h 25955"/>
                <a:gd name="connsiteX2" fmla="*/ 62722 w 62722"/>
                <a:gd name="connsiteY2" fmla="*/ 0 h 25955"/>
                <a:gd name="connsiteX3" fmla="*/ 62722 w 62722"/>
                <a:gd name="connsiteY3" fmla="*/ 25956 h 25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2722" h="25955">
                  <a:moveTo>
                    <a:pt x="0" y="25956"/>
                  </a:moveTo>
                  <a:lnTo>
                    <a:pt x="0" y="0"/>
                  </a:lnTo>
                  <a:lnTo>
                    <a:pt x="62722" y="0"/>
                  </a:lnTo>
                  <a:lnTo>
                    <a:pt x="62722" y="25956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0" name="Forma livre: Forma 199">
              <a:extLst>
                <a:ext uri="{FF2B5EF4-FFF2-40B4-BE49-F238E27FC236}">
                  <a16:creationId xmlns:a16="http://schemas.microsoft.com/office/drawing/2014/main" id="{81992181-35A8-1CC8-86BC-0FAD942DAC55}"/>
                </a:ext>
              </a:extLst>
            </p:cNvPr>
            <p:cNvSpPr/>
            <p:nvPr/>
          </p:nvSpPr>
          <p:spPr>
            <a:xfrm>
              <a:off x="1617860" y="3145250"/>
              <a:ext cx="32099" cy="24002"/>
            </a:xfrm>
            <a:custGeom>
              <a:avLst/>
              <a:gdLst>
                <a:gd name="connsiteX0" fmla="*/ 0 w 32099"/>
                <a:gd name="connsiteY0" fmla="*/ 0 h 24002"/>
                <a:gd name="connsiteX1" fmla="*/ 32099 w 32099"/>
                <a:gd name="connsiteY1" fmla="*/ 0 h 24002"/>
                <a:gd name="connsiteX2" fmla="*/ 32099 w 32099"/>
                <a:gd name="connsiteY2" fmla="*/ 24003 h 240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2099" h="24002">
                  <a:moveTo>
                    <a:pt x="0" y="0"/>
                  </a:moveTo>
                  <a:lnTo>
                    <a:pt x="32099" y="0"/>
                  </a:lnTo>
                  <a:lnTo>
                    <a:pt x="32099" y="24003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1" name="Forma livre: Forma 200">
              <a:extLst>
                <a:ext uri="{FF2B5EF4-FFF2-40B4-BE49-F238E27FC236}">
                  <a16:creationId xmlns:a16="http://schemas.microsoft.com/office/drawing/2014/main" id="{EE04CC20-77CE-0596-59E4-A788321B9E84}"/>
                </a:ext>
              </a:extLst>
            </p:cNvPr>
            <p:cNvSpPr/>
            <p:nvPr/>
          </p:nvSpPr>
          <p:spPr>
            <a:xfrm>
              <a:off x="1708776" y="3331654"/>
              <a:ext cx="30241" cy="89249"/>
            </a:xfrm>
            <a:custGeom>
              <a:avLst/>
              <a:gdLst>
                <a:gd name="connsiteX0" fmla="*/ 30242 w 30241"/>
                <a:gd name="connsiteY0" fmla="*/ 89249 h 89249"/>
                <a:gd name="connsiteX1" fmla="*/ 30242 w 30241"/>
                <a:gd name="connsiteY1" fmla="*/ 0 h 89249"/>
                <a:gd name="connsiteX2" fmla="*/ 0 w 30241"/>
                <a:gd name="connsiteY2" fmla="*/ 0 h 892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0241" h="89249">
                  <a:moveTo>
                    <a:pt x="30242" y="89249"/>
                  </a:moveTo>
                  <a:lnTo>
                    <a:pt x="30242" y="0"/>
                  </a:lnTo>
                  <a:lnTo>
                    <a:pt x="0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2" name="Forma livre: Forma 201">
              <a:extLst>
                <a:ext uri="{FF2B5EF4-FFF2-40B4-BE49-F238E27FC236}">
                  <a16:creationId xmlns:a16="http://schemas.microsoft.com/office/drawing/2014/main" id="{01934AE5-1996-DDAD-B176-A65F290AEF7B}"/>
                </a:ext>
              </a:extLst>
            </p:cNvPr>
            <p:cNvSpPr/>
            <p:nvPr/>
          </p:nvSpPr>
          <p:spPr>
            <a:xfrm>
              <a:off x="1714348" y="3356752"/>
              <a:ext cx="4762" cy="21383"/>
            </a:xfrm>
            <a:custGeom>
              <a:avLst/>
              <a:gdLst>
                <a:gd name="connsiteX0" fmla="*/ 0 w 4762"/>
                <a:gd name="connsiteY0" fmla="*/ 0 h 21383"/>
                <a:gd name="connsiteX1" fmla="*/ 0 w 4762"/>
                <a:gd name="connsiteY1" fmla="*/ 21384 h 213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762" h="21383">
                  <a:moveTo>
                    <a:pt x="0" y="0"/>
                  </a:moveTo>
                  <a:lnTo>
                    <a:pt x="0" y="21384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3" name="Forma livre: Forma 202">
              <a:extLst>
                <a:ext uri="{FF2B5EF4-FFF2-40B4-BE49-F238E27FC236}">
                  <a16:creationId xmlns:a16="http://schemas.microsoft.com/office/drawing/2014/main" id="{BEC56070-5AC1-DF6A-F72E-03931DA7444B}"/>
                </a:ext>
              </a:extLst>
            </p:cNvPr>
            <p:cNvSpPr/>
            <p:nvPr/>
          </p:nvSpPr>
          <p:spPr>
            <a:xfrm>
              <a:off x="1714348" y="3399377"/>
              <a:ext cx="4762" cy="21526"/>
            </a:xfrm>
            <a:custGeom>
              <a:avLst/>
              <a:gdLst>
                <a:gd name="connsiteX0" fmla="*/ 0 w 4762"/>
                <a:gd name="connsiteY0" fmla="*/ 0 h 21526"/>
                <a:gd name="connsiteX1" fmla="*/ 0 w 4762"/>
                <a:gd name="connsiteY1" fmla="*/ 21526 h 215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762" h="21526">
                  <a:moveTo>
                    <a:pt x="0" y="0"/>
                  </a:moveTo>
                  <a:lnTo>
                    <a:pt x="0" y="21526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204" name="Gráfico 2">
            <a:extLst>
              <a:ext uri="{FF2B5EF4-FFF2-40B4-BE49-F238E27FC236}">
                <a16:creationId xmlns:a16="http://schemas.microsoft.com/office/drawing/2014/main" id="{A680C16A-C56B-44F6-1CB0-A27B5B0721EA}"/>
              </a:ext>
            </a:extLst>
          </p:cNvPr>
          <p:cNvGrpSpPr/>
          <p:nvPr/>
        </p:nvGrpSpPr>
        <p:grpSpPr>
          <a:xfrm>
            <a:off x="1467745" y="1523666"/>
            <a:ext cx="253746" cy="317759"/>
            <a:chOff x="1467745" y="1523666"/>
            <a:chExt cx="253746" cy="317759"/>
          </a:xfrm>
          <a:noFill/>
        </p:grpSpPr>
        <p:grpSp>
          <p:nvGrpSpPr>
            <p:cNvPr id="205" name="Gráfico 2">
              <a:extLst>
                <a:ext uri="{FF2B5EF4-FFF2-40B4-BE49-F238E27FC236}">
                  <a16:creationId xmlns:a16="http://schemas.microsoft.com/office/drawing/2014/main" id="{22CC0EEE-8CFC-655E-8B5B-23D04205A3B5}"/>
                </a:ext>
              </a:extLst>
            </p:cNvPr>
            <p:cNvGrpSpPr/>
            <p:nvPr/>
          </p:nvGrpSpPr>
          <p:grpSpPr>
            <a:xfrm>
              <a:off x="1533849" y="1630298"/>
              <a:ext cx="121491" cy="156591"/>
              <a:chOff x="1533849" y="1630298"/>
              <a:chExt cx="121491" cy="156591"/>
            </a:xfrm>
          </p:grpSpPr>
          <p:sp>
            <p:nvSpPr>
              <p:cNvPr id="206" name="Forma livre: Forma 205">
                <a:extLst>
                  <a:ext uri="{FF2B5EF4-FFF2-40B4-BE49-F238E27FC236}">
                    <a16:creationId xmlns:a16="http://schemas.microsoft.com/office/drawing/2014/main" id="{22EDB0ED-425F-AD8E-380C-1E3710E1F6DC}"/>
                  </a:ext>
                </a:extLst>
              </p:cNvPr>
              <p:cNvSpPr/>
              <p:nvPr/>
            </p:nvSpPr>
            <p:spPr>
              <a:xfrm>
                <a:off x="1633671" y="1630298"/>
                <a:ext cx="21669" cy="156591"/>
              </a:xfrm>
              <a:custGeom>
                <a:avLst/>
                <a:gdLst>
                  <a:gd name="connsiteX0" fmla="*/ 0 w 21669"/>
                  <a:gd name="connsiteY0" fmla="*/ 0 h 156591"/>
                  <a:gd name="connsiteX1" fmla="*/ 21669 w 21669"/>
                  <a:gd name="connsiteY1" fmla="*/ 156591 h 1565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1669" h="156591">
                    <a:moveTo>
                      <a:pt x="0" y="0"/>
                    </a:moveTo>
                    <a:lnTo>
                      <a:pt x="21669" y="156591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07" name="Forma livre: Forma 206">
                <a:extLst>
                  <a:ext uri="{FF2B5EF4-FFF2-40B4-BE49-F238E27FC236}">
                    <a16:creationId xmlns:a16="http://schemas.microsoft.com/office/drawing/2014/main" id="{9E4C8BB5-3ED3-2E79-1B27-337B99BCA90E}"/>
                  </a:ext>
                </a:extLst>
              </p:cNvPr>
              <p:cNvSpPr/>
              <p:nvPr/>
            </p:nvSpPr>
            <p:spPr>
              <a:xfrm>
                <a:off x="1533849" y="1630298"/>
                <a:ext cx="21669" cy="156591"/>
              </a:xfrm>
              <a:custGeom>
                <a:avLst/>
                <a:gdLst>
                  <a:gd name="connsiteX0" fmla="*/ 0 w 21669"/>
                  <a:gd name="connsiteY0" fmla="*/ 156591 h 156591"/>
                  <a:gd name="connsiteX1" fmla="*/ 21669 w 21669"/>
                  <a:gd name="connsiteY1" fmla="*/ 0 h 1565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1669" h="156591">
                    <a:moveTo>
                      <a:pt x="0" y="156591"/>
                    </a:moveTo>
                    <a:lnTo>
                      <a:pt x="21669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208" name="Forma livre: Forma 207">
              <a:extLst>
                <a:ext uri="{FF2B5EF4-FFF2-40B4-BE49-F238E27FC236}">
                  <a16:creationId xmlns:a16="http://schemas.microsoft.com/office/drawing/2014/main" id="{E80D0F8A-1556-B2B8-C496-51D9C8BD9991}"/>
                </a:ext>
              </a:extLst>
            </p:cNvPr>
            <p:cNvSpPr/>
            <p:nvPr/>
          </p:nvSpPr>
          <p:spPr>
            <a:xfrm>
              <a:off x="1467745" y="1829466"/>
              <a:ext cx="253746" cy="11959"/>
            </a:xfrm>
            <a:custGeom>
              <a:avLst/>
              <a:gdLst>
                <a:gd name="connsiteX0" fmla="*/ 0 w 253746"/>
                <a:gd name="connsiteY0" fmla="*/ 0 h 11959"/>
                <a:gd name="connsiteX1" fmla="*/ 63389 w 253746"/>
                <a:gd name="connsiteY1" fmla="*/ 0 h 11959"/>
                <a:gd name="connsiteX2" fmla="*/ 126968 w 253746"/>
                <a:gd name="connsiteY2" fmla="*/ 0 h 11959"/>
                <a:gd name="connsiteX3" fmla="*/ 190357 w 253746"/>
                <a:gd name="connsiteY3" fmla="*/ 0 h 11959"/>
                <a:gd name="connsiteX4" fmla="*/ 253746 w 253746"/>
                <a:gd name="connsiteY4" fmla="*/ 0 h 119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3746" h="11959">
                  <a:moveTo>
                    <a:pt x="0" y="0"/>
                  </a:moveTo>
                  <a:cubicBezTo>
                    <a:pt x="0" y="0"/>
                    <a:pt x="26718" y="26908"/>
                    <a:pt x="63389" y="0"/>
                  </a:cubicBezTo>
                  <a:cubicBezTo>
                    <a:pt x="63389" y="0"/>
                    <a:pt x="90297" y="26908"/>
                    <a:pt x="126968" y="0"/>
                  </a:cubicBezTo>
                  <a:cubicBezTo>
                    <a:pt x="126968" y="0"/>
                    <a:pt x="153686" y="26908"/>
                    <a:pt x="190357" y="0"/>
                  </a:cubicBezTo>
                  <a:cubicBezTo>
                    <a:pt x="190357" y="0"/>
                    <a:pt x="217075" y="26908"/>
                    <a:pt x="253746" y="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9" name="Forma livre: Forma 208">
              <a:extLst>
                <a:ext uri="{FF2B5EF4-FFF2-40B4-BE49-F238E27FC236}">
                  <a16:creationId xmlns:a16="http://schemas.microsoft.com/office/drawing/2014/main" id="{22840CA9-A9BF-0B03-686C-A7F6B51B9819}"/>
                </a:ext>
              </a:extLst>
            </p:cNvPr>
            <p:cNvSpPr/>
            <p:nvPr/>
          </p:nvSpPr>
          <p:spPr>
            <a:xfrm>
              <a:off x="1555566" y="1523666"/>
              <a:ext cx="78009" cy="104251"/>
            </a:xfrm>
            <a:custGeom>
              <a:avLst/>
              <a:gdLst>
                <a:gd name="connsiteX0" fmla="*/ 78010 w 78009"/>
                <a:gd name="connsiteY0" fmla="*/ 104251 h 104251"/>
                <a:gd name="connsiteX1" fmla="*/ 78010 w 78009"/>
                <a:gd name="connsiteY1" fmla="*/ 38624 h 104251"/>
                <a:gd name="connsiteX2" fmla="*/ 39005 w 78009"/>
                <a:gd name="connsiteY2" fmla="*/ 0 h 104251"/>
                <a:gd name="connsiteX3" fmla="*/ 0 w 78009"/>
                <a:gd name="connsiteY3" fmla="*/ 38624 h 104251"/>
                <a:gd name="connsiteX4" fmla="*/ 0 w 78009"/>
                <a:gd name="connsiteY4" fmla="*/ 59769 h 1042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009" h="104251">
                  <a:moveTo>
                    <a:pt x="78010" y="104251"/>
                  </a:moveTo>
                  <a:lnTo>
                    <a:pt x="78010" y="38624"/>
                  </a:lnTo>
                  <a:cubicBezTo>
                    <a:pt x="78010" y="17383"/>
                    <a:pt x="60246" y="0"/>
                    <a:pt x="39005" y="0"/>
                  </a:cubicBezTo>
                  <a:cubicBezTo>
                    <a:pt x="17764" y="0"/>
                    <a:pt x="0" y="17383"/>
                    <a:pt x="0" y="38624"/>
                  </a:cubicBezTo>
                  <a:lnTo>
                    <a:pt x="0" y="59769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0" name="Forma livre: Forma 209">
              <a:extLst>
                <a:ext uri="{FF2B5EF4-FFF2-40B4-BE49-F238E27FC236}">
                  <a16:creationId xmlns:a16="http://schemas.microsoft.com/office/drawing/2014/main" id="{51DC4199-8F2C-74B1-5470-E424860D1217}"/>
                </a:ext>
              </a:extLst>
            </p:cNvPr>
            <p:cNvSpPr/>
            <p:nvPr/>
          </p:nvSpPr>
          <p:spPr>
            <a:xfrm>
              <a:off x="1556280" y="1555432"/>
              <a:ext cx="76581" cy="4762"/>
            </a:xfrm>
            <a:custGeom>
              <a:avLst/>
              <a:gdLst>
                <a:gd name="connsiteX0" fmla="*/ 0 w 76581"/>
                <a:gd name="connsiteY0" fmla="*/ 0 h 4762"/>
                <a:gd name="connsiteX1" fmla="*/ 76581 w 76581"/>
                <a:gd name="connsiteY1" fmla="*/ 0 h 47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6581" h="4762">
                  <a:moveTo>
                    <a:pt x="0" y="0"/>
                  </a:moveTo>
                  <a:lnTo>
                    <a:pt x="76581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211" name="Gráfico 2">
              <a:extLst>
                <a:ext uri="{FF2B5EF4-FFF2-40B4-BE49-F238E27FC236}">
                  <a16:creationId xmlns:a16="http://schemas.microsoft.com/office/drawing/2014/main" id="{8FEBF4B1-5E3E-5B31-6A9A-1D501E4CF504}"/>
                </a:ext>
              </a:extLst>
            </p:cNvPr>
            <p:cNvGrpSpPr/>
            <p:nvPr/>
          </p:nvGrpSpPr>
          <p:grpSpPr>
            <a:xfrm>
              <a:off x="1473746" y="1530524"/>
              <a:ext cx="241649" cy="83867"/>
              <a:chOff x="1473746" y="1530524"/>
              <a:chExt cx="241649" cy="83867"/>
            </a:xfrm>
          </p:grpSpPr>
          <p:grpSp>
            <p:nvGrpSpPr>
              <p:cNvPr id="212" name="Gráfico 2">
                <a:extLst>
                  <a:ext uri="{FF2B5EF4-FFF2-40B4-BE49-F238E27FC236}">
                    <a16:creationId xmlns:a16="http://schemas.microsoft.com/office/drawing/2014/main" id="{AD4647F9-14B9-F7F2-7B04-8ED04130BA5F}"/>
                  </a:ext>
                </a:extLst>
              </p:cNvPr>
              <p:cNvGrpSpPr/>
              <p:nvPr/>
            </p:nvGrpSpPr>
            <p:grpSpPr>
              <a:xfrm>
                <a:off x="1473746" y="1530524"/>
                <a:ext cx="42481" cy="83867"/>
                <a:chOff x="1473746" y="1530524"/>
                <a:chExt cx="42481" cy="83867"/>
              </a:xfrm>
            </p:grpSpPr>
            <p:sp>
              <p:nvSpPr>
                <p:cNvPr id="213" name="Forma livre: Forma 212">
                  <a:extLst>
                    <a:ext uri="{FF2B5EF4-FFF2-40B4-BE49-F238E27FC236}">
                      <a16:creationId xmlns:a16="http://schemas.microsoft.com/office/drawing/2014/main" id="{07AA8C0E-45FD-D866-0815-2389560B3517}"/>
                    </a:ext>
                  </a:extLst>
                </p:cNvPr>
                <p:cNvSpPr/>
                <p:nvPr/>
              </p:nvSpPr>
              <p:spPr>
                <a:xfrm>
                  <a:off x="1473746" y="1572434"/>
                  <a:ext cx="42481" cy="4762"/>
                </a:xfrm>
                <a:custGeom>
                  <a:avLst/>
                  <a:gdLst>
                    <a:gd name="connsiteX0" fmla="*/ 42482 w 42481"/>
                    <a:gd name="connsiteY0" fmla="*/ 0 h 4762"/>
                    <a:gd name="connsiteX1" fmla="*/ 0 w 42481"/>
                    <a:gd name="connsiteY1" fmla="*/ 0 h 476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2481" h="4762">
                      <a:moveTo>
                        <a:pt x="42482" y="0"/>
                      </a:moveTo>
                      <a:lnTo>
                        <a:pt x="0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14" name="Forma livre: Forma 213">
                  <a:extLst>
                    <a:ext uri="{FF2B5EF4-FFF2-40B4-BE49-F238E27FC236}">
                      <a16:creationId xmlns:a16="http://schemas.microsoft.com/office/drawing/2014/main" id="{317BA4E3-1E62-597A-B7CC-D7764C64BAAB}"/>
                    </a:ext>
                  </a:extLst>
                </p:cNvPr>
                <p:cNvSpPr/>
                <p:nvPr/>
              </p:nvSpPr>
              <p:spPr>
                <a:xfrm>
                  <a:off x="1474794" y="1530524"/>
                  <a:ext cx="40433" cy="16525"/>
                </a:xfrm>
                <a:custGeom>
                  <a:avLst/>
                  <a:gdLst>
                    <a:gd name="connsiteX0" fmla="*/ 40434 w 40433"/>
                    <a:gd name="connsiteY0" fmla="*/ 16526 h 16525"/>
                    <a:gd name="connsiteX1" fmla="*/ 0 w 40433"/>
                    <a:gd name="connsiteY1" fmla="*/ 0 h 1652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0433" h="16525">
                      <a:moveTo>
                        <a:pt x="40434" y="16526"/>
                      </a:moveTo>
                      <a:lnTo>
                        <a:pt x="0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15" name="Forma livre: Forma 214">
                  <a:extLst>
                    <a:ext uri="{FF2B5EF4-FFF2-40B4-BE49-F238E27FC236}">
                      <a16:creationId xmlns:a16="http://schemas.microsoft.com/office/drawing/2014/main" id="{F26B597D-9102-0F95-238C-FDA545A99586}"/>
                    </a:ext>
                  </a:extLst>
                </p:cNvPr>
                <p:cNvSpPr/>
                <p:nvPr/>
              </p:nvSpPr>
              <p:spPr>
                <a:xfrm>
                  <a:off x="1474794" y="1597818"/>
                  <a:ext cx="40433" cy="16573"/>
                </a:xfrm>
                <a:custGeom>
                  <a:avLst/>
                  <a:gdLst>
                    <a:gd name="connsiteX0" fmla="*/ 0 w 40433"/>
                    <a:gd name="connsiteY0" fmla="*/ 16573 h 16573"/>
                    <a:gd name="connsiteX1" fmla="*/ 40434 w 40433"/>
                    <a:gd name="connsiteY1" fmla="*/ 0 h 1657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0433" h="16573">
                      <a:moveTo>
                        <a:pt x="0" y="16573"/>
                      </a:moveTo>
                      <a:lnTo>
                        <a:pt x="40434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216" name="Gráfico 2">
                <a:extLst>
                  <a:ext uri="{FF2B5EF4-FFF2-40B4-BE49-F238E27FC236}">
                    <a16:creationId xmlns:a16="http://schemas.microsoft.com/office/drawing/2014/main" id="{61BB37BC-6472-0035-6257-2AB16B798AA7}"/>
                  </a:ext>
                </a:extLst>
              </p:cNvPr>
              <p:cNvGrpSpPr/>
              <p:nvPr/>
            </p:nvGrpSpPr>
            <p:grpSpPr>
              <a:xfrm>
                <a:off x="1672914" y="1530524"/>
                <a:ext cx="42481" cy="83867"/>
                <a:chOff x="1672914" y="1530524"/>
                <a:chExt cx="42481" cy="83867"/>
              </a:xfrm>
            </p:grpSpPr>
            <p:sp>
              <p:nvSpPr>
                <p:cNvPr id="217" name="Forma livre: Forma 216">
                  <a:extLst>
                    <a:ext uri="{FF2B5EF4-FFF2-40B4-BE49-F238E27FC236}">
                      <a16:creationId xmlns:a16="http://schemas.microsoft.com/office/drawing/2014/main" id="{0CFA3FFB-467A-7200-8F1C-103907EDC10B}"/>
                    </a:ext>
                  </a:extLst>
                </p:cNvPr>
                <p:cNvSpPr/>
                <p:nvPr/>
              </p:nvSpPr>
              <p:spPr>
                <a:xfrm>
                  <a:off x="1672914" y="1572434"/>
                  <a:ext cx="42481" cy="4762"/>
                </a:xfrm>
                <a:custGeom>
                  <a:avLst/>
                  <a:gdLst>
                    <a:gd name="connsiteX0" fmla="*/ 0 w 42481"/>
                    <a:gd name="connsiteY0" fmla="*/ 0 h 4762"/>
                    <a:gd name="connsiteX1" fmla="*/ 42481 w 42481"/>
                    <a:gd name="connsiteY1" fmla="*/ 0 h 476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2481" h="4762">
                      <a:moveTo>
                        <a:pt x="0" y="0"/>
                      </a:moveTo>
                      <a:lnTo>
                        <a:pt x="42481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18" name="Forma livre: Forma 217">
                  <a:extLst>
                    <a:ext uri="{FF2B5EF4-FFF2-40B4-BE49-F238E27FC236}">
                      <a16:creationId xmlns:a16="http://schemas.microsoft.com/office/drawing/2014/main" id="{7FA1A308-4B7F-8ED9-7F5B-2E2BDD1A4E16}"/>
                    </a:ext>
                  </a:extLst>
                </p:cNvPr>
                <p:cNvSpPr/>
                <p:nvPr/>
              </p:nvSpPr>
              <p:spPr>
                <a:xfrm>
                  <a:off x="1673914" y="1597818"/>
                  <a:ext cx="40481" cy="16573"/>
                </a:xfrm>
                <a:custGeom>
                  <a:avLst/>
                  <a:gdLst>
                    <a:gd name="connsiteX0" fmla="*/ 0 w 40481"/>
                    <a:gd name="connsiteY0" fmla="*/ 0 h 16573"/>
                    <a:gd name="connsiteX1" fmla="*/ 40481 w 40481"/>
                    <a:gd name="connsiteY1" fmla="*/ 16573 h 1657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0481" h="16573">
                      <a:moveTo>
                        <a:pt x="0" y="0"/>
                      </a:moveTo>
                      <a:lnTo>
                        <a:pt x="40481" y="16573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19" name="Forma livre: Forma 218">
                  <a:extLst>
                    <a:ext uri="{FF2B5EF4-FFF2-40B4-BE49-F238E27FC236}">
                      <a16:creationId xmlns:a16="http://schemas.microsoft.com/office/drawing/2014/main" id="{1D9F149D-D6F6-5BE0-94C1-9CEAFCD07FC6}"/>
                    </a:ext>
                  </a:extLst>
                </p:cNvPr>
                <p:cNvSpPr/>
                <p:nvPr/>
              </p:nvSpPr>
              <p:spPr>
                <a:xfrm>
                  <a:off x="1673914" y="1530524"/>
                  <a:ext cx="40481" cy="16525"/>
                </a:xfrm>
                <a:custGeom>
                  <a:avLst/>
                  <a:gdLst>
                    <a:gd name="connsiteX0" fmla="*/ 40481 w 40481"/>
                    <a:gd name="connsiteY0" fmla="*/ 0 h 16525"/>
                    <a:gd name="connsiteX1" fmla="*/ 0 w 40481"/>
                    <a:gd name="connsiteY1" fmla="*/ 16526 h 1652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0481" h="16525">
                      <a:moveTo>
                        <a:pt x="40481" y="0"/>
                      </a:moveTo>
                      <a:lnTo>
                        <a:pt x="0" y="16526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sp>
          <p:nvSpPr>
            <p:cNvPr id="220" name="Forma livre: Forma 219">
              <a:extLst>
                <a:ext uri="{FF2B5EF4-FFF2-40B4-BE49-F238E27FC236}">
                  <a16:creationId xmlns:a16="http://schemas.microsoft.com/office/drawing/2014/main" id="{4A830FBB-C071-3482-DC27-11691A0EAEC1}"/>
                </a:ext>
              </a:extLst>
            </p:cNvPr>
            <p:cNvSpPr/>
            <p:nvPr/>
          </p:nvSpPr>
          <p:spPr>
            <a:xfrm>
              <a:off x="1543088" y="1628869"/>
              <a:ext cx="103012" cy="4762"/>
            </a:xfrm>
            <a:custGeom>
              <a:avLst/>
              <a:gdLst>
                <a:gd name="connsiteX0" fmla="*/ 0 w 103012"/>
                <a:gd name="connsiteY0" fmla="*/ 0 h 4762"/>
                <a:gd name="connsiteX1" fmla="*/ 103013 w 103012"/>
                <a:gd name="connsiteY1" fmla="*/ 0 h 47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3012" h="4762">
                  <a:moveTo>
                    <a:pt x="0" y="0"/>
                  </a:moveTo>
                  <a:lnTo>
                    <a:pt x="103013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21" name="Forma livre: Forma 220">
              <a:extLst>
                <a:ext uri="{FF2B5EF4-FFF2-40B4-BE49-F238E27FC236}">
                  <a16:creationId xmlns:a16="http://schemas.microsoft.com/office/drawing/2014/main" id="{46C155D5-FE9E-AB66-D2B3-C8F6F9B5E0A6}"/>
                </a:ext>
              </a:extLst>
            </p:cNvPr>
            <p:cNvSpPr/>
            <p:nvPr/>
          </p:nvSpPr>
          <p:spPr>
            <a:xfrm>
              <a:off x="1543088" y="1602295"/>
              <a:ext cx="103012" cy="4762"/>
            </a:xfrm>
            <a:custGeom>
              <a:avLst/>
              <a:gdLst>
                <a:gd name="connsiteX0" fmla="*/ 0 w 103012"/>
                <a:gd name="connsiteY0" fmla="*/ 0 h 4762"/>
                <a:gd name="connsiteX1" fmla="*/ 103013 w 103012"/>
                <a:gd name="connsiteY1" fmla="*/ 0 h 47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3012" h="4762">
                  <a:moveTo>
                    <a:pt x="0" y="0"/>
                  </a:moveTo>
                  <a:lnTo>
                    <a:pt x="103013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22" name="Forma livre: Forma 221">
              <a:extLst>
                <a:ext uri="{FF2B5EF4-FFF2-40B4-BE49-F238E27FC236}">
                  <a16:creationId xmlns:a16="http://schemas.microsoft.com/office/drawing/2014/main" id="{AD898B2D-71BA-96DD-7280-B8995819F523}"/>
                </a:ext>
              </a:extLst>
            </p:cNvPr>
            <p:cNvSpPr/>
            <p:nvPr/>
          </p:nvSpPr>
          <p:spPr>
            <a:xfrm>
              <a:off x="1555566" y="1602485"/>
              <a:ext cx="4762" cy="26193"/>
            </a:xfrm>
            <a:custGeom>
              <a:avLst/>
              <a:gdLst>
                <a:gd name="connsiteX0" fmla="*/ 0 w 4762"/>
                <a:gd name="connsiteY0" fmla="*/ 26194 h 26193"/>
                <a:gd name="connsiteX1" fmla="*/ 0 w 4762"/>
                <a:gd name="connsiteY1" fmla="*/ 0 h 261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762" h="26193">
                  <a:moveTo>
                    <a:pt x="0" y="26194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23" name="Forma livre: Forma 222">
              <a:extLst>
                <a:ext uri="{FF2B5EF4-FFF2-40B4-BE49-F238E27FC236}">
                  <a16:creationId xmlns:a16="http://schemas.microsoft.com/office/drawing/2014/main" id="{57C701AD-4FA3-0B7D-6EF6-463EA3093913}"/>
                </a:ext>
              </a:extLst>
            </p:cNvPr>
            <p:cNvSpPr/>
            <p:nvPr/>
          </p:nvSpPr>
          <p:spPr>
            <a:xfrm>
              <a:off x="1508370" y="1787508"/>
              <a:ext cx="172450" cy="31861"/>
            </a:xfrm>
            <a:custGeom>
              <a:avLst/>
              <a:gdLst>
                <a:gd name="connsiteX0" fmla="*/ 0 w 172450"/>
                <a:gd name="connsiteY0" fmla="*/ 31861 h 31861"/>
                <a:gd name="connsiteX1" fmla="*/ 6572 w 172450"/>
                <a:gd name="connsiteY1" fmla="*/ 0 h 31861"/>
                <a:gd name="connsiteX2" fmla="*/ 165878 w 172450"/>
                <a:gd name="connsiteY2" fmla="*/ 0 h 31861"/>
                <a:gd name="connsiteX3" fmla="*/ 172450 w 172450"/>
                <a:gd name="connsiteY3" fmla="*/ 31861 h 31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2450" h="31861">
                  <a:moveTo>
                    <a:pt x="0" y="31861"/>
                  </a:moveTo>
                  <a:lnTo>
                    <a:pt x="6572" y="0"/>
                  </a:lnTo>
                  <a:lnTo>
                    <a:pt x="165878" y="0"/>
                  </a:lnTo>
                  <a:lnTo>
                    <a:pt x="172450" y="31861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24" name="Forma livre: Forma 223">
              <a:extLst>
                <a:ext uri="{FF2B5EF4-FFF2-40B4-BE49-F238E27FC236}">
                  <a16:creationId xmlns:a16="http://schemas.microsoft.com/office/drawing/2014/main" id="{707F8776-97ED-A9F4-9CFF-6AD67DC62DCE}"/>
                </a:ext>
              </a:extLst>
            </p:cNvPr>
            <p:cNvSpPr/>
            <p:nvPr/>
          </p:nvSpPr>
          <p:spPr>
            <a:xfrm>
              <a:off x="1570520" y="1669636"/>
              <a:ext cx="67960" cy="4762"/>
            </a:xfrm>
            <a:custGeom>
              <a:avLst/>
              <a:gdLst>
                <a:gd name="connsiteX0" fmla="*/ 67961 w 67960"/>
                <a:gd name="connsiteY0" fmla="*/ 0 h 4762"/>
                <a:gd name="connsiteX1" fmla="*/ 0 w 67960"/>
                <a:gd name="connsiteY1" fmla="*/ 0 h 47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7960" h="4762">
                  <a:moveTo>
                    <a:pt x="67961" y="0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25" name="Forma livre: Forma 224">
              <a:extLst>
                <a:ext uri="{FF2B5EF4-FFF2-40B4-BE49-F238E27FC236}">
                  <a16:creationId xmlns:a16="http://schemas.microsoft.com/office/drawing/2014/main" id="{1A809CA1-7A9C-7A48-536E-87509AF127D9}"/>
                </a:ext>
              </a:extLst>
            </p:cNvPr>
            <p:cNvSpPr/>
            <p:nvPr/>
          </p:nvSpPr>
          <p:spPr>
            <a:xfrm>
              <a:off x="1565091" y="1710784"/>
              <a:ext cx="77343" cy="4762"/>
            </a:xfrm>
            <a:custGeom>
              <a:avLst/>
              <a:gdLst>
                <a:gd name="connsiteX0" fmla="*/ 77343 w 77343"/>
                <a:gd name="connsiteY0" fmla="*/ 0 h 4762"/>
                <a:gd name="connsiteX1" fmla="*/ 0 w 77343"/>
                <a:gd name="connsiteY1" fmla="*/ 0 h 47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7343" h="4762">
                  <a:moveTo>
                    <a:pt x="77343" y="0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26" name="Forma livre: Forma 225">
              <a:extLst>
                <a:ext uri="{FF2B5EF4-FFF2-40B4-BE49-F238E27FC236}">
                  <a16:creationId xmlns:a16="http://schemas.microsoft.com/office/drawing/2014/main" id="{8722980E-6130-0F9D-3274-3804D825CD5C}"/>
                </a:ext>
              </a:extLst>
            </p:cNvPr>
            <p:cNvSpPr/>
            <p:nvPr/>
          </p:nvSpPr>
          <p:spPr>
            <a:xfrm>
              <a:off x="1559662" y="1751885"/>
              <a:ext cx="87963" cy="4762"/>
            </a:xfrm>
            <a:custGeom>
              <a:avLst/>
              <a:gdLst>
                <a:gd name="connsiteX0" fmla="*/ 87963 w 87963"/>
                <a:gd name="connsiteY0" fmla="*/ 0 h 4762"/>
                <a:gd name="connsiteX1" fmla="*/ 0 w 87963"/>
                <a:gd name="connsiteY1" fmla="*/ 0 h 47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7963" h="4762">
                  <a:moveTo>
                    <a:pt x="87963" y="0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27" name="Forma livre: Forma 226">
              <a:extLst>
                <a:ext uri="{FF2B5EF4-FFF2-40B4-BE49-F238E27FC236}">
                  <a16:creationId xmlns:a16="http://schemas.microsoft.com/office/drawing/2014/main" id="{AE5CB1FA-5CB7-C674-FB9D-CA13F7B3F771}"/>
                </a:ext>
              </a:extLst>
            </p:cNvPr>
            <p:cNvSpPr/>
            <p:nvPr/>
          </p:nvSpPr>
          <p:spPr>
            <a:xfrm>
              <a:off x="1594571" y="1575005"/>
              <a:ext cx="4762" cy="25622"/>
            </a:xfrm>
            <a:custGeom>
              <a:avLst/>
              <a:gdLst>
                <a:gd name="connsiteX0" fmla="*/ 0 w 4762"/>
                <a:gd name="connsiteY0" fmla="*/ 25622 h 25622"/>
                <a:gd name="connsiteX1" fmla="*/ 0 w 4762"/>
                <a:gd name="connsiteY1" fmla="*/ 0 h 256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762" h="25622">
                  <a:moveTo>
                    <a:pt x="0" y="25622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228" name="Gráfico 2">
            <a:extLst>
              <a:ext uri="{FF2B5EF4-FFF2-40B4-BE49-F238E27FC236}">
                <a16:creationId xmlns:a16="http://schemas.microsoft.com/office/drawing/2014/main" id="{C88811C8-1C06-7BE4-8DA7-FA3E144C3C38}"/>
              </a:ext>
            </a:extLst>
          </p:cNvPr>
          <p:cNvGrpSpPr/>
          <p:nvPr/>
        </p:nvGrpSpPr>
        <p:grpSpPr>
          <a:xfrm>
            <a:off x="1460268" y="2068020"/>
            <a:ext cx="268652" cy="290179"/>
            <a:chOff x="1460268" y="2068020"/>
            <a:chExt cx="268652" cy="290179"/>
          </a:xfrm>
          <a:noFill/>
        </p:grpSpPr>
        <p:sp>
          <p:nvSpPr>
            <p:cNvPr id="229" name="Forma livre: Forma 228">
              <a:extLst>
                <a:ext uri="{FF2B5EF4-FFF2-40B4-BE49-F238E27FC236}">
                  <a16:creationId xmlns:a16="http://schemas.microsoft.com/office/drawing/2014/main" id="{FD5D5A35-637F-C9C4-3D26-936481FF2294}"/>
                </a:ext>
              </a:extLst>
            </p:cNvPr>
            <p:cNvSpPr/>
            <p:nvPr/>
          </p:nvSpPr>
          <p:spPr>
            <a:xfrm>
              <a:off x="1460268" y="2068020"/>
              <a:ext cx="268652" cy="227790"/>
            </a:xfrm>
            <a:custGeom>
              <a:avLst/>
              <a:gdLst>
                <a:gd name="connsiteX0" fmla="*/ 231648 w 268652"/>
                <a:gd name="connsiteY0" fmla="*/ 227790 h 227790"/>
                <a:gd name="connsiteX1" fmla="*/ 242840 w 268652"/>
                <a:gd name="connsiteY1" fmla="*/ 215741 h 227790"/>
                <a:gd name="connsiteX2" fmla="*/ 221599 w 268652"/>
                <a:gd name="connsiteY2" fmla="*/ 186119 h 227790"/>
                <a:gd name="connsiteX3" fmla="*/ 232648 w 268652"/>
                <a:gd name="connsiteY3" fmla="*/ 159401 h 227790"/>
                <a:gd name="connsiteX4" fmla="*/ 268653 w 268652"/>
                <a:gd name="connsiteY4" fmla="*/ 153495 h 227790"/>
                <a:gd name="connsiteX5" fmla="*/ 268653 w 268652"/>
                <a:gd name="connsiteY5" fmla="*/ 115157 h 227790"/>
                <a:gd name="connsiteX6" fmla="*/ 232648 w 268652"/>
                <a:gd name="connsiteY6" fmla="*/ 109252 h 227790"/>
                <a:gd name="connsiteX7" fmla="*/ 221694 w 268652"/>
                <a:gd name="connsiteY7" fmla="*/ 82725 h 227790"/>
                <a:gd name="connsiteX8" fmla="*/ 242840 w 268652"/>
                <a:gd name="connsiteY8" fmla="*/ 52911 h 227790"/>
                <a:gd name="connsiteX9" fmla="*/ 215741 w 268652"/>
                <a:gd name="connsiteY9" fmla="*/ 25813 h 227790"/>
                <a:gd name="connsiteX10" fmla="*/ 185928 w 268652"/>
                <a:gd name="connsiteY10" fmla="*/ 46958 h 227790"/>
                <a:gd name="connsiteX11" fmla="*/ 159401 w 268652"/>
                <a:gd name="connsiteY11" fmla="*/ 36004 h 227790"/>
                <a:gd name="connsiteX12" fmla="*/ 153495 w 268652"/>
                <a:gd name="connsiteY12" fmla="*/ 0 h 227790"/>
                <a:gd name="connsiteX13" fmla="*/ 115157 w 268652"/>
                <a:gd name="connsiteY13" fmla="*/ 0 h 227790"/>
                <a:gd name="connsiteX14" fmla="*/ 109252 w 268652"/>
                <a:gd name="connsiteY14" fmla="*/ 36004 h 227790"/>
                <a:gd name="connsiteX15" fmla="*/ 82725 w 268652"/>
                <a:gd name="connsiteY15" fmla="*/ 46958 h 227790"/>
                <a:gd name="connsiteX16" fmla="*/ 52911 w 268652"/>
                <a:gd name="connsiteY16" fmla="*/ 25813 h 227790"/>
                <a:gd name="connsiteX17" fmla="*/ 25813 w 268652"/>
                <a:gd name="connsiteY17" fmla="*/ 52911 h 227790"/>
                <a:gd name="connsiteX18" fmla="*/ 46958 w 268652"/>
                <a:gd name="connsiteY18" fmla="*/ 82725 h 227790"/>
                <a:gd name="connsiteX19" fmla="*/ 36052 w 268652"/>
                <a:gd name="connsiteY19" fmla="*/ 109061 h 227790"/>
                <a:gd name="connsiteX20" fmla="*/ 0 w 268652"/>
                <a:gd name="connsiteY20" fmla="*/ 115205 h 227790"/>
                <a:gd name="connsiteX21" fmla="*/ 0 w 268652"/>
                <a:gd name="connsiteY21" fmla="*/ 153543 h 227790"/>
                <a:gd name="connsiteX22" fmla="*/ 36052 w 268652"/>
                <a:gd name="connsiteY22" fmla="*/ 159687 h 227790"/>
                <a:gd name="connsiteX23" fmla="*/ 47053 w 268652"/>
                <a:gd name="connsiteY23" fmla="*/ 186166 h 227790"/>
                <a:gd name="connsiteX24" fmla="*/ 25765 w 268652"/>
                <a:gd name="connsiteY24" fmla="*/ 215789 h 227790"/>
                <a:gd name="connsiteX25" fmla="*/ 37481 w 268652"/>
                <a:gd name="connsiteY25" fmla="*/ 227076 h 2277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268652" h="227790">
                  <a:moveTo>
                    <a:pt x="231648" y="227790"/>
                  </a:moveTo>
                  <a:lnTo>
                    <a:pt x="242840" y="215741"/>
                  </a:lnTo>
                  <a:lnTo>
                    <a:pt x="221599" y="186119"/>
                  </a:lnTo>
                  <a:cubicBezTo>
                    <a:pt x="226505" y="177879"/>
                    <a:pt x="230219" y="168926"/>
                    <a:pt x="232648" y="159401"/>
                  </a:cubicBezTo>
                  <a:lnTo>
                    <a:pt x="268653" y="153495"/>
                  </a:lnTo>
                  <a:lnTo>
                    <a:pt x="268653" y="115157"/>
                  </a:lnTo>
                  <a:lnTo>
                    <a:pt x="232648" y="109252"/>
                  </a:lnTo>
                  <a:cubicBezTo>
                    <a:pt x="230267" y="99822"/>
                    <a:pt x="226552" y="90916"/>
                    <a:pt x="221694" y="82725"/>
                  </a:cubicBezTo>
                  <a:lnTo>
                    <a:pt x="242840" y="52911"/>
                  </a:lnTo>
                  <a:lnTo>
                    <a:pt x="215741" y="25813"/>
                  </a:lnTo>
                  <a:lnTo>
                    <a:pt x="185928" y="46958"/>
                  </a:lnTo>
                  <a:cubicBezTo>
                    <a:pt x="177737" y="42101"/>
                    <a:pt x="168831" y="38433"/>
                    <a:pt x="159401" y="36004"/>
                  </a:cubicBezTo>
                  <a:lnTo>
                    <a:pt x="153495" y="0"/>
                  </a:lnTo>
                  <a:lnTo>
                    <a:pt x="115157" y="0"/>
                  </a:lnTo>
                  <a:lnTo>
                    <a:pt x="109252" y="36004"/>
                  </a:lnTo>
                  <a:cubicBezTo>
                    <a:pt x="99822" y="38386"/>
                    <a:pt x="90916" y="42101"/>
                    <a:pt x="82725" y="46958"/>
                  </a:cubicBezTo>
                  <a:lnTo>
                    <a:pt x="52911" y="25813"/>
                  </a:lnTo>
                  <a:lnTo>
                    <a:pt x="25813" y="52911"/>
                  </a:lnTo>
                  <a:lnTo>
                    <a:pt x="46958" y="82725"/>
                  </a:lnTo>
                  <a:cubicBezTo>
                    <a:pt x="42148" y="90821"/>
                    <a:pt x="38481" y="99679"/>
                    <a:pt x="36052" y="109061"/>
                  </a:cubicBezTo>
                  <a:lnTo>
                    <a:pt x="0" y="115205"/>
                  </a:lnTo>
                  <a:lnTo>
                    <a:pt x="0" y="153543"/>
                  </a:lnTo>
                  <a:lnTo>
                    <a:pt x="36052" y="159687"/>
                  </a:lnTo>
                  <a:cubicBezTo>
                    <a:pt x="38481" y="169116"/>
                    <a:pt x="42196" y="178022"/>
                    <a:pt x="47053" y="186166"/>
                  </a:cubicBezTo>
                  <a:lnTo>
                    <a:pt x="25765" y="215789"/>
                  </a:lnTo>
                  <a:lnTo>
                    <a:pt x="37481" y="227076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30" name="Forma livre: Forma 229">
              <a:extLst>
                <a:ext uri="{FF2B5EF4-FFF2-40B4-BE49-F238E27FC236}">
                  <a16:creationId xmlns:a16="http://schemas.microsoft.com/office/drawing/2014/main" id="{E738DB8E-2462-4B8A-6212-A5BDE037AAB0}"/>
                </a:ext>
              </a:extLst>
            </p:cNvPr>
            <p:cNvSpPr/>
            <p:nvPr/>
          </p:nvSpPr>
          <p:spPr>
            <a:xfrm>
              <a:off x="1594571" y="2283904"/>
              <a:ext cx="4762" cy="74295"/>
            </a:xfrm>
            <a:custGeom>
              <a:avLst/>
              <a:gdLst>
                <a:gd name="connsiteX0" fmla="*/ 0 w 4762"/>
                <a:gd name="connsiteY0" fmla="*/ 0 h 74295"/>
                <a:gd name="connsiteX1" fmla="*/ 0 w 4762"/>
                <a:gd name="connsiteY1" fmla="*/ 74295 h 742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762" h="74295">
                  <a:moveTo>
                    <a:pt x="0" y="0"/>
                  </a:moveTo>
                  <a:lnTo>
                    <a:pt x="0" y="74295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231" name="Gráfico 2">
              <a:extLst>
                <a:ext uri="{FF2B5EF4-FFF2-40B4-BE49-F238E27FC236}">
                  <a16:creationId xmlns:a16="http://schemas.microsoft.com/office/drawing/2014/main" id="{DF12A143-A571-DCC4-1CD2-BE2C18AFCB1D}"/>
                </a:ext>
              </a:extLst>
            </p:cNvPr>
            <p:cNvGrpSpPr/>
            <p:nvPr/>
          </p:nvGrpSpPr>
          <p:grpSpPr>
            <a:xfrm>
              <a:off x="1519895" y="2278046"/>
              <a:ext cx="149352" cy="80152"/>
              <a:chOff x="1519895" y="2278046"/>
              <a:chExt cx="149352" cy="80152"/>
            </a:xfrm>
            <a:noFill/>
          </p:grpSpPr>
          <p:sp>
            <p:nvSpPr>
              <p:cNvPr id="232" name="Forma livre: Forma 231">
                <a:extLst>
                  <a:ext uri="{FF2B5EF4-FFF2-40B4-BE49-F238E27FC236}">
                    <a16:creationId xmlns:a16="http://schemas.microsoft.com/office/drawing/2014/main" id="{1BAEE530-0F38-0D3E-3131-FCE2188F187C}"/>
                  </a:ext>
                </a:extLst>
              </p:cNvPr>
              <p:cNvSpPr/>
              <p:nvPr/>
            </p:nvSpPr>
            <p:spPr>
              <a:xfrm>
                <a:off x="1519895" y="2278046"/>
                <a:ext cx="48672" cy="80152"/>
              </a:xfrm>
              <a:custGeom>
                <a:avLst/>
                <a:gdLst>
                  <a:gd name="connsiteX0" fmla="*/ 48673 w 48672"/>
                  <a:gd name="connsiteY0" fmla="*/ 80153 h 80152"/>
                  <a:gd name="connsiteX1" fmla="*/ 41577 w 48672"/>
                  <a:gd name="connsiteY1" fmla="*/ 0 h 80152"/>
                  <a:gd name="connsiteX2" fmla="*/ 27623 w 48672"/>
                  <a:gd name="connsiteY2" fmla="*/ 4239 h 80152"/>
                  <a:gd name="connsiteX3" fmla="*/ 0 w 48672"/>
                  <a:gd name="connsiteY3" fmla="*/ 33909 h 80152"/>
                  <a:gd name="connsiteX4" fmla="*/ 0 w 48672"/>
                  <a:gd name="connsiteY4" fmla="*/ 80153 h 801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8672" h="80152">
                    <a:moveTo>
                      <a:pt x="48673" y="80153"/>
                    </a:moveTo>
                    <a:lnTo>
                      <a:pt x="41577" y="0"/>
                    </a:lnTo>
                    <a:lnTo>
                      <a:pt x="27623" y="4239"/>
                    </a:lnTo>
                    <a:cubicBezTo>
                      <a:pt x="27623" y="4239"/>
                      <a:pt x="0" y="11144"/>
                      <a:pt x="0" y="33909"/>
                    </a:cubicBezTo>
                    <a:lnTo>
                      <a:pt x="0" y="80153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33" name="Forma livre: Forma 232">
                <a:extLst>
                  <a:ext uri="{FF2B5EF4-FFF2-40B4-BE49-F238E27FC236}">
                    <a16:creationId xmlns:a16="http://schemas.microsoft.com/office/drawing/2014/main" id="{B90BBC1A-F62B-BB84-DC72-112DD2B9AFBA}"/>
                  </a:ext>
                </a:extLst>
              </p:cNvPr>
              <p:cNvSpPr/>
              <p:nvPr/>
            </p:nvSpPr>
            <p:spPr>
              <a:xfrm>
                <a:off x="1620574" y="2278046"/>
                <a:ext cx="48672" cy="80152"/>
              </a:xfrm>
              <a:custGeom>
                <a:avLst/>
                <a:gdLst>
                  <a:gd name="connsiteX0" fmla="*/ 0 w 48672"/>
                  <a:gd name="connsiteY0" fmla="*/ 80153 h 80152"/>
                  <a:gd name="connsiteX1" fmla="*/ 7096 w 48672"/>
                  <a:gd name="connsiteY1" fmla="*/ 0 h 80152"/>
                  <a:gd name="connsiteX2" fmla="*/ 21050 w 48672"/>
                  <a:gd name="connsiteY2" fmla="*/ 4239 h 80152"/>
                  <a:gd name="connsiteX3" fmla="*/ 48673 w 48672"/>
                  <a:gd name="connsiteY3" fmla="*/ 33909 h 80152"/>
                  <a:gd name="connsiteX4" fmla="*/ 48673 w 48672"/>
                  <a:gd name="connsiteY4" fmla="*/ 80153 h 801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8672" h="80152">
                    <a:moveTo>
                      <a:pt x="0" y="80153"/>
                    </a:moveTo>
                    <a:lnTo>
                      <a:pt x="7096" y="0"/>
                    </a:lnTo>
                    <a:lnTo>
                      <a:pt x="21050" y="4239"/>
                    </a:lnTo>
                    <a:cubicBezTo>
                      <a:pt x="21050" y="4239"/>
                      <a:pt x="48673" y="11144"/>
                      <a:pt x="48673" y="33909"/>
                    </a:cubicBezTo>
                    <a:lnTo>
                      <a:pt x="48673" y="80153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234" name="Gráfico 2">
              <a:extLst>
                <a:ext uri="{FF2B5EF4-FFF2-40B4-BE49-F238E27FC236}">
                  <a16:creationId xmlns:a16="http://schemas.microsoft.com/office/drawing/2014/main" id="{85BF32B3-B958-E0C1-0D30-694EC0583BC7}"/>
                </a:ext>
              </a:extLst>
            </p:cNvPr>
            <p:cNvGrpSpPr/>
            <p:nvPr/>
          </p:nvGrpSpPr>
          <p:grpSpPr>
            <a:xfrm>
              <a:off x="1556389" y="2160698"/>
              <a:ext cx="76363" cy="101679"/>
              <a:chOff x="1556389" y="2160698"/>
              <a:chExt cx="76363" cy="101679"/>
            </a:xfrm>
            <a:noFill/>
          </p:grpSpPr>
          <p:sp>
            <p:nvSpPr>
              <p:cNvPr id="235" name="Forma livre: Forma 234">
                <a:extLst>
                  <a:ext uri="{FF2B5EF4-FFF2-40B4-BE49-F238E27FC236}">
                    <a16:creationId xmlns:a16="http://schemas.microsoft.com/office/drawing/2014/main" id="{1FC3E033-01D7-E1E2-D859-42A63AEFB63E}"/>
                  </a:ext>
                </a:extLst>
              </p:cNvPr>
              <p:cNvSpPr/>
              <p:nvPr/>
            </p:nvSpPr>
            <p:spPr>
              <a:xfrm>
                <a:off x="1556389" y="2160698"/>
                <a:ext cx="76363" cy="101679"/>
              </a:xfrm>
              <a:custGeom>
                <a:avLst/>
                <a:gdLst>
                  <a:gd name="connsiteX0" fmla="*/ 38182 w 76363"/>
                  <a:gd name="connsiteY0" fmla="*/ 0 h 101679"/>
                  <a:gd name="connsiteX1" fmla="*/ 796 w 76363"/>
                  <a:gd name="connsiteY1" fmla="*/ 50863 h 101679"/>
                  <a:gd name="connsiteX2" fmla="*/ 38182 w 76363"/>
                  <a:gd name="connsiteY2" fmla="*/ 101679 h 101679"/>
                  <a:gd name="connsiteX3" fmla="*/ 75567 w 76363"/>
                  <a:gd name="connsiteY3" fmla="*/ 50863 h 101679"/>
                  <a:gd name="connsiteX4" fmla="*/ 38182 w 76363"/>
                  <a:gd name="connsiteY4" fmla="*/ 0 h 1016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6363" h="101679">
                    <a:moveTo>
                      <a:pt x="38182" y="0"/>
                    </a:moveTo>
                    <a:cubicBezTo>
                      <a:pt x="225" y="0"/>
                      <a:pt x="-1871" y="22955"/>
                      <a:pt x="796" y="50863"/>
                    </a:cubicBezTo>
                    <a:cubicBezTo>
                      <a:pt x="3463" y="78819"/>
                      <a:pt x="21037" y="101679"/>
                      <a:pt x="38182" y="101679"/>
                    </a:cubicBezTo>
                    <a:cubicBezTo>
                      <a:pt x="55327" y="101679"/>
                      <a:pt x="72948" y="78819"/>
                      <a:pt x="75567" y="50863"/>
                    </a:cubicBezTo>
                    <a:cubicBezTo>
                      <a:pt x="78234" y="22955"/>
                      <a:pt x="76139" y="0"/>
                      <a:pt x="38182" y="0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36" name="Forma livre: Forma 235">
                <a:extLst>
                  <a:ext uri="{FF2B5EF4-FFF2-40B4-BE49-F238E27FC236}">
                    <a16:creationId xmlns:a16="http://schemas.microsoft.com/office/drawing/2014/main" id="{84E5C489-752E-C9F3-F8B8-AEDAA2AF88F1}"/>
                  </a:ext>
                </a:extLst>
              </p:cNvPr>
              <p:cNvSpPr/>
              <p:nvPr/>
            </p:nvSpPr>
            <p:spPr>
              <a:xfrm>
                <a:off x="1580045" y="2189749"/>
                <a:ext cx="25527" cy="12430"/>
              </a:xfrm>
              <a:custGeom>
                <a:avLst/>
                <a:gdLst>
                  <a:gd name="connsiteX0" fmla="*/ 25527 w 25527"/>
                  <a:gd name="connsiteY0" fmla="*/ 0 h 12430"/>
                  <a:gd name="connsiteX1" fmla="*/ 0 w 25527"/>
                  <a:gd name="connsiteY1" fmla="*/ 12430 h 124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5527" h="12430">
                    <a:moveTo>
                      <a:pt x="25527" y="0"/>
                    </a:moveTo>
                    <a:cubicBezTo>
                      <a:pt x="25527" y="0"/>
                      <a:pt x="21336" y="9239"/>
                      <a:pt x="0" y="12430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37" name="Forma livre: Forma 236">
                <a:extLst>
                  <a:ext uri="{FF2B5EF4-FFF2-40B4-BE49-F238E27FC236}">
                    <a16:creationId xmlns:a16="http://schemas.microsoft.com/office/drawing/2014/main" id="{1B259259-9781-7CE1-D12A-9B73928E59DE}"/>
                  </a:ext>
                </a:extLst>
              </p:cNvPr>
              <p:cNvSpPr/>
              <p:nvPr/>
            </p:nvSpPr>
            <p:spPr>
              <a:xfrm>
                <a:off x="1605572" y="2189749"/>
                <a:ext cx="26003" cy="14335"/>
              </a:xfrm>
              <a:custGeom>
                <a:avLst/>
                <a:gdLst>
                  <a:gd name="connsiteX0" fmla="*/ 0 w 26003"/>
                  <a:gd name="connsiteY0" fmla="*/ 0 h 14335"/>
                  <a:gd name="connsiteX1" fmla="*/ 26003 w 26003"/>
                  <a:gd name="connsiteY1" fmla="*/ 14335 h 143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6003" h="14335">
                    <a:moveTo>
                      <a:pt x="0" y="0"/>
                    </a:moveTo>
                    <a:cubicBezTo>
                      <a:pt x="0" y="0"/>
                      <a:pt x="9954" y="10144"/>
                      <a:pt x="26003" y="14335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sp>
        <p:nvSpPr>
          <p:cNvPr id="238" name="Forma livre: Forma 237">
            <a:extLst>
              <a:ext uri="{FF2B5EF4-FFF2-40B4-BE49-F238E27FC236}">
                <a16:creationId xmlns:a16="http://schemas.microsoft.com/office/drawing/2014/main" id="{D44D2379-4189-B780-5708-C7BDEC742616}"/>
              </a:ext>
            </a:extLst>
          </p:cNvPr>
          <p:cNvSpPr/>
          <p:nvPr/>
        </p:nvSpPr>
        <p:spPr>
          <a:xfrm>
            <a:off x="810092" y="3154632"/>
            <a:ext cx="323897" cy="249888"/>
          </a:xfrm>
          <a:custGeom>
            <a:avLst/>
            <a:gdLst>
              <a:gd name="connsiteX0" fmla="*/ 185690 w 323897"/>
              <a:gd name="connsiteY0" fmla="*/ 249841 h 249888"/>
              <a:gd name="connsiteX1" fmla="*/ 229886 w 323897"/>
              <a:gd name="connsiteY1" fmla="*/ 249841 h 249888"/>
              <a:gd name="connsiteX2" fmla="*/ 229886 w 323897"/>
              <a:gd name="connsiteY2" fmla="*/ 213027 h 249888"/>
              <a:gd name="connsiteX3" fmla="*/ 284369 w 323897"/>
              <a:gd name="connsiteY3" fmla="*/ 213027 h 249888"/>
              <a:gd name="connsiteX4" fmla="*/ 296037 w 323897"/>
              <a:gd name="connsiteY4" fmla="*/ 201359 h 249888"/>
              <a:gd name="connsiteX5" fmla="*/ 296037 w 323897"/>
              <a:gd name="connsiteY5" fmla="*/ 155686 h 249888"/>
              <a:gd name="connsiteX6" fmla="*/ 323898 w 323897"/>
              <a:gd name="connsiteY6" fmla="*/ 155686 h 249888"/>
              <a:gd name="connsiteX7" fmla="*/ 295370 w 323897"/>
              <a:gd name="connsiteY7" fmla="*/ 97822 h 249888"/>
              <a:gd name="connsiteX8" fmla="*/ 204026 w 323897"/>
              <a:gd name="connsiteY8" fmla="*/ 0 h 249888"/>
              <a:gd name="connsiteX9" fmla="*/ 161973 w 323897"/>
              <a:gd name="connsiteY9" fmla="*/ 0 h 249888"/>
              <a:gd name="connsiteX10" fmla="*/ 161973 w 323897"/>
              <a:gd name="connsiteY10" fmla="*/ 62817 h 249888"/>
              <a:gd name="connsiteX11" fmla="*/ 144780 w 323897"/>
              <a:gd name="connsiteY11" fmla="*/ 55435 h 249888"/>
              <a:gd name="connsiteX12" fmla="*/ 121110 w 323897"/>
              <a:gd name="connsiteY12" fmla="*/ 79105 h 249888"/>
              <a:gd name="connsiteX13" fmla="*/ 144780 w 323897"/>
              <a:gd name="connsiteY13" fmla="*/ 102775 h 249888"/>
              <a:gd name="connsiteX14" fmla="*/ 161973 w 323897"/>
              <a:gd name="connsiteY14" fmla="*/ 95393 h 249888"/>
              <a:gd name="connsiteX15" fmla="*/ 161973 w 323897"/>
              <a:gd name="connsiteY15" fmla="*/ 139446 h 249888"/>
              <a:gd name="connsiteX16" fmla="*/ 179165 w 323897"/>
              <a:gd name="connsiteY16" fmla="*/ 132064 h 249888"/>
              <a:gd name="connsiteX17" fmla="*/ 202835 w 323897"/>
              <a:gd name="connsiteY17" fmla="*/ 155734 h 249888"/>
              <a:gd name="connsiteX18" fmla="*/ 179165 w 323897"/>
              <a:gd name="connsiteY18" fmla="*/ 179403 h 249888"/>
              <a:gd name="connsiteX19" fmla="*/ 162020 w 323897"/>
              <a:gd name="connsiteY19" fmla="*/ 172022 h 249888"/>
              <a:gd name="connsiteX20" fmla="*/ 162020 w 323897"/>
              <a:gd name="connsiteY20" fmla="*/ 249888 h 249888"/>
              <a:gd name="connsiteX21" fmla="*/ 94059 w 323897"/>
              <a:gd name="connsiteY21" fmla="*/ 249888 h 249888"/>
              <a:gd name="connsiteX22" fmla="*/ 94059 w 323897"/>
              <a:gd name="connsiteY22" fmla="*/ 213074 h 249888"/>
              <a:gd name="connsiteX23" fmla="*/ 39576 w 323897"/>
              <a:gd name="connsiteY23" fmla="*/ 213074 h 249888"/>
              <a:gd name="connsiteX24" fmla="*/ 27908 w 323897"/>
              <a:gd name="connsiteY24" fmla="*/ 201406 h 249888"/>
              <a:gd name="connsiteX25" fmla="*/ 27908 w 323897"/>
              <a:gd name="connsiteY25" fmla="*/ 155734 h 249888"/>
              <a:gd name="connsiteX26" fmla="*/ 0 w 323897"/>
              <a:gd name="connsiteY26" fmla="*/ 155734 h 249888"/>
              <a:gd name="connsiteX27" fmla="*/ 28527 w 323897"/>
              <a:gd name="connsiteY27" fmla="*/ 97869 h 249888"/>
              <a:gd name="connsiteX28" fmla="*/ 119872 w 323897"/>
              <a:gd name="connsiteY28" fmla="*/ 48 h 249888"/>
              <a:gd name="connsiteX29" fmla="*/ 139017 w 323897"/>
              <a:gd name="connsiteY29" fmla="*/ 48 h 2498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</a:cxnLst>
            <a:rect l="l" t="t" r="r" b="b"/>
            <a:pathLst>
              <a:path w="323897" h="249888">
                <a:moveTo>
                  <a:pt x="185690" y="249841"/>
                </a:moveTo>
                <a:lnTo>
                  <a:pt x="229886" y="249841"/>
                </a:lnTo>
                <a:lnTo>
                  <a:pt x="229886" y="213027"/>
                </a:lnTo>
                <a:lnTo>
                  <a:pt x="284369" y="213027"/>
                </a:lnTo>
                <a:cubicBezTo>
                  <a:pt x="290798" y="213027"/>
                  <a:pt x="296037" y="207788"/>
                  <a:pt x="296037" y="201359"/>
                </a:cubicBezTo>
                <a:lnTo>
                  <a:pt x="296037" y="155686"/>
                </a:lnTo>
                <a:lnTo>
                  <a:pt x="323898" y="155686"/>
                </a:lnTo>
                <a:lnTo>
                  <a:pt x="295370" y="97822"/>
                </a:lnTo>
                <a:cubicBezTo>
                  <a:pt x="295370" y="88106"/>
                  <a:pt x="305086" y="0"/>
                  <a:pt x="204026" y="0"/>
                </a:cubicBezTo>
                <a:lnTo>
                  <a:pt x="161973" y="0"/>
                </a:lnTo>
                <a:lnTo>
                  <a:pt x="161973" y="62817"/>
                </a:lnTo>
                <a:cubicBezTo>
                  <a:pt x="157686" y="58245"/>
                  <a:pt x="151590" y="55435"/>
                  <a:pt x="144780" y="55435"/>
                </a:cubicBezTo>
                <a:cubicBezTo>
                  <a:pt x="131683" y="55435"/>
                  <a:pt x="121110" y="66056"/>
                  <a:pt x="121110" y="79105"/>
                </a:cubicBezTo>
                <a:cubicBezTo>
                  <a:pt x="121110" y="92154"/>
                  <a:pt x="131731" y="102775"/>
                  <a:pt x="144780" y="102775"/>
                </a:cubicBezTo>
                <a:cubicBezTo>
                  <a:pt x="151543" y="102775"/>
                  <a:pt x="157639" y="99917"/>
                  <a:pt x="161973" y="95393"/>
                </a:cubicBezTo>
                <a:lnTo>
                  <a:pt x="161973" y="139446"/>
                </a:lnTo>
                <a:cubicBezTo>
                  <a:pt x="166307" y="134874"/>
                  <a:pt x="172403" y="132064"/>
                  <a:pt x="179165" y="132064"/>
                </a:cubicBezTo>
                <a:cubicBezTo>
                  <a:pt x="192262" y="132064"/>
                  <a:pt x="202835" y="142684"/>
                  <a:pt x="202835" y="155734"/>
                </a:cubicBezTo>
                <a:cubicBezTo>
                  <a:pt x="202835" y="168831"/>
                  <a:pt x="192215" y="179403"/>
                  <a:pt x="179165" y="179403"/>
                </a:cubicBezTo>
                <a:cubicBezTo>
                  <a:pt x="172403" y="179403"/>
                  <a:pt x="166307" y="176546"/>
                  <a:pt x="162020" y="172022"/>
                </a:cubicBezTo>
                <a:lnTo>
                  <a:pt x="162020" y="249888"/>
                </a:lnTo>
                <a:lnTo>
                  <a:pt x="94059" y="249888"/>
                </a:lnTo>
                <a:lnTo>
                  <a:pt x="94059" y="213074"/>
                </a:lnTo>
                <a:lnTo>
                  <a:pt x="39576" y="213074"/>
                </a:lnTo>
                <a:cubicBezTo>
                  <a:pt x="33147" y="213074"/>
                  <a:pt x="27908" y="207835"/>
                  <a:pt x="27908" y="201406"/>
                </a:cubicBezTo>
                <a:lnTo>
                  <a:pt x="27908" y="155734"/>
                </a:lnTo>
                <a:lnTo>
                  <a:pt x="0" y="155734"/>
                </a:lnTo>
                <a:lnTo>
                  <a:pt x="28527" y="97869"/>
                </a:lnTo>
                <a:cubicBezTo>
                  <a:pt x="28527" y="88154"/>
                  <a:pt x="18812" y="48"/>
                  <a:pt x="119872" y="48"/>
                </a:cubicBezTo>
                <a:lnTo>
                  <a:pt x="139017" y="48"/>
                </a:lnTo>
              </a:path>
            </a:pathLst>
          </a:custGeom>
          <a:noFill/>
          <a:ln w="6350" cap="flat">
            <a:solidFill>
              <a:schemeClr val="accent2"/>
            </a:solidFill>
            <a:prstDash val="solid"/>
            <a:round/>
          </a:ln>
        </p:spPr>
        <p:txBody>
          <a:bodyPr rtlCol="0" anchor="ctr"/>
          <a:lstStyle/>
          <a:p>
            <a:endParaRPr lang="pt-PT"/>
          </a:p>
        </p:txBody>
      </p:sp>
      <p:grpSp>
        <p:nvGrpSpPr>
          <p:cNvPr id="239" name="Gráfico 2">
            <a:extLst>
              <a:ext uri="{FF2B5EF4-FFF2-40B4-BE49-F238E27FC236}">
                <a16:creationId xmlns:a16="http://schemas.microsoft.com/office/drawing/2014/main" id="{4CC42293-BF3D-B332-5C04-817B7955744D}"/>
              </a:ext>
            </a:extLst>
          </p:cNvPr>
          <p:cNvGrpSpPr/>
          <p:nvPr/>
        </p:nvGrpSpPr>
        <p:grpSpPr>
          <a:xfrm>
            <a:off x="2068297" y="1004982"/>
            <a:ext cx="293084" cy="294036"/>
            <a:chOff x="2068297" y="1004982"/>
            <a:chExt cx="293084" cy="294036"/>
          </a:xfrm>
          <a:noFill/>
        </p:grpSpPr>
        <p:grpSp>
          <p:nvGrpSpPr>
            <p:cNvPr id="240" name="Gráfico 2">
              <a:extLst>
                <a:ext uri="{FF2B5EF4-FFF2-40B4-BE49-F238E27FC236}">
                  <a16:creationId xmlns:a16="http://schemas.microsoft.com/office/drawing/2014/main" id="{686D7289-8B8C-5F65-5309-112AB763446C}"/>
                </a:ext>
              </a:extLst>
            </p:cNvPr>
            <p:cNvGrpSpPr/>
            <p:nvPr/>
          </p:nvGrpSpPr>
          <p:grpSpPr>
            <a:xfrm>
              <a:off x="2091347" y="1004982"/>
              <a:ext cx="254079" cy="175260"/>
              <a:chOff x="2091347" y="1004982"/>
              <a:chExt cx="254079" cy="175260"/>
            </a:xfrm>
            <a:noFill/>
          </p:grpSpPr>
          <p:sp>
            <p:nvSpPr>
              <p:cNvPr id="241" name="Forma livre: Forma 240">
                <a:extLst>
                  <a:ext uri="{FF2B5EF4-FFF2-40B4-BE49-F238E27FC236}">
                    <a16:creationId xmlns:a16="http://schemas.microsoft.com/office/drawing/2014/main" id="{6083850A-B22C-41D9-64D5-839C796A18DB}"/>
                  </a:ext>
                </a:extLst>
              </p:cNvPr>
              <p:cNvSpPr/>
              <p:nvPr/>
            </p:nvSpPr>
            <p:spPr>
              <a:xfrm>
                <a:off x="2161261" y="1004982"/>
                <a:ext cx="184165" cy="175260"/>
              </a:xfrm>
              <a:custGeom>
                <a:avLst/>
                <a:gdLst>
                  <a:gd name="connsiteX0" fmla="*/ 116491 w 184165"/>
                  <a:gd name="connsiteY0" fmla="*/ 175260 h 175260"/>
                  <a:gd name="connsiteX1" fmla="*/ 127873 w 184165"/>
                  <a:gd name="connsiteY1" fmla="*/ 175260 h 175260"/>
                  <a:gd name="connsiteX2" fmla="*/ 184166 w 184165"/>
                  <a:gd name="connsiteY2" fmla="*/ 118253 h 175260"/>
                  <a:gd name="connsiteX3" fmla="*/ 127873 w 184165"/>
                  <a:gd name="connsiteY3" fmla="*/ 61246 h 175260"/>
                  <a:gd name="connsiteX4" fmla="*/ 114014 w 184165"/>
                  <a:gd name="connsiteY4" fmla="*/ 61246 h 175260"/>
                  <a:gd name="connsiteX5" fmla="*/ 114014 w 184165"/>
                  <a:gd name="connsiteY5" fmla="*/ 56293 h 175260"/>
                  <a:gd name="connsiteX6" fmla="*/ 57007 w 184165"/>
                  <a:gd name="connsiteY6" fmla="*/ 0 h 175260"/>
                  <a:gd name="connsiteX7" fmla="*/ 0 w 184165"/>
                  <a:gd name="connsiteY7" fmla="*/ 56293 h 175260"/>
                  <a:gd name="connsiteX8" fmla="*/ 0 w 184165"/>
                  <a:gd name="connsiteY8" fmla="*/ 61055 h 1752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84165" h="175260">
                    <a:moveTo>
                      <a:pt x="116491" y="175260"/>
                    </a:moveTo>
                    <a:lnTo>
                      <a:pt x="127873" y="175260"/>
                    </a:lnTo>
                    <a:cubicBezTo>
                      <a:pt x="158829" y="175260"/>
                      <a:pt x="184166" y="149209"/>
                      <a:pt x="184166" y="118253"/>
                    </a:cubicBezTo>
                    <a:cubicBezTo>
                      <a:pt x="184166" y="87297"/>
                      <a:pt x="158829" y="61246"/>
                      <a:pt x="127873" y="61246"/>
                    </a:cubicBezTo>
                    <a:lnTo>
                      <a:pt x="114014" y="61246"/>
                    </a:lnTo>
                    <a:lnTo>
                      <a:pt x="114014" y="56293"/>
                    </a:lnTo>
                    <a:cubicBezTo>
                      <a:pt x="114014" y="25337"/>
                      <a:pt x="87963" y="0"/>
                      <a:pt x="57007" y="0"/>
                    </a:cubicBezTo>
                    <a:cubicBezTo>
                      <a:pt x="26051" y="0"/>
                      <a:pt x="0" y="25337"/>
                      <a:pt x="0" y="56293"/>
                    </a:cubicBezTo>
                    <a:lnTo>
                      <a:pt x="0" y="61055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42" name="Forma livre: Forma 241">
                <a:extLst>
                  <a:ext uri="{FF2B5EF4-FFF2-40B4-BE49-F238E27FC236}">
                    <a16:creationId xmlns:a16="http://schemas.microsoft.com/office/drawing/2014/main" id="{C94E4E45-9415-38BB-9346-C5D1D969FFA9}"/>
                  </a:ext>
                </a:extLst>
              </p:cNvPr>
              <p:cNvSpPr/>
              <p:nvPr/>
            </p:nvSpPr>
            <p:spPr>
              <a:xfrm>
                <a:off x="2091347" y="1066561"/>
                <a:ext cx="94630" cy="113633"/>
              </a:xfrm>
              <a:custGeom>
                <a:avLst/>
                <a:gdLst>
                  <a:gd name="connsiteX0" fmla="*/ 94631 w 94630"/>
                  <a:gd name="connsiteY0" fmla="*/ 17383 h 113633"/>
                  <a:gd name="connsiteX1" fmla="*/ 54721 w 94630"/>
                  <a:gd name="connsiteY1" fmla="*/ 0 h 113633"/>
                  <a:gd name="connsiteX2" fmla="*/ 51959 w 94630"/>
                  <a:gd name="connsiteY2" fmla="*/ 95 h 113633"/>
                  <a:gd name="connsiteX3" fmla="*/ 0 w 94630"/>
                  <a:gd name="connsiteY3" fmla="*/ 56912 h 113633"/>
                  <a:gd name="connsiteX4" fmla="*/ 51054 w 94630"/>
                  <a:gd name="connsiteY4" fmla="*/ 113633 h 113633"/>
                  <a:gd name="connsiteX5" fmla="*/ 67437 w 94630"/>
                  <a:gd name="connsiteY5" fmla="*/ 113633 h 1136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94630" h="113633">
                    <a:moveTo>
                      <a:pt x="94631" y="17383"/>
                    </a:moveTo>
                    <a:cubicBezTo>
                      <a:pt x="82772" y="5048"/>
                      <a:pt x="72533" y="0"/>
                      <a:pt x="54721" y="0"/>
                    </a:cubicBezTo>
                    <a:lnTo>
                      <a:pt x="51959" y="95"/>
                    </a:lnTo>
                    <a:cubicBezTo>
                      <a:pt x="23050" y="2143"/>
                      <a:pt x="0" y="27480"/>
                      <a:pt x="0" y="56912"/>
                    </a:cubicBezTo>
                    <a:cubicBezTo>
                      <a:pt x="0" y="86344"/>
                      <a:pt x="23336" y="113633"/>
                      <a:pt x="51054" y="113633"/>
                    </a:cubicBezTo>
                    <a:lnTo>
                      <a:pt x="67437" y="113633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243" name="Forma livre: Forma 242">
              <a:extLst>
                <a:ext uri="{FF2B5EF4-FFF2-40B4-BE49-F238E27FC236}">
                  <a16:creationId xmlns:a16="http://schemas.microsoft.com/office/drawing/2014/main" id="{2E5C5D9B-8254-314F-CFE9-E3A00F371625}"/>
                </a:ext>
              </a:extLst>
            </p:cNvPr>
            <p:cNvSpPr/>
            <p:nvPr/>
          </p:nvSpPr>
          <p:spPr>
            <a:xfrm>
              <a:off x="2284229" y="1202721"/>
              <a:ext cx="63912" cy="13382"/>
            </a:xfrm>
            <a:custGeom>
              <a:avLst/>
              <a:gdLst>
                <a:gd name="connsiteX0" fmla="*/ 63913 w 63912"/>
                <a:gd name="connsiteY0" fmla="*/ 13383 h 13382"/>
                <a:gd name="connsiteX1" fmla="*/ 51006 w 63912"/>
                <a:gd name="connsiteY1" fmla="*/ 13383 h 13382"/>
                <a:gd name="connsiteX2" fmla="*/ 37671 w 63912"/>
                <a:gd name="connsiteY2" fmla="*/ 0 h 13382"/>
                <a:gd name="connsiteX3" fmla="*/ 24289 w 63912"/>
                <a:gd name="connsiteY3" fmla="*/ 13383 h 13382"/>
                <a:gd name="connsiteX4" fmla="*/ 0 w 63912"/>
                <a:gd name="connsiteY4" fmla="*/ 13383 h 133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912" h="13382">
                  <a:moveTo>
                    <a:pt x="63913" y="13383"/>
                  </a:moveTo>
                  <a:lnTo>
                    <a:pt x="51006" y="13383"/>
                  </a:lnTo>
                  <a:cubicBezTo>
                    <a:pt x="51006" y="6001"/>
                    <a:pt x="45006" y="0"/>
                    <a:pt x="37671" y="0"/>
                  </a:cubicBezTo>
                  <a:cubicBezTo>
                    <a:pt x="30337" y="0"/>
                    <a:pt x="24289" y="6001"/>
                    <a:pt x="24289" y="13383"/>
                  </a:cubicBezTo>
                  <a:lnTo>
                    <a:pt x="0" y="13383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44" name="Forma livre: Forma 243">
              <a:extLst>
                <a:ext uri="{FF2B5EF4-FFF2-40B4-BE49-F238E27FC236}">
                  <a16:creationId xmlns:a16="http://schemas.microsoft.com/office/drawing/2014/main" id="{F72D3645-F3CB-7392-6543-41D6F1FB65CA}"/>
                </a:ext>
              </a:extLst>
            </p:cNvPr>
            <p:cNvSpPr/>
            <p:nvPr/>
          </p:nvSpPr>
          <p:spPr>
            <a:xfrm>
              <a:off x="2179168" y="1131045"/>
              <a:ext cx="4762" cy="167973"/>
            </a:xfrm>
            <a:custGeom>
              <a:avLst/>
              <a:gdLst>
                <a:gd name="connsiteX0" fmla="*/ 0 w 4762"/>
                <a:gd name="connsiteY0" fmla="*/ 0 h 167973"/>
                <a:gd name="connsiteX1" fmla="*/ 0 w 4762"/>
                <a:gd name="connsiteY1" fmla="*/ 167973 h 1679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762" h="167973">
                  <a:moveTo>
                    <a:pt x="0" y="0"/>
                  </a:moveTo>
                  <a:lnTo>
                    <a:pt x="0" y="167973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45" name="Forma livre: Forma 244">
              <a:extLst>
                <a:ext uri="{FF2B5EF4-FFF2-40B4-BE49-F238E27FC236}">
                  <a16:creationId xmlns:a16="http://schemas.microsoft.com/office/drawing/2014/main" id="{FBC42CC2-3652-F4F4-F25C-4775E523EEF2}"/>
                </a:ext>
              </a:extLst>
            </p:cNvPr>
            <p:cNvSpPr/>
            <p:nvPr/>
          </p:nvSpPr>
          <p:spPr>
            <a:xfrm>
              <a:off x="2257559" y="1131045"/>
              <a:ext cx="4762" cy="167973"/>
            </a:xfrm>
            <a:custGeom>
              <a:avLst/>
              <a:gdLst>
                <a:gd name="connsiteX0" fmla="*/ 0 w 4762"/>
                <a:gd name="connsiteY0" fmla="*/ 0 h 167973"/>
                <a:gd name="connsiteX1" fmla="*/ 0 w 4762"/>
                <a:gd name="connsiteY1" fmla="*/ 167973 h 1679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762" h="167973">
                  <a:moveTo>
                    <a:pt x="0" y="0"/>
                  </a:moveTo>
                  <a:lnTo>
                    <a:pt x="0" y="167973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46" name="Forma livre: Forma 245">
              <a:extLst>
                <a:ext uri="{FF2B5EF4-FFF2-40B4-BE49-F238E27FC236}">
                  <a16:creationId xmlns:a16="http://schemas.microsoft.com/office/drawing/2014/main" id="{C03C5B1C-FEB9-DC72-488E-EC1118086EAD}"/>
                </a:ext>
              </a:extLst>
            </p:cNvPr>
            <p:cNvSpPr/>
            <p:nvPr/>
          </p:nvSpPr>
          <p:spPr>
            <a:xfrm>
              <a:off x="2198932" y="1159287"/>
              <a:ext cx="58626" cy="4762"/>
            </a:xfrm>
            <a:custGeom>
              <a:avLst/>
              <a:gdLst>
                <a:gd name="connsiteX0" fmla="*/ 58626 w 58626"/>
                <a:gd name="connsiteY0" fmla="*/ 0 h 4762"/>
                <a:gd name="connsiteX1" fmla="*/ 0 w 58626"/>
                <a:gd name="connsiteY1" fmla="*/ 0 h 47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8626" h="4762">
                  <a:moveTo>
                    <a:pt x="58626" y="0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47" name="Forma livre: Forma 246">
              <a:extLst>
                <a:ext uri="{FF2B5EF4-FFF2-40B4-BE49-F238E27FC236}">
                  <a16:creationId xmlns:a16="http://schemas.microsoft.com/office/drawing/2014/main" id="{D788FCC7-0CF9-7CA5-0F00-FB4B31108F30}"/>
                </a:ext>
              </a:extLst>
            </p:cNvPr>
            <p:cNvSpPr/>
            <p:nvPr/>
          </p:nvSpPr>
          <p:spPr>
            <a:xfrm>
              <a:off x="2198932" y="1197387"/>
              <a:ext cx="58626" cy="4762"/>
            </a:xfrm>
            <a:custGeom>
              <a:avLst/>
              <a:gdLst>
                <a:gd name="connsiteX0" fmla="*/ 58626 w 58626"/>
                <a:gd name="connsiteY0" fmla="*/ 0 h 4762"/>
                <a:gd name="connsiteX1" fmla="*/ 0 w 58626"/>
                <a:gd name="connsiteY1" fmla="*/ 0 h 47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8626" h="4762">
                  <a:moveTo>
                    <a:pt x="58626" y="0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48" name="Forma livre: Forma 247">
              <a:extLst>
                <a:ext uri="{FF2B5EF4-FFF2-40B4-BE49-F238E27FC236}">
                  <a16:creationId xmlns:a16="http://schemas.microsoft.com/office/drawing/2014/main" id="{A1906CCE-961F-1560-D998-12538E346664}"/>
                </a:ext>
              </a:extLst>
            </p:cNvPr>
            <p:cNvSpPr/>
            <p:nvPr/>
          </p:nvSpPr>
          <p:spPr>
            <a:xfrm>
              <a:off x="2198932" y="1235439"/>
              <a:ext cx="58626" cy="4762"/>
            </a:xfrm>
            <a:custGeom>
              <a:avLst/>
              <a:gdLst>
                <a:gd name="connsiteX0" fmla="*/ 58626 w 58626"/>
                <a:gd name="connsiteY0" fmla="*/ 0 h 4762"/>
                <a:gd name="connsiteX1" fmla="*/ 0 w 58626"/>
                <a:gd name="connsiteY1" fmla="*/ 0 h 47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8626" h="4762">
                  <a:moveTo>
                    <a:pt x="58626" y="0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49" name="Forma livre: Forma 248">
              <a:extLst>
                <a:ext uri="{FF2B5EF4-FFF2-40B4-BE49-F238E27FC236}">
                  <a16:creationId xmlns:a16="http://schemas.microsoft.com/office/drawing/2014/main" id="{A2AC4771-5149-039D-34F2-803273DAF04B}"/>
                </a:ext>
              </a:extLst>
            </p:cNvPr>
            <p:cNvSpPr/>
            <p:nvPr/>
          </p:nvSpPr>
          <p:spPr>
            <a:xfrm>
              <a:off x="2198932" y="1273492"/>
              <a:ext cx="58626" cy="4762"/>
            </a:xfrm>
            <a:custGeom>
              <a:avLst/>
              <a:gdLst>
                <a:gd name="connsiteX0" fmla="*/ 58626 w 58626"/>
                <a:gd name="connsiteY0" fmla="*/ 0 h 4762"/>
                <a:gd name="connsiteX1" fmla="*/ 0 w 58626"/>
                <a:gd name="connsiteY1" fmla="*/ 0 h 47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8626" h="4762">
                  <a:moveTo>
                    <a:pt x="58626" y="0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50" name="Forma livre: Forma 249">
              <a:extLst>
                <a:ext uri="{FF2B5EF4-FFF2-40B4-BE49-F238E27FC236}">
                  <a16:creationId xmlns:a16="http://schemas.microsoft.com/office/drawing/2014/main" id="{1450D5CC-6888-EB34-821D-7EE3A112EFE2}"/>
                </a:ext>
              </a:extLst>
            </p:cNvPr>
            <p:cNvSpPr/>
            <p:nvPr/>
          </p:nvSpPr>
          <p:spPr>
            <a:xfrm>
              <a:off x="2334664" y="1245631"/>
              <a:ext cx="26717" cy="4762"/>
            </a:xfrm>
            <a:custGeom>
              <a:avLst/>
              <a:gdLst>
                <a:gd name="connsiteX0" fmla="*/ 0 w 26717"/>
                <a:gd name="connsiteY0" fmla="*/ 0 h 4762"/>
                <a:gd name="connsiteX1" fmla="*/ 26718 w 26717"/>
                <a:gd name="connsiteY1" fmla="*/ 0 h 47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6717" h="4762">
                  <a:moveTo>
                    <a:pt x="0" y="0"/>
                  </a:moveTo>
                  <a:lnTo>
                    <a:pt x="26718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51" name="Forma livre: Forma 250">
              <a:extLst>
                <a:ext uri="{FF2B5EF4-FFF2-40B4-BE49-F238E27FC236}">
                  <a16:creationId xmlns:a16="http://schemas.microsoft.com/office/drawing/2014/main" id="{01854CE7-2C7A-5983-86E6-E61B67A99E2B}"/>
                </a:ext>
              </a:extLst>
            </p:cNvPr>
            <p:cNvSpPr/>
            <p:nvPr/>
          </p:nvSpPr>
          <p:spPr>
            <a:xfrm>
              <a:off x="2301564" y="1245631"/>
              <a:ext cx="11144" cy="4762"/>
            </a:xfrm>
            <a:custGeom>
              <a:avLst/>
              <a:gdLst>
                <a:gd name="connsiteX0" fmla="*/ 0 w 11144"/>
                <a:gd name="connsiteY0" fmla="*/ 0 h 4762"/>
                <a:gd name="connsiteX1" fmla="*/ 11144 w 11144"/>
                <a:gd name="connsiteY1" fmla="*/ 0 h 47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144" h="4762">
                  <a:moveTo>
                    <a:pt x="0" y="0"/>
                  </a:moveTo>
                  <a:lnTo>
                    <a:pt x="11144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52" name="Forma livre: Forma 251">
              <a:extLst>
                <a:ext uri="{FF2B5EF4-FFF2-40B4-BE49-F238E27FC236}">
                  <a16:creationId xmlns:a16="http://schemas.microsoft.com/office/drawing/2014/main" id="{DB0ADA90-E6AD-FB84-4DFA-BAA2AC509B79}"/>
                </a:ext>
              </a:extLst>
            </p:cNvPr>
            <p:cNvSpPr/>
            <p:nvPr/>
          </p:nvSpPr>
          <p:spPr>
            <a:xfrm>
              <a:off x="2113636" y="1241249"/>
              <a:ext cx="40100" cy="20050"/>
            </a:xfrm>
            <a:custGeom>
              <a:avLst/>
              <a:gdLst>
                <a:gd name="connsiteX0" fmla="*/ 0 w 40100"/>
                <a:gd name="connsiteY0" fmla="*/ 20050 h 20050"/>
                <a:gd name="connsiteX1" fmla="*/ 20050 w 40100"/>
                <a:gd name="connsiteY1" fmla="*/ 0 h 20050"/>
                <a:gd name="connsiteX2" fmla="*/ 40100 w 40100"/>
                <a:gd name="connsiteY2" fmla="*/ 20050 h 20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0100" h="20050">
                  <a:moveTo>
                    <a:pt x="0" y="20050"/>
                  </a:moveTo>
                  <a:cubicBezTo>
                    <a:pt x="0" y="8953"/>
                    <a:pt x="9001" y="0"/>
                    <a:pt x="20050" y="0"/>
                  </a:cubicBezTo>
                  <a:cubicBezTo>
                    <a:pt x="31099" y="0"/>
                    <a:pt x="40100" y="9001"/>
                    <a:pt x="40100" y="20050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53" name="Forma livre: Forma 252">
              <a:extLst>
                <a:ext uri="{FF2B5EF4-FFF2-40B4-BE49-F238E27FC236}">
                  <a16:creationId xmlns:a16="http://schemas.microsoft.com/office/drawing/2014/main" id="{F22FF036-A65D-AD8F-D334-654D90FBDDB3}"/>
                </a:ext>
              </a:extLst>
            </p:cNvPr>
            <p:cNvSpPr/>
            <p:nvPr/>
          </p:nvSpPr>
          <p:spPr>
            <a:xfrm>
              <a:off x="2068297" y="1221104"/>
              <a:ext cx="60245" cy="40195"/>
            </a:xfrm>
            <a:custGeom>
              <a:avLst/>
              <a:gdLst>
                <a:gd name="connsiteX0" fmla="*/ 60246 w 60245"/>
                <a:gd name="connsiteY0" fmla="*/ 20050 h 40195"/>
                <a:gd name="connsiteX1" fmla="*/ 40196 w 60245"/>
                <a:gd name="connsiteY1" fmla="*/ 0 h 40195"/>
                <a:gd name="connsiteX2" fmla="*/ 20098 w 60245"/>
                <a:gd name="connsiteY2" fmla="*/ 20098 h 40195"/>
                <a:gd name="connsiteX3" fmla="*/ 0 w 60245"/>
                <a:gd name="connsiteY3" fmla="*/ 40196 h 401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0245" h="40195">
                  <a:moveTo>
                    <a:pt x="60246" y="20050"/>
                  </a:moveTo>
                  <a:cubicBezTo>
                    <a:pt x="60246" y="8953"/>
                    <a:pt x="51245" y="0"/>
                    <a:pt x="40196" y="0"/>
                  </a:cubicBezTo>
                  <a:cubicBezTo>
                    <a:pt x="29146" y="0"/>
                    <a:pt x="20098" y="9001"/>
                    <a:pt x="20098" y="20098"/>
                  </a:cubicBezTo>
                  <a:cubicBezTo>
                    <a:pt x="9001" y="20098"/>
                    <a:pt x="0" y="29099"/>
                    <a:pt x="0" y="40196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255" name="Gráfico 4">
            <a:extLst>
              <a:ext uri="{FF2B5EF4-FFF2-40B4-BE49-F238E27FC236}">
                <a16:creationId xmlns:a16="http://schemas.microsoft.com/office/drawing/2014/main" id="{052FF70F-BE62-7687-889C-8849D9208E51}"/>
              </a:ext>
            </a:extLst>
          </p:cNvPr>
          <p:cNvGrpSpPr/>
          <p:nvPr/>
        </p:nvGrpSpPr>
        <p:grpSpPr>
          <a:xfrm>
            <a:off x="2700548" y="991808"/>
            <a:ext cx="231267" cy="277825"/>
            <a:chOff x="2700548" y="991808"/>
            <a:chExt cx="231267" cy="277825"/>
          </a:xfrm>
          <a:noFill/>
        </p:grpSpPr>
        <p:sp>
          <p:nvSpPr>
            <p:cNvPr id="256" name="Forma livre: Forma 255">
              <a:extLst>
                <a:ext uri="{FF2B5EF4-FFF2-40B4-BE49-F238E27FC236}">
                  <a16:creationId xmlns:a16="http://schemas.microsoft.com/office/drawing/2014/main" id="{EAD67793-3AAD-C949-2DC3-653711BE5D49}"/>
                </a:ext>
              </a:extLst>
            </p:cNvPr>
            <p:cNvSpPr/>
            <p:nvPr/>
          </p:nvSpPr>
          <p:spPr>
            <a:xfrm>
              <a:off x="2877237" y="1200054"/>
              <a:ext cx="4762" cy="49672"/>
            </a:xfrm>
            <a:custGeom>
              <a:avLst/>
              <a:gdLst>
                <a:gd name="connsiteX0" fmla="*/ 0 w 4762"/>
                <a:gd name="connsiteY0" fmla="*/ 0 h 49672"/>
                <a:gd name="connsiteX1" fmla="*/ 0 w 4762"/>
                <a:gd name="connsiteY1" fmla="*/ 49673 h 496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762" h="49672">
                  <a:moveTo>
                    <a:pt x="0" y="0"/>
                  </a:moveTo>
                  <a:lnTo>
                    <a:pt x="0" y="49673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57" name="Forma livre: Forma 256">
              <a:extLst>
                <a:ext uri="{FF2B5EF4-FFF2-40B4-BE49-F238E27FC236}">
                  <a16:creationId xmlns:a16="http://schemas.microsoft.com/office/drawing/2014/main" id="{190AB217-BF83-1297-0BC7-0B86F7865C8F}"/>
                </a:ext>
              </a:extLst>
            </p:cNvPr>
            <p:cNvSpPr/>
            <p:nvPr/>
          </p:nvSpPr>
          <p:spPr>
            <a:xfrm>
              <a:off x="2852377" y="1224914"/>
              <a:ext cx="49720" cy="4762"/>
            </a:xfrm>
            <a:custGeom>
              <a:avLst/>
              <a:gdLst>
                <a:gd name="connsiteX0" fmla="*/ 49720 w 49720"/>
                <a:gd name="connsiteY0" fmla="*/ 0 h 4762"/>
                <a:gd name="connsiteX1" fmla="*/ 0 w 49720"/>
                <a:gd name="connsiteY1" fmla="*/ 0 h 47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9720" h="4762">
                  <a:moveTo>
                    <a:pt x="49720" y="0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258" name="Gráfico 4">
              <a:extLst>
                <a:ext uri="{FF2B5EF4-FFF2-40B4-BE49-F238E27FC236}">
                  <a16:creationId xmlns:a16="http://schemas.microsoft.com/office/drawing/2014/main" id="{03E4B55C-5DEB-8F70-C0CF-CCEC00DF5E76}"/>
                </a:ext>
              </a:extLst>
            </p:cNvPr>
            <p:cNvGrpSpPr/>
            <p:nvPr/>
          </p:nvGrpSpPr>
          <p:grpSpPr>
            <a:xfrm>
              <a:off x="2744363" y="991808"/>
              <a:ext cx="143732" cy="146380"/>
              <a:chOff x="2744363" y="991808"/>
              <a:chExt cx="143732" cy="146380"/>
            </a:xfrm>
            <a:noFill/>
          </p:grpSpPr>
          <p:sp>
            <p:nvSpPr>
              <p:cNvPr id="259" name="Forma livre: Forma 258">
                <a:extLst>
                  <a:ext uri="{FF2B5EF4-FFF2-40B4-BE49-F238E27FC236}">
                    <a16:creationId xmlns:a16="http://schemas.microsoft.com/office/drawing/2014/main" id="{EB05247D-2547-5970-45E3-82308CA6CBF5}"/>
                  </a:ext>
                </a:extLst>
              </p:cNvPr>
              <p:cNvSpPr/>
              <p:nvPr/>
            </p:nvSpPr>
            <p:spPr>
              <a:xfrm>
                <a:off x="2744363" y="991808"/>
                <a:ext cx="143732" cy="134521"/>
              </a:xfrm>
              <a:custGeom>
                <a:avLst/>
                <a:gdLst>
                  <a:gd name="connsiteX0" fmla="*/ 143732 w 143732"/>
                  <a:gd name="connsiteY0" fmla="*/ 134474 h 134521"/>
                  <a:gd name="connsiteX1" fmla="*/ 143732 w 143732"/>
                  <a:gd name="connsiteY1" fmla="*/ 75324 h 134521"/>
                  <a:gd name="connsiteX2" fmla="*/ 71866 w 143732"/>
                  <a:gd name="connsiteY2" fmla="*/ 76 h 134521"/>
                  <a:gd name="connsiteX3" fmla="*/ 0 w 143732"/>
                  <a:gd name="connsiteY3" fmla="*/ 75372 h 134521"/>
                  <a:gd name="connsiteX4" fmla="*/ 0 w 143732"/>
                  <a:gd name="connsiteY4" fmla="*/ 134522 h 1345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43732" h="134521">
                    <a:moveTo>
                      <a:pt x="143732" y="134474"/>
                    </a:moveTo>
                    <a:lnTo>
                      <a:pt x="143732" y="75324"/>
                    </a:lnTo>
                    <a:cubicBezTo>
                      <a:pt x="142685" y="-5353"/>
                      <a:pt x="71866" y="76"/>
                      <a:pt x="71866" y="76"/>
                    </a:cubicBezTo>
                    <a:cubicBezTo>
                      <a:pt x="71866" y="76"/>
                      <a:pt x="1000" y="-5353"/>
                      <a:pt x="0" y="75372"/>
                    </a:cubicBezTo>
                    <a:lnTo>
                      <a:pt x="0" y="134522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60" name="Forma livre: Forma 259">
                <a:extLst>
                  <a:ext uri="{FF2B5EF4-FFF2-40B4-BE49-F238E27FC236}">
                    <a16:creationId xmlns:a16="http://schemas.microsoft.com/office/drawing/2014/main" id="{433BCB6F-4664-D593-8D99-91A9ADD83612}"/>
                  </a:ext>
                </a:extLst>
              </p:cNvPr>
              <p:cNvSpPr/>
              <p:nvPr/>
            </p:nvSpPr>
            <p:spPr>
              <a:xfrm>
                <a:off x="2747125" y="1035509"/>
                <a:ext cx="110439" cy="102679"/>
              </a:xfrm>
              <a:custGeom>
                <a:avLst/>
                <a:gdLst>
                  <a:gd name="connsiteX0" fmla="*/ 26384 w 110439"/>
                  <a:gd name="connsiteY0" fmla="*/ 36386 h 102679"/>
                  <a:gd name="connsiteX1" fmla="*/ 69628 w 110439"/>
                  <a:gd name="connsiteY1" fmla="*/ 102680 h 102679"/>
                  <a:gd name="connsiteX2" fmla="*/ 110395 w 110439"/>
                  <a:gd name="connsiteY2" fmla="*/ 36528 h 102679"/>
                  <a:gd name="connsiteX3" fmla="*/ 100441 w 110439"/>
                  <a:gd name="connsiteY3" fmla="*/ 0 h 102679"/>
                  <a:gd name="connsiteX4" fmla="*/ 0 w 110439"/>
                  <a:gd name="connsiteY4" fmla="*/ 33576 h 1026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10439" h="102679">
                    <a:moveTo>
                      <a:pt x="26384" y="36386"/>
                    </a:moveTo>
                    <a:cubicBezTo>
                      <a:pt x="26384" y="70009"/>
                      <a:pt x="46720" y="102680"/>
                      <a:pt x="69628" y="102680"/>
                    </a:cubicBezTo>
                    <a:cubicBezTo>
                      <a:pt x="92535" y="102680"/>
                      <a:pt x="110395" y="70104"/>
                      <a:pt x="110395" y="36528"/>
                    </a:cubicBezTo>
                    <a:cubicBezTo>
                      <a:pt x="110395" y="36528"/>
                      <a:pt x="111681" y="14430"/>
                      <a:pt x="100441" y="0"/>
                    </a:cubicBezTo>
                    <a:cubicBezTo>
                      <a:pt x="100441" y="0"/>
                      <a:pt x="76200" y="29289"/>
                      <a:pt x="0" y="33576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261" name="Gráfico 4">
              <a:extLst>
                <a:ext uri="{FF2B5EF4-FFF2-40B4-BE49-F238E27FC236}">
                  <a16:creationId xmlns:a16="http://schemas.microsoft.com/office/drawing/2014/main" id="{2D19AA0E-67E2-2FB0-E2C6-01E5A14A9D70}"/>
                </a:ext>
              </a:extLst>
            </p:cNvPr>
            <p:cNvGrpSpPr/>
            <p:nvPr/>
          </p:nvGrpSpPr>
          <p:grpSpPr>
            <a:xfrm>
              <a:off x="2700548" y="1155667"/>
              <a:ext cx="231267" cy="113966"/>
              <a:chOff x="2700548" y="1155667"/>
              <a:chExt cx="231267" cy="113966"/>
            </a:xfrm>
            <a:noFill/>
          </p:grpSpPr>
          <p:sp>
            <p:nvSpPr>
              <p:cNvPr id="262" name="Forma livre: Forma 261">
                <a:extLst>
                  <a:ext uri="{FF2B5EF4-FFF2-40B4-BE49-F238E27FC236}">
                    <a16:creationId xmlns:a16="http://schemas.microsoft.com/office/drawing/2014/main" id="{98686CE6-C23D-DEC5-CA13-225C461C51B9}"/>
                  </a:ext>
                </a:extLst>
              </p:cNvPr>
              <p:cNvSpPr/>
              <p:nvPr/>
            </p:nvSpPr>
            <p:spPr>
              <a:xfrm>
                <a:off x="2816229" y="1234391"/>
                <a:ext cx="4762" cy="35242"/>
              </a:xfrm>
              <a:custGeom>
                <a:avLst/>
                <a:gdLst>
                  <a:gd name="connsiteX0" fmla="*/ 0 w 4762"/>
                  <a:gd name="connsiteY0" fmla="*/ 0 h 35242"/>
                  <a:gd name="connsiteX1" fmla="*/ 0 w 4762"/>
                  <a:gd name="connsiteY1" fmla="*/ 35243 h 352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62" h="35242">
                    <a:moveTo>
                      <a:pt x="0" y="0"/>
                    </a:moveTo>
                    <a:lnTo>
                      <a:pt x="0" y="35243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63" name="Forma livre: Forma 262">
                <a:extLst>
                  <a:ext uri="{FF2B5EF4-FFF2-40B4-BE49-F238E27FC236}">
                    <a16:creationId xmlns:a16="http://schemas.microsoft.com/office/drawing/2014/main" id="{07CAA15E-493F-BE40-97D7-6198BC62A347}"/>
                  </a:ext>
                </a:extLst>
              </p:cNvPr>
              <p:cNvSpPr/>
              <p:nvPr/>
            </p:nvSpPr>
            <p:spPr>
              <a:xfrm>
                <a:off x="2700548" y="1155667"/>
                <a:ext cx="231267" cy="113966"/>
              </a:xfrm>
              <a:custGeom>
                <a:avLst/>
                <a:gdLst>
                  <a:gd name="connsiteX0" fmla="*/ 231267 w 231267"/>
                  <a:gd name="connsiteY0" fmla="*/ 113967 h 113966"/>
                  <a:gd name="connsiteX1" fmla="*/ 226552 w 231267"/>
                  <a:gd name="connsiteY1" fmla="*/ 39100 h 113966"/>
                  <a:gd name="connsiteX2" fmla="*/ 190310 w 231267"/>
                  <a:gd name="connsiteY2" fmla="*/ 5953 h 113966"/>
                  <a:gd name="connsiteX3" fmla="*/ 160306 w 231267"/>
                  <a:gd name="connsiteY3" fmla="*/ 0 h 113966"/>
                  <a:gd name="connsiteX4" fmla="*/ 115634 w 231267"/>
                  <a:gd name="connsiteY4" fmla="*/ 81486 h 113966"/>
                  <a:gd name="connsiteX5" fmla="*/ 70961 w 231267"/>
                  <a:gd name="connsiteY5" fmla="*/ 0 h 113966"/>
                  <a:gd name="connsiteX6" fmla="*/ 40957 w 231267"/>
                  <a:gd name="connsiteY6" fmla="*/ 5953 h 113966"/>
                  <a:gd name="connsiteX7" fmla="*/ 4715 w 231267"/>
                  <a:gd name="connsiteY7" fmla="*/ 39100 h 113966"/>
                  <a:gd name="connsiteX8" fmla="*/ 0 w 231267"/>
                  <a:gd name="connsiteY8" fmla="*/ 113967 h 1139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31267" h="113966">
                    <a:moveTo>
                      <a:pt x="231267" y="113967"/>
                    </a:moveTo>
                    <a:lnTo>
                      <a:pt x="226552" y="39100"/>
                    </a:lnTo>
                    <a:cubicBezTo>
                      <a:pt x="222314" y="12240"/>
                      <a:pt x="190310" y="5953"/>
                      <a:pt x="190310" y="5953"/>
                    </a:cubicBezTo>
                    <a:lnTo>
                      <a:pt x="160306" y="0"/>
                    </a:lnTo>
                    <a:lnTo>
                      <a:pt x="115634" y="81486"/>
                    </a:lnTo>
                    <a:lnTo>
                      <a:pt x="70961" y="0"/>
                    </a:lnTo>
                    <a:lnTo>
                      <a:pt x="40957" y="5953"/>
                    </a:lnTo>
                    <a:cubicBezTo>
                      <a:pt x="40957" y="5953"/>
                      <a:pt x="8954" y="12240"/>
                      <a:pt x="4715" y="39100"/>
                    </a:cubicBezTo>
                    <a:lnTo>
                      <a:pt x="0" y="113967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264" name="Gráfico 4">
            <a:extLst>
              <a:ext uri="{FF2B5EF4-FFF2-40B4-BE49-F238E27FC236}">
                <a16:creationId xmlns:a16="http://schemas.microsoft.com/office/drawing/2014/main" id="{0972EC10-DB4C-C03E-AEFD-D6579610A5C7}"/>
              </a:ext>
            </a:extLst>
          </p:cNvPr>
          <p:cNvGrpSpPr/>
          <p:nvPr/>
        </p:nvGrpSpPr>
        <p:grpSpPr>
          <a:xfrm>
            <a:off x="2657711" y="1541001"/>
            <a:ext cx="317036" cy="242652"/>
            <a:chOff x="2657711" y="1541001"/>
            <a:chExt cx="317036" cy="242652"/>
          </a:xfrm>
          <a:noFill/>
        </p:grpSpPr>
        <p:sp>
          <p:nvSpPr>
            <p:cNvPr id="265" name="Forma livre: Forma 264">
              <a:extLst>
                <a:ext uri="{FF2B5EF4-FFF2-40B4-BE49-F238E27FC236}">
                  <a16:creationId xmlns:a16="http://schemas.microsoft.com/office/drawing/2014/main" id="{0313EFE4-EE3C-B544-FCFD-94CD1FE4F9D0}"/>
                </a:ext>
              </a:extLst>
            </p:cNvPr>
            <p:cNvSpPr/>
            <p:nvPr/>
          </p:nvSpPr>
          <p:spPr>
            <a:xfrm>
              <a:off x="2753364" y="1646888"/>
              <a:ext cx="125682" cy="29987"/>
            </a:xfrm>
            <a:custGeom>
              <a:avLst/>
              <a:gdLst>
                <a:gd name="connsiteX0" fmla="*/ 0 w 125682"/>
                <a:gd name="connsiteY0" fmla="*/ 29940 h 29987"/>
                <a:gd name="connsiteX1" fmla="*/ 47339 w 125682"/>
                <a:gd name="connsiteY1" fmla="*/ 3556 h 29987"/>
                <a:gd name="connsiteX2" fmla="*/ 78057 w 125682"/>
                <a:gd name="connsiteY2" fmla="*/ 3556 h 29987"/>
                <a:gd name="connsiteX3" fmla="*/ 125682 w 125682"/>
                <a:gd name="connsiteY3" fmla="*/ 29988 h 299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5682" h="29987">
                  <a:moveTo>
                    <a:pt x="0" y="29940"/>
                  </a:moveTo>
                  <a:lnTo>
                    <a:pt x="47339" y="3556"/>
                  </a:lnTo>
                  <a:cubicBezTo>
                    <a:pt x="47339" y="3556"/>
                    <a:pt x="63865" y="-4445"/>
                    <a:pt x="78057" y="3556"/>
                  </a:cubicBezTo>
                  <a:lnTo>
                    <a:pt x="125682" y="29988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266" name="Gráfico 4">
              <a:extLst>
                <a:ext uri="{FF2B5EF4-FFF2-40B4-BE49-F238E27FC236}">
                  <a16:creationId xmlns:a16="http://schemas.microsoft.com/office/drawing/2014/main" id="{6252BEEA-7EB1-28C9-838A-F240CD41C167}"/>
                </a:ext>
              </a:extLst>
            </p:cNvPr>
            <p:cNvGrpSpPr/>
            <p:nvPr/>
          </p:nvGrpSpPr>
          <p:grpSpPr>
            <a:xfrm>
              <a:off x="2739363" y="1541001"/>
              <a:ext cx="153733" cy="108918"/>
              <a:chOff x="2739363" y="1541001"/>
              <a:chExt cx="153733" cy="108918"/>
            </a:xfrm>
            <a:noFill/>
          </p:grpSpPr>
          <p:sp>
            <p:nvSpPr>
              <p:cNvPr id="267" name="Forma livre: Forma 266">
                <a:extLst>
                  <a:ext uri="{FF2B5EF4-FFF2-40B4-BE49-F238E27FC236}">
                    <a16:creationId xmlns:a16="http://schemas.microsoft.com/office/drawing/2014/main" id="{E6A78482-7A9C-2E2C-70BC-D47D33653506}"/>
                  </a:ext>
                </a:extLst>
              </p:cNvPr>
              <p:cNvSpPr/>
              <p:nvPr/>
            </p:nvSpPr>
            <p:spPr>
              <a:xfrm>
                <a:off x="2831231" y="1541001"/>
                <a:ext cx="61864" cy="108918"/>
              </a:xfrm>
              <a:custGeom>
                <a:avLst/>
                <a:gdLst>
                  <a:gd name="connsiteX0" fmla="*/ 2095 w 61864"/>
                  <a:gd name="connsiteY0" fmla="*/ 0 h 108918"/>
                  <a:gd name="connsiteX1" fmla="*/ 0 w 61864"/>
                  <a:gd name="connsiteY1" fmla="*/ 56531 h 108918"/>
                  <a:gd name="connsiteX2" fmla="*/ 28861 w 61864"/>
                  <a:gd name="connsiteY2" fmla="*/ 90583 h 108918"/>
                  <a:gd name="connsiteX3" fmla="*/ 61865 w 61864"/>
                  <a:gd name="connsiteY3" fmla="*/ 108918 h 1089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1864" h="108918">
                    <a:moveTo>
                      <a:pt x="2095" y="0"/>
                    </a:moveTo>
                    <a:cubicBezTo>
                      <a:pt x="2095" y="0"/>
                      <a:pt x="0" y="49101"/>
                      <a:pt x="0" y="56531"/>
                    </a:cubicBezTo>
                    <a:cubicBezTo>
                      <a:pt x="0" y="63960"/>
                      <a:pt x="1667" y="77581"/>
                      <a:pt x="28861" y="90583"/>
                    </a:cubicBezTo>
                    <a:lnTo>
                      <a:pt x="61865" y="108918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68" name="Forma livre: Forma 267">
                <a:extLst>
                  <a:ext uri="{FF2B5EF4-FFF2-40B4-BE49-F238E27FC236}">
                    <a16:creationId xmlns:a16="http://schemas.microsoft.com/office/drawing/2014/main" id="{F97DC599-767C-AFC6-EE17-A1C127A71655}"/>
                  </a:ext>
                </a:extLst>
              </p:cNvPr>
              <p:cNvSpPr/>
              <p:nvPr/>
            </p:nvSpPr>
            <p:spPr>
              <a:xfrm>
                <a:off x="2739363" y="1541001"/>
                <a:ext cx="61864" cy="108918"/>
              </a:xfrm>
              <a:custGeom>
                <a:avLst/>
                <a:gdLst>
                  <a:gd name="connsiteX0" fmla="*/ 59769 w 61864"/>
                  <a:gd name="connsiteY0" fmla="*/ 0 h 108918"/>
                  <a:gd name="connsiteX1" fmla="*/ 61865 w 61864"/>
                  <a:gd name="connsiteY1" fmla="*/ 56531 h 108918"/>
                  <a:gd name="connsiteX2" fmla="*/ 33004 w 61864"/>
                  <a:gd name="connsiteY2" fmla="*/ 90583 h 108918"/>
                  <a:gd name="connsiteX3" fmla="*/ 0 w 61864"/>
                  <a:gd name="connsiteY3" fmla="*/ 108918 h 1089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1864" h="108918">
                    <a:moveTo>
                      <a:pt x="59769" y="0"/>
                    </a:moveTo>
                    <a:cubicBezTo>
                      <a:pt x="59769" y="0"/>
                      <a:pt x="61865" y="49101"/>
                      <a:pt x="61865" y="56531"/>
                    </a:cubicBezTo>
                    <a:cubicBezTo>
                      <a:pt x="61865" y="63960"/>
                      <a:pt x="60198" y="77581"/>
                      <a:pt x="33004" y="90583"/>
                    </a:cubicBezTo>
                    <a:lnTo>
                      <a:pt x="0" y="108918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269" name="Gráfico 4">
              <a:extLst>
                <a:ext uri="{FF2B5EF4-FFF2-40B4-BE49-F238E27FC236}">
                  <a16:creationId xmlns:a16="http://schemas.microsoft.com/office/drawing/2014/main" id="{2B52D407-C458-4A05-81CE-9F5706939CEE}"/>
                </a:ext>
              </a:extLst>
            </p:cNvPr>
            <p:cNvGrpSpPr/>
            <p:nvPr/>
          </p:nvGrpSpPr>
          <p:grpSpPr>
            <a:xfrm>
              <a:off x="2657711" y="1567536"/>
              <a:ext cx="317036" cy="216117"/>
              <a:chOff x="2657711" y="1567536"/>
              <a:chExt cx="317036" cy="216117"/>
            </a:xfrm>
            <a:noFill/>
          </p:grpSpPr>
          <p:sp>
            <p:nvSpPr>
              <p:cNvPr id="270" name="Forma livre: Forma 269">
                <a:extLst>
                  <a:ext uri="{FF2B5EF4-FFF2-40B4-BE49-F238E27FC236}">
                    <a16:creationId xmlns:a16="http://schemas.microsoft.com/office/drawing/2014/main" id="{6EA31018-D7FE-6F85-D3C6-C481A73CEF8D}"/>
                  </a:ext>
                </a:extLst>
              </p:cNvPr>
              <p:cNvSpPr/>
              <p:nvPr/>
            </p:nvSpPr>
            <p:spPr>
              <a:xfrm>
                <a:off x="2657711" y="1567536"/>
                <a:ext cx="141373" cy="216117"/>
              </a:xfrm>
              <a:custGeom>
                <a:avLst/>
                <a:gdLst>
                  <a:gd name="connsiteX0" fmla="*/ 115703 w 141373"/>
                  <a:gd name="connsiteY0" fmla="*/ 7469 h 216117"/>
                  <a:gd name="connsiteX1" fmla="*/ 72365 w 141373"/>
                  <a:gd name="connsiteY1" fmla="*/ 8136 h 216117"/>
                  <a:gd name="connsiteX2" fmla="*/ 1403 w 141373"/>
                  <a:gd name="connsiteY2" fmla="*/ 198684 h 216117"/>
                  <a:gd name="connsiteX3" fmla="*/ 23692 w 141373"/>
                  <a:gd name="connsiteY3" fmla="*/ 216019 h 216117"/>
                  <a:gd name="connsiteX4" fmla="*/ 114132 w 141373"/>
                  <a:gd name="connsiteY4" fmla="*/ 192111 h 216117"/>
                  <a:gd name="connsiteX5" fmla="*/ 141373 w 141373"/>
                  <a:gd name="connsiteY5" fmla="*/ 152535 h 216117"/>
                  <a:gd name="connsiteX6" fmla="*/ 141373 w 141373"/>
                  <a:gd name="connsiteY6" fmla="*/ 84384 h 2161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41373" h="216117">
                    <a:moveTo>
                      <a:pt x="115703" y="7469"/>
                    </a:moveTo>
                    <a:cubicBezTo>
                      <a:pt x="105797" y="-198"/>
                      <a:pt x="91129" y="-4818"/>
                      <a:pt x="72365" y="8136"/>
                    </a:cubicBezTo>
                    <a:cubicBezTo>
                      <a:pt x="72365" y="8136"/>
                      <a:pt x="-11789" y="66715"/>
                      <a:pt x="1403" y="198684"/>
                    </a:cubicBezTo>
                    <a:cubicBezTo>
                      <a:pt x="1403" y="198684"/>
                      <a:pt x="2213" y="217638"/>
                      <a:pt x="23692" y="216019"/>
                    </a:cubicBezTo>
                    <a:lnTo>
                      <a:pt x="114132" y="192111"/>
                    </a:lnTo>
                    <a:cubicBezTo>
                      <a:pt x="114132" y="192111"/>
                      <a:pt x="139230" y="184872"/>
                      <a:pt x="141373" y="152535"/>
                    </a:cubicBezTo>
                    <a:lnTo>
                      <a:pt x="141373" y="84384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71" name="Forma livre: Forma 270">
                <a:extLst>
                  <a:ext uri="{FF2B5EF4-FFF2-40B4-BE49-F238E27FC236}">
                    <a16:creationId xmlns:a16="http://schemas.microsoft.com/office/drawing/2014/main" id="{F7BAF625-3BD3-920A-81A9-93FA37EA3798}"/>
                  </a:ext>
                </a:extLst>
              </p:cNvPr>
              <p:cNvSpPr/>
              <p:nvPr/>
            </p:nvSpPr>
            <p:spPr>
              <a:xfrm>
                <a:off x="2833374" y="1567536"/>
                <a:ext cx="141373" cy="216117"/>
              </a:xfrm>
              <a:custGeom>
                <a:avLst/>
                <a:gdLst>
                  <a:gd name="connsiteX0" fmla="*/ 25670 w 141373"/>
                  <a:gd name="connsiteY0" fmla="*/ 7469 h 216117"/>
                  <a:gd name="connsiteX1" fmla="*/ 69009 w 141373"/>
                  <a:gd name="connsiteY1" fmla="*/ 8136 h 216117"/>
                  <a:gd name="connsiteX2" fmla="*/ 139970 w 141373"/>
                  <a:gd name="connsiteY2" fmla="*/ 198684 h 216117"/>
                  <a:gd name="connsiteX3" fmla="*/ 117681 w 141373"/>
                  <a:gd name="connsiteY3" fmla="*/ 216019 h 216117"/>
                  <a:gd name="connsiteX4" fmla="*/ 27242 w 141373"/>
                  <a:gd name="connsiteY4" fmla="*/ 192111 h 216117"/>
                  <a:gd name="connsiteX5" fmla="*/ 0 w 141373"/>
                  <a:gd name="connsiteY5" fmla="*/ 152535 h 216117"/>
                  <a:gd name="connsiteX6" fmla="*/ 0 w 141373"/>
                  <a:gd name="connsiteY6" fmla="*/ 84384 h 2161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41373" h="216117">
                    <a:moveTo>
                      <a:pt x="25670" y="7469"/>
                    </a:moveTo>
                    <a:cubicBezTo>
                      <a:pt x="35576" y="-198"/>
                      <a:pt x="50244" y="-4818"/>
                      <a:pt x="69009" y="8136"/>
                    </a:cubicBezTo>
                    <a:cubicBezTo>
                      <a:pt x="69009" y="8136"/>
                      <a:pt x="153162" y="66715"/>
                      <a:pt x="139970" y="198684"/>
                    </a:cubicBezTo>
                    <a:cubicBezTo>
                      <a:pt x="139970" y="198684"/>
                      <a:pt x="139160" y="217638"/>
                      <a:pt x="117681" y="216019"/>
                    </a:cubicBezTo>
                    <a:lnTo>
                      <a:pt x="27242" y="192111"/>
                    </a:lnTo>
                    <a:cubicBezTo>
                      <a:pt x="27242" y="192111"/>
                      <a:pt x="2143" y="184872"/>
                      <a:pt x="0" y="152535"/>
                    </a:cubicBezTo>
                    <a:lnTo>
                      <a:pt x="0" y="84384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272" name="Gráfico 4">
            <a:extLst>
              <a:ext uri="{FF2B5EF4-FFF2-40B4-BE49-F238E27FC236}">
                <a16:creationId xmlns:a16="http://schemas.microsoft.com/office/drawing/2014/main" id="{E52DFCD6-C8C2-C033-DE60-867FFA2C6B31}"/>
              </a:ext>
            </a:extLst>
          </p:cNvPr>
          <p:cNvGrpSpPr/>
          <p:nvPr/>
        </p:nvGrpSpPr>
        <p:grpSpPr>
          <a:xfrm>
            <a:off x="2717217" y="3103054"/>
            <a:ext cx="198024" cy="308276"/>
            <a:chOff x="2717217" y="3103054"/>
            <a:chExt cx="198024" cy="308276"/>
          </a:xfrm>
          <a:noFill/>
        </p:grpSpPr>
        <p:sp>
          <p:nvSpPr>
            <p:cNvPr id="273" name="Forma livre: Forma 272">
              <a:extLst>
                <a:ext uri="{FF2B5EF4-FFF2-40B4-BE49-F238E27FC236}">
                  <a16:creationId xmlns:a16="http://schemas.microsoft.com/office/drawing/2014/main" id="{9F7B09E5-14EC-5598-58D4-D4C6E787DEA5}"/>
                </a:ext>
              </a:extLst>
            </p:cNvPr>
            <p:cNvSpPr/>
            <p:nvPr/>
          </p:nvSpPr>
          <p:spPr>
            <a:xfrm>
              <a:off x="2764509" y="3237452"/>
              <a:ext cx="123015" cy="144208"/>
            </a:xfrm>
            <a:custGeom>
              <a:avLst/>
              <a:gdLst>
                <a:gd name="connsiteX0" fmla="*/ 22860 w 123015"/>
                <a:gd name="connsiteY0" fmla="*/ 0 h 144208"/>
                <a:gd name="connsiteX1" fmla="*/ 0 w 123015"/>
                <a:gd name="connsiteY1" fmla="*/ 57626 h 144208"/>
                <a:gd name="connsiteX2" fmla="*/ 90154 w 123015"/>
                <a:gd name="connsiteY2" fmla="*/ 144209 h 144208"/>
                <a:gd name="connsiteX3" fmla="*/ 123015 w 123015"/>
                <a:gd name="connsiteY3" fmla="*/ 138255 h 144208"/>
                <a:gd name="connsiteX4" fmla="*/ 123015 w 123015"/>
                <a:gd name="connsiteY4" fmla="*/ 94250 h 1442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3015" h="144208">
                  <a:moveTo>
                    <a:pt x="22860" y="0"/>
                  </a:moveTo>
                  <a:cubicBezTo>
                    <a:pt x="8620" y="15288"/>
                    <a:pt x="0" y="35481"/>
                    <a:pt x="0" y="57626"/>
                  </a:cubicBezTo>
                  <a:cubicBezTo>
                    <a:pt x="0" y="105442"/>
                    <a:pt x="40386" y="144209"/>
                    <a:pt x="90154" y="144209"/>
                  </a:cubicBezTo>
                  <a:cubicBezTo>
                    <a:pt x="101775" y="144209"/>
                    <a:pt x="112871" y="142113"/>
                    <a:pt x="123015" y="138255"/>
                  </a:cubicBezTo>
                  <a:lnTo>
                    <a:pt x="123015" y="94250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74" name="Forma livre: Forma 273">
              <a:extLst>
                <a:ext uri="{FF2B5EF4-FFF2-40B4-BE49-F238E27FC236}">
                  <a16:creationId xmlns:a16="http://schemas.microsoft.com/office/drawing/2014/main" id="{771811FD-316F-2AFC-1241-F1B9BA58DF0C}"/>
                </a:ext>
              </a:extLst>
            </p:cNvPr>
            <p:cNvSpPr/>
            <p:nvPr/>
          </p:nvSpPr>
          <p:spPr>
            <a:xfrm>
              <a:off x="2717217" y="3203305"/>
              <a:ext cx="194738" cy="208026"/>
            </a:xfrm>
            <a:custGeom>
              <a:avLst/>
              <a:gdLst>
                <a:gd name="connsiteX0" fmla="*/ 55054 w 194738"/>
                <a:gd name="connsiteY0" fmla="*/ 0 h 208026"/>
                <a:gd name="connsiteX1" fmla="*/ 0 w 194738"/>
                <a:gd name="connsiteY1" fmla="*/ 110490 h 208026"/>
                <a:gd name="connsiteX2" fmla="*/ 40386 w 194738"/>
                <a:gd name="connsiteY2" fmla="*/ 208026 h 208026"/>
                <a:gd name="connsiteX3" fmla="*/ 194739 w 194738"/>
                <a:gd name="connsiteY3" fmla="*/ 208026 h 2080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4738" h="208026">
                  <a:moveTo>
                    <a:pt x="55054" y="0"/>
                  </a:moveTo>
                  <a:cubicBezTo>
                    <a:pt x="21479" y="26003"/>
                    <a:pt x="0" y="65865"/>
                    <a:pt x="0" y="110490"/>
                  </a:cubicBezTo>
                  <a:cubicBezTo>
                    <a:pt x="0" y="148257"/>
                    <a:pt x="15335" y="182594"/>
                    <a:pt x="40386" y="208026"/>
                  </a:cubicBezTo>
                  <a:lnTo>
                    <a:pt x="194739" y="208026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75" name="Forma livre: Forma 274">
              <a:extLst>
                <a:ext uri="{FF2B5EF4-FFF2-40B4-BE49-F238E27FC236}">
                  <a16:creationId xmlns:a16="http://schemas.microsoft.com/office/drawing/2014/main" id="{8E7D4419-F6E3-906E-D1DB-4721E75FF808}"/>
                </a:ext>
              </a:extLst>
            </p:cNvPr>
            <p:cNvSpPr/>
            <p:nvPr/>
          </p:nvSpPr>
          <p:spPr>
            <a:xfrm rot="-1473000">
              <a:off x="2807026" y="3148177"/>
              <a:ext cx="47243" cy="134445"/>
            </a:xfrm>
            <a:custGeom>
              <a:avLst/>
              <a:gdLst>
                <a:gd name="connsiteX0" fmla="*/ 0 w 47243"/>
                <a:gd name="connsiteY0" fmla="*/ 0 h 134445"/>
                <a:gd name="connsiteX1" fmla="*/ 47244 w 47243"/>
                <a:gd name="connsiteY1" fmla="*/ 0 h 134445"/>
                <a:gd name="connsiteX2" fmla="*/ 47244 w 47243"/>
                <a:gd name="connsiteY2" fmla="*/ 134445 h 134445"/>
                <a:gd name="connsiteX3" fmla="*/ 0 w 47243"/>
                <a:gd name="connsiteY3" fmla="*/ 134445 h 1344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7243" h="134445">
                  <a:moveTo>
                    <a:pt x="0" y="0"/>
                  </a:moveTo>
                  <a:lnTo>
                    <a:pt x="47244" y="0"/>
                  </a:lnTo>
                  <a:lnTo>
                    <a:pt x="47244" y="134445"/>
                  </a:lnTo>
                  <a:lnTo>
                    <a:pt x="0" y="134445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76" name="Forma livre: Forma 275">
              <a:extLst>
                <a:ext uri="{FF2B5EF4-FFF2-40B4-BE49-F238E27FC236}">
                  <a16:creationId xmlns:a16="http://schemas.microsoft.com/office/drawing/2014/main" id="{88FFFF8A-BAD7-540D-3AB6-4AE300F2F18B}"/>
                </a:ext>
              </a:extLst>
            </p:cNvPr>
            <p:cNvSpPr/>
            <p:nvPr/>
          </p:nvSpPr>
          <p:spPr>
            <a:xfrm>
              <a:off x="2767747" y="3103054"/>
              <a:ext cx="40243" cy="38195"/>
            </a:xfrm>
            <a:custGeom>
              <a:avLst/>
              <a:gdLst>
                <a:gd name="connsiteX0" fmla="*/ 40243 w 40243"/>
                <a:gd name="connsiteY0" fmla="*/ 25432 h 38195"/>
                <a:gd name="connsiteX1" fmla="*/ 28004 w 40243"/>
                <a:gd name="connsiteY1" fmla="*/ 0 h 38195"/>
                <a:gd name="connsiteX2" fmla="*/ 0 w 40243"/>
                <a:gd name="connsiteY2" fmla="*/ 12811 h 38195"/>
                <a:gd name="connsiteX3" fmla="*/ 12240 w 40243"/>
                <a:gd name="connsiteY3" fmla="*/ 38195 h 381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0243" h="38195">
                  <a:moveTo>
                    <a:pt x="40243" y="25432"/>
                  </a:moveTo>
                  <a:lnTo>
                    <a:pt x="28004" y="0"/>
                  </a:lnTo>
                  <a:lnTo>
                    <a:pt x="0" y="12811"/>
                  </a:lnTo>
                  <a:lnTo>
                    <a:pt x="12240" y="38195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77" name="Forma livre: Forma 276">
              <a:extLst>
                <a:ext uri="{FF2B5EF4-FFF2-40B4-BE49-F238E27FC236}">
                  <a16:creationId xmlns:a16="http://schemas.microsoft.com/office/drawing/2014/main" id="{61855C96-63A2-953A-C581-517460566C5C}"/>
                </a:ext>
              </a:extLst>
            </p:cNvPr>
            <p:cNvSpPr/>
            <p:nvPr/>
          </p:nvSpPr>
          <p:spPr>
            <a:xfrm>
              <a:off x="2823707" y="3237499"/>
              <a:ext cx="42957" cy="19621"/>
            </a:xfrm>
            <a:custGeom>
              <a:avLst/>
              <a:gdLst>
                <a:gd name="connsiteX0" fmla="*/ 0 w 42957"/>
                <a:gd name="connsiteY0" fmla="*/ 19622 h 19621"/>
                <a:gd name="connsiteX1" fmla="*/ 42958 w 42957"/>
                <a:gd name="connsiteY1" fmla="*/ 0 h 196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2957" h="19621">
                  <a:moveTo>
                    <a:pt x="0" y="19622"/>
                  </a:moveTo>
                  <a:lnTo>
                    <a:pt x="42958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78" name="Forma livre: Forma 277">
              <a:extLst>
                <a:ext uri="{FF2B5EF4-FFF2-40B4-BE49-F238E27FC236}">
                  <a16:creationId xmlns:a16="http://schemas.microsoft.com/office/drawing/2014/main" id="{0CAACBC7-255D-5368-7666-371297704BC4}"/>
                </a:ext>
              </a:extLst>
            </p:cNvPr>
            <p:cNvSpPr/>
            <p:nvPr/>
          </p:nvSpPr>
          <p:spPr>
            <a:xfrm>
              <a:off x="2815372" y="3330606"/>
              <a:ext cx="99869" cy="4762"/>
            </a:xfrm>
            <a:custGeom>
              <a:avLst/>
              <a:gdLst>
                <a:gd name="connsiteX0" fmla="*/ 0 w 99869"/>
                <a:gd name="connsiteY0" fmla="*/ 0 h 4762"/>
                <a:gd name="connsiteX1" fmla="*/ 99870 w 99869"/>
                <a:gd name="connsiteY1" fmla="*/ 0 h 47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9869" h="4762">
                  <a:moveTo>
                    <a:pt x="0" y="0"/>
                  </a:moveTo>
                  <a:lnTo>
                    <a:pt x="9987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79" name="Forma livre: Forma 278">
              <a:extLst>
                <a:ext uri="{FF2B5EF4-FFF2-40B4-BE49-F238E27FC236}">
                  <a16:creationId xmlns:a16="http://schemas.microsoft.com/office/drawing/2014/main" id="{38C0291F-C8DB-AE2B-03FE-A7352263AC53}"/>
                </a:ext>
              </a:extLst>
            </p:cNvPr>
            <p:cNvSpPr/>
            <p:nvPr/>
          </p:nvSpPr>
          <p:spPr>
            <a:xfrm>
              <a:off x="2842614" y="3331606"/>
              <a:ext cx="4762" cy="48577"/>
            </a:xfrm>
            <a:custGeom>
              <a:avLst/>
              <a:gdLst>
                <a:gd name="connsiteX0" fmla="*/ 0 w 4762"/>
                <a:gd name="connsiteY0" fmla="*/ 0 h 48577"/>
                <a:gd name="connsiteX1" fmla="*/ 0 w 4762"/>
                <a:gd name="connsiteY1" fmla="*/ 48578 h 485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762" h="48577">
                  <a:moveTo>
                    <a:pt x="0" y="0"/>
                  </a:moveTo>
                  <a:lnTo>
                    <a:pt x="0" y="48578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280" name="Gráfico 4">
            <a:extLst>
              <a:ext uri="{FF2B5EF4-FFF2-40B4-BE49-F238E27FC236}">
                <a16:creationId xmlns:a16="http://schemas.microsoft.com/office/drawing/2014/main" id="{58293816-D109-BC95-D99E-5E1299B9BEA8}"/>
              </a:ext>
            </a:extLst>
          </p:cNvPr>
          <p:cNvGrpSpPr/>
          <p:nvPr/>
        </p:nvGrpSpPr>
        <p:grpSpPr>
          <a:xfrm>
            <a:off x="2684092" y="2050003"/>
            <a:ext cx="264244" cy="287955"/>
            <a:chOff x="2684092" y="2050003"/>
            <a:chExt cx="264244" cy="287955"/>
          </a:xfrm>
          <a:noFill/>
        </p:grpSpPr>
        <p:sp>
          <p:nvSpPr>
            <p:cNvPr id="281" name="Forma livre: Forma 280">
              <a:extLst>
                <a:ext uri="{FF2B5EF4-FFF2-40B4-BE49-F238E27FC236}">
                  <a16:creationId xmlns:a16="http://schemas.microsoft.com/office/drawing/2014/main" id="{3DFBE051-327F-1836-EC88-49FEAA19DA79}"/>
                </a:ext>
              </a:extLst>
            </p:cNvPr>
            <p:cNvSpPr/>
            <p:nvPr/>
          </p:nvSpPr>
          <p:spPr>
            <a:xfrm>
              <a:off x="2715995" y="2274511"/>
              <a:ext cx="122904" cy="63304"/>
            </a:xfrm>
            <a:custGeom>
              <a:avLst/>
              <a:gdLst>
                <a:gd name="connsiteX0" fmla="*/ 122904 w 122904"/>
                <a:gd name="connsiteY0" fmla="*/ 63305 h 63304"/>
                <a:gd name="connsiteX1" fmla="*/ 118189 w 122904"/>
                <a:gd name="connsiteY1" fmla="*/ 29300 h 63304"/>
                <a:gd name="connsiteX2" fmla="*/ 75803 w 122904"/>
                <a:gd name="connsiteY2" fmla="*/ 11 h 63304"/>
                <a:gd name="connsiteX3" fmla="*/ 3842 w 122904"/>
                <a:gd name="connsiteY3" fmla="*/ 11 h 63304"/>
                <a:gd name="connsiteX4" fmla="*/ 2080 w 122904"/>
                <a:gd name="connsiteY4" fmla="*/ 9393 h 63304"/>
                <a:gd name="connsiteX5" fmla="*/ 5842 w 122904"/>
                <a:gd name="connsiteY5" fmla="*/ 34587 h 63304"/>
                <a:gd name="connsiteX6" fmla="*/ 69802 w 122904"/>
                <a:gd name="connsiteY6" fmla="*/ 32063 h 63304"/>
                <a:gd name="connsiteX7" fmla="*/ 78375 w 122904"/>
                <a:gd name="connsiteY7" fmla="*/ 62924 h 633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2904" h="63304">
                  <a:moveTo>
                    <a:pt x="122904" y="63305"/>
                  </a:moveTo>
                  <a:lnTo>
                    <a:pt x="118189" y="29300"/>
                  </a:lnTo>
                  <a:cubicBezTo>
                    <a:pt x="117046" y="21157"/>
                    <a:pt x="113474" y="-560"/>
                    <a:pt x="75803" y="11"/>
                  </a:cubicBezTo>
                  <a:lnTo>
                    <a:pt x="3842" y="11"/>
                  </a:lnTo>
                  <a:cubicBezTo>
                    <a:pt x="3223" y="5440"/>
                    <a:pt x="2080" y="9393"/>
                    <a:pt x="2080" y="9393"/>
                  </a:cubicBezTo>
                  <a:cubicBezTo>
                    <a:pt x="2080" y="9393"/>
                    <a:pt x="-4540" y="26872"/>
                    <a:pt x="5842" y="34587"/>
                  </a:cubicBezTo>
                  <a:cubicBezTo>
                    <a:pt x="7890" y="35111"/>
                    <a:pt x="15510" y="43731"/>
                    <a:pt x="69802" y="32063"/>
                  </a:cubicBezTo>
                  <a:cubicBezTo>
                    <a:pt x="69802" y="32063"/>
                    <a:pt x="75041" y="34539"/>
                    <a:pt x="78375" y="62924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82" name="Forma livre: Forma 281">
              <a:extLst>
                <a:ext uri="{FF2B5EF4-FFF2-40B4-BE49-F238E27FC236}">
                  <a16:creationId xmlns:a16="http://schemas.microsoft.com/office/drawing/2014/main" id="{E9581380-20EE-74C2-DA8F-EDE48694B88D}"/>
                </a:ext>
              </a:extLst>
            </p:cNvPr>
            <p:cNvSpPr/>
            <p:nvPr/>
          </p:nvSpPr>
          <p:spPr>
            <a:xfrm>
              <a:off x="2684092" y="2050003"/>
              <a:ext cx="264244" cy="287955"/>
            </a:xfrm>
            <a:custGeom>
              <a:avLst/>
              <a:gdLst>
                <a:gd name="connsiteX0" fmla="*/ 227435 w 264244"/>
                <a:gd name="connsiteY0" fmla="*/ 287813 h 287955"/>
                <a:gd name="connsiteX1" fmla="*/ 222911 w 264244"/>
                <a:gd name="connsiteY1" fmla="*/ 228615 h 287955"/>
                <a:gd name="connsiteX2" fmla="*/ 247247 w 264244"/>
                <a:gd name="connsiteY2" fmla="*/ 168750 h 287955"/>
                <a:gd name="connsiteX3" fmla="*/ 221863 w 264244"/>
                <a:gd name="connsiteY3" fmla="*/ 23637 h 287955"/>
                <a:gd name="connsiteX4" fmla="*/ 71082 w 264244"/>
                <a:gd name="connsiteY4" fmla="*/ 19874 h 287955"/>
                <a:gd name="connsiteX5" fmla="*/ 34792 w 264244"/>
                <a:gd name="connsiteY5" fmla="*/ 103551 h 287955"/>
                <a:gd name="connsiteX6" fmla="*/ 31125 w 264244"/>
                <a:gd name="connsiteY6" fmla="*/ 129698 h 287955"/>
                <a:gd name="connsiteX7" fmla="*/ 645 w 264244"/>
                <a:gd name="connsiteY7" fmla="*/ 165559 h 287955"/>
                <a:gd name="connsiteX8" fmla="*/ 8789 w 264244"/>
                <a:gd name="connsiteY8" fmla="*/ 177227 h 287955"/>
                <a:gd name="connsiteX9" fmla="*/ 27362 w 264244"/>
                <a:gd name="connsiteY9" fmla="*/ 181037 h 287955"/>
                <a:gd name="connsiteX10" fmla="*/ 34125 w 264244"/>
                <a:gd name="connsiteY10" fmla="*/ 198373 h 287955"/>
                <a:gd name="connsiteX11" fmla="*/ 107039 w 264244"/>
                <a:gd name="connsiteY11" fmla="*/ 198373 h 287955"/>
                <a:gd name="connsiteX12" fmla="*/ 176000 w 264244"/>
                <a:gd name="connsiteY12" fmla="*/ 250189 h 287955"/>
                <a:gd name="connsiteX13" fmla="*/ 181239 w 264244"/>
                <a:gd name="connsiteY13" fmla="*/ 287956 h 287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64244" h="287955">
                  <a:moveTo>
                    <a:pt x="227435" y="287813"/>
                  </a:moveTo>
                  <a:cubicBezTo>
                    <a:pt x="225006" y="273763"/>
                    <a:pt x="221529" y="250903"/>
                    <a:pt x="222911" y="228615"/>
                  </a:cubicBezTo>
                  <a:cubicBezTo>
                    <a:pt x="222911" y="228615"/>
                    <a:pt x="231007" y="192086"/>
                    <a:pt x="247247" y="168750"/>
                  </a:cubicBezTo>
                  <a:cubicBezTo>
                    <a:pt x="247247" y="168750"/>
                    <a:pt x="299015" y="80453"/>
                    <a:pt x="221863" y="23637"/>
                  </a:cubicBezTo>
                  <a:cubicBezTo>
                    <a:pt x="221863" y="23637"/>
                    <a:pt x="153616" y="-26941"/>
                    <a:pt x="71082" y="19874"/>
                  </a:cubicBezTo>
                  <a:cubicBezTo>
                    <a:pt x="71082" y="19874"/>
                    <a:pt x="25029" y="39782"/>
                    <a:pt x="34792" y="103551"/>
                  </a:cubicBezTo>
                  <a:cubicBezTo>
                    <a:pt x="34792" y="103551"/>
                    <a:pt x="36744" y="121363"/>
                    <a:pt x="31125" y="129698"/>
                  </a:cubicBezTo>
                  <a:lnTo>
                    <a:pt x="645" y="165559"/>
                  </a:lnTo>
                  <a:cubicBezTo>
                    <a:pt x="645" y="165559"/>
                    <a:pt x="-3403" y="176227"/>
                    <a:pt x="8789" y="177227"/>
                  </a:cubicBezTo>
                  <a:lnTo>
                    <a:pt x="27362" y="181037"/>
                  </a:lnTo>
                  <a:cubicBezTo>
                    <a:pt x="27362" y="181037"/>
                    <a:pt x="31601" y="189324"/>
                    <a:pt x="34125" y="198373"/>
                  </a:cubicBezTo>
                  <a:lnTo>
                    <a:pt x="107039" y="198373"/>
                  </a:lnTo>
                  <a:cubicBezTo>
                    <a:pt x="113278" y="198373"/>
                    <a:pt x="168380" y="195420"/>
                    <a:pt x="176000" y="250189"/>
                  </a:cubicBezTo>
                  <a:lnTo>
                    <a:pt x="181239" y="287956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283" name="Gráfico 4">
            <a:extLst>
              <a:ext uri="{FF2B5EF4-FFF2-40B4-BE49-F238E27FC236}">
                <a16:creationId xmlns:a16="http://schemas.microsoft.com/office/drawing/2014/main" id="{7FF92844-EB01-6A48-0323-41B14C22EFA5}"/>
              </a:ext>
            </a:extLst>
          </p:cNvPr>
          <p:cNvGrpSpPr/>
          <p:nvPr/>
        </p:nvGrpSpPr>
        <p:grpSpPr>
          <a:xfrm>
            <a:off x="2646399" y="2595657"/>
            <a:ext cx="339661" cy="259889"/>
            <a:chOff x="2646399" y="2595657"/>
            <a:chExt cx="339661" cy="259889"/>
          </a:xfrm>
          <a:noFill/>
        </p:grpSpPr>
        <p:sp>
          <p:nvSpPr>
            <p:cNvPr id="284" name="Forma livre: Forma 283">
              <a:extLst>
                <a:ext uri="{FF2B5EF4-FFF2-40B4-BE49-F238E27FC236}">
                  <a16:creationId xmlns:a16="http://schemas.microsoft.com/office/drawing/2014/main" id="{64B2CF45-8363-BE1A-7F46-25E95F03630C}"/>
                </a:ext>
              </a:extLst>
            </p:cNvPr>
            <p:cNvSpPr/>
            <p:nvPr/>
          </p:nvSpPr>
          <p:spPr>
            <a:xfrm>
              <a:off x="2701310" y="2829544"/>
              <a:ext cx="15001" cy="25955"/>
            </a:xfrm>
            <a:custGeom>
              <a:avLst/>
              <a:gdLst>
                <a:gd name="connsiteX0" fmla="*/ 0 w 15001"/>
                <a:gd name="connsiteY0" fmla="*/ 25956 h 25955"/>
                <a:gd name="connsiteX1" fmla="*/ 15002 w 15001"/>
                <a:gd name="connsiteY1" fmla="*/ 0 h 25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001" h="25955">
                  <a:moveTo>
                    <a:pt x="0" y="25956"/>
                  </a:moveTo>
                  <a:lnTo>
                    <a:pt x="15002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85" name="Forma livre: Forma 284">
              <a:extLst>
                <a:ext uri="{FF2B5EF4-FFF2-40B4-BE49-F238E27FC236}">
                  <a16:creationId xmlns:a16="http://schemas.microsoft.com/office/drawing/2014/main" id="{ED84789C-0B63-95F2-9FCC-8A42680B367F}"/>
                </a:ext>
              </a:extLst>
            </p:cNvPr>
            <p:cNvSpPr/>
            <p:nvPr/>
          </p:nvSpPr>
          <p:spPr>
            <a:xfrm>
              <a:off x="2646399" y="2759916"/>
              <a:ext cx="29765" cy="4762"/>
            </a:xfrm>
            <a:custGeom>
              <a:avLst/>
              <a:gdLst>
                <a:gd name="connsiteX0" fmla="*/ 0 w 29765"/>
                <a:gd name="connsiteY0" fmla="*/ 0 h 4762"/>
                <a:gd name="connsiteX1" fmla="*/ 29766 w 29765"/>
                <a:gd name="connsiteY1" fmla="*/ 0 h 47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9765" h="4762">
                  <a:moveTo>
                    <a:pt x="0" y="0"/>
                  </a:moveTo>
                  <a:lnTo>
                    <a:pt x="29766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86" name="Forma livre: Forma 285">
              <a:extLst>
                <a:ext uri="{FF2B5EF4-FFF2-40B4-BE49-F238E27FC236}">
                  <a16:creationId xmlns:a16="http://schemas.microsoft.com/office/drawing/2014/main" id="{DF190FC3-401A-012C-9290-562A92A1D7DB}"/>
                </a:ext>
              </a:extLst>
            </p:cNvPr>
            <p:cNvSpPr/>
            <p:nvPr/>
          </p:nvSpPr>
          <p:spPr>
            <a:xfrm>
              <a:off x="2701215" y="2664570"/>
              <a:ext cx="15144" cy="26146"/>
            </a:xfrm>
            <a:custGeom>
              <a:avLst/>
              <a:gdLst>
                <a:gd name="connsiteX0" fmla="*/ 0 w 15144"/>
                <a:gd name="connsiteY0" fmla="*/ 0 h 26146"/>
                <a:gd name="connsiteX1" fmla="*/ 15145 w 15144"/>
                <a:gd name="connsiteY1" fmla="*/ 26146 h 261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44" h="26146">
                  <a:moveTo>
                    <a:pt x="0" y="0"/>
                  </a:moveTo>
                  <a:lnTo>
                    <a:pt x="15145" y="26146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87" name="Forma livre: Forma 286">
              <a:extLst>
                <a:ext uri="{FF2B5EF4-FFF2-40B4-BE49-F238E27FC236}">
                  <a16:creationId xmlns:a16="http://schemas.microsoft.com/office/drawing/2014/main" id="{FD57891C-6248-ECBF-CB7C-C76C19F8627F}"/>
                </a:ext>
              </a:extLst>
            </p:cNvPr>
            <p:cNvSpPr/>
            <p:nvPr/>
          </p:nvSpPr>
          <p:spPr>
            <a:xfrm>
              <a:off x="2796846" y="2829734"/>
              <a:ext cx="14906" cy="25812"/>
            </a:xfrm>
            <a:custGeom>
              <a:avLst/>
              <a:gdLst>
                <a:gd name="connsiteX0" fmla="*/ 14907 w 14906"/>
                <a:gd name="connsiteY0" fmla="*/ 25813 h 25812"/>
                <a:gd name="connsiteX1" fmla="*/ 0 w 14906"/>
                <a:gd name="connsiteY1" fmla="*/ 0 h 258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4906" h="25812">
                  <a:moveTo>
                    <a:pt x="14907" y="25813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88" name="Forma livre: Forma 287">
              <a:extLst>
                <a:ext uri="{FF2B5EF4-FFF2-40B4-BE49-F238E27FC236}">
                  <a16:creationId xmlns:a16="http://schemas.microsoft.com/office/drawing/2014/main" id="{15DD7F13-626E-F3EC-2E48-7D1B11BD9AF6}"/>
                </a:ext>
              </a:extLst>
            </p:cNvPr>
            <p:cNvSpPr/>
            <p:nvPr/>
          </p:nvSpPr>
          <p:spPr>
            <a:xfrm>
              <a:off x="2676831" y="2691098"/>
              <a:ext cx="159305" cy="137921"/>
            </a:xfrm>
            <a:custGeom>
              <a:avLst/>
              <a:gdLst>
                <a:gd name="connsiteX0" fmla="*/ 39815 w 159305"/>
                <a:gd name="connsiteY0" fmla="*/ 137922 h 137921"/>
                <a:gd name="connsiteX1" fmla="*/ 0 w 159305"/>
                <a:gd name="connsiteY1" fmla="*/ 68961 h 137921"/>
                <a:gd name="connsiteX2" fmla="*/ 39815 w 159305"/>
                <a:gd name="connsiteY2" fmla="*/ 0 h 137921"/>
                <a:gd name="connsiteX3" fmla="*/ 119491 w 159305"/>
                <a:gd name="connsiteY3" fmla="*/ 0 h 137921"/>
                <a:gd name="connsiteX4" fmla="*/ 159306 w 159305"/>
                <a:gd name="connsiteY4" fmla="*/ 68961 h 137921"/>
                <a:gd name="connsiteX5" fmla="*/ 119491 w 159305"/>
                <a:gd name="connsiteY5" fmla="*/ 137922 h 137921"/>
                <a:gd name="connsiteX6" fmla="*/ 39815 w 159305"/>
                <a:gd name="connsiteY6" fmla="*/ 137922 h 1379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59305" h="137921">
                  <a:moveTo>
                    <a:pt x="39815" y="137922"/>
                  </a:moveTo>
                  <a:lnTo>
                    <a:pt x="0" y="68961"/>
                  </a:lnTo>
                  <a:lnTo>
                    <a:pt x="39815" y="0"/>
                  </a:lnTo>
                  <a:lnTo>
                    <a:pt x="119491" y="0"/>
                  </a:lnTo>
                  <a:lnTo>
                    <a:pt x="159306" y="68961"/>
                  </a:lnTo>
                  <a:lnTo>
                    <a:pt x="119491" y="137922"/>
                  </a:lnTo>
                  <a:lnTo>
                    <a:pt x="39815" y="137922"/>
                  </a:ln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89" name="Forma livre: Forma 288">
              <a:extLst>
                <a:ext uri="{FF2B5EF4-FFF2-40B4-BE49-F238E27FC236}">
                  <a16:creationId xmlns:a16="http://schemas.microsoft.com/office/drawing/2014/main" id="{17E1287D-2270-B3C9-C375-F82CF42FE09C}"/>
                </a:ext>
              </a:extLst>
            </p:cNvPr>
            <p:cNvSpPr/>
            <p:nvPr/>
          </p:nvSpPr>
          <p:spPr>
            <a:xfrm>
              <a:off x="2735934" y="2798063"/>
              <a:ext cx="41052" cy="4762"/>
            </a:xfrm>
            <a:custGeom>
              <a:avLst/>
              <a:gdLst>
                <a:gd name="connsiteX0" fmla="*/ 0 w 41052"/>
                <a:gd name="connsiteY0" fmla="*/ 0 h 4762"/>
                <a:gd name="connsiteX1" fmla="*/ 41053 w 41052"/>
                <a:gd name="connsiteY1" fmla="*/ 0 h 47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1052" h="4762">
                  <a:moveTo>
                    <a:pt x="0" y="0"/>
                  </a:moveTo>
                  <a:lnTo>
                    <a:pt x="41053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90" name="Forma livre: Forma 289">
              <a:extLst>
                <a:ext uri="{FF2B5EF4-FFF2-40B4-BE49-F238E27FC236}">
                  <a16:creationId xmlns:a16="http://schemas.microsoft.com/office/drawing/2014/main" id="{33D4FBB1-E082-7772-02EE-789B697176A6}"/>
                </a:ext>
              </a:extLst>
            </p:cNvPr>
            <p:cNvSpPr/>
            <p:nvPr/>
          </p:nvSpPr>
          <p:spPr>
            <a:xfrm>
              <a:off x="2713312" y="2723197"/>
              <a:ext cx="20526" cy="35575"/>
            </a:xfrm>
            <a:custGeom>
              <a:avLst/>
              <a:gdLst>
                <a:gd name="connsiteX0" fmla="*/ 20526 w 20526"/>
                <a:gd name="connsiteY0" fmla="*/ 0 h 35575"/>
                <a:gd name="connsiteX1" fmla="*/ 0 w 20526"/>
                <a:gd name="connsiteY1" fmla="*/ 35576 h 355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0526" h="35575">
                  <a:moveTo>
                    <a:pt x="20526" y="0"/>
                  </a:moveTo>
                  <a:lnTo>
                    <a:pt x="0" y="35576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91" name="Forma livre: Forma 290">
              <a:extLst>
                <a:ext uri="{FF2B5EF4-FFF2-40B4-BE49-F238E27FC236}">
                  <a16:creationId xmlns:a16="http://schemas.microsoft.com/office/drawing/2014/main" id="{3C741A57-D4D1-48EB-63E3-D769AFBB6779}"/>
                </a:ext>
              </a:extLst>
            </p:cNvPr>
            <p:cNvSpPr/>
            <p:nvPr/>
          </p:nvSpPr>
          <p:spPr>
            <a:xfrm>
              <a:off x="2916194" y="2595657"/>
              <a:ext cx="14954" cy="25812"/>
            </a:xfrm>
            <a:custGeom>
              <a:avLst/>
              <a:gdLst>
                <a:gd name="connsiteX0" fmla="*/ 14954 w 14954"/>
                <a:gd name="connsiteY0" fmla="*/ 0 h 25812"/>
                <a:gd name="connsiteX1" fmla="*/ 0 w 14954"/>
                <a:gd name="connsiteY1" fmla="*/ 25813 h 258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4954" h="25812">
                  <a:moveTo>
                    <a:pt x="14954" y="0"/>
                  </a:moveTo>
                  <a:lnTo>
                    <a:pt x="0" y="25813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92" name="Forma livre: Forma 291">
              <a:extLst>
                <a:ext uri="{FF2B5EF4-FFF2-40B4-BE49-F238E27FC236}">
                  <a16:creationId xmlns:a16="http://schemas.microsoft.com/office/drawing/2014/main" id="{99F33FAA-426A-29FB-4DF5-B1C0710525C1}"/>
                </a:ext>
              </a:extLst>
            </p:cNvPr>
            <p:cNvSpPr/>
            <p:nvPr/>
          </p:nvSpPr>
          <p:spPr>
            <a:xfrm>
              <a:off x="2956152" y="2691240"/>
              <a:ext cx="29908" cy="4762"/>
            </a:xfrm>
            <a:custGeom>
              <a:avLst/>
              <a:gdLst>
                <a:gd name="connsiteX0" fmla="*/ 29908 w 29908"/>
                <a:gd name="connsiteY0" fmla="*/ 0 h 4762"/>
                <a:gd name="connsiteX1" fmla="*/ 0 w 29908"/>
                <a:gd name="connsiteY1" fmla="*/ 0 h 47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9908" h="4762">
                  <a:moveTo>
                    <a:pt x="29908" y="0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93" name="Forma livre: Forma 292">
              <a:extLst>
                <a:ext uri="{FF2B5EF4-FFF2-40B4-BE49-F238E27FC236}">
                  <a16:creationId xmlns:a16="http://schemas.microsoft.com/office/drawing/2014/main" id="{12C40A7E-4C43-2825-C9B4-4442E22CDF23}"/>
                </a:ext>
              </a:extLst>
            </p:cNvPr>
            <p:cNvSpPr/>
            <p:nvPr/>
          </p:nvSpPr>
          <p:spPr>
            <a:xfrm>
              <a:off x="2916147" y="2760487"/>
              <a:ext cx="15049" cy="26098"/>
            </a:xfrm>
            <a:custGeom>
              <a:avLst/>
              <a:gdLst>
                <a:gd name="connsiteX0" fmla="*/ 15049 w 15049"/>
                <a:gd name="connsiteY0" fmla="*/ 26098 h 26098"/>
                <a:gd name="connsiteX1" fmla="*/ 0 w 15049"/>
                <a:gd name="connsiteY1" fmla="*/ 0 h 260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049" h="26098">
                  <a:moveTo>
                    <a:pt x="15049" y="26098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94" name="Forma livre: Forma 293">
              <a:extLst>
                <a:ext uri="{FF2B5EF4-FFF2-40B4-BE49-F238E27FC236}">
                  <a16:creationId xmlns:a16="http://schemas.microsoft.com/office/drawing/2014/main" id="{A96E2318-196F-0FEF-6B96-5CD1CDFBBE8A}"/>
                </a:ext>
              </a:extLst>
            </p:cNvPr>
            <p:cNvSpPr/>
            <p:nvPr/>
          </p:nvSpPr>
          <p:spPr>
            <a:xfrm>
              <a:off x="2820706" y="2595657"/>
              <a:ext cx="14954" cy="25860"/>
            </a:xfrm>
            <a:custGeom>
              <a:avLst/>
              <a:gdLst>
                <a:gd name="connsiteX0" fmla="*/ 0 w 14954"/>
                <a:gd name="connsiteY0" fmla="*/ 0 h 25860"/>
                <a:gd name="connsiteX1" fmla="*/ 14954 w 14954"/>
                <a:gd name="connsiteY1" fmla="*/ 25860 h 258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4954" h="25860">
                  <a:moveTo>
                    <a:pt x="0" y="0"/>
                  </a:moveTo>
                  <a:lnTo>
                    <a:pt x="14954" y="2586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95" name="Forma livre: Forma 294">
              <a:extLst>
                <a:ext uri="{FF2B5EF4-FFF2-40B4-BE49-F238E27FC236}">
                  <a16:creationId xmlns:a16="http://schemas.microsoft.com/office/drawing/2014/main" id="{63DD8F2D-FDD1-6AB6-B4F8-A953A059FBE5}"/>
                </a:ext>
              </a:extLst>
            </p:cNvPr>
            <p:cNvSpPr/>
            <p:nvPr/>
          </p:nvSpPr>
          <p:spPr>
            <a:xfrm>
              <a:off x="2796322" y="2622137"/>
              <a:ext cx="159257" cy="137922"/>
            </a:xfrm>
            <a:custGeom>
              <a:avLst/>
              <a:gdLst>
                <a:gd name="connsiteX0" fmla="*/ 0 w 159257"/>
                <a:gd name="connsiteY0" fmla="*/ 68961 h 137922"/>
                <a:gd name="connsiteX1" fmla="*/ 39815 w 159257"/>
                <a:gd name="connsiteY1" fmla="*/ 0 h 137922"/>
                <a:gd name="connsiteX2" fmla="*/ 119444 w 159257"/>
                <a:gd name="connsiteY2" fmla="*/ 0 h 137922"/>
                <a:gd name="connsiteX3" fmla="*/ 159258 w 159257"/>
                <a:gd name="connsiteY3" fmla="*/ 68961 h 137922"/>
                <a:gd name="connsiteX4" fmla="*/ 119444 w 159257"/>
                <a:gd name="connsiteY4" fmla="*/ 137922 h 137922"/>
                <a:gd name="connsiteX5" fmla="*/ 39815 w 159257"/>
                <a:gd name="connsiteY5" fmla="*/ 137922 h 1379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59257" h="137922">
                  <a:moveTo>
                    <a:pt x="0" y="68961"/>
                  </a:moveTo>
                  <a:lnTo>
                    <a:pt x="39815" y="0"/>
                  </a:lnTo>
                  <a:lnTo>
                    <a:pt x="119444" y="0"/>
                  </a:lnTo>
                  <a:lnTo>
                    <a:pt x="159258" y="68961"/>
                  </a:lnTo>
                  <a:lnTo>
                    <a:pt x="119444" y="137922"/>
                  </a:lnTo>
                  <a:lnTo>
                    <a:pt x="39815" y="137922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96" name="Forma livre: Forma 295">
              <a:extLst>
                <a:ext uri="{FF2B5EF4-FFF2-40B4-BE49-F238E27FC236}">
                  <a16:creationId xmlns:a16="http://schemas.microsoft.com/office/drawing/2014/main" id="{7F2A2938-9304-9AA6-B44E-F4509F0876E8}"/>
                </a:ext>
              </a:extLst>
            </p:cNvPr>
            <p:cNvSpPr/>
            <p:nvPr/>
          </p:nvSpPr>
          <p:spPr>
            <a:xfrm>
              <a:off x="2898716" y="2654331"/>
              <a:ext cx="20526" cy="35575"/>
            </a:xfrm>
            <a:custGeom>
              <a:avLst/>
              <a:gdLst>
                <a:gd name="connsiteX0" fmla="*/ 20526 w 20526"/>
                <a:gd name="connsiteY0" fmla="*/ 35576 h 35575"/>
                <a:gd name="connsiteX1" fmla="*/ 0 w 20526"/>
                <a:gd name="connsiteY1" fmla="*/ 0 h 355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0526" h="35575">
                  <a:moveTo>
                    <a:pt x="20526" y="35576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97" name="Forma livre: Forma 296">
              <a:extLst>
                <a:ext uri="{FF2B5EF4-FFF2-40B4-BE49-F238E27FC236}">
                  <a16:creationId xmlns:a16="http://schemas.microsoft.com/office/drawing/2014/main" id="{27141C88-E5C2-6102-49B4-DB5355514F70}"/>
                </a:ext>
              </a:extLst>
            </p:cNvPr>
            <p:cNvSpPr/>
            <p:nvPr/>
          </p:nvSpPr>
          <p:spPr>
            <a:xfrm>
              <a:off x="2855425" y="2729150"/>
              <a:ext cx="41100" cy="4762"/>
            </a:xfrm>
            <a:custGeom>
              <a:avLst/>
              <a:gdLst>
                <a:gd name="connsiteX0" fmla="*/ 0 w 41100"/>
                <a:gd name="connsiteY0" fmla="*/ 0 h 4762"/>
                <a:gd name="connsiteX1" fmla="*/ 41100 w 41100"/>
                <a:gd name="connsiteY1" fmla="*/ 0 h 47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1100" h="4762">
                  <a:moveTo>
                    <a:pt x="0" y="0"/>
                  </a:moveTo>
                  <a:lnTo>
                    <a:pt x="4110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298" name="Gráfico 4">
            <a:extLst>
              <a:ext uri="{FF2B5EF4-FFF2-40B4-BE49-F238E27FC236}">
                <a16:creationId xmlns:a16="http://schemas.microsoft.com/office/drawing/2014/main" id="{A293176D-C4BD-64D8-5524-8866765EE7E4}"/>
              </a:ext>
            </a:extLst>
          </p:cNvPr>
          <p:cNvGrpSpPr/>
          <p:nvPr/>
        </p:nvGrpSpPr>
        <p:grpSpPr>
          <a:xfrm>
            <a:off x="3315816" y="992790"/>
            <a:ext cx="240696" cy="275844"/>
            <a:chOff x="3315816" y="992790"/>
            <a:chExt cx="240696" cy="275844"/>
          </a:xfrm>
          <a:noFill/>
        </p:grpSpPr>
        <p:sp>
          <p:nvSpPr>
            <p:cNvPr id="299" name="Forma livre: Forma 298">
              <a:extLst>
                <a:ext uri="{FF2B5EF4-FFF2-40B4-BE49-F238E27FC236}">
                  <a16:creationId xmlns:a16="http://schemas.microsoft.com/office/drawing/2014/main" id="{88013385-CF9C-8F11-19EA-4ABC24A1A7DF}"/>
                </a:ext>
              </a:extLst>
            </p:cNvPr>
            <p:cNvSpPr/>
            <p:nvPr/>
          </p:nvSpPr>
          <p:spPr>
            <a:xfrm>
              <a:off x="3497219" y="1199054"/>
              <a:ext cx="4762" cy="49720"/>
            </a:xfrm>
            <a:custGeom>
              <a:avLst/>
              <a:gdLst>
                <a:gd name="connsiteX0" fmla="*/ 0 w 4762"/>
                <a:gd name="connsiteY0" fmla="*/ 0 h 49720"/>
                <a:gd name="connsiteX1" fmla="*/ 0 w 4762"/>
                <a:gd name="connsiteY1" fmla="*/ 49721 h 497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762" h="49720">
                  <a:moveTo>
                    <a:pt x="0" y="0"/>
                  </a:moveTo>
                  <a:lnTo>
                    <a:pt x="0" y="49721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00" name="Forma livre: Forma 299">
              <a:extLst>
                <a:ext uri="{FF2B5EF4-FFF2-40B4-BE49-F238E27FC236}">
                  <a16:creationId xmlns:a16="http://schemas.microsoft.com/office/drawing/2014/main" id="{6D208E15-C8E2-A2E2-76CF-36B24248E5BF}"/>
                </a:ext>
              </a:extLst>
            </p:cNvPr>
            <p:cNvSpPr/>
            <p:nvPr/>
          </p:nvSpPr>
          <p:spPr>
            <a:xfrm>
              <a:off x="3472359" y="1223914"/>
              <a:ext cx="49720" cy="4762"/>
            </a:xfrm>
            <a:custGeom>
              <a:avLst/>
              <a:gdLst>
                <a:gd name="connsiteX0" fmla="*/ 49720 w 49720"/>
                <a:gd name="connsiteY0" fmla="*/ 0 h 4762"/>
                <a:gd name="connsiteX1" fmla="*/ 0 w 49720"/>
                <a:gd name="connsiteY1" fmla="*/ 0 h 47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9720" h="4762">
                  <a:moveTo>
                    <a:pt x="49720" y="0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301" name="Gráfico 4">
              <a:extLst>
                <a:ext uri="{FF2B5EF4-FFF2-40B4-BE49-F238E27FC236}">
                  <a16:creationId xmlns:a16="http://schemas.microsoft.com/office/drawing/2014/main" id="{3D633A82-51C9-8D5F-8C60-2C480BE97A72}"/>
                </a:ext>
              </a:extLst>
            </p:cNvPr>
            <p:cNvGrpSpPr/>
            <p:nvPr/>
          </p:nvGrpSpPr>
          <p:grpSpPr>
            <a:xfrm>
              <a:off x="3315816" y="1154667"/>
              <a:ext cx="240696" cy="113966"/>
              <a:chOff x="3315816" y="1154667"/>
              <a:chExt cx="240696" cy="113966"/>
            </a:xfrm>
            <a:noFill/>
          </p:grpSpPr>
          <p:sp>
            <p:nvSpPr>
              <p:cNvPr id="302" name="Forma livre: Forma 301">
                <a:extLst>
                  <a:ext uri="{FF2B5EF4-FFF2-40B4-BE49-F238E27FC236}">
                    <a16:creationId xmlns:a16="http://schemas.microsoft.com/office/drawing/2014/main" id="{6EE82F4D-D2D9-6D78-3838-D8C00A65A013}"/>
                  </a:ext>
                </a:extLst>
              </p:cNvPr>
              <p:cNvSpPr/>
              <p:nvPr/>
            </p:nvSpPr>
            <p:spPr>
              <a:xfrm>
                <a:off x="3436212" y="1233391"/>
                <a:ext cx="4762" cy="35242"/>
              </a:xfrm>
              <a:custGeom>
                <a:avLst/>
                <a:gdLst>
                  <a:gd name="connsiteX0" fmla="*/ 0 w 4762"/>
                  <a:gd name="connsiteY0" fmla="*/ 0 h 35242"/>
                  <a:gd name="connsiteX1" fmla="*/ 0 w 4762"/>
                  <a:gd name="connsiteY1" fmla="*/ 35243 h 352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62" h="35242">
                    <a:moveTo>
                      <a:pt x="0" y="0"/>
                    </a:moveTo>
                    <a:lnTo>
                      <a:pt x="0" y="35243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03" name="Forma livre: Forma 302">
                <a:extLst>
                  <a:ext uri="{FF2B5EF4-FFF2-40B4-BE49-F238E27FC236}">
                    <a16:creationId xmlns:a16="http://schemas.microsoft.com/office/drawing/2014/main" id="{91C620F7-A2C5-C375-0CD1-DFF5C9E5240D}"/>
                  </a:ext>
                </a:extLst>
              </p:cNvPr>
              <p:cNvSpPr/>
              <p:nvPr/>
            </p:nvSpPr>
            <p:spPr>
              <a:xfrm>
                <a:off x="3315816" y="1154667"/>
                <a:ext cx="240696" cy="113966"/>
              </a:xfrm>
              <a:custGeom>
                <a:avLst/>
                <a:gdLst>
                  <a:gd name="connsiteX0" fmla="*/ 240697 w 240696"/>
                  <a:gd name="connsiteY0" fmla="*/ 113967 h 113966"/>
                  <a:gd name="connsiteX1" fmla="*/ 235982 w 240696"/>
                  <a:gd name="connsiteY1" fmla="*/ 39100 h 113966"/>
                  <a:gd name="connsiteX2" fmla="*/ 199739 w 240696"/>
                  <a:gd name="connsiteY2" fmla="*/ 5953 h 113966"/>
                  <a:gd name="connsiteX3" fmla="*/ 165021 w 240696"/>
                  <a:gd name="connsiteY3" fmla="*/ 0 h 113966"/>
                  <a:gd name="connsiteX4" fmla="*/ 120348 w 240696"/>
                  <a:gd name="connsiteY4" fmla="*/ 81486 h 113966"/>
                  <a:gd name="connsiteX5" fmla="*/ 75676 w 240696"/>
                  <a:gd name="connsiteY5" fmla="*/ 0 h 113966"/>
                  <a:gd name="connsiteX6" fmla="*/ 40958 w 240696"/>
                  <a:gd name="connsiteY6" fmla="*/ 5953 h 113966"/>
                  <a:gd name="connsiteX7" fmla="*/ 4715 w 240696"/>
                  <a:gd name="connsiteY7" fmla="*/ 39100 h 113966"/>
                  <a:gd name="connsiteX8" fmla="*/ 0 w 240696"/>
                  <a:gd name="connsiteY8" fmla="*/ 113967 h 1139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40696" h="113966">
                    <a:moveTo>
                      <a:pt x="240697" y="113967"/>
                    </a:moveTo>
                    <a:lnTo>
                      <a:pt x="235982" y="39100"/>
                    </a:lnTo>
                    <a:cubicBezTo>
                      <a:pt x="231743" y="12240"/>
                      <a:pt x="199739" y="5953"/>
                      <a:pt x="199739" y="5953"/>
                    </a:cubicBezTo>
                    <a:lnTo>
                      <a:pt x="165021" y="0"/>
                    </a:lnTo>
                    <a:lnTo>
                      <a:pt x="120348" y="81486"/>
                    </a:lnTo>
                    <a:lnTo>
                      <a:pt x="75676" y="0"/>
                    </a:lnTo>
                    <a:lnTo>
                      <a:pt x="40958" y="5953"/>
                    </a:lnTo>
                    <a:cubicBezTo>
                      <a:pt x="40958" y="5953"/>
                      <a:pt x="8954" y="12240"/>
                      <a:pt x="4715" y="39100"/>
                    </a:cubicBezTo>
                    <a:lnTo>
                      <a:pt x="0" y="113967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304" name="Gráfico 4">
              <a:extLst>
                <a:ext uri="{FF2B5EF4-FFF2-40B4-BE49-F238E27FC236}">
                  <a16:creationId xmlns:a16="http://schemas.microsoft.com/office/drawing/2014/main" id="{DFB1549C-5163-36AD-B42D-C0A2CB2711D0}"/>
                </a:ext>
              </a:extLst>
            </p:cNvPr>
            <p:cNvGrpSpPr/>
            <p:nvPr/>
          </p:nvGrpSpPr>
          <p:grpSpPr>
            <a:xfrm>
              <a:off x="3381469" y="992790"/>
              <a:ext cx="108770" cy="144827"/>
              <a:chOff x="3381469" y="992790"/>
              <a:chExt cx="108770" cy="144827"/>
            </a:xfrm>
            <a:noFill/>
          </p:grpSpPr>
          <p:sp>
            <p:nvSpPr>
              <p:cNvPr id="305" name="Forma livre: Forma 304">
                <a:extLst>
                  <a:ext uri="{FF2B5EF4-FFF2-40B4-BE49-F238E27FC236}">
                    <a16:creationId xmlns:a16="http://schemas.microsoft.com/office/drawing/2014/main" id="{4C109D84-3788-3663-48EF-F9CA67079B95}"/>
                  </a:ext>
                </a:extLst>
              </p:cNvPr>
              <p:cNvSpPr/>
              <p:nvPr/>
            </p:nvSpPr>
            <p:spPr>
              <a:xfrm>
                <a:off x="3381469" y="992790"/>
                <a:ext cx="108770" cy="144827"/>
              </a:xfrm>
              <a:custGeom>
                <a:avLst/>
                <a:gdLst>
                  <a:gd name="connsiteX0" fmla="*/ 54409 w 108770"/>
                  <a:gd name="connsiteY0" fmla="*/ 0 h 144827"/>
                  <a:gd name="connsiteX1" fmla="*/ 1117 w 108770"/>
                  <a:gd name="connsiteY1" fmla="*/ 72438 h 144827"/>
                  <a:gd name="connsiteX2" fmla="*/ 54409 w 108770"/>
                  <a:gd name="connsiteY2" fmla="*/ 144828 h 144827"/>
                  <a:gd name="connsiteX3" fmla="*/ 107654 w 108770"/>
                  <a:gd name="connsiteY3" fmla="*/ 72438 h 144827"/>
                  <a:gd name="connsiteX4" fmla="*/ 54409 w 108770"/>
                  <a:gd name="connsiteY4" fmla="*/ 0 h 1448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08770" h="144827">
                    <a:moveTo>
                      <a:pt x="54409" y="0"/>
                    </a:moveTo>
                    <a:cubicBezTo>
                      <a:pt x="355" y="0"/>
                      <a:pt x="-2646" y="32671"/>
                      <a:pt x="1117" y="72438"/>
                    </a:cubicBezTo>
                    <a:cubicBezTo>
                      <a:pt x="4927" y="112252"/>
                      <a:pt x="29930" y="144828"/>
                      <a:pt x="54409" y="144828"/>
                    </a:cubicBezTo>
                    <a:cubicBezTo>
                      <a:pt x="78888" y="144828"/>
                      <a:pt x="103891" y="112252"/>
                      <a:pt x="107654" y="72438"/>
                    </a:cubicBezTo>
                    <a:cubicBezTo>
                      <a:pt x="111416" y="32718"/>
                      <a:pt x="108416" y="0"/>
                      <a:pt x="54409" y="0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06" name="Forma livre: Forma 305">
                <a:extLst>
                  <a:ext uri="{FF2B5EF4-FFF2-40B4-BE49-F238E27FC236}">
                    <a16:creationId xmlns:a16="http://schemas.microsoft.com/office/drawing/2014/main" id="{DCB6B4ED-BCC9-4A77-E444-18E8924EE61E}"/>
                  </a:ext>
                </a:extLst>
              </p:cNvPr>
              <p:cNvSpPr/>
              <p:nvPr/>
            </p:nvSpPr>
            <p:spPr>
              <a:xfrm>
                <a:off x="3404779" y="1024841"/>
                <a:ext cx="47101" cy="27193"/>
              </a:xfrm>
              <a:custGeom>
                <a:avLst/>
                <a:gdLst>
                  <a:gd name="connsiteX0" fmla="*/ 47101 w 47101"/>
                  <a:gd name="connsiteY0" fmla="*/ 0 h 27193"/>
                  <a:gd name="connsiteX1" fmla="*/ 0 w 47101"/>
                  <a:gd name="connsiteY1" fmla="*/ 27194 h 271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101" h="27193">
                    <a:moveTo>
                      <a:pt x="47101" y="0"/>
                    </a:moveTo>
                    <a:cubicBezTo>
                      <a:pt x="47101" y="0"/>
                      <a:pt x="41386" y="27194"/>
                      <a:pt x="0" y="27194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07" name="Forma livre: Forma 306">
                <a:extLst>
                  <a:ext uri="{FF2B5EF4-FFF2-40B4-BE49-F238E27FC236}">
                    <a16:creationId xmlns:a16="http://schemas.microsoft.com/office/drawing/2014/main" id="{EB0B797D-3C51-193B-5CC9-D12837E19DA5}"/>
                  </a:ext>
                </a:extLst>
              </p:cNvPr>
              <p:cNvSpPr/>
              <p:nvPr/>
            </p:nvSpPr>
            <p:spPr>
              <a:xfrm>
                <a:off x="3447165" y="1035890"/>
                <a:ext cx="41433" cy="18669"/>
              </a:xfrm>
              <a:custGeom>
                <a:avLst/>
                <a:gdLst>
                  <a:gd name="connsiteX0" fmla="*/ 0 w 41433"/>
                  <a:gd name="connsiteY0" fmla="*/ 0 h 18669"/>
                  <a:gd name="connsiteX1" fmla="*/ 41434 w 41433"/>
                  <a:gd name="connsiteY1" fmla="*/ 18669 h 186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1433" h="18669">
                    <a:moveTo>
                      <a:pt x="0" y="0"/>
                    </a:moveTo>
                    <a:cubicBezTo>
                      <a:pt x="0" y="0"/>
                      <a:pt x="18574" y="12716"/>
                      <a:pt x="41434" y="18669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308" name="Gráfico 4">
            <a:extLst>
              <a:ext uri="{FF2B5EF4-FFF2-40B4-BE49-F238E27FC236}">
                <a16:creationId xmlns:a16="http://schemas.microsoft.com/office/drawing/2014/main" id="{94E46721-96EA-DB25-F224-7F6FCE4B6069}"/>
              </a:ext>
            </a:extLst>
          </p:cNvPr>
          <p:cNvGrpSpPr/>
          <p:nvPr/>
        </p:nvGrpSpPr>
        <p:grpSpPr>
          <a:xfrm>
            <a:off x="3292622" y="1517778"/>
            <a:ext cx="287113" cy="273207"/>
            <a:chOff x="3292622" y="1517778"/>
            <a:chExt cx="287113" cy="273207"/>
          </a:xfrm>
          <a:noFill/>
        </p:grpSpPr>
        <p:sp>
          <p:nvSpPr>
            <p:cNvPr id="309" name="Forma livre: Forma 308">
              <a:extLst>
                <a:ext uri="{FF2B5EF4-FFF2-40B4-BE49-F238E27FC236}">
                  <a16:creationId xmlns:a16="http://schemas.microsoft.com/office/drawing/2014/main" id="{9AE9DB92-D42B-2A1F-5BCA-B1ABCC2EB8C0}"/>
                </a:ext>
              </a:extLst>
            </p:cNvPr>
            <p:cNvSpPr/>
            <p:nvPr/>
          </p:nvSpPr>
          <p:spPr>
            <a:xfrm>
              <a:off x="3473788" y="1517778"/>
              <a:ext cx="105948" cy="86088"/>
            </a:xfrm>
            <a:custGeom>
              <a:avLst/>
              <a:gdLst>
                <a:gd name="connsiteX0" fmla="*/ 54674 w 105948"/>
                <a:gd name="connsiteY0" fmla="*/ 85660 h 86088"/>
                <a:gd name="connsiteX1" fmla="*/ 79439 w 105948"/>
                <a:gd name="connsiteY1" fmla="*/ 54227 h 86088"/>
                <a:gd name="connsiteX2" fmla="*/ 99393 w 105948"/>
                <a:gd name="connsiteY2" fmla="*/ 44845 h 86088"/>
                <a:gd name="connsiteX3" fmla="*/ 96488 w 105948"/>
                <a:gd name="connsiteY3" fmla="*/ 6555 h 86088"/>
                <a:gd name="connsiteX4" fmla="*/ 58198 w 105948"/>
                <a:gd name="connsiteY4" fmla="*/ 9460 h 86088"/>
                <a:gd name="connsiteX5" fmla="*/ 51864 w 105948"/>
                <a:gd name="connsiteY5" fmla="*/ 30463 h 86088"/>
                <a:gd name="connsiteX6" fmla="*/ 0 w 105948"/>
                <a:gd name="connsiteY6" fmla="*/ 86089 h 860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5948" h="86088">
                  <a:moveTo>
                    <a:pt x="54674" y="85660"/>
                  </a:moveTo>
                  <a:lnTo>
                    <a:pt x="79439" y="54227"/>
                  </a:lnTo>
                  <a:cubicBezTo>
                    <a:pt x="86868" y="54037"/>
                    <a:pt x="94155" y="50894"/>
                    <a:pt x="99393" y="44845"/>
                  </a:cubicBezTo>
                  <a:cubicBezTo>
                    <a:pt x="109156" y="33463"/>
                    <a:pt x="107871" y="16318"/>
                    <a:pt x="96488" y="6555"/>
                  </a:cubicBezTo>
                  <a:cubicBezTo>
                    <a:pt x="85106" y="-3208"/>
                    <a:pt x="67961" y="-1922"/>
                    <a:pt x="58198" y="9460"/>
                  </a:cubicBezTo>
                  <a:cubicBezTo>
                    <a:pt x="53007" y="15461"/>
                    <a:pt x="50959" y="23128"/>
                    <a:pt x="51864" y="30463"/>
                  </a:cubicBezTo>
                  <a:lnTo>
                    <a:pt x="0" y="86089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10" name="Forma livre: Forma 309">
              <a:extLst>
                <a:ext uri="{FF2B5EF4-FFF2-40B4-BE49-F238E27FC236}">
                  <a16:creationId xmlns:a16="http://schemas.microsoft.com/office/drawing/2014/main" id="{B4AF0DA5-34EB-0859-4C56-5C5607CDBBE6}"/>
                </a:ext>
              </a:extLst>
            </p:cNvPr>
            <p:cNvSpPr/>
            <p:nvPr/>
          </p:nvSpPr>
          <p:spPr>
            <a:xfrm>
              <a:off x="3314863" y="1655968"/>
              <a:ext cx="234743" cy="135016"/>
            </a:xfrm>
            <a:custGeom>
              <a:avLst/>
              <a:gdLst>
                <a:gd name="connsiteX0" fmla="*/ 0 w 234743"/>
                <a:gd name="connsiteY0" fmla="*/ 0 h 135016"/>
                <a:gd name="connsiteX1" fmla="*/ 67580 w 234743"/>
                <a:gd name="connsiteY1" fmla="*/ 105061 h 135016"/>
                <a:gd name="connsiteX2" fmla="*/ 29861 w 234743"/>
                <a:gd name="connsiteY2" fmla="*/ 135017 h 135016"/>
                <a:gd name="connsiteX3" fmla="*/ 204883 w 234743"/>
                <a:gd name="connsiteY3" fmla="*/ 135017 h 135016"/>
                <a:gd name="connsiteX4" fmla="*/ 167116 w 234743"/>
                <a:gd name="connsiteY4" fmla="*/ 105061 h 135016"/>
                <a:gd name="connsiteX5" fmla="*/ 234744 w 234743"/>
                <a:gd name="connsiteY5" fmla="*/ 0 h 1350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34743" h="135016">
                  <a:moveTo>
                    <a:pt x="0" y="0"/>
                  </a:moveTo>
                  <a:cubicBezTo>
                    <a:pt x="0" y="47006"/>
                    <a:pt x="27670" y="86344"/>
                    <a:pt x="67580" y="105061"/>
                  </a:cubicBezTo>
                  <a:cubicBezTo>
                    <a:pt x="53150" y="111824"/>
                    <a:pt x="40338" y="123301"/>
                    <a:pt x="29861" y="135017"/>
                  </a:cubicBezTo>
                  <a:lnTo>
                    <a:pt x="204883" y="135017"/>
                  </a:lnTo>
                  <a:cubicBezTo>
                    <a:pt x="194405" y="123301"/>
                    <a:pt x="181546" y="111776"/>
                    <a:pt x="167116" y="105061"/>
                  </a:cubicBezTo>
                  <a:cubicBezTo>
                    <a:pt x="207073" y="86344"/>
                    <a:pt x="234744" y="47006"/>
                    <a:pt x="234744" y="0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11" name="Forma livre: Forma 310">
              <a:extLst>
                <a:ext uri="{FF2B5EF4-FFF2-40B4-BE49-F238E27FC236}">
                  <a16:creationId xmlns:a16="http://schemas.microsoft.com/office/drawing/2014/main" id="{5EBE77B2-B488-84F8-5E8B-C48ED0779CE5}"/>
                </a:ext>
              </a:extLst>
            </p:cNvPr>
            <p:cNvSpPr/>
            <p:nvPr/>
          </p:nvSpPr>
          <p:spPr>
            <a:xfrm>
              <a:off x="3292622" y="1626155"/>
              <a:ext cx="279177" cy="28717"/>
            </a:xfrm>
            <a:custGeom>
              <a:avLst/>
              <a:gdLst>
                <a:gd name="connsiteX0" fmla="*/ 54769 w 279177"/>
                <a:gd name="connsiteY0" fmla="*/ 28718 h 28717"/>
                <a:gd name="connsiteX1" fmla="*/ 15764 w 279177"/>
                <a:gd name="connsiteY1" fmla="*/ 28718 h 28717"/>
                <a:gd name="connsiteX2" fmla="*/ 0 w 279177"/>
                <a:gd name="connsiteY2" fmla="*/ 14383 h 28717"/>
                <a:gd name="connsiteX3" fmla="*/ 15764 w 279177"/>
                <a:gd name="connsiteY3" fmla="*/ 0 h 28717"/>
                <a:gd name="connsiteX4" fmla="*/ 263414 w 279177"/>
                <a:gd name="connsiteY4" fmla="*/ 0 h 28717"/>
                <a:gd name="connsiteX5" fmla="*/ 279178 w 279177"/>
                <a:gd name="connsiteY5" fmla="*/ 14383 h 28717"/>
                <a:gd name="connsiteX6" fmla="*/ 263414 w 279177"/>
                <a:gd name="connsiteY6" fmla="*/ 28718 h 28717"/>
                <a:gd name="connsiteX7" fmla="*/ 184071 w 279177"/>
                <a:gd name="connsiteY7" fmla="*/ 28718 h 287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79177" h="28717">
                  <a:moveTo>
                    <a:pt x="54769" y="28718"/>
                  </a:moveTo>
                  <a:lnTo>
                    <a:pt x="15764" y="28718"/>
                  </a:lnTo>
                  <a:cubicBezTo>
                    <a:pt x="7096" y="28718"/>
                    <a:pt x="0" y="22241"/>
                    <a:pt x="0" y="14383"/>
                  </a:cubicBezTo>
                  <a:cubicBezTo>
                    <a:pt x="0" y="6525"/>
                    <a:pt x="7096" y="0"/>
                    <a:pt x="15764" y="0"/>
                  </a:cubicBezTo>
                  <a:lnTo>
                    <a:pt x="263414" y="0"/>
                  </a:lnTo>
                  <a:cubicBezTo>
                    <a:pt x="272082" y="0"/>
                    <a:pt x="279178" y="6477"/>
                    <a:pt x="279178" y="14383"/>
                  </a:cubicBezTo>
                  <a:cubicBezTo>
                    <a:pt x="279178" y="22289"/>
                    <a:pt x="272082" y="28718"/>
                    <a:pt x="263414" y="28718"/>
                  </a:cubicBezTo>
                  <a:lnTo>
                    <a:pt x="184071" y="28718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312" name="Gráfico 4">
            <a:extLst>
              <a:ext uri="{FF2B5EF4-FFF2-40B4-BE49-F238E27FC236}">
                <a16:creationId xmlns:a16="http://schemas.microsoft.com/office/drawing/2014/main" id="{78B4DB0D-6572-8C35-1910-E8BAA3AAECE6}"/>
              </a:ext>
            </a:extLst>
          </p:cNvPr>
          <p:cNvGrpSpPr/>
          <p:nvPr/>
        </p:nvGrpSpPr>
        <p:grpSpPr>
          <a:xfrm>
            <a:off x="3297121" y="3113517"/>
            <a:ext cx="278155" cy="287383"/>
            <a:chOff x="3297121" y="3113517"/>
            <a:chExt cx="278155" cy="287383"/>
          </a:xfrm>
          <a:noFill/>
        </p:grpSpPr>
        <p:grpSp>
          <p:nvGrpSpPr>
            <p:cNvPr id="313" name="Gráfico 4">
              <a:extLst>
                <a:ext uri="{FF2B5EF4-FFF2-40B4-BE49-F238E27FC236}">
                  <a16:creationId xmlns:a16="http://schemas.microsoft.com/office/drawing/2014/main" id="{43640CF7-BE15-5C89-C576-EE0295D7A812}"/>
                </a:ext>
              </a:extLst>
            </p:cNvPr>
            <p:cNvGrpSpPr/>
            <p:nvPr/>
          </p:nvGrpSpPr>
          <p:grpSpPr>
            <a:xfrm>
              <a:off x="3297121" y="3113517"/>
              <a:ext cx="264260" cy="287383"/>
              <a:chOff x="3297121" y="3113517"/>
              <a:chExt cx="264260" cy="287383"/>
            </a:xfrm>
            <a:noFill/>
          </p:grpSpPr>
          <p:sp>
            <p:nvSpPr>
              <p:cNvPr id="314" name="Forma livre: Forma 313">
                <a:extLst>
                  <a:ext uri="{FF2B5EF4-FFF2-40B4-BE49-F238E27FC236}">
                    <a16:creationId xmlns:a16="http://schemas.microsoft.com/office/drawing/2014/main" id="{E96DD680-5C45-9D84-73E2-97438E939C7F}"/>
                  </a:ext>
                </a:extLst>
              </p:cNvPr>
              <p:cNvSpPr/>
              <p:nvPr/>
            </p:nvSpPr>
            <p:spPr>
              <a:xfrm>
                <a:off x="3297121" y="3113517"/>
                <a:ext cx="264260" cy="287383"/>
              </a:xfrm>
              <a:custGeom>
                <a:avLst/>
                <a:gdLst>
                  <a:gd name="connsiteX0" fmla="*/ 259534 w 264260"/>
                  <a:gd name="connsiteY0" fmla="*/ 137937 h 287383"/>
                  <a:gd name="connsiteX1" fmla="*/ 221863 w 264260"/>
                  <a:gd name="connsiteY1" fmla="*/ 23637 h 287383"/>
                  <a:gd name="connsiteX2" fmla="*/ 71082 w 264260"/>
                  <a:gd name="connsiteY2" fmla="*/ 19874 h 287383"/>
                  <a:gd name="connsiteX3" fmla="*/ 34792 w 264260"/>
                  <a:gd name="connsiteY3" fmla="*/ 103504 h 287383"/>
                  <a:gd name="connsiteX4" fmla="*/ 31125 w 264260"/>
                  <a:gd name="connsiteY4" fmla="*/ 129650 h 287383"/>
                  <a:gd name="connsiteX5" fmla="*/ 645 w 264260"/>
                  <a:gd name="connsiteY5" fmla="*/ 165512 h 287383"/>
                  <a:gd name="connsiteX6" fmla="*/ 8789 w 264260"/>
                  <a:gd name="connsiteY6" fmla="*/ 177180 h 287383"/>
                  <a:gd name="connsiteX7" fmla="*/ 27362 w 264260"/>
                  <a:gd name="connsiteY7" fmla="*/ 180990 h 287383"/>
                  <a:gd name="connsiteX8" fmla="*/ 35887 w 264260"/>
                  <a:gd name="connsiteY8" fmla="*/ 207803 h 287383"/>
                  <a:gd name="connsiteX9" fmla="*/ 33935 w 264260"/>
                  <a:gd name="connsiteY9" fmla="*/ 233853 h 287383"/>
                  <a:gd name="connsiteX10" fmla="*/ 37697 w 264260"/>
                  <a:gd name="connsiteY10" fmla="*/ 259047 h 287383"/>
                  <a:gd name="connsiteX11" fmla="*/ 101657 w 264260"/>
                  <a:gd name="connsiteY11" fmla="*/ 256523 h 287383"/>
                  <a:gd name="connsiteX12" fmla="*/ 110230 w 264260"/>
                  <a:gd name="connsiteY12" fmla="*/ 287384 h 2873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264260" h="287383">
                    <a:moveTo>
                      <a:pt x="259534" y="137937"/>
                    </a:moveTo>
                    <a:cubicBezTo>
                      <a:pt x="267964" y="107076"/>
                      <a:pt x="270155" y="59213"/>
                      <a:pt x="221863" y="23637"/>
                    </a:cubicBezTo>
                    <a:cubicBezTo>
                      <a:pt x="221863" y="23637"/>
                      <a:pt x="153616" y="-26941"/>
                      <a:pt x="71082" y="19874"/>
                    </a:cubicBezTo>
                    <a:cubicBezTo>
                      <a:pt x="71082" y="19874"/>
                      <a:pt x="25029" y="39781"/>
                      <a:pt x="34792" y="103504"/>
                    </a:cubicBezTo>
                    <a:cubicBezTo>
                      <a:pt x="34792" y="103504"/>
                      <a:pt x="36744" y="121316"/>
                      <a:pt x="31125" y="129650"/>
                    </a:cubicBezTo>
                    <a:lnTo>
                      <a:pt x="645" y="165512"/>
                    </a:lnTo>
                    <a:cubicBezTo>
                      <a:pt x="645" y="165512"/>
                      <a:pt x="-3403" y="176180"/>
                      <a:pt x="8789" y="177180"/>
                    </a:cubicBezTo>
                    <a:lnTo>
                      <a:pt x="27362" y="180990"/>
                    </a:lnTo>
                    <a:cubicBezTo>
                      <a:pt x="27362" y="180990"/>
                      <a:pt x="35125" y="196134"/>
                      <a:pt x="35887" y="207803"/>
                    </a:cubicBezTo>
                    <a:cubicBezTo>
                      <a:pt x="36649" y="219471"/>
                      <a:pt x="33935" y="233853"/>
                      <a:pt x="33935" y="233853"/>
                    </a:cubicBezTo>
                    <a:cubicBezTo>
                      <a:pt x="33935" y="233853"/>
                      <a:pt x="27315" y="251332"/>
                      <a:pt x="37697" y="259047"/>
                    </a:cubicBezTo>
                    <a:cubicBezTo>
                      <a:pt x="39745" y="259571"/>
                      <a:pt x="47365" y="268191"/>
                      <a:pt x="101657" y="256523"/>
                    </a:cubicBezTo>
                    <a:cubicBezTo>
                      <a:pt x="101657" y="256523"/>
                      <a:pt x="106896" y="259000"/>
                      <a:pt x="110230" y="287384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15" name="Forma livre: Forma 314">
                <a:extLst>
                  <a:ext uri="{FF2B5EF4-FFF2-40B4-BE49-F238E27FC236}">
                    <a16:creationId xmlns:a16="http://schemas.microsoft.com/office/drawing/2014/main" id="{511F9C66-6DC1-AD95-CCB4-565292B04D87}"/>
                  </a:ext>
                </a:extLst>
              </p:cNvPr>
              <p:cNvSpPr/>
              <p:nvPr/>
            </p:nvSpPr>
            <p:spPr>
              <a:xfrm>
                <a:off x="3335342" y="3322129"/>
                <a:ext cx="23288" cy="381"/>
              </a:xfrm>
              <a:custGeom>
                <a:avLst/>
                <a:gdLst>
                  <a:gd name="connsiteX0" fmla="*/ 0 w 23288"/>
                  <a:gd name="connsiteY0" fmla="*/ 0 h 381"/>
                  <a:gd name="connsiteX1" fmla="*/ 23289 w 23288"/>
                  <a:gd name="connsiteY1" fmla="*/ 381 h 3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3288" h="381">
                    <a:moveTo>
                      <a:pt x="0" y="0"/>
                    </a:moveTo>
                    <a:lnTo>
                      <a:pt x="23289" y="381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316" name="Gráfico 4">
              <a:extLst>
                <a:ext uri="{FF2B5EF4-FFF2-40B4-BE49-F238E27FC236}">
                  <a16:creationId xmlns:a16="http://schemas.microsoft.com/office/drawing/2014/main" id="{560AEE22-07A1-9E3F-192A-1960C7C4F6EE}"/>
                </a:ext>
              </a:extLst>
            </p:cNvPr>
            <p:cNvGrpSpPr/>
            <p:nvPr/>
          </p:nvGrpSpPr>
          <p:grpSpPr>
            <a:xfrm>
              <a:off x="3463929" y="3269408"/>
              <a:ext cx="111347" cy="129921"/>
              <a:chOff x="3463929" y="3269408"/>
              <a:chExt cx="111347" cy="129921"/>
            </a:xfrm>
            <a:noFill/>
          </p:grpSpPr>
          <p:sp>
            <p:nvSpPr>
              <p:cNvPr id="317" name="Forma livre: Forma 316">
                <a:extLst>
                  <a:ext uri="{FF2B5EF4-FFF2-40B4-BE49-F238E27FC236}">
                    <a16:creationId xmlns:a16="http://schemas.microsoft.com/office/drawing/2014/main" id="{C67464F1-2368-6622-3482-342CDEE8F90A}"/>
                  </a:ext>
                </a:extLst>
              </p:cNvPr>
              <p:cNvSpPr/>
              <p:nvPr/>
            </p:nvSpPr>
            <p:spPr>
              <a:xfrm>
                <a:off x="3492838" y="3300031"/>
                <a:ext cx="16764" cy="24479"/>
              </a:xfrm>
              <a:custGeom>
                <a:avLst/>
                <a:gdLst>
                  <a:gd name="connsiteX0" fmla="*/ 0 w 16764"/>
                  <a:gd name="connsiteY0" fmla="*/ 24479 h 24479"/>
                  <a:gd name="connsiteX1" fmla="*/ 16764 w 16764"/>
                  <a:gd name="connsiteY1" fmla="*/ 0 h 244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6764" h="24479">
                    <a:moveTo>
                      <a:pt x="0" y="24479"/>
                    </a:moveTo>
                    <a:cubicBezTo>
                      <a:pt x="0" y="13335"/>
                      <a:pt x="6953" y="3810"/>
                      <a:pt x="16764" y="0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18" name="Forma livre: Forma 317">
                <a:extLst>
                  <a:ext uri="{FF2B5EF4-FFF2-40B4-BE49-F238E27FC236}">
                    <a16:creationId xmlns:a16="http://schemas.microsoft.com/office/drawing/2014/main" id="{9B4AAE4C-ABDA-12E3-6F17-D1E04F16583A}"/>
                  </a:ext>
                </a:extLst>
              </p:cNvPr>
              <p:cNvSpPr/>
              <p:nvPr/>
            </p:nvSpPr>
            <p:spPr>
              <a:xfrm>
                <a:off x="3551750" y="3368849"/>
                <a:ext cx="23526" cy="30480"/>
              </a:xfrm>
              <a:custGeom>
                <a:avLst/>
                <a:gdLst>
                  <a:gd name="connsiteX0" fmla="*/ 0 w 23526"/>
                  <a:gd name="connsiteY0" fmla="*/ 0 h 30480"/>
                  <a:gd name="connsiteX1" fmla="*/ 23527 w 23526"/>
                  <a:gd name="connsiteY1" fmla="*/ 30480 h 304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3526" h="30480">
                    <a:moveTo>
                      <a:pt x="0" y="0"/>
                    </a:moveTo>
                    <a:lnTo>
                      <a:pt x="23527" y="3048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19" name="Forma livre: Forma 318">
                <a:extLst>
                  <a:ext uri="{FF2B5EF4-FFF2-40B4-BE49-F238E27FC236}">
                    <a16:creationId xmlns:a16="http://schemas.microsoft.com/office/drawing/2014/main" id="{21F47239-7745-35B2-6C2B-5B94C679582E}"/>
                  </a:ext>
                </a:extLst>
              </p:cNvPr>
              <p:cNvSpPr/>
              <p:nvPr/>
            </p:nvSpPr>
            <p:spPr>
              <a:xfrm>
                <a:off x="3463929" y="3269408"/>
                <a:ext cx="110156" cy="110204"/>
              </a:xfrm>
              <a:custGeom>
                <a:avLst/>
                <a:gdLst>
                  <a:gd name="connsiteX0" fmla="*/ 110157 w 110156"/>
                  <a:gd name="connsiteY0" fmla="*/ 55102 h 110204"/>
                  <a:gd name="connsiteX1" fmla="*/ 55054 w 110156"/>
                  <a:gd name="connsiteY1" fmla="*/ 110204 h 110204"/>
                  <a:gd name="connsiteX2" fmla="*/ 0 w 110156"/>
                  <a:gd name="connsiteY2" fmla="*/ 55102 h 110204"/>
                  <a:gd name="connsiteX3" fmla="*/ 55054 w 110156"/>
                  <a:gd name="connsiteY3" fmla="*/ 0 h 110204"/>
                  <a:gd name="connsiteX4" fmla="*/ 110157 w 110156"/>
                  <a:gd name="connsiteY4" fmla="*/ 55102 h 1102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10156" h="110204">
                    <a:moveTo>
                      <a:pt x="110157" y="55102"/>
                    </a:moveTo>
                    <a:cubicBezTo>
                      <a:pt x="110157" y="85535"/>
                      <a:pt x="85487" y="110204"/>
                      <a:pt x="55054" y="110204"/>
                    </a:cubicBezTo>
                    <a:cubicBezTo>
                      <a:pt x="24622" y="110204"/>
                      <a:pt x="0" y="85535"/>
                      <a:pt x="0" y="55102"/>
                    </a:cubicBezTo>
                    <a:cubicBezTo>
                      <a:pt x="0" y="24670"/>
                      <a:pt x="24670" y="0"/>
                      <a:pt x="55054" y="0"/>
                    </a:cubicBezTo>
                    <a:cubicBezTo>
                      <a:pt x="85439" y="0"/>
                      <a:pt x="110157" y="24670"/>
                      <a:pt x="110157" y="55102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320" name="Gráfico 4">
            <a:extLst>
              <a:ext uri="{FF2B5EF4-FFF2-40B4-BE49-F238E27FC236}">
                <a16:creationId xmlns:a16="http://schemas.microsoft.com/office/drawing/2014/main" id="{4DE1B27A-CE01-0879-0849-1B1BD11015E3}"/>
              </a:ext>
            </a:extLst>
          </p:cNvPr>
          <p:cNvGrpSpPr/>
          <p:nvPr/>
        </p:nvGrpSpPr>
        <p:grpSpPr>
          <a:xfrm>
            <a:off x="3355630" y="2032682"/>
            <a:ext cx="161162" cy="322564"/>
            <a:chOff x="3355630" y="2032682"/>
            <a:chExt cx="161162" cy="322564"/>
          </a:xfrm>
          <a:noFill/>
        </p:grpSpPr>
        <p:grpSp>
          <p:nvGrpSpPr>
            <p:cNvPr id="321" name="Gráfico 4">
              <a:extLst>
                <a:ext uri="{FF2B5EF4-FFF2-40B4-BE49-F238E27FC236}">
                  <a16:creationId xmlns:a16="http://schemas.microsoft.com/office/drawing/2014/main" id="{C632EB08-EF90-84E9-9148-2D1933566620}"/>
                </a:ext>
              </a:extLst>
            </p:cNvPr>
            <p:cNvGrpSpPr/>
            <p:nvPr/>
          </p:nvGrpSpPr>
          <p:grpSpPr>
            <a:xfrm>
              <a:off x="3366441" y="2062781"/>
              <a:ext cx="139493" cy="261032"/>
              <a:chOff x="3366441" y="2062781"/>
              <a:chExt cx="139493" cy="261032"/>
            </a:xfrm>
          </p:grpSpPr>
          <p:sp>
            <p:nvSpPr>
              <p:cNvPr id="322" name="Forma livre: Forma 321">
                <a:extLst>
                  <a:ext uri="{FF2B5EF4-FFF2-40B4-BE49-F238E27FC236}">
                    <a16:creationId xmlns:a16="http://schemas.microsoft.com/office/drawing/2014/main" id="{468CD2FD-DB5A-2923-B56E-38F0BBDC44CC}"/>
                  </a:ext>
                </a:extLst>
              </p:cNvPr>
              <p:cNvSpPr/>
              <p:nvPr/>
            </p:nvSpPr>
            <p:spPr>
              <a:xfrm>
                <a:off x="3366441" y="2062781"/>
                <a:ext cx="139493" cy="4762"/>
              </a:xfrm>
              <a:custGeom>
                <a:avLst/>
                <a:gdLst>
                  <a:gd name="connsiteX0" fmla="*/ 139494 w 139493"/>
                  <a:gd name="connsiteY0" fmla="*/ 0 h 4762"/>
                  <a:gd name="connsiteX1" fmla="*/ 0 w 139493"/>
                  <a:gd name="connsiteY1" fmla="*/ 0 h 47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39493" h="4762">
                    <a:moveTo>
                      <a:pt x="139494" y="0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23" name="Forma livre: Forma 322">
                <a:extLst>
                  <a:ext uri="{FF2B5EF4-FFF2-40B4-BE49-F238E27FC236}">
                    <a16:creationId xmlns:a16="http://schemas.microsoft.com/office/drawing/2014/main" id="{113C4453-6AA6-48D8-E101-1DB8F7506C57}"/>
                  </a:ext>
                </a:extLst>
              </p:cNvPr>
              <p:cNvSpPr/>
              <p:nvPr/>
            </p:nvSpPr>
            <p:spPr>
              <a:xfrm>
                <a:off x="3366441" y="2323814"/>
                <a:ext cx="139493" cy="4762"/>
              </a:xfrm>
              <a:custGeom>
                <a:avLst/>
                <a:gdLst>
                  <a:gd name="connsiteX0" fmla="*/ 139494 w 139493"/>
                  <a:gd name="connsiteY0" fmla="*/ 0 h 4762"/>
                  <a:gd name="connsiteX1" fmla="*/ 0 w 139493"/>
                  <a:gd name="connsiteY1" fmla="*/ 0 h 47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39493" h="4762">
                    <a:moveTo>
                      <a:pt x="139494" y="0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324" name="Forma livre: Forma 323">
              <a:extLst>
                <a:ext uri="{FF2B5EF4-FFF2-40B4-BE49-F238E27FC236}">
                  <a16:creationId xmlns:a16="http://schemas.microsoft.com/office/drawing/2014/main" id="{293317F1-158E-D87F-AC70-4F350DBEAED5}"/>
                </a:ext>
              </a:extLst>
            </p:cNvPr>
            <p:cNvSpPr/>
            <p:nvPr/>
          </p:nvSpPr>
          <p:spPr>
            <a:xfrm>
              <a:off x="3365822" y="2171128"/>
              <a:ext cx="141255" cy="4762"/>
            </a:xfrm>
            <a:custGeom>
              <a:avLst/>
              <a:gdLst>
                <a:gd name="connsiteX0" fmla="*/ 141256 w 141255"/>
                <a:gd name="connsiteY0" fmla="*/ 0 h 4762"/>
                <a:gd name="connsiteX1" fmla="*/ 0 w 141255"/>
                <a:gd name="connsiteY1" fmla="*/ 0 h 47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41255" h="4762">
                  <a:moveTo>
                    <a:pt x="141256" y="0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25" name="Forma livre: Forma 324">
              <a:extLst>
                <a:ext uri="{FF2B5EF4-FFF2-40B4-BE49-F238E27FC236}">
                  <a16:creationId xmlns:a16="http://schemas.microsoft.com/office/drawing/2014/main" id="{829FDE6C-E398-3105-EC37-6DA39B6FF1B4}"/>
                </a:ext>
              </a:extLst>
            </p:cNvPr>
            <p:cNvSpPr/>
            <p:nvPr/>
          </p:nvSpPr>
          <p:spPr>
            <a:xfrm>
              <a:off x="3366012" y="2215419"/>
              <a:ext cx="141493" cy="4762"/>
            </a:xfrm>
            <a:custGeom>
              <a:avLst/>
              <a:gdLst>
                <a:gd name="connsiteX0" fmla="*/ 141494 w 141493"/>
                <a:gd name="connsiteY0" fmla="*/ 0 h 4762"/>
                <a:gd name="connsiteX1" fmla="*/ 0 w 141493"/>
                <a:gd name="connsiteY1" fmla="*/ 0 h 47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41493" h="4762">
                  <a:moveTo>
                    <a:pt x="141494" y="0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326" name="Gráfico 4">
              <a:extLst>
                <a:ext uri="{FF2B5EF4-FFF2-40B4-BE49-F238E27FC236}">
                  <a16:creationId xmlns:a16="http://schemas.microsoft.com/office/drawing/2014/main" id="{982B8909-54EB-B3FA-CA69-52122C487FAE}"/>
                </a:ext>
              </a:extLst>
            </p:cNvPr>
            <p:cNvGrpSpPr/>
            <p:nvPr/>
          </p:nvGrpSpPr>
          <p:grpSpPr>
            <a:xfrm>
              <a:off x="3355630" y="2032682"/>
              <a:ext cx="161162" cy="322564"/>
              <a:chOff x="3355630" y="2032682"/>
              <a:chExt cx="161162" cy="322564"/>
            </a:xfrm>
            <a:noFill/>
          </p:grpSpPr>
          <p:sp>
            <p:nvSpPr>
              <p:cNvPr id="327" name="Forma livre: Forma 326">
                <a:extLst>
                  <a:ext uri="{FF2B5EF4-FFF2-40B4-BE49-F238E27FC236}">
                    <a16:creationId xmlns:a16="http://schemas.microsoft.com/office/drawing/2014/main" id="{7EB63F23-B988-9237-65B2-EB690ED9C19E}"/>
                  </a:ext>
                </a:extLst>
              </p:cNvPr>
              <p:cNvSpPr/>
              <p:nvPr/>
            </p:nvSpPr>
            <p:spPr>
              <a:xfrm>
                <a:off x="3355630" y="2032682"/>
                <a:ext cx="161162" cy="223504"/>
              </a:xfrm>
              <a:custGeom>
                <a:avLst/>
                <a:gdLst>
                  <a:gd name="connsiteX0" fmla="*/ 56198 w 161162"/>
                  <a:gd name="connsiteY0" fmla="*/ 223504 h 223504"/>
                  <a:gd name="connsiteX1" fmla="*/ 0 w 161162"/>
                  <a:gd name="connsiteY1" fmla="*/ 161211 h 223504"/>
                  <a:gd name="connsiteX2" fmla="*/ 161163 w 161162"/>
                  <a:gd name="connsiteY2" fmla="*/ 0 h 2235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61162" h="223504">
                    <a:moveTo>
                      <a:pt x="56198" y="223504"/>
                    </a:moveTo>
                    <a:cubicBezTo>
                      <a:pt x="25479" y="205454"/>
                      <a:pt x="0" y="186738"/>
                      <a:pt x="0" y="161211"/>
                    </a:cubicBezTo>
                    <a:cubicBezTo>
                      <a:pt x="0" y="96965"/>
                      <a:pt x="161163" y="78200"/>
                      <a:pt x="161163" y="0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28" name="Forma livre: Forma 327">
                <a:extLst>
                  <a:ext uri="{FF2B5EF4-FFF2-40B4-BE49-F238E27FC236}">
                    <a16:creationId xmlns:a16="http://schemas.microsoft.com/office/drawing/2014/main" id="{4BD2C50A-635F-DBF4-DC37-3E1992B0AC33}"/>
                  </a:ext>
                </a:extLst>
              </p:cNvPr>
              <p:cNvSpPr/>
              <p:nvPr/>
            </p:nvSpPr>
            <p:spPr>
              <a:xfrm>
                <a:off x="3460548" y="2284332"/>
                <a:ext cx="56245" cy="70913"/>
              </a:xfrm>
              <a:custGeom>
                <a:avLst/>
                <a:gdLst>
                  <a:gd name="connsiteX0" fmla="*/ 56245 w 56245"/>
                  <a:gd name="connsiteY0" fmla="*/ 70914 h 70913"/>
                  <a:gd name="connsiteX1" fmla="*/ 0 w 56245"/>
                  <a:gd name="connsiteY1" fmla="*/ 0 h 709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6245" h="70913">
                    <a:moveTo>
                      <a:pt x="56245" y="70914"/>
                    </a:moveTo>
                    <a:cubicBezTo>
                      <a:pt x="56245" y="40624"/>
                      <a:pt x="30718" y="19050"/>
                      <a:pt x="0" y="0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29" name="Forma livre: Forma 328">
                <a:extLst>
                  <a:ext uri="{FF2B5EF4-FFF2-40B4-BE49-F238E27FC236}">
                    <a16:creationId xmlns:a16="http://schemas.microsoft.com/office/drawing/2014/main" id="{CF91D603-94F9-088E-A7D4-7819BF3F15A7}"/>
                  </a:ext>
                </a:extLst>
              </p:cNvPr>
              <p:cNvSpPr/>
              <p:nvPr/>
            </p:nvSpPr>
            <p:spPr>
              <a:xfrm>
                <a:off x="3355630" y="2032682"/>
                <a:ext cx="56149" cy="71675"/>
              </a:xfrm>
              <a:custGeom>
                <a:avLst/>
                <a:gdLst>
                  <a:gd name="connsiteX0" fmla="*/ 56150 w 56149"/>
                  <a:gd name="connsiteY0" fmla="*/ 71676 h 71675"/>
                  <a:gd name="connsiteX1" fmla="*/ 0 w 56149"/>
                  <a:gd name="connsiteY1" fmla="*/ 0 h 716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6149" h="71675">
                    <a:moveTo>
                      <a:pt x="56150" y="71676"/>
                    </a:moveTo>
                    <a:cubicBezTo>
                      <a:pt x="25432" y="52769"/>
                      <a:pt x="0" y="31099"/>
                      <a:pt x="0" y="0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30" name="Forma livre: Forma 329">
                <a:extLst>
                  <a:ext uri="{FF2B5EF4-FFF2-40B4-BE49-F238E27FC236}">
                    <a16:creationId xmlns:a16="http://schemas.microsoft.com/office/drawing/2014/main" id="{11E633F9-42D6-3537-4877-47CFE5284D73}"/>
                  </a:ext>
                </a:extLst>
              </p:cNvPr>
              <p:cNvSpPr/>
              <p:nvPr/>
            </p:nvSpPr>
            <p:spPr>
              <a:xfrm>
                <a:off x="3355630" y="2132409"/>
                <a:ext cx="161162" cy="222837"/>
              </a:xfrm>
              <a:custGeom>
                <a:avLst/>
                <a:gdLst>
                  <a:gd name="connsiteX0" fmla="*/ 0 w 161162"/>
                  <a:gd name="connsiteY0" fmla="*/ 222837 h 222837"/>
                  <a:gd name="connsiteX1" fmla="*/ 161163 w 161162"/>
                  <a:gd name="connsiteY1" fmla="*/ 61484 h 222837"/>
                  <a:gd name="connsiteX2" fmla="*/ 105251 w 161162"/>
                  <a:gd name="connsiteY2" fmla="*/ 0 h 2228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61162" h="222837">
                    <a:moveTo>
                      <a:pt x="0" y="222837"/>
                    </a:moveTo>
                    <a:cubicBezTo>
                      <a:pt x="0" y="146637"/>
                      <a:pt x="161163" y="125730"/>
                      <a:pt x="161163" y="61484"/>
                    </a:cubicBezTo>
                    <a:cubicBezTo>
                      <a:pt x="161163" y="36004"/>
                      <a:pt x="135827" y="17717"/>
                      <a:pt x="105251" y="0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331" name="Gráfico 4">
            <a:extLst>
              <a:ext uri="{FF2B5EF4-FFF2-40B4-BE49-F238E27FC236}">
                <a16:creationId xmlns:a16="http://schemas.microsoft.com/office/drawing/2014/main" id="{F8E836F8-0EDB-0C6F-5951-81D9B12330A7}"/>
              </a:ext>
            </a:extLst>
          </p:cNvPr>
          <p:cNvGrpSpPr/>
          <p:nvPr/>
        </p:nvGrpSpPr>
        <p:grpSpPr>
          <a:xfrm>
            <a:off x="3297429" y="2580512"/>
            <a:ext cx="277566" cy="290137"/>
            <a:chOff x="3297429" y="2580512"/>
            <a:chExt cx="277566" cy="290137"/>
          </a:xfrm>
          <a:noFill/>
        </p:grpSpPr>
        <p:sp>
          <p:nvSpPr>
            <p:cNvPr id="332" name="Forma livre: Forma 331">
              <a:extLst>
                <a:ext uri="{FF2B5EF4-FFF2-40B4-BE49-F238E27FC236}">
                  <a16:creationId xmlns:a16="http://schemas.microsoft.com/office/drawing/2014/main" id="{C59B68BD-379B-36EB-ACBF-4C741BC0375A}"/>
                </a:ext>
              </a:extLst>
            </p:cNvPr>
            <p:cNvSpPr/>
            <p:nvPr/>
          </p:nvSpPr>
          <p:spPr>
            <a:xfrm>
              <a:off x="3358821" y="2580560"/>
              <a:ext cx="77343" cy="77342"/>
            </a:xfrm>
            <a:custGeom>
              <a:avLst/>
              <a:gdLst>
                <a:gd name="connsiteX0" fmla="*/ 38672 w 77343"/>
                <a:gd name="connsiteY0" fmla="*/ 77343 h 77342"/>
                <a:gd name="connsiteX1" fmla="*/ 0 w 77343"/>
                <a:gd name="connsiteY1" fmla="*/ 38671 h 77342"/>
                <a:gd name="connsiteX2" fmla="*/ 38672 w 77343"/>
                <a:gd name="connsiteY2" fmla="*/ 0 h 77342"/>
                <a:gd name="connsiteX3" fmla="*/ 77343 w 77343"/>
                <a:gd name="connsiteY3" fmla="*/ 38671 h 773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7343" h="77342">
                  <a:moveTo>
                    <a:pt x="38672" y="77343"/>
                  </a:moveTo>
                  <a:cubicBezTo>
                    <a:pt x="17288" y="77343"/>
                    <a:pt x="0" y="60008"/>
                    <a:pt x="0" y="38671"/>
                  </a:cubicBezTo>
                  <a:cubicBezTo>
                    <a:pt x="0" y="17335"/>
                    <a:pt x="17335" y="0"/>
                    <a:pt x="38672" y="0"/>
                  </a:cubicBezTo>
                  <a:cubicBezTo>
                    <a:pt x="60008" y="0"/>
                    <a:pt x="77343" y="17335"/>
                    <a:pt x="77343" y="38671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33" name="Forma livre: Forma 332">
              <a:extLst>
                <a:ext uri="{FF2B5EF4-FFF2-40B4-BE49-F238E27FC236}">
                  <a16:creationId xmlns:a16="http://schemas.microsoft.com/office/drawing/2014/main" id="{93052A1B-5734-B80B-6C64-90C9C24F4DA2}"/>
                </a:ext>
              </a:extLst>
            </p:cNvPr>
            <p:cNvSpPr/>
            <p:nvPr/>
          </p:nvSpPr>
          <p:spPr>
            <a:xfrm>
              <a:off x="3360082" y="2783300"/>
              <a:ext cx="76177" cy="87350"/>
            </a:xfrm>
            <a:custGeom>
              <a:avLst/>
              <a:gdLst>
                <a:gd name="connsiteX0" fmla="*/ 76177 w 76177"/>
                <a:gd name="connsiteY0" fmla="*/ 50244 h 87350"/>
                <a:gd name="connsiteX1" fmla="*/ 57699 w 76177"/>
                <a:gd name="connsiteY1" fmla="*/ 81915 h 87350"/>
                <a:gd name="connsiteX2" fmla="*/ 5454 w 76177"/>
                <a:gd name="connsiteY2" fmla="*/ 68866 h 87350"/>
                <a:gd name="connsiteX3" fmla="*/ 10026 w 76177"/>
                <a:gd name="connsiteY3" fmla="*/ 23527 h 87350"/>
                <a:gd name="connsiteX4" fmla="*/ 31648 w 76177"/>
                <a:gd name="connsiteY4" fmla="*/ 0 h 873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177" h="87350">
                  <a:moveTo>
                    <a:pt x="76177" y="50244"/>
                  </a:moveTo>
                  <a:cubicBezTo>
                    <a:pt x="75844" y="62817"/>
                    <a:pt x="69319" y="74962"/>
                    <a:pt x="57699" y="81915"/>
                  </a:cubicBezTo>
                  <a:cubicBezTo>
                    <a:pt x="39697" y="92726"/>
                    <a:pt x="16265" y="86916"/>
                    <a:pt x="5454" y="68866"/>
                  </a:cubicBezTo>
                  <a:cubicBezTo>
                    <a:pt x="-3452" y="54054"/>
                    <a:pt x="-1118" y="35623"/>
                    <a:pt x="10026" y="23527"/>
                  </a:cubicBezTo>
                  <a:lnTo>
                    <a:pt x="31648" y="0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34" name="Forma livre: Forma 333">
              <a:extLst>
                <a:ext uri="{FF2B5EF4-FFF2-40B4-BE49-F238E27FC236}">
                  <a16:creationId xmlns:a16="http://schemas.microsoft.com/office/drawing/2014/main" id="{40D29397-12F5-E496-FC7D-E033DD669557}"/>
                </a:ext>
              </a:extLst>
            </p:cNvPr>
            <p:cNvSpPr/>
            <p:nvPr/>
          </p:nvSpPr>
          <p:spPr>
            <a:xfrm>
              <a:off x="3436354" y="2580512"/>
              <a:ext cx="75782" cy="290126"/>
            </a:xfrm>
            <a:custGeom>
              <a:avLst/>
              <a:gdLst>
                <a:gd name="connsiteX0" fmla="*/ 62817 w 75782"/>
                <a:gd name="connsiteY0" fmla="*/ 223123 h 290126"/>
                <a:gd name="connsiteX1" fmla="*/ 65770 w 75782"/>
                <a:gd name="connsiteY1" fmla="*/ 226314 h 290126"/>
                <a:gd name="connsiteX2" fmla="*/ 70342 w 75782"/>
                <a:gd name="connsiteY2" fmla="*/ 271653 h 290126"/>
                <a:gd name="connsiteX3" fmla="*/ 18098 w 75782"/>
                <a:gd name="connsiteY3" fmla="*/ 284702 h 290126"/>
                <a:gd name="connsiteX4" fmla="*/ 0 w 75782"/>
                <a:gd name="connsiteY4" fmla="*/ 253032 h 290126"/>
                <a:gd name="connsiteX5" fmla="*/ 0 w 75782"/>
                <a:gd name="connsiteY5" fmla="*/ 38671 h 290126"/>
                <a:gd name="connsiteX6" fmla="*/ 38433 w 75782"/>
                <a:gd name="connsiteY6" fmla="*/ 0 h 290126"/>
                <a:gd name="connsiteX7" fmla="*/ 63579 w 75782"/>
                <a:gd name="connsiteY7" fmla="*/ 9477 h 2901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5782" h="290126">
                  <a:moveTo>
                    <a:pt x="62817" y="223123"/>
                  </a:moveTo>
                  <a:lnTo>
                    <a:pt x="65770" y="226314"/>
                  </a:lnTo>
                  <a:cubicBezTo>
                    <a:pt x="76867" y="238411"/>
                    <a:pt x="79248" y="256842"/>
                    <a:pt x="70342" y="271653"/>
                  </a:cubicBezTo>
                  <a:cubicBezTo>
                    <a:pt x="59531" y="289655"/>
                    <a:pt x="36100" y="295513"/>
                    <a:pt x="18098" y="284702"/>
                  </a:cubicBezTo>
                  <a:cubicBezTo>
                    <a:pt x="6525" y="277749"/>
                    <a:pt x="286" y="265605"/>
                    <a:pt x="0" y="253032"/>
                  </a:cubicBezTo>
                  <a:lnTo>
                    <a:pt x="0" y="38671"/>
                  </a:lnTo>
                  <a:cubicBezTo>
                    <a:pt x="0" y="17288"/>
                    <a:pt x="17050" y="0"/>
                    <a:pt x="38433" y="0"/>
                  </a:cubicBezTo>
                  <a:cubicBezTo>
                    <a:pt x="47244" y="0"/>
                    <a:pt x="56864" y="3715"/>
                    <a:pt x="63579" y="9477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35" name="Forma livre: Forma 334">
              <a:extLst>
                <a:ext uri="{FF2B5EF4-FFF2-40B4-BE49-F238E27FC236}">
                  <a16:creationId xmlns:a16="http://schemas.microsoft.com/office/drawing/2014/main" id="{ECAF86C1-54A3-032B-CA6F-BBCA814ABA7D}"/>
                </a:ext>
              </a:extLst>
            </p:cNvPr>
            <p:cNvSpPr/>
            <p:nvPr/>
          </p:nvSpPr>
          <p:spPr>
            <a:xfrm>
              <a:off x="3297429" y="2622946"/>
              <a:ext cx="61535" cy="209930"/>
            </a:xfrm>
            <a:custGeom>
              <a:avLst/>
              <a:gdLst>
                <a:gd name="connsiteX0" fmla="*/ 38675 w 61535"/>
                <a:gd name="connsiteY0" fmla="*/ 0 h 209930"/>
                <a:gd name="connsiteX1" fmla="*/ 25817 w 61535"/>
                <a:gd name="connsiteY1" fmla="*/ 45625 h 209930"/>
                <a:gd name="connsiteX2" fmla="*/ 21054 w 61535"/>
                <a:gd name="connsiteY2" fmla="*/ 142065 h 209930"/>
                <a:gd name="connsiteX3" fmla="*/ 61535 w 61535"/>
                <a:gd name="connsiteY3" fmla="*/ 209931 h 2099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1535" h="209930">
                  <a:moveTo>
                    <a:pt x="38675" y="0"/>
                  </a:moveTo>
                  <a:cubicBezTo>
                    <a:pt x="28293" y="5525"/>
                    <a:pt x="18863" y="17907"/>
                    <a:pt x="25817" y="45625"/>
                  </a:cubicBezTo>
                  <a:cubicBezTo>
                    <a:pt x="25817" y="45625"/>
                    <a:pt x="-28952" y="93250"/>
                    <a:pt x="21054" y="142065"/>
                  </a:cubicBezTo>
                  <a:cubicBezTo>
                    <a:pt x="21054" y="142065"/>
                    <a:pt x="6767" y="206359"/>
                    <a:pt x="61535" y="209931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336" name="Gráfico 4">
              <a:extLst>
                <a:ext uri="{FF2B5EF4-FFF2-40B4-BE49-F238E27FC236}">
                  <a16:creationId xmlns:a16="http://schemas.microsoft.com/office/drawing/2014/main" id="{FBFB5B3E-2300-3C33-D5B0-C4B26A85AB36}"/>
                </a:ext>
              </a:extLst>
            </p:cNvPr>
            <p:cNvGrpSpPr/>
            <p:nvPr/>
          </p:nvGrpSpPr>
          <p:grpSpPr>
            <a:xfrm>
              <a:off x="3342152" y="2594038"/>
              <a:ext cx="94121" cy="232314"/>
              <a:chOff x="3342152" y="2594038"/>
              <a:chExt cx="94121" cy="232314"/>
            </a:xfrm>
            <a:noFill/>
          </p:grpSpPr>
          <p:sp>
            <p:nvSpPr>
              <p:cNvPr id="337" name="Forma livre: Forma 336">
                <a:extLst>
                  <a:ext uri="{FF2B5EF4-FFF2-40B4-BE49-F238E27FC236}">
                    <a16:creationId xmlns:a16="http://schemas.microsoft.com/office/drawing/2014/main" id="{A64E076D-4B36-61E2-5ADE-0FB40F4866D4}"/>
                  </a:ext>
                </a:extLst>
              </p:cNvPr>
              <p:cNvSpPr/>
              <p:nvPr/>
            </p:nvSpPr>
            <p:spPr>
              <a:xfrm>
                <a:off x="3401779" y="2594038"/>
                <a:ext cx="32722" cy="36141"/>
              </a:xfrm>
              <a:custGeom>
                <a:avLst/>
                <a:gdLst>
                  <a:gd name="connsiteX0" fmla="*/ 25003 w 32722"/>
                  <a:gd name="connsiteY0" fmla="*/ 0 h 36141"/>
                  <a:gd name="connsiteX1" fmla="*/ 28432 w 32722"/>
                  <a:gd name="connsiteY1" fmla="*/ 28432 h 36141"/>
                  <a:gd name="connsiteX2" fmla="*/ 0 w 32722"/>
                  <a:gd name="connsiteY2" fmla="*/ 31813 h 361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2722" h="36141">
                    <a:moveTo>
                      <a:pt x="25003" y="0"/>
                    </a:moveTo>
                    <a:cubicBezTo>
                      <a:pt x="33766" y="6906"/>
                      <a:pt x="35290" y="19669"/>
                      <a:pt x="28432" y="28432"/>
                    </a:cubicBezTo>
                    <a:cubicBezTo>
                      <a:pt x="21527" y="37195"/>
                      <a:pt x="8763" y="38719"/>
                      <a:pt x="0" y="31813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38" name="Forma livre: Forma 337">
                <a:extLst>
                  <a:ext uri="{FF2B5EF4-FFF2-40B4-BE49-F238E27FC236}">
                    <a16:creationId xmlns:a16="http://schemas.microsoft.com/office/drawing/2014/main" id="{4C10D994-AE5B-6AAB-298C-D539E3EB835A}"/>
                  </a:ext>
                </a:extLst>
              </p:cNvPr>
              <p:cNvSpPr/>
              <p:nvPr/>
            </p:nvSpPr>
            <p:spPr>
              <a:xfrm>
                <a:off x="3357013" y="2654363"/>
                <a:ext cx="25048" cy="39878"/>
              </a:xfrm>
              <a:custGeom>
                <a:avLst/>
                <a:gdLst>
                  <a:gd name="connsiteX0" fmla="*/ 15428 w 25048"/>
                  <a:gd name="connsiteY0" fmla="*/ 39878 h 39878"/>
                  <a:gd name="connsiteX1" fmla="*/ 569 w 25048"/>
                  <a:gd name="connsiteY1" fmla="*/ 15399 h 39878"/>
                  <a:gd name="connsiteX2" fmla="*/ 25049 w 25048"/>
                  <a:gd name="connsiteY2" fmla="*/ 588 h 398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5048" h="39878">
                    <a:moveTo>
                      <a:pt x="15428" y="39878"/>
                    </a:moveTo>
                    <a:cubicBezTo>
                      <a:pt x="4618" y="37211"/>
                      <a:pt x="-2050" y="26210"/>
                      <a:pt x="569" y="15399"/>
                    </a:cubicBezTo>
                    <a:cubicBezTo>
                      <a:pt x="3236" y="4588"/>
                      <a:pt x="14238" y="-2079"/>
                      <a:pt x="25049" y="588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39" name="Forma livre: Forma 338">
                <a:extLst>
                  <a:ext uri="{FF2B5EF4-FFF2-40B4-BE49-F238E27FC236}">
                    <a16:creationId xmlns:a16="http://schemas.microsoft.com/office/drawing/2014/main" id="{F87A41F0-124A-382C-8FD1-3F7166471402}"/>
                  </a:ext>
                </a:extLst>
              </p:cNvPr>
              <p:cNvSpPr/>
              <p:nvPr/>
            </p:nvSpPr>
            <p:spPr>
              <a:xfrm>
                <a:off x="3351249" y="2700278"/>
                <a:ext cx="83677" cy="56018"/>
              </a:xfrm>
              <a:custGeom>
                <a:avLst/>
                <a:gdLst>
                  <a:gd name="connsiteX0" fmla="*/ 83677 w 83677"/>
                  <a:gd name="connsiteY0" fmla="*/ 5488 h 56018"/>
                  <a:gd name="connsiteX1" fmla="*/ 54102 w 83677"/>
                  <a:gd name="connsiteY1" fmla="*/ 6869 h 56018"/>
                  <a:gd name="connsiteX2" fmla="*/ 0 w 83677"/>
                  <a:gd name="connsiteY2" fmla="*/ 56018 h 560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3677" h="56018">
                    <a:moveTo>
                      <a:pt x="83677" y="5488"/>
                    </a:moveTo>
                    <a:cubicBezTo>
                      <a:pt x="74914" y="-2561"/>
                      <a:pt x="61484" y="-1465"/>
                      <a:pt x="54102" y="6869"/>
                    </a:cubicBezTo>
                    <a:cubicBezTo>
                      <a:pt x="54102" y="6869"/>
                      <a:pt x="23050" y="56018"/>
                      <a:pt x="0" y="56018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40" name="Forma livre: Forma 339">
                <a:extLst>
                  <a:ext uri="{FF2B5EF4-FFF2-40B4-BE49-F238E27FC236}">
                    <a16:creationId xmlns:a16="http://schemas.microsoft.com/office/drawing/2014/main" id="{45E68CC4-B297-3563-557D-04701304F5C6}"/>
                  </a:ext>
                </a:extLst>
              </p:cNvPr>
              <p:cNvSpPr/>
              <p:nvPr/>
            </p:nvSpPr>
            <p:spPr>
              <a:xfrm>
                <a:off x="3408780" y="2811090"/>
                <a:ext cx="27493" cy="15262"/>
              </a:xfrm>
              <a:custGeom>
                <a:avLst/>
                <a:gdLst>
                  <a:gd name="connsiteX0" fmla="*/ 0 w 27493"/>
                  <a:gd name="connsiteY0" fmla="*/ 7690 h 15262"/>
                  <a:gd name="connsiteX1" fmla="*/ 19812 w 27493"/>
                  <a:gd name="connsiteY1" fmla="*/ 1737 h 15262"/>
                  <a:gd name="connsiteX2" fmla="*/ 27480 w 27493"/>
                  <a:gd name="connsiteY2" fmla="*/ 15262 h 152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7493" h="15262">
                    <a:moveTo>
                      <a:pt x="0" y="7690"/>
                    </a:moveTo>
                    <a:cubicBezTo>
                      <a:pt x="3810" y="594"/>
                      <a:pt x="12763" y="-2073"/>
                      <a:pt x="19812" y="1737"/>
                    </a:cubicBezTo>
                    <a:cubicBezTo>
                      <a:pt x="24908" y="4452"/>
                      <a:pt x="27718" y="9833"/>
                      <a:pt x="27480" y="15262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41" name="Forma livre: Forma 340">
                <a:extLst>
                  <a:ext uri="{FF2B5EF4-FFF2-40B4-BE49-F238E27FC236}">
                    <a16:creationId xmlns:a16="http://schemas.microsoft.com/office/drawing/2014/main" id="{D54CAB5C-A311-DA46-89C0-1C56DBC9E6C0}"/>
                  </a:ext>
                </a:extLst>
              </p:cNvPr>
              <p:cNvSpPr/>
              <p:nvPr/>
            </p:nvSpPr>
            <p:spPr>
              <a:xfrm>
                <a:off x="3355821" y="2790634"/>
                <a:ext cx="21478" cy="7572"/>
              </a:xfrm>
              <a:custGeom>
                <a:avLst/>
                <a:gdLst>
                  <a:gd name="connsiteX0" fmla="*/ 0 w 21478"/>
                  <a:gd name="connsiteY0" fmla="*/ 0 h 7572"/>
                  <a:gd name="connsiteX1" fmla="*/ 21479 w 21478"/>
                  <a:gd name="connsiteY1" fmla="*/ 7572 h 75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1478" h="7572">
                    <a:moveTo>
                      <a:pt x="0" y="0"/>
                    </a:moveTo>
                    <a:lnTo>
                      <a:pt x="21479" y="7572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42" name="Forma livre: Forma 341">
                <a:extLst>
                  <a:ext uri="{FF2B5EF4-FFF2-40B4-BE49-F238E27FC236}">
                    <a16:creationId xmlns:a16="http://schemas.microsoft.com/office/drawing/2014/main" id="{D46C7C61-A600-2B87-4714-8E66F206D59F}"/>
                  </a:ext>
                </a:extLst>
              </p:cNvPr>
              <p:cNvSpPr/>
              <p:nvPr/>
            </p:nvSpPr>
            <p:spPr>
              <a:xfrm>
                <a:off x="3342152" y="2716244"/>
                <a:ext cx="34528" cy="25003"/>
              </a:xfrm>
              <a:custGeom>
                <a:avLst/>
                <a:gdLst>
                  <a:gd name="connsiteX0" fmla="*/ 0 w 34528"/>
                  <a:gd name="connsiteY0" fmla="*/ 0 h 25003"/>
                  <a:gd name="connsiteX1" fmla="*/ 34528 w 34528"/>
                  <a:gd name="connsiteY1" fmla="*/ 25003 h 250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4528" h="25003">
                    <a:moveTo>
                      <a:pt x="0" y="0"/>
                    </a:moveTo>
                    <a:cubicBezTo>
                      <a:pt x="0" y="0"/>
                      <a:pt x="20241" y="9525"/>
                      <a:pt x="34528" y="25003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343" name="Gráfico 4">
              <a:extLst>
                <a:ext uri="{FF2B5EF4-FFF2-40B4-BE49-F238E27FC236}">
                  <a16:creationId xmlns:a16="http://schemas.microsoft.com/office/drawing/2014/main" id="{77AFE1D4-A90C-77C5-297D-DB21CCC56198}"/>
                </a:ext>
              </a:extLst>
            </p:cNvPr>
            <p:cNvGrpSpPr/>
            <p:nvPr/>
          </p:nvGrpSpPr>
          <p:grpSpPr>
            <a:xfrm>
              <a:off x="3436297" y="2609802"/>
              <a:ext cx="138697" cy="223123"/>
              <a:chOff x="3436297" y="2609802"/>
              <a:chExt cx="138697" cy="223123"/>
            </a:xfrm>
            <a:noFill/>
          </p:grpSpPr>
          <p:sp>
            <p:nvSpPr>
              <p:cNvPr id="344" name="Forma livre: Forma 343">
                <a:extLst>
                  <a:ext uri="{FF2B5EF4-FFF2-40B4-BE49-F238E27FC236}">
                    <a16:creationId xmlns:a16="http://schemas.microsoft.com/office/drawing/2014/main" id="{930558A6-6A38-C0DA-37A8-FA21E7BEF15E}"/>
                  </a:ext>
                </a:extLst>
              </p:cNvPr>
              <p:cNvSpPr/>
              <p:nvPr/>
            </p:nvSpPr>
            <p:spPr>
              <a:xfrm>
                <a:off x="3466120" y="2637320"/>
                <a:ext cx="39290" cy="20582"/>
              </a:xfrm>
              <a:custGeom>
                <a:avLst/>
                <a:gdLst>
                  <a:gd name="connsiteX0" fmla="*/ 0 w 39290"/>
                  <a:gd name="connsiteY0" fmla="*/ 961 h 20582"/>
                  <a:gd name="connsiteX1" fmla="*/ 39291 w 39290"/>
                  <a:gd name="connsiteY1" fmla="*/ 20583 h 205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9290" h="20582">
                    <a:moveTo>
                      <a:pt x="0" y="961"/>
                    </a:moveTo>
                    <a:cubicBezTo>
                      <a:pt x="16383" y="-2992"/>
                      <a:pt x="32861" y="5581"/>
                      <a:pt x="39291" y="20583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45" name="Forma livre: Forma 344">
                <a:extLst>
                  <a:ext uri="{FF2B5EF4-FFF2-40B4-BE49-F238E27FC236}">
                    <a16:creationId xmlns:a16="http://schemas.microsoft.com/office/drawing/2014/main" id="{507AB437-C9F6-61A9-99FC-03D3A8A1BBA9}"/>
                  </a:ext>
                </a:extLst>
              </p:cNvPr>
              <p:cNvSpPr/>
              <p:nvPr/>
            </p:nvSpPr>
            <p:spPr>
              <a:xfrm>
                <a:off x="3469073" y="2778442"/>
                <a:ext cx="38126" cy="36562"/>
              </a:xfrm>
              <a:custGeom>
                <a:avLst/>
                <a:gdLst>
                  <a:gd name="connsiteX0" fmla="*/ 38052 w 38126"/>
                  <a:gd name="connsiteY0" fmla="*/ 0 h 36562"/>
                  <a:gd name="connsiteX1" fmla="*/ 23813 w 38126"/>
                  <a:gd name="connsiteY1" fmla="*/ 29146 h 36562"/>
                  <a:gd name="connsiteX2" fmla="*/ 0 w 38126"/>
                  <a:gd name="connsiteY2" fmla="*/ 36481 h 365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8126" h="36562">
                    <a:moveTo>
                      <a:pt x="38052" y="0"/>
                    </a:moveTo>
                    <a:cubicBezTo>
                      <a:pt x="38814" y="10430"/>
                      <a:pt x="33719" y="21669"/>
                      <a:pt x="23813" y="29146"/>
                    </a:cubicBezTo>
                    <a:cubicBezTo>
                      <a:pt x="16478" y="34623"/>
                      <a:pt x="7953" y="37052"/>
                      <a:pt x="0" y="36481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46" name="Forma livre: Forma 345">
                <a:extLst>
                  <a:ext uri="{FF2B5EF4-FFF2-40B4-BE49-F238E27FC236}">
                    <a16:creationId xmlns:a16="http://schemas.microsoft.com/office/drawing/2014/main" id="{713BF214-2818-C05A-0488-2C5E2FA4E95F}"/>
                  </a:ext>
                </a:extLst>
              </p:cNvPr>
              <p:cNvSpPr/>
              <p:nvPr/>
            </p:nvSpPr>
            <p:spPr>
              <a:xfrm>
                <a:off x="3436297" y="2768228"/>
                <a:ext cx="33346" cy="15262"/>
              </a:xfrm>
              <a:custGeom>
                <a:avLst/>
                <a:gdLst>
                  <a:gd name="connsiteX0" fmla="*/ 33347 w 33346"/>
                  <a:gd name="connsiteY0" fmla="*/ 7690 h 15262"/>
                  <a:gd name="connsiteX1" fmla="*/ 9153 w 33346"/>
                  <a:gd name="connsiteY1" fmla="*/ 1737 h 15262"/>
                  <a:gd name="connsiteX2" fmla="*/ 9 w 33346"/>
                  <a:gd name="connsiteY2" fmla="*/ 15262 h 152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3346" h="15262">
                    <a:moveTo>
                      <a:pt x="33347" y="7690"/>
                    </a:moveTo>
                    <a:cubicBezTo>
                      <a:pt x="29537" y="594"/>
                      <a:pt x="16250" y="-2073"/>
                      <a:pt x="9153" y="1737"/>
                    </a:cubicBezTo>
                    <a:cubicBezTo>
                      <a:pt x="4058" y="4452"/>
                      <a:pt x="-229" y="9833"/>
                      <a:pt x="9" y="15262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47" name="Forma livre: Forma 346">
                <a:extLst>
                  <a:ext uri="{FF2B5EF4-FFF2-40B4-BE49-F238E27FC236}">
                    <a16:creationId xmlns:a16="http://schemas.microsoft.com/office/drawing/2014/main" id="{42539961-EAD2-656E-F819-7FF01E3D357C}"/>
                  </a:ext>
                </a:extLst>
              </p:cNvPr>
              <p:cNvSpPr/>
              <p:nvPr/>
            </p:nvSpPr>
            <p:spPr>
              <a:xfrm>
                <a:off x="3513459" y="2668619"/>
                <a:ext cx="61535" cy="164306"/>
              </a:xfrm>
              <a:custGeom>
                <a:avLst/>
                <a:gdLst>
                  <a:gd name="connsiteX0" fmla="*/ 35719 w 61535"/>
                  <a:gd name="connsiteY0" fmla="*/ 0 h 164306"/>
                  <a:gd name="connsiteX1" fmla="*/ 40481 w 61535"/>
                  <a:gd name="connsiteY1" fmla="*/ 96441 h 164306"/>
                  <a:gd name="connsiteX2" fmla="*/ 0 w 61535"/>
                  <a:gd name="connsiteY2" fmla="*/ 164306 h 1643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61535" h="164306">
                    <a:moveTo>
                      <a:pt x="35719" y="0"/>
                    </a:moveTo>
                    <a:cubicBezTo>
                      <a:pt x="35719" y="0"/>
                      <a:pt x="90488" y="47625"/>
                      <a:pt x="40481" y="96441"/>
                    </a:cubicBezTo>
                    <a:cubicBezTo>
                      <a:pt x="40481" y="96441"/>
                      <a:pt x="54769" y="160734"/>
                      <a:pt x="0" y="164306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48" name="Forma livre: Forma 347">
                <a:extLst>
                  <a:ext uri="{FF2B5EF4-FFF2-40B4-BE49-F238E27FC236}">
                    <a16:creationId xmlns:a16="http://schemas.microsoft.com/office/drawing/2014/main" id="{80D555BF-57EF-10C0-FD17-0CAC9C55D386}"/>
                  </a:ext>
                </a:extLst>
              </p:cNvPr>
              <p:cNvSpPr/>
              <p:nvPr/>
            </p:nvSpPr>
            <p:spPr>
              <a:xfrm>
                <a:off x="3438021" y="2716720"/>
                <a:ext cx="55006" cy="20929"/>
              </a:xfrm>
              <a:custGeom>
                <a:avLst/>
                <a:gdLst>
                  <a:gd name="connsiteX0" fmla="*/ 0 w 55006"/>
                  <a:gd name="connsiteY0" fmla="*/ 19145 h 20929"/>
                  <a:gd name="connsiteX1" fmla="*/ 55007 w 55006"/>
                  <a:gd name="connsiteY1" fmla="*/ 0 h 209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5006" h="20929">
                    <a:moveTo>
                      <a:pt x="0" y="19145"/>
                    </a:moveTo>
                    <a:cubicBezTo>
                      <a:pt x="0" y="19145"/>
                      <a:pt x="38671" y="29575"/>
                      <a:pt x="55007" y="0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49" name="Forma livre: Forma 348">
                <a:extLst>
                  <a:ext uri="{FF2B5EF4-FFF2-40B4-BE49-F238E27FC236}">
                    <a16:creationId xmlns:a16="http://schemas.microsoft.com/office/drawing/2014/main" id="{5ED4CB17-04A7-ADD1-4EFD-82C710927174}"/>
                  </a:ext>
                </a:extLst>
              </p:cNvPr>
              <p:cNvSpPr/>
              <p:nvPr/>
            </p:nvSpPr>
            <p:spPr>
              <a:xfrm>
                <a:off x="3483837" y="2727531"/>
                <a:ext cx="46434" cy="10725"/>
              </a:xfrm>
              <a:custGeom>
                <a:avLst/>
                <a:gdLst>
                  <a:gd name="connsiteX0" fmla="*/ 0 w 46434"/>
                  <a:gd name="connsiteY0" fmla="*/ 2143 h 10725"/>
                  <a:gd name="connsiteX1" fmla="*/ 46434 w 46434"/>
                  <a:gd name="connsiteY1" fmla="*/ 0 h 107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6434" h="10725">
                    <a:moveTo>
                      <a:pt x="0" y="2143"/>
                    </a:moveTo>
                    <a:cubicBezTo>
                      <a:pt x="0" y="2143"/>
                      <a:pt x="25622" y="22812"/>
                      <a:pt x="46434" y="0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50" name="Forma livre: Forma 349">
                <a:extLst>
                  <a:ext uri="{FF2B5EF4-FFF2-40B4-BE49-F238E27FC236}">
                    <a16:creationId xmlns:a16="http://schemas.microsoft.com/office/drawing/2014/main" id="{D5B5CE9C-5116-4D72-D888-C6B10AE5E554}"/>
                  </a:ext>
                </a:extLst>
              </p:cNvPr>
              <p:cNvSpPr/>
              <p:nvPr/>
            </p:nvSpPr>
            <p:spPr>
              <a:xfrm>
                <a:off x="3480693" y="2609802"/>
                <a:ext cx="73485" cy="57769"/>
              </a:xfrm>
              <a:custGeom>
                <a:avLst/>
                <a:gdLst>
                  <a:gd name="connsiteX0" fmla="*/ 0 w 73485"/>
                  <a:gd name="connsiteY0" fmla="*/ 26908 h 57769"/>
                  <a:gd name="connsiteX1" fmla="*/ 36005 w 73485"/>
                  <a:gd name="connsiteY1" fmla="*/ 0 h 57769"/>
                  <a:gd name="connsiteX2" fmla="*/ 73485 w 73485"/>
                  <a:gd name="connsiteY2" fmla="*/ 37529 h 57769"/>
                  <a:gd name="connsiteX3" fmla="*/ 67532 w 73485"/>
                  <a:gd name="connsiteY3" fmla="*/ 57769 h 577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3485" h="57769">
                    <a:moveTo>
                      <a:pt x="0" y="26908"/>
                    </a:moveTo>
                    <a:cubicBezTo>
                      <a:pt x="4572" y="11335"/>
                      <a:pt x="18955" y="0"/>
                      <a:pt x="36005" y="0"/>
                    </a:cubicBezTo>
                    <a:cubicBezTo>
                      <a:pt x="56721" y="0"/>
                      <a:pt x="73485" y="16812"/>
                      <a:pt x="73485" y="37529"/>
                    </a:cubicBezTo>
                    <a:cubicBezTo>
                      <a:pt x="73485" y="45006"/>
                      <a:pt x="71295" y="51959"/>
                      <a:pt x="67532" y="57769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51" name="Forma livre: Forma 350">
                <a:extLst>
                  <a:ext uri="{FF2B5EF4-FFF2-40B4-BE49-F238E27FC236}">
                    <a16:creationId xmlns:a16="http://schemas.microsoft.com/office/drawing/2014/main" id="{BD6DE940-52B6-810D-9DF3-927B963020B9}"/>
                  </a:ext>
                </a:extLst>
              </p:cNvPr>
              <p:cNvSpPr/>
              <p:nvPr/>
            </p:nvSpPr>
            <p:spPr>
              <a:xfrm>
                <a:off x="3437021" y="2668714"/>
                <a:ext cx="34528" cy="17764"/>
              </a:xfrm>
              <a:custGeom>
                <a:avLst/>
                <a:gdLst>
                  <a:gd name="connsiteX0" fmla="*/ 0 w 34528"/>
                  <a:gd name="connsiteY0" fmla="*/ 0 h 17764"/>
                  <a:gd name="connsiteX1" fmla="*/ 34528 w 34528"/>
                  <a:gd name="connsiteY1" fmla="*/ 17764 h 177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4528" h="17764">
                    <a:moveTo>
                      <a:pt x="0" y="0"/>
                    </a:moveTo>
                    <a:cubicBezTo>
                      <a:pt x="0" y="0"/>
                      <a:pt x="21050" y="17764"/>
                      <a:pt x="34528" y="17764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352" name="Forma livre: Forma 351">
              <a:extLst>
                <a:ext uri="{FF2B5EF4-FFF2-40B4-BE49-F238E27FC236}">
                  <a16:creationId xmlns:a16="http://schemas.microsoft.com/office/drawing/2014/main" id="{F01148CB-D251-79DF-0240-EB5C1866C531}"/>
                </a:ext>
              </a:extLst>
            </p:cNvPr>
            <p:cNvSpPr/>
            <p:nvPr/>
          </p:nvSpPr>
          <p:spPr>
            <a:xfrm>
              <a:off x="3536891" y="2659570"/>
              <a:ext cx="12287" cy="9048"/>
            </a:xfrm>
            <a:custGeom>
              <a:avLst/>
              <a:gdLst>
                <a:gd name="connsiteX0" fmla="*/ 12287 w 12287"/>
                <a:gd name="connsiteY0" fmla="*/ 9049 h 9048"/>
                <a:gd name="connsiteX1" fmla="*/ 0 w 12287"/>
                <a:gd name="connsiteY1" fmla="*/ 0 h 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287" h="9048">
                  <a:moveTo>
                    <a:pt x="12287" y="9049"/>
                  </a:moveTo>
                  <a:cubicBezTo>
                    <a:pt x="12287" y="9049"/>
                    <a:pt x="3858" y="2048"/>
                    <a:pt x="0" y="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353" name="Gráfico 4">
            <a:extLst>
              <a:ext uri="{FF2B5EF4-FFF2-40B4-BE49-F238E27FC236}">
                <a16:creationId xmlns:a16="http://schemas.microsoft.com/office/drawing/2014/main" id="{BBD2E96C-1AF5-0EC7-CE3F-296F6559EE1E}"/>
              </a:ext>
            </a:extLst>
          </p:cNvPr>
          <p:cNvGrpSpPr/>
          <p:nvPr/>
        </p:nvGrpSpPr>
        <p:grpSpPr>
          <a:xfrm>
            <a:off x="3856550" y="1018984"/>
            <a:ext cx="399240" cy="223456"/>
            <a:chOff x="3856550" y="1018984"/>
            <a:chExt cx="399240" cy="223456"/>
          </a:xfrm>
          <a:noFill/>
        </p:grpSpPr>
        <p:sp>
          <p:nvSpPr>
            <p:cNvPr id="354" name="Forma livre: Forma 353">
              <a:extLst>
                <a:ext uri="{FF2B5EF4-FFF2-40B4-BE49-F238E27FC236}">
                  <a16:creationId xmlns:a16="http://schemas.microsoft.com/office/drawing/2014/main" id="{BF4E186E-1BB6-9106-199F-9A629FE92DD2}"/>
                </a:ext>
              </a:extLst>
            </p:cNvPr>
            <p:cNvSpPr/>
            <p:nvPr/>
          </p:nvSpPr>
          <p:spPr>
            <a:xfrm>
              <a:off x="4125393" y="1108233"/>
              <a:ext cx="96250" cy="60483"/>
            </a:xfrm>
            <a:custGeom>
              <a:avLst/>
              <a:gdLst>
                <a:gd name="connsiteX0" fmla="*/ 0 w 96250"/>
                <a:gd name="connsiteY0" fmla="*/ 0 h 60483"/>
                <a:gd name="connsiteX1" fmla="*/ 12573 w 96250"/>
                <a:gd name="connsiteY1" fmla="*/ 39624 h 60483"/>
                <a:gd name="connsiteX2" fmla="*/ 34576 w 96250"/>
                <a:gd name="connsiteY2" fmla="*/ 60484 h 60483"/>
                <a:gd name="connsiteX3" fmla="*/ 96250 w 96250"/>
                <a:gd name="connsiteY3" fmla="*/ 60484 h 60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6250" h="60483">
                  <a:moveTo>
                    <a:pt x="0" y="0"/>
                  </a:moveTo>
                  <a:lnTo>
                    <a:pt x="12573" y="39624"/>
                  </a:lnTo>
                  <a:cubicBezTo>
                    <a:pt x="12573" y="39624"/>
                    <a:pt x="18717" y="60484"/>
                    <a:pt x="34576" y="60484"/>
                  </a:cubicBezTo>
                  <a:lnTo>
                    <a:pt x="96250" y="60484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55" name="Forma livre: Forma 354">
              <a:extLst>
                <a:ext uri="{FF2B5EF4-FFF2-40B4-BE49-F238E27FC236}">
                  <a16:creationId xmlns:a16="http://schemas.microsoft.com/office/drawing/2014/main" id="{AAA24061-3A57-5129-3362-A030A146AE75}"/>
                </a:ext>
              </a:extLst>
            </p:cNvPr>
            <p:cNvSpPr/>
            <p:nvPr/>
          </p:nvSpPr>
          <p:spPr>
            <a:xfrm>
              <a:off x="4070815" y="1108280"/>
              <a:ext cx="4762" cy="60721"/>
            </a:xfrm>
            <a:custGeom>
              <a:avLst/>
              <a:gdLst>
                <a:gd name="connsiteX0" fmla="*/ 0 w 4762"/>
                <a:gd name="connsiteY0" fmla="*/ 0 h 60721"/>
                <a:gd name="connsiteX1" fmla="*/ 0 w 4762"/>
                <a:gd name="connsiteY1" fmla="*/ 60722 h 607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762" h="60721">
                  <a:moveTo>
                    <a:pt x="0" y="0"/>
                  </a:moveTo>
                  <a:lnTo>
                    <a:pt x="0" y="60722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56" name="Forma livre: Forma 355">
              <a:extLst>
                <a:ext uri="{FF2B5EF4-FFF2-40B4-BE49-F238E27FC236}">
                  <a16:creationId xmlns:a16="http://schemas.microsoft.com/office/drawing/2014/main" id="{68C6C161-2618-A012-8A89-7431AFF566F6}"/>
                </a:ext>
              </a:extLst>
            </p:cNvPr>
            <p:cNvSpPr/>
            <p:nvPr/>
          </p:nvSpPr>
          <p:spPr>
            <a:xfrm>
              <a:off x="4040478" y="1138618"/>
              <a:ext cx="60721" cy="4762"/>
            </a:xfrm>
            <a:custGeom>
              <a:avLst/>
              <a:gdLst>
                <a:gd name="connsiteX0" fmla="*/ 60722 w 60721"/>
                <a:gd name="connsiteY0" fmla="*/ 0 h 4762"/>
                <a:gd name="connsiteX1" fmla="*/ 0 w 60721"/>
                <a:gd name="connsiteY1" fmla="*/ 0 h 47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721" h="4762">
                  <a:moveTo>
                    <a:pt x="60722" y="0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57" name="Forma livre: Forma 356">
              <a:extLst>
                <a:ext uri="{FF2B5EF4-FFF2-40B4-BE49-F238E27FC236}">
                  <a16:creationId xmlns:a16="http://schemas.microsoft.com/office/drawing/2014/main" id="{9D6E4FB9-BC19-8E28-119F-B515AACD971E}"/>
                </a:ext>
              </a:extLst>
            </p:cNvPr>
            <p:cNvSpPr/>
            <p:nvPr/>
          </p:nvSpPr>
          <p:spPr>
            <a:xfrm>
              <a:off x="3856550" y="1071276"/>
              <a:ext cx="71961" cy="78295"/>
            </a:xfrm>
            <a:custGeom>
              <a:avLst/>
              <a:gdLst>
                <a:gd name="connsiteX0" fmla="*/ 61246 w 71961"/>
                <a:gd name="connsiteY0" fmla="*/ 71438 h 78295"/>
                <a:gd name="connsiteX1" fmla="*/ 39148 w 71961"/>
                <a:gd name="connsiteY1" fmla="*/ 78296 h 78295"/>
                <a:gd name="connsiteX2" fmla="*/ 0 w 71961"/>
                <a:gd name="connsiteY2" fmla="*/ 39148 h 78295"/>
                <a:gd name="connsiteX3" fmla="*/ 39148 w 71961"/>
                <a:gd name="connsiteY3" fmla="*/ 0 h 78295"/>
                <a:gd name="connsiteX4" fmla="*/ 71961 w 71961"/>
                <a:gd name="connsiteY4" fmla="*/ 17764 h 782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961" h="78295">
                  <a:moveTo>
                    <a:pt x="61246" y="71438"/>
                  </a:moveTo>
                  <a:cubicBezTo>
                    <a:pt x="54959" y="75771"/>
                    <a:pt x="47339" y="78296"/>
                    <a:pt x="39148" y="78296"/>
                  </a:cubicBezTo>
                  <a:cubicBezTo>
                    <a:pt x="17526" y="78296"/>
                    <a:pt x="0" y="60770"/>
                    <a:pt x="0" y="39148"/>
                  </a:cubicBezTo>
                  <a:cubicBezTo>
                    <a:pt x="0" y="17526"/>
                    <a:pt x="17526" y="0"/>
                    <a:pt x="39148" y="0"/>
                  </a:cubicBezTo>
                  <a:cubicBezTo>
                    <a:pt x="52864" y="0"/>
                    <a:pt x="64960" y="7048"/>
                    <a:pt x="71961" y="17764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58" name="Forma livre: Forma 357">
              <a:extLst>
                <a:ext uri="{FF2B5EF4-FFF2-40B4-BE49-F238E27FC236}">
                  <a16:creationId xmlns:a16="http://schemas.microsoft.com/office/drawing/2014/main" id="{7D8D08A6-BED1-3FAD-4746-8EC716BAF9F4}"/>
                </a:ext>
              </a:extLst>
            </p:cNvPr>
            <p:cNvSpPr/>
            <p:nvPr/>
          </p:nvSpPr>
          <p:spPr>
            <a:xfrm>
              <a:off x="3895031" y="1072409"/>
              <a:ext cx="329728" cy="140074"/>
            </a:xfrm>
            <a:custGeom>
              <a:avLst/>
              <a:gdLst>
                <a:gd name="connsiteX0" fmla="*/ 323326 w 329728"/>
                <a:gd name="connsiteY0" fmla="*/ 78258 h 140074"/>
                <a:gd name="connsiteX1" fmla="*/ 221694 w 329728"/>
                <a:gd name="connsiteY1" fmla="*/ 5820 h 140074"/>
                <a:gd name="connsiteX2" fmla="*/ 188119 w 329728"/>
                <a:gd name="connsiteY2" fmla="*/ 772 h 140074"/>
                <a:gd name="connsiteX3" fmla="*/ 121872 w 329728"/>
                <a:gd name="connsiteY3" fmla="*/ 37634 h 140074"/>
                <a:gd name="connsiteX4" fmla="*/ 0 w 329728"/>
                <a:gd name="connsiteY4" fmla="*/ 37634 h 140074"/>
                <a:gd name="connsiteX5" fmla="*/ 119777 w 329728"/>
                <a:gd name="connsiteY5" fmla="*/ 86354 h 140074"/>
                <a:gd name="connsiteX6" fmla="*/ 188928 w 329728"/>
                <a:gd name="connsiteY6" fmla="*/ 140075 h 140074"/>
                <a:gd name="connsiteX7" fmla="*/ 282892 w 329728"/>
                <a:gd name="connsiteY7" fmla="*/ 140075 h 140074"/>
                <a:gd name="connsiteX8" fmla="*/ 323326 w 329728"/>
                <a:gd name="connsiteY8" fmla="*/ 78258 h 1400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29728" h="140074">
                  <a:moveTo>
                    <a:pt x="323326" y="78258"/>
                  </a:moveTo>
                  <a:cubicBezTo>
                    <a:pt x="306276" y="44253"/>
                    <a:pt x="260509" y="11678"/>
                    <a:pt x="221694" y="5820"/>
                  </a:cubicBezTo>
                  <a:lnTo>
                    <a:pt x="188119" y="772"/>
                  </a:lnTo>
                  <a:cubicBezTo>
                    <a:pt x="157877" y="-3753"/>
                    <a:pt x="131921" y="12011"/>
                    <a:pt x="121872" y="37634"/>
                  </a:cubicBezTo>
                  <a:lnTo>
                    <a:pt x="0" y="37634"/>
                  </a:lnTo>
                  <a:lnTo>
                    <a:pt x="119777" y="86354"/>
                  </a:lnTo>
                  <a:cubicBezTo>
                    <a:pt x="127730" y="117120"/>
                    <a:pt x="155734" y="140075"/>
                    <a:pt x="188928" y="140075"/>
                  </a:cubicBezTo>
                  <a:lnTo>
                    <a:pt x="282892" y="140075"/>
                  </a:lnTo>
                  <a:cubicBezTo>
                    <a:pt x="322183" y="140075"/>
                    <a:pt x="340376" y="112262"/>
                    <a:pt x="323326" y="78258"/>
                  </a:cubicBez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59" name="Forma livre: Forma 358">
              <a:extLst>
                <a:ext uri="{FF2B5EF4-FFF2-40B4-BE49-F238E27FC236}">
                  <a16:creationId xmlns:a16="http://schemas.microsoft.com/office/drawing/2014/main" id="{3B7A1D71-1954-8DB9-EB7F-AAF8F3707A42}"/>
                </a:ext>
              </a:extLst>
            </p:cNvPr>
            <p:cNvSpPr/>
            <p:nvPr/>
          </p:nvSpPr>
          <p:spPr>
            <a:xfrm>
              <a:off x="4035715" y="1229010"/>
              <a:ext cx="200787" cy="13430"/>
            </a:xfrm>
            <a:custGeom>
              <a:avLst/>
              <a:gdLst>
                <a:gd name="connsiteX0" fmla="*/ 0 w 200787"/>
                <a:gd name="connsiteY0" fmla="*/ 13430 h 13430"/>
                <a:gd name="connsiteX1" fmla="*/ 170355 w 200787"/>
                <a:gd name="connsiteY1" fmla="*/ 13430 h 13430"/>
                <a:gd name="connsiteX2" fmla="*/ 200787 w 200787"/>
                <a:gd name="connsiteY2" fmla="*/ 0 h 134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00787" h="13430">
                  <a:moveTo>
                    <a:pt x="0" y="13430"/>
                  </a:moveTo>
                  <a:lnTo>
                    <a:pt x="170355" y="13430"/>
                  </a:lnTo>
                  <a:cubicBezTo>
                    <a:pt x="188690" y="13430"/>
                    <a:pt x="200787" y="0"/>
                    <a:pt x="200787" y="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60" name="Forma livre: Forma 359">
              <a:extLst>
                <a:ext uri="{FF2B5EF4-FFF2-40B4-BE49-F238E27FC236}">
                  <a16:creationId xmlns:a16="http://schemas.microsoft.com/office/drawing/2014/main" id="{619A4479-2556-2905-02C0-81699379706E}"/>
                </a:ext>
              </a:extLst>
            </p:cNvPr>
            <p:cNvSpPr/>
            <p:nvPr/>
          </p:nvSpPr>
          <p:spPr>
            <a:xfrm>
              <a:off x="4096104" y="1018984"/>
              <a:ext cx="4762" cy="54911"/>
            </a:xfrm>
            <a:custGeom>
              <a:avLst/>
              <a:gdLst>
                <a:gd name="connsiteX0" fmla="*/ 0 w 4762"/>
                <a:gd name="connsiteY0" fmla="*/ 54912 h 54911"/>
                <a:gd name="connsiteX1" fmla="*/ 0 w 4762"/>
                <a:gd name="connsiteY1" fmla="*/ 0 h 549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762" h="54911">
                  <a:moveTo>
                    <a:pt x="0" y="54912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361" name="Gráfico 4">
              <a:extLst>
                <a:ext uri="{FF2B5EF4-FFF2-40B4-BE49-F238E27FC236}">
                  <a16:creationId xmlns:a16="http://schemas.microsoft.com/office/drawing/2014/main" id="{CB5D49E7-5C99-65E6-F4E3-B9080F9BFF57}"/>
                </a:ext>
              </a:extLst>
            </p:cNvPr>
            <p:cNvGrpSpPr/>
            <p:nvPr/>
          </p:nvGrpSpPr>
          <p:grpSpPr>
            <a:xfrm>
              <a:off x="3936465" y="1037272"/>
              <a:ext cx="319325" cy="4762"/>
              <a:chOff x="3936465" y="1037272"/>
              <a:chExt cx="319325" cy="4762"/>
            </a:xfrm>
          </p:grpSpPr>
          <p:sp>
            <p:nvSpPr>
              <p:cNvPr id="362" name="Forma livre: Forma 361">
                <a:extLst>
                  <a:ext uri="{FF2B5EF4-FFF2-40B4-BE49-F238E27FC236}">
                    <a16:creationId xmlns:a16="http://schemas.microsoft.com/office/drawing/2014/main" id="{68304552-68CE-8440-ADE6-31158FFA8DA2}"/>
                  </a:ext>
                </a:extLst>
              </p:cNvPr>
              <p:cNvSpPr/>
              <p:nvPr/>
            </p:nvSpPr>
            <p:spPr>
              <a:xfrm>
                <a:off x="3936465" y="1037272"/>
                <a:ext cx="134350" cy="4762"/>
              </a:xfrm>
              <a:custGeom>
                <a:avLst/>
                <a:gdLst>
                  <a:gd name="connsiteX0" fmla="*/ 0 w 134350"/>
                  <a:gd name="connsiteY0" fmla="*/ 0 h 4762"/>
                  <a:gd name="connsiteX1" fmla="*/ 134350 w 134350"/>
                  <a:gd name="connsiteY1" fmla="*/ 0 h 47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34350" h="4762">
                    <a:moveTo>
                      <a:pt x="0" y="0"/>
                    </a:moveTo>
                    <a:lnTo>
                      <a:pt x="13435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63" name="Forma livre: Forma 362">
                <a:extLst>
                  <a:ext uri="{FF2B5EF4-FFF2-40B4-BE49-F238E27FC236}">
                    <a16:creationId xmlns:a16="http://schemas.microsoft.com/office/drawing/2014/main" id="{1A3D341A-AFF3-4240-0273-68E7621876A1}"/>
                  </a:ext>
                </a:extLst>
              </p:cNvPr>
              <p:cNvSpPr/>
              <p:nvPr/>
            </p:nvSpPr>
            <p:spPr>
              <a:xfrm>
                <a:off x="4121440" y="1037272"/>
                <a:ext cx="134350" cy="4762"/>
              </a:xfrm>
              <a:custGeom>
                <a:avLst/>
                <a:gdLst>
                  <a:gd name="connsiteX0" fmla="*/ 0 w 134350"/>
                  <a:gd name="connsiteY0" fmla="*/ 0 h 4762"/>
                  <a:gd name="connsiteX1" fmla="*/ 134350 w 134350"/>
                  <a:gd name="connsiteY1" fmla="*/ 0 h 47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34350" h="4762">
                    <a:moveTo>
                      <a:pt x="0" y="0"/>
                    </a:moveTo>
                    <a:lnTo>
                      <a:pt x="13435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364" name="Gráfico 4">
            <a:extLst>
              <a:ext uri="{FF2B5EF4-FFF2-40B4-BE49-F238E27FC236}">
                <a16:creationId xmlns:a16="http://schemas.microsoft.com/office/drawing/2014/main" id="{DD00215E-617D-7153-9E84-4EE444C361B6}"/>
              </a:ext>
            </a:extLst>
          </p:cNvPr>
          <p:cNvGrpSpPr/>
          <p:nvPr/>
        </p:nvGrpSpPr>
        <p:grpSpPr>
          <a:xfrm>
            <a:off x="3915653" y="1522332"/>
            <a:ext cx="280987" cy="280035"/>
            <a:chOff x="3915653" y="1522332"/>
            <a:chExt cx="280987" cy="280035"/>
          </a:xfrm>
          <a:noFill/>
        </p:grpSpPr>
        <p:sp>
          <p:nvSpPr>
            <p:cNvPr id="365" name="Forma livre: Forma 364">
              <a:extLst>
                <a:ext uri="{FF2B5EF4-FFF2-40B4-BE49-F238E27FC236}">
                  <a16:creationId xmlns:a16="http://schemas.microsoft.com/office/drawing/2014/main" id="{1A92FE28-547B-4EED-9DB2-D46A6583D8A5}"/>
                </a:ext>
              </a:extLst>
            </p:cNvPr>
            <p:cNvSpPr/>
            <p:nvPr/>
          </p:nvSpPr>
          <p:spPr>
            <a:xfrm>
              <a:off x="3991091" y="1587245"/>
              <a:ext cx="130159" cy="4762"/>
            </a:xfrm>
            <a:custGeom>
              <a:avLst/>
              <a:gdLst>
                <a:gd name="connsiteX0" fmla="*/ 0 w 130159"/>
                <a:gd name="connsiteY0" fmla="*/ 0 h 4762"/>
                <a:gd name="connsiteX1" fmla="*/ 130159 w 130159"/>
                <a:gd name="connsiteY1" fmla="*/ 0 h 47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30159" h="4762">
                  <a:moveTo>
                    <a:pt x="0" y="0"/>
                  </a:moveTo>
                  <a:lnTo>
                    <a:pt x="130159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66" name="Forma livre: Forma 365">
              <a:extLst>
                <a:ext uri="{FF2B5EF4-FFF2-40B4-BE49-F238E27FC236}">
                  <a16:creationId xmlns:a16="http://schemas.microsoft.com/office/drawing/2014/main" id="{B4D1D35A-0015-A786-B3AF-9E9A21432C4D}"/>
                </a:ext>
              </a:extLst>
            </p:cNvPr>
            <p:cNvSpPr/>
            <p:nvPr/>
          </p:nvSpPr>
          <p:spPr>
            <a:xfrm>
              <a:off x="4007569" y="1615582"/>
              <a:ext cx="97202" cy="4762"/>
            </a:xfrm>
            <a:custGeom>
              <a:avLst/>
              <a:gdLst>
                <a:gd name="connsiteX0" fmla="*/ 0 w 97202"/>
                <a:gd name="connsiteY0" fmla="*/ 0 h 4762"/>
                <a:gd name="connsiteX1" fmla="*/ 97203 w 97202"/>
                <a:gd name="connsiteY1" fmla="*/ 0 h 47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7202" h="4762">
                  <a:moveTo>
                    <a:pt x="0" y="0"/>
                  </a:moveTo>
                  <a:lnTo>
                    <a:pt x="97203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67" name="Forma livre: Forma 366">
              <a:extLst>
                <a:ext uri="{FF2B5EF4-FFF2-40B4-BE49-F238E27FC236}">
                  <a16:creationId xmlns:a16="http://schemas.microsoft.com/office/drawing/2014/main" id="{2E0D754A-D5CE-9F11-0986-331197D1F65E}"/>
                </a:ext>
              </a:extLst>
            </p:cNvPr>
            <p:cNvSpPr/>
            <p:nvPr/>
          </p:nvSpPr>
          <p:spPr>
            <a:xfrm>
              <a:off x="4008378" y="1649015"/>
              <a:ext cx="95630" cy="95631"/>
            </a:xfrm>
            <a:custGeom>
              <a:avLst/>
              <a:gdLst>
                <a:gd name="connsiteX0" fmla="*/ 95631 w 95630"/>
                <a:gd name="connsiteY0" fmla="*/ 47815 h 95631"/>
                <a:gd name="connsiteX1" fmla="*/ 47815 w 95630"/>
                <a:gd name="connsiteY1" fmla="*/ 95631 h 95631"/>
                <a:gd name="connsiteX2" fmla="*/ 0 w 95630"/>
                <a:gd name="connsiteY2" fmla="*/ 47815 h 95631"/>
                <a:gd name="connsiteX3" fmla="*/ 47815 w 95630"/>
                <a:gd name="connsiteY3" fmla="*/ 0 h 95631"/>
                <a:gd name="connsiteX4" fmla="*/ 95631 w 95630"/>
                <a:gd name="connsiteY4" fmla="*/ 47815 h 956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5630" h="95631">
                  <a:moveTo>
                    <a:pt x="95631" y="47815"/>
                  </a:moveTo>
                  <a:cubicBezTo>
                    <a:pt x="95631" y="74247"/>
                    <a:pt x="74200" y="95631"/>
                    <a:pt x="47815" y="95631"/>
                  </a:cubicBezTo>
                  <a:cubicBezTo>
                    <a:pt x="21431" y="95631"/>
                    <a:pt x="0" y="74200"/>
                    <a:pt x="0" y="47815"/>
                  </a:cubicBezTo>
                  <a:cubicBezTo>
                    <a:pt x="0" y="21431"/>
                    <a:pt x="21431" y="0"/>
                    <a:pt x="47815" y="0"/>
                  </a:cubicBezTo>
                  <a:cubicBezTo>
                    <a:pt x="74200" y="0"/>
                    <a:pt x="95631" y="21431"/>
                    <a:pt x="95631" y="47815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368" name="Gráfico 4">
              <a:extLst>
                <a:ext uri="{FF2B5EF4-FFF2-40B4-BE49-F238E27FC236}">
                  <a16:creationId xmlns:a16="http://schemas.microsoft.com/office/drawing/2014/main" id="{41D84EA0-01BA-9D9A-75E2-E1DAA6D1727C}"/>
                </a:ext>
              </a:extLst>
            </p:cNvPr>
            <p:cNvGrpSpPr/>
            <p:nvPr/>
          </p:nvGrpSpPr>
          <p:grpSpPr>
            <a:xfrm>
              <a:off x="3985280" y="1723262"/>
              <a:ext cx="141732" cy="79105"/>
              <a:chOff x="3985280" y="1723262"/>
              <a:chExt cx="141732" cy="79105"/>
            </a:xfrm>
            <a:noFill/>
          </p:grpSpPr>
          <p:sp>
            <p:nvSpPr>
              <p:cNvPr id="369" name="Forma livre: Forma 368">
                <a:extLst>
                  <a:ext uri="{FF2B5EF4-FFF2-40B4-BE49-F238E27FC236}">
                    <a16:creationId xmlns:a16="http://schemas.microsoft.com/office/drawing/2014/main" id="{205125BC-AAEA-5BF0-C427-8D51D9165A61}"/>
                  </a:ext>
                </a:extLst>
              </p:cNvPr>
              <p:cNvSpPr/>
              <p:nvPr/>
            </p:nvSpPr>
            <p:spPr>
              <a:xfrm>
                <a:off x="4065147" y="1723262"/>
                <a:ext cx="61864" cy="79105"/>
              </a:xfrm>
              <a:custGeom>
                <a:avLst/>
                <a:gdLst>
                  <a:gd name="connsiteX0" fmla="*/ 0 w 61864"/>
                  <a:gd name="connsiteY0" fmla="*/ 22479 h 79105"/>
                  <a:gd name="connsiteX1" fmla="*/ 26670 w 61864"/>
                  <a:gd name="connsiteY1" fmla="*/ 79105 h 79105"/>
                  <a:gd name="connsiteX2" fmla="*/ 34004 w 61864"/>
                  <a:gd name="connsiteY2" fmla="*/ 49292 h 79105"/>
                  <a:gd name="connsiteX3" fmla="*/ 61865 w 61864"/>
                  <a:gd name="connsiteY3" fmla="*/ 61722 h 79105"/>
                  <a:gd name="connsiteX4" fmla="*/ 32290 w 61864"/>
                  <a:gd name="connsiteY4" fmla="*/ 0 h 791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1864" h="79105">
                    <a:moveTo>
                      <a:pt x="0" y="22479"/>
                    </a:moveTo>
                    <a:lnTo>
                      <a:pt x="26670" y="79105"/>
                    </a:lnTo>
                    <a:lnTo>
                      <a:pt x="34004" y="49292"/>
                    </a:lnTo>
                    <a:lnTo>
                      <a:pt x="61865" y="61722"/>
                    </a:lnTo>
                    <a:lnTo>
                      <a:pt x="32290" y="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70" name="Forma livre: Forma 369">
                <a:extLst>
                  <a:ext uri="{FF2B5EF4-FFF2-40B4-BE49-F238E27FC236}">
                    <a16:creationId xmlns:a16="http://schemas.microsoft.com/office/drawing/2014/main" id="{A4394839-4852-B780-5BC1-86F826B393AB}"/>
                  </a:ext>
                </a:extLst>
              </p:cNvPr>
              <p:cNvSpPr/>
              <p:nvPr/>
            </p:nvSpPr>
            <p:spPr>
              <a:xfrm>
                <a:off x="3985280" y="1742074"/>
                <a:ext cx="61912" cy="60293"/>
              </a:xfrm>
              <a:custGeom>
                <a:avLst/>
                <a:gdLst>
                  <a:gd name="connsiteX0" fmla="*/ 61913 w 61912"/>
                  <a:gd name="connsiteY0" fmla="*/ 3667 h 60293"/>
                  <a:gd name="connsiteX1" fmla="*/ 35195 w 61912"/>
                  <a:gd name="connsiteY1" fmla="*/ 60293 h 60293"/>
                  <a:gd name="connsiteX2" fmla="*/ 27908 w 61912"/>
                  <a:gd name="connsiteY2" fmla="*/ 30480 h 60293"/>
                  <a:gd name="connsiteX3" fmla="*/ 0 w 61912"/>
                  <a:gd name="connsiteY3" fmla="*/ 42910 h 60293"/>
                  <a:gd name="connsiteX4" fmla="*/ 20907 w 61912"/>
                  <a:gd name="connsiteY4" fmla="*/ 0 h 602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1912" h="60293">
                    <a:moveTo>
                      <a:pt x="61913" y="3667"/>
                    </a:moveTo>
                    <a:lnTo>
                      <a:pt x="35195" y="60293"/>
                    </a:lnTo>
                    <a:lnTo>
                      <a:pt x="27908" y="30480"/>
                    </a:lnTo>
                    <a:lnTo>
                      <a:pt x="0" y="42910"/>
                    </a:lnTo>
                    <a:lnTo>
                      <a:pt x="20907" y="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371" name="Forma livre: Forma 370">
              <a:extLst>
                <a:ext uri="{FF2B5EF4-FFF2-40B4-BE49-F238E27FC236}">
                  <a16:creationId xmlns:a16="http://schemas.microsoft.com/office/drawing/2014/main" id="{40052277-C1FF-5FA5-1C62-F83A497419CE}"/>
                </a:ext>
              </a:extLst>
            </p:cNvPr>
            <p:cNvSpPr/>
            <p:nvPr/>
          </p:nvSpPr>
          <p:spPr>
            <a:xfrm>
              <a:off x="4033715" y="1674399"/>
              <a:ext cx="44862" cy="44862"/>
            </a:xfrm>
            <a:custGeom>
              <a:avLst/>
              <a:gdLst>
                <a:gd name="connsiteX0" fmla="*/ 44863 w 44862"/>
                <a:gd name="connsiteY0" fmla="*/ 22431 h 44862"/>
                <a:gd name="connsiteX1" fmla="*/ 22431 w 44862"/>
                <a:gd name="connsiteY1" fmla="*/ 44863 h 44862"/>
                <a:gd name="connsiteX2" fmla="*/ 0 w 44862"/>
                <a:gd name="connsiteY2" fmla="*/ 22431 h 44862"/>
                <a:gd name="connsiteX3" fmla="*/ 22431 w 44862"/>
                <a:gd name="connsiteY3" fmla="*/ 0 h 44862"/>
                <a:gd name="connsiteX4" fmla="*/ 44863 w 44862"/>
                <a:gd name="connsiteY4" fmla="*/ 22431 h 448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862" h="44862">
                  <a:moveTo>
                    <a:pt x="44863" y="22431"/>
                  </a:moveTo>
                  <a:cubicBezTo>
                    <a:pt x="44863" y="34814"/>
                    <a:pt x="34814" y="44863"/>
                    <a:pt x="22431" y="44863"/>
                  </a:cubicBezTo>
                  <a:cubicBezTo>
                    <a:pt x="10049" y="44863"/>
                    <a:pt x="0" y="34814"/>
                    <a:pt x="0" y="22431"/>
                  </a:cubicBezTo>
                  <a:cubicBezTo>
                    <a:pt x="0" y="10049"/>
                    <a:pt x="10049" y="0"/>
                    <a:pt x="22431" y="0"/>
                  </a:cubicBezTo>
                  <a:cubicBezTo>
                    <a:pt x="34814" y="0"/>
                    <a:pt x="44863" y="10049"/>
                    <a:pt x="44863" y="22431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72" name="Forma livre: Forma 371">
              <a:extLst>
                <a:ext uri="{FF2B5EF4-FFF2-40B4-BE49-F238E27FC236}">
                  <a16:creationId xmlns:a16="http://schemas.microsoft.com/office/drawing/2014/main" id="{9B641577-928D-F54D-78A8-01B041DDCACE}"/>
                </a:ext>
              </a:extLst>
            </p:cNvPr>
            <p:cNvSpPr/>
            <p:nvPr/>
          </p:nvSpPr>
          <p:spPr>
            <a:xfrm>
              <a:off x="3915653" y="1522332"/>
              <a:ext cx="280987" cy="206359"/>
            </a:xfrm>
            <a:custGeom>
              <a:avLst/>
              <a:gdLst>
                <a:gd name="connsiteX0" fmla="*/ 72723 w 280987"/>
                <a:gd name="connsiteY0" fmla="*/ 206359 h 206359"/>
                <a:gd name="connsiteX1" fmla="*/ 0 w 280987"/>
                <a:gd name="connsiteY1" fmla="*/ 206359 h 206359"/>
                <a:gd name="connsiteX2" fmla="*/ 0 w 280987"/>
                <a:gd name="connsiteY2" fmla="*/ 0 h 206359"/>
                <a:gd name="connsiteX3" fmla="*/ 280988 w 280987"/>
                <a:gd name="connsiteY3" fmla="*/ 0 h 206359"/>
                <a:gd name="connsiteX4" fmla="*/ 280988 w 280987"/>
                <a:gd name="connsiteY4" fmla="*/ 206359 h 206359"/>
                <a:gd name="connsiteX5" fmla="*/ 209740 w 280987"/>
                <a:gd name="connsiteY5" fmla="*/ 206359 h 2063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80987" h="206359">
                  <a:moveTo>
                    <a:pt x="72723" y="206359"/>
                  </a:moveTo>
                  <a:lnTo>
                    <a:pt x="0" y="206359"/>
                  </a:lnTo>
                  <a:lnTo>
                    <a:pt x="0" y="0"/>
                  </a:lnTo>
                  <a:lnTo>
                    <a:pt x="280988" y="0"/>
                  </a:lnTo>
                  <a:lnTo>
                    <a:pt x="280988" y="206359"/>
                  </a:lnTo>
                  <a:lnTo>
                    <a:pt x="209740" y="206359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373" name="Gráfico 4">
              <a:extLst>
                <a:ext uri="{FF2B5EF4-FFF2-40B4-BE49-F238E27FC236}">
                  <a16:creationId xmlns:a16="http://schemas.microsoft.com/office/drawing/2014/main" id="{345159B1-5EF9-7A0D-35FE-FFF86F4AC5DF}"/>
                </a:ext>
              </a:extLst>
            </p:cNvPr>
            <p:cNvGrpSpPr/>
            <p:nvPr/>
          </p:nvGrpSpPr>
          <p:grpSpPr>
            <a:xfrm>
              <a:off x="3941370" y="1547002"/>
              <a:ext cx="229600" cy="157019"/>
              <a:chOff x="3941370" y="1547002"/>
              <a:chExt cx="229600" cy="157019"/>
            </a:xfrm>
            <a:noFill/>
          </p:grpSpPr>
          <p:grpSp>
            <p:nvGrpSpPr>
              <p:cNvPr id="374" name="Gráfico 4">
                <a:extLst>
                  <a:ext uri="{FF2B5EF4-FFF2-40B4-BE49-F238E27FC236}">
                    <a16:creationId xmlns:a16="http://schemas.microsoft.com/office/drawing/2014/main" id="{CC1F3D8A-E5FD-0C41-8A39-93DA27D4B594}"/>
                  </a:ext>
                </a:extLst>
              </p:cNvPr>
              <p:cNvGrpSpPr/>
              <p:nvPr/>
            </p:nvGrpSpPr>
            <p:grpSpPr>
              <a:xfrm>
                <a:off x="3941370" y="1547002"/>
                <a:ext cx="229600" cy="34718"/>
                <a:chOff x="3941370" y="1547002"/>
                <a:chExt cx="229600" cy="34718"/>
              </a:xfrm>
              <a:noFill/>
            </p:grpSpPr>
            <p:sp>
              <p:nvSpPr>
                <p:cNvPr id="375" name="Forma livre: Forma 374">
                  <a:extLst>
                    <a:ext uri="{FF2B5EF4-FFF2-40B4-BE49-F238E27FC236}">
                      <a16:creationId xmlns:a16="http://schemas.microsoft.com/office/drawing/2014/main" id="{60BFE5F7-4104-0B5E-3C12-0130E8C65ED1}"/>
                    </a:ext>
                  </a:extLst>
                </p:cNvPr>
                <p:cNvSpPr/>
                <p:nvPr/>
              </p:nvSpPr>
              <p:spPr>
                <a:xfrm>
                  <a:off x="3941370" y="1547002"/>
                  <a:ext cx="34718" cy="34718"/>
                </a:xfrm>
                <a:custGeom>
                  <a:avLst/>
                  <a:gdLst>
                    <a:gd name="connsiteX0" fmla="*/ 0 w 34718"/>
                    <a:gd name="connsiteY0" fmla="*/ 34719 h 34718"/>
                    <a:gd name="connsiteX1" fmla="*/ 0 w 34718"/>
                    <a:gd name="connsiteY1" fmla="*/ 0 h 34718"/>
                    <a:gd name="connsiteX2" fmla="*/ 34719 w 34718"/>
                    <a:gd name="connsiteY2" fmla="*/ 0 h 3471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34718" h="34718">
                      <a:moveTo>
                        <a:pt x="0" y="34719"/>
                      </a:moveTo>
                      <a:lnTo>
                        <a:pt x="0" y="0"/>
                      </a:lnTo>
                      <a:lnTo>
                        <a:pt x="34719" y="0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376" name="Forma livre: Forma 375">
                  <a:extLst>
                    <a:ext uri="{FF2B5EF4-FFF2-40B4-BE49-F238E27FC236}">
                      <a16:creationId xmlns:a16="http://schemas.microsoft.com/office/drawing/2014/main" id="{63A445A9-0C4E-18BB-688D-5331E7A9CB6A}"/>
                    </a:ext>
                  </a:extLst>
                </p:cNvPr>
                <p:cNvSpPr/>
                <p:nvPr/>
              </p:nvSpPr>
              <p:spPr>
                <a:xfrm>
                  <a:off x="4136251" y="1547002"/>
                  <a:ext cx="34718" cy="34718"/>
                </a:xfrm>
                <a:custGeom>
                  <a:avLst/>
                  <a:gdLst>
                    <a:gd name="connsiteX0" fmla="*/ 0 w 34718"/>
                    <a:gd name="connsiteY0" fmla="*/ 0 h 34718"/>
                    <a:gd name="connsiteX1" fmla="*/ 34719 w 34718"/>
                    <a:gd name="connsiteY1" fmla="*/ 0 h 34718"/>
                    <a:gd name="connsiteX2" fmla="*/ 34719 w 34718"/>
                    <a:gd name="connsiteY2" fmla="*/ 34719 h 3471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34718" h="34718">
                      <a:moveTo>
                        <a:pt x="0" y="0"/>
                      </a:moveTo>
                      <a:lnTo>
                        <a:pt x="34719" y="0"/>
                      </a:lnTo>
                      <a:lnTo>
                        <a:pt x="34719" y="34719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377" name="Gráfico 4">
                <a:extLst>
                  <a:ext uri="{FF2B5EF4-FFF2-40B4-BE49-F238E27FC236}">
                    <a16:creationId xmlns:a16="http://schemas.microsoft.com/office/drawing/2014/main" id="{0BF8273D-160C-DDED-5A71-7E7F1473AAFC}"/>
                  </a:ext>
                </a:extLst>
              </p:cNvPr>
              <p:cNvGrpSpPr/>
              <p:nvPr/>
            </p:nvGrpSpPr>
            <p:grpSpPr>
              <a:xfrm>
                <a:off x="3941370" y="1669303"/>
                <a:ext cx="229600" cy="34718"/>
                <a:chOff x="3941370" y="1669303"/>
                <a:chExt cx="229600" cy="34718"/>
              </a:xfrm>
              <a:noFill/>
            </p:grpSpPr>
            <p:sp>
              <p:nvSpPr>
                <p:cNvPr id="378" name="Forma livre: Forma 377">
                  <a:extLst>
                    <a:ext uri="{FF2B5EF4-FFF2-40B4-BE49-F238E27FC236}">
                      <a16:creationId xmlns:a16="http://schemas.microsoft.com/office/drawing/2014/main" id="{25C630FD-DF33-CD00-30D3-ED8EFF37E16E}"/>
                    </a:ext>
                  </a:extLst>
                </p:cNvPr>
                <p:cNvSpPr/>
                <p:nvPr/>
              </p:nvSpPr>
              <p:spPr>
                <a:xfrm>
                  <a:off x="4136251" y="1669303"/>
                  <a:ext cx="34718" cy="34718"/>
                </a:xfrm>
                <a:custGeom>
                  <a:avLst/>
                  <a:gdLst>
                    <a:gd name="connsiteX0" fmla="*/ 34719 w 34718"/>
                    <a:gd name="connsiteY0" fmla="*/ 0 h 34718"/>
                    <a:gd name="connsiteX1" fmla="*/ 34719 w 34718"/>
                    <a:gd name="connsiteY1" fmla="*/ 34719 h 34718"/>
                    <a:gd name="connsiteX2" fmla="*/ 0 w 34718"/>
                    <a:gd name="connsiteY2" fmla="*/ 34719 h 3471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34718" h="34718">
                      <a:moveTo>
                        <a:pt x="34719" y="0"/>
                      </a:moveTo>
                      <a:lnTo>
                        <a:pt x="34719" y="34719"/>
                      </a:lnTo>
                      <a:lnTo>
                        <a:pt x="0" y="34719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379" name="Forma livre: Forma 378">
                  <a:extLst>
                    <a:ext uri="{FF2B5EF4-FFF2-40B4-BE49-F238E27FC236}">
                      <a16:creationId xmlns:a16="http://schemas.microsoft.com/office/drawing/2014/main" id="{6FF1706B-E78E-E8D5-2C06-6BB5763389A7}"/>
                    </a:ext>
                  </a:extLst>
                </p:cNvPr>
                <p:cNvSpPr/>
                <p:nvPr/>
              </p:nvSpPr>
              <p:spPr>
                <a:xfrm>
                  <a:off x="3941370" y="1669303"/>
                  <a:ext cx="34718" cy="34718"/>
                </a:xfrm>
                <a:custGeom>
                  <a:avLst/>
                  <a:gdLst>
                    <a:gd name="connsiteX0" fmla="*/ 34719 w 34718"/>
                    <a:gd name="connsiteY0" fmla="*/ 34719 h 34718"/>
                    <a:gd name="connsiteX1" fmla="*/ 0 w 34718"/>
                    <a:gd name="connsiteY1" fmla="*/ 34719 h 34718"/>
                    <a:gd name="connsiteX2" fmla="*/ 0 w 34718"/>
                    <a:gd name="connsiteY2" fmla="*/ 0 h 3471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34718" h="34718">
                      <a:moveTo>
                        <a:pt x="34719" y="34719"/>
                      </a:moveTo>
                      <a:lnTo>
                        <a:pt x="0" y="34719"/>
                      </a:lnTo>
                      <a:lnTo>
                        <a:pt x="0" y="0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</p:grpSp>
      <p:grpSp>
        <p:nvGrpSpPr>
          <p:cNvPr id="380" name="Gráfico 4">
            <a:extLst>
              <a:ext uri="{FF2B5EF4-FFF2-40B4-BE49-F238E27FC236}">
                <a16:creationId xmlns:a16="http://schemas.microsoft.com/office/drawing/2014/main" id="{4A1D9E15-4C7A-0D84-2A97-BB6CD7FF6649}"/>
              </a:ext>
            </a:extLst>
          </p:cNvPr>
          <p:cNvGrpSpPr/>
          <p:nvPr/>
        </p:nvGrpSpPr>
        <p:grpSpPr>
          <a:xfrm>
            <a:off x="3949228" y="3096767"/>
            <a:ext cx="213931" cy="320897"/>
            <a:chOff x="3949228" y="3096767"/>
            <a:chExt cx="213931" cy="320897"/>
          </a:xfrm>
          <a:noFill/>
        </p:grpSpPr>
        <p:sp>
          <p:nvSpPr>
            <p:cNvPr id="381" name="Forma livre: Forma 380">
              <a:extLst>
                <a:ext uri="{FF2B5EF4-FFF2-40B4-BE49-F238E27FC236}">
                  <a16:creationId xmlns:a16="http://schemas.microsoft.com/office/drawing/2014/main" id="{987B4563-38E0-08E4-A863-FB800E6AB754}"/>
                </a:ext>
              </a:extLst>
            </p:cNvPr>
            <p:cNvSpPr/>
            <p:nvPr/>
          </p:nvSpPr>
          <p:spPr>
            <a:xfrm>
              <a:off x="3949228" y="3096767"/>
              <a:ext cx="213931" cy="282035"/>
            </a:xfrm>
            <a:custGeom>
              <a:avLst/>
              <a:gdLst>
                <a:gd name="connsiteX0" fmla="*/ 79534 w 213931"/>
                <a:gd name="connsiteY0" fmla="*/ 282035 h 282035"/>
                <a:gd name="connsiteX1" fmla="*/ 31337 w 213931"/>
                <a:gd name="connsiteY1" fmla="*/ 282035 h 282035"/>
                <a:gd name="connsiteX2" fmla="*/ 0 w 213931"/>
                <a:gd name="connsiteY2" fmla="*/ 250698 h 282035"/>
                <a:gd name="connsiteX3" fmla="*/ 0 w 213931"/>
                <a:gd name="connsiteY3" fmla="*/ 240268 h 282035"/>
                <a:gd name="connsiteX4" fmla="*/ 31337 w 213931"/>
                <a:gd name="connsiteY4" fmla="*/ 208931 h 282035"/>
                <a:gd name="connsiteX5" fmla="*/ 213932 w 213931"/>
                <a:gd name="connsiteY5" fmla="*/ 208931 h 282035"/>
                <a:gd name="connsiteX6" fmla="*/ 213932 w 213931"/>
                <a:gd name="connsiteY6" fmla="*/ 0 h 282035"/>
                <a:gd name="connsiteX7" fmla="*/ 41815 w 213931"/>
                <a:gd name="connsiteY7" fmla="*/ 0 h 282035"/>
                <a:gd name="connsiteX8" fmla="*/ 48 w 213931"/>
                <a:gd name="connsiteY8" fmla="*/ 41767 h 282035"/>
                <a:gd name="connsiteX9" fmla="*/ 48 w 213931"/>
                <a:gd name="connsiteY9" fmla="*/ 239363 h 2820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13931" h="282035">
                  <a:moveTo>
                    <a:pt x="79534" y="282035"/>
                  </a:moveTo>
                  <a:lnTo>
                    <a:pt x="31337" y="282035"/>
                  </a:lnTo>
                  <a:cubicBezTo>
                    <a:pt x="14097" y="282035"/>
                    <a:pt x="0" y="267938"/>
                    <a:pt x="0" y="250698"/>
                  </a:cubicBezTo>
                  <a:lnTo>
                    <a:pt x="0" y="240268"/>
                  </a:lnTo>
                  <a:cubicBezTo>
                    <a:pt x="0" y="223028"/>
                    <a:pt x="14097" y="208931"/>
                    <a:pt x="31337" y="208931"/>
                  </a:cubicBezTo>
                  <a:lnTo>
                    <a:pt x="213932" y="208931"/>
                  </a:lnTo>
                  <a:lnTo>
                    <a:pt x="213932" y="0"/>
                  </a:lnTo>
                  <a:lnTo>
                    <a:pt x="41815" y="0"/>
                  </a:lnTo>
                  <a:cubicBezTo>
                    <a:pt x="18812" y="0"/>
                    <a:pt x="48" y="18812"/>
                    <a:pt x="48" y="41767"/>
                  </a:cubicBezTo>
                  <a:lnTo>
                    <a:pt x="48" y="239363"/>
                  </a:lnTo>
                </a:path>
              </a:pathLst>
            </a:custGeom>
            <a:noFill/>
            <a:ln w="6350" cap="sq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82" name="Forma livre: Forma 381">
              <a:extLst>
                <a:ext uri="{FF2B5EF4-FFF2-40B4-BE49-F238E27FC236}">
                  <a16:creationId xmlns:a16="http://schemas.microsoft.com/office/drawing/2014/main" id="{2691C479-BECE-2CD9-E6F9-FC775C2D4F26}"/>
                </a:ext>
              </a:extLst>
            </p:cNvPr>
            <p:cNvSpPr/>
            <p:nvPr/>
          </p:nvSpPr>
          <p:spPr>
            <a:xfrm>
              <a:off x="4076768" y="3378803"/>
              <a:ext cx="86344" cy="4762"/>
            </a:xfrm>
            <a:custGeom>
              <a:avLst/>
              <a:gdLst>
                <a:gd name="connsiteX0" fmla="*/ 86344 w 86344"/>
                <a:gd name="connsiteY0" fmla="*/ 0 h 4762"/>
                <a:gd name="connsiteX1" fmla="*/ 0 w 86344"/>
                <a:gd name="connsiteY1" fmla="*/ 0 h 47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6344" h="4762">
                  <a:moveTo>
                    <a:pt x="86344" y="0"/>
                  </a:moveTo>
                  <a:lnTo>
                    <a:pt x="0" y="0"/>
                  </a:lnTo>
                </a:path>
              </a:pathLst>
            </a:custGeom>
            <a:ln w="6350" cap="sq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83" name="Forma livre: Forma 382">
              <a:extLst>
                <a:ext uri="{FF2B5EF4-FFF2-40B4-BE49-F238E27FC236}">
                  <a16:creationId xmlns:a16="http://schemas.microsoft.com/office/drawing/2014/main" id="{46C3028A-69C4-5F01-5ED5-16ED76B75972}"/>
                </a:ext>
              </a:extLst>
            </p:cNvPr>
            <p:cNvSpPr/>
            <p:nvPr/>
          </p:nvSpPr>
          <p:spPr>
            <a:xfrm>
              <a:off x="3986090" y="3097672"/>
              <a:ext cx="4762" cy="207025"/>
            </a:xfrm>
            <a:custGeom>
              <a:avLst/>
              <a:gdLst>
                <a:gd name="connsiteX0" fmla="*/ 0 w 4762"/>
                <a:gd name="connsiteY0" fmla="*/ 0 h 207025"/>
                <a:gd name="connsiteX1" fmla="*/ 0 w 4762"/>
                <a:gd name="connsiteY1" fmla="*/ 207026 h 207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762" h="207025">
                  <a:moveTo>
                    <a:pt x="0" y="0"/>
                  </a:moveTo>
                  <a:lnTo>
                    <a:pt x="0" y="207026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84" name="Forma livre: Forma 383">
              <a:extLst>
                <a:ext uri="{FF2B5EF4-FFF2-40B4-BE49-F238E27FC236}">
                  <a16:creationId xmlns:a16="http://schemas.microsoft.com/office/drawing/2014/main" id="{DBF0815F-02E8-F84A-9CF8-A57ACE0EDB6E}"/>
                </a:ext>
              </a:extLst>
            </p:cNvPr>
            <p:cNvSpPr/>
            <p:nvPr/>
          </p:nvSpPr>
          <p:spPr>
            <a:xfrm>
              <a:off x="4030619" y="3343132"/>
              <a:ext cx="45434" cy="74533"/>
            </a:xfrm>
            <a:custGeom>
              <a:avLst/>
              <a:gdLst>
                <a:gd name="connsiteX0" fmla="*/ 45434 w 45434"/>
                <a:gd name="connsiteY0" fmla="*/ 0 h 74533"/>
                <a:gd name="connsiteX1" fmla="*/ 45434 w 45434"/>
                <a:gd name="connsiteY1" fmla="*/ 74533 h 74533"/>
                <a:gd name="connsiteX2" fmla="*/ 22717 w 45434"/>
                <a:gd name="connsiteY2" fmla="*/ 59484 h 74533"/>
                <a:gd name="connsiteX3" fmla="*/ 0 w 45434"/>
                <a:gd name="connsiteY3" fmla="*/ 74533 h 74533"/>
                <a:gd name="connsiteX4" fmla="*/ 0 w 45434"/>
                <a:gd name="connsiteY4" fmla="*/ 0 h 745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5434" h="74533">
                  <a:moveTo>
                    <a:pt x="45434" y="0"/>
                  </a:moveTo>
                  <a:lnTo>
                    <a:pt x="45434" y="74533"/>
                  </a:lnTo>
                  <a:lnTo>
                    <a:pt x="22717" y="59484"/>
                  </a:lnTo>
                  <a:lnTo>
                    <a:pt x="0" y="74533"/>
                  </a:lnTo>
                  <a:lnTo>
                    <a:pt x="0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85" name="Forma livre: Forma 384">
              <a:extLst>
                <a:ext uri="{FF2B5EF4-FFF2-40B4-BE49-F238E27FC236}">
                  <a16:creationId xmlns:a16="http://schemas.microsoft.com/office/drawing/2014/main" id="{08000E8E-D9D6-40A7-1029-A001C692520E}"/>
                </a:ext>
              </a:extLst>
            </p:cNvPr>
            <p:cNvSpPr/>
            <p:nvPr/>
          </p:nvSpPr>
          <p:spPr>
            <a:xfrm>
              <a:off x="3982756" y="3342084"/>
              <a:ext cx="180355" cy="4762"/>
            </a:xfrm>
            <a:custGeom>
              <a:avLst/>
              <a:gdLst>
                <a:gd name="connsiteX0" fmla="*/ 0 w 180355"/>
                <a:gd name="connsiteY0" fmla="*/ 0 h 4762"/>
                <a:gd name="connsiteX1" fmla="*/ 180356 w 180355"/>
                <a:gd name="connsiteY1" fmla="*/ 0 h 47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0355" h="4762">
                  <a:moveTo>
                    <a:pt x="0" y="0"/>
                  </a:moveTo>
                  <a:lnTo>
                    <a:pt x="180356" y="0"/>
                  </a:lnTo>
                </a:path>
              </a:pathLst>
            </a:custGeom>
            <a:ln w="6350" cap="sq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86" name="Forma livre: Forma 385">
              <a:extLst>
                <a:ext uri="{FF2B5EF4-FFF2-40B4-BE49-F238E27FC236}">
                  <a16:creationId xmlns:a16="http://schemas.microsoft.com/office/drawing/2014/main" id="{FA00125F-B04D-5F28-EA5A-B28ADA647320}"/>
                </a:ext>
              </a:extLst>
            </p:cNvPr>
            <p:cNvSpPr/>
            <p:nvPr/>
          </p:nvSpPr>
          <p:spPr>
            <a:xfrm>
              <a:off x="4027095" y="3153679"/>
              <a:ext cx="95392" cy="95345"/>
            </a:xfrm>
            <a:custGeom>
              <a:avLst/>
              <a:gdLst>
                <a:gd name="connsiteX0" fmla="*/ 95393 w 95392"/>
                <a:gd name="connsiteY0" fmla="*/ 31528 h 95345"/>
                <a:gd name="connsiteX1" fmla="*/ 63817 w 95392"/>
                <a:gd name="connsiteY1" fmla="*/ 31528 h 95345"/>
                <a:gd name="connsiteX2" fmla="*/ 63817 w 95392"/>
                <a:gd name="connsiteY2" fmla="*/ 0 h 95345"/>
                <a:gd name="connsiteX3" fmla="*/ 31575 w 95392"/>
                <a:gd name="connsiteY3" fmla="*/ 0 h 95345"/>
                <a:gd name="connsiteX4" fmla="*/ 31575 w 95392"/>
                <a:gd name="connsiteY4" fmla="*/ 31528 h 95345"/>
                <a:gd name="connsiteX5" fmla="*/ 0 w 95392"/>
                <a:gd name="connsiteY5" fmla="*/ 31528 h 95345"/>
                <a:gd name="connsiteX6" fmla="*/ 0 w 95392"/>
                <a:gd name="connsiteY6" fmla="*/ 63817 h 95345"/>
                <a:gd name="connsiteX7" fmla="*/ 31575 w 95392"/>
                <a:gd name="connsiteY7" fmla="*/ 63817 h 95345"/>
                <a:gd name="connsiteX8" fmla="*/ 31575 w 95392"/>
                <a:gd name="connsiteY8" fmla="*/ 95345 h 95345"/>
                <a:gd name="connsiteX9" fmla="*/ 63817 w 95392"/>
                <a:gd name="connsiteY9" fmla="*/ 95345 h 95345"/>
                <a:gd name="connsiteX10" fmla="*/ 63817 w 95392"/>
                <a:gd name="connsiteY10" fmla="*/ 63817 h 95345"/>
                <a:gd name="connsiteX11" fmla="*/ 95393 w 95392"/>
                <a:gd name="connsiteY11" fmla="*/ 63817 h 95345"/>
                <a:gd name="connsiteX12" fmla="*/ 95393 w 95392"/>
                <a:gd name="connsiteY12" fmla="*/ 31528 h 953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95392" h="95345">
                  <a:moveTo>
                    <a:pt x="95393" y="31528"/>
                  </a:moveTo>
                  <a:lnTo>
                    <a:pt x="63817" y="31528"/>
                  </a:lnTo>
                  <a:lnTo>
                    <a:pt x="63817" y="0"/>
                  </a:lnTo>
                  <a:lnTo>
                    <a:pt x="31575" y="0"/>
                  </a:lnTo>
                  <a:lnTo>
                    <a:pt x="31575" y="31528"/>
                  </a:lnTo>
                  <a:lnTo>
                    <a:pt x="0" y="31528"/>
                  </a:lnTo>
                  <a:lnTo>
                    <a:pt x="0" y="63817"/>
                  </a:lnTo>
                  <a:lnTo>
                    <a:pt x="31575" y="63817"/>
                  </a:lnTo>
                  <a:lnTo>
                    <a:pt x="31575" y="95345"/>
                  </a:lnTo>
                  <a:lnTo>
                    <a:pt x="63817" y="95345"/>
                  </a:lnTo>
                  <a:lnTo>
                    <a:pt x="63817" y="63817"/>
                  </a:lnTo>
                  <a:lnTo>
                    <a:pt x="95393" y="63817"/>
                  </a:lnTo>
                  <a:lnTo>
                    <a:pt x="95393" y="31528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387" name="Gráfico 4">
            <a:extLst>
              <a:ext uri="{FF2B5EF4-FFF2-40B4-BE49-F238E27FC236}">
                <a16:creationId xmlns:a16="http://schemas.microsoft.com/office/drawing/2014/main" id="{42E13666-C0E3-4F3D-48FD-3ECE3B3E2408}"/>
              </a:ext>
            </a:extLst>
          </p:cNvPr>
          <p:cNvGrpSpPr/>
          <p:nvPr/>
        </p:nvGrpSpPr>
        <p:grpSpPr>
          <a:xfrm>
            <a:off x="3935893" y="2051017"/>
            <a:ext cx="240649" cy="285845"/>
            <a:chOff x="3935893" y="2051017"/>
            <a:chExt cx="240649" cy="285845"/>
          </a:xfrm>
          <a:noFill/>
        </p:grpSpPr>
        <p:sp>
          <p:nvSpPr>
            <p:cNvPr id="388" name="Forma livre: Forma 387">
              <a:extLst>
                <a:ext uri="{FF2B5EF4-FFF2-40B4-BE49-F238E27FC236}">
                  <a16:creationId xmlns:a16="http://schemas.microsoft.com/office/drawing/2014/main" id="{C028C34A-3076-A3DF-080F-A3A9349470D3}"/>
                </a:ext>
              </a:extLst>
            </p:cNvPr>
            <p:cNvSpPr/>
            <p:nvPr/>
          </p:nvSpPr>
          <p:spPr>
            <a:xfrm>
              <a:off x="3935893" y="2051017"/>
              <a:ext cx="240649" cy="285845"/>
            </a:xfrm>
            <a:custGeom>
              <a:avLst/>
              <a:gdLst>
                <a:gd name="connsiteX0" fmla="*/ 122634 w 240649"/>
                <a:gd name="connsiteY0" fmla="*/ 285845 h 285845"/>
                <a:gd name="connsiteX1" fmla="*/ 176546 w 240649"/>
                <a:gd name="connsiteY1" fmla="*/ 275415 h 285845"/>
                <a:gd name="connsiteX2" fmla="*/ 180213 w 240649"/>
                <a:gd name="connsiteY2" fmla="*/ 227409 h 285845"/>
                <a:gd name="connsiteX3" fmla="*/ 206550 w 240649"/>
                <a:gd name="connsiteY3" fmla="*/ 227028 h 285845"/>
                <a:gd name="connsiteX4" fmla="*/ 223552 w 240649"/>
                <a:gd name="connsiteY4" fmla="*/ 218646 h 285845"/>
                <a:gd name="connsiteX5" fmla="*/ 232505 w 240649"/>
                <a:gd name="connsiteY5" fmla="*/ 177975 h 285845"/>
                <a:gd name="connsiteX6" fmla="*/ 240649 w 240649"/>
                <a:gd name="connsiteY6" fmla="*/ 119301 h 285845"/>
                <a:gd name="connsiteX7" fmla="*/ 120920 w 240649"/>
                <a:gd name="connsiteY7" fmla="*/ 0 h 285845"/>
                <a:gd name="connsiteX8" fmla="*/ 119729 w 240649"/>
                <a:gd name="connsiteY8" fmla="*/ 0 h 285845"/>
                <a:gd name="connsiteX9" fmla="*/ 0 w 240649"/>
                <a:gd name="connsiteY9" fmla="*/ 119301 h 285845"/>
                <a:gd name="connsiteX10" fmla="*/ 8144 w 240649"/>
                <a:gd name="connsiteY10" fmla="*/ 177975 h 285845"/>
                <a:gd name="connsiteX11" fmla="*/ 17097 w 240649"/>
                <a:gd name="connsiteY11" fmla="*/ 218646 h 285845"/>
                <a:gd name="connsiteX12" fmla="*/ 34100 w 240649"/>
                <a:gd name="connsiteY12" fmla="*/ 227028 h 285845"/>
                <a:gd name="connsiteX13" fmla="*/ 60436 w 240649"/>
                <a:gd name="connsiteY13" fmla="*/ 227409 h 285845"/>
                <a:gd name="connsiteX14" fmla="*/ 64103 w 240649"/>
                <a:gd name="connsiteY14" fmla="*/ 275415 h 285845"/>
                <a:gd name="connsiteX15" fmla="*/ 121920 w 240649"/>
                <a:gd name="connsiteY15" fmla="*/ 285845 h 285845"/>
                <a:gd name="connsiteX16" fmla="*/ 122730 w 240649"/>
                <a:gd name="connsiteY16" fmla="*/ 285845 h 2858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40649" h="285845">
                  <a:moveTo>
                    <a:pt x="122634" y="285845"/>
                  </a:moveTo>
                  <a:cubicBezTo>
                    <a:pt x="159829" y="285845"/>
                    <a:pt x="176546" y="275415"/>
                    <a:pt x="176546" y="275415"/>
                  </a:cubicBezTo>
                  <a:lnTo>
                    <a:pt x="180213" y="227409"/>
                  </a:lnTo>
                  <a:cubicBezTo>
                    <a:pt x="180213" y="227409"/>
                    <a:pt x="191357" y="227028"/>
                    <a:pt x="206550" y="227028"/>
                  </a:cubicBezTo>
                  <a:cubicBezTo>
                    <a:pt x="216598" y="227028"/>
                    <a:pt x="223552" y="218646"/>
                    <a:pt x="223552" y="218646"/>
                  </a:cubicBezTo>
                  <a:cubicBezTo>
                    <a:pt x="240792" y="199644"/>
                    <a:pt x="232458" y="189309"/>
                    <a:pt x="232505" y="177975"/>
                  </a:cubicBezTo>
                  <a:cubicBezTo>
                    <a:pt x="232553" y="166640"/>
                    <a:pt x="240649" y="139351"/>
                    <a:pt x="240649" y="119301"/>
                  </a:cubicBezTo>
                  <a:cubicBezTo>
                    <a:pt x="240649" y="51768"/>
                    <a:pt x="190357" y="0"/>
                    <a:pt x="120920" y="0"/>
                  </a:cubicBezTo>
                  <a:lnTo>
                    <a:pt x="119729" y="0"/>
                  </a:lnTo>
                  <a:cubicBezTo>
                    <a:pt x="50292" y="0"/>
                    <a:pt x="0" y="51768"/>
                    <a:pt x="0" y="119301"/>
                  </a:cubicBezTo>
                  <a:cubicBezTo>
                    <a:pt x="0" y="139351"/>
                    <a:pt x="8144" y="166640"/>
                    <a:pt x="8144" y="177975"/>
                  </a:cubicBezTo>
                  <a:cubicBezTo>
                    <a:pt x="8144" y="189309"/>
                    <a:pt x="-143" y="199644"/>
                    <a:pt x="17097" y="218646"/>
                  </a:cubicBezTo>
                  <a:cubicBezTo>
                    <a:pt x="17097" y="218646"/>
                    <a:pt x="24051" y="227028"/>
                    <a:pt x="34100" y="227028"/>
                  </a:cubicBezTo>
                  <a:cubicBezTo>
                    <a:pt x="49244" y="227028"/>
                    <a:pt x="60436" y="227409"/>
                    <a:pt x="60436" y="227409"/>
                  </a:cubicBezTo>
                  <a:lnTo>
                    <a:pt x="64103" y="275415"/>
                  </a:lnTo>
                  <a:cubicBezTo>
                    <a:pt x="64103" y="275415"/>
                    <a:pt x="84677" y="285845"/>
                    <a:pt x="121920" y="285845"/>
                  </a:cubicBezTo>
                  <a:lnTo>
                    <a:pt x="122730" y="285845"/>
                  </a:ln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389" name="Gráfico 4">
              <a:extLst>
                <a:ext uri="{FF2B5EF4-FFF2-40B4-BE49-F238E27FC236}">
                  <a16:creationId xmlns:a16="http://schemas.microsoft.com/office/drawing/2014/main" id="{8A993F02-8A25-0F19-CDC6-533EDB1F80E9}"/>
                </a:ext>
              </a:extLst>
            </p:cNvPr>
            <p:cNvGrpSpPr/>
            <p:nvPr/>
          </p:nvGrpSpPr>
          <p:grpSpPr>
            <a:xfrm>
              <a:off x="4027476" y="2309145"/>
              <a:ext cx="57340" cy="25908"/>
              <a:chOff x="4027476" y="2309145"/>
              <a:chExt cx="57340" cy="25908"/>
            </a:xfrm>
          </p:grpSpPr>
          <p:sp>
            <p:nvSpPr>
              <p:cNvPr id="390" name="Forma livre: Forma 389">
                <a:extLst>
                  <a:ext uri="{FF2B5EF4-FFF2-40B4-BE49-F238E27FC236}">
                    <a16:creationId xmlns:a16="http://schemas.microsoft.com/office/drawing/2014/main" id="{0C71C272-4B5D-B611-43B5-B799ABD1717E}"/>
                  </a:ext>
                </a:extLst>
              </p:cNvPr>
              <p:cNvSpPr/>
              <p:nvPr/>
            </p:nvSpPr>
            <p:spPr>
              <a:xfrm>
                <a:off x="4027476" y="2309669"/>
                <a:ext cx="4762" cy="22621"/>
              </a:xfrm>
              <a:custGeom>
                <a:avLst/>
                <a:gdLst>
                  <a:gd name="connsiteX0" fmla="*/ 0 w 4762"/>
                  <a:gd name="connsiteY0" fmla="*/ 22622 h 22621"/>
                  <a:gd name="connsiteX1" fmla="*/ 0 w 4762"/>
                  <a:gd name="connsiteY1" fmla="*/ 0 h 226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62" h="22621">
                    <a:moveTo>
                      <a:pt x="0" y="22622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91" name="Forma livre: Forma 390">
                <a:extLst>
                  <a:ext uri="{FF2B5EF4-FFF2-40B4-BE49-F238E27FC236}">
                    <a16:creationId xmlns:a16="http://schemas.microsoft.com/office/drawing/2014/main" id="{10E58BF7-2F3D-3449-702E-896F008D984A}"/>
                  </a:ext>
                </a:extLst>
              </p:cNvPr>
              <p:cNvSpPr/>
              <p:nvPr/>
            </p:nvSpPr>
            <p:spPr>
              <a:xfrm>
                <a:off x="4056146" y="2312431"/>
                <a:ext cx="4762" cy="22621"/>
              </a:xfrm>
              <a:custGeom>
                <a:avLst/>
                <a:gdLst>
                  <a:gd name="connsiteX0" fmla="*/ 0 w 4762"/>
                  <a:gd name="connsiteY0" fmla="*/ 22622 h 22621"/>
                  <a:gd name="connsiteX1" fmla="*/ 0 w 4762"/>
                  <a:gd name="connsiteY1" fmla="*/ 0 h 226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62" h="22621">
                    <a:moveTo>
                      <a:pt x="0" y="22622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92" name="Forma livre: Forma 391">
                <a:extLst>
                  <a:ext uri="{FF2B5EF4-FFF2-40B4-BE49-F238E27FC236}">
                    <a16:creationId xmlns:a16="http://schemas.microsoft.com/office/drawing/2014/main" id="{FC70592F-3E4D-48E5-629B-89B3081EE05F}"/>
                  </a:ext>
                </a:extLst>
              </p:cNvPr>
              <p:cNvSpPr/>
              <p:nvPr/>
            </p:nvSpPr>
            <p:spPr>
              <a:xfrm>
                <a:off x="4084817" y="2309145"/>
                <a:ext cx="4762" cy="22621"/>
              </a:xfrm>
              <a:custGeom>
                <a:avLst/>
                <a:gdLst>
                  <a:gd name="connsiteX0" fmla="*/ 0 w 4762"/>
                  <a:gd name="connsiteY0" fmla="*/ 22622 h 22621"/>
                  <a:gd name="connsiteX1" fmla="*/ 0 w 4762"/>
                  <a:gd name="connsiteY1" fmla="*/ 0 h 226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62" h="22621">
                    <a:moveTo>
                      <a:pt x="0" y="22622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393" name="Gráfico 4">
              <a:extLst>
                <a:ext uri="{FF2B5EF4-FFF2-40B4-BE49-F238E27FC236}">
                  <a16:creationId xmlns:a16="http://schemas.microsoft.com/office/drawing/2014/main" id="{910F2A29-82E8-507C-1C11-C46E5BB4D18F}"/>
                </a:ext>
              </a:extLst>
            </p:cNvPr>
            <p:cNvGrpSpPr/>
            <p:nvPr/>
          </p:nvGrpSpPr>
          <p:grpSpPr>
            <a:xfrm>
              <a:off x="3972242" y="2166185"/>
              <a:ext cx="167761" cy="60843"/>
              <a:chOff x="3972242" y="2166185"/>
              <a:chExt cx="167761" cy="60843"/>
            </a:xfrm>
            <a:noFill/>
          </p:grpSpPr>
          <p:sp>
            <p:nvSpPr>
              <p:cNvPr id="394" name="Forma livre: Forma 393">
                <a:extLst>
                  <a:ext uri="{FF2B5EF4-FFF2-40B4-BE49-F238E27FC236}">
                    <a16:creationId xmlns:a16="http://schemas.microsoft.com/office/drawing/2014/main" id="{F10D8F26-6DA4-E8E0-9861-FB1418CE7B35}"/>
                  </a:ext>
                </a:extLst>
              </p:cNvPr>
              <p:cNvSpPr/>
              <p:nvPr/>
            </p:nvSpPr>
            <p:spPr>
              <a:xfrm>
                <a:off x="3972242" y="2166185"/>
                <a:ext cx="66701" cy="60843"/>
              </a:xfrm>
              <a:custGeom>
                <a:avLst/>
                <a:gdLst>
                  <a:gd name="connsiteX0" fmla="*/ 65426 w 66701"/>
                  <a:gd name="connsiteY0" fmla="*/ 21897 h 60843"/>
                  <a:gd name="connsiteX1" fmla="*/ 47900 w 66701"/>
                  <a:gd name="connsiteY1" fmla="*/ 55806 h 60843"/>
                  <a:gd name="connsiteX2" fmla="*/ 36184 w 66701"/>
                  <a:gd name="connsiteY2" fmla="*/ 59568 h 60843"/>
                  <a:gd name="connsiteX3" fmla="*/ 2275 w 66701"/>
                  <a:gd name="connsiteY3" fmla="*/ 42042 h 60843"/>
                  <a:gd name="connsiteX4" fmla="*/ 1275 w 66701"/>
                  <a:gd name="connsiteY4" fmla="*/ 38947 h 60843"/>
                  <a:gd name="connsiteX5" fmla="*/ 18801 w 66701"/>
                  <a:gd name="connsiteY5" fmla="*/ 5038 h 60843"/>
                  <a:gd name="connsiteX6" fmla="*/ 30517 w 66701"/>
                  <a:gd name="connsiteY6" fmla="*/ 1275 h 60843"/>
                  <a:gd name="connsiteX7" fmla="*/ 64426 w 66701"/>
                  <a:gd name="connsiteY7" fmla="*/ 18801 h 60843"/>
                  <a:gd name="connsiteX8" fmla="*/ 65426 w 66701"/>
                  <a:gd name="connsiteY8" fmla="*/ 21849 h 608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66701" h="60843">
                    <a:moveTo>
                      <a:pt x="65426" y="21897"/>
                    </a:moveTo>
                    <a:cubicBezTo>
                      <a:pt x="69950" y="36041"/>
                      <a:pt x="62045" y="51329"/>
                      <a:pt x="47900" y="55806"/>
                    </a:cubicBezTo>
                    <a:lnTo>
                      <a:pt x="36184" y="59568"/>
                    </a:lnTo>
                    <a:cubicBezTo>
                      <a:pt x="22040" y="64093"/>
                      <a:pt x="6752" y="56187"/>
                      <a:pt x="2275" y="42042"/>
                    </a:cubicBezTo>
                    <a:lnTo>
                      <a:pt x="1275" y="38947"/>
                    </a:lnTo>
                    <a:cubicBezTo>
                      <a:pt x="-3249" y="24802"/>
                      <a:pt x="4657" y="9514"/>
                      <a:pt x="18801" y="5038"/>
                    </a:cubicBezTo>
                    <a:lnTo>
                      <a:pt x="30517" y="1275"/>
                    </a:lnTo>
                    <a:cubicBezTo>
                      <a:pt x="44662" y="-3249"/>
                      <a:pt x="59949" y="4657"/>
                      <a:pt x="64426" y="18801"/>
                    </a:cubicBezTo>
                    <a:lnTo>
                      <a:pt x="65426" y="21849"/>
                    </a:lnTo>
                    <a:close/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95" name="Forma livre: Forma 394">
                <a:extLst>
                  <a:ext uri="{FF2B5EF4-FFF2-40B4-BE49-F238E27FC236}">
                    <a16:creationId xmlns:a16="http://schemas.microsoft.com/office/drawing/2014/main" id="{3AF648FE-170C-2755-C757-2CC1C5E0D4B1}"/>
                  </a:ext>
                </a:extLst>
              </p:cNvPr>
              <p:cNvSpPr/>
              <p:nvPr/>
            </p:nvSpPr>
            <p:spPr>
              <a:xfrm>
                <a:off x="4073350" y="2166185"/>
                <a:ext cx="66653" cy="60843"/>
              </a:xfrm>
              <a:custGeom>
                <a:avLst/>
                <a:gdLst>
                  <a:gd name="connsiteX0" fmla="*/ 1275 w 66653"/>
                  <a:gd name="connsiteY0" fmla="*/ 21897 h 60843"/>
                  <a:gd name="connsiteX1" fmla="*/ 18801 w 66653"/>
                  <a:gd name="connsiteY1" fmla="*/ 55806 h 60843"/>
                  <a:gd name="connsiteX2" fmla="*/ 30517 w 66653"/>
                  <a:gd name="connsiteY2" fmla="*/ 59568 h 60843"/>
                  <a:gd name="connsiteX3" fmla="*/ 64426 w 66653"/>
                  <a:gd name="connsiteY3" fmla="*/ 42042 h 60843"/>
                  <a:gd name="connsiteX4" fmla="*/ 65378 w 66653"/>
                  <a:gd name="connsiteY4" fmla="*/ 38947 h 60843"/>
                  <a:gd name="connsiteX5" fmla="*/ 47852 w 66653"/>
                  <a:gd name="connsiteY5" fmla="*/ 5038 h 60843"/>
                  <a:gd name="connsiteX6" fmla="*/ 36137 w 66653"/>
                  <a:gd name="connsiteY6" fmla="*/ 1275 h 60843"/>
                  <a:gd name="connsiteX7" fmla="*/ 2228 w 66653"/>
                  <a:gd name="connsiteY7" fmla="*/ 18801 h 60843"/>
                  <a:gd name="connsiteX8" fmla="*/ 1228 w 66653"/>
                  <a:gd name="connsiteY8" fmla="*/ 21849 h 608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66653" h="60843">
                    <a:moveTo>
                      <a:pt x="1275" y="21897"/>
                    </a:moveTo>
                    <a:cubicBezTo>
                      <a:pt x="-3249" y="36041"/>
                      <a:pt x="4657" y="51329"/>
                      <a:pt x="18801" y="55806"/>
                    </a:cubicBezTo>
                    <a:lnTo>
                      <a:pt x="30517" y="59568"/>
                    </a:lnTo>
                    <a:cubicBezTo>
                      <a:pt x="44662" y="64093"/>
                      <a:pt x="59949" y="56187"/>
                      <a:pt x="64426" y="42042"/>
                    </a:cubicBezTo>
                    <a:lnTo>
                      <a:pt x="65378" y="38947"/>
                    </a:lnTo>
                    <a:cubicBezTo>
                      <a:pt x="69903" y="24802"/>
                      <a:pt x="61997" y="9514"/>
                      <a:pt x="47852" y="5038"/>
                    </a:cubicBezTo>
                    <a:lnTo>
                      <a:pt x="36137" y="1275"/>
                    </a:lnTo>
                    <a:cubicBezTo>
                      <a:pt x="21992" y="-3249"/>
                      <a:pt x="6704" y="4657"/>
                      <a:pt x="2228" y="18801"/>
                    </a:cubicBezTo>
                    <a:lnTo>
                      <a:pt x="1228" y="21849"/>
                    </a:lnTo>
                    <a:close/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396" name="Gráfico 4">
              <a:extLst>
                <a:ext uri="{FF2B5EF4-FFF2-40B4-BE49-F238E27FC236}">
                  <a16:creationId xmlns:a16="http://schemas.microsoft.com/office/drawing/2014/main" id="{E09F9052-290C-FFB1-8E22-C70116AA5F1F}"/>
                </a:ext>
              </a:extLst>
            </p:cNvPr>
            <p:cNvGrpSpPr/>
            <p:nvPr/>
          </p:nvGrpSpPr>
          <p:grpSpPr>
            <a:xfrm>
              <a:off x="4038287" y="2245661"/>
              <a:ext cx="35766" cy="17287"/>
              <a:chOff x="4038287" y="2245661"/>
              <a:chExt cx="35766" cy="17287"/>
            </a:xfrm>
          </p:grpSpPr>
          <p:sp>
            <p:nvSpPr>
              <p:cNvPr id="397" name="Forma livre: Forma 396">
                <a:extLst>
                  <a:ext uri="{FF2B5EF4-FFF2-40B4-BE49-F238E27FC236}">
                    <a16:creationId xmlns:a16="http://schemas.microsoft.com/office/drawing/2014/main" id="{8110D8CD-E94E-34CC-25ED-C0386A60396C}"/>
                  </a:ext>
                </a:extLst>
              </p:cNvPr>
              <p:cNvSpPr/>
              <p:nvPr/>
            </p:nvSpPr>
            <p:spPr>
              <a:xfrm>
                <a:off x="4038287" y="2245661"/>
                <a:ext cx="6000" cy="17287"/>
              </a:xfrm>
              <a:custGeom>
                <a:avLst/>
                <a:gdLst>
                  <a:gd name="connsiteX0" fmla="*/ 6001 w 6000"/>
                  <a:gd name="connsiteY0" fmla="*/ 0 h 17287"/>
                  <a:gd name="connsiteX1" fmla="*/ 0 w 6000"/>
                  <a:gd name="connsiteY1" fmla="*/ 17288 h 17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000" h="17287">
                    <a:moveTo>
                      <a:pt x="6001" y="0"/>
                    </a:moveTo>
                    <a:lnTo>
                      <a:pt x="0" y="17288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98" name="Forma livre: Forma 397">
                <a:extLst>
                  <a:ext uri="{FF2B5EF4-FFF2-40B4-BE49-F238E27FC236}">
                    <a16:creationId xmlns:a16="http://schemas.microsoft.com/office/drawing/2014/main" id="{9E60419C-9AD1-FA40-0D0A-BFE983F467DB}"/>
                  </a:ext>
                </a:extLst>
              </p:cNvPr>
              <p:cNvSpPr/>
              <p:nvPr/>
            </p:nvSpPr>
            <p:spPr>
              <a:xfrm>
                <a:off x="4068053" y="2245661"/>
                <a:ext cx="6000" cy="17287"/>
              </a:xfrm>
              <a:custGeom>
                <a:avLst/>
                <a:gdLst>
                  <a:gd name="connsiteX0" fmla="*/ 0 w 6000"/>
                  <a:gd name="connsiteY0" fmla="*/ 0 h 17287"/>
                  <a:gd name="connsiteX1" fmla="*/ 6001 w 6000"/>
                  <a:gd name="connsiteY1" fmla="*/ 17288 h 17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000" h="17287">
                    <a:moveTo>
                      <a:pt x="0" y="0"/>
                    </a:moveTo>
                    <a:lnTo>
                      <a:pt x="6001" y="17288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399" name="Gráfico 4">
            <a:extLst>
              <a:ext uri="{FF2B5EF4-FFF2-40B4-BE49-F238E27FC236}">
                <a16:creationId xmlns:a16="http://schemas.microsoft.com/office/drawing/2014/main" id="{7739E11E-AB18-F73F-A526-5FD19D28BB56}"/>
              </a:ext>
            </a:extLst>
          </p:cNvPr>
          <p:cNvGrpSpPr/>
          <p:nvPr/>
        </p:nvGrpSpPr>
        <p:grpSpPr>
          <a:xfrm>
            <a:off x="3908509" y="2577941"/>
            <a:ext cx="295275" cy="295275"/>
            <a:chOff x="3908509" y="2577941"/>
            <a:chExt cx="295275" cy="295275"/>
          </a:xfrm>
          <a:noFill/>
        </p:grpSpPr>
        <p:grpSp>
          <p:nvGrpSpPr>
            <p:cNvPr id="400" name="Gráfico 4">
              <a:extLst>
                <a:ext uri="{FF2B5EF4-FFF2-40B4-BE49-F238E27FC236}">
                  <a16:creationId xmlns:a16="http://schemas.microsoft.com/office/drawing/2014/main" id="{625E85A6-2516-2AEA-CB21-78A83229A7FE}"/>
                </a:ext>
              </a:extLst>
            </p:cNvPr>
            <p:cNvGrpSpPr/>
            <p:nvPr/>
          </p:nvGrpSpPr>
          <p:grpSpPr>
            <a:xfrm>
              <a:off x="3967230" y="2656712"/>
              <a:ext cx="178267" cy="162115"/>
              <a:chOff x="3967230" y="2656712"/>
              <a:chExt cx="178267" cy="162115"/>
            </a:xfrm>
            <a:noFill/>
          </p:grpSpPr>
          <p:sp>
            <p:nvSpPr>
              <p:cNvPr id="401" name="Forma livre: Forma 400">
                <a:extLst>
                  <a:ext uri="{FF2B5EF4-FFF2-40B4-BE49-F238E27FC236}">
                    <a16:creationId xmlns:a16="http://schemas.microsoft.com/office/drawing/2014/main" id="{1CC1B194-8D4F-BF78-0D4C-F9DE7F407DFA}"/>
                  </a:ext>
                </a:extLst>
              </p:cNvPr>
              <p:cNvSpPr/>
              <p:nvPr/>
            </p:nvSpPr>
            <p:spPr>
              <a:xfrm>
                <a:off x="4003569" y="2656712"/>
                <a:ext cx="141928" cy="159096"/>
              </a:xfrm>
              <a:custGeom>
                <a:avLst/>
                <a:gdLst>
                  <a:gd name="connsiteX0" fmla="*/ 10572 w 141928"/>
                  <a:gd name="connsiteY0" fmla="*/ 140875 h 159096"/>
                  <a:gd name="connsiteX1" fmla="*/ 35718 w 141928"/>
                  <a:gd name="connsiteY1" fmla="*/ 32195 h 159096"/>
                  <a:gd name="connsiteX2" fmla="*/ 138207 w 141928"/>
                  <a:gd name="connsiteY2" fmla="*/ 0 h 159096"/>
                  <a:gd name="connsiteX3" fmla="*/ 126824 w 141928"/>
                  <a:gd name="connsiteY3" fmla="*/ 107395 h 159096"/>
                  <a:gd name="connsiteX4" fmla="*/ 29193 w 141928"/>
                  <a:gd name="connsiteY4" fmla="*/ 155162 h 159096"/>
                  <a:gd name="connsiteX5" fmla="*/ 11953 w 141928"/>
                  <a:gd name="connsiteY5" fmla="*/ 142399 h 1590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41928" h="159096">
                    <a:moveTo>
                      <a:pt x="10572" y="140875"/>
                    </a:moveTo>
                    <a:cubicBezTo>
                      <a:pt x="-9431" y="113586"/>
                      <a:pt x="-1049" y="57388"/>
                      <a:pt x="35718" y="32195"/>
                    </a:cubicBezTo>
                    <a:cubicBezTo>
                      <a:pt x="83057" y="-238"/>
                      <a:pt x="138207" y="0"/>
                      <a:pt x="138207" y="0"/>
                    </a:cubicBezTo>
                    <a:cubicBezTo>
                      <a:pt x="138207" y="0"/>
                      <a:pt x="151875" y="49625"/>
                      <a:pt x="126824" y="107395"/>
                    </a:cubicBezTo>
                    <a:cubicBezTo>
                      <a:pt x="109727" y="146780"/>
                      <a:pt x="61721" y="168497"/>
                      <a:pt x="29193" y="155162"/>
                    </a:cubicBezTo>
                    <a:cubicBezTo>
                      <a:pt x="29193" y="155162"/>
                      <a:pt x="18287" y="149971"/>
                      <a:pt x="11953" y="142399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02" name="Forma livre: Forma 401">
                <a:extLst>
                  <a:ext uri="{FF2B5EF4-FFF2-40B4-BE49-F238E27FC236}">
                    <a16:creationId xmlns:a16="http://schemas.microsoft.com/office/drawing/2014/main" id="{D8BF7142-99AC-9541-0484-B17AF2B1F3DD}"/>
                  </a:ext>
                </a:extLst>
              </p:cNvPr>
              <p:cNvSpPr/>
              <p:nvPr/>
            </p:nvSpPr>
            <p:spPr>
              <a:xfrm>
                <a:off x="3967230" y="2713672"/>
                <a:ext cx="130444" cy="105156"/>
              </a:xfrm>
              <a:custGeom>
                <a:avLst/>
                <a:gdLst>
                  <a:gd name="connsiteX0" fmla="*/ 130445 w 130444"/>
                  <a:gd name="connsiteY0" fmla="*/ 0 h 105156"/>
                  <a:gd name="connsiteX1" fmla="*/ 0 w 130444"/>
                  <a:gd name="connsiteY1" fmla="*/ 105156 h 1051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30444" h="105156">
                    <a:moveTo>
                      <a:pt x="130445" y="0"/>
                    </a:moveTo>
                    <a:cubicBezTo>
                      <a:pt x="130445" y="0"/>
                      <a:pt x="101108" y="71485"/>
                      <a:pt x="0" y="105156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403" name="Forma livre: Forma 402">
              <a:extLst>
                <a:ext uri="{FF2B5EF4-FFF2-40B4-BE49-F238E27FC236}">
                  <a16:creationId xmlns:a16="http://schemas.microsoft.com/office/drawing/2014/main" id="{624688AE-9649-2165-9154-B77F6D9672E3}"/>
                </a:ext>
              </a:extLst>
            </p:cNvPr>
            <p:cNvSpPr/>
            <p:nvPr/>
          </p:nvSpPr>
          <p:spPr>
            <a:xfrm>
              <a:off x="3908509" y="2577941"/>
              <a:ext cx="192452" cy="192500"/>
            </a:xfrm>
            <a:custGeom>
              <a:avLst/>
              <a:gdLst>
                <a:gd name="connsiteX0" fmla="*/ 75295 w 192452"/>
                <a:gd name="connsiteY0" fmla="*/ 192500 h 192500"/>
                <a:gd name="connsiteX1" fmla="*/ 0 w 192452"/>
                <a:gd name="connsiteY1" fmla="*/ 192500 h 192500"/>
                <a:gd name="connsiteX2" fmla="*/ 0 w 192452"/>
                <a:gd name="connsiteY2" fmla="*/ 102775 h 192500"/>
                <a:gd name="connsiteX3" fmla="*/ 102870 w 192452"/>
                <a:gd name="connsiteY3" fmla="*/ 102775 h 192500"/>
                <a:gd name="connsiteX4" fmla="*/ 102870 w 192452"/>
                <a:gd name="connsiteY4" fmla="*/ 0 h 192500"/>
                <a:gd name="connsiteX5" fmla="*/ 192453 w 192452"/>
                <a:gd name="connsiteY5" fmla="*/ 0 h 192500"/>
                <a:gd name="connsiteX6" fmla="*/ 192453 w 192452"/>
                <a:gd name="connsiteY6" fmla="*/ 65008 h 192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92452" h="192500">
                  <a:moveTo>
                    <a:pt x="75295" y="192500"/>
                  </a:moveTo>
                  <a:lnTo>
                    <a:pt x="0" y="192500"/>
                  </a:lnTo>
                  <a:lnTo>
                    <a:pt x="0" y="102775"/>
                  </a:lnTo>
                  <a:lnTo>
                    <a:pt x="102870" y="102775"/>
                  </a:lnTo>
                  <a:lnTo>
                    <a:pt x="102870" y="0"/>
                  </a:lnTo>
                  <a:lnTo>
                    <a:pt x="192453" y="0"/>
                  </a:lnTo>
                  <a:lnTo>
                    <a:pt x="192453" y="65008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04" name="Forma livre: Forma 403">
              <a:extLst>
                <a:ext uri="{FF2B5EF4-FFF2-40B4-BE49-F238E27FC236}">
                  <a16:creationId xmlns:a16="http://schemas.microsoft.com/office/drawing/2014/main" id="{C1ACADC2-7A41-469A-3695-F0E8CA9D01ED}"/>
                </a:ext>
              </a:extLst>
            </p:cNvPr>
            <p:cNvSpPr/>
            <p:nvPr/>
          </p:nvSpPr>
          <p:spPr>
            <a:xfrm>
              <a:off x="4011379" y="2823209"/>
              <a:ext cx="89582" cy="50006"/>
            </a:xfrm>
            <a:custGeom>
              <a:avLst/>
              <a:gdLst>
                <a:gd name="connsiteX0" fmla="*/ 89583 w 89582"/>
                <a:gd name="connsiteY0" fmla="*/ 0 h 50006"/>
                <a:gd name="connsiteX1" fmla="*/ 89583 w 89582"/>
                <a:gd name="connsiteY1" fmla="*/ 50006 h 50006"/>
                <a:gd name="connsiteX2" fmla="*/ 0 w 89582"/>
                <a:gd name="connsiteY2" fmla="*/ 50006 h 50006"/>
                <a:gd name="connsiteX3" fmla="*/ 0 w 89582"/>
                <a:gd name="connsiteY3" fmla="*/ 762 h 500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9582" h="50006">
                  <a:moveTo>
                    <a:pt x="89583" y="0"/>
                  </a:moveTo>
                  <a:lnTo>
                    <a:pt x="89583" y="50006"/>
                  </a:lnTo>
                  <a:lnTo>
                    <a:pt x="0" y="50006"/>
                  </a:lnTo>
                  <a:lnTo>
                    <a:pt x="0" y="762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05" name="Forma livre: Forma 404">
              <a:extLst>
                <a:ext uri="{FF2B5EF4-FFF2-40B4-BE49-F238E27FC236}">
                  <a16:creationId xmlns:a16="http://schemas.microsoft.com/office/drawing/2014/main" id="{F1936239-23E4-3F81-6C4D-C93C9247ABD9}"/>
                </a:ext>
              </a:extLst>
            </p:cNvPr>
            <p:cNvSpPr/>
            <p:nvPr/>
          </p:nvSpPr>
          <p:spPr>
            <a:xfrm>
              <a:off x="4149634" y="2680715"/>
              <a:ext cx="54149" cy="89725"/>
            </a:xfrm>
            <a:custGeom>
              <a:avLst/>
              <a:gdLst>
                <a:gd name="connsiteX0" fmla="*/ 15192 w 54149"/>
                <a:gd name="connsiteY0" fmla="*/ 0 h 89725"/>
                <a:gd name="connsiteX1" fmla="*/ 54150 w 54149"/>
                <a:gd name="connsiteY1" fmla="*/ 0 h 89725"/>
                <a:gd name="connsiteX2" fmla="*/ 54150 w 54149"/>
                <a:gd name="connsiteY2" fmla="*/ 89726 h 89725"/>
                <a:gd name="connsiteX3" fmla="*/ 0 w 54149"/>
                <a:gd name="connsiteY3" fmla="*/ 89726 h 897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4149" h="89725">
                  <a:moveTo>
                    <a:pt x="15192" y="0"/>
                  </a:moveTo>
                  <a:lnTo>
                    <a:pt x="54150" y="0"/>
                  </a:lnTo>
                  <a:lnTo>
                    <a:pt x="54150" y="89726"/>
                  </a:lnTo>
                  <a:lnTo>
                    <a:pt x="0" y="89726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407" name="Gráfico 6">
            <a:extLst>
              <a:ext uri="{FF2B5EF4-FFF2-40B4-BE49-F238E27FC236}">
                <a16:creationId xmlns:a16="http://schemas.microsoft.com/office/drawing/2014/main" id="{D75F58EE-C5E7-44A2-101A-5B6EA0133C85}"/>
              </a:ext>
            </a:extLst>
          </p:cNvPr>
          <p:cNvGrpSpPr/>
          <p:nvPr/>
        </p:nvGrpSpPr>
        <p:grpSpPr>
          <a:xfrm>
            <a:off x="5179887" y="1534546"/>
            <a:ext cx="278272" cy="273726"/>
            <a:chOff x="5179887" y="1534546"/>
            <a:chExt cx="278272" cy="273726"/>
          </a:xfrm>
          <a:noFill/>
        </p:grpSpPr>
        <p:grpSp>
          <p:nvGrpSpPr>
            <p:cNvPr id="408" name="Gráfico 6">
              <a:extLst>
                <a:ext uri="{FF2B5EF4-FFF2-40B4-BE49-F238E27FC236}">
                  <a16:creationId xmlns:a16="http://schemas.microsoft.com/office/drawing/2014/main" id="{DE9CCDE7-B71C-30C4-7DE7-B2E03928173C}"/>
                </a:ext>
              </a:extLst>
            </p:cNvPr>
            <p:cNvGrpSpPr/>
            <p:nvPr/>
          </p:nvGrpSpPr>
          <p:grpSpPr>
            <a:xfrm>
              <a:off x="5179887" y="1564957"/>
              <a:ext cx="278272" cy="243316"/>
              <a:chOff x="5179887" y="1564957"/>
              <a:chExt cx="278272" cy="243316"/>
            </a:xfrm>
            <a:noFill/>
          </p:grpSpPr>
          <p:grpSp>
            <p:nvGrpSpPr>
              <p:cNvPr id="409" name="Gráfico 6">
                <a:extLst>
                  <a:ext uri="{FF2B5EF4-FFF2-40B4-BE49-F238E27FC236}">
                    <a16:creationId xmlns:a16="http://schemas.microsoft.com/office/drawing/2014/main" id="{EEEDC68F-2927-0C0F-CC04-40A8DAE4A726}"/>
                  </a:ext>
                </a:extLst>
              </p:cNvPr>
              <p:cNvGrpSpPr/>
              <p:nvPr/>
            </p:nvGrpSpPr>
            <p:grpSpPr>
              <a:xfrm>
                <a:off x="5333145" y="1564957"/>
                <a:ext cx="125015" cy="243316"/>
                <a:chOff x="5333145" y="1564957"/>
                <a:chExt cx="125015" cy="243316"/>
              </a:xfrm>
              <a:noFill/>
            </p:grpSpPr>
            <p:sp>
              <p:nvSpPr>
                <p:cNvPr id="410" name="Forma livre: Forma 409">
                  <a:extLst>
                    <a:ext uri="{FF2B5EF4-FFF2-40B4-BE49-F238E27FC236}">
                      <a16:creationId xmlns:a16="http://schemas.microsoft.com/office/drawing/2014/main" id="{388AD8D1-F7C2-FEBF-2632-958792A5CB20}"/>
                    </a:ext>
                  </a:extLst>
                </p:cNvPr>
                <p:cNvSpPr/>
                <p:nvPr/>
              </p:nvSpPr>
              <p:spPr>
                <a:xfrm>
                  <a:off x="5398636" y="1564957"/>
                  <a:ext cx="59524" cy="242744"/>
                </a:xfrm>
                <a:custGeom>
                  <a:avLst/>
                  <a:gdLst>
                    <a:gd name="connsiteX0" fmla="*/ 26806 w 59524"/>
                    <a:gd name="connsiteY0" fmla="*/ 80582 h 242744"/>
                    <a:gd name="connsiteX1" fmla="*/ 26806 w 59524"/>
                    <a:gd name="connsiteY1" fmla="*/ 18764 h 242744"/>
                    <a:gd name="connsiteX2" fmla="*/ 42665 w 59524"/>
                    <a:gd name="connsiteY2" fmla="*/ 0 h 242744"/>
                    <a:gd name="connsiteX3" fmla="*/ 59524 w 59524"/>
                    <a:gd name="connsiteY3" fmla="*/ 18574 h 242744"/>
                    <a:gd name="connsiteX4" fmla="*/ 59524 w 59524"/>
                    <a:gd name="connsiteY4" fmla="*/ 138541 h 242744"/>
                    <a:gd name="connsiteX5" fmla="*/ 4517 w 59524"/>
                    <a:gd name="connsiteY5" fmla="*/ 210360 h 242744"/>
                    <a:gd name="connsiteX6" fmla="*/ 326 w 59524"/>
                    <a:gd name="connsiteY6" fmla="*/ 242745 h 24274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59524" h="242744">
                      <a:moveTo>
                        <a:pt x="26806" y="80582"/>
                      </a:moveTo>
                      <a:lnTo>
                        <a:pt x="26806" y="18764"/>
                      </a:lnTo>
                      <a:cubicBezTo>
                        <a:pt x="26758" y="8525"/>
                        <a:pt x="33425" y="48"/>
                        <a:pt x="42665" y="0"/>
                      </a:cubicBezTo>
                      <a:cubicBezTo>
                        <a:pt x="51904" y="0"/>
                        <a:pt x="59476" y="8287"/>
                        <a:pt x="59524" y="18574"/>
                      </a:cubicBezTo>
                      <a:lnTo>
                        <a:pt x="59524" y="138541"/>
                      </a:lnTo>
                      <a:lnTo>
                        <a:pt x="4517" y="210360"/>
                      </a:lnTo>
                      <a:cubicBezTo>
                        <a:pt x="4517" y="210360"/>
                        <a:pt x="-1436" y="217313"/>
                        <a:pt x="326" y="242745"/>
                      </a:cubicBez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411" name="Forma livre: Forma 410">
                  <a:extLst>
                    <a:ext uri="{FF2B5EF4-FFF2-40B4-BE49-F238E27FC236}">
                      <a16:creationId xmlns:a16="http://schemas.microsoft.com/office/drawing/2014/main" id="{2174D5B6-A9C4-BFAC-B6A2-B8576B3D66E1}"/>
                    </a:ext>
                  </a:extLst>
                </p:cNvPr>
                <p:cNvSpPr/>
                <p:nvPr/>
              </p:nvSpPr>
              <p:spPr>
                <a:xfrm>
                  <a:off x="5333145" y="1662345"/>
                  <a:ext cx="103991" cy="145927"/>
                </a:xfrm>
                <a:custGeom>
                  <a:avLst/>
                  <a:gdLst>
                    <a:gd name="connsiteX0" fmla="*/ 0 w 103991"/>
                    <a:gd name="connsiteY0" fmla="*/ 145928 h 145927"/>
                    <a:gd name="connsiteX1" fmla="*/ 0 w 103991"/>
                    <a:gd name="connsiteY1" fmla="*/ 90206 h 145927"/>
                    <a:gd name="connsiteX2" fmla="*/ 25336 w 103991"/>
                    <a:gd name="connsiteY2" fmla="*/ 53869 h 145927"/>
                    <a:gd name="connsiteX3" fmla="*/ 49768 w 103991"/>
                    <a:gd name="connsiteY3" fmla="*/ 32866 h 145927"/>
                    <a:gd name="connsiteX4" fmla="*/ 71342 w 103991"/>
                    <a:gd name="connsiteY4" fmla="*/ 9482 h 145927"/>
                    <a:gd name="connsiteX5" fmla="*/ 99822 w 103991"/>
                    <a:gd name="connsiteY5" fmla="*/ 3338 h 145927"/>
                    <a:gd name="connsiteX6" fmla="*/ 96012 w 103991"/>
                    <a:gd name="connsiteY6" fmla="*/ 32199 h 145927"/>
                    <a:gd name="connsiteX7" fmla="*/ 65722 w 103991"/>
                    <a:gd name="connsiteY7" fmla="*/ 65013 h 14592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03991" h="145927">
                      <a:moveTo>
                        <a:pt x="0" y="145928"/>
                      </a:moveTo>
                      <a:lnTo>
                        <a:pt x="0" y="90206"/>
                      </a:lnTo>
                      <a:cubicBezTo>
                        <a:pt x="48" y="68537"/>
                        <a:pt x="25336" y="53869"/>
                        <a:pt x="25336" y="53869"/>
                      </a:cubicBezTo>
                      <a:cubicBezTo>
                        <a:pt x="36766" y="46201"/>
                        <a:pt x="49768" y="32866"/>
                        <a:pt x="49768" y="32866"/>
                      </a:cubicBezTo>
                      <a:lnTo>
                        <a:pt x="71342" y="9482"/>
                      </a:lnTo>
                      <a:cubicBezTo>
                        <a:pt x="80248" y="-138"/>
                        <a:pt x="93059" y="-2900"/>
                        <a:pt x="99822" y="3338"/>
                      </a:cubicBezTo>
                      <a:cubicBezTo>
                        <a:pt x="106632" y="9577"/>
                        <a:pt x="104918" y="22579"/>
                        <a:pt x="96012" y="32199"/>
                      </a:cubicBezTo>
                      <a:lnTo>
                        <a:pt x="65722" y="65013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412" name="Gráfico 6">
                <a:extLst>
                  <a:ext uri="{FF2B5EF4-FFF2-40B4-BE49-F238E27FC236}">
                    <a16:creationId xmlns:a16="http://schemas.microsoft.com/office/drawing/2014/main" id="{8628EEF5-7AFF-3970-B360-9A09C2D05B7F}"/>
                  </a:ext>
                </a:extLst>
              </p:cNvPr>
              <p:cNvGrpSpPr/>
              <p:nvPr/>
            </p:nvGrpSpPr>
            <p:grpSpPr>
              <a:xfrm>
                <a:off x="5179887" y="1564957"/>
                <a:ext cx="125015" cy="243316"/>
                <a:chOff x="5179887" y="1564957"/>
                <a:chExt cx="125015" cy="243316"/>
              </a:xfrm>
              <a:noFill/>
            </p:grpSpPr>
            <p:sp>
              <p:nvSpPr>
                <p:cNvPr id="413" name="Forma livre: Forma 412">
                  <a:extLst>
                    <a:ext uri="{FF2B5EF4-FFF2-40B4-BE49-F238E27FC236}">
                      <a16:creationId xmlns:a16="http://schemas.microsoft.com/office/drawing/2014/main" id="{01C93C75-78F2-FA1A-1F54-9E5DA9EB15DA}"/>
                    </a:ext>
                  </a:extLst>
                </p:cNvPr>
                <p:cNvSpPr/>
                <p:nvPr/>
              </p:nvSpPr>
              <p:spPr>
                <a:xfrm>
                  <a:off x="5179887" y="1564957"/>
                  <a:ext cx="59524" cy="242744"/>
                </a:xfrm>
                <a:custGeom>
                  <a:avLst/>
                  <a:gdLst>
                    <a:gd name="connsiteX0" fmla="*/ 32718 w 59524"/>
                    <a:gd name="connsiteY0" fmla="*/ 80582 h 242744"/>
                    <a:gd name="connsiteX1" fmla="*/ 32718 w 59524"/>
                    <a:gd name="connsiteY1" fmla="*/ 18764 h 242744"/>
                    <a:gd name="connsiteX2" fmla="*/ 16859 w 59524"/>
                    <a:gd name="connsiteY2" fmla="*/ 0 h 242744"/>
                    <a:gd name="connsiteX3" fmla="*/ 0 w 59524"/>
                    <a:gd name="connsiteY3" fmla="*/ 18574 h 242744"/>
                    <a:gd name="connsiteX4" fmla="*/ 0 w 59524"/>
                    <a:gd name="connsiteY4" fmla="*/ 138541 h 242744"/>
                    <a:gd name="connsiteX5" fmla="*/ 55007 w 59524"/>
                    <a:gd name="connsiteY5" fmla="*/ 210360 h 242744"/>
                    <a:gd name="connsiteX6" fmla="*/ 59198 w 59524"/>
                    <a:gd name="connsiteY6" fmla="*/ 242745 h 24274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59524" h="242744">
                      <a:moveTo>
                        <a:pt x="32718" y="80582"/>
                      </a:moveTo>
                      <a:lnTo>
                        <a:pt x="32718" y="18764"/>
                      </a:lnTo>
                      <a:cubicBezTo>
                        <a:pt x="32766" y="8525"/>
                        <a:pt x="26098" y="48"/>
                        <a:pt x="16859" y="0"/>
                      </a:cubicBezTo>
                      <a:cubicBezTo>
                        <a:pt x="7620" y="0"/>
                        <a:pt x="48" y="8287"/>
                        <a:pt x="0" y="18574"/>
                      </a:cubicBezTo>
                      <a:lnTo>
                        <a:pt x="0" y="138541"/>
                      </a:lnTo>
                      <a:cubicBezTo>
                        <a:pt x="0" y="138541"/>
                        <a:pt x="55007" y="210360"/>
                        <a:pt x="55007" y="210360"/>
                      </a:cubicBezTo>
                      <a:cubicBezTo>
                        <a:pt x="55007" y="210360"/>
                        <a:pt x="60960" y="217313"/>
                        <a:pt x="59198" y="242745"/>
                      </a:cubicBez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414" name="Forma livre: Forma 413">
                  <a:extLst>
                    <a:ext uri="{FF2B5EF4-FFF2-40B4-BE49-F238E27FC236}">
                      <a16:creationId xmlns:a16="http://schemas.microsoft.com/office/drawing/2014/main" id="{CC8B22B9-81B6-43D3-8657-85B0D0014648}"/>
                    </a:ext>
                  </a:extLst>
                </p:cNvPr>
                <p:cNvSpPr/>
                <p:nvPr/>
              </p:nvSpPr>
              <p:spPr>
                <a:xfrm>
                  <a:off x="5200911" y="1662345"/>
                  <a:ext cx="103991" cy="145927"/>
                </a:xfrm>
                <a:custGeom>
                  <a:avLst/>
                  <a:gdLst>
                    <a:gd name="connsiteX0" fmla="*/ 103992 w 103991"/>
                    <a:gd name="connsiteY0" fmla="*/ 145928 h 145927"/>
                    <a:gd name="connsiteX1" fmla="*/ 103992 w 103991"/>
                    <a:gd name="connsiteY1" fmla="*/ 90206 h 145927"/>
                    <a:gd name="connsiteX2" fmla="*/ 78655 w 103991"/>
                    <a:gd name="connsiteY2" fmla="*/ 53869 h 145927"/>
                    <a:gd name="connsiteX3" fmla="*/ 54224 w 103991"/>
                    <a:gd name="connsiteY3" fmla="*/ 32866 h 145927"/>
                    <a:gd name="connsiteX4" fmla="*/ 32650 w 103991"/>
                    <a:gd name="connsiteY4" fmla="*/ 9482 h 145927"/>
                    <a:gd name="connsiteX5" fmla="*/ 4170 w 103991"/>
                    <a:gd name="connsiteY5" fmla="*/ 3338 h 145927"/>
                    <a:gd name="connsiteX6" fmla="*/ 7980 w 103991"/>
                    <a:gd name="connsiteY6" fmla="*/ 32199 h 145927"/>
                    <a:gd name="connsiteX7" fmla="*/ 38269 w 103991"/>
                    <a:gd name="connsiteY7" fmla="*/ 65013 h 14592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03991" h="145927">
                      <a:moveTo>
                        <a:pt x="103992" y="145928"/>
                      </a:moveTo>
                      <a:lnTo>
                        <a:pt x="103992" y="90206"/>
                      </a:lnTo>
                      <a:cubicBezTo>
                        <a:pt x="103944" y="68537"/>
                        <a:pt x="78655" y="53869"/>
                        <a:pt x="78655" y="53869"/>
                      </a:cubicBezTo>
                      <a:cubicBezTo>
                        <a:pt x="67225" y="46201"/>
                        <a:pt x="54224" y="32866"/>
                        <a:pt x="54224" y="32866"/>
                      </a:cubicBezTo>
                      <a:lnTo>
                        <a:pt x="32650" y="9482"/>
                      </a:lnTo>
                      <a:cubicBezTo>
                        <a:pt x="23791" y="-138"/>
                        <a:pt x="10933" y="-2900"/>
                        <a:pt x="4170" y="3338"/>
                      </a:cubicBezTo>
                      <a:cubicBezTo>
                        <a:pt x="-2641" y="9577"/>
                        <a:pt x="-926" y="22579"/>
                        <a:pt x="7980" y="32199"/>
                      </a:cubicBezTo>
                      <a:lnTo>
                        <a:pt x="38269" y="65013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sp>
          <p:nvSpPr>
            <p:cNvPr id="415" name="Forma livre: Forma 414">
              <a:extLst>
                <a:ext uri="{FF2B5EF4-FFF2-40B4-BE49-F238E27FC236}">
                  <a16:creationId xmlns:a16="http://schemas.microsoft.com/office/drawing/2014/main" id="{823829C6-FF22-8D6F-678C-AE2E8E8ABC22}"/>
                </a:ext>
              </a:extLst>
            </p:cNvPr>
            <p:cNvSpPr/>
            <p:nvPr/>
          </p:nvSpPr>
          <p:spPr>
            <a:xfrm>
              <a:off x="5245775" y="1534546"/>
              <a:ext cx="146545" cy="126041"/>
            </a:xfrm>
            <a:custGeom>
              <a:avLst/>
              <a:gdLst>
                <a:gd name="connsiteX0" fmla="*/ 82417 w 146545"/>
                <a:gd name="connsiteY0" fmla="*/ 11265 h 126041"/>
                <a:gd name="connsiteX1" fmla="*/ 135805 w 146545"/>
                <a:gd name="connsiteY1" fmla="*/ 10741 h 126041"/>
                <a:gd name="connsiteX2" fmla="*/ 135281 w 146545"/>
                <a:gd name="connsiteY2" fmla="*/ 64129 h 126041"/>
                <a:gd name="connsiteX3" fmla="*/ 73273 w 146545"/>
                <a:gd name="connsiteY3" fmla="*/ 126041 h 126041"/>
                <a:gd name="connsiteX4" fmla="*/ 11265 w 146545"/>
                <a:gd name="connsiteY4" fmla="*/ 64129 h 126041"/>
                <a:gd name="connsiteX5" fmla="*/ 10741 w 146545"/>
                <a:gd name="connsiteY5" fmla="*/ 10741 h 126041"/>
                <a:gd name="connsiteX6" fmla="*/ 64129 w 146545"/>
                <a:gd name="connsiteY6" fmla="*/ 11265 h 126041"/>
                <a:gd name="connsiteX7" fmla="*/ 73273 w 146545"/>
                <a:gd name="connsiteY7" fmla="*/ 20362 h 126041"/>
                <a:gd name="connsiteX8" fmla="*/ 82465 w 146545"/>
                <a:gd name="connsiteY8" fmla="*/ 11265 h 1260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6545" h="126041">
                  <a:moveTo>
                    <a:pt x="82417" y="11265"/>
                  </a:moveTo>
                  <a:cubicBezTo>
                    <a:pt x="97228" y="-3546"/>
                    <a:pt x="121279" y="-3784"/>
                    <a:pt x="135805" y="10741"/>
                  </a:cubicBezTo>
                  <a:cubicBezTo>
                    <a:pt x="150330" y="25267"/>
                    <a:pt x="150092" y="49270"/>
                    <a:pt x="135281" y="64129"/>
                  </a:cubicBezTo>
                  <a:lnTo>
                    <a:pt x="73273" y="126041"/>
                  </a:lnTo>
                  <a:lnTo>
                    <a:pt x="11265" y="64129"/>
                  </a:lnTo>
                  <a:cubicBezTo>
                    <a:pt x="-3546" y="49318"/>
                    <a:pt x="-3784" y="25267"/>
                    <a:pt x="10741" y="10741"/>
                  </a:cubicBezTo>
                  <a:cubicBezTo>
                    <a:pt x="25267" y="-3784"/>
                    <a:pt x="49270" y="-3546"/>
                    <a:pt x="64129" y="11265"/>
                  </a:cubicBezTo>
                  <a:lnTo>
                    <a:pt x="73273" y="20362"/>
                  </a:lnTo>
                  <a:lnTo>
                    <a:pt x="82465" y="11265"/>
                  </a:ln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416" name="Gráfico 6">
            <a:extLst>
              <a:ext uri="{FF2B5EF4-FFF2-40B4-BE49-F238E27FC236}">
                <a16:creationId xmlns:a16="http://schemas.microsoft.com/office/drawing/2014/main" id="{CC1B8744-70DD-44B3-D0C2-22A59D014660}"/>
              </a:ext>
            </a:extLst>
          </p:cNvPr>
          <p:cNvGrpSpPr/>
          <p:nvPr/>
        </p:nvGrpSpPr>
        <p:grpSpPr>
          <a:xfrm>
            <a:off x="5180650" y="3124914"/>
            <a:ext cx="276701" cy="298180"/>
            <a:chOff x="5180650" y="3124914"/>
            <a:chExt cx="276701" cy="298180"/>
          </a:xfrm>
          <a:noFill/>
        </p:grpSpPr>
        <p:sp>
          <p:nvSpPr>
            <p:cNvPr id="417" name="Forma livre: Forma 416">
              <a:extLst>
                <a:ext uri="{FF2B5EF4-FFF2-40B4-BE49-F238E27FC236}">
                  <a16:creationId xmlns:a16="http://schemas.microsoft.com/office/drawing/2014/main" id="{837DCE7B-4F8E-F57F-ECB4-46679C4EAF5D}"/>
                </a:ext>
              </a:extLst>
            </p:cNvPr>
            <p:cNvSpPr/>
            <p:nvPr/>
          </p:nvSpPr>
          <p:spPr>
            <a:xfrm>
              <a:off x="5259088" y="3278790"/>
              <a:ext cx="124920" cy="113204"/>
            </a:xfrm>
            <a:custGeom>
              <a:avLst/>
              <a:gdLst>
                <a:gd name="connsiteX0" fmla="*/ 0 w 124920"/>
                <a:gd name="connsiteY0" fmla="*/ 73342 h 113204"/>
                <a:gd name="connsiteX1" fmla="*/ 59960 w 124920"/>
                <a:gd name="connsiteY1" fmla="*/ 113205 h 113204"/>
                <a:gd name="connsiteX2" fmla="*/ 124920 w 124920"/>
                <a:gd name="connsiteY2" fmla="*/ 48196 h 113204"/>
                <a:gd name="connsiteX3" fmla="*/ 103537 w 124920"/>
                <a:gd name="connsiteY3" fmla="*/ 0 h 1132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4920" h="113204">
                  <a:moveTo>
                    <a:pt x="0" y="73342"/>
                  </a:moveTo>
                  <a:cubicBezTo>
                    <a:pt x="9811" y="96774"/>
                    <a:pt x="32956" y="113205"/>
                    <a:pt x="59960" y="113205"/>
                  </a:cubicBezTo>
                  <a:cubicBezTo>
                    <a:pt x="95869" y="113205"/>
                    <a:pt x="124920" y="84106"/>
                    <a:pt x="124920" y="48196"/>
                  </a:cubicBezTo>
                  <a:cubicBezTo>
                    <a:pt x="124920" y="29051"/>
                    <a:pt x="116681" y="11906"/>
                    <a:pt x="103537" y="0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18" name="Forma livre: Forma 417">
              <a:extLst>
                <a:ext uri="{FF2B5EF4-FFF2-40B4-BE49-F238E27FC236}">
                  <a16:creationId xmlns:a16="http://schemas.microsoft.com/office/drawing/2014/main" id="{502B3B23-FBCD-F866-0004-D5860EB26C92}"/>
                </a:ext>
              </a:extLst>
            </p:cNvPr>
            <p:cNvSpPr/>
            <p:nvPr/>
          </p:nvSpPr>
          <p:spPr>
            <a:xfrm>
              <a:off x="5292140" y="3300079"/>
              <a:ext cx="53816" cy="53816"/>
            </a:xfrm>
            <a:custGeom>
              <a:avLst/>
              <a:gdLst>
                <a:gd name="connsiteX0" fmla="*/ 26908 w 53816"/>
                <a:gd name="connsiteY0" fmla="*/ 0 h 53816"/>
                <a:gd name="connsiteX1" fmla="*/ 0 w 53816"/>
                <a:gd name="connsiteY1" fmla="*/ 26908 h 53816"/>
                <a:gd name="connsiteX2" fmla="*/ 26908 w 53816"/>
                <a:gd name="connsiteY2" fmla="*/ 53816 h 53816"/>
                <a:gd name="connsiteX3" fmla="*/ 53816 w 53816"/>
                <a:gd name="connsiteY3" fmla="*/ 26908 h 538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3816" h="53816">
                  <a:moveTo>
                    <a:pt x="26908" y="0"/>
                  </a:moveTo>
                  <a:cubicBezTo>
                    <a:pt x="12049" y="0"/>
                    <a:pt x="0" y="12049"/>
                    <a:pt x="0" y="26908"/>
                  </a:cubicBezTo>
                  <a:cubicBezTo>
                    <a:pt x="0" y="41767"/>
                    <a:pt x="12049" y="53816"/>
                    <a:pt x="26908" y="53816"/>
                  </a:cubicBezTo>
                  <a:cubicBezTo>
                    <a:pt x="41767" y="53816"/>
                    <a:pt x="53816" y="41767"/>
                    <a:pt x="53816" y="26908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19" name="Forma livre: Forma 418">
              <a:extLst>
                <a:ext uri="{FF2B5EF4-FFF2-40B4-BE49-F238E27FC236}">
                  <a16:creationId xmlns:a16="http://schemas.microsoft.com/office/drawing/2014/main" id="{FE9B66B4-D6A1-B11F-D5C3-B2F5A048409C}"/>
                </a:ext>
              </a:extLst>
            </p:cNvPr>
            <p:cNvSpPr/>
            <p:nvPr/>
          </p:nvSpPr>
          <p:spPr>
            <a:xfrm>
              <a:off x="5180650" y="3270503"/>
              <a:ext cx="276701" cy="152590"/>
            </a:xfrm>
            <a:custGeom>
              <a:avLst/>
              <a:gdLst>
                <a:gd name="connsiteX0" fmla="*/ 16764 w 276701"/>
                <a:gd name="connsiteY0" fmla="*/ 57007 h 152590"/>
                <a:gd name="connsiteX1" fmla="*/ 0 w 276701"/>
                <a:gd name="connsiteY1" fmla="*/ 74295 h 152590"/>
                <a:gd name="connsiteX2" fmla="*/ 138351 w 276701"/>
                <a:gd name="connsiteY2" fmla="*/ 152591 h 152590"/>
                <a:gd name="connsiteX3" fmla="*/ 276701 w 276701"/>
                <a:gd name="connsiteY3" fmla="*/ 76295 h 152590"/>
                <a:gd name="connsiteX4" fmla="*/ 138351 w 276701"/>
                <a:gd name="connsiteY4" fmla="*/ 0 h 152590"/>
                <a:gd name="connsiteX5" fmla="*/ 104632 w 276701"/>
                <a:gd name="connsiteY5" fmla="*/ 4667 h 1525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76701" h="152590">
                  <a:moveTo>
                    <a:pt x="16764" y="57007"/>
                  </a:moveTo>
                  <a:cubicBezTo>
                    <a:pt x="6096" y="67008"/>
                    <a:pt x="0" y="74295"/>
                    <a:pt x="0" y="74295"/>
                  </a:cubicBezTo>
                  <a:cubicBezTo>
                    <a:pt x="0" y="74295"/>
                    <a:pt x="61960" y="152591"/>
                    <a:pt x="138351" y="152591"/>
                  </a:cubicBezTo>
                  <a:cubicBezTo>
                    <a:pt x="214741" y="152591"/>
                    <a:pt x="276701" y="76295"/>
                    <a:pt x="276701" y="76295"/>
                  </a:cubicBezTo>
                  <a:cubicBezTo>
                    <a:pt x="276701" y="76295"/>
                    <a:pt x="214741" y="0"/>
                    <a:pt x="138351" y="0"/>
                  </a:cubicBezTo>
                  <a:cubicBezTo>
                    <a:pt x="126730" y="0"/>
                    <a:pt x="115395" y="1714"/>
                    <a:pt x="104632" y="4667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20" name="Forma livre: Forma 419">
              <a:extLst>
                <a:ext uri="{FF2B5EF4-FFF2-40B4-BE49-F238E27FC236}">
                  <a16:creationId xmlns:a16="http://schemas.microsoft.com/office/drawing/2014/main" id="{9F82EF78-4F2B-0152-9C5C-2C9BAD75FD2B}"/>
                </a:ext>
              </a:extLst>
            </p:cNvPr>
            <p:cNvSpPr/>
            <p:nvPr/>
          </p:nvSpPr>
          <p:spPr>
            <a:xfrm>
              <a:off x="5212853" y="3248310"/>
              <a:ext cx="60761" cy="87963"/>
            </a:xfrm>
            <a:custGeom>
              <a:avLst/>
              <a:gdLst>
                <a:gd name="connsiteX0" fmla="*/ 50188 w 60761"/>
                <a:gd name="connsiteY0" fmla="*/ 30671 h 87963"/>
                <a:gd name="connsiteX1" fmla="*/ 29852 w 60761"/>
                <a:gd name="connsiteY1" fmla="*/ 0 h 87963"/>
                <a:gd name="connsiteX2" fmla="*/ 10326 w 60761"/>
                <a:gd name="connsiteY2" fmla="*/ 30671 h 87963"/>
                <a:gd name="connsiteX3" fmla="*/ 30233 w 60761"/>
                <a:gd name="connsiteY3" fmla="*/ 87963 h 87963"/>
                <a:gd name="connsiteX4" fmla="*/ 50140 w 60761"/>
                <a:gd name="connsiteY4" fmla="*/ 30671 h 879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761" h="87963">
                  <a:moveTo>
                    <a:pt x="50188" y="30671"/>
                  </a:moveTo>
                  <a:cubicBezTo>
                    <a:pt x="32090" y="9430"/>
                    <a:pt x="30042" y="1095"/>
                    <a:pt x="29852" y="0"/>
                  </a:cubicBezTo>
                  <a:cubicBezTo>
                    <a:pt x="29709" y="1048"/>
                    <a:pt x="27947" y="8858"/>
                    <a:pt x="10326" y="30671"/>
                  </a:cubicBezTo>
                  <a:cubicBezTo>
                    <a:pt x="-10153" y="56007"/>
                    <a:pt x="1563" y="86535"/>
                    <a:pt x="30233" y="87963"/>
                  </a:cubicBezTo>
                  <a:cubicBezTo>
                    <a:pt x="58903" y="86535"/>
                    <a:pt x="71286" y="55483"/>
                    <a:pt x="50140" y="30671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21" name="Forma livre: Forma 420">
              <a:extLst>
                <a:ext uri="{FF2B5EF4-FFF2-40B4-BE49-F238E27FC236}">
                  <a16:creationId xmlns:a16="http://schemas.microsoft.com/office/drawing/2014/main" id="{8D1D50DA-67B0-00A3-062A-909637C3DFD3}"/>
                </a:ext>
              </a:extLst>
            </p:cNvPr>
            <p:cNvSpPr/>
            <p:nvPr/>
          </p:nvSpPr>
          <p:spPr>
            <a:xfrm>
              <a:off x="5351480" y="3124914"/>
              <a:ext cx="90910" cy="65532"/>
            </a:xfrm>
            <a:custGeom>
              <a:avLst/>
              <a:gdLst>
                <a:gd name="connsiteX0" fmla="*/ 0 w 90910"/>
                <a:gd name="connsiteY0" fmla="*/ 29051 h 65532"/>
                <a:gd name="connsiteX1" fmla="*/ 61293 w 90910"/>
                <a:gd name="connsiteY1" fmla="*/ 2191 h 65532"/>
                <a:gd name="connsiteX2" fmla="*/ 89249 w 90910"/>
                <a:gd name="connsiteY2" fmla="*/ 11668 h 65532"/>
                <a:gd name="connsiteX3" fmla="*/ 89249 w 90910"/>
                <a:gd name="connsiteY3" fmla="*/ 11668 h 65532"/>
                <a:gd name="connsiteX4" fmla="*/ 77248 w 90910"/>
                <a:gd name="connsiteY4" fmla="*/ 38672 h 65532"/>
                <a:gd name="connsiteX5" fmla="*/ 15954 w 90910"/>
                <a:gd name="connsiteY5" fmla="*/ 65532 h 655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0910" h="65532">
                  <a:moveTo>
                    <a:pt x="0" y="29051"/>
                  </a:moveTo>
                  <a:lnTo>
                    <a:pt x="61293" y="2191"/>
                  </a:lnTo>
                  <a:cubicBezTo>
                    <a:pt x="73295" y="-3095"/>
                    <a:pt x="84868" y="1619"/>
                    <a:pt x="89249" y="11668"/>
                  </a:cubicBezTo>
                  <a:lnTo>
                    <a:pt x="89249" y="11668"/>
                  </a:lnTo>
                  <a:cubicBezTo>
                    <a:pt x="93631" y="21670"/>
                    <a:pt x="89249" y="33385"/>
                    <a:pt x="77248" y="38672"/>
                  </a:cubicBezTo>
                  <a:lnTo>
                    <a:pt x="15954" y="65532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22" name="Forma livre: Forma 421">
              <a:extLst>
                <a:ext uri="{FF2B5EF4-FFF2-40B4-BE49-F238E27FC236}">
                  <a16:creationId xmlns:a16="http://schemas.microsoft.com/office/drawing/2014/main" id="{A03F3B22-68CD-58E2-FDF9-502E743F4FC9}"/>
                </a:ext>
              </a:extLst>
            </p:cNvPr>
            <p:cNvSpPr/>
            <p:nvPr/>
          </p:nvSpPr>
          <p:spPr>
            <a:xfrm>
              <a:off x="5248625" y="3166395"/>
              <a:ext cx="114618" cy="60199"/>
            </a:xfrm>
            <a:custGeom>
              <a:avLst/>
              <a:gdLst>
                <a:gd name="connsiteX0" fmla="*/ 114619 w 114618"/>
                <a:gd name="connsiteY0" fmla="*/ 20765 h 60199"/>
                <a:gd name="connsiteX1" fmla="*/ 32704 w 114618"/>
                <a:gd name="connsiteY1" fmla="*/ 56674 h 60199"/>
                <a:gd name="connsiteX2" fmla="*/ 414 w 114618"/>
                <a:gd name="connsiteY2" fmla="*/ 54197 h 60199"/>
                <a:gd name="connsiteX3" fmla="*/ 20512 w 114618"/>
                <a:gd name="connsiteY3" fmla="*/ 28766 h 60199"/>
                <a:gd name="connsiteX4" fmla="*/ 86187 w 114618"/>
                <a:gd name="connsiteY4" fmla="*/ 0 h 601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4618" h="60199">
                  <a:moveTo>
                    <a:pt x="114619" y="20765"/>
                  </a:moveTo>
                  <a:lnTo>
                    <a:pt x="32704" y="56674"/>
                  </a:lnTo>
                  <a:cubicBezTo>
                    <a:pt x="18321" y="63008"/>
                    <a:pt x="2938" y="59960"/>
                    <a:pt x="414" y="54197"/>
                  </a:cubicBezTo>
                  <a:cubicBezTo>
                    <a:pt x="-1967" y="48720"/>
                    <a:pt x="6081" y="35100"/>
                    <a:pt x="20512" y="28766"/>
                  </a:cubicBezTo>
                  <a:lnTo>
                    <a:pt x="86187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23" name="Forma livre: Forma 422">
              <a:extLst>
                <a:ext uri="{FF2B5EF4-FFF2-40B4-BE49-F238E27FC236}">
                  <a16:creationId xmlns:a16="http://schemas.microsoft.com/office/drawing/2014/main" id="{D85CB935-67D9-3523-FF55-5235ACC5C290}"/>
                </a:ext>
              </a:extLst>
            </p:cNvPr>
            <p:cNvSpPr/>
            <p:nvPr/>
          </p:nvSpPr>
          <p:spPr>
            <a:xfrm>
              <a:off x="5348004" y="3147917"/>
              <a:ext cx="21574" cy="49196"/>
            </a:xfrm>
            <a:custGeom>
              <a:avLst/>
              <a:gdLst>
                <a:gd name="connsiteX0" fmla="*/ 0 w 21574"/>
                <a:gd name="connsiteY0" fmla="*/ 0 h 49196"/>
                <a:gd name="connsiteX1" fmla="*/ 21574 w 21574"/>
                <a:gd name="connsiteY1" fmla="*/ 49197 h 491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1574" h="49196">
                  <a:moveTo>
                    <a:pt x="0" y="0"/>
                  </a:moveTo>
                  <a:lnTo>
                    <a:pt x="21574" y="49197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424" name="Gráfico 6">
            <a:extLst>
              <a:ext uri="{FF2B5EF4-FFF2-40B4-BE49-F238E27FC236}">
                <a16:creationId xmlns:a16="http://schemas.microsoft.com/office/drawing/2014/main" id="{8142D962-101D-DFDB-1093-14B2A89C7B19}"/>
              </a:ext>
            </a:extLst>
          </p:cNvPr>
          <p:cNvGrpSpPr/>
          <p:nvPr/>
        </p:nvGrpSpPr>
        <p:grpSpPr>
          <a:xfrm>
            <a:off x="5165171" y="1022977"/>
            <a:ext cx="307800" cy="228368"/>
            <a:chOff x="5165171" y="1022977"/>
            <a:chExt cx="307800" cy="228368"/>
          </a:xfrm>
          <a:noFill/>
        </p:grpSpPr>
        <p:sp>
          <p:nvSpPr>
            <p:cNvPr id="425" name="Forma livre: Forma 424">
              <a:extLst>
                <a:ext uri="{FF2B5EF4-FFF2-40B4-BE49-F238E27FC236}">
                  <a16:creationId xmlns:a16="http://schemas.microsoft.com/office/drawing/2014/main" id="{8E03384C-4885-DAE5-B6C9-9D838D6B0199}"/>
                </a:ext>
              </a:extLst>
            </p:cNvPr>
            <p:cNvSpPr/>
            <p:nvPr/>
          </p:nvSpPr>
          <p:spPr>
            <a:xfrm>
              <a:off x="5165171" y="1175051"/>
              <a:ext cx="307800" cy="76295"/>
            </a:xfrm>
            <a:custGeom>
              <a:avLst/>
              <a:gdLst>
                <a:gd name="connsiteX0" fmla="*/ 307800 w 307800"/>
                <a:gd name="connsiteY0" fmla="*/ 0 h 76295"/>
                <a:gd name="connsiteX1" fmla="*/ 279844 w 307800"/>
                <a:gd name="connsiteY1" fmla="*/ 0 h 76295"/>
                <a:gd name="connsiteX2" fmla="*/ 253079 w 307800"/>
                <a:gd name="connsiteY2" fmla="*/ 11049 h 76295"/>
                <a:gd name="connsiteX3" fmla="*/ 223409 w 307800"/>
                <a:gd name="connsiteY3" fmla="*/ 22812 h 76295"/>
                <a:gd name="connsiteX4" fmla="*/ 0 w 307800"/>
                <a:gd name="connsiteY4" fmla="*/ 22812 h 76295"/>
                <a:gd name="connsiteX5" fmla="*/ 0 w 307800"/>
                <a:gd name="connsiteY5" fmla="*/ 57245 h 76295"/>
                <a:gd name="connsiteX6" fmla="*/ 19050 w 307800"/>
                <a:gd name="connsiteY6" fmla="*/ 76295 h 76295"/>
                <a:gd name="connsiteX7" fmla="*/ 223409 w 307800"/>
                <a:gd name="connsiteY7" fmla="*/ 76295 h 76295"/>
                <a:gd name="connsiteX8" fmla="*/ 253079 w 307800"/>
                <a:gd name="connsiteY8" fmla="*/ 64580 h 76295"/>
                <a:gd name="connsiteX9" fmla="*/ 279844 w 307800"/>
                <a:gd name="connsiteY9" fmla="*/ 53531 h 76295"/>
                <a:gd name="connsiteX10" fmla="*/ 307800 w 307800"/>
                <a:gd name="connsiteY10" fmla="*/ 53531 h 762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07800" h="76295">
                  <a:moveTo>
                    <a:pt x="307800" y="0"/>
                  </a:moveTo>
                  <a:lnTo>
                    <a:pt x="279844" y="0"/>
                  </a:lnTo>
                  <a:cubicBezTo>
                    <a:pt x="265557" y="0"/>
                    <a:pt x="260413" y="6715"/>
                    <a:pt x="253079" y="11049"/>
                  </a:cubicBezTo>
                  <a:cubicBezTo>
                    <a:pt x="243935" y="16478"/>
                    <a:pt x="235982" y="22812"/>
                    <a:pt x="223409" y="22812"/>
                  </a:cubicBezTo>
                  <a:lnTo>
                    <a:pt x="0" y="22812"/>
                  </a:lnTo>
                  <a:lnTo>
                    <a:pt x="0" y="57245"/>
                  </a:lnTo>
                  <a:cubicBezTo>
                    <a:pt x="0" y="67723"/>
                    <a:pt x="8573" y="76295"/>
                    <a:pt x="19050" y="76295"/>
                  </a:cubicBezTo>
                  <a:lnTo>
                    <a:pt x="223409" y="76295"/>
                  </a:lnTo>
                  <a:cubicBezTo>
                    <a:pt x="235982" y="76295"/>
                    <a:pt x="243935" y="70009"/>
                    <a:pt x="253079" y="64580"/>
                  </a:cubicBezTo>
                  <a:cubicBezTo>
                    <a:pt x="260413" y="60198"/>
                    <a:pt x="265557" y="53531"/>
                    <a:pt x="279844" y="53531"/>
                  </a:cubicBezTo>
                  <a:lnTo>
                    <a:pt x="307800" y="53531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26" name="Forma livre: Forma 425">
              <a:extLst>
                <a:ext uri="{FF2B5EF4-FFF2-40B4-BE49-F238E27FC236}">
                  <a16:creationId xmlns:a16="http://schemas.microsoft.com/office/drawing/2014/main" id="{CBFB678C-5CFB-A284-11F4-3236A8979592}"/>
                </a:ext>
              </a:extLst>
            </p:cNvPr>
            <p:cNvSpPr/>
            <p:nvPr/>
          </p:nvSpPr>
          <p:spPr>
            <a:xfrm>
              <a:off x="5346146" y="1119996"/>
              <a:ext cx="4762" cy="57150"/>
            </a:xfrm>
            <a:custGeom>
              <a:avLst/>
              <a:gdLst>
                <a:gd name="connsiteX0" fmla="*/ 0 w 4762"/>
                <a:gd name="connsiteY0" fmla="*/ 0 h 57150"/>
                <a:gd name="connsiteX1" fmla="*/ 0 w 4762"/>
                <a:gd name="connsiteY1" fmla="*/ 57150 h 57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762" h="57150">
                  <a:moveTo>
                    <a:pt x="0" y="0"/>
                  </a:moveTo>
                  <a:lnTo>
                    <a:pt x="0" y="5715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27" name="Forma livre: Forma 426">
              <a:extLst>
                <a:ext uri="{FF2B5EF4-FFF2-40B4-BE49-F238E27FC236}">
                  <a16:creationId xmlns:a16="http://schemas.microsoft.com/office/drawing/2014/main" id="{347550FA-AD8F-454A-644A-552595AB046C}"/>
                </a:ext>
              </a:extLst>
            </p:cNvPr>
            <p:cNvSpPr/>
            <p:nvPr/>
          </p:nvSpPr>
          <p:spPr>
            <a:xfrm>
              <a:off x="5192222" y="1050749"/>
              <a:ext cx="20574" cy="21526"/>
            </a:xfrm>
            <a:custGeom>
              <a:avLst/>
              <a:gdLst>
                <a:gd name="connsiteX0" fmla="*/ 20574 w 20574"/>
                <a:gd name="connsiteY0" fmla="*/ 0 h 21526"/>
                <a:gd name="connsiteX1" fmla="*/ 0 w 20574"/>
                <a:gd name="connsiteY1" fmla="*/ 21527 h 215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0574" h="21526">
                  <a:moveTo>
                    <a:pt x="20574" y="0"/>
                  </a:moveTo>
                  <a:cubicBezTo>
                    <a:pt x="9858" y="1953"/>
                    <a:pt x="1476" y="10668"/>
                    <a:pt x="0" y="21527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28" name="Forma livre: Forma 427">
              <a:extLst>
                <a:ext uri="{FF2B5EF4-FFF2-40B4-BE49-F238E27FC236}">
                  <a16:creationId xmlns:a16="http://schemas.microsoft.com/office/drawing/2014/main" id="{E4906794-E43C-9253-234D-8AF6106A9C60}"/>
                </a:ext>
              </a:extLst>
            </p:cNvPr>
            <p:cNvSpPr/>
            <p:nvPr/>
          </p:nvSpPr>
          <p:spPr>
            <a:xfrm>
              <a:off x="5165981" y="1022977"/>
              <a:ext cx="230574" cy="95352"/>
            </a:xfrm>
            <a:custGeom>
              <a:avLst/>
              <a:gdLst>
                <a:gd name="connsiteX0" fmla="*/ 213836 w 230574"/>
                <a:gd name="connsiteY0" fmla="*/ 95352 h 95352"/>
                <a:gd name="connsiteX1" fmla="*/ 213074 w 230574"/>
                <a:gd name="connsiteY1" fmla="*/ 6532 h 95352"/>
                <a:gd name="connsiteX2" fmla="*/ 127968 w 230574"/>
                <a:gd name="connsiteY2" fmla="*/ 24201 h 95352"/>
                <a:gd name="connsiteX3" fmla="*/ 54769 w 230574"/>
                <a:gd name="connsiteY3" fmla="*/ 198 h 95352"/>
                <a:gd name="connsiteX4" fmla="*/ 0 w 230574"/>
                <a:gd name="connsiteY4" fmla="*/ 56157 h 95352"/>
                <a:gd name="connsiteX5" fmla="*/ 3286 w 230574"/>
                <a:gd name="connsiteY5" fmla="*/ 74731 h 953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30574" h="95352">
                  <a:moveTo>
                    <a:pt x="213836" y="95352"/>
                  </a:moveTo>
                  <a:cubicBezTo>
                    <a:pt x="251936" y="56443"/>
                    <a:pt x="213074" y="6532"/>
                    <a:pt x="213074" y="6532"/>
                  </a:cubicBezTo>
                  <a:cubicBezTo>
                    <a:pt x="186071" y="49394"/>
                    <a:pt x="144637" y="34202"/>
                    <a:pt x="127968" y="24201"/>
                  </a:cubicBezTo>
                  <a:cubicBezTo>
                    <a:pt x="81344" y="-3803"/>
                    <a:pt x="54769" y="198"/>
                    <a:pt x="54769" y="198"/>
                  </a:cubicBezTo>
                  <a:cubicBezTo>
                    <a:pt x="22050" y="198"/>
                    <a:pt x="0" y="25582"/>
                    <a:pt x="0" y="56157"/>
                  </a:cubicBezTo>
                  <a:cubicBezTo>
                    <a:pt x="0" y="62682"/>
                    <a:pt x="1238" y="68920"/>
                    <a:pt x="3286" y="74731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29" name="Forma livre: Forma 428">
              <a:extLst>
                <a:ext uri="{FF2B5EF4-FFF2-40B4-BE49-F238E27FC236}">
                  <a16:creationId xmlns:a16="http://schemas.microsoft.com/office/drawing/2014/main" id="{D793F2BC-1C52-8975-18D2-9FE0E828E187}"/>
                </a:ext>
              </a:extLst>
            </p:cNvPr>
            <p:cNvSpPr/>
            <p:nvPr/>
          </p:nvSpPr>
          <p:spPr>
            <a:xfrm>
              <a:off x="5181078" y="1119187"/>
              <a:ext cx="15097" cy="57959"/>
            </a:xfrm>
            <a:custGeom>
              <a:avLst/>
              <a:gdLst>
                <a:gd name="connsiteX0" fmla="*/ 15097 w 15097"/>
                <a:gd name="connsiteY0" fmla="*/ 0 h 57959"/>
                <a:gd name="connsiteX1" fmla="*/ 0 w 15097"/>
                <a:gd name="connsiteY1" fmla="*/ 0 h 57959"/>
                <a:gd name="connsiteX2" fmla="*/ 0 w 15097"/>
                <a:gd name="connsiteY2" fmla="*/ 57960 h 579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5097" h="57959">
                  <a:moveTo>
                    <a:pt x="15097" y="0"/>
                  </a:moveTo>
                  <a:lnTo>
                    <a:pt x="0" y="0"/>
                  </a:lnTo>
                  <a:lnTo>
                    <a:pt x="0" y="5796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30" name="Forma livre: Forma 429">
              <a:extLst>
                <a:ext uri="{FF2B5EF4-FFF2-40B4-BE49-F238E27FC236}">
                  <a16:creationId xmlns:a16="http://schemas.microsoft.com/office/drawing/2014/main" id="{863E812C-284C-8435-8328-F981B7D9B0D0}"/>
                </a:ext>
              </a:extLst>
            </p:cNvPr>
            <p:cNvSpPr/>
            <p:nvPr/>
          </p:nvSpPr>
          <p:spPr>
            <a:xfrm>
              <a:off x="5313142" y="1119187"/>
              <a:ext cx="66055" cy="77819"/>
            </a:xfrm>
            <a:custGeom>
              <a:avLst/>
              <a:gdLst>
                <a:gd name="connsiteX0" fmla="*/ 0 w 66055"/>
                <a:gd name="connsiteY0" fmla="*/ 57960 h 77819"/>
                <a:gd name="connsiteX1" fmla="*/ 0 w 66055"/>
                <a:gd name="connsiteY1" fmla="*/ 0 h 77819"/>
                <a:gd name="connsiteX2" fmla="*/ 66056 w 66055"/>
                <a:gd name="connsiteY2" fmla="*/ 0 h 77819"/>
                <a:gd name="connsiteX3" fmla="*/ 66056 w 66055"/>
                <a:gd name="connsiteY3" fmla="*/ 77819 h 778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6055" h="77819">
                  <a:moveTo>
                    <a:pt x="0" y="57960"/>
                  </a:moveTo>
                  <a:lnTo>
                    <a:pt x="0" y="0"/>
                  </a:lnTo>
                  <a:lnTo>
                    <a:pt x="66056" y="0"/>
                  </a:lnTo>
                  <a:lnTo>
                    <a:pt x="66056" y="77819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31" name="Forma livre: Forma 430">
              <a:extLst>
                <a:ext uri="{FF2B5EF4-FFF2-40B4-BE49-F238E27FC236}">
                  <a16:creationId xmlns:a16="http://schemas.microsoft.com/office/drawing/2014/main" id="{C55B48F1-C766-F468-B4A7-A5B339B99FE1}"/>
                </a:ext>
              </a:extLst>
            </p:cNvPr>
            <p:cNvSpPr/>
            <p:nvPr/>
          </p:nvSpPr>
          <p:spPr>
            <a:xfrm>
              <a:off x="5214035" y="1119187"/>
              <a:ext cx="15192" cy="57959"/>
            </a:xfrm>
            <a:custGeom>
              <a:avLst/>
              <a:gdLst>
                <a:gd name="connsiteX0" fmla="*/ 0 w 15192"/>
                <a:gd name="connsiteY0" fmla="*/ 57960 h 57959"/>
                <a:gd name="connsiteX1" fmla="*/ 0 w 15192"/>
                <a:gd name="connsiteY1" fmla="*/ 0 h 57959"/>
                <a:gd name="connsiteX2" fmla="*/ 15192 w 15192"/>
                <a:gd name="connsiteY2" fmla="*/ 0 h 579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5192" h="57959">
                  <a:moveTo>
                    <a:pt x="0" y="57960"/>
                  </a:moveTo>
                  <a:lnTo>
                    <a:pt x="0" y="0"/>
                  </a:lnTo>
                  <a:lnTo>
                    <a:pt x="15192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32" name="Forma livre: Forma 431">
              <a:extLst>
                <a:ext uri="{FF2B5EF4-FFF2-40B4-BE49-F238E27FC236}">
                  <a16:creationId xmlns:a16="http://schemas.microsoft.com/office/drawing/2014/main" id="{08074518-B51D-18E4-F53D-5C877BC40884}"/>
                </a:ext>
              </a:extLst>
            </p:cNvPr>
            <p:cNvSpPr/>
            <p:nvPr/>
          </p:nvSpPr>
          <p:spPr>
            <a:xfrm>
              <a:off x="5280090" y="1119187"/>
              <a:ext cx="15192" cy="57959"/>
            </a:xfrm>
            <a:custGeom>
              <a:avLst/>
              <a:gdLst>
                <a:gd name="connsiteX0" fmla="*/ 0 w 15192"/>
                <a:gd name="connsiteY0" fmla="*/ 57960 h 57959"/>
                <a:gd name="connsiteX1" fmla="*/ 0 w 15192"/>
                <a:gd name="connsiteY1" fmla="*/ 0 h 57959"/>
                <a:gd name="connsiteX2" fmla="*/ 15192 w 15192"/>
                <a:gd name="connsiteY2" fmla="*/ 0 h 579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5192" h="57959">
                  <a:moveTo>
                    <a:pt x="0" y="57960"/>
                  </a:moveTo>
                  <a:lnTo>
                    <a:pt x="0" y="0"/>
                  </a:lnTo>
                  <a:lnTo>
                    <a:pt x="15192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33" name="Forma livre: Forma 432">
              <a:extLst>
                <a:ext uri="{FF2B5EF4-FFF2-40B4-BE49-F238E27FC236}">
                  <a16:creationId xmlns:a16="http://schemas.microsoft.com/office/drawing/2014/main" id="{A4805E6F-C533-B597-81E4-29D229B4B131}"/>
                </a:ext>
              </a:extLst>
            </p:cNvPr>
            <p:cNvSpPr/>
            <p:nvPr/>
          </p:nvSpPr>
          <p:spPr>
            <a:xfrm>
              <a:off x="5247086" y="1119187"/>
              <a:ext cx="15144" cy="57959"/>
            </a:xfrm>
            <a:custGeom>
              <a:avLst/>
              <a:gdLst>
                <a:gd name="connsiteX0" fmla="*/ 0 w 15144"/>
                <a:gd name="connsiteY0" fmla="*/ 57960 h 57959"/>
                <a:gd name="connsiteX1" fmla="*/ 0 w 15144"/>
                <a:gd name="connsiteY1" fmla="*/ 0 h 57959"/>
                <a:gd name="connsiteX2" fmla="*/ 15145 w 15144"/>
                <a:gd name="connsiteY2" fmla="*/ 0 h 579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5144" h="57959">
                  <a:moveTo>
                    <a:pt x="0" y="57960"/>
                  </a:moveTo>
                  <a:lnTo>
                    <a:pt x="0" y="0"/>
                  </a:lnTo>
                  <a:lnTo>
                    <a:pt x="15145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434" name="Gráfico 6">
            <a:extLst>
              <a:ext uri="{FF2B5EF4-FFF2-40B4-BE49-F238E27FC236}">
                <a16:creationId xmlns:a16="http://schemas.microsoft.com/office/drawing/2014/main" id="{3D01563F-15AF-811E-5E57-A0FFAB89E288}"/>
              </a:ext>
            </a:extLst>
          </p:cNvPr>
          <p:cNvGrpSpPr/>
          <p:nvPr/>
        </p:nvGrpSpPr>
        <p:grpSpPr>
          <a:xfrm>
            <a:off x="5157486" y="2620483"/>
            <a:ext cx="323075" cy="238682"/>
            <a:chOff x="5157486" y="2620483"/>
            <a:chExt cx="323075" cy="238682"/>
          </a:xfrm>
        </p:grpSpPr>
        <p:sp>
          <p:nvSpPr>
            <p:cNvPr id="435" name="Forma livre: Forma 434">
              <a:extLst>
                <a:ext uri="{FF2B5EF4-FFF2-40B4-BE49-F238E27FC236}">
                  <a16:creationId xmlns:a16="http://schemas.microsoft.com/office/drawing/2014/main" id="{F0FC7163-FDD9-98C9-1118-AA2A56ACC48A}"/>
                </a:ext>
              </a:extLst>
            </p:cNvPr>
            <p:cNvSpPr/>
            <p:nvPr/>
          </p:nvSpPr>
          <p:spPr>
            <a:xfrm>
              <a:off x="5316667" y="2756868"/>
              <a:ext cx="6667" cy="6667"/>
            </a:xfrm>
            <a:custGeom>
              <a:avLst/>
              <a:gdLst>
                <a:gd name="connsiteX0" fmla="*/ 6667 w 6667"/>
                <a:gd name="connsiteY0" fmla="*/ 3334 h 6667"/>
                <a:gd name="connsiteX1" fmla="*/ 3334 w 6667"/>
                <a:gd name="connsiteY1" fmla="*/ 6667 h 6667"/>
                <a:gd name="connsiteX2" fmla="*/ 0 w 6667"/>
                <a:gd name="connsiteY2" fmla="*/ 3334 h 6667"/>
                <a:gd name="connsiteX3" fmla="*/ 3334 w 6667"/>
                <a:gd name="connsiteY3" fmla="*/ 0 h 6667"/>
                <a:gd name="connsiteX4" fmla="*/ 6667 w 6667"/>
                <a:gd name="connsiteY4" fmla="*/ 3334 h 66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667" h="6667">
                  <a:moveTo>
                    <a:pt x="6667" y="3334"/>
                  </a:moveTo>
                  <a:cubicBezTo>
                    <a:pt x="6667" y="5191"/>
                    <a:pt x="5191" y="6667"/>
                    <a:pt x="3334" y="6667"/>
                  </a:cubicBezTo>
                  <a:cubicBezTo>
                    <a:pt x="1476" y="6667"/>
                    <a:pt x="0" y="5191"/>
                    <a:pt x="0" y="3334"/>
                  </a:cubicBezTo>
                  <a:cubicBezTo>
                    <a:pt x="0" y="1476"/>
                    <a:pt x="1476" y="0"/>
                    <a:pt x="3334" y="0"/>
                  </a:cubicBezTo>
                  <a:cubicBezTo>
                    <a:pt x="5191" y="0"/>
                    <a:pt x="6667" y="1476"/>
                    <a:pt x="6667" y="3334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36" name="Forma livre: Forma 435">
              <a:extLst>
                <a:ext uri="{FF2B5EF4-FFF2-40B4-BE49-F238E27FC236}">
                  <a16:creationId xmlns:a16="http://schemas.microsoft.com/office/drawing/2014/main" id="{A05B4D30-C203-F6CE-B0B3-00AA899D7603}"/>
                </a:ext>
              </a:extLst>
            </p:cNvPr>
            <p:cNvSpPr/>
            <p:nvPr/>
          </p:nvSpPr>
          <p:spPr>
            <a:xfrm>
              <a:off x="5294950" y="2790205"/>
              <a:ext cx="6667" cy="6667"/>
            </a:xfrm>
            <a:custGeom>
              <a:avLst/>
              <a:gdLst>
                <a:gd name="connsiteX0" fmla="*/ 6667 w 6667"/>
                <a:gd name="connsiteY0" fmla="*/ 3334 h 6667"/>
                <a:gd name="connsiteX1" fmla="*/ 3334 w 6667"/>
                <a:gd name="connsiteY1" fmla="*/ 6667 h 6667"/>
                <a:gd name="connsiteX2" fmla="*/ 0 w 6667"/>
                <a:gd name="connsiteY2" fmla="*/ 3334 h 6667"/>
                <a:gd name="connsiteX3" fmla="*/ 3334 w 6667"/>
                <a:gd name="connsiteY3" fmla="*/ 0 h 6667"/>
                <a:gd name="connsiteX4" fmla="*/ 6667 w 6667"/>
                <a:gd name="connsiteY4" fmla="*/ 3334 h 66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667" h="6667">
                  <a:moveTo>
                    <a:pt x="6667" y="3334"/>
                  </a:moveTo>
                  <a:cubicBezTo>
                    <a:pt x="6667" y="5191"/>
                    <a:pt x="5191" y="6667"/>
                    <a:pt x="3334" y="6667"/>
                  </a:cubicBezTo>
                  <a:cubicBezTo>
                    <a:pt x="1476" y="6667"/>
                    <a:pt x="0" y="5191"/>
                    <a:pt x="0" y="3334"/>
                  </a:cubicBezTo>
                  <a:cubicBezTo>
                    <a:pt x="0" y="1476"/>
                    <a:pt x="1476" y="0"/>
                    <a:pt x="3334" y="0"/>
                  </a:cubicBezTo>
                  <a:cubicBezTo>
                    <a:pt x="5191" y="0"/>
                    <a:pt x="6667" y="1476"/>
                    <a:pt x="6667" y="3334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37" name="Forma livre: Forma 436">
              <a:extLst>
                <a:ext uri="{FF2B5EF4-FFF2-40B4-BE49-F238E27FC236}">
                  <a16:creationId xmlns:a16="http://schemas.microsoft.com/office/drawing/2014/main" id="{2FF0D8ED-A148-AF43-B8BE-9642D588DB1E}"/>
                </a:ext>
              </a:extLst>
            </p:cNvPr>
            <p:cNvSpPr/>
            <p:nvPr/>
          </p:nvSpPr>
          <p:spPr>
            <a:xfrm>
              <a:off x="5332383" y="2799921"/>
              <a:ext cx="6667" cy="6667"/>
            </a:xfrm>
            <a:custGeom>
              <a:avLst/>
              <a:gdLst>
                <a:gd name="connsiteX0" fmla="*/ 6667 w 6667"/>
                <a:gd name="connsiteY0" fmla="*/ 3334 h 6667"/>
                <a:gd name="connsiteX1" fmla="*/ 3334 w 6667"/>
                <a:gd name="connsiteY1" fmla="*/ 6667 h 6667"/>
                <a:gd name="connsiteX2" fmla="*/ 0 w 6667"/>
                <a:gd name="connsiteY2" fmla="*/ 3334 h 6667"/>
                <a:gd name="connsiteX3" fmla="*/ 3334 w 6667"/>
                <a:gd name="connsiteY3" fmla="*/ 0 h 6667"/>
                <a:gd name="connsiteX4" fmla="*/ 6667 w 6667"/>
                <a:gd name="connsiteY4" fmla="*/ 3334 h 66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667" h="6667">
                  <a:moveTo>
                    <a:pt x="6667" y="3334"/>
                  </a:moveTo>
                  <a:cubicBezTo>
                    <a:pt x="6667" y="5191"/>
                    <a:pt x="5191" y="6667"/>
                    <a:pt x="3334" y="6667"/>
                  </a:cubicBezTo>
                  <a:cubicBezTo>
                    <a:pt x="1476" y="6667"/>
                    <a:pt x="0" y="5191"/>
                    <a:pt x="0" y="3334"/>
                  </a:cubicBezTo>
                  <a:cubicBezTo>
                    <a:pt x="0" y="1476"/>
                    <a:pt x="1476" y="0"/>
                    <a:pt x="3334" y="0"/>
                  </a:cubicBezTo>
                  <a:cubicBezTo>
                    <a:pt x="5191" y="0"/>
                    <a:pt x="6667" y="1476"/>
                    <a:pt x="6667" y="3334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38" name="Forma livre: Forma 437">
              <a:extLst>
                <a:ext uri="{FF2B5EF4-FFF2-40B4-BE49-F238E27FC236}">
                  <a16:creationId xmlns:a16="http://schemas.microsoft.com/office/drawing/2014/main" id="{3ED717E5-E81B-032A-9521-E4F17098A315}"/>
                </a:ext>
              </a:extLst>
            </p:cNvPr>
            <p:cNvSpPr/>
            <p:nvPr/>
          </p:nvSpPr>
          <p:spPr>
            <a:xfrm>
              <a:off x="5289996" y="2819114"/>
              <a:ext cx="6667" cy="6667"/>
            </a:xfrm>
            <a:custGeom>
              <a:avLst/>
              <a:gdLst>
                <a:gd name="connsiteX0" fmla="*/ 6668 w 6667"/>
                <a:gd name="connsiteY0" fmla="*/ 3334 h 6667"/>
                <a:gd name="connsiteX1" fmla="*/ 3334 w 6667"/>
                <a:gd name="connsiteY1" fmla="*/ 6667 h 6667"/>
                <a:gd name="connsiteX2" fmla="*/ 0 w 6667"/>
                <a:gd name="connsiteY2" fmla="*/ 3334 h 6667"/>
                <a:gd name="connsiteX3" fmla="*/ 3334 w 6667"/>
                <a:gd name="connsiteY3" fmla="*/ 0 h 6667"/>
                <a:gd name="connsiteX4" fmla="*/ 6668 w 6667"/>
                <a:gd name="connsiteY4" fmla="*/ 3334 h 66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667" h="6667">
                  <a:moveTo>
                    <a:pt x="6668" y="3334"/>
                  </a:moveTo>
                  <a:cubicBezTo>
                    <a:pt x="6668" y="5191"/>
                    <a:pt x="5191" y="6667"/>
                    <a:pt x="3334" y="6667"/>
                  </a:cubicBezTo>
                  <a:cubicBezTo>
                    <a:pt x="1476" y="6667"/>
                    <a:pt x="0" y="5191"/>
                    <a:pt x="0" y="3334"/>
                  </a:cubicBezTo>
                  <a:cubicBezTo>
                    <a:pt x="0" y="1476"/>
                    <a:pt x="1476" y="0"/>
                    <a:pt x="3334" y="0"/>
                  </a:cubicBezTo>
                  <a:cubicBezTo>
                    <a:pt x="5191" y="0"/>
                    <a:pt x="6668" y="1476"/>
                    <a:pt x="6668" y="3334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39" name="Forma livre: Forma 438">
              <a:extLst>
                <a:ext uri="{FF2B5EF4-FFF2-40B4-BE49-F238E27FC236}">
                  <a16:creationId xmlns:a16="http://schemas.microsoft.com/office/drawing/2014/main" id="{A6AB9443-36F9-17E5-6C52-A5BF5703F4CF}"/>
                </a:ext>
              </a:extLst>
            </p:cNvPr>
            <p:cNvSpPr/>
            <p:nvPr/>
          </p:nvSpPr>
          <p:spPr>
            <a:xfrm>
              <a:off x="5264279" y="2835878"/>
              <a:ext cx="6667" cy="6667"/>
            </a:xfrm>
            <a:custGeom>
              <a:avLst/>
              <a:gdLst>
                <a:gd name="connsiteX0" fmla="*/ 6667 w 6667"/>
                <a:gd name="connsiteY0" fmla="*/ 3334 h 6667"/>
                <a:gd name="connsiteX1" fmla="*/ 3334 w 6667"/>
                <a:gd name="connsiteY1" fmla="*/ 6667 h 6667"/>
                <a:gd name="connsiteX2" fmla="*/ 0 w 6667"/>
                <a:gd name="connsiteY2" fmla="*/ 3334 h 6667"/>
                <a:gd name="connsiteX3" fmla="*/ 3334 w 6667"/>
                <a:gd name="connsiteY3" fmla="*/ 0 h 6667"/>
                <a:gd name="connsiteX4" fmla="*/ 6667 w 6667"/>
                <a:gd name="connsiteY4" fmla="*/ 3334 h 66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667" h="6667">
                  <a:moveTo>
                    <a:pt x="6667" y="3334"/>
                  </a:moveTo>
                  <a:cubicBezTo>
                    <a:pt x="6667" y="5191"/>
                    <a:pt x="5191" y="6667"/>
                    <a:pt x="3334" y="6667"/>
                  </a:cubicBezTo>
                  <a:cubicBezTo>
                    <a:pt x="1476" y="6667"/>
                    <a:pt x="0" y="5191"/>
                    <a:pt x="0" y="3334"/>
                  </a:cubicBezTo>
                  <a:cubicBezTo>
                    <a:pt x="0" y="1476"/>
                    <a:pt x="1476" y="0"/>
                    <a:pt x="3334" y="0"/>
                  </a:cubicBezTo>
                  <a:cubicBezTo>
                    <a:pt x="5191" y="0"/>
                    <a:pt x="6667" y="1476"/>
                    <a:pt x="6667" y="3334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40" name="Forma livre: Forma 439">
              <a:extLst>
                <a:ext uri="{FF2B5EF4-FFF2-40B4-BE49-F238E27FC236}">
                  <a16:creationId xmlns:a16="http://schemas.microsoft.com/office/drawing/2014/main" id="{7842CA82-9ECE-D711-280A-BD553E5A0CB1}"/>
                </a:ext>
              </a:extLst>
            </p:cNvPr>
            <p:cNvSpPr/>
            <p:nvPr/>
          </p:nvSpPr>
          <p:spPr>
            <a:xfrm>
              <a:off x="5300665" y="2852499"/>
              <a:ext cx="6667" cy="6667"/>
            </a:xfrm>
            <a:custGeom>
              <a:avLst/>
              <a:gdLst>
                <a:gd name="connsiteX0" fmla="*/ 6667 w 6667"/>
                <a:gd name="connsiteY0" fmla="*/ 3334 h 6667"/>
                <a:gd name="connsiteX1" fmla="*/ 3334 w 6667"/>
                <a:gd name="connsiteY1" fmla="*/ 6667 h 6667"/>
                <a:gd name="connsiteX2" fmla="*/ 0 w 6667"/>
                <a:gd name="connsiteY2" fmla="*/ 3334 h 6667"/>
                <a:gd name="connsiteX3" fmla="*/ 3334 w 6667"/>
                <a:gd name="connsiteY3" fmla="*/ 0 h 6667"/>
                <a:gd name="connsiteX4" fmla="*/ 6667 w 6667"/>
                <a:gd name="connsiteY4" fmla="*/ 3334 h 66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667" h="6667">
                  <a:moveTo>
                    <a:pt x="6667" y="3334"/>
                  </a:moveTo>
                  <a:cubicBezTo>
                    <a:pt x="6667" y="5191"/>
                    <a:pt x="5191" y="6667"/>
                    <a:pt x="3334" y="6667"/>
                  </a:cubicBezTo>
                  <a:cubicBezTo>
                    <a:pt x="1476" y="6667"/>
                    <a:pt x="0" y="5191"/>
                    <a:pt x="0" y="3334"/>
                  </a:cubicBezTo>
                  <a:cubicBezTo>
                    <a:pt x="0" y="1476"/>
                    <a:pt x="1476" y="0"/>
                    <a:pt x="3334" y="0"/>
                  </a:cubicBezTo>
                  <a:cubicBezTo>
                    <a:pt x="5191" y="0"/>
                    <a:pt x="6667" y="1476"/>
                    <a:pt x="6667" y="3334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41" name="Forma livre: Forma 440">
              <a:extLst>
                <a:ext uri="{FF2B5EF4-FFF2-40B4-BE49-F238E27FC236}">
                  <a16:creationId xmlns:a16="http://schemas.microsoft.com/office/drawing/2014/main" id="{11650B49-D415-4408-9284-74A3DC8B5C74}"/>
                </a:ext>
              </a:extLst>
            </p:cNvPr>
            <p:cNvSpPr/>
            <p:nvPr/>
          </p:nvSpPr>
          <p:spPr>
            <a:xfrm>
              <a:off x="5369054" y="2838021"/>
              <a:ext cx="6667" cy="6667"/>
            </a:xfrm>
            <a:custGeom>
              <a:avLst/>
              <a:gdLst>
                <a:gd name="connsiteX0" fmla="*/ 6667 w 6667"/>
                <a:gd name="connsiteY0" fmla="*/ 3334 h 6667"/>
                <a:gd name="connsiteX1" fmla="*/ 3334 w 6667"/>
                <a:gd name="connsiteY1" fmla="*/ 6667 h 6667"/>
                <a:gd name="connsiteX2" fmla="*/ 0 w 6667"/>
                <a:gd name="connsiteY2" fmla="*/ 3334 h 6667"/>
                <a:gd name="connsiteX3" fmla="*/ 3334 w 6667"/>
                <a:gd name="connsiteY3" fmla="*/ 0 h 6667"/>
                <a:gd name="connsiteX4" fmla="*/ 6667 w 6667"/>
                <a:gd name="connsiteY4" fmla="*/ 3334 h 66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667" h="6667">
                  <a:moveTo>
                    <a:pt x="6667" y="3334"/>
                  </a:moveTo>
                  <a:cubicBezTo>
                    <a:pt x="6667" y="5191"/>
                    <a:pt x="5191" y="6667"/>
                    <a:pt x="3334" y="6667"/>
                  </a:cubicBezTo>
                  <a:cubicBezTo>
                    <a:pt x="1476" y="6667"/>
                    <a:pt x="0" y="5191"/>
                    <a:pt x="0" y="3334"/>
                  </a:cubicBezTo>
                  <a:cubicBezTo>
                    <a:pt x="0" y="1476"/>
                    <a:pt x="1476" y="0"/>
                    <a:pt x="3334" y="0"/>
                  </a:cubicBezTo>
                  <a:cubicBezTo>
                    <a:pt x="5191" y="0"/>
                    <a:pt x="6667" y="1476"/>
                    <a:pt x="6667" y="3334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42" name="Forma livre: Forma 441">
              <a:extLst>
                <a:ext uri="{FF2B5EF4-FFF2-40B4-BE49-F238E27FC236}">
                  <a16:creationId xmlns:a16="http://schemas.microsoft.com/office/drawing/2014/main" id="{E3236553-79BC-0BBD-6973-C6A81CB51E19}"/>
                </a:ext>
              </a:extLst>
            </p:cNvPr>
            <p:cNvSpPr/>
            <p:nvPr/>
          </p:nvSpPr>
          <p:spPr>
            <a:xfrm>
              <a:off x="5328573" y="2835449"/>
              <a:ext cx="6667" cy="6667"/>
            </a:xfrm>
            <a:custGeom>
              <a:avLst/>
              <a:gdLst>
                <a:gd name="connsiteX0" fmla="*/ 6667 w 6667"/>
                <a:gd name="connsiteY0" fmla="*/ 3334 h 6667"/>
                <a:gd name="connsiteX1" fmla="*/ 3334 w 6667"/>
                <a:gd name="connsiteY1" fmla="*/ 6667 h 6667"/>
                <a:gd name="connsiteX2" fmla="*/ 0 w 6667"/>
                <a:gd name="connsiteY2" fmla="*/ 3334 h 6667"/>
                <a:gd name="connsiteX3" fmla="*/ 3334 w 6667"/>
                <a:gd name="connsiteY3" fmla="*/ 0 h 6667"/>
                <a:gd name="connsiteX4" fmla="*/ 6667 w 6667"/>
                <a:gd name="connsiteY4" fmla="*/ 3334 h 66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667" h="6667">
                  <a:moveTo>
                    <a:pt x="6667" y="3334"/>
                  </a:moveTo>
                  <a:cubicBezTo>
                    <a:pt x="6667" y="5191"/>
                    <a:pt x="5191" y="6667"/>
                    <a:pt x="3334" y="6667"/>
                  </a:cubicBezTo>
                  <a:cubicBezTo>
                    <a:pt x="1476" y="6667"/>
                    <a:pt x="0" y="5191"/>
                    <a:pt x="0" y="3334"/>
                  </a:cubicBezTo>
                  <a:cubicBezTo>
                    <a:pt x="0" y="1476"/>
                    <a:pt x="1476" y="0"/>
                    <a:pt x="3334" y="0"/>
                  </a:cubicBezTo>
                  <a:cubicBezTo>
                    <a:pt x="5191" y="0"/>
                    <a:pt x="6667" y="1476"/>
                    <a:pt x="6667" y="3334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43" name="Forma livre: Forma 442">
              <a:extLst>
                <a:ext uri="{FF2B5EF4-FFF2-40B4-BE49-F238E27FC236}">
                  <a16:creationId xmlns:a16="http://schemas.microsoft.com/office/drawing/2014/main" id="{66FD4670-5296-F54A-5401-42000B2EA7AF}"/>
                </a:ext>
              </a:extLst>
            </p:cNvPr>
            <p:cNvSpPr/>
            <p:nvPr/>
          </p:nvSpPr>
          <p:spPr>
            <a:xfrm>
              <a:off x="5157486" y="2620483"/>
              <a:ext cx="149560" cy="149528"/>
            </a:xfrm>
            <a:custGeom>
              <a:avLst/>
              <a:gdLst>
                <a:gd name="connsiteX0" fmla="*/ 82171 w 149560"/>
                <a:gd name="connsiteY0" fmla="*/ 149433 h 149528"/>
                <a:gd name="connsiteX1" fmla="*/ 149560 w 149560"/>
                <a:gd name="connsiteY1" fmla="*/ 81901 h 149528"/>
                <a:gd name="connsiteX2" fmla="*/ 82028 w 149560"/>
                <a:gd name="connsiteY2" fmla="*/ 14560 h 149528"/>
                <a:gd name="connsiteX3" fmla="*/ 13591 w 149560"/>
                <a:gd name="connsiteY3" fmla="*/ 13702 h 149528"/>
                <a:gd name="connsiteX4" fmla="*/ 14639 w 149560"/>
                <a:gd name="connsiteY4" fmla="*/ 82139 h 149528"/>
                <a:gd name="connsiteX5" fmla="*/ 82171 w 149560"/>
                <a:gd name="connsiteY5" fmla="*/ 149529 h 1495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49560" h="149528">
                  <a:moveTo>
                    <a:pt x="82171" y="149433"/>
                  </a:moveTo>
                  <a:lnTo>
                    <a:pt x="149560" y="81901"/>
                  </a:lnTo>
                  <a:lnTo>
                    <a:pt x="82028" y="14560"/>
                  </a:lnTo>
                  <a:cubicBezTo>
                    <a:pt x="62930" y="-4490"/>
                    <a:pt x="32117" y="-4919"/>
                    <a:pt x="13591" y="13702"/>
                  </a:cubicBezTo>
                  <a:cubicBezTo>
                    <a:pt x="-4935" y="32276"/>
                    <a:pt x="-4459" y="63089"/>
                    <a:pt x="14639" y="82139"/>
                  </a:cubicBezTo>
                  <a:lnTo>
                    <a:pt x="82171" y="149529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44" name="Forma livre: Forma 443">
              <a:extLst>
                <a:ext uri="{FF2B5EF4-FFF2-40B4-BE49-F238E27FC236}">
                  <a16:creationId xmlns:a16="http://schemas.microsoft.com/office/drawing/2014/main" id="{71062F5B-4243-CD3D-B344-A20F446D35BF}"/>
                </a:ext>
              </a:extLst>
            </p:cNvPr>
            <p:cNvSpPr/>
            <p:nvPr/>
          </p:nvSpPr>
          <p:spPr>
            <a:xfrm>
              <a:off x="5331002" y="2620483"/>
              <a:ext cx="149560" cy="149528"/>
            </a:xfrm>
            <a:custGeom>
              <a:avLst/>
              <a:gdLst>
                <a:gd name="connsiteX0" fmla="*/ 67389 w 149560"/>
                <a:gd name="connsiteY0" fmla="*/ 149433 h 149528"/>
                <a:gd name="connsiteX1" fmla="*/ 0 w 149560"/>
                <a:gd name="connsiteY1" fmla="*/ 81901 h 149528"/>
                <a:gd name="connsiteX2" fmla="*/ 67532 w 149560"/>
                <a:gd name="connsiteY2" fmla="*/ 14560 h 149528"/>
                <a:gd name="connsiteX3" fmla="*/ 135969 w 149560"/>
                <a:gd name="connsiteY3" fmla="*/ 13702 h 149528"/>
                <a:gd name="connsiteX4" fmla="*/ 134922 w 149560"/>
                <a:gd name="connsiteY4" fmla="*/ 82139 h 149528"/>
                <a:gd name="connsiteX5" fmla="*/ 67389 w 149560"/>
                <a:gd name="connsiteY5" fmla="*/ 149529 h 1495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49560" h="149528">
                  <a:moveTo>
                    <a:pt x="67389" y="149433"/>
                  </a:moveTo>
                  <a:lnTo>
                    <a:pt x="0" y="81901"/>
                  </a:lnTo>
                  <a:lnTo>
                    <a:pt x="67532" y="14560"/>
                  </a:lnTo>
                  <a:cubicBezTo>
                    <a:pt x="86630" y="-4490"/>
                    <a:pt x="117443" y="-4919"/>
                    <a:pt x="135969" y="13702"/>
                  </a:cubicBezTo>
                  <a:cubicBezTo>
                    <a:pt x="154496" y="32276"/>
                    <a:pt x="154019" y="63089"/>
                    <a:pt x="134922" y="82139"/>
                  </a:cubicBezTo>
                  <a:lnTo>
                    <a:pt x="67389" y="149529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45" name="Forma livre: Forma 444">
              <a:extLst>
                <a:ext uri="{FF2B5EF4-FFF2-40B4-BE49-F238E27FC236}">
                  <a16:creationId xmlns:a16="http://schemas.microsoft.com/office/drawing/2014/main" id="{9501B8CE-8044-9F23-23EA-350B1206E2FB}"/>
                </a:ext>
              </a:extLst>
            </p:cNvPr>
            <p:cNvSpPr/>
            <p:nvPr/>
          </p:nvSpPr>
          <p:spPr>
            <a:xfrm>
              <a:off x="5183656" y="2652617"/>
              <a:ext cx="6994" cy="31384"/>
            </a:xfrm>
            <a:custGeom>
              <a:avLst/>
              <a:gdLst>
                <a:gd name="connsiteX0" fmla="*/ 6995 w 6994"/>
                <a:gd name="connsiteY0" fmla="*/ 31385 h 31384"/>
                <a:gd name="connsiteX1" fmla="*/ 5995 w 6994"/>
                <a:gd name="connsiteY1" fmla="*/ 0 h 313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994" h="31384">
                  <a:moveTo>
                    <a:pt x="6995" y="31385"/>
                  </a:moveTo>
                  <a:cubicBezTo>
                    <a:pt x="-1911" y="22479"/>
                    <a:pt x="-2387" y="8430"/>
                    <a:pt x="5995" y="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446" name="Gráfico 6">
            <a:extLst>
              <a:ext uri="{FF2B5EF4-FFF2-40B4-BE49-F238E27FC236}">
                <a16:creationId xmlns:a16="http://schemas.microsoft.com/office/drawing/2014/main" id="{36ED06D2-41ED-C969-E7C5-21B977F1124B}"/>
              </a:ext>
            </a:extLst>
          </p:cNvPr>
          <p:cNvGrpSpPr/>
          <p:nvPr/>
        </p:nvGrpSpPr>
        <p:grpSpPr>
          <a:xfrm>
            <a:off x="5195175" y="2057113"/>
            <a:ext cx="247697" cy="295894"/>
            <a:chOff x="5195175" y="2057113"/>
            <a:chExt cx="247697" cy="295894"/>
          </a:xfrm>
          <a:noFill/>
        </p:grpSpPr>
        <p:sp>
          <p:nvSpPr>
            <p:cNvPr id="447" name="Forma livre: Forma 446">
              <a:extLst>
                <a:ext uri="{FF2B5EF4-FFF2-40B4-BE49-F238E27FC236}">
                  <a16:creationId xmlns:a16="http://schemas.microsoft.com/office/drawing/2014/main" id="{CF57B2AE-97A1-85CF-0E11-7A48CC6740DE}"/>
                </a:ext>
              </a:extLst>
            </p:cNvPr>
            <p:cNvSpPr/>
            <p:nvPr/>
          </p:nvSpPr>
          <p:spPr>
            <a:xfrm>
              <a:off x="5195175" y="2137028"/>
              <a:ext cx="119062" cy="215979"/>
            </a:xfrm>
            <a:custGeom>
              <a:avLst/>
              <a:gdLst>
                <a:gd name="connsiteX0" fmla="*/ 119063 w 119062"/>
                <a:gd name="connsiteY0" fmla="*/ 215979 h 215979"/>
                <a:gd name="connsiteX1" fmla="*/ 20479 w 119062"/>
                <a:gd name="connsiteY1" fmla="*/ 215979 h 215979"/>
                <a:gd name="connsiteX2" fmla="*/ 0 w 119062"/>
                <a:gd name="connsiteY2" fmla="*/ 195501 h 215979"/>
                <a:gd name="connsiteX3" fmla="*/ 0 w 119062"/>
                <a:gd name="connsiteY3" fmla="*/ 89345 h 215979"/>
                <a:gd name="connsiteX4" fmla="*/ 40957 w 119062"/>
                <a:gd name="connsiteY4" fmla="*/ 35766 h 215979"/>
                <a:gd name="connsiteX5" fmla="*/ 54292 w 119062"/>
                <a:gd name="connsiteY5" fmla="*/ 6477 h 215979"/>
                <a:gd name="connsiteX6" fmla="*/ 54292 w 119062"/>
                <a:gd name="connsiteY6" fmla="*/ 0 h 2159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19062" h="215979">
                  <a:moveTo>
                    <a:pt x="119063" y="215979"/>
                  </a:moveTo>
                  <a:lnTo>
                    <a:pt x="20479" y="215979"/>
                  </a:lnTo>
                  <a:cubicBezTo>
                    <a:pt x="9239" y="215979"/>
                    <a:pt x="0" y="206788"/>
                    <a:pt x="0" y="195501"/>
                  </a:cubicBezTo>
                  <a:lnTo>
                    <a:pt x="0" y="89345"/>
                  </a:lnTo>
                  <a:cubicBezTo>
                    <a:pt x="0" y="63056"/>
                    <a:pt x="27622" y="47815"/>
                    <a:pt x="40957" y="35766"/>
                  </a:cubicBezTo>
                  <a:cubicBezTo>
                    <a:pt x="54292" y="23717"/>
                    <a:pt x="54292" y="6477"/>
                    <a:pt x="54292" y="6477"/>
                  </a:cubicBezTo>
                  <a:lnTo>
                    <a:pt x="54292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48" name="Forma livre: Forma 447">
              <a:extLst>
                <a:ext uri="{FF2B5EF4-FFF2-40B4-BE49-F238E27FC236}">
                  <a16:creationId xmlns:a16="http://schemas.microsoft.com/office/drawing/2014/main" id="{38FC6DF4-FF6F-82FC-5D60-986D2CDE32EF}"/>
                </a:ext>
              </a:extLst>
            </p:cNvPr>
            <p:cNvSpPr/>
            <p:nvPr/>
          </p:nvSpPr>
          <p:spPr>
            <a:xfrm>
              <a:off x="5331811" y="2137076"/>
              <a:ext cx="54292" cy="143637"/>
            </a:xfrm>
            <a:custGeom>
              <a:avLst/>
              <a:gdLst>
                <a:gd name="connsiteX0" fmla="*/ 0 w 54292"/>
                <a:gd name="connsiteY0" fmla="*/ 0 h 143637"/>
                <a:gd name="connsiteX1" fmla="*/ 0 w 54292"/>
                <a:gd name="connsiteY1" fmla="*/ 6477 h 143637"/>
                <a:gd name="connsiteX2" fmla="*/ 13335 w 54292"/>
                <a:gd name="connsiteY2" fmla="*/ 35766 h 143637"/>
                <a:gd name="connsiteX3" fmla="*/ 54293 w 54292"/>
                <a:gd name="connsiteY3" fmla="*/ 89344 h 143637"/>
                <a:gd name="connsiteX4" fmla="*/ 54293 w 54292"/>
                <a:gd name="connsiteY4" fmla="*/ 143637 h 1436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4292" h="143637">
                  <a:moveTo>
                    <a:pt x="0" y="0"/>
                  </a:moveTo>
                  <a:lnTo>
                    <a:pt x="0" y="6477"/>
                  </a:lnTo>
                  <a:cubicBezTo>
                    <a:pt x="0" y="6477"/>
                    <a:pt x="0" y="23717"/>
                    <a:pt x="13335" y="35766"/>
                  </a:cubicBezTo>
                  <a:cubicBezTo>
                    <a:pt x="26670" y="47816"/>
                    <a:pt x="54293" y="63056"/>
                    <a:pt x="54293" y="89344"/>
                  </a:cubicBezTo>
                  <a:lnTo>
                    <a:pt x="54293" y="143637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49" name="Forma livre: Forma 448">
              <a:extLst>
                <a:ext uri="{FF2B5EF4-FFF2-40B4-BE49-F238E27FC236}">
                  <a16:creationId xmlns:a16="http://schemas.microsoft.com/office/drawing/2014/main" id="{2A4A595D-9F1B-732F-9BBE-1B408CAB1471}"/>
                </a:ext>
              </a:extLst>
            </p:cNvPr>
            <p:cNvSpPr/>
            <p:nvPr/>
          </p:nvSpPr>
          <p:spPr>
            <a:xfrm>
              <a:off x="5196604" y="2225754"/>
              <a:ext cx="105870" cy="86344"/>
            </a:xfrm>
            <a:custGeom>
              <a:avLst/>
              <a:gdLst>
                <a:gd name="connsiteX0" fmla="*/ 0 w 105870"/>
                <a:gd name="connsiteY0" fmla="*/ 0 h 86344"/>
                <a:gd name="connsiteX1" fmla="*/ 105870 w 105870"/>
                <a:gd name="connsiteY1" fmla="*/ 0 h 86344"/>
                <a:gd name="connsiteX2" fmla="*/ 105870 w 105870"/>
                <a:gd name="connsiteY2" fmla="*/ 86344 h 86344"/>
                <a:gd name="connsiteX3" fmla="*/ 0 w 105870"/>
                <a:gd name="connsiteY3" fmla="*/ 86344 h 863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5870" h="86344">
                  <a:moveTo>
                    <a:pt x="0" y="0"/>
                  </a:moveTo>
                  <a:lnTo>
                    <a:pt x="105870" y="0"/>
                  </a:lnTo>
                  <a:lnTo>
                    <a:pt x="105870" y="86344"/>
                  </a:lnTo>
                  <a:lnTo>
                    <a:pt x="0" y="86344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450" name="Gráfico 6">
              <a:extLst>
                <a:ext uri="{FF2B5EF4-FFF2-40B4-BE49-F238E27FC236}">
                  <a16:creationId xmlns:a16="http://schemas.microsoft.com/office/drawing/2014/main" id="{BEF7CE2F-C946-D5A6-9D1A-B1FDEF9E9593}"/>
                </a:ext>
              </a:extLst>
            </p:cNvPr>
            <p:cNvGrpSpPr/>
            <p:nvPr/>
          </p:nvGrpSpPr>
          <p:grpSpPr>
            <a:xfrm>
              <a:off x="5227894" y="2057113"/>
              <a:ext cx="125491" cy="59721"/>
              <a:chOff x="5227894" y="2057113"/>
              <a:chExt cx="125491" cy="59721"/>
            </a:xfrm>
            <a:noFill/>
          </p:grpSpPr>
          <p:sp>
            <p:nvSpPr>
              <p:cNvPr id="451" name="Forma livre: Forma 450">
                <a:extLst>
                  <a:ext uri="{FF2B5EF4-FFF2-40B4-BE49-F238E27FC236}">
                    <a16:creationId xmlns:a16="http://schemas.microsoft.com/office/drawing/2014/main" id="{3B8E37BA-7FE4-0C1E-258A-7CFEA511D5C0}"/>
                  </a:ext>
                </a:extLst>
              </p:cNvPr>
              <p:cNvSpPr/>
              <p:nvPr/>
            </p:nvSpPr>
            <p:spPr>
              <a:xfrm>
                <a:off x="5290663" y="2085546"/>
                <a:ext cx="4762" cy="30337"/>
              </a:xfrm>
              <a:custGeom>
                <a:avLst/>
                <a:gdLst>
                  <a:gd name="connsiteX0" fmla="*/ 0 w 4762"/>
                  <a:gd name="connsiteY0" fmla="*/ 0 h 30337"/>
                  <a:gd name="connsiteX1" fmla="*/ 0 w 4762"/>
                  <a:gd name="connsiteY1" fmla="*/ 30337 h 303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62" h="30337">
                    <a:moveTo>
                      <a:pt x="0" y="0"/>
                    </a:moveTo>
                    <a:lnTo>
                      <a:pt x="0" y="30337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52" name="Forma livre: Forma 451">
                <a:extLst>
                  <a:ext uri="{FF2B5EF4-FFF2-40B4-BE49-F238E27FC236}">
                    <a16:creationId xmlns:a16="http://schemas.microsoft.com/office/drawing/2014/main" id="{DBD59B2B-8C80-417C-99BD-F8B3397EE977}"/>
                  </a:ext>
                </a:extLst>
              </p:cNvPr>
              <p:cNvSpPr/>
              <p:nvPr/>
            </p:nvSpPr>
            <p:spPr>
              <a:xfrm>
                <a:off x="5322143" y="2085546"/>
                <a:ext cx="4762" cy="30337"/>
              </a:xfrm>
              <a:custGeom>
                <a:avLst/>
                <a:gdLst>
                  <a:gd name="connsiteX0" fmla="*/ 0 w 4762"/>
                  <a:gd name="connsiteY0" fmla="*/ 0 h 30337"/>
                  <a:gd name="connsiteX1" fmla="*/ 0 w 4762"/>
                  <a:gd name="connsiteY1" fmla="*/ 30337 h 303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62" h="30337">
                    <a:moveTo>
                      <a:pt x="0" y="0"/>
                    </a:moveTo>
                    <a:lnTo>
                      <a:pt x="0" y="30337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53" name="Forma livre: Forma 452">
                <a:extLst>
                  <a:ext uri="{FF2B5EF4-FFF2-40B4-BE49-F238E27FC236}">
                    <a16:creationId xmlns:a16="http://schemas.microsoft.com/office/drawing/2014/main" id="{AA5A0908-E7DE-0CAD-5000-814C6D4F2229}"/>
                  </a:ext>
                </a:extLst>
              </p:cNvPr>
              <p:cNvSpPr/>
              <p:nvPr/>
            </p:nvSpPr>
            <p:spPr>
              <a:xfrm>
                <a:off x="5227894" y="2057113"/>
                <a:ext cx="125491" cy="59721"/>
              </a:xfrm>
              <a:custGeom>
                <a:avLst/>
                <a:gdLst>
                  <a:gd name="connsiteX0" fmla="*/ 0 w 125491"/>
                  <a:gd name="connsiteY0" fmla="*/ 59722 h 59721"/>
                  <a:gd name="connsiteX1" fmla="*/ 0 w 125491"/>
                  <a:gd name="connsiteY1" fmla="*/ 14288 h 59721"/>
                  <a:gd name="connsiteX2" fmla="*/ 14288 w 125491"/>
                  <a:gd name="connsiteY2" fmla="*/ 0 h 59721"/>
                  <a:gd name="connsiteX3" fmla="*/ 111204 w 125491"/>
                  <a:gd name="connsiteY3" fmla="*/ 0 h 59721"/>
                  <a:gd name="connsiteX4" fmla="*/ 125492 w 125491"/>
                  <a:gd name="connsiteY4" fmla="*/ 14288 h 59721"/>
                  <a:gd name="connsiteX5" fmla="*/ 125492 w 125491"/>
                  <a:gd name="connsiteY5" fmla="*/ 59722 h 59721"/>
                  <a:gd name="connsiteX6" fmla="*/ 31337 w 125491"/>
                  <a:gd name="connsiteY6" fmla="*/ 59722 h 59721"/>
                  <a:gd name="connsiteX7" fmla="*/ 31337 w 125491"/>
                  <a:gd name="connsiteY7" fmla="*/ 28432 h 597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25491" h="59721">
                    <a:moveTo>
                      <a:pt x="0" y="59722"/>
                    </a:moveTo>
                    <a:lnTo>
                      <a:pt x="0" y="14288"/>
                    </a:lnTo>
                    <a:cubicBezTo>
                      <a:pt x="0" y="6429"/>
                      <a:pt x="6429" y="0"/>
                      <a:pt x="14288" y="0"/>
                    </a:cubicBezTo>
                    <a:lnTo>
                      <a:pt x="111204" y="0"/>
                    </a:lnTo>
                    <a:cubicBezTo>
                      <a:pt x="119063" y="0"/>
                      <a:pt x="125492" y="6429"/>
                      <a:pt x="125492" y="14288"/>
                    </a:cubicBezTo>
                    <a:lnTo>
                      <a:pt x="125492" y="59722"/>
                    </a:lnTo>
                    <a:lnTo>
                      <a:pt x="31337" y="59722"/>
                    </a:lnTo>
                    <a:lnTo>
                      <a:pt x="31337" y="28432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454" name="Forma livre: Forma 453">
              <a:extLst>
                <a:ext uri="{FF2B5EF4-FFF2-40B4-BE49-F238E27FC236}">
                  <a16:creationId xmlns:a16="http://schemas.microsoft.com/office/drawing/2014/main" id="{3B929B19-87C7-5222-DF10-296E5886B050}"/>
                </a:ext>
              </a:extLst>
            </p:cNvPr>
            <p:cNvSpPr/>
            <p:nvPr/>
          </p:nvSpPr>
          <p:spPr>
            <a:xfrm>
              <a:off x="5331192" y="2301763"/>
              <a:ext cx="111680" cy="51006"/>
            </a:xfrm>
            <a:custGeom>
              <a:avLst/>
              <a:gdLst>
                <a:gd name="connsiteX0" fmla="*/ 24289 w 111680"/>
                <a:gd name="connsiteY0" fmla="*/ 0 h 51006"/>
                <a:gd name="connsiteX1" fmla="*/ 87392 w 111680"/>
                <a:gd name="connsiteY1" fmla="*/ 0 h 51006"/>
                <a:gd name="connsiteX2" fmla="*/ 111681 w 111680"/>
                <a:gd name="connsiteY2" fmla="*/ 24289 h 51006"/>
                <a:gd name="connsiteX3" fmla="*/ 111681 w 111680"/>
                <a:gd name="connsiteY3" fmla="*/ 26718 h 51006"/>
                <a:gd name="connsiteX4" fmla="*/ 87392 w 111680"/>
                <a:gd name="connsiteY4" fmla="*/ 51006 h 51006"/>
                <a:gd name="connsiteX5" fmla="*/ 24289 w 111680"/>
                <a:gd name="connsiteY5" fmla="*/ 51006 h 51006"/>
                <a:gd name="connsiteX6" fmla="*/ 0 w 111680"/>
                <a:gd name="connsiteY6" fmla="*/ 26718 h 51006"/>
                <a:gd name="connsiteX7" fmla="*/ 0 w 111680"/>
                <a:gd name="connsiteY7" fmla="*/ 24289 h 51006"/>
                <a:gd name="connsiteX8" fmla="*/ 24289 w 111680"/>
                <a:gd name="connsiteY8" fmla="*/ 0 h 510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1680" h="51006">
                  <a:moveTo>
                    <a:pt x="24289" y="0"/>
                  </a:moveTo>
                  <a:lnTo>
                    <a:pt x="87392" y="0"/>
                  </a:lnTo>
                  <a:cubicBezTo>
                    <a:pt x="100775" y="0"/>
                    <a:pt x="111681" y="10858"/>
                    <a:pt x="111681" y="24289"/>
                  </a:cubicBezTo>
                  <a:lnTo>
                    <a:pt x="111681" y="26718"/>
                  </a:lnTo>
                  <a:cubicBezTo>
                    <a:pt x="111681" y="40100"/>
                    <a:pt x="100822" y="51006"/>
                    <a:pt x="87392" y="51006"/>
                  </a:cubicBezTo>
                  <a:lnTo>
                    <a:pt x="24289" y="51006"/>
                  </a:lnTo>
                  <a:cubicBezTo>
                    <a:pt x="10906" y="51006"/>
                    <a:pt x="0" y="40148"/>
                    <a:pt x="0" y="26718"/>
                  </a:cubicBezTo>
                  <a:lnTo>
                    <a:pt x="0" y="24289"/>
                  </a:lnTo>
                  <a:cubicBezTo>
                    <a:pt x="0" y="10906"/>
                    <a:pt x="10858" y="0"/>
                    <a:pt x="24289" y="0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55" name="Forma livre: Forma 454">
              <a:extLst>
                <a:ext uri="{FF2B5EF4-FFF2-40B4-BE49-F238E27FC236}">
                  <a16:creationId xmlns:a16="http://schemas.microsoft.com/office/drawing/2014/main" id="{BB4E5D47-27EC-BBE4-7404-521FFF2C41B0}"/>
                </a:ext>
              </a:extLst>
            </p:cNvPr>
            <p:cNvSpPr/>
            <p:nvPr/>
          </p:nvSpPr>
          <p:spPr>
            <a:xfrm>
              <a:off x="5387056" y="2302716"/>
              <a:ext cx="4762" cy="49196"/>
            </a:xfrm>
            <a:custGeom>
              <a:avLst/>
              <a:gdLst>
                <a:gd name="connsiteX0" fmla="*/ 0 w 4762"/>
                <a:gd name="connsiteY0" fmla="*/ 0 h 49196"/>
                <a:gd name="connsiteX1" fmla="*/ 0 w 4762"/>
                <a:gd name="connsiteY1" fmla="*/ 49197 h 491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762" h="49196">
                  <a:moveTo>
                    <a:pt x="0" y="0"/>
                  </a:moveTo>
                  <a:lnTo>
                    <a:pt x="0" y="49197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456" name="Gráfico 6">
              <a:extLst>
                <a:ext uri="{FF2B5EF4-FFF2-40B4-BE49-F238E27FC236}">
                  <a16:creationId xmlns:a16="http://schemas.microsoft.com/office/drawing/2014/main" id="{BD8BCB4E-D195-8B5F-6DE9-FE61166CD60D}"/>
                </a:ext>
              </a:extLst>
            </p:cNvPr>
            <p:cNvGrpSpPr/>
            <p:nvPr/>
          </p:nvGrpSpPr>
          <p:grpSpPr>
            <a:xfrm>
              <a:off x="5220178" y="2255329"/>
              <a:ext cx="55006" cy="27193"/>
              <a:chOff x="5220178" y="2255329"/>
              <a:chExt cx="55006" cy="27193"/>
            </a:xfrm>
          </p:grpSpPr>
          <p:sp>
            <p:nvSpPr>
              <p:cNvPr id="457" name="Forma livre: Forma 456">
                <a:extLst>
                  <a:ext uri="{FF2B5EF4-FFF2-40B4-BE49-F238E27FC236}">
                    <a16:creationId xmlns:a16="http://schemas.microsoft.com/office/drawing/2014/main" id="{4ABD8546-8735-5E3F-16AF-5DAE34CCA402}"/>
                  </a:ext>
                </a:extLst>
              </p:cNvPr>
              <p:cNvSpPr/>
              <p:nvPr/>
            </p:nvSpPr>
            <p:spPr>
              <a:xfrm>
                <a:off x="5220178" y="2255329"/>
                <a:ext cx="55006" cy="4762"/>
              </a:xfrm>
              <a:custGeom>
                <a:avLst/>
                <a:gdLst>
                  <a:gd name="connsiteX0" fmla="*/ 0 w 55006"/>
                  <a:gd name="connsiteY0" fmla="*/ 0 h 4762"/>
                  <a:gd name="connsiteX1" fmla="*/ 55007 w 55006"/>
                  <a:gd name="connsiteY1" fmla="*/ 0 h 47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5006" h="4762">
                    <a:moveTo>
                      <a:pt x="0" y="0"/>
                    </a:moveTo>
                    <a:lnTo>
                      <a:pt x="55007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58" name="Forma livre: Forma 457">
                <a:extLst>
                  <a:ext uri="{FF2B5EF4-FFF2-40B4-BE49-F238E27FC236}">
                    <a16:creationId xmlns:a16="http://schemas.microsoft.com/office/drawing/2014/main" id="{AF66BFD8-0D31-9E99-1ED7-439C7B4BA630}"/>
                  </a:ext>
                </a:extLst>
              </p:cNvPr>
              <p:cNvSpPr/>
              <p:nvPr/>
            </p:nvSpPr>
            <p:spPr>
              <a:xfrm>
                <a:off x="5220178" y="2282523"/>
                <a:ext cx="55006" cy="4762"/>
              </a:xfrm>
              <a:custGeom>
                <a:avLst/>
                <a:gdLst>
                  <a:gd name="connsiteX0" fmla="*/ 0 w 55006"/>
                  <a:gd name="connsiteY0" fmla="*/ 0 h 4762"/>
                  <a:gd name="connsiteX1" fmla="*/ 55007 w 55006"/>
                  <a:gd name="connsiteY1" fmla="*/ 0 h 47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5006" h="4762">
                    <a:moveTo>
                      <a:pt x="0" y="0"/>
                    </a:moveTo>
                    <a:lnTo>
                      <a:pt x="55007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459" name="Gráfico 6">
            <a:extLst>
              <a:ext uri="{FF2B5EF4-FFF2-40B4-BE49-F238E27FC236}">
                <a16:creationId xmlns:a16="http://schemas.microsoft.com/office/drawing/2014/main" id="{772AAC68-0B1C-726E-828D-0993C837915D}"/>
              </a:ext>
            </a:extLst>
          </p:cNvPr>
          <p:cNvGrpSpPr/>
          <p:nvPr/>
        </p:nvGrpSpPr>
        <p:grpSpPr>
          <a:xfrm>
            <a:off x="4572335" y="1527666"/>
            <a:ext cx="254079" cy="287416"/>
            <a:chOff x="4572335" y="1527666"/>
            <a:chExt cx="254079" cy="287416"/>
          </a:xfrm>
          <a:noFill/>
        </p:grpSpPr>
        <p:grpSp>
          <p:nvGrpSpPr>
            <p:cNvPr id="460" name="Gráfico 6">
              <a:extLst>
                <a:ext uri="{FF2B5EF4-FFF2-40B4-BE49-F238E27FC236}">
                  <a16:creationId xmlns:a16="http://schemas.microsoft.com/office/drawing/2014/main" id="{299DD485-C0F2-81B8-2CD2-5866425C04EC}"/>
                </a:ext>
              </a:extLst>
            </p:cNvPr>
            <p:cNvGrpSpPr/>
            <p:nvPr/>
          </p:nvGrpSpPr>
          <p:grpSpPr>
            <a:xfrm>
              <a:off x="4572335" y="1527666"/>
              <a:ext cx="129778" cy="285083"/>
              <a:chOff x="4572335" y="1527666"/>
              <a:chExt cx="129778" cy="285083"/>
            </a:xfrm>
            <a:noFill/>
          </p:grpSpPr>
          <p:sp>
            <p:nvSpPr>
              <p:cNvPr id="461" name="Forma livre: Forma 460">
                <a:extLst>
                  <a:ext uri="{FF2B5EF4-FFF2-40B4-BE49-F238E27FC236}">
                    <a16:creationId xmlns:a16="http://schemas.microsoft.com/office/drawing/2014/main" id="{C9900332-66B4-E7C1-E660-B1A5380D43DA}"/>
                  </a:ext>
                </a:extLst>
              </p:cNvPr>
              <p:cNvSpPr/>
              <p:nvPr/>
            </p:nvSpPr>
            <p:spPr>
              <a:xfrm>
                <a:off x="4572335" y="1527666"/>
                <a:ext cx="129778" cy="285083"/>
              </a:xfrm>
              <a:custGeom>
                <a:avLst/>
                <a:gdLst>
                  <a:gd name="connsiteX0" fmla="*/ 105585 w 129778"/>
                  <a:gd name="connsiteY0" fmla="*/ 271844 h 285083"/>
                  <a:gd name="connsiteX1" fmla="*/ 67294 w 129778"/>
                  <a:gd name="connsiteY1" fmla="*/ 285083 h 285083"/>
                  <a:gd name="connsiteX2" fmla="*/ 62484 w 129778"/>
                  <a:gd name="connsiteY2" fmla="*/ 285083 h 285083"/>
                  <a:gd name="connsiteX3" fmla="*/ 0 w 129778"/>
                  <a:gd name="connsiteY3" fmla="*/ 222599 h 285083"/>
                  <a:gd name="connsiteX4" fmla="*/ 0 w 129778"/>
                  <a:gd name="connsiteY4" fmla="*/ 62484 h 285083"/>
                  <a:gd name="connsiteX5" fmla="*/ 62484 w 129778"/>
                  <a:gd name="connsiteY5" fmla="*/ 0 h 285083"/>
                  <a:gd name="connsiteX6" fmla="*/ 67294 w 129778"/>
                  <a:gd name="connsiteY6" fmla="*/ 0 h 285083"/>
                  <a:gd name="connsiteX7" fmla="*/ 129778 w 129778"/>
                  <a:gd name="connsiteY7" fmla="*/ 62484 h 285083"/>
                  <a:gd name="connsiteX8" fmla="*/ 129778 w 129778"/>
                  <a:gd name="connsiteY8" fmla="*/ 87487 h 2850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29778" h="285083">
                    <a:moveTo>
                      <a:pt x="105585" y="271844"/>
                    </a:moveTo>
                    <a:cubicBezTo>
                      <a:pt x="95012" y="280130"/>
                      <a:pt x="81677" y="285083"/>
                      <a:pt x="67294" y="285083"/>
                    </a:cubicBezTo>
                    <a:lnTo>
                      <a:pt x="62484" y="285083"/>
                    </a:lnTo>
                    <a:cubicBezTo>
                      <a:pt x="28146" y="285083"/>
                      <a:pt x="0" y="256985"/>
                      <a:pt x="0" y="222599"/>
                    </a:cubicBezTo>
                    <a:lnTo>
                      <a:pt x="0" y="62484"/>
                    </a:lnTo>
                    <a:cubicBezTo>
                      <a:pt x="0" y="28146"/>
                      <a:pt x="28099" y="0"/>
                      <a:pt x="62484" y="0"/>
                    </a:cubicBezTo>
                    <a:lnTo>
                      <a:pt x="67294" y="0"/>
                    </a:lnTo>
                    <a:cubicBezTo>
                      <a:pt x="101632" y="0"/>
                      <a:pt x="129778" y="28099"/>
                      <a:pt x="129778" y="62484"/>
                    </a:cubicBezTo>
                    <a:lnTo>
                      <a:pt x="129778" y="87487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62" name="Forma livre: Forma 461">
                <a:extLst>
                  <a:ext uri="{FF2B5EF4-FFF2-40B4-BE49-F238E27FC236}">
                    <a16:creationId xmlns:a16="http://schemas.microsoft.com/office/drawing/2014/main" id="{9DD4E2A2-6D1A-81AE-93ED-9BCA24988936}"/>
                  </a:ext>
                </a:extLst>
              </p:cNvPr>
              <p:cNvSpPr/>
              <p:nvPr/>
            </p:nvSpPr>
            <p:spPr>
              <a:xfrm>
                <a:off x="4600910" y="1556289"/>
                <a:ext cx="33909" cy="33909"/>
              </a:xfrm>
              <a:custGeom>
                <a:avLst/>
                <a:gdLst>
                  <a:gd name="connsiteX0" fmla="*/ 33909 w 33909"/>
                  <a:gd name="connsiteY0" fmla="*/ 0 h 33909"/>
                  <a:gd name="connsiteX1" fmla="*/ 0 w 33909"/>
                  <a:gd name="connsiteY1" fmla="*/ 33909 h 339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3909" h="33909">
                    <a:moveTo>
                      <a:pt x="33909" y="0"/>
                    </a:moveTo>
                    <a:cubicBezTo>
                      <a:pt x="15240" y="0"/>
                      <a:pt x="0" y="15192"/>
                      <a:pt x="0" y="33909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63" name="Forma livre: Forma 462">
                <a:extLst>
                  <a:ext uri="{FF2B5EF4-FFF2-40B4-BE49-F238E27FC236}">
                    <a16:creationId xmlns:a16="http://schemas.microsoft.com/office/drawing/2014/main" id="{0C617035-476B-92F8-BF99-EB2C5B155752}"/>
                  </a:ext>
                </a:extLst>
              </p:cNvPr>
              <p:cNvSpPr/>
              <p:nvPr/>
            </p:nvSpPr>
            <p:spPr>
              <a:xfrm>
                <a:off x="4574050" y="1670208"/>
                <a:ext cx="63198" cy="4762"/>
              </a:xfrm>
              <a:custGeom>
                <a:avLst/>
                <a:gdLst>
                  <a:gd name="connsiteX0" fmla="*/ 0 w 63198"/>
                  <a:gd name="connsiteY0" fmla="*/ 0 h 4762"/>
                  <a:gd name="connsiteX1" fmla="*/ 63198 w 63198"/>
                  <a:gd name="connsiteY1" fmla="*/ 0 h 47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3198" h="4762">
                    <a:moveTo>
                      <a:pt x="0" y="0"/>
                    </a:moveTo>
                    <a:lnTo>
                      <a:pt x="63198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464" name="Gráfico 6">
              <a:extLst>
                <a:ext uri="{FF2B5EF4-FFF2-40B4-BE49-F238E27FC236}">
                  <a16:creationId xmlns:a16="http://schemas.microsoft.com/office/drawing/2014/main" id="{5C1C6340-4EFA-CC86-1768-C2AD6BE61D79}"/>
                </a:ext>
              </a:extLst>
            </p:cNvPr>
            <p:cNvGrpSpPr/>
            <p:nvPr/>
          </p:nvGrpSpPr>
          <p:grpSpPr>
            <a:xfrm>
              <a:off x="4657984" y="1631298"/>
              <a:ext cx="168430" cy="183784"/>
              <a:chOff x="4657984" y="1631298"/>
              <a:chExt cx="168430" cy="183784"/>
            </a:xfrm>
            <a:noFill/>
          </p:grpSpPr>
          <p:sp>
            <p:nvSpPr>
              <p:cNvPr id="465" name="Forma livre: Forma 464">
                <a:extLst>
                  <a:ext uri="{FF2B5EF4-FFF2-40B4-BE49-F238E27FC236}">
                    <a16:creationId xmlns:a16="http://schemas.microsoft.com/office/drawing/2014/main" id="{99A99AEC-CEC0-0750-877C-11ADDE437300}"/>
                  </a:ext>
                </a:extLst>
              </p:cNvPr>
              <p:cNvSpPr/>
              <p:nvPr/>
            </p:nvSpPr>
            <p:spPr>
              <a:xfrm>
                <a:off x="4657984" y="1631298"/>
                <a:ext cx="138353" cy="171662"/>
              </a:xfrm>
              <a:custGeom>
                <a:avLst/>
                <a:gdLst>
                  <a:gd name="connsiteX0" fmla="*/ 102565 w 138353"/>
                  <a:gd name="connsiteY0" fmla="*/ 169593 h 171662"/>
                  <a:gd name="connsiteX1" fmla="*/ 8506 w 138353"/>
                  <a:gd name="connsiteY1" fmla="*/ 110395 h 171662"/>
                  <a:gd name="connsiteX2" fmla="*/ 8601 w 138353"/>
                  <a:gd name="connsiteY2" fmla="*/ 0 h 171662"/>
                  <a:gd name="connsiteX3" fmla="*/ 109328 w 138353"/>
                  <a:gd name="connsiteY3" fmla="*/ 43863 h 171662"/>
                  <a:gd name="connsiteX4" fmla="*/ 123091 w 138353"/>
                  <a:gd name="connsiteY4" fmla="*/ 157115 h 1716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38353" h="171662">
                    <a:moveTo>
                      <a:pt x="102565" y="169593"/>
                    </a:moveTo>
                    <a:cubicBezTo>
                      <a:pt x="68084" y="179594"/>
                      <a:pt x="21602" y="152305"/>
                      <a:pt x="8506" y="110395"/>
                    </a:cubicBezTo>
                    <a:cubicBezTo>
                      <a:pt x="-10687" y="48959"/>
                      <a:pt x="8601" y="0"/>
                      <a:pt x="8601" y="0"/>
                    </a:cubicBezTo>
                    <a:cubicBezTo>
                      <a:pt x="8601" y="0"/>
                      <a:pt x="64703" y="5715"/>
                      <a:pt x="109328" y="43863"/>
                    </a:cubicBezTo>
                    <a:cubicBezTo>
                      <a:pt x="143951" y="73485"/>
                      <a:pt x="146380" y="131540"/>
                      <a:pt x="123091" y="157115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66" name="Forma livre: Forma 465">
                <a:extLst>
                  <a:ext uri="{FF2B5EF4-FFF2-40B4-BE49-F238E27FC236}">
                    <a16:creationId xmlns:a16="http://schemas.microsoft.com/office/drawing/2014/main" id="{1D1563BB-B55C-E8FD-904C-ADCF8238084B}"/>
                  </a:ext>
                </a:extLst>
              </p:cNvPr>
              <p:cNvSpPr/>
              <p:nvPr/>
            </p:nvSpPr>
            <p:spPr>
              <a:xfrm>
                <a:off x="4705209" y="1694020"/>
                <a:ext cx="121205" cy="121062"/>
              </a:xfrm>
              <a:custGeom>
                <a:avLst/>
                <a:gdLst>
                  <a:gd name="connsiteX0" fmla="*/ 0 w 121205"/>
                  <a:gd name="connsiteY0" fmla="*/ 0 h 121062"/>
                  <a:gd name="connsiteX1" fmla="*/ 121206 w 121205"/>
                  <a:gd name="connsiteY1" fmla="*/ 121063 h 1210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1205" h="121062">
                    <a:moveTo>
                      <a:pt x="0" y="0"/>
                    </a:moveTo>
                    <a:cubicBezTo>
                      <a:pt x="0" y="0"/>
                      <a:pt x="22050" y="75867"/>
                      <a:pt x="121206" y="121063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467" name="Gráfico 6">
            <a:extLst>
              <a:ext uri="{FF2B5EF4-FFF2-40B4-BE49-F238E27FC236}">
                <a16:creationId xmlns:a16="http://schemas.microsoft.com/office/drawing/2014/main" id="{C7CBCDF2-8FBC-1B99-E564-4E5B50899112}"/>
              </a:ext>
            </a:extLst>
          </p:cNvPr>
          <p:cNvGrpSpPr/>
          <p:nvPr/>
        </p:nvGrpSpPr>
        <p:grpSpPr>
          <a:xfrm>
            <a:off x="4596195" y="3136439"/>
            <a:ext cx="206359" cy="275129"/>
            <a:chOff x="4596195" y="3136439"/>
            <a:chExt cx="206359" cy="275129"/>
          </a:xfrm>
          <a:noFill/>
        </p:grpSpPr>
        <p:sp>
          <p:nvSpPr>
            <p:cNvPr id="468" name="Forma livre: Forma 467">
              <a:extLst>
                <a:ext uri="{FF2B5EF4-FFF2-40B4-BE49-F238E27FC236}">
                  <a16:creationId xmlns:a16="http://schemas.microsoft.com/office/drawing/2014/main" id="{3A106097-2190-E238-5E0A-63F02B0ADBA5}"/>
                </a:ext>
              </a:extLst>
            </p:cNvPr>
            <p:cNvSpPr/>
            <p:nvPr/>
          </p:nvSpPr>
          <p:spPr>
            <a:xfrm>
              <a:off x="4646964" y="3249025"/>
              <a:ext cx="104870" cy="104917"/>
            </a:xfrm>
            <a:custGeom>
              <a:avLst/>
              <a:gdLst>
                <a:gd name="connsiteX0" fmla="*/ 104870 w 104870"/>
                <a:gd name="connsiteY0" fmla="*/ 34719 h 104917"/>
                <a:gd name="connsiteX1" fmla="*/ 70152 w 104870"/>
                <a:gd name="connsiteY1" fmla="*/ 34719 h 104917"/>
                <a:gd name="connsiteX2" fmla="*/ 70152 w 104870"/>
                <a:gd name="connsiteY2" fmla="*/ 0 h 104917"/>
                <a:gd name="connsiteX3" fmla="*/ 34671 w 104870"/>
                <a:gd name="connsiteY3" fmla="*/ 0 h 104917"/>
                <a:gd name="connsiteX4" fmla="*/ 34671 w 104870"/>
                <a:gd name="connsiteY4" fmla="*/ 34719 h 104917"/>
                <a:gd name="connsiteX5" fmla="*/ 0 w 104870"/>
                <a:gd name="connsiteY5" fmla="*/ 34719 h 104917"/>
                <a:gd name="connsiteX6" fmla="*/ 0 w 104870"/>
                <a:gd name="connsiteY6" fmla="*/ 70199 h 104917"/>
                <a:gd name="connsiteX7" fmla="*/ 34671 w 104870"/>
                <a:gd name="connsiteY7" fmla="*/ 70199 h 104917"/>
                <a:gd name="connsiteX8" fmla="*/ 34671 w 104870"/>
                <a:gd name="connsiteY8" fmla="*/ 104918 h 104917"/>
                <a:gd name="connsiteX9" fmla="*/ 70152 w 104870"/>
                <a:gd name="connsiteY9" fmla="*/ 104918 h 104917"/>
                <a:gd name="connsiteX10" fmla="*/ 70152 w 104870"/>
                <a:gd name="connsiteY10" fmla="*/ 70199 h 104917"/>
                <a:gd name="connsiteX11" fmla="*/ 104870 w 104870"/>
                <a:gd name="connsiteY11" fmla="*/ 70199 h 104917"/>
                <a:gd name="connsiteX12" fmla="*/ 104870 w 104870"/>
                <a:gd name="connsiteY12" fmla="*/ 34719 h 1049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04870" h="104917">
                  <a:moveTo>
                    <a:pt x="104870" y="34719"/>
                  </a:moveTo>
                  <a:lnTo>
                    <a:pt x="70152" y="34719"/>
                  </a:lnTo>
                  <a:lnTo>
                    <a:pt x="70152" y="0"/>
                  </a:lnTo>
                  <a:lnTo>
                    <a:pt x="34671" y="0"/>
                  </a:lnTo>
                  <a:lnTo>
                    <a:pt x="34671" y="34719"/>
                  </a:lnTo>
                  <a:lnTo>
                    <a:pt x="0" y="34719"/>
                  </a:lnTo>
                  <a:lnTo>
                    <a:pt x="0" y="70199"/>
                  </a:lnTo>
                  <a:lnTo>
                    <a:pt x="34671" y="70199"/>
                  </a:lnTo>
                  <a:lnTo>
                    <a:pt x="34671" y="104918"/>
                  </a:lnTo>
                  <a:lnTo>
                    <a:pt x="70152" y="104918"/>
                  </a:lnTo>
                  <a:lnTo>
                    <a:pt x="70152" y="70199"/>
                  </a:lnTo>
                  <a:lnTo>
                    <a:pt x="104870" y="70199"/>
                  </a:lnTo>
                  <a:lnTo>
                    <a:pt x="104870" y="34719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469" name="Gráfico 6">
              <a:extLst>
                <a:ext uri="{FF2B5EF4-FFF2-40B4-BE49-F238E27FC236}">
                  <a16:creationId xmlns:a16="http://schemas.microsoft.com/office/drawing/2014/main" id="{AE0599D9-FA10-CF40-B411-4E2D8872EAA7}"/>
                </a:ext>
              </a:extLst>
            </p:cNvPr>
            <p:cNvGrpSpPr/>
            <p:nvPr/>
          </p:nvGrpSpPr>
          <p:grpSpPr>
            <a:xfrm>
              <a:off x="4596195" y="3136439"/>
              <a:ext cx="206359" cy="275129"/>
              <a:chOff x="4596195" y="3136439"/>
              <a:chExt cx="206359" cy="275129"/>
            </a:xfrm>
            <a:noFill/>
          </p:grpSpPr>
          <p:sp>
            <p:nvSpPr>
              <p:cNvPr id="470" name="Forma livre: Forma 469">
                <a:extLst>
                  <a:ext uri="{FF2B5EF4-FFF2-40B4-BE49-F238E27FC236}">
                    <a16:creationId xmlns:a16="http://schemas.microsoft.com/office/drawing/2014/main" id="{866AA350-AABC-2ECE-5E3F-DE031D03A122}"/>
                  </a:ext>
                </a:extLst>
              </p:cNvPr>
              <p:cNvSpPr/>
              <p:nvPr/>
            </p:nvSpPr>
            <p:spPr>
              <a:xfrm>
                <a:off x="4596195" y="3136439"/>
                <a:ext cx="206359" cy="275129"/>
              </a:xfrm>
              <a:custGeom>
                <a:avLst/>
                <a:gdLst>
                  <a:gd name="connsiteX0" fmla="*/ 187309 w 206359"/>
                  <a:gd name="connsiteY0" fmla="*/ 0 h 275129"/>
                  <a:gd name="connsiteX1" fmla="*/ 53150 w 206359"/>
                  <a:gd name="connsiteY1" fmla="*/ 0 h 275129"/>
                  <a:gd name="connsiteX2" fmla="*/ 0 w 206359"/>
                  <a:gd name="connsiteY2" fmla="*/ 46149 h 275129"/>
                  <a:gd name="connsiteX3" fmla="*/ 0 w 206359"/>
                  <a:gd name="connsiteY3" fmla="*/ 256080 h 275129"/>
                  <a:gd name="connsiteX4" fmla="*/ 19050 w 206359"/>
                  <a:gd name="connsiteY4" fmla="*/ 275130 h 275129"/>
                  <a:gd name="connsiteX5" fmla="*/ 187309 w 206359"/>
                  <a:gd name="connsiteY5" fmla="*/ 275130 h 275129"/>
                  <a:gd name="connsiteX6" fmla="*/ 206359 w 206359"/>
                  <a:gd name="connsiteY6" fmla="*/ 256080 h 275129"/>
                  <a:gd name="connsiteX7" fmla="*/ 206359 w 206359"/>
                  <a:gd name="connsiteY7" fmla="*/ 19050 h 275129"/>
                  <a:gd name="connsiteX8" fmla="*/ 187309 w 206359"/>
                  <a:gd name="connsiteY8" fmla="*/ 0 h 2751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06359" h="275129">
                    <a:moveTo>
                      <a:pt x="187309" y="0"/>
                    </a:moveTo>
                    <a:lnTo>
                      <a:pt x="53150" y="0"/>
                    </a:lnTo>
                    <a:lnTo>
                      <a:pt x="0" y="46149"/>
                    </a:lnTo>
                    <a:lnTo>
                      <a:pt x="0" y="256080"/>
                    </a:lnTo>
                    <a:cubicBezTo>
                      <a:pt x="0" y="266557"/>
                      <a:pt x="8572" y="275130"/>
                      <a:pt x="19050" y="275130"/>
                    </a:cubicBezTo>
                    <a:lnTo>
                      <a:pt x="187309" y="275130"/>
                    </a:lnTo>
                    <a:cubicBezTo>
                      <a:pt x="197787" y="275130"/>
                      <a:pt x="206359" y="266557"/>
                      <a:pt x="206359" y="256080"/>
                    </a:cubicBezTo>
                    <a:lnTo>
                      <a:pt x="206359" y="19050"/>
                    </a:lnTo>
                    <a:cubicBezTo>
                      <a:pt x="206359" y="8572"/>
                      <a:pt x="197787" y="0"/>
                      <a:pt x="187309" y="0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71" name="Forma livre: Forma 470">
                <a:extLst>
                  <a:ext uri="{FF2B5EF4-FFF2-40B4-BE49-F238E27FC236}">
                    <a16:creationId xmlns:a16="http://schemas.microsoft.com/office/drawing/2014/main" id="{76F8EE58-F754-17ED-E435-40BBE8847A0B}"/>
                  </a:ext>
                </a:extLst>
              </p:cNvPr>
              <p:cNvSpPr/>
              <p:nvPr/>
            </p:nvSpPr>
            <p:spPr>
              <a:xfrm>
                <a:off x="4622199" y="3137677"/>
                <a:ext cx="35766" cy="61055"/>
              </a:xfrm>
              <a:custGeom>
                <a:avLst/>
                <a:gdLst>
                  <a:gd name="connsiteX0" fmla="*/ 35766 w 35766"/>
                  <a:gd name="connsiteY0" fmla="*/ 0 h 61055"/>
                  <a:gd name="connsiteX1" fmla="*/ 35766 w 35766"/>
                  <a:gd name="connsiteY1" fmla="*/ 61055 h 61055"/>
                  <a:gd name="connsiteX2" fmla="*/ 0 w 35766"/>
                  <a:gd name="connsiteY2" fmla="*/ 61055 h 610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5766" h="61055">
                    <a:moveTo>
                      <a:pt x="35766" y="0"/>
                    </a:moveTo>
                    <a:lnTo>
                      <a:pt x="35766" y="61055"/>
                    </a:lnTo>
                    <a:lnTo>
                      <a:pt x="0" y="61055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472" name="Gráfico 6">
            <a:extLst>
              <a:ext uri="{FF2B5EF4-FFF2-40B4-BE49-F238E27FC236}">
                <a16:creationId xmlns:a16="http://schemas.microsoft.com/office/drawing/2014/main" id="{F52CDEEA-9D70-5547-9329-B84206AC3A5B}"/>
              </a:ext>
            </a:extLst>
          </p:cNvPr>
          <p:cNvGrpSpPr/>
          <p:nvPr/>
        </p:nvGrpSpPr>
        <p:grpSpPr>
          <a:xfrm>
            <a:off x="4554018" y="991790"/>
            <a:ext cx="290779" cy="290798"/>
            <a:chOff x="4554018" y="991790"/>
            <a:chExt cx="290779" cy="290798"/>
          </a:xfrm>
        </p:grpSpPr>
        <p:sp>
          <p:nvSpPr>
            <p:cNvPr id="473" name="Forma livre: Forma 472">
              <a:extLst>
                <a:ext uri="{FF2B5EF4-FFF2-40B4-BE49-F238E27FC236}">
                  <a16:creationId xmlns:a16="http://schemas.microsoft.com/office/drawing/2014/main" id="{D0CE5E5C-4E1A-77E9-68B9-D8100EB86D68}"/>
                </a:ext>
              </a:extLst>
            </p:cNvPr>
            <p:cNvSpPr/>
            <p:nvPr/>
          </p:nvSpPr>
          <p:spPr>
            <a:xfrm>
              <a:off x="4554018" y="1041748"/>
              <a:ext cx="240821" cy="240840"/>
            </a:xfrm>
            <a:custGeom>
              <a:avLst/>
              <a:gdLst>
                <a:gd name="connsiteX0" fmla="*/ 240821 w 240821"/>
                <a:gd name="connsiteY0" fmla="*/ 68485 h 240840"/>
                <a:gd name="connsiteX1" fmla="*/ 85468 w 240821"/>
                <a:gd name="connsiteY1" fmla="*/ 223838 h 240840"/>
                <a:gd name="connsiteX2" fmla="*/ 13031 w 240821"/>
                <a:gd name="connsiteY2" fmla="*/ 227790 h 240840"/>
                <a:gd name="connsiteX3" fmla="*/ 16984 w 240821"/>
                <a:gd name="connsiteY3" fmla="*/ 155353 h 240840"/>
                <a:gd name="connsiteX4" fmla="*/ 172336 w 240821"/>
                <a:gd name="connsiteY4" fmla="*/ 0 h 2408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0821" h="240840">
                  <a:moveTo>
                    <a:pt x="240821" y="68485"/>
                  </a:moveTo>
                  <a:lnTo>
                    <a:pt x="85468" y="223838"/>
                  </a:lnTo>
                  <a:cubicBezTo>
                    <a:pt x="64466" y="244840"/>
                    <a:pt x="31890" y="246650"/>
                    <a:pt x="13031" y="227790"/>
                  </a:cubicBezTo>
                  <a:cubicBezTo>
                    <a:pt x="-5781" y="208979"/>
                    <a:pt x="-4019" y="176355"/>
                    <a:pt x="16984" y="155353"/>
                  </a:cubicBezTo>
                  <a:lnTo>
                    <a:pt x="172336" y="0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74" name="Forma livre: Forma 473">
              <a:extLst>
                <a:ext uri="{FF2B5EF4-FFF2-40B4-BE49-F238E27FC236}">
                  <a16:creationId xmlns:a16="http://schemas.microsoft.com/office/drawing/2014/main" id="{EC90325F-DAD5-03C5-BD17-3C1860AD31C1}"/>
                </a:ext>
              </a:extLst>
            </p:cNvPr>
            <p:cNvSpPr/>
            <p:nvPr/>
          </p:nvSpPr>
          <p:spPr>
            <a:xfrm>
              <a:off x="4721473" y="1013388"/>
              <a:ext cx="101726" cy="101727"/>
            </a:xfrm>
            <a:custGeom>
              <a:avLst/>
              <a:gdLst>
                <a:gd name="connsiteX0" fmla="*/ 14740 w 101726"/>
                <a:gd name="connsiteY0" fmla="*/ 35647 h 101727"/>
                <a:gd name="connsiteX1" fmla="*/ 3929 w 101726"/>
                <a:gd name="connsiteY1" fmla="*/ 24836 h 101727"/>
                <a:gd name="connsiteX2" fmla="*/ 3929 w 101726"/>
                <a:gd name="connsiteY2" fmla="*/ 5739 h 101727"/>
                <a:gd name="connsiteX3" fmla="*/ 5739 w 101726"/>
                <a:gd name="connsiteY3" fmla="*/ 3929 h 101727"/>
                <a:gd name="connsiteX4" fmla="*/ 24836 w 101726"/>
                <a:gd name="connsiteY4" fmla="*/ 3929 h 101727"/>
                <a:gd name="connsiteX5" fmla="*/ 97798 w 101726"/>
                <a:gd name="connsiteY5" fmla="*/ 76891 h 101727"/>
                <a:gd name="connsiteX6" fmla="*/ 97798 w 101726"/>
                <a:gd name="connsiteY6" fmla="*/ 95988 h 101727"/>
                <a:gd name="connsiteX7" fmla="*/ 95988 w 101726"/>
                <a:gd name="connsiteY7" fmla="*/ 97798 h 101727"/>
                <a:gd name="connsiteX8" fmla="*/ 76891 w 101726"/>
                <a:gd name="connsiteY8" fmla="*/ 97798 h 101727"/>
                <a:gd name="connsiteX9" fmla="*/ 35885 w 101726"/>
                <a:gd name="connsiteY9" fmla="*/ 56793 h 1017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01726" h="101727">
                  <a:moveTo>
                    <a:pt x="14740" y="35647"/>
                  </a:moveTo>
                  <a:lnTo>
                    <a:pt x="3929" y="24836"/>
                  </a:lnTo>
                  <a:cubicBezTo>
                    <a:pt x="-1310" y="19598"/>
                    <a:pt x="-1310" y="10978"/>
                    <a:pt x="3929" y="5739"/>
                  </a:cubicBezTo>
                  <a:lnTo>
                    <a:pt x="5739" y="3929"/>
                  </a:lnTo>
                  <a:cubicBezTo>
                    <a:pt x="10978" y="-1310"/>
                    <a:pt x="19598" y="-1310"/>
                    <a:pt x="24836" y="3929"/>
                  </a:cubicBezTo>
                  <a:lnTo>
                    <a:pt x="97798" y="76891"/>
                  </a:lnTo>
                  <a:cubicBezTo>
                    <a:pt x="103037" y="82129"/>
                    <a:pt x="103037" y="90749"/>
                    <a:pt x="97798" y="95988"/>
                  </a:cubicBezTo>
                  <a:lnTo>
                    <a:pt x="95988" y="97798"/>
                  </a:lnTo>
                  <a:cubicBezTo>
                    <a:pt x="90749" y="103037"/>
                    <a:pt x="82129" y="103037"/>
                    <a:pt x="76891" y="97798"/>
                  </a:cubicBezTo>
                  <a:lnTo>
                    <a:pt x="35885" y="56793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75" name="Forma livre: Forma 474">
              <a:extLst>
                <a:ext uri="{FF2B5EF4-FFF2-40B4-BE49-F238E27FC236}">
                  <a16:creationId xmlns:a16="http://schemas.microsoft.com/office/drawing/2014/main" id="{2AFAF4E2-BF7A-A0E8-C72B-66D451300257}"/>
                </a:ext>
              </a:extLst>
            </p:cNvPr>
            <p:cNvSpPr/>
            <p:nvPr/>
          </p:nvSpPr>
          <p:spPr>
            <a:xfrm>
              <a:off x="4652536" y="1151048"/>
              <a:ext cx="100107" cy="4762"/>
            </a:xfrm>
            <a:custGeom>
              <a:avLst/>
              <a:gdLst>
                <a:gd name="connsiteX0" fmla="*/ 100108 w 100107"/>
                <a:gd name="connsiteY0" fmla="*/ 0 h 4762"/>
                <a:gd name="connsiteX1" fmla="*/ 0 w 100107"/>
                <a:gd name="connsiteY1" fmla="*/ 0 h 47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0107" h="4762">
                  <a:moveTo>
                    <a:pt x="100108" y="0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76" name="Forma livre: Forma 475">
              <a:extLst>
                <a:ext uri="{FF2B5EF4-FFF2-40B4-BE49-F238E27FC236}">
                  <a16:creationId xmlns:a16="http://schemas.microsoft.com/office/drawing/2014/main" id="{6B5739DD-6FF4-1662-8FAD-C9C10A54DF61}"/>
                </a:ext>
              </a:extLst>
            </p:cNvPr>
            <p:cNvSpPr/>
            <p:nvPr/>
          </p:nvSpPr>
          <p:spPr>
            <a:xfrm>
              <a:off x="4757454" y="991790"/>
              <a:ext cx="87344" cy="87868"/>
            </a:xfrm>
            <a:custGeom>
              <a:avLst/>
              <a:gdLst>
                <a:gd name="connsiteX0" fmla="*/ 0 w 87344"/>
                <a:gd name="connsiteY0" fmla="*/ 35195 h 87868"/>
                <a:gd name="connsiteX1" fmla="*/ 35147 w 87344"/>
                <a:gd name="connsiteY1" fmla="*/ 0 h 87868"/>
                <a:gd name="connsiteX2" fmla="*/ 87344 w 87344"/>
                <a:gd name="connsiteY2" fmla="*/ 52197 h 87868"/>
                <a:gd name="connsiteX3" fmla="*/ 51673 w 87344"/>
                <a:gd name="connsiteY3" fmla="*/ 87868 h 8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7344" h="87868">
                  <a:moveTo>
                    <a:pt x="0" y="35195"/>
                  </a:moveTo>
                  <a:lnTo>
                    <a:pt x="35147" y="0"/>
                  </a:lnTo>
                  <a:lnTo>
                    <a:pt x="87344" y="52197"/>
                  </a:lnTo>
                  <a:lnTo>
                    <a:pt x="51673" y="87868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77" name="Forma livre: Forma 476">
              <a:extLst>
                <a:ext uri="{FF2B5EF4-FFF2-40B4-BE49-F238E27FC236}">
                  <a16:creationId xmlns:a16="http://schemas.microsoft.com/office/drawing/2014/main" id="{199A65DC-43BC-F734-6F74-78FC915A7AA7}"/>
                </a:ext>
              </a:extLst>
            </p:cNvPr>
            <p:cNvSpPr/>
            <p:nvPr/>
          </p:nvSpPr>
          <p:spPr>
            <a:xfrm>
              <a:off x="4653322" y="1196631"/>
              <a:ext cx="7399" cy="7417"/>
            </a:xfrm>
            <a:custGeom>
              <a:avLst/>
              <a:gdLst>
                <a:gd name="connsiteX0" fmla="*/ 6310 w 7399"/>
                <a:gd name="connsiteY0" fmla="*/ 6328 h 7417"/>
                <a:gd name="connsiteX1" fmla="*/ 1072 w 7399"/>
                <a:gd name="connsiteY1" fmla="*/ 6328 h 7417"/>
                <a:gd name="connsiteX2" fmla="*/ 1072 w 7399"/>
                <a:gd name="connsiteY2" fmla="*/ 1090 h 7417"/>
                <a:gd name="connsiteX3" fmla="*/ 6310 w 7399"/>
                <a:gd name="connsiteY3" fmla="*/ 1090 h 7417"/>
                <a:gd name="connsiteX4" fmla="*/ 6310 w 7399"/>
                <a:gd name="connsiteY4" fmla="*/ 6328 h 74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399" h="7417">
                  <a:moveTo>
                    <a:pt x="6310" y="6328"/>
                  </a:moveTo>
                  <a:cubicBezTo>
                    <a:pt x="4882" y="7757"/>
                    <a:pt x="2500" y="7805"/>
                    <a:pt x="1072" y="6328"/>
                  </a:cubicBezTo>
                  <a:cubicBezTo>
                    <a:pt x="-357" y="4900"/>
                    <a:pt x="-357" y="2518"/>
                    <a:pt x="1072" y="1090"/>
                  </a:cubicBezTo>
                  <a:cubicBezTo>
                    <a:pt x="2548" y="-387"/>
                    <a:pt x="4882" y="-339"/>
                    <a:pt x="6310" y="1090"/>
                  </a:cubicBezTo>
                  <a:cubicBezTo>
                    <a:pt x="7787" y="2518"/>
                    <a:pt x="7739" y="4900"/>
                    <a:pt x="6310" y="6328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78" name="Forma livre: Forma 477">
              <a:extLst>
                <a:ext uri="{FF2B5EF4-FFF2-40B4-BE49-F238E27FC236}">
                  <a16:creationId xmlns:a16="http://schemas.microsoft.com/office/drawing/2014/main" id="{2AFF6BBD-588C-B46C-9959-3D79D26322D5}"/>
                </a:ext>
              </a:extLst>
            </p:cNvPr>
            <p:cNvSpPr/>
            <p:nvPr/>
          </p:nvSpPr>
          <p:spPr>
            <a:xfrm>
              <a:off x="4611156" y="1211061"/>
              <a:ext cx="7399" cy="7399"/>
            </a:xfrm>
            <a:custGeom>
              <a:avLst/>
              <a:gdLst>
                <a:gd name="connsiteX0" fmla="*/ 6328 w 7399"/>
                <a:gd name="connsiteY0" fmla="*/ 6328 h 7399"/>
                <a:gd name="connsiteX1" fmla="*/ 1089 w 7399"/>
                <a:gd name="connsiteY1" fmla="*/ 6328 h 7399"/>
                <a:gd name="connsiteX2" fmla="*/ 1089 w 7399"/>
                <a:gd name="connsiteY2" fmla="*/ 1089 h 7399"/>
                <a:gd name="connsiteX3" fmla="*/ 6328 w 7399"/>
                <a:gd name="connsiteY3" fmla="*/ 1089 h 7399"/>
                <a:gd name="connsiteX4" fmla="*/ 6328 w 7399"/>
                <a:gd name="connsiteY4" fmla="*/ 6328 h 73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399" h="7399">
                  <a:moveTo>
                    <a:pt x="6328" y="6328"/>
                  </a:moveTo>
                  <a:cubicBezTo>
                    <a:pt x="4852" y="7757"/>
                    <a:pt x="2518" y="7757"/>
                    <a:pt x="1089" y="6328"/>
                  </a:cubicBezTo>
                  <a:cubicBezTo>
                    <a:pt x="-339" y="4899"/>
                    <a:pt x="-387" y="2518"/>
                    <a:pt x="1089" y="1089"/>
                  </a:cubicBezTo>
                  <a:cubicBezTo>
                    <a:pt x="2566" y="-387"/>
                    <a:pt x="4899" y="-339"/>
                    <a:pt x="6328" y="1089"/>
                  </a:cubicBezTo>
                  <a:cubicBezTo>
                    <a:pt x="7757" y="2566"/>
                    <a:pt x="7757" y="4899"/>
                    <a:pt x="6328" y="6328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479" name="Gráfico 6">
            <a:extLst>
              <a:ext uri="{FF2B5EF4-FFF2-40B4-BE49-F238E27FC236}">
                <a16:creationId xmlns:a16="http://schemas.microsoft.com/office/drawing/2014/main" id="{75CCB797-D970-F606-926C-CFC8D8BA850C}"/>
              </a:ext>
            </a:extLst>
          </p:cNvPr>
          <p:cNvGrpSpPr/>
          <p:nvPr/>
        </p:nvGrpSpPr>
        <p:grpSpPr>
          <a:xfrm>
            <a:off x="4545618" y="2613516"/>
            <a:ext cx="307562" cy="252555"/>
            <a:chOff x="4545618" y="2613516"/>
            <a:chExt cx="307562" cy="252555"/>
          </a:xfrm>
          <a:noFill/>
        </p:grpSpPr>
        <p:grpSp>
          <p:nvGrpSpPr>
            <p:cNvPr id="480" name="Gráfico 6">
              <a:extLst>
                <a:ext uri="{FF2B5EF4-FFF2-40B4-BE49-F238E27FC236}">
                  <a16:creationId xmlns:a16="http://schemas.microsoft.com/office/drawing/2014/main" id="{3EA56EBC-1021-05E5-4925-81C7C34D76C7}"/>
                </a:ext>
              </a:extLst>
            </p:cNvPr>
            <p:cNvGrpSpPr/>
            <p:nvPr/>
          </p:nvGrpSpPr>
          <p:grpSpPr>
            <a:xfrm>
              <a:off x="4554190" y="2613516"/>
              <a:ext cx="290417" cy="225028"/>
              <a:chOff x="4554190" y="2613516"/>
              <a:chExt cx="290417" cy="225028"/>
            </a:xfrm>
            <a:noFill/>
          </p:grpSpPr>
          <p:grpSp>
            <p:nvGrpSpPr>
              <p:cNvPr id="481" name="Gráfico 6">
                <a:extLst>
                  <a:ext uri="{FF2B5EF4-FFF2-40B4-BE49-F238E27FC236}">
                    <a16:creationId xmlns:a16="http://schemas.microsoft.com/office/drawing/2014/main" id="{8948FBD2-6AEF-F6EF-2817-22B9E1DED90E}"/>
                  </a:ext>
                </a:extLst>
              </p:cNvPr>
              <p:cNvGrpSpPr/>
              <p:nvPr/>
            </p:nvGrpSpPr>
            <p:grpSpPr>
              <a:xfrm>
                <a:off x="4567001" y="2653664"/>
                <a:ext cx="264795" cy="184880"/>
                <a:chOff x="4567001" y="2653664"/>
                <a:chExt cx="264795" cy="184880"/>
              </a:xfrm>
            </p:grpSpPr>
            <p:sp>
              <p:nvSpPr>
                <p:cNvPr id="482" name="Forma livre: Forma 481">
                  <a:extLst>
                    <a:ext uri="{FF2B5EF4-FFF2-40B4-BE49-F238E27FC236}">
                      <a16:creationId xmlns:a16="http://schemas.microsoft.com/office/drawing/2014/main" id="{41D3FF41-FB69-3660-BE56-E888BF6EAB56}"/>
                    </a:ext>
                  </a:extLst>
                </p:cNvPr>
                <p:cNvSpPr/>
                <p:nvPr/>
              </p:nvSpPr>
              <p:spPr>
                <a:xfrm>
                  <a:off x="4567001" y="2653664"/>
                  <a:ext cx="4762" cy="184880"/>
                </a:xfrm>
                <a:custGeom>
                  <a:avLst/>
                  <a:gdLst>
                    <a:gd name="connsiteX0" fmla="*/ 0 w 4762"/>
                    <a:gd name="connsiteY0" fmla="*/ 0 h 184880"/>
                    <a:gd name="connsiteX1" fmla="*/ 0 w 4762"/>
                    <a:gd name="connsiteY1" fmla="*/ 184880 h 1848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762" h="184880">
                      <a:moveTo>
                        <a:pt x="0" y="0"/>
                      </a:moveTo>
                      <a:lnTo>
                        <a:pt x="0" y="18488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483" name="Forma livre: Forma 482">
                  <a:extLst>
                    <a:ext uri="{FF2B5EF4-FFF2-40B4-BE49-F238E27FC236}">
                      <a16:creationId xmlns:a16="http://schemas.microsoft.com/office/drawing/2014/main" id="{91AF3480-5CB0-2ACC-6F68-7C232C6D01DD}"/>
                    </a:ext>
                  </a:extLst>
                </p:cNvPr>
                <p:cNvSpPr/>
                <p:nvPr/>
              </p:nvSpPr>
              <p:spPr>
                <a:xfrm>
                  <a:off x="4831796" y="2653664"/>
                  <a:ext cx="4762" cy="184880"/>
                </a:xfrm>
                <a:custGeom>
                  <a:avLst/>
                  <a:gdLst>
                    <a:gd name="connsiteX0" fmla="*/ 0 w 4762"/>
                    <a:gd name="connsiteY0" fmla="*/ 0 h 184880"/>
                    <a:gd name="connsiteX1" fmla="*/ 0 w 4762"/>
                    <a:gd name="connsiteY1" fmla="*/ 184880 h 1848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762" h="184880">
                      <a:moveTo>
                        <a:pt x="0" y="0"/>
                      </a:moveTo>
                      <a:lnTo>
                        <a:pt x="0" y="18488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484" name="Gráfico 6">
                <a:extLst>
                  <a:ext uri="{FF2B5EF4-FFF2-40B4-BE49-F238E27FC236}">
                    <a16:creationId xmlns:a16="http://schemas.microsoft.com/office/drawing/2014/main" id="{AAE2A1EF-4990-192F-D73A-FBCB79F91DC4}"/>
                  </a:ext>
                </a:extLst>
              </p:cNvPr>
              <p:cNvGrpSpPr/>
              <p:nvPr/>
            </p:nvGrpSpPr>
            <p:grpSpPr>
              <a:xfrm>
                <a:off x="4554190" y="2674905"/>
                <a:ext cx="290417" cy="4762"/>
                <a:chOff x="4554190" y="2674905"/>
                <a:chExt cx="290417" cy="4762"/>
              </a:xfrm>
            </p:grpSpPr>
            <p:sp>
              <p:nvSpPr>
                <p:cNvPr id="485" name="Forma livre: Forma 484">
                  <a:extLst>
                    <a:ext uri="{FF2B5EF4-FFF2-40B4-BE49-F238E27FC236}">
                      <a16:creationId xmlns:a16="http://schemas.microsoft.com/office/drawing/2014/main" id="{BB4E8BDA-8E44-EBAE-8FE8-CBF6BEB40B54}"/>
                    </a:ext>
                  </a:extLst>
                </p:cNvPr>
                <p:cNvSpPr/>
                <p:nvPr/>
              </p:nvSpPr>
              <p:spPr>
                <a:xfrm>
                  <a:off x="4554190" y="2674905"/>
                  <a:ext cx="44624" cy="4762"/>
                </a:xfrm>
                <a:custGeom>
                  <a:avLst/>
                  <a:gdLst>
                    <a:gd name="connsiteX0" fmla="*/ 0 w 44624"/>
                    <a:gd name="connsiteY0" fmla="*/ 0 h 4762"/>
                    <a:gd name="connsiteX1" fmla="*/ 44625 w 44624"/>
                    <a:gd name="connsiteY1" fmla="*/ 0 h 476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4624" h="4762">
                      <a:moveTo>
                        <a:pt x="0" y="0"/>
                      </a:moveTo>
                      <a:lnTo>
                        <a:pt x="44625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486" name="Forma livre: Forma 485">
                  <a:extLst>
                    <a:ext uri="{FF2B5EF4-FFF2-40B4-BE49-F238E27FC236}">
                      <a16:creationId xmlns:a16="http://schemas.microsoft.com/office/drawing/2014/main" id="{34EF7354-F207-DD94-A2AB-AF7CC6F784ED}"/>
                    </a:ext>
                  </a:extLst>
                </p:cNvPr>
                <p:cNvSpPr/>
                <p:nvPr/>
              </p:nvSpPr>
              <p:spPr>
                <a:xfrm>
                  <a:off x="4799983" y="2674905"/>
                  <a:ext cx="44624" cy="4762"/>
                </a:xfrm>
                <a:custGeom>
                  <a:avLst/>
                  <a:gdLst>
                    <a:gd name="connsiteX0" fmla="*/ 0 w 44624"/>
                    <a:gd name="connsiteY0" fmla="*/ 0 h 4762"/>
                    <a:gd name="connsiteX1" fmla="*/ 44625 w 44624"/>
                    <a:gd name="connsiteY1" fmla="*/ 0 h 476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4624" h="4762">
                      <a:moveTo>
                        <a:pt x="0" y="0"/>
                      </a:moveTo>
                      <a:lnTo>
                        <a:pt x="44625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487" name="Forma livre: Forma 486">
                <a:extLst>
                  <a:ext uri="{FF2B5EF4-FFF2-40B4-BE49-F238E27FC236}">
                    <a16:creationId xmlns:a16="http://schemas.microsoft.com/office/drawing/2014/main" id="{1F457070-DCD0-66BD-DB69-CBE6ECB77B77}"/>
                  </a:ext>
                </a:extLst>
              </p:cNvPr>
              <p:cNvSpPr/>
              <p:nvPr/>
            </p:nvSpPr>
            <p:spPr>
              <a:xfrm>
                <a:off x="4634296" y="2674905"/>
                <a:ext cx="47577" cy="4762"/>
              </a:xfrm>
              <a:custGeom>
                <a:avLst/>
                <a:gdLst>
                  <a:gd name="connsiteX0" fmla="*/ 0 w 47577"/>
                  <a:gd name="connsiteY0" fmla="*/ 0 h 4762"/>
                  <a:gd name="connsiteX1" fmla="*/ 47577 w 47577"/>
                  <a:gd name="connsiteY1" fmla="*/ 0 h 47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577" h="4762">
                    <a:moveTo>
                      <a:pt x="0" y="0"/>
                    </a:moveTo>
                    <a:lnTo>
                      <a:pt x="47577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88" name="Forma livre: Forma 487">
                <a:extLst>
                  <a:ext uri="{FF2B5EF4-FFF2-40B4-BE49-F238E27FC236}">
                    <a16:creationId xmlns:a16="http://schemas.microsoft.com/office/drawing/2014/main" id="{A44E35B5-8EA2-FF7F-82A9-D09EA28AF5D9}"/>
                  </a:ext>
                </a:extLst>
              </p:cNvPr>
              <p:cNvSpPr/>
              <p:nvPr/>
            </p:nvSpPr>
            <p:spPr>
              <a:xfrm>
                <a:off x="4716830" y="2674905"/>
                <a:ext cx="47625" cy="4762"/>
              </a:xfrm>
              <a:custGeom>
                <a:avLst/>
                <a:gdLst>
                  <a:gd name="connsiteX0" fmla="*/ 0 w 47625"/>
                  <a:gd name="connsiteY0" fmla="*/ 0 h 4762"/>
                  <a:gd name="connsiteX1" fmla="*/ 47625 w 47625"/>
                  <a:gd name="connsiteY1" fmla="*/ 0 h 47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625" h="4762">
                    <a:moveTo>
                      <a:pt x="0" y="0"/>
                    </a:moveTo>
                    <a:lnTo>
                      <a:pt x="47625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489" name="Gráfico 6">
                <a:extLst>
                  <a:ext uri="{FF2B5EF4-FFF2-40B4-BE49-F238E27FC236}">
                    <a16:creationId xmlns:a16="http://schemas.microsoft.com/office/drawing/2014/main" id="{DD38DD6E-DAD1-67F7-356D-BB8046A62BD0}"/>
                  </a:ext>
                </a:extLst>
              </p:cNvPr>
              <p:cNvGrpSpPr/>
              <p:nvPr/>
            </p:nvGrpSpPr>
            <p:grpSpPr>
              <a:xfrm>
                <a:off x="4588766" y="2613516"/>
                <a:ext cx="221265" cy="193786"/>
                <a:chOff x="4588766" y="2613516"/>
                <a:chExt cx="221265" cy="193786"/>
              </a:xfrm>
              <a:noFill/>
            </p:grpSpPr>
            <p:grpSp>
              <p:nvGrpSpPr>
                <p:cNvPr id="490" name="Gráfico 6">
                  <a:extLst>
                    <a:ext uri="{FF2B5EF4-FFF2-40B4-BE49-F238E27FC236}">
                      <a16:creationId xmlns:a16="http://schemas.microsoft.com/office/drawing/2014/main" id="{F4C1A4BE-C006-27A1-7455-978A8D288FE0}"/>
                    </a:ext>
                  </a:extLst>
                </p:cNvPr>
                <p:cNvGrpSpPr/>
                <p:nvPr/>
              </p:nvGrpSpPr>
              <p:grpSpPr>
                <a:xfrm>
                  <a:off x="4588766" y="2613516"/>
                  <a:ext cx="56435" cy="193786"/>
                  <a:chOff x="4588766" y="2613516"/>
                  <a:chExt cx="56435" cy="193786"/>
                </a:xfrm>
                <a:noFill/>
              </p:grpSpPr>
              <p:grpSp>
                <p:nvGrpSpPr>
                  <p:cNvPr id="491" name="Gráfico 6">
                    <a:extLst>
                      <a:ext uri="{FF2B5EF4-FFF2-40B4-BE49-F238E27FC236}">
                        <a16:creationId xmlns:a16="http://schemas.microsoft.com/office/drawing/2014/main" id="{18217FAC-9CD2-A23A-5A65-DEA0828704B9}"/>
                      </a:ext>
                    </a:extLst>
                  </p:cNvPr>
                  <p:cNvGrpSpPr/>
                  <p:nvPr/>
                </p:nvGrpSpPr>
                <p:grpSpPr>
                  <a:xfrm>
                    <a:off x="4588766" y="2613516"/>
                    <a:ext cx="56435" cy="193786"/>
                    <a:chOff x="4588766" y="2613516"/>
                    <a:chExt cx="56435" cy="193786"/>
                  </a:xfrm>
                  <a:noFill/>
                </p:grpSpPr>
                <p:sp>
                  <p:nvSpPr>
                    <p:cNvPr id="492" name="Forma livre: Forma 491">
                      <a:extLst>
                        <a:ext uri="{FF2B5EF4-FFF2-40B4-BE49-F238E27FC236}">
                          <a16:creationId xmlns:a16="http://schemas.microsoft.com/office/drawing/2014/main" id="{6A069745-4298-00A7-4EF2-E87F5CE7E111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4588766" y="2613516"/>
                      <a:ext cx="56435" cy="4762"/>
                    </a:xfrm>
                    <a:custGeom>
                      <a:avLst/>
                      <a:gdLst>
                        <a:gd name="connsiteX0" fmla="*/ 0 w 56435"/>
                        <a:gd name="connsiteY0" fmla="*/ 0 h 4762"/>
                        <a:gd name="connsiteX1" fmla="*/ 56436 w 56435"/>
                        <a:gd name="connsiteY1" fmla="*/ 0 h 4762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56435" h="4762">
                          <a:moveTo>
                            <a:pt x="0" y="0"/>
                          </a:moveTo>
                          <a:lnTo>
                            <a:pt x="56436" y="0"/>
                          </a:lnTo>
                        </a:path>
                      </a:pathLst>
                    </a:custGeom>
                    <a:ln w="6350" cap="rnd">
                      <a:solidFill>
                        <a:schemeClr val="accent2"/>
                      </a:solidFill>
                      <a:prstDash val="solid"/>
                      <a:round/>
                    </a:ln>
                  </p:spPr>
                  <p:txBody>
                    <a:bodyPr rtlCol="0" anchor="ctr"/>
                    <a:lstStyle/>
                    <a:p>
                      <a:endParaRPr lang="pt-PT"/>
                    </a:p>
                  </p:txBody>
                </p:sp>
                <p:sp>
                  <p:nvSpPr>
                    <p:cNvPr id="493" name="Forma livre: Forma 492">
                      <a:extLst>
                        <a:ext uri="{FF2B5EF4-FFF2-40B4-BE49-F238E27FC236}">
                          <a16:creationId xmlns:a16="http://schemas.microsoft.com/office/drawing/2014/main" id="{CA1CDB43-AC62-4E83-EEAB-85F274F8A8A9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4599958" y="2614469"/>
                      <a:ext cx="34099" cy="192833"/>
                    </a:xfrm>
                    <a:custGeom>
                      <a:avLst/>
                      <a:gdLst>
                        <a:gd name="connsiteX0" fmla="*/ 0 w 34099"/>
                        <a:gd name="connsiteY0" fmla="*/ 18621 h 192833"/>
                        <a:gd name="connsiteX1" fmla="*/ 0 w 34099"/>
                        <a:gd name="connsiteY1" fmla="*/ 177213 h 192833"/>
                        <a:gd name="connsiteX2" fmla="*/ 17050 w 34099"/>
                        <a:gd name="connsiteY2" fmla="*/ 192834 h 192833"/>
                        <a:gd name="connsiteX3" fmla="*/ 34100 w 34099"/>
                        <a:gd name="connsiteY3" fmla="*/ 177213 h 192833"/>
                        <a:gd name="connsiteX4" fmla="*/ 34100 w 34099"/>
                        <a:gd name="connsiteY4" fmla="*/ 0 h 19283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34099" h="192833">
                          <a:moveTo>
                            <a:pt x="0" y="18621"/>
                          </a:moveTo>
                          <a:lnTo>
                            <a:pt x="0" y="177213"/>
                          </a:lnTo>
                          <a:cubicBezTo>
                            <a:pt x="0" y="185785"/>
                            <a:pt x="8096" y="192834"/>
                            <a:pt x="17050" y="192834"/>
                          </a:cubicBezTo>
                          <a:cubicBezTo>
                            <a:pt x="26003" y="192834"/>
                            <a:pt x="34100" y="185833"/>
                            <a:pt x="34100" y="177213"/>
                          </a:cubicBezTo>
                          <a:lnTo>
                            <a:pt x="34100" y="0"/>
                          </a:lnTo>
                        </a:path>
                      </a:pathLst>
                    </a:custGeom>
                    <a:noFill/>
                    <a:ln w="6350" cap="flat">
                      <a:solidFill>
                        <a:schemeClr val="accent2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pt-PT"/>
                    </a:p>
                  </p:txBody>
                </p:sp>
              </p:grpSp>
              <p:sp>
                <p:nvSpPr>
                  <p:cNvPr id="494" name="Forma livre: Forma 493">
                    <a:extLst>
                      <a:ext uri="{FF2B5EF4-FFF2-40B4-BE49-F238E27FC236}">
                        <a16:creationId xmlns:a16="http://schemas.microsoft.com/office/drawing/2014/main" id="{4EFF2165-1373-BC92-2A52-2D69DDF17FE8}"/>
                      </a:ext>
                    </a:extLst>
                  </p:cNvPr>
                  <p:cNvSpPr/>
                  <p:nvPr/>
                </p:nvSpPr>
                <p:spPr>
                  <a:xfrm>
                    <a:off x="4600244" y="2702861"/>
                    <a:ext cx="33480" cy="4762"/>
                  </a:xfrm>
                  <a:custGeom>
                    <a:avLst/>
                    <a:gdLst>
                      <a:gd name="connsiteX0" fmla="*/ 0 w 33480"/>
                      <a:gd name="connsiteY0" fmla="*/ 0 h 4762"/>
                      <a:gd name="connsiteX1" fmla="*/ 33480 w 33480"/>
                      <a:gd name="connsiteY1" fmla="*/ 0 h 476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33480" h="4762">
                        <a:moveTo>
                          <a:pt x="0" y="0"/>
                        </a:moveTo>
                        <a:lnTo>
                          <a:pt x="33480" y="0"/>
                        </a:lnTo>
                      </a:path>
                    </a:pathLst>
                  </a:custGeom>
                  <a:ln w="6350" cap="flat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  <p:grpSp>
              <p:nvGrpSpPr>
                <p:cNvPr id="495" name="Gráfico 6">
                  <a:extLst>
                    <a:ext uri="{FF2B5EF4-FFF2-40B4-BE49-F238E27FC236}">
                      <a16:creationId xmlns:a16="http://schemas.microsoft.com/office/drawing/2014/main" id="{64D3EB8A-5AE6-8432-47B5-CD45538EA397}"/>
                    </a:ext>
                  </a:extLst>
                </p:cNvPr>
                <p:cNvGrpSpPr/>
                <p:nvPr/>
              </p:nvGrpSpPr>
              <p:grpSpPr>
                <a:xfrm>
                  <a:off x="4671205" y="2613516"/>
                  <a:ext cx="56388" cy="193786"/>
                  <a:chOff x="4671205" y="2613516"/>
                  <a:chExt cx="56388" cy="193786"/>
                </a:xfrm>
                <a:noFill/>
              </p:grpSpPr>
              <p:grpSp>
                <p:nvGrpSpPr>
                  <p:cNvPr id="496" name="Gráfico 6">
                    <a:extLst>
                      <a:ext uri="{FF2B5EF4-FFF2-40B4-BE49-F238E27FC236}">
                        <a16:creationId xmlns:a16="http://schemas.microsoft.com/office/drawing/2014/main" id="{B9490258-318A-D110-E381-2A99C4B58CEF}"/>
                      </a:ext>
                    </a:extLst>
                  </p:cNvPr>
                  <p:cNvGrpSpPr/>
                  <p:nvPr/>
                </p:nvGrpSpPr>
                <p:grpSpPr>
                  <a:xfrm>
                    <a:off x="4671205" y="2613516"/>
                    <a:ext cx="56388" cy="193786"/>
                    <a:chOff x="4671205" y="2613516"/>
                    <a:chExt cx="56388" cy="193786"/>
                  </a:xfrm>
                  <a:noFill/>
                </p:grpSpPr>
                <p:sp>
                  <p:nvSpPr>
                    <p:cNvPr id="497" name="Forma livre: Forma 496">
                      <a:extLst>
                        <a:ext uri="{FF2B5EF4-FFF2-40B4-BE49-F238E27FC236}">
                          <a16:creationId xmlns:a16="http://schemas.microsoft.com/office/drawing/2014/main" id="{D2108FEB-8270-ECEE-122B-E0B151B97D25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4671205" y="2613516"/>
                      <a:ext cx="56388" cy="4762"/>
                    </a:xfrm>
                    <a:custGeom>
                      <a:avLst/>
                      <a:gdLst>
                        <a:gd name="connsiteX0" fmla="*/ 0 w 56388"/>
                        <a:gd name="connsiteY0" fmla="*/ 0 h 4762"/>
                        <a:gd name="connsiteX1" fmla="*/ 56388 w 56388"/>
                        <a:gd name="connsiteY1" fmla="*/ 0 h 4762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56388" h="4762">
                          <a:moveTo>
                            <a:pt x="0" y="0"/>
                          </a:moveTo>
                          <a:lnTo>
                            <a:pt x="56388" y="0"/>
                          </a:lnTo>
                        </a:path>
                      </a:pathLst>
                    </a:custGeom>
                    <a:ln w="6350" cap="rnd">
                      <a:solidFill>
                        <a:schemeClr val="accent2"/>
                      </a:solidFill>
                      <a:prstDash val="solid"/>
                      <a:round/>
                    </a:ln>
                  </p:spPr>
                  <p:txBody>
                    <a:bodyPr rtlCol="0" anchor="ctr"/>
                    <a:lstStyle/>
                    <a:p>
                      <a:endParaRPr lang="pt-PT"/>
                    </a:p>
                  </p:txBody>
                </p:sp>
                <p:sp>
                  <p:nvSpPr>
                    <p:cNvPr id="498" name="Forma livre: Forma 497">
                      <a:extLst>
                        <a:ext uri="{FF2B5EF4-FFF2-40B4-BE49-F238E27FC236}">
                          <a16:creationId xmlns:a16="http://schemas.microsoft.com/office/drawing/2014/main" id="{36C4A7D3-D888-6688-D90A-B0CCA013202A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4682349" y="2614469"/>
                      <a:ext cx="34099" cy="192833"/>
                    </a:xfrm>
                    <a:custGeom>
                      <a:avLst/>
                      <a:gdLst>
                        <a:gd name="connsiteX0" fmla="*/ 0 w 34099"/>
                        <a:gd name="connsiteY0" fmla="*/ 18621 h 192833"/>
                        <a:gd name="connsiteX1" fmla="*/ 0 w 34099"/>
                        <a:gd name="connsiteY1" fmla="*/ 177213 h 192833"/>
                        <a:gd name="connsiteX2" fmla="*/ 17050 w 34099"/>
                        <a:gd name="connsiteY2" fmla="*/ 192834 h 192833"/>
                        <a:gd name="connsiteX3" fmla="*/ 34100 w 34099"/>
                        <a:gd name="connsiteY3" fmla="*/ 177213 h 192833"/>
                        <a:gd name="connsiteX4" fmla="*/ 34100 w 34099"/>
                        <a:gd name="connsiteY4" fmla="*/ 0 h 19283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34099" h="192833">
                          <a:moveTo>
                            <a:pt x="0" y="18621"/>
                          </a:moveTo>
                          <a:lnTo>
                            <a:pt x="0" y="177213"/>
                          </a:lnTo>
                          <a:cubicBezTo>
                            <a:pt x="0" y="185785"/>
                            <a:pt x="8096" y="192834"/>
                            <a:pt x="17050" y="192834"/>
                          </a:cubicBezTo>
                          <a:cubicBezTo>
                            <a:pt x="26003" y="192834"/>
                            <a:pt x="34100" y="185833"/>
                            <a:pt x="34100" y="177213"/>
                          </a:cubicBezTo>
                          <a:lnTo>
                            <a:pt x="34100" y="0"/>
                          </a:lnTo>
                        </a:path>
                      </a:pathLst>
                    </a:custGeom>
                    <a:noFill/>
                    <a:ln w="6350" cap="flat">
                      <a:solidFill>
                        <a:schemeClr val="accent2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pt-PT"/>
                    </a:p>
                  </p:txBody>
                </p:sp>
              </p:grpSp>
              <p:sp>
                <p:nvSpPr>
                  <p:cNvPr id="499" name="Forma livre: Forma 498">
                    <a:extLst>
                      <a:ext uri="{FF2B5EF4-FFF2-40B4-BE49-F238E27FC236}">
                        <a16:creationId xmlns:a16="http://schemas.microsoft.com/office/drawing/2014/main" id="{DE585794-E86A-1DE4-CF34-97A85BFA379C}"/>
                      </a:ext>
                    </a:extLst>
                  </p:cNvPr>
                  <p:cNvSpPr/>
                  <p:nvPr/>
                </p:nvSpPr>
                <p:spPr>
                  <a:xfrm>
                    <a:off x="4682683" y="2702861"/>
                    <a:ext cx="33432" cy="4762"/>
                  </a:xfrm>
                  <a:custGeom>
                    <a:avLst/>
                    <a:gdLst>
                      <a:gd name="connsiteX0" fmla="*/ 0 w 33432"/>
                      <a:gd name="connsiteY0" fmla="*/ 0 h 4762"/>
                      <a:gd name="connsiteX1" fmla="*/ 33433 w 33432"/>
                      <a:gd name="connsiteY1" fmla="*/ 0 h 476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33432" h="4762">
                        <a:moveTo>
                          <a:pt x="0" y="0"/>
                        </a:moveTo>
                        <a:lnTo>
                          <a:pt x="33433" y="0"/>
                        </a:lnTo>
                      </a:path>
                    </a:pathLst>
                  </a:custGeom>
                  <a:ln w="6350" cap="flat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  <p:grpSp>
              <p:nvGrpSpPr>
                <p:cNvPr id="500" name="Gráfico 6">
                  <a:extLst>
                    <a:ext uri="{FF2B5EF4-FFF2-40B4-BE49-F238E27FC236}">
                      <a16:creationId xmlns:a16="http://schemas.microsoft.com/office/drawing/2014/main" id="{A645B7AB-2C6F-CB68-7024-335226E53627}"/>
                    </a:ext>
                  </a:extLst>
                </p:cNvPr>
                <p:cNvGrpSpPr/>
                <p:nvPr/>
              </p:nvGrpSpPr>
              <p:grpSpPr>
                <a:xfrm>
                  <a:off x="4753596" y="2613516"/>
                  <a:ext cx="56435" cy="193786"/>
                  <a:chOff x="4753596" y="2613516"/>
                  <a:chExt cx="56435" cy="193786"/>
                </a:xfrm>
                <a:noFill/>
              </p:grpSpPr>
              <p:grpSp>
                <p:nvGrpSpPr>
                  <p:cNvPr id="501" name="Gráfico 6">
                    <a:extLst>
                      <a:ext uri="{FF2B5EF4-FFF2-40B4-BE49-F238E27FC236}">
                        <a16:creationId xmlns:a16="http://schemas.microsoft.com/office/drawing/2014/main" id="{057845E3-4C77-329F-ABFF-FE85CBB3AE50}"/>
                      </a:ext>
                    </a:extLst>
                  </p:cNvPr>
                  <p:cNvGrpSpPr/>
                  <p:nvPr/>
                </p:nvGrpSpPr>
                <p:grpSpPr>
                  <a:xfrm>
                    <a:off x="4753596" y="2613516"/>
                    <a:ext cx="56435" cy="193786"/>
                    <a:chOff x="4753596" y="2613516"/>
                    <a:chExt cx="56435" cy="193786"/>
                  </a:xfrm>
                  <a:noFill/>
                </p:grpSpPr>
                <p:sp>
                  <p:nvSpPr>
                    <p:cNvPr id="502" name="Forma livre: Forma 501">
                      <a:extLst>
                        <a:ext uri="{FF2B5EF4-FFF2-40B4-BE49-F238E27FC236}">
                          <a16:creationId xmlns:a16="http://schemas.microsoft.com/office/drawing/2014/main" id="{13B248AE-01AB-CCAE-A2A3-3A0C5F67E21A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4753596" y="2613516"/>
                      <a:ext cx="56435" cy="4762"/>
                    </a:xfrm>
                    <a:custGeom>
                      <a:avLst/>
                      <a:gdLst>
                        <a:gd name="connsiteX0" fmla="*/ 0 w 56435"/>
                        <a:gd name="connsiteY0" fmla="*/ 0 h 4762"/>
                        <a:gd name="connsiteX1" fmla="*/ 56436 w 56435"/>
                        <a:gd name="connsiteY1" fmla="*/ 0 h 4762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56435" h="4762">
                          <a:moveTo>
                            <a:pt x="0" y="0"/>
                          </a:moveTo>
                          <a:lnTo>
                            <a:pt x="56436" y="0"/>
                          </a:lnTo>
                        </a:path>
                      </a:pathLst>
                    </a:custGeom>
                    <a:ln w="6350" cap="rnd">
                      <a:solidFill>
                        <a:schemeClr val="accent2"/>
                      </a:solidFill>
                      <a:prstDash val="solid"/>
                      <a:round/>
                    </a:ln>
                  </p:spPr>
                  <p:txBody>
                    <a:bodyPr rtlCol="0" anchor="ctr"/>
                    <a:lstStyle/>
                    <a:p>
                      <a:endParaRPr lang="pt-PT"/>
                    </a:p>
                  </p:txBody>
                </p:sp>
                <p:sp>
                  <p:nvSpPr>
                    <p:cNvPr id="503" name="Forma livre: Forma 502">
                      <a:extLst>
                        <a:ext uri="{FF2B5EF4-FFF2-40B4-BE49-F238E27FC236}">
                          <a16:creationId xmlns:a16="http://schemas.microsoft.com/office/drawing/2014/main" id="{E2F11BE4-4D65-90B5-0861-E053E6B5AD0A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4764788" y="2614469"/>
                      <a:ext cx="34099" cy="192833"/>
                    </a:xfrm>
                    <a:custGeom>
                      <a:avLst/>
                      <a:gdLst>
                        <a:gd name="connsiteX0" fmla="*/ 0 w 34099"/>
                        <a:gd name="connsiteY0" fmla="*/ 18621 h 192833"/>
                        <a:gd name="connsiteX1" fmla="*/ 0 w 34099"/>
                        <a:gd name="connsiteY1" fmla="*/ 177213 h 192833"/>
                        <a:gd name="connsiteX2" fmla="*/ 17050 w 34099"/>
                        <a:gd name="connsiteY2" fmla="*/ 192834 h 192833"/>
                        <a:gd name="connsiteX3" fmla="*/ 34100 w 34099"/>
                        <a:gd name="connsiteY3" fmla="*/ 177213 h 192833"/>
                        <a:gd name="connsiteX4" fmla="*/ 34100 w 34099"/>
                        <a:gd name="connsiteY4" fmla="*/ 0 h 19283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34099" h="192833">
                          <a:moveTo>
                            <a:pt x="0" y="18621"/>
                          </a:moveTo>
                          <a:lnTo>
                            <a:pt x="0" y="177213"/>
                          </a:lnTo>
                          <a:cubicBezTo>
                            <a:pt x="0" y="185785"/>
                            <a:pt x="8096" y="192834"/>
                            <a:pt x="17050" y="192834"/>
                          </a:cubicBezTo>
                          <a:cubicBezTo>
                            <a:pt x="26003" y="192834"/>
                            <a:pt x="34100" y="185833"/>
                            <a:pt x="34100" y="177213"/>
                          </a:cubicBezTo>
                          <a:lnTo>
                            <a:pt x="34100" y="0"/>
                          </a:lnTo>
                        </a:path>
                      </a:pathLst>
                    </a:custGeom>
                    <a:noFill/>
                    <a:ln w="6350" cap="flat">
                      <a:solidFill>
                        <a:schemeClr val="accent2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pt-PT"/>
                    </a:p>
                  </p:txBody>
                </p:sp>
              </p:grpSp>
              <p:sp>
                <p:nvSpPr>
                  <p:cNvPr id="504" name="Forma livre: Forma 503">
                    <a:extLst>
                      <a:ext uri="{FF2B5EF4-FFF2-40B4-BE49-F238E27FC236}">
                        <a16:creationId xmlns:a16="http://schemas.microsoft.com/office/drawing/2014/main" id="{766D9EF9-7977-8872-4212-B72FEC5DB27C}"/>
                      </a:ext>
                    </a:extLst>
                  </p:cNvPr>
                  <p:cNvSpPr/>
                  <p:nvPr/>
                </p:nvSpPr>
                <p:spPr>
                  <a:xfrm>
                    <a:off x="4765074" y="2702861"/>
                    <a:ext cx="33480" cy="4762"/>
                  </a:xfrm>
                  <a:custGeom>
                    <a:avLst/>
                    <a:gdLst>
                      <a:gd name="connsiteX0" fmla="*/ 0 w 33480"/>
                      <a:gd name="connsiteY0" fmla="*/ 0 h 4762"/>
                      <a:gd name="connsiteX1" fmla="*/ 33480 w 33480"/>
                      <a:gd name="connsiteY1" fmla="*/ 0 h 476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33480" h="4762">
                        <a:moveTo>
                          <a:pt x="0" y="0"/>
                        </a:moveTo>
                        <a:lnTo>
                          <a:pt x="33480" y="0"/>
                        </a:lnTo>
                      </a:path>
                    </a:pathLst>
                  </a:custGeom>
                  <a:ln w="6350" cap="flat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</p:grpSp>
        </p:grpSp>
        <p:sp>
          <p:nvSpPr>
            <p:cNvPr id="505" name="Forma livre: Forma 504">
              <a:extLst>
                <a:ext uri="{FF2B5EF4-FFF2-40B4-BE49-F238E27FC236}">
                  <a16:creationId xmlns:a16="http://schemas.microsoft.com/office/drawing/2014/main" id="{96335403-5F35-074D-A03A-5F36894A9DBB}"/>
                </a:ext>
              </a:extLst>
            </p:cNvPr>
            <p:cNvSpPr/>
            <p:nvPr/>
          </p:nvSpPr>
          <p:spPr>
            <a:xfrm>
              <a:off x="4545618" y="2839688"/>
              <a:ext cx="307562" cy="26384"/>
            </a:xfrm>
            <a:custGeom>
              <a:avLst/>
              <a:gdLst>
                <a:gd name="connsiteX0" fmla="*/ 0 w 307562"/>
                <a:gd name="connsiteY0" fmla="*/ 26384 h 26384"/>
                <a:gd name="connsiteX1" fmla="*/ 0 w 307562"/>
                <a:gd name="connsiteY1" fmla="*/ 0 h 26384"/>
                <a:gd name="connsiteX2" fmla="*/ 307562 w 307562"/>
                <a:gd name="connsiteY2" fmla="*/ 0 h 26384"/>
                <a:gd name="connsiteX3" fmla="*/ 307562 w 307562"/>
                <a:gd name="connsiteY3" fmla="*/ 26384 h 263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07562" h="26384">
                  <a:moveTo>
                    <a:pt x="0" y="26384"/>
                  </a:moveTo>
                  <a:lnTo>
                    <a:pt x="0" y="0"/>
                  </a:lnTo>
                  <a:lnTo>
                    <a:pt x="307562" y="0"/>
                  </a:lnTo>
                  <a:lnTo>
                    <a:pt x="307562" y="26384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sp>
        <p:nvSpPr>
          <p:cNvPr id="506" name="Forma livre: Forma 505">
            <a:extLst>
              <a:ext uri="{FF2B5EF4-FFF2-40B4-BE49-F238E27FC236}">
                <a16:creationId xmlns:a16="http://schemas.microsoft.com/office/drawing/2014/main" id="{3BD50053-4484-4422-DCAC-82CD86D9AC28}"/>
              </a:ext>
            </a:extLst>
          </p:cNvPr>
          <p:cNvSpPr/>
          <p:nvPr/>
        </p:nvSpPr>
        <p:spPr>
          <a:xfrm>
            <a:off x="4580622" y="2266949"/>
            <a:ext cx="237505" cy="24288"/>
          </a:xfrm>
          <a:custGeom>
            <a:avLst/>
            <a:gdLst>
              <a:gd name="connsiteX0" fmla="*/ 0 w 237505"/>
              <a:gd name="connsiteY0" fmla="*/ 24289 h 24288"/>
              <a:gd name="connsiteX1" fmla="*/ 0 w 237505"/>
              <a:gd name="connsiteY1" fmla="*/ 9525 h 24288"/>
              <a:gd name="connsiteX2" fmla="*/ 9525 w 237505"/>
              <a:gd name="connsiteY2" fmla="*/ 0 h 24288"/>
              <a:gd name="connsiteX3" fmla="*/ 227981 w 237505"/>
              <a:gd name="connsiteY3" fmla="*/ 0 h 24288"/>
              <a:gd name="connsiteX4" fmla="*/ 237506 w 237505"/>
              <a:gd name="connsiteY4" fmla="*/ 9525 h 24288"/>
              <a:gd name="connsiteX5" fmla="*/ 237506 w 237505"/>
              <a:gd name="connsiteY5" fmla="*/ 24289 h 242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37505" h="24288">
                <a:moveTo>
                  <a:pt x="0" y="24289"/>
                </a:moveTo>
                <a:lnTo>
                  <a:pt x="0" y="9525"/>
                </a:lnTo>
                <a:cubicBezTo>
                  <a:pt x="0" y="4286"/>
                  <a:pt x="4286" y="0"/>
                  <a:pt x="9525" y="0"/>
                </a:cubicBezTo>
                <a:lnTo>
                  <a:pt x="227981" y="0"/>
                </a:lnTo>
                <a:cubicBezTo>
                  <a:pt x="233220" y="0"/>
                  <a:pt x="237506" y="4286"/>
                  <a:pt x="237506" y="9525"/>
                </a:cubicBezTo>
                <a:lnTo>
                  <a:pt x="237506" y="24289"/>
                </a:lnTo>
              </a:path>
            </a:pathLst>
          </a:custGeom>
          <a:noFill/>
          <a:ln w="6350" cap="flat">
            <a:solidFill>
              <a:schemeClr val="accent2"/>
            </a:solidFill>
            <a:prstDash val="solid"/>
            <a:miter/>
          </a:ln>
        </p:spPr>
        <p:txBody>
          <a:bodyPr rtlCol="0" anchor="ctr"/>
          <a:lstStyle/>
          <a:p>
            <a:endParaRPr lang="pt-PT"/>
          </a:p>
        </p:txBody>
      </p:sp>
      <p:sp>
        <p:nvSpPr>
          <p:cNvPr id="507" name="Forma livre: Forma 506">
            <a:extLst>
              <a:ext uri="{FF2B5EF4-FFF2-40B4-BE49-F238E27FC236}">
                <a16:creationId xmlns:a16="http://schemas.microsoft.com/office/drawing/2014/main" id="{1034F641-07BC-BDD7-484F-EA737C528835}"/>
              </a:ext>
            </a:extLst>
          </p:cNvPr>
          <p:cNvSpPr/>
          <p:nvPr/>
        </p:nvSpPr>
        <p:spPr>
          <a:xfrm>
            <a:off x="4800697" y="2292286"/>
            <a:ext cx="34956" cy="35004"/>
          </a:xfrm>
          <a:custGeom>
            <a:avLst/>
            <a:gdLst>
              <a:gd name="connsiteX0" fmla="*/ 34957 w 34956"/>
              <a:gd name="connsiteY0" fmla="*/ 17526 h 35004"/>
              <a:gd name="connsiteX1" fmla="*/ 17478 w 34956"/>
              <a:gd name="connsiteY1" fmla="*/ 35004 h 35004"/>
              <a:gd name="connsiteX2" fmla="*/ 0 w 34956"/>
              <a:gd name="connsiteY2" fmla="*/ 17526 h 35004"/>
              <a:gd name="connsiteX3" fmla="*/ 17478 w 34956"/>
              <a:gd name="connsiteY3" fmla="*/ 0 h 35004"/>
              <a:gd name="connsiteX4" fmla="*/ 34957 w 34956"/>
              <a:gd name="connsiteY4" fmla="*/ 17526 h 350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4956" h="35004">
                <a:moveTo>
                  <a:pt x="34957" y="17526"/>
                </a:moveTo>
                <a:cubicBezTo>
                  <a:pt x="34957" y="27194"/>
                  <a:pt x="27099" y="35004"/>
                  <a:pt x="17478" y="35004"/>
                </a:cubicBezTo>
                <a:cubicBezTo>
                  <a:pt x="7858" y="35004"/>
                  <a:pt x="0" y="27194"/>
                  <a:pt x="0" y="17526"/>
                </a:cubicBezTo>
                <a:cubicBezTo>
                  <a:pt x="0" y="7858"/>
                  <a:pt x="7810" y="0"/>
                  <a:pt x="17478" y="0"/>
                </a:cubicBezTo>
                <a:cubicBezTo>
                  <a:pt x="27146" y="0"/>
                  <a:pt x="34957" y="7858"/>
                  <a:pt x="34957" y="17526"/>
                </a:cubicBezTo>
                <a:close/>
              </a:path>
            </a:pathLst>
          </a:custGeom>
          <a:noFill/>
          <a:ln w="6350" cap="flat">
            <a:solidFill>
              <a:schemeClr val="accent2"/>
            </a:solidFill>
            <a:prstDash val="solid"/>
            <a:miter/>
          </a:ln>
        </p:spPr>
        <p:txBody>
          <a:bodyPr rtlCol="0" anchor="ctr"/>
          <a:lstStyle/>
          <a:p>
            <a:endParaRPr lang="pt-PT"/>
          </a:p>
        </p:txBody>
      </p:sp>
      <p:sp>
        <p:nvSpPr>
          <p:cNvPr id="508" name="Forma livre: Forma 507">
            <a:extLst>
              <a:ext uri="{FF2B5EF4-FFF2-40B4-BE49-F238E27FC236}">
                <a16:creationId xmlns:a16="http://schemas.microsoft.com/office/drawing/2014/main" id="{79EDD32B-9A5B-45E5-7A62-7EDF52E269A6}"/>
              </a:ext>
            </a:extLst>
          </p:cNvPr>
          <p:cNvSpPr/>
          <p:nvPr/>
        </p:nvSpPr>
        <p:spPr>
          <a:xfrm>
            <a:off x="4625771" y="2232135"/>
            <a:ext cx="50577" cy="33718"/>
          </a:xfrm>
          <a:custGeom>
            <a:avLst/>
            <a:gdLst>
              <a:gd name="connsiteX0" fmla="*/ 50578 w 50577"/>
              <a:gd name="connsiteY0" fmla="*/ 0 h 33718"/>
              <a:gd name="connsiteX1" fmla="*/ 0 w 50577"/>
              <a:gd name="connsiteY1" fmla="*/ 33718 h 337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50577" h="33718">
                <a:moveTo>
                  <a:pt x="50578" y="0"/>
                </a:moveTo>
                <a:lnTo>
                  <a:pt x="0" y="33718"/>
                </a:lnTo>
              </a:path>
            </a:pathLst>
          </a:custGeom>
          <a:ln w="6350" cap="rnd">
            <a:solidFill>
              <a:schemeClr val="accent2"/>
            </a:solidFill>
            <a:prstDash val="solid"/>
            <a:miter/>
          </a:ln>
        </p:spPr>
        <p:txBody>
          <a:bodyPr rtlCol="0" anchor="ctr"/>
          <a:lstStyle/>
          <a:p>
            <a:endParaRPr lang="pt-PT"/>
          </a:p>
        </p:txBody>
      </p:sp>
      <p:sp>
        <p:nvSpPr>
          <p:cNvPr id="509" name="Forma livre: Forma 508">
            <a:extLst>
              <a:ext uri="{FF2B5EF4-FFF2-40B4-BE49-F238E27FC236}">
                <a16:creationId xmlns:a16="http://schemas.microsoft.com/office/drawing/2014/main" id="{A6416998-E7D8-2B22-CC35-73B3EB423CAA}"/>
              </a:ext>
            </a:extLst>
          </p:cNvPr>
          <p:cNvSpPr/>
          <p:nvPr/>
        </p:nvSpPr>
        <p:spPr>
          <a:xfrm>
            <a:off x="4701352" y="2167461"/>
            <a:ext cx="72009" cy="48006"/>
          </a:xfrm>
          <a:custGeom>
            <a:avLst/>
            <a:gdLst>
              <a:gd name="connsiteX0" fmla="*/ 72009 w 72009"/>
              <a:gd name="connsiteY0" fmla="*/ 0 h 48006"/>
              <a:gd name="connsiteX1" fmla="*/ 0 w 72009"/>
              <a:gd name="connsiteY1" fmla="*/ 48006 h 480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72009" h="48006">
                <a:moveTo>
                  <a:pt x="72009" y="0"/>
                </a:moveTo>
                <a:lnTo>
                  <a:pt x="0" y="48006"/>
                </a:lnTo>
              </a:path>
            </a:pathLst>
          </a:custGeom>
          <a:ln w="6350" cap="rnd">
            <a:solidFill>
              <a:schemeClr val="accent2"/>
            </a:solidFill>
            <a:prstDash val="solid"/>
            <a:miter/>
          </a:ln>
        </p:spPr>
        <p:txBody>
          <a:bodyPr rtlCol="0" anchor="ctr"/>
          <a:lstStyle/>
          <a:p>
            <a:endParaRPr lang="pt-PT"/>
          </a:p>
        </p:txBody>
      </p:sp>
      <p:sp>
        <p:nvSpPr>
          <p:cNvPr id="510" name="Forma livre: Forma 509">
            <a:extLst>
              <a:ext uri="{FF2B5EF4-FFF2-40B4-BE49-F238E27FC236}">
                <a16:creationId xmlns:a16="http://schemas.microsoft.com/office/drawing/2014/main" id="{54E39BC0-7EB7-C5A2-CF89-C0045C0B6B94}"/>
              </a:ext>
            </a:extLst>
          </p:cNvPr>
          <p:cNvSpPr/>
          <p:nvPr/>
        </p:nvSpPr>
        <p:spPr>
          <a:xfrm>
            <a:off x="4525568" y="2166365"/>
            <a:ext cx="347662" cy="4762"/>
          </a:xfrm>
          <a:custGeom>
            <a:avLst/>
            <a:gdLst>
              <a:gd name="connsiteX0" fmla="*/ 0 w 347662"/>
              <a:gd name="connsiteY0" fmla="*/ 0 h 4762"/>
              <a:gd name="connsiteX1" fmla="*/ 347663 w 347662"/>
              <a:gd name="connsiteY1" fmla="*/ 0 h 47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347662" h="4762">
                <a:moveTo>
                  <a:pt x="0" y="0"/>
                </a:moveTo>
                <a:lnTo>
                  <a:pt x="347663" y="0"/>
                </a:lnTo>
              </a:path>
            </a:pathLst>
          </a:custGeom>
          <a:ln w="6350" cap="rnd">
            <a:solidFill>
              <a:schemeClr val="accent2"/>
            </a:solidFill>
            <a:prstDash val="solid"/>
            <a:miter/>
          </a:ln>
        </p:spPr>
        <p:txBody>
          <a:bodyPr rtlCol="0" anchor="ctr"/>
          <a:lstStyle/>
          <a:p>
            <a:endParaRPr lang="pt-PT"/>
          </a:p>
        </p:txBody>
      </p:sp>
      <p:sp>
        <p:nvSpPr>
          <p:cNvPr id="511" name="Forma livre: Forma 510">
            <a:extLst>
              <a:ext uri="{FF2B5EF4-FFF2-40B4-BE49-F238E27FC236}">
                <a16:creationId xmlns:a16="http://schemas.microsoft.com/office/drawing/2014/main" id="{058E0208-F76F-2772-B862-CAB93102D96A}"/>
              </a:ext>
            </a:extLst>
          </p:cNvPr>
          <p:cNvSpPr/>
          <p:nvPr/>
        </p:nvSpPr>
        <p:spPr>
          <a:xfrm>
            <a:off x="4535038" y="2083919"/>
            <a:ext cx="321809" cy="183649"/>
          </a:xfrm>
          <a:custGeom>
            <a:avLst/>
            <a:gdLst>
              <a:gd name="connsiteX0" fmla="*/ 321809 w 321809"/>
              <a:gd name="connsiteY0" fmla="*/ 78731 h 183649"/>
              <a:gd name="connsiteX1" fmla="*/ 321809 w 321809"/>
              <a:gd name="connsiteY1" fmla="*/ 59824 h 183649"/>
              <a:gd name="connsiteX2" fmla="*/ 313951 w 321809"/>
              <a:gd name="connsiteY2" fmla="*/ 52014 h 183649"/>
              <a:gd name="connsiteX3" fmla="*/ 97400 w 321809"/>
              <a:gd name="connsiteY3" fmla="*/ 52014 h 183649"/>
              <a:gd name="connsiteX4" fmla="*/ 20152 w 321809"/>
              <a:gd name="connsiteY4" fmla="*/ 1150 h 183649"/>
              <a:gd name="connsiteX5" fmla="*/ 13437 w 321809"/>
              <a:gd name="connsiteY5" fmla="*/ 1626 h 183649"/>
              <a:gd name="connsiteX6" fmla="*/ 1150 w 321809"/>
              <a:gd name="connsiteY6" fmla="*/ 18200 h 183649"/>
              <a:gd name="connsiteX7" fmla="*/ 1626 w 321809"/>
              <a:gd name="connsiteY7" fmla="*/ 24915 h 183649"/>
              <a:gd name="connsiteX8" fmla="*/ 240561 w 321809"/>
              <a:gd name="connsiteY8" fmla="*/ 183649 h 1836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21809" h="183649">
                <a:moveTo>
                  <a:pt x="321809" y="78731"/>
                </a:moveTo>
                <a:lnTo>
                  <a:pt x="321809" y="59824"/>
                </a:lnTo>
                <a:cubicBezTo>
                  <a:pt x="321809" y="56157"/>
                  <a:pt x="318523" y="52014"/>
                  <a:pt x="313951" y="52014"/>
                </a:cubicBezTo>
                <a:lnTo>
                  <a:pt x="97400" y="52014"/>
                </a:lnTo>
                <a:lnTo>
                  <a:pt x="20152" y="1150"/>
                </a:lnTo>
                <a:cubicBezTo>
                  <a:pt x="18152" y="-564"/>
                  <a:pt x="15152" y="-326"/>
                  <a:pt x="13437" y="1626"/>
                </a:cubicBezTo>
                <a:lnTo>
                  <a:pt x="1150" y="18200"/>
                </a:lnTo>
                <a:cubicBezTo>
                  <a:pt x="-564" y="20200"/>
                  <a:pt x="-326" y="23200"/>
                  <a:pt x="1626" y="24915"/>
                </a:cubicBezTo>
                <a:lnTo>
                  <a:pt x="240561" y="183649"/>
                </a:lnTo>
              </a:path>
            </a:pathLst>
          </a:custGeom>
          <a:noFill/>
          <a:ln w="6350" cap="flat">
            <a:solidFill>
              <a:schemeClr val="accent2"/>
            </a:solidFill>
            <a:prstDash val="solid"/>
            <a:miter/>
          </a:ln>
        </p:spPr>
        <p:txBody>
          <a:bodyPr rtlCol="0" anchor="ctr"/>
          <a:lstStyle/>
          <a:p>
            <a:endParaRPr lang="pt-PT"/>
          </a:p>
        </p:txBody>
      </p:sp>
      <p:grpSp>
        <p:nvGrpSpPr>
          <p:cNvPr id="512" name="Gráfico 6">
            <a:extLst>
              <a:ext uri="{FF2B5EF4-FFF2-40B4-BE49-F238E27FC236}">
                <a16:creationId xmlns:a16="http://schemas.microsoft.com/office/drawing/2014/main" id="{B6E73044-5E4A-61F1-8113-0D637A36202A}"/>
              </a:ext>
            </a:extLst>
          </p:cNvPr>
          <p:cNvGrpSpPr/>
          <p:nvPr/>
        </p:nvGrpSpPr>
        <p:grpSpPr>
          <a:xfrm>
            <a:off x="5815015" y="1496615"/>
            <a:ext cx="247625" cy="333599"/>
            <a:chOff x="5815015" y="1496615"/>
            <a:chExt cx="247625" cy="333599"/>
          </a:xfrm>
        </p:grpSpPr>
        <p:sp>
          <p:nvSpPr>
            <p:cNvPr id="513" name="Forma livre: Forma 512">
              <a:extLst>
                <a:ext uri="{FF2B5EF4-FFF2-40B4-BE49-F238E27FC236}">
                  <a16:creationId xmlns:a16="http://schemas.microsoft.com/office/drawing/2014/main" id="{4A7786B3-DFC8-DA7F-8C87-C51765CAFA5F}"/>
                </a:ext>
              </a:extLst>
            </p:cNvPr>
            <p:cNvSpPr/>
            <p:nvPr/>
          </p:nvSpPr>
          <p:spPr>
            <a:xfrm>
              <a:off x="5887690" y="1526999"/>
              <a:ext cx="7429" cy="7429"/>
            </a:xfrm>
            <a:custGeom>
              <a:avLst/>
              <a:gdLst>
                <a:gd name="connsiteX0" fmla="*/ 7429 w 7429"/>
                <a:gd name="connsiteY0" fmla="*/ 3715 h 7429"/>
                <a:gd name="connsiteX1" fmla="*/ 3715 w 7429"/>
                <a:gd name="connsiteY1" fmla="*/ 7430 h 7429"/>
                <a:gd name="connsiteX2" fmla="*/ 0 w 7429"/>
                <a:gd name="connsiteY2" fmla="*/ 3715 h 7429"/>
                <a:gd name="connsiteX3" fmla="*/ 3715 w 7429"/>
                <a:gd name="connsiteY3" fmla="*/ 0 h 7429"/>
                <a:gd name="connsiteX4" fmla="*/ 7429 w 7429"/>
                <a:gd name="connsiteY4" fmla="*/ 3715 h 74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429" h="7429">
                  <a:moveTo>
                    <a:pt x="7429" y="3715"/>
                  </a:moveTo>
                  <a:cubicBezTo>
                    <a:pt x="7429" y="5763"/>
                    <a:pt x="5763" y="7430"/>
                    <a:pt x="3715" y="7430"/>
                  </a:cubicBezTo>
                  <a:cubicBezTo>
                    <a:pt x="1667" y="7430"/>
                    <a:pt x="0" y="5763"/>
                    <a:pt x="0" y="3715"/>
                  </a:cubicBezTo>
                  <a:cubicBezTo>
                    <a:pt x="0" y="1667"/>
                    <a:pt x="1667" y="0"/>
                    <a:pt x="3715" y="0"/>
                  </a:cubicBezTo>
                  <a:cubicBezTo>
                    <a:pt x="5763" y="0"/>
                    <a:pt x="7429" y="1667"/>
                    <a:pt x="7429" y="3715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514" name="Forma livre: Forma 513">
              <a:extLst>
                <a:ext uri="{FF2B5EF4-FFF2-40B4-BE49-F238E27FC236}">
                  <a16:creationId xmlns:a16="http://schemas.microsoft.com/office/drawing/2014/main" id="{806FC568-397B-1F4F-1AB8-7CDFE76E9590}"/>
                </a:ext>
              </a:extLst>
            </p:cNvPr>
            <p:cNvSpPr/>
            <p:nvPr/>
          </p:nvSpPr>
          <p:spPr>
            <a:xfrm>
              <a:off x="5900549" y="1592103"/>
              <a:ext cx="7429" cy="7429"/>
            </a:xfrm>
            <a:custGeom>
              <a:avLst/>
              <a:gdLst>
                <a:gd name="connsiteX0" fmla="*/ 7429 w 7429"/>
                <a:gd name="connsiteY0" fmla="*/ 3715 h 7429"/>
                <a:gd name="connsiteX1" fmla="*/ 3715 w 7429"/>
                <a:gd name="connsiteY1" fmla="*/ 7429 h 7429"/>
                <a:gd name="connsiteX2" fmla="*/ 0 w 7429"/>
                <a:gd name="connsiteY2" fmla="*/ 3715 h 7429"/>
                <a:gd name="connsiteX3" fmla="*/ 3715 w 7429"/>
                <a:gd name="connsiteY3" fmla="*/ 0 h 7429"/>
                <a:gd name="connsiteX4" fmla="*/ 7429 w 7429"/>
                <a:gd name="connsiteY4" fmla="*/ 3715 h 74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429" h="7429">
                  <a:moveTo>
                    <a:pt x="7429" y="3715"/>
                  </a:moveTo>
                  <a:cubicBezTo>
                    <a:pt x="7429" y="5763"/>
                    <a:pt x="5763" y="7429"/>
                    <a:pt x="3715" y="7429"/>
                  </a:cubicBezTo>
                  <a:cubicBezTo>
                    <a:pt x="1667" y="7429"/>
                    <a:pt x="0" y="5763"/>
                    <a:pt x="0" y="3715"/>
                  </a:cubicBezTo>
                  <a:cubicBezTo>
                    <a:pt x="0" y="1667"/>
                    <a:pt x="1667" y="0"/>
                    <a:pt x="3715" y="0"/>
                  </a:cubicBezTo>
                  <a:cubicBezTo>
                    <a:pt x="5763" y="0"/>
                    <a:pt x="7429" y="1667"/>
                    <a:pt x="7429" y="3715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515" name="Forma livre: Forma 514">
              <a:extLst>
                <a:ext uri="{FF2B5EF4-FFF2-40B4-BE49-F238E27FC236}">
                  <a16:creationId xmlns:a16="http://schemas.microsoft.com/office/drawing/2014/main" id="{7F071336-DFED-8BC1-9F58-A38137AF5FEC}"/>
                </a:ext>
              </a:extLst>
            </p:cNvPr>
            <p:cNvSpPr/>
            <p:nvPr/>
          </p:nvSpPr>
          <p:spPr>
            <a:xfrm>
              <a:off x="5825791" y="1676066"/>
              <a:ext cx="27894" cy="47279"/>
            </a:xfrm>
            <a:custGeom>
              <a:avLst/>
              <a:gdLst>
                <a:gd name="connsiteX0" fmla="*/ 27895 w 27894"/>
                <a:gd name="connsiteY0" fmla="*/ 47149 h 47279"/>
                <a:gd name="connsiteX1" fmla="*/ 5225 w 27894"/>
                <a:gd name="connsiteY1" fmla="*/ 37386 h 47279"/>
                <a:gd name="connsiteX2" fmla="*/ 9845 w 27894"/>
                <a:gd name="connsiteY2" fmla="*/ 2000 h 47279"/>
                <a:gd name="connsiteX3" fmla="*/ 12845 w 27894"/>
                <a:gd name="connsiteY3" fmla="*/ 0 h 472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7894" h="47279">
                  <a:moveTo>
                    <a:pt x="27895" y="47149"/>
                  </a:moveTo>
                  <a:cubicBezTo>
                    <a:pt x="19465" y="48006"/>
                    <a:pt x="10797" y="44625"/>
                    <a:pt x="5225" y="37386"/>
                  </a:cubicBezTo>
                  <a:cubicBezTo>
                    <a:pt x="-3252" y="26337"/>
                    <a:pt x="-1204" y="10525"/>
                    <a:pt x="9845" y="2000"/>
                  </a:cubicBezTo>
                  <a:cubicBezTo>
                    <a:pt x="10797" y="1238"/>
                    <a:pt x="11797" y="572"/>
                    <a:pt x="12845" y="0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516" name="Forma livre: Forma 515">
              <a:extLst>
                <a:ext uri="{FF2B5EF4-FFF2-40B4-BE49-F238E27FC236}">
                  <a16:creationId xmlns:a16="http://schemas.microsoft.com/office/drawing/2014/main" id="{54164F48-9AE5-7300-28D7-2CDE61130E1A}"/>
                </a:ext>
              </a:extLst>
            </p:cNvPr>
            <p:cNvSpPr/>
            <p:nvPr/>
          </p:nvSpPr>
          <p:spPr>
            <a:xfrm>
              <a:off x="5995085" y="1604641"/>
              <a:ext cx="53424" cy="48993"/>
            </a:xfrm>
            <a:custGeom>
              <a:avLst/>
              <a:gdLst>
                <a:gd name="connsiteX0" fmla="*/ 0 w 53424"/>
                <a:gd name="connsiteY0" fmla="*/ 18132 h 48993"/>
                <a:gd name="connsiteX1" fmla="*/ 28527 w 53424"/>
                <a:gd name="connsiteY1" fmla="*/ 130 h 48993"/>
                <a:gd name="connsiteX2" fmla="*/ 53292 w 53424"/>
                <a:gd name="connsiteY2" fmla="*/ 30134 h 48993"/>
                <a:gd name="connsiteX3" fmla="*/ 43053 w 53424"/>
                <a:gd name="connsiteY3" fmla="*/ 48993 h 489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3424" h="48993">
                  <a:moveTo>
                    <a:pt x="0" y="18132"/>
                  </a:moveTo>
                  <a:cubicBezTo>
                    <a:pt x="4143" y="6607"/>
                    <a:pt x="15716" y="-1108"/>
                    <a:pt x="28527" y="130"/>
                  </a:cubicBezTo>
                  <a:cubicBezTo>
                    <a:pt x="43672" y="1559"/>
                    <a:pt x="54769" y="14989"/>
                    <a:pt x="53292" y="30134"/>
                  </a:cubicBezTo>
                  <a:cubicBezTo>
                    <a:pt x="52530" y="37849"/>
                    <a:pt x="48673" y="44517"/>
                    <a:pt x="43053" y="48993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517" name="Forma livre: Forma 516">
              <a:extLst>
                <a:ext uri="{FF2B5EF4-FFF2-40B4-BE49-F238E27FC236}">
                  <a16:creationId xmlns:a16="http://schemas.microsoft.com/office/drawing/2014/main" id="{BD2A91EC-6B1C-AABD-1848-1E52B86BE9BB}"/>
                </a:ext>
              </a:extLst>
            </p:cNvPr>
            <p:cNvSpPr/>
            <p:nvPr/>
          </p:nvSpPr>
          <p:spPr>
            <a:xfrm>
              <a:off x="5925409" y="1532714"/>
              <a:ext cx="46672" cy="46672"/>
            </a:xfrm>
            <a:custGeom>
              <a:avLst/>
              <a:gdLst>
                <a:gd name="connsiteX0" fmla="*/ 46673 w 46672"/>
                <a:gd name="connsiteY0" fmla="*/ 23336 h 46672"/>
                <a:gd name="connsiteX1" fmla="*/ 23336 w 46672"/>
                <a:gd name="connsiteY1" fmla="*/ 46672 h 46672"/>
                <a:gd name="connsiteX2" fmla="*/ 0 w 46672"/>
                <a:gd name="connsiteY2" fmla="*/ 23336 h 46672"/>
                <a:gd name="connsiteX3" fmla="*/ 23336 w 46672"/>
                <a:gd name="connsiteY3" fmla="*/ 0 h 46672"/>
                <a:gd name="connsiteX4" fmla="*/ 46673 w 46672"/>
                <a:gd name="connsiteY4" fmla="*/ 23336 h 466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6672" h="46672">
                  <a:moveTo>
                    <a:pt x="46673" y="23336"/>
                  </a:moveTo>
                  <a:cubicBezTo>
                    <a:pt x="46673" y="36243"/>
                    <a:pt x="36243" y="46672"/>
                    <a:pt x="23336" y="46672"/>
                  </a:cubicBezTo>
                  <a:cubicBezTo>
                    <a:pt x="10430" y="46672"/>
                    <a:pt x="0" y="36243"/>
                    <a:pt x="0" y="23336"/>
                  </a:cubicBezTo>
                  <a:cubicBezTo>
                    <a:pt x="0" y="10430"/>
                    <a:pt x="10430" y="0"/>
                    <a:pt x="23336" y="0"/>
                  </a:cubicBezTo>
                  <a:cubicBezTo>
                    <a:pt x="36243" y="0"/>
                    <a:pt x="46673" y="10430"/>
                    <a:pt x="46673" y="23336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518" name="Forma livre: Forma 517">
              <a:extLst>
                <a:ext uri="{FF2B5EF4-FFF2-40B4-BE49-F238E27FC236}">
                  <a16:creationId xmlns:a16="http://schemas.microsoft.com/office/drawing/2014/main" id="{3591E80C-FC51-7866-77B7-106D3BEDD46B}"/>
                </a:ext>
              </a:extLst>
            </p:cNvPr>
            <p:cNvSpPr/>
            <p:nvPr/>
          </p:nvSpPr>
          <p:spPr>
            <a:xfrm>
              <a:off x="5900406" y="1496615"/>
              <a:ext cx="7429" cy="7429"/>
            </a:xfrm>
            <a:custGeom>
              <a:avLst/>
              <a:gdLst>
                <a:gd name="connsiteX0" fmla="*/ 7429 w 7429"/>
                <a:gd name="connsiteY0" fmla="*/ 3715 h 7429"/>
                <a:gd name="connsiteX1" fmla="*/ 3715 w 7429"/>
                <a:gd name="connsiteY1" fmla="*/ 7429 h 7429"/>
                <a:gd name="connsiteX2" fmla="*/ 0 w 7429"/>
                <a:gd name="connsiteY2" fmla="*/ 3715 h 7429"/>
                <a:gd name="connsiteX3" fmla="*/ 3715 w 7429"/>
                <a:gd name="connsiteY3" fmla="*/ 0 h 7429"/>
                <a:gd name="connsiteX4" fmla="*/ 7429 w 7429"/>
                <a:gd name="connsiteY4" fmla="*/ 3715 h 74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429" h="7429">
                  <a:moveTo>
                    <a:pt x="7429" y="3715"/>
                  </a:moveTo>
                  <a:cubicBezTo>
                    <a:pt x="7429" y="5763"/>
                    <a:pt x="5763" y="7429"/>
                    <a:pt x="3715" y="7429"/>
                  </a:cubicBezTo>
                  <a:cubicBezTo>
                    <a:pt x="1667" y="7429"/>
                    <a:pt x="0" y="5763"/>
                    <a:pt x="0" y="3715"/>
                  </a:cubicBezTo>
                  <a:cubicBezTo>
                    <a:pt x="0" y="1667"/>
                    <a:pt x="1667" y="0"/>
                    <a:pt x="3715" y="0"/>
                  </a:cubicBezTo>
                  <a:cubicBezTo>
                    <a:pt x="5763" y="0"/>
                    <a:pt x="7429" y="1667"/>
                    <a:pt x="7429" y="3715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519" name="Forma livre: Forma 518">
              <a:extLst>
                <a:ext uri="{FF2B5EF4-FFF2-40B4-BE49-F238E27FC236}">
                  <a16:creationId xmlns:a16="http://schemas.microsoft.com/office/drawing/2014/main" id="{6DB0BBDC-710C-EC21-6515-4F2E49108DC5}"/>
                </a:ext>
              </a:extLst>
            </p:cNvPr>
            <p:cNvSpPr/>
            <p:nvPr/>
          </p:nvSpPr>
          <p:spPr>
            <a:xfrm>
              <a:off x="5935601" y="1623964"/>
              <a:ext cx="22431" cy="182118"/>
            </a:xfrm>
            <a:custGeom>
              <a:avLst/>
              <a:gdLst>
                <a:gd name="connsiteX0" fmla="*/ 0 w 22431"/>
                <a:gd name="connsiteY0" fmla="*/ 182118 h 182118"/>
                <a:gd name="connsiteX1" fmla="*/ 22431 w 22431"/>
                <a:gd name="connsiteY1" fmla="*/ 0 h 1821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2431" h="182118">
                  <a:moveTo>
                    <a:pt x="0" y="182118"/>
                  </a:moveTo>
                  <a:lnTo>
                    <a:pt x="22431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520" name="Forma livre: Forma 519">
              <a:extLst>
                <a:ext uri="{FF2B5EF4-FFF2-40B4-BE49-F238E27FC236}">
                  <a16:creationId xmlns:a16="http://schemas.microsoft.com/office/drawing/2014/main" id="{BBDDD828-DE51-7623-1FFD-18B2E1AAE765}"/>
                </a:ext>
              </a:extLst>
            </p:cNvPr>
            <p:cNvSpPr/>
            <p:nvPr/>
          </p:nvSpPr>
          <p:spPr>
            <a:xfrm>
              <a:off x="5856734" y="1632632"/>
              <a:ext cx="60102" cy="60102"/>
            </a:xfrm>
            <a:custGeom>
              <a:avLst/>
              <a:gdLst>
                <a:gd name="connsiteX0" fmla="*/ 60103 w 60102"/>
                <a:gd name="connsiteY0" fmla="*/ 30051 h 60102"/>
                <a:gd name="connsiteX1" fmla="*/ 30051 w 60102"/>
                <a:gd name="connsiteY1" fmla="*/ 60103 h 60102"/>
                <a:gd name="connsiteX2" fmla="*/ 0 w 60102"/>
                <a:gd name="connsiteY2" fmla="*/ 30051 h 60102"/>
                <a:gd name="connsiteX3" fmla="*/ 30051 w 60102"/>
                <a:gd name="connsiteY3" fmla="*/ 0 h 60102"/>
                <a:gd name="connsiteX4" fmla="*/ 60103 w 60102"/>
                <a:gd name="connsiteY4" fmla="*/ 30051 h 601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102" h="60102">
                  <a:moveTo>
                    <a:pt x="60103" y="30051"/>
                  </a:moveTo>
                  <a:cubicBezTo>
                    <a:pt x="60103" y="46673"/>
                    <a:pt x="46625" y="60103"/>
                    <a:pt x="30051" y="60103"/>
                  </a:cubicBezTo>
                  <a:cubicBezTo>
                    <a:pt x="13478" y="60103"/>
                    <a:pt x="0" y="46625"/>
                    <a:pt x="0" y="30051"/>
                  </a:cubicBezTo>
                  <a:cubicBezTo>
                    <a:pt x="0" y="13478"/>
                    <a:pt x="13478" y="0"/>
                    <a:pt x="30051" y="0"/>
                  </a:cubicBezTo>
                  <a:cubicBezTo>
                    <a:pt x="46625" y="0"/>
                    <a:pt x="60103" y="13430"/>
                    <a:pt x="60103" y="30051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521" name="Forma livre: Forma 520">
              <a:extLst>
                <a:ext uri="{FF2B5EF4-FFF2-40B4-BE49-F238E27FC236}">
                  <a16:creationId xmlns:a16="http://schemas.microsoft.com/office/drawing/2014/main" id="{02991E27-A7D4-AAD5-F580-058E1D59D723}"/>
                </a:ext>
              </a:extLst>
            </p:cNvPr>
            <p:cNvSpPr/>
            <p:nvPr/>
          </p:nvSpPr>
          <p:spPr>
            <a:xfrm>
              <a:off x="5815015" y="1534953"/>
              <a:ext cx="44672" cy="46339"/>
            </a:xfrm>
            <a:custGeom>
              <a:avLst/>
              <a:gdLst>
                <a:gd name="connsiteX0" fmla="*/ 20431 w 44672"/>
                <a:gd name="connsiteY0" fmla="*/ 46339 h 46339"/>
                <a:gd name="connsiteX1" fmla="*/ 0 w 44672"/>
                <a:gd name="connsiteY1" fmla="*/ 23241 h 46339"/>
                <a:gd name="connsiteX2" fmla="*/ 23289 w 44672"/>
                <a:gd name="connsiteY2" fmla="*/ 0 h 46339"/>
                <a:gd name="connsiteX3" fmla="*/ 44672 w 44672"/>
                <a:gd name="connsiteY3" fmla="*/ 14097 h 463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4672" h="46339">
                  <a:moveTo>
                    <a:pt x="20431" y="46339"/>
                  </a:moveTo>
                  <a:cubicBezTo>
                    <a:pt x="8906" y="44910"/>
                    <a:pt x="0" y="35147"/>
                    <a:pt x="0" y="23241"/>
                  </a:cubicBezTo>
                  <a:cubicBezTo>
                    <a:pt x="0" y="10382"/>
                    <a:pt x="10430" y="0"/>
                    <a:pt x="23289" y="0"/>
                  </a:cubicBezTo>
                  <a:cubicBezTo>
                    <a:pt x="32861" y="0"/>
                    <a:pt x="41100" y="5810"/>
                    <a:pt x="44672" y="14097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522" name="Forma livre: Forma 521">
              <a:extLst>
                <a:ext uri="{FF2B5EF4-FFF2-40B4-BE49-F238E27FC236}">
                  <a16:creationId xmlns:a16="http://schemas.microsoft.com/office/drawing/2014/main" id="{6293C1C3-BC0A-F869-937A-82157EA53238}"/>
                </a:ext>
              </a:extLst>
            </p:cNvPr>
            <p:cNvSpPr/>
            <p:nvPr/>
          </p:nvSpPr>
          <p:spPr>
            <a:xfrm>
              <a:off x="5835731" y="1567290"/>
              <a:ext cx="34385" cy="34385"/>
            </a:xfrm>
            <a:custGeom>
              <a:avLst/>
              <a:gdLst>
                <a:gd name="connsiteX0" fmla="*/ 34385 w 34385"/>
                <a:gd name="connsiteY0" fmla="*/ 17193 h 34385"/>
                <a:gd name="connsiteX1" fmla="*/ 17193 w 34385"/>
                <a:gd name="connsiteY1" fmla="*/ 34385 h 34385"/>
                <a:gd name="connsiteX2" fmla="*/ 0 w 34385"/>
                <a:gd name="connsiteY2" fmla="*/ 17193 h 34385"/>
                <a:gd name="connsiteX3" fmla="*/ 17193 w 34385"/>
                <a:gd name="connsiteY3" fmla="*/ 0 h 34385"/>
                <a:gd name="connsiteX4" fmla="*/ 34385 w 34385"/>
                <a:gd name="connsiteY4" fmla="*/ 17193 h 343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385" h="34385">
                  <a:moveTo>
                    <a:pt x="34385" y="17193"/>
                  </a:moveTo>
                  <a:cubicBezTo>
                    <a:pt x="34385" y="26670"/>
                    <a:pt x="26670" y="34385"/>
                    <a:pt x="17193" y="34385"/>
                  </a:cubicBezTo>
                  <a:cubicBezTo>
                    <a:pt x="7715" y="34385"/>
                    <a:pt x="0" y="26670"/>
                    <a:pt x="0" y="17193"/>
                  </a:cubicBezTo>
                  <a:cubicBezTo>
                    <a:pt x="0" y="7715"/>
                    <a:pt x="7715" y="0"/>
                    <a:pt x="17193" y="0"/>
                  </a:cubicBezTo>
                  <a:cubicBezTo>
                    <a:pt x="26670" y="0"/>
                    <a:pt x="34385" y="7715"/>
                    <a:pt x="34385" y="17193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523" name="Gráfico 6">
              <a:extLst>
                <a:ext uri="{FF2B5EF4-FFF2-40B4-BE49-F238E27FC236}">
                  <a16:creationId xmlns:a16="http://schemas.microsoft.com/office/drawing/2014/main" id="{E93DC525-0EDB-0F83-A8C5-FF52CEB4C545}"/>
                </a:ext>
              </a:extLst>
            </p:cNvPr>
            <p:cNvGrpSpPr/>
            <p:nvPr/>
          </p:nvGrpSpPr>
          <p:grpSpPr>
            <a:xfrm>
              <a:off x="5851957" y="1622148"/>
              <a:ext cx="210682" cy="208066"/>
              <a:chOff x="5851957" y="1622148"/>
              <a:chExt cx="210682" cy="208066"/>
            </a:xfrm>
            <a:noFill/>
          </p:grpSpPr>
          <p:sp>
            <p:nvSpPr>
              <p:cNvPr id="524" name="Forma livre: Forma 523">
                <a:extLst>
                  <a:ext uri="{FF2B5EF4-FFF2-40B4-BE49-F238E27FC236}">
                    <a16:creationId xmlns:a16="http://schemas.microsoft.com/office/drawing/2014/main" id="{A43912C9-D735-5D68-24D4-A25915EFE445}"/>
                  </a:ext>
                </a:extLst>
              </p:cNvPr>
              <p:cNvSpPr/>
              <p:nvPr/>
            </p:nvSpPr>
            <p:spPr>
              <a:xfrm>
                <a:off x="5851957" y="1622148"/>
                <a:ext cx="187848" cy="183349"/>
              </a:xfrm>
              <a:custGeom>
                <a:avLst/>
                <a:gdLst>
                  <a:gd name="connsiteX0" fmla="*/ 76595 w 187848"/>
                  <a:gd name="connsiteY0" fmla="*/ 10484 h 183349"/>
                  <a:gd name="connsiteX1" fmla="*/ 171607 w 187848"/>
                  <a:gd name="connsiteY1" fmla="*/ 20200 h 183349"/>
                  <a:gd name="connsiteX2" fmla="*/ 146699 w 187848"/>
                  <a:gd name="connsiteY2" fmla="*/ 149073 h 183349"/>
                  <a:gd name="connsiteX3" fmla="*/ 16254 w 187848"/>
                  <a:gd name="connsiteY3" fmla="*/ 163170 h 183349"/>
                  <a:gd name="connsiteX4" fmla="*/ 16730 w 187848"/>
                  <a:gd name="connsiteY4" fmla="*/ 63872 h 1833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87848" h="183349">
                    <a:moveTo>
                      <a:pt x="76595" y="10484"/>
                    </a:moveTo>
                    <a:cubicBezTo>
                      <a:pt x="112171" y="-5947"/>
                      <a:pt x="149985" y="-3327"/>
                      <a:pt x="171607" y="20200"/>
                    </a:cubicBezTo>
                    <a:cubicBezTo>
                      <a:pt x="200753" y="51870"/>
                      <a:pt x="189609" y="109544"/>
                      <a:pt x="146699" y="149073"/>
                    </a:cubicBezTo>
                    <a:cubicBezTo>
                      <a:pt x="103789" y="188554"/>
                      <a:pt x="45401" y="194841"/>
                      <a:pt x="16254" y="163170"/>
                    </a:cubicBezTo>
                    <a:cubicBezTo>
                      <a:pt x="-6225" y="138738"/>
                      <a:pt x="-4748" y="98924"/>
                      <a:pt x="16730" y="63872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25" name="Forma livre: Forma 524">
                <a:extLst>
                  <a:ext uri="{FF2B5EF4-FFF2-40B4-BE49-F238E27FC236}">
                    <a16:creationId xmlns:a16="http://schemas.microsoft.com/office/drawing/2014/main" id="{3422006E-C6C0-BEE8-402D-CCB685FB3650}"/>
                  </a:ext>
                </a:extLst>
              </p:cNvPr>
              <p:cNvSpPr/>
              <p:nvPr/>
            </p:nvSpPr>
            <p:spPr>
              <a:xfrm>
                <a:off x="5869783" y="1644062"/>
                <a:ext cx="192856" cy="186152"/>
              </a:xfrm>
              <a:custGeom>
                <a:avLst/>
                <a:gdLst>
                  <a:gd name="connsiteX0" fmla="*/ 0 w 192856"/>
                  <a:gd name="connsiteY0" fmla="*/ 142923 h 186152"/>
                  <a:gd name="connsiteX1" fmla="*/ 21241 w 192856"/>
                  <a:gd name="connsiteY1" fmla="*/ 165973 h 186152"/>
                  <a:gd name="connsiteX2" fmla="*/ 151686 w 192856"/>
                  <a:gd name="connsiteY2" fmla="*/ 151876 h 186152"/>
                  <a:gd name="connsiteX3" fmla="*/ 176593 w 192856"/>
                  <a:gd name="connsiteY3" fmla="*/ 23050 h 186152"/>
                  <a:gd name="connsiteX4" fmla="*/ 155353 w 192856"/>
                  <a:gd name="connsiteY4" fmla="*/ 0 h 1861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92856" h="186152">
                    <a:moveTo>
                      <a:pt x="0" y="142923"/>
                    </a:moveTo>
                    <a:lnTo>
                      <a:pt x="21241" y="165973"/>
                    </a:lnTo>
                    <a:cubicBezTo>
                      <a:pt x="50387" y="197644"/>
                      <a:pt x="108775" y="191357"/>
                      <a:pt x="151686" y="151876"/>
                    </a:cubicBezTo>
                    <a:cubicBezTo>
                      <a:pt x="194596" y="112395"/>
                      <a:pt x="205788" y="54721"/>
                      <a:pt x="176593" y="23050"/>
                    </a:cubicBezTo>
                    <a:lnTo>
                      <a:pt x="155353" y="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526" name="Gráfico 6">
            <a:extLst>
              <a:ext uri="{FF2B5EF4-FFF2-40B4-BE49-F238E27FC236}">
                <a16:creationId xmlns:a16="http://schemas.microsoft.com/office/drawing/2014/main" id="{8DB0E6E5-B321-2624-EB2C-965451741343}"/>
              </a:ext>
            </a:extLst>
          </p:cNvPr>
          <p:cNvGrpSpPr/>
          <p:nvPr/>
        </p:nvGrpSpPr>
        <p:grpSpPr>
          <a:xfrm>
            <a:off x="5801584" y="3133153"/>
            <a:ext cx="274462" cy="281701"/>
            <a:chOff x="5801584" y="3133153"/>
            <a:chExt cx="274462" cy="281701"/>
          </a:xfrm>
          <a:noFill/>
        </p:grpSpPr>
        <p:sp>
          <p:nvSpPr>
            <p:cNvPr id="527" name="Forma livre: Forma 526">
              <a:extLst>
                <a:ext uri="{FF2B5EF4-FFF2-40B4-BE49-F238E27FC236}">
                  <a16:creationId xmlns:a16="http://schemas.microsoft.com/office/drawing/2014/main" id="{A34FE8F8-6A98-B635-9C2F-CC1701504D23}"/>
                </a:ext>
              </a:extLst>
            </p:cNvPr>
            <p:cNvSpPr/>
            <p:nvPr/>
          </p:nvSpPr>
          <p:spPr>
            <a:xfrm>
              <a:off x="5818682" y="3157775"/>
              <a:ext cx="240268" cy="257079"/>
            </a:xfrm>
            <a:custGeom>
              <a:avLst/>
              <a:gdLst>
                <a:gd name="connsiteX0" fmla="*/ 240221 w 240268"/>
                <a:gd name="connsiteY0" fmla="*/ 0 h 257079"/>
                <a:gd name="connsiteX1" fmla="*/ 240268 w 240268"/>
                <a:gd name="connsiteY1" fmla="*/ 257080 h 257079"/>
                <a:gd name="connsiteX2" fmla="*/ 0 w 240268"/>
                <a:gd name="connsiteY2" fmla="*/ 257032 h 257079"/>
                <a:gd name="connsiteX3" fmla="*/ 0 w 240268"/>
                <a:gd name="connsiteY3" fmla="*/ 19955 h 2570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0268" h="257079">
                  <a:moveTo>
                    <a:pt x="240221" y="0"/>
                  </a:moveTo>
                  <a:lnTo>
                    <a:pt x="240268" y="257080"/>
                  </a:lnTo>
                  <a:lnTo>
                    <a:pt x="0" y="257032"/>
                  </a:lnTo>
                  <a:lnTo>
                    <a:pt x="0" y="19955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528" name="Forma livre: Forma 527">
              <a:extLst>
                <a:ext uri="{FF2B5EF4-FFF2-40B4-BE49-F238E27FC236}">
                  <a16:creationId xmlns:a16="http://schemas.microsoft.com/office/drawing/2014/main" id="{B6BE30F5-0A6E-6583-76C4-DABD0AFB94BD}"/>
                </a:ext>
              </a:extLst>
            </p:cNvPr>
            <p:cNvSpPr/>
            <p:nvPr/>
          </p:nvSpPr>
          <p:spPr>
            <a:xfrm>
              <a:off x="5801584" y="3133153"/>
              <a:ext cx="274462" cy="24241"/>
            </a:xfrm>
            <a:custGeom>
              <a:avLst/>
              <a:gdLst>
                <a:gd name="connsiteX0" fmla="*/ 45244 w 274462"/>
                <a:gd name="connsiteY0" fmla="*/ 24241 h 24241"/>
                <a:gd name="connsiteX1" fmla="*/ 0 w 274462"/>
                <a:gd name="connsiteY1" fmla="*/ 24241 h 24241"/>
                <a:gd name="connsiteX2" fmla="*/ 0 w 274462"/>
                <a:gd name="connsiteY2" fmla="*/ 0 h 24241"/>
                <a:gd name="connsiteX3" fmla="*/ 274463 w 274462"/>
                <a:gd name="connsiteY3" fmla="*/ 0 h 24241"/>
                <a:gd name="connsiteX4" fmla="*/ 274463 w 274462"/>
                <a:gd name="connsiteY4" fmla="*/ 24241 h 24241"/>
                <a:gd name="connsiteX5" fmla="*/ 85725 w 274462"/>
                <a:gd name="connsiteY5" fmla="*/ 24241 h 242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74462" h="24241">
                  <a:moveTo>
                    <a:pt x="45244" y="24241"/>
                  </a:moveTo>
                  <a:lnTo>
                    <a:pt x="0" y="24241"/>
                  </a:lnTo>
                  <a:lnTo>
                    <a:pt x="0" y="0"/>
                  </a:lnTo>
                  <a:lnTo>
                    <a:pt x="274463" y="0"/>
                  </a:lnTo>
                  <a:lnTo>
                    <a:pt x="274463" y="24241"/>
                  </a:lnTo>
                  <a:lnTo>
                    <a:pt x="85725" y="24241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529" name="Gráfico 6">
              <a:extLst>
                <a:ext uri="{FF2B5EF4-FFF2-40B4-BE49-F238E27FC236}">
                  <a16:creationId xmlns:a16="http://schemas.microsoft.com/office/drawing/2014/main" id="{724B9998-C857-679F-9109-0FD0E64A4E1E}"/>
                </a:ext>
              </a:extLst>
            </p:cNvPr>
            <p:cNvGrpSpPr/>
            <p:nvPr/>
          </p:nvGrpSpPr>
          <p:grpSpPr>
            <a:xfrm>
              <a:off x="5916170" y="3195494"/>
              <a:ext cx="45291" cy="68008"/>
              <a:chOff x="5916170" y="3195494"/>
              <a:chExt cx="45291" cy="68008"/>
            </a:xfrm>
            <a:noFill/>
          </p:grpSpPr>
          <p:sp>
            <p:nvSpPr>
              <p:cNvPr id="530" name="Forma livre: Forma 529">
                <a:extLst>
                  <a:ext uri="{FF2B5EF4-FFF2-40B4-BE49-F238E27FC236}">
                    <a16:creationId xmlns:a16="http://schemas.microsoft.com/office/drawing/2014/main" id="{E9C86EB7-CDA0-E1D6-3DB2-B04A1B2E4274}"/>
                  </a:ext>
                </a:extLst>
              </p:cNvPr>
              <p:cNvSpPr/>
              <p:nvPr/>
            </p:nvSpPr>
            <p:spPr>
              <a:xfrm>
                <a:off x="5917313" y="3229498"/>
                <a:ext cx="25288" cy="4762"/>
              </a:xfrm>
              <a:custGeom>
                <a:avLst/>
                <a:gdLst>
                  <a:gd name="connsiteX0" fmla="*/ 0 w 25288"/>
                  <a:gd name="connsiteY0" fmla="*/ 0 h 4762"/>
                  <a:gd name="connsiteX1" fmla="*/ 25289 w 25288"/>
                  <a:gd name="connsiteY1" fmla="*/ 0 h 47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5288" h="4762">
                    <a:moveTo>
                      <a:pt x="0" y="0"/>
                    </a:moveTo>
                    <a:lnTo>
                      <a:pt x="25289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31" name="Forma livre: Forma 530">
                <a:extLst>
                  <a:ext uri="{FF2B5EF4-FFF2-40B4-BE49-F238E27FC236}">
                    <a16:creationId xmlns:a16="http://schemas.microsoft.com/office/drawing/2014/main" id="{E37FE284-D14B-1112-CF9E-55B0899D1093}"/>
                  </a:ext>
                </a:extLst>
              </p:cNvPr>
              <p:cNvSpPr/>
              <p:nvPr/>
            </p:nvSpPr>
            <p:spPr>
              <a:xfrm>
                <a:off x="5916170" y="3195494"/>
                <a:ext cx="45291" cy="68008"/>
              </a:xfrm>
              <a:custGeom>
                <a:avLst/>
                <a:gdLst>
                  <a:gd name="connsiteX0" fmla="*/ 45291 w 45291"/>
                  <a:gd name="connsiteY0" fmla="*/ 0 h 68008"/>
                  <a:gd name="connsiteX1" fmla="*/ 0 w 45291"/>
                  <a:gd name="connsiteY1" fmla="*/ 0 h 68008"/>
                  <a:gd name="connsiteX2" fmla="*/ 0 w 45291"/>
                  <a:gd name="connsiteY2" fmla="*/ 68009 h 68008"/>
                  <a:gd name="connsiteX3" fmla="*/ 45291 w 45291"/>
                  <a:gd name="connsiteY3" fmla="*/ 68009 h 680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5291" h="68008">
                    <a:moveTo>
                      <a:pt x="45291" y="0"/>
                    </a:moveTo>
                    <a:lnTo>
                      <a:pt x="0" y="0"/>
                    </a:lnTo>
                    <a:lnTo>
                      <a:pt x="0" y="68009"/>
                    </a:lnTo>
                    <a:lnTo>
                      <a:pt x="45291" y="68009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532" name="Forma livre: Forma 531">
              <a:extLst>
                <a:ext uri="{FF2B5EF4-FFF2-40B4-BE49-F238E27FC236}">
                  <a16:creationId xmlns:a16="http://schemas.microsoft.com/office/drawing/2014/main" id="{D617B784-D0F6-8E37-43BC-F4D8052C0701}"/>
                </a:ext>
              </a:extLst>
            </p:cNvPr>
            <p:cNvSpPr/>
            <p:nvPr/>
          </p:nvSpPr>
          <p:spPr>
            <a:xfrm>
              <a:off x="5992941" y="3303746"/>
              <a:ext cx="22193" cy="33908"/>
            </a:xfrm>
            <a:custGeom>
              <a:avLst/>
              <a:gdLst>
                <a:gd name="connsiteX0" fmla="*/ 0 w 22193"/>
                <a:gd name="connsiteY0" fmla="*/ 0 h 33908"/>
                <a:gd name="connsiteX1" fmla="*/ 0 w 22193"/>
                <a:gd name="connsiteY1" fmla="*/ 33909 h 33908"/>
                <a:gd name="connsiteX2" fmla="*/ 22193 w 22193"/>
                <a:gd name="connsiteY2" fmla="*/ 33909 h 339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2193" h="33908">
                  <a:moveTo>
                    <a:pt x="0" y="0"/>
                  </a:moveTo>
                  <a:lnTo>
                    <a:pt x="0" y="33909"/>
                  </a:lnTo>
                  <a:lnTo>
                    <a:pt x="22193" y="33909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533" name="Forma livre: Forma 532">
              <a:extLst>
                <a:ext uri="{FF2B5EF4-FFF2-40B4-BE49-F238E27FC236}">
                  <a16:creationId xmlns:a16="http://schemas.microsoft.com/office/drawing/2014/main" id="{7723E3D0-4FA0-6E58-6782-A1163D916B83}"/>
                </a:ext>
              </a:extLst>
            </p:cNvPr>
            <p:cNvSpPr/>
            <p:nvPr/>
          </p:nvSpPr>
          <p:spPr>
            <a:xfrm>
              <a:off x="5924552" y="3303793"/>
              <a:ext cx="28527" cy="34528"/>
            </a:xfrm>
            <a:custGeom>
              <a:avLst/>
              <a:gdLst>
                <a:gd name="connsiteX0" fmla="*/ 0 w 28527"/>
                <a:gd name="connsiteY0" fmla="*/ 0 h 34528"/>
                <a:gd name="connsiteX1" fmla="*/ 13907 w 28527"/>
                <a:gd name="connsiteY1" fmla="*/ 34528 h 34528"/>
                <a:gd name="connsiteX2" fmla="*/ 28527 w 28527"/>
                <a:gd name="connsiteY2" fmla="*/ 0 h 345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8527" h="34528">
                  <a:moveTo>
                    <a:pt x="0" y="0"/>
                  </a:moveTo>
                  <a:lnTo>
                    <a:pt x="13907" y="34528"/>
                  </a:lnTo>
                  <a:lnTo>
                    <a:pt x="28527" y="0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534" name="Forma livre: Forma 533">
              <a:extLst>
                <a:ext uri="{FF2B5EF4-FFF2-40B4-BE49-F238E27FC236}">
                  <a16:creationId xmlns:a16="http://schemas.microsoft.com/office/drawing/2014/main" id="{34916270-646D-AEFB-2058-1E885D6BBC1B}"/>
                </a:ext>
              </a:extLst>
            </p:cNvPr>
            <p:cNvSpPr/>
            <p:nvPr/>
          </p:nvSpPr>
          <p:spPr>
            <a:xfrm>
              <a:off x="5858639" y="3303841"/>
              <a:ext cx="30813" cy="34956"/>
            </a:xfrm>
            <a:custGeom>
              <a:avLst/>
              <a:gdLst>
                <a:gd name="connsiteX0" fmla="*/ 30813 w 30813"/>
                <a:gd name="connsiteY0" fmla="*/ 17478 h 34956"/>
                <a:gd name="connsiteX1" fmla="*/ 15383 w 30813"/>
                <a:gd name="connsiteY1" fmla="*/ 34957 h 34956"/>
                <a:gd name="connsiteX2" fmla="*/ 0 w 30813"/>
                <a:gd name="connsiteY2" fmla="*/ 17478 h 34956"/>
                <a:gd name="connsiteX3" fmla="*/ 15383 w 30813"/>
                <a:gd name="connsiteY3" fmla="*/ 0 h 34956"/>
                <a:gd name="connsiteX4" fmla="*/ 30813 w 30813"/>
                <a:gd name="connsiteY4" fmla="*/ 17478 h 349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0813" h="34956">
                  <a:moveTo>
                    <a:pt x="30813" y="17478"/>
                  </a:moveTo>
                  <a:cubicBezTo>
                    <a:pt x="30813" y="27099"/>
                    <a:pt x="23908" y="34957"/>
                    <a:pt x="15383" y="34957"/>
                  </a:cubicBezTo>
                  <a:cubicBezTo>
                    <a:pt x="6858" y="34957"/>
                    <a:pt x="0" y="27146"/>
                    <a:pt x="0" y="17478"/>
                  </a:cubicBezTo>
                  <a:cubicBezTo>
                    <a:pt x="0" y="7810"/>
                    <a:pt x="6906" y="0"/>
                    <a:pt x="15383" y="0"/>
                  </a:cubicBezTo>
                  <a:cubicBezTo>
                    <a:pt x="23860" y="0"/>
                    <a:pt x="30813" y="7810"/>
                    <a:pt x="30813" y="17478"/>
                  </a:cubicBez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535" name="Gráfico 6">
              <a:extLst>
                <a:ext uri="{FF2B5EF4-FFF2-40B4-BE49-F238E27FC236}">
                  <a16:creationId xmlns:a16="http://schemas.microsoft.com/office/drawing/2014/main" id="{7797CF97-17FC-B942-40D1-6B3F3AB9DB65}"/>
                </a:ext>
              </a:extLst>
            </p:cNvPr>
            <p:cNvGrpSpPr/>
            <p:nvPr/>
          </p:nvGrpSpPr>
          <p:grpSpPr>
            <a:xfrm>
              <a:off x="5859925" y="3377183"/>
              <a:ext cx="157781" cy="4762"/>
              <a:chOff x="5859925" y="3377183"/>
              <a:chExt cx="157781" cy="4762"/>
            </a:xfrm>
          </p:grpSpPr>
          <p:sp>
            <p:nvSpPr>
              <p:cNvPr id="536" name="Forma livre: Forma 535">
                <a:extLst>
                  <a:ext uri="{FF2B5EF4-FFF2-40B4-BE49-F238E27FC236}">
                    <a16:creationId xmlns:a16="http://schemas.microsoft.com/office/drawing/2014/main" id="{E21917ED-1FE2-BC99-7BCA-91B6EC6F799D}"/>
                  </a:ext>
                </a:extLst>
              </p:cNvPr>
              <p:cNvSpPr/>
              <p:nvPr/>
            </p:nvSpPr>
            <p:spPr>
              <a:xfrm>
                <a:off x="5859925" y="3377183"/>
                <a:ext cx="16097" cy="4762"/>
              </a:xfrm>
              <a:custGeom>
                <a:avLst/>
                <a:gdLst>
                  <a:gd name="connsiteX0" fmla="*/ 16097 w 16097"/>
                  <a:gd name="connsiteY0" fmla="*/ 0 h 4762"/>
                  <a:gd name="connsiteX1" fmla="*/ 0 w 16097"/>
                  <a:gd name="connsiteY1" fmla="*/ 0 h 47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6097" h="4762">
                    <a:moveTo>
                      <a:pt x="16097" y="0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37" name="Forma livre: Forma 536">
                <a:extLst>
                  <a:ext uri="{FF2B5EF4-FFF2-40B4-BE49-F238E27FC236}">
                    <a16:creationId xmlns:a16="http://schemas.microsoft.com/office/drawing/2014/main" id="{A2A8936D-A38A-DE3C-CBB6-D29E056679D2}"/>
                  </a:ext>
                </a:extLst>
              </p:cNvPr>
              <p:cNvSpPr/>
              <p:nvPr/>
            </p:nvSpPr>
            <p:spPr>
              <a:xfrm>
                <a:off x="5907169" y="3377183"/>
                <a:ext cx="16049" cy="4762"/>
              </a:xfrm>
              <a:custGeom>
                <a:avLst/>
                <a:gdLst>
                  <a:gd name="connsiteX0" fmla="*/ 16050 w 16049"/>
                  <a:gd name="connsiteY0" fmla="*/ 0 h 4762"/>
                  <a:gd name="connsiteX1" fmla="*/ 0 w 16049"/>
                  <a:gd name="connsiteY1" fmla="*/ 0 h 47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6049" h="4762">
                    <a:moveTo>
                      <a:pt x="16050" y="0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38" name="Forma livre: Forma 537">
                <a:extLst>
                  <a:ext uri="{FF2B5EF4-FFF2-40B4-BE49-F238E27FC236}">
                    <a16:creationId xmlns:a16="http://schemas.microsoft.com/office/drawing/2014/main" id="{F8BBBB9A-B394-A995-DCE3-9C4044B4274B}"/>
                  </a:ext>
                </a:extLst>
              </p:cNvPr>
              <p:cNvSpPr/>
              <p:nvPr/>
            </p:nvSpPr>
            <p:spPr>
              <a:xfrm>
                <a:off x="5954365" y="3377183"/>
                <a:ext cx="16097" cy="4762"/>
              </a:xfrm>
              <a:custGeom>
                <a:avLst/>
                <a:gdLst>
                  <a:gd name="connsiteX0" fmla="*/ 16097 w 16097"/>
                  <a:gd name="connsiteY0" fmla="*/ 0 h 4762"/>
                  <a:gd name="connsiteX1" fmla="*/ 0 w 16097"/>
                  <a:gd name="connsiteY1" fmla="*/ 0 h 47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6097" h="4762">
                    <a:moveTo>
                      <a:pt x="16097" y="0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39" name="Forma livre: Forma 538">
                <a:extLst>
                  <a:ext uri="{FF2B5EF4-FFF2-40B4-BE49-F238E27FC236}">
                    <a16:creationId xmlns:a16="http://schemas.microsoft.com/office/drawing/2014/main" id="{7A785C71-9AFC-4BD5-D784-D5DC6225A919}"/>
                  </a:ext>
                </a:extLst>
              </p:cNvPr>
              <p:cNvSpPr/>
              <p:nvPr/>
            </p:nvSpPr>
            <p:spPr>
              <a:xfrm>
                <a:off x="6001609" y="3377183"/>
                <a:ext cx="16097" cy="4762"/>
              </a:xfrm>
              <a:custGeom>
                <a:avLst/>
                <a:gdLst>
                  <a:gd name="connsiteX0" fmla="*/ 16097 w 16097"/>
                  <a:gd name="connsiteY0" fmla="*/ 0 h 4762"/>
                  <a:gd name="connsiteX1" fmla="*/ 0 w 16097"/>
                  <a:gd name="connsiteY1" fmla="*/ 0 h 47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6097" h="4762">
                    <a:moveTo>
                      <a:pt x="16097" y="0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540" name="Gráfico 6">
            <a:extLst>
              <a:ext uri="{FF2B5EF4-FFF2-40B4-BE49-F238E27FC236}">
                <a16:creationId xmlns:a16="http://schemas.microsoft.com/office/drawing/2014/main" id="{702C8DAF-D18E-D382-4328-8BFE5EFA3FCF}"/>
              </a:ext>
            </a:extLst>
          </p:cNvPr>
          <p:cNvGrpSpPr/>
          <p:nvPr/>
        </p:nvGrpSpPr>
        <p:grpSpPr>
          <a:xfrm>
            <a:off x="5782439" y="1028080"/>
            <a:ext cx="312705" cy="218265"/>
            <a:chOff x="5782439" y="1028080"/>
            <a:chExt cx="312705" cy="218265"/>
          </a:xfrm>
        </p:grpSpPr>
        <p:grpSp>
          <p:nvGrpSpPr>
            <p:cNvPr id="541" name="Gráfico 6">
              <a:extLst>
                <a:ext uri="{FF2B5EF4-FFF2-40B4-BE49-F238E27FC236}">
                  <a16:creationId xmlns:a16="http://schemas.microsoft.com/office/drawing/2014/main" id="{9813DEF7-30F5-16E3-6DBE-D7F07B0060F8}"/>
                </a:ext>
              </a:extLst>
            </p:cNvPr>
            <p:cNvGrpSpPr/>
            <p:nvPr/>
          </p:nvGrpSpPr>
          <p:grpSpPr>
            <a:xfrm>
              <a:off x="5782439" y="1051155"/>
              <a:ext cx="312705" cy="195189"/>
              <a:chOff x="5782439" y="1051155"/>
              <a:chExt cx="312705" cy="195189"/>
            </a:xfrm>
            <a:noFill/>
          </p:grpSpPr>
          <p:sp>
            <p:nvSpPr>
              <p:cNvPr id="542" name="Forma livre: Forma 541">
                <a:extLst>
                  <a:ext uri="{FF2B5EF4-FFF2-40B4-BE49-F238E27FC236}">
                    <a16:creationId xmlns:a16="http://schemas.microsoft.com/office/drawing/2014/main" id="{AF87CF04-E719-5E73-5BE6-E9EB7F695FD6}"/>
                  </a:ext>
                </a:extLst>
              </p:cNvPr>
              <p:cNvSpPr/>
              <p:nvPr/>
            </p:nvSpPr>
            <p:spPr>
              <a:xfrm>
                <a:off x="5939935" y="1205483"/>
                <a:ext cx="66008" cy="40814"/>
              </a:xfrm>
              <a:custGeom>
                <a:avLst/>
                <a:gdLst>
                  <a:gd name="connsiteX0" fmla="*/ 48006 w 66008"/>
                  <a:gd name="connsiteY0" fmla="*/ 0 h 40814"/>
                  <a:gd name="connsiteX1" fmla="*/ 66008 w 66008"/>
                  <a:gd name="connsiteY1" fmla="*/ 18288 h 40814"/>
                  <a:gd name="connsiteX2" fmla="*/ 66008 w 66008"/>
                  <a:gd name="connsiteY2" fmla="*/ 22527 h 40814"/>
                  <a:gd name="connsiteX3" fmla="*/ 48006 w 66008"/>
                  <a:gd name="connsiteY3" fmla="*/ 40815 h 40814"/>
                  <a:gd name="connsiteX4" fmla="*/ 18002 w 66008"/>
                  <a:gd name="connsiteY4" fmla="*/ 40815 h 40814"/>
                  <a:gd name="connsiteX5" fmla="*/ 0 w 66008"/>
                  <a:gd name="connsiteY5" fmla="*/ 22527 h 40814"/>
                  <a:gd name="connsiteX6" fmla="*/ 0 w 66008"/>
                  <a:gd name="connsiteY6" fmla="*/ 18288 h 40814"/>
                  <a:gd name="connsiteX7" fmla="*/ 18002 w 66008"/>
                  <a:gd name="connsiteY7" fmla="*/ 0 h 40814"/>
                  <a:gd name="connsiteX8" fmla="*/ 48006 w 66008"/>
                  <a:gd name="connsiteY8" fmla="*/ 0 h 408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66008" h="40814">
                    <a:moveTo>
                      <a:pt x="48006" y="0"/>
                    </a:moveTo>
                    <a:cubicBezTo>
                      <a:pt x="57912" y="0"/>
                      <a:pt x="66008" y="8239"/>
                      <a:pt x="66008" y="18288"/>
                    </a:cubicBezTo>
                    <a:lnTo>
                      <a:pt x="66008" y="22527"/>
                    </a:lnTo>
                    <a:cubicBezTo>
                      <a:pt x="66008" y="32576"/>
                      <a:pt x="57912" y="40815"/>
                      <a:pt x="48006" y="40815"/>
                    </a:cubicBezTo>
                    <a:lnTo>
                      <a:pt x="18002" y="40815"/>
                    </a:lnTo>
                    <a:cubicBezTo>
                      <a:pt x="8096" y="40815"/>
                      <a:pt x="0" y="32576"/>
                      <a:pt x="0" y="22527"/>
                    </a:cubicBezTo>
                    <a:lnTo>
                      <a:pt x="0" y="18288"/>
                    </a:lnTo>
                    <a:cubicBezTo>
                      <a:pt x="0" y="8239"/>
                      <a:pt x="8096" y="0"/>
                      <a:pt x="18002" y="0"/>
                    </a:cubicBezTo>
                    <a:lnTo>
                      <a:pt x="48006" y="0"/>
                    </a:ln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43" name="Forma livre: Forma 542">
                <a:extLst>
                  <a:ext uri="{FF2B5EF4-FFF2-40B4-BE49-F238E27FC236}">
                    <a16:creationId xmlns:a16="http://schemas.microsoft.com/office/drawing/2014/main" id="{793BBA59-BD30-E57D-83E9-A6B683989D9F}"/>
                  </a:ext>
                </a:extLst>
              </p:cNvPr>
              <p:cNvSpPr/>
              <p:nvPr/>
            </p:nvSpPr>
            <p:spPr>
              <a:xfrm>
                <a:off x="5939935" y="1164716"/>
                <a:ext cx="77152" cy="40814"/>
              </a:xfrm>
              <a:custGeom>
                <a:avLst/>
                <a:gdLst>
                  <a:gd name="connsiteX0" fmla="*/ 59150 w 77152"/>
                  <a:gd name="connsiteY0" fmla="*/ 0 h 40814"/>
                  <a:gd name="connsiteX1" fmla="*/ 77152 w 77152"/>
                  <a:gd name="connsiteY1" fmla="*/ 18288 h 40814"/>
                  <a:gd name="connsiteX2" fmla="*/ 77152 w 77152"/>
                  <a:gd name="connsiteY2" fmla="*/ 22527 h 40814"/>
                  <a:gd name="connsiteX3" fmla="*/ 59150 w 77152"/>
                  <a:gd name="connsiteY3" fmla="*/ 40815 h 40814"/>
                  <a:gd name="connsiteX4" fmla="*/ 18002 w 77152"/>
                  <a:gd name="connsiteY4" fmla="*/ 40815 h 40814"/>
                  <a:gd name="connsiteX5" fmla="*/ 0 w 77152"/>
                  <a:gd name="connsiteY5" fmla="*/ 22527 h 40814"/>
                  <a:gd name="connsiteX6" fmla="*/ 0 w 77152"/>
                  <a:gd name="connsiteY6" fmla="*/ 18288 h 40814"/>
                  <a:gd name="connsiteX7" fmla="*/ 18002 w 77152"/>
                  <a:gd name="connsiteY7" fmla="*/ 0 h 40814"/>
                  <a:gd name="connsiteX8" fmla="*/ 59150 w 77152"/>
                  <a:gd name="connsiteY8" fmla="*/ 0 h 408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77152" h="40814">
                    <a:moveTo>
                      <a:pt x="59150" y="0"/>
                    </a:moveTo>
                    <a:cubicBezTo>
                      <a:pt x="69056" y="0"/>
                      <a:pt x="77152" y="8239"/>
                      <a:pt x="77152" y="18288"/>
                    </a:cubicBezTo>
                    <a:lnTo>
                      <a:pt x="77152" y="22527"/>
                    </a:lnTo>
                    <a:cubicBezTo>
                      <a:pt x="77152" y="32576"/>
                      <a:pt x="69056" y="40815"/>
                      <a:pt x="59150" y="40815"/>
                    </a:cubicBezTo>
                    <a:lnTo>
                      <a:pt x="18002" y="40815"/>
                    </a:lnTo>
                    <a:cubicBezTo>
                      <a:pt x="8096" y="40815"/>
                      <a:pt x="0" y="32576"/>
                      <a:pt x="0" y="22527"/>
                    </a:cubicBezTo>
                    <a:lnTo>
                      <a:pt x="0" y="18288"/>
                    </a:lnTo>
                    <a:cubicBezTo>
                      <a:pt x="0" y="8239"/>
                      <a:pt x="8096" y="0"/>
                      <a:pt x="18002" y="0"/>
                    </a:cubicBezTo>
                    <a:lnTo>
                      <a:pt x="59150" y="0"/>
                    </a:ln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44" name="Forma livre: Forma 543">
                <a:extLst>
                  <a:ext uri="{FF2B5EF4-FFF2-40B4-BE49-F238E27FC236}">
                    <a16:creationId xmlns:a16="http://schemas.microsoft.com/office/drawing/2014/main" id="{766CF765-435E-E51F-B181-4A425340EDF9}"/>
                  </a:ext>
                </a:extLst>
              </p:cNvPr>
              <p:cNvSpPr/>
              <p:nvPr/>
            </p:nvSpPr>
            <p:spPr>
              <a:xfrm>
                <a:off x="5954318" y="1083087"/>
                <a:ext cx="140827" cy="40814"/>
              </a:xfrm>
              <a:custGeom>
                <a:avLst/>
                <a:gdLst>
                  <a:gd name="connsiteX0" fmla="*/ 0 w 140827"/>
                  <a:gd name="connsiteY0" fmla="*/ 0 h 40814"/>
                  <a:gd name="connsiteX1" fmla="*/ 122825 w 140827"/>
                  <a:gd name="connsiteY1" fmla="*/ 0 h 40814"/>
                  <a:gd name="connsiteX2" fmla="*/ 140827 w 140827"/>
                  <a:gd name="connsiteY2" fmla="*/ 18288 h 40814"/>
                  <a:gd name="connsiteX3" fmla="*/ 140827 w 140827"/>
                  <a:gd name="connsiteY3" fmla="*/ 22527 h 40814"/>
                  <a:gd name="connsiteX4" fmla="*/ 122825 w 140827"/>
                  <a:gd name="connsiteY4" fmla="*/ 40815 h 40814"/>
                  <a:gd name="connsiteX5" fmla="*/ 1095 w 140827"/>
                  <a:gd name="connsiteY5" fmla="*/ 40815 h 408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40827" h="40814">
                    <a:moveTo>
                      <a:pt x="0" y="0"/>
                    </a:moveTo>
                    <a:lnTo>
                      <a:pt x="122825" y="0"/>
                    </a:lnTo>
                    <a:cubicBezTo>
                      <a:pt x="132731" y="0"/>
                      <a:pt x="140827" y="8239"/>
                      <a:pt x="140827" y="18288"/>
                    </a:cubicBezTo>
                    <a:lnTo>
                      <a:pt x="140827" y="22527"/>
                    </a:lnTo>
                    <a:cubicBezTo>
                      <a:pt x="140827" y="32576"/>
                      <a:pt x="132731" y="40815"/>
                      <a:pt x="122825" y="40815"/>
                    </a:cubicBezTo>
                    <a:lnTo>
                      <a:pt x="1095" y="40815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45" name="Forma livre: Forma 544">
                <a:extLst>
                  <a:ext uri="{FF2B5EF4-FFF2-40B4-BE49-F238E27FC236}">
                    <a16:creationId xmlns:a16="http://schemas.microsoft.com/office/drawing/2014/main" id="{56CDFD1A-856D-C016-F953-49AAA4A11957}"/>
                  </a:ext>
                </a:extLst>
              </p:cNvPr>
              <p:cNvSpPr/>
              <p:nvPr/>
            </p:nvSpPr>
            <p:spPr>
              <a:xfrm>
                <a:off x="5957937" y="1123901"/>
                <a:ext cx="69389" cy="40814"/>
              </a:xfrm>
              <a:custGeom>
                <a:avLst/>
                <a:gdLst>
                  <a:gd name="connsiteX0" fmla="*/ 0 w 69389"/>
                  <a:gd name="connsiteY0" fmla="*/ 0 h 40814"/>
                  <a:gd name="connsiteX1" fmla="*/ 51387 w 69389"/>
                  <a:gd name="connsiteY1" fmla="*/ 0 h 40814"/>
                  <a:gd name="connsiteX2" fmla="*/ 69390 w 69389"/>
                  <a:gd name="connsiteY2" fmla="*/ 18288 h 40814"/>
                  <a:gd name="connsiteX3" fmla="*/ 69390 w 69389"/>
                  <a:gd name="connsiteY3" fmla="*/ 22527 h 40814"/>
                  <a:gd name="connsiteX4" fmla="*/ 51387 w 69389"/>
                  <a:gd name="connsiteY4" fmla="*/ 40815 h 40814"/>
                  <a:gd name="connsiteX5" fmla="*/ 0 w 69389"/>
                  <a:gd name="connsiteY5" fmla="*/ 40815 h 408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69389" h="40814">
                    <a:moveTo>
                      <a:pt x="0" y="0"/>
                    </a:moveTo>
                    <a:lnTo>
                      <a:pt x="51387" y="0"/>
                    </a:lnTo>
                    <a:cubicBezTo>
                      <a:pt x="61293" y="0"/>
                      <a:pt x="69390" y="8239"/>
                      <a:pt x="69390" y="18288"/>
                    </a:cubicBezTo>
                    <a:lnTo>
                      <a:pt x="69390" y="22527"/>
                    </a:lnTo>
                    <a:cubicBezTo>
                      <a:pt x="69390" y="32576"/>
                      <a:pt x="61293" y="40815"/>
                      <a:pt x="51387" y="40815"/>
                    </a:cubicBezTo>
                    <a:lnTo>
                      <a:pt x="0" y="40815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46" name="Forma livre: Forma 545">
                <a:extLst>
                  <a:ext uri="{FF2B5EF4-FFF2-40B4-BE49-F238E27FC236}">
                    <a16:creationId xmlns:a16="http://schemas.microsoft.com/office/drawing/2014/main" id="{A7049B7C-F29D-78F0-3532-50B76BCDEB54}"/>
                  </a:ext>
                </a:extLst>
              </p:cNvPr>
              <p:cNvSpPr/>
              <p:nvPr/>
            </p:nvSpPr>
            <p:spPr>
              <a:xfrm>
                <a:off x="5876975" y="1107566"/>
                <a:ext cx="37242" cy="51816"/>
              </a:xfrm>
              <a:custGeom>
                <a:avLst/>
                <a:gdLst>
                  <a:gd name="connsiteX0" fmla="*/ 0 w 37242"/>
                  <a:gd name="connsiteY0" fmla="*/ 51816 h 51816"/>
                  <a:gd name="connsiteX1" fmla="*/ 37243 w 37242"/>
                  <a:gd name="connsiteY1" fmla="*/ 0 h 518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7242" h="51816">
                    <a:moveTo>
                      <a:pt x="0" y="51816"/>
                    </a:moveTo>
                    <a:cubicBezTo>
                      <a:pt x="0" y="51816"/>
                      <a:pt x="37243" y="38957"/>
                      <a:pt x="37243" y="0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47" name="Forma livre: Forma 546">
                <a:extLst>
                  <a:ext uri="{FF2B5EF4-FFF2-40B4-BE49-F238E27FC236}">
                    <a16:creationId xmlns:a16="http://schemas.microsoft.com/office/drawing/2014/main" id="{9C7636F0-2AB4-1F31-E411-71DC7F336554}"/>
                  </a:ext>
                </a:extLst>
              </p:cNvPr>
              <p:cNvSpPr/>
              <p:nvPr/>
            </p:nvSpPr>
            <p:spPr>
              <a:xfrm>
                <a:off x="5782487" y="1215341"/>
                <a:ext cx="171926" cy="31003"/>
              </a:xfrm>
              <a:custGeom>
                <a:avLst/>
                <a:gdLst>
                  <a:gd name="connsiteX0" fmla="*/ 0 w 171926"/>
                  <a:gd name="connsiteY0" fmla="*/ 0 h 31003"/>
                  <a:gd name="connsiteX1" fmla="*/ 29194 w 171926"/>
                  <a:gd name="connsiteY1" fmla="*/ 0 h 31003"/>
                  <a:gd name="connsiteX2" fmla="*/ 55150 w 171926"/>
                  <a:gd name="connsiteY2" fmla="*/ 20241 h 31003"/>
                  <a:gd name="connsiteX3" fmla="*/ 171926 w 171926"/>
                  <a:gd name="connsiteY3" fmla="*/ 31004 h 310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71926" h="31003">
                    <a:moveTo>
                      <a:pt x="0" y="0"/>
                    </a:moveTo>
                    <a:lnTo>
                      <a:pt x="29194" y="0"/>
                    </a:lnTo>
                    <a:cubicBezTo>
                      <a:pt x="29194" y="0"/>
                      <a:pt x="36433" y="13097"/>
                      <a:pt x="55150" y="20241"/>
                    </a:cubicBezTo>
                    <a:cubicBezTo>
                      <a:pt x="76914" y="28527"/>
                      <a:pt x="120634" y="31004"/>
                      <a:pt x="171926" y="31004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48" name="Forma livre: Forma 547">
                <a:extLst>
                  <a:ext uri="{FF2B5EF4-FFF2-40B4-BE49-F238E27FC236}">
                    <a16:creationId xmlns:a16="http://schemas.microsoft.com/office/drawing/2014/main" id="{E4379E4B-BC73-671A-B03A-BC7192C3F6C8}"/>
                  </a:ext>
                </a:extLst>
              </p:cNvPr>
              <p:cNvSpPr/>
              <p:nvPr/>
            </p:nvSpPr>
            <p:spPr>
              <a:xfrm>
                <a:off x="5782439" y="1051155"/>
                <a:ext cx="169973" cy="110084"/>
              </a:xfrm>
              <a:custGeom>
                <a:avLst/>
                <a:gdLst>
                  <a:gd name="connsiteX0" fmla="*/ 131826 w 169973"/>
                  <a:gd name="connsiteY0" fmla="*/ 40599 h 110084"/>
                  <a:gd name="connsiteX1" fmla="*/ 131826 w 169973"/>
                  <a:gd name="connsiteY1" fmla="*/ 80080 h 110084"/>
                  <a:gd name="connsiteX2" fmla="*/ 169974 w 169973"/>
                  <a:gd name="connsiteY2" fmla="*/ 110084 h 110084"/>
                  <a:gd name="connsiteX3" fmla="*/ 169974 w 169973"/>
                  <a:gd name="connsiteY3" fmla="*/ 25121 h 110084"/>
                  <a:gd name="connsiteX4" fmla="*/ 160544 w 169973"/>
                  <a:gd name="connsiteY4" fmla="*/ 3690 h 110084"/>
                  <a:gd name="connsiteX5" fmla="*/ 98774 w 169973"/>
                  <a:gd name="connsiteY5" fmla="*/ 5881 h 110084"/>
                  <a:gd name="connsiteX6" fmla="*/ 45720 w 169973"/>
                  <a:gd name="connsiteY6" fmla="*/ 42647 h 110084"/>
                  <a:gd name="connsiteX7" fmla="*/ 28575 w 169973"/>
                  <a:gd name="connsiteY7" fmla="*/ 51220 h 110084"/>
                  <a:gd name="connsiteX8" fmla="*/ 0 w 169973"/>
                  <a:gd name="connsiteY8" fmla="*/ 51220 h 1100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69973" h="110084">
                    <a:moveTo>
                      <a:pt x="131826" y="40599"/>
                    </a:moveTo>
                    <a:lnTo>
                      <a:pt x="131826" y="80080"/>
                    </a:lnTo>
                    <a:cubicBezTo>
                      <a:pt x="131826" y="110036"/>
                      <a:pt x="169974" y="110084"/>
                      <a:pt x="169974" y="110084"/>
                    </a:cubicBezTo>
                    <a:lnTo>
                      <a:pt x="169974" y="25121"/>
                    </a:lnTo>
                    <a:cubicBezTo>
                      <a:pt x="169974" y="9024"/>
                      <a:pt x="160544" y="3690"/>
                      <a:pt x="160544" y="3690"/>
                    </a:cubicBezTo>
                    <a:cubicBezTo>
                      <a:pt x="126254" y="-5740"/>
                      <a:pt x="98774" y="5881"/>
                      <a:pt x="98774" y="5881"/>
                    </a:cubicBezTo>
                    <a:cubicBezTo>
                      <a:pt x="87630" y="9310"/>
                      <a:pt x="45720" y="42647"/>
                      <a:pt x="45720" y="42647"/>
                    </a:cubicBezTo>
                    <a:cubicBezTo>
                      <a:pt x="37147" y="49934"/>
                      <a:pt x="28575" y="51220"/>
                      <a:pt x="28575" y="51220"/>
                    </a:cubicBezTo>
                    <a:lnTo>
                      <a:pt x="0" y="51220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549" name="Forma livre: Forma 548">
              <a:extLst>
                <a:ext uri="{FF2B5EF4-FFF2-40B4-BE49-F238E27FC236}">
                  <a16:creationId xmlns:a16="http://schemas.microsoft.com/office/drawing/2014/main" id="{36B9E938-F46F-3089-421E-7848268C1E1D}"/>
                </a:ext>
              </a:extLst>
            </p:cNvPr>
            <p:cNvSpPr/>
            <p:nvPr/>
          </p:nvSpPr>
          <p:spPr>
            <a:xfrm>
              <a:off x="6048186" y="1161335"/>
              <a:ext cx="41814" cy="62198"/>
            </a:xfrm>
            <a:custGeom>
              <a:avLst/>
              <a:gdLst>
                <a:gd name="connsiteX0" fmla="*/ 20907 w 41814"/>
                <a:gd name="connsiteY0" fmla="*/ 0 h 62198"/>
                <a:gd name="connsiteX1" fmla="*/ 0 w 41814"/>
                <a:gd name="connsiteY1" fmla="*/ 41291 h 62198"/>
                <a:gd name="connsiteX2" fmla="*/ 20907 w 41814"/>
                <a:gd name="connsiteY2" fmla="*/ 62198 h 62198"/>
                <a:gd name="connsiteX3" fmla="*/ 41815 w 41814"/>
                <a:gd name="connsiteY3" fmla="*/ 41291 h 62198"/>
                <a:gd name="connsiteX4" fmla="*/ 20907 w 41814"/>
                <a:gd name="connsiteY4" fmla="*/ 0 h 621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1814" h="62198">
                  <a:moveTo>
                    <a:pt x="20907" y="0"/>
                  </a:moveTo>
                  <a:cubicBezTo>
                    <a:pt x="20907" y="10620"/>
                    <a:pt x="0" y="29766"/>
                    <a:pt x="0" y="41291"/>
                  </a:cubicBezTo>
                  <a:cubicBezTo>
                    <a:pt x="0" y="52816"/>
                    <a:pt x="9335" y="62198"/>
                    <a:pt x="20907" y="62198"/>
                  </a:cubicBezTo>
                  <a:cubicBezTo>
                    <a:pt x="32480" y="62198"/>
                    <a:pt x="41815" y="52864"/>
                    <a:pt x="41815" y="41291"/>
                  </a:cubicBezTo>
                  <a:cubicBezTo>
                    <a:pt x="41815" y="29718"/>
                    <a:pt x="20907" y="10620"/>
                    <a:pt x="20907" y="0"/>
                  </a:cubicBez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550" name="Forma livre: Forma 549">
              <a:extLst>
                <a:ext uri="{FF2B5EF4-FFF2-40B4-BE49-F238E27FC236}">
                  <a16:creationId xmlns:a16="http://schemas.microsoft.com/office/drawing/2014/main" id="{1934DF52-4A79-2AF9-03E8-DCD800FA0727}"/>
                </a:ext>
              </a:extLst>
            </p:cNvPr>
            <p:cNvSpPr/>
            <p:nvPr/>
          </p:nvSpPr>
          <p:spPr>
            <a:xfrm>
              <a:off x="6056950" y="1101422"/>
              <a:ext cx="10715" cy="22621"/>
            </a:xfrm>
            <a:custGeom>
              <a:avLst/>
              <a:gdLst>
                <a:gd name="connsiteX0" fmla="*/ 10716 w 10715"/>
                <a:gd name="connsiteY0" fmla="*/ 22622 h 22621"/>
                <a:gd name="connsiteX1" fmla="*/ 0 w 10715"/>
                <a:gd name="connsiteY1" fmla="*/ 0 h 226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715" h="22621">
                  <a:moveTo>
                    <a:pt x="10716" y="22622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551" name="Gráfico 6">
              <a:extLst>
                <a:ext uri="{FF2B5EF4-FFF2-40B4-BE49-F238E27FC236}">
                  <a16:creationId xmlns:a16="http://schemas.microsoft.com/office/drawing/2014/main" id="{06C436E9-2679-EF5F-5D5C-56C2033FD6DC}"/>
                </a:ext>
              </a:extLst>
            </p:cNvPr>
            <p:cNvGrpSpPr/>
            <p:nvPr/>
          </p:nvGrpSpPr>
          <p:grpSpPr>
            <a:xfrm>
              <a:off x="6022945" y="1028080"/>
              <a:ext cx="68437" cy="28527"/>
              <a:chOff x="6022945" y="1028080"/>
              <a:chExt cx="68437" cy="28527"/>
            </a:xfrm>
          </p:grpSpPr>
          <p:sp>
            <p:nvSpPr>
              <p:cNvPr id="552" name="Forma livre: Forma 551">
                <a:extLst>
                  <a:ext uri="{FF2B5EF4-FFF2-40B4-BE49-F238E27FC236}">
                    <a16:creationId xmlns:a16="http://schemas.microsoft.com/office/drawing/2014/main" id="{70CA8B9B-F963-32D8-188D-C20A9EE1777A}"/>
                  </a:ext>
                </a:extLst>
              </p:cNvPr>
              <p:cNvSpPr/>
              <p:nvPr/>
            </p:nvSpPr>
            <p:spPr>
              <a:xfrm>
                <a:off x="6057188" y="1028080"/>
                <a:ext cx="4762" cy="19050"/>
              </a:xfrm>
              <a:custGeom>
                <a:avLst/>
                <a:gdLst>
                  <a:gd name="connsiteX0" fmla="*/ 0 w 4762"/>
                  <a:gd name="connsiteY0" fmla="*/ 19050 h 19050"/>
                  <a:gd name="connsiteX1" fmla="*/ 0 w 4762"/>
                  <a:gd name="connsiteY1" fmla="*/ 0 h 19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62" h="19050">
                    <a:moveTo>
                      <a:pt x="0" y="19050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553" name="Gráfico 6">
                <a:extLst>
                  <a:ext uri="{FF2B5EF4-FFF2-40B4-BE49-F238E27FC236}">
                    <a16:creationId xmlns:a16="http://schemas.microsoft.com/office/drawing/2014/main" id="{80594B64-FB99-C61A-8346-0406BF046E69}"/>
                  </a:ext>
                </a:extLst>
              </p:cNvPr>
              <p:cNvGrpSpPr/>
              <p:nvPr/>
            </p:nvGrpSpPr>
            <p:grpSpPr>
              <a:xfrm>
                <a:off x="6022945" y="1043129"/>
                <a:ext cx="68437" cy="13477"/>
                <a:chOff x="6022945" y="1043129"/>
                <a:chExt cx="68437" cy="13477"/>
              </a:xfrm>
            </p:grpSpPr>
            <p:sp>
              <p:nvSpPr>
                <p:cNvPr id="554" name="Forma livre: Forma 553">
                  <a:extLst>
                    <a:ext uri="{FF2B5EF4-FFF2-40B4-BE49-F238E27FC236}">
                      <a16:creationId xmlns:a16="http://schemas.microsoft.com/office/drawing/2014/main" id="{51509FBC-3D25-EB2C-630A-0395C738ABD6}"/>
                    </a:ext>
                  </a:extLst>
                </p:cNvPr>
                <p:cNvSpPr/>
                <p:nvPr/>
              </p:nvSpPr>
              <p:spPr>
                <a:xfrm>
                  <a:off x="6077905" y="1043129"/>
                  <a:ext cx="13477" cy="13477"/>
                </a:xfrm>
                <a:custGeom>
                  <a:avLst/>
                  <a:gdLst>
                    <a:gd name="connsiteX0" fmla="*/ 0 w 13477"/>
                    <a:gd name="connsiteY0" fmla="*/ 13478 h 13477"/>
                    <a:gd name="connsiteX1" fmla="*/ 13478 w 13477"/>
                    <a:gd name="connsiteY1" fmla="*/ 0 h 1347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3477" h="13477">
                      <a:moveTo>
                        <a:pt x="0" y="13478"/>
                      </a:moveTo>
                      <a:lnTo>
                        <a:pt x="13478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555" name="Forma livre: Forma 554">
                  <a:extLst>
                    <a:ext uri="{FF2B5EF4-FFF2-40B4-BE49-F238E27FC236}">
                      <a16:creationId xmlns:a16="http://schemas.microsoft.com/office/drawing/2014/main" id="{287A9DF0-5A6F-9D24-8263-75EF53CB94E9}"/>
                    </a:ext>
                  </a:extLst>
                </p:cNvPr>
                <p:cNvSpPr/>
                <p:nvPr/>
              </p:nvSpPr>
              <p:spPr>
                <a:xfrm>
                  <a:off x="6022945" y="1043129"/>
                  <a:ext cx="13477" cy="13477"/>
                </a:xfrm>
                <a:custGeom>
                  <a:avLst/>
                  <a:gdLst>
                    <a:gd name="connsiteX0" fmla="*/ 13478 w 13477"/>
                    <a:gd name="connsiteY0" fmla="*/ 13478 h 13477"/>
                    <a:gd name="connsiteX1" fmla="*/ 0 w 13477"/>
                    <a:gd name="connsiteY1" fmla="*/ 0 h 1347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3477" h="13477">
                      <a:moveTo>
                        <a:pt x="13478" y="13478"/>
                      </a:moveTo>
                      <a:lnTo>
                        <a:pt x="0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</p:grpSp>
      <p:grpSp>
        <p:nvGrpSpPr>
          <p:cNvPr id="556" name="Gráfico 6">
            <a:extLst>
              <a:ext uri="{FF2B5EF4-FFF2-40B4-BE49-F238E27FC236}">
                <a16:creationId xmlns:a16="http://schemas.microsoft.com/office/drawing/2014/main" id="{D56D3454-84BB-A567-6E1E-2DBB7FD9BC18}"/>
              </a:ext>
            </a:extLst>
          </p:cNvPr>
          <p:cNvGrpSpPr/>
          <p:nvPr/>
        </p:nvGrpSpPr>
        <p:grpSpPr>
          <a:xfrm>
            <a:off x="5825222" y="2554080"/>
            <a:ext cx="227092" cy="341328"/>
            <a:chOff x="5825222" y="2554080"/>
            <a:chExt cx="227092" cy="341328"/>
          </a:xfrm>
          <a:noFill/>
        </p:grpSpPr>
        <p:grpSp>
          <p:nvGrpSpPr>
            <p:cNvPr id="557" name="Gráfico 6">
              <a:extLst>
                <a:ext uri="{FF2B5EF4-FFF2-40B4-BE49-F238E27FC236}">
                  <a16:creationId xmlns:a16="http://schemas.microsoft.com/office/drawing/2014/main" id="{99BE2ECF-E382-B0C0-BCBE-55A4F49E4C0A}"/>
                </a:ext>
              </a:extLst>
            </p:cNvPr>
            <p:cNvGrpSpPr/>
            <p:nvPr/>
          </p:nvGrpSpPr>
          <p:grpSpPr>
            <a:xfrm>
              <a:off x="5825222" y="2648106"/>
              <a:ext cx="227092" cy="247302"/>
              <a:chOff x="5825222" y="2648106"/>
              <a:chExt cx="227092" cy="247302"/>
            </a:xfrm>
            <a:noFill/>
          </p:grpSpPr>
          <p:sp>
            <p:nvSpPr>
              <p:cNvPr id="558" name="Forma livre: Forma 557">
                <a:extLst>
                  <a:ext uri="{FF2B5EF4-FFF2-40B4-BE49-F238E27FC236}">
                    <a16:creationId xmlns:a16="http://schemas.microsoft.com/office/drawing/2014/main" id="{4E0A80BD-D4B5-F295-EC93-E9A5BF063DD4}"/>
                  </a:ext>
                </a:extLst>
              </p:cNvPr>
              <p:cNvSpPr/>
              <p:nvPr/>
            </p:nvSpPr>
            <p:spPr>
              <a:xfrm>
                <a:off x="5825222" y="2648106"/>
                <a:ext cx="227092" cy="247302"/>
              </a:xfrm>
              <a:custGeom>
                <a:avLst/>
                <a:gdLst>
                  <a:gd name="connsiteX0" fmla="*/ 195485 w 227092"/>
                  <a:gd name="connsiteY0" fmla="*/ 247302 h 247302"/>
                  <a:gd name="connsiteX1" fmla="*/ 191580 w 227092"/>
                  <a:gd name="connsiteY1" fmla="*/ 196439 h 247302"/>
                  <a:gd name="connsiteX2" fmla="*/ 212488 w 227092"/>
                  <a:gd name="connsiteY2" fmla="*/ 145004 h 247302"/>
                  <a:gd name="connsiteX3" fmla="*/ 190675 w 227092"/>
                  <a:gd name="connsiteY3" fmla="*/ 20322 h 247302"/>
                  <a:gd name="connsiteX4" fmla="*/ 61088 w 227092"/>
                  <a:gd name="connsiteY4" fmla="*/ 17083 h 247302"/>
                  <a:gd name="connsiteX5" fmla="*/ 29893 w 227092"/>
                  <a:gd name="connsiteY5" fmla="*/ 88997 h 247302"/>
                  <a:gd name="connsiteX6" fmla="*/ 26750 w 227092"/>
                  <a:gd name="connsiteY6" fmla="*/ 111476 h 247302"/>
                  <a:gd name="connsiteX7" fmla="*/ 556 w 227092"/>
                  <a:gd name="connsiteY7" fmla="*/ 142289 h 247302"/>
                  <a:gd name="connsiteX8" fmla="*/ 7509 w 227092"/>
                  <a:gd name="connsiteY8" fmla="*/ 152338 h 247302"/>
                  <a:gd name="connsiteX9" fmla="*/ 23464 w 227092"/>
                  <a:gd name="connsiteY9" fmla="*/ 155624 h 247302"/>
                  <a:gd name="connsiteX10" fmla="*/ 30798 w 227092"/>
                  <a:gd name="connsiteY10" fmla="*/ 178675 h 247302"/>
                  <a:gd name="connsiteX11" fmla="*/ 29131 w 227092"/>
                  <a:gd name="connsiteY11" fmla="*/ 201059 h 247302"/>
                  <a:gd name="connsiteX12" fmla="*/ 32370 w 227092"/>
                  <a:gd name="connsiteY12" fmla="*/ 222680 h 247302"/>
                  <a:gd name="connsiteX13" fmla="*/ 87329 w 227092"/>
                  <a:gd name="connsiteY13" fmla="*/ 220490 h 247302"/>
                  <a:gd name="connsiteX14" fmla="*/ 94711 w 227092"/>
                  <a:gd name="connsiteY14" fmla="*/ 247017 h 2473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227092" h="247302">
                    <a:moveTo>
                      <a:pt x="195485" y="247302"/>
                    </a:moveTo>
                    <a:cubicBezTo>
                      <a:pt x="193390" y="235206"/>
                      <a:pt x="190437" y="215584"/>
                      <a:pt x="191580" y="196439"/>
                    </a:cubicBezTo>
                    <a:cubicBezTo>
                      <a:pt x="191580" y="196439"/>
                      <a:pt x="198533" y="165054"/>
                      <a:pt x="212488" y="145004"/>
                    </a:cubicBezTo>
                    <a:cubicBezTo>
                      <a:pt x="212488" y="145004"/>
                      <a:pt x="256969" y="69137"/>
                      <a:pt x="190675" y="20322"/>
                    </a:cubicBezTo>
                    <a:cubicBezTo>
                      <a:pt x="190675" y="20322"/>
                      <a:pt x="132049" y="-23160"/>
                      <a:pt x="61088" y="17083"/>
                    </a:cubicBezTo>
                    <a:cubicBezTo>
                      <a:pt x="61088" y="17083"/>
                      <a:pt x="21511" y="34228"/>
                      <a:pt x="29893" y="88997"/>
                    </a:cubicBezTo>
                    <a:cubicBezTo>
                      <a:pt x="29893" y="88997"/>
                      <a:pt x="31560" y="104332"/>
                      <a:pt x="26750" y="111476"/>
                    </a:cubicBezTo>
                    <a:lnTo>
                      <a:pt x="556" y="142289"/>
                    </a:lnTo>
                    <a:cubicBezTo>
                      <a:pt x="556" y="142289"/>
                      <a:pt x="-2920" y="151433"/>
                      <a:pt x="7509" y="152338"/>
                    </a:cubicBezTo>
                    <a:lnTo>
                      <a:pt x="23464" y="155624"/>
                    </a:lnTo>
                    <a:cubicBezTo>
                      <a:pt x="23464" y="155624"/>
                      <a:pt x="30131" y="168626"/>
                      <a:pt x="30798" y="178675"/>
                    </a:cubicBezTo>
                    <a:cubicBezTo>
                      <a:pt x="31465" y="188676"/>
                      <a:pt x="29131" y="201059"/>
                      <a:pt x="29131" y="201059"/>
                    </a:cubicBezTo>
                    <a:cubicBezTo>
                      <a:pt x="29131" y="201059"/>
                      <a:pt x="23464" y="216108"/>
                      <a:pt x="32370" y="222680"/>
                    </a:cubicBezTo>
                    <a:cubicBezTo>
                      <a:pt x="34132" y="223109"/>
                      <a:pt x="40656" y="230538"/>
                      <a:pt x="87329" y="220490"/>
                    </a:cubicBezTo>
                    <a:cubicBezTo>
                      <a:pt x="87329" y="220490"/>
                      <a:pt x="91853" y="222633"/>
                      <a:pt x="94711" y="247017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59" name="Forma livre: Forma 558">
                <a:extLst>
                  <a:ext uri="{FF2B5EF4-FFF2-40B4-BE49-F238E27FC236}">
                    <a16:creationId xmlns:a16="http://schemas.microsoft.com/office/drawing/2014/main" id="{73905C6C-E39F-3A3F-6A2A-A0DD2F4E6151}"/>
                  </a:ext>
                </a:extLst>
              </p:cNvPr>
              <p:cNvSpPr/>
              <p:nvPr/>
            </p:nvSpPr>
            <p:spPr>
              <a:xfrm>
                <a:off x="5858115" y="2827353"/>
                <a:ext cx="20050" cy="333"/>
              </a:xfrm>
              <a:custGeom>
                <a:avLst/>
                <a:gdLst>
                  <a:gd name="connsiteX0" fmla="*/ 0 w 20050"/>
                  <a:gd name="connsiteY0" fmla="*/ 0 h 333"/>
                  <a:gd name="connsiteX1" fmla="*/ 20050 w 20050"/>
                  <a:gd name="connsiteY1" fmla="*/ 333 h 3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0050" h="333">
                    <a:moveTo>
                      <a:pt x="0" y="0"/>
                    </a:moveTo>
                    <a:lnTo>
                      <a:pt x="20050" y="333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560" name="Gráfico 6">
              <a:extLst>
                <a:ext uri="{FF2B5EF4-FFF2-40B4-BE49-F238E27FC236}">
                  <a16:creationId xmlns:a16="http://schemas.microsoft.com/office/drawing/2014/main" id="{156D1794-8DCA-DDC2-D2FD-6FDFB113BB74}"/>
                </a:ext>
              </a:extLst>
            </p:cNvPr>
            <p:cNvGrpSpPr/>
            <p:nvPr/>
          </p:nvGrpSpPr>
          <p:grpSpPr>
            <a:xfrm>
              <a:off x="5852400" y="2581560"/>
              <a:ext cx="187975" cy="46434"/>
              <a:chOff x="5852400" y="2581560"/>
              <a:chExt cx="187975" cy="46434"/>
            </a:xfrm>
            <a:noFill/>
          </p:grpSpPr>
          <p:sp>
            <p:nvSpPr>
              <p:cNvPr id="561" name="Forma livre: Forma 560">
                <a:extLst>
                  <a:ext uri="{FF2B5EF4-FFF2-40B4-BE49-F238E27FC236}">
                    <a16:creationId xmlns:a16="http://schemas.microsoft.com/office/drawing/2014/main" id="{5D2A33B9-5B15-8D67-1E27-DCAA1F3A974C}"/>
                  </a:ext>
                </a:extLst>
              </p:cNvPr>
              <p:cNvSpPr/>
              <p:nvPr/>
            </p:nvSpPr>
            <p:spPr>
              <a:xfrm>
                <a:off x="5990560" y="2581560"/>
                <a:ext cx="49815" cy="46434"/>
              </a:xfrm>
              <a:custGeom>
                <a:avLst/>
                <a:gdLst>
                  <a:gd name="connsiteX0" fmla="*/ 49816 w 49815"/>
                  <a:gd name="connsiteY0" fmla="*/ 0 h 46434"/>
                  <a:gd name="connsiteX1" fmla="*/ 29289 w 49815"/>
                  <a:gd name="connsiteY1" fmla="*/ 33385 h 46434"/>
                  <a:gd name="connsiteX2" fmla="*/ 22003 w 49815"/>
                  <a:gd name="connsiteY2" fmla="*/ 14049 h 46434"/>
                  <a:gd name="connsiteX3" fmla="*/ 0 w 49815"/>
                  <a:gd name="connsiteY3" fmla="*/ 46434 h 464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9815" h="46434">
                    <a:moveTo>
                      <a:pt x="49816" y="0"/>
                    </a:moveTo>
                    <a:lnTo>
                      <a:pt x="29289" y="33385"/>
                    </a:lnTo>
                    <a:lnTo>
                      <a:pt x="22003" y="14049"/>
                    </a:lnTo>
                    <a:lnTo>
                      <a:pt x="0" y="46434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62" name="Forma livre: Forma 561">
                <a:extLst>
                  <a:ext uri="{FF2B5EF4-FFF2-40B4-BE49-F238E27FC236}">
                    <a16:creationId xmlns:a16="http://schemas.microsoft.com/office/drawing/2014/main" id="{2D594F71-B949-B4C5-00C2-ACA5592EA060}"/>
                  </a:ext>
                </a:extLst>
              </p:cNvPr>
              <p:cNvSpPr/>
              <p:nvPr/>
            </p:nvSpPr>
            <p:spPr>
              <a:xfrm>
                <a:off x="5852400" y="2581560"/>
                <a:ext cx="49815" cy="46434"/>
              </a:xfrm>
              <a:custGeom>
                <a:avLst/>
                <a:gdLst>
                  <a:gd name="connsiteX0" fmla="*/ 49816 w 49815"/>
                  <a:gd name="connsiteY0" fmla="*/ 46434 h 46434"/>
                  <a:gd name="connsiteX1" fmla="*/ 29289 w 49815"/>
                  <a:gd name="connsiteY1" fmla="*/ 13049 h 46434"/>
                  <a:gd name="connsiteX2" fmla="*/ 22003 w 49815"/>
                  <a:gd name="connsiteY2" fmla="*/ 32385 h 46434"/>
                  <a:gd name="connsiteX3" fmla="*/ 0 w 49815"/>
                  <a:gd name="connsiteY3" fmla="*/ 0 h 464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9815" h="46434">
                    <a:moveTo>
                      <a:pt x="49816" y="46434"/>
                    </a:moveTo>
                    <a:lnTo>
                      <a:pt x="29289" y="13049"/>
                    </a:lnTo>
                    <a:lnTo>
                      <a:pt x="22003" y="32385"/>
                    </a:lnTo>
                    <a:lnTo>
                      <a:pt x="0" y="0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563" name="Forma livre: Forma 562">
              <a:extLst>
                <a:ext uri="{FF2B5EF4-FFF2-40B4-BE49-F238E27FC236}">
                  <a16:creationId xmlns:a16="http://schemas.microsoft.com/office/drawing/2014/main" id="{B551B346-691F-D8E3-F594-350443900B0B}"/>
                </a:ext>
              </a:extLst>
            </p:cNvPr>
            <p:cNvSpPr/>
            <p:nvPr/>
          </p:nvSpPr>
          <p:spPr>
            <a:xfrm>
              <a:off x="5937887" y="2554080"/>
              <a:ext cx="17002" cy="66341"/>
            </a:xfrm>
            <a:custGeom>
              <a:avLst/>
              <a:gdLst>
                <a:gd name="connsiteX0" fmla="*/ 17002 w 17002"/>
                <a:gd name="connsiteY0" fmla="*/ 66342 h 66341"/>
                <a:gd name="connsiteX1" fmla="*/ 17002 w 17002"/>
                <a:gd name="connsiteY1" fmla="*/ 27242 h 66341"/>
                <a:gd name="connsiteX2" fmla="*/ 0 w 17002"/>
                <a:gd name="connsiteY2" fmla="*/ 39148 h 66341"/>
                <a:gd name="connsiteX3" fmla="*/ 0 w 17002"/>
                <a:gd name="connsiteY3" fmla="*/ 0 h 663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002" h="66341">
                  <a:moveTo>
                    <a:pt x="17002" y="66342"/>
                  </a:moveTo>
                  <a:lnTo>
                    <a:pt x="17002" y="27242"/>
                  </a:lnTo>
                  <a:lnTo>
                    <a:pt x="0" y="39148"/>
                  </a:lnTo>
                  <a:lnTo>
                    <a:pt x="0" y="0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564" name="Gráfico 6">
            <a:extLst>
              <a:ext uri="{FF2B5EF4-FFF2-40B4-BE49-F238E27FC236}">
                <a16:creationId xmlns:a16="http://schemas.microsoft.com/office/drawing/2014/main" id="{D2BC5425-2794-0F76-9EDB-946CE37686B8}"/>
              </a:ext>
            </a:extLst>
          </p:cNvPr>
          <p:cNvGrpSpPr/>
          <p:nvPr/>
        </p:nvGrpSpPr>
        <p:grpSpPr>
          <a:xfrm>
            <a:off x="5830016" y="2069163"/>
            <a:ext cx="217598" cy="271795"/>
            <a:chOff x="5830016" y="2069163"/>
            <a:chExt cx="217598" cy="271795"/>
          </a:xfrm>
        </p:grpSpPr>
        <p:sp>
          <p:nvSpPr>
            <p:cNvPr id="565" name="Forma livre: Forma 564">
              <a:extLst>
                <a:ext uri="{FF2B5EF4-FFF2-40B4-BE49-F238E27FC236}">
                  <a16:creationId xmlns:a16="http://schemas.microsoft.com/office/drawing/2014/main" id="{CAC27D08-5D1F-9634-752E-B67058A34B2C}"/>
                </a:ext>
              </a:extLst>
            </p:cNvPr>
            <p:cNvSpPr/>
            <p:nvPr/>
          </p:nvSpPr>
          <p:spPr>
            <a:xfrm>
              <a:off x="5849352" y="2187797"/>
              <a:ext cx="84820" cy="90296"/>
            </a:xfrm>
            <a:custGeom>
              <a:avLst/>
              <a:gdLst>
                <a:gd name="connsiteX0" fmla="*/ 0 w 84820"/>
                <a:gd name="connsiteY0" fmla="*/ 0 h 90296"/>
                <a:gd name="connsiteX1" fmla="*/ 84820 w 84820"/>
                <a:gd name="connsiteY1" fmla="*/ 0 h 90296"/>
                <a:gd name="connsiteX2" fmla="*/ 84820 w 84820"/>
                <a:gd name="connsiteY2" fmla="*/ 90297 h 90296"/>
                <a:gd name="connsiteX3" fmla="*/ 0 w 84820"/>
                <a:gd name="connsiteY3" fmla="*/ 90297 h 902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4820" h="90296">
                  <a:moveTo>
                    <a:pt x="0" y="0"/>
                  </a:moveTo>
                  <a:lnTo>
                    <a:pt x="84820" y="0"/>
                  </a:lnTo>
                  <a:lnTo>
                    <a:pt x="84820" y="90297"/>
                  </a:lnTo>
                  <a:lnTo>
                    <a:pt x="0" y="90297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566" name="Gráfico 6">
              <a:extLst>
                <a:ext uri="{FF2B5EF4-FFF2-40B4-BE49-F238E27FC236}">
                  <a16:creationId xmlns:a16="http://schemas.microsoft.com/office/drawing/2014/main" id="{D389FBE8-5B42-8C1E-907C-447F6CCA55E7}"/>
                </a:ext>
              </a:extLst>
            </p:cNvPr>
            <p:cNvGrpSpPr/>
            <p:nvPr/>
          </p:nvGrpSpPr>
          <p:grpSpPr>
            <a:xfrm>
              <a:off x="5869117" y="2218705"/>
              <a:ext cx="42957" cy="28432"/>
              <a:chOff x="5869117" y="2218705"/>
              <a:chExt cx="42957" cy="28432"/>
            </a:xfrm>
          </p:grpSpPr>
          <p:sp>
            <p:nvSpPr>
              <p:cNvPr id="567" name="Forma livre: Forma 566">
                <a:extLst>
                  <a:ext uri="{FF2B5EF4-FFF2-40B4-BE49-F238E27FC236}">
                    <a16:creationId xmlns:a16="http://schemas.microsoft.com/office/drawing/2014/main" id="{CC4590A7-59EB-DF29-ADCC-549E0AEB495D}"/>
                  </a:ext>
                </a:extLst>
              </p:cNvPr>
              <p:cNvSpPr/>
              <p:nvPr/>
            </p:nvSpPr>
            <p:spPr>
              <a:xfrm>
                <a:off x="5869117" y="2218705"/>
                <a:ext cx="42957" cy="4762"/>
              </a:xfrm>
              <a:custGeom>
                <a:avLst/>
                <a:gdLst>
                  <a:gd name="connsiteX0" fmla="*/ 0 w 42957"/>
                  <a:gd name="connsiteY0" fmla="*/ 0 h 4762"/>
                  <a:gd name="connsiteX1" fmla="*/ 42958 w 42957"/>
                  <a:gd name="connsiteY1" fmla="*/ 0 h 47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2957" h="4762">
                    <a:moveTo>
                      <a:pt x="0" y="0"/>
                    </a:moveTo>
                    <a:lnTo>
                      <a:pt x="42958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68" name="Forma livre: Forma 567">
                <a:extLst>
                  <a:ext uri="{FF2B5EF4-FFF2-40B4-BE49-F238E27FC236}">
                    <a16:creationId xmlns:a16="http://schemas.microsoft.com/office/drawing/2014/main" id="{A293EFB7-136D-A666-41F5-ED0409138B7B}"/>
                  </a:ext>
                </a:extLst>
              </p:cNvPr>
              <p:cNvSpPr/>
              <p:nvPr/>
            </p:nvSpPr>
            <p:spPr>
              <a:xfrm>
                <a:off x="5869117" y="2247137"/>
                <a:ext cx="42957" cy="4762"/>
              </a:xfrm>
              <a:custGeom>
                <a:avLst/>
                <a:gdLst>
                  <a:gd name="connsiteX0" fmla="*/ 0 w 42957"/>
                  <a:gd name="connsiteY0" fmla="*/ 0 h 4762"/>
                  <a:gd name="connsiteX1" fmla="*/ 42958 w 42957"/>
                  <a:gd name="connsiteY1" fmla="*/ 0 h 47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2957" h="4762">
                    <a:moveTo>
                      <a:pt x="0" y="0"/>
                    </a:moveTo>
                    <a:lnTo>
                      <a:pt x="42958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569" name="Forma livre: Forma 568">
              <a:extLst>
                <a:ext uri="{FF2B5EF4-FFF2-40B4-BE49-F238E27FC236}">
                  <a16:creationId xmlns:a16="http://schemas.microsoft.com/office/drawing/2014/main" id="{DCC36F7E-B384-5A33-EAC6-F94BF6FD9660}"/>
                </a:ext>
              </a:extLst>
            </p:cNvPr>
            <p:cNvSpPr/>
            <p:nvPr/>
          </p:nvSpPr>
          <p:spPr>
            <a:xfrm>
              <a:off x="5848590" y="2152173"/>
              <a:ext cx="108394" cy="188785"/>
            </a:xfrm>
            <a:custGeom>
              <a:avLst/>
              <a:gdLst>
                <a:gd name="connsiteX0" fmla="*/ 108395 w 108394"/>
                <a:gd name="connsiteY0" fmla="*/ 188786 h 188785"/>
                <a:gd name="connsiteX1" fmla="*/ 14954 w 108394"/>
                <a:gd name="connsiteY1" fmla="*/ 188786 h 188785"/>
                <a:gd name="connsiteX2" fmla="*/ 0 w 108394"/>
                <a:gd name="connsiteY2" fmla="*/ 173831 h 188785"/>
                <a:gd name="connsiteX3" fmla="*/ 0 w 108394"/>
                <a:gd name="connsiteY3" fmla="*/ 0 h 1887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8394" h="188785">
                  <a:moveTo>
                    <a:pt x="108395" y="188786"/>
                  </a:moveTo>
                  <a:lnTo>
                    <a:pt x="14954" y="188786"/>
                  </a:lnTo>
                  <a:cubicBezTo>
                    <a:pt x="6715" y="188786"/>
                    <a:pt x="0" y="182070"/>
                    <a:pt x="0" y="173831"/>
                  </a:cubicBezTo>
                  <a:lnTo>
                    <a:pt x="0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570" name="Forma livre: Forma 569">
              <a:extLst>
                <a:ext uri="{FF2B5EF4-FFF2-40B4-BE49-F238E27FC236}">
                  <a16:creationId xmlns:a16="http://schemas.microsoft.com/office/drawing/2014/main" id="{21DA56A8-0CB2-8327-980B-9C46C1A614C1}"/>
                </a:ext>
              </a:extLst>
            </p:cNvPr>
            <p:cNvSpPr/>
            <p:nvPr/>
          </p:nvSpPr>
          <p:spPr>
            <a:xfrm>
              <a:off x="6003086" y="2152173"/>
              <a:ext cx="4762" cy="82010"/>
            </a:xfrm>
            <a:custGeom>
              <a:avLst/>
              <a:gdLst>
                <a:gd name="connsiteX0" fmla="*/ 0 w 4762"/>
                <a:gd name="connsiteY0" fmla="*/ 0 h 82010"/>
                <a:gd name="connsiteX1" fmla="*/ 0 w 4762"/>
                <a:gd name="connsiteY1" fmla="*/ 82010 h 820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762" h="82010">
                  <a:moveTo>
                    <a:pt x="0" y="0"/>
                  </a:moveTo>
                  <a:lnTo>
                    <a:pt x="0" y="8201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571" name="Forma livre: Forma 570">
              <a:extLst>
                <a:ext uri="{FF2B5EF4-FFF2-40B4-BE49-F238E27FC236}">
                  <a16:creationId xmlns:a16="http://schemas.microsoft.com/office/drawing/2014/main" id="{BBA84A08-ACAD-396A-D049-C8DE5EB098FA}"/>
                </a:ext>
              </a:extLst>
            </p:cNvPr>
            <p:cNvSpPr/>
            <p:nvPr/>
          </p:nvSpPr>
          <p:spPr>
            <a:xfrm>
              <a:off x="5892786" y="2098261"/>
              <a:ext cx="4762" cy="30337"/>
            </a:xfrm>
            <a:custGeom>
              <a:avLst/>
              <a:gdLst>
                <a:gd name="connsiteX0" fmla="*/ 0 w 4762"/>
                <a:gd name="connsiteY0" fmla="*/ 0 h 30337"/>
                <a:gd name="connsiteX1" fmla="*/ 0 w 4762"/>
                <a:gd name="connsiteY1" fmla="*/ 30337 h 303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762" h="30337">
                  <a:moveTo>
                    <a:pt x="0" y="0"/>
                  </a:moveTo>
                  <a:lnTo>
                    <a:pt x="0" y="30337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572" name="Forma livre: Forma 571">
              <a:extLst>
                <a:ext uri="{FF2B5EF4-FFF2-40B4-BE49-F238E27FC236}">
                  <a16:creationId xmlns:a16="http://schemas.microsoft.com/office/drawing/2014/main" id="{7CC5857C-0117-5173-F69C-A4F9611C9414}"/>
                </a:ext>
              </a:extLst>
            </p:cNvPr>
            <p:cNvSpPr/>
            <p:nvPr/>
          </p:nvSpPr>
          <p:spPr>
            <a:xfrm>
              <a:off x="5924409" y="2098261"/>
              <a:ext cx="4762" cy="30337"/>
            </a:xfrm>
            <a:custGeom>
              <a:avLst/>
              <a:gdLst>
                <a:gd name="connsiteX0" fmla="*/ 0 w 4762"/>
                <a:gd name="connsiteY0" fmla="*/ 0 h 30337"/>
                <a:gd name="connsiteX1" fmla="*/ 0 w 4762"/>
                <a:gd name="connsiteY1" fmla="*/ 30337 h 303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762" h="30337">
                  <a:moveTo>
                    <a:pt x="0" y="0"/>
                  </a:moveTo>
                  <a:lnTo>
                    <a:pt x="0" y="30337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573" name="Forma livre: Forma 572">
              <a:extLst>
                <a:ext uri="{FF2B5EF4-FFF2-40B4-BE49-F238E27FC236}">
                  <a16:creationId xmlns:a16="http://schemas.microsoft.com/office/drawing/2014/main" id="{352A2ED3-C7F7-5095-9DA5-085E05BA1A89}"/>
                </a:ext>
              </a:extLst>
            </p:cNvPr>
            <p:cNvSpPr/>
            <p:nvPr/>
          </p:nvSpPr>
          <p:spPr>
            <a:xfrm>
              <a:off x="5956032" y="2098261"/>
              <a:ext cx="4762" cy="30337"/>
            </a:xfrm>
            <a:custGeom>
              <a:avLst/>
              <a:gdLst>
                <a:gd name="connsiteX0" fmla="*/ 0 w 4762"/>
                <a:gd name="connsiteY0" fmla="*/ 0 h 30337"/>
                <a:gd name="connsiteX1" fmla="*/ 0 w 4762"/>
                <a:gd name="connsiteY1" fmla="*/ 30337 h 303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762" h="30337">
                  <a:moveTo>
                    <a:pt x="0" y="0"/>
                  </a:moveTo>
                  <a:lnTo>
                    <a:pt x="0" y="30337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574" name="Forma livre: Forma 573">
              <a:extLst>
                <a:ext uri="{FF2B5EF4-FFF2-40B4-BE49-F238E27FC236}">
                  <a16:creationId xmlns:a16="http://schemas.microsoft.com/office/drawing/2014/main" id="{6238CC87-2EF4-846C-8193-2B0209E449B7}"/>
                </a:ext>
              </a:extLst>
            </p:cNvPr>
            <p:cNvSpPr/>
            <p:nvPr/>
          </p:nvSpPr>
          <p:spPr>
            <a:xfrm>
              <a:off x="5987798" y="2098261"/>
              <a:ext cx="4762" cy="30337"/>
            </a:xfrm>
            <a:custGeom>
              <a:avLst/>
              <a:gdLst>
                <a:gd name="connsiteX0" fmla="*/ 0 w 4762"/>
                <a:gd name="connsiteY0" fmla="*/ 0 h 30337"/>
                <a:gd name="connsiteX1" fmla="*/ 0 w 4762"/>
                <a:gd name="connsiteY1" fmla="*/ 30337 h 303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762" h="30337">
                  <a:moveTo>
                    <a:pt x="0" y="0"/>
                  </a:moveTo>
                  <a:lnTo>
                    <a:pt x="0" y="30337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575" name="Gráfico 6">
              <a:extLst>
                <a:ext uri="{FF2B5EF4-FFF2-40B4-BE49-F238E27FC236}">
                  <a16:creationId xmlns:a16="http://schemas.microsoft.com/office/drawing/2014/main" id="{3C96B699-1E0A-6A61-D14C-1B55F7D3EBFD}"/>
                </a:ext>
              </a:extLst>
            </p:cNvPr>
            <p:cNvGrpSpPr/>
            <p:nvPr/>
          </p:nvGrpSpPr>
          <p:grpSpPr>
            <a:xfrm>
              <a:off x="5962938" y="2253805"/>
              <a:ext cx="84677" cy="84677"/>
              <a:chOff x="5962938" y="2253805"/>
              <a:chExt cx="84677" cy="84677"/>
            </a:xfrm>
            <a:solidFill>
              <a:srgbClr val="FFFFFF"/>
            </a:solidFill>
          </p:grpSpPr>
          <p:sp>
            <p:nvSpPr>
              <p:cNvPr id="576" name="Forma livre: Forma 575">
                <a:extLst>
                  <a:ext uri="{FF2B5EF4-FFF2-40B4-BE49-F238E27FC236}">
                    <a16:creationId xmlns:a16="http://schemas.microsoft.com/office/drawing/2014/main" id="{2C80E197-4C0A-FA04-D253-A0FA4E75FB28}"/>
                  </a:ext>
                </a:extLst>
              </p:cNvPr>
              <p:cNvSpPr/>
              <p:nvPr/>
            </p:nvSpPr>
            <p:spPr>
              <a:xfrm>
                <a:off x="5962938" y="2253805"/>
                <a:ext cx="84677" cy="84677"/>
              </a:xfrm>
              <a:custGeom>
                <a:avLst/>
                <a:gdLst>
                  <a:gd name="connsiteX0" fmla="*/ 84677 w 84677"/>
                  <a:gd name="connsiteY0" fmla="*/ 42339 h 84677"/>
                  <a:gd name="connsiteX1" fmla="*/ 42339 w 84677"/>
                  <a:gd name="connsiteY1" fmla="*/ 84677 h 84677"/>
                  <a:gd name="connsiteX2" fmla="*/ 0 w 84677"/>
                  <a:gd name="connsiteY2" fmla="*/ 42339 h 84677"/>
                  <a:gd name="connsiteX3" fmla="*/ 42339 w 84677"/>
                  <a:gd name="connsiteY3" fmla="*/ 0 h 84677"/>
                  <a:gd name="connsiteX4" fmla="*/ 84677 w 84677"/>
                  <a:gd name="connsiteY4" fmla="*/ 42339 h 846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4677" h="84677">
                    <a:moveTo>
                      <a:pt x="84677" y="42339"/>
                    </a:moveTo>
                    <a:cubicBezTo>
                      <a:pt x="84677" y="65723"/>
                      <a:pt x="65722" y="84677"/>
                      <a:pt x="42339" y="84677"/>
                    </a:cubicBezTo>
                    <a:cubicBezTo>
                      <a:pt x="18955" y="84677"/>
                      <a:pt x="0" y="65723"/>
                      <a:pt x="0" y="42339"/>
                    </a:cubicBezTo>
                    <a:cubicBezTo>
                      <a:pt x="0" y="18955"/>
                      <a:pt x="18955" y="0"/>
                      <a:pt x="42339" y="0"/>
                    </a:cubicBezTo>
                    <a:cubicBezTo>
                      <a:pt x="65722" y="0"/>
                      <a:pt x="84677" y="18955"/>
                      <a:pt x="84677" y="42339"/>
                    </a:cubicBezTo>
                    <a:close/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77" name="Forma livre: Forma 576">
                <a:extLst>
                  <a:ext uri="{FF2B5EF4-FFF2-40B4-BE49-F238E27FC236}">
                    <a16:creationId xmlns:a16="http://schemas.microsoft.com/office/drawing/2014/main" id="{C51E7AD0-8F09-870D-08C4-7FC782E4A81F}"/>
                  </a:ext>
                </a:extLst>
              </p:cNvPr>
              <p:cNvSpPr/>
              <p:nvPr/>
            </p:nvSpPr>
            <p:spPr>
              <a:xfrm>
                <a:off x="5962938" y="2296143"/>
                <a:ext cx="84677" cy="4762"/>
              </a:xfrm>
              <a:custGeom>
                <a:avLst/>
                <a:gdLst>
                  <a:gd name="connsiteX0" fmla="*/ 0 w 84677"/>
                  <a:gd name="connsiteY0" fmla="*/ 0 h 4762"/>
                  <a:gd name="connsiteX1" fmla="*/ 84677 w 84677"/>
                  <a:gd name="connsiteY1" fmla="*/ 0 h 47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84677" h="4762">
                    <a:moveTo>
                      <a:pt x="0" y="0"/>
                    </a:moveTo>
                    <a:lnTo>
                      <a:pt x="84677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578" name="Forma livre: Forma 577">
              <a:extLst>
                <a:ext uri="{FF2B5EF4-FFF2-40B4-BE49-F238E27FC236}">
                  <a16:creationId xmlns:a16="http://schemas.microsoft.com/office/drawing/2014/main" id="{4B5DFAB1-6EE7-92B8-15B4-00CBD098A04C}"/>
                </a:ext>
              </a:extLst>
            </p:cNvPr>
            <p:cNvSpPr/>
            <p:nvPr/>
          </p:nvSpPr>
          <p:spPr>
            <a:xfrm>
              <a:off x="5830016" y="2069163"/>
              <a:ext cx="188499" cy="61817"/>
            </a:xfrm>
            <a:custGeom>
              <a:avLst/>
              <a:gdLst>
                <a:gd name="connsiteX0" fmla="*/ 0 w 188499"/>
                <a:gd name="connsiteY0" fmla="*/ 61817 h 61817"/>
                <a:gd name="connsiteX1" fmla="*/ 0 w 188499"/>
                <a:gd name="connsiteY1" fmla="*/ 14954 h 61817"/>
                <a:gd name="connsiteX2" fmla="*/ 14954 w 188499"/>
                <a:gd name="connsiteY2" fmla="*/ 0 h 61817"/>
                <a:gd name="connsiteX3" fmla="*/ 173546 w 188499"/>
                <a:gd name="connsiteY3" fmla="*/ 0 h 61817"/>
                <a:gd name="connsiteX4" fmla="*/ 188500 w 188499"/>
                <a:gd name="connsiteY4" fmla="*/ 14954 h 61817"/>
                <a:gd name="connsiteX5" fmla="*/ 188500 w 188499"/>
                <a:gd name="connsiteY5" fmla="*/ 61817 h 61817"/>
                <a:gd name="connsiteX6" fmla="*/ 31052 w 188499"/>
                <a:gd name="connsiteY6" fmla="*/ 61817 h 61817"/>
                <a:gd name="connsiteX7" fmla="*/ 31052 w 188499"/>
                <a:gd name="connsiteY7" fmla="*/ 29099 h 618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88499" h="61817">
                  <a:moveTo>
                    <a:pt x="0" y="61817"/>
                  </a:moveTo>
                  <a:lnTo>
                    <a:pt x="0" y="14954"/>
                  </a:lnTo>
                  <a:cubicBezTo>
                    <a:pt x="0" y="6715"/>
                    <a:pt x="6715" y="0"/>
                    <a:pt x="14954" y="0"/>
                  </a:cubicBezTo>
                  <a:lnTo>
                    <a:pt x="173546" y="0"/>
                  </a:lnTo>
                  <a:cubicBezTo>
                    <a:pt x="181785" y="0"/>
                    <a:pt x="188500" y="6715"/>
                    <a:pt x="188500" y="14954"/>
                  </a:cubicBezTo>
                  <a:lnTo>
                    <a:pt x="188500" y="61817"/>
                  </a:lnTo>
                  <a:lnTo>
                    <a:pt x="31052" y="61817"/>
                  </a:lnTo>
                  <a:lnTo>
                    <a:pt x="31052" y="29099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580" name="Gráfico 9">
            <a:extLst>
              <a:ext uri="{FF2B5EF4-FFF2-40B4-BE49-F238E27FC236}">
                <a16:creationId xmlns:a16="http://schemas.microsoft.com/office/drawing/2014/main" id="{DEAEC206-3C99-A1BF-9754-34E48A8911E6}"/>
              </a:ext>
            </a:extLst>
          </p:cNvPr>
          <p:cNvGrpSpPr/>
          <p:nvPr/>
        </p:nvGrpSpPr>
        <p:grpSpPr>
          <a:xfrm>
            <a:off x="6407023" y="995648"/>
            <a:ext cx="222551" cy="321468"/>
            <a:chOff x="6407023" y="995648"/>
            <a:chExt cx="222551" cy="321468"/>
          </a:xfrm>
          <a:noFill/>
        </p:grpSpPr>
        <p:sp>
          <p:nvSpPr>
            <p:cNvPr id="581" name="Forma livre: Forma 580">
              <a:extLst>
                <a:ext uri="{FF2B5EF4-FFF2-40B4-BE49-F238E27FC236}">
                  <a16:creationId xmlns:a16="http://schemas.microsoft.com/office/drawing/2014/main" id="{2647DE31-E8D0-9191-D964-8F7E651ADD84}"/>
                </a:ext>
              </a:extLst>
            </p:cNvPr>
            <p:cNvSpPr/>
            <p:nvPr/>
          </p:nvSpPr>
          <p:spPr>
            <a:xfrm>
              <a:off x="6426216" y="1116663"/>
              <a:ext cx="34480" cy="4762"/>
            </a:xfrm>
            <a:custGeom>
              <a:avLst/>
              <a:gdLst>
                <a:gd name="connsiteX0" fmla="*/ 0 w 34480"/>
                <a:gd name="connsiteY0" fmla="*/ 0 h 4762"/>
                <a:gd name="connsiteX1" fmla="*/ 34481 w 34480"/>
                <a:gd name="connsiteY1" fmla="*/ 0 h 47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4480" h="4762">
                  <a:moveTo>
                    <a:pt x="0" y="0"/>
                  </a:moveTo>
                  <a:lnTo>
                    <a:pt x="34481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582" name="Forma livre: Forma 581">
              <a:extLst>
                <a:ext uri="{FF2B5EF4-FFF2-40B4-BE49-F238E27FC236}">
                  <a16:creationId xmlns:a16="http://schemas.microsoft.com/office/drawing/2014/main" id="{4DBB9FF2-26D8-DAD9-ED60-BCDEDA654F4B}"/>
                </a:ext>
              </a:extLst>
            </p:cNvPr>
            <p:cNvSpPr/>
            <p:nvPr/>
          </p:nvSpPr>
          <p:spPr>
            <a:xfrm>
              <a:off x="6576187" y="1116663"/>
              <a:ext cx="53149" cy="4762"/>
            </a:xfrm>
            <a:custGeom>
              <a:avLst/>
              <a:gdLst>
                <a:gd name="connsiteX0" fmla="*/ 0 w 53149"/>
                <a:gd name="connsiteY0" fmla="*/ 0 h 4762"/>
                <a:gd name="connsiteX1" fmla="*/ 53150 w 53149"/>
                <a:gd name="connsiteY1" fmla="*/ 0 h 47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3149" h="4762">
                  <a:moveTo>
                    <a:pt x="0" y="0"/>
                  </a:moveTo>
                  <a:lnTo>
                    <a:pt x="5315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583" name="Forma livre: Forma 582">
              <a:extLst>
                <a:ext uri="{FF2B5EF4-FFF2-40B4-BE49-F238E27FC236}">
                  <a16:creationId xmlns:a16="http://schemas.microsoft.com/office/drawing/2014/main" id="{9AC0A01A-C609-BD70-6093-27C1077B0AA0}"/>
                </a:ext>
              </a:extLst>
            </p:cNvPr>
            <p:cNvSpPr/>
            <p:nvPr/>
          </p:nvSpPr>
          <p:spPr>
            <a:xfrm>
              <a:off x="6460744" y="1071038"/>
              <a:ext cx="115109" cy="147637"/>
            </a:xfrm>
            <a:custGeom>
              <a:avLst/>
              <a:gdLst>
                <a:gd name="connsiteX0" fmla="*/ 0 w 115109"/>
                <a:gd name="connsiteY0" fmla="*/ 0 h 147637"/>
                <a:gd name="connsiteX1" fmla="*/ 115110 w 115109"/>
                <a:gd name="connsiteY1" fmla="*/ 0 h 147637"/>
                <a:gd name="connsiteX2" fmla="*/ 115110 w 115109"/>
                <a:gd name="connsiteY2" fmla="*/ 147637 h 147637"/>
                <a:gd name="connsiteX3" fmla="*/ 0 w 115109"/>
                <a:gd name="connsiteY3" fmla="*/ 147637 h 1476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5109" h="147637">
                  <a:moveTo>
                    <a:pt x="0" y="0"/>
                  </a:moveTo>
                  <a:lnTo>
                    <a:pt x="115110" y="0"/>
                  </a:lnTo>
                  <a:lnTo>
                    <a:pt x="115110" y="147637"/>
                  </a:lnTo>
                  <a:lnTo>
                    <a:pt x="0" y="147637"/>
                  </a:ln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584" name="Forma livre: Forma 583">
              <a:extLst>
                <a:ext uri="{FF2B5EF4-FFF2-40B4-BE49-F238E27FC236}">
                  <a16:creationId xmlns:a16="http://schemas.microsoft.com/office/drawing/2014/main" id="{6C6C6B96-D4D4-DC7C-457F-418295B60F79}"/>
                </a:ext>
              </a:extLst>
            </p:cNvPr>
            <p:cNvSpPr/>
            <p:nvPr/>
          </p:nvSpPr>
          <p:spPr>
            <a:xfrm>
              <a:off x="6407023" y="995648"/>
              <a:ext cx="222551" cy="321468"/>
            </a:xfrm>
            <a:custGeom>
              <a:avLst/>
              <a:gdLst>
                <a:gd name="connsiteX0" fmla="*/ 124587 w 222551"/>
                <a:gd name="connsiteY0" fmla="*/ 321421 h 321468"/>
                <a:gd name="connsiteX1" fmla="*/ 124587 w 222551"/>
                <a:gd name="connsiteY1" fmla="*/ 283702 h 321468"/>
                <a:gd name="connsiteX2" fmla="*/ 152114 w 222551"/>
                <a:gd name="connsiteY2" fmla="*/ 280178 h 321468"/>
                <a:gd name="connsiteX3" fmla="*/ 152114 w 222551"/>
                <a:gd name="connsiteY3" fmla="*/ 321373 h 321468"/>
                <a:gd name="connsiteX4" fmla="*/ 178784 w 222551"/>
                <a:gd name="connsiteY4" fmla="*/ 321373 h 321468"/>
                <a:gd name="connsiteX5" fmla="*/ 178784 w 222551"/>
                <a:gd name="connsiteY5" fmla="*/ 272844 h 321468"/>
                <a:gd name="connsiteX6" fmla="*/ 222552 w 222551"/>
                <a:gd name="connsiteY6" fmla="*/ 226933 h 321468"/>
                <a:gd name="connsiteX7" fmla="*/ 222552 w 222551"/>
                <a:gd name="connsiteY7" fmla="*/ 57150 h 321468"/>
                <a:gd name="connsiteX8" fmla="*/ 111252 w 222551"/>
                <a:gd name="connsiteY8" fmla="*/ 0 h 321468"/>
                <a:gd name="connsiteX9" fmla="*/ 0 w 222551"/>
                <a:gd name="connsiteY9" fmla="*/ 57150 h 321468"/>
                <a:gd name="connsiteX10" fmla="*/ 0 w 222551"/>
                <a:gd name="connsiteY10" fmla="*/ 227028 h 321468"/>
                <a:gd name="connsiteX11" fmla="*/ 43720 w 222551"/>
                <a:gd name="connsiteY11" fmla="*/ 272939 h 321468"/>
                <a:gd name="connsiteX12" fmla="*/ 43720 w 222551"/>
                <a:gd name="connsiteY12" fmla="*/ 321421 h 321468"/>
                <a:gd name="connsiteX13" fmla="*/ 70533 w 222551"/>
                <a:gd name="connsiteY13" fmla="*/ 321421 h 321468"/>
                <a:gd name="connsiteX14" fmla="*/ 70533 w 222551"/>
                <a:gd name="connsiteY14" fmla="*/ 280225 h 321468"/>
                <a:gd name="connsiteX15" fmla="*/ 97917 w 222551"/>
                <a:gd name="connsiteY15" fmla="*/ 283750 h 321468"/>
                <a:gd name="connsiteX16" fmla="*/ 97917 w 222551"/>
                <a:gd name="connsiteY16" fmla="*/ 321469 h 321468"/>
                <a:gd name="connsiteX17" fmla="*/ 124587 w 222551"/>
                <a:gd name="connsiteY17" fmla="*/ 321469 h 3214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222551" h="321468">
                  <a:moveTo>
                    <a:pt x="124587" y="321421"/>
                  </a:moveTo>
                  <a:lnTo>
                    <a:pt x="124587" y="283702"/>
                  </a:lnTo>
                  <a:cubicBezTo>
                    <a:pt x="133493" y="283131"/>
                    <a:pt x="142923" y="281988"/>
                    <a:pt x="152114" y="280178"/>
                  </a:cubicBezTo>
                  <a:lnTo>
                    <a:pt x="152114" y="321373"/>
                  </a:lnTo>
                  <a:lnTo>
                    <a:pt x="178784" y="321373"/>
                  </a:lnTo>
                  <a:lnTo>
                    <a:pt x="178784" y="272844"/>
                  </a:lnTo>
                  <a:cubicBezTo>
                    <a:pt x="203502" y="263795"/>
                    <a:pt x="222552" y="248983"/>
                    <a:pt x="222552" y="226933"/>
                  </a:cubicBezTo>
                  <a:lnTo>
                    <a:pt x="222552" y="57150"/>
                  </a:lnTo>
                  <a:cubicBezTo>
                    <a:pt x="222552" y="16288"/>
                    <a:pt x="156782" y="0"/>
                    <a:pt x="111252" y="0"/>
                  </a:cubicBezTo>
                  <a:cubicBezTo>
                    <a:pt x="65723" y="0"/>
                    <a:pt x="0" y="16288"/>
                    <a:pt x="0" y="57150"/>
                  </a:cubicBezTo>
                  <a:lnTo>
                    <a:pt x="0" y="227028"/>
                  </a:lnTo>
                  <a:cubicBezTo>
                    <a:pt x="0" y="249031"/>
                    <a:pt x="19002" y="263938"/>
                    <a:pt x="43720" y="272939"/>
                  </a:cubicBezTo>
                  <a:lnTo>
                    <a:pt x="43720" y="321421"/>
                  </a:lnTo>
                  <a:lnTo>
                    <a:pt x="70533" y="321421"/>
                  </a:lnTo>
                  <a:lnTo>
                    <a:pt x="70533" y="280225"/>
                  </a:lnTo>
                  <a:cubicBezTo>
                    <a:pt x="79772" y="281988"/>
                    <a:pt x="88964" y="283178"/>
                    <a:pt x="97917" y="283750"/>
                  </a:cubicBezTo>
                  <a:lnTo>
                    <a:pt x="97917" y="321469"/>
                  </a:lnTo>
                  <a:lnTo>
                    <a:pt x="124587" y="321469"/>
                  </a:ln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585" name="Forma livre: Forma 584">
              <a:extLst>
                <a:ext uri="{FF2B5EF4-FFF2-40B4-BE49-F238E27FC236}">
                  <a16:creationId xmlns:a16="http://schemas.microsoft.com/office/drawing/2014/main" id="{664B8C6E-E1A6-F4D1-A242-F00439B58CC5}"/>
                </a:ext>
              </a:extLst>
            </p:cNvPr>
            <p:cNvSpPr/>
            <p:nvPr/>
          </p:nvSpPr>
          <p:spPr>
            <a:xfrm>
              <a:off x="6433216" y="1032748"/>
              <a:ext cx="22907" cy="33908"/>
            </a:xfrm>
            <a:custGeom>
              <a:avLst/>
              <a:gdLst>
                <a:gd name="connsiteX0" fmla="*/ 0 w 22907"/>
                <a:gd name="connsiteY0" fmla="*/ 33909 h 33908"/>
                <a:gd name="connsiteX1" fmla="*/ 0 w 22907"/>
                <a:gd name="connsiteY1" fmla="*/ 20002 h 33908"/>
                <a:gd name="connsiteX2" fmla="*/ 22908 w 22907"/>
                <a:gd name="connsiteY2" fmla="*/ 0 h 339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2907" h="33908">
                  <a:moveTo>
                    <a:pt x="0" y="33909"/>
                  </a:moveTo>
                  <a:lnTo>
                    <a:pt x="0" y="20002"/>
                  </a:lnTo>
                  <a:cubicBezTo>
                    <a:pt x="0" y="12763"/>
                    <a:pt x="9001" y="5620"/>
                    <a:pt x="22908" y="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586" name="Forma livre: Forma 585">
              <a:extLst>
                <a:ext uri="{FF2B5EF4-FFF2-40B4-BE49-F238E27FC236}">
                  <a16:creationId xmlns:a16="http://schemas.microsoft.com/office/drawing/2014/main" id="{069A0134-B1D7-1568-ABA3-CCC6FF3C7F5B}"/>
                </a:ext>
              </a:extLst>
            </p:cNvPr>
            <p:cNvSpPr/>
            <p:nvPr/>
          </p:nvSpPr>
          <p:spPr>
            <a:xfrm>
              <a:off x="6460839" y="1156954"/>
              <a:ext cx="114871" cy="4762"/>
            </a:xfrm>
            <a:custGeom>
              <a:avLst/>
              <a:gdLst>
                <a:gd name="connsiteX0" fmla="*/ 0 w 114871"/>
                <a:gd name="connsiteY0" fmla="*/ 0 h 4762"/>
                <a:gd name="connsiteX1" fmla="*/ 114872 w 114871"/>
                <a:gd name="connsiteY1" fmla="*/ 0 h 47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4871" h="4762">
                  <a:moveTo>
                    <a:pt x="0" y="0"/>
                  </a:moveTo>
                  <a:lnTo>
                    <a:pt x="114872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587" name="Forma livre: Forma 586">
              <a:extLst>
                <a:ext uri="{FF2B5EF4-FFF2-40B4-BE49-F238E27FC236}">
                  <a16:creationId xmlns:a16="http://schemas.microsoft.com/office/drawing/2014/main" id="{56CB36B1-3565-FC66-6F5C-30C76FA1E7C3}"/>
                </a:ext>
              </a:extLst>
            </p:cNvPr>
            <p:cNvSpPr/>
            <p:nvPr/>
          </p:nvSpPr>
          <p:spPr>
            <a:xfrm>
              <a:off x="6493557" y="1187862"/>
              <a:ext cx="81629" cy="4762"/>
            </a:xfrm>
            <a:custGeom>
              <a:avLst/>
              <a:gdLst>
                <a:gd name="connsiteX0" fmla="*/ 0 w 81629"/>
                <a:gd name="connsiteY0" fmla="*/ 0 h 4762"/>
                <a:gd name="connsiteX1" fmla="*/ 81629 w 81629"/>
                <a:gd name="connsiteY1" fmla="*/ 0 h 47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1629" h="4762">
                  <a:moveTo>
                    <a:pt x="0" y="0"/>
                  </a:moveTo>
                  <a:lnTo>
                    <a:pt x="81629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588" name="Forma livre: Forma 587">
              <a:extLst>
                <a:ext uri="{FF2B5EF4-FFF2-40B4-BE49-F238E27FC236}">
                  <a16:creationId xmlns:a16="http://schemas.microsoft.com/office/drawing/2014/main" id="{A8BEE5A7-F5BA-E61A-EE38-3E2228AAF235}"/>
                </a:ext>
              </a:extLst>
            </p:cNvPr>
            <p:cNvSpPr/>
            <p:nvPr/>
          </p:nvSpPr>
          <p:spPr>
            <a:xfrm>
              <a:off x="6493033" y="1157001"/>
              <a:ext cx="4762" cy="61150"/>
            </a:xfrm>
            <a:custGeom>
              <a:avLst/>
              <a:gdLst>
                <a:gd name="connsiteX0" fmla="*/ 0 w 4762"/>
                <a:gd name="connsiteY0" fmla="*/ 0 h 61150"/>
                <a:gd name="connsiteX1" fmla="*/ 0 w 4762"/>
                <a:gd name="connsiteY1" fmla="*/ 61150 h 61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762" h="61150">
                  <a:moveTo>
                    <a:pt x="0" y="0"/>
                  </a:moveTo>
                  <a:lnTo>
                    <a:pt x="0" y="6115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589" name="Gráfico 9">
            <a:extLst>
              <a:ext uri="{FF2B5EF4-FFF2-40B4-BE49-F238E27FC236}">
                <a16:creationId xmlns:a16="http://schemas.microsoft.com/office/drawing/2014/main" id="{9927ACBF-3A2A-EDA8-3296-3017B296AEB9}"/>
              </a:ext>
            </a:extLst>
          </p:cNvPr>
          <p:cNvGrpSpPr/>
          <p:nvPr/>
        </p:nvGrpSpPr>
        <p:grpSpPr>
          <a:xfrm>
            <a:off x="7033051" y="987028"/>
            <a:ext cx="209372" cy="338661"/>
            <a:chOff x="7033051" y="987028"/>
            <a:chExt cx="209372" cy="338661"/>
          </a:xfrm>
          <a:noFill/>
        </p:grpSpPr>
        <p:sp>
          <p:nvSpPr>
            <p:cNvPr id="590" name="Forma livre: Forma 589">
              <a:extLst>
                <a:ext uri="{FF2B5EF4-FFF2-40B4-BE49-F238E27FC236}">
                  <a16:creationId xmlns:a16="http://schemas.microsoft.com/office/drawing/2014/main" id="{55A54E94-9739-727C-939B-DB2CB62D3CCE}"/>
                </a:ext>
              </a:extLst>
            </p:cNvPr>
            <p:cNvSpPr/>
            <p:nvPr/>
          </p:nvSpPr>
          <p:spPr>
            <a:xfrm>
              <a:off x="7033051" y="987028"/>
              <a:ext cx="115111" cy="99204"/>
            </a:xfrm>
            <a:custGeom>
              <a:avLst/>
              <a:gdLst>
                <a:gd name="connsiteX0" fmla="*/ 38912 w 115111"/>
                <a:gd name="connsiteY0" fmla="*/ 98584 h 99204"/>
                <a:gd name="connsiteX1" fmla="*/ 7194 w 115111"/>
                <a:gd name="connsiteY1" fmla="*/ 78343 h 99204"/>
                <a:gd name="connsiteX2" fmla="*/ 621 w 115111"/>
                <a:gd name="connsiteY2" fmla="*/ 48720 h 99204"/>
                <a:gd name="connsiteX3" fmla="*/ 20862 w 115111"/>
                <a:gd name="connsiteY3" fmla="*/ 17002 h 99204"/>
                <a:gd name="connsiteX4" fmla="*/ 97062 w 115111"/>
                <a:gd name="connsiteY4" fmla="*/ 0 h 99204"/>
                <a:gd name="connsiteX5" fmla="*/ 115112 w 115111"/>
                <a:gd name="connsiteY5" fmla="*/ 81582 h 99204"/>
                <a:gd name="connsiteX6" fmla="*/ 38912 w 115111"/>
                <a:gd name="connsiteY6" fmla="*/ 98584 h 992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15111" h="99204">
                  <a:moveTo>
                    <a:pt x="38912" y="98584"/>
                  </a:moveTo>
                  <a:cubicBezTo>
                    <a:pt x="24624" y="101727"/>
                    <a:pt x="10337" y="92631"/>
                    <a:pt x="7194" y="78343"/>
                  </a:cubicBezTo>
                  <a:lnTo>
                    <a:pt x="621" y="48720"/>
                  </a:lnTo>
                  <a:cubicBezTo>
                    <a:pt x="-2522" y="34433"/>
                    <a:pt x="6574" y="20145"/>
                    <a:pt x="20862" y="17002"/>
                  </a:cubicBezTo>
                  <a:lnTo>
                    <a:pt x="97062" y="0"/>
                  </a:lnTo>
                  <a:lnTo>
                    <a:pt x="115112" y="81582"/>
                  </a:lnTo>
                  <a:lnTo>
                    <a:pt x="38912" y="98584"/>
                  </a:ln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591" name="Forma livre: Forma 590">
              <a:extLst>
                <a:ext uri="{FF2B5EF4-FFF2-40B4-BE49-F238E27FC236}">
                  <a16:creationId xmlns:a16="http://schemas.microsoft.com/office/drawing/2014/main" id="{74EAD563-2F67-69C5-A582-B1DA79F0A96A}"/>
                </a:ext>
              </a:extLst>
            </p:cNvPr>
            <p:cNvSpPr/>
            <p:nvPr/>
          </p:nvSpPr>
          <p:spPr>
            <a:xfrm>
              <a:off x="7152592" y="990028"/>
              <a:ext cx="89831" cy="65103"/>
            </a:xfrm>
            <a:custGeom>
              <a:avLst/>
              <a:gdLst>
                <a:gd name="connsiteX0" fmla="*/ 15002 w 89831"/>
                <a:gd name="connsiteY0" fmla="*/ 65103 h 65103"/>
                <a:gd name="connsiteX1" fmla="*/ 28242 w 89831"/>
                <a:gd name="connsiteY1" fmla="*/ 44196 h 65103"/>
                <a:gd name="connsiteX2" fmla="*/ 87535 w 89831"/>
                <a:gd name="connsiteY2" fmla="*/ 24813 h 65103"/>
                <a:gd name="connsiteX3" fmla="*/ 89678 w 89831"/>
                <a:gd name="connsiteY3" fmla="*/ 14240 h 65103"/>
                <a:gd name="connsiteX4" fmla="*/ 82867 w 89831"/>
                <a:gd name="connsiteY4" fmla="*/ 6572 h 65103"/>
                <a:gd name="connsiteX5" fmla="*/ 21288 w 89831"/>
                <a:gd name="connsiteY5" fmla="*/ 12859 h 65103"/>
                <a:gd name="connsiteX6" fmla="*/ 0 w 89831"/>
                <a:gd name="connsiteY6" fmla="*/ 0 h 651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9831" h="65103">
                  <a:moveTo>
                    <a:pt x="15002" y="65103"/>
                  </a:moveTo>
                  <a:cubicBezTo>
                    <a:pt x="15002" y="65103"/>
                    <a:pt x="22812" y="55007"/>
                    <a:pt x="28242" y="44196"/>
                  </a:cubicBezTo>
                  <a:cubicBezTo>
                    <a:pt x="31147" y="42910"/>
                    <a:pt x="87535" y="24813"/>
                    <a:pt x="87535" y="24813"/>
                  </a:cubicBezTo>
                  <a:cubicBezTo>
                    <a:pt x="87535" y="24813"/>
                    <a:pt x="90535" y="18002"/>
                    <a:pt x="89678" y="14240"/>
                  </a:cubicBezTo>
                  <a:cubicBezTo>
                    <a:pt x="88821" y="10477"/>
                    <a:pt x="82867" y="6572"/>
                    <a:pt x="82867" y="6572"/>
                  </a:cubicBezTo>
                  <a:cubicBezTo>
                    <a:pt x="82867" y="6572"/>
                    <a:pt x="24479" y="12811"/>
                    <a:pt x="21288" y="12859"/>
                  </a:cubicBezTo>
                  <a:cubicBezTo>
                    <a:pt x="11716" y="5191"/>
                    <a:pt x="0" y="0"/>
                    <a:pt x="0" y="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592" name="Forma livre: Forma 591">
              <a:extLst>
                <a:ext uri="{FF2B5EF4-FFF2-40B4-BE49-F238E27FC236}">
                  <a16:creationId xmlns:a16="http://schemas.microsoft.com/office/drawing/2014/main" id="{7B55603E-0514-9D5B-5123-D1EBC7349DD6}"/>
                </a:ext>
              </a:extLst>
            </p:cNvPr>
            <p:cNvSpPr/>
            <p:nvPr/>
          </p:nvSpPr>
          <p:spPr>
            <a:xfrm>
              <a:off x="7068772" y="1139047"/>
              <a:ext cx="79867" cy="186642"/>
            </a:xfrm>
            <a:custGeom>
              <a:avLst/>
              <a:gdLst>
                <a:gd name="connsiteX0" fmla="*/ 79867 w 79867"/>
                <a:gd name="connsiteY0" fmla="*/ 171021 h 186642"/>
                <a:gd name="connsiteX1" fmla="*/ 64246 w 79867"/>
                <a:gd name="connsiteY1" fmla="*/ 186642 h 186642"/>
                <a:gd name="connsiteX2" fmla="*/ 15621 w 79867"/>
                <a:gd name="connsiteY2" fmla="*/ 186642 h 186642"/>
                <a:gd name="connsiteX3" fmla="*/ 0 w 79867"/>
                <a:gd name="connsiteY3" fmla="*/ 171021 h 186642"/>
                <a:gd name="connsiteX4" fmla="*/ 0 w 79867"/>
                <a:gd name="connsiteY4" fmla="*/ 0 h 186642"/>
                <a:gd name="connsiteX5" fmla="*/ 79867 w 79867"/>
                <a:gd name="connsiteY5" fmla="*/ 0 h 186642"/>
                <a:gd name="connsiteX6" fmla="*/ 79867 w 79867"/>
                <a:gd name="connsiteY6" fmla="*/ 171021 h 1866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9867" h="186642">
                  <a:moveTo>
                    <a:pt x="79867" y="171021"/>
                  </a:moveTo>
                  <a:cubicBezTo>
                    <a:pt x="79867" y="179594"/>
                    <a:pt x="72819" y="186642"/>
                    <a:pt x="64246" y="186642"/>
                  </a:cubicBezTo>
                  <a:lnTo>
                    <a:pt x="15621" y="186642"/>
                  </a:lnTo>
                  <a:cubicBezTo>
                    <a:pt x="7049" y="186642"/>
                    <a:pt x="0" y="179594"/>
                    <a:pt x="0" y="171021"/>
                  </a:cubicBezTo>
                  <a:lnTo>
                    <a:pt x="0" y="0"/>
                  </a:lnTo>
                  <a:lnTo>
                    <a:pt x="79867" y="0"/>
                  </a:lnTo>
                  <a:lnTo>
                    <a:pt x="79867" y="171021"/>
                  </a:ln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593" name="Gráfico 9">
              <a:extLst>
                <a:ext uri="{FF2B5EF4-FFF2-40B4-BE49-F238E27FC236}">
                  <a16:creationId xmlns:a16="http://schemas.microsoft.com/office/drawing/2014/main" id="{AD47F120-96E9-D108-4552-EF49C4D06B50}"/>
                </a:ext>
              </a:extLst>
            </p:cNvPr>
            <p:cNvGrpSpPr/>
            <p:nvPr/>
          </p:nvGrpSpPr>
          <p:grpSpPr>
            <a:xfrm>
              <a:off x="7092585" y="1073705"/>
              <a:ext cx="32242" cy="64436"/>
              <a:chOff x="7092585" y="1073705"/>
              <a:chExt cx="32242" cy="64436"/>
            </a:xfrm>
          </p:grpSpPr>
          <p:sp>
            <p:nvSpPr>
              <p:cNvPr id="594" name="Forma livre: Forma 593">
                <a:extLst>
                  <a:ext uri="{FF2B5EF4-FFF2-40B4-BE49-F238E27FC236}">
                    <a16:creationId xmlns:a16="http://schemas.microsoft.com/office/drawing/2014/main" id="{8A825B62-598A-A996-598E-9B0990D6FCD0}"/>
                  </a:ext>
                </a:extLst>
              </p:cNvPr>
              <p:cNvSpPr/>
              <p:nvPr/>
            </p:nvSpPr>
            <p:spPr>
              <a:xfrm>
                <a:off x="7092585" y="1103090"/>
                <a:ext cx="4762" cy="35051"/>
              </a:xfrm>
              <a:custGeom>
                <a:avLst/>
                <a:gdLst>
                  <a:gd name="connsiteX0" fmla="*/ 0 w 4762"/>
                  <a:gd name="connsiteY0" fmla="*/ 0 h 35051"/>
                  <a:gd name="connsiteX1" fmla="*/ 0 w 4762"/>
                  <a:gd name="connsiteY1" fmla="*/ 35052 h 350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62" h="35051">
                    <a:moveTo>
                      <a:pt x="0" y="0"/>
                    </a:moveTo>
                    <a:lnTo>
                      <a:pt x="0" y="35052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95" name="Forma livre: Forma 594">
                <a:extLst>
                  <a:ext uri="{FF2B5EF4-FFF2-40B4-BE49-F238E27FC236}">
                    <a16:creationId xmlns:a16="http://schemas.microsoft.com/office/drawing/2014/main" id="{1C851E8C-0FC8-CC44-E1C5-3DA69BD4E9C7}"/>
                  </a:ext>
                </a:extLst>
              </p:cNvPr>
              <p:cNvSpPr/>
              <p:nvPr/>
            </p:nvSpPr>
            <p:spPr>
              <a:xfrm>
                <a:off x="7124827" y="1073705"/>
                <a:ext cx="4762" cy="64436"/>
              </a:xfrm>
              <a:custGeom>
                <a:avLst/>
                <a:gdLst>
                  <a:gd name="connsiteX0" fmla="*/ 0 w 4762"/>
                  <a:gd name="connsiteY0" fmla="*/ 0 h 64436"/>
                  <a:gd name="connsiteX1" fmla="*/ 0 w 4762"/>
                  <a:gd name="connsiteY1" fmla="*/ 64437 h 644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62" h="64436">
                    <a:moveTo>
                      <a:pt x="0" y="0"/>
                    </a:moveTo>
                    <a:lnTo>
                      <a:pt x="0" y="64437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596" name="Forma livre: Forma 595">
              <a:extLst>
                <a:ext uri="{FF2B5EF4-FFF2-40B4-BE49-F238E27FC236}">
                  <a16:creationId xmlns:a16="http://schemas.microsoft.com/office/drawing/2014/main" id="{AB9EA2BC-E81E-9ABD-82E0-F202BE53A671}"/>
                </a:ext>
              </a:extLst>
            </p:cNvPr>
            <p:cNvSpPr/>
            <p:nvPr/>
          </p:nvSpPr>
          <p:spPr>
            <a:xfrm>
              <a:off x="7065057" y="1023175"/>
              <a:ext cx="13525" cy="61007"/>
            </a:xfrm>
            <a:custGeom>
              <a:avLst/>
              <a:gdLst>
                <a:gd name="connsiteX0" fmla="*/ 13526 w 13525"/>
                <a:gd name="connsiteY0" fmla="*/ 61008 h 61007"/>
                <a:gd name="connsiteX1" fmla="*/ 0 w 13525"/>
                <a:gd name="connsiteY1" fmla="*/ 0 h 610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3525" h="61007">
                  <a:moveTo>
                    <a:pt x="13526" y="61008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597" name="Forma livre: Forma 596">
              <a:extLst>
                <a:ext uri="{FF2B5EF4-FFF2-40B4-BE49-F238E27FC236}">
                  <a16:creationId xmlns:a16="http://schemas.microsoft.com/office/drawing/2014/main" id="{A73D44D4-4705-4986-B9AA-1F080BD37937}"/>
                </a:ext>
              </a:extLst>
            </p:cNvPr>
            <p:cNvSpPr/>
            <p:nvPr/>
          </p:nvSpPr>
          <p:spPr>
            <a:xfrm>
              <a:off x="7092108" y="1284874"/>
              <a:ext cx="54006" cy="4762"/>
            </a:xfrm>
            <a:custGeom>
              <a:avLst/>
              <a:gdLst>
                <a:gd name="connsiteX0" fmla="*/ 0 w 54006"/>
                <a:gd name="connsiteY0" fmla="*/ 0 h 4762"/>
                <a:gd name="connsiteX1" fmla="*/ 54007 w 54006"/>
                <a:gd name="connsiteY1" fmla="*/ 0 h 47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4006" h="4762">
                  <a:moveTo>
                    <a:pt x="0" y="0"/>
                  </a:moveTo>
                  <a:lnTo>
                    <a:pt x="54007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598" name="Gráfico 9">
            <a:extLst>
              <a:ext uri="{FF2B5EF4-FFF2-40B4-BE49-F238E27FC236}">
                <a16:creationId xmlns:a16="http://schemas.microsoft.com/office/drawing/2014/main" id="{437F44B0-9A6C-D026-F50B-3432675AA062}"/>
              </a:ext>
            </a:extLst>
          </p:cNvPr>
          <p:cNvGrpSpPr/>
          <p:nvPr/>
        </p:nvGrpSpPr>
        <p:grpSpPr>
          <a:xfrm>
            <a:off x="7607792" y="1013221"/>
            <a:ext cx="298755" cy="286226"/>
            <a:chOff x="7607792" y="1013221"/>
            <a:chExt cx="298755" cy="286226"/>
          </a:xfrm>
          <a:noFill/>
        </p:grpSpPr>
        <p:sp>
          <p:nvSpPr>
            <p:cNvPr id="599" name="Forma livre: Forma 598">
              <a:extLst>
                <a:ext uri="{FF2B5EF4-FFF2-40B4-BE49-F238E27FC236}">
                  <a16:creationId xmlns:a16="http://schemas.microsoft.com/office/drawing/2014/main" id="{4FBAEC10-6EF0-8B44-1D01-CC7B6DF13D84}"/>
                </a:ext>
              </a:extLst>
            </p:cNvPr>
            <p:cNvSpPr/>
            <p:nvPr/>
          </p:nvSpPr>
          <p:spPr>
            <a:xfrm>
              <a:off x="7640272" y="1034438"/>
              <a:ext cx="266275" cy="265009"/>
            </a:xfrm>
            <a:custGeom>
              <a:avLst/>
              <a:gdLst>
                <a:gd name="connsiteX0" fmla="*/ 150400 w 266275"/>
                <a:gd name="connsiteY0" fmla="*/ 19312 h 265009"/>
                <a:gd name="connsiteX1" fmla="*/ 161354 w 266275"/>
                <a:gd name="connsiteY1" fmla="*/ 9168 h 265009"/>
                <a:gd name="connsiteX2" fmla="*/ 244078 w 266275"/>
                <a:gd name="connsiteY2" fmla="*/ 36314 h 265009"/>
                <a:gd name="connsiteX3" fmla="*/ 238411 w 266275"/>
                <a:gd name="connsiteY3" fmla="*/ 203383 h 265009"/>
                <a:gd name="connsiteX4" fmla="*/ 130540 w 266275"/>
                <a:gd name="connsiteY4" fmla="*/ 265009 h 265009"/>
                <a:gd name="connsiteX5" fmla="*/ 59198 w 266275"/>
                <a:gd name="connsiteY5" fmla="*/ 217956 h 265009"/>
                <a:gd name="connsiteX6" fmla="*/ 26765 w 266275"/>
                <a:gd name="connsiteY6" fmla="*/ 192810 h 265009"/>
                <a:gd name="connsiteX7" fmla="*/ 0 w 266275"/>
                <a:gd name="connsiteY7" fmla="*/ 243102 h 2650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66275" h="265009">
                  <a:moveTo>
                    <a:pt x="150400" y="19312"/>
                  </a:moveTo>
                  <a:cubicBezTo>
                    <a:pt x="154448" y="14454"/>
                    <a:pt x="156258" y="12787"/>
                    <a:pt x="161354" y="9168"/>
                  </a:cubicBezTo>
                  <a:cubicBezTo>
                    <a:pt x="171069" y="2262"/>
                    <a:pt x="209169" y="-17169"/>
                    <a:pt x="244078" y="36314"/>
                  </a:cubicBezTo>
                  <a:cubicBezTo>
                    <a:pt x="244078" y="36314"/>
                    <a:pt x="297609" y="115800"/>
                    <a:pt x="238411" y="203383"/>
                  </a:cubicBezTo>
                  <a:cubicBezTo>
                    <a:pt x="238411" y="203383"/>
                    <a:pt x="195405" y="265009"/>
                    <a:pt x="130540" y="265009"/>
                  </a:cubicBezTo>
                  <a:cubicBezTo>
                    <a:pt x="130540" y="265009"/>
                    <a:pt x="75819" y="264628"/>
                    <a:pt x="59198" y="217956"/>
                  </a:cubicBezTo>
                  <a:cubicBezTo>
                    <a:pt x="55721" y="208240"/>
                    <a:pt x="50673" y="192429"/>
                    <a:pt x="26765" y="192810"/>
                  </a:cubicBezTo>
                  <a:cubicBezTo>
                    <a:pt x="16621" y="193000"/>
                    <a:pt x="0" y="195667"/>
                    <a:pt x="0" y="243102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00" name="Forma livre: Forma 599">
              <a:extLst>
                <a:ext uri="{FF2B5EF4-FFF2-40B4-BE49-F238E27FC236}">
                  <a16:creationId xmlns:a16="http://schemas.microsoft.com/office/drawing/2014/main" id="{620EC1EE-4BB9-62FC-0A95-3E33D86293FA}"/>
                </a:ext>
              </a:extLst>
            </p:cNvPr>
            <p:cNvSpPr/>
            <p:nvPr/>
          </p:nvSpPr>
          <p:spPr>
            <a:xfrm>
              <a:off x="7744388" y="1013221"/>
              <a:ext cx="50331" cy="67722"/>
            </a:xfrm>
            <a:custGeom>
              <a:avLst/>
              <a:gdLst>
                <a:gd name="connsiteX0" fmla="*/ 1278 w 50331"/>
                <a:gd name="connsiteY0" fmla="*/ 0 h 67722"/>
                <a:gd name="connsiteX1" fmla="*/ 50331 w 50331"/>
                <a:gd name="connsiteY1" fmla="*/ 67723 h 677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0331" h="67722">
                  <a:moveTo>
                    <a:pt x="1278" y="0"/>
                  </a:moveTo>
                  <a:cubicBezTo>
                    <a:pt x="1278" y="0"/>
                    <a:pt x="-12486" y="47434"/>
                    <a:pt x="50331" y="67723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01" name="Forma livre: Forma 600">
              <a:extLst>
                <a:ext uri="{FF2B5EF4-FFF2-40B4-BE49-F238E27FC236}">
                  <a16:creationId xmlns:a16="http://schemas.microsoft.com/office/drawing/2014/main" id="{61C8B281-F2FB-1618-6AEF-796D5812BDD4}"/>
                </a:ext>
              </a:extLst>
            </p:cNvPr>
            <p:cNvSpPr/>
            <p:nvPr/>
          </p:nvSpPr>
          <p:spPr>
            <a:xfrm>
              <a:off x="7607792" y="1013221"/>
              <a:ext cx="160203" cy="264794"/>
            </a:xfrm>
            <a:custGeom>
              <a:avLst/>
              <a:gdLst>
                <a:gd name="connsiteX0" fmla="*/ 103013 w 160203"/>
                <a:gd name="connsiteY0" fmla="*/ 0 h 264794"/>
                <a:gd name="connsiteX1" fmla="*/ 120444 w 160203"/>
                <a:gd name="connsiteY1" fmla="*/ 63913 h 264794"/>
                <a:gd name="connsiteX2" fmla="*/ 157353 w 160203"/>
                <a:gd name="connsiteY2" fmla="*/ 142732 h 264794"/>
                <a:gd name="connsiteX3" fmla="*/ 98155 w 160203"/>
                <a:gd name="connsiteY3" fmla="*/ 187738 h 264794"/>
                <a:gd name="connsiteX4" fmla="*/ 55578 w 160203"/>
                <a:gd name="connsiteY4" fmla="*/ 179356 h 264794"/>
                <a:gd name="connsiteX5" fmla="*/ 0 w 160203"/>
                <a:gd name="connsiteY5" fmla="*/ 264795 h 2647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60203" h="264794">
                  <a:moveTo>
                    <a:pt x="103013" y="0"/>
                  </a:moveTo>
                  <a:cubicBezTo>
                    <a:pt x="103013" y="0"/>
                    <a:pt x="92488" y="39338"/>
                    <a:pt x="120444" y="63913"/>
                  </a:cubicBezTo>
                  <a:cubicBezTo>
                    <a:pt x="135779" y="77391"/>
                    <a:pt x="170307" y="106251"/>
                    <a:pt x="157353" y="142732"/>
                  </a:cubicBezTo>
                  <a:cubicBezTo>
                    <a:pt x="149352" y="165211"/>
                    <a:pt x="126540" y="197834"/>
                    <a:pt x="98155" y="187738"/>
                  </a:cubicBezTo>
                  <a:cubicBezTo>
                    <a:pt x="79915" y="181261"/>
                    <a:pt x="68532" y="179356"/>
                    <a:pt x="55578" y="179356"/>
                  </a:cubicBezTo>
                  <a:cubicBezTo>
                    <a:pt x="46673" y="179356"/>
                    <a:pt x="0" y="183690"/>
                    <a:pt x="0" y="264795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602" name="Gráfico 9">
            <a:extLst>
              <a:ext uri="{FF2B5EF4-FFF2-40B4-BE49-F238E27FC236}">
                <a16:creationId xmlns:a16="http://schemas.microsoft.com/office/drawing/2014/main" id="{DE10D1CA-161E-51CB-16FB-D30945953F7A}"/>
              </a:ext>
            </a:extLst>
          </p:cNvPr>
          <p:cNvGrpSpPr/>
          <p:nvPr/>
        </p:nvGrpSpPr>
        <p:grpSpPr>
          <a:xfrm>
            <a:off x="6421541" y="1525476"/>
            <a:ext cx="193551" cy="332517"/>
            <a:chOff x="6421541" y="1525476"/>
            <a:chExt cx="193551" cy="332517"/>
          </a:xfrm>
          <a:noFill/>
        </p:grpSpPr>
        <p:sp>
          <p:nvSpPr>
            <p:cNvPr id="603" name="Forma livre: Forma 602">
              <a:extLst>
                <a:ext uri="{FF2B5EF4-FFF2-40B4-BE49-F238E27FC236}">
                  <a16:creationId xmlns:a16="http://schemas.microsoft.com/office/drawing/2014/main" id="{D09F3577-F793-3B8F-B99E-557538B6AEC6}"/>
                </a:ext>
              </a:extLst>
            </p:cNvPr>
            <p:cNvSpPr/>
            <p:nvPr/>
          </p:nvSpPr>
          <p:spPr>
            <a:xfrm>
              <a:off x="6500897" y="1788604"/>
              <a:ext cx="47942" cy="69389"/>
            </a:xfrm>
            <a:custGeom>
              <a:avLst/>
              <a:gdLst>
                <a:gd name="connsiteX0" fmla="*/ 39619 w 47942"/>
                <a:gd name="connsiteY0" fmla="*/ 24194 h 69389"/>
                <a:gd name="connsiteX1" fmla="*/ 23569 w 47942"/>
                <a:gd name="connsiteY1" fmla="*/ 0 h 69389"/>
                <a:gd name="connsiteX2" fmla="*/ 8139 w 47942"/>
                <a:gd name="connsiteY2" fmla="*/ 24194 h 69389"/>
                <a:gd name="connsiteX3" fmla="*/ 23855 w 47942"/>
                <a:gd name="connsiteY3" fmla="*/ 69390 h 69389"/>
                <a:gd name="connsiteX4" fmla="*/ 39571 w 47942"/>
                <a:gd name="connsiteY4" fmla="*/ 24146 h 693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7942" h="69389">
                  <a:moveTo>
                    <a:pt x="39619" y="24194"/>
                  </a:moveTo>
                  <a:cubicBezTo>
                    <a:pt x="25331" y="7429"/>
                    <a:pt x="23712" y="857"/>
                    <a:pt x="23569" y="0"/>
                  </a:cubicBezTo>
                  <a:cubicBezTo>
                    <a:pt x="23426" y="810"/>
                    <a:pt x="22045" y="7001"/>
                    <a:pt x="8139" y="24194"/>
                  </a:cubicBezTo>
                  <a:cubicBezTo>
                    <a:pt x="-8006" y="44196"/>
                    <a:pt x="1233" y="68247"/>
                    <a:pt x="23855" y="69390"/>
                  </a:cubicBezTo>
                  <a:cubicBezTo>
                    <a:pt x="46477" y="68247"/>
                    <a:pt x="56240" y="43767"/>
                    <a:pt x="39571" y="24146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04" name="Forma livre: Forma 603">
              <a:extLst>
                <a:ext uri="{FF2B5EF4-FFF2-40B4-BE49-F238E27FC236}">
                  <a16:creationId xmlns:a16="http://schemas.microsoft.com/office/drawing/2014/main" id="{F98B66E9-425A-40CF-FA89-87FC1E579465}"/>
                </a:ext>
              </a:extLst>
            </p:cNvPr>
            <p:cNvSpPr/>
            <p:nvPr/>
          </p:nvSpPr>
          <p:spPr>
            <a:xfrm>
              <a:off x="6473552" y="1525476"/>
              <a:ext cx="141541" cy="264366"/>
            </a:xfrm>
            <a:custGeom>
              <a:avLst/>
              <a:gdLst>
                <a:gd name="connsiteX0" fmla="*/ 3 w 141541"/>
                <a:gd name="connsiteY0" fmla="*/ 0 h 264366"/>
                <a:gd name="connsiteX1" fmla="*/ 23816 w 141541"/>
                <a:gd name="connsiteY1" fmla="*/ 46053 h 264366"/>
                <a:gd name="connsiteX2" fmla="*/ 138116 w 141541"/>
                <a:gd name="connsiteY2" fmla="*/ 188214 h 264366"/>
                <a:gd name="connsiteX3" fmla="*/ 134925 w 141541"/>
                <a:gd name="connsiteY3" fmla="*/ 241173 h 264366"/>
                <a:gd name="connsiteX4" fmla="*/ 87300 w 141541"/>
                <a:gd name="connsiteY4" fmla="*/ 264366 h 2643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1541" h="264366">
                  <a:moveTo>
                    <a:pt x="3" y="0"/>
                  </a:moveTo>
                  <a:cubicBezTo>
                    <a:pt x="3" y="0"/>
                    <a:pt x="-807" y="19860"/>
                    <a:pt x="23816" y="46053"/>
                  </a:cubicBezTo>
                  <a:lnTo>
                    <a:pt x="138116" y="188214"/>
                  </a:lnTo>
                  <a:cubicBezTo>
                    <a:pt x="138116" y="188214"/>
                    <a:pt x="147641" y="212598"/>
                    <a:pt x="134925" y="241173"/>
                  </a:cubicBezTo>
                  <a:cubicBezTo>
                    <a:pt x="134925" y="241173"/>
                    <a:pt x="114303" y="258366"/>
                    <a:pt x="87300" y="264366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05" name="Forma livre: Forma 604">
              <a:extLst>
                <a:ext uri="{FF2B5EF4-FFF2-40B4-BE49-F238E27FC236}">
                  <a16:creationId xmlns:a16="http://schemas.microsoft.com/office/drawing/2014/main" id="{06797193-5A64-CF71-11CD-D2DEAA961EF0}"/>
                </a:ext>
              </a:extLst>
            </p:cNvPr>
            <p:cNvSpPr/>
            <p:nvPr/>
          </p:nvSpPr>
          <p:spPr>
            <a:xfrm>
              <a:off x="6421541" y="1714356"/>
              <a:ext cx="140197" cy="82661"/>
            </a:xfrm>
            <a:custGeom>
              <a:avLst/>
              <a:gdLst>
                <a:gd name="connsiteX0" fmla="*/ 20677 w 140197"/>
                <a:gd name="connsiteY0" fmla="*/ 0 h 82661"/>
                <a:gd name="connsiteX1" fmla="*/ 7723 w 140197"/>
                <a:gd name="connsiteY1" fmla="*/ 63484 h 82661"/>
                <a:gd name="connsiteX2" fmla="*/ 65492 w 140197"/>
                <a:gd name="connsiteY2" fmla="*/ 68628 h 82661"/>
                <a:gd name="connsiteX3" fmla="*/ 134691 w 140197"/>
                <a:gd name="connsiteY3" fmla="*/ 41053 h 82661"/>
                <a:gd name="connsiteX4" fmla="*/ 138834 w 140197"/>
                <a:gd name="connsiteY4" fmla="*/ 54340 h 826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0197" h="82661">
                  <a:moveTo>
                    <a:pt x="20677" y="0"/>
                  </a:moveTo>
                  <a:cubicBezTo>
                    <a:pt x="-16423" y="27242"/>
                    <a:pt x="7723" y="63484"/>
                    <a:pt x="7723" y="63484"/>
                  </a:cubicBezTo>
                  <a:cubicBezTo>
                    <a:pt x="29678" y="103394"/>
                    <a:pt x="65492" y="68628"/>
                    <a:pt x="65492" y="68628"/>
                  </a:cubicBezTo>
                  <a:cubicBezTo>
                    <a:pt x="109116" y="29908"/>
                    <a:pt x="134691" y="41053"/>
                    <a:pt x="134691" y="41053"/>
                  </a:cubicBezTo>
                  <a:cubicBezTo>
                    <a:pt x="134691" y="41053"/>
                    <a:pt x="143501" y="44815"/>
                    <a:pt x="138834" y="5434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606" name="Gráfico 9">
            <a:extLst>
              <a:ext uri="{FF2B5EF4-FFF2-40B4-BE49-F238E27FC236}">
                <a16:creationId xmlns:a16="http://schemas.microsoft.com/office/drawing/2014/main" id="{11CDC270-2FAC-B6B8-4AC6-131BBD7C1CB4}"/>
              </a:ext>
            </a:extLst>
          </p:cNvPr>
          <p:cNvGrpSpPr/>
          <p:nvPr/>
        </p:nvGrpSpPr>
        <p:grpSpPr>
          <a:xfrm>
            <a:off x="7007479" y="1526666"/>
            <a:ext cx="260556" cy="319373"/>
            <a:chOff x="7007479" y="1526666"/>
            <a:chExt cx="260556" cy="319373"/>
          </a:xfrm>
          <a:noFill/>
        </p:grpSpPr>
        <p:sp>
          <p:nvSpPr>
            <p:cNvPr id="607" name="Forma livre: Forma 606">
              <a:extLst>
                <a:ext uri="{FF2B5EF4-FFF2-40B4-BE49-F238E27FC236}">
                  <a16:creationId xmlns:a16="http://schemas.microsoft.com/office/drawing/2014/main" id="{74DC0F15-5F36-5987-1D99-4BB74046A301}"/>
                </a:ext>
              </a:extLst>
            </p:cNvPr>
            <p:cNvSpPr/>
            <p:nvPr/>
          </p:nvSpPr>
          <p:spPr>
            <a:xfrm>
              <a:off x="7066248" y="1682305"/>
              <a:ext cx="97202" cy="90392"/>
            </a:xfrm>
            <a:custGeom>
              <a:avLst/>
              <a:gdLst>
                <a:gd name="connsiteX0" fmla="*/ 97203 w 97202"/>
                <a:gd name="connsiteY0" fmla="*/ 90392 h 90392"/>
                <a:gd name="connsiteX1" fmla="*/ 0 w 97202"/>
                <a:gd name="connsiteY1" fmla="*/ 90392 h 90392"/>
                <a:gd name="connsiteX2" fmla="*/ 0 w 97202"/>
                <a:gd name="connsiteY2" fmla="*/ 0 h 90392"/>
                <a:gd name="connsiteX3" fmla="*/ 97203 w 97202"/>
                <a:gd name="connsiteY3" fmla="*/ 0 h 903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7202" h="90392">
                  <a:moveTo>
                    <a:pt x="97203" y="90392"/>
                  </a:moveTo>
                  <a:lnTo>
                    <a:pt x="0" y="90392"/>
                  </a:lnTo>
                  <a:lnTo>
                    <a:pt x="0" y="0"/>
                  </a:lnTo>
                  <a:lnTo>
                    <a:pt x="97203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608" name="Gráfico 9">
              <a:extLst>
                <a:ext uri="{FF2B5EF4-FFF2-40B4-BE49-F238E27FC236}">
                  <a16:creationId xmlns:a16="http://schemas.microsoft.com/office/drawing/2014/main" id="{F5630813-5DAC-67F5-2BF6-C94E66464C3D}"/>
                </a:ext>
              </a:extLst>
            </p:cNvPr>
            <p:cNvGrpSpPr/>
            <p:nvPr/>
          </p:nvGrpSpPr>
          <p:grpSpPr>
            <a:xfrm>
              <a:off x="7091727" y="1714023"/>
              <a:ext cx="54578" cy="27003"/>
              <a:chOff x="7091727" y="1714023"/>
              <a:chExt cx="54578" cy="27003"/>
            </a:xfrm>
          </p:grpSpPr>
          <p:sp>
            <p:nvSpPr>
              <p:cNvPr id="609" name="Forma livre: Forma 608">
                <a:extLst>
                  <a:ext uri="{FF2B5EF4-FFF2-40B4-BE49-F238E27FC236}">
                    <a16:creationId xmlns:a16="http://schemas.microsoft.com/office/drawing/2014/main" id="{3CBAE060-7EBF-EE85-1469-BD1F584D6AEE}"/>
                  </a:ext>
                </a:extLst>
              </p:cNvPr>
              <p:cNvSpPr/>
              <p:nvPr/>
            </p:nvSpPr>
            <p:spPr>
              <a:xfrm>
                <a:off x="7091727" y="1741026"/>
                <a:ext cx="54578" cy="4762"/>
              </a:xfrm>
              <a:custGeom>
                <a:avLst/>
                <a:gdLst>
                  <a:gd name="connsiteX0" fmla="*/ 54578 w 54578"/>
                  <a:gd name="connsiteY0" fmla="*/ 0 h 4762"/>
                  <a:gd name="connsiteX1" fmla="*/ 0 w 54578"/>
                  <a:gd name="connsiteY1" fmla="*/ 0 h 47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4578" h="4762">
                    <a:moveTo>
                      <a:pt x="54578" y="0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610" name="Forma livre: Forma 609">
                <a:extLst>
                  <a:ext uri="{FF2B5EF4-FFF2-40B4-BE49-F238E27FC236}">
                    <a16:creationId xmlns:a16="http://schemas.microsoft.com/office/drawing/2014/main" id="{F8AF4B19-06DE-C0D3-580F-13B394B58E2D}"/>
                  </a:ext>
                </a:extLst>
              </p:cNvPr>
              <p:cNvSpPr/>
              <p:nvPr/>
            </p:nvSpPr>
            <p:spPr>
              <a:xfrm>
                <a:off x="7091727" y="1714023"/>
                <a:ext cx="54578" cy="4762"/>
              </a:xfrm>
              <a:custGeom>
                <a:avLst/>
                <a:gdLst>
                  <a:gd name="connsiteX0" fmla="*/ 54578 w 54578"/>
                  <a:gd name="connsiteY0" fmla="*/ 0 h 4762"/>
                  <a:gd name="connsiteX1" fmla="*/ 0 w 54578"/>
                  <a:gd name="connsiteY1" fmla="*/ 0 h 47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4578" h="4762">
                    <a:moveTo>
                      <a:pt x="54578" y="0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611" name="Forma livre: Forma 610">
              <a:extLst>
                <a:ext uri="{FF2B5EF4-FFF2-40B4-BE49-F238E27FC236}">
                  <a16:creationId xmlns:a16="http://schemas.microsoft.com/office/drawing/2014/main" id="{601E2416-30D9-AB1B-7C5C-14A1A582F5AD}"/>
                </a:ext>
              </a:extLst>
            </p:cNvPr>
            <p:cNvSpPr/>
            <p:nvPr/>
          </p:nvSpPr>
          <p:spPr>
            <a:xfrm>
              <a:off x="7007479" y="1575434"/>
              <a:ext cx="156638" cy="270605"/>
            </a:xfrm>
            <a:custGeom>
              <a:avLst/>
              <a:gdLst>
                <a:gd name="connsiteX0" fmla="*/ 47006 w 156638"/>
                <a:gd name="connsiteY0" fmla="*/ 22288 h 270605"/>
                <a:gd name="connsiteX1" fmla="*/ 40958 w 156638"/>
                <a:gd name="connsiteY1" fmla="*/ 29289 h 270605"/>
                <a:gd name="connsiteX2" fmla="*/ 0 w 156638"/>
                <a:gd name="connsiteY2" fmla="*/ 82867 h 270605"/>
                <a:gd name="connsiteX3" fmla="*/ 0 w 156638"/>
                <a:gd name="connsiteY3" fmla="*/ 252079 h 270605"/>
                <a:gd name="connsiteX4" fmla="*/ 18526 w 156638"/>
                <a:gd name="connsiteY4" fmla="*/ 270605 h 270605"/>
                <a:gd name="connsiteX5" fmla="*/ 138113 w 156638"/>
                <a:gd name="connsiteY5" fmla="*/ 270605 h 270605"/>
                <a:gd name="connsiteX6" fmla="*/ 156639 w 156638"/>
                <a:gd name="connsiteY6" fmla="*/ 252079 h 270605"/>
                <a:gd name="connsiteX7" fmla="*/ 156639 w 156638"/>
                <a:gd name="connsiteY7" fmla="*/ 82867 h 270605"/>
                <a:gd name="connsiteX8" fmla="*/ 115586 w 156638"/>
                <a:gd name="connsiteY8" fmla="*/ 29289 h 270605"/>
                <a:gd name="connsiteX9" fmla="*/ 102251 w 156638"/>
                <a:gd name="connsiteY9" fmla="*/ 0 h 2706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56638" h="270605">
                  <a:moveTo>
                    <a:pt x="47006" y="22288"/>
                  </a:moveTo>
                  <a:cubicBezTo>
                    <a:pt x="45387" y="24717"/>
                    <a:pt x="43386" y="27099"/>
                    <a:pt x="40958" y="29289"/>
                  </a:cubicBezTo>
                  <a:cubicBezTo>
                    <a:pt x="27623" y="41338"/>
                    <a:pt x="0" y="56578"/>
                    <a:pt x="0" y="82867"/>
                  </a:cubicBezTo>
                  <a:lnTo>
                    <a:pt x="0" y="252079"/>
                  </a:lnTo>
                  <a:cubicBezTo>
                    <a:pt x="0" y="262271"/>
                    <a:pt x="8334" y="270605"/>
                    <a:pt x="18526" y="270605"/>
                  </a:cubicBezTo>
                  <a:lnTo>
                    <a:pt x="138113" y="270605"/>
                  </a:lnTo>
                  <a:cubicBezTo>
                    <a:pt x="148304" y="270605"/>
                    <a:pt x="156639" y="262271"/>
                    <a:pt x="156639" y="252079"/>
                  </a:cubicBezTo>
                  <a:lnTo>
                    <a:pt x="156639" y="82867"/>
                  </a:lnTo>
                  <a:cubicBezTo>
                    <a:pt x="156639" y="56578"/>
                    <a:pt x="128873" y="41338"/>
                    <a:pt x="115586" y="29289"/>
                  </a:cubicBezTo>
                  <a:cubicBezTo>
                    <a:pt x="102298" y="17240"/>
                    <a:pt x="102251" y="0"/>
                    <a:pt x="102251" y="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12" name="Forma livre: Forma 611">
              <a:extLst>
                <a:ext uri="{FF2B5EF4-FFF2-40B4-BE49-F238E27FC236}">
                  <a16:creationId xmlns:a16="http://schemas.microsoft.com/office/drawing/2014/main" id="{53A467ED-130B-EDC3-7770-975C9B5186C8}"/>
                </a:ext>
              </a:extLst>
            </p:cNvPr>
            <p:cNvSpPr/>
            <p:nvPr/>
          </p:nvSpPr>
          <p:spPr>
            <a:xfrm>
              <a:off x="7033625" y="1632870"/>
              <a:ext cx="21764" cy="34956"/>
            </a:xfrm>
            <a:custGeom>
              <a:avLst/>
              <a:gdLst>
                <a:gd name="connsiteX0" fmla="*/ 21765 w 21764"/>
                <a:gd name="connsiteY0" fmla="*/ 0 h 34956"/>
                <a:gd name="connsiteX1" fmla="*/ 0 w 21764"/>
                <a:gd name="connsiteY1" fmla="*/ 25432 h 34956"/>
                <a:gd name="connsiteX2" fmla="*/ 0 w 21764"/>
                <a:gd name="connsiteY2" fmla="*/ 34957 h 349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1764" h="34956">
                  <a:moveTo>
                    <a:pt x="21765" y="0"/>
                  </a:moveTo>
                  <a:cubicBezTo>
                    <a:pt x="12049" y="7620"/>
                    <a:pt x="0" y="17097"/>
                    <a:pt x="0" y="25432"/>
                  </a:cubicBezTo>
                  <a:lnTo>
                    <a:pt x="0" y="34957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13" name="Forma livre: Forma 612">
              <a:extLst>
                <a:ext uri="{FF2B5EF4-FFF2-40B4-BE49-F238E27FC236}">
                  <a16:creationId xmlns:a16="http://schemas.microsoft.com/office/drawing/2014/main" id="{3F1B6D5B-77F8-B504-DC75-9163A68CAF85}"/>
                </a:ext>
              </a:extLst>
            </p:cNvPr>
            <p:cNvSpPr/>
            <p:nvPr/>
          </p:nvSpPr>
          <p:spPr>
            <a:xfrm>
              <a:off x="7050722" y="1526666"/>
              <a:ext cx="70104" cy="48148"/>
            </a:xfrm>
            <a:custGeom>
              <a:avLst/>
              <a:gdLst>
                <a:gd name="connsiteX0" fmla="*/ 70104 w 70104"/>
                <a:gd name="connsiteY0" fmla="*/ 16669 h 48148"/>
                <a:gd name="connsiteX1" fmla="*/ 53435 w 70104"/>
                <a:gd name="connsiteY1" fmla="*/ 0 h 48148"/>
                <a:gd name="connsiteX2" fmla="*/ 16669 w 70104"/>
                <a:gd name="connsiteY2" fmla="*/ 0 h 48148"/>
                <a:gd name="connsiteX3" fmla="*/ 0 w 70104"/>
                <a:gd name="connsiteY3" fmla="*/ 16669 h 48148"/>
                <a:gd name="connsiteX4" fmla="*/ 0 w 70104"/>
                <a:gd name="connsiteY4" fmla="*/ 48149 h 48148"/>
                <a:gd name="connsiteX5" fmla="*/ 70104 w 70104"/>
                <a:gd name="connsiteY5" fmla="*/ 48149 h 48148"/>
                <a:gd name="connsiteX6" fmla="*/ 70104 w 70104"/>
                <a:gd name="connsiteY6" fmla="*/ 16669 h 481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0104" h="48148">
                  <a:moveTo>
                    <a:pt x="70104" y="16669"/>
                  </a:moveTo>
                  <a:cubicBezTo>
                    <a:pt x="70104" y="7525"/>
                    <a:pt x="62579" y="0"/>
                    <a:pt x="53435" y="0"/>
                  </a:cubicBezTo>
                  <a:lnTo>
                    <a:pt x="16669" y="0"/>
                  </a:lnTo>
                  <a:cubicBezTo>
                    <a:pt x="7477" y="0"/>
                    <a:pt x="0" y="7525"/>
                    <a:pt x="0" y="16669"/>
                  </a:cubicBezTo>
                  <a:lnTo>
                    <a:pt x="0" y="48149"/>
                  </a:lnTo>
                  <a:lnTo>
                    <a:pt x="70104" y="48149"/>
                  </a:lnTo>
                  <a:lnTo>
                    <a:pt x="70104" y="16669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14" name="Forma livre: Forma 613">
              <a:extLst>
                <a:ext uri="{FF2B5EF4-FFF2-40B4-BE49-F238E27FC236}">
                  <a16:creationId xmlns:a16="http://schemas.microsoft.com/office/drawing/2014/main" id="{A660FEA8-3FE8-0E19-D7BD-2E1BE65397C2}"/>
                </a:ext>
              </a:extLst>
            </p:cNvPr>
            <p:cNvSpPr/>
            <p:nvPr/>
          </p:nvSpPr>
          <p:spPr>
            <a:xfrm>
              <a:off x="7029243" y="1714928"/>
              <a:ext cx="37195" cy="4762"/>
            </a:xfrm>
            <a:custGeom>
              <a:avLst/>
              <a:gdLst>
                <a:gd name="connsiteX0" fmla="*/ 0 w 37195"/>
                <a:gd name="connsiteY0" fmla="*/ 0 h 4762"/>
                <a:gd name="connsiteX1" fmla="*/ 37195 w 37195"/>
                <a:gd name="connsiteY1" fmla="*/ 0 h 47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7195" h="4762">
                  <a:moveTo>
                    <a:pt x="0" y="0"/>
                  </a:moveTo>
                  <a:lnTo>
                    <a:pt x="37195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15" name="Forma livre: Forma 614">
              <a:extLst>
                <a:ext uri="{FF2B5EF4-FFF2-40B4-BE49-F238E27FC236}">
                  <a16:creationId xmlns:a16="http://schemas.microsoft.com/office/drawing/2014/main" id="{2704395E-B7B0-62E9-734D-C1D401279961}"/>
                </a:ext>
              </a:extLst>
            </p:cNvPr>
            <p:cNvSpPr/>
            <p:nvPr/>
          </p:nvSpPr>
          <p:spPr>
            <a:xfrm>
              <a:off x="7191454" y="1590150"/>
              <a:ext cx="76581" cy="254222"/>
            </a:xfrm>
            <a:custGeom>
              <a:avLst/>
              <a:gdLst>
                <a:gd name="connsiteX0" fmla="*/ 24670 w 76581"/>
                <a:gd name="connsiteY0" fmla="*/ 110395 h 254222"/>
                <a:gd name="connsiteX1" fmla="*/ 0 w 76581"/>
                <a:gd name="connsiteY1" fmla="*/ 72152 h 254222"/>
                <a:gd name="connsiteX2" fmla="*/ 38290 w 76581"/>
                <a:gd name="connsiteY2" fmla="*/ 0 h 254222"/>
                <a:gd name="connsiteX3" fmla="*/ 76581 w 76581"/>
                <a:gd name="connsiteY3" fmla="*/ 72152 h 254222"/>
                <a:gd name="connsiteX4" fmla="*/ 52006 w 76581"/>
                <a:gd name="connsiteY4" fmla="*/ 110395 h 254222"/>
                <a:gd name="connsiteX5" fmla="*/ 52006 w 76581"/>
                <a:gd name="connsiteY5" fmla="*/ 244697 h 254222"/>
                <a:gd name="connsiteX6" fmla="*/ 42481 w 76581"/>
                <a:gd name="connsiteY6" fmla="*/ 254222 h 254222"/>
                <a:gd name="connsiteX7" fmla="*/ 34147 w 76581"/>
                <a:gd name="connsiteY7" fmla="*/ 254222 h 254222"/>
                <a:gd name="connsiteX8" fmla="*/ 24622 w 76581"/>
                <a:gd name="connsiteY8" fmla="*/ 244697 h 254222"/>
                <a:gd name="connsiteX9" fmla="*/ 24622 w 76581"/>
                <a:gd name="connsiteY9" fmla="*/ 133350 h 2542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76581" h="254222">
                  <a:moveTo>
                    <a:pt x="24670" y="110395"/>
                  </a:moveTo>
                  <a:cubicBezTo>
                    <a:pt x="10239" y="104537"/>
                    <a:pt x="0" y="89630"/>
                    <a:pt x="0" y="72152"/>
                  </a:cubicBezTo>
                  <a:cubicBezTo>
                    <a:pt x="0" y="49578"/>
                    <a:pt x="17145" y="0"/>
                    <a:pt x="38290" y="0"/>
                  </a:cubicBezTo>
                  <a:cubicBezTo>
                    <a:pt x="59436" y="0"/>
                    <a:pt x="76581" y="49578"/>
                    <a:pt x="76581" y="72152"/>
                  </a:cubicBezTo>
                  <a:cubicBezTo>
                    <a:pt x="76581" y="89583"/>
                    <a:pt x="66389" y="104489"/>
                    <a:pt x="52006" y="110395"/>
                  </a:cubicBezTo>
                  <a:lnTo>
                    <a:pt x="52006" y="244697"/>
                  </a:lnTo>
                  <a:cubicBezTo>
                    <a:pt x="52006" y="249936"/>
                    <a:pt x="47720" y="254222"/>
                    <a:pt x="42481" y="254222"/>
                  </a:cubicBezTo>
                  <a:lnTo>
                    <a:pt x="34147" y="254222"/>
                  </a:lnTo>
                  <a:cubicBezTo>
                    <a:pt x="28908" y="254222"/>
                    <a:pt x="24622" y="249936"/>
                    <a:pt x="24622" y="244697"/>
                  </a:cubicBezTo>
                  <a:lnTo>
                    <a:pt x="24622" y="133350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616" name="Gráfico 9">
            <a:extLst>
              <a:ext uri="{FF2B5EF4-FFF2-40B4-BE49-F238E27FC236}">
                <a16:creationId xmlns:a16="http://schemas.microsoft.com/office/drawing/2014/main" id="{55381541-3D0C-7539-8041-D72E67296265}"/>
              </a:ext>
            </a:extLst>
          </p:cNvPr>
          <p:cNvGrpSpPr/>
          <p:nvPr/>
        </p:nvGrpSpPr>
        <p:grpSpPr>
          <a:xfrm>
            <a:off x="7600124" y="1555099"/>
            <a:ext cx="314182" cy="262556"/>
            <a:chOff x="7600124" y="1555099"/>
            <a:chExt cx="314182" cy="262556"/>
          </a:xfrm>
        </p:grpSpPr>
        <p:sp>
          <p:nvSpPr>
            <p:cNvPr id="617" name="Forma livre: Forma 616">
              <a:extLst>
                <a:ext uri="{FF2B5EF4-FFF2-40B4-BE49-F238E27FC236}">
                  <a16:creationId xmlns:a16="http://schemas.microsoft.com/office/drawing/2014/main" id="{2A0FC8FB-C44A-CAB9-E6B3-3043ABEB78BD}"/>
                </a:ext>
              </a:extLst>
            </p:cNvPr>
            <p:cNvSpPr/>
            <p:nvPr/>
          </p:nvSpPr>
          <p:spPr>
            <a:xfrm>
              <a:off x="7600124" y="1679828"/>
              <a:ext cx="79867" cy="4762"/>
            </a:xfrm>
            <a:custGeom>
              <a:avLst/>
              <a:gdLst>
                <a:gd name="connsiteX0" fmla="*/ 0 w 79867"/>
                <a:gd name="connsiteY0" fmla="*/ 0 h 4762"/>
                <a:gd name="connsiteX1" fmla="*/ 79867 w 79867"/>
                <a:gd name="connsiteY1" fmla="*/ 0 h 47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9867" h="4762">
                  <a:moveTo>
                    <a:pt x="0" y="0"/>
                  </a:moveTo>
                  <a:lnTo>
                    <a:pt x="79867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18" name="Forma livre: Forma 617">
              <a:extLst>
                <a:ext uri="{FF2B5EF4-FFF2-40B4-BE49-F238E27FC236}">
                  <a16:creationId xmlns:a16="http://schemas.microsoft.com/office/drawing/2014/main" id="{B0F9BB5B-3B28-DC8D-1A4C-786B4C9871CC}"/>
                </a:ext>
              </a:extLst>
            </p:cNvPr>
            <p:cNvSpPr/>
            <p:nvPr/>
          </p:nvSpPr>
          <p:spPr>
            <a:xfrm>
              <a:off x="7719711" y="1679828"/>
              <a:ext cx="79200" cy="4762"/>
            </a:xfrm>
            <a:custGeom>
              <a:avLst/>
              <a:gdLst>
                <a:gd name="connsiteX0" fmla="*/ 0 w 79200"/>
                <a:gd name="connsiteY0" fmla="*/ 0 h 4762"/>
                <a:gd name="connsiteX1" fmla="*/ 79200 w 79200"/>
                <a:gd name="connsiteY1" fmla="*/ 0 h 47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9200" h="4762">
                  <a:moveTo>
                    <a:pt x="0" y="0"/>
                  </a:moveTo>
                  <a:lnTo>
                    <a:pt x="7920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19" name="Forma livre: Forma 618">
              <a:extLst>
                <a:ext uri="{FF2B5EF4-FFF2-40B4-BE49-F238E27FC236}">
                  <a16:creationId xmlns:a16="http://schemas.microsoft.com/office/drawing/2014/main" id="{0C956F8A-A1F2-F494-4BE4-9AD7B0EB5C38}"/>
                </a:ext>
              </a:extLst>
            </p:cNvPr>
            <p:cNvSpPr/>
            <p:nvPr/>
          </p:nvSpPr>
          <p:spPr>
            <a:xfrm>
              <a:off x="7839059" y="1679828"/>
              <a:ext cx="75152" cy="4762"/>
            </a:xfrm>
            <a:custGeom>
              <a:avLst/>
              <a:gdLst>
                <a:gd name="connsiteX0" fmla="*/ 0 w 75152"/>
                <a:gd name="connsiteY0" fmla="*/ 0 h 4762"/>
                <a:gd name="connsiteX1" fmla="*/ 75152 w 75152"/>
                <a:gd name="connsiteY1" fmla="*/ 0 h 47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5152" h="4762">
                  <a:moveTo>
                    <a:pt x="0" y="0"/>
                  </a:moveTo>
                  <a:lnTo>
                    <a:pt x="75152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20" name="Forma livre: Forma 619">
              <a:extLst>
                <a:ext uri="{FF2B5EF4-FFF2-40B4-BE49-F238E27FC236}">
                  <a16:creationId xmlns:a16="http://schemas.microsoft.com/office/drawing/2014/main" id="{312272B1-940E-0F6F-9197-FFDF60B4367D}"/>
                </a:ext>
              </a:extLst>
            </p:cNvPr>
            <p:cNvSpPr/>
            <p:nvPr/>
          </p:nvSpPr>
          <p:spPr>
            <a:xfrm>
              <a:off x="7600124" y="1817655"/>
              <a:ext cx="314086" cy="4762"/>
            </a:xfrm>
            <a:custGeom>
              <a:avLst/>
              <a:gdLst>
                <a:gd name="connsiteX0" fmla="*/ 0 w 314086"/>
                <a:gd name="connsiteY0" fmla="*/ 0 h 4762"/>
                <a:gd name="connsiteX1" fmla="*/ 314087 w 314086"/>
                <a:gd name="connsiteY1" fmla="*/ 0 h 47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14086" h="4762">
                  <a:moveTo>
                    <a:pt x="0" y="0"/>
                  </a:moveTo>
                  <a:lnTo>
                    <a:pt x="314087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21" name="Forma livre: Forma 620">
              <a:extLst>
                <a:ext uri="{FF2B5EF4-FFF2-40B4-BE49-F238E27FC236}">
                  <a16:creationId xmlns:a16="http://schemas.microsoft.com/office/drawing/2014/main" id="{C5BA949D-8085-8BFB-AB1F-776C0D91B7E3}"/>
                </a:ext>
              </a:extLst>
            </p:cNvPr>
            <p:cNvSpPr/>
            <p:nvPr/>
          </p:nvSpPr>
          <p:spPr>
            <a:xfrm>
              <a:off x="7697279" y="1555099"/>
              <a:ext cx="37290" cy="171830"/>
            </a:xfrm>
            <a:custGeom>
              <a:avLst/>
              <a:gdLst>
                <a:gd name="connsiteX0" fmla="*/ 37290 w 37290"/>
                <a:gd name="connsiteY0" fmla="*/ 0 h 171830"/>
                <a:gd name="connsiteX1" fmla="*/ 0 w 37290"/>
                <a:gd name="connsiteY1" fmla="*/ 171831 h 171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7290" h="171830">
                  <a:moveTo>
                    <a:pt x="37290" y="0"/>
                  </a:moveTo>
                  <a:cubicBezTo>
                    <a:pt x="37290" y="0"/>
                    <a:pt x="0" y="69771"/>
                    <a:pt x="0" y="171831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22" name="Forma livre: Forma 621">
              <a:extLst>
                <a:ext uri="{FF2B5EF4-FFF2-40B4-BE49-F238E27FC236}">
                  <a16:creationId xmlns:a16="http://schemas.microsoft.com/office/drawing/2014/main" id="{4B7ADB62-0422-5AD9-7D73-162CA67E87E1}"/>
                </a:ext>
              </a:extLst>
            </p:cNvPr>
            <p:cNvSpPr/>
            <p:nvPr/>
          </p:nvSpPr>
          <p:spPr>
            <a:xfrm>
              <a:off x="7690421" y="1710023"/>
              <a:ext cx="13811" cy="29194"/>
            </a:xfrm>
            <a:custGeom>
              <a:avLst/>
              <a:gdLst>
                <a:gd name="connsiteX0" fmla="*/ 13811 w 13811"/>
                <a:gd name="connsiteY0" fmla="*/ 16859 h 29194"/>
                <a:gd name="connsiteX1" fmla="*/ 6906 w 13811"/>
                <a:gd name="connsiteY1" fmla="*/ 29194 h 29194"/>
                <a:gd name="connsiteX2" fmla="*/ 0 w 13811"/>
                <a:gd name="connsiteY2" fmla="*/ 16859 h 29194"/>
                <a:gd name="connsiteX3" fmla="*/ 6906 w 13811"/>
                <a:gd name="connsiteY3" fmla="*/ 0 h 29194"/>
                <a:gd name="connsiteX4" fmla="*/ 13811 w 13811"/>
                <a:gd name="connsiteY4" fmla="*/ 16859 h 291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811" h="29194">
                  <a:moveTo>
                    <a:pt x="13811" y="16859"/>
                  </a:moveTo>
                  <a:cubicBezTo>
                    <a:pt x="13811" y="23670"/>
                    <a:pt x="10716" y="29194"/>
                    <a:pt x="6906" y="29194"/>
                  </a:cubicBezTo>
                  <a:cubicBezTo>
                    <a:pt x="3096" y="29194"/>
                    <a:pt x="0" y="23670"/>
                    <a:pt x="0" y="16859"/>
                  </a:cubicBezTo>
                  <a:cubicBezTo>
                    <a:pt x="0" y="10049"/>
                    <a:pt x="6906" y="0"/>
                    <a:pt x="6906" y="0"/>
                  </a:cubicBezTo>
                  <a:cubicBezTo>
                    <a:pt x="6906" y="0"/>
                    <a:pt x="13811" y="10049"/>
                    <a:pt x="13811" y="16859"/>
                  </a:cubicBezTo>
                  <a:close/>
                </a:path>
              </a:pathLst>
            </a:custGeom>
            <a:solidFill>
              <a:srgbClr val="374555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23" name="Forma livre: Forma 622">
              <a:extLst>
                <a:ext uri="{FF2B5EF4-FFF2-40B4-BE49-F238E27FC236}">
                  <a16:creationId xmlns:a16="http://schemas.microsoft.com/office/drawing/2014/main" id="{CFC91C94-5B46-09D9-5778-E23C56CA3BA7}"/>
                </a:ext>
              </a:extLst>
            </p:cNvPr>
            <p:cNvSpPr/>
            <p:nvPr/>
          </p:nvSpPr>
          <p:spPr>
            <a:xfrm>
              <a:off x="7816818" y="1555099"/>
              <a:ext cx="37290" cy="171830"/>
            </a:xfrm>
            <a:custGeom>
              <a:avLst/>
              <a:gdLst>
                <a:gd name="connsiteX0" fmla="*/ 37290 w 37290"/>
                <a:gd name="connsiteY0" fmla="*/ 0 h 171830"/>
                <a:gd name="connsiteX1" fmla="*/ 0 w 37290"/>
                <a:gd name="connsiteY1" fmla="*/ 171831 h 171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7290" h="171830">
                  <a:moveTo>
                    <a:pt x="37290" y="0"/>
                  </a:moveTo>
                  <a:cubicBezTo>
                    <a:pt x="37290" y="0"/>
                    <a:pt x="0" y="69771"/>
                    <a:pt x="0" y="171831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24" name="Forma livre: Forma 623">
              <a:extLst>
                <a:ext uri="{FF2B5EF4-FFF2-40B4-BE49-F238E27FC236}">
                  <a16:creationId xmlns:a16="http://schemas.microsoft.com/office/drawing/2014/main" id="{E6C30334-E5A3-B4AE-1090-22C755EED52C}"/>
                </a:ext>
              </a:extLst>
            </p:cNvPr>
            <p:cNvSpPr/>
            <p:nvPr/>
          </p:nvSpPr>
          <p:spPr>
            <a:xfrm>
              <a:off x="7809960" y="1710023"/>
              <a:ext cx="13811" cy="29194"/>
            </a:xfrm>
            <a:custGeom>
              <a:avLst/>
              <a:gdLst>
                <a:gd name="connsiteX0" fmla="*/ 13811 w 13811"/>
                <a:gd name="connsiteY0" fmla="*/ 16859 h 29194"/>
                <a:gd name="connsiteX1" fmla="*/ 6906 w 13811"/>
                <a:gd name="connsiteY1" fmla="*/ 29194 h 29194"/>
                <a:gd name="connsiteX2" fmla="*/ 0 w 13811"/>
                <a:gd name="connsiteY2" fmla="*/ 16859 h 29194"/>
                <a:gd name="connsiteX3" fmla="*/ 6906 w 13811"/>
                <a:gd name="connsiteY3" fmla="*/ 0 h 29194"/>
                <a:gd name="connsiteX4" fmla="*/ 13811 w 13811"/>
                <a:gd name="connsiteY4" fmla="*/ 16859 h 291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811" h="29194">
                  <a:moveTo>
                    <a:pt x="13811" y="16859"/>
                  </a:moveTo>
                  <a:cubicBezTo>
                    <a:pt x="13811" y="23670"/>
                    <a:pt x="10716" y="29194"/>
                    <a:pt x="6906" y="29194"/>
                  </a:cubicBezTo>
                  <a:cubicBezTo>
                    <a:pt x="3096" y="29194"/>
                    <a:pt x="0" y="23670"/>
                    <a:pt x="0" y="16859"/>
                  </a:cubicBezTo>
                  <a:cubicBezTo>
                    <a:pt x="0" y="10049"/>
                    <a:pt x="6906" y="0"/>
                    <a:pt x="6906" y="0"/>
                  </a:cubicBezTo>
                  <a:cubicBezTo>
                    <a:pt x="6906" y="0"/>
                    <a:pt x="13811" y="10049"/>
                    <a:pt x="13811" y="16859"/>
                  </a:cubicBezTo>
                  <a:close/>
                </a:path>
              </a:pathLst>
            </a:custGeom>
            <a:solidFill>
              <a:srgbClr val="374555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25" name="Forma livre: Forma 624">
              <a:extLst>
                <a:ext uri="{FF2B5EF4-FFF2-40B4-BE49-F238E27FC236}">
                  <a16:creationId xmlns:a16="http://schemas.microsoft.com/office/drawing/2014/main" id="{C18AE392-0D82-EA82-2FF2-69DD33D093B7}"/>
                </a:ext>
              </a:extLst>
            </p:cNvPr>
            <p:cNvSpPr/>
            <p:nvPr/>
          </p:nvSpPr>
          <p:spPr>
            <a:xfrm>
              <a:off x="7856442" y="1785842"/>
              <a:ext cx="5429" cy="5429"/>
            </a:xfrm>
            <a:custGeom>
              <a:avLst/>
              <a:gdLst>
                <a:gd name="connsiteX0" fmla="*/ 5429 w 5429"/>
                <a:gd name="connsiteY0" fmla="*/ 2715 h 5429"/>
                <a:gd name="connsiteX1" fmla="*/ 2715 w 5429"/>
                <a:gd name="connsiteY1" fmla="*/ 5429 h 5429"/>
                <a:gd name="connsiteX2" fmla="*/ 0 w 5429"/>
                <a:gd name="connsiteY2" fmla="*/ 2715 h 5429"/>
                <a:gd name="connsiteX3" fmla="*/ 2715 w 5429"/>
                <a:gd name="connsiteY3" fmla="*/ 0 h 5429"/>
                <a:gd name="connsiteX4" fmla="*/ 5429 w 5429"/>
                <a:gd name="connsiteY4" fmla="*/ 2715 h 54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429" h="5429">
                  <a:moveTo>
                    <a:pt x="5429" y="2715"/>
                  </a:moveTo>
                  <a:cubicBezTo>
                    <a:pt x="5429" y="4191"/>
                    <a:pt x="4239" y="5429"/>
                    <a:pt x="2715" y="5429"/>
                  </a:cubicBezTo>
                  <a:cubicBezTo>
                    <a:pt x="1191" y="5429"/>
                    <a:pt x="0" y="4239"/>
                    <a:pt x="0" y="2715"/>
                  </a:cubicBezTo>
                  <a:cubicBezTo>
                    <a:pt x="0" y="1191"/>
                    <a:pt x="1238" y="0"/>
                    <a:pt x="2715" y="0"/>
                  </a:cubicBezTo>
                  <a:cubicBezTo>
                    <a:pt x="4191" y="0"/>
                    <a:pt x="5429" y="1191"/>
                    <a:pt x="5429" y="2715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26" name="Forma livre: Forma 625">
              <a:extLst>
                <a:ext uri="{FF2B5EF4-FFF2-40B4-BE49-F238E27FC236}">
                  <a16:creationId xmlns:a16="http://schemas.microsoft.com/office/drawing/2014/main" id="{D3D73EA2-848F-1037-8304-447864704A9C}"/>
                </a:ext>
              </a:extLst>
            </p:cNvPr>
            <p:cNvSpPr/>
            <p:nvPr/>
          </p:nvSpPr>
          <p:spPr>
            <a:xfrm>
              <a:off x="7889779" y="1752504"/>
              <a:ext cx="5429" cy="5429"/>
            </a:xfrm>
            <a:custGeom>
              <a:avLst/>
              <a:gdLst>
                <a:gd name="connsiteX0" fmla="*/ 5429 w 5429"/>
                <a:gd name="connsiteY0" fmla="*/ 2715 h 5429"/>
                <a:gd name="connsiteX1" fmla="*/ 2715 w 5429"/>
                <a:gd name="connsiteY1" fmla="*/ 5429 h 5429"/>
                <a:gd name="connsiteX2" fmla="*/ 0 w 5429"/>
                <a:gd name="connsiteY2" fmla="*/ 2715 h 5429"/>
                <a:gd name="connsiteX3" fmla="*/ 2715 w 5429"/>
                <a:gd name="connsiteY3" fmla="*/ 0 h 5429"/>
                <a:gd name="connsiteX4" fmla="*/ 5429 w 5429"/>
                <a:gd name="connsiteY4" fmla="*/ 2715 h 54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429" h="5429">
                  <a:moveTo>
                    <a:pt x="5429" y="2715"/>
                  </a:moveTo>
                  <a:cubicBezTo>
                    <a:pt x="5429" y="4191"/>
                    <a:pt x="4239" y="5429"/>
                    <a:pt x="2715" y="5429"/>
                  </a:cubicBezTo>
                  <a:cubicBezTo>
                    <a:pt x="1191" y="5429"/>
                    <a:pt x="0" y="4239"/>
                    <a:pt x="0" y="2715"/>
                  </a:cubicBezTo>
                  <a:cubicBezTo>
                    <a:pt x="0" y="1191"/>
                    <a:pt x="1238" y="0"/>
                    <a:pt x="2715" y="0"/>
                  </a:cubicBezTo>
                  <a:cubicBezTo>
                    <a:pt x="4191" y="0"/>
                    <a:pt x="5429" y="1191"/>
                    <a:pt x="5429" y="2715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27" name="Forma livre: Forma 626">
              <a:extLst>
                <a:ext uri="{FF2B5EF4-FFF2-40B4-BE49-F238E27FC236}">
                  <a16:creationId xmlns:a16="http://schemas.microsoft.com/office/drawing/2014/main" id="{F9731C0C-4EA0-6F87-DD92-B24F5B06908F}"/>
                </a:ext>
              </a:extLst>
            </p:cNvPr>
            <p:cNvSpPr/>
            <p:nvPr/>
          </p:nvSpPr>
          <p:spPr>
            <a:xfrm>
              <a:off x="7783147" y="1783079"/>
              <a:ext cx="5429" cy="5429"/>
            </a:xfrm>
            <a:custGeom>
              <a:avLst/>
              <a:gdLst>
                <a:gd name="connsiteX0" fmla="*/ 5429 w 5429"/>
                <a:gd name="connsiteY0" fmla="*/ 2715 h 5429"/>
                <a:gd name="connsiteX1" fmla="*/ 2715 w 5429"/>
                <a:gd name="connsiteY1" fmla="*/ 5429 h 5429"/>
                <a:gd name="connsiteX2" fmla="*/ 0 w 5429"/>
                <a:gd name="connsiteY2" fmla="*/ 2715 h 5429"/>
                <a:gd name="connsiteX3" fmla="*/ 2715 w 5429"/>
                <a:gd name="connsiteY3" fmla="*/ 0 h 5429"/>
                <a:gd name="connsiteX4" fmla="*/ 5429 w 5429"/>
                <a:gd name="connsiteY4" fmla="*/ 2715 h 54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429" h="5429">
                  <a:moveTo>
                    <a:pt x="5429" y="2715"/>
                  </a:moveTo>
                  <a:cubicBezTo>
                    <a:pt x="5429" y="4191"/>
                    <a:pt x="4239" y="5429"/>
                    <a:pt x="2715" y="5429"/>
                  </a:cubicBezTo>
                  <a:cubicBezTo>
                    <a:pt x="1191" y="5429"/>
                    <a:pt x="0" y="4239"/>
                    <a:pt x="0" y="2715"/>
                  </a:cubicBezTo>
                  <a:cubicBezTo>
                    <a:pt x="0" y="1191"/>
                    <a:pt x="1238" y="0"/>
                    <a:pt x="2715" y="0"/>
                  </a:cubicBezTo>
                  <a:cubicBezTo>
                    <a:pt x="4191" y="0"/>
                    <a:pt x="5429" y="1191"/>
                    <a:pt x="5429" y="2715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28" name="Forma livre: Forma 627">
              <a:extLst>
                <a:ext uri="{FF2B5EF4-FFF2-40B4-BE49-F238E27FC236}">
                  <a16:creationId xmlns:a16="http://schemas.microsoft.com/office/drawing/2014/main" id="{E2DAF167-49C2-11D3-AA26-491A11DFFF54}"/>
                </a:ext>
              </a:extLst>
            </p:cNvPr>
            <p:cNvSpPr/>
            <p:nvPr/>
          </p:nvSpPr>
          <p:spPr>
            <a:xfrm>
              <a:off x="7752762" y="1753695"/>
              <a:ext cx="5429" cy="5429"/>
            </a:xfrm>
            <a:custGeom>
              <a:avLst/>
              <a:gdLst>
                <a:gd name="connsiteX0" fmla="*/ 5429 w 5429"/>
                <a:gd name="connsiteY0" fmla="*/ 2715 h 5429"/>
                <a:gd name="connsiteX1" fmla="*/ 2715 w 5429"/>
                <a:gd name="connsiteY1" fmla="*/ 5429 h 5429"/>
                <a:gd name="connsiteX2" fmla="*/ 0 w 5429"/>
                <a:gd name="connsiteY2" fmla="*/ 2715 h 5429"/>
                <a:gd name="connsiteX3" fmla="*/ 2715 w 5429"/>
                <a:gd name="connsiteY3" fmla="*/ 0 h 5429"/>
                <a:gd name="connsiteX4" fmla="*/ 5429 w 5429"/>
                <a:gd name="connsiteY4" fmla="*/ 2715 h 54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429" h="5429">
                  <a:moveTo>
                    <a:pt x="5429" y="2715"/>
                  </a:moveTo>
                  <a:cubicBezTo>
                    <a:pt x="5429" y="4191"/>
                    <a:pt x="4239" y="5429"/>
                    <a:pt x="2715" y="5429"/>
                  </a:cubicBezTo>
                  <a:cubicBezTo>
                    <a:pt x="1191" y="5429"/>
                    <a:pt x="0" y="4239"/>
                    <a:pt x="0" y="2715"/>
                  </a:cubicBezTo>
                  <a:cubicBezTo>
                    <a:pt x="0" y="1191"/>
                    <a:pt x="1238" y="0"/>
                    <a:pt x="2715" y="0"/>
                  </a:cubicBezTo>
                  <a:cubicBezTo>
                    <a:pt x="4191" y="0"/>
                    <a:pt x="5429" y="1191"/>
                    <a:pt x="5429" y="2715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29" name="Forma livre: Forma 628">
              <a:extLst>
                <a:ext uri="{FF2B5EF4-FFF2-40B4-BE49-F238E27FC236}">
                  <a16:creationId xmlns:a16="http://schemas.microsoft.com/office/drawing/2014/main" id="{CCBDB8BD-EDFD-B184-920C-CDBE0886717D}"/>
                </a:ext>
              </a:extLst>
            </p:cNvPr>
            <p:cNvSpPr/>
            <p:nvPr/>
          </p:nvSpPr>
          <p:spPr>
            <a:xfrm>
              <a:off x="7729426" y="1789794"/>
              <a:ext cx="5429" cy="5429"/>
            </a:xfrm>
            <a:custGeom>
              <a:avLst/>
              <a:gdLst>
                <a:gd name="connsiteX0" fmla="*/ 5429 w 5429"/>
                <a:gd name="connsiteY0" fmla="*/ 2715 h 5429"/>
                <a:gd name="connsiteX1" fmla="*/ 2715 w 5429"/>
                <a:gd name="connsiteY1" fmla="*/ 5429 h 5429"/>
                <a:gd name="connsiteX2" fmla="*/ 0 w 5429"/>
                <a:gd name="connsiteY2" fmla="*/ 2715 h 5429"/>
                <a:gd name="connsiteX3" fmla="*/ 2715 w 5429"/>
                <a:gd name="connsiteY3" fmla="*/ 0 h 5429"/>
                <a:gd name="connsiteX4" fmla="*/ 5429 w 5429"/>
                <a:gd name="connsiteY4" fmla="*/ 2715 h 54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429" h="5429">
                  <a:moveTo>
                    <a:pt x="5429" y="2715"/>
                  </a:moveTo>
                  <a:cubicBezTo>
                    <a:pt x="5429" y="4191"/>
                    <a:pt x="4239" y="5429"/>
                    <a:pt x="2715" y="5429"/>
                  </a:cubicBezTo>
                  <a:cubicBezTo>
                    <a:pt x="1191" y="5429"/>
                    <a:pt x="0" y="4239"/>
                    <a:pt x="0" y="2715"/>
                  </a:cubicBezTo>
                  <a:cubicBezTo>
                    <a:pt x="0" y="1191"/>
                    <a:pt x="1238" y="0"/>
                    <a:pt x="2715" y="0"/>
                  </a:cubicBezTo>
                  <a:cubicBezTo>
                    <a:pt x="4191" y="0"/>
                    <a:pt x="5429" y="1191"/>
                    <a:pt x="5429" y="2715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30" name="Forma livre: Forma 629">
              <a:extLst>
                <a:ext uri="{FF2B5EF4-FFF2-40B4-BE49-F238E27FC236}">
                  <a16:creationId xmlns:a16="http://schemas.microsoft.com/office/drawing/2014/main" id="{C35B3B44-F196-392A-BF81-C86F060A509B}"/>
                </a:ext>
              </a:extLst>
            </p:cNvPr>
            <p:cNvSpPr/>
            <p:nvPr/>
          </p:nvSpPr>
          <p:spPr>
            <a:xfrm>
              <a:off x="7649035" y="1783841"/>
              <a:ext cx="5429" cy="5429"/>
            </a:xfrm>
            <a:custGeom>
              <a:avLst/>
              <a:gdLst>
                <a:gd name="connsiteX0" fmla="*/ 5429 w 5429"/>
                <a:gd name="connsiteY0" fmla="*/ 2715 h 5429"/>
                <a:gd name="connsiteX1" fmla="*/ 2715 w 5429"/>
                <a:gd name="connsiteY1" fmla="*/ 5429 h 5429"/>
                <a:gd name="connsiteX2" fmla="*/ 0 w 5429"/>
                <a:gd name="connsiteY2" fmla="*/ 2715 h 5429"/>
                <a:gd name="connsiteX3" fmla="*/ 2715 w 5429"/>
                <a:gd name="connsiteY3" fmla="*/ 0 h 5429"/>
                <a:gd name="connsiteX4" fmla="*/ 5429 w 5429"/>
                <a:gd name="connsiteY4" fmla="*/ 2715 h 54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429" h="5429">
                  <a:moveTo>
                    <a:pt x="5429" y="2715"/>
                  </a:moveTo>
                  <a:cubicBezTo>
                    <a:pt x="5429" y="4191"/>
                    <a:pt x="4239" y="5429"/>
                    <a:pt x="2715" y="5429"/>
                  </a:cubicBezTo>
                  <a:cubicBezTo>
                    <a:pt x="1191" y="5429"/>
                    <a:pt x="0" y="4239"/>
                    <a:pt x="0" y="2715"/>
                  </a:cubicBezTo>
                  <a:cubicBezTo>
                    <a:pt x="0" y="1191"/>
                    <a:pt x="1238" y="0"/>
                    <a:pt x="2715" y="0"/>
                  </a:cubicBezTo>
                  <a:cubicBezTo>
                    <a:pt x="4191" y="0"/>
                    <a:pt x="5429" y="1191"/>
                    <a:pt x="5429" y="2715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31" name="Forma livre: Forma 630">
              <a:extLst>
                <a:ext uri="{FF2B5EF4-FFF2-40B4-BE49-F238E27FC236}">
                  <a16:creationId xmlns:a16="http://schemas.microsoft.com/office/drawing/2014/main" id="{0CDC2ED3-A311-E57A-A58F-881EE0E5FD39}"/>
                </a:ext>
              </a:extLst>
            </p:cNvPr>
            <p:cNvSpPr/>
            <p:nvPr/>
          </p:nvSpPr>
          <p:spPr>
            <a:xfrm>
              <a:off x="7616745" y="1752504"/>
              <a:ext cx="5429" cy="5429"/>
            </a:xfrm>
            <a:custGeom>
              <a:avLst/>
              <a:gdLst>
                <a:gd name="connsiteX0" fmla="*/ 5429 w 5429"/>
                <a:gd name="connsiteY0" fmla="*/ 2715 h 5429"/>
                <a:gd name="connsiteX1" fmla="*/ 2715 w 5429"/>
                <a:gd name="connsiteY1" fmla="*/ 5429 h 5429"/>
                <a:gd name="connsiteX2" fmla="*/ 0 w 5429"/>
                <a:gd name="connsiteY2" fmla="*/ 2715 h 5429"/>
                <a:gd name="connsiteX3" fmla="*/ 2715 w 5429"/>
                <a:gd name="connsiteY3" fmla="*/ 0 h 5429"/>
                <a:gd name="connsiteX4" fmla="*/ 5429 w 5429"/>
                <a:gd name="connsiteY4" fmla="*/ 2715 h 54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429" h="5429">
                  <a:moveTo>
                    <a:pt x="5429" y="2715"/>
                  </a:moveTo>
                  <a:cubicBezTo>
                    <a:pt x="5429" y="4191"/>
                    <a:pt x="4239" y="5429"/>
                    <a:pt x="2715" y="5429"/>
                  </a:cubicBezTo>
                  <a:cubicBezTo>
                    <a:pt x="1191" y="5429"/>
                    <a:pt x="0" y="4239"/>
                    <a:pt x="0" y="2715"/>
                  </a:cubicBezTo>
                  <a:cubicBezTo>
                    <a:pt x="0" y="1191"/>
                    <a:pt x="1238" y="0"/>
                    <a:pt x="2715" y="0"/>
                  </a:cubicBezTo>
                  <a:cubicBezTo>
                    <a:pt x="4191" y="0"/>
                    <a:pt x="5429" y="1191"/>
                    <a:pt x="5429" y="2715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32" name="Forma livre: Forma 631">
              <a:extLst>
                <a:ext uri="{FF2B5EF4-FFF2-40B4-BE49-F238E27FC236}">
                  <a16:creationId xmlns:a16="http://schemas.microsoft.com/office/drawing/2014/main" id="{F34F82F8-5416-0865-AD5B-6193B5955C08}"/>
                </a:ext>
              </a:extLst>
            </p:cNvPr>
            <p:cNvSpPr/>
            <p:nvPr/>
          </p:nvSpPr>
          <p:spPr>
            <a:xfrm>
              <a:off x="7600124" y="1715500"/>
              <a:ext cx="314182" cy="49148"/>
            </a:xfrm>
            <a:custGeom>
              <a:avLst/>
              <a:gdLst>
                <a:gd name="connsiteX0" fmla="*/ 0 w 314182"/>
                <a:gd name="connsiteY0" fmla="*/ 0 h 49148"/>
                <a:gd name="connsiteX1" fmla="*/ 67532 w 314182"/>
                <a:gd name="connsiteY1" fmla="*/ 0 h 49148"/>
                <a:gd name="connsiteX2" fmla="*/ 65722 w 314182"/>
                <a:gd name="connsiteY2" fmla="*/ 11620 h 49148"/>
                <a:gd name="connsiteX3" fmla="*/ 97203 w 314182"/>
                <a:gd name="connsiteY3" fmla="*/ 49149 h 49148"/>
                <a:gd name="connsiteX4" fmla="*/ 128683 w 314182"/>
                <a:gd name="connsiteY4" fmla="*/ 11620 h 49148"/>
                <a:gd name="connsiteX5" fmla="*/ 126921 w 314182"/>
                <a:gd name="connsiteY5" fmla="*/ 0 h 49148"/>
                <a:gd name="connsiteX6" fmla="*/ 187119 w 314182"/>
                <a:gd name="connsiteY6" fmla="*/ 0 h 49148"/>
                <a:gd name="connsiteX7" fmla="*/ 185309 w 314182"/>
                <a:gd name="connsiteY7" fmla="*/ 11620 h 49148"/>
                <a:gd name="connsiteX8" fmla="*/ 216789 w 314182"/>
                <a:gd name="connsiteY8" fmla="*/ 49149 h 49148"/>
                <a:gd name="connsiteX9" fmla="*/ 248269 w 314182"/>
                <a:gd name="connsiteY9" fmla="*/ 11620 h 49148"/>
                <a:gd name="connsiteX10" fmla="*/ 246507 w 314182"/>
                <a:gd name="connsiteY10" fmla="*/ 0 h 49148"/>
                <a:gd name="connsiteX11" fmla="*/ 314182 w 314182"/>
                <a:gd name="connsiteY11" fmla="*/ 0 h 491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14182" h="49148">
                  <a:moveTo>
                    <a:pt x="0" y="0"/>
                  </a:moveTo>
                  <a:lnTo>
                    <a:pt x="67532" y="0"/>
                  </a:lnTo>
                  <a:cubicBezTo>
                    <a:pt x="66437" y="3715"/>
                    <a:pt x="65722" y="7668"/>
                    <a:pt x="65722" y="11620"/>
                  </a:cubicBezTo>
                  <a:cubicBezTo>
                    <a:pt x="65722" y="33004"/>
                    <a:pt x="79248" y="49149"/>
                    <a:pt x="97203" y="49149"/>
                  </a:cubicBezTo>
                  <a:cubicBezTo>
                    <a:pt x="115157" y="49149"/>
                    <a:pt x="128683" y="33004"/>
                    <a:pt x="128683" y="11620"/>
                  </a:cubicBezTo>
                  <a:cubicBezTo>
                    <a:pt x="128683" y="7715"/>
                    <a:pt x="127968" y="3715"/>
                    <a:pt x="126921" y="0"/>
                  </a:cubicBezTo>
                  <a:lnTo>
                    <a:pt x="187119" y="0"/>
                  </a:lnTo>
                  <a:cubicBezTo>
                    <a:pt x="186023" y="3715"/>
                    <a:pt x="185309" y="7668"/>
                    <a:pt x="185309" y="11620"/>
                  </a:cubicBezTo>
                  <a:cubicBezTo>
                    <a:pt x="185309" y="33004"/>
                    <a:pt x="198834" y="49149"/>
                    <a:pt x="216789" y="49149"/>
                  </a:cubicBezTo>
                  <a:cubicBezTo>
                    <a:pt x="234744" y="49149"/>
                    <a:pt x="248269" y="33004"/>
                    <a:pt x="248269" y="11620"/>
                  </a:cubicBezTo>
                  <a:cubicBezTo>
                    <a:pt x="248269" y="7715"/>
                    <a:pt x="247555" y="3715"/>
                    <a:pt x="246507" y="0"/>
                  </a:cubicBezTo>
                  <a:lnTo>
                    <a:pt x="314182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633" name="Gráfico 9">
            <a:extLst>
              <a:ext uri="{FF2B5EF4-FFF2-40B4-BE49-F238E27FC236}">
                <a16:creationId xmlns:a16="http://schemas.microsoft.com/office/drawing/2014/main" id="{381B5B29-7100-9612-8839-EA3805B69C98}"/>
              </a:ext>
            </a:extLst>
          </p:cNvPr>
          <p:cNvGrpSpPr/>
          <p:nvPr/>
        </p:nvGrpSpPr>
        <p:grpSpPr>
          <a:xfrm>
            <a:off x="6368542" y="2102262"/>
            <a:ext cx="299466" cy="228218"/>
            <a:chOff x="6368542" y="2102262"/>
            <a:chExt cx="299466" cy="228218"/>
          </a:xfrm>
          <a:noFill/>
        </p:grpSpPr>
        <p:sp>
          <p:nvSpPr>
            <p:cNvPr id="634" name="Forma livre: Forma 633">
              <a:extLst>
                <a:ext uri="{FF2B5EF4-FFF2-40B4-BE49-F238E27FC236}">
                  <a16:creationId xmlns:a16="http://schemas.microsoft.com/office/drawing/2014/main" id="{69D75AAB-1355-8C80-AB51-10A2D3F303B8}"/>
                </a:ext>
              </a:extLst>
            </p:cNvPr>
            <p:cNvSpPr/>
            <p:nvPr/>
          </p:nvSpPr>
          <p:spPr>
            <a:xfrm>
              <a:off x="6368542" y="2102262"/>
              <a:ext cx="299466" cy="228218"/>
            </a:xfrm>
            <a:custGeom>
              <a:avLst/>
              <a:gdLst>
                <a:gd name="connsiteX0" fmla="*/ 0 w 299466"/>
                <a:gd name="connsiteY0" fmla="*/ 0 h 228218"/>
                <a:gd name="connsiteX1" fmla="*/ 299466 w 299466"/>
                <a:gd name="connsiteY1" fmla="*/ 0 h 228218"/>
                <a:gd name="connsiteX2" fmla="*/ 299466 w 299466"/>
                <a:gd name="connsiteY2" fmla="*/ 228219 h 228218"/>
                <a:gd name="connsiteX3" fmla="*/ 0 w 299466"/>
                <a:gd name="connsiteY3" fmla="*/ 228219 h 2282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99466" h="228218">
                  <a:moveTo>
                    <a:pt x="0" y="0"/>
                  </a:moveTo>
                  <a:lnTo>
                    <a:pt x="299466" y="0"/>
                  </a:lnTo>
                  <a:lnTo>
                    <a:pt x="299466" y="228219"/>
                  </a:lnTo>
                  <a:lnTo>
                    <a:pt x="0" y="228219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35" name="Forma livre: Forma 634">
              <a:extLst>
                <a:ext uri="{FF2B5EF4-FFF2-40B4-BE49-F238E27FC236}">
                  <a16:creationId xmlns:a16="http://schemas.microsoft.com/office/drawing/2014/main" id="{9C1E4F53-8432-94EF-5F57-519099F6804C}"/>
                </a:ext>
              </a:extLst>
            </p:cNvPr>
            <p:cNvSpPr/>
            <p:nvPr/>
          </p:nvSpPr>
          <p:spPr>
            <a:xfrm>
              <a:off x="6394497" y="2300049"/>
              <a:ext cx="47244" cy="4762"/>
            </a:xfrm>
            <a:custGeom>
              <a:avLst/>
              <a:gdLst>
                <a:gd name="connsiteX0" fmla="*/ 0 w 47244"/>
                <a:gd name="connsiteY0" fmla="*/ 0 h 4762"/>
                <a:gd name="connsiteX1" fmla="*/ 47244 w 47244"/>
                <a:gd name="connsiteY1" fmla="*/ 0 h 47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7244" h="4762">
                  <a:moveTo>
                    <a:pt x="0" y="0"/>
                  </a:moveTo>
                  <a:lnTo>
                    <a:pt x="47244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636" name="Gráfico 9">
              <a:extLst>
                <a:ext uri="{FF2B5EF4-FFF2-40B4-BE49-F238E27FC236}">
                  <a16:creationId xmlns:a16="http://schemas.microsoft.com/office/drawing/2014/main" id="{8027903B-316C-0C57-E94B-AF398136ED9E}"/>
                </a:ext>
              </a:extLst>
            </p:cNvPr>
            <p:cNvGrpSpPr/>
            <p:nvPr/>
          </p:nvGrpSpPr>
          <p:grpSpPr>
            <a:xfrm>
              <a:off x="6446703" y="2135600"/>
              <a:ext cx="143191" cy="147875"/>
              <a:chOff x="6446703" y="2135600"/>
              <a:chExt cx="143191" cy="147875"/>
            </a:xfrm>
            <a:noFill/>
          </p:grpSpPr>
          <p:grpSp>
            <p:nvGrpSpPr>
              <p:cNvPr id="637" name="Gráfico 9">
                <a:extLst>
                  <a:ext uri="{FF2B5EF4-FFF2-40B4-BE49-F238E27FC236}">
                    <a16:creationId xmlns:a16="http://schemas.microsoft.com/office/drawing/2014/main" id="{8E671FFD-85D1-4215-F493-564D4BBEF0DE}"/>
                  </a:ext>
                </a:extLst>
              </p:cNvPr>
              <p:cNvGrpSpPr/>
              <p:nvPr/>
            </p:nvGrpSpPr>
            <p:grpSpPr>
              <a:xfrm>
                <a:off x="6446703" y="2135600"/>
                <a:ext cx="49616" cy="147875"/>
                <a:chOff x="6446703" y="2135600"/>
                <a:chExt cx="49616" cy="147875"/>
              </a:xfrm>
              <a:noFill/>
            </p:grpSpPr>
            <p:sp>
              <p:nvSpPr>
                <p:cNvPr id="638" name="Forma livre: Forma 637">
                  <a:extLst>
                    <a:ext uri="{FF2B5EF4-FFF2-40B4-BE49-F238E27FC236}">
                      <a16:creationId xmlns:a16="http://schemas.microsoft.com/office/drawing/2014/main" id="{663D4234-381C-A671-6C41-8B070FB10EBE}"/>
                    </a:ext>
                  </a:extLst>
                </p:cNvPr>
                <p:cNvSpPr/>
                <p:nvPr/>
              </p:nvSpPr>
              <p:spPr>
                <a:xfrm>
                  <a:off x="6446703" y="2175509"/>
                  <a:ext cx="49378" cy="25090"/>
                </a:xfrm>
                <a:custGeom>
                  <a:avLst/>
                  <a:gdLst>
                    <a:gd name="connsiteX0" fmla="*/ 420 w 49378"/>
                    <a:gd name="connsiteY0" fmla="*/ 0 h 25090"/>
                    <a:gd name="connsiteX1" fmla="*/ 36139 w 49378"/>
                    <a:gd name="connsiteY1" fmla="*/ 23812 h 25090"/>
                    <a:gd name="connsiteX2" fmla="*/ 49379 w 49378"/>
                    <a:gd name="connsiteY2" fmla="*/ 20431 h 250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49378" h="25090">
                      <a:moveTo>
                        <a:pt x="420" y="0"/>
                      </a:moveTo>
                      <a:cubicBezTo>
                        <a:pt x="420" y="0"/>
                        <a:pt x="-6533" y="31766"/>
                        <a:pt x="36139" y="23812"/>
                      </a:cubicBezTo>
                      <a:cubicBezTo>
                        <a:pt x="38853" y="23289"/>
                        <a:pt x="43806" y="21860"/>
                        <a:pt x="49379" y="20431"/>
                      </a:cubicBez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639" name="Forma livre: Forma 638">
                  <a:extLst>
                    <a:ext uri="{FF2B5EF4-FFF2-40B4-BE49-F238E27FC236}">
                      <a16:creationId xmlns:a16="http://schemas.microsoft.com/office/drawing/2014/main" id="{38D057D2-0EE6-31C0-CA59-DEFA72F5E74C}"/>
                    </a:ext>
                  </a:extLst>
                </p:cNvPr>
                <p:cNvSpPr/>
                <p:nvPr/>
              </p:nvSpPr>
              <p:spPr>
                <a:xfrm>
                  <a:off x="6462492" y="2135600"/>
                  <a:ext cx="33732" cy="25443"/>
                </a:xfrm>
                <a:custGeom>
                  <a:avLst/>
                  <a:gdLst>
                    <a:gd name="connsiteX0" fmla="*/ 1300 w 33732"/>
                    <a:gd name="connsiteY0" fmla="*/ 0 h 25443"/>
                    <a:gd name="connsiteX1" fmla="*/ 31494 w 33732"/>
                    <a:gd name="connsiteY1" fmla="*/ 25194 h 25443"/>
                    <a:gd name="connsiteX2" fmla="*/ 33732 w 33732"/>
                    <a:gd name="connsiteY2" fmla="*/ 24956 h 2544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33732" h="25443">
                      <a:moveTo>
                        <a:pt x="1300" y="0"/>
                      </a:moveTo>
                      <a:cubicBezTo>
                        <a:pt x="1300" y="0"/>
                        <a:pt x="-9559" y="28385"/>
                        <a:pt x="31494" y="25194"/>
                      </a:cubicBezTo>
                      <a:cubicBezTo>
                        <a:pt x="32256" y="25146"/>
                        <a:pt x="33018" y="25051"/>
                        <a:pt x="33732" y="24956"/>
                      </a:cubicBez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640" name="Forma livre: Forma 639">
                  <a:extLst>
                    <a:ext uri="{FF2B5EF4-FFF2-40B4-BE49-F238E27FC236}">
                      <a16:creationId xmlns:a16="http://schemas.microsoft.com/office/drawing/2014/main" id="{BD6B0CEE-D197-C995-8424-A24487430045}"/>
                    </a:ext>
                  </a:extLst>
                </p:cNvPr>
                <p:cNvSpPr/>
                <p:nvPr/>
              </p:nvSpPr>
              <p:spPr>
                <a:xfrm>
                  <a:off x="6446703" y="2218372"/>
                  <a:ext cx="49092" cy="25090"/>
                </a:xfrm>
                <a:custGeom>
                  <a:avLst/>
                  <a:gdLst>
                    <a:gd name="connsiteX0" fmla="*/ 420 w 49092"/>
                    <a:gd name="connsiteY0" fmla="*/ 0 h 25090"/>
                    <a:gd name="connsiteX1" fmla="*/ 36139 w 49092"/>
                    <a:gd name="connsiteY1" fmla="*/ 23812 h 25090"/>
                    <a:gd name="connsiteX2" fmla="*/ 49093 w 49092"/>
                    <a:gd name="connsiteY2" fmla="*/ 20479 h 250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49092" h="25090">
                      <a:moveTo>
                        <a:pt x="420" y="0"/>
                      </a:moveTo>
                      <a:cubicBezTo>
                        <a:pt x="420" y="0"/>
                        <a:pt x="-6533" y="31766"/>
                        <a:pt x="36139" y="23812"/>
                      </a:cubicBezTo>
                      <a:cubicBezTo>
                        <a:pt x="38806" y="23336"/>
                        <a:pt x="43664" y="21908"/>
                        <a:pt x="49093" y="20479"/>
                      </a:cubicBez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641" name="Forma livre: Forma 640">
                  <a:extLst>
                    <a:ext uri="{FF2B5EF4-FFF2-40B4-BE49-F238E27FC236}">
                      <a16:creationId xmlns:a16="http://schemas.microsoft.com/office/drawing/2014/main" id="{F23D9122-E97F-E31F-6708-D8B2CC68033D}"/>
                    </a:ext>
                  </a:extLst>
                </p:cNvPr>
                <p:cNvSpPr/>
                <p:nvPr/>
              </p:nvSpPr>
              <p:spPr>
                <a:xfrm>
                  <a:off x="6467002" y="2262615"/>
                  <a:ext cx="29317" cy="20859"/>
                </a:xfrm>
                <a:custGeom>
                  <a:avLst/>
                  <a:gdLst>
                    <a:gd name="connsiteX0" fmla="*/ 3552 w 29317"/>
                    <a:gd name="connsiteY0" fmla="*/ 0 h 20859"/>
                    <a:gd name="connsiteX1" fmla="*/ 23793 w 29317"/>
                    <a:gd name="connsiteY1" fmla="*/ 20860 h 20859"/>
                    <a:gd name="connsiteX2" fmla="*/ 29318 w 29317"/>
                    <a:gd name="connsiteY2" fmla="*/ 20860 h 2085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29317" h="20859">
                      <a:moveTo>
                        <a:pt x="3552" y="0"/>
                      </a:moveTo>
                      <a:cubicBezTo>
                        <a:pt x="3552" y="0"/>
                        <a:pt x="-12545" y="20860"/>
                        <a:pt x="23793" y="20860"/>
                      </a:cubicBezTo>
                      <a:lnTo>
                        <a:pt x="29318" y="20860"/>
                      </a:ln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642" name="Gráfico 9">
                <a:extLst>
                  <a:ext uri="{FF2B5EF4-FFF2-40B4-BE49-F238E27FC236}">
                    <a16:creationId xmlns:a16="http://schemas.microsoft.com/office/drawing/2014/main" id="{9F84169D-E09F-CBD5-A7F6-789D66B5A7AE}"/>
                  </a:ext>
                </a:extLst>
              </p:cNvPr>
              <p:cNvGrpSpPr/>
              <p:nvPr/>
            </p:nvGrpSpPr>
            <p:grpSpPr>
              <a:xfrm>
                <a:off x="6518989" y="2135600"/>
                <a:ext cx="70905" cy="147875"/>
                <a:chOff x="6518989" y="2135600"/>
                <a:chExt cx="70905" cy="147875"/>
              </a:xfrm>
              <a:noFill/>
            </p:grpSpPr>
            <p:sp>
              <p:nvSpPr>
                <p:cNvPr id="643" name="Forma livre: Forma 642">
                  <a:extLst>
                    <a:ext uri="{FF2B5EF4-FFF2-40B4-BE49-F238E27FC236}">
                      <a16:creationId xmlns:a16="http://schemas.microsoft.com/office/drawing/2014/main" id="{03E45321-345C-0D00-5C27-4EA51EBAC272}"/>
                    </a:ext>
                  </a:extLst>
                </p:cNvPr>
                <p:cNvSpPr/>
                <p:nvPr/>
              </p:nvSpPr>
              <p:spPr>
                <a:xfrm>
                  <a:off x="6519465" y="2175509"/>
                  <a:ext cx="70428" cy="25090"/>
                </a:xfrm>
                <a:custGeom>
                  <a:avLst/>
                  <a:gdLst>
                    <a:gd name="connsiteX0" fmla="*/ 70009 w 70428"/>
                    <a:gd name="connsiteY0" fmla="*/ 0 h 25090"/>
                    <a:gd name="connsiteX1" fmla="*/ 34290 w 70428"/>
                    <a:gd name="connsiteY1" fmla="*/ 23812 h 25090"/>
                    <a:gd name="connsiteX2" fmla="*/ 0 w 70428"/>
                    <a:gd name="connsiteY2" fmla="*/ 16669 h 250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70428" h="25090">
                      <a:moveTo>
                        <a:pt x="70009" y="0"/>
                      </a:moveTo>
                      <a:cubicBezTo>
                        <a:pt x="70009" y="0"/>
                        <a:pt x="76962" y="31766"/>
                        <a:pt x="34290" y="23812"/>
                      </a:cubicBezTo>
                      <a:cubicBezTo>
                        <a:pt x="28051" y="22669"/>
                        <a:pt x="10287" y="16669"/>
                        <a:pt x="0" y="16669"/>
                      </a:cubicBez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644" name="Forma livre: Forma 643">
                  <a:extLst>
                    <a:ext uri="{FF2B5EF4-FFF2-40B4-BE49-F238E27FC236}">
                      <a16:creationId xmlns:a16="http://schemas.microsoft.com/office/drawing/2014/main" id="{6DAEABEC-7320-EA4F-F803-60A6AE804A86}"/>
                    </a:ext>
                  </a:extLst>
                </p:cNvPr>
                <p:cNvSpPr/>
                <p:nvPr/>
              </p:nvSpPr>
              <p:spPr>
                <a:xfrm>
                  <a:off x="6519370" y="2135600"/>
                  <a:ext cx="54735" cy="25443"/>
                </a:xfrm>
                <a:custGeom>
                  <a:avLst/>
                  <a:gdLst>
                    <a:gd name="connsiteX0" fmla="*/ 53435 w 54735"/>
                    <a:gd name="connsiteY0" fmla="*/ 0 h 25443"/>
                    <a:gd name="connsiteX1" fmla="*/ 23241 w 54735"/>
                    <a:gd name="connsiteY1" fmla="*/ 25194 h 25443"/>
                    <a:gd name="connsiteX2" fmla="*/ 0 w 54735"/>
                    <a:gd name="connsiteY2" fmla="*/ 21622 h 2544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54735" h="25443">
                      <a:moveTo>
                        <a:pt x="53435" y="0"/>
                      </a:moveTo>
                      <a:cubicBezTo>
                        <a:pt x="53435" y="0"/>
                        <a:pt x="64294" y="28385"/>
                        <a:pt x="23241" y="25194"/>
                      </a:cubicBezTo>
                      <a:cubicBezTo>
                        <a:pt x="15526" y="24622"/>
                        <a:pt x="10335" y="21622"/>
                        <a:pt x="0" y="21622"/>
                      </a:cubicBez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645" name="Forma livre: Forma 644">
                  <a:extLst>
                    <a:ext uri="{FF2B5EF4-FFF2-40B4-BE49-F238E27FC236}">
                      <a16:creationId xmlns:a16="http://schemas.microsoft.com/office/drawing/2014/main" id="{4BE027EB-37C0-4CE9-CCB2-AEE9E98FB377}"/>
                    </a:ext>
                  </a:extLst>
                </p:cNvPr>
                <p:cNvSpPr/>
                <p:nvPr/>
              </p:nvSpPr>
              <p:spPr>
                <a:xfrm>
                  <a:off x="6519465" y="2218372"/>
                  <a:ext cx="70428" cy="25090"/>
                </a:xfrm>
                <a:custGeom>
                  <a:avLst/>
                  <a:gdLst>
                    <a:gd name="connsiteX0" fmla="*/ 70009 w 70428"/>
                    <a:gd name="connsiteY0" fmla="*/ 0 h 25090"/>
                    <a:gd name="connsiteX1" fmla="*/ 34290 w 70428"/>
                    <a:gd name="connsiteY1" fmla="*/ 23812 h 25090"/>
                    <a:gd name="connsiteX2" fmla="*/ 0 w 70428"/>
                    <a:gd name="connsiteY2" fmla="*/ 16669 h 250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70428" h="25090">
                      <a:moveTo>
                        <a:pt x="70009" y="0"/>
                      </a:moveTo>
                      <a:cubicBezTo>
                        <a:pt x="70009" y="0"/>
                        <a:pt x="76962" y="31766"/>
                        <a:pt x="34290" y="23812"/>
                      </a:cubicBezTo>
                      <a:cubicBezTo>
                        <a:pt x="28051" y="22670"/>
                        <a:pt x="10287" y="16669"/>
                        <a:pt x="0" y="16669"/>
                      </a:cubicBez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646" name="Forma livre: Forma 645">
                  <a:extLst>
                    <a:ext uri="{FF2B5EF4-FFF2-40B4-BE49-F238E27FC236}">
                      <a16:creationId xmlns:a16="http://schemas.microsoft.com/office/drawing/2014/main" id="{C1B18D9A-A11A-A75D-F0D8-D33C97546A76}"/>
                    </a:ext>
                  </a:extLst>
                </p:cNvPr>
                <p:cNvSpPr/>
                <p:nvPr/>
              </p:nvSpPr>
              <p:spPr>
                <a:xfrm>
                  <a:off x="6518989" y="2262615"/>
                  <a:ext cx="50605" cy="20859"/>
                </a:xfrm>
                <a:custGeom>
                  <a:avLst/>
                  <a:gdLst>
                    <a:gd name="connsiteX0" fmla="*/ 47053 w 50605"/>
                    <a:gd name="connsiteY0" fmla="*/ 0 h 20859"/>
                    <a:gd name="connsiteX1" fmla="*/ 26813 w 50605"/>
                    <a:gd name="connsiteY1" fmla="*/ 20860 h 20859"/>
                    <a:gd name="connsiteX2" fmla="*/ 0 w 50605"/>
                    <a:gd name="connsiteY2" fmla="*/ 20860 h 2085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50605" h="20859">
                      <a:moveTo>
                        <a:pt x="47053" y="0"/>
                      </a:moveTo>
                      <a:cubicBezTo>
                        <a:pt x="47053" y="0"/>
                        <a:pt x="63151" y="20860"/>
                        <a:pt x="26813" y="20860"/>
                      </a:cubicBezTo>
                      <a:lnTo>
                        <a:pt x="0" y="20860"/>
                      </a:ln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sp>
          <p:nvSpPr>
            <p:cNvPr id="647" name="Forma livre: Forma 646">
              <a:extLst>
                <a:ext uri="{FF2B5EF4-FFF2-40B4-BE49-F238E27FC236}">
                  <a16:creationId xmlns:a16="http://schemas.microsoft.com/office/drawing/2014/main" id="{F3C1C396-289E-E9C0-5A01-DC16C37F5403}"/>
                </a:ext>
              </a:extLst>
            </p:cNvPr>
            <p:cNvSpPr/>
            <p:nvPr/>
          </p:nvSpPr>
          <p:spPr>
            <a:xfrm>
              <a:off x="6518322" y="2144648"/>
              <a:ext cx="4762" cy="152590"/>
            </a:xfrm>
            <a:custGeom>
              <a:avLst/>
              <a:gdLst>
                <a:gd name="connsiteX0" fmla="*/ 0 w 4762"/>
                <a:gd name="connsiteY0" fmla="*/ 0 h 152590"/>
                <a:gd name="connsiteX1" fmla="*/ 0 w 4762"/>
                <a:gd name="connsiteY1" fmla="*/ 152590 h 1525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762" h="152590">
                  <a:moveTo>
                    <a:pt x="0" y="0"/>
                  </a:moveTo>
                  <a:lnTo>
                    <a:pt x="0" y="15259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648" name="Gráfico 9">
            <a:extLst>
              <a:ext uri="{FF2B5EF4-FFF2-40B4-BE49-F238E27FC236}">
                <a16:creationId xmlns:a16="http://schemas.microsoft.com/office/drawing/2014/main" id="{A95DF253-C2EC-4C3F-969A-4AF2817C71AF}"/>
              </a:ext>
            </a:extLst>
          </p:cNvPr>
          <p:cNvGrpSpPr/>
          <p:nvPr/>
        </p:nvGrpSpPr>
        <p:grpSpPr>
          <a:xfrm>
            <a:off x="7072011" y="2048255"/>
            <a:ext cx="131445" cy="336232"/>
            <a:chOff x="7072011" y="2048255"/>
            <a:chExt cx="131445" cy="336232"/>
          </a:xfrm>
          <a:noFill/>
        </p:grpSpPr>
        <p:sp>
          <p:nvSpPr>
            <p:cNvPr id="649" name="Forma livre: Forma 648">
              <a:extLst>
                <a:ext uri="{FF2B5EF4-FFF2-40B4-BE49-F238E27FC236}">
                  <a16:creationId xmlns:a16="http://schemas.microsoft.com/office/drawing/2014/main" id="{5F2CB236-A889-5076-5613-A85026C71563}"/>
                </a:ext>
              </a:extLst>
            </p:cNvPr>
            <p:cNvSpPr/>
            <p:nvPr/>
          </p:nvSpPr>
          <p:spPr>
            <a:xfrm>
              <a:off x="7072011" y="2212323"/>
              <a:ext cx="131445" cy="172164"/>
            </a:xfrm>
            <a:custGeom>
              <a:avLst/>
              <a:gdLst>
                <a:gd name="connsiteX0" fmla="*/ 101965 w 131445"/>
                <a:gd name="connsiteY0" fmla="*/ 0 h 172164"/>
                <a:gd name="connsiteX1" fmla="*/ 131445 w 131445"/>
                <a:gd name="connsiteY1" fmla="*/ 46625 h 172164"/>
                <a:gd name="connsiteX2" fmla="*/ 131445 w 131445"/>
                <a:gd name="connsiteY2" fmla="*/ 148257 h 172164"/>
                <a:gd name="connsiteX3" fmla="*/ 107537 w 131445"/>
                <a:gd name="connsiteY3" fmla="*/ 172164 h 172164"/>
                <a:gd name="connsiteX4" fmla="*/ 23908 w 131445"/>
                <a:gd name="connsiteY4" fmla="*/ 172164 h 172164"/>
                <a:gd name="connsiteX5" fmla="*/ 0 w 131445"/>
                <a:gd name="connsiteY5" fmla="*/ 148257 h 172164"/>
                <a:gd name="connsiteX6" fmla="*/ 0 w 131445"/>
                <a:gd name="connsiteY6" fmla="*/ 46625 h 172164"/>
                <a:gd name="connsiteX7" fmla="*/ 15145 w 131445"/>
                <a:gd name="connsiteY7" fmla="*/ 22717 h 1721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31445" h="172164">
                  <a:moveTo>
                    <a:pt x="101965" y="0"/>
                  </a:moveTo>
                  <a:lnTo>
                    <a:pt x="131445" y="46625"/>
                  </a:lnTo>
                  <a:lnTo>
                    <a:pt x="131445" y="148257"/>
                  </a:lnTo>
                  <a:cubicBezTo>
                    <a:pt x="131445" y="161401"/>
                    <a:pt x="120682" y="172164"/>
                    <a:pt x="107537" y="172164"/>
                  </a:cubicBezTo>
                  <a:lnTo>
                    <a:pt x="23908" y="172164"/>
                  </a:lnTo>
                  <a:cubicBezTo>
                    <a:pt x="10763" y="172164"/>
                    <a:pt x="0" y="161401"/>
                    <a:pt x="0" y="148257"/>
                  </a:cubicBezTo>
                  <a:lnTo>
                    <a:pt x="0" y="46625"/>
                  </a:lnTo>
                  <a:lnTo>
                    <a:pt x="15145" y="22717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50" name="Forma livre: Forma 649">
              <a:extLst>
                <a:ext uri="{FF2B5EF4-FFF2-40B4-BE49-F238E27FC236}">
                  <a16:creationId xmlns:a16="http://schemas.microsoft.com/office/drawing/2014/main" id="{76F5C870-AA40-777B-185B-954B451062A2}"/>
                </a:ext>
              </a:extLst>
            </p:cNvPr>
            <p:cNvSpPr/>
            <p:nvPr/>
          </p:nvSpPr>
          <p:spPr>
            <a:xfrm>
              <a:off x="7090346" y="2179510"/>
              <a:ext cx="94773" cy="31861"/>
            </a:xfrm>
            <a:custGeom>
              <a:avLst/>
              <a:gdLst>
                <a:gd name="connsiteX0" fmla="*/ 49387 w 94773"/>
                <a:gd name="connsiteY0" fmla="*/ 0 h 31861"/>
                <a:gd name="connsiteX1" fmla="*/ 94774 w 94773"/>
                <a:gd name="connsiteY1" fmla="*/ 0 h 31861"/>
                <a:gd name="connsiteX2" fmla="*/ 94774 w 94773"/>
                <a:gd name="connsiteY2" fmla="*/ 31861 h 31861"/>
                <a:gd name="connsiteX3" fmla="*/ 0 w 94773"/>
                <a:gd name="connsiteY3" fmla="*/ 31861 h 31861"/>
                <a:gd name="connsiteX4" fmla="*/ 0 w 94773"/>
                <a:gd name="connsiteY4" fmla="*/ 0 h 31861"/>
                <a:gd name="connsiteX5" fmla="*/ 23098 w 94773"/>
                <a:gd name="connsiteY5" fmla="*/ 0 h 31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4773" h="31861">
                  <a:moveTo>
                    <a:pt x="49387" y="0"/>
                  </a:moveTo>
                  <a:lnTo>
                    <a:pt x="94774" y="0"/>
                  </a:lnTo>
                  <a:lnTo>
                    <a:pt x="94774" y="31861"/>
                  </a:lnTo>
                  <a:lnTo>
                    <a:pt x="0" y="31861"/>
                  </a:lnTo>
                  <a:lnTo>
                    <a:pt x="0" y="0"/>
                  </a:lnTo>
                  <a:lnTo>
                    <a:pt x="23098" y="0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51" name="Forma livre: Forma 650">
              <a:extLst>
                <a:ext uri="{FF2B5EF4-FFF2-40B4-BE49-F238E27FC236}">
                  <a16:creationId xmlns:a16="http://schemas.microsoft.com/office/drawing/2014/main" id="{09EE1DBE-DA19-227F-EDA8-E6DAB6FE53F4}"/>
                </a:ext>
              </a:extLst>
            </p:cNvPr>
            <p:cNvSpPr/>
            <p:nvPr/>
          </p:nvSpPr>
          <p:spPr>
            <a:xfrm>
              <a:off x="7081107" y="2152792"/>
              <a:ext cx="113252" cy="4762"/>
            </a:xfrm>
            <a:custGeom>
              <a:avLst/>
              <a:gdLst>
                <a:gd name="connsiteX0" fmla="*/ 0 w 113252"/>
                <a:gd name="connsiteY0" fmla="*/ 0 h 4762"/>
                <a:gd name="connsiteX1" fmla="*/ 113252 w 113252"/>
                <a:gd name="connsiteY1" fmla="*/ 0 h 47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3252" h="4762">
                  <a:moveTo>
                    <a:pt x="0" y="0"/>
                  </a:moveTo>
                  <a:lnTo>
                    <a:pt x="113252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52" name="Forma livre: Forma 651">
              <a:extLst>
                <a:ext uri="{FF2B5EF4-FFF2-40B4-BE49-F238E27FC236}">
                  <a16:creationId xmlns:a16="http://schemas.microsoft.com/office/drawing/2014/main" id="{A62B7A3E-CDA1-C70A-2E25-F1AAE6920734}"/>
                </a:ext>
              </a:extLst>
            </p:cNvPr>
            <p:cNvSpPr/>
            <p:nvPr/>
          </p:nvSpPr>
          <p:spPr>
            <a:xfrm>
              <a:off x="7113825" y="2048255"/>
              <a:ext cx="47815" cy="102965"/>
            </a:xfrm>
            <a:custGeom>
              <a:avLst/>
              <a:gdLst>
                <a:gd name="connsiteX0" fmla="*/ 0 w 47815"/>
                <a:gd name="connsiteY0" fmla="*/ 102965 h 102965"/>
                <a:gd name="connsiteX1" fmla="*/ 11668 w 47815"/>
                <a:gd name="connsiteY1" fmla="*/ 0 h 102965"/>
                <a:gd name="connsiteX2" fmla="*/ 36147 w 47815"/>
                <a:gd name="connsiteY2" fmla="*/ 0 h 102965"/>
                <a:gd name="connsiteX3" fmla="*/ 47815 w 47815"/>
                <a:gd name="connsiteY3" fmla="*/ 102965 h 1029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7815" h="102965">
                  <a:moveTo>
                    <a:pt x="0" y="102965"/>
                  </a:moveTo>
                  <a:lnTo>
                    <a:pt x="11668" y="0"/>
                  </a:lnTo>
                  <a:lnTo>
                    <a:pt x="36147" y="0"/>
                  </a:lnTo>
                  <a:lnTo>
                    <a:pt x="47815" y="102965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653" name="Gráfico 9">
              <a:extLst>
                <a:ext uri="{FF2B5EF4-FFF2-40B4-BE49-F238E27FC236}">
                  <a16:creationId xmlns:a16="http://schemas.microsoft.com/office/drawing/2014/main" id="{67D02B3F-AF3E-7E6B-AA47-5B207095A5E7}"/>
                </a:ext>
              </a:extLst>
            </p:cNvPr>
            <p:cNvGrpSpPr/>
            <p:nvPr/>
          </p:nvGrpSpPr>
          <p:grpSpPr>
            <a:xfrm>
              <a:off x="7100681" y="2154459"/>
              <a:ext cx="74104" cy="23288"/>
              <a:chOff x="7100681" y="2154459"/>
              <a:chExt cx="74104" cy="23288"/>
            </a:xfrm>
          </p:grpSpPr>
          <p:sp>
            <p:nvSpPr>
              <p:cNvPr id="654" name="Forma livre: Forma 653">
                <a:extLst>
                  <a:ext uri="{FF2B5EF4-FFF2-40B4-BE49-F238E27FC236}">
                    <a16:creationId xmlns:a16="http://schemas.microsoft.com/office/drawing/2014/main" id="{FFA29838-0561-6654-41EF-1B116C76DCEE}"/>
                  </a:ext>
                </a:extLst>
              </p:cNvPr>
              <p:cNvSpPr/>
              <p:nvPr/>
            </p:nvSpPr>
            <p:spPr>
              <a:xfrm>
                <a:off x="7100681" y="2154459"/>
                <a:ext cx="4762" cy="23288"/>
              </a:xfrm>
              <a:custGeom>
                <a:avLst/>
                <a:gdLst>
                  <a:gd name="connsiteX0" fmla="*/ 0 w 4762"/>
                  <a:gd name="connsiteY0" fmla="*/ 0 h 23288"/>
                  <a:gd name="connsiteX1" fmla="*/ 0 w 4762"/>
                  <a:gd name="connsiteY1" fmla="*/ 23289 h 232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62" h="23288">
                    <a:moveTo>
                      <a:pt x="0" y="0"/>
                    </a:moveTo>
                    <a:lnTo>
                      <a:pt x="0" y="23289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655" name="Forma livre: Forma 654">
                <a:extLst>
                  <a:ext uri="{FF2B5EF4-FFF2-40B4-BE49-F238E27FC236}">
                    <a16:creationId xmlns:a16="http://schemas.microsoft.com/office/drawing/2014/main" id="{FBB5F4D1-DBB4-DC47-8D00-EE576D7CED01}"/>
                  </a:ext>
                </a:extLst>
              </p:cNvPr>
              <p:cNvSpPr/>
              <p:nvPr/>
            </p:nvSpPr>
            <p:spPr>
              <a:xfrm>
                <a:off x="7174785" y="2154459"/>
                <a:ext cx="4762" cy="23288"/>
              </a:xfrm>
              <a:custGeom>
                <a:avLst/>
                <a:gdLst>
                  <a:gd name="connsiteX0" fmla="*/ 0 w 4762"/>
                  <a:gd name="connsiteY0" fmla="*/ 0 h 23288"/>
                  <a:gd name="connsiteX1" fmla="*/ 0 w 4762"/>
                  <a:gd name="connsiteY1" fmla="*/ 23289 h 232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62" h="23288">
                    <a:moveTo>
                      <a:pt x="0" y="0"/>
                    </a:moveTo>
                    <a:lnTo>
                      <a:pt x="0" y="23289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656" name="Forma livre: Forma 655">
              <a:extLst>
                <a:ext uri="{FF2B5EF4-FFF2-40B4-BE49-F238E27FC236}">
                  <a16:creationId xmlns:a16="http://schemas.microsoft.com/office/drawing/2014/main" id="{E53E0A0B-A7D5-B1D2-63D4-AC62264CF1B9}"/>
                </a:ext>
              </a:extLst>
            </p:cNvPr>
            <p:cNvSpPr/>
            <p:nvPr/>
          </p:nvSpPr>
          <p:spPr>
            <a:xfrm>
              <a:off x="7094823" y="2286999"/>
              <a:ext cx="106251" cy="4762"/>
            </a:xfrm>
            <a:custGeom>
              <a:avLst/>
              <a:gdLst>
                <a:gd name="connsiteX0" fmla="*/ 0 w 106251"/>
                <a:gd name="connsiteY0" fmla="*/ 0 h 4762"/>
                <a:gd name="connsiteX1" fmla="*/ 106251 w 106251"/>
                <a:gd name="connsiteY1" fmla="*/ 0 h 47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6251" h="4762">
                  <a:moveTo>
                    <a:pt x="0" y="0"/>
                  </a:moveTo>
                  <a:lnTo>
                    <a:pt x="106251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657" name="Gráfico 9">
            <a:extLst>
              <a:ext uri="{FF2B5EF4-FFF2-40B4-BE49-F238E27FC236}">
                <a16:creationId xmlns:a16="http://schemas.microsoft.com/office/drawing/2014/main" id="{CF32049B-BA7E-D077-E22F-CD19D0D5D099}"/>
              </a:ext>
            </a:extLst>
          </p:cNvPr>
          <p:cNvGrpSpPr/>
          <p:nvPr/>
        </p:nvGrpSpPr>
        <p:grpSpPr>
          <a:xfrm>
            <a:off x="7593838" y="2056828"/>
            <a:ext cx="326659" cy="319039"/>
            <a:chOff x="7593838" y="2056828"/>
            <a:chExt cx="326659" cy="319039"/>
          </a:xfrm>
        </p:grpSpPr>
        <p:sp>
          <p:nvSpPr>
            <p:cNvPr id="658" name="Forma livre: Forma 657">
              <a:extLst>
                <a:ext uri="{FF2B5EF4-FFF2-40B4-BE49-F238E27FC236}">
                  <a16:creationId xmlns:a16="http://schemas.microsoft.com/office/drawing/2014/main" id="{F3C3C785-CA6D-EEA9-10B9-1E5970E98164}"/>
                </a:ext>
              </a:extLst>
            </p:cNvPr>
            <p:cNvSpPr/>
            <p:nvPr/>
          </p:nvSpPr>
          <p:spPr>
            <a:xfrm>
              <a:off x="7694731" y="2224915"/>
              <a:ext cx="36099" cy="31061"/>
            </a:xfrm>
            <a:custGeom>
              <a:avLst/>
              <a:gdLst>
                <a:gd name="connsiteX0" fmla="*/ 35171 w 36099"/>
                <a:gd name="connsiteY0" fmla="*/ 8411 h 31061"/>
                <a:gd name="connsiteX1" fmla="*/ 23788 w 36099"/>
                <a:gd name="connsiteY1" fmla="*/ 29318 h 31061"/>
                <a:gd name="connsiteX2" fmla="*/ 929 w 36099"/>
                <a:gd name="connsiteY2" fmla="*/ 22651 h 31061"/>
                <a:gd name="connsiteX3" fmla="*/ 12311 w 36099"/>
                <a:gd name="connsiteY3" fmla="*/ 1743 h 31061"/>
                <a:gd name="connsiteX4" fmla="*/ 35171 w 36099"/>
                <a:gd name="connsiteY4" fmla="*/ 8411 h 310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6099" h="31061">
                  <a:moveTo>
                    <a:pt x="35171" y="8411"/>
                  </a:moveTo>
                  <a:cubicBezTo>
                    <a:pt x="38314" y="16031"/>
                    <a:pt x="33218" y="25365"/>
                    <a:pt x="23788" y="29318"/>
                  </a:cubicBezTo>
                  <a:cubicBezTo>
                    <a:pt x="14311" y="33271"/>
                    <a:pt x="4119" y="30271"/>
                    <a:pt x="929" y="22651"/>
                  </a:cubicBezTo>
                  <a:cubicBezTo>
                    <a:pt x="-2215" y="15031"/>
                    <a:pt x="2881" y="5696"/>
                    <a:pt x="12311" y="1743"/>
                  </a:cubicBezTo>
                  <a:cubicBezTo>
                    <a:pt x="21788" y="-2210"/>
                    <a:pt x="31980" y="791"/>
                    <a:pt x="35171" y="8411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59" name="Forma livre: Forma 658">
              <a:extLst>
                <a:ext uri="{FF2B5EF4-FFF2-40B4-BE49-F238E27FC236}">
                  <a16:creationId xmlns:a16="http://schemas.microsoft.com/office/drawing/2014/main" id="{C0679C70-1F66-CA5A-0855-234A86DDBDC8}"/>
                </a:ext>
              </a:extLst>
            </p:cNvPr>
            <p:cNvSpPr/>
            <p:nvPr/>
          </p:nvSpPr>
          <p:spPr>
            <a:xfrm>
              <a:off x="7690282" y="2284684"/>
              <a:ext cx="9423" cy="10058"/>
            </a:xfrm>
            <a:custGeom>
              <a:avLst/>
              <a:gdLst>
                <a:gd name="connsiteX0" fmla="*/ 9188 w 9423"/>
                <a:gd name="connsiteY0" fmla="*/ 8792 h 10058"/>
                <a:gd name="connsiteX1" fmla="*/ 8664 w 9423"/>
                <a:gd name="connsiteY1" fmla="*/ 9554 h 10058"/>
                <a:gd name="connsiteX2" fmla="*/ 1997 w 9423"/>
                <a:gd name="connsiteY2" fmla="*/ 7363 h 10058"/>
                <a:gd name="connsiteX3" fmla="*/ 235 w 9423"/>
                <a:gd name="connsiteY3" fmla="*/ 1220 h 10058"/>
                <a:gd name="connsiteX4" fmla="*/ 759 w 9423"/>
                <a:gd name="connsiteY4" fmla="*/ 505 h 10058"/>
                <a:gd name="connsiteX5" fmla="*/ 7426 w 9423"/>
                <a:gd name="connsiteY5" fmla="*/ 2696 h 10058"/>
                <a:gd name="connsiteX6" fmla="*/ 9188 w 9423"/>
                <a:gd name="connsiteY6" fmla="*/ 8839 h 100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9423" h="10058">
                  <a:moveTo>
                    <a:pt x="9188" y="8792"/>
                  </a:moveTo>
                  <a:cubicBezTo>
                    <a:pt x="9045" y="9078"/>
                    <a:pt x="8903" y="9316"/>
                    <a:pt x="8664" y="9554"/>
                  </a:cubicBezTo>
                  <a:cubicBezTo>
                    <a:pt x="7379" y="10649"/>
                    <a:pt x="4235" y="9983"/>
                    <a:pt x="1997" y="7363"/>
                  </a:cubicBezTo>
                  <a:cubicBezTo>
                    <a:pt x="92" y="5172"/>
                    <a:pt x="-337" y="2601"/>
                    <a:pt x="235" y="1220"/>
                  </a:cubicBezTo>
                  <a:cubicBezTo>
                    <a:pt x="378" y="934"/>
                    <a:pt x="521" y="696"/>
                    <a:pt x="759" y="505"/>
                  </a:cubicBezTo>
                  <a:cubicBezTo>
                    <a:pt x="2045" y="-590"/>
                    <a:pt x="5140" y="76"/>
                    <a:pt x="7426" y="2696"/>
                  </a:cubicBezTo>
                  <a:cubicBezTo>
                    <a:pt x="9331" y="4887"/>
                    <a:pt x="9760" y="7458"/>
                    <a:pt x="9188" y="8839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60" name="Forma livre: Forma 659">
              <a:extLst>
                <a:ext uri="{FF2B5EF4-FFF2-40B4-BE49-F238E27FC236}">
                  <a16:creationId xmlns:a16="http://schemas.microsoft.com/office/drawing/2014/main" id="{310C5931-B6D4-8945-D006-4763AB0241AF}"/>
                </a:ext>
              </a:extLst>
            </p:cNvPr>
            <p:cNvSpPr/>
            <p:nvPr/>
          </p:nvSpPr>
          <p:spPr>
            <a:xfrm>
              <a:off x="7637414" y="2168175"/>
              <a:ext cx="164115" cy="164068"/>
            </a:xfrm>
            <a:custGeom>
              <a:avLst/>
              <a:gdLst>
                <a:gd name="connsiteX0" fmla="*/ 164116 w 164115"/>
                <a:gd name="connsiteY0" fmla="*/ 82058 h 164068"/>
                <a:gd name="connsiteX1" fmla="*/ 82058 w 164115"/>
                <a:gd name="connsiteY1" fmla="*/ 164068 h 164068"/>
                <a:gd name="connsiteX2" fmla="*/ 0 w 164115"/>
                <a:gd name="connsiteY2" fmla="*/ 82058 h 164068"/>
                <a:gd name="connsiteX3" fmla="*/ 82058 w 164115"/>
                <a:gd name="connsiteY3" fmla="*/ 0 h 164068"/>
                <a:gd name="connsiteX4" fmla="*/ 164116 w 164115"/>
                <a:gd name="connsiteY4" fmla="*/ 82058 h 1640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115" h="164068">
                  <a:moveTo>
                    <a:pt x="164116" y="82058"/>
                  </a:moveTo>
                  <a:cubicBezTo>
                    <a:pt x="164116" y="127349"/>
                    <a:pt x="127397" y="164068"/>
                    <a:pt x="82058" y="164068"/>
                  </a:cubicBezTo>
                  <a:cubicBezTo>
                    <a:pt x="36719" y="164068"/>
                    <a:pt x="0" y="127349"/>
                    <a:pt x="0" y="82058"/>
                  </a:cubicBezTo>
                  <a:cubicBezTo>
                    <a:pt x="0" y="36767"/>
                    <a:pt x="36719" y="0"/>
                    <a:pt x="82058" y="0"/>
                  </a:cubicBezTo>
                  <a:cubicBezTo>
                    <a:pt x="127397" y="0"/>
                    <a:pt x="164116" y="36719"/>
                    <a:pt x="164116" y="82058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661" name="Gráfico 9">
              <a:extLst>
                <a:ext uri="{FF2B5EF4-FFF2-40B4-BE49-F238E27FC236}">
                  <a16:creationId xmlns:a16="http://schemas.microsoft.com/office/drawing/2014/main" id="{2C70AD16-48E3-A579-C294-D96647FA2468}"/>
                </a:ext>
              </a:extLst>
            </p:cNvPr>
            <p:cNvGrpSpPr/>
            <p:nvPr/>
          </p:nvGrpSpPr>
          <p:grpSpPr>
            <a:xfrm>
              <a:off x="7719472" y="2124551"/>
              <a:ext cx="4762" cy="251317"/>
              <a:chOff x="7719472" y="2124551"/>
              <a:chExt cx="4762" cy="251317"/>
            </a:xfrm>
          </p:grpSpPr>
          <p:sp>
            <p:nvSpPr>
              <p:cNvPr id="662" name="Forma livre: Forma 661">
                <a:extLst>
                  <a:ext uri="{FF2B5EF4-FFF2-40B4-BE49-F238E27FC236}">
                    <a16:creationId xmlns:a16="http://schemas.microsoft.com/office/drawing/2014/main" id="{193CF46F-8C37-9114-D1CB-E771D26E9979}"/>
                  </a:ext>
                </a:extLst>
              </p:cNvPr>
              <p:cNvSpPr/>
              <p:nvPr/>
            </p:nvSpPr>
            <p:spPr>
              <a:xfrm>
                <a:off x="7719472" y="2124551"/>
                <a:ext cx="4762" cy="41767"/>
              </a:xfrm>
              <a:custGeom>
                <a:avLst/>
                <a:gdLst>
                  <a:gd name="connsiteX0" fmla="*/ 0 w 4762"/>
                  <a:gd name="connsiteY0" fmla="*/ 0 h 41767"/>
                  <a:gd name="connsiteX1" fmla="*/ 0 w 4762"/>
                  <a:gd name="connsiteY1" fmla="*/ 41767 h 417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62" h="41767">
                    <a:moveTo>
                      <a:pt x="0" y="0"/>
                    </a:moveTo>
                    <a:lnTo>
                      <a:pt x="0" y="41767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663" name="Forma livre: Forma 662">
                <a:extLst>
                  <a:ext uri="{FF2B5EF4-FFF2-40B4-BE49-F238E27FC236}">
                    <a16:creationId xmlns:a16="http://schemas.microsoft.com/office/drawing/2014/main" id="{6A4C6851-EFE2-F772-34A9-E52CD4DECFEC}"/>
                  </a:ext>
                </a:extLst>
              </p:cNvPr>
              <p:cNvSpPr/>
              <p:nvPr/>
            </p:nvSpPr>
            <p:spPr>
              <a:xfrm>
                <a:off x="7719472" y="2334148"/>
                <a:ext cx="4762" cy="41719"/>
              </a:xfrm>
              <a:custGeom>
                <a:avLst/>
                <a:gdLst>
                  <a:gd name="connsiteX0" fmla="*/ 0 w 4762"/>
                  <a:gd name="connsiteY0" fmla="*/ 0 h 41719"/>
                  <a:gd name="connsiteX1" fmla="*/ 0 w 4762"/>
                  <a:gd name="connsiteY1" fmla="*/ 41719 h 417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62" h="41719">
                    <a:moveTo>
                      <a:pt x="0" y="0"/>
                    </a:moveTo>
                    <a:lnTo>
                      <a:pt x="0" y="41719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664" name="Gráfico 9">
              <a:extLst>
                <a:ext uri="{FF2B5EF4-FFF2-40B4-BE49-F238E27FC236}">
                  <a16:creationId xmlns:a16="http://schemas.microsoft.com/office/drawing/2014/main" id="{662060A3-AD79-7CF8-E4B2-731F8B6945B8}"/>
                </a:ext>
              </a:extLst>
            </p:cNvPr>
            <p:cNvGrpSpPr/>
            <p:nvPr/>
          </p:nvGrpSpPr>
          <p:grpSpPr>
            <a:xfrm>
              <a:off x="7593838" y="2250233"/>
              <a:ext cx="251269" cy="4762"/>
              <a:chOff x="7593838" y="2250233"/>
              <a:chExt cx="251269" cy="4762"/>
            </a:xfrm>
          </p:grpSpPr>
          <p:sp>
            <p:nvSpPr>
              <p:cNvPr id="665" name="Forma livre: Forma 664">
                <a:extLst>
                  <a:ext uri="{FF2B5EF4-FFF2-40B4-BE49-F238E27FC236}">
                    <a16:creationId xmlns:a16="http://schemas.microsoft.com/office/drawing/2014/main" id="{5F71C8B3-99B3-18F1-BB40-FABC419F81D8}"/>
                  </a:ext>
                </a:extLst>
              </p:cNvPr>
              <p:cNvSpPr/>
              <p:nvPr/>
            </p:nvSpPr>
            <p:spPr>
              <a:xfrm>
                <a:off x="7803388" y="2250233"/>
                <a:ext cx="41719" cy="4762"/>
              </a:xfrm>
              <a:custGeom>
                <a:avLst/>
                <a:gdLst>
                  <a:gd name="connsiteX0" fmla="*/ 41720 w 41719"/>
                  <a:gd name="connsiteY0" fmla="*/ 0 h 4762"/>
                  <a:gd name="connsiteX1" fmla="*/ 0 w 41719"/>
                  <a:gd name="connsiteY1" fmla="*/ 0 h 47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1719" h="4762">
                    <a:moveTo>
                      <a:pt x="41720" y="0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666" name="Forma livre: Forma 665">
                <a:extLst>
                  <a:ext uri="{FF2B5EF4-FFF2-40B4-BE49-F238E27FC236}">
                    <a16:creationId xmlns:a16="http://schemas.microsoft.com/office/drawing/2014/main" id="{354C6424-1CA5-0D35-B1B6-0F381F138546}"/>
                  </a:ext>
                </a:extLst>
              </p:cNvPr>
              <p:cNvSpPr/>
              <p:nvPr/>
            </p:nvSpPr>
            <p:spPr>
              <a:xfrm>
                <a:off x="7593838" y="2250233"/>
                <a:ext cx="41719" cy="4762"/>
              </a:xfrm>
              <a:custGeom>
                <a:avLst/>
                <a:gdLst>
                  <a:gd name="connsiteX0" fmla="*/ 41720 w 41719"/>
                  <a:gd name="connsiteY0" fmla="*/ 0 h 4762"/>
                  <a:gd name="connsiteX1" fmla="*/ 0 w 41719"/>
                  <a:gd name="connsiteY1" fmla="*/ 0 h 47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1719" h="4762">
                    <a:moveTo>
                      <a:pt x="41720" y="0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667" name="Gráfico 9">
              <a:extLst>
                <a:ext uri="{FF2B5EF4-FFF2-40B4-BE49-F238E27FC236}">
                  <a16:creationId xmlns:a16="http://schemas.microsoft.com/office/drawing/2014/main" id="{9CB82F27-59ED-53C3-2B93-861A6D103D72}"/>
                </a:ext>
              </a:extLst>
            </p:cNvPr>
            <p:cNvGrpSpPr/>
            <p:nvPr/>
          </p:nvGrpSpPr>
          <p:grpSpPr>
            <a:xfrm>
              <a:off x="7630604" y="2161365"/>
              <a:ext cx="177736" cy="177688"/>
              <a:chOff x="7630604" y="2161365"/>
              <a:chExt cx="177736" cy="177688"/>
            </a:xfrm>
          </p:grpSpPr>
          <p:sp>
            <p:nvSpPr>
              <p:cNvPr id="668" name="Forma livre: Forma 667">
                <a:extLst>
                  <a:ext uri="{FF2B5EF4-FFF2-40B4-BE49-F238E27FC236}">
                    <a16:creationId xmlns:a16="http://schemas.microsoft.com/office/drawing/2014/main" id="{7E573D8D-A8FB-534E-2033-D891F56DEDA6}"/>
                  </a:ext>
                </a:extLst>
              </p:cNvPr>
              <p:cNvSpPr/>
              <p:nvPr/>
            </p:nvSpPr>
            <p:spPr>
              <a:xfrm>
                <a:off x="7778813" y="2161365"/>
                <a:ext cx="29527" cy="29527"/>
              </a:xfrm>
              <a:custGeom>
                <a:avLst/>
                <a:gdLst>
                  <a:gd name="connsiteX0" fmla="*/ 29528 w 29527"/>
                  <a:gd name="connsiteY0" fmla="*/ 0 h 29527"/>
                  <a:gd name="connsiteX1" fmla="*/ 0 w 29527"/>
                  <a:gd name="connsiteY1" fmla="*/ 29527 h 295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9527" h="29527">
                    <a:moveTo>
                      <a:pt x="29528" y="0"/>
                    </a:moveTo>
                    <a:lnTo>
                      <a:pt x="0" y="29527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669" name="Forma livre: Forma 668">
                <a:extLst>
                  <a:ext uri="{FF2B5EF4-FFF2-40B4-BE49-F238E27FC236}">
                    <a16:creationId xmlns:a16="http://schemas.microsoft.com/office/drawing/2014/main" id="{C1EAEFED-CDCC-8DDE-2C8A-A2BA0C23BFE0}"/>
                  </a:ext>
                </a:extLst>
              </p:cNvPr>
              <p:cNvSpPr/>
              <p:nvPr/>
            </p:nvSpPr>
            <p:spPr>
              <a:xfrm>
                <a:off x="7630604" y="2309574"/>
                <a:ext cx="29527" cy="29479"/>
              </a:xfrm>
              <a:custGeom>
                <a:avLst/>
                <a:gdLst>
                  <a:gd name="connsiteX0" fmla="*/ 29528 w 29527"/>
                  <a:gd name="connsiteY0" fmla="*/ 0 h 29479"/>
                  <a:gd name="connsiteX1" fmla="*/ 0 w 29527"/>
                  <a:gd name="connsiteY1" fmla="*/ 29480 h 294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9527" h="29479">
                    <a:moveTo>
                      <a:pt x="29528" y="0"/>
                    </a:moveTo>
                    <a:lnTo>
                      <a:pt x="0" y="2948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670" name="Gráfico 9">
              <a:extLst>
                <a:ext uri="{FF2B5EF4-FFF2-40B4-BE49-F238E27FC236}">
                  <a16:creationId xmlns:a16="http://schemas.microsoft.com/office/drawing/2014/main" id="{62A1ABDD-8467-7BC1-30F1-0A17B95C710B}"/>
                </a:ext>
              </a:extLst>
            </p:cNvPr>
            <p:cNvGrpSpPr/>
            <p:nvPr/>
          </p:nvGrpSpPr>
          <p:grpSpPr>
            <a:xfrm>
              <a:off x="7630604" y="2161365"/>
              <a:ext cx="177736" cy="177688"/>
              <a:chOff x="7630604" y="2161365"/>
              <a:chExt cx="177736" cy="177688"/>
            </a:xfrm>
          </p:grpSpPr>
          <p:sp>
            <p:nvSpPr>
              <p:cNvPr id="671" name="Forma livre: Forma 670">
                <a:extLst>
                  <a:ext uri="{FF2B5EF4-FFF2-40B4-BE49-F238E27FC236}">
                    <a16:creationId xmlns:a16="http://schemas.microsoft.com/office/drawing/2014/main" id="{75D93FBA-1B6A-D467-760A-FFE0B7462509}"/>
                  </a:ext>
                </a:extLst>
              </p:cNvPr>
              <p:cNvSpPr/>
              <p:nvPr/>
            </p:nvSpPr>
            <p:spPr>
              <a:xfrm>
                <a:off x="7630604" y="2161365"/>
                <a:ext cx="29527" cy="29527"/>
              </a:xfrm>
              <a:custGeom>
                <a:avLst/>
                <a:gdLst>
                  <a:gd name="connsiteX0" fmla="*/ 0 w 29527"/>
                  <a:gd name="connsiteY0" fmla="*/ 0 h 29527"/>
                  <a:gd name="connsiteX1" fmla="*/ 29528 w 29527"/>
                  <a:gd name="connsiteY1" fmla="*/ 29527 h 295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9527" h="29527">
                    <a:moveTo>
                      <a:pt x="0" y="0"/>
                    </a:moveTo>
                    <a:lnTo>
                      <a:pt x="29528" y="29527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672" name="Forma livre: Forma 671">
                <a:extLst>
                  <a:ext uri="{FF2B5EF4-FFF2-40B4-BE49-F238E27FC236}">
                    <a16:creationId xmlns:a16="http://schemas.microsoft.com/office/drawing/2014/main" id="{2F56FEE0-01F7-876A-5426-3FF52E69301F}"/>
                  </a:ext>
                </a:extLst>
              </p:cNvPr>
              <p:cNvSpPr/>
              <p:nvPr/>
            </p:nvSpPr>
            <p:spPr>
              <a:xfrm>
                <a:off x="7778813" y="2309574"/>
                <a:ext cx="29527" cy="29479"/>
              </a:xfrm>
              <a:custGeom>
                <a:avLst/>
                <a:gdLst>
                  <a:gd name="connsiteX0" fmla="*/ 0 w 29527"/>
                  <a:gd name="connsiteY0" fmla="*/ 0 h 29479"/>
                  <a:gd name="connsiteX1" fmla="*/ 29528 w 29527"/>
                  <a:gd name="connsiteY1" fmla="*/ 29480 h 294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9527" h="29479">
                    <a:moveTo>
                      <a:pt x="0" y="0"/>
                    </a:moveTo>
                    <a:lnTo>
                      <a:pt x="29528" y="2948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673" name="Forma livre: Forma 672">
              <a:extLst>
                <a:ext uri="{FF2B5EF4-FFF2-40B4-BE49-F238E27FC236}">
                  <a16:creationId xmlns:a16="http://schemas.microsoft.com/office/drawing/2014/main" id="{A366F952-E8AA-68EA-AFA0-F14C810AABC8}"/>
                </a:ext>
              </a:extLst>
            </p:cNvPr>
            <p:cNvSpPr/>
            <p:nvPr/>
          </p:nvSpPr>
          <p:spPr>
            <a:xfrm>
              <a:off x="7662132" y="2240708"/>
              <a:ext cx="6667" cy="6667"/>
            </a:xfrm>
            <a:custGeom>
              <a:avLst/>
              <a:gdLst>
                <a:gd name="connsiteX0" fmla="*/ 6668 w 6667"/>
                <a:gd name="connsiteY0" fmla="*/ 3334 h 6667"/>
                <a:gd name="connsiteX1" fmla="*/ 3334 w 6667"/>
                <a:gd name="connsiteY1" fmla="*/ 6668 h 6667"/>
                <a:gd name="connsiteX2" fmla="*/ 0 w 6667"/>
                <a:gd name="connsiteY2" fmla="*/ 3334 h 6667"/>
                <a:gd name="connsiteX3" fmla="*/ 3334 w 6667"/>
                <a:gd name="connsiteY3" fmla="*/ 0 h 6667"/>
                <a:gd name="connsiteX4" fmla="*/ 6668 w 6667"/>
                <a:gd name="connsiteY4" fmla="*/ 3334 h 66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667" h="6667">
                  <a:moveTo>
                    <a:pt x="6668" y="3334"/>
                  </a:moveTo>
                  <a:cubicBezTo>
                    <a:pt x="6668" y="5191"/>
                    <a:pt x="5191" y="6668"/>
                    <a:pt x="3334" y="6668"/>
                  </a:cubicBezTo>
                  <a:cubicBezTo>
                    <a:pt x="1476" y="6668"/>
                    <a:pt x="0" y="5191"/>
                    <a:pt x="0" y="3334"/>
                  </a:cubicBezTo>
                  <a:cubicBezTo>
                    <a:pt x="0" y="1476"/>
                    <a:pt x="1476" y="0"/>
                    <a:pt x="3334" y="0"/>
                  </a:cubicBezTo>
                  <a:cubicBezTo>
                    <a:pt x="5191" y="0"/>
                    <a:pt x="6668" y="1476"/>
                    <a:pt x="6668" y="3334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74" name="Forma livre: Forma 673">
              <a:extLst>
                <a:ext uri="{FF2B5EF4-FFF2-40B4-BE49-F238E27FC236}">
                  <a16:creationId xmlns:a16="http://schemas.microsoft.com/office/drawing/2014/main" id="{9ED832A0-C2B1-0091-CF80-45ACD0F22521}"/>
                </a:ext>
              </a:extLst>
            </p:cNvPr>
            <p:cNvSpPr/>
            <p:nvPr/>
          </p:nvSpPr>
          <p:spPr>
            <a:xfrm>
              <a:off x="7680877" y="2202823"/>
              <a:ext cx="7706" cy="9190"/>
            </a:xfrm>
            <a:custGeom>
              <a:avLst/>
              <a:gdLst>
                <a:gd name="connsiteX0" fmla="*/ 6163 w 7706"/>
                <a:gd name="connsiteY0" fmla="*/ 6262 h 9190"/>
                <a:gd name="connsiteX1" fmla="*/ 781 w 7706"/>
                <a:gd name="connsiteY1" fmla="*/ 8882 h 9190"/>
                <a:gd name="connsiteX2" fmla="*/ 1543 w 7706"/>
                <a:gd name="connsiteY2" fmla="*/ 2929 h 9190"/>
                <a:gd name="connsiteX3" fmla="*/ 6925 w 7706"/>
                <a:gd name="connsiteY3" fmla="*/ 309 h 9190"/>
                <a:gd name="connsiteX4" fmla="*/ 6163 w 7706"/>
                <a:gd name="connsiteY4" fmla="*/ 6262 h 91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706" h="9190">
                  <a:moveTo>
                    <a:pt x="6163" y="6262"/>
                  </a:moveTo>
                  <a:cubicBezTo>
                    <a:pt x="4449" y="8644"/>
                    <a:pt x="2067" y="9787"/>
                    <a:pt x="781" y="8882"/>
                  </a:cubicBezTo>
                  <a:cubicBezTo>
                    <a:pt x="-504" y="7977"/>
                    <a:pt x="-171" y="5310"/>
                    <a:pt x="1543" y="2929"/>
                  </a:cubicBezTo>
                  <a:cubicBezTo>
                    <a:pt x="3258" y="547"/>
                    <a:pt x="5687" y="-596"/>
                    <a:pt x="6925" y="309"/>
                  </a:cubicBezTo>
                  <a:cubicBezTo>
                    <a:pt x="8211" y="1214"/>
                    <a:pt x="7877" y="3881"/>
                    <a:pt x="6163" y="6262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75" name="Forma livre: Forma 674">
              <a:extLst>
                <a:ext uri="{FF2B5EF4-FFF2-40B4-BE49-F238E27FC236}">
                  <a16:creationId xmlns:a16="http://schemas.microsoft.com/office/drawing/2014/main" id="{36E14D41-57C2-3E9B-CB14-2F4583B9E1B9}"/>
                </a:ext>
              </a:extLst>
            </p:cNvPr>
            <p:cNvSpPr/>
            <p:nvPr/>
          </p:nvSpPr>
          <p:spPr>
            <a:xfrm>
              <a:off x="7723092" y="2195321"/>
              <a:ext cx="6667" cy="6667"/>
            </a:xfrm>
            <a:custGeom>
              <a:avLst/>
              <a:gdLst>
                <a:gd name="connsiteX0" fmla="*/ 6667 w 6667"/>
                <a:gd name="connsiteY0" fmla="*/ 3334 h 6667"/>
                <a:gd name="connsiteX1" fmla="*/ 3334 w 6667"/>
                <a:gd name="connsiteY1" fmla="*/ 6667 h 6667"/>
                <a:gd name="connsiteX2" fmla="*/ 0 w 6667"/>
                <a:gd name="connsiteY2" fmla="*/ 3334 h 6667"/>
                <a:gd name="connsiteX3" fmla="*/ 3334 w 6667"/>
                <a:gd name="connsiteY3" fmla="*/ 0 h 6667"/>
                <a:gd name="connsiteX4" fmla="*/ 6667 w 6667"/>
                <a:gd name="connsiteY4" fmla="*/ 3334 h 66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667" h="6667">
                  <a:moveTo>
                    <a:pt x="6667" y="3334"/>
                  </a:moveTo>
                  <a:cubicBezTo>
                    <a:pt x="6667" y="5191"/>
                    <a:pt x="5191" y="6667"/>
                    <a:pt x="3334" y="6667"/>
                  </a:cubicBezTo>
                  <a:cubicBezTo>
                    <a:pt x="1476" y="6667"/>
                    <a:pt x="0" y="5191"/>
                    <a:pt x="0" y="3334"/>
                  </a:cubicBezTo>
                  <a:cubicBezTo>
                    <a:pt x="0" y="1476"/>
                    <a:pt x="1476" y="0"/>
                    <a:pt x="3334" y="0"/>
                  </a:cubicBezTo>
                  <a:cubicBezTo>
                    <a:pt x="5191" y="0"/>
                    <a:pt x="6667" y="1476"/>
                    <a:pt x="6667" y="3334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76" name="Forma livre: Forma 675">
              <a:extLst>
                <a:ext uri="{FF2B5EF4-FFF2-40B4-BE49-F238E27FC236}">
                  <a16:creationId xmlns:a16="http://schemas.microsoft.com/office/drawing/2014/main" id="{1F053621-7D68-D20E-471D-6FA02D3F3437}"/>
                </a:ext>
              </a:extLst>
            </p:cNvPr>
            <p:cNvSpPr/>
            <p:nvPr/>
          </p:nvSpPr>
          <p:spPr>
            <a:xfrm>
              <a:off x="7758192" y="2212514"/>
              <a:ext cx="6667" cy="6667"/>
            </a:xfrm>
            <a:custGeom>
              <a:avLst/>
              <a:gdLst>
                <a:gd name="connsiteX0" fmla="*/ 6667 w 6667"/>
                <a:gd name="connsiteY0" fmla="*/ 3334 h 6667"/>
                <a:gd name="connsiteX1" fmla="*/ 3334 w 6667"/>
                <a:gd name="connsiteY1" fmla="*/ 6667 h 6667"/>
                <a:gd name="connsiteX2" fmla="*/ 0 w 6667"/>
                <a:gd name="connsiteY2" fmla="*/ 3334 h 6667"/>
                <a:gd name="connsiteX3" fmla="*/ 3334 w 6667"/>
                <a:gd name="connsiteY3" fmla="*/ 0 h 6667"/>
                <a:gd name="connsiteX4" fmla="*/ 6667 w 6667"/>
                <a:gd name="connsiteY4" fmla="*/ 3334 h 66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667" h="6667">
                  <a:moveTo>
                    <a:pt x="6667" y="3334"/>
                  </a:moveTo>
                  <a:cubicBezTo>
                    <a:pt x="6667" y="5191"/>
                    <a:pt x="5191" y="6667"/>
                    <a:pt x="3334" y="6667"/>
                  </a:cubicBezTo>
                  <a:cubicBezTo>
                    <a:pt x="1476" y="6667"/>
                    <a:pt x="0" y="5191"/>
                    <a:pt x="0" y="3334"/>
                  </a:cubicBezTo>
                  <a:cubicBezTo>
                    <a:pt x="0" y="1476"/>
                    <a:pt x="1476" y="0"/>
                    <a:pt x="3334" y="0"/>
                  </a:cubicBezTo>
                  <a:cubicBezTo>
                    <a:pt x="5191" y="0"/>
                    <a:pt x="6667" y="1476"/>
                    <a:pt x="6667" y="3334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77" name="Forma livre: Forma 676">
              <a:extLst>
                <a:ext uri="{FF2B5EF4-FFF2-40B4-BE49-F238E27FC236}">
                  <a16:creationId xmlns:a16="http://schemas.microsoft.com/office/drawing/2014/main" id="{4ADBDCF7-67F2-5931-64F8-CCD3E2FC339A}"/>
                </a:ext>
              </a:extLst>
            </p:cNvPr>
            <p:cNvSpPr/>
            <p:nvPr/>
          </p:nvSpPr>
          <p:spPr>
            <a:xfrm>
              <a:off x="7743939" y="2267182"/>
              <a:ext cx="11884" cy="7345"/>
            </a:xfrm>
            <a:custGeom>
              <a:avLst/>
              <a:gdLst>
                <a:gd name="connsiteX0" fmla="*/ 11777 w 11884"/>
                <a:gd name="connsiteY0" fmla="*/ 5911 h 7345"/>
                <a:gd name="connsiteX1" fmla="*/ 4823 w 11884"/>
                <a:gd name="connsiteY1" fmla="*/ 6578 h 7345"/>
                <a:gd name="connsiteX2" fmla="*/ 108 w 11884"/>
                <a:gd name="connsiteY2" fmla="*/ 1435 h 7345"/>
                <a:gd name="connsiteX3" fmla="*/ 7062 w 11884"/>
                <a:gd name="connsiteY3" fmla="*/ 768 h 7345"/>
                <a:gd name="connsiteX4" fmla="*/ 11777 w 11884"/>
                <a:gd name="connsiteY4" fmla="*/ 5911 h 73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884" h="7345">
                  <a:moveTo>
                    <a:pt x="11777" y="5911"/>
                  </a:moveTo>
                  <a:cubicBezTo>
                    <a:pt x="11157" y="7531"/>
                    <a:pt x="8062" y="7816"/>
                    <a:pt x="4823" y="6578"/>
                  </a:cubicBezTo>
                  <a:cubicBezTo>
                    <a:pt x="1585" y="5340"/>
                    <a:pt x="-511" y="3006"/>
                    <a:pt x="108" y="1435"/>
                  </a:cubicBezTo>
                  <a:cubicBezTo>
                    <a:pt x="728" y="-185"/>
                    <a:pt x="3871" y="-470"/>
                    <a:pt x="7062" y="768"/>
                  </a:cubicBezTo>
                  <a:cubicBezTo>
                    <a:pt x="10300" y="2006"/>
                    <a:pt x="12396" y="4292"/>
                    <a:pt x="11777" y="5911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78" name="Forma livre: Forma 677">
              <a:extLst>
                <a:ext uri="{FF2B5EF4-FFF2-40B4-BE49-F238E27FC236}">
                  <a16:creationId xmlns:a16="http://schemas.microsoft.com/office/drawing/2014/main" id="{73B90D1C-36BD-F9FE-810D-78BA3EDA9B20}"/>
                </a:ext>
              </a:extLst>
            </p:cNvPr>
            <p:cNvSpPr/>
            <p:nvPr/>
          </p:nvSpPr>
          <p:spPr>
            <a:xfrm>
              <a:off x="7735617" y="2297429"/>
              <a:ext cx="6667" cy="6667"/>
            </a:xfrm>
            <a:custGeom>
              <a:avLst/>
              <a:gdLst>
                <a:gd name="connsiteX0" fmla="*/ 6667 w 6667"/>
                <a:gd name="connsiteY0" fmla="*/ 3334 h 6667"/>
                <a:gd name="connsiteX1" fmla="*/ 3334 w 6667"/>
                <a:gd name="connsiteY1" fmla="*/ 6667 h 6667"/>
                <a:gd name="connsiteX2" fmla="*/ 0 w 6667"/>
                <a:gd name="connsiteY2" fmla="*/ 3334 h 6667"/>
                <a:gd name="connsiteX3" fmla="*/ 3334 w 6667"/>
                <a:gd name="connsiteY3" fmla="*/ 0 h 6667"/>
                <a:gd name="connsiteX4" fmla="*/ 6667 w 6667"/>
                <a:gd name="connsiteY4" fmla="*/ 3334 h 66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667" h="6667">
                  <a:moveTo>
                    <a:pt x="6667" y="3334"/>
                  </a:moveTo>
                  <a:cubicBezTo>
                    <a:pt x="6667" y="5191"/>
                    <a:pt x="5191" y="6667"/>
                    <a:pt x="3334" y="6667"/>
                  </a:cubicBezTo>
                  <a:cubicBezTo>
                    <a:pt x="1476" y="6667"/>
                    <a:pt x="0" y="5191"/>
                    <a:pt x="0" y="3334"/>
                  </a:cubicBezTo>
                  <a:cubicBezTo>
                    <a:pt x="0" y="1476"/>
                    <a:pt x="1476" y="0"/>
                    <a:pt x="3334" y="0"/>
                  </a:cubicBezTo>
                  <a:cubicBezTo>
                    <a:pt x="5191" y="0"/>
                    <a:pt x="6667" y="1476"/>
                    <a:pt x="6667" y="3334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79" name="Forma livre: Forma 678">
              <a:extLst>
                <a:ext uri="{FF2B5EF4-FFF2-40B4-BE49-F238E27FC236}">
                  <a16:creationId xmlns:a16="http://schemas.microsoft.com/office/drawing/2014/main" id="{0A2EF34B-7A49-F14E-830E-9BA13485790C}"/>
                </a:ext>
              </a:extLst>
            </p:cNvPr>
            <p:cNvSpPr/>
            <p:nvPr/>
          </p:nvSpPr>
          <p:spPr>
            <a:xfrm>
              <a:off x="7768955" y="2242660"/>
              <a:ext cx="6667" cy="6667"/>
            </a:xfrm>
            <a:custGeom>
              <a:avLst/>
              <a:gdLst>
                <a:gd name="connsiteX0" fmla="*/ 6667 w 6667"/>
                <a:gd name="connsiteY0" fmla="*/ 3334 h 6667"/>
                <a:gd name="connsiteX1" fmla="*/ 3334 w 6667"/>
                <a:gd name="connsiteY1" fmla="*/ 6667 h 6667"/>
                <a:gd name="connsiteX2" fmla="*/ 0 w 6667"/>
                <a:gd name="connsiteY2" fmla="*/ 3334 h 6667"/>
                <a:gd name="connsiteX3" fmla="*/ 3334 w 6667"/>
                <a:gd name="connsiteY3" fmla="*/ 0 h 6667"/>
                <a:gd name="connsiteX4" fmla="*/ 6667 w 6667"/>
                <a:gd name="connsiteY4" fmla="*/ 3334 h 66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667" h="6667">
                  <a:moveTo>
                    <a:pt x="6667" y="3334"/>
                  </a:moveTo>
                  <a:cubicBezTo>
                    <a:pt x="6667" y="5191"/>
                    <a:pt x="5191" y="6667"/>
                    <a:pt x="3334" y="6667"/>
                  </a:cubicBezTo>
                  <a:cubicBezTo>
                    <a:pt x="1476" y="6667"/>
                    <a:pt x="0" y="5191"/>
                    <a:pt x="0" y="3334"/>
                  </a:cubicBezTo>
                  <a:cubicBezTo>
                    <a:pt x="0" y="1476"/>
                    <a:pt x="1476" y="0"/>
                    <a:pt x="3334" y="0"/>
                  </a:cubicBezTo>
                  <a:cubicBezTo>
                    <a:pt x="5191" y="0"/>
                    <a:pt x="6667" y="1476"/>
                    <a:pt x="6667" y="3334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80" name="Forma livre: Forma 679">
              <a:extLst>
                <a:ext uri="{FF2B5EF4-FFF2-40B4-BE49-F238E27FC236}">
                  <a16:creationId xmlns:a16="http://schemas.microsoft.com/office/drawing/2014/main" id="{12681863-A132-C9E1-DD19-24A111D1771D}"/>
                </a:ext>
              </a:extLst>
            </p:cNvPr>
            <p:cNvSpPr/>
            <p:nvPr/>
          </p:nvSpPr>
          <p:spPr>
            <a:xfrm>
              <a:off x="7822249" y="2181728"/>
              <a:ext cx="11816" cy="7778"/>
            </a:xfrm>
            <a:custGeom>
              <a:avLst/>
              <a:gdLst>
                <a:gd name="connsiteX0" fmla="*/ 474 w 11816"/>
                <a:gd name="connsiteY0" fmla="*/ 6544 h 7778"/>
                <a:gd name="connsiteX1" fmla="*/ 45 w 11816"/>
                <a:gd name="connsiteY1" fmla="*/ 5783 h 7778"/>
                <a:gd name="connsiteX2" fmla="*/ 5046 w 11816"/>
                <a:gd name="connsiteY2" fmla="*/ 448 h 7778"/>
                <a:gd name="connsiteX3" fmla="*/ 11332 w 11816"/>
                <a:gd name="connsiteY3" fmla="*/ 1210 h 7778"/>
                <a:gd name="connsiteX4" fmla="*/ 11761 w 11816"/>
                <a:gd name="connsiteY4" fmla="*/ 1973 h 7778"/>
                <a:gd name="connsiteX5" fmla="*/ 6761 w 11816"/>
                <a:gd name="connsiteY5" fmla="*/ 7306 h 7778"/>
                <a:gd name="connsiteX6" fmla="*/ 474 w 11816"/>
                <a:gd name="connsiteY6" fmla="*/ 6592 h 77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1816" h="7778">
                  <a:moveTo>
                    <a:pt x="474" y="6544"/>
                  </a:moveTo>
                  <a:cubicBezTo>
                    <a:pt x="474" y="6544"/>
                    <a:pt x="93" y="6068"/>
                    <a:pt x="45" y="5783"/>
                  </a:cubicBezTo>
                  <a:cubicBezTo>
                    <a:pt x="-336" y="4163"/>
                    <a:pt x="1712" y="1544"/>
                    <a:pt x="5046" y="448"/>
                  </a:cubicBezTo>
                  <a:cubicBezTo>
                    <a:pt x="7903" y="-456"/>
                    <a:pt x="10380" y="115"/>
                    <a:pt x="11332" y="1210"/>
                  </a:cubicBezTo>
                  <a:cubicBezTo>
                    <a:pt x="11571" y="1449"/>
                    <a:pt x="11714" y="1687"/>
                    <a:pt x="11761" y="1973"/>
                  </a:cubicBezTo>
                  <a:cubicBezTo>
                    <a:pt x="12190" y="3592"/>
                    <a:pt x="10094" y="6163"/>
                    <a:pt x="6761" y="7306"/>
                  </a:cubicBezTo>
                  <a:cubicBezTo>
                    <a:pt x="3903" y="8259"/>
                    <a:pt x="1427" y="7640"/>
                    <a:pt x="474" y="6592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81" name="Forma livre: Forma 680">
              <a:extLst>
                <a:ext uri="{FF2B5EF4-FFF2-40B4-BE49-F238E27FC236}">
                  <a16:creationId xmlns:a16="http://schemas.microsoft.com/office/drawing/2014/main" id="{EAA41FAF-265C-BEBD-BCAF-C259A5593C0A}"/>
                </a:ext>
              </a:extLst>
            </p:cNvPr>
            <p:cNvSpPr/>
            <p:nvPr/>
          </p:nvSpPr>
          <p:spPr>
            <a:xfrm>
              <a:off x="7755239" y="2091010"/>
              <a:ext cx="131171" cy="131189"/>
            </a:xfrm>
            <a:custGeom>
              <a:avLst/>
              <a:gdLst>
                <a:gd name="connsiteX0" fmla="*/ 0 w 131171"/>
                <a:gd name="connsiteY0" fmla="*/ 63163 h 131189"/>
                <a:gd name="connsiteX1" fmla="*/ 57626 w 131171"/>
                <a:gd name="connsiteY1" fmla="*/ 489 h 131189"/>
                <a:gd name="connsiteX2" fmla="*/ 130683 w 131171"/>
                <a:gd name="connsiteY2" fmla="*/ 57639 h 131189"/>
                <a:gd name="connsiteX3" fmla="*/ 73533 w 131171"/>
                <a:gd name="connsiteY3" fmla="*/ 130695 h 131189"/>
                <a:gd name="connsiteX4" fmla="*/ 61913 w 131171"/>
                <a:gd name="connsiteY4" fmla="*/ 131076 h 1311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1171" h="131189">
                  <a:moveTo>
                    <a:pt x="0" y="63163"/>
                  </a:moveTo>
                  <a:cubicBezTo>
                    <a:pt x="1143" y="31492"/>
                    <a:pt x="25146" y="4441"/>
                    <a:pt x="57626" y="489"/>
                  </a:cubicBezTo>
                  <a:cubicBezTo>
                    <a:pt x="93583" y="-3893"/>
                    <a:pt x="126301" y="21682"/>
                    <a:pt x="130683" y="57639"/>
                  </a:cubicBezTo>
                  <a:cubicBezTo>
                    <a:pt x="135064" y="93595"/>
                    <a:pt x="109490" y="126314"/>
                    <a:pt x="73533" y="130695"/>
                  </a:cubicBezTo>
                  <a:cubicBezTo>
                    <a:pt x="69628" y="131172"/>
                    <a:pt x="65722" y="131314"/>
                    <a:pt x="61913" y="131076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82" name="Forma livre: Forma 681">
              <a:extLst>
                <a:ext uri="{FF2B5EF4-FFF2-40B4-BE49-F238E27FC236}">
                  <a16:creationId xmlns:a16="http://schemas.microsoft.com/office/drawing/2014/main" id="{25312C9E-A020-6C7B-5C5D-DE048AD6E742}"/>
                </a:ext>
              </a:extLst>
            </p:cNvPr>
            <p:cNvSpPr/>
            <p:nvPr/>
          </p:nvSpPr>
          <p:spPr>
            <a:xfrm>
              <a:off x="7808626" y="2056828"/>
              <a:ext cx="4048" cy="33146"/>
            </a:xfrm>
            <a:custGeom>
              <a:avLst/>
              <a:gdLst>
                <a:gd name="connsiteX0" fmla="*/ 0 w 4048"/>
                <a:gd name="connsiteY0" fmla="*/ 0 h 33146"/>
                <a:gd name="connsiteX1" fmla="*/ 4048 w 4048"/>
                <a:gd name="connsiteY1" fmla="*/ 33147 h 331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048" h="33146">
                  <a:moveTo>
                    <a:pt x="0" y="0"/>
                  </a:moveTo>
                  <a:lnTo>
                    <a:pt x="4048" y="33147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83" name="Forma livre: Forma 682">
              <a:extLst>
                <a:ext uri="{FF2B5EF4-FFF2-40B4-BE49-F238E27FC236}">
                  <a16:creationId xmlns:a16="http://schemas.microsoft.com/office/drawing/2014/main" id="{895A1E43-03BF-143D-D755-22A078C515C0}"/>
                </a:ext>
              </a:extLst>
            </p:cNvPr>
            <p:cNvSpPr/>
            <p:nvPr/>
          </p:nvSpPr>
          <p:spPr>
            <a:xfrm>
              <a:off x="7887351" y="2144410"/>
              <a:ext cx="33146" cy="4048"/>
            </a:xfrm>
            <a:custGeom>
              <a:avLst/>
              <a:gdLst>
                <a:gd name="connsiteX0" fmla="*/ 33147 w 33146"/>
                <a:gd name="connsiteY0" fmla="*/ 0 h 4048"/>
                <a:gd name="connsiteX1" fmla="*/ 0 w 33146"/>
                <a:gd name="connsiteY1" fmla="*/ 4048 h 4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3146" h="4048">
                  <a:moveTo>
                    <a:pt x="33147" y="0"/>
                  </a:moveTo>
                  <a:lnTo>
                    <a:pt x="0" y="4048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84" name="Forma livre: Forma 683">
              <a:extLst>
                <a:ext uri="{FF2B5EF4-FFF2-40B4-BE49-F238E27FC236}">
                  <a16:creationId xmlns:a16="http://schemas.microsoft.com/office/drawing/2014/main" id="{405011D5-981A-39EE-3A8C-A2A84DD24416}"/>
                </a:ext>
              </a:extLst>
            </p:cNvPr>
            <p:cNvSpPr/>
            <p:nvPr/>
          </p:nvSpPr>
          <p:spPr>
            <a:xfrm>
              <a:off x="7862109" y="2077449"/>
              <a:ext cx="20573" cy="26288"/>
            </a:xfrm>
            <a:custGeom>
              <a:avLst/>
              <a:gdLst>
                <a:gd name="connsiteX0" fmla="*/ 20574 w 20573"/>
                <a:gd name="connsiteY0" fmla="*/ 0 h 26288"/>
                <a:gd name="connsiteX1" fmla="*/ 0 w 20573"/>
                <a:gd name="connsiteY1" fmla="*/ 26289 h 262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0573" h="26288">
                  <a:moveTo>
                    <a:pt x="20574" y="0"/>
                  </a:moveTo>
                  <a:lnTo>
                    <a:pt x="0" y="26289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685" name="Gráfico 9">
              <a:extLst>
                <a:ext uri="{FF2B5EF4-FFF2-40B4-BE49-F238E27FC236}">
                  <a16:creationId xmlns:a16="http://schemas.microsoft.com/office/drawing/2014/main" id="{63D81F42-2FFF-527C-EEC9-DE0DE6CA6060}"/>
                </a:ext>
              </a:extLst>
            </p:cNvPr>
            <p:cNvGrpSpPr/>
            <p:nvPr/>
          </p:nvGrpSpPr>
          <p:grpSpPr>
            <a:xfrm>
              <a:off x="7741666" y="2094642"/>
              <a:ext cx="158210" cy="123872"/>
              <a:chOff x="7741666" y="2094642"/>
              <a:chExt cx="158210" cy="123872"/>
            </a:xfrm>
          </p:grpSpPr>
          <p:sp>
            <p:nvSpPr>
              <p:cNvPr id="686" name="Forma livre: Forma 685">
                <a:extLst>
                  <a:ext uri="{FF2B5EF4-FFF2-40B4-BE49-F238E27FC236}">
                    <a16:creationId xmlns:a16="http://schemas.microsoft.com/office/drawing/2014/main" id="{555F2065-055F-5789-F6AF-CFA7A53B23C2}"/>
                  </a:ext>
                </a:extLst>
              </p:cNvPr>
              <p:cNvSpPr/>
              <p:nvPr/>
            </p:nvSpPr>
            <p:spPr>
              <a:xfrm>
                <a:off x="7741666" y="2094642"/>
                <a:ext cx="26288" cy="20621"/>
              </a:xfrm>
              <a:custGeom>
                <a:avLst/>
                <a:gdLst>
                  <a:gd name="connsiteX0" fmla="*/ 0 w 26288"/>
                  <a:gd name="connsiteY0" fmla="*/ 0 h 20621"/>
                  <a:gd name="connsiteX1" fmla="*/ 26289 w 26288"/>
                  <a:gd name="connsiteY1" fmla="*/ 20622 h 206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6288" h="20621">
                    <a:moveTo>
                      <a:pt x="0" y="0"/>
                    </a:moveTo>
                    <a:lnTo>
                      <a:pt x="26289" y="20622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687" name="Forma livre: Forma 686">
                <a:extLst>
                  <a:ext uri="{FF2B5EF4-FFF2-40B4-BE49-F238E27FC236}">
                    <a16:creationId xmlns:a16="http://schemas.microsoft.com/office/drawing/2014/main" id="{5288BE99-2419-3E9D-5893-D449860438A0}"/>
                  </a:ext>
                </a:extLst>
              </p:cNvPr>
              <p:cNvSpPr/>
              <p:nvPr/>
            </p:nvSpPr>
            <p:spPr>
              <a:xfrm>
                <a:off x="7873635" y="2197941"/>
                <a:ext cx="26241" cy="20573"/>
              </a:xfrm>
              <a:custGeom>
                <a:avLst/>
                <a:gdLst>
                  <a:gd name="connsiteX0" fmla="*/ 0 w 26241"/>
                  <a:gd name="connsiteY0" fmla="*/ 0 h 20573"/>
                  <a:gd name="connsiteX1" fmla="*/ 26241 w 26241"/>
                  <a:gd name="connsiteY1" fmla="*/ 20574 h 205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6241" h="20573">
                    <a:moveTo>
                      <a:pt x="0" y="0"/>
                    </a:moveTo>
                    <a:lnTo>
                      <a:pt x="26241" y="20574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688" name="Forma livre: Forma 687">
              <a:extLst>
                <a:ext uri="{FF2B5EF4-FFF2-40B4-BE49-F238E27FC236}">
                  <a16:creationId xmlns:a16="http://schemas.microsoft.com/office/drawing/2014/main" id="{66F0F724-E603-40EA-7FD8-DCB7059D1461}"/>
                </a:ext>
              </a:extLst>
            </p:cNvPr>
            <p:cNvSpPr/>
            <p:nvPr/>
          </p:nvSpPr>
          <p:spPr>
            <a:xfrm>
              <a:off x="7831178" y="2121956"/>
              <a:ext cx="5331" cy="5331"/>
            </a:xfrm>
            <a:custGeom>
              <a:avLst/>
              <a:gdLst>
                <a:gd name="connsiteX0" fmla="*/ 5309 w 5331"/>
                <a:gd name="connsiteY0" fmla="*/ 2356 h 5331"/>
                <a:gd name="connsiteX1" fmla="*/ 2975 w 5331"/>
                <a:gd name="connsiteY1" fmla="*/ 5309 h 5331"/>
                <a:gd name="connsiteX2" fmla="*/ 22 w 5331"/>
                <a:gd name="connsiteY2" fmla="*/ 2975 h 5331"/>
                <a:gd name="connsiteX3" fmla="*/ 2356 w 5331"/>
                <a:gd name="connsiteY3" fmla="*/ 22 h 5331"/>
                <a:gd name="connsiteX4" fmla="*/ 5309 w 5331"/>
                <a:gd name="connsiteY4" fmla="*/ 2356 h 53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331" h="5331">
                  <a:moveTo>
                    <a:pt x="5309" y="2356"/>
                  </a:moveTo>
                  <a:cubicBezTo>
                    <a:pt x="5499" y="3832"/>
                    <a:pt x="4452" y="5166"/>
                    <a:pt x="2975" y="5309"/>
                  </a:cubicBezTo>
                  <a:cubicBezTo>
                    <a:pt x="1499" y="5499"/>
                    <a:pt x="213" y="4452"/>
                    <a:pt x="22" y="2975"/>
                  </a:cubicBezTo>
                  <a:cubicBezTo>
                    <a:pt x="-168" y="1499"/>
                    <a:pt x="880" y="165"/>
                    <a:pt x="2356" y="22"/>
                  </a:cubicBezTo>
                  <a:cubicBezTo>
                    <a:pt x="3832" y="-168"/>
                    <a:pt x="5118" y="880"/>
                    <a:pt x="5309" y="2356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89" name="Forma livre: Forma 688">
              <a:extLst>
                <a:ext uri="{FF2B5EF4-FFF2-40B4-BE49-F238E27FC236}">
                  <a16:creationId xmlns:a16="http://schemas.microsoft.com/office/drawing/2014/main" id="{0CF58814-1E62-ED10-EEF3-F678FAEFC0E4}"/>
                </a:ext>
              </a:extLst>
            </p:cNvPr>
            <p:cNvSpPr/>
            <p:nvPr/>
          </p:nvSpPr>
          <p:spPr>
            <a:xfrm>
              <a:off x="7791935" y="2132863"/>
              <a:ext cx="5331" cy="5331"/>
            </a:xfrm>
            <a:custGeom>
              <a:avLst/>
              <a:gdLst>
                <a:gd name="connsiteX0" fmla="*/ 5309 w 5331"/>
                <a:gd name="connsiteY0" fmla="*/ 2356 h 5331"/>
                <a:gd name="connsiteX1" fmla="*/ 2975 w 5331"/>
                <a:gd name="connsiteY1" fmla="*/ 5309 h 5331"/>
                <a:gd name="connsiteX2" fmla="*/ 22 w 5331"/>
                <a:gd name="connsiteY2" fmla="*/ 2975 h 5331"/>
                <a:gd name="connsiteX3" fmla="*/ 2356 w 5331"/>
                <a:gd name="connsiteY3" fmla="*/ 22 h 5331"/>
                <a:gd name="connsiteX4" fmla="*/ 5309 w 5331"/>
                <a:gd name="connsiteY4" fmla="*/ 2356 h 53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331" h="5331">
                  <a:moveTo>
                    <a:pt x="5309" y="2356"/>
                  </a:moveTo>
                  <a:cubicBezTo>
                    <a:pt x="5499" y="3832"/>
                    <a:pt x="4451" y="5166"/>
                    <a:pt x="2975" y="5309"/>
                  </a:cubicBezTo>
                  <a:cubicBezTo>
                    <a:pt x="1499" y="5499"/>
                    <a:pt x="213" y="4451"/>
                    <a:pt x="22" y="2975"/>
                  </a:cubicBezTo>
                  <a:cubicBezTo>
                    <a:pt x="-168" y="1499"/>
                    <a:pt x="880" y="165"/>
                    <a:pt x="2356" y="22"/>
                  </a:cubicBezTo>
                  <a:cubicBezTo>
                    <a:pt x="3832" y="-168"/>
                    <a:pt x="5166" y="880"/>
                    <a:pt x="5309" y="2356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90" name="Forma livre: Forma 689">
              <a:extLst>
                <a:ext uri="{FF2B5EF4-FFF2-40B4-BE49-F238E27FC236}">
                  <a16:creationId xmlns:a16="http://schemas.microsoft.com/office/drawing/2014/main" id="{A6FA4432-8EA7-1265-9312-07824DB33311}"/>
                </a:ext>
              </a:extLst>
            </p:cNvPr>
            <p:cNvSpPr/>
            <p:nvPr/>
          </p:nvSpPr>
          <p:spPr>
            <a:xfrm>
              <a:off x="7845333" y="2150151"/>
              <a:ext cx="9977" cy="5424"/>
            </a:xfrm>
            <a:custGeom>
              <a:avLst/>
              <a:gdLst>
                <a:gd name="connsiteX0" fmla="*/ 9966 w 9977"/>
                <a:gd name="connsiteY0" fmla="*/ 2117 h 5424"/>
                <a:gd name="connsiteX1" fmla="*/ 5298 w 9977"/>
                <a:gd name="connsiteY1" fmla="*/ 5355 h 5424"/>
                <a:gd name="connsiteX2" fmla="*/ 12 w 9977"/>
                <a:gd name="connsiteY2" fmla="*/ 3308 h 5424"/>
                <a:gd name="connsiteX3" fmla="*/ 4679 w 9977"/>
                <a:gd name="connsiteY3" fmla="*/ 69 h 5424"/>
                <a:gd name="connsiteX4" fmla="*/ 9966 w 9977"/>
                <a:gd name="connsiteY4" fmla="*/ 2117 h 54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977" h="5424">
                  <a:moveTo>
                    <a:pt x="9966" y="2117"/>
                  </a:moveTo>
                  <a:cubicBezTo>
                    <a:pt x="10156" y="3593"/>
                    <a:pt x="8061" y="5070"/>
                    <a:pt x="5298" y="5355"/>
                  </a:cubicBezTo>
                  <a:cubicBezTo>
                    <a:pt x="2536" y="5689"/>
                    <a:pt x="203" y="4784"/>
                    <a:pt x="12" y="3308"/>
                  </a:cubicBezTo>
                  <a:cubicBezTo>
                    <a:pt x="-178" y="1831"/>
                    <a:pt x="1917" y="402"/>
                    <a:pt x="4679" y="69"/>
                  </a:cubicBezTo>
                  <a:cubicBezTo>
                    <a:pt x="7442" y="-264"/>
                    <a:pt x="9775" y="641"/>
                    <a:pt x="9966" y="2117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691" name="Gráfico 9">
            <a:extLst>
              <a:ext uri="{FF2B5EF4-FFF2-40B4-BE49-F238E27FC236}">
                <a16:creationId xmlns:a16="http://schemas.microsoft.com/office/drawing/2014/main" id="{22346451-9E71-C08E-33B9-254BFAFAF763}"/>
              </a:ext>
            </a:extLst>
          </p:cNvPr>
          <p:cNvGrpSpPr/>
          <p:nvPr/>
        </p:nvGrpSpPr>
        <p:grpSpPr>
          <a:xfrm>
            <a:off x="6383736" y="2599469"/>
            <a:ext cx="269174" cy="293844"/>
            <a:chOff x="6383736" y="2599469"/>
            <a:chExt cx="269174" cy="293844"/>
          </a:xfrm>
          <a:noFill/>
        </p:grpSpPr>
        <p:sp>
          <p:nvSpPr>
            <p:cNvPr id="692" name="Forma livre: Forma 691">
              <a:extLst>
                <a:ext uri="{FF2B5EF4-FFF2-40B4-BE49-F238E27FC236}">
                  <a16:creationId xmlns:a16="http://schemas.microsoft.com/office/drawing/2014/main" id="{A0B45816-ADA9-0C53-5EF2-CE22D51B7595}"/>
                </a:ext>
              </a:extLst>
            </p:cNvPr>
            <p:cNvSpPr/>
            <p:nvPr/>
          </p:nvSpPr>
          <p:spPr>
            <a:xfrm>
              <a:off x="6444265" y="2824495"/>
              <a:ext cx="155495" cy="66198"/>
            </a:xfrm>
            <a:custGeom>
              <a:avLst/>
              <a:gdLst>
                <a:gd name="connsiteX0" fmla="*/ 0 w 155495"/>
                <a:gd name="connsiteY0" fmla="*/ 66199 h 66198"/>
                <a:gd name="connsiteX1" fmla="*/ 155496 w 155495"/>
                <a:gd name="connsiteY1" fmla="*/ 66199 h 66198"/>
                <a:gd name="connsiteX2" fmla="*/ 155496 w 155495"/>
                <a:gd name="connsiteY2" fmla="*/ 0 h 66198"/>
                <a:gd name="connsiteX3" fmla="*/ 81534 w 155495"/>
                <a:gd name="connsiteY3" fmla="*/ 0 h 66198"/>
                <a:gd name="connsiteX4" fmla="*/ 0 w 155495"/>
                <a:gd name="connsiteY4" fmla="*/ 66199 h 661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5495" h="66198">
                  <a:moveTo>
                    <a:pt x="0" y="66199"/>
                  </a:moveTo>
                  <a:lnTo>
                    <a:pt x="155496" y="66199"/>
                  </a:lnTo>
                  <a:cubicBezTo>
                    <a:pt x="155496" y="66199"/>
                    <a:pt x="155496" y="0"/>
                    <a:pt x="155496" y="0"/>
                  </a:cubicBezTo>
                  <a:lnTo>
                    <a:pt x="81534" y="0"/>
                  </a:lnTo>
                  <a:cubicBezTo>
                    <a:pt x="26480" y="0"/>
                    <a:pt x="0" y="66199"/>
                    <a:pt x="0" y="66199"/>
                  </a:cubicBez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93" name="Forma livre: Forma 692">
              <a:extLst>
                <a:ext uri="{FF2B5EF4-FFF2-40B4-BE49-F238E27FC236}">
                  <a16:creationId xmlns:a16="http://schemas.microsoft.com/office/drawing/2014/main" id="{2B074A45-5A3A-B95C-27B6-1605425598F2}"/>
                </a:ext>
              </a:extLst>
            </p:cNvPr>
            <p:cNvSpPr/>
            <p:nvPr/>
          </p:nvSpPr>
          <p:spPr>
            <a:xfrm>
              <a:off x="6395943" y="2651283"/>
              <a:ext cx="130618" cy="239410"/>
            </a:xfrm>
            <a:custGeom>
              <a:avLst/>
              <a:gdLst>
                <a:gd name="connsiteX0" fmla="*/ 130619 w 130618"/>
                <a:gd name="connsiteY0" fmla="*/ 172974 h 239410"/>
                <a:gd name="connsiteX1" fmla="*/ 84470 w 130618"/>
                <a:gd name="connsiteY1" fmla="*/ 0 h 239410"/>
                <a:gd name="connsiteX2" fmla="*/ 221 w 130618"/>
                <a:gd name="connsiteY2" fmla="*/ 59626 h 239410"/>
                <a:gd name="connsiteX3" fmla="*/ 48323 w 130618"/>
                <a:gd name="connsiteY3" fmla="*/ 239411 h 2394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0618" h="239410">
                  <a:moveTo>
                    <a:pt x="130619" y="172974"/>
                  </a:moveTo>
                  <a:lnTo>
                    <a:pt x="84470" y="0"/>
                  </a:lnTo>
                  <a:cubicBezTo>
                    <a:pt x="84470" y="0"/>
                    <a:pt x="-5017" y="40434"/>
                    <a:pt x="221" y="59626"/>
                  </a:cubicBezTo>
                  <a:lnTo>
                    <a:pt x="48323" y="239411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94" name="Forma livre: Forma 693">
              <a:extLst>
                <a:ext uri="{FF2B5EF4-FFF2-40B4-BE49-F238E27FC236}">
                  <a16:creationId xmlns:a16="http://schemas.microsoft.com/office/drawing/2014/main" id="{536B74D2-89F5-56C8-3410-E8463E9E45D4}"/>
                </a:ext>
              </a:extLst>
            </p:cNvPr>
            <p:cNvSpPr/>
            <p:nvPr/>
          </p:nvSpPr>
          <p:spPr>
            <a:xfrm>
              <a:off x="6383736" y="2599469"/>
              <a:ext cx="77912" cy="77055"/>
            </a:xfrm>
            <a:custGeom>
              <a:avLst/>
              <a:gdLst>
                <a:gd name="connsiteX0" fmla="*/ 77912 w 77912"/>
                <a:gd name="connsiteY0" fmla="*/ 39241 h 77055"/>
                <a:gd name="connsiteX1" fmla="*/ 69054 w 77912"/>
                <a:gd name="connsiteY1" fmla="*/ 6237 h 77055"/>
                <a:gd name="connsiteX2" fmla="*/ 58767 w 77912"/>
                <a:gd name="connsiteY2" fmla="*/ 284 h 77055"/>
                <a:gd name="connsiteX3" fmla="*/ 6237 w 77912"/>
                <a:gd name="connsiteY3" fmla="*/ 14285 h 77055"/>
                <a:gd name="connsiteX4" fmla="*/ 284 w 77912"/>
                <a:gd name="connsiteY4" fmla="*/ 24572 h 77055"/>
                <a:gd name="connsiteX5" fmla="*/ 14285 w 77912"/>
                <a:gd name="connsiteY5" fmla="*/ 77055 h 770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7912" h="77055">
                  <a:moveTo>
                    <a:pt x="77912" y="39241"/>
                  </a:moveTo>
                  <a:lnTo>
                    <a:pt x="69054" y="6237"/>
                  </a:lnTo>
                  <a:cubicBezTo>
                    <a:pt x="67864" y="1760"/>
                    <a:pt x="63244" y="-907"/>
                    <a:pt x="58767" y="284"/>
                  </a:cubicBezTo>
                  <a:lnTo>
                    <a:pt x="6237" y="14285"/>
                  </a:lnTo>
                  <a:cubicBezTo>
                    <a:pt x="1760" y="15476"/>
                    <a:pt x="-907" y="20096"/>
                    <a:pt x="284" y="24572"/>
                  </a:cubicBezTo>
                  <a:lnTo>
                    <a:pt x="14285" y="77055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95" name="Forma livre: Forma 694">
              <a:extLst>
                <a:ext uri="{FF2B5EF4-FFF2-40B4-BE49-F238E27FC236}">
                  <a16:creationId xmlns:a16="http://schemas.microsoft.com/office/drawing/2014/main" id="{9E8E8D38-D07B-7C66-47B5-1C04E2F84EE4}"/>
                </a:ext>
              </a:extLst>
            </p:cNvPr>
            <p:cNvSpPr/>
            <p:nvPr/>
          </p:nvSpPr>
          <p:spPr>
            <a:xfrm>
              <a:off x="6551422" y="2827591"/>
              <a:ext cx="4762" cy="60293"/>
            </a:xfrm>
            <a:custGeom>
              <a:avLst/>
              <a:gdLst>
                <a:gd name="connsiteX0" fmla="*/ 0 w 4762"/>
                <a:gd name="connsiteY0" fmla="*/ 0 h 60293"/>
                <a:gd name="connsiteX1" fmla="*/ 0 w 4762"/>
                <a:gd name="connsiteY1" fmla="*/ 60293 h 602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762" h="60293">
                  <a:moveTo>
                    <a:pt x="0" y="0"/>
                  </a:moveTo>
                  <a:lnTo>
                    <a:pt x="0" y="60293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696" name="Gráfico 9">
              <a:extLst>
                <a:ext uri="{FF2B5EF4-FFF2-40B4-BE49-F238E27FC236}">
                  <a16:creationId xmlns:a16="http://schemas.microsoft.com/office/drawing/2014/main" id="{B1B032BE-8661-A863-EBA2-6AD27B3B6677}"/>
                </a:ext>
              </a:extLst>
            </p:cNvPr>
            <p:cNvGrpSpPr/>
            <p:nvPr/>
          </p:nvGrpSpPr>
          <p:grpSpPr>
            <a:xfrm>
              <a:off x="6624955" y="2822018"/>
              <a:ext cx="27955" cy="71294"/>
              <a:chOff x="6624955" y="2822018"/>
              <a:chExt cx="27955" cy="71294"/>
            </a:xfrm>
          </p:grpSpPr>
          <p:sp>
            <p:nvSpPr>
              <p:cNvPr id="697" name="Forma livre: Forma 696">
                <a:extLst>
                  <a:ext uri="{FF2B5EF4-FFF2-40B4-BE49-F238E27FC236}">
                    <a16:creationId xmlns:a16="http://schemas.microsoft.com/office/drawing/2014/main" id="{2C3F48EC-756C-F307-B39F-C7DB199D6A01}"/>
                  </a:ext>
                </a:extLst>
              </p:cNvPr>
              <p:cNvSpPr/>
              <p:nvPr/>
            </p:nvSpPr>
            <p:spPr>
              <a:xfrm>
                <a:off x="6624955" y="2857642"/>
                <a:ext cx="27955" cy="4762"/>
              </a:xfrm>
              <a:custGeom>
                <a:avLst/>
                <a:gdLst>
                  <a:gd name="connsiteX0" fmla="*/ 0 w 27955"/>
                  <a:gd name="connsiteY0" fmla="*/ 0 h 4762"/>
                  <a:gd name="connsiteX1" fmla="*/ 27956 w 27955"/>
                  <a:gd name="connsiteY1" fmla="*/ 0 h 47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7955" h="4762">
                    <a:moveTo>
                      <a:pt x="0" y="0"/>
                    </a:moveTo>
                    <a:lnTo>
                      <a:pt x="27956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698" name="Gráfico 9">
                <a:extLst>
                  <a:ext uri="{FF2B5EF4-FFF2-40B4-BE49-F238E27FC236}">
                    <a16:creationId xmlns:a16="http://schemas.microsoft.com/office/drawing/2014/main" id="{9EE13DFC-8A93-0DC3-CA57-3F1C81BB5DBD}"/>
                  </a:ext>
                </a:extLst>
              </p:cNvPr>
              <p:cNvGrpSpPr/>
              <p:nvPr/>
            </p:nvGrpSpPr>
            <p:grpSpPr>
              <a:xfrm>
                <a:off x="6624955" y="2822018"/>
                <a:ext cx="24907" cy="71294"/>
                <a:chOff x="6624955" y="2822018"/>
                <a:chExt cx="24907" cy="71294"/>
              </a:xfrm>
            </p:grpSpPr>
            <p:sp>
              <p:nvSpPr>
                <p:cNvPr id="699" name="Forma livre: Forma 698">
                  <a:extLst>
                    <a:ext uri="{FF2B5EF4-FFF2-40B4-BE49-F238E27FC236}">
                      <a16:creationId xmlns:a16="http://schemas.microsoft.com/office/drawing/2014/main" id="{D6BAE408-3BEA-8FCD-EAFD-5206A927EB06}"/>
                    </a:ext>
                  </a:extLst>
                </p:cNvPr>
                <p:cNvSpPr/>
                <p:nvPr/>
              </p:nvSpPr>
              <p:spPr>
                <a:xfrm>
                  <a:off x="6624955" y="2822018"/>
                  <a:ext cx="24907" cy="11668"/>
                </a:xfrm>
                <a:custGeom>
                  <a:avLst/>
                  <a:gdLst>
                    <a:gd name="connsiteX0" fmla="*/ 0 w 24907"/>
                    <a:gd name="connsiteY0" fmla="*/ 11668 h 11668"/>
                    <a:gd name="connsiteX1" fmla="*/ 24908 w 24907"/>
                    <a:gd name="connsiteY1" fmla="*/ 0 h 1166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4907" h="11668">
                      <a:moveTo>
                        <a:pt x="0" y="11668"/>
                      </a:moveTo>
                      <a:lnTo>
                        <a:pt x="24908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700" name="Forma livre: Forma 699">
                  <a:extLst>
                    <a:ext uri="{FF2B5EF4-FFF2-40B4-BE49-F238E27FC236}">
                      <a16:creationId xmlns:a16="http://schemas.microsoft.com/office/drawing/2014/main" id="{9AC09F66-901B-419D-7C0A-05B4D3E6C193}"/>
                    </a:ext>
                  </a:extLst>
                </p:cNvPr>
                <p:cNvSpPr/>
                <p:nvPr/>
              </p:nvSpPr>
              <p:spPr>
                <a:xfrm>
                  <a:off x="6624955" y="2881645"/>
                  <a:ext cx="24907" cy="11668"/>
                </a:xfrm>
                <a:custGeom>
                  <a:avLst/>
                  <a:gdLst>
                    <a:gd name="connsiteX0" fmla="*/ 0 w 24907"/>
                    <a:gd name="connsiteY0" fmla="*/ 0 h 11668"/>
                    <a:gd name="connsiteX1" fmla="*/ 24908 w 24907"/>
                    <a:gd name="connsiteY1" fmla="*/ 11668 h 1166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4907" h="11668">
                      <a:moveTo>
                        <a:pt x="0" y="0"/>
                      </a:moveTo>
                      <a:lnTo>
                        <a:pt x="24908" y="11668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</p:grpSp>
      <p:grpSp>
        <p:nvGrpSpPr>
          <p:cNvPr id="701" name="Gráfico 9">
            <a:extLst>
              <a:ext uri="{FF2B5EF4-FFF2-40B4-BE49-F238E27FC236}">
                <a16:creationId xmlns:a16="http://schemas.microsoft.com/office/drawing/2014/main" id="{B2D9E9AA-EC31-FDD0-BB01-C5207C5DC4E4}"/>
              </a:ext>
            </a:extLst>
          </p:cNvPr>
          <p:cNvGrpSpPr/>
          <p:nvPr/>
        </p:nvGrpSpPr>
        <p:grpSpPr>
          <a:xfrm>
            <a:off x="6965767" y="2634138"/>
            <a:ext cx="343870" cy="214114"/>
            <a:chOff x="6965767" y="2634138"/>
            <a:chExt cx="343870" cy="214114"/>
          </a:xfrm>
          <a:noFill/>
        </p:grpSpPr>
        <p:sp>
          <p:nvSpPr>
            <p:cNvPr id="702" name="Forma livre: Forma 701">
              <a:extLst>
                <a:ext uri="{FF2B5EF4-FFF2-40B4-BE49-F238E27FC236}">
                  <a16:creationId xmlns:a16="http://schemas.microsoft.com/office/drawing/2014/main" id="{FF6900CE-7330-2493-506F-82D1FD2AC7E9}"/>
                </a:ext>
              </a:extLst>
            </p:cNvPr>
            <p:cNvSpPr/>
            <p:nvPr/>
          </p:nvSpPr>
          <p:spPr>
            <a:xfrm>
              <a:off x="7137733" y="2634138"/>
              <a:ext cx="4762" cy="34432"/>
            </a:xfrm>
            <a:custGeom>
              <a:avLst/>
              <a:gdLst>
                <a:gd name="connsiteX0" fmla="*/ 0 w 4762"/>
                <a:gd name="connsiteY0" fmla="*/ 34433 h 34432"/>
                <a:gd name="connsiteX1" fmla="*/ 0 w 4762"/>
                <a:gd name="connsiteY1" fmla="*/ 0 h 344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762" h="34432">
                  <a:moveTo>
                    <a:pt x="0" y="34433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703" name="Gráfico 9">
              <a:extLst>
                <a:ext uri="{FF2B5EF4-FFF2-40B4-BE49-F238E27FC236}">
                  <a16:creationId xmlns:a16="http://schemas.microsoft.com/office/drawing/2014/main" id="{EF888D89-B2CA-345C-1E48-38FD9B323E59}"/>
                </a:ext>
              </a:extLst>
            </p:cNvPr>
            <p:cNvGrpSpPr/>
            <p:nvPr/>
          </p:nvGrpSpPr>
          <p:grpSpPr>
            <a:xfrm>
              <a:off x="7085155" y="2651331"/>
              <a:ext cx="105155" cy="26860"/>
              <a:chOff x="7085155" y="2651331"/>
              <a:chExt cx="105155" cy="26860"/>
            </a:xfrm>
          </p:grpSpPr>
          <p:sp>
            <p:nvSpPr>
              <p:cNvPr id="704" name="Forma livre: Forma 703">
                <a:extLst>
                  <a:ext uri="{FF2B5EF4-FFF2-40B4-BE49-F238E27FC236}">
                    <a16:creationId xmlns:a16="http://schemas.microsoft.com/office/drawing/2014/main" id="{9443DBA9-9D44-00BE-51A9-0BFA586D0680}"/>
                  </a:ext>
                </a:extLst>
              </p:cNvPr>
              <p:cNvSpPr/>
              <p:nvPr/>
            </p:nvSpPr>
            <p:spPr>
              <a:xfrm>
                <a:off x="7085155" y="2651331"/>
                <a:ext cx="20669" cy="26860"/>
              </a:xfrm>
              <a:custGeom>
                <a:avLst/>
                <a:gdLst>
                  <a:gd name="connsiteX0" fmla="*/ 20669 w 20669"/>
                  <a:gd name="connsiteY0" fmla="*/ 26861 h 26860"/>
                  <a:gd name="connsiteX1" fmla="*/ 0 w 20669"/>
                  <a:gd name="connsiteY1" fmla="*/ 0 h 268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0669" h="26860">
                    <a:moveTo>
                      <a:pt x="20669" y="26861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05" name="Forma livre: Forma 704">
                <a:extLst>
                  <a:ext uri="{FF2B5EF4-FFF2-40B4-BE49-F238E27FC236}">
                    <a16:creationId xmlns:a16="http://schemas.microsoft.com/office/drawing/2014/main" id="{D296E601-CDE6-89C8-ADF9-57E8C4AEE43A}"/>
                  </a:ext>
                </a:extLst>
              </p:cNvPr>
              <p:cNvSpPr/>
              <p:nvPr/>
            </p:nvSpPr>
            <p:spPr>
              <a:xfrm>
                <a:off x="7169642" y="2651331"/>
                <a:ext cx="20669" cy="26860"/>
              </a:xfrm>
              <a:custGeom>
                <a:avLst/>
                <a:gdLst>
                  <a:gd name="connsiteX0" fmla="*/ 0 w 20669"/>
                  <a:gd name="connsiteY0" fmla="*/ 26861 h 26860"/>
                  <a:gd name="connsiteX1" fmla="*/ 20669 w 20669"/>
                  <a:gd name="connsiteY1" fmla="*/ 0 h 268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0669" h="26860">
                    <a:moveTo>
                      <a:pt x="0" y="26861"/>
                    </a:moveTo>
                    <a:lnTo>
                      <a:pt x="20669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706" name="Gráfico 9">
              <a:extLst>
                <a:ext uri="{FF2B5EF4-FFF2-40B4-BE49-F238E27FC236}">
                  <a16:creationId xmlns:a16="http://schemas.microsoft.com/office/drawing/2014/main" id="{1B63ED8A-9BD9-563B-B97F-5458117DADCA}"/>
                </a:ext>
              </a:extLst>
            </p:cNvPr>
            <p:cNvGrpSpPr/>
            <p:nvPr/>
          </p:nvGrpSpPr>
          <p:grpSpPr>
            <a:xfrm>
              <a:off x="6965767" y="2708004"/>
              <a:ext cx="343870" cy="140247"/>
              <a:chOff x="6965767" y="2708004"/>
              <a:chExt cx="343870" cy="140247"/>
            </a:xfrm>
            <a:noFill/>
          </p:grpSpPr>
          <p:sp>
            <p:nvSpPr>
              <p:cNvPr id="707" name="Forma livre: Forma 706">
                <a:extLst>
                  <a:ext uri="{FF2B5EF4-FFF2-40B4-BE49-F238E27FC236}">
                    <a16:creationId xmlns:a16="http://schemas.microsoft.com/office/drawing/2014/main" id="{35072CFF-BE56-7D4F-8993-3200C959E1D5}"/>
                  </a:ext>
                </a:extLst>
              </p:cNvPr>
              <p:cNvSpPr/>
              <p:nvPr/>
            </p:nvSpPr>
            <p:spPr>
              <a:xfrm>
                <a:off x="7158307" y="2708004"/>
                <a:ext cx="151330" cy="137376"/>
              </a:xfrm>
              <a:custGeom>
                <a:avLst/>
                <a:gdLst>
                  <a:gd name="connsiteX0" fmla="*/ 2000 w 151330"/>
                  <a:gd name="connsiteY0" fmla="*/ 39338 h 137376"/>
                  <a:gd name="connsiteX1" fmla="*/ 58960 w 151330"/>
                  <a:gd name="connsiteY1" fmla="*/ 80772 h 137376"/>
                  <a:gd name="connsiteX2" fmla="*/ 56817 w 151330"/>
                  <a:gd name="connsiteY2" fmla="*/ 83439 h 137376"/>
                  <a:gd name="connsiteX3" fmla="*/ 64294 w 151330"/>
                  <a:gd name="connsiteY3" fmla="*/ 130874 h 137376"/>
                  <a:gd name="connsiteX4" fmla="*/ 111728 w 151330"/>
                  <a:gd name="connsiteY4" fmla="*/ 123396 h 137376"/>
                  <a:gd name="connsiteX5" fmla="*/ 116205 w 151330"/>
                  <a:gd name="connsiteY5" fmla="*/ 91869 h 137376"/>
                  <a:gd name="connsiteX6" fmla="*/ 144828 w 151330"/>
                  <a:gd name="connsiteY6" fmla="*/ 77915 h 137376"/>
                  <a:gd name="connsiteX7" fmla="*/ 137351 w 151330"/>
                  <a:gd name="connsiteY7" fmla="*/ 30480 h 137376"/>
                  <a:gd name="connsiteX8" fmla="*/ 89916 w 151330"/>
                  <a:gd name="connsiteY8" fmla="*/ 37957 h 137376"/>
                  <a:gd name="connsiteX9" fmla="*/ 87678 w 151330"/>
                  <a:gd name="connsiteY9" fmla="*/ 41481 h 137376"/>
                  <a:gd name="connsiteX10" fmla="*/ 30623 w 151330"/>
                  <a:gd name="connsiteY10" fmla="*/ 0 h 137376"/>
                  <a:gd name="connsiteX11" fmla="*/ 32576 w 151330"/>
                  <a:gd name="connsiteY11" fmla="*/ 26480 h 137376"/>
                  <a:gd name="connsiteX12" fmla="*/ 0 w 151330"/>
                  <a:gd name="connsiteY12" fmla="*/ 17764 h 137376"/>
                  <a:gd name="connsiteX13" fmla="*/ 1953 w 151330"/>
                  <a:gd name="connsiteY13" fmla="*/ 39434 h 1373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51330" h="137376">
                    <a:moveTo>
                      <a:pt x="2000" y="39338"/>
                    </a:moveTo>
                    <a:lnTo>
                      <a:pt x="58960" y="80772"/>
                    </a:lnTo>
                    <a:cubicBezTo>
                      <a:pt x="58198" y="81582"/>
                      <a:pt x="57483" y="82487"/>
                      <a:pt x="56817" y="83439"/>
                    </a:cubicBezTo>
                    <a:cubicBezTo>
                      <a:pt x="45768" y="98631"/>
                      <a:pt x="49149" y="119872"/>
                      <a:pt x="64294" y="130874"/>
                    </a:cubicBezTo>
                    <a:cubicBezTo>
                      <a:pt x="79486" y="141923"/>
                      <a:pt x="100679" y="138541"/>
                      <a:pt x="111728" y="123396"/>
                    </a:cubicBezTo>
                    <a:cubicBezTo>
                      <a:pt x="118634" y="113919"/>
                      <a:pt x="119872" y="102108"/>
                      <a:pt x="116205" y="91869"/>
                    </a:cubicBezTo>
                    <a:cubicBezTo>
                      <a:pt x="127111" y="92250"/>
                      <a:pt x="137970" y="87344"/>
                      <a:pt x="144828" y="77915"/>
                    </a:cubicBezTo>
                    <a:cubicBezTo>
                      <a:pt x="155877" y="62722"/>
                      <a:pt x="152495" y="41529"/>
                      <a:pt x="137351" y="30480"/>
                    </a:cubicBezTo>
                    <a:cubicBezTo>
                      <a:pt x="122206" y="19431"/>
                      <a:pt x="100965" y="22812"/>
                      <a:pt x="89916" y="37957"/>
                    </a:cubicBezTo>
                    <a:cubicBezTo>
                      <a:pt x="89106" y="39100"/>
                      <a:pt x="88344" y="40243"/>
                      <a:pt x="87678" y="41481"/>
                    </a:cubicBezTo>
                    <a:lnTo>
                      <a:pt x="30623" y="0"/>
                    </a:lnTo>
                    <a:lnTo>
                      <a:pt x="32576" y="26480"/>
                    </a:lnTo>
                    <a:lnTo>
                      <a:pt x="0" y="17764"/>
                    </a:lnTo>
                    <a:lnTo>
                      <a:pt x="1953" y="39434"/>
                    </a:lnTo>
                    <a:close/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08" name="Forma livre: Forma 707">
                <a:extLst>
                  <a:ext uri="{FF2B5EF4-FFF2-40B4-BE49-F238E27FC236}">
                    <a16:creationId xmlns:a16="http://schemas.microsoft.com/office/drawing/2014/main" id="{87D92633-59F6-271A-10C8-7679D610C423}"/>
                  </a:ext>
                </a:extLst>
              </p:cNvPr>
              <p:cNvSpPr/>
              <p:nvPr/>
            </p:nvSpPr>
            <p:spPr>
              <a:xfrm>
                <a:off x="6965767" y="2710862"/>
                <a:ext cx="153535" cy="137390"/>
              </a:xfrm>
              <a:custGeom>
                <a:avLst/>
                <a:gdLst>
                  <a:gd name="connsiteX0" fmla="*/ 120722 w 153535"/>
                  <a:gd name="connsiteY0" fmla="*/ 48 h 137390"/>
                  <a:gd name="connsiteX1" fmla="*/ 63667 w 153535"/>
                  <a:gd name="connsiteY1" fmla="*/ 41529 h 137390"/>
                  <a:gd name="connsiteX2" fmla="*/ 61428 w 153535"/>
                  <a:gd name="connsiteY2" fmla="*/ 38005 h 137390"/>
                  <a:gd name="connsiteX3" fmla="*/ 13994 w 153535"/>
                  <a:gd name="connsiteY3" fmla="*/ 30480 h 137390"/>
                  <a:gd name="connsiteX4" fmla="*/ 6517 w 153535"/>
                  <a:gd name="connsiteY4" fmla="*/ 77915 h 137390"/>
                  <a:gd name="connsiteX5" fmla="*/ 35139 w 153535"/>
                  <a:gd name="connsiteY5" fmla="*/ 91869 h 137390"/>
                  <a:gd name="connsiteX6" fmla="*/ 39616 w 153535"/>
                  <a:gd name="connsiteY6" fmla="*/ 123396 h 137390"/>
                  <a:gd name="connsiteX7" fmla="*/ 87051 w 153535"/>
                  <a:gd name="connsiteY7" fmla="*/ 130874 h 137390"/>
                  <a:gd name="connsiteX8" fmla="*/ 94528 w 153535"/>
                  <a:gd name="connsiteY8" fmla="*/ 83439 h 137390"/>
                  <a:gd name="connsiteX9" fmla="*/ 92385 w 153535"/>
                  <a:gd name="connsiteY9" fmla="*/ 80772 h 137390"/>
                  <a:gd name="connsiteX10" fmla="*/ 149344 w 153535"/>
                  <a:gd name="connsiteY10" fmla="*/ 39338 h 137390"/>
                  <a:gd name="connsiteX11" fmla="*/ 133771 w 153535"/>
                  <a:gd name="connsiteY11" fmla="*/ 29004 h 137390"/>
                  <a:gd name="connsiteX12" fmla="*/ 153535 w 153535"/>
                  <a:gd name="connsiteY12" fmla="*/ 3524 h 137390"/>
                  <a:gd name="connsiteX13" fmla="*/ 120722 w 153535"/>
                  <a:gd name="connsiteY13" fmla="*/ 0 h 1373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53535" h="137390">
                    <a:moveTo>
                      <a:pt x="120722" y="48"/>
                    </a:moveTo>
                    <a:lnTo>
                      <a:pt x="63667" y="41529"/>
                    </a:lnTo>
                    <a:cubicBezTo>
                      <a:pt x="63000" y="40338"/>
                      <a:pt x="62238" y="39148"/>
                      <a:pt x="61428" y="38005"/>
                    </a:cubicBezTo>
                    <a:cubicBezTo>
                      <a:pt x="50379" y="22812"/>
                      <a:pt x="29139" y="19479"/>
                      <a:pt x="13994" y="30480"/>
                    </a:cubicBezTo>
                    <a:cubicBezTo>
                      <a:pt x="-1198" y="41529"/>
                      <a:pt x="-4532" y="62770"/>
                      <a:pt x="6517" y="77915"/>
                    </a:cubicBezTo>
                    <a:cubicBezTo>
                      <a:pt x="13422" y="87392"/>
                      <a:pt x="24281" y="92250"/>
                      <a:pt x="35139" y="91869"/>
                    </a:cubicBezTo>
                    <a:cubicBezTo>
                      <a:pt x="31425" y="102108"/>
                      <a:pt x="32711" y="113919"/>
                      <a:pt x="39616" y="123396"/>
                    </a:cubicBezTo>
                    <a:cubicBezTo>
                      <a:pt x="50665" y="138589"/>
                      <a:pt x="71906" y="141923"/>
                      <a:pt x="87051" y="130874"/>
                    </a:cubicBezTo>
                    <a:cubicBezTo>
                      <a:pt x="102195" y="119824"/>
                      <a:pt x="105577" y="98584"/>
                      <a:pt x="94528" y="83439"/>
                    </a:cubicBezTo>
                    <a:cubicBezTo>
                      <a:pt x="93861" y="82487"/>
                      <a:pt x="93147" y="81629"/>
                      <a:pt x="92385" y="80772"/>
                    </a:cubicBezTo>
                    <a:lnTo>
                      <a:pt x="149344" y="39338"/>
                    </a:lnTo>
                    <a:lnTo>
                      <a:pt x="133771" y="29004"/>
                    </a:lnTo>
                    <a:lnTo>
                      <a:pt x="153535" y="3524"/>
                    </a:lnTo>
                    <a:lnTo>
                      <a:pt x="120722" y="0"/>
                    </a:lnTo>
                    <a:close/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709" name="Gráfico 9">
            <a:extLst>
              <a:ext uri="{FF2B5EF4-FFF2-40B4-BE49-F238E27FC236}">
                <a16:creationId xmlns:a16="http://schemas.microsoft.com/office/drawing/2014/main" id="{8DA37D4E-B10B-5D00-366E-126E01FD724C}"/>
              </a:ext>
            </a:extLst>
          </p:cNvPr>
          <p:cNvGrpSpPr/>
          <p:nvPr/>
        </p:nvGrpSpPr>
        <p:grpSpPr>
          <a:xfrm>
            <a:off x="7593526" y="2618904"/>
            <a:ext cx="327282" cy="254883"/>
            <a:chOff x="7593526" y="2618904"/>
            <a:chExt cx="327282" cy="254883"/>
          </a:xfrm>
          <a:noFill/>
        </p:grpSpPr>
        <p:grpSp>
          <p:nvGrpSpPr>
            <p:cNvPr id="710" name="Gráfico 9">
              <a:extLst>
                <a:ext uri="{FF2B5EF4-FFF2-40B4-BE49-F238E27FC236}">
                  <a16:creationId xmlns:a16="http://schemas.microsoft.com/office/drawing/2014/main" id="{921D496C-8D8F-FDB0-0701-707ADED573AD}"/>
                </a:ext>
              </a:extLst>
            </p:cNvPr>
            <p:cNvGrpSpPr/>
            <p:nvPr/>
          </p:nvGrpSpPr>
          <p:grpSpPr>
            <a:xfrm>
              <a:off x="7593526" y="2618904"/>
              <a:ext cx="151142" cy="254883"/>
              <a:chOff x="7593526" y="2618904"/>
              <a:chExt cx="151142" cy="254883"/>
            </a:xfrm>
            <a:noFill/>
          </p:grpSpPr>
          <p:sp>
            <p:nvSpPr>
              <p:cNvPr id="711" name="Forma livre: Forma 710">
                <a:extLst>
                  <a:ext uri="{FF2B5EF4-FFF2-40B4-BE49-F238E27FC236}">
                    <a16:creationId xmlns:a16="http://schemas.microsoft.com/office/drawing/2014/main" id="{2CCCB652-5C0C-418A-5E31-5C61828658EF}"/>
                  </a:ext>
                </a:extLst>
              </p:cNvPr>
              <p:cNvSpPr/>
              <p:nvPr/>
            </p:nvSpPr>
            <p:spPr>
              <a:xfrm>
                <a:off x="7701661" y="2726530"/>
                <a:ext cx="43008" cy="147256"/>
              </a:xfrm>
              <a:custGeom>
                <a:avLst/>
                <a:gdLst>
                  <a:gd name="connsiteX0" fmla="*/ 43005 w 43008"/>
                  <a:gd name="connsiteY0" fmla="*/ 147257 h 147256"/>
                  <a:gd name="connsiteX1" fmla="*/ 43005 w 43008"/>
                  <a:gd name="connsiteY1" fmla="*/ 54483 h 147256"/>
                  <a:gd name="connsiteX2" fmla="*/ 0 w 43008"/>
                  <a:gd name="connsiteY2" fmla="*/ 0 h 1472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43008" h="147256">
                    <a:moveTo>
                      <a:pt x="43005" y="147257"/>
                    </a:moveTo>
                    <a:lnTo>
                      <a:pt x="43005" y="54483"/>
                    </a:lnTo>
                    <a:cubicBezTo>
                      <a:pt x="43005" y="44101"/>
                      <a:pt x="44196" y="22431"/>
                      <a:pt x="0" y="0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12" name="Forma livre: Forma 711">
                <a:extLst>
                  <a:ext uri="{FF2B5EF4-FFF2-40B4-BE49-F238E27FC236}">
                    <a16:creationId xmlns:a16="http://schemas.microsoft.com/office/drawing/2014/main" id="{CFD238C5-3588-D494-FCC0-E504CD417118}"/>
                  </a:ext>
                </a:extLst>
              </p:cNvPr>
              <p:cNvSpPr/>
              <p:nvPr/>
            </p:nvSpPr>
            <p:spPr>
              <a:xfrm>
                <a:off x="7664561" y="2748875"/>
                <a:ext cx="32099" cy="9755"/>
              </a:xfrm>
              <a:custGeom>
                <a:avLst/>
                <a:gdLst>
                  <a:gd name="connsiteX0" fmla="*/ 0 w 32099"/>
                  <a:gd name="connsiteY0" fmla="*/ 9755 h 9755"/>
                  <a:gd name="connsiteX1" fmla="*/ 32099 w 32099"/>
                  <a:gd name="connsiteY1" fmla="*/ 40 h 97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2099" h="9755">
                    <a:moveTo>
                      <a:pt x="0" y="9755"/>
                    </a:moveTo>
                    <a:cubicBezTo>
                      <a:pt x="0" y="9755"/>
                      <a:pt x="11573" y="-722"/>
                      <a:pt x="32099" y="40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13" name="Forma livre: Forma 712">
                <a:extLst>
                  <a:ext uri="{FF2B5EF4-FFF2-40B4-BE49-F238E27FC236}">
                    <a16:creationId xmlns:a16="http://schemas.microsoft.com/office/drawing/2014/main" id="{DFF2E07B-BA9A-2054-BE4A-6B50A594C066}"/>
                  </a:ext>
                </a:extLst>
              </p:cNvPr>
              <p:cNvSpPr/>
              <p:nvPr/>
            </p:nvSpPr>
            <p:spPr>
              <a:xfrm>
                <a:off x="7593526" y="2618904"/>
                <a:ext cx="126870" cy="219450"/>
              </a:xfrm>
              <a:custGeom>
                <a:avLst/>
                <a:gdLst>
                  <a:gd name="connsiteX0" fmla="*/ 111944 w 126870"/>
                  <a:gd name="connsiteY0" fmla="*/ 67669 h 219450"/>
                  <a:gd name="connsiteX1" fmla="*/ 114230 w 126870"/>
                  <a:gd name="connsiteY1" fmla="*/ 64574 h 219450"/>
                  <a:gd name="connsiteX2" fmla="*/ 103562 w 126870"/>
                  <a:gd name="connsiteY2" fmla="*/ 5138 h 219450"/>
                  <a:gd name="connsiteX3" fmla="*/ 407 w 126870"/>
                  <a:gd name="connsiteY3" fmla="*/ 104579 h 219450"/>
                  <a:gd name="connsiteX4" fmla="*/ 85893 w 126870"/>
                  <a:gd name="connsiteY4" fmla="*/ 219450 h 219450"/>
                  <a:gd name="connsiteX5" fmla="*/ 115373 w 126870"/>
                  <a:gd name="connsiteY5" fmla="*/ 148727 h 219450"/>
                  <a:gd name="connsiteX6" fmla="*/ 103610 w 126870"/>
                  <a:gd name="connsiteY6" fmla="*/ 131058 h 219450"/>
                  <a:gd name="connsiteX7" fmla="*/ 99657 w 126870"/>
                  <a:gd name="connsiteY7" fmla="*/ 87338 h 219450"/>
                  <a:gd name="connsiteX8" fmla="*/ 65796 w 126870"/>
                  <a:gd name="connsiteY8" fmla="*/ 75575 h 2194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26870" h="219450">
                    <a:moveTo>
                      <a:pt x="111944" y="67669"/>
                    </a:moveTo>
                    <a:lnTo>
                      <a:pt x="114230" y="64574"/>
                    </a:lnTo>
                    <a:cubicBezTo>
                      <a:pt x="114230" y="64574"/>
                      <a:pt x="143329" y="27998"/>
                      <a:pt x="103562" y="5138"/>
                    </a:cubicBezTo>
                    <a:cubicBezTo>
                      <a:pt x="82988" y="-6673"/>
                      <a:pt x="9646" y="-7007"/>
                      <a:pt x="407" y="104579"/>
                    </a:cubicBezTo>
                    <a:cubicBezTo>
                      <a:pt x="-3213" y="147870"/>
                      <a:pt x="16694" y="219450"/>
                      <a:pt x="85893" y="219450"/>
                    </a:cubicBezTo>
                    <a:cubicBezTo>
                      <a:pt x="115707" y="219450"/>
                      <a:pt x="143091" y="184446"/>
                      <a:pt x="115373" y="148727"/>
                    </a:cubicBezTo>
                    <a:cubicBezTo>
                      <a:pt x="110230" y="142107"/>
                      <a:pt x="103610" y="131058"/>
                      <a:pt x="103610" y="131058"/>
                    </a:cubicBezTo>
                    <a:cubicBezTo>
                      <a:pt x="114564" y="100769"/>
                      <a:pt x="99657" y="87338"/>
                      <a:pt x="99657" y="87338"/>
                    </a:cubicBezTo>
                    <a:cubicBezTo>
                      <a:pt x="84655" y="73718"/>
                      <a:pt x="65796" y="75575"/>
                      <a:pt x="65796" y="75575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14" name="Forma livre: Forma 713">
                <a:extLst>
                  <a:ext uri="{FF2B5EF4-FFF2-40B4-BE49-F238E27FC236}">
                    <a16:creationId xmlns:a16="http://schemas.microsoft.com/office/drawing/2014/main" id="{777D31E9-26E2-2A02-75B8-5D81D8BEEA39}"/>
                  </a:ext>
                </a:extLst>
              </p:cNvPr>
              <p:cNvSpPr/>
              <p:nvPr/>
            </p:nvSpPr>
            <p:spPr>
              <a:xfrm>
                <a:off x="7633128" y="2647044"/>
                <a:ext cx="26050" cy="24383"/>
              </a:xfrm>
              <a:custGeom>
                <a:avLst/>
                <a:gdLst>
                  <a:gd name="connsiteX0" fmla="*/ 26051 w 26050"/>
                  <a:gd name="connsiteY0" fmla="*/ 0 h 24383"/>
                  <a:gd name="connsiteX1" fmla="*/ 20622 w 26050"/>
                  <a:gd name="connsiteY1" fmla="*/ 2476 h 24383"/>
                  <a:gd name="connsiteX2" fmla="*/ 0 w 26050"/>
                  <a:gd name="connsiteY2" fmla="*/ 24384 h 243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6050" h="24383">
                    <a:moveTo>
                      <a:pt x="26051" y="0"/>
                    </a:moveTo>
                    <a:cubicBezTo>
                      <a:pt x="24241" y="667"/>
                      <a:pt x="22431" y="1476"/>
                      <a:pt x="20622" y="2476"/>
                    </a:cubicBezTo>
                    <a:cubicBezTo>
                      <a:pt x="12383" y="7001"/>
                      <a:pt x="5477" y="14383"/>
                      <a:pt x="0" y="24384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715" name="Gráfico 9">
              <a:extLst>
                <a:ext uri="{FF2B5EF4-FFF2-40B4-BE49-F238E27FC236}">
                  <a16:creationId xmlns:a16="http://schemas.microsoft.com/office/drawing/2014/main" id="{CCA618D6-2E52-D849-35A5-BFFEB901BD1D}"/>
                </a:ext>
              </a:extLst>
            </p:cNvPr>
            <p:cNvGrpSpPr/>
            <p:nvPr/>
          </p:nvGrpSpPr>
          <p:grpSpPr>
            <a:xfrm>
              <a:off x="7769666" y="2618904"/>
              <a:ext cx="151142" cy="254883"/>
              <a:chOff x="7769666" y="2618904"/>
              <a:chExt cx="151142" cy="254883"/>
            </a:xfrm>
            <a:noFill/>
          </p:grpSpPr>
          <p:sp>
            <p:nvSpPr>
              <p:cNvPr id="716" name="Forma livre: Forma 715">
                <a:extLst>
                  <a:ext uri="{FF2B5EF4-FFF2-40B4-BE49-F238E27FC236}">
                    <a16:creationId xmlns:a16="http://schemas.microsoft.com/office/drawing/2014/main" id="{A7DA011A-721A-1220-F618-28B5CC3CA65B}"/>
                  </a:ext>
                </a:extLst>
              </p:cNvPr>
              <p:cNvSpPr/>
              <p:nvPr/>
            </p:nvSpPr>
            <p:spPr>
              <a:xfrm>
                <a:off x="7769666" y="2726530"/>
                <a:ext cx="43008" cy="147256"/>
              </a:xfrm>
              <a:custGeom>
                <a:avLst/>
                <a:gdLst>
                  <a:gd name="connsiteX0" fmla="*/ 3 w 43008"/>
                  <a:gd name="connsiteY0" fmla="*/ 147257 h 147256"/>
                  <a:gd name="connsiteX1" fmla="*/ 3 w 43008"/>
                  <a:gd name="connsiteY1" fmla="*/ 54483 h 147256"/>
                  <a:gd name="connsiteX2" fmla="*/ 43008 w 43008"/>
                  <a:gd name="connsiteY2" fmla="*/ 0 h 1472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43008" h="147256">
                    <a:moveTo>
                      <a:pt x="3" y="147257"/>
                    </a:moveTo>
                    <a:lnTo>
                      <a:pt x="3" y="54483"/>
                    </a:lnTo>
                    <a:cubicBezTo>
                      <a:pt x="3" y="44101"/>
                      <a:pt x="-1188" y="22431"/>
                      <a:pt x="43008" y="0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17" name="Forma livre: Forma 716">
                <a:extLst>
                  <a:ext uri="{FF2B5EF4-FFF2-40B4-BE49-F238E27FC236}">
                    <a16:creationId xmlns:a16="http://schemas.microsoft.com/office/drawing/2014/main" id="{66F81044-444E-A72A-32F1-3A2CAB9AE454}"/>
                  </a:ext>
                </a:extLst>
              </p:cNvPr>
              <p:cNvSpPr/>
              <p:nvPr/>
            </p:nvSpPr>
            <p:spPr>
              <a:xfrm>
                <a:off x="7817675" y="2748875"/>
                <a:ext cx="32099" cy="9755"/>
              </a:xfrm>
              <a:custGeom>
                <a:avLst/>
                <a:gdLst>
                  <a:gd name="connsiteX0" fmla="*/ 32099 w 32099"/>
                  <a:gd name="connsiteY0" fmla="*/ 9755 h 9755"/>
                  <a:gd name="connsiteX1" fmla="*/ 0 w 32099"/>
                  <a:gd name="connsiteY1" fmla="*/ 40 h 97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2099" h="9755">
                    <a:moveTo>
                      <a:pt x="32099" y="9755"/>
                    </a:moveTo>
                    <a:cubicBezTo>
                      <a:pt x="32099" y="9755"/>
                      <a:pt x="20526" y="-722"/>
                      <a:pt x="0" y="40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18" name="Forma livre: Forma 717">
                <a:extLst>
                  <a:ext uri="{FF2B5EF4-FFF2-40B4-BE49-F238E27FC236}">
                    <a16:creationId xmlns:a16="http://schemas.microsoft.com/office/drawing/2014/main" id="{B1A038FC-17A9-6F0A-4ABC-4CBFEDC3EC81}"/>
                  </a:ext>
                </a:extLst>
              </p:cNvPr>
              <p:cNvSpPr/>
              <p:nvPr/>
            </p:nvSpPr>
            <p:spPr>
              <a:xfrm>
                <a:off x="7793938" y="2618904"/>
                <a:ext cx="126870" cy="219450"/>
              </a:xfrm>
              <a:custGeom>
                <a:avLst/>
                <a:gdLst>
                  <a:gd name="connsiteX0" fmla="*/ 14926 w 126870"/>
                  <a:gd name="connsiteY0" fmla="*/ 67669 h 219450"/>
                  <a:gd name="connsiteX1" fmla="*/ 12641 w 126870"/>
                  <a:gd name="connsiteY1" fmla="*/ 64574 h 219450"/>
                  <a:gd name="connsiteX2" fmla="*/ 23308 w 126870"/>
                  <a:gd name="connsiteY2" fmla="*/ 5138 h 219450"/>
                  <a:gd name="connsiteX3" fmla="*/ 126464 w 126870"/>
                  <a:gd name="connsiteY3" fmla="*/ 104579 h 219450"/>
                  <a:gd name="connsiteX4" fmla="*/ 40977 w 126870"/>
                  <a:gd name="connsiteY4" fmla="*/ 219450 h 219450"/>
                  <a:gd name="connsiteX5" fmla="*/ 11497 w 126870"/>
                  <a:gd name="connsiteY5" fmla="*/ 148727 h 219450"/>
                  <a:gd name="connsiteX6" fmla="*/ 23261 w 126870"/>
                  <a:gd name="connsiteY6" fmla="*/ 131058 h 219450"/>
                  <a:gd name="connsiteX7" fmla="*/ 27214 w 126870"/>
                  <a:gd name="connsiteY7" fmla="*/ 87338 h 219450"/>
                  <a:gd name="connsiteX8" fmla="*/ 61075 w 126870"/>
                  <a:gd name="connsiteY8" fmla="*/ 75575 h 2194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26870" h="219450">
                    <a:moveTo>
                      <a:pt x="14926" y="67669"/>
                    </a:moveTo>
                    <a:lnTo>
                      <a:pt x="12641" y="64574"/>
                    </a:lnTo>
                    <a:cubicBezTo>
                      <a:pt x="12641" y="64574"/>
                      <a:pt x="-16458" y="27998"/>
                      <a:pt x="23308" y="5138"/>
                    </a:cubicBezTo>
                    <a:cubicBezTo>
                      <a:pt x="43883" y="-6673"/>
                      <a:pt x="117225" y="-7007"/>
                      <a:pt x="126464" y="104579"/>
                    </a:cubicBezTo>
                    <a:cubicBezTo>
                      <a:pt x="130084" y="147870"/>
                      <a:pt x="110176" y="219450"/>
                      <a:pt x="40977" y="219450"/>
                    </a:cubicBezTo>
                    <a:cubicBezTo>
                      <a:pt x="11164" y="219450"/>
                      <a:pt x="-16220" y="184446"/>
                      <a:pt x="11497" y="148727"/>
                    </a:cubicBezTo>
                    <a:cubicBezTo>
                      <a:pt x="16641" y="142107"/>
                      <a:pt x="23261" y="131058"/>
                      <a:pt x="23261" y="131058"/>
                    </a:cubicBezTo>
                    <a:cubicBezTo>
                      <a:pt x="12307" y="100769"/>
                      <a:pt x="27214" y="87338"/>
                      <a:pt x="27214" y="87338"/>
                    </a:cubicBezTo>
                    <a:cubicBezTo>
                      <a:pt x="42216" y="73718"/>
                      <a:pt x="61075" y="75575"/>
                      <a:pt x="61075" y="75575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19" name="Forma livre: Forma 718">
                <a:extLst>
                  <a:ext uri="{FF2B5EF4-FFF2-40B4-BE49-F238E27FC236}">
                    <a16:creationId xmlns:a16="http://schemas.microsoft.com/office/drawing/2014/main" id="{F68DDF15-3829-A632-7142-63B4DB9520AD}"/>
                  </a:ext>
                </a:extLst>
              </p:cNvPr>
              <p:cNvSpPr/>
              <p:nvPr/>
            </p:nvSpPr>
            <p:spPr>
              <a:xfrm>
                <a:off x="7855156" y="2647092"/>
                <a:ext cx="26050" cy="24383"/>
              </a:xfrm>
              <a:custGeom>
                <a:avLst/>
                <a:gdLst>
                  <a:gd name="connsiteX0" fmla="*/ 26051 w 26050"/>
                  <a:gd name="connsiteY0" fmla="*/ 24384 h 24383"/>
                  <a:gd name="connsiteX1" fmla="*/ 5429 w 26050"/>
                  <a:gd name="connsiteY1" fmla="*/ 2476 h 24383"/>
                  <a:gd name="connsiteX2" fmla="*/ 0 w 26050"/>
                  <a:gd name="connsiteY2" fmla="*/ 0 h 243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6050" h="24383">
                    <a:moveTo>
                      <a:pt x="26051" y="24384"/>
                    </a:moveTo>
                    <a:cubicBezTo>
                      <a:pt x="20622" y="14383"/>
                      <a:pt x="13716" y="7001"/>
                      <a:pt x="5429" y="2476"/>
                    </a:cubicBezTo>
                    <a:cubicBezTo>
                      <a:pt x="3620" y="1476"/>
                      <a:pt x="1762" y="667"/>
                      <a:pt x="0" y="0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720" name="Gráfico 9">
            <a:extLst>
              <a:ext uri="{FF2B5EF4-FFF2-40B4-BE49-F238E27FC236}">
                <a16:creationId xmlns:a16="http://schemas.microsoft.com/office/drawing/2014/main" id="{2D3275A9-F69A-7CFA-E2D9-6E28710C26DC}"/>
              </a:ext>
            </a:extLst>
          </p:cNvPr>
          <p:cNvGrpSpPr/>
          <p:nvPr/>
        </p:nvGrpSpPr>
        <p:grpSpPr>
          <a:xfrm>
            <a:off x="6366637" y="3161204"/>
            <a:ext cx="336756" cy="230314"/>
            <a:chOff x="6366637" y="3161204"/>
            <a:chExt cx="336756" cy="230314"/>
          </a:xfrm>
          <a:noFill/>
        </p:grpSpPr>
        <p:sp>
          <p:nvSpPr>
            <p:cNvPr id="721" name="Forma livre: Forma 720">
              <a:extLst>
                <a:ext uri="{FF2B5EF4-FFF2-40B4-BE49-F238E27FC236}">
                  <a16:creationId xmlns:a16="http://schemas.microsoft.com/office/drawing/2014/main" id="{A426BB3E-D77C-999C-8876-1197641BEEFF}"/>
                </a:ext>
              </a:extLst>
            </p:cNvPr>
            <p:cNvSpPr/>
            <p:nvPr/>
          </p:nvSpPr>
          <p:spPr>
            <a:xfrm>
              <a:off x="6485413" y="3275742"/>
              <a:ext cx="105489" cy="84724"/>
            </a:xfrm>
            <a:custGeom>
              <a:avLst/>
              <a:gdLst>
                <a:gd name="connsiteX0" fmla="*/ 105489 w 105489"/>
                <a:gd name="connsiteY0" fmla="*/ 27575 h 84724"/>
                <a:gd name="connsiteX1" fmla="*/ 75057 w 105489"/>
                <a:gd name="connsiteY1" fmla="*/ 27575 h 84724"/>
                <a:gd name="connsiteX2" fmla="*/ 87011 w 105489"/>
                <a:gd name="connsiteY2" fmla="*/ 0 h 84724"/>
                <a:gd name="connsiteX3" fmla="*/ 55912 w 105489"/>
                <a:gd name="connsiteY3" fmla="*/ 0 h 84724"/>
                <a:gd name="connsiteX4" fmla="*/ 44006 w 105489"/>
                <a:gd name="connsiteY4" fmla="*/ 27575 h 84724"/>
                <a:gd name="connsiteX5" fmla="*/ 13621 w 105489"/>
                <a:gd name="connsiteY5" fmla="*/ 27575 h 84724"/>
                <a:gd name="connsiteX6" fmla="*/ 0 w 105489"/>
                <a:gd name="connsiteY6" fmla="*/ 58674 h 84724"/>
                <a:gd name="connsiteX7" fmla="*/ 30432 w 105489"/>
                <a:gd name="connsiteY7" fmla="*/ 58674 h 84724"/>
                <a:gd name="connsiteX8" fmla="*/ 18955 w 105489"/>
                <a:gd name="connsiteY8" fmla="*/ 84725 h 84724"/>
                <a:gd name="connsiteX9" fmla="*/ 50006 w 105489"/>
                <a:gd name="connsiteY9" fmla="*/ 84725 h 84724"/>
                <a:gd name="connsiteX10" fmla="*/ 61484 w 105489"/>
                <a:gd name="connsiteY10" fmla="*/ 58674 h 84724"/>
                <a:gd name="connsiteX11" fmla="*/ 91869 w 105489"/>
                <a:gd name="connsiteY11" fmla="*/ 58674 h 84724"/>
                <a:gd name="connsiteX12" fmla="*/ 105489 w 105489"/>
                <a:gd name="connsiteY12" fmla="*/ 27575 h 847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05489" h="84724">
                  <a:moveTo>
                    <a:pt x="105489" y="27575"/>
                  </a:moveTo>
                  <a:lnTo>
                    <a:pt x="75057" y="27575"/>
                  </a:lnTo>
                  <a:lnTo>
                    <a:pt x="87011" y="0"/>
                  </a:lnTo>
                  <a:lnTo>
                    <a:pt x="55912" y="0"/>
                  </a:lnTo>
                  <a:lnTo>
                    <a:pt x="44006" y="27575"/>
                  </a:lnTo>
                  <a:lnTo>
                    <a:pt x="13621" y="27575"/>
                  </a:lnTo>
                  <a:lnTo>
                    <a:pt x="0" y="58674"/>
                  </a:lnTo>
                  <a:lnTo>
                    <a:pt x="30432" y="58674"/>
                  </a:lnTo>
                  <a:lnTo>
                    <a:pt x="18955" y="84725"/>
                  </a:lnTo>
                  <a:lnTo>
                    <a:pt x="50006" y="84725"/>
                  </a:lnTo>
                  <a:lnTo>
                    <a:pt x="61484" y="58674"/>
                  </a:lnTo>
                  <a:lnTo>
                    <a:pt x="91869" y="58674"/>
                  </a:lnTo>
                  <a:lnTo>
                    <a:pt x="105489" y="27575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722" name="Gráfico 9">
              <a:extLst>
                <a:ext uri="{FF2B5EF4-FFF2-40B4-BE49-F238E27FC236}">
                  <a16:creationId xmlns:a16="http://schemas.microsoft.com/office/drawing/2014/main" id="{56583F33-F683-C7CD-4F50-A50D5A51E27E}"/>
                </a:ext>
              </a:extLst>
            </p:cNvPr>
            <p:cNvGrpSpPr/>
            <p:nvPr/>
          </p:nvGrpSpPr>
          <p:grpSpPr>
            <a:xfrm>
              <a:off x="6366637" y="3161204"/>
              <a:ext cx="336756" cy="230314"/>
              <a:chOff x="6366637" y="3161204"/>
              <a:chExt cx="336756" cy="230314"/>
            </a:xfrm>
            <a:noFill/>
          </p:grpSpPr>
          <p:sp>
            <p:nvSpPr>
              <p:cNvPr id="723" name="Forma livre: Forma 722">
                <a:extLst>
                  <a:ext uri="{FF2B5EF4-FFF2-40B4-BE49-F238E27FC236}">
                    <a16:creationId xmlns:a16="http://schemas.microsoft.com/office/drawing/2014/main" id="{244FDA94-9B2C-1E24-9508-9BF2466F8DC9}"/>
                  </a:ext>
                </a:extLst>
              </p:cNvPr>
              <p:cNvSpPr/>
              <p:nvPr/>
            </p:nvSpPr>
            <p:spPr>
              <a:xfrm>
                <a:off x="6366637" y="3161204"/>
                <a:ext cx="276986" cy="230219"/>
              </a:xfrm>
              <a:custGeom>
                <a:avLst/>
                <a:gdLst>
                  <a:gd name="connsiteX0" fmla="*/ 0 w 276986"/>
                  <a:gd name="connsiteY0" fmla="*/ 230219 h 230219"/>
                  <a:gd name="connsiteX1" fmla="*/ 0 w 276986"/>
                  <a:gd name="connsiteY1" fmla="*/ 16716 h 230219"/>
                  <a:gd name="connsiteX2" fmla="*/ 16716 w 276986"/>
                  <a:gd name="connsiteY2" fmla="*/ 0 h 230219"/>
                  <a:gd name="connsiteX3" fmla="*/ 98298 w 276986"/>
                  <a:gd name="connsiteY3" fmla="*/ 0 h 230219"/>
                  <a:gd name="connsiteX4" fmla="*/ 124587 w 276986"/>
                  <a:gd name="connsiteY4" fmla="*/ 36338 h 230219"/>
                  <a:gd name="connsiteX5" fmla="*/ 276987 w 276986"/>
                  <a:gd name="connsiteY5" fmla="*/ 36338 h 2302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76986" h="230219">
                    <a:moveTo>
                      <a:pt x="0" y="230219"/>
                    </a:moveTo>
                    <a:lnTo>
                      <a:pt x="0" y="16716"/>
                    </a:lnTo>
                    <a:cubicBezTo>
                      <a:pt x="0" y="7525"/>
                      <a:pt x="7525" y="0"/>
                      <a:pt x="16716" y="0"/>
                    </a:cubicBezTo>
                    <a:lnTo>
                      <a:pt x="98298" y="0"/>
                    </a:lnTo>
                    <a:lnTo>
                      <a:pt x="124587" y="36338"/>
                    </a:lnTo>
                    <a:lnTo>
                      <a:pt x="276987" y="36338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24" name="Forma livre: Forma 723">
                <a:extLst>
                  <a:ext uri="{FF2B5EF4-FFF2-40B4-BE49-F238E27FC236}">
                    <a16:creationId xmlns:a16="http://schemas.microsoft.com/office/drawing/2014/main" id="{6B007522-6751-C40F-F923-544826FE79DA}"/>
                  </a:ext>
                </a:extLst>
              </p:cNvPr>
              <p:cNvSpPr/>
              <p:nvPr/>
            </p:nvSpPr>
            <p:spPr>
              <a:xfrm>
                <a:off x="6366922" y="3241738"/>
                <a:ext cx="336470" cy="149780"/>
              </a:xfrm>
              <a:custGeom>
                <a:avLst/>
                <a:gdLst>
                  <a:gd name="connsiteX0" fmla="*/ 272701 w 336470"/>
                  <a:gd name="connsiteY0" fmla="*/ 149781 h 149780"/>
                  <a:gd name="connsiteX1" fmla="*/ 0 w 336470"/>
                  <a:gd name="connsiteY1" fmla="*/ 149781 h 149780"/>
                  <a:gd name="connsiteX2" fmla="*/ 63818 w 336470"/>
                  <a:gd name="connsiteY2" fmla="*/ 0 h 149780"/>
                  <a:gd name="connsiteX3" fmla="*/ 336471 w 336470"/>
                  <a:gd name="connsiteY3" fmla="*/ 0 h 149780"/>
                  <a:gd name="connsiteX4" fmla="*/ 272701 w 336470"/>
                  <a:gd name="connsiteY4" fmla="*/ 149781 h 1497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36470" h="149780">
                    <a:moveTo>
                      <a:pt x="272701" y="149781"/>
                    </a:moveTo>
                    <a:lnTo>
                      <a:pt x="0" y="149781"/>
                    </a:lnTo>
                    <a:lnTo>
                      <a:pt x="63818" y="0"/>
                    </a:lnTo>
                    <a:lnTo>
                      <a:pt x="336471" y="0"/>
                    </a:lnTo>
                    <a:lnTo>
                      <a:pt x="272701" y="149781"/>
                    </a:lnTo>
                    <a:close/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725" name="Gráfico 9">
            <a:extLst>
              <a:ext uri="{FF2B5EF4-FFF2-40B4-BE49-F238E27FC236}">
                <a16:creationId xmlns:a16="http://schemas.microsoft.com/office/drawing/2014/main" id="{4DF63A2F-42DB-AF2A-F671-4F2D2029DE02}"/>
              </a:ext>
            </a:extLst>
          </p:cNvPr>
          <p:cNvGrpSpPr/>
          <p:nvPr/>
        </p:nvGrpSpPr>
        <p:grpSpPr>
          <a:xfrm>
            <a:off x="6993356" y="3134161"/>
            <a:ext cx="288738" cy="284410"/>
            <a:chOff x="6993356" y="3134161"/>
            <a:chExt cx="288738" cy="284410"/>
          </a:xfrm>
          <a:noFill/>
        </p:grpSpPr>
        <p:sp>
          <p:nvSpPr>
            <p:cNvPr id="726" name="Forma livre: Forma 725">
              <a:extLst>
                <a:ext uri="{FF2B5EF4-FFF2-40B4-BE49-F238E27FC236}">
                  <a16:creationId xmlns:a16="http://schemas.microsoft.com/office/drawing/2014/main" id="{7748757A-0FD9-A735-7750-0E05BAFE9F8D}"/>
                </a:ext>
              </a:extLst>
            </p:cNvPr>
            <p:cNvSpPr/>
            <p:nvPr/>
          </p:nvSpPr>
          <p:spPr>
            <a:xfrm>
              <a:off x="7132788" y="3134161"/>
              <a:ext cx="103528" cy="103528"/>
            </a:xfrm>
            <a:custGeom>
              <a:avLst/>
              <a:gdLst>
                <a:gd name="connsiteX0" fmla="*/ 103529 w 103528"/>
                <a:gd name="connsiteY0" fmla="*/ 14327 h 103528"/>
                <a:gd name="connsiteX1" fmla="*/ 45188 w 103528"/>
                <a:gd name="connsiteY1" fmla="*/ 9946 h 103528"/>
                <a:gd name="connsiteX2" fmla="*/ 9946 w 103528"/>
                <a:gd name="connsiteY2" fmla="*/ 45188 h 103528"/>
                <a:gd name="connsiteX3" fmla="*/ 14327 w 103528"/>
                <a:gd name="connsiteY3" fmla="*/ 103529 h 1035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3528" h="103528">
                  <a:moveTo>
                    <a:pt x="103529" y="14327"/>
                  </a:moveTo>
                  <a:cubicBezTo>
                    <a:pt x="86289" y="-2913"/>
                    <a:pt x="60047" y="-4866"/>
                    <a:pt x="45188" y="9946"/>
                  </a:cubicBezTo>
                  <a:lnTo>
                    <a:pt x="9946" y="45188"/>
                  </a:lnTo>
                  <a:cubicBezTo>
                    <a:pt x="-4866" y="60000"/>
                    <a:pt x="-2913" y="86241"/>
                    <a:pt x="14327" y="103529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727" name="Forma livre: Forma 726">
              <a:extLst>
                <a:ext uri="{FF2B5EF4-FFF2-40B4-BE49-F238E27FC236}">
                  <a16:creationId xmlns:a16="http://schemas.microsoft.com/office/drawing/2014/main" id="{3B92053A-6B4C-D8C4-4919-EB2BCE4E5B80}"/>
                </a:ext>
              </a:extLst>
            </p:cNvPr>
            <p:cNvSpPr/>
            <p:nvPr/>
          </p:nvSpPr>
          <p:spPr>
            <a:xfrm>
              <a:off x="7163355" y="3164728"/>
              <a:ext cx="118738" cy="118738"/>
            </a:xfrm>
            <a:custGeom>
              <a:avLst/>
              <a:gdLst>
                <a:gd name="connsiteX0" fmla="*/ 0 w 118738"/>
                <a:gd name="connsiteY0" fmla="*/ 86344 h 118738"/>
                <a:gd name="connsiteX1" fmla="*/ 92440 w 118738"/>
                <a:gd name="connsiteY1" fmla="*/ 116824 h 118738"/>
                <a:gd name="connsiteX2" fmla="*/ 114729 w 118738"/>
                <a:gd name="connsiteY2" fmla="*/ 114729 h 118738"/>
                <a:gd name="connsiteX3" fmla="*/ 116824 w 118738"/>
                <a:gd name="connsiteY3" fmla="*/ 92440 h 118738"/>
                <a:gd name="connsiteX4" fmla="*/ 86344 w 118738"/>
                <a:gd name="connsiteY4" fmla="*/ 0 h 1187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8738" h="118738">
                  <a:moveTo>
                    <a:pt x="0" y="86344"/>
                  </a:moveTo>
                  <a:lnTo>
                    <a:pt x="92440" y="116824"/>
                  </a:lnTo>
                  <a:cubicBezTo>
                    <a:pt x="92440" y="116824"/>
                    <a:pt x="107109" y="122301"/>
                    <a:pt x="114729" y="114729"/>
                  </a:cubicBezTo>
                  <a:cubicBezTo>
                    <a:pt x="122301" y="107156"/>
                    <a:pt x="116824" y="92440"/>
                    <a:pt x="116824" y="92440"/>
                  </a:cubicBezTo>
                  <a:lnTo>
                    <a:pt x="86344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728" name="Forma livre: Forma 727">
              <a:extLst>
                <a:ext uri="{FF2B5EF4-FFF2-40B4-BE49-F238E27FC236}">
                  <a16:creationId xmlns:a16="http://schemas.microsoft.com/office/drawing/2014/main" id="{65858AEF-4592-78F3-D3AB-6D7CFBE7254E}"/>
                </a:ext>
              </a:extLst>
            </p:cNvPr>
            <p:cNvSpPr/>
            <p:nvPr/>
          </p:nvSpPr>
          <p:spPr>
            <a:xfrm>
              <a:off x="7125636" y="3151107"/>
              <a:ext cx="135207" cy="135207"/>
            </a:xfrm>
            <a:custGeom>
              <a:avLst/>
              <a:gdLst>
                <a:gd name="connsiteX0" fmla="*/ 135207 w 135207"/>
                <a:gd name="connsiteY0" fmla="*/ 0 h 135207"/>
                <a:gd name="connsiteX1" fmla="*/ 0 w 135207"/>
                <a:gd name="connsiteY1" fmla="*/ 135207 h 1352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35207" h="135207">
                  <a:moveTo>
                    <a:pt x="135207" y="0"/>
                  </a:moveTo>
                  <a:lnTo>
                    <a:pt x="0" y="135207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729" name="Forma livre: Forma 728">
              <a:extLst>
                <a:ext uri="{FF2B5EF4-FFF2-40B4-BE49-F238E27FC236}">
                  <a16:creationId xmlns:a16="http://schemas.microsoft.com/office/drawing/2014/main" id="{8A2C7EF5-C29E-BB4F-89AD-0DA86A699D48}"/>
                </a:ext>
              </a:extLst>
            </p:cNvPr>
            <p:cNvSpPr/>
            <p:nvPr/>
          </p:nvSpPr>
          <p:spPr>
            <a:xfrm>
              <a:off x="6993356" y="3284127"/>
              <a:ext cx="134441" cy="134444"/>
            </a:xfrm>
            <a:custGeom>
              <a:avLst/>
              <a:gdLst>
                <a:gd name="connsiteX0" fmla="*/ 124137 w 134441"/>
                <a:gd name="connsiteY0" fmla="*/ 31620 h 134444"/>
                <a:gd name="connsiteX1" fmla="*/ 131519 w 134441"/>
                <a:gd name="connsiteY1" fmla="*/ 2902 h 134444"/>
                <a:gd name="connsiteX2" fmla="*/ 102801 w 134441"/>
                <a:gd name="connsiteY2" fmla="*/ 10284 h 134444"/>
                <a:gd name="connsiteX3" fmla="*/ 9456 w 134441"/>
                <a:gd name="connsiteY3" fmla="*/ 96818 h 134444"/>
                <a:gd name="connsiteX4" fmla="*/ 5455 w 134441"/>
                <a:gd name="connsiteY4" fmla="*/ 128965 h 134444"/>
                <a:gd name="connsiteX5" fmla="*/ 37602 w 134441"/>
                <a:gd name="connsiteY5" fmla="*/ 125012 h 134444"/>
                <a:gd name="connsiteX6" fmla="*/ 124089 w 134441"/>
                <a:gd name="connsiteY6" fmla="*/ 31667 h 1344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34441" h="134444">
                  <a:moveTo>
                    <a:pt x="124137" y="31620"/>
                  </a:moveTo>
                  <a:cubicBezTo>
                    <a:pt x="133805" y="21380"/>
                    <a:pt x="137567" y="8903"/>
                    <a:pt x="131519" y="2902"/>
                  </a:cubicBezTo>
                  <a:cubicBezTo>
                    <a:pt x="125518" y="-3099"/>
                    <a:pt x="112993" y="616"/>
                    <a:pt x="102801" y="10284"/>
                  </a:cubicBezTo>
                  <a:lnTo>
                    <a:pt x="9456" y="96818"/>
                  </a:lnTo>
                  <a:cubicBezTo>
                    <a:pt x="-784" y="106486"/>
                    <a:pt x="-3593" y="119869"/>
                    <a:pt x="5455" y="128965"/>
                  </a:cubicBezTo>
                  <a:cubicBezTo>
                    <a:pt x="14552" y="138062"/>
                    <a:pt x="27934" y="135204"/>
                    <a:pt x="37602" y="125012"/>
                  </a:cubicBezTo>
                  <a:lnTo>
                    <a:pt x="124089" y="31667"/>
                  </a:ln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730" name="Gráfico 9">
            <a:extLst>
              <a:ext uri="{FF2B5EF4-FFF2-40B4-BE49-F238E27FC236}">
                <a16:creationId xmlns:a16="http://schemas.microsoft.com/office/drawing/2014/main" id="{36C63BDA-959C-48DE-3B44-6C6E2BF503FB}"/>
              </a:ext>
            </a:extLst>
          </p:cNvPr>
          <p:cNvGrpSpPr/>
          <p:nvPr/>
        </p:nvGrpSpPr>
        <p:grpSpPr>
          <a:xfrm>
            <a:off x="7580033" y="3149098"/>
            <a:ext cx="354268" cy="254516"/>
            <a:chOff x="7580033" y="3149098"/>
            <a:chExt cx="354268" cy="254516"/>
          </a:xfrm>
          <a:noFill/>
        </p:grpSpPr>
        <p:sp>
          <p:nvSpPr>
            <p:cNvPr id="731" name="Forma livre: Forma 730">
              <a:extLst>
                <a:ext uri="{FF2B5EF4-FFF2-40B4-BE49-F238E27FC236}">
                  <a16:creationId xmlns:a16="http://schemas.microsoft.com/office/drawing/2014/main" id="{59233124-B4CE-8A0C-1F5B-E0B54AF010E7}"/>
                </a:ext>
              </a:extLst>
            </p:cNvPr>
            <p:cNvSpPr/>
            <p:nvPr/>
          </p:nvSpPr>
          <p:spPr>
            <a:xfrm>
              <a:off x="7687813" y="3156899"/>
              <a:ext cx="139232" cy="246716"/>
            </a:xfrm>
            <a:custGeom>
              <a:avLst/>
              <a:gdLst>
                <a:gd name="connsiteX0" fmla="*/ 85046 w 139232"/>
                <a:gd name="connsiteY0" fmla="*/ 246716 h 246716"/>
                <a:gd name="connsiteX1" fmla="*/ 98858 w 139232"/>
                <a:gd name="connsiteY1" fmla="*/ 183470 h 246716"/>
                <a:gd name="connsiteX2" fmla="*/ 98858 w 139232"/>
                <a:gd name="connsiteY2" fmla="*/ 156562 h 246716"/>
                <a:gd name="connsiteX3" fmla="*/ 94476 w 139232"/>
                <a:gd name="connsiteY3" fmla="*/ 143465 h 246716"/>
                <a:gd name="connsiteX4" fmla="*/ 130814 w 139232"/>
                <a:gd name="connsiteY4" fmla="*/ 54787 h 246716"/>
                <a:gd name="connsiteX5" fmla="*/ 135529 w 139232"/>
                <a:gd name="connsiteY5" fmla="*/ 24260 h 246716"/>
                <a:gd name="connsiteX6" fmla="*/ 69616 w 139232"/>
                <a:gd name="connsiteY6" fmla="*/ 19 h 246716"/>
                <a:gd name="connsiteX7" fmla="*/ 3703 w 139232"/>
                <a:gd name="connsiteY7" fmla="*/ 24260 h 246716"/>
                <a:gd name="connsiteX8" fmla="*/ 8418 w 139232"/>
                <a:gd name="connsiteY8" fmla="*/ 54787 h 246716"/>
                <a:gd name="connsiteX9" fmla="*/ 44756 w 139232"/>
                <a:gd name="connsiteY9" fmla="*/ 143465 h 246716"/>
                <a:gd name="connsiteX10" fmla="*/ 40374 w 139232"/>
                <a:gd name="connsiteY10" fmla="*/ 156562 h 246716"/>
                <a:gd name="connsiteX11" fmla="*/ 40374 w 139232"/>
                <a:gd name="connsiteY11" fmla="*/ 183470 h 246716"/>
                <a:gd name="connsiteX12" fmla="*/ 54186 w 139232"/>
                <a:gd name="connsiteY12" fmla="*/ 246716 h 2467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39232" h="246716">
                  <a:moveTo>
                    <a:pt x="85046" y="246716"/>
                  </a:moveTo>
                  <a:lnTo>
                    <a:pt x="98858" y="183470"/>
                  </a:lnTo>
                  <a:cubicBezTo>
                    <a:pt x="101382" y="165658"/>
                    <a:pt x="102858" y="161324"/>
                    <a:pt x="98858" y="156562"/>
                  </a:cubicBezTo>
                  <a:cubicBezTo>
                    <a:pt x="94857" y="151847"/>
                    <a:pt x="94476" y="143465"/>
                    <a:pt x="94476" y="143465"/>
                  </a:cubicBezTo>
                  <a:cubicBezTo>
                    <a:pt x="95191" y="111509"/>
                    <a:pt x="119146" y="70837"/>
                    <a:pt x="130814" y="54787"/>
                  </a:cubicBezTo>
                  <a:cubicBezTo>
                    <a:pt x="146435" y="33356"/>
                    <a:pt x="135529" y="24260"/>
                    <a:pt x="135529" y="24260"/>
                  </a:cubicBezTo>
                  <a:cubicBezTo>
                    <a:pt x="104287" y="-1553"/>
                    <a:pt x="72664" y="19"/>
                    <a:pt x="69616" y="19"/>
                  </a:cubicBezTo>
                  <a:cubicBezTo>
                    <a:pt x="66568" y="19"/>
                    <a:pt x="34945" y="-1553"/>
                    <a:pt x="3703" y="24260"/>
                  </a:cubicBezTo>
                  <a:cubicBezTo>
                    <a:pt x="3703" y="24260"/>
                    <a:pt x="-7203" y="33356"/>
                    <a:pt x="8418" y="54787"/>
                  </a:cubicBezTo>
                  <a:cubicBezTo>
                    <a:pt x="20086" y="70837"/>
                    <a:pt x="44041" y="111461"/>
                    <a:pt x="44756" y="143465"/>
                  </a:cubicBezTo>
                  <a:cubicBezTo>
                    <a:pt x="44756" y="143465"/>
                    <a:pt x="44375" y="151799"/>
                    <a:pt x="40374" y="156562"/>
                  </a:cubicBezTo>
                  <a:cubicBezTo>
                    <a:pt x="36374" y="161277"/>
                    <a:pt x="37850" y="165658"/>
                    <a:pt x="40374" y="183470"/>
                  </a:cubicBezTo>
                  <a:lnTo>
                    <a:pt x="54186" y="246716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732" name="Forma livre: Forma 731">
              <a:extLst>
                <a:ext uri="{FF2B5EF4-FFF2-40B4-BE49-F238E27FC236}">
                  <a16:creationId xmlns:a16="http://schemas.microsoft.com/office/drawing/2014/main" id="{CA3184D2-341B-4D78-CE1D-624B1B64591F}"/>
                </a:ext>
              </a:extLst>
            </p:cNvPr>
            <p:cNvSpPr/>
            <p:nvPr/>
          </p:nvSpPr>
          <p:spPr>
            <a:xfrm>
              <a:off x="7728759" y="3191588"/>
              <a:ext cx="57292" cy="70485"/>
            </a:xfrm>
            <a:custGeom>
              <a:avLst/>
              <a:gdLst>
                <a:gd name="connsiteX0" fmla="*/ 48 w 57292"/>
                <a:gd name="connsiteY0" fmla="*/ 6477 h 70485"/>
                <a:gd name="connsiteX1" fmla="*/ 28670 w 57292"/>
                <a:gd name="connsiteY1" fmla="*/ 70485 h 70485"/>
                <a:gd name="connsiteX2" fmla="*/ 57293 w 57292"/>
                <a:gd name="connsiteY2" fmla="*/ 6477 h 70485"/>
                <a:gd name="connsiteX3" fmla="*/ 30289 w 57292"/>
                <a:gd name="connsiteY3" fmla="*/ 0 h 70485"/>
                <a:gd name="connsiteX4" fmla="*/ 29623 w 57292"/>
                <a:gd name="connsiteY4" fmla="*/ 0 h 70485"/>
                <a:gd name="connsiteX5" fmla="*/ 28623 w 57292"/>
                <a:gd name="connsiteY5" fmla="*/ 0 h 70485"/>
                <a:gd name="connsiteX6" fmla="*/ 27622 w 57292"/>
                <a:gd name="connsiteY6" fmla="*/ 0 h 70485"/>
                <a:gd name="connsiteX7" fmla="*/ 26956 w 57292"/>
                <a:gd name="connsiteY7" fmla="*/ 0 h 70485"/>
                <a:gd name="connsiteX8" fmla="*/ 0 w 57292"/>
                <a:gd name="connsiteY8" fmla="*/ 6525 h 704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7292" h="70485">
                  <a:moveTo>
                    <a:pt x="48" y="6477"/>
                  </a:moveTo>
                  <a:cubicBezTo>
                    <a:pt x="7001" y="16954"/>
                    <a:pt x="19812" y="46291"/>
                    <a:pt x="28670" y="70485"/>
                  </a:cubicBezTo>
                  <a:cubicBezTo>
                    <a:pt x="37576" y="46291"/>
                    <a:pt x="50340" y="16954"/>
                    <a:pt x="57293" y="6477"/>
                  </a:cubicBezTo>
                  <a:cubicBezTo>
                    <a:pt x="45577" y="857"/>
                    <a:pt x="35433" y="0"/>
                    <a:pt x="30289" y="0"/>
                  </a:cubicBezTo>
                  <a:cubicBezTo>
                    <a:pt x="30051" y="0"/>
                    <a:pt x="29861" y="0"/>
                    <a:pt x="29623" y="0"/>
                  </a:cubicBezTo>
                  <a:lnTo>
                    <a:pt x="28623" y="0"/>
                  </a:lnTo>
                  <a:cubicBezTo>
                    <a:pt x="28623" y="0"/>
                    <a:pt x="27622" y="0"/>
                    <a:pt x="27622" y="0"/>
                  </a:cubicBezTo>
                  <a:cubicBezTo>
                    <a:pt x="27432" y="0"/>
                    <a:pt x="27194" y="0"/>
                    <a:pt x="26956" y="0"/>
                  </a:cubicBezTo>
                  <a:cubicBezTo>
                    <a:pt x="21812" y="0"/>
                    <a:pt x="11716" y="857"/>
                    <a:pt x="0" y="6525"/>
                  </a:cubicBez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733" name="Gráfico 9">
              <a:extLst>
                <a:ext uri="{FF2B5EF4-FFF2-40B4-BE49-F238E27FC236}">
                  <a16:creationId xmlns:a16="http://schemas.microsoft.com/office/drawing/2014/main" id="{562D4083-7FC4-2C25-715F-77466CAA952F}"/>
                </a:ext>
              </a:extLst>
            </p:cNvPr>
            <p:cNvGrpSpPr/>
            <p:nvPr/>
          </p:nvGrpSpPr>
          <p:grpSpPr>
            <a:xfrm>
              <a:off x="7580033" y="3149098"/>
              <a:ext cx="106292" cy="98822"/>
              <a:chOff x="7580033" y="3149098"/>
              <a:chExt cx="106292" cy="98822"/>
            </a:xfrm>
            <a:noFill/>
          </p:grpSpPr>
          <p:sp>
            <p:nvSpPr>
              <p:cNvPr id="734" name="Forma livre: Forma 733">
                <a:extLst>
                  <a:ext uri="{FF2B5EF4-FFF2-40B4-BE49-F238E27FC236}">
                    <a16:creationId xmlns:a16="http://schemas.microsoft.com/office/drawing/2014/main" id="{6B2245CC-0614-0F1C-FF5E-76D3CA103264}"/>
                  </a:ext>
                </a:extLst>
              </p:cNvPr>
              <p:cNvSpPr/>
              <p:nvPr/>
            </p:nvSpPr>
            <p:spPr>
              <a:xfrm>
                <a:off x="7580033" y="3149098"/>
                <a:ext cx="106292" cy="75017"/>
              </a:xfrm>
              <a:custGeom>
                <a:avLst/>
                <a:gdLst>
                  <a:gd name="connsiteX0" fmla="*/ 106292 w 106292"/>
                  <a:gd name="connsiteY0" fmla="*/ 40109 h 75017"/>
                  <a:gd name="connsiteX1" fmla="*/ 61239 w 106292"/>
                  <a:gd name="connsiteY1" fmla="*/ 14677 h 75017"/>
                  <a:gd name="connsiteX2" fmla="*/ 1660 w 106292"/>
                  <a:gd name="connsiteY2" fmla="*/ 19059 h 75017"/>
                  <a:gd name="connsiteX3" fmla="*/ 38712 w 106292"/>
                  <a:gd name="connsiteY3" fmla="*/ 75018 h 750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06292" h="75017">
                    <a:moveTo>
                      <a:pt x="106292" y="40109"/>
                    </a:moveTo>
                    <a:cubicBezTo>
                      <a:pt x="85194" y="37585"/>
                      <a:pt x="71193" y="23964"/>
                      <a:pt x="61239" y="14677"/>
                    </a:cubicBezTo>
                    <a:cubicBezTo>
                      <a:pt x="45618" y="151"/>
                      <a:pt x="14709" y="-11136"/>
                      <a:pt x="1660" y="19059"/>
                    </a:cubicBezTo>
                    <a:cubicBezTo>
                      <a:pt x="-1055" y="25297"/>
                      <a:pt x="-5960" y="60492"/>
                      <a:pt x="38712" y="75018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35" name="Forma livre: Forma 734">
                <a:extLst>
                  <a:ext uri="{FF2B5EF4-FFF2-40B4-BE49-F238E27FC236}">
                    <a16:creationId xmlns:a16="http://schemas.microsoft.com/office/drawing/2014/main" id="{3341AE76-CC73-D184-CC62-CC437CF1507F}"/>
                  </a:ext>
                </a:extLst>
              </p:cNvPr>
              <p:cNvSpPr/>
              <p:nvPr/>
            </p:nvSpPr>
            <p:spPr>
              <a:xfrm>
                <a:off x="7619252" y="3212694"/>
                <a:ext cx="42656" cy="35226"/>
              </a:xfrm>
              <a:custGeom>
                <a:avLst/>
                <a:gdLst>
                  <a:gd name="connsiteX0" fmla="*/ 42070 w 42656"/>
                  <a:gd name="connsiteY0" fmla="*/ 23567 h 35226"/>
                  <a:gd name="connsiteX1" fmla="*/ 16543 w 42656"/>
                  <a:gd name="connsiteY1" fmla="*/ 34187 h 35226"/>
                  <a:gd name="connsiteX2" fmla="*/ 541 w 42656"/>
                  <a:gd name="connsiteY2" fmla="*/ 11660 h 35226"/>
                  <a:gd name="connsiteX3" fmla="*/ 26068 w 42656"/>
                  <a:gd name="connsiteY3" fmla="*/ 1040 h 35226"/>
                  <a:gd name="connsiteX4" fmla="*/ 42118 w 42656"/>
                  <a:gd name="connsiteY4" fmla="*/ 23567 h 352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2656" h="35226">
                    <a:moveTo>
                      <a:pt x="42070" y="23567"/>
                    </a:moveTo>
                    <a:cubicBezTo>
                      <a:pt x="39451" y="32711"/>
                      <a:pt x="28021" y="37473"/>
                      <a:pt x="16543" y="34187"/>
                    </a:cubicBezTo>
                    <a:cubicBezTo>
                      <a:pt x="5065" y="30901"/>
                      <a:pt x="-2078" y="20852"/>
                      <a:pt x="541" y="11660"/>
                    </a:cubicBezTo>
                    <a:cubicBezTo>
                      <a:pt x="3160" y="2516"/>
                      <a:pt x="14590" y="-2246"/>
                      <a:pt x="26068" y="1040"/>
                    </a:cubicBezTo>
                    <a:cubicBezTo>
                      <a:pt x="37546" y="4326"/>
                      <a:pt x="44737" y="14422"/>
                      <a:pt x="42118" y="23567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736" name="Gráfico 9">
              <a:extLst>
                <a:ext uri="{FF2B5EF4-FFF2-40B4-BE49-F238E27FC236}">
                  <a16:creationId xmlns:a16="http://schemas.microsoft.com/office/drawing/2014/main" id="{FA31E6CC-98F1-B84D-72CC-2EF00A55C0F5}"/>
                </a:ext>
              </a:extLst>
            </p:cNvPr>
            <p:cNvGrpSpPr/>
            <p:nvPr/>
          </p:nvGrpSpPr>
          <p:grpSpPr>
            <a:xfrm>
              <a:off x="7828010" y="3149098"/>
              <a:ext cx="106292" cy="98822"/>
              <a:chOff x="7828010" y="3149098"/>
              <a:chExt cx="106292" cy="98822"/>
            </a:xfrm>
            <a:noFill/>
          </p:grpSpPr>
          <p:sp>
            <p:nvSpPr>
              <p:cNvPr id="737" name="Forma livre: Forma 736">
                <a:extLst>
                  <a:ext uri="{FF2B5EF4-FFF2-40B4-BE49-F238E27FC236}">
                    <a16:creationId xmlns:a16="http://schemas.microsoft.com/office/drawing/2014/main" id="{007815BE-973F-EF52-4988-2F48F4C3C690}"/>
                  </a:ext>
                </a:extLst>
              </p:cNvPr>
              <p:cNvSpPr/>
              <p:nvPr/>
            </p:nvSpPr>
            <p:spPr>
              <a:xfrm>
                <a:off x="7828010" y="3149098"/>
                <a:ext cx="106292" cy="75017"/>
              </a:xfrm>
              <a:custGeom>
                <a:avLst/>
                <a:gdLst>
                  <a:gd name="connsiteX0" fmla="*/ 0 w 106292"/>
                  <a:gd name="connsiteY0" fmla="*/ 40109 h 75017"/>
                  <a:gd name="connsiteX1" fmla="*/ 45053 w 106292"/>
                  <a:gd name="connsiteY1" fmla="*/ 14677 h 75017"/>
                  <a:gd name="connsiteX2" fmla="*/ 104632 w 106292"/>
                  <a:gd name="connsiteY2" fmla="*/ 19059 h 75017"/>
                  <a:gd name="connsiteX3" fmla="*/ 67580 w 106292"/>
                  <a:gd name="connsiteY3" fmla="*/ 75018 h 750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06292" h="75017">
                    <a:moveTo>
                      <a:pt x="0" y="40109"/>
                    </a:moveTo>
                    <a:cubicBezTo>
                      <a:pt x="21098" y="37585"/>
                      <a:pt x="35100" y="23964"/>
                      <a:pt x="45053" y="14677"/>
                    </a:cubicBezTo>
                    <a:cubicBezTo>
                      <a:pt x="60674" y="151"/>
                      <a:pt x="91583" y="-11136"/>
                      <a:pt x="104632" y="19059"/>
                    </a:cubicBezTo>
                    <a:cubicBezTo>
                      <a:pt x="107347" y="25297"/>
                      <a:pt x="112252" y="60492"/>
                      <a:pt x="67580" y="75018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38" name="Forma livre: Forma 737">
                <a:extLst>
                  <a:ext uri="{FF2B5EF4-FFF2-40B4-BE49-F238E27FC236}">
                    <a16:creationId xmlns:a16="http://schemas.microsoft.com/office/drawing/2014/main" id="{DA524F91-A327-2A7F-EE5C-724E5DAFE7C9}"/>
                  </a:ext>
                </a:extLst>
              </p:cNvPr>
              <p:cNvSpPr/>
              <p:nvPr/>
            </p:nvSpPr>
            <p:spPr>
              <a:xfrm>
                <a:off x="7852472" y="3212694"/>
                <a:ext cx="42610" cy="35226"/>
              </a:xfrm>
              <a:custGeom>
                <a:avLst/>
                <a:gdLst>
                  <a:gd name="connsiteX0" fmla="*/ 541 w 42610"/>
                  <a:gd name="connsiteY0" fmla="*/ 23567 h 35226"/>
                  <a:gd name="connsiteX1" fmla="*/ 26068 w 42610"/>
                  <a:gd name="connsiteY1" fmla="*/ 34187 h 35226"/>
                  <a:gd name="connsiteX2" fmla="*/ 42070 w 42610"/>
                  <a:gd name="connsiteY2" fmla="*/ 11660 h 35226"/>
                  <a:gd name="connsiteX3" fmla="*/ 16543 w 42610"/>
                  <a:gd name="connsiteY3" fmla="*/ 1040 h 35226"/>
                  <a:gd name="connsiteX4" fmla="*/ 541 w 42610"/>
                  <a:gd name="connsiteY4" fmla="*/ 23567 h 352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2610" h="35226">
                    <a:moveTo>
                      <a:pt x="541" y="23567"/>
                    </a:moveTo>
                    <a:cubicBezTo>
                      <a:pt x="3160" y="32711"/>
                      <a:pt x="14590" y="37473"/>
                      <a:pt x="26068" y="34187"/>
                    </a:cubicBezTo>
                    <a:cubicBezTo>
                      <a:pt x="37546" y="30901"/>
                      <a:pt x="44689" y="20852"/>
                      <a:pt x="42070" y="11660"/>
                    </a:cubicBezTo>
                    <a:cubicBezTo>
                      <a:pt x="39451" y="2516"/>
                      <a:pt x="28021" y="-2246"/>
                      <a:pt x="16543" y="1040"/>
                    </a:cubicBezTo>
                    <a:cubicBezTo>
                      <a:pt x="5065" y="4326"/>
                      <a:pt x="-2078" y="14422"/>
                      <a:pt x="541" y="23567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739" name="Forma livre: Forma 738">
              <a:extLst>
                <a:ext uri="{FF2B5EF4-FFF2-40B4-BE49-F238E27FC236}">
                  <a16:creationId xmlns:a16="http://schemas.microsoft.com/office/drawing/2014/main" id="{A464AC26-5015-B805-3F52-D5E1260C7F1B}"/>
                </a:ext>
              </a:extLst>
            </p:cNvPr>
            <p:cNvSpPr/>
            <p:nvPr/>
          </p:nvSpPr>
          <p:spPr>
            <a:xfrm>
              <a:off x="7750810" y="3329415"/>
              <a:ext cx="36337" cy="4762"/>
            </a:xfrm>
            <a:custGeom>
              <a:avLst/>
              <a:gdLst>
                <a:gd name="connsiteX0" fmla="*/ 0 w 36337"/>
                <a:gd name="connsiteY0" fmla="*/ 0 h 4762"/>
                <a:gd name="connsiteX1" fmla="*/ 36338 w 36337"/>
                <a:gd name="connsiteY1" fmla="*/ 0 h 47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6337" h="4762">
                  <a:moveTo>
                    <a:pt x="0" y="0"/>
                  </a:moveTo>
                  <a:lnTo>
                    <a:pt x="36338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740" name="Forma livre: Forma 739">
              <a:extLst>
                <a:ext uri="{FF2B5EF4-FFF2-40B4-BE49-F238E27FC236}">
                  <a16:creationId xmlns:a16="http://schemas.microsoft.com/office/drawing/2014/main" id="{1C0E874E-EE85-AEF8-E14F-D1223A224AC7}"/>
                </a:ext>
              </a:extLst>
            </p:cNvPr>
            <p:cNvSpPr/>
            <p:nvPr/>
          </p:nvSpPr>
          <p:spPr>
            <a:xfrm>
              <a:off x="7755334" y="3354942"/>
              <a:ext cx="26622" cy="4762"/>
            </a:xfrm>
            <a:custGeom>
              <a:avLst/>
              <a:gdLst>
                <a:gd name="connsiteX0" fmla="*/ 0 w 26622"/>
                <a:gd name="connsiteY0" fmla="*/ 0 h 4762"/>
                <a:gd name="connsiteX1" fmla="*/ 26622 w 26622"/>
                <a:gd name="connsiteY1" fmla="*/ 0 h 47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6622" h="4762">
                  <a:moveTo>
                    <a:pt x="0" y="0"/>
                  </a:moveTo>
                  <a:lnTo>
                    <a:pt x="26622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741" name="Forma livre: Forma 740">
              <a:extLst>
                <a:ext uri="{FF2B5EF4-FFF2-40B4-BE49-F238E27FC236}">
                  <a16:creationId xmlns:a16="http://schemas.microsoft.com/office/drawing/2014/main" id="{6BB4722B-9AEF-4087-60AD-C319FD0E8606}"/>
                </a:ext>
              </a:extLst>
            </p:cNvPr>
            <p:cNvSpPr/>
            <p:nvPr/>
          </p:nvSpPr>
          <p:spPr>
            <a:xfrm>
              <a:off x="7760287" y="3379564"/>
              <a:ext cx="16430" cy="4762"/>
            </a:xfrm>
            <a:custGeom>
              <a:avLst/>
              <a:gdLst>
                <a:gd name="connsiteX0" fmla="*/ 0 w 16430"/>
                <a:gd name="connsiteY0" fmla="*/ 0 h 4762"/>
                <a:gd name="connsiteX1" fmla="*/ 16431 w 16430"/>
                <a:gd name="connsiteY1" fmla="*/ 0 h 47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6430" h="4762">
                  <a:moveTo>
                    <a:pt x="0" y="0"/>
                  </a:moveTo>
                  <a:lnTo>
                    <a:pt x="16431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743" name="Gráfico 10">
            <a:extLst>
              <a:ext uri="{FF2B5EF4-FFF2-40B4-BE49-F238E27FC236}">
                <a16:creationId xmlns:a16="http://schemas.microsoft.com/office/drawing/2014/main" id="{28738730-DBAD-6544-0690-3114969EEB86}"/>
              </a:ext>
            </a:extLst>
          </p:cNvPr>
          <p:cNvGrpSpPr/>
          <p:nvPr/>
        </p:nvGrpSpPr>
        <p:grpSpPr>
          <a:xfrm>
            <a:off x="9443036" y="1000554"/>
            <a:ext cx="298132" cy="298227"/>
            <a:chOff x="9443036" y="1000554"/>
            <a:chExt cx="298132" cy="298227"/>
          </a:xfrm>
          <a:noFill/>
        </p:grpSpPr>
        <p:sp>
          <p:nvSpPr>
            <p:cNvPr id="744" name="Forma livre: Forma 743">
              <a:extLst>
                <a:ext uri="{FF2B5EF4-FFF2-40B4-BE49-F238E27FC236}">
                  <a16:creationId xmlns:a16="http://schemas.microsoft.com/office/drawing/2014/main" id="{B2B917C9-F6D8-4D72-C0D2-5BFBB136596C}"/>
                </a:ext>
              </a:extLst>
            </p:cNvPr>
            <p:cNvSpPr/>
            <p:nvPr/>
          </p:nvSpPr>
          <p:spPr>
            <a:xfrm>
              <a:off x="9592007" y="1098280"/>
              <a:ext cx="64246" cy="64246"/>
            </a:xfrm>
            <a:custGeom>
              <a:avLst/>
              <a:gdLst>
                <a:gd name="connsiteX0" fmla="*/ 0 w 64246"/>
                <a:gd name="connsiteY0" fmla="*/ 0 h 64246"/>
                <a:gd name="connsiteX1" fmla="*/ 64246 w 64246"/>
                <a:gd name="connsiteY1" fmla="*/ 64246 h 64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4246" h="64246">
                  <a:moveTo>
                    <a:pt x="0" y="0"/>
                  </a:moveTo>
                  <a:lnTo>
                    <a:pt x="64246" y="64246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745" name="Forma livre: Forma 744">
              <a:extLst>
                <a:ext uri="{FF2B5EF4-FFF2-40B4-BE49-F238E27FC236}">
                  <a16:creationId xmlns:a16="http://schemas.microsoft.com/office/drawing/2014/main" id="{1A723BFD-1BC9-C60A-AFCF-C49F54BC6D93}"/>
                </a:ext>
              </a:extLst>
            </p:cNvPr>
            <p:cNvSpPr/>
            <p:nvPr/>
          </p:nvSpPr>
          <p:spPr>
            <a:xfrm>
              <a:off x="9546906" y="1152763"/>
              <a:ext cx="54721" cy="54721"/>
            </a:xfrm>
            <a:custGeom>
              <a:avLst/>
              <a:gdLst>
                <a:gd name="connsiteX0" fmla="*/ 0 w 54721"/>
                <a:gd name="connsiteY0" fmla="*/ 0 h 54721"/>
                <a:gd name="connsiteX1" fmla="*/ 54721 w 54721"/>
                <a:gd name="connsiteY1" fmla="*/ 54721 h 547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4721" h="54721">
                  <a:moveTo>
                    <a:pt x="0" y="0"/>
                  </a:moveTo>
                  <a:lnTo>
                    <a:pt x="54721" y="54721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746" name="Forma livre: Forma 745">
              <a:extLst>
                <a:ext uri="{FF2B5EF4-FFF2-40B4-BE49-F238E27FC236}">
                  <a16:creationId xmlns:a16="http://schemas.microsoft.com/office/drawing/2014/main" id="{FE7A9AE4-EE8A-11EE-FBF0-C3FD4CA723E3}"/>
                </a:ext>
              </a:extLst>
            </p:cNvPr>
            <p:cNvSpPr/>
            <p:nvPr/>
          </p:nvSpPr>
          <p:spPr>
            <a:xfrm>
              <a:off x="9485756" y="1204246"/>
              <a:ext cx="53006" cy="52958"/>
            </a:xfrm>
            <a:custGeom>
              <a:avLst/>
              <a:gdLst>
                <a:gd name="connsiteX0" fmla="*/ 0 w 53006"/>
                <a:gd name="connsiteY0" fmla="*/ 0 h 52958"/>
                <a:gd name="connsiteX1" fmla="*/ 53007 w 53006"/>
                <a:gd name="connsiteY1" fmla="*/ 52959 h 529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3006" h="52958">
                  <a:moveTo>
                    <a:pt x="0" y="0"/>
                  </a:moveTo>
                  <a:lnTo>
                    <a:pt x="53007" y="52959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747" name="Forma livre: Forma 746">
              <a:extLst>
                <a:ext uri="{FF2B5EF4-FFF2-40B4-BE49-F238E27FC236}">
                  <a16:creationId xmlns:a16="http://schemas.microsoft.com/office/drawing/2014/main" id="{91FD21FD-23DF-8A9C-FA7E-4EA58C6AFFA9}"/>
                </a:ext>
              </a:extLst>
            </p:cNvPr>
            <p:cNvSpPr/>
            <p:nvPr/>
          </p:nvSpPr>
          <p:spPr>
            <a:xfrm>
              <a:off x="9481089" y="1000554"/>
              <a:ext cx="260080" cy="260175"/>
            </a:xfrm>
            <a:custGeom>
              <a:avLst/>
              <a:gdLst>
                <a:gd name="connsiteX0" fmla="*/ 128778 w 260080"/>
                <a:gd name="connsiteY0" fmla="*/ 39957 h 260175"/>
                <a:gd name="connsiteX1" fmla="*/ 109823 w 260080"/>
                <a:gd name="connsiteY1" fmla="*/ 69771 h 260175"/>
                <a:gd name="connsiteX2" fmla="*/ 109395 w 260080"/>
                <a:gd name="connsiteY2" fmla="*/ 70342 h 260175"/>
                <a:gd name="connsiteX3" fmla="*/ 1238 w 260080"/>
                <a:gd name="connsiteY3" fmla="*/ 200073 h 260175"/>
                <a:gd name="connsiteX4" fmla="*/ 0 w 260080"/>
                <a:gd name="connsiteY4" fmla="*/ 235506 h 260175"/>
                <a:gd name="connsiteX5" fmla="*/ 24717 w 260080"/>
                <a:gd name="connsiteY5" fmla="*/ 260175 h 260175"/>
                <a:gd name="connsiteX6" fmla="*/ 60008 w 260080"/>
                <a:gd name="connsiteY6" fmla="*/ 258794 h 260175"/>
                <a:gd name="connsiteX7" fmla="*/ 189738 w 260080"/>
                <a:gd name="connsiteY7" fmla="*/ 150638 h 260175"/>
                <a:gd name="connsiteX8" fmla="*/ 190309 w 260080"/>
                <a:gd name="connsiteY8" fmla="*/ 150209 h 260175"/>
                <a:gd name="connsiteX9" fmla="*/ 236839 w 260080"/>
                <a:gd name="connsiteY9" fmla="*/ 124254 h 260175"/>
                <a:gd name="connsiteX10" fmla="*/ 260080 w 260080"/>
                <a:gd name="connsiteY10" fmla="*/ 101060 h 260175"/>
                <a:gd name="connsiteX11" fmla="*/ 250603 w 260080"/>
                <a:gd name="connsiteY11" fmla="*/ 91630 h 260175"/>
                <a:gd name="connsiteX12" fmla="*/ 158972 w 260080"/>
                <a:gd name="connsiteY12" fmla="*/ 0 h 260175"/>
                <a:gd name="connsiteX13" fmla="*/ 139636 w 260080"/>
                <a:gd name="connsiteY13" fmla="*/ 19383 h 260175"/>
                <a:gd name="connsiteX14" fmla="*/ 239506 w 260080"/>
                <a:gd name="connsiteY14" fmla="*/ 119253 h 260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60080" h="260175">
                  <a:moveTo>
                    <a:pt x="128778" y="39957"/>
                  </a:moveTo>
                  <a:cubicBezTo>
                    <a:pt x="124730" y="48054"/>
                    <a:pt x="118682" y="58436"/>
                    <a:pt x="109823" y="69771"/>
                  </a:cubicBezTo>
                  <a:lnTo>
                    <a:pt x="109395" y="70342"/>
                  </a:lnTo>
                  <a:cubicBezTo>
                    <a:pt x="88678" y="97012"/>
                    <a:pt x="85963" y="98727"/>
                    <a:pt x="1238" y="200073"/>
                  </a:cubicBezTo>
                  <a:lnTo>
                    <a:pt x="0" y="235506"/>
                  </a:lnTo>
                  <a:lnTo>
                    <a:pt x="24717" y="260175"/>
                  </a:lnTo>
                  <a:lnTo>
                    <a:pt x="60008" y="258794"/>
                  </a:lnTo>
                  <a:cubicBezTo>
                    <a:pt x="161353" y="174069"/>
                    <a:pt x="163020" y="171355"/>
                    <a:pt x="189738" y="150638"/>
                  </a:cubicBezTo>
                  <a:lnTo>
                    <a:pt x="190309" y="150209"/>
                  </a:lnTo>
                  <a:cubicBezTo>
                    <a:pt x="213741" y="131921"/>
                    <a:pt x="232934" y="125492"/>
                    <a:pt x="236839" y="124254"/>
                  </a:cubicBezTo>
                  <a:lnTo>
                    <a:pt x="260080" y="101060"/>
                  </a:lnTo>
                  <a:lnTo>
                    <a:pt x="250603" y="91630"/>
                  </a:lnTo>
                  <a:lnTo>
                    <a:pt x="158972" y="0"/>
                  </a:lnTo>
                  <a:lnTo>
                    <a:pt x="139636" y="19383"/>
                  </a:lnTo>
                  <a:lnTo>
                    <a:pt x="239506" y="119253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748" name="Forma livre: Forma 747">
              <a:extLst>
                <a:ext uri="{FF2B5EF4-FFF2-40B4-BE49-F238E27FC236}">
                  <a16:creationId xmlns:a16="http://schemas.microsoft.com/office/drawing/2014/main" id="{5EDDBB0A-1F96-28A3-2439-6D9B2EBFA975}"/>
                </a:ext>
              </a:extLst>
            </p:cNvPr>
            <p:cNvSpPr/>
            <p:nvPr/>
          </p:nvSpPr>
          <p:spPr>
            <a:xfrm>
              <a:off x="9443036" y="1236059"/>
              <a:ext cx="62722" cy="62722"/>
            </a:xfrm>
            <a:custGeom>
              <a:avLst/>
              <a:gdLst>
                <a:gd name="connsiteX0" fmla="*/ 62722 w 62722"/>
                <a:gd name="connsiteY0" fmla="*/ 24670 h 62722"/>
                <a:gd name="connsiteX1" fmla="*/ 14430 w 62722"/>
                <a:gd name="connsiteY1" fmla="*/ 62722 h 62722"/>
                <a:gd name="connsiteX2" fmla="*/ 0 w 62722"/>
                <a:gd name="connsiteY2" fmla="*/ 48292 h 62722"/>
                <a:gd name="connsiteX3" fmla="*/ 38052 w 62722"/>
                <a:gd name="connsiteY3" fmla="*/ 0 h 627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2722" h="62722">
                  <a:moveTo>
                    <a:pt x="62722" y="24670"/>
                  </a:moveTo>
                  <a:lnTo>
                    <a:pt x="14430" y="62722"/>
                  </a:lnTo>
                  <a:lnTo>
                    <a:pt x="0" y="48292"/>
                  </a:lnTo>
                  <a:lnTo>
                    <a:pt x="38052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749" name="Gráfico 10">
            <a:extLst>
              <a:ext uri="{FF2B5EF4-FFF2-40B4-BE49-F238E27FC236}">
                <a16:creationId xmlns:a16="http://schemas.microsoft.com/office/drawing/2014/main" id="{1ACAF7EA-305C-32A7-1098-CD0F29232CED}"/>
              </a:ext>
            </a:extLst>
          </p:cNvPr>
          <p:cNvGrpSpPr/>
          <p:nvPr/>
        </p:nvGrpSpPr>
        <p:grpSpPr>
          <a:xfrm>
            <a:off x="9488947" y="3112150"/>
            <a:ext cx="206263" cy="300656"/>
            <a:chOff x="9488947" y="3112150"/>
            <a:chExt cx="206263" cy="300656"/>
          </a:xfrm>
          <a:noFill/>
        </p:grpSpPr>
        <p:sp>
          <p:nvSpPr>
            <p:cNvPr id="750" name="Forma livre: Forma 749">
              <a:extLst>
                <a:ext uri="{FF2B5EF4-FFF2-40B4-BE49-F238E27FC236}">
                  <a16:creationId xmlns:a16="http://schemas.microsoft.com/office/drawing/2014/main" id="{7EE1DD50-77A5-2B56-8D21-24FAA1C3E6DB}"/>
                </a:ext>
              </a:extLst>
            </p:cNvPr>
            <p:cNvSpPr/>
            <p:nvPr/>
          </p:nvSpPr>
          <p:spPr>
            <a:xfrm>
              <a:off x="9577196" y="3188446"/>
              <a:ext cx="101203" cy="32623"/>
            </a:xfrm>
            <a:custGeom>
              <a:avLst/>
              <a:gdLst>
                <a:gd name="connsiteX0" fmla="*/ 58579 w 101203"/>
                <a:gd name="connsiteY0" fmla="*/ 0 h 32623"/>
                <a:gd name="connsiteX1" fmla="*/ 101203 w 101203"/>
                <a:gd name="connsiteY1" fmla="*/ 0 h 32623"/>
                <a:gd name="connsiteX2" fmla="*/ 101203 w 101203"/>
                <a:gd name="connsiteY2" fmla="*/ 32623 h 32623"/>
                <a:gd name="connsiteX3" fmla="*/ 0 w 101203"/>
                <a:gd name="connsiteY3" fmla="*/ 32623 h 32623"/>
                <a:gd name="connsiteX4" fmla="*/ 0 w 101203"/>
                <a:gd name="connsiteY4" fmla="*/ 0 h 32623"/>
                <a:gd name="connsiteX5" fmla="*/ 31671 w 101203"/>
                <a:gd name="connsiteY5" fmla="*/ 0 h 326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01203" h="32623">
                  <a:moveTo>
                    <a:pt x="58579" y="0"/>
                  </a:moveTo>
                  <a:lnTo>
                    <a:pt x="101203" y="0"/>
                  </a:lnTo>
                  <a:lnTo>
                    <a:pt x="101203" y="32623"/>
                  </a:lnTo>
                  <a:lnTo>
                    <a:pt x="0" y="32623"/>
                  </a:lnTo>
                  <a:lnTo>
                    <a:pt x="0" y="0"/>
                  </a:lnTo>
                  <a:lnTo>
                    <a:pt x="31671" y="0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751" name="Forma livre: Forma 750">
              <a:extLst>
                <a:ext uri="{FF2B5EF4-FFF2-40B4-BE49-F238E27FC236}">
                  <a16:creationId xmlns:a16="http://schemas.microsoft.com/office/drawing/2014/main" id="{9BE2C633-9431-77AE-76A1-C262CD3A2557}"/>
                </a:ext>
              </a:extLst>
            </p:cNvPr>
            <p:cNvSpPr/>
            <p:nvPr/>
          </p:nvSpPr>
          <p:spPr>
            <a:xfrm>
              <a:off x="9488947" y="3139868"/>
              <a:ext cx="125348" cy="22669"/>
            </a:xfrm>
            <a:custGeom>
              <a:avLst/>
              <a:gdLst>
                <a:gd name="connsiteX0" fmla="*/ 125349 w 125348"/>
                <a:gd name="connsiteY0" fmla="*/ 22669 h 22669"/>
                <a:gd name="connsiteX1" fmla="*/ 0 w 125348"/>
                <a:gd name="connsiteY1" fmla="*/ 22669 h 22669"/>
                <a:gd name="connsiteX2" fmla="*/ 0 w 125348"/>
                <a:gd name="connsiteY2" fmla="*/ 0 h 22669"/>
                <a:gd name="connsiteX3" fmla="*/ 125349 w 125348"/>
                <a:gd name="connsiteY3" fmla="*/ 0 h 226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5348" h="22669">
                  <a:moveTo>
                    <a:pt x="125349" y="22669"/>
                  </a:moveTo>
                  <a:lnTo>
                    <a:pt x="0" y="22669"/>
                  </a:lnTo>
                  <a:lnTo>
                    <a:pt x="0" y="0"/>
                  </a:lnTo>
                  <a:lnTo>
                    <a:pt x="125349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752" name="Gráfico 10">
              <a:extLst>
                <a:ext uri="{FF2B5EF4-FFF2-40B4-BE49-F238E27FC236}">
                  <a16:creationId xmlns:a16="http://schemas.microsoft.com/office/drawing/2014/main" id="{45918D8F-6030-B5E7-58F3-A7454681DA8F}"/>
                </a:ext>
              </a:extLst>
            </p:cNvPr>
            <p:cNvGrpSpPr/>
            <p:nvPr/>
          </p:nvGrpSpPr>
          <p:grpSpPr>
            <a:xfrm>
              <a:off x="9597913" y="3112150"/>
              <a:ext cx="59769" cy="75485"/>
              <a:chOff x="9597913" y="3112150"/>
              <a:chExt cx="59769" cy="75485"/>
            </a:xfrm>
            <a:noFill/>
          </p:grpSpPr>
          <p:sp>
            <p:nvSpPr>
              <p:cNvPr id="753" name="Forma livre: Forma 752">
                <a:extLst>
                  <a:ext uri="{FF2B5EF4-FFF2-40B4-BE49-F238E27FC236}">
                    <a16:creationId xmlns:a16="http://schemas.microsoft.com/office/drawing/2014/main" id="{FE833BFC-3DD7-0177-C2FC-A76635BA400B}"/>
                  </a:ext>
                </a:extLst>
              </p:cNvPr>
              <p:cNvSpPr/>
              <p:nvPr/>
            </p:nvSpPr>
            <p:spPr>
              <a:xfrm>
                <a:off x="9597913" y="3112150"/>
                <a:ext cx="59769" cy="75437"/>
              </a:xfrm>
              <a:custGeom>
                <a:avLst/>
                <a:gdLst>
                  <a:gd name="connsiteX0" fmla="*/ 0 w 59769"/>
                  <a:gd name="connsiteY0" fmla="*/ 26956 h 75437"/>
                  <a:gd name="connsiteX1" fmla="*/ 0 w 59769"/>
                  <a:gd name="connsiteY1" fmla="*/ 9763 h 75437"/>
                  <a:gd name="connsiteX2" fmla="*/ 9763 w 59769"/>
                  <a:gd name="connsiteY2" fmla="*/ 0 h 75437"/>
                  <a:gd name="connsiteX3" fmla="*/ 50006 w 59769"/>
                  <a:gd name="connsiteY3" fmla="*/ 0 h 75437"/>
                  <a:gd name="connsiteX4" fmla="*/ 59769 w 59769"/>
                  <a:gd name="connsiteY4" fmla="*/ 9763 h 75437"/>
                  <a:gd name="connsiteX5" fmla="*/ 59769 w 59769"/>
                  <a:gd name="connsiteY5" fmla="*/ 75438 h 754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59769" h="75437">
                    <a:moveTo>
                      <a:pt x="0" y="26956"/>
                    </a:moveTo>
                    <a:lnTo>
                      <a:pt x="0" y="9763"/>
                    </a:lnTo>
                    <a:cubicBezTo>
                      <a:pt x="0" y="4382"/>
                      <a:pt x="4382" y="0"/>
                      <a:pt x="9763" y="0"/>
                    </a:cubicBezTo>
                    <a:lnTo>
                      <a:pt x="50006" y="0"/>
                    </a:lnTo>
                    <a:cubicBezTo>
                      <a:pt x="55388" y="0"/>
                      <a:pt x="59769" y="4382"/>
                      <a:pt x="59769" y="9763"/>
                    </a:cubicBezTo>
                    <a:lnTo>
                      <a:pt x="59769" y="75438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54" name="Forma livre: Forma 753">
                <a:extLst>
                  <a:ext uri="{FF2B5EF4-FFF2-40B4-BE49-F238E27FC236}">
                    <a16:creationId xmlns:a16="http://schemas.microsoft.com/office/drawing/2014/main" id="{660757EA-158F-F0F5-1653-447DA5D4000D}"/>
                  </a:ext>
                </a:extLst>
              </p:cNvPr>
              <p:cNvSpPr/>
              <p:nvPr/>
            </p:nvSpPr>
            <p:spPr>
              <a:xfrm>
                <a:off x="9597913" y="3163109"/>
                <a:ext cx="4762" cy="24526"/>
              </a:xfrm>
              <a:custGeom>
                <a:avLst/>
                <a:gdLst>
                  <a:gd name="connsiteX0" fmla="*/ 0 w 4762"/>
                  <a:gd name="connsiteY0" fmla="*/ 0 h 24526"/>
                  <a:gd name="connsiteX1" fmla="*/ 0 w 4762"/>
                  <a:gd name="connsiteY1" fmla="*/ 24527 h 245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62" h="24526">
                    <a:moveTo>
                      <a:pt x="0" y="0"/>
                    </a:moveTo>
                    <a:lnTo>
                      <a:pt x="0" y="24527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755" name="Forma livre: Forma 754">
              <a:extLst>
                <a:ext uri="{FF2B5EF4-FFF2-40B4-BE49-F238E27FC236}">
                  <a16:creationId xmlns:a16="http://schemas.microsoft.com/office/drawing/2014/main" id="{EAC0EC6C-AFCD-26C4-5BB3-C9845F17C3C3}"/>
                </a:ext>
              </a:extLst>
            </p:cNvPr>
            <p:cNvSpPr/>
            <p:nvPr/>
          </p:nvSpPr>
          <p:spPr>
            <a:xfrm>
              <a:off x="9561908" y="3292459"/>
              <a:ext cx="89535" cy="84915"/>
            </a:xfrm>
            <a:custGeom>
              <a:avLst/>
              <a:gdLst>
                <a:gd name="connsiteX0" fmla="*/ 0 w 89535"/>
                <a:gd name="connsiteY0" fmla="*/ 0 h 84915"/>
                <a:gd name="connsiteX1" fmla="*/ 89535 w 89535"/>
                <a:gd name="connsiteY1" fmla="*/ 0 h 84915"/>
                <a:gd name="connsiteX2" fmla="*/ 89535 w 89535"/>
                <a:gd name="connsiteY2" fmla="*/ 84915 h 84915"/>
                <a:gd name="connsiteX3" fmla="*/ 0 w 89535"/>
                <a:gd name="connsiteY3" fmla="*/ 84915 h 849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9535" h="84915">
                  <a:moveTo>
                    <a:pt x="0" y="0"/>
                  </a:moveTo>
                  <a:lnTo>
                    <a:pt x="89535" y="0"/>
                  </a:lnTo>
                  <a:lnTo>
                    <a:pt x="89535" y="84915"/>
                  </a:lnTo>
                  <a:lnTo>
                    <a:pt x="0" y="84915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756" name="Gráfico 10">
              <a:extLst>
                <a:ext uri="{FF2B5EF4-FFF2-40B4-BE49-F238E27FC236}">
                  <a16:creationId xmlns:a16="http://schemas.microsoft.com/office/drawing/2014/main" id="{77968391-7B9A-E29C-2000-947781D3A509}"/>
                </a:ext>
              </a:extLst>
            </p:cNvPr>
            <p:cNvGrpSpPr/>
            <p:nvPr/>
          </p:nvGrpSpPr>
          <p:grpSpPr>
            <a:xfrm>
              <a:off x="9582435" y="3321367"/>
              <a:ext cx="46862" cy="27098"/>
              <a:chOff x="9582435" y="3321367"/>
              <a:chExt cx="46862" cy="27098"/>
            </a:xfrm>
          </p:grpSpPr>
          <p:sp>
            <p:nvSpPr>
              <p:cNvPr id="757" name="Forma livre: Forma 756">
                <a:extLst>
                  <a:ext uri="{FF2B5EF4-FFF2-40B4-BE49-F238E27FC236}">
                    <a16:creationId xmlns:a16="http://schemas.microsoft.com/office/drawing/2014/main" id="{DB982BED-2A7E-4FA2-AD4E-1F94634EF197}"/>
                  </a:ext>
                </a:extLst>
              </p:cNvPr>
              <p:cNvSpPr/>
              <p:nvPr/>
            </p:nvSpPr>
            <p:spPr>
              <a:xfrm>
                <a:off x="9582435" y="3321367"/>
                <a:ext cx="46862" cy="4762"/>
              </a:xfrm>
              <a:custGeom>
                <a:avLst/>
                <a:gdLst>
                  <a:gd name="connsiteX0" fmla="*/ 0 w 46862"/>
                  <a:gd name="connsiteY0" fmla="*/ 0 h 4762"/>
                  <a:gd name="connsiteX1" fmla="*/ 46863 w 46862"/>
                  <a:gd name="connsiteY1" fmla="*/ 0 h 47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6862" h="4762">
                    <a:moveTo>
                      <a:pt x="0" y="0"/>
                    </a:moveTo>
                    <a:lnTo>
                      <a:pt x="46863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58" name="Forma livre: Forma 757">
                <a:extLst>
                  <a:ext uri="{FF2B5EF4-FFF2-40B4-BE49-F238E27FC236}">
                    <a16:creationId xmlns:a16="http://schemas.microsoft.com/office/drawing/2014/main" id="{731DA340-677F-F541-5F9B-D316C9B19AAF}"/>
                  </a:ext>
                </a:extLst>
              </p:cNvPr>
              <p:cNvSpPr/>
              <p:nvPr/>
            </p:nvSpPr>
            <p:spPr>
              <a:xfrm>
                <a:off x="9582435" y="3348466"/>
                <a:ext cx="46862" cy="4762"/>
              </a:xfrm>
              <a:custGeom>
                <a:avLst/>
                <a:gdLst>
                  <a:gd name="connsiteX0" fmla="*/ 0 w 46862"/>
                  <a:gd name="connsiteY0" fmla="*/ 0 h 4762"/>
                  <a:gd name="connsiteX1" fmla="*/ 46863 w 46862"/>
                  <a:gd name="connsiteY1" fmla="*/ 0 h 47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6862" h="4762">
                    <a:moveTo>
                      <a:pt x="0" y="0"/>
                    </a:moveTo>
                    <a:lnTo>
                      <a:pt x="46863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759" name="Forma livre: Forma 758">
              <a:extLst>
                <a:ext uri="{FF2B5EF4-FFF2-40B4-BE49-F238E27FC236}">
                  <a16:creationId xmlns:a16="http://schemas.microsoft.com/office/drawing/2014/main" id="{40EC3E33-8B21-B33F-2D54-6B9A0E2F4B21}"/>
                </a:ext>
              </a:extLst>
            </p:cNvPr>
            <p:cNvSpPr/>
            <p:nvPr/>
          </p:nvSpPr>
          <p:spPr>
            <a:xfrm>
              <a:off x="9560384" y="3245262"/>
              <a:ext cx="134826" cy="167544"/>
            </a:xfrm>
            <a:custGeom>
              <a:avLst/>
              <a:gdLst>
                <a:gd name="connsiteX0" fmla="*/ 117967 w 134826"/>
                <a:gd name="connsiteY0" fmla="*/ 0 h 167544"/>
                <a:gd name="connsiteX1" fmla="*/ 134826 w 134826"/>
                <a:gd name="connsiteY1" fmla="*/ 24479 h 167544"/>
                <a:gd name="connsiteX2" fmla="*/ 134826 w 134826"/>
                <a:gd name="connsiteY2" fmla="*/ 157781 h 167544"/>
                <a:gd name="connsiteX3" fmla="*/ 125063 w 134826"/>
                <a:gd name="connsiteY3" fmla="*/ 167545 h 167544"/>
                <a:gd name="connsiteX4" fmla="*/ 9763 w 134826"/>
                <a:gd name="connsiteY4" fmla="*/ 167545 h 167544"/>
                <a:gd name="connsiteX5" fmla="*/ 0 w 134826"/>
                <a:gd name="connsiteY5" fmla="*/ 157781 h 167544"/>
                <a:gd name="connsiteX6" fmla="*/ 0 w 134826"/>
                <a:gd name="connsiteY6" fmla="*/ 24479 h 167544"/>
                <a:gd name="connsiteX7" fmla="*/ 16859 w 134826"/>
                <a:gd name="connsiteY7" fmla="*/ 0 h 1675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34826" h="167544">
                  <a:moveTo>
                    <a:pt x="117967" y="0"/>
                  </a:moveTo>
                  <a:lnTo>
                    <a:pt x="134826" y="24479"/>
                  </a:lnTo>
                  <a:lnTo>
                    <a:pt x="134826" y="157781"/>
                  </a:lnTo>
                  <a:cubicBezTo>
                    <a:pt x="134826" y="163163"/>
                    <a:pt x="130445" y="167545"/>
                    <a:pt x="125063" y="167545"/>
                  </a:cubicBezTo>
                  <a:lnTo>
                    <a:pt x="9763" y="167545"/>
                  </a:lnTo>
                  <a:cubicBezTo>
                    <a:pt x="4382" y="167545"/>
                    <a:pt x="0" y="163163"/>
                    <a:pt x="0" y="157781"/>
                  </a:cubicBezTo>
                  <a:lnTo>
                    <a:pt x="0" y="24479"/>
                  </a:lnTo>
                  <a:lnTo>
                    <a:pt x="16859" y="0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760" name="Gráfico 10">
            <a:extLst>
              <a:ext uri="{FF2B5EF4-FFF2-40B4-BE49-F238E27FC236}">
                <a16:creationId xmlns:a16="http://schemas.microsoft.com/office/drawing/2014/main" id="{53B26B2F-5DEF-4067-42D4-C62AE95599C1}"/>
              </a:ext>
            </a:extLst>
          </p:cNvPr>
          <p:cNvGrpSpPr/>
          <p:nvPr/>
        </p:nvGrpSpPr>
        <p:grpSpPr>
          <a:xfrm>
            <a:off x="9456371" y="2580275"/>
            <a:ext cx="271414" cy="307990"/>
            <a:chOff x="9456371" y="2580275"/>
            <a:chExt cx="271414" cy="307990"/>
          </a:xfrm>
          <a:noFill/>
        </p:grpSpPr>
        <p:sp>
          <p:nvSpPr>
            <p:cNvPr id="761" name="Forma livre: Forma 760">
              <a:extLst>
                <a:ext uri="{FF2B5EF4-FFF2-40B4-BE49-F238E27FC236}">
                  <a16:creationId xmlns:a16="http://schemas.microsoft.com/office/drawing/2014/main" id="{5248D7F3-7F50-8C7E-B6FE-9C581906E6B5}"/>
                </a:ext>
              </a:extLst>
            </p:cNvPr>
            <p:cNvSpPr/>
            <p:nvPr/>
          </p:nvSpPr>
          <p:spPr>
            <a:xfrm>
              <a:off x="9506901" y="2675382"/>
              <a:ext cx="220884" cy="82534"/>
            </a:xfrm>
            <a:custGeom>
              <a:avLst/>
              <a:gdLst>
                <a:gd name="connsiteX0" fmla="*/ 0 w 220884"/>
                <a:gd name="connsiteY0" fmla="*/ 0 h 82534"/>
                <a:gd name="connsiteX1" fmla="*/ 182785 w 220884"/>
                <a:gd name="connsiteY1" fmla="*/ 0 h 82534"/>
                <a:gd name="connsiteX2" fmla="*/ 220885 w 220884"/>
                <a:gd name="connsiteY2" fmla="*/ 38100 h 82534"/>
                <a:gd name="connsiteX3" fmla="*/ 220885 w 220884"/>
                <a:gd name="connsiteY3" fmla="*/ 44434 h 82534"/>
                <a:gd name="connsiteX4" fmla="*/ 182785 w 220884"/>
                <a:gd name="connsiteY4" fmla="*/ 82534 h 82534"/>
                <a:gd name="connsiteX5" fmla="*/ 33957 w 220884"/>
                <a:gd name="connsiteY5" fmla="*/ 82534 h 825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20884" h="82534">
                  <a:moveTo>
                    <a:pt x="0" y="0"/>
                  </a:moveTo>
                  <a:lnTo>
                    <a:pt x="182785" y="0"/>
                  </a:lnTo>
                  <a:cubicBezTo>
                    <a:pt x="203740" y="0"/>
                    <a:pt x="220885" y="17145"/>
                    <a:pt x="220885" y="38100"/>
                  </a:cubicBezTo>
                  <a:lnTo>
                    <a:pt x="220885" y="44434"/>
                  </a:lnTo>
                  <a:cubicBezTo>
                    <a:pt x="220885" y="65389"/>
                    <a:pt x="203740" y="82534"/>
                    <a:pt x="182785" y="82534"/>
                  </a:cubicBezTo>
                  <a:lnTo>
                    <a:pt x="33957" y="82534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762" name="Forma livre: Forma 761">
              <a:extLst>
                <a:ext uri="{FF2B5EF4-FFF2-40B4-BE49-F238E27FC236}">
                  <a16:creationId xmlns:a16="http://schemas.microsoft.com/office/drawing/2014/main" id="{B1B956B3-15FC-9D18-A5C9-07BE7FDF1A91}"/>
                </a:ext>
              </a:extLst>
            </p:cNvPr>
            <p:cNvSpPr/>
            <p:nvPr/>
          </p:nvSpPr>
          <p:spPr>
            <a:xfrm>
              <a:off x="9640442" y="2580275"/>
              <a:ext cx="3762" cy="73342"/>
            </a:xfrm>
            <a:custGeom>
              <a:avLst/>
              <a:gdLst>
                <a:gd name="connsiteX0" fmla="*/ 3762 w 3762"/>
                <a:gd name="connsiteY0" fmla="*/ 0 h 73342"/>
                <a:gd name="connsiteX1" fmla="*/ 3762 w 3762"/>
                <a:gd name="connsiteY1" fmla="*/ 56817 h 73342"/>
                <a:gd name="connsiteX2" fmla="*/ 0 w 3762"/>
                <a:gd name="connsiteY2" fmla="*/ 73342 h 733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762" h="73342">
                  <a:moveTo>
                    <a:pt x="3762" y="0"/>
                  </a:moveTo>
                  <a:lnTo>
                    <a:pt x="3762" y="56817"/>
                  </a:lnTo>
                  <a:cubicBezTo>
                    <a:pt x="3762" y="62722"/>
                    <a:pt x="2381" y="68342"/>
                    <a:pt x="0" y="73342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763" name="Forma livre: Forma 762">
              <a:extLst>
                <a:ext uri="{FF2B5EF4-FFF2-40B4-BE49-F238E27FC236}">
                  <a16:creationId xmlns:a16="http://schemas.microsoft.com/office/drawing/2014/main" id="{B76E9526-DED7-0ED8-4581-1A3D42C18308}"/>
                </a:ext>
              </a:extLst>
            </p:cNvPr>
            <p:cNvSpPr/>
            <p:nvPr/>
          </p:nvSpPr>
          <p:spPr>
            <a:xfrm>
              <a:off x="9489756" y="2738628"/>
              <a:ext cx="158829" cy="60150"/>
            </a:xfrm>
            <a:custGeom>
              <a:avLst/>
              <a:gdLst>
                <a:gd name="connsiteX0" fmla="*/ 158829 w 158829"/>
                <a:gd name="connsiteY0" fmla="*/ 60150 h 60150"/>
                <a:gd name="connsiteX1" fmla="*/ 38100 w 158829"/>
                <a:gd name="connsiteY1" fmla="*/ 60150 h 60150"/>
                <a:gd name="connsiteX2" fmla="*/ 0 w 158829"/>
                <a:gd name="connsiteY2" fmla="*/ 22050 h 60150"/>
                <a:gd name="connsiteX3" fmla="*/ 0 w 158829"/>
                <a:gd name="connsiteY3" fmla="*/ 15716 h 60150"/>
                <a:gd name="connsiteX4" fmla="*/ 3381 w 158829"/>
                <a:gd name="connsiteY4" fmla="*/ 0 h 60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8829" h="60150">
                  <a:moveTo>
                    <a:pt x="158829" y="60150"/>
                  </a:moveTo>
                  <a:lnTo>
                    <a:pt x="38100" y="60150"/>
                  </a:lnTo>
                  <a:cubicBezTo>
                    <a:pt x="17145" y="60150"/>
                    <a:pt x="0" y="43005"/>
                    <a:pt x="0" y="22050"/>
                  </a:cubicBezTo>
                  <a:lnTo>
                    <a:pt x="0" y="15716"/>
                  </a:lnTo>
                  <a:cubicBezTo>
                    <a:pt x="0" y="10144"/>
                    <a:pt x="1238" y="4810"/>
                    <a:pt x="3381" y="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764" name="Forma livre: Forma 763">
              <a:extLst>
                <a:ext uri="{FF2B5EF4-FFF2-40B4-BE49-F238E27FC236}">
                  <a16:creationId xmlns:a16="http://schemas.microsoft.com/office/drawing/2014/main" id="{92412634-A1B0-8C4C-ABE1-9A3DBE94D990}"/>
                </a:ext>
              </a:extLst>
            </p:cNvPr>
            <p:cNvSpPr/>
            <p:nvPr/>
          </p:nvSpPr>
          <p:spPr>
            <a:xfrm>
              <a:off x="9456371" y="2580275"/>
              <a:ext cx="220503" cy="135731"/>
            </a:xfrm>
            <a:custGeom>
              <a:avLst/>
              <a:gdLst>
                <a:gd name="connsiteX0" fmla="*/ 136446 w 220503"/>
                <a:gd name="connsiteY0" fmla="*/ 0 h 135731"/>
                <a:gd name="connsiteX1" fmla="*/ 136446 w 220503"/>
                <a:gd name="connsiteY1" fmla="*/ 29480 h 135731"/>
                <a:gd name="connsiteX2" fmla="*/ 112633 w 220503"/>
                <a:gd name="connsiteY2" fmla="*/ 53197 h 135731"/>
                <a:gd name="connsiteX3" fmla="*/ 38100 w 220503"/>
                <a:gd name="connsiteY3" fmla="*/ 53197 h 135731"/>
                <a:gd name="connsiteX4" fmla="*/ 0 w 220503"/>
                <a:gd name="connsiteY4" fmla="*/ 91297 h 135731"/>
                <a:gd name="connsiteX5" fmla="*/ 0 w 220503"/>
                <a:gd name="connsiteY5" fmla="*/ 97631 h 135731"/>
                <a:gd name="connsiteX6" fmla="*/ 38100 w 220503"/>
                <a:gd name="connsiteY6" fmla="*/ 135731 h 135731"/>
                <a:gd name="connsiteX7" fmla="*/ 220504 w 220503"/>
                <a:gd name="connsiteY7" fmla="*/ 135731 h 1357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20503" h="135731">
                  <a:moveTo>
                    <a:pt x="136446" y="0"/>
                  </a:moveTo>
                  <a:lnTo>
                    <a:pt x="136446" y="29480"/>
                  </a:lnTo>
                  <a:cubicBezTo>
                    <a:pt x="136446" y="42577"/>
                    <a:pt x="125730" y="53197"/>
                    <a:pt x="112633" y="53197"/>
                  </a:cubicBezTo>
                  <a:lnTo>
                    <a:pt x="38100" y="53197"/>
                  </a:lnTo>
                  <a:cubicBezTo>
                    <a:pt x="17145" y="53197"/>
                    <a:pt x="0" y="70342"/>
                    <a:pt x="0" y="91297"/>
                  </a:cubicBezTo>
                  <a:lnTo>
                    <a:pt x="0" y="97631"/>
                  </a:lnTo>
                  <a:cubicBezTo>
                    <a:pt x="0" y="118586"/>
                    <a:pt x="17145" y="135731"/>
                    <a:pt x="38100" y="135731"/>
                  </a:cubicBezTo>
                  <a:lnTo>
                    <a:pt x="220504" y="135731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765" name="Forma livre: Forma 764">
              <a:extLst>
                <a:ext uri="{FF2B5EF4-FFF2-40B4-BE49-F238E27FC236}">
                  <a16:creationId xmlns:a16="http://schemas.microsoft.com/office/drawing/2014/main" id="{82EE917D-94AF-4EE0-B6C2-C50CA9ECE9BC}"/>
                </a:ext>
              </a:extLst>
            </p:cNvPr>
            <p:cNvSpPr/>
            <p:nvPr/>
          </p:nvSpPr>
          <p:spPr>
            <a:xfrm>
              <a:off x="9542715" y="2798826"/>
              <a:ext cx="38099" cy="89439"/>
            </a:xfrm>
            <a:custGeom>
              <a:avLst/>
              <a:gdLst>
                <a:gd name="connsiteX0" fmla="*/ 0 w 38099"/>
                <a:gd name="connsiteY0" fmla="*/ 89440 h 89439"/>
                <a:gd name="connsiteX1" fmla="*/ 0 w 38099"/>
                <a:gd name="connsiteY1" fmla="*/ 38529 h 89439"/>
                <a:gd name="connsiteX2" fmla="*/ 38100 w 38099"/>
                <a:gd name="connsiteY2" fmla="*/ 0 h 894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8099" h="89439">
                  <a:moveTo>
                    <a:pt x="0" y="89440"/>
                  </a:moveTo>
                  <a:lnTo>
                    <a:pt x="0" y="38529"/>
                  </a:lnTo>
                  <a:cubicBezTo>
                    <a:pt x="0" y="17574"/>
                    <a:pt x="17145" y="0"/>
                    <a:pt x="38100" y="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766" name="Forma livre: Forma 765">
              <a:extLst>
                <a:ext uri="{FF2B5EF4-FFF2-40B4-BE49-F238E27FC236}">
                  <a16:creationId xmlns:a16="http://schemas.microsoft.com/office/drawing/2014/main" id="{804D1F0D-FA2B-7467-2B0C-DAC3F2BF9F1D}"/>
                </a:ext>
              </a:extLst>
            </p:cNvPr>
            <p:cNvSpPr/>
            <p:nvPr/>
          </p:nvSpPr>
          <p:spPr>
            <a:xfrm>
              <a:off x="9594103" y="2757916"/>
              <a:ext cx="105584" cy="130349"/>
            </a:xfrm>
            <a:custGeom>
              <a:avLst/>
              <a:gdLst>
                <a:gd name="connsiteX0" fmla="*/ 0 w 105584"/>
                <a:gd name="connsiteY0" fmla="*/ 130350 h 130349"/>
                <a:gd name="connsiteX1" fmla="*/ 0 w 105584"/>
                <a:gd name="connsiteY1" fmla="*/ 106775 h 130349"/>
                <a:gd name="connsiteX2" fmla="*/ 23812 w 105584"/>
                <a:gd name="connsiteY2" fmla="*/ 83058 h 130349"/>
                <a:gd name="connsiteX3" fmla="*/ 67485 w 105584"/>
                <a:gd name="connsiteY3" fmla="*/ 83058 h 130349"/>
                <a:gd name="connsiteX4" fmla="*/ 105585 w 105584"/>
                <a:gd name="connsiteY4" fmla="*/ 44958 h 130349"/>
                <a:gd name="connsiteX5" fmla="*/ 105585 w 105584"/>
                <a:gd name="connsiteY5" fmla="*/ 38624 h 130349"/>
                <a:gd name="connsiteX6" fmla="*/ 67485 w 105584"/>
                <a:gd name="connsiteY6" fmla="*/ 0 h 1303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5584" h="130349">
                  <a:moveTo>
                    <a:pt x="0" y="130350"/>
                  </a:moveTo>
                  <a:lnTo>
                    <a:pt x="0" y="106775"/>
                  </a:lnTo>
                  <a:cubicBezTo>
                    <a:pt x="0" y="93678"/>
                    <a:pt x="10716" y="83058"/>
                    <a:pt x="23812" y="83058"/>
                  </a:cubicBezTo>
                  <a:lnTo>
                    <a:pt x="67485" y="83058"/>
                  </a:lnTo>
                  <a:cubicBezTo>
                    <a:pt x="88440" y="83058"/>
                    <a:pt x="105585" y="65913"/>
                    <a:pt x="105585" y="44958"/>
                  </a:cubicBezTo>
                  <a:lnTo>
                    <a:pt x="105585" y="38624"/>
                  </a:lnTo>
                  <a:cubicBezTo>
                    <a:pt x="105585" y="17669"/>
                    <a:pt x="88440" y="0"/>
                    <a:pt x="67485" y="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767" name="Gráfico 10">
            <a:extLst>
              <a:ext uri="{FF2B5EF4-FFF2-40B4-BE49-F238E27FC236}">
                <a16:creationId xmlns:a16="http://schemas.microsoft.com/office/drawing/2014/main" id="{A852222C-B525-131A-0765-DCDECDC8BA67}"/>
              </a:ext>
            </a:extLst>
          </p:cNvPr>
          <p:cNvGrpSpPr/>
          <p:nvPr/>
        </p:nvGrpSpPr>
        <p:grpSpPr>
          <a:xfrm>
            <a:off x="9450228" y="2064210"/>
            <a:ext cx="283710" cy="283710"/>
            <a:chOff x="9450228" y="2064210"/>
            <a:chExt cx="283710" cy="283710"/>
          </a:xfrm>
          <a:noFill/>
        </p:grpSpPr>
        <p:grpSp>
          <p:nvGrpSpPr>
            <p:cNvPr id="768" name="Gráfico 10">
              <a:extLst>
                <a:ext uri="{FF2B5EF4-FFF2-40B4-BE49-F238E27FC236}">
                  <a16:creationId xmlns:a16="http://schemas.microsoft.com/office/drawing/2014/main" id="{49AC2478-2CD3-3A49-7518-F6694C4D04BE}"/>
                </a:ext>
              </a:extLst>
            </p:cNvPr>
            <p:cNvGrpSpPr/>
            <p:nvPr/>
          </p:nvGrpSpPr>
          <p:grpSpPr>
            <a:xfrm>
              <a:off x="9481517" y="2095500"/>
              <a:ext cx="252420" cy="252420"/>
              <a:chOff x="9481517" y="2095500"/>
              <a:chExt cx="252420" cy="252420"/>
            </a:xfrm>
            <a:noFill/>
          </p:grpSpPr>
          <p:sp>
            <p:nvSpPr>
              <p:cNvPr id="769" name="Forma livre: Forma 768">
                <a:extLst>
                  <a:ext uri="{FF2B5EF4-FFF2-40B4-BE49-F238E27FC236}">
                    <a16:creationId xmlns:a16="http://schemas.microsoft.com/office/drawing/2014/main" id="{34C96ECD-EB31-6AA4-04C4-B727BE87AF8F}"/>
                  </a:ext>
                </a:extLst>
              </p:cNvPr>
              <p:cNvSpPr/>
              <p:nvPr/>
            </p:nvSpPr>
            <p:spPr>
              <a:xfrm>
                <a:off x="9481565" y="2095500"/>
                <a:ext cx="252373" cy="160048"/>
              </a:xfrm>
              <a:custGeom>
                <a:avLst/>
                <a:gdLst>
                  <a:gd name="connsiteX0" fmla="*/ 0 w 252373"/>
                  <a:gd name="connsiteY0" fmla="*/ 0 h 160048"/>
                  <a:gd name="connsiteX1" fmla="*/ 185595 w 252373"/>
                  <a:gd name="connsiteY1" fmla="*/ 148495 h 160048"/>
                  <a:gd name="connsiteX2" fmla="*/ 244316 w 252373"/>
                  <a:gd name="connsiteY2" fmla="*/ 147590 h 160048"/>
                  <a:gd name="connsiteX3" fmla="*/ 235077 w 252373"/>
                  <a:gd name="connsiteY3" fmla="*/ 89630 h 160048"/>
                  <a:gd name="connsiteX4" fmla="*/ 176355 w 252373"/>
                  <a:gd name="connsiteY4" fmla="*/ 90535 h 160048"/>
                  <a:gd name="connsiteX5" fmla="*/ 164163 w 252373"/>
                  <a:gd name="connsiteY5" fmla="*/ 106156 h 1600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52373" h="160048">
                    <a:moveTo>
                      <a:pt x="0" y="0"/>
                    </a:moveTo>
                    <a:lnTo>
                      <a:pt x="185595" y="148495"/>
                    </a:lnTo>
                    <a:cubicBezTo>
                      <a:pt x="204359" y="164259"/>
                      <a:pt x="230648" y="163830"/>
                      <a:pt x="244316" y="147590"/>
                    </a:cubicBezTo>
                    <a:cubicBezTo>
                      <a:pt x="257985" y="131302"/>
                      <a:pt x="253841" y="105346"/>
                      <a:pt x="235077" y="89630"/>
                    </a:cubicBezTo>
                    <a:cubicBezTo>
                      <a:pt x="216313" y="73866"/>
                      <a:pt x="190024" y="74295"/>
                      <a:pt x="176355" y="90535"/>
                    </a:cubicBezTo>
                    <a:lnTo>
                      <a:pt x="164163" y="106156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70" name="Forma livre: Forma 769">
                <a:extLst>
                  <a:ext uri="{FF2B5EF4-FFF2-40B4-BE49-F238E27FC236}">
                    <a16:creationId xmlns:a16="http://schemas.microsoft.com/office/drawing/2014/main" id="{7F2DC435-12C2-4C40-C531-40E6F2AC1755}"/>
                  </a:ext>
                </a:extLst>
              </p:cNvPr>
              <p:cNvSpPr/>
              <p:nvPr/>
            </p:nvSpPr>
            <p:spPr>
              <a:xfrm>
                <a:off x="9481517" y="2095595"/>
                <a:ext cx="160049" cy="252325"/>
              </a:xfrm>
              <a:custGeom>
                <a:avLst/>
                <a:gdLst>
                  <a:gd name="connsiteX0" fmla="*/ 0 w 160049"/>
                  <a:gd name="connsiteY0" fmla="*/ 0 h 252325"/>
                  <a:gd name="connsiteX1" fmla="*/ 148495 w 160049"/>
                  <a:gd name="connsiteY1" fmla="*/ 185595 h 252325"/>
                  <a:gd name="connsiteX2" fmla="*/ 147590 w 160049"/>
                  <a:gd name="connsiteY2" fmla="*/ 244269 h 252325"/>
                  <a:gd name="connsiteX3" fmla="*/ 89630 w 160049"/>
                  <a:gd name="connsiteY3" fmla="*/ 235029 h 252325"/>
                  <a:gd name="connsiteX4" fmla="*/ 90535 w 160049"/>
                  <a:gd name="connsiteY4" fmla="*/ 176308 h 252325"/>
                  <a:gd name="connsiteX5" fmla="*/ 106156 w 160049"/>
                  <a:gd name="connsiteY5" fmla="*/ 164116 h 2523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60049" h="252325">
                    <a:moveTo>
                      <a:pt x="0" y="0"/>
                    </a:moveTo>
                    <a:lnTo>
                      <a:pt x="148495" y="185595"/>
                    </a:lnTo>
                    <a:cubicBezTo>
                      <a:pt x="164259" y="204359"/>
                      <a:pt x="163830" y="230648"/>
                      <a:pt x="147590" y="244269"/>
                    </a:cubicBezTo>
                    <a:cubicBezTo>
                      <a:pt x="131350" y="257937"/>
                      <a:pt x="105394" y="253794"/>
                      <a:pt x="89630" y="235029"/>
                    </a:cubicBezTo>
                    <a:cubicBezTo>
                      <a:pt x="73866" y="216265"/>
                      <a:pt x="74295" y="189976"/>
                      <a:pt x="90535" y="176308"/>
                    </a:cubicBezTo>
                    <a:lnTo>
                      <a:pt x="106156" y="164116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771" name="Forma livre: Forma 770">
              <a:extLst>
                <a:ext uri="{FF2B5EF4-FFF2-40B4-BE49-F238E27FC236}">
                  <a16:creationId xmlns:a16="http://schemas.microsoft.com/office/drawing/2014/main" id="{8CE16775-7F74-DCEB-1E8A-25B1E859DD67}"/>
                </a:ext>
              </a:extLst>
            </p:cNvPr>
            <p:cNvSpPr/>
            <p:nvPr/>
          </p:nvSpPr>
          <p:spPr>
            <a:xfrm>
              <a:off x="9605295" y="2219325"/>
              <a:ext cx="27670" cy="27670"/>
            </a:xfrm>
            <a:custGeom>
              <a:avLst/>
              <a:gdLst>
                <a:gd name="connsiteX0" fmla="*/ 0 w 27670"/>
                <a:gd name="connsiteY0" fmla="*/ 27670 h 27670"/>
                <a:gd name="connsiteX1" fmla="*/ 27670 w 27670"/>
                <a:gd name="connsiteY1" fmla="*/ 0 h 276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7670" h="27670">
                  <a:moveTo>
                    <a:pt x="0" y="27670"/>
                  </a:moveTo>
                  <a:lnTo>
                    <a:pt x="2767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772" name="Forma livre: Forma 771">
              <a:extLst>
                <a:ext uri="{FF2B5EF4-FFF2-40B4-BE49-F238E27FC236}">
                  <a16:creationId xmlns:a16="http://schemas.microsoft.com/office/drawing/2014/main" id="{CF3E0486-5252-C690-3A2E-01FB0A386917}"/>
                </a:ext>
              </a:extLst>
            </p:cNvPr>
            <p:cNvSpPr/>
            <p:nvPr/>
          </p:nvSpPr>
          <p:spPr>
            <a:xfrm>
              <a:off x="9450228" y="2064210"/>
              <a:ext cx="31956" cy="31956"/>
            </a:xfrm>
            <a:custGeom>
              <a:avLst/>
              <a:gdLst>
                <a:gd name="connsiteX0" fmla="*/ 31956 w 31956"/>
                <a:gd name="connsiteY0" fmla="*/ 31956 h 31956"/>
                <a:gd name="connsiteX1" fmla="*/ 0 w 31956"/>
                <a:gd name="connsiteY1" fmla="*/ 0 h 319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1956" h="31956">
                  <a:moveTo>
                    <a:pt x="31956" y="31956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773" name="Gráfico 10">
            <a:extLst>
              <a:ext uri="{FF2B5EF4-FFF2-40B4-BE49-F238E27FC236}">
                <a16:creationId xmlns:a16="http://schemas.microsoft.com/office/drawing/2014/main" id="{10A8B9C2-E582-A7AA-9E1A-8110DF017BB8}"/>
              </a:ext>
            </a:extLst>
          </p:cNvPr>
          <p:cNvGrpSpPr/>
          <p:nvPr/>
        </p:nvGrpSpPr>
        <p:grpSpPr>
          <a:xfrm>
            <a:off x="9479351" y="1529791"/>
            <a:ext cx="225465" cy="296092"/>
            <a:chOff x="9479351" y="1529791"/>
            <a:chExt cx="225465" cy="296092"/>
          </a:xfrm>
          <a:noFill/>
        </p:grpSpPr>
        <p:sp>
          <p:nvSpPr>
            <p:cNvPr id="774" name="Forma livre: Forma 773">
              <a:extLst>
                <a:ext uri="{FF2B5EF4-FFF2-40B4-BE49-F238E27FC236}">
                  <a16:creationId xmlns:a16="http://schemas.microsoft.com/office/drawing/2014/main" id="{412EB934-E4E2-8595-C12E-788A341318A9}"/>
                </a:ext>
              </a:extLst>
            </p:cNvPr>
            <p:cNvSpPr/>
            <p:nvPr/>
          </p:nvSpPr>
          <p:spPr>
            <a:xfrm>
              <a:off x="9479351" y="1529791"/>
              <a:ext cx="225465" cy="135941"/>
            </a:xfrm>
            <a:custGeom>
              <a:avLst/>
              <a:gdLst>
                <a:gd name="connsiteX0" fmla="*/ 144994 w 225465"/>
                <a:gd name="connsiteY0" fmla="*/ 34595 h 135941"/>
                <a:gd name="connsiteX1" fmla="*/ 108561 w 225465"/>
                <a:gd name="connsiteY1" fmla="*/ 19831 h 135941"/>
                <a:gd name="connsiteX2" fmla="*/ 22121 w 225465"/>
                <a:gd name="connsiteY2" fmla="*/ 13593 h 135941"/>
                <a:gd name="connsiteX3" fmla="*/ 7643 w 225465"/>
                <a:gd name="connsiteY3" fmla="*/ 103937 h 135941"/>
                <a:gd name="connsiteX4" fmla="*/ 21550 w 225465"/>
                <a:gd name="connsiteY4" fmla="*/ 135941 h 135941"/>
                <a:gd name="connsiteX5" fmla="*/ 203334 w 225465"/>
                <a:gd name="connsiteY5" fmla="*/ 135941 h 135941"/>
                <a:gd name="connsiteX6" fmla="*/ 216526 w 225465"/>
                <a:gd name="connsiteY6" fmla="*/ 103937 h 135941"/>
                <a:gd name="connsiteX7" fmla="*/ 202858 w 225465"/>
                <a:gd name="connsiteY7" fmla="*/ 13593 h 135941"/>
                <a:gd name="connsiteX8" fmla="*/ 134897 w 225465"/>
                <a:gd name="connsiteY8" fmla="*/ 7354 h 135941"/>
                <a:gd name="connsiteX9" fmla="*/ 110942 w 225465"/>
                <a:gd name="connsiteY9" fmla="*/ 16688 h 1359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25465" h="135941">
                  <a:moveTo>
                    <a:pt x="144994" y="34595"/>
                  </a:moveTo>
                  <a:cubicBezTo>
                    <a:pt x="122372" y="31071"/>
                    <a:pt x="108561" y="19831"/>
                    <a:pt x="108561" y="19831"/>
                  </a:cubicBezTo>
                  <a:cubicBezTo>
                    <a:pt x="82653" y="-2790"/>
                    <a:pt x="49125" y="-7648"/>
                    <a:pt x="22121" y="13593"/>
                  </a:cubicBezTo>
                  <a:cubicBezTo>
                    <a:pt x="-4882" y="34833"/>
                    <a:pt x="-3834" y="76886"/>
                    <a:pt x="7643" y="103937"/>
                  </a:cubicBezTo>
                  <a:cubicBezTo>
                    <a:pt x="7643" y="103937"/>
                    <a:pt x="12930" y="116605"/>
                    <a:pt x="21550" y="135941"/>
                  </a:cubicBezTo>
                  <a:lnTo>
                    <a:pt x="203334" y="135941"/>
                  </a:lnTo>
                  <a:cubicBezTo>
                    <a:pt x="211954" y="116558"/>
                    <a:pt x="216526" y="103937"/>
                    <a:pt x="216526" y="103937"/>
                  </a:cubicBezTo>
                  <a:cubicBezTo>
                    <a:pt x="230338" y="67552"/>
                    <a:pt x="229861" y="34833"/>
                    <a:pt x="202858" y="13593"/>
                  </a:cubicBezTo>
                  <a:cubicBezTo>
                    <a:pt x="181903" y="-2886"/>
                    <a:pt x="157043" y="-3648"/>
                    <a:pt x="134897" y="7354"/>
                  </a:cubicBezTo>
                  <a:lnTo>
                    <a:pt x="110942" y="16688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775" name="Gráfico 10">
              <a:extLst>
                <a:ext uri="{FF2B5EF4-FFF2-40B4-BE49-F238E27FC236}">
                  <a16:creationId xmlns:a16="http://schemas.microsoft.com/office/drawing/2014/main" id="{43FAE9C4-5EAD-BD84-8F83-E0A7729B8942}"/>
                </a:ext>
              </a:extLst>
            </p:cNvPr>
            <p:cNvGrpSpPr/>
            <p:nvPr/>
          </p:nvGrpSpPr>
          <p:grpSpPr>
            <a:xfrm>
              <a:off x="9515093" y="1665970"/>
              <a:ext cx="153971" cy="28574"/>
              <a:chOff x="9515093" y="1665970"/>
              <a:chExt cx="153971" cy="28574"/>
            </a:xfrm>
          </p:grpSpPr>
          <p:sp>
            <p:nvSpPr>
              <p:cNvPr id="776" name="Forma livre: Forma 775">
                <a:extLst>
                  <a:ext uri="{FF2B5EF4-FFF2-40B4-BE49-F238E27FC236}">
                    <a16:creationId xmlns:a16="http://schemas.microsoft.com/office/drawing/2014/main" id="{1F12729F-4F41-1F79-429E-215822A64770}"/>
                  </a:ext>
                </a:extLst>
              </p:cNvPr>
              <p:cNvSpPr/>
              <p:nvPr/>
            </p:nvSpPr>
            <p:spPr>
              <a:xfrm>
                <a:off x="9515093" y="1665970"/>
                <a:ext cx="4762" cy="28574"/>
              </a:xfrm>
              <a:custGeom>
                <a:avLst/>
                <a:gdLst>
                  <a:gd name="connsiteX0" fmla="*/ 0 w 4762"/>
                  <a:gd name="connsiteY0" fmla="*/ 0 h 28574"/>
                  <a:gd name="connsiteX1" fmla="*/ 0 w 4762"/>
                  <a:gd name="connsiteY1" fmla="*/ 28575 h 285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62" h="28574">
                    <a:moveTo>
                      <a:pt x="0" y="0"/>
                    </a:moveTo>
                    <a:lnTo>
                      <a:pt x="0" y="28575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77" name="Forma livre: Forma 776">
                <a:extLst>
                  <a:ext uri="{FF2B5EF4-FFF2-40B4-BE49-F238E27FC236}">
                    <a16:creationId xmlns:a16="http://schemas.microsoft.com/office/drawing/2014/main" id="{5048C078-7E39-8314-82CB-F8FE207AF1CE}"/>
                  </a:ext>
                </a:extLst>
              </p:cNvPr>
              <p:cNvSpPr/>
              <p:nvPr/>
            </p:nvSpPr>
            <p:spPr>
              <a:xfrm>
                <a:off x="9669065" y="1665970"/>
                <a:ext cx="4762" cy="28574"/>
              </a:xfrm>
              <a:custGeom>
                <a:avLst/>
                <a:gdLst>
                  <a:gd name="connsiteX0" fmla="*/ 0 w 4762"/>
                  <a:gd name="connsiteY0" fmla="*/ 0 h 28574"/>
                  <a:gd name="connsiteX1" fmla="*/ 0 w 4762"/>
                  <a:gd name="connsiteY1" fmla="*/ 28575 h 285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62" h="28574">
                    <a:moveTo>
                      <a:pt x="0" y="0"/>
                    </a:moveTo>
                    <a:lnTo>
                      <a:pt x="0" y="28575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778" name="Forma livre: Forma 777">
              <a:extLst>
                <a:ext uri="{FF2B5EF4-FFF2-40B4-BE49-F238E27FC236}">
                  <a16:creationId xmlns:a16="http://schemas.microsoft.com/office/drawing/2014/main" id="{0A196E8D-0487-078C-A1D0-8B755ECD5341}"/>
                </a:ext>
              </a:extLst>
            </p:cNvPr>
            <p:cNvSpPr/>
            <p:nvPr/>
          </p:nvSpPr>
          <p:spPr>
            <a:xfrm>
              <a:off x="9528142" y="1744646"/>
              <a:ext cx="37433" cy="5000"/>
            </a:xfrm>
            <a:custGeom>
              <a:avLst/>
              <a:gdLst>
                <a:gd name="connsiteX0" fmla="*/ 37433 w 37433"/>
                <a:gd name="connsiteY0" fmla="*/ 0 h 5000"/>
                <a:gd name="connsiteX1" fmla="*/ 0 w 37433"/>
                <a:gd name="connsiteY1" fmla="*/ 5001 h 5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7433" h="5000">
                  <a:moveTo>
                    <a:pt x="37433" y="0"/>
                  </a:moveTo>
                  <a:lnTo>
                    <a:pt x="0" y="5001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779" name="Forma livre: Forma 778">
              <a:extLst>
                <a:ext uri="{FF2B5EF4-FFF2-40B4-BE49-F238E27FC236}">
                  <a16:creationId xmlns:a16="http://schemas.microsoft.com/office/drawing/2014/main" id="{581D361A-CC20-09F0-794F-7DD7879770B9}"/>
                </a:ext>
              </a:extLst>
            </p:cNvPr>
            <p:cNvSpPr/>
            <p:nvPr/>
          </p:nvSpPr>
          <p:spPr>
            <a:xfrm>
              <a:off x="9590007" y="1730883"/>
              <a:ext cx="75533" cy="10048"/>
            </a:xfrm>
            <a:custGeom>
              <a:avLst/>
              <a:gdLst>
                <a:gd name="connsiteX0" fmla="*/ 75533 w 75533"/>
                <a:gd name="connsiteY0" fmla="*/ 0 h 10048"/>
                <a:gd name="connsiteX1" fmla="*/ 0 w 75533"/>
                <a:gd name="connsiteY1" fmla="*/ 10049 h 10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5533" h="10048">
                  <a:moveTo>
                    <a:pt x="75533" y="0"/>
                  </a:moveTo>
                  <a:lnTo>
                    <a:pt x="0" y="10049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780" name="Gráfico 10">
              <a:extLst>
                <a:ext uri="{FF2B5EF4-FFF2-40B4-BE49-F238E27FC236}">
                  <a16:creationId xmlns:a16="http://schemas.microsoft.com/office/drawing/2014/main" id="{3908BE81-746A-FEBA-A947-6A61AFD47828}"/>
                </a:ext>
              </a:extLst>
            </p:cNvPr>
            <p:cNvGrpSpPr/>
            <p:nvPr/>
          </p:nvGrpSpPr>
          <p:grpSpPr>
            <a:xfrm>
              <a:off x="9512474" y="1691830"/>
              <a:ext cx="169544" cy="22621"/>
              <a:chOff x="9512474" y="1691830"/>
              <a:chExt cx="169544" cy="22621"/>
            </a:xfrm>
          </p:grpSpPr>
          <p:sp>
            <p:nvSpPr>
              <p:cNvPr id="781" name="Forma livre: Forma 780">
                <a:extLst>
                  <a:ext uri="{FF2B5EF4-FFF2-40B4-BE49-F238E27FC236}">
                    <a16:creationId xmlns:a16="http://schemas.microsoft.com/office/drawing/2014/main" id="{6724AF49-2931-5EB7-D710-71C1ECBE3661}"/>
                  </a:ext>
                </a:extLst>
              </p:cNvPr>
              <p:cNvSpPr/>
              <p:nvPr/>
            </p:nvSpPr>
            <p:spPr>
              <a:xfrm>
                <a:off x="9512474" y="1708356"/>
                <a:ext cx="45529" cy="6095"/>
              </a:xfrm>
              <a:custGeom>
                <a:avLst/>
                <a:gdLst>
                  <a:gd name="connsiteX0" fmla="*/ 45529 w 45529"/>
                  <a:gd name="connsiteY0" fmla="*/ 0 h 6095"/>
                  <a:gd name="connsiteX1" fmla="*/ 0 w 45529"/>
                  <a:gd name="connsiteY1" fmla="*/ 6096 h 60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5529" h="6095">
                    <a:moveTo>
                      <a:pt x="45529" y="0"/>
                    </a:moveTo>
                    <a:lnTo>
                      <a:pt x="0" y="6096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82" name="Forma livre: Forma 781">
                <a:extLst>
                  <a:ext uri="{FF2B5EF4-FFF2-40B4-BE49-F238E27FC236}">
                    <a16:creationId xmlns:a16="http://schemas.microsoft.com/office/drawing/2014/main" id="{1C170C4A-783B-4B4E-E172-19FCDA011820}"/>
                  </a:ext>
                </a:extLst>
              </p:cNvPr>
              <p:cNvSpPr/>
              <p:nvPr/>
            </p:nvSpPr>
            <p:spPr>
              <a:xfrm>
                <a:off x="9584197" y="1691830"/>
                <a:ext cx="97821" cy="13096"/>
              </a:xfrm>
              <a:custGeom>
                <a:avLst/>
                <a:gdLst>
                  <a:gd name="connsiteX0" fmla="*/ 97822 w 97821"/>
                  <a:gd name="connsiteY0" fmla="*/ 0 h 13096"/>
                  <a:gd name="connsiteX1" fmla="*/ 0 w 97821"/>
                  <a:gd name="connsiteY1" fmla="*/ 13097 h 130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7821" h="13096">
                    <a:moveTo>
                      <a:pt x="97822" y="0"/>
                    </a:moveTo>
                    <a:lnTo>
                      <a:pt x="0" y="13097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783" name="Forma livre: Forma 782">
              <a:extLst>
                <a:ext uri="{FF2B5EF4-FFF2-40B4-BE49-F238E27FC236}">
                  <a16:creationId xmlns:a16="http://schemas.microsoft.com/office/drawing/2014/main" id="{AAE01514-8DB3-537F-204C-36682339B34D}"/>
                </a:ext>
              </a:extLst>
            </p:cNvPr>
            <p:cNvSpPr/>
            <p:nvPr/>
          </p:nvSpPr>
          <p:spPr>
            <a:xfrm>
              <a:off x="9545001" y="1770602"/>
              <a:ext cx="98631" cy="13144"/>
            </a:xfrm>
            <a:custGeom>
              <a:avLst/>
              <a:gdLst>
                <a:gd name="connsiteX0" fmla="*/ 98631 w 98631"/>
                <a:gd name="connsiteY0" fmla="*/ 0 h 13144"/>
                <a:gd name="connsiteX1" fmla="*/ 0 w 98631"/>
                <a:gd name="connsiteY1" fmla="*/ 13144 h 131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8631" h="13144">
                  <a:moveTo>
                    <a:pt x="98631" y="0"/>
                  </a:moveTo>
                  <a:lnTo>
                    <a:pt x="0" y="13144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784" name="Forma livre: Forma 783">
              <a:extLst>
                <a:ext uri="{FF2B5EF4-FFF2-40B4-BE49-F238E27FC236}">
                  <a16:creationId xmlns:a16="http://schemas.microsoft.com/office/drawing/2014/main" id="{62C1FF3E-BFBE-7B23-A487-25570C3C99A3}"/>
                </a:ext>
              </a:extLst>
            </p:cNvPr>
            <p:cNvSpPr/>
            <p:nvPr/>
          </p:nvSpPr>
          <p:spPr>
            <a:xfrm>
              <a:off x="9525237" y="1694974"/>
              <a:ext cx="143827" cy="130909"/>
            </a:xfrm>
            <a:custGeom>
              <a:avLst/>
              <a:gdLst>
                <a:gd name="connsiteX0" fmla="*/ 8382 w 143827"/>
                <a:gd name="connsiteY0" fmla="*/ 33957 h 130909"/>
                <a:gd name="connsiteX1" fmla="*/ 0 w 143827"/>
                <a:gd name="connsiteY1" fmla="*/ 18574 h 130909"/>
                <a:gd name="connsiteX2" fmla="*/ 26765 w 143827"/>
                <a:gd name="connsiteY2" fmla="*/ 68199 h 130909"/>
                <a:gd name="connsiteX3" fmla="*/ 18431 w 143827"/>
                <a:gd name="connsiteY3" fmla="*/ 53007 h 130909"/>
                <a:gd name="connsiteX4" fmla="*/ 143827 w 143827"/>
                <a:gd name="connsiteY4" fmla="*/ 0 h 130909"/>
                <a:gd name="connsiteX5" fmla="*/ 75628 w 143827"/>
                <a:gd name="connsiteY5" fmla="*/ 124587 h 130909"/>
                <a:gd name="connsiteX6" fmla="*/ 57960 w 143827"/>
                <a:gd name="connsiteY6" fmla="*/ 124587 h 130909"/>
                <a:gd name="connsiteX7" fmla="*/ 37528 w 143827"/>
                <a:gd name="connsiteY7" fmla="*/ 87058 h 1309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43827" h="130909">
                  <a:moveTo>
                    <a:pt x="8382" y="33957"/>
                  </a:moveTo>
                  <a:lnTo>
                    <a:pt x="0" y="18574"/>
                  </a:lnTo>
                  <a:moveTo>
                    <a:pt x="26765" y="68199"/>
                  </a:moveTo>
                  <a:lnTo>
                    <a:pt x="18431" y="53007"/>
                  </a:lnTo>
                  <a:moveTo>
                    <a:pt x="143827" y="0"/>
                  </a:moveTo>
                  <a:lnTo>
                    <a:pt x="75628" y="124587"/>
                  </a:lnTo>
                  <a:cubicBezTo>
                    <a:pt x="70771" y="133017"/>
                    <a:pt x="62817" y="133017"/>
                    <a:pt x="57960" y="124587"/>
                  </a:cubicBezTo>
                  <a:lnTo>
                    <a:pt x="37528" y="87058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785" name="Gráfico 10">
            <a:extLst>
              <a:ext uri="{FF2B5EF4-FFF2-40B4-BE49-F238E27FC236}">
                <a16:creationId xmlns:a16="http://schemas.microsoft.com/office/drawing/2014/main" id="{E53D3BC4-4E65-F310-3499-D8BCB1AB40A7}"/>
              </a:ext>
            </a:extLst>
          </p:cNvPr>
          <p:cNvGrpSpPr/>
          <p:nvPr/>
        </p:nvGrpSpPr>
        <p:grpSpPr>
          <a:xfrm>
            <a:off x="8839961" y="993886"/>
            <a:ext cx="264413" cy="311562"/>
            <a:chOff x="8839961" y="993886"/>
            <a:chExt cx="264413" cy="311562"/>
          </a:xfrm>
        </p:grpSpPr>
        <p:sp>
          <p:nvSpPr>
            <p:cNvPr id="786" name="Forma livre: Forma 785">
              <a:extLst>
                <a:ext uri="{FF2B5EF4-FFF2-40B4-BE49-F238E27FC236}">
                  <a16:creationId xmlns:a16="http://schemas.microsoft.com/office/drawing/2014/main" id="{7A7E5537-2FAD-8F66-C2C0-F843F9686DF4}"/>
                </a:ext>
              </a:extLst>
            </p:cNvPr>
            <p:cNvSpPr/>
            <p:nvPr/>
          </p:nvSpPr>
          <p:spPr>
            <a:xfrm>
              <a:off x="8848296" y="993886"/>
              <a:ext cx="247745" cy="210264"/>
            </a:xfrm>
            <a:custGeom>
              <a:avLst/>
              <a:gdLst>
                <a:gd name="connsiteX0" fmla="*/ 34862 w 247745"/>
                <a:gd name="connsiteY0" fmla="*/ 209979 h 210264"/>
                <a:gd name="connsiteX1" fmla="*/ 0 w 247745"/>
                <a:gd name="connsiteY1" fmla="*/ 123873 h 210264"/>
                <a:gd name="connsiteX2" fmla="*/ 123873 w 247745"/>
                <a:gd name="connsiteY2" fmla="*/ 0 h 210264"/>
                <a:gd name="connsiteX3" fmla="*/ 247745 w 247745"/>
                <a:gd name="connsiteY3" fmla="*/ 123873 h 210264"/>
                <a:gd name="connsiteX4" fmla="*/ 212646 w 247745"/>
                <a:gd name="connsiteY4" fmla="*/ 210264 h 2102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7745" h="210264">
                  <a:moveTo>
                    <a:pt x="34862" y="209979"/>
                  </a:moveTo>
                  <a:cubicBezTo>
                    <a:pt x="13287" y="187690"/>
                    <a:pt x="0" y="157305"/>
                    <a:pt x="0" y="123873"/>
                  </a:cubicBezTo>
                  <a:cubicBezTo>
                    <a:pt x="0" y="55483"/>
                    <a:pt x="55435" y="0"/>
                    <a:pt x="123873" y="0"/>
                  </a:cubicBezTo>
                  <a:cubicBezTo>
                    <a:pt x="192310" y="0"/>
                    <a:pt x="247745" y="55435"/>
                    <a:pt x="247745" y="123873"/>
                  </a:cubicBezTo>
                  <a:cubicBezTo>
                    <a:pt x="247745" y="157496"/>
                    <a:pt x="234363" y="187976"/>
                    <a:pt x="212646" y="210264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787" name="Forma livre: Forma 786">
              <a:extLst>
                <a:ext uri="{FF2B5EF4-FFF2-40B4-BE49-F238E27FC236}">
                  <a16:creationId xmlns:a16="http://schemas.microsoft.com/office/drawing/2014/main" id="{833DB310-6D27-C578-7FDC-2ED30C533F32}"/>
                </a:ext>
              </a:extLst>
            </p:cNvPr>
            <p:cNvSpPr/>
            <p:nvPr/>
          </p:nvSpPr>
          <p:spPr>
            <a:xfrm>
              <a:off x="8903302" y="1048941"/>
              <a:ext cx="137636" cy="104346"/>
            </a:xfrm>
            <a:custGeom>
              <a:avLst/>
              <a:gdLst>
                <a:gd name="connsiteX0" fmla="*/ 9668 w 137636"/>
                <a:gd name="connsiteY0" fmla="*/ 103965 h 104346"/>
                <a:gd name="connsiteX1" fmla="*/ 0 w 137636"/>
                <a:gd name="connsiteY1" fmla="*/ 68818 h 104346"/>
                <a:gd name="connsiteX2" fmla="*/ 68818 w 137636"/>
                <a:gd name="connsiteY2" fmla="*/ 0 h 104346"/>
                <a:gd name="connsiteX3" fmla="*/ 137636 w 137636"/>
                <a:gd name="connsiteY3" fmla="*/ 68818 h 104346"/>
                <a:gd name="connsiteX4" fmla="*/ 127778 w 137636"/>
                <a:gd name="connsiteY4" fmla="*/ 104346 h 1043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7636" h="104346">
                  <a:moveTo>
                    <a:pt x="9668" y="103965"/>
                  </a:moveTo>
                  <a:cubicBezTo>
                    <a:pt x="3524" y="93678"/>
                    <a:pt x="0" y="81629"/>
                    <a:pt x="0" y="68818"/>
                  </a:cubicBezTo>
                  <a:cubicBezTo>
                    <a:pt x="0" y="30813"/>
                    <a:pt x="30813" y="0"/>
                    <a:pt x="68818" y="0"/>
                  </a:cubicBezTo>
                  <a:cubicBezTo>
                    <a:pt x="106823" y="0"/>
                    <a:pt x="137636" y="30813"/>
                    <a:pt x="137636" y="68818"/>
                  </a:cubicBezTo>
                  <a:cubicBezTo>
                    <a:pt x="137636" y="81820"/>
                    <a:pt x="134017" y="93964"/>
                    <a:pt x="127778" y="104346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788" name="Gráfico 10">
              <a:extLst>
                <a:ext uri="{FF2B5EF4-FFF2-40B4-BE49-F238E27FC236}">
                  <a16:creationId xmlns:a16="http://schemas.microsoft.com/office/drawing/2014/main" id="{0F6AA494-4EEB-8DAC-1423-E632D727142B}"/>
                </a:ext>
              </a:extLst>
            </p:cNvPr>
            <p:cNvGrpSpPr/>
            <p:nvPr/>
          </p:nvGrpSpPr>
          <p:grpSpPr>
            <a:xfrm>
              <a:off x="8923972" y="1275636"/>
              <a:ext cx="96345" cy="29813"/>
              <a:chOff x="8923972" y="1275636"/>
              <a:chExt cx="96345" cy="29813"/>
            </a:xfrm>
          </p:grpSpPr>
          <p:sp>
            <p:nvSpPr>
              <p:cNvPr id="789" name="Forma livre: Forma 788">
                <a:extLst>
                  <a:ext uri="{FF2B5EF4-FFF2-40B4-BE49-F238E27FC236}">
                    <a16:creationId xmlns:a16="http://schemas.microsoft.com/office/drawing/2014/main" id="{A5BDD64F-ADAB-85C2-211D-1962A87914A0}"/>
                  </a:ext>
                </a:extLst>
              </p:cNvPr>
              <p:cNvSpPr/>
              <p:nvPr/>
            </p:nvSpPr>
            <p:spPr>
              <a:xfrm>
                <a:off x="8923972" y="1275636"/>
                <a:ext cx="4762" cy="29813"/>
              </a:xfrm>
              <a:custGeom>
                <a:avLst/>
                <a:gdLst>
                  <a:gd name="connsiteX0" fmla="*/ 0 w 4762"/>
                  <a:gd name="connsiteY0" fmla="*/ 0 h 29813"/>
                  <a:gd name="connsiteX1" fmla="*/ 0 w 4762"/>
                  <a:gd name="connsiteY1" fmla="*/ 29813 h 298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62" h="29813">
                    <a:moveTo>
                      <a:pt x="0" y="0"/>
                    </a:moveTo>
                    <a:lnTo>
                      <a:pt x="0" y="29813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90" name="Forma livre: Forma 789">
                <a:extLst>
                  <a:ext uri="{FF2B5EF4-FFF2-40B4-BE49-F238E27FC236}">
                    <a16:creationId xmlns:a16="http://schemas.microsoft.com/office/drawing/2014/main" id="{357DE096-A79C-6D7D-AD16-C2C27E033E3E}"/>
                  </a:ext>
                </a:extLst>
              </p:cNvPr>
              <p:cNvSpPr/>
              <p:nvPr/>
            </p:nvSpPr>
            <p:spPr>
              <a:xfrm>
                <a:off x="9020317" y="1275636"/>
                <a:ext cx="4762" cy="29813"/>
              </a:xfrm>
              <a:custGeom>
                <a:avLst/>
                <a:gdLst>
                  <a:gd name="connsiteX0" fmla="*/ 0 w 4762"/>
                  <a:gd name="connsiteY0" fmla="*/ 0 h 29813"/>
                  <a:gd name="connsiteX1" fmla="*/ 0 w 4762"/>
                  <a:gd name="connsiteY1" fmla="*/ 29813 h 298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62" h="29813">
                    <a:moveTo>
                      <a:pt x="0" y="0"/>
                    </a:moveTo>
                    <a:lnTo>
                      <a:pt x="0" y="29813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791" name="Gráfico 10">
              <a:extLst>
                <a:ext uri="{FF2B5EF4-FFF2-40B4-BE49-F238E27FC236}">
                  <a16:creationId xmlns:a16="http://schemas.microsoft.com/office/drawing/2014/main" id="{A31C53B5-9208-27A0-AB27-930A8973A71D}"/>
                </a:ext>
              </a:extLst>
            </p:cNvPr>
            <p:cNvGrpSpPr/>
            <p:nvPr/>
          </p:nvGrpSpPr>
          <p:grpSpPr>
            <a:xfrm>
              <a:off x="8886634" y="1147524"/>
              <a:ext cx="171068" cy="95059"/>
              <a:chOff x="8886634" y="1147524"/>
              <a:chExt cx="171068" cy="95059"/>
            </a:xfrm>
          </p:grpSpPr>
          <p:sp>
            <p:nvSpPr>
              <p:cNvPr id="792" name="Forma livre: Forma 791">
                <a:extLst>
                  <a:ext uri="{FF2B5EF4-FFF2-40B4-BE49-F238E27FC236}">
                    <a16:creationId xmlns:a16="http://schemas.microsoft.com/office/drawing/2014/main" id="{F4378F26-B214-182C-CD04-49537971778F}"/>
                  </a:ext>
                </a:extLst>
              </p:cNvPr>
              <p:cNvSpPr/>
              <p:nvPr/>
            </p:nvSpPr>
            <p:spPr>
              <a:xfrm>
                <a:off x="8886634" y="1147524"/>
                <a:ext cx="53435" cy="95059"/>
              </a:xfrm>
              <a:custGeom>
                <a:avLst/>
                <a:gdLst>
                  <a:gd name="connsiteX0" fmla="*/ 53435 w 53435"/>
                  <a:gd name="connsiteY0" fmla="*/ 0 h 95059"/>
                  <a:gd name="connsiteX1" fmla="*/ 0 w 53435"/>
                  <a:gd name="connsiteY1" fmla="*/ 95059 h 950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3435" h="95059">
                    <a:moveTo>
                      <a:pt x="53435" y="0"/>
                    </a:moveTo>
                    <a:lnTo>
                      <a:pt x="0" y="95059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93" name="Forma livre: Forma 792">
                <a:extLst>
                  <a:ext uri="{FF2B5EF4-FFF2-40B4-BE49-F238E27FC236}">
                    <a16:creationId xmlns:a16="http://schemas.microsoft.com/office/drawing/2014/main" id="{21698EBC-A8FF-9C63-4596-1D1AF4ECB0D8}"/>
                  </a:ext>
                </a:extLst>
              </p:cNvPr>
              <p:cNvSpPr/>
              <p:nvPr/>
            </p:nvSpPr>
            <p:spPr>
              <a:xfrm>
                <a:off x="9004267" y="1147524"/>
                <a:ext cx="53435" cy="95059"/>
              </a:xfrm>
              <a:custGeom>
                <a:avLst/>
                <a:gdLst>
                  <a:gd name="connsiteX0" fmla="*/ 0 w 53435"/>
                  <a:gd name="connsiteY0" fmla="*/ 0 h 95059"/>
                  <a:gd name="connsiteX1" fmla="*/ 53435 w 53435"/>
                  <a:gd name="connsiteY1" fmla="*/ 95059 h 950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3435" h="95059">
                    <a:moveTo>
                      <a:pt x="0" y="0"/>
                    </a:moveTo>
                    <a:lnTo>
                      <a:pt x="53435" y="95059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794" name="Forma livre: Forma 793">
              <a:extLst>
                <a:ext uri="{FF2B5EF4-FFF2-40B4-BE49-F238E27FC236}">
                  <a16:creationId xmlns:a16="http://schemas.microsoft.com/office/drawing/2014/main" id="{4B1E3097-21D0-DBAA-5D28-D37754843AC3}"/>
                </a:ext>
              </a:extLst>
            </p:cNvPr>
            <p:cNvSpPr/>
            <p:nvPr/>
          </p:nvSpPr>
          <p:spPr>
            <a:xfrm>
              <a:off x="8957071" y="1022271"/>
              <a:ext cx="30146" cy="4762"/>
            </a:xfrm>
            <a:custGeom>
              <a:avLst/>
              <a:gdLst>
                <a:gd name="connsiteX0" fmla="*/ 0 w 30146"/>
                <a:gd name="connsiteY0" fmla="*/ 0 h 4762"/>
                <a:gd name="connsiteX1" fmla="*/ 30147 w 30146"/>
                <a:gd name="connsiteY1" fmla="*/ 0 h 47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0146" h="4762">
                  <a:moveTo>
                    <a:pt x="0" y="0"/>
                  </a:moveTo>
                  <a:lnTo>
                    <a:pt x="30147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795" name="Forma livre: Forma 794">
              <a:extLst>
                <a:ext uri="{FF2B5EF4-FFF2-40B4-BE49-F238E27FC236}">
                  <a16:creationId xmlns:a16="http://schemas.microsoft.com/office/drawing/2014/main" id="{5E4EA7E7-EA27-B05C-B59F-803016AE611D}"/>
                </a:ext>
              </a:extLst>
            </p:cNvPr>
            <p:cNvSpPr/>
            <p:nvPr/>
          </p:nvSpPr>
          <p:spPr>
            <a:xfrm>
              <a:off x="9064275" y="1095280"/>
              <a:ext cx="4952" cy="4953"/>
            </a:xfrm>
            <a:custGeom>
              <a:avLst/>
              <a:gdLst>
                <a:gd name="connsiteX0" fmla="*/ 0 w 4952"/>
                <a:gd name="connsiteY0" fmla="*/ 2477 h 4953"/>
                <a:gd name="connsiteX1" fmla="*/ 2476 w 4952"/>
                <a:gd name="connsiteY1" fmla="*/ 4953 h 4953"/>
                <a:gd name="connsiteX2" fmla="*/ 4953 w 4952"/>
                <a:gd name="connsiteY2" fmla="*/ 2477 h 4953"/>
                <a:gd name="connsiteX3" fmla="*/ 2476 w 4952"/>
                <a:gd name="connsiteY3" fmla="*/ 0 h 4953"/>
                <a:gd name="connsiteX4" fmla="*/ 0 w 4952"/>
                <a:gd name="connsiteY4" fmla="*/ 2477 h 49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952" h="4953">
                  <a:moveTo>
                    <a:pt x="0" y="2477"/>
                  </a:moveTo>
                  <a:cubicBezTo>
                    <a:pt x="0" y="3858"/>
                    <a:pt x="1095" y="4953"/>
                    <a:pt x="2476" y="4953"/>
                  </a:cubicBezTo>
                  <a:cubicBezTo>
                    <a:pt x="3858" y="4953"/>
                    <a:pt x="4953" y="3858"/>
                    <a:pt x="4953" y="2477"/>
                  </a:cubicBezTo>
                  <a:cubicBezTo>
                    <a:pt x="4953" y="1095"/>
                    <a:pt x="3858" y="0"/>
                    <a:pt x="2476" y="0"/>
                  </a:cubicBezTo>
                  <a:cubicBezTo>
                    <a:pt x="1095" y="0"/>
                    <a:pt x="0" y="1095"/>
                    <a:pt x="0" y="2477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796" name="Forma livre: Forma 795">
              <a:extLst>
                <a:ext uri="{FF2B5EF4-FFF2-40B4-BE49-F238E27FC236}">
                  <a16:creationId xmlns:a16="http://schemas.microsoft.com/office/drawing/2014/main" id="{D512A259-37A6-2258-298B-3C42AC836B2C}"/>
                </a:ext>
              </a:extLst>
            </p:cNvPr>
            <p:cNvSpPr/>
            <p:nvPr/>
          </p:nvSpPr>
          <p:spPr>
            <a:xfrm>
              <a:off x="9064275" y="1122855"/>
              <a:ext cx="4952" cy="4952"/>
            </a:xfrm>
            <a:custGeom>
              <a:avLst/>
              <a:gdLst>
                <a:gd name="connsiteX0" fmla="*/ 0 w 4952"/>
                <a:gd name="connsiteY0" fmla="*/ 2477 h 4952"/>
                <a:gd name="connsiteX1" fmla="*/ 2476 w 4952"/>
                <a:gd name="connsiteY1" fmla="*/ 4953 h 4952"/>
                <a:gd name="connsiteX2" fmla="*/ 4953 w 4952"/>
                <a:gd name="connsiteY2" fmla="*/ 2477 h 4952"/>
                <a:gd name="connsiteX3" fmla="*/ 2476 w 4952"/>
                <a:gd name="connsiteY3" fmla="*/ 0 h 4952"/>
                <a:gd name="connsiteX4" fmla="*/ 0 w 4952"/>
                <a:gd name="connsiteY4" fmla="*/ 2477 h 49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952" h="4952">
                  <a:moveTo>
                    <a:pt x="0" y="2477"/>
                  </a:moveTo>
                  <a:cubicBezTo>
                    <a:pt x="0" y="3858"/>
                    <a:pt x="1095" y="4953"/>
                    <a:pt x="2476" y="4953"/>
                  </a:cubicBezTo>
                  <a:cubicBezTo>
                    <a:pt x="3858" y="4953"/>
                    <a:pt x="4953" y="3858"/>
                    <a:pt x="4953" y="2477"/>
                  </a:cubicBezTo>
                  <a:cubicBezTo>
                    <a:pt x="4953" y="1095"/>
                    <a:pt x="3858" y="0"/>
                    <a:pt x="2476" y="0"/>
                  </a:cubicBezTo>
                  <a:cubicBezTo>
                    <a:pt x="1095" y="0"/>
                    <a:pt x="0" y="1095"/>
                    <a:pt x="0" y="2477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797" name="Forma livre: Forma 796">
              <a:extLst>
                <a:ext uri="{FF2B5EF4-FFF2-40B4-BE49-F238E27FC236}">
                  <a16:creationId xmlns:a16="http://schemas.microsoft.com/office/drawing/2014/main" id="{F43B181C-7FEF-B6B7-AFDF-FC5B11A0A8F5}"/>
                </a:ext>
              </a:extLst>
            </p:cNvPr>
            <p:cNvSpPr/>
            <p:nvPr/>
          </p:nvSpPr>
          <p:spPr>
            <a:xfrm>
              <a:off x="8884443" y="1236202"/>
              <a:ext cx="175450" cy="37242"/>
            </a:xfrm>
            <a:custGeom>
              <a:avLst/>
              <a:gdLst>
                <a:gd name="connsiteX0" fmla="*/ 175450 w 175450"/>
                <a:gd name="connsiteY0" fmla="*/ 37243 h 37242"/>
                <a:gd name="connsiteX1" fmla="*/ 0 w 175450"/>
                <a:gd name="connsiteY1" fmla="*/ 37243 h 37242"/>
                <a:gd name="connsiteX2" fmla="*/ 0 w 175450"/>
                <a:gd name="connsiteY2" fmla="*/ 13764 h 37242"/>
                <a:gd name="connsiteX3" fmla="*/ 13764 w 175450"/>
                <a:gd name="connsiteY3" fmla="*/ 0 h 37242"/>
                <a:gd name="connsiteX4" fmla="*/ 161687 w 175450"/>
                <a:gd name="connsiteY4" fmla="*/ 0 h 37242"/>
                <a:gd name="connsiteX5" fmla="*/ 175450 w 175450"/>
                <a:gd name="connsiteY5" fmla="*/ 13764 h 37242"/>
                <a:gd name="connsiteX6" fmla="*/ 175450 w 175450"/>
                <a:gd name="connsiteY6" fmla="*/ 37243 h 372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75450" h="37242">
                  <a:moveTo>
                    <a:pt x="175450" y="37243"/>
                  </a:moveTo>
                  <a:lnTo>
                    <a:pt x="0" y="37243"/>
                  </a:lnTo>
                  <a:lnTo>
                    <a:pt x="0" y="13764"/>
                  </a:lnTo>
                  <a:cubicBezTo>
                    <a:pt x="0" y="6191"/>
                    <a:pt x="6191" y="0"/>
                    <a:pt x="13764" y="0"/>
                  </a:cubicBezTo>
                  <a:lnTo>
                    <a:pt x="161687" y="0"/>
                  </a:lnTo>
                  <a:cubicBezTo>
                    <a:pt x="169259" y="0"/>
                    <a:pt x="175450" y="6191"/>
                    <a:pt x="175450" y="13764"/>
                  </a:cubicBezTo>
                  <a:lnTo>
                    <a:pt x="175450" y="37243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798" name="Gráfico 10">
              <a:extLst>
                <a:ext uri="{FF2B5EF4-FFF2-40B4-BE49-F238E27FC236}">
                  <a16:creationId xmlns:a16="http://schemas.microsoft.com/office/drawing/2014/main" id="{5D033A66-D4FD-635E-5FCF-0FB67C668BE9}"/>
                </a:ext>
              </a:extLst>
            </p:cNvPr>
            <p:cNvGrpSpPr/>
            <p:nvPr/>
          </p:nvGrpSpPr>
          <p:grpSpPr>
            <a:xfrm>
              <a:off x="8839961" y="1153239"/>
              <a:ext cx="264413" cy="97202"/>
              <a:chOff x="8839961" y="1153239"/>
              <a:chExt cx="264413" cy="97202"/>
            </a:xfrm>
            <a:noFill/>
          </p:grpSpPr>
          <p:sp>
            <p:nvSpPr>
              <p:cNvPr id="799" name="Forma livre: Forma 798">
                <a:extLst>
                  <a:ext uri="{FF2B5EF4-FFF2-40B4-BE49-F238E27FC236}">
                    <a16:creationId xmlns:a16="http://schemas.microsoft.com/office/drawing/2014/main" id="{5D98CA65-A86F-14E3-5213-CBC9D4F2E40A}"/>
                  </a:ext>
                </a:extLst>
              </p:cNvPr>
              <p:cNvSpPr/>
              <p:nvPr/>
            </p:nvSpPr>
            <p:spPr>
              <a:xfrm>
                <a:off x="8839961" y="1153239"/>
                <a:ext cx="26241" cy="97202"/>
              </a:xfrm>
              <a:custGeom>
                <a:avLst/>
                <a:gdLst>
                  <a:gd name="connsiteX0" fmla="*/ 26241 w 26241"/>
                  <a:gd name="connsiteY0" fmla="*/ 97203 h 97202"/>
                  <a:gd name="connsiteX1" fmla="*/ 0 w 26241"/>
                  <a:gd name="connsiteY1" fmla="*/ 97203 h 97202"/>
                  <a:gd name="connsiteX2" fmla="*/ 13906 w 26241"/>
                  <a:gd name="connsiteY2" fmla="*/ 0 h 972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6241" h="97202">
                    <a:moveTo>
                      <a:pt x="26241" y="97203"/>
                    </a:moveTo>
                    <a:lnTo>
                      <a:pt x="0" y="97203"/>
                    </a:lnTo>
                    <a:lnTo>
                      <a:pt x="13906" y="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800" name="Forma livre: Forma 799">
                <a:extLst>
                  <a:ext uri="{FF2B5EF4-FFF2-40B4-BE49-F238E27FC236}">
                    <a16:creationId xmlns:a16="http://schemas.microsoft.com/office/drawing/2014/main" id="{2E83BEA4-E0E2-85FC-B791-A5FE2E318EBE}"/>
                  </a:ext>
                </a:extLst>
              </p:cNvPr>
              <p:cNvSpPr/>
              <p:nvPr/>
            </p:nvSpPr>
            <p:spPr>
              <a:xfrm>
                <a:off x="9078134" y="1153239"/>
                <a:ext cx="26241" cy="97202"/>
              </a:xfrm>
              <a:custGeom>
                <a:avLst/>
                <a:gdLst>
                  <a:gd name="connsiteX0" fmla="*/ 0 w 26241"/>
                  <a:gd name="connsiteY0" fmla="*/ 97203 h 97202"/>
                  <a:gd name="connsiteX1" fmla="*/ 26241 w 26241"/>
                  <a:gd name="connsiteY1" fmla="*/ 97203 h 97202"/>
                  <a:gd name="connsiteX2" fmla="*/ 12287 w 26241"/>
                  <a:gd name="connsiteY2" fmla="*/ 0 h 972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6241" h="97202">
                    <a:moveTo>
                      <a:pt x="0" y="97203"/>
                    </a:moveTo>
                    <a:lnTo>
                      <a:pt x="26241" y="97203"/>
                    </a:lnTo>
                    <a:lnTo>
                      <a:pt x="12287" y="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801" name="Gráfico 10">
            <a:extLst>
              <a:ext uri="{FF2B5EF4-FFF2-40B4-BE49-F238E27FC236}">
                <a16:creationId xmlns:a16="http://schemas.microsoft.com/office/drawing/2014/main" id="{95487B6B-5656-3AEF-62B1-7C8951C13BA1}"/>
              </a:ext>
            </a:extLst>
          </p:cNvPr>
          <p:cNvGrpSpPr/>
          <p:nvPr/>
        </p:nvGrpSpPr>
        <p:grpSpPr>
          <a:xfrm>
            <a:off x="8830389" y="3120771"/>
            <a:ext cx="283463" cy="283368"/>
            <a:chOff x="8830389" y="3120771"/>
            <a:chExt cx="283463" cy="283368"/>
          </a:xfrm>
        </p:grpSpPr>
        <p:sp>
          <p:nvSpPr>
            <p:cNvPr id="802" name="Forma livre: Forma 801">
              <a:extLst>
                <a:ext uri="{FF2B5EF4-FFF2-40B4-BE49-F238E27FC236}">
                  <a16:creationId xmlns:a16="http://schemas.microsoft.com/office/drawing/2014/main" id="{77E89A48-17EC-1124-41BA-D774426C6BB3}"/>
                </a:ext>
              </a:extLst>
            </p:cNvPr>
            <p:cNvSpPr/>
            <p:nvPr/>
          </p:nvSpPr>
          <p:spPr>
            <a:xfrm>
              <a:off x="8830389" y="3120771"/>
              <a:ext cx="283463" cy="283368"/>
            </a:xfrm>
            <a:custGeom>
              <a:avLst/>
              <a:gdLst>
                <a:gd name="connsiteX0" fmla="*/ 122253 w 283463"/>
                <a:gd name="connsiteY0" fmla="*/ 131921 h 283368"/>
                <a:gd name="connsiteX1" fmla="*/ 121729 w 283463"/>
                <a:gd name="connsiteY1" fmla="*/ 81201 h 283368"/>
                <a:gd name="connsiteX2" fmla="*/ 88630 w 283463"/>
                <a:gd name="connsiteY2" fmla="*/ 63722 h 283368"/>
                <a:gd name="connsiteX3" fmla="*/ 40576 w 283463"/>
                <a:gd name="connsiteY3" fmla="*/ 42577 h 283368"/>
                <a:gd name="connsiteX4" fmla="*/ 0 w 283463"/>
                <a:gd name="connsiteY4" fmla="*/ 141684 h 283368"/>
                <a:gd name="connsiteX5" fmla="*/ 141684 w 283463"/>
                <a:gd name="connsiteY5" fmla="*/ 283369 h 283368"/>
                <a:gd name="connsiteX6" fmla="*/ 283464 w 283463"/>
                <a:gd name="connsiteY6" fmla="*/ 141684 h 283368"/>
                <a:gd name="connsiteX7" fmla="*/ 141684 w 283463"/>
                <a:gd name="connsiteY7" fmla="*/ 0 h 283368"/>
                <a:gd name="connsiteX8" fmla="*/ 55769 w 283463"/>
                <a:gd name="connsiteY8" fmla="*/ 29004 h 2833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3463" h="283368">
                  <a:moveTo>
                    <a:pt x="122253" y="131921"/>
                  </a:moveTo>
                  <a:cubicBezTo>
                    <a:pt x="122253" y="131921"/>
                    <a:pt x="113728" y="102918"/>
                    <a:pt x="121729" y="81201"/>
                  </a:cubicBezTo>
                  <a:cubicBezTo>
                    <a:pt x="129778" y="59531"/>
                    <a:pt x="105823" y="53435"/>
                    <a:pt x="88630" y="63722"/>
                  </a:cubicBezTo>
                  <a:cubicBezTo>
                    <a:pt x="73581" y="72771"/>
                    <a:pt x="47006" y="67437"/>
                    <a:pt x="40576" y="42577"/>
                  </a:cubicBezTo>
                  <a:cubicBezTo>
                    <a:pt x="15573" y="68151"/>
                    <a:pt x="0" y="103156"/>
                    <a:pt x="0" y="141684"/>
                  </a:cubicBezTo>
                  <a:cubicBezTo>
                    <a:pt x="0" y="219932"/>
                    <a:pt x="63436" y="283369"/>
                    <a:pt x="141684" y="283369"/>
                  </a:cubicBezTo>
                  <a:cubicBezTo>
                    <a:pt x="219932" y="283369"/>
                    <a:pt x="283464" y="219932"/>
                    <a:pt x="283464" y="141684"/>
                  </a:cubicBezTo>
                  <a:cubicBezTo>
                    <a:pt x="283464" y="63437"/>
                    <a:pt x="220027" y="0"/>
                    <a:pt x="141684" y="0"/>
                  </a:cubicBezTo>
                  <a:cubicBezTo>
                    <a:pt x="109395" y="0"/>
                    <a:pt x="79581" y="10811"/>
                    <a:pt x="55769" y="29004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03" name="Forma livre: Forma 802">
              <a:extLst>
                <a:ext uri="{FF2B5EF4-FFF2-40B4-BE49-F238E27FC236}">
                  <a16:creationId xmlns:a16="http://schemas.microsoft.com/office/drawing/2014/main" id="{A182D499-6345-2300-4EF1-806BA35A268F}"/>
                </a:ext>
              </a:extLst>
            </p:cNvPr>
            <p:cNvSpPr/>
            <p:nvPr/>
          </p:nvSpPr>
          <p:spPr>
            <a:xfrm>
              <a:off x="9009554" y="3156251"/>
              <a:ext cx="5476" cy="5476"/>
            </a:xfrm>
            <a:custGeom>
              <a:avLst/>
              <a:gdLst>
                <a:gd name="connsiteX0" fmla="*/ 0 w 5476"/>
                <a:gd name="connsiteY0" fmla="*/ 2762 h 5476"/>
                <a:gd name="connsiteX1" fmla="*/ 2715 w 5476"/>
                <a:gd name="connsiteY1" fmla="*/ 5477 h 5476"/>
                <a:gd name="connsiteX2" fmla="*/ 5477 w 5476"/>
                <a:gd name="connsiteY2" fmla="*/ 2762 h 5476"/>
                <a:gd name="connsiteX3" fmla="*/ 2715 w 5476"/>
                <a:gd name="connsiteY3" fmla="*/ 0 h 5476"/>
                <a:gd name="connsiteX4" fmla="*/ 0 w 5476"/>
                <a:gd name="connsiteY4" fmla="*/ 2762 h 54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476" h="5476">
                  <a:moveTo>
                    <a:pt x="0" y="2762"/>
                  </a:moveTo>
                  <a:cubicBezTo>
                    <a:pt x="0" y="4286"/>
                    <a:pt x="1238" y="5477"/>
                    <a:pt x="2715" y="5477"/>
                  </a:cubicBezTo>
                  <a:cubicBezTo>
                    <a:pt x="4191" y="5477"/>
                    <a:pt x="5477" y="4239"/>
                    <a:pt x="5477" y="2762"/>
                  </a:cubicBezTo>
                  <a:cubicBezTo>
                    <a:pt x="5477" y="1286"/>
                    <a:pt x="4239" y="0"/>
                    <a:pt x="2715" y="0"/>
                  </a:cubicBezTo>
                  <a:cubicBezTo>
                    <a:pt x="1191" y="0"/>
                    <a:pt x="0" y="1238"/>
                    <a:pt x="0" y="2762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04" name="Forma livre: Forma 803">
              <a:extLst>
                <a:ext uri="{FF2B5EF4-FFF2-40B4-BE49-F238E27FC236}">
                  <a16:creationId xmlns:a16="http://schemas.microsoft.com/office/drawing/2014/main" id="{9293A89D-AE0A-8062-1C57-E8A270B41622}"/>
                </a:ext>
              </a:extLst>
            </p:cNvPr>
            <p:cNvSpPr/>
            <p:nvPr/>
          </p:nvSpPr>
          <p:spPr>
            <a:xfrm>
              <a:off x="8873203" y="3212449"/>
              <a:ext cx="5476" cy="5476"/>
            </a:xfrm>
            <a:custGeom>
              <a:avLst/>
              <a:gdLst>
                <a:gd name="connsiteX0" fmla="*/ 5477 w 5476"/>
                <a:gd name="connsiteY0" fmla="*/ 2762 h 5476"/>
                <a:gd name="connsiteX1" fmla="*/ 2762 w 5476"/>
                <a:gd name="connsiteY1" fmla="*/ 5477 h 5476"/>
                <a:gd name="connsiteX2" fmla="*/ 0 w 5476"/>
                <a:gd name="connsiteY2" fmla="*/ 2762 h 5476"/>
                <a:gd name="connsiteX3" fmla="*/ 2762 w 5476"/>
                <a:gd name="connsiteY3" fmla="*/ 0 h 5476"/>
                <a:gd name="connsiteX4" fmla="*/ 5477 w 5476"/>
                <a:gd name="connsiteY4" fmla="*/ 2762 h 54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476" h="5476">
                  <a:moveTo>
                    <a:pt x="5477" y="2762"/>
                  </a:moveTo>
                  <a:cubicBezTo>
                    <a:pt x="5477" y="4286"/>
                    <a:pt x="4239" y="5477"/>
                    <a:pt x="2762" y="5477"/>
                  </a:cubicBezTo>
                  <a:cubicBezTo>
                    <a:pt x="1286" y="5477"/>
                    <a:pt x="0" y="4239"/>
                    <a:pt x="0" y="2762"/>
                  </a:cubicBezTo>
                  <a:cubicBezTo>
                    <a:pt x="0" y="1286"/>
                    <a:pt x="1238" y="0"/>
                    <a:pt x="2762" y="0"/>
                  </a:cubicBezTo>
                  <a:cubicBezTo>
                    <a:pt x="4286" y="0"/>
                    <a:pt x="5477" y="1238"/>
                    <a:pt x="5477" y="2762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05" name="Forma livre: Forma 804">
              <a:extLst>
                <a:ext uri="{FF2B5EF4-FFF2-40B4-BE49-F238E27FC236}">
                  <a16:creationId xmlns:a16="http://schemas.microsoft.com/office/drawing/2014/main" id="{8B3C610F-D35B-B84E-0589-777A66E6141D}"/>
                </a:ext>
              </a:extLst>
            </p:cNvPr>
            <p:cNvSpPr/>
            <p:nvPr/>
          </p:nvSpPr>
          <p:spPr>
            <a:xfrm>
              <a:off x="8973502" y="3151108"/>
              <a:ext cx="5476" cy="5476"/>
            </a:xfrm>
            <a:custGeom>
              <a:avLst/>
              <a:gdLst>
                <a:gd name="connsiteX0" fmla="*/ 0 w 5476"/>
                <a:gd name="connsiteY0" fmla="*/ 2715 h 5476"/>
                <a:gd name="connsiteX1" fmla="*/ 2715 w 5476"/>
                <a:gd name="connsiteY1" fmla="*/ 5477 h 5476"/>
                <a:gd name="connsiteX2" fmla="*/ 5477 w 5476"/>
                <a:gd name="connsiteY2" fmla="*/ 2715 h 5476"/>
                <a:gd name="connsiteX3" fmla="*/ 2715 w 5476"/>
                <a:gd name="connsiteY3" fmla="*/ 0 h 5476"/>
                <a:gd name="connsiteX4" fmla="*/ 0 w 5476"/>
                <a:gd name="connsiteY4" fmla="*/ 2715 h 54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476" h="5476">
                  <a:moveTo>
                    <a:pt x="0" y="2715"/>
                  </a:moveTo>
                  <a:cubicBezTo>
                    <a:pt x="0" y="4239"/>
                    <a:pt x="1238" y="5477"/>
                    <a:pt x="2715" y="5477"/>
                  </a:cubicBezTo>
                  <a:cubicBezTo>
                    <a:pt x="4191" y="5477"/>
                    <a:pt x="5477" y="4239"/>
                    <a:pt x="5477" y="2715"/>
                  </a:cubicBezTo>
                  <a:cubicBezTo>
                    <a:pt x="5477" y="1191"/>
                    <a:pt x="4239" y="0"/>
                    <a:pt x="2715" y="0"/>
                  </a:cubicBezTo>
                  <a:cubicBezTo>
                    <a:pt x="1191" y="0"/>
                    <a:pt x="0" y="1238"/>
                    <a:pt x="0" y="2715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06" name="Forma livre: Forma 805">
              <a:extLst>
                <a:ext uri="{FF2B5EF4-FFF2-40B4-BE49-F238E27FC236}">
                  <a16:creationId xmlns:a16="http://schemas.microsoft.com/office/drawing/2014/main" id="{6BFB36FB-D4E6-0E36-6E8B-8BC1A59B81B8}"/>
                </a:ext>
              </a:extLst>
            </p:cNvPr>
            <p:cNvSpPr/>
            <p:nvPr/>
          </p:nvSpPr>
          <p:spPr>
            <a:xfrm>
              <a:off x="9028461" y="3348513"/>
              <a:ext cx="5476" cy="5476"/>
            </a:xfrm>
            <a:custGeom>
              <a:avLst/>
              <a:gdLst>
                <a:gd name="connsiteX0" fmla="*/ 5477 w 5476"/>
                <a:gd name="connsiteY0" fmla="*/ 2762 h 5476"/>
                <a:gd name="connsiteX1" fmla="*/ 2762 w 5476"/>
                <a:gd name="connsiteY1" fmla="*/ 5477 h 5476"/>
                <a:gd name="connsiteX2" fmla="*/ 0 w 5476"/>
                <a:gd name="connsiteY2" fmla="*/ 2762 h 5476"/>
                <a:gd name="connsiteX3" fmla="*/ 2762 w 5476"/>
                <a:gd name="connsiteY3" fmla="*/ 0 h 5476"/>
                <a:gd name="connsiteX4" fmla="*/ 5477 w 5476"/>
                <a:gd name="connsiteY4" fmla="*/ 2762 h 54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476" h="5476">
                  <a:moveTo>
                    <a:pt x="5477" y="2762"/>
                  </a:moveTo>
                  <a:cubicBezTo>
                    <a:pt x="5477" y="4286"/>
                    <a:pt x="4239" y="5477"/>
                    <a:pt x="2762" y="5477"/>
                  </a:cubicBezTo>
                  <a:cubicBezTo>
                    <a:pt x="1286" y="5477"/>
                    <a:pt x="0" y="4239"/>
                    <a:pt x="0" y="2762"/>
                  </a:cubicBezTo>
                  <a:cubicBezTo>
                    <a:pt x="0" y="1286"/>
                    <a:pt x="1238" y="0"/>
                    <a:pt x="2762" y="0"/>
                  </a:cubicBezTo>
                  <a:cubicBezTo>
                    <a:pt x="4286" y="0"/>
                    <a:pt x="5477" y="1238"/>
                    <a:pt x="5477" y="2762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07" name="Forma livre: Forma 806">
              <a:extLst>
                <a:ext uri="{FF2B5EF4-FFF2-40B4-BE49-F238E27FC236}">
                  <a16:creationId xmlns:a16="http://schemas.microsoft.com/office/drawing/2014/main" id="{B692FB01-E582-E855-B8F9-A8203835BA7C}"/>
                </a:ext>
              </a:extLst>
            </p:cNvPr>
            <p:cNvSpPr/>
            <p:nvPr/>
          </p:nvSpPr>
          <p:spPr>
            <a:xfrm>
              <a:off x="8890825" y="3332511"/>
              <a:ext cx="5476" cy="5429"/>
            </a:xfrm>
            <a:custGeom>
              <a:avLst/>
              <a:gdLst>
                <a:gd name="connsiteX0" fmla="*/ 5477 w 5476"/>
                <a:gd name="connsiteY0" fmla="*/ 2715 h 5429"/>
                <a:gd name="connsiteX1" fmla="*/ 2762 w 5476"/>
                <a:gd name="connsiteY1" fmla="*/ 5429 h 5429"/>
                <a:gd name="connsiteX2" fmla="*/ 0 w 5476"/>
                <a:gd name="connsiteY2" fmla="*/ 2715 h 5429"/>
                <a:gd name="connsiteX3" fmla="*/ 2762 w 5476"/>
                <a:gd name="connsiteY3" fmla="*/ 0 h 5429"/>
                <a:gd name="connsiteX4" fmla="*/ 5477 w 5476"/>
                <a:gd name="connsiteY4" fmla="*/ 2715 h 54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476" h="5429">
                  <a:moveTo>
                    <a:pt x="5477" y="2715"/>
                  </a:moveTo>
                  <a:cubicBezTo>
                    <a:pt x="5477" y="4239"/>
                    <a:pt x="4239" y="5429"/>
                    <a:pt x="2762" y="5429"/>
                  </a:cubicBezTo>
                  <a:cubicBezTo>
                    <a:pt x="1286" y="5429"/>
                    <a:pt x="0" y="4191"/>
                    <a:pt x="0" y="2715"/>
                  </a:cubicBezTo>
                  <a:cubicBezTo>
                    <a:pt x="0" y="1238"/>
                    <a:pt x="1238" y="0"/>
                    <a:pt x="2762" y="0"/>
                  </a:cubicBezTo>
                  <a:cubicBezTo>
                    <a:pt x="4286" y="0"/>
                    <a:pt x="5477" y="1238"/>
                    <a:pt x="5477" y="2715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08" name="Forma livre: Forma 807">
              <a:extLst>
                <a:ext uri="{FF2B5EF4-FFF2-40B4-BE49-F238E27FC236}">
                  <a16:creationId xmlns:a16="http://schemas.microsoft.com/office/drawing/2014/main" id="{8D4A66CA-FE51-510D-715B-3461C605E46F}"/>
                </a:ext>
              </a:extLst>
            </p:cNvPr>
            <p:cNvSpPr/>
            <p:nvPr/>
          </p:nvSpPr>
          <p:spPr>
            <a:xfrm>
              <a:off x="9074562" y="3296840"/>
              <a:ext cx="5476" cy="5524"/>
            </a:xfrm>
            <a:custGeom>
              <a:avLst/>
              <a:gdLst>
                <a:gd name="connsiteX0" fmla="*/ 5477 w 5476"/>
                <a:gd name="connsiteY0" fmla="*/ 2762 h 5524"/>
                <a:gd name="connsiteX1" fmla="*/ 2762 w 5476"/>
                <a:gd name="connsiteY1" fmla="*/ 5525 h 5524"/>
                <a:gd name="connsiteX2" fmla="*/ 0 w 5476"/>
                <a:gd name="connsiteY2" fmla="*/ 2762 h 5524"/>
                <a:gd name="connsiteX3" fmla="*/ 2762 w 5476"/>
                <a:gd name="connsiteY3" fmla="*/ 0 h 5524"/>
                <a:gd name="connsiteX4" fmla="*/ 5477 w 5476"/>
                <a:gd name="connsiteY4" fmla="*/ 2762 h 55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476" h="5524">
                  <a:moveTo>
                    <a:pt x="5477" y="2762"/>
                  </a:moveTo>
                  <a:cubicBezTo>
                    <a:pt x="5477" y="4286"/>
                    <a:pt x="4239" y="5525"/>
                    <a:pt x="2762" y="5525"/>
                  </a:cubicBezTo>
                  <a:cubicBezTo>
                    <a:pt x="1286" y="5525"/>
                    <a:pt x="0" y="4286"/>
                    <a:pt x="0" y="2762"/>
                  </a:cubicBezTo>
                  <a:cubicBezTo>
                    <a:pt x="0" y="1238"/>
                    <a:pt x="1238" y="0"/>
                    <a:pt x="2762" y="0"/>
                  </a:cubicBezTo>
                  <a:cubicBezTo>
                    <a:pt x="4286" y="0"/>
                    <a:pt x="5477" y="1238"/>
                    <a:pt x="5477" y="2762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09" name="Forma livre: Forma 808">
              <a:extLst>
                <a:ext uri="{FF2B5EF4-FFF2-40B4-BE49-F238E27FC236}">
                  <a16:creationId xmlns:a16="http://schemas.microsoft.com/office/drawing/2014/main" id="{CBDA325A-181C-4B5E-84FF-35CC42A990E0}"/>
                </a:ext>
              </a:extLst>
            </p:cNvPr>
            <p:cNvSpPr/>
            <p:nvPr/>
          </p:nvSpPr>
          <p:spPr>
            <a:xfrm>
              <a:off x="9044939" y="3306556"/>
              <a:ext cx="5476" cy="5476"/>
            </a:xfrm>
            <a:custGeom>
              <a:avLst/>
              <a:gdLst>
                <a:gd name="connsiteX0" fmla="*/ 5477 w 5476"/>
                <a:gd name="connsiteY0" fmla="*/ 2715 h 5476"/>
                <a:gd name="connsiteX1" fmla="*/ 2762 w 5476"/>
                <a:gd name="connsiteY1" fmla="*/ 5477 h 5476"/>
                <a:gd name="connsiteX2" fmla="*/ 0 w 5476"/>
                <a:gd name="connsiteY2" fmla="*/ 2715 h 5476"/>
                <a:gd name="connsiteX3" fmla="*/ 2762 w 5476"/>
                <a:gd name="connsiteY3" fmla="*/ 0 h 5476"/>
                <a:gd name="connsiteX4" fmla="*/ 5477 w 5476"/>
                <a:gd name="connsiteY4" fmla="*/ 2715 h 54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476" h="5476">
                  <a:moveTo>
                    <a:pt x="5477" y="2715"/>
                  </a:moveTo>
                  <a:cubicBezTo>
                    <a:pt x="5477" y="4239"/>
                    <a:pt x="4239" y="5477"/>
                    <a:pt x="2762" y="5477"/>
                  </a:cubicBezTo>
                  <a:cubicBezTo>
                    <a:pt x="1286" y="5477"/>
                    <a:pt x="0" y="4239"/>
                    <a:pt x="0" y="2715"/>
                  </a:cubicBezTo>
                  <a:cubicBezTo>
                    <a:pt x="0" y="1191"/>
                    <a:pt x="1238" y="0"/>
                    <a:pt x="2762" y="0"/>
                  </a:cubicBezTo>
                  <a:cubicBezTo>
                    <a:pt x="4286" y="0"/>
                    <a:pt x="5477" y="1238"/>
                    <a:pt x="5477" y="2715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10" name="Forma livre: Forma 809">
              <a:extLst>
                <a:ext uri="{FF2B5EF4-FFF2-40B4-BE49-F238E27FC236}">
                  <a16:creationId xmlns:a16="http://schemas.microsoft.com/office/drawing/2014/main" id="{9A2FBD5C-EFD6-C2F3-1DA2-019C47017A2F}"/>
                </a:ext>
              </a:extLst>
            </p:cNvPr>
            <p:cNvSpPr/>
            <p:nvPr/>
          </p:nvSpPr>
          <p:spPr>
            <a:xfrm>
              <a:off x="8964643" y="3371469"/>
              <a:ext cx="5476" cy="5476"/>
            </a:xfrm>
            <a:custGeom>
              <a:avLst/>
              <a:gdLst>
                <a:gd name="connsiteX0" fmla="*/ 5477 w 5476"/>
                <a:gd name="connsiteY0" fmla="*/ 2762 h 5476"/>
                <a:gd name="connsiteX1" fmla="*/ 2762 w 5476"/>
                <a:gd name="connsiteY1" fmla="*/ 5477 h 5476"/>
                <a:gd name="connsiteX2" fmla="*/ 0 w 5476"/>
                <a:gd name="connsiteY2" fmla="*/ 2762 h 5476"/>
                <a:gd name="connsiteX3" fmla="*/ 2762 w 5476"/>
                <a:gd name="connsiteY3" fmla="*/ 0 h 5476"/>
                <a:gd name="connsiteX4" fmla="*/ 5477 w 5476"/>
                <a:gd name="connsiteY4" fmla="*/ 2762 h 54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476" h="5476">
                  <a:moveTo>
                    <a:pt x="5477" y="2762"/>
                  </a:moveTo>
                  <a:cubicBezTo>
                    <a:pt x="5477" y="4286"/>
                    <a:pt x="4239" y="5477"/>
                    <a:pt x="2762" y="5477"/>
                  </a:cubicBezTo>
                  <a:cubicBezTo>
                    <a:pt x="1286" y="5477"/>
                    <a:pt x="0" y="4239"/>
                    <a:pt x="0" y="2762"/>
                  </a:cubicBezTo>
                  <a:cubicBezTo>
                    <a:pt x="0" y="1286"/>
                    <a:pt x="1238" y="0"/>
                    <a:pt x="2762" y="0"/>
                  </a:cubicBezTo>
                  <a:cubicBezTo>
                    <a:pt x="4286" y="0"/>
                    <a:pt x="5477" y="1238"/>
                    <a:pt x="5477" y="2762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11" name="Forma livre: Forma 810">
              <a:extLst>
                <a:ext uri="{FF2B5EF4-FFF2-40B4-BE49-F238E27FC236}">
                  <a16:creationId xmlns:a16="http://schemas.microsoft.com/office/drawing/2014/main" id="{466A2C29-76D1-44F5-62E6-39994CC70298}"/>
                </a:ext>
              </a:extLst>
            </p:cNvPr>
            <p:cNvSpPr/>
            <p:nvPr/>
          </p:nvSpPr>
          <p:spPr>
            <a:xfrm>
              <a:off x="8942355" y="3271599"/>
              <a:ext cx="25050" cy="5140"/>
            </a:xfrm>
            <a:custGeom>
              <a:avLst/>
              <a:gdLst>
                <a:gd name="connsiteX0" fmla="*/ 0 w 25050"/>
                <a:gd name="connsiteY0" fmla="*/ 4572 h 5140"/>
                <a:gd name="connsiteX1" fmla="*/ 25051 w 25050"/>
                <a:gd name="connsiteY1" fmla="*/ 0 h 51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5050" h="5140">
                  <a:moveTo>
                    <a:pt x="0" y="4572"/>
                  </a:moveTo>
                  <a:cubicBezTo>
                    <a:pt x="9335" y="5810"/>
                    <a:pt x="15526" y="5334"/>
                    <a:pt x="25051" y="0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12" name="Forma livre: Forma 811">
              <a:extLst>
                <a:ext uri="{FF2B5EF4-FFF2-40B4-BE49-F238E27FC236}">
                  <a16:creationId xmlns:a16="http://schemas.microsoft.com/office/drawing/2014/main" id="{2E2169FC-ABD1-420F-68AC-DEDCB179F1EA}"/>
                </a:ext>
              </a:extLst>
            </p:cNvPr>
            <p:cNvSpPr/>
            <p:nvPr/>
          </p:nvSpPr>
          <p:spPr>
            <a:xfrm>
              <a:off x="8872532" y="3195484"/>
              <a:ext cx="189778" cy="141403"/>
            </a:xfrm>
            <a:custGeom>
              <a:avLst/>
              <a:gdLst>
                <a:gd name="connsiteX0" fmla="*/ 76062 w 189778"/>
                <a:gd name="connsiteY0" fmla="*/ 95499 h 141403"/>
                <a:gd name="connsiteX1" fmla="*/ 60727 w 189778"/>
                <a:gd name="connsiteY1" fmla="*/ 67067 h 141403"/>
                <a:gd name="connsiteX2" fmla="*/ 49535 w 189778"/>
                <a:gd name="connsiteY2" fmla="*/ 58065 h 141403"/>
                <a:gd name="connsiteX3" fmla="*/ 18769 w 189778"/>
                <a:gd name="connsiteY3" fmla="*/ 51541 h 141403"/>
                <a:gd name="connsiteX4" fmla="*/ 386 w 189778"/>
                <a:gd name="connsiteY4" fmla="*/ 62304 h 141403"/>
                <a:gd name="connsiteX5" fmla="*/ 12197 w 189778"/>
                <a:gd name="connsiteY5" fmla="*/ 79925 h 141403"/>
                <a:gd name="connsiteX6" fmla="*/ 36343 w 189778"/>
                <a:gd name="connsiteY6" fmla="*/ 85640 h 141403"/>
                <a:gd name="connsiteX7" fmla="*/ 86587 w 189778"/>
                <a:gd name="connsiteY7" fmla="*/ 141314 h 141403"/>
                <a:gd name="connsiteX8" fmla="*/ 149357 w 189778"/>
                <a:gd name="connsiteY8" fmla="*/ 82116 h 141403"/>
                <a:gd name="connsiteX9" fmla="*/ 188076 w 189778"/>
                <a:gd name="connsiteY9" fmla="*/ 52779 h 141403"/>
                <a:gd name="connsiteX10" fmla="*/ 158977 w 189778"/>
                <a:gd name="connsiteY10" fmla="*/ 1201 h 141403"/>
                <a:gd name="connsiteX11" fmla="*/ 106780 w 189778"/>
                <a:gd name="connsiteY11" fmla="*/ 30348 h 141403"/>
                <a:gd name="connsiteX12" fmla="*/ 107923 w 189778"/>
                <a:gd name="connsiteY12" fmla="*/ 64400 h 141403"/>
                <a:gd name="connsiteX13" fmla="*/ 115591 w 189778"/>
                <a:gd name="connsiteY13" fmla="*/ 71781 h 1414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89778" h="141403">
                  <a:moveTo>
                    <a:pt x="76062" y="95499"/>
                  </a:moveTo>
                  <a:lnTo>
                    <a:pt x="60727" y="67067"/>
                  </a:lnTo>
                  <a:cubicBezTo>
                    <a:pt x="55583" y="58780"/>
                    <a:pt x="49535" y="58065"/>
                    <a:pt x="49535" y="58065"/>
                  </a:cubicBezTo>
                  <a:lnTo>
                    <a:pt x="18769" y="51541"/>
                  </a:lnTo>
                  <a:cubicBezTo>
                    <a:pt x="10387" y="49636"/>
                    <a:pt x="2291" y="53922"/>
                    <a:pt x="386" y="62304"/>
                  </a:cubicBezTo>
                  <a:cubicBezTo>
                    <a:pt x="-1519" y="70686"/>
                    <a:pt x="3815" y="78020"/>
                    <a:pt x="12197" y="79925"/>
                  </a:cubicBezTo>
                  <a:lnTo>
                    <a:pt x="36343" y="85640"/>
                  </a:lnTo>
                  <a:cubicBezTo>
                    <a:pt x="37057" y="136552"/>
                    <a:pt x="71157" y="140552"/>
                    <a:pt x="86587" y="141314"/>
                  </a:cubicBezTo>
                  <a:cubicBezTo>
                    <a:pt x="141832" y="144076"/>
                    <a:pt x="149357" y="82116"/>
                    <a:pt x="149357" y="82116"/>
                  </a:cubicBezTo>
                  <a:cubicBezTo>
                    <a:pt x="167550" y="80973"/>
                    <a:pt x="183314" y="69734"/>
                    <a:pt x="188076" y="52779"/>
                  </a:cubicBezTo>
                  <a:cubicBezTo>
                    <a:pt x="194220" y="30729"/>
                    <a:pt x="183552" y="7583"/>
                    <a:pt x="158977" y="1201"/>
                  </a:cubicBezTo>
                  <a:cubicBezTo>
                    <a:pt x="140451" y="-3609"/>
                    <a:pt x="120115" y="6011"/>
                    <a:pt x="106780" y="30348"/>
                  </a:cubicBezTo>
                  <a:cubicBezTo>
                    <a:pt x="100970" y="40920"/>
                    <a:pt x="99494" y="54160"/>
                    <a:pt x="107923" y="64400"/>
                  </a:cubicBezTo>
                  <a:cubicBezTo>
                    <a:pt x="110162" y="67114"/>
                    <a:pt x="112733" y="69591"/>
                    <a:pt x="115591" y="71781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813" name="Gráfico 10">
            <a:extLst>
              <a:ext uri="{FF2B5EF4-FFF2-40B4-BE49-F238E27FC236}">
                <a16:creationId xmlns:a16="http://schemas.microsoft.com/office/drawing/2014/main" id="{999B9BB8-5FEE-5511-13D0-F606767C7F93}"/>
              </a:ext>
            </a:extLst>
          </p:cNvPr>
          <p:cNvGrpSpPr/>
          <p:nvPr/>
        </p:nvGrpSpPr>
        <p:grpSpPr>
          <a:xfrm>
            <a:off x="8822178" y="2591752"/>
            <a:ext cx="300054" cy="285039"/>
            <a:chOff x="8822178" y="2591752"/>
            <a:chExt cx="300054" cy="285039"/>
          </a:xfrm>
          <a:noFill/>
        </p:grpSpPr>
        <p:sp>
          <p:nvSpPr>
            <p:cNvPr id="814" name="Forma livre: Forma 813">
              <a:extLst>
                <a:ext uri="{FF2B5EF4-FFF2-40B4-BE49-F238E27FC236}">
                  <a16:creationId xmlns:a16="http://schemas.microsoft.com/office/drawing/2014/main" id="{336E976F-250B-5EA1-7590-E3F367D5FBE7}"/>
                </a:ext>
              </a:extLst>
            </p:cNvPr>
            <p:cNvSpPr/>
            <p:nvPr/>
          </p:nvSpPr>
          <p:spPr>
            <a:xfrm>
              <a:off x="8822178" y="2591752"/>
              <a:ext cx="300054" cy="285039"/>
            </a:xfrm>
            <a:custGeom>
              <a:avLst/>
              <a:gdLst>
                <a:gd name="connsiteX0" fmla="*/ 26831 w 300054"/>
                <a:gd name="connsiteY0" fmla="*/ 0 h 285039"/>
                <a:gd name="connsiteX1" fmla="*/ 26831 w 300054"/>
                <a:gd name="connsiteY1" fmla="*/ 110919 h 285039"/>
                <a:gd name="connsiteX2" fmla="*/ 9782 w 300054"/>
                <a:gd name="connsiteY2" fmla="*/ 208216 h 285039"/>
                <a:gd name="connsiteX3" fmla="*/ 21736 w 300054"/>
                <a:gd name="connsiteY3" fmla="*/ 285035 h 285039"/>
                <a:gd name="connsiteX4" fmla="*/ 48882 w 300054"/>
                <a:gd name="connsiteY4" fmla="*/ 285035 h 285039"/>
                <a:gd name="connsiteX5" fmla="*/ 102555 w 300054"/>
                <a:gd name="connsiteY5" fmla="*/ 276511 h 285039"/>
                <a:gd name="connsiteX6" fmla="*/ 168754 w 300054"/>
                <a:gd name="connsiteY6" fmla="*/ 285035 h 285039"/>
                <a:gd name="connsiteX7" fmla="*/ 282101 w 300054"/>
                <a:gd name="connsiteY7" fmla="*/ 285035 h 285039"/>
                <a:gd name="connsiteX8" fmla="*/ 299961 w 300054"/>
                <a:gd name="connsiteY8" fmla="*/ 264223 h 285039"/>
                <a:gd name="connsiteX9" fmla="*/ 272672 w 300054"/>
                <a:gd name="connsiteY9" fmla="*/ 248031 h 285039"/>
                <a:gd name="connsiteX10" fmla="*/ 248764 w 300054"/>
                <a:gd name="connsiteY10" fmla="*/ 246602 h 285039"/>
                <a:gd name="connsiteX11" fmla="*/ 166849 w 300054"/>
                <a:gd name="connsiteY11" fmla="*/ 203930 h 285039"/>
                <a:gd name="connsiteX12" fmla="*/ 118224 w 300054"/>
                <a:gd name="connsiteY12" fmla="*/ 100679 h 285039"/>
                <a:gd name="connsiteX13" fmla="*/ 118224 w 300054"/>
                <a:gd name="connsiteY13" fmla="*/ 3381 h 2850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00054" h="285039">
                  <a:moveTo>
                    <a:pt x="26831" y="0"/>
                  </a:moveTo>
                  <a:lnTo>
                    <a:pt x="26831" y="110919"/>
                  </a:lnTo>
                  <a:cubicBezTo>
                    <a:pt x="26831" y="126921"/>
                    <a:pt x="16592" y="191119"/>
                    <a:pt x="9782" y="208216"/>
                  </a:cubicBezTo>
                  <a:cubicBezTo>
                    <a:pt x="9782" y="208216"/>
                    <a:pt x="-18793" y="270319"/>
                    <a:pt x="21736" y="285035"/>
                  </a:cubicBezTo>
                  <a:lnTo>
                    <a:pt x="48882" y="285035"/>
                  </a:lnTo>
                  <a:cubicBezTo>
                    <a:pt x="63169" y="285035"/>
                    <a:pt x="80171" y="276511"/>
                    <a:pt x="102555" y="276511"/>
                  </a:cubicBezTo>
                  <a:cubicBezTo>
                    <a:pt x="128177" y="276511"/>
                    <a:pt x="155943" y="285035"/>
                    <a:pt x="168754" y="285035"/>
                  </a:cubicBezTo>
                  <a:lnTo>
                    <a:pt x="282101" y="285035"/>
                  </a:lnTo>
                  <a:cubicBezTo>
                    <a:pt x="282101" y="285035"/>
                    <a:pt x="297103" y="285845"/>
                    <a:pt x="299961" y="264223"/>
                  </a:cubicBezTo>
                  <a:cubicBezTo>
                    <a:pt x="300913" y="256937"/>
                    <a:pt x="294817" y="249602"/>
                    <a:pt x="272672" y="248031"/>
                  </a:cubicBezTo>
                  <a:cubicBezTo>
                    <a:pt x="272672" y="248031"/>
                    <a:pt x="260956" y="246602"/>
                    <a:pt x="248764" y="246602"/>
                  </a:cubicBezTo>
                  <a:cubicBezTo>
                    <a:pt x="231714" y="246602"/>
                    <a:pt x="188185" y="226981"/>
                    <a:pt x="166849" y="203930"/>
                  </a:cubicBezTo>
                  <a:cubicBezTo>
                    <a:pt x="166849" y="203930"/>
                    <a:pt x="118224" y="162115"/>
                    <a:pt x="118224" y="100679"/>
                  </a:cubicBezTo>
                  <a:lnTo>
                    <a:pt x="118224" y="3381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15" name="Forma livre: Forma 814">
              <a:extLst>
                <a:ext uri="{FF2B5EF4-FFF2-40B4-BE49-F238E27FC236}">
                  <a16:creationId xmlns:a16="http://schemas.microsoft.com/office/drawing/2014/main" id="{4C5F939C-43BC-B22A-DE87-39A37EAB17CC}"/>
                </a:ext>
              </a:extLst>
            </p:cNvPr>
            <p:cNvSpPr/>
            <p:nvPr/>
          </p:nvSpPr>
          <p:spPr>
            <a:xfrm>
              <a:off x="8871269" y="2776966"/>
              <a:ext cx="23223" cy="42243"/>
            </a:xfrm>
            <a:custGeom>
              <a:avLst/>
              <a:gdLst>
                <a:gd name="connsiteX0" fmla="*/ 4602 w 23223"/>
                <a:gd name="connsiteY0" fmla="*/ 0 h 42243"/>
                <a:gd name="connsiteX1" fmla="*/ 23223 w 23223"/>
                <a:gd name="connsiteY1" fmla="*/ 42243 h 422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3223" h="42243">
                  <a:moveTo>
                    <a:pt x="4602" y="0"/>
                  </a:moveTo>
                  <a:cubicBezTo>
                    <a:pt x="4602" y="0"/>
                    <a:pt x="-13877" y="42243"/>
                    <a:pt x="23223" y="42243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816" name="Gráfico 10">
            <a:extLst>
              <a:ext uri="{FF2B5EF4-FFF2-40B4-BE49-F238E27FC236}">
                <a16:creationId xmlns:a16="http://schemas.microsoft.com/office/drawing/2014/main" id="{4DD00549-A9A7-F9F4-C573-894D856CE09B}"/>
              </a:ext>
            </a:extLst>
          </p:cNvPr>
          <p:cNvGrpSpPr/>
          <p:nvPr/>
        </p:nvGrpSpPr>
        <p:grpSpPr>
          <a:xfrm>
            <a:off x="8788383" y="2059325"/>
            <a:ext cx="367569" cy="293492"/>
            <a:chOff x="8788383" y="2059325"/>
            <a:chExt cx="367569" cy="293492"/>
          </a:xfrm>
        </p:grpSpPr>
        <p:sp>
          <p:nvSpPr>
            <p:cNvPr id="817" name="Forma livre: Forma 816">
              <a:extLst>
                <a:ext uri="{FF2B5EF4-FFF2-40B4-BE49-F238E27FC236}">
                  <a16:creationId xmlns:a16="http://schemas.microsoft.com/office/drawing/2014/main" id="{2A565B51-F613-BD4E-D9FC-F9F22889E533}"/>
                </a:ext>
              </a:extLst>
            </p:cNvPr>
            <p:cNvSpPr/>
            <p:nvPr/>
          </p:nvSpPr>
          <p:spPr>
            <a:xfrm>
              <a:off x="8972168" y="2112073"/>
              <a:ext cx="4762" cy="240744"/>
            </a:xfrm>
            <a:custGeom>
              <a:avLst/>
              <a:gdLst>
                <a:gd name="connsiteX0" fmla="*/ 0 w 4762"/>
                <a:gd name="connsiteY0" fmla="*/ 0 h 240744"/>
                <a:gd name="connsiteX1" fmla="*/ 0 w 4762"/>
                <a:gd name="connsiteY1" fmla="*/ 240744 h 2407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762" h="240744">
                  <a:moveTo>
                    <a:pt x="0" y="0"/>
                  </a:moveTo>
                  <a:lnTo>
                    <a:pt x="0" y="240744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18" name="Forma livre: Forma 817">
              <a:extLst>
                <a:ext uri="{FF2B5EF4-FFF2-40B4-BE49-F238E27FC236}">
                  <a16:creationId xmlns:a16="http://schemas.microsoft.com/office/drawing/2014/main" id="{43ABFA99-C724-2DE8-51DD-8A8D581F0A3B}"/>
                </a:ext>
              </a:extLst>
            </p:cNvPr>
            <p:cNvSpPr/>
            <p:nvPr/>
          </p:nvSpPr>
          <p:spPr>
            <a:xfrm>
              <a:off x="8953785" y="2074735"/>
              <a:ext cx="36766" cy="36766"/>
            </a:xfrm>
            <a:custGeom>
              <a:avLst/>
              <a:gdLst>
                <a:gd name="connsiteX0" fmla="*/ 36766 w 36766"/>
                <a:gd name="connsiteY0" fmla="*/ 18383 h 36766"/>
                <a:gd name="connsiteX1" fmla="*/ 18383 w 36766"/>
                <a:gd name="connsiteY1" fmla="*/ 36767 h 36766"/>
                <a:gd name="connsiteX2" fmla="*/ 0 w 36766"/>
                <a:gd name="connsiteY2" fmla="*/ 18383 h 36766"/>
                <a:gd name="connsiteX3" fmla="*/ 18383 w 36766"/>
                <a:gd name="connsiteY3" fmla="*/ 0 h 36766"/>
                <a:gd name="connsiteX4" fmla="*/ 36766 w 36766"/>
                <a:gd name="connsiteY4" fmla="*/ 18383 h 367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6766" h="36766">
                  <a:moveTo>
                    <a:pt x="36766" y="18383"/>
                  </a:moveTo>
                  <a:cubicBezTo>
                    <a:pt x="36766" y="28527"/>
                    <a:pt x="28527" y="36767"/>
                    <a:pt x="18383" y="36767"/>
                  </a:cubicBezTo>
                  <a:cubicBezTo>
                    <a:pt x="8239" y="36767"/>
                    <a:pt x="0" y="28527"/>
                    <a:pt x="0" y="18383"/>
                  </a:cubicBezTo>
                  <a:cubicBezTo>
                    <a:pt x="0" y="8239"/>
                    <a:pt x="8239" y="0"/>
                    <a:pt x="18383" y="0"/>
                  </a:cubicBezTo>
                  <a:cubicBezTo>
                    <a:pt x="28527" y="0"/>
                    <a:pt x="36766" y="8239"/>
                    <a:pt x="36766" y="18383"/>
                  </a:cubicBez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819" name="Gráfico 10">
              <a:extLst>
                <a:ext uri="{FF2B5EF4-FFF2-40B4-BE49-F238E27FC236}">
                  <a16:creationId xmlns:a16="http://schemas.microsoft.com/office/drawing/2014/main" id="{94A9E0A2-5C86-8964-6B9F-6E89A9050613}"/>
                </a:ext>
              </a:extLst>
            </p:cNvPr>
            <p:cNvGrpSpPr/>
            <p:nvPr/>
          </p:nvGrpSpPr>
          <p:grpSpPr>
            <a:xfrm>
              <a:off x="8788383" y="2059325"/>
              <a:ext cx="367569" cy="270347"/>
              <a:chOff x="8788383" y="2059325"/>
              <a:chExt cx="367569" cy="270347"/>
            </a:xfrm>
          </p:grpSpPr>
          <p:grpSp>
            <p:nvGrpSpPr>
              <p:cNvPr id="820" name="Gráfico 10">
                <a:extLst>
                  <a:ext uri="{FF2B5EF4-FFF2-40B4-BE49-F238E27FC236}">
                    <a16:creationId xmlns:a16="http://schemas.microsoft.com/office/drawing/2014/main" id="{10542054-1365-CF68-9DE3-A8EC435B3985}"/>
                  </a:ext>
                </a:extLst>
              </p:cNvPr>
              <p:cNvGrpSpPr/>
              <p:nvPr/>
            </p:nvGrpSpPr>
            <p:grpSpPr>
              <a:xfrm>
                <a:off x="8788383" y="2059325"/>
                <a:ext cx="216694" cy="270347"/>
                <a:chOff x="8788383" y="2059325"/>
                <a:chExt cx="216694" cy="270347"/>
              </a:xfrm>
            </p:grpSpPr>
            <p:grpSp>
              <p:nvGrpSpPr>
                <p:cNvPr id="821" name="Gráfico 10">
                  <a:extLst>
                    <a:ext uri="{FF2B5EF4-FFF2-40B4-BE49-F238E27FC236}">
                      <a16:creationId xmlns:a16="http://schemas.microsoft.com/office/drawing/2014/main" id="{3F93CF2F-AA1D-0319-D876-9248CE23E1FE}"/>
                    </a:ext>
                  </a:extLst>
                </p:cNvPr>
                <p:cNvGrpSpPr/>
                <p:nvPr/>
              </p:nvGrpSpPr>
              <p:grpSpPr>
                <a:xfrm>
                  <a:off x="8788383" y="2059325"/>
                  <a:ext cx="182117" cy="121280"/>
                  <a:chOff x="8788383" y="2059325"/>
                  <a:chExt cx="182117" cy="121280"/>
                </a:xfrm>
                <a:noFill/>
              </p:grpSpPr>
              <p:sp>
                <p:nvSpPr>
                  <p:cNvPr id="822" name="Forma livre: Forma 821">
                    <a:extLst>
                      <a:ext uri="{FF2B5EF4-FFF2-40B4-BE49-F238E27FC236}">
                        <a16:creationId xmlns:a16="http://schemas.microsoft.com/office/drawing/2014/main" id="{88D69A3D-E601-9FC2-5566-B6042ACBE462}"/>
                      </a:ext>
                    </a:extLst>
                  </p:cNvPr>
                  <p:cNvSpPr/>
                  <p:nvPr/>
                </p:nvSpPr>
                <p:spPr>
                  <a:xfrm>
                    <a:off x="8788383" y="2059325"/>
                    <a:ext cx="182117" cy="121280"/>
                  </a:xfrm>
                  <a:custGeom>
                    <a:avLst/>
                    <a:gdLst>
                      <a:gd name="connsiteX0" fmla="*/ 182118 w 182117"/>
                      <a:gd name="connsiteY0" fmla="*/ 76418 h 121280"/>
                      <a:gd name="connsiteX1" fmla="*/ 117157 w 182117"/>
                      <a:gd name="connsiteY1" fmla="*/ 16887 h 121280"/>
                      <a:gd name="connsiteX2" fmla="*/ 59341 w 182117"/>
                      <a:gd name="connsiteY2" fmla="*/ 19697 h 121280"/>
                      <a:gd name="connsiteX3" fmla="*/ 0 w 182117"/>
                      <a:gd name="connsiteY3" fmla="*/ 46462 h 121280"/>
                      <a:gd name="connsiteX4" fmla="*/ 111490 w 182117"/>
                      <a:gd name="connsiteY4" fmla="*/ 121281 h 12128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182117" h="121280">
                        <a:moveTo>
                          <a:pt x="182118" y="76418"/>
                        </a:moveTo>
                        <a:cubicBezTo>
                          <a:pt x="165259" y="76418"/>
                          <a:pt x="143685" y="72513"/>
                          <a:pt x="117157" y="16887"/>
                        </a:cubicBezTo>
                        <a:cubicBezTo>
                          <a:pt x="111538" y="5076"/>
                          <a:pt x="91916" y="-15689"/>
                          <a:pt x="59341" y="19697"/>
                        </a:cubicBezTo>
                        <a:cubicBezTo>
                          <a:pt x="59341" y="19697"/>
                          <a:pt x="38005" y="40461"/>
                          <a:pt x="0" y="46462"/>
                        </a:cubicBezTo>
                        <a:cubicBezTo>
                          <a:pt x="0" y="46462"/>
                          <a:pt x="37814" y="98754"/>
                          <a:pt x="111490" y="121281"/>
                        </a:cubicBezTo>
                      </a:path>
                    </a:pathLst>
                  </a:custGeom>
                  <a:noFill/>
                  <a:ln w="6350" cap="rnd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823" name="Forma livre: Forma 822">
                    <a:extLst>
                      <a:ext uri="{FF2B5EF4-FFF2-40B4-BE49-F238E27FC236}">
                        <a16:creationId xmlns:a16="http://schemas.microsoft.com/office/drawing/2014/main" id="{7E5CC696-D2F3-8AF5-B6FD-6FABF512CD16}"/>
                      </a:ext>
                    </a:extLst>
                  </p:cNvPr>
                  <p:cNvSpPr/>
                  <p:nvPr/>
                </p:nvSpPr>
                <p:spPr>
                  <a:xfrm>
                    <a:off x="8810243" y="2094881"/>
                    <a:ext cx="62150" cy="33718"/>
                  </a:xfrm>
                  <a:custGeom>
                    <a:avLst/>
                    <a:gdLst>
                      <a:gd name="connsiteX0" fmla="*/ 0 w 62150"/>
                      <a:gd name="connsiteY0" fmla="*/ 33719 h 33718"/>
                      <a:gd name="connsiteX1" fmla="*/ 62151 w 62150"/>
                      <a:gd name="connsiteY1" fmla="*/ 0 h 3371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62150" h="33718">
                        <a:moveTo>
                          <a:pt x="0" y="33719"/>
                        </a:moveTo>
                        <a:cubicBezTo>
                          <a:pt x="0" y="33719"/>
                          <a:pt x="43434" y="18764"/>
                          <a:pt x="62151" y="0"/>
                        </a:cubicBezTo>
                      </a:path>
                    </a:pathLst>
                  </a:custGeom>
                  <a:noFill/>
                  <a:ln w="6350" cap="rnd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824" name="Forma livre: Forma 823">
                    <a:extLst>
                      <a:ext uri="{FF2B5EF4-FFF2-40B4-BE49-F238E27FC236}">
                        <a16:creationId xmlns:a16="http://schemas.microsoft.com/office/drawing/2014/main" id="{75A28026-7191-72E3-892D-CEE374B3AEAE}"/>
                      </a:ext>
                    </a:extLst>
                  </p:cNvPr>
                  <p:cNvSpPr/>
                  <p:nvPr/>
                </p:nvSpPr>
                <p:spPr>
                  <a:xfrm>
                    <a:off x="8832008" y="2121836"/>
                    <a:ext cx="50387" cy="24574"/>
                  </a:xfrm>
                  <a:custGeom>
                    <a:avLst/>
                    <a:gdLst>
                      <a:gd name="connsiteX0" fmla="*/ 0 w 50387"/>
                      <a:gd name="connsiteY0" fmla="*/ 24575 h 24574"/>
                      <a:gd name="connsiteX1" fmla="*/ 50387 w 50387"/>
                      <a:gd name="connsiteY1" fmla="*/ 0 h 2457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50387" h="24574">
                        <a:moveTo>
                          <a:pt x="0" y="24575"/>
                        </a:moveTo>
                        <a:cubicBezTo>
                          <a:pt x="0" y="24575"/>
                          <a:pt x="35004" y="13716"/>
                          <a:pt x="50387" y="0"/>
                        </a:cubicBezTo>
                      </a:path>
                    </a:pathLst>
                  </a:custGeom>
                  <a:noFill/>
                  <a:ln w="6350" cap="rnd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825" name="Forma livre: Forma 824">
                    <a:extLst>
                      <a:ext uri="{FF2B5EF4-FFF2-40B4-BE49-F238E27FC236}">
                        <a16:creationId xmlns:a16="http://schemas.microsoft.com/office/drawing/2014/main" id="{EEDFD183-474F-3FBF-9CE7-2F21027CA594}"/>
                      </a:ext>
                    </a:extLst>
                  </p:cNvPr>
                  <p:cNvSpPr/>
                  <p:nvPr/>
                </p:nvSpPr>
                <p:spPr>
                  <a:xfrm>
                    <a:off x="8859202" y="2145220"/>
                    <a:ext cx="36052" cy="17478"/>
                  </a:xfrm>
                  <a:custGeom>
                    <a:avLst/>
                    <a:gdLst>
                      <a:gd name="connsiteX0" fmla="*/ 0 w 36052"/>
                      <a:gd name="connsiteY0" fmla="*/ 17478 h 17478"/>
                      <a:gd name="connsiteX1" fmla="*/ 36052 w 36052"/>
                      <a:gd name="connsiteY1" fmla="*/ 0 h 1747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36052" h="17478">
                        <a:moveTo>
                          <a:pt x="0" y="17478"/>
                        </a:moveTo>
                        <a:cubicBezTo>
                          <a:pt x="0" y="17478"/>
                          <a:pt x="24289" y="8192"/>
                          <a:pt x="36052" y="0"/>
                        </a:cubicBezTo>
                      </a:path>
                    </a:pathLst>
                  </a:custGeom>
                  <a:noFill/>
                  <a:ln w="6350" cap="rnd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  <p:sp>
              <p:nvSpPr>
                <p:cNvPr id="826" name="Forma livre: Forma 825">
                  <a:extLst>
                    <a:ext uri="{FF2B5EF4-FFF2-40B4-BE49-F238E27FC236}">
                      <a16:creationId xmlns:a16="http://schemas.microsoft.com/office/drawing/2014/main" id="{C35FDC79-E03B-5F04-956F-4098C7F0F2DA}"/>
                    </a:ext>
                  </a:extLst>
                </p:cNvPr>
                <p:cNvSpPr/>
                <p:nvPr/>
              </p:nvSpPr>
              <p:spPr>
                <a:xfrm>
                  <a:off x="8945756" y="2303859"/>
                  <a:ext cx="25030" cy="25812"/>
                </a:xfrm>
                <a:custGeom>
                  <a:avLst/>
                  <a:gdLst>
                    <a:gd name="connsiteX0" fmla="*/ 2075 w 25030"/>
                    <a:gd name="connsiteY0" fmla="*/ 0 h 25812"/>
                    <a:gd name="connsiteX1" fmla="*/ 25031 w 25030"/>
                    <a:gd name="connsiteY1" fmla="*/ 25813 h 2581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5030" h="25812">
                      <a:moveTo>
                        <a:pt x="2075" y="0"/>
                      </a:moveTo>
                      <a:cubicBezTo>
                        <a:pt x="-2925" y="6382"/>
                        <a:pt x="-210" y="15050"/>
                        <a:pt x="25031" y="25813"/>
                      </a:cubicBez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827" name="Forma livre: Forma 826">
                  <a:extLst>
                    <a:ext uri="{FF2B5EF4-FFF2-40B4-BE49-F238E27FC236}">
                      <a16:creationId xmlns:a16="http://schemas.microsoft.com/office/drawing/2014/main" id="{F21C5C53-71B0-B3F8-CE90-856707023F26}"/>
                    </a:ext>
                  </a:extLst>
                </p:cNvPr>
                <p:cNvSpPr/>
                <p:nvPr/>
              </p:nvSpPr>
              <p:spPr>
                <a:xfrm>
                  <a:off x="8973549" y="2319671"/>
                  <a:ext cx="18478" cy="10001"/>
                </a:xfrm>
                <a:custGeom>
                  <a:avLst/>
                  <a:gdLst>
                    <a:gd name="connsiteX0" fmla="*/ 18478 w 18478"/>
                    <a:gd name="connsiteY0" fmla="*/ 0 h 10001"/>
                    <a:gd name="connsiteX1" fmla="*/ 0 w 18478"/>
                    <a:gd name="connsiteY1" fmla="*/ 10001 h 1000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8478" h="10001">
                      <a:moveTo>
                        <a:pt x="18478" y="0"/>
                      </a:moveTo>
                      <a:cubicBezTo>
                        <a:pt x="14526" y="3048"/>
                        <a:pt x="8239" y="6477"/>
                        <a:pt x="0" y="10001"/>
                      </a:cubicBez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828" name="Forma livre: Forma 827">
                  <a:extLst>
                    <a:ext uri="{FF2B5EF4-FFF2-40B4-BE49-F238E27FC236}">
                      <a16:creationId xmlns:a16="http://schemas.microsoft.com/office/drawing/2014/main" id="{92933014-E2B5-F5C0-8FFE-007F693170F6}"/>
                    </a:ext>
                  </a:extLst>
                </p:cNvPr>
                <p:cNvSpPr/>
                <p:nvPr/>
              </p:nvSpPr>
              <p:spPr>
                <a:xfrm>
                  <a:off x="8921186" y="2182034"/>
                  <a:ext cx="83891" cy="97583"/>
                </a:xfrm>
                <a:custGeom>
                  <a:avLst/>
                  <a:gdLst>
                    <a:gd name="connsiteX0" fmla="*/ 8977 w 83891"/>
                    <a:gd name="connsiteY0" fmla="*/ 0 h 97583"/>
                    <a:gd name="connsiteX1" fmla="*/ 43219 w 83891"/>
                    <a:gd name="connsiteY1" fmla="*/ 54007 h 97583"/>
                    <a:gd name="connsiteX2" fmla="*/ 77557 w 83891"/>
                    <a:gd name="connsiteY2" fmla="*/ 97584 h 9758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83891" h="97583">
                      <a:moveTo>
                        <a:pt x="8977" y="0"/>
                      </a:moveTo>
                      <a:cubicBezTo>
                        <a:pt x="-11835" y="15478"/>
                        <a:pt x="5167" y="38672"/>
                        <a:pt x="43219" y="54007"/>
                      </a:cubicBezTo>
                      <a:cubicBezTo>
                        <a:pt x="43219" y="54007"/>
                        <a:pt x="103084" y="76772"/>
                        <a:pt x="77557" y="97584"/>
                      </a:cubicBez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829" name="Forma livre: Forma 828">
                  <a:extLst>
                    <a:ext uri="{FF2B5EF4-FFF2-40B4-BE49-F238E27FC236}">
                      <a16:creationId xmlns:a16="http://schemas.microsoft.com/office/drawing/2014/main" id="{F978ACE4-65D2-6E46-4231-796C33786533}"/>
                    </a:ext>
                  </a:extLst>
                </p:cNvPr>
                <p:cNvSpPr/>
                <p:nvPr/>
              </p:nvSpPr>
              <p:spPr>
                <a:xfrm>
                  <a:off x="8926552" y="2164765"/>
                  <a:ext cx="23509" cy="19440"/>
                </a:xfrm>
                <a:custGeom>
                  <a:avLst/>
                  <a:gdLst>
                    <a:gd name="connsiteX0" fmla="*/ 15898 w 23509"/>
                    <a:gd name="connsiteY0" fmla="*/ 15602 h 19440"/>
                    <a:gd name="connsiteX1" fmla="*/ 753 w 23509"/>
                    <a:gd name="connsiteY1" fmla="*/ 17459 h 19440"/>
                    <a:gd name="connsiteX2" fmla="*/ 7611 w 23509"/>
                    <a:gd name="connsiteY2" fmla="*/ 3839 h 19440"/>
                    <a:gd name="connsiteX3" fmla="*/ 22756 w 23509"/>
                    <a:gd name="connsiteY3" fmla="*/ 1981 h 19440"/>
                    <a:gd name="connsiteX4" fmla="*/ 15898 w 23509"/>
                    <a:gd name="connsiteY4" fmla="*/ 15602 h 1944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23509" h="19440">
                      <a:moveTo>
                        <a:pt x="15898" y="15602"/>
                      </a:moveTo>
                      <a:cubicBezTo>
                        <a:pt x="9802" y="19888"/>
                        <a:pt x="3039" y="20698"/>
                        <a:pt x="753" y="17459"/>
                      </a:cubicBezTo>
                      <a:cubicBezTo>
                        <a:pt x="-1533" y="14221"/>
                        <a:pt x="1563" y="8125"/>
                        <a:pt x="7611" y="3839"/>
                      </a:cubicBezTo>
                      <a:cubicBezTo>
                        <a:pt x="13707" y="-448"/>
                        <a:pt x="20470" y="-1257"/>
                        <a:pt x="22756" y="1981"/>
                      </a:cubicBezTo>
                      <a:cubicBezTo>
                        <a:pt x="25042" y="5220"/>
                        <a:pt x="21947" y="11316"/>
                        <a:pt x="15898" y="15602"/>
                      </a:cubicBezTo>
                      <a:close/>
                    </a:path>
                  </a:pathLst>
                </a:custGeom>
                <a:solidFill>
                  <a:srgbClr val="394553"/>
                </a:solidFill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830" name="Gráfico 10">
                <a:extLst>
                  <a:ext uri="{FF2B5EF4-FFF2-40B4-BE49-F238E27FC236}">
                    <a16:creationId xmlns:a16="http://schemas.microsoft.com/office/drawing/2014/main" id="{C7585FE1-9C82-0504-5B07-CC2AC7C2DE0B}"/>
                  </a:ext>
                </a:extLst>
              </p:cNvPr>
              <p:cNvGrpSpPr/>
              <p:nvPr/>
            </p:nvGrpSpPr>
            <p:grpSpPr>
              <a:xfrm>
                <a:off x="8939302" y="2059325"/>
                <a:ext cx="216651" cy="260345"/>
                <a:chOff x="8939302" y="2059325"/>
                <a:chExt cx="216651" cy="260345"/>
              </a:xfrm>
            </p:grpSpPr>
            <p:grpSp>
              <p:nvGrpSpPr>
                <p:cNvPr id="831" name="Gráfico 10">
                  <a:extLst>
                    <a:ext uri="{FF2B5EF4-FFF2-40B4-BE49-F238E27FC236}">
                      <a16:creationId xmlns:a16="http://schemas.microsoft.com/office/drawing/2014/main" id="{15B7526F-4957-9CD3-2105-E4A719BFA18D}"/>
                    </a:ext>
                  </a:extLst>
                </p:cNvPr>
                <p:cNvGrpSpPr/>
                <p:nvPr/>
              </p:nvGrpSpPr>
              <p:grpSpPr>
                <a:xfrm>
                  <a:off x="8973787" y="2059325"/>
                  <a:ext cx="182165" cy="121280"/>
                  <a:chOff x="8973787" y="2059325"/>
                  <a:chExt cx="182165" cy="121280"/>
                </a:xfrm>
                <a:noFill/>
              </p:grpSpPr>
              <p:sp>
                <p:nvSpPr>
                  <p:cNvPr id="832" name="Forma livre: Forma 831">
                    <a:extLst>
                      <a:ext uri="{FF2B5EF4-FFF2-40B4-BE49-F238E27FC236}">
                        <a16:creationId xmlns:a16="http://schemas.microsoft.com/office/drawing/2014/main" id="{EA1BDDF7-A5D2-1450-40F7-08B7FD316B46}"/>
                      </a:ext>
                    </a:extLst>
                  </p:cNvPr>
                  <p:cNvSpPr/>
                  <p:nvPr/>
                </p:nvSpPr>
                <p:spPr>
                  <a:xfrm>
                    <a:off x="8973787" y="2059325"/>
                    <a:ext cx="182165" cy="121280"/>
                  </a:xfrm>
                  <a:custGeom>
                    <a:avLst/>
                    <a:gdLst>
                      <a:gd name="connsiteX0" fmla="*/ 0 w 182165"/>
                      <a:gd name="connsiteY0" fmla="*/ 76418 h 121280"/>
                      <a:gd name="connsiteX1" fmla="*/ 64960 w 182165"/>
                      <a:gd name="connsiteY1" fmla="*/ 16887 h 121280"/>
                      <a:gd name="connsiteX2" fmla="*/ 122825 w 182165"/>
                      <a:gd name="connsiteY2" fmla="*/ 19697 h 121280"/>
                      <a:gd name="connsiteX3" fmla="*/ 182166 w 182165"/>
                      <a:gd name="connsiteY3" fmla="*/ 46462 h 121280"/>
                      <a:gd name="connsiteX4" fmla="*/ 70675 w 182165"/>
                      <a:gd name="connsiteY4" fmla="*/ 121281 h 12128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182165" h="121280">
                        <a:moveTo>
                          <a:pt x="0" y="76418"/>
                        </a:moveTo>
                        <a:cubicBezTo>
                          <a:pt x="16859" y="76418"/>
                          <a:pt x="38433" y="72513"/>
                          <a:pt x="64960" y="16887"/>
                        </a:cubicBezTo>
                        <a:cubicBezTo>
                          <a:pt x="70580" y="5076"/>
                          <a:pt x="90249" y="-15689"/>
                          <a:pt x="122825" y="19697"/>
                        </a:cubicBezTo>
                        <a:cubicBezTo>
                          <a:pt x="122825" y="19697"/>
                          <a:pt x="144161" y="40461"/>
                          <a:pt x="182166" y="46462"/>
                        </a:cubicBezTo>
                        <a:cubicBezTo>
                          <a:pt x="182166" y="46462"/>
                          <a:pt x="144351" y="98754"/>
                          <a:pt x="70675" y="121281"/>
                        </a:cubicBezTo>
                      </a:path>
                    </a:pathLst>
                  </a:custGeom>
                  <a:noFill/>
                  <a:ln w="6350" cap="rnd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833" name="Forma livre: Forma 832">
                    <a:extLst>
                      <a:ext uri="{FF2B5EF4-FFF2-40B4-BE49-F238E27FC236}">
                        <a16:creationId xmlns:a16="http://schemas.microsoft.com/office/drawing/2014/main" id="{224B0E44-CFDC-D3B9-0740-9A190C5E792C}"/>
                      </a:ext>
                    </a:extLst>
                  </p:cNvPr>
                  <p:cNvSpPr/>
                  <p:nvPr/>
                </p:nvSpPr>
                <p:spPr>
                  <a:xfrm>
                    <a:off x="9071895" y="2094881"/>
                    <a:ext cx="62150" cy="33718"/>
                  </a:xfrm>
                  <a:custGeom>
                    <a:avLst/>
                    <a:gdLst>
                      <a:gd name="connsiteX0" fmla="*/ 62151 w 62150"/>
                      <a:gd name="connsiteY0" fmla="*/ 33719 h 33718"/>
                      <a:gd name="connsiteX1" fmla="*/ 0 w 62150"/>
                      <a:gd name="connsiteY1" fmla="*/ 0 h 3371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62150" h="33718">
                        <a:moveTo>
                          <a:pt x="62151" y="33719"/>
                        </a:moveTo>
                        <a:cubicBezTo>
                          <a:pt x="62151" y="33719"/>
                          <a:pt x="18717" y="18764"/>
                          <a:pt x="0" y="0"/>
                        </a:cubicBezTo>
                      </a:path>
                    </a:pathLst>
                  </a:custGeom>
                  <a:noFill/>
                  <a:ln w="6350" cap="rnd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834" name="Forma livre: Forma 833">
                    <a:extLst>
                      <a:ext uri="{FF2B5EF4-FFF2-40B4-BE49-F238E27FC236}">
                        <a16:creationId xmlns:a16="http://schemas.microsoft.com/office/drawing/2014/main" id="{A425CF88-2709-B83D-B14A-C033F98EF2C4}"/>
                      </a:ext>
                    </a:extLst>
                  </p:cNvPr>
                  <p:cNvSpPr/>
                  <p:nvPr/>
                </p:nvSpPr>
                <p:spPr>
                  <a:xfrm>
                    <a:off x="9061941" y="2121836"/>
                    <a:ext cx="50387" cy="24574"/>
                  </a:xfrm>
                  <a:custGeom>
                    <a:avLst/>
                    <a:gdLst>
                      <a:gd name="connsiteX0" fmla="*/ 50387 w 50387"/>
                      <a:gd name="connsiteY0" fmla="*/ 24575 h 24574"/>
                      <a:gd name="connsiteX1" fmla="*/ 0 w 50387"/>
                      <a:gd name="connsiteY1" fmla="*/ 0 h 2457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50387" h="24574">
                        <a:moveTo>
                          <a:pt x="50387" y="24575"/>
                        </a:moveTo>
                        <a:cubicBezTo>
                          <a:pt x="50387" y="24575"/>
                          <a:pt x="15383" y="13716"/>
                          <a:pt x="0" y="0"/>
                        </a:cubicBezTo>
                      </a:path>
                    </a:pathLst>
                  </a:custGeom>
                  <a:noFill/>
                  <a:ln w="6350" cap="rnd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835" name="Forma livre: Forma 834">
                    <a:extLst>
                      <a:ext uri="{FF2B5EF4-FFF2-40B4-BE49-F238E27FC236}">
                        <a16:creationId xmlns:a16="http://schemas.microsoft.com/office/drawing/2014/main" id="{F9ECF9FA-57BE-A8CB-7E6A-67CE58AB3C90}"/>
                      </a:ext>
                    </a:extLst>
                  </p:cNvPr>
                  <p:cNvSpPr/>
                  <p:nvPr/>
                </p:nvSpPr>
                <p:spPr>
                  <a:xfrm>
                    <a:off x="9049035" y="2145220"/>
                    <a:ext cx="36052" cy="17478"/>
                  </a:xfrm>
                  <a:custGeom>
                    <a:avLst/>
                    <a:gdLst>
                      <a:gd name="connsiteX0" fmla="*/ 36052 w 36052"/>
                      <a:gd name="connsiteY0" fmla="*/ 17478 h 17478"/>
                      <a:gd name="connsiteX1" fmla="*/ 0 w 36052"/>
                      <a:gd name="connsiteY1" fmla="*/ 0 h 1747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36052" h="17478">
                        <a:moveTo>
                          <a:pt x="36052" y="17478"/>
                        </a:moveTo>
                        <a:cubicBezTo>
                          <a:pt x="36052" y="17478"/>
                          <a:pt x="11763" y="8192"/>
                          <a:pt x="0" y="0"/>
                        </a:cubicBezTo>
                      </a:path>
                    </a:pathLst>
                  </a:custGeom>
                  <a:noFill/>
                  <a:ln w="6350" cap="rnd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  <p:sp>
              <p:nvSpPr>
                <p:cNvPr id="836" name="Forma livre: Forma 835">
                  <a:extLst>
                    <a:ext uri="{FF2B5EF4-FFF2-40B4-BE49-F238E27FC236}">
                      <a16:creationId xmlns:a16="http://schemas.microsoft.com/office/drawing/2014/main" id="{D7276B8F-5CAE-810B-95DD-F3D0B97AA0FD}"/>
                    </a:ext>
                  </a:extLst>
                </p:cNvPr>
                <p:cNvSpPr/>
                <p:nvPr/>
              </p:nvSpPr>
              <p:spPr>
                <a:xfrm>
                  <a:off x="8939302" y="2251138"/>
                  <a:ext cx="59312" cy="68532"/>
                </a:xfrm>
                <a:custGeom>
                  <a:avLst/>
                  <a:gdLst>
                    <a:gd name="connsiteX0" fmla="*/ 12388 w 59312"/>
                    <a:gd name="connsiteY0" fmla="*/ 0 h 68532"/>
                    <a:gd name="connsiteX1" fmla="*/ 31438 w 59312"/>
                    <a:gd name="connsiteY1" fmla="*/ 40053 h 68532"/>
                    <a:gd name="connsiteX2" fmla="*/ 52726 w 59312"/>
                    <a:gd name="connsiteY2" fmla="*/ 68532 h 6853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59312" h="68532">
                      <a:moveTo>
                        <a:pt x="12388" y="0"/>
                      </a:moveTo>
                      <a:cubicBezTo>
                        <a:pt x="-2948" y="11382"/>
                        <a:pt x="-11139" y="27242"/>
                        <a:pt x="31438" y="40053"/>
                      </a:cubicBezTo>
                      <a:cubicBezTo>
                        <a:pt x="31438" y="40053"/>
                        <a:pt x="75634" y="50292"/>
                        <a:pt x="52726" y="68532"/>
                      </a:cubicBez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837" name="Forma livre: Forma 836">
                  <a:extLst>
                    <a:ext uri="{FF2B5EF4-FFF2-40B4-BE49-F238E27FC236}">
                      <a16:creationId xmlns:a16="http://schemas.microsoft.com/office/drawing/2014/main" id="{C613A9CB-175A-1F9B-5C32-FB809D6B6812}"/>
                    </a:ext>
                  </a:extLst>
                </p:cNvPr>
                <p:cNvSpPr/>
                <p:nvPr/>
              </p:nvSpPr>
              <p:spPr>
                <a:xfrm>
                  <a:off x="8999457" y="2182034"/>
                  <a:ext cx="23695" cy="44386"/>
                </a:xfrm>
                <a:custGeom>
                  <a:avLst/>
                  <a:gdLst>
                    <a:gd name="connsiteX0" fmla="*/ 14716 w 23695"/>
                    <a:gd name="connsiteY0" fmla="*/ 0 h 44386"/>
                    <a:gd name="connsiteX1" fmla="*/ 0 w 23695"/>
                    <a:gd name="connsiteY1" fmla="*/ 44386 h 4438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3695" h="44386">
                      <a:moveTo>
                        <a:pt x="14716" y="0"/>
                      </a:moveTo>
                      <a:cubicBezTo>
                        <a:pt x="31528" y="12478"/>
                        <a:pt x="23670" y="30004"/>
                        <a:pt x="0" y="44386"/>
                      </a:cubicBez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838" name="Forma livre: Forma 837">
                  <a:extLst>
                    <a:ext uri="{FF2B5EF4-FFF2-40B4-BE49-F238E27FC236}">
                      <a16:creationId xmlns:a16="http://schemas.microsoft.com/office/drawing/2014/main" id="{1C86C041-D6BF-F24F-D939-1C56418A3E59}"/>
                    </a:ext>
                  </a:extLst>
                </p:cNvPr>
                <p:cNvSpPr/>
                <p:nvPr/>
              </p:nvSpPr>
              <p:spPr>
                <a:xfrm>
                  <a:off x="8994227" y="2164765"/>
                  <a:ext cx="23509" cy="19440"/>
                </a:xfrm>
                <a:custGeom>
                  <a:avLst/>
                  <a:gdLst>
                    <a:gd name="connsiteX0" fmla="*/ 7611 w 23509"/>
                    <a:gd name="connsiteY0" fmla="*/ 15602 h 19440"/>
                    <a:gd name="connsiteX1" fmla="*/ 22756 w 23509"/>
                    <a:gd name="connsiteY1" fmla="*/ 17459 h 19440"/>
                    <a:gd name="connsiteX2" fmla="*/ 15898 w 23509"/>
                    <a:gd name="connsiteY2" fmla="*/ 3839 h 19440"/>
                    <a:gd name="connsiteX3" fmla="*/ 753 w 23509"/>
                    <a:gd name="connsiteY3" fmla="*/ 1981 h 19440"/>
                    <a:gd name="connsiteX4" fmla="*/ 7611 w 23509"/>
                    <a:gd name="connsiteY4" fmla="*/ 15602 h 1944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23509" h="19440">
                      <a:moveTo>
                        <a:pt x="7611" y="15602"/>
                      </a:moveTo>
                      <a:cubicBezTo>
                        <a:pt x="13707" y="19888"/>
                        <a:pt x="20470" y="20698"/>
                        <a:pt x="22756" y="17459"/>
                      </a:cubicBezTo>
                      <a:cubicBezTo>
                        <a:pt x="25042" y="14221"/>
                        <a:pt x="21947" y="8125"/>
                        <a:pt x="15898" y="3839"/>
                      </a:cubicBezTo>
                      <a:cubicBezTo>
                        <a:pt x="9802" y="-448"/>
                        <a:pt x="3039" y="-1257"/>
                        <a:pt x="753" y="1981"/>
                      </a:cubicBezTo>
                      <a:cubicBezTo>
                        <a:pt x="-1533" y="5220"/>
                        <a:pt x="1563" y="11316"/>
                        <a:pt x="7611" y="15602"/>
                      </a:cubicBezTo>
                      <a:close/>
                    </a:path>
                  </a:pathLst>
                </a:custGeom>
                <a:solidFill>
                  <a:srgbClr val="394553"/>
                </a:solidFill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</p:grpSp>
      <p:grpSp>
        <p:nvGrpSpPr>
          <p:cNvPr id="839" name="Gráfico 10">
            <a:extLst>
              <a:ext uri="{FF2B5EF4-FFF2-40B4-BE49-F238E27FC236}">
                <a16:creationId xmlns:a16="http://schemas.microsoft.com/office/drawing/2014/main" id="{0B922763-1574-E1B6-41FB-60DA2EF835FE}"/>
              </a:ext>
            </a:extLst>
          </p:cNvPr>
          <p:cNvGrpSpPr/>
          <p:nvPr/>
        </p:nvGrpSpPr>
        <p:grpSpPr>
          <a:xfrm>
            <a:off x="8833294" y="1544406"/>
            <a:ext cx="277755" cy="266963"/>
            <a:chOff x="8833294" y="1544406"/>
            <a:chExt cx="277755" cy="266963"/>
          </a:xfrm>
          <a:noFill/>
        </p:grpSpPr>
        <p:sp>
          <p:nvSpPr>
            <p:cNvPr id="840" name="Forma livre: Forma 839">
              <a:extLst>
                <a:ext uri="{FF2B5EF4-FFF2-40B4-BE49-F238E27FC236}">
                  <a16:creationId xmlns:a16="http://schemas.microsoft.com/office/drawing/2014/main" id="{FC3C6B23-24D6-9E81-37FA-33E6417FB4FA}"/>
                </a:ext>
              </a:extLst>
            </p:cNvPr>
            <p:cNvSpPr/>
            <p:nvPr/>
          </p:nvSpPr>
          <p:spPr>
            <a:xfrm>
              <a:off x="8897206" y="1544406"/>
              <a:ext cx="213842" cy="180285"/>
            </a:xfrm>
            <a:custGeom>
              <a:avLst/>
              <a:gdLst>
                <a:gd name="connsiteX0" fmla="*/ 205597 w 213842"/>
                <a:gd name="connsiteY0" fmla="*/ 8216 h 180285"/>
                <a:gd name="connsiteX1" fmla="*/ 162877 w 213842"/>
                <a:gd name="connsiteY1" fmla="*/ 9455 h 180285"/>
                <a:gd name="connsiteX2" fmla="*/ 0 w 213842"/>
                <a:gd name="connsiteY2" fmla="*/ 172332 h 180285"/>
                <a:gd name="connsiteX3" fmla="*/ 75057 w 213842"/>
                <a:gd name="connsiteY3" fmla="*/ 180286 h 180285"/>
                <a:gd name="connsiteX4" fmla="*/ 204406 w 213842"/>
                <a:gd name="connsiteY4" fmla="*/ 50936 h 180285"/>
                <a:gd name="connsiteX5" fmla="*/ 205645 w 213842"/>
                <a:gd name="connsiteY5" fmla="*/ 8216 h 1802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13842" h="180285">
                  <a:moveTo>
                    <a:pt x="205597" y="8216"/>
                  </a:moveTo>
                  <a:cubicBezTo>
                    <a:pt x="194167" y="-3214"/>
                    <a:pt x="174974" y="-2642"/>
                    <a:pt x="162877" y="9455"/>
                  </a:cubicBezTo>
                  <a:lnTo>
                    <a:pt x="0" y="172332"/>
                  </a:lnTo>
                  <a:lnTo>
                    <a:pt x="75057" y="180286"/>
                  </a:lnTo>
                  <a:lnTo>
                    <a:pt x="204406" y="50936"/>
                  </a:lnTo>
                  <a:cubicBezTo>
                    <a:pt x="216503" y="38839"/>
                    <a:pt x="217027" y="19646"/>
                    <a:pt x="205645" y="8216"/>
                  </a:cubicBez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41" name="Forma livre: Forma 840">
              <a:extLst>
                <a:ext uri="{FF2B5EF4-FFF2-40B4-BE49-F238E27FC236}">
                  <a16:creationId xmlns:a16="http://schemas.microsoft.com/office/drawing/2014/main" id="{EAD24E0A-63B3-DA36-39DB-C6470050BACF}"/>
                </a:ext>
              </a:extLst>
            </p:cNvPr>
            <p:cNvSpPr/>
            <p:nvPr/>
          </p:nvSpPr>
          <p:spPr>
            <a:xfrm>
              <a:off x="8833294" y="1724596"/>
              <a:ext cx="128063" cy="80724"/>
            </a:xfrm>
            <a:custGeom>
              <a:avLst/>
              <a:gdLst>
                <a:gd name="connsiteX0" fmla="*/ 128064 w 128063"/>
                <a:gd name="connsiteY0" fmla="*/ 0 h 80724"/>
                <a:gd name="connsiteX1" fmla="*/ 63389 w 128063"/>
                <a:gd name="connsiteY1" fmla="*/ 64675 h 80724"/>
                <a:gd name="connsiteX2" fmla="*/ 0 w 128063"/>
                <a:gd name="connsiteY2" fmla="*/ 80724 h 80724"/>
                <a:gd name="connsiteX3" fmla="*/ 66437 w 128063"/>
                <a:gd name="connsiteY3" fmla="*/ 14287 h 807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8063" h="80724">
                  <a:moveTo>
                    <a:pt x="128064" y="0"/>
                  </a:moveTo>
                  <a:lnTo>
                    <a:pt x="63389" y="64675"/>
                  </a:lnTo>
                  <a:lnTo>
                    <a:pt x="0" y="80724"/>
                  </a:lnTo>
                  <a:lnTo>
                    <a:pt x="66437" y="14287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42" name="Forma livre: Forma 841">
              <a:extLst>
                <a:ext uri="{FF2B5EF4-FFF2-40B4-BE49-F238E27FC236}">
                  <a16:creationId xmlns:a16="http://schemas.microsoft.com/office/drawing/2014/main" id="{1BC2B69A-DEE4-AE12-E6E7-0D997F4E51DF}"/>
                </a:ext>
              </a:extLst>
            </p:cNvPr>
            <p:cNvSpPr/>
            <p:nvPr/>
          </p:nvSpPr>
          <p:spPr>
            <a:xfrm>
              <a:off x="8905827" y="1811369"/>
              <a:ext cx="106965" cy="4762"/>
            </a:xfrm>
            <a:custGeom>
              <a:avLst/>
              <a:gdLst>
                <a:gd name="connsiteX0" fmla="*/ 0 w 106965"/>
                <a:gd name="connsiteY0" fmla="*/ 0 h 4762"/>
                <a:gd name="connsiteX1" fmla="*/ 106966 w 106965"/>
                <a:gd name="connsiteY1" fmla="*/ 0 h 47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6965" h="4762">
                  <a:moveTo>
                    <a:pt x="0" y="0"/>
                  </a:moveTo>
                  <a:lnTo>
                    <a:pt x="106966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43" name="Forma livre: Forma 842">
              <a:extLst>
                <a:ext uri="{FF2B5EF4-FFF2-40B4-BE49-F238E27FC236}">
                  <a16:creationId xmlns:a16="http://schemas.microsoft.com/office/drawing/2014/main" id="{A6DFF035-2E04-5550-1E50-8AC11FFEF48B}"/>
                </a:ext>
              </a:extLst>
            </p:cNvPr>
            <p:cNvSpPr/>
            <p:nvPr/>
          </p:nvSpPr>
          <p:spPr>
            <a:xfrm>
              <a:off x="8953499" y="1695831"/>
              <a:ext cx="43052" cy="4571"/>
            </a:xfrm>
            <a:custGeom>
              <a:avLst/>
              <a:gdLst>
                <a:gd name="connsiteX0" fmla="*/ 0 w 43052"/>
                <a:gd name="connsiteY0" fmla="*/ 0 h 4571"/>
                <a:gd name="connsiteX1" fmla="*/ 43053 w 43052"/>
                <a:gd name="connsiteY1" fmla="*/ 4572 h 45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3052" h="4571">
                  <a:moveTo>
                    <a:pt x="0" y="0"/>
                  </a:moveTo>
                  <a:lnTo>
                    <a:pt x="43053" y="4572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44" name="Forma livre: Forma 843">
              <a:extLst>
                <a:ext uri="{FF2B5EF4-FFF2-40B4-BE49-F238E27FC236}">
                  <a16:creationId xmlns:a16="http://schemas.microsoft.com/office/drawing/2014/main" id="{A6EC30D5-1AA6-413F-DCA7-08DC071BD92E}"/>
                </a:ext>
              </a:extLst>
            </p:cNvPr>
            <p:cNvSpPr/>
            <p:nvPr/>
          </p:nvSpPr>
          <p:spPr>
            <a:xfrm>
              <a:off x="8975026" y="1674161"/>
              <a:ext cx="43052" cy="4571"/>
            </a:xfrm>
            <a:custGeom>
              <a:avLst/>
              <a:gdLst>
                <a:gd name="connsiteX0" fmla="*/ 0 w 43052"/>
                <a:gd name="connsiteY0" fmla="*/ 0 h 4571"/>
                <a:gd name="connsiteX1" fmla="*/ 43053 w 43052"/>
                <a:gd name="connsiteY1" fmla="*/ 4572 h 45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3052" h="4571">
                  <a:moveTo>
                    <a:pt x="0" y="0"/>
                  </a:moveTo>
                  <a:lnTo>
                    <a:pt x="43053" y="4572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45" name="Forma livre: Forma 844">
              <a:extLst>
                <a:ext uri="{FF2B5EF4-FFF2-40B4-BE49-F238E27FC236}">
                  <a16:creationId xmlns:a16="http://schemas.microsoft.com/office/drawing/2014/main" id="{4B96CC25-0A32-E528-0F8C-83690391351C}"/>
                </a:ext>
              </a:extLst>
            </p:cNvPr>
            <p:cNvSpPr/>
            <p:nvPr/>
          </p:nvSpPr>
          <p:spPr>
            <a:xfrm>
              <a:off x="8996838" y="1652492"/>
              <a:ext cx="43100" cy="4571"/>
            </a:xfrm>
            <a:custGeom>
              <a:avLst/>
              <a:gdLst>
                <a:gd name="connsiteX0" fmla="*/ 0 w 43100"/>
                <a:gd name="connsiteY0" fmla="*/ 0 h 4571"/>
                <a:gd name="connsiteX1" fmla="*/ 43101 w 43100"/>
                <a:gd name="connsiteY1" fmla="*/ 4572 h 45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3100" h="4571">
                  <a:moveTo>
                    <a:pt x="0" y="0"/>
                  </a:moveTo>
                  <a:lnTo>
                    <a:pt x="43101" y="4572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846" name="Gráfico 10">
            <a:extLst>
              <a:ext uri="{FF2B5EF4-FFF2-40B4-BE49-F238E27FC236}">
                <a16:creationId xmlns:a16="http://schemas.microsoft.com/office/drawing/2014/main" id="{EB3B1868-64DC-ED0B-2C7A-DB0C5AA18F6A}"/>
              </a:ext>
            </a:extLst>
          </p:cNvPr>
          <p:cNvGrpSpPr/>
          <p:nvPr/>
        </p:nvGrpSpPr>
        <p:grpSpPr>
          <a:xfrm>
            <a:off x="8235119" y="991791"/>
            <a:ext cx="234272" cy="315753"/>
            <a:chOff x="8235119" y="991791"/>
            <a:chExt cx="234272" cy="315753"/>
          </a:xfrm>
          <a:noFill/>
        </p:grpSpPr>
        <p:sp>
          <p:nvSpPr>
            <p:cNvPr id="847" name="Forma livre: Forma 846">
              <a:extLst>
                <a:ext uri="{FF2B5EF4-FFF2-40B4-BE49-F238E27FC236}">
                  <a16:creationId xmlns:a16="http://schemas.microsoft.com/office/drawing/2014/main" id="{87B32CB7-BBB5-7393-2807-C10C42E804BC}"/>
                </a:ext>
              </a:extLst>
            </p:cNvPr>
            <p:cNvSpPr/>
            <p:nvPr/>
          </p:nvSpPr>
          <p:spPr>
            <a:xfrm>
              <a:off x="8394715" y="1140238"/>
              <a:ext cx="74675" cy="108061"/>
            </a:xfrm>
            <a:custGeom>
              <a:avLst/>
              <a:gdLst>
                <a:gd name="connsiteX0" fmla="*/ 74676 w 74675"/>
                <a:gd name="connsiteY0" fmla="*/ 108061 h 108061"/>
                <a:gd name="connsiteX1" fmla="*/ 68580 w 74675"/>
                <a:gd name="connsiteY1" fmla="*/ 37052 h 108061"/>
                <a:gd name="connsiteX2" fmla="*/ 34242 w 74675"/>
                <a:gd name="connsiteY2" fmla="*/ 5620 h 108061"/>
                <a:gd name="connsiteX3" fmla="*/ 0 w 74675"/>
                <a:gd name="connsiteY3" fmla="*/ 0 h 1080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4675" h="108061">
                  <a:moveTo>
                    <a:pt x="74676" y="108061"/>
                  </a:moveTo>
                  <a:lnTo>
                    <a:pt x="68580" y="37052"/>
                  </a:lnTo>
                  <a:cubicBezTo>
                    <a:pt x="64579" y="11573"/>
                    <a:pt x="34242" y="5620"/>
                    <a:pt x="34242" y="5620"/>
                  </a:cubicBezTo>
                  <a:lnTo>
                    <a:pt x="0" y="0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848" name="Gráfico 10">
              <a:extLst>
                <a:ext uri="{FF2B5EF4-FFF2-40B4-BE49-F238E27FC236}">
                  <a16:creationId xmlns:a16="http://schemas.microsoft.com/office/drawing/2014/main" id="{C30F0AE7-071F-3A30-59DA-EB071EBFA1D1}"/>
                </a:ext>
              </a:extLst>
            </p:cNvPr>
            <p:cNvGrpSpPr/>
            <p:nvPr/>
          </p:nvGrpSpPr>
          <p:grpSpPr>
            <a:xfrm>
              <a:off x="8303638" y="991791"/>
              <a:ext cx="99589" cy="132540"/>
              <a:chOff x="8303638" y="991791"/>
              <a:chExt cx="99589" cy="132540"/>
            </a:xfrm>
            <a:noFill/>
          </p:grpSpPr>
          <p:sp>
            <p:nvSpPr>
              <p:cNvPr id="849" name="Forma livre: Forma 848">
                <a:extLst>
                  <a:ext uri="{FF2B5EF4-FFF2-40B4-BE49-F238E27FC236}">
                    <a16:creationId xmlns:a16="http://schemas.microsoft.com/office/drawing/2014/main" id="{6A4E7036-FA91-2296-F5E7-D7FC6468E751}"/>
                  </a:ext>
                </a:extLst>
              </p:cNvPr>
              <p:cNvSpPr/>
              <p:nvPr/>
            </p:nvSpPr>
            <p:spPr>
              <a:xfrm>
                <a:off x="8303638" y="991791"/>
                <a:ext cx="99589" cy="132540"/>
              </a:xfrm>
              <a:custGeom>
                <a:avLst/>
                <a:gdLst>
                  <a:gd name="connsiteX0" fmla="*/ 49786 w 99589"/>
                  <a:gd name="connsiteY0" fmla="*/ 0 h 132540"/>
                  <a:gd name="connsiteX1" fmla="*/ 1018 w 99589"/>
                  <a:gd name="connsiteY1" fmla="*/ 66294 h 132540"/>
                  <a:gd name="connsiteX2" fmla="*/ 49786 w 99589"/>
                  <a:gd name="connsiteY2" fmla="*/ 132540 h 132540"/>
                  <a:gd name="connsiteX3" fmla="*/ 98554 w 99589"/>
                  <a:gd name="connsiteY3" fmla="*/ 66294 h 132540"/>
                  <a:gd name="connsiteX4" fmla="*/ 49786 w 99589"/>
                  <a:gd name="connsiteY4" fmla="*/ 0 h 1325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99589" h="132540">
                    <a:moveTo>
                      <a:pt x="49786" y="0"/>
                    </a:moveTo>
                    <a:cubicBezTo>
                      <a:pt x="304" y="0"/>
                      <a:pt x="-2411" y="29908"/>
                      <a:pt x="1018" y="66294"/>
                    </a:cubicBezTo>
                    <a:cubicBezTo>
                      <a:pt x="4495" y="102727"/>
                      <a:pt x="27402" y="132540"/>
                      <a:pt x="49786" y="132540"/>
                    </a:cubicBezTo>
                    <a:cubicBezTo>
                      <a:pt x="72170" y="132540"/>
                      <a:pt x="95077" y="102727"/>
                      <a:pt x="98554" y="66294"/>
                    </a:cubicBezTo>
                    <a:cubicBezTo>
                      <a:pt x="102031" y="29908"/>
                      <a:pt x="99268" y="0"/>
                      <a:pt x="49786" y="0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850" name="Forma livre: Forma 849">
                <a:extLst>
                  <a:ext uri="{FF2B5EF4-FFF2-40B4-BE49-F238E27FC236}">
                    <a16:creationId xmlns:a16="http://schemas.microsoft.com/office/drawing/2014/main" id="{153501EF-44A9-8533-D5C3-C15E6E699495}"/>
                  </a:ext>
                </a:extLst>
              </p:cNvPr>
              <p:cNvSpPr/>
              <p:nvPr/>
            </p:nvSpPr>
            <p:spPr>
              <a:xfrm>
                <a:off x="8328755" y="1021175"/>
                <a:ext cx="39290" cy="24764"/>
              </a:xfrm>
              <a:custGeom>
                <a:avLst/>
                <a:gdLst>
                  <a:gd name="connsiteX0" fmla="*/ 39291 w 39290"/>
                  <a:gd name="connsiteY0" fmla="*/ 0 h 24764"/>
                  <a:gd name="connsiteX1" fmla="*/ 0 w 39290"/>
                  <a:gd name="connsiteY1" fmla="*/ 24765 h 247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9290" h="24764">
                    <a:moveTo>
                      <a:pt x="39291" y="0"/>
                    </a:moveTo>
                    <a:cubicBezTo>
                      <a:pt x="39291" y="0"/>
                      <a:pt x="34385" y="23193"/>
                      <a:pt x="0" y="24765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851" name="Forma livre: Forma 850">
                <a:extLst>
                  <a:ext uri="{FF2B5EF4-FFF2-40B4-BE49-F238E27FC236}">
                    <a16:creationId xmlns:a16="http://schemas.microsoft.com/office/drawing/2014/main" id="{17571688-92E6-D6AE-AF73-60F087EB0E3C}"/>
                  </a:ext>
                </a:extLst>
              </p:cNvPr>
              <p:cNvSpPr/>
              <p:nvPr/>
            </p:nvSpPr>
            <p:spPr>
              <a:xfrm>
                <a:off x="8363711" y="1031224"/>
                <a:ext cx="37909" cy="17097"/>
              </a:xfrm>
              <a:custGeom>
                <a:avLst/>
                <a:gdLst>
                  <a:gd name="connsiteX0" fmla="*/ 0 w 37909"/>
                  <a:gd name="connsiteY0" fmla="*/ 0 h 17097"/>
                  <a:gd name="connsiteX1" fmla="*/ 37909 w 37909"/>
                  <a:gd name="connsiteY1" fmla="*/ 17097 h 170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7909" h="17097">
                    <a:moveTo>
                      <a:pt x="0" y="0"/>
                    </a:moveTo>
                    <a:cubicBezTo>
                      <a:pt x="0" y="0"/>
                      <a:pt x="17002" y="11668"/>
                      <a:pt x="37909" y="17097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852" name="Forma livre: Forma 851">
              <a:extLst>
                <a:ext uri="{FF2B5EF4-FFF2-40B4-BE49-F238E27FC236}">
                  <a16:creationId xmlns:a16="http://schemas.microsoft.com/office/drawing/2014/main" id="{72BBC9A6-D459-59CD-D2E7-5FDBC209FF08}"/>
                </a:ext>
              </a:extLst>
            </p:cNvPr>
            <p:cNvSpPr/>
            <p:nvPr/>
          </p:nvSpPr>
          <p:spPr>
            <a:xfrm>
              <a:off x="8285654" y="1144429"/>
              <a:ext cx="132683" cy="162591"/>
            </a:xfrm>
            <a:custGeom>
              <a:avLst/>
              <a:gdLst>
                <a:gd name="connsiteX0" fmla="*/ 132683 w 132683"/>
                <a:gd name="connsiteY0" fmla="*/ 0 h 162591"/>
                <a:gd name="connsiteX1" fmla="*/ 0 w 132683"/>
                <a:gd name="connsiteY1" fmla="*/ 162592 h 1625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32683" h="162591">
                  <a:moveTo>
                    <a:pt x="132683" y="0"/>
                  </a:moveTo>
                  <a:lnTo>
                    <a:pt x="0" y="162592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53" name="Forma livre: Forma 852">
              <a:extLst>
                <a:ext uri="{FF2B5EF4-FFF2-40B4-BE49-F238E27FC236}">
                  <a16:creationId xmlns:a16="http://schemas.microsoft.com/office/drawing/2014/main" id="{A90DE1A2-E70A-7396-147F-3BAAA02CDBB4}"/>
                </a:ext>
              </a:extLst>
            </p:cNvPr>
            <p:cNvSpPr/>
            <p:nvPr/>
          </p:nvSpPr>
          <p:spPr>
            <a:xfrm>
              <a:off x="8331612" y="1150191"/>
              <a:ext cx="108251" cy="156829"/>
            </a:xfrm>
            <a:custGeom>
              <a:avLst/>
              <a:gdLst>
                <a:gd name="connsiteX0" fmla="*/ 108252 w 108251"/>
                <a:gd name="connsiteY0" fmla="*/ 0 h 156829"/>
                <a:gd name="connsiteX1" fmla="*/ 0 w 108251"/>
                <a:gd name="connsiteY1" fmla="*/ 156829 h 1568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8251" h="156829">
                  <a:moveTo>
                    <a:pt x="108252" y="0"/>
                  </a:moveTo>
                  <a:lnTo>
                    <a:pt x="0" y="156829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54" name="Forma livre: Forma 853">
              <a:extLst>
                <a:ext uri="{FF2B5EF4-FFF2-40B4-BE49-F238E27FC236}">
                  <a16:creationId xmlns:a16="http://schemas.microsoft.com/office/drawing/2014/main" id="{3E076744-F3BB-E7CC-4209-A6FEC78D69FB}"/>
                </a:ext>
              </a:extLst>
            </p:cNvPr>
            <p:cNvSpPr/>
            <p:nvPr/>
          </p:nvSpPr>
          <p:spPr>
            <a:xfrm>
              <a:off x="8368283" y="1261348"/>
              <a:ext cx="31146" cy="45672"/>
            </a:xfrm>
            <a:custGeom>
              <a:avLst/>
              <a:gdLst>
                <a:gd name="connsiteX0" fmla="*/ 31147 w 31146"/>
                <a:gd name="connsiteY0" fmla="*/ 0 h 45672"/>
                <a:gd name="connsiteX1" fmla="*/ 0 w 31146"/>
                <a:gd name="connsiteY1" fmla="*/ 45672 h 456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1146" h="45672">
                  <a:moveTo>
                    <a:pt x="31147" y="0"/>
                  </a:moveTo>
                  <a:lnTo>
                    <a:pt x="0" y="45672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55" name="Forma livre: Forma 854">
              <a:extLst>
                <a:ext uri="{FF2B5EF4-FFF2-40B4-BE49-F238E27FC236}">
                  <a16:creationId xmlns:a16="http://schemas.microsoft.com/office/drawing/2014/main" id="{B570FBAE-C7DB-084F-0C4E-6EA7C145122B}"/>
                </a:ext>
              </a:extLst>
            </p:cNvPr>
            <p:cNvSpPr/>
            <p:nvPr/>
          </p:nvSpPr>
          <p:spPr>
            <a:xfrm>
              <a:off x="8287892" y="1257538"/>
              <a:ext cx="36671" cy="4762"/>
            </a:xfrm>
            <a:custGeom>
              <a:avLst/>
              <a:gdLst>
                <a:gd name="connsiteX0" fmla="*/ 36671 w 36671"/>
                <a:gd name="connsiteY0" fmla="*/ 0 h 4762"/>
                <a:gd name="connsiteX1" fmla="*/ 0 w 36671"/>
                <a:gd name="connsiteY1" fmla="*/ 0 h 47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6671" h="4762">
                  <a:moveTo>
                    <a:pt x="36671" y="0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56" name="Forma livre: Forma 855">
              <a:extLst>
                <a:ext uri="{FF2B5EF4-FFF2-40B4-BE49-F238E27FC236}">
                  <a16:creationId xmlns:a16="http://schemas.microsoft.com/office/drawing/2014/main" id="{40E53212-352C-A9CD-D826-0A01C242F9D3}"/>
                </a:ext>
              </a:extLst>
            </p:cNvPr>
            <p:cNvSpPr/>
            <p:nvPr/>
          </p:nvSpPr>
          <p:spPr>
            <a:xfrm>
              <a:off x="8235119" y="1139428"/>
              <a:ext cx="174217" cy="168116"/>
            </a:xfrm>
            <a:custGeom>
              <a:avLst/>
              <a:gdLst>
                <a:gd name="connsiteX0" fmla="*/ 137213 w 174217"/>
                <a:gd name="connsiteY0" fmla="*/ 18145 h 168116"/>
                <a:gd name="connsiteX1" fmla="*/ 119401 w 174217"/>
                <a:gd name="connsiteY1" fmla="*/ 21622 h 168116"/>
                <a:gd name="connsiteX2" fmla="*/ 81968 w 174217"/>
                <a:gd name="connsiteY2" fmla="*/ 0 h 168116"/>
                <a:gd name="connsiteX3" fmla="*/ 43296 w 174217"/>
                <a:gd name="connsiteY3" fmla="*/ 6429 h 168116"/>
                <a:gd name="connsiteX4" fmla="*/ 8959 w 174217"/>
                <a:gd name="connsiteY4" fmla="*/ 37862 h 168116"/>
                <a:gd name="connsiteX5" fmla="*/ 53 w 174217"/>
                <a:gd name="connsiteY5" fmla="*/ 131540 h 168116"/>
                <a:gd name="connsiteX6" fmla="*/ 19627 w 174217"/>
                <a:gd name="connsiteY6" fmla="*/ 168116 h 168116"/>
                <a:gd name="connsiteX7" fmla="*/ 155167 w 174217"/>
                <a:gd name="connsiteY7" fmla="*/ 168116 h 168116"/>
                <a:gd name="connsiteX8" fmla="*/ 174217 w 174217"/>
                <a:gd name="connsiteY8" fmla="*/ 149066 h 168116"/>
                <a:gd name="connsiteX9" fmla="*/ 174217 w 174217"/>
                <a:gd name="connsiteY9" fmla="*/ 137160 h 168116"/>
                <a:gd name="connsiteX10" fmla="*/ 155167 w 174217"/>
                <a:gd name="connsiteY10" fmla="*/ 118110 h 168116"/>
                <a:gd name="connsiteX11" fmla="*/ 132212 w 174217"/>
                <a:gd name="connsiteY11" fmla="*/ 118110 h 1681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74217" h="168116">
                  <a:moveTo>
                    <a:pt x="137213" y="18145"/>
                  </a:moveTo>
                  <a:cubicBezTo>
                    <a:pt x="131879" y="20383"/>
                    <a:pt x="125830" y="21622"/>
                    <a:pt x="119401" y="21622"/>
                  </a:cubicBezTo>
                  <a:cubicBezTo>
                    <a:pt x="102256" y="21622"/>
                    <a:pt x="87635" y="12668"/>
                    <a:pt x="81968" y="0"/>
                  </a:cubicBezTo>
                  <a:lnTo>
                    <a:pt x="43296" y="6429"/>
                  </a:lnTo>
                  <a:cubicBezTo>
                    <a:pt x="43296" y="6429"/>
                    <a:pt x="12959" y="12382"/>
                    <a:pt x="8959" y="37862"/>
                  </a:cubicBezTo>
                  <a:cubicBezTo>
                    <a:pt x="8959" y="37862"/>
                    <a:pt x="1053" y="102251"/>
                    <a:pt x="53" y="131540"/>
                  </a:cubicBezTo>
                  <a:cubicBezTo>
                    <a:pt x="-947" y="160830"/>
                    <a:pt x="12483" y="168116"/>
                    <a:pt x="19627" y="168116"/>
                  </a:cubicBezTo>
                  <a:lnTo>
                    <a:pt x="155167" y="168116"/>
                  </a:lnTo>
                  <a:cubicBezTo>
                    <a:pt x="155167" y="168116"/>
                    <a:pt x="174217" y="166545"/>
                    <a:pt x="174217" y="149066"/>
                  </a:cubicBezTo>
                  <a:lnTo>
                    <a:pt x="174217" y="137160"/>
                  </a:lnTo>
                  <a:cubicBezTo>
                    <a:pt x="174217" y="126682"/>
                    <a:pt x="165645" y="118110"/>
                    <a:pt x="155167" y="118110"/>
                  </a:cubicBezTo>
                  <a:lnTo>
                    <a:pt x="132212" y="118110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857" name="Gráfico 10">
            <a:extLst>
              <a:ext uri="{FF2B5EF4-FFF2-40B4-BE49-F238E27FC236}">
                <a16:creationId xmlns:a16="http://schemas.microsoft.com/office/drawing/2014/main" id="{63AC3C8F-B5D5-9988-0A55-00A1153C0B4A}"/>
              </a:ext>
            </a:extLst>
          </p:cNvPr>
          <p:cNvGrpSpPr/>
          <p:nvPr/>
        </p:nvGrpSpPr>
        <p:grpSpPr>
          <a:xfrm>
            <a:off x="8166090" y="3111411"/>
            <a:ext cx="372309" cy="302158"/>
            <a:chOff x="8166090" y="3111411"/>
            <a:chExt cx="372309" cy="302158"/>
          </a:xfrm>
        </p:grpSpPr>
        <p:sp>
          <p:nvSpPr>
            <p:cNvPr id="858" name="Forma livre: Forma 857">
              <a:extLst>
                <a:ext uri="{FF2B5EF4-FFF2-40B4-BE49-F238E27FC236}">
                  <a16:creationId xmlns:a16="http://schemas.microsoft.com/office/drawing/2014/main" id="{79375698-473A-14B1-64C3-4C5C77550829}"/>
                </a:ext>
              </a:extLst>
            </p:cNvPr>
            <p:cNvSpPr/>
            <p:nvPr/>
          </p:nvSpPr>
          <p:spPr>
            <a:xfrm>
              <a:off x="8410717" y="3352419"/>
              <a:ext cx="61150" cy="61150"/>
            </a:xfrm>
            <a:custGeom>
              <a:avLst/>
              <a:gdLst>
                <a:gd name="connsiteX0" fmla="*/ 30575 w 61150"/>
                <a:gd name="connsiteY0" fmla="*/ 0 h 61150"/>
                <a:gd name="connsiteX1" fmla="*/ 61150 w 61150"/>
                <a:gd name="connsiteY1" fmla="*/ 30575 h 61150"/>
                <a:gd name="connsiteX2" fmla="*/ 30575 w 61150"/>
                <a:gd name="connsiteY2" fmla="*/ 61150 h 61150"/>
                <a:gd name="connsiteX3" fmla="*/ 0 w 61150"/>
                <a:gd name="connsiteY3" fmla="*/ 30575 h 61150"/>
                <a:gd name="connsiteX4" fmla="*/ 9430 w 61150"/>
                <a:gd name="connsiteY4" fmla="*/ 8477 h 61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1150" h="61150">
                  <a:moveTo>
                    <a:pt x="30575" y="0"/>
                  </a:moveTo>
                  <a:cubicBezTo>
                    <a:pt x="47482" y="0"/>
                    <a:pt x="61150" y="13668"/>
                    <a:pt x="61150" y="30575"/>
                  </a:cubicBezTo>
                  <a:cubicBezTo>
                    <a:pt x="61150" y="47482"/>
                    <a:pt x="47482" y="61150"/>
                    <a:pt x="30575" y="61150"/>
                  </a:cubicBezTo>
                  <a:cubicBezTo>
                    <a:pt x="13668" y="61150"/>
                    <a:pt x="0" y="47482"/>
                    <a:pt x="0" y="30575"/>
                  </a:cubicBezTo>
                  <a:cubicBezTo>
                    <a:pt x="0" y="21907"/>
                    <a:pt x="3620" y="14049"/>
                    <a:pt x="9430" y="8477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59" name="Forma livre: Forma 858">
              <a:extLst>
                <a:ext uri="{FF2B5EF4-FFF2-40B4-BE49-F238E27FC236}">
                  <a16:creationId xmlns:a16="http://schemas.microsoft.com/office/drawing/2014/main" id="{A4B6B0C1-B910-1C1C-D6ED-F1AF0A30A761}"/>
                </a:ext>
              </a:extLst>
            </p:cNvPr>
            <p:cNvSpPr/>
            <p:nvPr/>
          </p:nvSpPr>
          <p:spPr>
            <a:xfrm>
              <a:off x="8197119" y="3231832"/>
              <a:ext cx="181784" cy="181736"/>
            </a:xfrm>
            <a:custGeom>
              <a:avLst/>
              <a:gdLst>
                <a:gd name="connsiteX0" fmla="*/ 181785 w 181784"/>
                <a:gd name="connsiteY0" fmla="*/ 90868 h 181736"/>
                <a:gd name="connsiteX1" fmla="*/ 90868 w 181784"/>
                <a:gd name="connsiteY1" fmla="*/ 181737 h 181736"/>
                <a:gd name="connsiteX2" fmla="*/ 0 w 181784"/>
                <a:gd name="connsiteY2" fmla="*/ 90868 h 181736"/>
                <a:gd name="connsiteX3" fmla="*/ 90868 w 181784"/>
                <a:gd name="connsiteY3" fmla="*/ 0 h 181736"/>
                <a:gd name="connsiteX4" fmla="*/ 181785 w 181784"/>
                <a:gd name="connsiteY4" fmla="*/ 90868 h 1817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1784" h="181736">
                  <a:moveTo>
                    <a:pt x="181785" y="90868"/>
                  </a:moveTo>
                  <a:cubicBezTo>
                    <a:pt x="181785" y="141065"/>
                    <a:pt x="141113" y="181737"/>
                    <a:pt x="90868" y="181737"/>
                  </a:cubicBezTo>
                  <a:cubicBezTo>
                    <a:pt x="40624" y="181737"/>
                    <a:pt x="0" y="141065"/>
                    <a:pt x="0" y="90868"/>
                  </a:cubicBezTo>
                  <a:cubicBezTo>
                    <a:pt x="0" y="40672"/>
                    <a:pt x="40672" y="0"/>
                    <a:pt x="90868" y="0"/>
                  </a:cubicBezTo>
                  <a:cubicBezTo>
                    <a:pt x="141065" y="0"/>
                    <a:pt x="181785" y="40672"/>
                    <a:pt x="181785" y="90868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60" name="Forma livre: Forma 859">
              <a:extLst>
                <a:ext uri="{FF2B5EF4-FFF2-40B4-BE49-F238E27FC236}">
                  <a16:creationId xmlns:a16="http://schemas.microsoft.com/office/drawing/2014/main" id="{C12E2792-AFA3-A652-AC25-DE21D7B67C26}"/>
                </a:ext>
              </a:extLst>
            </p:cNvPr>
            <p:cNvSpPr/>
            <p:nvPr/>
          </p:nvSpPr>
          <p:spPr>
            <a:xfrm>
              <a:off x="8224075" y="3258788"/>
              <a:ext cx="127825" cy="127777"/>
            </a:xfrm>
            <a:custGeom>
              <a:avLst/>
              <a:gdLst>
                <a:gd name="connsiteX0" fmla="*/ 63913 w 127825"/>
                <a:gd name="connsiteY0" fmla="*/ 0 h 127777"/>
                <a:gd name="connsiteX1" fmla="*/ 127825 w 127825"/>
                <a:gd name="connsiteY1" fmla="*/ 63913 h 127777"/>
                <a:gd name="connsiteX2" fmla="*/ 63913 w 127825"/>
                <a:gd name="connsiteY2" fmla="*/ 127778 h 127777"/>
                <a:gd name="connsiteX3" fmla="*/ 0 w 127825"/>
                <a:gd name="connsiteY3" fmla="*/ 63913 h 127777"/>
                <a:gd name="connsiteX4" fmla="*/ 9001 w 127825"/>
                <a:gd name="connsiteY4" fmla="*/ 31194 h 1277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7825" h="127777">
                  <a:moveTo>
                    <a:pt x="63913" y="0"/>
                  </a:moveTo>
                  <a:cubicBezTo>
                    <a:pt x="99203" y="0"/>
                    <a:pt x="127825" y="28623"/>
                    <a:pt x="127825" y="63913"/>
                  </a:cubicBezTo>
                  <a:cubicBezTo>
                    <a:pt x="127825" y="99203"/>
                    <a:pt x="99203" y="127778"/>
                    <a:pt x="63913" y="127778"/>
                  </a:cubicBezTo>
                  <a:cubicBezTo>
                    <a:pt x="28623" y="127778"/>
                    <a:pt x="0" y="99155"/>
                    <a:pt x="0" y="63913"/>
                  </a:cubicBezTo>
                  <a:cubicBezTo>
                    <a:pt x="0" y="51959"/>
                    <a:pt x="3286" y="40767"/>
                    <a:pt x="9001" y="31194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61" name="Forma livre: Forma 860">
              <a:extLst>
                <a:ext uri="{FF2B5EF4-FFF2-40B4-BE49-F238E27FC236}">
                  <a16:creationId xmlns:a16="http://schemas.microsoft.com/office/drawing/2014/main" id="{7EB47780-36A0-09BA-2561-F262A45ECF5F}"/>
                </a:ext>
              </a:extLst>
            </p:cNvPr>
            <p:cNvSpPr/>
            <p:nvPr/>
          </p:nvSpPr>
          <p:spPr>
            <a:xfrm>
              <a:off x="8283844" y="3318557"/>
              <a:ext cx="8334" cy="8286"/>
            </a:xfrm>
            <a:custGeom>
              <a:avLst/>
              <a:gdLst>
                <a:gd name="connsiteX0" fmla="*/ 0 w 8334"/>
                <a:gd name="connsiteY0" fmla="*/ 4143 h 8286"/>
                <a:gd name="connsiteX1" fmla="*/ 4143 w 8334"/>
                <a:gd name="connsiteY1" fmla="*/ 8287 h 8286"/>
                <a:gd name="connsiteX2" fmla="*/ 8334 w 8334"/>
                <a:gd name="connsiteY2" fmla="*/ 4143 h 8286"/>
                <a:gd name="connsiteX3" fmla="*/ 4143 w 8334"/>
                <a:gd name="connsiteY3" fmla="*/ 0 h 8286"/>
                <a:gd name="connsiteX4" fmla="*/ 0 w 8334"/>
                <a:gd name="connsiteY4" fmla="*/ 4143 h 8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334" h="8286">
                  <a:moveTo>
                    <a:pt x="0" y="4143"/>
                  </a:moveTo>
                  <a:cubicBezTo>
                    <a:pt x="0" y="6429"/>
                    <a:pt x="1857" y="8287"/>
                    <a:pt x="4143" y="8287"/>
                  </a:cubicBezTo>
                  <a:cubicBezTo>
                    <a:pt x="6429" y="8287"/>
                    <a:pt x="8334" y="6429"/>
                    <a:pt x="8334" y="4143"/>
                  </a:cubicBezTo>
                  <a:cubicBezTo>
                    <a:pt x="8334" y="1857"/>
                    <a:pt x="6429" y="0"/>
                    <a:pt x="4143" y="0"/>
                  </a:cubicBezTo>
                  <a:cubicBezTo>
                    <a:pt x="1857" y="0"/>
                    <a:pt x="0" y="1857"/>
                    <a:pt x="0" y="4143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62" name="Forma livre: Forma 861">
              <a:extLst>
                <a:ext uri="{FF2B5EF4-FFF2-40B4-BE49-F238E27FC236}">
                  <a16:creationId xmlns:a16="http://schemas.microsoft.com/office/drawing/2014/main" id="{846A4C3E-E7BD-B280-500D-0442ED449263}"/>
                </a:ext>
              </a:extLst>
            </p:cNvPr>
            <p:cNvSpPr/>
            <p:nvPr/>
          </p:nvSpPr>
          <p:spPr>
            <a:xfrm>
              <a:off x="8334470" y="3242976"/>
              <a:ext cx="106775" cy="140874"/>
            </a:xfrm>
            <a:custGeom>
              <a:avLst/>
              <a:gdLst>
                <a:gd name="connsiteX0" fmla="*/ 0 w 106775"/>
                <a:gd name="connsiteY0" fmla="*/ 0 h 140874"/>
                <a:gd name="connsiteX1" fmla="*/ 70771 w 106775"/>
                <a:gd name="connsiteY1" fmla="*/ 0 h 140874"/>
                <a:gd name="connsiteX2" fmla="*/ 106775 w 106775"/>
                <a:gd name="connsiteY2" fmla="*/ 38100 h 140874"/>
                <a:gd name="connsiteX3" fmla="*/ 106775 w 106775"/>
                <a:gd name="connsiteY3" fmla="*/ 140875 h 1408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6775" h="140874">
                  <a:moveTo>
                    <a:pt x="0" y="0"/>
                  </a:moveTo>
                  <a:lnTo>
                    <a:pt x="70771" y="0"/>
                  </a:lnTo>
                  <a:cubicBezTo>
                    <a:pt x="77676" y="0"/>
                    <a:pt x="106775" y="524"/>
                    <a:pt x="106775" y="38100"/>
                  </a:cubicBezTo>
                  <a:lnTo>
                    <a:pt x="106775" y="140875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63" name="Forma livre: Forma 862">
              <a:extLst>
                <a:ext uri="{FF2B5EF4-FFF2-40B4-BE49-F238E27FC236}">
                  <a16:creationId xmlns:a16="http://schemas.microsoft.com/office/drawing/2014/main" id="{269C9E87-66BF-D35D-7C35-4281838C1323}"/>
                </a:ext>
              </a:extLst>
            </p:cNvPr>
            <p:cNvSpPr/>
            <p:nvPr/>
          </p:nvSpPr>
          <p:spPr>
            <a:xfrm>
              <a:off x="8220598" y="3120294"/>
              <a:ext cx="47529" cy="113204"/>
            </a:xfrm>
            <a:custGeom>
              <a:avLst/>
              <a:gdLst>
                <a:gd name="connsiteX0" fmla="*/ 47530 w 47529"/>
                <a:gd name="connsiteY0" fmla="*/ 113205 h 113204"/>
                <a:gd name="connsiteX1" fmla="*/ 30385 w 47529"/>
                <a:gd name="connsiteY1" fmla="*/ 16669 h 113204"/>
                <a:gd name="connsiteX2" fmla="*/ 8382 w 47529"/>
                <a:gd name="connsiteY2" fmla="*/ 0 h 113204"/>
                <a:gd name="connsiteX3" fmla="*/ 0 w 47529"/>
                <a:gd name="connsiteY3" fmla="*/ 857 h 1132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7529" h="113204">
                  <a:moveTo>
                    <a:pt x="47530" y="113205"/>
                  </a:moveTo>
                  <a:lnTo>
                    <a:pt x="30385" y="16669"/>
                  </a:lnTo>
                  <a:cubicBezTo>
                    <a:pt x="30385" y="16669"/>
                    <a:pt x="25813" y="0"/>
                    <a:pt x="8382" y="0"/>
                  </a:cubicBezTo>
                  <a:lnTo>
                    <a:pt x="0" y="857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64" name="Forma livre: Forma 863">
              <a:extLst>
                <a:ext uri="{FF2B5EF4-FFF2-40B4-BE49-F238E27FC236}">
                  <a16:creationId xmlns:a16="http://schemas.microsoft.com/office/drawing/2014/main" id="{2AFC4A3C-4DC8-25DD-0890-5EA63AAF1879}"/>
                </a:ext>
              </a:extLst>
            </p:cNvPr>
            <p:cNvSpPr/>
            <p:nvPr/>
          </p:nvSpPr>
          <p:spPr>
            <a:xfrm>
              <a:off x="8263556" y="3192875"/>
              <a:ext cx="137540" cy="4762"/>
            </a:xfrm>
            <a:custGeom>
              <a:avLst/>
              <a:gdLst>
                <a:gd name="connsiteX0" fmla="*/ 0 w 137540"/>
                <a:gd name="connsiteY0" fmla="*/ 0 h 4762"/>
                <a:gd name="connsiteX1" fmla="*/ 137541 w 137540"/>
                <a:gd name="connsiteY1" fmla="*/ 0 h 47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37540" h="4762">
                  <a:moveTo>
                    <a:pt x="0" y="0"/>
                  </a:moveTo>
                  <a:lnTo>
                    <a:pt x="137541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65" name="Forma livre: Forma 864">
              <a:extLst>
                <a:ext uri="{FF2B5EF4-FFF2-40B4-BE49-F238E27FC236}">
                  <a16:creationId xmlns:a16="http://schemas.microsoft.com/office/drawing/2014/main" id="{F88459C2-89F6-27DB-1292-728A023C9A7C}"/>
                </a:ext>
              </a:extLst>
            </p:cNvPr>
            <p:cNvSpPr/>
            <p:nvPr/>
          </p:nvSpPr>
          <p:spPr>
            <a:xfrm>
              <a:off x="8363616" y="3193827"/>
              <a:ext cx="4762" cy="48625"/>
            </a:xfrm>
            <a:custGeom>
              <a:avLst/>
              <a:gdLst>
                <a:gd name="connsiteX0" fmla="*/ 0 w 4762"/>
                <a:gd name="connsiteY0" fmla="*/ 0 h 48625"/>
                <a:gd name="connsiteX1" fmla="*/ 0 w 4762"/>
                <a:gd name="connsiteY1" fmla="*/ 48625 h 486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762" h="48625">
                  <a:moveTo>
                    <a:pt x="0" y="0"/>
                  </a:moveTo>
                  <a:lnTo>
                    <a:pt x="0" y="48625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66" name="Forma livre: Forma 865">
              <a:extLst>
                <a:ext uri="{FF2B5EF4-FFF2-40B4-BE49-F238E27FC236}">
                  <a16:creationId xmlns:a16="http://schemas.microsoft.com/office/drawing/2014/main" id="{7E58EC35-2AA4-25AD-B652-C0EAA45127F0}"/>
                </a:ext>
              </a:extLst>
            </p:cNvPr>
            <p:cNvSpPr/>
            <p:nvPr/>
          </p:nvSpPr>
          <p:spPr>
            <a:xfrm>
              <a:off x="8166090" y="3111411"/>
              <a:ext cx="54009" cy="26243"/>
            </a:xfrm>
            <a:custGeom>
              <a:avLst/>
              <a:gdLst>
                <a:gd name="connsiteX0" fmla="*/ 311 w 54009"/>
                <a:gd name="connsiteY0" fmla="*/ 17313 h 26243"/>
                <a:gd name="connsiteX1" fmla="*/ 11598 w 54009"/>
                <a:gd name="connsiteY1" fmla="*/ 26171 h 26243"/>
                <a:gd name="connsiteX2" fmla="*/ 45078 w 54009"/>
                <a:gd name="connsiteY2" fmla="*/ 22123 h 26243"/>
                <a:gd name="connsiteX3" fmla="*/ 53936 w 54009"/>
                <a:gd name="connsiteY3" fmla="*/ 10836 h 26243"/>
                <a:gd name="connsiteX4" fmla="*/ 53698 w 54009"/>
                <a:gd name="connsiteY4" fmla="*/ 8931 h 26243"/>
                <a:gd name="connsiteX5" fmla="*/ 42411 w 54009"/>
                <a:gd name="connsiteY5" fmla="*/ 73 h 26243"/>
                <a:gd name="connsiteX6" fmla="*/ 8931 w 54009"/>
                <a:gd name="connsiteY6" fmla="*/ 4121 h 26243"/>
                <a:gd name="connsiteX7" fmla="*/ 73 w 54009"/>
                <a:gd name="connsiteY7" fmla="*/ 15408 h 26243"/>
                <a:gd name="connsiteX8" fmla="*/ 311 w 54009"/>
                <a:gd name="connsiteY8" fmla="*/ 17313 h 262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4009" h="26243">
                  <a:moveTo>
                    <a:pt x="311" y="17313"/>
                  </a:moveTo>
                  <a:cubicBezTo>
                    <a:pt x="978" y="22837"/>
                    <a:pt x="6073" y="26838"/>
                    <a:pt x="11598" y="26171"/>
                  </a:cubicBezTo>
                  <a:lnTo>
                    <a:pt x="45078" y="22123"/>
                  </a:lnTo>
                  <a:cubicBezTo>
                    <a:pt x="50603" y="21456"/>
                    <a:pt x="54603" y="16360"/>
                    <a:pt x="53936" y="10836"/>
                  </a:cubicBezTo>
                  <a:lnTo>
                    <a:pt x="53698" y="8931"/>
                  </a:lnTo>
                  <a:cubicBezTo>
                    <a:pt x="53032" y="3406"/>
                    <a:pt x="47936" y="-594"/>
                    <a:pt x="42411" y="73"/>
                  </a:cubicBezTo>
                  <a:lnTo>
                    <a:pt x="8931" y="4121"/>
                  </a:lnTo>
                  <a:cubicBezTo>
                    <a:pt x="3406" y="4788"/>
                    <a:pt x="-594" y="9883"/>
                    <a:pt x="73" y="15408"/>
                  </a:cubicBezTo>
                  <a:lnTo>
                    <a:pt x="311" y="17313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67" name="Forma livre: Forma 866">
              <a:extLst>
                <a:ext uri="{FF2B5EF4-FFF2-40B4-BE49-F238E27FC236}">
                  <a16:creationId xmlns:a16="http://schemas.microsoft.com/office/drawing/2014/main" id="{68E912CB-A871-3402-41C0-85EF69319BA6}"/>
                </a:ext>
              </a:extLst>
            </p:cNvPr>
            <p:cNvSpPr/>
            <p:nvPr/>
          </p:nvSpPr>
          <p:spPr>
            <a:xfrm>
              <a:off x="8369855" y="3281457"/>
              <a:ext cx="52911" cy="4762"/>
            </a:xfrm>
            <a:custGeom>
              <a:avLst/>
              <a:gdLst>
                <a:gd name="connsiteX0" fmla="*/ 52911 w 52911"/>
                <a:gd name="connsiteY0" fmla="*/ 0 h 4762"/>
                <a:gd name="connsiteX1" fmla="*/ 0 w 52911"/>
                <a:gd name="connsiteY1" fmla="*/ 0 h 47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2911" h="4762">
                  <a:moveTo>
                    <a:pt x="52911" y="0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68" name="Forma livre: Forma 867">
              <a:extLst>
                <a:ext uri="{FF2B5EF4-FFF2-40B4-BE49-F238E27FC236}">
                  <a16:creationId xmlns:a16="http://schemas.microsoft.com/office/drawing/2014/main" id="{03EDC234-9766-DE24-155C-FFBDB0E8458B}"/>
                </a:ext>
              </a:extLst>
            </p:cNvPr>
            <p:cNvSpPr/>
            <p:nvPr/>
          </p:nvSpPr>
          <p:spPr>
            <a:xfrm>
              <a:off x="8442721" y="3281446"/>
              <a:ext cx="95678" cy="87246"/>
            </a:xfrm>
            <a:custGeom>
              <a:avLst/>
              <a:gdLst>
                <a:gd name="connsiteX0" fmla="*/ 95679 w 95678"/>
                <a:gd name="connsiteY0" fmla="*/ 79497 h 87246"/>
                <a:gd name="connsiteX1" fmla="*/ 70580 w 95678"/>
                <a:gd name="connsiteY1" fmla="*/ 86736 h 87246"/>
                <a:gd name="connsiteX2" fmla="*/ 50768 w 95678"/>
                <a:gd name="connsiteY2" fmla="*/ 77116 h 87246"/>
                <a:gd name="connsiteX3" fmla="*/ 22193 w 95678"/>
                <a:gd name="connsiteY3" fmla="*/ 11631 h 87246"/>
                <a:gd name="connsiteX4" fmla="*/ 0 w 95678"/>
                <a:gd name="connsiteY4" fmla="*/ 59 h 87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5678" h="87246">
                  <a:moveTo>
                    <a:pt x="95679" y="79497"/>
                  </a:moveTo>
                  <a:lnTo>
                    <a:pt x="70580" y="86736"/>
                  </a:lnTo>
                  <a:cubicBezTo>
                    <a:pt x="55102" y="89927"/>
                    <a:pt x="50768" y="77116"/>
                    <a:pt x="50768" y="77116"/>
                  </a:cubicBezTo>
                  <a:lnTo>
                    <a:pt x="22193" y="11631"/>
                  </a:lnTo>
                  <a:cubicBezTo>
                    <a:pt x="15859" y="-1513"/>
                    <a:pt x="0" y="59"/>
                    <a:pt x="0" y="59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869" name="Gráfico 10">
            <a:extLst>
              <a:ext uri="{FF2B5EF4-FFF2-40B4-BE49-F238E27FC236}">
                <a16:creationId xmlns:a16="http://schemas.microsoft.com/office/drawing/2014/main" id="{86F5513A-5EE5-9566-B52A-0048D53C2C7A}"/>
              </a:ext>
            </a:extLst>
          </p:cNvPr>
          <p:cNvGrpSpPr/>
          <p:nvPr/>
        </p:nvGrpSpPr>
        <p:grpSpPr>
          <a:xfrm>
            <a:off x="8232054" y="2552747"/>
            <a:ext cx="240356" cy="363071"/>
            <a:chOff x="8232054" y="2552747"/>
            <a:chExt cx="240356" cy="363071"/>
          </a:xfrm>
          <a:noFill/>
        </p:grpSpPr>
        <p:sp>
          <p:nvSpPr>
            <p:cNvPr id="870" name="Forma livre: Forma 869">
              <a:extLst>
                <a:ext uri="{FF2B5EF4-FFF2-40B4-BE49-F238E27FC236}">
                  <a16:creationId xmlns:a16="http://schemas.microsoft.com/office/drawing/2014/main" id="{AFE1193C-93E8-47C4-FA24-9BF0813DB938}"/>
                </a:ext>
              </a:extLst>
            </p:cNvPr>
            <p:cNvSpPr/>
            <p:nvPr/>
          </p:nvSpPr>
          <p:spPr>
            <a:xfrm>
              <a:off x="8232054" y="2655284"/>
              <a:ext cx="240356" cy="260534"/>
            </a:xfrm>
            <a:custGeom>
              <a:avLst/>
              <a:gdLst>
                <a:gd name="connsiteX0" fmla="*/ 55838 w 240356"/>
                <a:gd name="connsiteY0" fmla="*/ 0 h 260534"/>
                <a:gd name="connsiteX1" fmla="*/ 34407 w 240356"/>
                <a:gd name="connsiteY1" fmla="*/ 184023 h 260534"/>
                <a:gd name="connsiteX2" fmla="*/ 213858 w 240356"/>
                <a:gd name="connsiteY2" fmla="*/ 254175 h 260534"/>
                <a:gd name="connsiteX3" fmla="*/ 218478 w 240356"/>
                <a:gd name="connsiteY3" fmla="*/ 73581 h 260534"/>
                <a:gd name="connsiteX4" fmla="*/ 190284 w 240356"/>
                <a:gd name="connsiteY4" fmla="*/ 23574 h 2605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0356" h="260534">
                  <a:moveTo>
                    <a:pt x="55838" y="0"/>
                  </a:moveTo>
                  <a:cubicBezTo>
                    <a:pt x="55838" y="0"/>
                    <a:pt x="-53985" y="81867"/>
                    <a:pt x="34407" y="184023"/>
                  </a:cubicBezTo>
                  <a:cubicBezTo>
                    <a:pt x="60267" y="213931"/>
                    <a:pt x="159327" y="281464"/>
                    <a:pt x="213858" y="254175"/>
                  </a:cubicBezTo>
                  <a:cubicBezTo>
                    <a:pt x="223050" y="249555"/>
                    <a:pt x="265769" y="223933"/>
                    <a:pt x="218478" y="73581"/>
                  </a:cubicBezTo>
                  <a:cubicBezTo>
                    <a:pt x="211524" y="51435"/>
                    <a:pt x="202571" y="36385"/>
                    <a:pt x="190284" y="23574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71" name="Forma livre: Forma 870">
              <a:extLst>
                <a:ext uri="{FF2B5EF4-FFF2-40B4-BE49-F238E27FC236}">
                  <a16:creationId xmlns:a16="http://schemas.microsoft.com/office/drawing/2014/main" id="{37CBC595-76A4-09CB-144B-98591C899B39}"/>
                </a:ext>
              </a:extLst>
            </p:cNvPr>
            <p:cNvSpPr/>
            <p:nvPr/>
          </p:nvSpPr>
          <p:spPr>
            <a:xfrm>
              <a:off x="8284892" y="2632710"/>
              <a:ext cx="77247" cy="128397"/>
            </a:xfrm>
            <a:custGeom>
              <a:avLst/>
              <a:gdLst>
                <a:gd name="connsiteX0" fmla="*/ 0 w 77247"/>
                <a:gd name="connsiteY0" fmla="*/ 128397 h 128397"/>
                <a:gd name="connsiteX1" fmla="*/ 39148 w 77247"/>
                <a:gd name="connsiteY1" fmla="*/ 71295 h 128397"/>
                <a:gd name="connsiteX2" fmla="*/ 77248 w 77247"/>
                <a:gd name="connsiteY2" fmla="*/ 14526 h 128397"/>
                <a:gd name="connsiteX3" fmla="*/ 56388 w 77247"/>
                <a:gd name="connsiteY3" fmla="*/ 0 h 1283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7247" h="128397">
                  <a:moveTo>
                    <a:pt x="0" y="128397"/>
                  </a:moveTo>
                  <a:cubicBezTo>
                    <a:pt x="25289" y="119205"/>
                    <a:pt x="39148" y="71295"/>
                    <a:pt x="39148" y="71295"/>
                  </a:cubicBezTo>
                  <a:cubicBezTo>
                    <a:pt x="54102" y="27575"/>
                    <a:pt x="77248" y="14526"/>
                    <a:pt x="77248" y="14526"/>
                  </a:cubicBezTo>
                  <a:lnTo>
                    <a:pt x="56388" y="0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72" name="Forma livre: Forma 871">
              <a:extLst>
                <a:ext uri="{FF2B5EF4-FFF2-40B4-BE49-F238E27FC236}">
                  <a16:creationId xmlns:a16="http://schemas.microsoft.com/office/drawing/2014/main" id="{307F6EA7-F2E0-A1B4-E413-B1EA926C4AE4}"/>
                </a:ext>
              </a:extLst>
            </p:cNvPr>
            <p:cNvSpPr/>
            <p:nvPr/>
          </p:nvSpPr>
          <p:spPr>
            <a:xfrm>
              <a:off x="8386219" y="2636139"/>
              <a:ext cx="54311" cy="104298"/>
            </a:xfrm>
            <a:custGeom>
              <a:avLst/>
              <a:gdLst>
                <a:gd name="connsiteX0" fmla="*/ 54312 w 54311"/>
                <a:gd name="connsiteY0" fmla="*/ 0 h 104298"/>
                <a:gd name="connsiteX1" fmla="*/ 17117 w 54311"/>
                <a:gd name="connsiteY1" fmla="*/ 104299 h 1042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4311" h="104298">
                  <a:moveTo>
                    <a:pt x="54312" y="0"/>
                  </a:moveTo>
                  <a:cubicBezTo>
                    <a:pt x="54312" y="0"/>
                    <a:pt x="-36938" y="36433"/>
                    <a:pt x="17117" y="104299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73" name="Forma livre: Forma 872">
              <a:extLst>
                <a:ext uri="{FF2B5EF4-FFF2-40B4-BE49-F238E27FC236}">
                  <a16:creationId xmlns:a16="http://schemas.microsoft.com/office/drawing/2014/main" id="{662227C8-2F6B-CCC7-99AD-F4ABA6C9740B}"/>
                </a:ext>
              </a:extLst>
            </p:cNvPr>
            <p:cNvSpPr/>
            <p:nvPr/>
          </p:nvSpPr>
          <p:spPr>
            <a:xfrm>
              <a:off x="8358854" y="2598515"/>
              <a:ext cx="77866" cy="29146"/>
            </a:xfrm>
            <a:custGeom>
              <a:avLst/>
              <a:gdLst>
                <a:gd name="connsiteX0" fmla="*/ 0 w 77866"/>
                <a:gd name="connsiteY0" fmla="*/ 14192 h 29146"/>
                <a:gd name="connsiteX1" fmla="*/ 26813 w 77866"/>
                <a:gd name="connsiteY1" fmla="*/ 29146 h 29146"/>
                <a:gd name="connsiteX2" fmla="*/ 77867 w 77866"/>
                <a:gd name="connsiteY2" fmla="*/ 0 h 291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77866" h="29146">
                  <a:moveTo>
                    <a:pt x="0" y="14192"/>
                  </a:moveTo>
                  <a:lnTo>
                    <a:pt x="26813" y="29146"/>
                  </a:lnTo>
                  <a:cubicBezTo>
                    <a:pt x="26813" y="29146"/>
                    <a:pt x="56007" y="10335"/>
                    <a:pt x="77867" y="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74" name="Forma livre: Forma 873">
              <a:extLst>
                <a:ext uri="{FF2B5EF4-FFF2-40B4-BE49-F238E27FC236}">
                  <a16:creationId xmlns:a16="http://schemas.microsoft.com/office/drawing/2014/main" id="{B69B500C-11DC-E3FD-DA5A-4382207C0B1F}"/>
                </a:ext>
              </a:extLst>
            </p:cNvPr>
            <p:cNvSpPr/>
            <p:nvPr/>
          </p:nvSpPr>
          <p:spPr>
            <a:xfrm>
              <a:off x="8337327" y="2606417"/>
              <a:ext cx="38195" cy="38722"/>
            </a:xfrm>
            <a:custGeom>
              <a:avLst/>
              <a:gdLst>
                <a:gd name="connsiteX0" fmla="*/ 38195 w 38195"/>
                <a:gd name="connsiteY0" fmla="*/ 241 h 38722"/>
                <a:gd name="connsiteX1" fmla="*/ 0 w 38195"/>
                <a:gd name="connsiteY1" fmla="*/ 38722 h 387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8195" h="38722">
                  <a:moveTo>
                    <a:pt x="38195" y="241"/>
                  </a:moveTo>
                  <a:cubicBezTo>
                    <a:pt x="38195" y="241"/>
                    <a:pt x="1572" y="-5474"/>
                    <a:pt x="0" y="38722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75" name="Forma livre: Forma 874">
              <a:extLst>
                <a:ext uri="{FF2B5EF4-FFF2-40B4-BE49-F238E27FC236}">
                  <a16:creationId xmlns:a16="http://schemas.microsoft.com/office/drawing/2014/main" id="{851F719A-8E51-06E8-E65D-1D7275AFCFD6}"/>
                </a:ext>
              </a:extLst>
            </p:cNvPr>
            <p:cNvSpPr/>
            <p:nvPr/>
          </p:nvSpPr>
          <p:spPr>
            <a:xfrm>
              <a:off x="8286782" y="2558700"/>
              <a:ext cx="123459" cy="154114"/>
            </a:xfrm>
            <a:custGeom>
              <a:avLst/>
              <a:gdLst>
                <a:gd name="connsiteX0" fmla="*/ 123459 w 123459"/>
                <a:gd name="connsiteY0" fmla="*/ 47149 h 154114"/>
                <a:gd name="connsiteX1" fmla="*/ 40496 w 123459"/>
                <a:gd name="connsiteY1" fmla="*/ 16478 h 154114"/>
                <a:gd name="connsiteX2" fmla="*/ 24066 w 123459"/>
                <a:gd name="connsiteY2" fmla="*/ 0 h 154114"/>
                <a:gd name="connsiteX3" fmla="*/ 10207 w 123459"/>
                <a:gd name="connsiteY3" fmla="*/ 13811 h 154114"/>
                <a:gd name="connsiteX4" fmla="*/ 19922 w 123459"/>
                <a:gd name="connsiteY4" fmla="*/ 40243 h 154114"/>
                <a:gd name="connsiteX5" fmla="*/ 349 w 123459"/>
                <a:gd name="connsiteY5" fmla="*/ 154114 h 1541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23459" h="154114">
                  <a:moveTo>
                    <a:pt x="123459" y="47149"/>
                  </a:moveTo>
                  <a:cubicBezTo>
                    <a:pt x="123459" y="47149"/>
                    <a:pt x="107219" y="-1905"/>
                    <a:pt x="40496" y="16478"/>
                  </a:cubicBezTo>
                  <a:lnTo>
                    <a:pt x="24066" y="0"/>
                  </a:lnTo>
                  <a:lnTo>
                    <a:pt x="10207" y="13811"/>
                  </a:lnTo>
                  <a:cubicBezTo>
                    <a:pt x="10207" y="13811"/>
                    <a:pt x="23399" y="28765"/>
                    <a:pt x="19922" y="40243"/>
                  </a:cubicBezTo>
                  <a:cubicBezTo>
                    <a:pt x="19922" y="40243"/>
                    <a:pt x="-3080" y="86249"/>
                    <a:pt x="349" y="154114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76" name="Forma livre: Forma 875">
              <a:extLst>
                <a:ext uri="{FF2B5EF4-FFF2-40B4-BE49-F238E27FC236}">
                  <a16:creationId xmlns:a16="http://schemas.microsoft.com/office/drawing/2014/main" id="{8367FCA3-AC43-446D-F4B4-ED939554A4DC}"/>
                </a:ext>
              </a:extLst>
            </p:cNvPr>
            <p:cNvSpPr/>
            <p:nvPr/>
          </p:nvSpPr>
          <p:spPr>
            <a:xfrm>
              <a:off x="8338899" y="2552747"/>
              <a:ext cx="2381" cy="18430"/>
            </a:xfrm>
            <a:custGeom>
              <a:avLst/>
              <a:gdLst>
                <a:gd name="connsiteX0" fmla="*/ 2381 w 2381"/>
                <a:gd name="connsiteY0" fmla="*/ 18431 h 18430"/>
                <a:gd name="connsiteX1" fmla="*/ 0 w 2381"/>
                <a:gd name="connsiteY1" fmla="*/ 0 h 184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381" h="18430">
                  <a:moveTo>
                    <a:pt x="2381" y="18431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77" name="Forma livre: Forma 876">
              <a:extLst>
                <a:ext uri="{FF2B5EF4-FFF2-40B4-BE49-F238E27FC236}">
                  <a16:creationId xmlns:a16="http://schemas.microsoft.com/office/drawing/2014/main" id="{D90A0353-7769-6F07-D519-467668EF82CB}"/>
                </a:ext>
              </a:extLst>
            </p:cNvPr>
            <p:cNvSpPr/>
            <p:nvPr/>
          </p:nvSpPr>
          <p:spPr>
            <a:xfrm>
              <a:off x="8360378" y="2552747"/>
              <a:ext cx="1571" cy="16525"/>
            </a:xfrm>
            <a:custGeom>
              <a:avLst/>
              <a:gdLst>
                <a:gd name="connsiteX0" fmla="*/ 0 w 1571"/>
                <a:gd name="connsiteY0" fmla="*/ 16526 h 16525"/>
                <a:gd name="connsiteX1" fmla="*/ 1572 w 1571"/>
                <a:gd name="connsiteY1" fmla="*/ 0 h 16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71" h="16525">
                  <a:moveTo>
                    <a:pt x="0" y="16526"/>
                  </a:moveTo>
                  <a:lnTo>
                    <a:pt x="1572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78" name="Forma livre: Forma 877">
              <a:extLst>
                <a:ext uri="{FF2B5EF4-FFF2-40B4-BE49-F238E27FC236}">
                  <a16:creationId xmlns:a16="http://schemas.microsoft.com/office/drawing/2014/main" id="{6BD0A287-CF1D-6E2E-154D-086B6F3FEBFE}"/>
                </a:ext>
              </a:extLst>
            </p:cNvPr>
            <p:cNvSpPr/>
            <p:nvPr/>
          </p:nvSpPr>
          <p:spPr>
            <a:xfrm>
              <a:off x="8245220" y="2620041"/>
              <a:ext cx="45767" cy="71485"/>
            </a:xfrm>
            <a:custGeom>
              <a:avLst/>
              <a:gdLst>
                <a:gd name="connsiteX0" fmla="*/ 45768 w 45767"/>
                <a:gd name="connsiteY0" fmla="*/ 25670 h 71485"/>
                <a:gd name="connsiteX1" fmla="*/ 31575 w 45767"/>
                <a:gd name="connsiteY1" fmla="*/ 0 h 71485"/>
                <a:gd name="connsiteX2" fmla="*/ 0 w 45767"/>
                <a:gd name="connsiteY2" fmla="*/ 12811 h 71485"/>
                <a:gd name="connsiteX3" fmla="*/ 10858 w 45767"/>
                <a:gd name="connsiteY3" fmla="*/ 71485 h 714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5767" h="71485">
                  <a:moveTo>
                    <a:pt x="45768" y="25670"/>
                  </a:moveTo>
                  <a:lnTo>
                    <a:pt x="31575" y="0"/>
                  </a:lnTo>
                  <a:cubicBezTo>
                    <a:pt x="31575" y="0"/>
                    <a:pt x="5620" y="1572"/>
                    <a:pt x="0" y="12811"/>
                  </a:cubicBezTo>
                  <a:lnTo>
                    <a:pt x="10858" y="71485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879" name="Gráfico 10">
            <a:extLst>
              <a:ext uri="{FF2B5EF4-FFF2-40B4-BE49-F238E27FC236}">
                <a16:creationId xmlns:a16="http://schemas.microsoft.com/office/drawing/2014/main" id="{1C596D06-1ACA-E731-70A8-EAD80A40983B}"/>
              </a:ext>
            </a:extLst>
          </p:cNvPr>
          <p:cNvGrpSpPr/>
          <p:nvPr/>
        </p:nvGrpSpPr>
        <p:grpSpPr>
          <a:xfrm>
            <a:off x="8194119" y="2069096"/>
            <a:ext cx="316134" cy="274005"/>
            <a:chOff x="8194119" y="2069096"/>
            <a:chExt cx="316134" cy="274005"/>
          </a:xfrm>
          <a:noFill/>
        </p:grpSpPr>
        <p:sp>
          <p:nvSpPr>
            <p:cNvPr id="880" name="Forma livre: Forma 879">
              <a:extLst>
                <a:ext uri="{FF2B5EF4-FFF2-40B4-BE49-F238E27FC236}">
                  <a16:creationId xmlns:a16="http://schemas.microsoft.com/office/drawing/2014/main" id="{B314CCF4-F164-4624-2C3B-D42E7CD7319C}"/>
                </a:ext>
              </a:extLst>
            </p:cNvPr>
            <p:cNvSpPr/>
            <p:nvPr/>
          </p:nvSpPr>
          <p:spPr>
            <a:xfrm>
              <a:off x="8194119" y="2069096"/>
              <a:ext cx="316134" cy="198234"/>
            </a:xfrm>
            <a:custGeom>
              <a:avLst/>
              <a:gdLst>
                <a:gd name="connsiteX0" fmla="*/ 224218 w 316134"/>
                <a:gd name="connsiteY0" fmla="*/ 198234 h 198234"/>
                <a:gd name="connsiteX1" fmla="*/ 316135 w 316134"/>
                <a:gd name="connsiteY1" fmla="*/ 97555 h 198234"/>
                <a:gd name="connsiteX2" fmla="*/ 220075 w 316134"/>
                <a:gd name="connsiteY2" fmla="*/ 6258 h 198234"/>
                <a:gd name="connsiteX3" fmla="*/ 181165 w 316134"/>
                <a:gd name="connsiteY3" fmla="*/ 4687 h 198234"/>
                <a:gd name="connsiteX4" fmla="*/ 158067 w 316134"/>
                <a:gd name="connsiteY4" fmla="*/ 12640 h 198234"/>
                <a:gd name="connsiteX5" fmla="*/ 134969 w 316134"/>
                <a:gd name="connsiteY5" fmla="*/ 4687 h 198234"/>
                <a:gd name="connsiteX6" fmla="*/ 96060 w 316134"/>
                <a:gd name="connsiteY6" fmla="*/ 6258 h 198234"/>
                <a:gd name="connsiteX7" fmla="*/ 0 w 316134"/>
                <a:gd name="connsiteY7" fmla="*/ 97555 h 198234"/>
                <a:gd name="connsiteX8" fmla="*/ 69913 w 316134"/>
                <a:gd name="connsiteY8" fmla="*/ 183233 h 1982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16134" h="198234">
                  <a:moveTo>
                    <a:pt x="224218" y="198234"/>
                  </a:moveTo>
                  <a:cubicBezTo>
                    <a:pt x="282559" y="157182"/>
                    <a:pt x="316135" y="97555"/>
                    <a:pt x="316135" y="97555"/>
                  </a:cubicBezTo>
                  <a:cubicBezTo>
                    <a:pt x="249460" y="21736"/>
                    <a:pt x="220075" y="6258"/>
                    <a:pt x="220075" y="6258"/>
                  </a:cubicBezTo>
                  <a:cubicBezTo>
                    <a:pt x="194691" y="-6839"/>
                    <a:pt x="181165" y="4687"/>
                    <a:pt x="181165" y="4687"/>
                  </a:cubicBezTo>
                  <a:cubicBezTo>
                    <a:pt x="174022" y="10640"/>
                    <a:pt x="162020" y="12640"/>
                    <a:pt x="158067" y="12640"/>
                  </a:cubicBezTo>
                  <a:cubicBezTo>
                    <a:pt x="154114" y="12640"/>
                    <a:pt x="142113" y="10640"/>
                    <a:pt x="134969" y="4687"/>
                  </a:cubicBezTo>
                  <a:cubicBezTo>
                    <a:pt x="134969" y="4687"/>
                    <a:pt x="121491" y="-6839"/>
                    <a:pt x="96060" y="6258"/>
                  </a:cubicBezTo>
                  <a:cubicBezTo>
                    <a:pt x="96060" y="6258"/>
                    <a:pt x="66675" y="21736"/>
                    <a:pt x="0" y="97555"/>
                  </a:cubicBezTo>
                  <a:cubicBezTo>
                    <a:pt x="0" y="97555"/>
                    <a:pt x="35004" y="149467"/>
                    <a:pt x="69913" y="183233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81" name="Forma livre: Forma 880">
              <a:extLst>
                <a:ext uri="{FF2B5EF4-FFF2-40B4-BE49-F238E27FC236}">
                  <a16:creationId xmlns:a16="http://schemas.microsoft.com/office/drawing/2014/main" id="{DFB87160-CAFE-8407-577C-F7C09201988C}"/>
                </a:ext>
              </a:extLst>
            </p:cNvPr>
            <p:cNvSpPr/>
            <p:nvPr/>
          </p:nvSpPr>
          <p:spPr>
            <a:xfrm>
              <a:off x="8222884" y="2114354"/>
              <a:ext cx="258698" cy="100303"/>
            </a:xfrm>
            <a:custGeom>
              <a:avLst/>
              <a:gdLst>
                <a:gd name="connsiteX0" fmla="*/ 201739 w 258698"/>
                <a:gd name="connsiteY0" fmla="*/ 100304 h 100303"/>
                <a:gd name="connsiteX1" fmla="*/ 258699 w 258698"/>
                <a:gd name="connsiteY1" fmla="*/ 50488 h 100303"/>
                <a:gd name="connsiteX2" fmla="*/ 187833 w 258698"/>
                <a:gd name="connsiteY2" fmla="*/ 8197 h 100303"/>
                <a:gd name="connsiteX3" fmla="*/ 153305 w 258698"/>
                <a:gd name="connsiteY3" fmla="*/ 1625 h 100303"/>
                <a:gd name="connsiteX4" fmla="*/ 129349 w 258698"/>
                <a:gd name="connsiteY4" fmla="*/ 6387 h 100303"/>
                <a:gd name="connsiteX5" fmla="*/ 105394 w 258698"/>
                <a:gd name="connsiteY5" fmla="*/ 1625 h 100303"/>
                <a:gd name="connsiteX6" fmla="*/ 70866 w 258698"/>
                <a:gd name="connsiteY6" fmla="*/ 8197 h 100303"/>
                <a:gd name="connsiteX7" fmla="*/ 0 w 258698"/>
                <a:gd name="connsiteY7" fmla="*/ 50488 h 100303"/>
                <a:gd name="connsiteX8" fmla="*/ 39005 w 258698"/>
                <a:gd name="connsiteY8" fmla="*/ 86826 h 1003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58698" h="100303">
                  <a:moveTo>
                    <a:pt x="201739" y="100304"/>
                  </a:moveTo>
                  <a:cubicBezTo>
                    <a:pt x="232410" y="79587"/>
                    <a:pt x="258699" y="50488"/>
                    <a:pt x="258699" y="50488"/>
                  </a:cubicBezTo>
                  <a:lnTo>
                    <a:pt x="187833" y="8197"/>
                  </a:lnTo>
                  <a:cubicBezTo>
                    <a:pt x="169354" y="-1138"/>
                    <a:pt x="160496" y="-1185"/>
                    <a:pt x="153305" y="1625"/>
                  </a:cubicBezTo>
                  <a:cubicBezTo>
                    <a:pt x="142208" y="6006"/>
                    <a:pt x="134302" y="6387"/>
                    <a:pt x="129349" y="6387"/>
                  </a:cubicBezTo>
                  <a:cubicBezTo>
                    <a:pt x="124396" y="6387"/>
                    <a:pt x="116491" y="6006"/>
                    <a:pt x="105394" y="1625"/>
                  </a:cubicBezTo>
                  <a:cubicBezTo>
                    <a:pt x="98203" y="-1185"/>
                    <a:pt x="89297" y="-1138"/>
                    <a:pt x="70866" y="8197"/>
                  </a:cubicBezTo>
                  <a:lnTo>
                    <a:pt x="0" y="50488"/>
                  </a:lnTo>
                  <a:cubicBezTo>
                    <a:pt x="0" y="50488"/>
                    <a:pt x="11906" y="67538"/>
                    <a:pt x="39005" y="86826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82" name="Forma livre: Forma 881">
              <a:extLst>
                <a:ext uri="{FF2B5EF4-FFF2-40B4-BE49-F238E27FC236}">
                  <a16:creationId xmlns:a16="http://schemas.microsoft.com/office/drawing/2014/main" id="{1D201580-2043-C605-02DF-E21F390DFD5D}"/>
                </a:ext>
              </a:extLst>
            </p:cNvPr>
            <p:cNvSpPr/>
            <p:nvPr/>
          </p:nvSpPr>
          <p:spPr>
            <a:xfrm>
              <a:off x="8281426" y="2167729"/>
              <a:ext cx="141615" cy="175373"/>
            </a:xfrm>
            <a:custGeom>
              <a:avLst/>
              <a:gdLst>
                <a:gd name="connsiteX0" fmla="*/ 141531 w 141615"/>
                <a:gd name="connsiteY0" fmla="*/ 36308 h 175373"/>
                <a:gd name="connsiteX1" fmla="*/ 70808 w 141615"/>
                <a:gd name="connsiteY1" fmla="*/ 7162 h 175373"/>
                <a:gd name="connsiteX2" fmla="*/ 85 w 141615"/>
                <a:gd name="connsiteY2" fmla="*/ 36308 h 175373"/>
                <a:gd name="connsiteX3" fmla="*/ 70808 w 141615"/>
                <a:gd name="connsiteY3" fmla="*/ 175373 h 175373"/>
                <a:gd name="connsiteX4" fmla="*/ 141531 w 141615"/>
                <a:gd name="connsiteY4" fmla="*/ 36308 h 1753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1615" h="175373">
                  <a:moveTo>
                    <a:pt x="141531" y="36308"/>
                  </a:moveTo>
                  <a:cubicBezTo>
                    <a:pt x="137911" y="-21604"/>
                    <a:pt x="70808" y="7162"/>
                    <a:pt x="70808" y="7162"/>
                  </a:cubicBezTo>
                  <a:cubicBezTo>
                    <a:pt x="70808" y="7162"/>
                    <a:pt x="3752" y="-21651"/>
                    <a:pt x="85" y="36308"/>
                  </a:cubicBezTo>
                  <a:cubicBezTo>
                    <a:pt x="85" y="36308"/>
                    <a:pt x="-5345" y="175373"/>
                    <a:pt x="70808" y="175373"/>
                  </a:cubicBezTo>
                  <a:cubicBezTo>
                    <a:pt x="146960" y="175373"/>
                    <a:pt x="141531" y="36308"/>
                    <a:pt x="141531" y="36308"/>
                  </a:cubicBez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83" name="Forma livre: Forma 882">
              <a:extLst>
                <a:ext uri="{FF2B5EF4-FFF2-40B4-BE49-F238E27FC236}">
                  <a16:creationId xmlns:a16="http://schemas.microsoft.com/office/drawing/2014/main" id="{7BF69CB9-E359-2497-866B-48C410B932C8}"/>
                </a:ext>
              </a:extLst>
            </p:cNvPr>
            <p:cNvSpPr/>
            <p:nvPr/>
          </p:nvSpPr>
          <p:spPr>
            <a:xfrm>
              <a:off x="8352234" y="2177653"/>
              <a:ext cx="4762" cy="63484"/>
            </a:xfrm>
            <a:custGeom>
              <a:avLst/>
              <a:gdLst>
                <a:gd name="connsiteX0" fmla="*/ 0 w 4762"/>
                <a:gd name="connsiteY0" fmla="*/ 0 h 63484"/>
                <a:gd name="connsiteX1" fmla="*/ 0 w 4762"/>
                <a:gd name="connsiteY1" fmla="*/ 63484 h 634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762" h="63484">
                  <a:moveTo>
                    <a:pt x="0" y="0"/>
                  </a:moveTo>
                  <a:lnTo>
                    <a:pt x="0" y="63484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884" name="Gráfico 10">
            <a:extLst>
              <a:ext uri="{FF2B5EF4-FFF2-40B4-BE49-F238E27FC236}">
                <a16:creationId xmlns:a16="http://schemas.microsoft.com/office/drawing/2014/main" id="{0767916F-3D9C-6ABF-4169-C1EA16082DDF}"/>
              </a:ext>
            </a:extLst>
          </p:cNvPr>
          <p:cNvGrpSpPr/>
          <p:nvPr/>
        </p:nvGrpSpPr>
        <p:grpSpPr>
          <a:xfrm>
            <a:off x="8242853" y="1527734"/>
            <a:ext cx="218751" cy="300208"/>
            <a:chOff x="8242853" y="1527734"/>
            <a:chExt cx="218751" cy="300208"/>
          </a:xfrm>
          <a:noFill/>
        </p:grpSpPr>
        <p:sp>
          <p:nvSpPr>
            <p:cNvPr id="885" name="Forma livre: Forma 884">
              <a:extLst>
                <a:ext uri="{FF2B5EF4-FFF2-40B4-BE49-F238E27FC236}">
                  <a16:creationId xmlns:a16="http://schemas.microsoft.com/office/drawing/2014/main" id="{109BE252-D0AB-AD55-7CE3-CE2F8936CECD}"/>
                </a:ext>
              </a:extLst>
            </p:cNvPr>
            <p:cNvSpPr/>
            <p:nvPr/>
          </p:nvSpPr>
          <p:spPr>
            <a:xfrm>
              <a:off x="8242901" y="1527734"/>
              <a:ext cx="218703" cy="106660"/>
            </a:xfrm>
            <a:custGeom>
              <a:avLst/>
              <a:gdLst>
                <a:gd name="connsiteX0" fmla="*/ 99903 w 218703"/>
                <a:gd name="connsiteY0" fmla="*/ 106423 h 106660"/>
                <a:gd name="connsiteX1" fmla="*/ 109333 w 218703"/>
                <a:gd name="connsiteY1" fmla="*/ 106661 h 106660"/>
                <a:gd name="connsiteX2" fmla="*/ 158529 w 218703"/>
                <a:gd name="connsiteY2" fmla="*/ 99803 h 106660"/>
                <a:gd name="connsiteX3" fmla="*/ 171721 w 218703"/>
                <a:gd name="connsiteY3" fmla="*/ 93421 h 106660"/>
                <a:gd name="connsiteX4" fmla="*/ 173531 w 218703"/>
                <a:gd name="connsiteY4" fmla="*/ 80753 h 106660"/>
                <a:gd name="connsiteX5" fmla="*/ 169483 w 218703"/>
                <a:gd name="connsiteY5" fmla="*/ 54559 h 106660"/>
                <a:gd name="connsiteX6" fmla="*/ 209631 w 218703"/>
                <a:gd name="connsiteY6" fmla="*/ 52892 h 106660"/>
                <a:gd name="connsiteX7" fmla="*/ 218632 w 218703"/>
                <a:gd name="connsiteY7" fmla="*/ 41891 h 106660"/>
                <a:gd name="connsiteX8" fmla="*/ 217251 w 218703"/>
                <a:gd name="connsiteY8" fmla="*/ 30508 h 106660"/>
                <a:gd name="connsiteX9" fmla="*/ 205869 w 218703"/>
                <a:gd name="connsiteY9" fmla="*/ 22174 h 106660"/>
                <a:gd name="connsiteX10" fmla="*/ 173531 w 218703"/>
                <a:gd name="connsiteY10" fmla="*/ 27698 h 106660"/>
                <a:gd name="connsiteX11" fmla="*/ 173531 w 218703"/>
                <a:gd name="connsiteY11" fmla="*/ 13459 h 106660"/>
                <a:gd name="connsiteX12" fmla="*/ 166483 w 218703"/>
                <a:gd name="connsiteY12" fmla="*/ 2076 h 106660"/>
                <a:gd name="connsiteX13" fmla="*/ 157148 w 218703"/>
                <a:gd name="connsiteY13" fmla="*/ 457 h 106660"/>
                <a:gd name="connsiteX14" fmla="*/ 109380 w 218703"/>
                <a:gd name="connsiteY14" fmla="*/ 7601 h 106660"/>
                <a:gd name="connsiteX15" fmla="*/ 61565 w 218703"/>
                <a:gd name="connsiteY15" fmla="*/ 457 h 106660"/>
                <a:gd name="connsiteX16" fmla="*/ 52230 w 218703"/>
                <a:gd name="connsiteY16" fmla="*/ 2076 h 106660"/>
                <a:gd name="connsiteX17" fmla="*/ 45182 w 218703"/>
                <a:gd name="connsiteY17" fmla="*/ 13459 h 106660"/>
                <a:gd name="connsiteX18" fmla="*/ 45182 w 218703"/>
                <a:gd name="connsiteY18" fmla="*/ 27698 h 106660"/>
                <a:gd name="connsiteX19" fmla="*/ 12844 w 218703"/>
                <a:gd name="connsiteY19" fmla="*/ 22174 h 106660"/>
                <a:gd name="connsiteX20" fmla="*/ 1462 w 218703"/>
                <a:gd name="connsiteY20" fmla="*/ 30508 h 106660"/>
                <a:gd name="connsiteX21" fmla="*/ 81 w 218703"/>
                <a:gd name="connsiteY21" fmla="*/ 41891 h 106660"/>
                <a:gd name="connsiteX22" fmla="*/ 9082 w 218703"/>
                <a:gd name="connsiteY22" fmla="*/ 52892 h 106660"/>
                <a:gd name="connsiteX23" fmla="*/ 49230 w 218703"/>
                <a:gd name="connsiteY23" fmla="*/ 54559 h 106660"/>
                <a:gd name="connsiteX24" fmla="*/ 45182 w 218703"/>
                <a:gd name="connsiteY24" fmla="*/ 80753 h 106660"/>
                <a:gd name="connsiteX25" fmla="*/ 46992 w 218703"/>
                <a:gd name="connsiteY25" fmla="*/ 93421 h 106660"/>
                <a:gd name="connsiteX26" fmla="*/ 60184 w 218703"/>
                <a:gd name="connsiteY26" fmla="*/ 99803 h 106660"/>
                <a:gd name="connsiteX27" fmla="*/ 73471 w 218703"/>
                <a:gd name="connsiteY27" fmla="*/ 103041 h 1066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218703" h="106660">
                  <a:moveTo>
                    <a:pt x="99903" y="106423"/>
                  </a:moveTo>
                  <a:cubicBezTo>
                    <a:pt x="103046" y="106565"/>
                    <a:pt x="106189" y="106661"/>
                    <a:pt x="109333" y="106661"/>
                  </a:cubicBezTo>
                  <a:cubicBezTo>
                    <a:pt x="125954" y="106661"/>
                    <a:pt x="142384" y="104375"/>
                    <a:pt x="158529" y="99803"/>
                  </a:cubicBezTo>
                  <a:cubicBezTo>
                    <a:pt x="163530" y="98374"/>
                    <a:pt x="169150" y="97279"/>
                    <a:pt x="171721" y="93421"/>
                  </a:cubicBezTo>
                  <a:cubicBezTo>
                    <a:pt x="174531" y="89278"/>
                    <a:pt x="174246" y="86944"/>
                    <a:pt x="173531" y="80753"/>
                  </a:cubicBezTo>
                  <a:cubicBezTo>
                    <a:pt x="172436" y="71513"/>
                    <a:pt x="170864" y="65560"/>
                    <a:pt x="169483" y="54559"/>
                  </a:cubicBezTo>
                  <a:lnTo>
                    <a:pt x="209631" y="52892"/>
                  </a:lnTo>
                  <a:cubicBezTo>
                    <a:pt x="215251" y="52463"/>
                    <a:pt x="219299" y="47510"/>
                    <a:pt x="218632" y="41891"/>
                  </a:cubicBezTo>
                  <a:lnTo>
                    <a:pt x="217251" y="30508"/>
                  </a:lnTo>
                  <a:cubicBezTo>
                    <a:pt x="216537" y="24889"/>
                    <a:pt x="211441" y="21126"/>
                    <a:pt x="205869" y="22174"/>
                  </a:cubicBezTo>
                  <a:lnTo>
                    <a:pt x="173531" y="27698"/>
                  </a:lnTo>
                  <a:cubicBezTo>
                    <a:pt x="173531" y="23365"/>
                    <a:pt x="173531" y="17078"/>
                    <a:pt x="173531" y="13459"/>
                  </a:cubicBezTo>
                  <a:cubicBezTo>
                    <a:pt x="173531" y="6362"/>
                    <a:pt x="168435" y="3267"/>
                    <a:pt x="166483" y="2076"/>
                  </a:cubicBezTo>
                  <a:cubicBezTo>
                    <a:pt x="164435" y="886"/>
                    <a:pt x="161530" y="-829"/>
                    <a:pt x="157148" y="457"/>
                  </a:cubicBezTo>
                  <a:cubicBezTo>
                    <a:pt x="141146" y="5172"/>
                    <a:pt x="125144" y="7505"/>
                    <a:pt x="109380" y="7601"/>
                  </a:cubicBezTo>
                  <a:cubicBezTo>
                    <a:pt x="93616" y="7505"/>
                    <a:pt x="77567" y="5172"/>
                    <a:pt x="61565" y="457"/>
                  </a:cubicBezTo>
                  <a:cubicBezTo>
                    <a:pt x="57183" y="-829"/>
                    <a:pt x="54278" y="886"/>
                    <a:pt x="52230" y="2076"/>
                  </a:cubicBezTo>
                  <a:cubicBezTo>
                    <a:pt x="50230" y="3219"/>
                    <a:pt x="45182" y="6362"/>
                    <a:pt x="45182" y="13459"/>
                  </a:cubicBezTo>
                  <a:cubicBezTo>
                    <a:pt x="45182" y="17078"/>
                    <a:pt x="45182" y="23365"/>
                    <a:pt x="45182" y="27698"/>
                  </a:cubicBezTo>
                  <a:lnTo>
                    <a:pt x="12844" y="22174"/>
                  </a:lnTo>
                  <a:cubicBezTo>
                    <a:pt x="7272" y="21126"/>
                    <a:pt x="2176" y="24889"/>
                    <a:pt x="1462" y="30508"/>
                  </a:cubicBezTo>
                  <a:lnTo>
                    <a:pt x="81" y="41891"/>
                  </a:lnTo>
                  <a:cubicBezTo>
                    <a:pt x="-633" y="47510"/>
                    <a:pt x="3462" y="52463"/>
                    <a:pt x="9082" y="52892"/>
                  </a:cubicBezTo>
                  <a:lnTo>
                    <a:pt x="49230" y="54559"/>
                  </a:lnTo>
                  <a:cubicBezTo>
                    <a:pt x="47896" y="65560"/>
                    <a:pt x="46325" y="71513"/>
                    <a:pt x="45182" y="80753"/>
                  </a:cubicBezTo>
                  <a:cubicBezTo>
                    <a:pt x="44420" y="86992"/>
                    <a:pt x="44182" y="89278"/>
                    <a:pt x="46992" y="93421"/>
                  </a:cubicBezTo>
                  <a:cubicBezTo>
                    <a:pt x="49611" y="97231"/>
                    <a:pt x="55183" y="98374"/>
                    <a:pt x="60184" y="99803"/>
                  </a:cubicBezTo>
                  <a:cubicBezTo>
                    <a:pt x="64613" y="101041"/>
                    <a:pt x="69042" y="102136"/>
                    <a:pt x="73471" y="103041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886" name="Gráfico 10">
              <a:extLst>
                <a:ext uri="{FF2B5EF4-FFF2-40B4-BE49-F238E27FC236}">
                  <a16:creationId xmlns:a16="http://schemas.microsoft.com/office/drawing/2014/main" id="{AFFDD608-9B7C-3AA4-A16E-99A36B19F61C}"/>
                </a:ext>
              </a:extLst>
            </p:cNvPr>
            <p:cNvGrpSpPr/>
            <p:nvPr/>
          </p:nvGrpSpPr>
          <p:grpSpPr>
            <a:xfrm>
              <a:off x="8242853" y="1626536"/>
              <a:ext cx="218751" cy="104536"/>
              <a:chOff x="8242853" y="1626536"/>
              <a:chExt cx="218751" cy="104536"/>
            </a:xfrm>
            <a:noFill/>
          </p:grpSpPr>
          <p:sp>
            <p:nvSpPr>
              <p:cNvPr id="887" name="Forma livre: Forma 886">
                <a:extLst>
                  <a:ext uri="{FF2B5EF4-FFF2-40B4-BE49-F238E27FC236}">
                    <a16:creationId xmlns:a16="http://schemas.microsoft.com/office/drawing/2014/main" id="{65E739DC-7A81-BDA9-38F7-332AA34BD152}"/>
                  </a:ext>
                </a:extLst>
              </p:cNvPr>
              <p:cNvSpPr/>
              <p:nvPr/>
            </p:nvSpPr>
            <p:spPr>
              <a:xfrm>
                <a:off x="8242853" y="1643824"/>
                <a:ext cx="73471" cy="83677"/>
              </a:xfrm>
              <a:custGeom>
                <a:avLst/>
                <a:gdLst>
                  <a:gd name="connsiteX0" fmla="*/ 45182 w 73471"/>
                  <a:gd name="connsiteY0" fmla="*/ 0 h 83677"/>
                  <a:gd name="connsiteX1" fmla="*/ 45182 w 73471"/>
                  <a:gd name="connsiteY1" fmla="*/ 8334 h 83677"/>
                  <a:gd name="connsiteX2" fmla="*/ 12844 w 73471"/>
                  <a:gd name="connsiteY2" fmla="*/ 2810 h 83677"/>
                  <a:gd name="connsiteX3" fmla="*/ 1462 w 73471"/>
                  <a:gd name="connsiteY3" fmla="*/ 11144 h 83677"/>
                  <a:gd name="connsiteX4" fmla="*/ 81 w 73471"/>
                  <a:gd name="connsiteY4" fmla="*/ 22527 h 83677"/>
                  <a:gd name="connsiteX5" fmla="*/ 9082 w 73471"/>
                  <a:gd name="connsiteY5" fmla="*/ 33528 h 83677"/>
                  <a:gd name="connsiteX6" fmla="*/ 49230 w 73471"/>
                  <a:gd name="connsiteY6" fmla="*/ 35195 h 83677"/>
                  <a:gd name="connsiteX7" fmla="*/ 45182 w 73471"/>
                  <a:gd name="connsiteY7" fmla="*/ 61389 h 83677"/>
                  <a:gd name="connsiteX8" fmla="*/ 46992 w 73471"/>
                  <a:gd name="connsiteY8" fmla="*/ 74057 h 83677"/>
                  <a:gd name="connsiteX9" fmla="*/ 60184 w 73471"/>
                  <a:gd name="connsiteY9" fmla="*/ 80439 h 83677"/>
                  <a:gd name="connsiteX10" fmla="*/ 73471 w 73471"/>
                  <a:gd name="connsiteY10" fmla="*/ 83677 h 836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73471" h="83677">
                    <a:moveTo>
                      <a:pt x="45182" y="0"/>
                    </a:moveTo>
                    <a:cubicBezTo>
                      <a:pt x="45182" y="3619"/>
                      <a:pt x="45182" y="3953"/>
                      <a:pt x="45182" y="8334"/>
                    </a:cubicBezTo>
                    <a:lnTo>
                      <a:pt x="12844" y="2810"/>
                    </a:lnTo>
                    <a:cubicBezTo>
                      <a:pt x="7272" y="1810"/>
                      <a:pt x="2176" y="5525"/>
                      <a:pt x="1462" y="11144"/>
                    </a:cubicBezTo>
                    <a:lnTo>
                      <a:pt x="81" y="22527"/>
                    </a:lnTo>
                    <a:cubicBezTo>
                      <a:pt x="-633" y="28146"/>
                      <a:pt x="3462" y="33099"/>
                      <a:pt x="9082" y="33528"/>
                    </a:cubicBezTo>
                    <a:lnTo>
                      <a:pt x="49230" y="35195"/>
                    </a:lnTo>
                    <a:cubicBezTo>
                      <a:pt x="47896" y="46196"/>
                      <a:pt x="46325" y="52149"/>
                      <a:pt x="45182" y="61389"/>
                    </a:cubicBezTo>
                    <a:cubicBezTo>
                      <a:pt x="44420" y="67627"/>
                      <a:pt x="44182" y="69913"/>
                      <a:pt x="46992" y="74057"/>
                    </a:cubicBezTo>
                    <a:cubicBezTo>
                      <a:pt x="49611" y="77914"/>
                      <a:pt x="55183" y="79010"/>
                      <a:pt x="60184" y="80439"/>
                    </a:cubicBezTo>
                    <a:cubicBezTo>
                      <a:pt x="64613" y="81677"/>
                      <a:pt x="69042" y="82772"/>
                      <a:pt x="73471" y="83677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888" name="Forma livre: Forma 887">
                <a:extLst>
                  <a:ext uri="{FF2B5EF4-FFF2-40B4-BE49-F238E27FC236}">
                    <a16:creationId xmlns:a16="http://schemas.microsoft.com/office/drawing/2014/main" id="{DAD98715-EA0F-DE7B-8207-398C384A2570}"/>
                  </a:ext>
                </a:extLst>
              </p:cNvPr>
              <p:cNvSpPr/>
              <p:nvPr/>
            </p:nvSpPr>
            <p:spPr>
              <a:xfrm>
                <a:off x="8342804" y="1626536"/>
                <a:ext cx="118800" cy="104536"/>
              </a:xfrm>
              <a:custGeom>
                <a:avLst/>
                <a:gdLst>
                  <a:gd name="connsiteX0" fmla="*/ 0 w 118800"/>
                  <a:gd name="connsiteY0" fmla="*/ 104299 h 104536"/>
                  <a:gd name="connsiteX1" fmla="*/ 9430 w 118800"/>
                  <a:gd name="connsiteY1" fmla="*/ 104537 h 104536"/>
                  <a:gd name="connsiteX2" fmla="*/ 58626 w 118800"/>
                  <a:gd name="connsiteY2" fmla="*/ 97679 h 104536"/>
                  <a:gd name="connsiteX3" fmla="*/ 71818 w 118800"/>
                  <a:gd name="connsiteY3" fmla="*/ 91297 h 104536"/>
                  <a:gd name="connsiteX4" fmla="*/ 73628 w 118800"/>
                  <a:gd name="connsiteY4" fmla="*/ 78629 h 104536"/>
                  <a:gd name="connsiteX5" fmla="*/ 69580 w 118800"/>
                  <a:gd name="connsiteY5" fmla="*/ 52435 h 104536"/>
                  <a:gd name="connsiteX6" fmla="*/ 109728 w 118800"/>
                  <a:gd name="connsiteY6" fmla="*/ 50768 h 104536"/>
                  <a:gd name="connsiteX7" fmla="*/ 118729 w 118800"/>
                  <a:gd name="connsiteY7" fmla="*/ 39767 h 104536"/>
                  <a:gd name="connsiteX8" fmla="*/ 117348 w 118800"/>
                  <a:gd name="connsiteY8" fmla="*/ 28385 h 104536"/>
                  <a:gd name="connsiteX9" fmla="*/ 105966 w 118800"/>
                  <a:gd name="connsiteY9" fmla="*/ 20050 h 104536"/>
                  <a:gd name="connsiteX10" fmla="*/ 73628 w 118800"/>
                  <a:gd name="connsiteY10" fmla="*/ 25575 h 104536"/>
                  <a:gd name="connsiteX11" fmla="*/ 73628 w 118800"/>
                  <a:gd name="connsiteY11" fmla="*/ 11335 h 104536"/>
                  <a:gd name="connsiteX12" fmla="*/ 66580 w 118800"/>
                  <a:gd name="connsiteY12" fmla="*/ 0 h 1045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18800" h="104536">
                    <a:moveTo>
                      <a:pt x="0" y="104299"/>
                    </a:moveTo>
                    <a:cubicBezTo>
                      <a:pt x="3143" y="104489"/>
                      <a:pt x="6286" y="104537"/>
                      <a:pt x="9430" y="104537"/>
                    </a:cubicBezTo>
                    <a:cubicBezTo>
                      <a:pt x="26051" y="104537"/>
                      <a:pt x="42481" y="102251"/>
                      <a:pt x="58626" y="97679"/>
                    </a:cubicBezTo>
                    <a:cubicBezTo>
                      <a:pt x="63627" y="96250"/>
                      <a:pt x="69247" y="95155"/>
                      <a:pt x="71818" y="91297"/>
                    </a:cubicBezTo>
                    <a:cubicBezTo>
                      <a:pt x="74628" y="87154"/>
                      <a:pt x="74343" y="84868"/>
                      <a:pt x="73628" y="78629"/>
                    </a:cubicBezTo>
                    <a:cubicBezTo>
                      <a:pt x="72533" y="69390"/>
                      <a:pt x="70961" y="63437"/>
                      <a:pt x="69580" y="52435"/>
                    </a:cubicBezTo>
                    <a:lnTo>
                      <a:pt x="109728" y="50768"/>
                    </a:lnTo>
                    <a:cubicBezTo>
                      <a:pt x="115348" y="50340"/>
                      <a:pt x="119396" y="45387"/>
                      <a:pt x="118729" y="39767"/>
                    </a:cubicBezTo>
                    <a:lnTo>
                      <a:pt x="117348" y="28385"/>
                    </a:lnTo>
                    <a:cubicBezTo>
                      <a:pt x="116634" y="22765"/>
                      <a:pt x="111538" y="19002"/>
                      <a:pt x="105966" y="20050"/>
                    </a:cubicBezTo>
                    <a:lnTo>
                      <a:pt x="73628" y="25575"/>
                    </a:lnTo>
                    <a:cubicBezTo>
                      <a:pt x="73628" y="21241"/>
                      <a:pt x="73628" y="14954"/>
                      <a:pt x="73628" y="11335"/>
                    </a:cubicBezTo>
                    <a:cubicBezTo>
                      <a:pt x="73628" y="4286"/>
                      <a:pt x="68532" y="1143"/>
                      <a:pt x="66580" y="0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889" name="Forma livre: Forma 888">
              <a:extLst>
                <a:ext uri="{FF2B5EF4-FFF2-40B4-BE49-F238E27FC236}">
                  <a16:creationId xmlns:a16="http://schemas.microsoft.com/office/drawing/2014/main" id="{BD8EF614-8B6B-57F1-6F12-74428F74FB72}"/>
                </a:ext>
              </a:extLst>
            </p:cNvPr>
            <p:cNvSpPr/>
            <p:nvPr/>
          </p:nvSpPr>
          <p:spPr>
            <a:xfrm>
              <a:off x="8242853" y="1723358"/>
              <a:ext cx="218751" cy="104584"/>
            </a:xfrm>
            <a:custGeom>
              <a:avLst/>
              <a:gdLst>
                <a:gd name="connsiteX0" fmla="*/ 45182 w 218751"/>
                <a:gd name="connsiteY0" fmla="*/ 17335 h 104584"/>
                <a:gd name="connsiteX1" fmla="*/ 45182 w 218751"/>
                <a:gd name="connsiteY1" fmla="*/ 25622 h 104584"/>
                <a:gd name="connsiteX2" fmla="*/ 12844 w 218751"/>
                <a:gd name="connsiteY2" fmla="*/ 20098 h 104584"/>
                <a:gd name="connsiteX3" fmla="*/ 1462 w 218751"/>
                <a:gd name="connsiteY3" fmla="*/ 28432 h 104584"/>
                <a:gd name="connsiteX4" fmla="*/ 81 w 218751"/>
                <a:gd name="connsiteY4" fmla="*/ 39814 h 104584"/>
                <a:gd name="connsiteX5" fmla="*/ 9082 w 218751"/>
                <a:gd name="connsiteY5" fmla="*/ 50816 h 104584"/>
                <a:gd name="connsiteX6" fmla="*/ 49230 w 218751"/>
                <a:gd name="connsiteY6" fmla="*/ 52483 h 104584"/>
                <a:gd name="connsiteX7" fmla="*/ 45182 w 218751"/>
                <a:gd name="connsiteY7" fmla="*/ 78677 h 104584"/>
                <a:gd name="connsiteX8" fmla="*/ 46992 w 218751"/>
                <a:gd name="connsiteY8" fmla="*/ 91345 h 104584"/>
                <a:gd name="connsiteX9" fmla="*/ 60184 w 218751"/>
                <a:gd name="connsiteY9" fmla="*/ 97727 h 104584"/>
                <a:gd name="connsiteX10" fmla="*/ 109380 w 218751"/>
                <a:gd name="connsiteY10" fmla="*/ 104585 h 104584"/>
                <a:gd name="connsiteX11" fmla="*/ 158577 w 218751"/>
                <a:gd name="connsiteY11" fmla="*/ 97727 h 104584"/>
                <a:gd name="connsiteX12" fmla="*/ 171769 w 218751"/>
                <a:gd name="connsiteY12" fmla="*/ 91345 h 104584"/>
                <a:gd name="connsiteX13" fmla="*/ 173579 w 218751"/>
                <a:gd name="connsiteY13" fmla="*/ 78677 h 104584"/>
                <a:gd name="connsiteX14" fmla="*/ 169531 w 218751"/>
                <a:gd name="connsiteY14" fmla="*/ 52483 h 104584"/>
                <a:gd name="connsiteX15" fmla="*/ 209679 w 218751"/>
                <a:gd name="connsiteY15" fmla="*/ 50816 h 104584"/>
                <a:gd name="connsiteX16" fmla="*/ 218680 w 218751"/>
                <a:gd name="connsiteY16" fmla="*/ 39814 h 104584"/>
                <a:gd name="connsiteX17" fmla="*/ 217299 w 218751"/>
                <a:gd name="connsiteY17" fmla="*/ 28432 h 104584"/>
                <a:gd name="connsiteX18" fmla="*/ 205916 w 218751"/>
                <a:gd name="connsiteY18" fmla="*/ 20098 h 104584"/>
                <a:gd name="connsiteX19" fmla="*/ 173579 w 218751"/>
                <a:gd name="connsiteY19" fmla="*/ 25622 h 104584"/>
                <a:gd name="connsiteX20" fmla="*/ 173579 w 218751"/>
                <a:gd name="connsiteY20" fmla="*/ 11382 h 104584"/>
                <a:gd name="connsiteX21" fmla="*/ 166530 w 218751"/>
                <a:gd name="connsiteY21" fmla="*/ 0 h 1045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218751" h="104584">
                  <a:moveTo>
                    <a:pt x="45182" y="17335"/>
                  </a:moveTo>
                  <a:cubicBezTo>
                    <a:pt x="45182" y="20955"/>
                    <a:pt x="45182" y="21288"/>
                    <a:pt x="45182" y="25622"/>
                  </a:cubicBezTo>
                  <a:lnTo>
                    <a:pt x="12844" y="20098"/>
                  </a:lnTo>
                  <a:cubicBezTo>
                    <a:pt x="7272" y="19050"/>
                    <a:pt x="2176" y="22812"/>
                    <a:pt x="1462" y="28432"/>
                  </a:cubicBezTo>
                  <a:lnTo>
                    <a:pt x="81" y="39814"/>
                  </a:lnTo>
                  <a:cubicBezTo>
                    <a:pt x="-633" y="45434"/>
                    <a:pt x="3462" y="50387"/>
                    <a:pt x="9082" y="50816"/>
                  </a:cubicBezTo>
                  <a:lnTo>
                    <a:pt x="49230" y="52483"/>
                  </a:lnTo>
                  <a:cubicBezTo>
                    <a:pt x="47896" y="63484"/>
                    <a:pt x="46325" y="69437"/>
                    <a:pt x="45182" y="78677"/>
                  </a:cubicBezTo>
                  <a:cubicBezTo>
                    <a:pt x="44420" y="84915"/>
                    <a:pt x="44182" y="87201"/>
                    <a:pt x="46992" y="91345"/>
                  </a:cubicBezTo>
                  <a:cubicBezTo>
                    <a:pt x="49611" y="95155"/>
                    <a:pt x="55183" y="96298"/>
                    <a:pt x="60184" y="97727"/>
                  </a:cubicBezTo>
                  <a:cubicBezTo>
                    <a:pt x="76329" y="102298"/>
                    <a:pt x="92759" y="104585"/>
                    <a:pt x="109380" y="104585"/>
                  </a:cubicBezTo>
                  <a:cubicBezTo>
                    <a:pt x="126001" y="104585"/>
                    <a:pt x="142432" y="102298"/>
                    <a:pt x="158577" y="97727"/>
                  </a:cubicBezTo>
                  <a:cubicBezTo>
                    <a:pt x="163578" y="96298"/>
                    <a:pt x="169197" y="95202"/>
                    <a:pt x="171769" y="91345"/>
                  </a:cubicBezTo>
                  <a:cubicBezTo>
                    <a:pt x="174579" y="87201"/>
                    <a:pt x="174293" y="84868"/>
                    <a:pt x="173579" y="78677"/>
                  </a:cubicBezTo>
                  <a:cubicBezTo>
                    <a:pt x="172483" y="69437"/>
                    <a:pt x="170912" y="63484"/>
                    <a:pt x="169531" y="52483"/>
                  </a:cubicBezTo>
                  <a:lnTo>
                    <a:pt x="209679" y="50816"/>
                  </a:lnTo>
                  <a:cubicBezTo>
                    <a:pt x="215298" y="50387"/>
                    <a:pt x="219346" y="45434"/>
                    <a:pt x="218680" y="39814"/>
                  </a:cubicBezTo>
                  <a:lnTo>
                    <a:pt x="217299" y="28432"/>
                  </a:lnTo>
                  <a:cubicBezTo>
                    <a:pt x="216584" y="22812"/>
                    <a:pt x="211488" y="19050"/>
                    <a:pt x="205916" y="20098"/>
                  </a:cubicBezTo>
                  <a:lnTo>
                    <a:pt x="173579" y="25622"/>
                  </a:lnTo>
                  <a:cubicBezTo>
                    <a:pt x="173579" y="21288"/>
                    <a:pt x="173579" y="15002"/>
                    <a:pt x="173579" y="11382"/>
                  </a:cubicBezTo>
                  <a:cubicBezTo>
                    <a:pt x="173579" y="4286"/>
                    <a:pt x="168483" y="1191"/>
                    <a:pt x="166530" y="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891" name="Gráfico 11">
            <a:extLst>
              <a:ext uri="{FF2B5EF4-FFF2-40B4-BE49-F238E27FC236}">
                <a16:creationId xmlns:a16="http://schemas.microsoft.com/office/drawing/2014/main" id="{D6DAD50C-1908-047F-CD90-27547C7B1E03}"/>
              </a:ext>
            </a:extLst>
          </p:cNvPr>
          <p:cNvGrpSpPr/>
          <p:nvPr/>
        </p:nvGrpSpPr>
        <p:grpSpPr>
          <a:xfrm>
            <a:off x="9993787" y="2042827"/>
            <a:ext cx="286178" cy="323230"/>
            <a:chOff x="9993787" y="2042827"/>
            <a:chExt cx="286178" cy="323230"/>
          </a:xfrm>
          <a:noFill/>
        </p:grpSpPr>
        <p:grpSp>
          <p:nvGrpSpPr>
            <p:cNvPr id="892" name="Gráfico 11">
              <a:extLst>
                <a:ext uri="{FF2B5EF4-FFF2-40B4-BE49-F238E27FC236}">
                  <a16:creationId xmlns:a16="http://schemas.microsoft.com/office/drawing/2014/main" id="{F02FE8BB-5612-6493-3601-E0A55581F8D4}"/>
                </a:ext>
              </a:extLst>
            </p:cNvPr>
            <p:cNvGrpSpPr/>
            <p:nvPr/>
          </p:nvGrpSpPr>
          <p:grpSpPr>
            <a:xfrm>
              <a:off x="10036650" y="2042827"/>
              <a:ext cx="199453" cy="238172"/>
              <a:chOff x="10036650" y="2042827"/>
              <a:chExt cx="199453" cy="238172"/>
            </a:xfrm>
            <a:noFill/>
          </p:grpSpPr>
          <p:sp>
            <p:nvSpPr>
              <p:cNvPr id="893" name="Forma livre: Forma 892">
                <a:extLst>
                  <a:ext uri="{FF2B5EF4-FFF2-40B4-BE49-F238E27FC236}">
                    <a16:creationId xmlns:a16="http://schemas.microsoft.com/office/drawing/2014/main" id="{478DFD19-008B-1754-295A-9F1B3D09220E}"/>
                  </a:ext>
                </a:extLst>
              </p:cNvPr>
              <p:cNvSpPr/>
              <p:nvPr/>
            </p:nvSpPr>
            <p:spPr>
              <a:xfrm>
                <a:off x="10091514" y="2042827"/>
                <a:ext cx="89677" cy="238172"/>
              </a:xfrm>
              <a:custGeom>
                <a:avLst/>
                <a:gdLst>
                  <a:gd name="connsiteX0" fmla="*/ 44863 w 89677"/>
                  <a:gd name="connsiteY0" fmla="*/ 0 h 238172"/>
                  <a:gd name="connsiteX1" fmla="*/ 0 w 89677"/>
                  <a:gd name="connsiteY1" fmla="*/ 67246 h 238172"/>
                  <a:gd name="connsiteX2" fmla="*/ 0 w 89677"/>
                  <a:gd name="connsiteY2" fmla="*/ 238173 h 238172"/>
                  <a:gd name="connsiteX3" fmla="*/ 89678 w 89677"/>
                  <a:gd name="connsiteY3" fmla="*/ 238173 h 238172"/>
                  <a:gd name="connsiteX4" fmla="*/ 89678 w 89677"/>
                  <a:gd name="connsiteY4" fmla="*/ 67246 h 238172"/>
                  <a:gd name="connsiteX5" fmla="*/ 44815 w 89677"/>
                  <a:gd name="connsiteY5" fmla="*/ 0 h 2381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89677" h="238172">
                    <a:moveTo>
                      <a:pt x="44863" y="0"/>
                    </a:moveTo>
                    <a:cubicBezTo>
                      <a:pt x="44863" y="0"/>
                      <a:pt x="0" y="47292"/>
                      <a:pt x="0" y="67246"/>
                    </a:cubicBezTo>
                    <a:lnTo>
                      <a:pt x="0" y="238173"/>
                    </a:lnTo>
                    <a:lnTo>
                      <a:pt x="89678" y="238173"/>
                    </a:lnTo>
                    <a:lnTo>
                      <a:pt x="89678" y="67246"/>
                    </a:lnTo>
                    <a:cubicBezTo>
                      <a:pt x="89678" y="47244"/>
                      <a:pt x="44815" y="0"/>
                      <a:pt x="44815" y="0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894" name="Gráfico 11">
                <a:extLst>
                  <a:ext uri="{FF2B5EF4-FFF2-40B4-BE49-F238E27FC236}">
                    <a16:creationId xmlns:a16="http://schemas.microsoft.com/office/drawing/2014/main" id="{DC467636-8966-F504-518F-1BBCD0DA18A8}"/>
                  </a:ext>
                </a:extLst>
              </p:cNvPr>
              <p:cNvGrpSpPr/>
              <p:nvPr/>
            </p:nvGrpSpPr>
            <p:grpSpPr>
              <a:xfrm>
                <a:off x="10036650" y="2151221"/>
                <a:ext cx="199453" cy="113776"/>
                <a:chOff x="10036650" y="2151221"/>
                <a:chExt cx="199453" cy="113776"/>
              </a:xfrm>
              <a:noFill/>
            </p:grpSpPr>
            <p:sp>
              <p:nvSpPr>
                <p:cNvPr id="895" name="Forma livre: Forma 894">
                  <a:extLst>
                    <a:ext uri="{FF2B5EF4-FFF2-40B4-BE49-F238E27FC236}">
                      <a16:creationId xmlns:a16="http://schemas.microsoft.com/office/drawing/2014/main" id="{368F64A3-C169-5F6B-A4AD-89B8E026270F}"/>
                    </a:ext>
                  </a:extLst>
                </p:cNvPr>
                <p:cNvSpPr/>
                <p:nvPr/>
              </p:nvSpPr>
              <p:spPr>
                <a:xfrm>
                  <a:off x="10036650" y="2151221"/>
                  <a:ext cx="54863" cy="113776"/>
                </a:xfrm>
                <a:custGeom>
                  <a:avLst/>
                  <a:gdLst>
                    <a:gd name="connsiteX0" fmla="*/ 54864 w 54863"/>
                    <a:gd name="connsiteY0" fmla="*/ 0 h 113776"/>
                    <a:gd name="connsiteX1" fmla="*/ 16764 w 54863"/>
                    <a:gd name="connsiteY1" fmla="*/ 56483 h 113776"/>
                    <a:gd name="connsiteX2" fmla="*/ 3286 w 54863"/>
                    <a:gd name="connsiteY2" fmla="*/ 70152 h 113776"/>
                    <a:gd name="connsiteX3" fmla="*/ 0 w 54863"/>
                    <a:gd name="connsiteY3" fmla="*/ 88059 h 113776"/>
                    <a:gd name="connsiteX4" fmla="*/ 0 w 54863"/>
                    <a:gd name="connsiteY4" fmla="*/ 113776 h 113776"/>
                    <a:gd name="connsiteX5" fmla="*/ 34623 w 54863"/>
                    <a:gd name="connsiteY5" fmla="*/ 113776 h 11377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54863" h="113776">
                      <a:moveTo>
                        <a:pt x="54864" y="0"/>
                      </a:moveTo>
                      <a:cubicBezTo>
                        <a:pt x="54864" y="12144"/>
                        <a:pt x="42434" y="35862"/>
                        <a:pt x="16764" y="56483"/>
                      </a:cubicBezTo>
                      <a:cubicBezTo>
                        <a:pt x="11763" y="60531"/>
                        <a:pt x="6525" y="64770"/>
                        <a:pt x="3286" y="70152"/>
                      </a:cubicBezTo>
                      <a:cubicBezTo>
                        <a:pt x="238" y="75152"/>
                        <a:pt x="0" y="82058"/>
                        <a:pt x="0" y="88059"/>
                      </a:cubicBezTo>
                      <a:lnTo>
                        <a:pt x="0" y="113776"/>
                      </a:lnTo>
                      <a:lnTo>
                        <a:pt x="34623" y="113776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896" name="Forma livre: Forma 895">
                  <a:extLst>
                    <a:ext uri="{FF2B5EF4-FFF2-40B4-BE49-F238E27FC236}">
                      <a16:creationId xmlns:a16="http://schemas.microsoft.com/office/drawing/2014/main" id="{AC1BB970-8B36-F1AE-C6A1-1544EB13FFBC}"/>
                    </a:ext>
                  </a:extLst>
                </p:cNvPr>
                <p:cNvSpPr/>
                <p:nvPr/>
              </p:nvSpPr>
              <p:spPr>
                <a:xfrm>
                  <a:off x="10181239" y="2151221"/>
                  <a:ext cx="54863" cy="113776"/>
                </a:xfrm>
                <a:custGeom>
                  <a:avLst/>
                  <a:gdLst>
                    <a:gd name="connsiteX0" fmla="*/ 0 w 54863"/>
                    <a:gd name="connsiteY0" fmla="*/ 0 h 113776"/>
                    <a:gd name="connsiteX1" fmla="*/ 38100 w 54863"/>
                    <a:gd name="connsiteY1" fmla="*/ 56483 h 113776"/>
                    <a:gd name="connsiteX2" fmla="*/ 51578 w 54863"/>
                    <a:gd name="connsiteY2" fmla="*/ 70152 h 113776"/>
                    <a:gd name="connsiteX3" fmla="*/ 54864 w 54863"/>
                    <a:gd name="connsiteY3" fmla="*/ 88059 h 113776"/>
                    <a:gd name="connsiteX4" fmla="*/ 54864 w 54863"/>
                    <a:gd name="connsiteY4" fmla="*/ 113776 h 113776"/>
                    <a:gd name="connsiteX5" fmla="*/ 19288 w 54863"/>
                    <a:gd name="connsiteY5" fmla="*/ 113776 h 11377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54863" h="113776">
                      <a:moveTo>
                        <a:pt x="0" y="0"/>
                      </a:moveTo>
                      <a:cubicBezTo>
                        <a:pt x="0" y="12144"/>
                        <a:pt x="12430" y="35862"/>
                        <a:pt x="38100" y="56483"/>
                      </a:cubicBezTo>
                      <a:cubicBezTo>
                        <a:pt x="43101" y="60531"/>
                        <a:pt x="48339" y="64770"/>
                        <a:pt x="51578" y="70152"/>
                      </a:cubicBezTo>
                      <a:cubicBezTo>
                        <a:pt x="54626" y="75152"/>
                        <a:pt x="54864" y="82058"/>
                        <a:pt x="54864" y="88059"/>
                      </a:cubicBezTo>
                      <a:lnTo>
                        <a:pt x="54864" y="113776"/>
                      </a:lnTo>
                      <a:lnTo>
                        <a:pt x="19288" y="113776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897" name="Forma livre: Forma 896">
                <a:extLst>
                  <a:ext uri="{FF2B5EF4-FFF2-40B4-BE49-F238E27FC236}">
                    <a16:creationId xmlns:a16="http://schemas.microsoft.com/office/drawing/2014/main" id="{4E9F38F5-10E3-D82D-BE39-12EC2112B843}"/>
                  </a:ext>
                </a:extLst>
              </p:cNvPr>
              <p:cNvSpPr/>
              <p:nvPr/>
            </p:nvSpPr>
            <p:spPr>
              <a:xfrm>
                <a:off x="10119994" y="2117550"/>
                <a:ext cx="32765" cy="7572"/>
              </a:xfrm>
              <a:custGeom>
                <a:avLst/>
                <a:gdLst>
                  <a:gd name="connsiteX0" fmla="*/ 32766 w 32765"/>
                  <a:gd name="connsiteY0" fmla="*/ 7572 h 7572"/>
                  <a:gd name="connsiteX1" fmla="*/ 16383 w 32765"/>
                  <a:gd name="connsiteY1" fmla="*/ 0 h 7572"/>
                  <a:gd name="connsiteX2" fmla="*/ 0 w 32765"/>
                  <a:gd name="connsiteY2" fmla="*/ 7572 h 75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2765" h="7572">
                    <a:moveTo>
                      <a:pt x="32766" y="7572"/>
                    </a:moveTo>
                    <a:cubicBezTo>
                      <a:pt x="30051" y="3096"/>
                      <a:pt x="23765" y="0"/>
                      <a:pt x="16383" y="0"/>
                    </a:cubicBezTo>
                    <a:cubicBezTo>
                      <a:pt x="9001" y="0"/>
                      <a:pt x="2715" y="3143"/>
                      <a:pt x="0" y="7572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898" name="Gráfico 11">
              <a:extLst>
                <a:ext uri="{FF2B5EF4-FFF2-40B4-BE49-F238E27FC236}">
                  <a16:creationId xmlns:a16="http://schemas.microsoft.com/office/drawing/2014/main" id="{B09BBAA2-9487-D4AD-80D8-EFF8D8D10C28}"/>
                </a:ext>
              </a:extLst>
            </p:cNvPr>
            <p:cNvGrpSpPr/>
            <p:nvPr/>
          </p:nvGrpSpPr>
          <p:grpSpPr>
            <a:xfrm>
              <a:off x="9993787" y="2285333"/>
              <a:ext cx="286178" cy="80724"/>
              <a:chOff x="9993787" y="2285333"/>
              <a:chExt cx="286178" cy="80724"/>
            </a:xfrm>
            <a:noFill/>
          </p:grpSpPr>
          <p:grpSp>
            <p:nvGrpSpPr>
              <p:cNvPr id="899" name="Gráfico 11">
                <a:extLst>
                  <a:ext uri="{FF2B5EF4-FFF2-40B4-BE49-F238E27FC236}">
                    <a16:creationId xmlns:a16="http://schemas.microsoft.com/office/drawing/2014/main" id="{EDEF0F06-65B1-921E-CF61-ECDBAF8D613A}"/>
                  </a:ext>
                </a:extLst>
              </p:cNvPr>
              <p:cNvGrpSpPr/>
              <p:nvPr/>
            </p:nvGrpSpPr>
            <p:grpSpPr>
              <a:xfrm>
                <a:off x="10154903" y="2285381"/>
                <a:ext cx="125063" cy="80676"/>
                <a:chOff x="10154903" y="2285381"/>
                <a:chExt cx="125063" cy="80676"/>
              </a:xfrm>
              <a:noFill/>
            </p:grpSpPr>
            <p:sp>
              <p:nvSpPr>
                <p:cNvPr id="900" name="Forma livre: Forma 899">
                  <a:extLst>
                    <a:ext uri="{FF2B5EF4-FFF2-40B4-BE49-F238E27FC236}">
                      <a16:creationId xmlns:a16="http://schemas.microsoft.com/office/drawing/2014/main" id="{6D42200C-19ED-D818-278A-32325D784D05}"/>
                    </a:ext>
                  </a:extLst>
                </p:cNvPr>
                <p:cNvSpPr/>
                <p:nvPr/>
              </p:nvSpPr>
              <p:spPr>
                <a:xfrm>
                  <a:off x="10154903" y="2285381"/>
                  <a:ext cx="68294" cy="80676"/>
                </a:xfrm>
                <a:custGeom>
                  <a:avLst/>
                  <a:gdLst>
                    <a:gd name="connsiteX0" fmla="*/ 0 w 68294"/>
                    <a:gd name="connsiteY0" fmla="*/ 0 h 80676"/>
                    <a:gd name="connsiteX1" fmla="*/ 28480 w 68294"/>
                    <a:gd name="connsiteY1" fmla="*/ 80677 h 80676"/>
                    <a:gd name="connsiteX2" fmla="*/ 42243 w 68294"/>
                    <a:gd name="connsiteY2" fmla="*/ 54674 h 80676"/>
                    <a:gd name="connsiteX3" fmla="*/ 58388 w 68294"/>
                    <a:gd name="connsiteY3" fmla="*/ 56340 h 80676"/>
                    <a:gd name="connsiteX4" fmla="*/ 68294 w 68294"/>
                    <a:gd name="connsiteY4" fmla="*/ 68485 h 8067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68294" h="80676">
                      <a:moveTo>
                        <a:pt x="0" y="0"/>
                      </a:moveTo>
                      <a:cubicBezTo>
                        <a:pt x="0" y="0"/>
                        <a:pt x="1143" y="69437"/>
                        <a:pt x="28480" y="80677"/>
                      </a:cubicBezTo>
                      <a:cubicBezTo>
                        <a:pt x="25098" y="69675"/>
                        <a:pt x="31290" y="58055"/>
                        <a:pt x="42243" y="54674"/>
                      </a:cubicBezTo>
                      <a:cubicBezTo>
                        <a:pt x="47815" y="52959"/>
                        <a:pt x="53626" y="53721"/>
                        <a:pt x="58388" y="56340"/>
                      </a:cubicBezTo>
                      <a:cubicBezTo>
                        <a:pt x="62960" y="58865"/>
                        <a:pt x="66627" y="63103"/>
                        <a:pt x="68294" y="68485"/>
                      </a:cubicBez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901" name="Forma livre: Forma 900">
                  <a:extLst>
                    <a:ext uri="{FF2B5EF4-FFF2-40B4-BE49-F238E27FC236}">
                      <a16:creationId xmlns:a16="http://schemas.microsoft.com/office/drawing/2014/main" id="{88B92E6B-0DFE-8658-1D4B-71FE64CEB622}"/>
                    </a:ext>
                  </a:extLst>
                </p:cNvPr>
                <p:cNvSpPr/>
                <p:nvPr/>
              </p:nvSpPr>
              <p:spPr>
                <a:xfrm>
                  <a:off x="10212577" y="2316357"/>
                  <a:ext cx="67389" cy="32983"/>
                </a:xfrm>
                <a:custGeom>
                  <a:avLst/>
                  <a:gdLst>
                    <a:gd name="connsiteX0" fmla="*/ 67389 w 67389"/>
                    <a:gd name="connsiteY0" fmla="*/ 32984 h 32983"/>
                    <a:gd name="connsiteX1" fmla="*/ 56626 w 67389"/>
                    <a:gd name="connsiteY1" fmla="*/ 9410 h 32983"/>
                    <a:gd name="connsiteX2" fmla="*/ 31528 w 67389"/>
                    <a:gd name="connsiteY2" fmla="*/ 27 h 32983"/>
                    <a:gd name="connsiteX3" fmla="*/ 0 w 67389"/>
                    <a:gd name="connsiteY3" fmla="*/ 24602 h 3298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67389" h="32983">
                      <a:moveTo>
                        <a:pt x="67389" y="32984"/>
                      </a:moveTo>
                      <a:cubicBezTo>
                        <a:pt x="67008" y="23649"/>
                        <a:pt x="62913" y="15363"/>
                        <a:pt x="56626" y="9410"/>
                      </a:cubicBezTo>
                      <a:cubicBezTo>
                        <a:pt x="50101" y="3266"/>
                        <a:pt x="41196" y="-354"/>
                        <a:pt x="31528" y="27"/>
                      </a:cubicBezTo>
                      <a:cubicBezTo>
                        <a:pt x="16431" y="647"/>
                        <a:pt x="4048" y="10934"/>
                        <a:pt x="0" y="24602"/>
                      </a:cubicBez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902" name="Gráfico 11">
                <a:extLst>
                  <a:ext uri="{FF2B5EF4-FFF2-40B4-BE49-F238E27FC236}">
                    <a16:creationId xmlns:a16="http://schemas.microsoft.com/office/drawing/2014/main" id="{19872781-1D51-5A50-4EF0-9C9C643FCE5C}"/>
                  </a:ext>
                </a:extLst>
              </p:cNvPr>
              <p:cNvGrpSpPr/>
              <p:nvPr/>
            </p:nvGrpSpPr>
            <p:grpSpPr>
              <a:xfrm>
                <a:off x="9993787" y="2285333"/>
                <a:ext cx="125063" cy="80676"/>
                <a:chOff x="9993787" y="2285333"/>
                <a:chExt cx="125063" cy="80676"/>
              </a:xfrm>
              <a:noFill/>
            </p:grpSpPr>
            <p:sp>
              <p:nvSpPr>
                <p:cNvPr id="903" name="Forma livre: Forma 902">
                  <a:extLst>
                    <a:ext uri="{FF2B5EF4-FFF2-40B4-BE49-F238E27FC236}">
                      <a16:creationId xmlns:a16="http://schemas.microsoft.com/office/drawing/2014/main" id="{97861B69-AE80-FC3C-90EB-C5F333B599C1}"/>
                    </a:ext>
                  </a:extLst>
                </p:cNvPr>
                <p:cNvSpPr/>
                <p:nvPr/>
              </p:nvSpPr>
              <p:spPr>
                <a:xfrm>
                  <a:off x="10050556" y="2285333"/>
                  <a:ext cx="68294" cy="80676"/>
                </a:xfrm>
                <a:custGeom>
                  <a:avLst/>
                  <a:gdLst>
                    <a:gd name="connsiteX0" fmla="*/ 0 w 68294"/>
                    <a:gd name="connsiteY0" fmla="*/ 68485 h 80676"/>
                    <a:gd name="connsiteX1" fmla="*/ 9906 w 68294"/>
                    <a:gd name="connsiteY1" fmla="*/ 56340 h 80676"/>
                    <a:gd name="connsiteX2" fmla="*/ 26051 w 68294"/>
                    <a:gd name="connsiteY2" fmla="*/ 54674 h 80676"/>
                    <a:gd name="connsiteX3" fmla="*/ 39814 w 68294"/>
                    <a:gd name="connsiteY3" fmla="*/ 80677 h 80676"/>
                    <a:gd name="connsiteX4" fmla="*/ 68294 w 68294"/>
                    <a:gd name="connsiteY4" fmla="*/ 0 h 8067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68294" h="80676">
                      <a:moveTo>
                        <a:pt x="0" y="68485"/>
                      </a:moveTo>
                      <a:cubicBezTo>
                        <a:pt x="1667" y="63103"/>
                        <a:pt x="5286" y="58865"/>
                        <a:pt x="9906" y="56340"/>
                      </a:cubicBezTo>
                      <a:cubicBezTo>
                        <a:pt x="14668" y="53721"/>
                        <a:pt x="20431" y="52959"/>
                        <a:pt x="26051" y="54674"/>
                      </a:cubicBezTo>
                      <a:cubicBezTo>
                        <a:pt x="37052" y="58055"/>
                        <a:pt x="43196" y="69675"/>
                        <a:pt x="39814" y="80677"/>
                      </a:cubicBezTo>
                      <a:cubicBezTo>
                        <a:pt x="67675" y="72057"/>
                        <a:pt x="68294" y="0"/>
                        <a:pt x="68294" y="0"/>
                      </a:cubicBez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904" name="Forma livre: Forma 903">
                  <a:extLst>
                    <a:ext uri="{FF2B5EF4-FFF2-40B4-BE49-F238E27FC236}">
                      <a16:creationId xmlns:a16="http://schemas.microsoft.com/office/drawing/2014/main" id="{558A96C0-A3E5-13D4-8F54-364E3B7F5F6C}"/>
                    </a:ext>
                  </a:extLst>
                </p:cNvPr>
                <p:cNvSpPr/>
                <p:nvPr/>
              </p:nvSpPr>
              <p:spPr>
                <a:xfrm>
                  <a:off x="9993787" y="2316357"/>
                  <a:ext cx="47101" cy="32983"/>
                </a:xfrm>
                <a:custGeom>
                  <a:avLst/>
                  <a:gdLst>
                    <a:gd name="connsiteX0" fmla="*/ 0 w 47101"/>
                    <a:gd name="connsiteY0" fmla="*/ 32984 h 32983"/>
                    <a:gd name="connsiteX1" fmla="*/ 10763 w 47101"/>
                    <a:gd name="connsiteY1" fmla="*/ 9410 h 32983"/>
                    <a:gd name="connsiteX2" fmla="*/ 35862 w 47101"/>
                    <a:gd name="connsiteY2" fmla="*/ 27 h 32983"/>
                    <a:gd name="connsiteX3" fmla="*/ 47101 w 47101"/>
                    <a:gd name="connsiteY3" fmla="*/ 2409 h 3298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7101" h="32983">
                      <a:moveTo>
                        <a:pt x="0" y="32984"/>
                      </a:moveTo>
                      <a:cubicBezTo>
                        <a:pt x="381" y="23649"/>
                        <a:pt x="4477" y="15363"/>
                        <a:pt x="10763" y="9410"/>
                      </a:cubicBezTo>
                      <a:cubicBezTo>
                        <a:pt x="17288" y="3266"/>
                        <a:pt x="26194" y="-354"/>
                        <a:pt x="35862" y="27"/>
                      </a:cubicBezTo>
                      <a:cubicBezTo>
                        <a:pt x="39814" y="218"/>
                        <a:pt x="43577" y="1027"/>
                        <a:pt x="47101" y="2409"/>
                      </a:cubicBez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sp>
          <p:nvSpPr>
            <p:cNvPr id="905" name="Forma livre: Forma 904">
              <a:extLst>
                <a:ext uri="{FF2B5EF4-FFF2-40B4-BE49-F238E27FC236}">
                  <a16:creationId xmlns:a16="http://schemas.microsoft.com/office/drawing/2014/main" id="{EBB06C92-3712-E574-26BF-E8735D23300A}"/>
                </a:ext>
              </a:extLst>
            </p:cNvPr>
            <p:cNvSpPr/>
            <p:nvPr/>
          </p:nvSpPr>
          <p:spPr>
            <a:xfrm>
              <a:off x="10136377" y="2209990"/>
              <a:ext cx="4762" cy="68722"/>
            </a:xfrm>
            <a:custGeom>
              <a:avLst/>
              <a:gdLst>
                <a:gd name="connsiteX0" fmla="*/ 0 w 4762"/>
                <a:gd name="connsiteY0" fmla="*/ 68723 h 68722"/>
                <a:gd name="connsiteX1" fmla="*/ 0 w 4762"/>
                <a:gd name="connsiteY1" fmla="*/ 0 h 687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762" h="68722">
                  <a:moveTo>
                    <a:pt x="0" y="68723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906" name="Gráfico 11">
            <a:extLst>
              <a:ext uri="{FF2B5EF4-FFF2-40B4-BE49-F238E27FC236}">
                <a16:creationId xmlns:a16="http://schemas.microsoft.com/office/drawing/2014/main" id="{E79C5549-9A3A-4A88-3439-191F720172B8}"/>
              </a:ext>
            </a:extLst>
          </p:cNvPr>
          <p:cNvGrpSpPr/>
          <p:nvPr/>
        </p:nvGrpSpPr>
        <p:grpSpPr>
          <a:xfrm>
            <a:off x="10615627" y="2047922"/>
            <a:ext cx="279653" cy="313039"/>
            <a:chOff x="10615627" y="2047922"/>
            <a:chExt cx="279653" cy="313039"/>
          </a:xfrm>
        </p:grpSpPr>
        <p:sp>
          <p:nvSpPr>
            <p:cNvPr id="907" name="Forma livre: Forma 906">
              <a:extLst>
                <a:ext uri="{FF2B5EF4-FFF2-40B4-BE49-F238E27FC236}">
                  <a16:creationId xmlns:a16="http://schemas.microsoft.com/office/drawing/2014/main" id="{1B2762F0-EF60-9066-7007-896460972F52}"/>
                </a:ext>
              </a:extLst>
            </p:cNvPr>
            <p:cNvSpPr/>
            <p:nvPr/>
          </p:nvSpPr>
          <p:spPr>
            <a:xfrm>
              <a:off x="10762074" y="2127599"/>
              <a:ext cx="87487" cy="4762"/>
            </a:xfrm>
            <a:custGeom>
              <a:avLst/>
              <a:gdLst>
                <a:gd name="connsiteX0" fmla="*/ 0 w 87487"/>
                <a:gd name="connsiteY0" fmla="*/ 0 h 4762"/>
                <a:gd name="connsiteX1" fmla="*/ 87487 w 87487"/>
                <a:gd name="connsiteY1" fmla="*/ 0 h 47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7487" h="4762">
                  <a:moveTo>
                    <a:pt x="0" y="0"/>
                  </a:moveTo>
                  <a:lnTo>
                    <a:pt x="87487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08" name="Forma livre: Forma 907">
              <a:extLst>
                <a:ext uri="{FF2B5EF4-FFF2-40B4-BE49-F238E27FC236}">
                  <a16:creationId xmlns:a16="http://schemas.microsoft.com/office/drawing/2014/main" id="{3479FD72-1A58-FE9B-7BEB-188B1E3B293B}"/>
                </a:ext>
              </a:extLst>
            </p:cNvPr>
            <p:cNvSpPr/>
            <p:nvPr/>
          </p:nvSpPr>
          <p:spPr>
            <a:xfrm>
              <a:off x="10626152" y="2091880"/>
              <a:ext cx="269128" cy="269081"/>
            </a:xfrm>
            <a:custGeom>
              <a:avLst/>
              <a:gdLst>
                <a:gd name="connsiteX0" fmla="*/ 31528 w 269128"/>
                <a:gd name="connsiteY0" fmla="*/ 47958 h 269081"/>
                <a:gd name="connsiteX1" fmla="*/ 134541 w 269128"/>
                <a:gd name="connsiteY1" fmla="*/ 0 h 269081"/>
                <a:gd name="connsiteX2" fmla="*/ 269129 w 269128"/>
                <a:gd name="connsiteY2" fmla="*/ 134541 h 269081"/>
                <a:gd name="connsiteX3" fmla="*/ 134541 w 269128"/>
                <a:gd name="connsiteY3" fmla="*/ 269081 h 269081"/>
                <a:gd name="connsiteX4" fmla="*/ 0 w 269128"/>
                <a:gd name="connsiteY4" fmla="*/ 134541 h 269081"/>
                <a:gd name="connsiteX5" fmla="*/ 4477 w 269128"/>
                <a:gd name="connsiteY5" fmla="*/ 99917 h 269081"/>
                <a:gd name="connsiteX6" fmla="*/ 102679 w 269128"/>
                <a:gd name="connsiteY6" fmla="*/ 99917 h 2690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69128" h="269081">
                  <a:moveTo>
                    <a:pt x="31528" y="47958"/>
                  </a:moveTo>
                  <a:cubicBezTo>
                    <a:pt x="56197" y="18621"/>
                    <a:pt x="93202" y="0"/>
                    <a:pt x="134541" y="0"/>
                  </a:cubicBezTo>
                  <a:cubicBezTo>
                    <a:pt x="208883" y="0"/>
                    <a:pt x="269129" y="60246"/>
                    <a:pt x="269129" y="134541"/>
                  </a:cubicBezTo>
                  <a:cubicBezTo>
                    <a:pt x="269129" y="208836"/>
                    <a:pt x="208883" y="269081"/>
                    <a:pt x="134541" y="269081"/>
                  </a:cubicBezTo>
                  <a:cubicBezTo>
                    <a:pt x="60198" y="269081"/>
                    <a:pt x="0" y="208836"/>
                    <a:pt x="0" y="134541"/>
                  </a:cubicBezTo>
                  <a:cubicBezTo>
                    <a:pt x="0" y="122587"/>
                    <a:pt x="1572" y="110966"/>
                    <a:pt x="4477" y="99917"/>
                  </a:cubicBezTo>
                  <a:lnTo>
                    <a:pt x="102679" y="99917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09" name="Forma livre: Forma 908">
              <a:extLst>
                <a:ext uri="{FF2B5EF4-FFF2-40B4-BE49-F238E27FC236}">
                  <a16:creationId xmlns:a16="http://schemas.microsoft.com/office/drawing/2014/main" id="{16D6E554-1C15-4B3C-FE7D-A20DCD8B87D2}"/>
                </a:ext>
              </a:extLst>
            </p:cNvPr>
            <p:cNvSpPr/>
            <p:nvPr/>
          </p:nvSpPr>
          <p:spPr>
            <a:xfrm>
              <a:off x="10673063" y="2265473"/>
              <a:ext cx="117062" cy="4762"/>
            </a:xfrm>
            <a:custGeom>
              <a:avLst/>
              <a:gdLst>
                <a:gd name="connsiteX0" fmla="*/ 0 w 117062"/>
                <a:gd name="connsiteY0" fmla="*/ 0 h 4762"/>
                <a:gd name="connsiteX1" fmla="*/ 117062 w 117062"/>
                <a:gd name="connsiteY1" fmla="*/ 0 h 47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062" h="4762">
                  <a:moveTo>
                    <a:pt x="0" y="0"/>
                  </a:moveTo>
                  <a:lnTo>
                    <a:pt x="117062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10" name="Forma livre: Forma 909">
              <a:extLst>
                <a:ext uri="{FF2B5EF4-FFF2-40B4-BE49-F238E27FC236}">
                  <a16:creationId xmlns:a16="http://schemas.microsoft.com/office/drawing/2014/main" id="{4CB13F8A-6584-2463-6810-AF1AE493CE77}"/>
                </a:ext>
              </a:extLst>
            </p:cNvPr>
            <p:cNvSpPr/>
            <p:nvPr/>
          </p:nvSpPr>
          <p:spPr>
            <a:xfrm>
              <a:off x="10768217" y="2236327"/>
              <a:ext cx="124205" cy="4762"/>
            </a:xfrm>
            <a:custGeom>
              <a:avLst/>
              <a:gdLst>
                <a:gd name="connsiteX0" fmla="*/ 0 w 124205"/>
                <a:gd name="connsiteY0" fmla="*/ 0 h 4762"/>
                <a:gd name="connsiteX1" fmla="*/ 124206 w 124205"/>
                <a:gd name="connsiteY1" fmla="*/ 0 h 47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4205" h="4762">
                  <a:moveTo>
                    <a:pt x="0" y="0"/>
                  </a:moveTo>
                  <a:lnTo>
                    <a:pt x="124206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11" name="Forma livre: Forma 910">
              <a:extLst>
                <a:ext uri="{FF2B5EF4-FFF2-40B4-BE49-F238E27FC236}">
                  <a16:creationId xmlns:a16="http://schemas.microsoft.com/office/drawing/2014/main" id="{F31DAE31-0CD0-2BB4-615A-9193844F3EC7}"/>
                </a:ext>
              </a:extLst>
            </p:cNvPr>
            <p:cNvSpPr/>
            <p:nvPr/>
          </p:nvSpPr>
          <p:spPr>
            <a:xfrm>
              <a:off x="10793554" y="2310050"/>
              <a:ext cx="70627" cy="4762"/>
            </a:xfrm>
            <a:custGeom>
              <a:avLst/>
              <a:gdLst>
                <a:gd name="connsiteX0" fmla="*/ 0 w 70627"/>
                <a:gd name="connsiteY0" fmla="*/ 0 h 4762"/>
                <a:gd name="connsiteX1" fmla="*/ 70628 w 70627"/>
                <a:gd name="connsiteY1" fmla="*/ 0 h 47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0627" h="4762">
                  <a:moveTo>
                    <a:pt x="0" y="0"/>
                  </a:moveTo>
                  <a:lnTo>
                    <a:pt x="70628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12" name="Forma livre: Forma 911">
              <a:extLst>
                <a:ext uri="{FF2B5EF4-FFF2-40B4-BE49-F238E27FC236}">
                  <a16:creationId xmlns:a16="http://schemas.microsoft.com/office/drawing/2014/main" id="{6540169E-E99A-1610-547C-DFD47396DF9B}"/>
                </a:ext>
              </a:extLst>
            </p:cNvPr>
            <p:cNvSpPr/>
            <p:nvPr/>
          </p:nvSpPr>
          <p:spPr>
            <a:xfrm>
              <a:off x="10743500" y="2310050"/>
              <a:ext cx="23050" cy="4762"/>
            </a:xfrm>
            <a:custGeom>
              <a:avLst/>
              <a:gdLst>
                <a:gd name="connsiteX0" fmla="*/ 0 w 23050"/>
                <a:gd name="connsiteY0" fmla="*/ 0 h 4762"/>
                <a:gd name="connsiteX1" fmla="*/ 23050 w 23050"/>
                <a:gd name="connsiteY1" fmla="*/ 0 h 47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3050" h="4762">
                  <a:moveTo>
                    <a:pt x="0" y="0"/>
                  </a:moveTo>
                  <a:lnTo>
                    <a:pt x="2305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13" name="Forma livre: Forma 912">
              <a:extLst>
                <a:ext uri="{FF2B5EF4-FFF2-40B4-BE49-F238E27FC236}">
                  <a16:creationId xmlns:a16="http://schemas.microsoft.com/office/drawing/2014/main" id="{0315FA59-76CC-8FC7-F1B6-2DD337669747}"/>
                </a:ext>
              </a:extLst>
            </p:cNvPr>
            <p:cNvSpPr/>
            <p:nvPr/>
          </p:nvSpPr>
          <p:spPr>
            <a:xfrm>
              <a:off x="10716401" y="2236327"/>
              <a:ext cx="25145" cy="4762"/>
            </a:xfrm>
            <a:custGeom>
              <a:avLst/>
              <a:gdLst>
                <a:gd name="connsiteX0" fmla="*/ 0 w 25145"/>
                <a:gd name="connsiteY0" fmla="*/ 0 h 4762"/>
                <a:gd name="connsiteX1" fmla="*/ 25146 w 25145"/>
                <a:gd name="connsiteY1" fmla="*/ 0 h 47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5145" h="4762">
                  <a:moveTo>
                    <a:pt x="0" y="0"/>
                  </a:moveTo>
                  <a:lnTo>
                    <a:pt x="25146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14" name="Forma livre: Forma 913">
              <a:extLst>
                <a:ext uri="{FF2B5EF4-FFF2-40B4-BE49-F238E27FC236}">
                  <a16:creationId xmlns:a16="http://schemas.microsoft.com/office/drawing/2014/main" id="{6901FF49-FA75-6B53-8F9A-67E99BF9CEDC}"/>
                </a:ext>
              </a:extLst>
            </p:cNvPr>
            <p:cNvSpPr/>
            <p:nvPr/>
          </p:nvSpPr>
          <p:spPr>
            <a:xfrm>
              <a:off x="10852704" y="2192464"/>
              <a:ext cx="36194" cy="4762"/>
            </a:xfrm>
            <a:custGeom>
              <a:avLst/>
              <a:gdLst>
                <a:gd name="connsiteX0" fmla="*/ 0 w 36194"/>
                <a:gd name="connsiteY0" fmla="*/ 0 h 4762"/>
                <a:gd name="connsiteX1" fmla="*/ 36195 w 36194"/>
                <a:gd name="connsiteY1" fmla="*/ 0 h 47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6194" h="4762">
                  <a:moveTo>
                    <a:pt x="0" y="0"/>
                  </a:moveTo>
                  <a:lnTo>
                    <a:pt x="36195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15" name="Forma livre: Forma 914">
              <a:extLst>
                <a:ext uri="{FF2B5EF4-FFF2-40B4-BE49-F238E27FC236}">
                  <a16:creationId xmlns:a16="http://schemas.microsoft.com/office/drawing/2014/main" id="{891E7507-C50A-915B-B8F0-1162E315F182}"/>
                </a:ext>
              </a:extLst>
            </p:cNvPr>
            <p:cNvSpPr/>
            <p:nvPr/>
          </p:nvSpPr>
          <p:spPr>
            <a:xfrm>
              <a:off x="10646440" y="2164747"/>
              <a:ext cx="150161" cy="4762"/>
            </a:xfrm>
            <a:custGeom>
              <a:avLst/>
              <a:gdLst>
                <a:gd name="connsiteX0" fmla="*/ 0 w 150161"/>
                <a:gd name="connsiteY0" fmla="*/ 0 h 4762"/>
                <a:gd name="connsiteX1" fmla="*/ 150162 w 150161"/>
                <a:gd name="connsiteY1" fmla="*/ 0 h 47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0161" h="4762">
                  <a:moveTo>
                    <a:pt x="0" y="0"/>
                  </a:moveTo>
                  <a:lnTo>
                    <a:pt x="150162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16" name="Forma livre: Forma 915">
              <a:extLst>
                <a:ext uri="{FF2B5EF4-FFF2-40B4-BE49-F238E27FC236}">
                  <a16:creationId xmlns:a16="http://schemas.microsoft.com/office/drawing/2014/main" id="{6C647BC7-F103-99CE-E27B-254C5B5684B7}"/>
                </a:ext>
              </a:extLst>
            </p:cNvPr>
            <p:cNvSpPr/>
            <p:nvPr/>
          </p:nvSpPr>
          <p:spPr>
            <a:xfrm>
              <a:off x="10847561" y="2078069"/>
              <a:ext cx="7715" cy="7715"/>
            </a:xfrm>
            <a:custGeom>
              <a:avLst/>
              <a:gdLst>
                <a:gd name="connsiteX0" fmla="*/ 0 w 7715"/>
                <a:gd name="connsiteY0" fmla="*/ 3858 h 7715"/>
                <a:gd name="connsiteX1" fmla="*/ 3858 w 7715"/>
                <a:gd name="connsiteY1" fmla="*/ 7715 h 7715"/>
                <a:gd name="connsiteX2" fmla="*/ 7715 w 7715"/>
                <a:gd name="connsiteY2" fmla="*/ 3858 h 7715"/>
                <a:gd name="connsiteX3" fmla="*/ 3858 w 7715"/>
                <a:gd name="connsiteY3" fmla="*/ 0 h 7715"/>
                <a:gd name="connsiteX4" fmla="*/ 0 w 7715"/>
                <a:gd name="connsiteY4" fmla="*/ 3858 h 77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715" h="7715">
                  <a:moveTo>
                    <a:pt x="0" y="3858"/>
                  </a:moveTo>
                  <a:cubicBezTo>
                    <a:pt x="0" y="6001"/>
                    <a:pt x="1715" y="7715"/>
                    <a:pt x="3858" y="7715"/>
                  </a:cubicBezTo>
                  <a:cubicBezTo>
                    <a:pt x="6001" y="7715"/>
                    <a:pt x="7715" y="6001"/>
                    <a:pt x="7715" y="3858"/>
                  </a:cubicBezTo>
                  <a:cubicBezTo>
                    <a:pt x="7715" y="1715"/>
                    <a:pt x="5953" y="0"/>
                    <a:pt x="3858" y="0"/>
                  </a:cubicBezTo>
                  <a:cubicBezTo>
                    <a:pt x="1762" y="0"/>
                    <a:pt x="0" y="1715"/>
                    <a:pt x="0" y="3858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17" name="Forma livre: Forma 916">
              <a:extLst>
                <a:ext uri="{FF2B5EF4-FFF2-40B4-BE49-F238E27FC236}">
                  <a16:creationId xmlns:a16="http://schemas.microsoft.com/office/drawing/2014/main" id="{0C18C0DC-C255-0FEA-6188-C569D4087931}"/>
                </a:ext>
              </a:extLst>
            </p:cNvPr>
            <p:cNvSpPr/>
            <p:nvPr/>
          </p:nvSpPr>
          <p:spPr>
            <a:xfrm>
              <a:off x="10776218" y="2047922"/>
              <a:ext cx="7715" cy="7715"/>
            </a:xfrm>
            <a:custGeom>
              <a:avLst/>
              <a:gdLst>
                <a:gd name="connsiteX0" fmla="*/ 0 w 7715"/>
                <a:gd name="connsiteY0" fmla="*/ 3858 h 7715"/>
                <a:gd name="connsiteX1" fmla="*/ 3858 w 7715"/>
                <a:gd name="connsiteY1" fmla="*/ 7715 h 7715"/>
                <a:gd name="connsiteX2" fmla="*/ 7715 w 7715"/>
                <a:gd name="connsiteY2" fmla="*/ 3858 h 7715"/>
                <a:gd name="connsiteX3" fmla="*/ 3858 w 7715"/>
                <a:gd name="connsiteY3" fmla="*/ 0 h 7715"/>
                <a:gd name="connsiteX4" fmla="*/ 0 w 7715"/>
                <a:gd name="connsiteY4" fmla="*/ 3858 h 77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715" h="7715">
                  <a:moveTo>
                    <a:pt x="0" y="3858"/>
                  </a:moveTo>
                  <a:cubicBezTo>
                    <a:pt x="0" y="6001"/>
                    <a:pt x="1715" y="7715"/>
                    <a:pt x="3858" y="7715"/>
                  </a:cubicBezTo>
                  <a:cubicBezTo>
                    <a:pt x="6001" y="7715"/>
                    <a:pt x="7715" y="6001"/>
                    <a:pt x="7715" y="3858"/>
                  </a:cubicBezTo>
                  <a:cubicBezTo>
                    <a:pt x="7715" y="1715"/>
                    <a:pt x="5953" y="0"/>
                    <a:pt x="3858" y="0"/>
                  </a:cubicBezTo>
                  <a:cubicBezTo>
                    <a:pt x="1762" y="0"/>
                    <a:pt x="0" y="1715"/>
                    <a:pt x="0" y="3858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18" name="Forma livre: Forma 917">
              <a:extLst>
                <a:ext uri="{FF2B5EF4-FFF2-40B4-BE49-F238E27FC236}">
                  <a16:creationId xmlns:a16="http://schemas.microsoft.com/office/drawing/2014/main" id="{503A00B7-7576-6733-EE28-A6114A70A9AE}"/>
                </a:ext>
              </a:extLst>
            </p:cNvPr>
            <p:cNvSpPr/>
            <p:nvPr/>
          </p:nvSpPr>
          <p:spPr>
            <a:xfrm>
              <a:off x="10615627" y="2323719"/>
              <a:ext cx="7715" cy="7715"/>
            </a:xfrm>
            <a:custGeom>
              <a:avLst/>
              <a:gdLst>
                <a:gd name="connsiteX0" fmla="*/ 0 w 7715"/>
                <a:gd name="connsiteY0" fmla="*/ 3858 h 7715"/>
                <a:gd name="connsiteX1" fmla="*/ 3858 w 7715"/>
                <a:gd name="connsiteY1" fmla="*/ 7715 h 7715"/>
                <a:gd name="connsiteX2" fmla="*/ 7715 w 7715"/>
                <a:gd name="connsiteY2" fmla="*/ 3858 h 7715"/>
                <a:gd name="connsiteX3" fmla="*/ 3858 w 7715"/>
                <a:gd name="connsiteY3" fmla="*/ 0 h 7715"/>
                <a:gd name="connsiteX4" fmla="*/ 0 w 7715"/>
                <a:gd name="connsiteY4" fmla="*/ 3858 h 77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715" h="7715">
                  <a:moveTo>
                    <a:pt x="0" y="3858"/>
                  </a:moveTo>
                  <a:cubicBezTo>
                    <a:pt x="0" y="6001"/>
                    <a:pt x="1715" y="7715"/>
                    <a:pt x="3858" y="7715"/>
                  </a:cubicBezTo>
                  <a:cubicBezTo>
                    <a:pt x="6001" y="7715"/>
                    <a:pt x="7715" y="6001"/>
                    <a:pt x="7715" y="3858"/>
                  </a:cubicBezTo>
                  <a:cubicBezTo>
                    <a:pt x="7715" y="1714"/>
                    <a:pt x="5953" y="0"/>
                    <a:pt x="3858" y="0"/>
                  </a:cubicBezTo>
                  <a:cubicBezTo>
                    <a:pt x="1762" y="0"/>
                    <a:pt x="0" y="1714"/>
                    <a:pt x="0" y="3858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919" name="Gráfico 11">
            <a:extLst>
              <a:ext uri="{FF2B5EF4-FFF2-40B4-BE49-F238E27FC236}">
                <a16:creationId xmlns:a16="http://schemas.microsoft.com/office/drawing/2014/main" id="{68DB7794-1075-C62F-BB7A-920D3F2B0587}"/>
              </a:ext>
            </a:extLst>
          </p:cNvPr>
          <p:cNvGrpSpPr/>
          <p:nvPr/>
        </p:nvGrpSpPr>
        <p:grpSpPr>
          <a:xfrm>
            <a:off x="11205700" y="2024634"/>
            <a:ext cx="330972" cy="332049"/>
            <a:chOff x="11205700" y="2024634"/>
            <a:chExt cx="330972" cy="332049"/>
          </a:xfrm>
          <a:noFill/>
        </p:grpSpPr>
        <p:sp>
          <p:nvSpPr>
            <p:cNvPr id="920" name="Forma livre: Forma 919">
              <a:extLst>
                <a:ext uri="{FF2B5EF4-FFF2-40B4-BE49-F238E27FC236}">
                  <a16:creationId xmlns:a16="http://schemas.microsoft.com/office/drawing/2014/main" id="{D8EA9CA1-C0CB-F23E-E760-82055B0B4028}"/>
                </a:ext>
              </a:extLst>
            </p:cNvPr>
            <p:cNvSpPr/>
            <p:nvPr/>
          </p:nvSpPr>
          <p:spPr>
            <a:xfrm>
              <a:off x="11309952" y="2146307"/>
              <a:ext cx="226720" cy="210376"/>
            </a:xfrm>
            <a:custGeom>
              <a:avLst/>
              <a:gdLst>
                <a:gd name="connsiteX0" fmla="*/ 142 w 226720"/>
                <a:gd name="connsiteY0" fmla="*/ 133930 h 210376"/>
                <a:gd name="connsiteX1" fmla="*/ 24621 w 226720"/>
                <a:gd name="connsiteY1" fmla="*/ 71065 h 210376"/>
                <a:gd name="connsiteX2" fmla="*/ 73580 w 226720"/>
                <a:gd name="connsiteY2" fmla="*/ 12772 h 210376"/>
                <a:gd name="connsiteX3" fmla="*/ 147827 w 226720"/>
                <a:gd name="connsiteY3" fmla="*/ 2770 h 210376"/>
                <a:gd name="connsiteX4" fmla="*/ 220741 w 226720"/>
                <a:gd name="connsiteY4" fmla="*/ 69541 h 210376"/>
                <a:gd name="connsiteX5" fmla="*/ 203167 w 226720"/>
                <a:gd name="connsiteY5" fmla="*/ 159028 h 210376"/>
                <a:gd name="connsiteX6" fmla="*/ 116728 w 226720"/>
                <a:gd name="connsiteY6" fmla="*/ 209939 h 210376"/>
                <a:gd name="connsiteX7" fmla="*/ 41195 w 226720"/>
                <a:gd name="connsiteY7" fmla="*/ 187032 h 210376"/>
                <a:gd name="connsiteX8" fmla="*/ 142 w 226720"/>
                <a:gd name="connsiteY8" fmla="*/ 133882 h 2103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26720" h="210376">
                  <a:moveTo>
                    <a:pt x="142" y="133930"/>
                  </a:moveTo>
                  <a:cubicBezTo>
                    <a:pt x="-1525" y="114499"/>
                    <a:pt x="11763" y="94782"/>
                    <a:pt x="24621" y="71065"/>
                  </a:cubicBezTo>
                  <a:cubicBezTo>
                    <a:pt x="38623" y="48443"/>
                    <a:pt x="50815" y="21820"/>
                    <a:pt x="73580" y="12772"/>
                  </a:cubicBezTo>
                  <a:cubicBezTo>
                    <a:pt x="96392" y="4152"/>
                    <a:pt x="118871" y="-4611"/>
                    <a:pt x="147827" y="2770"/>
                  </a:cubicBezTo>
                  <a:cubicBezTo>
                    <a:pt x="175736" y="8866"/>
                    <a:pt x="208263" y="35155"/>
                    <a:pt x="220741" y="69541"/>
                  </a:cubicBezTo>
                  <a:cubicBezTo>
                    <a:pt x="233266" y="99878"/>
                    <a:pt x="225504" y="128834"/>
                    <a:pt x="203167" y="159028"/>
                  </a:cubicBezTo>
                  <a:cubicBezTo>
                    <a:pt x="180927" y="188127"/>
                    <a:pt x="146494" y="214083"/>
                    <a:pt x="116728" y="209939"/>
                  </a:cubicBezTo>
                  <a:cubicBezTo>
                    <a:pt x="85724" y="206986"/>
                    <a:pt x="61388" y="201129"/>
                    <a:pt x="41195" y="187032"/>
                  </a:cubicBezTo>
                  <a:cubicBezTo>
                    <a:pt x="21240" y="173601"/>
                    <a:pt x="2904" y="154885"/>
                    <a:pt x="142" y="133882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21" name="Forma livre: Forma 920">
              <a:extLst>
                <a:ext uri="{FF2B5EF4-FFF2-40B4-BE49-F238E27FC236}">
                  <a16:creationId xmlns:a16="http://schemas.microsoft.com/office/drawing/2014/main" id="{4F9CA2A5-CB69-5350-9637-987C59F3F16B}"/>
                </a:ext>
              </a:extLst>
            </p:cNvPr>
            <p:cNvSpPr/>
            <p:nvPr/>
          </p:nvSpPr>
          <p:spPr>
            <a:xfrm>
              <a:off x="11225750" y="2044351"/>
              <a:ext cx="110061" cy="110061"/>
            </a:xfrm>
            <a:custGeom>
              <a:avLst/>
              <a:gdLst>
                <a:gd name="connsiteX0" fmla="*/ 110061 w 110061"/>
                <a:gd name="connsiteY0" fmla="*/ 110061 h 110061"/>
                <a:gd name="connsiteX1" fmla="*/ 0 w 110061"/>
                <a:gd name="connsiteY1" fmla="*/ 0 h 1100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0061" h="110061">
                  <a:moveTo>
                    <a:pt x="110061" y="110061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922" name="Gráfico 11">
              <a:extLst>
                <a:ext uri="{FF2B5EF4-FFF2-40B4-BE49-F238E27FC236}">
                  <a16:creationId xmlns:a16="http://schemas.microsoft.com/office/drawing/2014/main" id="{7ECD9EE3-3DD3-7495-66C3-FFB9F6E2D8D0}"/>
                </a:ext>
              </a:extLst>
            </p:cNvPr>
            <p:cNvGrpSpPr/>
            <p:nvPr/>
          </p:nvGrpSpPr>
          <p:grpSpPr>
            <a:xfrm>
              <a:off x="11205700" y="2024634"/>
              <a:ext cx="194405" cy="194071"/>
              <a:chOff x="11205700" y="2024634"/>
              <a:chExt cx="194405" cy="194071"/>
            </a:xfrm>
          </p:grpSpPr>
          <p:grpSp>
            <p:nvGrpSpPr>
              <p:cNvPr id="923" name="Gráfico 11">
                <a:extLst>
                  <a:ext uri="{FF2B5EF4-FFF2-40B4-BE49-F238E27FC236}">
                    <a16:creationId xmlns:a16="http://schemas.microsoft.com/office/drawing/2014/main" id="{8AEC3952-A1B2-6F73-C906-8A582FCBB8C9}"/>
                  </a:ext>
                </a:extLst>
              </p:cNvPr>
              <p:cNvGrpSpPr/>
              <p:nvPr/>
            </p:nvGrpSpPr>
            <p:grpSpPr>
              <a:xfrm>
                <a:off x="11307618" y="2024634"/>
                <a:ext cx="92487" cy="92487"/>
                <a:chOff x="11307618" y="2024634"/>
                <a:chExt cx="92487" cy="92487"/>
              </a:xfrm>
            </p:grpSpPr>
            <p:sp>
              <p:nvSpPr>
                <p:cNvPr id="924" name="Forma livre: Forma 923">
                  <a:extLst>
                    <a:ext uri="{FF2B5EF4-FFF2-40B4-BE49-F238E27FC236}">
                      <a16:creationId xmlns:a16="http://schemas.microsoft.com/office/drawing/2014/main" id="{00F3EA39-ABCA-9F23-2672-77FEC1502B4B}"/>
                    </a:ext>
                  </a:extLst>
                </p:cNvPr>
                <p:cNvSpPr/>
                <p:nvPr/>
              </p:nvSpPr>
              <p:spPr>
                <a:xfrm>
                  <a:off x="11336288" y="2053352"/>
                  <a:ext cx="63817" cy="63769"/>
                </a:xfrm>
                <a:custGeom>
                  <a:avLst/>
                  <a:gdLst>
                    <a:gd name="connsiteX0" fmla="*/ 63818 w 63817"/>
                    <a:gd name="connsiteY0" fmla="*/ 63770 h 63769"/>
                    <a:gd name="connsiteX1" fmla="*/ 0 w 63817"/>
                    <a:gd name="connsiteY1" fmla="*/ 0 h 6376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63817" h="63769">
                      <a:moveTo>
                        <a:pt x="63818" y="63770"/>
                      </a:moveTo>
                      <a:lnTo>
                        <a:pt x="0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925" name="Forma livre: Forma 924">
                  <a:extLst>
                    <a:ext uri="{FF2B5EF4-FFF2-40B4-BE49-F238E27FC236}">
                      <a16:creationId xmlns:a16="http://schemas.microsoft.com/office/drawing/2014/main" id="{2CA4112B-8BA4-4E79-D788-4528C9C70534}"/>
                    </a:ext>
                  </a:extLst>
                </p:cNvPr>
                <p:cNvSpPr/>
                <p:nvPr/>
              </p:nvSpPr>
              <p:spPr>
                <a:xfrm>
                  <a:off x="11307618" y="2024634"/>
                  <a:ext cx="12382" cy="12430"/>
                </a:xfrm>
                <a:custGeom>
                  <a:avLst/>
                  <a:gdLst>
                    <a:gd name="connsiteX0" fmla="*/ 12383 w 12382"/>
                    <a:gd name="connsiteY0" fmla="*/ 12430 h 12430"/>
                    <a:gd name="connsiteX1" fmla="*/ 0 w 12382"/>
                    <a:gd name="connsiteY1" fmla="*/ 0 h 1243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2382" h="12430">
                      <a:moveTo>
                        <a:pt x="12383" y="12430"/>
                      </a:moveTo>
                      <a:lnTo>
                        <a:pt x="0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926" name="Gráfico 11">
                <a:extLst>
                  <a:ext uri="{FF2B5EF4-FFF2-40B4-BE49-F238E27FC236}">
                    <a16:creationId xmlns:a16="http://schemas.microsoft.com/office/drawing/2014/main" id="{9BD604AD-EBDF-CDAA-D69D-37C95DCAF2F2}"/>
                  </a:ext>
                </a:extLst>
              </p:cNvPr>
              <p:cNvGrpSpPr/>
              <p:nvPr/>
            </p:nvGrpSpPr>
            <p:grpSpPr>
              <a:xfrm>
                <a:off x="11205700" y="2125932"/>
                <a:ext cx="92821" cy="92773"/>
                <a:chOff x="11205700" y="2125932"/>
                <a:chExt cx="92821" cy="92773"/>
              </a:xfrm>
            </p:grpSpPr>
            <p:sp>
              <p:nvSpPr>
                <p:cNvPr id="927" name="Forma livre: Forma 926">
                  <a:extLst>
                    <a:ext uri="{FF2B5EF4-FFF2-40B4-BE49-F238E27FC236}">
                      <a16:creationId xmlns:a16="http://schemas.microsoft.com/office/drawing/2014/main" id="{1B80DB2E-6769-8649-ACE1-18A2E65EFC9F}"/>
                    </a:ext>
                  </a:extLst>
                </p:cNvPr>
                <p:cNvSpPr/>
                <p:nvPr/>
              </p:nvSpPr>
              <p:spPr>
                <a:xfrm>
                  <a:off x="11205700" y="2125932"/>
                  <a:ext cx="31384" cy="31384"/>
                </a:xfrm>
                <a:custGeom>
                  <a:avLst/>
                  <a:gdLst>
                    <a:gd name="connsiteX0" fmla="*/ 31385 w 31384"/>
                    <a:gd name="connsiteY0" fmla="*/ 31385 h 31384"/>
                    <a:gd name="connsiteX1" fmla="*/ 0 w 31384"/>
                    <a:gd name="connsiteY1" fmla="*/ 0 h 3138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31384" h="31384">
                      <a:moveTo>
                        <a:pt x="31385" y="31385"/>
                      </a:moveTo>
                      <a:lnTo>
                        <a:pt x="0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grpSp>
              <p:nvGrpSpPr>
                <p:cNvPr id="928" name="Gráfico 11">
                  <a:extLst>
                    <a:ext uri="{FF2B5EF4-FFF2-40B4-BE49-F238E27FC236}">
                      <a16:creationId xmlns:a16="http://schemas.microsoft.com/office/drawing/2014/main" id="{26598F85-85C5-BDFD-35DA-2220D7AFA7BE}"/>
                    </a:ext>
                  </a:extLst>
                </p:cNvPr>
                <p:cNvGrpSpPr/>
                <p:nvPr/>
              </p:nvGrpSpPr>
              <p:grpSpPr>
                <a:xfrm>
                  <a:off x="11253802" y="2174033"/>
                  <a:ext cx="44719" cy="44672"/>
                  <a:chOff x="11253802" y="2174033"/>
                  <a:chExt cx="44719" cy="44672"/>
                </a:xfrm>
              </p:grpSpPr>
              <p:sp>
                <p:nvSpPr>
                  <p:cNvPr id="929" name="Forma livre: Forma 928">
                    <a:extLst>
                      <a:ext uri="{FF2B5EF4-FFF2-40B4-BE49-F238E27FC236}">
                        <a16:creationId xmlns:a16="http://schemas.microsoft.com/office/drawing/2014/main" id="{626B1ACF-2C5B-E09A-AEB8-290134197DF3}"/>
                      </a:ext>
                    </a:extLst>
                  </p:cNvPr>
                  <p:cNvSpPr/>
                  <p:nvPr/>
                </p:nvSpPr>
                <p:spPr>
                  <a:xfrm>
                    <a:off x="11279710" y="2199941"/>
                    <a:ext cx="18811" cy="18764"/>
                  </a:xfrm>
                  <a:custGeom>
                    <a:avLst/>
                    <a:gdLst>
                      <a:gd name="connsiteX0" fmla="*/ 18812 w 18811"/>
                      <a:gd name="connsiteY0" fmla="*/ 18764 h 18764"/>
                      <a:gd name="connsiteX1" fmla="*/ 0 w 18811"/>
                      <a:gd name="connsiteY1" fmla="*/ 0 h 1876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8811" h="18764">
                        <a:moveTo>
                          <a:pt x="18812" y="18764"/>
                        </a:moveTo>
                        <a:lnTo>
                          <a:pt x="0" y="0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930" name="Forma livre: Forma 929">
                    <a:extLst>
                      <a:ext uri="{FF2B5EF4-FFF2-40B4-BE49-F238E27FC236}">
                        <a16:creationId xmlns:a16="http://schemas.microsoft.com/office/drawing/2014/main" id="{05E69234-BE46-B5A3-E284-6938B623B122}"/>
                      </a:ext>
                    </a:extLst>
                  </p:cNvPr>
                  <p:cNvSpPr/>
                  <p:nvPr/>
                </p:nvSpPr>
                <p:spPr>
                  <a:xfrm>
                    <a:off x="11253802" y="2174033"/>
                    <a:ext cx="8953" cy="8953"/>
                  </a:xfrm>
                  <a:custGeom>
                    <a:avLst/>
                    <a:gdLst>
                      <a:gd name="connsiteX0" fmla="*/ 8954 w 8953"/>
                      <a:gd name="connsiteY0" fmla="*/ 8953 h 8953"/>
                      <a:gd name="connsiteX1" fmla="*/ 0 w 8953"/>
                      <a:gd name="connsiteY1" fmla="*/ 0 h 895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8953" h="8953">
                        <a:moveTo>
                          <a:pt x="8954" y="8953"/>
                        </a:moveTo>
                        <a:lnTo>
                          <a:pt x="0" y="0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</p:grpSp>
        </p:grpSp>
        <p:sp>
          <p:nvSpPr>
            <p:cNvPr id="931" name="Forma livre: Forma 930">
              <a:extLst>
                <a:ext uri="{FF2B5EF4-FFF2-40B4-BE49-F238E27FC236}">
                  <a16:creationId xmlns:a16="http://schemas.microsoft.com/office/drawing/2014/main" id="{E2738E03-CAC8-6991-7E86-EACD4453E31A}"/>
                </a:ext>
              </a:extLst>
            </p:cNvPr>
            <p:cNvSpPr/>
            <p:nvPr/>
          </p:nvSpPr>
          <p:spPr>
            <a:xfrm>
              <a:off x="11389228" y="2152695"/>
              <a:ext cx="47520" cy="34291"/>
            </a:xfrm>
            <a:custGeom>
              <a:avLst/>
              <a:gdLst>
                <a:gd name="connsiteX0" fmla="*/ 22832 w 47520"/>
                <a:gd name="connsiteY0" fmla="*/ 34292 h 34291"/>
                <a:gd name="connsiteX1" fmla="*/ 19 w 47520"/>
                <a:gd name="connsiteY1" fmla="*/ 15909 h 34291"/>
                <a:gd name="connsiteX2" fmla="*/ 24689 w 47520"/>
                <a:gd name="connsiteY2" fmla="*/ 50 h 34291"/>
                <a:gd name="connsiteX3" fmla="*/ 47501 w 47520"/>
                <a:gd name="connsiteY3" fmla="*/ 18433 h 342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7520" h="34291">
                  <a:moveTo>
                    <a:pt x="22832" y="34292"/>
                  </a:moveTo>
                  <a:cubicBezTo>
                    <a:pt x="9735" y="33578"/>
                    <a:pt x="-505" y="25338"/>
                    <a:pt x="19" y="15909"/>
                  </a:cubicBezTo>
                  <a:cubicBezTo>
                    <a:pt x="495" y="6431"/>
                    <a:pt x="11544" y="-665"/>
                    <a:pt x="24689" y="50"/>
                  </a:cubicBezTo>
                  <a:cubicBezTo>
                    <a:pt x="37786" y="764"/>
                    <a:pt x="48025" y="9003"/>
                    <a:pt x="47501" y="18433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32" name="Forma livre: Forma 931">
              <a:extLst>
                <a:ext uri="{FF2B5EF4-FFF2-40B4-BE49-F238E27FC236}">
                  <a16:creationId xmlns:a16="http://schemas.microsoft.com/office/drawing/2014/main" id="{E4794F7C-7C03-CD5C-30B2-8A8AE08E37D9}"/>
                </a:ext>
              </a:extLst>
            </p:cNvPr>
            <p:cNvSpPr/>
            <p:nvPr/>
          </p:nvSpPr>
          <p:spPr>
            <a:xfrm>
              <a:off x="11398413" y="2276843"/>
              <a:ext cx="47174" cy="43359"/>
            </a:xfrm>
            <a:custGeom>
              <a:avLst/>
              <a:gdLst>
                <a:gd name="connsiteX0" fmla="*/ 47174 w 47174"/>
                <a:gd name="connsiteY0" fmla="*/ 28016 h 43359"/>
                <a:gd name="connsiteX1" fmla="*/ 18266 w 47174"/>
                <a:gd name="connsiteY1" fmla="*/ 42399 h 43359"/>
                <a:gd name="connsiteX2" fmla="*/ 692 w 47174"/>
                <a:gd name="connsiteY2" fmla="*/ 15348 h 43359"/>
                <a:gd name="connsiteX3" fmla="*/ 29553 w 47174"/>
                <a:gd name="connsiteY3" fmla="*/ 965 h 433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7174" h="43359">
                  <a:moveTo>
                    <a:pt x="47174" y="28016"/>
                  </a:moveTo>
                  <a:cubicBezTo>
                    <a:pt x="44031" y="39446"/>
                    <a:pt x="31125" y="45923"/>
                    <a:pt x="18266" y="42399"/>
                  </a:cubicBezTo>
                  <a:cubicBezTo>
                    <a:pt x="5407" y="38922"/>
                    <a:pt x="-2451" y="26778"/>
                    <a:pt x="692" y="15348"/>
                  </a:cubicBezTo>
                  <a:cubicBezTo>
                    <a:pt x="3788" y="3870"/>
                    <a:pt x="16742" y="-2559"/>
                    <a:pt x="29553" y="965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33" name="Forma livre: Forma 932">
              <a:extLst>
                <a:ext uri="{FF2B5EF4-FFF2-40B4-BE49-F238E27FC236}">
                  <a16:creationId xmlns:a16="http://schemas.microsoft.com/office/drawing/2014/main" id="{17CE0333-DB37-D997-5C05-30E4BA8284F8}"/>
                </a:ext>
              </a:extLst>
            </p:cNvPr>
            <p:cNvSpPr/>
            <p:nvPr/>
          </p:nvSpPr>
          <p:spPr>
            <a:xfrm>
              <a:off x="11362508" y="2216454"/>
              <a:ext cx="39952" cy="33791"/>
            </a:xfrm>
            <a:custGeom>
              <a:avLst/>
              <a:gdLst>
                <a:gd name="connsiteX0" fmla="*/ 39312 w 39952"/>
                <a:gd name="connsiteY0" fmla="*/ 10776 h 33791"/>
                <a:gd name="connsiteX1" fmla="*/ 24977 w 39952"/>
                <a:gd name="connsiteY1" fmla="*/ 32636 h 33791"/>
                <a:gd name="connsiteX2" fmla="*/ 640 w 39952"/>
                <a:gd name="connsiteY2" fmla="*/ 23016 h 33791"/>
                <a:gd name="connsiteX3" fmla="*/ 14976 w 39952"/>
                <a:gd name="connsiteY3" fmla="*/ 1156 h 33791"/>
                <a:gd name="connsiteX4" fmla="*/ 39312 w 39952"/>
                <a:gd name="connsiteY4" fmla="*/ 10776 h 337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952" h="33791">
                  <a:moveTo>
                    <a:pt x="39312" y="10776"/>
                  </a:moveTo>
                  <a:cubicBezTo>
                    <a:pt x="42074" y="19491"/>
                    <a:pt x="35645" y="29255"/>
                    <a:pt x="24977" y="32636"/>
                  </a:cubicBezTo>
                  <a:cubicBezTo>
                    <a:pt x="14309" y="36017"/>
                    <a:pt x="3403" y="31731"/>
                    <a:pt x="640" y="23016"/>
                  </a:cubicBezTo>
                  <a:cubicBezTo>
                    <a:pt x="-2122" y="14300"/>
                    <a:pt x="4308" y="4537"/>
                    <a:pt x="14976" y="1156"/>
                  </a:cubicBezTo>
                  <a:cubicBezTo>
                    <a:pt x="25644" y="-2226"/>
                    <a:pt x="36550" y="2061"/>
                    <a:pt x="39312" y="10776"/>
                  </a:cubicBez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34" name="Forma livre: Forma 933">
              <a:extLst>
                <a:ext uri="{FF2B5EF4-FFF2-40B4-BE49-F238E27FC236}">
                  <a16:creationId xmlns:a16="http://schemas.microsoft.com/office/drawing/2014/main" id="{8E7EE11E-B319-D6AF-8465-4C40ADDDE57B}"/>
                </a:ext>
              </a:extLst>
            </p:cNvPr>
            <p:cNvSpPr/>
            <p:nvPr/>
          </p:nvSpPr>
          <p:spPr>
            <a:xfrm>
              <a:off x="11460016" y="2218325"/>
              <a:ext cx="42179" cy="34968"/>
            </a:xfrm>
            <a:custGeom>
              <a:avLst/>
              <a:gdLst>
                <a:gd name="connsiteX0" fmla="*/ 29672 w 42179"/>
                <a:gd name="connsiteY0" fmla="*/ 0 h 34968"/>
                <a:gd name="connsiteX1" fmla="*/ 40340 w 42179"/>
                <a:gd name="connsiteY1" fmla="*/ 26289 h 34968"/>
                <a:gd name="connsiteX2" fmla="*/ 12527 w 42179"/>
                <a:gd name="connsiteY2" fmla="*/ 31909 h 34968"/>
                <a:gd name="connsiteX3" fmla="*/ 1811 w 42179"/>
                <a:gd name="connsiteY3" fmla="*/ 5620 h 34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2179" h="34968">
                  <a:moveTo>
                    <a:pt x="29672" y="0"/>
                  </a:moveTo>
                  <a:cubicBezTo>
                    <a:pt x="40292" y="5715"/>
                    <a:pt x="45102" y="17478"/>
                    <a:pt x="40340" y="26289"/>
                  </a:cubicBezTo>
                  <a:cubicBezTo>
                    <a:pt x="35625" y="35100"/>
                    <a:pt x="23147" y="37624"/>
                    <a:pt x="12527" y="31909"/>
                  </a:cubicBezTo>
                  <a:cubicBezTo>
                    <a:pt x="1906" y="26194"/>
                    <a:pt x="-2904" y="14430"/>
                    <a:pt x="1811" y="562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935" name="Gráfico 11">
            <a:extLst>
              <a:ext uri="{FF2B5EF4-FFF2-40B4-BE49-F238E27FC236}">
                <a16:creationId xmlns:a16="http://schemas.microsoft.com/office/drawing/2014/main" id="{31776F92-8DE4-DA97-D0E8-6DB5E1A0482F}"/>
              </a:ext>
            </a:extLst>
          </p:cNvPr>
          <p:cNvGrpSpPr/>
          <p:nvPr/>
        </p:nvGrpSpPr>
        <p:grpSpPr>
          <a:xfrm>
            <a:off x="10005789" y="3124036"/>
            <a:ext cx="262191" cy="262243"/>
            <a:chOff x="10005789" y="3124036"/>
            <a:chExt cx="262191" cy="262243"/>
          </a:xfrm>
          <a:noFill/>
        </p:grpSpPr>
        <p:grpSp>
          <p:nvGrpSpPr>
            <p:cNvPr id="936" name="Gráfico 11">
              <a:extLst>
                <a:ext uri="{FF2B5EF4-FFF2-40B4-BE49-F238E27FC236}">
                  <a16:creationId xmlns:a16="http://schemas.microsoft.com/office/drawing/2014/main" id="{5E7B85A6-4A7D-DB33-A95A-56F4E34DDF8B}"/>
                </a:ext>
              </a:extLst>
            </p:cNvPr>
            <p:cNvGrpSpPr/>
            <p:nvPr/>
          </p:nvGrpSpPr>
          <p:grpSpPr>
            <a:xfrm>
              <a:off x="10023077" y="3301269"/>
              <a:ext cx="67722" cy="67722"/>
              <a:chOff x="10023077" y="3301269"/>
              <a:chExt cx="67722" cy="67722"/>
            </a:xfrm>
          </p:grpSpPr>
          <p:sp>
            <p:nvSpPr>
              <p:cNvPr id="937" name="Forma livre: Forma 936">
                <a:extLst>
                  <a:ext uri="{FF2B5EF4-FFF2-40B4-BE49-F238E27FC236}">
                    <a16:creationId xmlns:a16="http://schemas.microsoft.com/office/drawing/2014/main" id="{9C758C14-ECB4-13D7-7809-35FEEBAE5FE3}"/>
                  </a:ext>
                </a:extLst>
              </p:cNvPr>
              <p:cNvSpPr/>
              <p:nvPr/>
            </p:nvSpPr>
            <p:spPr>
              <a:xfrm>
                <a:off x="10030030" y="3301269"/>
                <a:ext cx="20478" cy="20431"/>
              </a:xfrm>
              <a:custGeom>
                <a:avLst/>
                <a:gdLst>
                  <a:gd name="connsiteX0" fmla="*/ 20479 w 20478"/>
                  <a:gd name="connsiteY0" fmla="*/ 0 h 20431"/>
                  <a:gd name="connsiteX1" fmla="*/ 0 w 20478"/>
                  <a:gd name="connsiteY1" fmla="*/ 20431 h 204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0478" h="20431">
                    <a:moveTo>
                      <a:pt x="20479" y="0"/>
                    </a:moveTo>
                    <a:lnTo>
                      <a:pt x="0" y="20431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38" name="Forma livre: Forma 937">
                <a:extLst>
                  <a:ext uri="{FF2B5EF4-FFF2-40B4-BE49-F238E27FC236}">
                    <a16:creationId xmlns:a16="http://schemas.microsoft.com/office/drawing/2014/main" id="{0CA0885C-ED8C-BBDE-A292-543563C28D86}"/>
                  </a:ext>
                </a:extLst>
              </p:cNvPr>
              <p:cNvSpPr/>
              <p:nvPr/>
            </p:nvSpPr>
            <p:spPr>
              <a:xfrm>
                <a:off x="10023077" y="3321415"/>
                <a:ext cx="47577" cy="47577"/>
              </a:xfrm>
              <a:custGeom>
                <a:avLst/>
                <a:gdLst>
                  <a:gd name="connsiteX0" fmla="*/ 47577 w 47577"/>
                  <a:gd name="connsiteY0" fmla="*/ 0 h 47577"/>
                  <a:gd name="connsiteX1" fmla="*/ 0 w 47577"/>
                  <a:gd name="connsiteY1" fmla="*/ 47577 h 475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577" h="47577">
                    <a:moveTo>
                      <a:pt x="47577" y="0"/>
                    </a:moveTo>
                    <a:lnTo>
                      <a:pt x="0" y="47577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39" name="Forma livre: Forma 938">
                <a:extLst>
                  <a:ext uri="{FF2B5EF4-FFF2-40B4-BE49-F238E27FC236}">
                    <a16:creationId xmlns:a16="http://schemas.microsoft.com/office/drawing/2014/main" id="{05E0BED2-8569-4099-8FCC-E8171E2F4307}"/>
                  </a:ext>
                </a:extLst>
              </p:cNvPr>
              <p:cNvSpPr/>
              <p:nvPr/>
            </p:nvSpPr>
            <p:spPr>
              <a:xfrm>
                <a:off x="10069368" y="3341560"/>
                <a:ext cx="21431" cy="21431"/>
              </a:xfrm>
              <a:custGeom>
                <a:avLst/>
                <a:gdLst>
                  <a:gd name="connsiteX0" fmla="*/ 21431 w 21431"/>
                  <a:gd name="connsiteY0" fmla="*/ 0 h 21431"/>
                  <a:gd name="connsiteX1" fmla="*/ 0 w 21431"/>
                  <a:gd name="connsiteY1" fmla="*/ 21431 h 214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1431" h="21431">
                    <a:moveTo>
                      <a:pt x="21431" y="0"/>
                    </a:moveTo>
                    <a:lnTo>
                      <a:pt x="0" y="21431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940" name="Forma livre: Forma 939">
              <a:extLst>
                <a:ext uri="{FF2B5EF4-FFF2-40B4-BE49-F238E27FC236}">
                  <a16:creationId xmlns:a16="http://schemas.microsoft.com/office/drawing/2014/main" id="{0947B2E1-C961-E553-5D6F-5232E27A1B97}"/>
                </a:ext>
              </a:extLst>
            </p:cNvPr>
            <p:cNvSpPr/>
            <p:nvPr/>
          </p:nvSpPr>
          <p:spPr>
            <a:xfrm>
              <a:off x="10154950" y="3184874"/>
              <a:ext cx="52196" cy="52197"/>
            </a:xfrm>
            <a:custGeom>
              <a:avLst/>
              <a:gdLst>
                <a:gd name="connsiteX0" fmla="*/ 26098 w 52196"/>
                <a:gd name="connsiteY0" fmla="*/ 0 h 52197"/>
                <a:gd name="connsiteX1" fmla="*/ 52197 w 52196"/>
                <a:gd name="connsiteY1" fmla="*/ 26099 h 52197"/>
                <a:gd name="connsiteX2" fmla="*/ 26098 w 52196"/>
                <a:gd name="connsiteY2" fmla="*/ 52197 h 52197"/>
                <a:gd name="connsiteX3" fmla="*/ 0 w 52196"/>
                <a:gd name="connsiteY3" fmla="*/ 26099 h 52197"/>
                <a:gd name="connsiteX4" fmla="*/ 26098 w 52196"/>
                <a:gd name="connsiteY4" fmla="*/ 0 h 521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2196" h="52197">
                  <a:moveTo>
                    <a:pt x="26098" y="0"/>
                  </a:moveTo>
                  <a:cubicBezTo>
                    <a:pt x="40529" y="0"/>
                    <a:pt x="52197" y="11668"/>
                    <a:pt x="52197" y="26099"/>
                  </a:cubicBezTo>
                  <a:cubicBezTo>
                    <a:pt x="52197" y="40529"/>
                    <a:pt x="40529" y="52197"/>
                    <a:pt x="26098" y="52197"/>
                  </a:cubicBezTo>
                  <a:cubicBezTo>
                    <a:pt x="11668" y="52197"/>
                    <a:pt x="0" y="40529"/>
                    <a:pt x="0" y="26099"/>
                  </a:cubicBezTo>
                  <a:cubicBezTo>
                    <a:pt x="0" y="11668"/>
                    <a:pt x="11668" y="0"/>
                    <a:pt x="26098" y="0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41" name="Forma livre: Forma 940">
              <a:extLst>
                <a:ext uri="{FF2B5EF4-FFF2-40B4-BE49-F238E27FC236}">
                  <a16:creationId xmlns:a16="http://schemas.microsoft.com/office/drawing/2014/main" id="{89BD7A8F-ADB3-187A-E4B8-ADCFC3BDEE80}"/>
                </a:ext>
              </a:extLst>
            </p:cNvPr>
            <p:cNvSpPr/>
            <p:nvPr/>
          </p:nvSpPr>
          <p:spPr>
            <a:xfrm>
              <a:off x="10199099" y="3136249"/>
              <a:ext cx="56721" cy="56673"/>
            </a:xfrm>
            <a:custGeom>
              <a:avLst/>
              <a:gdLst>
                <a:gd name="connsiteX0" fmla="*/ 0 w 56721"/>
                <a:gd name="connsiteY0" fmla="*/ 0 h 56673"/>
                <a:gd name="connsiteX1" fmla="*/ 56721 w 56721"/>
                <a:gd name="connsiteY1" fmla="*/ 56674 h 566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6721" h="56673">
                  <a:moveTo>
                    <a:pt x="0" y="0"/>
                  </a:moveTo>
                  <a:lnTo>
                    <a:pt x="56721" y="56674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42" name="Forma livre: Forma 941">
              <a:extLst>
                <a:ext uri="{FF2B5EF4-FFF2-40B4-BE49-F238E27FC236}">
                  <a16:creationId xmlns:a16="http://schemas.microsoft.com/office/drawing/2014/main" id="{DE53F849-B691-DF72-8CBB-9B51FCB3F437}"/>
                </a:ext>
              </a:extLst>
            </p:cNvPr>
            <p:cNvSpPr/>
            <p:nvPr/>
          </p:nvSpPr>
          <p:spPr>
            <a:xfrm>
              <a:off x="10065558" y="3124036"/>
              <a:ext cx="202422" cy="202474"/>
            </a:xfrm>
            <a:custGeom>
              <a:avLst/>
              <a:gdLst>
                <a:gd name="connsiteX0" fmla="*/ 200454 w 202422"/>
                <a:gd name="connsiteY0" fmla="*/ 1926 h 202474"/>
                <a:gd name="connsiteX1" fmla="*/ 0 w 202422"/>
                <a:gd name="connsiteY1" fmla="*/ 158421 h 202474"/>
                <a:gd name="connsiteX2" fmla="*/ 44053 w 202422"/>
                <a:gd name="connsiteY2" fmla="*/ 202475 h 202474"/>
                <a:gd name="connsiteX3" fmla="*/ 200454 w 202422"/>
                <a:gd name="connsiteY3" fmla="*/ 1926 h 2024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2422" h="202474">
                  <a:moveTo>
                    <a:pt x="200454" y="1926"/>
                  </a:moveTo>
                  <a:cubicBezTo>
                    <a:pt x="185690" y="-1741"/>
                    <a:pt x="93440" y="-16505"/>
                    <a:pt x="0" y="158421"/>
                  </a:cubicBezTo>
                  <a:lnTo>
                    <a:pt x="44053" y="202475"/>
                  </a:lnTo>
                  <a:cubicBezTo>
                    <a:pt x="219504" y="108749"/>
                    <a:pt x="204073" y="16261"/>
                    <a:pt x="200454" y="1926"/>
                  </a:cubicBez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943" name="Gráfico 11">
              <a:extLst>
                <a:ext uri="{FF2B5EF4-FFF2-40B4-BE49-F238E27FC236}">
                  <a16:creationId xmlns:a16="http://schemas.microsoft.com/office/drawing/2014/main" id="{3A894AB2-DEAC-A897-0FC5-AB599429C4FC}"/>
                </a:ext>
              </a:extLst>
            </p:cNvPr>
            <p:cNvGrpSpPr/>
            <p:nvPr/>
          </p:nvGrpSpPr>
          <p:grpSpPr>
            <a:xfrm>
              <a:off x="10005789" y="3203067"/>
              <a:ext cx="183165" cy="183213"/>
              <a:chOff x="10005789" y="3203067"/>
              <a:chExt cx="183165" cy="183213"/>
            </a:xfrm>
            <a:noFill/>
          </p:grpSpPr>
          <p:sp>
            <p:nvSpPr>
              <p:cNvPr id="944" name="Forma livre: Forma 943">
                <a:extLst>
                  <a:ext uri="{FF2B5EF4-FFF2-40B4-BE49-F238E27FC236}">
                    <a16:creationId xmlns:a16="http://schemas.microsoft.com/office/drawing/2014/main" id="{279D9A3F-0105-88EB-98F1-F249876F0214}"/>
                  </a:ext>
                </a:extLst>
              </p:cNvPr>
              <p:cNvSpPr/>
              <p:nvPr/>
            </p:nvSpPr>
            <p:spPr>
              <a:xfrm>
                <a:off x="10005789" y="3203067"/>
                <a:ext cx="82486" cy="56673"/>
              </a:xfrm>
              <a:custGeom>
                <a:avLst/>
                <a:gdLst>
                  <a:gd name="connsiteX0" fmla="*/ 82486 w 82486"/>
                  <a:gd name="connsiteY0" fmla="*/ 0 h 56673"/>
                  <a:gd name="connsiteX1" fmla="*/ 0 w 82486"/>
                  <a:gd name="connsiteY1" fmla="*/ 56674 h 56673"/>
                  <a:gd name="connsiteX2" fmla="*/ 47339 w 82486"/>
                  <a:gd name="connsiteY2" fmla="*/ 54388 h 566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2486" h="56673">
                    <a:moveTo>
                      <a:pt x="82486" y="0"/>
                    </a:moveTo>
                    <a:cubicBezTo>
                      <a:pt x="61817" y="2476"/>
                      <a:pt x="29194" y="13287"/>
                      <a:pt x="0" y="56674"/>
                    </a:cubicBezTo>
                    <a:cubicBezTo>
                      <a:pt x="0" y="56674"/>
                      <a:pt x="17240" y="48816"/>
                      <a:pt x="47339" y="54388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45" name="Forma livre: Forma 944">
                <a:extLst>
                  <a:ext uri="{FF2B5EF4-FFF2-40B4-BE49-F238E27FC236}">
                    <a16:creationId xmlns:a16="http://schemas.microsoft.com/office/drawing/2014/main" id="{3DF41390-5C33-87C3-D008-92E52494F19E}"/>
                  </a:ext>
                </a:extLst>
              </p:cNvPr>
              <p:cNvSpPr/>
              <p:nvPr/>
            </p:nvSpPr>
            <p:spPr>
              <a:xfrm>
                <a:off x="10132281" y="3303793"/>
                <a:ext cx="56673" cy="82486"/>
              </a:xfrm>
              <a:custGeom>
                <a:avLst/>
                <a:gdLst>
                  <a:gd name="connsiteX0" fmla="*/ 56674 w 56673"/>
                  <a:gd name="connsiteY0" fmla="*/ 0 h 82486"/>
                  <a:gd name="connsiteX1" fmla="*/ 0 w 56673"/>
                  <a:gd name="connsiteY1" fmla="*/ 82487 h 82486"/>
                  <a:gd name="connsiteX2" fmla="*/ 2286 w 56673"/>
                  <a:gd name="connsiteY2" fmla="*/ 35147 h 824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56673" h="82486">
                    <a:moveTo>
                      <a:pt x="56674" y="0"/>
                    </a:moveTo>
                    <a:cubicBezTo>
                      <a:pt x="54197" y="20669"/>
                      <a:pt x="43386" y="53292"/>
                      <a:pt x="0" y="82487"/>
                    </a:cubicBezTo>
                    <a:cubicBezTo>
                      <a:pt x="0" y="82487"/>
                      <a:pt x="7858" y="65246"/>
                      <a:pt x="2286" y="35147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946" name="Gráfico 11">
            <a:extLst>
              <a:ext uri="{FF2B5EF4-FFF2-40B4-BE49-F238E27FC236}">
                <a16:creationId xmlns:a16="http://schemas.microsoft.com/office/drawing/2014/main" id="{72813B8E-CB84-6076-A545-EAD33A164769}"/>
              </a:ext>
            </a:extLst>
          </p:cNvPr>
          <p:cNvGrpSpPr/>
          <p:nvPr/>
        </p:nvGrpSpPr>
        <p:grpSpPr>
          <a:xfrm>
            <a:off x="10648488" y="3094720"/>
            <a:ext cx="213931" cy="320897"/>
            <a:chOff x="10648488" y="3094720"/>
            <a:chExt cx="213931" cy="320897"/>
          </a:xfrm>
          <a:noFill/>
        </p:grpSpPr>
        <p:sp>
          <p:nvSpPr>
            <p:cNvPr id="947" name="Forma livre: Forma 946">
              <a:extLst>
                <a:ext uri="{FF2B5EF4-FFF2-40B4-BE49-F238E27FC236}">
                  <a16:creationId xmlns:a16="http://schemas.microsoft.com/office/drawing/2014/main" id="{75EF160E-F80C-C9AB-36C8-535F64D5E1FF}"/>
                </a:ext>
              </a:extLst>
            </p:cNvPr>
            <p:cNvSpPr/>
            <p:nvPr/>
          </p:nvSpPr>
          <p:spPr>
            <a:xfrm>
              <a:off x="10730655" y="3197399"/>
              <a:ext cx="79996" cy="46733"/>
            </a:xfrm>
            <a:custGeom>
              <a:avLst/>
              <a:gdLst>
                <a:gd name="connsiteX0" fmla="*/ 79996 w 79996"/>
                <a:gd name="connsiteY0" fmla="*/ 28242 h 46733"/>
                <a:gd name="connsiteX1" fmla="*/ 30228 w 79996"/>
                <a:gd name="connsiteY1" fmla="*/ 44482 h 46733"/>
                <a:gd name="connsiteX2" fmla="*/ 81 w 79996"/>
                <a:gd name="connsiteY2" fmla="*/ 0 h 467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79996" h="46733">
                  <a:moveTo>
                    <a:pt x="79996" y="28242"/>
                  </a:moveTo>
                  <a:cubicBezTo>
                    <a:pt x="69090" y="43577"/>
                    <a:pt x="49040" y="50721"/>
                    <a:pt x="30228" y="44482"/>
                  </a:cubicBezTo>
                  <a:cubicBezTo>
                    <a:pt x="10845" y="38052"/>
                    <a:pt x="-1109" y="19479"/>
                    <a:pt x="81" y="0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48" name="Forma livre: Forma 947">
              <a:extLst>
                <a:ext uri="{FF2B5EF4-FFF2-40B4-BE49-F238E27FC236}">
                  <a16:creationId xmlns:a16="http://schemas.microsoft.com/office/drawing/2014/main" id="{E368D9F1-A4A6-A779-F08E-7BCBC2CB0A18}"/>
                </a:ext>
              </a:extLst>
            </p:cNvPr>
            <p:cNvSpPr/>
            <p:nvPr/>
          </p:nvSpPr>
          <p:spPr>
            <a:xfrm>
              <a:off x="10711829" y="3155958"/>
              <a:ext cx="126091" cy="68846"/>
            </a:xfrm>
            <a:custGeom>
              <a:avLst/>
              <a:gdLst>
                <a:gd name="connsiteX0" fmla="*/ 26670 w 126091"/>
                <a:gd name="connsiteY0" fmla="*/ 18962 h 68846"/>
                <a:gd name="connsiteX1" fmla="*/ 76771 w 126091"/>
                <a:gd name="connsiteY1" fmla="*/ 2246 h 68846"/>
                <a:gd name="connsiteX2" fmla="*/ 106775 w 126091"/>
                <a:gd name="connsiteY2" fmla="*/ 38869 h 68846"/>
                <a:gd name="connsiteX3" fmla="*/ 107347 w 126091"/>
                <a:gd name="connsiteY3" fmla="*/ 39346 h 68846"/>
                <a:gd name="connsiteX4" fmla="*/ 125778 w 126091"/>
                <a:gd name="connsiteY4" fmla="*/ 61634 h 68846"/>
                <a:gd name="connsiteX5" fmla="*/ 56674 w 126091"/>
                <a:gd name="connsiteY5" fmla="*/ 59586 h 68846"/>
                <a:gd name="connsiteX6" fmla="*/ 0 w 126091"/>
                <a:gd name="connsiteY6" fmla="*/ 20010 h 68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26091" h="68846">
                  <a:moveTo>
                    <a:pt x="26670" y="18962"/>
                  </a:moveTo>
                  <a:cubicBezTo>
                    <a:pt x="37528" y="3294"/>
                    <a:pt x="57769" y="-4041"/>
                    <a:pt x="76771" y="2246"/>
                  </a:cubicBezTo>
                  <a:cubicBezTo>
                    <a:pt x="93678" y="7818"/>
                    <a:pt x="104918" y="22248"/>
                    <a:pt x="106775" y="38869"/>
                  </a:cubicBezTo>
                  <a:lnTo>
                    <a:pt x="107347" y="39346"/>
                  </a:lnTo>
                  <a:cubicBezTo>
                    <a:pt x="120444" y="47490"/>
                    <a:pt x="127730" y="55729"/>
                    <a:pt x="125778" y="61634"/>
                  </a:cubicBezTo>
                  <a:cubicBezTo>
                    <a:pt x="122349" y="72016"/>
                    <a:pt x="91440" y="71064"/>
                    <a:pt x="56674" y="59586"/>
                  </a:cubicBezTo>
                  <a:cubicBezTo>
                    <a:pt x="21955" y="48109"/>
                    <a:pt x="5286" y="30249"/>
                    <a:pt x="0" y="2001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49" name="Forma livre: Forma 948">
              <a:extLst>
                <a:ext uri="{FF2B5EF4-FFF2-40B4-BE49-F238E27FC236}">
                  <a16:creationId xmlns:a16="http://schemas.microsoft.com/office/drawing/2014/main" id="{05E5D4FA-2654-7BCF-6409-8AE38202F837}"/>
                </a:ext>
              </a:extLst>
            </p:cNvPr>
            <p:cNvSpPr/>
            <p:nvPr/>
          </p:nvSpPr>
          <p:spPr>
            <a:xfrm>
              <a:off x="10648488" y="3094720"/>
              <a:ext cx="213931" cy="282035"/>
            </a:xfrm>
            <a:custGeom>
              <a:avLst/>
              <a:gdLst>
                <a:gd name="connsiteX0" fmla="*/ 79534 w 213931"/>
                <a:gd name="connsiteY0" fmla="*/ 282035 h 282035"/>
                <a:gd name="connsiteX1" fmla="*/ 31337 w 213931"/>
                <a:gd name="connsiteY1" fmla="*/ 282035 h 282035"/>
                <a:gd name="connsiteX2" fmla="*/ 0 w 213931"/>
                <a:gd name="connsiteY2" fmla="*/ 250698 h 282035"/>
                <a:gd name="connsiteX3" fmla="*/ 0 w 213931"/>
                <a:gd name="connsiteY3" fmla="*/ 240268 h 282035"/>
                <a:gd name="connsiteX4" fmla="*/ 31337 w 213931"/>
                <a:gd name="connsiteY4" fmla="*/ 208931 h 282035"/>
                <a:gd name="connsiteX5" fmla="*/ 213931 w 213931"/>
                <a:gd name="connsiteY5" fmla="*/ 208931 h 282035"/>
                <a:gd name="connsiteX6" fmla="*/ 213931 w 213931"/>
                <a:gd name="connsiteY6" fmla="*/ 0 h 282035"/>
                <a:gd name="connsiteX7" fmla="*/ 41815 w 213931"/>
                <a:gd name="connsiteY7" fmla="*/ 0 h 282035"/>
                <a:gd name="connsiteX8" fmla="*/ 48 w 213931"/>
                <a:gd name="connsiteY8" fmla="*/ 41767 h 282035"/>
                <a:gd name="connsiteX9" fmla="*/ 48 w 213931"/>
                <a:gd name="connsiteY9" fmla="*/ 239363 h 2820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13931" h="282035">
                  <a:moveTo>
                    <a:pt x="79534" y="282035"/>
                  </a:moveTo>
                  <a:lnTo>
                    <a:pt x="31337" y="282035"/>
                  </a:lnTo>
                  <a:cubicBezTo>
                    <a:pt x="14097" y="282035"/>
                    <a:pt x="0" y="267938"/>
                    <a:pt x="0" y="250698"/>
                  </a:cubicBezTo>
                  <a:lnTo>
                    <a:pt x="0" y="240268"/>
                  </a:lnTo>
                  <a:cubicBezTo>
                    <a:pt x="0" y="223028"/>
                    <a:pt x="14097" y="208931"/>
                    <a:pt x="31337" y="208931"/>
                  </a:cubicBezTo>
                  <a:lnTo>
                    <a:pt x="213931" y="208931"/>
                  </a:lnTo>
                  <a:lnTo>
                    <a:pt x="213931" y="0"/>
                  </a:lnTo>
                  <a:lnTo>
                    <a:pt x="41815" y="0"/>
                  </a:lnTo>
                  <a:cubicBezTo>
                    <a:pt x="18812" y="0"/>
                    <a:pt x="48" y="18812"/>
                    <a:pt x="48" y="41767"/>
                  </a:cubicBezTo>
                  <a:lnTo>
                    <a:pt x="48" y="239363"/>
                  </a:lnTo>
                </a:path>
              </a:pathLst>
            </a:custGeom>
            <a:noFill/>
            <a:ln w="6350" cap="sq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50" name="Forma livre: Forma 949">
              <a:extLst>
                <a:ext uri="{FF2B5EF4-FFF2-40B4-BE49-F238E27FC236}">
                  <a16:creationId xmlns:a16="http://schemas.microsoft.com/office/drawing/2014/main" id="{0DAC87C6-36BE-F14C-B735-2DB558383149}"/>
                </a:ext>
              </a:extLst>
            </p:cNvPr>
            <p:cNvSpPr/>
            <p:nvPr/>
          </p:nvSpPr>
          <p:spPr>
            <a:xfrm>
              <a:off x="10776075" y="3376755"/>
              <a:ext cx="86344" cy="4762"/>
            </a:xfrm>
            <a:custGeom>
              <a:avLst/>
              <a:gdLst>
                <a:gd name="connsiteX0" fmla="*/ 86344 w 86344"/>
                <a:gd name="connsiteY0" fmla="*/ 0 h 4762"/>
                <a:gd name="connsiteX1" fmla="*/ 0 w 86344"/>
                <a:gd name="connsiteY1" fmla="*/ 0 h 47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6344" h="4762">
                  <a:moveTo>
                    <a:pt x="86344" y="0"/>
                  </a:moveTo>
                  <a:lnTo>
                    <a:pt x="0" y="0"/>
                  </a:lnTo>
                </a:path>
              </a:pathLst>
            </a:custGeom>
            <a:ln w="6350" cap="sq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51" name="Forma livre: Forma 950">
              <a:extLst>
                <a:ext uri="{FF2B5EF4-FFF2-40B4-BE49-F238E27FC236}">
                  <a16:creationId xmlns:a16="http://schemas.microsoft.com/office/drawing/2014/main" id="{BFFB79C5-5399-BCDD-C27B-462AF49DC8A5}"/>
                </a:ext>
              </a:extLst>
            </p:cNvPr>
            <p:cNvSpPr/>
            <p:nvPr/>
          </p:nvSpPr>
          <p:spPr>
            <a:xfrm>
              <a:off x="10685350" y="3095625"/>
              <a:ext cx="4762" cy="207025"/>
            </a:xfrm>
            <a:custGeom>
              <a:avLst/>
              <a:gdLst>
                <a:gd name="connsiteX0" fmla="*/ 0 w 4762"/>
                <a:gd name="connsiteY0" fmla="*/ 0 h 207025"/>
                <a:gd name="connsiteX1" fmla="*/ 0 w 4762"/>
                <a:gd name="connsiteY1" fmla="*/ 207026 h 207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762" h="207025">
                  <a:moveTo>
                    <a:pt x="0" y="0"/>
                  </a:moveTo>
                  <a:lnTo>
                    <a:pt x="0" y="207026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52" name="Forma livre: Forma 951">
              <a:extLst>
                <a:ext uri="{FF2B5EF4-FFF2-40B4-BE49-F238E27FC236}">
                  <a16:creationId xmlns:a16="http://schemas.microsoft.com/office/drawing/2014/main" id="{542F6F87-5CDF-52CB-8ED0-C23B77D393A9}"/>
                </a:ext>
              </a:extLst>
            </p:cNvPr>
            <p:cNvSpPr/>
            <p:nvPr/>
          </p:nvSpPr>
          <p:spPr>
            <a:xfrm>
              <a:off x="10729927" y="3340560"/>
              <a:ext cx="45386" cy="75057"/>
            </a:xfrm>
            <a:custGeom>
              <a:avLst/>
              <a:gdLst>
                <a:gd name="connsiteX0" fmla="*/ 45387 w 45386"/>
                <a:gd name="connsiteY0" fmla="*/ 0 h 75057"/>
                <a:gd name="connsiteX1" fmla="*/ 45387 w 45386"/>
                <a:gd name="connsiteY1" fmla="*/ 75057 h 75057"/>
                <a:gd name="connsiteX2" fmla="*/ 22670 w 45386"/>
                <a:gd name="connsiteY2" fmla="*/ 59960 h 75057"/>
                <a:gd name="connsiteX3" fmla="*/ 0 w 45386"/>
                <a:gd name="connsiteY3" fmla="*/ 75057 h 75057"/>
                <a:gd name="connsiteX4" fmla="*/ 0 w 45386"/>
                <a:gd name="connsiteY4" fmla="*/ 0 h 75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5386" h="75057">
                  <a:moveTo>
                    <a:pt x="45387" y="0"/>
                  </a:moveTo>
                  <a:lnTo>
                    <a:pt x="45387" y="75057"/>
                  </a:lnTo>
                  <a:lnTo>
                    <a:pt x="22670" y="59960"/>
                  </a:lnTo>
                  <a:lnTo>
                    <a:pt x="0" y="75057"/>
                  </a:lnTo>
                  <a:lnTo>
                    <a:pt x="0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53" name="Forma livre: Forma 952">
              <a:extLst>
                <a:ext uri="{FF2B5EF4-FFF2-40B4-BE49-F238E27FC236}">
                  <a16:creationId xmlns:a16="http://schemas.microsoft.com/office/drawing/2014/main" id="{CF590225-5539-B86F-3C55-FFEEC319EC56}"/>
                </a:ext>
              </a:extLst>
            </p:cNvPr>
            <p:cNvSpPr/>
            <p:nvPr/>
          </p:nvSpPr>
          <p:spPr>
            <a:xfrm>
              <a:off x="10682349" y="3340036"/>
              <a:ext cx="180070" cy="4762"/>
            </a:xfrm>
            <a:custGeom>
              <a:avLst/>
              <a:gdLst>
                <a:gd name="connsiteX0" fmla="*/ 0 w 180070"/>
                <a:gd name="connsiteY0" fmla="*/ 0 h 4762"/>
                <a:gd name="connsiteX1" fmla="*/ 180070 w 180070"/>
                <a:gd name="connsiteY1" fmla="*/ 0 h 47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0070" h="4762">
                  <a:moveTo>
                    <a:pt x="0" y="0"/>
                  </a:moveTo>
                  <a:lnTo>
                    <a:pt x="180070" y="0"/>
                  </a:lnTo>
                </a:path>
              </a:pathLst>
            </a:custGeom>
            <a:ln w="6350" cap="sq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954" name="Gráfico 11">
            <a:extLst>
              <a:ext uri="{FF2B5EF4-FFF2-40B4-BE49-F238E27FC236}">
                <a16:creationId xmlns:a16="http://schemas.microsoft.com/office/drawing/2014/main" id="{A39BD92A-C4F5-AC36-4ABA-2A6913E8B101}"/>
              </a:ext>
            </a:extLst>
          </p:cNvPr>
          <p:cNvGrpSpPr/>
          <p:nvPr/>
        </p:nvGrpSpPr>
        <p:grpSpPr>
          <a:xfrm>
            <a:off x="11212558" y="3094005"/>
            <a:ext cx="322836" cy="322278"/>
            <a:chOff x="11212558" y="3094005"/>
            <a:chExt cx="322836" cy="322278"/>
          </a:xfrm>
        </p:grpSpPr>
        <p:sp>
          <p:nvSpPr>
            <p:cNvPr id="955" name="Forma livre: Forma 954">
              <a:extLst>
                <a:ext uri="{FF2B5EF4-FFF2-40B4-BE49-F238E27FC236}">
                  <a16:creationId xmlns:a16="http://schemas.microsoft.com/office/drawing/2014/main" id="{56EADBBD-7A49-FE72-CCB2-69EC7A416BCD}"/>
                </a:ext>
              </a:extLst>
            </p:cNvPr>
            <p:cNvSpPr/>
            <p:nvPr/>
          </p:nvSpPr>
          <p:spPr>
            <a:xfrm>
              <a:off x="11310428" y="3140281"/>
              <a:ext cx="126174" cy="89170"/>
            </a:xfrm>
            <a:custGeom>
              <a:avLst/>
              <a:gdLst>
                <a:gd name="connsiteX0" fmla="*/ 0 w 126174"/>
                <a:gd name="connsiteY0" fmla="*/ 48546 h 89170"/>
                <a:gd name="connsiteX1" fmla="*/ 1333 w 126174"/>
                <a:gd name="connsiteY1" fmla="*/ 43926 h 89170"/>
                <a:gd name="connsiteX2" fmla="*/ 82248 w 126174"/>
                <a:gd name="connsiteY2" fmla="*/ 3255 h 89170"/>
                <a:gd name="connsiteX3" fmla="*/ 122920 w 126174"/>
                <a:gd name="connsiteY3" fmla="*/ 84169 h 89170"/>
                <a:gd name="connsiteX4" fmla="*/ 121015 w 126174"/>
                <a:gd name="connsiteY4" fmla="*/ 89170 h 891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6174" h="89170">
                  <a:moveTo>
                    <a:pt x="0" y="48546"/>
                  </a:moveTo>
                  <a:cubicBezTo>
                    <a:pt x="381" y="47022"/>
                    <a:pt x="857" y="45450"/>
                    <a:pt x="1333" y="43926"/>
                  </a:cubicBezTo>
                  <a:cubicBezTo>
                    <a:pt x="12430" y="10351"/>
                    <a:pt x="48673" y="-7842"/>
                    <a:pt x="82248" y="3255"/>
                  </a:cubicBezTo>
                  <a:cubicBezTo>
                    <a:pt x="115824" y="14351"/>
                    <a:pt x="134017" y="50594"/>
                    <a:pt x="122920" y="84169"/>
                  </a:cubicBezTo>
                  <a:cubicBezTo>
                    <a:pt x="122349" y="85884"/>
                    <a:pt x="121729" y="87551"/>
                    <a:pt x="121015" y="89170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56" name="Forma livre: Forma 955">
              <a:extLst>
                <a:ext uri="{FF2B5EF4-FFF2-40B4-BE49-F238E27FC236}">
                  <a16:creationId xmlns:a16="http://schemas.microsoft.com/office/drawing/2014/main" id="{660D7DAC-0398-E200-53E4-5095568C0BE3}"/>
                </a:ext>
              </a:extLst>
            </p:cNvPr>
            <p:cNvSpPr/>
            <p:nvPr/>
          </p:nvSpPr>
          <p:spPr>
            <a:xfrm>
              <a:off x="11309047" y="3212639"/>
              <a:ext cx="109537" cy="55735"/>
            </a:xfrm>
            <a:custGeom>
              <a:avLst/>
              <a:gdLst>
                <a:gd name="connsiteX0" fmla="*/ 109537 w 109537"/>
                <a:gd name="connsiteY0" fmla="*/ 36243 h 55735"/>
                <a:gd name="connsiteX1" fmla="*/ 43386 w 109537"/>
                <a:gd name="connsiteY1" fmla="*/ 52483 h 55735"/>
                <a:gd name="connsiteX2" fmla="*/ 0 w 109537"/>
                <a:gd name="connsiteY2" fmla="*/ 0 h 557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09537" h="55735">
                  <a:moveTo>
                    <a:pt x="109537" y="36243"/>
                  </a:moveTo>
                  <a:cubicBezTo>
                    <a:pt x="92964" y="53340"/>
                    <a:pt x="67532" y="60436"/>
                    <a:pt x="43386" y="52483"/>
                  </a:cubicBezTo>
                  <a:cubicBezTo>
                    <a:pt x="19288" y="44482"/>
                    <a:pt x="3096" y="23574"/>
                    <a:pt x="0" y="0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57" name="Forma livre: Forma 956">
              <a:extLst>
                <a:ext uri="{FF2B5EF4-FFF2-40B4-BE49-F238E27FC236}">
                  <a16:creationId xmlns:a16="http://schemas.microsoft.com/office/drawing/2014/main" id="{CC2FF02D-2243-1DE2-4320-E1CFA4E830BB}"/>
                </a:ext>
              </a:extLst>
            </p:cNvPr>
            <p:cNvSpPr/>
            <p:nvPr/>
          </p:nvSpPr>
          <p:spPr>
            <a:xfrm>
              <a:off x="11270970" y="3159394"/>
              <a:ext cx="203081" cy="90035"/>
            </a:xfrm>
            <a:custGeom>
              <a:avLst/>
              <a:gdLst>
                <a:gd name="connsiteX0" fmla="*/ 185191 w 203081"/>
                <a:gd name="connsiteY0" fmla="*/ 51054 h 90035"/>
                <a:gd name="connsiteX1" fmla="*/ 202574 w 203081"/>
                <a:gd name="connsiteY1" fmla="*/ 78438 h 90035"/>
                <a:gd name="connsiteX2" fmla="*/ 91560 w 203081"/>
                <a:gd name="connsiteY2" fmla="*/ 75152 h 90035"/>
                <a:gd name="connsiteX3" fmla="*/ 501 w 203081"/>
                <a:gd name="connsiteY3" fmla="*/ 11573 h 90035"/>
                <a:gd name="connsiteX4" fmla="*/ 30600 w 203081"/>
                <a:gd name="connsiteY4" fmla="*/ 0 h 900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03081" h="90035">
                  <a:moveTo>
                    <a:pt x="185191" y="51054"/>
                  </a:moveTo>
                  <a:cubicBezTo>
                    <a:pt x="198335" y="61246"/>
                    <a:pt x="205050" y="71009"/>
                    <a:pt x="202574" y="78438"/>
                  </a:cubicBezTo>
                  <a:cubicBezTo>
                    <a:pt x="197049" y="95107"/>
                    <a:pt x="147376" y="93631"/>
                    <a:pt x="91560" y="75152"/>
                  </a:cubicBezTo>
                  <a:cubicBezTo>
                    <a:pt x="35791" y="56674"/>
                    <a:pt x="-5024" y="28242"/>
                    <a:pt x="501" y="11573"/>
                  </a:cubicBezTo>
                  <a:cubicBezTo>
                    <a:pt x="2930" y="4191"/>
                    <a:pt x="14074" y="381"/>
                    <a:pt x="30600" y="0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958" name="Gráfico 11">
              <a:extLst>
                <a:ext uri="{FF2B5EF4-FFF2-40B4-BE49-F238E27FC236}">
                  <a16:creationId xmlns:a16="http://schemas.microsoft.com/office/drawing/2014/main" id="{624AE2BE-FA07-AFDA-A9D0-6DACD2BE13CA}"/>
                </a:ext>
              </a:extLst>
            </p:cNvPr>
            <p:cNvGrpSpPr/>
            <p:nvPr/>
          </p:nvGrpSpPr>
          <p:grpSpPr>
            <a:xfrm>
              <a:off x="11212558" y="3284633"/>
              <a:ext cx="322836" cy="131650"/>
              <a:chOff x="11212558" y="3284633"/>
              <a:chExt cx="322836" cy="131650"/>
            </a:xfrm>
            <a:noFill/>
          </p:grpSpPr>
          <p:sp>
            <p:nvSpPr>
              <p:cNvPr id="959" name="Forma livre: Forma 958">
                <a:extLst>
                  <a:ext uri="{FF2B5EF4-FFF2-40B4-BE49-F238E27FC236}">
                    <a16:creationId xmlns:a16="http://schemas.microsoft.com/office/drawing/2014/main" id="{2EF1E855-AFA3-052A-3D6E-3F9914C9105F}"/>
                  </a:ext>
                </a:extLst>
              </p:cNvPr>
              <p:cNvSpPr/>
              <p:nvPr/>
            </p:nvSpPr>
            <p:spPr>
              <a:xfrm>
                <a:off x="11252420" y="3284633"/>
                <a:ext cx="282974" cy="131650"/>
              </a:xfrm>
              <a:custGeom>
                <a:avLst/>
                <a:gdLst>
                  <a:gd name="connsiteX0" fmla="*/ 193119 w 282974"/>
                  <a:gd name="connsiteY0" fmla="*/ 32828 h 131650"/>
                  <a:gd name="connsiteX1" fmla="*/ 251031 w 282974"/>
                  <a:gd name="connsiteY1" fmla="*/ 3253 h 131650"/>
                  <a:gd name="connsiteX2" fmla="*/ 280749 w 282974"/>
                  <a:gd name="connsiteY2" fmla="*/ 9730 h 131650"/>
                  <a:gd name="connsiteX3" fmla="*/ 270224 w 282974"/>
                  <a:gd name="connsiteY3" fmla="*/ 38972 h 131650"/>
                  <a:gd name="connsiteX4" fmla="*/ 150114 w 282974"/>
                  <a:gd name="connsiteY4" fmla="*/ 103361 h 131650"/>
                  <a:gd name="connsiteX5" fmla="*/ 143780 w 282974"/>
                  <a:gd name="connsiteY5" fmla="*/ 104933 h 131650"/>
                  <a:gd name="connsiteX6" fmla="*/ 31766 w 282974"/>
                  <a:gd name="connsiteY6" fmla="*/ 107981 h 131650"/>
                  <a:gd name="connsiteX7" fmla="*/ 0 w 282974"/>
                  <a:gd name="connsiteY7" fmla="*/ 131650 h 1316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82974" h="131650">
                    <a:moveTo>
                      <a:pt x="193119" y="32828"/>
                    </a:moveTo>
                    <a:lnTo>
                      <a:pt x="251031" y="3253"/>
                    </a:lnTo>
                    <a:cubicBezTo>
                      <a:pt x="262223" y="-2748"/>
                      <a:pt x="275368" y="-366"/>
                      <a:pt x="280749" y="9730"/>
                    </a:cubicBezTo>
                    <a:cubicBezTo>
                      <a:pt x="286131" y="19827"/>
                      <a:pt x="281416" y="32971"/>
                      <a:pt x="270224" y="38972"/>
                    </a:cubicBezTo>
                    <a:lnTo>
                      <a:pt x="150114" y="103361"/>
                    </a:lnTo>
                    <a:lnTo>
                      <a:pt x="143780" y="104933"/>
                    </a:lnTo>
                    <a:lnTo>
                      <a:pt x="31766" y="107981"/>
                    </a:lnTo>
                    <a:cubicBezTo>
                      <a:pt x="31766" y="107981"/>
                      <a:pt x="17335" y="112029"/>
                      <a:pt x="0" y="131650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60" name="Forma livre: Forma 959">
                <a:extLst>
                  <a:ext uri="{FF2B5EF4-FFF2-40B4-BE49-F238E27FC236}">
                    <a16:creationId xmlns:a16="http://schemas.microsoft.com/office/drawing/2014/main" id="{6722489A-850F-2829-1BB3-D99008FDD0DB}"/>
                  </a:ext>
                </a:extLst>
              </p:cNvPr>
              <p:cNvSpPr/>
              <p:nvPr/>
            </p:nvSpPr>
            <p:spPr>
              <a:xfrm>
                <a:off x="11212558" y="3300539"/>
                <a:ext cx="213645" cy="56832"/>
              </a:xfrm>
              <a:custGeom>
                <a:avLst/>
                <a:gdLst>
                  <a:gd name="connsiteX0" fmla="*/ 0 w 213645"/>
                  <a:gd name="connsiteY0" fmla="*/ 56832 h 56832"/>
                  <a:gd name="connsiteX1" fmla="*/ 50816 w 213645"/>
                  <a:gd name="connsiteY1" fmla="*/ 10065 h 56832"/>
                  <a:gd name="connsiteX2" fmla="*/ 105108 w 213645"/>
                  <a:gd name="connsiteY2" fmla="*/ 2540 h 56832"/>
                  <a:gd name="connsiteX3" fmla="*/ 145875 w 213645"/>
                  <a:gd name="connsiteY3" fmla="*/ 7160 h 56832"/>
                  <a:gd name="connsiteX4" fmla="*/ 189833 w 213645"/>
                  <a:gd name="connsiteY4" fmla="*/ 7160 h 56832"/>
                  <a:gd name="connsiteX5" fmla="*/ 213646 w 213645"/>
                  <a:gd name="connsiteY5" fmla="*/ 27924 h 56832"/>
                  <a:gd name="connsiteX6" fmla="*/ 189833 w 213645"/>
                  <a:gd name="connsiteY6" fmla="*/ 48736 h 56832"/>
                  <a:gd name="connsiteX7" fmla="*/ 129016 w 213645"/>
                  <a:gd name="connsiteY7" fmla="*/ 48736 h 568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13645" h="56832">
                    <a:moveTo>
                      <a:pt x="0" y="56832"/>
                    </a:moveTo>
                    <a:lnTo>
                      <a:pt x="50816" y="10065"/>
                    </a:lnTo>
                    <a:cubicBezTo>
                      <a:pt x="75629" y="-6699"/>
                      <a:pt x="105108" y="2540"/>
                      <a:pt x="105108" y="2540"/>
                    </a:cubicBezTo>
                    <a:cubicBezTo>
                      <a:pt x="119348" y="6302"/>
                      <a:pt x="145875" y="7160"/>
                      <a:pt x="145875" y="7160"/>
                    </a:cubicBezTo>
                    <a:lnTo>
                      <a:pt x="189833" y="7160"/>
                    </a:lnTo>
                    <a:cubicBezTo>
                      <a:pt x="202930" y="7160"/>
                      <a:pt x="213646" y="16494"/>
                      <a:pt x="213646" y="27924"/>
                    </a:cubicBezTo>
                    <a:cubicBezTo>
                      <a:pt x="213646" y="39354"/>
                      <a:pt x="202930" y="48736"/>
                      <a:pt x="189833" y="48736"/>
                    </a:cubicBezTo>
                    <a:lnTo>
                      <a:pt x="129016" y="48736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961" name="Forma livre: Forma 960">
              <a:extLst>
                <a:ext uri="{FF2B5EF4-FFF2-40B4-BE49-F238E27FC236}">
                  <a16:creationId xmlns:a16="http://schemas.microsoft.com/office/drawing/2014/main" id="{4572711C-0657-7B1F-5C50-DFE8F95EB3A8}"/>
                </a:ext>
              </a:extLst>
            </p:cNvPr>
            <p:cNvSpPr/>
            <p:nvPr/>
          </p:nvSpPr>
          <p:spPr>
            <a:xfrm>
              <a:off x="11329192" y="3094005"/>
              <a:ext cx="7715" cy="7715"/>
            </a:xfrm>
            <a:custGeom>
              <a:avLst/>
              <a:gdLst>
                <a:gd name="connsiteX0" fmla="*/ 0 w 7715"/>
                <a:gd name="connsiteY0" fmla="*/ 3858 h 7715"/>
                <a:gd name="connsiteX1" fmla="*/ 3858 w 7715"/>
                <a:gd name="connsiteY1" fmla="*/ 7715 h 7715"/>
                <a:gd name="connsiteX2" fmla="*/ 7715 w 7715"/>
                <a:gd name="connsiteY2" fmla="*/ 3858 h 7715"/>
                <a:gd name="connsiteX3" fmla="*/ 3858 w 7715"/>
                <a:gd name="connsiteY3" fmla="*/ 0 h 7715"/>
                <a:gd name="connsiteX4" fmla="*/ 0 w 7715"/>
                <a:gd name="connsiteY4" fmla="*/ 3858 h 77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715" h="7715">
                  <a:moveTo>
                    <a:pt x="0" y="3858"/>
                  </a:moveTo>
                  <a:cubicBezTo>
                    <a:pt x="0" y="6001"/>
                    <a:pt x="1715" y="7715"/>
                    <a:pt x="3858" y="7715"/>
                  </a:cubicBezTo>
                  <a:cubicBezTo>
                    <a:pt x="6001" y="7715"/>
                    <a:pt x="7715" y="6001"/>
                    <a:pt x="7715" y="3858"/>
                  </a:cubicBezTo>
                  <a:cubicBezTo>
                    <a:pt x="7715" y="1714"/>
                    <a:pt x="5953" y="0"/>
                    <a:pt x="3858" y="0"/>
                  </a:cubicBezTo>
                  <a:cubicBezTo>
                    <a:pt x="1762" y="0"/>
                    <a:pt x="0" y="1714"/>
                    <a:pt x="0" y="3858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62" name="Forma livre: Forma 961">
              <a:extLst>
                <a:ext uri="{FF2B5EF4-FFF2-40B4-BE49-F238E27FC236}">
                  <a16:creationId xmlns:a16="http://schemas.microsoft.com/office/drawing/2014/main" id="{098318AE-5D97-C1E0-17F1-36A0B9FB58CE}"/>
                </a:ext>
              </a:extLst>
            </p:cNvPr>
            <p:cNvSpPr/>
            <p:nvPr/>
          </p:nvSpPr>
          <p:spPr>
            <a:xfrm>
              <a:off x="11381579" y="3098768"/>
              <a:ext cx="7715" cy="7715"/>
            </a:xfrm>
            <a:custGeom>
              <a:avLst/>
              <a:gdLst>
                <a:gd name="connsiteX0" fmla="*/ 0 w 7715"/>
                <a:gd name="connsiteY0" fmla="*/ 3858 h 7715"/>
                <a:gd name="connsiteX1" fmla="*/ 3858 w 7715"/>
                <a:gd name="connsiteY1" fmla="*/ 7715 h 7715"/>
                <a:gd name="connsiteX2" fmla="*/ 7715 w 7715"/>
                <a:gd name="connsiteY2" fmla="*/ 3858 h 7715"/>
                <a:gd name="connsiteX3" fmla="*/ 3858 w 7715"/>
                <a:gd name="connsiteY3" fmla="*/ 0 h 7715"/>
                <a:gd name="connsiteX4" fmla="*/ 0 w 7715"/>
                <a:gd name="connsiteY4" fmla="*/ 3858 h 77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715" h="7715">
                  <a:moveTo>
                    <a:pt x="0" y="3858"/>
                  </a:moveTo>
                  <a:cubicBezTo>
                    <a:pt x="0" y="6001"/>
                    <a:pt x="1715" y="7715"/>
                    <a:pt x="3858" y="7715"/>
                  </a:cubicBezTo>
                  <a:cubicBezTo>
                    <a:pt x="6001" y="7715"/>
                    <a:pt x="7715" y="6001"/>
                    <a:pt x="7715" y="3858"/>
                  </a:cubicBezTo>
                  <a:cubicBezTo>
                    <a:pt x="7715" y="1714"/>
                    <a:pt x="5953" y="0"/>
                    <a:pt x="3858" y="0"/>
                  </a:cubicBezTo>
                  <a:cubicBezTo>
                    <a:pt x="1762" y="0"/>
                    <a:pt x="0" y="1714"/>
                    <a:pt x="0" y="3858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63" name="Forma livre: Forma 962">
              <a:extLst>
                <a:ext uri="{FF2B5EF4-FFF2-40B4-BE49-F238E27FC236}">
                  <a16:creationId xmlns:a16="http://schemas.microsoft.com/office/drawing/2014/main" id="{7F72F766-A56F-86D9-D779-5B164C31ED6E}"/>
                </a:ext>
              </a:extLst>
            </p:cNvPr>
            <p:cNvSpPr/>
            <p:nvPr/>
          </p:nvSpPr>
          <p:spPr>
            <a:xfrm>
              <a:off x="11480878" y="3171491"/>
              <a:ext cx="7715" cy="7715"/>
            </a:xfrm>
            <a:custGeom>
              <a:avLst/>
              <a:gdLst>
                <a:gd name="connsiteX0" fmla="*/ 0 w 7715"/>
                <a:gd name="connsiteY0" fmla="*/ 3858 h 7715"/>
                <a:gd name="connsiteX1" fmla="*/ 3858 w 7715"/>
                <a:gd name="connsiteY1" fmla="*/ 7715 h 7715"/>
                <a:gd name="connsiteX2" fmla="*/ 7715 w 7715"/>
                <a:gd name="connsiteY2" fmla="*/ 3858 h 7715"/>
                <a:gd name="connsiteX3" fmla="*/ 3858 w 7715"/>
                <a:gd name="connsiteY3" fmla="*/ 0 h 7715"/>
                <a:gd name="connsiteX4" fmla="*/ 0 w 7715"/>
                <a:gd name="connsiteY4" fmla="*/ 3858 h 77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715" h="7715">
                  <a:moveTo>
                    <a:pt x="0" y="3858"/>
                  </a:moveTo>
                  <a:cubicBezTo>
                    <a:pt x="0" y="6001"/>
                    <a:pt x="1714" y="7715"/>
                    <a:pt x="3858" y="7715"/>
                  </a:cubicBezTo>
                  <a:cubicBezTo>
                    <a:pt x="6001" y="7715"/>
                    <a:pt x="7715" y="6001"/>
                    <a:pt x="7715" y="3858"/>
                  </a:cubicBezTo>
                  <a:cubicBezTo>
                    <a:pt x="7715" y="1715"/>
                    <a:pt x="5953" y="0"/>
                    <a:pt x="3858" y="0"/>
                  </a:cubicBezTo>
                  <a:cubicBezTo>
                    <a:pt x="1762" y="0"/>
                    <a:pt x="0" y="1715"/>
                    <a:pt x="0" y="3858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964" name="Gráfico 11">
            <a:extLst>
              <a:ext uri="{FF2B5EF4-FFF2-40B4-BE49-F238E27FC236}">
                <a16:creationId xmlns:a16="http://schemas.microsoft.com/office/drawing/2014/main" id="{8F01B89D-4829-F3C0-EECD-1090EB825756}"/>
              </a:ext>
            </a:extLst>
          </p:cNvPr>
          <p:cNvGrpSpPr/>
          <p:nvPr/>
        </p:nvGrpSpPr>
        <p:grpSpPr>
          <a:xfrm>
            <a:off x="9970261" y="1544812"/>
            <a:ext cx="333232" cy="268557"/>
            <a:chOff x="9970261" y="1544812"/>
            <a:chExt cx="333232" cy="268557"/>
          </a:xfrm>
        </p:grpSpPr>
        <p:sp>
          <p:nvSpPr>
            <p:cNvPr id="965" name="Forma livre: Forma 964">
              <a:extLst>
                <a:ext uri="{FF2B5EF4-FFF2-40B4-BE49-F238E27FC236}">
                  <a16:creationId xmlns:a16="http://schemas.microsoft.com/office/drawing/2014/main" id="{4F307A31-0C07-8AEF-9E8E-AB1D4BE7FA2A}"/>
                </a:ext>
              </a:extLst>
            </p:cNvPr>
            <p:cNvSpPr/>
            <p:nvPr/>
          </p:nvSpPr>
          <p:spPr>
            <a:xfrm>
              <a:off x="9970261" y="1642110"/>
              <a:ext cx="333232" cy="120205"/>
            </a:xfrm>
            <a:custGeom>
              <a:avLst/>
              <a:gdLst>
                <a:gd name="connsiteX0" fmla="*/ 294846 w 333232"/>
                <a:gd name="connsiteY0" fmla="*/ 0 h 120205"/>
                <a:gd name="connsiteX1" fmla="*/ 333232 w 333232"/>
                <a:gd name="connsiteY1" fmla="*/ 46863 h 120205"/>
                <a:gd name="connsiteX2" fmla="*/ 166592 w 333232"/>
                <a:gd name="connsiteY2" fmla="*/ 120205 h 120205"/>
                <a:gd name="connsiteX3" fmla="*/ 0 w 333232"/>
                <a:gd name="connsiteY3" fmla="*/ 46863 h 120205"/>
                <a:gd name="connsiteX4" fmla="*/ 38195 w 333232"/>
                <a:gd name="connsiteY4" fmla="*/ 95 h 1202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3232" h="120205">
                  <a:moveTo>
                    <a:pt x="294846" y="0"/>
                  </a:moveTo>
                  <a:cubicBezTo>
                    <a:pt x="318802" y="12716"/>
                    <a:pt x="333232" y="29051"/>
                    <a:pt x="333232" y="46863"/>
                  </a:cubicBezTo>
                  <a:cubicBezTo>
                    <a:pt x="333232" y="87392"/>
                    <a:pt x="258651" y="120205"/>
                    <a:pt x="166592" y="120205"/>
                  </a:cubicBezTo>
                  <a:cubicBezTo>
                    <a:pt x="74533" y="120205"/>
                    <a:pt x="0" y="87392"/>
                    <a:pt x="0" y="46863"/>
                  </a:cubicBezTo>
                  <a:cubicBezTo>
                    <a:pt x="0" y="29099"/>
                    <a:pt x="14335" y="12811"/>
                    <a:pt x="38195" y="95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66" name="Forma livre: Forma 965">
              <a:extLst>
                <a:ext uri="{FF2B5EF4-FFF2-40B4-BE49-F238E27FC236}">
                  <a16:creationId xmlns:a16="http://schemas.microsoft.com/office/drawing/2014/main" id="{FDA01C12-415D-457B-D4D1-386CF1988E0E}"/>
                </a:ext>
              </a:extLst>
            </p:cNvPr>
            <p:cNvSpPr/>
            <p:nvPr/>
          </p:nvSpPr>
          <p:spPr>
            <a:xfrm>
              <a:off x="10033983" y="1544812"/>
              <a:ext cx="205739" cy="157781"/>
            </a:xfrm>
            <a:custGeom>
              <a:avLst/>
              <a:gdLst>
                <a:gd name="connsiteX0" fmla="*/ 205692 w 205739"/>
                <a:gd name="connsiteY0" fmla="*/ 102822 h 157781"/>
                <a:gd name="connsiteX1" fmla="*/ 102822 w 205739"/>
                <a:gd name="connsiteY1" fmla="*/ 0 h 157781"/>
                <a:gd name="connsiteX2" fmla="*/ 0 w 205739"/>
                <a:gd name="connsiteY2" fmla="*/ 102822 h 157781"/>
                <a:gd name="connsiteX3" fmla="*/ 0 w 205739"/>
                <a:gd name="connsiteY3" fmla="*/ 116348 h 157781"/>
                <a:gd name="connsiteX4" fmla="*/ 102870 w 205739"/>
                <a:gd name="connsiteY4" fmla="*/ 157782 h 157781"/>
                <a:gd name="connsiteX5" fmla="*/ 205740 w 205739"/>
                <a:gd name="connsiteY5" fmla="*/ 116348 h 157781"/>
                <a:gd name="connsiteX6" fmla="*/ 205740 w 205739"/>
                <a:gd name="connsiteY6" fmla="*/ 102822 h 1577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5739" h="157781">
                  <a:moveTo>
                    <a:pt x="205692" y="102822"/>
                  </a:moveTo>
                  <a:cubicBezTo>
                    <a:pt x="205692" y="46053"/>
                    <a:pt x="159639" y="0"/>
                    <a:pt x="102822" y="0"/>
                  </a:cubicBezTo>
                  <a:cubicBezTo>
                    <a:pt x="46006" y="0"/>
                    <a:pt x="0" y="46053"/>
                    <a:pt x="0" y="102822"/>
                  </a:cubicBezTo>
                  <a:lnTo>
                    <a:pt x="0" y="116348"/>
                  </a:lnTo>
                  <a:cubicBezTo>
                    <a:pt x="48" y="139255"/>
                    <a:pt x="46101" y="157782"/>
                    <a:pt x="102870" y="157782"/>
                  </a:cubicBezTo>
                  <a:cubicBezTo>
                    <a:pt x="159639" y="157782"/>
                    <a:pt x="205740" y="139255"/>
                    <a:pt x="205740" y="116348"/>
                  </a:cubicBezTo>
                  <a:lnTo>
                    <a:pt x="205740" y="102822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67" name="Forma livre: Forma 966">
              <a:extLst>
                <a:ext uri="{FF2B5EF4-FFF2-40B4-BE49-F238E27FC236}">
                  <a16:creationId xmlns:a16="http://schemas.microsoft.com/office/drawing/2014/main" id="{D000813B-86DC-400A-AF5D-8BF6F6B9CE40}"/>
                </a:ext>
              </a:extLst>
            </p:cNvPr>
            <p:cNvSpPr/>
            <p:nvPr/>
          </p:nvSpPr>
          <p:spPr>
            <a:xfrm>
              <a:off x="10146521" y="1572434"/>
              <a:ext cx="20050" cy="5381"/>
            </a:xfrm>
            <a:custGeom>
              <a:avLst/>
              <a:gdLst>
                <a:gd name="connsiteX0" fmla="*/ 0 w 20050"/>
                <a:gd name="connsiteY0" fmla="*/ 0 h 5381"/>
                <a:gd name="connsiteX1" fmla="*/ 20050 w 20050"/>
                <a:gd name="connsiteY1" fmla="*/ 5382 h 53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0050" h="5381">
                  <a:moveTo>
                    <a:pt x="0" y="0"/>
                  </a:moveTo>
                  <a:cubicBezTo>
                    <a:pt x="7001" y="857"/>
                    <a:pt x="13764" y="2715"/>
                    <a:pt x="20050" y="5382"/>
                  </a:cubicBezTo>
                </a:path>
              </a:pathLst>
            </a:custGeom>
            <a:solidFill>
              <a:srgbClr val="FFFFFF"/>
            </a:solidFill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68" name="Forma livre: Forma 967">
              <a:extLst>
                <a:ext uri="{FF2B5EF4-FFF2-40B4-BE49-F238E27FC236}">
                  <a16:creationId xmlns:a16="http://schemas.microsoft.com/office/drawing/2014/main" id="{93DC53B0-5B77-D58C-6CC2-56BF6E456CB6}"/>
                </a:ext>
              </a:extLst>
            </p:cNvPr>
            <p:cNvSpPr/>
            <p:nvPr/>
          </p:nvSpPr>
          <p:spPr>
            <a:xfrm>
              <a:off x="10063225" y="1573863"/>
              <a:ext cx="56292" cy="56483"/>
            </a:xfrm>
            <a:custGeom>
              <a:avLst/>
              <a:gdLst>
                <a:gd name="connsiteX0" fmla="*/ 0 w 56292"/>
                <a:gd name="connsiteY0" fmla="*/ 56483 h 56483"/>
                <a:gd name="connsiteX1" fmla="*/ 50578 w 56292"/>
                <a:gd name="connsiteY1" fmla="*/ 1619 h 56483"/>
                <a:gd name="connsiteX2" fmla="*/ 56293 w 56292"/>
                <a:gd name="connsiteY2" fmla="*/ 0 h 56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56292" h="56483">
                  <a:moveTo>
                    <a:pt x="0" y="56483"/>
                  </a:moveTo>
                  <a:cubicBezTo>
                    <a:pt x="6048" y="30575"/>
                    <a:pt x="25479" y="9716"/>
                    <a:pt x="50578" y="1619"/>
                  </a:cubicBezTo>
                  <a:cubicBezTo>
                    <a:pt x="52435" y="1000"/>
                    <a:pt x="54340" y="476"/>
                    <a:pt x="56293" y="0"/>
                  </a:cubicBezTo>
                </a:path>
              </a:pathLst>
            </a:custGeom>
            <a:solidFill>
              <a:srgbClr val="FFFFFF"/>
            </a:solidFill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969" name="Gráfico 11">
              <a:extLst>
                <a:ext uri="{FF2B5EF4-FFF2-40B4-BE49-F238E27FC236}">
                  <a16:creationId xmlns:a16="http://schemas.microsoft.com/office/drawing/2014/main" id="{5E8C8467-AB84-96C3-070B-D1FD946899FA}"/>
                </a:ext>
              </a:extLst>
            </p:cNvPr>
            <p:cNvGrpSpPr/>
            <p:nvPr/>
          </p:nvGrpSpPr>
          <p:grpSpPr>
            <a:xfrm>
              <a:off x="10103325" y="1651873"/>
              <a:ext cx="67103" cy="6286"/>
              <a:chOff x="10103325" y="1651873"/>
              <a:chExt cx="67103" cy="6286"/>
            </a:xfrm>
          </p:grpSpPr>
          <p:sp>
            <p:nvSpPr>
              <p:cNvPr id="970" name="Forma livre: Forma 969">
                <a:extLst>
                  <a:ext uri="{FF2B5EF4-FFF2-40B4-BE49-F238E27FC236}">
                    <a16:creationId xmlns:a16="http://schemas.microsoft.com/office/drawing/2014/main" id="{04E2B879-1E57-FD99-6941-02F3D3095466}"/>
                  </a:ext>
                </a:extLst>
              </p:cNvPr>
              <p:cNvSpPr/>
              <p:nvPr/>
            </p:nvSpPr>
            <p:spPr>
              <a:xfrm>
                <a:off x="10103325" y="1651873"/>
                <a:ext cx="20050" cy="6286"/>
              </a:xfrm>
              <a:custGeom>
                <a:avLst/>
                <a:gdLst>
                  <a:gd name="connsiteX0" fmla="*/ 20050 w 20050"/>
                  <a:gd name="connsiteY0" fmla="*/ 6286 h 6286"/>
                  <a:gd name="connsiteX1" fmla="*/ 0 w 20050"/>
                  <a:gd name="connsiteY1" fmla="*/ 0 h 62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0050" h="6286">
                    <a:moveTo>
                      <a:pt x="20050" y="6286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71" name="Forma livre: Forma 970">
                <a:extLst>
                  <a:ext uri="{FF2B5EF4-FFF2-40B4-BE49-F238E27FC236}">
                    <a16:creationId xmlns:a16="http://schemas.microsoft.com/office/drawing/2014/main" id="{C851113C-B2D1-3C7E-6DFF-4522F6563D0B}"/>
                  </a:ext>
                </a:extLst>
              </p:cNvPr>
              <p:cNvSpPr/>
              <p:nvPr/>
            </p:nvSpPr>
            <p:spPr>
              <a:xfrm>
                <a:off x="10150378" y="1651873"/>
                <a:ext cx="20050" cy="6286"/>
              </a:xfrm>
              <a:custGeom>
                <a:avLst/>
                <a:gdLst>
                  <a:gd name="connsiteX0" fmla="*/ 0 w 20050"/>
                  <a:gd name="connsiteY0" fmla="*/ 6286 h 6286"/>
                  <a:gd name="connsiteX1" fmla="*/ 20050 w 20050"/>
                  <a:gd name="connsiteY1" fmla="*/ 0 h 62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0050" h="6286">
                    <a:moveTo>
                      <a:pt x="0" y="6286"/>
                    </a:moveTo>
                    <a:lnTo>
                      <a:pt x="2005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972" name="Forma livre: Forma 971">
              <a:extLst>
                <a:ext uri="{FF2B5EF4-FFF2-40B4-BE49-F238E27FC236}">
                  <a16:creationId xmlns:a16="http://schemas.microsoft.com/office/drawing/2014/main" id="{47CB1B07-6A70-97EB-5C48-C02595CB007A}"/>
                </a:ext>
              </a:extLst>
            </p:cNvPr>
            <p:cNvSpPr/>
            <p:nvPr/>
          </p:nvSpPr>
          <p:spPr>
            <a:xfrm>
              <a:off x="10136900" y="1763887"/>
              <a:ext cx="4762" cy="49482"/>
            </a:xfrm>
            <a:custGeom>
              <a:avLst/>
              <a:gdLst>
                <a:gd name="connsiteX0" fmla="*/ 0 w 4762"/>
                <a:gd name="connsiteY0" fmla="*/ 0 h 49482"/>
                <a:gd name="connsiteX1" fmla="*/ 0 w 4762"/>
                <a:gd name="connsiteY1" fmla="*/ 49482 h 49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762" h="49482">
                  <a:moveTo>
                    <a:pt x="0" y="0"/>
                  </a:moveTo>
                  <a:lnTo>
                    <a:pt x="0" y="49482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973" name="Gráfico 11">
              <a:extLst>
                <a:ext uri="{FF2B5EF4-FFF2-40B4-BE49-F238E27FC236}">
                  <a16:creationId xmlns:a16="http://schemas.microsoft.com/office/drawing/2014/main" id="{A487D68D-0F0D-A464-A44A-F00FCC989098}"/>
                </a:ext>
              </a:extLst>
            </p:cNvPr>
            <p:cNvGrpSpPr/>
            <p:nvPr/>
          </p:nvGrpSpPr>
          <p:grpSpPr>
            <a:xfrm>
              <a:off x="10006598" y="1690259"/>
              <a:ext cx="260556" cy="34623"/>
              <a:chOff x="10006598" y="1690259"/>
              <a:chExt cx="260556" cy="34623"/>
            </a:xfrm>
            <a:solidFill>
              <a:srgbClr val="394553"/>
            </a:solidFill>
          </p:grpSpPr>
          <p:grpSp>
            <p:nvGrpSpPr>
              <p:cNvPr id="974" name="Gráfico 11">
                <a:extLst>
                  <a:ext uri="{FF2B5EF4-FFF2-40B4-BE49-F238E27FC236}">
                    <a16:creationId xmlns:a16="http://schemas.microsoft.com/office/drawing/2014/main" id="{AD167677-C3B1-06F3-3F23-9D1BBE5B3AAB}"/>
                  </a:ext>
                </a:extLst>
              </p:cNvPr>
              <p:cNvGrpSpPr/>
              <p:nvPr/>
            </p:nvGrpSpPr>
            <p:grpSpPr>
              <a:xfrm>
                <a:off x="10006598" y="1690259"/>
                <a:ext cx="57197" cy="34623"/>
                <a:chOff x="10006598" y="1690259"/>
                <a:chExt cx="57197" cy="34623"/>
              </a:xfrm>
              <a:solidFill>
                <a:srgbClr val="394553"/>
              </a:solidFill>
            </p:grpSpPr>
            <p:sp>
              <p:nvSpPr>
                <p:cNvPr id="975" name="Forma livre: Forma 974">
                  <a:extLst>
                    <a:ext uri="{FF2B5EF4-FFF2-40B4-BE49-F238E27FC236}">
                      <a16:creationId xmlns:a16="http://schemas.microsoft.com/office/drawing/2014/main" id="{7BA10DE7-C37F-E87E-F10C-FDC3C84709E7}"/>
                    </a:ext>
                  </a:extLst>
                </p:cNvPr>
                <p:cNvSpPr/>
                <p:nvPr/>
              </p:nvSpPr>
              <p:spPr>
                <a:xfrm>
                  <a:off x="10006598" y="1690259"/>
                  <a:ext cx="7715" cy="7715"/>
                </a:xfrm>
                <a:custGeom>
                  <a:avLst/>
                  <a:gdLst>
                    <a:gd name="connsiteX0" fmla="*/ 0 w 7715"/>
                    <a:gd name="connsiteY0" fmla="*/ 3858 h 7715"/>
                    <a:gd name="connsiteX1" fmla="*/ 3858 w 7715"/>
                    <a:gd name="connsiteY1" fmla="*/ 7715 h 7715"/>
                    <a:gd name="connsiteX2" fmla="*/ 7715 w 7715"/>
                    <a:gd name="connsiteY2" fmla="*/ 3858 h 7715"/>
                    <a:gd name="connsiteX3" fmla="*/ 3858 w 7715"/>
                    <a:gd name="connsiteY3" fmla="*/ 0 h 7715"/>
                    <a:gd name="connsiteX4" fmla="*/ 0 w 7715"/>
                    <a:gd name="connsiteY4" fmla="*/ 3858 h 771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7715" h="7715">
                      <a:moveTo>
                        <a:pt x="0" y="3858"/>
                      </a:moveTo>
                      <a:cubicBezTo>
                        <a:pt x="0" y="6001"/>
                        <a:pt x="1714" y="7715"/>
                        <a:pt x="3858" y="7715"/>
                      </a:cubicBezTo>
                      <a:cubicBezTo>
                        <a:pt x="6001" y="7715"/>
                        <a:pt x="7715" y="6001"/>
                        <a:pt x="7715" y="3858"/>
                      </a:cubicBezTo>
                      <a:cubicBezTo>
                        <a:pt x="7715" y="1715"/>
                        <a:pt x="5953" y="0"/>
                        <a:pt x="3858" y="0"/>
                      </a:cubicBezTo>
                      <a:cubicBezTo>
                        <a:pt x="1762" y="0"/>
                        <a:pt x="0" y="1715"/>
                        <a:pt x="0" y="3858"/>
                      </a:cubicBezTo>
                      <a:close/>
                    </a:path>
                  </a:pathLst>
                </a:custGeom>
                <a:solidFill>
                  <a:srgbClr val="394553"/>
                </a:solidFill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976" name="Forma livre: Forma 975">
                  <a:extLst>
                    <a:ext uri="{FF2B5EF4-FFF2-40B4-BE49-F238E27FC236}">
                      <a16:creationId xmlns:a16="http://schemas.microsoft.com/office/drawing/2014/main" id="{E80680E7-C8BF-167F-673D-AA635A8565D0}"/>
                    </a:ext>
                  </a:extLst>
                </p:cNvPr>
                <p:cNvSpPr/>
                <p:nvPr/>
              </p:nvSpPr>
              <p:spPr>
                <a:xfrm>
                  <a:off x="10056081" y="1717167"/>
                  <a:ext cx="7715" cy="7715"/>
                </a:xfrm>
                <a:custGeom>
                  <a:avLst/>
                  <a:gdLst>
                    <a:gd name="connsiteX0" fmla="*/ 0 w 7715"/>
                    <a:gd name="connsiteY0" fmla="*/ 3858 h 7715"/>
                    <a:gd name="connsiteX1" fmla="*/ 3858 w 7715"/>
                    <a:gd name="connsiteY1" fmla="*/ 7715 h 7715"/>
                    <a:gd name="connsiteX2" fmla="*/ 7715 w 7715"/>
                    <a:gd name="connsiteY2" fmla="*/ 3858 h 7715"/>
                    <a:gd name="connsiteX3" fmla="*/ 3858 w 7715"/>
                    <a:gd name="connsiteY3" fmla="*/ 0 h 7715"/>
                    <a:gd name="connsiteX4" fmla="*/ 0 w 7715"/>
                    <a:gd name="connsiteY4" fmla="*/ 3858 h 771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7715" h="7715">
                      <a:moveTo>
                        <a:pt x="0" y="3858"/>
                      </a:moveTo>
                      <a:cubicBezTo>
                        <a:pt x="0" y="6001"/>
                        <a:pt x="1714" y="7715"/>
                        <a:pt x="3858" y="7715"/>
                      </a:cubicBezTo>
                      <a:cubicBezTo>
                        <a:pt x="6001" y="7715"/>
                        <a:pt x="7715" y="6001"/>
                        <a:pt x="7715" y="3858"/>
                      </a:cubicBezTo>
                      <a:cubicBezTo>
                        <a:pt x="7715" y="1715"/>
                        <a:pt x="5953" y="0"/>
                        <a:pt x="3858" y="0"/>
                      </a:cubicBezTo>
                      <a:cubicBezTo>
                        <a:pt x="1762" y="0"/>
                        <a:pt x="0" y="1715"/>
                        <a:pt x="0" y="3858"/>
                      </a:cubicBezTo>
                      <a:close/>
                    </a:path>
                  </a:pathLst>
                </a:custGeom>
                <a:solidFill>
                  <a:srgbClr val="394553"/>
                </a:solidFill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977" name="Gráfico 11">
                <a:extLst>
                  <a:ext uri="{FF2B5EF4-FFF2-40B4-BE49-F238E27FC236}">
                    <a16:creationId xmlns:a16="http://schemas.microsoft.com/office/drawing/2014/main" id="{D3D374F6-3FD5-DF53-1380-37E99B7018BA}"/>
                  </a:ext>
                </a:extLst>
              </p:cNvPr>
              <p:cNvGrpSpPr/>
              <p:nvPr/>
            </p:nvGrpSpPr>
            <p:grpSpPr>
              <a:xfrm>
                <a:off x="10209957" y="1690259"/>
                <a:ext cx="57197" cy="34623"/>
                <a:chOff x="10209957" y="1690259"/>
                <a:chExt cx="57197" cy="34623"/>
              </a:xfrm>
              <a:solidFill>
                <a:srgbClr val="394553"/>
              </a:solidFill>
            </p:grpSpPr>
            <p:sp>
              <p:nvSpPr>
                <p:cNvPr id="978" name="Forma livre: Forma 977">
                  <a:extLst>
                    <a:ext uri="{FF2B5EF4-FFF2-40B4-BE49-F238E27FC236}">
                      <a16:creationId xmlns:a16="http://schemas.microsoft.com/office/drawing/2014/main" id="{F36FCC27-1750-E056-9C24-5321C6036CF9}"/>
                    </a:ext>
                  </a:extLst>
                </p:cNvPr>
                <p:cNvSpPr/>
                <p:nvPr/>
              </p:nvSpPr>
              <p:spPr>
                <a:xfrm>
                  <a:off x="10259440" y="1690259"/>
                  <a:ext cx="7715" cy="7715"/>
                </a:xfrm>
                <a:custGeom>
                  <a:avLst/>
                  <a:gdLst>
                    <a:gd name="connsiteX0" fmla="*/ 7715 w 7715"/>
                    <a:gd name="connsiteY0" fmla="*/ 3858 h 7715"/>
                    <a:gd name="connsiteX1" fmla="*/ 3858 w 7715"/>
                    <a:gd name="connsiteY1" fmla="*/ 7715 h 7715"/>
                    <a:gd name="connsiteX2" fmla="*/ 0 w 7715"/>
                    <a:gd name="connsiteY2" fmla="*/ 3858 h 7715"/>
                    <a:gd name="connsiteX3" fmla="*/ 3858 w 7715"/>
                    <a:gd name="connsiteY3" fmla="*/ 0 h 7715"/>
                    <a:gd name="connsiteX4" fmla="*/ 7715 w 7715"/>
                    <a:gd name="connsiteY4" fmla="*/ 3858 h 771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7715" h="7715">
                      <a:moveTo>
                        <a:pt x="7715" y="3858"/>
                      </a:moveTo>
                      <a:cubicBezTo>
                        <a:pt x="7715" y="6001"/>
                        <a:pt x="6001" y="7715"/>
                        <a:pt x="3858" y="7715"/>
                      </a:cubicBezTo>
                      <a:cubicBezTo>
                        <a:pt x="1715" y="7715"/>
                        <a:pt x="0" y="6001"/>
                        <a:pt x="0" y="3858"/>
                      </a:cubicBezTo>
                      <a:cubicBezTo>
                        <a:pt x="0" y="1715"/>
                        <a:pt x="1762" y="0"/>
                        <a:pt x="3858" y="0"/>
                      </a:cubicBezTo>
                      <a:cubicBezTo>
                        <a:pt x="5953" y="0"/>
                        <a:pt x="7715" y="1715"/>
                        <a:pt x="7715" y="3858"/>
                      </a:cubicBezTo>
                      <a:close/>
                    </a:path>
                  </a:pathLst>
                </a:custGeom>
                <a:solidFill>
                  <a:srgbClr val="394553"/>
                </a:solidFill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979" name="Forma livre: Forma 978">
                  <a:extLst>
                    <a:ext uri="{FF2B5EF4-FFF2-40B4-BE49-F238E27FC236}">
                      <a16:creationId xmlns:a16="http://schemas.microsoft.com/office/drawing/2014/main" id="{4AEE4B5C-348D-069D-6825-5503646C2504}"/>
                    </a:ext>
                  </a:extLst>
                </p:cNvPr>
                <p:cNvSpPr/>
                <p:nvPr/>
              </p:nvSpPr>
              <p:spPr>
                <a:xfrm>
                  <a:off x="10209957" y="1717167"/>
                  <a:ext cx="7715" cy="7715"/>
                </a:xfrm>
                <a:custGeom>
                  <a:avLst/>
                  <a:gdLst>
                    <a:gd name="connsiteX0" fmla="*/ 7715 w 7715"/>
                    <a:gd name="connsiteY0" fmla="*/ 3858 h 7715"/>
                    <a:gd name="connsiteX1" fmla="*/ 3858 w 7715"/>
                    <a:gd name="connsiteY1" fmla="*/ 7715 h 7715"/>
                    <a:gd name="connsiteX2" fmla="*/ 0 w 7715"/>
                    <a:gd name="connsiteY2" fmla="*/ 3858 h 7715"/>
                    <a:gd name="connsiteX3" fmla="*/ 3858 w 7715"/>
                    <a:gd name="connsiteY3" fmla="*/ 0 h 7715"/>
                    <a:gd name="connsiteX4" fmla="*/ 7715 w 7715"/>
                    <a:gd name="connsiteY4" fmla="*/ 3858 h 771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7715" h="7715">
                      <a:moveTo>
                        <a:pt x="7715" y="3858"/>
                      </a:moveTo>
                      <a:cubicBezTo>
                        <a:pt x="7715" y="6001"/>
                        <a:pt x="6001" y="7715"/>
                        <a:pt x="3858" y="7715"/>
                      </a:cubicBezTo>
                      <a:cubicBezTo>
                        <a:pt x="1714" y="7715"/>
                        <a:pt x="0" y="6001"/>
                        <a:pt x="0" y="3858"/>
                      </a:cubicBezTo>
                      <a:cubicBezTo>
                        <a:pt x="0" y="1715"/>
                        <a:pt x="1762" y="0"/>
                        <a:pt x="3858" y="0"/>
                      </a:cubicBezTo>
                      <a:cubicBezTo>
                        <a:pt x="5953" y="0"/>
                        <a:pt x="7715" y="1715"/>
                        <a:pt x="7715" y="3858"/>
                      </a:cubicBezTo>
                      <a:close/>
                    </a:path>
                  </a:pathLst>
                </a:custGeom>
                <a:solidFill>
                  <a:srgbClr val="394553"/>
                </a:solidFill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sp>
          <p:nvSpPr>
            <p:cNvPr id="980" name="Forma livre: Forma 979">
              <a:extLst>
                <a:ext uri="{FF2B5EF4-FFF2-40B4-BE49-F238E27FC236}">
                  <a16:creationId xmlns:a16="http://schemas.microsoft.com/office/drawing/2014/main" id="{5F777CE9-1378-01D7-9D26-604FD5FD80E6}"/>
                </a:ext>
              </a:extLst>
            </p:cNvPr>
            <p:cNvSpPr/>
            <p:nvPr/>
          </p:nvSpPr>
          <p:spPr>
            <a:xfrm>
              <a:off x="10132995" y="1727978"/>
              <a:ext cx="7715" cy="7715"/>
            </a:xfrm>
            <a:custGeom>
              <a:avLst/>
              <a:gdLst>
                <a:gd name="connsiteX0" fmla="*/ 0 w 7715"/>
                <a:gd name="connsiteY0" fmla="*/ 3858 h 7715"/>
                <a:gd name="connsiteX1" fmla="*/ 3858 w 7715"/>
                <a:gd name="connsiteY1" fmla="*/ 7715 h 7715"/>
                <a:gd name="connsiteX2" fmla="*/ 7715 w 7715"/>
                <a:gd name="connsiteY2" fmla="*/ 3858 h 7715"/>
                <a:gd name="connsiteX3" fmla="*/ 3858 w 7715"/>
                <a:gd name="connsiteY3" fmla="*/ 0 h 7715"/>
                <a:gd name="connsiteX4" fmla="*/ 0 w 7715"/>
                <a:gd name="connsiteY4" fmla="*/ 3858 h 77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715" h="7715">
                  <a:moveTo>
                    <a:pt x="0" y="3858"/>
                  </a:moveTo>
                  <a:cubicBezTo>
                    <a:pt x="0" y="6001"/>
                    <a:pt x="1715" y="7715"/>
                    <a:pt x="3858" y="7715"/>
                  </a:cubicBezTo>
                  <a:cubicBezTo>
                    <a:pt x="6001" y="7715"/>
                    <a:pt x="7715" y="6001"/>
                    <a:pt x="7715" y="3858"/>
                  </a:cubicBezTo>
                  <a:cubicBezTo>
                    <a:pt x="7715" y="1715"/>
                    <a:pt x="5953" y="0"/>
                    <a:pt x="3858" y="0"/>
                  </a:cubicBezTo>
                  <a:cubicBezTo>
                    <a:pt x="1762" y="0"/>
                    <a:pt x="0" y="1715"/>
                    <a:pt x="0" y="3858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981" name="Gráfico 11">
              <a:extLst>
                <a:ext uri="{FF2B5EF4-FFF2-40B4-BE49-F238E27FC236}">
                  <a16:creationId xmlns:a16="http://schemas.microsoft.com/office/drawing/2014/main" id="{11C53530-440A-5375-486C-F4508DC99F9B}"/>
                </a:ext>
              </a:extLst>
            </p:cNvPr>
            <p:cNvGrpSpPr/>
            <p:nvPr/>
          </p:nvGrpSpPr>
          <p:grpSpPr>
            <a:xfrm>
              <a:off x="10014409" y="1747171"/>
              <a:ext cx="244935" cy="47863"/>
              <a:chOff x="10014409" y="1747171"/>
              <a:chExt cx="244935" cy="47863"/>
            </a:xfrm>
          </p:grpSpPr>
          <p:sp>
            <p:nvSpPr>
              <p:cNvPr id="982" name="Forma livre: Forma 981">
                <a:extLst>
                  <a:ext uri="{FF2B5EF4-FFF2-40B4-BE49-F238E27FC236}">
                    <a16:creationId xmlns:a16="http://schemas.microsoft.com/office/drawing/2014/main" id="{5199E003-85AF-2ECE-2558-BA15C95A5DD9}"/>
                  </a:ext>
                </a:extLst>
              </p:cNvPr>
              <p:cNvSpPr/>
              <p:nvPr/>
            </p:nvSpPr>
            <p:spPr>
              <a:xfrm>
                <a:off x="10014409" y="1747171"/>
                <a:ext cx="19478" cy="47863"/>
              </a:xfrm>
              <a:custGeom>
                <a:avLst/>
                <a:gdLst>
                  <a:gd name="connsiteX0" fmla="*/ 19479 w 19478"/>
                  <a:gd name="connsiteY0" fmla="*/ 0 h 47863"/>
                  <a:gd name="connsiteX1" fmla="*/ 0 w 19478"/>
                  <a:gd name="connsiteY1" fmla="*/ 47863 h 478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9478" h="47863">
                    <a:moveTo>
                      <a:pt x="19479" y="0"/>
                    </a:moveTo>
                    <a:lnTo>
                      <a:pt x="0" y="47863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83" name="Forma livre: Forma 982">
                <a:extLst>
                  <a:ext uri="{FF2B5EF4-FFF2-40B4-BE49-F238E27FC236}">
                    <a16:creationId xmlns:a16="http://schemas.microsoft.com/office/drawing/2014/main" id="{5CA3CE1C-6536-6603-F4C9-809F718FB627}"/>
                  </a:ext>
                </a:extLst>
              </p:cNvPr>
              <p:cNvSpPr/>
              <p:nvPr/>
            </p:nvSpPr>
            <p:spPr>
              <a:xfrm>
                <a:off x="10239866" y="1747171"/>
                <a:ext cx="19478" cy="47863"/>
              </a:xfrm>
              <a:custGeom>
                <a:avLst/>
                <a:gdLst>
                  <a:gd name="connsiteX0" fmla="*/ 0 w 19478"/>
                  <a:gd name="connsiteY0" fmla="*/ 0 h 47863"/>
                  <a:gd name="connsiteX1" fmla="*/ 19479 w 19478"/>
                  <a:gd name="connsiteY1" fmla="*/ 47863 h 478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9478" h="47863">
                    <a:moveTo>
                      <a:pt x="0" y="0"/>
                    </a:moveTo>
                    <a:lnTo>
                      <a:pt x="19479" y="47863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984" name="Forma livre: Forma 983">
              <a:extLst>
                <a:ext uri="{FF2B5EF4-FFF2-40B4-BE49-F238E27FC236}">
                  <a16:creationId xmlns:a16="http://schemas.microsoft.com/office/drawing/2014/main" id="{84EA24CD-89EF-0FA0-29FC-FFA7A0D7821D}"/>
                </a:ext>
              </a:extLst>
            </p:cNvPr>
            <p:cNvSpPr/>
            <p:nvPr/>
          </p:nvSpPr>
          <p:spPr>
            <a:xfrm>
              <a:off x="10098750" y="1613678"/>
              <a:ext cx="76300" cy="86344"/>
            </a:xfrm>
            <a:custGeom>
              <a:avLst/>
              <a:gdLst>
                <a:gd name="connsiteX0" fmla="*/ 57534 w 76300"/>
                <a:gd name="connsiteY0" fmla="*/ 86344 h 86344"/>
                <a:gd name="connsiteX1" fmla="*/ 75250 w 76300"/>
                <a:gd name="connsiteY1" fmla="*/ 42672 h 86344"/>
                <a:gd name="connsiteX2" fmla="*/ 38150 w 76300"/>
                <a:gd name="connsiteY2" fmla="*/ 0 h 86344"/>
                <a:gd name="connsiteX3" fmla="*/ 1051 w 76300"/>
                <a:gd name="connsiteY3" fmla="*/ 42672 h 86344"/>
                <a:gd name="connsiteX4" fmla="*/ 18767 w 76300"/>
                <a:gd name="connsiteY4" fmla="*/ 86344 h 863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300" h="86344">
                  <a:moveTo>
                    <a:pt x="57534" y="86344"/>
                  </a:moveTo>
                  <a:cubicBezTo>
                    <a:pt x="64297" y="74819"/>
                    <a:pt x="72631" y="58245"/>
                    <a:pt x="75250" y="42672"/>
                  </a:cubicBezTo>
                  <a:cubicBezTo>
                    <a:pt x="80680" y="10573"/>
                    <a:pt x="64582" y="0"/>
                    <a:pt x="38150" y="0"/>
                  </a:cubicBezTo>
                  <a:cubicBezTo>
                    <a:pt x="11719" y="0"/>
                    <a:pt x="-4379" y="10620"/>
                    <a:pt x="1051" y="42672"/>
                  </a:cubicBezTo>
                  <a:cubicBezTo>
                    <a:pt x="3670" y="58293"/>
                    <a:pt x="12004" y="74819"/>
                    <a:pt x="18767" y="86344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985" name="Gráfico 11">
            <a:extLst>
              <a:ext uri="{FF2B5EF4-FFF2-40B4-BE49-F238E27FC236}">
                <a16:creationId xmlns:a16="http://schemas.microsoft.com/office/drawing/2014/main" id="{F0BF0CF5-3819-21A0-079F-5A6FFEAB8EB2}"/>
              </a:ext>
            </a:extLst>
          </p:cNvPr>
          <p:cNvGrpSpPr/>
          <p:nvPr/>
        </p:nvGrpSpPr>
        <p:grpSpPr>
          <a:xfrm>
            <a:off x="10623377" y="1548478"/>
            <a:ext cx="264140" cy="261256"/>
            <a:chOff x="10623377" y="1548478"/>
            <a:chExt cx="264140" cy="261256"/>
          </a:xfrm>
          <a:noFill/>
        </p:grpSpPr>
        <p:sp>
          <p:nvSpPr>
            <p:cNvPr id="986" name="Forma livre: Forma 985">
              <a:extLst>
                <a:ext uri="{FF2B5EF4-FFF2-40B4-BE49-F238E27FC236}">
                  <a16:creationId xmlns:a16="http://schemas.microsoft.com/office/drawing/2014/main" id="{49E7C69B-B4F0-D5E6-618D-6211F72B66EE}"/>
                </a:ext>
              </a:extLst>
            </p:cNvPr>
            <p:cNvSpPr/>
            <p:nvPr/>
          </p:nvSpPr>
          <p:spPr>
            <a:xfrm>
              <a:off x="10653822" y="1548478"/>
              <a:ext cx="152161" cy="50292"/>
            </a:xfrm>
            <a:custGeom>
              <a:avLst/>
              <a:gdLst>
                <a:gd name="connsiteX0" fmla="*/ 0 w 152161"/>
                <a:gd name="connsiteY0" fmla="*/ 50293 h 50292"/>
                <a:gd name="connsiteX1" fmla="*/ 152162 w 152161"/>
                <a:gd name="connsiteY1" fmla="*/ 9621 h 502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2161" h="50292">
                  <a:moveTo>
                    <a:pt x="0" y="50293"/>
                  </a:moveTo>
                  <a:cubicBezTo>
                    <a:pt x="35481" y="4716"/>
                    <a:pt x="97679" y="-12572"/>
                    <a:pt x="152162" y="9621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87" name="Forma livre: Forma 986">
              <a:extLst>
                <a:ext uri="{FF2B5EF4-FFF2-40B4-BE49-F238E27FC236}">
                  <a16:creationId xmlns:a16="http://schemas.microsoft.com/office/drawing/2014/main" id="{B14A3EA7-7444-162C-EACF-578AD0196577}"/>
                </a:ext>
              </a:extLst>
            </p:cNvPr>
            <p:cNvSpPr/>
            <p:nvPr/>
          </p:nvSpPr>
          <p:spPr>
            <a:xfrm>
              <a:off x="10626220" y="1656159"/>
              <a:ext cx="203005" cy="153575"/>
            </a:xfrm>
            <a:custGeom>
              <a:avLst/>
              <a:gdLst>
                <a:gd name="connsiteX0" fmla="*/ 203005 w 203005"/>
                <a:gd name="connsiteY0" fmla="*/ 131731 h 153575"/>
                <a:gd name="connsiteX1" fmla="*/ 71132 w 203005"/>
                <a:gd name="connsiteY1" fmla="*/ 139208 h 153575"/>
                <a:gd name="connsiteX2" fmla="*/ 2028 w 203005"/>
                <a:gd name="connsiteY2" fmla="*/ 0 h 1535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03005" h="153575">
                  <a:moveTo>
                    <a:pt x="203005" y="131731"/>
                  </a:moveTo>
                  <a:cubicBezTo>
                    <a:pt x="164953" y="156972"/>
                    <a:pt x="114709" y="161496"/>
                    <a:pt x="71132" y="139208"/>
                  </a:cubicBezTo>
                  <a:cubicBezTo>
                    <a:pt x="18744" y="112395"/>
                    <a:pt x="-7831" y="55102"/>
                    <a:pt x="2028" y="0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88" name="Forma livre: Forma 987">
              <a:extLst>
                <a:ext uri="{FF2B5EF4-FFF2-40B4-BE49-F238E27FC236}">
                  <a16:creationId xmlns:a16="http://schemas.microsoft.com/office/drawing/2014/main" id="{EAC36D4F-A05A-CA31-A38B-04A4224E82C6}"/>
                </a:ext>
              </a:extLst>
            </p:cNvPr>
            <p:cNvSpPr/>
            <p:nvPr/>
          </p:nvSpPr>
          <p:spPr>
            <a:xfrm>
              <a:off x="10858467" y="1597009"/>
              <a:ext cx="29050" cy="141636"/>
            </a:xfrm>
            <a:custGeom>
              <a:avLst/>
              <a:gdLst>
                <a:gd name="connsiteX0" fmla="*/ 0 w 29050"/>
                <a:gd name="connsiteY0" fmla="*/ 0 h 141636"/>
                <a:gd name="connsiteX1" fmla="*/ 14669 w 29050"/>
                <a:gd name="connsiteY1" fmla="*/ 141637 h 1416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9050" h="141636">
                  <a:moveTo>
                    <a:pt x="0" y="0"/>
                  </a:moveTo>
                  <a:cubicBezTo>
                    <a:pt x="31433" y="38910"/>
                    <a:pt x="38957" y="94202"/>
                    <a:pt x="14669" y="141637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89" name="Forma livre: Forma 988">
              <a:extLst>
                <a:ext uri="{FF2B5EF4-FFF2-40B4-BE49-F238E27FC236}">
                  <a16:creationId xmlns:a16="http://schemas.microsoft.com/office/drawing/2014/main" id="{31CF567D-4621-1487-FC88-614A292CA513}"/>
                </a:ext>
              </a:extLst>
            </p:cNvPr>
            <p:cNvSpPr/>
            <p:nvPr/>
          </p:nvSpPr>
          <p:spPr>
            <a:xfrm>
              <a:off x="10677049" y="1599314"/>
              <a:ext cx="159651" cy="159624"/>
            </a:xfrm>
            <a:custGeom>
              <a:avLst/>
              <a:gdLst>
                <a:gd name="connsiteX0" fmla="*/ 18112 w 159651"/>
                <a:gd name="connsiteY0" fmla="*/ 130426 h 159624"/>
                <a:gd name="connsiteX1" fmla="*/ 8778 w 159651"/>
                <a:gd name="connsiteY1" fmla="*/ 43463 h 159624"/>
                <a:gd name="connsiteX2" fmla="*/ 116172 w 159651"/>
                <a:gd name="connsiteY2" fmla="*/ 8792 h 159624"/>
                <a:gd name="connsiteX3" fmla="*/ 150890 w 159651"/>
                <a:gd name="connsiteY3" fmla="*/ 116186 h 159624"/>
                <a:gd name="connsiteX4" fmla="*/ 75833 w 159651"/>
                <a:gd name="connsiteY4" fmla="*/ 159525 h 1596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9651" h="159624">
                  <a:moveTo>
                    <a:pt x="18112" y="130426"/>
                  </a:moveTo>
                  <a:cubicBezTo>
                    <a:pt x="-1414" y="106614"/>
                    <a:pt x="-6129" y="72610"/>
                    <a:pt x="8778" y="43463"/>
                  </a:cubicBezTo>
                  <a:cubicBezTo>
                    <a:pt x="28875" y="4220"/>
                    <a:pt x="76929" y="-11306"/>
                    <a:pt x="116172" y="8792"/>
                  </a:cubicBezTo>
                  <a:cubicBezTo>
                    <a:pt x="155415" y="28890"/>
                    <a:pt x="170941" y="76991"/>
                    <a:pt x="150890" y="116186"/>
                  </a:cubicBezTo>
                  <a:cubicBezTo>
                    <a:pt x="136127" y="145000"/>
                    <a:pt x="106266" y="161049"/>
                    <a:pt x="75833" y="159525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90" name="Forma livre: Forma 989">
              <a:extLst>
                <a:ext uri="{FF2B5EF4-FFF2-40B4-BE49-F238E27FC236}">
                  <a16:creationId xmlns:a16="http://schemas.microsoft.com/office/drawing/2014/main" id="{2B14B2CC-B2B9-2D22-7EE6-1CD1F33BA824}"/>
                </a:ext>
              </a:extLst>
            </p:cNvPr>
            <p:cNvSpPr/>
            <p:nvPr/>
          </p:nvSpPr>
          <p:spPr>
            <a:xfrm>
              <a:off x="10824830" y="1563182"/>
              <a:ext cx="39126" cy="39126"/>
            </a:xfrm>
            <a:custGeom>
              <a:avLst/>
              <a:gdLst>
                <a:gd name="connsiteX0" fmla="*/ 35589 w 39126"/>
                <a:gd name="connsiteY0" fmla="*/ 30779 h 39126"/>
                <a:gd name="connsiteX1" fmla="*/ 8347 w 39126"/>
                <a:gd name="connsiteY1" fmla="*/ 35589 h 39126"/>
                <a:gd name="connsiteX2" fmla="*/ 3537 w 39126"/>
                <a:gd name="connsiteY2" fmla="*/ 8347 h 39126"/>
                <a:gd name="connsiteX3" fmla="*/ 30779 w 39126"/>
                <a:gd name="connsiteY3" fmla="*/ 3537 h 39126"/>
                <a:gd name="connsiteX4" fmla="*/ 35589 w 39126"/>
                <a:gd name="connsiteY4" fmla="*/ 30779 h 391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126" h="39126">
                  <a:moveTo>
                    <a:pt x="35589" y="30779"/>
                  </a:moveTo>
                  <a:cubicBezTo>
                    <a:pt x="29398" y="39637"/>
                    <a:pt x="17206" y="41780"/>
                    <a:pt x="8347" y="35589"/>
                  </a:cubicBezTo>
                  <a:cubicBezTo>
                    <a:pt x="-511" y="29398"/>
                    <a:pt x="-2654" y="17206"/>
                    <a:pt x="3537" y="8347"/>
                  </a:cubicBezTo>
                  <a:cubicBezTo>
                    <a:pt x="9728" y="-511"/>
                    <a:pt x="21920" y="-2654"/>
                    <a:pt x="30779" y="3537"/>
                  </a:cubicBezTo>
                  <a:cubicBezTo>
                    <a:pt x="39637" y="9728"/>
                    <a:pt x="41780" y="21920"/>
                    <a:pt x="35589" y="30779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91" name="Forma livre: Forma 990">
              <a:extLst>
                <a:ext uri="{FF2B5EF4-FFF2-40B4-BE49-F238E27FC236}">
                  <a16:creationId xmlns:a16="http://schemas.microsoft.com/office/drawing/2014/main" id="{B0C5F9FA-D718-E1E7-70B6-1E1E1E9B3920}"/>
                </a:ext>
              </a:extLst>
            </p:cNvPr>
            <p:cNvSpPr/>
            <p:nvPr/>
          </p:nvSpPr>
          <p:spPr>
            <a:xfrm>
              <a:off x="10691385" y="1724393"/>
              <a:ext cx="39126" cy="39126"/>
            </a:xfrm>
            <a:custGeom>
              <a:avLst/>
              <a:gdLst>
                <a:gd name="connsiteX0" fmla="*/ 35589 w 39126"/>
                <a:gd name="connsiteY0" fmla="*/ 30779 h 39126"/>
                <a:gd name="connsiteX1" fmla="*/ 8347 w 39126"/>
                <a:gd name="connsiteY1" fmla="*/ 35589 h 39126"/>
                <a:gd name="connsiteX2" fmla="*/ 3537 w 39126"/>
                <a:gd name="connsiteY2" fmla="*/ 8347 h 39126"/>
                <a:gd name="connsiteX3" fmla="*/ 30779 w 39126"/>
                <a:gd name="connsiteY3" fmla="*/ 3537 h 39126"/>
                <a:gd name="connsiteX4" fmla="*/ 35589 w 39126"/>
                <a:gd name="connsiteY4" fmla="*/ 30779 h 391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126" h="39126">
                  <a:moveTo>
                    <a:pt x="35589" y="30779"/>
                  </a:moveTo>
                  <a:cubicBezTo>
                    <a:pt x="29398" y="39637"/>
                    <a:pt x="17206" y="41780"/>
                    <a:pt x="8347" y="35589"/>
                  </a:cubicBezTo>
                  <a:cubicBezTo>
                    <a:pt x="-511" y="29398"/>
                    <a:pt x="-2654" y="17206"/>
                    <a:pt x="3537" y="8347"/>
                  </a:cubicBezTo>
                  <a:cubicBezTo>
                    <a:pt x="9729" y="-511"/>
                    <a:pt x="21920" y="-2654"/>
                    <a:pt x="30779" y="3537"/>
                  </a:cubicBezTo>
                  <a:cubicBezTo>
                    <a:pt x="39637" y="9728"/>
                    <a:pt x="41780" y="21920"/>
                    <a:pt x="35589" y="30779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92" name="Forma livre: Forma 991">
              <a:extLst>
                <a:ext uri="{FF2B5EF4-FFF2-40B4-BE49-F238E27FC236}">
                  <a16:creationId xmlns:a16="http://schemas.microsoft.com/office/drawing/2014/main" id="{2B79C089-CC05-0FD6-2FAF-1C4AB39C3C0E}"/>
                </a:ext>
              </a:extLst>
            </p:cNvPr>
            <p:cNvSpPr/>
            <p:nvPr/>
          </p:nvSpPr>
          <p:spPr>
            <a:xfrm>
              <a:off x="10623377" y="1596567"/>
              <a:ext cx="39126" cy="39126"/>
            </a:xfrm>
            <a:custGeom>
              <a:avLst/>
              <a:gdLst>
                <a:gd name="connsiteX0" fmla="*/ 35589 w 39126"/>
                <a:gd name="connsiteY0" fmla="*/ 30779 h 39126"/>
                <a:gd name="connsiteX1" fmla="*/ 8347 w 39126"/>
                <a:gd name="connsiteY1" fmla="*/ 35589 h 39126"/>
                <a:gd name="connsiteX2" fmla="*/ 3537 w 39126"/>
                <a:gd name="connsiteY2" fmla="*/ 8347 h 39126"/>
                <a:gd name="connsiteX3" fmla="*/ 30779 w 39126"/>
                <a:gd name="connsiteY3" fmla="*/ 3537 h 39126"/>
                <a:gd name="connsiteX4" fmla="*/ 35589 w 39126"/>
                <a:gd name="connsiteY4" fmla="*/ 30779 h 391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126" h="39126">
                  <a:moveTo>
                    <a:pt x="35589" y="30779"/>
                  </a:moveTo>
                  <a:cubicBezTo>
                    <a:pt x="29398" y="39637"/>
                    <a:pt x="17206" y="41780"/>
                    <a:pt x="8347" y="35589"/>
                  </a:cubicBezTo>
                  <a:cubicBezTo>
                    <a:pt x="-511" y="29398"/>
                    <a:pt x="-2654" y="17206"/>
                    <a:pt x="3537" y="8347"/>
                  </a:cubicBezTo>
                  <a:cubicBezTo>
                    <a:pt x="9728" y="-511"/>
                    <a:pt x="21920" y="-2654"/>
                    <a:pt x="30779" y="3537"/>
                  </a:cubicBezTo>
                  <a:cubicBezTo>
                    <a:pt x="39637" y="9728"/>
                    <a:pt x="41780" y="21920"/>
                    <a:pt x="35589" y="30779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93" name="Forma livre: Forma 992">
              <a:extLst>
                <a:ext uri="{FF2B5EF4-FFF2-40B4-BE49-F238E27FC236}">
                  <a16:creationId xmlns:a16="http://schemas.microsoft.com/office/drawing/2014/main" id="{3819F6A8-4CAE-9E2C-20F9-E4F43AA2B3AD}"/>
                </a:ext>
              </a:extLst>
            </p:cNvPr>
            <p:cNvSpPr/>
            <p:nvPr/>
          </p:nvSpPr>
          <p:spPr>
            <a:xfrm>
              <a:off x="10826021" y="1755301"/>
              <a:ext cx="39126" cy="39126"/>
            </a:xfrm>
            <a:custGeom>
              <a:avLst/>
              <a:gdLst>
                <a:gd name="connsiteX0" fmla="*/ 35589 w 39126"/>
                <a:gd name="connsiteY0" fmla="*/ 30779 h 39126"/>
                <a:gd name="connsiteX1" fmla="*/ 8347 w 39126"/>
                <a:gd name="connsiteY1" fmla="*/ 35589 h 39126"/>
                <a:gd name="connsiteX2" fmla="*/ 3537 w 39126"/>
                <a:gd name="connsiteY2" fmla="*/ 8347 h 39126"/>
                <a:gd name="connsiteX3" fmla="*/ 30779 w 39126"/>
                <a:gd name="connsiteY3" fmla="*/ 3537 h 39126"/>
                <a:gd name="connsiteX4" fmla="*/ 35589 w 39126"/>
                <a:gd name="connsiteY4" fmla="*/ 30779 h 391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126" h="39126">
                  <a:moveTo>
                    <a:pt x="35589" y="30779"/>
                  </a:moveTo>
                  <a:cubicBezTo>
                    <a:pt x="29398" y="39637"/>
                    <a:pt x="17158" y="41780"/>
                    <a:pt x="8347" y="35589"/>
                  </a:cubicBezTo>
                  <a:cubicBezTo>
                    <a:pt x="-511" y="29398"/>
                    <a:pt x="-2654" y="17206"/>
                    <a:pt x="3537" y="8347"/>
                  </a:cubicBezTo>
                  <a:cubicBezTo>
                    <a:pt x="9728" y="-511"/>
                    <a:pt x="21920" y="-2654"/>
                    <a:pt x="30779" y="3537"/>
                  </a:cubicBezTo>
                  <a:cubicBezTo>
                    <a:pt x="39637" y="9728"/>
                    <a:pt x="41780" y="21920"/>
                    <a:pt x="35589" y="30779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94" name="Forma livre: Forma 993">
              <a:extLst>
                <a:ext uri="{FF2B5EF4-FFF2-40B4-BE49-F238E27FC236}">
                  <a16:creationId xmlns:a16="http://schemas.microsoft.com/office/drawing/2014/main" id="{ECA911D9-9050-9ACF-8B0D-CA2C8134E6C1}"/>
                </a:ext>
              </a:extLst>
            </p:cNvPr>
            <p:cNvSpPr/>
            <p:nvPr/>
          </p:nvSpPr>
          <p:spPr>
            <a:xfrm>
              <a:off x="10722957" y="1645189"/>
              <a:ext cx="67803" cy="67803"/>
            </a:xfrm>
            <a:custGeom>
              <a:avLst/>
              <a:gdLst>
                <a:gd name="connsiteX0" fmla="*/ 64072 w 67803"/>
                <a:gd name="connsiteY0" fmla="*/ 49356 h 67803"/>
                <a:gd name="connsiteX1" fmla="*/ 18448 w 67803"/>
                <a:gd name="connsiteY1" fmla="*/ 64072 h 67803"/>
                <a:gd name="connsiteX2" fmla="*/ 3732 w 67803"/>
                <a:gd name="connsiteY2" fmla="*/ 18448 h 67803"/>
                <a:gd name="connsiteX3" fmla="*/ 49356 w 67803"/>
                <a:gd name="connsiteY3" fmla="*/ 3732 h 67803"/>
                <a:gd name="connsiteX4" fmla="*/ 64072 w 67803"/>
                <a:gd name="connsiteY4" fmla="*/ 49356 h 67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7803" h="67803">
                  <a:moveTo>
                    <a:pt x="64072" y="49356"/>
                  </a:moveTo>
                  <a:cubicBezTo>
                    <a:pt x="55548" y="66025"/>
                    <a:pt x="35116" y="72597"/>
                    <a:pt x="18448" y="64072"/>
                  </a:cubicBezTo>
                  <a:cubicBezTo>
                    <a:pt x="1779" y="55548"/>
                    <a:pt x="-4793" y="35116"/>
                    <a:pt x="3732" y="18448"/>
                  </a:cubicBezTo>
                  <a:cubicBezTo>
                    <a:pt x="12256" y="1779"/>
                    <a:pt x="32688" y="-4793"/>
                    <a:pt x="49356" y="3732"/>
                  </a:cubicBezTo>
                  <a:cubicBezTo>
                    <a:pt x="66025" y="12256"/>
                    <a:pt x="72597" y="32688"/>
                    <a:pt x="64072" y="49356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995" name="Gráfico 11">
            <a:extLst>
              <a:ext uri="{FF2B5EF4-FFF2-40B4-BE49-F238E27FC236}">
                <a16:creationId xmlns:a16="http://schemas.microsoft.com/office/drawing/2014/main" id="{8D10FCFF-6E2F-FF1E-ACA3-1216C78C5CAA}"/>
              </a:ext>
            </a:extLst>
          </p:cNvPr>
          <p:cNvGrpSpPr/>
          <p:nvPr/>
        </p:nvGrpSpPr>
        <p:grpSpPr>
          <a:xfrm>
            <a:off x="11229962" y="1540907"/>
            <a:ext cx="288073" cy="276367"/>
            <a:chOff x="11229962" y="1540907"/>
            <a:chExt cx="288073" cy="276367"/>
          </a:xfrm>
        </p:grpSpPr>
        <p:sp>
          <p:nvSpPr>
            <p:cNvPr id="996" name="Forma livre: Forma 995">
              <a:extLst>
                <a:ext uri="{FF2B5EF4-FFF2-40B4-BE49-F238E27FC236}">
                  <a16:creationId xmlns:a16="http://schemas.microsoft.com/office/drawing/2014/main" id="{61D66100-C10A-1AB1-35B5-A68AAB8E64DB}"/>
                </a:ext>
              </a:extLst>
            </p:cNvPr>
            <p:cNvSpPr/>
            <p:nvPr/>
          </p:nvSpPr>
          <p:spPr>
            <a:xfrm>
              <a:off x="11459589" y="1730645"/>
              <a:ext cx="54062" cy="67189"/>
            </a:xfrm>
            <a:custGeom>
              <a:avLst/>
              <a:gdLst>
                <a:gd name="connsiteX0" fmla="*/ 38576 w 54062"/>
                <a:gd name="connsiteY0" fmla="*/ 0 h 67189"/>
                <a:gd name="connsiteX1" fmla="*/ 45529 w 54062"/>
                <a:gd name="connsiteY1" fmla="*/ 4667 h 67189"/>
                <a:gd name="connsiteX2" fmla="*/ 48006 w 54062"/>
                <a:gd name="connsiteY2" fmla="*/ 45101 h 67189"/>
                <a:gd name="connsiteX3" fmla="*/ 13049 w 54062"/>
                <a:gd name="connsiteY3" fmla="*/ 65580 h 67189"/>
                <a:gd name="connsiteX4" fmla="*/ 0 w 54062"/>
                <a:gd name="connsiteY4" fmla="*/ 57579 h 671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4062" h="67189">
                  <a:moveTo>
                    <a:pt x="38576" y="0"/>
                  </a:moveTo>
                  <a:lnTo>
                    <a:pt x="45529" y="4667"/>
                  </a:lnTo>
                  <a:cubicBezTo>
                    <a:pt x="55864" y="10192"/>
                    <a:pt x="56959" y="28289"/>
                    <a:pt x="48006" y="45101"/>
                  </a:cubicBezTo>
                  <a:cubicBezTo>
                    <a:pt x="39053" y="61960"/>
                    <a:pt x="23384" y="71104"/>
                    <a:pt x="13049" y="65580"/>
                  </a:cubicBezTo>
                  <a:lnTo>
                    <a:pt x="0" y="57579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97" name="Forma livre: Forma 996">
              <a:extLst>
                <a:ext uri="{FF2B5EF4-FFF2-40B4-BE49-F238E27FC236}">
                  <a16:creationId xmlns:a16="http://schemas.microsoft.com/office/drawing/2014/main" id="{247DECEF-DEDA-7B72-D238-CFA63D247B8F}"/>
                </a:ext>
              </a:extLst>
            </p:cNvPr>
            <p:cNvSpPr/>
            <p:nvPr/>
          </p:nvSpPr>
          <p:spPr>
            <a:xfrm>
              <a:off x="11289282" y="1567910"/>
              <a:ext cx="228752" cy="249364"/>
            </a:xfrm>
            <a:custGeom>
              <a:avLst/>
              <a:gdLst>
                <a:gd name="connsiteX0" fmla="*/ 0 w 228752"/>
                <a:gd name="connsiteY0" fmla="*/ 212693 h 249364"/>
                <a:gd name="connsiteX1" fmla="*/ 88773 w 228752"/>
                <a:gd name="connsiteY1" fmla="*/ 249364 h 249364"/>
                <a:gd name="connsiteX2" fmla="*/ 214646 w 228752"/>
                <a:gd name="connsiteY2" fmla="*/ 123539 h 249364"/>
                <a:gd name="connsiteX3" fmla="*/ 213455 w 228752"/>
                <a:gd name="connsiteY3" fmla="*/ 106204 h 249364"/>
                <a:gd name="connsiteX4" fmla="*/ 217884 w 228752"/>
                <a:gd name="connsiteY4" fmla="*/ 104442 h 249364"/>
                <a:gd name="connsiteX5" fmla="*/ 225314 w 228752"/>
                <a:gd name="connsiteY5" fmla="*/ 64532 h 249364"/>
                <a:gd name="connsiteX6" fmla="*/ 193310 w 228752"/>
                <a:gd name="connsiteY6" fmla="*/ 39100 h 249364"/>
                <a:gd name="connsiteX7" fmla="*/ 184071 w 228752"/>
                <a:gd name="connsiteY7" fmla="*/ 41338 h 249364"/>
                <a:gd name="connsiteX8" fmla="*/ 112824 w 228752"/>
                <a:gd name="connsiteY8" fmla="*/ 0 h 2493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28752" h="249364">
                  <a:moveTo>
                    <a:pt x="0" y="212693"/>
                  </a:moveTo>
                  <a:cubicBezTo>
                    <a:pt x="22765" y="235363"/>
                    <a:pt x="54150" y="249364"/>
                    <a:pt x="88773" y="249364"/>
                  </a:cubicBezTo>
                  <a:cubicBezTo>
                    <a:pt x="158306" y="249364"/>
                    <a:pt x="214646" y="193024"/>
                    <a:pt x="214646" y="123539"/>
                  </a:cubicBezTo>
                  <a:cubicBezTo>
                    <a:pt x="214646" y="117681"/>
                    <a:pt x="214217" y="111871"/>
                    <a:pt x="213455" y="106204"/>
                  </a:cubicBezTo>
                  <a:lnTo>
                    <a:pt x="217884" y="104442"/>
                  </a:lnTo>
                  <a:cubicBezTo>
                    <a:pt x="228838" y="100060"/>
                    <a:pt x="231886" y="82439"/>
                    <a:pt x="225314" y="64532"/>
                  </a:cubicBezTo>
                  <a:cubicBezTo>
                    <a:pt x="218742" y="46625"/>
                    <a:pt x="205311" y="35814"/>
                    <a:pt x="193310" y="39100"/>
                  </a:cubicBezTo>
                  <a:lnTo>
                    <a:pt x="184071" y="41338"/>
                  </a:lnTo>
                  <a:cubicBezTo>
                    <a:pt x="165973" y="20383"/>
                    <a:pt x="141113" y="5477"/>
                    <a:pt x="112824" y="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98" name="Forma livre: Forma 997">
              <a:extLst>
                <a:ext uri="{FF2B5EF4-FFF2-40B4-BE49-F238E27FC236}">
                  <a16:creationId xmlns:a16="http://schemas.microsoft.com/office/drawing/2014/main" id="{C8C7918C-AD1D-3C71-3660-50F3E536C3DA}"/>
                </a:ext>
              </a:extLst>
            </p:cNvPr>
            <p:cNvSpPr/>
            <p:nvPr/>
          </p:nvSpPr>
          <p:spPr>
            <a:xfrm>
              <a:off x="11258421" y="1583388"/>
              <a:ext cx="55292" cy="69151"/>
            </a:xfrm>
            <a:custGeom>
              <a:avLst/>
              <a:gdLst>
                <a:gd name="connsiteX0" fmla="*/ 0 w 55292"/>
                <a:gd name="connsiteY0" fmla="*/ 69152 h 69151"/>
                <a:gd name="connsiteX1" fmla="*/ 55293 w 55292"/>
                <a:gd name="connsiteY1" fmla="*/ 0 h 691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5292" h="69151">
                  <a:moveTo>
                    <a:pt x="0" y="69152"/>
                  </a:moveTo>
                  <a:cubicBezTo>
                    <a:pt x="9477" y="39957"/>
                    <a:pt x="29385" y="15431"/>
                    <a:pt x="55293" y="0"/>
                  </a:cubicBezTo>
                </a:path>
              </a:pathLst>
            </a:custGeom>
            <a:solidFill>
              <a:srgbClr val="FFFFFF"/>
            </a:solidFill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99" name="Forma livre: Forma 998">
              <a:extLst>
                <a:ext uri="{FF2B5EF4-FFF2-40B4-BE49-F238E27FC236}">
                  <a16:creationId xmlns:a16="http://schemas.microsoft.com/office/drawing/2014/main" id="{FD2A045B-AC93-A9FE-1450-D009371A43F7}"/>
                </a:ext>
              </a:extLst>
            </p:cNvPr>
            <p:cNvSpPr/>
            <p:nvPr/>
          </p:nvSpPr>
          <p:spPr>
            <a:xfrm>
              <a:off x="11256516" y="1734836"/>
              <a:ext cx="61579" cy="80058"/>
            </a:xfrm>
            <a:custGeom>
              <a:avLst/>
              <a:gdLst>
                <a:gd name="connsiteX0" fmla="*/ 3430 w 61579"/>
                <a:gd name="connsiteY0" fmla="*/ 0 h 80058"/>
                <a:gd name="connsiteX1" fmla="*/ 12478 w 61579"/>
                <a:gd name="connsiteY1" fmla="*/ 19336 h 80058"/>
                <a:gd name="connsiteX2" fmla="*/ 4239 w 61579"/>
                <a:gd name="connsiteY2" fmla="*/ 27003 h 80058"/>
                <a:gd name="connsiteX3" fmla="*/ 13669 w 61579"/>
                <a:gd name="connsiteY3" fmla="*/ 66389 h 80058"/>
                <a:gd name="connsiteX4" fmla="*/ 53103 w 61579"/>
                <a:gd name="connsiteY4" fmla="*/ 75819 h 80058"/>
                <a:gd name="connsiteX5" fmla="*/ 61580 w 61579"/>
                <a:gd name="connsiteY5" fmla="*/ 68913 h 800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1579" h="80058">
                  <a:moveTo>
                    <a:pt x="3430" y="0"/>
                  </a:moveTo>
                  <a:cubicBezTo>
                    <a:pt x="5906" y="6715"/>
                    <a:pt x="8954" y="13240"/>
                    <a:pt x="12478" y="19336"/>
                  </a:cubicBezTo>
                  <a:lnTo>
                    <a:pt x="4239" y="27003"/>
                  </a:lnTo>
                  <a:cubicBezTo>
                    <a:pt x="-4047" y="35290"/>
                    <a:pt x="191" y="52911"/>
                    <a:pt x="13669" y="66389"/>
                  </a:cubicBezTo>
                  <a:cubicBezTo>
                    <a:pt x="27147" y="79867"/>
                    <a:pt x="44816" y="84106"/>
                    <a:pt x="53103" y="75819"/>
                  </a:cubicBezTo>
                  <a:lnTo>
                    <a:pt x="61580" y="68913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00" name="Forma livre: Forma 999">
              <a:extLst>
                <a:ext uri="{FF2B5EF4-FFF2-40B4-BE49-F238E27FC236}">
                  <a16:creationId xmlns:a16="http://schemas.microsoft.com/office/drawing/2014/main" id="{40E29B33-8951-6E9C-6423-E131ABE81A57}"/>
                </a:ext>
              </a:extLst>
            </p:cNvPr>
            <p:cNvSpPr/>
            <p:nvPr/>
          </p:nvSpPr>
          <p:spPr>
            <a:xfrm>
              <a:off x="11412297" y="1678905"/>
              <a:ext cx="49007" cy="53692"/>
            </a:xfrm>
            <a:custGeom>
              <a:avLst/>
              <a:gdLst>
                <a:gd name="connsiteX0" fmla="*/ 18241 w 49007"/>
                <a:gd name="connsiteY0" fmla="*/ 53692 h 53692"/>
                <a:gd name="connsiteX1" fmla="*/ 810 w 49007"/>
                <a:gd name="connsiteY1" fmla="*/ 21546 h 53692"/>
                <a:gd name="connsiteX2" fmla="*/ 30767 w 49007"/>
                <a:gd name="connsiteY2" fmla="*/ 591 h 53692"/>
                <a:gd name="connsiteX3" fmla="*/ 48197 w 49007"/>
                <a:gd name="connsiteY3" fmla="*/ 32737 h 536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9007" h="53692">
                  <a:moveTo>
                    <a:pt x="18241" y="53692"/>
                  </a:moveTo>
                  <a:cubicBezTo>
                    <a:pt x="5144" y="50597"/>
                    <a:pt x="-2619" y="36214"/>
                    <a:pt x="810" y="21546"/>
                  </a:cubicBezTo>
                  <a:cubicBezTo>
                    <a:pt x="4287" y="6877"/>
                    <a:pt x="17670" y="-2505"/>
                    <a:pt x="30767" y="591"/>
                  </a:cubicBezTo>
                  <a:cubicBezTo>
                    <a:pt x="43863" y="3686"/>
                    <a:pt x="51626" y="18069"/>
                    <a:pt x="48197" y="32737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01" name="Forma livre: Forma 1000">
              <a:extLst>
                <a:ext uri="{FF2B5EF4-FFF2-40B4-BE49-F238E27FC236}">
                  <a16:creationId xmlns:a16="http://schemas.microsoft.com/office/drawing/2014/main" id="{CF951DB1-D850-3EFA-5F78-95DECA603E42}"/>
                </a:ext>
              </a:extLst>
            </p:cNvPr>
            <p:cNvSpPr/>
            <p:nvPr/>
          </p:nvSpPr>
          <p:spPr>
            <a:xfrm>
              <a:off x="11329395" y="1741229"/>
              <a:ext cx="41838" cy="35992"/>
            </a:xfrm>
            <a:custGeom>
              <a:avLst/>
              <a:gdLst>
                <a:gd name="connsiteX0" fmla="*/ 9561 w 41838"/>
                <a:gd name="connsiteY0" fmla="*/ 32897 h 35992"/>
                <a:gd name="connsiteX1" fmla="*/ 3369 w 41838"/>
                <a:gd name="connsiteY1" fmla="*/ 4465 h 35992"/>
                <a:gd name="connsiteX2" fmla="*/ 32278 w 41838"/>
                <a:gd name="connsiteY2" fmla="*/ 7561 h 35992"/>
                <a:gd name="connsiteX3" fmla="*/ 38469 w 41838"/>
                <a:gd name="connsiteY3" fmla="*/ 35993 h 359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1838" h="35992">
                  <a:moveTo>
                    <a:pt x="9561" y="32897"/>
                  </a:moveTo>
                  <a:cubicBezTo>
                    <a:pt x="-155" y="24182"/>
                    <a:pt x="-2917" y="11466"/>
                    <a:pt x="3369" y="4465"/>
                  </a:cubicBezTo>
                  <a:cubicBezTo>
                    <a:pt x="9656" y="-2536"/>
                    <a:pt x="22610" y="-1155"/>
                    <a:pt x="32278" y="7561"/>
                  </a:cubicBezTo>
                  <a:cubicBezTo>
                    <a:pt x="41993" y="16276"/>
                    <a:pt x="44755" y="28992"/>
                    <a:pt x="38469" y="35993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002" name="Gráfico 11">
              <a:extLst>
                <a:ext uri="{FF2B5EF4-FFF2-40B4-BE49-F238E27FC236}">
                  <a16:creationId xmlns:a16="http://schemas.microsoft.com/office/drawing/2014/main" id="{23EB3352-C98A-8BCE-9933-9010552CC7B4}"/>
                </a:ext>
              </a:extLst>
            </p:cNvPr>
            <p:cNvGrpSpPr/>
            <p:nvPr/>
          </p:nvGrpSpPr>
          <p:grpSpPr>
            <a:xfrm>
              <a:off x="11328859" y="1559957"/>
              <a:ext cx="84867" cy="42195"/>
              <a:chOff x="11328859" y="1559957"/>
              <a:chExt cx="84867" cy="42195"/>
            </a:xfrm>
            <a:noFill/>
          </p:grpSpPr>
          <p:sp>
            <p:nvSpPr>
              <p:cNvPr id="1003" name="Forma livre: Forma 1002">
                <a:extLst>
                  <a:ext uri="{FF2B5EF4-FFF2-40B4-BE49-F238E27FC236}">
                    <a16:creationId xmlns:a16="http://schemas.microsoft.com/office/drawing/2014/main" id="{A9682F6D-46F2-9697-C5AB-5EB84E454B84}"/>
                  </a:ext>
                </a:extLst>
              </p:cNvPr>
              <p:cNvSpPr/>
              <p:nvPr/>
            </p:nvSpPr>
            <p:spPr>
              <a:xfrm>
                <a:off x="11402046" y="1559957"/>
                <a:ext cx="11680" cy="42195"/>
              </a:xfrm>
              <a:custGeom>
                <a:avLst/>
                <a:gdLst>
                  <a:gd name="connsiteX0" fmla="*/ 155 w 11680"/>
                  <a:gd name="connsiteY0" fmla="*/ 0 h 42195"/>
                  <a:gd name="connsiteX1" fmla="*/ 11680 w 11680"/>
                  <a:gd name="connsiteY1" fmla="*/ 42196 h 421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680" h="42195">
                    <a:moveTo>
                      <a:pt x="155" y="0"/>
                    </a:moveTo>
                    <a:cubicBezTo>
                      <a:pt x="155" y="0"/>
                      <a:pt x="-2226" y="28337"/>
                      <a:pt x="11680" y="42196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004" name="Forma livre: Forma 1003">
                <a:extLst>
                  <a:ext uri="{FF2B5EF4-FFF2-40B4-BE49-F238E27FC236}">
                    <a16:creationId xmlns:a16="http://schemas.microsoft.com/office/drawing/2014/main" id="{D8FDCFE7-FBEE-C622-3D1F-05FF6047EBC8}"/>
                  </a:ext>
                </a:extLst>
              </p:cNvPr>
              <p:cNvSpPr/>
              <p:nvPr/>
            </p:nvSpPr>
            <p:spPr>
              <a:xfrm>
                <a:off x="11328859" y="1559957"/>
                <a:ext cx="11554" cy="42195"/>
              </a:xfrm>
              <a:custGeom>
                <a:avLst/>
                <a:gdLst>
                  <a:gd name="connsiteX0" fmla="*/ 11382 w 11554"/>
                  <a:gd name="connsiteY0" fmla="*/ 0 h 42195"/>
                  <a:gd name="connsiteX1" fmla="*/ 0 w 11554"/>
                  <a:gd name="connsiteY1" fmla="*/ 42196 h 421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554" h="42195">
                    <a:moveTo>
                      <a:pt x="11382" y="0"/>
                    </a:moveTo>
                    <a:cubicBezTo>
                      <a:pt x="11382" y="0"/>
                      <a:pt x="13859" y="28337"/>
                      <a:pt x="0" y="42196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005" name="Forma livre: Forma 1004">
              <a:extLst>
                <a:ext uri="{FF2B5EF4-FFF2-40B4-BE49-F238E27FC236}">
                  <a16:creationId xmlns:a16="http://schemas.microsoft.com/office/drawing/2014/main" id="{B20BF446-E10D-4954-F518-7402307A98C4}"/>
                </a:ext>
              </a:extLst>
            </p:cNvPr>
            <p:cNvSpPr/>
            <p:nvPr/>
          </p:nvSpPr>
          <p:spPr>
            <a:xfrm>
              <a:off x="11340336" y="1540907"/>
              <a:ext cx="61912" cy="38052"/>
            </a:xfrm>
            <a:custGeom>
              <a:avLst/>
              <a:gdLst>
                <a:gd name="connsiteX0" fmla="*/ 61912 w 61912"/>
                <a:gd name="connsiteY0" fmla="*/ 19050 h 38052"/>
                <a:gd name="connsiteX1" fmla="*/ 30956 w 61912"/>
                <a:gd name="connsiteY1" fmla="*/ 38052 h 38052"/>
                <a:gd name="connsiteX2" fmla="*/ 0 w 61912"/>
                <a:gd name="connsiteY2" fmla="*/ 19050 h 38052"/>
                <a:gd name="connsiteX3" fmla="*/ 30956 w 61912"/>
                <a:gd name="connsiteY3" fmla="*/ 0 h 38052"/>
                <a:gd name="connsiteX4" fmla="*/ 61912 w 61912"/>
                <a:gd name="connsiteY4" fmla="*/ 19050 h 380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1912" h="38052">
                  <a:moveTo>
                    <a:pt x="61912" y="19050"/>
                  </a:moveTo>
                  <a:cubicBezTo>
                    <a:pt x="61912" y="29575"/>
                    <a:pt x="48054" y="38052"/>
                    <a:pt x="30956" y="38052"/>
                  </a:cubicBezTo>
                  <a:cubicBezTo>
                    <a:pt x="13859" y="38052"/>
                    <a:pt x="0" y="29527"/>
                    <a:pt x="0" y="19050"/>
                  </a:cubicBezTo>
                  <a:cubicBezTo>
                    <a:pt x="0" y="8572"/>
                    <a:pt x="13859" y="0"/>
                    <a:pt x="30956" y="0"/>
                  </a:cubicBezTo>
                  <a:cubicBezTo>
                    <a:pt x="48054" y="0"/>
                    <a:pt x="61912" y="8525"/>
                    <a:pt x="61912" y="19050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006" name="Gráfico 11">
              <a:extLst>
                <a:ext uri="{FF2B5EF4-FFF2-40B4-BE49-F238E27FC236}">
                  <a16:creationId xmlns:a16="http://schemas.microsoft.com/office/drawing/2014/main" id="{EC1BAEC0-EAFB-E8E9-C13E-CBB7AC785846}"/>
                </a:ext>
              </a:extLst>
            </p:cNvPr>
            <p:cNvGrpSpPr/>
            <p:nvPr/>
          </p:nvGrpSpPr>
          <p:grpSpPr>
            <a:xfrm>
              <a:off x="11229962" y="1643729"/>
              <a:ext cx="56033" cy="77247"/>
              <a:chOff x="11229962" y="1643729"/>
              <a:chExt cx="56033" cy="77247"/>
            </a:xfrm>
            <a:noFill/>
          </p:grpSpPr>
          <p:grpSp>
            <p:nvGrpSpPr>
              <p:cNvPr id="1007" name="Gráfico 11">
                <a:extLst>
                  <a:ext uri="{FF2B5EF4-FFF2-40B4-BE49-F238E27FC236}">
                    <a16:creationId xmlns:a16="http://schemas.microsoft.com/office/drawing/2014/main" id="{BB317576-728B-65CD-D9B4-51F5E5F8BE2D}"/>
                  </a:ext>
                </a:extLst>
              </p:cNvPr>
              <p:cNvGrpSpPr/>
              <p:nvPr/>
            </p:nvGrpSpPr>
            <p:grpSpPr>
              <a:xfrm>
                <a:off x="11245991" y="1643729"/>
                <a:ext cx="40004" cy="77247"/>
                <a:chOff x="11245991" y="1643729"/>
                <a:chExt cx="40004" cy="77247"/>
              </a:xfrm>
              <a:noFill/>
            </p:grpSpPr>
            <p:sp>
              <p:nvSpPr>
                <p:cNvPr id="1008" name="Forma livre: Forma 1007">
                  <a:extLst>
                    <a:ext uri="{FF2B5EF4-FFF2-40B4-BE49-F238E27FC236}">
                      <a16:creationId xmlns:a16="http://schemas.microsoft.com/office/drawing/2014/main" id="{FEC7D27D-5134-BBBC-CB1B-16A0ABE30E3C}"/>
                    </a:ext>
                  </a:extLst>
                </p:cNvPr>
                <p:cNvSpPr/>
                <p:nvPr/>
              </p:nvSpPr>
              <p:spPr>
                <a:xfrm>
                  <a:off x="11247944" y="1643729"/>
                  <a:ext cx="38052" cy="9412"/>
                </a:xfrm>
                <a:custGeom>
                  <a:avLst/>
                  <a:gdLst>
                    <a:gd name="connsiteX0" fmla="*/ 0 w 38052"/>
                    <a:gd name="connsiteY0" fmla="*/ 9049 h 9412"/>
                    <a:gd name="connsiteX1" fmla="*/ 38052 w 38052"/>
                    <a:gd name="connsiteY1" fmla="*/ 0 h 941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38052" h="9412">
                      <a:moveTo>
                        <a:pt x="0" y="9049"/>
                      </a:moveTo>
                      <a:cubicBezTo>
                        <a:pt x="0" y="9049"/>
                        <a:pt x="25241" y="12192"/>
                        <a:pt x="38052" y="0"/>
                      </a:cubicBez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009" name="Forma livre: Forma 1008">
                  <a:extLst>
                    <a:ext uri="{FF2B5EF4-FFF2-40B4-BE49-F238E27FC236}">
                      <a16:creationId xmlns:a16="http://schemas.microsoft.com/office/drawing/2014/main" id="{EFFAED9C-5923-4EC2-819A-C4F0B142A76E}"/>
                    </a:ext>
                  </a:extLst>
                </p:cNvPr>
                <p:cNvSpPr/>
                <p:nvPr/>
              </p:nvSpPr>
              <p:spPr>
                <a:xfrm>
                  <a:off x="11245991" y="1709267"/>
                  <a:ext cx="37337" cy="11710"/>
                </a:xfrm>
                <a:custGeom>
                  <a:avLst/>
                  <a:gdLst>
                    <a:gd name="connsiteX0" fmla="*/ 0 w 37337"/>
                    <a:gd name="connsiteY0" fmla="*/ 42 h 11710"/>
                    <a:gd name="connsiteX1" fmla="*/ 37338 w 37337"/>
                    <a:gd name="connsiteY1" fmla="*/ 11710 h 1171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37337" h="11710">
                      <a:moveTo>
                        <a:pt x="0" y="42"/>
                      </a:moveTo>
                      <a:cubicBezTo>
                        <a:pt x="0" y="42"/>
                        <a:pt x="25384" y="-1339"/>
                        <a:pt x="37338" y="11710"/>
                      </a:cubicBez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1010" name="Forma livre: Forma 1009">
                <a:extLst>
                  <a:ext uri="{FF2B5EF4-FFF2-40B4-BE49-F238E27FC236}">
                    <a16:creationId xmlns:a16="http://schemas.microsoft.com/office/drawing/2014/main" id="{BF8DA2AF-5E61-A677-89E7-DAA2A4B7BC68}"/>
                  </a:ext>
                </a:extLst>
              </p:cNvPr>
              <p:cNvSpPr/>
              <p:nvPr/>
            </p:nvSpPr>
            <p:spPr>
              <a:xfrm>
                <a:off x="11229962" y="1652826"/>
                <a:ext cx="34015" cy="56442"/>
              </a:xfrm>
              <a:custGeom>
                <a:avLst/>
                <a:gdLst>
                  <a:gd name="connsiteX0" fmla="*/ 17982 w 34015"/>
                  <a:gd name="connsiteY0" fmla="*/ 0 h 56442"/>
                  <a:gd name="connsiteX1" fmla="*/ 33984 w 34015"/>
                  <a:gd name="connsiteY1" fmla="*/ 28813 h 56442"/>
                  <a:gd name="connsiteX2" fmla="*/ 16029 w 34015"/>
                  <a:gd name="connsiteY2" fmla="*/ 56436 h 56442"/>
                  <a:gd name="connsiteX3" fmla="*/ 27 w 34015"/>
                  <a:gd name="connsiteY3" fmla="*/ 27670 h 56442"/>
                  <a:gd name="connsiteX4" fmla="*/ 17982 w 34015"/>
                  <a:gd name="connsiteY4" fmla="*/ 48 h 564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4015" h="56442">
                    <a:moveTo>
                      <a:pt x="17982" y="0"/>
                    </a:moveTo>
                    <a:cubicBezTo>
                      <a:pt x="27364" y="333"/>
                      <a:pt x="34555" y="13240"/>
                      <a:pt x="33984" y="28813"/>
                    </a:cubicBezTo>
                    <a:cubicBezTo>
                      <a:pt x="33460" y="44386"/>
                      <a:pt x="25411" y="56769"/>
                      <a:pt x="16029" y="56436"/>
                    </a:cubicBezTo>
                    <a:cubicBezTo>
                      <a:pt x="6647" y="56102"/>
                      <a:pt x="-497" y="43196"/>
                      <a:pt x="27" y="27670"/>
                    </a:cubicBezTo>
                    <a:cubicBezTo>
                      <a:pt x="551" y="12097"/>
                      <a:pt x="8600" y="-286"/>
                      <a:pt x="17982" y="48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011" name="Forma livre: Forma 1010">
              <a:extLst>
                <a:ext uri="{FF2B5EF4-FFF2-40B4-BE49-F238E27FC236}">
                  <a16:creationId xmlns:a16="http://schemas.microsoft.com/office/drawing/2014/main" id="{FA055887-3939-047E-F84B-35C1C2D23468}"/>
                </a:ext>
              </a:extLst>
            </p:cNvPr>
            <p:cNvSpPr/>
            <p:nvPr/>
          </p:nvSpPr>
          <p:spPr>
            <a:xfrm>
              <a:off x="11298534" y="1656755"/>
              <a:ext cx="48647" cy="54506"/>
            </a:xfrm>
            <a:custGeom>
              <a:avLst/>
              <a:gdLst>
                <a:gd name="connsiteX0" fmla="*/ 23038 w 48647"/>
                <a:gd name="connsiteY0" fmla="*/ 54507 h 54506"/>
                <a:gd name="connsiteX1" fmla="*/ 35 w 48647"/>
                <a:gd name="connsiteY1" fmla="*/ 26122 h 54506"/>
                <a:gd name="connsiteX2" fmla="*/ 25610 w 48647"/>
                <a:gd name="connsiteY2" fmla="*/ 24 h 54506"/>
                <a:gd name="connsiteX3" fmla="*/ 48612 w 48647"/>
                <a:gd name="connsiteY3" fmla="*/ 28408 h 545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8647" h="54506">
                  <a:moveTo>
                    <a:pt x="23038" y="54507"/>
                  </a:moveTo>
                  <a:cubicBezTo>
                    <a:pt x="9608" y="53887"/>
                    <a:pt x="-679" y="41172"/>
                    <a:pt x="35" y="26122"/>
                  </a:cubicBezTo>
                  <a:cubicBezTo>
                    <a:pt x="749" y="11073"/>
                    <a:pt x="12179" y="-596"/>
                    <a:pt x="25610" y="24"/>
                  </a:cubicBezTo>
                  <a:cubicBezTo>
                    <a:pt x="39040" y="643"/>
                    <a:pt x="49327" y="13358"/>
                    <a:pt x="48612" y="28408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12" name="Forma livre: Forma 1011">
              <a:extLst>
                <a:ext uri="{FF2B5EF4-FFF2-40B4-BE49-F238E27FC236}">
                  <a16:creationId xmlns:a16="http://schemas.microsoft.com/office/drawing/2014/main" id="{F9F136FA-0033-C260-04FA-4422F0146A2C}"/>
                </a:ext>
              </a:extLst>
            </p:cNvPr>
            <p:cNvSpPr/>
            <p:nvPr/>
          </p:nvSpPr>
          <p:spPr>
            <a:xfrm>
              <a:off x="11348290" y="1620679"/>
              <a:ext cx="7715" cy="7715"/>
            </a:xfrm>
            <a:custGeom>
              <a:avLst/>
              <a:gdLst>
                <a:gd name="connsiteX0" fmla="*/ 0 w 7715"/>
                <a:gd name="connsiteY0" fmla="*/ 3858 h 7715"/>
                <a:gd name="connsiteX1" fmla="*/ 3858 w 7715"/>
                <a:gd name="connsiteY1" fmla="*/ 7715 h 7715"/>
                <a:gd name="connsiteX2" fmla="*/ 7715 w 7715"/>
                <a:gd name="connsiteY2" fmla="*/ 3858 h 7715"/>
                <a:gd name="connsiteX3" fmla="*/ 3858 w 7715"/>
                <a:gd name="connsiteY3" fmla="*/ 0 h 7715"/>
                <a:gd name="connsiteX4" fmla="*/ 0 w 7715"/>
                <a:gd name="connsiteY4" fmla="*/ 3858 h 77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715" h="7715">
                  <a:moveTo>
                    <a:pt x="0" y="3858"/>
                  </a:moveTo>
                  <a:cubicBezTo>
                    <a:pt x="0" y="6001"/>
                    <a:pt x="1714" y="7715"/>
                    <a:pt x="3858" y="7715"/>
                  </a:cubicBezTo>
                  <a:cubicBezTo>
                    <a:pt x="6001" y="7715"/>
                    <a:pt x="7715" y="6001"/>
                    <a:pt x="7715" y="3858"/>
                  </a:cubicBezTo>
                  <a:cubicBezTo>
                    <a:pt x="7715" y="1715"/>
                    <a:pt x="5953" y="0"/>
                    <a:pt x="3858" y="0"/>
                  </a:cubicBezTo>
                  <a:cubicBezTo>
                    <a:pt x="1762" y="0"/>
                    <a:pt x="0" y="1715"/>
                    <a:pt x="0" y="3858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13" name="Forma livre: Forma 1012">
              <a:extLst>
                <a:ext uri="{FF2B5EF4-FFF2-40B4-BE49-F238E27FC236}">
                  <a16:creationId xmlns:a16="http://schemas.microsoft.com/office/drawing/2014/main" id="{69E22831-8826-E0CE-91E7-07C0B22B88F0}"/>
                </a:ext>
              </a:extLst>
            </p:cNvPr>
            <p:cNvSpPr/>
            <p:nvPr/>
          </p:nvSpPr>
          <p:spPr>
            <a:xfrm>
              <a:off x="11441777" y="1639157"/>
              <a:ext cx="7715" cy="7715"/>
            </a:xfrm>
            <a:custGeom>
              <a:avLst/>
              <a:gdLst>
                <a:gd name="connsiteX0" fmla="*/ 0 w 7715"/>
                <a:gd name="connsiteY0" fmla="*/ 3858 h 7715"/>
                <a:gd name="connsiteX1" fmla="*/ 3858 w 7715"/>
                <a:gd name="connsiteY1" fmla="*/ 7715 h 7715"/>
                <a:gd name="connsiteX2" fmla="*/ 7715 w 7715"/>
                <a:gd name="connsiteY2" fmla="*/ 3858 h 7715"/>
                <a:gd name="connsiteX3" fmla="*/ 3858 w 7715"/>
                <a:gd name="connsiteY3" fmla="*/ 0 h 7715"/>
                <a:gd name="connsiteX4" fmla="*/ 0 w 7715"/>
                <a:gd name="connsiteY4" fmla="*/ 3858 h 77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715" h="7715">
                  <a:moveTo>
                    <a:pt x="0" y="3858"/>
                  </a:moveTo>
                  <a:cubicBezTo>
                    <a:pt x="0" y="6001"/>
                    <a:pt x="1714" y="7715"/>
                    <a:pt x="3858" y="7715"/>
                  </a:cubicBezTo>
                  <a:cubicBezTo>
                    <a:pt x="6001" y="7715"/>
                    <a:pt x="7715" y="6001"/>
                    <a:pt x="7715" y="3858"/>
                  </a:cubicBezTo>
                  <a:cubicBezTo>
                    <a:pt x="7715" y="1715"/>
                    <a:pt x="5953" y="0"/>
                    <a:pt x="3858" y="0"/>
                  </a:cubicBezTo>
                  <a:cubicBezTo>
                    <a:pt x="1762" y="0"/>
                    <a:pt x="0" y="1715"/>
                    <a:pt x="0" y="3858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14" name="Forma livre: Forma 1013">
              <a:extLst>
                <a:ext uri="{FF2B5EF4-FFF2-40B4-BE49-F238E27FC236}">
                  <a16:creationId xmlns:a16="http://schemas.microsoft.com/office/drawing/2014/main" id="{152F856D-A5D9-7D4B-1D5A-831149044637}"/>
                </a:ext>
              </a:extLst>
            </p:cNvPr>
            <p:cNvSpPr/>
            <p:nvPr/>
          </p:nvSpPr>
          <p:spPr>
            <a:xfrm>
              <a:off x="11375674" y="1664446"/>
              <a:ext cx="7715" cy="7715"/>
            </a:xfrm>
            <a:custGeom>
              <a:avLst/>
              <a:gdLst>
                <a:gd name="connsiteX0" fmla="*/ 0 w 7715"/>
                <a:gd name="connsiteY0" fmla="*/ 3858 h 7715"/>
                <a:gd name="connsiteX1" fmla="*/ 3858 w 7715"/>
                <a:gd name="connsiteY1" fmla="*/ 7715 h 7715"/>
                <a:gd name="connsiteX2" fmla="*/ 7715 w 7715"/>
                <a:gd name="connsiteY2" fmla="*/ 3858 h 7715"/>
                <a:gd name="connsiteX3" fmla="*/ 3858 w 7715"/>
                <a:gd name="connsiteY3" fmla="*/ 0 h 7715"/>
                <a:gd name="connsiteX4" fmla="*/ 0 w 7715"/>
                <a:gd name="connsiteY4" fmla="*/ 3858 h 77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715" h="7715">
                  <a:moveTo>
                    <a:pt x="0" y="3858"/>
                  </a:moveTo>
                  <a:cubicBezTo>
                    <a:pt x="0" y="6001"/>
                    <a:pt x="1714" y="7715"/>
                    <a:pt x="3858" y="7715"/>
                  </a:cubicBezTo>
                  <a:cubicBezTo>
                    <a:pt x="6001" y="7715"/>
                    <a:pt x="7715" y="6001"/>
                    <a:pt x="7715" y="3858"/>
                  </a:cubicBezTo>
                  <a:cubicBezTo>
                    <a:pt x="7715" y="1715"/>
                    <a:pt x="5953" y="0"/>
                    <a:pt x="3858" y="0"/>
                  </a:cubicBezTo>
                  <a:cubicBezTo>
                    <a:pt x="1762" y="0"/>
                    <a:pt x="0" y="1715"/>
                    <a:pt x="0" y="3858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15" name="Forma livre: Forma 1014">
              <a:extLst>
                <a:ext uri="{FF2B5EF4-FFF2-40B4-BE49-F238E27FC236}">
                  <a16:creationId xmlns:a16="http://schemas.microsoft.com/office/drawing/2014/main" id="{B76600C2-F29A-19AE-417D-1CAF3A60B72B}"/>
                </a:ext>
              </a:extLst>
            </p:cNvPr>
            <p:cNvSpPr/>
            <p:nvPr/>
          </p:nvSpPr>
          <p:spPr>
            <a:xfrm>
              <a:off x="11403058" y="1768935"/>
              <a:ext cx="7715" cy="7715"/>
            </a:xfrm>
            <a:custGeom>
              <a:avLst/>
              <a:gdLst>
                <a:gd name="connsiteX0" fmla="*/ 0 w 7715"/>
                <a:gd name="connsiteY0" fmla="*/ 3858 h 7715"/>
                <a:gd name="connsiteX1" fmla="*/ 3858 w 7715"/>
                <a:gd name="connsiteY1" fmla="*/ 7715 h 7715"/>
                <a:gd name="connsiteX2" fmla="*/ 7715 w 7715"/>
                <a:gd name="connsiteY2" fmla="*/ 3858 h 7715"/>
                <a:gd name="connsiteX3" fmla="*/ 3858 w 7715"/>
                <a:gd name="connsiteY3" fmla="*/ 0 h 7715"/>
                <a:gd name="connsiteX4" fmla="*/ 0 w 7715"/>
                <a:gd name="connsiteY4" fmla="*/ 3858 h 77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715" h="7715">
                  <a:moveTo>
                    <a:pt x="0" y="3858"/>
                  </a:moveTo>
                  <a:cubicBezTo>
                    <a:pt x="0" y="6001"/>
                    <a:pt x="1714" y="7715"/>
                    <a:pt x="3858" y="7715"/>
                  </a:cubicBezTo>
                  <a:cubicBezTo>
                    <a:pt x="6001" y="7715"/>
                    <a:pt x="7715" y="6001"/>
                    <a:pt x="7715" y="3858"/>
                  </a:cubicBezTo>
                  <a:cubicBezTo>
                    <a:pt x="7715" y="1715"/>
                    <a:pt x="5953" y="0"/>
                    <a:pt x="3858" y="0"/>
                  </a:cubicBezTo>
                  <a:cubicBezTo>
                    <a:pt x="1762" y="0"/>
                    <a:pt x="0" y="1715"/>
                    <a:pt x="0" y="3858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016" name="Gráfico 11">
            <a:extLst>
              <a:ext uri="{FF2B5EF4-FFF2-40B4-BE49-F238E27FC236}">
                <a16:creationId xmlns:a16="http://schemas.microsoft.com/office/drawing/2014/main" id="{F77B989F-B1A3-67B6-EFA1-6457AEDC159F}"/>
              </a:ext>
            </a:extLst>
          </p:cNvPr>
          <p:cNvGrpSpPr/>
          <p:nvPr/>
        </p:nvGrpSpPr>
        <p:grpSpPr>
          <a:xfrm>
            <a:off x="10000455" y="987647"/>
            <a:ext cx="272843" cy="332184"/>
            <a:chOff x="10000455" y="987647"/>
            <a:chExt cx="272843" cy="332184"/>
          </a:xfrm>
        </p:grpSpPr>
        <p:sp>
          <p:nvSpPr>
            <p:cNvPr id="1017" name="Forma livre: Forma 1016">
              <a:extLst>
                <a:ext uri="{FF2B5EF4-FFF2-40B4-BE49-F238E27FC236}">
                  <a16:creationId xmlns:a16="http://schemas.microsoft.com/office/drawing/2014/main" id="{2B7EAEB4-8BBE-4FCA-5101-6203A7F63587}"/>
                </a:ext>
              </a:extLst>
            </p:cNvPr>
            <p:cNvSpPr/>
            <p:nvPr/>
          </p:nvSpPr>
          <p:spPr>
            <a:xfrm>
              <a:off x="10080846" y="1018222"/>
              <a:ext cx="7715" cy="7715"/>
            </a:xfrm>
            <a:custGeom>
              <a:avLst/>
              <a:gdLst>
                <a:gd name="connsiteX0" fmla="*/ 0 w 7715"/>
                <a:gd name="connsiteY0" fmla="*/ 3858 h 7715"/>
                <a:gd name="connsiteX1" fmla="*/ 3858 w 7715"/>
                <a:gd name="connsiteY1" fmla="*/ 7715 h 7715"/>
                <a:gd name="connsiteX2" fmla="*/ 7715 w 7715"/>
                <a:gd name="connsiteY2" fmla="*/ 3858 h 7715"/>
                <a:gd name="connsiteX3" fmla="*/ 3858 w 7715"/>
                <a:gd name="connsiteY3" fmla="*/ 0 h 7715"/>
                <a:gd name="connsiteX4" fmla="*/ 0 w 7715"/>
                <a:gd name="connsiteY4" fmla="*/ 3858 h 77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715" h="7715">
                  <a:moveTo>
                    <a:pt x="0" y="3858"/>
                  </a:moveTo>
                  <a:cubicBezTo>
                    <a:pt x="0" y="6001"/>
                    <a:pt x="1715" y="7715"/>
                    <a:pt x="3858" y="7715"/>
                  </a:cubicBezTo>
                  <a:cubicBezTo>
                    <a:pt x="6001" y="7715"/>
                    <a:pt x="7715" y="6001"/>
                    <a:pt x="7715" y="3858"/>
                  </a:cubicBezTo>
                  <a:cubicBezTo>
                    <a:pt x="7715" y="1714"/>
                    <a:pt x="5953" y="0"/>
                    <a:pt x="3858" y="0"/>
                  </a:cubicBezTo>
                  <a:cubicBezTo>
                    <a:pt x="1762" y="0"/>
                    <a:pt x="0" y="1714"/>
                    <a:pt x="0" y="3858"/>
                  </a:cubicBezTo>
                  <a:close/>
                </a:path>
              </a:pathLst>
            </a:custGeom>
            <a:solidFill>
              <a:srgbClr val="374555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18" name="Forma livre: Forma 1017">
              <a:extLst>
                <a:ext uri="{FF2B5EF4-FFF2-40B4-BE49-F238E27FC236}">
                  <a16:creationId xmlns:a16="http://schemas.microsoft.com/office/drawing/2014/main" id="{A7CBCC66-6300-320A-561A-95A33925BE39}"/>
                </a:ext>
              </a:extLst>
            </p:cNvPr>
            <p:cNvSpPr/>
            <p:nvPr/>
          </p:nvSpPr>
          <p:spPr>
            <a:xfrm>
              <a:off x="10265583" y="1106472"/>
              <a:ext cx="7715" cy="7715"/>
            </a:xfrm>
            <a:custGeom>
              <a:avLst/>
              <a:gdLst>
                <a:gd name="connsiteX0" fmla="*/ 0 w 7715"/>
                <a:gd name="connsiteY0" fmla="*/ 3858 h 7715"/>
                <a:gd name="connsiteX1" fmla="*/ 3858 w 7715"/>
                <a:gd name="connsiteY1" fmla="*/ 7715 h 7715"/>
                <a:gd name="connsiteX2" fmla="*/ 7715 w 7715"/>
                <a:gd name="connsiteY2" fmla="*/ 3858 h 7715"/>
                <a:gd name="connsiteX3" fmla="*/ 3858 w 7715"/>
                <a:gd name="connsiteY3" fmla="*/ 0 h 7715"/>
                <a:gd name="connsiteX4" fmla="*/ 0 w 7715"/>
                <a:gd name="connsiteY4" fmla="*/ 3858 h 77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715" h="7715">
                  <a:moveTo>
                    <a:pt x="0" y="3858"/>
                  </a:moveTo>
                  <a:cubicBezTo>
                    <a:pt x="0" y="6001"/>
                    <a:pt x="1715" y="7715"/>
                    <a:pt x="3858" y="7715"/>
                  </a:cubicBezTo>
                  <a:cubicBezTo>
                    <a:pt x="6001" y="7715"/>
                    <a:pt x="7715" y="6001"/>
                    <a:pt x="7715" y="3858"/>
                  </a:cubicBezTo>
                  <a:cubicBezTo>
                    <a:pt x="7715" y="1715"/>
                    <a:pt x="5953" y="0"/>
                    <a:pt x="3858" y="0"/>
                  </a:cubicBezTo>
                  <a:cubicBezTo>
                    <a:pt x="1762" y="0"/>
                    <a:pt x="0" y="1715"/>
                    <a:pt x="0" y="3858"/>
                  </a:cubicBezTo>
                  <a:close/>
                </a:path>
              </a:pathLst>
            </a:custGeom>
            <a:solidFill>
              <a:srgbClr val="374555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19" name="Forma livre: Forma 1018">
              <a:extLst>
                <a:ext uri="{FF2B5EF4-FFF2-40B4-BE49-F238E27FC236}">
                  <a16:creationId xmlns:a16="http://schemas.microsoft.com/office/drawing/2014/main" id="{716AB417-1335-A753-68E4-4541576B70F5}"/>
                </a:ext>
              </a:extLst>
            </p:cNvPr>
            <p:cNvSpPr/>
            <p:nvPr/>
          </p:nvSpPr>
          <p:spPr>
            <a:xfrm>
              <a:off x="10204576" y="987647"/>
              <a:ext cx="7715" cy="7715"/>
            </a:xfrm>
            <a:custGeom>
              <a:avLst/>
              <a:gdLst>
                <a:gd name="connsiteX0" fmla="*/ 0 w 7715"/>
                <a:gd name="connsiteY0" fmla="*/ 3858 h 7715"/>
                <a:gd name="connsiteX1" fmla="*/ 3858 w 7715"/>
                <a:gd name="connsiteY1" fmla="*/ 7715 h 7715"/>
                <a:gd name="connsiteX2" fmla="*/ 7715 w 7715"/>
                <a:gd name="connsiteY2" fmla="*/ 3858 h 7715"/>
                <a:gd name="connsiteX3" fmla="*/ 3858 w 7715"/>
                <a:gd name="connsiteY3" fmla="*/ 0 h 7715"/>
                <a:gd name="connsiteX4" fmla="*/ 0 w 7715"/>
                <a:gd name="connsiteY4" fmla="*/ 3858 h 77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715" h="7715">
                  <a:moveTo>
                    <a:pt x="0" y="3858"/>
                  </a:moveTo>
                  <a:cubicBezTo>
                    <a:pt x="0" y="6001"/>
                    <a:pt x="1715" y="7715"/>
                    <a:pt x="3858" y="7715"/>
                  </a:cubicBezTo>
                  <a:cubicBezTo>
                    <a:pt x="6001" y="7715"/>
                    <a:pt x="7715" y="6001"/>
                    <a:pt x="7715" y="3858"/>
                  </a:cubicBezTo>
                  <a:cubicBezTo>
                    <a:pt x="7715" y="1714"/>
                    <a:pt x="5953" y="0"/>
                    <a:pt x="3858" y="0"/>
                  </a:cubicBezTo>
                  <a:cubicBezTo>
                    <a:pt x="1762" y="0"/>
                    <a:pt x="0" y="1714"/>
                    <a:pt x="0" y="3858"/>
                  </a:cubicBezTo>
                  <a:close/>
                </a:path>
              </a:pathLst>
            </a:custGeom>
            <a:solidFill>
              <a:srgbClr val="374555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020" name="Gráfico 11">
              <a:extLst>
                <a:ext uri="{FF2B5EF4-FFF2-40B4-BE49-F238E27FC236}">
                  <a16:creationId xmlns:a16="http://schemas.microsoft.com/office/drawing/2014/main" id="{5C693ED2-8420-BEBA-1388-D9F2FFD9B981}"/>
                </a:ext>
              </a:extLst>
            </p:cNvPr>
            <p:cNvGrpSpPr/>
            <p:nvPr/>
          </p:nvGrpSpPr>
          <p:grpSpPr>
            <a:xfrm>
              <a:off x="10139567" y="988314"/>
              <a:ext cx="34623" cy="34575"/>
              <a:chOff x="10139567" y="988314"/>
              <a:chExt cx="34623" cy="34575"/>
            </a:xfrm>
          </p:grpSpPr>
          <p:sp>
            <p:nvSpPr>
              <p:cNvPr id="1021" name="Forma livre: Forma 1020">
                <a:extLst>
                  <a:ext uri="{FF2B5EF4-FFF2-40B4-BE49-F238E27FC236}">
                    <a16:creationId xmlns:a16="http://schemas.microsoft.com/office/drawing/2014/main" id="{7F656EAE-4430-6D6A-5002-E44902A60525}"/>
                  </a:ext>
                </a:extLst>
              </p:cNvPr>
              <p:cNvSpPr/>
              <p:nvPr/>
            </p:nvSpPr>
            <p:spPr>
              <a:xfrm>
                <a:off x="10156855" y="988314"/>
                <a:ext cx="4762" cy="34575"/>
              </a:xfrm>
              <a:custGeom>
                <a:avLst/>
                <a:gdLst>
                  <a:gd name="connsiteX0" fmla="*/ 0 w 4762"/>
                  <a:gd name="connsiteY0" fmla="*/ 0 h 34575"/>
                  <a:gd name="connsiteX1" fmla="*/ 0 w 4762"/>
                  <a:gd name="connsiteY1" fmla="*/ 34576 h 345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62" h="34575">
                    <a:moveTo>
                      <a:pt x="0" y="0"/>
                    </a:moveTo>
                    <a:lnTo>
                      <a:pt x="0" y="34576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022" name="Forma livre: Forma 1021">
                <a:extLst>
                  <a:ext uri="{FF2B5EF4-FFF2-40B4-BE49-F238E27FC236}">
                    <a16:creationId xmlns:a16="http://schemas.microsoft.com/office/drawing/2014/main" id="{4521AAA3-70ED-581E-7B93-2979AC259424}"/>
                  </a:ext>
                </a:extLst>
              </p:cNvPr>
              <p:cNvSpPr/>
              <p:nvPr/>
            </p:nvSpPr>
            <p:spPr>
              <a:xfrm>
                <a:off x="10139567" y="1005602"/>
                <a:ext cx="34623" cy="4762"/>
              </a:xfrm>
              <a:custGeom>
                <a:avLst/>
                <a:gdLst>
                  <a:gd name="connsiteX0" fmla="*/ 34623 w 34623"/>
                  <a:gd name="connsiteY0" fmla="*/ 0 h 4762"/>
                  <a:gd name="connsiteX1" fmla="*/ 0 w 34623"/>
                  <a:gd name="connsiteY1" fmla="*/ 0 h 47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4623" h="4762">
                    <a:moveTo>
                      <a:pt x="34623" y="0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023" name="Gráfico 11">
              <a:extLst>
                <a:ext uri="{FF2B5EF4-FFF2-40B4-BE49-F238E27FC236}">
                  <a16:creationId xmlns:a16="http://schemas.microsoft.com/office/drawing/2014/main" id="{CCD69E50-AAC1-B4DD-0A48-5CC19E4B9FF5}"/>
                </a:ext>
              </a:extLst>
            </p:cNvPr>
            <p:cNvGrpSpPr/>
            <p:nvPr/>
          </p:nvGrpSpPr>
          <p:grpSpPr>
            <a:xfrm>
              <a:off x="10025029" y="1053989"/>
              <a:ext cx="218360" cy="265842"/>
              <a:chOff x="10025029" y="1053989"/>
              <a:chExt cx="218360" cy="265842"/>
            </a:xfrm>
            <a:noFill/>
          </p:grpSpPr>
          <p:sp>
            <p:nvSpPr>
              <p:cNvPr id="1024" name="Forma livre: Forma 1023">
                <a:extLst>
                  <a:ext uri="{FF2B5EF4-FFF2-40B4-BE49-F238E27FC236}">
                    <a16:creationId xmlns:a16="http://schemas.microsoft.com/office/drawing/2014/main" id="{2838D52F-FA63-BE8E-8A85-36565A232F09}"/>
                  </a:ext>
                </a:extLst>
              </p:cNvPr>
              <p:cNvSpPr/>
              <p:nvPr/>
            </p:nvSpPr>
            <p:spPr>
              <a:xfrm>
                <a:off x="10025029" y="1053989"/>
                <a:ext cx="151733" cy="244744"/>
              </a:xfrm>
              <a:custGeom>
                <a:avLst/>
                <a:gdLst>
                  <a:gd name="connsiteX0" fmla="*/ 151733 w 151733"/>
                  <a:gd name="connsiteY0" fmla="*/ 9954 h 244744"/>
                  <a:gd name="connsiteX1" fmla="*/ 109156 w 151733"/>
                  <a:gd name="connsiteY1" fmla="*/ 0 h 244744"/>
                  <a:gd name="connsiteX2" fmla="*/ 0 w 151733"/>
                  <a:gd name="connsiteY2" fmla="*/ 125016 h 244744"/>
                  <a:gd name="connsiteX3" fmla="*/ 0 w 151733"/>
                  <a:gd name="connsiteY3" fmla="*/ 244745 h 2447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51733" h="244744">
                    <a:moveTo>
                      <a:pt x="151733" y="9954"/>
                    </a:moveTo>
                    <a:cubicBezTo>
                      <a:pt x="138636" y="3572"/>
                      <a:pt x="124254" y="0"/>
                      <a:pt x="109156" y="0"/>
                    </a:cubicBezTo>
                    <a:cubicBezTo>
                      <a:pt x="49101" y="0"/>
                      <a:pt x="0" y="56245"/>
                      <a:pt x="0" y="125016"/>
                    </a:cubicBezTo>
                    <a:lnTo>
                      <a:pt x="0" y="244745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025" name="Forma livre: Forma 1024">
                <a:extLst>
                  <a:ext uri="{FF2B5EF4-FFF2-40B4-BE49-F238E27FC236}">
                    <a16:creationId xmlns:a16="http://schemas.microsoft.com/office/drawing/2014/main" id="{F39EDB2C-A9B8-935F-5737-7D60F30CE7E1}"/>
                  </a:ext>
                </a:extLst>
              </p:cNvPr>
              <p:cNvSpPr/>
              <p:nvPr/>
            </p:nvSpPr>
            <p:spPr>
              <a:xfrm>
                <a:off x="10212291" y="1091755"/>
                <a:ext cx="31099" cy="228076"/>
              </a:xfrm>
              <a:custGeom>
                <a:avLst/>
                <a:gdLst>
                  <a:gd name="connsiteX0" fmla="*/ 31099 w 31099"/>
                  <a:gd name="connsiteY0" fmla="*/ 228076 h 228076"/>
                  <a:gd name="connsiteX1" fmla="*/ 31099 w 31099"/>
                  <a:gd name="connsiteY1" fmla="*/ 87249 h 228076"/>
                  <a:gd name="connsiteX2" fmla="*/ 2334 w 31099"/>
                  <a:gd name="connsiteY2" fmla="*/ 2905 h 228076"/>
                  <a:gd name="connsiteX3" fmla="*/ 0 w 31099"/>
                  <a:gd name="connsiteY3" fmla="*/ 0 h 2280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1099" h="228076">
                    <a:moveTo>
                      <a:pt x="31099" y="228076"/>
                    </a:moveTo>
                    <a:lnTo>
                      <a:pt x="31099" y="87249"/>
                    </a:lnTo>
                    <a:cubicBezTo>
                      <a:pt x="31099" y="54816"/>
                      <a:pt x="20193" y="25194"/>
                      <a:pt x="2334" y="2905"/>
                    </a:cubicBezTo>
                    <a:lnTo>
                      <a:pt x="0" y="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026" name="Forma livre: Forma 1025">
              <a:extLst>
                <a:ext uri="{FF2B5EF4-FFF2-40B4-BE49-F238E27FC236}">
                  <a16:creationId xmlns:a16="http://schemas.microsoft.com/office/drawing/2014/main" id="{5294A42A-D2CB-EB3D-5CC1-50CAE4795AF6}"/>
                </a:ext>
              </a:extLst>
            </p:cNvPr>
            <p:cNvSpPr/>
            <p:nvPr/>
          </p:nvSpPr>
          <p:spPr>
            <a:xfrm>
              <a:off x="10091895" y="1063942"/>
              <a:ext cx="105394" cy="94059"/>
            </a:xfrm>
            <a:custGeom>
              <a:avLst/>
              <a:gdLst>
                <a:gd name="connsiteX0" fmla="*/ 99298 w 105394"/>
                <a:gd name="connsiteY0" fmla="*/ 60246 h 94059"/>
                <a:gd name="connsiteX1" fmla="*/ 105394 w 105394"/>
                <a:gd name="connsiteY1" fmla="*/ 94059 h 94059"/>
                <a:gd name="connsiteX2" fmla="*/ 66151 w 105394"/>
                <a:gd name="connsiteY2" fmla="*/ 94059 h 94059"/>
                <a:gd name="connsiteX3" fmla="*/ 0 w 105394"/>
                <a:gd name="connsiteY3" fmla="*/ 0 h 940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5394" h="94059">
                  <a:moveTo>
                    <a:pt x="99298" y="60246"/>
                  </a:moveTo>
                  <a:cubicBezTo>
                    <a:pt x="102727" y="69628"/>
                    <a:pt x="104346" y="82201"/>
                    <a:pt x="105394" y="94059"/>
                  </a:cubicBezTo>
                  <a:lnTo>
                    <a:pt x="66151" y="94059"/>
                  </a:lnTo>
                  <a:cubicBezTo>
                    <a:pt x="66151" y="50863"/>
                    <a:pt x="35814" y="0"/>
                    <a:pt x="0" y="0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27" name="Forma livre: Forma 1026">
              <a:extLst>
                <a:ext uri="{FF2B5EF4-FFF2-40B4-BE49-F238E27FC236}">
                  <a16:creationId xmlns:a16="http://schemas.microsoft.com/office/drawing/2014/main" id="{81C74D11-5636-1031-9F3E-9303594A2192}"/>
                </a:ext>
              </a:extLst>
            </p:cNvPr>
            <p:cNvSpPr/>
            <p:nvPr/>
          </p:nvSpPr>
          <p:spPr>
            <a:xfrm>
              <a:off x="10136758" y="1042749"/>
              <a:ext cx="77866" cy="49148"/>
            </a:xfrm>
            <a:custGeom>
              <a:avLst/>
              <a:gdLst>
                <a:gd name="connsiteX0" fmla="*/ 0 w 77866"/>
                <a:gd name="connsiteY0" fmla="*/ 49149 h 49148"/>
                <a:gd name="connsiteX1" fmla="*/ 77867 w 77866"/>
                <a:gd name="connsiteY1" fmla="*/ 0 h 491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7866" h="49148">
                  <a:moveTo>
                    <a:pt x="0" y="49149"/>
                  </a:moveTo>
                  <a:lnTo>
                    <a:pt x="77867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28" name="Forma livre: Forma 1027">
              <a:extLst>
                <a:ext uri="{FF2B5EF4-FFF2-40B4-BE49-F238E27FC236}">
                  <a16:creationId xmlns:a16="http://schemas.microsoft.com/office/drawing/2014/main" id="{07D2606D-D66E-1FCF-9B4E-3943AEF87386}"/>
                </a:ext>
              </a:extLst>
            </p:cNvPr>
            <p:cNvSpPr/>
            <p:nvPr/>
          </p:nvSpPr>
          <p:spPr>
            <a:xfrm>
              <a:off x="10153664" y="1074468"/>
              <a:ext cx="81010" cy="51149"/>
            </a:xfrm>
            <a:custGeom>
              <a:avLst/>
              <a:gdLst>
                <a:gd name="connsiteX0" fmla="*/ 81010 w 81010"/>
                <a:gd name="connsiteY0" fmla="*/ 0 h 51149"/>
                <a:gd name="connsiteX1" fmla="*/ 0 w 81010"/>
                <a:gd name="connsiteY1" fmla="*/ 51149 h 511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1010" h="51149">
                  <a:moveTo>
                    <a:pt x="81010" y="0"/>
                  </a:moveTo>
                  <a:lnTo>
                    <a:pt x="0" y="51149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29" name="Forma livre: Forma 1028">
              <a:extLst>
                <a:ext uri="{FF2B5EF4-FFF2-40B4-BE49-F238E27FC236}">
                  <a16:creationId xmlns:a16="http://schemas.microsoft.com/office/drawing/2014/main" id="{89E4E6F3-05DD-CFAC-BD31-23ECD8E4CAE7}"/>
                </a:ext>
              </a:extLst>
            </p:cNvPr>
            <p:cNvSpPr/>
            <p:nvPr/>
          </p:nvSpPr>
          <p:spPr>
            <a:xfrm>
              <a:off x="10210113" y="1041406"/>
              <a:ext cx="29121" cy="34404"/>
            </a:xfrm>
            <a:custGeom>
              <a:avLst/>
              <a:gdLst>
                <a:gd name="connsiteX0" fmla="*/ 25134 w 29121"/>
                <a:gd name="connsiteY0" fmla="*/ 10535 h 34404"/>
                <a:gd name="connsiteX1" fmla="*/ 24562 w 29121"/>
                <a:gd name="connsiteY1" fmla="*/ 33061 h 34404"/>
                <a:gd name="connsiteX2" fmla="*/ 3988 w 29121"/>
                <a:gd name="connsiteY2" fmla="*/ 23870 h 34404"/>
                <a:gd name="connsiteX3" fmla="*/ 4560 w 29121"/>
                <a:gd name="connsiteY3" fmla="*/ 1343 h 34404"/>
                <a:gd name="connsiteX4" fmla="*/ 25134 w 29121"/>
                <a:gd name="connsiteY4" fmla="*/ 10535 h 344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9121" h="34404">
                  <a:moveTo>
                    <a:pt x="25134" y="10535"/>
                  </a:moveTo>
                  <a:cubicBezTo>
                    <a:pt x="30658" y="19298"/>
                    <a:pt x="30420" y="29394"/>
                    <a:pt x="24562" y="33061"/>
                  </a:cubicBezTo>
                  <a:cubicBezTo>
                    <a:pt x="18704" y="36729"/>
                    <a:pt x="9513" y="32633"/>
                    <a:pt x="3988" y="23870"/>
                  </a:cubicBezTo>
                  <a:cubicBezTo>
                    <a:pt x="-1536" y="15107"/>
                    <a:pt x="-1298" y="5010"/>
                    <a:pt x="4560" y="1343"/>
                  </a:cubicBezTo>
                  <a:cubicBezTo>
                    <a:pt x="10417" y="-2324"/>
                    <a:pt x="19609" y="1772"/>
                    <a:pt x="25134" y="10535"/>
                  </a:cubicBez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30" name="Forma livre: Forma 1029">
              <a:extLst>
                <a:ext uri="{FF2B5EF4-FFF2-40B4-BE49-F238E27FC236}">
                  <a16:creationId xmlns:a16="http://schemas.microsoft.com/office/drawing/2014/main" id="{8E74A42A-C7D2-7EF4-2C3E-6479E5F13566}"/>
                </a:ext>
              </a:extLst>
            </p:cNvPr>
            <p:cNvSpPr/>
            <p:nvPr/>
          </p:nvSpPr>
          <p:spPr>
            <a:xfrm>
              <a:off x="10048508" y="1187148"/>
              <a:ext cx="194500" cy="4762"/>
            </a:xfrm>
            <a:custGeom>
              <a:avLst/>
              <a:gdLst>
                <a:gd name="connsiteX0" fmla="*/ 0 w 194500"/>
                <a:gd name="connsiteY0" fmla="*/ 0 h 4762"/>
                <a:gd name="connsiteX1" fmla="*/ 194500 w 194500"/>
                <a:gd name="connsiteY1" fmla="*/ 0 h 47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94500" h="4762">
                  <a:moveTo>
                    <a:pt x="0" y="0"/>
                  </a:moveTo>
                  <a:lnTo>
                    <a:pt x="19450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31" name="Forma livre: Forma 1030">
              <a:extLst>
                <a:ext uri="{FF2B5EF4-FFF2-40B4-BE49-F238E27FC236}">
                  <a16:creationId xmlns:a16="http://schemas.microsoft.com/office/drawing/2014/main" id="{2FFF5A99-1398-93C6-B6D0-25739055DD1B}"/>
                </a:ext>
              </a:extLst>
            </p:cNvPr>
            <p:cNvSpPr/>
            <p:nvPr/>
          </p:nvSpPr>
          <p:spPr>
            <a:xfrm>
              <a:off x="10098372" y="1256728"/>
              <a:ext cx="71675" cy="61864"/>
            </a:xfrm>
            <a:custGeom>
              <a:avLst/>
              <a:gdLst>
                <a:gd name="connsiteX0" fmla="*/ 0 w 71675"/>
                <a:gd name="connsiteY0" fmla="*/ 61865 h 61864"/>
                <a:gd name="connsiteX1" fmla="*/ 0 w 71675"/>
                <a:gd name="connsiteY1" fmla="*/ 0 h 61864"/>
                <a:gd name="connsiteX2" fmla="*/ 71676 w 71675"/>
                <a:gd name="connsiteY2" fmla="*/ 0 h 61864"/>
                <a:gd name="connsiteX3" fmla="*/ 71676 w 71675"/>
                <a:gd name="connsiteY3" fmla="*/ 61865 h 618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1675" h="61864">
                  <a:moveTo>
                    <a:pt x="0" y="61865"/>
                  </a:moveTo>
                  <a:lnTo>
                    <a:pt x="0" y="0"/>
                  </a:lnTo>
                  <a:lnTo>
                    <a:pt x="71676" y="0"/>
                  </a:lnTo>
                  <a:lnTo>
                    <a:pt x="71676" y="61865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32" name="Forma livre: Forma 1031">
              <a:extLst>
                <a:ext uri="{FF2B5EF4-FFF2-40B4-BE49-F238E27FC236}">
                  <a16:creationId xmlns:a16="http://schemas.microsoft.com/office/drawing/2014/main" id="{EA71D151-48BB-A08E-2BA6-456F8B837E64}"/>
                </a:ext>
              </a:extLst>
            </p:cNvPr>
            <p:cNvSpPr/>
            <p:nvPr/>
          </p:nvSpPr>
          <p:spPr>
            <a:xfrm>
              <a:off x="10134186" y="1257871"/>
              <a:ext cx="4762" cy="61340"/>
            </a:xfrm>
            <a:custGeom>
              <a:avLst/>
              <a:gdLst>
                <a:gd name="connsiteX0" fmla="*/ 0 w 4762"/>
                <a:gd name="connsiteY0" fmla="*/ 0 h 61340"/>
                <a:gd name="connsiteX1" fmla="*/ 0 w 4762"/>
                <a:gd name="connsiteY1" fmla="*/ 61341 h 613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762" h="61340">
                  <a:moveTo>
                    <a:pt x="0" y="0"/>
                  </a:moveTo>
                  <a:lnTo>
                    <a:pt x="0" y="61341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33" name="Forma livre: Forma 1032">
              <a:extLst>
                <a:ext uri="{FF2B5EF4-FFF2-40B4-BE49-F238E27FC236}">
                  <a16:creationId xmlns:a16="http://schemas.microsoft.com/office/drawing/2014/main" id="{AB298C95-04B3-17B3-D4B7-5BFCC403ACB8}"/>
                </a:ext>
              </a:extLst>
            </p:cNvPr>
            <p:cNvSpPr/>
            <p:nvPr/>
          </p:nvSpPr>
          <p:spPr>
            <a:xfrm>
              <a:off x="10000455" y="1319832"/>
              <a:ext cx="267509" cy="4762"/>
            </a:xfrm>
            <a:custGeom>
              <a:avLst/>
              <a:gdLst>
                <a:gd name="connsiteX0" fmla="*/ 0 w 267509"/>
                <a:gd name="connsiteY0" fmla="*/ 0 h 4762"/>
                <a:gd name="connsiteX1" fmla="*/ 267510 w 267509"/>
                <a:gd name="connsiteY1" fmla="*/ 0 h 47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67509" h="4762">
                  <a:moveTo>
                    <a:pt x="0" y="0"/>
                  </a:moveTo>
                  <a:lnTo>
                    <a:pt x="26751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034" name="Gráfico 11">
            <a:extLst>
              <a:ext uri="{FF2B5EF4-FFF2-40B4-BE49-F238E27FC236}">
                <a16:creationId xmlns:a16="http://schemas.microsoft.com/office/drawing/2014/main" id="{0D8EA6CE-5A3A-C218-6942-829CDD959B1F}"/>
              </a:ext>
            </a:extLst>
          </p:cNvPr>
          <p:cNvGrpSpPr/>
          <p:nvPr/>
        </p:nvGrpSpPr>
        <p:grpSpPr>
          <a:xfrm>
            <a:off x="10621008" y="1019365"/>
            <a:ext cx="268795" cy="268652"/>
            <a:chOff x="10621008" y="1019365"/>
            <a:chExt cx="268795" cy="268652"/>
          </a:xfrm>
          <a:noFill/>
        </p:grpSpPr>
        <p:sp>
          <p:nvSpPr>
            <p:cNvPr id="1035" name="Forma livre: Forma 1034">
              <a:extLst>
                <a:ext uri="{FF2B5EF4-FFF2-40B4-BE49-F238E27FC236}">
                  <a16:creationId xmlns:a16="http://schemas.microsoft.com/office/drawing/2014/main" id="{AA3B8312-AF75-0FC0-2871-DDEB552C1F04}"/>
                </a:ext>
              </a:extLst>
            </p:cNvPr>
            <p:cNvSpPr/>
            <p:nvPr/>
          </p:nvSpPr>
          <p:spPr>
            <a:xfrm>
              <a:off x="10633486" y="1019365"/>
              <a:ext cx="151399" cy="215931"/>
            </a:xfrm>
            <a:custGeom>
              <a:avLst/>
              <a:gdLst>
                <a:gd name="connsiteX0" fmla="*/ 71866 w 151399"/>
                <a:gd name="connsiteY0" fmla="*/ 10477 h 215931"/>
                <a:gd name="connsiteX1" fmla="*/ 73438 w 151399"/>
                <a:gd name="connsiteY1" fmla="*/ 64627 h 215931"/>
                <a:gd name="connsiteX2" fmla="*/ 35481 w 151399"/>
                <a:gd name="connsiteY2" fmla="*/ 90440 h 215931"/>
                <a:gd name="connsiteX3" fmla="*/ 38529 w 151399"/>
                <a:gd name="connsiteY3" fmla="*/ 114729 h 215931"/>
                <a:gd name="connsiteX4" fmla="*/ 68151 w 151399"/>
                <a:gd name="connsiteY4" fmla="*/ 112443 h 215931"/>
                <a:gd name="connsiteX5" fmla="*/ 113681 w 151399"/>
                <a:gd name="connsiteY5" fmla="*/ 135969 h 215931"/>
                <a:gd name="connsiteX6" fmla="*/ 69914 w 151399"/>
                <a:gd name="connsiteY6" fmla="*/ 215932 h 215931"/>
                <a:gd name="connsiteX7" fmla="*/ 54483 w 151399"/>
                <a:gd name="connsiteY7" fmla="*/ 161782 h 215931"/>
                <a:gd name="connsiteX8" fmla="*/ 32480 w 151399"/>
                <a:gd name="connsiteY8" fmla="*/ 148876 h 215931"/>
                <a:gd name="connsiteX9" fmla="*/ 38576 w 151399"/>
                <a:gd name="connsiteY9" fmla="*/ 116967 h 215931"/>
                <a:gd name="connsiteX10" fmla="*/ 0 w 151399"/>
                <a:gd name="connsiteY10" fmla="*/ 78057 h 215931"/>
                <a:gd name="connsiteX11" fmla="*/ 122015 w 151399"/>
                <a:gd name="connsiteY11" fmla="*/ 0 h 215931"/>
                <a:gd name="connsiteX12" fmla="*/ 151400 w 151399"/>
                <a:gd name="connsiteY12" fmla="*/ 3239 h 2159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51399" h="215931">
                  <a:moveTo>
                    <a:pt x="71866" y="10477"/>
                  </a:moveTo>
                  <a:lnTo>
                    <a:pt x="73438" y="64627"/>
                  </a:lnTo>
                  <a:lnTo>
                    <a:pt x="35481" y="90440"/>
                  </a:lnTo>
                  <a:lnTo>
                    <a:pt x="38529" y="114729"/>
                  </a:lnTo>
                  <a:lnTo>
                    <a:pt x="68151" y="112443"/>
                  </a:lnTo>
                  <a:lnTo>
                    <a:pt x="113681" y="135969"/>
                  </a:lnTo>
                  <a:lnTo>
                    <a:pt x="69914" y="215932"/>
                  </a:lnTo>
                  <a:lnTo>
                    <a:pt x="54483" y="161782"/>
                  </a:lnTo>
                  <a:lnTo>
                    <a:pt x="32480" y="148876"/>
                  </a:lnTo>
                  <a:lnTo>
                    <a:pt x="38576" y="116967"/>
                  </a:lnTo>
                  <a:lnTo>
                    <a:pt x="0" y="78057"/>
                  </a:lnTo>
                  <a:cubicBezTo>
                    <a:pt x="21288" y="31956"/>
                    <a:pt x="67913" y="0"/>
                    <a:pt x="122015" y="0"/>
                  </a:cubicBezTo>
                  <a:cubicBezTo>
                    <a:pt x="132112" y="0"/>
                    <a:pt x="141970" y="1095"/>
                    <a:pt x="151400" y="3239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36" name="Forma livre: Forma 1035">
              <a:extLst>
                <a:ext uri="{FF2B5EF4-FFF2-40B4-BE49-F238E27FC236}">
                  <a16:creationId xmlns:a16="http://schemas.microsoft.com/office/drawing/2014/main" id="{FAE71719-BE71-FBE9-1262-B616ADC60A93}"/>
                </a:ext>
              </a:extLst>
            </p:cNvPr>
            <p:cNvSpPr/>
            <p:nvPr/>
          </p:nvSpPr>
          <p:spPr>
            <a:xfrm>
              <a:off x="10621008" y="1031272"/>
              <a:ext cx="268795" cy="256746"/>
            </a:xfrm>
            <a:custGeom>
              <a:avLst/>
              <a:gdLst>
                <a:gd name="connsiteX0" fmla="*/ 264176 w 268795"/>
                <a:gd name="connsiteY0" fmla="*/ 89487 h 256746"/>
                <a:gd name="connsiteX1" fmla="*/ 227457 w 268795"/>
                <a:gd name="connsiteY1" fmla="*/ 156829 h 256746"/>
                <a:gd name="connsiteX2" fmla="*/ 212931 w 268795"/>
                <a:gd name="connsiteY2" fmla="*/ 176879 h 256746"/>
                <a:gd name="connsiteX3" fmla="*/ 201692 w 268795"/>
                <a:gd name="connsiteY3" fmla="*/ 121206 h 256746"/>
                <a:gd name="connsiteX4" fmla="*/ 187738 w 268795"/>
                <a:gd name="connsiteY4" fmla="*/ 120444 h 256746"/>
                <a:gd name="connsiteX5" fmla="*/ 182404 w 268795"/>
                <a:gd name="connsiteY5" fmla="*/ 80200 h 256746"/>
                <a:gd name="connsiteX6" fmla="*/ 221123 w 268795"/>
                <a:gd name="connsiteY6" fmla="*/ 75628 h 256746"/>
                <a:gd name="connsiteX7" fmla="*/ 236315 w 268795"/>
                <a:gd name="connsiteY7" fmla="*/ 45482 h 256746"/>
                <a:gd name="connsiteX8" fmla="*/ 182308 w 268795"/>
                <a:gd name="connsiteY8" fmla="*/ 48196 h 256746"/>
                <a:gd name="connsiteX9" fmla="*/ 173403 w 268795"/>
                <a:gd name="connsiteY9" fmla="*/ 39481 h 256746"/>
                <a:gd name="connsiteX10" fmla="*/ 189976 w 268795"/>
                <a:gd name="connsiteY10" fmla="*/ 0 h 256746"/>
                <a:gd name="connsiteX11" fmla="*/ 268795 w 268795"/>
                <a:gd name="connsiteY11" fmla="*/ 122396 h 256746"/>
                <a:gd name="connsiteX12" fmla="*/ 134350 w 268795"/>
                <a:gd name="connsiteY12" fmla="*/ 256746 h 256746"/>
                <a:gd name="connsiteX13" fmla="*/ 0 w 268795"/>
                <a:gd name="connsiteY13" fmla="*/ 122396 h 256746"/>
                <a:gd name="connsiteX14" fmla="*/ 3048 w 268795"/>
                <a:gd name="connsiteY14" fmla="*/ 93774 h 2567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68795" h="256746">
                  <a:moveTo>
                    <a:pt x="264176" y="89487"/>
                  </a:moveTo>
                  <a:lnTo>
                    <a:pt x="227457" y="156829"/>
                  </a:lnTo>
                  <a:lnTo>
                    <a:pt x="212931" y="176879"/>
                  </a:lnTo>
                  <a:lnTo>
                    <a:pt x="201692" y="121206"/>
                  </a:lnTo>
                  <a:lnTo>
                    <a:pt x="187738" y="120444"/>
                  </a:lnTo>
                  <a:cubicBezTo>
                    <a:pt x="187738" y="120444"/>
                    <a:pt x="150543" y="106775"/>
                    <a:pt x="182404" y="80200"/>
                  </a:cubicBezTo>
                  <a:lnTo>
                    <a:pt x="221123" y="75628"/>
                  </a:lnTo>
                  <a:lnTo>
                    <a:pt x="236315" y="45482"/>
                  </a:lnTo>
                  <a:lnTo>
                    <a:pt x="182308" y="48196"/>
                  </a:lnTo>
                  <a:lnTo>
                    <a:pt x="173403" y="39481"/>
                  </a:lnTo>
                  <a:lnTo>
                    <a:pt x="189976" y="0"/>
                  </a:lnTo>
                  <a:cubicBezTo>
                    <a:pt x="236458" y="21145"/>
                    <a:pt x="268795" y="67961"/>
                    <a:pt x="268795" y="122396"/>
                  </a:cubicBezTo>
                  <a:cubicBezTo>
                    <a:pt x="268795" y="196596"/>
                    <a:pt x="208645" y="256746"/>
                    <a:pt x="134350" y="256746"/>
                  </a:cubicBezTo>
                  <a:cubicBezTo>
                    <a:pt x="60055" y="256746"/>
                    <a:pt x="0" y="196596"/>
                    <a:pt x="0" y="122396"/>
                  </a:cubicBezTo>
                  <a:cubicBezTo>
                    <a:pt x="0" y="112585"/>
                    <a:pt x="1048" y="103013"/>
                    <a:pt x="3048" y="93774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037" name="Gráfico 11">
            <a:extLst>
              <a:ext uri="{FF2B5EF4-FFF2-40B4-BE49-F238E27FC236}">
                <a16:creationId xmlns:a16="http://schemas.microsoft.com/office/drawing/2014/main" id="{A3DA5961-DDDB-258B-D80F-BC58B460733E}"/>
              </a:ext>
            </a:extLst>
          </p:cNvPr>
          <p:cNvGrpSpPr/>
          <p:nvPr/>
        </p:nvGrpSpPr>
        <p:grpSpPr>
          <a:xfrm>
            <a:off x="11278984" y="982266"/>
            <a:ext cx="190046" cy="342947"/>
            <a:chOff x="11278984" y="982266"/>
            <a:chExt cx="190046" cy="342947"/>
          </a:xfrm>
          <a:noFill/>
        </p:grpSpPr>
        <p:sp>
          <p:nvSpPr>
            <p:cNvPr id="1038" name="Forma livre: Forma 1037">
              <a:extLst>
                <a:ext uri="{FF2B5EF4-FFF2-40B4-BE49-F238E27FC236}">
                  <a16:creationId xmlns:a16="http://schemas.microsoft.com/office/drawing/2014/main" id="{07B265E6-BD08-37F1-8004-5E26702DF3E9}"/>
                </a:ext>
              </a:extLst>
            </p:cNvPr>
            <p:cNvSpPr/>
            <p:nvPr/>
          </p:nvSpPr>
          <p:spPr>
            <a:xfrm>
              <a:off x="11327573" y="982266"/>
              <a:ext cx="92916" cy="103060"/>
            </a:xfrm>
            <a:custGeom>
              <a:avLst/>
              <a:gdLst>
                <a:gd name="connsiteX0" fmla="*/ 50054 w 92916"/>
                <a:gd name="connsiteY0" fmla="*/ 0 h 103060"/>
                <a:gd name="connsiteX1" fmla="*/ 92916 w 92916"/>
                <a:gd name="connsiteY1" fmla="*/ 42862 h 103060"/>
                <a:gd name="connsiteX2" fmla="*/ 92916 w 92916"/>
                <a:gd name="connsiteY2" fmla="*/ 60198 h 103060"/>
                <a:gd name="connsiteX3" fmla="*/ 50054 w 92916"/>
                <a:gd name="connsiteY3" fmla="*/ 103060 h 103060"/>
                <a:gd name="connsiteX4" fmla="*/ 42862 w 92916"/>
                <a:gd name="connsiteY4" fmla="*/ 103060 h 103060"/>
                <a:gd name="connsiteX5" fmla="*/ 0 w 92916"/>
                <a:gd name="connsiteY5" fmla="*/ 60198 h 103060"/>
                <a:gd name="connsiteX6" fmla="*/ 0 w 92916"/>
                <a:gd name="connsiteY6" fmla="*/ 42862 h 103060"/>
                <a:gd name="connsiteX7" fmla="*/ 42862 w 92916"/>
                <a:gd name="connsiteY7" fmla="*/ 0 h 1030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2916" h="103060">
                  <a:moveTo>
                    <a:pt x="50054" y="0"/>
                  </a:moveTo>
                  <a:cubicBezTo>
                    <a:pt x="73726" y="0"/>
                    <a:pt x="92916" y="19190"/>
                    <a:pt x="92916" y="42862"/>
                  </a:cubicBezTo>
                  <a:lnTo>
                    <a:pt x="92916" y="60198"/>
                  </a:lnTo>
                  <a:cubicBezTo>
                    <a:pt x="92916" y="83870"/>
                    <a:pt x="73726" y="103060"/>
                    <a:pt x="50054" y="103060"/>
                  </a:cubicBezTo>
                  <a:lnTo>
                    <a:pt x="42862" y="103060"/>
                  </a:lnTo>
                  <a:cubicBezTo>
                    <a:pt x="19190" y="103060"/>
                    <a:pt x="0" y="83870"/>
                    <a:pt x="0" y="60198"/>
                  </a:cubicBezTo>
                  <a:lnTo>
                    <a:pt x="0" y="42862"/>
                  </a:lnTo>
                  <a:cubicBezTo>
                    <a:pt x="0" y="19190"/>
                    <a:pt x="19190" y="0"/>
                    <a:pt x="42862" y="0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39" name="Forma livre: Forma 1038">
              <a:extLst>
                <a:ext uri="{FF2B5EF4-FFF2-40B4-BE49-F238E27FC236}">
                  <a16:creationId xmlns:a16="http://schemas.microsoft.com/office/drawing/2014/main" id="{D2479FAF-08E5-B07C-7681-E58C87E77286}"/>
                </a:ext>
              </a:extLst>
            </p:cNvPr>
            <p:cNvSpPr/>
            <p:nvPr/>
          </p:nvSpPr>
          <p:spPr>
            <a:xfrm>
              <a:off x="11327906" y="1045178"/>
              <a:ext cx="92201" cy="11668"/>
            </a:xfrm>
            <a:custGeom>
              <a:avLst/>
              <a:gdLst>
                <a:gd name="connsiteX0" fmla="*/ 92202 w 92201"/>
                <a:gd name="connsiteY0" fmla="*/ 0 h 11668"/>
                <a:gd name="connsiteX1" fmla="*/ 46053 w 92201"/>
                <a:gd name="connsiteY1" fmla="*/ 11668 h 11668"/>
                <a:gd name="connsiteX2" fmla="*/ 0 w 92201"/>
                <a:gd name="connsiteY2" fmla="*/ 48 h 116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2201" h="11668">
                  <a:moveTo>
                    <a:pt x="92202" y="0"/>
                  </a:moveTo>
                  <a:cubicBezTo>
                    <a:pt x="82772" y="7001"/>
                    <a:pt x="65627" y="11668"/>
                    <a:pt x="46053" y="11668"/>
                  </a:cubicBezTo>
                  <a:cubicBezTo>
                    <a:pt x="26479" y="11668"/>
                    <a:pt x="9430" y="7001"/>
                    <a:pt x="0" y="48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40" name="Forma livre: Forma 1039">
              <a:extLst>
                <a:ext uri="{FF2B5EF4-FFF2-40B4-BE49-F238E27FC236}">
                  <a16:creationId xmlns:a16="http://schemas.microsoft.com/office/drawing/2014/main" id="{BC4B5515-D8E9-6B49-45F0-858485735136}"/>
                </a:ext>
              </a:extLst>
            </p:cNvPr>
            <p:cNvSpPr/>
            <p:nvPr/>
          </p:nvSpPr>
          <p:spPr>
            <a:xfrm>
              <a:off x="11328192" y="1008650"/>
              <a:ext cx="91582" cy="11477"/>
            </a:xfrm>
            <a:custGeom>
              <a:avLst/>
              <a:gdLst>
                <a:gd name="connsiteX0" fmla="*/ 0 w 91582"/>
                <a:gd name="connsiteY0" fmla="*/ 11382 h 11477"/>
                <a:gd name="connsiteX1" fmla="*/ 45720 w 91582"/>
                <a:gd name="connsiteY1" fmla="*/ 0 h 11477"/>
                <a:gd name="connsiteX2" fmla="*/ 91583 w 91582"/>
                <a:gd name="connsiteY2" fmla="*/ 11478 h 114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1582" h="11477">
                  <a:moveTo>
                    <a:pt x="0" y="11382"/>
                  </a:moveTo>
                  <a:cubicBezTo>
                    <a:pt x="9525" y="4572"/>
                    <a:pt x="26432" y="0"/>
                    <a:pt x="45720" y="0"/>
                  </a:cubicBezTo>
                  <a:cubicBezTo>
                    <a:pt x="65008" y="0"/>
                    <a:pt x="82105" y="4572"/>
                    <a:pt x="91583" y="11478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041" name="Gráfico 11">
              <a:extLst>
                <a:ext uri="{FF2B5EF4-FFF2-40B4-BE49-F238E27FC236}">
                  <a16:creationId xmlns:a16="http://schemas.microsoft.com/office/drawing/2014/main" id="{82594BB5-636B-6FB1-B198-BA5ED4ABC8F5}"/>
                </a:ext>
              </a:extLst>
            </p:cNvPr>
            <p:cNvGrpSpPr/>
            <p:nvPr/>
          </p:nvGrpSpPr>
          <p:grpSpPr>
            <a:xfrm>
              <a:off x="11287425" y="1025795"/>
              <a:ext cx="173164" cy="60245"/>
              <a:chOff x="11287425" y="1025795"/>
              <a:chExt cx="173164" cy="60245"/>
            </a:xfrm>
            <a:noFill/>
          </p:grpSpPr>
          <p:sp>
            <p:nvSpPr>
              <p:cNvPr id="1042" name="Forma livre: Forma 1041">
                <a:extLst>
                  <a:ext uri="{FF2B5EF4-FFF2-40B4-BE49-F238E27FC236}">
                    <a16:creationId xmlns:a16="http://schemas.microsoft.com/office/drawing/2014/main" id="{3D0D4316-B704-338D-BA39-F9773C45BD3D}"/>
                  </a:ext>
                </a:extLst>
              </p:cNvPr>
              <p:cNvSpPr/>
              <p:nvPr/>
            </p:nvSpPr>
            <p:spPr>
              <a:xfrm>
                <a:off x="11287425" y="1025795"/>
                <a:ext cx="38433" cy="60245"/>
              </a:xfrm>
              <a:custGeom>
                <a:avLst/>
                <a:gdLst>
                  <a:gd name="connsiteX0" fmla="*/ 0 w 38433"/>
                  <a:gd name="connsiteY0" fmla="*/ 60246 h 60245"/>
                  <a:gd name="connsiteX1" fmla="*/ 0 w 38433"/>
                  <a:gd name="connsiteY1" fmla="*/ 30385 h 60245"/>
                  <a:gd name="connsiteX2" fmla="*/ 30385 w 38433"/>
                  <a:gd name="connsiteY2" fmla="*/ 0 h 60245"/>
                  <a:gd name="connsiteX3" fmla="*/ 38433 w 38433"/>
                  <a:gd name="connsiteY3" fmla="*/ 0 h 602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8433" h="60245">
                    <a:moveTo>
                      <a:pt x="0" y="60246"/>
                    </a:moveTo>
                    <a:lnTo>
                      <a:pt x="0" y="30385"/>
                    </a:lnTo>
                    <a:cubicBezTo>
                      <a:pt x="0" y="13668"/>
                      <a:pt x="13668" y="0"/>
                      <a:pt x="30385" y="0"/>
                    </a:cubicBezTo>
                    <a:lnTo>
                      <a:pt x="38433" y="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043" name="Forma livre: Forma 1042">
                <a:extLst>
                  <a:ext uri="{FF2B5EF4-FFF2-40B4-BE49-F238E27FC236}">
                    <a16:creationId xmlns:a16="http://schemas.microsoft.com/office/drawing/2014/main" id="{4D66AE13-7558-A5FC-7FE7-CF8C9165E939}"/>
                  </a:ext>
                </a:extLst>
              </p:cNvPr>
              <p:cNvSpPr/>
              <p:nvPr/>
            </p:nvSpPr>
            <p:spPr>
              <a:xfrm>
                <a:off x="11422156" y="1025795"/>
                <a:ext cx="38433" cy="60245"/>
              </a:xfrm>
              <a:custGeom>
                <a:avLst/>
                <a:gdLst>
                  <a:gd name="connsiteX0" fmla="*/ 38433 w 38433"/>
                  <a:gd name="connsiteY0" fmla="*/ 60246 h 60245"/>
                  <a:gd name="connsiteX1" fmla="*/ 38433 w 38433"/>
                  <a:gd name="connsiteY1" fmla="*/ 30385 h 60245"/>
                  <a:gd name="connsiteX2" fmla="*/ 8049 w 38433"/>
                  <a:gd name="connsiteY2" fmla="*/ 0 h 60245"/>
                  <a:gd name="connsiteX3" fmla="*/ 0 w 38433"/>
                  <a:gd name="connsiteY3" fmla="*/ 0 h 602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8433" h="60245">
                    <a:moveTo>
                      <a:pt x="38433" y="60246"/>
                    </a:moveTo>
                    <a:lnTo>
                      <a:pt x="38433" y="30385"/>
                    </a:lnTo>
                    <a:cubicBezTo>
                      <a:pt x="38433" y="13668"/>
                      <a:pt x="24765" y="0"/>
                      <a:pt x="8049" y="0"/>
                    </a:cubicBezTo>
                    <a:lnTo>
                      <a:pt x="0" y="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044" name="Gráfico 11">
              <a:extLst>
                <a:ext uri="{FF2B5EF4-FFF2-40B4-BE49-F238E27FC236}">
                  <a16:creationId xmlns:a16="http://schemas.microsoft.com/office/drawing/2014/main" id="{D6D95A4F-83F6-4837-A875-8892A4411A05}"/>
                </a:ext>
              </a:extLst>
            </p:cNvPr>
            <p:cNvGrpSpPr/>
            <p:nvPr/>
          </p:nvGrpSpPr>
          <p:grpSpPr>
            <a:xfrm>
              <a:off x="11278984" y="1069276"/>
              <a:ext cx="190046" cy="151209"/>
              <a:chOff x="11278984" y="1069276"/>
              <a:chExt cx="190046" cy="151209"/>
            </a:xfrm>
            <a:noFill/>
          </p:grpSpPr>
          <p:grpSp>
            <p:nvGrpSpPr>
              <p:cNvPr id="1045" name="Gráfico 11">
                <a:extLst>
                  <a:ext uri="{FF2B5EF4-FFF2-40B4-BE49-F238E27FC236}">
                    <a16:creationId xmlns:a16="http://schemas.microsoft.com/office/drawing/2014/main" id="{B655CE13-12FD-EF8C-94E4-A95D8CDF7797}"/>
                  </a:ext>
                </a:extLst>
              </p:cNvPr>
              <p:cNvGrpSpPr/>
              <p:nvPr/>
            </p:nvGrpSpPr>
            <p:grpSpPr>
              <a:xfrm>
                <a:off x="11278984" y="1069562"/>
                <a:ext cx="34158" cy="150923"/>
                <a:chOff x="11278984" y="1069562"/>
                <a:chExt cx="34158" cy="150923"/>
              </a:xfrm>
              <a:noFill/>
            </p:grpSpPr>
            <p:sp>
              <p:nvSpPr>
                <p:cNvPr id="1046" name="Forma livre: Forma 1045">
                  <a:extLst>
                    <a:ext uri="{FF2B5EF4-FFF2-40B4-BE49-F238E27FC236}">
                      <a16:creationId xmlns:a16="http://schemas.microsoft.com/office/drawing/2014/main" id="{E2A601D2-A8F1-4C14-1186-CA822938131F}"/>
                    </a:ext>
                  </a:extLst>
                </p:cNvPr>
                <p:cNvSpPr/>
                <p:nvPr/>
              </p:nvSpPr>
              <p:spPr>
                <a:xfrm>
                  <a:off x="11278984" y="1069562"/>
                  <a:ext cx="34158" cy="150923"/>
                </a:xfrm>
                <a:custGeom>
                  <a:avLst/>
                  <a:gdLst>
                    <a:gd name="connsiteX0" fmla="*/ 34159 w 34158"/>
                    <a:gd name="connsiteY0" fmla="*/ 0 h 150923"/>
                    <a:gd name="connsiteX1" fmla="*/ 32444 w 34158"/>
                    <a:gd name="connsiteY1" fmla="*/ 476 h 150923"/>
                    <a:gd name="connsiteX2" fmla="*/ 59 w 34158"/>
                    <a:gd name="connsiteY2" fmla="*/ 44148 h 150923"/>
                    <a:gd name="connsiteX3" fmla="*/ 59 w 34158"/>
                    <a:gd name="connsiteY3" fmla="*/ 117967 h 150923"/>
                    <a:gd name="connsiteX4" fmla="*/ 33778 w 34158"/>
                    <a:gd name="connsiteY4" fmla="*/ 150924 h 15092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4158" h="150923">
                      <a:moveTo>
                        <a:pt x="34159" y="0"/>
                      </a:moveTo>
                      <a:cubicBezTo>
                        <a:pt x="33587" y="143"/>
                        <a:pt x="33016" y="333"/>
                        <a:pt x="32444" y="476"/>
                      </a:cubicBezTo>
                      <a:cubicBezTo>
                        <a:pt x="13728" y="6191"/>
                        <a:pt x="59" y="23622"/>
                        <a:pt x="59" y="44148"/>
                      </a:cubicBezTo>
                      <a:lnTo>
                        <a:pt x="59" y="117967"/>
                      </a:lnTo>
                      <a:cubicBezTo>
                        <a:pt x="59" y="117967"/>
                        <a:pt x="-2941" y="150924"/>
                        <a:pt x="33778" y="150924"/>
                      </a:cubicBez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047" name="Forma livre: Forma 1046">
                  <a:extLst>
                    <a:ext uri="{FF2B5EF4-FFF2-40B4-BE49-F238E27FC236}">
                      <a16:creationId xmlns:a16="http://schemas.microsoft.com/office/drawing/2014/main" id="{5D35DA64-D012-BB9B-AF43-EA8F42FE7C9C}"/>
                    </a:ext>
                  </a:extLst>
                </p:cNvPr>
                <p:cNvSpPr/>
                <p:nvPr/>
              </p:nvSpPr>
              <p:spPr>
                <a:xfrm>
                  <a:off x="11279186" y="1183053"/>
                  <a:ext cx="33575" cy="4762"/>
                </a:xfrm>
                <a:custGeom>
                  <a:avLst/>
                  <a:gdLst>
                    <a:gd name="connsiteX0" fmla="*/ 0 w 33575"/>
                    <a:gd name="connsiteY0" fmla="*/ 0 h 4762"/>
                    <a:gd name="connsiteX1" fmla="*/ 33576 w 33575"/>
                    <a:gd name="connsiteY1" fmla="*/ 0 h 476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33575" h="4762">
                      <a:moveTo>
                        <a:pt x="0" y="0"/>
                      </a:moveTo>
                      <a:lnTo>
                        <a:pt x="33576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1048" name="Gráfico 11">
                <a:extLst>
                  <a:ext uri="{FF2B5EF4-FFF2-40B4-BE49-F238E27FC236}">
                    <a16:creationId xmlns:a16="http://schemas.microsoft.com/office/drawing/2014/main" id="{6AA25C1D-8A80-E027-38DE-B8B2DBBE4A1A}"/>
                  </a:ext>
                </a:extLst>
              </p:cNvPr>
              <p:cNvGrpSpPr/>
              <p:nvPr/>
            </p:nvGrpSpPr>
            <p:grpSpPr>
              <a:xfrm>
                <a:off x="11433824" y="1069276"/>
                <a:ext cx="35206" cy="151161"/>
                <a:chOff x="11433824" y="1069276"/>
                <a:chExt cx="35206" cy="151161"/>
              </a:xfrm>
              <a:noFill/>
            </p:grpSpPr>
            <p:sp>
              <p:nvSpPr>
                <p:cNvPr id="1049" name="Forma livre: Forma 1048">
                  <a:extLst>
                    <a:ext uri="{FF2B5EF4-FFF2-40B4-BE49-F238E27FC236}">
                      <a16:creationId xmlns:a16="http://schemas.microsoft.com/office/drawing/2014/main" id="{9034C87F-9B3F-0607-2FEE-8E9DF2A9F085}"/>
                    </a:ext>
                  </a:extLst>
                </p:cNvPr>
                <p:cNvSpPr/>
                <p:nvPr/>
              </p:nvSpPr>
              <p:spPr>
                <a:xfrm>
                  <a:off x="11433824" y="1069276"/>
                  <a:ext cx="35206" cy="151161"/>
                </a:xfrm>
                <a:custGeom>
                  <a:avLst/>
                  <a:gdLst>
                    <a:gd name="connsiteX0" fmla="*/ 0 w 35206"/>
                    <a:gd name="connsiteY0" fmla="*/ 0 h 151161"/>
                    <a:gd name="connsiteX1" fmla="*/ 35147 w 35206"/>
                    <a:gd name="connsiteY1" fmla="*/ 44386 h 151161"/>
                    <a:gd name="connsiteX2" fmla="*/ 35147 w 35206"/>
                    <a:gd name="connsiteY2" fmla="*/ 118205 h 151161"/>
                    <a:gd name="connsiteX3" fmla="*/ 1429 w 35206"/>
                    <a:gd name="connsiteY3" fmla="*/ 151162 h 15116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35206" h="151161">
                      <a:moveTo>
                        <a:pt x="0" y="0"/>
                      </a:moveTo>
                      <a:cubicBezTo>
                        <a:pt x="20050" y="4762"/>
                        <a:pt x="35147" y="22908"/>
                        <a:pt x="35147" y="44386"/>
                      </a:cubicBezTo>
                      <a:lnTo>
                        <a:pt x="35147" y="118205"/>
                      </a:lnTo>
                      <a:cubicBezTo>
                        <a:pt x="35147" y="118205"/>
                        <a:pt x="38148" y="151162"/>
                        <a:pt x="1429" y="151162"/>
                      </a:cubicBez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050" name="Forma livre: Forma 1049">
                  <a:extLst>
                    <a:ext uri="{FF2B5EF4-FFF2-40B4-BE49-F238E27FC236}">
                      <a16:creationId xmlns:a16="http://schemas.microsoft.com/office/drawing/2014/main" id="{960CFC0D-4048-D5DB-C675-B669C0F2B481}"/>
                    </a:ext>
                  </a:extLst>
                </p:cNvPr>
                <p:cNvSpPr/>
                <p:nvPr/>
              </p:nvSpPr>
              <p:spPr>
                <a:xfrm>
                  <a:off x="11435253" y="1183053"/>
                  <a:ext cx="33575" cy="4762"/>
                </a:xfrm>
                <a:custGeom>
                  <a:avLst/>
                  <a:gdLst>
                    <a:gd name="connsiteX0" fmla="*/ 33576 w 33575"/>
                    <a:gd name="connsiteY0" fmla="*/ 0 h 4762"/>
                    <a:gd name="connsiteX1" fmla="*/ 0 w 33575"/>
                    <a:gd name="connsiteY1" fmla="*/ 0 h 476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33575" h="4762">
                      <a:moveTo>
                        <a:pt x="33576" y="0"/>
                      </a:moveTo>
                      <a:lnTo>
                        <a:pt x="0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sp>
          <p:nvSpPr>
            <p:cNvPr id="1051" name="Forma livre: Forma 1050">
              <a:extLst>
                <a:ext uri="{FF2B5EF4-FFF2-40B4-BE49-F238E27FC236}">
                  <a16:creationId xmlns:a16="http://schemas.microsoft.com/office/drawing/2014/main" id="{25E8DB74-FEAD-0766-1992-09340A16F6C2}"/>
                </a:ext>
              </a:extLst>
            </p:cNvPr>
            <p:cNvSpPr/>
            <p:nvPr/>
          </p:nvSpPr>
          <p:spPr>
            <a:xfrm>
              <a:off x="11343956" y="1117187"/>
              <a:ext cx="60102" cy="4762"/>
            </a:xfrm>
            <a:custGeom>
              <a:avLst/>
              <a:gdLst>
                <a:gd name="connsiteX0" fmla="*/ 0 w 60102"/>
                <a:gd name="connsiteY0" fmla="*/ 0 h 4762"/>
                <a:gd name="connsiteX1" fmla="*/ 60103 w 60102"/>
                <a:gd name="connsiteY1" fmla="*/ 0 h 47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102" h="4762">
                  <a:moveTo>
                    <a:pt x="0" y="0"/>
                  </a:moveTo>
                  <a:lnTo>
                    <a:pt x="60103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52" name="Forma livre: Forma 1051">
              <a:extLst>
                <a:ext uri="{FF2B5EF4-FFF2-40B4-BE49-F238E27FC236}">
                  <a16:creationId xmlns:a16="http://schemas.microsoft.com/office/drawing/2014/main" id="{CFC1C7F4-DDD3-ECAA-6335-CD7EB9A97AA8}"/>
                </a:ext>
              </a:extLst>
            </p:cNvPr>
            <p:cNvSpPr/>
            <p:nvPr/>
          </p:nvSpPr>
          <p:spPr>
            <a:xfrm>
              <a:off x="11343956" y="1139380"/>
              <a:ext cx="60102" cy="4762"/>
            </a:xfrm>
            <a:custGeom>
              <a:avLst/>
              <a:gdLst>
                <a:gd name="connsiteX0" fmla="*/ 0 w 60102"/>
                <a:gd name="connsiteY0" fmla="*/ 0 h 4762"/>
                <a:gd name="connsiteX1" fmla="*/ 60103 w 60102"/>
                <a:gd name="connsiteY1" fmla="*/ 0 h 47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102" h="4762">
                  <a:moveTo>
                    <a:pt x="0" y="0"/>
                  </a:moveTo>
                  <a:lnTo>
                    <a:pt x="60103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53" name="Forma livre: Forma 1052">
              <a:extLst>
                <a:ext uri="{FF2B5EF4-FFF2-40B4-BE49-F238E27FC236}">
                  <a16:creationId xmlns:a16="http://schemas.microsoft.com/office/drawing/2014/main" id="{A980483C-23D9-B456-26C1-FFC7D744C5EE}"/>
                </a:ext>
              </a:extLst>
            </p:cNvPr>
            <p:cNvSpPr/>
            <p:nvPr/>
          </p:nvSpPr>
          <p:spPr>
            <a:xfrm>
              <a:off x="11343956" y="1161526"/>
              <a:ext cx="60102" cy="4762"/>
            </a:xfrm>
            <a:custGeom>
              <a:avLst/>
              <a:gdLst>
                <a:gd name="connsiteX0" fmla="*/ 0 w 60102"/>
                <a:gd name="connsiteY0" fmla="*/ 0 h 4762"/>
                <a:gd name="connsiteX1" fmla="*/ 60103 w 60102"/>
                <a:gd name="connsiteY1" fmla="*/ 0 h 47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102" h="4762">
                  <a:moveTo>
                    <a:pt x="0" y="0"/>
                  </a:moveTo>
                  <a:lnTo>
                    <a:pt x="60103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54" name="Forma livre: Forma 1053">
              <a:extLst>
                <a:ext uri="{FF2B5EF4-FFF2-40B4-BE49-F238E27FC236}">
                  <a16:creationId xmlns:a16="http://schemas.microsoft.com/office/drawing/2014/main" id="{7F0D05CF-9EB2-BBD6-7BE7-9E41E289FAAE}"/>
                </a:ext>
              </a:extLst>
            </p:cNvPr>
            <p:cNvSpPr/>
            <p:nvPr/>
          </p:nvSpPr>
          <p:spPr>
            <a:xfrm>
              <a:off x="11374007" y="1200817"/>
              <a:ext cx="4762" cy="102107"/>
            </a:xfrm>
            <a:custGeom>
              <a:avLst/>
              <a:gdLst>
                <a:gd name="connsiteX0" fmla="*/ 0 w 4762"/>
                <a:gd name="connsiteY0" fmla="*/ 0 h 102107"/>
                <a:gd name="connsiteX1" fmla="*/ 0 w 4762"/>
                <a:gd name="connsiteY1" fmla="*/ 102108 h 1021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762" h="102107">
                  <a:moveTo>
                    <a:pt x="0" y="0"/>
                  </a:moveTo>
                  <a:lnTo>
                    <a:pt x="0" y="102108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55" name="Forma livre: Forma 1054">
              <a:extLst>
                <a:ext uri="{FF2B5EF4-FFF2-40B4-BE49-F238E27FC236}">
                  <a16:creationId xmlns:a16="http://schemas.microsoft.com/office/drawing/2014/main" id="{D7A0B88F-A401-FECB-A564-7AC31FE752BE}"/>
                </a:ext>
              </a:extLst>
            </p:cNvPr>
            <p:cNvSpPr/>
            <p:nvPr/>
          </p:nvSpPr>
          <p:spPr>
            <a:xfrm>
              <a:off x="11317429" y="1120997"/>
              <a:ext cx="113157" cy="203977"/>
            </a:xfrm>
            <a:custGeom>
              <a:avLst/>
              <a:gdLst>
                <a:gd name="connsiteX0" fmla="*/ 113157 w 113157"/>
                <a:gd name="connsiteY0" fmla="*/ 0 h 203977"/>
                <a:gd name="connsiteX1" fmla="*/ 113157 w 113157"/>
                <a:gd name="connsiteY1" fmla="*/ 203978 h 203977"/>
                <a:gd name="connsiteX2" fmla="*/ 0 w 113157"/>
                <a:gd name="connsiteY2" fmla="*/ 203978 h 203977"/>
                <a:gd name="connsiteX3" fmla="*/ 0 w 113157"/>
                <a:gd name="connsiteY3" fmla="*/ 0 h 2039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3157" h="203977">
                  <a:moveTo>
                    <a:pt x="113157" y="0"/>
                  </a:moveTo>
                  <a:lnTo>
                    <a:pt x="113157" y="203978"/>
                  </a:lnTo>
                  <a:lnTo>
                    <a:pt x="0" y="203978"/>
                  </a:lnTo>
                  <a:lnTo>
                    <a:pt x="0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056" name="Gráfico 11">
              <a:extLst>
                <a:ext uri="{FF2B5EF4-FFF2-40B4-BE49-F238E27FC236}">
                  <a16:creationId xmlns:a16="http://schemas.microsoft.com/office/drawing/2014/main" id="{691408C1-CDA6-5754-770A-A435BFBEEA35}"/>
                </a:ext>
              </a:extLst>
            </p:cNvPr>
            <p:cNvGrpSpPr/>
            <p:nvPr/>
          </p:nvGrpSpPr>
          <p:grpSpPr>
            <a:xfrm>
              <a:off x="11317429" y="1292257"/>
              <a:ext cx="113157" cy="32956"/>
              <a:chOff x="11317429" y="1292257"/>
              <a:chExt cx="113157" cy="32956"/>
            </a:xfrm>
            <a:noFill/>
          </p:grpSpPr>
          <p:sp>
            <p:nvSpPr>
              <p:cNvPr id="1057" name="Forma livre: Forma 1056">
                <a:extLst>
                  <a:ext uri="{FF2B5EF4-FFF2-40B4-BE49-F238E27FC236}">
                    <a16:creationId xmlns:a16="http://schemas.microsoft.com/office/drawing/2014/main" id="{D3A12267-E307-5552-4811-F61B908DBFB6}"/>
                  </a:ext>
                </a:extLst>
              </p:cNvPr>
              <p:cNvSpPr/>
              <p:nvPr/>
            </p:nvSpPr>
            <p:spPr>
              <a:xfrm>
                <a:off x="11317429" y="1292257"/>
                <a:ext cx="56626" cy="21288"/>
              </a:xfrm>
              <a:custGeom>
                <a:avLst/>
                <a:gdLst>
                  <a:gd name="connsiteX0" fmla="*/ 56626 w 56626"/>
                  <a:gd name="connsiteY0" fmla="*/ 21288 h 21288"/>
                  <a:gd name="connsiteX1" fmla="*/ 28337 w 56626"/>
                  <a:gd name="connsiteY1" fmla="*/ 0 h 21288"/>
                  <a:gd name="connsiteX2" fmla="*/ 0 w 56626"/>
                  <a:gd name="connsiteY2" fmla="*/ 21288 h 212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56626" h="21288">
                    <a:moveTo>
                      <a:pt x="56626" y="21288"/>
                    </a:moveTo>
                    <a:cubicBezTo>
                      <a:pt x="56626" y="6525"/>
                      <a:pt x="43863" y="0"/>
                      <a:pt x="28337" y="0"/>
                    </a:cubicBezTo>
                    <a:cubicBezTo>
                      <a:pt x="12811" y="0"/>
                      <a:pt x="0" y="6525"/>
                      <a:pt x="0" y="21288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058" name="Forma livre: Forma 1057">
                <a:extLst>
                  <a:ext uri="{FF2B5EF4-FFF2-40B4-BE49-F238E27FC236}">
                    <a16:creationId xmlns:a16="http://schemas.microsoft.com/office/drawing/2014/main" id="{8A169AA7-BE58-8B3D-5488-A2C69FF8F011}"/>
                  </a:ext>
                </a:extLst>
              </p:cNvPr>
              <p:cNvSpPr/>
              <p:nvPr/>
            </p:nvSpPr>
            <p:spPr>
              <a:xfrm>
                <a:off x="11374055" y="1292257"/>
                <a:ext cx="56530" cy="32956"/>
              </a:xfrm>
              <a:custGeom>
                <a:avLst/>
                <a:gdLst>
                  <a:gd name="connsiteX0" fmla="*/ 56531 w 56530"/>
                  <a:gd name="connsiteY0" fmla="*/ 21288 h 32956"/>
                  <a:gd name="connsiteX1" fmla="*/ 28194 w 56530"/>
                  <a:gd name="connsiteY1" fmla="*/ 0 h 32956"/>
                  <a:gd name="connsiteX2" fmla="*/ 0 w 56530"/>
                  <a:gd name="connsiteY2" fmla="*/ 21288 h 32956"/>
                  <a:gd name="connsiteX3" fmla="*/ 0 w 56530"/>
                  <a:gd name="connsiteY3" fmla="*/ 32957 h 329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6530" h="32956">
                    <a:moveTo>
                      <a:pt x="56531" y="21288"/>
                    </a:moveTo>
                    <a:cubicBezTo>
                      <a:pt x="56531" y="6525"/>
                      <a:pt x="43767" y="0"/>
                      <a:pt x="28194" y="0"/>
                    </a:cubicBezTo>
                    <a:cubicBezTo>
                      <a:pt x="12621" y="0"/>
                      <a:pt x="0" y="6525"/>
                      <a:pt x="0" y="21288"/>
                    </a:cubicBezTo>
                    <a:lnTo>
                      <a:pt x="0" y="32957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059" name="Gráfico 11">
              <a:extLst>
                <a:ext uri="{FF2B5EF4-FFF2-40B4-BE49-F238E27FC236}">
                  <a16:creationId xmlns:a16="http://schemas.microsoft.com/office/drawing/2014/main" id="{31AE294E-AE37-BADC-C73C-CDDDE2B1AEF9}"/>
                </a:ext>
              </a:extLst>
            </p:cNvPr>
            <p:cNvGrpSpPr/>
            <p:nvPr/>
          </p:nvGrpSpPr>
          <p:grpSpPr>
            <a:xfrm>
              <a:off x="11336002" y="1240488"/>
              <a:ext cx="76009" cy="4762"/>
              <a:chOff x="11336002" y="1240488"/>
              <a:chExt cx="76009" cy="4762"/>
            </a:xfrm>
          </p:grpSpPr>
          <p:sp>
            <p:nvSpPr>
              <p:cNvPr id="1060" name="Forma livre: Forma 1059">
                <a:extLst>
                  <a:ext uri="{FF2B5EF4-FFF2-40B4-BE49-F238E27FC236}">
                    <a16:creationId xmlns:a16="http://schemas.microsoft.com/office/drawing/2014/main" id="{BFDC0B1D-9D89-B619-A491-5BC5D6E7542A}"/>
                  </a:ext>
                </a:extLst>
              </p:cNvPr>
              <p:cNvSpPr/>
              <p:nvPr/>
            </p:nvSpPr>
            <p:spPr>
              <a:xfrm>
                <a:off x="11336002" y="1240488"/>
                <a:ext cx="19430" cy="4762"/>
              </a:xfrm>
              <a:custGeom>
                <a:avLst/>
                <a:gdLst>
                  <a:gd name="connsiteX0" fmla="*/ 0 w 19430"/>
                  <a:gd name="connsiteY0" fmla="*/ 0 h 4762"/>
                  <a:gd name="connsiteX1" fmla="*/ 19431 w 19430"/>
                  <a:gd name="connsiteY1" fmla="*/ 0 h 47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9430" h="4762">
                    <a:moveTo>
                      <a:pt x="0" y="0"/>
                    </a:moveTo>
                    <a:lnTo>
                      <a:pt x="19431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061" name="Forma livre: Forma 1060">
                <a:extLst>
                  <a:ext uri="{FF2B5EF4-FFF2-40B4-BE49-F238E27FC236}">
                    <a16:creationId xmlns:a16="http://schemas.microsoft.com/office/drawing/2014/main" id="{07378826-7DD9-683A-D87B-791E2B92ED5C}"/>
                  </a:ext>
                </a:extLst>
              </p:cNvPr>
              <p:cNvSpPr/>
              <p:nvPr/>
            </p:nvSpPr>
            <p:spPr>
              <a:xfrm>
                <a:off x="11392581" y="1240488"/>
                <a:ext cx="19430" cy="4762"/>
              </a:xfrm>
              <a:custGeom>
                <a:avLst/>
                <a:gdLst>
                  <a:gd name="connsiteX0" fmla="*/ 0 w 19430"/>
                  <a:gd name="connsiteY0" fmla="*/ 0 h 4762"/>
                  <a:gd name="connsiteX1" fmla="*/ 19431 w 19430"/>
                  <a:gd name="connsiteY1" fmla="*/ 0 h 47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9430" h="4762">
                    <a:moveTo>
                      <a:pt x="0" y="0"/>
                    </a:moveTo>
                    <a:lnTo>
                      <a:pt x="19431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062" name="Gráfico 11">
            <a:extLst>
              <a:ext uri="{FF2B5EF4-FFF2-40B4-BE49-F238E27FC236}">
                <a16:creationId xmlns:a16="http://schemas.microsoft.com/office/drawing/2014/main" id="{7B75FEE1-C812-FFE6-FB16-EB73445BE1EE}"/>
              </a:ext>
            </a:extLst>
          </p:cNvPr>
          <p:cNvGrpSpPr/>
          <p:nvPr/>
        </p:nvGrpSpPr>
        <p:grpSpPr>
          <a:xfrm>
            <a:off x="9973990" y="2566812"/>
            <a:ext cx="325787" cy="325929"/>
            <a:chOff x="9973990" y="2566812"/>
            <a:chExt cx="325787" cy="325929"/>
          </a:xfrm>
        </p:grpSpPr>
        <p:grpSp>
          <p:nvGrpSpPr>
            <p:cNvPr id="1063" name="Gráfico 11">
              <a:extLst>
                <a:ext uri="{FF2B5EF4-FFF2-40B4-BE49-F238E27FC236}">
                  <a16:creationId xmlns:a16="http://schemas.microsoft.com/office/drawing/2014/main" id="{FAC46499-0395-BE04-48F2-75E8A7ECD69F}"/>
                </a:ext>
              </a:extLst>
            </p:cNvPr>
            <p:cNvGrpSpPr/>
            <p:nvPr/>
          </p:nvGrpSpPr>
          <p:grpSpPr>
            <a:xfrm>
              <a:off x="9973990" y="2566812"/>
              <a:ext cx="325787" cy="325929"/>
              <a:chOff x="9973990" y="2566812"/>
              <a:chExt cx="325787" cy="325929"/>
            </a:xfrm>
            <a:noFill/>
          </p:grpSpPr>
          <p:sp>
            <p:nvSpPr>
              <p:cNvPr id="1064" name="Forma livre: Forma 1063">
                <a:extLst>
                  <a:ext uri="{FF2B5EF4-FFF2-40B4-BE49-F238E27FC236}">
                    <a16:creationId xmlns:a16="http://schemas.microsoft.com/office/drawing/2014/main" id="{42EC763D-F574-8B15-DD13-E4F0FC43FA48}"/>
                  </a:ext>
                </a:extLst>
              </p:cNvPr>
              <p:cNvSpPr/>
              <p:nvPr/>
            </p:nvSpPr>
            <p:spPr>
              <a:xfrm>
                <a:off x="10043627" y="2636591"/>
                <a:ext cx="46315" cy="46315"/>
              </a:xfrm>
              <a:custGeom>
                <a:avLst/>
                <a:gdLst>
                  <a:gd name="connsiteX0" fmla="*/ 17788 w 46315"/>
                  <a:gd name="connsiteY0" fmla="*/ 46315 h 46315"/>
                  <a:gd name="connsiteX1" fmla="*/ 5215 w 46315"/>
                  <a:gd name="connsiteY1" fmla="*/ 33742 h 46315"/>
                  <a:gd name="connsiteX2" fmla="*/ 5215 w 46315"/>
                  <a:gd name="connsiteY2" fmla="*/ 8501 h 46315"/>
                  <a:gd name="connsiteX3" fmla="*/ 8501 w 46315"/>
                  <a:gd name="connsiteY3" fmla="*/ 5215 h 46315"/>
                  <a:gd name="connsiteX4" fmla="*/ 33742 w 46315"/>
                  <a:gd name="connsiteY4" fmla="*/ 5215 h 46315"/>
                  <a:gd name="connsiteX5" fmla="*/ 46315 w 46315"/>
                  <a:gd name="connsiteY5" fmla="*/ 17740 h 463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46315" h="46315">
                    <a:moveTo>
                      <a:pt x="17788" y="46315"/>
                    </a:moveTo>
                    <a:lnTo>
                      <a:pt x="5215" y="33742"/>
                    </a:lnTo>
                    <a:cubicBezTo>
                      <a:pt x="-1738" y="26789"/>
                      <a:pt x="-1738" y="15454"/>
                      <a:pt x="5215" y="8501"/>
                    </a:cubicBezTo>
                    <a:lnTo>
                      <a:pt x="8501" y="5215"/>
                    </a:lnTo>
                    <a:cubicBezTo>
                      <a:pt x="15454" y="-1738"/>
                      <a:pt x="26789" y="-1738"/>
                      <a:pt x="33742" y="5215"/>
                    </a:cubicBezTo>
                    <a:lnTo>
                      <a:pt x="46315" y="1774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065" name="Forma livre: Forma 1064">
                <a:extLst>
                  <a:ext uri="{FF2B5EF4-FFF2-40B4-BE49-F238E27FC236}">
                    <a16:creationId xmlns:a16="http://schemas.microsoft.com/office/drawing/2014/main" id="{F7635D2C-D7B5-CA87-F744-CF56EE4B2346}"/>
                  </a:ext>
                </a:extLst>
              </p:cNvPr>
              <p:cNvSpPr/>
              <p:nvPr/>
            </p:nvSpPr>
            <p:spPr>
              <a:xfrm>
                <a:off x="10057391" y="2650355"/>
                <a:ext cx="124896" cy="124896"/>
              </a:xfrm>
              <a:custGeom>
                <a:avLst/>
                <a:gdLst>
                  <a:gd name="connsiteX0" fmla="*/ 70271 w 124896"/>
                  <a:gd name="connsiteY0" fmla="*/ 124897 h 124896"/>
                  <a:gd name="connsiteX1" fmla="*/ 6501 w 124896"/>
                  <a:gd name="connsiteY1" fmla="*/ 61127 h 124896"/>
                  <a:gd name="connsiteX2" fmla="*/ 6501 w 124896"/>
                  <a:gd name="connsiteY2" fmla="*/ 29599 h 124896"/>
                  <a:gd name="connsiteX3" fmla="*/ 29599 w 124896"/>
                  <a:gd name="connsiteY3" fmla="*/ 6501 h 124896"/>
                  <a:gd name="connsiteX4" fmla="*/ 61127 w 124896"/>
                  <a:gd name="connsiteY4" fmla="*/ 6501 h 124896"/>
                  <a:gd name="connsiteX5" fmla="*/ 124897 w 124896"/>
                  <a:gd name="connsiteY5" fmla="*/ 70271 h 1248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24896" h="124896">
                    <a:moveTo>
                      <a:pt x="70271" y="124897"/>
                    </a:moveTo>
                    <a:lnTo>
                      <a:pt x="6501" y="61127"/>
                    </a:lnTo>
                    <a:cubicBezTo>
                      <a:pt x="-2167" y="52459"/>
                      <a:pt x="-2167" y="38267"/>
                      <a:pt x="6501" y="29599"/>
                    </a:cubicBezTo>
                    <a:lnTo>
                      <a:pt x="29599" y="6501"/>
                    </a:lnTo>
                    <a:cubicBezTo>
                      <a:pt x="38267" y="-2167"/>
                      <a:pt x="52459" y="-2167"/>
                      <a:pt x="61127" y="6501"/>
                    </a:cubicBezTo>
                    <a:lnTo>
                      <a:pt x="124897" y="70271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066" name="Forma livre: Forma 1065">
                <a:extLst>
                  <a:ext uri="{FF2B5EF4-FFF2-40B4-BE49-F238E27FC236}">
                    <a16:creationId xmlns:a16="http://schemas.microsoft.com/office/drawing/2014/main" id="{7C949F42-82D6-ACC1-B3CB-A938CEAFFCD5}"/>
                  </a:ext>
                </a:extLst>
              </p:cNvPr>
              <p:cNvSpPr/>
              <p:nvPr/>
            </p:nvSpPr>
            <p:spPr>
              <a:xfrm>
                <a:off x="10160939" y="2753700"/>
                <a:ext cx="97088" cy="97464"/>
              </a:xfrm>
              <a:custGeom>
                <a:avLst/>
                <a:gdLst>
                  <a:gd name="connsiteX0" fmla="*/ 36445 w 97088"/>
                  <a:gd name="connsiteY0" fmla="*/ 86845 h 97464"/>
                  <a:gd name="connsiteX1" fmla="*/ 2536 w 97088"/>
                  <a:gd name="connsiteY1" fmla="*/ 94941 h 97464"/>
                  <a:gd name="connsiteX2" fmla="*/ 33063 w 97088"/>
                  <a:gd name="connsiteY2" fmla="*/ 33315 h 97464"/>
                  <a:gd name="connsiteX3" fmla="*/ 94547 w 97088"/>
                  <a:gd name="connsiteY3" fmla="*/ 2501 h 97464"/>
                  <a:gd name="connsiteX4" fmla="*/ 87070 w 97088"/>
                  <a:gd name="connsiteY4" fmla="*/ 35648 h 974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97088" h="97464">
                    <a:moveTo>
                      <a:pt x="36445" y="86845"/>
                    </a:moveTo>
                    <a:cubicBezTo>
                      <a:pt x="21109" y="96751"/>
                      <a:pt x="8013" y="100371"/>
                      <a:pt x="2536" y="94941"/>
                    </a:cubicBezTo>
                    <a:cubicBezTo>
                      <a:pt x="-5989" y="86416"/>
                      <a:pt x="7679" y="58889"/>
                      <a:pt x="33063" y="33315"/>
                    </a:cubicBezTo>
                    <a:cubicBezTo>
                      <a:pt x="58447" y="7788"/>
                      <a:pt x="85975" y="-5976"/>
                      <a:pt x="94547" y="2501"/>
                    </a:cubicBezTo>
                    <a:cubicBezTo>
                      <a:pt x="99881" y="7835"/>
                      <a:pt x="96547" y="20599"/>
                      <a:pt x="87070" y="35648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067" name="Forma livre: Forma 1066">
                <a:extLst>
                  <a:ext uri="{FF2B5EF4-FFF2-40B4-BE49-F238E27FC236}">
                    <a16:creationId xmlns:a16="http://schemas.microsoft.com/office/drawing/2014/main" id="{01DC4C56-3C55-313E-4D90-84526FE749B6}"/>
                  </a:ext>
                </a:extLst>
              </p:cNvPr>
              <p:cNvSpPr/>
              <p:nvPr/>
            </p:nvSpPr>
            <p:spPr>
              <a:xfrm>
                <a:off x="10144774" y="2737827"/>
                <a:ext cx="110522" cy="110623"/>
              </a:xfrm>
              <a:custGeom>
                <a:avLst/>
                <a:gdLst>
                  <a:gd name="connsiteX0" fmla="*/ 18511 w 110522"/>
                  <a:gd name="connsiteY0" fmla="*/ 110623 h 110623"/>
                  <a:gd name="connsiteX1" fmla="*/ 17892 w 110522"/>
                  <a:gd name="connsiteY1" fmla="*/ 19136 h 110623"/>
                  <a:gd name="connsiteX2" fmla="*/ 110522 w 110522"/>
                  <a:gd name="connsiteY2" fmla="*/ 18231 h 1106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10522" h="110623">
                    <a:moveTo>
                      <a:pt x="18511" y="110623"/>
                    </a:moveTo>
                    <a:cubicBezTo>
                      <a:pt x="-5778" y="84191"/>
                      <a:pt x="-6349" y="44044"/>
                      <a:pt x="17892" y="19136"/>
                    </a:cubicBezTo>
                    <a:cubicBezTo>
                      <a:pt x="42466" y="-6105"/>
                      <a:pt x="83424" y="-6344"/>
                      <a:pt x="110522" y="18231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1068" name="Gráfico 11">
                <a:extLst>
                  <a:ext uri="{FF2B5EF4-FFF2-40B4-BE49-F238E27FC236}">
                    <a16:creationId xmlns:a16="http://schemas.microsoft.com/office/drawing/2014/main" id="{8A0E09A2-9166-DC48-F106-912C5F962202}"/>
                  </a:ext>
                </a:extLst>
              </p:cNvPr>
              <p:cNvGrpSpPr/>
              <p:nvPr/>
            </p:nvGrpSpPr>
            <p:grpSpPr>
              <a:xfrm>
                <a:off x="10193050" y="2786015"/>
                <a:ext cx="47720" cy="47720"/>
                <a:chOff x="10193050" y="2786015"/>
                <a:chExt cx="47720" cy="47720"/>
              </a:xfrm>
            </p:grpSpPr>
            <p:sp>
              <p:nvSpPr>
                <p:cNvPr id="1069" name="Forma livre: Forma 1068">
                  <a:extLst>
                    <a:ext uri="{FF2B5EF4-FFF2-40B4-BE49-F238E27FC236}">
                      <a16:creationId xmlns:a16="http://schemas.microsoft.com/office/drawing/2014/main" id="{8B8BEB7C-49F7-250A-0342-D912ADF6CB23}"/>
                    </a:ext>
                  </a:extLst>
                </p:cNvPr>
                <p:cNvSpPr/>
                <p:nvPr/>
              </p:nvSpPr>
              <p:spPr>
                <a:xfrm>
                  <a:off x="10224864" y="2786015"/>
                  <a:ext cx="15906" cy="47482"/>
                </a:xfrm>
                <a:custGeom>
                  <a:avLst/>
                  <a:gdLst>
                    <a:gd name="connsiteX0" fmla="*/ 0 w 15906"/>
                    <a:gd name="connsiteY0" fmla="*/ 0 h 47482"/>
                    <a:gd name="connsiteX1" fmla="*/ 15907 w 15906"/>
                    <a:gd name="connsiteY1" fmla="*/ 47482 h 4748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5906" h="47482">
                      <a:moveTo>
                        <a:pt x="0" y="0"/>
                      </a:moveTo>
                      <a:lnTo>
                        <a:pt x="15907" y="47482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070" name="Forma livre: Forma 1069">
                  <a:extLst>
                    <a:ext uri="{FF2B5EF4-FFF2-40B4-BE49-F238E27FC236}">
                      <a16:creationId xmlns:a16="http://schemas.microsoft.com/office/drawing/2014/main" id="{A6EC6C7A-40DE-B2AA-C96E-BADD3714573E}"/>
                    </a:ext>
                  </a:extLst>
                </p:cNvPr>
                <p:cNvSpPr/>
                <p:nvPr/>
              </p:nvSpPr>
              <p:spPr>
                <a:xfrm>
                  <a:off x="10193050" y="2817780"/>
                  <a:ext cx="47529" cy="15954"/>
                </a:xfrm>
                <a:custGeom>
                  <a:avLst/>
                  <a:gdLst>
                    <a:gd name="connsiteX0" fmla="*/ 0 w 47529"/>
                    <a:gd name="connsiteY0" fmla="*/ 0 h 15954"/>
                    <a:gd name="connsiteX1" fmla="*/ 47530 w 47529"/>
                    <a:gd name="connsiteY1" fmla="*/ 15954 h 1595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7529" h="15954">
                      <a:moveTo>
                        <a:pt x="0" y="0"/>
                      </a:moveTo>
                      <a:lnTo>
                        <a:pt x="47530" y="15954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1071" name="Gráfico 11">
                <a:extLst>
                  <a:ext uri="{FF2B5EF4-FFF2-40B4-BE49-F238E27FC236}">
                    <a16:creationId xmlns:a16="http://schemas.microsoft.com/office/drawing/2014/main" id="{7F417C7D-FDC7-DDE2-EF7E-0E31CFE14D18}"/>
                  </a:ext>
                </a:extLst>
              </p:cNvPr>
              <p:cNvGrpSpPr/>
              <p:nvPr/>
            </p:nvGrpSpPr>
            <p:grpSpPr>
              <a:xfrm>
                <a:off x="10242961" y="2835830"/>
                <a:ext cx="56816" cy="56911"/>
                <a:chOff x="10242961" y="2835830"/>
                <a:chExt cx="56816" cy="56911"/>
              </a:xfrm>
              <a:noFill/>
            </p:grpSpPr>
            <p:sp>
              <p:nvSpPr>
                <p:cNvPr id="1072" name="Forma livre: Forma 1071">
                  <a:extLst>
                    <a:ext uri="{FF2B5EF4-FFF2-40B4-BE49-F238E27FC236}">
                      <a16:creationId xmlns:a16="http://schemas.microsoft.com/office/drawing/2014/main" id="{D0EECE64-6C71-0152-A4D8-DF7F99502526}"/>
                    </a:ext>
                  </a:extLst>
                </p:cNvPr>
                <p:cNvSpPr/>
                <p:nvPr/>
              </p:nvSpPr>
              <p:spPr>
                <a:xfrm>
                  <a:off x="10242961" y="2835830"/>
                  <a:ext cx="33813" cy="33908"/>
                </a:xfrm>
                <a:custGeom>
                  <a:avLst/>
                  <a:gdLst>
                    <a:gd name="connsiteX0" fmla="*/ 33814 w 33813"/>
                    <a:gd name="connsiteY0" fmla="*/ 0 h 33908"/>
                    <a:gd name="connsiteX1" fmla="*/ 23432 w 33813"/>
                    <a:gd name="connsiteY1" fmla="*/ 23479 h 33908"/>
                    <a:gd name="connsiteX2" fmla="*/ 0 w 33813"/>
                    <a:gd name="connsiteY2" fmla="*/ 33909 h 3390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33813" h="33908">
                      <a:moveTo>
                        <a:pt x="33814" y="0"/>
                      </a:moveTo>
                      <a:cubicBezTo>
                        <a:pt x="33385" y="8525"/>
                        <a:pt x="29909" y="16954"/>
                        <a:pt x="23432" y="23479"/>
                      </a:cubicBezTo>
                      <a:cubicBezTo>
                        <a:pt x="16907" y="30004"/>
                        <a:pt x="8525" y="33433"/>
                        <a:pt x="0" y="33909"/>
                      </a:cubicBez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073" name="Forma livre: Forma 1072">
                  <a:extLst>
                    <a:ext uri="{FF2B5EF4-FFF2-40B4-BE49-F238E27FC236}">
                      <a16:creationId xmlns:a16="http://schemas.microsoft.com/office/drawing/2014/main" id="{0FA5F254-0E93-48AD-88CF-7814039B5946}"/>
                    </a:ext>
                  </a:extLst>
                </p:cNvPr>
                <p:cNvSpPr/>
                <p:nvPr/>
              </p:nvSpPr>
              <p:spPr>
                <a:xfrm>
                  <a:off x="10245771" y="2838688"/>
                  <a:ext cx="54006" cy="54054"/>
                </a:xfrm>
                <a:custGeom>
                  <a:avLst/>
                  <a:gdLst>
                    <a:gd name="connsiteX0" fmla="*/ 54007 w 54006"/>
                    <a:gd name="connsiteY0" fmla="*/ 0 h 54054"/>
                    <a:gd name="connsiteX1" fmla="*/ 36957 w 54006"/>
                    <a:gd name="connsiteY1" fmla="*/ 37005 h 54054"/>
                    <a:gd name="connsiteX2" fmla="*/ 0 w 54006"/>
                    <a:gd name="connsiteY2" fmla="*/ 54054 h 5405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54006" h="54054">
                      <a:moveTo>
                        <a:pt x="54007" y="0"/>
                      </a:moveTo>
                      <a:cubicBezTo>
                        <a:pt x="52911" y="13478"/>
                        <a:pt x="47292" y="26718"/>
                        <a:pt x="36957" y="37005"/>
                      </a:cubicBezTo>
                      <a:cubicBezTo>
                        <a:pt x="26670" y="47339"/>
                        <a:pt x="13478" y="52959"/>
                        <a:pt x="0" y="54054"/>
                      </a:cubicBez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1074" name="Gráfico 11">
                <a:extLst>
                  <a:ext uri="{FF2B5EF4-FFF2-40B4-BE49-F238E27FC236}">
                    <a16:creationId xmlns:a16="http://schemas.microsoft.com/office/drawing/2014/main" id="{26182A1D-DADC-B791-AEDC-7C0331FCDA78}"/>
                  </a:ext>
                </a:extLst>
              </p:cNvPr>
              <p:cNvGrpSpPr/>
              <p:nvPr/>
            </p:nvGrpSpPr>
            <p:grpSpPr>
              <a:xfrm>
                <a:off x="9973990" y="2566812"/>
                <a:ext cx="298812" cy="299031"/>
                <a:chOff x="9973990" y="2566812"/>
                <a:chExt cx="298812" cy="299031"/>
              </a:xfrm>
              <a:noFill/>
            </p:grpSpPr>
            <p:sp>
              <p:nvSpPr>
                <p:cNvPr id="1075" name="Forma livre: Forma 1074">
                  <a:extLst>
                    <a:ext uri="{FF2B5EF4-FFF2-40B4-BE49-F238E27FC236}">
                      <a16:creationId xmlns:a16="http://schemas.microsoft.com/office/drawing/2014/main" id="{1D641ACB-31E8-406C-2EC6-3F17CE09BB51}"/>
                    </a:ext>
                  </a:extLst>
                </p:cNvPr>
                <p:cNvSpPr/>
                <p:nvPr/>
              </p:nvSpPr>
              <p:spPr>
                <a:xfrm>
                  <a:off x="10139806" y="2656808"/>
                  <a:ext cx="20954" cy="20954"/>
                </a:xfrm>
                <a:custGeom>
                  <a:avLst/>
                  <a:gdLst>
                    <a:gd name="connsiteX0" fmla="*/ 20955 w 20954"/>
                    <a:gd name="connsiteY0" fmla="*/ 0 h 20954"/>
                    <a:gd name="connsiteX1" fmla="*/ 0 w 20954"/>
                    <a:gd name="connsiteY1" fmla="*/ 20955 h 2095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0954" h="20954">
                      <a:moveTo>
                        <a:pt x="20955" y="0"/>
                      </a:moveTo>
                      <a:lnTo>
                        <a:pt x="0" y="20955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076" name="Forma livre: Forma 1075">
                  <a:extLst>
                    <a:ext uri="{FF2B5EF4-FFF2-40B4-BE49-F238E27FC236}">
                      <a16:creationId xmlns:a16="http://schemas.microsoft.com/office/drawing/2014/main" id="{2683E08A-567C-B64E-2748-D33CBC22D1FF}"/>
                    </a:ext>
                  </a:extLst>
                </p:cNvPr>
                <p:cNvSpPr/>
                <p:nvPr/>
              </p:nvSpPr>
              <p:spPr>
                <a:xfrm>
                  <a:off x="10163094" y="2680097"/>
                  <a:ext cx="20954" cy="20954"/>
                </a:xfrm>
                <a:custGeom>
                  <a:avLst/>
                  <a:gdLst>
                    <a:gd name="connsiteX0" fmla="*/ 20955 w 20954"/>
                    <a:gd name="connsiteY0" fmla="*/ 0 h 20954"/>
                    <a:gd name="connsiteX1" fmla="*/ 0 w 20954"/>
                    <a:gd name="connsiteY1" fmla="*/ 20955 h 2095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0954" h="20954">
                      <a:moveTo>
                        <a:pt x="20955" y="0"/>
                      </a:moveTo>
                      <a:lnTo>
                        <a:pt x="0" y="20955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077" name="Forma livre: Forma 1076">
                  <a:extLst>
                    <a:ext uri="{FF2B5EF4-FFF2-40B4-BE49-F238E27FC236}">
                      <a16:creationId xmlns:a16="http://schemas.microsoft.com/office/drawing/2014/main" id="{42126DE3-EEEB-8071-3922-7B97A9107053}"/>
                    </a:ext>
                  </a:extLst>
                </p:cNvPr>
                <p:cNvSpPr/>
                <p:nvPr/>
              </p:nvSpPr>
              <p:spPr>
                <a:xfrm rot="-2700000">
                  <a:off x="10156279" y="2594183"/>
                  <a:ext cx="106965" cy="71342"/>
                </a:xfrm>
                <a:custGeom>
                  <a:avLst/>
                  <a:gdLst>
                    <a:gd name="connsiteX0" fmla="*/ 0 w 106965"/>
                    <a:gd name="connsiteY0" fmla="*/ 0 h 71342"/>
                    <a:gd name="connsiteX1" fmla="*/ 106966 w 106965"/>
                    <a:gd name="connsiteY1" fmla="*/ 0 h 71342"/>
                    <a:gd name="connsiteX2" fmla="*/ 106966 w 106965"/>
                    <a:gd name="connsiteY2" fmla="*/ 71342 h 71342"/>
                    <a:gd name="connsiteX3" fmla="*/ 0 w 106965"/>
                    <a:gd name="connsiteY3" fmla="*/ 71342 h 7134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06965" h="71342">
                      <a:moveTo>
                        <a:pt x="0" y="0"/>
                      </a:moveTo>
                      <a:lnTo>
                        <a:pt x="106966" y="0"/>
                      </a:lnTo>
                      <a:lnTo>
                        <a:pt x="106966" y="71342"/>
                      </a:lnTo>
                      <a:lnTo>
                        <a:pt x="0" y="71342"/>
                      </a:lnTo>
                      <a:close/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078" name="Forma livre: Forma 1077">
                  <a:extLst>
                    <a:ext uri="{FF2B5EF4-FFF2-40B4-BE49-F238E27FC236}">
                      <a16:creationId xmlns:a16="http://schemas.microsoft.com/office/drawing/2014/main" id="{0A471410-06F5-C3FC-2B26-095D8CDA9D9D}"/>
                    </a:ext>
                  </a:extLst>
                </p:cNvPr>
                <p:cNvSpPr/>
                <p:nvPr/>
              </p:nvSpPr>
              <p:spPr>
                <a:xfrm>
                  <a:off x="10171905" y="2617327"/>
                  <a:ext cx="50530" cy="50530"/>
                </a:xfrm>
                <a:custGeom>
                  <a:avLst/>
                  <a:gdLst>
                    <a:gd name="connsiteX0" fmla="*/ 0 w 50530"/>
                    <a:gd name="connsiteY0" fmla="*/ 0 h 50530"/>
                    <a:gd name="connsiteX1" fmla="*/ 50530 w 50530"/>
                    <a:gd name="connsiteY1" fmla="*/ 50530 h 5053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50530" h="50530">
                      <a:moveTo>
                        <a:pt x="0" y="0"/>
                      </a:moveTo>
                      <a:lnTo>
                        <a:pt x="50530" y="5053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079" name="Forma livre: Forma 1078">
                  <a:extLst>
                    <a:ext uri="{FF2B5EF4-FFF2-40B4-BE49-F238E27FC236}">
                      <a16:creationId xmlns:a16="http://schemas.microsoft.com/office/drawing/2014/main" id="{789C2F95-8A92-6DC6-2FE8-8325BC156A07}"/>
                    </a:ext>
                  </a:extLst>
                </p:cNvPr>
                <p:cNvSpPr/>
                <p:nvPr/>
              </p:nvSpPr>
              <p:spPr>
                <a:xfrm>
                  <a:off x="10172048" y="2592133"/>
                  <a:ext cx="75437" cy="75485"/>
                </a:xfrm>
                <a:custGeom>
                  <a:avLst/>
                  <a:gdLst>
                    <a:gd name="connsiteX0" fmla="*/ 75438 w 75437"/>
                    <a:gd name="connsiteY0" fmla="*/ 0 h 75485"/>
                    <a:gd name="connsiteX1" fmla="*/ 0 w 75437"/>
                    <a:gd name="connsiteY1" fmla="*/ 75486 h 7548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75437" h="75485">
                      <a:moveTo>
                        <a:pt x="75438" y="0"/>
                      </a:moveTo>
                      <a:lnTo>
                        <a:pt x="0" y="75486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080" name="Forma livre: Forma 1079">
                  <a:extLst>
                    <a:ext uri="{FF2B5EF4-FFF2-40B4-BE49-F238E27FC236}">
                      <a16:creationId xmlns:a16="http://schemas.microsoft.com/office/drawing/2014/main" id="{D4207793-E8D6-02F8-C061-F4EAE1C900CE}"/>
                    </a:ext>
                  </a:extLst>
                </p:cNvPr>
                <p:cNvSpPr/>
                <p:nvPr/>
              </p:nvSpPr>
              <p:spPr>
                <a:xfrm>
                  <a:off x="10197098" y="2592133"/>
                  <a:ext cx="50530" cy="50482"/>
                </a:xfrm>
                <a:custGeom>
                  <a:avLst/>
                  <a:gdLst>
                    <a:gd name="connsiteX0" fmla="*/ 0 w 50530"/>
                    <a:gd name="connsiteY0" fmla="*/ 0 h 50482"/>
                    <a:gd name="connsiteX1" fmla="*/ 50530 w 50530"/>
                    <a:gd name="connsiteY1" fmla="*/ 50483 h 5048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50530" h="50482">
                      <a:moveTo>
                        <a:pt x="0" y="0"/>
                      </a:moveTo>
                      <a:lnTo>
                        <a:pt x="50530" y="50483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grpSp>
              <p:nvGrpSpPr>
                <p:cNvPr id="1081" name="Gráfico 11">
                  <a:extLst>
                    <a:ext uri="{FF2B5EF4-FFF2-40B4-BE49-F238E27FC236}">
                      <a16:creationId xmlns:a16="http://schemas.microsoft.com/office/drawing/2014/main" id="{424905D0-1E53-E5A2-D31A-C0A8DAAD0B94}"/>
                    </a:ext>
                  </a:extLst>
                </p:cNvPr>
                <p:cNvGrpSpPr/>
                <p:nvPr/>
              </p:nvGrpSpPr>
              <p:grpSpPr>
                <a:xfrm>
                  <a:off x="9973990" y="2731627"/>
                  <a:ext cx="133001" cy="134217"/>
                  <a:chOff x="9973990" y="2731627"/>
                  <a:chExt cx="133001" cy="134217"/>
                </a:xfrm>
                <a:noFill/>
              </p:grpSpPr>
              <p:sp>
                <p:nvSpPr>
                  <p:cNvPr id="1082" name="Forma livre: Forma 1081">
                    <a:extLst>
                      <a:ext uri="{FF2B5EF4-FFF2-40B4-BE49-F238E27FC236}">
                        <a16:creationId xmlns:a16="http://schemas.microsoft.com/office/drawing/2014/main" id="{8432ACA6-2AB6-FD11-8E66-C311A9E088AC}"/>
                      </a:ext>
                    </a:extLst>
                  </p:cNvPr>
                  <p:cNvSpPr/>
                  <p:nvPr/>
                </p:nvSpPr>
                <p:spPr>
                  <a:xfrm>
                    <a:off x="10086085" y="2754915"/>
                    <a:ext cx="20907" cy="20954"/>
                  </a:xfrm>
                  <a:custGeom>
                    <a:avLst/>
                    <a:gdLst>
                      <a:gd name="connsiteX0" fmla="*/ 0 w 20907"/>
                      <a:gd name="connsiteY0" fmla="*/ 20955 h 20954"/>
                      <a:gd name="connsiteX1" fmla="*/ 20907 w 20907"/>
                      <a:gd name="connsiteY1" fmla="*/ 0 h 2095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20907" h="20954">
                        <a:moveTo>
                          <a:pt x="0" y="20955"/>
                        </a:moveTo>
                        <a:lnTo>
                          <a:pt x="20907" y="0"/>
                        </a:lnTo>
                      </a:path>
                    </a:pathLst>
                  </a:custGeom>
                  <a:ln w="6350" cap="flat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1083" name="Forma livre: Forma 1082">
                    <a:extLst>
                      <a:ext uri="{FF2B5EF4-FFF2-40B4-BE49-F238E27FC236}">
                        <a16:creationId xmlns:a16="http://schemas.microsoft.com/office/drawing/2014/main" id="{AF769B14-8D1E-64E2-5CDD-38AC05DAA934}"/>
                      </a:ext>
                    </a:extLst>
                  </p:cNvPr>
                  <p:cNvSpPr/>
                  <p:nvPr/>
                </p:nvSpPr>
                <p:spPr>
                  <a:xfrm>
                    <a:off x="10062748" y="2731627"/>
                    <a:ext cx="20954" cy="20954"/>
                  </a:xfrm>
                  <a:custGeom>
                    <a:avLst/>
                    <a:gdLst>
                      <a:gd name="connsiteX0" fmla="*/ 0 w 20954"/>
                      <a:gd name="connsiteY0" fmla="*/ 20955 h 20954"/>
                      <a:gd name="connsiteX1" fmla="*/ 20955 w 20954"/>
                      <a:gd name="connsiteY1" fmla="*/ 0 h 2095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20954" h="20954">
                        <a:moveTo>
                          <a:pt x="0" y="20955"/>
                        </a:moveTo>
                        <a:lnTo>
                          <a:pt x="20955" y="0"/>
                        </a:lnTo>
                      </a:path>
                    </a:pathLst>
                  </a:custGeom>
                  <a:ln w="6350" cap="flat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1084" name="Forma livre: Forma 1083">
                    <a:extLst>
                      <a:ext uri="{FF2B5EF4-FFF2-40B4-BE49-F238E27FC236}">
                        <a16:creationId xmlns:a16="http://schemas.microsoft.com/office/drawing/2014/main" id="{61F4AD93-752C-3240-1742-B781923FF926}"/>
                      </a:ext>
                    </a:extLst>
                  </p:cNvPr>
                  <p:cNvSpPr/>
                  <p:nvPr/>
                </p:nvSpPr>
                <p:spPr>
                  <a:xfrm rot="-2700000">
                    <a:off x="9983549" y="2767132"/>
                    <a:ext cx="106965" cy="71342"/>
                  </a:xfrm>
                  <a:custGeom>
                    <a:avLst/>
                    <a:gdLst>
                      <a:gd name="connsiteX0" fmla="*/ 0 w 106965"/>
                      <a:gd name="connsiteY0" fmla="*/ 0 h 71342"/>
                      <a:gd name="connsiteX1" fmla="*/ 106966 w 106965"/>
                      <a:gd name="connsiteY1" fmla="*/ 0 h 71342"/>
                      <a:gd name="connsiteX2" fmla="*/ 106966 w 106965"/>
                      <a:gd name="connsiteY2" fmla="*/ 71342 h 71342"/>
                      <a:gd name="connsiteX3" fmla="*/ 0 w 106965"/>
                      <a:gd name="connsiteY3" fmla="*/ 71342 h 7134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106965" h="71342">
                        <a:moveTo>
                          <a:pt x="0" y="0"/>
                        </a:moveTo>
                        <a:lnTo>
                          <a:pt x="106966" y="0"/>
                        </a:lnTo>
                        <a:lnTo>
                          <a:pt x="106966" y="71342"/>
                        </a:lnTo>
                        <a:lnTo>
                          <a:pt x="0" y="71342"/>
                        </a:lnTo>
                        <a:close/>
                      </a:path>
                    </a:pathLst>
                  </a:custGeom>
                  <a:noFill/>
                  <a:ln w="6350" cap="flat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1085" name="Forma livre: Forma 1084">
                    <a:extLst>
                      <a:ext uri="{FF2B5EF4-FFF2-40B4-BE49-F238E27FC236}">
                        <a16:creationId xmlns:a16="http://schemas.microsoft.com/office/drawing/2014/main" id="{F15873B6-B776-BA1D-04E4-D197EF9D2AA4}"/>
                      </a:ext>
                    </a:extLst>
                  </p:cNvPr>
                  <p:cNvSpPr/>
                  <p:nvPr/>
                </p:nvSpPr>
                <p:spPr>
                  <a:xfrm>
                    <a:off x="10024363" y="2764821"/>
                    <a:ext cx="50530" cy="50530"/>
                  </a:xfrm>
                  <a:custGeom>
                    <a:avLst/>
                    <a:gdLst>
                      <a:gd name="connsiteX0" fmla="*/ 50530 w 50530"/>
                      <a:gd name="connsiteY0" fmla="*/ 50530 h 50530"/>
                      <a:gd name="connsiteX1" fmla="*/ 0 w 50530"/>
                      <a:gd name="connsiteY1" fmla="*/ 0 h 5053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50530" h="50530">
                        <a:moveTo>
                          <a:pt x="50530" y="50530"/>
                        </a:moveTo>
                        <a:lnTo>
                          <a:pt x="0" y="0"/>
                        </a:lnTo>
                      </a:path>
                    </a:pathLst>
                  </a:custGeom>
                  <a:ln w="6350" cap="flat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1086" name="Forma livre: Forma 1085">
                    <a:extLst>
                      <a:ext uri="{FF2B5EF4-FFF2-40B4-BE49-F238E27FC236}">
                        <a16:creationId xmlns:a16="http://schemas.microsoft.com/office/drawing/2014/main" id="{DB8610F0-3D38-DB1B-D35B-63AA92B7F558}"/>
                      </a:ext>
                    </a:extLst>
                  </p:cNvPr>
                  <p:cNvSpPr/>
                  <p:nvPr/>
                </p:nvSpPr>
                <p:spPr>
                  <a:xfrm>
                    <a:off x="9999312" y="2765060"/>
                    <a:ext cx="75437" cy="75485"/>
                  </a:xfrm>
                  <a:custGeom>
                    <a:avLst/>
                    <a:gdLst>
                      <a:gd name="connsiteX0" fmla="*/ 0 w 75437"/>
                      <a:gd name="connsiteY0" fmla="*/ 75486 h 75485"/>
                      <a:gd name="connsiteX1" fmla="*/ 75438 w 75437"/>
                      <a:gd name="connsiteY1" fmla="*/ 0 h 7548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75437" h="75485">
                        <a:moveTo>
                          <a:pt x="0" y="75486"/>
                        </a:moveTo>
                        <a:lnTo>
                          <a:pt x="75438" y="0"/>
                        </a:lnTo>
                      </a:path>
                    </a:pathLst>
                  </a:custGeom>
                  <a:ln w="6350" cap="flat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1087" name="Forma livre: Forma 1086">
                    <a:extLst>
                      <a:ext uri="{FF2B5EF4-FFF2-40B4-BE49-F238E27FC236}">
                        <a16:creationId xmlns:a16="http://schemas.microsoft.com/office/drawing/2014/main" id="{C38F8004-338F-AC76-FCE0-2F0753D91E67}"/>
                      </a:ext>
                    </a:extLst>
                  </p:cNvPr>
                  <p:cNvSpPr/>
                  <p:nvPr/>
                </p:nvSpPr>
                <p:spPr>
                  <a:xfrm>
                    <a:off x="9999169" y="2790063"/>
                    <a:ext cx="50530" cy="50530"/>
                  </a:xfrm>
                  <a:custGeom>
                    <a:avLst/>
                    <a:gdLst>
                      <a:gd name="connsiteX0" fmla="*/ 50530 w 50530"/>
                      <a:gd name="connsiteY0" fmla="*/ 50530 h 50530"/>
                      <a:gd name="connsiteX1" fmla="*/ 0 w 50530"/>
                      <a:gd name="connsiteY1" fmla="*/ 0 h 5053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50530" h="50530">
                        <a:moveTo>
                          <a:pt x="50530" y="50530"/>
                        </a:moveTo>
                        <a:lnTo>
                          <a:pt x="0" y="0"/>
                        </a:lnTo>
                      </a:path>
                    </a:pathLst>
                  </a:custGeom>
                  <a:ln w="6350" cap="flat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</p:grpSp>
        </p:grpSp>
        <p:sp>
          <p:nvSpPr>
            <p:cNvPr id="1088" name="Forma livre: Forma 1087">
              <a:extLst>
                <a:ext uri="{FF2B5EF4-FFF2-40B4-BE49-F238E27FC236}">
                  <a16:creationId xmlns:a16="http://schemas.microsoft.com/office/drawing/2014/main" id="{9C741A4F-25AC-B70D-4BD4-9F767D676309}"/>
                </a:ext>
              </a:extLst>
            </p:cNvPr>
            <p:cNvSpPr/>
            <p:nvPr/>
          </p:nvSpPr>
          <p:spPr>
            <a:xfrm>
              <a:off x="10235341" y="2828305"/>
              <a:ext cx="10906" cy="10906"/>
            </a:xfrm>
            <a:custGeom>
              <a:avLst/>
              <a:gdLst>
                <a:gd name="connsiteX0" fmla="*/ 0 w 10906"/>
                <a:gd name="connsiteY0" fmla="*/ 5477 h 10906"/>
                <a:gd name="connsiteX1" fmla="*/ 5429 w 10906"/>
                <a:gd name="connsiteY1" fmla="*/ 10906 h 10906"/>
                <a:gd name="connsiteX2" fmla="*/ 10906 w 10906"/>
                <a:gd name="connsiteY2" fmla="*/ 5429 h 10906"/>
                <a:gd name="connsiteX3" fmla="*/ 5429 w 10906"/>
                <a:gd name="connsiteY3" fmla="*/ 0 h 10906"/>
                <a:gd name="connsiteX4" fmla="*/ 0 w 10906"/>
                <a:gd name="connsiteY4" fmla="*/ 5429 h 109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906" h="10906">
                  <a:moveTo>
                    <a:pt x="0" y="5477"/>
                  </a:moveTo>
                  <a:cubicBezTo>
                    <a:pt x="0" y="8477"/>
                    <a:pt x="2429" y="10906"/>
                    <a:pt x="5429" y="10906"/>
                  </a:cubicBezTo>
                  <a:cubicBezTo>
                    <a:pt x="8430" y="10906"/>
                    <a:pt x="10906" y="8477"/>
                    <a:pt x="10906" y="5429"/>
                  </a:cubicBezTo>
                  <a:cubicBezTo>
                    <a:pt x="10906" y="2381"/>
                    <a:pt x="8430" y="0"/>
                    <a:pt x="5429" y="0"/>
                  </a:cubicBezTo>
                  <a:cubicBezTo>
                    <a:pt x="2429" y="0"/>
                    <a:pt x="0" y="2429"/>
                    <a:pt x="0" y="5429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089" name="Gráfico 11">
            <a:extLst>
              <a:ext uri="{FF2B5EF4-FFF2-40B4-BE49-F238E27FC236}">
                <a16:creationId xmlns:a16="http://schemas.microsoft.com/office/drawing/2014/main" id="{38B4675B-1FDC-0EC5-E86E-CFD1D648EF1E}"/>
              </a:ext>
            </a:extLst>
          </p:cNvPr>
          <p:cNvGrpSpPr/>
          <p:nvPr/>
        </p:nvGrpSpPr>
        <p:grpSpPr>
          <a:xfrm>
            <a:off x="10607721" y="2581638"/>
            <a:ext cx="295501" cy="296245"/>
            <a:chOff x="10607721" y="2581638"/>
            <a:chExt cx="295501" cy="296245"/>
          </a:xfrm>
          <a:noFill/>
        </p:grpSpPr>
        <p:sp>
          <p:nvSpPr>
            <p:cNvPr id="1090" name="Forma livre: Forma 1089">
              <a:extLst>
                <a:ext uri="{FF2B5EF4-FFF2-40B4-BE49-F238E27FC236}">
                  <a16:creationId xmlns:a16="http://schemas.microsoft.com/office/drawing/2014/main" id="{794FC57C-6D19-E381-B153-CB418AE0EE6E}"/>
                </a:ext>
              </a:extLst>
            </p:cNvPr>
            <p:cNvSpPr/>
            <p:nvPr/>
          </p:nvSpPr>
          <p:spPr>
            <a:xfrm>
              <a:off x="10677444" y="2755534"/>
              <a:ext cx="155733" cy="122348"/>
            </a:xfrm>
            <a:custGeom>
              <a:avLst/>
              <a:gdLst>
                <a:gd name="connsiteX0" fmla="*/ 155734 w 155733"/>
                <a:gd name="connsiteY0" fmla="*/ 122349 h 122348"/>
                <a:gd name="connsiteX1" fmla="*/ 100346 w 155733"/>
                <a:gd name="connsiteY1" fmla="*/ 0 h 122348"/>
                <a:gd name="connsiteX2" fmla="*/ 55435 w 155733"/>
                <a:gd name="connsiteY2" fmla="*/ 0 h 122348"/>
                <a:gd name="connsiteX3" fmla="*/ 0 w 155733"/>
                <a:gd name="connsiteY3" fmla="*/ 122349 h 1223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5733" h="122348">
                  <a:moveTo>
                    <a:pt x="155734" y="122349"/>
                  </a:moveTo>
                  <a:lnTo>
                    <a:pt x="100346" y="0"/>
                  </a:lnTo>
                  <a:lnTo>
                    <a:pt x="55435" y="0"/>
                  </a:lnTo>
                  <a:lnTo>
                    <a:pt x="0" y="122349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91" name="Forma livre: Forma 1090">
              <a:extLst>
                <a:ext uri="{FF2B5EF4-FFF2-40B4-BE49-F238E27FC236}">
                  <a16:creationId xmlns:a16="http://schemas.microsoft.com/office/drawing/2014/main" id="{48FBD2DE-6F4D-B973-C269-5BC033DEA377}"/>
                </a:ext>
              </a:extLst>
            </p:cNvPr>
            <p:cNvSpPr/>
            <p:nvPr/>
          </p:nvSpPr>
          <p:spPr>
            <a:xfrm>
              <a:off x="10707067" y="2816018"/>
              <a:ext cx="96535" cy="4762"/>
            </a:xfrm>
            <a:custGeom>
              <a:avLst/>
              <a:gdLst>
                <a:gd name="connsiteX0" fmla="*/ 0 w 96535"/>
                <a:gd name="connsiteY0" fmla="*/ 0 h 4762"/>
                <a:gd name="connsiteX1" fmla="*/ 96536 w 96535"/>
                <a:gd name="connsiteY1" fmla="*/ 0 h 47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6535" h="4762">
                  <a:moveTo>
                    <a:pt x="0" y="0"/>
                  </a:moveTo>
                  <a:lnTo>
                    <a:pt x="96536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92" name="Forma livre: Forma 1091">
              <a:extLst>
                <a:ext uri="{FF2B5EF4-FFF2-40B4-BE49-F238E27FC236}">
                  <a16:creationId xmlns:a16="http://schemas.microsoft.com/office/drawing/2014/main" id="{65CA5827-FE2D-E184-0D5C-ED91D9B8E1AD}"/>
                </a:ext>
              </a:extLst>
            </p:cNvPr>
            <p:cNvSpPr/>
            <p:nvPr/>
          </p:nvSpPr>
          <p:spPr>
            <a:xfrm>
              <a:off x="10612388" y="2692193"/>
              <a:ext cx="56387" cy="23907"/>
            </a:xfrm>
            <a:custGeom>
              <a:avLst/>
              <a:gdLst>
                <a:gd name="connsiteX0" fmla="*/ 0 w 56387"/>
                <a:gd name="connsiteY0" fmla="*/ 23908 h 23907"/>
                <a:gd name="connsiteX1" fmla="*/ 56388 w 56387"/>
                <a:gd name="connsiteY1" fmla="*/ 0 h 239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6387" h="23907">
                  <a:moveTo>
                    <a:pt x="0" y="23908"/>
                  </a:moveTo>
                  <a:lnTo>
                    <a:pt x="56388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93" name="Forma livre: Forma 1092">
              <a:extLst>
                <a:ext uri="{FF2B5EF4-FFF2-40B4-BE49-F238E27FC236}">
                  <a16:creationId xmlns:a16="http://schemas.microsoft.com/office/drawing/2014/main" id="{8624D2A4-50F8-7202-415D-B774CBC54652}"/>
                </a:ext>
              </a:extLst>
            </p:cNvPr>
            <p:cNvSpPr/>
            <p:nvPr/>
          </p:nvSpPr>
          <p:spPr>
            <a:xfrm>
              <a:off x="10625009" y="2714482"/>
              <a:ext cx="74152" cy="31384"/>
            </a:xfrm>
            <a:custGeom>
              <a:avLst/>
              <a:gdLst>
                <a:gd name="connsiteX0" fmla="*/ 74152 w 74152"/>
                <a:gd name="connsiteY0" fmla="*/ 0 h 31384"/>
                <a:gd name="connsiteX1" fmla="*/ 0 w 74152"/>
                <a:gd name="connsiteY1" fmla="*/ 31385 h 313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4152" h="31384">
                  <a:moveTo>
                    <a:pt x="74152" y="0"/>
                  </a:moveTo>
                  <a:lnTo>
                    <a:pt x="0" y="31385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94" name="Forma livre: Forma 1093">
              <a:extLst>
                <a:ext uri="{FF2B5EF4-FFF2-40B4-BE49-F238E27FC236}">
                  <a16:creationId xmlns:a16="http://schemas.microsoft.com/office/drawing/2014/main" id="{26A60025-1025-A35A-DECF-9703E6390704}"/>
                </a:ext>
              </a:extLst>
            </p:cNvPr>
            <p:cNvSpPr/>
            <p:nvPr/>
          </p:nvSpPr>
          <p:spPr>
            <a:xfrm>
              <a:off x="10681968" y="2625233"/>
              <a:ext cx="115395" cy="100060"/>
            </a:xfrm>
            <a:custGeom>
              <a:avLst/>
              <a:gdLst>
                <a:gd name="connsiteX0" fmla="*/ 53054 w 115395"/>
                <a:gd name="connsiteY0" fmla="*/ 86820 h 100060"/>
                <a:gd name="connsiteX1" fmla="*/ 21765 w 115395"/>
                <a:gd name="connsiteY1" fmla="*/ 100060 h 100060"/>
                <a:gd name="connsiteX2" fmla="*/ 0 w 115395"/>
                <a:gd name="connsiteY2" fmla="*/ 48673 h 100060"/>
                <a:gd name="connsiteX3" fmla="*/ 115395 w 115395"/>
                <a:gd name="connsiteY3" fmla="*/ 0 h 1000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5395" h="100060">
                  <a:moveTo>
                    <a:pt x="53054" y="86820"/>
                  </a:moveTo>
                  <a:lnTo>
                    <a:pt x="21765" y="100060"/>
                  </a:lnTo>
                  <a:lnTo>
                    <a:pt x="0" y="48673"/>
                  </a:lnTo>
                  <a:lnTo>
                    <a:pt x="115395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95" name="Forma livre: Forma 1094">
              <a:extLst>
                <a:ext uri="{FF2B5EF4-FFF2-40B4-BE49-F238E27FC236}">
                  <a16:creationId xmlns:a16="http://schemas.microsoft.com/office/drawing/2014/main" id="{26ADF5E8-C3DC-B3E9-CD97-F2384C29790D}"/>
                </a:ext>
              </a:extLst>
            </p:cNvPr>
            <p:cNvSpPr/>
            <p:nvPr/>
          </p:nvSpPr>
          <p:spPr>
            <a:xfrm>
              <a:off x="10791696" y="2668905"/>
              <a:ext cx="45196" cy="19097"/>
            </a:xfrm>
            <a:custGeom>
              <a:avLst/>
              <a:gdLst>
                <a:gd name="connsiteX0" fmla="*/ 45196 w 45196"/>
                <a:gd name="connsiteY0" fmla="*/ 0 h 19097"/>
                <a:gd name="connsiteX1" fmla="*/ 0 w 45196"/>
                <a:gd name="connsiteY1" fmla="*/ 19098 h 190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5196" h="19097">
                  <a:moveTo>
                    <a:pt x="45196" y="0"/>
                  </a:moveTo>
                  <a:lnTo>
                    <a:pt x="0" y="19098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96" name="Forma livre: Forma 1095">
              <a:extLst>
                <a:ext uri="{FF2B5EF4-FFF2-40B4-BE49-F238E27FC236}">
                  <a16:creationId xmlns:a16="http://schemas.microsoft.com/office/drawing/2014/main" id="{E3BEA6A2-6E8C-7E7D-7381-9E613C91D4CD}"/>
                </a:ext>
              </a:extLst>
            </p:cNvPr>
            <p:cNvSpPr/>
            <p:nvPr/>
          </p:nvSpPr>
          <p:spPr>
            <a:xfrm rot="-1377002">
              <a:off x="10823973" y="2591679"/>
              <a:ext cx="67008" cy="76390"/>
            </a:xfrm>
            <a:custGeom>
              <a:avLst/>
              <a:gdLst>
                <a:gd name="connsiteX0" fmla="*/ 0 w 67008"/>
                <a:gd name="connsiteY0" fmla="*/ 0 h 76390"/>
                <a:gd name="connsiteX1" fmla="*/ 67008 w 67008"/>
                <a:gd name="connsiteY1" fmla="*/ 0 h 76390"/>
                <a:gd name="connsiteX2" fmla="*/ 67008 w 67008"/>
                <a:gd name="connsiteY2" fmla="*/ 76391 h 76390"/>
                <a:gd name="connsiteX3" fmla="*/ 0 w 67008"/>
                <a:gd name="connsiteY3" fmla="*/ 76391 h 763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7008" h="76390">
                  <a:moveTo>
                    <a:pt x="0" y="0"/>
                  </a:moveTo>
                  <a:lnTo>
                    <a:pt x="67008" y="0"/>
                  </a:lnTo>
                  <a:lnTo>
                    <a:pt x="67008" y="76391"/>
                  </a:lnTo>
                  <a:lnTo>
                    <a:pt x="0" y="76391"/>
                  </a:ln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97" name="Forma livre: Forma 1096">
              <a:extLst>
                <a:ext uri="{FF2B5EF4-FFF2-40B4-BE49-F238E27FC236}">
                  <a16:creationId xmlns:a16="http://schemas.microsoft.com/office/drawing/2014/main" id="{E221C546-98D1-4445-ED6E-EEC19AE7DAA7}"/>
                </a:ext>
              </a:extLst>
            </p:cNvPr>
            <p:cNvSpPr/>
            <p:nvPr/>
          </p:nvSpPr>
          <p:spPr>
            <a:xfrm>
              <a:off x="10735070" y="2687764"/>
              <a:ext cx="40481" cy="40481"/>
            </a:xfrm>
            <a:custGeom>
              <a:avLst/>
              <a:gdLst>
                <a:gd name="connsiteX0" fmla="*/ 20241 w 40481"/>
                <a:gd name="connsiteY0" fmla="*/ 0 h 40481"/>
                <a:gd name="connsiteX1" fmla="*/ 40481 w 40481"/>
                <a:gd name="connsiteY1" fmla="*/ 20241 h 40481"/>
                <a:gd name="connsiteX2" fmla="*/ 20241 w 40481"/>
                <a:gd name="connsiteY2" fmla="*/ 40481 h 40481"/>
                <a:gd name="connsiteX3" fmla="*/ 0 w 40481"/>
                <a:gd name="connsiteY3" fmla="*/ 20241 h 40481"/>
                <a:gd name="connsiteX4" fmla="*/ 20241 w 40481"/>
                <a:gd name="connsiteY4" fmla="*/ 0 h 404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0481" h="40481">
                  <a:moveTo>
                    <a:pt x="20241" y="0"/>
                  </a:moveTo>
                  <a:cubicBezTo>
                    <a:pt x="31433" y="0"/>
                    <a:pt x="40481" y="9049"/>
                    <a:pt x="40481" y="20241"/>
                  </a:cubicBezTo>
                  <a:cubicBezTo>
                    <a:pt x="40481" y="31433"/>
                    <a:pt x="31433" y="40481"/>
                    <a:pt x="20241" y="40481"/>
                  </a:cubicBezTo>
                  <a:cubicBezTo>
                    <a:pt x="9049" y="40481"/>
                    <a:pt x="0" y="31433"/>
                    <a:pt x="0" y="20241"/>
                  </a:cubicBezTo>
                  <a:cubicBezTo>
                    <a:pt x="0" y="9049"/>
                    <a:pt x="9049" y="0"/>
                    <a:pt x="20241" y="0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98" name="Forma livre: Forma 1097">
              <a:extLst>
                <a:ext uri="{FF2B5EF4-FFF2-40B4-BE49-F238E27FC236}">
                  <a16:creationId xmlns:a16="http://schemas.microsoft.com/office/drawing/2014/main" id="{4C9CAEE8-C7CF-3D9D-E037-336F9731D20E}"/>
                </a:ext>
              </a:extLst>
            </p:cNvPr>
            <p:cNvSpPr/>
            <p:nvPr/>
          </p:nvSpPr>
          <p:spPr>
            <a:xfrm>
              <a:off x="10607721" y="2705624"/>
              <a:ext cx="21621" cy="50577"/>
            </a:xfrm>
            <a:custGeom>
              <a:avLst/>
              <a:gdLst>
                <a:gd name="connsiteX0" fmla="*/ 0 w 21621"/>
                <a:gd name="connsiteY0" fmla="*/ 0 h 50577"/>
                <a:gd name="connsiteX1" fmla="*/ 21622 w 21621"/>
                <a:gd name="connsiteY1" fmla="*/ 50578 h 505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1621" h="50577">
                  <a:moveTo>
                    <a:pt x="0" y="0"/>
                  </a:moveTo>
                  <a:lnTo>
                    <a:pt x="21622" y="50578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99" name="Forma livre: Forma 1098">
              <a:extLst>
                <a:ext uri="{FF2B5EF4-FFF2-40B4-BE49-F238E27FC236}">
                  <a16:creationId xmlns:a16="http://schemas.microsoft.com/office/drawing/2014/main" id="{B5CE4F60-F0D5-8D33-3661-4407F36856AB}"/>
                </a:ext>
              </a:extLst>
            </p:cNvPr>
            <p:cNvSpPr/>
            <p:nvPr/>
          </p:nvSpPr>
          <p:spPr>
            <a:xfrm>
              <a:off x="10755311" y="2728722"/>
              <a:ext cx="4762" cy="148923"/>
            </a:xfrm>
            <a:custGeom>
              <a:avLst/>
              <a:gdLst>
                <a:gd name="connsiteX0" fmla="*/ 0 w 4762"/>
                <a:gd name="connsiteY0" fmla="*/ 0 h 148923"/>
                <a:gd name="connsiteX1" fmla="*/ 0 w 4762"/>
                <a:gd name="connsiteY1" fmla="*/ 148923 h 1489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762" h="148923">
                  <a:moveTo>
                    <a:pt x="0" y="0"/>
                  </a:moveTo>
                  <a:lnTo>
                    <a:pt x="0" y="148923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100" name="Gráfico 11">
            <a:extLst>
              <a:ext uri="{FF2B5EF4-FFF2-40B4-BE49-F238E27FC236}">
                <a16:creationId xmlns:a16="http://schemas.microsoft.com/office/drawing/2014/main" id="{4609C04B-9317-D5DD-D90F-A20FB4254F6A}"/>
              </a:ext>
            </a:extLst>
          </p:cNvPr>
          <p:cNvGrpSpPr/>
          <p:nvPr/>
        </p:nvGrpSpPr>
        <p:grpSpPr>
          <a:xfrm>
            <a:off x="11202319" y="2565463"/>
            <a:ext cx="343376" cy="328612"/>
            <a:chOff x="11202319" y="2565463"/>
            <a:chExt cx="343376" cy="328612"/>
          </a:xfrm>
          <a:noFill/>
        </p:grpSpPr>
        <p:sp>
          <p:nvSpPr>
            <p:cNvPr id="1101" name="Forma livre: Forma 1100">
              <a:extLst>
                <a:ext uri="{FF2B5EF4-FFF2-40B4-BE49-F238E27FC236}">
                  <a16:creationId xmlns:a16="http://schemas.microsoft.com/office/drawing/2014/main" id="{35E8E3AF-8E6C-BDEB-4F5A-CC8EA712F834}"/>
                </a:ext>
              </a:extLst>
            </p:cNvPr>
            <p:cNvSpPr/>
            <p:nvPr/>
          </p:nvSpPr>
          <p:spPr>
            <a:xfrm>
              <a:off x="11353243" y="2592609"/>
              <a:ext cx="41528" cy="41671"/>
            </a:xfrm>
            <a:custGeom>
              <a:avLst/>
              <a:gdLst>
                <a:gd name="connsiteX0" fmla="*/ 20764 w 41528"/>
                <a:gd name="connsiteY0" fmla="*/ 0 h 41671"/>
                <a:gd name="connsiteX1" fmla="*/ 0 w 41528"/>
                <a:gd name="connsiteY1" fmla="*/ 20764 h 41671"/>
                <a:gd name="connsiteX2" fmla="*/ 20764 w 41528"/>
                <a:gd name="connsiteY2" fmla="*/ 41672 h 41671"/>
                <a:gd name="connsiteX3" fmla="*/ 41529 w 41528"/>
                <a:gd name="connsiteY3" fmla="*/ 20764 h 41671"/>
                <a:gd name="connsiteX4" fmla="*/ 20764 w 41528"/>
                <a:gd name="connsiteY4" fmla="*/ 0 h 416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1528" h="41671">
                  <a:moveTo>
                    <a:pt x="20764" y="0"/>
                  </a:moveTo>
                  <a:cubicBezTo>
                    <a:pt x="9287" y="0"/>
                    <a:pt x="0" y="9334"/>
                    <a:pt x="0" y="20764"/>
                  </a:cubicBezTo>
                  <a:cubicBezTo>
                    <a:pt x="0" y="32195"/>
                    <a:pt x="9334" y="41672"/>
                    <a:pt x="20764" y="41672"/>
                  </a:cubicBezTo>
                  <a:cubicBezTo>
                    <a:pt x="32194" y="41672"/>
                    <a:pt x="41529" y="32242"/>
                    <a:pt x="41529" y="20764"/>
                  </a:cubicBezTo>
                  <a:cubicBezTo>
                    <a:pt x="41529" y="9287"/>
                    <a:pt x="32242" y="0"/>
                    <a:pt x="20764" y="0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02" name="Forma livre: Forma 1101">
              <a:extLst>
                <a:ext uri="{FF2B5EF4-FFF2-40B4-BE49-F238E27FC236}">
                  <a16:creationId xmlns:a16="http://schemas.microsoft.com/office/drawing/2014/main" id="{EB75706B-CFB0-FAEF-D5DF-C61211EB5680}"/>
                </a:ext>
              </a:extLst>
            </p:cNvPr>
            <p:cNvSpPr/>
            <p:nvPr/>
          </p:nvSpPr>
          <p:spPr>
            <a:xfrm>
              <a:off x="11287853" y="2684192"/>
              <a:ext cx="172354" cy="131873"/>
            </a:xfrm>
            <a:custGeom>
              <a:avLst/>
              <a:gdLst>
                <a:gd name="connsiteX0" fmla="*/ 0 w 172354"/>
                <a:gd name="connsiteY0" fmla="*/ 0 h 131873"/>
                <a:gd name="connsiteX1" fmla="*/ 0 w 172354"/>
                <a:gd name="connsiteY1" fmla="*/ 39672 h 131873"/>
                <a:gd name="connsiteX2" fmla="*/ 86154 w 172354"/>
                <a:gd name="connsiteY2" fmla="*/ 131874 h 131873"/>
                <a:gd name="connsiteX3" fmla="*/ 172355 w 172354"/>
                <a:gd name="connsiteY3" fmla="*/ 39672 h 131873"/>
                <a:gd name="connsiteX4" fmla="*/ 172355 w 172354"/>
                <a:gd name="connsiteY4" fmla="*/ 0 h 131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2354" h="131873">
                  <a:moveTo>
                    <a:pt x="0" y="0"/>
                  </a:moveTo>
                  <a:lnTo>
                    <a:pt x="0" y="39672"/>
                  </a:lnTo>
                  <a:cubicBezTo>
                    <a:pt x="0" y="90392"/>
                    <a:pt x="38767" y="131874"/>
                    <a:pt x="86154" y="131874"/>
                  </a:cubicBezTo>
                  <a:cubicBezTo>
                    <a:pt x="133541" y="131874"/>
                    <a:pt x="172355" y="90392"/>
                    <a:pt x="172355" y="39672"/>
                  </a:cubicBezTo>
                  <a:lnTo>
                    <a:pt x="172355" y="0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03" name="Forma livre: Forma 1102">
              <a:extLst>
                <a:ext uri="{FF2B5EF4-FFF2-40B4-BE49-F238E27FC236}">
                  <a16:creationId xmlns:a16="http://schemas.microsoft.com/office/drawing/2014/main" id="{033C77E9-891C-1EED-9E56-3B3FD5200C03}"/>
                </a:ext>
              </a:extLst>
            </p:cNvPr>
            <p:cNvSpPr/>
            <p:nvPr/>
          </p:nvSpPr>
          <p:spPr>
            <a:xfrm>
              <a:off x="11287853" y="2565463"/>
              <a:ext cx="172354" cy="92202"/>
            </a:xfrm>
            <a:custGeom>
              <a:avLst/>
              <a:gdLst>
                <a:gd name="connsiteX0" fmla="*/ 43482 w 172354"/>
                <a:gd name="connsiteY0" fmla="*/ 92202 h 92202"/>
                <a:gd name="connsiteX1" fmla="*/ 0 w 172354"/>
                <a:gd name="connsiteY1" fmla="*/ 92202 h 92202"/>
                <a:gd name="connsiteX2" fmla="*/ 86154 w 172354"/>
                <a:gd name="connsiteY2" fmla="*/ 0 h 92202"/>
                <a:gd name="connsiteX3" fmla="*/ 172355 w 172354"/>
                <a:gd name="connsiteY3" fmla="*/ 92202 h 92202"/>
                <a:gd name="connsiteX4" fmla="*/ 70199 w 172354"/>
                <a:gd name="connsiteY4" fmla="*/ 92202 h 922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2354" h="92202">
                  <a:moveTo>
                    <a:pt x="43482" y="92202"/>
                  </a:moveTo>
                  <a:lnTo>
                    <a:pt x="0" y="92202"/>
                  </a:lnTo>
                  <a:cubicBezTo>
                    <a:pt x="0" y="41481"/>
                    <a:pt x="38767" y="0"/>
                    <a:pt x="86154" y="0"/>
                  </a:cubicBezTo>
                  <a:cubicBezTo>
                    <a:pt x="133541" y="0"/>
                    <a:pt x="172355" y="41481"/>
                    <a:pt x="172355" y="92202"/>
                  </a:cubicBezTo>
                  <a:lnTo>
                    <a:pt x="70199" y="92202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104" name="Gráfico 11">
              <a:extLst>
                <a:ext uri="{FF2B5EF4-FFF2-40B4-BE49-F238E27FC236}">
                  <a16:creationId xmlns:a16="http://schemas.microsoft.com/office/drawing/2014/main" id="{025567E0-927E-A559-A228-58ED9180FE04}"/>
                </a:ext>
              </a:extLst>
            </p:cNvPr>
            <p:cNvGrpSpPr/>
            <p:nvPr/>
          </p:nvGrpSpPr>
          <p:grpSpPr>
            <a:xfrm>
              <a:off x="11323620" y="2700004"/>
              <a:ext cx="100774" cy="30051"/>
              <a:chOff x="11323620" y="2700004"/>
              <a:chExt cx="100774" cy="30051"/>
            </a:xfrm>
            <a:noFill/>
          </p:grpSpPr>
          <p:sp>
            <p:nvSpPr>
              <p:cNvPr id="1105" name="Forma livre: Forma 1104">
                <a:extLst>
                  <a:ext uri="{FF2B5EF4-FFF2-40B4-BE49-F238E27FC236}">
                    <a16:creationId xmlns:a16="http://schemas.microsoft.com/office/drawing/2014/main" id="{E660F23C-4519-1A75-A5BF-15B66D00C3E4}"/>
                  </a:ext>
                </a:extLst>
              </p:cNvPr>
              <p:cNvSpPr/>
              <p:nvPr/>
            </p:nvSpPr>
            <p:spPr>
              <a:xfrm>
                <a:off x="11323620" y="2700004"/>
                <a:ext cx="100774" cy="30051"/>
              </a:xfrm>
              <a:custGeom>
                <a:avLst/>
                <a:gdLst>
                  <a:gd name="connsiteX0" fmla="*/ 100774 w 100774"/>
                  <a:gd name="connsiteY0" fmla="*/ 0 h 30051"/>
                  <a:gd name="connsiteX1" fmla="*/ 100774 w 100774"/>
                  <a:gd name="connsiteY1" fmla="*/ 30051 h 30051"/>
                  <a:gd name="connsiteX2" fmla="*/ 0 w 100774"/>
                  <a:gd name="connsiteY2" fmla="*/ 30051 h 30051"/>
                  <a:gd name="connsiteX3" fmla="*/ 0 w 100774"/>
                  <a:gd name="connsiteY3" fmla="*/ 0 h 300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00774" h="30051">
                    <a:moveTo>
                      <a:pt x="100774" y="0"/>
                    </a:moveTo>
                    <a:lnTo>
                      <a:pt x="100774" y="30051"/>
                    </a:lnTo>
                    <a:lnTo>
                      <a:pt x="0" y="30051"/>
                    </a:lnTo>
                    <a:lnTo>
                      <a:pt x="0" y="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1106" name="Gráfico 11">
                <a:extLst>
                  <a:ext uri="{FF2B5EF4-FFF2-40B4-BE49-F238E27FC236}">
                    <a16:creationId xmlns:a16="http://schemas.microsoft.com/office/drawing/2014/main" id="{EB8314D1-8305-6C5D-579F-758C37F273B2}"/>
                  </a:ext>
                </a:extLst>
              </p:cNvPr>
              <p:cNvGrpSpPr/>
              <p:nvPr/>
            </p:nvGrpSpPr>
            <p:grpSpPr>
              <a:xfrm>
                <a:off x="11348766" y="2700004"/>
                <a:ext cx="50482" cy="16097"/>
                <a:chOff x="11348766" y="2700004"/>
                <a:chExt cx="50482" cy="16097"/>
              </a:xfrm>
            </p:grpSpPr>
            <p:sp>
              <p:nvSpPr>
                <p:cNvPr id="1107" name="Forma livre: Forma 1106">
                  <a:extLst>
                    <a:ext uri="{FF2B5EF4-FFF2-40B4-BE49-F238E27FC236}">
                      <a16:creationId xmlns:a16="http://schemas.microsoft.com/office/drawing/2014/main" id="{BDF7E835-11D6-0E86-246D-412D6F20CDC0}"/>
                    </a:ext>
                  </a:extLst>
                </p:cNvPr>
                <p:cNvSpPr/>
                <p:nvPr/>
              </p:nvSpPr>
              <p:spPr>
                <a:xfrm>
                  <a:off x="11348766" y="2700004"/>
                  <a:ext cx="4762" cy="16097"/>
                </a:xfrm>
                <a:custGeom>
                  <a:avLst/>
                  <a:gdLst>
                    <a:gd name="connsiteX0" fmla="*/ 0 w 4762"/>
                    <a:gd name="connsiteY0" fmla="*/ 0 h 16097"/>
                    <a:gd name="connsiteX1" fmla="*/ 0 w 4762"/>
                    <a:gd name="connsiteY1" fmla="*/ 16097 h 1609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762" h="16097">
                      <a:moveTo>
                        <a:pt x="0" y="0"/>
                      </a:moveTo>
                      <a:lnTo>
                        <a:pt x="0" y="16097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108" name="Forma livre: Forma 1107">
                  <a:extLst>
                    <a:ext uri="{FF2B5EF4-FFF2-40B4-BE49-F238E27FC236}">
                      <a16:creationId xmlns:a16="http://schemas.microsoft.com/office/drawing/2014/main" id="{05AB631D-E615-E3DB-E379-9B10D87D3724}"/>
                    </a:ext>
                  </a:extLst>
                </p:cNvPr>
                <p:cNvSpPr/>
                <p:nvPr/>
              </p:nvSpPr>
              <p:spPr>
                <a:xfrm>
                  <a:off x="11374007" y="2700004"/>
                  <a:ext cx="4762" cy="16097"/>
                </a:xfrm>
                <a:custGeom>
                  <a:avLst/>
                  <a:gdLst>
                    <a:gd name="connsiteX0" fmla="*/ 0 w 4762"/>
                    <a:gd name="connsiteY0" fmla="*/ 0 h 16097"/>
                    <a:gd name="connsiteX1" fmla="*/ 0 w 4762"/>
                    <a:gd name="connsiteY1" fmla="*/ 16097 h 1609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762" h="16097">
                      <a:moveTo>
                        <a:pt x="0" y="0"/>
                      </a:moveTo>
                      <a:lnTo>
                        <a:pt x="0" y="16097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109" name="Forma livre: Forma 1108">
                  <a:extLst>
                    <a:ext uri="{FF2B5EF4-FFF2-40B4-BE49-F238E27FC236}">
                      <a16:creationId xmlns:a16="http://schemas.microsoft.com/office/drawing/2014/main" id="{76766F72-784F-0317-2F58-B8B8DF973338}"/>
                    </a:ext>
                  </a:extLst>
                </p:cNvPr>
                <p:cNvSpPr/>
                <p:nvPr/>
              </p:nvSpPr>
              <p:spPr>
                <a:xfrm>
                  <a:off x="11399248" y="2700004"/>
                  <a:ext cx="4762" cy="16097"/>
                </a:xfrm>
                <a:custGeom>
                  <a:avLst/>
                  <a:gdLst>
                    <a:gd name="connsiteX0" fmla="*/ 0 w 4762"/>
                    <a:gd name="connsiteY0" fmla="*/ 0 h 16097"/>
                    <a:gd name="connsiteX1" fmla="*/ 0 w 4762"/>
                    <a:gd name="connsiteY1" fmla="*/ 16097 h 1609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762" h="16097">
                      <a:moveTo>
                        <a:pt x="0" y="0"/>
                      </a:moveTo>
                      <a:lnTo>
                        <a:pt x="0" y="16097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grpSp>
          <p:nvGrpSpPr>
            <p:cNvPr id="1110" name="Gráfico 11">
              <a:extLst>
                <a:ext uri="{FF2B5EF4-FFF2-40B4-BE49-F238E27FC236}">
                  <a16:creationId xmlns:a16="http://schemas.microsoft.com/office/drawing/2014/main" id="{30F321C2-CC56-2593-BD6F-82A7680A0AE4}"/>
                </a:ext>
              </a:extLst>
            </p:cNvPr>
            <p:cNvGrpSpPr/>
            <p:nvPr/>
          </p:nvGrpSpPr>
          <p:grpSpPr>
            <a:xfrm>
              <a:off x="11307142" y="2658570"/>
              <a:ext cx="133730" cy="23860"/>
              <a:chOff x="11307142" y="2658570"/>
              <a:chExt cx="133730" cy="23860"/>
            </a:xfrm>
          </p:grpSpPr>
          <p:sp>
            <p:nvSpPr>
              <p:cNvPr id="1111" name="Forma livre: Forma 1110">
                <a:extLst>
                  <a:ext uri="{FF2B5EF4-FFF2-40B4-BE49-F238E27FC236}">
                    <a16:creationId xmlns:a16="http://schemas.microsoft.com/office/drawing/2014/main" id="{3CF2B000-5751-9CE6-ABDF-0DDC7461FEDE}"/>
                  </a:ext>
                </a:extLst>
              </p:cNvPr>
              <p:cNvSpPr/>
              <p:nvPr/>
            </p:nvSpPr>
            <p:spPr>
              <a:xfrm>
                <a:off x="11307142" y="2658570"/>
                <a:ext cx="4762" cy="23860"/>
              </a:xfrm>
              <a:custGeom>
                <a:avLst/>
                <a:gdLst>
                  <a:gd name="connsiteX0" fmla="*/ 0 w 4762"/>
                  <a:gd name="connsiteY0" fmla="*/ 0 h 23860"/>
                  <a:gd name="connsiteX1" fmla="*/ 0 w 4762"/>
                  <a:gd name="connsiteY1" fmla="*/ 23860 h 238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62" h="23860">
                    <a:moveTo>
                      <a:pt x="0" y="0"/>
                    </a:moveTo>
                    <a:lnTo>
                      <a:pt x="0" y="2386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112" name="Forma livre: Forma 1111">
                <a:extLst>
                  <a:ext uri="{FF2B5EF4-FFF2-40B4-BE49-F238E27FC236}">
                    <a16:creationId xmlns:a16="http://schemas.microsoft.com/office/drawing/2014/main" id="{4506D20F-CCA0-D65E-8CF1-20899C4F8E0B}"/>
                  </a:ext>
                </a:extLst>
              </p:cNvPr>
              <p:cNvSpPr/>
              <p:nvPr/>
            </p:nvSpPr>
            <p:spPr>
              <a:xfrm>
                <a:off x="11440873" y="2658570"/>
                <a:ext cx="4762" cy="23860"/>
              </a:xfrm>
              <a:custGeom>
                <a:avLst/>
                <a:gdLst>
                  <a:gd name="connsiteX0" fmla="*/ 0 w 4762"/>
                  <a:gd name="connsiteY0" fmla="*/ 0 h 23860"/>
                  <a:gd name="connsiteX1" fmla="*/ 0 w 4762"/>
                  <a:gd name="connsiteY1" fmla="*/ 23860 h 238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62" h="23860">
                    <a:moveTo>
                      <a:pt x="0" y="0"/>
                    </a:moveTo>
                    <a:lnTo>
                      <a:pt x="0" y="2386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113" name="Gráfico 11">
              <a:extLst>
                <a:ext uri="{FF2B5EF4-FFF2-40B4-BE49-F238E27FC236}">
                  <a16:creationId xmlns:a16="http://schemas.microsoft.com/office/drawing/2014/main" id="{7198E6F0-7B6F-EC75-EC0F-BE9121E3601D}"/>
                </a:ext>
              </a:extLst>
            </p:cNvPr>
            <p:cNvGrpSpPr/>
            <p:nvPr/>
          </p:nvGrpSpPr>
          <p:grpSpPr>
            <a:xfrm>
              <a:off x="11271280" y="2788015"/>
              <a:ext cx="64198" cy="106060"/>
              <a:chOff x="11271280" y="2788015"/>
              <a:chExt cx="64198" cy="106060"/>
            </a:xfrm>
            <a:noFill/>
          </p:grpSpPr>
          <p:grpSp>
            <p:nvGrpSpPr>
              <p:cNvPr id="1114" name="Gráfico 11">
                <a:extLst>
                  <a:ext uri="{FF2B5EF4-FFF2-40B4-BE49-F238E27FC236}">
                    <a16:creationId xmlns:a16="http://schemas.microsoft.com/office/drawing/2014/main" id="{B5FC93F1-C64C-089D-BDD9-9F88723F80D9}"/>
                  </a:ext>
                </a:extLst>
              </p:cNvPr>
              <p:cNvGrpSpPr/>
              <p:nvPr/>
            </p:nvGrpSpPr>
            <p:grpSpPr>
              <a:xfrm>
                <a:off x="11289235" y="2788015"/>
                <a:ext cx="46243" cy="80391"/>
                <a:chOff x="11289235" y="2788015"/>
                <a:chExt cx="46243" cy="80391"/>
              </a:xfrm>
              <a:noFill/>
            </p:grpSpPr>
            <p:sp>
              <p:nvSpPr>
                <p:cNvPr id="1115" name="Forma livre: Forma 1114">
                  <a:extLst>
                    <a:ext uri="{FF2B5EF4-FFF2-40B4-BE49-F238E27FC236}">
                      <a16:creationId xmlns:a16="http://schemas.microsoft.com/office/drawing/2014/main" id="{9269790B-D32E-8452-B16D-B6E21544A00C}"/>
                    </a:ext>
                  </a:extLst>
                </p:cNvPr>
                <p:cNvSpPr/>
                <p:nvPr/>
              </p:nvSpPr>
              <p:spPr>
                <a:xfrm>
                  <a:off x="11299569" y="2788015"/>
                  <a:ext cx="12191" cy="22859"/>
                </a:xfrm>
                <a:custGeom>
                  <a:avLst/>
                  <a:gdLst>
                    <a:gd name="connsiteX0" fmla="*/ 0 w 12191"/>
                    <a:gd name="connsiteY0" fmla="*/ 22860 h 22859"/>
                    <a:gd name="connsiteX1" fmla="*/ 12192 w 12191"/>
                    <a:gd name="connsiteY1" fmla="*/ 0 h 2285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2191" h="22859">
                      <a:moveTo>
                        <a:pt x="0" y="22860"/>
                      </a:moveTo>
                      <a:cubicBezTo>
                        <a:pt x="5858" y="8668"/>
                        <a:pt x="11668" y="619"/>
                        <a:pt x="12192" y="0"/>
                      </a:cubicBez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116" name="Forma livre: Forma 1115">
                  <a:extLst>
                    <a:ext uri="{FF2B5EF4-FFF2-40B4-BE49-F238E27FC236}">
                      <a16:creationId xmlns:a16="http://schemas.microsoft.com/office/drawing/2014/main" id="{EC6BA07E-5698-C2B3-55B7-6097501963E3}"/>
                    </a:ext>
                  </a:extLst>
                </p:cNvPr>
                <p:cNvSpPr/>
                <p:nvPr/>
              </p:nvSpPr>
              <p:spPr>
                <a:xfrm>
                  <a:off x="11317238" y="2806303"/>
                  <a:ext cx="18240" cy="62103"/>
                </a:xfrm>
                <a:custGeom>
                  <a:avLst/>
                  <a:gdLst>
                    <a:gd name="connsiteX0" fmla="*/ 18240 w 18240"/>
                    <a:gd name="connsiteY0" fmla="*/ 0 h 62103"/>
                    <a:gd name="connsiteX1" fmla="*/ 0 w 18240"/>
                    <a:gd name="connsiteY1" fmla="*/ 62103 h 621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8240" h="62103">
                      <a:moveTo>
                        <a:pt x="18240" y="0"/>
                      </a:moveTo>
                      <a:cubicBezTo>
                        <a:pt x="17859" y="524"/>
                        <a:pt x="2096" y="22384"/>
                        <a:pt x="0" y="62103"/>
                      </a:cubicBez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117" name="Forma livre: Forma 1116">
                  <a:extLst>
                    <a:ext uri="{FF2B5EF4-FFF2-40B4-BE49-F238E27FC236}">
                      <a16:creationId xmlns:a16="http://schemas.microsoft.com/office/drawing/2014/main" id="{C09A13E7-EBC3-336D-C2C5-ED805127C19B}"/>
                    </a:ext>
                  </a:extLst>
                </p:cNvPr>
                <p:cNvSpPr/>
                <p:nvPr/>
              </p:nvSpPr>
              <p:spPr>
                <a:xfrm>
                  <a:off x="11289235" y="2829020"/>
                  <a:ext cx="31908" cy="19097"/>
                </a:xfrm>
                <a:custGeom>
                  <a:avLst/>
                  <a:gdLst>
                    <a:gd name="connsiteX0" fmla="*/ 31909 w 31908"/>
                    <a:gd name="connsiteY0" fmla="*/ 5810 h 19097"/>
                    <a:gd name="connsiteX1" fmla="*/ 3905 w 31908"/>
                    <a:gd name="connsiteY1" fmla="*/ 0 h 19097"/>
                    <a:gd name="connsiteX2" fmla="*/ 0 w 31908"/>
                    <a:gd name="connsiteY2" fmla="*/ 19098 h 1909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31908" h="19097">
                      <a:moveTo>
                        <a:pt x="31909" y="5810"/>
                      </a:moveTo>
                      <a:lnTo>
                        <a:pt x="3905" y="0"/>
                      </a:lnTo>
                      <a:cubicBezTo>
                        <a:pt x="2429" y="5477"/>
                        <a:pt x="1048" y="12621"/>
                        <a:pt x="0" y="19098"/>
                      </a:cubicBez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1118" name="Forma livre: Forma 1117">
                <a:extLst>
                  <a:ext uri="{FF2B5EF4-FFF2-40B4-BE49-F238E27FC236}">
                    <a16:creationId xmlns:a16="http://schemas.microsoft.com/office/drawing/2014/main" id="{5C2EA169-C325-B811-BC30-EF3573C78918}"/>
                  </a:ext>
                </a:extLst>
              </p:cNvPr>
              <p:cNvSpPr/>
              <p:nvPr/>
            </p:nvSpPr>
            <p:spPr>
              <a:xfrm>
                <a:off x="11271280" y="2864929"/>
                <a:ext cx="58340" cy="29146"/>
              </a:xfrm>
              <a:custGeom>
                <a:avLst/>
                <a:gdLst>
                  <a:gd name="connsiteX0" fmla="*/ 29146 w 58340"/>
                  <a:gd name="connsiteY0" fmla="*/ 0 h 29146"/>
                  <a:gd name="connsiteX1" fmla="*/ 0 w 58340"/>
                  <a:gd name="connsiteY1" fmla="*/ 29146 h 29146"/>
                  <a:gd name="connsiteX2" fmla="*/ 58341 w 58340"/>
                  <a:gd name="connsiteY2" fmla="*/ 29146 h 29146"/>
                  <a:gd name="connsiteX3" fmla="*/ 29194 w 58340"/>
                  <a:gd name="connsiteY3" fmla="*/ 0 h 291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8340" h="29146">
                    <a:moveTo>
                      <a:pt x="29146" y="0"/>
                    </a:moveTo>
                    <a:cubicBezTo>
                      <a:pt x="13049" y="0"/>
                      <a:pt x="0" y="13049"/>
                      <a:pt x="0" y="29146"/>
                    </a:cubicBezTo>
                    <a:lnTo>
                      <a:pt x="58341" y="29146"/>
                    </a:lnTo>
                    <a:cubicBezTo>
                      <a:pt x="58341" y="13049"/>
                      <a:pt x="45291" y="0"/>
                      <a:pt x="29194" y="0"/>
                    </a:cubicBezTo>
                    <a:close/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119" name="Gráfico 11">
              <a:extLst>
                <a:ext uri="{FF2B5EF4-FFF2-40B4-BE49-F238E27FC236}">
                  <a16:creationId xmlns:a16="http://schemas.microsoft.com/office/drawing/2014/main" id="{15DA403F-3C9A-5453-D6D8-5DC55233E3A9}"/>
                </a:ext>
              </a:extLst>
            </p:cNvPr>
            <p:cNvGrpSpPr/>
            <p:nvPr/>
          </p:nvGrpSpPr>
          <p:grpSpPr>
            <a:xfrm>
              <a:off x="11202319" y="2683240"/>
              <a:ext cx="343376" cy="90011"/>
              <a:chOff x="11202319" y="2683240"/>
              <a:chExt cx="343376" cy="90011"/>
            </a:xfrm>
            <a:noFill/>
          </p:grpSpPr>
          <p:sp>
            <p:nvSpPr>
              <p:cNvPr id="1120" name="Forma livre: Forma 1119">
                <a:extLst>
                  <a:ext uri="{FF2B5EF4-FFF2-40B4-BE49-F238E27FC236}">
                    <a16:creationId xmlns:a16="http://schemas.microsoft.com/office/drawing/2014/main" id="{10C8A703-2F2F-4D83-A61D-839EA42E044B}"/>
                  </a:ext>
                </a:extLst>
              </p:cNvPr>
              <p:cNvSpPr/>
              <p:nvPr/>
            </p:nvSpPr>
            <p:spPr>
              <a:xfrm>
                <a:off x="11202319" y="2754153"/>
                <a:ext cx="38195" cy="19097"/>
              </a:xfrm>
              <a:custGeom>
                <a:avLst/>
                <a:gdLst>
                  <a:gd name="connsiteX0" fmla="*/ 0 w 38195"/>
                  <a:gd name="connsiteY0" fmla="*/ 19098 h 19097"/>
                  <a:gd name="connsiteX1" fmla="*/ 19098 w 38195"/>
                  <a:gd name="connsiteY1" fmla="*/ 0 h 19097"/>
                  <a:gd name="connsiteX2" fmla="*/ 38195 w 38195"/>
                  <a:gd name="connsiteY2" fmla="*/ 19098 h 190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8195" h="19097">
                    <a:moveTo>
                      <a:pt x="0" y="19098"/>
                    </a:moveTo>
                    <a:cubicBezTo>
                      <a:pt x="0" y="8573"/>
                      <a:pt x="8525" y="0"/>
                      <a:pt x="19098" y="0"/>
                    </a:cubicBezTo>
                    <a:cubicBezTo>
                      <a:pt x="29670" y="0"/>
                      <a:pt x="38195" y="8525"/>
                      <a:pt x="38195" y="19098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121" name="Forma livre: Forma 1120">
                <a:extLst>
                  <a:ext uri="{FF2B5EF4-FFF2-40B4-BE49-F238E27FC236}">
                    <a16:creationId xmlns:a16="http://schemas.microsoft.com/office/drawing/2014/main" id="{F21BBBCF-5BE1-273E-A7BB-D5EBFD6E7C1B}"/>
                  </a:ext>
                </a:extLst>
              </p:cNvPr>
              <p:cNvSpPr/>
              <p:nvPr/>
            </p:nvSpPr>
            <p:spPr>
              <a:xfrm>
                <a:off x="11221464" y="2703242"/>
                <a:ext cx="33337" cy="50577"/>
              </a:xfrm>
              <a:custGeom>
                <a:avLst/>
                <a:gdLst>
                  <a:gd name="connsiteX0" fmla="*/ 33337 w 33337"/>
                  <a:gd name="connsiteY0" fmla="*/ 0 h 50577"/>
                  <a:gd name="connsiteX1" fmla="*/ 0 w 33337"/>
                  <a:gd name="connsiteY1" fmla="*/ 33337 h 50577"/>
                  <a:gd name="connsiteX2" fmla="*/ 0 w 33337"/>
                  <a:gd name="connsiteY2" fmla="*/ 50578 h 505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3337" h="50577">
                    <a:moveTo>
                      <a:pt x="33337" y="0"/>
                    </a:moveTo>
                    <a:cubicBezTo>
                      <a:pt x="15002" y="0"/>
                      <a:pt x="0" y="15002"/>
                      <a:pt x="0" y="33337"/>
                    </a:cubicBezTo>
                    <a:lnTo>
                      <a:pt x="0" y="50578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122" name="Forma livre: Forma 1121">
                <a:extLst>
                  <a:ext uri="{FF2B5EF4-FFF2-40B4-BE49-F238E27FC236}">
                    <a16:creationId xmlns:a16="http://schemas.microsoft.com/office/drawing/2014/main" id="{7B9561FC-726C-4190-32D7-4E42265FDD69}"/>
                  </a:ext>
                </a:extLst>
              </p:cNvPr>
              <p:cNvSpPr/>
              <p:nvPr/>
            </p:nvSpPr>
            <p:spPr>
              <a:xfrm>
                <a:off x="11507500" y="2754153"/>
                <a:ext cx="38195" cy="19097"/>
              </a:xfrm>
              <a:custGeom>
                <a:avLst/>
                <a:gdLst>
                  <a:gd name="connsiteX0" fmla="*/ 38195 w 38195"/>
                  <a:gd name="connsiteY0" fmla="*/ 19098 h 19097"/>
                  <a:gd name="connsiteX1" fmla="*/ 19098 w 38195"/>
                  <a:gd name="connsiteY1" fmla="*/ 0 h 19097"/>
                  <a:gd name="connsiteX2" fmla="*/ 0 w 38195"/>
                  <a:gd name="connsiteY2" fmla="*/ 19098 h 190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8195" h="19097">
                    <a:moveTo>
                      <a:pt x="38195" y="19098"/>
                    </a:moveTo>
                    <a:cubicBezTo>
                      <a:pt x="38195" y="8573"/>
                      <a:pt x="29670" y="0"/>
                      <a:pt x="19098" y="0"/>
                    </a:cubicBezTo>
                    <a:cubicBezTo>
                      <a:pt x="8525" y="0"/>
                      <a:pt x="0" y="8525"/>
                      <a:pt x="0" y="19098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123" name="Forma livre: Forma 1122">
                <a:extLst>
                  <a:ext uri="{FF2B5EF4-FFF2-40B4-BE49-F238E27FC236}">
                    <a16:creationId xmlns:a16="http://schemas.microsoft.com/office/drawing/2014/main" id="{4AFAD34E-7408-FCA5-14BB-1E5AB6BABB7B}"/>
                  </a:ext>
                </a:extLst>
              </p:cNvPr>
              <p:cNvSpPr/>
              <p:nvPr/>
            </p:nvSpPr>
            <p:spPr>
              <a:xfrm>
                <a:off x="11256183" y="2683240"/>
                <a:ext cx="235648" cy="40338"/>
              </a:xfrm>
              <a:custGeom>
                <a:avLst/>
                <a:gdLst>
                  <a:gd name="connsiteX0" fmla="*/ 220361 w 235648"/>
                  <a:gd name="connsiteY0" fmla="*/ 40338 h 40338"/>
                  <a:gd name="connsiteX1" fmla="*/ 235648 w 235648"/>
                  <a:gd name="connsiteY1" fmla="*/ 40338 h 40338"/>
                  <a:gd name="connsiteX2" fmla="*/ 235648 w 235648"/>
                  <a:gd name="connsiteY2" fmla="*/ 0 h 40338"/>
                  <a:gd name="connsiteX3" fmla="*/ 0 w 235648"/>
                  <a:gd name="connsiteY3" fmla="*/ 0 h 40338"/>
                  <a:gd name="connsiteX4" fmla="*/ 0 w 235648"/>
                  <a:gd name="connsiteY4" fmla="*/ 40338 h 40338"/>
                  <a:gd name="connsiteX5" fmla="*/ 15288 w 235648"/>
                  <a:gd name="connsiteY5" fmla="*/ 40338 h 403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35648" h="40338">
                    <a:moveTo>
                      <a:pt x="220361" y="40338"/>
                    </a:moveTo>
                    <a:lnTo>
                      <a:pt x="235648" y="40338"/>
                    </a:lnTo>
                    <a:lnTo>
                      <a:pt x="235648" y="0"/>
                    </a:lnTo>
                    <a:lnTo>
                      <a:pt x="0" y="0"/>
                    </a:lnTo>
                    <a:lnTo>
                      <a:pt x="0" y="40338"/>
                    </a:lnTo>
                    <a:lnTo>
                      <a:pt x="15288" y="40338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124" name="Forma livre: Forma 1123">
                <a:extLst>
                  <a:ext uri="{FF2B5EF4-FFF2-40B4-BE49-F238E27FC236}">
                    <a16:creationId xmlns:a16="http://schemas.microsoft.com/office/drawing/2014/main" id="{5C50EFBC-D59B-E166-6275-66CF1A11BE80}"/>
                  </a:ext>
                </a:extLst>
              </p:cNvPr>
              <p:cNvSpPr/>
              <p:nvPr/>
            </p:nvSpPr>
            <p:spPr>
              <a:xfrm>
                <a:off x="11493212" y="2703242"/>
                <a:ext cx="33337" cy="50577"/>
              </a:xfrm>
              <a:custGeom>
                <a:avLst/>
                <a:gdLst>
                  <a:gd name="connsiteX0" fmla="*/ 0 w 33337"/>
                  <a:gd name="connsiteY0" fmla="*/ 0 h 50577"/>
                  <a:gd name="connsiteX1" fmla="*/ 33337 w 33337"/>
                  <a:gd name="connsiteY1" fmla="*/ 33337 h 50577"/>
                  <a:gd name="connsiteX2" fmla="*/ 33337 w 33337"/>
                  <a:gd name="connsiteY2" fmla="*/ 50578 h 505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3337" h="50577">
                    <a:moveTo>
                      <a:pt x="0" y="0"/>
                    </a:moveTo>
                    <a:cubicBezTo>
                      <a:pt x="18336" y="0"/>
                      <a:pt x="33337" y="15002"/>
                      <a:pt x="33337" y="33337"/>
                    </a:cubicBezTo>
                    <a:lnTo>
                      <a:pt x="33337" y="50578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125" name="Gráfico 11">
              <a:extLst>
                <a:ext uri="{FF2B5EF4-FFF2-40B4-BE49-F238E27FC236}">
                  <a16:creationId xmlns:a16="http://schemas.microsoft.com/office/drawing/2014/main" id="{738FF596-73BC-8BED-B64A-E1D3ED1FDA96}"/>
                </a:ext>
              </a:extLst>
            </p:cNvPr>
            <p:cNvGrpSpPr/>
            <p:nvPr/>
          </p:nvGrpSpPr>
          <p:grpSpPr>
            <a:xfrm>
              <a:off x="11412536" y="2788015"/>
              <a:ext cx="64198" cy="106060"/>
              <a:chOff x="11412536" y="2788015"/>
              <a:chExt cx="64198" cy="106060"/>
            </a:xfrm>
            <a:noFill/>
          </p:grpSpPr>
          <p:grpSp>
            <p:nvGrpSpPr>
              <p:cNvPr id="1126" name="Gráfico 11">
                <a:extLst>
                  <a:ext uri="{FF2B5EF4-FFF2-40B4-BE49-F238E27FC236}">
                    <a16:creationId xmlns:a16="http://schemas.microsoft.com/office/drawing/2014/main" id="{A5F4DC0A-A03E-6D4E-0AD2-FF0F863BAF00}"/>
                  </a:ext>
                </a:extLst>
              </p:cNvPr>
              <p:cNvGrpSpPr/>
              <p:nvPr/>
            </p:nvGrpSpPr>
            <p:grpSpPr>
              <a:xfrm>
                <a:off x="11412536" y="2788015"/>
                <a:ext cx="46243" cy="80391"/>
                <a:chOff x="11412536" y="2788015"/>
                <a:chExt cx="46243" cy="80391"/>
              </a:xfrm>
              <a:noFill/>
            </p:grpSpPr>
            <p:sp>
              <p:nvSpPr>
                <p:cNvPr id="1127" name="Forma livre: Forma 1126">
                  <a:extLst>
                    <a:ext uri="{FF2B5EF4-FFF2-40B4-BE49-F238E27FC236}">
                      <a16:creationId xmlns:a16="http://schemas.microsoft.com/office/drawing/2014/main" id="{A8C498F2-DD7C-578D-6FEF-36A75D6842CC}"/>
                    </a:ext>
                  </a:extLst>
                </p:cNvPr>
                <p:cNvSpPr/>
                <p:nvPr/>
              </p:nvSpPr>
              <p:spPr>
                <a:xfrm>
                  <a:off x="11436253" y="2788015"/>
                  <a:ext cx="12191" cy="22859"/>
                </a:xfrm>
                <a:custGeom>
                  <a:avLst/>
                  <a:gdLst>
                    <a:gd name="connsiteX0" fmla="*/ 12192 w 12191"/>
                    <a:gd name="connsiteY0" fmla="*/ 22860 h 22859"/>
                    <a:gd name="connsiteX1" fmla="*/ 0 w 12191"/>
                    <a:gd name="connsiteY1" fmla="*/ 0 h 2285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2191" h="22859">
                      <a:moveTo>
                        <a:pt x="12192" y="22860"/>
                      </a:moveTo>
                      <a:cubicBezTo>
                        <a:pt x="6334" y="8668"/>
                        <a:pt x="524" y="619"/>
                        <a:pt x="0" y="0"/>
                      </a:cubicBez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128" name="Forma livre: Forma 1127">
                  <a:extLst>
                    <a:ext uri="{FF2B5EF4-FFF2-40B4-BE49-F238E27FC236}">
                      <a16:creationId xmlns:a16="http://schemas.microsoft.com/office/drawing/2014/main" id="{18666C67-5DE4-7930-18B5-EFB79858ECEE}"/>
                    </a:ext>
                  </a:extLst>
                </p:cNvPr>
                <p:cNvSpPr/>
                <p:nvPr/>
              </p:nvSpPr>
              <p:spPr>
                <a:xfrm>
                  <a:off x="11412536" y="2806303"/>
                  <a:ext cx="18240" cy="62103"/>
                </a:xfrm>
                <a:custGeom>
                  <a:avLst/>
                  <a:gdLst>
                    <a:gd name="connsiteX0" fmla="*/ 0 w 18240"/>
                    <a:gd name="connsiteY0" fmla="*/ 0 h 62103"/>
                    <a:gd name="connsiteX1" fmla="*/ 18240 w 18240"/>
                    <a:gd name="connsiteY1" fmla="*/ 62103 h 621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8240" h="62103">
                      <a:moveTo>
                        <a:pt x="0" y="0"/>
                      </a:moveTo>
                      <a:cubicBezTo>
                        <a:pt x="381" y="524"/>
                        <a:pt x="16145" y="22384"/>
                        <a:pt x="18240" y="62103"/>
                      </a:cubicBez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129" name="Forma livre: Forma 1128">
                  <a:extLst>
                    <a:ext uri="{FF2B5EF4-FFF2-40B4-BE49-F238E27FC236}">
                      <a16:creationId xmlns:a16="http://schemas.microsoft.com/office/drawing/2014/main" id="{0ABD770E-BD6A-8275-243C-823E4E5B087D}"/>
                    </a:ext>
                  </a:extLst>
                </p:cNvPr>
                <p:cNvSpPr/>
                <p:nvPr/>
              </p:nvSpPr>
              <p:spPr>
                <a:xfrm>
                  <a:off x="11426871" y="2829020"/>
                  <a:ext cx="31908" cy="19097"/>
                </a:xfrm>
                <a:custGeom>
                  <a:avLst/>
                  <a:gdLst>
                    <a:gd name="connsiteX0" fmla="*/ 0 w 31908"/>
                    <a:gd name="connsiteY0" fmla="*/ 5810 h 19097"/>
                    <a:gd name="connsiteX1" fmla="*/ 28004 w 31908"/>
                    <a:gd name="connsiteY1" fmla="*/ 0 h 19097"/>
                    <a:gd name="connsiteX2" fmla="*/ 31909 w 31908"/>
                    <a:gd name="connsiteY2" fmla="*/ 19098 h 1909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31908" h="19097">
                      <a:moveTo>
                        <a:pt x="0" y="5810"/>
                      </a:moveTo>
                      <a:lnTo>
                        <a:pt x="28004" y="0"/>
                      </a:lnTo>
                      <a:cubicBezTo>
                        <a:pt x="29480" y="5477"/>
                        <a:pt x="30861" y="12621"/>
                        <a:pt x="31909" y="19098"/>
                      </a:cubicBez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1130" name="Forma livre: Forma 1129">
                <a:extLst>
                  <a:ext uri="{FF2B5EF4-FFF2-40B4-BE49-F238E27FC236}">
                    <a16:creationId xmlns:a16="http://schemas.microsoft.com/office/drawing/2014/main" id="{8EEE2290-C7C8-0981-82BC-92A93D63525B}"/>
                  </a:ext>
                </a:extLst>
              </p:cNvPr>
              <p:cNvSpPr/>
              <p:nvPr/>
            </p:nvSpPr>
            <p:spPr>
              <a:xfrm>
                <a:off x="11418394" y="2864929"/>
                <a:ext cx="58340" cy="29146"/>
              </a:xfrm>
              <a:custGeom>
                <a:avLst/>
                <a:gdLst>
                  <a:gd name="connsiteX0" fmla="*/ 29194 w 58340"/>
                  <a:gd name="connsiteY0" fmla="*/ 0 h 29146"/>
                  <a:gd name="connsiteX1" fmla="*/ 58341 w 58340"/>
                  <a:gd name="connsiteY1" fmla="*/ 29146 h 29146"/>
                  <a:gd name="connsiteX2" fmla="*/ 0 w 58340"/>
                  <a:gd name="connsiteY2" fmla="*/ 29146 h 29146"/>
                  <a:gd name="connsiteX3" fmla="*/ 29146 w 58340"/>
                  <a:gd name="connsiteY3" fmla="*/ 0 h 291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8340" h="29146">
                    <a:moveTo>
                      <a:pt x="29194" y="0"/>
                    </a:moveTo>
                    <a:cubicBezTo>
                      <a:pt x="45291" y="0"/>
                      <a:pt x="58341" y="13049"/>
                      <a:pt x="58341" y="29146"/>
                    </a:cubicBezTo>
                    <a:lnTo>
                      <a:pt x="0" y="29146"/>
                    </a:lnTo>
                    <a:cubicBezTo>
                      <a:pt x="0" y="13049"/>
                      <a:pt x="13049" y="0"/>
                      <a:pt x="29146" y="0"/>
                    </a:cubicBezTo>
                    <a:close/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133" name="Gráfico 13">
            <a:extLst>
              <a:ext uri="{FF2B5EF4-FFF2-40B4-BE49-F238E27FC236}">
                <a16:creationId xmlns:a16="http://schemas.microsoft.com/office/drawing/2014/main" id="{558ACF58-9396-20B6-B187-3AFD6A871F3D}"/>
              </a:ext>
            </a:extLst>
          </p:cNvPr>
          <p:cNvGrpSpPr/>
          <p:nvPr/>
        </p:nvGrpSpPr>
        <p:grpSpPr>
          <a:xfrm>
            <a:off x="857614" y="3587212"/>
            <a:ext cx="171313" cy="313177"/>
            <a:chOff x="857614" y="3587212"/>
            <a:chExt cx="171313" cy="313177"/>
          </a:xfrm>
          <a:noFill/>
        </p:grpSpPr>
        <p:grpSp>
          <p:nvGrpSpPr>
            <p:cNvPr id="1134" name="Gráfico 13">
              <a:extLst>
                <a:ext uri="{FF2B5EF4-FFF2-40B4-BE49-F238E27FC236}">
                  <a16:creationId xmlns:a16="http://schemas.microsoft.com/office/drawing/2014/main" id="{B6607615-70F7-2671-7F7F-C2E16684A2F0}"/>
                </a:ext>
              </a:extLst>
            </p:cNvPr>
            <p:cNvGrpSpPr/>
            <p:nvPr/>
          </p:nvGrpSpPr>
          <p:grpSpPr>
            <a:xfrm>
              <a:off x="909209" y="3633955"/>
              <a:ext cx="68073" cy="107947"/>
              <a:chOff x="909209" y="3633955"/>
              <a:chExt cx="68073" cy="107947"/>
            </a:xfrm>
            <a:noFill/>
          </p:grpSpPr>
          <p:grpSp>
            <p:nvGrpSpPr>
              <p:cNvPr id="1135" name="Gráfico 13">
                <a:extLst>
                  <a:ext uri="{FF2B5EF4-FFF2-40B4-BE49-F238E27FC236}">
                    <a16:creationId xmlns:a16="http://schemas.microsoft.com/office/drawing/2014/main" id="{B70F342B-DFA8-811B-EA25-7FAD4F1C5F08}"/>
                  </a:ext>
                </a:extLst>
              </p:cNvPr>
              <p:cNvGrpSpPr/>
              <p:nvPr/>
            </p:nvGrpSpPr>
            <p:grpSpPr>
              <a:xfrm>
                <a:off x="909209" y="3647839"/>
                <a:ext cx="68073" cy="80132"/>
                <a:chOff x="909209" y="3647839"/>
                <a:chExt cx="68073" cy="80132"/>
              </a:xfrm>
              <a:noFill/>
            </p:grpSpPr>
            <p:sp>
              <p:nvSpPr>
                <p:cNvPr id="1136" name="Forma livre: Forma 1135">
                  <a:extLst>
                    <a:ext uri="{FF2B5EF4-FFF2-40B4-BE49-F238E27FC236}">
                      <a16:creationId xmlns:a16="http://schemas.microsoft.com/office/drawing/2014/main" id="{E0C8F9CF-0C72-5FE0-D0CA-98F20F517F6D}"/>
                    </a:ext>
                  </a:extLst>
                </p:cNvPr>
                <p:cNvSpPr/>
                <p:nvPr/>
              </p:nvSpPr>
              <p:spPr>
                <a:xfrm>
                  <a:off x="909209" y="3647839"/>
                  <a:ext cx="68073" cy="40066"/>
                </a:xfrm>
                <a:custGeom>
                  <a:avLst/>
                  <a:gdLst>
                    <a:gd name="connsiteX0" fmla="*/ 0 w 68073"/>
                    <a:gd name="connsiteY0" fmla="*/ 0 h 40066"/>
                    <a:gd name="connsiteX1" fmla="*/ 47560 w 68073"/>
                    <a:gd name="connsiteY1" fmla="*/ 0 h 40066"/>
                    <a:gd name="connsiteX2" fmla="*/ 68074 w 68073"/>
                    <a:gd name="connsiteY2" fmla="*/ 20033 h 40066"/>
                    <a:gd name="connsiteX3" fmla="*/ 47560 w 68073"/>
                    <a:gd name="connsiteY3" fmla="*/ 40066 h 40066"/>
                    <a:gd name="connsiteX4" fmla="*/ 16142 w 68073"/>
                    <a:gd name="connsiteY4" fmla="*/ 40066 h 4006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68073" h="40066">
                      <a:moveTo>
                        <a:pt x="0" y="0"/>
                      </a:moveTo>
                      <a:lnTo>
                        <a:pt x="47560" y="0"/>
                      </a:lnTo>
                      <a:cubicBezTo>
                        <a:pt x="58850" y="0"/>
                        <a:pt x="68074" y="9032"/>
                        <a:pt x="68074" y="20033"/>
                      </a:cubicBezTo>
                      <a:cubicBezTo>
                        <a:pt x="68074" y="31034"/>
                        <a:pt x="58850" y="40066"/>
                        <a:pt x="47560" y="40066"/>
                      </a:cubicBezTo>
                      <a:lnTo>
                        <a:pt x="16142" y="40066"/>
                      </a:ln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137" name="Forma livre: Forma 1136">
                  <a:extLst>
                    <a:ext uri="{FF2B5EF4-FFF2-40B4-BE49-F238E27FC236}">
                      <a16:creationId xmlns:a16="http://schemas.microsoft.com/office/drawing/2014/main" id="{CAC50C83-54A3-8DA9-9422-25022D86696D}"/>
                    </a:ext>
                  </a:extLst>
                </p:cNvPr>
                <p:cNvSpPr/>
                <p:nvPr/>
              </p:nvSpPr>
              <p:spPr>
                <a:xfrm>
                  <a:off x="909209" y="3687905"/>
                  <a:ext cx="68073" cy="40066"/>
                </a:xfrm>
                <a:custGeom>
                  <a:avLst/>
                  <a:gdLst>
                    <a:gd name="connsiteX0" fmla="*/ 47560 w 68073"/>
                    <a:gd name="connsiteY0" fmla="*/ 0 h 40066"/>
                    <a:gd name="connsiteX1" fmla="*/ 68074 w 68073"/>
                    <a:gd name="connsiteY1" fmla="*/ 20033 h 40066"/>
                    <a:gd name="connsiteX2" fmla="*/ 47560 w 68073"/>
                    <a:gd name="connsiteY2" fmla="*/ 40066 h 40066"/>
                    <a:gd name="connsiteX3" fmla="*/ 0 w 68073"/>
                    <a:gd name="connsiteY3" fmla="*/ 40066 h 4006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68073" h="40066">
                      <a:moveTo>
                        <a:pt x="47560" y="0"/>
                      </a:moveTo>
                      <a:cubicBezTo>
                        <a:pt x="58850" y="0"/>
                        <a:pt x="68074" y="9032"/>
                        <a:pt x="68074" y="20033"/>
                      </a:cubicBezTo>
                      <a:cubicBezTo>
                        <a:pt x="68074" y="31034"/>
                        <a:pt x="58850" y="40066"/>
                        <a:pt x="47560" y="40066"/>
                      </a:cubicBezTo>
                      <a:lnTo>
                        <a:pt x="0" y="40066"/>
                      </a:ln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1138" name="Forma livre: Forma 1137">
                <a:extLst>
                  <a:ext uri="{FF2B5EF4-FFF2-40B4-BE49-F238E27FC236}">
                    <a16:creationId xmlns:a16="http://schemas.microsoft.com/office/drawing/2014/main" id="{F64DDF97-1417-9D5D-E286-462E1DB8FBF9}"/>
                  </a:ext>
                </a:extLst>
              </p:cNvPr>
              <p:cNvSpPr/>
              <p:nvPr/>
            </p:nvSpPr>
            <p:spPr>
              <a:xfrm>
                <a:off x="924534" y="3633955"/>
                <a:ext cx="4804" cy="107947"/>
              </a:xfrm>
              <a:custGeom>
                <a:avLst/>
                <a:gdLst>
                  <a:gd name="connsiteX0" fmla="*/ 0 w 4804"/>
                  <a:gd name="connsiteY0" fmla="*/ 0 h 107947"/>
                  <a:gd name="connsiteX1" fmla="*/ 0 w 4804"/>
                  <a:gd name="connsiteY1" fmla="*/ 107948 h 1079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804" h="107947">
                    <a:moveTo>
                      <a:pt x="0" y="0"/>
                    </a:moveTo>
                    <a:lnTo>
                      <a:pt x="0" y="107948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1139" name="Gráfico 13">
                <a:extLst>
                  <a:ext uri="{FF2B5EF4-FFF2-40B4-BE49-F238E27FC236}">
                    <a16:creationId xmlns:a16="http://schemas.microsoft.com/office/drawing/2014/main" id="{A615C0C4-20C4-96F1-579C-75D9BD8495F4}"/>
                  </a:ext>
                </a:extLst>
              </p:cNvPr>
              <p:cNvGrpSpPr/>
              <p:nvPr/>
            </p:nvGrpSpPr>
            <p:grpSpPr>
              <a:xfrm>
                <a:off x="947978" y="3633955"/>
                <a:ext cx="4804" cy="107947"/>
                <a:chOff x="947978" y="3633955"/>
                <a:chExt cx="4804" cy="107947"/>
              </a:xfrm>
            </p:grpSpPr>
            <p:sp>
              <p:nvSpPr>
                <p:cNvPr id="1140" name="Forma livre: Forma 1139">
                  <a:extLst>
                    <a:ext uri="{FF2B5EF4-FFF2-40B4-BE49-F238E27FC236}">
                      <a16:creationId xmlns:a16="http://schemas.microsoft.com/office/drawing/2014/main" id="{CD7C5914-70F3-8338-B632-7E1297396DB3}"/>
                    </a:ext>
                  </a:extLst>
                </p:cNvPr>
                <p:cNvSpPr/>
                <p:nvPr/>
              </p:nvSpPr>
              <p:spPr>
                <a:xfrm>
                  <a:off x="947978" y="3633955"/>
                  <a:ext cx="4804" cy="13547"/>
                </a:xfrm>
                <a:custGeom>
                  <a:avLst/>
                  <a:gdLst>
                    <a:gd name="connsiteX0" fmla="*/ 0 w 4804"/>
                    <a:gd name="connsiteY0" fmla="*/ 0 h 13547"/>
                    <a:gd name="connsiteX1" fmla="*/ 0 w 4804"/>
                    <a:gd name="connsiteY1" fmla="*/ 13548 h 1354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804" h="13547">
                      <a:moveTo>
                        <a:pt x="0" y="0"/>
                      </a:moveTo>
                      <a:lnTo>
                        <a:pt x="0" y="13548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141" name="Forma livre: Forma 1140">
                  <a:extLst>
                    <a:ext uri="{FF2B5EF4-FFF2-40B4-BE49-F238E27FC236}">
                      <a16:creationId xmlns:a16="http://schemas.microsoft.com/office/drawing/2014/main" id="{ADD9B439-8FE6-8408-41D2-3782F9DBD4E4}"/>
                    </a:ext>
                  </a:extLst>
                </p:cNvPr>
                <p:cNvSpPr/>
                <p:nvPr/>
              </p:nvSpPr>
              <p:spPr>
                <a:xfrm>
                  <a:off x="947978" y="3728355"/>
                  <a:ext cx="4804" cy="13547"/>
                </a:xfrm>
                <a:custGeom>
                  <a:avLst/>
                  <a:gdLst>
                    <a:gd name="connsiteX0" fmla="*/ 0 w 4804"/>
                    <a:gd name="connsiteY0" fmla="*/ 0 h 13547"/>
                    <a:gd name="connsiteX1" fmla="*/ 0 w 4804"/>
                    <a:gd name="connsiteY1" fmla="*/ 13548 h 1354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804" h="13547">
                      <a:moveTo>
                        <a:pt x="0" y="0"/>
                      </a:moveTo>
                      <a:lnTo>
                        <a:pt x="0" y="13548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sp>
          <p:nvSpPr>
            <p:cNvPr id="1142" name="Forma livre: Forma 1141">
              <a:extLst>
                <a:ext uri="{FF2B5EF4-FFF2-40B4-BE49-F238E27FC236}">
                  <a16:creationId xmlns:a16="http://schemas.microsoft.com/office/drawing/2014/main" id="{94B18556-97F8-A2C6-55B5-7739E44EBD19}"/>
                </a:ext>
              </a:extLst>
            </p:cNvPr>
            <p:cNvSpPr/>
            <p:nvPr/>
          </p:nvSpPr>
          <p:spPr>
            <a:xfrm>
              <a:off x="857614" y="3587212"/>
              <a:ext cx="171313" cy="277243"/>
            </a:xfrm>
            <a:custGeom>
              <a:avLst/>
              <a:gdLst>
                <a:gd name="connsiteX0" fmla="*/ 171313 w 171313"/>
                <a:gd name="connsiteY0" fmla="*/ 85657 h 277243"/>
                <a:gd name="connsiteX1" fmla="*/ 85657 w 171313"/>
                <a:gd name="connsiteY1" fmla="*/ 277243 h 277243"/>
                <a:gd name="connsiteX2" fmla="*/ 0 w 171313"/>
                <a:gd name="connsiteY2" fmla="*/ 85657 h 277243"/>
                <a:gd name="connsiteX3" fmla="*/ 85657 w 171313"/>
                <a:gd name="connsiteY3" fmla="*/ 0 h 277243"/>
                <a:gd name="connsiteX4" fmla="*/ 171313 w 171313"/>
                <a:gd name="connsiteY4" fmla="*/ 85657 h 2772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1313" h="277243">
                  <a:moveTo>
                    <a:pt x="171313" y="85657"/>
                  </a:moveTo>
                  <a:cubicBezTo>
                    <a:pt x="171313" y="132977"/>
                    <a:pt x="85657" y="277243"/>
                    <a:pt x="85657" y="277243"/>
                  </a:cubicBezTo>
                  <a:cubicBezTo>
                    <a:pt x="85657" y="277243"/>
                    <a:pt x="0" y="132977"/>
                    <a:pt x="0" y="85657"/>
                  </a:cubicBezTo>
                  <a:cubicBezTo>
                    <a:pt x="0" y="38337"/>
                    <a:pt x="38337" y="0"/>
                    <a:pt x="85657" y="0"/>
                  </a:cubicBezTo>
                  <a:cubicBezTo>
                    <a:pt x="132977" y="0"/>
                    <a:pt x="171313" y="38337"/>
                    <a:pt x="171313" y="85657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43" name="Forma livre: Forma 1142">
              <a:extLst>
                <a:ext uri="{FF2B5EF4-FFF2-40B4-BE49-F238E27FC236}">
                  <a16:creationId xmlns:a16="http://schemas.microsoft.com/office/drawing/2014/main" id="{D7595B46-D320-4BC2-E70F-80419FCCBE23}"/>
                </a:ext>
              </a:extLst>
            </p:cNvPr>
            <p:cNvSpPr/>
            <p:nvPr/>
          </p:nvSpPr>
          <p:spPr>
            <a:xfrm>
              <a:off x="903204" y="3900390"/>
              <a:ext cx="80083" cy="4804"/>
            </a:xfrm>
            <a:custGeom>
              <a:avLst/>
              <a:gdLst>
                <a:gd name="connsiteX0" fmla="*/ 0 w 80083"/>
                <a:gd name="connsiteY0" fmla="*/ 0 h 4804"/>
                <a:gd name="connsiteX1" fmla="*/ 80084 w 80083"/>
                <a:gd name="connsiteY1" fmla="*/ 0 h 48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0083" h="4804">
                  <a:moveTo>
                    <a:pt x="0" y="0"/>
                  </a:moveTo>
                  <a:lnTo>
                    <a:pt x="80084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144" name="Gráfico 13">
            <a:extLst>
              <a:ext uri="{FF2B5EF4-FFF2-40B4-BE49-F238E27FC236}">
                <a16:creationId xmlns:a16="http://schemas.microsoft.com/office/drawing/2014/main" id="{9D39EE0E-3B87-CC56-BA09-D4851368B471}"/>
              </a:ext>
            </a:extLst>
          </p:cNvPr>
          <p:cNvGrpSpPr/>
          <p:nvPr/>
        </p:nvGrpSpPr>
        <p:grpSpPr>
          <a:xfrm>
            <a:off x="2053205" y="3604891"/>
            <a:ext cx="277915" cy="277867"/>
            <a:chOff x="2053205" y="3604891"/>
            <a:chExt cx="277915" cy="277867"/>
          </a:xfrm>
          <a:noFill/>
        </p:grpSpPr>
        <p:grpSp>
          <p:nvGrpSpPr>
            <p:cNvPr id="1145" name="Gráfico 13">
              <a:extLst>
                <a:ext uri="{FF2B5EF4-FFF2-40B4-BE49-F238E27FC236}">
                  <a16:creationId xmlns:a16="http://schemas.microsoft.com/office/drawing/2014/main" id="{6B2D4C76-5D33-A8D8-8318-33E7EE8ADDD2}"/>
                </a:ext>
              </a:extLst>
            </p:cNvPr>
            <p:cNvGrpSpPr/>
            <p:nvPr/>
          </p:nvGrpSpPr>
          <p:grpSpPr>
            <a:xfrm>
              <a:off x="2155099" y="3681275"/>
              <a:ext cx="75808" cy="124761"/>
              <a:chOff x="2155099" y="3681275"/>
              <a:chExt cx="75808" cy="124761"/>
            </a:xfrm>
            <a:noFill/>
          </p:grpSpPr>
          <p:grpSp>
            <p:nvGrpSpPr>
              <p:cNvPr id="1146" name="Gráfico 13">
                <a:extLst>
                  <a:ext uri="{FF2B5EF4-FFF2-40B4-BE49-F238E27FC236}">
                    <a16:creationId xmlns:a16="http://schemas.microsoft.com/office/drawing/2014/main" id="{7B8953A9-BB57-CD0D-EB6B-080077A18400}"/>
                  </a:ext>
                </a:extLst>
              </p:cNvPr>
              <p:cNvGrpSpPr/>
              <p:nvPr/>
            </p:nvGrpSpPr>
            <p:grpSpPr>
              <a:xfrm>
                <a:off x="2155099" y="3700156"/>
                <a:ext cx="75808" cy="87049"/>
                <a:chOff x="2155099" y="3700156"/>
                <a:chExt cx="75808" cy="87049"/>
              </a:xfrm>
              <a:noFill/>
            </p:grpSpPr>
            <p:sp>
              <p:nvSpPr>
                <p:cNvPr id="1147" name="Forma livre: Forma 1146">
                  <a:extLst>
                    <a:ext uri="{FF2B5EF4-FFF2-40B4-BE49-F238E27FC236}">
                      <a16:creationId xmlns:a16="http://schemas.microsoft.com/office/drawing/2014/main" id="{A6D70FBE-3EEA-527D-0151-F877D2AFB8E4}"/>
                    </a:ext>
                  </a:extLst>
                </p:cNvPr>
                <p:cNvSpPr/>
                <p:nvPr/>
              </p:nvSpPr>
              <p:spPr>
                <a:xfrm>
                  <a:off x="2155099" y="3700156"/>
                  <a:ext cx="75808" cy="43476"/>
                </a:xfrm>
                <a:custGeom>
                  <a:avLst/>
                  <a:gdLst>
                    <a:gd name="connsiteX0" fmla="*/ 0 w 75808"/>
                    <a:gd name="connsiteY0" fmla="*/ 0 h 43476"/>
                    <a:gd name="connsiteX1" fmla="*/ 53518 w 75808"/>
                    <a:gd name="connsiteY1" fmla="*/ 0 h 43476"/>
                    <a:gd name="connsiteX2" fmla="*/ 75808 w 75808"/>
                    <a:gd name="connsiteY2" fmla="*/ 21762 h 43476"/>
                    <a:gd name="connsiteX3" fmla="*/ 53518 w 75808"/>
                    <a:gd name="connsiteY3" fmla="*/ 43477 h 43476"/>
                    <a:gd name="connsiteX4" fmla="*/ 19409 w 75808"/>
                    <a:gd name="connsiteY4" fmla="*/ 43477 h 4347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75808" h="43476">
                      <a:moveTo>
                        <a:pt x="0" y="0"/>
                      </a:moveTo>
                      <a:lnTo>
                        <a:pt x="53518" y="0"/>
                      </a:lnTo>
                      <a:cubicBezTo>
                        <a:pt x="65768" y="0"/>
                        <a:pt x="75808" y="9800"/>
                        <a:pt x="75808" y="21762"/>
                      </a:cubicBezTo>
                      <a:cubicBezTo>
                        <a:pt x="75808" y="33725"/>
                        <a:pt x="65768" y="43477"/>
                        <a:pt x="53518" y="43477"/>
                      </a:cubicBezTo>
                      <a:lnTo>
                        <a:pt x="19409" y="43477"/>
                      </a:ln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148" name="Forma livre: Forma 1147">
                  <a:extLst>
                    <a:ext uri="{FF2B5EF4-FFF2-40B4-BE49-F238E27FC236}">
                      <a16:creationId xmlns:a16="http://schemas.microsoft.com/office/drawing/2014/main" id="{C1A99534-F3E1-E85B-5288-19ECEF9CFAF3}"/>
                    </a:ext>
                  </a:extLst>
                </p:cNvPr>
                <p:cNvSpPr/>
                <p:nvPr/>
              </p:nvSpPr>
              <p:spPr>
                <a:xfrm>
                  <a:off x="2155099" y="3743680"/>
                  <a:ext cx="75808" cy="43524"/>
                </a:xfrm>
                <a:custGeom>
                  <a:avLst/>
                  <a:gdLst>
                    <a:gd name="connsiteX0" fmla="*/ 53518 w 75808"/>
                    <a:gd name="connsiteY0" fmla="*/ 0 h 43524"/>
                    <a:gd name="connsiteX1" fmla="*/ 75808 w 75808"/>
                    <a:gd name="connsiteY1" fmla="*/ 21762 h 43524"/>
                    <a:gd name="connsiteX2" fmla="*/ 53518 w 75808"/>
                    <a:gd name="connsiteY2" fmla="*/ 43525 h 43524"/>
                    <a:gd name="connsiteX3" fmla="*/ 0 w 75808"/>
                    <a:gd name="connsiteY3" fmla="*/ 43525 h 4352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75808" h="43524">
                      <a:moveTo>
                        <a:pt x="53518" y="0"/>
                      </a:moveTo>
                      <a:cubicBezTo>
                        <a:pt x="65768" y="0"/>
                        <a:pt x="75808" y="9800"/>
                        <a:pt x="75808" y="21762"/>
                      </a:cubicBezTo>
                      <a:cubicBezTo>
                        <a:pt x="75808" y="33725"/>
                        <a:pt x="65768" y="43525"/>
                        <a:pt x="53518" y="43525"/>
                      </a:cubicBezTo>
                      <a:lnTo>
                        <a:pt x="0" y="43525"/>
                      </a:ln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1149" name="Forma livre: Forma 1148">
                <a:extLst>
                  <a:ext uri="{FF2B5EF4-FFF2-40B4-BE49-F238E27FC236}">
                    <a16:creationId xmlns:a16="http://schemas.microsoft.com/office/drawing/2014/main" id="{72D062D3-0A52-F7FB-59AB-5E761A723487}"/>
                  </a:ext>
                </a:extLst>
              </p:cNvPr>
              <p:cNvSpPr/>
              <p:nvPr/>
            </p:nvSpPr>
            <p:spPr>
              <a:xfrm>
                <a:off x="2173595" y="3681275"/>
                <a:ext cx="4804" cy="124761"/>
              </a:xfrm>
              <a:custGeom>
                <a:avLst/>
                <a:gdLst>
                  <a:gd name="connsiteX0" fmla="*/ 0 w 4804"/>
                  <a:gd name="connsiteY0" fmla="*/ 0 h 124761"/>
                  <a:gd name="connsiteX1" fmla="*/ 0 w 4804"/>
                  <a:gd name="connsiteY1" fmla="*/ 124762 h 1247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804" h="124761">
                    <a:moveTo>
                      <a:pt x="0" y="0"/>
                    </a:moveTo>
                    <a:lnTo>
                      <a:pt x="0" y="124762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1150" name="Gráfico 13">
                <a:extLst>
                  <a:ext uri="{FF2B5EF4-FFF2-40B4-BE49-F238E27FC236}">
                    <a16:creationId xmlns:a16="http://schemas.microsoft.com/office/drawing/2014/main" id="{4A51335F-1B64-0136-4D12-177F5A17B032}"/>
                  </a:ext>
                </a:extLst>
              </p:cNvPr>
              <p:cNvGrpSpPr/>
              <p:nvPr/>
            </p:nvGrpSpPr>
            <p:grpSpPr>
              <a:xfrm>
                <a:off x="2203092" y="3681275"/>
                <a:ext cx="4804" cy="124761"/>
                <a:chOff x="2203092" y="3681275"/>
                <a:chExt cx="4804" cy="124761"/>
              </a:xfrm>
            </p:grpSpPr>
            <p:sp>
              <p:nvSpPr>
                <p:cNvPr id="1151" name="Forma livre: Forma 1150">
                  <a:extLst>
                    <a:ext uri="{FF2B5EF4-FFF2-40B4-BE49-F238E27FC236}">
                      <a16:creationId xmlns:a16="http://schemas.microsoft.com/office/drawing/2014/main" id="{BF970CEB-B366-0CB7-BEE9-367ACCBB923D}"/>
                    </a:ext>
                  </a:extLst>
                </p:cNvPr>
                <p:cNvSpPr/>
                <p:nvPr/>
              </p:nvSpPr>
              <p:spPr>
                <a:xfrm>
                  <a:off x="2203092" y="3681275"/>
                  <a:ext cx="4804" cy="18255"/>
                </a:xfrm>
                <a:custGeom>
                  <a:avLst/>
                  <a:gdLst>
                    <a:gd name="connsiteX0" fmla="*/ 0 w 4804"/>
                    <a:gd name="connsiteY0" fmla="*/ 0 h 18255"/>
                    <a:gd name="connsiteX1" fmla="*/ 0 w 4804"/>
                    <a:gd name="connsiteY1" fmla="*/ 18255 h 1825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804" h="18255">
                      <a:moveTo>
                        <a:pt x="0" y="0"/>
                      </a:moveTo>
                      <a:lnTo>
                        <a:pt x="0" y="18255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152" name="Forma livre: Forma 1151">
                  <a:extLst>
                    <a:ext uri="{FF2B5EF4-FFF2-40B4-BE49-F238E27FC236}">
                      <a16:creationId xmlns:a16="http://schemas.microsoft.com/office/drawing/2014/main" id="{632D6AD2-CBCA-AF89-97B7-1C8CBD67FB50}"/>
                    </a:ext>
                  </a:extLst>
                </p:cNvPr>
                <p:cNvSpPr/>
                <p:nvPr/>
              </p:nvSpPr>
              <p:spPr>
                <a:xfrm>
                  <a:off x="2203092" y="3787782"/>
                  <a:ext cx="4804" cy="18255"/>
                </a:xfrm>
                <a:custGeom>
                  <a:avLst/>
                  <a:gdLst>
                    <a:gd name="connsiteX0" fmla="*/ 0 w 4804"/>
                    <a:gd name="connsiteY0" fmla="*/ 0 h 18255"/>
                    <a:gd name="connsiteX1" fmla="*/ 0 w 4804"/>
                    <a:gd name="connsiteY1" fmla="*/ 18255 h 1825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804" h="18255">
                      <a:moveTo>
                        <a:pt x="0" y="0"/>
                      </a:moveTo>
                      <a:lnTo>
                        <a:pt x="0" y="18255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grpSp>
          <p:nvGrpSpPr>
            <p:cNvPr id="1153" name="Gráfico 13">
              <a:extLst>
                <a:ext uri="{FF2B5EF4-FFF2-40B4-BE49-F238E27FC236}">
                  <a16:creationId xmlns:a16="http://schemas.microsoft.com/office/drawing/2014/main" id="{11986739-0E59-235E-AB48-1B9090F65980}"/>
                </a:ext>
              </a:extLst>
            </p:cNvPr>
            <p:cNvGrpSpPr/>
            <p:nvPr/>
          </p:nvGrpSpPr>
          <p:grpSpPr>
            <a:xfrm>
              <a:off x="2053205" y="3604891"/>
              <a:ext cx="277915" cy="277867"/>
              <a:chOff x="2053205" y="3604891"/>
              <a:chExt cx="277915" cy="277867"/>
            </a:xfrm>
            <a:noFill/>
          </p:grpSpPr>
          <p:sp>
            <p:nvSpPr>
              <p:cNvPr id="1154" name="Forma livre: Forma 1153">
                <a:extLst>
                  <a:ext uri="{FF2B5EF4-FFF2-40B4-BE49-F238E27FC236}">
                    <a16:creationId xmlns:a16="http://schemas.microsoft.com/office/drawing/2014/main" id="{0789A1BE-A149-7D8B-81C0-5CE8D8B2DB69}"/>
                  </a:ext>
                </a:extLst>
              </p:cNvPr>
              <p:cNvSpPr/>
              <p:nvPr/>
            </p:nvSpPr>
            <p:spPr>
              <a:xfrm>
                <a:off x="2053205" y="3604891"/>
                <a:ext cx="277915" cy="277867"/>
              </a:xfrm>
              <a:custGeom>
                <a:avLst/>
                <a:gdLst>
                  <a:gd name="connsiteX0" fmla="*/ 277916 w 277915"/>
                  <a:gd name="connsiteY0" fmla="*/ 138934 h 277867"/>
                  <a:gd name="connsiteX1" fmla="*/ 138934 w 277915"/>
                  <a:gd name="connsiteY1" fmla="*/ 277868 h 277867"/>
                  <a:gd name="connsiteX2" fmla="*/ 0 w 277915"/>
                  <a:gd name="connsiteY2" fmla="*/ 138934 h 277867"/>
                  <a:gd name="connsiteX3" fmla="*/ 138934 w 277915"/>
                  <a:gd name="connsiteY3" fmla="*/ 0 h 277867"/>
                  <a:gd name="connsiteX4" fmla="*/ 277916 w 277915"/>
                  <a:gd name="connsiteY4" fmla="*/ 138934 h 2778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77915" h="277867">
                    <a:moveTo>
                      <a:pt x="277916" y="138934"/>
                    </a:moveTo>
                    <a:cubicBezTo>
                      <a:pt x="277916" y="215655"/>
                      <a:pt x="215703" y="277868"/>
                      <a:pt x="138934" y="277868"/>
                    </a:cubicBezTo>
                    <a:cubicBezTo>
                      <a:pt x="62165" y="277868"/>
                      <a:pt x="0" y="215655"/>
                      <a:pt x="0" y="138934"/>
                    </a:cubicBezTo>
                    <a:cubicBezTo>
                      <a:pt x="0" y="62213"/>
                      <a:pt x="62213" y="0"/>
                      <a:pt x="138934" y="0"/>
                    </a:cubicBezTo>
                    <a:cubicBezTo>
                      <a:pt x="215655" y="0"/>
                      <a:pt x="277916" y="62213"/>
                      <a:pt x="277916" y="138934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155" name="Forma livre: Forma 1154">
                <a:extLst>
                  <a:ext uri="{FF2B5EF4-FFF2-40B4-BE49-F238E27FC236}">
                    <a16:creationId xmlns:a16="http://schemas.microsoft.com/office/drawing/2014/main" id="{BF2889DB-D256-4D41-0A7A-2A2167931BDC}"/>
                  </a:ext>
                </a:extLst>
              </p:cNvPr>
              <p:cNvSpPr/>
              <p:nvPr/>
            </p:nvSpPr>
            <p:spPr>
              <a:xfrm>
                <a:off x="2087650" y="3639288"/>
                <a:ext cx="209025" cy="208977"/>
              </a:xfrm>
              <a:custGeom>
                <a:avLst/>
                <a:gdLst>
                  <a:gd name="connsiteX0" fmla="*/ 60676 w 209025"/>
                  <a:gd name="connsiteY0" fmla="*/ 9608 h 208977"/>
                  <a:gd name="connsiteX1" fmla="*/ 104489 w 209025"/>
                  <a:gd name="connsiteY1" fmla="*/ 0 h 208977"/>
                  <a:gd name="connsiteX2" fmla="*/ 209026 w 209025"/>
                  <a:gd name="connsiteY2" fmla="*/ 104489 h 208977"/>
                  <a:gd name="connsiteX3" fmla="*/ 104489 w 209025"/>
                  <a:gd name="connsiteY3" fmla="*/ 208977 h 208977"/>
                  <a:gd name="connsiteX4" fmla="*/ 0 w 209025"/>
                  <a:gd name="connsiteY4" fmla="*/ 104489 h 208977"/>
                  <a:gd name="connsiteX5" fmla="*/ 30746 w 209025"/>
                  <a:gd name="connsiteY5" fmla="*/ 30458 h 2089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09025" h="208977">
                    <a:moveTo>
                      <a:pt x="60676" y="9608"/>
                    </a:moveTo>
                    <a:cubicBezTo>
                      <a:pt x="73983" y="3459"/>
                      <a:pt x="88828" y="0"/>
                      <a:pt x="104489" y="0"/>
                    </a:cubicBezTo>
                    <a:cubicBezTo>
                      <a:pt x="162234" y="0"/>
                      <a:pt x="209026" y="46792"/>
                      <a:pt x="209026" y="104489"/>
                    </a:cubicBezTo>
                    <a:cubicBezTo>
                      <a:pt x="209026" y="162186"/>
                      <a:pt x="162234" y="208977"/>
                      <a:pt x="104489" y="208977"/>
                    </a:cubicBezTo>
                    <a:cubicBezTo>
                      <a:pt x="46744" y="208977"/>
                      <a:pt x="0" y="162186"/>
                      <a:pt x="0" y="104489"/>
                    </a:cubicBezTo>
                    <a:cubicBezTo>
                      <a:pt x="0" y="75568"/>
                      <a:pt x="11770" y="49386"/>
                      <a:pt x="30746" y="30458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1156" name="Gráfico 13">
                <a:extLst>
                  <a:ext uri="{FF2B5EF4-FFF2-40B4-BE49-F238E27FC236}">
                    <a16:creationId xmlns:a16="http://schemas.microsoft.com/office/drawing/2014/main" id="{47B3984B-1C0B-4101-C1B9-2FBA21BAD512}"/>
                  </a:ext>
                </a:extLst>
              </p:cNvPr>
              <p:cNvGrpSpPr/>
              <p:nvPr/>
            </p:nvGrpSpPr>
            <p:grpSpPr>
              <a:xfrm>
                <a:off x="2192187" y="3606572"/>
                <a:ext cx="4804" cy="274889"/>
                <a:chOff x="2192187" y="3606572"/>
                <a:chExt cx="4804" cy="274889"/>
              </a:xfrm>
            </p:grpSpPr>
            <p:sp>
              <p:nvSpPr>
                <p:cNvPr id="1157" name="Forma livre: Forma 1156">
                  <a:extLst>
                    <a:ext uri="{FF2B5EF4-FFF2-40B4-BE49-F238E27FC236}">
                      <a16:creationId xmlns:a16="http://schemas.microsoft.com/office/drawing/2014/main" id="{CD0A84D0-60BD-E9B7-520A-49692F856E9D}"/>
                    </a:ext>
                  </a:extLst>
                </p:cNvPr>
                <p:cNvSpPr/>
                <p:nvPr/>
              </p:nvSpPr>
              <p:spPr>
                <a:xfrm>
                  <a:off x="2192187" y="3606572"/>
                  <a:ext cx="4804" cy="10761"/>
                </a:xfrm>
                <a:custGeom>
                  <a:avLst/>
                  <a:gdLst>
                    <a:gd name="connsiteX0" fmla="*/ 0 w 4804"/>
                    <a:gd name="connsiteY0" fmla="*/ 10761 h 10761"/>
                    <a:gd name="connsiteX1" fmla="*/ 0 w 4804"/>
                    <a:gd name="connsiteY1" fmla="*/ 0 h 1076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804" h="10761">
                      <a:moveTo>
                        <a:pt x="0" y="10761"/>
                      </a:moveTo>
                      <a:lnTo>
                        <a:pt x="0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158" name="Forma livre: Forma 1157">
                  <a:extLst>
                    <a:ext uri="{FF2B5EF4-FFF2-40B4-BE49-F238E27FC236}">
                      <a16:creationId xmlns:a16="http://schemas.microsoft.com/office/drawing/2014/main" id="{7F83AFFA-D059-AE65-FA40-4B6A0A396916}"/>
                    </a:ext>
                  </a:extLst>
                </p:cNvPr>
                <p:cNvSpPr/>
                <p:nvPr/>
              </p:nvSpPr>
              <p:spPr>
                <a:xfrm>
                  <a:off x="2192187" y="3870652"/>
                  <a:ext cx="4804" cy="10809"/>
                </a:xfrm>
                <a:custGeom>
                  <a:avLst/>
                  <a:gdLst>
                    <a:gd name="connsiteX0" fmla="*/ 0 w 4804"/>
                    <a:gd name="connsiteY0" fmla="*/ 10809 h 10809"/>
                    <a:gd name="connsiteX1" fmla="*/ 0 w 4804"/>
                    <a:gd name="connsiteY1" fmla="*/ 0 h 1080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804" h="10809">
                      <a:moveTo>
                        <a:pt x="0" y="10809"/>
                      </a:moveTo>
                      <a:lnTo>
                        <a:pt x="0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1159" name="Gráfico 13">
                <a:extLst>
                  <a:ext uri="{FF2B5EF4-FFF2-40B4-BE49-F238E27FC236}">
                    <a16:creationId xmlns:a16="http://schemas.microsoft.com/office/drawing/2014/main" id="{9C0FBC05-8D39-B3DB-B23A-5C8541964F9C}"/>
                  </a:ext>
                </a:extLst>
              </p:cNvPr>
              <p:cNvGrpSpPr/>
              <p:nvPr/>
            </p:nvGrpSpPr>
            <p:grpSpPr>
              <a:xfrm>
                <a:off x="2139534" y="3616997"/>
                <a:ext cx="105257" cy="253991"/>
                <a:chOff x="2139534" y="3616997"/>
                <a:chExt cx="105257" cy="253991"/>
              </a:xfrm>
            </p:grpSpPr>
            <p:sp>
              <p:nvSpPr>
                <p:cNvPr id="1160" name="Forma livre: Forma 1159">
                  <a:extLst>
                    <a:ext uri="{FF2B5EF4-FFF2-40B4-BE49-F238E27FC236}">
                      <a16:creationId xmlns:a16="http://schemas.microsoft.com/office/drawing/2014/main" id="{77DC7867-281B-168D-BD73-5F761222DA06}"/>
                    </a:ext>
                  </a:extLst>
                </p:cNvPr>
                <p:cNvSpPr/>
                <p:nvPr/>
              </p:nvSpPr>
              <p:spPr>
                <a:xfrm>
                  <a:off x="2139534" y="3616997"/>
                  <a:ext cx="4179" cy="9992"/>
                </a:xfrm>
                <a:custGeom>
                  <a:avLst/>
                  <a:gdLst>
                    <a:gd name="connsiteX0" fmla="*/ 4180 w 4179"/>
                    <a:gd name="connsiteY0" fmla="*/ 9992 h 9992"/>
                    <a:gd name="connsiteX1" fmla="*/ 0 w 4179"/>
                    <a:gd name="connsiteY1" fmla="*/ 0 h 99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179" h="9992">
                      <a:moveTo>
                        <a:pt x="4180" y="9992"/>
                      </a:moveTo>
                      <a:lnTo>
                        <a:pt x="0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161" name="Forma livre: Forma 1160">
                  <a:extLst>
                    <a:ext uri="{FF2B5EF4-FFF2-40B4-BE49-F238E27FC236}">
                      <a16:creationId xmlns:a16="http://schemas.microsoft.com/office/drawing/2014/main" id="{B3778954-2F48-76A1-29BA-9787D2EC2AC1}"/>
                    </a:ext>
                  </a:extLst>
                </p:cNvPr>
                <p:cNvSpPr/>
                <p:nvPr/>
              </p:nvSpPr>
              <p:spPr>
                <a:xfrm>
                  <a:off x="2240612" y="3861044"/>
                  <a:ext cx="4179" cy="9944"/>
                </a:xfrm>
                <a:custGeom>
                  <a:avLst/>
                  <a:gdLst>
                    <a:gd name="connsiteX0" fmla="*/ 4180 w 4179"/>
                    <a:gd name="connsiteY0" fmla="*/ 9944 h 9944"/>
                    <a:gd name="connsiteX1" fmla="*/ 0 w 4179"/>
                    <a:gd name="connsiteY1" fmla="*/ 0 h 994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179" h="9944">
                      <a:moveTo>
                        <a:pt x="4180" y="9944"/>
                      </a:moveTo>
                      <a:lnTo>
                        <a:pt x="0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1162" name="Gráfico 13">
                <a:extLst>
                  <a:ext uri="{FF2B5EF4-FFF2-40B4-BE49-F238E27FC236}">
                    <a16:creationId xmlns:a16="http://schemas.microsoft.com/office/drawing/2014/main" id="{438EC1ED-78C0-4B9E-7FAA-168EBC89F7BB}"/>
                  </a:ext>
                </a:extLst>
              </p:cNvPr>
              <p:cNvGrpSpPr/>
              <p:nvPr/>
            </p:nvGrpSpPr>
            <p:grpSpPr>
              <a:xfrm>
                <a:off x="2065167" y="3691412"/>
                <a:ext cx="253991" cy="105209"/>
                <a:chOff x="2065167" y="3691412"/>
                <a:chExt cx="253991" cy="105209"/>
              </a:xfrm>
            </p:grpSpPr>
            <p:sp>
              <p:nvSpPr>
                <p:cNvPr id="1163" name="Forma livre: Forma 1162">
                  <a:extLst>
                    <a:ext uri="{FF2B5EF4-FFF2-40B4-BE49-F238E27FC236}">
                      <a16:creationId xmlns:a16="http://schemas.microsoft.com/office/drawing/2014/main" id="{0471EF40-CD2D-3F03-0DBE-3762F9E46A52}"/>
                    </a:ext>
                  </a:extLst>
                </p:cNvPr>
                <p:cNvSpPr/>
                <p:nvPr/>
              </p:nvSpPr>
              <p:spPr>
                <a:xfrm>
                  <a:off x="2065167" y="3691412"/>
                  <a:ext cx="9992" cy="4131"/>
                </a:xfrm>
                <a:custGeom>
                  <a:avLst/>
                  <a:gdLst>
                    <a:gd name="connsiteX0" fmla="*/ 9993 w 9992"/>
                    <a:gd name="connsiteY0" fmla="*/ 4132 h 4131"/>
                    <a:gd name="connsiteX1" fmla="*/ 0 w 9992"/>
                    <a:gd name="connsiteY1" fmla="*/ 0 h 413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9992" h="4131">
                      <a:moveTo>
                        <a:pt x="9993" y="4132"/>
                      </a:moveTo>
                      <a:lnTo>
                        <a:pt x="0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164" name="Forma livre: Forma 1163">
                  <a:extLst>
                    <a:ext uri="{FF2B5EF4-FFF2-40B4-BE49-F238E27FC236}">
                      <a16:creationId xmlns:a16="http://schemas.microsoft.com/office/drawing/2014/main" id="{2868DAB7-E550-E9F5-3978-BADF08BC73F3}"/>
                    </a:ext>
                  </a:extLst>
                </p:cNvPr>
                <p:cNvSpPr/>
                <p:nvPr/>
              </p:nvSpPr>
              <p:spPr>
                <a:xfrm>
                  <a:off x="2309166" y="3792490"/>
                  <a:ext cx="9992" cy="4131"/>
                </a:xfrm>
                <a:custGeom>
                  <a:avLst/>
                  <a:gdLst>
                    <a:gd name="connsiteX0" fmla="*/ 9992 w 9992"/>
                    <a:gd name="connsiteY0" fmla="*/ 4132 h 4131"/>
                    <a:gd name="connsiteX1" fmla="*/ 0 w 9992"/>
                    <a:gd name="connsiteY1" fmla="*/ 0 h 413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9992" h="4131">
                      <a:moveTo>
                        <a:pt x="9992" y="4132"/>
                      </a:moveTo>
                      <a:lnTo>
                        <a:pt x="0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1165" name="Gráfico 13">
                <a:extLst>
                  <a:ext uri="{FF2B5EF4-FFF2-40B4-BE49-F238E27FC236}">
                    <a16:creationId xmlns:a16="http://schemas.microsoft.com/office/drawing/2014/main" id="{EF280C5D-6B71-CBA1-0C0A-207059300ACC}"/>
                  </a:ext>
                </a:extLst>
              </p:cNvPr>
              <p:cNvGrpSpPr/>
              <p:nvPr/>
            </p:nvGrpSpPr>
            <p:grpSpPr>
              <a:xfrm>
                <a:off x="2139582" y="3616997"/>
                <a:ext cx="105209" cy="253991"/>
                <a:chOff x="2139582" y="3616997"/>
                <a:chExt cx="105209" cy="253991"/>
              </a:xfrm>
            </p:grpSpPr>
            <p:sp>
              <p:nvSpPr>
                <p:cNvPr id="1166" name="Forma livre: Forma 1165">
                  <a:extLst>
                    <a:ext uri="{FF2B5EF4-FFF2-40B4-BE49-F238E27FC236}">
                      <a16:creationId xmlns:a16="http://schemas.microsoft.com/office/drawing/2014/main" id="{28583D97-2C8D-FB8B-6FEC-DF583A7EA71C}"/>
                    </a:ext>
                  </a:extLst>
                </p:cNvPr>
                <p:cNvSpPr/>
                <p:nvPr/>
              </p:nvSpPr>
              <p:spPr>
                <a:xfrm>
                  <a:off x="2240660" y="3616997"/>
                  <a:ext cx="4131" cy="9992"/>
                </a:xfrm>
                <a:custGeom>
                  <a:avLst/>
                  <a:gdLst>
                    <a:gd name="connsiteX0" fmla="*/ 0 w 4131"/>
                    <a:gd name="connsiteY0" fmla="*/ 9992 h 9992"/>
                    <a:gd name="connsiteX1" fmla="*/ 4132 w 4131"/>
                    <a:gd name="connsiteY1" fmla="*/ 0 h 99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131" h="9992">
                      <a:moveTo>
                        <a:pt x="0" y="9992"/>
                      </a:moveTo>
                      <a:lnTo>
                        <a:pt x="4132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167" name="Forma livre: Forma 1166">
                  <a:extLst>
                    <a:ext uri="{FF2B5EF4-FFF2-40B4-BE49-F238E27FC236}">
                      <a16:creationId xmlns:a16="http://schemas.microsoft.com/office/drawing/2014/main" id="{6317D57C-5045-3183-46E2-6E9392E2B56C}"/>
                    </a:ext>
                  </a:extLst>
                </p:cNvPr>
                <p:cNvSpPr/>
                <p:nvPr/>
              </p:nvSpPr>
              <p:spPr>
                <a:xfrm>
                  <a:off x="2139582" y="3861044"/>
                  <a:ext cx="4131" cy="9944"/>
                </a:xfrm>
                <a:custGeom>
                  <a:avLst/>
                  <a:gdLst>
                    <a:gd name="connsiteX0" fmla="*/ 0 w 4131"/>
                    <a:gd name="connsiteY0" fmla="*/ 9944 h 9944"/>
                    <a:gd name="connsiteX1" fmla="*/ 4132 w 4131"/>
                    <a:gd name="connsiteY1" fmla="*/ 0 h 994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131" h="9944">
                      <a:moveTo>
                        <a:pt x="0" y="9944"/>
                      </a:moveTo>
                      <a:lnTo>
                        <a:pt x="4132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1168" name="Gráfico 13">
                <a:extLst>
                  <a:ext uri="{FF2B5EF4-FFF2-40B4-BE49-F238E27FC236}">
                    <a16:creationId xmlns:a16="http://schemas.microsoft.com/office/drawing/2014/main" id="{2EC9FB1C-46B6-9B0B-E8BB-8ABDCE792D39}"/>
                  </a:ext>
                </a:extLst>
              </p:cNvPr>
              <p:cNvGrpSpPr/>
              <p:nvPr/>
            </p:nvGrpSpPr>
            <p:grpSpPr>
              <a:xfrm>
                <a:off x="2065167" y="3691412"/>
                <a:ext cx="253991" cy="105209"/>
                <a:chOff x="2065167" y="3691412"/>
                <a:chExt cx="253991" cy="105209"/>
              </a:xfrm>
            </p:grpSpPr>
            <p:sp>
              <p:nvSpPr>
                <p:cNvPr id="1169" name="Forma livre: Forma 1168">
                  <a:extLst>
                    <a:ext uri="{FF2B5EF4-FFF2-40B4-BE49-F238E27FC236}">
                      <a16:creationId xmlns:a16="http://schemas.microsoft.com/office/drawing/2014/main" id="{010A4291-9D68-0769-3472-BF0F6A58FE11}"/>
                    </a:ext>
                  </a:extLst>
                </p:cNvPr>
                <p:cNvSpPr/>
                <p:nvPr/>
              </p:nvSpPr>
              <p:spPr>
                <a:xfrm>
                  <a:off x="2309166" y="3691412"/>
                  <a:ext cx="9992" cy="4131"/>
                </a:xfrm>
                <a:custGeom>
                  <a:avLst/>
                  <a:gdLst>
                    <a:gd name="connsiteX0" fmla="*/ 0 w 9992"/>
                    <a:gd name="connsiteY0" fmla="*/ 4132 h 4131"/>
                    <a:gd name="connsiteX1" fmla="*/ 9992 w 9992"/>
                    <a:gd name="connsiteY1" fmla="*/ 0 h 413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9992" h="4131">
                      <a:moveTo>
                        <a:pt x="0" y="4132"/>
                      </a:moveTo>
                      <a:lnTo>
                        <a:pt x="9992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170" name="Forma livre: Forma 1169">
                  <a:extLst>
                    <a:ext uri="{FF2B5EF4-FFF2-40B4-BE49-F238E27FC236}">
                      <a16:creationId xmlns:a16="http://schemas.microsoft.com/office/drawing/2014/main" id="{2C6C30C3-BD68-3069-B8C0-2D446B04574F}"/>
                    </a:ext>
                  </a:extLst>
                </p:cNvPr>
                <p:cNvSpPr/>
                <p:nvPr/>
              </p:nvSpPr>
              <p:spPr>
                <a:xfrm>
                  <a:off x="2065167" y="3792490"/>
                  <a:ext cx="9992" cy="4131"/>
                </a:xfrm>
                <a:custGeom>
                  <a:avLst/>
                  <a:gdLst>
                    <a:gd name="connsiteX0" fmla="*/ 0 w 9992"/>
                    <a:gd name="connsiteY0" fmla="*/ 4132 h 4131"/>
                    <a:gd name="connsiteX1" fmla="*/ 9993 w 9992"/>
                    <a:gd name="connsiteY1" fmla="*/ 0 h 413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9992" h="4131">
                      <a:moveTo>
                        <a:pt x="0" y="4132"/>
                      </a:moveTo>
                      <a:lnTo>
                        <a:pt x="9993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1171" name="Gráfico 13">
                <a:extLst>
                  <a:ext uri="{FF2B5EF4-FFF2-40B4-BE49-F238E27FC236}">
                    <a16:creationId xmlns:a16="http://schemas.microsoft.com/office/drawing/2014/main" id="{6B90907D-BA25-9B07-3C1B-47BDA0E7EFA0}"/>
                  </a:ext>
                </a:extLst>
              </p:cNvPr>
              <p:cNvGrpSpPr/>
              <p:nvPr/>
            </p:nvGrpSpPr>
            <p:grpSpPr>
              <a:xfrm>
                <a:off x="2054694" y="3744017"/>
                <a:ext cx="274937" cy="4804"/>
                <a:chOff x="2054694" y="3744017"/>
                <a:chExt cx="274937" cy="4804"/>
              </a:xfrm>
            </p:grpSpPr>
            <p:sp>
              <p:nvSpPr>
                <p:cNvPr id="1172" name="Forma livre: Forma 1171">
                  <a:extLst>
                    <a:ext uri="{FF2B5EF4-FFF2-40B4-BE49-F238E27FC236}">
                      <a16:creationId xmlns:a16="http://schemas.microsoft.com/office/drawing/2014/main" id="{BE3EE1C0-783F-B7D8-396E-204ED225EE39}"/>
                    </a:ext>
                  </a:extLst>
                </p:cNvPr>
                <p:cNvSpPr/>
                <p:nvPr/>
              </p:nvSpPr>
              <p:spPr>
                <a:xfrm>
                  <a:off x="2318822" y="3744017"/>
                  <a:ext cx="10809" cy="4804"/>
                </a:xfrm>
                <a:custGeom>
                  <a:avLst/>
                  <a:gdLst>
                    <a:gd name="connsiteX0" fmla="*/ 0 w 10809"/>
                    <a:gd name="connsiteY0" fmla="*/ 0 h 4804"/>
                    <a:gd name="connsiteX1" fmla="*/ 10809 w 10809"/>
                    <a:gd name="connsiteY1" fmla="*/ 0 h 480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0809" h="4804">
                      <a:moveTo>
                        <a:pt x="0" y="0"/>
                      </a:moveTo>
                      <a:lnTo>
                        <a:pt x="10809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173" name="Forma livre: Forma 1172">
                  <a:extLst>
                    <a:ext uri="{FF2B5EF4-FFF2-40B4-BE49-F238E27FC236}">
                      <a16:creationId xmlns:a16="http://schemas.microsoft.com/office/drawing/2014/main" id="{436C0476-D3FB-03BF-FBB5-A170EC68FEAD}"/>
                    </a:ext>
                  </a:extLst>
                </p:cNvPr>
                <p:cNvSpPr/>
                <p:nvPr/>
              </p:nvSpPr>
              <p:spPr>
                <a:xfrm>
                  <a:off x="2054694" y="3744017"/>
                  <a:ext cx="10809" cy="4804"/>
                </a:xfrm>
                <a:custGeom>
                  <a:avLst/>
                  <a:gdLst>
                    <a:gd name="connsiteX0" fmla="*/ 0 w 10809"/>
                    <a:gd name="connsiteY0" fmla="*/ 0 h 4804"/>
                    <a:gd name="connsiteX1" fmla="*/ 10809 w 10809"/>
                    <a:gd name="connsiteY1" fmla="*/ 0 h 480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0809" h="4804">
                      <a:moveTo>
                        <a:pt x="0" y="0"/>
                      </a:moveTo>
                      <a:lnTo>
                        <a:pt x="10809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1174" name="Gráfico 13">
                <a:extLst>
                  <a:ext uri="{FF2B5EF4-FFF2-40B4-BE49-F238E27FC236}">
                    <a16:creationId xmlns:a16="http://schemas.microsoft.com/office/drawing/2014/main" id="{3E5238B1-1CFF-2C6B-03A0-EE71C13E4A71}"/>
                  </a:ext>
                </a:extLst>
              </p:cNvPr>
              <p:cNvGrpSpPr/>
              <p:nvPr/>
            </p:nvGrpSpPr>
            <p:grpSpPr>
              <a:xfrm>
                <a:off x="2094952" y="3646830"/>
                <a:ext cx="194421" cy="194373"/>
                <a:chOff x="2094952" y="3646830"/>
                <a:chExt cx="194421" cy="194373"/>
              </a:xfrm>
            </p:grpSpPr>
            <p:sp>
              <p:nvSpPr>
                <p:cNvPr id="1175" name="Forma livre: Forma 1174">
                  <a:extLst>
                    <a:ext uri="{FF2B5EF4-FFF2-40B4-BE49-F238E27FC236}">
                      <a16:creationId xmlns:a16="http://schemas.microsoft.com/office/drawing/2014/main" id="{2355364C-01AB-1E12-CF94-5D1F1043A1E5}"/>
                    </a:ext>
                  </a:extLst>
                </p:cNvPr>
                <p:cNvSpPr/>
                <p:nvPr/>
              </p:nvSpPr>
              <p:spPr>
                <a:xfrm>
                  <a:off x="2281735" y="3646830"/>
                  <a:ext cx="7638" cy="7638"/>
                </a:xfrm>
                <a:custGeom>
                  <a:avLst/>
                  <a:gdLst>
                    <a:gd name="connsiteX0" fmla="*/ 0 w 7638"/>
                    <a:gd name="connsiteY0" fmla="*/ 7638 h 7638"/>
                    <a:gd name="connsiteX1" fmla="*/ 7639 w 7638"/>
                    <a:gd name="connsiteY1" fmla="*/ 0 h 763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7638" h="7638">
                      <a:moveTo>
                        <a:pt x="0" y="7638"/>
                      </a:moveTo>
                      <a:lnTo>
                        <a:pt x="7639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176" name="Forma livre: Forma 1175">
                  <a:extLst>
                    <a:ext uri="{FF2B5EF4-FFF2-40B4-BE49-F238E27FC236}">
                      <a16:creationId xmlns:a16="http://schemas.microsoft.com/office/drawing/2014/main" id="{0F473E82-5898-7609-313C-D3869BB307E1}"/>
                    </a:ext>
                  </a:extLst>
                </p:cNvPr>
                <p:cNvSpPr/>
                <p:nvPr/>
              </p:nvSpPr>
              <p:spPr>
                <a:xfrm>
                  <a:off x="2094952" y="3833565"/>
                  <a:ext cx="7638" cy="7638"/>
                </a:xfrm>
                <a:custGeom>
                  <a:avLst/>
                  <a:gdLst>
                    <a:gd name="connsiteX0" fmla="*/ 0 w 7638"/>
                    <a:gd name="connsiteY0" fmla="*/ 7638 h 7638"/>
                    <a:gd name="connsiteX1" fmla="*/ 7639 w 7638"/>
                    <a:gd name="connsiteY1" fmla="*/ 0 h 763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7638" h="7638">
                      <a:moveTo>
                        <a:pt x="0" y="7638"/>
                      </a:moveTo>
                      <a:lnTo>
                        <a:pt x="7639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1177" name="Gráfico 13">
                <a:extLst>
                  <a:ext uri="{FF2B5EF4-FFF2-40B4-BE49-F238E27FC236}">
                    <a16:creationId xmlns:a16="http://schemas.microsoft.com/office/drawing/2014/main" id="{87886D02-D228-D009-4FE1-BC82012F9A2F}"/>
                  </a:ext>
                </a:extLst>
              </p:cNvPr>
              <p:cNvGrpSpPr/>
              <p:nvPr/>
            </p:nvGrpSpPr>
            <p:grpSpPr>
              <a:xfrm>
                <a:off x="2094952" y="3646830"/>
                <a:ext cx="194421" cy="194373"/>
                <a:chOff x="2094952" y="3646830"/>
                <a:chExt cx="194421" cy="194373"/>
              </a:xfrm>
            </p:grpSpPr>
            <p:sp>
              <p:nvSpPr>
                <p:cNvPr id="1178" name="Forma livre: Forma 1177">
                  <a:extLst>
                    <a:ext uri="{FF2B5EF4-FFF2-40B4-BE49-F238E27FC236}">
                      <a16:creationId xmlns:a16="http://schemas.microsoft.com/office/drawing/2014/main" id="{8CFD6707-1F71-A385-9E71-3283AC3CC035}"/>
                    </a:ext>
                  </a:extLst>
                </p:cNvPr>
                <p:cNvSpPr/>
                <p:nvPr/>
              </p:nvSpPr>
              <p:spPr>
                <a:xfrm>
                  <a:off x="2094952" y="3646830"/>
                  <a:ext cx="7638" cy="7638"/>
                </a:xfrm>
                <a:custGeom>
                  <a:avLst/>
                  <a:gdLst>
                    <a:gd name="connsiteX0" fmla="*/ 7639 w 7638"/>
                    <a:gd name="connsiteY0" fmla="*/ 7638 h 7638"/>
                    <a:gd name="connsiteX1" fmla="*/ 0 w 7638"/>
                    <a:gd name="connsiteY1" fmla="*/ 0 h 763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7638" h="7638">
                      <a:moveTo>
                        <a:pt x="7639" y="7638"/>
                      </a:moveTo>
                      <a:lnTo>
                        <a:pt x="0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179" name="Forma livre: Forma 1178">
                  <a:extLst>
                    <a:ext uri="{FF2B5EF4-FFF2-40B4-BE49-F238E27FC236}">
                      <a16:creationId xmlns:a16="http://schemas.microsoft.com/office/drawing/2014/main" id="{81E89C52-7786-B23E-C7A0-DDA672CDF2F1}"/>
                    </a:ext>
                  </a:extLst>
                </p:cNvPr>
                <p:cNvSpPr/>
                <p:nvPr/>
              </p:nvSpPr>
              <p:spPr>
                <a:xfrm>
                  <a:off x="2281735" y="3833565"/>
                  <a:ext cx="7638" cy="7638"/>
                </a:xfrm>
                <a:custGeom>
                  <a:avLst/>
                  <a:gdLst>
                    <a:gd name="connsiteX0" fmla="*/ 7639 w 7638"/>
                    <a:gd name="connsiteY0" fmla="*/ 7638 h 7638"/>
                    <a:gd name="connsiteX1" fmla="*/ 0 w 7638"/>
                    <a:gd name="connsiteY1" fmla="*/ 0 h 763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7638" h="7638">
                      <a:moveTo>
                        <a:pt x="7639" y="7638"/>
                      </a:moveTo>
                      <a:lnTo>
                        <a:pt x="0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</p:grpSp>
      <p:grpSp>
        <p:nvGrpSpPr>
          <p:cNvPr id="1180" name="Gráfico 13">
            <a:extLst>
              <a:ext uri="{FF2B5EF4-FFF2-40B4-BE49-F238E27FC236}">
                <a16:creationId xmlns:a16="http://schemas.microsoft.com/office/drawing/2014/main" id="{C38CD7B3-9DE3-3FE4-CA77-DD9ADD541106}"/>
              </a:ext>
            </a:extLst>
          </p:cNvPr>
          <p:cNvGrpSpPr/>
          <p:nvPr/>
        </p:nvGrpSpPr>
        <p:grpSpPr>
          <a:xfrm>
            <a:off x="1404414" y="3603642"/>
            <a:ext cx="326581" cy="280318"/>
            <a:chOff x="1404414" y="3603642"/>
            <a:chExt cx="326581" cy="280318"/>
          </a:xfrm>
          <a:noFill/>
        </p:grpSpPr>
        <p:grpSp>
          <p:nvGrpSpPr>
            <p:cNvPr id="1181" name="Gráfico 13">
              <a:extLst>
                <a:ext uri="{FF2B5EF4-FFF2-40B4-BE49-F238E27FC236}">
                  <a16:creationId xmlns:a16="http://schemas.microsoft.com/office/drawing/2014/main" id="{ABCA8F9D-E325-E84A-06D1-FDF17FF6BD36}"/>
                </a:ext>
              </a:extLst>
            </p:cNvPr>
            <p:cNvGrpSpPr/>
            <p:nvPr/>
          </p:nvGrpSpPr>
          <p:grpSpPr>
            <a:xfrm>
              <a:off x="1627275" y="3761215"/>
              <a:ext cx="58081" cy="95601"/>
              <a:chOff x="1627275" y="3761215"/>
              <a:chExt cx="58081" cy="95601"/>
            </a:xfrm>
            <a:noFill/>
          </p:grpSpPr>
          <p:grpSp>
            <p:nvGrpSpPr>
              <p:cNvPr id="1182" name="Gráfico 13">
                <a:extLst>
                  <a:ext uri="{FF2B5EF4-FFF2-40B4-BE49-F238E27FC236}">
                    <a16:creationId xmlns:a16="http://schemas.microsoft.com/office/drawing/2014/main" id="{AB78897E-C135-79E6-244D-800BA6FC7973}"/>
                  </a:ext>
                </a:extLst>
              </p:cNvPr>
              <p:cNvGrpSpPr/>
              <p:nvPr/>
            </p:nvGrpSpPr>
            <p:grpSpPr>
              <a:xfrm>
                <a:off x="1627275" y="3775676"/>
                <a:ext cx="58081" cy="66680"/>
                <a:chOff x="1627275" y="3775676"/>
                <a:chExt cx="58081" cy="66680"/>
              </a:xfrm>
              <a:noFill/>
            </p:grpSpPr>
            <p:sp>
              <p:nvSpPr>
                <p:cNvPr id="1183" name="Forma livre: Forma 1182">
                  <a:extLst>
                    <a:ext uri="{FF2B5EF4-FFF2-40B4-BE49-F238E27FC236}">
                      <a16:creationId xmlns:a16="http://schemas.microsoft.com/office/drawing/2014/main" id="{43CFA41C-900B-8DA9-4094-A4222772C1E1}"/>
                    </a:ext>
                  </a:extLst>
                </p:cNvPr>
                <p:cNvSpPr/>
                <p:nvPr/>
              </p:nvSpPr>
              <p:spPr>
                <a:xfrm>
                  <a:off x="1627275" y="3775676"/>
                  <a:ext cx="58081" cy="33340"/>
                </a:xfrm>
                <a:custGeom>
                  <a:avLst/>
                  <a:gdLst>
                    <a:gd name="connsiteX0" fmla="*/ 0 w 58081"/>
                    <a:gd name="connsiteY0" fmla="*/ 0 h 33340"/>
                    <a:gd name="connsiteX1" fmla="*/ 41027 w 58081"/>
                    <a:gd name="connsiteY1" fmla="*/ 0 h 33340"/>
                    <a:gd name="connsiteX2" fmla="*/ 58081 w 58081"/>
                    <a:gd name="connsiteY2" fmla="*/ 16670 h 33340"/>
                    <a:gd name="connsiteX3" fmla="*/ 41027 w 58081"/>
                    <a:gd name="connsiteY3" fmla="*/ 33340 h 33340"/>
                    <a:gd name="connsiteX4" fmla="*/ 14893 w 58081"/>
                    <a:gd name="connsiteY4" fmla="*/ 33340 h 3334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8081" h="33340">
                      <a:moveTo>
                        <a:pt x="0" y="0"/>
                      </a:moveTo>
                      <a:lnTo>
                        <a:pt x="41027" y="0"/>
                      </a:lnTo>
                      <a:cubicBezTo>
                        <a:pt x="50443" y="0"/>
                        <a:pt x="58081" y="7494"/>
                        <a:pt x="58081" y="16670"/>
                      </a:cubicBezTo>
                      <a:cubicBezTo>
                        <a:pt x="58081" y="25846"/>
                        <a:pt x="50395" y="33340"/>
                        <a:pt x="41027" y="33340"/>
                      </a:cubicBezTo>
                      <a:lnTo>
                        <a:pt x="14893" y="33340"/>
                      </a:ln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184" name="Forma livre: Forma 1183">
                  <a:extLst>
                    <a:ext uri="{FF2B5EF4-FFF2-40B4-BE49-F238E27FC236}">
                      <a16:creationId xmlns:a16="http://schemas.microsoft.com/office/drawing/2014/main" id="{C2BBCF81-4172-9E69-F1AE-0CD049FD2278}"/>
                    </a:ext>
                  </a:extLst>
                </p:cNvPr>
                <p:cNvSpPr/>
                <p:nvPr/>
              </p:nvSpPr>
              <p:spPr>
                <a:xfrm>
                  <a:off x="1627275" y="3809016"/>
                  <a:ext cx="58081" cy="33340"/>
                </a:xfrm>
                <a:custGeom>
                  <a:avLst/>
                  <a:gdLst>
                    <a:gd name="connsiteX0" fmla="*/ 41027 w 58081"/>
                    <a:gd name="connsiteY0" fmla="*/ 0 h 33340"/>
                    <a:gd name="connsiteX1" fmla="*/ 58081 w 58081"/>
                    <a:gd name="connsiteY1" fmla="*/ 16670 h 33340"/>
                    <a:gd name="connsiteX2" fmla="*/ 41027 w 58081"/>
                    <a:gd name="connsiteY2" fmla="*/ 33340 h 33340"/>
                    <a:gd name="connsiteX3" fmla="*/ 0 w 58081"/>
                    <a:gd name="connsiteY3" fmla="*/ 33340 h 3334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58081" h="33340">
                      <a:moveTo>
                        <a:pt x="41027" y="0"/>
                      </a:moveTo>
                      <a:cubicBezTo>
                        <a:pt x="50443" y="0"/>
                        <a:pt x="58081" y="7494"/>
                        <a:pt x="58081" y="16670"/>
                      </a:cubicBezTo>
                      <a:cubicBezTo>
                        <a:pt x="58081" y="25846"/>
                        <a:pt x="50395" y="33340"/>
                        <a:pt x="41027" y="33340"/>
                      </a:cubicBezTo>
                      <a:lnTo>
                        <a:pt x="0" y="33340"/>
                      </a:ln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1185" name="Forma livre: Forma 1184">
                <a:extLst>
                  <a:ext uri="{FF2B5EF4-FFF2-40B4-BE49-F238E27FC236}">
                    <a16:creationId xmlns:a16="http://schemas.microsoft.com/office/drawing/2014/main" id="{8CB9A42F-7A6E-5BDA-4576-20DB65754BF7}"/>
                  </a:ext>
                </a:extLst>
              </p:cNvPr>
              <p:cNvSpPr/>
              <p:nvPr/>
            </p:nvSpPr>
            <p:spPr>
              <a:xfrm>
                <a:off x="1641495" y="3761215"/>
                <a:ext cx="4804" cy="95601"/>
              </a:xfrm>
              <a:custGeom>
                <a:avLst/>
                <a:gdLst>
                  <a:gd name="connsiteX0" fmla="*/ 0 w 4804"/>
                  <a:gd name="connsiteY0" fmla="*/ 0 h 95601"/>
                  <a:gd name="connsiteX1" fmla="*/ 0 w 4804"/>
                  <a:gd name="connsiteY1" fmla="*/ 95601 h 956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804" h="95601">
                    <a:moveTo>
                      <a:pt x="0" y="0"/>
                    </a:moveTo>
                    <a:lnTo>
                      <a:pt x="0" y="95601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1186" name="Gráfico 13">
                <a:extLst>
                  <a:ext uri="{FF2B5EF4-FFF2-40B4-BE49-F238E27FC236}">
                    <a16:creationId xmlns:a16="http://schemas.microsoft.com/office/drawing/2014/main" id="{600C2282-84F7-7CD9-7041-93AE308979A9}"/>
                  </a:ext>
                </a:extLst>
              </p:cNvPr>
              <p:cNvGrpSpPr/>
              <p:nvPr/>
            </p:nvGrpSpPr>
            <p:grpSpPr>
              <a:xfrm>
                <a:off x="1664074" y="3761215"/>
                <a:ext cx="4804" cy="95601"/>
                <a:chOff x="1664074" y="3761215"/>
                <a:chExt cx="4804" cy="95601"/>
              </a:xfrm>
            </p:grpSpPr>
            <p:sp>
              <p:nvSpPr>
                <p:cNvPr id="1187" name="Forma livre: Forma 1186">
                  <a:extLst>
                    <a:ext uri="{FF2B5EF4-FFF2-40B4-BE49-F238E27FC236}">
                      <a16:creationId xmlns:a16="http://schemas.microsoft.com/office/drawing/2014/main" id="{7453D4E7-4112-EA6D-B712-274A706908D2}"/>
                    </a:ext>
                  </a:extLst>
                </p:cNvPr>
                <p:cNvSpPr/>
                <p:nvPr/>
              </p:nvSpPr>
              <p:spPr>
                <a:xfrm>
                  <a:off x="1664074" y="3761215"/>
                  <a:ext cx="4804" cy="13931"/>
                </a:xfrm>
                <a:custGeom>
                  <a:avLst/>
                  <a:gdLst>
                    <a:gd name="connsiteX0" fmla="*/ 0 w 4804"/>
                    <a:gd name="connsiteY0" fmla="*/ 0 h 13931"/>
                    <a:gd name="connsiteX1" fmla="*/ 0 w 4804"/>
                    <a:gd name="connsiteY1" fmla="*/ 13932 h 1393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804" h="13931">
                      <a:moveTo>
                        <a:pt x="0" y="0"/>
                      </a:moveTo>
                      <a:lnTo>
                        <a:pt x="0" y="13932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188" name="Forma livre: Forma 1187">
                  <a:extLst>
                    <a:ext uri="{FF2B5EF4-FFF2-40B4-BE49-F238E27FC236}">
                      <a16:creationId xmlns:a16="http://schemas.microsoft.com/office/drawing/2014/main" id="{EE6AA7FE-4632-C96C-98DA-E8C51502DE34}"/>
                    </a:ext>
                  </a:extLst>
                </p:cNvPr>
                <p:cNvSpPr/>
                <p:nvPr/>
              </p:nvSpPr>
              <p:spPr>
                <a:xfrm>
                  <a:off x="1664074" y="3842885"/>
                  <a:ext cx="4804" cy="13931"/>
                </a:xfrm>
                <a:custGeom>
                  <a:avLst/>
                  <a:gdLst>
                    <a:gd name="connsiteX0" fmla="*/ 0 w 4804"/>
                    <a:gd name="connsiteY0" fmla="*/ 0 h 13931"/>
                    <a:gd name="connsiteX1" fmla="*/ 0 w 4804"/>
                    <a:gd name="connsiteY1" fmla="*/ 13932 h 1393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804" h="13931">
                      <a:moveTo>
                        <a:pt x="0" y="0"/>
                      </a:moveTo>
                      <a:lnTo>
                        <a:pt x="0" y="13932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sp>
          <p:nvSpPr>
            <p:cNvPr id="1189" name="Forma livre: Forma 1188">
              <a:extLst>
                <a:ext uri="{FF2B5EF4-FFF2-40B4-BE49-F238E27FC236}">
                  <a16:creationId xmlns:a16="http://schemas.microsoft.com/office/drawing/2014/main" id="{865C91E3-7060-A868-2172-6FD041939DF9}"/>
                </a:ext>
              </a:extLst>
            </p:cNvPr>
            <p:cNvSpPr/>
            <p:nvPr/>
          </p:nvSpPr>
          <p:spPr>
            <a:xfrm>
              <a:off x="1581108" y="3734072"/>
              <a:ext cx="149887" cy="149887"/>
            </a:xfrm>
            <a:custGeom>
              <a:avLst/>
              <a:gdLst>
                <a:gd name="connsiteX0" fmla="*/ 149887 w 149887"/>
                <a:gd name="connsiteY0" fmla="*/ 74944 h 149887"/>
                <a:gd name="connsiteX1" fmla="*/ 74944 w 149887"/>
                <a:gd name="connsiteY1" fmla="*/ 149887 h 149887"/>
                <a:gd name="connsiteX2" fmla="*/ 0 w 149887"/>
                <a:gd name="connsiteY2" fmla="*/ 74944 h 149887"/>
                <a:gd name="connsiteX3" fmla="*/ 74944 w 149887"/>
                <a:gd name="connsiteY3" fmla="*/ 0 h 149887"/>
                <a:gd name="connsiteX4" fmla="*/ 149887 w 149887"/>
                <a:gd name="connsiteY4" fmla="*/ 74944 h 1498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9887" h="149887">
                  <a:moveTo>
                    <a:pt x="149887" y="74944"/>
                  </a:moveTo>
                  <a:cubicBezTo>
                    <a:pt x="149887" y="116307"/>
                    <a:pt x="116355" y="149887"/>
                    <a:pt x="74944" y="149887"/>
                  </a:cubicBezTo>
                  <a:cubicBezTo>
                    <a:pt x="33532" y="149887"/>
                    <a:pt x="0" y="116355"/>
                    <a:pt x="0" y="74944"/>
                  </a:cubicBezTo>
                  <a:cubicBezTo>
                    <a:pt x="0" y="33532"/>
                    <a:pt x="33532" y="0"/>
                    <a:pt x="74944" y="0"/>
                  </a:cubicBezTo>
                  <a:cubicBezTo>
                    <a:pt x="116355" y="0"/>
                    <a:pt x="149887" y="33532"/>
                    <a:pt x="149887" y="74944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190" name="Gráfico 13">
              <a:extLst>
                <a:ext uri="{FF2B5EF4-FFF2-40B4-BE49-F238E27FC236}">
                  <a16:creationId xmlns:a16="http://schemas.microsoft.com/office/drawing/2014/main" id="{54869E71-201C-AEEB-8C7B-E8086BE93FCA}"/>
                </a:ext>
              </a:extLst>
            </p:cNvPr>
            <p:cNvGrpSpPr/>
            <p:nvPr/>
          </p:nvGrpSpPr>
          <p:grpSpPr>
            <a:xfrm>
              <a:off x="1430068" y="3730229"/>
              <a:ext cx="74415" cy="128461"/>
              <a:chOff x="1430068" y="3730229"/>
              <a:chExt cx="74415" cy="128461"/>
            </a:xfrm>
          </p:grpSpPr>
          <p:sp>
            <p:nvSpPr>
              <p:cNvPr id="1191" name="Forma livre: Forma 1190">
                <a:extLst>
                  <a:ext uri="{FF2B5EF4-FFF2-40B4-BE49-F238E27FC236}">
                    <a16:creationId xmlns:a16="http://schemas.microsoft.com/office/drawing/2014/main" id="{14B1D697-BD60-C518-AD4F-701E76A529F4}"/>
                  </a:ext>
                </a:extLst>
              </p:cNvPr>
              <p:cNvSpPr/>
              <p:nvPr/>
            </p:nvSpPr>
            <p:spPr>
              <a:xfrm>
                <a:off x="1430068" y="3730229"/>
                <a:ext cx="4804" cy="128461"/>
              </a:xfrm>
              <a:custGeom>
                <a:avLst/>
                <a:gdLst>
                  <a:gd name="connsiteX0" fmla="*/ 0 w 4804"/>
                  <a:gd name="connsiteY0" fmla="*/ 128461 h 128461"/>
                  <a:gd name="connsiteX1" fmla="*/ 0 w 4804"/>
                  <a:gd name="connsiteY1" fmla="*/ 0 h 1284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804" h="128461">
                    <a:moveTo>
                      <a:pt x="0" y="128461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192" name="Forma livre: Forma 1191">
                <a:extLst>
                  <a:ext uri="{FF2B5EF4-FFF2-40B4-BE49-F238E27FC236}">
                    <a16:creationId xmlns:a16="http://schemas.microsoft.com/office/drawing/2014/main" id="{1B120115-3D13-60A4-FC01-E09DCECA12E7}"/>
                  </a:ext>
                </a:extLst>
              </p:cNvPr>
              <p:cNvSpPr/>
              <p:nvPr/>
            </p:nvSpPr>
            <p:spPr>
              <a:xfrm>
                <a:off x="1504483" y="3730229"/>
                <a:ext cx="4804" cy="128124"/>
              </a:xfrm>
              <a:custGeom>
                <a:avLst/>
                <a:gdLst>
                  <a:gd name="connsiteX0" fmla="*/ 0 w 4804"/>
                  <a:gd name="connsiteY0" fmla="*/ 0 h 128124"/>
                  <a:gd name="connsiteX1" fmla="*/ 0 w 4804"/>
                  <a:gd name="connsiteY1" fmla="*/ 128125 h 1281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804" h="128124">
                    <a:moveTo>
                      <a:pt x="0" y="0"/>
                    </a:moveTo>
                    <a:lnTo>
                      <a:pt x="0" y="128125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193" name="Forma livre: Forma 1192">
              <a:extLst>
                <a:ext uri="{FF2B5EF4-FFF2-40B4-BE49-F238E27FC236}">
                  <a16:creationId xmlns:a16="http://schemas.microsoft.com/office/drawing/2014/main" id="{BB2227FE-2F54-A443-23D7-825D6D0BE8C3}"/>
                </a:ext>
              </a:extLst>
            </p:cNvPr>
            <p:cNvSpPr/>
            <p:nvPr/>
          </p:nvSpPr>
          <p:spPr>
            <a:xfrm>
              <a:off x="1478829" y="3771736"/>
              <a:ext cx="4804" cy="17342"/>
            </a:xfrm>
            <a:custGeom>
              <a:avLst/>
              <a:gdLst>
                <a:gd name="connsiteX0" fmla="*/ 0 w 4804"/>
                <a:gd name="connsiteY0" fmla="*/ 0 h 17342"/>
                <a:gd name="connsiteX1" fmla="*/ 0 w 4804"/>
                <a:gd name="connsiteY1" fmla="*/ 17343 h 173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804" h="17342">
                  <a:moveTo>
                    <a:pt x="0" y="0"/>
                  </a:moveTo>
                  <a:lnTo>
                    <a:pt x="0" y="17343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94" name="Forma livre: Forma 1193">
              <a:extLst>
                <a:ext uri="{FF2B5EF4-FFF2-40B4-BE49-F238E27FC236}">
                  <a16:creationId xmlns:a16="http://schemas.microsoft.com/office/drawing/2014/main" id="{F61D4F32-9D49-48FE-198E-4EFC42009899}"/>
                </a:ext>
              </a:extLst>
            </p:cNvPr>
            <p:cNvSpPr/>
            <p:nvPr/>
          </p:nvSpPr>
          <p:spPr>
            <a:xfrm>
              <a:off x="1443903" y="3660906"/>
              <a:ext cx="236985" cy="4804"/>
            </a:xfrm>
            <a:custGeom>
              <a:avLst/>
              <a:gdLst>
                <a:gd name="connsiteX0" fmla="*/ 236985 w 236985"/>
                <a:gd name="connsiteY0" fmla="*/ 0 h 4804"/>
                <a:gd name="connsiteX1" fmla="*/ 0 w 236985"/>
                <a:gd name="connsiteY1" fmla="*/ 0 h 48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36985" h="4804">
                  <a:moveTo>
                    <a:pt x="236985" y="0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95" name="Forma livre: Forma 1194">
              <a:extLst>
                <a:ext uri="{FF2B5EF4-FFF2-40B4-BE49-F238E27FC236}">
                  <a16:creationId xmlns:a16="http://schemas.microsoft.com/office/drawing/2014/main" id="{F47634CA-4982-1881-7B0C-8B59F888FFBE}"/>
                </a:ext>
              </a:extLst>
            </p:cNvPr>
            <p:cNvSpPr/>
            <p:nvPr/>
          </p:nvSpPr>
          <p:spPr>
            <a:xfrm>
              <a:off x="1414454" y="3603642"/>
              <a:ext cx="267587" cy="107419"/>
            </a:xfrm>
            <a:custGeom>
              <a:avLst/>
              <a:gdLst>
                <a:gd name="connsiteX0" fmla="*/ 234968 w 267587"/>
                <a:gd name="connsiteY0" fmla="*/ 0 h 107419"/>
                <a:gd name="connsiteX1" fmla="*/ 33292 w 267587"/>
                <a:gd name="connsiteY1" fmla="*/ 0 h 107419"/>
                <a:gd name="connsiteX2" fmla="*/ 0 w 267587"/>
                <a:gd name="connsiteY2" fmla="*/ 57409 h 107419"/>
                <a:gd name="connsiteX3" fmla="*/ 0 w 267587"/>
                <a:gd name="connsiteY3" fmla="*/ 80660 h 107419"/>
                <a:gd name="connsiteX4" fmla="*/ 26759 w 267587"/>
                <a:gd name="connsiteY4" fmla="*/ 107419 h 107419"/>
                <a:gd name="connsiteX5" fmla="*/ 53229 w 267587"/>
                <a:gd name="connsiteY5" fmla="*/ 80660 h 107419"/>
                <a:gd name="connsiteX6" fmla="*/ 79700 w 267587"/>
                <a:gd name="connsiteY6" fmla="*/ 107419 h 107419"/>
                <a:gd name="connsiteX7" fmla="*/ 106458 w 267587"/>
                <a:gd name="connsiteY7" fmla="*/ 80660 h 107419"/>
                <a:gd name="connsiteX8" fmla="*/ 133217 w 267587"/>
                <a:gd name="connsiteY8" fmla="*/ 107419 h 107419"/>
                <a:gd name="connsiteX9" fmla="*/ 159976 w 267587"/>
                <a:gd name="connsiteY9" fmla="*/ 80660 h 107419"/>
                <a:gd name="connsiteX10" fmla="*/ 186735 w 267587"/>
                <a:gd name="connsiteY10" fmla="*/ 107419 h 107419"/>
                <a:gd name="connsiteX11" fmla="*/ 213782 w 267587"/>
                <a:gd name="connsiteY11" fmla="*/ 80660 h 107419"/>
                <a:gd name="connsiteX12" fmla="*/ 240828 w 267587"/>
                <a:gd name="connsiteY12" fmla="*/ 107419 h 107419"/>
                <a:gd name="connsiteX13" fmla="*/ 267587 w 267587"/>
                <a:gd name="connsiteY13" fmla="*/ 80660 h 107419"/>
                <a:gd name="connsiteX14" fmla="*/ 267587 w 267587"/>
                <a:gd name="connsiteY14" fmla="*/ 57409 h 107419"/>
                <a:gd name="connsiteX15" fmla="*/ 234968 w 267587"/>
                <a:gd name="connsiteY15" fmla="*/ 0 h 1074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267587" h="107419">
                  <a:moveTo>
                    <a:pt x="234968" y="0"/>
                  </a:moveTo>
                  <a:lnTo>
                    <a:pt x="33292" y="0"/>
                  </a:lnTo>
                  <a:lnTo>
                    <a:pt x="0" y="57409"/>
                  </a:lnTo>
                  <a:lnTo>
                    <a:pt x="0" y="80660"/>
                  </a:lnTo>
                  <a:cubicBezTo>
                    <a:pt x="0" y="95457"/>
                    <a:pt x="11962" y="107419"/>
                    <a:pt x="26759" y="107419"/>
                  </a:cubicBezTo>
                  <a:cubicBezTo>
                    <a:pt x="41555" y="107419"/>
                    <a:pt x="53229" y="95457"/>
                    <a:pt x="53229" y="80660"/>
                  </a:cubicBezTo>
                  <a:cubicBezTo>
                    <a:pt x="53229" y="95457"/>
                    <a:pt x="64951" y="107419"/>
                    <a:pt x="79700" y="107419"/>
                  </a:cubicBezTo>
                  <a:cubicBezTo>
                    <a:pt x="94448" y="107419"/>
                    <a:pt x="106458" y="95457"/>
                    <a:pt x="106458" y="80660"/>
                  </a:cubicBezTo>
                  <a:cubicBezTo>
                    <a:pt x="106458" y="95457"/>
                    <a:pt x="118421" y="107419"/>
                    <a:pt x="133217" y="107419"/>
                  </a:cubicBezTo>
                  <a:cubicBezTo>
                    <a:pt x="148014" y="107419"/>
                    <a:pt x="159976" y="95457"/>
                    <a:pt x="159976" y="80660"/>
                  </a:cubicBezTo>
                  <a:cubicBezTo>
                    <a:pt x="159976" y="95457"/>
                    <a:pt x="171938" y="107419"/>
                    <a:pt x="186735" y="107419"/>
                  </a:cubicBezTo>
                  <a:cubicBezTo>
                    <a:pt x="201531" y="107419"/>
                    <a:pt x="213782" y="95457"/>
                    <a:pt x="213782" y="80660"/>
                  </a:cubicBezTo>
                  <a:cubicBezTo>
                    <a:pt x="213782" y="95457"/>
                    <a:pt x="226032" y="107419"/>
                    <a:pt x="240828" y="107419"/>
                  </a:cubicBezTo>
                  <a:cubicBezTo>
                    <a:pt x="255625" y="107419"/>
                    <a:pt x="267587" y="95457"/>
                    <a:pt x="267587" y="80660"/>
                  </a:cubicBezTo>
                  <a:lnTo>
                    <a:pt x="267587" y="57409"/>
                  </a:lnTo>
                  <a:lnTo>
                    <a:pt x="234968" y="0"/>
                  </a:ln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196" name="Gráfico 13">
              <a:extLst>
                <a:ext uri="{FF2B5EF4-FFF2-40B4-BE49-F238E27FC236}">
                  <a16:creationId xmlns:a16="http://schemas.microsoft.com/office/drawing/2014/main" id="{064B9A9B-87FA-D75B-D337-8A7ACD3CA7D2}"/>
                </a:ext>
              </a:extLst>
            </p:cNvPr>
            <p:cNvGrpSpPr/>
            <p:nvPr/>
          </p:nvGrpSpPr>
          <p:grpSpPr>
            <a:xfrm>
              <a:off x="1477964" y="3604122"/>
              <a:ext cx="139414" cy="32091"/>
              <a:chOff x="1477964" y="3604122"/>
              <a:chExt cx="139414" cy="32091"/>
            </a:xfrm>
          </p:grpSpPr>
          <p:sp>
            <p:nvSpPr>
              <p:cNvPr id="1197" name="Forma livre: Forma 1196">
                <a:extLst>
                  <a:ext uri="{FF2B5EF4-FFF2-40B4-BE49-F238E27FC236}">
                    <a16:creationId xmlns:a16="http://schemas.microsoft.com/office/drawing/2014/main" id="{AE0FFC28-0332-48C0-9B83-1087B6BA737F}"/>
                  </a:ext>
                </a:extLst>
              </p:cNvPr>
              <p:cNvSpPr/>
              <p:nvPr/>
            </p:nvSpPr>
            <p:spPr>
              <a:xfrm>
                <a:off x="1524660" y="3604122"/>
                <a:ext cx="2065" cy="32091"/>
              </a:xfrm>
              <a:custGeom>
                <a:avLst/>
                <a:gdLst>
                  <a:gd name="connsiteX0" fmla="*/ 0 w 2065"/>
                  <a:gd name="connsiteY0" fmla="*/ 32091 h 32091"/>
                  <a:gd name="connsiteX1" fmla="*/ 2066 w 2065"/>
                  <a:gd name="connsiteY1" fmla="*/ 0 h 320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065" h="32091">
                    <a:moveTo>
                      <a:pt x="0" y="32091"/>
                    </a:moveTo>
                    <a:lnTo>
                      <a:pt x="2066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198" name="Forma livre: Forma 1197">
                <a:extLst>
                  <a:ext uri="{FF2B5EF4-FFF2-40B4-BE49-F238E27FC236}">
                    <a16:creationId xmlns:a16="http://schemas.microsoft.com/office/drawing/2014/main" id="{61C93834-CCC3-F0D0-0173-E15122AAA799}"/>
                  </a:ext>
                </a:extLst>
              </p:cNvPr>
              <p:cNvSpPr/>
              <p:nvPr/>
            </p:nvSpPr>
            <p:spPr>
              <a:xfrm>
                <a:off x="1477964" y="3604122"/>
                <a:ext cx="7590" cy="32091"/>
              </a:xfrm>
              <a:custGeom>
                <a:avLst/>
                <a:gdLst>
                  <a:gd name="connsiteX0" fmla="*/ 0 w 7590"/>
                  <a:gd name="connsiteY0" fmla="*/ 32091 h 32091"/>
                  <a:gd name="connsiteX1" fmla="*/ 7590 w 7590"/>
                  <a:gd name="connsiteY1" fmla="*/ 0 h 320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7590" h="32091">
                    <a:moveTo>
                      <a:pt x="0" y="32091"/>
                    </a:moveTo>
                    <a:lnTo>
                      <a:pt x="759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199" name="Forma livre: Forma 1198">
                <a:extLst>
                  <a:ext uri="{FF2B5EF4-FFF2-40B4-BE49-F238E27FC236}">
                    <a16:creationId xmlns:a16="http://schemas.microsoft.com/office/drawing/2014/main" id="{7F4FEE04-217A-3C4A-96D9-3CA5B05330A8}"/>
                  </a:ext>
                </a:extLst>
              </p:cNvPr>
              <p:cNvSpPr/>
              <p:nvPr/>
            </p:nvSpPr>
            <p:spPr>
              <a:xfrm>
                <a:off x="1568617" y="3604122"/>
                <a:ext cx="2017" cy="32091"/>
              </a:xfrm>
              <a:custGeom>
                <a:avLst/>
                <a:gdLst>
                  <a:gd name="connsiteX0" fmla="*/ 2018 w 2017"/>
                  <a:gd name="connsiteY0" fmla="*/ 32091 h 32091"/>
                  <a:gd name="connsiteX1" fmla="*/ 0 w 2017"/>
                  <a:gd name="connsiteY1" fmla="*/ 0 h 320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017" h="32091">
                    <a:moveTo>
                      <a:pt x="2018" y="32091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00" name="Forma livre: Forma 1199">
                <a:extLst>
                  <a:ext uri="{FF2B5EF4-FFF2-40B4-BE49-F238E27FC236}">
                    <a16:creationId xmlns:a16="http://schemas.microsoft.com/office/drawing/2014/main" id="{9D61B1A0-BE61-72ED-682A-B3F528195DA9}"/>
                  </a:ext>
                </a:extLst>
              </p:cNvPr>
              <p:cNvSpPr/>
              <p:nvPr/>
            </p:nvSpPr>
            <p:spPr>
              <a:xfrm>
                <a:off x="1609788" y="3604122"/>
                <a:ext cx="7590" cy="32091"/>
              </a:xfrm>
              <a:custGeom>
                <a:avLst/>
                <a:gdLst>
                  <a:gd name="connsiteX0" fmla="*/ 7590 w 7590"/>
                  <a:gd name="connsiteY0" fmla="*/ 32091 h 32091"/>
                  <a:gd name="connsiteX1" fmla="*/ 0 w 7590"/>
                  <a:gd name="connsiteY1" fmla="*/ 0 h 320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7590" h="32091">
                    <a:moveTo>
                      <a:pt x="7590" y="32091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201" name="Forma livre: Forma 1200">
              <a:extLst>
                <a:ext uri="{FF2B5EF4-FFF2-40B4-BE49-F238E27FC236}">
                  <a16:creationId xmlns:a16="http://schemas.microsoft.com/office/drawing/2014/main" id="{FFB61898-67AF-C3AD-4CD1-E8607C57D5E6}"/>
                </a:ext>
              </a:extLst>
            </p:cNvPr>
            <p:cNvSpPr/>
            <p:nvPr/>
          </p:nvSpPr>
          <p:spPr>
            <a:xfrm>
              <a:off x="1404414" y="3858642"/>
              <a:ext cx="166317" cy="4804"/>
            </a:xfrm>
            <a:custGeom>
              <a:avLst/>
              <a:gdLst>
                <a:gd name="connsiteX0" fmla="*/ 0 w 166317"/>
                <a:gd name="connsiteY0" fmla="*/ 0 h 4804"/>
                <a:gd name="connsiteX1" fmla="*/ 166317 w 166317"/>
                <a:gd name="connsiteY1" fmla="*/ 0 h 48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66317" h="4804">
                  <a:moveTo>
                    <a:pt x="0" y="0"/>
                  </a:moveTo>
                  <a:lnTo>
                    <a:pt x="166317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203" name="Gráfico 13">
            <a:extLst>
              <a:ext uri="{FF2B5EF4-FFF2-40B4-BE49-F238E27FC236}">
                <a16:creationId xmlns:a16="http://schemas.microsoft.com/office/drawing/2014/main" id="{EF4C2FA9-1689-C68C-1DC5-5DF3746D3097}"/>
              </a:ext>
            </a:extLst>
          </p:cNvPr>
          <p:cNvGrpSpPr/>
          <p:nvPr/>
        </p:nvGrpSpPr>
        <p:grpSpPr>
          <a:xfrm>
            <a:off x="795016" y="4674663"/>
            <a:ext cx="312330" cy="313357"/>
            <a:chOff x="795016" y="4674663"/>
            <a:chExt cx="312330" cy="313357"/>
          </a:xfrm>
          <a:noFill/>
        </p:grpSpPr>
        <p:grpSp>
          <p:nvGrpSpPr>
            <p:cNvPr id="1204" name="Gráfico 13">
              <a:extLst>
                <a:ext uri="{FF2B5EF4-FFF2-40B4-BE49-F238E27FC236}">
                  <a16:creationId xmlns:a16="http://schemas.microsoft.com/office/drawing/2014/main" id="{21591B85-C6B9-3C07-ECBC-399F6874CFD8}"/>
                </a:ext>
              </a:extLst>
            </p:cNvPr>
            <p:cNvGrpSpPr/>
            <p:nvPr/>
          </p:nvGrpSpPr>
          <p:grpSpPr>
            <a:xfrm>
              <a:off x="844498" y="4702815"/>
              <a:ext cx="60963" cy="100213"/>
              <a:chOff x="844498" y="4702815"/>
              <a:chExt cx="60963" cy="100213"/>
            </a:xfrm>
            <a:noFill/>
          </p:grpSpPr>
          <p:grpSp>
            <p:nvGrpSpPr>
              <p:cNvPr id="1205" name="Gráfico 13">
                <a:extLst>
                  <a:ext uri="{FF2B5EF4-FFF2-40B4-BE49-F238E27FC236}">
                    <a16:creationId xmlns:a16="http://schemas.microsoft.com/office/drawing/2014/main" id="{2A7A58A3-931F-EE24-8689-C2964C3C0302}"/>
                  </a:ext>
                </a:extLst>
              </p:cNvPr>
              <p:cNvGrpSpPr/>
              <p:nvPr/>
            </p:nvGrpSpPr>
            <p:grpSpPr>
              <a:xfrm>
                <a:off x="844498" y="4717948"/>
                <a:ext cx="60963" cy="69899"/>
                <a:chOff x="844498" y="4717948"/>
                <a:chExt cx="60963" cy="69899"/>
              </a:xfrm>
              <a:noFill/>
            </p:grpSpPr>
            <p:sp>
              <p:nvSpPr>
                <p:cNvPr id="1206" name="Forma livre: Forma 1205">
                  <a:extLst>
                    <a:ext uri="{FF2B5EF4-FFF2-40B4-BE49-F238E27FC236}">
                      <a16:creationId xmlns:a16="http://schemas.microsoft.com/office/drawing/2014/main" id="{8B9C4803-D529-5E4A-A5E9-297B46661F82}"/>
                    </a:ext>
                  </a:extLst>
                </p:cNvPr>
                <p:cNvSpPr/>
                <p:nvPr/>
              </p:nvSpPr>
              <p:spPr>
                <a:xfrm>
                  <a:off x="844546" y="4717948"/>
                  <a:ext cx="60915" cy="34925"/>
                </a:xfrm>
                <a:custGeom>
                  <a:avLst/>
                  <a:gdLst>
                    <a:gd name="connsiteX0" fmla="*/ 0 w 60915"/>
                    <a:gd name="connsiteY0" fmla="*/ 0 h 34925"/>
                    <a:gd name="connsiteX1" fmla="*/ 42997 w 60915"/>
                    <a:gd name="connsiteY1" fmla="*/ 0 h 34925"/>
                    <a:gd name="connsiteX2" fmla="*/ 60916 w 60915"/>
                    <a:gd name="connsiteY2" fmla="*/ 17487 h 34925"/>
                    <a:gd name="connsiteX3" fmla="*/ 42997 w 60915"/>
                    <a:gd name="connsiteY3" fmla="*/ 34926 h 34925"/>
                    <a:gd name="connsiteX4" fmla="*/ 15613 w 60915"/>
                    <a:gd name="connsiteY4" fmla="*/ 34926 h 3492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60915" h="34925">
                      <a:moveTo>
                        <a:pt x="0" y="0"/>
                      </a:moveTo>
                      <a:lnTo>
                        <a:pt x="42997" y="0"/>
                      </a:lnTo>
                      <a:cubicBezTo>
                        <a:pt x="52845" y="0"/>
                        <a:pt x="60916" y="7879"/>
                        <a:pt x="60916" y="17487"/>
                      </a:cubicBezTo>
                      <a:cubicBezTo>
                        <a:pt x="60916" y="27095"/>
                        <a:pt x="52845" y="34926"/>
                        <a:pt x="42997" y="34926"/>
                      </a:cubicBezTo>
                      <a:lnTo>
                        <a:pt x="15613" y="34926"/>
                      </a:ln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207" name="Forma livre: Forma 1206">
                  <a:extLst>
                    <a:ext uri="{FF2B5EF4-FFF2-40B4-BE49-F238E27FC236}">
                      <a16:creationId xmlns:a16="http://schemas.microsoft.com/office/drawing/2014/main" id="{085027DB-2F79-6898-7F89-C1B9C2088778}"/>
                    </a:ext>
                  </a:extLst>
                </p:cNvPr>
                <p:cNvSpPr/>
                <p:nvPr/>
              </p:nvSpPr>
              <p:spPr>
                <a:xfrm>
                  <a:off x="844498" y="4752921"/>
                  <a:ext cx="60915" cy="34925"/>
                </a:xfrm>
                <a:custGeom>
                  <a:avLst/>
                  <a:gdLst>
                    <a:gd name="connsiteX0" fmla="*/ 42997 w 60915"/>
                    <a:gd name="connsiteY0" fmla="*/ 0 h 34925"/>
                    <a:gd name="connsiteX1" fmla="*/ 60916 w 60915"/>
                    <a:gd name="connsiteY1" fmla="*/ 17487 h 34925"/>
                    <a:gd name="connsiteX2" fmla="*/ 42997 w 60915"/>
                    <a:gd name="connsiteY2" fmla="*/ 34926 h 34925"/>
                    <a:gd name="connsiteX3" fmla="*/ 0 w 60915"/>
                    <a:gd name="connsiteY3" fmla="*/ 34926 h 3492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60915" h="34925">
                      <a:moveTo>
                        <a:pt x="42997" y="0"/>
                      </a:moveTo>
                      <a:cubicBezTo>
                        <a:pt x="52845" y="0"/>
                        <a:pt x="60916" y="7879"/>
                        <a:pt x="60916" y="17487"/>
                      </a:cubicBezTo>
                      <a:cubicBezTo>
                        <a:pt x="60916" y="27095"/>
                        <a:pt x="52845" y="34926"/>
                        <a:pt x="42997" y="34926"/>
                      </a:cubicBezTo>
                      <a:lnTo>
                        <a:pt x="0" y="34926"/>
                      </a:ln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1208" name="Forma livre: Forma 1207">
                <a:extLst>
                  <a:ext uri="{FF2B5EF4-FFF2-40B4-BE49-F238E27FC236}">
                    <a16:creationId xmlns:a16="http://schemas.microsoft.com/office/drawing/2014/main" id="{05B1A106-915D-5387-8B48-FD749FB401AC}"/>
                  </a:ext>
                </a:extLst>
              </p:cNvPr>
              <p:cNvSpPr/>
              <p:nvPr/>
            </p:nvSpPr>
            <p:spPr>
              <a:xfrm>
                <a:off x="859439" y="4702815"/>
                <a:ext cx="4804" cy="100213"/>
              </a:xfrm>
              <a:custGeom>
                <a:avLst/>
                <a:gdLst>
                  <a:gd name="connsiteX0" fmla="*/ 0 w 4804"/>
                  <a:gd name="connsiteY0" fmla="*/ 0 h 100213"/>
                  <a:gd name="connsiteX1" fmla="*/ 0 w 4804"/>
                  <a:gd name="connsiteY1" fmla="*/ 100213 h 1002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804" h="100213">
                    <a:moveTo>
                      <a:pt x="0" y="0"/>
                    </a:moveTo>
                    <a:lnTo>
                      <a:pt x="0" y="100213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1209" name="Gráfico 13">
                <a:extLst>
                  <a:ext uri="{FF2B5EF4-FFF2-40B4-BE49-F238E27FC236}">
                    <a16:creationId xmlns:a16="http://schemas.microsoft.com/office/drawing/2014/main" id="{1C568E3B-6BA7-7698-331F-DCDBC9C5B989}"/>
                  </a:ext>
                </a:extLst>
              </p:cNvPr>
              <p:cNvGrpSpPr/>
              <p:nvPr/>
            </p:nvGrpSpPr>
            <p:grpSpPr>
              <a:xfrm>
                <a:off x="883075" y="4702815"/>
                <a:ext cx="4804" cy="100213"/>
                <a:chOff x="883075" y="4702815"/>
                <a:chExt cx="4804" cy="100213"/>
              </a:xfrm>
            </p:grpSpPr>
            <p:sp>
              <p:nvSpPr>
                <p:cNvPr id="1210" name="Forma livre: Forma 1209">
                  <a:extLst>
                    <a:ext uri="{FF2B5EF4-FFF2-40B4-BE49-F238E27FC236}">
                      <a16:creationId xmlns:a16="http://schemas.microsoft.com/office/drawing/2014/main" id="{EC445546-85C9-D9A2-31B6-53DF06E53086}"/>
                    </a:ext>
                  </a:extLst>
                </p:cNvPr>
                <p:cNvSpPr/>
                <p:nvPr/>
              </p:nvSpPr>
              <p:spPr>
                <a:xfrm>
                  <a:off x="883075" y="4702815"/>
                  <a:ext cx="4804" cy="14844"/>
                </a:xfrm>
                <a:custGeom>
                  <a:avLst/>
                  <a:gdLst>
                    <a:gd name="connsiteX0" fmla="*/ 0 w 4804"/>
                    <a:gd name="connsiteY0" fmla="*/ 0 h 14844"/>
                    <a:gd name="connsiteX1" fmla="*/ 0 w 4804"/>
                    <a:gd name="connsiteY1" fmla="*/ 14845 h 1484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804" h="14844">
                      <a:moveTo>
                        <a:pt x="0" y="0"/>
                      </a:moveTo>
                      <a:lnTo>
                        <a:pt x="0" y="14845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211" name="Forma livre: Forma 1210">
                  <a:extLst>
                    <a:ext uri="{FF2B5EF4-FFF2-40B4-BE49-F238E27FC236}">
                      <a16:creationId xmlns:a16="http://schemas.microsoft.com/office/drawing/2014/main" id="{E7E72668-5F93-214E-3DAA-1BD6F39D6A22}"/>
                    </a:ext>
                  </a:extLst>
                </p:cNvPr>
                <p:cNvSpPr/>
                <p:nvPr/>
              </p:nvSpPr>
              <p:spPr>
                <a:xfrm>
                  <a:off x="883075" y="4788135"/>
                  <a:ext cx="4804" cy="14892"/>
                </a:xfrm>
                <a:custGeom>
                  <a:avLst/>
                  <a:gdLst>
                    <a:gd name="connsiteX0" fmla="*/ 0 w 4804"/>
                    <a:gd name="connsiteY0" fmla="*/ 0 h 14892"/>
                    <a:gd name="connsiteX1" fmla="*/ 0 w 4804"/>
                    <a:gd name="connsiteY1" fmla="*/ 14893 h 148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804" h="14892">
                      <a:moveTo>
                        <a:pt x="0" y="0"/>
                      </a:moveTo>
                      <a:lnTo>
                        <a:pt x="0" y="14893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grpSp>
          <p:nvGrpSpPr>
            <p:cNvPr id="1212" name="Gráfico 13">
              <a:extLst>
                <a:ext uri="{FF2B5EF4-FFF2-40B4-BE49-F238E27FC236}">
                  <a16:creationId xmlns:a16="http://schemas.microsoft.com/office/drawing/2014/main" id="{241F0052-AA9F-58BB-0B03-84FEE3A19643}"/>
                </a:ext>
              </a:extLst>
            </p:cNvPr>
            <p:cNvGrpSpPr/>
            <p:nvPr/>
          </p:nvGrpSpPr>
          <p:grpSpPr>
            <a:xfrm>
              <a:off x="959412" y="4698251"/>
              <a:ext cx="81669" cy="79603"/>
              <a:chOff x="959412" y="4698251"/>
              <a:chExt cx="81669" cy="79603"/>
            </a:xfrm>
            <a:noFill/>
          </p:grpSpPr>
          <p:sp>
            <p:nvSpPr>
              <p:cNvPr id="1213" name="Forma livre: Forma 1212">
                <a:extLst>
                  <a:ext uri="{FF2B5EF4-FFF2-40B4-BE49-F238E27FC236}">
                    <a16:creationId xmlns:a16="http://schemas.microsoft.com/office/drawing/2014/main" id="{AA093800-9E1F-63DC-000D-E0A17CA6D29B}"/>
                  </a:ext>
                </a:extLst>
              </p:cNvPr>
              <p:cNvSpPr/>
              <p:nvPr/>
            </p:nvSpPr>
            <p:spPr>
              <a:xfrm>
                <a:off x="959412" y="4698251"/>
                <a:ext cx="54622" cy="72685"/>
              </a:xfrm>
              <a:custGeom>
                <a:avLst/>
                <a:gdLst>
                  <a:gd name="connsiteX0" fmla="*/ 0 w 54622"/>
                  <a:gd name="connsiteY0" fmla="*/ 0 h 72685"/>
                  <a:gd name="connsiteX1" fmla="*/ 30602 w 54622"/>
                  <a:gd name="connsiteY1" fmla="*/ 0 h 72685"/>
                  <a:gd name="connsiteX2" fmla="*/ 54622 w 54622"/>
                  <a:gd name="connsiteY2" fmla="*/ 24020 h 72685"/>
                  <a:gd name="connsiteX3" fmla="*/ 54622 w 54622"/>
                  <a:gd name="connsiteY3" fmla="*/ 72686 h 726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4622" h="72685">
                    <a:moveTo>
                      <a:pt x="0" y="0"/>
                    </a:moveTo>
                    <a:lnTo>
                      <a:pt x="30602" y="0"/>
                    </a:lnTo>
                    <a:cubicBezTo>
                      <a:pt x="43813" y="0"/>
                      <a:pt x="54622" y="10809"/>
                      <a:pt x="54622" y="24020"/>
                    </a:cubicBezTo>
                    <a:lnTo>
                      <a:pt x="54622" y="72686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14" name="Forma livre: Forma 1213">
                <a:extLst>
                  <a:ext uri="{FF2B5EF4-FFF2-40B4-BE49-F238E27FC236}">
                    <a16:creationId xmlns:a16="http://schemas.microsoft.com/office/drawing/2014/main" id="{A20D9FB7-5068-909D-BADD-93DF0D66D5C0}"/>
                  </a:ext>
                </a:extLst>
              </p:cNvPr>
              <p:cNvSpPr/>
              <p:nvPr/>
            </p:nvSpPr>
            <p:spPr>
              <a:xfrm>
                <a:off x="1014130" y="4750856"/>
                <a:ext cx="26950" cy="26998"/>
              </a:xfrm>
              <a:custGeom>
                <a:avLst/>
                <a:gdLst>
                  <a:gd name="connsiteX0" fmla="*/ 26951 w 26950"/>
                  <a:gd name="connsiteY0" fmla="*/ 0 h 26998"/>
                  <a:gd name="connsiteX1" fmla="*/ 0 w 26950"/>
                  <a:gd name="connsiteY1" fmla="*/ 26999 h 269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6950" h="26998">
                    <a:moveTo>
                      <a:pt x="26951" y="0"/>
                    </a:moveTo>
                    <a:lnTo>
                      <a:pt x="0" y="26999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15" name="Forma livre: Forma 1214">
                <a:extLst>
                  <a:ext uri="{FF2B5EF4-FFF2-40B4-BE49-F238E27FC236}">
                    <a16:creationId xmlns:a16="http://schemas.microsoft.com/office/drawing/2014/main" id="{679365E6-058A-5F77-EA78-0E1127AE7C19}"/>
                  </a:ext>
                </a:extLst>
              </p:cNvPr>
              <p:cNvSpPr/>
              <p:nvPr/>
            </p:nvSpPr>
            <p:spPr>
              <a:xfrm>
                <a:off x="986939" y="4750904"/>
                <a:ext cx="26950" cy="26950"/>
              </a:xfrm>
              <a:custGeom>
                <a:avLst/>
                <a:gdLst>
                  <a:gd name="connsiteX0" fmla="*/ 26951 w 26950"/>
                  <a:gd name="connsiteY0" fmla="*/ 26951 h 26950"/>
                  <a:gd name="connsiteX1" fmla="*/ 0 w 26950"/>
                  <a:gd name="connsiteY1" fmla="*/ 0 h 269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6950" h="26950">
                    <a:moveTo>
                      <a:pt x="26951" y="26951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216" name="Forma livre: Forma 1215">
              <a:extLst>
                <a:ext uri="{FF2B5EF4-FFF2-40B4-BE49-F238E27FC236}">
                  <a16:creationId xmlns:a16="http://schemas.microsoft.com/office/drawing/2014/main" id="{92A6C9C9-3896-2278-2B1C-0B1470E73313}"/>
                </a:ext>
              </a:extLst>
            </p:cNvPr>
            <p:cNvSpPr/>
            <p:nvPr/>
          </p:nvSpPr>
          <p:spPr>
            <a:xfrm>
              <a:off x="795016" y="4674663"/>
              <a:ext cx="156516" cy="156516"/>
            </a:xfrm>
            <a:custGeom>
              <a:avLst/>
              <a:gdLst>
                <a:gd name="connsiteX0" fmla="*/ 156517 w 156516"/>
                <a:gd name="connsiteY0" fmla="*/ 78258 h 156516"/>
                <a:gd name="connsiteX1" fmla="*/ 78258 w 156516"/>
                <a:gd name="connsiteY1" fmla="*/ 156517 h 156516"/>
                <a:gd name="connsiteX2" fmla="*/ 0 w 156516"/>
                <a:gd name="connsiteY2" fmla="*/ 78259 h 156516"/>
                <a:gd name="connsiteX3" fmla="*/ 78258 w 156516"/>
                <a:gd name="connsiteY3" fmla="*/ 0 h 156516"/>
                <a:gd name="connsiteX4" fmla="*/ 156517 w 156516"/>
                <a:gd name="connsiteY4" fmla="*/ 78258 h 1565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6516" h="156516">
                  <a:moveTo>
                    <a:pt x="156517" y="78258"/>
                  </a:moveTo>
                  <a:cubicBezTo>
                    <a:pt x="156517" y="121479"/>
                    <a:pt x="121479" y="156517"/>
                    <a:pt x="78258" y="156517"/>
                  </a:cubicBezTo>
                  <a:cubicBezTo>
                    <a:pt x="35037" y="156517"/>
                    <a:pt x="0" y="121479"/>
                    <a:pt x="0" y="78259"/>
                  </a:cubicBezTo>
                  <a:cubicBezTo>
                    <a:pt x="0" y="35038"/>
                    <a:pt x="35037" y="0"/>
                    <a:pt x="78258" y="0"/>
                  </a:cubicBezTo>
                  <a:cubicBezTo>
                    <a:pt x="121479" y="0"/>
                    <a:pt x="156517" y="35038"/>
                    <a:pt x="156517" y="78258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217" name="Gráfico 13">
              <a:extLst>
                <a:ext uri="{FF2B5EF4-FFF2-40B4-BE49-F238E27FC236}">
                  <a16:creationId xmlns:a16="http://schemas.microsoft.com/office/drawing/2014/main" id="{8E987601-C589-7E68-8282-F494F24D11B3}"/>
                </a:ext>
              </a:extLst>
            </p:cNvPr>
            <p:cNvGrpSpPr/>
            <p:nvPr/>
          </p:nvGrpSpPr>
          <p:grpSpPr>
            <a:xfrm>
              <a:off x="846900" y="4870141"/>
              <a:ext cx="81669" cy="79603"/>
              <a:chOff x="846900" y="4870141"/>
              <a:chExt cx="81669" cy="79603"/>
            </a:xfrm>
            <a:noFill/>
          </p:grpSpPr>
          <p:sp>
            <p:nvSpPr>
              <p:cNvPr id="1218" name="Forma livre: Forma 1217">
                <a:extLst>
                  <a:ext uri="{FF2B5EF4-FFF2-40B4-BE49-F238E27FC236}">
                    <a16:creationId xmlns:a16="http://schemas.microsoft.com/office/drawing/2014/main" id="{0C013996-C89C-9973-8555-9E659C2A529A}"/>
                  </a:ext>
                </a:extLst>
              </p:cNvPr>
              <p:cNvSpPr/>
              <p:nvPr/>
            </p:nvSpPr>
            <p:spPr>
              <a:xfrm>
                <a:off x="873947" y="4877059"/>
                <a:ext cx="54622" cy="72685"/>
              </a:xfrm>
              <a:custGeom>
                <a:avLst/>
                <a:gdLst>
                  <a:gd name="connsiteX0" fmla="*/ 54622 w 54622"/>
                  <a:gd name="connsiteY0" fmla="*/ 72686 h 72685"/>
                  <a:gd name="connsiteX1" fmla="*/ 24020 w 54622"/>
                  <a:gd name="connsiteY1" fmla="*/ 72686 h 72685"/>
                  <a:gd name="connsiteX2" fmla="*/ 0 w 54622"/>
                  <a:gd name="connsiteY2" fmla="*/ 48665 h 72685"/>
                  <a:gd name="connsiteX3" fmla="*/ 0 w 54622"/>
                  <a:gd name="connsiteY3" fmla="*/ 0 h 726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4622" h="72685">
                    <a:moveTo>
                      <a:pt x="54622" y="72686"/>
                    </a:moveTo>
                    <a:lnTo>
                      <a:pt x="24020" y="72686"/>
                    </a:lnTo>
                    <a:cubicBezTo>
                      <a:pt x="10809" y="72686"/>
                      <a:pt x="0" y="61877"/>
                      <a:pt x="0" y="48665"/>
                    </a:cubicBezTo>
                    <a:lnTo>
                      <a:pt x="0" y="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19" name="Forma livre: Forma 1218">
                <a:extLst>
                  <a:ext uri="{FF2B5EF4-FFF2-40B4-BE49-F238E27FC236}">
                    <a16:creationId xmlns:a16="http://schemas.microsoft.com/office/drawing/2014/main" id="{4496D6C3-0108-D4BB-1DFA-C2C33B9886D7}"/>
                  </a:ext>
                </a:extLst>
              </p:cNvPr>
              <p:cNvSpPr/>
              <p:nvPr/>
            </p:nvSpPr>
            <p:spPr>
              <a:xfrm>
                <a:off x="846900" y="4870189"/>
                <a:ext cx="26950" cy="26950"/>
              </a:xfrm>
              <a:custGeom>
                <a:avLst/>
                <a:gdLst>
                  <a:gd name="connsiteX0" fmla="*/ 0 w 26950"/>
                  <a:gd name="connsiteY0" fmla="*/ 26951 h 26950"/>
                  <a:gd name="connsiteX1" fmla="*/ 26951 w 26950"/>
                  <a:gd name="connsiteY1" fmla="*/ 0 h 269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6950" h="26950">
                    <a:moveTo>
                      <a:pt x="0" y="26951"/>
                    </a:moveTo>
                    <a:lnTo>
                      <a:pt x="26951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20" name="Forma livre: Forma 1219">
                <a:extLst>
                  <a:ext uri="{FF2B5EF4-FFF2-40B4-BE49-F238E27FC236}">
                    <a16:creationId xmlns:a16="http://schemas.microsoft.com/office/drawing/2014/main" id="{6BBBE94C-13D3-E07C-23D1-CAA3BE478D48}"/>
                  </a:ext>
                </a:extLst>
              </p:cNvPr>
              <p:cNvSpPr/>
              <p:nvPr/>
            </p:nvSpPr>
            <p:spPr>
              <a:xfrm>
                <a:off x="874044" y="4870141"/>
                <a:ext cx="26998" cy="26950"/>
              </a:xfrm>
              <a:custGeom>
                <a:avLst/>
                <a:gdLst>
                  <a:gd name="connsiteX0" fmla="*/ 0 w 26998"/>
                  <a:gd name="connsiteY0" fmla="*/ 0 h 26950"/>
                  <a:gd name="connsiteX1" fmla="*/ 26999 w 26998"/>
                  <a:gd name="connsiteY1" fmla="*/ 26951 h 269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6998" h="26950">
                    <a:moveTo>
                      <a:pt x="0" y="0"/>
                    </a:moveTo>
                    <a:lnTo>
                      <a:pt x="26999" y="26951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221" name="Forma livre: Forma 1220">
              <a:extLst>
                <a:ext uri="{FF2B5EF4-FFF2-40B4-BE49-F238E27FC236}">
                  <a16:creationId xmlns:a16="http://schemas.microsoft.com/office/drawing/2014/main" id="{B58AA95B-D792-931D-E080-80510256CF06}"/>
                </a:ext>
              </a:extLst>
            </p:cNvPr>
            <p:cNvSpPr/>
            <p:nvPr/>
          </p:nvSpPr>
          <p:spPr>
            <a:xfrm rot="-4603200">
              <a:off x="934946" y="4815619"/>
              <a:ext cx="156516" cy="156516"/>
            </a:xfrm>
            <a:custGeom>
              <a:avLst/>
              <a:gdLst>
                <a:gd name="connsiteX0" fmla="*/ 156517 w 156516"/>
                <a:gd name="connsiteY0" fmla="*/ 78258 h 156516"/>
                <a:gd name="connsiteX1" fmla="*/ 78258 w 156516"/>
                <a:gd name="connsiteY1" fmla="*/ 156517 h 156516"/>
                <a:gd name="connsiteX2" fmla="*/ 0 w 156516"/>
                <a:gd name="connsiteY2" fmla="*/ 78258 h 156516"/>
                <a:gd name="connsiteX3" fmla="*/ 78258 w 156516"/>
                <a:gd name="connsiteY3" fmla="*/ 0 h 156516"/>
                <a:gd name="connsiteX4" fmla="*/ 156517 w 156516"/>
                <a:gd name="connsiteY4" fmla="*/ 78258 h 1565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6516" h="156516">
                  <a:moveTo>
                    <a:pt x="156517" y="78258"/>
                  </a:moveTo>
                  <a:cubicBezTo>
                    <a:pt x="156517" y="121479"/>
                    <a:pt x="121479" y="156517"/>
                    <a:pt x="78258" y="156517"/>
                  </a:cubicBezTo>
                  <a:cubicBezTo>
                    <a:pt x="35037" y="156517"/>
                    <a:pt x="0" y="121479"/>
                    <a:pt x="0" y="78258"/>
                  </a:cubicBezTo>
                  <a:cubicBezTo>
                    <a:pt x="0" y="35038"/>
                    <a:pt x="35037" y="0"/>
                    <a:pt x="78258" y="0"/>
                  </a:cubicBezTo>
                  <a:cubicBezTo>
                    <a:pt x="121479" y="0"/>
                    <a:pt x="156517" y="35037"/>
                    <a:pt x="156517" y="78258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222" name="Gráfico 13">
              <a:extLst>
                <a:ext uri="{FF2B5EF4-FFF2-40B4-BE49-F238E27FC236}">
                  <a16:creationId xmlns:a16="http://schemas.microsoft.com/office/drawing/2014/main" id="{37BCFF45-1922-8151-3FCC-F07DA153D9A9}"/>
                </a:ext>
              </a:extLst>
            </p:cNvPr>
            <p:cNvGrpSpPr/>
            <p:nvPr/>
          </p:nvGrpSpPr>
          <p:grpSpPr>
            <a:xfrm>
              <a:off x="992800" y="4841605"/>
              <a:ext cx="40834" cy="104584"/>
              <a:chOff x="992800" y="4841605"/>
              <a:chExt cx="40834" cy="104584"/>
            </a:xfrm>
            <a:noFill/>
          </p:grpSpPr>
          <p:sp>
            <p:nvSpPr>
              <p:cNvPr id="1223" name="Forma livre: Forma 1222">
                <a:extLst>
                  <a:ext uri="{FF2B5EF4-FFF2-40B4-BE49-F238E27FC236}">
                    <a16:creationId xmlns:a16="http://schemas.microsoft.com/office/drawing/2014/main" id="{F0A58D93-8483-243D-F603-B3A0080B22C4}"/>
                  </a:ext>
                </a:extLst>
              </p:cNvPr>
              <p:cNvSpPr/>
              <p:nvPr/>
            </p:nvSpPr>
            <p:spPr>
              <a:xfrm>
                <a:off x="992800" y="4855008"/>
                <a:ext cx="40834" cy="77682"/>
              </a:xfrm>
              <a:custGeom>
                <a:avLst/>
                <a:gdLst>
                  <a:gd name="connsiteX0" fmla="*/ 96 w 40834"/>
                  <a:gd name="connsiteY0" fmla="*/ 58754 h 77682"/>
                  <a:gd name="connsiteX1" fmla="*/ 20465 w 40834"/>
                  <a:gd name="connsiteY1" fmla="*/ 77682 h 77682"/>
                  <a:gd name="connsiteX2" fmla="*/ 40835 w 40834"/>
                  <a:gd name="connsiteY2" fmla="*/ 58754 h 77682"/>
                  <a:gd name="connsiteX3" fmla="*/ 20417 w 40834"/>
                  <a:gd name="connsiteY3" fmla="*/ 38865 h 77682"/>
                  <a:gd name="connsiteX4" fmla="*/ 0 w 40834"/>
                  <a:gd name="connsiteY4" fmla="*/ 18976 h 77682"/>
                  <a:gd name="connsiteX5" fmla="*/ 20369 w 40834"/>
                  <a:gd name="connsiteY5" fmla="*/ 0 h 77682"/>
                  <a:gd name="connsiteX6" fmla="*/ 40739 w 40834"/>
                  <a:gd name="connsiteY6" fmla="*/ 18976 h 776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0834" h="77682">
                    <a:moveTo>
                      <a:pt x="96" y="58754"/>
                    </a:moveTo>
                    <a:cubicBezTo>
                      <a:pt x="96" y="69227"/>
                      <a:pt x="9224" y="77682"/>
                      <a:pt x="20465" y="77682"/>
                    </a:cubicBezTo>
                    <a:cubicBezTo>
                      <a:pt x="31707" y="77682"/>
                      <a:pt x="40835" y="69227"/>
                      <a:pt x="40835" y="58754"/>
                    </a:cubicBezTo>
                    <a:cubicBezTo>
                      <a:pt x="40835" y="48281"/>
                      <a:pt x="29929" y="43717"/>
                      <a:pt x="20417" y="38865"/>
                    </a:cubicBezTo>
                    <a:cubicBezTo>
                      <a:pt x="10857" y="34013"/>
                      <a:pt x="0" y="29449"/>
                      <a:pt x="0" y="18976"/>
                    </a:cubicBezTo>
                    <a:cubicBezTo>
                      <a:pt x="0" y="8503"/>
                      <a:pt x="9128" y="0"/>
                      <a:pt x="20369" y="0"/>
                    </a:cubicBezTo>
                    <a:cubicBezTo>
                      <a:pt x="31611" y="0"/>
                      <a:pt x="40739" y="8503"/>
                      <a:pt x="40739" y="18976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24" name="Forma livre: Forma 1223">
                <a:extLst>
                  <a:ext uri="{FF2B5EF4-FFF2-40B4-BE49-F238E27FC236}">
                    <a16:creationId xmlns:a16="http://schemas.microsoft.com/office/drawing/2014/main" id="{67899C7D-A9AB-FD54-2DDB-C4B32901051B}"/>
                  </a:ext>
                </a:extLst>
              </p:cNvPr>
              <p:cNvSpPr/>
              <p:nvPr/>
            </p:nvSpPr>
            <p:spPr>
              <a:xfrm>
                <a:off x="1013170" y="4841605"/>
                <a:ext cx="4804" cy="13355"/>
              </a:xfrm>
              <a:custGeom>
                <a:avLst/>
                <a:gdLst>
                  <a:gd name="connsiteX0" fmla="*/ 0 w 4804"/>
                  <a:gd name="connsiteY0" fmla="*/ 13355 h 13355"/>
                  <a:gd name="connsiteX1" fmla="*/ 0 w 4804"/>
                  <a:gd name="connsiteY1" fmla="*/ 0 h 133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804" h="13355">
                    <a:moveTo>
                      <a:pt x="0" y="13355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25" name="Forma livre: Forma 1224">
                <a:extLst>
                  <a:ext uri="{FF2B5EF4-FFF2-40B4-BE49-F238E27FC236}">
                    <a16:creationId xmlns:a16="http://schemas.microsoft.com/office/drawing/2014/main" id="{4B36E9CC-0BD7-F001-88A6-9DBAE17FD17D}"/>
                  </a:ext>
                </a:extLst>
              </p:cNvPr>
              <p:cNvSpPr/>
              <p:nvPr/>
            </p:nvSpPr>
            <p:spPr>
              <a:xfrm>
                <a:off x="1013170" y="4932834"/>
                <a:ext cx="4804" cy="13355"/>
              </a:xfrm>
              <a:custGeom>
                <a:avLst/>
                <a:gdLst>
                  <a:gd name="connsiteX0" fmla="*/ 0 w 4804"/>
                  <a:gd name="connsiteY0" fmla="*/ 13355 h 13355"/>
                  <a:gd name="connsiteX1" fmla="*/ 0 w 4804"/>
                  <a:gd name="connsiteY1" fmla="*/ 0 h 133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804" h="13355">
                    <a:moveTo>
                      <a:pt x="0" y="13355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226" name="Gráfico 13">
            <a:extLst>
              <a:ext uri="{FF2B5EF4-FFF2-40B4-BE49-F238E27FC236}">
                <a16:creationId xmlns:a16="http://schemas.microsoft.com/office/drawing/2014/main" id="{86567A23-1ED0-F1B5-0572-34B8056301AD}"/>
              </a:ext>
            </a:extLst>
          </p:cNvPr>
          <p:cNvGrpSpPr/>
          <p:nvPr/>
        </p:nvGrpSpPr>
        <p:grpSpPr>
          <a:xfrm>
            <a:off x="2026830" y="4662557"/>
            <a:ext cx="330712" cy="321681"/>
            <a:chOff x="2026830" y="4662557"/>
            <a:chExt cx="330712" cy="321681"/>
          </a:xfrm>
          <a:noFill/>
        </p:grpSpPr>
        <p:sp>
          <p:nvSpPr>
            <p:cNvPr id="1227" name="Forma livre: Forma 1226">
              <a:extLst>
                <a:ext uri="{FF2B5EF4-FFF2-40B4-BE49-F238E27FC236}">
                  <a16:creationId xmlns:a16="http://schemas.microsoft.com/office/drawing/2014/main" id="{B6B1428C-503D-DA35-C8DF-BC6DA5189AC9}"/>
                </a:ext>
              </a:extLst>
            </p:cNvPr>
            <p:cNvSpPr/>
            <p:nvPr/>
          </p:nvSpPr>
          <p:spPr>
            <a:xfrm>
              <a:off x="2026830" y="4662557"/>
              <a:ext cx="330712" cy="220651"/>
            </a:xfrm>
            <a:custGeom>
              <a:avLst/>
              <a:gdLst>
                <a:gd name="connsiteX0" fmla="*/ 114914 w 330712"/>
                <a:gd name="connsiteY0" fmla="*/ 220651 h 220651"/>
                <a:gd name="connsiteX1" fmla="*/ 62453 w 330712"/>
                <a:gd name="connsiteY1" fmla="*/ 220651 h 220651"/>
                <a:gd name="connsiteX2" fmla="*/ 0 w 330712"/>
                <a:gd name="connsiteY2" fmla="*/ 158198 h 220651"/>
                <a:gd name="connsiteX3" fmla="*/ 62453 w 330712"/>
                <a:gd name="connsiteY3" fmla="*/ 95745 h 220651"/>
                <a:gd name="connsiteX4" fmla="*/ 63798 w 330712"/>
                <a:gd name="connsiteY4" fmla="*/ 95745 h 220651"/>
                <a:gd name="connsiteX5" fmla="*/ 63798 w 330712"/>
                <a:gd name="connsiteY5" fmla="*/ 80612 h 220651"/>
                <a:gd name="connsiteX6" fmla="*/ 146044 w 330712"/>
                <a:gd name="connsiteY6" fmla="*/ 0 h 220651"/>
                <a:gd name="connsiteX7" fmla="*/ 228290 w 330712"/>
                <a:gd name="connsiteY7" fmla="*/ 77730 h 220651"/>
                <a:gd name="connsiteX8" fmla="*/ 263456 w 330712"/>
                <a:gd name="connsiteY8" fmla="*/ 77730 h 220651"/>
                <a:gd name="connsiteX9" fmla="*/ 330713 w 330712"/>
                <a:gd name="connsiteY9" fmla="*/ 144939 h 220651"/>
                <a:gd name="connsiteX10" fmla="*/ 330713 w 330712"/>
                <a:gd name="connsiteY10" fmla="*/ 153346 h 220651"/>
                <a:gd name="connsiteX11" fmla="*/ 263456 w 330712"/>
                <a:gd name="connsiteY11" fmla="*/ 220603 h 220651"/>
                <a:gd name="connsiteX12" fmla="*/ 216376 w 330712"/>
                <a:gd name="connsiteY12" fmla="*/ 220603 h 2206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30712" h="220651">
                  <a:moveTo>
                    <a:pt x="114914" y="220651"/>
                  </a:moveTo>
                  <a:lnTo>
                    <a:pt x="62453" y="220651"/>
                  </a:lnTo>
                  <a:cubicBezTo>
                    <a:pt x="28104" y="220651"/>
                    <a:pt x="0" y="192548"/>
                    <a:pt x="0" y="158198"/>
                  </a:cubicBezTo>
                  <a:cubicBezTo>
                    <a:pt x="0" y="123849"/>
                    <a:pt x="28104" y="95745"/>
                    <a:pt x="62453" y="95745"/>
                  </a:cubicBezTo>
                  <a:lnTo>
                    <a:pt x="63798" y="95745"/>
                  </a:lnTo>
                  <a:lnTo>
                    <a:pt x="63798" y="80612"/>
                  </a:lnTo>
                  <a:cubicBezTo>
                    <a:pt x="63798" y="36271"/>
                    <a:pt x="100838" y="0"/>
                    <a:pt x="146044" y="0"/>
                  </a:cubicBezTo>
                  <a:cubicBezTo>
                    <a:pt x="191251" y="0"/>
                    <a:pt x="226704" y="34734"/>
                    <a:pt x="228290" y="77730"/>
                  </a:cubicBezTo>
                  <a:lnTo>
                    <a:pt x="263456" y="77730"/>
                  </a:lnTo>
                  <a:cubicBezTo>
                    <a:pt x="300447" y="77730"/>
                    <a:pt x="330713" y="107948"/>
                    <a:pt x="330713" y="144939"/>
                  </a:cubicBezTo>
                  <a:lnTo>
                    <a:pt x="330713" y="153346"/>
                  </a:lnTo>
                  <a:cubicBezTo>
                    <a:pt x="330713" y="190338"/>
                    <a:pt x="300447" y="220603"/>
                    <a:pt x="263456" y="220603"/>
                  </a:cubicBezTo>
                  <a:lnTo>
                    <a:pt x="216376" y="220603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28" name="Forma livre: Forma 1227">
              <a:extLst>
                <a:ext uri="{FF2B5EF4-FFF2-40B4-BE49-F238E27FC236}">
                  <a16:creationId xmlns:a16="http://schemas.microsoft.com/office/drawing/2014/main" id="{F3ED5758-D8EB-97AB-81D4-DEEEDA73992D}"/>
                </a:ext>
              </a:extLst>
            </p:cNvPr>
            <p:cNvSpPr/>
            <p:nvPr/>
          </p:nvSpPr>
          <p:spPr>
            <a:xfrm>
              <a:off x="2173643" y="4947247"/>
              <a:ext cx="36991" cy="36991"/>
            </a:xfrm>
            <a:custGeom>
              <a:avLst/>
              <a:gdLst>
                <a:gd name="connsiteX0" fmla="*/ 0 w 36991"/>
                <a:gd name="connsiteY0" fmla="*/ 17343 h 36991"/>
                <a:gd name="connsiteX1" fmla="*/ 18496 w 36991"/>
                <a:gd name="connsiteY1" fmla="*/ 0 h 36991"/>
                <a:gd name="connsiteX2" fmla="*/ 36991 w 36991"/>
                <a:gd name="connsiteY2" fmla="*/ 18496 h 36991"/>
                <a:gd name="connsiteX3" fmla="*/ 18496 w 36991"/>
                <a:gd name="connsiteY3" fmla="*/ 36991 h 36991"/>
                <a:gd name="connsiteX4" fmla="*/ 0 w 36991"/>
                <a:gd name="connsiteY4" fmla="*/ 17343 h 369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6991" h="36991">
                  <a:moveTo>
                    <a:pt x="0" y="17343"/>
                  </a:moveTo>
                  <a:cubicBezTo>
                    <a:pt x="0" y="7110"/>
                    <a:pt x="8263" y="0"/>
                    <a:pt x="18496" y="0"/>
                  </a:cubicBezTo>
                  <a:cubicBezTo>
                    <a:pt x="28728" y="0"/>
                    <a:pt x="36991" y="8263"/>
                    <a:pt x="36991" y="18496"/>
                  </a:cubicBezTo>
                  <a:cubicBezTo>
                    <a:pt x="36991" y="28728"/>
                    <a:pt x="28728" y="36991"/>
                    <a:pt x="18496" y="36991"/>
                  </a:cubicBezTo>
                  <a:cubicBezTo>
                    <a:pt x="8263" y="36991"/>
                    <a:pt x="0" y="27575"/>
                    <a:pt x="0" y="17343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29" name="Forma livre: Forma 1228">
              <a:extLst>
                <a:ext uri="{FF2B5EF4-FFF2-40B4-BE49-F238E27FC236}">
                  <a16:creationId xmlns:a16="http://schemas.microsoft.com/office/drawing/2014/main" id="{B47B97C6-3692-F2EA-5363-95D4311D65BB}"/>
                </a:ext>
              </a:extLst>
            </p:cNvPr>
            <p:cNvSpPr/>
            <p:nvPr/>
          </p:nvSpPr>
          <p:spPr>
            <a:xfrm>
              <a:off x="2192139" y="4817584"/>
              <a:ext cx="4804" cy="129710"/>
            </a:xfrm>
            <a:custGeom>
              <a:avLst/>
              <a:gdLst>
                <a:gd name="connsiteX0" fmla="*/ 0 w 4804"/>
                <a:gd name="connsiteY0" fmla="*/ 129710 h 129710"/>
                <a:gd name="connsiteX1" fmla="*/ 0 w 4804"/>
                <a:gd name="connsiteY1" fmla="*/ 0 h 1297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804" h="129710">
                  <a:moveTo>
                    <a:pt x="0" y="129710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230" name="Gráfico 13">
              <a:extLst>
                <a:ext uri="{FF2B5EF4-FFF2-40B4-BE49-F238E27FC236}">
                  <a16:creationId xmlns:a16="http://schemas.microsoft.com/office/drawing/2014/main" id="{792D2403-BBE6-79EC-4348-EFCC737822B7}"/>
                </a:ext>
              </a:extLst>
            </p:cNvPr>
            <p:cNvGrpSpPr/>
            <p:nvPr/>
          </p:nvGrpSpPr>
          <p:grpSpPr>
            <a:xfrm>
              <a:off x="2219570" y="4844007"/>
              <a:ext cx="54261" cy="118252"/>
              <a:chOff x="2219570" y="4844007"/>
              <a:chExt cx="54261" cy="118252"/>
            </a:xfrm>
            <a:noFill/>
          </p:grpSpPr>
          <p:sp>
            <p:nvSpPr>
              <p:cNvPr id="1231" name="Forma livre: Forma 1230">
                <a:extLst>
                  <a:ext uri="{FF2B5EF4-FFF2-40B4-BE49-F238E27FC236}">
                    <a16:creationId xmlns:a16="http://schemas.microsoft.com/office/drawing/2014/main" id="{4BC44590-7D96-E35D-B887-C1E4F290A6B6}"/>
                  </a:ext>
                </a:extLst>
              </p:cNvPr>
              <p:cNvSpPr/>
              <p:nvPr/>
            </p:nvSpPr>
            <p:spPr>
              <a:xfrm>
                <a:off x="2236841" y="4925316"/>
                <a:ext cx="36991" cy="36943"/>
              </a:xfrm>
              <a:custGeom>
                <a:avLst/>
                <a:gdLst>
                  <a:gd name="connsiteX0" fmla="*/ 31587 w 36991"/>
                  <a:gd name="connsiteY0" fmla="*/ 5405 h 36943"/>
                  <a:gd name="connsiteX1" fmla="*/ 5405 w 36991"/>
                  <a:gd name="connsiteY1" fmla="*/ 5405 h 36943"/>
                  <a:gd name="connsiteX2" fmla="*/ 5405 w 36991"/>
                  <a:gd name="connsiteY2" fmla="*/ 31539 h 36943"/>
                  <a:gd name="connsiteX3" fmla="*/ 31587 w 36991"/>
                  <a:gd name="connsiteY3" fmla="*/ 31539 h 36943"/>
                  <a:gd name="connsiteX4" fmla="*/ 31587 w 36991"/>
                  <a:gd name="connsiteY4" fmla="*/ 5405 h 369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6991" h="36943">
                    <a:moveTo>
                      <a:pt x="31587" y="5405"/>
                    </a:moveTo>
                    <a:cubicBezTo>
                      <a:pt x="24381" y="-1802"/>
                      <a:pt x="12659" y="-1802"/>
                      <a:pt x="5405" y="5405"/>
                    </a:cubicBezTo>
                    <a:cubicBezTo>
                      <a:pt x="-1802" y="12611"/>
                      <a:pt x="-1802" y="24333"/>
                      <a:pt x="5405" y="31539"/>
                    </a:cubicBezTo>
                    <a:cubicBezTo>
                      <a:pt x="12611" y="38745"/>
                      <a:pt x="24333" y="38745"/>
                      <a:pt x="31587" y="31539"/>
                    </a:cubicBezTo>
                    <a:cubicBezTo>
                      <a:pt x="38793" y="24333"/>
                      <a:pt x="38793" y="12611"/>
                      <a:pt x="31587" y="5405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32" name="Forma livre: Forma 1231">
                <a:extLst>
                  <a:ext uri="{FF2B5EF4-FFF2-40B4-BE49-F238E27FC236}">
                    <a16:creationId xmlns:a16="http://schemas.microsoft.com/office/drawing/2014/main" id="{134D8E0E-E95B-4E29-AC77-6CC0288521D8}"/>
                  </a:ext>
                </a:extLst>
              </p:cNvPr>
              <p:cNvSpPr/>
              <p:nvPr/>
            </p:nvSpPr>
            <p:spPr>
              <a:xfrm>
                <a:off x="2219570" y="4844007"/>
                <a:ext cx="22531" cy="86521"/>
              </a:xfrm>
              <a:custGeom>
                <a:avLst/>
                <a:gdLst>
                  <a:gd name="connsiteX0" fmla="*/ 22531 w 22531"/>
                  <a:gd name="connsiteY0" fmla="*/ 86522 h 86521"/>
                  <a:gd name="connsiteX1" fmla="*/ 0 w 22531"/>
                  <a:gd name="connsiteY1" fmla="*/ 64087 h 86521"/>
                  <a:gd name="connsiteX2" fmla="*/ 0 w 22531"/>
                  <a:gd name="connsiteY2" fmla="*/ 0 h 865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2531" h="86521">
                    <a:moveTo>
                      <a:pt x="22531" y="86522"/>
                    </a:moveTo>
                    <a:lnTo>
                      <a:pt x="0" y="64087"/>
                    </a:lnTo>
                    <a:lnTo>
                      <a:pt x="0" y="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233" name="Gráfico 13">
              <a:extLst>
                <a:ext uri="{FF2B5EF4-FFF2-40B4-BE49-F238E27FC236}">
                  <a16:creationId xmlns:a16="http://schemas.microsoft.com/office/drawing/2014/main" id="{BFD78469-AD41-F9BE-E892-121C1D299C18}"/>
                </a:ext>
              </a:extLst>
            </p:cNvPr>
            <p:cNvGrpSpPr/>
            <p:nvPr/>
          </p:nvGrpSpPr>
          <p:grpSpPr>
            <a:xfrm>
              <a:off x="2110493" y="4844007"/>
              <a:ext cx="54262" cy="118252"/>
              <a:chOff x="2110493" y="4844007"/>
              <a:chExt cx="54262" cy="118252"/>
            </a:xfrm>
            <a:noFill/>
          </p:grpSpPr>
          <p:sp>
            <p:nvSpPr>
              <p:cNvPr id="1234" name="Forma livre: Forma 1233">
                <a:extLst>
                  <a:ext uri="{FF2B5EF4-FFF2-40B4-BE49-F238E27FC236}">
                    <a16:creationId xmlns:a16="http://schemas.microsoft.com/office/drawing/2014/main" id="{F49CBC71-9FBB-2191-D493-C6CF95287941}"/>
                  </a:ext>
                </a:extLst>
              </p:cNvPr>
              <p:cNvSpPr/>
              <p:nvPr/>
            </p:nvSpPr>
            <p:spPr>
              <a:xfrm>
                <a:off x="2110493" y="4925316"/>
                <a:ext cx="36991" cy="36943"/>
              </a:xfrm>
              <a:custGeom>
                <a:avLst/>
                <a:gdLst>
                  <a:gd name="connsiteX0" fmla="*/ 5405 w 36991"/>
                  <a:gd name="connsiteY0" fmla="*/ 5405 h 36943"/>
                  <a:gd name="connsiteX1" fmla="*/ 31587 w 36991"/>
                  <a:gd name="connsiteY1" fmla="*/ 5405 h 36943"/>
                  <a:gd name="connsiteX2" fmla="*/ 31587 w 36991"/>
                  <a:gd name="connsiteY2" fmla="*/ 31539 h 36943"/>
                  <a:gd name="connsiteX3" fmla="*/ 5405 w 36991"/>
                  <a:gd name="connsiteY3" fmla="*/ 31539 h 36943"/>
                  <a:gd name="connsiteX4" fmla="*/ 5405 w 36991"/>
                  <a:gd name="connsiteY4" fmla="*/ 5405 h 369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6991" h="36943">
                    <a:moveTo>
                      <a:pt x="5405" y="5405"/>
                    </a:moveTo>
                    <a:cubicBezTo>
                      <a:pt x="12611" y="-1802"/>
                      <a:pt x="24333" y="-1802"/>
                      <a:pt x="31587" y="5405"/>
                    </a:cubicBezTo>
                    <a:cubicBezTo>
                      <a:pt x="38793" y="12611"/>
                      <a:pt x="38793" y="24333"/>
                      <a:pt x="31587" y="31539"/>
                    </a:cubicBezTo>
                    <a:cubicBezTo>
                      <a:pt x="24381" y="38745"/>
                      <a:pt x="12659" y="38745"/>
                      <a:pt x="5405" y="31539"/>
                    </a:cubicBezTo>
                    <a:cubicBezTo>
                      <a:pt x="-1802" y="24333"/>
                      <a:pt x="-1802" y="12611"/>
                      <a:pt x="5405" y="5405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35" name="Forma livre: Forma 1234">
                <a:extLst>
                  <a:ext uri="{FF2B5EF4-FFF2-40B4-BE49-F238E27FC236}">
                    <a16:creationId xmlns:a16="http://schemas.microsoft.com/office/drawing/2014/main" id="{A9CB2804-AC94-748C-AA7C-79762FFB028E}"/>
                  </a:ext>
                </a:extLst>
              </p:cNvPr>
              <p:cNvSpPr/>
              <p:nvPr/>
            </p:nvSpPr>
            <p:spPr>
              <a:xfrm>
                <a:off x="2142272" y="4844007"/>
                <a:ext cx="22483" cy="86521"/>
              </a:xfrm>
              <a:custGeom>
                <a:avLst/>
                <a:gdLst>
                  <a:gd name="connsiteX0" fmla="*/ 0 w 22483"/>
                  <a:gd name="connsiteY0" fmla="*/ 86522 h 86521"/>
                  <a:gd name="connsiteX1" fmla="*/ 22483 w 22483"/>
                  <a:gd name="connsiteY1" fmla="*/ 64087 h 86521"/>
                  <a:gd name="connsiteX2" fmla="*/ 22483 w 22483"/>
                  <a:gd name="connsiteY2" fmla="*/ 0 h 865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2483" h="86521">
                    <a:moveTo>
                      <a:pt x="0" y="86522"/>
                    </a:moveTo>
                    <a:lnTo>
                      <a:pt x="22483" y="64087"/>
                    </a:lnTo>
                    <a:lnTo>
                      <a:pt x="22483" y="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236" name="Forma livre: Forma 1235">
              <a:extLst>
                <a:ext uri="{FF2B5EF4-FFF2-40B4-BE49-F238E27FC236}">
                  <a16:creationId xmlns:a16="http://schemas.microsoft.com/office/drawing/2014/main" id="{C4A55C28-9C2D-435B-B1AC-F93102C8A835}"/>
                </a:ext>
              </a:extLst>
            </p:cNvPr>
            <p:cNvSpPr/>
            <p:nvPr/>
          </p:nvSpPr>
          <p:spPr>
            <a:xfrm>
              <a:off x="2164755" y="4810715"/>
              <a:ext cx="4804" cy="20033"/>
            </a:xfrm>
            <a:custGeom>
              <a:avLst/>
              <a:gdLst>
                <a:gd name="connsiteX0" fmla="*/ 0 w 4804"/>
                <a:gd name="connsiteY0" fmla="*/ 20033 h 20033"/>
                <a:gd name="connsiteX1" fmla="*/ 0 w 4804"/>
                <a:gd name="connsiteY1" fmla="*/ 0 h 20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804" h="20033">
                  <a:moveTo>
                    <a:pt x="0" y="20033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37" name="Forma livre: Forma 1236">
              <a:extLst>
                <a:ext uri="{FF2B5EF4-FFF2-40B4-BE49-F238E27FC236}">
                  <a16:creationId xmlns:a16="http://schemas.microsoft.com/office/drawing/2014/main" id="{7982C211-11DB-A2C4-0878-403E7C9FDAD5}"/>
                </a:ext>
              </a:extLst>
            </p:cNvPr>
            <p:cNvSpPr/>
            <p:nvPr/>
          </p:nvSpPr>
          <p:spPr>
            <a:xfrm>
              <a:off x="2192139" y="4783379"/>
              <a:ext cx="4804" cy="19984"/>
            </a:xfrm>
            <a:custGeom>
              <a:avLst/>
              <a:gdLst>
                <a:gd name="connsiteX0" fmla="*/ 0 w 4804"/>
                <a:gd name="connsiteY0" fmla="*/ 19985 h 19984"/>
                <a:gd name="connsiteX1" fmla="*/ 0 w 4804"/>
                <a:gd name="connsiteY1" fmla="*/ 0 h 199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804" h="19984">
                  <a:moveTo>
                    <a:pt x="0" y="19985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38" name="Forma livre: Forma 1237">
              <a:extLst>
                <a:ext uri="{FF2B5EF4-FFF2-40B4-BE49-F238E27FC236}">
                  <a16:creationId xmlns:a16="http://schemas.microsoft.com/office/drawing/2014/main" id="{49A55970-D88F-F457-A032-A0D979E81966}"/>
                </a:ext>
              </a:extLst>
            </p:cNvPr>
            <p:cNvSpPr/>
            <p:nvPr/>
          </p:nvSpPr>
          <p:spPr>
            <a:xfrm>
              <a:off x="2219570" y="4810715"/>
              <a:ext cx="4804" cy="20033"/>
            </a:xfrm>
            <a:custGeom>
              <a:avLst/>
              <a:gdLst>
                <a:gd name="connsiteX0" fmla="*/ 0 w 4804"/>
                <a:gd name="connsiteY0" fmla="*/ 20033 h 20033"/>
                <a:gd name="connsiteX1" fmla="*/ 0 w 4804"/>
                <a:gd name="connsiteY1" fmla="*/ 0 h 20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804" h="20033">
                  <a:moveTo>
                    <a:pt x="0" y="20033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239" name="Gráfico 13">
            <a:extLst>
              <a:ext uri="{FF2B5EF4-FFF2-40B4-BE49-F238E27FC236}">
                <a16:creationId xmlns:a16="http://schemas.microsoft.com/office/drawing/2014/main" id="{BD0EB05A-08DF-4B4C-FF1C-F962FBE21614}"/>
              </a:ext>
            </a:extLst>
          </p:cNvPr>
          <p:cNvGrpSpPr/>
          <p:nvPr/>
        </p:nvGrpSpPr>
        <p:grpSpPr>
          <a:xfrm>
            <a:off x="1451301" y="4675336"/>
            <a:ext cx="232806" cy="296219"/>
            <a:chOff x="1451301" y="4675336"/>
            <a:chExt cx="232806" cy="296219"/>
          </a:xfrm>
          <a:noFill/>
        </p:grpSpPr>
        <p:sp>
          <p:nvSpPr>
            <p:cNvPr id="1240" name="Forma livre: Forma 1239">
              <a:extLst>
                <a:ext uri="{FF2B5EF4-FFF2-40B4-BE49-F238E27FC236}">
                  <a16:creationId xmlns:a16="http://schemas.microsoft.com/office/drawing/2014/main" id="{88BC0473-806D-84CE-E781-ED4DDC7AFA20}"/>
                </a:ext>
              </a:extLst>
            </p:cNvPr>
            <p:cNvSpPr/>
            <p:nvPr/>
          </p:nvSpPr>
          <p:spPr>
            <a:xfrm>
              <a:off x="1451301" y="4675336"/>
              <a:ext cx="232806" cy="296219"/>
            </a:xfrm>
            <a:custGeom>
              <a:avLst/>
              <a:gdLst>
                <a:gd name="connsiteX0" fmla="*/ 232710 w 232806"/>
                <a:gd name="connsiteY0" fmla="*/ 176934 h 296219"/>
                <a:gd name="connsiteX1" fmla="*/ 232710 w 232806"/>
                <a:gd name="connsiteY1" fmla="*/ 50299 h 296219"/>
                <a:gd name="connsiteX2" fmla="*/ 116403 w 232806"/>
                <a:gd name="connsiteY2" fmla="*/ 0 h 296219"/>
                <a:gd name="connsiteX3" fmla="*/ 97 w 232806"/>
                <a:gd name="connsiteY3" fmla="*/ 50299 h 296219"/>
                <a:gd name="connsiteX4" fmla="*/ 97 w 232806"/>
                <a:gd name="connsiteY4" fmla="*/ 176934 h 296219"/>
                <a:gd name="connsiteX5" fmla="*/ 116403 w 232806"/>
                <a:gd name="connsiteY5" fmla="*/ 296220 h 296219"/>
                <a:gd name="connsiteX6" fmla="*/ 232710 w 232806"/>
                <a:gd name="connsiteY6" fmla="*/ 176934 h 2962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32806" h="296219">
                  <a:moveTo>
                    <a:pt x="232710" y="176934"/>
                  </a:moveTo>
                  <a:lnTo>
                    <a:pt x="232710" y="50299"/>
                  </a:lnTo>
                  <a:cubicBezTo>
                    <a:pt x="136629" y="50299"/>
                    <a:pt x="116403" y="0"/>
                    <a:pt x="116403" y="0"/>
                  </a:cubicBezTo>
                  <a:cubicBezTo>
                    <a:pt x="116403" y="0"/>
                    <a:pt x="96178" y="50299"/>
                    <a:pt x="97" y="50299"/>
                  </a:cubicBezTo>
                  <a:lnTo>
                    <a:pt x="97" y="176934"/>
                  </a:lnTo>
                  <a:cubicBezTo>
                    <a:pt x="97" y="176934"/>
                    <a:pt x="-7686" y="237802"/>
                    <a:pt x="116403" y="296220"/>
                  </a:cubicBezTo>
                  <a:cubicBezTo>
                    <a:pt x="240493" y="237754"/>
                    <a:pt x="232710" y="176934"/>
                    <a:pt x="232710" y="176934"/>
                  </a:cubicBez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41" name="Forma livre: Forma 1240">
              <a:extLst>
                <a:ext uri="{FF2B5EF4-FFF2-40B4-BE49-F238E27FC236}">
                  <a16:creationId xmlns:a16="http://schemas.microsoft.com/office/drawing/2014/main" id="{6F35F124-0BC7-716E-ECE3-443C3C7C6F47}"/>
                </a:ext>
              </a:extLst>
            </p:cNvPr>
            <p:cNvSpPr/>
            <p:nvPr/>
          </p:nvSpPr>
          <p:spPr>
            <a:xfrm>
              <a:off x="1535613" y="4761713"/>
              <a:ext cx="90941" cy="86041"/>
            </a:xfrm>
            <a:custGeom>
              <a:avLst/>
              <a:gdLst>
                <a:gd name="connsiteX0" fmla="*/ 0 w 90941"/>
                <a:gd name="connsiteY0" fmla="*/ 40739 h 86041"/>
                <a:gd name="connsiteX1" fmla="*/ 32716 w 90941"/>
                <a:gd name="connsiteY1" fmla="*/ 86041 h 86041"/>
                <a:gd name="connsiteX2" fmla="*/ 90941 w 90941"/>
                <a:gd name="connsiteY2" fmla="*/ 0 h 860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0941" h="86041">
                  <a:moveTo>
                    <a:pt x="0" y="40739"/>
                  </a:moveTo>
                  <a:lnTo>
                    <a:pt x="32716" y="86041"/>
                  </a:lnTo>
                  <a:lnTo>
                    <a:pt x="90941" y="0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42" name="Forma livre: Forma 1241">
              <a:extLst>
                <a:ext uri="{FF2B5EF4-FFF2-40B4-BE49-F238E27FC236}">
                  <a16:creationId xmlns:a16="http://schemas.microsoft.com/office/drawing/2014/main" id="{F7DA50CC-84D1-9EFA-CF17-15C061F757FF}"/>
                </a:ext>
              </a:extLst>
            </p:cNvPr>
            <p:cNvSpPr/>
            <p:nvPr/>
          </p:nvSpPr>
          <p:spPr>
            <a:xfrm>
              <a:off x="1498045" y="4753786"/>
              <a:ext cx="139318" cy="139318"/>
            </a:xfrm>
            <a:custGeom>
              <a:avLst/>
              <a:gdLst>
                <a:gd name="connsiteX0" fmla="*/ 132737 w 139318"/>
                <a:gd name="connsiteY0" fmla="*/ 40018 h 139318"/>
                <a:gd name="connsiteX1" fmla="*/ 139318 w 139318"/>
                <a:gd name="connsiteY1" fmla="*/ 69659 h 139318"/>
                <a:gd name="connsiteX2" fmla="*/ 69659 w 139318"/>
                <a:gd name="connsiteY2" fmla="*/ 139318 h 139318"/>
                <a:gd name="connsiteX3" fmla="*/ 0 w 139318"/>
                <a:gd name="connsiteY3" fmla="*/ 69659 h 139318"/>
                <a:gd name="connsiteX4" fmla="*/ 69659 w 139318"/>
                <a:gd name="connsiteY4" fmla="*/ 0 h 139318"/>
                <a:gd name="connsiteX5" fmla="*/ 102759 w 139318"/>
                <a:gd name="connsiteY5" fmla="*/ 8359 h 1393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39318" h="139318">
                  <a:moveTo>
                    <a:pt x="132737" y="40018"/>
                  </a:moveTo>
                  <a:cubicBezTo>
                    <a:pt x="136964" y="49002"/>
                    <a:pt x="139318" y="59042"/>
                    <a:pt x="139318" y="69659"/>
                  </a:cubicBezTo>
                  <a:cubicBezTo>
                    <a:pt x="139318" y="108140"/>
                    <a:pt x="108140" y="139318"/>
                    <a:pt x="69659" y="139318"/>
                  </a:cubicBezTo>
                  <a:cubicBezTo>
                    <a:pt x="31178" y="139318"/>
                    <a:pt x="0" y="108140"/>
                    <a:pt x="0" y="69659"/>
                  </a:cubicBezTo>
                  <a:cubicBezTo>
                    <a:pt x="0" y="31179"/>
                    <a:pt x="31178" y="0"/>
                    <a:pt x="69659" y="0"/>
                  </a:cubicBezTo>
                  <a:cubicBezTo>
                    <a:pt x="81621" y="0"/>
                    <a:pt x="92911" y="3027"/>
                    <a:pt x="102759" y="8359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244" name="Gráfico 13">
            <a:extLst>
              <a:ext uri="{FF2B5EF4-FFF2-40B4-BE49-F238E27FC236}">
                <a16:creationId xmlns:a16="http://schemas.microsoft.com/office/drawing/2014/main" id="{8B1F3E6F-175A-F1B2-6758-D1F7E36675A4}"/>
              </a:ext>
            </a:extLst>
          </p:cNvPr>
          <p:cNvGrpSpPr/>
          <p:nvPr/>
        </p:nvGrpSpPr>
        <p:grpSpPr>
          <a:xfrm>
            <a:off x="786994" y="5755245"/>
            <a:ext cx="312553" cy="295595"/>
            <a:chOff x="786994" y="5755245"/>
            <a:chExt cx="312553" cy="295595"/>
          </a:xfrm>
        </p:grpSpPr>
        <p:grpSp>
          <p:nvGrpSpPr>
            <p:cNvPr id="1245" name="Gráfico 13">
              <a:extLst>
                <a:ext uri="{FF2B5EF4-FFF2-40B4-BE49-F238E27FC236}">
                  <a16:creationId xmlns:a16="http://schemas.microsoft.com/office/drawing/2014/main" id="{B5835E40-75E4-C3CB-2A12-5C3871DB5DCD}"/>
                </a:ext>
              </a:extLst>
            </p:cNvPr>
            <p:cNvGrpSpPr/>
            <p:nvPr/>
          </p:nvGrpSpPr>
          <p:grpSpPr>
            <a:xfrm>
              <a:off x="786994" y="5850798"/>
              <a:ext cx="312553" cy="200041"/>
              <a:chOff x="786994" y="5850798"/>
              <a:chExt cx="312553" cy="200041"/>
            </a:xfrm>
            <a:noFill/>
          </p:grpSpPr>
          <p:sp>
            <p:nvSpPr>
              <p:cNvPr id="1246" name="Forma livre: Forma 1245">
                <a:extLst>
                  <a:ext uri="{FF2B5EF4-FFF2-40B4-BE49-F238E27FC236}">
                    <a16:creationId xmlns:a16="http://schemas.microsoft.com/office/drawing/2014/main" id="{FF248CC3-3728-C45E-3CA1-57B66DC97459}"/>
                  </a:ext>
                </a:extLst>
              </p:cNvPr>
              <p:cNvSpPr/>
              <p:nvPr/>
            </p:nvSpPr>
            <p:spPr>
              <a:xfrm>
                <a:off x="992368" y="5850798"/>
                <a:ext cx="78306" cy="155171"/>
              </a:xfrm>
              <a:custGeom>
                <a:avLst/>
                <a:gdLst>
                  <a:gd name="connsiteX0" fmla="*/ 0 w 78306"/>
                  <a:gd name="connsiteY0" fmla="*/ 0 h 155171"/>
                  <a:gd name="connsiteX1" fmla="*/ 59811 w 78306"/>
                  <a:gd name="connsiteY1" fmla="*/ 0 h 155171"/>
                  <a:gd name="connsiteX2" fmla="*/ 78306 w 78306"/>
                  <a:gd name="connsiteY2" fmla="*/ 18496 h 155171"/>
                  <a:gd name="connsiteX3" fmla="*/ 78306 w 78306"/>
                  <a:gd name="connsiteY3" fmla="*/ 155172 h 1551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8306" h="155171">
                    <a:moveTo>
                      <a:pt x="0" y="0"/>
                    </a:moveTo>
                    <a:lnTo>
                      <a:pt x="59811" y="0"/>
                    </a:lnTo>
                    <a:cubicBezTo>
                      <a:pt x="69995" y="0"/>
                      <a:pt x="78306" y="8311"/>
                      <a:pt x="78306" y="18496"/>
                    </a:cubicBezTo>
                    <a:lnTo>
                      <a:pt x="78306" y="155172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47" name="Forma livre: Forma 1246">
                <a:extLst>
                  <a:ext uri="{FF2B5EF4-FFF2-40B4-BE49-F238E27FC236}">
                    <a16:creationId xmlns:a16="http://schemas.microsoft.com/office/drawing/2014/main" id="{AE0D5934-2040-A818-9806-9C3E98E61F5F}"/>
                  </a:ext>
                </a:extLst>
              </p:cNvPr>
              <p:cNvSpPr/>
              <p:nvPr/>
            </p:nvSpPr>
            <p:spPr>
              <a:xfrm>
                <a:off x="815818" y="5850798"/>
                <a:ext cx="78450" cy="155171"/>
              </a:xfrm>
              <a:custGeom>
                <a:avLst/>
                <a:gdLst>
                  <a:gd name="connsiteX0" fmla="*/ 0 w 78450"/>
                  <a:gd name="connsiteY0" fmla="*/ 155172 h 155171"/>
                  <a:gd name="connsiteX1" fmla="*/ 0 w 78450"/>
                  <a:gd name="connsiteY1" fmla="*/ 18496 h 155171"/>
                  <a:gd name="connsiteX2" fmla="*/ 18496 w 78450"/>
                  <a:gd name="connsiteY2" fmla="*/ 0 h 155171"/>
                  <a:gd name="connsiteX3" fmla="*/ 78451 w 78450"/>
                  <a:gd name="connsiteY3" fmla="*/ 0 h 1551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8450" h="155171">
                    <a:moveTo>
                      <a:pt x="0" y="155172"/>
                    </a:moveTo>
                    <a:lnTo>
                      <a:pt x="0" y="18496"/>
                    </a:lnTo>
                    <a:cubicBezTo>
                      <a:pt x="0" y="8311"/>
                      <a:pt x="8311" y="0"/>
                      <a:pt x="18496" y="0"/>
                    </a:cubicBezTo>
                    <a:lnTo>
                      <a:pt x="78451" y="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48" name="Forma livre: Forma 1247">
                <a:extLst>
                  <a:ext uri="{FF2B5EF4-FFF2-40B4-BE49-F238E27FC236}">
                    <a16:creationId xmlns:a16="http://schemas.microsoft.com/office/drawing/2014/main" id="{193901DF-29FA-3A1F-36CF-FA19DB81B318}"/>
                  </a:ext>
                </a:extLst>
              </p:cNvPr>
              <p:cNvSpPr/>
              <p:nvPr/>
            </p:nvSpPr>
            <p:spPr>
              <a:xfrm>
                <a:off x="786994" y="6026339"/>
                <a:ext cx="312553" cy="24500"/>
              </a:xfrm>
              <a:custGeom>
                <a:avLst/>
                <a:gdLst>
                  <a:gd name="connsiteX0" fmla="*/ 0 w 312553"/>
                  <a:gd name="connsiteY0" fmla="*/ 0 h 24500"/>
                  <a:gd name="connsiteX1" fmla="*/ 23300 w 312553"/>
                  <a:gd name="connsiteY1" fmla="*/ 24501 h 24500"/>
                  <a:gd name="connsiteX2" fmla="*/ 289254 w 312553"/>
                  <a:gd name="connsiteY2" fmla="*/ 24501 h 24500"/>
                  <a:gd name="connsiteX3" fmla="*/ 312553 w 312553"/>
                  <a:gd name="connsiteY3" fmla="*/ 0 h 24500"/>
                  <a:gd name="connsiteX4" fmla="*/ 0 w 312553"/>
                  <a:gd name="connsiteY4" fmla="*/ 0 h 245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12553" h="24500">
                    <a:moveTo>
                      <a:pt x="0" y="0"/>
                    </a:moveTo>
                    <a:cubicBezTo>
                      <a:pt x="0" y="0"/>
                      <a:pt x="5381" y="24501"/>
                      <a:pt x="23300" y="24501"/>
                    </a:cubicBezTo>
                    <a:lnTo>
                      <a:pt x="289254" y="24501"/>
                    </a:lnTo>
                    <a:cubicBezTo>
                      <a:pt x="307173" y="24501"/>
                      <a:pt x="312553" y="0"/>
                      <a:pt x="312553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249" name="Gráfico 13">
              <a:extLst>
                <a:ext uri="{FF2B5EF4-FFF2-40B4-BE49-F238E27FC236}">
                  <a16:creationId xmlns:a16="http://schemas.microsoft.com/office/drawing/2014/main" id="{19F497C7-9F04-4045-DBB4-5F9CADC2ED05}"/>
                </a:ext>
              </a:extLst>
            </p:cNvPr>
            <p:cNvGrpSpPr/>
            <p:nvPr/>
          </p:nvGrpSpPr>
          <p:grpSpPr>
            <a:xfrm>
              <a:off x="870440" y="5890431"/>
              <a:ext cx="128220" cy="108380"/>
              <a:chOff x="870440" y="5890431"/>
              <a:chExt cx="128220" cy="108380"/>
            </a:xfrm>
          </p:grpSpPr>
          <p:sp>
            <p:nvSpPr>
              <p:cNvPr id="1250" name="Forma livre: Forma 1249">
                <a:extLst>
                  <a:ext uri="{FF2B5EF4-FFF2-40B4-BE49-F238E27FC236}">
                    <a16:creationId xmlns:a16="http://schemas.microsoft.com/office/drawing/2014/main" id="{73EC7467-F9C5-5A67-1131-05D669BAED8B}"/>
                  </a:ext>
                </a:extLst>
              </p:cNvPr>
              <p:cNvSpPr/>
              <p:nvPr/>
            </p:nvSpPr>
            <p:spPr>
              <a:xfrm>
                <a:off x="870440" y="5890431"/>
                <a:ext cx="121687" cy="79507"/>
              </a:xfrm>
              <a:custGeom>
                <a:avLst/>
                <a:gdLst>
                  <a:gd name="connsiteX0" fmla="*/ 0 w 121687"/>
                  <a:gd name="connsiteY0" fmla="*/ 0 h 79507"/>
                  <a:gd name="connsiteX1" fmla="*/ 24020 w 121687"/>
                  <a:gd name="connsiteY1" fmla="*/ 0 h 79507"/>
                  <a:gd name="connsiteX2" fmla="*/ 40594 w 121687"/>
                  <a:gd name="connsiteY2" fmla="*/ 79508 h 79507"/>
                  <a:gd name="connsiteX3" fmla="*/ 121687 w 121687"/>
                  <a:gd name="connsiteY3" fmla="*/ 79508 h 795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21687" h="79507">
                    <a:moveTo>
                      <a:pt x="0" y="0"/>
                    </a:moveTo>
                    <a:lnTo>
                      <a:pt x="24020" y="0"/>
                    </a:lnTo>
                    <a:lnTo>
                      <a:pt x="40594" y="79508"/>
                    </a:lnTo>
                    <a:lnTo>
                      <a:pt x="121687" y="79508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51" name="Forma livre: Forma 1250">
                <a:extLst>
                  <a:ext uri="{FF2B5EF4-FFF2-40B4-BE49-F238E27FC236}">
                    <a16:creationId xmlns:a16="http://schemas.microsoft.com/office/drawing/2014/main" id="{B617D16B-6121-02CE-32A1-5A51D6EF3DE0}"/>
                  </a:ext>
                </a:extLst>
              </p:cNvPr>
              <p:cNvSpPr/>
              <p:nvPr/>
            </p:nvSpPr>
            <p:spPr>
              <a:xfrm>
                <a:off x="906471" y="5909936"/>
                <a:ext cx="92190" cy="33916"/>
              </a:xfrm>
              <a:custGeom>
                <a:avLst/>
                <a:gdLst>
                  <a:gd name="connsiteX0" fmla="*/ 13259 w 92190"/>
                  <a:gd name="connsiteY0" fmla="*/ 0 h 33916"/>
                  <a:gd name="connsiteX1" fmla="*/ 92190 w 92190"/>
                  <a:gd name="connsiteY1" fmla="*/ 0 h 33916"/>
                  <a:gd name="connsiteX2" fmla="*/ 81045 w 92190"/>
                  <a:gd name="connsiteY2" fmla="*/ 33917 h 33916"/>
                  <a:gd name="connsiteX3" fmla="*/ 0 w 92190"/>
                  <a:gd name="connsiteY3" fmla="*/ 33917 h 339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2190" h="33916">
                    <a:moveTo>
                      <a:pt x="13259" y="0"/>
                    </a:moveTo>
                    <a:lnTo>
                      <a:pt x="92190" y="0"/>
                    </a:lnTo>
                    <a:lnTo>
                      <a:pt x="81045" y="33917"/>
                    </a:lnTo>
                    <a:lnTo>
                      <a:pt x="0" y="33917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52" name="Forma livre: Forma 1251">
                <a:extLst>
                  <a:ext uri="{FF2B5EF4-FFF2-40B4-BE49-F238E27FC236}">
                    <a16:creationId xmlns:a16="http://schemas.microsoft.com/office/drawing/2014/main" id="{9CEE0EE4-BC23-9927-FEFF-BC9A253C75B5}"/>
                  </a:ext>
                </a:extLst>
              </p:cNvPr>
              <p:cNvSpPr/>
              <p:nvPr/>
            </p:nvSpPr>
            <p:spPr>
              <a:xfrm>
                <a:off x="914158" y="5991317"/>
                <a:ext cx="7494" cy="7494"/>
              </a:xfrm>
              <a:custGeom>
                <a:avLst/>
                <a:gdLst>
                  <a:gd name="connsiteX0" fmla="*/ 7494 w 7494"/>
                  <a:gd name="connsiteY0" fmla="*/ 3747 h 7494"/>
                  <a:gd name="connsiteX1" fmla="*/ 3747 w 7494"/>
                  <a:gd name="connsiteY1" fmla="*/ 7494 h 7494"/>
                  <a:gd name="connsiteX2" fmla="*/ 0 w 7494"/>
                  <a:gd name="connsiteY2" fmla="*/ 3747 h 7494"/>
                  <a:gd name="connsiteX3" fmla="*/ 3747 w 7494"/>
                  <a:gd name="connsiteY3" fmla="*/ 0 h 7494"/>
                  <a:gd name="connsiteX4" fmla="*/ 7494 w 7494"/>
                  <a:gd name="connsiteY4" fmla="*/ 3747 h 74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494" h="7494">
                    <a:moveTo>
                      <a:pt x="7494" y="3747"/>
                    </a:moveTo>
                    <a:cubicBezTo>
                      <a:pt x="7494" y="5813"/>
                      <a:pt x="5813" y="7494"/>
                      <a:pt x="3747" y="7494"/>
                    </a:cubicBezTo>
                    <a:cubicBezTo>
                      <a:pt x="1681" y="7494"/>
                      <a:pt x="0" y="5813"/>
                      <a:pt x="0" y="3747"/>
                    </a:cubicBezTo>
                    <a:cubicBezTo>
                      <a:pt x="0" y="1681"/>
                      <a:pt x="1681" y="0"/>
                      <a:pt x="3747" y="0"/>
                    </a:cubicBezTo>
                    <a:cubicBezTo>
                      <a:pt x="5813" y="0"/>
                      <a:pt x="7494" y="1681"/>
                      <a:pt x="7494" y="3747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53" name="Forma livre: Forma 1252">
                <a:extLst>
                  <a:ext uri="{FF2B5EF4-FFF2-40B4-BE49-F238E27FC236}">
                    <a16:creationId xmlns:a16="http://schemas.microsoft.com/office/drawing/2014/main" id="{278C5499-E0A8-050C-CA61-E9942ED6E8CD}"/>
                  </a:ext>
                </a:extLst>
              </p:cNvPr>
              <p:cNvSpPr/>
              <p:nvPr/>
            </p:nvSpPr>
            <p:spPr>
              <a:xfrm>
                <a:off x="973968" y="5991317"/>
                <a:ext cx="7494" cy="7494"/>
              </a:xfrm>
              <a:custGeom>
                <a:avLst/>
                <a:gdLst>
                  <a:gd name="connsiteX0" fmla="*/ 7494 w 7494"/>
                  <a:gd name="connsiteY0" fmla="*/ 3747 h 7494"/>
                  <a:gd name="connsiteX1" fmla="*/ 3747 w 7494"/>
                  <a:gd name="connsiteY1" fmla="*/ 7494 h 7494"/>
                  <a:gd name="connsiteX2" fmla="*/ 0 w 7494"/>
                  <a:gd name="connsiteY2" fmla="*/ 3747 h 7494"/>
                  <a:gd name="connsiteX3" fmla="*/ 3747 w 7494"/>
                  <a:gd name="connsiteY3" fmla="*/ 0 h 7494"/>
                  <a:gd name="connsiteX4" fmla="*/ 7494 w 7494"/>
                  <a:gd name="connsiteY4" fmla="*/ 3747 h 74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494" h="7494">
                    <a:moveTo>
                      <a:pt x="7494" y="3747"/>
                    </a:moveTo>
                    <a:cubicBezTo>
                      <a:pt x="7494" y="5813"/>
                      <a:pt x="5813" y="7494"/>
                      <a:pt x="3747" y="7494"/>
                    </a:cubicBezTo>
                    <a:cubicBezTo>
                      <a:pt x="1681" y="7494"/>
                      <a:pt x="0" y="5813"/>
                      <a:pt x="0" y="3747"/>
                    </a:cubicBezTo>
                    <a:cubicBezTo>
                      <a:pt x="0" y="1681"/>
                      <a:pt x="1681" y="0"/>
                      <a:pt x="3747" y="0"/>
                    </a:cubicBezTo>
                    <a:cubicBezTo>
                      <a:pt x="5813" y="0"/>
                      <a:pt x="7494" y="1681"/>
                      <a:pt x="7494" y="3747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254" name="Gráfico 13">
              <a:extLst>
                <a:ext uri="{FF2B5EF4-FFF2-40B4-BE49-F238E27FC236}">
                  <a16:creationId xmlns:a16="http://schemas.microsoft.com/office/drawing/2014/main" id="{0030072B-5AAD-F4FF-D0BD-543AE621BF0A}"/>
                </a:ext>
              </a:extLst>
            </p:cNvPr>
            <p:cNvGrpSpPr/>
            <p:nvPr/>
          </p:nvGrpSpPr>
          <p:grpSpPr>
            <a:xfrm>
              <a:off x="861721" y="5755245"/>
              <a:ext cx="163050" cy="130622"/>
              <a:chOff x="861721" y="5755245"/>
              <a:chExt cx="163050" cy="130622"/>
            </a:xfrm>
            <a:noFill/>
          </p:grpSpPr>
          <p:grpSp>
            <p:nvGrpSpPr>
              <p:cNvPr id="1255" name="Gráfico 13">
                <a:extLst>
                  <a:ext uri="{FF2B5EF4-FFF2-40B4-BE49-F238E27FC236}">
                    <a16:creationId xmlns:a16="http://schemas.microsoft.com/office/drawing/2014/main" id="{E3671468-BB7E-7281-A09F-CB50BFB9D488}"/>
                  </a:ext>
                </a:extLst>
              </p:cNvPr>
              <p:cNvGrpSpPr/>
              <p:nvPr/>
            </p:nvGrpSpPr>
            <p:grpSpPr>
              <a:xfrm>
                <a:off x="924775" y="5755245"/>
                <a:ext cx="36991" cy="130622"/>
                <a:chOff x="924775" y="5755245"/>
                <a:chExt cx="36991" cy="130622"/>
              </a:xfrm>
              <a:noFill/>
            </p:grpSpPr>
            <p:sp>
              <p:nvSpPr>
                <p:cNvPr id="1256" name="Forma livre: Forma 1255">
                  <a:extLst>
                    <a:ext uri="{FF2B5EF4-FFF2-40B4-BE49-F238E27FC236}">
                      <a16:creationId xmlns:a16="http://schemas.microsoft.com/office/drawing/2014/main" id="{D5DCAE57-490F-EFAC-0D70-2724E2DE1E7F}"/>
                    </a:ext>
                  </a:extLst>
                </p:cNvPr>
                <p:cNvSpPr/>
                <p:nvPr/>
              </p:nvSpPr>
              <p:spPr>
                <a:xfrm>
                  <a:off x="924775" y="5755245"/>
                  <a:ext cx="36991" cy="36991"/>
                </a:xfrm>
                <a:custGeom>
                  <a:avLst/>
                  <a:gdLst>
                    <a:gd name="connsiteX0" fmla="*/ 36991 w 36991"/>
                    <a:gd name="connsiteY0" fmla="*/ 19649 h 36991"/>
                    <a:gd name="connsiteX1" fmla="*/ 18496 w 36991"/>
                    <a:gd name="connsiteY1" fmla="*/ 36991 h 36991"/>
                    <a:gd name="connsiteX2" fmla="*/ 0 w 36991"/>
                    <a:gd name="connsiteY2" fmla="*/ 18496 h 36991"/>
                    <a:gd name="connsiteX3" fmla="*/ 18496 w 36991"/>
                    <a:gd name="connsiteY3" fmla="*/ 0 h 36991"/>
                    <a:gd name="connsiteX4" fmla="*/ 36991 w 36991"/>
                    <a:gd name="connsiteY4" fmla="*/ 19649 h 3699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6991" h="36991">
                      <a:moveTo>
                        <a:pt x="36991" y="19649"/>
                      </a:moveTo>
                      <a:cubicBezTo>
                        <a:pt x="36991" y="29881"/>
                        <a:pt x="28728" y="36991"/>
                        <a:pt x="18496" y="36991"/>
                      </a:cubicBezTo>
                      <a:cubicBezTo>
                        <a:pt x="8263" y="36991"/>
                        <a:pt x="0" y="28728"/>
                        <a:pt x="0" y="18496"/>
                      </a:cubicBezTo>
                      <a:cubicBezTo>
                        <a:pt x="0" y="8263"/>
                        <a:pt x="8263" y="0"/>
                        <a:pt x="18496" y="0"/>
                      </a:cubicBezTo>
                      <a:cubicBezTo>
                        <a:pt x="28728" y="0"/>
                        <a:pt x="36991" y="9416"/>
                        <a:pt x="36991" y="19649"/>
                      </a:cubicBezTo>
                      <a:close/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257" name="Forma livre: Forma 1256">
                  <a:extLst>
                    <a:ext uri="{FF2B5EF4-FFF2-40B4-BE49-F238E27FC236}">
                      <a16:creationId xmlns:a16="http://schemas.microsoft.com/office/drawing/2014/main" id="{9144C52B-9F76-35EC-2F03-F39CF2FF523D}"/>
                    </a:ext>
                  </a:extLst>
                </p:cNvPr>
                <p:cNvSpPr/>
                <p:nvPr/>
              </p:nvSpPr>
              <p:spPr>
                <a:xfrm>
                  <a:off x="943270" y="5792092"/>
                  <a:ext cx="4804" cy="93775"/>
                </a:xfrm>
                <a:custGeom>
                  <a:avLst/>
                  <a:gdLst>
                    <a:gd name="connsiteX0" fmla="*/ 0 w 4804"/>
                    <a:gd name="connsiteY0" fmla="*/ 0 h 93775"/>
                    <a:gd name="connsiteX1" fmla="*/ 0 w 4804"/>
                    <a:gd name="connsiteY1" fmla="*/ 93776 h 937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804" h="93775">
                      <a:moveTo>
                        <a:pt x="0" y="0"/>
                      </a:moveTo>
                      <a:lnTo>
                        <a:pt x="0" y="93776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1258" name="Gráfico 13">
                <a:extLst>
                  <a:ext uri="{FF2B5EF4-FFF2-40B4-BE49-F238E27FC236}">
                    <a16:creationId xmlns:a16="http://schemas.microsoft.com/office/drawing/2014/main" id="{F837CBCC-D954-089E-328F-8D08EAD20FDD}"/>
                  </a:ext>
                </a:extLst>
              </p:cNvPr>
              <p:cNvGrpSpPr/>
              <p:nvPr/>
            </p:nvGrpSpPr>
            <p:grpSpPr>
              <a:xfrm>
                <a:off x="861721" y="5777175"/>
                <a:ext cx="54117" cy="92262"/>
                <a:chOff x="861721" y="5777175"/>
                <a:chExt cx="54117" cy="92262"/>
              </a:xfrm>
              <a:noFill/>
            </p:grpSpPr>
            <p:sp>
              <p:nvSpPr>
                <p:cNvPr id="1259" name="Forma livre: Forma 1258">
                  <a:extLst>
                    <a:ext uri="{FF2B5EF4-FFF2-40B4-BE49-F238E27FC236}">
                      <a16:creationId xmlns:a16="http://schemas.microsoft.com/office/drawing/2014/main" id="{DC57D35A-D59D-0C79-2235-6ABF85E7CB2E}"/>
                    </a:ext>
                  </a:extLst>
                </p:cNvPr>
                <p:cNvSpPr/>
                <p:nvPr/>
              </p:nvSpPr>
              <p:spPr>
                <a:xfrm>
                  <a:off x="861721" y="5777175"/>
                  <a:ext cx="36991" cy="36991"/>
                </a:xfrm>
                <a:custGeom>
                  <a:avLst/>
                  <a:gdLst>
                    <a:gd name="connsiteX0" fmla="*/ 5405 w 36991"/>
                    <a:gd name="connsiteY0" fmla="*/ 31587 h 36991"/>
                    <a:gd name="connsiteX1" fmla="*/ 31587 w 36991"/>
                    <a:gd name="connsiteY1" fmla="*/ 31587 h 36991"/>
                    <a:gd name="connsiteX2" fmla="*/ 31587 w 36991"/>
                    <a:gd name="connsiteY2" fmla="*/ 5405 h 36991"/>
                    <a:gd name="connsiteX3" fmla="*/ 5405 w 36991"/>
                    <a:gd name="connsiteY3" fmla="*/ 5405 h 36991"/>
                    <a:gd name="connsiteX4" fmla="*/ 5405 w 36991"/>
                    <a:gd name="connsiteY4" fmla="*/ 31587 h 3699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6991" h="36991">
                      <a:moveTo>
                        <a:pt x="5405" y="31587"/>
                      </a:moveTo>
                      <a:cubicBezTo>
                        <a:pt x="12611" y="38793"/>
                        <a:pt x="24333" y="38793"/>
                        <a:pt x="31587" y="31587"/>
                      </a:cubicBezTo>
                      <a:cubicBezTo>
                        <a:pt x="38793" y="24381"/>
                        <a:pt x="38793" y="12659"/>
                        <a:pt x="31587" y="5405"/>
                      </a:cubicBezTo>
                      <a:cubicBezTo>
                        <a:pt x="24381" y="-1802"/>
                        <a:pt x="12659" y="-1802"/>
                        <a:pt x="5405" y="5405"/>
                      </a:cubicBezTo>
                      <a:cubicBezTo>
                        <a:pt x="-1802" y="12611"/>
                        <a:pt x="-1802" y="24333"/>
                        <a:pt x="5405" y="31587"/>
                      </a:cubicBezTo>
                      <a:close/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260" name="Forma livre: Forma 1259">
                  <a:extLst>
                    <a:ext uri="{FF2B5EF4-FFF2-40B4-BE49-F238E27FC236}">
                      <a16:creationId xmlns:a16="http://schemas.microsoft.com/office/drawing/2014/main" id="{7B9D6E22-0D1F-9F8F-30C5-CB606FD74FF3}"/>
                    </a:ext>
                  </a:extLst>
                </p:cNvPr>
                <p:cNvSpPr/>
                <p:nvPr/>
              </p:nvSpPr>
              <p:spPr>
                <a:xfrm>
                  <a:off x="893356" y="5808810"/>
                  <a:ext cx="22483" cy="60627"/>
                </a:xfrm>
                <a:custGeom>
                  <a:avLst/>
                  <a:gdLst>
                    <a:gd name="connsiteX0" fmla="*/ 0 w 22483"/>
                    <a:gd name="connsiteY0" fmla="*/ 0 h 60627"/>
                    <a:gd name="connsiteX1" fmla="*/ 22483 w 22483"/>
                    <a:gd name="connsiteY1" fmla="*/ 22483 h 60627"/>
                    <a:gd name="connsiteX2" fmla="*/ 22483 w 22483"/>
                    <a:gd name="connsiteY2" fmla="*/ 60627 h 6062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22483" h="60627">
                      <a:moveTo>
                        <a:pt x="0" y="0"/>
                      </a:moveTo>
                      <a:lnTo>
                        <a:pt x="22483" y="22483"/>
                      </a:lnTo>
                      <a:lnTo>
                        <a:pt x="22483" y="60627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1261" name="Gráfico 13">
                <a:extLst>
                  <a:ext uri="{FF2B5EF4-FFF2-40B4-BE49-F238E27FC236}">
                    <a16:creationId xmlns:a16="http://schemas.microsoft.com/office/drawing/2014/main" id="{2FF713F4-76B7-B236-B414-9980EC5F0A3C}"/>
                  </a:ext>
                </a:extLst>
              </p:cNvPr>
              <p:cNvGrpSpPr/>
              <p:nvPr/>
            </p:nvGrpSpPr>
            <p:grpSpPr>
              <a:xfrm>
                <a:off x="970702" y="5777175"/>
                <a:ext cx="54069" cy="92262"/>
                <a:chOff x="970702" y="5777175"/>
                <a:chExt cx="54069" cy="92262"/>
              </a:xfrm>
              <a:noFill/>
            </p:grpSpPr>
            <p:sp>
              <p:nvSpPr>
                <p:cNvPr id="1262" name="Forma livre: Forma 1261">
                  <a:extLst>
                    <a:ext uri="{FF2B5EF4-FFF2-40B4-BE49-F238E27FC236}">
                      <a16:creationId xmlns:a16="http://schemas.microsoft.com/office/drawing/2014/main" id="{9BF57B9D-BF59-1B52-C19D-F4CA59BBD778}"/>
                    </a:ext>
                  </a:extLst>
                </p:cNvPr>
                <p:cNvSpPr/>
                <p:nvPr/>
              </p:nvSpPr>
              <p:spPr>
                <a:xfrm>
                  <a:off x="987762" y="5777175"/>
                  <a:ext cx="37009" cy="36991"/>
                </a:xfrm>
                <a:custGeom>
                  <a:avLst/>
                  <a:gdLst>
                    <a:gd name="connsiteX0" fmla="*/ 31605 w 37009"/>
                    <a:gd name="connsiteY0" fmla="*/ 31587 h 36991"/>
                    <a:gd name="connsiteX1" fmla="*/ 5423 w 37009"/>
                    <a:gd name="connsiteY1" fmla="*/ 31587 h 36991"/>
                    <a:gd name="connsiteX2" fmla="*/ 5423 w 37009"/>
                    <a:gd name="connsiteY2" fmla="*/ 5405 h 36991"/>
                    <a:gd name="connsiteX3" fmla="*/ 31605 w 37009"/>
                    <a:gd name="connsiteY3" fmla="*/ 5405 h 36991"/>
                    <a:gd name="connsiteX4" fmla="*/ 31605 w 37009"/>
                    <a:gd name="connsiteY4" fmla="*/ 31587 h 3699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7009" h="36991">
                      <a:moveTo>
                        <a:pt x="31605" y="31587"/>
                      </a:moveTo>
                      <a:cubicBezTo>
                        <a:pt x="24399" y="38793"/>
                        <a:pt x="12677" y="38793"/>
                        <a:pt x="5423" y="31587"/>
                      </a:cubicBezTo>
                      <a:cubicBezTo>
                        <a:pt x="-1832" y="24381"/>
                        <a:pt x="-1784" y="12659"/>
                        <a:pt x="5423" y="5405"/>
                      </a:cubicBezTo>
                      <a:cubicBezTo>
                        <a:pt x="12629" y="-1802"/>
                        <a:pt x="24351" y="-1802"/>
                        <a:pt x="31605" y="5405"/>
                      </a:cubicBezTo>
                      <a:cubicBezTo>
                        <a:pt x="38811" y="12611"/>
                        <a:pt x="38811" y="24333"/>
                        <a:pt x="31605" y="31587"/>
                      </a:cubicBezTo>
                      <a:close/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263" name="Forma livre: Forma 1262">
                  <a:extLst>
                    <a:ext uri="{FF2B5EF4-FFF2-40B4-BE49-F238E27FC236}">
                      <a16:creationId xmlns:a16="http://schemas.microsoft.com/office/drawing/2014/main" id="{DE04CB67-F3F4-6F3E-F16D-9F9E21530830}"/>
                    </a:ext>
                  </a:extLst>
                </p:cNvPr>
                <p:cNvSpPr/>
                <p:nvPr/>
              </p:nvSpPr>
              <p:spPr>
                <a:xfrm>
                  <a:off x="970702" y="5808810"/>
                  <a:ext cx="22483" cy="60627"/>
                </a:xfrm>
                <a:custGeom>
                  <a:avLst/>
                  <a:gdLst>
                    <a:gd name="connsiteX0" fmla="*/ 22483 w 22483"/>
                    <a:gd name="connsiteY0" fmla="*/ 0 h 60627"/>
                    <a:gd name="connsiteX1" fmla="*/ 0 w 22483"/>
                    <a:gd name="connsiteY1" fmla="*/ 22483 h 60627"/>
                    <a:gd name="connsiteX2" fmla="*/ 0 w 22483"/>
                    <a:gd name="connsiteY2" fmla="*/ 60627 h 6062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22483" h="60627">
                      <a:moveTo>
                        <a:pt x="22483" y="0"/>
                      </a:moveTo>
                      <a:lnTo>
                        <a:pt x="0" y="22483"/>
                      </a:lnTo>
                      <a:lnTo>
                        <a:pt x="0" y="60627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</p:grpSp>
      <p:grpSp>
        <p:nvGrpSpPr>
          <p:cNvPr id="1264" name="Gráfico 13">
            <a:extLst>
              <a:ext uri="{FF2B5EF4-FFF2-40B4-BE49-F238E27FC236}">
                <a16:creationId xmlns:a16="http://schemas.microsoft.com/office/drawing/2014/main" id="{87620293-1603-DAEA-0452-8A3DF6534CE6}"/>
              </a:ext>
            </a:extLst>
          </p:cNvPr>
          <p:cNvGrpSpPr/>
          <p:nvPr/>
        </p:nvGrpSpPr>
        <p:grpSpPr>
          <a:xfrm>
            <a:off x="2017030" y="5791035"/>
            <a:ext cx="350169" cy="224062"/>
            <a:chOff x="2017030" y="5791035"/>
            <a:chExt cx="350169" cy="224062"/>
          </a:xfrm>
          <a:noFill/>
        </p:grpSpPr>
        <p:grpSp>
          <p:nvGrpSpPr>
            <p:cNvPr id="1265" name="Gráfico 13">
              <a:extLst>
                <a:ext uri="{FF2B5EF4-FFF2-40B4-BE49-F238E27FC236}">
                  <a16:creationId xmlns:a16="http://schemas.microsoft.com/office/drawing/2014/main" id="{9D445C4F-A89B-AEA9-60CF-0E7352A318C3}"/>
                </a:ext>
              </a:extLst>
            </p:cNvPr>
            <p:cNvGrpSpPr/>
            <p:nvPr/>
          </p:nvGrpSpPr>
          <p:grpSpPr>
            <a:xfrm>
              <a:off x="2154282" y="5827930"/>
              <a:ext cx="75808" cy="124761"/>
              <a:chOff x="2154282" y="5827930"/>
              <a:chExt cx="75808" cy="124761"/>
            </a:xfrm>
            <a:noFill/>
          </p:grpSpPr>
          <p:grpSp>
            <p:nvGrpSpPr>
              <p:cNvPr id="1266" name="Gráfico 13">
                <a:extLst>
                  <a:ext uri="{FF2B5EF4-FFF2-40B4-BE49-F238E27FC236}">
                    <a16:creationId xmlns:a16="http://schemas.microsoft.com/office/drawing/2014/main" id="{A1A807E1-2F62-7F70-6684-1623609166C4}"/>
                  </a:ext>
                </a:extLst>
              </p:cNvPr>
              <p:cNvGrpSpPr/>
              <p:nvPr/>
            </p:nvGrpSpPr>
            <p:grpSpPr>
              <a:xfrm>
                <a:off x="2154282" y="5846810"/>
                <a:ext cx="75808" cy="87001"/>
                <a:chOff x="2154282" y="5846810"/>
                <a:chExt cx="75808" cy="87001"/>
              </a:xfrm>
              <a:noFill/>
            </p:grpSpPr>
            <p:sp>
              <p:nvSpPr>
                <p:cNvPr id="1267" name="Forma livre: Forma 1266">
                  <a:extLst>
                    <a:ext uri="{FF2B5EF4-FFF2-40B4-BE49-F238E27FC236}">
                      <a16:creationId xmlns:a16="http://schemas.microsoft.com/office/drawing/2014/main" id="{EF0D1628-4B2B-05C3-F082-A2D0DE2139CA}"/>
                    </a:ext>
                  </a:extLst>
                </p:cNvPr>
                <p:cNvSpPr/>
                <p:nvPr/>
              </p:nvSpPr>
              <p:spPr>
                <a:xfrm>
                  <a:off x="2154282" y="5846810"/>
                  <a:ext cx="75808" cy="43476"/>
                </a:xfrm>
                <a:custGeom>
                  <a:avLst/>
                  <a:gdLst>
                    <a:gd name="connsiteX0" fmla="*/ 0 w 75808"/>
                    <a:gd name="connsiteY0" fmla="*/ 0 h 43476"/>
                    <a:gd name="connsiteX1" fmla="*/ 53518 w 75808"/>
                    <a:gd name="connsiteY1" fmla="*/ 0 h 43476"/>
                    <a:gd name="connsiteX2" fmla="*/ 75809 w 75808"/>
                    <a:gd name="connsiteY2" fmla="*/ 21762 h 43476"/>
                    <a:gd name="connsiteX3" fmla="*/ 53518 w 75808"/>
                    <a:gd name="connsiteY3" fmla="*/ 43477 h 43476"/>
                    <a:gd name="connsiteX4" fmla="*/ 19409 w 75808"/>
                    <a:gd name="connsiteY4" fmla="*/ 43477 h 4347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75808" h="43476">
                      <a:moveTo>
                        <a:pt x="0" y="0"/>
                      </a:moveTo>
                      <a:lnTo>
                        <a:pt x="53518" y="0"/>
                      </a:lnTo>
                      <a:cubicBezTo>
                        <a:pt x="65768" y="0"/>
                        <a:pt x="75809" y="9800"/>
                        <a:pt x="75809" y="21762"/>
                      </a:cubicBezTo>
                      <a:cubicBezTo>
                        <a:pt x="75809" y="33725"/>
                        <a:pt x="65768" y="43477"/>
                        <a:pt x="53518" y="43477"/>
                      </a:cubicBezTo>
                      <a:lnTo>
                        <a:pt x="19409" y="43477"/>
                      </a:ln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268" name="Forma livre: Forma 1267">
                  <a:extLst>
                    <a:ext uri="{FF2B5EF4-FFF2-40B4-BE49-F238E27FC236}">
                      <a16:creationId xmlns:a16="http://schemas.microsoft.com/office/drawing/2014/main" id="{A2752FF4-7D2A-2638-557E-633ABEFC2791}"/>
                    </a:ext>
                  </a:extLst>
                </p:cNvPr>
                <p:cNvSpPr/>
                <p:nvPr/>
              </p:nvSpPr>
              <p:spPr>
                <a:xfrm>
                  <a:off x="2154282" y="5890287"/>
                  <a:ext cx="75808" cy="43524"/>
                </a:xfrm>
                <a:custGeom>
                  <a:avLst/>
                  <a:gdLst>
                    <a:gd name="connsiteX0" fmla="*/ 53518 w 75808"/>
                    <a:gd name="connsiteY0" fmla="*/ 0 h 43524"/>
                    <a:gd name="connsiteX1" fmla="*/ 75809 w 75808"/>
                    <a:gd name="connsiteY1" fmla="*/ 21762 h 43524"/>
                    <a:gd name="connsiteX2" fmla="*/ 53518 w 75808"/>
                    <a:gd name="connsiteY2" fmla="*/ 43525 h 43524"/>
                    <a:gd name="connsiteX3" fmla="*/ 0 w 75808"/>
                    <a:gd name="connsiteY3" fmla="*/ 43525 h 4352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75808" h="43524">
                      <a:moveTo>
                        <a:pt x="53518" y="0"/>
                      </a:moveTo>
                      <a:cubicBezTo>
                        <a:pt x="65768" y="0"/>
                        <a:pt x="75809" y="9800"/>
                        <a:pt x="75809" y="21762"/>
                      </a:cubicBezTo>
                      <a:cubicBezTo>
                        <a:pt x="75809" y="33725"/>
                        <a:pt x="65768" y="43525"/>
                        <a:pt x="53518" y="43525"/>
                      </a:cubicBezTo>
                      <a:lnTo>
                        <a:pt x="0" y="43525"/>
                      </a:ln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1269" name="Forma livre: Forma 1268">
                <a:extLst>
                  <a:ext uri="{FF2B5EF4-FFF2-40B4-BE49-F238E27FC236}">
                    <a16:creationId xmlns:a16="http://schemas.microsoft.com/office/drawing/2014/main" id="{E39EB658-E7B6-594F-8FA6-DFD60F8CE328}"/>
                  </a:ext>
                </a:extLst>
              </p:cNvPr>
              <p:cNvSpPr/>
              <p:nvPr/>
            </p:nvSpPr>
            <p:spPr>
              <a:xfrm>
                <a:off x="2172778" y="5827930"/>
                <a:ext cx="4804" cy="124761"/>
              </a:xfrm>
              <a:custGeom>
                <a:avLst/>
                <a:gdLst>
                  <a:gd name="connsiteX0" fmla="*/ 0 w 4804"/>
                  <a:gd name="connsiteY0" fmla="*/ 0 h 124761"/>
                  <a:gd name="connsiteX1" fmla="*/ 0 w 4804"/>
                  <a:gd name="connsiteY1" fmla="*/ 124762 h 1247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804" h="124761">
                    <a:moveTo>
                      <a:pt x="0" y="0"/>
                    </a:moveTo>
                    <a:lnTo>
                      <a:pt x="0" y="124762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1270" name="Gráfico 13">
                <a:extLst>
                  <a:ext uri="{FF2B5EF4-FFF2-40B4-BE49-F238E27FC236}">
                    <a16:creationId xmlns:a16="http://schemas.microsoft.com/office/drawing/2014/main" id="{27BCDF3C-3191-9D10-A209-C3A2B6DC3F01}"/>
                  </a:ext>
                </a:extLst>
              </p:cNvPr>
              <p:cNvGrpSpPr/>
              <p:nvPr/>
            </p:nvGrpSpPr>
            <p:grpSpPr>
              <a:xfrm>
                <a:off x="2202275" y="5827930"/>
                <a:ext cx="4804" cy="124761"/>
                <a:chOff x="2202275" y="5827930"/>
                <a:chExt cx="4804" cy="124761"/>
              </a:xfrm>
            </p:grpSpPr>
            <p:sp>
              <p:nvSpPr>
                <p:cNvPr id="1271" name="Forma livre: Forma 1270">
                  <a:extLst>
                    <a:ext uri="{FF2B5EF4-FFF2-40B4-BE49-F238E27FC236}">
                      <a16:creationId xmlns:a16="http://schemas.microsoft.com/office/drawing/2014/main" id="{46F51536-5EFF-D70F-55EE-31204D4372C1}"/>
                    </a:ext>
                  </a:extLst>
                </p:cNvPr>
                <p:cNvSpPr/>
                <p:nvPr/>
              </p:nvSpPr>
              <p:spPr>
                <a:xfrm>
                  <a:off x="2202275" y="5827930"/>
                  <a:ext cx="4804" cy="18543"/>
                </a:xfrm>
                <a:custGeom>
                  <a:avLst/>
                  <a:gdLst>
                    <a:gd name="connsiteX0" fmla="*/ 0 w 4804"/>
                    <a:gd name="connsiteY0" fmla="*/ 0 h 18543"/>
                    <a:gd name="connsiteX1" fmla="*/ 0 w 4804"/>
                    <a:gd name="connsiteY1" fmla="*/ 18544 h 1854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804" h="18543">
                      <a:moveTo>
                        <a:pt x="0" y="0"/>
                      </a:moveTo>
                      <a:lnTo>
                        <a:pt x="0" y="18544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272" name="Forma livre: Forma 1271">
                  <a:extLst>
                    <a:ext uri="{FF2B5EF4-FFF2-40B4-BE49-F238E27FC236}">
                      <a16:creationId xmlns:a16="http://schemas.microsoft.com/office/drawing/2014/main" id="{FC3A891C-5A2C-0C5B-E12A-E6D29B253E0F}"/>
                    </a:ext>
                  </a:extLst>
                </p:cNvPr>
                <p:cNvSpPr/>
                <p:nvPr/>
              </p:nvSpPr>
              <p:spPr>
                <a:xfrm>
                  <a:off x="2202275" y="5934197"/>
                  <a:ext cx="4804" cy="18495"/>
                </a:xfrm>
                <a:custGeom>
                  <a:avLst/>
                  <a:gdLst>
                    <a:gd name="connsiteX0" fmla="*/ 0 w 4804"/>
                    <a:gd name="connsiteY0" fmla="*/ 0 h 18495"/>
                    <a:gd name="connsiteX1" fmla="*/ 0 w 4804"/>
                    <a:gd name="connsiteY1" fmla="*/ 18496 h 1849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804" h="18495">
                      <a:moveTo>
                        <a:pt x="0" y="0"/>
                      </a:moveTo>
                      <a:lnTo>
                        <a:pt x="0" y="18496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grpSp>
          <p:nvGrpSpPr>
            <p:cNvPr id="1273" name="Gráfico 13">
              <a:extLst>
                <a:ext uri="{FF2B5EF4-FFF2-40B4-BE49-F238E27FC236}">
                  <a16:creationId xmlns:a16="http://schemas.microsoft.com/office/drawing/2014/main" id="{044E0DA8-05FD-CEE4-95B0-5D320FD62C9F}"/>
                </a:ext>
              </a:extLst>
            </p:cNvPr>
            <p:cNvGrpSpPr/>
            <p:nvPr/>
          </p:nvGrpSpPr>
          <p:grpSpPr>
            <a:xfrm>
              <a:off x="2017030" y="5791035"/>
              <a:ext cx="350169" cy="224062"/>
              <a:chOff x="2017030" y="5791035"/>
              <a:chExt cx="350169" cy="224062"/>
            </a:xfrm>
            <a:noFill/>
          </p:grpSpPr>
          <p:sp>
            <p:nvSpPr>
              <p:cNvPr id="1274" name="Forma livre: Forma 1273">
                <a:extLst>
                  <a:ext uri="{FF2B5EF4-FFF2-40B4-BE49-F238E27FC236}">
                    <a16:creationId xmlns:a16="http://schemas.microsoft.com/office/drawing/2014/main" id="{31FBA27F-D3D0-7D93-D412-C85760FEFDAD}"/>
                  </a:ext>
                </a:extLst>
              </p:cNvPr>
              <p:cNvSpPr/>
              <p:nvPr/>
            </p:nvSpPr>
            <p:spPr>
              <a:xfrm>
                <a:off x="2050178" y="5791035"/>
                <a:ext cx="284017" cy="173811"/>
              </a:xfrm>
              <a:custGeom>
                <a:avLst/>
                <a:gdLst>
                  <a:gd name="connsiteX0" fmla="*/ 0 w 284017"/>
                  <a:gd name="connsiteY0" fmla="*/ 173812 h 173811"/>
                  <a:gd name="connsiteX1" fmla="*/ 0 w 284017"/>
                  <a:gd name="connsiteY1" fmla="*/ 20706 h 173811"/>
                  <a:gd name="connsiteX2" fmla="*/ 20706 w 284017"/>
                  <a:gd name="connsiteY2" fmla="*/ 0 h 173811"/>
                  <a:gd name="connsiteX3" fmla="*/ 263263 w 284017"/>
                  <a:gd name="connsiteY3" fmla="*/ 0 h 173811"/>
                  <a:gd name="connsiteX4" fmla="*/ 284017 w 284017"/>
                  <a:gd name="connsiteY4" fmla="*/ 20706 h 173811"/>
                  <a:gd name="connsiteX5" fmla="*/ 284017 w 284017"/>
                  <a:gd name="connsiteY5" fmla="*/ 173812 h 1738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84017" h="173811">
                    <a:moveTo>
                      <a:pt x="0" y="173812"/>
                    </a:moveTo>
                    <a:lnTo>
                      <a:pt x="0" y="20706"/>
                    </a:lnTo>
                    <a:cubicBezTo>
                      <a:pt x="0" y="9320"/>
                      <a:pt x="9320" y="0"/>
                      <a:pt x="20706" y="0"/>
                    </a:cubicBezTo>
                    <a:lnTo>
                      <a:pt x="263263" y="0"/>
                    </a:lnTo>
                    <a:cubicBezTo>
                      <a:pt x="274649" y="0"/>
                      <a:pt x="284017" y="9320"/>
                      <a:pt x="284017" y="20706"/>
                    </a:cubicBezTo>
                    <a:lnTo>
                      <a:pt x="284017" y="173812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75" name="Forma livre: Forma 1274">
                <a:extLst>
                  <a:ext uri="{FF2B5EF4-FFF2-40B4-BE49-F238E27FC236}">
                    <a16:creationId xmlns:a16="http://schemas.microsoft.com/office/drawing/2014/main" id="{F80AECB1-9497-E435-E44E-34F04EBC1925}"/>
                  </a:ext>
                </a:extLst>
              </p:cNvPr>
              <p:cNvSpPr/>
              <p:nvPr/>
            </p:nvSpPr>
            <p:spPr>
              <a:xfrm>
                <a:off x="2017030" y="5987666"/>
                <a:ext cx="350169" cy="27431"/>
              </a:xfrm>
              <a:custGeom>
                <a:avLst/>
                <a:gdLst>
                  <a:gd name="connsiteX0" fmla="*/ 48 w 350169"/>
                  <a:gd name="connsiteY0" fmla="*/ 0 h 27431"/>
                  <a:gd name="connsiteX1" fmla="*/ 26134 w 350169"/>
                  <a:gd name="connsiteY1" fmla="*/ 27431 h 27431"/>
                  <a:gd name="connsiteX2" fmla="*/ 324083 w 350169"/>
                  <a:gd name="connsiteY2" fmla="*/ 27431 h 27431"/>
                  <a:gd name="connsiteX3" fmla="*/ 350169 w 350169"/>
                  <a:gd name="connsiteY3" fmla="*/ 0 h 27431"/>
                  <a:gd name="connsiteX4" fmla="*/ 0 w 350169"/>
                  <a:gd name="connsiteY4" fmla="*/ 0 h 274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50169" h="27431">
                    <a:moveTo>
                      <a:pt x="48" y="0"/>
                    </a:moveTo>
                    <a:cubicBezTo>
                      <a:pt x="48" y="0"/>
                      <a:pt x="6101" y="27431"/>
                      <a:pt x="26134" y="27431"/>
                    </a:cubicBezTo>
                    <a:lnTo>
                      <a:pt x="324083" y="27431"/>
                    </a:lnTo>
                    <a:cubicBezTo>
                      <a:pt x="344164" y="27431"/>
                      <a:pt x="350169" y="0"/>
                      <a:pt x="350169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276" name="Gráfico 13">
            <a:extLst>
              <a:ext uri="{FF2B5EF4-FFF2-40B4-BE49-F238E27FC236}">
                <a16:creationId xmlns:a16="http://schemas.microsoft.com/office/drawing/2014/main" id="{F0408DC8-2469-87FE-565B-64095F734E0C}"/>
              </a:ext>
            </a:extLst>
          </p:cNvPr>
          <p:cNvGrpSpPr/>
          <p:nvPr/>
        </p:nvGrpSpPr>
        <p:grpSpPr>
          <a:xfrm>
            <a:off x="1397736" y="5777680"/>
            <a:ext cx="339936" cy="250724"/>
            <a:chOff x="1397736" y="5777680"/>
            <a:chExt cx="339936" cy="250724"/>
          </a:xfrm>
        </p:grpSpPr>
        <p:sp>
          <p:nvSpPr>
            <p:cNvPr id="1277" name="Forma livre: Forma 1276">
              <a:extLst>
                <a:ext uri="{FF2B5EF4-FFF2-40B4-BE49-F238E27FC236}">
                  <a16:creationId xmlns:a16="http://schemas.microsoft.com/office/drawing/2014/main" id="{80CF59B6-52CE-19D7-4AF7-64A7F1E4E50F}"/>
                </a:ext>
              </a:extLst>
            </p:cNvPr>
            <p:cNvSpPr/>
            <p:nvPr/>
          </p:nvSpPr>
          <p:spPr>
            <a:xfrm>
              <a:off x="1462543" y="5899271"/>
              <a:ext cx="7494" cy="7494"/>
            </a:xfrm>
            <a:custGeom>
              <a:avLst/>
              <a:gdLst>
                <a:gd name="connsiteX0" fmla="*/ 7494 w 7494"/>
                <a:gd name="connsiteY0" fmla="*/ 3747 h 7494"/>
                <a:gd name="connsiteX1" fmla="*/ 3747 w 7494"/>
                <a:gd name="connsiteY1" fmla="*/ 7494 h 7494"/>
                <a:gd name="connsiteX2" fmla="*/ 0 w 7494"/>
                <a:gd name="connsiteY2" fmla="*/ 3747 h 7494"/>
                <a:gd name="connsiteX3" fmla="*/ 3747 w 7494"/>
                <a:gd name="connsiteY3" fmla="*/ 0 h 7494"/>
                <a:gd name="connsiteX4" fmla="*/ 7494 w 7494"/>
                <a:gd name="connsiteY4" fmla="*/ 3747 h 74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494" h="7494">
                  <a:moveTo>
                    <a:pt x="7494" y="3747"/>
                  </a:moveTo>
                  <a:cubicBezTo>
                    <a:pt x="7494" y="5813"/>
                    <a:pt x="5813" y="7494"/>
                    <a:pt x="3747" y="7494"/>
                  </a:cubicBezTo>
                  <a:cubicBezTo>
                    <a:pt x="1681" y="7494"/>
                    <a:pt x="0" y="5813"/>
                    <a:pt x="0" y="3747"/>
                  </a:cubicBezTo>
                  <a:cubicBezTo>
                    <a:pt x="0" y="1681"/>
                    <a:pt x="1681" y="0"/>
                    <a:pt x="3747" y="0"/>
                  </a:cubicBezTo>
                  <a:cubicBezTo>
                    <a:pt x="5813" y="0"/>
                    <a:pt x="7494" y="1681"/>
                    <a:pt x="7494" y="3747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78" name="Forma livre: Forma 1277">
              <a:extLst>
                <a:ext uri="{FF2B5EF4-FFF2-40B4-BE49-F238E27FC236}">
                  <a16:creationId xmlns:a16="http://schemas.microsoft.com/office/drawing/2014/main" id="{E62F876B-3536-1EEE-6DE1-A5BDC579E879}"/>
                </a:ext>
              </a:extLst>
            </p:cNvPr>
            <p:cNvSpPr/>
            <p:nvPr/>
          </p:nvSpPr>
          <p:spPr>
            <a:xfrm>
              <a:off x="1582693" y="5899271"/>
              <a:ext cx="7494" cy="7494"/>
            </a:xfrm>
            <a:custGeom>
              <a:avLst/>
              <a:gdLst>
                <a:gd name="connsiteX0" fmla="*/ 7494 w 7494"/>
                <a:gd name="connsiteY0" fmla="*/ 3747 h 7494"/>
                <a:gd name="connsiteX1" fmla="*/ 3747 w 7494"/>
                <a:gd name="connsiteY1" fmla="*/ 7494 h 7494"/>
                <a:gd name="connsiteX2" fmla="*/ 0 w 7494"/>
                <a:gd name="connsiteY2" fmla="*/ 3747 h 7494"/>
                <a:gd name="connsiteX3" fmla="*/ 3747 w 7494"/>
                <a:gd name="connsiteY3" fmla="*/ 0 h 7494"/>
                <a:gd name="connsiteX4" fmla="*/ 7494 w 7494"/>
                <a:gd name="connsiteY4" fmla="*/ 3747 h 74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494" h="7494">
                  <a:moveTo>
                    <a:pt x="7494" y="3747"/>
                  </a:moveTo>
                  <a:cubicBezTo>
                    <a:pt x="7494" y="5813"/>
                    <a:pt x="5813" y="7494"/>
                    <a:pt x="3747" y="7494"/>
                  </a:cubicBezTo>
                  <a:cubicBezTo>
                    <a:pt x="1681" y="7494"/>
                    <a:pt x="0" y="5813"/>
                    <a:pt x="0" y="3747"/>
                  </a:cubicBezTo>
                  <a:cubicBezTo>
                    <a:pt x="0" y="1681"/>
                    <a:pt x="1681" y="0"/>
                    <a:pt x="3747" y="0"/>
                  </a:cubicBezTo>
                  <a:cubicBezTo>
                    <a:pt x="5813" y="0"/>
                    <a:pt x="7494" y="1681"/>
                    <a:pt x="7494" y="3747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79" name="Forma livre: Forma 1278">
              <a:extLst>
                <a:ext uri="{FF2B5EF4-FFF2-40B4-BE49-F238E27FC236}">
                  <a16:creationId xmlns:a16="http://schemas.microsoft.com/office/drawing/2014/main" id="{10EE48B9-36C8-18C5-CE7F-6F1C776F704F}"/>
                </a:ext>
              </a:extLst>
            </p:cNvPr>
            <p:cNvSpPr/>
            <p:nvPr/>
          </p:nvSpPr>
          <p:spPr>
            <a:xfrm>
              <a:off x="1502273" y="5877124"/>
              <a:ext cx="48136" cy="51787"/>
            </a:xfrm>
            <a:custGeom>
              <a:avLst/>
              <a:gdLst>
                <a:gd name="connsiteX0" fmla="*/ 48137 w 48136"/>
                <a:gd name="connsiteY0" fmla="*/ 25894 h 51787"/>
                <a:gd name="connsiteX1" fmla="*/ 24068 w 48136"/>
                <a:gd name="connsiteY1" fmla="*/ 51788 h 51787"/>
                <a:gd name="connsiteX2" fmla="*/ 0 w 48136"/>
                <a:gd name="connsiteY2" fmla="*/ 25894 h 51787"/>
                <a:gd name="connsiteX3" fmla="*/ 24068 w 48136"/>
                <a:gd name="connsiteY3" fmla="*/ 0 h 51787"/>
                <a:gd name="connsiteX4" fmla="*/ 48137 w 48136"/>
                <a:gd name="connsiteY4" fmla="*/ 25894 h 517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8136" h="51787">
                  <a:moveTo>
                    <a:pt x="48137" y="25894"/>
                  </a:moveTo>
                  <a:cubicBezTo>
                    <a:pt x="48137" y="40210"/>
                    <a:pt x="37376" y="51788"/>
                    <a:pt x="24068" y="51788"/>
                  </a:cubicBezTo>
                  <a:cubicBezTo>
                    <a:pt x="10761" y="51788"/>
                    <a:pt x="0" y="40210"/>
                    <a:pt x="0" y="25894"/>
                  </a:cubicBezTo>
                  <a:cubicBezTo>
                    <a:pt x="0" y="11578"/>
                    <a:pt x="10761" y="0"/>
                    <a:pt x="24068" y="0"/>
                  </a:cubicBezTo>
                  <a:cubicBezTo>
                    <a:pt x="37376" y="0"/>
                    <a:pt x="48137" y="11578"/>
                    <a:pt x="48137" y="25894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80" name="Forma livre: Forma 1279">
              <a:extLst>
                <a:ext uri="{FF2B5EF4-FFF2-40B4-BE49-F238E27FC236}">
                  <a16:creationId xmlns:a16="http://schemas.microsoft.com/office/drawing/2014/main" id="{78EA6D29-E300-1436-A3F1-1F4CE4FF6701}"/>
                </a:ext>
              </a:extLst>
            </p:cNvPr>
            <p:cNvSpPr/>
            <p:nvPr/>
          </p:nvSpPr>
          <p:spPr>
            <a:xfrm>
              <a:off x="1649182" y="5884523"/>
              <a:ext cx="36991" cy="36991"/>
            </a:xfrm>
            <a:custGeom>
              <a:avLst/>
              <a:gdLst>
                <a:gd name="connsiteX0" fmla="*/ 17343 w 36991"/>
                <a:gd name="connsiteY0" fmla="*/ 36991 h 36991"/>
                <a:gd name="connsiteX1" fmla="*/ 0 w 36991"/>
                <a:gd name="connsiteY1" fmla="*/ 18496 h 36991"/>
                <a:gd name="connsiteX2" fmla="*/ 18496 w 36991"/>
                <a:gd name="connsiteY2" fmla="*/ 0 h 36991"/>
                <a:gd name="connsiteX3" fmla="*/ 36991 w 36991"/>
                <a:gd name="connsiteY3" fmla="*/ 18496 h 36991"/>
                <a:gd name="connsiteX4" fmla="*/ 17343 w 36991"/>
                <a:gd name="connsiteY4" fmla="*/ 36991 h 369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6991" h="36991">
                  <a:moveTo>
                    <a:pt x="17343" y="36991"/>
                  </a:moveTo>
                  <a:cubicBezTo>
                    <a:pt x="7110" y="36991"/>
                    <a:pt x="0" y="28728"/>
                    <a:pt x="0" y="18496"/>
                  </a:cubicBezTo>
                  <a:cubicBezTo>
                    <a:pt x="0" y="8263"/>
                    <a:pt x="8263" y="0"/>
                    <a:pt x="18496" y="0"/>
                  </a:cubicBezTo>
                  <a:cubicBezTo>
                    <a:pt x="28728" y="0"/>
                    <a:pt x="36991" y="8311"/>
                    <a:pt x="36991" y="18496"/>
                  </a:cubicBezTo>
                  <a:cubicBezTo>
                    <a:pt x="36991" y="28680"/>
                    <a:pt x="27575" y="36991"/>
                    <a:pt x="17343" y="36991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81" name="Forma livre: Forma 1280">
              <a:extLst>
                <a:ext uri="{FF2B5EF4-FFF2-40B4-BE49-F238E27FC236}">
                  <a16:creationId xmlns:a16="http://schemas.microsoft.com/office/drawing/2014/main" id="{F1BDBF04-E5E8-D444-A616-3B0D661B42E2}"/>
                </a:ext>
              </a:extLst>
            </p:cNvPr>
            <p:cNvSpPr/>
            <p:nvPr/>
          </p:nvSpPr>
          <p:spPr>
            <a:xfrm>
              <a:off x="1616850" y="5903066"/>
              <a:ext cx="33244" cy="4804"/>
            </a:xfrm>
            <a:custGeom>
              <a:avLst/>
              <a:gdLst>
                <a:gd name="connsiteX0" fmla="*/ 33244 w 33244"/>
                <a:gd name="connsiteY0" fmla="*/ 0 h 4804"/>
                <a:gd name="connsiteX1" fmla="*/ 0 w 33244"/>
                <a:gd name="connsiteY1" fmla="*/ 0 h 48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3244" h="4804">
                  <a:moveTo>
                    <a:pt x="33244" y="0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282" name="Gráfico 13">
              <a:extLst>
                <a:ext uri="{FF2B5EF4-FFF2-40B4-BE49-F238E27FC236}">
                  <a16:creationId xmlns:a16="http://schemas.microsoft.com/office/drawing/2014/main" id="{985FEA5E-7955-44CB-AB93-40B687FECB1C}"/>
                </a:ext>
              </a:extLst>
            </p:cNvPr>
            <p:cNvGrpSpPr/>
            <p:nvPr/>
          </p:nvGrpSpPr>
          <p:grpSpPr>
            <a:xfrm>
              <a:off x="1426561" y="5835761"/>
              <a:ext cx="311112" cy="134562"/>
              <a:chOff x="1426561" y="5835761"/>
              <a:chExt cx="311112" cy="134562"/>
            </a:xfrm>
            <a:noFill/>
          </p:grpSpPr>
          <p:sp>
            <p:nvSpPr>
              <p:cNvPr id="1283" name="Forma livre: Forma 1282">
                <a:extLst>
                  <a:ext uri="{FF2B5EF4-FFF2-40B4-BE49-F238E27FC236}">
                    <a16:creationId xmlns:a16="http://schemas.microsoft.com/office/drawing/2014/main" id="{8911B989-DC63-61BA-897A-A96EE57EB84D}"/>
                  </a:ext>
                </a:extLst>
              </p:cNvPr>
              <p:cNvSpPr/>
              <p:nvPr/>
            </p:nvSpPr>
            <p:spPr>
              <a:xfrm>
                <a:off x="1700681" y="5835761"/>
                <a:ext cx="36991" cy="36991"/>
              </a:xfrm>
              <a:custGeom>
                <a:avLst/>
                <a:gdLst>
                  <a:gd name="connsiteX0" fmla="*/ 18496 w 36991"/>
                  <a:gd name="connsiteY0" fmla="*/ 36991 h 36991"/>
                  <a:gd name="connsiteX1" fmla="*/ 0 w 36991"/>
                  <a:gd name="connsiteY1" fmla="*/ 18496 h 36991"/>
                  <a:gd name="connsiteX2" fmla="*/ 18496 w 36991"/>
                  <a:gd name="connsiteY2" fmla="*/ 0 h 36991"/>
                  <a:gd name="connsiteX3" fmla="*/ 36991 w 36991"/>
                  <a:gd name="connsiteY3" fmla="*/ 18496 h 36991"/>
                  <a:gd name="connsiteX4" fmla="*/ 18496 w 36991"/>
                  <a:gd name="connsiteY4" fmla="*/ 36991 h 369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6991" h="36991">
                    <a:moveTo>
                      <a:pt x="18496" y="36991"/>
                    </a:moveTo>
                    <a:cubicBezTo>
                      <a:pt x="8263" y="36991"/>
                      <a:pt x="0" y="28728"/>
                      <a:pt x="0" y="18496"/>
                    </a:cubicBezTo>
                    <a:cubicBezTo>
                      <a:pt x="0" y="8263"/>
                      <a:pt x="8263" y="0"/>
                      <a:pt x="18496" y="0"/>
                    </a:cubicBezTo>
                    <a:cubicBezTo>
                      <a:pt x="28728" y="0"/>
                      <a:pt x="36991" y="8263"/>
                      <a:pt x="36991" y="18496"/>
                    </a:cubicBezTo>
                    <a:cubicBezTo>
                      <a:pt x="36991" y="28680"/>
                      <a:pt x="28728" y="36991"/>
                      <a:pt x="18496" y="36991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84" name="Forma livre: Forma 1283">
                <a:extLst>
                  <a:ext uri="{FF2B5EF4-FFF2-40B4-BE49-F238E27FC236}">
                    <a16:creationId xmlns:a16="http://schemas.microsoft.com/office/drawing/2014/main" id="{0672296F-77AA-3C97-BC04-8BE172B83FE2}"/>
                  </a:ext>
                </a:extLst>
              </p:cNvPr>
              <p:cNvSpPr/>
              <p:nvPr/>
            </p:nvSpPr>
            <p:spPr>
              <a:xfrm>
                <a:off x="1700681" y="5933332"/>
                <a:ext cx="36991" cy="36991"/>
              </a:xfrm>
              <a:custGeom>
                <a:avLst/>
                <a:gdLst>
                  <a:gd name="connsiteX0" fmla="*/ 18496 w 36991"/>
                  <a:gd name="connsiteY0" fmla="*/ 36991 h 36991"/>
                  <a:gd name="connsiteX1" fmla="*/ 0 w 36991"/>
                  <a:gd name="connsiteY1" fmla="*/ 18496 h 36991"/>
                  <a:gd name="connsiteX2" fmla="*/ 18496 w 36991"/>
                  <a:gd name="connsiteY2" fmla="*/ 0 h 36991"/>
                  <a:gd name="connsiteX3" fmla="*/ 36991 w 36991"/>
                  <a:gd name="connsiteY3" fmla="*/ 18496 h 36991"/>
                  <a:gd name="connsiteX4" fmla="*/ 18496 w 36991"/>
                  <a:gd name="connsiteY4" fmla="*/ 36991 h 369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6991" h="36991">
                    <a:moveTo>
                      <a:pt x="18496" y="36991"/>
                    </a:moveTo>
                    <a:cubicBezTo>
                      <a:pt x="8263" y="36991"/>
                      <a:pt x="0" y="28728"/>
                      <a:pt x="0" y="18496"/>
                    </a:cubicBezTo>
                    <a:cubicBezTo>
                      <a:pt x="0" y="8263"/>
                      <a:pt x="8263" y="0"/>
                      <a:pt x="18496" y="0"/>
                    </a:cubicBezTo>
                    <a:cubicBezTo>
                      <a:pt x="28728" y="0"/>
                      <a:pt x="36991" y="8263"/>
                      <a:pt x="36991" y="18496"/>
                    </a:cubicBezTo>
                    <a:cubicBezTo>
                      <a:pt x="36991" y="28680"/>
                      <a:pt x="28728" y="36991"/>
                      <a:pt x="18496" y="36991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85" name="Forma livre: Forma 1284">
                <a:extLst>
                  <a:ext uri="{FF2B5EF4-FFF2-40B4-BE49-F238E27FC236}">
                    <a16:creationId xmlns:a16="http://schemas.microsoft.com/office/drawing/2014/main" id="{7F1CBCBC-0A19-A0C3-DA20-7DB779079B5E}"/>
                  </a:ext>
                </a:extLst>
              </p:cNvPr>
              <p:cNvSpPr/>
              <p:nvPr/>
            </p:nvSpPr>
            <p:spPr>
              <a:xfrm>
                <a:off x="1426561" y="5854929"/>
                <a:ext cx="274216" cy="97618"/>
              </a:xfrm>
              <a:custGeom>
                <a:avLst/>
                <a:gdLst>
                  <a:gd name="connsiteX0" fmla="*/ 274217 w 274216"/>
                  <a:gd name="connsiteY0" fmla="*/ 0 h 97618"/>
                  <a:gd name="connsiteX1" fmla="*/ 19601 w 274216"/>
                  <a:gd name="connsiteY1" fmla="*/ 0 h 97618"/>
                  <a:gd name="connsiteX2" fmla="*/ 0 w 274216"/>
                  <a:gd name="connsiteY2" fmla="*/ 19601 h 97618"/>
                  <a:gd name="connsiteX3" fmla="*/ 0 w 274216"/>
                  <a:gd name="connsiteY3" fmla="*/ 78018 h 97618"/>
                  <a:gd name="connsiteX4" fmla="*/ 19601 w 274216"/>
                  <a:gd name="connsiteY4" fmla="*/ 97619 h 97618"/>
                  <a:gd name="connsiteX5" fmla="*/ 274217 w 274216"/>
                  <a:gd name="connsiteY5" fmla="*/ 97619 h 976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74216" h="97618">
                    <a:moveTo>
                      <a:pt x="274217" y="0"/>
                    </a:moveTo>
                    <a:lnTo>
                      <a:pt x="19601" y="0"/>
                    </a:lnTo>
                    <a:cubicBezTo>
                      <a:pt x="19601" y="10857"/>
                      <a:pt x="10809" y="19601"/>
                      <a:pt x="0" y="19601"/>
                    </a:cubicBezTo>
                    <a:lnTo>
                      <a:pt x="0" y="78018"/>
                    </a:lnTo>
                    <a:cubicBezTo>
                      <a:pt x="10809" y="78018"/>
                      <a:pt x="19601" y="86810"/>
                      <a:pt x="19601" y="97619"/>
                    </a:cubicBezTo>
                    <a:lnTo>
                      <a:pt x="274217" y="97619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286" name="Gráfico 13">
              <a:extLst>
                <a:ext uri="{FF2B5EF4-FFF2-40B4-BE49-F238E27FC236}">
                  <a16:creationId xmlns:a16="http://schemas.microsoft.com/office/drawing/2014/main" id="{894963B7-D67C-8A2B-D938-1935A651341F}"/>
                </a:ext>
              </a:extLst>
            </p:cNvPr>
            <p:cNvGrpSpPr/>
            <p:nvPr/>
          </p:nvGrpSpPr>
          <p:grpSpPr>
            <a:xfrm>
              <a:off x="1397736" y="5777680"/>
              <a:ext cx="297180" cy="250724"/>
              <a:chOff x="1397736" y="5777680"/>
              <a:chExt cx="297180" cy="250724"/>
            </a:xfrm>
            <a:noFill/>
          </p:grpSpPr>
          <p:sp>
            <p:nvSpPr>
              <p:cNvPr id="1287" name="Forma livre: Forma 1286">
                <a:extLst>
                  <a:ext uri="{FF2B5EF4-FFF2-40B4-BE49-F238E27FC236}">
                    <a16:creationId xmlns:a16="http://schemas.microsoft.com/office/drawing/2014/main" id="{3DB9F492-1898-56BC-81CD-B8487AF0A541}"/>
                  </a:ext>
                </a:extLst>
              </p:cNvPr>
              <p:cNvSpPr/>
              <p:nvPr/>
            </p:nvSpPr>
            <p:spPr>
              <a:xfrm>
                <a:off x="1657925" y="5777680"/>
                <a:ext cx="36991" cy="36991"/>
              </a:xfrm>
              <a:custGeom>
                <a:avLst/>
                <a:gdLst>
                  <a:gd name="connsiteX0" fmla="*/ 18496 w 36991"/>
                  <a:gd name="connsiteY0" fmla="*/ 36991 h 36991"/>
                  <a:gd name="connsiteX1" fmla="*/ 0 w 36991"/>
                  <a:gd name="connsiteY1" fmla="*/ 18496 h 36991"/>
                  <a:gd name="connsiteX2" fmla="*/ 18496 w 36991"/>
                  <a:gd name="connsiteY2" fmla="*/ 0 h 36991"/>
                  <a:gd name="connsiteX3" fmla="*/ 36991 w 36991"/>
                  <a:gd name="connsiteY3" fmla="*/ 18496 h 36991"/>
                  <a:gd name="connsiteX4" fmla="*/ 18496 w 36991"/>
                  <a:gd name="connsiteY4" fmla="*/ 36991 h 369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6991" h="36991">
                    <a:moveTo>
                      <a:pt x="18496" y="36991"/>
                    </a:moveTo>
                    <a:cubicBezTo>
                      <a:pt x="8263" y="36991"/>
                      <a:pt x="0" y="28728"/>
                      <a:pt x="0" y="18496"/>
                    </a:cubicBezTo>
                    <a:cubicBezTo>
                      <a:pt x="0" y="8263"/>
                      <a:pt x="8263" y="0"/>
                      <a:pt x="18496" y="0"/>
                    </a:cubicBezTo>
                    <a:cubicBezTo>
                      <a:pt x="28728" y="0"/>
                      <a:pt x="36991" y="8263"/>
                      <a:pt x="36991" y="18496"/>
                    </a:cubicBezTo>
                    <a:cubicBezTo>
                      <a:pt x="36991" y="28680"/>
                      <a:pt x="28728" y="36991"/>
                      <a:pt x="18496" y="36991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88" name="Forma livre: Forma 1287">
                <a:extLst>
                  <a:ext uri="{FF2B5EF4-FFF2-40B4-BE49-F238E27FC236}">
                    <a16:creationId xmlns:a16="http://schemas.microsoft.com/office/drawing/2014/main" id="{DFD6E080-13C9-A443-34F2-BBCDC1043D3C}"/>
                  </a:ext>
                </a:extLst>
              </p:cNvPr>
              <p:cNvSpPr/>
              <p:nvPr/>
            </p:nvSpPr>
            <p:spPr>
              <a:xfrm>
                <a:off x="1657925" y="5991413"/>
                <a:ext cx="36991" cy="36991"/>
              </a:xfrm>
              <a:custGeom>
                <a:avLst/>
                <a:gdLst>
                  <a:gd name="connsiteX0" fmla="*/ 18496 w 36991"/>
                  <a:gd name="connsiteY0" fmla="*/ 0 h 36991"/>
                  <a:gd name="connsiteX1" fmla="*/ 0 w 36991"/>
                  <a:gd name="connsiteY1" fmla="*/ 18496 h 36991"/>
                  <a:gd name="connsiteX2" fmla="*/ 18496 w 36991"/>
                  <a:gd name="connsiteY2" fmla="*/ 36991 h 36991"/>
                  <a:gd name="connsiteX3" fmla="*/ 36991 w 36991"/>
                  <a:gd name="connsiteY3" fmla="*/ 18496 h 36991"/>
                  <a:gd name="connsiteX4" fmla="*/ 18496 w 36991"/>
                  <a:gd name="connsiteY4" fmla="*/ 0 h 369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6991" h="36991">
                    <a:moveTo>
                      <a:pt x="18496" y="0"/>
                    </a:moveTo>
                    <a:cubicBezTo>
                      <a:pt x="8263" y="0"/>
                      <a:pt x="0" y="8263"/>
                      <a:pt x="0" y="18496"/>
                    </a:cubicBezTo>
                    <a:cubicBezTo>
                      <a:pt x="0" y="28728"/>
                      <a:pt x="8263" y="36991"/>
                      <a:pt x="18496" y="36991"/>
                    </a:cubicBezTo>
                    <a:cubicBezTo>
                      <a:pt x="28728" y="36991"/>
                      <a:pt x="36991" y="28728"/>
                      <a:pt x="36991" y="18496"/>
                    </a:cubicBezTo>
                    <a:cubicBezTo>
                      <a:pt x="36991" y="8263"/>
                      <a:pt x="28728" y="0"/>
                      <a:pt x="18496" y="0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89" name="Forma livre: Forma 1288">
                <a:extLst>
                  <a:ext uri="{FF2B5EF4-FFF2-40B4-BE49-F238E27FC236}">
                    <a16:creationId xmlns:a16="http://schemas.microsoft.com/office/drawing/2014/main" id="{E3F00C1A-F556-408E-5E52-70A812D1330C}"/>
                  </a:ext>
                </a:extLst>
              </p:cNvPr>
              <p:cNvSpPr/>
              <p:nvPr/>
            </p:nvSpPr>
            <p:spPr>
              <a:xfrm>
                <a:off x="1397736" y="5796175"/>
                <a:ext cx="260381" cy="213733"/>
              </a:xfrm>
              <a:custGeom>
                <a:avLst/>
                <a:gdLst>
                  <a:gd name="connsiteX0" fmla="*/ 260381 w 260381"/>
                  <a:gd name="connsiteY0" fmla="*/ 213733 h 213733"/>
                  <a:gd name="connsiteX1" fmla="*/ 219402 w 260381"/>
                  <a:gd name="connsiteY1" fmla="*/ 213733 h 213733"/>
                  <a:gd name="connsiteX2" fmla="*/ 187071 w 260381"/>
                  <a:gd name="connsiteY2" fmla="*/ 184477 h 213733"/>
                  <a:gd name="connsiteX3" fmla="*/ 0 w 260381"/>
                  <a:gd name="connsiteY3" fmla="*/ 184477 h 213733"/>
                  <a:gd name="connsiteX4" fmla="*/ 0 w 260381"/>
                  <a:gd name="connsiteY4" fmla="*/ 29257 h 213733"/>
                  <a:gd name="connsiteX5" fmla="*/ 187071 w 260381"/>
                  <a:gd name="connsiteY5" fmla="*/ 29257 h 213733"/>
                  <a:gd name="connsiteX6" fmla="*/ 219402 w 260381"/>
                  <a:gd name="connsiteY6" fmla="*/ 0 h 213733"/>
                  <a:gd name="connsiteX7" fmla="*/ 260381 w 260381"/>
                  <a:gd name="connsiteY7" fmla="*/ 0 h 2137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60381" h="213733">
                    <a:moveTo>
                      <a:pt x="260381" y="213733"/>
                    </a:moveTo>
                    <a:lnTo>
                      <a:pt x="219402" y="213733"/>
                    </a:lnTo>
                    <a:lnTo>
                      <a:pt x="187071" y="184477"/>
                    </a:lnTo>
                    <a:lnTo>
                      <a:pt x="0" y="184477"/>
                    </a:lnTo>
                    <a:lnTo>
                      <a:pt x="0" y="29257"/>
                    </a:lnTo>
                    <a:lnTo>
                      <a:pt x="187071" y="29257"/>
                    </a:lnTo>
                    <a:lnTo>
                      <a:pt x="219402" y="0"/>
                    </a:lnTo>
                    <a:lnTo>
                      <a:pt x="260381" y="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291" name="Gráfico 13">
            <a:extLst>
              <a:ext uri="{FF2B5EF4-FFF2-40B4-BE49-F238E27FC236}">
                <a16:creationId xmlns:a16="http://schemas.microsoft.com/office/drawing/2014/main" id="{8756324F-C1DB-D93D-9010-884416B72688}"/>
              </a:ext>
            </a:extLst>
          </p:cNvPr>
          <p:cNvGrpSpPr/>
          <p:nvPr/>
        </p:nvGrpSpPr>
        <p:grpSpPr>
          <a:xfrm>
            <a:off x="791125" y="5207628"/>
            <a:ext cx="304242" cy="311208"/>
            <a:chOff x="791125" y="5207628"/>
            <a:chExt cx="304242" cy="311208"/>
          </a:xfrm>
          <a:noFill/>
        </p:grpSpPr>
        <p:sp>
          <p:nvSpPr>
            <p:cNvPr id="1292" name="Forma livre: Forma 1291">
              <a:extLst>
                <a:ext uri="{FF2B5EF4-FFF2-40B4-BE49-F238E27FC236}">
                  <a16:creationId xmlns:a16="http://schemas.microsoft.com/office/drawing/2014/main" id="{B980697B-416A-0E23-F011-C447BF690B0D}"/>
                </a:ext>
              </a:extLst>
            </p:cNvPr>
            <p:cNvSpPr/>
            <p:nvPr/>
          </p:nvSpPr>
          <p:spPr>
            <a:xfrm>
              <a:off x="828405" y="5312645"/>
              <a:ext cx="97042" cy="41411"/>
            </a:xfrm>
            <a:custGeom>
              <a:avLst/>
              <a:gdLst>
                <a:gd name="connsiteX0" fmla="*/ 0 w 97042"/>
                <a:gd name="connsiteY0" fmla="*/ 41411 h 41411"/>
                <a:gd name="connsiteX1" fmla="*/ 49098 w 97042"/>
                <a:gd name="connsiteY1" fmla="*/ 0 h 41411"/>
                <a:gd name="connsiteX2" fmla="*/ 97042 w 97042"/>
                <a:gd name="connsiteY2" fmla="*/ 0 h 414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7042" h="41411">
                  <a:moveTo>
                    <a:pt x="0" y="41411"/>
                  </a:moveTo>
                  <a:lnTo>
                    <a:pt x="49098" y="0"/>
                  </a:lnTo>
                  <a:lnTo>
                    <a:pt x="97042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93" name="Forma livre: Forma 1292">
              <a:extLst>
                <a:ext uri="{FF2B5EF4-FFF2-40B4-BE49-F238E27FC236}">
                  <a16:creationId xmlns:a16="http://schemas.microsoft.com/office/drawing/2014/main" id="{CE01A48D-1881-A63F-CAAF-573379B7580F}"/>
                </a:ext>
              </a:extLst>
            </p:cNvPr>
            <p:cNvSpPr/>
            <p:nvPr/>
          </p:nvSpPr>
          <p:spPr>
            <a:xfrm>
              <a:off x="828837" y="5312164"/>
              <a:ext cx="266530" cy="167902"/>
            </a:xfrm>
            <a:custGeom>
              <a:avLst/>
              <a:gdLst>
                <a:gd name="connsiteX0" fmla="*/ 193604 w 266530"/>
                <a:gd name="connsiteY0" fmla="*/ 0 h 167902"/>
                <a:gd name="connsiteX1" fmla="*/ 266530 w 266530"/>
                <a:gd name="connsiteY1" fmla="*/ 0 h 167902"/>
                <a:gd name="connsiteX2" fmla="*/ 266530 w 266530"/>
                <a:gd name="connsiteY2" fmla="*/ 167903 h 167902"/>
                <a:gd name="connsiteX3" fmla="*/ 0 w 266530"/>
                <a:gd name="connsiteY3" fmla="*/ 167903 h 1679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66530" h="167902">
                  <a:moveTo>
                    <a:pt x="193604" y="0"/>
                  </a:moveTo>
                  <a:lnTo>
                    <a:pt x="266530" y="0"/>
                  </a:lnTo>
                  <a:lnTo>
                    <a:pt x="266530" y="167903"/>
                  </a:lnTo>
                  <a:lnTo>
                    <a:pt x="0" y="167903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294" name="Gráfico 13">
              <a:extLst>
                <a:ext uri="{FF2B5EF4-FFF2-40B4-BE49-F238E27FC236}">
                  <a16:creationId xmlns:a16="http://schemas.microsoft.com/office/drawing/2014/main" id="{01FC14D0-C375-A0F0-4A8F-DBB8D33485FB}"/>
                </a:ext>
              </a:extLst>
            </p:cNvPr>
            <p:cNvGrpSpPr/>
            <p:nvPr/>
          </p:nvGrpSpPr>
          <p:grpSpPr>
            <a:xfrm>
              <a:off x="954656" y="5207628"/>
              <a:ext cx="38816" cy="111598"/>
              <a:chOff x="954656" y="5207628"/>
              <a:chExt cx="38816" cy="111598"/>
            </a:xfrm>
            <a:noFill/>
          </p:grpSpPr>
          <p:sp>
            <p:nvSpPr>
              <p:cNvPr id="1295" name="Forma livre: Forma 1294">
                <a:extLst>
                  <a:ext uri="{FF2B5EF4-FFF2-40B4-BE49-F238E27FC236}">
                    <a16:creationId xmlns:a16="http://schemas.microsoft.com/office/drawing/2014/main" id="{D590A1CC-5785-0CEC-F3EF-19122247E100}"/>
                  </a:ext>
                </a:extLst>
              </p:cNvPr>
              <p:cNvSpPr/>
              <p:nvPr/>
            </p:nvSpPr>
            <p:spPr>
              <a:xfrm>
                <a:off x="954656" y="5207628"/>
                <a:ext cx="38816" cy="38817"/>
              </a:xfrm>
              <a:custGeom>
                <a:avLst/>
                <a:gdLst>
                  <a:gd name="connsiteX0" fmla="*/ 38817 w 38816"/>
                  <a:gd name="connsiteY0" fmla="*/ 20610 h 38817"/>
                  <a:gd name="connsiteX1" fmla="*/ 19408 w 38816"/>
                  <a:gd name="connsiteY1" fmla="*/ 38817 h 38817"/>
                  <a:gd name="connsiteX2" fmla="*/ 0 w 38816"/>
                  <a:gd name="connsiteY2" fmla="*/ 19409 h 38817"/>
                  <a:gd name="connsiteX3" fmla="*/ 19408 w 38816"/>
                  <a:gd name="connsiteY3" fmla="*/ 0 h 38817"/>
                  <a:gd name="connsiteX4" fmla="*/ 38817 w 38816"/>
                  <a:gd name="connsiteY4" fmla="*/ 20610 h 388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8816" h="38817">
                    <a:moveTo>
                      <a:pt x="38817" y="20610"/>
                    </a:moveTo>
                    <a:cubicBezTo>
                      <a:pt x="38817" y="31323"/>
                      <a:pt x="30122" y="38817"/>
                      <a:pt x="19408" y="38817"/>
                    </a:cubicBezTo>
                    <a:cubicBezTo>
                      <a:pt x="8695" y="38817"/>
                      <a:pt x="0" y="30122"/>
                      <a:pt x="0" y="19409"/>
                    </a:cubicBezTo>
                    <a:cubicBezTo>
                      <a:pt x="0" y="8695"/>
                      <a:pt x="8695" y="0"/>
                      <a:pt x="19408" y="0"/>
                    </a:cubicBezTo>
                    <a:cubicBezTo>
                      <a:pt x="30122" y="0"/>
                      <a:pt x="38817" y="9896"/>
                      <a:pt x="38817" y="20610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96" name="Forma livre: Forma 1295">
                <a:extLst>
                  <a:ext uri="{FF2B5EF4-FFF2-40B4-BE49-F238E27FC236}">
                    <a16:creationId xmlns:a16="http://schemas.microsoft.com/office/drawing/2014/main" id="{E136FD76-A67B-192E-73F2-FE79574416F6}"/>
                  </a:ext>
                </a:extLst>
              </p:cNvPr>
              <p:cNvSpPr/>
              <p:nvPr/>
            </p:nvSpPr>
            <p:spPr>
              <a:xfrm>
                <a:off x="974064" y="5246637"/>
                <a:ext cx="4804" cy="72589"/>
              </a:xfrm>
              <a:custGeom>
                <a:avLst/>
                <a:gdLst>
                  <a:gd name="connsiteX0" fmla="*/ 0 w 4804"/>
                  <a:gd name="connsiteY0" fmla="*/ 0 h 72589"/>
                  <a:gd name="connsiteX1" fmla="*/ 0 w 4804"/>
                  <a:gd name="connsiteY1" fmla="*/ 72590 h 725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804" h="72589">
                    <a:moveTo>
                      <a:pt x="0" y="0"/>
                    </a:moveTo>
                    <a:lnTo>
                      <a:pt x="0" y="7259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297" name="Gráfico 13">
              <a:extLst>
                <a:ext uri="{FF2B5EF4-FFF2-40B4-BE49-F238E27FC236}">
                  <a16:creationId xmlns:a16="http://schemas.microsoft.com/office/drawing/2014/main" id="{6A292F57-2640-7151-EAD8-61F84A0352B7}"/>
                </a:ext>
              </a:extLst>
            </p:cNvPr>
            <p:cNvGrpSpPr/>
            <p:nvPr/>
          </p:nvGrpSpPr>
          <p:grpSpPr>
            <a:xfrm>
              <a:off x="888528" y="5230615"/>
              <a:ext cx="56760" cy="88226"/>
              <a:chOff x="888528" y="5230615"/>
              <a:chExt cx="56760" cy="88226"/>
            </a:xfrm>
            <a:noFill/>
          </p:grpSpPr>
          <p:sp>
            <p:nvSpPr>
              <p:cNvPr id="1298" name="Forma livre: Forma 1297">
                <a:extLst>
                  <a:ext uri="{FF2B5EF4-FFF2-40B4-BE49-F238E27FC236}">
                    <a16:creationId xmlns:a16="http://schemas.microsoft.com/office/drawing/2014/main" id="{01386227-9E01-520F-EB1E-43463C1326CB}"/>
                  </a:ext>
                </a:extLst>
              </p:cNvPr>
              <p:cNvSpPr/>
              <p:nvPr/>
            </p:nvSpPr>
            <p:spPr>
              <a:xfrm>
                <a:off x="888528" y="5230615"/>
                <a:ext cx="38816" cy="38816"/>
              </a:xfrm>
              <a:custGeom>
                <a:avLst/>
                <a:gdLst>
                  <a:gd name="connsiteX0" fmla="*/ 5693 w 38816"/>
                  <a:gd name="connsiteY0" fmla="*/ 33124 h 38816"/>
                  <a:gd name="connsiteX1" fmla="*/ 33124 w 38816"/>
                  <a:gd name="connsiteY1" fmla="*/ 33124 h 38816"/>
                  <a:gd name="connsiteX2" fmla="*/ 33124 w 38816"/>
                  <a:gd name="connsiteY2" fmla="*/ 5693 h 38816"/>
                  <a:gd name="connsiteX3" fmla="*/ 5693 w 38816"/>
                  <a:gd name="connsiteY3" fmla="*/ 5693 h 38816"/>
                  <a:gd name="connsiteX4" fmla="*/ 5693 w 38816"/>
                  <a:gd name="connsiteY4" fmla="*/ 33124 h 388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8816" h="38816">
                    <a:moveTo>
                      <a:pt x="5693" y="33124"/>
                    </a:moveTo>
                    <a:cubicBezTo>
                      <a:pt x="13283" y="40715"/>
                      <a:pt x="25534" y="40715"/>
                      <a:pt x="33124" y="33124"/>
                    </a:cubicBezTo>
                    <a:cubicBezTo>
                      <a:pt x="40715" y="25534"/>
                      <a:pt x="40715" y="13283"/>
                      <a:pt x="33124" y="5693"/>
                    </a:cubicBezTo>
                    <a:cubicBezTo>
                      <a:pt x="25534" y="-1898"/>
                      <a:pt x="13283" y="-1898"/>
                      <a:pt x="5693" y="5693"/>
                    </a:cubicBezTo>
                    <a:cubicBezTo>
                      <a:pt x="-1898" y="13283"/>
                      <a:pt x="-1898" y="25534"/>
                      <a:pt x="5693" y="33124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99" name="Forma livre: Forma 1298">
                <a:extLst>
                  <a:ext uri="{FF2B5EF4-FFF2-40B4-BE49-F238E27FC236}">
                    <a16:creationId xmlns:a16="http://schemas.microsoft.com/office/drawing/2014/main" id="{AFB29404-6572-2ACD-A181-42A3DCF3A420}"/>
                  </a:ext>
                </a:extLst>
              </p:cNvPr>
              <p:cNvSpPr/>
              <p:nvPr/>
            </p:nvSpPr>
            <p:spPr>
              <a:xfrm>
                <a:off x="921700" y="5263787"/>
                <a:ext cx="23588" cy="55054"/>
              </a:xfrm>
              <a:custGeom>
                <a:avLst/>
                <a:gdLst>
                  <a:gd name="connsiteX0" fmla="*/ 0 w 23588"/>
                  <a:gd name="connsiteY0" fmla="*/ 0 h 55054"/>
                  <a:gd name="connsiteX1" fmla="*/ 23588 w 23588"/>
                  <a:gd name="connsiteY1" fmla="*/ 23540 h 55054"/>
                  <a:gd name="connsiteX2" fmla="*/ 23588 w 23588"/>
                  <a:gd name="connsiteY2" fmla="*/ 55055 h 550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3588" h="55054">
                    <a:moveTo>
                      <a:pt x="0" y="0"/>
                    </a:moveTo>
                    <a:lnTo>
                      <a:pt x="23588" y="23540"/>
                    </a:lnTo>
                    <a:lnTo>
                      <a:pt x="23588" y="55055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300" name="Gráfico 13">
              <a:extLst>
                <a:ext uri="{FF2B5EF4-FFF2-40B4-BE49-F238E27FC236}">
                  <a16:creationId xmlns:a16="http://schemas.microsoft.com/office/drawing/2014/main" id="{E20D65DC-751C-50CF-0726-EE38E87C700E}"/>
                </a:ext>
              </a:extLst>
            </p:cNvPr>
            <p:cNvGrpSpPr/>
            <p:nvPr/>
          </p:nvGrpSpPr>
          <p:grpSpPr>
            <a:xfrm>
              <a:off x="1002793" y="5230615"/>
              <a:ext cx="56760" cy="88226"/>
              <a:chOff x="1002793" y="5230615"/>
              <a:chExt cx="56760" cy="88226"/>
            </a:xfrm>
            <a:noFill/>
          </p:grpSpPr>
          <p:sp>
            <p:nvSpPr>
              <p:cNvPr id="1301" name="Forma livre: Forma 1300">
                <a:extLst>
                  <a:ext uri="{FF2B5EF4-FFF2-40B4-BE49-F238E27FC236}">
                    <a16:creationId xmlns:a16="http://schemas.microsoft.com/office/drawing/2014/main" id="{ABCB0DF0-2FDE-180D-6366-5CE7CD35B49F}"/>
                  </a:ext>
                </a:extLst>
              </p:cNvPr>
              <p:cNvSpPr/>
              <p:nvPr/>
            </p:nvSpPr>
            <p:spPr>
              <a:xfrm>
                <a:off x="1020772" y="5230615"/>
                <a:ext cx="38780" cy="38816"/>
              </a:xfrm>
              <a:custGeom>
                <a:avLst/>
                <a:gdLst>
                  <a:gd name="connsiteX0" fmla="*/ 33088 w 38780"/>
                  <a:gd name="connsiteY0" fmla="*/ 33124 h 38816"/>
                  <a:gd name="connsiteX1" fmla="*/ 5657 w 38780"/>
                  <a:gd name="connsiteY1" fmla="*/ 33124 h 38816"/>
                  <a:gd name="connsiteX2" fmla="*/ 5657 w 38780"/>
                  <a:gd name="connsiteY2" fmla="*/ 5693 h 38816"/>
                  <a:gd name="connsiteX3" fmla="*/ 33088 w 38780"/>
                  <a:gd name="connsiteY3" fmla="*/ 5693 h 38816"/>
                  <a:gd name="connsiteX4" fmla="*/ 33088 w 38780"/>
                  <a:gd name="connsiteY4" fmla="*/ 33124 h 388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8780" h="38816">
                    <a:moveTo>
                      <a:pt x="33088" y="33124"/>
                    </a:moveTo>
                    <a:cubicBezTo>
                      <a:pt x="25546" y="40715"/>
                      <a:pt x="13247" y="40715"/>
                      <a:pt x="5657" y="33124"/>
                    </a:cubicBezTo>
                    <a:cubicBezTo>
                      <a:pt x="-1886" y="25534"/>
                      <a:pt x="-1886" y="13283"/>
                      <a:pt x="5657" y="5693"/>
                    </a:cubicBezTo>
                    <a:cubicBezTo>
                      <a:pt x="13247" y="-1898"/>
                      <a:pt x="25546" y="-1898"/>
                      <a:pt x="33088" y="5693"/>
                    </a:cubicBezTo>
                    <a:cubicBezTo>
                      <a:pt x="40679" y="13283"/>
                      <a:pt x="40679" y="25534"/>
                      <a:pt x="33088" y="33124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302" name="Forma livre: Forma 1301">
                <a:extLst>
                  <a:ext uri="{FF2B5EF4-FFF2-40B4-BE49-F238E27FC236}">
                    <a16:creationId xmlns:a16="http://schemas.microsoft.com/office/drawing/2014/main" id="{3445DE66-75EA-1C50-ADEF-E371EF1E78B6}"/>
                  </a:ext>
                </a:extLst>
              </p:cNvPr>
              <p:cNvSpPr/>
              <p:nvPr/>
            </p:nvSpPr>
            <p:spPr>
              <a:xfrm>
                <a:off x="1002793" y="5263787"/>
                <a:ext cx="23588" cy="55054"/>
              </a:xfrm>
              <a:custGeom>
                <a:avLst/>
                <a:gdLst>
                  <a:gd name="connsiteX0" fmla="*/ 23588 w 23588"/>
                  <a:gd name="connsiteY0" fmla="*/ 0 h 55054"/>
                  <a:gd name="connsiteX1" fmla="*/ 0 w 23588"/>
                  <a:gd name="connsiteY1" fmla="*/ 23540 h 55054"/>
                  <a:gd name="connsiteX2" fmla="*/ 0 w 23588"/>
                  <a:gd name="connsiteY2" fmla="*/ 55055 h 550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3588" h="55054">
                    <a:moveTo>
                      <a:pt x="23588" y="0"/>
                    </a:moveTo>
                    <a:lnTo>
                      <a:pt x="0" y="23540"/>
                    </a:lnTo>
                    <a:lnTo>
                      <a:pt x="0" y="55055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303" name="Forma livre: Forma 1302">
              <a:extLst>
                <a:ext uri="{FF2B5EF4-FFF2-40B4-BE49-F238E27FC236}">
                  <a16:creationId xmlns:a16="http://schemas.microsoft.com/office/drawing/2014/main" id="{E3936A54-22D1-E294-04B2-1B6EE81CCC70}"/>
                </a:ext>
              </a:extLst>
            </p:cNvPr>
            <p:cNvSpPr/>
            <p:nvPr/>
          </p:nvSpPr>
          <p:spPr>
            <a:xfrm>
              <a:off x="791125" y="5306640"/>
              <a:ext cx="36366" cy="212196"/>
            </a:xfrm>
            <a:custGeom>
              <a:avLst/>
              <a:gdLst>
                <a:gd name="connsiteX0" fmla="*/ 36367 w 36366"/>
                <a:gd name="connsiteY0" fmla="*/ 212196 h 212196"/>
                <a:gd name="connsiteX1" fmla="*/ 36367 w 36366"/>
                <a:gd name="connsiteY1" fmla="*/ 0 h 212196"/>
                <a:gd name="connsiteX2" fmla="*/ 0 w 36366"/>
                <a:gd name="connsiteY2" fmla="*/ 0 h 2121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6366" h="212196">
                  <a:moveTo>
                    <a:pt x="36367" y="212196"/>
                  </a:moveTo>
                  <a:lnTo>
                    <a:pt x="36367" y="0"/>
                  </a:lnTo>
                  <a:lnTo>
                    <a:pt x="0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304" name="Forma livre: Forma 1303">
              <a:extLst>
                <a:ext uri="{FF2B5EF4-FFF2-40B4-BE49-F238E27FC236}">
                  <a16:creationId xmlns:a16="http://schemas.microsoft.com/office/drawing/2014/main" id="{0F6ABCAA-BD9C-B33F-4039-A87C9E72878E}"/>
                </a:ext>
              </a:extLst>
            </p:cNvPr>
            <p:cNvSpPr/>
            <p:nvPr/>
          </p:nvSpPr>
          <p:spPr>
            <a:xfrm>
              <a:off x="799820" y="5410023"/>
              <a:ext cx="25269" cy="46407"/>
            </a:xfrm>
            <a:custGeom>
              <a:avLst/>
              <a:gdLst>
                <a:gd name="connsiteX0" fmla="*/ 25269 w 25269"/>
                <a:gd name="connsiteY0" fmla="*/ 46407 h 46407"/>
                <a:gd name="connsiteX1" fmla="*/ 0 w 25269"/>
                <a:gd name="connsiteY1" fmla="*/ 46407 h 46407"/>
                <a:gd name="connsiteX2" fmla="*/ 0 w 25269"/>
                <a:gd name="connsiteY2" fmla="*/ 0 h 46407"/>
                <a:gd name="connsiteX3" fmla="*/ 25269 w 25269"/>
                <a:gd name="connsiteY3" fmla="*/ 0 h 464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269" h="46407">
                  <a:moveTo>
                    <a:pt x="25269" y="46407"/>
                  </a:moveTo>
                  <a:lnTo>
                    <a:pt x="0" y="46407"/>
                  </a:lnTo>
                  <a:lnTo>
                    <a:pt x="0" y="0"/>
                  </a:lnTo>
                  <a:lnTo>
                    <a:pt x="25269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305" name="Forma livre: Forma 1304">
              <a:extLst>
                <a:ext uri="{FF2B5EF4-FFF2-40B4-BE49-F238E27FC236}">
                  <a16:creationId xmlns:a16="http://schemas.microsoft.com/office/drawing/2014/main" id="{23917E2C-DD7B-DF75-FEC5-CCC2942D7710}"/>
                </a:ext>
              </a:extLst>
            </p:cNvPr>
            <p:cNvSpPr/>
            <p:nvPr/>
          </p:nvSpPr>
          <p:spPr>
            <a:xfrm>
              <a:off x="875052" y="5480932"/>
              <a:ext cx="105353" cy="25365"/>
            </a:xfrm>
            <a:custGeom>
              <a:avLst/>
              <a:gdLst>
                <a:gd name="connsiteX0" fmla="*/ 105353 w 105353"/>
                <a:gd name="connsiteY0" fmla="*/ 0 h 25365"/>
                <a:gd name="connsiteX1" fmla="*/ 105353 w 105353"/>
                <a:gd name="connsiteY1" fmla="*/ 25366 h 25365"/>
                <a:gd name="connsiteX2" fmla="*/ 0 w 105353"/>
                <a:gd name="connsiteY2" fmla="*/ 25366 h 25365"/>
                <a:gd name="connsiteX3" fmla="*/ 0 w 105353"/>
                <a:gd name="connsiteY3" fmla="*/ 0 h 253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5353" h="25365">
                  <a:moveTo>
                    <a:pt x="105353" y="0"/>
                  </a:moveTo>
                  <a:lnTo>
                    <a:pt x="105353" y="25366"/>
                  </a:lnTo>
                  <a:lnTo>
                    <a:pt x="0" y="25366"/>
                  </a:lnTo>
                  <a:lnTo>
                    <a:pt x="0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306" name="Forma livre: Forma 1305">
              <a:extLst>
                <a:ext uri="{FF2B5EF4-FFF2-40B4-BE49-F238E27FC236}">
                  <a16:creationId xmlns:a16="http://schemas.microsoft.com/office/drawing/2014/main" id="{F53DF3D4-5663-7378-5120-82ED311DCDBA}"/>
                </a:ext>
              </a:extLst>
            </p:cNvPr>
            <p:cNvSpPr/>
            <p:nvPr/>
          </p:nvSpPr>
          <p:spPr>
            <a:xfrm>
              <a:off x="793719" y="5381391"/>
              <a:ext cx="32235" cy="4804"/>
            </a:xfrm>
            <a:custGeom>
              <a:avLst/>
              <a:gdLst>
                <a:gd name="connsiteX0" fmla="*/ 32235 w 32235"/>
                <a:gd name="connsiteY0" fmla="*/ 0 h 4804"/>
                <a:gd name="connsiteX1" fmla="*/ 0 w 32235"/>
                <a:gd name="connsiteY1" fmla="*/ 0 h 48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2235" h="4804">
                  <a:moveTo>
                    <a:pt x="32235" y="0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307" name="Gráfico 13">
              <a:extLst>
                <a:ext uri="{FF2B5EF4-FFF2-40B4-BE49-F238E27FC236}">
                  <a16:creationId xmlns:a16="http://schemas.microsoft.com/office/drawing/2014/main" id="{E3FDE4FD-E698-33CA-E8EB-2A640C6965B8}"/>
                </a:ext>
              </a:extLst>
            </p:cNvPr>
            <p:cNvGrpSpPr/>
            <p:nvPr/>
          </p:nvGrpSpPr>
          <p:grpSpPr>
            <a:xfrm>
              <a:off x="943751" y="5338347"/>
              <a:ext cx="115442" cy="115489"/>
              <a:chOff x="943751" y="5338347"/>
              <a:chExt cx="115442" cy="115489"/>
            </a:xfrm>
            <a:noFill/>
          </p:grpSpPr>
          <p:sp>
            <p:nvSpPr>
              <p:cNvPr id="1308" name="Forma livre: Forma 1307">
                <a:extLst>
                  <a:ext uri="{FF2B5EF4-FFF2-40B4-BE49-F238E27FC236}">
                    <a16:creationId xmlns:a16="http://schemas.microsoft.com/office/drawing/2014/main" id="{5D6F79AB-AABA-1073-8AED-7E5CEFC319E1}"/>
                  </a:ext>
                </a:extLst>
              </p:cNvPr>
              <p:cNvSpPr/>
              <p:nvPr/>
            </p:nvSpPr>
            <p:spPr>
              <a:xfrm>
                <a:off x="943751" y="5338347"/>
                <a:ext cx="115442" cy="115489"/>
              </a:xfrm>
              <a:custGeom>
                <a:avLst/>
                <a:gdLst>
                  <a:gd name="connsiteX0" fmla="*/ 115442 w 115442"/>
                  <a:gd name="connsiteY0" fmla="*/ 57745 h 115489"/>
                  <a:gd name="connsiteX1" fmla="*/ 57745 w 115442"/>
                  <a:gd name="connsiteY1" fmla="*/ 115490 h 115489"/>
                  <a:gd name="connsiteX2" fmla="*/ 0 w 115442"/>
                  <a:gd name="connsiteY2" fmla="*/ 57745 h 115489"/>
                  <a:gd name="connsiteX3" fmla="*/ 57745 w 115442"/>
                  <a:gd name="connsiteY3" fmla="*/ 0 h 115489"/>
                  <a:gd name="connsiteX4" fmla="*/ 115442 w 115442"/>
                  <a:gd name="connsiteY4" fmla="*/ 57745 h 1154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15442" h="115489">
                    <a:moveTo>
                      <a:pt x="115442" y="57745"/>
                    </a:moveTo>
                    <a:cubicBezTo>
                      <a:pt x="115442" y="89644"/>
                      <a:pt x="89596" y="115490"/>
                      <a:pt x="57745" y="115490"/>
                    </a:cubicBezTo>
                    <a:cubicBezTo>
                      <a:pt x="25894" y="115490"/>
                      <a:pt x="0" y="89644"/>
                      <a:pt x="0" y="57745"/>
                    </a:cubicBezTo>
                    <a:cubicBezTo>
                      <a:pt x="0" y="25846"/>
                      <a:pt x="25846" y="0"/>
                      <a:pt x="57745" y="0"/>
                    </a:cubicBezTo>
                    <a:cubicBezTo>
                      <a:pt x="89644" y="0"/>
                      <a:pt x="115442" y="25846"/>
                      <a:pt x="115442" y="57745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309" name="Forma livre: Forma 1308">
                <a:extLst>
                  <a:ext uri="{FF2B5EF4-FFF2-40B4-BE49-F238E27FC236}">
                    <a16:creationId xmlns:a16="http://schemas.microsoft.com/office/drawing/2014/main" id="{C41D89FC-A041-2A88-A476-EDA5581E6B15}"/>
                  </a:ext>
                </a:extLst>
              </p:cNvPr>
              <p:cNvSpPr/>
              <p:nvPr/>
            </p:nvSpPr>
            <p:spPr>
              <a:xfrm>
                <a:off x="982327" y="5377019"/>
                <a:ext cx="38240" cy="38192"/>
              </a:xfrm>
              <a:custGeom>
                <a:avLst/>
                <a:gdLst>
                  <a:gd name="connsiteX0" fmla="*/ 38240 w 38240"/>
                  <a:gd name="connsiteY0" fmla="*/ 19072 h 38192"/>
                  <a:gd name="connsiteX1" fmla="*/ 19120 w 38240"/>
                  <a:gd name="connsiteY1" fmla="*/ 38192 h 38192"/>
                  <a:gd name="connsiteX2" fmla="*/ 0 w 38240"/>
                  <a:gd name="connsiteY2" fmla="*/ 19072 h 38192"/>
                  <a:gd name="connsiteX3" fmla="*/ 19120 w 38240"/>
                  <a:gd name="connsiteY3" fmla="*/ 0 h 38192"/>
                  <a:gd name="connsiteX4" fmla="*/ 38240 w 38240"/>
                  <a:gd name="connsiteY4" fmla="*/ 19072 h 381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8240" h="38192">
                    <a:moveTo>
                      <a:pt x="38240" y="19072"/>
                    </a:moveTo>
                    <a:cubicBezTo>
                      <a:pt x="38240" y="29641"/>
                      <a:pt x="29689" y="38192"/>
                      <a:pt x="19120" y="38192"/>
                    </a:cubicBezTo>
                    <a:cubicBezTo>
                      <a:pt x="8551" y="38192"/>
                      <a:pt x="0" y="29641"/>
                      <a:pt x="0" y="19072"/>
                    </a:cubicBezTo>
                    <a:cubicBezTo>
                      <a:pt x="0" y="8503"/>
                      <a:pt x="8551" y="0"/>
                      <a:pt x="19120" y="0"/>
                    </a:cubicBezTo>
                    <a:cubicBezTo>
                      <a:pt x="29689" y="0"/>
                      <a:pt x="38240" y="8551"/>
                      <a:pt x="38240" y="19072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310" name="Forma livre: Forma 1309">
                <a:extLst>
                  <a:ext uri="{FF2B5EF4-FFF2-40B4-BE49-F238E27FC236}">
                    <a16:creationId xmlns:a16="http://schemas.microsoft.com/office/drawing/2014/main" id="{DB12BE85-7973-D6C7-CAAF-B33F24CB46E2}"/>
                  </a:ext>
                </a:extLst>
              </p:cNvPr>
              <p:cNvSpPr/>
              <p:nvPr/>
            </p:nvSpPr>
            <p:spPr>
              <a:xfrm>
                <a:off x="995202" y="5339115"/>
                <a:ext cx="7112" cy="38384"/>
              </a:xfrm>
              <a:custGeom>
                <a:avLst/>
                <a:gdLst>
                  <a:gd name="connsiteX0" fmla="*/ 1778 w 7112"/>
                  <a:gd name="connsiteY0" fmla="*/ 38385 h 38384"/>
                  <a:gd name="connsiteX1" fmla="*/ 0 w 7112"/>
                  <a:gd name="connsiteY1" fmla="*/ 0 h 383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7112" h="38384">
                    <a:moveTo>
                      <a:pt x="1778" y="38385"/>
                    </a:moveTo>
                    <a:cubicBezTo>
                      <a:pt x="7687" y="29401"/>
                      <a:pt x="10665" y="15373"/>
                      <a:pt x="0" y="0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311" name="Forma livre: Forma 1310">
                <a:extLst>
                  <a:ext uri="{FF2B5EF4-FFF2-40B4-BE49-F238E27FC236}">
                    <a16:creationId xmlns:a16="http://schemas.microsoft.com/office/drawing/2014/main" id="{5CA451A1-57FB-8370-D34F-F171C1583366}"/>
                  </a:ext>
                </a:extLst>
              </p:cNvPr>
              <p:cNvSpPr/>
              <p:nvPr/>
            </p:nvSpPr>
            <p:spPr>
              <a:xfrm>
                <a:off x="944183" y="5395183"/>
                <a:ext cx="38432" cy="6481"/>
              </a:xfrm>
              <a:custGeom>
                <a:avLst/>
                <a:gdLst>
                  <a:gd name="connsiteX0" fmla="*/ 38433 w 38432"/>
                  <a:gd name="connsiteY0" fmla="*/ 5857 h 6481"/>
                  <a:gd name="connsiteX1" fmla="*/ 0 w 38432"/>
                  <a:gd name="connsiteY1" fmla="*/ 6481 h 64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8432" h="6481">
                    <a:moveTo>
                      <a:pt x="38433" y="5857"/>
                    </a:moveTo>
                    <a:cubicBezTo>
                      <a:pt x="29593" y="-293"/>
                      <a:pt x="15709" y="-3703"/>
                      <a:pt x="0" y="6481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312" name="Forma livre: Forma 1311">
                <a:extLst>
                  <a:ext uri="{FF2B5EF4-FFF2-40B4-BE49-F238E27FC236}">
                    <a16:creationId xmlns:a16="http://schemas.microsoft.com/office/drawing/2014/main" id="{3313B3E4-60D8-37CB-8972-7B8F78E03F62}"/>
                  </a:ext>
                </a:extLst>
              </p:cNvPr>
              <p:cNvSpPr/>
              <p:nvPr/>
            </p:nvSpPr>
            <p:spPr>
              <a:xfrm>
                <a:off x="957154" y="5359773"/>
                <a:ext cx="27527" cy="26854"/>
              </a:xfrm>
              <a:custGeom>
                <a:avLst/>
                <a:gdLst>
                  <a:gd name="connsiteX0" fmla="*/ 27527 w 27527"/>
                  <a:gd name="connsiteY0" fmla="*/ 26855 h 26854"/>
                  <a:gd name="connsiteX1" fmla="*/ 0 w 27527"/>
                  <a:gd name="connsiteY1" fmla="*/ 0 h 268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7527" h="26854">
                    <a:moveTo>
                      <a:pt x="27527" y="26855"/>
                    </a:moveTo>
                    <a:cubicBezTo>
                      <a:pt x="25702" y="16238"/>
                      <a:pt x="18304" y="3987"/>
                      <a:pt x="0" y="0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1313" name="Gráfico 13">
                <a:extLst>
                  <a:ext uri="{FF2B5EF4-FFF2-40B4-BE49-F238E27FC236}">
                    <a16:creationId xmlns:a16="http://schemas.microsoft.com/office/drawing/2014/main" id="{0422713D-5587-BF60-69A6-499C2F648A70}"/>
                  </a:ext>
                </a:extLst>
              </p:cNvPr>
              <p:cNvGrpSpPr/>
              <p:nvPr/>
            </p:nvGrpSpPr>
            <p:grpSpPr>
              <a:xfrm>
                <a:off x="1011344" y="5351894"/>
                <a:ext cx="47079" cy="80420"/>
                <a:chOff x="1011344" y="5351894"/>
                <a:chExt cx="47079" cy="80420"/>
              </a:xfrm>
              <a:noFill/>
            </p:grpSpPr>
            <p:sp>
              <p:nvSpPr>
                <p:cNvPr id="1314" name="Forma livre: Forma 1313">
                  <a:extLst>
                    <a:ext uri="{FF2B5EF4-FFF2-40B4-BE49-F238E27FC236}">
                      <a16:creationId xmlns:a16="http://schemas.microsoft.com/office/drawing/2014/main" id="{BF0011BE-F4FD-47A4-6885-D7A22866560E}"/>
                    </a:ext>
                  </a:extLst>
                </p:cNvPr>
                <p:cNvSpPr/>
                <p:nvPr/>
              </p:nvSpPr>
              <p:spPr>
                <a:xfrm>
                  <a:off x="1017637" y="5406180"/>
                  <a:ext cx="28199" cy="26134"/>
                </a:xfrm>
                <a:custGeom>
                  <a:avLst/>
                  <a:gdLst>
                    <a:gd name="connsiteX0" fmla="*/ 0 w 28199"/>
                    <a:gd name="connsiteY0" fmla="*/ 0 h 26134"/>
                    <a:gd name="connsiteX1" fmla="*/ 28200 w 28199"/>
                    <a:gd name="connsiteY1" fmla="*/ 26134 h 2613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8199" h="26134">
                      <a:moveTo>
                        <a:pt x="0" y="0"/>
                      </a:moveTo>
                      <a:cubicBezTo>
                        <a:pt x="2114" y="10569"/>
                        <a:pt x="9800" y="22627"/>
                        <a:pt x="28200" y="26134"/>
                      </a:cubicBez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315" name="Forma livre: Forma 1314">
                  <a:extLst>
                    <a:ext uri="{FF2B5EF4-FFF2-40B4-BE49-F238E27FC236}">
                      <a16:creationId xmlns:a16="http://schemas.microsoft.com/office/drawing/2014/main" id="{A8EB21C4-E57F-BCEB-C1F4-066E38C7C0FC}"/>
                    </a:ext>
                  </a:extLst>
                </p:cNvPr>
                <p:cNvSpPr/>
                <p:nvPr/>
              </p:nvSpPr>
              <p:spPr>
                <a:xfrm>
                  <a:off x="1011344" y="5351894"/>
                  <a:ext cx="26950" cy="27431"/>
                </a:xfrm>
                <a:custGeom>
                  <a:avLst/>
                  <a:gdLst>
                    <a:gd name="connsiteX0" fmla="*/ 0 w 26950"/>
                    <a:gd name="connsiteY0" fmla="*/ 27431 h 27431"/>
                    <a:gd name="connsiteX1" fmla="*/ 26951 w 26950"/>
                    <a:gd name="connsiteY1" fmla="*/ 0 h 2743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6950" h="27431">
                      <a:moveTo>
                        <a:pt x="0" y="27431"/>
                      </a:moveTo>
                      <a:cubicBezTo>
                        <a:pt x="10617" y="25606"/>
                        <a:pt x="22867" y="18304"/>
                        <a:pt x="26951" y="0"/>
                      </a:cubicBez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316" name="Forma livre: Forma 1315">
                  <a:extLst>
                    <a:ext uri="{FF2B5EF4-FFF2-40B4-BE49-F238E27FC236}">
                      <a16:creationId xmlns:a16="http://schemas.microsoft.com/office/drawing/2014/main" id="{B62E0787-4F2C-135E-0CFC-1078878D52B5}"/>
                    </a:ext>
                  </a:extLst>
                </p:cNvPr>
                <p:cNvSpPr/>
                <p:nvPr/>
              </p:nvSpPr>
              <p:spPr>
                <a:xfrm>
                  <a:off x="1019991" y="5390807"/>
                  <a:ext cx="38432" cy="6268"/>
                </a:xfrm>
                <a:custGeom>
                  <a:avLst/>
                  <a:gdLst>
                    <a:gd name="connsiteX0" fmla="*/ 0 w 38432"/>
                    <a:gd name="connsiteY0" fmla="*/ 192 h 6268"/>
                    <a:gd name="connsiteX1" fmla="*/ 38433 w 38432"/>
                    <a:gd name="connsiteY1" fmla="*/ 0 h 626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38432" h="6268">
                      <a:moveTo>
                        <a:pt x="0" y="192"/>
                      </a:moveTo>
                      <a:cubicBezTo>
                        <a:pt x="8743" y="6437"/>
                        <a:pt x="22579" y="10041"/>
                        <a:pt x="38433" y="0"/>
                      </a:cubicBez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1317" name="Gráfico 13">
                <a:extLst>
                  <a:ext uri="{FF2B5EF4-FFF2-40B4-BE49-F238E27FC236}">
                    <a16:creationId xmlns:a16="http://schemas.microsoft.com/office/drawing/2014/main" id="{C05C1C78-39A5-0CCE-4815-09D04BF9C04A}"/>
                  </a:ext>
                </a:extLst>
              </p:cNvPr>
              <p:cNvGrpSpPr/>
              <p:nvPr/>
            </p:nvGrpSpPr>
            <p:grpSpPr>
              <a:xfrm>
                <a:off x="966138" y="5412906"/>
                <a:ext cx="41651" cy="40546"/>
                <a:chOff x="966138" y="5412906"/>
                <a:chExt cx="41651" cy="40546"/>
              </a:xfrm>
              <a:noFill/>
            </p:grpSpPr>
            <p:sp>
              <p:nvSpPr>
                <p:cNvPr id="1318" name="Forma livre: Forma 1317">
                  <a:extLst>
                    <a:ext uri="{FF2B5EF4-FFF2-40B4-BE49-F238E27FC236}">
                      <a16:creationId xmlns:a16="http://schemas.microsoft.com/office/drawing/2014/main" id="{3C286CD0-CED5-5FF9-E7EF-440F55B15DE0}"/>
                    </a:ext>
                  </a:extLst>
                </p:cNvPr>
                <p:cNvSpPr/>
                <p:nvPr/>
              </p:nvSpPr>
              <p:spPr>
                <a:xfrm>
                  <a:off x="966138" y="5412906"/>
                  <a:ext cx="25605" cy="28680"/>
                </a:xfrm>
                <a:custGeom>
                  <a:avLst/>
                  <a:gdLst>
                    <a:gd name="connsiteX0" fmla="*/ 25606 w 25605"/>
                    <a:gd name="connsiteY0" fmla="*/ 0 h 28680"/>
                    <a:gd name="connsiteX1" fmla="*/ 0 w 25605"/>
                    <a:gd name="connsiteY1" fmla="*/ 28680 h 286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5605" h="28680">
                      <a:moveTo>
                        <a:pt x="25606" y="0"/>
                      </a:moveTo>
                      <a:cubicBezTo>
                        <a:pt x="15085" y="2306"/>
                        <a:pt x="3171" y="10185"/>
                        <a:pt x="0" y="28680"/>
                      </a:cubicBez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319" name="Forma livre: Forma 1318">
                  <a:extLst>
                    <a:ext uri="{FF2B5EF4-FFF2-40B4-BE49-F238E27FC236}">
                      <a16:creationId xmlns:a16="http://schemas.microsoft.com/office/drawing/2014/main" id="{645994B6-A67C-D306-9DFE-835E3C076A84}"/>
                    </a:ext>
                  </a:extLst>
                </p:cNvPr>
                <p:cNvSpPr/>
                <p:nvPr/>
              </p:nvSpPr>
              <p:spPr>
                <a:xfrm>
                  <a:off x="1001180" y="5415020"/>
                  <a:ext cx="6609" cy="38432"/>
                </a:xfrm>
                <a:custGeom>
                  <a:avLst/>
                  <a:gdLst>
                    <a:gd name="connsiteX0" fmla="*/ 5745 w 6609"/>
                    <a:gd name="connsiteY0" fmla="*/ 0 h 38432"/>
                    <a:gd name="connsiteX1" fmla="*/ 6609 w 6609"/>
                    <a:gd name="connsiteY1" fmla="*/ 38433 h 3843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6609" h="38432">
                      <a:moveTo>
                        <a:pt x="5745" y="0"/>
                      </a:moveTo>
                      <a:cubicBezTo>
                        <a:pt x="-357" y="8839"/>
                        <a:pt x="-3671" y="22771"/>
                        <a:pt x="6609" y="38433"/>
                      </a:cubicBez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</p:grpSp>
      <p:grpSp>
        <p:nvGrpSpPr>
          <p:cNvPr id="1320" name="Gráfico 13">
            <a:extLst>
              <a:ext uri="{FF2B5EF4-FFF2-40B4-BE49-F238E27FC236}">
                <a16:creationId xmlns:a16="http://schemas.microsoft.com/office/drawing/2014/main" id="{4594806C-AC8E-6BC4-701F-E36FF546CD85}"/>
              </a:ext>
            </a:extLst>
          </p:cNvPr>
          <p:cNvGrpSpPr/>
          <p:nvPr/>
        </p:nvGrpSpPr>
        <p:grpSpPr>
          <a:xfrm>
            <a:off x="2108932" y="5213056"/>
            <a:ext cx="166461" cy="300399"/>
            <a:chOff x="2108932" y="5213056"/>
            <a:chExt cx="166461" cy="300399"/>
          </a:xfrm>
          <a:noFill/>
        </p:grpSpPr>
        <p:grpSp>
          <p:nvGrpSpPr>
            <p:cNvPr id="1321" name="Gráfico 13">
              <a:extLst>
                <a:ext uri="{FF2B5EF4-FFF2-40B4-BE49-F238E27FC236}">
                  <a16:creationId xmlns:a16="http://schemas.microsoft.com/office/drawing/2014/main" id="{22CBB77F-7A5A-D421-4C39-74522AA3AE47}"/>
                </a:ext>
              </a:extLst>
            </p:cNvPr>
            <p:cNvGrpSpPr/>
            <p:nvPr/>
          </p:nvGrpSpPr>
          <p:grpSpPr>
            <a:xfrm>
              <a:off x="2154282" y="5270609"/>
              <a:ext cx="75808" cy="124761"/>
              <a:chOff x="2154282" y="5270609"/>
              <a:chExt cx="75808" cy="124761"/>
            </a:xfrm>
            <a:noFill/>
          </p:grpSpPr>
          <p:grpSp>
            <p:nvGrpSpPr>
              <p:cNvPr id="1322" name="Gráfico 13">
                <a:extLst>
                  <a:ext uri="{FF2B5EF4-FFF2-40B4-BE49-F238E27FC236}">
                    <a16:creationId xmlns:a16="http://schemas.microsoft.com/office/drawing/2014/main" id="{BAEC3CCD-4EE3-2E43-71BC-85919AB8CAB4}"/>
                  </a:ext>
                </a:extLst>
              </p:cNvPr>
              <p:cNvGrpSpPr/>
              <p:nvPr/>
            </p:nvGrpSpPr>
            <p:grpSpPr>
              <a:xfrm>
                <a:off x="2154282" y="5289489"/>
                <a:ext cx="75808" cy="87001"/>
                <a:chOff x="2154282" y="5289489"/>
                <a:chExt cx="75808" cy="87001"/>
              </a:xfrm>
              <a:noFill/>
            </p:grpSpPr>
            <p:sp>
              <p:nvSpPr>
                <p:cNvPr id="1323" name="Forma livre: Forma 1322">
                  <a:extLst>
                    <a:ext uri="{FF2B5EF4-FFF2-40B4-BE49-F238E27FC236}">
                      <a16:creationId xmlns:a16="http://schemas.microsoft.com/office/drawing/2014/main" id="{CAD56B60-7D56-01BB-A521-39A77E0BB8D3}"/>
                    </a:ext>
                  </a:extLst>
                </p:cNvPr>
                <p:cNvSpPr/>
                <p:nvPr/>
              </p:nvSpPr>
              <p:spPr>
                <a:xfrm>
                  <a:off x="2154282" y="5289489"/>
                  <a:ext cx="75808" cy="43477"/>
                </a:xfrm>
                <a:custGeom>
                  <a:avLst/>
                  <a:gdLst>
                    <a:gd name="connsiteX0" fmla="*/ 0 w 75808"/>
                    <a:gd name="connsiteY0" fmla="*/ 0 h 43477"/>
                    <a:gd name="connsiteX1" fmla="*/ 53518 w 75808"/>
                    <a:gd name="connsiteY1" fmla="*/ 0 h 43477"/>
                    <a:gd name="connsiteX2" fmla="*/ 75809 w 75808"/>
                    <a:gd name="connsiteY2" fmla="*/ 21762 h 43477"/>
                    <a:gd name="connsiteX3" fmla="*/ 53518 w 75808"/>
                    <a:gd name="connsiteY3" fmla="*/ 43477 h 43477"/>
                    <a:gd name="connsiteX4" fmla="*/ 19409 w 75808"/>
                    <a:gd name="connsiteY4" fmla="*/ 43477 h 4347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75808" h="43477">
                      <a:moveTo>
                        <a:pt x="0" y="0"/>
                      </a:moveTo>
                      <a:lnTo>
                        <a:pt x="53518" y="0"/>
                      </a:lnTo>
                      <a:cubicBezTo>
                        <a:pt x="65768" y="0"/>
                        <a:pt x="75809" y="9800"/>
                        <a:pt x="75809" y="21762"/>
                      </a:cubicBezTo>
                      <a:cubicBezTo>
                        <a:pt x="75809" y="33725"/>
                        <a:pt x="65768" y="43477"/>
                        <a:pt x="53518" y="43477"/>
                      </a:cubicBezTo>
                      <a:lnTo>
                        <a:pt x="19409" y="43477"/>
                      </a:ln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324" name="Forma livre: Forma 1323">
                  <a:extLst>
                    <a:ext uri="{FF2B5EF4-FFF2-40B4-BE49-F238E27FC236}">
                      <a16:creationId xmlns:a16="http://schemas.microsoft.com/office/drawing/2014/main" id="{21157CF6-0B25-38FE-0E7D-BF9768EF86D6}"/>
                    </a:ext>
                  </a:extLst>
                </p:cNvPr>
                <p:cNvSpPr/>
                <p:nvPr/>
              </p:nvSpPr>
              <p:spPr>
                <a:xfrm>
                  <a:off x="2154282" y="5332966"/>
                  <a:ext cx="75808" cy="43524"/>
                </a:xfrm>
                <a:custGeom>
                  <a:avLst/>
                  <a:gdLst>
                    <a:gd name="connsiteX0" fmla="*/ 53518 w 75808"/>
                    <a:gd name="connsiteY0" fmla="*/ 0 h 43524"/>
                    <a:gd name="connsiteX1" fmla="*/ 75809 w 75808"/>
                    <a:gd name="connsiteY1" fmla="*/ 21762 h 43524"/>
                    <a:gd name="connsiteX2" fmla="*/ 53518 w 75808"/>
                    <a:gd name="connsiteY2" fmla="*/ 43525 h 43524"/>
                    <a:gd name="connsiteX3" fmla="*/ 0 w 75808"/>
                    <a:gd name="connsiteY3" fmla="*/ 43525 h 4352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75808" h="43524">
                      <a:moveTo>
                        <a:pt x="53518" y="0"/>
                      </a:moveTo>
                      <a:cubicBezTo>
                        <a:pt x="65768" y="0"/>
                        <a:pt x="75809" y="9800"/>
                        <a:pt x="75809" y="21762"/>
                      </a:cubicBezTo>
                      <a:cubicBezTo>
                        <a:pt x="75809" y="33725"/>
                        <a:pt x="65768" y="43525"/>
                        <a:pt x="53518" y="43525"/>
                      </a:cubicBezTo>
                      <a:lnTo>
                        <a:pt x="0" y="43525"/>
                      </a:ln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1325" name="Forma livre: Forma 1324">
                <a:extLst>
                  <a:ext uri="{FF2B5EF4-FFF2-40B4-BE49-F238E27FC236}">
                    <a16:creationId xmlns:a16="http://schemas.microsoft.com/office/drawing/2014/main" id="{A28683BA-029A-2F3D-5E92-82E8E266623C}"/>
                  </a:ext>
                </a:extLst>
              </p:cNvPr>
              <p:cNvSpPr/>
              <p:nvPr/>
            </p:nvSpPr>
            <p:spPr>
              <a:xfrm>
                <a:off x="2172778" y="5270609"/>
                <a:ext cx="4804" cy="124761"/>
              </a:xfrm>
              <a:custGeom>
                <a:avLst/>
                <a:gdLst>
                  <a:gd name="connsiteX0" fmla="*/ 0 w 4804"/>
                  <a:gd name="connsiteY0" fmla="*/ 0 h 124761"/>
                  <a:gd name="connsiteX1" fmla="*/ 0 w 4804"/>
                  <a:gd name="connsiteY1" fmla="*/ 124762 h 1247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804" h="124761">
                    <a:moveTo>
                      <a:pt x="0" y="0"/>
                    </a:moveTo>
                    <a:lnTo>
                      <a:pt x="0" y="124762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1326" name="Gráfico 13">
                <a:extLst>
                  <a:ext uri="{FF2B5EF4-FFF2-40B4-BE49-F238E27FC236}">
                    <a16:creationId xmlns:a16="http://schemas.microsoft.com/office/drawing/2014/main" id="{2C1400D0-CE57-06BD-52C7-0D7E68BFC96E}"/>
                  </a:ext>
                </a:extLst>
              </p:cNvPr>
              <p:cNvGrpSpPr/>
              <p:nvPr/>
            </p:nvGrpSpPr>
            <p:grpSpPr>
              <a:xfrm>
                <a:off x="2202275" y="5270609"/>
                <a:ext cx="4804" cy="124761"/>
                <a:chOff x="2202275" y="5270609"/>
                <a:chExt cx="4804" cy="124761"/>
              </a:xfrm>
            </p:grpSpPr>
            <p:sp>
              <p:nvSpPr>
                <p:cNvPr id="1327" name="Forma livre: Forma 1326">
                  <a:extLst>
                    <a:ext uri="{FF2B5EF4-FFF2-40B4-BE49-F238E27FC236}">
                      <a16:creationId xmlns:a16="http://schemas.microsoft.com/office/drawing/2014/main" id="{7BA2DC28-6109-0811-08B1-B2EBF1DE6D21}"/>
                    </a:ext>
                  </a:extLst>
                </p:cNvPr>
                <p:cNvSpPr/>
                <p:nvPr/>
              </p:nvSpPr>
              <p:spPr>
                <a:xfrm>
                  <a:off x="2202275" y="5270609"/>
                  <a:ext cx="4804" cy="18495"/>
                </a:xfrm>
                <a:custGeom>
                  <a:avLst/>
                  <a:gdLst>
                    <a:gd name="connsiteX0" fmla="*/ 0 w 4804"/>
                    <a:gd name="connsiteY0" fmla="*/ 0 h 18495"/>
                    <a:gd name="connsiteX1" fmla="*/ 0 w 4804"/>
                    <a:gd name="connsiteY1" fmla="*/ 18496 h 1849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804" h="18495">
                      <a:moveTo>
                        <a:pt x="0" y="0"/>
                      </a:moveTo>
                      <a:lnTo>
                        <a:pt x="0" y="18496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328" name="Forma livre: Forma 1327">
                  <a:extLst>
                    <a:ext uri="{FF2B5EF4-FFF2-40B4-BE49-F238E27FC236}">
                      <a16:creationId xmlns:a16="http://schemas.microsoft.com/office/drawing/2014/main" id="{FD58D1EE-A018-D9DC-1EBC-21F329C8ED1F}"/>
                    </a:ext>
                  </a:extLst>
                </p:cNvPr>
                <p:cNvSpPr/>
                <p:nvPr/>
              </p:nvSpPr>
              <p:spPr>
                <a:xfrm>
                  <a:off x="2202275" y="5376827"/>
                  <a:ext cx="4804" cy="18543"/>
                </a:xfrm>
                <a:custGeom>
                  <a:avLst/>
                  <a:gdLst>
                    <a:gd name="connsiteX0" fmla="*/ 0 w 4804"/>
                    <a:gd name="connsiteY0" fmla="*/ 0 h 18543"/>
                    <a:gd name="connsiteX1" fmla="*/ 0 w 4804"/>
                    <a:gd name="connsiteY1" fmla="*/ 18544 h 1854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804" h="18543">
                      <a:moveTo>
                        <a:pt x="0" y="0"/>
                      </a:moveTo>
                      <a:lnTo>
                        <a:pt x="0" y="18544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grpSp>
          <p:nvGrpSpPr>
            <p:cNvPr id="1329" name="Gráfico 13">
              <a:extLst>
                <a:ext uri="{FF2B5EF4-FFF2-40B4-BE49-F238E27FC236}">
                  <a16:creationId xmlns:a16="http://schemas.microsoft.com/office/drawing/2014/main" id="{3AC7391B-E214-03C8-30B4-1D2BD39221B3}"/>
                </a:ext>
              </a:extLst>
            </p:cNvPr>
            <p:cNvGrpSpPr/>
            <p:nvPr/>
          </p:nvGrpSpPr>
          <p:grpSpPr>
            <a:xfrm>
              <a:off x="2108932" y="5213056"/>
              <a:ext cx="166461" cy="300399"/>
              <a:chOff x="2108932" y="5213056"/>
              <a:chExt cx="166461" cy="300399"/>
            </a:xfrm>
            <a:noFill/>
          </p:grpSpPr>
          <p:grpSp>
            <p:nvGrpSpPr>
              <p:cNvPr id="1330" name="Gráfico 13">
                <a:extLst>
                  <a:ext uri="{FF2B5EF4-FFF2-40B4-BE49-F238E27FC236}">
                    <a16:creationId xmlns:a16="http://schemas.microsoft.com/office/drawing/2014/main" id="{556F47B4-3FF0-1B18-3065-0EBDE991E555}"/>
                  </a:ext>
                </a:extLst>
              </p:cNvPr>
              <p:cNvGrpSpPr/>
              <p:nvPr/>
            </p:nvGrpSpPr>
            <p:grpSpPr>
              <a:xfrm>
                <a:off x="2108932" y="5213056"/>
                <a:ext cx="166413" cy="300399"/>
                <a:chOff x="2108932" y="5213056"/>
                <a:chExt cx="166413" cy="300399"/>
              </a:xfrm>
              <a:noFill/>
            </p:grpSpPr>
            <p:sp>
              <p:nvSpPr>
                <p:cNvPr id="1331" name="Forma livre: Forma 1330">
                  <a:extLst>
                    <a:ext uri="{FF2B5EF4-FFF2-40B4-BE49-F238E27FC236}">
                      <a16:creationId xmlns:a16="http://schemas.microsoft.com/office/drawing/2014/main" id="{E53F860F-B6CA-CFA1-9033-846C482E9327}"/>
                    </a:ext>
                  </a:extLst>
                </p:cNvPr>
                <p:cNvSpPr/>
                <p:nvPr/>
              </p:nvSpPr>
              <p:spPr>
                <a:xfrm>
                  <a:off x="2109028" y="5213056"/>
                  <a:ext cx="166317" cy="300399"/>
                </a:xfrm>
                <a:custGeom>
                  <a:avLst/>
                  <a:gdLst>
                    <a:gd name="connsiteX0" fmla="*/ 166317 w 166317"/>
                    <a:gd name="connsiteY0" fmla="*/ 286804 h 300399"/>
                    <a:gd name="connsiteX1" fmla="*/ 152722 w 166317"/>
                    <a:gd name="connsiteY1" fmla="*/ 300399 h 300399"/>
                    <a:gd name="connsiteX2" fmla="*/ 13595 w 166317"/>
                    <a:gd name="connsiteY2" fmla="*/ 300399 h 300399"/>
                    <a:gd name="connsiteX3" fmla="*/ 0 w 166317"/>
                    <a:gd name="connsiteY3" fmla="*/ 286804 h 300399"/>
                    <a:gd name="connsiteX4" fmla="*/ 0 w 166317"/>
                    <a:gd name="connsiteY4" fmla="*/ 13596 h 300399"/>
                    <a:gd name="connsiteX5" fmla="*/ 13595 w 166317"/>
                    <a:gd name="connsiteY5" fmla="*/ 0 h 300399"/>
                    <a:gd name="connsiteX6" fmla="*/ 152722 w 166317"/>
                    <a:gd name="connsiteY6" fmla="*/ 0 h 300399"/>
                    <a:gd name="connsiteX7" fmla="*/ 166317 w 166317"/>
                    <a:gd name="connsiteY7" fmla="*/ 13596 h 300399"/>
                    <a:gd name="connsiteX8" fmla="*/ 166317 w 166317"/>
                    <a:gd name="connsiteY8" fmla="*/ 286804 h 30039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166317" h="300399">
                      <a:moveTo>
                        <a:pt x="166317" y="286804"/>
                      </a:moveTo>
                      <a:cubicBezTo>
                        <a:pt x="166317" y="294298"/>
                        <a:pt x="160168" y="300399"/>
                        <a:pt x="152722" y="300399"/>
                      </a:cubicBezTo>
                      <a:lnTo>
                        <a:pt x="13595" y="300399"/>
                      </a:lnTo>
                      <a:cubicBezTo>
                        <a:pt x="6101" y="300399"/>
                        <a:pt x="0" y="294298"/>
                        <a:pt x="0" y="286804"/>
                      </a:cubicBezTo>
                      <a:lnTo>
                        <a:pt x="0" y="13596"/>
                      </a:lnTo>
                      <a:cubicBezTo>
                        <a:pt x="0" y="6101"/>
                        <a:pt x="6101" y="0"/>
                        <a:pt x="13595" y="0"/>
                      </a:cubicBezTo>
                      <a:lnTo>
                        <a:pt x="152722" y="0"/>
                      </a:lnTo>
                      <a:cubicBezTo>
                        <a:pt x="160216" y="0"/>
                        <a:pt x="166317" y="6101"/>
                        <a:pt x="166317" y="13596"/>
                      </a:cubicBezTo>
                      <a:lnTo>
                        <a:pt x="166317" y="286804"/>
                      </a:lnTo>
                      <a:close/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332" name="Forma livre: Forma 1331">
                  <a:extLst>
                    <a:ext uri="{FF2B5EF4-FFF2-40B4-BE49-F238E27FC236}">
                      <a16:creationId xmlns:a16="http://schemas.microsoft.com/office/drawing/2014/main" id="{E1D44FF5-4285-D318-55B0-E6463BC99187}"/>
                    </a:ext>
                  </a:extLst>
                </p:cNvPr>
                <p:cNvSpPr/>
                <p:nvPr/>
              </p:nvSpPr>
              <p:spPr>
                <a:xfrm>
                  <a:off x="2108932" y="5454509"/>
                  <a:ext cx="166413" cy="4804"/>
                </a:xfrm>
                <a:custGeom>
                  <a:avLst/>
                  <a:gdLst>
                    <a:gd name="connsiteX0" fmla="*/ 0 w 166413"/>
                    <a:gd name="connsiteY0" fmla="*/ 0 h 4804"/>
                    <a:gd name="connsiteX1" fmla="*/ 166413 w 166413"/>
                    <a:gd name="connsiteY1" fmla="*/ 0 h 480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66413" h="4804">
                      <a:moveTo>
                        <a:pt x="0" y="0"/>
                      </a:moveTo>
                      <a:lnTo>
                        <a:pt x="166413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333" name="Forma livre: Forma 1332">
                  <a:extLst>
                    <a:ext uri="{FF2B5EF4-FFF2-40B4-BE49-F238E27FC236}">
                      <a16:creationId xmlns:a16="http://schemas.microsoft.com/office/drawing/2014/main" id="{1EE5C4E8-8863-D6DA-2D2C-F7D069510DB9}"/>
                    </a:ext>
                  </a:extLst>
                </p:cNvPr>
                <p:cNvSpPr/>
                <p:nvPr/>
              </p:nvSpPr>
              <p:spPr>
                <a:xfrm>
                  <a:off x="2180849" y="5483334"/>
                  <a:ext cx="22627" cy="4804"/>
                </a:xfrm>
                <a:custGeom>
                  <a:avLst/>
                  <a:gdLst>
                    <a:gd name="connsiteX0" fmla="*/ 0 w 22627"/>
                    <a:gd name="connsiteY0" fmla="*/ 0 h 4804"/>
                    <a:gd name="connsiteX1" fmla="*/ 22627 w 22627"/>
                    <a:gd name="connsiteY1" fmla="*/ 0 h 480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2627" h="4804">
                      <a:moveTo>
                        <a:pt x="0" y="0"/>
                      </a:moveTo>
                      <a:lnTo>
                        <a:pt x="22627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1334" name="Forma livre: Forma 1333">
                <a:extLst>
                  <a:ext uri="{FF2B5EF4-FFF2-40B4-BE49-F238E27FC236}">
                    <a16:creationId xmlns:a16="http://schemas.microsoft.com/office/drawing/2014/main" id="{4E48C3C8-06B1-BC8A-DF10-73FD5A85FE80}"/>
                  </a:ext>
                </a:extLst>
              </p:cNvPr>
              <p:cNvSpPr/>
              <p:nvPr/>
            </p:nvSpPr>
            <p:spPr>
              <a:xfrm>
                <a:off x="2108980" y="5454509"/>
                <a:ext cx="166413" cy="4804"/>
              </a:xfrm>
              <a:custGeom>
                <a:avLst/>
                <a:gdLst>
                  <a:gd name="connsiteX0" fmla="*/ 0 w 166413"/>
                  <a:gd name="connsiteY0" fmla="*/ 0 h 4804"/>
                  <a:gd name="connsiteX1" fmla="*/ 166413 w 166413"/>
                  <a:gd name="connsiteY1" fmla="*/ 0 h 48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66413" h="4804">
                    <a:moveTo>
                      <a:pt x="0" y="0"/>
                    </a:moveTo>
                    <a:lnTo>
                      <a:pt x="166413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335" name="Gráfico 13">
            <a:extLst>
              <a:ext uri="{FF2B5EF4-FFF2-40B4-BE49-F238E27FC236}">
                <a16:creationId xmlns:a16="http://schemas.microsoft.com/office/drawing/2014/main" id="{35D05786-3833-34C1-CB39-FEFE6F23739E}"/>
              </a:ext>
            </a:extLst>
          </p:cNvPr>
          <p:cNvGrpSpPr/>
          <p:nvPr/>
        </p:nvGrpSpPr>
        <p:grpSpPr>
          <a:xfrm>
            <a:off x="1409794" y="5231072"/>
            <a:ext cx="315868" cy="264320"/>
            <a:chOff x="1409794" y="5231072"/>
            <a:chExt cx="315868" cy="264320"/>
          </a:xfrm>
        </p:grpSpPr>
        <p:sp>
          <p:nvSpPr>
            <p:cNvPr id="1336" name="Forma livre: Forma 1335">
              <a:extLst>
                <a:ext uri="{FF2B5EF4-FFF2-40B4-BE49-F238E27FC236}">
                  <a16:creationId xmlns:a16="http://schemas.microsoft.com/office/drawing/2014/main" id="{D6B84555-AC7B-4A40-56D2-C89ED9634106}"/>
                </a:ext>
              </a:extLst>
            </p:cNvPr>
            <p:cNvSpPr/>
            <p:nvPr/>
          </p:nvSpPr>
          <p:spPr>
            <a:xfrm>
              <a:off x="1526389" y="5362463"/>
              <a:ext cx="199273" cy="132928"/>
            </a:xfrm>
            <a:custGeom>
              <a:avLst/>
              <a:gdLst>
                <a:gd name="connsiteX0" fmla="*/ 37616 w 199273"/>
                <a:gd name="connsiteY0" fmla="*/ 132929 h 132928"/>
                <a:gd name="connsiteX1" fmla="*/ 0 w 199273"/>
                <a:gd name="connsiteY1" fmla="*/ 95313 h 132928"/>
                <a:gd name="connsiteX2" fmla="*/ 37616 w 199273"/>
                <a:gd name="connsiteY2" fmla="*/ 57697 h 132928"/>
                <a:gd name="connsiteX3" fmla="*/ 38433 w 199273"/>
                <a:gd name="connsiteY3" fmla="*/ 57697 h 132928"/>
                <a:gd name="connsiteX4" fmla="*/ 38433 w 199273"/>
                <a:gd name="connsiteY4" fmla="*/ 48569 h 132928"/>
                <a:gd name="connsiteX5" fmla="*/ 88011 w 199273"/>
                <a:gd name="connsiteY5" fmla="*/ 0 h 132928"/>
                <a:gd name="connsiteX6" fmla="*/ 137541 w 199273"/>
                <a:gd name="connsiteY6" fmla="*/ 46840 h 132928"/>
                <a:gd name="connsiteX7" fmla="*/ 158727 w 199273"/>
                <a:gd name="connsiteY7" fmla="*/ 46840 h 132928"/>
                <a:gd name="connsiteX8" fmla="*/ 199273 w 199273"/>
                <a:gd name="connsiteY8" fmla="*/ 87338 h 132928"/>
                <a:gd name="connsiteX9" fmla="*/ 199273 w 199273"/>
                <a:gd name="connsiteY9" fmla="*/ 92383 h 132928"/>
                <a:gd name="connsiteX10" fmla="*/ 158727 w 199273"/>
                <a:gd name="connsiteY10" fmla="*/ 132929 h 132928"/>
                <a:gd name="connsiteX11" fmla="*/ 37616 w 199273"/>
                <a:gd name="connsiteY11" fmla="*/ 132929 h 1329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99273" h="132928">
                  <a:moveTo>
                    <a:pt x="37616" y="132929"/>
                  </a:moveTo>
                  <a:cubicBezTo>
                    <a:pt x="16910" y="132929"/>
                    <a:pt x="0" y="116018"/>
                    <a:pt x="0" y="95313"/>
                  </a:cubicBezTo>
                  <a:cubicBezTo>
                    <a:pt x="0" y="74607"/>
                    <a:pt x="16958" y="57697"/>
                    <a:pt x="37616" y="57697"/>
                  </a:cubicBezTo>
                  <a:lnTo>
                    <a:pt x="38433" y="57697"/>
                  </a:lnTo>
                  <a:lnTo>
                    <a:pt x="38433" y="48569"/>
                  </a:lnTo>
                  <a:cubicBezTo>
                    <a:pt x="38433" y="21859"/>
                    <a:pt x="60724" y="0"/>
                    <a:pt x="88011" y="0"/>
                  </a:cubicBezTo>
                  <a:cubicBezTo>
                    <a:pt x="115298" y="0"/>
                    <a:pt x="136628" y="20898"/>
                    <a:pt x="137541" y="46840"/>
                  </a:cubicBezTo>
                  <a:lnTo>
                    <a:pt x="158727" y="46840"/>
                  </a:lnTo>
                  <a:cubicBezTo>
                    <a:pt x="181018" y="46840"/>
                    <a:pt x="199273" y="65047"/>
                    <a:pt x="199273" y="87338"/>
                  </a:cubicBezTo>
                  <a:lnTo>
                    <a:pt x="199273" y="92383"/>
                  </a:lnTo>
                  <a:cubicBezTo>
                    <a:pt x="199273" y="114673"/>
                    <a:pt x="181018" y="132929"/>
                    <a:pt x="158727" y="132929"/>
                  </a:cubicBezTo>
                  <a:lnTo>
                    <a:pt x="37616" y="132929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337" name="Forma livre: Forma 1336">
              <a:extLst>
                <a:ext uri="{FF2B5EF4-FFF2-40B4-BE49-F238E27FC236}">
                  <a16:creationId xmlns:a16="http://schemas.microsoft.com/office/drawing/2014/main" id="{1888A1A5-9995-97F0-6905-2E585728AE63}"/>
                </a:ext>
              </a:extLst>
            </p:cNvPr>
            <p:cNvSpPr/>
            <p:nvPr/>
          </p:nvSpPr>
          <p:spPr>
            <a:xfrm>
              <a:off x="1446353" y="5265709"/>
              <a:ext cx="7206" cy="7206"/>
            </a:xfrm>
            <a:custGeom>
              <a:avLst/>
              <a:gdLst>
                <a:gd name="connsiteX0" fmla="*/ 7206 w 7206"/>
                <a:gd name="connsiteY0" fmla="*/ 3603 h 7206"/>
                <a:gd name="connsiteX1" fmla="*/ 3603 w 7206"/>
                <a:gd name="connsiteY1" fmla="*/ 7206 h 7206"/>
                <a:gd name="connsiteX2" fmla="*/ 0 w 7206"/>
                <a:gd name="connsiteY2" fmla="*/ 3603 h 7206"/>
                <a:gd name="connsiteX3" fmla="*/ 3603 w 7206"/>
                <a:gd name="connsiteY3" fmla="*/ 0 h 7206"/>
                <a:gd name="connsiteX4" fmla="*/ 7206 w 7206"/>
                <a:gd name="connsiteY4" fmla="*/ 3603 h 72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206" h="7206">
                  <a:moveTo>
                    <a:pt x="7206" y="3603"/>
                  </a:moveTo>
                  <a:cubicBezTo>
                    <a:pt x="7206" y="5593"/>
                    <a:pt x="5593" y="7206"/>
                    <a:pt x="3603" y="7206"/>
                  </a:cubicBezTo>
                  <a:cubicBezTo>
                    <a:pt x="1613" y="7206"/>
                    <a:pt x="0" y="5593"/>
                    <a:pt x="0" y="3603"/>
                  </a:cubicBezTo>
                  <a:cubicBezTo>
                    <a:pt x="0" y="1613"/>
                    <a:pt x="1613" y="0"/>
                    <a:pt x="3603" y="0"/>
                  </a:cubicBezTo>
                  <a:cubicBezTo>
                    <a:pt x="5593" y="0"/>
                    <a:pt x="7206" y="1613"/>
                    <a:pt x="7206" y="3603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338" name="Forma livre: Forma 1337">
              <a:extLst>
                <a:ext uri="{FF2B5EF4-FFF2-40B4-BE49-F238E27FC236}">
                  <a16:creationId xmlns:a16="http://schemas.microsoft.com/office/drawing/2014/main" id="{0AEDF6C9-E7E3-1772-15D2-093FE6525C44}"/>
                </a:ext>
              </a:extLst>
            </p:cNvPr>
            <p:cNvSpPr/>
            <p:nvPr/>
          </p:nvSpPr>
          <p:spPr>
            <a:xfrm>
              <a:off x="1481519" y="5265709"/>
              <a:ext cx="7206" cy="7206"/>
            </a:xfrm>
            <a:custGeom>
              <a:avLst/>
              <a:gdLst>
                <a:gd name="connsiteX0" fmla="*/ 7206 w 7206"/>
                <a:gd name="connsiteY0" fmla="*/ 3603 h 7206"/>
                <a:gd name="connsiteX1" fmla="*/ 3603 w 7206"/>
                <a:gd name="connsiteY1" fmla="*/ 7206 h 7206"/>
                <a:gd name="connsiteX2" fmla="*/ 0 w 7206"/>
                <a:gd name="connsiteY2" fmla="*/ 3603 h 7206"/>
                <a:gd name="connsiteX3" fmla="*/ 3603 w 7206"/>
                <a:gd name="connsiteY3" fmla="*/ 0 h 7206"/>
                <a:gd name="connsiteX4" fmla="*/ 7206 w 7206"/>
                <a:gd name="connsiteY4" fmla="*/ 3603 h 72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206" h="7206">
                  <a:moveTo>
                    <a:pt x="7206" y="3603"/>
                  </a:moveTo>
                  <a:cubicBezTo>
                    <a:pt x="7206" y="5593"/>
                    <a:pt x="5593" y="7206"/>
                    <a:pt x="3603" y="7206"/>
                  </a:cubicBezTo>
                  <a:cubicBezTo>
                    <a:pt x="1613" y="7206"/>
                    <a:pt x="0" y="5593"/>
                    <a:pt x="0" y="3603"/>
                  </a:cubicBezTo>
                  <a:cubicBezTo>
                    <a:pt x="0" y="1613"/>
                    <a:pt x="1613" y="0"/>
                    <a:pt x="3603" y="0"/>
                  </a:cubicBezTo>
                  <a:cubicBezTo>
                    <a:pt x="5593" y="0"/>
                    <a:pt x="7206" y="1613"/>
                    <a:pt x="7206" y="3603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339" name="Forma livre: Forma 1338">
              <a:extLst>
                <a:ext uri="{FF2B5EF4-FFF2-40B4-BE49-F238E27FC236}">
                  <a16:creationId xmlns:a16="http://schemas.microsoft.com/office/drawing/2014/main" id="{EB4181B1-A48F-BB63-126B-2B848886A8DF}"/>
                </a:ext>
              </a:extLst>
            </p:cNvPr>
            <p:cNvSpPr/>
            <p:nvPr/>
          </p:nvSpPr>
          <p:spPr>
            <a:xfrm>
              <a:off x="1409794" y="5231072"/>
              <a:ext cx="205038" cy="110637"/>
            </a:xfrm>
            <a:custGeom>
              <a:avLst/>
              <a:gdLst>
                <a:gd name="connsiteX0" fmla="*/ 0 w 205038"/>
                <a:gd name="connsiteY0" fmla="*/ 57072 h 110637"/>
                <a:gd name="connsiteX1" fmla="*/ 0 w 205038"/>
                <a:gd name="connsiteY1" fmla="*/ 14028 h 110637"/>
                <a:gd name="connsiteX2" fmla="*/ 14028 w 205038"/>
                <a:gd name="connsiteY2" fmla="*/ 0 h 110637"/>
                <a:gd name="connsiteX3" fmla="*/ 191010 w 205038"/>
                <a:gd name="connsiteY3" fmla="*/ 0 h 110637"/>
                <a:gd name="connsiteX4" fmla="*/ 205038 w 205038"/>
                <a:gd name="connsiteY4" fmla="*/ 14028 h 110637"/>
                <a:gd name="connsiteX5" fmla="*/ 205038 w 205038"/>
                <a:gd name="connsiteY5" fmla="*/ 110638 h 1106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5038" h="110637">
                  <a:moveTo>
                    <a:pt x="0" y="57072"/>
                  </a:moveTo>
                  <a:lnTo>
                    <a:pt x="0" y="14028"/>
                  </a:lnTo>
                  <a:cubicBezTo>
                    <a:pt x="0" y="6293"/>
                    <a:pt x="6341" y="0"/>
                    <a:pt x="14028" y="0"/>
                  </a:cubicBezTo>
                  <a:lnTo>
                    <a:pt x="191010" y="0"/>
                  </a:lnTo>
                  <a:cubicBezTo>
                    <a:pt x="198745" y="0"/>
                    <a:pt x="205038" y="6293"/>
                    <a:pt x="205038" y="14028"/>
                  </a:cubicBezTo>
                  <a:lnTo>
                    <a:pt x="205038" y="110638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340" name="Forma livre: Forma 1339">
              <a:extLst>
                <a:ext uri="{FF2B5EF4-FFF2-40B4-BE49-F238E27FC236}">
                  <a16:creationId xmlns:a16="http://schemas.microsoft.com/office/drawing/2014/main" id="{6ACF1C20-DA8E-CF15-4167-F1684039D3B0}"/>
                </a:ext>
              </a:extLst>
            </p:cNvPr>
            <p:cNvSpPr/>
            <p:nvPr/>
          </p:nvSpPr>
          <p:spPr>
            <a:xfrm>
              <a:off x="1409794" y="5308754"/>
              <a:ext cx="204413" cy="57456"/>
            </a:xfrm>
            <a:custGeom>
              <a:avLst/>
              <a:gdLst>
                <a:gd name="connsiteX0" fmla="*/ 0 w 204413"/>
                <a:gd name="connsiteY0" fmla="*/ 57457 h 57456"/>
                <a:gd name="connsiteX1" fmla="*/ 0 w 204413"/>
                <a:gd name="connsiteY1" fmla="*/ 0 h 57456"/>
                <a:gd name="connsiteX2" fmla="*/ 204414 w 204413"/>
                <a:gd name="connsiteY2" fmla="*/ 0 h 574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04413" h="57456">
                  <a:moveTo>
                    <a:pt x="0" y="57457"/>
                  </a:moveTo>
                  <a:lnTo>
                    <a:pt x="0" y="0"/>
                  </a:lnTo>
                  <a:lnTo>
                    <a:pt x="204414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341" name="Forma livre: Forma 1340">
              <a:extLst>
                <a:ext uri="{FF2B5EF4-FFF2-40B4-BE49-F238E27FC236}">
                  <a16:creationId xmlns:a16="http://schemas.microsoft.com/office/drawing/2014/main" id="{C2312A92-5E81-DB3C-4CA0-987169254325}"/>
                </a:ext>
              </a:extLst>
            </p:cNvPr>
            <p:cNvSpPr/>
            <p:nvPr/>
          </p:nvSpPr>
          <p:spPr>
            <a:xfrm>
              <a:off x="1409794" y="5386243"/>
              <a:ext cx="136435" cy="77970"/>
            </a:xfrm>
            <a:custGeom>
              <a:avLst/>
              <a:gdLst>
                <a:gd name="connsiteX0" fmla="*/ 95505 w 136435"/>
                <a:gd name="connsiteY0" fmla="*/ 77970 h 77970"/>
                <a:gd name="connsiteX1" fmla="*/ 14028 w 136435"/>
                <a:gd name="connsiteY1" fmla="*/ 77970 h 77970"/>
                <a:gd name="connsiteX2" fmla="*/ 0 w 136435"/>
                <a:gd name="connsiteY2" fmla="*/ 63942 h 77970"/>
                <a:gd name="connsiteX3" fmla="*/ 0 w 136435"/>
                <a:gd name="connsiteY3" fmla="*/ 0 h 77970"/>
                <a:gd name="connsiteX4" fmla="*/ 136436 w 136435"/>
                <a:gd name="connsiteY4" fmla="*/ 0 h 779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6435" h="77970">
                  <a:moveTo>
                    <a:pt x="95505" y="77970"/>
                  </a:moveTo>
                  <a:lnTo>
                    <a:pt x="14028" y="77970"/>
                  </a:lnTo>
                  <a:cubicBezTo>
                    <a:pt x="6293" y="77970"/>
                    <a:pt x="0" y="71677"/>
                    <a:pt x="0" y="63942"/>
                  </a:cubicBezTo>
                  <a:lnTo>
                    <a:pt x="0" y="0"/>
                  </a:lnTo>
                  <a:lnTo>
                    <a:pt x="136436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342" name="Forma livre: Forma 1341">
              <a:extLst>
                <a:ext uri="{FF2B5EF4-FFF2-40B4-BE49-F238E27FC236}">
                  <a16:creationId xmlns:a16="http://schemas.microsoft.com/office/drawing/2014/main" id="{FE992C90-FEC0-5EFD-56B0-0C1E28C5352A}"/>
                </a:ext>
              </a:extLst>
            </p:cNvPr>
            <p:cNvSpPr/>
            <p:nvPr/>
          </p:nvSpPr>
          <p:spPr>
            <a:xfrm>
              <a:off x="1446353" y="5343775"/>
              <a:ext cx="7206" cy="7206"/>
            </a:xfrm>
            <a:custGeom>
              <a:avLst/>
              <a:gdLst>
                <a:gd name="connsiteX0" fmla="*/ 7206 w 7206"/>
                <a:gd name="connsiteY0" fmla="*/ 3603 h 7206"/>
                <a:gd name="connsiteX1" fmla="*/ 3603 w 7206"/>
                <a:gd name="connsiteY1" fmla="*/ 7206 h 7206"/>
                <a:gd name="connsiteX2" fmla="*/ 0 w 7206"/>
                <a:gd name="connsiteY2" fmla="*/ 3603 h 7206"/>
                <a:gd name="connsiteX3" fmla="*/ 3603 w 7206"/>
                <a:gd name="connsiteY3" fmla="*/ 0 h 7206"/>
                <a:gd name="connsiteX4" fmla="*/ 7206 w 7206"/>
                <a:gd name="connsiteY4" fmla="*/ 3603 h 72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206" h="7206">
                  <a:moveTo>
                    <a:pt x="7206" y="3603"/>
                  </a:moveTo>
                  <a:cubicBezTo>
                    <a:pt x="7206" y="5593"/>
                    <a:pt x="5593" y="7206"/>
                    <a:pt x="3603" y="7206"/>
                  </a:cubicBezTo>
                  <a:cubicBezTo>
                    <a:pt x="1613" y="7206"/>
                    <a:pt x="0" y="5593"/>
                    <a:pt x="0" y="3603"/>
                  </a:cubicBezTo>
                  <a:cubicBezTo>
                    <a:pt x="0" y="1613"/>
                    <a:pt x="1613" y="0"/>
                    <a:pt x="3603" y="0"/>
                  </a:cubicBezTo>
                  <a:cubicBezTo>
                    <a:pt x="5593" y="0"/>
                    <a:pt x="7206" y="1613"/>
                    <a:pt x="7206" y="3603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343" name="Forma livre: Forma 1342">
              <a:extLst>
                <a:ext uri="{FF2B5EF4-FFF2-40B4-BE49-F238E27FC236}">
                  <a16:creationId xmlns:a16="http://schemas.microsoft.com/office/drawing/2014/main" id="{75066012-694E-9E88-B433-F8F9D5B3F4B9}"/>
                </a:ext>
              </a:extLst>
            </p:cNvPr>
            <p:cNvSpPr/>
            <p:nvPr/>
          </p:nvSpPr>
          <p:spPr>
            <a:xfrm>
              <a:off x="1481519" y="5343775"/>
              <a:ext cx="7206" cy="7206"/>
            </a:xfrm>
            <a:custGeom>
              <a:avLst/>
              <a:gdLst>
                <a:gd name="connsiteX0" fmla="*/ 7206 w 7206"/>
                <a:gd name="connsiteY0" fmla="*/ 3603 h 7206"/>
                <a:gd name="connsiteX1" fmla="*/ 3603 w 7206"/>
                <a:gd name="connsiteY1" fmla="*/ 7206 h 7206"/>
                <a:gd name="connsiteX2" fmla="*/ 0 w 7206"/>
                <a:gd name="connsiteY2" fmla="*/ 3603 h 7206"/>
                <a:gd name="connsiteX3" fmla="*/ 3603 w 7206"/>
                <a:gd name="connsiteY3" fmla="*/ 0 h 7206"/>
                <a:gd name="connsiteX4" fmla="*/ 7206 w 7206"/>
                <a:gd name="connsiteY4" fmla="*/ 3603 h 72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206" h="7206">
                  <a:moveTo>
                    <a:pt x="7206" y="3603"/>
                  </a:moveTo>
                  <a:cubicBezTo>
                    <a:pt x="7206" y="5593"/>
                    <a:pt x="5593" y="7206"/>
                    <a:pt x="3603" y="7206"/>
                  </a:cubicBezTo>
                  <a:cubicBezTo>
                    <a:pt x="1613" y="7206"/>
                    <a:pt x="0" y="5593"/>
                    <a:pt x="0" y="3603"/>
                  </a:cubicBezTo>
                  <a:cubicBezTo>
                    <a:pt x="0" y="1613"/>
                    <a:pt x="1613" y="0"/>
                    <a:pt x="3603" y="0"/>
                  </a:cubicBezTo>
                  <a:cubicBezTo>
                    <a:pt x="5593" y="0"/>
                    <a:pt x="7206" y="1613"/>
                    <a:pt x="7206" y="3603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344" name="Forma livre: Forma 1343">
              <a:extLst>
                <a:ext uri="{FF2B5EF4-FFF2-40B4-BE49-F238E27FC236}">
                  <a16:creationId xmlns:a16="http://schemas.microsoft.com/office/drawing/2014/main" id="{8E9DABD3-2EFE-41F7-3657-A1F147FF4681}"/>
                </a:ext>
              </a:extLst>
            </p:cNvPr>
            <p:cNvSpPr/>
            <p:nvPr/>
          </p:nvSpPr>
          <p:spPr>
            <a:xfrm>
              <a:off x="1446353" y="5420641"/>
              <a:ext cx="7206" cy="7206"/>
            </a:xfrm>
            <a:custGeom>
              <a:avLst/>
              <a:gdLst>
                <a:gd name="connsiteX0" fmla="*/ 7206 w 7206"/>
                <a:gd name="connsiteY0" fmla="*/ 3603 h 7206"/>
                <a:gd name="connsiteX1" fmla="*/ 3603 w 7206"/>
                <a:gd name="connsiteY1" fmla="*/ 7206 h 7206"/>
                <a:gd name="connsiteX2" fmla="*/ 0 w 7206"/>
                <a:gd name="connsiteY2" fmla="*/ 3603 h 7206"/>
                <a:gd name="connsiteX3" fmla="*/ 3603 w 7206"/>
                <a:gd name="connsiteY3" fmla="*/ 0 h 7206"/>
                <a:gd name="connsiteX4" fmla="*/ 7206 w 7206"/>
                <a:gd name="connsiteY4" fmla="*/ 3603 h 72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206" h="7206">
                  <a:moveTo>
                    <a:pt x="7206" y="3603"/>
                  </a:moveTo>
                  <a:cubicBezTo>
                    <a:pt x="7206" y="5593"/>
                    <a:pt x="5593" y="7206"/>
                    <a:pt x="3603" y="7206"/>
                  </a:cubicBezTo>
                  <a:cubicBezTo>
                    <a:pt x="1613" y="7206"/>
                    <a:pt x="0" y="5593"/>
                    <a:pt x="0" y="3603"/>
                  </a:cubicBezTo>
                  <a:cubicBezTo>
                    <a:pt x="0" y="1613"/>
                    <a:pt x="1613" y="0"/>
                    <a:pt x="3603" y="0"/>
                  </a:cubicBezTo>
                  <a:cubicBezTo>
                    <a:pt x="5593" y="0"/>
                    <a:pt x="7206" y="1613"/>
                    <a:pt x="7206" y="3603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345" name="Forma livre: Forma 1344">
              <a:extLst>
                <a:ext uri="{FF2B5EF4-FFF2-40B4-BE49-F238E27FC236}">
                  <a16:creationId xmlns:a16="http://schemas.microsoft.com/office/drawing/2014/main" id="{ECC9E809-1629-962A-E954-EB3B80F9B28D}"/>
                </a:ext>
              </a:extLst>
            </p:cNvPr>
            <p:cNvSpPr/>
            <p:nvPr/>
          </p:nvSpPr>
          <p:spPr>
            <a:xfrm>
              <a:off x="1481519" y="5420641"/>
              <a:ext cx="7206" cy="7206"/>
            </a:xfrm>
            <a:custGeom>
              <a:avLst/>
              <a:gdLst>
                <a:gd name="connsiteX0" fmla="*/ 7206 w 7206"/>
                <a:gd name="connsiteY0" fmla="*/ 3603 h 7206"/>
                <a:gd name="connsiteX1" fmla="*/ 3603 w 7206"/>
                <a:gd name="connsiteY1" fmla="*/ 7206 h 7206"/>
                <a:gd name="connsiteX2" fmla="*/ 0 w 7206"/>
                <a:gd name="connsiteY2" fmla="*/ 3603 h 7206"/>
                <a:gd name="connsiteX3" fmla="*/ 3603 w 7206"/>
                <a:gd name="connsiteY3" fmla="*/ 0 h 7206"/>
                <a:gd name="connsiteX4" fmla="*/ 7206 w 7206"/>
                <a:gd name="connsiteY4" fmla="*/ 3603 h 72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206" h="7206">
                  <a:moveTo>
                    <a:pt x="7206" y="3603"/>
                  </a:moveTo>
                  <a:cubicBezTo>
                    <a:pt x="7206" y="5593"/>
                    <a:pt x="5593" y="7206"/>
                    <a:pt x="3603" y="7206"/>
                  </a:cubicBezTo>
                  <a:cubicBezTo>
                    <a:pt x="1613" y="7206"/>
                    <a:pt x="0" y="5593"/>
                    <a:pt x="0" y="3603"/>
                  </a:cubicBezTo>
                  <a:cubicBezTo>
                    <a:pt x="0" y="1613"/>
                    <a:pt x="1613" y="0"/>
                    <a:pt x="3603" y="0"/>
                  </a:cubicBezTo>
                  <a:cubicBezTo>
                    <a:pt x="5593" y="0"/>
                    <a:pt x="7206" y="1613"/>
                    <a:pt x="7206" y="3603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347" name="Gráfico 13">
            <a:extLst>
              <a:ext uri="{FF2B5EF4-FFF2-40B4-BE49-F238E27FC236}">
                <a16:creationId xmlns:a16="http://schemas.microsoft.com/office/drawing/2014/main" id="{5EF55039-AF74-341E-8850-88BB852DB5A2}"/>
              </a:ext>
            </a:extLst>
          </p:cNvPr>
          <p:cNvGrpSpPr/>
          <p:nvPr/>
        </p:nvGrpSpPr>
        <p:grpSpPr>
          <a:xfrm>
            <a:off x="808708" y="4130697"/>
            <a:ext cx="269076" cy="305827"/>
            <a:chOff x="808708" y="4130697"/>
            <a:chExt cx="269076" cy="305827"/>
          </a:xfrm>
          <a:noFill/>
        </p:grpSpPr>
        <p:grpSp>
          <p:nvGrpSpPr>
            <p:cNvPr id="1348" name="Gráfico 13">
              <a:extLst>
                <a:ext uri="{FF2B5EF4-FFF2-40B4-BE49-F238E27FC236}">
                  <a16:creationId xmlns:a16="http://schemas.microsoft.com/office/drawing/2014/main" id="{29BEB26F-47A2-630B-05AF-57B954ECEF23}"/>
                </a:ext>
              </a:extLst>
            </p:cNvPr>
            <p:cNvGrpSpPr/>
            <p:nvPr/>
          </p:nvGrpSpPr>
          <p:grpSpPr>
            <a:xfrm>
              <a:off x="808708" y="4317816"/>
              <a:ext cx="269076" cy="118708"/>
              <a:chOff x="808708" y="4317816"/>
              <a:chExt cx="269076" cy="118708"/>
            </a:xfrm>
            <a:noFill/>
          </p:grpSpPr>
          <p:grpSp>
            <p:nvGrpSpPr>
              <p:cNvPr id="1349" name="Gráfico 13">
                <a:extLst>
                  <a:ext uri="{FF2B5EF4-FFF2-40B4-BE49-F238E27FC236}">
                    <a16:creationId xmlns:a16="http://schemas.microsoft.com/office/drawing/2014/main" id="{3AB04E39-0CD0-669B-710B-14288E5E1DFB}"/>
                  </a:ext>
                </a:extLst>
              </p:cNvPr>
              <p:cNvGrpSpPr/>
              <p:nvPr/>
            </p:nvGrpSpPr>
            <p:grpSpPr>
              <a:xfrm>
                <a:off x="925880" y="4371862"/>
                <a:ext cx="34781" cy="64662"/>
                <a:chOff x="925880" y="4371862"/>
                <a:chExt cx="34781" cy="64662"/>
              </a:xfrm>
            </p:grpSpPr>
            <p:sp>
              <p:nvSpPr>
                <p:cNvPr id="1350" name="Forma livre: Forma 1349">
                  <a:extLst>
                    <a:ext uri="{FF2B5EF4-FFF2-40B4-BE49-F238E27FC236}">
                      <a16:creationId xmlns:a16="http://schemas.microsoft.com/office/drawing/2014/main" id="{FB741B68-72A3-173A-F166-100F1797BD49}"/>
                    </a:ext>
                  </a:extLst>
                </p:cNvPr>
                <p:cNvSpPr/>
                <p:nvPr/>
              </p:nvSpPr>
              <p:spPr>
                <a:xfrm>
                  <a:off x="925880" y="4371862"/>
                  <a:ext cx="8118" cy="64662"/>
                </a:xfrm>
                <a:custGeom>
                  <a:avLst/>
                  <a:gdLst>
                    <a:gd name="connsiteX0" fmla="*/ 8119 w 8118"/>
                    <a:gd name="connsiteY0" fmla="*/ 0 h 64662"/>
                    <a:gd name="connsiteX1" fmla="*/ 0 w 8118"/>
                    <a:gd name="connsiteY1" fmla="*/ 64663 h 6466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8118" h="64662">
                      <a:moveTo>
                        <a:pt x="8119" y="0"/>
                      </a:moveTo>
                      <a:lnTo>
                        <a:pt x="0" y="64663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351" name="Forma livre: Forma 1350">
                  <a:extLst>
                    <a:ext uri="{FF2B5EF4-FFF2-40B4-BE49-F238E27FC236}">
                      <a16:creationId xmlns:a16="http://schemas.microsoft.com/office/drawing/2014/main" id="{BBF8E9E4-A737-0904-F041-3A84FBA62061}"/>
                    </a:ext>
                  </a:extLst>
                </p:cNvPr>
                <p:cNvSpPr/>
                <p:nvPr/>
              </p:nvSpPr>
              <p:spPr>
                <a:xfrm>
                  <a:off x="952494" y="4371862"/>
                  <a:ext cx="8166" cy="64662"/>
                </a:xfrm>
                <a:custGeom>
                  <a:avLst/>
                  <a:gdLst>
                    <a:gd name="connsiteX0" fmla="*/ 0 w 8166"/>
                    <a:gd name="connsiteY0" fmla="*/ 0 h 64662"/>
                    <a:gd name="connsiteX1" fmla="*/ 8167 w 8166"/>
                    <a:gd name="connsiteY1" fmla="*/ 64663 h 6466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8166" h="64662">
                      <a:moveTo>
                        <a:pt x="0" y="0"/>
                      </a:moveTo>
                      <a:lnTo>
                        <a:pt x="8167" y="64663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1352" name="Gráfico 13">
                <a:extLst>
                  <a:ext uri="{FF2B5EF4-FFF2-40B4-BE49-F238E27FC236}">
                    <a16:creationId xmlns:a16="http://schemas.microsoft.com/office/drawing/2014/main" id="{8F903890-1D6A-5DE7-0B0E-77ED8AB62C22}"/>
                  </a:ext>
                </a:extLst>
              </p:cNvPr>
              <p:cNvGrpSpPr/>
              <p:nvPr/>
            </p:nvGrpSpPr>
            <p:grpSpPr>
              <a:xfrm>
                <a:off x="808708" y="4317816"/>
                <a:ext cx="269076" cy="118708"/>
                <a:chOff x="808708" y="4317816"/>
                <a:chExt cx="269076" cy="118708"/>
              </a:xfrm>
              <a:noFill/>
            </p:grpSpPr>
            <p:sp>
              <p:nvSpPr>
                <p:cNvPr id="1353" name="Forma livre: Forma 1352">
                  <a:extLst>
                    <a:ext uri="{FF2B5EF4-FFF2-40B4-BE49-F238E27FC236}">
                      <a16:creationId xmlns:a16="http://schemas.microsoft.com/office/drawing/2014/main" id="{9FC80FC7-B824-4BE0-0581-17EC62BFEE2B}"/>
                    </a:ext>
                  </a:extLst>
                </p:cNvPr>
                <p:cNvSpPr/>
                <p:nvPr/>
              </p:nvSpPr>
              <p:spPr>
                <a:xfrm>
                  <a:off x="808708" y="4317816"/>
                  <a:ext cx="104200" cy="118708"/>
                </a:xfrm>
                <a:custGeom>
                  <a:avLst/>
                  <a:gdLst>
                    <a:gd name="connsiteX0" fmla="*/ 0 w 104200"/>
                    <a:gd name="connsiteY0" fmla="*/ 118709 h 118708"/>
                    <a:gd name="connsiteX1" fmla="*/ 4996 w 104200"/>
                    <a:gd name="connsiteY1" fmla="*/ 52028 h 118708"/>
                    <a:gd name="connsiteX2" fmla="*/ 32091 w 104200"/>
                    <a:gd name="connsiteY2" fmla="*/ 11097 h 118708"/>
                    <a:gd name="connsiteX3" fmla="*/ 81813 w 104200"/>
                    <a:gd name="connsiteY3" fmla="*/ 0 h 118708"/>
                    <a:gd name="connsiteX4" fmla="*/ 104200 w 104200"/>
                    <a:gd name="connsiteY4" fmla="*/ 45351 h 11870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04200" h="118708">
                      <a:moveTo>
                        <a:pt x="0" y="118709"/>
                      </a:moveTo>
                      <a:lnTo>
                        <a:pt x="4996" y="52028"/>
                      </a:lnTo>
                      <a:cubicBezTo>
                        <a:pt x="9944" y="15229"/>
                        <a:pt x="32091" y="11097"/>
                        <a:pt x="32091" y="11097"/>
                      </a:cubicBezTo>
                      <a:cubicBezTo>
                        <a:pt x="32091" y="11097"/>
                        <a:pt x="56208" y="4276"/>
                        <a:pt x="81813" y="0"/>
                      </a:cubicBezTo>
                      <a:lnTo>
                        <a:pt x="104200" y="45351"/>
                      </a:ln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354" name="Forma livre: Forma 1353">
                  <a:extLst>
                    <a:ext uri="{FF2B5EF4-FFF2-40B4-BE49-F238E27FC236}">
                      <a16:creationId xmlns:a16="http://schemas.microsoft.com/office/drawing/2014/main" id="{D9BEE548-8DF3-13F4-4BBB-4755948D68C9}"/>
                    </a:ext>
                  </a:extLst>
                </p:cNvPr>
                <p:cNvSpPr/>
                <p:nvPr/>
              </p:nvSpPr>
              <p:spPr>
                <a:xfrm>
                  <a:off x="973584" y="4317816"/>
                  <a:ext cx="104200" cy="118708"/>
                </a:xfrm>
                <a:custGeom>
                  <a:avLst/>
                  <a:gdLst>
                    <a:gd name="connsiteX0" fmla="*/ 104200 w 104200"/>
                    <a:gd name="connsiteY0" fmla="*/ 118709 h 118708"/>
                    <a:gd name="connsiteX1" fmla="*/ 99156 w 104200"/>
                    <a:gd name="connsiteY1" fmla="*/ 52028 h 118708"/>
                    <a:gd name="connsiteX2" fmla="*/ 72061 w 104200"/>
                    <a:gd name="connsiteY2" fmla="*/ 11097 h 118708"/>
                    <a:gd name="connsiteX3" fmla="*/ 22387 w 104200"/>
                    <a:gd name="connsiteY3" fmla="*/ 0 h 118708"/>
                    <a:gd name="connsiteX4" fmla="*/ 0 w 104200"/>
                    <a:gd name="connsiteY4" fmla="*/ 45351 h 11870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04200" h="118708">
                      <a:moveTo>
                        <a:pt x="104200" y="118709"/>
                      </a:moveTo>
                      <a:lnTo>
                        <a:pt x="99156" y="52028"/>
                      </a:lnTo>
                      <a:cubicBezTo>
                        <a:pt x="94208" y="15229"/>
                        <a:pt x="72061" y="11097"/>
                        <a:pt x="72061" y="11097"/>
                      </a:cubicBezTo>
                      <a:cubicBezTo>
                        <a:pt x="72061" y="11097"/>
                        <a:pt x="47945" y="4276"/>
                        <a:pt x="22387" y="0"/>
                      </a:cubicBezTo>
                      <a:lnTo>
                        <a:pt x="0" y="45351"/>
                      </a:ln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1355" name="Forma livre: Forma 1354">
                <a:extLst>
                  <a:ext uri="{FF2B5EF4-FFF2-40B4-BE49-F238E27FC236}">
                    <a16:creationId xmlns:a16="http://schemas.microsoft.com/office/drawing/2014/main" id="{235BC406-F516-8C15-0B86-DD52147F2931}"/>
                  </a:ext>
                </a:extLst>
              </p:cNvPr>
              <p:cNvSpPr/>
              <p:nvPr/>
            </p:nvSpPr>
            <p:spPr>
              <a:xfrm>
                <a:off x="919874" y="4328049"/>
                <a:ext cx="46743" cy="52940"/>
              </a:xfrm>
              <a:custGeom>
                <a:avLst/>
                <a:gdLst>
                  <a:gd name="connsiteX0" fmla="*/ 23444 w 46743"/>
                  <a:gd name="connsiteY0" fmla="*/ 52941 h 52940"/>
                  <a:gd name="connsiteX1" fmla="*/ 0 w 46743"/>
                  <a:gd name="connsiteY1" fmla="*/ 26470 h 52940"/>
                  <a:gd name="connsiteX2" fmla="*/ 23300 w 46743"/>
                  <a:gd name="connsiteY2" fmla="*/ 0 h 52940"/>
                  <a:gd name="connsiteX3" fmla="*/ 23444 w 46743"/>
                  <a:gd name="connsiteY3" fmla="*/ 0 h 52940"/>
                  <a:gd name="connsiteX4" fmla="*/ 46744 w 46743"/>
                  <a:gd name="connsiteY4" fmla="*/ 26470 h 52940"/>
                  <a:gd name="connsiteX5" fmla="*/ 23444 w 46743"/>
                  <a:gd name="connsiteY5" fmla="*/ 52941 h 529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46743" h="52940">
                    <a:moveTo>
                      <a:pt x="23444" y="52941"/>
                    </a:moveTo>
                    <a:lnTo>
                      <a:pt x="0" y="26470"/>
                    </a:lnTo>
                    <a:lnTo>
                      <a:pt x="23300" y="0"/>
                    </a:lnTo>
                    <a:lnTo>
                      <a:pt x="23444" y="0"/>
                    </a:lnTo>
                    <a:lnTo>
                      <a:pt x="46744" y="26470"/>
                    </a:lnTo>
                    <a:lnTo>
                      <a:pt x="23444" y="52941"/>
                    </a:lnTo>
                    <a:close/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356" name="Gráfico 13">
              <a:extLst>
                <a:ext uri="{FF2B5EF4-FFF2-40B4-BE49-F238E27FC236}">
                  <a16:creationId xmlns:a16="http://schemas.microsoft.com/office/drawing/2014/main" id="{735821F6-FFC6-57D9-B610-5E9B37B4C2FB}"/>
                </a:ext>
              </a:extLst>
            </p:cNvPr>
            <p:cNvGrpSpPr/>
            <p:nvPr/>
          </p:nvGrpSpPr>
          <p:grpSpPr>
            <a:xfrm>
              <a:off x="875389" y="4140690"/>
              <a:ext cx="135715" cy="77778"/>
              <a:chOff x="875389" y="4140690"/>
              <a:chExt cx="135715" cy="77778"/>
            </a:xfrm>
            <a:noFill/>
          </p:grpSpPr>
          <p:sp>
            <p:nvSpPr>
              <p:cNvPr id="1357" name="Forma livre: Forma 1356">
                <a:extLst>
                  <a:ext uri="{FF2B5EF4-FFF2-40B4-BE49-F238E27FC236}">
                    <a16:creationId xmlns:a16="http://schemas.microsoft.com/office/drawing/2014/main" id="{9D87979D-1DE0-F33C-0864-B4BB831BD521}"/>
                  </a:ext>
                </a:extLst>
              </p:cNvPr>
              <p:cNvSpPr/>
              <p:nvPr/>
            </p:nvSpPr>
            <p:spPr>
              <a:xfrm>
                <a:off x="875389" y="4140690"/>
                <a:ext cx="52364" cy="77778"/>
              </a:xfrm>
              <a:custGeom>
                <a:avLst/>
                <a:gdLst>
                  <a:gd name="connsiteX0" fmla="*/ 52364 w 52364"/>
                  <a:gd name="connsiteY0" fmla="*/ 0 h 77778"/>
                  <a:gd name="connsiteX1" fmla="*/ 8551 w 52364"/>
                  <a:gd name="connsiteY1" fmla="*/ 61781 h 77778"/>
                  <a:gd name="connsiteX2" fmla="*/ 0 w 52364"/>
                  <a:gd name="connsiteY2" fmla="*/ 77778 h 777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52364" h="77778">
                    <a:moveTo>
                      <a:pt x="52364" y="0"/>
                    </a:moveTo>
                    <a:cubicBezTo>
                      <a:pt x="34974" y="4035"/>
                      <a:pt x="8551" y="17439"/>
                      <a:pt x="8551" y="61781"/>
                    </a:cubicBezTo>
                    <a:cubicBezTo>
                      <a:pt x="8551" y="67641"/>
                      <a:pt x="7302" y="74223"/>
                      <a:pt x="0" y="77778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358" name="Forma livre: Forma 1357">
                <a:extLst>
                  <a:ext uri="{FF2B5EF4-FFF2-40B4-BE49-F238E27FC236}">
                    <a16:creationId xmlns:a16="http://schemas.microsoft.com/office/drawing/2014/main" id="{9F2EA177-886F-F3BA-F654-F77DA81FAC41}"/>
                  </a:ext>
                </a:extLst>
              </p:cNvPr>
              <p:cNvSpPr/>
              <p:nvPr/>
            </p:nvSpPr>
            <p:spPr>
              <a:xfrm>
                <a:off x="958739" y="4140690"/>
                <a:ext cx="52364" cy="77778"/>
              </a:xfrm>
              <a:custGeom>
                <a:avLst/>
                <a:gdLst>
                  <a:gd name="connsiteX0" fmla="*/ 0 w 52364"/>
                  <a:gd name="connsiteY0" fmla="*/ 0 h 77778"/>
                  <a:gd name="connsiteX1" fmla="*/ 43813 w 52364"/>
                  <a:gd name="connsiteY1" fmla="*/ 61781 h 77778"/>
                  <a:gd name="connsiteX2" fmla="*/ 52364 w 52364"/>
                  <a:gd name="connsiteY2" fmla="*/ 77778 h 777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52364" h="77778">
                    <a:moveTo>
                      <a:pt x="0" y="0"/>
                    </a:moveTo>
                    <a:cubicBezTo>
                      <a:pt x="17391" y="4035"/>
                      <a:pt x="43813" y="17439"/>
                      <a:pt x="43813" y="61781"/>
                    </a:cubicBezTo>
                    <a:cubicBezTo>
                      <a:pt x="43813" y="67641"/>
                      <a:pt x="45062" y="74223"/>
                      <a:pt x="52364" y="77778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359" name="Forma livre: Forma 1358">
              <a:extLst>
                <a:ext uri="{FF2B5EF4-FFF2-40B4-BE49-F238E27FC236}">
                  <a16:creationId xmlns:a16="http://schemas.microsoft.com/office/drawing/2014/main" id="{AA3643E6-FE20-FA3C-0F34-A800B6E36A82}"/>
                </a:ext>
              </a:extLst>
            </p:cNvPr>
            <p:cNvSpPr/>
            <p:nvPr/>
          </p:nvSpPr>
          <p:spPr>
            <a:xfrm>
              <a:off x="928426" y="4130697"/>
              <a:ext cx="29641" cy="29208"/>
            </a:xfrm>
            <a:custGeom>
              <a:avLst/>
              <a:gdLst>
                <a:gd name="connsiteX0" fmla="*/ 0 w 29641"/>
                <a:gd name="connsiteY0" fmla="*/ 29209 h 29208"/>
                <a:gd name="connsiteX1" fmla="*/ 2210 w 29641"/>
                <a:gd name="connsiteY1" fmla="*/ 0 h 29208"/>
                <a:gd name="connsiteX2" fmla="*/ 27431 w 29641"/>
                <a:gd name="connsiteY2" fmla="*/ 0 h 29208"/>
                <a:gd name="connsiteX3" fmla="*/ 29641 w 29641"/>
                <a:gd name="connsiteY3" fmla="*/ 29209 h 292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9641" h="29208">
                  <a:moveTo>
                    <a:pt x="0" y="29209"/>
                  </a:moveTo>
                  <a:lnTo>
                    <a:pt x="2210" y="0"/>
                  </a:lnTo>
                  <a:lnTo>
                    <a:pt x="27431" y="0"/>
                  </a:lnTo>
                  <a:lnTo>
                    <a:pt x="29641" y="29209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360" name="Forma livre: Forma 1359">
              <a:extLst>
                <a:ext uri="{FF2B5EF4-FFF2-40B4-BE49-F238E27FC236}">
                  <a16:creationId xmlns:a16="http://schemas.microsoft.com/office/drawing/2014/main" id="{82D0FE24-43CC-FEED-E3C0-0D3A8446BCF0}"/>
                </a:ext>
              </a:extLst>
            </p:cNvPr>
            <p:cNvSpPr/>
            <p:nvPr/>
          </p:nvSpPr>
          <p:spPr>
            <a:xfrm>
              <a:off x="891771" y="4223992"/>
              <a:ext cx="105833" cy="80516"/>
            </a:xfrm>
            <a:custGeom>
              <a:avLst/>
              <a:gdLst>
                <a:gd name="connsiteX0" fmla="*/ 105450 w 105833"/>
                <a:gd name="connsiteY0" fmla="*/ 0 h 80516"/>
                <a:gd name="connsiteX1" fmla="*/ 105834 w 105833"/>
                <a:gd name="connsiteY1" fmla="*/ 7783 h 80516"/>
                <a:gd name="connsiteX2" fmla="*/ 51836 w 105833"/>
                <a:gd name="connsiteY2" fmla="*/ 80516 h 80516"/>
                <a:gd name="connsiteX3" fmla="*/ 0 w 105833"/>
                <a:gd name="connsiteY3" fmla="*/ 26663 h 805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5833" h="80516">
                  <a:moveTo>
                    <a:pt x="105450" y="0"/>
                  </a:moveTo>
                  <a:cubicBezTo>
                    <a:pt x="105690" y="2498"/>
                    <a:pt x="105834" y="5140"/>
                    <a:pt x="105834" y="7783"/>
                  </a:cubicBezTo>
                  <a:cubicBezTo>
                    <a:pt x="105834" y="44438"/>
                    <a:pt x="80564" y="80516"/>
                    <a:pt x="51836" y="80516"/>
                  </a:cubicBezTo>
                  <a:cubicBezTo>
                    <a:pt x="28056" y="80516"/>
                    <a:pt x="6678" y="55871"/>
                    <a:pt x="0" y="26663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361" name="Forma livre: Forma 1360">
              <a:extLst>
                <a:ext uri="{FF2B5EF4-FFF2-40B4-BE49-F238E27FC236}">
                  <a16:creationId xmlns:a16="http://schemas.microsoft.com/office/drawing/2014/main" id="{0AEF5429-66F9-86BB-368B-051C94A27AB0}"/>
                </a:ext>
              </a:extLst>
            </p:cNvPr>
            <p:cNvSpPr/>
            <p:nvPr/>
          </p:nvSpPr>
          <p:spPr>
            <a:xfrm>
              <a:off x="868471" y="4216594"/>
              <a:ext cx="149599" cy="13547"/>
            </a:xfrm>
            <a:custGeom>
              <a:avLst/>
              <a:gdLst>
                <a:gd name="connsiteX0" fmla="*/ 149599 w 149599"/>
                <a:gd name="connsiteY0" fmla="*/ 0 h 13547"/>
                <a:gd name="connsiteX1" fmla="*/ 74800 w 149599"/>
                <a:gd name="connsiteY1" fmla="*/ 13548 h 13547"/>
                <a:gd name="connsiteX2" fmla="*/ 74800 w 149599"/>
                <a:gd name="connsiteY2" fmla="*/ 13548 h 13547"/>
                <a:gd name="connsiteX3" fmla="*/ 0 w 149599"/>
                <a:gd name="connsiteY3" fmla="*/ 0 h 135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9599" h="13547">
                  <a:moveTo>
                    <a:pt x="149599" y="0"/>
                  </a:moveTo>
                  <a:cubicBezTo>
                    <a:pt x="129470" y="8599"/>
                    <a:pt x="103672" y="13548"/>
                    <a:pt x="74800" y="13548"/>
                  </a:cubicBezTo>
                  <a:lnTo>
                    <a:pt x="74800" y="13548"/>
                  </a:lnTo>
                  <a:cubicBezTo>
                    <a:pt x="45927" y="13548"/>
                    <a:pt x="20129" y="8599"/>
                    <a:pt x="0" y="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362" name="Forma livre: Forma 1361">
              <a:extLst>
                <a:ext uri="{FF2B5EF4-FFF2-40B4-BE49-F238E27FC236}">
                  <a16:creationId xmlns:a16="http://schemas.microsoft.com/office/drawing/2014/main" id="{71772FE6-B69F-64CC-277E-8EAFE8CCBB34}"/>
                </a:ext>
              </a:extLst>
            </p:cNvPr>
            <p:cNvSpPr/>
            <p:nvPr/>
          </p:nvSpPr>
          <p:spPr>
            <a:xfrm>
              <a:off x="925351" y="4173261"/>
              <a:ext cx="35838" cy="35886"/>
            </a:xfrm>
            <a:custGeom>
              <a:avLst/>
              <a:gdLst>
                <a:gd name="connsiteX0" fmla="*/ 35838 w 35838"/>
                <a:gd name="connsiteY0" fmla="*/ 17919 h 35886"/>
                <a:gd name="connsiteX1" fmla="*/ 17919 w 35838"/>
                <a:gd name="connsiteY1" fmla="*/ 35887 h 35886"/>
                <a:gd name="connsiteX2" fmla="*/ 0 w 35838"/>
                <a:gd name="connsiteY2" fmla="*/ 17919 h 35886"/>
                <a:gd name="connsiteX3" fmla="*/ 17919 w 35838"/>
                <a:gd name="connsiteY3" fmla="*/ 0 h 35886"/>
                <a:gd name="connsiteX4" fmla="*/ 35838 w 35838"/>
                <a:gd name="connsiteY4" fmla="*/ 17919 h 358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5838" h="35886">
                  <a:moveTo>
                    <a:pt x="35838" y="17919"/>
                  </a:moveTo>
                  <a:cubicBezTo>
                    <a:pt x="35838" y="27816"/>
                    <a:pt x="27816" y="35887"/>
                    <a:pt x="17919" y="35887"/>
                  </a:cubicBezTo>
                  <a:cubicBezTo>
                    <a:pt x="8023" y="35887"/>
                    <a:pt x="0" y="27864"/>
                    <a:pt x="0" y="17919"/>
                  </a:cubicBezTo>
                  <a:cubicBezTo>
                    <a:pt x="0" y="7975"/>
                    <a:pt x="8023" y="0"/>
                    <a:pt x="17919" y="0"/>
                  </a:cubicBezTo>
                  <a:cubicBezTo>
                    <a:pt x="27816" y="0"/>
                    <a:pt x="35838" y="8023"/>
                    <a:pt x="35838" y="17919"/>
                  </a:cubicBez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363" name="Gráfico 13">
            <a:extLst>
              <a:ext uri="{FF2B5EF4-FFF2-40B4-BE49-F238E27FC236}">
                <a16:creationId xmlns:a16="http://schemas.microsoft.com/office/drawing/2014/main" id="{2DEAE128-29D8-D11B-8F8D-E6B164975678}"/>
              </a:ext>
            </a:extLst>
          </p:cNvPr>
          <p:cNvGrpSpPr/>
          <p:nvPr/>
        </p:nvGrpSpPr>
        <p:grpSpPr>
          <a:xfrm>
            <a:off x="2037447" y="4169946"/>
            <a:ext cx="309478" cy="227281"/>
            <a:chOff x="2037447" y="4169946"/>
            <a:chExt cx="309478" cy="227281"/>
          </a:xfrm>
        </p:grpSpPr>
        <p:sp>
          <p:nvSpPr>
            <p:cNvPr id="1364" name="Forma livre: Forma 1363">
              <a:extLst>
                <a:ext uri="{FF2B5EF4-FFF2-40B4-BE49-F238E27FC236}">
                  <a16:creationId xmlns:a16="http://schemas.microsoft.com/office/drawing/2014/main" id="{822047AC-24C1-B7E9-44BD-8F50C5657C42}"/>
                </a:ext>
              </a:extLst>
            </p:cNvPr>
            <p:cNvSpPr/>
            <p:nvPr/>
          </p:nvSpPr>
          <p:spPr>
            <a:xfrm>
              <a:off x="2059114" y="4226971"/>
              <a:ext cx="266097" cy="4804"/>
            </a:xfrm>
            <a:custGeom>
              <a:avLst/>
              <a:gdLst>
                <a:gd name="connsiteX0" fmla="*/ 0 w 266097"/>
                <a:gd name="connsiteY0" fmla="*/ 0 h 4804"/>
                <a:gd name="connsiteX1" fmla="*/ 266098 w 266097"/>
                <a:gd name="connsiteY1" fmla="*/ 0 h 48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66097" h="4804">
                  <a:moveTo>
                    <a:pt x="0" y="0"/>
                  </a:moveTo>
                  <a:lnTo>
                    <a:pt x="266098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365" name="Forma livre: Forma 1364">
              <a:extLst>
                <a:ext uri="{FF2B5EF4-FFF2-40B4-BE49-F238E27FC236}">
                  <a16:creationId xmlns:a16="http://schemas.microsoft.com/office/drawing/2014/main" id="{B8173222-2EFB-B966-C668-C694BD293EC7}"/>
                </a:ext>
              </a:extLst>
            </p:cNvPr>
            <p:cNvSpPr/>
            <p:nvPr/>
          </p:nvSpPr>
          <p:spPr>
            <a:xfrm>
              <a:off x="2073670" y="4195120"/>
              <a:ext cx="7206" cy="7206"/>
            </a:xfrm>
            <a:custGeom>
              <a:avLst/>
              <a:gdLst>
                <a:gd name="connsiteX0" fmla="*/ 7206 w 7206"/>
                <a:gd name="connsiteY0" fmla="*/ 3603 h 7206"/>
                <a:gd name="connsiteX1" fmla="*/ 3603 w 7206"/>
                <a:gd name="connsiteY1" fmla="*/ 7206 h 7206"/>
                <a:gd name="connsiteX2" fmla="*/ 0 w 7206"/>
                <a:gd name="connsiteY2" fmla="*/ 3603 h 7206"/>
                <a:gd name="connsiteX3" fmla="*/ 3603 w 7206"/>
                <a:gd name="connsiteY3" fmla="*/ 0 h 7206"/>
                <a:gd name="connsiteX4" fmla="*/ 7206 w 7206"/>
                <a:gd name="connsiteY4" fmla="*/ 3603 h 72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206" h="7206">
                  <a:moveTo>
                    <a:pt x="7206" y="3603"/>
                  </a:moveTo>
                  <a:cubicBezTo>
                    <a:pt x="7206" y="5621"/>
                    <a:pt x="5621" y="7206"/>
                    <a:pt x="3603" y="7206"/>
                  </a:cubicBezTo>
                  <a:cubicBezTo>
                    <a:pt x="1585" y="7206"/>
                    <a:pt x="0" y="5621"/>
                    <a:pt x="0" y="3603"/>
                  </a:cubicBezTo>
                  <a:cubicBezTo>
                    <a:pt x="0" y="1585"/>
                    <a:pt x="1634" y="0"/>
                    <a:pt x="3603" y="0"/>
                  </a:cubicBezTo>
                  <a:cubicBezTo>
                    <a:pt x="5573" y="0"/>
                    <a:pt x="7206" y="1585"/>
                    <a:pt x="7206" y="3603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366" name="Forma livre: Forma 1365">
              <a:extLst>
                <a:ext uri="{FF2B5EF4-FFF2-40B4-BE49-F238E27FC236}">
                  <a16:creationId xmlns:a16="http://schemas.microsoft.com/office/drawing/2014/main" id="{3C3CE0B7-620B-A064-A86F-70B5F085BB4D}"/>
                </a:ext>
              </a:extLst>
            </p:cNvPr>
            <p:cNvSpPr/>
            <p:nvPr/>
          </p:nvSpPr>
          <p:spPr>
            <a:xfrm>
              <a:off x="2037447" y="4169946"/>
              <a:ext cx="309478" cy="227281"/>
            </a:xfrm>
            <a:custGeom>
              <a:avLst/>
              <a:gdLst>
                <a:gd name="connsiteX0" fmla="*/ 292328 w 309478"/>
                <a:gd name="connsiteY0" fmla="*/ 0 h 227281"/>
                <a:gd name="connsiteX1" fmla="*/ 309479 w 309478"/>
                <a:gd name="connsiteY1" fmla="*/ 17151 h 227281"/>
                <a:gd name="connsiteX2" fmla="*/ 309479 w 309478"/>
                <a:gd name="connsiteY2" fmla="*/ 210130 h 227281"/>
                <a:gd name="connsiteX3" fmla="*/ 292328 w 309478"/>
                <a:gd name="connsiteY3" fmla="*/ 227281 h 227281"/>
                <a:gd name="connsiteX4" fmla="*/ 17151 w 309478"/>
                <a:gd name="connsiteY4" fmla="*/ 227281 h 227281"/>
                <a:gd name="connsiteX5" fmla="*/ 0 w 309478"/>
                <a:gd name="connsiteY5" fmla="*/ 210130 h 227281"/>
                <a:gd name="connsiteX6" fmla="*/ 0 w 309478"/>
                <a:gd name="connsiteY6" fmla="*/ 17151 h 227281"/>
                <a:gd name="connsiteX7" fmla="*/ 17151 w 309478"/>
                <a:gd name="connsiteY7" fmla="*/ 0 h 2272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09478" h="227281">
                  <a:moveTo>
                    <a:pt x="292328" y="0"/>
                  </a:moveTo>
                  <a:cubicBezTo>
                    <a:pt x="301800" y="0"/>
                    <a:pt x="309479" y="7679"/>
                    <a:pt x="309479" y="17151"/>
                  </a:cubicBezTo>
                  <a:lnTo>
                    <a:pt x="309479" y="210130"/>
                  </a:lnTo>
                  <a:cubicBezTo>
                    <a:pt x="309479" y="219602"/>
                    <a:pt x="301800" y="227281"/>
                    <a:pt x="292328" y="227281"/>
                  </a:cubicBezTo>
                  <a:lnTo>
                    <a:pt x="17151" y="227281"/>
                  </a:lnTo>
                  <a:cubicBezTo>
                    <a:pt x="7679" y="227281"/>
                    <a:pt x="0" y="219603"/>
                    <a:pt x="0" y="210130"/>
                  </a:cubicBezTo>
                  <a:lnTo>
                    <a:pt x="0" y="17151"/>
                  </a:lnTo>
                  <a:cubicBezTo>
                    <a:pt x="0" y="7679"/>
                    <a:pt x="7679" y="0"/>
                    <a:pt x="17151" y="0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367" name="Gráfico 13">
              <a:extLst>
                <a:ext uri="{FF2B5EF4-FFF2-40B4-BE49-F238E27FC236}">
                  <a16:creationId xmlns:a16="http://schemas.microsoft.com/office/drawing/2014/main" id="{6F110F67-0F45-B0D7-F4D0-B76EAAADC44C}"/>
                </a:ext>
              </a:extLst>
            </p:cNvPr>
            <p:cNvGrpSpPr/>
            <p:nvPr/>
          </p:nvGrpSpPr>
          <p:grpSpPr>
            <a:xfrm>
              <a:off x="2089091" y="4262809"/>
              <a:ext cx="197111" cy="100213"/>
              <a:chOff x="2089091" y="4262809"/>
              <a:chExt cx="197111" cy="100213"/>
            </a:xfrm>
            <a:noFill/>
          </p:grpSpPr>
          <p:grpSp>
            <p:nvGrpSpPr>
              <p:cNvPr id="1368" name="Gráfico 13">
                <a:extLst>
                  <a:ext uri="{FF2B5EF4-FFF2-40B4-BE49-F238E27FC236}">
                    <a16:creationId xmlns:a16="http://schemas.microsoft.com/office/drawing/2014/main" id="{288C9D5C-9643-F0FA-235D-B70C0982051B}"/>
                  </a:ext>
                </a:extLst>
              </p:cNvPr>
              <p:cNvGrpSpPr/>
              <p:nvPr/>
            </p:nvGrpSpPr>
            <p:grpSpPr>
              <a:xfrm>
                <a:off x="2225287" y="4262809"/>
                <a:ext cx="60915" cy="100213"/>
                <a:chOff x="2225287" y="4262809"/>
                <a:chExt cx="60915" cy="100213"/>
              </a:xfrm>
              <a:noFill/>
            </p:grpSpPr>
            <p:grpSp>
              <p:nvGrpSpPr>
                <p:cNvPr id="1369" name="Gráfico 13">
                  <a:extLst>
                    <a:ext uri="{FF2B5EF4-FFF2-40B4-BE49-F238E27FC236}">
                      <a16:creationId xmlns:a16="http://schemas.microsoft.com/office/drawing/2014/main" id="{98074C79-DA4A-111D-8455-1020172937A8}"/>
                    </a:ext>
                  </a:extLst>
                </p:cNvPr>
                <p:cNvGrpSpPr/>
                <p:nvPr/>
              </p:nvGrpSpPr>
              <p:grpSpPr>
                <a:xfrm>
                  <a:off x="2225287" y="4277942"/>
                  <a:ext cx="60915" cy="69899"/>
                  <a:chOff x="2225287" y="4277942"/>
                  <a:chExt cx="60915" cy="69899"/>
                </a:xfrm>
                <a:noFill/>
              </p:grpSpPr>
              <p:sp>
                <p:nvSpPr>
                  <p:cNvPr id="1370" name="Forma livre: Forma 1369">
                    <a:extLst>
                      <a:ext uri="{FF2B5EF4-FFF2-40B4-BE49-F238E27FC236}">
                        <a16:creationId xmlns:a16="http://schemas.microsoft.com/office/drawing/2014/main" id="{7F8911D7-5BD0-2537-1B3F-8082F4A97565}"/>
                      </a:ext>
                    </a:extLst>
                  </p:cNvPr>
                  <p:cNvSpPr/>
                  <p:nvPr/>
                </p:nvSpPr>
                <p:spPr>
                  <a:xfrm>
                    <a:off x="2225287" y="4277942"/>
                    <a:ext cx="60915" cy="34925"/>
                  </a:xfrm>
                  <a:custGeom>
                    <a:avLst/>
                    <a:gdLst>
                      <a:gd name="connsiteX0" fmla="*/ 0 w 60915"/>
                      <a:gd name="connsiteY0" fmla="*/ 0 h 34925"/>
                      <a:gd name="connsiteX1" fmla="*/ 42996 w 60915"/>
                      <a:gd name="connsiteY1" fmla="*/ 0 h 34925"/>
                      <a:gd name="connsiteX2" fmla="*/ 60916 w 60915"/>
                      <a:gd name="connsiteY2" fmla="*/ 17487 h 34925"/>
                      <a:gd name="connsiteX3" fmla="*/ 42996 w 60915"/>
                      <a:gd name="connsiteY3" fmla="*/ 34926 h 34925"/>
                      <a:gd name="connsiteX4" fmla="*/ 15613 w 60915"/>
                      <a:gd name="connsiteY4" fmla="*/ 34926 h 3492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60915" h="34925">
                        <a:moveTo>
                          <a:pt x="0" y="0"/>
                        </a:moveTo>
                        <a:lnTo>
                          <a:pt x="42996" y="0"/>
                        </a:lnTo>
                        <a:cubicBezTo>
                          <a:pt x="52845" y="0"/>
                          <a:pt x="60916" y="7879"/>
                          <a:pt x="60916" y="17487"/>
                        </a:cubicBezTo>
                        <a:cubicBezTo>
                          <a:pt x="60916" y="27095"/>
                          <a:pt x="52845" y="34926"/>
                          <a:pt x="42996" y="34926"/>
                        </a:cubicBezTo>
                        <a:lnTo>
                          <a:pt x="15613" y="34926"/>
                        </a:lnTo>
                      </a:path>
                    </a:pathLst>
                  </a:custGeom>
                  <a:noFill/>
                  <a:ln w="6350" cap="rnd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1371" name="Forma livre: Forma 1370">
                    <a:extLst>
                      <a:ext uri="{FF2B5EF4-FFF2-40B4-BE49-F238E27FC236}">
                        <a16:creationId xmlns:a16="http://schemas.microsoft.com/office/drawing/2014/main" id="{C2C2B906-05AE-6E54-6A3E-F12416A5A1C4}"/>
                      </a:ext>
                    </a:extLst>
                  </p:cNvPr>
                  <p:cNvSpPr/>
                  <p:nvPr/>
                </p:nvSpPr>
                <p:spPr>
                  <a:xfrm>
                    <a:off x="2225287" y="4312916"/>
                    <a:ext cx="60915" cy="34925"/>
                  </a:xfrm>
                  <a:custGeom>
                    <a:avLst/>
                    <a:gdLst>
                      <a:gd name="connsiteX0" fmla="*/ 42996 w 60915"/>
                      <a:gd name="connsiteY0" fmla="*/ 0 h 34925"/>
                      <a:gd name="connsiteX1" fmla="*/ 60916 w 60915"/>
                      <a:gd name="connsiteY1" fmla="*/ 17487 h 34925"/>
                      <a:gd name="connsiteX2" fmla="*/ 42996 w 60915"/>
                      <a:gd name="connsiteY2" fmla="*/ 34926 h 34925"/>
                      <a:gd name="connsiteX3" fmla="*/ 0 w 60915"/>
                      <a:gd name="connsiteY3" fmla="*/ 34926 h 3492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60915" h="34925">
                        <a:moveTo>
                          <a:pt x="42996" y="0"/>
                        </a:moveTo>
                        <a:cubicBezTo>
                          <a:pt x="52845" y="0"/>
                          <a:pt x="60916" y="7879"/>
                          <a:pt x="60916" y="17487"/>
                        </a:cubicBezTo>
                        <a:cubicBezTo>
                          <a:pt x="60916" y="27095"/>
                          <a:pt x="52845" y="34926"/>
                          <a:pt x="42996" y="34926"/>
                        </a:cubicBezTo>
                        <a:lnTo>
                          <a:pt x="0" y="34926"/>
                        </a:lnTo>
                      </a:path>
                    </a:pathLst>
                  </a:custGeom>
                  <a:noFill/>
                  <a:ln w="6350" cap="rnd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  <p:sp>
              <p:nvSpPr>
                <p:cNvPr id="1372" name="Forma livre: Forma 1371">
                  <a:extLst>
                    <a:ext uri="{FF2B5EF4-FFF2-40B4-BE49-F238E27FC236}">
                      <a16:creationId xmlns:a16="http://schemas.microsoft.com/office/drawing/2014/main" id="{14FA7177-4488-16D7-93FB-E7DE702BC8FC}"/>
                    </a:ext>
                  </a:extLst>
                </p:cNvPr>
                <p:cNvSpPr/>
                <p:nvPr/>
              </p:nvSpPr>
              <p:spPr>
                <a:xfrm>
                  <a:off x="2240179" y="4262809"/>
                  <a:ext cx="4804" cy="100213"/>
                </a:xfrm>
                <a:custGeom>
                  <a:avLst/>
                  <a:gdLst>
                    <a:gd name="connsiteX0" fmla="*/ 0 w 4804"/>
                    <a:gd name="connsiteY0" fmla="*/ 0 h 100213"/>
                    <a:gd name="connsiteX1" fmla="*/ 0 w 4804"/>
                    <a:gd name="connsiteY1" fmla="*/ 100213 h 10021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804" h="100213">
                      <a:moveTo>
                        <a:pt x="0" y="0"/>
                      </a:moveTo>
                      <a:lnTo>
                        <a:pt x="0" y="100213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grpSp>
              <p:nvGrpSpPr>
                <p:cNvPr id="1373" name="Gráfico 13">
                  <a:extLst>
                    <a:ext uri="{FF2B5EF4-FFF2-40B4-BE49-F238E27FC236}">
                      <a16:creationId xmlns:a16="http://schemas.microsoft.com/office/drawing/2014/main" id="{9EAC781C-6B0D-1117-6110-9EB0A192E671}"/>
                    </a:ext>
                  </a:extLst>
                </p:cNvPr>
                <p:cNvGrpSpPr/>
                <p:nvPr/>
              </p:nvGrpSpPr>
              <p:grpSpPr>
                <a:xfrm>
                  <a:off x="2263863" y="4262809"/>
                  <a:ext cx="4804" cy="100213"/>
                  <a:chOff x="2263863" y="4262809"/>
                  <a:chExt cx="4804" cy="100213"/>
                </a:xfrm>
              </p:grpSpPr>
              <p:sp>
                <p:nvSpPr>
                  <p:cNvPr id="1374" name="Forma livre: Forma 1373">
                    <a:extLst>
                      <a:ext uri="{FF2B5EF4-FFF2-40B4-BE49-F238E27FC236}">
                        <a16:creationId xmlns:a16="http://schemas.microsoft.com/office/drawing/2014/main" id="{5280279B-CFA1-4466-7490-A68776B0D6AD}"/>
                      </a:ext>
                    </a:extLst>
                  </p:cNvPr>
                  <p:cNvSpPr/>
                  <p:nvPr/>
                </p:nvSpPr>
                <p:spPr>
                  <a:xfrm>
                    <a:off x="2263863" y="4262809"/>
                    <a:ext cx="4804" cy="14892"/>
                  </a:xfrm>
                  <a:custGeom>
                    <a:avLst/>
                    <a:gdLst>
                      <a:gd name="connsiteX0" fmla="*/ 0 w 4804"/>
                      <a:gd name="connsiteY0" fmla="*/ 0 h 14892"/>
                      <a:gd name="connsiteX1" fmla="*/ 0 w 4804"/>
                      <a:gd name="connsiteY1" fmla="*/ 14893 h 1489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4804" h="14892">
                        <a:moveTo>
                          <a:pt x="0" y="0"/>
                        </a:moveTo>
                        <a:lnTo>
                          <a:pt x="0" y="14893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1375" name="Forma livre: Forma 1374">
                    <a:extLst>
                      <a:ext uri="{FF2B5EF4-FFF2-40B4-BE49-F238E27FC236}">
                        <a16:creationId xmlns:a16="http://schemas.microsoft.com/office/drawing/2014/main" id="{67CBF5BF-A7E3-8D94-6292-204804B2F99E}"/>
                      </a:ext>
                    </a:extLst>
                  </p:cNvPr>
                  <p:cNvSpPr/>
                  <p:nvPr/>
                </p:nvSpPr>
                <p:spPr>
                  <a:xfrm>
                    <a:off x="2263863" y="4348130"/>
                    <a:ext cx="4804" cy="14892"/>
                  </a:xfrm>
                  <a:custGeom>
                    <a:avLst/>
                    <a:gdLst>
                      <a:gd name="connsiteX0" fmla="*/ 0 w 4804"/>
                      <a:gd name="connsiteY0" fmla="*/ 0 h 14892"/>
                      <a:gd name="connsiteX1" fmla="*/ 0 w 4804"/>
                      <a:gd name="connsiteY1" fmla="*/ 14893 h 1489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4804" h="14892">
                        <a:moveTo>
                          <a:pt x="0" y="0"/>
                        </a:moveTo>
                        <a:lnTo>
                          <a:pt x="0" y="14893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</p:grpSp>
          <p:grpSp>
            <p:nvGrpSpPr>
              <p:cNvPr id="1376" name="Gráfico 13">
                <a:extLst>
                  <a:ext uri="{FF2B5EF4-FFF2-40B4-BE49-F238E27FC236}">
                    <a16:creationId xmlns:a16="http://schemas.microsoft.com/office/drawing/2014/main" id="{21C3F202-EC04-7D09-BA75-F01F4AE19BF2}"/>
                  </a:ext>
                </a:extLst>
              </p:cNvPr>
              <p:cNvGrpSpPr/>
              <p:nvPr/>
            </p:nvGrpSpPr>
            <p:grpSpPr>
              <a:xfrm>
                <a:off x="2089091" y="4277942"/>
                <a:ext cx="98003" cy="69947"/>
                <a:chOff x="2089091" y="4277942"/>
                <a:chExt cx="98003" cy="69947"/>
              </a:xfrm>
            </p:grpSpPr>
            <p:sp>
              <p:nvSpPr>
                <p:cNvPr id="1377" name="Forma livre: Forma 1376">
                  <a:extLst>
                    <a:ext uri="{FF2B5EF4-FFF2-40B4-BE49-F238E27FC236}">
                      <a16:creationId xmlns:a16="http://schemas.microsoft.com/office/drawing/2014/main" id="{1197D13C-48DB-4BB6-F41C-D6F158799794}"/>
                    </a:ext>
                  </a:extLst>
                </p:cNvPr>
                <p:cNvSpPr/>
                <p:nvPr/>
              </p:nvSpPr>
              <p:spPr>
                <a:xfrm>
                  <a:off x="2089091" y="4277942"/>
                  <a:ext cx="98003" cy="4804"/>
                </a:xfrm>
                <a:custGeom>
                  <a:avLst/>
                  <a:gdLst>
                    <a:gd name="connsiteX0" fmla="*/ 98003 w 98003"/>
                    <a:gd name="connsiteY0" fmla="*/ 0 h 4804"/>
                    <a:gd name="connsiteX1" fmla="*/ 0 w 98003"/>
                    <a:gd name="connsiteY1" fmla="*/ 0 h 480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98003" h="4804">
                      <a:moveTo>
                        <a:pt x="98003" y="0"/>
                      </a:moveTo>
                      <a:lnTo>
                        <a:pt x="0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378" name="Forma livre: Forma 1377">
                  <a:extLst>
                    <a:ext uri="{FF2B5EF4-FFF2-40B4-BE49-F238E27FC236}">
                      <a16:creationId xmlns:a16="http://schemas.microsoft.com/office/drawing/2014/main" id="{2D240741-6452-002C-1422-92A4AB471A60}"/>
                    </a:ext>
                  </a:extLst>
                </p:cNvPr>
                <p:cNvSpPr/>
                <p:nvPr/>
              </p:nvSpPr>
              <p:spPr>
                <a:xfrm>
                  <a:off x="2089091" y="4347890"/>
                  <a:ext cx="98003" cy="4804"/>
                </a:xfrm>
                <a:custGeom>
                  <a:avLst/>
                  <a:gdLst>
                    <a:gd name="connsiteX0" fmla="*/ 98003 w 98003"/>
                    <a:gd name="connsiteY0" fmla="*/ 0 h 4804"/>
                    <a:gd name="connsiteX1" fmla="*/ 0 w 98003"/>
                    <a:gd name="connsiteY1" fmla="*/ 0 h 480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98003" h="4804">
                      <a:moveTo>
                        <a:pt x="98003" y="0"/>
                      </a:moveTo>
                      <a:lnTo>
                        <a:pt x="0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379" name="Forma livre: Forma 1378">
                  <a:extLst>
                    <a:ext uri="{FF2B5EF4-FFF2-40B4-BE49-F238E27FC236}">
                      <a16:creationId xmlns:a16="http://schemas.microsoft.com/office/drawing/2014/main" id="{FCA33491-67E4-3F86-A144-5281DE515B69}"/>
                    </a:ext>
                  </a:extLst>
                </p:cNvPr>
                <p:cNvSpPr/>
                <p:nvPr/>
              </p:nvSpPr>
              <p:spPr>
                <a:xfrm>
                  <a:off x="2089091" y="4312916"/>
                  <a:ext cx="98003" cy="4804"/>
                </a:xfrm>
                <a:custGeom>
                  <a:avLst/>
                  <a:gdLst>
                    <a:gd name="connsiteX0" fmla="*/ 98003 w 98003"/>
                    <a:gd name="connsiteY0" fmla="*/ 0 h 4804"/>
                    <a:gd name="connsiteX1" fmla="*/ 0 w 98003"/>
                    <a:gd name="connsiteY1" fmla="*/ 0 h 480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98003" h="4804">
                      <a:moveTo>
                        <a:pt x="98003" y="0"/>
                      </a:moveTo>
                      <a:lnTo>
                        <a:pt x="0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sp>
          <p:nvSpPr>
            <p:cNvPr id="1380" name="Forma livre: Forma 1379">
              <a:extLst>
                <a:ext uri="{FF2B5EF4-FFF2-40B4-BE49-F238E27FC236}">
                  <a16:creationId xmlns:a16="http://schemas.microsoft.com/office/drawing/2014/main" id="{49898BCA-B04D-3382-1704-B8BE448F650C}"/>
                </a:ext>
              </a:extLst>
            </p:cNvPr>
            <p:cNvSpPr/>
            <p:nvPr/>
          </p:nvSpPr>
          <p:spPr>
            <a:xfrm>
              <a:off x="2109412" y="4195120"/>
              <a:ext cx="7206" cy="7206"/>
            </a:xfrm>
            <a:custGeom>
              <a:avLst/>
              <a:gdLst>
                <a:gd name="connsiteX0" fmla="*/ 7206 w 7206"/>
                <a:gd name="connsiteY0" fmla="*/ 3603 h 7206"/>
                <a:gd name="connsiteX1" fmla="*/ 3603 w 7206"/>
                <a:gd name="connsiteY1" fmla="*/ 7206 h 7206"/>
                <a:gd name="connsiteX2" fmla="*/ 0 w 7206"/>
                <a:gd name="connsiteY2" fmla="*/ 3603 h 7206"/>
                <a:gd name="connsiteX3" fmla="*/ 3603 w 7206"/>
                <a:gd name="connsiteY3" fmla="*/ 0 h 7206"/>
                <a:gd name="connsiteX4" fmla="*/ 7206 w 7206"/>
                <a:gd name="connsiteY4" fmla="*/ 3603 h 72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206" h="7206">
                  <a:moveTo>
                    <a:pt x="7206" y="3603"/>
                  </a:moveTo>
                  <a:cubicBezTo>
                    <a:pt x="7206" y="5621"/>
                    <a:pt x="5621" y="7206"/>
                    <a:pt x="3603" y="7206"/>
                  </a:cubicBezTo>
                  <a:cubicBezTo>
                    <a:pt x="1585" y="7206"/>
                    <a:pt x="0" y="5621"/>
                    <a:pt x="0" y="3603"/>
                  </a:cubicBezTo>
                  <a:cubicBezTo>
                    <a:pt x="0" y="1585"/>
                    <a:pt x="1633" y="0"/>
                    <a:pt x="3603" y="0"/>
                  </a:cubicBezTo>
                  <a:cubicBezTo>
                    <a:pt x="5573" y="0"/>
                    <a:pt x="7206" y="1585"/>
                    <a:pt x="7206" y="3603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381" name="Forma livre: Forma 1380">
              <a:extLst>
                <a:ext uri="{FF2B5EF4-FFF2-40B4-BE49-F238E27FC236}">
                  <a16:creationId xmlns:a16="http://schemas.microsoft.com/office/drawing/2014/main" id="{336A9D69-1A53-2A5A-DBD8-53E731A89567}"/>
                </a:ext>
              </a:extLst>
            </p:cNvPr>
            <p:cNvSpPr/>
            <p:nvPr/>
          </p:nvSpPr>
          <p:spPr>
            <a:xfrm>
              <a:off x="2145155" y="4195120"/>
              <a:ext cx="7206" cy="7206"/>
            </a:xfrm>
            <a:custGeom>
              <a:avLst/>
              <a:gdLst>
                <a:gd name="connsiteX0" fmla="*/ 7206 w 7206"/>
                <a:gd name="connsiteY0" fmla="*/ 3603 h 7206"/>
                <a:gd name="connsiteX1" fmla="*/ 3603 w 7206"/>
                <a:gd name="connsiteY1" fmla="*/ 7206 h 7206"/>
                <a:gd name="connsiteX2" fmla="*/ 0 w 7206"/>
                <a:gd name="connsiteY2" fmla="*/ 3603 h 7206"/>
                <a:gd name="connsiteX3" fmla="*/ 3603 w 7206"/>
                <a:gd name="connsiteY3" fmla="*/ 0 h 7206"/>
                <a:gd name="connsiteX4" fmla="*/ 7206 w 7206"/>
                <a:gd name="connsiteY4" fmla="*/ 3603 h 72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206" h="7206">
                  <a:moveTo>
                    <a:pt x="7206" y="3603"/>
                  </a:moveTo>
                  <a:cubicBezTo>
                    <a:pt x="7206" y="5621"/>
                    <a:pt x="5621" y="7206"/>
                    <a:pt x="3603" y="7206"/>
                  </a:cubicBezTo>
                  <a:cubicBezTo>
                    <a:pt x="1585" y="7206"/>
                    <a:pt x="0" y="5621"/>
                    <a:pt x="0" y="3603"/>
                  </a:cubicBezTo>
                  <a:cubicBezTo>
                    <a:pt x="0" y="1585"/>
                    <a:pt x="1633" y="0"/>
                    <a:pt x="3603" y="0"/>
                  </a:cubicBezTo>
                  <a:cubicBezTo>
                    <a:pt x="5573" y="0"/>
                    <a:pt x="7206" y="1585"/>
                    <a:pt x="7206" y="3603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382" name="Gráfico 13">
            <a:extLst>
              <a:ext uri="{FF2B5EF4-FFF2-40B4-BE49-F238E27FC236}">
                <a16:creationId xmlns:a16="http://schemas.microsoft.com/office/drawing/2014/main" id="{68801C3F-FEC5-96B9-F5A6-4A3294649228}"/>
              </a:ext>
            </a:extLst>
          </p:cNvPr>
          <p:cNvGrpSpPr/>
          <p:nvPr/>
        </p:nvGrpSpPr>
        <p:grpSpPr>
          <a:xfrm>
            <a:off x="1410851" y="4161683"/>
            <a:ext cx="313706" cy="243903"/>
            <a:chOff x="1410851" y="4161683"/>
            <a:chExt cx="313706" cy="243903"/>
          </a:xfrm>
          <a:noFill/>
        </p:grpSpPr>
        <p:sp>
          <p:nvSpPr>
            <p:cNvPr id="1383" name="Forma livre: Forma 1382">
              <a:extLst>
                <a:ext uri="{FF2B5EF4-FFF2-40B4-BE49-F238E27FC236}">
                  <a16:creationId xmlns:a16="http://schemas.microsoft.com/office/drawing/2014/main" id="{1D6BF57F-D193-5C50-AEA2-F5ED3132DFB4}"/>
                </a:ext>
              </a:extLst>
            </p:cNvPr>
            <p:cNvSpPr/>
            <p:nvPr/>
          </p:nvSpPr>
          <p:spPr>
            <a:xfrm>
              <a:off x="1533547" y="4161683"/>
              <a:ext cx="68314" cy="95985"/>
            </a:xfrm>
            <a:custGeom>
              <a:avLst/>
              <a:gdLst>
                <a:gd name="connsiteX0" fmla="*/ 0 w 68314"/>
                <a:gd name="connsiteY0" fmla="*/ 95985 h 95985"/>
                <a:gd name="connsiteX1" fmla="*/ 4804 w 68314"/>
                <a:gd name="connsiteY1" fmla="*/ 0 h 95985"/>
                <a:gd name="connsiteX2" fmla="*/ 63510 w 68314"/>
                <a:gd name="connsiteY2" fmla="*/ 0 h 95985"/>
                <a:gd name="connsiteX3" fmla="*/ 68314 w 68314"/>
                <a:gd name="connsiteY3" fmla="*/ 95793 h 959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8314" h="95985">
                  <a:moveTo>
                    <a:pt x="0" y="95985"/>
                  </a:moveTo>
                  <a:lnTo>
                    <a:pt x="4804" y="0"/>
                  </a:lnTo>
                  <a:lnTo>
                    <a:pt x="63510" y="0"/>
                  </a:lnTo>
                  <a:lnTo>
                    <a:pt x="68314" y="95793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384" name="Gráfico 13">
              <a:extLst>
                <a:ext uri="{FF2B5EF4-FFF2-40B4-BE49-F238E27FC236}">
                  <a16:creationId xmlns:a16="http://schemas.microsoft.com/office/drawing/2014/main" id="{ACB7A0B2-8E0C-D549-61A9-8A06D179D4D7}"/>
                </a:ext>
              </a:extLst>
            </p:cNvPr>
            <p:cNvGrpSpPr/>
            <p:nvPr/>
          </p:nvGrpSpPr>
          <p:grpSpPr>
            <a:xfrm>
              <a:off x="1520961" y="4276453"/>
              <a:ext cx="93487" cy="93487"/>
              <a:chOff x="1520961" y="4276453"/>
              <a:chExt cx="93487" cy="93487"/>
            </a:xfrm>
            <a:noFill/>
          </p:grpSpPr>
          <p:sp>
            <p:nvSpPr>
              <p:cNvPr id="1385" name="Forma livre: Forma 1384">
                <a:extLst>
                  <a:ext uri="{FF2B5EF4-FFF2-40B4-BE49-F238E27FC236}">
                    <a16:creationId xmlns:a16="http://schemas.microsoft.com/office/drawing/2014/main" id="{1578AF89-8FC6-F210-4D9C-18AF5ED0DEBB}"/>
                  </a:ext>
                </a:extLst>
              </p:cNvPr>
              <p:cNvSpPr/>
              <p:nvPr/>
            </p:nvSpPr>
            <p:spPr>
              <a:xfrm>
                <a:off x="1520961" y="4276453"/>
                <a:ext cx="93487" cy="93487"/>
              </a:xfrm>
              <a:custGeom>
                <a:avLst/>
                <a:gdLst>
                  <a:gd name="connsiteX0" fmla="*/ 93487 w 93487"/>
                  <a:gd name="connsiteY0" fmla="*/ 46744 h 93487"/>
                  <a:gd name="connsiteX1" fmla="*/ 46744 w 93487"/>
                  <a:gd name="connsiteY1" fmla="*/ 93487 h 93487"/>
                  <a:gd name="connsiteX2" fmla="*/ 0 w 93487"/>
                  <a:gd name="connsiteY2" fmla="*/ 46744 h 93487"/>
                  <a:gd name="connsiteX3" fmla="*/ 46744 w 93487"/>
                  <a:gd name="connsiteY3" fmla="*/ 0 h 93487"/>
                  <a:gd name="connsiteX4" fmla="*/ 93487 w 93487"/>
                  <a:gd name="connsiteY4" fmla="*/ 46744 h 934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93487" h="93487">
                    <a:moveTo>
                      <a:pt x="93487" y="46744"/>
                    </a:moveTo>
                    <a:cubicBezTo>
                      <a:pt x="93487" y="72542"/>
                      <a:pt x="72542" y="93487"/>
                      <a:pt x="46744" y="93487"/>
                    </a:cubicBezTo>
                    <a:cubicBezTo>
                      <a:pt x="20946" y="93487"/>
                      <a:pt x="0" y="72542"/>
                      <a:pt x="0" y="46744"/>
                    </a:cubicBezTo>
                    <a:cubicBezTo>
                      <a:pt x="0" y="20946"/>
                      <a:pt x="20946" y="0"/>
                      <a:pt x="46744" y="0"/>
                    </a:cubicBezTo>
                    <a:cubicBezTo>
                      <a:pt x="72542" y="0"/>
                      <a:pt x="93487" y="20946"/>
                      <a:pt x="93487" y="46744"/>
                    </a:cubicBezTo>
                    <a:close/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386" name="Forma livre: Forma 1385">
                <a:extLst>
                  <a:ext uri="{FF2B5EF4-FFF2-40B4-BE49-F238E27FC236}">
                    <a16:creationId xmlns:a16="http://schemas.microsoft.com/office/drawing/2014/main" id="{75EC9E56-CEEE-94E5-B635-C3AB85257057}"/>
                  </a:ext>
                </a:extLst>
              </p:cNvPr>
              <p:cNvSpPr/>
              <p:nvPr/>
            </p:nvSpPr>
            <p:spPr>
              <a:xfrm>
                <a:off x="1545125" y="4300617"/>
                <a:ext cx="22579" cy="22579"/>
              </a:xfrm>
              <a:custGeom>
                <a:avLst/>
                <a:gdLst>
                  <a:gd name="connsiteX0" fmla="*/ 0 w 22579"/>
                  <a:gd name="connsiteY0" fmla="*/ 22579 h 22579"/>
                  <a:gd name="connsiteX1" fmla="*/ 22579 w 22579"/>
                  <a:gd name="connsiteY1" fmla="*/ 0 h 225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2579" h="22579">
                    <a:moveTo>
                      <a:pt x="0" y="22579"/>
                    </a:moveTo>
                    <a:cubicBezTo>
                      <a:pt x="0" y="10137"/>
                      <a:pt x="10137" y="0"/>
                      <a:pt x="22579" y="0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387" name="Gráfico 13">
              <a:extLst>
                <a:ext uri="{FF2B5EF4-FFF2-40B4-BE49-F238E27FC236}">
                  <a16:creationId xmlns:a16="http://schemas.microsoft.com/office/drawing/2014/main" id="{4907611A-2463-0D30-F044-AADCD8DE9981}"/>
                </a:ext>
              </a:extLst>
            </p:cNvPr>
            <p:cNvGrpSpPr/>
            <p:nvPr/>
          </p:nvGrpSpPr>
          <p:grpSpPr>
            <a:xfrm>
              <a:off x="1450965" y="4335543"/>
              <a:ext cx="233478" cy="7878"/>
              <a:chOff x="1450965" y="4335543"/>
              <a:chExt cx="233478" cy="7878"/>
            </a:xfrm>
            <a:noFill/>
          </p:grpSpPr>
          <p:sp>
            <p:nvSpPr>
              <p:cNvPr id="1388" name="Forma livre: Forma 1387">
                <a:extLst>
                  <a:ext uri="{FF2B5EF4-FFF2-40B4-BE49-F238E27FC236}">
                    <a16:creationId xmlns:a16="http://schemas.microsoft.com/office/drawing/2014/main" id="{96C4B18B-A16B-1BFA-0E8A-3D1F4C46BBB1}"/>
                  </a:ext>
                </a:extLst>
              </p:cNvPr>
              <p:cNvSpPr/>
              <p:nvPr/>
            </p:nvSpPr>
            <p:spPr>
              <a:xfrm>
                <a:off x="1450965" y="4335543"/>
                <a:ext cx="49578" cy="7878"/>
              </a:xfrm>
              <a:custGeom>
                <a:avLst/>
                <a:gdLst>
                  <a:gd name="connsiteX0" fmla="*/ 0 w 49578"/>
                  <a:gd name="connsiteY0" fmla="*/ 0 h 7878"/>
                  <a:gd name="connsiteX1" fmla="*/ 49578 w 49578"/>
                  <a:gd name="connsiteY1" fmla="*/ 7879 h 78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9578" h="7878">
                    <a:moveTo>
                      <a:pt x="0" y="0"/>
                    </a:moveTo>
                    <a:cubicBezTo>
                      <a:pt x="0" y="0"/>
                      <a:pt x="28392" y="7879"/>
                      <a:pt x="49578" y="7879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389" name="Forma livre: Forma 1388">
                <a:extLst>
                  <a:ext uri="{FF2B5EF4-FFF2-40B4-BE49-F238E27FC236}">
                    <a16:creationId xmlns:a16="http://schemas.microsoft.com/office/drawing/2014/main" id="{1D2DD47D-B648-6829-74AD-A1085AD60E04}"/>
                  </a:ext>
                </a:extLst>
              </p:cNvPr>
              <p:cNvSpPr/>
              <p:nvPr/>
            </p:nvSpPr>
            <p:spPr>
              <a:xfrm>
                <a:off x="1634865" y="4335543"/>
                <a:ext cx="49578" cy="7878"/>
              </a:xfrm>
              <a:custGeom>
                <a:avLst/>
                <a:gdLst>
                  <a:gd name="connsiteX0" fmla="*/ 49578 w 49578"/>
                  <a:gd name="connsiteY0" fmla="*/ 0 h 7878"/>
                  <a:gd name="connsiteX1" fmla="*/ 0 w 49578"/>
                  <a:gd name="connsiteY1" fmla="*/ 7879 h 78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9578" h="7878">
                    <a:moveTo>
                      <a:pt x="49578" y="0"/>
                    </a:moveTo>
                    <a:cubicBezTo>
                      <a:pt x="49578" y="0"/>
                      <a:pt x="21186" y="7879"/>
                      <a:pt x="0" y="7879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390" name="Gráfico 13">
              <a:extLst>
                <a:ext uri="{FF2B5EF4-FFF2-40B4-BE49-F238E27FC236}">
                  <a16:creationId xmlns:a16="http://schemas.microsoft.com/office/drawing/2014/main" id="{BE12CF2E-39A9-A7F2-9593-DE489D32C594}"/>
                </a:ext>
              </a:extLst>
            </p:cNvPr>
            <p:cNvGrpSpPr/>
            <p:nvPr/>
          </p:nvGrpSpPr>
          <p:grpSpPr>
            <a:xfrm>
              <a:off x="1433190" y="4188634"/>
              <a:ext cx="269028" cy="128797"/>
              <a:chOff x="1433190" y="4188634"/>
              <a:chExt cx="269028" cy="128797"/>
            </a:xfrm>
            <a:noFill/>
          </p:grpSpPr>
          <p:sp>
            <p:nvSpPr>
              <p:cNvPr id="1391" name="Forma livre: Forma 1390">
                <a:extLst>
                  <a:ext uri="{FF2B5EF4-FFF2-40B4-BE49-F238E27FC236}">
                    <a16:creationId xmlns:a16="http://schemas.microsoft.com/office/drawing/2014/main" id="{A5425E6A-50C9-87EC-2264-A67AA85756EF}"/>
                  </a:ext>
                </a:extLst>
              </p:cNvPr>
              <p:cNvSpPr/>
              <p:nvPr/>
            </p:nvSpPr>
            <p:spPr>
              <a:xfrm>
                <a:off x="1433190" y="4188634"/>
                <a:ext cx="77874" cy="128797"/>
              </a:xfrm>
              <a:custGeom>
                <a:avLst/>
                <a:gdLst>
                  <a:gd name="connsiteX0" fmla="*/ 0 w 77874"/>
                  <a:gd name="connsiteY0" fmla="*/ 128797 h 128797"/>
                  <a:gd name="connsiteX1" fmla="*/ 77874 w 77874"/>
                  <a:gd name="connsiteY1" fmla="*/ 0 h 128797"/>
                  <a:gd name="connsiteX2" fmla="*/ 77874 w 77874"/>
                  <a:gd name="connsiteY2" fmla="*/ 28872 h 1287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77874" h="128797">
                    <a:moveTo>
                      <a:pt x="0" y="128797"/>
                    </a:moveTo>
                    <a:cubicBezTo>
                      <a:pt x="0" y="54670"/>
                      <a:pt x="44966" y="11818"/>
                      <a:pt x="77874" y="0"/>
                    </a:cubicBezTo>
                    <a:lnTo>
                      <a:pt x="77874" y="28872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392" name="Forma livre: Forma 1391">
                <a:extLst>
                  <a:ext uri="{FF2B5EF4-FFF2-40B4-BE49-F238E27FC236}">
                    <a16:creationId xmlns:a16="http://schemas.microsoft.com/office/drawing/2014/main" id="{E41F086D-F987-D6A6-BE86-A6D9B4A83E30}"/>
                  </a:ext>
                </a:extLst>
              </p:cNvPr>
              <p:cNvSpPr/>
              <p:nvPr/>
            </p:nvSpPr>
            <p:spPr>
              <a:xfrm>
                <a:off x="1624345" y="4188634"/>
                <a:ext cx="77874" cy="128797"/>
              </a:xfrm>
              <a:custGeom>
                <a:avLst/>
                <a:gdLst>
                  <a:gd name="connsiteX0" fmla="*/ 77874 w 77874"/>
                  <a:gd name="connsiteY0" fmla="*/ 128797 h 128797"/>
                  <a:gd name="connsiteX1" fmla="*/ 0 w 77874"/>
                  <a:gd name="connsiteY1" fmla="*/ 0 h 128797"/>
                  <a:gd name="connsiteX2" fmla="*/ 0 w 77874"/>
                  <a:gd name="connsiteY2" fmla="*/ 28872 h 1287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77874" h="128797">
                    <a:moveTo>
                      <a:pt x="77874" y="128797"/>
                    </a:moveTo>
                    <a:cubicBezTo>
                      <a:pt x="77874" y="54670"/>
                      <a:pt x="32908" y="11818"/>
                      <a:pt x="0" y="0"/>
                    </a:cubicBezTo>
                    <a:lnTo>
                      <a:pt x="0" y="28872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393" name="Gráfico 13">
              <a:extLst>
                <a:ext uri="{FF2B5EF4-FFF2-40B4-BE49-F238E27FC236}">
                  <a16:creationId xmlns:a16="http://schemas.microsoft.com/office/drawing/2014/main" id="{5A4F9243-DB1F-DEBC-A053-A041B140206E}"/>
                </a:ext>
              </a:extLst>
            </p:cNvPr>
            <p:cNvGrpSpPr/>
            <p:nvPr/>
          </p:nvGrpSpPr>
          <p:grpSpPr>
            <a:xfrm>
              <a:off x="1410851" y="4321611"/>
              <a:ext cx="313706" cy="83975"/>
              <a:chOff x="1410851" y="4321611"/>
              <a:chExt cx="313706" cy="83975"/>
            </a:xfrm>
            <a:noFill/>
          </p:grpSpPr>
          <p:sp>
            <p:nvSpPr>
              <p:cNvPr id="1394" name="Forma livre: Forma 1393">
                <a:extLst>
                  <a:ext uri="{FF2B5EF4-FFF2-40B4-BE49-F238E27FC236}">
                    <a16:creationId xmlns:a16="http://schemas.microsoft.com/office/drawing/2014/main" id="{DD8A8808-65B5-58DC-F3D4-EFFD8D9953E4}"/>
                  </a:ext>
                </a:extLst>
              </p:cNvPr>
              <p:cNvSpPr/>
              <p:nvPr/>
            </p:nvSpPr>
            <p:spPr>
              <a:xfrm>
                <a:off x="1410851" y="4321611"/>
                <a:ext cx="156853" cy="83975"/>
              </a:xfrm>
              <a:custGeom>
                <a:avLst/>
                <a:gdLst>
                  <a:gd name="connsiteX0" fmla="*/ 156853 w 156853"/>
                  <a:gd name="connsiteY0" fmla="*/ 83975 h 83975"/>
                  <a:gd name="connsiteX1" fmla="*/ 0 w 156853"/>
                  <a:gd name="connsiteY1" fmla="*/ 16910 h 83975"/>
                  <a:gd name="connsiteX2" fmla="*/ 0 w 156853"/>
                  <a:gd name="connsiteY2" fmla="*/ 0 h 839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56853" h="83975">
                    <a:moveTo>
                      <a:pt x="156853" y="83975"/>
                    </a:moveTo>
                    <a:cubicBezTo>
                      <a:pt x="35550" y="83975"/>
                      <a:pt x="0" y="31467"/>
                      <a:pt x="0" y="16910"/>
                    </a:cubicBezTo>
                    <a:lnTo>
                      <a:pt x="0" y="0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395" name="Forma livre: Forma 1394">
                <a:extLst>
                  <a:ext uri="{FF2B5EF4-FFF2-40B4-BE49-F238E27FC236}">
                    <a16:creationId xmlns:a16="http://schemas.microsoft.com/office/drawing/2014/main" id="{C8264EB1-DC8B-0CCF-704A-FC46A5E464E1}"/>
                  </a:ext>
                </a:extLst>
              </p:cNvPr>
              <p:cNvSpPr/>
              <p:nvPr/>
            </p:nvSpPr>
            <p:spPr>
              <a:xfrm>
                <a:off x="1567704" y="4321611"/>
                <a:ext cx="156853" cy="83975"/>
              </a:xfrm>
              <a:custGeom>
                <a:avLst/>
                <a:gdLst>
                  <a:gd name="connsiteX0" fmla="*/ 0 w 156853"/>
                  <a:gd name="connsiteY0" fmla="*/ 83975 h 83975"/>
                  <a:gd name="connsiteX1" fmla="*/ 156853 w 156853"/>
                  <a:gd name="connsiteY1" fmla="*/ 16910 h 83975"/>
                  <a:gd name="connsiteX2" fmla="*/ 156853 w 156853"/>
                  <a:gd name="connsiteY2" fmla="*/ 0 h 839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56853" h="83975">
                    <a:moveTo>
                      <a:pt x="0" y="83975"/>
                    </a:moveTo>
                    <a:cubicBezTo>
                      <a:pt x="121303" y="83975"/>
                      <a:pt x="156853" y="31467"/>
                      <a:pt x="156853" y="16910"/>
                    </a:cubicBezTo>
                    <a:lnTo>
                      <a:pt x="156853" y="0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397" name="Gráfico 14">
            <a:extLst>
              <a:ext uri="{FF2B5EF4-FFF2-40B4-BE49-F238E27FC236}">
                <a16:creationId xmlns:a16="http://schemas.microsoft.com/office/drawing/2014/main" id="{05C5E7F5-B099-1891-AE03-F96847AFE244}"/>
              </a:ext>
            </a:extLst>
          </p:cNvPr>
          <p:cNvGrpSpPr/>
          <p:nvPr/>
        </p:nvGrpSpPr>
        <p:grpSpPr>
          <a:xfrm>
            <a:off x="3880947" y="5224058"/>
            <a:ext cx="380819" cy="255865"/>
            <a:chOff x="3880947" y="5224058"/>
            <a:chExt cx="380819" cy="255865"/>
          </a:xfrm>
          <a:noFill/>
        </p:grpSpPr>
        <p:grpSp>
          <p:nvGrpSpPr>
            <p:cNvPr id="1398" name="Gráfico 14">
              <a:extLst>
                <a:ext uri="{FF2B5EF4-FFF2-40B4-BE49-F238E27FC236}">
                  <a16:creationId xmlns:a16="http://schemas.microsoft.com/office/drawing/2014/main" id="{8F290358-B84B-8070-528D-87963876C305}"/>
                </a:ext>
              </a:extLst>
            </p:cNvPr>
            <p:cNvGrpSpPr/>
            <p:nvPr/>
          </p:nvGrpSpPr>
          <p:grpSpPr>
            <a:xfrm>
              <a:off x="4041163" y="5302268"/>
              <a:ext cx="60435" cy="99444"/>
              <a:chOff x="4041163" y="5302268"/>
              <a:chExt cx="60435" cy="99444"/>
            </a:xfrm>
            <a:noFill/>
          </p:grpSpPr>
          <p:grpSp>
            <p:nvGrpSpPr>
              <p:cNvPr id="1399" name="Gráfico 14">
                <a:extLst>
                  <a:ext uri="{FF2B5EF4-FFF2-40B4-BE49-F238E27FC236}">
                    <a16:creationId xmlns:a16="http://schemas.microsoft.com/office/drawing/2014/main" id="{7262F0FD-83F3-B889-BD63-CA6B77CB4318}"/>
                  </a:ext>
                </a:extLst>
              </p:cNvPr>
              <p:cNvGrpSpPr/>
              <p:nvPr/>
            </p:nvGrpSpPr>
            <p:grpSpPr>
              <a:xfrm>
                <a:off x="4041163" y="5317305"/>
                <a:ext cx="60435" cy="69370"/>
                <a:chOff x="4041163" y="5317305"/>
                <a:chExt cx="60435" cy="69370"/>
              </a:xfrm>
              <a:noFill/>
            </p:grpSpPr>
            <p:sp>
              <p:nvSpPr>
                <p:cNvPr id="1400" name="Forma livre: Forma 1399">
                  <a:extLst>
                    <a:ext uri="{FF2B5EF4-FFF2-40B4-BE49-F238E27FC236}">
                      <a16:creationId xmlns:a16="http://schemas.microsoft.com/office/drawing/2014/main" id="{90A2F0BE-E5C3-1179-9BA8-BBFEF0AA9D76}"/>
                    </a:ext>
                  </a:extLst>
                </p:cNvPr>
                <p:cNvSpPr/>
                <p:nvPr/>
              </p:nvSpPr>
              <p:spPr>
                <a:xfrm>
                  <a:off x="4041163" y="5317305"/>
                  <a:ext cx="60435" cy="34685"/>
                </a:xfrm>
                <a:custGeom>
                  <a:avLst/>
                  <a:gdLst>
                    <a:gd name="connsiteX0" fmla="*/ 0 w 60435"/>
                    <a:gd name="connsiteY0" fmla="*/ 0 h 34685"/>
                    <a:gd name="connsiteX1" fmla="*/ 42660 w 60435"/>
                    <a:gd name="connsiteY1" fmla="*/ 0 h 34685"/>
                    <a:gd name="connsiteX2" fmla="*/ 60435 w 60435"/>
                    <a:gd name="connsiteY2" fmla="*/ 17343 h 34685"/>
                    <a:gd name="connsiteX3" fmla="*/ 42660 w 60435"/>
                    <a:gd name="connsiteY3" fmla="*/ 34685 h 34685"/>
                    <a:gd name="connsiteX4" fmla="*/ 15469 w 60435"/>
                    <a:gd name="connsiteY4" fmla="*/ 34685 h 3468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60435" h="34685">
                      <a:moveTo>
                        <a:pt x="0" y="0"/>
                      </a:moveTo>
                      <a:lnTo>
                        <a:pt x="42660" y="0"/>
                      </a:lnTo>
                      <a:cubicBezTo>
                        <a:pt x="52413" y="0"/>
                        <a:pt x="60435" y="7831"/>
                        <a:pt x="60435" y="17343"/>
                      </a:cubicBezTo>
                      <a:cubicBezTo>
                        <a:pt x="60435" y="26855"/>
                        <a:pt x="52461" y="34685"/>
                        <a:pt x="42660" y="34685"/>
                      </a:cubicBezTo>
                      <a:lnTo>
                        <a:pt x="15469" y="34685"/>
                      </a:ln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401" name="Forma livre: Forma 1400">
                  <a:extLst>
                    <a:ext uri="{FF2B5EF4-FFF2-40B4-BE49-F238E27FC236}">
                      <a16:creationId xmlns:a16="http://schemas.microsoft.com/office/drawing/2014/main" id="{7DDBB8A6-09C9-8327-5483-E330C95CF705}"/>
                    </a:ext>
                  </a:extLst>
                </p:cNvPr>
                <p:cNvSpPr/>
                <p:nvPr/>
              </p:nvSpPr>
              <p:spPr>
                <a:xfrm>
                  <a:off x="4041163" y="5351990"/>
                  <a:ext cx="60435" cy="34685"/>
                </a:xfrm>
                <a:custGeom>
                  <a:avLst/>
                  <a:gdLst>
                    <a:gd name="connsiteX0" fmla="*/ 42660 w 60435"/>
                    <a:gd name="connsiteY0" fmla="*/ 0 h 34685"/>
                    <a:gd name="connsiteX1" fmla="*/ 60435 w 60435"/>
                    <a:gd name="connsiteY1" fmla="*/ 17343 h 34685"/>
                    <a:gd name="connsiteX2" fmla="*/ 42660 w 60435"/>
                    <a:gd name="connsiteY2" fmla="*/ 34685 h 34685"/>
                    <a:gd name="connsiteX3" fmla="*/ 0 w 60435"/>
                    <a:gd name="connsiteY3" fmla="*/ 34685 h 3468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60435" h="34685">
                      <a:moveTo>
                        <a:pt x="42660" y="0"/>
                      </a:moveTo>
                      <a:cubicBezTo>
                        <a:pt x="52413" y="0"/>
                        <a:pt x="60435" y="7783"/>
                        <a:pt x="60435" y="17343"/>
                      </a:cubicBezTo>
                      <a:cubicBezTo>
                        <a:pt x="60435" y="26903"/>
                        <a:pt x="52461" y="34685"/>
                        <a:pt x="42660" y="34685"/>
                      </a:cubicBezTo>
                      <a:lnTo>
                        <a:pt x="0" y="34685"/>
                      </a:ln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1402" name="Forma livre: Forma 1401">
                <a:extLst>
                  <a:ext uri="{FF2B5EF4-FFF2-40B4-BE49-F238E27FC236}">
                    <a16:creationId xmlns:a16="http://schemas.microsoft.com/office/drawing/2014/main" id="{1E34DA49-3957-1BB4-648B-9BC4AAD38797}"/>
                  </a:ext>
                </a:extLst>
              </p:cNvPr>
              <p:cNvSpPr/>
              <p:nvPr/>
            </p:nvSpPr>
            <p:spPr>
              <a:xfrm>
                <a:off x="4055960" y="5302268"/>
                <a:ext cx="4804" cy="99444"/>
              </a:xfrm>
              <a:custGeom>
                <a:avLst/>
                <a:gdLst>
                  <a:gd name="connsiteX0" fmla="*/ 0 w 4804"/>
                  <a:gd name="connsiteY0" fmla="*/ 0 h 99444"/>
                  <a:gd name="connsiteX1" fmla="*/ 0 w 4804"/>
                  <a:gd name="connsiteY1" fmla="*/ 99445 h 994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804" h="99444">
                    <a:moveTo>
                      <a:pt x="0" y="0"/>
                    </a:moveTo>
                    <a:lnTo>
                      <a:pt x="0" y="99445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1403" name="Gráfico 14">
                <a:extLst>
                  <a:ext uri="{FF2B5EF4-FFF2-40B4-BE49-F238E27FC236}">
                    <a16:creationId xmlns:a16="http://schemas.microsoft.com/office/drawing/2014/main" id="{BD980EB6-FAB4-F85C-7C9D-C4A7069A4061}"/>
                  </a:ext>
                </a:extLst>
              </p:cNvPr>
              <p:cNvGrpSpPr/>
              <p:nvPr/>
            </p:nvGrpSpPr>
            <p:grpSpPr>
              <a:xfrm>
                <a:off x="4079404" y="5302268"/>
                <a:ext cx="4804" cy="99444"/>
                <a:chOff x="4079404" y="5302268"/>
                <a:chExt cx="4804" cy="99444"/>
              </a:xfrm>
            </p:grpSpPr>
            <p:sp>
              <p:nvSpPr>
                <p:cNvPr id="1404" name="Forma livre: Forma 1403">
                  <a:extLst>
                    <a:ext uri="{FF2B5EF4-FFF2-40B4-BE49-F238E27FC236}">
                      <a16:creationId xmlns:a16="http://schemas.microsoft.com/office/drawing/2014/main" id="{322E70DF-E5F6-A4D3-A5D1-ED31D5B74891}"/>
                    </a:ext>
                  </a:extLst>
                </p:cNvPr>
                <p:cNvSpPr/>
                <p:nvPr/>
              </p:nvSpPr>
              <p:spPr>
                <a:xfrm>
                  <a:off x="4079404" y="5302268"/>
                  <a:ext cx="4804" cy="14796"/>
                </a:xfrm>
                <a:custGeom>
                  <a:avLst/>
                  <a:gdLst>
                    <a:gd name="connsiteX0" fmla="*/ 0 w 4804"/>
                    <a:gd name="connsiteY0" fmla="*/ 0 h 14796"/>
                    <a:gd name="connsiteX1" fmla="*/ 0 w 4804"/>
                    <a:gd name="connsiteY1" fmla="*/ 14797 h 1479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804" h="14796">
                      <a:moveTo>
                        <a:pt x="0" y="0"/>
                      </a:moveTo>
                      <a:lnTo>
                        <a:pt x="0" y="14797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405" name="Forma livre: Forma 1404">
                  <a:extLst>
                    <a:ext uri="{FF2B5EF4-FFF2-40B4-BE49-F238E27FC236}">
                      <a16:creationId xmlns:a16="http://schemas.microsoft.com/office/drawing/2014/main" id="{24627294-B43B-6D0B-BF3F-3C3D8F124817}"/>
                    </a:ext>
                  </a:extLst>
                </p:cNvPr>
                <p:cNvSpPr/>
                <p:nvPr/>
              </p:nvSpPr>
              <p:spPr>
                <a:xfrm>
                  <a:off x="4079404" y="5386964"/>
                  <a:ext cx="4804" cy="14748"/>
                </a:xfrm>
                <a:custGeom>
                  <a:avLst/>
                  <a:gdLst>
                    <a:gd name="connsiteX0" fmla="*/ 0 w 4804"/>
                    <a:gd name="connsiteY0" fmla="*/ 0 h 14748"/>
                    <a:gd name="connsiteX1" fmla="*/ 0 w 4804"/>
                    <a:gd name="connsiteY1" fmla="*/ 14749 h 147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804" h="14748">
                      <a:moveTo>
                        <a:pt x="0" y="0"/>
                      </a:moveTo>
                      <a:lnTo>
                        <a:pt x="0" y="14749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grpSp>
          <p:nvGrpSpPr>
            <p:cNvPr id="1406" name="Gráfico 14">
              <a:extLst>
                <a:ext uri="{FF2B5EF4-FFF2-40B4-BE49-F238E27FC236}">
                  <a16:creationId xmlns:a16="http://schemas.microsoft.com/office/drawing/2014/main" id="{33125726-54F8-F358-6CE2-174940C6D826}"/>
                </a:ext>
              </a:extLst>
            </p:cNvPr>
            <p:cNvGrpSpPr/>
            <p:nvPr/>
          </p:nvGrpSpPr>
          <p:grpSpPr>
            <a:xfrm>
              <a:off x="4007583" y="5224058"/>
              <a:ext cx="127596" cy="255865"/>
              <a:chOff x="4007583" y="5224058"/>
              <a:chExt cx="127596" cy="255865"/>
            </a:xfrm>
          </p:grpSpPr>
          <p:grpSp>
            <p:nvGrpSpPr>
              <p:cNvPr id="1407" name="Gráfico 14">
                <a:extLst>
                  <a:ext uri="{FF2B5EF4-FFF2-40B4-BE49-F238E27FC236}">
                    <a16:creationId xmlns:a16="http://schemas.microsoft.com/office/drawing/2014/main" id="{D9B85319-43E4-D6A3-EE8C-7CE031ED169C}"/>
                  </a:ext>
                </a:extLst>
              </p:cNvPr>
              <p:cNvGrpSpPr/>
              <p:nvPr/>
            </p:nvGrpSpPr>
            <p:grpSpPr>
              <a:xfrm>
                <a:off x="4007583" y="5224058"/>
                <a:ext cx="127596" cy="28392"/>
                <a:chOff x="4007583" y="5224058"/>
                <a:chExt cx="127596" cy="28392"/>
              </a:xfrm>
            </p:grpSpPr>
            <p:sp>
              <p:nvSpPr>
                <p:cNvPr id="1408" name="Forma livre: Forma 1407">
                  <a:extLst>
                    <a:ext uri="{FF2B5EF4-FFF2-40B4-BE49-F238E27FC236}">
                      <a16:creationId xmlns:a16="http://schemas.microsoft.com/office/drawing/2014/main" id="{B721A0D4-5866-9C90-0CE1-E0FD5B88D449}"/>
                    </a:ext>
                  </a:extLst>
                </p:cNvPr>
                <p:cNvSpPr/>
                <p:nvPr/>
              </p:nvSpPr>
              <p:spPr>
                <a:xfrm>
                  <a:off x="4007583" y="5224058"/>
                  <a:ext cx="4804" cy="28392"/>
                </a:xfrm>
                <a:custGeom>
                  <a:avLst/>
                  <a:gdLst>
                    <a:gd name="connsiteX0" fmla="*/ 0 w 4804"/>
                    <a:gd name="connsiteY0" fmla="*/ 28392 h 28392"/>
                    <a:gd name="connsiteX1" fmla="*/ 0 w 4804"/>
                    <a:gd name="connsiteY1" fmla="*/ 0 h 283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804" h="28392">
                      <a:moveTo>
                        <a:pt x="0" y="28392"/>
                      </a:moveTo>
                      <a:lnTo>
                        <a:pt x="0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409" name="Forma livre: Forma 1408">
                  <a:extLst>
                    <a:ext uri="{FF2B5EF4-FFF2-40B4-BE49-F238E27FC236}">
                      <a16:creationId xmlns:a16="http://schemas.microsoft.com/office/drawing/2014/main" id="{EF32F4C1-A2BF-27A0-43BC-471736B27DDD}"/>
                    </a:ext>
                  </a:extLst>
                </p:cNvPr>
                <p:cNvSpPr/>
                <p:nvPr/>
              </p:nvSpPr>
              <p:spPr>
                <a:xfrm>
                  <a:off x="4050099" y="5224058"/>
                  <a:ext cx="4804" cy="28392"/>
                </a:xfrm>
                <a:custGeom>
                  <a:avLst/>
                  <a:gdLst>
                    <a:gd name="connsiteX0" fmla="*/ 0 w 4804"/>
                    <a:gd name="connsiteY0" fmla="*/ 28392 h 28392"/>
                    <a:gd name="connsiteX1" fmla="*/ 0 w 4804"/>
                    <a:gd name="connsiteY1" fmla="*/ 0 h 283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804" h="28392">
                      <a:moveTo>
                        <a:pt x="0" y="28392"/>
                      </a:moveTo>
                      <a:lnTo>
                        <a:pt x="0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410" name="Forma livre: Forma 1409">
                  <a:extLst>
                    <a:ext uri="{FF2B5EF4-FFF2-40B4-BE49-F238E27FC236}">
                      <a16:creationId xmlns:a16="http://schemas.microsoft.com/office/drawing/2014/main" id="{FF2FA2CB-D3CE-1368-5E1B-CC4CB6DE5069}"/>
                    </a:ext>
                  </a:extLst>
                </p:cNvPr>
                <p:cNvSpPr/>
                <p:nvPr/>
              </p:nvSpPr>
              <p:spPr>
                <a:xfrm>
                  <a:off x="4092663" y="5224058"/>
                  <a:ext cx="4804" cy="28392"/>
                </a:xfrm>
                <a:custGeom>
                  <a:avLst/>
                  <a:gdLst>
                    <a:gd name="connsiteX0" fmla="*/ 0 w 4804"/>
                    <a:gd name="connsiteY0" fmla="*/ 28392 h 28392"/>
                    <a:gd name="connsiteX1" fmla="*/ 0 w 4804"/>
                    <a:gd name="connsiteY1" fmla="*/ 0 h 283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804" h="28392">
                      <a:moveTo>
                        <a:pt x="0" y="28392"/>
                      </a:moveTo>
                      <a:lnTo>
                        <a:pt x="0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411" name="Forma livre: Forma 1410">
                  <a:extLst>
                    <a:ext uri="{FF2B5EF4-FFF2-40B4-BE49-F238E27FC236}">
                      <a16:creationId xmlns:a16="http://schemas.microsoft.com/office/drawing/2014/main" id="{C02313AD-DBC7-6DD0-9CE1-1BF73F9C562E}"/>
                    </a:ext>
                  </a:extLst>
                </p:cNvPr>
                <p:cNvSpPr/>
                <p:nvPr/>
              </p:nvSpPr>
              <p:spPr>
                <a:xfrm>
                  <a:off x="4135179" y="5224058"/>
                  <a:ext cx="4804" cy="28392"/>
                </a:xfrm>
                <a:custGeom>
                  <a:avLst/>
                  <a:gdLst>
                    <a:gd name="connsiteX0" fmla="*/ 0 w 4804"/>
                    <a:gd name="connsiteY0" fmla="*/ 28392 h 28392"/>
                    <a:gd name="connsiteX1" fmla="*/ 0 w 4804"/>
                    <a:gd name="connsiteY1" fmla="*/ 0 h 283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804" h="28392">
                      <a:moveTo>
                        <a:pt x="0" y="28392"/>
                      </a:moveTo>
                      <a:lnTo>
                        <a:pt x="0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1412" name="Gráfico 14">
                <a:extLst>
                  <a:ext uri="{FF2B5EF4-FFF2-40B4-BE49-F238E27FC236}">
                    <a16:creationId xmlns:a16="http://schemas.microsoft.com/office/drawing/2014/main" id="{D70FF891-3F0C-4431-1E6B-E2A9724F44C5}"/>
                  </a:ext>
                </a:extLst>
              </p:cNvPr>
              <p:cNvGrpSpPr/>
              <p:nvPr/>
            </p:nvGrpSpPr>
            <p:grpSpPr>
              <a:xfrm>
                <a:off x="4007583" y="5451579"/>
                <a:ext cx="127596" cy="28344"/>
                <a:chOff x="4007583" y="5451579"/>
                <a:chExt cx="127596" cy="28344"/>
              </a:xfrm>
            </p:grpSpPr>
            <p:sp>
              <p:nvSpPr>
                <p:cNvPr id="1413" name="Forma livre: Forma 1412">
                  <a:extLst>
                    <a:ext uri="{FF2B5EF4-FFF2-40B4-BE49-F238E27FC236}">
                      <a16:creationId xmlns:a16="http://schemas.microsoft.com/office/drawing/2014/main" id="{272436C7-6E81-7790-7472-98CE0C79DED5}"/>
                    </a:ext>
                  </a:extLst>
                </p:cNvPr>
                <p:cNvSpPr/>
                <p:nvPr/>
              </p:nvSpPr>
              <p:spPr>
                <a:xfrm>
                  <a:off x="4007583" y="5451579"/>
                  <a:ext cx="4804" cy="28344"/>
                </a:xfrm>
                <a:custGeom>
                  <a:avLst/>
                  <a:gdLst>
                    <a:gd name="connsiteX0" fmla="*/ 0 w 4804"/>
                    <a:gd name="connsiteY0" fmla="*/ 28344 h 28344"/>
                    <a:gd name="connsiteX1" fmla="*/ 0 w 4804"/>
                    <a:gd name="connsiteY1" fmla="*/ 0 h 2834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804" h="28344">
                      <a:moveTo>
                        <a:pt x="0" y="28344"/>
                      </a:moveTo>
                      <a:lnTo>
                        <a:pt x="0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414" name="Forma livre: Forma 1413">
                  <a:extLst>
                    <a:ext uri="{FF2B5EF4-FFF2-40B4-BE49-F238E27FC236}">
                      <a16:creationId xmlns:a16="http://schemas.microsoft.com/office/drawing/2014/main" id="{E1D6315D-4CC7-0844-9E9F-AF1C1AF5575B}"/>
                    </a:ext>
                  </a:extLst>
                </p:cNvPr>
                <p:cNvSpPr/>
                <p:nvPr/>
              </p:nvSpPr>
              <p:spPr>
                <a:xfrm>
                  <a:off x="4050099" y="5451579"/>
                  <a:ext cx="4804" cy="28344"/>
                </a:xfrm>
                <a:custGeom>
                  <a:avLst/>
                  <a:gdLst>
                    <a:gd name="connsiteX0" fmla="*/ 0 w 4804"/>
                    <a:gd name="connsiteY0" fmla="*/ 28344 h 28344"/>
                    <a:gd name="connsiteX1" fmla="*/ 0 w 4804"/>
                    <a:gd name="connsiteY1" fmla="*/ 0 h 2834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804" h="28344">
                      <a:moveTo>
                        <a:pt x="0" y="28344"/>
                      </a:moveTo>
                      <a:lnTo>
                        <a:pt x="0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415" name="Forma livre: Forma 1414">
                  <a:extLst>
                    <a:ext uri="{FF2B5EF4-FFF2-40B4-BE49-F238E27FC236}">
                      <a16:creationId xmlns:a16="http://schemas.microsoft.com/office/drawing/2014/main" id="{975F76F6-5784-154A-C875-67F5D521E103}"/>
                    </a:ext>
                  </a:extLst>
                </p:cNvPr>
                <p:cNvSpPr/>
                <p:nvPr/>
              </p:nvSpPr>
              <p:spPr>
                <a:xfrm>
                  <a:off x="4092663" y="5451579"/>
                  <a:ext cx="4804" cy="28344"/>
                </a:xfrm>
                <a:custGeom>
                  <a:avLst/>
                  <a:gdLst>
                    <a:gd name="connsiteX0" fmla="*/ 0 w 4804"/>
                    <a:gd name="connsiteY0" fmla="*/ 28344 h 28344"/>
                    <a:gd name="connsiteX1" fmla="*/ 0 w 4804"/>
                    <a:gd name="connsiteY1" fmla="*/ 0 h 2834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804" h="28344">
                      <a:moveTo>
                        <a:pt x="0" y="28344"/>
                      </a:moveTo>
                      <a:lnTo>
                        <a:pt x="0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416" name="Forma livre: Forma 1415">
                  <a:extLst>
                    <a:ext uri="{FF2B5EF4-FFF2-40B4-BE49-F238E27FC236}">
                      <a16:creationId xmlns:a16="http://schemas.microsoft.com/office/drawing/2014/main" id="{58AD00E3-E757-729B-D036-A3A20CC3FC2D}"/>
                    </a:ext>
                  </a:extLst>
                </p:cNvPr>
                <p:cNvSpPr/>
                <p:nvPr/>
              </p:nvSpPr>
              <p:spPr>
                <a:xfrm>
                  <a:off x="4135179" y="5451579"/>
                  <a:ext cx="4804" cy="28344"/>
                </a:xfrm>
                <a:custGeom>
                  <a:avLst/>
                  <a:gdLst>
                    <a:gd name="connsiteX0" fmla="*/ 0 w 4804"/>
                    <a:gd name="connsiteY0" fmla="*/ 28344 h 28344"/>
                    <a:gd name="connsiteX1" fmla="*/ 0 w 4804"/>
                    <a:gd name="connsiteY1" fmla="*/ 0 h 2834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804" h="28344">
                      <a:moveTo>
                        <a:pt x="0" y="28344"/>
                      </a:moveTo>
                      <a:lnTo>
                        <a:pt x="0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grpSp>
          <p:nvGrpSpPr>
            <p:cNvPr id="1417" name="Gráfico 14">
              <a:extLst>
                <a:ext uri="{FF2B5EF4-FFF2-40B4-BE49-F238E27FC236}">
                  <a16:creationId xmlns:a16="http://schemas.microsoft.com/office/drawing/2014/main" id="{406E9270-B688-0A23-1D27-E880E4F126C0}"/>
                </a:ext>
              </a:extLst>
            </p:cNvPr>
            <p:cNvGrpSpPr/>
            <p:nvPr/>
          </p:nvGrpSpPr>
          <p:grpSpPr>
            <a:xfrm>
              <a:off x="3880947" y="5275569"/>
              <a:ext cx="380819" cy="152889"/>
              <a:chOff x="3880947" y="5275569"/>
              <a:chExt cx="380819" cy="152889"/>
            </a:xfrm>
            <a:noFill/>
          </p:grpSpPr>
          <p:grpSp>
            <p:nvGrpSpPr>
              <p:cNvPr id="1418" name="Gráfico 14">
                <a:extLst>
                  <a:ext uri="{FF2B5EF4-FFF2-40B4-BE49-F238E27FC236}">
                    <a16:creationId xmlns:a16="http://schemas.microsoft.com/office/drawing/2014/main" id="{CDFED9FB-F25B-3D9B-30CA-E5BB7A2C2019}"/>
                  </a:ext>
                </a:extLst>
              </p:cNvPr>
              <p:cNvGrpSpPr/>
              <p:nvPr/>
            </p:nvGrpSpPr>
            <p:grpSpPr>
              <a:xfrm>
                <a:off x="3880947" y="5275569"/>
                <a:ext cx="91805" cy="152889"/>
                <a:chOff x="3880947" y="5275569"/>
                <a:chExt cx="91805" cy="152889"/>
              </a:xfrm>
              <a:noFill/>
            </p:grpSpPr>
            <p:grpSp>
              <p:nvGrpSpPr>
                <p:cNvPr id="1419" name="Gráfico 14">
                  <a:extLst>
                    <a:ext uri="{FF2B5EF4-FFF2-40B4-BE49-F238E27FC236}">
                      <a16:creationId xmlns:a16="http://schemas.microsoft.com/office/drawing/2014/main" id="{40536649-4088-857F-B4E5-FFDE1B806263}"/>
                    </a:ext>
                  </a:extLst>
                </p:cNvPr>
                <p:cNvGrpSpPr/>
                <p:nvPr/>
              </p:nvGrpSpPr>
              <p:grpSpPr>
                <a:xfrm>
                  <a:off x="3880947" y="5334119"/>
                  <a:ext cx="91805" cy="35742"/>
                  <a:chOff x="3880947" y="5334119"/>
                  <a:chExt cx="91805" cy="35742"/>
                </a:xfrm>
                <a:noFill/>
              </p:grpSpPr>
              <p:sp>
                <p:nvSpPr>
                  <p:cNvPr id="1420" name="Forma livre: Forma 1419">
                    <a:extLst>
                      <a:ext uri="{FF2B5EF4-FFF2-40B4-BE49-F238E27FC236}">
                        <a16:creationId xmlns:a16="http://schemas.microsoft.com/office/drawing/2014/main" id="{0F0AE59E-8043-C807-CCA9-C779D08B50EA}"/>
                      </a:ext>
                    </a:extLst>
                  </p:cNvPr>
                  <p:cNvSpPr/>
                  <p:nvPr/>
                </p:nvSpPr>
                <p:spPr>
                  <a:xfrm>
                    <a:off x="3880947" y="5334119"/>
                    <a:ext cx="35694" cy="35742"/>
                  </a:xfrm>
                  <a:custGeom>
                    <a:avLst/>
                    <a:gdLst>
                      <a:gd name="connsiteX0" fmla="*/ 18928 w 35694"/>
                      <a:gd name="connsiteY0" fmla="*/ 0 h 35742"/>
                      <a:gd name="connsiteX1" fmla="*/ 35694 w 35694"/>
                      <a:gd name="connsiteY1" fmla="*/ 17871 h 35742"/>
                      <a:gd name="connsiteX2" fmla="*/ 17823 w 35694"/>
                      <a:gd name="connsiteY2" fmla="*/ 35742 h 35742"/>
                      <a:gd name="connsiteX3" fmla="*/ 0 w 35694"/>
                      <a:gd name="connsiteY3" fmla="*/ 17871 h 35742"/>
                      <a:gd name="connsiteX4" fmla="*/ 18928 w 35694"/>
                      <a:gd name="connsiteY4" fmla="*/ 0 h 3574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35694" h="35742">
                        <a:moveTo>
                          <a:pt x="18928" y="0"/>
                        </a:moveTo>
                        <a:cubicBezTo>
                          <a:pt x="28776" y="0"/>
                          <a:pt x="35694" y="7975"/>
                          <a:pt x="35694" y="17871"/>
                        </a:cubicBezTo>
                        <a:cubicBezTo>
                          <a:pt x="35694" y="27768"/>
                          <a:pt x="27720" y="35742"/>
                          <a:pt x="17823" y="35742"/>
                        </a:cubicBezTo>
                        <a:cubicBezTo>
                          <a:pt x="7927" y="35742"/>
                          <a:pt x="0" y="27768"/>
                          <a:pt x="0" y="17871"/>
                        </a:cubicBezTo>
                        <a:cubicBezTo>
                          <a:pt x="0" y="7975"/>
                          <a:pt x="9080" y="0"/>
                          <a:pt x="18928" y="0"/>
                        </a:cubicBezTo>
                        <a:close/>
                      </a:path>
                    </a:pathLst>
                  </a:custGeom>
                  <a:noFill/>
                  <a:ln w="6350" cap="flat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1421" name="Forma livre: Forma 1420">
                    <a:extLst>
                      <a:ext uri="{FF2B5EF4-FFF2-40B4-BE49-F238E27FC236}">
                        <a16:creationId xmlns:a16="http://schemas.microsoft.com/office/drawing/2014/main" id="{576D0937-47BF-6B11-E13E-3556DC3CE977}"/>
                      </a:ext>
                    </a:extLst>
                  </p:cNvPr>
                  <p:cNvSpPr/>
                  <p:nvPr/>
                </p:nvSpPr>
                <p:spPr>
                  <a:xfrm>
                    <a:off x="3916401" y="5351990"/>
                    <a:ext cx="56351" cy="4804"/>
                  </a:xfrm>
                  <a:custGeom>
                    <a:avLst/>
                    <a:gdLst>
                      <a:gd name="connsiteX0" fmla="*/ 0 w 56351"/>
                      <a:gd name="connsiteY0" fmla="*/ 0 h 4804"/>
                      <a:gd name="connsiteX1" fmla="*/ 56352 w 56351"/>
                      <a:gd name="connsiteY1" fmla="*/ 0 h 480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56351" h="4804">
                        <a:moveTo>
                          <a:pt x="0" y="0"/>
                        </a:moveTo>
                        <a:lnTo>
                          <a:pt x="56352" y="0"/>
                        </a:lnTo>
                      </a:path>
                    </a:pathLst>
                  </a:custGeom>
                  <a:ln w="6350" cap="flat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  <p:grpSp>
              <p:nvGrpSpPr>
                <p:cNvPr id="1422" name="Gráfico 14">
                  <a:extLst>
                    <a:ext uri="{FF2B5EF4-FFF2-40B4-BE49-F238E27FC236}">
                      <a16:creationId xmlns:a16="http://schemas.microsoft.com/office/drawing/2014/main" id="{43B2C53C-D812-16DB-88D2-BF09E81B4E05}"/>
                    </a:ext>
                  </a:extLst>
                </p:cNvPr>
                <p:cNvGrpSpPr/>
                <p:nvPr/>
              </p:nvGrpSpPr>
              <p:grpSpPr>
                <a:xfrm>
                  <a:off x="3902097" y="5275569"/>
                  <a:ext cx="70367" cy="48317"/>
                  <a:chOff x="3902097" y="5275569"/>
                  <a:chExt cx="70367" cy="48317"/>
                </a:xfrm>
                <a:noFill/>
              </p:grpSpPr>
              <p:sp>
                <p:nvSpPr>
                  <p:cNvPr id="1423" name="Forma livre: Forma 1422">
                    <a:extLst>
                      <a:ext uri="{FF2B5EF4-FFF2-40B4-BE49-F238E27FC236}">
                        <a16:creationId xmlns:a16="http://schemas.microsoft.com/office/drawing/2014/main" id="{41239BAB-4C91-04C0-691C-0C50910E0DCC}"/>
                      </a:ext>
                    </a:extLst>
                  </p:cNvPr>
                  <p:cNvSpPr/>
                  <p:nvPr/>
                </p:nvSpPr>
                <p:spPr>
                  <a:xfrm>
                    <a:off x="3902097" y="5275569"/>
                    <a:ext cx="35670" cy="35718"/>
                  </a:xfrm>
                  <a:custGeom>
                    <a:avLst/>
                    <a:gdLst>
                      <a:gd name="connsiteX0" fmla="*/ 30446 w 35670"/>
                      <a:gd name="connsiteY0" fmla="*/ 5224 h 35718"/>
                      <a:gd name="connsiteX1" fmla="*/ 30446 w 35670"/>
                      <a:gd name="connsiteY1" fmla="*/ 30494 h 35718"/>
                      <a:gd name="connsiteX2" fmla="*/ 5224 w 35670"/>
                      <a:gd name="connsiteY2" fmla="*/ 30494 h 35718"/>
                      <a:gd name="connsiteX3" fmla="*/ 5224 w 35670"/>
                      <a:gd name="connsiteY3" fmla="*/ 5224 h 35718"/>
                      <a:gd name="connsiteX4" fmla="*/ 30446 w 35670"/>
                      <a:gd name="connsiteY4" fmla="*/ 5224 h 3571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35670" h="35718">
                        <a:moveTo>
                          <a:pt x="30446" y="5224"/>
                        </a:moveTo>
                        <a:cubicBezTo>
                          <a:pt x="37412" y="12190"/>
                          <a:pt x="37412" y="23480"/>
                          <a:pt x="30446" y="30494"/>
                        </a:cubicBezTo>
                        <a:cubicBezTo>
                          <a:pt x="23480" y="37460"/>
                          <a:pt x="12190" y="37460"/>
                          <a:pt x="5224" y="30494"/>
                        </a:cubicBezTo>
                        <a:cubicBezTo>
                          <a:pt x="-1741" y="23528"/>
                          <a:pt x="-1741" y="12238"/>
                          <a:pt x="5224" y="5224"/>
                        </a:cubicBezTo>
                        <a:cubicBezTo>
                          <a:pt x="12190" y="-1741"/>
                          <a:pt x="23480" y="-1741"/>
                          <a:pt x="30446" y="5224"/>
                        </a:cubicBezTo>
                        <a:close/>
                      </a:path>
                    </a:pathLst>
                  </a:custGeom>
                  <a:noFill/>
                  <a:ln w="6350" cap="flat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1424" name="Forma livre: Forma 1423">
                    <a:extLst>
                      <a:ext uri="{FF2B5EF4-FFF2-40B4-BE49-F238E27FC236}">
                        <a16:creationId xmlns:a16="http://schemas.microsoft.com/office/drawing/2014/main" id="{A83671B5-A529-F764-FFBC-BF7392ACA17F}"/>
                      </a:ext>
                    </a:extLst>
                  </p:cNvPr>
                  <p:cNvSpPr/>
                  <p:nvPr/>
                </p:nvSpPr>
                <p:spPr>
                  <a:xfrm>
                    <a:off x="3932591" y="5306063"/>
                    <a:ext cx="39873" cy="17823"/>
                  </a:xfrm>
                  <a:custGeom>
                    <a:avLst/>
                    <a:gdLst>
                      <a:gd name="connsiteX0" fmla="*/ 0 w 39873"/>
                      <a:gd name="connsiteY0" fmla="*/ 0 h 17823"/>
                      <a:gd name="connsiteX1" fmla="*/ 15517 w 39873"/>
                      <a:gd name="connsiteY1" fmla="*/ 17823 h 17823"/>
                      <a:gd name="connsiteX2" fmla="*/ 39874 w 39873"/>
                      <a:gd name="connsiteY2" fmla="*/ 17823 h 1782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</a:cxnLst>
                    <a:rect l="l" t="t" r="r" b="b"/>
                    <a:pathLst>
                      <a:path w="39873" h="17823">
                        <a:moveTo>
                          <a:pt x="0" y="0"/>
                        </a:moveTo>
                        <a:lnTo>
                          <a:pt x="15517" y="17823"/>
                        </a:lnTo>
                        <a:lnTo>
                          <a:pt x="39874" y="17823"/>
                        </a:lnTo>
                      </a:path>
                    </a:pathLst>
                  </a:custGeom>
                  <a:noFill/>
                  <a:ln w="6350" cap="flat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  <p:grpSp>
              <p:nvGrpSpPr>
                <p:cNvPr id="1425" name="Gráfico 14">
                  <a:extLst>
                    <a:ext uri="{FF2B5EF4-FFF2-40B4-BE49-F238E27FC236}">
                      <a16:creationId xmlns:a16="http://schemas.microsoft.com/office/drawing/2014/main" id="{90FDB0BF-4142-DEAB-A9D0-CBE4066BD35A}"/>
                    </a:ext>
                  </a:extLst>
                </p:cNvPr>
                <p:cNvGrpSpPr/>
                <p:nvPr/>
              </p:nvGrpSpPr>
              <p:grpSpPr>
                <a:xfrm>
                  <a:off x="3902097" y="5380142"/>
                  <a:ext cx="70367" cy="48317"/>
                  <a:chOff x="3902097" y="5380142"/>
                  <a:chExt cx="70367" cy="48317"/>
                </a:xfrm>
                <a:noFill/>
              </p:grpSpPr>
              <p:sp>
                <p:nvSpPr>
                  <p:cNvPr id="1426" name="Forma livre: Forma 1425">
                    <a:extLst>
                      <a:ext uri="{FF2B5EF4-FFF2-40B4-BE49-F238E27FC236}">
                        <a16:creationId xmlns:a16="http://schemas.microsoft.com/office/drawing/2014/main" id="{C8F322DB-5816-A6F9-0484-49B3B9B7D350}"/>
                      </a:ext>
                    </a:extLst>
                  </p:cNvPr>
                  <p:cNvSpPr/>
                  <p:nvPr/>
                </p:nvSpPr>
                <p:spPr>
                  <a:xfrm>
                    <a:off x="3902097" y="5392789"/>
                    <a:ext cx="35670" cy="35670"/>
                  </a:xfrm>
                  <a:custGeom>
                    <a:avLst/>
                    <a:gdLst>
                      <a:gd name="connsiteX0" fmla="*/ 30446 w 35670"/>
                      <a:gd name="connsiteY0" fmla="*/ 30446 h 35670"/>
                      <a:gd name="connsiteX1" fmla="*/ 30446 w 35670"/>
                      <a:gd name="connsiteY1" fmla="*/ 5224 h 35670"/>
                      <a:gd name="connsiteX2" fmla="*/ 5224 w 35670"/>
                      <a:gd name="connsiteY2" fmla="*/ 5224 h 35670"/>
                      <a:gd name="connsiteX3" fmla="*/ 5224 w 35670"/>
                      <a:gd name="connsiteY3" fmla="*/ 30446 h 35670"/>
                      <a:gd name="connsiteX4" fmla="*/ 30446 w 35670"/>
                      <a:gd name="connsiteY4" fmla="*/ 30446 h 3567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35670" h="35670">
                        <a:moveTo>
                          <a:pt x="30446" y="30446"/>
                        </a:moveTo>
                        <a:cubicBezTo>
                          <a:pt x="37412" y="23480"/>
                          <a:pt x="37412" y="12190"/>
                          <a:pt x="30446" y="5224"/>
                        </a:cubicBezTo>
                        <a:cubicBezTo>
                          <a:pt x="23480" y="-1741"/>
                          <a:pt x="12190" y="-1741"/>
                          <a:pt x="5224" y="5224"/>
                        </a:cubicBezTo>
                        <a:cubicBezTo>
                          <a:pt x="-1741" y="12190"/>
                          <a:pt x="-1741" y="23480"/>
                          <a:pt x="5224" y="30446"/>
                        </a:cubicBezTo>
                        <a:cubicBezTo>
                          <a:pt x="12190" y="37412"/>
                          <a:pt x="23480" y="37412"/>
                          <a:pt x="30446" y="30446"/>
                        </a:cubicBezTo>
                        <a:close/>
                      </a:path>
                    </a:pathLst>
                  </a:custGeom>
                  <a:noFill/>
                  <a:ln w="6350" cap="flat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1427" name="Forma livre: Forma 1426">
                    <a:extLst>
                      <a:ext uri="{FF2B5EF4-FFF2-40B4-BE49-F238E27FC236}">
                        <a16:creationId xmlns:a16="http://schemas.microsoft.com/office/drawing/2014/main" id="{EA3D45BB-C9BB-5F35-92FF-0357B2E11794}"/>
                      </a:ext>
                    </a:extLst>
                  </p:cNvPr>
                  <p:cNvSpPr/>
                  <p:nvPr/>
                </p:nvSpPr>
                <p:spPr>
                  <a:xfrm>
                    <a:off x="3932591" y="5380142"/>
                    <a:ext cx="39873" cy="17775"/>
                  </a:xfrm>
                  <a:custGeom>
                    <a:avLst/>
                    <a:gdLst>
                      <a:gd name="connsiteX0" fmla="*/ 0 w 39873"/>
                      <a:gd name="connsiteY0" fmla="*/ 17775 h 17775"/>
                      <a:gd name="connsiteX1" fmla="*/ 15517 w 39873"/>
                      <a:gd name="connsiteY1" fmla="*/ 0 h 17775"/>
                      <a:gd name="connsiteX2" fmla="*/ 39874 w 39873"/>
                      <a:gd name="connsiteY2" fmla="*/ 0 h 1777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</a:cxnLst>
                    <a:rect l="l" t="t" r="r" b="b"/>
                    <a:pathLst>
                      <a:path w="39873" h="17775">
                        <a:moveTo>
                          <a:pt x="0" y="17775"/>
                        </a:moveTo>
                        <a:lnTo>
                          <a:pt x="15517" y="0"/>
                        </a:lnTo>
                        <a:lnTo>
                          <a:pt x="39874" y="0"/>
                        </a:lnTo>
                      </a:path>
                    </a:pathLst>
                  </a:custGeom>
                  <a:noFill/>
                  <a:ln w="6350" cap="flat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</p:grpSp>
          <p:grpSp>
            <p:nvGrpSpPr>
              <p:cNvPr id="1428" name="Gráfico 14">
                <a:extLst>
                  <a:ext uri="{FF2B5EF4-FFF2-40B4-BE49-F238E27FC236}">
                    <a16:creationId xmlns:a16="http://schemas.microsoft.com/office/drawing/2014/main" id="{DB83B6B7-FE5E-A2E9-95DE-79BAA139746B}"/>
                  </a:ext>
                </a:extLst>
              </p:cNvPr>
              <p:cNvGrpSpPr/>
              <p:nvPr/>
            </p:nvGrpSpPr>
            <p:grpSpPr>
              <a:xfrm>
                <a:off x="4170009" y="5275569"/>
                <a:ext cx="91757" cy="152889"/>
                <a:chOff x="4170009" y="5275569"/>
                <a:chExt cx="91757" cy="152889"/>
              </a:xfrm>
              <a:noFill/>
            </p:grpSpPr>
            <p:grpSp>
              <p:nvGrpSpPr>
                <p:cNvPr id="1429" name="Gráfico 14">
                  <a:extLst>
                    <a:ext uri="{FF2B5EF4-FFF2-40B4-BE49-F238E27FC236}">
                      <a16:creationId xmlns:a16="http://schemas.microsoft.com/office/drawing/2014/main" id="{1A8FDD28-B607-1713-42E5-CA63CF561210}"/>
                    </a:ext>
                  </a:extLst>
                </p:cNvPr>
                <p:cNvGrpSpPr/>
                <p:nvPr/>
              </p:nvGrpSpPr>
              <p:grpSpPr>
                <a:xfrm>
                  <a:off x="4170009" y="5334119"/>
                  <a:ext cx="91757" cy="35742"/>
                  <a:chOff x="4170009" y="5334119"/>
                  <a:chExt cx="91757" cy="35742"/>
                </a:xfrm>
                <a:noFill/>
              </p:grpSpPr>
              <p:sp>
                <p:nvSpPr>
                  <p:cNvPr id="1430" name="Forma livre: Forma 1429">
                    <a:extLst>
                      <a:ext uri="{FF2B5EF4-FFF2-40B4-BE49-F238E27FC236}">
                        <a16:creationId xmlns:a16="http://schemas.microsoft.com/office/drawing/2014/main" id="{48988E69-07B6-7886-C13F-6B8612AF7450}"/>
                      </a:ext>
                    </a:extLst>
                  </p:cNvPr>
                  <p:cNvSpPr/>
                  <p:nvPr/>
                </p:nvSpPr>
                <p:spPr>
                  <a:xfrm>
                    <a:off x="4226120" y="5334119"/>
                    <a:ext cx="35646" cy="35742"/>
                  </a:xfrm>
                  <a:custGeom>
                    <a:avLst/>
                    <a:gdLst>
                      <a:gd name="connsiteX0" fmla="*/ 16766 w 35646"/>
                      <a:gd name="connsiteY0" fmla="*/ 35742 h 35742"/>
                      <a:gd name="connsiteX1" fmla="*/ 0 w 35646"/>
                      <a:gd name="connsiteY1" fmla="*/ 17871 h 35742"/>
                      <a:gd name="connsiteX2" fmla="*/ 17823 w 35646"/>
                      <a:gd name="connsiteY2" fmla="*/ 0 h 35742"/>
                      <a:gd name="connsiteX3" fmla="*/ 35646 w 35646"/>
                      <a:gd name="connsiteY3" fmla="*/ 17871 h 35742"/>
                      <a:gd name="connsiteX4" fmla="*/ 16718 w 35646"/>
                      <a:gd name="connsiteY4" fmla="*/ 35742 h 3574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35646" h="35742">
                        <a:moveTo>
                          <a:pt x="16766" y="35742"/>
                        </a:moveTo>
                        <a:cubicBezTo>
                          <a:pt x="6918" y="35742"/>
                          <a:pt x="0" y="27768"/>
                          <a:pt x="0" y="17871"/>
                        </a:cubicBezTo>
                        <a:cubicBezTo>
                          <a:pt x="0" y="7975"/>
                          <a:pt x="7975" y="0"/>
                          <a:pt x="17823" y="0"/>
                        </a:cubicBezTo>
                        <a:cubicBezTo>
                          <a:pt x="27672" y="0"/>
                          <a:pt x="35646" y="7975"/>
                          <a:pt x="35646" y="17871"/>
                        </a:cubicBezTo>
                        <a:cubicBezTo>
                          <a:pt x="35646" y="27768"/>
                          <a:pt x="26567" y="35742"/>
                          <a:pt x="16718" y="35742"/>
                        </a:cubicBezTo>
                        <a:close/>
                      </a:path>
                    </a:pathLst>
                  </a:custGeom>
                  <a:noFill/>
                  <a:ln w="6350" cap="flat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1431" name="Forma livre: Forma 1430">
                    <a:extLst>
                      <a:ext uri="{FF2B5EF4-FFF2-40B4-BE49-F238E27FC236}">
                        <a16:creationId xmlns:a16="http://schemas.microsoft.com/office/drawing/2014/main" id="{BF382944-3FC6-AC41-680F-71F25D1601DB}"/>
                      </a:ext>
                    </a:extLst>
                  </p:cNvPr>
                  <p:cNvSpPr/>
                  <p:nvPr/>
                </p:nvSpPr>
                <p:spPr>
                  <a:xfrm>
                    <a:off x="4170009" y="5351990"/>
                    <a:ext cx="56351" cy="4804"/>
                  </a:xfrm>
                  <a:custGeom>
                    <a:avLst/>
                    <a:gdLst>
                      <a:gd name="connsiteX0" fmla="*/ 56352 w 56351"/>
                      <a:gd name="connsiteY0" fmla="*/ 0 h 4804"/>
                      <a:gd name="connsiteX1" fmla="*/ 0 w 56351"/>
                      <a:gd name="connsiteY1" fmla="*/ 0 h 480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56351" h="4804">
                        <a:moveTo>
                          <a:pt x="56352" y="0"/>
                        </a:moveTo>
                        <a:lnTo>
                          <a:pt x="0" y="0"/>
                        </a:lnTo>
                      </a:path>
                    </a:pathLst>
                  </a:custGeom>
                  <a:ln w="6350" cap="flat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  <p:grpSp>
              <p:nvGrpSpPr>
                <p:cNvPr id="1432" name="Gráfico 14">
                  <a:extLst>
                    <a:ext uri="{FF2B5EF4-FFF2-40B4-BE49-F238E27FC236}">
                      <a16:creationId xmlns:a16="http://schemas.microsoft.com/office/drawing/2014/main" id="{30B89F1C-DEE4-8F9D-A07B-CBEC838DA523}"/>
                    </a:ext>
                  </a:extLst>
                </p:cNvPr>
                <p:cNvGrpSpPr/>
                <p:nvPr/>
              </p:nvGrpSpPr>
              <p:grpSpPr>
                <a:xfrm>
                  <a:off x="4170297" y="5380142"/>
                  <a:ext cx="70415" cy="48317"/>
                  <a:chOff x="4170297" y="5380142"/>
                  <a:chExt cx="70415" cy="48317"/>
                </a:xfrm>
                <a:noFill/>
              </p:grpSpPr>
              <p:sp>
                <p:nvSpPr>
                  <p:cNvPr id="1433" name="Forma livre: Forma 1432">
                    <a:extLst>
                      <a:ext uri="{FF2B5EF4-FFF2-40B4-BE49-F238E27FC236}">
                        <a16:creationId xmlns:a16="http://schemas.microsoft.com/office/drawing/2014/main" id="{4D2C9498-E207-4166-5EED-5AD49511F551}"/>
                      </a:ext>
                    </a:extLst>
                  </p:cNvPr>
                  <p:cNvSpPr/>
                  <p:nvPr/>
                </p:nvSpPr>
                <p:spPr>
                  <a:xfrm>
                    <a:off x="4204994" y="5392789"/>
                    <a:ext cx="35718" cy="35670"/>
                  </a:xfrm>
                  <a:custGeom>
                    <a:avLst/>
                    <a:gdLst>
                      <a:gd name="connsiteX0" fmla="*/ 5224 w 35718"/>
                      <a:gd name="connsiteY0" fmla="*/ 30446 h 35670"/>
                      <a:gd name="connsiteX1" fmla="*/ 5224 w 35718"/>
                      <a:gd name="connsiteY1" fmla="*/ 5224 h 35670"/>
                      <a:gd name="connsiteX2" fmla="*/ 30494 w 35718"/>
                      <a:gd name="connsiteY2" fmla="*/ 5224 h 35670"/>
                      <a:gd name="connsiteX3" fmla="*/ 30494 w 35718"/>
                      <a:gd name="connsiteY3" fmla="*/ 30446 h 35670"/>
                      <a:gd name="connsiteX4" fmla="*/ 5224 w 35718"/>
                      <a:gd name="connsiteY4" fmla="*/ 30446 h 3567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35718" h="35670">
                        <a:moveTo>
                          <a:pt x="5224" y="30446"/>
                        </a:moveTo>
                        <a:cubicBezTo>
                          <a:pt x="-1741" y="23480"/>
                          <a:pt x="-1741" y="12190"/>
                          <a:pt x="5224" y="5224"/>
                        </a:cubicBezTo>
                        <a:cubicBezTo>
                          <a:pt x="12190" y="-1741"/>
                          <a:pt x="23480" y="-1741"/>
                          <a:pt x="30494" y="5224"/>
                        </a:cubicBezTo>
                        <a:cubicBezTo>
                          <a:pt x="37460" y="12190"/>
                          <a:pt x="37460" y="23480"/>
                          <a:pt x="30494" y="30446"/>
                        </a:cubicBezTo>
                        <a:cubicBezTo>
                          <a:pt x="23528" y="37412"/>
                          <a:pt x="12238" y="37412"/>
                          <a:pt x="5224" y="30446"/>
                        </a:cubicBezTo>
                        <a:close/>
                      </a:path>
                    </a:pathLst>
                  </a:custGeom>
                  <a:noFill/>
                  <a:ln w="6350" cap="flat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1434" name="Forma livre: Forma 1433">
                    <a:extLst>
                      <a:ext uri="{FF2B5EF4-FFF2-40B4-BE49-F238E27FC236}">
                        <a16:creationId xmlns:a16="http://schemas.microsoft.com/office/drawing/2014/main" id="{99713C6B-8994-BA07-160E-202AE31DE9F4}"/>
                      </a:ext>
                    </a:extLst>
                  </p:cNvPr>
                  <p:cNvSpPr/>
                  <p:nvPr/>
                </p:nvSpPr>
                <p:spPr>
                  <a:xfrm>
                    <a:off x="4170297" y="5380142"/>
                    <a:ext cx="39873" cy="17775"/>
                  </a:xfrm>
                  <a:custGeom>
                    <a:avLst/>
                    <a:gdLst>
                      <a:gd name="connsiteX0" fmla="*/ 39874 w 39873"/>
                      <a:gd name="connsiteY0" fmla="*/ 17775 h 17775"/>
                      <a:gd name="connsiteX1" fmla="*/ 24357 w 39873"/>
                      <a:gd name="connsiteY1" fmla="*/ 0 h 17775"/>
                      <a:gd name="connsiteX2" fmla="*/ 0 w 39873"/>
                      <a:gd name="connsiteY2" fmla="*/ 0 h 1777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</a:cxnLst>
                    <a:rect l="l" t="t" r="r" b="b"/>
                    <a:pathLst>
                      <a:path w="39873" h="17775">
                        <a:moveTo>
                          <a:pt x="39874" y="17775"/>
                        </a:moveTo>
                        <a:lnTo>
                          <a:pt x="24357" y="0"/>
                        </a:lnTo>
                        <a:lnTo>
                          <a:pt x="0" y="0"/>
                        </a:lnTo>
                      </a:path>
                    </a:pathLst>
                  </a:custGeom>
                  <a:noFill/>
                  <a:ln w="6350" cap="flat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  <p:grpSp>
              <p:nvGrpSpPr>
                <p:cNvPr id="1435" name="Gráfico 14">
                  <a:extLst>
                    <a:ext uri="{FF2B5EF4-FFF2-40B4-BE49-F238E27FC236}">
                      <a16:creationId xmlns:a16="http://schemas.microsoft.com/office/drawing/2014/main" id="{B97F79A0-F1FF-E861-1056-E3F6B93151A8}"/>
                    </a:ext>
                  </a:extLst>
                </p:cNvPr>
                <p:cNvGrpSpPr/>
                <p:nvPr/>
              </p:nvGrpSpPr>
              <p:grpSpPr>
                <a:xfrm>
                  <a:off x="4170297" y="5275569"/>
                  <a:ext cx="70415" cy="48317"/>
                  <a:chOff x="4170297" y="5275569"/>
                  <a:chExt cx="70415" cy="48317"/>
                </a:xfrm>
                <a:noFill/>
              </p:grpSpPr>
              <p:sp>
                <p:nvSpPr>
                  <p:cNvPr id="1436" name="Forma livre: Forma 1435">
                    <a:extLst>
                      <a:ext uri="{FF2B5EF4-FFF2-40B4-BE49-F238E27FC236}">
                        <a16:creationId xmlns:a16="http://schemas.microsoft.com/office/drawing/2014/main" id="{CA37D0B8-E43B-A0D7-DA1F-7E22BB220E16}"/>
                      </a:ext>
                    </a:extLst>
                  </p:cNvPr>
                  <p:cNvSpPr/>
                  <p:nvPr/>
                </p:nvSpPr>
                <p:spPr>
                  <a:xfrm>
                    <a:off x="4204994" y="5275569"/>
                    <a:ext cx="35718" cy="35718"/>
                  </a:xfrm>
                  <a:custGeom>
                    <a:avLst/>
                    <a:gdLst>
                      <a:gd name="connsiteX0" fmla="*/ 5224 w 35718"/>
                      <a:gd name="connsiteY0" fmla="*/ 5224 h 35718"/>
                      <a:gd name="connsiteX1" fmla="*/ 5224 w 35718"/>
                      <a:gd name="connsiteY1" fmla="*/ 30494 h 35718"/>
                      <a:gd name="connsiteX2" fmla="*/ 30494 w 35718"/>
                      <a:gd name="connsiteY2" fmla="*/ 30494 h 35718"/>
                      <a:gd name="connsiteX3" fmla="*/ 30494 w 35718"/>
                      <a:gd name="connsiteY3" fmla="*/ 5224 h 35718"/>
                      <a:gd name="connsiteX4" fmla="*/ 5224 w 35718"/>
                      <a:gd name="connsiteY4" fmla="*/ 5224 h 3571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35718" h="35718">
                        <a:moveTo>
                          <a:pt x="5224" y="5224"/>
                        </a:moveTo>
                        <a:cubicBezTo>
                          <a:pt x="-1741" y="12190"/>
                          <a:pt x="-1741" y="23480"/>
                          <a:pt x="5224" y="30494"/>
                        </a:cubicBezTo>
                        <a:cubicBezTo>
                          <a:pt x="12190" y="37460"/>
                          <a:pt x="23480" y="37460"/>
                          <a:pt x="30494" y="30494"/>
                        </a:cubicBezTo>
                        <a:cubicBezTo>
                          <a:pt x="37460" y="23528"/>
                          <a:pt x="37460" y="12238"/>
                          <a:pt x="30494" y="5224"/>
                        </a:cubicBezTo>
                        <a:cubicBezTo>
                          <a:pt x="23528" y="-1741"/>
                          <a:pt x="12238" y="-1741"/>
                          <a:pt x="5224" y="5224"/>
                        </a:cubicBezTo>
                        <a:close/>
                      </a:path>
                    </a:pathLst>
                  </a:custGeom>
                  <a:noFill/>
                  <a:ln w="6350" cap="flat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1437" name="Forma livre: Forma 1436">
                    <a:extLst>
                      <a:ext uri="{FF2B5EF4-FFF2-40B4-BE49-F238E27FC236}">
                        <a16:creationId xmlns:a16="http://schemas.microsoft.com/office/drawing/2014/main" id="{E6D92D05-F6DE-7397-AB96-3533C166FAA2}"/>
                      </a:ext>
                    </a:extLst>
                  </p:cNvPr>
                  <p:cNvSpPr/>
                  <p:nvPr/>
                </p:nvSpPr>
                <p:spPr>
                  <a:xfrm>
                    <a:off x="4170297" y="5306063"/>
                    <a:ext cx="39873" cy="17823"/>
                  </a:xfrm>
                  <a:custGeom>
                    <a:avLst/>
                    <a:gdLst>
                      <a:gd name="connsiteX0" fmla="*/ 39874 w 39873"/>
                      <a:gd name="connsiteY0" fmla="*/ 0 h 17823"/>
                      <a:gd name="connsiteX1" fmla="*/ 24357 w 39873"/>
                      <a:gd name="connsiteY1" fmla="*/ 17823 h 17823"/>
                      <a:gd name="connsiteX2" fmla="*/ 0 w 39873"/>
                      <a:gd name="connsiteY2" fmla="*/ 17823 h 1782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</a:cxnLst>
                    <a:rect l="l" t="t" r="r" b="b"/>
                    <a:pathLst>
                      <a:path w="39873" h="17823">
                        <a:moveTo>
                          <a:pt x="39874" y="0"/>
                        </a:moveTo>
                        <a:lnTo>
                          <a:pt x="24357" y="17823"/>
                        </a:lnTo>
                        <a:lnTo>
                          <a:pt x="0" y="17823"/>
                        </a:lnTo>
                      </a:path>
                    </a:pathLst>
                  </a:custGeom>
                  <a:noFill/>
                  <a:ln w="6350" cap="flat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</p:grpSp>
        </p:grpSp>
        <p:grpSp>
          <p:nvGrpSpPr>
            <p:cNvPr id="1438" name="Gráfico 14">
              <a:extLst>
                <a:ext uri="{FF2B5EF4-FFF2-40B4-BE49-F238E27FC236}">
                  <a16:creationId xmlns:a16="http://schemas.microsoft.com/office/drawing/2014/main" id="{1F827EFD-55EF-C825-C375-D4DA1445A2B7}"/>
                </a:ext>
              </a:extLst>
            </p:cNvPr>
            <p:cNvGrpSpPr/>
            <p:nvPr/>
          </p:nvGrpSpPr>
          <p:grpSpPr>
            <a:xfrm>
              <a:off x="3973810" y="5254467"/>
              <a:ext cx="195093" cy="195093"/>
              <a:chOff x="3973810" y="5254467"/>
              <a:chExt cx="195093" cy="195093"/>
            </a:xfrm>
            <a:noFill/>
          </p:grpSpPr>
          <p:sp>
            <p:nvSpPr>
              <p:cNvPr id="1439" name="Forma livre: Forma 1438">
                <a:extLst>
                  <a:ext uri="{FF2B5EF4-FFF2-40B4-BE49-F238E27FC236}">
                    <a16:creationId xmlns:a16="http://schemas.microsoft.com/office/drawing/2014/main" id="{AB97970E-6A6A-1495-1AB3-B665E5627689}"/>
                  </a:ext>
                </a:extLst>
              </p:cNvPr>
              <p:cNvSpPr/>
              <p:nvPr/>
            </p:nvSpPr>
            <p:spPr>
              <a:xfrm>
                <a:off x="3973810" y="5254467"/>
                <a:ext cx="195093" cy="195093"/>
              </a:xfrm>
              <a:custGeom>
                <a:avLst/>
                <a:gdLst>
                  <a:gd name="connsiteX0" fmla="*/ 14845 w 195093"/>
                  <a:gd name="connsiteY0" fmla="*/ 0 h 195093"/>
                  <a:gd name="connsiteX1" fmla="*/ 180297 w 195093"/>
                  <a:gd name="connsiteY1" fmla="*/ 0 h 195093"/>
                  <a:gd name="connsiteX2" fmla="*/ 195094 w 195093"/>
                  <a:gd name="connsiteY2" fmla="*/ 14797 h 195093"/>
                  <a:gd name="connsiteX3" fmla="*/ 195094 w 195093"/>
                  <a:gd name="connsiteY3" fmla="*/ 180297 h 195093"/>
                  <a:gd name="connsiteX4" fmla="*/ 180297 w 195093"/>
                  <a:gd name="connsiteY4" fmla="*/ 195094 h 195093"/>
                  <a:gd name="connsiteX5" fmla="*/ 14797 w 195093"/>
                  <a:gd name="connsiteY5" fmla="*/ 195094 h 195093"/>
                  <a:gd name="connsiteX6" fmla="*/ 0 w 195093"/>
                  <a:gd name="connsiteY6" fmla="*/ 180297 h 195093"/>
                  <a:gd name="connsiteX7" fmla="*/ 0 w 195093"/>
                  <a:gd name="connsiteY7" fmla="*/ 14845 h 195093"/>
                  <a:gd name="connsiteX8" fmla="*/ 14797 w 195093"/>
                  <a:gd name="connsiteY8" fmla="*/ 48 h 1950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95093" h="195093">
                    <a:moveTo>
                      <a:pt x="14845" y="0"/>
                    </a:moveTo>
                    <a:lnTo>
                      <a:pt x="180297" y="0"/>
                    </a:lnTo>
                    <a:cubicBezTo>
                      <a:pt x="188464" y="0"/>
                      <a:pt x="195094" y="6630"/>
                      <a:pt x="195094" y="14797"/>
                    </a:cubicBezTo>
                    <a:lnTo>
                      <a:pt x="195094" y="180297"/>
                    </a:lnTo>
                    <a:cubicBezTo>
                      <a:pt x="195094" y="188464"/>
                      <a:pt x="188464" y="195094"/>
                      <a:pt x="180297" y="195094"/>
                    </a:cubicBezTo>
                    <a:lnTo>
                      <a:pt x="14797" y="195094"/>
                    </a:lnTo>
                    <a:cubicBezTo>
                      <a:pt x="6630" y="195094"/>
                      <a:pt x="0" y="188464"/>
                      <a:pt x="0" y="180297"/>
                    </a:cubicBezTo>
                    <a:lnTo>
                      <a:pt x="0" y="14845"/>
                    </a:lnTo>
                    <a:cubicBezTo>
                      <a:pt x="0" y="6678"/>
                      <a:pt x="6630" y="48"/>
                      <a:pt x="14797" y="48"/>
                    </a:cubicBezTo>
                    <a:close/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440" name="Forma livre: Forma 1439">
                <a:extLst>
                  <a:ext uri="{FF2B5EF4-FFF2-40B4-BE49-F238E27FC236}">
                    <a16:creationId xmlns:a16="http://schemas.microsoft.com/office/drawing/2014/main" id="{C7643E66-1E11-8D42-2C76-7222FD491846}"/>
                  </a:ext>
                </a:extLst>
              </p:cNvPr>
              <p:cNvSpPr/>
              <p:nvPr/>
            </p:nvSpPr>
            <p:spPr>
              <a:xfrm>
                <a:off x="3998503" y="5279112"/>
                <a:ext cx="145755" cy="145755"/>
              </a:xfrm>
              <a:custGeom>
                <a:avLst/>
                <a:gdLst>
                  <a:gd name="connsiteX0" fmla="*/ 25846 w 145755"/>
                  <a:gd name="connsiteY0" fmla="*/ 0 h 145755"/>
                  <a:gd name="connsiteX1" fmla="*/ 145756 w 145755"/>
                  <a:gd name="connsiteY1" fmla="*/ 0 h 145755"/>
                  <a:gd name="connsiteX2" fmla="*/ 145756 w 145755"/>
                  <a:gd name="connsiteY2" fmla="*/ 145756 h 145755"/>
                  <a:gd name="connsiteX3" fmla="*/ 0 w 145755"/>
                  <a:gd name="connsiteY3" fmla="*/ 145756 h 145755"/>
                  <a:gd name="connsiteX4" fmla="*/ 0 w 145755"/>
                  <a:gd name="connsiteY4" fmla="*/ 24213 h 1457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45755" h="145755">
                    <a:moveTo>
                      <a:pt x="25846" y="0"/>
                    </a:moveTo>
                    <a:lnTo>
                      <a:pt x="145756" y="0"/>
                    </a:lnTo>
                    <a:lnTo>
                      <a:pt x="145756" y="145756"/>
                    </a:lnTo>
                    <a:lnTo>
                      <a:pt x="0" y="145756"/>
                    </a:lnTo>
                    <a:lnTo>
                      <a:pt x="0" y="24213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441" name="Gráfico 14">
            <a:extLst>
              <a:ext uri="{FF2B5EF4-FFF2-40B4-BE49-F238E27FC236}">
                <a16:creationId xmlns:a16="http://schemas.microsoft.com/office/drawing/2014/main" id="{45167664-844D-F1DD-35A4-88921C579B2E}"/>
              </a:ext>
            </a:extLst>
          </p:cNvPr>
          <p:cNvGrpSpPr/>
          <p:nvPr/>
        </p:nvGrpSpPr>
        <p:grpSpPr>
          <a:xfrm>
            <a:off x="3283740" y="5229198"/>
            <a:ext cx="324815" cy="245632"/>
            <a:chOff x="3283740" y="5229198"/>
            <a:chExt cx="324815" cy="245632"/>
          </a:xfrm>
          <a:noFill/>
        </p:grpSpPr>
        <p:grpSp>
          <p:nvGrpSpPr>
            <p:cNvPr id="1442" name="Gráfico 14">
              <a:extLst>
                <a:ext uri="{FF2B5EF4-FFF2-40B4-BE49-F238E27FC236}">
                  <a16:creationId xmlns:a16="http://schemas.microsoft.com/office/drawing/2014/main" id="{25F217D8-21BC-6E58-EA7E-147473AE69E0}"/>
                </a:ext>
              </a:extLst>
            </p:cNvPr>
            <p:cNvGrpSpPr/>
            <p:nvPr/>
          </p:nvGrpSpPr>
          <p:grpSpPr>
            <a:xfrm>
              <a:off x="3499119" y="5381103"/>
              <a:ext cx="36414" cy="93727"/>
              <a:chOff x="3499119" y="5381103"/>
              <a:chExt cx="36414" cy="93727"/>
            </a:xfrm>
            <a:noFill/>
          </p:grpSpPr>
          <p:sp>
            <p:nvSpPr>
              <p:cNvPr id="1443" name="Forma livre: Forma 1442">
                <a:extLst>
                  <a:ext uri="{FF2B5EF4-FFF2-40B4-BE49-F238E27FC236}">
                    <a16:creationId xmlns:a16="http://schemas.microsoft.com/office/drawing/2014/main" id="{BB3EDE25-815B-1FF9-3647-C4C82242D97E}"/>
                  </a:ext>
                </a:extLst>
              </p:cNvPr>
              <p:cNvSpPr/>
              <p:nvPr/>
            </p:nvSpPr>
            <p:spPr>
              <a:xfrm>
                <a:off x="3499119" y="5438416"/>
                <a:ext cx="36414" cy="36415"/>
              </a:xfrm>
              <a:custGeom>
                <a:avLst/>
                <a:gdLst>
                  <a:gd name="connsiteX0" fmla="*/ 0 w 36414"/>
                  <a:gd name="connsiteY0" fmla="*/ 17103 h 36415"/>
                  <a:gd name="connsiteX1" fmla="*/ 18208 w 36414"/>
                  <a:gd name="connsiteY1" fmla="*/ 0 h 36415"/>
                  <a:gd name="connsiteX2" fmla="*/ 36415 w 36414"/>
                  <a:gd name="connsiteY2" fmla="*/ 18208 h 36415"/>
                  <a:gd name="connsiteX3" fmla="*/ 18208 w 36414"/>
                  <a:gd name="connsiteY3" fmla="*/ 36415 h 36415"/>
                  <a:gd name="connsiteX4" fmla="*/ 0 w 36414"/>
                  <a:gd name="connsiteY4" fmla="*/ 17055 h 364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6414" h="36415">
                    <a:moveTo>
                      <a:pt x="0" y="17103"/>
                    </a:moveTo>
                    <a:cubicBezTo>
                      <a:pt x="0" y="7062"/>
                      <a:pt x="8167" y="0"/>
                      <a:pt x="18208" y="0"/>
                    </a:cubicBezTo>
                    <a:cubicBezTo>
                      <a:pt x="28248" y="0"/>
                      <a:pt x="36415" y="8167"/>
                      <a:pt x="36415" y="18208"/>
                    </a:cubicBezTo>
                    <a:cubicBezTo>
                      <a:pt x="36415" y="28248"/>
                      <a:pt x="28248" y="36415"/>
                      <a:pt x="18208" y="36415"/>
                    </a:cubicBezTo>
                    <a:cubicBezTo>
                      <a:pt x="8167" y="36415"/>
                      <a:pt x="0" y="27143"/>
                      <a:pt x="0" y="17055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444" name="Forma livre: Forma 1443">
                <a:extLst>
                  <a:ext uri="{FF2B5EF4-FFF2-40B4-BE49-F238E27FC236}">
                    <a16:creationId xmlns:a16="http://schemas.microsoft.com/office/drawing/2014/main" id="{C6FDBB68-7845-6E82-A10D-190F1C149743}"/>
                  </a:ext>
                </a:extLst>
              </p:cNvPr>
              <p:cNvSpPr/>
              <p:nvPr/>
            </p:nvSpPr>
            <p:spPr>
              <a:xfrm>
                <a:off x="3517326" y="5381103"/>
                <a:ext cx="4804" cy="57504"/>
              </a:xfrm>
              <a:custGeom>
                <a:avLst/>
                <a:gdLst>
                  <a:gd name="connsiteX0" fmla="*/ 0 w 4804"/>
                  <a:gd name="connsiteY0" fmla="*/ 57505 h 57504"/>
                  <a:gd name="connsiteX1" fmla="*/ 0 w 4804"/>
                  <a:gd name="connsiteY1" fmla="*/ 0 h 575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804" h="57504">
                    <a:moveTo>
                      <a:pt x="0" y="57505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445" name="Forma livre: Forma 1444">
              <a:extLst>
                <a:ext uri="{FF2B5EF4-FFF2-40B4-BE49-F238E27FC236}">
                  <a16:creationId xmlns:a16="http://schemas.microsoft.com/office/drawing/2014/main" id="{2ACC914F-A87A-FB57-E205-9826BE6572E3}"/>
                </a:ext>
              </a:extLst>
            </p:cNvPr>
            <p:cNvSpPr/>
            <p:nvPr/>
          </p:nvSpPr>
          <p:spPr>
            <a:xfrm>
              <a:off x="3434840" y="5418239"/>
              <a:ext cx="36414" cy="36414"/>
            </a:xfrm>
            <a:custGeom>
              <a:avLst/>
              <a:gdLst>
                <a:gd name="connsiteX0" fmla="*/ 5333 w 36414"/>
                <a:gd name="connsiteY0" fmla="*/ 5333 h 36414"/>
                <a:gd name="connsiteX1" fmla="*/ 31082 w 36414"/>
                <a:gd name="connsiteY1" fmla="*/ 5333 h 36414"/>
                <a:gd name="connsiteX2" fmla="*/ 31082 w 36414"/>
                <a:gd name="connsiteY2" fmla="*/ 31082 h 36414"/>
                <a:gd name="connsiteX3" fmla="*/ 5333 w 36414"/>
                <a:gd name="connsiteY3" fmla="*/ 31082 h 36414"/>
                <a:gd name="connsiteX4" fmla="*/ 5333 w 36414"/>
                <a:gd name="connsiteY4" fmla="*/ 5333 h 364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6414" h="36414">
                  <a:moveTo>
                    <a:pt x="5333" y="5333"/>
                  </a:moveTo>
                  <a:cubicBezTo>
                    <a:pt x="12443" y="-1778"/>
                    <a:pt x="23972" y="-1778"/>
                    <a:pt x="31082" y="5333"/>
                  </a:cubicBezTo>
                  <a:cubicBezTo>
                    <a:pt x="38192" y="12443"/>
                    <a:pt x="38192" y="23972"/>
                    <a:pt x="31082" y="31082"/>
                  </a:cubicBezTo>
                  <a:cubicBezTo>
                    <a:pt x="23972" y="38192"/>
                    <a:pt x="12443" y="38192"/>
                    <a:pt x="5333" y="31082"/>
                  </a:cubicBezTo>
                  <a:cubicBezTo>
                    <a:pt x="-1778" y="23972"/>
                    <a:pt x="-1778" y="12443"/>
                    <a:pt x="5333" y="5333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46" name="Forma livre: Forma 1445">
              <a:extLst>
                <a:ext uri="{FF2B5EF4-FFF2-40B4-BE49-F238E27FC236}">
                  <a16:creationId xmlns:a16="http://schemas.microsoft.com/office/drawing/2014/main" id="{F6A65344-4492-0F03-D505-770F07518EDE}"/>
                </a:ext>
              </a:extLst>
            </p:cNvPr>
            <p:cNvSpPr/>
            <p:nvPr/>
          </p:nvSpPr>
          <p:spPr>
            <a:xfrm>
              <a:off x="3321464" y="5329747"/>
              <a:ext cx="44437" cy="44389"/>
            </a:xfrm>
            <a:custGeom>
              <a:avLst/>
              <a:gdLst>
                <a:gd name="connsiteX0" fmla="*/ 44438 w 44437"/>
                <a:gd name="connsiteY0" fmla="*/ 22195 h 44389"/>
                <a:gd name="connsiteX1" fmla="*/ 22195 w 44437"/>
                <a:gd name="connsiteY1" fmla="*/ 44390 h 44389"/>
                <a:gd name="connsiteX2" fmla="*/ 0 w 44437"/>
                <a:gd name="connsiteY2" fmla="*/ 22195 h 44389"/>
                <a:gd name="connsiteX3" fmla="*/ 22195 w 44437"/>
                <a:gd name="connsiteY3" fmla="*/ 0 h 44389"/>
                <a:gd name="connsiteX4" fmla="*/ 44438 w 44437"/>
                <a:gd name="connsiteY4" fmla="*/ 22195 h 443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437" h="44389">
                  <a:moveTo>
                    <a:pt x="44438" y="22195"/>
                  </a:moveTo>
                  <a:cubicBezTo>
                    <a:pt x="44438" y="34445"/>
                    <a:pt x="34493" y="44390"/>
                    <a:pt x="22195" y="44390"/>
                  </a:cubicBezTo>
                  <a:cubicBezTo>
                    <a:pt x="9896" y="44390"/>
                    <a:pt x="0" y="34445"/>
                    <a:pt x="0" y="22195"/>
                  </a:cubicBezTo>
                  <a:cubicBezTo>
                    <a:pt x="0" y="9944"/>
                    <a:pt x="9944" y="0"/>
                    <a:pt x="22195" y="0"/>
                  </a:cubicBezTo>
                  <a:cubicBezTo>
                    <a:pt x="34445" y="0"/>
                    <a:pt x="44390" y="9944"/>
                    <a:pt x="44438" y="22195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47" name="Forma livre: Forma 1446">
              <a:extLst>
                <a:ext uri="{FF2B5EF4-FFF2-40B4-BE49-F238E27FC236}">
                  <a16:creationId xmlns:a16="http://schemas.microsoft.com/office/drawing/2014/main" id="{1EC61011-CAF5-E316-BD5A-58F97CED2D20}"/>
                </a:ext>
              </a:extLst>
            </p:cNvPr>
            <p:cNvSpPr/>
            <p:nvPr/>
          </p:nvSpPr>
          <p:spPr>
            <a:xfrm>
              <a:off x="3464674" y="5365346"/>
              <a:ext cx="73886" cy="56111"/>
            </a:xfrm>
            <a:custGeom>
              <a:avLst/>
              <a:gdLst>
                <a:gd name="connsiteX0" fmla="*/ 0 w 73886"/>
                <a:gd name="connsiteY0" fmla="*/ 56112 h 56111"/>
                <a:gd name="connsiteX1" fmla="*/ 11722 w 73886"/>
                <a:gd name="connsiteY1" fmla="*/ 40931 h 56111"/>
                <a:gd name="connsiteX2" fmla="*/ 11722 w 73886"/>
                <a:gd name="connsiteY2" fmla="*/ 14989 h 56111"/>
                <a:gd name="connsiteX3" fmla="*/ 32091 w 73886"/>
                <a:gd name="connsiteY3" fmla="*/ 96 h 56111"/>
                <a:gd name="connsiteX4" fmla="*/ 52701 w 73886"/>
                <a:gd name="connsiteY4" fmla="*/ 14989 h 56111"/>
                <a:gd name="connsiteX5" fmla="*/ 73887 w 73886"/>
                <a:gd name="connsiteY5" fmla="*/ 0 h 561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3886" h="56111">
                  <a:moveTo>
                    <a:pt x="0" y="56112"/>
                  </a:moveTo>
                  <a:lnTo>
                    <a:pt x="11722" y="40931"/>
                  </a:lnTo>
                  <a:lnTo>
                    <a:pt x="11722" y="14989"/>
                  </a:lnTo>
                  <a:lnTo>
                    <a:pt x="32091" y="96"/>
                  </a:lnTo>
                  <a:lnTo>
                    <a:pt x="52701" y="14989"/>
                  </a:lnTo>
                  <a:lnTo>
                    <a:pt x="73887" y="0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448" name="Gráfico 14">
              <a:extLst>
                <a:ext uri="{FF2B5EF4-FFF2-40B4-BE49-F238E27FC236}">
                  <a16:creationId xmlns:a16="http://schemas.microsoft.com/office/drawing/2014/main" id="{61EF31F7-9234-9011-323B-08C53880890E}"/>
                </a:ext>
              </a:extLst>
            </p:cNvPr>
            <p:cNvGrpSpPr/>
            <p:nvPr/>
          </p:nvGrpSpPr>
          <p:grpSpPr>
            <a:xfrm>
              <a:off x="3452279" y="5323646"/>
              <a:ext cx="147629" cy="131151"/>
              <a:chOff x="3452279" y="5323646"/>
              <a:chExt cx="147629" cy="131151"/>
            </a:xfrm>
            <a:noFill/>
          </p:grpSpPr>
          <p:sp>
            <p:nvSpPr>
              <p:cNvPr id="1449" name="Forma livre: Forma 1448">
                <a:extLst>
                  <a:ext uri="{FF2B5EF4-FFF2-40B4-BE49-F238E27FC236}">
                    <a16:creationId xmlns:a16="http://schemas.microsoft.com/office/drawing/2014/main" id="{40F01D71-2C15-E876-9017-CD240C439733}"/>
                  </a:ext>
                </a:extLst>
              </p:cNvPr>
              <p:cNvSpPr/>
              <p:nvPr/>
            </p:nvSpPr>
            <p:spPr>
              <a:xfrm>
                <a:off x="3563493" y="5418383"/>
                <a:ext cx="36414" cy="36414"/>
              </a:xfrm>
              <a:custGeom>
                <a:avLst/>
                <a:gdLst>
                  <a:gd name="connsiteX0" fmla="*/ 31082 w 36414"/>
                  <a:gd name="connsiteY0" fmla="*/ 5333 h 36414"/>
                  <a:gd name="connsiteX1" fmla="*/ 5333 w 36414"/>
                  <a:gd name="connsiteY1" fmla="*/ 5333 h 36414"/>
                  <a:gd name="connsiteX2" fmla="*/ 5333 w 36414"/>
                  <a:gd name="connsiteY2" fmla="*/ 31083 h 36414"/>
                  <a:gd name="connsiteX3" fmla="*/ 31082 w 36414"/>
                  <a:gd name="connsiteY3" fmla="*/ 31083 h 36414"/>
                  <a:gd name="connsiteX4" fmla="*/ 31082 w 36414"/>
                  <a:gd name="connsiteY4" fmla="*/ 5333 h 364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6414" h="36414">
                    <a:moveTo>
                      <a:pt x="31082" y="5333"/>
                    </a:moveTo>
                    <a:cubicBezTo>
                      <a:pt x="23972" y="-1778"/>
                      <a:pt x="12443" y="-1778"/>
                      <a:pt x="5333" y="5333"/>
                    </a:cubicBezTo>
                    <a:cubicBezTo>
                      <a:pt x="-1778" y="12443"/>
                      <a:pt x="-1778" y="23972"/>
                      <a:pt x="5333" y="31083"/>
                    </a:cubicBezTo>
                    <a:cubicBezTo>
                      <a:pt x="12443" y="38192"/>
                      <a:pt x="23972" y="38192"/>
                      <a:pt x="31082" y="31083"/>
                    </a:cubicBezTo>
                    <a:cubicBezTo>
                      <a:pt x="38192" y="23972"/>
                      <a:pt x="38192" y="12443"/>
                      <a:pt x="31082" y="5333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450" name="Forma livre: Forma 1449">
                <a:extLst>
                  <a:ext uri="{FF2B5EF4-FFF2-40B4-BE49-F238E27FC236}">
                    <a16:creationId xmlns:a16="http://schemas.microsoft.com/office/drawing/2014/main" id="{CE737409-02EF-AA1B-07D6-C5E6945D8227}"/>
                  </a:ext>
                </a:extLst>
              </p:cNvPr>
              <p:cNvSpPr/>
              <p:nvPr/>
            </p:nvSpPr>
            <p:spPr>
              <a:xfrm>
                <a:off x="3452279" y="5323646"/>
                <a:ext cx="44581" cy="4804"/>
              </a:xfrm>
              <a:custGeom>
                <a:avLst/>
                <a:gdLst>
                  <a:gd name="connsiteX0" fmla="*/ 44582 w 44581"/>
                  <a:gd name="connsiteY0" fmla="*/ 0 h 4804"/>
                  <a:gd name="connsiteX1" fmla="*/ 0 w 44581"/>
                  <a:gd name="connsiteY1" fmla="*/ 0 h 48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4581" h="4804">
                    <a:moveTo>
                      <a:pt x="44582" y="0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451" name="Gráfico 14">
              <a:extLst>
                <a:ext uri="{FF2B5EF4-FFF2-40B4-BE49-F238E27FC236}">
                  <a16:creationId xmlns:a16="http://schemas.microsoft.com/office/drawing/2014/main" id="{BD2A53A4-1A12-1835-74E7-40D2F283D2AC}"/>
                </a:ext>
              </a:extLst>
            </p:cNvPr>
            <p:cNvGrpSpPr/>
            <p:nvPr/>
          </p:nvGrpSpPr>
          <p:grpSpPr>
            <a:xfrm>
              <a:off x="3434552" y="5229198"/>
              <a:ext cx="174003" cy="192403"/>
              <a:chOff x="3434552" y="5229198"/>
              <a:chExt cx="174003" cy="192403"/>
            </a:xfrm>
            <a:noFill/>
          </p:grpSpPr>
          <p:sp>
            <p:nvSpPr>
              <p:cNvPr id="1452" name="Forma livre: Forma 1451">
                <a:extLst>
                  <a:ext uri="{FF2B5EF4-FFF2-40B4-BE49-F238E27FC236}">
                    <a16:creationId xmlns:a16="http://schemas.microsoft.com/office/drawing/2014/main" id="{CD4953F6-8DE7-BEDA-B88A-26EE8FEC0EAF}"/>
                  </a:ext>
                </a:extLst>
              </p:cNvPr>
              <p:cNvSpPr/>
              <p:nvPr/>
            </p:nvSpPr>
            <p:spPr>
              <a:xfrm>
                <a:off x="3498975" y="5229198"/>
                <a:ext cx="36414" cy="36414"/>
              </a:xfrm>
              <a:custGeom>
                <a:avLst/>
                <a:gdLst>
                  <a:gd name="connsiteX0" fmla="*/ 36415 w 36414"/>
                  <a:gd name="connsiteY0" fmla="*/ 19312 h 36414"/>
                  <a:gd name="connsiteX1" fmla="*/ 18208 w 36414"/>
                  <a:gd name="connsiteY1" fmla="*/ 36415 h 36414"/>
                  <a:gd name="connsiteX2" fmla="*/ 0 w 36414"/>
                  <a:gd name="connsiteY2" fmla="*/ 18207 h 36414"/>
                  <a:gd name="connsiteX3" fmla="*/ 18208 w 36414"/>
                  <a:gd name="connsiteY3" fmla="*/ 0 h 36414"/>
                  <a:gd name="connsiteX4" fmla="*/ 36415 w 36414"/>
                  <a:gd name="connsiteY4" fmla="*/ 19360 h 364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6414" h="36414">
                    <a:moveTo>
                      <a:pt x="36415" y="19312"/>
                    </a:moveTo>
                    <a:cubicBezTo>
                      <a:pt x="36415" y="29353"/>
                      <a:pt x="28248" y="36415"/>
                      <a:pt x="18208" y="36415"/>
                    </a:cubicBezTo>
                    <a:cubicBezTo>
                      <a:pt x="8167" y="36415"/>
                      <a:pt x="0" y="28248"/>
                      <a:pt x="0" y="18207"/>
                    </a:cubicBezTo>
                    <a:cubicBezTo>
                      <a:pt x="0" y="8167"/>
                      <a:pt x="8167" y="0"/>
                      <a:pt x="18208" y="0"/>
                    </a:cubicBezTo>
                    <a:cubicBezTo>
                      <a:pt x="28248" y="0"/>
                      <a:pt x="36415" y="9272"/>
                      <a:pt x="36415" y="19360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453" name="Forma livre: Forma 1452">
                <a:extLst>
                  <a:ext uri="{FF2B5EF4-FFF2-40B4-BE49-F238E27FC236}">
                    <a16:creationId xmlns:a16="http://schemas.microsoft.com/office/drawing/2014/main" id="{C9AC20D2-D1F8-AA64-0D32-320598C481A6}"/>
                  </a:ext>
                </a:extLst>
              </p:cNvPr>
              <p:cNvSpPr/>
              <p:nvPr/>
            </p:nvSpPr>
            <p:spPr>
              <a:xfrm>
                <a:off x="3563205" y="5249375"/>
                <a:ext cx="36414" cy="36414"/>
              </a:xfrm>
              <a:custGeom>
                <a:avLst/>
                <a:gdLst>
                  <a:gd name="connsiteX0" fmla="*/ 31082 w 36414"/>
                  <a:gd name="connsiteY0" fmla="*/ 31082 h 36414"/>
                  <a:gd name="connsiteX1" fmla="*/ 5333 w 36414"/>
                  <a:gd name="connsiteY1" fmla="*/ 31082 h 36414"/>
                  <a:gd name="connsiteX2" fmla="*/ 5333 w 36414"/>
                  <a:gd name="connsiteY2" fmla="*/ 5333 h 36414"/>
                  <a:gd name="connsiteX3" fmla="*/ 31082 w 36414"/>
                  <a:gd name="connsiteY3" fmla="*/ 5333 h 36414"/>
                  <a:gd name="connsiteX4" fmla="*/ 31082 w 36414"/>
                  <a:gd name="connsiteY4" fmla="*/ 31082 h 364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6414" h="36414">
                    <a:moveTo>
                      <a:pt x="31082" y="31082"/>
                    </a:moveTo>
                    <a:cubicBezTo>
                      <a:pt x="23972" y="38192"/>
                      <a:pt x="12443" y="38192"/>
                      <a:pt x="5333" y="31082"/>
                    </a:cubicBezTo>
                    <a:cubicBezTo>
                      <a:pt x="-1778" y="23972"/>
                      <a:pt x="-1778" y="12443"/>
                      <a:pt x="5333" y="5333"/>
                    </a:cubicBezTo>
                    <a:cubicBezTo>
                      <a:pt x="12443" y="-1778"/>
                      <a:pt x="23972" y="-1778"/>
                      <a:pt x="31082" y="5333"/>
                    </a:cubicBezTo>
                    <a:cubicBezTo>
                      <a:pt x="38192" y="12443"/>
                      <a:pt x="38192" y="23972"/>
                      <a:pt x="31082" y="31082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454" name="Forma livre: Forma 1453">
                <a:extLst>
                  <a:ext uri="{FF2B5EF4-FFF2-40B4-BE49-F238E27FC236}">
                    <a16:creationId xmlns:a16="http://schemas.microsoft.com/office/drawing/2014/main" id="{46E4E96D-4B30-E88E-3CDC-4F6B797FE7C4}"/>
                  </a:ext>
                </a:extLst>
              </p:cNvPr>
              <p:cNvSpPr/>
              <p:nvPr/>
            </p:nvSpPr>
            <p:spPr>
              <a:xfrm>
                <a:off x="3558065" y="5282571"/>
                <a:ext cx="11769" cy="40834"/>
              </a:xfrm>
              <a:custGeom>
                <a:avLst/>
                <a:gdLst>
                  <a:gd name="connsiteX0" fmla="*/ 11770 w 11769"/>
                  <a:gd name="connsiteY0" fmla="*/ 0 h 40834"/>
                  <a:gd name="connsiteX1" fmla="*/ 0 w 11769"/>
                  <a:gd name="connsiteY1" fmla="*/ 15181 h 40834"/>
                  <a:gd name="connsiteX2" fmla="*/ 0 w 11769"/>
                  <a:gd name="connsiteY2" fmla="*/ 40835 h 408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1769" h="40834">
                    <a:moveTo>
                      <a:pt x="11770" y="0"/>
                    </a:moveTo>
                    <a:lnTo>
                      <a:pt x="0" y="15181"/>
                    </a:lnTo>
                    <a:lnTo>
                      <a:pt x="0" y="40835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455" name="Forma livre: Forma 1454">
                <a:extLst>
                  <a:ext uri="{FF2B5EF4-FFF2-40B4-BE49-F238E27FC236}">
                    <a16:creationId xmlns:a16="http://schemas.microsoft.com/office/drawing/2014/main" id="{AC28278A-4D29-FDCA-1B5C-A1BDDD26DE2C}"/>
                  </a:ext>
                </a:extLst>
              </p:cNvPr>
              <p:cNvSpPr/>
              <p:nvPr/>
            </p:nvSpPr>
            <p:spPr>
              <a:xfrm>
                <a:off x="3517182" y="5265373"/>
                <a:ext cx="91373" cy="156228"/>
              </a:xfrm>
              <a:custGeom>
                <a:avLst/>
                <a:gdLst>
                  <a:gd name="connsiteX0" fmla="*/ 0 w 91373"/>
                  <a:gd name="connsiteY0" fmla="*/ 0 h 156228"/>
                  <a:gd name="connsiteX1" fmla="*/ 0 w 91373"/>
                  <a:gd name="connsiteY1" fmla="*/ 58274 h 156228"/>
                  <a:gd name="connsiteX2" fmla="*/ 57457 w 91373"/>
                  <a:gd name="connsiteY2" fmla="*/ 58274 h 156228"/>
                  <a:gd name="connsiteX3" fmla="*/ 91374 w 91373"/>
                  <a:gd name="connsiteY3" fmla="*/ 86329 h 156228"/>
                  <a:gd name="connsiteX4" fmla="*/ 57457 w 91373"/>
                  <a:gd name="connsiteY4" fmla="*/ 114962 h 156228"/>
                  <a:gd name="connsiteX5" fmla="*/ 41123 w 91373"/>
                  <a:gd name="connsiteY5" fmla="*/ 114962 h 156228"/>
                  <a:gd name="connsiteX6" fmla="*/ 41123 w 91373"/>
                  <a:gd name="connsiteY6" fmla="*/ 141048 h 156228"/>
                  <a:gd name="connsiteX7" fmla="*/ 52893 w 91373"/>
                  <a:gd name="connsiteY7" fmla="*/ 156229 h 1562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91373" h="156228">
                    <a:moveTo>
                      <a:pt x="0" y="0"/>
                    </a:moveTo>
                    <a:lnTo>
                      <a:pt x="0" y="58274"/>
                    </a:lnTo>
                    <a:lnTo>
                      <a:pt x="57457" y="58274"/>
                    </a:lnTo>
                    <a:lnTo>
                      <a:pt x="91374" y="86329"/>
                    </a:lnTo>
                    <a:lnTo>
                      <a:pt x="57457" y="114962"/>
                    </a:lnTo>
                    <a:lnTo>
                      <a:pt x="41123" y="114962"/>
                    </a:lnTo>
                    <a:lnTo>
                      <a:pt x="41123" y="141048"/>
                    </a:lnTo>
                    <a:lnTo>
                      <a:pt x="52893" y="156229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1456" name="Gráfico 14">
                <a:extLst>
                  <a:ext uri="{FF2B5EF4-FFF2-40B4-BE49-F238E27FC236}">
                    <a16:creationId xmlns:a16="http://schemas.microsoft.com/office/drawing/2014/main" id="{6915C6E4-1818-4004-652D-715ECA2E3E08}"/>
                  </a:ext>
                </a:extLst>
              </p:cNvPr>
              <p:cNvGrpSpPr/>
              <p:nvPr/>
            </p:nvGrpSpPr>
            <p:grpSpPr>
              <a:xfrm>
                <a:off x="3434552" y="5249231"/>
                <a:ext cx="41603" cy="74174"/>
                <a:chOff x="3434552" y="5249231"/>
                <a:chExt cx="41603" cy="74174"/>
              </a:xfrm>
              <a:noFill/>
            </p:grpSpPr>
            <p:sp>
              <p:nvSpPr>
                <p:cNvPr id="1457" name="Forma livre: Forma 1456">
                  <a:extLst>
                    <a:ext uri="{FF2B5EF4-FFF2-40B4-BE49-F238E27FC236}">
                      <a16:creationId xmlns:a16="http://schemas.microsoft.com/office/drawing/2014/main" id="{EDED048A-9621-EDEB-2233-7C2DF096B8B3}"/>
                    </a:ext>
                  </a:extLst>
                </p:cNvPr>
                <p:cNvSpPr/>
                <p:nvPr/>
              </p:nvSpPr>
              <p:spPr>
                <a:xfrm>
                  <a:off x="3434552" y="5249231"/>
                  <a:ext cx="36414" cy="36414"/>
                </a:xfrm>
                <a:custGeom>
                  <a:avLst/>
                  <a:gdLst>
                    <a:gd name="connsiteX0" fmla="*/ 5333 w 36414"/>
                    <a:gd name="connsiteY0" fmla="*/ 31082 h 36414"/>
                    <a:gd name="connsiteX1" fmla="*/ 31082 w 36414"/>
                    <a:gd name="connsiteY1" fmla="*/ 31082 h 36414"/>
                    <a:gd name="connsiteX2" fmla="*/ 31082 w 36414"/>
                    <a:gd name="connsiteY2" fmla="*/ 5333 h 36414"/>
                    <a:gd name="connsiteX3" fmla="*/ 5333 w 36414"/>
                    <a:gd name="connsiteY3" fmla="*/ 5333 h 36414"/>
                    <a:gd name="connsiteX4" fmla="*/ 5333 w 36414"/>
                    <a:gd name="connsiteY4" fmla="*/ 31082 h 3641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6414" h="36414">
                      <a:moveTo>
                        <a:pt x="5333" y="31082"/>
                      </a:moveTo>
                      <a:cubicBezTo>
                        <a:pt x="12443" y="38192"/>
                        <a:pt x="23972" y="38192"/>
                        <a:pt x="31082" y="31082"/>
                      </a:cubicBezTo>
                      <a:cubicBezTo>
                        <a:pt x="38192" y="23972"/>
                        <a:pt x="38192" y="12443"/>
                        <a:pt x="31082" y="5333"/>
                      </a:cubicBezTo>
                      <a:cubicBezTo>
                        <a:pt x="23972" y="-1778"/>
                        <a:pt x="12443" y="-1778"/>
                        <a:pt x="5333" y="5333"/>
                      </a:cubicBezTo>
                      <a:cubicBezTo>
                        <a:pt x="-1778" y="12443"/>
                        <a:pt x="-1778" y="23972"/>
                        <a:pt x="5333" y="31082"/>
                      </a:cubicBezTo>
                      <a:close/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458" name="Forma livre: Forma 1457">
                  <a:extLst>
                    <a:ext uri="{FF2B5EF4-FFF2-40B4-BE49-F238E27FC236}">
                      <a16:creationId xmlns:a16="http://schemas.microsoft.com/office/drawing/2014/main" id="{39C04D2E-58B9-3F39-B22F-FD1FABAABC9F}"/>
                    </a:ext>
                  </a:extLst>
                </p:cNvPr>
                <p:cNvSpPr/>
                <p:nvPr/>
              </p:nvSpPr>
              <p:spPr>
                <a:xfrm>
                  <a:off x="3464385" y="5282427"/>
                  <a:ext cx="11769" cy="40978"/>
                </a:xfrm>
                <a:custGeom>
                  <a:avLst/>
                  <a:gdLst>
                    <a:gd name="connsiteX0" fmla="*/ 0 w 11769"/>
                    <a:gd name="connsiteY0" fmla="*/ 0 h 40978"/>
                    <a:gd name="connsiteX1" fmla="*/ 11770 w 11769"/>
                    <a:gd name="connsiteY1" fmla="*/ 15181 h 40978"/>
                    <a:gd name="connsiteX2" fmla="*/ 11770 w 11769"/>
                    <a:gd name="connsiteY2" fmla="*/ 40979 h 409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1769" h="40978">
                      <a:moveTo>
                        <a:pt x="0" y="0"/>
                      </a:moveTo>
                      <a:lnTo>
                        <a:pt x="11770" y="15181"/>
                      </a:lnTo>
                      <a:lnTo>
                        <a:pt x="11770" y="40979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sp>
          <p:nvSpPr>
            <p:cNvPr id="1459" name="Forma livre: Forma 1458">
              <a:extLst>
                <a:ext uri="{FF2B5EF4-FFF2-40B4-BE49-F238E27FC236}">
                  <a16:creationId xmlns:a16="http://schemas.microsoft.com/office/drawing/2014/main" id="{3934C638-8DE5-35A8-B240-9E26360BD411}"/>
                </a:ext>
              </a:extLst>
            </p:cNvPr>
            <p:cNvSpPr/>
            <p:nvPr/>
          </p:nvSpPr>
          <p:spPr>
            <a:xfrm>
              <a:off x="3283740" y="5274056"/>
              <a:ext cx="167962" cy="155243"/>
            </a:xfrm>
            <a:custGeom>
              <a:avLst/>
              <a:gdLst>
                <a:gd name="connsiteX0" fmla="*/ 149659 w 167962"/>
                <a:gd name="connsiteY0" fmla="*/ 48629 h 155243"/>
                <a:gd name="connsiteX1" fmla="*/ 132509 w 167962"/>
                <a:gd name="connsiteY1" fmla="*/ 22735 h 155243"/>
                <a:gd name="connsiteX2" fmla="*/ 22735 w 167962"/>
                <a:gd name="connsiteY2" fmla="*/ 22735 h 155243"/>
                <a:gd name="connsiteX3" fmla="*/ 22735 w 167962"/>
                <a:gd name="connsiteY3" fmla="*/ 132509 h 155243"/>
                <a:gd name="connsiteX4" fmla="*/ 132509 w 167962"/>
                <a:gd name="connsiteY4" fmla="*/ 132509 h 155243"/>
                <a:gd name="connsiteX5" fmla="*/ 149755 w 167962"/>
                <a:gd name="connsiteY5" fmla="*/ 106086 h 155243"/>
                <a:gd name="connsiteX6" fmla="*/ 167963 w 167962"/>
                <a:gd name="connsiteY6" fmla="*/ 106086 h 1552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67962" h="155243">
                  <a:moveTo>
                    <a:pt x="149659" y="48629"/>
                  </a:moveTo>
                  <a:cubicBezTo>
                    <a:pt x="145864" y="39213"/>
                    <a:pt x="140147" y="30374"/>
                    <a:pt x="132509" y="22735"/>
                  </a:cubicBezTo>
                  <a:cubicBezTo>
                    <a:pt x="102195" y="-7578"/>
                    <a:pt x="53049" y="-7578"/>
                    <a:pt x="22735" y="22735"/>
                  </a:cubicBezTo>
                  <a:cubicBezTo>
                    <a:pt x="-7578" y="53049"/>
                    <a:pt x="-7578" y="102195"/>
                    <a:pt x="22735" y="132509"/>
                  </a:cubicBezTo>
                  <a:cubicBezTo>
                    <a:pt x="53049" y="162822"/>
                    <a:pt x="102195" y="162822"/>
                    <a:pt x="132509" y="132509"/>
                  </a:cubicBezTo>
                  <a:cubicBezTo>
                    <a:pt x="140147" y="124870"/>
                    <a:pt x="145960" y="115502"/>
                    <a:pt x="149755" y="106086"/>
                  </a:cubicBezTo>
                  <a:lnTo>
                    <a:pt x="167963" y="106086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460" name="Gráfico 14">
            <a:extLst>
              <a:ext uri="{FF2B5EF4-FFF2-40B4-BE49-F238E27FC236}">
                <a16:creationId xmlns:a16="http://schemas.microsoft.com/office/drawing/2014/main" id="{E702CCE8-5EE1-8D8E-8DE5-5C4B91F98534}"/>
              </a:ext>
            </a:extLst>
          </p:cNvPr>
          <p:cNvGrpSpPr/>
          <p:nvPr/>
        </p:nvGrpSpPr>
        <p:grpSpPr>
          <a:xfrm>
            <a:off x="2683866" y="5209117"/>
            <a:ext cx="274024" cy="285794"/>
            <a:chOff x="2683866" y="5209117"/>
            <a:chExt cx="274024" cy="285794"/>
          </a:xfrm>
          <a:noFill/>
        </p:grpSpPr>
        <p:sp>
          <p:nvSpPr>
            <p:cNvPr id="1461" name="Forma livre: Forma 1460">
              <a:extLst>
                <a:ext uri="{FF2B5EF4-FFF2-40B4-BE49-F238E27FC236}">
                  <a16:creationId xmlns:a16="http://schemas.microsoft.com/office/drawing/2014/main" id="{9B65EC32-A641-739A-DB9B-0F1D193DF194}"/>
                </a:ext>
              </a:extLst>
            </p:cNvPr>
            <p:cNvSpPr/>
            <p:nvPr/>
          </p:nvSpPr>
          <p:spPr>
            <a:xfrm>
              <a:off x="2729793" y="5339644"/>
              <a:ext cx="44966" cy="4035"/>
            </a:xfrm>
            <a:custGeom>
              <a:avLst/>
              <a:gdLst>
                <a:gd name="connsiteX0" fmla="*/ 0 w 44966"/>
                <a:gd name="connsiteY0" fmla="*/ 0 h 4035"/>
                <a:gd name="connsiteX1" fmla="*/ 44966 w 44966"/>
                <a:gd name="connsiteY1" fmla="*/ 4035 h 40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4966" h="4035">
                  <a:moveTo>
                    <a:pt x="0" y="0"/>
                  </a:moveTo>
                  <a:lnTo>
                    <a:pt x="44966" y="4035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62" name="Forma livre: Forma 1461">
              <a:extLst>
                <a:ext uri="{FF2B5EF4-FFF2-40B4-BE49-F238E27FC236}">
                  <a16:creationId xmlns:a16="http://schemas.microsoft.com/office/drawing/2014/main" id="{0E42DB44-5531-7731-4553-26123992FEF5}"/>
                </a:ext>
              </a:extLst>
            </p:cNvPr>
            <p:cNvSpPr/>
            <p:nvPr/>
          </p:nvSpPr>
          <p:spPr>
            <a:xfrm>
              <a:off x="2820783" y="5263787"/>
              <a:ext cx="816" cy="38624"/>
            </a:xfrm>
            <a:custGeom>
              <a:avLst/>
              <a:gdLst>
                <a:gd name="connsiteX0" fmla="*/ 0 w 816"/>
                <a:gd name="connsiteY0" fmla="*/ 38625 h 38624"/>
                <a:gd name="connsiteX1" fmla="*/ 817 w 816"/>
                <a:gd name="connsiteY1" fmla="*/ 0 h 386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16" h="38624">
                  <a:moveTo>
                    <a:pt x="0" y="38625"/>
                  </a:moveTo>
                  <a:lnTo>
                    <a:pt x="817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63" name="Forma livre: Forma 1462">
              <a:extLst>
                <a:ext uri="{FF2B5EF4-FFF2-40B4-BE49-F238E27FC236}">
                  <a16:creationId xmlns:a16="http://schemas.microsoft.com/office/drawing/2014/main" id="{04444AEC-ADBB-9A70-9FF9-72B2DF3F957F}"/>
                </a:ext>
              </a:extLst>
            </p:cNvPr>
            <p:cNvSpPr/>
            <p:nvPr/>
          </p:nvSpPr>
          <p:spPr>
            <a:xfrm>
              <a:off x="2859215" y="5291651"/>
              <a:ext cx="60147" cy="33868"/>
            </a:xfrm>
            <a:custGeom>
              <a:avLst/>
              <a:gdLst>
                <a:gd name="connsiteX0" fmla="*/ 0 w 60147"/>
                <a:gd name="connsiteY0" fmla="*/ 33869 h 33868"/>
                <a:gd name="connsiteX1" fmla="*/ 60147 w 60147"/>
                <a:gd name="connsiteY1" fmla="*/ 0 h 33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147" h="33868">
                  <a:moveTo>
                    <a:pt x="0" y="33869"/>
                  </a:moveTo>
                  <a:lnTo>
                    <a:pt x="60147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64" name="Forma livre: Forma 1463">
              <a:extLst>
                <a:ext uri="{FF2B5EF4-FFF2-40B4-BE49-F238E27FC236}">
                  <a16:creationId xmlns:a16="http://schemas.microsoft.com/office/drawing/2014/main" id="{B301757A-8EFA-7E95-11D9-C5949AB71462}"/>
                </a:ext>
              </a:extLst>
            </p:cNvPr>
            <p:cNvSpPr/>
            <p:nvPr/>
          </p:nvSpPr>
          <p:spPr>
            <a:xfrm>
              <a:off x="2917056" y="5261049"/>
              <a:ext cx="40834" cy="40834"/>
            </a:xfrm>
            <a:custGeom>
              <a:avLst/>
              <a:gdLst>
                <a:gd name="connsiteX0" fmla="*/ 40835 w 40834"/>
                <a:gd name="connsiteY0" fmla="*/ 20417 h 40834"/>
                <a:gd name="connsiteX1" fmla="*/ 20417 w 40834"/>
                <a:gd name="connsiteY1" fmla="*/ 40835 h 40834"/>
                <a:gd name="connsiteX2" fmla="*/ 0 w 40834"/>
                <a:gd name="connsiteY2" fmla="*/ 20417 h 40834"/>
                <a:gd name="connsiteX3" fmla="*/ 20417 w 40834"/>
                <a:gd name="connsiteY3" fmla="*/ 0 h 40834"/>
                <a:gd name="connsiteX4" fmla="*/ 40835 w 40834"/>
                <a:gd name="connsiteY4" fmla="*/ 20417 h 408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0834" h="40834">
                  <a:moveTo>
                    <a:pt x="40835" y="20417"/>
                  </a:moveTo>
                  <a:cubicBezTo>
                    <a:pt x="40835" y="31707"/>
                    <a:pt x="31707" y="40835"/>
                    <a:pt x="20417" y="40835"/>
                  </a:cubicBezTo>
                  <a:cubicBezTo>
                    <a:pt x="9128" y="40835"/>
                    <a:pt x="0" y="31707"/>
                    <a:pt x="0" y="20417"/>
                  </a:cubicBezTo>
                  <a:cubicBezTo>
                    <a:pt x="0" y="9128"/>
                    <a:pt x="9128" y="0"/>
                    <a:pt x="20417" y="0"/>
                  </a:cubicBezTo>
                  <a:cubicBezTo>
                    <a:pt x="31707" y="0"/>
                    <a:pt x="40835" y="9128"/>
                    <a:pt x="40835" y="20417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65" name="Forma livre: Forma 1464">
              <a:extLst>
                <a:ext uri="{FF2B5EF4-FFF2-40B4-BE49-F238E27FC236}">
                  <a16:creationId xmlns:a16="http://schemas.microsoft.com/office/drawing/2014/main" id="{BF434477-3C31-0AF8-0968-669DF46F2DE4}"/>
                </a:ext>
              </a:extLst>
            </p:cNvPr>
            <p:cNvSpPr/>
            <p:nvPr/>
          </p:nvSpPr>
          <p:spPr>
            <a:xfrm>
              <a:off x="2849127" y="5382208"/>
              <a:ext cx="28296" cy="33244"/>
            </a:xfrm>
            <a:custGeom>
              <a:avLst/>
              <a:gdLst>
                <a:gd name="connsiteX0" fmla="*/ 0 w 28296"/>
                <a:gd name="connsiteY0" fmla="*/ 0 h 33244"/>
                <a:gd name="connsiteX1" fmla="*/ 28296 w 28296"/>
                <a:gd name="connsiteY1" fmla="*/ 33244 h 332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8296" h="33244">
                  <a:moveTo>
                    <a:pt x="0" y="0"/>
                  </a:moveTo>
                  <a:lnTo>
                    <a:pt x="28296" y="33244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66" name="Forma livre: Forma 1465">
              <a:extLst>
                <a:ext uri="{FF2B5EF4-FFF2-40B4-BE49-F238E27FC236}">
                  <a16:creationId xmlns:a16="http://schemas.microsoft.com/office/drawing/2014/main" id="{44F55AF7-3019-9F67-E1D3-F28EF59037C5}"/>
                </a:ext>
              </a:extLst>
            </p:cNvPr>
            <p:cNvSpPr/>
            <p:nvPr/>
          </p:nvSpPr>
          <p:spPr>
            <a:xfrm>
              <a:off x="2729457" y="5381103"/>
              <a:ext cx="60002" cy="66056"/>
            </a:xfrm>
            <a:custGeom>
              <a:avLst/>
              <a:gdLst>
                <a:gd name="connsiteX0" fmla="*/ 60003 w 60002"/>
                <a:gd name="connsiteY0" fmla="*/ 0 h 66056"/>
                <a:gd name="connsiteX1" fmla="*/ 0 w 60002"/>
                <a:gd name="connsiteY1" fmla="*/ 66056 h 66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002" h="66056">
                  <a:moveTo>
                    <a:pt x="60003" y="0"/>
                  </a:moveTo>
                  <a:lnTo>
                    <a:pt x="0" y="66056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67" name="Forma livre: Forma 1466">
              <a:extLst>
                <a:ext uri="{FF2B5EF4-FFF2-40B4-BE49-F238E27FC236}">
                  <a16:creationId xmlns:a16="http://schemas.microsoft.com/office/drawing/2014/main" id="{C032F159-2102-D107-B84D-3E8B9FF3F37F}"/>
                </a:ext>
              </a:extLst>
            </p:cNvPr>
            <p:cNvSpPr/>
            <p:nvPr/>
          </p:nvSpPr>
          <p:spPr>
            <a:xfrm rot="-5378400">
              <a:off x="2774882" y="5302886"/>
              <a:ext cx="89836" cy="89836"/>
            </a:xfrm>
            <a:custGeom>
              <a:avLst/>
              <a:gdLst>
                <a:gd name="connsiteX0" fmla="*/ 89836 w 89836"/>
                <a:gd name="connsiteY0" fmla="*/ 44918 h 89836"/>
                <a:gd name="connsiteX1" fmla="*/ 44918 w 89836"/>
                <a:gd name="connsiteY1" fmla="*/ 89836 h 89836"/>
                <a:gd name="connsiteX2" fmla="*/ 0 w 89836"/>
                <a:gd name="connsiteY2" fmla="*/ 44918 h 89836"/>
                <a:gd name="connsiteX3" fmla="*/ 44918 w 89836"/>
                <a:gd name="connsiteY3" fmla="*/ 0 h 89836"/>
                <a:gd name="connsiteX4" fmla="*/ 89836 w 89836"/>
                <a:gd name="connsiteY4" fmla="*/ 44918 h 898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9836" h="89836">
                  <a:moveTo>
                    <a:pt x="89836" y="44918"/>
                  </a:moveTo>
                  <a:cubicBezTo>
                    <a:pt x="89836" y="69726"/>
                    <a:pt x="69726" y="89836"/>
                    <a:pt x="44918" y="89836"/>
                  </a:cubicBezTo>
                  <a:cubicBezTo>
                    <a:pt x="20111" y="89836"/>
                    <a:pt x="0" y="69726"/>
                    <a:pt x="0" y="44918"/>
                  </a:cubicBezTo>
                  <a:cubicBezTo>
                    <a:pt x="0" y="20111"/>
                    <a:pt x="20111" y="0"/>
                    <a:pt x="44918" y="0"/>
                  </a:cubicBezTo>
                  <a:cubicBezTo>
                    <a:pt x="69726" y="0"/>
                    <a:pt x="89836" y="20110"/>
                    <a:pt x="89836" y="44918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68" name="Forma livre: Forma 1467">
              <a:extLst>
                <a:ext uri="{FF2B5EF4-FFF2-40B4-BE49-F238E27FC236}">
                  <a16:creationId xmlns:a16="http://schemas.microsoft.com/office/drawing/2014/main" id="{270EC1EE-49A1-FF81-1A56-3171ED4CA7AB}"/>
                </a:ext>
              </a:extLst>
            </p:cNvPr>
            <p:cNvSpPr/>
            <p:nvPr/>
          </p:nvSpPr>
          <p:spPr>
            <a:xfrm>
              <a:off x="2688863" y="5317113"/>
              <a:ext cx="40834" cy="40834"/>
            </a:xfrm>
            <a:custGeom>
              <a:avLst/>
              <a:gdLst>
                <a:gd name="connsiteX0" fmla="*/ 40835 w 40834"/>
                <a:gd name="connsiteY0" fmla="*/ 20417 h 40834"/>
                <a:gd name="connsiteX1" fmla="*/ 20417 w 40834"/>
                <a:gd name="connsiteY1" fmla="*/ 40835 h 40834"/>
                <a:gd name="connsiteX2" fmla="*/ 0 w 40834"/>
                <a:gd name="connsiteY2" fmla="*/ 20417 h 40834"/>
                <a:gd name="connsiteX3" fmla="*/ 20417 w 40834"/>
                <a:gd name="connsiteY3" fmla="*/ 0 h 40834"/>
                <a:gd name="connsiteX4" fmla="*/ 40835 w 40834"/>
                <a:gd name="connsiteY4" fmla="*/ 20417 h 408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0834" h="40834">
                  <a:moveTo>
                    <a:pt x="40835" y="20417"/>
                  </a:moveTo>
                  <a:cubicBezTo>
                    <a:pt x="40835" y="31707"/>
                    <a:pt x="31707" y="40835"/>
                    <a:pt x="20417" y="40835"/>
                  </a:cubicBezTo>
                  <a:cubicBezTo>
                    <a:pt x="9128" y="40835"/>
                    <a:pt x="0" y="31707"/>
                    <a:pt x="0" y="20417"/>
                  </a:cubicBezTo>
                  <a:cubicBezTo>
                    <a:pt x="0" y="9128"/>
                    <a:pt x="9128" y="0"/>
                    <a:pt x="20417" y="0"/>
                  </a:cubicBezTo>
                  <a:cubicBezTo>
                    <a:pt x="31707" y="0"/>
                    <a:pt x="40835" y="9128"/>
                    <a:pt x="40835" y="20417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69" name="Forma livre: Forma 1468">
              <a:extLst>
                <a:ext uri="{FF2B5EF4-FFF2-40B4-BE49-F238E27FC236}">
                  <a16:creationId xmlns:a16="http://schemas.microsoft.com/office/drawing/2014/main" id="{07E7C0E2-1F0B-5E22-9E1F-51B7A5A1EAE1}"/>
                </a:ext>
              </a:extLst>
            </p:cNvPr>
            <p:cNvSpPr/>
            <p:nvPr/>
          </p:nvSpPr>
          <p:spPr>
            <a:xfrm>
              <a:off x="2683866" y="5440433"/>
              <a:ext cx="54478" cy="54478"/>
            </a:xfrm>
            <a:custGeom>
              <a:avLst/>
              <a:gdLst>
                <a:gd name="connsiteX0" fmla="*/ 54478 w 54478"/>
                <a:gd name="connsiteY0" fmla="*/ 27239 h 54478"/>
                <a:gd name="connsiteX1" fmla="*/ 27239 w 54478"/>
                <a:gd name="connsiteY1" fmla="*/ 54478 h 54478"/>
                <a:gd name="connsiteX2" fmla="*/ 0 w 54478"/>
                <a:gd name="connsiteY2" fmla="*/ 27239 h 54478"/>
                <a:gd name="connsiteX3" fmla="*/ 27239 w 54478"/>
                <a:gd name="connsiteY3" fmla="*/ 0 h 54478"/>
                <a:gd name="connsiteX4" fmla="*/ 54478 w 54478"/>
                <a:gd name="connsiteY4" fmla="*/ 27239 h 544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4478" h="54478">
                  <a:moveTo>
                    <a:pt x="54478" y="27239"/>
                  </a:moveTo>
                  <a:cubicBezTo>
                    <a:pt x="54478" y="42276"/>
                    <a:pt x="42276" y="54478"/>
                    <a:pt x="27239" y="54478"/>
                  </a:cubicBezTo>
                  <a:cubicBezTo>
                    <a:pt x="12202" y="54478"/>
                    <a:pt x="0" y="42276"/>
                    <a:pt x="0" y="27239"/>
                  </a:cubicBezTo>
                  <a:cubicBezTo>
                    <a:pt x="0" y="12202"/>
                    <a:pt x="12202" y="0"/>
                    <a:pt x="27239" y="0"/>
                  </a:cubicBezTo>
                  <a:cubicBezTo>
                    <a:pt x="42276" y="0"/>
                    <a:pt x="54478" y="12202"/>
                    <a:pt x="54478" y="27239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70" name="Forma livre: Forma 1469">
              <a:extLst>
                <a:ext uri="{FF2B5EF4-FFF2-40B4-BE49-F238E27FC236}">
                  <a16:creationId xmlns:a16="http://schemas.microsoft.com/office/drawing/2014/main" id="{82BD6DED-2ACC-D5E2-C441-002728E0FF20}"/>
                </a:ext>
              </a:extLst>
            </p:cNvPr>
            <p:cNvSpPr/>
            <p:nvPr/>
          </p:nvSpPr>
          <p:spPr>
            <a:xfrm>
              <a:off x="2867670" y="5409591"/>
              <a:ext cx="54478" cy="54478"/>
            </a:xfrm>
            <a:custGeom>
              <a:avLst/>
              <a:gdLst>
                <a:gd name="connsiteX0" fmla="*/ 54478 w 54478"/>
                <a:gd name="connsiteY0" fmla="*/ 27239 h 54478"/>
                <a:gd name="connsiteX1" fmla="*/ 27239 w 54478"/>
                <a:gd name="connsiteY1" fmla="*/ 54478 h 54478"/>
                <a:gd name="connsiteX2" fmla="*/ 0 w 54478"/>
                <a:gd name="connsiteY2" fmla="*/ 27239 h 54478"/>
                <a:gd name="connsiteX3" fmla="*/ 27239 w 54478"/>
                <a:gd name="connsiteY3" fmla="*/ 0 h 54478"/>
                <a:gd name="connsiteX4" fmla="*/ 54478 w 54478"/>
                <a:gd name="connsiteY4" fmla="*/ 27239 h 544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4478" h="54478">
                  <a:moveTo>
                    <a:pt x="54478" y="27239"/>
                  </a:moveTo>
                  <a:cubicBezTo>
                    <a:pt x="54478" y="42276"/>
                    <a:pt x="42276" y="54478"/>
                    <a:pt x="27239" y="54478"/>
                  </a:cubicBezTo>
                  <a:cubicBezTo>
                    <a:pt x="12202" y="54478"/>
                    <a:pt x="0" y="42276"/>
                    <a:pt x="0" y="27239"/>
                  </a:cubicBezTo>
                  <a:cubicBezTo>
                    <a:pt x="0" y="12202"/>
                    <a:pt x="12202" y="0"/>
                    <a:pt x="27239" y="0"/>
                  </a:cubicBezTo>
                  <a:cubicBezTo>
                    <a:pt x="42276" y="0"/>
                    <a:pt x="54478" y="12202"/>
                    <a:pt x="54478" y="27239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71" name="Forma livre: Forma 1470">
              <a:extLst>
                <a:ext uri="{FF2B5EF4-FFF2-40B4-BE49-F238E27FC236}">
                  <a16:creationId xmlns:a16="http://schemas.microsoft.com/office/drawing/2014/main" id="{00DFCA35-40BD-2276-B18D-C17529A89AF6}"/>
                </a:ext>
              </a:extLst>
            </p:cNvPr>
            <p:cNvSpPr/>
            <p:nvPr/>
          </p:nvSpPr>
          <p:spPr>
            <a:xfrm>
              <a:off x="2795321" y="5209117"/>
              <a:ext cx="54478" cy="54478"/>
            </a:xfrm>
            <a:custGeom>
              <a:avLst/>
              <a:gdLst>
                <a:gd name="connsiteX0" fmla="*/ 54478 w 54478"/>
                <a:gd name="connsiteY0" fmla="*/ 27239 h 54478"/>
                <a:gd name="connsiteX1" fmla="*/ 27239 w 54478"/>
                <a:gd name="connsiteY1" fmla="*/ 54478 h 54478"/>
                <a:gd name="connsiteX2" fmla="*/ 0 w 54478"/>
                <a:gd name="connsiteY2" fmla="*/ 27239 h 54478"/>
                <a:gd name="connsiteX3" fmla="*/ 27239 w 54478"/>
                <a:gd name="connsiteY3" fmla="*/ 0 h 54478"/>
                <a:gd name="connsiteX4" fmla="*/ 54478 w 54478"/>
                <a:gd name="connsiteY4" fmla="*/ 27239 h 544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4478" h="54478">
                  <a:moveTo>
                    <a:pt x="54478" y="27239"/>
                  </a:moveTo>
                  <a:cubicBezTo>
                    <a:pt x="54478" y="42283"/>
                    <a:pt x="42283" y="54478"/>
                    <a:pt x="27239" y="54478"/>
                  </a:cubicBezTo>
                  <a:cubicBezTo>
                    <a:pt x="12195" y="54478"/>
                    <a:pt x="0" y="42283"/>
                    <a:pt x="0" y="27239"/>
                  </a:cubicBezTo>
                  <a:cubicBezTo>
                    <a:pt x="0" y="12195"/>
                    <a:pt x="12195" y="0"/>
                    <a:pt x="27239" y="0"/>
                  </a:cubicBezTo>
                  <a:cubicBezTo>
                    <a:pt x="42283" y="0"/>
                    <a:pt x="54478" y="12195"/>
                    <a:pt x="54478" y="27239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472" name="Gráfico 14">
            <a:extLst>
              <a:ext uri="{FF2B5EF4-FFF2-40B4-BE49-F238E27FC236}">
                <a16:creationId xmlns:a16="http://schemas.microsoft.com/office/drawing/2014/main" id="{463D1236-7EA4-E5FB-D0A2-B33BEA47A2E9}"/>
              </a:ext>
            </a:extLst>
          </p:cNvPr>
          <p:cNvGrpSpPr/>
          <p:nvPr/>
        </p:nvGrpSpPr>
        <p:grpSpPr>
          <a:xfrm>
            <a:off x="3908571" y="5728294"/>
            <a:ext cx="325655" cy="302657"/>
            <a:chOff x="3908571" y="5728294"/>
            <a:chExt cx="325655" cy="302657"/>
          </a:xfrm>
          <a:noFill/>
        </p:grpSpPr>
        <p:grpSp>
          <p:nvGrpSpPr>
            <p:cNvPr id="1473" name="Gráfico 14">
              <a:extLst>
                <a:ext uri="{FF2B5EF4-FFF2-40B4-BE49-F238E27FC236}">
                  <a16:creationId xmlns:a16="http://schemas.microsoft.com/office/drawing/2014/main" id="{19C1716A-5D99-0EAF-C448-9FF146F5E459}"/>
                </a:ext>
              </a:extLst>
            </p:cNvPr>
            <p:cNvGrpSpPr/>
            <p:nvPr/>
          </p:nvGrpSpPr>
          <p:grpSpPr>
            <a:xfrm>
              <a:off x="4042412" y="5756734"/>
              <a:ext cx="60915" cy="100261"/>
              <a:chOff x="4042412" y="5756734"/>
              <a:chExt cx="60915" cy="100261"/>
            </a:xfrm>
            <a:noFill/>
          </p:grpSpPr>
          <p:grpSp>
            <p:nvGrpSpPr>
              <p:cNvPr id="1474" name="Gráfico 14">
                <a:extLst>
                  <a:ext uri="{FF2B5EF4-FFF2-40B4-BE49-F238E27FC236}">
                    <a16:creationId xmlns:a16="http://schemas.microsoft.com/office/drawing/2014/main" id="{B3D02BAF-5F1D-ED96-3D25-4506118B4F40}"/>
                  </a:ext>
                </a:extLst>
              </p:cNvPr>
              <p:cNvGrpSpPr/>
              <p:nvPr/>
            </p:nvGrpSpPr>
            <p:grpSpPr>
              <a:xfrm>
                <a:off x="4042412" y="5771915"/>
                <a:ext cx="60915" cy="69851"/>
                <a:chOff x="4042412" y="5771915"/>
                <a:chExt cx="60915" cy="69851"/>
              </a:xfrm>
              <a:noFill/>
            </p:grpSpPr>
            <p:sp>
              <p:nvSpPr>
                <p:cNvPr id="1475" name="Forma livre: Forma 1474">
                  <a:extLst>
                    <a:ext uri="{FF2B5EF4-FFF2-40B4-BE49-F238E27FC236}">
                      <a16:creationId xmlns:a16="http://schemas.microsoft.com/office/drawing/2014/main" id="{02E8BBAB-A27B-E5C3-8F2D-9C4C808C4756}"/>
                    </a:ext>
                  </a:extLst>
                </p:cNvPr>
                <p:cNvSpPr/>
                <p:nvPr/>
              </p:nvSpPr>
              <p:spPr>
                <a:xfrm>
                  <a:off x="4042412" y="5771915"/>
                  <a:ext cx="60915" cy="34925"/>
                </a:xfrm>
                <a:custGeom>
                  <a:avLst/>
                  <a:gdLst>
                    <a:gd name="connsiteX0" fmla="*/ 0 w 60915"/>
                    <a:gd name="connsiteY0" fmla="*/ 0 h 34925"/>
                    <a:gd name="connsiteX1" fmla="*/ 42996 w 60915"/>
                    <a:gd name="connsiteY1" fmla="*/ 0 h 34925"/>
                    <a:gd name="connsiteX2" fmla="*/ 60916 w 60915"/>
                    <a:gd name="connsiteY2" fmla="*/ 17487 h 34925"/>
                    <a:gd name="connsiteX3" fmla="*/ 42996 w 60915"/>
                    <a:gd name="connsiteY3" fmla="*/ 34926 h 34925"/>
                    <a:gd name="connsiteX4" fmla="*/ 15613 w 60915"/>
                    <a:gd name="connsiteY4" fmla="*/ 34926 h 3492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60915" h="34925">
                      <a:moveTo>
                        <a:pt x="0" y="0"/>
                      </a:moveTo>
                      <a:lnTo>
                        <a:pt x="42996" y="0"/>
                      </a:lnTo>
                      <a:cubicBezTo>
                        <a:pt x="52845" y="0"/>
                        <a:pt x="60916" y="7879"/>
                        <a:pt x="60916" y="17487"/>
                      </a:cubicBezTo>
                      <a:cubicBezTo>
                        <a:pt x="60916" y="27095"/>
                        <a:pt x="52845" y="34926"/>
                        <a:pt x="42996" y="34926"/>
                      </a:cubicBezTo>
                      <a:lnTo>
                        <a:pt x="15613" y="34926"/>
                      </a:ln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476" name="Forma livre: Forma 1475">
                  <a:extLst>
                    <a:ext uri="{FF2B5EF4-FFF2-40B4-BE49-F238E27FC236}">
                      <a16:creationId xmlns:a16="http://schemas.microsoft.com/office/drawing/2014/main" id="{F935E89C-11DD-1D26-10B9-7529DB5C6573}"/>
                    </a:ext>
                  </a:extLst>
                </p:cNvPr>
                <p:cNvSpPr/>
                <p:nvPr/>
              </p:nvSpPr>
              <p:spPr>
                <a:xfrm>
                  <a:off x="4042412" y="5806841"/>
                  <a:ext cx="60915" cy="34925"/>
                </a:xfrm>
                <a:custGeom>
                  <a:avLst/>
                  <a:gdLst>
                    <a:gd name="connsiteX0" fmla="*/ 42996 w 60915"/>
                    <a:gd name="connsiteY0" fmla="*/ 0 h 34925"/>
                    <a:gd name="connsiteX1" fmla="*/ 60916 w 60915"/>
                    <a:gd name="connsiteY1" fmla="*/ 17487 h 34925"/>
                    <a:gd name="connsiteX2" fmla="*/ 42996 w 60915"/>
                    <a:gd name="connsiteY2" fmla="*/ 34926 h 34925"/>
                    <a:gd name="connsiteX3" fmla="*/ 0 w 60915"/>
                    <a:gd name="connsiteY3" fmla="*/ 34926 h 3492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60915" h="34925">
                      <a:moveTo>
                        <a:pt x="42996" y="0"/>
                      </a:moveTo>
                      <a:cubicBezTo>
                        <a:pt x="52845" y="0"/>
                        <a:pt x="60916" y="7879"/>
                        <a:pt x="60916" y="17487"/>
                      </a:cubicBezTo>
                      <a:cubicBezTo>
                        <a:pt x="60916" y="27095"/>
                        <a:pt x="52845" y="34926"/>
                        <a:pt x="42996" y="34926"/>
                      </a:cubicBezTo>
                      <a:lnTo>
                        <a:pt x="0" y="34926"/>
                      </a:ln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1477" name="Forma livre: Forma 1476">
                <a:extLst>
                  <a:ext uri="{FF2B5EF4-FFF2-40B4-BE49-F238E27FC236}">
                    <a16:creationId xmlns:a16="http://schemas.microsoft.com/office/drawing/2014/main" id="{77CB99F8-E960-AEFF-C8E0-8514DA4A47E9}"/>
                  </a:ext>
                </a:extLst>
              </p:cNvPr>
              <p:cNvSpPr/>
              <p:nvPr/>
            </p:nvSpPr>
            <p:spPr>
              <a:xfrm>
                <a:off x="4057305" y="5756734"/>
                <a:ext cx="4804" cy="100261"/>
              </a:xfrm>
              <a:custGeom>
                <a:avLst/>
                <a:gdLst>
                  <a:gd name="connsiteX0" fmla="*/ 0 w 4804"/>
                  <a:gd name="connsiteY0" fmla="*/ 0 h 100261"/>
                  <a:gd name="connsiteX1" fmla="*/ 0 w 4804"/>
                  <a:gd name="connsiteY1" fmla="*/ 100261 h 1002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804" h="100261">
                    <a:moveTo>
                      <a:pt x="0" y="0"/>
                    </a:moveTo>
                    <a:lnTo>
                      <a:pt x="0" y="100261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1478" name="Gráfico 14">
                <a:extLst>
                  <a:ext uri="{FF2B5EF4-FFF2-40B4-BE49-F238E27FC236}">
                    <a16:creationId xmlns:a16="http://schemas.microsoft.com/office/drawing/2014/main" id="{45754793-EF20-6159-506F-01F8CD31B36A}"/>
                  </a:ext>
                </a:extLst>
              </p:cNvPr>
              <p:cNvGrpSpPr/>
              <p:nvPr/>
            </p:nvGrpSpPr>
            <p:grpSpPr>
              <a:xfrm>
                <a:off x="4080989" y="5756734"/>
                <a:ext cx="4804" cy="100261"/>
                <a:chOff x="4080989" y="5756734"/>
                <a:chExt cx="4804" cy="100261"/>
              </a:xfrm>
            </p:grpSpPr>
            <p:sp>
              <p:nvSpPr>
                <p:cNvPr id="1479" name="Forma livre: Forma 1478">
                  <a:extLst>
                    <a:ext uri="{FF2B5EF4-FFF2-40B4-BE49-F238E27FC236}">
                      <a16:creationId xmlns:a16="http://schemas.microsoft.com/office/drawing/2014/main" id="{CFFBCAE5-C7B8-E9CC-22E6-6CBA3E1F010A}"/>
                    </a:ext>
                  </a:extLst>
                </p:cNvPr>
                <p:cNvSpPr/>
                <p:nvPr/>
              </p:nvSpPr>
              <p:spPr>
                <a:xfrm>
                  <a:off x="4080989" y="5756734"/>
                  <a:ext cx="4804" cy="14892"/>
                </a:xfrm>
                <a:custGeom>
                  <a:avLst/>
                  <a:gdLst>
                    <a:gd name="connsiteX0" fmla="*/ 0 w 4804"/>
                    <a:gd name="connsiteY0" fmla="*/ 0 h 14892"/>
                    <a:gd name="connsiteX1" fmla="*/ 0 w 4804"/>
                    <a:gd name="connsiteY1" fmla="*/ 14893 h 148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804" h="14892">
                      <a:moveTo>
                        <a:pt x="0" y="0"/>
                      </a:moveTo>
                      <a:lnTo>
                        <a:pt x="0" y="14893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480" name="Forma livre: Forma 1479">
                  <a:extLst>
                    <a:ext uri="{FF2B5EF4-FFF2-40B4-BE49-F238E27FC236}">
                      <a16:creationId xmlns:a16="http://schemas.microsoft.com/office/drawing/2014/main" id="{4BAE0E9C-3F34-64EA-5DF6-7FF46DB048FB}"/>
                    </a:ext>
                  </a:extLst>
                </p:cNvPr>
                <p:cNvSpPr/>
                <p:nvPr/>
              </p:nvSpPr>
              <p:spPr>
                <a:xfrm>
                  <a:off x="4080989" y="5842103"/>
                  <a:ext cx="4804" cy="14892"/>
                </a:xfrm>
                <a:custGeom>
                  <a:avLst/>
                  <a:gdLst>
                    <a:gd name="connsiteX0" fmla="*/ 0 w 4804"/>
                    <a:gd name="connsiteY0" fmla="*/ 0 h 14892"/>
                    <a:gd name="connsiteX1" fmla="*/ 0 w 4804"/>
                    <a:gd name="connsiteY1" fmla="*/ 14893 h 148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804" h="14892">
                      <a:moveTo>
                        <a:pt x="0" y="0"/>
                      </a:moveTo>
                      <a:lnTo>
                        <a:pt x="0" y="14893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sp>
          <p:nvSpPr>
            <p:cNvPr id="1481" name="Forma livre: Forma 1480">
              <a:extLst>
                <a:ext uri="{FF2B5EF4-FFF2-40B4-BE49-F238E27FC236}">
                  <a16:creationId xmlns:a16="http://schemas.microsoft.com/office/drawing/2014/main" id="{4AF62DE8-2AD6-5642-5782-7F31F102D2AD}"/>
                </a:ext>
              </a:extLst>
            </p:cNvPr>
            <p:cNvSpPr/>
            <p:nvPr/>
          </p:nvSpPr>
          <p:spPr>
            <a:xfrm>
              <a:off x="3994323" y="5728294"/>
              <a:ext cx="157093" cy="157093"/>
            </a:xfrm>
            <a:custGeom>
              <a:avLst/>
              <a:gdLst>
                <a:gd name="connsiteX0" fmla="*/ 157094 w 157093"/>
                <a:gd name="connsiteY0" fmla="*/ 78547 h 157093"/>
                <a:gd name="connsiteX1" fmla="*/ 78547 w 157093"/>
                <a:gd name="connsiteY1" fmla="*/ 157093 h 157093"/>
                <a:gd name="connsiteX2" fmla="*/ 0 w 157093"/>
                <a:gd name="connsiteY2" fmla="*/ 78547 h 157093"/>
                <a:gd name="connsiteX3" fmla="*/ 78547 w 157093"/>
                <a:gd name="connsiteY3" fmla="*/ 0 h 157093"/>
                <a:gd name="connsiteX4" fmla="*/ 157094 w 157093"/>
                <a:gd name="connsiteY4" fmla="*/ 78547 h 1570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7093" h="157093">
                  <a:moveTo>
                    <a:pt x="157094" y="78547"/>
                  </a:moveTo>
                  <a:cubicBezTo>
                    <a:pt x="157094" y="121928"/>
                    <a:pt x="121928" y="157093"/>
                    <a:pt x="78547" y="157093"/>
                  </a:cubicBezTo>
                  <a:cubicBezTo>
                    <a:pt x="35166" y="157093"/>
                    <a:pt x="0" y="121928"/>
                    <a:pt x="0" y="78547"/>
                  </a:cubicBezTo>
                  <a:cubicBezTo>
                    <a:pt x="0" y="35166"/>
                    <a:pt x="35166" y="0"/>
                    <a:pt x="78547" y="0"/>
                  </a:cubicBezTo>
                  <a:cubicBezTo>
                    <a:pt x="121928" y="0"/>
                    <a:pt x="157094" y="35166"/>
                    <a:pt x="157094" y="78547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482" name="Gráfico 14">
              <a:extLst>
                <a:ext uri="{FF2B5EF4-FFF2-40B4-BE49-F238E27FC236}">
                  <a16:creationId xmlns:a16="http://schemas.microsoft.com/office/drawing/2014/main" id="{99D55C43-E767-978F-A18A-EEE7E5C052A6}"/>
                </a:ext>
              </a:extLst>
            </p:cNvPr>
            <p:cNvGrpSpPr/>
            <p:nvPr/>
          </p:nvGrpSpPr>
          <p:grpSpPr>
            <a:xfrm>
              <a:off x="3908571" y="5898151"/>
              <a:ext cx="325655" cy="132799"/>
              <a:chOff x="3908571" y="5898151"/>
              <a:chExt cx="325655" cy="132799"/>
            </a:xfrm>
            <a:noFill/>
          </p:grpSpPr>
          <p:sp>
            <p:nvSpPr>
              <p:cNvPr id="1483" name="Forma livre: Forma 1482">
                <a:extLst>
                  <a:ext uri="{FF2B5EF4-FFF2-40B4-BE49-F238E27FC236}">
                    <a16:creationId xmlns:a16="http://schemas.microsoft.com/office/drawing/2014/main" id="{65062026-19E3-B482-8845-7DD7F9E99866}"/>
                  </a:ext>
                </a:extLst>
              </p:cNvPr>
              <p:cNvSpPr/>
              <p:nvPr/>
            </p:nvSpPr>
            <p:spPr>
              <a:xfrm>
                <a:off x="3948781" y="5898151"/>
                <a:ext cx="285445" cy="132799"/>
              </a:xfrm>
              <a:custGeom>
                <a:avLst/>
                <a:gdLst>
                  <a:gd name="connsiteX0" fmla="*/ 194805 w 285445"/>
                  <a:gd name="connsiteY0" fmla="*/ 33115 h 132799"/>
                  <a:gd name="connsiteX1" fmla="*/ 253223 w 285445"/>
                  <a:gd name="connsiteY1" fmla="*/ 3282 h 132799"/>
                  <a:gd name="connsiteX2" fmla="*/ 283200 w 285445"/>
                  <a:gd name="connsiteY2" fmla="*/ 9815 h 132799"/>
                  <a:gd name="connsiteX3" fmla="*/ 272584 w 285445"/>
                  <a:gd name="connsiteY3" fmla="*/ 39312 h 132799"/>
                  <a:gd name="connsiteX4" fmla="*/ 151425 w 285445"/>
                  <a:gd name="connsiteY4" fmla="*/ 104263 h 132799"/>
                  <a:gd name="connsiteX5" fmla="*/ 145035 w 285445"/>
                  <a:gd name="connsiteY5" fmla="*/ 105849 h 132799"/>
                  <a:gd name="connsiteX6" fmla="*/ 32043 w 285445"/>
                  <a:gd name="connsiteY6" fmla="*/ 108923 h 132799"/>
                  <a:gd name="connsiteX7" fmla="*/ 0 w 285445"/>
                  <a:gd name="connsiteY7" fmla="*/ 132800 h 1327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85445" h="132799">
                    <a:moveTo>
                      <a:pt x="194805" y="33115"/>
                    </a:moveTo>
                    <a:lnTo>
                      <a:pt x="253223" y="3282"/>
                    </a:lnTo>
                    <a:cubicBezTo>
                      <a:pt x="264513" y="-2772"/>
                      <a:pt x="277724" y="-369"/>
                      <a:pt x="283200" y="9815"/>
                    </a:cubicBezTo>
                    <a:cubicBezTo>
                      <a:pt x="288629" y="20000"/>
                      <a:pt x="283873" y="33259"/>
                      <a:pt x="272584" y="39312"/>
                    </a:cubicBezTo>
                    <a:lnTo>
                      <a:pt x="151425" y="104263"/>
                    </a:lnTo>
                    <a:lnTo>
                      <a:pt x="145035" y="105849"/>
                    </a:lnTo>
                    <a:lnTo>
                      <a:pt x="32043" y="108923"/>
                    </a:lnTo>
                    <a:cubicBezTo>
                      <a:pt x="32043" y="108923"/>
                      <a:pt x="17487" y="113007"/>
                      <a:pt x="0" y="132800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484" name="Forma livre: Forma 1483">
                <a:extLst>
                  <a:ext uri="{FF2B5EF4-FFF2-40B4-BE49-F238E27FC236}">
                    <a16:creationId xmlns:a16="http://schemas.microsoft.com/office/drawing/2014/main" id="{D044587F-E4E0-0A62-0BA4-A83B9C566B83}"/>
                  </a:ext>
                </a:extLst>
              </p:cNvPr>
              <p:cNvSpPr/>
              <p:nvPr/>
            </p:nvSpPr>
            <p:spPr>
              <a:xfrm>
                <a:off x="3908571" y="5914196"/>
                <a:ext cx="215511" cy="57328"/>
              </a:xfrm>
              <a:custGeom>
                <a:avLst/>
                <a:gdLst>
                  <a:gd name="connsiteX0" fmla="*/ 0 w 215511"/>
                  <a:gd name="connsiteY0" fmla="*/ 57329 h 57328"/>
                  <a:gd name="connsiteX1" fmla="*/ 51260 w 215511"/>
                  <a:gd name="connsiteY1" fmla="*/ 10153 h 57328"/>
                  <a:gd name="connsiteX2" fmla="*/ 106026 w 215511"/>
                  <a:gd name="connsiteY2" fmla="*/ 2562 h 57328"/>
                  <a:gd name="connsiteX3" fmla="*/ 147149 w 215511"/>
                  <a:gd name="connsiteY3" fmla="*/ 7222 h 57328"/>
                  <a:gd name="connsiteX4" fmla="*/ 191491 w 215511"/>
                  <a:gd name="connsiteY4" fmla="*/ 7222 h 57328"/>
                  <a:gd name="connsiteX5" fmla="*/ 215511 w 215511"/>
                  <a:gd name="connsiteY5" fmla="*/ 28168 h 57328"/>
                  <a:gd name="connsiteX6" fmla="*/ 191491 w 215511"/>
                  <a:gd name="connsiteY6" fmla="*/ 49162 h 57328"/>
                  <a:gd name="connsiteX7" fmla="*/ 130143 w 215511"/>
                  <a:gd name="connsiteY7" fmla="*/ 49162 h 573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15511" h="57328">
                    <a:moveTo>
                      <a:pt x="0" y="57329"/>
                    </a:moveTo>
                    <a:lnTo>
                      <a:pt x="51260" y="10153"/>
                    </a:lnTo>
                    <a:cubicBezTo>
                      <a:pt x="76289" y="-6758"/>
                      <a:pt x="106026" y="2562"/>
                      <a:pt x="106026" y="2562"/>
                    </a:cubicBezTo>
                    <a:cubicBezTo>
                      <a:pt x="120390" y="6357"/>
                      <a:pt x="147149" y="7222"/>
                      <a:pt x="147149" y="7222"/>
                    </a:cubicBezTo>
                    <a:lnTo>
                      <a:pt x="191491" y="7222"/>
                    </a:lnTo>
                    <a:cubicBezTo>
                      <a:pt x="204702" y="7222"/>
                      <a:pt x="215511" y="16638"/>
                      <a:pt x="215511" y="28168"/>
                    </a:cubicBezTo>
                    <a:cubicBezTo>
                      <a:pt x="215511" y="39698"/>
                      <a:pt x="204702" y="49162"/>
                      <a:pt x="191491" y="49162"/>
                    </a:cubicBezTo>
                    <a:lnTo>
                      <a:pt x="130143" y="49162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485" name="Gráfico 14">
            <a:extLst>
              <a:ext uri="{FF2B5EF4-FFF2-40B4-BE49-F238E27FC236}">
                <a16:creationId xmlns:a16="http://schemas.microsoft.com/office/drawing/2014/main" id="{B0FE99D3-34B8-8AE6-042B-42004FD65174}"/>
              </a:ext>
            </a:extLst>
          </p:cNvPr>
          <p:cNvGrpSpPr/>
          <p:nvPr/>
        </p:nvGrpSpPr>
        <p:grpSpPr>
          <a:xfrm>
            <a:off x="3317140" y="5718494"/>
            <a:ext cx="257931" cy="322257"/>
            <a:chOff x="3317140" y="5718494"/>
            <a:chExt cx="257931" cy="322257"/>
          </a:xfrm>
        </p:grpSpPr>
        <p:grpSp>
          <p:nvGrpSpPr>
            <p:cNvPr id="1486" name="Gráfico 14">
              <a:extLst>
                <a:ext uri="{FF2B5EF4-FFF2-40B4-BE49-F238E27FC236}">
                  <a16:creationId xmlns:a16="http://schemas.microsoft.com/office/drawing/2014/main" id="{1DAEDCE3-0813-52E0-865C-15F87E934653}"/>
                </a:ext>
              </a:extLst>
            </p:cNvPr>
            <p:cNvGrpSpPr/>
            <p:nvPr/>
          </p:nvGrpSpPr>
          <p:grpSpPr>
            <a:xfrm>
              <a:off x="3317188" y="5821781"/>
              <a:ext cx="237946" cy="218969"/>
              <a:chOff x="3317188" y="5821781"/>
              <a:chExt cx="237946" cy="218969"/>
            </a:xfrm>
            <a:noFill/>
          </p:grpSpPr>
          <p:sp>
            <p:nvSpPr>
              <p:cNvPr id="1487" name="Forma livre: Forma 1486">
                <a:extLst>
                  <a:ext uri="{FF2B5EF4-FFF2-40B4-BE49-F238E27FC236}">
                    <a16:creationId xmlns:a16="http://schemas.microsoft.com/office/drawing/2014/main" id="{57629FC3-6128-D3A2-D0FE-D64A839C2580}"/>
                  </a:ext>
                </a:extLst>
              </p:cNvPr>
              <p:cNvSpPr/>
              <p:nvPr/>
            </p:nvSpPr>
            <p:spPr>
              <a:xfrm>
                <a:off x="3506949" y="5821781"/>
                <a:ext cx="44918" cy="11769"/>
              </a:xfrm>
              <a:custGeom>
                <a:avLst/>
                <a:gdLst>
                  <a:gd name="connsiteX0" fmla="*/ 0 w 44918"/>
                  <a:gd name="connsiteY0" fmla="*/ 0 h 11769"/>
                  <a:gd name="connsiteX1" fmla="*/ 24453 w 44918"/>
                  <a:gd name="connsiteY1" fmla="*/ 0 h 11769"/>
                  <a:gd name="connsiteX2" fmla="*/ 44918 w 44918"/>
                  <a:gd name="connsiteY2" fmla="*/ 11770 h 117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44918" h="11769">
                    <a:moveTo>
                      <a:pt x="0" y="0"/>
                    </a:moveTo>
                    <a:lnTo>
                      <a:pt x="24453" y="0"/>
                    </a:lnTo>
                    <a:cubicBezTo>
                      <a:pt x="33148" y="0"/>
                      <a:pt x="40787" y="4756"/>
                      <a:pt x="44918" y="11770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488" name="Forma livre: Forma 1487">
                <a:extLst>
                  <a:ext uri="{FF2B5EF4-FFF2-40B4-BE49-F238E27FC236}">
                    <a16:creationId xmlns:a16="http://schemas.microsoft.com/office/drawing/2014/main" id="{D861F8C2-AA88-235F-C1C7-CE6E83176C43}"/>
                  </a:ext>
                </a:extLst>
              </p:cNvPr>
              <p:cNvSpPr/>
              <p:nvPr/>
            </p:nvSpPr>
            <p:spPr>
              <a:xfrm>
                <a:off x="3317188" y="5837298"/>
                <a:ext cx="237946" cy="203452"/>
              </a:xfrm>
              <a:custGeom>
                <a:avLst/>
                <a:gdLst>
                  <a:gd name="connsiteX0" fmla="*/ 237946 w 237946"/>
                  <a:gd name="connsiteY0" fmla="*/ 148782 h 203452"/>
                  <a:gd name="connsiteX1" fmla="*/ 237946 w 237946"/>
                  <a:gd name="connsiteY1" fmla="*/ 179769 h 203452"/>
                  <a:gd name="connsiteX2" fmla="*/ 214214 w 237946"/>
                  <a:gd name="connsiteY2" fmla="*/ 203453 h 203452"/>
                  <a:gd name="connsiteX3" fmla="*/ 23684 w 237946"/>
                  <a:gd name="connsiteY3" fmla="*/ 203453 h 203452"/>
                  <a:gd name="connsiteX4" fmla="*/ 0 w 237946"/>
                  <a:gd name="connsiteY4" fmla="*/ 179769 h 203452"/>
                  <a:gd name="connsiteX5" fmla="*/ 0 w 237946"/>
                  <a:gd name="connsiteY5" fmla="*/ 0 h 2034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37946" h="203452">
                    <a:moveTo>
                      <a:pt x="237946" y="148782"/>
                    </a:moveTo>
                    <a:lnTo>
                      <a:pt x="237946" y="179769"/>
                    </a:lnTo>
                    <a:cubicBezTo>
                      <a:pt x="237946" y="192788"/>
                      <a:pt x="227281" y="203453"/>
                      <a:pt x="214214" y="203453"/>
                    </a:cubicBezTo>
                    <a:lnTo>
                      <a:pt x="23684" y="203453"/>
                    </a:lnTo>
                    <a:cubicBezTo>
                      <a:pt x="10665" y="203453"/>
                      <a:pt x="0" y="192788"/>
                      <a:pt x="0" y="179769"/>
                    </a:cubicBezTo>
                    <a:lnTo>
                      <a:pt x="0" y="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489" name="Forma livre: Forma 1488">
              <a:extLst>
                <a:ext uri="{FF2B5EF4-FFF2-40B4-BE49-F238E27FC236}">
                  <a16:creationId xmlns:a16="http://schemas.microsoft.com/office/drawing/2014/main" id="{62165364-2263-AF4E-F92D-F6334AE70DC3}"/>
                </a:ext>
              </a:extLst>
            </p:cNvPr>
            <p:cNvSpPr/>
            <p:nvPr/>
          </p:nvSpPr>
          <p:spPr>
            <a:xfrm>
              <a:off x="3478413" y="5942604"/>
              <a:ext cx="7398" cy="7398"/>
            </a:xfrm>
            <a:custGeom>
              <a:avLst/>
              <a:gdLst>
                <a:gd name="connsiteX0" fmla="*/ 7398 w 7398"/>
                <a:gd name="connsiteY0" fmla="*/ 3699 h 7398"/>
                <a:gd name="connsiteX1" fmla="*/ 3699 w 7398"/>
                <a:gd name="connsiteY1" fmla="*/ 7398 h 7398"/>
                <a:gd name="connsiteX2" fmla="*/ 0 w 7398"/>
                <a:gd name="connsiteY2" fmla="*/ 3699 h 7398"/>
                <a:gd name="connsiteX3" fmla="*/ 3699 w 7398"/>
                <a:gd name="connsiteY3" fmla="*/ 0 h 7398"/>
                <a:gd name="connsiteX4" fmla="*/ 7398 w 7398"/>
                <a:gd name="connsiteY4" fmla="*/ 3699 h 73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398" h="7398">
                  <a:moveTo>
                    <a:pt x="7398" y="3699"/>
                  </a:moveTo>
                  <a:cubicBezTo>
                    <a:pt x="7398" y="5765"/>
                    <a:pt x="5765" y="7398"/>
                    <a:pt x="3699" y="7398"/>
                  </a:cubicBezTo>
                  <a:cubicBezTo>
                    <a:pt x="1633" y="7398"/>
                    <a:pt x="0" y="5765"/>
                    <a:pt x="0" y="3699"/>
                  </a:cubicBezTo>
                  <a:cubicBezTo>
                    <a:pt x="0" y="1633"/>
                    <a:pt x="1681" y="0"/>
                    <a:pt x="3699" y="0"/>
                  </a:cubicBezTo>
                  <a:cubicBezTo>
                    <a:pt x="5717" y="0"/>
                    <a:pt x="7398" y="1633"/>
                    <a:pt x="7398" y="3699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90" name="Forma livre: Forma 1489">
              <a:extLst>
                <a:ext uri="{FF2B5EF4-FFF2-40B4-BE49-F238E27FC236}">
                  <a16:creationId xmlns:a16="http://schemas.microsoft.com/office/drawing/2014/main" id="{1C9E9911-7B44-5EE0-7C81-8F3A7185DCC4}"/>
                </a:ext>
              </a:extLst>
            </p:cNvPr>
            <p:cNvSpPr/>
            <p:nvPr/>
          </p:nvSpPr>
          <p:spPr>
            <a:xfrm>
              <a:off x="3446802" y="5907630"/>
              <a:ext cx="128269" cy="77441"/>
            </a:xfrm>
            <a:custGeom>
              <a:avLst/>
              <a:gdLst>
                <a:gd name="connsiteX0" fmla="*/ 23684 w 128269"/>
                <a:gd name="connsiteY0" fmla="*/ 77442 h 77441"/>
                <a:gd name="connsiteX1" fmla="*/ 0 w 128269"/>
                <a:gd name="connsiteY1" fmla="*/ 53710 h 77441"/>
                <a:gd name="connsiteX2" fmla="*/ 0 w 128269"/>
                <a:gd name="connsiteY2" fmla="*/ 23684 h 77441"/>
                <a:gd name="connsiteX3" fmla="*/ 23684 w 128269"/>
                <a:gd name="connsiteY3" fmla="*/ 0 h 77441"/>
                <a:gd name="connsiteX4" fmla="*/ 128269 w 128269"/>
                <a:gd name="connsiteY4" fmla="*/ 0 h 77441"/>
                <a:gd name="connsiteX5" fmla="*/ 128269 w 128269"/>
                <a:gd name="connsiteY5" fmla="*/ 77442 h 77441"/>
                <a:gd name="connsiteX6" fmla="*/ 23684 w 128269"/>
                <a:gd name="connsiteY6" fmla="*/ 77442 h 774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28269" h="77441">
                  <a:moveTo>
                    <a:pt x="23684" y="77442"/>
                  </a:moveTo>
                  <a:cubicBezTo>
                    <a:pt x="10665" y="77442"/>
                    <a:pt x="0" y="66777"/>
                    <a:pt x="0" y="53710"/>
                  </a:cubicBezTo>
                  <a:lnTo>
                    <a:pt x="0" y="23684"/>
                  </a:lnTo>
                  <a:cubicBezTo>
                    <a:pt x="0" y="10665"/>
                    <a:pt x="10665" y="0"/>
                    <a:pt x="23684" y="0"/>
                  </a:cubicBezTo>
                  <a:lnTo>
                    <a:pt x="128269" y="0"/>
                  </a:lnTo>
                  <a:lnTo>
                    <a:pt x="128269" y="77442"/>
                  </a:lnTo>
                  <a:lnTo>
                    <a:pt x="23684" y="77442"/>
                  </a:ln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491" name="Gráfico 14">
              <a:extLst>
                <a:ext uri="{FF2B5EF4-FFF2-40B4-BE49-F238E27FC236}">
                  <a16:creationId xmlns:a16="http://schemas.microsoft.com/office/drawing/2014/main" id="{2448F1C4-1E0A-7591-C899-114A7A43B4C3}"/>
                </a:ext>
              </a:extLst>
            </p:cNvPr>
            <p:cNvGrpSpPr/>
            <p:nvPr/>
          </p:nvGrpSpPr>
          <p:grpSpPr>
            <a:xfrm>
              <a:off x="3406304" y="5745060"/>
              <a:ext cx="68070" cy="87194"/>
              <a:chOff x="3406304" y="5745060"/>
              <a:chExt cx="68070" cy="87194"/>
            </a:xfrm>
            <a:noFill/>
          </p:grpSpPr>
          <p:grpSp>
            <p:nvGrpSpPr>
              <p:cNvPr id="1492" name="Gráfico 14">
                <a:extLst>
                  <a:ext uri="{FF2B5EF4-FFF2-40B4-BE49-F238E27FC236}">
                    <a16:creationId xmlns:a16="http://schemas.microsoft.com/office/drawing/2014/main" id="{3B4E390A-89A9-1A82-9FCB-F7C29A1E666D}"/>
                  </a:ext>
                </a:extLst>
              </p:cNvPr>
              <p:cNvGrpSpPr/>
              <p:nvPr/>
            </p:nvGrpSpPr>
            <p:grpSpPr>
              <a:xfrm>
                <a:off x="3406304" y="5753903"/>
                <a:ext cx="68070" cy="71817"/>
                <a:chOff x="3406304" y="5753903"/>
                <a:chExt cx="68070" cy="71817"/>
              </a:xfrm>
              <a:noFill/>
            </p:grpSpPr>
            <p:sp>
              <p:nvSpPr>
                <p:cNvPr id="1493" name="Forma livre: Forma 1492">
                  <a:extLst>
                    <a:ext uri="{FF2B5EF4-FFF2-40B4-BE49-F238E27FC236}">
                      <a16:creationId xmlns:a16="http://schemas.microsoft.com/office/drawing/2014/main" id="{3CB47893-F50A-60A5-FDB5-4F90AFE073E2}"/>
                    </a:ext>
                  </a:extLst>
                </p:cNvPr>
                <p:cNvSpPr/>
                <p:nvPr/>
              </p:nvSpPr>
              <p:spPr>
                <a:xfrm>
                  <a:off x="3406304" y="5753903"/>
                  <a:ext cx="55434" cy="38765"/>
                </a:xfrm>
                <a:custGeom>
                  <a:avLst/>
                  <a:gdLst>
                    <a:gd name="connsiteX0" fmla="*/ 0 w 55434"/>
                    <a:gd name="connsiteY0" fmla="*/ 16955 h 38765"/>
                    <a:gd name="connsiteX1" fmla="*/ 33725 w 55434"/>
                    <a:gd name="connsiteY1" fmla="*/ 1438 h 38765"/>
                    <a:gd name="connsiteX2" fmla="*/ 54094 w 55434"/>
                    <a:gd name="connsiteY2" fmla="*/ 8692 h 38765"/>
                    <a:gd name="connsiteX3" fmla="*/ 46311 w 55434"/>
                    <a:gd name="connsiteY3" fmla="*/ 28869 h 38765"/>
                    <a:gd name="connsiteX4" fmla="*/ 24789 w 55434"/>
                    <a:gd name="connsiteY4" fmla="*/ 38766 h 3876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5434" h="38765">
                      <a:moveTo>
                        <a:pt x="0" y="16955"/>
                      </a:moveTo>
                      <a:lnTo>
                        <a:pt x="33725" y="1438"/>
                      </a:lnTo>
                      <a:cubicBezTo>
                        <a:pt x="41459" y="-2117"/>
                        <a:pt x="50635" y="1150"/>
                        <a:pt x="54094" y="8692"/>
                      </a:cubicBezTo>
                      <a:cubicBezTo>
                        <a:pt x="57553" y="16235"/>
                        <a:pt x="54094" y="25314"/>
                        <a:pt x="46311" y="28869"/>
                      </a:cubicBezTo>
                      <a:lnTo>
                        <a:pt x="24789" y="38766"/>
                      </a:ln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494" name="Forma livre: Forma 1493">
                  <a:extLst>
                    <a:ext uri="{FF2B5EF4-FFF2-40B4-BE49-F238E27FC236}">
                      <a16:creationId xmlns:a16="http://schemas.microsoft.com/office/drawing/2014/main" id="{98185EB9-A5BD-6E94-668E-8BE11EB71CE5}"/>
                    </a:ext>
                  </a:extLst>
                </p:cNvPr>
                <p:cNvSpPr/>
                <p:nvPr/>
              </p:nvSpPr>
              <p:spPr>
                <a:xfrm>
                  <a:off x="3431573" y="5781334"/>
                  <a:ext cx="42800" cy="44386"/>
                </a:xfrm>
                <a:custGeom>
                  <a:avLst/>
                  <a:gdLst>
                    <a:gd name="connsiteX0" fmla="*/ 21090 w 42800"/>
                    <a:gd name="connsiteY0" fmla="*/ 1438 h 44386"/>
                    <a:gd name="connsiteX1" fmla="*/ 41459 w 42800"/>
                    <a:gd name="connsiteY1" fmla="*/ 8692 h 44386"/>
                    <a:gd name="connsiteX2" fmla="*/ 33725 w 42800"/>
                    <a:gd name="connsiteY2" fmla="*/ 28870 h 44386"/>
                    <a:gd name="connsiteX3" fmla="*/ 0 w 42800"/>
                    <a:gd name="connsiteY3" fmla="*/ 44387 h 4438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2800" h="44386">
                      <a:moveTo>
                        <a:pt x="21090" y="1438"/>
                      </a:moveTo>
                      <a:cubicBezTo>
                        <a:pt x="28824" y="-2117"/>
                        <a:pt x="38000" y="1150"/>
                        <a:pt x="41459" y="8692"/>
                      </a:cubicBezTo>
                      <a:cubicBezTo>
                        <a:pt x="44918" y="16235"/>
                        <a:pt x="41459" y="25314"/>
                        <a:pt x="33725" y="28870"/>
                      </a:cubicBezTo>
                      <a:lnTo>
                        <a:pt x="0" y="44387"/>
                      </a:ln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1495" name="Forma livre: Forma 1494">
                <a:extLst>
                  <a:ext uri="{FF2B5EF4-FFF2-40B4-BE49-F238E27FC236}">
                    <a16:creationId xmlns:a16="http://schemas.microsoft.com/office/drawing/2014/main" id="{4FE25483-3A6D-35B6-1C06-6A036F1DFC1C}"/>
                  </a:ext>
                </a:extLst>
              </p:cNvPr>
              <p:cNvSpPr/>
              <p:nvPr/>
            </p:nvSpPr>
            <p:spPr>
              <a:xfrm>
                <a:off x="3412549" y="5753611"/>
                <a:ext cx="36174" cy="78642"/>
              </a:xfrm>
              <a:custGeom>
                <a:avLst/>
                <a:gdLst>
                  <a:gd name="connsiteX0" fmla="*/ 0 w 36174"/>
                  <a:gd name="connsiteY0" fmla="*/ 0 h 78642"/>
                  <a:gd name="connsiteX1" fmla="*/ 36175 w 36174"/>
                  <a:gd name="connsiteY1" fmla="*/ 78643 h 786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6174" h="78642">
                    <a:moveTo>
                      <a:pt x="0" y="0"/>
                    </a:moveTo>
                    <a:lnTo>
                      <a:pt x="36175" y="78643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1496" name="Gráfico 14">
                <a:extLst>
                  <a:ext uri="{FF2B5EF4-FFF2-40B4-BE49-F238E27FC236}">
                    <a16:creationId xmlns:a16="http://schemas.microsoft.com/office/drawing/2014/main" id="{D11ECC3F-B129-70C4-EDFA-403040DE1C00}"/>
                  </a:ext>
                </a:extLst>
              </p:cNvPr>
              <p:cNvGrpSpPr/>
              <p:nvPr/>
            </p:nvGrpSpPr>
            <p:grpSpPr>
              <a:xfrm>
                <a:off x="3431093" y="5745060"/>
                <a:ext cx="36222" cy="78642"/>
                <a:chOff x="3431093" y="5745060"/>
                <a:chExt cx="36222" cy="78642"/>
              </a:xfrm>
            </p:grpSpPr>
            <p:sp>
              <p:nvSpPr>
                <p:cNvPr id="1497" name="Forma livre: Forma 1496">
                  <a:extLst>
                    <a:ext uri="{FF2B5EF4-FFF2-40B4-BE49-F238E27FC236}">
                      <a16:creationId xmlns:a16="http://schemas.microsoft.com/office/drawing/2014/main" id="{17B7FD10-6438-1D8F-7EEE-8794E7CA591F}"/>
                    </a:ext>
                  </a:extLst>
                </p:cNvPr>
                <p:cNvSpPr/>
                <p:nvPr/>
              </p:nvSpPr>
              <p:spPr>
                <a:xfrm>
                  <a:off x="3431093" y="5745060"/>
                  <a:ext cx="5380" cy="11673"/>
                </a:xfrm>
                <a:custGeom>
                  <a:avLst/>
                  <a:gdLst>
                    <a:gd name="connsiteX0" fmla="*/ 0 w 5380"/>
                    <a:gd name="connsiteY0" fmla="*/ 0 h 11673"/>
                    <a:gd name="connsiteX1" fmla="*/ 5381 w 5380"/>
                    <a:gd name="connsiteY1" fmla="*/ 11674 h 1167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5380" h="11673">
                      <a:moveTo>
                        <a:pt x="0" y="0"/>
                      </a:moveTo>
                      <a:lnTo>
                        <a:pt x="5381" y="11674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498" name="Forma livre: Forma 1497">
                  <a:extLst>
                    <a:ext uri="{FF2B5EF4-FFF2-40B4-BE49-F238E27FC236}">
                      <a16:creationId xmlns:a16="http://schemas.microsoft.com/office/drawing/2014/main" id="{A7F97E16-556B-599C-D61E-13D614392F1D}"/>
                    </a:ext>
                  </a:extLst>
                </p:cNvPr>
                <p:cNvSpPr/>
                <p:nvPr/>
              </p:nvSpPr>
              <p:spPr>
                <a:xfrm>
                  <a:off x="3461935" y="5812029"/>
                  <a:ext cx="5380" cy="11673"/>
                </a:xfrm>
                <a:custGeom>
                  <a:avLst/>
                  <a:gdLst>
                    <a:gd name="connsiteX0" fmla="*/ 0 w 5380"/>
                    <a:gd name="connsiteY0" fmla="*/ 0 h 11673"/>
                    <a:gd name="connsiteX1" fmla="*/ 5381 w 5380"/>
                    <a:gd name="connsiteY1" fmla="*/ 11674 h 1167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5380" h="11673">
                      <a:moveTo>
                        <a:pt x="0" y="0"/>
                      </a:moveTo>
                      <a:lnTo>
                        <a:pt x="5381" y="11674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sp>
          <p:nvSpPr>
            <p:cNvPr id="1499" name="Forma livre: Forma 1498">
              <a:extLst>
                <a:ext uri="{FF2B5EF4-FFF2-40B4-BE49-F238E27FC236}">
                  <a16:creationId xmlns:a16="http://schemas.microsoft.com/office/drawing/2014/main" id="{8A3D0D5F-557C-BC77-C698-3CED8514917A}"/>
                </a:ext>
              </a:extLst>
            </p:cNvPr>
            <p:cNvSpPr/>
            <p:nvPr/>
          </p:nvSpPr>
          <p:spPr>
            <a:xfrm>
              <a:off x="3317140" y="5822166"/>
              <a:ext cx="237994" cy="66824"/>
            </a:xfrm>
            <a:custGeom>
              <a:avLst/>
              <a:gdLst>
                <a:gd name="connsiteX0" fmla="*/ 39586 w 237994"/>
                <a:gd name="connsiteY0" fmla="*/ 0 h 66824"/>
                <a:gd name="connsiteX1" fmla="*/ 13932 w 237994"/>
                <a:gd name="connsiteY1" fmla="*/ 0 h 66824"/>
                <a:gd name="connsiteX2" fmla="*/ 0 w 237994"/>
                <a:gd name="connsiteY2" fmla="*/ 15133 h 66824"/>
                <a:gd name="connsiteX3" fmla="*/ 13932 w 237994"/>
                <a:gd name="connsiteY3" fmla="*/ 29641 h 66824"/>
                <a:gd name="connsiteX4" fmla="*/ 214262 w 237994"/>
                <a:gd name="connsiteY4" fmla="*/ 29641 h 66824"/>
                <a:gd name="connsiteX5" fmla="*/ 237994 w 237994"/>
                <a:gd name="connsiteY5" fmla="*/ 53421 h 66824"/>
                <a:gd name="connsiteX6" fmla="*/ 237994 w 237994"/>
                <a:gd name="connsiteY6" fmla="*/ 66825 h 668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37994" h="66824">
                  <a:moveTo>
                    <a:pt x="39586" y="0"/>
                  </a:moveTo>
                  <a:lnTo>
                    <a:pt x="13932" y="0"/>
                  </a:lnTo>
                  <a:cubicBezTo>
                    <a:pt x="6101" y="0"/>
                    <a:pt x="0" y="6966"/>
                    <a:pt x="0" y="15133"/>
                  </a:cubicBezTo>
                  <a:cubicBezTo>
                    <a:pt x="0" y="23300"/>
                    <a:pt x="6101" y="29641"/>
                    <a:pt x="13932" y="29641"/>
                  </a:cubicBezTo>
                  <a:lnTo>
                    <a:pt x="214262" y="29641"/>
                  </a:lnTo>
                  <a:cubicBezTo>
                    <a:pt x="227281" y="29641"/>
                    <a:pt x="237994" y="40402"/>
                    <a:pt x="237994" y="53421"/>
                  </a:cubicBezTo>
                  <a:lnTo>
                    <a:pt x="237994" y="66825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00" name="Forma livre: Forma 1499">
              <a:extLst>
                <a:ext uri="{FF2B5EF4-FFF2-40B4-BE49-F238E27FC236}">
                  <a16:creationId xmlns:a16="http://schemas.microsoft.com/office/drawing/2014/main" id="{00C67D17-5B4D-DFCD-1A7E-F5D87587C5A5}"/>
                </a:ext>
              </a:extLst>
            </p:cNvPr>
            <p:cNvSpPr/>
            <p:nvPr/>
          </p:nvSpPr>
          <p:spPr>
            <a:xfrm>
              <a:off x="3371715" y="5718494"/>
              <a:ext cx="141720" cy="133265"/>
            </a:xfrm>
            <a:custGeom>
              <a:avLst/>
              <a:gdLst>
                <a:gd name="connsiteX0" fmla="*/ 37136 w 141720"/>
                <a:gd name="connsiteY0" fmla="*/ 133217 h 133265"/>
                <a:gd name="connsiteX1" fmla="*/ 0 w 141720"/>
                <a:gd name="connsiteY1" fmla="*/ 70860 h 133265"/>
                <a:gd name="connsiteX2" fmla="*/ 70860 w 141720"/>
                <a:gd name="connsiteY2" fmla="*/ 0 h 133265"/>
                <a:gd name="connsiteX3" fmla="*/ 141720 w 141720"/>
                <a:gd name="connsiteY3" fmla="*/ 70860 h 133265"/>
                <a:gd name="connsiteX4" fmla="*/ 104489 w 141720"/>
                <a:gd name="connsiteY4" fmla="*/ 133265 h 1332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1720" h="133265">
                  <a:moveTo>
                    <a:pt x="37136" y="133217"/>
                  </a:moveTo>
                  <a:cubicBezTo>
                    <a:pt x="15037" y="121207"/>
                    <a:pt x="0" y="97811"/>
                    <a:pt x="0" y="70860"/>
                  </a:cubicBezTo>
                  <a:cubicBezTo>
                    <a:pt x="0" y="31707"/>
                    <a:pt x="31707" y="0"/>
                    <a:pt x="70860" y="0"/>
                  </a:cubicBezTo>
                  <a:cubicBezTo>
                    <a:pt x="110013" y="0"/>
                    <a:pt x="141720" y="31707"/>
                    <a:pt x="141720" y="70860"/>
                  </a:cubicBezTo>
                  <a:cubicBezTo>
                    <a:pt x="141720" y="97811"/>
                    <a:pt x="126636" y="121303"/>
                    <a:pt x="104489" y="133265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501" name="Gráfico 14">
            <a:extLst>
              <a:ext uri="{FF2B5EF4-FFF2-40B4-BE49-F238E27FC236}">
                <a16:creationId xmlns:a16="http://schemas.microsoft.com/office/drawing/2014/main" id="{2412A5B1-C5D2-B5A3-E24A-1372E6848539}"/>
              </a:ext>
            </a:extLst>
          </p:cNvPr>
          <p:cNvGrpSpPr/>
          <p:nvPr/>
        </p:nvGrpSpPr>
        <p:grpSpPr>
          <a:xfrm>
            <a:off x="2663065" y="5751546"/>
            <a:ext cx="315676" cy="256153"/>
            <a:chOff x="2663065" y="5751546"/>
            <a:chExt cx="315676" cy="256153"/>
          </a:xfrm>
          <a:noFill/>
        </p:grpSpPr>
        <p:sp>
          <p:nvSpPr>
            <p:cNvPr id="1502" name="Forma livre: Forma 1501">
              <a:extLst>
                <a:ext uri="{FF2B5EF4-FFF2-40B4-BE49-F238E27FC236}">
                  <a16:creationId xmlns:a16="http://schemas.microsoft.com/office/drawing/2014/main" id="{3980E227-C8F0-6B97-36AC-10871634A962}"/>
                </a:ext>
              </a:extLst>
            </p:cNvPr>
            <p:cNvSpPr/>
            <p:nvPr/>
          </p:nvSpPr>
          <p:spPr>
            <a:xfrm>
              <a:off x="2778315" y="5751594"/>
              <a:ext cx="4804" cy="229490"/>
            </a:xfrm>
            <a:custGeom>
              <a:avLst/>
              <a:gdLst>
                <a:gd name="connsiteX0" fmla="*/ 0 w 4804"/>
                <a:gd name="connsiteY0" fmla="*/ 229491 h 229490"/>
                <a:gd name="connsiteX1" fmla="*/ 0 w 4804"/>
                <a:gd name="connsiteY1" fmla="*/ 0 h 2294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804" h="229490">
                  <a:moveTo>
                    <a:pt x="0" y="229491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03" name="Forma livre: Forma 1502">
              <a:extLst>
                <a:ext uri="{FF2B5EF4-FFF2-40B4-BE49-F238E27FC236}">
                  <a16:creationId xmlns:a16="http://schemas.microsoft.com/office/drawing/2014/main" id="{81FAB902-BB62-9BE3-8E93-897FB26C2115}"/>
                </a:ext>
              </a:extLst>
            </p:cNvPr>
            <p:cNvSpPr/>
            <p:nvPr/>
          </p:nvSpPr>
          <p:spPr>
            <a:xfrm>
              <a:off x="2664122" y="5866940"/>
              <a:ext cx="153058" cy="4804"/>
            </a:xfrm>
            <a:custGeom>
              <a:avLst/>
              <a:gdLst>
                <a:gd name="connsiteX0" fmla="*/ 153058 w 153058"/>
                <a:gd name="connsiteY0" fmla="*/ 0 h 4804"/>
                <a:gd name="connsiteX1" fmla="*/ 0 w 153058"/>
                <a:gd name="connsiteY1" fmla="*/ 0 h 48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3058" h="4804">
                  <a:moveTo>
                    <a:pt x="153058" y="0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04" name="Forma livre: Forma 1503">
              <a:extLst>
                <a:ext uri="{FF2B5EF4-FFF2-40B4-BE49-F238E27FC236}">
                  <a16:creationId xmlns:a16="http://schemas.microsoft.com/office/drawing/2014/main" id="{491539F1-A476-CC64-E32A-0509D0A1E11A}"/>
                </a:ext>
              </a:extLst>
            </p:cNvPr>
            <p:cNvSpPr/>
            <p:nvPr/>
          </p:nvSpPr>
          <p:spPr>
            <a:xfrm>
              <a:off x="2690640" y="5916396"/>
              <a:ext cx="106458" cy="24766"/>
            </a:xfrm>
            <a:custGeom>
              <a:avLst/>
              <a:gdLst>
                <a:gd name="connsiteX0" fmla="*/ 106458 w 106458"/>
                <a:gd name="connsiteY0" fmla="*/ 986 h 24766"/>
                <a:gd name="connsiteX1" fmla="*/ 0 w 106458"/>
                <a:gd name="connsiteY1" fmla="*/ 24767 h 247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6458" h="24766">
                  <a:moveTo>
                    <a:pt x="106458" y="986"/>
                  </a:moveTo>
                  <a:cubicBezTo>
                    <a:pt x="76001" y="-2425"/>
                    <a:pt x="39778" y="2428"/>
                    <a:pt x="0" y="24767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05" name="Forma livre: Forma 1504">
              <a:extLst>
                <a:ext uri="{FF2B5EF4-FFF2-40B4-BE49-F238E27FC236}">
                  <a16:creationId xmlns:a16="http://schemas.microsoft.com/office/drawing/2014/main" id="{0629FCD5-A130-1E86-5575-A37B7C110440}"/>
                </a:ext>
              </a:extLst>
            </p:cNvPr>
            <p:cNvSpPr/>
            <p:nvPr/>
          </p:nvSpPr>
          <p:spPr>
            <a:xfrm>
              <a:off x="2690688" y="5792765"/>
              <a:ext cx="175445" cy="24817"/>
            </a:xfrm>
            <a:custGeom>
              <a:avLst/>
              <a:gdLst>
                <a:gd name="connsiteX0" fmla="*/ 175445 w 175445"/>
                <a:gd name="connsiteY0" fmla="*/ 288 h 24817"/>
                <a:gd name="connsiteX1" fmla="*/ 0 w 175445"/>
                <a:gd name="connsiteY1" fmla="*/ 0 h 248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75445" h="24817">
                  <a:moveTo>
                    <a:pt x="175445" y="288"/>
                  </a:moveTo>
                  <a:cubicBezTo>
                    <a:pt x="140663" y="20946"/>
                    <a:pt x="77057" y="43333"/>
                    <a:pt x="0" y="0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506" name="Gráfico 14">
              <a:extLst>
                <a:ext uri="{FF2B5EF4-FFF2-40B4-BE49-F238E27FC236}">
                  <a16:creationId xmlns:a16="http://schemas.microsoft.com/office/drawing/2014/main" id="{FB306B4F-EFFF-CC37-D19A-37F4FBDD2795}"/>
                </a:ext>
              </a:extLst>
            </p:cNvPr>
            <p:cNvGrpSpPr/>
            <p:nvPr/>
          </p:nvGrpSpPr>
          <p:grpSpPr>
            <a:xfrm>
              <a:off x="2720689" y="5752362"/>
              <a:ext cx="114841" cy="228818"/>
              <a:chOff x="2720689" y="5752362"/>
              <a:chExt cx="114841" cy="228818"/>
            </a:xfrm>
            <a:noFill/>
          </p:grpSpPr>
          <p:sp>
            <p:nvSpPr>
              <p:cNvPr id="1507" name="Forma livre: Forma 1506">
                <a:extLst>
                  <a:ext uri="{FF2B5EF4-FFF2-40B4-BE49-F238E27FC236}">
                    <a16:creationId xmlns:a16="http://schemas.microsoft.com/office/drawing/2014/main" id="{DADEEA30-E08F-535F-7D53-2D099E1B0E37}"/>
                  </a:ext>
                </a:extLst>
              </p:cNvPr>
              <p:cNvSpPr/>
              <p:nvPr/>
            </p:nvSpPr>
            <p:spPr>
              <a:xfrm>
                <a:off x="2720689" y="5752362"/>
                <a:ext cx="48113" cy="228818"/>
              </a:xfrm>
              <a:custGeom>
                <a:avLst/>
                <a:gdLst>
                  <a:gd name="connsiteX0" fmla="*/ 48113 w 48113"/>
                  <a:gd name="connsiteY0" fmla="*/ 0 h 228818"/>
                  <a:gd name="connsiteX1" fmla="*/ 47248 w 48113"/>
                  <a:gd name="connsiteY1" fmla="*/ 228818 h 2288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8113" h="228818">
                    <a:moveTo>
                      <a:pt x="48113" y="0"/>
                    </a:moveTo>
                    <a:cubicBezTo>
                      <a:pt x="36391" y="11434"/>
                      <a:pt x="-53493" y="106170"/>
                      <a:pt x="47248" y="228818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508" name="Forma livre: Forma 1507">
                <a:extLst>
                  <a:ext uri="{FF2B5EF4-FFF2-40B4-BE49-F238E27FC236}">
                    <a16:creationId xmlns:a16="http://schemas.microsoft.com/office/drawing/2014/main" id="{831CFE7F-5A81-6A73-6B4E-3882296E2ECB}"/>
                  </a:ext>
                </a:extLst>
              </p:cNvPr>
              <p:cNvSpPr/>
              <p:nvPr/>
            </p:nvSpPr>
            <p:spPr>
              <a:xfrm>
                <a:off x="2788595" y="5752458"/>
                <a:ext cx="46935" cy="94736"/>
              </a:xfrm>
              <a:custGeom>
                <a:avLst/>
                <a:gdLst>
                  <a:gd name="connsiteX0" fmla="*/ 0 w 46935"/>
                  <a:gd name="connsiteY0" fmla="*/ 0 h 94736"/>
                  <a:gd name="connsiteX1" fmla="*/ 46936 w 46935"/>
                  <a:gd name="connsiteY1" fmla="*/ 94736 h 947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6935" h="94736">
                    <a:moveTo>
                      <a:pt x="0" y="0"/>
                    </a:moveTo>
                    <a:cubicBezTo>
                      <a:pt x="7062" y="6918"/>
                      <a:pt x="40546" y="42180"/>
                      <a:pt x="46936" y="94736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509" name="Forma livre: Forma 1508">
              <a:extLst>
                <a:ext uri="{FF2B5EF4-FFF2-40B4-BE49-F238E27FC236}">
                  <a16:creationId xmlns:a16="http://schemas.microsoft.com/office/drawing/2014/main" id="{02F28ADE-B66A-6432-A3EF-07EED1A137E2}"/>
                </a:ext>
              </a:extLst>
            </p:cNvPr>
            <p:cNvSpPr/>
            <p:nvPr/>
          </p:nvSpPr>
          <p:spPr>
            <a:xfrm>
              <a:off x="2663065" y="5751546"/>
              <a:ext cx="223437" cy="230595"/>
            </a:xfrm>
            <a:custGeom>
              <a:avLst/>
              <a:gdLst>
                <a:gd name="connsiteX0" fmla="*/ 145468 w 223437"/>
                <a:gd name="connsiteY0" fmla="*/ 226609 h 230595"/>
                <a:gd name="connsiteX1" fmla="*/ 115298 w 223437"/>
                <a:gd name="connsiteY1" fmla="*/ 230596 h 230595"/>
                <a:gd name="connsiteX2" fmla="*/ 0 w 223437"/>
                <a:gd name="connsiteY2" fmla="*/ 115298 h 230595"/>
                <a:gd name="connsiteX3" fmla="*/ 115298 w 223437"/>
                <a:gd name="connsiteY3" fmla="*/ 0 h 230595"/>
                <a:gd name="connsiteX4" fmla="*/ 223438 w 223437"/>
                <a:gd name="connsiteY4" fmla="*/ 75232 h 2305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23437" h="230595">
                  <a:moveTo>
                    <a:pt x="145468" y="226609"/>
                  </a:moveTo>
                  <a:cubicBezTo>
                    <a:pt x="135859" y="229203"/>
                    <a:pt x="125723" y="230596"/>
                    <a:pt x="115298" y="230596"/>
                  </a:cubicBezTo>
                  <a:cubicBezTo>
                    <a:pt x="51596" y="230596"/>
                    <a:pt x="0" y="179000"/>
                    <a:pt x="0" y="115298"/>
                  </a:cubicBezTo>
                  <a:cubicBezTo>
                    <a:pt x="0" y="51596"/>
                    <a:pt x="51644" y="0"/>
                    <a:pt x="115298" y="0"/>
                  </a:cubicBezTo>
                  <a:cubicBezTo>
                    <a:pt x="164876" y="0"/>
                    <a:pt x="207152" y="31323"/>
                    <a:pt x="223438" y="75232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510" name="Gráfico 14">
              <a:extLst>
                <a:ext uri="{FF2B5EF4-FFF2-40B4-BE49-F238E27FC236}">
                  <a16:creationId xmlns:a16="http://schemas.microsoft.com/office/drawing/2014/main" id="{BDE17F74-63DD-99FB-8156-2B92A9110672}"/>
                </a:ext>
              </a:extLst>
            </p:cNvPr>
            <p:cNvGrpSpPr/>
            <p:nvPr/>
          </p:nvGrpSpPr>
          <p:grpSpPr>
            <a:xfrm>
              <a:off x="2868679" y="5875731"/>
              <a:ext cx="62597" cy="103047"/>
              <a:chOff x="2868679" y="5875731"/>
              <a:chExt cx="62597" cy="103047"/>
            </a:xfrm>
            <a:noFill/>
          </p:grpSpPr>
          <p:grpSp>
            <p:nvGrpSpPr>
              <p:cNvPr id="1511" name="Gráfico 14">
                <a:extLst>
                  <a:ext uri="{FF2B5EF4-FFF2-40B4-BE49-F238E27FC236}">
                    <a16:creationId xmlns:a16="http://schemas.microsoft.com/office/drawing/2014/main" id="{B24040C5-A317-2062-F3E8-AEDE6C115896}"/>
                  </a:ext>
                </a:extLst>
              </p:cNvPr>
              <p:cNvGrpSpPr/>
              <p:nvPr/>
            </p:nvGrpSpPr>
            <p:grpSpPr>
              <a:xfrm>
                <a:off x="2868679" y="5891296"/>
                <a:ext cx="62597" cy="71869"/>
                <a:chOff x="2868679" y="5891296"/>
                <a:chExt cx="62597" cy="71869"/>
              </a:xfrm>
              <a:noFill/>
            </p:grpSpPr>
            <p:sp>
              <p:nvSpPr>
                <p:cNvPr id="1512" name="Forma livre: Forma 1511">
                  <a:extLst>
                    <a:ext uri="{FF2B5EF4-FFF2-40B4-BE49-F238E27FC236}">
                      <a16:creationId xmlns:a16="http://schemas.microsoft.com/office/drawing/2014/main" id="{1BE32509-96E8-98F8-D80C-1C647E787D97}"/>
                    </a:ext>
                  </a:extLst>
                </p:cNvPr>
                <p:cNvSpPr/>
                <p:nvPr/>
              </p:nvSpPr>
              <p:spPr>
                <a:xfrm>
                  <a:off x="2868679" y="5891296"/>
                  <a:ext cx="62597" cy="35934"/>
                </a:xfrm>
                <a:custGeom>
                  <a:avLst/>
                  <a:gdLst>
                    <a:gd name="connsiteX0" fmla="*/ 0 w 62597"/>
                    <a:gd name="connsiteY0" fmla="*/ 0 h 35934"/>
                    <a:gd name="connsiteX1" fmla="*/ 44198 w 62597"/>
                    <a:gd name="connsiteY1" fmla="*/ 0 h 35934"/>
                    <a:gd name="connsiteX2" fmla="*/ 62597 w 62597"/>
                    <a:gd name="connsiteY2" fmla="*/ 17967 h 35934"/>
                    <a:gd name="connsiteX3" fmla="*/ 44198 w 62597"/>
                    <a:gd name="connsiteY3" fmla="*/ 35935 h 35934"/>
                    <a:gd name="connsiteX4" fmla="*/ 16046 w 62597"/>
                    <a:gd name="connsiteY4" fmla="*/ 35935 h 3593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62597" h="35934">
                      <a:moveTo>
                        <a:pt x="0" y="0"/>
                      </a:moveTo>
                      <a:lnTo>
                        <a:pt x="44198" y="0"/>
                      </a:lnTo>
                      <a:cubicBezTo>
                        <a:pt x="54334" y="0"/>
                        <a:pt x="62597" y="8119"/>
                        <a:pt x="62597" y="17967"/>
                      </a:cubicBezTo>
                      <a:cubicBezTo>
                        <a:pt x="62597" y="27816"/>
                        <a:pt x="54286" y="35935"/>
                        <a:pt x="44198" y="35935"/>
                      </a:cubicBezTo>
                      <a:lnTo>
                        <a:pt x="16046" y="35935"/>
                      </a:ln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513" name="Forma livre: Forma 1512">
                  <a:extLst>
                    <a:ext uri="{FF2B5EF4-FFF2-40B4-BE49-F238E27FC236}">
                      <a16:creationId xmlns:a16="http://schemas.microsoft.com/office/drawing/2014/main" id="{23902097-8E94-3E22-01D4-C3DC72E141CB}"/>
                    </a:ext>
                  </a:extLst>
                </p:cNvPr>
                <p:cNvSpPr/>
                <p:nvPr/>
              </p:nvSpPr>
              <p:spPr>
                <a:xfrm>
                  <a:off x="2868679" y="5927231"/>
                  <a:ext cx="62597" cy="35934"/>
                </a:xfrm>
                <a:custGeom>
                  <a:avLst/>
                  <a:gdLst>
                    <a:gd name="connsiteX0" fmla="*/ 44198 w 62597"/>
                    <a:gd name="connsiteY0" fmla="*/ 0 h 35934"/>
                    <a:gd name="connsiteX1" fmla="*/ 62597 w 62597"/>
                    <a:gd name="connsiteY1" fmla="*/ 17967 h 35934"/>
                    <a:gd name="connsiteX2" fmla="*/ 44198 w 62597"/>
                    <a:gd name="connsiteY2" fmla="*/ 35935 h 35934"/>
                    <a:gd name="connsiteX3" fmla="*/ 0 w 62597"/>
                    <a:gd name="connsiteY3" fmla="*/ 35935 h 3593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62597" h="35934">
                      <a:moveTo>
                        <a:pt x="44198" y="0"/>
                      </a:moveTo>
                      <a:cubicBezTo>
                        <a:pt x="54334" y="0"/>
                        <a:pt x="62597" y="8071"/>
                        <a:pt x="62597" y="17967"/>
                      </a:cubicBezTo>
                      <a:cubicBezTo>
                        <a:pt x="62597" y="27864"/>
                        <a:pt x="54286" y="35935"/>
                        <a:pt x="44198" y="35935"/>
                      </a:cubicBezTo>
                      <a:lnTo>
                        <a:pt x="0" y="35935"/>
                      </a:ln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1514" name="Forma livre: Forma 1513">
                <a:extLst>
                  <a:ext uri="{FF2B5EF4-FFF2-40B4-BE49-F238E27FC236}">
                    <a16:creationId xmlns:a16="http://schemas.microsoft.com/office/drawing/2014/main" id="{F08B7100-66CF-2190-7DA9-5EE97F3DEBC1}"/>
                  </a:ext>
                </a:extLst>
              </p:cNvPr>
              <p:cNvSpPr/>
              <p:nvPr/>
            </p:nvSpPr>
            <p:spPr>
              <a:xfrm>
                <a:off x="2884004" y="5875731"/>
                <a:ext cx="4804" cy="103047"/>
              </a:xfrm>
              <a:custGeom>
                <a:avLst/>
                <a:gdLst>
                  <a:gd name="connsiteX0" fmla="*/ 0 w 4804"/>
                  <a:gd name="connsiteY0" fmla="*/ 0 h 103047"/>
                  <a:gd name="connsiteX1" fmla="*/ 0 w 4804"/>
                  <a:gd name="connsiteY1" fmla="*/ 103048 h 1030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804" h="103047">
                    <a:moveTo>
                      <a:pt x="0" y="0"/>
                    </a:moveTo>
                    <a:lnTo>
                      <a:pt x="0" y="103048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1515" name="Gráfico 14">
                <a:extLst>
                  <a:ext uri="{FF2B5EF4-FFF2-40B4-BE49-F238E27FC236}">
                    <a16:creationId xmlns:a16="http://schemas.microsoft.com/office/drawing/2014/main" id="{6864F8A8-817E-9D78-8816-005B2FB7AF41}"/>
                  </a:ext>
                </a:extLst>
              </p:cNvPr>
              <p:cNvGrpSpPr/>
              <p:nvPr/>
            </p:nvGrpSpPr>
            <p:grpSpPr>
              <a:xfrm>
                <a:off x="2908313" y="5875731"/>
                <a:ext cx="4804" cy="103047"/>
                <a:chOff x="2908313" y="5875731"/>
                <a:chExt cx="4804" cy="103047"/>
              </a:xfrm>
            </p:grpSpPr>
            <p:sp>
              <p:nvSpPr>
                <p:cNvPr id="1516" name="Forma livre: Forma 1515">
                  <a:extLst>
                    <a:ext uri="{FF2B5EF4-FFF2-40B4-BE49-F238E27FC236}">
                      <a16:creationId xmlns:a16="http://schemas.microsoft.com/office/drawing/2014/main" id="{D5D11E4D-D12C-B537-8D22-884F8852BBA9}"/>
                    </a:ext>
                  </a:extLst>
                </p:cNvPr>
                <p:cNvSpPr/>
                <p:nvPr/>
              </p:nvSpPr>
              <p:spPr>
                <a:xfrm>
                  <a:off x="2908313" y="5875731"/>
                  <a:ext cx="4804" cy="15276"/>
                </a:xfrm>
                <a:custGeom>
                  <a:avLst/>
                  <a:gdLst>
                    <a:gd name="connsiteX0" fmla="*/ 0 w 4804"/>
                    <a:gd name="connsiteY0" fmla="*/ 0 h 15276"/>
                    <a:gd name="connsiteX1" fmla="*/ 0 w 4804"/>
                    <a:gd name="connsiteY1" fmla="*/ 15277 h 1527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804" h="15276">
                      <a:moveTo>
                        <a:pt x="0" y="0"/>
                      </a:moveTo>
                      <a:lnTo>
                        <a:pt x="0" y="15277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517" name="Forma livre: Forma 1516">
                  <a:extLst>
                    <a:ext uri="{FF2B5EF4-FFF2-40B4-BE49-F238E27FC236}">
                      <a16:creationId xmlns:a16="http://schemas.microsoft.com/office/drawing/2014/main" id="{A47D246D-C419-74A0-D846-5F826DB0404D}"/>
                    </a:ext>
                  </a:extLst>
                </p:cNvPr>
                <p:cNvSpPr/>
                <p:nvPr/>
              </p:nvSpPr>
              <p:spPr>
                <a:xfrm>
                  <a:off x="2908313" y="5963454"/>
                  <a:ext cx="4804" cy="15325"/>
                </a:xfrm>
                <a:custGeom>
                  <a:avLst/>
                  <a:gdLst>
                    <a:gd name="connsiteX0" fmla="*/ 0 w 4804"/>
                    <a:gd name="connsiteY0" fmla="*/ 0 h 15325"/>
                    <a:gd name="connsiteX1" fmla="*/ 0 w 4804"/>
                    <a:gd name="connsiteY1" fmla="*/ 15325 h 1532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804" h="15325">
                      <a:moveTo>
                        <a:pt x="0" y="0"/>
                      </a:moveTo>
                      <a:lnTo>
                        <a:pt x="0" y="15325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sp>
          <p:nvSpPr>
            <p:cNvPr id="1518" name="Forma livre: Forma 1517">
              <a:extLst>
                <a:ext uri="{FF2B5EF4-FFF2-40B4-BE49-F238E27FC236}">
                  <a16:creationId xmlns:a16="http://schemas.microsoft.com/office/drawing/2014/main" id="{F59072A0-9FE2-5448-38A5-5E90F9848BF8}"/>
                </a:ext>
              </a:extLst>
            </p:cNvPr>
            <p:cNvSpPr/>
            <p:nvPr/>
          </p:nvSpPr>
          <p:spPr>
            <a:xfrm>
              <a:off x="2817804" y="5846763"/>
              <a:ext cx="160936" cy="160936"/>
            </a:xfrm>
            <a:custGeom>
              <a:avLst/>
              <a:gdLst>
                <a:gd name="connsiteX0" fmla="*/ 160937 w 160936"/>
                <a:gd name="connsiteY0" fmla="*/ 80468 h 160936"/>
                <a:gd name="connsiteX1" fmla="*/ 80468 w 160936"/>
                <a:gd name="connsiteY1" fmla="*/ 160937 h 160936"/>
                <a:gd name="connsiteX2" fmla="*/ 0 w 160936"/>
                <a:gd name="connsiteY2" fmla="*/ 80468 h 160936"/>
                <a:gd name="connsiteX3" fmla="*/ 80468 w 160936"/>
                <a:gd name="connsiteY3" fmla="*/ 0 h 160936"/>
                <a:gd name="connsiteX4" fmla="*/ 160937 w 160936"/>
                <a:gd name="connsiteY4" fmla="*/ 80468 h 1609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0936" h="160936">
                  <a:moveTo>
                    <a:pt x="160937" y="80468"/>
                  </a:moveTo>
                  <a:cubicBezTo>
                    <a:pt x="160937" y="124906"/>
                    <a:pt x="124906" y="160937"/>
                    <a:pt x="80468" y="160937"/>
                  </a:cubicBezTo>
                  <a:cubicBezTo>
                    <a:pt x="36031" y="160937"/>
                    <a:pt x="0" y="124906"/>
                    <a:pt x="0" y="80468"/>
                  </a:cubicBezTo>
                  <a:cubicBezTo>
                    <a:pt x="0" y="36031"/>
                    <a:pt x="36031" y="0"/>
                    <a:pt x="80468" y="0"/>
                  </a:cubicBezTo>
                  <a:cubicBezTo>
                    <a:pt x="124906" y="0"/>
                    <a:pt x="160937" y="36031"/>
                    <a:pt x="160937" y="80468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519" name="Gráfico 14">
            <a:extLst>
              <a:ext uri="{FF2B5EF4-FFF2-40B4-BE49-F238E27FC236}">
                <a16:creationId xmlns:a16="http://schemas.microsoft.com/office/drawing/2014/main" id="{3DD51329-CD4B-F8BC-1A24-F5B08F1A88D4}"/>
              </a:ext>
            </a:extLst>
          </p:cNvPr>
          <p:cNvGrpSpPr/>
          <p:nvPr/>
        </p:nvGrpSpPr>
        <p:grpSpPr>
          <a:xfrm>
            <a:off x="3924328" y="3629487"/>
            <a:ext cx="294057" cy="279213"/>
            <a:chOff x="3924328" y="3629487"/>
            <a:chExt cx="294057" cy="279213"/>
          </a:xfrm>
          <a:noFill/>
        </p:grpSpPr>
        <p:sp>
          <p:nvSpPr>
            <p:cNvPr id="1520" name="Forma livre: Forma 1519">
              <a:extLst>
                <a:ext uri="{FF2B5EF4-FFF2-40B4-BE49-F238E27FC236}">
                  <a16:creationId xmlns:a16="http://schemas.microsoft.com/office/drawing/2014/main" id="{74BA73EF-4009-E090-CCB0-ED0C2058BB03}"/>
                </a:ext>
              </a:extLst>
            </p:cNvPr>
            <p:cNvSpPr/>
            <p:nvPr/>
          </p:nvSpPr>
          <p:spPr>
            <a:xfrm>
              <a:off x="4031123" y="3701020"/>
              <a:ext cx="46551" cy="166749"/>
            </a:xfrm>
            <a:custGeom>
              <a:avLst/>
              <a:gdLst>
                <a:gd name="connsiteX0" fmla="*/ 0 w 46551"/>
                <a:gd name="connsiteY0" fmla="*/ 166750 h 166749"/>
                <a:gd name="connsiteX1" fmla="*/ 0 w 46551"/>
                <a:gd name="connsiteY1" fmla="*/ 0 h 166749"/>
                <a:gd name="connsiteX2" fmla="*/ 46552 w 46551"/>
                <a:gd name="connsiteY2" fmla="*/ 0 h 166749"/>
                <a:gd name="connsiteX3" fmla="*/ 46552 w 46551"/>
                <a:gd name="connsiteY3" fmla="*/ 166750 h 1667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6551" h="166749">
                  <a:moveTo>
                    <a:pt x="0" y="166750"/>
                  </a:moveTo>
                  <a:lnTo>
                    <a:pt x="0" y="0"/>
                  </a:lnTo>
                  <a:lnTo>
                    <a:pt x="46552" y="0"/>
                  </a:lnTo>
                  <a:lnTo>
                    <a:pt x="46552" y="16675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21" name="Forma livre: Forma 1520">
              <a:extLst>
                <a:ext uri="{FF2B5EF4-FFF2-40B4-BE49-F238E27FC236}">
                  <a16:creationId xmlns:a16="http://schemas.microsoft.com/office/drawing/2014/main" id="{39A6AAB8-9565-EBBD-9C0A-230C19EE12B3}"/>
                </a:ext>
              </a:extLst>
            </p:cNvPr>
            <p:cNvSpPr/>
            <p:nvPr/>
          </p:nvSpPr>
          <p:spPr>
            <a:xfrm>
              <a:off x="3952240" y="3752087"/>
              <a:ext cx="46551" cy="115682"/>
            </a:xfrm>
            <a:custGeom>
              <a:avLst/>
              <a:gdLst>
                <a:gd name="connsiteX0" fmla="*/ 0 w 46551"/>
                <a:gd name="connsiteY0" fmla="*/ 115682 h 115682"/>
                <a:gd name="connsiteX1" fmla="*/ 0 w 46551"/>
                <a:gd name="connsiteY1" fmla="*/ 0 h 115682"/>
                <a:gd name="connsiteX2" fmla="*/ 46552 w 46551"/>
                <a:gd name="connsiteY2" fmla="*/ 0 h 115682"/>
                <a:gd name="connsiteX3" fmla="*/ 46552 w 46551"/>
                <a:gd name="connsiteY3" fmla="*/ 115682 h 1156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6551" h="115682">
                  <a:moveTo>
                    <a:pt x="0" y="115682"/>
                  </a:moveTo>
                  <a:lnTo>
                    <a:pt x="0" y="0"/>
                  </a:lnTo>
                  <a:lnTo>
                    <a:pt x="46552" y="0"/>
                  </a:lnTo>
                  <a:lnTo>
                    <a:pt x="46552" y="115682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22" name="Forma livre: Forma 1521">
              <a:extLst>
                <a:ext uri="{FF2B5EF4-FFF2-40B4-BE49-F238E27FC236}">
                  <a16:creationId xmlns:a16="http://schemas.microsoft.com/office/drawing/2014/main" id="{B4F36F09-480B-72AE-5022-431A3EB469A5}"/>
                </a:ext>
              </a:extLst>
            </p:cNvPr>
            <p:cNvSpPr/>
            <p:nvPr/>
          </p:nvSpPr>
          <p:spPr>
            <a:xfrm>
              <a:off x="4110006" y="3629487"/>
              <a:ext cx="46599" cy="238282"/>
            </a:xfrm>
            <a:custGeom>
              <a:avLst/>
              <a:gdLst>
                <a:gd name="connsiteX0" fmla="*/ 0 w 46599"/>
                <a:gd name="connsiteY0" fmla="*/ 238282 h 238282"/>
                <a:gd name="connsiteX1" fmla="*/ 0 w 46599"/>
                <a:gd name="connsiteY1" fmla="*/ 0 h 238282"/>
                <a:gd name="connsiteX2" fmla="*/ 46599 w 46599"/>
                <a:gd name="connsiteY2" fmla="*/ 0 h 238282"/>
                <a:gd name="connsiteX3" fmla="*/ 46599 w 46599"/>
                <a:gd name="connsiteY3" fmla="*/ 125531 h 2382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6599" h="238282">
                  <a:moveTo>
                    <a:pt x="0" y="238282"/>
                  </a:moveTo>
                  <a:lnTo>
                    <a:pt x="0" y="0"/>
                  </a:lnTo>
                  <a:lnTo>
                    <a:pt x="46599" y="0"/>
                  </a:lnTo>
                  <a:lnTo>
                    <a:pt x="46599" y="125531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23" name="Forma livre: Forma 1522">
              <a:extLst>
                <a:ext uri="{FF2B5EF4-FFF2-40B4-BE49-F238E27FC236}">
                  <a16:creationId xmlns:a16="http://schemas.microsoft.com/office/drawing/2014/main" id="{B5B196B0-1AC7-F0DF-42F5-D92DC54836B5}"/>
                </a:ext>
              </a:extLst>
            </p:cNvPr>
            <p:cNvSpPr/>
            <p:nvPr/>
          </p:nvSpPr>
          <p:spPr>
            <a:xfrm>
              <a:off x="3924328" y="3888427"/>
              <a:ext cx="192451" cy="4804"/>
            </a:xfrm>
            <a:custGeom>
              <a:avLst/>
              <a:gdLst>
                <a:gd name="connsiteX0" fmla="*/ 192451 w 192451"/>
                <a:gd name="connsiteY0" fmla="*/ 0 h 4804"/>
                <a:gd name="connsiteX1" fmla="*/ 0 w 192451"/>
                <a:gd name="connsiteY1" fmla="*/ 0 h 48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92451" h="4804">
                  <a:moveTo>
                    <a:pt x="192451" y="0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524" name="Gráfico 14">
              <a:extLst>
                <a:ext uri="{FF2B5EF4-FFF2-40B4-BE49-F238E27FC236}">
                  <a16:creationId xmlns:a16="http://schemas.microsoft.com/office/drawing/2014/main" id="{75361EBA-3A3E-4377-0B36-C5D70EECB63D}"/>
                </a:ext>
              </a:extLst>
            </p:cNvPr>
            <p:cNvGrpSpPr/>
            <p:nvPr/>
          </p:nvGrpSpPr>
          <p:grpSpPr>
            <a:xfrm>
              <a:off x="4137005" y="3774667"/>
              <a:ext cx="81381" cy="134033"/>
              <a:chOff x="4137005" y="3774667"/>
              <a:chExt cx="81381" cy="134033"/>
            </a:xfrm>
            <a:noFill/>
          </p:grpSpPr>
          <p:grpSp>
            <p:nvGrpSpPr>
              <p:cNvPr id="1525" name="Gráfico 14">
                <a:extLst>
                  <a:ext uri="{FF2B5EF4-FFF2-40B4-BE49-F238E27FC236}">
                    <a16:creationId xmlns:a16="http://schemas.microsoft.com/office/drawing/2014/main" id="{C82C66EE-D2ED-6B8E-4E68-DE54E1382FA3}"/>
                  </a:ext>
                </a:extLst>
              </p:cNvPr>
              <p:cNvGrpSpPr/>
              <p:nvPr/>
            </p:nvGrpSpPr>
            <p:grpSpPr>
              <a:xfrm>
                <a:off x="4137005" y="3794988"/>
                <a:ext cx="81381" cy="93391"/>
                <a:chOff x="4137005" y="3794988"/>
                <a:chExt cx="81381" cy="93391"/>
              </a:xfrm>
              <a:noFill/>
            </p:grpSpPr>
            <p:sp>
              <p:nvSpPr>
                <p:cNvPr id="1526" name="Forma livre: Forma 1525">
                  <a:extLst>
                    <a:ext uri="{FF2B5EF4-FFF2-40B4-BE49-F238E27FC236}">
                      <a16:creationId xmlns:a16="http://schemas.microsoft.com/office/drawing/2014/main" id="{66913878-EE30-96F7-D2B0-7F7E3CD8CE95}"/>
                    </a:ext>
                  </a:extLst>
                </p:cNvPr>
                <p:cNvSpPr/>
                <p:nvPr/>
              </p:nvSpPr>
              <p:spPr>
                <a:xfrm>
                  <a:off x="4137005" y="3794988"/>
                  <a:ext cx="81381" cy="46743"/>
                </a:xfrm>
                <a:custGeom>
                  <a:avLst/>
                  <a:gdLst>
                    <a:gd name="connsiteX0" fmla="*/ 0 w 81381"/>
                    <a:gd name="connsiteY0" fmla="*/ 0 h 46743"/>
                    <a:gd name="connsiteX1" fmla="*/ 57457 w 81381"/>
                    <a:gd name="connsiteY1" fmla="*/ 0 h 46743"/>
                    <a:gd name="connsiteX2" fmla="*/ 81381 w 81381"/>
                    <a:gd name="connsiteY2" fmla="*/ 23396 h 46743"/>
                    <a:gd name="connsiteX3" fmla="*/ 57457 w 81381"/>
                    <a:gd name="connsiteY3" fmla="*/ 46744 h 46743"/>
                    <a:gd name="connsiteX4" fmla="*/ 20802 w 81381"/>
                    <a:gd name="connsiteY4" fmla="*/ 46744 h 4674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81381" h="46743">
                      <a:moveTo>
                        <a:pt x="0" y="0"/>
                      </a:moveTo>
                      <a:lnTo>
                        <a:pt x="57457" y="0"/>
                      </a:lnTo>
                      <a:cubicBezTo>
                        <a:pt x="70620" y="0"/>
                        <a:pt x="81381" y="10521"/>
                        <a:pt x="81381" y="23396"/>
                      </a:cubicBezTo>
                      <a:cubicBezTo>
                        <a:pt x="81381" y="36271"/>
                        <a:pt x="70620" y="46744"/>
                        <a:pt x="57457" y="46744"/>
                      </a:cubicBezTo>
                      <a:lnTo>
                        <a:pt x="20802" y="46744"/>
                      </a:ln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527" name="Forma livre: Forma 1526">
                  <a:extLst>
                    <a:ext uri="{FF2B5EF4-FFF2-40B4-BE49-F238E27FC236}">
                      <a16:creationId xmlns:a16="http://schemas.microsoft.com/office/drawing/2014/main" id="{C883A264-0844-C92C-9F31-AFCD2E63764D}"/>
                    </a:ext>
                  </a:extLst>
                </p:cNvPr>
                <p:cNvSpPr/>
                <p:nvPr/>
              </p:nvSpPr>
              <p:spPr>
                <a:xfrm>
                  <a:off x="4137005" y="3841684"/>
                  <a:ext cx="81381" cy="46695"/>
                </a:xfrm>
                <a:custGeom>
                  <a:avLst/>
                  <a:gdLst>
                    <a:gd name="connsiteX0" fmla="*/ 57457 w 81381"/>
                    <a:gd name="connsiteY0" fmla="*/ 0 h 46695"/>
                    <a:gd name="connsiteX1" fmla="*/ 81381 w 81381"/>
                    <a:gd name="connsiteY1" fmla="*/ 23348 h 46695"/>
                    <a:gd name="connsiteX2" fmla="*/ 57457 w 81381"/>
                    <a:gd name="connsiteY2" fmla="*/ 46696 h 46695"/>
                    <a:gd name="connsiteX3" fmla="*/ 0 w 81381"/>
                    <a:gd name="connsiteY3" fmla="*/ 46696 h 4669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1381" h="46695">
                      <a:moveTo>
                        <a:pt x="57457" y="0"/>
                      </a:moveTo>
                      <a:cubicBezTo>
                        <a:pt x="70620" y="0"/>
                        <a:pt x="81381" y="10521"/>
                        <a:pt x="81381" y="23348"/>
                      </a:cubicBezTo>
                      <a:cubicBezTo>
                        <a:pt x="81381" y="36175"/>
                        <a:pt x="70620" y="46696"/>
                        <a:pt x="57457" y="46696"/>
                      </a:cubicBezTo>
                      <a:lnTo>
                        <a:pt x="0" y="46696"/>
                      </a:ln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1528" name="Forma livre: Forma 1527">
                <a:extLst>
                  <a:ext uri="{FF2B5EF4-FFF2-40B4-BE49-F238E27FC236}">
                    <a16:creationId xmlns:a16="http://schemas.microsoft.com/office/drawing/2014/main" id="{D72F42E0-FC99-D0F2-C233-1676502119CF}"/>
                  </a:ext>
                </a:extLst>
              </p:cNvPr>
              <p:cNvSpPr/>
              <p:nvPr/>
            </p:nvSpPr>
            <p:spPr>
              <a:xfrm>
                <a:off x="4156605" y="3774667"/>
                <a:ext cx="4804" cy="134033"/>
              </a:xfrm>
              <a:custGeom>
                <a:avLst/>
                <a:gdLst>
                  <a:gd name="connsiteX0" fmla="*/ 0 w 4804"/>
                  <a:gd name="connsiteY0" fmla="*/ 0 h 134033"/>
                  <a:gd name="connsiteX1" fmla="*/ 0 w 4804"/>
                  <a:gd name="connsiteY1" fmla="*/ 134034 h 134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804" h="134033">
                    <a:moveTo>
                      <a:pt x="0" y="0"/>
                    </a:moveTo>
                    <a:lnTo>
                      <a:pt x="0" y="134034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1529" name="Gráfico 14">
                <a:extLst>
                  <a:ext uri="{FF2B5EF4-FFF2-40B4-BE49-F238E27FC236}">
                    <a16:creationId xmlns:a16="http://schemas.microsoft.com/office/drawing/2014/main" id="{237D6F62-3606-9A27-66E3-5B374B8AC2F1}"/>
                  </a:ext>
                </a:extLst>
              </p:cNvPr>
              <p:cNvGrpSpPr/>
              <p:nvPr/>
            </p:nvGrpSpPr>
            <p:grpSpPr>
              <a:xfrm>
                <a:off x="4188120" y="3774667"/>
                <a:ext cx="4804" cy="134033"/>
                <a:chOff x="4188120" y="3774667"/>
                <a:chExt cx="4804" cy="134033"/>
              </a:xfrm>
            </p:grpSpPr>
            <p:sp>
              <p:nvSpPr>
                <p:cNvPr id="1530" name="Forma livre: Forma 1529">
                  <a:extLst>
                    <a:ext uri="{FF2B5EF4-FFF2-40B4-BE49-F238E27FC236}">
                      <a16:creationId xmlns:a16="http://schemas.microsoft.com/office/drawing/2014/main" id="{65BC98A1-30C5-F23E-AE4C-BC24FC356B2E}"/>
                    </a:ext>
                  </a:extLst>
                </p:cNvPr>
                <p:cNvSpPr/>
                <p:nvPr/>
              </p:nvSpPr>
              <p:spPr>
                <a:xfrm>
                  <a:off x="4188120" y="3774667"/>
                  <a:ext cx="4804" cy="19936"/>
                </a:xfrm>
                <a:custGeom>
                  <a:avLst/>
                  <a:gdLst>
                    <a:gd name="connsiteX0" fmla="*/ 0 w 4804"/>
                    <a:gd name="connsiteY0" fmla="*/ 0 h 19936"/>
                    <a:gd name="connsiteX1" fmla="*/ 0 w 4804"/>
                    <a:gd name="connsiteY1" fmla="*/ 19937 h 1993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804" h="19936">
                      <a:moveTo>
                        <a:pt x="0" y="0"/>
                      </a:moveTo>
                      <a:lnTo>
                        <a:pt x="0" y="19937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531" name="Forma livre: Forma 1530">
                  <a:extLst>
                    <a:ext uri="{FF2B5EF4-FFF2-40B4-BE49-F238E27FC236}">
                      <a16:creationId xmlns:a16="http://schemas.microsoft.com/office/drawing/2014/main" id="{6A6D41B8-B7CE-D19B-35A0-6BAC8DFB1BCD}"/>
                    </a:ext>
                  </a:extLst>
                </p:cNvPr>
                <p:cNvSpPr/>
                <p:nvPr/>
              </p:nvSpPr>
              <p:spPr>
                <a:xfrm>
                  <a:off x="4188120" y="3888812"/>
                  <a:ext cx="4804" cy="19888"/>
                </a:xfrm>
                <a:custGeom>
                  <a:avLst/>
                  <a:gdLst>
                    <a:gd name="connsiteX0" fmla="*/ 0 w 4804"/>
                    <a:gd name="connsiteY0" fmla="*/ 0 h 19888"/>
                    <a:gd name="connsiteX1" fmla="*/ 0 w 4804"/>
                    <a:gd name="connsiteY1" fmla="*/ 19889 h 1988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804" h="19888">
                      <a:moveTo>
                        <a:pt x="0" y="0"/>
                      </a:moveTo>
                      <a:lnTo>
                        <a:pt x="0" y="19889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</p:grpSp>
      <p:grpSp>
        <p:nvGrpSpPr>
          <p:cNvPr id="1532" name="Gráfico 14">
            <a:extLst>
              <a:ext uri="{FF2B5EF4-FFF2-40B4-BE49-F238E27FC236}">
                <a16:creationId xmlns:a16="http://schemas.microsoft.com/office/drawing/2014/main" id="{CF981693-A6BB-C39C-C5A7-1C519BF15100}"/>
              </a:ext>
            </a:extLst>
          </p:cNvPr>
          <p:cNvGrpSpPr/>
          <p:nvPr/>
        </p:nvGrpSpPr>
        <p:grpSpPr>
          <a:xfrm>
            <a:off x="3322040" y="3596820"/>
            <a:ext cx="248130" cy="344548"/>
            <a:chOff x="3322040" y="3596820"/>
            <a:chExt cx="248130" cy="344548"/>
          </a:xfrm>
          <a:noFill/>
        </p:grpSpPr>
        <p:grpSp>
          <p:nvGrpSpPr>
            <p:cNvPr id="1533" name="Gráfico 14">
              <a:extLst>
                <a:ext uri="{FF2B5EF4-FFF2-40B4-BE49-F238E27FC236}">
                  <a16:creationId xmlns:a16="http://schemas.microsoft.com/office/drawing/2014/main" id="{2552EE67-3B59-1C72-8052-D79528B58A8F}"/>
                </a:ext>
              </a:extLst>
            </p:cNvPr>
            <p:cNvGrpSpPr/>
            <p:nvPr/>
          </p:nvGrpSpPr>
          <p:grpSpPr>
            <a:xfrm>
              <a:off x="3372051" y="3626557"/>
              <a:ext cx="62597" cy="103047"/>
              <a:chOff x="3372051" y="3626557"/>
              <a:chExt cx="62597" cy="103047"/>
            </a:xfrm>
            <a:noFill/>
          </p:grpSpPr>
          <p:grpSp>
            <p:nvGrpSpPr>
              <p:cNvPr id="1534" name="Gráfico 14">
                <a:extLst>
                  <a:ext uri="{FF2B5EF4-FFF2-40B4-BE49-F238E27FC236}">
                    <a16:creationId xmlns:a16="http://schemas.microsoft.com/office/drawing/2014/main" id="{949C9294-4500-758E-8761-2D1031EE46EC}"/>
                  </a:ext>
                </a:extLst>
              </p:cNvPr>
              <p:cNvGrpSpPr/>
              <p:nvPr/>
            </p:nvGrpSpPr>
            <p:grpSpPr>
              <a:xfrm>
                <a:off x="3372051" y="3642170"/>
                <a:ext cx="62597" cy="71869"/>
                <a:chOff x="3372051" y="3642170"/>
                <a:chExt cx="62597" cy="71869"/>
              </a:xfrm>
              <a:noFill/>
            </p:grpSpPr>
            <p:sp>
              <p:nvSpPr>
                <p:cNvPr id="1535" name="Forma livre: Forma 1534">
                  <a:extLst>
                    <a:ext uri="{FF2B5EF4-FFF2-40B4-BE49-F238E27FC236}">
                      <a16:creationId xmlns:a16="http://schemas.microsoft.com/office/drawing/2014/main" id="{A08CF68A-0732-7B6C-21A0-AD1FDF1B58FA}"/>
                    </a:ext>
                  </a:extLst>
                </p:cNvPr>
                <p:cNvSpPr/>
                <p:nvPr/>
              </p:nvSpPr>
              <p:spPr>
                <a:xfrm>
                  <a:off x="3372051" y="3642170"/>
                  <a:ext cx="62597" cy="35934"/>
                </a:xfrm>
                <a:custGeom>
                  <a:avLst/>
                  <a:gdLst>
                    <a:gd name="connsiteX0" fmla="*/ 0 w 62597"/>
                    <a:gd name="connsiteY0" fmla="*/ 0 h 35934"/>
                    <a:gd name="connsiteX1" fmla="*/ 44198 w 62597"/>
                    <a:gd name="connsiteY1" fmla="*/ 0 h 35934"/>
                    <a:gd name="connsiteX2" fmla="*/ 62597 w 62597"/>
                    <a:gd name="connsiteY2" fmla="*/ 17967 h 35934"/>
                    <a:gd name="connsiteX3" fmla="*/ 44198 w 62597"/>
                    <a:gd name="connsiteY3" fmla="*/ 35935 h 35934"/>
                    <a:gd name="connsiteX4" fmla="*/ 16046 w 62597"/>
                    <a:gd name="connsiteY4" fmla="*/ 35935 h 3593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62597" h="35934">
                      <a:moveTo>
                        <a:pt x="0" y="0"/>
                      </a:moveTo>
                      <a:lnTo>
                        <a:pt x="44198" y="0"/>
                      </a:lnTo>
                      <a:cubicBezTo>
                        <a:pt x="54334" y="0"/>
                        <a:pt x="62597" y="8119"/>
                        <a:pt x="62597" y="17967"/>
                      </a:cubicBezTo>
                      <a:cubicBezTo>
                        <a:pt x="62597" y="27816"/>
                        <a:pt x="54286" y="35935"/>
                        <a:pt x="44198" y="35935"/>
                      </a:cubicBezTo>
                      <a:lnTo>
                        <a:pt x="16046" y="35935"/>
                      </a:ln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536" name="Forma livre: Forma 1535">
                  <a:extLst>
                    <a:ext uri="{FF2B5EF4-FFF2-40B4-BE49-F238E27FC236}">
                      <a16:creationId xmlns:a16="http://schemas.microsoft.com/office/drawing/2014/main" id="{0A922708-8ACD-9910-777B-005D3C99B850}"/>
                    </a:ext>
                  </a:extLst>
                </p:cNvPr>
                <p:cNvSpPr/>
                <p:nvPr/>
              </p:nvSpPr>
              <p:spPr>
                <a:xfrm>
                  <a:off x="3372051" y="3678105"/>
                  <a:ext cx="62597" cy="35934"/>
                </a:xfrm>
                <a:custGeom>
                  <a:avLst/>
                  <a:gdLst>
                    <a:gd name="connsiteX0" fmla="*/ 44198 w 62597"/>
                    <a:gd name="connsiteY0" fmla="*/ 0 h 35934"/>
                    <a:gd name="connsiteX1" fmla="*/ 62597 w 62597"/>
                    <a:gd name="connsiteY1" fmla="*/ 17967 h 35934"/>
                    <a:gd name="connsiteX2" fmla="*/ 44198 w 62597"/>
                    <a:gd name="connsiteY2" fmla="*/ 35935 h 35934"/>
                    <a:gd name="connsiteX3" fmla="*/ 0 w 62597"/>
                    <a:gd name="connsiteY3" fmla="*/ 35935 h 3593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62597" h="35934">
                      <a:moveTo>
                        <a:pt x="44198" y="0"/>
                      </a:moveTo>
                      <a:cubicBezTo>
                        <a:pt x="54334" y="0"/>
                        <a:pt x="62597" y="8071"/>
                        <a:pt x="62597" y="17967"/>
                      </a:cubicBezTo>
                      <a:cubicBezTo>
                        <a:pt x="62597" y="27864"/>
                        <a:pt x="54286" y="35935"/>
                        <a:pt x="44198" y="35935"/>
                      </a:cubicBezTo>
                      <a:lnTo>
                        <a:pt x="0" y="35935"/>
                      </a:ln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1537" name="Forma livre: Forma 1536">
                <a:extLst>
                  <a:ext uri="{FF2B5EF4-FFF2-40B4-BE49-F238E27FC236}">
                    <a16:creationId xmlns:a16="http://schemas.microsoft.com/office/drawing/2014/main" id="{F1A4EA4D-5029-4E34-1D2E-4A5DDB6BDCBA}"/>
                  </a:ext>
                </a:extLst>
              </p:cNvPr>
              <p:cNvSpPr/>
              <p:nvPr/>
            </p:nvSpPr>
            <p:spPr>
              <a:xfrm>
                <a:off x="3387376" y="3626557"/>
                <a:ext cx="4804" cy="103047"/>
              </a:xfrm>
              <a:custGeom>
                <a:avLst/>
                <a:gdLst>
                  <a:gd name="connsiteX0" fmla="*/ 0 w 4804"/>
                  <a:gd name="connsiteY0" fmla="*/ 0 h 103047"/>
                  <a:gd name="connsiteX1" fmla="*/ 0 w 4804"/>
                  <a:gd name="connsiteY1" fmla="*/ 103048 h 1030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804" h="103047">
                    <a:moveTo>
                      <a:pt x="0" y="0"/>
                    </a:moveTo>
                    <a:lnTo>
                      <a:pt x="0" y="103048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1538" name="Gráfico 14">
                <a:extLst>
                  <a:ext uri="{FF2B5EF4-FFF2-40B4-BE49-F238E27FC236}">
                    <a16:creationId xmlns:a16="http://schemas.microsoft.com/office/drawing/2014/main" id="{94369860-FA94-27CE-D0B5-57652EE5B29D}"/>
                  </a:ext>
                </a:extLst>
              </p:cNvPr>
              <p:cNvGrpSpPr/>
              <p:nvPr/>
            </p:nvGrpSpPr>
            <p:grpSpPr>
              <a:xfrm>
                <a:off x="3411685" y="3626557"/>
                <a:ext cx="4804" cy="103047"/>
                <a:chOff x="3411685" y="3626557"/>
                <a:chExt cx="4804" cy="103047"/>
              </a:xfrm>
            </p:grpSpPr>
            <p:sp>
              <p:nvSpPr>
                <p:cNvPr id="1539" name="Forma livre: Forma 1538">
                  <a:extLst>
                    <a:ext uri="{FF2B5EF4-FFF2-40B4-BE49-F238E27FC236}">
                      <a16:creationId xmlns:a16="http://schemas.microsoft.com/office/drawing/2014/main" id="{23828624-F631-3402-1580-6169DC0E4342}"/>
                    </a:ext>
                  </a:extLst>
                </p:cNvPr>
                <p:cNvSpPr/>
                <p:nvPr/>
              </p:nvSpPr>
              <p:spPr>
                <a:xfrm>
                  <a:off x="3411685" y="3626557"/>
                  <a:ext cx="4804" cy="15325"/>
                </a:xfrm>
                <a:custGeom>
                  <a:avLst/>
                  <a:gdLst>
                    <a:gd name="connsiteX0" fmla="*/ 0 w 4804"/>
                    <a:gd name="connsiteY0" fmla="*/ 0 h 15325"/>
                    <a:gd name="connsiteX1" fmla="*/ 0 w 4804"/>
                    <a:gd name="connsiteY1" fmla="*/ 15325 h 1532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804" h="15325">
                      <a:moveTo>
                        <a:pt x="0" y="0"/>
                      </a:moveTo>
                      <a:lnTo>
                        <a:pt x="0" y="15325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540" name="Forma livre: Forma 1539">
                  <a:extLst>
                    <a:ext uri="{FF2B5EF4-FFF2-40B4-BE49-F238E27FC236}">
                      <a16:creationId xmlns:a16="http://schemas.microsoft.com/office/drawing/2014/main" id="{97928812-A262-1F28-46D7-E811852A84C0}"/>
                    </a:ext>
                  </a:extLst>
                </p:cNvPr>
                <p:cNvSpPr/>
                <p:nvPr/>
              </p:nvSpPr>
              <p:spPr>
                <a:xfrm>
                  <a:off x="3411685" y="3714327"/>
                  <a:ext cx="4804" cy="15276"/>
                </a:xfrm>
                <a:custGeom>
                  <a:avLst/>
                  <a:gdLst>
                    <a:gd name="connsiteX0" fmla="*/ 0 w 4804"/>
                    <a:gd name="connsiteY0" fmla="*/ 0 h 15276"/>
                    <a:gd name="connsiteX1" fmla="*/ 0 w 4804"/>
                    <a:gd name="connsiteY1" fmla="*/ 15277 h 1527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804" h="15276">
                      <a:moveTo>
                        <a:pt x="0" y="0"/>
                      </a:moveTo>
                      <a:lnTo>
                        <a:pt x="0" y="15277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sp>
          <p:nvSpPr>
            <p:cNvPr id="1541" name="Forma livre: Forma 1540">
              <a:extLst>
                <a:ext uri="{FF2B5EF4-FFF2-40B4-BE49-F238E27FC236}">
                  <a16:creationId xmlns:a16="http://schemas.microsoft.com/office/drawing/2014/main" id="{BFDF3A4D-DC34-ADBB-C5BF-4458B3255211}"/>
                </a:ext>
              </a:extLst>
            </p:cNvPr>
            <p:cNvSpPr/>
            <p:nvPr/>
          </p:nvSpPr>
          <p:spPr>
            <a:xfrm>
              <a:off x="3430180" y="3757084"/>
              <a:ext cx="13355" cy="75520"/>
            </a:xfrm>
            <a:custGeom>
              <a:avLst/>
              <a:gdLst>
                <a:gd name="connsiteX0" fmla="*/ 0 w 13355"/>
                <a:gd name="connsiteY0" fmla="*/ 0 h 75520"/>
                <a:gd name="connsiteX1" fmla="*/ 13355 w 13355"/>
                <a:gd name="connsiteY1" fmla="*/ 75520 h 755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3355" h="75520">
                  <a:moveTo>
                    <a:pt x="0" y="0"/>
                  </a:moveTo>
                  <a:cubicBezTo>
                    <a:pt x="4804" y="10281"/>
                    <a:pt x="13355" y="30698"/>
                    <a:pt x="13355" y="75520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42" name="Forma livre: Forma 1541">
              <a:extLst>
                <a:ext uri="{FF2B5EF4-FFF2-40B4-BE49-F238E27FC236}">
                  <a16:creationId xmlns:a16="http://schemas.microsoft.com/office/drawing/2014/main" id="{9FDFE6AC-82DC-E867-0BF3-16F63A413FEC}"/>
                </a:ext>
              </a:extLst>
            </p:cNvPr>
            <p:cNvSpPr/>
            <p:nvPr/>
          </p:nvSpPr>
          <p:spPr>
            <a:xfrm>
              <a:off x="3406112" y="3801137"/>
              <a:ext cx="35934" cy="12634"/>
            </a:xfrm>
            <a:custGeom>
              <a:avLst/>
              <a:gdLst>
                <a:gd name="connsiteX0" fmla="*/ 0 w 35934"/>
                <a:gd name="connsiteY0" fmla="*/ 0 h 12634"/>
                <a:gd name="connsiteX1" fmla="*/ 35935 w 35934"/>
                <a:gd name="connsiteY1" fmla="*/ 12635 h 126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5934" h="12634">
                  <a:moveTo>
                    <a:pt x="0" y="0"/>
                  </a:moveTo>
                  <a:cubicBezTo>
                    <a:pt x="0" y="0"/>
                    <a:pt x="28296" y="1922"/>
                    <a:pt x="35935" y="12635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43" name="Forma livre: Forma 1542">
              <a:extLst>
                <a:ext uri="{FF2B5EF4-FFF2-40B4-BE49-F238E27FC236}">
                  <a16:creationId xmlns:a16="http://schemas.microsoft.com/office/drawing/2014/main" id="{A5DB8769-5D99-FCD2-9E3B-05C6B3A9768C}"/>
                </a:ext>
              </a:extLst>
            </p:cNvPr>
            <p:cNvSpPr/>
            <p:nvPr/>
          </p:nvSpPr>
          <p:spPr>
            <a:xfrm>
              <a:off x="3378680" y="3852445"/>
              <a:ext cx="139462" cy="88923"/>
            </a:xfrm>
            <a:custGeom>
              <a:avLst/>
              <a:gdLst>
                <a:gd name="connsiteX0" fmla="*/ 123081 w 139462"/>
                <a:gd name="connsiteY0" fmla="*/ 30986 h 88923"/>
                <a:gd name="connsiteX1" fmla="*/ 115346 w 139462"/>
                <a:gd name="connsiteY1" fmla="*/ 88924 h 88923"/>
                <a:gd name="connsiteX2" fmla="*/ 24693 w 139462"/>
                <a:gd name="connsiteY2" fmla="*/ 88924 h 88923"/>
                <a:gd name="connsiteX3" fmla="*/ 16814 w 139462"/>
                <a:gd name="connsiteY3" fmla="*/ 29545 h 88923"/>
                <a:gd name="connsiteX4" fmla="*/ 0 w 139462"/>
                <a:gd name="connsiteY4" fmla="*/ 29545 h 88923"/>
                <a:gd name="connsiteX5" fmla="*/ 0 w 139462"/>
                <a:gd name="connsiteY5" fmla="*/ 0 h 88923"/>
                <a:gd name="connsiteX6" fmla="*/ 139462 w 139462"/>
                <a:gd name="connsiteY6" fmla="*/ 0 h 88923"/>
                <a:gd name="connsiteX7" fmla="*/ 139462 w 139462"/>
                <a:gd name="connsiteY7" fmla="*/ 29545 h 88923"/>
                <a:gd name="connsiteX8" fmla="*/ 57793 w 139462"/>
                <a:gd name="connsiteY8" fmla="*/ 29545 h 889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39462" h="88923">
                  <a:moveTo>
                    <a:pt x="123081" y="30986"/>
                  </a:moveTo>
                  <a:lnTo>
                    <a:pt x="115346" y="88924"/>
                  </a:lnTo>
                  <a:lnTo>
                    <a:pt x="24693" y="88924"/>
                  </a:lnTo>
                  <a:lnTo>
                    <a:pt x="16814" y="29545"/>
                  </a:lnTo>
                  <a:lnTo>
                    <a:pt x="0" y="29545"/>
                  </a:lnTo>
                  <a:lnTo>
                    <a:pt x="0" y="0"/>
                  </a:lnTo>
                  <a:lnTo>
                    <a:pt x="139462" y="0"/>
                  </a:lnTo>
                  <a:lnTo>
                    <a:pt x="139462" y="29545"/>
                  </a:lnTo>
                  <a:lnTo>
                    <a:pt x="57793" y="29545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44" name="Forma livre: Forma 1543">
              <a:extLst>
                <a:ext uri="{FF2B5EF4-FFF2-40B4-BE49-F238E27FC236}">
                  <a16:creationId xmlns:a16="http://schemas.microsoft.com/office/drawing/2014/main" id="{8C8DCD22-7B12-5543-E42B-25BB93A57903}"/>
                </a:ext>
              </a:extLst>
            </p:cNvPr>
            <p:cNvSpPr/>
            <p:nvPr/>
          </p:nvSpPr>
          <p:spPr>
            <a:xfrm>
              <a:off x="3322040" y="3596820"/>
              <a:ext cx="162618" cy="162570"/>
            </a:xfrm>
            <a:custGeom>
              <a:avLst/>
              <a:gdLst>
                <a:gd name="connsiteX0" fmla="*/ 162618 w 162618"/>
                <a:gd name="connsiteY0" fmla="*/ 81285 h 162570"/>
                <a:gd name="connsiteX1" fmla="*/ 81285 w 162618"/>
                <a:gd name="connsiteY1" fmla="*/ 162570 h 162570"/>
                <a:gd name="connsiteX2" fmla="*/ 0 w 162618"/>
                <a:gd name="connsiteY2" fmla="*/ 81285 h 162570"/>
                <a:gd name="connsiteX3" fmla="*/ 81285 w 162618"/>
                <a:gd name="connsiteY3" fmla="*/ 0 h 162570"/>
                <a:gd name="connsiteX4" fmla="*/ 162618 w 162618"/>
                <a:gd name="connsiteY4" fmla="*/ 81285 h 1625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2618" h="162570">
                  <a:moveTo>
                    <a:pt x="162618" y="81285"/>
                  </a:moveTo>
                  <a:cubicBezTo>
                    <a:pt x="162618" y="126155"/>
                    <a:pt x="126251" y="162570"/>
                    <a:pt x="81285" y="162570"/>
                  </a:cubicBezTo>
                  <a:cubicBezTo>
                    <a:pt x="36319" y="162570"/>
                    <a:pt x="0" y="126203"/>
                    <a:pt x="0" y="81285"/>
                  </a:cubicBezTo>
                  <a:cubicBezTo>
                    <a:pt x="0" y="36367"/>
                    <a:pt x="36367" y="0"/>
                    <a:pt x="81285" y="0"/>
                  </a:cubicBezTo>
                  <a:cubicBezTo>
                    <a:pt x="126203" y="0"/>
                    <a:pt x="162618" y="36367"/>
                    <a:pt x="162618" y="81285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45" name="Forma livre: Forma 1544">
              <a:extLst>
                <a:ext uri="{FF2B5EF4-FFF2-40B4-BE49-F238E27FC236}">
                  <a16:creationId xmlns:a16="http://schemas.microsoft.com/office/drawing/2014/main" id="{26068C50-95D0-F805-B566-F1DAC0262111}"/>
                </a:ext>
              </a:extLst>
            </p:cNvPr>
            <p:cNvSpPr/>
            <p:nvPr/>
          </p:nvSpPr>
          <p:spPr>
            <a:xfrm>
              <a:off x="3482545" y="3735567"/>
              <a:ext cx="87626" cy="57731"/>
            </a:xfrm>
            <a:custGeom>
              <a:avLst/>
              <a:gdLst>
                <a:gd name="connsiteX0" fmla="*/ 8647 w 87626"/>
                <a:gd name="connsiteY0" fmla="*/ 10612 h 57731"/>
                <a:gd name="connsiteX1" fmla="*/ 43429 w 87626"/>
                <a:gd name="connsiteY1" fmla="*/ 667 h 57731"/>
                <a:gd name="connsiteX2" fmla="*/ 87626 w 87626"/>
                <a:gd name="connsiteY2" fmla="*/ 24496 h 57731"/>
                <a:gd name="connsiteX3" fmla="*/ 48329 w 87626"/>
                <a:gd name="connsiteY3" fmla="*/ 55386 h 57731"/>
                <a:gd name="connsiteX4" fmla="*/ 0 w 87626"/>
                <a:gd name="connsiteY4" fmla="*/ 36458 h 577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7626" h="57731">
                  <a:moveTo>
                    <a:pt x="8647" y="10612"/>
                  </a:moveTo>
                  <a:cubicBezTo>
                    <a:pt x="17343" y="2733"/>
                    <a:pt x="30698" y="-1783"/>
                    <a:pt x="43429" y="667"/>
                  </a:cubicBezTo>
                  <a:cubicBezTo>
                    <a:pt x="72157" y="6240"/>
                    <a:pt x="87626" y="24496"/>
                    <a:pt x="87626" y="24496"/>
                  </a:cubicBezTo>
                  <a:cubicBezTo>
                    <a:pt x="87626" y="24496"/>
                    <a:pt x="73214" y="45730"/>
                    <a:pt x="48329" y="55386"/>
                  </a:cubicBezTo>
                  <a:cubicBezTo>
                    <a:pt x="28969" y="62880"/>
                    <a:pt x="5188" y="51302"/>
                    <a:pt x="0" y="36458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46" name="Forma livre: Forma 1545">
              <a:extLst>
                <a:ext uri="{FF2B5EF4-FFF2-40B4-BE49-F238E27FC236}">
                  <a16:creationId xmlns:a16="http://schemas.microsoft.com/office/drawing/2014/main" id="{7B530A2A-C6CF-7404-7797-D4FBFA234ED1}"/>
                </a:ext>
              </a:extLst>
            </p:cNvPr>
            <p:cNvSpPr/>
            <p:nvPr/>
          </p:nvSpPr>
          <p:spPr>
            <a:xfrm>
              <a:off x="3442815" y="3761727"/>
              <a:ext cx="93919" cy="30329"/>
            </a:xfrm>
            <a:custGeom>
              <a:avLst/>
              <a:gdLst>
                <a:gd name="connsiteX0" fmla="*/ 93920 w 93919"/>
                <a:gd name="connsiteY0" fmla="*/ 304 h 30329"/>
                <a:gd name="connsiteX1" fmla="*/ 0 w 93919"/>
                <a:gd name="connsiteY1" fmla="*/ 30330 h 303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3919" h="30329">
                  <a:moveTo>
                    <a:pt x="93920" y="304"/>
                  </a:moveTo>
                  <a:cubicBezTo>
                    <a:pt x="93920" y="304"/>
                    <a:pt x="49386" y="-5172"/>
                    <a:pt x="0" y="3033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547" name="Gráfico 14">
            <a:extLst>
              <a:ext uri="{FF2B5EF4-FFF2-40B4-BE49-F238E27FC236}">
                <a16:creationId xmlns:a16="http://schemas.microsoft.com/office/drawing/2014/main" id="{7437AAC6-D524-F561-641E-F36ABB39B56A}"/>
              </a:ext>
            </a:extLst>
          </p:cNvPr>
          <p:cNvGrpSpPr/>
          <p:nvPr/>
        </p:nvGrpSpPr>
        <p:grpSpPr>
          <a:xfrm>
            <a:off x="2682781" y="3612673"/>
            <a:ext cx="276147" cy="312841"/>
            <a:chOff x="2682781" y="3612673"/>
            <a:chExt cx="276147" cy="312841"/>
          </a:xfrm>
          <a:noFill/>
        </p:grpSpPr>
        <p:grpSp>
          <p:nvGrpSpPr>
            <p:cNvPr id="1548" name="Gráfico 14">
              <a:extLst>
                <a:ext uri="{FF2B5EF4-FFF2-40B4-BE49-F238E27FC236}">
                  <a16:creationId xmlns:a16="http://schemas.microsoft.com/office/drawing/2014/main" id="{CB694075-B237-FF1D-3DF1-AC078F6D2CF3}"/>
                </a:ext>
              </a:extLst>
            </p:cNvPr>
            <p:cNvGrpSpPr/>
            <p:nvPr/>
          </p:nvGrpSpPr>
          <p:grpSpPr>
            <a:xfrm>
              <a:off x="2789556" y="3717546"/>
              <a:ext cx="62597" cy="103047"/>
              <a:chOff x="2789556" y="3717546"/>
              <a:chExt cx="62597" cy="103047"/>
            </a:xfrm>
            <a:noFill/>
          </p:grpSpPr>
          <p:grpSp>
            <p:nvGrpSpPr>
              <p:cNvPr id="1549" name="Gráfico 14">
                <a:extLst>
                  <a:ext uri="{FF2B5EF4-FFF2-40B4-BE49-F238E27FC236}">
                    <a16:creationId xmlns:a16="http://schemas.microsoft.com/office/drawing/2014/main" id="{EFA38AC4-4146-4165-9E8D-328F5A1DC7E9}"/>
                  </a:ext>
                </a:extLst>
              </p:cNvPr>
              <p:cNvGrpSpPr/>
              <p:nvPr/>
            </p:nvGrpSpPr>
            <p:grpSpPr>
              <a:xfrm>
                <a:off x="2789556" y="3733159"/>
                <a:ext cx="62597" cy="71869"/>
                <a:chOff x="2789556" y="3733159"/>
                <a:chExt cx="62597" cy="71869"/>
              </a:xfrm>
              <a:noFill/>
            </p:grpSpPr>
            <p:sp>
              <p:nvSpPr>
                <p:cNvPr id="1550" name="Forma livre: Forma 1549">
                  <a:extLst>
                    <a:ext uri="{FF2B5EF4-FFF2-40B4-BE49-F238E27FC236}">
                      <a16:creationId xmlns:a16="http://schemas.microsoft.com/office/drawing/2014/main" id="{DE6BC12F-AF3B-6A06-D25F-CC8E48BF5432}"/>
                    </a:ext>
                  </a:extLst>
                </p:cNvPr>
                <p:cNvSpPr/>
                <p:nvPr/>
              </p:nvSpPr>
              <p:spPr>
                <a:xfrm>
                  <a:off x="2789556" y="3733159"/>
                  <a:ext cx="62597" cy="35934"/>
                </a:xfrm>
                <a:custGeom>
                  <a:avLst/>
                  <a:gdLst>
                    <a:gd name="connsiteX0" fmla="*/ 0 w 62597"/>
                    <a:gd name="connsiteY0" fmla="*/ 0 h 35934"/>
                    <a:gd name="connsiteX1" fmla="*/ 44198 w 62597"/>
                    <a:gd name="connsiteY1" fmla="*/ 0 h 35934"/>
                    <a:gd name="connsiteX2" fmla="*/ 62597 w 62597"/>
                    <a:gd name="connsiteY2" fmla="*/ 17967 h 35934"/>
                    <a:gd name="connsiteX3" fmla="*/ 44198 w 62597"/>
                    <a:gd name="connsiteY3" fmla="*/ 35935 h 35934"/>
                    <a:gd name="connsiteX4" fmla="*/ 16046 w 62597"/>
                    <a:gd name="connsiteY4" fmla="*/ 35935 h 3593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62597" h="35934">
                      <a:moveTo>
                        <a:pt x="0" y="0"/>
                      </a:moveTo>
                      <a:lnTo>
                        <a:pt x="44198" y="0"/>
                      </a:lnTo>
                      <a:cubicBezTo>
                        <a:pt x="54334" y="0"/>
                        <a:pt x="62597" y="8119"/>
                        <a:pt x="62597" y="17967"/>
                      </a:cubicBezTo>
                      <a:cubicBezTo>
                        <a:pt x="62597" y="27816"/>
                        <a:pt x="54286" y="35935"/>
                        <a:pt x="44198" y="35935"/>
                      </a:cubicBezTo>
                      <a:lnTo>
                        <a:pt x="16046" y="35935"/>
                      </a:ln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551" name="Forma livre: Forma 1550">
                  <a:extLst>
                    <a:ext uri="{FF2B5EF4-FFF2-40B4-BE49-F238E27FC236}">
                      <a16:creationId xmlns:a16="http://schemas.microsoft.com/office/drawing/2014/main" id="{0C4C7990-EBE4-5F8F-9B4F-A455A914DA8F}"/>
                    </a:ext>
                  </a:extLst>
                </p:cNvPr>
                <p:cNvSpPr/>
                <p:nvPr/>
              </p:nvSpPr>
              <p:spPr>
                <a:xfrm>
                  <a:off x="2789556" y="3769094"/>
                  <a:ext cx="62597" cy="35934"/>
                </a:xfrm>
                <a:custGeom>
                  <a:avLst/>
                  <a:gdLst>
                    <a:gd name="connsiteX0" fmla="*/ 44198 w 62597"/>
                    <a:gd name="connsiteY0" fmla="*/ 0 h 35934"/>
                    <a:gd name="connsiteX1" fmla="*/ 62597 w 62597"/>
                    <a:gd name="connsiteY1" fmla="*/ 17967 h 35934"/>
                    <a:gd name="connsiteX2" fmla="*/ 44198 w 62597"/>
                    <a:gd name="connsiteY2" fmla="*/ 35935 h 35934"/>
                    <a:gd name="connsiteX3" fmla="*/ 0 w 62597"/>
                    <a:gd name="connsiteY3" fmla="*/ 35935 h 3593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62597" h="35934">
                      <a:moveTo>
                        <a:pt x="44198" y="0"/>
                      </a:moveTo>
                      <a:cubicBezTo>
                        <a:pt x="54334" y="0"/>
                        <a:pt x="62597" y="8071"/>
                        <a:pt x="62597" y="17967"/>
                      </a:cubicBezTo>
                      <a:cubicBezTo>
                        <a:pt x="62597" y="27864"/>
                        <a:pt x="54286" y="35935"/>
                        <a:pt x="44198" y="35935"/>
                      </a:cubicBezTo>
                      <a:lnTo>
                        <a:pt x="0" y="35935"/>
                      </a:ln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1552" name="Forma livre: Forma 1551">
                <a:extLst>
                  <a:ext uri="{FF2B5EF4-FFF2-40B4-BE49-F238E27FC236}">
                    <a16:creationId xmlns:a16="http://schemas.microsoft.com/office/drawing/2014/main" id="{D9082569-68AA-FB1E-D482-77ECEC3618E6}"/>
                  </a:ext>
                </a:extLst>
              </p:cNvPr>
              <p:cNvSpPr/>
              <p:nvPr/>
            </p:nvSpPr>
            <p:spPr>
              <a:xfrm>
                <a:off x="2804881" y="3717546"/>
                <a:ext cx="4804" cy="103047"/>
              </a:xfrm>
              <a:custGeom>
                <a:avLst/>
                <a:gdLst>
                  <a:gd name="connsiteX0" fmla="*/ 0 w 4804"/>
                  <a:gd name="connsiteY0" fmla="*/ 0 h 103047"/>
                  <a:gd name="connsiteX1" fmla="*/ 0 w 4804"/>
                  <a:gd name="connsiteY1" fmla="*/ 103048 h 1030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804" h="103047">
                    <a:moveTo>
                      <a:pt x="0" y="0"/>
                    </a:moveTo>
                    <a:lnTo>
                      <a:pt x="0" y="103048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1553" name="Gráfico 14">
                <a:extLst>
                  <a:ext uri="{FF2B5EF4-FFF2-40B4-BE49-F238E27FC236}">
                    <a16:creationId xmlns:a16="http://schemas.microsoft.com/office/drawing/2014/main" id="{BC1B8113-D2D3-9AB5-DCD6-51AD36433C2D}"/>
                  </a:ext>
                </a:extLst>
              </p:cNvPr>
              <p:cNvGrpSpPr/>
              <p:nvPr/>
            </p:nvGrpSpPr>
            <p:grpSpPr>
              <a:xfrm>
                <a:off x="2829190" y="3717546"/>
                <a:ext cx="4804" cy="103047"/>
                <a:chOff x="2829190" y="3717546"/>
                <a:chExt cx="4804" cy="103047"/>
              </a:xfrm>
            </p:grpSpPr>
            <p:sp>
              <p:nvSpPr>
                <p:cNvPr id="1554" name="Forma livre: Forma 1553">
                  <a:extLst>
                    <a:ext uri="{FF2B5EF4-FFF2-40B4-BE49-F238E27FC236}">
                      <a16:creationId xmlns:a16="http://schemas.microsoft.com/office/drawing/2014/main" id="{B2A874CD-C967-A8EB-5B66-70B031EF8606}"/>
                    </a:ext>
                  </a:extLst>
                </p:cNvPr>
                <p:cNvSpPr/>
                <p:nvPr/>
              </p:nvSpPr>
              <p:spPr>
                <a:xfrm>
                  <a:off x="2829190" y="3717546"/>
                  <a:ext cx="4804" cy="15325"/>
                </a:xfrm>
                <a:custGeom>
                  <a:avLst/>
                  <a:gdLst>
                    <a:gd name="connsiteX0" fmla="*/ 0 w 4804"/>
                    <a:gd name="connsiteY0" fmla="*/ 0 h 15325"/>
                    <a:gd name="connsiteX1" fmla="*/ 0 w 4804"/>
                    <a:gd name="connsiteY1" fmla="*/ 15325 h 1532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804" h="15325">
                      <a:moveTo>
                        <a:pt x="0" y="0"/>
                      </a:moveTo>
                      <a:lnTo>
                        <a:pt x="0" y="15325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555" name="Forma livre: Forma 1554">
                  <a:extLst>
                    <a:ext uri="{FF2B5EF4-FFF2-40B4-BE49-F238E27FC236}">
                      <a16:creationId xmlns:a16="http://schemas.microsoft.com/office/drawing/2014/main" id="{A858A2E2-F957-5ADF-D5CF-E99B59ADD856}"/>
                    </a:ext>
                  </a:extLst>
                </p:cNvPr>
                <p:cNvSpPr/>
                <p:nvPr/>
              </p:nvSpPr>
              <p:spPr>
                <a:xfrm>
                  <a:off x="2829190" y="3805317"/>
                  <a:ext cx="4804" cy="15276"/>
                </a:xfrm>
                <a:custGeom>
                  <a:avLst/>
                  <a:gdLst>
                    <a:gd name="connsiteX0" fmla="*/ 0 w 4804"/>
                    <a:gd name="connsiteY0" fmla="*/ 0 h 15276"/>
                    <a:gd name="connsiteX1" fmla="*/ 0 w 4804"/>
                    <a:gd name="connsiteY1" fmla="*/ 15277 h 1527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804" h="15276">
                      <a:moveTo>
                        <a:pt x="0" y="0"/>
                      </a:moveTo>
                      <a:lnTo>
                        <a:pt x="0" y="15277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grpSp>
          <p:nvGrpSpPr>
            <p:cNvPr id="1556" name="Gráfico 14">
              <a:extLst>
                <a:ext uri="{FF2B5EF4-FFF2-40B4-BE49-F238E27FC236}">
                  <a16:creationId xmlns:a16="http://schemas.microsoft.com/office/drawing/2014/main" id="{3E0FA6BB-96C5-EA0D-0630-640CF87FF311}"/>
                </a:ext>
              </a:extLst>
            </p:cNvPr>
            <p:cNvGrpSpPr/>
            <p:nvPr/>
          </p:nvGrpSpPr>
          <p:grpSpPr>
            <a:xfrm>
              <a:off x="2682781" y="3612673"/>
              <a:ext cx="276147" cy="312841"/>
              <a:chOff x="2682781" y="3612673"/>
              <a:chExt cx="276147" cy="312841"/>
            </a:xfrm>
            <a:noFill/>
          </p:grpSpPr>
          <p:grpSp>
            <p:nvGrpSpPr>
              <p:cNvPr id="1557" name="Gráfico 14">
                <a:extLst>
                  <a:ext uri="{FF2B5EF4-FFF2-40B4-BE49-F238E27FC236}">
                    <a16:creationId xmlns:a16="http://schemas.microsoft.com/office/drawing/2014/main" id="{89B8EFC7-E2D9-9986-A570-937142A5A5F7}"/>
                  </a:ext>
                </a:extLst>
              </p:cNvPr>
              <p:cNvGrpSpPr/>
              <p:nvPr/>
            </p:nvGrpSpPr>
            <p:grpSpPr>
              <a:xfrm>
                <a:off x="2739401" y="3653892"/>
                <a:ext cx="162906" cy="230403"/>
                <a:chOff x="2739401" y="3653892"/>
                <a:chExt cx="162906" cy="230403"/>
              </a:xfrm>
            </p:grpSpPr>
            <p:grpSp>
              <p:nvGrpSpPr>
                <p:cNvPr id="1558" name="Gráfico 14">
                  <a:extLst>
                    <a:ext uri="{FF2B5EF4-FFF2-40B4-BE49-F238E27FC236}">
                      <a16:creationId xmlns:a16="http://schemas.microsoft.com/office/drawing/2014/main" id="{2A2BF1B5-8F72-6F90-CB22-6A656377AE2F}"/>
                    </a:ext>
                  </a:extLst>
                </p:cNvPr>
                <p:cNvGrpSpPr/>
                <p:nvPr/>
              </p:nvGrpSpPr>
              <p:grpSpPr>
                <a:xfrm>
                  <a:off x="2739401" y="3653892"/>
                  <a:ext cx="162906" cy="26182"/>
                  <a:chOff x="2739401" y="3653892"/>
                  <a:chExt cx="162906" cy="26182"/>
                </a:xfrm>
              </p:grpSpPr>
              <p:sp>
                <p:nvSpPr>
                  <p:cNvPr id="1559" name="Forma livre: Forma 1558">
                    <a:extLst>
                      <a:ext uri="{FF2B5EF4-FFF2-40B4-BE49-F238E27FC236}">
                        <a16:creationId xmlns:a16="http://schemas.microsoft.com/office/drawing/2014/main" id="{33B23BCC-23AF-FF0E-179D-0919974B26D4}"/>
                      </a:ext>
                    </a:extLst>
                  </p:cNvPr>
                  <p:cNvSpPr/>
                  <p:nvPr/>
                </p:nvSpPr>
                <p:spPr>
                  <a:xfrm>
                    <a:off x="2857053" y="3653892"/>
                    <a:ext cx="45254" cy="26182"/>
                  </a:xfrm>
                  <a:custGeom>
                    <a:avLst/>
                    <a:gdLst>
                      <a:gd name="connsiteX0" fmla="*/ 0 w 45254"/>
                      <a:gd name="connsiteY0" fmla="*/ 0 h 26182"/>
                      <a:gd name="connsiteX1" fmla="*/ 45254 w 45254"/>
                      <a:gd name="connsiteY1" fmla="*/ 26182 h 2618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45254" h="26182">
                        <a:moveTo>
                          <a:pt x="0" y="0"/>
                        </a:moveTo>
                        <a:lnTo>
                          <a:pt x="45254" y="26182"/>
                        </a:lnTo>
                      </a:path>
                    </a:pathLst>
                  </a:custGeom>
                  <a:ln w="6350" cap="flat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1560" name="Forma livre: Forma 1559">
                    <a:extLst>
                      <a:ext uri="{FF2B5EF4-FFF2-40B4-BE49-F238E27FC236}">
                        <a16:creationId xmlns:a16="http://schemas.microsoft.com/office/drawing/2014/main" id="{EEE604A2-FC69-C93A-7E73-7831069C5645}"/>
                      </a:ext>
                    </a:extLst>
                  </p:cNvPr>
                  <p:cNvSpPr/>
                  <p:nvPr/>
                </p:nvSpPr>
                <p:spPr>
                  <a:xfrm>
                    <a:off x="2739401" y="3653892"/>
                    <a:ext cx="45302" cy="26182"/>
                  </a:xfrm>
                  <a:custGeom>
                    <a:avLst/>
                    <a:gdLst>
                      <a:gd name="connsiteX0" fmla="*/ 45302 w 45302"/>
                      <a:gd name="connsiteY0" fmla="*/ 0 h 26182"/>
                      <a:gd name="connsiteX1" fmla="*/ 0 w 45302"/>
                      <a:gd name="connsiteY1" fmla="*/ 26182 h 2618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45302" h="26182">
                        <a:moveTo>
                          <a:pt x="45302" y="0"/>
                        </a:moveTo>
                        <a:lnTo>
                          <a:pt x="0" y="26182"/>
                        </a:lnTo>
                      </a:path>
                    </a:pathLst>
                  </a:custGeom>
                  <a:ln w="6350" cap="flat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  <p:grpSp>
              <p:nvGrpSpPr>
                <p:cNvPr id="1561" name="Gráfico 14">
                  <a:extLst>
                    <a:ext uri="{FF2B5EF4-FFF2-40B4-BE49-F238E27FC236}">
                      <a16:creationId xmlns:a16="http://schemas.microsoft.com/office/drawing/2014/main" id="{295E3387-9B0A-3F90-6D71-64DADD0940E8}"/>
                    </a:ext>
                  </a:extLst>
                </p:cNvPr>
                <p:cNvGrpSpPr/>
                <p:nvPr/>
              </p:nvGrpSpPr>
              <p:grpSpPr>
                <a:xfrm>
                  <a:off x="2739401" y="3858114"/>
                  <a:ext cx="162906" cy="26182"/>
                  <a:chOff x="2739401" y="3858114"/>
                  <a:chExt cx="162906" cy="26182"/>
                </a:xfrm>
              </p:grpSpPr>
              <p:sp>
                <p:nvSpPr>
                  <p:cNvPr id="1562" name="Forma livre: Forma 1561">
                    <a:extLst>
                      <a:ext uri="{FF2B5EF4-FFF2-40B4-BE49-F238E27FC236}">
                        <a16:creationId xmlns:a16="http://schemas.microsoft.com/office/drawing/2014/main" id="{CC44391C-BACF-FDC5-AC0F-7F9D084A0370}"/>
                      </a:ext>
                    </a:extLst>
                  </p:cNvPr>
                  <p:cNvSpPr/>
                  <p:nvPr/>
                </p:nvSpPr>
                <p:spPr>
                  <a:xfrm>
                    <a:off x="2857053" y="3858114"/>
                    <a:ext cx="45254" cy="26182"/>
                  </a:xfrm>
                  <a:custGeom>
                    <a:avLst/>
                    <a:gdLst>
                      <a:gd name="connsiteX0" fmla="*/ 0 w 45254"/>
                      <a:gd name="connsiteY0" fmla="*/ 26182 h 26182"/>
                      <a:gd name="connsiteX1" fmla="*/ 45254 w 45254"/>
                      <a:gd name="connsiteY1" fmla="*/ 0 h 2618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45254" h="26182">
                        <a:moveTo>
                          <a:pt x="0" y="26182"/>
                        </a:moveTo>
                        <a:lnTo>
                          <a:pt x="45254" y="0"/>
                        </a:lnTo>
                      </a:path>
                    </a:pathLst>
                  </a:custGeom>
                  <a:ln w="6350" cap="flat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1563" name="Forma livre: Forma 1562">
                    <a:extLst>
                      <a:ext uri="{FF2B5EF4-FFF2-40B4-BE49-F238E27FC236}">
                        <a16:creationId xmlns:a16="http://schemas.microsoft.com/office/drawing/2014/main" id="{7541B5E9-1CBC-3D23-495E-1835E800874A}"/>
                      </a:ext>
                    </a:extLst>
                  </p:cNvPr>
                  <p:cNvSpPr/>
                  <p:nvPr/>
                </p:nvSpPr>
                <p:spPr>
                  <a:xfrm>
                    <a:off x="2739401" y="3858114"/>
                    <a:ext cx="45302" cy="26182"/>
                  </a:xfrm>
                  <a:custGeom>
                    <a:avLst/>
                    <a:gdLst>
                      <a:gd name="connsiteX0" fmla="*/ 45302 w 45302"/>
                      <a:gd name="connsiteY0" fmla="*/ 26182 h 26182"/>
                      <a:gd name="connsiteX1" fmla="*/ 0 w 45302"/>
                      <a:gd name="connsiteY1" fmla="*/ 0 h 2618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45302" h="26182">
                        <a:moveTo>
                          <a:pt x="45302" y="26182"/>
                        </a:moveTo>
                        <a:lnTo>
                          <a:pt x="0" y="0"/>
                        </a:lnTo>
                      </a:path>
                    </a:pathLst>
                  </a:custGeom>
                  <a:ln w="6350" cap="flat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</p:grpSp>
          <p:grpSp>
            <p:nvGrpSpPr>
              <p:cNvPr id="1564" name="Gráfico 14">
                <a:extLst>
                  <a:ext uri="{FF2B5EF4-FFF2-40B4-BE49-F238E27FC236}">
                    <a16:creationId xmlns:a16="http://schemas.microsoft.com/office/drawing/2014/main" id="{91BC0001-B868-3DB3-ABA9-59162D412B6A}"/>
                  </a:ext>
                </a:extLst>
              </p:cNvPr>
              <p:cNvGrpSpPr/>
              <p:nvPr/>
            </p:nvGrpSpPr>
            <p:grpSpPr>
              <a:xfrm>
                <a:off x="2800798" y="3612673"/>
                <a:ext cx="40114" cy="312841"/>
                <a:chOff x="2800798" y="3612673"/>
                <a:chExt cx="40114" cy="312841"/>
              </a:xfrm>
              <a:noFill/>
            </p:grpSpPr>
            <p:grpSp>
              <p:nvGrpSpPr>
                <p:cNvPr id="1565" name="Gráfico 14">
                  <a:extLst>
                    <a:ext uri="{FF2B5EF4-FFF2-40B4-BE49-F238E27FC236}">
                      <a16:creationId xmlns:a16="http://schemas.microsoft.com/office/drawing/2014/main" id="{8FB58250-5F7B-5A0F-1977-291742C023C2}"/>
                    </a:ext>
                  </a:extLst>
                </p:cNvPr>
                <p:cNvGrpSpPr/>
                <p:nvPr/>
              </p:nvGrpSpPr>
              <p:grpSpPr>
                <a:xfrm>
                  <a:off x="2800846" y="3612673"/>
                  <a:ext cx="40066" cy="72925"/>
                  <a:chOff x="2800846" y="3612673"/>
                  <a:chExt cx="40066" cy="72925"/>
                </a:xfrm>
                <a:noFill/>
              </p:grpSpPr>
              <p:sp>
                <p:nvSpPr>
                  <p:cNvPr id="1566" name="Forma livre: Forma 1565">
                    <a:extLst>
                      <a:ext uri="{FF2B5EF4-FFF2-40B4-BE49-F238E27FC236}">
                        <a16:creationId xmlns:a16="http://schemas.microsoft.com/office/drawing/2014/main" id="{A1C98EC1-224D-0289-4D0F-0E8CE3BF51FF}"/>
                      </a:ext>
                    </a:extLst>
                  </p:cNvPr>
                  <p:cNvSpPr/>
                  <p:nvPr/>
                </p:nvSpPr>
                <p:spPr>
                  <a:xfrm>
                    <a:off x="2800846" y="3612673"/>
                    <a:ext cx="40066" cy="40066"/>
                  </a:xfrm>
                  <a:custGeom>
                    <a:avLst/>
                    <a:gdLst>
                      <a:gd name="connsiteX0" fmla="*/ 40066 w 40066"/>
                      <a:gd name="connsiteY0" fmla="*/ 20033 h 40066"/>
                      <a:gd name="connsiteX1" fmla="*/ 20033 w 40066"/>
                      <a:gd name="connsiteY1" fmla="*/ 40066 h 40066"/>
                      <a:gd name="connsiteX2" fmla="*/ 0 w 40066"/>
                      <a:gd name="connsiteY2" fmla="*/ 20033 h 40066"/>
                      <a:gd name="connsiteX3" fmla="*/ 20033 w 40066"/>
                      <a:gd name="connsiteY3" fmla="*/ 0 h 40066"/>
                      <a:gd name="connsiteX4" fmla="*/ 40066 w 40066"/>
                      <a:gd name="connsiteY4" fmla="*/ 20033 h 4006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40066" h="40066">
                        <a:moveTo>
                          <a:pt x="40066" y="20033"/>
                        </a:moveTo>
                        <a:cubicBezTo>
                          <a:pt x="40066" y="31082"/>
                          <a:pt x="31082" y="40066"/>
                          <a:pt x="20033" y="40066"/>
                        </a:cubicBezTo>
                        <a:cubicBezTo>
                          <a:pt x="8984" y="40066"/>
                          <a:pt x="0" y="31082"/>
                          <a:pt x="0" y="20033"/>
                        </a:cubicBezTo>
                        <a:cubicBezTo>
                          <a:pt x="0" y="8984"/>
                          <a:pt x="8984" y="0"/>
                          <a:pt x="20033" y="0"/>
                        </a:cubicBezTo>
                        <a:cubicBezTo>
                          <a:pt x="31082" y="0"/>
                          <a:pt x="40066" y="8984"/>
                          <a:pt x="40066" y="20033"/>
                        </a:cubicBezTo>
                        <a:close/>
                      </a:path>
                    </a:pathLst>
                  </a:custGeom>
                  <a:noFill/>
                  <a:ln w="6350" cap="flat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1567" name="Forma livre: Forma 1566">
                    <a:extLst>
                      <a:ext uri="{FF2B5EF4-FFF2-40B4-BE49-F238E27FC236}">
                        <a16:creationId xmlns:a16="http://schemas.microsoft.com/office/drawing/2014/main" id="{FFB8E709-63CE-0EA5-251C-956D7639E6CD}"/>
                      </a:ext>
                    </a:extLst>
                  </p:cNvPr>
                  <p:cNvSpPr/>
                  <p:nvPr/>
                </p:nvSpPr>
                <p:spPr>
                  <a:xfrm>
                    <a:off x="2820879" y="3654997"/>
                    <a:ext cx="4804" cy="30601"/>
                  </a:xfrm>
                  <a:custGeom>
                    <a:avLst/>
                    <a:gdLst>
                      <a:gd name="connsiteX0" fmla="*/ 0 w 4804"/>
                      <a:gd name="connsiteY0" fmla="*/ 0 h 30601"/>
                      <a:gd name="connsiteX1" fmla="*/ 0 w 4804"/>
                      <a:gd name="connsiteY1" fmla="*/ 30602 h 3060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4804" h="30601">
                        <a:moveTo>
                          <a:pt x="0" y="0"/>
                        </a:moveTo>
                        <a:lnTo>
                          <a:pt x="0" y="30602"/>
                        </a:lnTo>
                      </a:path>
                    </a:pathLst>
                  </a:custGeom>
                  <a:ln w="6350" cap="flat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  <p:grpSp>
              <p:nvGrpSpPr>
                <p:cNvPr id="1568" name="Gráfico 14">
                  <a:extLst>
                    <a:ext uri="{FF2B5EF4-FFF2-40B4-BE49-F238E27FC236}">
                      <a16:creationId xmlns:a16="http://schemas.microsoft.com/office/drawing/2014/main" id="{37046169-A5E9-CA89-4782-399E5793EE20}"/>
                    </a:ext>
                  </a:extLst>
                </p:cNvPr>
                <p:cNvGrpSpPr/>
                <p:nvPr/>
              </p:nvGrpSpPr>
              <p:grpSpPr>
                <a:xfrm>
                  <a:off x="2800798" y="3852589"/>
                  <a:ext cx="40066" cy="72925"/>
                  <a:chOff x="2800798" y="3852589"/>
                  <a:chExt cx="40066" cy="72925"/>
                </a:xfrm>
                <a:noFill/>
              </p:grpSpPr>
              <p:sp>
                <p:nvSpPr>
                  <p:cNvPr id="1569" name="Forma livre: Forma 1568">
                    <a:extLst>
                      <a:ext uri="{FF2B5EF4-FFF2-40B4-BE49-F238E27FC236}">
                        <a16:creationId xmlns:a16="http://schemas.microsoft.com/office/drawing/2014/main" id="{9BE2C1F1-6906-796A-0475-32FD88E9C278}"/>
                      </a:ext>
                    </a:extLst>
                  </p:cNvPr>
                  <p:cNvSpPr/>
                  <p:nvPr/>
                </p:nvSpPr>
                <p:spPr>
                  <a:xfrm>
                    <a:off x="2800798" y="3885449"/>
                    <a:ext cx="40066" cy="40066"/>
                  </a:xfrm>
                  <a:custGeom>
                    <a:avLst/>
                    <a:gdLst>
                      <a:gd name="connsiteX0" fmla="*/ 0 w 40066"/>
                      <a:gd name="connsiteY0" fmla="*/ 20033 h 40066"/>
                      <a:gd name="connsiteX1" fmla="*/ 20033 w 40066"/>
                      <a:gd name="connsiteY1" fmla="*/ 0 h 40066"/>
                      <a:gd name="connsiteX2" fmla="*/ 40066 w 40066"/>
                      <a:gd name="connsiteY2" fmla="*/ 20033 h 40066"/>
                      <a:gd name="connsiteX3" fmla="*/ 20033 w 40066"/>
                      <a:gd name="connsiteY3" fmla="*/ 40066 h 40066"/>
                      <a:gd name="connsiteX4" fmla="*/ 0 w 40066"/>
                      <a:gd name="connsiteY4" fmla="*/ 20033 h 4006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40066" h="40066">
                        <a:moveTo>
                          <a:pt x="0" y="20033"/>
                        </a:moveTo>
                        <a:cubicBezTo>
                          <a:pt x="0" y="8936"/>
                          <a:pt x="8984" y="0"/>
                          <a:pt x="20033" y="0"/>
                        </a:cubicBezTo>
                        <a:cubicBezTo>
                          <a:pt x="31082" y="0"/>
                          <a:pt x="40066" y="8984"/>
                          <a:pt x="40066" y="20033"/>
                        </a:cubicBezTo>
                        <a:cubicBezTo>
                          <a:pt x="40066" y="31082"/>
                          <a:pt x="31082" y="40066"/>
                          <a:pt x="20033" y="40066"/>
                        </a:cubicBezTo>
                        <a:cubicBezTo>
                          <a:pt x="8984" y="40066"/>
                          <a:pt x="0" y="31082"/>
                          <a:pt x="0" y="20033"/>
                        </a:cubicBezTo>
                        <a:close/>
                      </a:path>
                    </a:pathLst>
                  </a:custGeom>
                  <a:noFill/>
                  <a:ln w="6350" cap="flat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1570" name="Forma livre: Forma 1569">
                    <a:extLst>
                      <a:ext uri="{FF2B5EF4-FFF2-40B4-BE49-F238E27FC236}">
                        <a16:creationId xmlns:a16="http://schemas.microsoft.com/office/drawing/2014/main" id="{84FE25F0-6E7C-FC7F-FBB2-76CA2D4D9FE9}"/>
                      </a:ext>
                    </a:extLst>
                  </p:cNvPr>
                  <p:cNvSpPr/>
                  <p:nvPr/>
                </p:nvSpPr>
                <p:spPr>
                  <a:xfrm>
                    <a:off x="2820879" y="3852589"/>
                    <a:ext cx="4804" cy="30601"/>
                  </a:xfrm>
                  <a:custGeom>
                    <a:avLst/>
                    <a:gdLst>
                      <a:gd name="connsiteX0" fmla="*/ 0 w 4804"/>
                      <a:gd name="connsiteY0" fmla="*/ 30602 h 30601"/>
                      <a:gd name="connsiteX1" fmla="*/ 0 w 4804"/>
                      <a:gd name="connsiteY1" fmla="*/ 0 h 3060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4804" h="30601">
                        <a:moveTo>
                          <a:pt x="0" y="30602"/>
                        </a:moveTo>
                        <a:lnTo>
                          <a:pt x="0" y="0"/>
                        </a:lnTo>
                      </a:path>
                    </a:pathLst>
                  </a:custGeom>
                  <a:ln w="6350" cap="flat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</p:grpSp>
          <p:grpSp>
            <p:nvGrpSpPr>
              <p:cNvPr id="1571" name="Gráfico 14">
                <a:extLst>
                  <a:ext uri="{FF2B5EF4-FFF2-40B4-BE49-F238E27FC236}">
                    <a16:creationId xmlns:a16="http://schemas.microsoft.com/office/drawing/2014/main" id="{80D9CEBC-5000-A849-6150-ED771014594B}"/>
                  </a:ext>
                </a:extLst>
              </p:cNvPr>
              <p:cNvGrpSpPr/>
              <p:nvPr/>
            </p:nvGrpSpPr>
            <p:grpSpPr>
              <a:xfrm>
                <a:off x="2682781" y="3680526"/>
                <a:ext cx="276147" cy="177039"/>
                <a:chOff x="2682781" y="3680526"/>
                <a:chExt cx="276147" cy="177039"/>
              </a:xfrm>
              <a:noFill/>
            </p:grpSpPr>
            <p:grpSp>
              <p:nvGrpSpPr>
                <p:cNvPr id="1572" name="Gráfico 14">
                  <a:extLst>
                    <a:ext uri="{FF2B5EF4-FFF2-40B4-BE49-F238E27FC236}">
                      <a16:creationId xmlns:a16="http://schemas.microsoft.com/office/drawing/2014/main" id="{E3952BDA-99EB-D7B6-4E6D-5A0742D771D3}"/>
                    </a:ext>
                  </a:extLst>
                </p:cNvPr>
                <p:cNvGrpSpPr/>
                <p:nvPr/>
              </p:nvGrpSpPr>
              <p:grpSpPr>
                <a:xfrm>
                  <a:off x="2682781" y="3680526"/>
                  <a:ext cx="276147" cy="46676"/>
                  <a:chOff x="2682781" y="3680526"/>
                  <a:chExt cx="276147" cy="46676"/>
                </a:xfrm>
                <a:noFill/>
              </p:grpSpPr>
              <p:grpSp>
                <p:nvGrpSpPr>
                  <p:cNvPr id="1573" name="Gráfico 14">
                    <a:extLst>
                      <a:ext uri="{FF2B5EF4-FFF2-40B4-BE49-F238E27FC236}">
                        <a16:creationId xmlns:a16="http://schemas.microsoft.com/office/drawing/2014/main" id="{9337FF60-63BE-7B39-53BD-7CDBABC40D4A}"/>
                      </a:ext>
                    </a:extLst>
                  </p:cNvPr>
                  <p:cNvGrpSpPr/>
                  <p:nvPr/>
                </p:nvGrpSpPr>
                <p:grpSpPr>
                  <a:xfrm>
                    <a:off x="2893084" y="3680526"/>
                    <a:ext cx="65844" cy="46676"/>
                    <a:chOff x="2893084" y="3680526"/>
                    <a:chExt cx="65844" cy="46676"/>
                  </a:xfrm>
                  <a:noFill/>
                </p:grpSpPr>
                <p:sp>
                  <p:nvSpPr>
                    <p:cNvPr id="1574" name="Forma livre: Forma 1573">
                      <a:extLst>
                        <a:ext uri="{FF2B5EF4-FFF2-40B4-BE49-F238E27FC236}">
                          <a16:creationId xmlns:a16="http://schemas.microsoft.com/office/drawing/2014/main" id="{0213158A-43B7-85CF-063D-E0FBE8C6EBDD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2918805" y="3680526"/>
                      <a:ext cx="40123" cy="40171"/>
                    </a:xfrm>
                    <a:custGeom>
                      <a:avLst/>
                      <a:gdLst>
                        <a:gd name="connsiteX0" fmla="*/ 30102 w 40123"/>
                        <a:gd name="connsiteY0" fmla="*/ 37452 h 40171"/>
                        <a:gd name="connsiteX1" fmla="*/ 2719 w 40123"/>
                        <a:gd name="connsiteY1" fmla="*/ 30150 h 40171"/>
                        <a:gd name="connsiteX2" fmla="*/ 10021 w 40123"/>
                        <a:gd name="connsiteY2" fmla="*/ 2719 h 40171"/>
                        <a:gd name="connsiteX3" fmla="*/ 37404 w 40123"/>
                        <a:gd name="connsiteY3" fmla="*/ 10021 h 40171"/>
                        <a:gd name="connsiteX4" fmla="*/ 30102 w 40123"/>
                        <a:gd name="connsiteY4" fmla="*/ 37404 h 40171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40123" h="40171">
                          <a:moveTo>
                            <a:pt x="30102" y="37452"/>
                          </a:moveTo>
                          <a:cubicBezTo>
                            <a:pt x="20542" y="43025"/>
                            <a:pt x="8244" y="39758"/>
                            <a:pt x="2719" y="30150"/>
                          </a:cubicBezTo>
                          <a:cubicBezTo>
                            <a:pt x="-2854" y="20590"/>
                            <a:pt x="413" y="8292"/>
                            <a:pt x="10021" y="2719"/>
                          </a:cubicBezTo>
                          <a:cubicBezTo>
                            <a:pt x="19581" y="-2854"/>
                            <a:pt x="31880" y="413"/>
                            <a:pt x="37404" y="10021"/>
                          </a:cubicBezTo>
                          <a:cubicBezTo>
                            <a:pt x="42977" y="19581"/>
                            <a:pt x="39710" y="31880"/>
                            <a:pt x="30102" y="37404"/>
                          </a:cubicBezTo>
                          <a:close/>
                        </a:path>
                      </a:pathLst>
                    </a:custGeom>
                    <a:noFill/>
                    <a:ln w="6350" cap="flat">
                      <a:solidFill>
                        <a:schemeClr val="accent2"/>
                      </a:solidFill>
                      <a:prstDash val="solid"/>
                      <a:round/>
                    </a:ln>
                  </p:spPr>
                  <p:txBody>
                    <a:bodyPr rtlCol="0" anchor="ctr"/>
                    <a:lstStyle/>
                    <a:p>
                      <a:endParaRPr lang="pt-PT"/>
                    </a:p>
                  </p:txBody>
                </p:sp>
                <p:sp>
                  <p:nvSpPr>
                    <p:cNvPr id="1575" name="Forma livre: Forma 1574">
                      <a:extLst>
                        <a:ext uri="{FF2B5EF4-FFF2-40B4-BE49-F238E27FC236}">
                          <a16:creationId xmlns:a16="http://schemas.microsoft.com/office/drawing/2014/main" id="{A33098FD-A5A5-DA37-EEF5-E4FFDE4480E8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2893084" y="3711829"/>
                      <a:ext cx="26518" cy="15373"/>
                    </a:xfrm>
                    <a:custGeom>
                      <a:avLst/>
                      <a:gdLst>
                        <a:gd name="connsiteX0" fmla="*/ 26519 w 26518"/>
                        <a:gd name="connsiteY0" fmla="*/ 0 h 15373"/>
                        <a:gd name="connsiteX1" fmla="*/ 0 w 26518"/>
                        <a:gd name="connsiteY1" fmla="*/ 15373 h 1537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26518" h="15373">
                          <a:moveTo>
                            <a:pt x="26519" y="0"/>
                          </a:moveTo>
                          <a:lnTo>
                            <a:pt x="0" y="15373"/>
                          </a:lnTo>
                        </a:path>
                      </a:pathLst>
                    </a:custGeom>
                    <a:ln w="6350" cap="flat">
                      <a:solidFill>
                        <a:schemeClr val="accent2"/>
                      </a:solidFill>
                      <a:prstDash val="solid"/>
                      <a:round/>
                    </a:ln>
                  </p:spPr>
                  <p:txBody>
                    <a:bodyPr rtlCol="0" anchor="ctr"/>
                    <a:lstStyle/>
                    <a:p>
                      <a:endParaRPr lang="pt-PT"/>
                    </a:p>
                  </p:txBody>
                </p:sp>
              </p:grpSp>
              <p:grpSp>
                <p:nvGrpSpPr>
                  <p:cNvPr id="1576" name="Gráfico 14">
                    <a:extLst>
                      <a:ext uri="{FF2B5EF4-FFF2-40B4-BE49-F238E27FC236}">
                        <a16:creationId xmlns:a16="http://schemas.microsoft.com/office/drawing/2014/main" id="{59B9821F-F0FA-E93A-59AE-93132D363E34}"/>
                      </a:ext>
                    </a:extLst>
                  </p:cNvPr>
                  <p:cNvGrpSpPr/>
                  <p:nvPr/>
                </p:nvGrpSpPr>
                <p:grpSpPr>
                  <a:xfrm>
                    <a:off x="2682781" y="3680526"/>
                    <a:ext cx="65844" cy="46676"/>
                    <a:chOff x="2682781" y="3680526"/>
                    <a:chExt cx="65844" cy="46676"/>
                  </a:xfrm>
                  <a:noFill/>
                </p:grpSpPr>
                <p:sp>
                  <p:nvSpPr>
                    <p:cNvPr id="1577" name="Forma livre: Forma 1576">
                      <a:extLst>
                        <a:ext uri="{FF2B5EF4-FFF2-40B4-BE49-F238E27FC236}">
                          <a16:creationId xmlns:a16="http://schemas.microsoft.com/office/drawing/2014/main" id="{B36F23E6-9386-03FA-A707-1664A9ABF2F4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2682781" y="3680526"/>
                      <a:ext cx="40123" cy="40171"/>
                    </a:xfrm>
                    <a:custGeom>
                      <a:avLst/>
                      <a:gdLst>
                        <a:gd name="connsiteX0" fmla="*/ 10021 w 40123"/>
                        <a:gd name="connsiteY0" fmla="*/ 37452 h 40171"/>
                        <a:gd name="connsiteX1" fmla="*/ 37404 w 40123"/>
                        <a:gd name="connsiteY1" fmla="*/ 30150 h 40171"/>
                        <a:gd name="connsiteX2" fmla="*/ 30102 w 40123"/>
                        <a:gd name="connsiteY2" fmla="*/ 2719 h 40171"/>
                        <a:gd name="connsiteX3" fmla="*/ 2719 w 40123"/>
                        <a:gd name="connsiteY3" fmla="*/ 10021 h 40171"/>
                        <a:gd name="connsiteX4" fmla="*/ 10021 w 40123"/>
                        <a:gd name="connsiteY4" fmla="*/ 37404 h 40171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40123" h="40171">
                          <a:moveTo>
                            <a:pt x="10021" y="37452"/>
                          </a:moveTo>
                          <a:cubicBezTo>
                            <a:pt x="19581" y="43025"/>
                            <a:pt x="31880" y="39758"/>
                            <a:pt x="37404" y="30150"/>
                          </a:cubicBezTo>
                          <a:cubicBezTo>
                            <a:pt x="42977" y="20590"/>
                            <a:pt x="39710" y="8292"/>
                            <a:pt x="30102" y="2719"/>
                          </a:cubicBezTo>
                          <a:cubicBezTo>
                            <a:pt x="20542" y="-2854"/>
                            <a:pt x="8244" y="413"/>
                            <a:pt x="2719" y="10021"/>
                          </a:cubicBezTo>
                          <a:cubicBezTo>
                            <a:pt x="-2854" y="19581"/>
                            <a:pt x="413" y="31880"/>
                            <a:pt x="10021" y="37404"/>
                          </a:cubicBezTo>
                          <a:close/>
                        </a:path>
                      </a:pathLst>
                    </a:custGeom>
                    <a:noFill/>
                    <a:ln w="6350" cap="flat">
                      <a:solidFill>
                        <a:schemeClr val="accent2"/>
                      </a:solidFill>
                      <a:prstDash val="solid"/>
                      <a:round/>
                    </a:ln>
                  </p:spPr>
                  <p:txBody>
                    <a:bodyPr rtlCol="0" anchor="ctr"/>
                    <a:lstStyle/>
                    <a:p>
                      <a:endParaRPr lang="pt-PT"/>
                    </a:p>
                  </p:txBody>
                </p:sp>
                <p:sp>
                  <p:nvSpPr>
                    <p:cNvPr id="1578" name="Forma livre: Forma 1577">
                      <a:extLst>
                        <a:ext uri="{FF2B5EF4-FFF2-40B4-BE49-F238E27FC236}">
                          <a16:creationId xmlns:a16="http://schemas.microsoft.com/office/drawing/2014/main" id="{5907B8AC-3B5D-BB4C-2A3D-0A7BA12D5BC2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2722155" y="3711829"/>
                      <a:ext cx="26470" cy="15373"/>
                    </a:xfrm>
                    <a:custGeom>
                      <a:avLst/>
                      <a:gdLst>
                        <a:gd name="connsiteX0" fmla="*/ 0 w 26470"/>
                        <a:gd name="connsiteY0" fmla="*/ 0 h 15373"/>
                        <a:gd name="connsiteX1" fmla="*/ 26470 w 26470"/>
                        <a:gd name="connsiteY1" fmla="*/ 15373 h 1537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26470" h="15373">
                          <a:moveTo>
                            <a:pt x="0" y="0"/>
                          </a:moveTo>
                          <a:lnTo>
                            <a:pt x="26470" y="15373"/>
                          </a:lnTo>
                        </a:path>
                      </a:pathLst>
                    </a:custGeom>
                    <a:ln w="6350" cap="flat">
                      <a:solidFill>
                        <a:schemeClr val="accent2"/>
                      </a:solidFill>
                      <a:prstDash val="solid"/>
                      <a:round/>
                    </a:ln>
                  </p:spPr>
                  <p:txBody>
                    <a:bodyPr rtlCol="0" anchor="ctr"/>
                    <a:lstStyle/>
                    <a:p>
                      <a:endParaRPr lang="pt-PT"/>
                    </a:p>
                  </p:txBody>
                </p:sp>
              </p:grpSp>
            </p:grpSp>
            <p:grpSp>
              <p:nvGrpSpPr>
                <p:cNvPr id="1579" name="Gráfico 14">
                  <a:extLst>
                    <a:ext uri="{FF2B5EF4-FFF2-40B4-BE49-F238E27FC236}">
                      <a16:creationId xmlns:a16="http://schemas.microsoft.com/office/drawing/2014/main" id="{71DDBABD-3578-F350-D7AC-23548DD7E980}"/>
                    </a:ext>
                  </a:extLst>
                </p:cNvPr>
                <p:cNvGrpSpPr/>
                <p:nvPr/>
              </p:nvGrpSpPr>
              <p:grpSpPr>
                <a:xfrm>
                  <a:off x="2682781" y="3810985"/>
                  <a:ext cx="276147" cy="46580"/>
                  <a:chOff x="2682781" y="3810985"/>
                  <a:chExt cx="276147" cy="46580"/>
                </a:xfrm>
                <a:noFill/>
              </p:grpSpPr>
              <p:grpSp>
                <p:nvGrpSpPr>
                  <p:cNvPr id="1580" name="Gráfico 14">
                    <a:extLst>
                      <a:ext uri="{FF2B5EF4-FFF2-40B4-BE49-F238E27FC236}">
                        <a16:creationId xmlns:a16="http://schemas.microsoft.com/office/drawing/2014/main" id="{2F88FD52-160F-A753-3B04-ABCFCDF31461}"/>
                      </a:ext>
                    </a:extLst>
                  </p:cNvPr>
                  <p:cNvGrpSpPr/>
                  <p:nvPr/>
                </p:nvGrpSpPr>
                <p:grpSpPr>
                  <a:xfrm>
                    <a:off x="2682781" y="3810985"/>
                    <a:ext cx="65844" cy="46580"/>
                    <a:chOff x="2682781" y="3810985"/>
                    <a:chExt cx="65844" cy="46580"/>
                  </a:xfrm>
                  <a:noFill/>
                </p:grpSpPr>
                <p:sp>
                  <p:nvSpPr>
                    <p:cNvPr id="1581" name="Forma livre: Forma 1580">
                      <a:extLst>
                        <a:ext uri="{FF2B5EF4-FFF2-40B4-BE49-F238E27FC236}">
                          <a16:creationId xmlns:a16="http://schemas.microsoft.com/office/drawing/2014/main" id="{A1C36472-2A92-CD42-5C39-B24BD5BB5241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2682781" y="3817442"/>
                      <a:ext cx="40123" cy="40123"/>
                    </a:xfrm>
                    <a:custGeom>
                      <a:avLst/>
                      <a:gdLst>
                        <a:gd name="connsiteX0" fmla="*/ 10021 w 40123"/>
                        <a:gd name="connsiteY0" fmla="*/ 2719 h 40123"/>
                        <a:gd name="connsiteX1" fmla="*/ 37404 w 40123"/>
                        <a:gd name="connsiteY1" fmla="*/ 10021 h 40123"/>
                        <a:gd name="connsiteX2" fmla="*/ 30102 w 40123"/>
                        <a:gd name="connsiteY2" fmla="*/ 37404 h 40123"/>
                        <a:gd name="connsiteX3" fmla="*/ 2719 w 40123"/>
                        <a:gd name="connsiteY3" fmla="*/ 30102 h 40123"/>
                        <a:gd name="connsiteX4" fmla="*/ 10021 w 40123"/>
                        <a:gd name="connsiteY4" fmla="*/ 2671 h 4012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40123" h="40123">
                          <a:moveTo>
                            <a:pt x="10021" y="2719"/>
                          </a:moveTo>
                          <a:cubicBezTo>
                            <a:pt x="19581" y="-2854"/>
                            <a:pt x="31880" y="413"/>
                            <a:pt x="37404" y="10021"/>
                          </a:cubicBezTo>
                          <a:cubicBezTo>
                            <a:pt x="42977" y="19581"/>
                            <a:pt x="39710" y="31880"/>
                            <a:pt x="30102" y="37404"/>
                          </a:cubicBezTo>
                          <a:cubicBezTo>
                            <a:pt x="20542" y="42977"/>
                            <a:pt x="8244" y="39710"/>
                            <a:pt x="2719" y="30102"/>
                          </a:cubicBezTo>
                          <a:cubicBezTo>
                            <a:pt x="-2854" y="20542"/>
                            <a:pt x="413" y="8244"/>
                            <a:pt x="10021" y="2671"/>
                          </a:cubicBezTo>
                          <a:close/>
                        </a:path>
                      </a:pathLst>
                    </a:custGeom>
                    <a:noFill/>
                    <a:ln w="6350" cap="flat">
                      <a:solidFill>
                        <a:schemeClr val="accent2"/>
                      </a:solidFill>
                      <a:prstDash val="solid"/>
                      <a:round/>
                    </a:ln>
                  </p:spPr>
                  <p:txBody>
                    <a:bodyPr rtlCol="0" anchor="ctr"/>
                    <a:lstStyle/>
                    <a:p>
                      <a:endParaRPr lang="pt-PT"/>
                    </a:p>
                  </p:txBody>
                </p:sp>
                <p:sp>
                  <p:nvSpPr>
                    <p:cNvPr id="1582" name="Forma livre: Forma 1581">
                      <a:extLst>
                        <a:ext uri="{FF2B5EF4-FFF2-40B4-BE49-F238E27FC236}">
                          <a16:creationId xmlns:a16="http://schemas.microsoft.com/office/drawing/2014/main" id="{8EA414A8-4AA3-6BC5-DFD0-E4D6FF7685A3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2722155" y="3810985"/>
                      <a:ext cx="26470" cy="15373"/>
                    </a:xfrm>
                    <a:custGeom>
                      <a:avLst/>
                      <a:gdLst>
                        <a:gd name="connsiteX0" fmla="*/ 0 w 26470"/>
                        <a:gd name="connsiteY0" fmla="*/ 15373 h 15373"/>
                        <a:gd name="connsiteX1" fmla="*/ 26470 w 26470"/>
                        <a:gd name="connsiteY1" fmla="*/ 0 h 1537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26470" h="15373">
                          <a:moveTo>
                            <a:pt x="0" y="15373"/>
                          </a:moveTo>
                          <a:lnTo>
                            <a:pt x="26470" y="0"/>
                          </a:lnTo>
                        </a:path>
                      </a:pathLst>
                    </a:custGeom>
                    <a:ln w="6350" cap="flat">
                      <a:solidFill>
                        <a:schemeClr val="accent2"/>
                      </a:solidFill>
                      <a:prstDash val="solid"/>
                      <a:round/>
                    </a:ln>
                  </p:spPr>
                  <p:txBody>
                    <a:bodyPr rtlCol="0" anchor="ctr"/>
                    <a:lstStyle/>
                    <a:p>
                      <a:endParaRPr lang="pt-PT"/>
                    </a:p>
                  </p:txBody>
                </p:sp>
              </p:grpSp>
              <p:grpSp>
                <p:nvGrpSpPr>
                  <p:cNvPr id="1583" name="Gráfico 14">
                    <a:extLst>
                      <a:ext uri="{FF2B5EF4-FFF2-40B4-BE49-F238E27FC236}">
                        <a16:creationId xmlns:a16="http://schemas.microsoft.com/office/drawing/2014/main" id="{0FBB082A-877A-C5D7-D539-2EF679DAB162}"/>
                      </a:ext>
                    </a:extLst>
                  </p:cNvPr>
                  <p:cNvGrpSpPr/>
                  <p:nvPr/>
                </p:nvGrpSpPr>
                <p:grpSpPr>
                  <a:xfrm>
                    <a:off x="2893084" y="3810985"/>
                    <a:ext cx="65844" cy="46580"/>
                    <a:chOff x="2893084" y="3810985"/>
                    <a:chExt cx="65844" cy="46580"/>
                  </a:xfrm>
                  <a:noFill/>
                </p:grpSpPr>
                <p:sp>
                  <p:nvSpPr>
                    <p:cNvPr id="1584" name="Forma livre: Forma 1583">
                      <a:extLst>
                        <a:ext uri="{FF2B5EF4-FFF2-40B4-BE49-F238E27FC236}">
                          <a16:creationId xmlns:a16="http://schemas.microsoft.com/office/drawing/2014/main" id="{A41BF17D-790F-6BDE-5DC7-58CEEDEBA8E9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2918805" y="3817442"/>
                      <a:ext cx="40123" cy="40123"/>
                    </a:xfrm>
                    <a:custGeom>
                      <a:avLst/>
                      <a:gdLst>
                        <a:gd name="connsiteX0" fmla="*/ 30102 w 40123"/>
                        <a:gd name="connsiteY0" fmla="*/ 2719 h 40123"/>
                        <a:gd name="connsiteX1" fmla="*/ 2719 w 40123"/>
                        <a:gd name="connsiteY1" fmla="*/ 10021 h 40123"/>
                        <a:gd name="connsiteX2" fmla="*/ 10021 w 40123"/>
                        <a:gd name="connsiteY2" fmla="*/ 37404 h 40123"/>
                        <a:gd name="connsiteX3" fmla="*/ 37404 w 40123"/>
                        <a:gd name="connsiteY3" fmla="*/ 30102 h 40123"/>
                        <a:gd name="connsiteX4" fmla="*/ 30102 w 40123"/>
                        <a:gd name="connsiteY4" fmla="*/ 2671 h 4012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40123" h="40123">
                          <a:moveTo>
                            <a:pt x="30102" y="2719"/>
                          </a:moveTo>
                          <a:cubicBezTo>
                            <a:pt x="20542" y="-2854"/>
                            <a:pt x="8244" y="413"/>
                            <a:pt x="2719" y="10021"/>
                          </a:cubicBezTo>
                          <a:cubicBezTo>
                            <a:pt x="-2854" y="19581"/>
                            <a:pt x="413" y="31880"/>
                            <a:pt x="10021" y="37404"/>
                          </a:cubicBezTo>
                          <a:cubicBezTo>
                            <a:pt x="19581" y="42977"/>
                            <a:pt x="31880" y="39710"/>
                            <a:pt x="37404" y="30102"/>
                          </a:cubicBezTo>
                          <a:cubicBezTo>
                            <a:pt x="42977" y="20542"/>
                            <a:pt x="39710" y="8244"/>
                            <a:pt x="30102" y="2671"/>
                          </a:cubicBezTo>
                          <a:close/>
                        </a:path>
                      </a:pathLst>
                    </a:custGeom>
                    <a:noFill/>
                    <a:ln w="6350" cap="flat">
                      <a:solidFill>
                        <a:schemeClr val="accent2"/>
                      </a:solidFill>
                      <a:prstDash val="solid"/>
                      <a:round/>
                    </a:ln>
                  </p:spPr>
                  <p:txBody>
                    <a:bodyPr rtlCol="0" anchor="ctr"/>
                    <a:lstStyle/>
                    <a:p>
                      <a:endParaRPr lang="pt-PT"/>
                    </a:p>
                  </p:txBody>
                </p:sp>
                <p:sp>
                  <p:nvSpPr>
                    <p:cNvPr id="1585" name="Forma livre: Forma 1584">
                      <a:extLst>
                        <a:ext uri="{FF2B5EF4-FFF2-40B4-BE49-F238E27FC236}">
                          <a16:creationId xmlns:a16="http://schemas.microsoft.com/office/drawing/2014/main" id="{81646580-56FF-5142-6431-071F7FA361D1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2893084" y="3810985"/>
                      <a:ext cx="26518" cy="15373"/>
                    </a:xfrm>
                    <a:custGeom>
                      <a:avLst/>
                      <a:gdLst>
                        <a:gd name="connsiteX0" fmla="*/ 26519 w 26518"/>
                        <a:gd name="connsiteY0" fmla="*/ 15373 h 15373"/>
                        <a:gd name="connsiteX1" fmla="*/ 0 w 26518"/>
                        <a:gd name="connsiteY1" fmla="*/ 0 h 1537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26518" h="15373">
                          <a:moveTo>
                            <a:pt x="26519" y="15373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6350" cap="flat">
                      <a:solidFill>
                        <a:schemeClr val="accent2"/>
                      </a:solidFill>
                      <a:prstDash val="solid"/>
                      <a:round/>
                    </a:ln>
                  </p:spPr>
                  <p:txBody>
                    <a:bodyPr rtlCol="0" anchor="ctr"/>
                    <a:lstStyle/>
                    <a:p>
                      <a:endParaRPr lang="pt-PT"/>
                    </a:p>
                  </p:txBody>
                </p:sp>
              </p:grpSp>
            </p:grpSp>
          </p:grpSp>
          <p:sp>
            <p:nvSpPr>
              <p:cNvPr id="1586" name="Forma livre: Forma 1585">
                <a:extLst>
                  <a:ext uri="{FF2B5EF4-FFF2-40B4-BE49-F238E27FC236}">
                    <a16:creationId xmlns:a16="http://schemas.microsoft.com/office/drawing/2014/main" id="{BBCDDFEF-C212-0DA5-E91F-9AB02702A06F}"/>
                  </a:ext>
                </a:extLst>
              </p:cNvPr>
              <p:cNvSpPr/>
              <p:nvPr/>
            </p:nvSpPr>
            <p:spPr>
              <a:xfrm>
                <a:off x="2737864" y="3686272"/>
                <a:ext cx="165644" cy="165644"/>
              </a:xfrm>
              <a:custGeom>
                <a:avLst/>
                <a:gdLst>
                  <a:gd name="connsiteX0" fmla="*/ 165645 w 165644"/>
                  <a:gd name="connsiteY0" fmla="*/ 82822 h 165644"/>
                  <a:gd name="connsiteX1" fmla="*/ 82822 w 165644"/>
                  <a:gd name="connsiteY1" fmla="*/ 165645 h 165644"/>
                  <a:gd name="connsiteX2" fmla="*/ 0 w 165644"/>
                  <a:gd name="connsiteY2" fmla="*/ 82822 h 165644"/>
                  <a:gd name="connsiteX3" fmla="*/ 82822 w 165644"/>
                  <a:gd name="connsiteY3" fmla="*/ 0 h 165644"/>
                  <a:gd name="connsiteX4" fmla="*/ 165645 w 165644"/>
                  <a:gd name="connsiteY4" fmla="*/ 82822 h 1656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5644" h="165644">
                    <a:moveTo>
                      <a:pt x="165645" y="82822"/>
                    </a:moveTo>
                    <a:cubicBezTo>
                      <a:pt x="165645" y="128557"/>
                      <a:pt x="128557" y="165645"/>
                      <a:pt x="82822" y="165645"/>
                    </a:cubicBezTo>
                    <a:cubicBezTo>
                      <a:pt x="37088" y="165645"/>
                      <a:pt x="0" y="128557"/>
                      <a:pt x="0" y="82822"/>
                    </a:cubicBezTo>
                    <a:cubicBezTo>
                      <a:pt x="0" y="37087"/>
                      <a:pt x="37088" y="0"/>
                      <a:pt x="82822" y="0"/>
                    </a:cubicBezTo>
                    <a:cubicBezTo>
                      <a:pt x="128557" y="0"/>
                      <a:pt x="165645" y="37087"/>
                      <a:pt x="165645" y="82822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1587" name="Gráfico 14">
                <a:extLst>
                  <a:ext uri="{FF2B5EF4-FFF2-40B4-BE49-F238E27FC236}">
                    <a16:creationId xmlns:a16="http://schemas.microsoft.com/office/drawing/2014/main" id="{ABAFE554-4C7B-414F-A5FD-C5191A420019}"/>
                  </a:ext>
                </a:extLst>
              </p:cNvPr>
              <p:cNvGrpSpPr/>
              <p:nvPr/>
            </p:nvGrpSpPr>
            <p:grpSpPr>
              <a:xfrm>
                <a:off x="2703083" y="3742912"/>
                <a:ext cx="235544" cy="52364"/>
                <a:chOff x="2703083" y="3742912"/>
                <a:chExt cx="235544" cy="52364"/>
              </a:xfrm>
            </p:grpSpPr>
            <p:sp>
              <p:nvSpPr>
                <p:cNvPr id="1588" name="Forma livre: Forma 1587">
                  <a:extLst>
                    <a:ext uri="{FF2B5EF4-FFF2-40B4-BE49-F238E27FC236}">
                      <a16:creationId xmlns:a16="http://schemas.microsoft.com/office/drawing/2014/main" id="{7DFCCBE4-7EDC-D4F7-4418-5AD17998FEE6}"/>
                    </a:ext>
                  </a:extLst>
                </p:cNvPr>
                <p:cNvSpPr/>
                <p:nvPr/>
              </p:nvSpPr>
              <p:spPr>
                <a:xfrm>
                  <a:off x="2703083" y="3742912"/>
                  <a:ext cx="4804" cy="52364"/>
                </a:xfrm>
                <a:custGeom>
                  <a:avLst/>
                  <a:gdLst>
                    <a:gd name="connsiteX0" fmla="*/ 0 w 4804"/>
                    <a:gd name="connsiteY0" fmla="*/ 0 h 52364"/>
                    <a:gd name="connsiteX1" fmla="*/ 0 w 4804"/>
                    <a:gd name="connsiteY1" fmla="*/ 52364 h 5236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804" h="52364">
                      <a:moveTo>
                        <a:pt x="0" y="0"/>
                      </a:moveTo>
                      <a:lnTo>
                        <a:pt x="0" y="52364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589" name="Forma livre: Forma 1588">
                  <a:extLst>
                    <a:ext uri="{FF2B5EF4-FFF2-40B4-BE49-F238E27FC236}">
                      <a16:creationId xmlns:a16="http://schemas.microsoft.com/office/drawing/2014/main" id="{7F92D774-A4B4-92F8-E8D1-AC745F075621}"/>
                    </a:ext>
                  </a:extLst>
                </p:cNvPr>
                <p:cNvSpPr/>
                <p:nvPr/>
              </p:nvSpPr>
              <p:spPr>
                <a:xfrm>
                  <a:off x="2938627" y="3742912"/>
                  <a:ext cx="4804" cy="52364"/>
                </a:xfrm>
                <a:custGeom>
                  <a:avLst/>
                  <a:gdLst>
                    <a:gd name="connsiteX0" fmla="*/ 0 w 4804"/>
                    <a:gd name="connsiteY0" fmla="*/ 0 h 52364"/>
                    <a:gd name="connsiteX1" fmla="*/ 0 w 4804"/>
                    <a:gd name="connsiteY1" fmla="*/ 52364 h 5236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804" h="52364">
                      <a:moveTo>
                        <a:pt x="0" y="0"/>
                      </a:moveTo>
                      <a:lnTo>
                        <a:pt x="0" y="52364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</p:grpSp>
      <p:grpSp>
        <p:nvGrpSpPr>
          <p:cNvPr id="1590" name="Gráfico 14">
            <a:extLst>
              <a:ext uri="{FF2B5EF4-FFF2-40B4-BE49-F238E27FC236}">
                <a16:creationId xmlns:a16="http://schemas.microsoft.com/office/drawing/2014/main" id="{8024FDBC-61F5-7F05-DE1B-7A90A6634B0B}"/>
              </a:ext>
            </a:extLst>
          </p:cNvPr>
          <p:cNvGrpSpPr/>
          <p:nvPr/>
        </p:nvGrpSpPr>
        <p:grpSpPr>
          <a:xfrm>
            <a:off x="3896801" y="4160242"/>
            <a:ext cx="349160" cy="272967"/>
            <a:chOff x="3896801" y="4160242"/>
            <a:chExt cx="349160" cy="272967"/>
          </a:xfrm>
          <a:noFill/>
        </p:grpSpPr>
        <p:grpSp>
          <p:nvGrpSpPr>
            <p:cNvPr id="1591" name="Gráfico 14">
              <a:extLst>
                <a:ext uri="{FF2B5EF4-FFF2-40B4-BE49-F238E27FC236}">
                  <a16:creationId xmlns:a16="http://schemas.microsoft.com/office/drawing/2014/main" id="{8358D59B-2F16-AE01-CAEB-7FDD51ECD0FC}"/>
                </a:ext>
              </a:extLst>
            </p:cNvPr>
            <p:cNvGrpSpPr/>
            <p:nvPr/>
          </p:nvGrpSpPr>
          <p:grpSpPr>
            <a:xfrm>
              <a:off x="4004460" y="4283082"/>
              <a:ext cx="133649" cy="150127"/>
              <a:chOff x="4004460" y="4283082"/>
              <a:chExt cx="133649" cy="150127"/>
            </a:xfrm>
            <a:noFill/>
          </p:grpSpPr>
          <p:sp>
            <p:nvSpPr>
              <p:cNvPr id="1592" name="Forma livre: Forma 1591">
                <a:extLst>
                  <a:ext uri="{FF2B5EF4-FFF2-40B4-BE49-F238E27FC236}">
                    <a16:creationId xmlns:a16="http://schemas.microsoft.com/office/drawing/2014/main" id="{223DB38D-753F-ACBE-FCD6-055B797C0D4B}"/>
                  </a:ext>
                </a:extLst>
              </p:cNvPr>
              <p:cNvSpPr/>
              <p:nvPr/>
            </p:nvSpPr>
            <p:spPr>
              <a:xfrm>
                <a:off x="4004460" y="4283082"/>
                <a:ext cx="133649" cy="150127"/>
              </a:xfrm>
              <a:custGeom>
                <a:avLst/>
                <a:gdLst>
                  <a:gd name="connsiteX0" fmla="*/ 66488 w 133649"/>
                  <a:gd name="connsiteY0" fmla="*/ 0 h 150127"/>
                  <a:gd name="connsiteX1" fmla="*/ 0 w 133649"/>
                  <a:gd name="connsiteY1" fmla="*/ 34349 h 150127"/>
                  <a:gd name="connsiteX2" fmla="*/ 0 w 133649"/>
                  <a:gd name="connsiteY2" fmla="*/ 111743 h 150127"/>
                  <a:gd name="connsiteX3" fmla="*/ 66488 w 133649"/>
                  <a:gd name="connsiteY3" fmla="*/ 150128 h 150127"/>
                  <a:gd name="connsiteX4" fmla="*/ 133649 w 133649"/>
                  <a:gd name="connsiteY4" fmla="*/ 111743 h 150127"/>
                  <a:gd name="connsiteX5" fmla="*/ 133649 w 133649"/>
                  <a:gd name="connsiteY5" fmla="*/ 34349 h 150127"/>
                  <a:gd name="connsiteX6" fmla="*/ 66488 w 133649"/>
                  <a:gd name="connsiteY6" fmla="*/ 0 h 1501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33649" h="150127">
                    <a:moveTo>
                      <a:pt x="66488" y="0"/>
                    </a:moveTo>
                    <a:lnTo>
                      <a:pt x="0" y="34349"/>
                    </a:lnTo>
                    <a:lnTo>
                      <a:pt x="0" y="111743"/>
                    </a:lnTo>
                    <a:lnTo>
                      <a:pt x="66488" y="150128"/>
                    </a:lnTo>
                    <a:lnTo>
                      <a:pt x="133649" y="111743"/>
                    </a:lnTo>
                    <a:lnTo>
                      <a:pt x="133649" y="34349"/>
                    </a:lnTo>
                    <a:lnTo>
                      <a:pt x="66488" y="0"/>
                    </a:ln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1593" name="Gráfico 14">
                <a:extLst>
                  <a:ext uri="{FF2B5EF4-FFF2-40B4-BE49-F238E27FC236}">
                    <a16:creationId xmlns:a16="http://schemas.microsoft.com/office/drawing/2014/main" id="{5624EECD-6BDB-BEBF-DB80-D8189A00099B}"/>
                  </a:ext>
                </a:extLst>
              </p:cNvPr>
              <p:cNvGrpSpPr/>
              <p:nvPr/>
            </p:nvGrpSpPr>
            <p:grpSpPr>
              <a:xfrm>
                <a:off x="4028480" y="4331123"/>
                <a:ext cx="85608" cy="73742"/>
                <a:chOff x="4028480" y="4331123"/>
                <a:chExt cx="85608" cy="73742"/>
              </a:xfrm>
            </p:grpSpPr>
            <p:grpSp>
              <p:nvGrpSpPr>
                <p:cNvPr id="1594" name="Gráfico 14">
                  <a:extLst>
                    <a:ext uri="{FF2B5EF4-FFF2-40B4-BE49-F238E27FC236}">
                      <a16:creationId xmlns:a16="http://schemas.microsoft.com/office/drawing/2014/main" id="{639D5B02-1B1C-6D76-15AF-EE75F7CD38A9}"/>
                    </a:ext>
                  </a:extLst>
                </p:cNvPr>
                <p:cNvGrpSpPr/>
                <p:nvPr/>
              </p:nvGrpSpPr>
              <p:grpSpPr>
                <a:xfrm>
                  <a:off x="4028480" y="4331123"/>
                  <a:ext cx="85608" cy="23443"/>
                  <a:chOff x="4028480" y="4331123"/>
                  <a:chExt cx="85608" cy="23443"/>
                </a:xfrm>
              </p:grpSpPr>
              <p:sp>
                <p:nvSpPr>
                  <p:cNvPr id="1595" name="Forma livre: Forma 1594">
                    <a:extLst>
                      <a:ext uri="{FF2B5EF4-FFF2-40B4-BE49-F238E27FC236}">
                        <a16:creationId xmlns:a16="http://schemas.microsoft.com/office/drawing/2014/main" id="{799DFD88-EB7F-1972-A5FD-BAD8C16ABB42}"/>
                      </a:ext>
                    </a:extLst>
                  </p:cNvPr>
                  <p:cNvSpPr/>
                  <p:nvPr/>
                </p:nvSpPr>
                <p:spPr>
                  <a:xfrm>
                    <a:off x="4071429" y="4331123"/>
                    <a:ext cx="42660" cy="23443"/>
                  </a:xfrm>
                  <a:custGeom>
                    <a:avLst/>
                    <a:gdLst>
                      <a:gd name="connsiteX0" fmla="*/ 42660 w 42660"/>
                      <a:gd name="connsiteY0" fmla="*/ 0 h 23443"/>
                      <a:gd name="connsiteX1" fmla="*/ 0 w 42660"/>
                      <a:gd name="connsiteY1" fmla="*/ 23444 h 2344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42660" h="23443">
                        <a:moveTo>
                          <a:pt x="42660" y="0"/>
                        </a:moveTo>
                        <a:lnTo>
                          <a:pt x="0" y="23444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1596" name="Forma livre: Forma 1595">
                    <a:extLst>
                      <a:ext uri="{FF2B5EF4-FFF2-40B4-BE49-F238E27FC236}">
                        <a16:creationId xmlns:a16="http://schemas.microsoft.com/office/drawing/2014/main" id="{78C29B52-40FC-B011-1755-4F2D05EBFBD9}"/>
                      </a:ext>
                    </a:extLst>
                  </p:cNvPr>
                  <p:cNvSpPr/>
                  <p:nvPr/>
                </p:nvSpPr>
                <p:spPr>
                  <a:xfrm>
                    <a:off x="4028480" y="4331123"/>
                    <a:ext cx="42660" cy="23443"/>
                  </a:xfrm>
                  <a:custGeom>
                    <a:avLst/>
                    <a:gdLst>
                      <a:gd name="connsiteX0" fmla="*/ 0 w 42660"/>
                      <a:gd name="connsiteY0" fmla="*/ 0 h 23443"/>
                      <a:gd name="connsiteX1" fmla="*/ 42660 w 42660"/>
                      <a:gd name="connsiteY1" fmla="*/ 23444 h 2344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42660" h="23443">
                        <a:moveTo>
                          <a:pt x="0" y="0"/>
                        </a:moveTo>
                        <a:lnTo>
                          <a:pt x="42660" y="23444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  <p:sp>
              <p:nvSpPr>
                <p:cNvPr id="1597" name="Forma livre: Forma 1596">
                  <a:extLst>
                    <a:ext uri="{FF2B5EF4-FFF2-40B4-BE49-F238E27FC236}">
                      <a16:creationId xmlns:a16="http://schemas.microsoft.com/office/drawing/2014/main" id="{3496307C-8E26-2E43-10F2-BB2D1F7F49F3}"/>
                    </a:ext>
                  </a:extLst>
                </p:cNvPr>
                <p:cNvSpPr/>
                <p:nvPr/>
              </p:nvSpPr>
              <p:spPr>
                <a:xfrm>
                  <a:off x="4071285" y="4355288"/>
                  <a:ext cx="4804" cy="49578"/>
                </a:xfrm>
                <a:custGeom>
                  <a:avLst/>
                  <a:gdLst>
                    <a:gd name="connsiteX0" fmla="*/ 0 w 4804"/>
                    <a:gd name="connsiteY0" fmla="*/ 0 h 49578"/>
                    <a:gd name="connsiteX1" fmla="*/ 0 w 4804"/>
                    <a:gd name="connsiteY1" fmla="*/ 49578 h 495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804" h="49578">
                      <a:moveTo>
                        <a:pt x="0" y="0"/>
                      </a:moveTo>
                      <a:lnTo>
                        <a:pt x="0" y="49578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grpSp>
          <p:nvGrpSpPr>
            <p:cNvPr id="1598" name="Gráfico 14">
              <a:extLst>
                <a:ext uri="{FF2B5EF4-FFF2-40B4-BE49-F238E27FC236}">
                  <a16:creationId xmlns:a16="http://schemas.microsoft.com/office/drawing/2014/main" id="{153A69C4-A1F9-B203-2D32-9321F24B33BB}"/>
                </a:ext>
              </a:extLst>
            </p:cNvPr>
            <p:cNvGrpSpPr/>
            <p:nvPr/>
          </p:nvGrpSpPr>
          <p:grpSpPr>
            <a:xfrm>
              <a:off x="4112312" y="4221014"/>
              <a:ext cx="133649" cy="150127"/>
              <a:chOff x="4112312" y="4221014"/>
              <a:chExt cx="133649" cy="150127"/>
            </a:xfrm>
            <a:noFill/>
          </p:grpSpPr>
          <p:sp>
            <p:nvSpPr>
              <p:cNvPr id="1599" name="Forma livre: Forma 1598">
                <a:extLst>
                  <a:ext uri="{FF2B5EF4-FFF2-40B4-BE49-F238E27FC236}">
                    <a16:creationId xmlns:a16="http://schemas.microsoft.com/office/drawing/2014/main" id="{6F96D6A8-C345-B9C3-0455-5F997D0A756A}"/>
                  </a:ext>
                </a:extLst>
              </p:cNvPr>
              <p:cNvSpPr/>
              <p:nvPr/>
            </p:nvSpPr>
            <p:spPr>
              <a:xfrm>
                <a:off x="4112312" y="4221014"/>
                <a:ext cx="133649" cy="150127"/>
              </a:xfrm>
              <a:custGeom>
                <a:avLst/>
                <a:gdLst>
                  <a:gd name="connsiteX0" fmla="*/ 26086 w 133649"/>
                  <a:gd name="connsiteY0" fmla="*/ 126828 h 150127"/>
                  <a:gd name="connsiteX1" fmla="*/ 66488 w 133649"/>
                  <a:gd name="connsiteY1" fmla="*/ 150128 h 150127"/>
                  <a:gd name="connsiteX2" fmla="*/ 133650 w 133649"/>
                  <a:gd name="connsiteY2" fmla="*/ 111743 h 150127"/>
                  <a:gd name="connsiteX3" fmla="*/ 133650 w 133649"/>
                  <a:gd name="connsiteY3" fmla="*/ 34349 h 150127"/>
                  <a:gd name="connsiteX4" fmla="*/ 66488 w 133649"/>
                  <a:gd name="connsiteY4" fmla="*/ 0 h 150127"/>
                  <a:gd name="connsiteX5" fmla="*/ 0 w 133649"/>
                  <a:gd name="connsiteY5" fmla="*/ 34349 h 150127"/>
                  <a:gd name="connsiteX6" fmla="*/ 0 w 133649"/>
                  <a:gd name="connsiteY6" fmla="*/ 83015 h 1501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33649" h="150127">
                    <a:moveTo>
                      <a:pt x="26086" y="126828"/>
                    </a:moveTo>
                    <a:lnTo>
                      <a:pt x="66488" y="150128"/>
                    </a:lnTo>
                    <a:lnTo>
                      <a:pt x="133650" y="111743"/>
                    </a:lnTo>
                    <a:lnTo>
                      <a:pt x="133650" y="34349"/>
                    </a:lnTo>
                    <a:lnTo>
                      <a:pt x="66488" y="0"/>
                    </a:lnTo>
                    <a:lnTo>
                      <a:pt x="0" y="34349"/>
                    </a:lnTo>
                    <a:lnTo>
                      <a:pt x="0" y="83015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1600" name="Gráfico 14">
                <a:extLst>
                  <a:ext uri="{FF2B5EF4-FFF2-40B4-BE49-F238E27FC236}">
                    <a16:creationId xmlns:a16="http://schemas.microsoft.com/office/drawing/2014/main" id="{82271641-F975-65EF-78C2-0168FB2A1253}"/>
                  </a:ext>
                </a:extLst>
              </p:cNvPr>
              <p:cNvGrpSpPr/>
              <p:nvPr/>
            </p:nvGrpSpPr>
            <p:grpSpPr>
              <a:xfrm>
                <a:off x="4136332" y="4269055"/>
                <a:ext cx="85608" cy="73742"/>
                <a:chOff x="4136332" y="4269055"/>
                <a:chExt cx="85608" cy="73742"/>
              </a:xfrm>
            </p:grpSpPr>
            <p:grpSp>
              <p:nvGrpSpPr>
                <p:cNvPr id="1601" name="Gráfico 14">
                  <a:extLst>
                    <a:ext uri="{FF2B5EF4-FFF2-40B4-BE49-F238E27FC236}">
                      <a16:creationId xmlns:a16="http://schemas.microsoft.com/office/drawing/2014/main" id="{1175CC2D-8EB7-FA93-7384-9CEE9AD61FA9}"/>
                    </a:ext>
                  </a:extLst>
                </p:cNvPr>
                <p:cNvGrpSpPr/>
                <p:nvPr/>
              </p:nvGrpSpPr>
              <p:grpSpPr>
                <a:xfrm>
                  <a:off x="4136332" y="4269055"/>
                  <a:ext cx="85608" cy="23443"/>
                  <a:chOff x="4136332" y="4269055"/>
                  <a:chExt cx="85608" cy="23443"/>
                </a:xfrm>
              </p:grpSpPr>
              <p:sp>
                <p:nvSpPr>
                  <p:cNvPr id="1602" name="Forma livre: Forma 1601">
                    <a:extLst>
                      <a:ext uri="{FF2B5EF4-FFF2-40B4-BE49-F238E27FC236}">
                        <a16:creationId xmlns:a16="http://schemas.microsoft.com/office/drawing/2014/main" id="{01C9621D-DB47-EB44-C188-9CC168645B2A}"/>
                      </a:ext>
                    </a:extLst>
                  </p:cNvPr>
                  <p:cNvSpPr/>
                  <p:nvPr/>
                </p:nvSpPr>
                <p:spPr>
                  <a:xfrm>
                    <a:off x="4179281" y="4269055"/>
                    <a:ext cx="42660" cy="23443"/>
                  </a:xfrm>
                  <a:custGeom>
                    <a:avLst/>
                    <a:gdLst>
                      <a:gd name="connsiteX0" fmla="*/ 42660 w 42660"/>
                      <a:gd name="connsiteY0" fmla="*/ 0 h 23443"/>
                      <a:gd name="connsiteX1" fmla="*/ 0 w 42660"/>
                      <a:gd name="connsiteY1" fmla="*/ 23444 h 2344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42660" h="23443">
                        <a:moveTo>
                          <a:pt x="42660" y="0"/>
                        </a:moveTo>
                        <a:lnTo>
                          <a:pt x="0" y="23444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1603" name="Forma livre: Forma 1602">
                    <a:extLst>
                      <a:ext uri="{FF2B5EF4-FFF2-40B4-BE49-F238E27FC236}">
                        <a16:creationId xmlns:a16="http://schemas.microsoft.com/office/drawing/2014/main" id="{D620BB79-B3CB-7D08-9ED9-7C959C919C87}"/>
                      </a:ext>
                    </a:extLst>
                  </p:cNvPr>
                  <p:cNvSpPr/>
                  <p:nvPr/>
                </p:nvSpPr>
                <p:spPr>
                  <a:xfrm>
                    <a:off x="4136332" y="4269055"/>
                    <a:ext cx="42660" cy="23443"/>
                  </a:xfrm>
                  <a:custGeom>
                    <a:avLst/>
                    <a:gdLst>
                      <a:gd name="connsiteX0" fmla="*/ 0 w 42660"/>
                      <a:gd name="connsiteY0" fmla="*/ 0 h 23443"/>
                      <a:gd name="connsiteX1" fmla="*/ 42660 w 42660"/>
                      <a:gd name="connsiteY1" fmla="*/ 23444 h 2344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42660" h="23443">
                        <a:moveTo>
                          <a:pt x="0" y="0"/>
                        </a:moveTo>
                        <a:lnTo>
                          <a:pt x="42660" y="23444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  <p:sp>
              <p:nvSpPr>
                <p:cNvPr id="1604" name="Forma livre: Forma 1603">
                  <a:extLst>
                    <a:ext uri="{FF2B5EF4-FFF2-40B4-BE49-F238E27FC236}">
                      <a16:creationId xmlns:a16="http://schemas.microsoft.com/office/drawing/2014/main" id="{BF29EB8E-EB1F-E542-7211-D003F46196A5}"/>
                    </a:ext>
                  </a:extLst>
                </p:cNvPr>
                <p:cNvSpPr/>
                <p:nvPr/>
              </p:nvSpPr>
              <p:spPr>
                <a:xfrm>
                  <a:off x="4179136" y="4293219"/>
                  <a:ext cx="4804" cy="49578"/>
                </a:xfrm>
                <a:custGeom>
                  <a:avLst/>
                  <a:gdLst>
                    <a:gd name="connsiteX0" fmla="*/ 0 w 4804"/>
                    <a:gd name="connsiteY0" fmla="*/ 0 h 49578"/>
                    <a:gd name="connsiteX1" fmla="*/ 0 w 4804"/>
                    <a:gd name="connsiteY1" fmla="*/ 49578 h 495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804" h="49578">
                      <a:moveTo>
                        <a:pt x="0" y="0"/>
                      </a:moveTo>
                      <a:lnTo>
                        <a:pt x="0" y="49578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grpSp>
          <p:nvGrpSpPr>
            <p:cNvPr id="1605" name="Gráfico 14">
              <a:extLst>
                <a:ext uri="{FF2B5EF4-FFF2-40B4-BE49-F238E27FC236}">
                  <a16:creationId xmlns:a16="http://schemas.microsoft.com/office/drawing/2014/main" id="{D5F74FD2-0775-129E-3537-C478E0D8DDE5}"/>
                </a:ext>
              </a:extLst>
            </p:cNvPr>
            <p:cNvGrpSpPr/>
            <p:nvPr/>
          </p:nvGrpSpPr>
          <p:grpSpPr>
            <a:xfrm>
              <a:off x="3896801" y="4222311"/>
              <a:ext cx="133649" cy="150127"/>
              <a:chOff x="3896801" y="4222311"/>
              <a:chExt cx="133649" cy="150127"/>
            </a:xfrm>
            <a:noFill/>
          </p:grpSpPr>
          <p:sp>
            <p:nvSpPr>
              <p:cNvPr id="1606" name="Forma livre: Forma 1605">
                <a:extLst>
                  <a:ext uri="{FF2B5EF4-FFF2-40B4-BE49-F238E27FC236}">
                    <a16:creationId xmlns:a16="http://schemas.microsoft.com/office/drawing/2014/main" id="{84AE8B52-3403-A9A1-8B42-98B4DBEA369B}"/>
                  </a:ext>
                </a:extLst>
              </p:cNvPr>
              <p:cNvSpPr/>
              <p:nvPr/>
            </p:nvSpPr>
            <p:spPr>
              <a:xfrm>
                <a:off x="3896801" y="4222311"/>
                <a:ext cx="133649" cy="150127"/>
              </a:xfrm>
              <a:custGeom>
                <a:avLst/>
                <a:gdLst>
                  <a:gd name="connsiteX0" fmla="*/ 133650 w 133649"/>
                  <a:gd name="connsiteY0" fmla="*/ 81237 h 150127"/>
                  <a:gd name="connsiteX1" fmla="*/ 133650 w 133649"/>
                  <a:gd name="connsiteY1" fmla="*/ 34397 h 150127"/>
                  <a:gd name="connsiteX2" fmla="*/ 66488 w 133649"/>
                  <a:gd name="connsiteY2" fmla="*/ 0 h 150127"/>
                  <a:gd name="connsiteX3" fmla="*/ 0 w 133649"/>
                  <a:gd name="connsiteY3" fmla="*/ 34397 h 150127"/>
                  <a:gd name="connsiteX4" fmla="*/ 0 w 133649"/>
                  <a:gd name="connsiteY4" fmla="*/ 111791 h 150127"/>
                  <a:gd name="connsiteX5" fmla="*/ 66488 w 133649"/>
                  <a:gd name="connsiteY5" fmla="*/ 150128 h 150127"/>
                  <a:gd name="connsiteX6" fmla="*/ 105257 w 133649"/>
                  <a:gd name="connsiteY6" fmla="*/ 128029 h 1501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33649" h="150127">
                    <a:moveTo>
                      <a:pt x="133650" y="81237"/>
                    </a:moveTo>
                    <a:lnTo>
                      <a:pt x="133650" y="34397"/>
                    </a:lnTo>
                    <a:lnTo>
                      <a:pt x="66488" y="0"/>
                    </a:lnTo>
                    <a:lnTo>
                      <a:pt x="0" y="34397"/>
                    </a:lnTo>
                    <a:lnTo>
                      <a:pt x="0" y="111791"/>
                    </a:lnTo>
                    <a:lnTo>
                      <a:pt x="66488" y="150128"/>
                    </a:lnTo>
                    <a:lnTo>
                      <a:pt x="105257" y="128029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1607" name="Gráfico 14">
                <a:extLst>
                  <a:ext uri="{FF2B5EF4-FFF2-40B4-BE49-F238E27FC236}">
                    <a16:creationId xmlns:a16="http://schemas.microsoft.com/office/drawing/2014/main" id="{DC049C25-4F6E-5131-B053-0AA327D9B866}"/>
                  </a:ext>
                </a:extLst>
              </p:cNvPr>
              <p:cNvGrpSpPr/>
              <p:nvPr/>
            </p:nvGrpSpPr>
            <p:grpSpPr>
              <a:xfrm>
                <a:off x="3920821" y="4270352"/>
                <a:ext cx="85608" cy="73742"/>
                <a:chOff x="3920821" y="4270352"/>
                <a:chExt cx="85608" cy="73742"/>
              </a:xfrm>
            </p:grpSpPr>
            <p:grpSp>
              <p:nvGrpSpPr>
                <p:cNvPr id="1608" name="Gráfico 14">
                  <a:extLst>
                    <a:ext uri="{FF2B5EF4-FFF2-40B4-BE49-F238E27FC236}">
                      <a16:creationId xmlns:a16="http://schemas.microsoft.com/office/drawing/2014/main" id="{6E373A95-83D5-AE79-4233-18D42C93D4EF}"/>
                    </a:ext>
                  </a:extLst>
                </p:cNvPr>
                <p:cNvGrpSpPr/>
                <p:nvPr/>
              </p:nvGrpSpPr>
              <p:grpSpPr>
                <a:xfrm>
                  <a:off x="3920821" y="4270352"/>
                  <a:ext cx="85608" cy="23491"/>
                  <a:chOff x="3920821" y="4270352"/>
                  <a:chExt cx="85608" cy="23491"/>
                </a:xfrm>
              </p:grpSpPr>
              <p:sp>
                <p:nvSpPr>
                  <p:cNvPr id="1609" name="Forma livre: Forma 1608">
                    <a:extLst>
                      <a:ext uri="{FF2B5EF4-FFF2-40B4-BE49-F238E27FC236}">
                        <a16:creationId xmlns:a16="http://schemas.microsoft.com/office/drawing/2014/main" id="{0495FEF2-1D6C-BF21-B111-49A0980D680D}"/>
                      </a:ext>
                    </a:extLst>
                  </p:cNvPr>
                  <p:cNvSpPr/>
                  <p:nvPr/>
                </p:nvSpPr>
                <p:spPr>
                  <a:xfrm>
                    <a:off x="3963769" y="4270352"/>
                    <a:ext cx="42660" cy="23491"/>
                  </a:xfrm>
                  <a:custGeom>
                    <a:avLst/>
                    <a:gdLst>
                      <a:gd name="connsiteX0" fmla="*/ 42660 w 42660"/>
                      <a:gd name="connsiteY0" fmla="*/ 0 h 23491"/>
                      <a:gd name="connsiteX1" fmla="*/ 0 w 42660"/>
                      <a:gd name="connsiteY1" fmla="*/ 23492 h 2349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42660" h="23491">
                        <a:moveTo>
                          <a:pt x="42660" y="0"/>
                        </a:moveTo>
                        <a:lnTo>
                          <a:pt x="0" y="23492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1610" name="Forma livre: Forma 1609">
                    <a:extLst>
                      <a:ext uri="{FF2B5EF4-FFF2-40B4-BE49-F238E27FC236}">
                        <a16:creationId xmlns:a16="http://schemas.microsoft.com/office/drawing/2014/main" id="{E650CAD6-B03A-3271-FD38-553A624B04A4}"/>
                      </a:ext>
                    </a:extLst>
                  </p:cNvPr>
                  <p:cNvSpPr/>
                  <p:nvPr/>
                </p:nvSpPr>
                <p:spPr>
                  <a:xfrm>
                    <a:off x="3920821" y="4270352"/>
                    <a:ext cx="42660" cy="23491"/>
                  </a:xfrm>
                  <a:custGeom>
                    <a:avLst/>
                    <a:gdLst>
                      <a:gd name="connsiteX0" fmla="*/ 0 w 42660"/>
                      <a:gd name="connsiteY0" fmla="*/ 0 h 23491"/>
                      <a:gd name="connsiteX1" fmla="*/ 42660 w 42660"/>
                      <a:gd name="connsiteY1" fmla="*/ 23492 h 2349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42660" h="23491">
                        <a:moveTo>
                          <a:pt x="0" y="0"/>
                        </a:moveTo>
                        <a:lnTo>
                          <a:pt x="42660" y="23492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  <p:sp>
              <p:nvSpPr>
                <p:cNvPr id="1611" name="Forma livre: Forma 1610">
                  <a:extLst>
                    <a:ext uri="{FF2B5EF4-FFF2-40B4-BE49-F238E27FC236}">
                      <a16:creationId xmlns:a16="http://schemas.microsoft.com/office/drawing/2014/main" id="{0F5F1EDA-2426-2226-E64E-938D2202F409}"/>
                    </a:ext>
                  </a:extLst>
                </p:cNvPr>
                <p:cNvSpPr/>
                <p:nvPr/>
              </p:nvSpPr>
              <p:spPr>
                <a:xfrm>
                  <a:off x="3963625" y="4294564"/>
                  <a:ext cx="4804" cy="49530"/>
                </a:xfrm>
                <a:custGeom>
                  <a:avLst/>
                  <a:gdLst>
                    <a:gd name="connsiteX0" fmla="*/ 0 w 4804"/>
                    <a:gd name="connsiteY0" fmla="*/ 0 h 49530"/>
                    <a:gd name="connsiteX1" fmla="*/ 0 w 4804"/>
                    <a:gd name="connsiteY1" fmla="*/ 49530 h 4953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804" h="49530">
                      <a:moveTo>
                        <a:pt x="0" y="0"/>
                      </a:moveTo>
                      <a:lnTo>
                        <a:pt x="0" y="4953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grpSp>
          <p:nvGrpSpPr>
            <p:cNvPr id="1612" name="Gráfico 14">
              <a:extLst>
                <a:ext uri="{FF2B5EF4-FFF2-40B4-BE49-F238E27FC236}">
                  <a16:creationId xmlns:a16="http://schemas.microsoft.com/office/drawing/2014/main" id="{BFE98EDD-B1A2-658C-B0D3-9E02C6A91A26}"/>
                </a:ext>
              </a:extLst>
            </p:cNvPr>
            <p:cNvGrpSpPr/>
            <p:nvPr/>
          </p:nvGrpSpPr>
          <p:grpSpPr>
            <a:xfrm>
              <a:off x="4004652" y="4160242"/>
              <a:ext cx="133649" cy="104488"/>
              <a:chOff x="4004652" y="4160242"/>
              <a:chExt cx="133649" cy="104488"/>
            </a:xfrm>
            <a:noFill/>
          </p:grpSpPr>
          <p:sp>
            <p:nvSpPr>
              <p:cNvPr id="1613" name="Forma livre: Forma 1612">
                <a:extLst>
                  <a:ext uri="{FF2B5EF4-FFF2-40B4-BE49-F238E27FC236}">
                    <a16:creationId xmlns:a16="http://schemas.microsoft.com/office/drawing/2014/main" id="{E2F6A7F9-F7FF-B6EC-B126-91665B060949}"/>
                  </a:ext>
                </a:extLst>
              </p:cNvPr>
              <p:cNvSpPr/>
              <p:nvPr/>
            </p:nvSpPr>
            <p:spPr>
              <a:xfrm>
                <a:off x="4004652" y="4160242"/>
                <a:ext cx="133649" cy="82774"/>
              </a:xfrm>
              <a:custGeom>
                <a:avLst/>
                <a:gdLst>
                  <a:gd name="connsiteX0" fmla="*/ 133650 w 133649"/>
                  <a:gd name="connsiteY0" fmla="*/ 80709 h 82774"/>
                  <a:gd name="connsiteX1" fmla="*/ 133650 w 133649"/>
                  <a:gd name="connsiteY1" fmla="*/ 34397 h 82774"/>
                  <a:gd name="connsiteX2" fmla="*/ 66488 w 133649"/>
                  <a:gd name="connsiteY2" fmla="*/ 0 h 82774"/>
                  <a:gd name="connsiteX3" fmla="*/ 0 w 133649"/>
                  <a:gd name="connsiteY3" fmla="*/ 34397 h 82774"/>
                  <a:gd name="connsiteX4" fmla="*/ 0 w 133649"/>
                  <a:gd name="connsiteY4" fmla="*/ 82774 h 827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33649" h="82774">
                    <a:moveTo>
                      <a:pt x="133650" y="80709"/>
                    </a:moveTo>
                    <a:lnTo>
                      <a:pt x="133650" y="34397"/>
                    </a:lnTo>
                    <a:lnTo>
                      <a:pt x="66488" y="0"/>
                    </a:lnTo>
                    <a:lnTo>
                      <a:pt x="0" y="34397"/>
                    </a:lnTo>
                    <a:lnTo>
                      <a:pt x="0" y="82774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1614" name="Gráfico 14">
                <a:extLst>
                  <a:ext uri="{FF2B5EF4-FFF2-40B4-BE49-F238E27FC236}">
                    <a16:creationId xmlns:a16="http://schemas.microsoft.com/office/drawing/2014/main" id="{498702F4-6306-531F-BAC9-510439F02E3B}"/>
                  </a:ext>
                </a:extLst>
              </p:cNvPr>
              <p:cNvGrpSpPr/>
              <p:nvPr/>
            </p:nvGrpSpPr>
            <p:grpSpPr>
              <a:xfrm>
                <a:off x="4028673" y="4208283"/>
                <a:ext cx="85608" cy="56447"/>
                <a:chOff x="4028673" y="4208283"/>
                <a:chExt cx="85608" cy="56447"/>
              </a:xfrm>
            </p:grpSpPr>
            <p:grpSp>
              <p:nvGrpSpPr>
                <p:cNvPr id="1615" name="Gráfico 14">
                  <a:extLst>
                    <a:ext uri="{FF2B5EF4-FFF2-40B4-BE49-F238E27FC236}">
                      <a16:creationId xmlns:a16="http://schemas.microsoft.com/office/drawing/2014/main" id="{E061A7EF-BFAC-3697-4373-F713BCB6BE64}"/>
                    </a:ext>
                  </a:extLst>
                </p:cNvPr>
                <p:cNvGrpSpPr/>
                <p:nvPr/>
              </p:nvGrpSpPr>
              <p:grpSpPr>
                <a:xfrm>
                  <a:off x="4028673" y="4208283"/>
                  <a:ext cx="85608" cy="23491"/>
                  <a:chOff x="4028673" y="4208283"/>
                  <a:chExt cx="85608" cy="23491"/>
                </a:xfrm>
              </p:grpSpPr>
              <p:sp>
                <p:nvSpPr>
                  <p:cNvPr id="1616" name="Forma livre: Forma 1615">
                    <a:extLst>
                      <a:ext uri="{FF2B5EF4-FFF2-40B4-BE49-F238E27FC236}">
                        <a16:creationId xmlns:a16="http://schemas.microsoft.com/office/drawing/2014/main" id="{A9FEB5FE-2F85-360F-BF8F-BCB2D0ECB69C}"/>
                      </a:ext>
                    </a:extLst>
                  </p:cNvPr>
                  <p:cNvSpPr/>
                  <p:nvPr/>
                </p:nvSpPr>
                <p:spPr>
                  <a:xfrm>
                    <a:off x="4071621" y="4208283"/>
                    <a:ext cx="42660" cy="23491"/>
                  </a:xfrm>
                  <a:custGeom>
                    <a:avLst/>
                    <a:gdLst>
                      <a:gd name="connsiteX0" fmla="*/ 42660 w 42660"/>
                      <a:gd name="connsiteY0" fmla="*/ 0 h 23491"/>
                      <a:gd name="connsiteX1" fmla="*/ 0 w 42660"/>
                      <a:gd name="connsiteY1" fmla="*/ 23492 h 2349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42660" h="23491">
                        <a:moveTo>
                          <a:pt x="42660" y="0"/>
                        </a:moveTo>
                        <a:lnTo>
                          <a:pt x="0" y="23492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1617" name="Forma livre: Forma 1616">
                    <a:extLst>
                      <a:ext uri="{FF2B5EF4-FFF2-40B4-BE49-F238E27FC236}">
                        <a16:creationId xmlns:a16="http://schemas.microsoft.com/office/drawing/2014/main" id="{60727FCE-638A-8C2C-1E6A-72AFD0C294D7}"/>
                      </a:ext>
                    </a:extLst>
                  </p:cNvPr>
                  <p:cNvSpPr/>
                  <p:nvPr/>
                </p:nvSpPr>
                <p:spPr>
                  <a:xfrm>
                    <a:off x="4028673" y="4208283"/>
                    <a:ext cx="42660" cy="23491"/>
                  </a:xfrm>
                  <a:custGeom>
                    <a:avLst/>
                    <a:gdLst>
                      <a:gd name="connsiteX0" fmla="*/ 0 w 42660"/>
                      <a:gd name="connsiteY0" fmla="*/ 0 h 23491"/>
                      <a:gd name="connsiteX1" fmla="*/ 42660 w 42660"/>
                      <a:gd name="connsiteY1" fmla="*/ 23492 h 2349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42660" h="23491">
                        <a:moveTo>
                          <a:pt x="0" y="0"/>
                        </a:moveTo>
                        <a:lnTo>
                          <a:pt x="42660" y="23492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  <p:sp>
              <p:nvSpPr>
                <p:cNvPr id="1618" name="Forma livre: Forma 1617">
                  <a:extLst>
                    <a:ext uri="{FF2B5EF4-FFF2-40B4-BE49-F238E27FC236}">
                      <a16:creationId xmlns:a16="http://schemas.microsoft.com/office/drawing/2014/main" id="{E4A677F3-76C6-464E-9892-0CE25CC01C54}"/>
                    </a:ext>
                  </a:extLst>
                </p:cNvPr>
                <p:cNvSpPr/>
                <p:nvPr/>
              </p:nvSpPr>
              <p:spPr>
                <a:xfrm>
                  <a:off x="4071477" y="4232495"/>
                  <a:ext cx="4804" cy="32235"/>
                </a:xfrm>
                <a:custGeom>
                  <a:avLst/>
                  <a:gdLst>
                    <a:gd name="connsiteX0" fmla="*/ 0 w 4804"/>
                    <a:gd name="connsiteY0" fmla="*/ 0 h 32235"/>
                    <a:gd name="connsiteX1" fmla="*/ 0 w 4804"/>
                    <a:gd name="connsiteY1" fmla="*/ 32235 h 3223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804" h="32235">
                      <a:moveTo>
                        <a:pt x="0" y="0"/>
                      </a:moveTo>
                      <a:lnTo>
                        <a:pt x="0" y="32235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</p:grpSp>
      <p:grpSp>
        <p:nvGrpSpPr>
          <p:cNvPr id="1619" name="Gráfico 14">
            <a:extLst>
              <a:ext uri="{FF2B5EF4-FFF2-40B4-BE49-F238E27FC236}">
                <a16:creationId xmlns:a16="http://schemas.microsoft.com/office/drawing/2014/main" id="{6429AE15-D34E-3C22-5654-4F1EBC4E133A}"/>
              </a:ext>
            </a:extLst>
          </p:cNvPr>
          <p:cNvGrpSpPr/>
          <p:nvPr/>
        </p:nvGrpSpPr>
        <p:grpSpPr>
          <a:xfrm>
            <a:off x="3322425" y="4173021"/>
            <a:ext cx="247410" cy="247410"/>
            <a:chOff x="3322425" y="4173021"/>
            <a:chExt cx="247410" cy="247410"/>
          </a:xfrm>
          <a:noFill/>
        </p:grpSpPr>
        <p:grpSp>
          <p:nvGrpSpPr>
            <p:cNvPr id="1620" name="Gráfico 14">
              <a:extLst>
                <a:ext uri="{FF2B5EF4-FFF2-40B4-BE49-F238E27FC236}">
                  <a16:creationId xmlns:a16="http://schemas.microsoft.com/office/drawing/2014/main" id="{B3EB430C-B243-0FFF-D8D7-893B3212767E}"/>
                </a:ext>
              </a:extLst>
            </p:cNvPr>
            <p:cNvGrpSpPr/>
            <p:nvPr/>
          </p:nvGrpSpPr>
          <p:grpSpPr>
            <a:xfrm>
              <a:off x="3322425" y="4173021"/>
              <a:ext cx="53661" cy="247410"/>
              <a:chOff x="3322425" y="4173021"/>
              <a:chExt cx="53661" cy="247410"/>
            </a:xfrm>
            <a:noFill/>
          </p:grpSpPr>
          <p:sp>
            <p:nvSpPr>
              <p:cNvPr id="1621" name="Forma livre: Forma 1620">
                <a:extLst>
                  <a:ext uri="{FF2B5EF4-FFF2-40B4-BE49-F238E27FC236}">
                    <a16:creationId xmlns:a16="http://schemas.microsoft.com/office/drawing/2014/main" id="{CB2CF375-9BC1-808E-841C-A38933FE7EA2}"/>
                  </a:ext>
                </a:extLst>
              </p:cNvPr>
              <p:cNvSpPr/>
              <p:nvPr/>
            </p:nvSpPr>
            <p:spPr>
              <a:xfrm>
                <a:off x="3322425" y="4366770"/>
                <a:ext cx="53661" cy="53661"/>
              </a:xfrm>
              <a:custGeom>
                <a:avLst/>
                <a:gdLst>
                  <a:gd name="connsiteX0" fmla="*/ 0 w 53661"/>
                  <a:gd name="connsiteY0" fmla="*/ 0 h 53661"/>
                  <a:gd name="connsiteX1" fmla="*/ 53662 w 53661"/>
                  <a:gd name="connsiteY1" fmla="*/ 0 h 53661"/>
                  <a:gd name="connsiteX2" fmla="*/ 53662 w 53661"/>
                  <a:gd name="connsiteY2" fmla="*/ 53662 h 53661"/>
                  <a:gd name="connsiteX3" fmla="*/ 0 w 53661"/>
                  <a:gd name="connsiteY3" fmla="*/ 53662 h 536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3661" h="53661">
                    <a:moveTo>
                      <a:pt x="0" y="0"/>
                    </a:moveTo>
                    <a:lnTo>
                      <a:pt x="53662" y="0"/>
                    </a:lnTo>
                    <a:lnTo>
                      <a:pt x="53662" y="53662"/>
                    </a:lnTo>
                    <a:lnTo>
                      <a:pt x="0" y="53662"/>
                    </a:ln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622" name="Forma livre: Forma 1621">
                <a:extLst>
                  <a:ext uri="{FF2B5EF4-FFF2-40B4-BE49-F238E27FC236}">
                    <a16:creationId xmlns:a16="http://schemas.microsoft.com/office/drawing/2014/main" id="{14538325-CF48-1A24-BE84-3835CAEA1D64}"/>
                  </a:ext>
                </a:extLst>
              </p:cNvPr>
              <p:cNvSpPr/>
              <p:nvPr/>
            </p:nvSpPr>
            <p:spPr>
              <a:xfrm>
                <a:off x="3322425" y="4269919"/>
                <a:ext cx="53661" cy="53661"/>
              </a:xfrm>
              <a:custGeom>
                <a:avLst/>
                <a:gdLst>
                  <a:gd name="connsiteX0" fmla="*/ 0 w 53661"/>
                  <a:gd name="connsiteY0" fmla="*/ 0 h 53661"/>
                  <a:gd name="connsiteX1" fmla="*/ 53662 w 53661"/>
                  <a:gd name="connsiteY1" fmla="*/ 0 h 53661"/>
                  <a:gd name="connsiteX2" fmla="*/ 53662 w 53661"/>
                  <a:gd name="connsiteY2" fmla="*/ 53662 h 53661"/>
                  <a:gd name="connsiteX3" fmla="*/ 0 w 53661"/>
                  <a:gd name="connsiteY3" fmla="*/ 53662 h 536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3661" h="53661">
                    <a:moveTo>
                      <a:pt x="0" y="0"/>
                    </a:moveTo>
                    <a:lnTo>
                      <a:pt x="53662" y="0"/>
                    </a:lnTo>
                    <a:lnTo>
                      <a:pt x="53662" y="53662"/>
                    </a:lnTo>
                    <a:lnTo>
                      <a:pt x="0" y="53662"/>
                    </a:ln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623" name="Forma livre: Forma 1622">
                <a:extLst>
                  <a:ext uri="{FF2B5EF4-FFF2-40B4-BE49-F238E27FC236}">
                    <a16:creationId xmlns:a16="http://schemas.microsoft.com/office/drawing/2014/main" id="{0DB6D8A8-47E4-F264-2EFE-72EF847E6167}"/>
                  </a:ext>
                </a:extLst>
              </p:cNvPr>
              <p:cNvSpPr/>
              <p:nvPr/>
            </p:nvSpPr>
            <p:spPr>
              <a:xfrm>
                <a:off x="3322425" y="4173021"/>
                <a:ext cx="53661" cy="53661"/>
              </a:xfrm>
              <a:custGeom>
                <a:avLst/>
                <a:gdLst>
                  <a:gd name="connsiteX0" fmla="*/ 0 w 53661"/>
                  <a:gd name="connsiteY0" fmla="*/ 0 h 53661"/>
                  <a:gd name="connsiteX1" fmla="*/ 53662 w 53661"/>
                  <a:gd name="connsiteY1" fmla="*/ 0 h 53661"/>
                  <a:gd name="connsiteX2" fmla="*/ 53662 w 53661"/>
                  <a:gd name="connsiteY2" fmla="*/ 53662 h 53661"/>
                  <a:gd name="connsiteX3" fmla="*/ 0 w 53661"/>
                  <a:gd name="connsiteY3" fmla="*/ 53662 h 536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3661" h="53661">
                    <a:moveTo>
                      <a:pt x="0" y="0"/>
                    </a:moveTo>
                    <a:lnTo>
                      <a:pt x="53662" y="0"/>
                    </a:lnTo>
                    <a:lnTo>
                      <a:pt x="53662" y="53662"/>
                    </a:lnTo>
                    <a:lnTo>
                      <a:pt x="0" y="53662"/>
                    </a:ln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624" name="Gráfico 14">
              <a:extLst>
                <a:ext uri="{FF2B5EF4-FFF2-40B4-BE49-F238E27FC236}">
                  <a16:creationId xmlns:a16="http://schemas.microsoft.com/office/drawing/2014/main" id="{FCD8B028-33F3-D248-56FE-B0A9A2EDD390}"/>
                </a:ext>
              </a:extLst>
            </p:cNvPr>
            <p:cNvGrpSpPr/>
            <p:nvPr/>
          </p:nvGrpSpPr>
          <p:grpSpPr>
            <a:xfrm>
              <a:off x="3419323" y="4173021"/>
              <a:ext cx="53661" cy="247410"/>
              <a:chOff x="3419323" y="4173021"/>
              <a:chExt cx="53661" cy="247410"/>
            </a:xfrm>
            <a:noFill/>
          </p:grpSpPr>
          <p:sp>
            <p:nvSpPr>
              <p:cNvPr id="1625" name="Forma livre: Forma 1624">
                <a:extLst>
                  <a:ext uri="{FF2B5EF4-FFF2-40B4-BE49-F238E27FC236}">
                    <a16:creationId xmlns:a16="http://schemas.microsoft.com/office/drawing/2014/main" id="{85DC2064-9360-AB0E-37AE-33A8C57D9CF4}"/>
                  </a:ext>
                </a:extLst>
              </p:cNvPr>
              <p:cNvSpPr/>
              <p:nvPr/>
            </p:nvSpPr>
            <p:spPr>
              <a:xfrm>
                <a:off x="3419323" y="4366770"/>
                <a:ext cx="53661" cy="53661"/>
              </a:xfrm>
              <a:custGeom>
                <a:avLst/>
                <a:gdLst>
                  <a:gd name="connsiteX0" fmla="*/ 0 w 53661"/>
                  <a:gd name="connsiteY0" fmla="*/ 0 h 53661"/>
                  <a:gd name="connsiteX1" fmla="*/ 53662 w 53661"/>
                  <a:gd name="connsiteY1" fmla="*/ 0 h 53661"/>
                  <a:gd name="connsiteX2" fmla="*/ 53662 w 53661"/>
                  <a:gd name="connsiteY2" fmla="*/ 53662 h 53661"/>
                  <a:gd name="connsiteX3" fmla="*/ 0 w 53661"/>
                  <a:gd name="connsiteY3" fmla="*/ 53662 h 536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3661" h="53661">
                    <a:moveTo>
                      <a:pt x="0" y="0"/>
                    </a:moveTo>
                    <a:lnTo>
                      <a:pt x="53662" y="0"/>
                    </a:lnTo>
                    <a:lnTo>
                      <a:pt x="53662" y="53662"/>
                    </a:lnTo>
                    <a:lnTo>
                      <a:pt x="0" y="53662"/>
                    </a:ln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626" name="Forma livre: Forma 1625">
                <a:extLst>
                  <a:ext uri="{FF2B5EF4-FFF2-40B4-BE49-F238E27FC236}">
                    <a16:creationId xmlns:a16="http://schemas.microsoft.com/office/drawing/2014/main" id="{8C518A64-E1E3-29D8-4117-0EAC528BA4BA}"/>
                  </a:ext>
                </a:extLst>
              </p:cNvPr>
              <p:cNvSpPr/>
              <p:nvPr/>
            </p:nvSpPr>
            <p:spPr>
              <a:xfrm>
                <a:off x="3419323" y="4269919"/>
                <a:ext cx="53661" cy="53661"/>
              </a:xfrm>
              <a:custGeom>
                <a:avLst/>
                <a:gdLst>
                  <a:gd name="connsiteX0" fmla="*/ 0 w 53661"/>
                  <a:gd name="connsiteY0" fmla="*/ 0 h 53661"/>
                  <a:gd name="connsiteX1" fmla="*/ 53662 w 53661"/>
                  <a:gd name="connsiteY1" fmla="*/ 0 h 53661"/>
                  <a:gd name="connsiteX2" fmla="*/ 53662 w 53661"/>
                  <a:gd name="connsiteY2" fmla="*/ 53662 h 53661"/>
                  <a:gd name="connsiteX3" fmla="*/ 0 w 53661"/>
                  <a:gd name="connsiteY3" fmla="*/ 53662 h 536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3661" h="53661">
                    <a:moveTo>
                      <a:pt x="0" y="0"/>
                    </a:moveTo>
                    <a:lnTo>
                      <a:pt x="53662" y="0"/>
                    </a:lnTo>
                    <a:lnTo>
                      <a:pt x="53662" y="53662"/>
                    </a:lnTo>
                    <a:lnTo>
                      <a:pt x="0" y="53662"/>
                    </a:ln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627" name="Forma livre: Forma 1626">
                <a:extLst>
                  <a:ext uri="{FF2B5EF4-FFF2-40B4-BE49-F238E27FC236}">
                    <a16:creationId xmlns:a16="http://schemas.microsoft.com/office/drawing/2014/main" id="{B0FF5E26-9C6E-1EBA-749A-039E4F928CA6}"/>
                  </a:ext>
                </a:extLst>
              </p:cNvPr>
              <p:cNvSpPr/>
              <p:nvPr/>
            </p:nvSpPr>
            <p:spPr>
              <a:xfrm>
                <a:off x="3419323" y="4173021"/>
                <a:ext cx="53661" cy="53661"/>
              </a:xfrm>
              <a:custGeom>
                <a:avLst/>
                <a:gdLst>
                  <a:gd name="connsiteX0" fmla="*/ 0 w 53661"/>
                  <a:gd name="connsiteY0" fmla="*/ 0 h 53661"/>
                  <a:gd name="connsiteX1" fmla="*/ 53662 w 53661"/>
                  <a:gd name="connsiteY1" fmla="*/ 0 h 53661"/>
                  <a:gd name="connsiteX2" fmla="*/ 53662 w 53661"/>
                  <a:gd name="connsiteY2" fmla="*/ 53662 h 53661"/>
                  <a:gd name="connsiteX3" fmla="*/ 0 w 53661"/>
                  <a:gd name="connsiteY3" fmla="*/ 53662 h 536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3661" h="53661">
                    <a:moveTo>
                      <a:pt x="0" y="0"/>
                    </a:moveTo>
                    <a:lnTo>
                      <a:pt x="53662" y="0"/>
                    </a:lnTo>
                    <a:lnTo>
                      <a:pt x="53662" y="53662"/>
                    </a:lnTo>
                    <a:lnTo>
                      <a:pt x="0" y="53662"/>
                    </a:ln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628" name="Gráfico 14">
              <a:extLst>
                <a:ext uri="{FF2B5EF4-FFF2-40B4-BE49-F238E27FC236}">
                  <a16:creationId xmlns:a16="http://schemas.microsoft.com/office/drawing/2014/main" id="{39AFA2EC-D56C-567F-BC78-EEB2382FE4BE}"/>
                </a:ext>
              </a:extLst>
            </p:cNvPr>
            <p:cNvGrpSpPr/>
            <p:nvPr/>
          </p:nvGrpSpPr>
          <p:grpSpPr>
            <a:xfrm>
              <a:off x="3516173" y="4173021"/>
              <a:ext cx="53661" cy="247410"/>
              <a:chOff x="3516173" y="4173021"/>
              <a:chExt cx="53661" cy="247410"/>
            </a:xfrm>
            <a:noFill/>
          </p:grpSpPr>
          <p:sp>
            <p:nvSpPr>
              <p:cNvPr id="1629" name="Forma livre: Forma 1628">
                <a:extLst>
                  <a:ext uri="{FF2B5EF4-FFF2-40B4-BE49-F238E27FC236}">
                    <a16:creationId xmlns:a16="http://schemas.microsoft.com/office/drawing/2014/main" id="{500E5923-4320-8814-2A13-DB8C64DDFDF6}"/>
                  </a:ext>
                </a:extLst>
              </p:cNvPr>
              <p:cNvSpPr/>
              <p:nvPr/>
            </p:nvSpPr>
            <p:spPr>
              <a:xfrm>
                <a:off x="3516173" y="4366770"/>
                <a:ext cx="53661" cy="53661"/>
              </a:xfrm>
              <a:custGeom>
                <a:avLst/>
                <a:gdLst>
                  <a:gd name="connsiteX0" fmla="*/ 0 w 53661"/>
                  <a:gd name="connsiteY0" fmla="*/ 0 h 53661"/>
                  <a:gd name="connsiteX1" fmla="*/ 53662 w 53661"/>
                  <a:gd name="connsiteY1" fmla="*/ 0 h 53661"/>
                  <a:gd name="connsiteX2" fmla="*/ 53662 w 53661"/>
                  <a:gd name="connsiteY2" fmla="*/ 53662 h 53661"/>
                  <a:gd name="connsiteX3" fmla="*/ 0 w 53661"/>
                  <a:gd name="connsiteY3" fmla="*/ 53662 h 536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3661" h="53661">
                    <a:moveTo>
                      <a:pt x="0" y="0"/>
                    </a:moveTo>
                    <a:lnTo>
                      <a:pt x="53662" y="0"/>
                    </a:lnTo>
                    <a:lnTo>
                      <a:pt x="53662" y="53662"/>
                    </a:lnTo>
                    <a:lnTo>
                      <a:pt x="0" y="53662"/>
                    </a:ln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630" name="Forma livre: Forma 1629">
                <a:extLst>
                  <a:ext uri="{FF2B5EF4-FFF2-40B4-BE49-F238E27FC236}">
                    <a16:creationId xmlns:a16="http://schemas.microsoft.com/office/drawing/2014/main" id="{1CD5E0AB-C285-789C-0D63-9F8BF3A1C62C}"/>
                  </a:ext>
                </a:extLst>
              </p:cNvPr>
              <p:cNvSpPr/>
              <p:nvPr/>
            </p:nvSpPr>
            <p:spPr>
              <a:xfrm>
                <a:off x="3516173" y="4269919"/>
                <a:ext cx="53661" cy="53661"/>
              </a:xfrm>
              <a:custGeom>
                <a:avLst/>
                <a:gdLst>
                  <a:gd name="connsiteX0" fmla="*/ 0 w 53661"/>
                  <a:gd name="connsiteY0" fmla="*/ 0 h 53661"/>
                  <a:gd name="connsiteX1" fmla="*/ 53662 w 53661"/>
                  <a:gd name="connsiteY1" fmla="*/ 0 h 53661"/>
                  <a:gd name="connsiteX2" fmla="*/ 53662 w 53661"/>
                  <a:gd name="connsiteY2" fmla="*/ 53662 h 53661"/>
                  <a:gd name="connsiteX3" fmla="*/ 0 w 53661"/>
                  <a:gd name="connsiteY3" fmla="*/ 53662 h 536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3661" h="53661">
                    <a:moveTo>
                      <a:pt x="0" y="0"/>
                    </a:moveTo>
                    <a:lnTo>
                      <a:pt x="53662" y="0"/>
                    </a:lnTo>
                    <a:lnTo>
                      <a:pt x="53662" y="53662"/>
                    </a:lnTo>
                    <a:lnTo>
                      <a:pt x="0" y="53662"/>
                    </a:ln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631" name="Forma livre: Forma 1630">
                <a:extLst>
                  <a:ext uri="{FF2B5EF4-FFF2-40B4-BE49-F238E27FC236}">
                    <a16:creationId xmlns:a16="http://schemas.microsoft.com/office/drawing/2014/main" id="{0414FF8B-5668-BCA0-7E9A-238FC37CC984}"/>
                  </a:ext>
                </a:extLst>
              </p:cNvPr>
              <p:cNvSpPr/>
              <p:nvPr/>
            </p:nvSpPr>
            <p:spPr>
              <a:xfrm>
                <a:off x="3516173" y="4173021"/>
                <a:ext cx="53661" cy="53661"/>
              </a:xfrm>
              <a:custGeom>
                <a:avLst/>
                <a:gdLst>
                  <a:gd name="connsiteX0" fmla="*/ 0 w 53661"/>
                  <a:gd name="connsiteY0" fmla="*/ 0 h 53661"/>
                  <a:gd name="connsiteX1" fmla="*/ 53662 w 53661"/>
                  <a:gd name="connsiteY1" fmla="*/ 0 h 53661"/>
                  <a:gd name="connsiteX2" fmla="*/ 53662 w 53661"/>
                  <a:gd name="connsiteY2" fmla="*/ 53662 h 53661"/>
                  <a:gd name="connsiteX3" fmla="*/ 0 w 53661"/>
                  <a:gd name="connsiteY3" fmla="*/ 53662 h 536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3661" h="53661">
                    <a:moveTo>
                      <a:pt x="0" y="0"/>
                    </a:moveTo>
                    <a:lnTo>
                      <a:pt x="53662" y="0"/>
                    </a:lnTo>
                    <a:lnTo>
                      <a:pt x="53662" y="53662"/>
                    </a:lnTo>
                    <a:lnTo>
                      <a:pt x="0" y="53662"/>
                    </a:ln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632" name="Forma livre: Forma 1631">
              <a:extLst>
                <a:ext uri="{FF2B5EF4-FFF2-40B4-BE49-F238E27FC236}">
                  <a16:creationId xmlns:a16="http://schemas.microsoft.com/office/drawing/2014/main" id="{FA6D784D-1B4F-10A8-1260-389FB7E2FA17}"/>
                </a:ext>
              </a:extLst>
            </p:cNvPr>
            <p:cNvSpPr/>
            <p:nvPr/>
          </p:nvSpPr>
          <p:spPr>
            <a:xfrm>
              <a:off x="3445890" y="4323869"/>
              <a:ext cx="4804" cy="42612"/>
            </a:xfrm>
            <a:custGeom>
              <a:avLst/>
              <a:gdLst>
                <a:gd name="connsiteX0" fmla="*/ 0 w 4804"/>
                <a:gd name="connsiteY0" fmla="*/ 42612 h 42612"/>
                <a:gd name="connsiteX1" fmla="*/ 0 w 4804"/>
                <a:gd name="connsiteY1" fmla="*/ 0 h 426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804" h="42612">
                  <a:moveTo>
                    <a:pt x="0" y="42612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33" name="Forma livre: Forma 1632">
              <a:extLst>
                <a:ext uri="{FF2B5EF4-FFF2-40B4-BE49-F238E27FC236}">
                  <a16:creationId xmlns:a16="http://schemas.microsoft.com/office/drawing/2014/main" id="{30F5B8BE-310B-FBA1-C890-BFE5C52ED77F}"/>
                </a:ext>
              </a:extLst>
            </p:cNvPr>
            <p:cNvSpPr/>
            <p:nvPr/>
          </p:nvSpPr>
          <p:spPr>
            <a:xfrm>
              <a:off x="3445890" y="4226779"/>
              <a:ext cx="4804" cy="42660"/>
            </a:xfrm>
            <a:custGeom>
              <a:avLst/>
              <a:gdLst>
                <a:gd name="connsiteX0" fmla="*/ 0 w 4804"/>
                <a:gd name="connsiteY0" fmla="*/ 42660 h 42660"/>
                <a:gd name="connsiteX1" fmla="*/ 0 w 4804"/>
                <a:gd name="connsiteY1" fmla="*/ 0 h 426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804" h="42660">
                  <a:moveTo>
                    <a:pt x="0" y="42660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34" name="Forma livre: Forma 1633">
              <a:extLst>
                <a:ext uri="{FF2B5EF4-FFF2-40B4-BE49-F238E27FC236}">
                  <a16:creationId xmlns:a16="http://schemas.microsoft.com/office/drawing/2014/main" id="{71B6799F-E6CC-EF4B-6CD3-921855D337A7}"/>
                </a:ext>
              </a:extLst>
            </p:cNvPr>
            <p:cNvSpPr/>
            <p:nvPr/>
          </p:nvSpPr>
          <p:spPr>
            <a:xfrm>
              <a:off x="3542884" y="4323869"/>
              <a:ext cx="4804" cy="42612"/>
            </a:xfrm>
            <a:custGeom>
              <a:avLst/>
              <a:gdLst>
                <a:gd name="connsiteX0" fmla="*/ 0 w 4804"/>
                <a:gd name="connsiteY0" fmla="*/ 42612 h 42612"/>
                <a:gd name="connsiteX1" fmla="*/ 0 w 4804"/>
                <a:gd name="connsiteY1" fmla="*/ 0 h 426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804" h="42612">
                  <a:moveTo>
                    <a:pt x="0" y="42612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35" name="Forma livre: Forma 1634">
              <a:extLst>
                <a:ext uri="{FF2B5EF4-FFF2-40B4-BE49-F238E27FC236}">
                  <a16:creationId xmlns:a16="http://schemas.microsoft.com/office/drawing/2014/main" id="{95989436-837A-9DB8-40B6-E6A037C73746}"/>
                </a:ext>
              </a:extLst>
            </p:cNvPr>
            <p:cNvSpPr/>
            <p:nvPr/>
          </p:nvSpPr>
          <p:spPr>
            <a:xfrm>
              <a:off x="3542884" y="4226779"/>
              <a:ext cx="4804" cy="42660"/>
            </a:xfrm>
            <a:custGeom>
              <a:avLst/>
              <a:gdLst>
                <a:gd name="connsiteX0" fmla="*/ 0 w 4804"/>
                <a:gd name="connsiteY0" fmla="*/ 42660 h 42660"/>
                <a:gd name="connsiteX1" fmla="*/ 0 w 4804"/>
                <a:gd name="connsiteY1" fmla="*/ 0 h 426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804" h="42660">
                  <a:moveTo>
                    <a:pt x="0" y="42660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36" name="Forma livre: Forma 1635">
              <a:extLst>
                <a:ext uri="{FF2B5EF4-FFF2-40B4-BE49-F238E27FC236}">
                  <a16:creationId xmlns:a16="http://schemas.microsoft.com/office/drawing/2014/main" id="{FC4D1D47-2E1E-6066-50BF-DDB76CBAADE6}"/>
                </a:ext>
              </a:extLst>
            </p:cNvPr>
            <p:cNvSpPr/>
            <p:nvPr/>
          </p:nvSpPr>
          <p:spPr>
            <a:xfrm>
              <a:off x="3349231" y="4323869"/>
              <a:ext cx="4804" cy="42612"/>
            </a:xfrm>
            <a:custGeom>
              <a:avLst/>
              <a:gdLst>
                <a:gd name="connsiteX0" fmla="*/ 0 w 4804"/>
                <a:gd name="connsiteY0" fmla="*/ 42612 h 42612"/>
                <a:gd name="connsiteX1" fmla="*/ 0 w 4804"/>
                <a:gd name="connsiteY1" fmla="*/ 0 h 426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804" h="42612">
                  <a:moveTo>
                    <a:pt x="0" y="42612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37" name="Forma livre: Forma 1636">
              <a:extLst>
                <a:ext uri="{FF2B5EF4-FFF2-40B4-BE49-F238E27FC236}">
                  <a16:creationId xmlns:a16="http://schemas.microsoft.com/office/drawing/2014/main" id="{C49CF9FE-7FA4-8125-B51F-7FA1C33CDC3A}"/>
                </a:ext>
              </a:extLst>
            </p:cNvPr>
            <p:cNvSpPr/>
            <p:nvPr/>
          </p:nvSpPr>
          <p:spPr>
            <a:xfrm>
              <a:off x="3349231" y="4226779"/>
              <a:ext cx="4804" cy="42660"/>
            </a:xfrm>
            <a:custGeom>
              <a:avLst/>
              <a:gdLst>
                <a:gd name="connsiteX0" fmla="*/ 0 w 4804"/>
                <a:gd name="connsiteY0" fmla="*/ 42660 h 42660"/>
                <a:gd name="connsiteX1" fmla="*/ 0 w 4804"/>
                <a:gd name="connsiteY1" fmla="*/ 0 h 426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804" h="42660">
                  <a:moveTo>
                    <a:pt x="0" y="42660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38" name="Forma livre: Forma 1637">
              <a:extLst>
                <a:ext uri="{FF2B5EF4-FFF2-40B4-BE49-F238E27FC236}">
                  <a16:creationId xmlns:a16="http://schemas.microsoft.com/office/drawing/2014/main" id="{217EC12C-DEB7-22F2-368B-A341013B3C4A}"/>
                </a:ext>
              </a:extLst>
            </p:cNvPr>
            <p:cNvSpPr/>
            <p:nvPr/>
          </p:nvSpPr>
          <p:spPr>
            <a:xfrm>
              <a:off x="3473321" y="4393720"/>
              <a:ext cx="42468" cy="4804"/>
            </a:xfrm>
            <a:custGeom>
              <a:avLst/>
              <a:gdLst>
                <a:gd name="connsiteX0" fmla="*/ 0 w 42468"/>
                <a:gd name="connsiteY0" fmla="*/ 0 h 4804"/>
                <a:gd name="connsiteX1" fmla="*/ 42468 w 42468"/>
                <a:gd name="connsiteY1" fmla="*/ 0 h 48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2468" h="4804">
                  <a:moveTo>
                    <a:pt x="0" y="0"/>
                  </a:moveTo>
                  <a:lnTo>
                    <a:pt x="42468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39" name="Forma livre: Forma 1638">
              <a:extLst>
                <a:ext uri="{FF2B5EF4-FFF2-40B4-BE49-F238E27FC236}">
                  <a16:creationId xmlns:a16="http://schemas.microsoft.com/office/drawing/2014/main" id="{A140F563-C193-4314-E496-CD84BFCEE5EB}"/>
                </a:ext>
              </a:extLst>
            </p:cNvPr>
            <p:cNvSpPr/>
            <p:nvPr/>
          </p:nvSpPr>
          <p:spPr>
            <a:xfrm>
              <a:off x="3376326" y="4199924"/>
              <a:ext cx="42660" cy="4804"/>
            </a:xfrm>
            <a:custGeom>
              <a:avLst/>
              <a:gdLst>
                <a:gd name="connsiteX0" fmla="*/ 0 w 42660"/>
                <a:gd name="connsiteY0" fmla="*/ 0 h 4804"/>
                <a:gd name="connsiteX1" fmla="*/ 42660 w 42660"/>
                <a:gd name="connsiteY1" fmla="*/ 0 h 48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2660" h="4804">
                  <a:moveTo>
                    <a:pt x="0" y="0"/>
                  </a:moveTo>
                  <a:lnTo>
                    <a:pt x="4266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640" name="Gráfico 14">
            <a:extLst>
              <a:ext uri="{FF2B5EF4-FFF2-40B4-BE49-F238E27FC236}">
                <a16:creationId xmlns:a16="http://schemas.microsoft.com/office/drawing/2014/main" id="{486760C9-92E9-3CF3-B094-A75685973EE5}"/>
              </a:ext>
            </a:extLst>
          </p:cNvPr>
          <p:cNvGrpSpPr/>
          <p:nvPr/>
        </p:nvGrpSpPr>
        <p:grpSpPr>
          <a:xfrm>
            <a:off x="2680888" y="4146551"/>
            <a:ext cx="279981" cy="300399"/>
            <a:chOff x="2680888" y="4146551"/>
            <a:chExt cx="279981" cy="300399"/>
          </a:xfrm>
          <a:noFill/>
        </p:grpSpPr>
        <p:grpSp>
          <p:nvGrpSpPr>
            <p:cNvPr id="1641" name="Gráfico 14">
              <a:extLst>
                <a:ext uri="{FF2B5EF4-FFF2-40B4-BE49-F238E27FC236}">
                  <a16:creationId xmlns:a16="http://schemas.microsoft.com/office/drawing/2014/main" id="{453AC819-FB2A-C5D1-0E15-C32967DB1FC7}"/>
                </a:ext>
              </a:extLst>
            </p:cNvPr>
            <p:cNvGrpSpPr/>
            <p:nvPr/>
          </p:nvGrpSpPr>
          <p:grpSpPr>
            <a:xfrm>
              <a:off x="2680888" y="4146551"/>
              <a:ext cx="166365" cy="300399"/>
              <a:chOff x="2680888" y="4146551"/>
              <a:chExt cx="166365" cy="300399"/>
            </a:xfrm>
            <a:noFill/>
          </p:grpSpPr>
          <p:sp>
            <p:nvSpPr>
              <p:cNvPr id="1642" name="Forma livre: Forma 1641">
                <a:extLst>
                  <a:ext uri="{FF2B5EF4-FFF2-40B4-BE49-F238E27FC236}">
                    <a16:creationId xmlns:a16="http://schemas.microsoft.com/office/drawing/2014/main" id="{57B2B612-02DA-E61E-CE50-CE997D18F52F}"/>
                  </a:ext>
                </a:extLst>
              </p:cNvPr>
              <p:cNvSpPr/>
              <p:nvPr/>
            </p:nvSpPr>
            <p:spPr>
              <a:xfrm>
                <a:off x="2680888" y="4146551"/>
                <a:ext cx="166365" cy="300399"/>
              </a:xfrm>
              <a:custGeom>
                <a:avLst/>
                <a:gdLst>
                  <a:gd name="connsiteX0" fmla="*/ 166365 w 166365"/>
                  <a:gd name="connsiteY0" fmla="*/ 192211 h 300399"/>
                  <a:gd name="connsiteX1" fmla="*/ 166365 w 166365"/>
                  <a:gd name="connsiteY1" fmla="*/ 286804 h 300399"/>
                  <a:gd name="connsiteX2" fmla="*/ 152770 w 166365"/>
                  <a:gd name="connsiteY2" fmla="*/ 300399 h 300399"/>
                  <a:gd name="connsiteX3" fmla="*/ 13596 w 166365"/>
                  <a:gd name="connsiteY3" fmla="*/ 300399 h 300399"/>
                  <a:gd name="connsiteX4" fmla="*/ 0 w 166365"/>
                  <a:gd name="connsiteY4" fmla="*/ 286804 h 300399"/>
                  <a:gd name="connsiteX5" fmla="*/ 0 w 166365"/>
                  <a:gd name="connsiteY5" fmla="*/ 13596 h 300399"/>
                  <a:gd name="connsiteX6" fmla="*/ 13596 w 166365"/>
                  <a:gd name="connsiteY6" fmla="*/ 0 h 300399"/>
                  <a:gd name="connsiteX7" fmla="*/ 152722 w 166365"/>
                  <a:gd name="connsiteY7" fmla="*/ 0 h 300399"/>
                  <a:gd name="connsiteX8" fmla="*/ 166317 w 166365"/>
                  <a:gd name="connsiteY8" fmla="*/ 13596 h 300399"/>
                  <a:gd name="connsiteX9" fmla="*/ 166317 w 166365"/>
                  <a:gd name="connsiteY9" fmla="*/ 74367 h 3003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66365" h="300399">
                    <a:moveTo>
                      <a:pt x="166365" y="192211"/>
                    </a:moveTo>
                    <a:lnTo>
                      <a:pt x="166365" y="286804"/>
                    </a:lnTo>
                    <a:cubicBezTo>
                      <a:pt x="166365" y="294298"/>
                      <a:pt x="160216" y="300399"/>
                      <a:pt x="152770" y="300399"/>
                    </a:cubicBezTo>
                    <a:lnTo>
                      <a:pt x="13596" y="300399"/>
                    </a:lnTo>
                    <a:cubicBezTo>
                      <a:pt x="6101" y="300399"/>
                      <a:pt x="0" y="294250"/>
                      <a:pt x="0" y="286804"/>
                    </a:cubicBezTo>
                    <a:lnTo>
                      <a:pt x="0" y="13596"/>
                    </a:lnTo>
                    <a:cubicBezTo>
                      <a:pt x="0" y="6101"/>
                      <a:pt x="6101" y="0"/>
                      <a:pt x="13596" y="0"/>
                    </a:cubicBezTo>
                    <a:lnTo>
                      <a:pt x="152722" y="0"/>
                    </a:lnTo>
                    <a:cubicBezTo>
                      <a:pt x="160216" y="0"/>
                      <a:pt x="166317" y="6101"/>
                      <a:pt x="166317" y="13596"/>
                    </a:cubicBezTo>
                    <a:lnTo>
                      <a:pt x="166317" y="74367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643" name="Forma livre: Forma 1642">
                <a:extLst>
                  <a:ext uri="{FF2B5EF4-FFF2-40B4-BE49-F238E27FC236}">
                    <a16:creationId xmlns:a16="http://schemas.microsoft.com/office/drawing/2014/main" id="{B5E1B4F2-299F-5E9D-7BBB-9C66B3CA9949}"/>
                  </a:ext>
                </a:extLst>
              </p:cNvPr>
              <p:cNvSpPr/>
              <p:nvPr/>
            </p:nvSpPr>
            <p:spPr>
              <a:xfrm>
                <a:off x="2752757" y="4416828"/>
                <a:ext cx="22627" cy="4804"/>
              </a:xfrm>
              <a:custGeom>
                <a:avLst/>
                <a:gdLst>
                  <a:gd name="connsiteX0" fmla="*/ 0 w 22627"/>
                  <a:gd name="connsiteY0" fmla="*/ 0 h 4804"/>
                  <a:gd name="connsiteX1" fmla="*/ 22627 w 22627"/>
                  <a:gd name="connsiteY1" fmla="*/ 0 h 48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2627" h="4804">
                    <a:moveTo>
                      <a:pt x="0" y="0"/>
                    </a:moveTo>
                    <a:lnTo>
                      <a:pt x="22627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644" name="Gráfico 14">
              <a:extLst>
                <a:ext uri="{FF2B5EF4-FFF2-40B4-BE49-F238E27FC236}">
                  <a16:creationId xmlns:a16="http://schemas.microsoft.com/office/drawing/2014/main" id="{DD8D9D4D-FB01-6EEC-299A-89082CEC5B24}"/>
                </a:ext>
              </a:extLst>
            </p:cNvPr>
            <p:cNvGrpSpPr/>
            <p:nvPr/>
          </p:nvGrpSpPr>
          <p:grpSpPr>
            <a:xfrm>
              <a:off x="2881891" y="4212078"/>
              <a:ext cx="78979" cy="129950"/>
              <a:chOff x="2881891" y="4212078"/>
              <a:chExt cx="78979" cy="129950"/>
            </a:xfrm>
            <a:noFill/>
          </p:grpSpPr>
          <p:grpSp>
            <p:nvGrpSpPr>
              <p:cNvPr id="1645" name="Gráfico 14">
                <a:extLst>
                  <a:ext uri="{FF2B5EF4-FFF2-40B4-BE49-F238E27FC236}">
                    <a16:creationId xmlns:a16="http://schemas.microsoft.com/office/drawing/2014/main" id="{A492A16B-300A-21F0-6729-0B5CDCF7FB74}"/>
                  </a:ext>
                </a:extLst>
              </p:cNvPr>
              <p:cNvGrpSpPr/>
              <p:nvPr/>
            </p:nvGrpSpPr>
            <p:grpSpPr>
              <a:xfrm>
                <a:off x="2881891" y="4231727"/>
                <a:ext cx="78979" cy="90556"/>
                <a:chOff x="2881891" y="4231727"/>
                <a:chExt cx="78979" cy="90556"/>
              </a:xfrm>
              <a:noFill/>
            </p:grpSpPr>
            <p:sp>
              <p:nvSpPr>
                <p:cNvPr id="1646" name="Forma livre: Forma 1645">
                  <a:extLst>
                    <a:ext uri="{FF2B5EF4-FFF2-40B4-BE49-F238E27FC236}">
                      <a16:creationId xmlns:a16="http://schemas.microsoft.com/office/drawing/2014/main" id="{28006114-ADA3-AB9F-BAE8-9FE9CE79495E}"/>
                    </a:ext>
                  </a:extLst>
                </p:cNvPr>
                <p:cNvSpPr/>
                <p:nvPr/>
              </p:nvSpPr>
              <p:spPr>
                <a:xfrm>
                  <a:off x="2881891" y="4231727"/>
                  <a:ext cx="78931" cy="45302"/>
                </a:xfrm>
                <a:custGeom>
                  <a:avLst/>
                  <a:gdLst>
                    <a:gd name="connsiteX0" fmla="*/ 0 w 78931"/>
                    <a:gd name="connsiteY0" fmla="*/ 0 h 45302"/>
                    <a:gd name="connsiteX1" fmla="*/ 55727 w 78931"/>
                    <a:gd name="connsiteY1" fmla="*/ 0 h 45302"/>
                    <a:gd name="connsiteX2" fmla="*/ 78931 w 78931"/>
                    <a:gd name="connsiteY2" fmla="*/ 22675 h 45302"/>
                    <a:gd name="connsiteX3" fmla="*/ 55727 w 78931"/>
                    <a:gd name="connsiteY3" fmla="*/ 45302 h 45302"/>
                    <a:gd name="connsiteX4" fmla="*/ 20225 w 78931"/>
                    <a:gd name="connsiteY4" fmla="*/ 45302 h 4530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78931" h="45302">
                      <a:moveTo>
                        <a:pt x="0" y="0"/>
                      </a:moveTo>
                      <a:lnTo>
                        <a:pt x="55727" y="0"/>
                      </a:lnTo>
                      <a:cubicBezTo>
                        <a:pt x="68506" y="0"/>
                        <a:pt x="78931" y="10233"/>
                        <a:pt x="78931" y="22675"/>
                      </a:cubicBezTo>
                      <a:cubicBezTo>
                        <a:pt x="78931" y="35118"/>
                        <a:pt x="68506" y="45302"/>
                        <a:pt x="55727" y="45302"/>
                      </a:cubicBezTo>
                      <a:lnTo>
                        <a:pt x="20225" y="45302"/>
                      </a:ln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647" name="Forma livre: Forma 1646">
                  <a:extLst>
                    <a:ext uri="{FF2B5EF4-FFF2-40B4-BE49-F238E27FC236}">
                      <a16:creationId xmlns:a16="http://schemas.microsoft.com/office/drawing/2014/main" id="{28AA683B-BF33-F686-17D5-8F7CD251EBAC}"/>
                    </a:ext>
                  </a:extLst>
                </p:cNvPr>
                <p:cNvSpPr/>
                <p:nvPr/>
              </p:nvSpPr>
              <p:spPr>
                <a:xfrm>
                  <a:off x="2881939" y="4277029"/>
                  <a:ext cx="78931" cy="45254"/>
                </a:xfrm>
                <a:custGeom>
                  <a:avLst/>
                  <a:gdLst>
                    <a:gd name="connsiteX0" fmla="*/ 55727 w 78931"/>
                    <a:gd name="connsiteY0" fmla="*/ 0 h 45254"/>
                    <a:gd name="connsiteX1" fmla="*/ 78931 w 78931"/>
                    <a:gd name="connsiteY1" fmla="*/ 22627 h 45254"/>
                    <a:gd name="connsiteX2" fmla="*/ 55727 w 78931"/>
                    <a:gd name="connsiteY2" fmla="*/ 45254 h 45254"/>
                    <a:gd name="connsiteX3" fmla="*/ 0 w 78931"/>
                    <a:gd name="connsiteY3" fmla="*/ 45254 h 4525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78931" h="45254">
                      <a:moveTo>
                        <a:pt x="55727" y="0"/>
                      </a:moveTo>
                      <a:cubicBezTo>
                        <a:pt x="68506" y="0"/>
                        <a:pt x="78931" y="10185"/>
                        <a:pt x="78931" y="22627"/>
                      </a:cubicBezTo>
                      <a:cubicBezTo>
                        <a:pt x="78931" y="35070"/>
                        <a:pt x="68506" y="45254"/>
                        <a:pt x="55727" y="45254"/>
                      </a:cubicBezTo>
                      <a:lnTo>
                        <a:pt x="0" y="45254"/>
                      </a:ln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1648" name="Forma livre: Forma 1647">
                <a:extLst>
                  <a:ext uri="{FF2B5EF4-FFF2-40B4-BE49-F238E27FC236}">
                    <a16:creationId xmlns:a16="http://schemas.microsoft.com/office/drawing/2014/main" id="{0BE9461F-9927-B223-926A-5F684CC0D82E}"/>
                  </a:ext>
                </a:extLst>
              </p:cNvPr>
              <p:cNvSpPr/>
              <p:nvPr/>
            </p:nvSpPr>
            <p:spPr>
              <a:xfrm>
                <a:off x="2901203" y="4212078"/>
                <a:ext cx="4804" cy="129950"/>
              </a:xfrm>
              <a:custGeom>
                <a:avLst/>
                <a:gdLst>
                  <a:gd name="connsiteX0" fmla="*/ 0 w 4804"/>
                  <a:gd name="connsiteY0" fmla="*/ 0 h 129950"/>
                  <a:gd name="connsiteX1" fmla="*/ 0 w 4804"/>
                  <a:gd name="connsiteY1" fmla="*/ 129950 h 1299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804" h="129950">
                    <a:moveTo>
                      <a:pt x="0" y="0"/>
                    </a:moveTo>
                    <a:lnTo>
                      <a:pt x="0" y="12995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1649" name="Gráfico 14">
                <a:extLst>
                  <a:ext uri="{FF2B5EF4-FFF2-40B4-BE49-F238E27FC236}">
                    <a16:creationId xmlns:a16="http://schemas.microsoft.com/office/drawing/2014/main" id="{B15E4343-0873-450B-CB14-CE1CAB0D8305}"/>
                  </a:ext>
                </a:extLst>
              </p:cNvPr>
              <p:cNvGrpSpPr/>
              <p:nvPr/>
            </p:nvGrpSpPr>
            <p:grpSpPr>
              <a:xfrm>
                <a:off x="2931901" y="4212078"/>
                <a:ext cx="4804" cy="129950"/>
                <a:chOff x="2931901" y="4212078"/>
                <a:chExt cx="4804" cy="129950"/>
              </a:xfrm>
            </p:grpSpPr>
            <p:sp>
              <p:nvSpPr>
                <p:cNvPr id="1650" name="Forma livre: Forma 1649">
                  <a:extLst>
                    <a:ext uri="{FF2B5EF4-FFF2-40B4-BE49-F238E27FC236}">
                      <a16:creationId xmlns:a16="http://schemas.microsoft.com/office/drawing/2014/main" id="{A7E082F2-AD24-BEA6-85BB-0D59BBA11F53}"/>
                    </a:ext>
                  </a:extLst>
                </p:cNvPr>
                <p:cNvSpPr/>
                <p:nvPr/>
              </p:nvSpPr>
              <p:spPr>
                <a:xfrm>
                  <a:off x="2931901" y="4212078"/>
                  <a:ext cx="4804" cy="19312"/>
                </a:xfrm>
                <a:custGeom>
                  <a:avLst/>
                  <a:gdLst>
                    <a:gd name="connsiteX0" fmla="*/ 0 w 4804"/>
                    <a:gd name="connsiteY0" fmla="*/ 0 h 19312"/>
                    <a:gd name="connsiteX1" fmla="*/ 0 w 4804"/>
                    <a:gd name="connsiteY1" fmla="*/ 19312 h 1931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804" h="19312">
                      <a:moveTo>
                        <a:pt x="0" y="0"/>
                      </a:moveTo>
                      <a:lnTo>
                        <a:pt x="0" y="19312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651" name="Forma livre: Forma 1650">
                  <a:extLst>
                    <a:ext uri="{FF2B5EF4-FFF2-40B4-BE49-F238E27FC236}">
                      <a16:creationId xmlns:a16="http://schemas.microsoft.com/office/drawing/2014/main" id="{B13A2A84-C222-1D7F-5AD3-727BE0DEEA9F}"/>
                    </a:ext>
                  </a:extLst>
                </p:cNvPr>
                <p:cNvSpPr/>
                <p:nvPr/>
              </p:nvSpPr>
              <p:spPr>
                <a:xfrm>
                  <a:off x="2931901" y="4322716"/>
                  <a:ext cx="4804" cy="19312"/>
                </a:xfrm>
                <a:custGeom>
                  <a:avLst/>
                  <a:gdLst>
                    <a:gd name="connsiteX0" fmla="*/ 0 w 4804"/>
                    <a:gd name="connsiteY0" fmla="*/ 0 h 19312"/>
                    <a:gd name="connsiteX1" fmla="*/ 0 w 4804"/>
                    <a:gd name="connsiteY1" fmla="*/ 19312 h 1931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804" h="19312">
                      <a:moveTo>
                        <a:pt x="0" y="0"/>
                      </a:moveTo>
                      <a:lnTo>
                        <a:pt x="0" y="19312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sp>
          <p:nvSpPr>
            <p:cNvPr id="1652" name="Forma livre: Forma 1651">
              <a:extLst>
                <a:ext uri="{FF2B5EF4-FFF2-40B4-BE49-F238E27FC236}">
                  <a16:creationId xmlns:a16="http://schemas.microsoft.com/office/drawing/2014/main" id="{308C75F9-0C66-821E-1357-B5BCC6F7DF4D}"/>
                </a:ext>
              </a:extLst>
            </p:cNvPr>
            <p:cNvSpPr/>
            <p:nvPr/>
          </p:nvSpPr>
          <p:spPr>
            <a:xfrm>
              <a:off x="2715964" y="4194724"/>
              <a:ext cx="153544" cy="128387"/>
            </a:xfrm>
            <a:custGeom>
              <a:avLst/>
              <a:gdLst>
                <a:gd name="connsiteX0" fmla="*/ 63360 w 153544"/>
                <a:gd name="connsiteY0" fmla="*/ 104068 h 128387"/>
                <a:gd name="connsiteX1" fmla="*/ 104819 w 153544"/>
                <a:gd name="connsiteY1" fmla="*/ 104068 h 128387"/>
                <a:gd name="connsiteX2" fmla="*/ 104819 w 153544"/>
                <a:gd name="connsiteY2" fmla="*/ 123380 h 128387"/>
                <a:gd name="connsiteX3" fmla="*/ 107702 w 153544"/>
                <a:gd name="connsiteY3" fmla="*/ 127944 h 128387"/>
                <a:gd name="connsiteX4" fmla="*/ 114091 w 153544"/>
                <a:gd name="connsiteY4" fmla="*/ 126935 h 128387"/>
                <a:gd name="connsiteX5" fmla="*/ 151563 w 153544"/>
                <a:gd name="connsiteY5" fmla="*/ 89607 h 128387"/>
                <a:gd name="connsiteX6" fmla="*/ 151563 w 153544"/>
                <a:gd name="connsiteY6" fmla="*/ 80143 h 128387"/>
                <a:gd name="connsiteX7" fmla="*/ 114091 w 153544"/>
                <a:gd name="connsiteY7" fmla="*/ 42624 h 128387"/>
                <a:gd name="connsiteX8" fmla="*/ 107653 w 153544"/>
                <a:gd name="connsiteY8" fmla="*/ 41855 h 128387"/>
                <a:gd name="connsiteX9" fmla="*/ 104819 w 153544"/>
                <a:gd name="connsiteY9" fmla="*/ 45650 h 128387"/>
                <a:gd name="connsiteX10" fmla="*/ 104819 w 153544"/>
                <a:gd name="connsiteY10" fmla="*/ 64194 h 128387"/>
                <a:gd name="connsiteX11" fmla="*/ 48707 w 153544"/>
                <a:gd name="connsiteY11" fmla="*/ 64194 h 128387"/>
                <a:gd name="connsiteX12" fmla="*/ 48707 w 153544"/>
                <a:gd name="connsiteY12" fmla="*/ 82738 h 128387"/>
                <a:gd name="connsiteX13" fmla="*/ 45873 w 153544"/>
                <a:gd name="connsiteY13" fmla="*/ 86533 h 128387"/>
                <a:gd name="connsiteX14" fmla="*/ 39436 w 153544"/>
                <a:gd name="connsiteY14" fmla="*/ 85764 h 128387"/>
                <a:gd name="connsiteX15" fmla="*/ 1964 w 153544"/>
                <a:gd name="connsiteY15" fmla="*/ 48244 h 128387"/>
                <a:gd name="connsiteX16" fmla="*/ 1964 w 153544"/>
                <a:gd name="connsiteY16" fmla="*/ 38780 h 128387"/>
                <a:gd name="connsiteX17" fmla="*/ 39436 w 153544"/>
                <a:gd name="connsiteY17" fmla="*/ 1453 h 128387"/>
                <a:gd name="connsiteX18" fmla="*/ 45825 w 153544"/>
                <a:gd name="connsiteY18" fmla="*/ 444 h 128387"/>
                <a:gd name="connsiteX19" fmla="*/ 48707 w 153544"/>
                <a:gd name="connsiteY19" fmla="*/ 5008 h 128387"/>
                <a:gd name="connsiteX20" fmla="*/ 48707 w 153544"/>
                <a:gd name="connsiteY20" fmla="*/ 24320 h 128387"/>
                <a:gd name="connsiteX21" fmla="*/ 90167 w 153544"/>
                <a:gd name="connsiteY21" fmla="*/ 24320 h 1283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53544" h="128387">
                  <a:moveTo>
                    <a:pt x="63360" y="104068"/>
                  </a:moveTo>
                  <a:lnTo>
                    <a:pt x="104819" y="104068"/>
                  </a:lnTo>
                  <a:cubicBezTo>
                    <a:pt x="104819" y="104068"/>
                    <a:pt x="104819" y="123380"/>
                    <a:pt x="104819" y="123380"/>
                  </a:cubicBezTo>
                  <a:cubicBezTo>
                    <a:pt x="104819" y="125542"/>
                    <a:pt x="105828" y="127175"/>
                    <a:pt x="107702" y="127944"/>
                  </a:cubicBezTo>
                  <a:cubicBezTo>
                    <a:pt x="109863" y="128809"/>
                    <a:pt x="112650" y="128376"/>
                    <a:pt x="114091" y="126935"/>
                  </a:cubicBezTo>
                  <a:lnTo>
                    <a:pt x="151563" y="89607"/>
                  </a:lnTo>
                  <a:cubicBezTo>
                    <a:pt x="154205" y="87013"/>
                    <a:pt x="154205" y="82738"/>
                    <a:pt x="151563" y="80143"/>
                  </a:cubicBezTo>
                  <a:lnTo>
                    <a:pt x="114091" y="42624"/>
                  </a:lnTo>
                  <a:cubicBezTo>
                    <a:pt x="112746" y="41278"/>
                    <a:pt x="109911" y="40942"/>
                    <a:pt x="107653" y="41855"/>
                  </a:cubicBezTo>
                  <a:cubicBezTo>
                    <a:pt x="106597" y="42287"/>
                    <a:pt x="104819" y="43392"/>
                    <a:pt x="104819" y="45650"/>
                  </a:cubicBezTo>
                  <a:lnTo>
                    <a:pt x="104819" y="64194"/>
                  </a:lnTo>
                  <a:cubicBezTo>
                    <a:pt x="104819" y="64194"/>
                    <a:pt x="48707" y="64194"/>
                    <a:pt x="48707" y="64194"/>
                  </a:cubicBezTo>
                  <a:lnTo>
                    <a:pt x="48707" y="82738"/>
                  </a:lnTo>
                  <a:cubicBezTo>
                    <a:pt x="48707" y="85044"/>
                    <a:pt x="46930" y="86100"/>
                    <a:pt x="45873" y="86533"/>
                  </a:cubicBezTo>
                  <a:cubicBezTo>
                    <a:pt x="43615" y="87446"/>
                    <a:pt x="40781" y="87109"/>
                    <a:pt x="39436" y="85764"/>
                  </a:cubicBezTo>
                  <a:lnTo>
                    <a:pt x="1964" y="48244"/>
                  </a:lnTo>
                  <a:cubicBezTo>
                    <a:pt x="-630" y="45650"/>
                    <a:pt x="-679" y="41374"/>
                    <a:pt x="1964" y="38780"/>
                  </a:cubicBezTo>
                  <a:lnTo>
                    <a:pt x="39436" y="1453"/>
                  </a:lnTo>
                  <a:cubicBezTo>
                    <a:pt x="40877" y="11"/>
                    <a:pt x="43663" y="-421"/>
                    <a:pt x="45825" y="444"/>
                  </a:cubicBezTo>
                  <a:cubicBezTo>
                    <a:pt x="47699" y="1260"/>
                    <a:pt x="48707" y="2846"/>
                    <a:pt x="48707" y="5008"/>
                  </a:cubicBezTo>
                  <a:lnTo>
                    <a:pt x="48707" y="24320"/>
                  </a:lnTo>
                  <a:cubicBezTo>
                    <a:pt x="48707" y="24320"/>
                    <a:pt x="90167" y="24320"/>
                    <a:pt x="90167" y="24320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53" name="Forma livre: Forma 1652">
              <a:extLst>
                <a:ext uri="{FF2B5EF4-FFF2-40B4-BE49-F238E27FC236}">
                  <a16:creationId xmlns:a16="http://schemas.microsoft.com/office/drawing/2014/main" id="{DB340CF9-3041-4CF1-A9CC-17CC53E334B0}"/>
                </a:ext>
              </a:extLst>
            </p:cNvPr>
            <p:cNvSpPr/>
            <p:nvPr/>
          </p:nvSpPr>
          <p:spPr>
            <a:xfrm>
              <a:off x="2682329" y="4387619"/>
              <a:ext cx="163338" cy="4804"/>
            </a:xfrm>
            <a:custGeom>
              <a:avLst/>
              <a:gdLst>
                <a:gd name="connsiteX0" fmla="*/ 0 w 163338"/>
                <a:gd name="connsiteY0" fmla="*/ 0 h 4804"/>
                <a:gd name="connsiteX1" fmla="*/ 163339 w 163338"/>
                <a:gd name="connsiteY1" fmla="*/ 0 h 48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63338" h="4804">
                  <a:moveTo>
                    <a:pt x="0" y="0"/>
                  </a:moveTo>
                  <a:lnTo>
                    <a:pt x="163339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654" name="Gráfico 14">
            <a:extLst>
              <a:ext uri="{FF2B5EF4-FFF2-40B4-BE49-F238E27FC236}">
                <a16:creationId xmlns:a16="http://schemas.microsoft.com/office/drawing/2014/main" id="{E1A63FA1-8CF4-F998-90F9-9FE080F7A4AE}"/>
              </a:ext>
            </a:extLst>
          </p:cNvPr>
          <p:cNvGrpSpPr/>
          <p:nvPr/>
        </p:nvGrpSpPr>
        <p:grpSpPr>
          <a:xfrm>
            <a:off x="3905412" y="4672261"/>
            <a:ext cx="331949" cy="304098"/>
            <a:chOff x="3905412" y="4672261"/>
            <a:chExt cx="331949" cy="304098"/>
          </a:xfrm>
          <a:noFill/>
        </p:grpSpPr>
        <p:grpSp>
          <p:nvGrpSpPr>
            <p:cNvPr id="1655" name="Gráfico 14">
              <a:extLst>
                <a:ext uri="{FF2B5EF4-FFF2-40B4-BE49-F238E27FC236}">
                  <a16:creationId xmlns:a16="http://schemas.microsoft.com/office/drawing/2014/main" id="{3B9FA802-8CA2-FE57-3FF5-5C38DBF098F4}"/>
                </a:ext>
              </a:extLst>
            </p:cNvPr>
            <p:cNvGrpSpPr/>
            <p:nvPr/>
          </p:nvGrpSpPr>
          <p:grpSpPr>
            <a:xfrm>
              <a:off x="3905412" y="4672261"/>
              <a:ext cx="236925" cy="235495"/>
              <a:chOff x="3905412" y="4672261"/>
              <a:chExt cx="236925" cy="235495"/>
            </a:xfrm>
            <a:noFill/>
          </p:grpSpPr>
          <p:sp>
            <p:nvSpPr>
              <p:cNvPr id="1656" name="Forma livre: Forma 1655">
                <a:extLst>
                  <a:ext uri="{FF2B5EF4-FFF2-40B4-BE49-F238E27FC236}">
                    <a16:creationId xmlns:a16="http://schemas.microsoft.com/office/drawing/2014/main" id="{A8909F31-0254-2C26-A857-8B7204F1DD42}"/>
                  </a:ext>
                </a:extLst>
              </p:cNvPr>
              <p:cNvSpPr/>
              <p:nvPr/>
            </p:nvSpPr>
            <p:spPr>
              <a:xfrm>
                <a:off x="3905412" y="4772426"/>
                <a:ext cx="135318" cy="135330"/>
              </a:xfrm>
              <a:custGeom>
                <a:avLst/>
                <a:gdLst>
                  <a:gd name="connsiteX0" fmla="*/ 135319 w 135318"/>
                  <a:gd name="connsiteY0" fmla="*/ 19745 h 135330"/>
                  <a:gd name="connsiteX1" fmla="*/ 22759 w 135318"/>
                  <a:gd name="connsiteY1" fmla="*/ 132304 h 135330"/>
                  <a:gd name="connsiteX2" fmla="*/ 8011 w 135318"/>
                  <a:gd name="connsiteY2" fmla="*/ 132304 h 135330"/>
                  <a:gd name="connsiteX3" fmla="*/ 3063 w 135318"/>
                  <a:gd name="connsiteY3" fmla="*/ 127308 h 135330"/>
                  <a:gd name="connsiteX4" fmla="*/ 3063 w 135318"/>
                  <a:gd name="connsiteY4" fmla="*/ 112560 h 135330"/>
                  <a:gd name="connsiteX5" fmla="*/ 115622 w 135318"/>
                  <a:gd name="connsiteY5" fmla="*/ 0 h 1353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35318" h="135330">
                    <a:moveTo>
                      <a:pt x="135319" y="19745"/>
                    </a:moveTo>
                    <a:lnTo>
                      <a:pt x="22759" y="132304"/>
                    </a:lnTo>
                    <a:cubicBezTo>
                      <a:pt x="18676" y="136340"/>
                      <a:pt x="12046" y="136340"/>
                      <a:pt x="8011" y="132304"/>
                    </a:cubicBezTo>
                    <a:lnTo>
                      <a:pt x="3063" y="127308"/>
                    </a:lnTo>
                    <a:cubicBezTo>
                      <a:pt x="-1021" y="123225"/>
                      <a:pt x="-1021" y="116643"/>
                      <a:pt x="3063" y="112560"/>
                    </a:cubicBezTo>
                    <a:lnTo>
                      <a:pt x="115622" y="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657" name="Forma livre: Forma 1656">
                <a:extLst>
                  <a:ext uri="{FF2B5EF4-FFF2-40B4-BE49-F238E27FC236}">
                    <a16:creationId xmlns:a16="http://schemas.microsoft.com/office/drawing/2014/main" id="{CAC68D55-76AF-A4D9-511D-B9AD385048C3}"/>
                  </a:ext>
                </a:extLst>
              </p:cNvPr>
              <p:cNvSpPr/>
              <p:nvPr/>
            </p:nvSpPr>
            <p:spPr>
              <a:xfrm>
                <a:off x="4085313" y="4707606"/>
                <a:ext cx="20250" cy="36091"/>
              </a:xfrm>
              <a:custGeom>
                <a:avLst/>
                <a:gdLst>
                  <a:gd name="connsiteX0" fmla="*/ 0 w 20250"/>
                  <a:gd name="connsiteY0" fmla="*/ 542 h 36091"/>
                  <a:gd name="connsiteX1" fmla="*/ 19697 w 20250"/>
                  <a:gd name="connsiteY1" fmla="*/ 20287 h 36091"/>
                  <a:gd name="connsiteX2" fmla="*/ 3891 w 20250"/>
                  <a:gd name="connsiteY2" fmla="*/ 36092 h 360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0250" h="36091">
                    <a:moveTo>
                      <a:pt x="0" y="542"/>
                    </a:moveTo>
                    <a:cubicBezTo>
                      <a:pt x="4083" y="-3494"/>
                      <a:pt x="23780" y="16203"/>
                      <a:pt x="19697" y="20287"/>
                    </a:cubicBezTo>
                    <a:lnTo>
                      <a:pt x="3891" y="36092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658" name="Forma livre: Forma 1657">
                <a:extLst>
                  <a:ext uri="{FF2B5EF4-FFF2-40B4-BE49-F238E27FC236}">
                    <a16:creationId xmlns:a16="http://schemas.microsoft.com/office/drawing/2014/main" id="{77FC7988-1AC3-3D55-EBF2-FDA7E1E159E1}"/>
                  </a:ext>
                </a:extLst>
              </p:cNvPr>
              <p:cNvSpPr/>
              <p:nvPr/>
            </p:nvSpPr>
            <p:spPr>
              <a:xfrm>
                <a:off x="4070564" y="4760656"/>
                <a:ext cx="71772" cy="117603"/>
              </a:xfrm>
              <a:custGeom>
                <a:avLst/>
                <a:gdLst>
                  <a:gd name="connsiteX0" fmla="*/ 23012 w 71772"/>
                  <a:gd name="connsiteY0" fmla="*/ 0 h 117603"/>
                  <a:gd name="connsiteX1" fmla="*/ 71773 w 71772"/>
                  <a:gd name="connsiteY1" fmla="*/ 117604 h 117603"/>
                  <a:gd name="connsiteX2" fmla="*/ 0 w 71772"/>
                  <a:gd name="connsiteY2" fmla="*/ 22579 h 1176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71772" h="117603">
                    <a:moveTo>
                      <a:pt x="23012" y="0"/>
                    </a:moveTo>
                    <a:cubicBezTo>
                      <a:pt x="23012" y="0"/>
                      <a:pt x="68891" y="41507"/>
                      <a:pt x="71773" y="117604"/>
                    </a:cubicBezTo>
                    <a:cubicBezTo>
                      <a:pt x="71773" y="117604"/>
                      <a:pt x="30314" y="52893"/>
                      <a:pt x="0" y="22579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659" name="Forma livre: Forma 1658">
                <a:extLst>
                  <a:ext uri="{FF2B5EF4-FFF2-40B4-BE49-F238E27FC236}">
                    <a16:creationId xmlns:a16="http://schemas.microsoft.com/office/drawing/2014/main" id="{D85E01F2-2F82-DEBE-5CC8-BCDA59A44FA0}"/>
                  </a:ext>
                </a:extLst>
              </p:cNvPr>
              <p:cNvSpPr/>
              <p:nvPr/>
            </p:nvSpPr>
            <p:spPr>
              <a:xfrm>
                <a:off x="3936434" y="4672261"/>
                <a:ext cx="162666" cy="116787"/>
              </a:xfrm>
              <a:custGeom>
                <a:avLst/>
                <a:gdLst>
                  <a:gd name="connsiteX0" fmla="*/ 111359 w 162666"/>
                  <a:gd name="connsiteY0" fmla="*/ 56112 h 116787"/>
                  <a:gd name="connsiteX1" fmla="*/ 124137 w 162666"/>
                  <a:gd name="connsiteY1" fmla="*/ 43333 h 116787"/>
                  <a:gd name="connsiteX2" fmla="*/ 162666 w 162666"/>
                  <a:gd name="connsiteY2" fmla="*/ 81813 h 116787"/>
                  <a:gd name="connsiteX3" fmla="*/ 127740 w 162666"/>
                  <a:gd name="connsiteY3" fmla="*/ 116787 h 116787"/>
                  <a:gd name="connsiteX4" fmla="*/ 89212 w 162666"/>
                  <a:gd name="connsiteY4" fmla="*/ 78258 h 116787"/>
                  <a:gd name="connsiteX5" fmla="*/ 95313 w 162666"/>
                  <a:gd name="connsiteY5" fmla="*/ 72109 h 116787"/>
                  <a:gd name="connsiteX6" fmla="*/ 0 w 162666"/>
                  <a:gd name="connsiteY6" fmla="*/ 0 h 116787"/>
                  <a:gd name="connsiteX7" fmla="*/ 117268 w 162666"/>
                  <a:gd name="connsiteY7" fmla="*/ 48473 h 1167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62666" h="116787">
                    <a:moveTo>
                      <a:pt x="111359" y="56112"/>
                    </a:moveTo>
                    <a:lnTo>
                      <a:pt x="124137" y="43333"/>
                    </a:lnTo>
                    <a:lnTo>
                      <a:pt x="162666" y="81813"/>
                    </a:lnTo>
                    <a:lnTo>
                      <a:pt x="127740" y="116787"/>
                    </a:lnTo>
                    <a:lnTo>
                      <a:pt x="89212" y="78258"/>
                    </a:lnTo>
                    <a:lnTo>
                      <a:pt x="95313" y="72109"/>
                    </a:lnTo>
                    <a:cubicBezTo>
                      <a:pt x="64999" y="41795"/>
                      <a:pt x="0" y="0"/>
                      <a:pt x="0" y="0"/>
                    </a:cubicBezTo>
                    <a:cubicBezTo>
                      <a:pt x="76097" y="2930"/>
                      <a:pt x="117268" y="48473"/>
                      <a:pt x="117268" y="48473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660" name="Forma livre: Forma 1659">
              <a:extLst>
                <a:ext uri="{FF2B5EF4-FFF2-40B4-BE49-F238E27FC236}">
                  <a16:creationId xmlns:a16="http://schemas.microsoft.com/office/drawing/2014/main" id="{18D9C716-4950-7832-6212-3D90D06F573C}"/>
                </a:ext>
              </a:extLst>
            </p:cNvPr>
            <p:cNvSpPr/>
            <p:nvPr/>
          </p:nvSpPr>
          <p:spPr>
            <a:xfrm>
              <a:off x="4156440" y="4709183"/>
              <a:ext cx="39292" cy="39292"/>
            </a:xfrm>
            <a:custGeom>
              <a:avLst/>
              <a:gdLst>
                <a:gd name="connsiteX0" fmla="*/ 32977 w 39292"/>
                <a:gd name="connsiteY0" fmla="*/ 34082 h 39292"/>
                <a:gd name="connsiteX1" fmla="*/ 5210 w 39292"/>
                <a:gd name="connsiteY1" fmla="*/ 32977 h 39292"/>
                <a:gd name="connsiteX2" fmla="*/ 6315 w 39292"/>
                <a:gd name="connsiteY2" fmla="*/ 5210 h 39292"/>
                <a:gd name="connsiteX3" fmla="*/ 34082 w 39292"/>
                <a:gd name="connsiteY3" fmla="*/ 6315 h 39292"/>
                <a:gd name="connsiteX4" fmla="*/ 32977 w 39292"/>
                <a:gd name="connsiteY4" fmla="*/ 34082 h 392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292" h="39292">
                  <a:moveTo>
                    <a:pt x="32977" y="34082"/>
                  </a:moveTo>
                  <a:cubicBezTo>
                    <a:pt x="25003" y="41433"/>
                    <a:pt x="12560" y="40952"/>
                    <a:pt x="5210" y="32977"/>
                  </a:cubicBezTo>
                  <a:cubicBezTo>
                    <a:pt x="-2140" y="25003"/>
                    <a:pt x="-1660" y="12560"/>
                    <a:pt x="6315" y="5210"/>
                  </a:cubicBezTo>
                  <a:cubicBezTo>
                    <a:pt x="14289" y="-2140"/>
                    <a:pt x="26732" y="-1660"/>
                    <a:pt x="34082" y="6315"/>
                  </a:cubicBezTo>
                  <a:cubicBezTo>
                    <a:pt x="41432" y="14290"/>
                    <a:pt x="40952" y="26732"/>
                    <a:pt x="32977" y="34082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61" name="Forma livre: Forma 1660">
              <a:extLst>
                <a:ext uri="{FF2B5EF4-FFF2-40B4-BE49-F238E27FC236}">
                  <a16:creationId xmlns:a16="http://schemas.microsoft.com/office/drawing/2014/main" id="{0583879B-BA70-02BB-A589-130E16D3C253}"/>
                </a:ext>
              </a:extLst>
            </p:cNvPr>
            <p:cNvSpPr/>
            <p:nvPr/>
          </p:nvSpPr>
          <p:spPr>
            <a:xfrm>
              <a:off x="4062061" y="4840019"/>
              <a:ext cx="37039" cy="24068"/>
            </a:xfrm>
            <a:custGeom>
              <a:avLst/>
              <a:gdLst>
                <a:gd name="connsiteX0" fmla="*/ 37039 w 37039"/>
                <a:gd name="connsiteY0" fmla="*/ 24068 h 24068"/>
                <a:gd name="connsiteX1" fmla="*/ 0 w 37039"/>
                <a:gd name="connsiteY1" fmla="*/ 0 h 240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7039" h="24068">
                  <a:moveTo>
                    <a:pt x="37039" y="24068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62" name="Forma livre: Forma 1661">
              <a:extLst>
                <a:ext uri="{FF2B5EF4-FFF2-40B4-BE49-F238E27FC236}">
                  <a16:creationId xmlns:a16="http://schemas.microsoft.com/office/drawing/2014/main" id="{24EA1A8D-5333-6F80-0D67-E93274D9BE5F}"/>
                </a:ext>
              </a:extLst>
            </p:cNvPr>
            <p:cNvSpPr/>
            <p:nvPr/>
          </p:nvSpPr>
          <p:spPr>
            <a:xfrm>
              <a:off x="4158863" y="4769688"/>
              <a:ext cx="8695" cy="42708"/>
            </a:xfrm>
            <a:custGeom>
              <a:avLst/>
              <a:gdLst>
                <a:gd name="connsiteX0" fmla="*/ 0 w 8695"/>
                <a:gd name="connsiteY0" fmla="*/ 42708 h 42708"/>
                <a:gd name="connsiteX1" fmla="*/ 8695 w 8695"/>
                <a:gd name="connsiteY1" fmla="*/ 0 h 427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695" h="42708">
                  <a:moveTo>
                    <a:pt x="0" y="42708"/>
                  </a:moveTo>
                  <a:lnTo>
                    <a:pt x="8695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63" name="Forma livre: Forma 1662">
              <a:extLst>
                <a:ext uri="{FF2B5EF4-FFF2-40B4-BE49-F238E27FC236}">
                  <a16:creationId xmlns:a16="http://schemas.microsoft.com/office/drawing/2014/main" id="{AFB0AF54-B61B-313F-D44D-932E20539215}"/>
                </a:ext>
              </a:extLst>
            </p:cNvPr>
            <p:cNvSpPr/>
            <p:nvPr/>
          </p:nvSpPr>
          <p:spPr>
            <a:xfrm>
              <a:off x="4068402" y="4776990"/>
              <a:ext cx="168959" cy="137540"/>
            </a:xfrm>
            <a:custGeom>
              <a:avLst/>
              <a:gdLst>
                <a:gd name="connsiteX0" fmla="*/ 168959 w 168959"/>
                <a:gd name="connsiteY0" fmla="*/ 0 h 137540"/>
                <a:gd name="connsiteX1" fmla="*/ 113953 w 168959"/>
                <a:gd name="connsiteY1" fmla="*/ 41267 h 137540"/>
                <a:gd name="connsiteX2" fmla="*/ 103960 w 168959"/>
                <a:gd name="connsiteY2" fmla="*/ 112896 h 137540"/>
                <a:gd name="connsiteX3" fmla="*/ 86473 w 168959"/>
                <a:gd name="connsiteY3" fmla="*/ 137493 h 137540"/>
                <a:gd name="connsiteX4" fmla="*/ 23828 w 168959"/>
                <a:gd name="connsiteY4" fmla="*/ 110013 h 137540"/>
                <a:gd name="connsiteX5" fmla="*/ 0 w 168959"/>
                <a:gd name="connsiteY5" fmla="*/ 137541 h 1375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68959" h="137540">
                  <a:moveTo>
                    <a:pt x="168959" y="0"/>
                  </a:moveTo>
                  <a:lnTo>
                    <a:pt x="113953" y="41267"/>
                  </a:lnTo>
                  <a:lnTo>
                    <a:pt x="103960" y="112896"/>
                  </a:lnTo>
                  <a:lnTo>
                    <a:pt x="86473" y="137493"/>
                  </a:lnTo>
                  <a:lnTo>
                    <a:pt x="23828" y="110013"/>
                  </a:lnTo>
                  <a:lnTo>
                    <a:pt x="0" y="137541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64" name="Forma livre: Forma 1663">
              <a:extLst>
                <a:ext uri="{FF2B5EF4-FFF2-40B4-BE49-F238E27FC236}">
                  <a16:creationId xmlns:a16="http://schemas.microsoft.com/office/drawing/2014/main" id="{B6057EAA-C1C1-F6BC-8BA3-73398852FBF8}"/>
                </a:ext>
              </a:extLst>
            </p:cNvPr>
            <p:cNvSpPr/>
            <p:nvPr/>
          </p:nvSpPr>
          <p:spPr>
            <a:xfrm>
              <a:off x="3995957" y="4903818"/>
              <a:ext cx="95361" cy="58033"/>
            </a:xfrm>
            <a:custGeom>
              <a:avLst/>
              <a:gdLst>
                <a:gd name="connsiteX0" fmla="*/ 0 w 95361"/>
                <a:gd name="connsiteY0" fmla="*/ 58033 h 58033"/>
                <a:gd name="connsiteX1" fmla="*/ 22916 w 95361"/>
                <a:gd name="connsiteY1" fmla="*/ 9176 h 58033"/>
                <a:gd name="connsiteX2" fmla="*/ 56544 w 95361"/>
                <a:gd name="connsiteY2" fmla="*/ 0 h 58033"/>
                <a:gd name="connsiteX3" fmla="*/ 95361 w 95361"/>
                <a:gd name="connsiteY3" fmla="*/ 28392 h 58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5361" h="58033">
                  <a:moveTo>
                    <a:pt x="0" y="58033"/>
                  </a:moveTo>
                  <a:lnTo>
                    <a:pt x="22916" y="9176"/>
                  </a:lnTo>
                  <a:lnTo>
                    <a:pt x="56544" y="0"/>
                  </a:lnTo>
                  <a:lnTo>
                    <a:pt x="95361" y="28392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65" name="Forma livre: Forma 1664">
              <a:extLst>
                <a:ext uri="{FF2B5EF4-FFF2-40B4-BE49-F238E27FC236}">
                  <a16:creationId xmlns:a16="http://schemas.microsoft.com/office/drawing/2014/main" id="{34DAB1E1-E88E-4AE8-E155-948FA673F27A}"/>
                </a:ext>
              </a:extLst>
            </p:cNvPr>
            <p:cNvSpPr/>
            <p:nvPr/>
          </p:nvSpPr>
          <p:spPr>
            <a:xfrm>
              <a:off x="4164676" y="4933651"/>
              <a:ext cx="56640" cy="1489"/>
            </a:xfrm>
            <a:custGeom>
              <a:avLst/>
              <a:gdLst>
                <a:gd name="connsiteX0" fmla="*/ 0 w 56640"/>
                <a:gd name="connsiteY0" fmla="*/ 0 h 1489"/>
                <a:gd name="connsiteX1" fmla="*/ 56640 w 56640"/>
                <a:gd name="connsiteY1" fmla="*/ 1489 h 14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6640" h="1489">
                  <a:moveTo>
                    <a:pt x="0" y="0"/>
                  </a:moveTo>
                  <a:lnTo>
                    <a:pt x="56640" y="1489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66" name="Forma livre: Forma 1665">
              <a:extLst>
                <a:ext uri="{FF2B5EF4-FFF2-40B4-BE49-F238E27FC236}">
                  <a16:creationId xmlns:a16="http://schemas.microsoft.com/office/drawing/2014/main" id="{C0813285-08AC-23F1-B4AB-46AA4A0D859E}"/>
                </a:ext>
              </a:extLst>
            </p:cNvPr>
            <p:cNvSpPr/>
            <p:nvPr/>
          </p:nvSpPr>
          <p:spPr>
            <a:xfrm>
              <a:off x="4155020" y="4914915"/>
              <a:ext cx="29641" cy="61444"/>
            </a:xfrm>
            <a:custGeom>
              <a:avLst/>
              <a:gdLst>
                <a:gd name="connsiteX0" fmla="*/ 29641 w 29641"/>
                <a:gd name="connsiteY0" fmla="*/ 61444 h 61444"/>
                <a:gd name="connsiteX1" fmla="*/ 0 w 29641"/>
                <a:gd name="connsiteY1" fmla="*/ 0 h 614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9641" h="61444">
                  <a:moveTo>
                    <a:pt x="29641" y="61444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667" name="Gráfico 14">
            <a:extLst>
              <a:ext uri="{FF2B5EF4-FFF2-40B4-BE49-F238E27FC236}">
                <a16:creationId xmlns:a16="http://schemas.microsoft.com/office/drawing/2014/main" id="{E84EB8F9-D4F5-968F-10AB-0B87AED130C1}"/>
              </a:ext>
            </a:extLst>
          </p:cNvPr>
          <p:cNvGrpSpPr/>
          <p:nvPr/>
        </p:nvGrpSpPr>
        <p:grpSpPr>
          <a:xfrm>
            <a:off x="3317813" y="4670484"/>
            <a:ext cx="256585" cy="307845"/>
            <a:chOff x="3317813" y="4670484"/>
            <a:chExt cx="256585" cy="307845"/>
          </a:xfrm>
          <a:noFill/>
        </p:grpSpPr>
        <p:grpSp>
          <p:nvGrpSpPr>
            <p:cNvPr id="1668" name="Gráfico 14">
              <a:extLst>
                <a:ext uri="{FF2B5EF4-FFF2-40B4-BE49-F238E27FC236}">
                  <a16:creationId xmlns:a16="http://schemas.microsoft.com/office/drawing/2014/main" id="{DD98917C-5D68-1EAF-F7BB-1FBC3B1AC9F3}"/>
                </a:ext>
              </a:extLst>
            </p:cNvPr>
            <p:cNvGrpSpPr/>
            <p:nvPr/>
          </p:nvGrpSpPr>
          <p:grpSpPr>
            <a:xfrm>
              <a:off x="3317813" y="4670484"/>
              <a:ext cx="256585" cy="294105"/>
              <a:chOff x="3317813" y="4670484"/>
              <a:chExt cx="256585" cy="294105"/>
            </a:xfrm>
            <a:noFill/>
          </p:grpSpPr>
          <p:sp>
            <p:nvSpPr>
              <p:cNvPr id="1669" name="Forma livre: Forma 1668">
                <a:extLst>
                  <a:ext uri="{FF2B5EF4-FFF2-40B4-BE49-F238E27FC236}">
                    <a16:creationId xmlns:a16="http://schemas.microsoft.com/office/drawing/2014/main" id="{EFA1ED05-3389-9AC8-7B92-4A27F5673A1E}"/>
                  </a:ext>
                </a:extLst>
              </p:cNvPr>
              <p:cNvSpPr/>
              <p:nvPr/>
            </p:nvSpPr>
            <p:spPr>
              <a:xfrm>
                <a:off x="3433927" y="4877972"/>
                <a:ext cx="24404" cy="86617"/>
              </a:xfrm>
              <a:custGeom>
                <a:avLst/>
                <a:gdLst>
                  <a:gd name="connsiteX0" fmla="*/ 24405 w 24404"/>
                  <a:gd name="connsiteY0" fmla="*/ 0 h 86617"/>
                  <a:gd name="connsiteX1" fmla="*/ 24405 w 24404"/>
                  <a:gd name="connsiteY1" fmla="*/ 68170 h 86617"/>
                  <a:gd name="connsiteX2" fmla="*/ 11626 w 24404"/>
                  <a:gd name="connsiteY2" fmla="*/ 86618 h 86617"/>
                  <a:gd name="connsiteX3" fmla="*/ 0 w 24404"/>
                  <a:gd name="connsiteY3" fmla="*/ 68170 h 86617"/>
                  <a:gd name="connsiteX4" fmla="*/ 0 w 24404"/>
                  <a:gd name="connsiteY4" fmla="*/ 14220 h 866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4404" h="86617">
                    <a:moveTo>
                      <a:pt x="24405" y="0"/>
                    </a:moveTo>
                    <a:lnTo>
                      <a:pt x="24405" y="68170"/>
                    </a:lnTo>
                    <a:lnTo>
                      <a:pt x="11626" y="86618"/>
                    </a:lnTo>
                    <a:lnTo>
                      <a:pt x="0" y="68170"/>
                    </a:lnTo>
                    <a:lnTo>
                      <a:pt x="0" y="1422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670" name="Forma livre: Forma 1669">
                <a:extLst>
                  <a:ext uri="{FF2B5EF4-FFF2-40B4-BE49-F238E27FC236}">
                    <a16:creationId xmlns:a16="http://schemas.microsoft.com/office/drawing/2014/main" id="{26591234-68DC-F782-8BBE-788C46111AA0}"/>
                  </a:ext>
                </a:extLst>
              </p:cNvPr>
              <p:cNvSpPr/>
              <p:nvPr/>
            </p:nvSpPr>
            <p:spPr>
              <a:xfrm>
                <a:off x="3408706" y="4671012"/>
                <a:ext cx="74847" cy="64951"/>
              </a:xfrm>
              <a:custGeom>
                <a:avLst/>
                <a:gdLst>
                  <a:gd name="connsiteX0" fmla="*/ 74848 w 74847"/>
                  <a:gd name="connsiteY0" fmla="*/ 0 h 64951"/>
                  <a:gd name="connsiteX1" fmla="*/ 74848 w 74847"/>
                  <a:gd name="connsiteY1" fmla="*/ 53133 h 64951"/>
                  <a:gd name="connsiteX2" fmla="*/ 63030 w 74847"/>
                  <a:gd name="connsiteY2" fmla="*/ 64951 h 64951"/>
                  <a:gd name="connsiteX3" fmla="*/ 11818 w 74847"/>
                  <a:gd name="connsiteY3" fmla="*/ 64951 h 64951"/>
                  <a:gd name="connsiteX4" fmla="*/ 0 w 74847"/>
                  <a:gd name="connsiteY4" fmla="*/ 53133 h 64951"/>
                  <a:gd name="connsiteX5" fmla="*/ 0 w 74847"/>
                  <a:gd name="connsiteY5" fmla="*/ 0 h 649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74847" h="64951">
                    <a:moveTo>
                      <a:pt x="74848" y="0"/>
                    </a:moveTo>
                    <a:lnTo>
                      <a:pt x="74848" y="53133"/>
                    </a:lnTo>
                    <a:cubicBezTo>
                      <a:pt x="74848" y="59619"/>
                      <a:pt x="69515" y="64951"/>
                      <a:pt x="63030" y="64951"/>
                    </a:cubicBezTo>
                    <a:lnTo>
                      <a:pt x="11818" y="64951"/>
                    </a:lnTo>
                    <a:cubicBezTo>
                      <a:pt x="5333" y="64951"/>
                      <a:pt x="0" y="59619"/>
                      <a:pt x="0" y="53133"/>
                    </a:cubicBezTo>
                    <a:lnTo>
                      <a:pt x="0" y="0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671" name="Forma livre: Forma 1670">
                <a:extLst>
                  <a:ext uri="{FF2B5EF4-FFF2-40B4-BE49-F238E27FC236}">
                    <a16:creationId xmlns:a16="http://schemas.microsoft.com/office/drawing/2014/main" id="{4581FBB5-20E0-894D-1CE1-7F30DB033206}"/>
                  </a:ext>
                </a:extLst>
              </p:cNvPr>
              <p:cNvSpPr/>
              <p:nvPr/>
            </p:nvSpPr>
            <p:spPr>
              <a:xfrm>
                <a:off x="3380602" y="4670484"/>
                <a:ext cx="130959" cy="203885"/>
              </a:xfrm>
              <a:custGeom>
                <a:avLst/>
                <a:gdLst>
                  <a:gd name="connsiteX0" fmla="*/ 45158 w 130959"/>
                  <a:gd name="connsiteY0" fmla="*/ 156373 h 203885"/>
                  <a:gd name="connsiteX1" fmla="*/ 88539 w 130959"/>
                  <a:gd name="connsiteY1" fmla="*/ 156373 h 203885"/>
                  <a:gd name="connsiteX2" fmla="*/ 97475 w 130959"/>
                  <a:gd name="connsiteY2" fmla="*/ 147437 h 203885"/>
                  <a:gd name="connsiteX3" fmla="*/ 97571 w 130959"/>
                  <a:gd name="connsiteY3" fmla="*/ 139078 h 203885"/>
                  <a:gd name="connsiteX4" fmla="*/ 119381 w 130959"/>
                  <a:gd name="connsiteY4" fmla="*/ 113616 h 203885"/>
                  <a:gd name="connsiteX5" fmla="*/ 130959 w 130959"/>
                  <a:gd name="connsiteY5" fmla="*/ 96946 h 203885"/>
                  <a:gd name="connsiteX6" fmla="*/ 130959 w 130959"/>
                  <a:gd name="connsiteY6" fmla="*/ 17919 h 203885"/>
                  <a:gd name="connsiteX7" fmla="*/ 113040 w 130959"/>
                  <a:gd name="connsiteY7" fmla="*/ 0 h 203885"/>
                  <a:gd name="connsiteX8" fmla="*/ 17919 w 130959"/>
                  <a:gd name="connsiteY8" fmla="*/ 0 h 203885"/>
                  <a:gd name="connsiteX9" fmla="*/ 0 w 130959"/>
                  <a:gd name="connsiteY9" fmla="*/ 17919 h 203885"/>
                  <a:gd name="connsiteX10" fmla="*/ 0 w 130959"/>
                  <a:gd name="connsiteY10" fmla="*/ 96946 h 203885"/>
                  <a:gd name="connsiteX11" fmla="*/ 11578 w 130959"/>
                  <a:gd name="connsiteY11" fmla="*/ 113616 h 203885"/>
                  <a:gd name="connsiteX12" fmla="*/ 33388 w 130959"/>
                  <a:gd name="connsiteY12" fmla="*/ 139078 h 203885"/>
                  <a:gd name="connsiteX13" fmla="*/ 33484 w 130959"/>
                  <a:gd name="connsiteY13" fmla="*/ 147437 h 203885"/>
                  <a:gd name="connsiteX14" fmla="*/ 42420 w 130959"/>
                  <a:gd name="connsiteY14" fmla="*/ 156373 h 203885"/>
                  <a:gd name="connsiteX15" fmla="*/ 45014 w 130959"/>
                  <a:gd name="connsiteY15" fmla="*/ 156373 h 203885"/>
                  <a:gd name="connsiteX16" fmla="*/ 45014 w 130959"/>
                  <a:gd name="connsiteY16" fmla="*/ 193028 h 203885"/>
                  <a:gd name="connsiteX17" fmla="*/ 55871 w 130959"/>
                  <a:gd name="connsiteY17" fmla="*/ 203885 h 203885"/>
                  <a:gd name="connsiteX18" fmla="*/ 75088 w 130959"/>
                  <a:gd name="connsiteY18" fmla="*/ 203885 h 203885"/>
                  <a:gd name="connsiteX19" fmla="*/ 85945 w 130959"/>
                  <a:gd name="connsiteY19" fmla="*/ 193028 h 203885"/>
                  <a:gd name="connsiteX20" fmla="*/ 85945 w 130959"/>
                  <a:gd name="connsiteY20" fmla="*/ 157045 h 2038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130959" h="203885">
                    <a:moveTo>
                      <a:pt x="45158" y="156373"/>
                    </a:moveTo>
                    <a:lnTo>
                      <a:pt x="88539" y="156373"/>
                    </a:lnTo>
                    <a:cubicBezTo>
                      <a:pt x="93439" y="156373"/>
                      <a:pt x="97475" y="152337"/>
                      <a:pt x="97475" y="147437"/>
                    </a:cubicBezTo>
                    <a:cubicBezTo>
                      <a:pt x="97475" y="147437"/>
                      <a:pt x="97571" y="140279"/>
                      <a:pt x="97571" y="139078"/>
                    </a:cubicBezTo>
                    <a:cubicBezTo>
                      <a:pt x="97571" y="125819"/>
                      <a:pt x="113857" y="116451"/>
                      <a:pt x="119381" y="113616"/>
                    </a:cubicBezTo>
                    <a:cubicBezTo>
                      <a:pt x="126107" y="111022"/>
                      <a:pt x="130959" y="104537"/>
                      <a:pt x="130959" y="96946"/>
                    </a:cubicBezTo>
                    <a:lnTo>
                      <a:pt x="130959" y="17919"/>
                    </a:lnTo>
                    <a:cubicBezTo>
                      <a:pt x="130959" y="8071"/>
                      <a:pt x="122888" y="0"/>
                      <a:pt x="113040" y="0"/>
                    </a:cubicBezTo>
                    <a:lnTo>
                      <a:pt x="17919" y="0"/>
                    </a:lnTo>
                    <a:cubicBezTo>
                      <a:pt x="8071" y="0"/>
                      <a:pt x="0" y="8071"/>
                      <a:pt x="0" y="17919"/>
                    </a:cubicBezTo>
                    <a:lnTo>
                      <a:pt x="0" y="96946"/>
                    </a:lnTo>
                    <a:cubicBezTo>
                      <a:pt x="0" y="104537"/>
                      <a:pt x="4852" y="111070"/>
                      <a:pt x="11578" y="113616"/>
                    </a:cubicBezTo>
                    <a:cubicBezTo>
                      <a:pt x="17151" y="116451"/>
                      <a:pt x="33388" y="125819"/>
                      <a:pt x="33388" y="139078"/>
                    </a:cubicBezTo>
                    <a:cubicBezTo>
                      <a:pt x="33388" y="140279"/>
                      <a:pt x="33484" y="147437"/>
                      <a:pt x="33484" y="147437"/>
                    </a:cubicBezTo>
                    <a:cubicBezTo>
                      <a:pt x="33484" y="152337"/>
                      <a:pt x="37520" y="156373"/>
                      <a:pt x="42420" y="156373"/>
                    </a:cubicBezTo>
                    <a:lnTo>
                      <a:pt x="45014" y="156373"/>
                    </a:lnTo>
                    <a:lnTo>
                      <a:pt x="45014" y="193028"/>
                    </a:lnTo>
                    <a:cubicBezTo>
                      <a:pt x="45014" y="198985"/>
                      <a:pt x="49914" y="203885"/>
                      <a:pt x="55871" y="203885"/>
                    </a:cubicBezTo>
                    <a:lnTo>
                      <a:pt x="75088" y="203885"/>
                    </a:lnTo>
                    <a:cubicBezTo>
                      <a:pt x="81045" y="203885"/>
                      <a:pt x="85945" y="198985"/>
                      <a:pt x="85945" y="193028"/>
                    </a:cubicBezTo>
                    <a:lnTo>
                      <a:pt x="85945" y="157045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1672" name="Gráfico 14">
                <a:extLst>
                  <a:ext uri="{FF2B5EF4-FFF2-40B4-BE49-F238E27FC236}">
                    <a16:creationId xmlns:a16="http://schemas.microsoft.com/office/drawing/2014/main" id="{75AC8D8C-8CCB-D35C-D3AD-96743ED0FD2E}"/>
                  </a:ext>
                </a:extLst>
              </p:cNvPr>
              <p:cNvGrpSpPr/>
              <p:nvPr/>
            </p:nvGrpSpPr>
            <p:grpSpPr>
              <a:xfrm>
                <a:off x="3317813" y="4704112"/>
                <a:ext cx="256585" cy="38576"/>
                <a:chOff x="3317813" y="4704112"/>
                <a:chExt cx="256585" cy="38576"/>
              </a:xfrm>
            </p:grpSpPr>
            <p:sp>
              <p:nvSpPr>
                <p:cNvPr id="1673" name="Forma livre: Forma 1672">
                  <a:extLst>
                    <a:ext uri="{FF2B5EF4-FFF2-40B4-BE49-F238E27FC236}">
                      <a16:creationId xmlns:a16="http://schemas.microsoft.com/office/drawing/2014/main" id="{983FCB56-5FC4-6AAA-69CF-E5909F51EA7E}"/>
                    </a:ext>
                  </a:extLst>
                </p:cNvPr>
                <p:cNvSpPr/>
                <p:nvPr/>
              </p:nvSpPr>
              <p:spPr>
                <a:xfrm>
                  <a:off x="3317813" y="4704112"/>
                  <a:ext cx="4804" cy="38576"/>
                </a:xfrm>
                <a:custGeom>
                  <a:avLst/>
                  <a:gdLst>
                    <a:gd name="connsiteX0" fmla="*/ 0 w 4804"/>
                    <a:gd name="connsiteY0" fmla="*/ 38577 h 38576"/>
                    <a:gd name="connsiteX1" fmla="*/ 0 w 4804"/>
                    <a:gd name="connsiteY1" fmla="*/ 0 h 3857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804" h="38576">
                      <a:moveTo>
                        <a:pt x="0" y="38577"/>
                      </a:moveTo>
                      <a:lnTo>
                        <a:pt x="0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grpSp>
              <p:nvGrpSpPr>
                <p:cNvPr id="1674" name="Gráfico 14">
                  <a:extLst>
                    <a:ext uri="{FF2B5EF4-FFF2-40B4-BE49-F238E27FC236}">
                      <a16:creationId xmlns:a16="http://schemas.microsoft.com/office/drawing/2014/main" id="{3F0FA7F5-B8D9-62EB-01F3-F694888CC4FA}"/>
                    </a:ext>
                  </a:extLst>
                </p:cNvPr>
                <p:cNvGrpSpPr/>
                <p:nvPr/>
              </p:nvGrpSpPr>
              <p:grpSpPr>
                <a:xfrm>
                  <a:off x="3318053" y="4704112"/>
                  <a:ext cx="256345" cy="38576"/>
                  <a:chOff x="3318053" y="4704112"/>
                  <a:chExt cx="256345" cy="38576"/>
                </a:xfrm>
              </p:grpSpPr>
              <p:grpSp>
                <p:nvGrpSpPr>
                  <p:cNvPr id="1675" name="Gráfico 14">
                    <a:extLst>
                      <a:ext uri="{FF2B5EF4-FFF2-40B4-BE49-F238E27FC236}">
                        <a16:creationId xmlns:a16="http://schemas.microsoft.com/office/drawing/2014/main" id="{66BF5A90-9AE0-173C-11A0-5B4C901220F8}"/>
                      </a:ext>
                    </a:extLst>
                  </p:cNvPr>
                  <p:cNvGrpSpPr/>
                  <p:nvPr/>
                </p:nvGrpSpPr>
                <p:grpSpPr>
                  <a:xfrm>
                    <a:off x="3318053" y="4711222"/>
                    <a:ext cx="43476" cy="24356"/>
                    <a:chOff x="3318053" y="4711222"/>
                    <a:chExt cx="43476" cy="24356"/>
                  </a:xfrm>
                </p:grpSpPr>
                <p:sp>
                  <p:nvSpPr>
                    <p:cNvPr id="1676" name="Forma livre: Forma 1675">
                      <a:extLst>
                        <a:ext uri="{FF2B5EF4-FFF2-40B4-BE49-F238E27FC236}">
                          <a16:creationId xmlns:a16="http://schemas.microsoft.com/office/drawing/2014/main" id="{01AAC051-9B0C-347B-32CE-EF5C9A601D57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3318053" y="4711222"/>
                      <a:ext cx="43476" cy="4804"/>
                    </a:xfrm>
                    <a:custGeom>
                      <a:avLst/>
                      <a:gdLst>
                        <a:gd name="connsiteX0" fmla="*/ 0 w 43476"/>
                        <a:gd name="connsiteY0" fmla="*/ 0 h 4804"/>
                        <a:gd name="connsiteX1" fmla="*/ 43477 w 43476"/>
                        <a:gd name="connsiteY1" fmla="*/ 0 h 4804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43476" h="4804">
                          <a:moveTo>
                            <a:pt x="0" y="0"/>
                          </a:moveTo>
                          <a:lnTo>
                            <a:pt x="43477" y="0"/>
                          </a:lnTo>
                        </a:path>
                      </a:pathLst>
                    </a:custGeom>
                    <a:ln w="6350" cap="flat">
                      <a:solidFill>
                        <a:schemeClr val="accent2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pt-PT"/>
                    </a:p>
                  </p:txBody>
                </p:sp>
                <p:sp>
                  <p:nvSpPr>
                    <p:cNvPr id="1677" name="Forma livre: Forma 1676">
                      <a:extLst>
                        <a:ext uri="{FF2B5EF4-FFF2-40B4-BE49-F238E27FC236}">
                          <a16:creationId xmlns:a16="http://schemas.microsoft.com/office/drawing/2014/main" id="{66970635-4AB4-1057-32EC-D453B45C9E36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3318053" y="4735579"/>
                      <a:ext cx="43476" cy="4804"/>
                    </a:xfrm>
                    <a:custGeom>
                      <a:avLst/>
                      <a:gdLst>
                        <a:gd name="connsiteX0" fmla="*/ 0 w 43476"/>
                        <a:gd name="connsiteY0" fmla="*/ 0 h 4804"/>
                        <a:gd name="connsiteX1" fmla="*/ 43477 w 43476"/>
                        <a:gd name="connsiteY1" fmla="*/ 0 h 4804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43476" h="4804">
                          <a:moveTo>
                            <a:pt x="0" y="0"/>
                          </a:moveTo>
                          <a:lnTo>
                            <a:pt x="43477" y="0"/>
                          </a:lnTo>
                        </a:path>
                      </a:pathLst>
                    </a:custGeom>
                    <a:ln w="6350" cap="flat">
                      <a:solidFill>
                        <a:schemeClr val="accent2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pt-PT"/>
                    </a:p>
                  </p:txBody>
                </p:sp>
              </p:grpSp>
              <p:sp>
                <p:nvSpPr>
                  <p:cNvPr id="1678" name="Forma livre: Forma 1677">
                    <a:extLst>
                      <a:ext uri="{FF2B5EF4-FFF2-40B4-BE49-F238E27FC236}">
                        <a16:creationId xmlns:a16="http://schemas.microsoft.com/office/drawing/2014/main" id="{A2784EDB-CF41-4EF7-BF47-DB0AC954B722}"/>
                      </a:ext>
                    </a:extLst>
                  </p:cNvPr>
                  <p:cNvSpPr/>
                  <p:nvPr/>
                </p:nvSpPr>
                <p:spPr>
                  <a:xfrm>
                    <a:off x="3574399" y="4704112"/>
                    <a:ext cx="4804" cy="38576"/>
                  </a:xfrm>
                  <a:custGeom>
                    <a:avLst/>
                    <a:gdLst>
                      <a:gd name="connsiteX0" fmla="*/ 0 w 4804"/>
                      <a:gd name="connsiteY0" fmla="*/ 0 h 38576"/>
                      <a:gd name="connsiteX1" fmla="*/ 0 w 4804"/>
                      <a:gd name="connsiteY1" fmla="*/ 38577 h 3857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4804" h="38576">
                        <a:moveTo>
                          <a:pt x="0" y="0"/>
                        </a:moveTo>
                        <a:lnTo>
                          <a:pt x="0" y="38577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grpSp>
                <p:nvGrpSpPr>
                  <p:cNvPr id="1679" name="Gráfico 14">
                    <a:extLst>
                      <a:ext uri="{FF2B5EF4-FFF2-40B4-BE49-F238E27FC236}">
                        <a16:creationId xmlns:a16="http://schemas.microsoft.com/office/drawing/2014/main" id="{B961469D-1DF5-0285-CF3D-2039B26009C4}"/>
                      </a:ext>
                    </a:extLst>
                  </p:cNvPr>
                  <p:cNvGrpSpPr/>
                  <p:nvPr/>
                </p:nvGrpSpPr>
                <p:grpSpPr>
                  <a:xfrm>
                    <a:off x="3530730" y="4711222"/>
                    <a:ext cx="43476" cy="24356"/>
                    <a:chOff x="3530730" y="4711222"/>
                    <a:chExt cx="43476" cy="24356"/>
                  </a:xfrm>
                </p:grpSpPr>
                <p:sp>
                  <p:nvSpPr>
                    <p:cNvPr id="1680" name="Forma livre: Forma 1679">
                      <a:extLst>
                        <a:ext uri="{FF2B5EF4-FFF2-40B4-BE49-F238E27FC236}">
                          <a16:creationId xmlns:a16="http://schemas.microsoft.com/office/drawing/2014/main" id="{58EEB059-3137-747B-017D-A3F62F6CE08A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3530730" y="4735579"/>
                      <a:ext cx="43476" cy="4804"/>
                    </a:xfrm>
                    <a:custGeom>
                      <a:avLst/>
                      <a:gdLst>
                        <a:gd name="connsiteX0" fmla="*/ 43477 w 43476"/>
                        <a:gd name="connsiteY0" fmla="*/ 0 h 4804"/>
                        <a:gd name="connsiteX1" fmla="*/ 0 w 43476"/>
                        <a:gd name="connsiteY1" fmla="*/ 0 h 4804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43476" h="4804">
                          <a:moveTo>
                            <a:pt x="43477" y="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6350" cap="flat">
                      <a:solidFill>
                        <a:schemeClr val="accent2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pt-PT"/>
                    </a:p>
                  </p:txBody>
                </p:sp>
                <p:sp>
                  <p:nvSpPr>
                    <p:cNvPr id="1681" name="Forma livre: Forma 1680">
                      <a:extLst>
                        <a:ext uri="{FF2B5EF4-FFF2-40B4-BE49-F238E27FC236}">
                          <a16:creationId xmlns:a16="http://schemas.microsoft.com/office/drawing/2014/main" id="{F98BD1D8-AB27-D0DB-B260-20229C0330E7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3530730" y="4711222"/>
                      <a:ext cx="43476" cy="4804"/>
                    </a:xfrm>
                    <a:custGeom>
                      <a:avLst/>
                      <a:gdLst>
                        <a:gd name="connsiteX0" fmla="*/ 43477 w 43476"/>
                        <a:gd name="connsiteY0" fmla="*/ 0 h 4804"/>
                        <a:gd name="connsiteX1" fmla="*/ 0 w 43476"/>
                        <a:gd name="connsiteY1" fmla="*/ 0 h 4804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43476" h="4804">
                          <a:moveTo>
                            <a:pt x="43477" y="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6350" cap="flat">
                      <a:solidFill>
                        <a:schemeClr val="accent2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pt-PT"/>
                    </a:p>
                  </p:txBody>
                </p:sp>
              </p:grpSp>
            </p:grpSp>
          </p:grpSp>
        </p:grpSp>
        <p:sp>
          <p:nvSpPr>
            <p:cNvPr id="1682" name="Forma livre: Forma 1681">
              <a:extLst>
                <a:ext uri="{FF2B5EF4-FFF2-40B4-BE49-F238E27FC236}">
                  <a16:creationId xmlns:a16="http://schemas.microsoft.com/office/drawing/2014/main" id="{5883A97B-9474-CAF9-69CC-435B8ED34D5B}"/>
                </a:ext>
              </a:extLst>
            </p:cNvPr>
            <p:cNvSpPr/>
            <p:nvPr/>
          </p:nvSpPr>
          <p:spPr>
            <a:xfrm>
              <a:off x="3464722" y="4940713"/>
              <a:ext cx="34012" cy="37615"/>
            </a:xfrm>
            <a:custGeom>
              <a:avLst/>
              <a:gdLst>
                <a:gd name="connsiteX0" fmla="*/ 0 w 34012"/>
                <a:gd name="connsiteY0" fmla="*/ 37616 h 37615"/>
                <a:gd name="connsiteX1" fmla="*/ 34013 w 34012"/>
                <a:gd name="connsiteY1" fmla="*/ 0 h 376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4012" h="37615">
                  <a:moveTo>
                    <a:pt x="0" y="37616"/>
                  </a:moveTo>
                  <a:lnTo>
                    <a:pt x="34013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83" name="Forma livre: Forma 1682">
              <a:extLst>
                <a:ext uri="{FF2B5EF4-FFF2-40B4-BE49-F238E27FC236}">
                  <a16:creationId xmlns:a16="http://schemas.microsoft.com/office/drawing/2014/main" id="{31EDD96D-109E-F35C-132C-183CC344D2E9}"/>
                </a:ext>
              </a:extLst>
            </p:cNvPr>
            <p:cNvSpPr/>
            <p:nvPr/>
          </p:nvSpPr>
          <p:spPr>
            <a:xfrm>
              <a:off x="3493402" y="4963965"/>
              <a:ext cx="28296" cy="13931"/>
            </a:xfrm>
            <a:custGeom>
              <a:avLst/>
              <a:gdLst>
                <a:gd name="connsiteX0" fmla="*/ 0 w 28296"/>
                <a:gd name="connsiteY0" fmla="*/ 13932 h 13931"/>
                <a:gd name="connsiteX1" fmla="*/ 28296 w 28296"/>
                <a:gd name="connsiteY1" fmla="*/ 0 h 139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8296" h="13931">
                  <a:moveTo>
                    <a:pt x="0" y="13932"/>
                  </a:moveTo>
                  <a:lnTo>
                    <a:pt x="28296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84" name="Forma livre: Forma 1683">
              <a:extLst>
                <a:ext uri="{FF2B5EF4-FFF2-40B4-BE49-F238E27FC236}">
                  <a16:creationId xmlns:a16="http://schemas.microsoft.com/office/drawing/2014/main" id="{BEC27D02-A163-E0F4-D410-76465B090279}"/>
                </a:ext>
              </a:extLst>
            </p:cNvPr>
            <p:cNvSpPr/>
            <p:nvPr/>
          </p:nvSpPr>
          <p:spPr>
            <a:xfrm>
              <a:off x="3370033" y="4964061"/>
              <a:ext cx="28296" cy="13979"/>
            </a:xfrm>
            <a:custGeom>
              <a:avLst/>
              <a:gdLst>
                <a:gd name="connsiteX0" fmla="*/ 28296 w 28296"/>
                <a:gd name="connsiteY0" fmla="*/ 13980 h 13979"/>
                <a:gd name="connsiteX1" fmla="*/ 0 w 28296"/>
                <a:gd name="connsiteY1" fmla="*/ 0 h 139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8296" h="13979">
                  <a:moveTo>
                    <a:pt x="28296" y="13980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85" name="Forma livre: Forma 1684">
              <a:extLst>
                <a:ext uri="{FF2B5EF4-FFF2-40B4-BE49-F238E27FC236}">
                  <a16:creationId xmlns:a16="http://schemas.microsoft.com/office/drawing/2014/main" id="{6A486945-B4B1-E15E-1FFF-1B660B1F6317}"/>
                </a:ext>
              </a:extLst>
            </p:cNvPr>
            <p:cNvSpPr/>
            <p:nvPr/>
          </p:nvSpPr>
          <p:spPr>
            <a:xfrm>
              <a:off x="3379113" y="4914435"/>
              <a:ext cx="45398" cy="63894"/>
            </a:xfrm>
            <a:custGeom>
              <a:avLst/>
              <a:gdLst>
                <a:gd name="connsiteX0" fmla="*/ 45399 w 45398"/>
                <a:gd name="connsiteY0" fmla="*/ 63894 h 63894"/>
                <a:gd name="connsiteX1" fmla="*/ 0 w 45398"/>
                <a:gd name="connsiteY1" fmla="*/ 0 h 638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5398" h="63894">
                  <a:moveTo>
                    <a:pt x="45399" y="63894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86" name="Forma livre: Forma 1685">
              <a:extLst>
                <a:ext uri="{FF2B5EF4-FFF2-40B4-BE49-F238E27FC236}">
                  <a16:creationId xmlns:a16="http://schemas.microsoft.com/office/drawing/2014/main" id="{AD5F639A-DCD6-8D0D-B8E7-8C651A41AAE0}"/>
                </a:ext>
              </a:extLst>
            </p:cNvPr>
            <p:cNvSpPr/>
            <p:nvPr/>
          </p:nvSpPr>
          <p:spPr>
            <a:xfrm>
              <a:off x="3507120" y="4890105"/>
              <a:ext cx="39292" cy="39292"/>
            </a:xfrm>
            <a:custGeom>
              <a:avLst/>
              <a:gdLst>
                <a:gd name="connsiteX0" fmla="*/ 32977 w 39292"/>
                <a:gd name="connsiteY0" fmla="*/ 34082 h 39292"/>
                <a:gd name="connsiteX1" fmla="*/ 5210 w 39292"/>
                <a:gd name="connsiteY1" fmla="*/ 32977 h 39292"/>
                <a:gd name="connsiteX2" fmla="*/ 6315 w 39292"/>
                <a:gd name="connsiteY2" fmla="*/ 5210 h 39292"/>
                <a:gd name="connsiteX3" fmla="*/ 34082 w 39292"/>
                <a:gd name="connsiteY3" fmla="*/ 6315 h 39292"/>
                <a:gd name="connsiteX4" fmla="*/ 32977 w 39292"/>
                <a:gd name="connsiteY4" fmla="*/ 34082 h 392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292" h="39292">
                  <a:moveTo>
                    <a:pt x="32977" y="34082"/>
                  </a:moveTo>
                  <a:cubicBezTo>
                    <a:pt x="25003" y="41432"/>
                    <a:pt x="12560" y="40952"/>
                    <a:pt x="5210" y="32977"/>
                  </a:cubicBezTo>
                  <a:cubicBezTo>
                    <a:pt x="-2140" y="25003"/>
                    <a:pt x="-1660" y="12560"/>
                    <a:pt x="6315" y="5210"/>
                  </a:cubicBezTo>
                  <a:cubicBezTo>
                    <a:pt x="14289" y="-2140"/>
                    <a:pt x="26732" y="-1660"/>
                    <a:pt x="34082" y="6315"/>
                  </a:cubicBezTo>
                  <a:cubicBezTo>
                    <a:pt x="41433" y="14289"/>
                    <a:pt x="40952" y="26732"/>
                    <a:pt x="32977" y="34082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87" name="Forma livre: Forma 1686">
              <a:extLst>
                <a:ext uri="{FF2B5EF4-FFF2-40B4-BE49-F238E27FC236}">
                  <a16:creationId xmlns:a16="http://schemas.microsoft.com/office/drawing/2014/main" id="{3A320E40-C264-0309-F790-260691312703}"/>
                </a:ext>
              </a:extLst>
            </p:cNvPr>
            <p:cNvSpPr/>
            <p:nvPr/>
          </p:nvSpPr>
          <p:spPr>
            <a:xfrm>
              <a:off x="3334029" y="4859166"/>
              <a:ext cx="39292" cy="39292"/>
            </a:xfrm>
            <a:custGeom>
              <a:avLst/>
              <a:gdLst>
                <a:gd name="connsiteX0" fmla="*/ 32977 w 39292"/>
                <a:gd name="connsiteY0" fmla="*/ 34082 h 39292"/>
                <a:gd name="connsiteX1" fmla="*/ 5210 w 39292"/>
                <a:gd name="connsiteY1" fmla="*/ 32977 h 39292"/>
                <a:gd name="connsiteX2" fmla="*/ 6315 w 39292"/>
                <a:gd name="connsiteY2" fmla="*/ 5210 h 39292"/>
                <a:gd name="connsiteX3" fmla="*/ 34082 w 39292"/>
                <a:gd name="connsiteY3" fmla="*/ 6315 h 39292"/>
                <a:gd name="connsiteX4" fmla="*/ 32977 w 39292"/>
                <a:gd name="connsiteY4" fmla="*/ 34082 h 392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292" h="39292">
                  <a:moveTo>
                    <a:pt x="32977" y="34082"/>
                  </a:moveTo>
                  <a:cubicBezTo>
                    <a:pt x="25003" y="41433"/>
                    <a:pt x="12560" y="40952"/>
                    <a:pt x="5210" y="32977"/>
                  </a:cubicBezTo>
                  <a:cubicBezTo>
                    <a:pt x="-2140" y="25003"/>
                    <a:pt x="-1660" y="12560"/>
                    <a:pt x="6315" y="5210"/>
                  </a:cubicBezTo>
                  <a:cubicBezTo>
                    <a:pt x="14289" y="-2140"/>
                    <a:pt x="26732" y="-1660"/>
                    <a:pt x="34082" y="6315"/>
                  </a:cubicBezTo>
                  <a:cubicBezTo>
                    <a:pt x="41433" y="14289"/>
                    <a:pt x="40952" y="26732"/>
                    <a:pt x="32977" y="34082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688" name="Gráfico 14">
            <a:extLst>
              <a:ext uri="{FF2B5EF4-FFF2-40B4-BE49-F238E27FC236}">
                <a16:creationId xmlns:a16="http://schemas.microsoft.com/office/drawing/2014/main" id="{20BE9234-F608-C77B-1C17-6013080E90D1}"/>
              </a:ext>
            </a:extLst>
          </p:cNvPr>
          <p:cNvGrpSpPr/>
          <p:nvPr/>
        </p:nvGrpSpPr>
        <p:grpSpPr>
          <a:xfrm>
            <a:off x="2674354" y="4679467"/>
            <a:ext cx="293048" cy="289734"/>
            <a:chOff x="2674354" y="4679467"/>
            <a:chExt cx="293048" cy="289734"/>
          </a:xfrm>
        </p:grpSpPr>
        <p:sp>
          <p:nvSpPr>
            <p:cNvPr id="1689" name="Forma livre: Forma 1688">
              <a:extLst>
                <a:ext uri="{FF2B5EF4-FFF2-40B4-BE49-F238E27FC236}">
                  <a16:creationId xmlns:a16="http://schemas.microsoft.com/office/drawing/2014/main" id="{74D2BCC8-CF80-F1F7-4255-511B99A6846B}"/>
                </a:ext>
              </a:extLst>
            </p:cNvPr>
            <p:cNvSpPr/>
            <p:nvPr/>
          </p:nvSpPr>
          <p:spPr>
            <a:xfrm>
              <a:off x="2686653" y="4769015"/>
              <a:ext cx="268452" cy="26710"/>
            </a:xfrm>
            <a:custGeom>
              <a:avLst/>
              <a:gdLst>
                <a:gd name="connsiteX0" fmla="*/ 54046 w 268452"/>
                <a:gd name="connsiteY0" fmla="*/ 26711 h 26710"/>
                <a:gd name="connsiteX1" fmla="*/ 0 w 268452"/>
                <a:gd name="connsiteY1" fmla="*/ 26711 h 26710"/>
                <a:gd name="connsiteX2" fmla="*/ 0 w 268452"/>
                <a:gd name="connsiteY2" fmla="*/ 0 h 26710"/>
                <a:gd name="connsiteX3" fmla="*/ 268452 w 268452"/>
                <a:gd name="connsiteY3" fmla="*/ 0 h 26710"/>
                <a:gd name="connsiteX4" fmla="*/ 268452 w 268452"/>
                <a:gd name="connsiteY4" fmla="*/ 26711 h 26710"/>
                <a:gd name="connsiteX5" fmla="*/ 89788 w 268452"/>
                <a:gd name="connsiteY5" fmla="*/ 26711 h 267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68452" h="26710">
                  <a:moveTo>
                    <a:pt x="54046" y="26711"/>
                  </a:moveTo>
                  <a:lnTo>
                    <a:pt x="0" y="26711"/>
                  </a:lnTo>
                  <a:lnTo>
                    <a:pt x="0" y="0"/>
                  </a:lnTo>
                  <a:lnTo>
                    <a:pt x="268452" y="0"/>
                  </a:lnTo>
                  <a:lnTo>
                    <a:pt x="268452" y="26711"/>
                  </a:lnTo>
                  <a:lnTo>
                    <a:pt x="89788" y="26711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690" name="Gráfico 14">
              <a:extLst>
                <a:ext uri="{FF2B5EF4-FFF2-40B4-BE49-F238E27FC236}">
                  <a16:creationId xmlns:a16="http://schemas.microsoft.com/office/drawing/2014/main" id="{376ED2AF-6400-61C2-8E79-C70C9599BD54}"/>
                </a:ext>
              </a:extLst>
            </p:cNvPr>
            <p:cNvGrpSpPr/>
            <p:nvPr/>
          </p:nvGrpSpPr>
          <p:grpSpPr>
            <a:xfrm>
              <a:off x="2704812" y="4797071"/>
              <a:ext cx="232133" cy="95937"/>
              <a:chOff x="2704812" y="4797071"/>
              <a:chExt cx="232133" cy="95937"/>
            </a:xfrm>
          </p:grpSpPr>
          <p:sp>
            <p:nvSpPr>
              <p:cNvPr id="1691" name="Forma livre: Forma 1690">
                <a:extLst>
                  <a:ext uri="{FF2B5EF4-FFF2-40B4-BE49-F238E27FC236}">
                    <a16:creationId xmlns:a16="http://schemas.microsoft.com/office/drawing/2014/main" id="{5CD71A10-2FE9-927D-7B71-F2AB6AD93AF2}"/>
                  </a:ext>
                </a:extLst>
              </p:cNvPr>
              <p:cNvSpPr/>
              <p:nvPr/>
            </p:nvSpPr>
            <p:spPr>
              <a:xfrm>
                <a:off x="2704812" y="4797071"/>
                <a:ext cx="16910" cy="77057"/>
              </a:xfrm>
              <a:custGeom>
                <a:avLst/>
                <a:gdLst>
                  <a:gd name="connsiteX0" fmla="*/ 0 w 16910"/>
                  <a:gd name="connsiteY0" fmla="*/ 0 h 77057"/>
                  <a:gd name="connsiteX1" fmla="*/ 16910 w 16910"/>
                  <a:gd name="connsiteY1" fmla="*/ 77057 h 770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6910" h="77057">
                    <a:moveTo>
                      <a:pt x="0" y="0"/>
                    </a:moveTo>
                    <a:lnTo>
                      <a:pt x="16910" y="77057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692" name="Forma livre: Forma 1691">
                <a:extLst>
                  <a:ext uri="{FF2B5EF4-FFF2-40B4-BE49-F238E27FC236}">
                    <a16:creationId xmlns:a16="http://schemas.microsoft.com/office/drawing/2014/main" id="{091C9DBF-D961-0D3D-E50F-18B2560FC6A8}"/>
                  </a:ext>
                </a:extLst>
              </p:cNvPr>
              <p:cNvSpPr/>
              <p:nvPr/>
            </p:nvSpPr>
            <p:spPr>
              <a:xfrm>
                <a:off x="2915807" y="4797071"/>
                <a:ext cx="21137" cy="95937"/>
              </a:xfrm>
              <a:custGeom>
                <a:avLst/>
                <a:gdLst>
                  <a:gd name="connsiteX0" fmla="*/ 21138 w 21137"/>
                  <a:gd name="connsiteY0" fmla="*/ 0 h 95937"/>
                  <a:gd name="connsiteX1" fmla="*/ 0 w 21137"/>
                  <a:gd name="connsiteY1" fmla="*/ 95937 h 959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1137" h="95937">
                    <a:moveTo>
                      <a:pt x="21138" y="0"/>
                    </a:moveTo>
                    <a:lnTo>
                      <a:pt x="0" y="95937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693" name="Forma livre: Forma 1692">
              <a:extLst>
                <a:ext uri="{FF2B5EF4-FFF2-40B4-BE49-F238E27FC236}">
                  <a16:creationId xmlns:a16="http://schemas.microsoft.com/office/drawing/2014/main" id="{ACAFC2C7-5E42-138F-CBFF-E0762F609F24}"/>
                </a:ext>
              </a:extLst>
            </p:cNvPr>
            <p:cNvSpPr/>
            <p:nvPr/>
          </p:nvSpPr>
          <p:spPr>
            <a:xfrm>
              <a:off x="2790469" y="4679467"/>
              <a:ext cx="144602" cy="67113"/>
            </a:xfrm>
            <a:custGeom>
              <a:avLst/>
              <a:gdLst>
                <a:gd name="connsiteX0" fmla="*/ 0 w 144602"/>
                <a:gd name="connsiteY0" fmla="*/ 26230 h 67113"/>
                <a:gd name="connsiteX1" fmla="*/ 25942 w 144602"/>
                <a:gd name="connsiteY1" fmla="*/ 0 h 67113"/>
                <a:gd name="connsiteX2" fmla="*/ 93728 w 144602"/>
                <a:gd name="connsiteY2" fmla="*/ 30170 h 67113"/>
                <a:gd name="connsiteX3" fmla="*/ 103576 w 144602"/>
                <a:gd name="connsiteY3" fmla="*/ 55631 h 67113"/>
                <a:gd name="connsiteX4" fmla="*/ 144603 w 144602"/>
                <a:gd name="connsiteY4" fmla="*/ 67113 h 671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4602" h="67113">
                  <a:moveTo>
                    <a:pt x="0" y="26230"/>
                  </a:moveTo>
                  <a:lnTo>
                    <a:pt x="25942" y="0"/>
                  </a:lnTo>
                  <a:lnTo>
                    <a:pt x="93728" y="30170"/>
                  </a:lnTo>
                  <a:lnTo>
                    <a:pt x="103576" y="55631"/>
                  </a:lnTo>
                  <a:lnTo>
                    <a:pt x="144603" y="67113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94" name="Forma livre: Forma 1693">
              <a:extLst>
                <a:ext uri="{FF2B5EF4-FFF2-40B4-BE49-F238E27FC236}">
                  <a16:creationId xmlns:a16="http://schemas.microsoft.com/office/drawing/2014/main" id="{CFF7A0FE-0F3C-DB5B-EFBA-B9904580402E}"/>
                </a:ext>
              </a:extLst>
            </p:cNvPr>
            <p:cNvSpPr/>
            <p:nvPr/>
          </p:nvSpPr>
          <p:spPr>
            <a:xfrm>
              <a:off x="2712739" y="4693879"/>
              <a:ext cx="99636" cy="55439"/>
            </a:xfrm>
            <a:custGeom>
              <a:avLst/>
              <a:gdLst>
                <a:gd name="connsiteX0" fmla="*/ 0 w 99636"/>
                <a:gd name="connsiteY0" fmla="*/ 55439 h 55439"/>
                <a:gd name="connsiteX1" fmla="*/ 26855 w 99636"/>
                <a:gd name="connsiteY1" fmla="*/ 7062 h 55439"/>
                <a:gd name="connsiteX2" fmla="*/ 61877 w 99636"/>
                <a:gd name="connsiteY2" fmla="*/ 0 h 55439"/>
                <a:gd name="connsiteX3" fmla="*/ 99637 w 99636"/>
                <a:gd name="connsiteY3" fmla="*/ 31803 h 554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9636" h="55439">
                  <a:moveTo>
                    <a:pt x="0" y="55439"/>
                  </a:moveTo>
                  <a:lnTo>
                    <a:pt x="26855" y="7062"/>
                  </a:lnTo>
                  <a:lnTo>
                    <a:pt x="61877" y="0"/>
                  </a:lnTo>
                  <a:lnTo>
                    <a:pt x="99637" y="31803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695" name="Gráfico 14">
              <a:extLst>
                <a:ext uri="{FF2B5EF4-FFF2-40B4-BE49-F238E27FC236}">
                  <a16:creationId xmlns:a16="http://schemas.microsoft.com/office/drawing/2014/main" id="{8AAF603C-0DF5-F4D6-A8FE-7F89A85291D9}"/>
                </a:ext>
              </a:extLst>
            </p:cNvPr>
            <p:cNvGrpSpPr/>
            <p:nvPr/>
          </p:nvGrpSpPr>
          <p:grpSpPr>
            <a:xfrm>
              <a:off x="2741900" y="4914627"/>
              <a:ext cx="157958" cy="54574"/>
              <a:chOff x="2741900" y="4914627"/>
              <a:chExt cx="157958" cy="54574"/>
            </a:xfrm>
          </p:grpSpPr>
          <p:grpSp>
            <p:nvGrpSpPr>
              <p:cNvPr id="1696" name="Gráfico 14">
                <a:extLst>
                  <a:ext uri="{FF2B5EF4-FFF2-40B4-BE49-F238E27FC236}">
                    <a16:creationId xmlns:a16="http://schemas.microsoft.com/office/drawing/2014/main" id="{5D471EF1-EEE0-04D7-8BD1-2A7E92408939}"/>
                  </a:ext>
                </a:extLst>
              </p:cNvPr>
              <p:cNvGrpSpPr/>
              <p:nvPr/>
            </p:nvGrpSpPr>
            <p:grpSpPr>
              <a:xfrm>
                <a:off x="2741900" y="4914627"/>
                <a:ext cx="54574" cy="54574"/>
                <a:chOff x="2741900" y="4914627"/>
                <a:chExt cx="54574" cy="54574"/>
              </a:xfrm>
            </p:grpSpPr>
            <p:sp>
              <p:nvSpPr>
                <p:cNvPr id="1697" name="Forma livre: Forma 1696">
                  <a:extLst>
                    <a:ext uri="{FF2B5EF4-FFF2-40B4-BE49-F238E27FC236}">
                      <a16:creationId xmlns:a16="http://schemas.microsoft.com/office/drawing/2014/main" id="{0E017DDA-646D-05EB-561F-A765E5BF8B42}"/>
                    </a:ext>
                  </a:extLst>
                </p:cNvPr>
                <p:cNvSpPr/>
                <p:nvPr/>
              </p:nvSpPr>
              <p:spPr>
                <a:xfrm>
                  <a:off x="2766208" y="4938984"/>
                  <a:ext cx="5909" cy="5908"/>
                </a:xfrm>
                <a:custGeom>
                  <a:avLst/>
                  <a:gdLst>
                    <a:gd name="connsiteX0" fmla="*/ 5909 w 5909"/>
                    <a:gd name="connsiteY0" fmla="*/ 2930 h 5908"/>
                    <a:gd name="connsiteX1" fmla="*/ 2979 w 5909"/>
                    <a:gd name="connsiteY1" fmla="*/ 5909 h 5908"/>
                    <a:gd name="connsiteX2" fmla="*/ 0 w 5909"/>
                    <a:gd name="connsiteY2" fmla="*/ 2930 h 5908"/>
                    <a:gd name="connsiteX3" fmla="*/ 2979 w 5909"/>
                    <a:gd name="connsiteY3" fmla="*/ 0 h 5908"/>
                    <a:gd name="connsiteX4" fmla="*/ 5909 w 5909"/>
                    <a:gd name="connsiteY4" fmla="*/ 2930 h 590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909" h="5908">
                      <a:moveTo>
                        <a:pt x="5909" y="2930"/>
                      </a:moveTo>
                      <a:cubicBezTo>
                        <a:pt x="5909" y="4564"/>
                        <a:pt x="4612" y="5909"/>
                        <a:pt x="2979" y="5909"/>
                      </a:cubicBezTo>
                      <a:cubicBezTo>
                        <a:pt x="1345" y="5909"/>
                        <a:pt x="0" y="4612"/>
                        <a:pt x="0" y="2930"/>
                      </a:cubicBezTo>
                      <a:cubicBezTo>
                        <a:pt x="0" y="1249"/>
                        <a:pt x="1345" y="0"/>
                        <a:pt x="2979" y="0"/>
                      </a:cubicBezTo>
                      <a:cubicBezTo>
                        <a:pt x="4612" y="0"/>
                        <a:pt x="5909" y="1297"/>
                        <a:pt x="5909" y="2930"/>
                      </a:cubicBezTo>
                      <a:close/>
                    </a:path>
                  </a:pathLst>
                </a:custGeom>
                <a:solidFill>
                  <a:srgbClr val="394553"/>
                </a:solidFill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698" name="Forma livre: Forma 1697">
                  <a:extLst>
                    <a:ext uri="{FF2B5EF4-FFF2-40B4-BE49-F238E27FC236}">
                      <a16:creationId xmlns:a16="http://schemas.microsoft.com/office/drawing/2014/main" id="{B4333DF5-C210-141E-BC6E-D246BAB8A32E}"/>
                    </a:ext>
                  </a:extLst>
                </p:cNvPr>
                <p:cNvSpPr/>
                <p:nvPr/>
              </p:nvSpPr>
              <p:spPr>
                <a:xfrm>
                  <a:off x="2741900" y="4914627"/>
                  <a:ext cx="54574" cy="54574"/>
                </a:xfrm>
                <a:custGeom>
                  <a:avLst/>
                  <a:gdLst>
                    <a:gd name="connsiteX0" fmla="*/ 54574 w 54574"/>
                    <a:gd name="connsiteY0" fmla="*/ 27287 h 54574"/>
                    <a:gd name="connsiteX1" fmla="*/ 27287 w 54574"/>
                    <a:gd name="connsiteY1" fmla="*/ 54574 h 54574"/>
                    <a:gd name="connsiteX2" fmla="*/ 0 w 54574"/>
                    <a:gd name="connsiteY2" fmla="*/ 27287 h 54574"/>
                    <a:gd name="connsiteX3" fmla="*/ 27287 w 54574"/>
                    <a:gd name="connsiteY3" fmla="*/ 0 h 54574"/>
                    <a:gd name="connsiteX4" fmla="*/ 54574 w 54574"/>
                    <a:gd name="connsiteY4" fmla="*/ 27287 h 545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4574" h="54574">
                      <a:moveTo>
                        <a:pt x="54574" y="27287"/>
                      </a:moveTo>
                      <a:cubicBezTo>
                        <a:pt x="54574" y="42372"/>
                        <a:pt x="42372" y="54574"/>
                        <a:pt x="27287" y="54574"/>
                      </a:cubicBezTo>
                      <a:cubicBezTo>
                        <a:pt x="12202" y="54574"/>
                        <a:pt x="0" y="42372"/>
                        <a:pt x="0" y="27287"/>
                      </a:cubicBezTo>
                      <a:cubicBezTo>
                        <a:pt x="0" y="12202"/>
                        <a:pt x="12202" y="0"/>
                        <a:pt x="27287" y="0"/>
                      </a:cubicBezTo>
                      <a:cubicBezTo>
                        <a:pt x="42372" y="0"/>
                        <a:pt x="54574" y="12202"/>
                        <a:pt x="54574" y="27287"/>
                      </a:cubicBezTo>
                      <a:close/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1699" name="Gráfico 14">
                <a:extLst>
                  <a:ext uri="{FF2B5EF4-FFF2-40B4-BE49-F238E27FC236}">
                    <a16:creationId xmlns:a16="http://schemas.microsoft.com/office/drawing/2014/main" id="{AA820734-CDB3-03D2-4950-BF48766CD7E7}"/>
                  </a:ext>
                </a:extLst>
              </p:cNvPr>
              <p:cNvGrpSpPr/>
              <p:nvPr/>
            </p:nvGrpSpPr>
            <p:grpSpPr>
              <a:xfrm>
                <a:off x="2845283" y="4914627"/>
                <a:ext cx="54574" cy="54574"/>
                <a:chOff x="2845283" y="4914627"/>
                <a:chExt cx="54574" cy="54574"/>
              </a:xfrm>
            </p:grpSpPr>
            <p:sp>
              <p:nvSpPr>
                <p:cNvPr id="1700" name="Forma livre: Forma 1699">
                  <a:extLst>
                    <a:ext uri="{FF2B5EF4-FFF2-40B4-BE49-F238E27FC236}">
                      <a16:creationId xmlns:a16="http://schemas.microsoft.com/office/drawing/2014/main" id="{47712130-C568-0D3D-6771-BF1F9A7D16BC}"/>
                    </a:ext>
                  </a:extLst>
                </p:cNvPr>
                <p:cNvSpPr/>
                <p:nvPr/>
              </p:nvSpPr>
              <p:spPr>
                <a:xfrm>
                  <a:off x="2869640" y="4938984"/>
                  <a:ext cx="5909" cy="5908"/>
                </a:xfrm>
                <a:custGeom>
                  <a:avLst/>
                  <a:gdLst>
                    <a:gd name="connsiteX0" fmla="*/ 5909 w 5909"/>
                    <a:gd name="connsiteY0" fmla="*/ 2930 h 5908"/>
                    <a:gd name="connsiteX1" fmla="*/ 2979 w 5909"/>
                    <a:gd name="connsiteY1" fmla="*/ 5909 h 5908"/>
                    <a:gd name="connsiteX2" fmla="*/ 0 w 5909"/>
                    <a:gd name="connsiteY2" fmla="*/ 2930 h 5908"/>
                    <a:gd name="connsiteX3" fmla="*/ 2979 w 5909"/>
                    <a:gd name="connsiteY3" fmla="*/ 0 h 5908"/>
                    <a:gd name="connsiteX4" fmla="*/ 5909 w 5909"/>
                    <a:gd name="connsiteY4" fmla="*/ 2930 h 590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909" h="5908">
                      <a:moveTo>
                        <a:pt x="5909" y="2930"/>
                      </a:moveTo>
                      <a:cubicBezTo>
                        <a:pt x="5909" y="4564"/>
                        <a:pt x="4612" y="5909"/>
                        <a:pt x="2979" y="5909"/>
                      </a:cubicBezTo>
                      <a:cubicBezTo>
                        <a:pt x="1345" y="5909"/>
                        <a:pt x="0" y="4612"/>
                        <a:pt x="0" y="2930"/>
                      </a:cubicBezTo>
                      <a:cubicBezTo>
                        <a:pt x="0" y="1249"/>
                        <a:pt x="1345" y="0"/>
                        <a:pt x="2979" y="0"/>
                      </a:cubicBezTo>
                      <a:cubicBezTo>
                        <a:pt x="4612" y="0"/>
                        <a:pt x="5909" y="1297"/>
                        <a:pt x="5909" y="2930"/>
                      </a:cubicBezTo>
                      <a:close/>
                    </a:path>
                  </a:pathLst>
                </a:custGeom>
                <a:solidFill>
                  <a:srgbClr val="394553"/>
                </a:solidFill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701" name="Forma livre: Forma 1700">
                  <a:extLst>
                    <a:ext uri="{FF2B5EF4-FFF2-40B4-BE49-F238E27FC236}">
                      <a16:creationId xmlns:a16="http://schemas.microsoft.com/office/drawing/2014/main" id="{02AE05A6-D950-26EE-07D0-8CBA25A152D4}"/>
                    </a:ext>
                  </a:extLst>
                </p:cNvPr>
                <p:cNvSpPr/>
                <p:nvPr/>
              </p:nvSpPr>
              <p:spPr>
                <a:xfrm>
                  <a:off x="2845283" y="4914627"/>
                  <a:ext cx="54574" cy="54574"/>
                </a:xfrm>
                <a:custGeom>
                  <a:avLst/>
                  <a:gdLst>
                    <a:gd name="connsiteX0" fmla="*/ 54574 w 54574"/>
                    <a:gd name="connsiteY0" fmla="*/ 27287 h 54574"/>
                    <a:gd name="connsiteX1" fmla="*/ 27287 w 54574"/>
                    <a:gd name="connsiteY1" fmla="*/ 54574 h 54574"/>
                    <a:gd name="connsiteX2" fmla="*/ 0 w 54574"/>
                    <a:gd name="connsiteY2" fmla="*/ 27287 h 54574"/>
                    <a:gd name="connsiteX3" fmla="*/ 27287 w 54574"/>
                    <a:gd name="connsiteY3" fmla="*/ 0 h 54574"/>
                    <a:gd name="connsiteX4" fmla="*/ 54574 w 54574"/>
                    <a:gd name="connsiteY4" fmla="*/ 27287 h 545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4574" h="54574">
                      <a:moveTo>
                        <a:pt x="54574" y="27287"/>
                      </a:moveTo>
                      <a:cubicBezTo>
                        <a:pt x="54574" y="42372"/>
                        <a:pt x="42372" y="54574"/>
                        <a:pt x="27287" y="54574"/>
                      </a:cubicBezTo>
                      <a:cubicBezTo>
                        <a:pt x="12202" y="54574"/>
                        <a:pt x="0" y="42372"/>
                        <a:pt x="0" y="27287"/>
                      </a:cubicBezTo>
                      <a:cubicBezTo>
                        <a:pt x="0" y="12202"/>
                        <a:pt x="12202" y="0"/>
                        <a:pt x="27287" y="0"/>
                      </a:cubicBezTo>
                      <a:cubicBezTo>
                        <a:pt x="42372" y="0"/>
                        <a:pt x="54574" y="12202"/>
                        <a:pt x="54574" y="27287"/>
                      </a:cubicBezTo>
                      <a:close/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grpSp>
          <p:nvGrpSpPr>
            <p:cNvPr id="1702" name="Gráfico 14">
              <a:extLst>
                <a:ext uri="{FF2B5EF4-FFF2-40B4-BE49-F238E27FC236}">
                  <a16:creationId xmlns:a16="http://schemas.microsoft.com/office/drawing/2014/main" id="{CF6871C1-B7D3-C035-A11D-66618AFB9A53}"/>
                </a:ext>
              </a:extLst>
            </p:cNvPr>
            <p:cNvGrpSpPr/>
            <p:nvPr/>
          </p:nvGrpSpPr>
          <p:grpSpPr>
            <a:xfrm>
              <a:off x="2674354" y="4892096"/>
              <a:ext cx="293048" cy="45542"/>
              <a:chOff x="2674354" y="4892096"/>
              <a:chExt cx="293048" cy="45542"/>
            </a:xfrm>
            <a:noFill/>
          </p:grpSpPr>
          <p:sp>
            <p:nvSpPr>
              <p:cNvPr id="1703" name="Forma livre: Forma 1702">
                <a:extLst>
                  <a:ext uri="{FF2B5EF4-FFF2-40B4-BE49-F238E27FC236}">
                    <a16:creationId xmlns:a16="http://schemas.microsoft.com/office/drawing/2014/main" id="{5684E157-DED7-1D1D-91D5-894596FBF949}"/>
                  </a:ext>
                </a:extLst>
              </p:cNvPr>
              <p:cNvSpPr/>
              <p:nvPr/>
            </p:nvSpPr>
            <p:spPr>
              <a:xfrm>
                <a:off x="2796570" y="4936533"/>
                <a:ext cx="48425" cy="4804"/>
              </a:xfrm>
              <a:custGeom>
                <a:avLst/>
                <a:gdLst>
                  <a:gd name="connsiteX0" fmla="*/ 48425 w 48425"/>
                  <a:gd name="connsiteY0" fmla="*/ 0 h 4804"/>
                  <a:gd name="connsiteX1" fmla="*/ 0 w 48425"/>
                  <a:gd name="connsiteY1" fmla="*/ 0 h 48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8425" h="4804">
                    <a:moveTo>
                      <a:pt x="48425" y="0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704" name="Forma livre: Forma 1703">
                <a:extLst>
                  <a:ext uri="{FF2B5EF4-FFF2-40B4-BE49-F238E27FC236}">
                    <a16:creationId xmlns:a16="http://schemas.microsoft.com/office/drawing/2014/main" id="{821949CD-6F69-43D5-200C-4FB1B714CF05}"/>
                  </a:ext>
                </a:extLst>
              </p:cNvPr>
              <p:cNvSpPr/>
              <p:nvPr/>
            </p:nvSpPr>
            <p:spPr>
              <a:xfrm>
                <a:off x="2702650" y="4893249"/>
                <a:ext cx="236408" cy="43284"/>
              </a:xfrm>
              <a:custGeom>
                <a:avLst/>
                <a:gdLst>
                  <a:gd name="connsiteX0" fmla="*/ 19312 w 236408"/>
                  <a:gd name="connsiteY0" fmla="*/ 43285 h 43284"/>
                  <a:gd name="connsiteX1" fmla="*/ 0 w 236408"/>
                  <a:gd name="connsiteY1" fmla="*/ 43285 h 43284"/>
                  <a:gd name="connsiteX2" fmla="*/ 0 w 236408"/>
                  <a:gd name="connsiteY2" fmla="*/ 0 h 43284"/>
                  <a:gd name="connsiteX3" fmla="*/ 236409 w 236408"/>
                  <a:gd name="connsiteY3" fmla="*/ 0 h 43284"/>
                  <a:gd name="connsiteX4" fmla="*/ 236409 w 236408"/>
                  <a:gd name="connsiteY4" fmla="*/ 43285 h 43284"/>
                  <a:gd name="connsiteX5" fmla="*/ 216040 w 236408"/>
                  <a:gd name="connsiteY5" fmla="*/ 43285 h 432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36408" h="43284">
                    <a:moveTo>
                      <a:pt x="19312" y="43285"/>
                    </a:moveTo>
                    <a:lnTo>
                      <a:pt x="0" y="43285"/>
                    </a:lnTo>
                    <a:lnTo>
                      <a:pt x="0" y="0"/>
                    </a:lnTo>
                    <a:lnTo>
                      <a:pt x="236409" y="0"/>
                    </a:lnTo>
                    <a:lnTo>
                      <a:pt x="236409" y="43285"/>
                    </a:lnTo>
                    <a:lnTo>
                      <a:pt x="216040" y="43285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1705" name="Gráfico 14">
                <a:extLst>
                  <a:ext uri="{FF2B5EF4-FFF2-40B4-BE49-F238E27FC236}">
                    <a16:creationId xmlns:a16="http://schemas.microsoft.com/office/drawing/2014/main" id="{2DC993D1-5A81-9137-8D7E-43A85FBC0616}"/>
                  </a:ext>
                </a:extLst>
              </p:cNvPr>
              <p:cNvGrpSpPr/>
              <p:nvPr/>
            </p:nvGrpSpPr>
            <p:grpSpPr>
              <a:xfrm>
                <a:off x="2674354" y="4892096"/>
                <a:ext cx="25845" cy="45542"/>
                <a:chOff x="2674354" y="4892096"/>
                <a:chExt cx="25845" cy="45542"/>
              </a:xfrm>
            </p:grpSpPr>
            <p:sp>
              <p:nvSpPr>
                <p:cNvPr id="1706" name="Forma livre: Forma 1705">
                  <a:extLst>
                    <a:ext uri="{FF2B5EF4-FFF2-40B4-BE49-F238E27FC236}">
                      <a16:creationId xmlns:a16="http://schemas.microsoft.com/office/drawing/2014/main" id="{E211A3C0-32A0-0281-00A7-2B3C4B4F0DAE}"/>
                    </a:ext>
                  </a:extLst>
                </p:cNvPr>
                <p:cNvSpPr/>
                <p:nvPr/>
              </p:nvSpPr>
              <p:spPr>
                <a:xfrm>
                  <a:off x="2674354" y="4892096"/>
                  <a:ext cx="4804" cy="45542"/>
                </a:xfrm>
                <a:custGeom>
                  <a:avLst/>
                  <a:gdLst>
                    <a:gd name="connsiteX0" fmla="*/ 0 w 4804"/>
                    <a:gd name="connsiteY0" fmla="*/ 0 h 45542"/>
                    <a:gd name="connsiteX1" fmla="*/ 0 w 4804"/>
                    <a:gd name="connsiteY1" fmla="*/ 45543 h 4554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804" h="45542">
                      <a:moveTo>
                        <a:pt x="0" y="0"/>
                      </a:moveTo>
                      <a:lnTo>
                        <a:pt x="0" y="45543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707" name="Forma livre: Forma 1706">
                  <a:extLst>
                    <a:ext uri="{FF2B5EF4-FFF2-40B4-BE49-F238E27FC236}">
                      <a16:creationId xmlns:a16="http://schemas.microsoft.com/office/drawing/2014/main" id="{9DACB533-681B-75F7-96AB-6363F88AB3DC}"/>
                    </a:ext>
                  </a:extLst>
                </p:cNvPr>
                <p:cNvSpPr/>
                <p:nvPr/>
              </p:nvSpPr>
              <p:spPr>
                <a:xfrm>
                  <a:off x="2676804" y="4914867"/>
                  <a:ext cx="23395" cy="4804"/>
                </a:xfrm>
                <a:custGeom>
                  <a:avLst/>
                  <a:gdLst>
                    <a:gd name="connsiteX0" fmla="*/ 0 w 23395"/>
                    <a:gd name="connsiteY0" fmla="*/ 0 h 4804"/>
                    <a:gd name="connsiteX1" fmla="*/ 23396 w 23395"/>
                    <a:gd name="connsiteY1" fmla="*/ 0 h 480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3395" h="4804">
                      <a:moveTo>
                        <a:pt x="0" y="0"/>
                      </a:moveTo>
                      <a:lnTo>
                        <a:pt x="23396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1708" name="Gráfico 14">
                <a:extLst>
                  <a:ext uri="{FF2B5EF4-FFF2-40B4-BE49-F238E27FC236}">
                    <a16:creationId xmlns:a16="http://schemas.microsoft.com/office/drawing/2014/main" id="{F4AB270C-9D42-691F-ECDD-1ABCD6D1A393}"/>
                  </a:ext>
                </a:extLst>
              </p:cNvPr>
              <p:cNvGrpSpPr/>
              <p:nvPr/>
            </p:nvGrpSpPr>
            <p:grpSpPr>
              <a:xfrm>
                <a:off x="2941557" y="4892096"/>
                <a:ext cx="25845" cy="45542"/>
                <a:chOff x="2941557" y="4892096"/>
                <a:chExt cx="25845" cy="45542"/>
              </a:xfrm>
            </p:grpSpPr>
            <p:sp>
              <p:nvSpPr>
                <p:cNvPr id="1709" name="Forma livre: Forma 1708">
                  <a:extLst>
                    <a:ext uri="{FF2B5EF4-FFF2-40B4-BE49-F238E27FC236}">
                      <a16:creationId xmlns:a16="http://schemas.microsoft.com/office/drawing/2014/main" id="{2F71607C-A72D-AA35-0FB4-9873F0BADD2F}"/>
                    </a:ext>
                  </a:extLst>
                </p:cNvPr>
                <p:cNvSpPr/>
                <p:nvPr/>
              </p:nvSpPr>
              <p:spPr>
                <a:xfrm>
                  <a:off x="2967403" y="4892096"/>
                  <a:ext cx="4804" cy="45542"/>
                </a:xfrm>
                <a:custGeom>
                  <a:avLst/>
                  <a:gdLst>
                    <a:gd name="connsiteX0" fmla="*/ 0 w 4804"/>
                    <a:gd name="connsiteY0" fmla="*/ 45543 h 45542"/>
                    <a:gd name="connsiteX1" fmla="*/ 0 w 4804"/>
                    <a:gd name="connsiteY1" fmla="*/ 0 h 4554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804" h="45542">
                      <a:moveTo>
                        <a:pt x="0" y="45543"/>
                      </a:moveTo>
                      <a:lnTo>
                        <a:pt x="0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710" name="Forma livre: Forma 1709">
                  <a:extLst>
                    <a:ext uri="{FF2B5EF4-FFF2-40B4-BE49-F238E27FC236}">
                      <a16:creationId xmlns:a16="http://schemas.microsoft.com/office/drawing/2014/main" id="{0878564E-33DF-4CEE-F8B5-BA6A064B052A}"/>
                    </a:ext>
                  </a:extLst>
                </p:cNvPr>
                <p:cNvSpPr/>
                <p:nvPr/>
              </p:nvSpPr>
              <p:spPr>
                <a:xfrm>
                  <a:off x="2941557" y="4914867"/>
                  <a:ext cx="23395" cy="4804"/>
                </a:xfrm>
                <a:custGeom>
                  <a:avLst/>
                  <a:gdLst>
                    <a:gd name="connsiteX0" fmla="*/ 23396 w 23395"/>
                    <a:gd name="connsiteY0" fmla="*/ 0 h 4804"/>
                    <a:gd name="connsiteX1" fmla="*/ 0 w 23395"/>
                    <a:gd name="connsiteY1" fmla="*/ 0 h 480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3395" h="4804">
                      <a:moveTo>
                        <a:pt x="23396" y="0"/>
                      </a:moveTo>
                      <a:lnTo>
                        <a:pt x="0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</p:grpSp>
      <p:grpSp>
        <p:nvGrpSpPr>
          <p:cNvPr id="1713" name="Gráfico 15">
            <a:extLst>
              <a:ext uri="{FF2B5EF4-FFF2-40B4-BE49-F238E27FC236}">
                <a16:creationId xmlns:a16="http://schemas.microsoft.com/office/drawing/2014/main" id="{6FA83366-B9F5-E60F-E997-F9F9847EC6A1}"/>
              </a:ext>
            </a:extLst>
          </p:cNvPr>
          <p:cNvGrpSpPr/>
          <p:nvPr/>
        </p:nvGrpSpPr>
        <p:grpSpPr>
          <a:xfrm>
            <a:off x="5796317" y="4137183"/>
            <a:ext cx="334171" cy="270709"/>
            <a:chOff x="5796317" y="4137183"/>
            <a:chExt cx="334171" cy="270709"/>
          </a:xfrm>
        </p:grpSpPr>
        <p:sp>
          <p:nvSpPr>
            <p:cNvPr id="1714" name="Forma livre: Forma 1713">
              <a:extLst>
                <a:ext uri="{FF2B5EF4-FFF2-40B4-BE49-F238E27FC236}">
                  <a16:creationId xmlns:a16="http://schemas.microsoft.com/office/drawing/2014/main" id="{081AB606-8208-7424-5B6D-80E6E952A4D8}"/>
                </a:ext>
              </a:extLst>
            </p:cNvPr>
            <p:cNvSpPr/>
            <p:nvPr/>
          </p:nvSpPr>
          <p:spPr>
            <a:xfrm>
              <a:off x="6098974" y="4247484"/>
              <a:ext cx="4804" cy="111310"/>
            </a:xfrm>
            <a:custGeom>
              <a:avLst/>
              <a:gdLst>
                <a:gd name="connsiteX0" fmla="*/ 0 w 4804"/>
                <a:gd name="connsiteY0" fmla="*/ 0 h 111310"/>
                <a:gd name="connsiteX1" fmla="*/ 0 w 4804"/>
                <a:gd name="connsiteY1" fmla="*/ 111311 h 1113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804" h="111310">
                  <a:moveTo>
                    <a:pt x="0" y="0"/>
                  </a:moveTo>
                  <a:lnTo>
                    <a:pt x="0" y="111311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15" name="Forma livre: Forma 1714">
              <a:extLst>
                <a:ext uri="{FF2B5EF4-FFF2-40B4-BE49-F238E27FC236}">
                  <a16:creationId xmlns:a16="http://schemas.microsoft.com/office/drawing/2014/main" id="{F2DA32AF-2FFE-C39F-887A-C80BEEDBD817}"/>
                </a:ext>
              </a:extLst>
            </p:cNvPr>
            <p:cNvSpPr/>
            <p:nvPr/>
          </p:nvSpPr>
          <p:spPr>
            <a:xfrm>
              <a:off x="5827928" y="4192958"/>
              <a:ext cx="79171" cy="165884"/>
            </a:xfrm>
            <a:custGeom>
              <a:avLst/>
              <a:gdLst>
                <a:gd name="connsiteX0" fmla="*/ 0 w 79171"/>
                <a:gd name="connsiteY0" fmla="*/ 165885 h 165884"/>
                <a:gd name="connsiteX1" fmla="*/ 0 w 79171"/>
                <a:gd name="connsiteY1" fmla="*/ 19793 h 165884"/>
                <a:gd name="connsiteX2" fmla="*/ 19793 w 79171"/>
                <a:gd name="connsiteY2" fmla="*/ 0 h 165884"/>
                <a:gd name="connsiteX3" fmla="*/ 79171 w 79171"/>
                <a:gd name="connsiteY3" fmla="*/ 0 h 1658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9171" h="165884">
                  <a:moveTo>
                    <a:pt x="0" y="165885"/>
                  </a:moveTo>
                  <a:lnTo>
                    <a:pt x="0" y="19793"/>
                  </a:lnTo>
                  <a:cubicBezTo>
                    <a:pt x="0" y="8888"/>
                    <a:pt x="8888" y="0"/>
                    <a:pt x="19793" y="0"/>
                  </a:cubicBezTo>
                  <a:lnTo>
                    <a:pt x="79171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16" name="Forma livre: Forma 1715">
              <a:extLst>
                <a:ext uri="{FF2B5EF4-FFF2-40B4-BE49-F238E27FC236}">
                  <a16:creationId xmlns:a16="http://schemas.microsoft.com/office/drawing/2014/main" id="{F7F62775-CF17-6056-66A0-066D0E60A89C}"/>
                </a:ext>
              </a:extLst>
            </p:cNvPr>
            <p:cNvSpPr/>
            <p:nvPr/>
          </p:nvSpPr>
          <p:spPr>
            <a:xfrm>
              <a:off x="5796317" y="4380653"/>
              <a:ext cx="334171" cy="27239"/>
            </a:xfrm>
            <a:custGeom>
              <a:avLst/>
              <a:gdLst>
                <a:gd name="connsiteX0" fmla="*/ 48 w 334171"/>
                <a:gd name="connsiteY0" fmla="*/ 0 h 27239"/>
                <a:gd name="connsiteX1" fmla="*/ 24933 w 334171"/>
                <a:gd name="connsiteY1" fmla="*/ 27239 h 27239"/>
                <a:gd name="connsiteX2" fmla="*/ 309239 w 334171"/>
                <a:gd name="connsiteY2" fmla="*/ 27239 h 27239"/>
                <a:gd name="connsiteX3" fmla="*/ 334172 w 334171"/>
                <a:gd name="connsiteY3" fmla="*/ 0 h 27239"/>
                <a:gd name="connsiteX4" fmla="*/ 0 w 334171"/>
                <a:gd name="connsiteY4" fmla="*/ 0 h 272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4171" h="27239">
                  <a:moveTo>
                    <a:pt x="48" y="0"/>
                  </a:moveTo>
                  <a:cubicBezTo>
                    <a:pt x="48" y="0"/>
                    <a:pt x="5813" y="27239"/>
                    <a:pt x="24933" y="27239"/>
                  </a:cubicBezTo>
                  <a:lnTo>
                    <a:pt x="309239" y="27239"/>
                  </a:lnTo>
                  <a:cubicBezTo>
                    <a:pt x="328407" y="27239"/>
                    <a:pt x="334172" y="0"/>
                    <a:pt x="334172" y="0"/>
                  </a:cubicBezTo>
                  <a:lnTo>
                    <a:pt x="0" y="0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717" name="Gráfico 15">
              <a:extLst>
                <a:ext uri="{FF2B5EF4-FFF2-40B4-BE49-F238E27FC236}">
                  <a16:creationId xmlns:a16="http://schemas.microsoft.com/office/drawing/2014/main" id="{2AC41FD8-85D7-7FC9-BCA2-B94997B908BE}"/>
                </a:ext>
              </a:extLst>
            </p:cNvPr>
            <p:cNvGrpSpPr/>
            <p:nvPr/>
          </p:nvGrpSpPr>
          <p:grpSpPr>
            <a:xfrm>
              <a:off x="6017785" y="4179218"/>
              <a:ext cx="67016" cy="5764"/>
              <a:chOff x="6017785" y="4179218"/>
              <a:chExt cx="67016" cy="5764"/>
            </a:xfrm>
            <a:solidFill>
              <a:srgbClr val="394553"/>
            </a:solidFill>
          </p:grpSpPr>
          <p:sp>
            <p:nvSpPr>
              <p:cNvPr id="1718" name="Forma livre: Forma 1717">
                <a:extLst>
                  <a:ext uri="{FF2B5EF4-FFF2-40B4-BE49-F238E27FC236}">
                    <a16:creationId xmlns:a16="http://schemas.microsoft.com/office/drawing/2014/main" id="{A5EC3447-4486-FC58-6A73-731523F3C09A}"/>
                  </a:ext>
                </a:extLst>
              </p:cNvPr>
              <p:cNvSpPr/>
              <p:nvPr/>
            </p:nvSpPr>
            <p:spPr>
              <a:xfrm>
                <a:off x="6017785" y="4179218"/>
                <a:ext cx="5764" cy="5764"/>
              </a:xfrm>
              <a:custGeom>
                <a:avLst/>
                <a:gdLst>
                  <a:gd name="connsiteX0" fmla="*/ 5765 w 5764"/>
                  <a:gd name="connsiteY0" fmla="*/ 2882 h 5764"/>
                  <a:gd name="connsiteX1" fmla="*/ 2882 w 5764"/>
                  <a:gd name="connsiteY1" fmla="*/ 5765 h 5764"/>
                  <a:gd name="connsiteX2" fmla="*/ 0 w 5764"/>
                  <a:gd name="connsiteY2" fmla="*/ 2882 h 5764"/>
                  <a:gd name="connsiteX3" fmla="*/ 2882 w 5764"/>
                  <a:gd name="connsiteY3" fmla="*/ 0 h 5764"/>
                  <a:gd name="connsiteX4" fmla="*/ 5765 w 5764"/>
                  <a:gd name="connsiteY4" fmla="*/ 2882 h 57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764" h="5764">
                    <a:moveTo>
                      <a:pt x="5765" y="2882"/>
                    </a:moveTo>
                    <a:cubicBezTo>
                      <a:pt x="5765" y="4468"/>
                      <a:pt x="4468" y="5765"/>
                      <a:pt x="2882" y="5765"/>
                    </a:cubicBezTo>
                    <a:cubicBezTo>
                      <a:pt x="1297" y="5765"/>
                      <a:pt x="0" y="4468"/>
                      <a:pt x="0" y="2882"/>
                    </a:cubicBezTo>
                    <a:cubicBezTo>
                      <a:pt x="0" y="1297"/>
                      <a:pt x="1297" y="0"/>
                      <a:pt x="2882" y="0"/>
                    </a:cubicBezTo>
                    <a:cubicBezTo>
                      <a:pt x="4468" y="0"/>
                      <a:pt x="5765" y="1297"/>
                      <a:pt x="5765" y="2882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719" name="Forma livre: Forma 1718">
                <a:extLst>
                  <a:ext uri="{FF2B5EF4-FFF2-40B4-BE49-F238E27FC236}">
                    <a16:creationId xmlns:a16="http://schemas.microsoft.com/office/drawing/2014/main" id="{9300A100-EBCE-427E-EDE7-F75F3287E71E}"/>
                  </a:ext>
                </a:extLst>
              </p:cNvPr>
              <p:cNvSpPr/>
              <p:nvPr/>
            </p:nvSpPr>
            <p:spPr>
              <a:xfrm>
                <a:off x="6048387" y="4179218"/>
                <a:ext cx="5764" cy="5764"/>
              </a:xfrm>
              <a:custGeom>
                <a:avLst/>
                <a:gdLst>
                  <a:gd name="connsiteX0" fmla="*/ 5765 w 5764"/>
                  <a:gd name="connsiteY0" fmla="*/ 2882 h 5764"/>
                  <a:gd name="connsiteX1" fmla="*/ 2882 w 5764"/>
                  <a:gd name="connsiteY1" fmla="*/ 5765 h 5764"/>
                  <a:gd name="connsiteX2" fmla="*/ 0 w 5764"/>
                  <a:gd name="connsiteY2" fmla="*/ 2882 h 5764"/>
                  <a:gd name="connsiteX3" fmla="*/ 2882 w 5764"/>
                  <a:gd name="connsiteY3" fmla="*/ 0 h 5764"/>
                  <a:gd name="connsiteX4" fmla="*/ 5765 w 5764"/>
                  <a:gd name="connsiteY4" fmla="*/ 2882 h 57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764" h="5764">
                    <a:moveTo>
                      <a:pt x="5765" y="2882"/>
                    </a:moveTo>
                    <a:cubicBezTo>
                      <a:pt x="5765" y="4468"/>
                      <a:pt x="4468" y="5765"/>
                      <a:pt x="2882" y="5765"/>
                    </a:cubicBezTo>
                    <a:cubicBezTo>
                      <a:pt x="1297" y="5765"/>
                      <a:pt x="0" y="4468"/>
                      <a:pt x="0" y="2882"/>
                    </a:cubicBezTo>
                    <a:cubicBezTo>
                      <a:pt x="0" y="1297"/>
                      <a:pt x="1297" y="0"/>
                      <a:pt x="2882" y="0"/>
                    </a:cubicBezTo>
                    <a:cubicBezTo>
                      <a:pt x="4468" y="0"/>
                      <a:pt x="5765" y="1297"/>
                      <a:pt x="5765" y="2882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720" name="Forma livre: Forma 1719">
                <a:extLst>
                  <a:ext uri="{FF2B5EF4-FFF2-40B4-BE49-F238E27FC236}">
                    <a16:creationId xmlns:a16="http://schemas.microsoft.com/office/drawing/2014/main" id="{AAF76320-D893-8A14-88B6-FC1CCE772562}"/>
                  </a:ext>
                </a:extLst>
              </p:cNvPr>
              <p:cNvSpPr/>
              <p:nvPr/>
            </p:nvSpPr>
            <p:spPr>
              <a:xfrm>
                <a:off x="6079037" y="4179218"/>
                <a:ext cx="5764" cy="5764"/>
              </a:xfrm>
              <a:custGeom>
                <a:avLst/>
                <a:gdLst>
                  <a:gd name="connsiteX0" fmla="*/ 5765 w 5764"/>
                  <a:gd name="connsiteY0" fmla="*/ 2882 h 5764"/>
                  <a:gd name="connsiteX1" fmla="*/ 2882 w 5764"/>
                  <a:gd name="connsiteY1" fmla="*/ 5765 h 5764"/>
                  <a:gd name="connsiteX2" fmla="*/ 0 w 5764"/>
                  <a:gd name="connsiteY2" fmla="*/ 2882 h 5764"/>
                  <a:gd name="connsiteX3" fmla="*/ 2882 w 5764"/>
                  <a:gd name="connsiteY3" fmla="*/ 0 h 5764"/>
                  <a:gd name="connsiteX4" fmla="*/ 5765 w 5764"/>
                  <a:gd name="connsiteY4" fmla="*/ 2882 h 57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764" h="5764">
                    <a:moveTo>
                      <a:pt x="5765" y="2882"/>
                    </a:moveTo>
                    <a:cubicBezTo>
                      <a:pt x="5765" y="4468"/>
                      <a:pt x="4468" y="5765"/>
                      <a:pt x="2882" y="5765"/>
                    </a:cubicBezTo>
                    <a:cubicBezTo>
                      <a:pt x="1297" y="5765"/>
                      <a:pt x="0" y="4468"/>
                      <a:pt x="0" y="2882"/>
                    </a:cubicBezTo>
                    <a:cubicBezTo>
                      <a:pt x="0" y="1297"/>
                      <a:pt x="1297" y="0"/>
                      <a:pt x="2882" y="0"/>
                    </a:cubicBezTo>
                    <a:cubicBezTo>
                      <a:pt x="4468" y="0"/>
                      <a:pt x="5765" y="1297"/>
                      <a:pt x="5765" y="2882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721" name="Gráfico 15">
              <a:extLst>
                <a:ext uri="{FF2B5EF4-FFF2-40B4-BE49-F238E27FC236}">
                  <a16:creationId xmlns:a16="http://schemas.microsoft.com/office/drawing/2014/main" id="{C776575E-F8E4-45A0-8BEF-701D38A94F09}"/>
                </a:ext>
              </a:extLst>
            </p:cNvPr>
            <p:cNvGrpSpPr/>
            <p:nvPr/>
          </p:nvGrpSpPr>
          <p:grpSpPr>
            <a:xfrm>
              <a:off x="5928375" y="4180660"/>
              <a:ext cx="70540" cy="93919"/>
              <a:chOff x="5928375" y="4180660"/>
              <a:chExt cx="70540" cy="93919"/>
            </a:xfrm>
            <a:noFill/>
          </p:grpSpPr>
          <p:sp>
            <p:nvSpPr>
              <p:cNvPr id="1722" name="Forma livre: Forma 1721">
                <a:extLst>
                  <a:ext uri="{FF2B5EF4-FFF2-40B4-BE49-F238E27FC236}">
                    <a16:creationId xmlns:a16="http://schemas.microsoft.com/office/drawing/2014/main" id="{3FAD8CE9-7E36-E84D-C6F1-BE006780601D}"/>
                  </a:ext>
                </a:extLst>
              </p:cNvPr>
              <p:cNvSpPr/>
              <p:nvPr/>
            </p:nvSpPr>
            <p:spPr>
              <a:xfrm>
                <a:off x="5928375" y="4180660"/>
                <a:ext cx="70540" cy="93919"/>
              </a:xfrm>
              <a:custGeom>
                <a:avLst/>
                <a:gdLst>
                  <a:gd name="connsiteX0" fmla="*/ 35268 w 70540"/>
                  <a:gd name="connsiteY0" fmla="*/ 0 h 93919"/>
                  <a:gd name="connsiteX1" fmla="*/ 727 w 70540"/>
                  <a:gd name="connsiteY1" fmla="*/ 46984 h 93919"/>
                  <a:gd name="connsiteX2" fmla="*/ 35268 w 70540"/>
                  <a:gd name="connsiteY2" fmla="*/ 93920 h 93919"/>
                  <a:gd name="connsiteX3" fmla="*/ 69810 w 70540"/>
                  <a:gd name="connsiteY3" fmla="*/ 46984 h 93919"/>
                  <a:gd name="connsiteX4" fmla="*/ 35268 w 70540"/>
                  <a:gd name="connsiteY4" fmla="*/ 0 h 939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0540" h="93919">
                    <a:moveTo>
                      <a:pt x="35268" y="0"/>
                    </a:moveTo>
                    <a:cubicBezTo>
                      <a:pt x="246" y="0"/>
                      <a:pt x="-1723" y="21186"/>
                      <a:pt x="727" y="46984"/>
                    </a:cubicBezTo>
                    <a:cubicBezTo>
                      <a:pt x="3177" y="72782"/>
                      <a:pt x="19415" y="93920"/>
                      <a:pt x="35268" y="93920"/>
                    </a:cubicBezTo>
                    <a:cubicBezTo>
                      <a:pt x="51122" y="93920"/>
                      <a:pt x="67359" y="72782"/>
                      <a:pt x="69810" y="46984"/>
                    </a:cubicBezTo>
                    <a:cubicBezTo>
                      <a:pt x="72260" y="21234"/>
                      <a:pt x="70338" y="0"/>
                      <a:pt x="35268" y="0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723" name="Forma livre: Forma 1722">
                <a:extLst>
                  <a:ext uri="{FF2B5EF4-FFF2-40B4-BE49-F238E27FC236}">
                    <a16:creationId xmlns:a16="http://schemas.microsoft.com/office/drawing/2014/main" id="{7ACA43A3-1E9C-1942-15B1-AA99DB91ED38}"/>
                  </a:ext>
                </a:extLst>
              </p:cNvPr>
              <p:cNvSpPr/>
              <p:nvPr/>
            </p:nvSpPr>
            <p:spPr>
              <a:xfrm>
                <a:off x="5951152" y="4207514"/>
                <a:ext cx="46695" cy="13211"/>
              </a:xfrm>
              <a:custGeom>
                <a:avLst/>
                <a:gdLst>
                  <a:gd name="connsiteX0" fmla="*/ 46696 w 46695"/>
                  <a:gd name="connsiteY0" fmla="*/ 13211 h 13211"/>
                  <a:gd name="connsiteX1" fmla="*/ 22675 w 46695"/>
                  <a:gd name="connsiteY1" fmla="*/ 0 h 13211"/>
                  <a:gd name="connsiteX2" fmla="*/ 0 w 46695"/>
                  <a:gd name="connsiteY2" fmla="*/ 11338 h 132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46695" h="13211">
                    <a:moveTo>
                      <a:pt x="46696" y="13211"/>
                    </a:moveTo>
                    <a:cubicBezTo>
                      <a:pt x="31899" y="9368"/>
                      <a:pt x="22675" y="0"/>
                      <a:pt x="22675" y="0"/>
                    </a:cubicBezTo>
                    <a:cubicBezTo>
                      <a:pt x="22675" y="0"/>
                      <a:pt x="18928" y="8263"/>
                      <a:pt x="0" y="11338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724" name="Forma livre: Forma 1723">
              <a:extLst>
                <a:ext uri="{FF2B5EF4-FFF2-40B4-BE49-F238E27FC236}">
                  <a16:creationId xmlns:a16="http://schemas.microsoft.com/office/drawing/2014/main" id="{B8374EE5-E0D0-D46A-72EA-8D7F6507B838}"/>
                </a:ext>
              </a:extLst>
            </p:cNvPr>
            <p:cNvSpPr/>
            <p:nvPr/>
          </p:nvSpPr>
          <p:spPr>
            <a:xfrm>
              <a:off x="5976614" y="4137183"/>
              <a:ext cx="141720" cy="89836"/>
            </a:xfrm>
            <a:custGeom>
              <a:avLst/>
              <a:gdLst>
                <a:gd name="connsiteX0" fmla="*/ 0 w 141720"/>
                <a:gd name="connsiteY0" fmla="*/ 24309 h 89836"/>
                <a:gd name="connsiteX1" fmla="*/ 0 w 141720"/>
                <a:gd name="connsiteY1" fmla="*/ 0 h 89836"/>
                <a:gd name="connsiteX2" fmla="*/ 141720 w 141720"/>
                <a:gd name="connsiteY2" fmla="*/ 0 h 89836"/>
                <a:gd name="connsiteX3" fmla="*/ 141720 w 141720"/>
                <a:gd name="connsiteY3" fmla="*/ 89836 h 89836"/>
                <a:gd name="connsiteX4" fmla="*/ 42660 w 141720"/>
                <a:gd name="connsiteY4" fmla="*/ 89836 h 898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1720" h="89836">
                  <a:moveTo>
                    <a:pt x="0" y="24309"/>
                  </a:moveTo>
                  <a:lnTo>
                    <a:pt x="0" y="0"/>
                  </a:lnTo>
                  <a:lnTo>
                    <a:pt x="141720" y="0"/>
                  </a:lnTo>
                  <a:lnTo>
                    <a:pt x="141720" y="89836"/>
                  </a:lnTo>
                  <a:lnTo>
                    <a:pt x="42660" y="89836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25" name="Forma livre: Forma 1724">
              <a:extLst>
                <a:ext uri="{FF2B5EF4-FFF2-40B4-BE49-F238E27FC236}">
                  <a16:creationId xmlns:a16="http://schemas.microsoft.com/office/drawing/2014/main" id="{4C8BF8DD-6908-F4CA-10DF-071C0B3590FE}"/>
                </a:ext>
              </a:extLst>
            </p:cNvPr>
            <p:cNvSpPr/>
            <p:nvPr/>
          </p:nvSpPr>
          <p:spPr>
            <a:xfrm>
              <a:off x="5894656" y="4289088"/>
              <a:ext cx="137540" cy="69755"/>
            </a:xfrm>
            <a:custGeom>
              <a:avLst/>
              <a:gdLst>
                <a:gd name="connsiteX0" fmla="*/ 137541 w 137540"/>
                <a:gd name="connsiteY0" fmla="*/ 69755 h 69755"/>
                <a:gd name="connsiteX1" fmla="*/ 137541 w 137540"/>
                <a:gd name="connsiteY1" fmla="*/ 31323 h 69755"/>
                <a:gd name="connsiteX2" fmla="*/ 112031 w 137540"/>
                <a:gd name="connsiteY2" fmla="*/ 3891 h 69755"/>
                <a:gd name="connsiteX3" fmla="*/ 99108 w 137540"/>
                <a:gd name="connsiteY3" fmla="*/ 0 h 69755"/>
                <a:gd name="connsiteX4" fmla="*/ 68746 w 137540"/>
                <a:gd name="connsiteY4" fmla="*/ 37856 h 69755"/>
                <a:gd name="connsiteX5" fmla="*/ 38385 w 137540"/>
                <a:gd name="connsiteY5" fmla="*/ 0 h 69755"/>
                <a:gd name="connsiteX6" fmla="*/ 25510 w 137540"/>
                <a:gd name="connsiteY6" fmla="*/ 3891 h 69755"/>
                <a:gd name="connsiteX7" fmla="*/ 0 w 137540"/>
                <a:gd name="connsiteY7" fmla="*/ 31323 h 69755"/>
                <a:gd name="connsiteX8" fmla="*/ 0 w 137540"/>
                <a:gd name="connsiteY8" fmla="*/ 69755 h 697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37540" h="69755">
                  <a:moveTo>
                    <a:pt x="137541" y="69755"/>
                  </a:moveTo>
                  <a:lnTo>
                    <a:pt x="137541" y="31323"/>
                  </a:lnTo>
                  <a:cubicBezTo>
                    <a:pt x="137541" y="10281"/>
                    <a:pt x="112031" y="3891"/>
                    <a:pt x="112031" y="3891"/>
                  </a:cubicBezTo>
                  <a:lnTo>
                    <a:pt x="99108" y="0"/>
                  </a:lnTo>
                  <a:lnTo>
                    <a:pt x="68746" y="37856"/>
                  </a:lnTo>
                  <a:lnTo>
                    <a:pt x="38385" y="0"/>
                  </a:lnTo>
                  <a:lnTo>
                    <a:pt x="25510" y="3891"/>
                  </a:lnTo>
                  <a:cubicBezTo>
                    <a:pt x="25510" y="3891"/>
                    <a:pt x="0" y="10281"/>
                    <a:pt x="0" y="31323"/>
                  </a:cubicBezTo>
                  <a:lnTo>
                    <a:pt x="0" y="69755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26" name="Forma livre: Forma 1725">
              <a:extLst>
                <a:ext uri="{FF2B5EF4-FFF2-40B4-BE49-F238E27FC236}">
                  <a16:creationId xmlns:a16="http://schemas.microsoft.com/office/drawing/2014/main" id="{32AD371C-6930-251F-F71E-958491D9B21B}"/>
                </a:ext>
              </a:extLst>
            </p:cNvPr>
            <p:cNvSpPr/>
            <p:nvPr/>
          </p:nvSpPr>
          <p:spPr>
            <a:xfrm>
              <a:off x="6029795" y="4227259"/>
              <a:ext cx="22435" cy="26806"/>
            </a:xfrm>
            <a:custGeom>
              <a:avLst/>
              <a:gdLst>
                <a:gd name="connsiteX0" fmla="*/ 22435 w 22435"/>
                <a:gd name="connsiteY0" fmla="*/ 0 h 26806"/>
                <a:gd name="connsiteX1" fmla="*/ 0 w 22435"/>
                <a:gd name="connsiteY1" fmla="*/ 26807 h 26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2435" h="26806">
                  <a:moveTo>
                    <a:pt x="22435" y="0"/>
                  </a:moveTo>
                  <a:lnTo>
                    <a:pt x="0" y="26807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727" name="Gráfico 15">
            <a:extLst>
              <a:ext uri="{FF2B5EF4-FFF2-40B4-BE49-F238E27FC236}">
                <a16:creationId xmlns:a16="http://schemas.microsoft.com/office/drawing/2014/main" id="{A36C18E6-F11F-0468-5657-E2E5F1678E31}"/>
              </a:ext>
            </a:extLst>
          </p:cNvPr>
          <p:cNvGrpSpPr/>
          <p:nvPr/>
        </p:nvGrpSpPr>
        <p:grpSpPr>
          <a:xfrm>
            <a:off x="5805541" y="4630586"/>
            <a:ext cx="315827" cy="330208"/>
            <a:chOff x="5805541" y="4630586"/>
            <a:chExt cx="315827" cy="330208"/>
          </a:xfrm>
        </p:grpSpPr>
        <p:grpSp>
          <p:nvGrpSpPr>
            <p:cNvPr id="1728" name="Gráfico 15">
              <a:extLst>
                <a:ext uri="{FF2B5EF4-FFF2-40B4-BE49-F238E27FC236}">
                  <a16:creationId xmlns:a16="http://schemas.microsoft.com/office/drawing/2014/main" id="{73274CCF-4718-2742-F084-22440232ED54}"/>
                </a:ext>
              </a:extLst>
            </p:cNvPr>
            <p:cNvGrpSpPr/>
            <p:nvPr/>
          </p:nvGrpSpPr>
          <p:grpSpPr>
            <a:xfrm>
              <a:off x="5932464" y="4725154"/>
              <a:ext cx="61684" cy="7206"/>
              <a:chOff x="5932464" y="4725154"/>
              <a:chExt cx="61684" cy="7206"/>
            </a:xfrm>
            <a:solidFill>
              <a:srgbClr val="394553"/>
            </a:solidFill>
          </p:grpSpPr>
          <p:sp>
            <p:nvSpPr>
              <p:cNvPr id="1729" name="Forma livre: Forma 1728">
                <a:extLst>
                  <a:ext uri="{FF2B5EF4-FFF2-40B4-BE49-F238E27FC236}">
                    <a16:creationId xmlns:a16="http://schemas.microsoft.com/office/drawing/2014/main" id="{F8A22291-7EC7-4F63-C9EC-D53A2771251F}"/>
                  </a:ext>
                </a:extLst>
              </p:cNvPr>
              <p:cNvSpPr/>
              <p:nvPr/>
            </p:nvSpPr>
            <p:spPr>
              <a:xfrm>
                <a:off x="5986943" y="4725154"/>
                <a:ext cx="7206" cy="7206"/>
              </a:xfrm>
              <a:custGeom>
                <a:avLst/>
                <a:gdLst>
                  <a:gd name="connsiteX0" fmla="*/ 0 w 7206"/>
                  <a:gd name="connsiteY0" fmla="*/ 3603 h 7206"/>
                  <a:gd name="connsiteX1" fmla="*/ 3603 w 7206"/>
                  <a:gd name="connsiteY1" fmla="*/ 7206 h 7206"/>
                  <a:gd name="connsiteX2" fmla="*/ 7206 w 7206"/>
                  <a:gd name="connsiteY2" fmla="*/ 3603 h 7206"/>
                  <a:gd name="connsiteX3" fmla="*/ 3603 w 7206"/>
                  <a:gd name="connsiteY3" fmla="*/ 0 h 7206"/>
                  <a:gd name="connsiteX4" fmla="*/ 0 w 7206"/>
                  <a:gd name="connsiteY4" fmla="*/ 3603 h 72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206" h="7206">
                    <a:moveTo>
                      <a:pt x="0" y="3603"/>
                    </a:moveTo>
                    <a:cubicBezTo>
                      <a:pt x="0" y="5621"/>
                      <a:pt x="1585" y="7206"/>
                      <a:pt x="3603" y="7206"/>
                    </a:cubicBezTo>
                    <a:cubicBezTo>
                      <a:pt x="5621" y="7206"/>
                      <a:pt x="7206" y="5621"/>
                      <a:pt x="7206" y="3603"/>
                    </a:cubicBezTo>
                    <a:cubicBezTo>
                      <a:pt x="7206" y="1585"/>
                      <a:pt x="5573" y="0"/>
                      <a:pt x="3603" y="0"/>
                    </a:cubicBezTo>
                    <a:cubicBezTo>
                      <a:pt x="1633" y="0"/>
                      <a:pt x="0" y="1633"/>
                      <a:pt x="0" y="3603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730" name="Forma livre: Forma 1729">
                <a:extLst>
                  <a:ext uri="{FF2B5EF4-FFF2-40B4-BE49-F238E27FC236}">
                    <a16:creationId xmlns:a16="http://schemas.microsoft.com/office/drawing/2014/main" id="{DEC2EC8F-C8B1-D83A-6C1D-A0C7280BF0BD}"/>
                  </a:ext>
                </a:extLst>
              </p:cNvPr>
              <p:cNvSpPr/>
              <p:nvPr/>
            </p:nvSpPr>
            <p:spPr>
              <a:xfrm>
                <a:off x="5932464" y="4725154"/>
                <a:ext cx="7206" cy="7206"/>
              </a:xfrm>
              <a:custGeom>
                <a:avLst/>
                <a:gdLst>
                  <a:gd name="connsiteX0" fmla="*/ 0 w 7206"/>
                  <a:gd name="connsiteY0" fmla="*/ 3603 h 7206"/>
                  <a:gd name="connsiteX1" fmla="*/ 3603 w 7206"/>
                  <a:gd name="connsiteY1" fmla="*/ 7206 h 7206"/>
                  <a:gd name="connsiteX2" fmla="*/ 7206 w 7206"/>
                  <a:gd name="connsiteY2" fmla="*/ 3603 h 7206"/>
                  <a:gd name="connsiteX3" fmla="*/ 3603 w 7206"/>
                  <a:gd name="connsiteY3" fmla="*/ 0 h 7206"/>
                  <a:gd name="connsiteX4" fmla="*/ 0 w 7206"/>
                  <a:gd name="connsiteY4" fmla="*/ 3603 h 72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206" h="7206">
                    <a:moveTo>
                      <a:pt x="0" y="3603"/>
                    </a:moveTo>
                    <a:cubicBezTo>
                      <a:pt x="0" y="5621"/>
                      <a:pt x="1585" y="7206"/>
                      <a:pt x="3603" y="7206"/>
                    </a:cubicBezTo>
                    <a:cubicBezTo>
                      <a:pt x="5621" y="7206"/>
                      <a:pt x="7206" y="5621"/>
                      <a:pt x="7206" y="3603"/>
                    </a:cubicBezTo>
                    <a:cubicBezTo>
                      <a:pt x="7206" y="1585"/>
                      <a:pt x="5573" y="0"/>
                      <a:pt x="3603" y="0"/>
                    </a:cubicBezTo>
                    <a:cubicBezTo>
                      <a:pt x="1634" y="0"/>
                      <a:pt x="0" y="1633"/>
                      <a:pt x="0" y="3603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731" name="Forma livre: Forma 1730">
              <a:extLst>
                <a:ext uri="{FF2B5EF4-FFF2-40B4-BE49-F238E27FC236}">
                  <a16:creationId xmlns:a16="http://schemas.microsoft.com/office/drawing/2014/main" id="{1A3E9F26-D83A-5943-24D5-0BC14FFF22E2}"/>
                </a:ext>
              </a:extLst>
            </p:cNvPr>
            <p:cNvSpPr/>
            <p:nvPr/>
          </p:nvSpPr>
          <p:spPr>
            <a:xfrm rot="-2700000">
              <a:off x="5878216" y="4665827"/>
              <a:ext cx="170160" cy="170160"/>
            </a:xfrm>
            <a:custGeom>
              <a:avLst/>
              <a:gdLst>
                <a:gd name="connsiteX0" fmla="*/ 170160 w 170160"/>
                <a:gd name="connsiteY0" fmla="*/ 85080 h 170160"/>
                <a:gd name="connsiteX1" fmla="*/ 85080 w 170160"/>
                <a:gd name="connsiteY1" fmla="*/ 170161 h 170160"/>
                <a:gd name="connsiteX2" fmla="*/ 0 w 170160"/>
                <a:gd name="connsiteY2" fmla="*/ 85080 h 170160"/>
                <a:gd name="connsiteX3" fmla="*/ 85080 w 170160"/>
                <a:gd name="connsiteY3" fmla="*/ 0 h 170160"/>
                <a:gd name="connsiteX4" fmla="*/ 170160 w 170160"/>
                <a:gd name="connsiteY4" fmla="*/ 85080 h 1701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0160" h="170160">
                  <a:moveTo>
                    <a:pt x="170160" y="85080"/>
                  </a:moveTo>
                  <a:cubicBezTo>
                    <a:pt x="170160" y="132069"/>
                    <a:pt x="132069" y="170161"/>
                    <a:pt x="85080" y="170161"/>
                  </a:cubicBezTo>
                  <a:cubicBezTo>
                    <a:pt x="38092" y="170161"/>
                    <a:pt x="0" y="132069"/>
                    <a:pt x="0" y="85080"/>
                  </a:cubicBezTo>
                  <a:cubicBezTo>
                    <a:pt x="0" y="38092"/>
                    <a:pt x="38092" y="0"/>
                    <a:pt x="85080" y="0"/>
                  </a:cubicBezTo>
                  <a:cubicBezTo>
                    <a:pt x="132069" y="0"/>
                    <a:pt x="170160" y="38092"/>
                    <a:pt x="170160" y="85080"/>
                  </a:cubicBez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32" name="Forma livre: Forma 1731">
              <a:extLst>
                <a:ext uri="{FF2B5EF4-FFF2-40B4-BE49-F238E27FC236}">
                  <a16:creationId xmlns:a16="http://schemas.microsoft.com/office/drawing/2014/main" id="{FFB1EA90-C133-54E9-B24B-7D7B15414F3D}"/>
                </a:ext>
              </a:extLst>
            </p:cNvPr>
            <p:cNvSpPr/>
            <p:nvPr/>
          </p:nvSpPr>
          <p:spPr>
            <a:xfrm>
              <a:off x="5926940" y="4772090"/>
              <a:ext cx="72733" cy="20657"/>
            </a:xfrm>
            <a:custGeom>
              <a:avLst/>
              <a:gdLst>
                <a:gd name="connsiteX0" fmla="*/ 72734 w 72733"/>
                <a:gd name="connsiteY0" fmla="*/ 0 h 20657"/>
                <a:gd name="connsiteX1" fmla="*/ 36367 w 72733"/>
                <a:gd name="connsiteY1" fmla="*/ 20658 h 20657"/>
                <a:gd name="connsiteX2" fmla="*/ 0 w 72733"/>
                <a:gd name="connsiteY2" fmla="*/ 0 h 206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72733" h="20657">
                  <a:moveTo>
                    <a:pt x="72734" y="0"/>
                  </a:moveTo>
                  <a:cubicBezTo>
                    <a:pt x="65432" y="12347"/>
                    <a:pt x="51740" y="20658"/>
                    <a:pt x="36367" y="20658"/>
                  </a:cubicBezTo>
                  <a:cubicBezTo>
                    <a:pt x="20994" y="20658"/>
                    <a:pt x="7302" y="12347"/>
                    <a:pt x="0" y="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733" name="Gráfico 15">
              <a:extLst>
                <a:ext uri="{FF2B5EF4-FFF2-40B4-BE49-F238E27FC236}">
                  <a16:creationId xmlns:a16="http://schemas.microsoft.com/office/drawing/2014/main" id="{92E9A43E-0288-6BED-05C5-EE1F06B51685}"/>
                </a:ext>
              </a:extLst>
            </p:cNvPr>
            <p:cNvGrpSpPr/>
            <p:nvPr/>
          </p:nvGrpSpPr>
          <p:grpSpPr>
            <a:xfrm>
              <a:off x="6005438" y="4849916"/>
              <a:ext cx="61684" cy="7206"/>
              <a:chOff x="6005438" y="4849916"/>
              <a:chExt cx="61684" cy="7206"/>
            </a:xfrm>
            <a:solidFill>
              <a:srgbClr val="394553"/>
            </a:solidFill>
          </p:grpSpPr>
          <p:sp>
            <p:nvSpPr>
              <p:cNvPr id="1734" name="Forma livre: Forma 1733">
                <a:extLst>
                  <a:ext uri="{FF2B5EF4-FFF2-40B4-BE49-F238E27FC236}">
                    <a16:creationId xmlns:a16="http://schemas.microsoft.com/office/drawing/2014/main" id="{E19E9E0E-1A8C-066E-27F8-6B5B6A7768B1}"/>
                  </a:ext>
                </a:extLst>
              </p:cNvPr>
              <p:cNvSpPr/>
              <p:nvPr/>
            </p:nvSpPr>
            <p:spPr>
              <a:xfrm>
                <a:off x="6059916" y="4849916"/>
                <a:ext cx="7206" cy="7206"/>
              </a:xfrm>
              <a:custGeom>
                <a:avLst/>
                <a:gdLst>
                  <a:gd name="connsiteX0" fmla="*/ 0 w 7206"/>
                  <a:gd name="connsiteY0" fmla="*/ 3603 h 7206"/>
                  <a:gd name="connsiteX1" fmla="*/ 3603 w 7206"/>
                  <a:gd name="connsiteY1" fmla="*/ 7206 h 7206"/>
                  <a:gd name="connsiteX2" fmla="*/ 7206 w 7206"/>
                  <a:gd name="connsiteY2" fmla="*/ 3603 h 7206"/>
                  <a:gd name="connsiteX3" fmla="*/ 3603 w 7206"/>
                  <a:gd name="connsiteY3" fmla="*/ 0 h 7206"/>
                  <a:gd name="connsiteX4" fmla="*/ 0 w 7206"/>
                  <a:gd name="connsiteY4" fmla="*/ 3603 h 72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206" h="7206">
                    <a:moveTo>
                      <a:pt x="0" y="3603"/>
                    </a:moveTo>
                    <a:cubicBezTo>
                      <a:pt x="0" y="5621"/>
                      <a:pt x="1585" y="7206"/>
                      <a:pt x="3603" y="7206"/>
                    </a:cubicBezTo>
                    <a:cubicBezTo>
                      <a:pt x="5621" y="7206"/>
                      <a:pt x="7206" y="5621"/>
                      <a:pt x="7206" y="3603"/>
                    </a:cubicBezTo>
                    <a:cubicBezTo>
                      <a:pt x="7206" y="1585"/>
                      <a:pt x="5573" y="0"/>
                      <a:pt x="3603" y="0"/>
                    </a:cubicBezTo>
                    <a:cubicBezTo>
                      <a:pt x="1634" y="0"/>
                      <a:pt x="0" y="1633"/>
                      <a:pt x="0" y="3603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735" name="Forma livre: Forma 1734">
                <a:extLst>
                  <a:ext uri="{FF2B5EF4-FFF2-40B4-BE49-F238E27FC236}">
                    <a16:creationId xmlns:a16="http://schemas.microsoft.com/office/drawing/2014/main" id="{1E31935C-24BA-680A-8285-5798A93473C2}"/>
                  </a:ext>
                </a:extLst>
              </p:cNvPr>
              <p:cNvSpPr/>
              <p:nvPr/>
            </p:nvSpPr>
            <p:spPr>
              <a:xfrm>
                <a:off x="6005438" y="4849916"/>
                <a:ext cx="7206" cy="7206"/>
              </a:xfrm>
              <a:custGeom>
                <a:avLst/>
                <a:gdLst>
                  <a:gd name="connsiteX0" fmla="*/ 0 w 7206"/>
                  <a:gd name="connsiteY0" fmla="*/ 3603 h 7206"/>
                  <a:gd name="connsiteX1" fmla="*/ 3603 w 7206"/>
                  <a:gd name="connsiteY1" fmla="*/ 7206 h 7206"/>
                  <a:gd name="connsiteX2" fmla="*/ 7206 w 7206"/>
                  <a:gd name="connsiteY2" fmla="*/ 3603 h 7206"/>
                  <a:gd name="connsiteX3" fmla="*/ 3603 w 7206"/>
                  <a:gd name="connsiteY3" fmla="*/ 0 h 7206"/>
                  <a:gd name="connsiteX4" fmla="*/ 0 w 7206"/>
                  <a:gd name="connsiteY4" fmla="*/ 3603 h 72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206" h="7206">
                    <a:moveTo>
                      <a:pt x="0" y="3603"/>
                    </a:moveTo>
                    <a:cubicBezTo>
                      <a:pt x="0" y="5621"/>
                      <a:pt x="1585" y="7206"/>
                      <a:pt x="3603" y="7206"/>
                    </a:cubicBezTo>
                    <a:cubicBezTo>
                      <a:pt x="5621" y="7206"/>
                      <a:pt x="7206" y="5621"/>
                      <a:pt x="7206" y="3603"/>
                    </a:cubicBezTo>
                    <a:cubicBezTo>
                      <a:pt x="7206" y="1585"/>
                      <a:pt x="5573" y="0"/>
                      <a:pt x="3603" y="0"/>
                    </a:cubicBezTo>
                    <a:cubicBezTo>
                      <a:pt x="1633" y="0"/>
                      <a:pt x="0" y="1633"/>
                      <a:pt x="0" y="3603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736" name="Forma livre: Forma 1735">
              <a:extLst>
                <a:ext uri="{FF2B5EF4-FFF2-40B4-BE49-F238E27FC236}">
                  <a16:creationId xmlns:a16="http://schemas.microsoft.com/office/drawing/2014/main" id="{49282964-085B-1512-5341-EDF599BAB4E6}"/>
                </a:ext>
              </a:extLst>
            </p:cNvPr>
            <p:cNvSpPr/>
            <p:nvPr/>
          </p:nvSpPr>
          <p:spPr>
            <a:xfrm>
              <a:off x="5978728" y="4790586"/>
              <a:ext cx="142640" cy="170024"/>
            </a:xfrm>
            <a:custGeom>
              <a:avLst/>
              <a:gdLst>
                <a:gd name="connsiteX0" fmla="*/ 0 w 142640"/>
                <a:gd name="connsiteY0" fmla="*/ 147581 h 170024"/>
                <a:gd name="connsiteX1" fmla="*/ 56448 w 142640"/>
                <a:gd name="connsiteY1" fmla="*/ 170016 h 170024"/>
                <a:gd name="connsiteX2" fmla="*/ 142633 w 142640"/>
                <a:gd name="connsiteY2" fmla="*/ 86041 h 170024"/>
                <a:gd name="connsiteX3" fmla="*/ 77057 w 142640"/>
                <a:gd name="connsiteY3" fmla="*/ 2114 h 170024"/>
                <a:gd name="connsiteX4" fmla="*/ 62021 w 142640"/>
                <a:gd name="connsiteY4" fmla="*/ 0 h 170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2640" h="170024">
                  <a:moveTo>
                    <a:pt x="0" y="147581"/>
                  </a:moveTo>
                  <a:cubicBezTo>
                    <a:pt x="14893" y="161273"/>
                    <a:pt x="34638" y="169728"/>
                    <a:pt x="56448" y="170016"/>
                  </a:cubicBezTo>
                  <a:cubicBezTo>
                    <a:pt x="103432" y="170641"/>
                    <a:pt x="142009" y="133025"/>
                    <a:pt x="142633" y="86041"/>
                  </a:cubicBezTo>
                  <a:cubicBezTo>
                    <a:pt x="143162" y="45399"/>
                    <a:pt x="115058" y="11001"/>
                    <a:pt x="77057" y="2114"/>
                  </a:cubicBezTo>
                  <a:cubicBezTo>
                    <a:pt x="72205" y="961"/>
                    <a:pt x="67161" y="240"/>
                    <a:pt x="62021" y="0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37" name="Forma livre: Forma 1736">
              <a:extLst>
                <a:ext uri="{FF2B5EF4-FFF2-40B4-BE49-F238E27FC236}">
                  <a16:creationId xmlns:a16="http://schemas.microsoft.com/office/drawing/2014/main" id="{D8D05059-D04C-9953-8E75-51AB6B9D9325}"/>
                </a:ext>
              </a:extLst>
            </p:cNvPr>
            <p:cNvSpPr/>
            <p:nvPr/>
          </p:nvSpPr>
          <p:spPr>
            <a:xfrm>
              <a:off x="5999914" y="4894690"/>
              <a:ext cx="72733" cy="20657"/>
            </a:xfrm>
            <a:custGeom>
              <a:avLst/>
              <a:gdLst>
                <a:gd name="connsiteX0" fmla="*/ 0 w 72733"/>
                <a:gd name="connsiteY0" fmla="*/ 20657 h 20657"/>
                <a:gd name="connsiteX1" fmla="*/ 36367 w 72733"/>
                <a:gd name="connsiteY1" fmla="*/ 0 h 20657"/>
                <a:gd name="connsiteX2" fmla="*/ 72734 w 72733"/>
                <a:gd name="connsiteY2" fmla="*/ 20657 h 206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72733" h="20657">
                  <a:moveTo>
                    <a:pt x="0" y="20657"/>
                  </a:moveTo>
                  <a:cubicBezTo>
                    <a:pt x="7302" y="8311"/>
                    <a:pt x="20994" y="0"/>
                    <a:pt x="36367" y="0"/>
                  </a:cubicBezTo>
                  <a:cubicBezTo>
                    <a:pt x="51740" y="0"/>
                    <a:pt x="65432" y="8311"/>
                    <a:pt x="72734" y="20657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738" name="Gráfico 15">
              <a:extLst>
                <a:ext uri="{FF2B5EF4-FFF2-40B4-BE49-F238E27FC236}">
                  <a16:creationId xmlns:a16="http://schemas.microsoft.com/office/drawing/2014/main" id="{4638CADC-2FF6-1924-84E8-1FCCD48BF40D}"/>
                </a:ext>
              </a:extLst>
            </p:cNvPr>
            <p:cNvGrpSpPr/>
            <p:nvPr/>
          </p:nvGrpSpPr>
          <p:grpSpPr>
            <a:xfrm>
              <a:off x="5859779" y="4849964"/>
              <a:ext cx="61684" cy="7206"/>
              <a:chOff x="5859779" y="4849964"/>
              <a:chExt cx="61684" cy="7206"/>
            </a:xfrm>
            <a:solidFill>
              <a:srgbClr val="394553"/>
            </a:solidFill>
          </p:grpSpPr>
          <p:sp>
            <p:nvSpPr>
              <p:cNvPr id="1739" name="Forma livre: Forma 1738">
                <a:extLst>
                  <a:ext uri="{FF2B5EF4-FFF2-40B4-BE49-F238E27FC236}">
                    <a16:creationId xmlns:a16="http://schemas.microsoft.com/office/drawing/2014/main" id="{8A495F2C-A76B-F8FD-205B-115628A3E187}"/>
                  </a:ext>
                </a:extLst>
              </p:cNvPr>
              <p:cNvSpPr/>
              <p:nvPr/>
            </p:nvSpPr>
            <p:spPr>
              <a:xfrm>
                <a:off x="5914257" y="4849964"/>
                <a:ext cx="7206" cy="7206"/>
              </a:xfrm>
              <a:custGeom>
                <a:avLst/>
                <a:gdLst>
                  <a:gd name="connsiteX0" fmla="*/ 0 w 7206"/>
                  <a:gd name="connsiteY0" fmla="*/ 3603 h 7206"/>
                  <a:gd name="connsiteX1" fmla="*/ 3603 w 7206"/>
                  <a:gd name="connsiteY1" fmla="*/ 7206 h 7206"/>
                  <a:gd name="connsiteX2" fmla="*/ 7206 w 7206"/>
                  <a:gd name="connsiteY2" fmla="*/ 3603 h 7206"/>
                  <a:gd name="connsiteX3" fmla="*/ 3603 w 7206"/>
                  <a:gd name="connsiteY3" fmla="*/ 0 h 7206"/>
                  <a:gd name="connsiteX4" fmla="*/ 0 w 7206"/>
                  <a:gd name="connsiteY4" fmla="*/ 3603 h 72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206" h="7206">
                    <a:moveTo>
                      <a:pt x="0" y="3603"/>
                    </a:moveTo>
                    <a:cubicBezTo>
                      <a:pt x="0" y="5621"/>
                      <a:pt x="1585" y="7206"/>
                      <a:pt x="3603" y="7206"/>
                    </a:cubicBezTo>
                    <a:cubicBezTo>
                      <a:pt x="5621" y="7206"/>
                      <a:pt x="7206" y="5621"/>
                      <a:pt x="7206" y="3603"/>
                    </a:cubicBezTo>
                    <a:cubicBezTo>
                      <a:pt x="7206" y="1585"/>
                      <a:pt x="5573" y="0"/>
                      <a:pt x="3603" y="0"/>
                    </a:cubicBezTo>
                    <a:cubicBezTo>
                      <a:pt x="1633" y="0"/>
                      <a:pt x="0" y="1585"/>
                      <a:pt x="0" y="3603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740" name="Forma livre: Forma 1739">
                <a:extLst>
                  <a:ext uri="{FF2B5EF4-FFF2-40B4-BE49-F238E27FC236}">
                    <a16:creationId xmlns:a16="http://schemas.microsoft.com/office/drawing/2014/main" id="{FE7ED74B-E6F3-88EE-A9DB-CD2866D2A8F9}"/>
                  </a:ext>
                </a:extLst>
              </p:cNvPr>
              <p:cNvSpPr/>
              <p:nvPr/>
            </p:nvSpPr>
            <p:spPr>
              <a:xfrm>
                <a:off x="5859779" y="4849964"/>
                <a:ext cx="7206" cy="7206"/>
              </a:xfrm>
              <a:custGeom>
                <a:avLst/>
                <a:gdLst>
                  <a:gd name="connsiteX0" fmla="*/ 0 w 7206"/>
                  <a:gd name="connsiteY0" fmla="*/ 3603 h 7206"/>
                  <a:gd name="connsiteX1" fmla="*/ 3603 w 7206"/>
                  <a:gd name="connsiteY1" fmla="*/ 7206 h 7206"/>
                  <a:gd name="connsiteX2" fmla="*/ 7206 w 7206"/>
                  <a:gd name="connsiteY2" fmla="*/ 3603 h 7206"/>
                  <a:gd name="connsiteX3" fmla="*/ 3603 w 7206"/>
                  <a:gd name="connsiteY3" fmla="*/ 0 h 7206"/>
                  <a:gd name="connsiteX4" fmla="*/ 0 w 7206"/>
                  <a:gd name="connsiteY4" fmla="*/ 3603 h 72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206" h="7206">
                    <a:moveTo>
                      <a:pt x="0" y="3603"/>
                    </a:moveTo>
                    <a:cubicBezTo>
                      <a:pt x="0" y="5621"/>
                      <a:pt x="1585" y="7206"/>
                      <a:pt x="3603" y="7206"/>
                    </a:cubicBezTo>
                    <a:cubicBezTo>
                      <a:pt x="5621" y="7206"/>
                      <a:pt x="7206" y="5621"/>
                      <a:pt x="7206" y="3603"/>
                    </a:cubicBezTo>
                    <a:cubicBezTo>
                      <a:pt x="7206" y="1585"/>
                      <a:pt x="5573" y="0"/>
                      <a:pt x="3603" y="0"/>
                    </a:cubicBezTo>
                    <a:cubicBezTo>
                      <a:pt x="1633" y="0"/>
                      <a:pt x="0" y="1585"/>
                      <a:pt x="0" y="3603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741" name="Forma livre: Forma 1740">
              <a:extLst>
                <a:ext uri="{FF2B5EF4-FFF2-40B4-BE49-F238E27FC236}">
                  <a16:creationId xmlns:a16="http://schemas.microsoft.com/office/drawing/2014/main" id="{E607281B-1995-DE24-F59D-458493634409}"/>
                </a:ext>
              </a:extLst>
            </p:cNvPr>
            <p:cNvSpPr/>
            <p:nvPr/>
          </p:nvSpPr>
          <p:spPr>
            <a:xfrm>
              <a:off x="5805541" y="4795149"/>
              <a:ext cx="170160" cy="165644"/>
            </a:xfrm>
            <a:custGeom>
              <a:avLst/>
              <a:gdLst>
                <a:gd name="connsiteX0" fmla="*/ 57697 w 170160"/>
                <a:gd name="connsiteY0" fmla="*/ 0 h 165644"/>
                <a:gd name="connsiteX1" fmla="*/ 0 w 170160"/>
                <a:gd name="connsiteY1" fmla="*/ 80564 h 165644"/>
                <a:gd name="connsiteX2" fmla="*/ 85080 w 170160"/>
                <a:gd name="connsiteY2" fmla="*/ 165645 h 165644"/>
                <a:gd name="connsiteX3" fmla="*/ 170160 w 170160"/>
                <a:gd name="connsiteY3" fmla="*/ 80564 h 165644"/>
                <a:gd name="connsiteX4" fmla="*/ 160985 w 170160"/>
                <a:gd name="connsiteY4" fmla="*/ 42132 h 1656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0160" h="165644">
                  <a:moveTo>
                    <a:pt x="57697" y="0"/>
                  </a:moveTo>
                  <a:cubicBezTo>
                    <a:pt x="24165" y="11386"/>
                    <a:pt x="0" y="43189"/>
                    <a:pt x="0" y="80564"/>
                  </a:cubicBezTo>
                  <a:cubicBezTo>
                    <a:pt x="0" y="127548"/>
                    <a:pt x="38096" y="165645"/>
                    <a:pt x="85080" y="165645"/>
                  </a:cubicBezTo>
                  <a:cubicBezTo>
                    <a:pt x="132064" y="165645"/>
                    <a:pt x="170160" y="127548"/>
                    <a:pt x="170160" y="80564"/>
                  </a:cubicBezTo>
                  <a:cubicBezTo>
                    <a:pt x="170160" y="66729"/>
                    <a:pt x="166846" y="53661"/>
                    <a:pt x="160985" y="42132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42" name="Forma livre: Forma 1741">
              <a:extLst>
                <a:ext uri="{FF2B5EF4-FFF2-40B4-BE49-F238E27FC236}">
                  <a16:creationId xmlns:a16="http://schemas.microsoft.com/office/drawing/2014/main" id="{31F2D4EC-ADA8-3171-1971-ED0F1FEB00BB}"/>
                </a:ext>
              </a:extLst>
            </p:cNvPr>
            <p:cNvSpPr/>
            <p:nvPr/>
          </p:nvSpPr>
          <p:spPr>
            <a:xfrm>
              <a:off x="5855791" y="4901608"/>
              <a:ext cx="69659" cy="4804"/>
            </a:xfrm>
            <a:custGeom>
              <a:avLst/>
              <a:gdLst>
                <a:gd name="connsiteX0" fmla="*/ 69659 w 69659"/>
                <a:gd name="connsiteY0" fmla="*/ 0 h 4804"/>
                <a:gd name="connsiteX1" fmla="*/ 0 w 69659"/>
                <a:gd name="connsiteY1" fmla="*/ 0 h 48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9659" h="4804">
                  <a:moveTo>
                    <a:pt x="69659" y="0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743" name="Gráfico 15">
            <a:extLst>
              <a:ext uri="{FF2B5EF4-FFF2-40B4-BE49-F238E27FC236}">
                <a16:creationId xmlns:a16="http://schemas.microsoft.com/office/drawing/2014/main" id="{C7C1EEDC-8117-F999-C21D-09948913772C}"/>
              </a:ext>
            </a:extLst>
          </p:cNvPr>
          <p:cNvGrpSpPr/>
          <p:nvPr/>
        </p:nvGrpSpPr>
        <p:grpSpPr>
          <a:xfrm>
            <a:off x="5791321" y="5234290"/>
            <a:ext cx="344308" cy="239627"/>
            <a:chOff x="5791321" y="5234290"/>
            <a:chExt cx="344308" cy="239627"/>
          </a:xfrm>
          <a:noFill/>
        </p:grpSpPr>
        <p:sp>
          <p:nvSpPr>
            <p:cNvPr id="1744" name="Forma livre: Forma 1743">
              <a:extLst>
                <a:ext uri="{FF2B5EF4-FFF2-40B4-BE49-F238E27FC236}">
                  <a16:creationId xmlns:a16="http://schemas.microsoft.com/office/drawing/2014/main" id="{4D32559E-C903-2A3D-FE79-1B46053974C5}"/>
                </a:ext>
              </a:extLst>
            </p:cNvPr>
            <p:cNvSpPr/>
            <p:nvPr/>
          </p:nvSpPr>
          <p:spPr>
            <a:xfrm>
              <a:off x="5908828" y="5234290"/>
              <a:ext cx="137300" cy="207680"/>
            </a:xfrm>
            <a:custGeom>
              <a:avLst/>
              <a:gdLst>
                <a:gd name="connsiteX0" fmla="*/ 0 w 137300"/>
                <a:gd name="connsiteY0" fmla="*/ 149071 h 207680"/>
                <a:gd name="connsiteX1" fmla="*/ 137301 w 137300"/>
                <a:gd name="connsiteY1" fmla="*/ 207680 h 207680"/>
                <a:gd name="connsiteX2" fmla="*/ 137301 w 137300"/>
                <a:gd name="connsiteY2" fmla="*/ 0 h 207680"/>
                <a:gd name="connsiteX3" fmla="*/ 0 w 137300"/>
                <a:gd name="connsiteY3" fmla="*/ 58610 h 2076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7300" h="207680">
                  <a:moveTo>
                    <a:pt x="0" y="149071"/>
                  </a:moveTo>
                  <a:cubicBezTo>
                    <a:pt x="0" y="149071"/>
                    <a:pt x="61828" y="149839"/>
                    <a:pt x="137301" y="207680"/>
                  </a:cubicBezTo>
                  <a:lnTo>
                    <a:pt x="137301" y="0"/>
                  </a:lnTo>
                  <a:cubicBezTo>
                    <a:pt x="67978" y="57841"/>
                    <a:pt x="0" y="58610"/>
                    <a:pt x="0" y="58610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45" name="Forma livre: Forma 1744">
              <a:extLst>
                <a:ext uri="{FF2B5EF4-FFF2-40B4-BE49-F238E27FC236}">
                  <a16:creationId xmlns:a16="http://schemas.microsoft.com/office/drawing/2014/main" id="{8C31A154-D7F1-EAC8-B617-EA0F0466ADC8}"/>
                </a:ext>
              </a:extLst>
            </p:cNvPr>
            <p:cNvSpPr/>
            <p:nvPr/>
          </p:nvSpPr>
          <p:spPr>
            <a:xfrm>
              <a:off x="5825622" y="5384754"/>
              <a:ext cx="81333" cy="89163"/>
            </a:xfrm>
            <a:custGeom>
              <a:avLst/>
              <a:gdLst>
                <a:gd name="connsiteX0" fmla="*/ 0 w 81333"/>
                <a:gd name="connsiteY0" fmla="*/ 0 h 89163"/>
                <a:gd name="connsiteX1" fmla="*/ 38913 w 81333"/>
                <a:gd name="connsiteY1" fmla="*/ 89164 h 89163"/>
                <a:gd name="connsiteX2" fmla="*/ 81333 w 81333"/>
                <a:gd name="connsiteY2" fmla="*/ 89164 h 89163"/>
                <a:gd name="connsiteX3" fmla="*/ 58370 w 81333"/>
                <a:gd name="connsiteY3" fmla="*/ 1874 h 891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1333" h="89163">
                  <a:moveTo>
                    <a:pt x="0" y="0"/>
                  </a:moveTo>
                  <a:lnTo>
                    <a:pt x="38913" y="89164"/>
                  </a:lnTo>
                  <a:lnTo>
                    <a:pt x="81333" y="89164"/>
                  </a:lnTo>
                  <a:lnTo>
                    <a:pt x="58370" y="1874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746" name="Gráfico 15">
              <a:extLst>
                <a:ext uri="{FF2B5EF4-FFF2-40B4-BE49-F238E27FC236}">
                  <a16:creationId xmlns:a16="http://schemas.microsoft.com/office/drawing/2014/main" id="{732872FE-8F22-50AA-A9E6-43E33A401B3F}"/>
                </a:ext>
              </a:extLst>
            </p:cNvPr>
            <p:cNvGrpSpPr/>
            <p:nvPr/>
          </p:nvGrpSpPr>
          <p:grpSpPr>
            <a:xfrm>
              <a:off x="6083504" y="5271666"/>
              <a:ext cx="52124" cy="132976"/>
              <a:chOff x="6083504" y="5271666"/>
              <a:chExt cx="52124" cy="132976"/>
            </a:xfrm>
            <a:noFill/>
          </p:grpSpPr>
          <p:sp>
            <p:nvSpPr>
              <p:cNvPr id="1747" name="Forma livre: Forma 1746">
                <a:extLst>
                  <a:ext uri="{FF2B5EF4-FFF2-40B4-BE49-F238E27FC236}">
                    <a16:creationId xmlns:a16="http://schemas.microsoft.com/office/drawing/2014/main" id="{688E7196-F8FC-53B6-6ECB-DB80677354EF}"/>
                  </a:ext>
                </a:extLst>
              </p:cNvPr>
              <p:cNvSpPr/>
              <p:nvPr/>
            </p:nvSpPr>
            <p:spPr>
              <a:xfrm>
                <a:off x="6083504" y="5295254"/>
                <a:ext cx="17294" cy="86089"/>
              </a:xfrm>
              <a:custGeom>
                <a:avLst/>
                <a:gdLst>
                  <a:gd name="connsiteX0" fmla="*/ 288 w 17294"/>
                  <a:gd name="connsiteY0" fmla="*/ 0 h 86089"/>
                  <a:gd name="connsiteX1" fmla="*/ 17295 w 17294"/>
                  <a:gd name="connsiteY1" fmla="*/ 42900 h 86089"/>
                  <a:gd name="connsiteX2" fmla="*/ 0 w 17294"/>
                  <a:gd name="connsiteY2" fmla="*/ 86089 h 860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7294" h="86089">
                    <a:moveTo>
                      <a:pt x="288" y="0"/>
                    </a:moveTo>
                    <a:cubicBezTo>
                      <a:pt x="10809" y="11193"/>
                      <a:pt x="17295" y="26326"/>
                      <a:pt x="17295" y="42900"/>
                    </a:cubicBezTo>
                    <a:cubicBezTo>
                      <a:pt x="17295" y="59475"/>
                      <a:pt x="10713" y="74848"/>
                      <a:pt x="0" y="86089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748" name="Forma livre: Forma 1747">
                <a:extLst>
                  <a:ext uri="{FF2B5EF4-FFF2-40B4-BE49-F238E27FC236}">
                    <a16:creationId xmlns:a16="http://schemas.microsoft.com/office/drawing/2014/main" id="{C62F9CCF-5994-292F-E5ED-75ED2EB44057}"/>
                  </a:ext>
                </a:extLst>
              </p:cNvPr>
              <p:cNvSpPr/>
              <p:nvPr/>
            </p:nvSpPr>
            <p:spPr>
              <a:xfrm>
                <a:off x="6109399" y="5271666"/>
                <a:ext cx="26230" cy="132976"/>
              </a:xfrm>
              <a:custGeom>
                <a:avLst/>
                <a:gdLst>
                  <a:gd name="connsiteX0" fmla="*/ 0 w 26230"/>
                  <a:gd name="connsiteY0" fmla="*/ 0 h 132976"/>
                  <a:gd name="connsiteX1" fmla="*/ 26230 w 26230"/>
                  <a:gd name="connsiteY1" fmla="*/ 66488 h 132976"/>
                  <a:gd name="connsiteX2" fmla="*/ 48 w 26230"/>
                  <a:gd name="connsiteY2" fmla="*/ 132977 h 1329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6230" h="132976">
                    <a:moveTo>
                      <a:pt x="0" y="0"/>
                    </a:moveTo>
                    <a:cubicBezTo>
                      <a:pt x="16238" y="17439"/>
                      <a:pt x="26230" y="40787"/>
                      <a:pt x="26230" y="66488"/>
                    </a:cubicBezTo>
                    <a:cubicBezTo>
                      <a:pt x="26230" y="92190"/>
                      <a:pt x="16286" y="115538"/>
                      <a:pt x="48" y="132977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749" name="Forma livre: Forma 1748">
              <a:extLst>
                <a:ext uri="{FF2B5EF4-FFF2-40B4-BE49-F238E27FC236}">
                  <a16:creationId xmlns:a16="http://schemas.microsoft.com/office/drawing/2014/main" id="{029B5DD1-D85C-226A-C3FE-8A73D9C5C6AA}"/>
                </a:ext>
              </a:extLst>
            </p:cNvPr>
            <p:cNvSpPr/>
            <p:nvPr/>
          </p:nvSpPr>
          <p:spPr>
            <a:xfrm>
              <a:off x="5791321" y="5290546"/>
              <a:ext cx="93054" cy="95120"/>
            </a:xfrm>
            <a:custGeom>
              <a:avLst/>
              <a:gdLst>
                <a:gd name="connsiteX0" fmla="*/ 48041 w 93054"/>
                <a:gd name="connsiteY0" fmla="*/ 0 h 95120"/>
                <a:gd name="connsiteX1" fmla="*/ 0 w 93054"/>
                <a:gd name="connsiteY1" fmla="*/ 47560 h 95120"/>
                <a:gd name="connsiteX2" fmla="*/ 48041 w 93054"/>
                <a:gd name="connsiteY2" fmla="*/ 95121 h 95120"/>
                <a:gd name="connsiteX3" fmla="*/ 93055 w 93054"/>
                <a:gd name="connsiteY3" fmla="*/ 95121 h 95120"/>
                <a:gd name="connsiteX4" fmla="*/ 93055 w 93054"/>
                <a:gd name="connsiteY4" fmla="*/ 0 h 95120"/>
                <a:gd name="connsiteX5" fmla="*/ 48041 w 93054"/>
                <a:gd name="connsiteY5" fmla="*/ 0 h 951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3054" h="95120">
                  <a:moveTo>
                    <a:pt x="48041" y="0"/>
                  </a:moveTo>
                  <a:cubicBezTo>
                    <a:pt x="21618" y="0"/>
                    <a:pt x="0" y="21426"/>
                    <a:pt x="0" y="47560"/>
                  </a:cubicBezTo>
                  <a:cubicBezTo>
                    <a:pt x="0" y="73695"/>
                    <a:pt x="21618" y="95121"/>
                    <a:pt x="48041" y="95121"/>
                  </a:cubicBezTo>
                  <a:lnTo>
                    <a:pt x="93055" y="95121"/>
                  </a:lnTo>
                  <a:lnTo>
                    <a:pt x="93055" y="0"/>
                  </a:lnTo>
                  <a:lnTo>
                    <a:pt x="48041" y="0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750" name="Gráfico 15">
            <a:extLst>
              <a:ext uri="{FF2B5EF4-FFF2-40B4-BE49-F238E27FC236}">
                <a16:creationId xmlns:a16="http://schemas.microsoft.com/office/drawing/2014/main" id="{7DB73B54-6CAC-8494-7E5C-54841E3F127E}"/>
              </a:ext>
            </a:extLst>
          </p:cNvPr>
          <p:cNvGrpSpPr/>
          <p:nvPr/>
        </p:nvGrpSpPr>
        <p:grpSpPr>
          <a:xfrm>
            <a:off x="5809439" y="3592016"/>
            <a:ext cx="288718" cy="298778"/>
            <a:chOff x="5809439" y="3592016"/>
            <a:chExt cx="288718" cy="298778"/>
          </a:xfrm>
        </p:grpSpPr>
        <p:grpSp>
          <p:nvGrpSpPr>
            <p:cNvPr id="1751" name="Gráfico 15">
              <a:extLst>
                <a:ext uri="{FF2B5EF4-FFF2-40B4-BE49-F238E27FC236}">
                  <a16:creationId xmlns:a16="http://schemas.microsoft.com/office/drawing/2014/main" id="{BC9A42AE-FD2C-DA2C-D504-CEC52E9BB21E}"/>
                </a:ext>
              </a:extLst>
            </p:cNvPr>
            <p:cNvGrpSpPr/>
            <p:nvPr/>
          </p:nvGrpSpPr>
          <p:grpSpPr>
            <a:xfrm>
              <a:off x="5828792" y="3592016"/>
              <a:ext cx="126923" cy="126923"/>
              <a:chOff x="5828792" y="3592016"/>
              <a:chExt cx="126923" cy="126923"/>
            </a:xfrm>
          </p:grpSpPr>
          <p:grpSp>
            <p:nvGrpSpPr>
              <p:cNvPr id="1752" name="Gráfico 15">
                <a:extLst>
                  <a:ext uri="{FF2B5EF4-FFF2-40B4-BE49-F238E27FC236}">
                    <a16:creationId xmlns:a16="http://schemas.microsoft.com/office/drawing/2014/main" id="{B6D21662-8514-F35A-B07A-34827951C923}"/>
                  </a:ext>
                </a:extLst>
              </p:cNvPr>
              <p:cNvGrpSpPr/>
              <p:nvPr/>
            </p:nvGrpSpPr>
            <p:grpSpPr>
              <a:xfrm>
                <a:off x="5867945" y="3634099"/>
                <a:ext cx="48617" cy="7206"/>
                <a:chOff x="5867945" y="3634099"/>
                <a:chExt cx="48617" cy="7206"/>
              </a:xfrm>
              <a:solidFill>
                <a:srgbClr val="394553"/>
              </a:solidFill>
            </p:grpSpPr>
            <p:sp>
              <p:nvSpPr>
                <p:cNvPr id="1753" name="Forma livre: Forma 1752">
                  <a:extLst>
                    <a:ext uri="{FF2B5EF4-FFF2-40B4-BE49-F238E27FC236}">
                      <a16:creationId xmlns:a16="http://schemas.microsoft.com/office/drawing/2014/main" id="{8AF4770E-E644-E7A0-19CB-8D1E697A66A4}"/>
                    </a:ext>
                  </a:extLst>
                </p:cNvPr>
                <p:cNvSpPr/>
                <p:nvPr/>
              </p:nvSpPr>
              <p:spPr>
                <a:xfrm>
                  <a:off x="5909357" y="3634099"/>
                  <a:ext cx="7206" cy="7206"/>
                </a:xfrm>
                <a:custGeom>
                  <a:avLst/>
                  <a:gdLst>
                    <a:gd name="connsiteX0" fmla="*/ 0 w 7206"/>
                    <a:gd name="connsiteY0" fmla="*/ 3603 h 7206"/>
                    <a:gd name="connsiteX1" fmla="*/ 3603 w 7206"/>
                    <a:gd name="connsiteY1" fmla="*/ 7206 h 7206"/>
                    <a:gd name="connsiteX2" fmla="*/ 7206 w 7206"/>
                    <a:gd name="connsiteY2" fmla="*/ 3603 h 7206"/>
                    <a:gd name="connsiteX3" fmla="*/ 3603 w 7206"/>
                    <a:gd name="connsiteY3" fmla="*/ 0 h 7206"/>
                    <a:gd name="connsiteX4" fmla="*/ 0 w 7206"/>
                    <a:gd name="connsiteY4" fmla="*/ 3603 h 720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7206" h="7206">
                      <a:moveTo>
                        <a:pt x="0" y="3603"/>
                      </a:moveTo>
                      <a:cubicBezTo>
                        <a:pt x="0" y="5621"/>
                        <a:pt x="1585" y="7206"/>
                        <a:pt x="3603" y="7206"/>
                      </a:cubicBezTo>
                      <a:cubicBezTo>
                        <a:pt x="5621" y="7206"/>
                        <a:pt x="7206" y="5621"/>
                        <a:pt x="7206" y="3603"/>
                      </a:cubicBezTo>
                      <a:cubicBezTo>
                        <a:pt x="7206" y="1585"/>
                        <a:pt x="5573" y="0"/>
                        <a:pt x="3603" y="0"/>
                      </a:cubicBezTo>
                      <a:cubicBezTo>
                        <a:pt x="1633" y="0"/>
                        <a:pt x="0" y="1633"/>
                        <a:pt x="0" y="3603"/>
                      </a:cubicBezTo>
                      <a:close/>
                    </a:path>
                  </a:pathLst>
                </a:custGeom>
                <a:solidFill>
                  <a:srgbClr val="394553"/>
                </a:solidFill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754" name="Forma livre: Forma 1753">
                  <a:extLst>
                    <a:ext uri="{FF2B5EF4-FFF2-40B4-BE49-F238E27FC236}">
                      <a16:creationId xmlns:a16="http://schemas.microsoft.com/office/drawing/2014/main" id="{37433165-DF0C-F434-D629-3A830C2179EF}"/>
                    </a:ext>
                  </a:extLst>
                </p:cNvPr>
                <p:cNvSpPr/>
                <p:nvPr/>
              </p:nvSpPr>
              <p:spPr>
                <a:xfrm>
                  <a:off x="5867945" y="3634099"/>
                  <a:ext cx="7206" cy="7206"/>
                </a:xfrm>
                <a:custGeom>
                  <a:avLst/>
                  <a:gdLst>
                    <a:gd name="connsiteX0" fmla="*/ 0 w 7206"/>
                    <a:gd name="connsiteY0" fmla="*/ 3603 h 7206"/>
                    <a:gd name="connsiteX1" fmla="*/ 3603 w 7206"/>
                    <a:gd name="connsiteY1" fmla="*/ 7206 h 7206"/>
                    <a:gd name="connsiteX2" fmla="*/ 7206 w 7206"/>
                    <a:gd name="connsiteY2" fmla="*/ 3603 h 7206"/>
                    <a:gd name="connsiteX3" fmla="*/ 3603 w 7206"/>
                    <a:gd name="connsiteY3" fmla="*/ 0 h 7206"/>
                    <a:gd name="connsiteX4" fmla="*/ 0 w 7206"/>
                    <a:gd name="connsiteY4" fmla="*/ 3603 h 720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7206" h="7206">
                      <a:moveTo>
                        <a:pt x="0" y="3603"/>
                      </a:moveTo>
                      <a:cubicBezTo>
                        <a:pt x="0" y="5621"/>
                        <a:pt x="1585" y="7206"/>
                        <a:pt x="3603" y="7206"/>
                      </a:cubicBezTo>
                      <a:cubicBezTo>
                        <a:pt x="5621" y="7206"/>
                        <a:pt x="7206" y="5621"/>
                        <a:pt x="7206" y="3603"/>
                      </a:cubicBezTo>
                      <a:cubicBezTo>
                        <a:pt x="7206" y="1585"/>
                        <a:pt x="5573" y="0"/>
                        <a:pt x="3603" y="0"/>
                      </a:cubicBezTo>
                      <a:cubicBezTo>
                        <a:pt x="1633" y="0"/>
                        <a:pt x="0" y="1633"/>
                        <a:pt x="0" y="3603"/>
                      </a:cubicBezTo>
                      <a:close/>
                    </a:path>
                  </a:pathLst>
                </a:custGeom>
                <a:solidFill>
                  <a:srgbClr val="394553"/>
                </a:solidFill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1755" name="Forma livre: Forma 1754">
                <a:extLst>
                  <a:ext uri="{FF2B5EF4-FFF2-40B4-BE49-F238E27FC236}">
                    <a16:creationId xmlns:a16="http://schemas.microsoft.com/office/drawing/2014/main" id="{A285A835-E924-43A7-C005-8612DFBA2DD9}"/>
                  </a:ext>
                </a:extLst>
              </p:cNvPr>
              <p:cNvSpPr/>
              <p:nvPr/>
            </p:nvSpPr>
            <p:spPr>
              <a:xfrm>
                <a:off x="5828792" y="3592016"/>
                <a:ext cx="126923" cy="126923"/>
              </a:xfrm>
              <a:custGeom>
                <a:avLst/>
                <a:gdLst>
                  <a:gd name="connsiteX0" fmla="*/ 126924 w 126923"/>
                  <a:gd name="connsiteY0" fmla="*/ 63462 h 126923"/>
                  <a:gd name="connsiteX1" fmla="*/ 63462 w 126923"/>
                  <a:gd name="connsiteY1" fmla="*/ 126924 h 126923"/>
                  <a:gd name="connsiteX2" fmla="*/ 0 w 126923"/>
                  <a:gd name="connsiteY2" fmla="*/ 63462 h 126923"/>
                  <a:gd name="connsiteX3" fmla="*/ 63462 w 126923"/>
                  <a:gd name="connsiteY3" fmla="*/ 0 h 126923"/>
                  <a:gd name="connsiteX4" fmla="*/ 126924 w 126923"/>
                  <a:gd name="connsiteY4" fmla="*/ 63462 h 1269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6923" h="126923">
                    <a:moveTo>
                      <a:pt x="126924" y="63462"/>
                    </a:moveTo>
                    <a:cubicBezTo>
                      <a:pt x="126924" y="98511"/>
                      <a:pt x="98511" y="126924"/>
                      <a:pt x="63462" y="126924"/>
                    </a:cubicBezTo>
                    <a:cubicBezTo>
                      <a:pt x="28413" y="126924"/>
                      <a:pt x="0" y="98511"/>
                      <a:pt x="0" y="63462"/>
                    </a:cubicBezTo>
                    <a:cubicBezTo>
                      <a:pt x="0" y="28413"/>
                      <a:pt x="28413" y="0"/>
                      <a:pt x="63462" y="0"/>
                    </a:cubicBezTo>
                    <a:cubicBezTo>
                      <a:pt x="98511" y="0"/>
                      <a:pt x="126924" y="28413"/>
                      <a:pt x="126924" y="63462"/>
                    </a:cubicBezTo>
                    <a:close/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756" name="Forma livre: Forma 1755">
                <a:extLst>
                  <a:ext uri="{FF2B5EF4-FFF2-40B4-BE49-F238E27FC236}">
                    <a16:creationId xmlns:a16="http://schemas.microsoft.com/office/drawing/2014/main" id="{2365DF90-32ED-2D2D-78E5-302DF4EE34A3}"/>
                  </a:ext>
                </a:extLst>
              </p:cNvPr>
              <p:cNvSpPr/>
              <p:nvPr/>
            </p:nvSpPr>
            <p:spPr>
              <a:xfrm>
                <a:off x="5865063" y="3671283"/>
                <a:ext cx="54286" cy="15421"/>
              </a:xfrm>
              <a:custGeom>
                <a:avLst/>
                <a:gdLst>
                  <a:gd name="connsiteX0" fmla="*/ 54286 w 54286"/>
                  <a:gd name="connsiteY0" fmla="*/ 0 h 15421"/>
                  <a:gd name="connsiteX1" fmla="*/ 27143 w 54286"/>
                  <a:gd name="connsiteY1" fmla="*/ 15421 h 15421"/>
                  <a:gd name="connsiteX2" fmla="*/ 0 w 54286"/>
                  <a:gd name="connsiteY2" fmla="*/ 0 h 154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54286" h="15421">
                    <a:moveTo>
                      <a:pt x="54286" y="0"/>
                    </a:moveTo>
                    <a:cubicBezTo>
                      <a:pt x="48858" y="9224"/>
                      <a:pt x="38625" y="15421"/>
                      <a:pt x="27143" y="15421"/>
                    </a:cubicBezTo>
                    <a:cubicBezTo>
                      <a:pt x="15661" y="15421"/>
                      <a:pt x="5429" y="9224"/>
                      <a:pt x="0" y="0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757" name="Gráfico 15">
              <a:extLst>
                <a:ext uri="{FF2B5EF4-FFF2-40B4-BE49-F238E27FC236}">
                  <a16:creationId xmlns:a16="http://schemas.microsoft.com/office/drawing/2014/main" id="{721E0D49-0C5B-EA56-F41A-9ED043C45468}"/>
                </a:ext>
              </a:extLst>
            </p:cNvPr>
            <p:cNvGrpSpPr/>
            <p:nvPr/>
          </p:nvGrpSpPr>
          <p:grpSpPr>
            <a:xfrm>
              <a:off x="5809439" y="3725189"/>
              <a:ext cx="165605" cy="165605"/>
              <a:chOff x="5809439" y="3725189"/>
              <a:chExt cx="165605" cy="165605"/>
            </a:xfrm>
          </p:grpSpPr>
          <p:grpSp>
            <p:nvGrpSpPr>
              <p:cNvPr id="1758" name="Gráfico 15">
                <a:extLst>
                  <a:ext uri="{FF2B5EF4-FFF2-40B4-BE49-F238E27FC236}">
                    <a16:creationId xmlns:a16="http://schemas.microsoft.com/office/drawing/2014/main" id="{E50ABAD1-233F-20ED-585B-A08755CB100C}"/>
                  </a:ext>
                </a:extLst>
              </p:cNvPr>
              <p:cNvGrpSpPr/>
              <p:nvPr/>
            </p:nvGrpSpPr>
            <p:grpSpPr>
              <a:xfrm>
                <a:off x="5867945" y="3786629"/>
                <a:ext cx="48617" cy="7206"/>
                <a:chOff x="5867945" y="3786629"/>
                <a:chExt cx="48617" cy="7206"/>
              </a:xfrm>
              <a:solidFill>
                <a:srgbClr val="394553"/>
              </a:solidFill>
            </p:grpSpPr>
            <p:sp>
              <p:nvSpPr>
                <p:cNvPr id="1759" name="Forma livre: Forma 1758">
                  <a:extLst>
                    <a:ext uri="{FF2B5EF4-FFF2-40B4-BE49-F238E27FC236}">
                      <a16:creationId xmlns:a16="http://schemas.microsoft.com/office/drawing/2014/main" id="{ECFF2367-A27F-3F67-159D-14EF725F09E3}"/>
                    </a:ext>
                  </a:extLst>
                </p:cNvPr>
                <p:cNvSpPr/>
                <p:nvPr/>
              </p:nvSpPr>
              <p:spPr>
                <a:xfrm>
                  <a:off x="5909357" y="3786629"/>
                  <a:ext cx="7206" cy="7206"/>
                </a:xfrm>
                <a:custGeom>
                  <a:avLst/>
                  <a:gdLst>
                    <a:gd name="connsiteX0" fmla="*/ 0 w 7206"/>
                    <a:gd name="connsiteY0" fmla="*/ 3603 h 7206"/>
                    <a:gd name="connsiteX1" fmla="*/ 3603 w 7206"/>
                    <a:gd name="connsiteY1" fmla="*/ 7206 h 7206"/>
                    <a:gd name="connsiteX2" fmla="*/ 7206 w 7206"/>
                    <a:gd name="connsiteY2" fmla="*/ 3603 h 7206"/>
                    <a:gd name="connsiteX3" fmla="*/ 3603 w 7206"/>
                    <a:gd name="connsiteY3" fmla="*/ 0 h 7206"/>
                    <a:gd name="connsiteX4" fmla="*/ 0 w 7206"/>
                    <a:gd name="connsiteY4" fmla="*/ 3603 h 720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7206" h="7206">
                      <a:moveTo>
                        <a:pt x="0" y="3603"/>
                      </a:moveTo>
                      <a:cubicBezTo>
                        <a:pt x="0" y="5621"/>
                        <a:pt x="1585" y="7206"/>
                        <a:pt x="3603" y="7206"/>
                      </a:cubicBezTo>
                      <a:cubicBezTo>
                        <a:pt x="5621" y="7206"/>
                        <a:pt x="7206" y="5621"/>
                        <a:pt x="7206" y="3603"/>
                      </a:cubicBezTo>
                      <a:cubicBezTo>
                        <a:pt x="7206" y="1585"/>
                        <a:pt x="5573" y="0"/>
                        <a:pt x="3603" y="0"/>
                      </a:cubicBezTo>
                      <a:cubicBezTo>
                        <a:pt x="1633" y="0"/>
                        <a:pt x="0" y="1633"/>
                        <a:pt x="0" y="3603"/>
                      </a:cubicBezTo>
                      <a:close/>
                    </a:path>
                  </a:pathLst>
                </a:custGeom>
                <a:solidFill>
                  <a:srgbClr val="394553"/>
                </a:solidFill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760" name="Forma livre: Forma 1759">
                  <a:extLst>
                    <a:ext uri="{FF2B5EF4-FFF2-40B4-BE49-F238E27FC236}">
                      <a16:creationId xmlns:a16="http://schemas.microsoft.com/office/drawing/2014/main" id="{659913CC-1210-0B7E-C98C-2E417646DE09}"/>
                    </a:ext>
                  </a:extLst>
                </p:cNvPr>
                <p:cNvSpPr/>
                <p:nvPr/>
              </p:nvSpPr>
              <p:spPr>
                <a:xfrm>
                  <a:off x="5867945" y="3786629"/>
                  <a:ext cx="7206" cy="7206"/>
                </a:xfrm>
                <a:custGeom>
                  <a:avLst/>
                  <a:gdLst>
                    <a:gd name="connsiteX0" fmla="*/ 0 w 7206"/>
                    <a:gd name="connsiteY0" fmla="*/ 3603 h 7206"/>
                    <a:gd name="connsiteX1" fmla="*/ 3603 w 7206"/>
                    <a:gd name="connsiteY1" fmla="*/ 7206 h 7206"/>
                    <a:gd name="connsiteX2" fmla="*/ 7206 w 7206"/>
                    <a:gd name="connsiteY2" fmla="*/ 3603 h 7206"/>
                    <a:gd name="connsiteX3" fmla="*/ 3603 w 7206"/>
                    <a:gd name="connsiteY3" fmla="*/ 0 h 7206"/>
                    <a:gd name="connsiteX4" fmla="*/ 0 w 7206"/>
                    <a:gd name="connsiteY4" fmla="*/ 3603 h 720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7206" h="7206">
                      <a:moveTo>
                        <a:pt x="0" y="3603"/>
                      </a:moveTo>
                      <a:cubicBezTo>
                        <a:pt x="0" y="5621"/>
                        <a:pt x="1585" y="7206"/>
                        <a:pt x="3603" y="7206"/>
                      </a:cubicBezTo>
                      <a:cubicBezTo>
                        <a:pt x="5621" y="7206"/>
                        <a:pt x="7206" y="5621"/>
                        <a:pt x="7206" y="3603"/>
                      </a:cubicBezTo>
                      <a:cubicBezTo>
                        <a:pt x="7206" y="1585"/>
                        <a:pt x="5573" y="0"/>
                        <a:pt x="3603" y="0"/>
                      </a:cubicBezTo>
                      <a:cubicBezTo>
                        <a:pt x="1633" y="0"/>
                        <a:pt x="0" y="1633"/>
                        <a:pt x="0" y="3603"/>
                      </a:cubicBezTo>
                      <a:close/>
                    </a:path>
                  </a:pathLst>
                </a:custGeom>
                <a:solidFill>
                  <a:srgbClr val="394553"/>
                </a:solidFill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1761" name="Forma livre: Forma 1760">
                <a:extLst>
                  <a:ext uri="{FF2B5EF4-FFF2-40B4-BE49-F238E27FC236}">
                    <a16:creationId xmlns:a16="http://schemas.microsoft.com/office/drawing/2014/main" id="{CCF9A4E8-5C5A-01B6-97FF-51ECBA3E1946}"/>
                  </a:ext>
                </a:extLst>
              </p:cNvPr>
              <p:cNvSpPr/>
              <p:nvPr/>
            </p:nvSpPr>
            <p:spPr>
              <a:xfrm rot="-4061398">
                <a:off x="5828779" y="3744530"/>
                <a:ext cx="126923" cy="126923"/>
              </a:xfrm>
              <a:custGeom>
                <a:avLst/>
                <a:gdLst>
                  <a:gd name="connsiteX0" fmla="*/ 126924 w 126923"/>
                  <a:gd name="connsiteY0" fmla="*/ 63462 h 126923"/>
                  <a:gd name="connsiteX1" fmla="*/ 63462 w 126923"/>
                  <a:gd name="connsiteY1" fmla="*/ 126924 h 126923"/>
                  <a:gd name="connsiteX2" fmla="*/ 0 w 126923"/>
                  <a:gd name="connsiteY2" fmla="*/ 63462 h 126923"/>
                  <a:gd name="connsiteX3" fmla="*/ 63462 w 126923"/>
                  <a:gd name="connsiteY3" fmla="*/ 0 h 126923"/>
                  <a:gd name="connsiteX4" fmla="*/ 126924 w 126923"/>
                  <a:gd name="connsiteY4" fmla="*/ 63462 h 1269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6923" h="126923">
                    <a:moveTo>
                      <a:pt x="126924" y="63462"/>
                    </a:moveTo>
                    <a:cubicBezTo>
                      <a:pt x="126924" y="98511"/>
                      <a:pt x="98511" y="126924"/>
                      <a:pt x="63462" y="126924"/>
                    </a:cubicBezTo>
                    <a:cubicBezTo>
                      <a:pt x="28413" y="126924"/>
                      <a:pt x="0" y="98511"/>
                      <a:pt x="0" y="63462"/>
                    </a:cubicBezTo>
                    <a:cubicBezTo>
                      <a:pt x="0" y="28413"/>
                      <a:pt x="28413" y="0"/>
                      <a:pt x="63462" y="0"/>
                    </a:cubicBezTo>
                    <a:cubicBezTo>
                      <a:pt x="98511" y="0"/>
                      <a:pt x="126924" y="28413"/>
                      <a:pt x="126924" y="63462"/>
                    </a:cubicBezTo>
                    <a:close/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762" name="Forma livre: Forma 1761">
                <a:extLst>
                  <a:ext uri="{FF2B5EF4-FFF2-40B4-BE49-F238E27FC236}">
                    <a16:creationId xmlns:a16="http://schemas.microsoft.com/office/drawing/2014/main" id="{5116C6D5-5790-F9F3-65A5-D6977D983B1D}"/>
                  </a:ext>
                </a:extLst>
              </p:cNvPr>
              <p:cNvSpPr/>
              <p:nvPr/>
            </p:nvSpPr>
            <p:spPr>
              <a:xfrm>
                <a:off x="5865111" y="3821218"/>
                <a:ext cx="54286" cy="15421"/>
              </a:xfrm>
              <a:custGeom>
                <a:avLst/>
                <a:gdLst>
                  <a:gd name="connsiteX0" fmla="*/ 0 w 54286"/>
                  <a:gd name="connsiteY0" fmla="*/ 15421 h 15421"/>
                  <a:gd name="connsiteX1" fmla="*/ 27143 w 54286"/>
                  <a:gd name="connsiteY1" fmla="*/ 0 h 15421"/>
                  <a:gd name="connsiteX2" fmla="*/ 54286 w 54286"/>
                  <a:gd name="connsiteY2" fmla="*/ 15421 h 154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54286" h="15421">
                    <a:moveTo>
                      <a:pt x="0" y="15421"/>
                    </a:moveTo>
                    <a:cubicBezTo>
                      <a:pt x="5429" y="6197"/>
                      <a:pt x="15661" y="0"/>
                      <a:pt x="27143" y="0"/>
                    </a:cubicBezTo>
                    <a:cubicBezTo>
                      <a:pt x="38625" y="0"/>
                      <a:pt x="48858" y="6197"/>
                      <a:pt x="54286" y="15421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763" name="Forma livre: Forma 1762">
              <a:extLst>
                <a:ext uri="{FF2B5EF4-FFF2-40B4-BE49-F238E27FC236}">
                  <a16:creationId xmlns:a16="http://schemas.microsoft.com/office/drawing/2014/main" id="{D83C35DC-B3DF-0250-5B92-8B1633392AD1}"/>
                </a:ext>
              </a:extLst>
            </p:cNvPr>
            <p:cNvSpPr/>
            <p:nvPr/>
          </p:nvSpPr>
          <p:spPr>
            <a:xfrm>
              <a:off x="5993668" y="3610463"/>
              <a:ext cx="90076" cy="90076"/>
            </a:xfrm>
            <a:custGeom>
              <a:avLst/>
              <a:gdLst>
                <a:gd name="connsiteX0" fmla="*/ 90076 w 90076"/>
                <a:gd name="connsiteY0" fmla="*/ 45927 h 90076"/>
                <a:gd name="connsiteX1" fmla="*/ 90076 w 90076"/>
                <a:gd name="connsiteY1" fmla="*/ 90077 h 90076"/>
                <a:gd name="connsiteX2" fmla="*/ 0 w 90076"/>
                <a:gd name="connsiteY2" fmla="*/ 90077 h 90076"/>
                <a:gd name="connsiteX3" fmla="*/ 0 w 90076"/>
                <a:gd name="connsiteY3" fmla="*/ 0 h 90076"/>
                <a:gd name="connsiteX4" fmla="*/ 68890 w 90076"/>
                <a:gd name="connsiteY4" fmla="*/ 0 h 900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0076" h="90076">
                  <a:moveTo>
                    <a:pt x="90076" y="45927"/>
                  </a:moveTo>
                  <a:lnTo>
                    <a:pt x="90076" y="90077"/>
                  </a:lnTo>
                  <a:lnTo>
                    <a:pt x="0" y="90077"/>
                  </a:lnTo>
                  <a:lnTo>
                    <a:pt x="0" y="0"/>
                  </a:lnTo>
                  <a:lnTo>
                    <a:pt x="68890" y="0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64" name="Forma livre: Forma 1763">
              <a:extLst>
                <a:ext uri="{FF2B5EF4-FFF2-40B4-BE49-F238E27FC236}">
                  <a16:creationId xmlns:a16="http://schemas.microsoft.com/office/drawing/2014/main" id="{7987C6F2-DFBB-FBE3-E41C-D818B076CE03}"/>
                </a:ext>
              </a:extLst>
            </p:cNvPr>
            <p:cNvSpPr/>
            <p:nvPr/>
          </p:nvSpPr>
          <p:spPr>
            <a:xfrm>
              <a:off x="5993668" y="3762993"/>
              <a:ext cx="90076" cy="90076"/>
            </a:xfrm>
            <a:custGeom>
              <a:avLst/>
              <a:gdLst>
                <a:gd name="connsiteX0" fmla="*/ 0 w 90076"/>
                <a:gd name="connsiteY0" fmla="*/ 0 h 90076"/>
                <a:gd name="connsiteX1" fmla="*/ 90077 w 90076"/>
                <a:gd name="connsiteY1" fmla="*/ 0 h 90076"/>
                <a:gd name="connsiteX2" fmla="*/ 90077 w 90076"/>
                <a:gd name="connsiteY2" fmla="*/ 90077 h 90076"/>
                <a:gd name="connsiteX3" fmla="*/ 0 w 90076"/>
                <a:gd name="connsiteY3" fmla="*/ 90077 h 900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0076" h="90076">
                  <a:moveTo>
                    <a:pt x="0" y="0"/>
                  </a:moveTo>
                  <a:lnTo>
                    <a:pt x="90077" y="0"/>
                  </a:lnTo>
                  <a:lnTo>
                    <a:pt x="90077" y="90077"/>
                  </a:lnTo>
                  <a:lnTo>
                    <a:pt x="0" y="90077"/>
                  </a:ln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65" name="Forma livre: Forma 1764">
              <a:extLst>
                <a:ext uri="{FF2B5EF4-FFF2-40B4-BE49-F238E27FC236}">
                  <a16:creationId xmlns:a16="http://schemas.microsoft.com/office/drawing/2014/main" id="{94517A98-FCC8-2A04-81FB-55E5E4EBC6E6}"/>
                </a:ext>
              </a:extLst>
            </p:cNvPr>
            <p:cNvSpPr/>
            <p:nvPr/>
          </p:nvSpPr>
          <p:spPr>
            <a:xfrm>
              <a:off x="6018890" y="3602440"/>
              <a:ext cx="79267" cy="67257"/>
            </a:xfrm>
            <a:custGeom>
              <a:avLst/>
              <a:gdLst>
                <a:gd name="connsiteX0" fmla="*/ 0 w 79267"/>
                <a:gd name="connsiteY0" fmla="*/ 40835 h 67257"/>
                <a:gd name="connsiteX1" fmla="*/ 24020 w 79267"/>
                <a:gd name="connsiteY1" fmla="*/ 67257 h 67257"/>
                <a:gd name="connsiteX2" fmla="*/ 79267 w 79267"/>
                <a:gd name="connsiteY2" fmla="*/ 0 h 672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79267" h="67257">
                  <a:moveTo>
                    <a:pt x="0" y="40835"/>
                  </a:moveTo>
                  <a:lnTo>
                    <a:pt x="24020" y="67257"/>
                  </a:lnTo>
                  <a:lnTo>
                    <a:pt x="79267" y="0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766" name="Gráfico 15">
            <a:extLst>
              <a:ext uri="{FF2B5EF4-FFF2-40B4-BE49-F238E27FC236}">
                <a16:creationId xmlns:a16="http://schemas.microsoft.com/office/drawing/2014/main" id="{14BE5134-DA94-377E-BDB7-71CB4C89605B}"/>
              </a:ext>
            </a:extLst>
          </p:cNvPr>
          <p:cNvGrpSpPr/>
          <p:nvPr/>
        </p:nvGrpSpPr>
        <p:grpSpPr>
          <a:xfrm>
            <a:off x="5811257" y="5760721"/>
            <a:ext cx="304443" cy="268355"/>
            <a:chOff x="5811257" y="5760721"/>
            <a:chExt cx="304443" cy="268355"/>
          </a:xfrm>
        </p:grpSpPr>
        <p:grpSp>
          <p:nvGrpSpPr>
            <p:cNvPr id="1767" name="Gráfico 15">
              <a:extLst>
                <a:ext uri="{FF2B5EF4-FFF2-40B4-BE49-F238E27FC236}">
                  <a16:creationId xmlns:a16="http://schemas.microsoft.com/office/drawing/2014/main" id="{64CA1F72-6CFF-FB13-A6E6-8EBA7CE88DB6}"/>
                </a:ext>
              </a:extLst>
            </p:cNvPr>
            <p:cNvGrpSpPr/>
            <p:nvPr/>
          </p:nvGrpSpPr>
          <p:grpSpPr>
            <a:xfrm>
              <a:off x="5926075" y="5850383"/>
              <a:ext cx="189626" cy="178693"/>
              <a:chOff x="5926075" y="5850383"/>
              <a:chExt cx="189626" cy="178693"/>
            </a:xfrm>
            <a:noFill/>
          </p:grpSpPr>
          <p:sp>
            <p:nvSpPr>
              <p:cNvPr id="1768" name="Forma livre: Forma 1767">
                <a:extLst>
                  <a:ext uri="{FF2B5EF4-FFF2-40B4-BE49-F238E27FC236}">
                    <a16:creationId xmlns:a16="http://schemas.microsoft.com/office/drawing/2014/main" id="{4424E5C1-31F5-17AD-4CFC-07F30D133B2B}"/>
                  </a:ext>
                </a:extLst>
              </p:cNvPr>
              <p:cNvSpPr/>
              <p:nvPr/>
            </p:nvSpPr>
            <p:spPr>
              <a:xfrm>
                <a:off x="5984685" y="5850383"/>
                <a:ext cx="131016" cy="170959"/>
              </a:xfrm>
              <a:custGeom>
                <a:avLst/>
                <a:gdLst>
                  <a:gd name="connsiteX0" fmla="*/ 1153 w 131016"/>
                  <a:gd name="connsiteY0" fmla="*/ 72187 h 170959"/>
                  <a:gd name="connsiteX1" fmla="*/ 49146 w 131016"/>
                  <a:gd name="connsiteY1" fmla="*/ 11176 h 170959"/>
                  <a:gd name="connsiteX2" fmla="*/ 62309 w 131016"/>
                  <a:gd name="connsiteY2" fmla="*/ 30 h 170959"/>
                  <a:gd name="connsiteX3" fmla="*/ 77298 w 131016"/>
                  <a:gd name="connsiteY3" fmla="*/ 13962 h 170959"/>
                  <a:gd name="connsiteX4" fmla="*/ 71148 w 131016"/>
                  <a:gd name="connsiteY4" fmla="*/ 62627 h 170959"/>
                  <a:gd name="connsiteX5" fmla="*/ 116307 w 131016"/>
                  <a:gd name="connsiteY5" fmla="*/ 62627 h 170959"/>
                  <a:gd name="connsiteX6" fmla="*/ 129182 w 131016"/>
                  <a:gd name="connsiteY6" fmla="*/ 68969 h 170959"/>
                  <a:gd name="connsiteX7" fmla="*/ 130287 w 131016"/>
                  <a:gd name="connsiteY7" fmla="*/ 84102 h 170959"/>
                  <a:gd name="connsiteX8" fmla="*/ 115970 w 131016"/>
                  <a:gd name="connsiteY8" fmla="*/ 157460 h 170959"/>
                  <a:gd name="connsiteX9" fmla="*/ 98676 w 131016"/>
                  <a:gd name="connsiteY9" fmla="*/ 170959 h 170959"/>
                  <a:gd name="connsiteX10" fmla="*/ 0 w 131016"/>
                  <a:gd name="connsiteY10" fmla="*/ 170959 h 1709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131016" h="170959">
                    <a:moveTo>
                      <a:pt x="1153" y="72187"/>
                    </a:moveTo>
                    <a:cubicBezTo>
                      <a:pt x="11289" y="69161"/>
                      <a:pt x="49146" y="55037"/>
                      <a:pt x="49146" y="11176"/>
                    </a:cubicBezTo>
                    <a:cubicBezTo>
                      <a:pt x="49146" y="11176"/>
                      <a:pt x="50010" y="30"/>
                      <a:pt x="62309" y="30"/>
                    </a:cubicBezTo>
                    <a:cubicBezTo>
                      <a:pt x="62309" y="30"/>
                      <a:pt x="75808" y="-1315"/>
                      <a:pt x="77298" y="13962"/>
                    </a:cubicBezTo>
                    <a:cubicBezTo>
                      <a:pt x="77298" y="13962"/>
                      <a:pt x="80757" y="43363"/>
                      <a:pt x="71148" y="62627"/>
                    </a:cubicBezTo>
                    <a:lnTo>
                      <a:pt x="116307" y="62627"/>
                    </a:lnTo>
                    <a:cubicBezTo>
                      <a:pt x="118180" y="62627"/>
                      <a:pt x="125242" y="62291"/>
                      <a:pt x="129182" y="68969"/>
                    </a:cubicBezTo>
                    <a:cubicBezTo>
                      <a:pt x="131824" y="73533"/>
                      <a:pt x="131055" y="79634"/>
                      <a:pt x="130287" y="84102"/>
                    </a:cubicBezTo>
                    <a:cubicBezTo>
                      <a:pt x="129566" y="88521"/>
                      <a:pt x="115970" y="157460"/>
                      <a:pt x="115970" y="157460"/>
                    </a:cubicBezTo>
                    <a:cubicBezTo>
                      <a:pt x="114481" y="163801"/>
                      <a:pt x="108956" y="170959"/>
                      <a:pt x="98676" y="170959"/>
                    </a:cubicBezTo>
                    <a:lnTo>
                      <a:pt x="0" y="170959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769" name="Forma livre: Forma 1768">
                <a:extLst>
                  <a:ext uri="{FF2B5EF4-FFF2-40B4-BE49-F238E27FC236}">
                    <a16:creationId xmlns:a16="http://schemas.microsoft.com/office/drawing/2014/main" id="{EDFDDAF1-7718-6C54-2371-D727085E1997}"/>
                  </a:ext>
                </a:extLst>
              </p:cNvPr>
              <p:cNvSpPr/>
              <p:nvPr/>
            </p:nvSpPr>
            <p:spPr>
              <a:xfrm>
                <a:off x="5926075" y="5919448"/>
                <a:ext cx="38913" cy="109629"/>
              </a:xfrm>
              <a:custGeom>
                <a:avLst/>
                <a:gdLst>
                  <a:gd name="connsiteX0" fmla="*/ 0 w 38913"/>
                  <a:gd name="connsiteY0" fmla="*/ 0 h 109629"/>
                  <a:gd name="connsiteX1" fmla="*/ 38913 w 38913"/>
                  <a:gd name="connsiteY1" fmla="*/ 0 h 109629"/>
                  <a:gd name="connsiteX2" fmla="*/ 38913 w 38913"/>
                  <a:gd name="connsiteY2" fmla="*/ 109629 h 109629"/>
                  <a:gd name="connsiteX3" fmla="*/ 0 w 38913"/>
                  <a:gd name="connsiteY3" fmla="*/ 109629 h 1096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8913" h="109629">
                    <a:moveTo>
                      <a:pt x="0" y="0"/>
                    </a:moveTo>
                    <a:lnTo>
                      <a:pt x="38913" y="0"/>
                    </a:lnTo>
                    <a:lnTo>
                      <a:pt x="38913" y="109629"/>
                    </a:lnTo>
                    <a:lnTo>
                      <a:pt x="0" y="109629"/>
                    </a:lnTo>
                    <a:close/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770" name="Forma livre: Forma 1769">
              <a:extLst>
                <a:ext uri="{FF2B5EF4-FFF2-40B4-BE49-F238E27FC236}">
                  <a16:creationId xmlns:a16="http://schemas.microsoft.com/office/drawing/2014/main" id="{A66ACE08-4408-BEAE-B8D8-AAA4C7545DCB}"/>
                </a:ext>
              </a:extLst>
            </p:cNvPr>
            <p:cNvSpPr/>
            <p:nvPr/>
          </p:nvSpPr>
          <p:spPr>
            <a:xfrm>
              <a:off x="5832732" y="5815680"/>
              <a:ext cx="244959" cy="4804"/>
            </a:xfrm>
            <a:custGeom>
              <a:avLst/>
              <a:gdLst>
                <a:gd name="connsiteX0" fmla="*/ 0 w 244959"/>
                <a:gd name="connsiteY0" fmla="*/ 0 h 4804"/>
                <a:gd name="connsiteX1" fmla="*/ 244960 w 244959"/>
                <a:gd name="connsiteY1" fmla="*/ 0 h 48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44959" h="4804">
                  <a:moveTo>
                    <a:pt x="0" y="0"/>
                  </a:moveTo>
                  <a:lnTo>
                    <a:pt x="24496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771" name="Gráfico 15">
              <a:extLst>
                <a:ext uri="{FF2B5EF4-FFF2-40B4-BE49-F238E27FC236}">
                  <a16:creationId xmlns:a16="http://schemas.microsoft.com/office/drawing/2014/main" id="{3C3186CD-4457-FF45-9FB7-A3640950B149}"/>
                </a:ext>
              </a:extLst>
            </p:cNvPr>
            <p:cNvGrpSpPr/>
            <p:nvPr/>
          </p:nvGrpSpPr>
          <p:grpSpPr>
            <a:xfrm>
              <a:off x="5845511" y="5784694"/>
              <a:ext cx="77057" cy="7302"/>
              <a:chOff x="5845511" y="5784694"/>
              <a:chExt cx="77057" cy="7302"/>
            </a:xfrm>
            <a:solidFill>
              <a:srgbClr val="394553"/>
            </a:solidFill>
          </p:grpSpPr>
          <p:sp>
            <p:nvSpPr>
              <p:cNvPr id="1772" name="Forma livre: Forma 1771">
                <a:extLst>
                  <a:ext uri="{FF2B5EF4-FFF2-40B4-BE49-F238E27FC236}">
                    <a16:creationId xmlns:a16="http://schemas.microsoft.com/office/drawing/2014/main" id="{6DFB81B4-A10F-3A63-6E4A-CB092CAB59DD}"/>
                  </a:ext>
                </a:extLst>
              </p:cNvPr>
              <p:cNvSpPr/>
              <p:nvPr/>
            </p:nvSpPr>
            <p:spPr>
              <a:xfrm>
                <a:off x="5845511" y="5784694"/>
                <a:ext cx="7206" cy="7206"/>
              </a:xfrm>
              <a:custGeom>
                <a:avLst/>
                <a:gdLst>
                  <a:gd name="connsiteX0" fmla="*/ 7206 w 7206"/>
                  <a:gd name="connsiteY0" fmla="*/ 3603 h 7206"/>
                  <a:gd name="connsiteX1" fmla="*/ 3603 w 7206"/>
                  <a:gd name="connsiteY1" fmla="*/ 7206 h 7206"/>
                  <a:gd name="connsiteX2" fmla="*/ 0 w 7206"/>
                  <a:gd name="connsiteY2" fmla="*/ 3603 h 7206"/>
                  <a:gd name="connsiteX3" fmla="*/ 3603 w 7206"/>
                  <a:gd name="connsiteY3" fmla="*/ 0 h 7206"/>
                  <a:gd name="connsiteX4" fmla="*/ 7206 w 7206"/>
                  <a:gd name="connsiteY4" fmla="*/ 3603 h 72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206" h="7206">
                    <a:moveTo>
                      <a:pt x="7206" y="3603"/>
                    </a:moveTo>
                    <a:cubicBezTo>
                      <a:pt x="7206" y="5621"/>
                      <a:pt x="5621" y="7206"/>
                      <a:pt x="3603" y="7206"/>
                    </a:cubicBezTo>
                    <a:cubicBezTo>
                      <a:pt x="1585" y="7206"/>
                      <a:pt x="0" y="5573"/>
                      <a:pt x="0" y="3603"/>
                    </a:cubicBezTo>
                    <a:cubicBezTo>
                      <a:pt x="0" y="1633"/>
                      <a:pt x="1633" y="0"/>
                      <a:pt x="3603" y="0"/>
                    </a:cubicBezTo>
                    <a:cubicBezTo>
                      <a:pt x="5573" y="0"/>
                      <a:pt x="7206" y="1585"/>
                      <a:pt x="7206" y="3603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773" name="Forma livre: Forma 1772">
                <a:extLst>
                  <a:ext uri="{FF2B5EF4-FFF2-40B4-BE49-F238E27FC236}">
                    <a16:creationId xmlns:a16="http://schemas.microsoft.com/office/drawing/2014/main" id="{808D2A39-7DE6-36ED-F3BB-F55ED46D33CF}"/>
                  </a:ext>
                </a:extLst>
              </p:cNvPr>
              <p:cNvSpPr/>
              <p:nvPr/>
            </p:nvSpPr>
            <p:spPr>
              <a:xfrm>
                <a:off x="5880388" y="5784694"/>
                <a:ext cx="7206" cy="7206"/>
              </a:xfrm>
              <a:custGeom>
                <a:avLst/>
                <a:gdLst>
                  <a:gd name="connsiteX0" fmla="*/ 7206 w 7206"/>
                  <a:gd name="connsiteY0" fmla="*/ 3603 h 7206"/>
                  <a:gd name="connsiteX1" fmla="*/ 3603 w 7206"/>
                  <a:gd name="connsiteY1" fmla="*/ 7206 h 7206"/>
                  <a:gd name="connsiteX2" fmla="*/ 0 w 7206"/>
                  <a:gd name="connsiteY2" fmla="*/ 3603 h 7206"/>
                  <a:gd name="connsiteX3" fmla="*/ 3603 w 7206"/>
                  <a:gd name="connsiteY3" fmla="*/ 0 h 7206"/>
                  <a:gd name="connsiteX4" fmla="*/ 7206 w 7206"/>
                  <a:gd name="connsiteY4" fmla="*/ 3603 h 72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206" h="7206">
                    <a:moveTo>
                      <a:pt x="7206" y="3603"/>
                    </a:moveTo>
                    <a:cubicBezTo>
                      <a:pt x="7206" y="5621"/>
                      <a:pt x="5621" y="7206"/>
                      <a:pt x="3603" y="7206"/>
                    </a:cubicBezTo>
                    <a:cubicBezTo>
                      <a:pt x="1585" y="7206"/>
                      <a:pt x="0" y="5573"/>
                      <a:pt x="0" y="3603"/>
                    </a:cubicBezTo>
                    <a:cubicBezTo>
                      <a:pt x="0" y="1633"/>
                      <a:pt x="1633" y="0"/>
                      <a:pt x="3603" y="0"/>
                    </a:cubicBezTo>
                    <a:cubicBezTo>
                      <a:pt x="5573" y="0"/>
                      <a:pt x="7206" y="1585"/>
                      <a:pt x="7206" y="3603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774" name="Forma livre: Forma 1773">
                <a:extLst>
                  <a:ext uri="{FF2B5EF4-FFF2-40B4-BE49-F238E27FC236}">
                    <a16:creationId xmlns:a16="http://schemas.microsoft.com/office/drawing/2014/main" id="{F63BB43D-7CFD-D101-5819-22F49E0E8856}"/>
                  </a:ext>
                </a:extLst>
              </p:cNvPr>
              <p:cNvSpPr/>
              <p:nvPr/>
            </p:nvSpPr>
            <p:spPr>
              <a:xfrm>
                <a:off x="5915266" y="5784694"/>
                <a:ext cx="7302" cy="7302"/>
              </a:xfrm>
              <a:custGeom>
                <a:avLst/>
                <a:gdLst>
                  <a:gd name="connsiteX0" fmla="*/ 7302 w 7302"/>
                  <a:gd name="connsiteY0" fmla="*/ 3651 h 7302"/>
                  <a:gd name="connsiteX1" fmla="*/ 3651 w 7302"/>
                  <a:gd name="connsiteY1" fmla="*/ 7302 h 7302"/>
                  <a:gd name="connsiteX2" fmla="*/ 0 w 7302"/>
                  <a:gd name="connsiteY2" fmla="*/ 3651 h 7302"/>
                  <a:gd name="connsiteX3" fmla="*/ 3651 w 7302"/>
                  <a:gd name="connsiteY3" fmla="*/ 0 h 7302"/>
                  <a:gd name="connsiteX4" fmla="*/ 7302 w 7302"/>
                  <a:gd name="connsiteY4" fmla="*/ 3651 h 73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302" h="7302">
                    <a:moveTo>
                      <a:pt x="7302" y="3651"/>
                    </a:moveTo>
                    <a:cubicBezTo>
                      <a:pt x="7302" y="5669"/>
                      <a:pt x="5669" y="7302"/>
                      <a:pt x="3651" y="7302"/>
                    </a:cubicBezTo>
                    <a:cubicBezTo>
                      <a:pt x="1633" y="7302"/>
                      <a:pt x="0" y="5669"/>
                      <a:pt x="0" y="3651"/>
                    </a:cubicBezTo>
                    <a:cubicBezTo>
                      <a:pt x="0" y="1633"/>
                      <a:pt x="1633" y="0"/>
                      <a:pt x="3651" y="0"/>
                    </a:cubicBezTo>
                    <a:cubicBezTo>
                      <a:pt x="5669" y="0"/>
                      <a:pt x="7302" y="1633"/>
                      <a:pt x="7302" y="3651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775" name="Forma livre: Forma 1774">
              <a:extLst>
                <a:ext uri="{FF2B5EF4-FFF2-40B4-BE49-F238E27FC236}">
                  <a16:creationId xmlns:a16="http://schemas.microsoft.com/office/drawing/2014/main" id="{6D178059-E5A6-3A78-CCA3-A24E68C9F10B}"/>
                </a:ext>
              </a:extLst>
            </p:cNvPr>
            <p:cNvSpPr/>
            <p:nvPr/>
          </p:nvSpPr>
          <p:spPr>
            <a:xfrm>
              <a:off x="5811257" y="5760721"/>
              <a:ext cx="287908" cy="211523"/>
            </a:xfrm>
            <a:custGeom>
              <a:avLst/>
              <a:gdLst>
                <a:gd name="connsiteX0" fmla="*/ 92190 w 287908"/>
                <a:gd name="connsiteY0" fmla="*/ 211524 h 211523"/>
                <a:gd name="connsiteX1" fmla="*/ 15950 w 287908"/>
                <a:gd name="connsiteY1" fmla="*/ 211524 h 211523"/>
                <a:gd name="connsiteX2" fmla="*/ 0 w 287908"/>
                <a:gd name="connsiteY2" fmla="*/ 195526 h 211523"/>
                <a:gd name="connsiteX3" fmla="*/ 0 w 287908"/>
                <a:gd name="connsiteY3" fmla="*/ 15998 h 211523"/>
                <a:gd name="connsiteX4" fmla="*/ 15950 w 287908"/>
                <a:gd name="connsiteY4" fmla="*/ 0 h 211523"/>
                <a:gd name="connsiteX5" fmla="*/ 271959 w 287908"/>
                <a:gd name="connsiteY5" fmla="*/ 0 h 211523"/>
                <a:gd name="connsiteX6" fmla="*/ 287908 w 287908"/>
                <a:gd name="connsiteY6" fmla="*/ 15998 h 211523"/>
                <a:gd name="connsiteX7" fmla="*/ 287908 w 287908"/>
                <a:gd name="connsiteY7" fmla="*/ 129998 h 2115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7908" h="211523">
                  <a:moveTo>
                    <a:pt x="92190" y="211524"/>
                  </a:moveTo>
                  <a:lnTo>
                    <a:pt x="15950" y="211524"/>
                  </a:lnTo>
                  <a:cubicBezTo>
                    <a:pt x="7158" y="211524"/>
                    <a:pt x="0" y="204318"/>
                    <a:pt x="0" y="195526"/>
                  </a:cubicBezTo>
                  <a:lnTo>
                    <a:pt x="0" y="15998"/>
                  </a:lnTo>
                  <a:cubicBezTo>
                    <a:pt x="0" y="7206"/>
                    <a:pt x="7158" y="0"/>
                    <a:pt x="15950" y="0"/>
                  </a:cubicBezTo>
                  <a:lnTo>
                    <a:pt x="271959" y="0"/>
                  </a:lnTo>
                  <a:cubicBezTo>
                    <a:pt x="280750" y="0"/>
                    <a:pt x="287908" y="7206"/>
                    <a:pt x="287908" y="15998"/>
                  </a:cubicBezTo>
                  <a:lnTo>
                    <a:pt x="287908" y="129998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777" name="Gráfico 15">
            <a:extLst>
              <a:ext uri="{FF2B5EF4-FFF2-40B4-BE49-F238E27FC236}">
                <a16:creationId xmlns:a16="http://schemas.microsoft.com/office/drawing/2014/main" id="{1B155A50-FBDA-344E-9677-CE12FABE0AE3}"/>
              </a:ext>
            </a:extLst>
          </p:cNvPr>
          <p:cNvGrpSpPr/>
          <p:nvPr/>
        </p:nvGrpSpPr>
        <p:grpSpPr>
          <a:xfrm>
            <a:off x="5207145" y="4147752"/>
            <a:ext cx="263551" cy="249580"/>
            <a:chOff x="5207145" y="4147752"/>
            <a:chExt cx="263551" cy="249580"/>
          </a:xfrm>
          <a:noFill/>
        </p:grpSpPr>
        <p:sp>
          <p:nvSpPr>
            <p:cNvPr id="1778" name="Forma livre: Forma 1777">
              <a:extLst>
                <a:ext uri="{FF2B5EF4-FFF2-40B4-BE49-F238E27FC236}">
                  <a16:creationId xmlns:a16="http://schemas.microsoft.com/office/drawing/2014/main" id="{6B68796E-D52D-8006-06F4-F8989805BD87}"/>
                </a:ext>
              </a:extLst>
            </p:cNvPr>
            <p:cNvSpPr/>
            <p:nvPr/>
          </p:nvSpPr>
          <p:spPr>
            <a:xfrm>
              <a:off x="5277380" y="4158513"/>
              <a:ext cx="171265" cy="15469"/>
            </a:xfrm>
            <a:custGeom>
              <a:avLst/>
              <a:gdLst>
                <a:gd name="connsiteX0" fmla="*/ 171265 w 171265"/>
                <a:gd name="connsiteY0" fmla="*/ 15469 h 15469"/>
                <a:gd name="connsiteX1" fmla="*/ 148302 w 171265"/>
                <a:gd name="connsiteY1" fmla="*/ 0 h 15469"/>
                <a:gd name="connsiteX2" fmla="*/ 0 w 171265"/>
                <a:gd name="connsiteY2" fmla="*/ 0 h 154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71265" h="15469">
                  <a:moveTo>
                    <a:pt x="171265" y="15469"/>
                  </a:moveTo>
                  <a:cubicBezTo>
                    <a:pt x="168575" y="9512"/>
                    <a:pt x="162186" y="0"/>
                    <a:pt x="148302" y="0"/>
                  </a:cubicBezTo>
                  <a:lnTo>
                    <a:pt x="0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79" name="Forma livre: Forma 1778">
              <a:extLst>
                <a:ext uri="{FF2B5EF4-FFF2-40B4-BE49-F238E27FC236}">
                  <a16:creationId xmlns:a16="http://schemas.microsoft.com/office/drawing/2014/main" id="{BD55823D-EA6A-55BC-97B2-D81109952F20}"/>
                </a:ext>
              </a:extLst>
            </p:cNvPr>
            <p:cNvSpPr/>
            <p:nvPr/>
          </p:nvSpPr>
          <p:spPr>
            <a:xfrm>
              <a:off x="5279062" y="4296486"/>
              <a:ext cx="190241" cy="100845"/>
            </a:xfrm>
            <a:custGeom>
              <a:avLst/>
              <a:gdLst>
                <a:gd name="connsiteX0" fmla="*/ 0 w 190241"/>
                <a:gd name="connsiteY0" fmla="*/ 0 h 100845"/>
                <a:gd name="connsiteX1" fmla="*/ 67065 w 190241"/>
                <a:gd name="connsiteY1" fmla="*/ 85272 h 100845"/>
                <a:gd name="connsiteX2" fmla="*/ 85465 w 190241"/>
                <a:gd name="connsiteY2" fmla="*/ 100838 h 100845"/>
                <a:gd name="connsiteX3" fmla="*/ 106362 w 190241"/>
                <a:gd name="connsiteY3" fmla="*/ 81381 h 100845"/>
                <a:gd name="connsiteX4" fmla="*/ 97763 w 190241"/>
                <a:gd name="connsiteY4" fmla="*/ 13403 h 100845"/>
                <a:gd name="connsiteX5" fmla="*/ 178423 w 190241"/>
                <a:gd name="connsiteY5" fmla="*/ 13403 h 100845"/>
                <a:gd name="connsiteX6" fmla="*/ 190242 w 190241"/>
                <a:gd name="connsiteY6" fmla="*/ 4228 h 1008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90241" h="100845">
                  <a:moveTo>
                    <a:pt x="0" y="0"/>
                  </a:moveTo>
                  <a:cubicBezTo>
                    <a:pt x="14172" y="4228"/>
                    <a:pt x="67065" y="23972"/>
                    <a:pt x="67065" y="85272"/>
                  </a:cubicBezTo>
                  <a:cubicBezTo>
                    <a:pt x="67065" y="85272"/>
                    <a:pt x="68314" y="100838"/>
                    <a:pt x="85465" y="100838"/>
                  </a:cubicBezTo>
                  <a:cubicBezTo>
                    <a:pt x="85465" y="100838"/>
                    <a:pt x="104729" y="101846"/>
                    <a:pt x="106362" y="81381"/>
                  </a:cubicBezTo>
                  <a:cubicBezTo>
                    <a:pt x="106362" y="81381"/>
                    <a:pt x="111214" y="40306"/>
                    <a:pt x="97763" y="13403"/>
                  </a:cubicBezTo>
                  <a:lnTo>
                    <a:pt x="178423" y="13403"/>
                  </a:lnTo>
                  <a:cubicBezTo>
                    <a:pt x="178423" y="13403"/>
                    <a:pt x="186350" y="14700"/>
                    <a:pt x="190242" y="4228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80" name="Forma livre: Forma 1779">
              <a:extLst>
                <a:ext uri="{FF2B5EF4-FFF2-40B4-BE49-F238E27FC236}">
                  <a16:creationId xmlns:a16="http://schemas.microsoft.com/office/drawing/2014/main" id="{CDCFE9A6-9C75-8E30-71AE-D5B1A473494A}"/>
                </a:ext>
              </a:extLst>
            </p:cNvPr>
            <p:cNvSpPr/>
            <p:nvPr/>
          </p:nvSpPr>
          <p:spPr>
            <a:xfrm>
              <a:off x="5207145" y="4147752"/>
              <a:ext cx="44101" cy="153154"/>
            </a:xfrm>
            <a:custGeom>
              <a:avLst/>
              <a:gdLst>
                <a:gd name="connsiteX0" fmla="*/ 3843 w 44101"/>
                <a:gd name="connsiteY0" fmla="*/ 153154 h 153154"/>
                <a:gd name="connsiteX1" fmla="*/ 44101 w 44101"/>
                <a:gd name="connsiteY1" fmla="*/ 153154 h 153154"/>
                <a:gd name="connsiteX2" fmla="*/ 44101 w 44101"/>
                <a:gd name="connsiteY2" fmla="*/ 0 h 153154"/>
                <a:gd name="connsiteX3" fmla="*/ 0 w 44101"/>
                <a:gd name="connsiteY3" fmla="*/ 0 h 1531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4101" h="153154">
                  <a:moveTo>
                    <a:pt x="3843" y="153154"/>
                  </a:moveTo>
                  <a:lnTo>
                    <a:pt x="44101" y="153154"/>
                  </a:lnTo>
                  <a:lnTo>
                    <a:pt x="44101" y="0"/>
                  </a:lnTo>
                  <a:lnTo>
                    <a:pt x="0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781" name="Gráfico 15">
              <a:extLst>
                <a:ext uri="{FF2B5EF4-FFF2-40B4-BE49-F238E27FC236}">
                  <a16:creationId xmlns:a16="http://schemas.microsoft.com/office/drawing/2014/main" id="{A9AEAFF4-E5BA-5ACD-AB6A-87260A46E0E0}"/>
                </a:ext>
              </a:extLst>
            </p:cNvPr>
            <p:cNvGrpSpPr/>
            <p:nvPr/>
          </p:nvGrpSpPr>
          <p:grpSpPr>
            <a:xfrm>
              <a:off x="5442737" y="4270256"/>
              <a:ext cx="27959" cy="16910"/>
              <a:chOff x="5442737" y="4270256"/>
              <a:chExt cx="27959" cy="16910"/>
            </a:xfrm>
            <a:noFill/>
          </p:grpSpPr>
          <p:sp>
            <p:nvSpPr>
              <p:cNvPr id="1782" name="Forma livre: Forma 1781">
                <a:extLst>
                  <a:ext uri="{FF2B5EF4-FFF2-40B4-BE49-F238E27FC236}">
                    <a16:creationId xmlns:a16="http://schemas.microsoft.com/office/drawing/2014/main" id="{A8A16EF8-1F74-26B6-4C45-FD2B3A741F2A}"/>
                  </a:ext>
                </a:extLst>
              </p:cNvPr>
              <p:cNvSpPr/>
              <p:nvPr/>
            </p:nvSpPr>
            <p:spPr>
              <a:xfrm>
                <a:off x="5442737" y="4270256"/>
                <a:ext cx="7398" cy="4804"/>
              </a:xfrm>
              <a:custGeom>
                <a:avLst/>
                <a:gdLst>
                  <a:gd name="connsiteX0" fmla="*/ 0 w 7398"/>
                  <a:gd name="connsiteY0" fmla="*/ 0 h 4804"/>
                  <a:gd name="connsiteX1" fmla="*/ 7398 w 7398"/>
                  <a:gd name="connsiteY1" fmla="*/ 0 h 48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7398" h="4804">
                    <a:moveTo>
                      <a:pt x="0" y="0"/>
                    </a:moveTo>
                    <a:lnTo>
                      <a:pt x="7398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783" name="Forma livre: Forma 1782">
                <a:extLst>
                  <a:ext uri="{FF2B5EF4-FFF2-40B4-BE49-F238E27FC236}">
                    <a16:creationId xmlns:a16="http://schemas.microsoft.com/office/drawing/2014/main" id="{A0AB1C45-4222-0482-5B33-E5FE8CC99127}"/>
                  </a:ext>
                </a:extLst>
              </p:cNvPr>
              <p:cNvSpPr/>
              <p:nvPr/>
            </p:nvSpPr>
            <p:spPr>
              <a:xfrm>
                <a:off x="5449270" y="4270301"/>
                <a:ext cx="21426" cy="16865"/>
              </a:xfrm>
              <a:custGeom>
                <a:avLst/>
                <a:gdLst>
                  <a:gd name="connsiteX0" fmla="*/ 21426 w 21426"/>
                  <a:gd name="connsiteY0" fmla="*/ 16865 h 16865"/>
                  <a:gd name="connsiteX1" fmla="*/ 0 w 21426"/>
                  <a:gd name="connsiteY1" fmla="*/ 3 h 168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1426" h="16865">
                    <a:moveTo>
                      <a:pt x="21426" y="16865"/>
                    </a:moveTo>
                    <a:cubicBezTo>
                      <a:pt x="19985" y="8987"/>
                      <a:pt x="14172" y="-189"/>
                      <a:pt x="0" y="3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784" name="Gráfico 15">
              <a:extLst>
                <a:ext uri="{FF2B5EF4-FFF2-40B4-BE49-F238E27FC236}">
                  <a16:creationId xmlns:a16="http://schemas.microsoft.com/office/drawing/2014/main" id="{C1C9C007-3DBD-5712-E4AC-9ECD9658B757}"/>
                </a:ext>
              </a:extLst>
            </p:cNvPr>
            <p:cNvGrpSpPr/>
            <p:nvPr/>
          </p:nvGrpSpPr>
          <p:grpSpPr>
            <a:xfrm>
              <a:off x="5438269" y="4232589"/>
              <a:ext cx="27911" cy="16865"/>
              <a:chOff x="5438269" y="4232589"/>
              <a:chExt cx="27911" cy="16865"/>
            </a:xfrm>
            <a:noFill/>
          </p:grpSpPr>
          <p:sp>
            <p:nvSpPr>
              <p:cNvPr id="1785" name="Forma livre: Forma 1784">
                <a:extLst>
                  <a:ext uri="{FF2B5EF4-FFF2-40B4-BE49-F238E27FC236}">
                    <a16:creationId xmlns:a16="http://schemas.microsoft.com/office/drawing/2014/main" id="{E0E57A36-0A3C-F3F6-90DB-ADFC866BB88C}"/>
                  </a:ext>
                </a:extLst>
              </p:cNvPr>
              <p:cNvSpPr/>
              <p:nvPr/>
            </p:nvSpPr>
            <p:spPr>
              <a:xfrm>
                <a:off x="5438269" y="4232592"/>
                <a:ext cx="7350" cy="4804"/>
              </a:xfrm>
              <a:custGeom>
                <a:avLst/>
                <a:gdLst>
                  <a:gd name="connsiteX0" fmla="*/ 0 w 7350"/>
                  <a:gd name="connsiteY0" fmla="*/ 0 h 4804"/>
                  <a:gd name="connsiteX1" fmla="*/ 7350 w 7350"/>
                  <a:gd name="connsiteY1" fmla="*/ 0 h 48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7350" h="4804">
                    <a:moveTo>
                      <a:pt x="0" y="0"/>
                    </a:moveTo>
                    <a:lnTo>
                      <a:pt x="735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786" name="Forma livre: Forma 1785">
                <a:extLst>
                  <a:ext uri="{FF2B5EF4-FFF2-40B4-BE49-F238E27FC236}">
                    <a16:creationId xmlns:a16="http://schemas.microsoft.com/office/drawing/2014/main" id="{FC0008CD-528D-D6CF-55FE-E7F3768FCD43}"/>
                  </a:ext>
                </a:extLst>
              </p:cNvPr>
              <p:cNvSpPr/>
              <p:nvPr/>
            </p:nvSpPr>
            <p:spPr>
              <a:xfrm>
                <a:off x="5444754" y="4232589"/>
                <a:ext cx="21426" cy="16865"/>
              </a:xfrm>
              <a:custGeom>
                <a:avLst/>
                <a:gdLst>
                  <a:gd name="connsiteX0" fmla="*/ 21426 w 21426"/>
                  <a:gd name="connsiteY0" fmla="*/ 16865 h 16865"/>
                  <a:gd name="connsiteX1" fmla="*/ 0 w 21426"/>
                  <a:gd name="connsiteY1" fmla="*/ 3 h 168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1426" h="16865">
                    <a:moveTo>
                      <a:pt x="21426" y="16865"/>
                    </a:moveTo>
                    <a:cubicBezTo>
                      <a:pt x="19985" y="8987"/>
                      <a:pt x="14172" y="-189"/>
                      <a:pt x="0" y="3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787" name="Gráfico 15">
              <a:extLst>
                <a:ext uri="{FF2B5EF4-FFF2-40B4-BE49-F238E27FC236}">
                  <a16:creationId xmlns:a16="http://schemas.microsoft.com/office/drawing/2014/main" id="{68C95871-ABBB-B83B-71CC-EBB827B2904C}"/>
                </a:ext>
              </a:extLst>
            </p:cNvPr>
            <p:cNvGrpSpPr/>
            <p:nvPr/>
          </p:nvGrpSpPr>
          <p:grpSpPr>
            <a:xfrm>
              <a:off x="5428997" y="4194444"/>
              <a:ext cx="27959" cy="16865"/>
              <a:chOff x="5428997" y="4194444"/>
              <a:chExt cx="27959" cy="16865"/>
            </a:xfrm>
            <a:noFill/>
          </p:grpSpPr>
          <p:sp>
            <p:nvSpPr>
              <p:cNvPr id="1788" name="Forma livre: Forma 1787">
                <a:extLst>
                  <a:ext uri="{FF2B5EF4-FFF2-40B4-BE49-F238E27FC236}">
                    <a16:creationId xmlns:a16="http://schemas.microsoft.com/office/drawing/2014/main" id="{3E75FE59-BB64-ABFE-3323-5A425C9C6285}"/>
                  </a:ext>
                </a:extLst>
              </p:cNvPr>
              <p:cNvSpPr/>
              <p:nvPr/>
            </p:nvSpPr>
            <p:spPr>
              <a:xfrm>
                <a:off x="5428997" y="4194447"/>
                <a:ext cx="7398" cy="4804"/>
              </a:xfrm>
              <a:custGeom>
                <a:avLst/>
                <a:gdLst>
                  <a:gd name="connsiteX0" fmla="*/ 0 w 7398"/>
                  <a:gd name="connsiteY0" fmla="*/ 0 h 4804"/>
                  <a:gd name="connsiteX1" fmla="*/ 7398 w 7398"/>
                  <a:gd name="connsiteY1" fmla="*/ 0 h 48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7398" h="4804">
                    <a:moveTo>
                      <a:pt x="0" y="0"/>
                    </a:moveTo>
                    <a:lnTo>
                      <a:pt x="7398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789" name="Forma livre: Forma 1788">
                <a:extLst>
                  <a:ext uri="{FF2B5EF4-FFF2-40B4-BE49-F238E27FC236}">
                    <a16:creationId xmlns:a16="http://schemas.microsoft.com/office/drawing/2014/main" id="{0E2EF54B-1C98-DE84-EFA5-FDA524B7297F}"/>
                  </a:ext>
                </a:extLst>
              </p:cNvPr>
              <p:cNvSpPr/>
              <p:nvPr/>
            </p:nvSpPr>
            <p:spPr>
              <a:xfrm>
                <a:off x="5435530" y="4194444"/>
                <a:ext cx="21426" cy="16865"/>
              </a:xfrm>
              <a:custGeom>
                <a:avLst/>
                <a:gdLst>
                  <a:gd name="connsiteX0" fmla="*/ 21426 w 21426"/>
                  <a:gd name="connsiteY0" fmla="*/ 16865 h 16865"/>
                  <a:gd name="connsiteX1" fmla="*/ 0 w 21426"/>
                  <a:gd name="connsiteY1" fmla="*/ 3 h 168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1426" h="16865">
                    <a:moveTo>
                      <a:pt x="21426" y="16865"/>
                    </a:moveTo>
                    <a:cubicBezTo>
                      <a:pt x="19985" y="8987"/>
                      <a:pt x="14172" y="-189"/>
                      <a:pt x="0" y="3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790" name="Gráfico 15">
            <a:extLst>
              <a:ext uri="{FF2B5EF4-FFF2-40B4-BE49-F238E27FC236}">
                <a16:creationId xmlns:a16="http://schemas.microsoft.com/office/drawing/2014/main" id="{D82E7D3A-0E1A-BD29-992E-7BC35CEE01B4}"/>
              </a:ext>
            </a:extLst>
          </p:cNvPr>
          <p:cNvGrpSpPr/>
          <p:nvPr/>
        </p:nvGrpSpPr>
        <p:grpSpPr>
          <a:xfrm>
            <a:off x="5160497" y="4697194"/>
            <a:ext cx="356798" cy="232229"/>
            <a:chOff x="5160497" y="4697194"/>
            <a:chExt cx="356798" cy="232229"/>
          </a:xfrm>
          <a:noFill/>
        </p:grpSpPr>
        <p:sp>
          <p:nvSpPr>
            <p:cNvPr id="1791" name="Forma livre: Forma 1790">
              <a:extLst>
                <a:ext uri="{FF2B5EF4-FFF2-40B4-BE49-F238E27FC236}">
                  <a16:creationId xmlns:a16="http://schemas.microsoft.com/office/drawing/2014/main" id="{B854C740-42A7-80E8-59DE-C4E7882C622F}"/>
                </a:ext>
              </a:extLst>
            </p:cNvPr>
            <p:cNvSpPr/>
            <p:nvPr/>
          </p:nvSpPr>
          <p:spPr>
            <a:xfrm>
              <a:off x="5310596" y="4760390"/>
              <a:ext cx="158562" cy="169033"/>
            </a:xfrm>
            <a:custGeom>
              <a:avLst/>
              <a:gdLst>
                <a:gd name="connsiteX0" fmla="*/ 158563 w 158562"/>
                <a:gd name="connsiteY0" fmla="*/ 149913 h 169033"/>
                <a:gd name="connsiteX1" fmla="*/ 151021 w 158562"/>
                <a:gd name="connsiteY1" fmla="*/ 84962 h 169033"/>
                <a:gd name="connsiteX2" fmla="*/ 128393 w 158562"/>
                <a:gd name="connsiteY2" fmla="*/ 62047 h 169033"/>
                <a:gd name="connsiteX3" fmla="*/ 73146 w 158562"/>
                <a:gd name="connsiteY3" fmla="*/ 63776 h 169033"/>
                <a:gd name="connsiteX4" fmla="*/ 62818 w 158562"/>
                <a:gd name="connsiteY4" fmla="*/ 11364 h 169033"/>
                <a:gd name="connsiteX5" fmla="*/ 45523 w 158562"/>
                <a:gd name="connsiteY5" fmla="*/ 266 h 169033"/>
                <a:gd name="connsiteX6" fmla="*/ 33753 w 158562"/>
                <a:gd name="connsiteY6" fmla="*/ 17081 h 169033"/>
                <a:gd name="connsiteX7" fmla="*/ 47300 w 158562"/>
                <a:gd name="connsiteY7" fmla="*/ 85683 h 169033"/>
                <a:gd name="connsiteX8" fmla="*/ 53882 w 158562"/>
                <a:gd name="connsiteY8" fmla="*/ 118927 h 169033"/>
                <a:gd name="connsiteX9" fmla="*/ 23376 w 158562"/>
                <a:gd name="connsiteY9" fmla="*/ 98510 h 169033"/>
                <a:gd name="connsiteX10" fmla="*/ 3631 w 158562"/>
                <a:gd name="connsiteY10" fmla="*/ 102305 h 169033"/>
                <a:gd name="connsiteX11" fmla="*/ 2430 w 158562"/>
                <a:gd name="connsiteY11" fmla="*/ 104131 h 169033"/>
                <a:gd name="connsiteX12" fmla="*/ 6226 w 158562"/>
                <a:gd name="connsiteY12" fmla="*/ 123875 h 169033"/>
                <a:gd name="connsiteX13" fmla="*/ 73435 w 158562"/>
                <a:gd name="connsiteY13" fmla="*/ 169034 h 16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58562" h="169033">
                  <a:moveTo>
                    <a:pt x="158563" y="149913"/>
                  </a:moveTo>
                  <a:lnTo>
                    <a:pt x="151021" y="84962"/>
                  </a:lnTo>
                  <a:cubicBezTo>
                    <a:pt x="146505" y="62095"/>
                    <a:pt x="128393" y="62047"/>
                    <a:pt x="128393" y="62047"/>
                  </a:cubicBezTo>
                  <a:lnTo>
                    <a:pt x="73146" y="63776"/>
                  </a:lnTo>
                  <a:lnTo>
                    <a:pt x="62818" y="11364"/>
                  </a:lnTo>
                  <a:cubicBezTo>
                    <a:pt x="61280" y="3677"/>
                    <a:pt x="53209" y="-1223"/>
                    <a:pt x="45523" y="266"/>
                  </a:cubicBezTo>
                  <a:cubicBezTo>
                    <a:pt x="37836" y="1756"/>
                    <a:pt x="32216" y="9394"/>
                    <a:pt x="33753" y="17081"/>
                  </a:cubicBezTo>
                  <a:lnTo>
                    <a:pt x="47300" y="85683"/>
                  </a:lnTo>
                  <a:lnTo>
                    <a:pt x="53882" y="118927"/>
                  </a:lnTo>
                  <a:lnTo>
                    <a:pt x="23376" y="98510"/>
                  </a:lnTo>
                  <a:cubicBezTo>
                    <a:pt x="16891" y="94138"/>
                    <a:pt x="8003" y="95819"/>
                    <a:pt x="3631" y="102305"/>
                  </a:cubicBezTo>
                  <a:lnTo>
                    <a:pt x="2430" y="104131"/>
                  </a:lnTo>
                  <a:cubicBezTo>
                    <a:pt x="-1941" y="110616"/>
                    <a:pt x="-260" y="119504"/>
                    <a:pt x="6226" y="123875"/>
                  </a:cubicBezTo>
                  <a:lnTo>
                    <a:pt x="73435" y="169034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92" name="Forma livre: Forma 1791">
              <a:extLst>
                <a:ext uri="{FF2B5EF4-FFF2-40B4-BE49-F238E27FC236}">
                  <a16:creationId xmlns:a16="http://schemas.microsoft.com/office/drawing/2014/main" id="{2D12062E-D423-7BF2-89AE-47C67EEEFA0C}"/>
                </a:ext>
              </a:extLst>
            </p:cNvPr>
            <p:cNvSpPr/>
            <p:nvPr/>
          </p:nvSpPr>
          <p:spPr>
            <a:xfrm>
              <a:off x="5160497" y="4697194"/>
              <a:ext cx="103335" cy="98291"/>
            </a:xfrm>
            <a:custGeom>
              <a:avLst/>
              <a:gdLst>
                <a:gd name="connsiteX0" fmla="*/ 51692 w 103335"/>
                <a:gd name="connsiteY0" fmla="*/ 0 h 98291"/>
                <a:gd name="connsiteX1" fmla="*/ 66681 w 103335"/>
                <a:gd name="connsiteY1" fmla="*/ 33677 h 98291"/>
                <a:gd name="connsiteX2" fmla="*/ 103336 w 103335"/>
                <a:gd name="connsiteY2" fmla="*/ 37568 h 98291"/>
                <a:gd name="connsiteX3" fmla="*/ 75952 w 103335"/>
                <a:gd name="connsiteY3" fmla="*/ 62261 h 98291"/>
                <a:gd name="connsiteX4" fmla="*/ 83591 w 103335"/>
                <a:gd name="connsiteY4" fmla="*/ 98291 h 98291"/>
                <a:gd name="connsiteX5" fmla="*/ 51692 w 103335"/>
                <a:gd name="connsiteY5" fmla="*/ 79892 h 98291"/>
                <a:gd name="connsiteX6" fmla="*/ 19745 w 103335"/>
                <a:gd name="connsiteY6" fmla="*/ 98291 h 98291"/>
                <a:gd name="connsiteX7" fmla="*/ 27383 w 103335"/>
                <a:gd name="connsiteY7" fmla="*/ 62261 h 98291"/>
                <a:gd name="connsiteX8" fmla="*/ 0 w 103335"/>
                <a:gd name="connsiteY8" fmla="*/ 37568 h 98291"/>
                <a:gd name="connsiteX9" fmla="*/ 36655 w 103335"/>
                <a:gd name="connsiteY9" fmla="*/ 33677 h 98291"/>
                <a:gd name="connsiteX10" fmla="*/ 51692 w 103335"/>
                <a:gd name="connsiteY10" fmla="*/ 0 h 982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03335" h="98291">
                  <a:moveTo>
                    <a:pt x="51692" y="0"/>
                  </a:moveTo>
                  <a:lnTo>
                    <a:pt x="66681" y="33677"/>
                  </a:lnTo>
                  <a:lnTo>
                    <a:pt x="103336" y="37568"/>
                  </a:lnTo>
                  <a:lnTo>
                    <a:pt x="75952" y="62261"/>
                  </a:lnTo>
                  <a:lnTo>
                    <a:pt x="83591" y="98291"/>
                  </a:lnTo>
                  <a:lnTo>
                    <a:pt x="51692" y="79892"/>
                  </a:lnTo>
                  <a:lnTo>
                    <a:pt x="19745" y="98291"/>
                  </a:lnTo>
                  <a:lnTo>
                    <a:pt x="27383" y="62261"/>
                  </a:lnTo>
                  <a:lnTo>
                    <a:pt x="0" y="37568"/>
                  </a:lnTo>
                  <a:lnTo>
                    <a:pt x="36655" y="33677"/>
                  </a:lnTo>
                  <a:lnTo>
                    <a:pt x="51692" y="0"/>
                  </a:ln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93" name="Forma livre: Forma 1792">
              <a:extLst>
                <a:ext uri="{FF2B5EF4-FFF2-40B4-BE49-F238E27FC236}">
                  <a16:creationId xmlns:a16="http://schemas.microsoft.com/office/drawing/2014/main" id="{324FFFA6-5557-35F0-D1DD-32467764250F}"/>
                </a:ext>
              </a:extLst>
            </p:cNvPr>
            <p:cNvSpPr/>
            <p:nvPr/>
          </p:nvSpPr>
          <p:spPr>
            <a:xfrm>
              <a:off x="5287229" y="4697194"/>
              <a:ext cx="103335" cy="98291"/>
            </a:xfrm>
            <a:custGeom>
              <a:avLst/>
              <a:gdLst>
                <a:gd name="connsiteX0" fmla="*/ 39922 w 103335"/>
                <a:gd name="connsiteY0" fmla="*/ 86666 h 98291"/>
                <a:gd name="connsiteX1" fmla="*/ 19745 w 103335"/>
                <a:gd name="connsiteY1" fmla="*/ 98291 h 98291"/>
                <a:gd name="connsiteX2" fmla="*/ 27383 w 103335"/>
                <a:gd name="connsiteY2" fmla="*/ 62261 h 98291"/>
                <a:gd name="connsiteX3" fmla="*/ 0 w 103335"/>
                <a:gd name="connsiteY3" fmla="*/ 37568 h 98291"/>
                <a:gd name="connsiteX4" fmla="*/ 36655 w 103335"/>
                <a:gd name="connsiteY4" fmla="*/ 33677 h 98291"/>
                <a:gd name="connsiteX5" fmla="*/ 51692 w 103335"/>
                <a:gd name="connsiteY5" fmla="*/ 0 h 98291"/>
                <a:gd name="connsiteX6" fmla="*/ 66681 w 103335"/>
                <a:gd name="connsiteY6" fmla="*/ 33677 h 98291"/>
                <a:gd name="connsiteX7" fmla="*/ 103336 w 103335"/>
                <a:gd name="connsiteY7" fmla="*/ 37568 h 98291"/>
                <a:gd name="connsiteX8" fmla="*/ 88635 w 103335"/>
                <a:gd name="connsiteY8" fmla="*/ 50827 h 982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03335" h="98291">
                  <a:moveTo>
                    <a:pt x="39922" y="86666"/>
                  </a:moveTo>
                  <a:lnTo>
                    <a:pt x="19745" y="98291"/>
                  </a:lnTo>
                  <a:lnTo>
                    <a:pt x="27383" y="62261"/>
                  </a:lnTo>
                  <a:lnTo>
                    <a:pt x="0" y="37568"/>
                  </a:lnTo>
                  <a:lnTo>
                    <a:pt x="36655" y="33677"/>
                  </a:lnTo>
                  <a:lnTo>
                    <a:pt x="51692" y="0"/>
                  </a:lnTo>
                  <a:lnTo>
                    <a:pt x="66681" y="33677"/>
                  </a:lnTo>
                  <a:lnTo>
                    <a:pt x="103336" y="37568"/>
                  </a:lnTo>
                  <a:lnTo>
                    <a:pt x="88635" y="50827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94" name="Forma livre: Forma 1793">
              <a:extLst>
                <a:ext uri="{FF2B5EF4-FFF2-40B4-BE49-F238E27FC236}">
                  <a16:creationId xmlns:a16="http://schemas.microsoft.com/office/drawing/2014/main" id="{C1E829A8-4CEB-864B-2558-96E0CD931DA6}"/>
                </a:ext>
              </a:extLst>
            </p:cNvPr>
            <p:cNvSpPr/>
            <p:nvPr/>
          </p:nvSpPr>
          <p:spPr>
            <a:xfrm>
              <a:off x="5413960" y="4697194"/>
              <a:ext cx="103335" cy="98291"/>
            </a:xfrm>
            <a:custGeom>
              <a:avLst/>
              <a:gdLst>
                <a:gd name="connsiteX0" fmla="*/ 51692 w 103335"/>
                <a:gd name="connsiteY0" fmla="*/ 0 h 98291"/>
                <a:gd name="connsiteX1" fmla="*/ 66681 w 103335"/>
                <a:gd name="connsiteY1" fmla="*/ 33677 h 98291"/>
                <a:gd name="connsiteX2" fmla="*/ 103336 w 103335"/>
                <a:gd name="connsiteY2" fmla="*/ 37568 h 98291"/>
                <a:gd name="connsiteX3" fmla="*/ 75952 w 103335"/>
                <a:gd name="connsiteY3" fmla="*/ 62261 h 98291"/>
                <a:gd name="connsiteX4" fmla="*/ 83591 w 103335"/>
                <a:gd name="connsiteY4" fmla="*/ 98291 h 98291"/>
                <a:gd name="connsiteX5" fmla="*/ 51692 w 103335"/>
                <a:gd name="connsiteY5" fmla="*/ 79892 h 98291"/>
                <a:gd name="connsiteX6" fmla="*/ 19745 w 103335"/>
                <a:gd name="connsiteY6" fmla="*/ 98291 h 98291"/>
                <a:gd name="connsiteX7" fmla="*/ 27383 w 103335"/>
                <a:gd name="connsiteY7" fmla="*/ 62261 h 98291"/>
                <a:gd name="connsiteX8" fmla="*/ 0 w 103335"/>
                <a:gd name="connsiteY8" fmla="*/ 37568 h 98291"/>
                <a:gd name="connsiteX9" fmla="*/ 36655 w 103335"/>
                <a:gd name="connsiteY9" fmla="*/ 33677 h 98291"/>
                <a:gd name="connsiteX10" fmla="*/ 51692 w 103335"/>
                <a:gd name="connsiteY10" fmla="*/ 0 h 982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03335" h="98291">
                  <a:moveTo>
                    <a:pt x="51692" y="0"/>
                  </a:moveTo>
                  <a:lnTo>
                    <a:pt x="66681" y="33677"/>
                  </a:lnTo>
                  <a:lnTo>
                    <a:pt x="103336" y="37568"/>
                  </a:lnTo>
                  <a:lnTo>
                    <a:pt x="75952" y="62261"/>
                  </a:lnTo>
                  <a:lnTo>
                    <a:pt x="83591" y="98291"/>
                  </a:lnTo>
                  <a:lnTo>
                    <a:pt x="51692" y="79892"/>
                  </a:lnTo>
                  <a:lnTo>
                    <a:pt x="19745" y="98291"/>
                  </a:lnTo>
                  <a:lnTo>
                    <a:pt x="27383" y="62261"/>
                  </a:lnTo>
                  <a:lnTo>
                    <a:pt x="0" y="37568"/>
                  </a:lnTo>
                  <a:lnTo>
                    <a:pt x="36655" y="33677"/>
                  </a:lnTo>
                  <a:lnTo>
                    <a:pt x="51692" y="0"/>
                  </a:ln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795" name="Gráfico 15">
            <a:extLst>
              <a:ext uri="{FF2B5EF4-FFF2-40B4-BE49-F238E27FC236}">
                <a16:creationId xmlns:a16="http://schemas.microsoft.com/office/drawing/2014/main" id="{07ECE9F2-FFFD-9B55-336B-E05F3B3787C0}"/>
              </a:ext>
            </a:extLst>
          </p:cNvPr>
          <p:cNvGrpSpPr/>
          <p:nvPr/>
        </p:nvGrpSpPr>
        <p:grpSpPr>
          <a:xfrm>
            <a:off x="5176062" y="5205506"/>
            <a:ext cx="325655" cy="297188"/>
            <a:chOff x="5176062" y="5205506"/>
            <a:chExt cx="325655" cy="297188"/>
          </a:xfrm>
          <a:noFill/>
        </p:grpSpPr>
        <p:grpSp>
          <p:nvGrpSpPr>
            <p:cNvPr id="1796" name="Gráfico 15">
              <a:extLst>
                <a:ext uri="{FF2B5EF4-FFF2-40B4-BE49-F238E27FC236}">
                  <a16:creationId xmlns:a16="http://schemas.microsoft.com/office/drawing/2014/main" id="{3F6B2D53-7DD6-F64B-040F-79EC4F00538F}"/>
                </a:ext>
              </a:extLst>
            </p:cNvPr>
            <p:cNvGrpSpPr/>
            <p:nvPr/>
          </p:nvGrpSpPr>
          <p:grpSpPr>
            <a:xfrm>
              <a:off x="5176062" y="5369895"/>
              <a:ext cx="325655" cy="132799"/>
              <a:chOff x="5176062" y="5369895"/>
              <a:chExt cx="325655" cy="132799"/>
            </a:xfrm>
            <a:noFill/>
          </p:grpSpPr>
          <p:sp>
            <p:nvSpPr>
              <p:cNvPr id="1797" name="Forma livre: Forma 1796">
                <a:extLst>
                  <a:ext uri="{FF2B5EF4-FFF2-40B4-BE49-F238E27FC236}">
                    <a16:creationId xmlns:a16="http://schemas.microsoft.com/office/drawing/2014/main" id="{5DDE4675-0096-C5E6-BBBF-4757FDBA5B04}"/>
                  </a:ext>
                </a:extLst>
              </p:cNvPr>
              <p:cNvSpPr/>
              <p:nvPr/>
            </p:nvSpPr>
            <p:spPr>
              <a:xfrm>
                <a:off x="5216272" y="5369895"/>
                <a:ext cx="285445" cy="132799"/>
              </a:xfrm>
              <a:custGeom>
                <a:avLst/>
                <a:gdLst>
                  <a:gd name="connsiteX0" fmla="*/ 194805 w 285445"/>
                  <a:gd name="connsiteY0" fmla="*/ 33115 h 132799"/>
                  <a:gd name="connsiteX1" fmla="*/ 253223 w 285445"/>
                  <a:gd name="connsiteY1" fmla="*/ 3282 h 132799"/>
                  <a:gd name="connsiteX2" fmla="*/ 283200 w 285445"/>
                  <a:gd name="connsiteY2" fmla="*/ 9815 h 132799"/>
                  <a:gd name="connsiteX3" fmla="*/ 272583 w 285445"/>
                  <a:gd name="connsiteY3" fmla="*/ 39312 h 132799"/>
                  <a:gd name="connsiteX4" fmla="*/ 151425 w 285445"/>
                  <a:gd name="connsiteY4" fmla="*/ 104263 h 132799"/>
                  <a:gd name="connsiteX5" fmla="*/ 145035 w 285445"/>
                  <a:gd name="connsiteY5" fmla="*/ 105849 h 132799"/>
                  <a:gd name="connsiteX6" fmla="*/ 32043 w 285445"/>
                  <a:gd name="connsiteY6" fmla="*/ 108923 h 132799"/>
                  <a:gd name="connsiteX7" fmla="*/ 0 w 285445"/>
                  <a:gd name="connsiteY7" fmla="*/ 132800 h 1327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85445" h="132799">
                    <a:moveTo>
                      <a:pt x="194805" y="33115"/>
                    </a:moveTo>
                    <a:lnTo>
                      <a:pt x="253223" y="3282"/>
                    </a:lnTo>
                    <a:cubicBezTo>
                      <a:pt x="264513" y="-2772"/>
                      <a:pt x="277724" y="-369"/>
                      <a:pt x="283200" y="9815"/>
                    </a:cubicBezTo>
                    <a:cubicBezTo>
                      <a:pt x="288629" y="20000"/>
                      <a:pt x="283873" y="33259"/>
                      <a:pt x="272583" y="39312"/>
                    </a:cubicBezTo>
                    <a:lnTo>
                      <a:pt x="151425" y="104263"/>
                    </a:lnTo>
                    <a:lnTo>
                      <a:pt x="145035" y="105849"/>
                    </a:lnTo>
                    <a:lnTo>
                      <a:pt x="32043" y="108923"/>
                    </a:lnTo>
                    <a:cubicBezTo>
                      <a:pt x="32043" y="108923"/>
                      <a:pt x="17487" y="113007"/>
                      <a:pt x="0" y="132800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798" name="Forma livre: Forma 1797">
                <a:extLst>
                  <a:ext uri="{FF2B5EF4-FFF2-40B4-BE49-F238E27FC236}">
                    <a16:creationId xmlns:a16="http://schemas.microsoft.com/office/drawing/2014/main" id="{13C3EE1F-1CA8-62DB-4BC0-7E971CFD0F74}"/>
                  </a:ext>
                </a:extLst>
              </p:cNvPr>
              <p:cNvSpPr/>
              <p:nvPr/>
            </p:nvSpPr>
            <p:spPr>
              <a:xfrm>
                <a:off x="5176062" y="5385987"/>
                <a:ext cx="215510" cy="57328"/>
              </a:xfrm>
              <a:custGeom>
                <a:avLst/>
                <a:gdLst>
                  <a:gd name="connsiteX0" fmla="*/ 0 w 215510"/>
                  <a:gd name="connsiteY0" fmla="*/ 57329 h 57328"/>
                  <a:gd name="connsiteX1" fmla="*/ 51260 w 215510"/>
                  <a:gd name="connsiteY1" fmla="*/ 10153 h 57328"/>
                  <a:gd name="connsiteX2" fmla="*/ 106026 w 215510"/>
                  <a:gd name="connsiteY2" fmla="*/ 2562 h 57328"/>
                  <a:gd name="connsiteX3" fmla="*/ 147149 w 215510"/>
                  <a:gd name="connsiteY3" fmla="*/ 7222 h 57328"/>
                  <a:gd name="connsiteX4" fmla="*/ 191491 w 215510"/>
                  <a:gd name="connsiteY4" fmla="*/ 7222 h 57328"/>
                  <a:gd name="connsiteX5" fmla="*/ 215511 w 215510"/>
                  <a:gd name="connsiteY5" fmla="*/ 28168 h 57328"/>
                  <a:gd name="connsiteX6" fmla="*/ 191491 w 215510"/>
                  <a:gd name="connsiteY6" fmla="*/ 49162 h 57328"/>
                  <a:gd name="connsiteX7" fmla="*/ 130142 w 215510"/>
                  <a:gd name="connsiteY7" fmla="*/ 49162 h 573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15510" h="57328">
                    <a:moveTo>
                      <a:pt x="0" y="57329"/>
                    </a:moveTo>
                    <a:lnTo>
                      <a:pt x="51260" y="10153"/>
                    </a:lnTo>
                    <a:cubicBezTo>
                      <a:pt x="76289" y="-6758"/>
                      <a:pt x="106026" y="2562"/>
                      <a:pt x="106026" y="2562"/>
                    </a:cubicBezTo>
                    <a:cubicBezTo>
                      <a:pt x="120390" y="6357"/>
                      <a:pt x="147149" y="7222"/>
                      <a:pt x="147149" y="7222"/>
                    </a:cubicBezTo>
                    <a:lnTo>
                      <a:pt x="191491" y="7222"/>
                    </a:lnTo>
                    <a:cubicBezTo>
                      <a:pt x="204702" y="7222"/>
                      <a:pt x="215511" y="16638"/>
                      <a:pt x="215511" y="28168"/>
                    </a:cubicBezTo>
                    <a:cubicBezTo>
                      <a:pt x="215511" y="39698"/>
                      <a:pt x="204702" y="49162"/>
                      <a:pt x="191491" y="49162"/>
                    </a:cubicBezTo>
                    <a:lnTo>
                      <a:pt x="130142" y="49162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799" name="Gráfico 15">
              <a:extLst>
                <a:ext uri="{FF2B5EF4-FFF2-40B4-BE49-F238E27FC236}">
                  <a16:creationId xmlns:a16="http://schemas.microsoft.com/office/drawing/2014/main" id="{B813ACF4-200F-C39B-7430-7A34F27738B5}"/>
                </a:ext>
              </a:extLst>
            </p:cNvPr>
            <p:cNvGrpSpPr/>
            <p:nvPr/>
          </p:nvGrpSpPr>
          <p:grpSpPr>
            <a:xfrm>
              <a:off x="5250517" y="5205506"/>
              <a:ext cx="178343" cy="153258"/>
              <a:chOff x="5250517" y="5205506"/>
              <a:chExt cx="178343" cy="153258"/>
            </a:xfrm>
            <a:noFill/>
          </p:grpSpPr>
          <p:sp>
            <p:nvSpPr>
              <p:cNvPr id="1800" name="Forma livre: Forma 1799">
                <a:extLst>
                  <a:ext uri="{FF2B5EF4-FFF2-40B4-BE49-F238E27FC236}">
                    <a16:creationId xmlns:a16="http://schemas.microsoft.com/office/drawing/2014/main" id="{973109AA-884C-390D-D3DC-1BEE817EB390}"/>
                  </a:ext>
                </a:extLst>
              </p:cNvPr>
              <p:cNvSpPr/>
              <p:nvPr/>
            </p:nvSpPr>
            <p:spPr>
              <a:xfrm>
                <a:off x="5277860" y="5233810"/>
                <a:ext cx="11482" cy="30361"/>
              </a:xfrm>
              <a:custGeom>
                <a:avLst/>
                <a:gdLst>
                  <a:gd name="connsiteX0" fmla="*/ 11483 w 11482"/>
                  <a:gd name="connsiteY0" fmla="*/ 0 h 30361"/>
                  <a:gd name="connsiteX1" fmla="*/ 5093 w 11482"/>
                  <a:gd name="connsiteY1" fmla="*/ 3987 h 30361"/>
                  <a:gd name="connsiteX2" fmla="*/ 1 w 11482"/>
                  <a:gd name="connsiteY2" fmla="*/ 16766 h 30361"/>
                  <a:gd name="connsiteX3" fmla="*/ 5718 w 11482"/>
                  <a:gd name="connsiteY3" fmla="*/ 30362 h 303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482" h="30361">
                    <a:moveTo>
                      <a:pt x="11483" y="0"/>
                    </a:moveTo>
                    <a:cubicBezTo>
                      <a:pt x="9129" y="817"/>
                      <a:pt x="6919" y="2162"/>
                      <a:pt x="5093" y="3987"/>
                    </a:cubicBezTo>
                    <a:cubicBezTo>
                      <a:pt x="1778" y="7302"/>
                      <a:pt x="-47" y="11866"/>
                      <a:pt x="1" y="16766"/>
                    </a:cubicBezTo>
                    <a:cubicBezTo>
                      <a:pt x="1" y="21907"/>
                      <a:pt x="2067" y="26711"/>
                      <a:pt x="5718" y="30362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801" name="Forma livre: Forma 1800">
                <a:extLst>
                  <a:ext uri="{FF2B5EF4-FFF2-40B4-BE49-F238E27FC236}">
                    <a16:creationId xmlns:a16="http://schemas.microsoft.com/office/drawing/2014/main" id="{D0928163-ED1A-0750-BB8E-2DA5396B8ED1}"/>
                  </a:ext>
                </a:extLst>
              </p:cNvPr>
              <p:cNvSpPr/>
              <p:nvPr/>
            </p:nvSpPr>
            <p:spPr>
              <a:xfrm>
                <a:off x="5250517" y="5205506"/>
                <a:ext cx="178343" cy="153258"/>
              </a:xfrm>
              <a:custGeom>
                <a:avLst/>
                <a:gdLst>
                  <a:gd name="connsiteX0" fmla="*/ 164644 w 178343"/>
                  <a:gd name="connsiteY0" fmla="*/ 77978 h 153258"/>
                  <a:gd name="connsiteX1" fmla="*/ 165268 w 178343"/>
                  <a:gd name="connsiteY1" fmla="*/ 13075 h 153258"/>
                  <a:gd name="connsiteX2" fmla="*/ 100317 w 178343"/>
                  <a:gd name="connsiteY2" fmla="*/ 13700 h 153258"/>
                  <a:gd name="connsiteX3" fmla="*/ 89124 w 178343"/>
                  <a:gd name="connsiteY3" fmla="*/ 24797 h 153258"/>
                  <a:gd name="connsiteX4" fmla="*/ 78026 w 178343"/>
                  <a:gd name="connsiteY4" fmla="*/ 13700 h 153258"/>
                  <a:gd name="connsiteX5" fmla="*/ 13075 w 178343"/>
                  <a:gd name="connsiteY5" fmla="*/ 13075 h 153258"/>
                  <a:gd name="connsiteX6" fmla="*/ 13700 w 178343"/>
                  <a:gd name="connsiteY6" fmla="*/ 77978 h 153258"/>
                  <a:gd name="connsiteX7" fmla="*/ 89124 w 178343"/>
                  <a:gd name="connsiteY7" fmla="*/ 153258 h 153258"/>
                  <a:gd name="connsiteX8" fmla="*/ 164548 w 178343"/>
                  <a:gd name="connsiteY8" fmla="*/ 77978 h 1532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78343" h="153258">
                    <a:moveTo>
                      <a:pt x="164644" y="77978"/>
                    </a:moveTo>
                    <a:cubicBezTo>
                      <a:pt x="182659" y="59963"/>
                      <a:pt x="182947" y="30706"/>
                      <a:pt x="165268" y="13075"/>
                    </a:cubicBezTo>
                    <a:cubicBezTo>
                      <a:pt x="147590" y="-4604"/>
                      <a:pt x="118381" y="-4315"/>
                      <a:pt x="100317" y="13700"/>
                    </a:cubicBezTo>
                    <a:lnTo>
                      <a:pt x="89124" y="24797"/>
                    </a:lnTo>
                    <a:lnTo>
                      <a:pt x="78026" y="13700"/>
                    </a:lnTo>
                    <a:cubicBezTo>
                      <a:pt x="60011" y="-4315"/>
                      <a:pt x="30754" y="-4604"/>
                      <a:pt x="13075" y="13075"/>
                    </a:cubicBezTo>
                    <a:cubicBezTo>
                      <a:pt x="-4604" y="30754"/>
                      <a:pt x="-4315" y="59963"/>
                      <a:pt x="13700" y="77978"/>
                    </a:cubicBezTo>
                    <a:lnTo>
                      <a:pt x="89124" y="153258"/>
                    </a:lnTo>
                    <a:lnTo>
                      <a:pt x="164548" y="77978"/>
                    </a:lnTo>
                    <a:close/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802" name="Gráfico 15">
            <a:extLst>
              <a:ext uri="{FF2B5EF4-FFF2-40B4-BE49-F238E27FC236}">
                <a16:creationId xmlns:a16="http://schemas.microsoft.com/office/drawing/2014/main" id="{180E6DC2-9427-B72C-5932-28FDA6A565F2}"/>
              </a:ext>
            </a:extLst>
          </p:cNvPr>
          <p:cNvGrpSpPr/>
          <p:nvPr/>
        </p:nvGrpSpPr>
        <p:grpSpPr>
          <a:xfrm>
            <a:off x="5161698" y="3613106"/>
            <a:ext cx="354396" cy="237321"/>
            <a:chOff x="5161698" y="3613106"/>
            <a:chExt cx="354396" cy="237321"/>
          </a:xfrm>
          <a:noFill/>
        </p:grpSpPr>
        <p:sp>
          <p:nvSpPr>
            <p:cNvPr id="1803" name="Forma livre: Forma 1802">
              <a:extLst>
                <a:ext uri="{FF2B5EF4-FFF2-40B4-BE49-F238E27FC236}">
                  <a16:creationId xmlns:a16="http://schemas.microsoft.com/office/drawing/2014/main" id="{B9E9AEC2-D75D-FDA8-0449-C277B3B594C2}"/>
                </a:ext>
              </a:extLst>
            </p:cNvPr>
            <p:cNvSpPr/>
            <p:nvPr/>
          </p:nvSpPr>
          <p:spPr>
            <a:xfrm>
              <a:off x="5161698" y="3638807"/>
              <a:ext cx="222476" cy="211619"/>
            </a:xfrm>
            <a:custGeom>
              <a:avLst/>
              <a:gdLst>
                <a:gd name="connsiteX0" fmla="*/ 111262 w 222476"/>
                <a:gd name="connsiteY0" fmla="*/ 0 h 211619"/>
                <a:gd name="connsiteX1" fmla="*/ 143594 w 222476"/>
                <a:gd name="connsiteY1" fmla="*/ 72494 h 211619"/>
                <a:gd name="connsiteX2" fmla="*/ 222477 w 222476"/>
                <a:gd name="connsiteY2" fmla="*/ 80853 h 211619"/>
                <a:gd name="connsiteX3" fmla="*/ 163579 w 222476"/>
                <a:gd name="connsiteY3" fmla="*/ 133986 h 211619"/>
                <a:gd name="connsiteX4" fmla="*/ 180009 w 222476"/>
                <a:gd name="connsiteY4" fmla="*/ 211620 h 211619"/>
                <a:gd name="connsiteX5" fmla="*/ 111262 w 222476"/>
                <a:gd name="connsiteY5" fmla="*/ 171986 h 211619"/>
                <a:gd name="connsiteX6" fmla="*/ 42516 w 222476"/>
                <a:gd name="connsiteY6" fmla="*/ 211620 h 211619"/>
                <a:gd name="connsiteX7" fmla="*/ 58946 w 222476"/>
                <a:gd name="connsiteY7" fmla="*/ 133986 h 211619"/>
                <a:gd name="connsiteX8" fmla="*/ 0 w 222476"/>
                <a:gd name="connsiteY8" fmla="*/ 80853 h 211619"/>
                <a:gd name="connsiteX9" fmla="*/ 78931 w 222476"/>
                <a:gd name="connsiteY9" fmla="*/ 72494 h 211619"/>
                <a:gd name="connsiteX10" fmla="*/ 111262 w 222476"/>
                <a:gd name="connsiteY10" fmla="*/ 0 h 2116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22476" h="211619">
                  <a:moveTo>
                    <a:pt x="111262" y="0"/>
                  </a:moveTo>
                  <a:lnTo>
                    <a:pt x="143594" y="72494"/>
                  </a:lnTo>
                  <a:lnTo>
                    <a:pt x="222477" y="80853"/>
                  </a:lnTo>
                  <a:lnTo>
                    <a:pt x="163579" y="133986"/>
                  </a:lnTo>
                  <a:lnTo>
                    <a:pt x="180009" y="211620"/>
                  </a:lnTo>
                  <a:lnTo>
                    <a:pt x="111262" y="171986"/>
                  </a:lnTo>
                  <a:lnTo>
                    <a:pt x="42516" y="211620"/>
                  </a:lnTo>
                  <a:lnTo>
                    <a:pt x="58946" y="133986"/>
                  </a:lnTo>
                  <a:lnTo>
                    <a:pt x="0" y="80853"/>
                  </a:lnTo>
                  <a:lnTo>
                    <a:pt x="78931" y="72494"/>
                  </a:lnTo>
                  <a:lnTo>
                    <a:pt x="111262" y="0"/>
                  </a:ln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04" name="Forma livre: Forma 1803">
              <a:extLst>
                <a:ext uri="{FF2B5EF4-FFF2-40B4-BE49-F238E27FC236}">
                  <a16:creationId xmlns:a16="http://schemas.microsoft.com/office/drawing/2014/main" id="{A2613D5A-3713-BD68-3D7A-C9DF311B931E}"/>
                </a:ext>
              </a:extLst>
            </p:cNvPr>
            <p:cNvSpPr/>
            <p:nvPr/>
          </p:nvSpPr>
          <p:spPr>
            <a:xfrm>
              <a:off x="5324172" y="3627518"/>
              <a:ext cx="126683" cy="186734"/>
            </a:xfrm>
            <a:custGeom>
              <a:avLst/>
              <a:gdLst>
                <a:gd name="connsiteX0" fmla="*/ 0 w 126683"/>
                <a:gd name="connsiteY0" fmla="*/ 63990 h 186734"/>
                <a:gd name="connsiteX1" fmla="*/ 28536 w 126683"/>
                <a:gd name="connsiteY1" fmla="*/ 0 h 186734"/>
                <a:gd name="connsiteX2" fmla="*/ 57024 w 126683"/>
                <a:gd name="connsiteY2" fmla="*/ 63990 h 186734"/>
                <a:gd name="connsiteX3" fmla="*/ 126684 w 126683"/>
                <a:gd name="connsiteY3" fmla="*/ 71341 h 186734"/>
                <a:gd name="connsiteX4" fmla="*/ 74655 w 126683"/>
                <a:gd name="connsiteY4" fmla="*/ 118228 h 186734"/>
                <a:gd name="connsiteX5" fmla="*/ 89212 w 126683"/>
                <a:gd name="connsiteY5" fmla="*/ 186735 h 186734"/>
                <a:gd name="connsiteX6" fmla="*/ 28536 w 126683"/>
                <a:gd name="connsiteY6" fmla="*/ 151761 h 1867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26683" h="186734">
                  <a:moveTo>
                    <a:pt x="0" y="63990"/>
                  </a:moveTo>
                  <a:lnTo>
                    <a:pt x="28536" y="0"/>
                  </a:lnTo>
                  <a:lnTo>
                    <a:pt x="57024" y="63990"/>
                  </a:lnTo>
                  <a:lnTo>
                    <a:pt x="126684" y="71341"/>
                  </a:lnTo>
                  <a:lnTo>
                    <a:pt x="74655" y="118228"/>
                  </a:lnTo>
                  <a:lnTo>
                    <a:pt x="89212" y="186735"/>
                  </a:lnTo>
                  <a:lnTo>
                    <a:pt x="28536" y="151761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05" name="Forma livre: Forma 1804">
              <a:extLst>
                <a:ext uri="{FF2B5EF4-FFF2-40B4-BE49-F238E27FC236}">
                  <a16:creationId xmlns:a16="http://schemas.microsoft.com/office/drawing/2014/main" id="{04A30AB7-EB08-145A-587C-A280F1F3D110}"/>
                </a:ext>
              </a:extLst>
            </p:cNvPr>
            <p:cNvSpPr/>
            <p:nvPr/>
          </p:nvSpPr>
          <p:spPr>
            <a:xfrm>
              <a:off x="5399164" y="3613106"/>
              <a:ext cx="116931" cy="172370"/>
            </a:xfrm>
            <a:custGeom>
              <a:avLst/>
              <a:gdLst>
                <a:gd name="connsiteX0" fmla="*/ 0 w 116931"/>
                <a:gd name="connsiteY0" fmla="*/ 59042 h 172370"/>
                <a:gd name="connsiteX1" fmla="*/ 26278 w 116931"/>
                <a:gd name="connsiteY1" fmla="*/ 0 h 172370"/>
                <a:gd name="connsiteX2" fmla="*/ 52653 w 116931"/>
                <a:gd name="connsiteY2" fmla="*/ 59042 h 172370"/>
                <a:gd name="connsiteX3" fmla="*/ 116931 w 116931"/>
                <a:gd name="connsiteY3" fmla="*/ 65816 h 172370"/>
                <a:gd name="connsiteX4" fmla="*/ 68939 w 116931"/>
                <a:gd name="connsiteY4" fmla="*/ 109101 h 172370"/>
                <a:gd name="connsiteX5" fmla="*/ 82342 w 116931"/>
                <a:gd name="connsiteY5" fmla="*/ 172370 h 172370"/>
                <a:gd name="connsiteX6" fmla="*/ 26278 w 116931"/>
                <a:gd name="connsiteY6" fmla="*/ 140039 h 1723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16931" h="172370">
                  <a:moveTo>
                    <a:pt x="0" y="59042"/>
                  </a:moveTo>
                  <a:lnTo>
                    <a:pt x="26278" y="0"/>
                  </a:lnTo>
                  <a:lnTo>
                    <a:pt x="52653" y="59042"/>
                  </a:lnTo>
                  <a:lnTo>
                    <a:pt x="116931" y="65816"/>
                  </a:lnTo>
                  <a:lnTo>
                    <a:pt x="68939" y="109101"/>
                  </a:lnTo>
                  <a:lnTo>
                    <a:pt x="82342" y="172370"/>
                  </a:lnTo>
                  <a:lnTo>
                    <a:pt x="26278" y="140039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806" name="Gráfico 15">
            <a:extLst>
              <a:ext uri="{FF2B5EF4-FFF2-40B4-BE49-F238E27FC236}">
                <a16:creationId xmlns:a16="http://schemas.microsoft.com/office/drawing/2014/main" id="{E4AE3935-4CED-1F8D-9307-A10FE4485ABB}"/>
              </a:ext>
            </a:extLst>
          </p:cNvPr>
          <p:cNvGrpSpPr/>
          <p:nvPr/>
        </p:nvGrpSpPr>
        <p:grpSpPr>
          <a:xfrm>
            <a:off x="5232654" y="5744676"/>
            <a:ext cx="212532" cy="300399"/>
            <a:chOff x="5232654" y="5744676"/>
            <a:chExt cx="212532" cy="300399"/>
          </a:xfrm>
          <a:noFill/>
        </p:grpSpPr>
        <p:sp>
          <p:nvSpPr>
            <p:cNvPr id="1807" name="Forma livre: Forma 1806">
              <a:extLst>
                <a:ext uri="{FF2B5EF4-FFF2-40B4-BE49-F238E27FC236}">
                  <a16:creationId xmlns:a16="http://schemas.microsoft.com/office/drawing/2014/main" id="{0CFD3423-14B8-CE2D-4A6B-74465F42C037}"/>
                </a:ext>
              </a:extLst>
            </p:cNvPr>
            <p:cNvSpPr/>
            <p:nvPr/>
          </p:nvSpPr>
          <p:spPr>
            <a:xfrm>
              <a:off x="5288237" y="5796464"/>
              <a:ext cx="156949" cy="157814"/>
            </a:xfrm>
            <a:custGeom>
              <a:avLst/>
              <a:gdLst>
                <a:gd name="connsiteX0" fmla="*/ 0 w 156949"/>
                <a:gd name="connsiteY0" fmla="*/ 157814 h 157814"/>
                <a:gd name="connsiteX1" fmla="*/ 0 w 156949"/>
                <a:gd name="connsiteY1" fmla="*/ 20706 h 157814"/>
                <a:gd name="connsiteX2" fmla="*/ 20706 w 156949"/>
                <a:gd name="connsiteY2" fmla="*/ 0 h 157814"/>
                <a:gd name="connsiteX3" fmla="*/ 136244 w 156949"/>
                <a:gd name="connsiteY3" fmla="*/ 0 h 157814"/>
                <a:gd name="connsiteX4" fmla="*/ 156949 w 156949"/>
                <a:gd name="connsiteY4" fmla="*/ 20706 h 157814"/>
                <a:gd name="connsiteX5" fmla="*/ 156949 w 156949"/>
                <a:gd name="connsiteY5" fmla="*/ 108620 h 157814"/>
                <a:gd name="connsiteX6" fmla="*/ 136244 w 156949"/>
                <a:gd name="connsiteY6" fmla="*/ 129326 h 157814"/>
                <a:gd name="connsiteX7" fmla="*/ 31034 w 156949"/>
                <a:gd name="connsiteY7" fmla="*/ 129326 h 157814"/>
                <a:gd name="connsiteX8" fmla="*/ 0 w 156949"/>
                <a:gd name="connsiteY8" fmla="*/ 157766 h 1578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56949" h="157814">
                  <a:moveTo>
                    <a:pt x="0" y="157814"/>
                  </a:moveTo>
                  <a:lnTo>
                    <a:pt x="0" y="20706"/>
                  </a:lnTo>
                  <a:cubicBezTo>
                    <a:pt x="0" y="9320"/>
                    <a:pt x="9320" y="0"/>
                    <a:pt x="20706" y="0"/>
                  </a:cubicBezTo>
                  <a:lnTo>
                    <a:pt x="136244" y="0"/>
                  </a:lnTo>
                  <a:cubicBezTo>
                    <a:pt x="147629" y="0"/>
                    <a:pt x="156949" y="9320"/>
                    <a:pt x="156949" y="20706"/>
                  </a:cubicBezTo>
                  <a:lnTo>
                    <a:pt x="156949" y="108620"/>
                  </a:lnTo>
                  <a:cubicBezTo>
                    <a:pt x="156949" y="120006"/>
                    <a:pt x="147629" y="129326"/>
                    <a:pt x="136244" y="129326"/>
                  </a:cubicBezTo>
                  <a:lnTo>
                    <a:pt x="31034" y="129326"/>
                  </a:lnTo>
                  <a:lnTo>
                    <a:pt x="0" y="157766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08" name="Forma livre: Forma 1807">
              <a:extLst>
                <a:ext uri="{FF2B5EF4-FFF2-40B4-BE49-F238E27FC236}">
                  <a16:creationId xmlns:a16="http://schemas.microsoft.com/office/drawing/2014/main" id="{175E1A7A-4CE7-DF60-0118-07AFBBB1B0A2}"/>
                </a:ext>
              </a:extLst>
            </p:cNvPr>
            <p:cNvSpPr/>
            <p:nvPr/>
          </p:nvSpPr>
          <p:spPr>
            <a:xfrm>
              <a:off x="5324412" y="5820148"/>
              <a:ext cx="84599" cy="80468"/>
            </a:xfrm>
            <a:custGeom>
              <a:avLst/>
              <a:gdLst>
                <a:gd name="connsiteX0" fmla="*/ 42276 w 84599"/>
                <a:gd name="connsiteY0" fmla="*/ 0 h 80468"/>
                <a:gd name="connsiteX1" fmla="*/ 54574 w 84599"/>
                <a:gd name="connsiteY1" fmla="*/ 27527 h 80468"/>
                <a:gd name="connsiteX2" fmla="*/ 84600 w 84599"/>
                <a:gd name="connsiteY2" fmla="*/ 30698 h 80468"/>
                <a:gd name="connsiteX3" fmla="*/ 62165 w 84599"/>
                <a:gd name="connsiteY3" fmla="*/ 50923 h 80468"/>
                <a:gd name="connsiteX4" fmla="*/ 68410 w 84599"/>
                <a:gd name="connsiteY4" fmla="*/ 80468 h 80468"/>
                <a:gd name="connsiteX5" fmla="*/ 42276 w 84599"/>
                <a:gd name="connsiteY5" fmla="*/ 65384 h 80468"/>
                <a:gd name="connsiteX6" fmla="*/ 16142 w 84599"/>
                <a:gd name="connsiteY6" fmla="*/ 80468 h 80468"/>
                <a:gd name="connsiteX7" fmla="*/ 22387 w 84599"/>
                <a:gd name="connsiteY7" fmla="*/ 50923 h 80468"/>
                <a:gd name="connsiteX8" fmla="*/ 0 w 84599"/>
                <a:gd name="connsiteY8" fmla="*/ 30698 h 80468"/>
                <a:gd name="connsiteX9" fmla="*/ 29977 w 84599"/>
                <a:gd name="connsiteY9" fmla="*/ 27527 h 80468"/>
                <a:gd name="connsiteX10" fmla="*/ 42276 w 84599"/>
                <a:gd name="connsiteY10" fmla="*/ 0 h 804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4599" h="80468">
                  <a:moveTo>
                    <a:pt x="42276" y="0"/>
                  </a:moveTo>
                  <a:lnTo>
                    <a:pt x="54574" y="27527"/>
                  </a:lnTo>
                  <a:lnTo>
                    <a:pt x="84600" y="30698"/>
                  </a:lnTo>
                  <a:lnTo>
                    <a:pt x="62165" y="50923"/>
                  </a:lnTo>
                  <a:lnTo>
                    <a:pt x="68410" y="80468"/>
                  </a:lnTo>
                  <a:lnTo>
                    <a:pt x="42276" y="65384"/>
                  </a:lnTo>
                  <a:lnTo>
                    <a:pt x="16142" y="80468"/>
                  </a:lnTo>
                  <a:lnTo>
                    <a:pt x="22387" y="50923"/>
                  </a:lnTo>
                  <a:lnTo>
                    <a:pt x="0" y="30698"/>
                  </a:lnTo>
                  <a:lnTo>
                    <a:pt x="29977" y="27527"/>
                  </a:lnTo>
                  <a:lnTo>
                    <a:pt x="42276" y="0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809" name="Gráfico 15">
              <a:extLst>
                <a:ext uri="{FF2B5EF4-FFF2-40B4-BE49-F238E27FC236}">
                  <a16:creationId xmlns:a16="http://schemas.microsoft.com/office/drawing/2014/main" id="{EBF73229-0C00-4D99-B3A9-E2AA57E1255F}"/>
                </a:ext>
              </a:extLst>
            </p:cNvPr>
            <p:cNvGrpSpPr/>
            <p:nvPr/>
          </p:nvGrpSpPr>
          <p:grpSpPr>
            <a:xfrm>
              <a:off x="5232654" y="5744676"/>
              <a:ext cx="166413" cy="300399"/>
              <a:chOff x="5232654" y="5744676"/>
              <a:chExt cx="166413" cy="300399"/>
            </a:xfrm>
            <a:noFill/>
          </p:grpSpPr>
          <p:grpSp>
            <p:nvGrpSpPr>
              <p:cNvPr id="1810" name="Gráfico 15">
                <a:extLst>
                  <a:ext uri="{FF2B5EF4-FFF2-40B4-BE49-F238E27FC236}">
                    <a16:creationId xmlns:a16="http://schemas.microsoft.com/office/drawing/2014/main" id="{3BC2919B-E111-5966-31B1-85FA7108F9B8}"/>
                  </a:ext>
                </a:extLst>
              </p:cNvPr>
              <p:cNvGrpSpPr/>
              <p:nvPr/>
            </p:nvGrpSpPr>
            <p:grpSpPr>
              <a:xfrm>
                <a:off x="5232654" y="5744676"/>
                <a:ext cx="166365" cy="300399"/>
                <a:chOff x="5232654" y="5744676"/>
                <a:chExt cx="166365" cy="300399"/>
              </a:xfrm>
              <a:noFill/>
            </p:grpSpPr>
            <p:sp>
              <p:nvSpPr>
                <p:cNvPr id="1811" name="Forma livre: Forma 1810">
                  <a:extLst>
                    <a:ext uri="{FF2B5EF4-FFF2-40B4-BE49-F238E27FC236}">
                      <a16:creationId xmlns:a16="http://schemas.microsoft.com/office/drawing/2014/main" id="{8D4F6968-88EF-1CB8-F7B1-8F81E5D4759B}"/>
                    </a:ext>
                  </a:extLst>
                </p:cNvPr>
                <p:cNvSpPr/>
                <p:nvPr/>
              </p:nvSpPr>
              <p:spPr>
                <a:xfrm>
                  <a:off x="5232702" y="5744676"/>
                  <a:ext cx="166317" cy="300399"/>
                </a:xfrm>
                <a:custGeom>
                  <a:avLst/>
                  <a:gdLst>
                    <a:gd name="connsiteX0" fmla="*/ 166317 w 166317"/>
                    <a:gd name="connsiteY0" fmla="*/ 201819 h 300399"/>
                    <a:gd name="connsiteX1" fmla="*/ 166317 w 166317"/>
                    <a:gd name="connsiteY1" fmla="*/ 286804 h 300399"/>
                    <a:gd name="connsiteX2" fmla="*/ 152722 w 166317"/>
                    <a:gd name="connsiteY2" fmla="*/ 300399 h 300399"/>
                    <a:gd name="connsiteX3" fmla="*/ 13596 w 166317"/>
                    <a:gd name="connsiteY3" fmla="*/ 300399 h 300399"/>
                    <a:gd name="connsiteX4" fmla="*/ 0 w 166317"/>
                    <a:gd name="connsiteY4" fmla="*/ 286804 h 300399"/>
                    <a:gd name="connsiteX5" fmla="*/ 0 w 166317"/>
                    <a:gd name="connsiteY5" fmla="*/ 13596 h 300399"/>
                    <a:gd name="connsiteX6" fmla="*/ 13596 w 166317"/>
                    <a:gd name="connsiteY6" fmla="*/ 0 h 300399"/>
                    <a:gd name="connsiteX7" fmla="*/ 152722 w 166317"/>
                    <a:gd name="connsiteY7" fmla="*/ 0 h 300399"/>
                    <a:gd name="connsiteX8" fmla="*/ 166317 w 166317"/>
                    <a:gd name="connsiteY8" fmla="*/ 13596 h 300399"/>
                    <a:gd name="connsiteX9" fmla="*/ 166317 w 166317"/>
                    <a:gd name="connsiteY9" fmla="*/ 30746 h 30039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166317" h="300399">
                      <a:moveTo>
                        <a:pt x="166317" y="201819"/>
                      </a:moveTo>
                      <a:lnTo>
                        <a:pt x="166317" y="286804"/>
                      </a:lnTo>
                      <a:cubicBezTo>
                        <a:pt x="166317" y="294298"/>
                        <a:pt x="160168" y="300399"/>
                        <a:pt x="152722" y="300399"/>
                      </a:cubicBezTo>
                      <a:lnTo>
                        <a:pt x="13596" y="300399"/>
                      </a:lnTo>
                      <a:cubicBezTo>
                        <a:pt x="6101" y="300399"/>
                        <a:pt x="0" y="294298"/>
                        <a:pt x="0" y="286804"/>
                      </a:cubicBezTo>
                      <a:lnTo>
                        <a:pt x="0" y="13596"/>
                      </a:lnTo>
                      <a:cubicBezTo>
                        <a:pt x="0" y="6101"/>
                        <a:pt x="6101" y="0"/>
                        <a:pt x="13596" y="0"/>
                      </a:cubicBezTo>
                      <a:lnTo>
                        <a:pt x="152722" y="0"/>
                      </a:lnTo>
                      <a:cubicBezTo>
                        <a:pt x="160216" y="0"/>
                        <a:pt x="166317" y="6101"/>
                        <a:pt x="166317" y="13596"/>
                      </a:cubicBezTo>
                      <a:lnTo>
                        <a:pt x="166317" y="30746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812" name="Forma livre: Forma 1811">
                  <a:extLst>
                    <a:ext uri="{FF2B5EF4-FFF2-40B4-BE49-F238E27FC236}">
                      <a16:creationId xmlns:a16="http://schemas.microsoft.com/office/drawing/2014/main" id="{FF620364-2AE2-A7C4-7C02-0AB1194A9CD5}"/>
                    </a:ext>
                  </a:extLst>
                </p:cNvPr>
                <p:cNvSpPr/>
                <p:nvPr/>
              </p:nvSpPr>
              <p:spPr>
                <a:xfrm>
                  <a:off x="5232654" y="5986177"/>
                  <a:ext cx="166365" cy="4804"/>
                </a:xfrm>
                <a:custGeom>
                  <a:avLst/>
                  <a:gdLst>
                    <a:gd name="connsiteX0" fmla="*/ 0 w 166365"/>
                    <a:gd name="connsiteY0" fmla="*/ 0 h 4804"/>
                    <a:gd name="connsiteX1" fmla="*/ 166365 w 166365"/>
                    <a:gd name="connsiteY1" fmla="*/ 0 h 480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66365" h="4804">
                      <a:moveTo>
                        <a:pt x="0" y="0"/>
                      </a:moveTo>
                      <a:lnTo>
                        <a:pt x="166365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813" name="Forma livre: Forma 1812">
                  <a:extLst>
                    <a:ext uri="{FF2B5EF4-FFF2-40B4-BE49-F238E27FC236}">
                      <a16:creationId xmlns:a16="http://schemas.microsoft.com/office/drawing/2014/main" id="{322AF5C0-5B16-3BB7-D3C0-3E1CB0B212F8}"/>
                    </a:ext>
                  </a:extLst>
                </p:cNvPr>
                <p:cNvSpPr/>
                <p:nvPr/>
              </p:nvSpPr>
              <p:spPr>
                <a:xfrm>
                  <a:off x="5304571" y="6015001"/>
                  <a:ext cx="22579" cy="4804"/>
                </a:xfrm>
                <a:custGeom>
                  <a:avLst/>
                  <a:gdLst>
                    <a:gd name="connsiteX0" fmla="*/ 0 w 22579"/>
                    <a:gd name="connsiteY0" fmla="*/ 0 h 4804"/>
                    <a:gd name="connsiteX1" fmla="*/ 22579 w 22579"/>
                    <a:gd name="connsiteY1" fmla="*/ 0 h 480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2579" h="4804">
                      <a:moveTo>
                        <a:pt x="0" y="0"/>
                      </a:moveTo>
                      <a:lnTo>
                        <a:pt x="22579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1814" name="Forma livre: Forma 1813">
                <a:extLst>
                  <a:ext uri="{FF2B5EF4-FFF2-40B4-BE49-F238E27FC236}">
                    <a16:creationId xmlns:a16="http://schemas.microsoft.com/office/drawing/2014/main" id="{E2EBE4A3-1B84-2031-4EE4-4F89946A1391}"/>
                  </a:ext>
                </a:extLst>
              </p:cNvPr>
              <p:cNvSpPr/>
              <p:nvPr/>
            </p:nvSpPr>
            <p:spPr>
              <a:xfrm>
                <a:off x="5232654" y="5986177"/>
                <a:ext cx="166413" cy="4804"/>
              </a:xfrm>
              <a:custGeom>
                <a:avLst/>
                <a:gdLst>
                  <a:gd name="connsiteX0" fmla="*/ 0 w 166413"/>
                  <a:gd name="connsiteY0" fmla="*/ 0 h 4804"/>
                  <a:gd name="connsiteX1" fmla="*/ 166413 w 166413"/>
                  <a:gd name="connsiteY1" fmla="*/ 0 h 48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66413" h="4804">
                    <a:moveTo>
                      <a:pt x="0" y="0"/>
                    </a:moveTo>
                    <a:lnTo>
                      <a:pt x="166413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816" name="Gráfico 15">
            <a:extLst>
              <a:ext uri="{FF2B5EF4-FFF2-40B4-BE49-F238E27FC236}">
                <a16:creationId xmlns:a16="http://schemas.microsoft.com/office/drawing/2014/main" id="{BB65A85D-37FC-D201-BAE9-14960AA956EF}"/>
              </a:ext>
            </a:extLst>
          </p:cNvPr>
          <p:cNvGrpSpPr/>
          <p:nvPr/>
        </p:nvGrpSpPr>
        <p:grpSpPr>
          <a:xfrm>
            <a:off x="4582566" y="4147743"/>
            <a:ext cx="263551" cy="249580"/>
            <a:chOff x="4582566" y="4147743"/>
            <a:chExt cx="263551" cy="249580"/>
          </a:xfrm>
          <a:noFill/>
        </p:grpSpPr>
        <p:sp>
          <p:nvSpPr>
            <p:cNvPr id="1817" name="Forma livre: Forma 1816">
              <a:extLst>
                <a:ext uri="{FF2B5EF4-FFF2-40B4-BE49-F238E27FC236}">
                  <a16:creationId xmlns:a16="http://schemas.microsoft.com/office/drawing/2014/main" id="{367375B4-0BFE-8C1D-4552-4828CCFE1EF3}"/>
                </a:ext>
              </a:extLst>
            </p:cNvPr>
            <p:cNvSpPr/>
            <p:nvPr/>
          </p:nvSpPr>
          <p:spPr>
            <a:xfrm>
              <a:off x="4652850" y="4371093"/>
              <a:ext cx="171265" cy="15469"/>
            </a:xfrm>
            <a:custGeom>
              <a:avLst/>
              <a:gdLst>
                <a:gd name="connsiteX0" fmla="*/ 171265 w 171265"/>
                <a:gd name="connsiteY0" fmla="*/ 0 h 15469"/>
                <a:gd name="connsiteX1" fmla="*/ 148302 w 171265"/>
                <a:gd name="connsiteY1" fmla="*/ 15469 h 15469"/>
                <a:gd name="connsiteX2" fmla="*/ 0 w 171265"/>
                <a:gd name="connsiteY2" fmla="*/ 15469 h 154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71265" h="15469">
                  <a:moveTo>
                    <a:pt x="171265" y="0"/>
                  </a:moveTo>
                  <a:cubicBezTo>
                    <a:pt x="168575" y="5957"/>
                    <a:pt x="162186" y="15469"/>
                    <a:pt x="148302" y="15469"/>
                  </a:cubicBezTo>
                  <a:lnTo>
                    <a:pt x="0" y="15469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18" name="Forma livre: Forma 1817">
              <a:extLst>
                <a:ext uri="{FF2B5EF4-FFF2-40B4-BE49-F238E27FC236}">
                  <a16:creationId xmlns:a16="http://schemas.microsoft.com/office/drawing/2014/main" id="{7A987952-804D-0087-3F17-771E37A0FDC0}"/>
                </a:ext>
              </a:extLst>
            </p:cNvPr>
            <p:cNvSpPr/>
            <p:nvPr/>
          </p:nvSpPr>
          <p:spPr>
            <a:xfrm>
              <a:off x="4654531" y="4147743"/>
              <a:ext cx="190241" cy="100845"/>
            </a:xfrm>
            <a:custGeom>
              <a:avLst/>
              <a:gdLst>
                <a:gd name="connsiteX0" fmla="*/ 0 w 190241"/>
                <a:gd name="connsiteY0" fmla="*/ 100846 h 100845"/>
                <a:gd name="connsiteX1" fmla="*/ 67065 w 190241"/>
                <a:gd name="connsiteY1" fmla="*/ 15573 h 100845"/>
                <a:gd name="connsiteX2" fmla="*/ 85465 w 190241"/>
                <a:gd name="connsiteY2" fmla="*/ 8 h 100845"/>
                <a:gd name="connsiteX3" fmla="*/ 106362 w 190241"/>
                <a:gd name="connsiteY3" fmla="*/ 19465 h 100845"/>
                <a:gd name="connsiteX4" fmla="*/ 97763 w 190241"/>
                <a:gd name="connsiteY4" fmla="*/ 87442 h 100845"/>
                <a:gd name="connsiteX5" fmla="*/ 178423 w 190241"/>
                <a:gd name="connsiteY5" fmla="*/ 87442 h 100845"/>
                <a:gd name="connsiteX6" fmla="*/ 190242 w 190241"/>
                <a:gd name="connsiteY6" fmla="*/ 96618 h 1008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90241" h="100845">
                  <a:moveTo>
                    <a:pt x="0" y="100846"/>
                  </a:moveTo>
                  <a:cubicBezTo>
                    <a:pt x="14172" y="96618"/>
                    <a:pt x="67065" y="76873"/>
                    <a:pt x="67065" y="15573"/>
                  </a:cubicBezTo>
                  <a:cubicBezTo>
                    <a:pt x="67065" y="15573"/>
                    <a:pt x="68314" y="8"/>
                    <a:pt x="85465" y="8"/>
                  </a:cubicBezTo>
                  <a:cubicBezTo>
                    <a:pt x="85465" y="8"/>
                    <a:pt x="104729" y="-1001"/>
                    <a:pt x="106362" y="19465"/>
                  </a:cubicBezTo>
                  <a:cubicBezTo>
                    <a:pt x="106362" y="19465"/>
                    <a:pt x="111214" y="60540"/>
                    <a:pt x="97763" y="87442"/>
                  </a:cubicBezTo>
                  <a:lnTo>
                    <a:pt x="178423" y="87442"/>
                  </a:lnTo>
                  <a:cubicBezTo>
                    <a:pt x="178423" y="87442"/>
                    <a:pt x="186350" y="86145"/>
                    <a:pt x="190242" y="96618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19" name="Forma livre: Forma 1818">
              <a:extLst>
                <a:ext uri="{FF2B5EF4-FFF2-40B4-BE49-F238E27FC236}">
                  <a16:creationId xmlns:a16="http://schemas.microsoft.com/office/drawing/2014/main" id="{86672E36-F49C-BFDB-A8D7-B96DF0571D3E}"/>
                </a:ext>
              </a:extLst>
            </p:cNvPr>
            <p:cNvSpPr/>
            <p:nvPr/>
          </p:nvSpPr>
          <p:spPr>
            <a:xfrm>
              <a:off x="4582566" y="4244169"/>
              <a:ext cx="44101" cy="153154"/>
            </a:xfrm>
            <a:custGeom>
              <a:avLst/>
              <a:gdLst>
                <a:gd name="connsiteX0" fmla="*/ 3891 w 44101"/>
                <a:gd name="connsiteY0" fmla="*/ 0 h 153154"/>
                <a:gd name="connsiteX1" fmla="*/ 44101 w 44101"/>
                <a:gd name="connsiteY1" fmla="*/ 0 h 153154"/>
                <a:gd name="connsiteX2" fmla="*/ 44101 w 44101"/>
                <a:gd name="connsiteY2" fmla="*/ 153154 h 153154"/>
                <a:gd name="connsiteX3" fmla="*/ 0 w 44101"/>
                <a:gd name="connsiteY3" fmla="*/ 153154 h 1531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4101" h="153154">
                  <a:moveTo>
                    <a:pt x="3891" y="0"/>
                  </a:moveTo>
                  <a:lnTo>
                    <a:pt x="44101" y="0"/>
                  </a:lnTo>
                  <a:lnTo>
                    <a:pt x="44101" y="153154"/>
                  </a:lnTo>
                  <a:lnTo>
                    <a:pt x="0" y="153154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820" name="Gráfico 15">
              <a:extLst>
                <a:ext uri="{FF2B5EF4-FFF2-40B4-BE49-F238E27FC236}">
                  <a16:creationId xmlns:a16="http://schemas.microsoft.com/office/drawing/2014/main" id="{24DC9CBB-D52B-3A3D-0729-30B72509B955}"/>
                </a:ext>
              </a:extLst>
            </p:cNvPr>
            <p:cNvGrpSpPr/>
            <p:nvPr/>
          </p:nvGrpSpPr>
          <p:grpSpPr>
            <a:xfrm>
              <a:off x="4818158" y="4257909"/>
              <a:ext cx="27959" cy="16865"/>
              <a:chOff x="4818158" y="4257909"/>
              <a:chExt cx="27959" cy="16865"/>
            </a:xfrm>
            <a:noFill/>
          </p:grpSpPr>
          <p:sp>
            <p:nvSpPr>
              <p:cNvPr id="1821" name="Forma livre: Forma 1820">
                <a:extLst>
                  <a:ext uri="{FF2B5EF4-FFF2-40B4-BE49-F238E27FC236}">
                    <a16:creationId xmlns:a16="http://schemas.microsoft.com/office/drawing/2014/main" id="{D98AEF61-3396-3B09-C032-34EB4FAB74EE}"/>
                  </a:ext>
                </a:extLst>
              </p:cNvPr>
              <p:cNvSpPr/>
              <p:nvPr/>
            </p:nvSpPr>
            <p:spPr>
              <a:xfrm>
                <a:off x="4818158" y="4274771"/>
                <a:ext cx="7398" cy="4804"/>
              </a:xfrm>
              <a:custGeom>
                <a:avLst/>
                <a:gdLst>
                  <a:gd name="connsiteX0" fmla="*/ 0 w 7398"/>
                  <a:gd name="connsiteY0" fmla="*/ 0 h 4804"/>
                  <a:gd name="connsiteX1" fmla="*/ 7398 w 7398"/>
                  <a:gd name="connsiteY1" fmla="*/ 0 h 48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7398" h="4804">
                    <a:moveTo>
                      <a:pt x="0" y="0"/>
                    </a:moveTo>
                    <a:lnTo>
                      <a:pt x="7398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822" name="Forma livre: Forma 1821">
                <a:extLst>
                  <a:ext uri="{FF2B5EF4-FFF2-40B4-BE49-F238E27FC236}">
                    <a16:creationId xmlns:a16="http://schemas.microsoft.com/office/drawing/2014/main" id="{968625EC-8206-C98C-CC18-3EE5011621B2}"/>
                  </a:ext>
                </a:extLst>
              </p:cNvPr>
              <p:cNvSpPr/>
              <p:nvPr/>
            </p:nvSpPr>
            <p:spPr>
              <a:xfrm>
                <a:off x="4824692" y="4257909"/>
                <a:ext cx="21426" cy="16865"/>
              </a:xfrm>
              <a:custGeom>
                <a:avLst/>
                <a:gdLst>
                  <a:gd name="connsiteX0" fmla="*/ 21426 w 21426"/>
                  <a:gd name="connsiteY0" fmla="*/ 0 h 16865"/>
                  <a:gd name="connsiteX1" fmla="*/ 0 w 21426"/>
                  <a:gd name="connsiteY1" fmla="*/ 16862 h 168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1426" h="16865">
                    <a:moveTo>
                      <a:pt x="21426" y="0"/>
                    </a:moveTo>
                    <a:cubicBezTo>
                      <a:pt x="19985" y="7879"/>
                      <a:pt x="14172" y="17054"/>
                      <a:pt x="0" y="16862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823" name="Gráfico 15">
              <a:extLst>
                <a:ext uri="{FF2B5EF4-FFF2-40B4-BE49-F238E27FC236}">
                  <a16:creationId xmlns:a16="http://schemas.microsoft.com/office/drawing/2014/main" id="{1AC02D27-C23A-9DA2-C93E-256311B6C723}"/>
                </a:ext>
              </a:extLst>
            </p:cNvPr>
            <p:cNvGrpSpPr/>
            <p:nvPr/>
          </p:nvGrpSpPr>
          <p:grpSpPr>
            <a:xfrm>
              <a:off x="4813691" y="4295621"/>
              <a:ext cx="27959" cy="16865"/>
              <a:chOff x="4813691" y="4295621"/>
              <a:chExt cx="27959" cy="16865"/>
            </a:xfrm>
            <a:noFill/>
          </p:grpSpPr>
          <p:sp>
            <p:nvSpPr>
              <p:cNvPr id="1824" name="Forma livre: Forma 1823">
                <a:extLst>
                  <a:ext uri="{FF2B5EF4-FFF2-40B4-BE49-F238E27FC236}">
                    <a16:creationId xmlns:a16="http://schemas.microsoft.com/office/drawing/2014/main" id="{8F364C22-5836-EE23-B43B-E22A96D13F89}"/>
                  </a:ext>
                </a:extLst>
              </p:cNvPr>
              <p:cNvSpPr/>
              <p:nvPr/>
            </p:nvSpPr>
            <p:spPr>
              <a:xfrm>
                <a:off x="4813691" y="4312483"/>
                <a:ext cx="7398" cy="4804"/>
              </a:xfrm>
              <a:custGeom>
                <a:avLst/>
                <a:gdLst>
                  <a:gd name="connsiteX0" fmla="*/ 0 w 7398"/>
                  <a:gd name="connsiteY0" fmla="*/ 0 h 4804"/>
                  <a:gd name="connsiteX1" fmla="*/ 7398 w 7398"/>
                  <a:gd name="connsiteY1" fmla="*/ 0 h 48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7398" h="4804">
                    <a:moveTo>
                      <a:pt x="0" y="0"/>
                    </a:moveTo>
                    <a:lnTo>
                      <a:pt x="7398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825" name="Forma livre: Forma 1824">
                <a:extLst>
                  <a:ext uri="{FF2B5EF4-FFF2-40B4-BE49-F238E27FC236}">
                    <a16:creationId xmlns:a16="http://schemas.microsoft.com/office/drawing/2014/main" id="{56479A05-5663-6E62-4684-C498E7D0D43C}"/>
                  </a:ext>
                </a:extLst>
              </p:cNvPr>
              <p:cNvSpPr/>
              <p:nvPr/>
            </p:nvSpPr>
            <p:spPr>
              <a:xfrm>
                <a:off x="4820224" y="4295621"/>
                <a:ext cx="21426" cy="16865"/>
              </a:xfrm>
              <a:custGeom>
                <a:avLst/>
                <a:gdLst>
                  <a:gd name="connsiteX0" fmla="*/ 21426 w 21426"/>
                  <a:gd name="connsiteY0" fmla="*/ 0 h 16865"/>
                  <a:gd name="connsiteX1" fmla="*/ 0 w 21426"/>
                  <a:gd name="connsiteY1" fmla="*/ 16862 h 168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1426" h="16865">
                    <a:moveTo>
                      <a:pt x="21426" y="0"/>
                    </a:moveTo>
                    <a:cubicBezTo>
                      <a:pt x="19985" y="7879"/>
                      <a:pt x="14172" y="17054"/>
                      <a:pt x="0" y="16862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826" name="Gráfico 15">
              <a:extLst>
                <a:ext uri="{FF2B5EF4-FFF2-40B4-BE49-F238E27FC236}">
                  <a16:creationId xmlns:a16="http://schemas.microsoft.com/office/drawing/2014/main" id="{F1A7B9AA-7D07-E018-CCE3-7BAB3719DE33}"/>
                </a:ext>
              </a:extLst>
            </p:cNvPr>
            <p:cNvGrpSpPr/>
            <p:nvPr/>
          </p:nvGrpSpPr>
          <p:grpSpPr>
            <a:xfrm>
              <a:off x="4804419" y="4333717"/>
              <a:ext cx="27959" cy="16865"/>
              <a:chOff x="4804419" y="4333717"/>
              <a:chExt cx="27959" cy="16865"/>
            </a:xfrm>
            <a:noFill/>
          </p:grpSpPr>
          <p:sp>
            <p:nvSpPr>
              <p:cNvPr id="1827" name="Forma livre: Forma 1826">
                <a:extLst>
                  <a:ext uri="{FF2B5EF4-FFF2-40B4-BE49-F238E27FC236}">
                    <a16:creationId xmlns:a16="http://schemas.microsoft.com/office/drawing/2014/main" id="{3165618F-FF33-7615-5B2F-70A7B3B569E0}"/>
                  </a:ext>
                </a:extLst>
              </p:cNvPr>
              <p:cNvSpPr/>
              <p:nvPr/>
            </p:nvSpPr>
            <p:spPr>
              <a:xfrm>
                <a:off x="4804419" y="4350580"/>
                <a:ext cx="7398" cy="4804"/>
              </a:xfrm>
              <a:custGeom>
                <a:avLst/>
                <a:gdLst>
                  <a:gd name="connsiteX0" fmla="*/ 0 w 7398"/>
                  <a:gd name="connsiteY0" fmla="*/ 0 h 4804"/>
                  <a:gd name="connsiteX1" fmla="*/ 7398 w 7398"/>
                  <a:gd name="connsiteY1" fmla="*/ 0 h 48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7398" h="4804">
                    <a:moveTo>
                      <a:pt x="0" y="0"/>
                    </a:moveTo>
                    <a:lnTo>
                      <a:pt x="7398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828" name="Forma livre: Forma 1827">
                <a:extLst>
                  <a:ext uri="{FF2B5EF4-FFF2-40B4-BE49-F238E27FC236}">
                    <a16:creationId xmlns:a16="http://schemas.microsoft.com/office/drawing/2014/main" id="{11159357-EFF4-8D03-A3C0-1CA7CC93A11B}"/>
                  </a:ext>
                </a:extLst>
              </p:cNvPr>
              <p:cNvSpPr/>
              <p:nvPr/>
            </p:nvSpPr>
            <p:spPr>
              <a:xfrm>
                <a:off x="4810952" y="4333717"/>
                <a:ext cx="21426" cy="16865"/>
              </a:xfrm>
              <a:custGeom>
                <a:avLst/>
                <a:gdLst>
                  <a:gd name="connsiteX0" fmla="*/ 21426 w 21426"/>
                  <a:gd name="connsiteY0" fmla="*/ 0 h 16865"/>
                  <a:gd name="connsiteX1" fmla="*/ 0 w 21426"/>
                  <a:gd name="connsiteY1" fmla="*/ 16862 h 168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1426" h="16865">
                    <a:moveTo>
                      <a:pt x="21426" y="0"/>
                    </a:moveTo>
                    <a:cubicBezTo>
                      <a:pt x="19985" y="7879"/>
                      <a:pt x="14172" y="17054"/>
                      <a:pt x="0" y="16862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829" name="Gráfico 15">
            <a:extLst>
              <a:ext uri="{FF2B5EF4-FFF2-40B4-BE49-F238E27FC236}">
                <a16:creationId xmlns:a16="http://schemas.microsoft.com/office/drawing/2014/main" id="{6B58E145-4111-1994-62ED-CFC2B2A8503B}"/>
              </a:ext>
            </a:extLst>
          </p:cNvPr>
          <p:cNvGrpSpPr/>
          <p:nvPr/>
        </p:nvGrpSpPr>
        <p:grpSpPr>
          <a:xfrm>
            <a:off x="4554510" y="4682926"/>
            <a:ext cx="319660" cy="260750"/>
            <a:chOff x="4554510" y="4682926"/>
            <a:chExt cx="319660" cy="260750"/>
          </a:xfrm>
          <a:noFill/>
        </p:grpSpPr>
        <p:sp>
          <p:nvSpPr>
            <p:cNvPr id="1830" name="Forma livre: Forma 1829">
              <a:extLst>
                <a:ext uri="{FF2B5EF4-FFF2-40B4-BE49-F238E27FC236}">
                  <a16:creationId xmlns:a16="http://schemas.microsoft.com/office/drawing/2014/main" id="{C032F98D-55DC-3C26-4052-E2273BDCCF0A}"/>
                </a:ext>
              </a:extLst>
            </p:cNvPr>
            <p:cNvSpPr/>
            <p:nvPr/>
          </p:nvSpPr>
          <p:spPr>
            <a:xfrm>
              <a:off x="4554510" y="4708964"/>
              <a:ext cx="214550" cy="194084"/>
            </a:xfrm>
            <a:custGeom>
              <a:avLst/>
              <a:gdLst>
                <a:gd name="connsiteX0" fmla="*/ 214550 w 214550"/>
                <a:gd name="connsiteY0" fmla="*/ 180585 h 194084"/>
                <a:gd name="connsiteX1" fmla="*/ 178952 w 214550"/>
                <a:gd name="connsiteY1" fmla="*/ 180585 h 194084"/>
                <a:gd name="connsiteX2" fmla="*/ 166077 w 214550"/>
                <a:gd name="connsiteY2" fmla="*/ 194085 h 194084"/>
                <a:gd name="connsiteX3" fmla="*/ 116595 w 214550"/>
                <a:gd name="connsiteY3" fmla="*/ 194085 h 194084"/>
                <a:gd name="connsiteX4" fmla="*/ 103720 w 214550"/>
                <a:gd name="connsiteY4" fmla="*/ 180585 h 194084"/>
                <a:gd name="connsiteX5" fmla="*/ 0 w 214550"/>
                <a:gd name="connsiteY5" fmla="*/ 180585 h 194084"/>
                <a:gd name="connsiteX6" fmla="*/ 0 w 214550"/>
                <a:gd name="connsiteY6" fmla="*/ 0 h 1940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14550" h="194084">
                  <a:moveTo>
                    <a:pt x="214550" y="180585"/>
                  </a:moveTo>
                  <a:lnTo>
                    <a:pt x="178952" y="180585"/>
                  </a:lnTo>
                  <a:cubicBezTo>
                    <a:pt x="178952" y="180585"/>
                    <a:pt x="173187" y="194085"/>
                    <a:pt x="166077" y="194085"/>
                  </a:cubicBezTo>
                  <a:lnTo>
                    <a:pt x="116595" y="194085"/>
                  </a:lnTo>
                  <a:cubicBezTo>
                    <a:pt x="109437" y="194085"/>
                    <a:pt x="103720" y="180585"/>
                    <a:pt x="103720" y="180585"/>
                  </a:cubicBezTo>
                  <a:lnTo>
                    <a:pt x="0" y="180585"/>
                  </a:lnTo>
                  <a:lnTo>
                    <a:pt x="0" y="0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31" name="Forma livre: Forma 1830">
              <a:extLst>
                <a:ext uri="{FF2B5EF4-FFF2-40B4-BE49-F238E27FC236}">
                  <a16:creationId xmlns:a16="http://schemas.microsoft.com/office/drawing/2014/main" id="{A580D749-FE92-92B0-3C9D-595075825014}"/>
                </a:ext>
              </a:extLst>
            </p:cNvPr>
            <p:cNvSpPr/>
            <p:nvPr/>
          </p:nvSpPr>
          <p:spPr>
            <a:xfrm>
              <a:off x="4837134" y="4709012"/>
              <a:ext cx="4804" cy="111262"/>
            </a:xfrm>
            <a:custGeom>
              <a:avLst/>
              <a:gdLst>
                <a:gd name="connsiteX0" fmla="*/ 0 w 4804"/>
                <a:gd name="connsiteY0" fmla="*/ 0 h 111262"/>
                <a:gd name="connsiteX1" fmla="*/ 0 w 4804"/>
                <a:gd name="connsiteY1" fmla="*/ 111263 h 1112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804" h="111262">
                  <a:moveTo>
                    <a:pt x="0" y="0"/>
                  </a:moveTo>
                  <a:lnTo>
                    <a:pt x="0" y="111263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832" name="Gráfico 15">
              <a:extLst>
                <a:ext uri="{FF2B5EF4-FFF2-40B4-BE49-F238E27FC236}">
                  <a16:creationId xmlns:a16="http://schemas.microsoft.com/office/drawing/2014/main" id="{4BE8353A-93A1-7ADD-70F4-C353E38B8B41}"/>
                </a:ext>
              </a:extLst>
            </p:cNvPr>
            <p:cNvGrpSpPr/>
            <p:nvPr/>
          </p:nvGrpSpPr>
          <p:grpSpPr>
            <a:xfrm>
              <a:off x="4741966" y="4775164"/>
              <a:ext cx="132205" cy="168511"/>
              <a:chOff x="4741966" y="4775164"/>
              <a:chExt cx="132205" cy="168511"/>
            </a:xfrm>
            <a:noFill/>
          </p:grpSpPr>
          <p:sp>
            <p:nvSpPr>
              <p:cNvPr id="1833" name="Forma livre: Forma 1832">
                <a:extLst>
                  <a:ext uri="{FF2B5EF4-FFF2-40B4-BE49-F238E27FC236}">
                    <a16:creationId xmlns:a16="http://schemas.microsoft.com/office/drawing/2014/main" id="{E58B5B96-86F1-A810-B5FF-7A640C542BEF}"/>
                  </a:ext>
                </a:extLst>
              </p:cNvPr>
              <p:cNvSpPr/>
              <p:nvPr/>
            </p:nvSpPr>
            <p:spPr>
              <a:xfrm>
                <a:off x="4741966" y="4775164"/>
                <a:ext cx="11001" cy="14508"/>
              </a:xfrm>
              <a:custGeom>
                <a:avLst/>
                <a:gdLst>
                  <a:gd name="connsiteX0" fmla="*/ 11001 w 11001"/>
                  <a:gd name="connsiteY0" fmla="*/ 14508 h 14508"/>
                  <a:gd name="connsiteX1" fmla="*/ 0 w 11001"/>
                  <a:gd name="connsiteY1" fmla="*/ 0 h 145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001" h="14508">
                    <a:moveTo>
                      <a:pt x="11001" y="14508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834" name="Forma livre: Forma 1833">
                <a:extLst>
                  <a:ext uri="{FF2B5EF4-FFF2-40B4-BE49-F238E27FC236}">
                    <a16:creationId xmlns:a16="http://schemas.microsoft.com/office/drawing/2014/main" id="{DA6559C5-692C-7997-50F6-B475A1403F57}"/>
                  </a:ext>
                </a:extLst>
              </p:cNvPr>
              <p:cNvSpPr/>
              <p:nvPr/>
            </p:nvSpPr>
            <p:spPr>
              <a:xfrm>
                <a:off x="4756426" y="4801491"/>
                <a:ext cx="117745" cy="142185"/>
              </a:xfrm>
              <a:custGeom>
                <a:avLst/>
                <a:gdLst>
                  <a:gd name="connsiteX0" fmla="*/ 92959 w 117745"/>
                  <a:gd name="connsiteY0" fmla="*/ 140375 h 142185"/>
                  <a:gd name="connsiteX1" fmla="*/ 110782 w 117745"/>
                  <a:gd name="connsiteY1" fmla="*/ 138550 h 142185"/>
                  <a:gd name="connsiteX2" fmla="*/ 117316 w 117745"/>
                  <a:gd name="connsiteY2" fmla="*/ 121880 h 142185"/>
                  <a:gd name="connsiteX3" fmla="*/ 26038 w 117745"/>
                  <a:gd name="connsiteY3" fmla="*/ 0 h 142185"/>
                  <a:gd name="connsiteX4" fmla="*/ 0 w 117745"/>
                  <a:gd name="connsiteY4" fmla="*/ 19793 h 142185"/>
                  <a:gd name="connsiteX5" fmla="*/ 92911 w 117745"/>
                  <a:gd name="connsiteY5" fmla="*/ 140375 h 1421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17745" h="142185">
                    <a:moveTo>
                      <a:pt x="92959" y="140375"/>
                    </a:moveTo>
                    <a:cubicBezTo>
                      <a:pt x="96802" y="142777"/>
                      <a:pt x="104441" y="143354"/>
                      <a:pt x="110782" y="138550"/>
                    </a:cubicBezTo>
                    <a:cubicBezTo>
                      <a:pt x="117123" y="133746"/>
                      <a:pt x="118613" y="126251"/>
                      <a:pt x="117316" y="121880"/>
                    </a:cubicBezTo>
                    <a:cubicBezTo>
                      <a:pt x="95745" y="71052"/>
                      <a:pt x="68746" y="36463"/>
                      <a:pt x="26038" y="0"/>
                    </a:cubicBezTo>
                    <a:lnTo>
                      <a:pt x="0" y="19793"/>
                    </a:lnTo>
                    <a:cubicBezTo>
                      <a:pt x="23684" y="70716"/>
                      <a:pt x="49722" y="105978"/>
                      <a:pt x="92911" y="140375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835" name="Forma livre: Forma 1834">
                <a:extLst>
                  <a:ext uri="{FF2B5EF4-FFF2-40B4-BE49-F238E27FC236}">
                    <a16:creationId xmlns:a16="http://schemas.microsoft.com/office/drawing/2014/main" id="{36B38182-AD7A-97F6-1DF3-A5ABDCB709D9}"/>
                  </a:ext>
                </a:extLst>
              </p:cNvPr>
              <p:cNvSpPr/>
              <p:nvPr/>
            </p:nvSpPr>
            <p:spPr>
              <a:xfrm>
                <a:off x="4745328" y="4783812"/>
                <a:ext cx="33628" cy="34060"/>
              </a:xfrm>
              <a:custGeom>
                <a:avLst/>
                <a:gdLst>
                  <a:gd name="connsiteX0" fmla="*/ 33629 w 33628"/>
                  <a:gd name="connsiteY0" fmla="*/ 17535 h 34060"/>
                  <a:gd name="connsiteX1" fmla="*/ 15469 w 33628"/>
                  <a:gd name="connsiteY1" fmla="*/ 0 h 34060"/>
                  <a:gd name="connsiteX2" fmla="*/ 0 w 33628"/>
                  <a:gd name="connsiteY2" fmla="*/ 11770 h 34060"/>
                  <a:gd name="connsiteX3" fmla="*/ 11962 w 33628"/>
                  <a:gd name="connsiteY3" fmla="*/ 34061 h 340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628" h="34060">
                    <a:moveTo>
                      <a:pt x="33629" y="17535"/>
                    </a:moveTo>
                    <a:lnTo>
                      <a:pt x="15469" y="0"/>
                    </a:lnTo>
                    <a:lnTo>
                      <a:pt x="0" y="11770"/>
                    </a:lnTo>
                    <a:lnTo>
                      <a:pt x="11962" y="34061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836" name="Forma livre: Forma 1835">
                <a:extLst>
                  <a:ext uri="{FF2B5EF4-FFF2-40B4-BE49-F238E27FC236}">
                    <a16:creationId xmlns:a16="http://schemas.microsoft.com/office/drawing/2014/main" id="{E7A01F1B-0D70-1500-4098-F7823ECCBB94}"/>
                  </a:ext>
                </a:extLst>
              </p:cNvPr>
              <p:cNvSpPr/>
              <p:nvPr/>
            </p:nvSpPr>
            <p:spPr>
              <a:xfrm>
                <a:off x="4799278" y="4861446"/>
                <a:ext cx="38913" cy="29593"/>
              </a:xfrm>
              <a:custGeom>
                <a:avLst/>
                <a:gdLst>
                  <a:gd name="connsiteX0" fmla="*/ 38913 w 38913"/>
                  <a:gd name="connsiteY0" fmla="*/ 0 h 29593"/>
                  <a:gd name="connsiteX1" fmla="*/ 0 w 38913"/>
                  <a:gd name="connsiteY1" fmla="*/ 29593 h 295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8913" h="29593">
                    <a:moveTo>
                      <a:pt x="38913" y="0"/>
                    </a:moveTo>
                    <a:lnTo>
                      <a:pt x="0" y="29593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837" name="Gráfico 15">
              <a:extLst>
                <a:ext uri="{FF2B5EF4-FFF2-40B4-BE49-F238E27FC236}">
                  <a16:creationId xmlns:a16="http://schemas.microsoft.com/office/drawing/2014/main" id="{E3DB6AEA-E639-57C5-F8DF-0098850846B0}"/>
                </a:ext>
              </a:extLst>
            </p:cNvPr>
            <p:cNvGrpSpPr/>
            <p:nvPr/>
          </p:nvGrpSpPr>
          <p:grpSpPr>
            <a:xfrm>
              <a:off x="4582326" y="4682926"/>
              <a:ext cx="227328" cy="212388"/>
              <a:chOff x="4582326" y="4682926"/>
              <a:chExt cx="227328" cy="212388"/>
            </a:xfrm>
            <a:noFill/>
          </p:grpSpPr>
          <p:sp>
            <p:nvSpPr>
              <p:cNvPr id="1838" name="Forma livre: Forma 1837">
                <a:extLst>
                  <a:ext uri="{FF2B5EF4-FFF2-40B4-BE49-F238E27FC236}">
                    <a16:creationId xmlns:a16="http://schemas.microsoft.com/office/drawing/2014/main" id="{EA9F5E06-1E25-CC89-4A46-5693148BEB84}"/>
                  </a:ext>
                </a:extLst>
              </p:cNvPr>
              <p:cNvSpPr/>
              <p:nvPr/>
            </p:nvSpPr>
            <p:spPr>
              <a:xfrm>
                <a:off x="4696135" y="4862935"/>
                <a:ext cx="59330" cy="32379"/>
              </a:xfrm>
              <a:custGeom>
                <a:avLst/>
                <a:gdLst>
                  <a:gd name="connsiteX0" fmla="*/ 0 w 59330"/>
                  <a:gd name="connsiteY0" fmla="*/ 32380 h 32379"/>
                  <a:gd name="connsiteX1" fmla="*/ 59330 w 59330"/>
                  <a:gd name="connsiteY1" fmla="*/ 0 h 323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9330" h="32379">
                    <a:moveTo>
                      <a:pt x="0" y="32380"/>
                    </a:moveTo>
                    <a:cubicBezTo>
                      <a:pt x="11722" y="10089"/>
                      <a:pt x="34445" y="1826"/>
                      <a:pt x="59330" y="0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839" name="Forma livre: Forma 1838">
                <a:extLst>
                  <a:ext uri="{FF2B5EF4-FFF2-40B4-BE49-F238E27FC236}">
                    <a16:creationId xmlns:a16="http://schemas.microsoft.com/office/drawing/2014/main" id="{0CCFB201-3AD7-CD4A-0D70-2C381714CC16}"/>
                  </a:ext>
                </a:extLst>
              </p:cNvPr>
              <p:cNvSpPr/>
              <p:nvPr/>
            </p:nvSpPr>
            <p:spPr>
              <a:xfrm>
                <a:off x="4695846" y="4682926"/>
                <a:ext cx="113808" cy="112655"/>
              </a:xfrm>
              <a:custGeom>
                <a:avLst/>
                <a:gdLst>
                  <a:gd name="connsiteX0" fmla="*/ 0 w 113808"/>
                  <a:gd name="connsiteY0" fmla="*/ 32764 h 112655"/>
                  <a:gd name="connsiteX1" fmla="*/ 70716 w 113808"/>
                  <a:gd name="connsiteY1" fmla="*/ 0 h 112655"/>
                  <a:gd name="connsiteX2" fmla="*/ 113809 w 113808"/>
                  <a:gd name="connsiteY2" fmla="*/ 0 h 112655"/>
                  <a:gd name="connsiteX3" fmla="*/ 113809 w 113808"/>
                  <a:gd name="connsiteY3" fmla="*/ 112656 h 1126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3808" h="112655">
                    <a:moveTo>
                      <a:pt x="0" y="32764"/>
                    </a:moveTo>
                    <a:cubicBezTo>
                      <a:pt x="13499" y="7110"/>
                      <a:pt x="41555" y="0"/>
                      <a:pt x="70716" y="0"/>
                    </a:cubicBezTo>
                    <a:lnTo>
                      <a:pt x="113809" y="0"/>
                    </a:lnTo>
                    <a:lnTo>
                      <a:pt x="113809" y="112656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840" name="Forma livre: Forma 1839">
                <a:extLst>
                  <a:ext uri="{FF2B5EF4-FFF2-40B4-BE49-F238E27FC236}">
                    <a16:creationId xmlns:a16="http://schemas.microsoft.com/office/drawing/2014/main" id="{73B577EA-5DE6-91C6-A53D-AA7DCE5C38E6}"/>
                  </a:ext>
                </a:extLst>
              </p:cNvPr>
              <p:cNvSpPr/>
              <p:nvPr/>
            </p:nvSpPr>
            <p:spPr>
              <a:xfrm>
                <a:off x="4582326" y="4682926"/>
                <a:ext cx="113808" cy="212388"/>
              </a:xfrm>
              <a:custGeom>
                <a:avLst/>
                <a:gdLst>
                  <a:gd name="connsiteX0" fmla="*/ 113809 w 113808"/>
                  <a:gd name="connsiteY0" fmla="*/ 32764 h 212388"/>
                  <a:gd name="connsiteX1" fmla="*/ 43093 w 113808"/>
                  <a:gd name="connsiteY1" fmla="*/ 0 h 212388"/>
                  <a:gd name="connsiteX2" fmla="*/ 0 w 113808"/>
                  <a:gd name="connsiteY2" fmla="*/ 0 h 212388"/>
                  <a:gd name="connsiteX3" fmla="*/ 0 w 113808"/>
                  <a:gd name="connsiteY3" fmla="*/ 179625 h 212388"/>
                  <a:gd name="connsiteX4" fmla="*/ 42756 w 113808"/>
                  <a:gd name="connsiteY4" fmla="*/ 179625 h 212388"/>
                  <a:gd name="connsiteX5" fmla="*/ 113520 w 113808"/>
                  <a:gd name="connsiteY5" fmla="*/ 212388 h 2123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13808" h="212388">
                    <a:moveTo>
                      <a:pt x="113809" y="32764"/>
                    </a:moveTo>
                    <a:cubicBezTo>
                      <a:pt x="100309" y="7110"/>
                      <a:pt x="72253" y="0"/>
                      <a:pt x="43093" y="0"/>
                    </a:cubicBezTo>
                    <a:lnTo>
                      <a:pt x="0" y="0"/>
                    </a:lnTo>
                    <a:lnTo>
                      <a:pt x="0" y="179625"/>
                    </a:lnTo>
                    <a:lnTo>
                      <a:pt x="42756" y="179625"/>
                    </a:lnTo>
                    <a:cubicBezTo>
                      <a:pt x="71917" y="179625"/>
                      <a:pt x="99973" y="186687"/>
                      <a:pt x="113520" y="212388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841" name="Forma livre: Forma 1840">
              <a:extLst>
                <a:ext uri="{FF2B5EF4-FFF2-40B4-BE49-F238E27FC236}">
                  <a16:creationId xmlns:a16="http://schemas.microsoft.com/office/drawing/2014/main" id="{5676565D-380D-0453-4E7D-725038F4FA5F}"/>
                </a:ext>
              </a:extLst>
            </p:cNvPr>
            <p:cNvSpPr/>
            <p:nvPr/>
          </p:nvSpPr>
          <p:spPr>
            <a:xfrm>
              <a:off x="4696135" y="4716459"/>
              <a:ext cx="4804" cy="175637"/>
            </a:xfrm>
            <a:custGeom>
              <a:avLst/>
              <a:gdLst>
                <a:gd name="connsiteX0" fmla="*/ 0 w 4804"/>
                <a:gd name="connsiteY0" fmla="*/ 0 h 175637"/>
                <a:gd name="connsiteX1" fmla="*/ 0 w 4804"/>
                <a:gd name="connsiteY1" fmla="*/ 175637 h 1756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804" h="175637">
                  <a:moveTo>
                    <a:pt x="0" y="0"/>
                  </a:moveTo>
                  <a:lnTo>
                    <a:pt x="0" y="175637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842" name="Gráfico 15">
            <a:extLst>
              <a:ext uri="{FF2B5EF4-FFF2-40B4-BE49-F238E27FC236}">
                <a16:creationId xmlns:a16="http://schemas.microsoft.com/office/drawing/2014/main" id="{0CFA0D5E-1BBB-E926-3B71-37CB87D5FDDB}"/>
              </a:ext>
            </a:extLst>
          </p:cNvPr>
          <p:cNvGrpSpPr/>
          <p:nvPr/>
        </p:nvGrpSpPr>
        <p:grpSpPr>
          <a:xfrm>
            <a:off x="4551532" y="5197587"/>
            <a:ext cx="325655" cy="313033"/>
            <a:chOff x="4551532" y="5197587"/>
            <a:chExt cx="325655" cy="313033"/>
          </a:xfrm>
          <a:noFill/>
        </p:grpSpPr>
        <p:grpSp>
          <p:nvGrpSpPr>
            <p:cNvPr id="1843" name="Gráfico 15">
              <a:extLst>
                <a:ext uri="{FF2B5EF4-FFF2-40B4-BE49-F238E27FC236}">
                  <a16:creationId xmlns:a16="http://schemas.microsoft.com/office/drawing/2014/main" id="{4EE61648-5D0E-F6F4-FDC1-7FBAA1B277F6}"/>
                </a:ext>
              </a:extLst>
            </p:cNvPr>
            <p:cNvGrpSpPr/>
            <p:nvPr/>
          </p:nvGrpSpPr>
          <p:grpSpPr>
            <a:xfrm>
              <a:off x="4551532" y="5377821"/>
              <a:ext cx="325655" cy="132799"/>
              <a:chOff x="4551532" y="5377821"/>
              <a:chExt cx="325655" cy="132799"/>
            </a:xfrm>
            <a:noFill/>
          </p:grpSpPr>
          <p:sp>
            <p:nvSpPr>
              <p:cNvPr id="1844" name="Forma livre: Forma 1843">
                <a:extLst>
                  <a:ext uri="{FF2B5EF4-FFF2-40B4-BE49-F238E27FC236}">
                    <a16:creationId xmlns:a16="http://schemas.microsoft.com/office/drawing/2014/main" id="{D1DA87C6-0E97-55F2-9645-C8B3E8B5B8D8}"/>
                  </a:ext>
                </a:extLst>
              </p:cNvPr>
              <p:cNvSpPr/>
              <p:nvPr/>
            </p:nvSpPr>
            <p:spPr>
              <a:xfrm>
                <a:off x="4591742" y="5377821"/>
                <a:ext cx="285445" cy="132799"/>
              </a:xfrm>
              <a:custGeom>
                <a:avLst/>
                <a:gdLst>
                  <a:gd name="connsiteX0" fmla="*/ 194805 w 285445"/>
                  <a:gd name="connsiteY0" fmla="*/ 33115 h 132799"/>
                  <a:gd name="connsiteX1" fmla="*/ 253223 w 285445"/>
                  <a:gd name="connsiteY1" fmla="*/ 3282 h 132799"/>
                  <a:gd name="connsiteX2" fmla="*/ 283200 w 285445"/>
                  <a:gd name="connsiteY2" fmla="*/ 9815 h 132799"/>
                  <a:gd name="connsiteX3" fmla="*/ 272583 w 285445"/>
                  <a:gd name="connsiteY3" fmla="*/ 39312 h 132799"/>
                  <a:gd name="connsiteX4" fmla="*/ 151425 w 285445"/>
                  <a:gd name="connsiteY4" fmla="*/ 104263 h 132799"/>
                  <a:gd name="connsiteX5" fmla="*/ 145035 w 285445"/>
                  <a:gd name="connsiteY5" fmla="*/ 105849 h 132799"/>
                  <a:gd name="connsiteX6" fmla="*/ 32043 w 285445"/>
                  <a:gd name="connsiteY6" fmla="*/ 108923 h 132799"/>
                  <a:gd name="connsiteX7" fmla="*/ 0 w 285445"/>
                  <a:gd name="connsiteY7" fmla="*/ 132800 h 1327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85445" h="132799">
                    <a:moveTo>
                      <a:pt x="194805" y="33115"/>
                    </a:moveTo>
                    <a:lnTo>
                      <a:pt x="253223" y="3282"/>
                    </a:lnTo>
                    <a:cubicBezTo>
                      <a:pt x="264513" y="-2772"/>
                      <a:pt x="277724" y="-369"/>
                      <a:pt x="283200" y="9815"/>
                    </a:cubicBezTo>
                    <a:cubicBezTo>
                      <a:pt x="288629" y="20000"/>
                      <a:pt x="283873" y="33259"/>
                      <a:pt x="272583" y="39312"/>
                    </a:cubicBezTo>
                    <a:lnTo>
                      <a:pt x="151425" y="104263"/>
                    </a:lnTo>
                    <a:lnTo>
                      <a:pt x="145035" y="105849"/>
                    </a:lnTo>
                    <a:lnTo>
                      <a:pt x="32043" y="108923"/>
                    </a:lnTo>
                    <a:cubicBezTo>
                      <a:pt x="32043" y="108923"/>
                      <a:pt x="17487" y="113007"/>
                      <a:pt x="0" y="132800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845" name="Forma livre: Forma 1844">
                <a:extLst>
                  <a:ext uri="{FF2B5EF4-FFF2-40B4-BE49-F238E27FC236}">
                    <a16:creationId xmlns:a16="http://schemas.microsoft.com/office/drawing/2014/main" id="{BE857918-1263-C318-665F-486666621463}"/>
                  </a:ext>
                </a:extLst>
              </p:cNvPr>
              <p:cNvSpPr/>
              <p:nvPr/>
            </p:nvSpPr>
            <p:spPr>
              <a:xfrm>
                <a:off x="4551532" y="5393866"/>
                <a:ext cx="215510" cy="57328"/>
              </a:xfrm>
              <a:custGeom>
                <a:avLst/>
                <a:gdLst>
                  <a:gd name="connsiteX0" fmla="*/ 0 w 215510"/>
                  <a:gd name="connsiteY0" fmla="*/ 57329 h 57328"/>
                  <a:gd name="connsiteX1" fmla="*/ 51260 w 215510"/>
                  <a:gd name="connsiteY1" fmla="*/ 10153 h 57328"/>
                  <a:gd name="connsiteX2" fmla="*/ 106026 w 215510"/>
                  <a:gd name="connsiteY2" fmla="*/ 2562 h 57328"/>
                  <a:gd name="connsiteX3" fmla="*/ 147149 w 215510"/>
                  <a:gd name="connsiteY3" fmla="*/ 7222 h 57328"/>
                  <a:gd name="connsiteX4" fmla="*/ 191491 w 215510"/>
                  <a:gd name="connsiteY4" fmla="*/ 7222 h 57328"/>
                  <a:gd name="connsiteX5" fmla="*/ 215511 w 215510"/>
                  <a:gd name="connsiteY5" fmla="*/ 28168 h 57328"/>
                  <a:gd name="connsiteX6" fmla="*/ 191491 w 215510"/>
                  <a:gd name="connsiteY6" fmla="*/ 49162 h 57328"/>
                  <a:gd name="connsiteX7" fmla="*/ 130142 w 215510"/>
                  <a:gd name="connsiteY7" fmla="*/ 49162 h 573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15510" h="57328">
                    <a:moveTo>
                      <a:pt x="0" y="57329"/>
                    </a:moveTo>
                    <a:lnTo>
                      <a:pt x="51260" y="10153"/>
                    </a:lnTo>
                    <a:cubicBezTo>
                      <a:pt x="76289" y="-6758"/>
                      <a:pt x="106026" y="2562"/>
                      <a:pt x="106026" y="2562"/>
                    </a:cubicBezTo>
                    <a:cubicBezTo>
                      <a:pt x="120390" y="6357"/>
                      <a:pt x="147149" y="7222"/>
                      <a:pt x="147149" y="7222"/>
                    </a:cubicBezTo>
                    <a:lnTo>
                      <a:pt x="191491" y="7222"/>
                    </a:lnTo>
                    <a:cubicBezTo>
                      <a:pt x="204702" y="7222"/>
                      <a:pt x="215511" y="16638"/>
                      <a:pt x="215511" y="28168"/>
                    </a:cubicBezTo>
                    <a:cubicBezTo>
                      <a:pt x="215511" y="39698"/>
                      <a:pt x="204702" y="49162"/>
                      <a:pt x="191491" y="49162"/>
                    </a:cubicBezTo>
                    <a:lnTo>
                      <a:pt x="130142" y="49162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846" name="Forma livre: Forma 1845">
              <a:extLst>
                <a:ext uri="{FF2B5EF4-FFF2-40B4-BE49-F238E27FC236}">
                  <a16:creationId xmlns:a16="http://schemas.microsoft.com/office/drawing/2014/main" id="{1EDA93CB-C9F5-D098-F3DA-969C263ADDEC}"/>
                </a:ext>
              </a:extLst>
            </p:cNvPr>
            <p:cNvSpPr/>
            <p:nvPr/>
          </p:nvSpPr>
          <p:spPr>
            <a:xfrm>
              <a:off x="4627388" y="5197587"/>
              <a:ext cx="175973" cy="167326"/>
            </a:xfrm>
            <a:custGeom>
              <a:avLst/>
              <a:gdLst>
                <a:gd name="connsiteX0" fmla="*/ 87963 w 175973"/>
                <a:gd name="connsiteY0" fmla="*/ 0 h 167326"/>
                <a:gd name="connsiteX1" fmla="*/ 113568 w 175973"/>
                <a:gd name="connsiteY1" fmla="*/ 57313 h 167326"/>
                <a:gd name="connsiteX2" fmla="*/ 175973 w 175973"/>
                <a:gd name="connsiteY2" fmla="*/ 63942 h 167326"/>
                <a:gd name="connsiteX3" fmla="*/ 129374 w 175973"/>
                <a:gd name="connsiteY3" fmla="*/ 105930 h 167326"/>
                <a:gd name="connsiteX4" fmla="*/ 142345 w 175973"/>
                <a:gd name="connsiteY4" fmla="*/ 167326 h 167326"/>
                <a:gd name="connsiteX5" fmla="*/ 87963 w 175973"/>
                <a:gd name="connsiteY5" fmla="*/ 136003 h 167326"/>
                <a:gd name="connsiteX6" fmla="*/ 33629 w 175973"/>
                <a:gd name="connsiteY6" fmla="*/ 167326 h 167326"/>
                <a:gd name="connsiteX7" fmla="*/ 46600 w 175973"/>
                <a:gd name="connsiteY7" fmla="*/ 105930 h 167326"/>
                <a:gd name="connsiteX8" fmla="*/ 0 w 175973"/>
                <a:gd name="connsiteY8" fmla="*/ 63942 h 167326"/>
                <a:gd name="connsiteX9" fmla="*/ 62405 w 175973"/>
                <a:gd name="connsiteY9" fmla="*/ 57313 h 167326"/>
                <a:gd name="connsiteX10" fmla="*/ 87963 w 175973"/>
                <a:gd name="connsiteY10" fmla="*/ 0 h 1673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75973" h="167326">
                  <a:moveTo>
                    <a:pt x="87963" y="0"/>
                  </a:moveTo>
                  <a:lnTo>
                    <a:pt x="113568" y="57313"/>
                  </a:lnTo>
                  <a:lnTo>
                    <a:pt x="175973" y="63942"/>
                  </a:lnTo>
                  <a:lnTo>
                    <a:pt x="129374" y="105930"/>
                  </a:lnTo>
                  <a:lnTo>
                    <a:pt x="142345" y="167326"/>
                  </a:lnTo>
                  <a:lnTo>
                    <a:pt x="87963" y="136003"/>
                  </a:lnTo>
                  <a:lnTo>
                    <a:pt x="33629" y="167326"/>
                  </a:lnTo>
                  <a:lnTo>
                    <a:pt x="46600" y="105930"/>
                  </a:lnTo>
                  <a:lnTo>
                    <a:pt x="0" y="63942"/>
                  </a:lnTo>
                  <a:lnTo>
                    <a:pt x="62405" y="57313"/>
                  </a:lnTo>
                  <a:lnTo>
                    <a:pt x="87963" y="0"/>
                  </a:ln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847" name="Gráfico 15">
            <a:extLst>
              <a:ext uri="{FF2B5EF4-FFF2-40B4-BE49-F238E27FC236}">
                <a16:creationId xmlns:a16="http://schemas.microsoft.com/office/drawing/2014/main" id="{9AC7ED22-E3F9-699A-1E22-0E0A398FD977}"/>
              </a:ext>
            </a:extLst>
          </p:cNvPr>
          <p:cNvGrpSpPr/>
          <p:nvPr/>
        </p:nvGrpSpPr>
        <p:grpSpPr>
          <a:xfrm>
            <a:off x="4553550" y="3600279"/>
            <a:ext cx="321584" cy="262927"/>
            <a:chOff x="4553550" y="3600279"/>
            <a:chExt cx="321584" cy="262927"/>
          </a:xfrm>
          <a:noFill/>
        </p:grpSpPr>
        <p:grpSp>
          <p:nvGrpSpPr>
            <p:cNvPr id="1848" name="Gráfico 15">
              <a:extLst>
                <a:ext uri="{FF2B5EF4-FFF2-40B4-BE49-F238E27FC236}">
                  <a16:creationId xmlns:a16="http://schemas.microsoft.com/office/drawing/2014/main" id="{7F2ACAF6-67CD-4A55-2EBD-C5D7A5BEBBAE}"/>
                </a:ext>
              </a:extLst>
            </p:cNvPr>
            <p:cNvGrpSpPr/>
            <p:nvPr/>
          </p:nvGrpSpPr>
          <p:grpSpPr>
            <a:xfrm>
              <a:off x="4744127" y="3654565"/>
              <a:ext cx="97955" cy="95120"/>
              <a:chOff x="4744127" y="3654565"/>
              <a:chExt cx="97955" cy="95120"/>
            </a:xfrm>
          </p:grpSpPr>
          <p:sp>
            <p:nvSpPr>
              <p:cNvPr id="1849" name="Forma livre: Forma 1848">
                <a:extLst>
                  <a:ext uri="{FF2B5EF4-FFF2-40B4-BE49-F238E27FC236}">
                    <a16:creationId xmlns:a16="http://schemas.microsoft.com/office/drawing/2014/main" id="{27123333-1E39-DE9A-0749-211B5C0A4227}"/>
                  </a:ext>
                </a:extLst>
              </p:cNvPr>
              <p:cNvSpPr/>
              <p:nvPr/>
            </p:nvSpPr>
            <p:spPr>
              <a:xfrm>
                <a:off x="4744127" y="3654565"/>
                <a:ext cx="97955" cy="4804"/>
              </a:xfrm>
              <a:custGeom>
                <a:avLst/>
                <a:gdLst>
                  <a:gd name="connsiteX0" fmla="*/ 97955 w 97955"/>
                  <a:gd name="connsiteY0" fmla="*/ 0 h 4804"/>
                  <a:gd name="connsiteX1" fmla="*/ 0 w 97955"/>
                  <a:gd name="connsiteY1" fmla="*/ 0 h 48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7955" h="4804">
                    <a:moveTo>
                      <a:pt x="97955" y="0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850" name="Forma livre: Forma 1849">
                <a:extLst>
                  <a:ext uri="{FF2B5EF4-FFF2-40B4-BE49-F238E27FC236}">
                    <a16:creationId xmlns:a16="http://schemas.microsoft.com/office/drawing/2014/main" id="{9B828622-FD44-B217-68CB-72EA9D0A032D}"/>
                  </a:ext>
                </a:extLst>
              </p:cNvPr>
              <p:cNvSpPr/>
              <p:nvPr/>
            </p:nvSpPr>
            <p:spPr>
              <a:xfrm>
                <a:off x="4744127" y="3717979"/>
                <a:ext cx="97955" cy="4804"/>
              </a:xfrm>
              <a:custGeom>
                <a:avLst/>
                <a:gdLst>
                  <a:gd name="connsiteX0" fmla="*/ 97955 w 97955"/>
                  <a:gd name="connsiteY0" fmla="*/ 0 h 4804"/>
                  <a:gd name="connsiteX1" fmla="*/ 0 w 97955"/>
                  <a:gd name="connsiteY1" fmla="*/ 0 h 48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7955" h="4804">
                    <a:moveTo>
                      <a:pt x="97955" y="0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851" name="Forma livre: Forma 1850">
                <a:extLst>
                  <a:ext uri="{FF2B5EF4-FFF2-40B4-BE49-F238E27FC236}">
                    <a16:creationId xmlns:a16="http://schemas.microsoft.com/office/drawing/2014/main" id="{1F92ECB5-437B-F428-9F70-E09ABD4EE74F}"/>
                  </a:ext>
                </a:extLst>
              </p:cNvPr>
              <p:cNvSpPr/>
              <p:nvPr/>
            </p:nvSpPr>
            <p:spPr>
              <a:xfrm>
                <a:off x="4744127" y="3686272"/>
                <a:ext cx="97955" cy="4804"/>
              </a:xfrm>
              <a:custGeom>
                <a:avLst/>
                <a:gdLst>
                  <a:gd name="connsiteX0" fmla="*/ 97955 w 97955"/>
                  <a:gd name="connsiteY0" fmla="*/ 0 h 4804"/>
                  <a:gd name="connsiteX1" fmla="*/ 0 w 97955"/>
                  <a:gd name="connsiteY1" fmla="*/ 0 h 48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7955" h="4804">
                    <a:moveTo>
                      <a:pt x="97955" y="0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852" name="Forma livre: Forma 1851">
                <a:extLst>
                  <a:ext uri="{FF2B5EF4-FFF2-40B4-BE49-F238E27FC236}">
                    <a16:creationId xmlns:a16="http://schemas.microsoft.com/office/drawing/2014/main" id="{FA8C5032-E62C-ED28-022D-58A65ABED0B6}"/>
                  </a:ext>
                </a:extLst>
              </p:cNvPr>
              <p:cNvSpPr/>
              <p:nvPr/>
            </p:nvSpPr>
            <p:spPr>
              <a:xfrm>
                <a:off x="4744127" y="3749686"/>
                <a:ext cx="54141" cy="4804"/>
              </a:xfrm>
              <a:custGeom>
                <a:avLst/>
                <a:gdLst>
                  <a:gd name="connsiteX0" fmla="*/ 54142 w 54141"/>
                  <a:gd name="connsiteY0" fmla="*/ 0 h 4804"/>
                  <a:gd name="connsiteX1" fmla="*/ 0 w 54141"/>
                  <a:gd name="connsiteY1" fmla="*/ 0 h 48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4141" h="4804">
                    <a:moveTo>
                      <a:pt x="54142" y="0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853" name="Forma livre: Forma 1852">
              <a:extLst>
                <a:ext uri="{FF2B5EF4-FFF2-40B4-BE49-F238E27FC236}">
                  <a16:creationId xmlns:a16="http://schemas.microsoft.com/office/drawing/2014/main" id="{76088510-7347-7064-CA41-F7144B501DDF}"/>
                </a:ext>
              </a:extLst>
            </p:cNvPr>
            <p:cNvSpPr/>
            <p:nvPr/>
          </p:nvSpPr>
          <p:spPr>
            <a:xfrm>
              <a:off x="4553550" y="3600279"/>
              <a:ext cx="321584" cy="262927"/>
            </a:xfrm>
            <a:custGeom>
              <a:avLst/>
              <a:gdLst>
                <a:gd name="connsiteX0" fmla="*/ 150175 w 321584"/>
                <a:gd name="connsiteY0" fmla="*/ 201819 h 262927"/>
                <a:gd name="connsiteX1" fmla="*/ 296652 w 321584"/>
                <a:gd name="connsiteY1" fmla="*/ 201819 h 262927"/>
                <a:gd name="connsiteX2" fmla="*/ 321585 w 321584"/>
                <a:gd name="connsiteY2" fmla="*/ 176886 h 262927"/>
                <a:gd name="connsiteX3" fmla="*/ 321585 w 321584"/>
                <a:gd name="connsiteY3" fmla="*/ 24933 h 262927"/>
                <a:gd name="connsiteX4" fmla="*/ 296652 w 321584"/>
                <a:gd name="connsiteY4" fmla="*/ 0 h 262927"/>
                <a:gd name="connsiteX5" fmla="*/ 24933 w 321584"/>
                <a:gd name="connsiteY5" fmla="*/ 0 h 262927"/>
                <a:gd name="connsiteX6" fmla="*/ 0 w 321584"/>
                <a:gd name="connsiteY6" fmla="*/ 24933 h 262927"/>
                <a:gd name="connsiteX7" fmla="*/ 0 w 321584"/>
                <a:gd name="connsiteY7" fmla="*/ 176838 h 262927"/>
                <a:gd name="connsiteX8" fmla="*/ 24933 w 321584"/>
                <a:gd name="connsiteY8" fmla="*/ 201771 h 262927"/>
                <a:gd name="connsiteX9" fmla="*/ 59619 w 321584"/>
                <a:gd name="connsiteY9" fmla="*/ 201771 h 262927"/>
                <a:gd name="connsiteX10" fmla="*/ 59619 w 321584"/>
                <a:gd name="connsiteY10" fmla="*/ 262927 h 262927"/>
                <a:gd name="connsiteX11" fmla="*/ 116595 w 321584"/>
                <a:gd name="connsiteY11" fmla="*/ 201771 h 2629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21584" h="262927">
                  <a:moveTo>
                    <a:pt x="150175" y="201819"/>
                  </a:moveTo>
                  <a:lnTo>
                    <a:pt x="296652" y="201819"/>
                  </a:lnTo>
                  <a:cubicBezTo>
                    <a:pt x="310392" y="201819"/>
                    <a:pt x="321585" y="190578"/>
                    <a:pt x="321585" y="176886"/>
                  </a:cubicBezTo>
                  <a:lnTo>
                    <a:pt x="321585" y="24933"/>
                  </a:lnTo>
                  <a:cubicBezTo>
                    <a:pt x="321585" y="11194"/>
                    <a:pt x="310343" y="0"/>
                    <a:pt x="296652" y="0"/>
                  </a:cubicBezTo>
                  <a:lnTo>
                    <a:pt x="24933" y="0"/>
                  </a:lnTo>
                  <a:cubicBezTo>
                    <a:pt x="11194" y="0"/>
                    <a:pt x="0" y="11242"/>
                    <a:pt x="0" y="24933"/>
                  </a:cubicBezTo>
                  <a:lnTo>
                    <a:pt x="0" y="176838"/>
                  </a:lnTo>
                  <a:cubicBezTo>
                    <a:pt x="0" y="190578"/>
                    <a:pt x="11242" y="201771"/>
                    <a:pt x="24933" y="201771"/>
                  </a:cubicBezTo>
                  <a:lnTo>
                    <a:pt x="59619" y="201771"/>
                  </a:lnTo>
                  <a:lnTo>
                    <a:pt x="59619" y="262927"/>
                  </a:lnTo>
                  <a:lnTo>
                    <a:pt x="116595" y="201771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854" name="Gráfico 15">
              <a:extLst>
                <a:ext uri="{FF2B5EF4-FFF2-40B4-BE49-F238E27FC236}">
                  <a16:creationId xmlns:a16="http://schemas.microsoft.com/office/drawing/2014/main" id="{3E7F1DC2-E028-B38E-1524-CEA63A2C7FB4}"/>
                </a:ext>
              </a:extLst>
            </p:cNvPr>
            <p:cNvGrpSpPr/>
            <p:nvPr/>
          </p:nvGrpSpPr>
          <p:grpSpPr>
            <a:xfrm>
              <a:off x="4613526" y="3631313"/>
              <a:ext cx="67982" cy="90508"/>
              <a:chOff x="4613526" y="3631313"/>
              <a:chExt cx="67982" cy="90508"/>
            </a:xfrm>
            <a:noFill/>
          </p:grpSpPr>
          <p:sp>
            <p:nvSpPr>
              <p:cNvPr id="1855" name="Forma livre: Forma 1854">
                <a:extLst>
                  <a:ext uri="{FF2B5EF4-FFF2-40B4-BE49-F238E27FC236}">
                    <a16:creationId xmlns:a16="http://schemas.microsoft.com/office/drawing/2014/main" id="{EF023D15-137E-1783-A68E-21AB5B43A74D}"/>
                  </a:ext>
                </a:extLst>
              </p:cNvPr>
              <p:cNvSpPr/>
              <p:nvPr/>
            </p:nvSpPr>
            <p:spPr>
              <a:xfrm>
                <a:off x="4613526" y="3631313"/>
                <a:ext cx="67982" cy="90508"/>
              </a:xfrm>
              <a:custGeom>
                <a:avLst/>
                <a:gdLst>
                  <a:gd name="connsiteX0" fmla="*/ 33991 w 67982"/>
                  <a:gd name="connsiteY0" fmla="*/ 0 h 90508"/>
                  <a:gd name="connsiteX1" fmla="*/ 699 w 67982"/>
                  <a:gd name="connsiteY1" fmla="*/ 45254 h 90508"/>
                  <a:gd name="connsiteX2" fmla="*/ 33991 w 67982"/>
                  <a:gd name="connsiteY2" fmla="*/ 90509 h 90508"/>
                  <a:gd name="connsiteX3" fmla="*/ 67284 w 67982"/>
                  <a:gd name="connsiteY3" fmla="*/ 45254 h 90508"/>
                  <a:gd name="connsiteX4" fmla="*/ 33991 w 67982"/>
                  <a:gd name="connsiteY4" fmla="*/ 0 h 905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7982" h="90508">
                    <a:moveTo>
                      <a:pt x="33991" y="0"/>
                    </a:moveTo>
                    <a:cubicBezTo>
                      <a:pt x="219" y="0"/>
                      <a:pt x="-1655" y="20417"/>
                      <a:pt x="699" y="45254"/>
                    </a:cubicBezTo>
                    <a:cubicBezTo>
                      <a:pt x="3053" y="70140"/>
                      <a:pt x="18714" y="90509"/>
                      <a:pt x="33991" y="90509"/>
                    </a:cubicBezTo>
                    <a:cubicBezTo>
                      <a:pt x="49268" y="90509"/>
                      <a:pt x="64930" y="70140"/>
                      <a:pt x="67284" y="45254"/>
                    </a:cubicBezTo>
                    <a:cubicBezTo>
                      <a:pt x="69638" y="20417"/>
                      <a:pt x="67764" y="0"/>
                      <a:pt x="33991" y="0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856" name="Forma livre: Forma 1855">
                <a:extLst>
                  <a:ext uri="{FF2B5EF4-FFF2-40B4-BE49-F238E27FC236}">
                    <a16:creationId xmlns:a16="http://schemas.microsoft.com/office/drawing/2014/main" id="{796B957E-6394-ADC8-FCA3-33C8DF7C7F68}"/>
                  </a:ext>
                </a:extLst>
              </p:cNvPr>
              <p:cNvSpPr/>
              <p:nvPr/>
            </p:nvSpPr>
            <p:spPr>
              <a:xfrm>
                <a:off x="4635411" y="3657159"/>
                <a:ext cx="45014" cy="12730"/>
              </a:xfrm>
              <a:custGeom>
                <a:avLst/>
                <a:gdLst>
                  <a:gd name="connsiteX0" fmla="*/ 45014 w 45014"/>
                  <a:gd name="connsiteY0" fmla="*/ 12731 h 12730"/>
                  <a:gd name="connsiteX1" fmla="*/ 21859 w 45014"/>
                  <a:gd name="connsiteY1" fmla="*/ 0 h 12730"/>
                  <a:gd name="connsiteX2" fmla="*/ 0 w 45014"/>
                  <a:gd name="connsiteY2" fmla="*/ 10953 h 127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45014" h="12730">
                    <a:moveTo>
                      <a:pt x="45014" y="12731"/>
                    </a:moveTo>
                    <a:cubicBezTo>
                      <a:pt x="30746" y="8984"/>
                      <a:pt x="21859" y="0"/>
                      <a:pt x="21859" y="0"/>
                    </a:cubicBezTo>
                    <a:cubicBezTo>
                      <a:pt x="21859" y="0"/>
                      <a:pt x="18256" y="7975"/>
                      <a:pt x="0" y="10953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857" name="Forma livre: Forma 1856">
              <a:extLst>
                <a:ext uri="{FF2B5EF4-FFF2-40B4-BE49-F238E27FC236}">
                  <a16:creationId xmlns:a16="http://schemas.microsoft.com/office/drawing/2014/main" id="{1A9D9230-43D8-D0BF-3CE0-B0D863DEC932}"/>
                </a:ext>
              </a:extLst>
            </p:cNvPr>
            <p:cNvSpPr/>
            <p:nvPr/>
          </p:nvSpPr>
          <p:spPr>
            <a:xfrm>
              <a:off x="4581029" y="3734937"/>
              <a:ext cx="132592" cy="37567"/>
            </a:xfrm>
            <a:custGeom>
              <a:avLst/>
              <a:gdLst>
                <a:gd name="connsiteX0" fmla="*/ 0 w 132592"/>
                <a:gd name="connsiteY0" fmla="*/ 37568 h 37567"/>
                <a:gd name="connsiteX1" fmla="*/ 0 w 132592"/>
                <a:gd name="connsiteY1" fmla="*/ 30218 h 37567"/>
                <a:gd name="connsiteX2" fmla="*/ 24597 w 132592"/>
                <a:gd name="connsiteY2" fmla="*/ 3795 h 37567"/>
                <a:gd name="connsiteX3" fmla="*/ 37039 w 132592"/>
                <a:gd name="connsiteY3" fmla="*/ 0 h 37567"/>
                <a:gd name="connsiteX4" fmla="*/ 66296 w 132592"/>
                <a:gd name="connsiteY4" fmla="*/ 36511 h 37567"/>
                <a:gd name="connsiteX5" fmla="*/ 95553 w 132592"/>
                <a:gd name="connsiteY5" fmla="*/ 0 h 37567"/>
                <a:gd name="connsiteX6" fmla="*/ 107996 w 132592"/>
                <a:gd name="connsiteY6" fmla="*/ 3795 h 37567"/>
                <a:gd name="connsiteX7" fmla="*/ 132593 w 132592"/>
                <a:gd name="connsiteY7" fmla="*/ 30218 h 37567"/>
                <a:gd name="connsiteX8" fmla="*/ 132593 w 132592"/>
                <a:gd name="connsiteY8" fmla="*/ 37568 h 37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32592" h="37567">
                  <a:moveTo>
                    <a:pt x="0" y="37568"/>
                  </a:moveTo>
                  <a:lnTo>
                    <a:pt x="0" y="30218"/>
                  </a:lnTo>
                  <a:cubicBezTo>
                    <a:pt x="0" y="9944"/>
                    <a:pt x="24597" y="3795"/>
                    <a:pt x="24597" y="3795"/>
                  </a:cubicBezTo>
                  <a:lnTo>
                    <a:pt x="37039" y="0"/>
                  </a:lnTo>
                  <a:lnTo>
                    <a:pt x="66296" y="36511"/>
                  </a:lnTo>
                  <a:lnTo>
                    <a:pt x="95553" y="0"/>
                  </a:lnTo>
                  <a:lnTo>
                    <a:pt x="107996" y="3795"/>
                  </a:lnTo>
                  <a:cubicBezTo>
                    <a:pt x="107996" y="3795"/>
                    <a:pt x="132593" y="9944"/>
                    <a:pt x="132593" y="30218"/>
                  </a:cubicBezTo>
                  <a:lnTo>
                    <a:pt x="132593" y="37568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858" name="Gráfico 15">
            <a:extLst>
              <a:ext uri="{FF2B5EF4-FFF2-40B4-BE49-F238E27FC236}">
                <a16:creationId xmlns:a16="http://schemas.microsoft.com/office/drawing/2014/main" id="{9BFDF758-E45B-C5B4-B84F-2AAB03DE1D4B}"/>
              </a:ext>
            </a:extLst>
          </p:cNvPr>
          <p:cNvGrpSpPr/>
          <p:nvPr/>
        </p:nvGrpSpPr>
        <p:grpSpPr>
          <a:xfrm>
            <a:off x="4557249" y="5756013"/>
            <a:ext cx="314121" cy="277692"/>
            <a:chOff x="4557249" y="5756013"/>
            <a:chExt cx="314121" cy="277692"/>
          </a:xfrm>
        </p:grpSpPr>
        <p:sp>
          <p:nvSpPr>
            <p:cNvPr id="1859" name="Forma livre: Forma 1858">
              <a:extLst>
                <a:ext uri="{FF2B5EF4-FFF2-40B4-BE49-F238E27FC236}">
                  <a16:creationId xmlns:a16="http://schemas.microsoft.com/office/drawing/2014/main" id="{0F3B334C-C9B4-4296-1068-A7FB2A4B6CEA}"/>
                </a:ext>
              </a:extLst>
            </p:cNvPr>
            <p:cNvSpPr/>
            <p:nvPr/>
          </p:nvSpPr>
          <p:spPr>
            <a:xfrm>
              <a:off x="4578771" y="5810972"/>
              <a:ext cx="244959" cy="4804"/>
            </a:xfrm>
            <a:custGeom>
              <a:avLst/>
              <a:gdLst>
                <a:gd name="connsiteX0" fmla="*/ 0 w 244959"/>
                <a:gd name="connsiteY0" fmla="*/ 0 h 4804"/>
                <a:gd name="connsiteX1" fmla="*/ 244960 w 244959"/>
                <a:gd name="connsiteY1" fmla="*/ 0 h 48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44959" h="4804">
                  <a:moveTo>
                    <a:pt x="0" y="0"/>
                  </a:moveTo>
                  <a:lnTo>
                    <a:pt x="24496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860" name="Gráfico 15">
              <a:extLst>
                <a:ext uri="{FF2B5EF4-FFF2-40B4-BE49-F238E27FC236}">
                  <a16:creationId xmlns:a16="http://schemas.microsoft.com/office/drawing/2014/main" id="{4AC5316A-4DD7-90FF-96DB-E61B084348CC}"/>
                </a:ext>
              </a:extLst>
            </p:cNvPr>
            <p:cNvGrpSpPr/>
            <p:nvPr/>
          </p:nvGrpSpPr>
          <p:grpSpPr>
            <a:xfrm>
              <a:off x="4608652" y="5864009"/>
              <a:ext cx="185197" cy="36030"/>
              <a:chOff x="4608652" y="5864009"/>
              <a:chExt cx="185197" cy="36030"/>
            </a:xfrm>
          </p:grpSpPr>
          <p:sp>
            <p:nvSpPr>
              <p:cNvPr id="1861" name="Forma livre: Forma 1860">
                <a:extLst>
                  <a:ext uri="{FF2B5EF4-FFF2-40B4-BE49-F238E27FC236}">
                    <a16:creationId xmlns:a16="http://schemas.microsoft.com/office/drawing/2014/main" id="{DE067C66-17DD-A399-2640-8882ED64E226}"/>
                  </a:ext>
                </a:extLst>
              </p:cNvPr>
              <p:cNvSpPr/>
              <p:nvPr/>
            </p:nvSpPr>
            <p:spPr>
              <a:xfrm>
                <a:off x="4608652" y="5864009"/>
                <a:ext cx="185197" cy="4804"/>
              </a:xfrm>
              <a:custGeom>
                <a:avLst/>
                <a:gdLst>
                  <a:gd name="connsiteX0" fmla="*/ 0 w 185197"/>
                  <a:gd name="connsiteY0" fmla="*/ 0 h 4804"/>
                  <a:gd name="connsiteX1" fmla="*/ 185197 w 185197"/>
                  <a:gd name="connsiteY1" fmla="*/ 0 h 48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85197" h="4804">
                    <a:moveTo>
                      <a:pt x="0" y="0"/>
                    </a:moveTo>
                    <a:lnTo>
                      <a:pt x="185197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862" name="Forma livre: Forma 1861">
                <a:extLst>
                  <a:ext uri="{FF2B5EF4-FFF2-40B4-BE49-F238E27FC236}">
                    <a16:creationId xmlns:a16="http://schemas.microsoft.com/office/drawing/2014/main" id="{665E49A9-CBE7-1EC7-213C-8C22B51F01AD}"/>
                  </a:ext>
                </a:extLst>
              </p:cNvPr>
              <p:cNvSpPr/>
              <p:nvPr/>
            </p:nvSpPr>
            <p:spPr>
              <a:xfrm>
                <a:off x="4608652" y="5900040"/>
                <a:ext cx="78402" cy="4804"/>
              </a:xfrm>
              <a:custGeom>
                <a:avLst/>
                <a:gdLst>
                  <a:gd name="connsiteX0" fmla="*/ 0 w 78402"/>
                  <a:gd name="connsiteY0" fmla="*/ 0 h 4804"/>
                  <a:gd name="connsiteX1" fmla="*/ 78403 w 78402"/>
                  <a:gd name="connsiteY1" fmla="*/ 0 h 48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78402" h="4804">
                    <a:moveTo>
                      <a:pt x="0" y="0"/>
                    </a:moveTo>
                    <a:lnTo>
                      <a:pt x="78403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863" name="Gráfico 15">
              <a:extLst>
                <a:ext uri="{FF2B5EF4-FFF2-40B4-BE49-F238E27FC236}">
                  <a16:creationId xmlns:a16="http://schemas.microsoft.com/office/drawing/2014/main" id="{6F8357CC-A63F-DE5C-20C4-975004233AAD}"/>
                </a:ext>
              </a:extLst>
            </p:cNvPr>
            <p:cNvGrpSpPr/>
            <p:nvPr/>
          </p:nvGrpSpPr>
          <p:grpSpPr>
            <a:xfrm>
              <a:off x="4591550" y="5779986"/>
              <a:ext cx="77057" cy="7302"/>
              <a:chOff x="4591550" y="5779986"/>
              <a:chExt cx="77057" cy="7302"/>
            </a:xfrm>
            <a:solidFill>
              <a:srgbClr val="394553"/>
            </a:solidFill>
          </p:grpSpPr>
          <p:sp>
            <p:nvSpPr>
              <p:cNvPr id="1864" name="Forma livre: Forma 1863">
                <a:extLst>
                  <a:ext uri="{FF2B5EF4-FFF2-40B4-BE49-F238E27FC236}">
                    <a16:creationId xmlns:a16="http://schemas.microsoft.com/office/drawing/2014/main" id="{C7A94C95-B520-C9D9-06EC-22334F938DA2}"/>
                  </a:ext>
                </a:extLst>
              </p:cNvPr>
              <p:cNvSpPr/>
              <p:nvPr/>
            </p:nvSpPr>
            <p:spPr>
              <a:xfrm>
                <a:off x="4591550" y="5779986"/>
                <a:ext cx="7206" cy="7206"/>
              </a:xfrm>
              <a:custGeom>
                <a:avLst/>
                <a:gdLst>
                  <a:gd name="connsiteX0" fmla="*/ 7206 w 7206"/>
                  <a:gd name="connsiteY0" fmla="*/ 3603 h 7206"/>
                  <a:gd name="connsiteX1" fmla="*/ 3603 w 7206"/>
                  <a:gd name="connsiteY1" fmla="*/ 7206 h 7206"/>
                  <a:gd name="connsiteX2" fmla="*/ 0 w 7206"/>
                  <a:gd name="connsiteY2" fmla="*/ 3603 h 7206"/>
                  <a:gd name="connsiteX3" fmla="*/ 3603 w 7206"/>
                  <a:gd name="connsiteY3" fmla="*/ 0 h 7206"/>
                  <a:gd name="connsiteX4" fmla="*/ 7206 w 7206"/>
                  <a:gd name="connsiteY4" fmla="*/ 3603 h 72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206" h="7206">
                    <a:moveTo>
                      <a:pt x="7206" y="3603"/>
                    </a:moveTo>
                    <a:cubicBezTo>
                      <a:pt x="7206" y="5621"/>
                      <a:pt x="5621" y="7206"/>
                      <a:pt x="3603" y="7206"/>
                    </a:cubicBezTo>
                    <a:cubicBezTo>
                      <a:pt x="1585" y="7206"/>
                      <a:pt x="0" y="5573"/>
                      <a:pt x="0" y="3603"/>
                    </a:cubicBezTo>
                    <a:cubicBezTo>
                      <a:pt x="0" y="1633"/>
                      <a:pt x="1633" y="0"/>
                      <a:pt x="3603" y="0"/>
                    </a:cubicBezTo>
                    <a:cubicBezTo>
                      <a:pt x="5573" y="0"/>
                      <a:pt x="7206" y="1585"/>
                      <a:pt x="7206" y="3603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865" name="Forma livre: Forma 1864">
                <a:extLst>
                  <a:ext uri="{FF2B5EF4-FFF2-40B4-BE49-F238E27FC236}">
                    <a16:creationId xmlns:a16="http://schemas.microsoft.com/office/drawing/2014/main" id="{9CB566EB-8E63-D1C7-5536-AFF19EB3E2BA}"/>
                  </a:ext>
                </a:extLst>
              </p:cNvPr>
              <p:cNvSpPr/>
              <p:nvPr/>
            </p:nvSpPr>
            <p:spPr>
              <a:xfrm>
                <a:off x="4626428" y="5779986"/>
                <a:ext cx="7206" cy="7206"/>
              </a:xfrm>
              <a:custGeom>
                <a:avLst/>
                <a:gdLst>
                  <a:gd name="connsiteX0" fmla="*/ 7206 w 7206"/>
                  <a:gd name="connsiteY0" fmla="*/ 3603 h 7206"/>
                  <a:gd name="connsiteX1" fmla="*/ 3603 w 7206"/>
                  <a:gd name="connsiteY1" fmla="*/ 7206 h 7206"/>
                  <a:gd name="connsiteX2" fmla="*/ 0 w 7206"/>
                  <a:gd name="connsiteY2" fmla="*/ 3603 h 7206"/>
                  <a:gd name="connsiteX3" fmla="*/ 3603 w 7206"/>
                  <a:gd name="connsiteY3" fmla="*/ 0 h 7206"/>
                  <a:gd name="connsiteX4" fmla="*/ 7206 w 7206"/>
                  <a:gd name="connsiteY4" fmla="*/ 3603 h 72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206" h="7206">
                    <a:moveTo>
                      <a:pt x="7206" y="3603"/>
                    </a:moveTo>
                    <a:cubicBezTo>
                      <a:pt x="7206" y="5621"/>
                      <a:pt x="5621" y="7206"/>
                      <a:pt x="3603" y="7206"/>
                    </a:cubicBezTo>
                    <a:cubicBezTo>
                      <a:pt x="1585" y="7206"/>
                      <a:pt x="0" y="5573"/>
                      <a:pt x="0" y="3603"/>
                    </a:cubicBezTo>
                    <a:cubicBezTo>
                      <a:pt x="0" y="1633"/>
                      <a:pt x="1633" y="0"/>
                      <a:pt x="3603" y="0"/>
                    </a:cubicBezTo>
                    <a:cubicBezTo>
                      <a:pt x="5573" y="0"/>
                      <a:pt x="7206" y="1585"/>
                      <a:pt x="7206" y="3603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866" name="Forma livre: Forma 1865">
                <a:extLst>
                  <a:ext uri="{FF2B5EF4-FFF2-40B4-BE49-F238E27FC236}">
                    <a16:creationId xmlns:a16="http://schemas.microsoft.com/office/drawing/2014/main" id="{42A12DD5-4986-370A-C598-0898F8ECD06A}"/>
                  </a:ext>
                </a:extLst>
              </p:cNvPr>
              <p:cNvSpPr/>
              <p:nvPr/>
            </p:nvSpPr>
            <p:spPr>
              <a:xfrm>
                <a:off x="4661305" y="5779986"/>
                <a:ext cx="7302" cy="7302"/>
              </a:xfrm>
              <a:custGeom>
                <a:avLst/>
                <a:gdLst>
                  <a:gd name="connsiteX0" fmla="*/ 7302 w 7302"/>
                  <a:gd name="connsiteY0" fmla="*/ 3651 h 7302"/>
                  <a:gd name="connsiteX1" fmla="*/ 3651 w 7302"/>
                  <a:gd name="connsiteY1" fmla="*/ 7302 h 7302"/>
                  <a:gd name="connsiteX2" fmla="*/ 0 w 7302"/>
                  <a:gd name="connsiteY2" fmla="*/ 3651 h 7302"/>
                  <a:gd name="connsiteX3" fmla="*/ 3651 w 7302"/>
                  <a:gd name="connsiteY3" fmla="*/ 0 h 7302"/>
                  <a:gd name="connsiteX4" fmla="*/ 7302 w 7302"/>
                  <a:gd name="connsiteY4" fmla="*/ 3651 h 73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302" h="7302">
                    <a:moveTo>
                      <a:pt x="7302" y="3651"/>
                    </a:moveTo>
                    <a:cubicBezTo>
                      <a:pt x="7302" y="5669"/>
                      <a:pt x="5669" y="7302"/>
                      <a:pt x="3651" y="7302"/>
                    </a:cubicBezTo>
                    <a:cubicBezTo>
                      <a:pt x="1633" y="7302"/>
                      <a:pt x="0" y="5669"/>
                      <a:pt x="0" y="3651"/>
                    </a:cubicBezTo>
                    <a:cubicBezTo>
                      <a:pt x="0" y="1633"/>
                      <a:pt x="1633" y="0"/>
                      <a:pt x="3651" y="0"/>
                    </a:cubicBezTo>
                    <a:cubicBezTo>
                      <a:pt x="5669" y="0"/>
                      <a:pt x="7302" y="1633"/>
                      <a:pt x="7302" y="3651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867" name="Forma livre: Forma 1866">
              <a:extLst>
                <a:ext uri="{FF2B5EF4-FFF2-40B4-BE49-F238E27FC236}">
                  <a16:creationId xmlns:a16="http://schemas.microsoft.com/office/drawing/2014/main" id="{F25563C5-6FDB-30B1-B4AB-67EDEB001479}"/>
                </a:ext>
              </a:extLst>
            </p:cNvPr>
            <p:cNvSpPr/>
            <p:nvPr/>
          </p:nvSpPr>
          <p:spPr>
            <a:xfrm>
              <a:off x="4557249" y="5756013"/>
              <a:ext cx="288004" cy="211523"/>
            </a:xfrm>
            <a:custGeom>
              <a:avLst/>
              <a:gdLst>
                <a:gd name="connsiteX0" fmla="*/ 159399 w 288004"/>
                <a:gd name="connsiteY0" fmla="*/ 211524 h 211523"/>
                <a:gd name="connsiteX1" fmla="*/ 15998 w 288004"/>
                <a:gd name="connsiteY1" fmla="*/ 211524 h 211523"/>
                <a:gd name="connsiteX2" fmla="*/ 0 w 288004"/>
                <a:gd name="connsiteY2" fmla="*/ 195526 h 211523"/>
                <a:gd name="connsiteX3" fmla="*/ 0 w 288004"/>
                <a:gd name="connsiteY3" fmla="*/ 15998 h 211523"/>
                <a:gd name="connsiteX4" fmla="*/ 15998 w 288004"/>
                <a:gd name="connsiteY4" fmla="*/ 0 h 211523"/>
                <a:gd name="connsiteX5" fmla="*/ 272007 w 288004"/>
                <a:gd name="connsiteY5" fmla="*/ 0 h 211523"/>
                <a:gd name="connsiteX6" fmla="*/ 288005 w 288004"/>
                <a:gd name="connsiteY6" fmla="*/ 16094 h 211523"/>
                <a:gd name="connsiteX7" fmla="*/ 288005 w 288004"/>
                <a:gd name="connsiteY7" fmla="*/ 180105 h 2115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8004" h="211523">
                  <a:moveTo>
                    <a:pt x="159399" y="211524"/>
                  </a:moveTo>
                  <a:lnTo>
                    <a:pt x="15998" y="211524"/>
                  </a:lnTo>
                  <a:cubicBezTo>
                    <a:pt x="7206" y="211524"/>
                    <a:pt x="0" y="204318"/>
                    <a:pt x="0" y="195526"/>
                  </a:cubicBezTo>
                  <a:lnTo>
                    <a:pt x="0" y="15998"/>
                  </a:lnTo>
                  <a:cubicBezTo>
                    <a:pt x="0" y="7206"/>
                    <a:pt x="7206" y="0"/>
                    <a:pt x="15998" y="0"/>
                  </a:cubicBezTo>
                  <a:lnTo>
                    <a:pt x="272007" y="0"/>
                  </a:lnTo>
                  <a:cubicBezTo>
                    <a:pt x="280798" y="0"/>
                    <a:pt x="288005" y="7206"/>
                    <a:pt x="288005" y="16094"/>
                  </a:cubicBezTo>
                  <a:lnTo>
                    <a:pt x="288005" y="180105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868" name="Gráfico 15">
              <a:extLst>
                <a:ext uri="{FF2B5EF4-FFF2-40B4-BE49-F238E27FC236}">
                  <a16:creationId xmlns:a16="http://schemas.microsoft.com/office/drawing/2014/main" id="{489B7775-C7DB-58A5-55EE-A6FC68521114}"/>
                </a:ext>
              </a:extLst>
            </p:cNvPr>
            <p:cNvGrpSpPr/>
            <p:nvPr/>
          </p:nvGrpSpPr>
          <p:grpSpPr>
            <a:xfrm>
              <a:off x="4714102" y="5898743"/>
              <a:ext cx="157268" cy="134962"/>
              <a:chOff x="4714102" y="5898743"/>
              <a:chExt cx="157268" cy="134962"/>
            </a:xfrm>
            <a:noFill/>
          </p:grpSpPr>
          <p:sp>
            <p:nvSpPr>
              <p:cNvPr id="1869" name="Forma livre: Forma 1868">
                <a:extLst>
                  <a:ext uri="{FF2B5EF4-FFF2-40B4-BE49-F238E27FC236}">
                    <a16:creationId xmlns:a16="http://schemas.microsoft.com/office/drawing/2014/main" id="{26982598-1DE9-63E1-D29E-A452AAC25C0F}"/>
                  </a:ext>
                </a:extLst>
              </p:cNvPr>
              <p:cNvSpPr/>
              <p:nvPr/>
            </p:nvSpPr>
            <p:spPr>
              <a:xfrm>
                <a:off x="4714102" y="5898743"/>
                <a:ext cx="157268" cy="134962"/>
              </a:xfrm>
              <a:custGeom>
                <a:avLst/>
                <a:gdLst>
                  <a:gd name="connsiteX0" fmla="*/ 27816 w 157268"/>
                  <a:gd name="connsiteY0" fmla="*/ 58129 h 134962"/>
                  <a:gd name="connsiteX1" fmla="*/ 0 w 157268"/>
                  <a:gd name="connsiteY1" fmla="*/ 0 h 134962"/>
                  <a:gd name="connsiteX2" fmla="*/ 64038 w 157268"/>
                  <a:gd name="connsiteY2" fmla="*/ 17103 h 134962"/>
                  <a:gd name="connsiteX3" fmla="*/ 153875 w 157268"/>
                  <a:gd name="connsiteY3" fmla="*/ 90653 h 134962"/>
                  <a:gd name="connsiteX4" fmla="*/ 152722 w 157268"/>
                  <a:gd name="connsiteY4" fmla="*/ 110446 h 134962"/>
                  <a:gd name="connsiteX5" fmla="*/ 138454 w 157268"/>
                  <a:gd name="connsiteY5" fmla="*/ 127885 h 134962"/>
                  <a:gd name="connsiteX6" fmla="*/ 119237 w 157268"/>
                  <a:gd name="connsiteY6" fmla="*/ 132929 h 134962"/>
                  <a:gd name="connsiteX7" fmla="*/ 27768 w 157268"/>
                  <a:gd name="connsiteY7" fmla="*/ 58033 h 1349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57268" h="134962">
                    <a:moveTo>
                      <a:pt x="27816" y="58129"/>
                    </a:moveTo>
                    <a:lnTo>
                      <a:pt x="0" y="0"/>
                    </a:lnTo>
                    <a:lnTo>
                      <a:pt x="64038" y="17103"/>
                    </a:lnTo>
                    <a:lnTo>
                      <a:pt x="153875" y="90653"/>
                    </a:lnTo>
                    <a:cubicBezTo>
                      <a:pt x="158823" y="94736"/>
                      <a:pt x="158294" y="103624"/>
                      <a:pt x="152722" y="110446"/>
                    </a:cubicBezTo>
                    <a:lnTo>
                      <a:pt x="138454" y="127885"/>
                    </a:lnTo>
                    <a:cubicBezTo>
                      <a:pt x="132881" y="134754"/>
                      <a:pt x="124185" y="137012"/>
                      <a:pt x="119237" y="132929"/>
                    </a:cubicBezTo>
                    <a:lnTo>
                      <a:pt x="27768" y="58033"/>
                    </a:ln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870" name="Forma livre: Forma 1869">
                <a:extLst>
                  <a:ext uri="{FF2B5EF4-FFF2-40B4-BE49-F238E27FC236}">
                    <a16:creationId xmlns:a16="http://schemas.microsoft.com/office/drawing/2014/main" id="{3EA01F2C-4A5C-68B4-E1D1-B6721510FCBB}"/>
                  </a:ext>
                </a:extLst>
              </p:cNvPr>
              <p:cNvSpPr/>
              <p:nvPr/>
            </p:nvSpPr>
            <p:spPr>
              <a:xfrm>
                <a:off x="4723374" y="5904508"/>
                <a:ext cx="8983" cy="11001"/>
              </a:xfrm>
              <a:custGeom>
                <a:avLst/>
                <a:gdLst>
                  <a:gd name="connsiteX0" fmla="*/ 0 w 8983"/>
                  <a:gd name="connsiteY0" fmla="*/ 11001 h 11001"/>
                  <a:gd name="connsiteX1" fmla="*/ 8984 w 8983"/>
                  <a:gd name="connsiteY1" fmla="*/ 0 h 110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8983" h="11001">
                    <a:moveTo>
                      <a:pt x="0" y="11001"/>
                    </a:moveTo>
                    <a:lnTo>
                      <a:pt x="8984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871" name="Forma livre: Forma 1870">
                <a:extLst>
                  <a:ext uri="{FF2B5EF4-FFF2-40B4-BE49-F238E27FC236}">
                    <a16:creationId xmlns:a16="http://schemas.microsoft.com/office/drawing/2014/main" id="{4E3D5E3D-125F-B8AA-31A0-0F3DF4F7B2D7}"/>
                  </a:ext>
                </a:extLst>
              </p:cNvPr>
              <p:cNvSpPr/>
              <p:nvPr/>
            </p:nvSpPr>
            <p:spPr>
              <a:xfrm>
                <a:off x="4746722" y="5918920"/>
                <a:ext cx="32379" cy="39537"/>
              </a:xfrm>
              <a:custGeom>
                <a:avLst/>
                <a:gdLst>
                  <a:gd name="connsiteX0" fmla="*/ 0 w 32379"/>
                  <a:gd name="connsiteY0" fmla="*/ 39538 h 39537"/>
                  <a:gd name="connsiteX1" fmla="*/ 32379 w 32379"/>
                  <a:gd name="connsiteY1" fmla="*/ 0 h 395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2379" h="39537">
                    <a:moveTo>
                      <a:pt x="0" y="39538"/>
                    </a:moveTo>
                    <a:lnTo>
                      <a:pt x="32379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872" name="Forma livre: Forma 1871">
                <a:extLst>
                  <a:ext uri="{FF2B5EF4-FFF2-40B4-BE49-F238E27FC236}">
                    <a16:creationId xmlns:a16="http://schemas.microsoft.com/office/drawing/2014/main" id="{D42D10A1-9593-5F78-3E87-1CCEC7C1678B}"/>
                  </a:ext>
                </a:extLst>
              </p:cNvPr>
              <p:cNvSpPr/>
              <p:nvPr/>
            </p:nvSpPr>
            <p:spPr>
              <a:xfrm>
                <a:off x="4814940" y="5974791"/>
                <a:ext cx="32379" cy="39585"/>
              </a:xfrm>
              <a:custGeom>
                <a:avLst/>
                <a:gdLst>
                  <a:gd name="connsiteX0" fmla="*/ 0 w 32379"/>
                  <a:gd name="connsiteY0" fmla="*/ 39586 h 39585"/>
                  <a:gd name="connsiteX1" fmla="*/ 32379 w 32379"/>
                  <a:gd name="connsiteY1" fmla="*/ 0 h 395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2379" h="39585">
                    <a:moveTo>
                      <a:pt x="0" y="39586"/>
                    </a:moveTo>
                    <a:lnTo>
                      <a:pt x="32379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873" name="Forma livre: Forma 1872">
                <a:extLst>
                  <a:ext uri="{FF2B5EF4-FFF2-40B4-BE49-F238E27FC236}">
                    <a16:creationId xmlns:a16="http://schemas.microsoft.com/office/drawing/2014/main" id="{4E802F71-FCAE-6554-FB47-07A7CC180A20}"/>
                  </a:ext>
                </a:extLst>
              </p:cNvPr>
              <p:cNvSpPr/>
              <p:nvPr/>
            </p:nvSpPr>
            <p:spPr>
              <a:xfrm>
                <a:off x="4764016" y="5939577"/>
                <a:ext cx="49289" cy="40402"/>
              </a:xfrm>
              <a:custGeom>
                <a:avLst/>
                <a:gdLst>
                  <a:gd name="connsiteX0" fmla="*/ 0 w 49289"/>
                  <a:gd name="connsiteY0" fmla="*/ 0 h 40402"/>
                  <a:gd name="connsiteX1" fmla="*/ 49290 w 49289"/>
                  <a:gd name="connsiteY1" fmla="*/ 40402 h 404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9289" h="40402">
                    <a:moveTo>
                      <a:pt x="0" y="0"/>
                    </a:moveTo>
                    <a:lnTo>
                      <a:pt x="49290" y="40402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875" name="Gráfico 17">
            <a:extLst>
              <a:ext uri="{FF2B5EF4-FFF2-40B4-BE49-F238E27FC236}">
                <a16:creationId xmlns:a16="http://schemas.microsoft.com/office/drawing/2014/main" id="{CE2A1116-686A-59CD-E0CC-9EF8606D6454}"/>
              </a:ext>
            </a:extLst>
          </p:cNvPr>
          <p:cNvGrpSpPr/>
          <p:nvPr/>
        </p:nvGrpSpPr>
        <p:grpSpPr>
          <a:xfrm>
            <a:off x="7631447" y="3616569"/>
            <a:ext cx="284222" cy="302598"/>
            <a:chOff x="7631447" y="3616569"/>
            <a:chExt cx="284222" cy="302598"/>
          </a:xfrm>
          <a:noFill/>
        </p:grpSpPr>
        <p:sp>
          <p:nvSpPr>
            <p:cNvPr id="1876" name="Forma livre: Forma 1875">
              <a:extLst>
                <a:ext uri="{FF2B5EF4-FFF2-40B4-BE49-F238E27FC236}">
                  <a16:creationId xmlns:a16="http://schemas.microsoft.com/office/drawing/2014/main" id="{5A1EA448-AB71-F185-0576-DF0D809013D5}"/>
                </a:ext>
              </a:extLst>
            </p:cNvPr>
            <p:cNvSpPr/>
            <p:nvPr/>
          </p:nvSpPr>
          <p:spPr>
            <a:xfrm>
              <a:off x="7742442" y="3761023"/>
              <a:ext cx="173226" cy="158144"/>
            </a:xfrm>
            <a:custGeom>
              <a:avLst/>
              <a:gdLst>
                <a:gd name="connsiteX0" fmla="*/ 173226 w 173226"/>
                <a:gd name="connsiteY0" fmla="*/ 108156 h 158144"/>
                <a:gd name="connsiteX1" fmla="*/ 142138 w 173226"/>
                <a:gd name="connsiteY1" fmla="*/ 47026 h 158144"/>
                <a:gd name="connsiteX2" fmla="*/ 111526 w 173226"/>
                <a:gd name="connsiteY2" fmla="*/ 32744 h 158144"/>
                <a:gd name="connsiteX3" fmla="*/ 57824 w 173226"/>
                <a:gd name="connsiteY3" fmla="*/ 54596 h 158144"/>
                <a:gd name="connsiteX4" fmla="*/ 28545 w 173226"/>
                <a:gd name="connsiteY4" fmla="*/ 6845 h 158144"/>
                <a:gd name="connsiteX5" fmla="*/ 7502 w 173226"/>
                <a:gd name="connsiteY5" fmla="*/ 2275 h 158144"/>
                <a:gd name="connsiteX6" fmla="*/ 2074 w 173226"/>
                <a:gd name="connsiteY6" fmla="*/ 23127 h 158144"/>
                <a:gd name="connsiteX7" fmla="*/ 40399 w 173226"/>
                <a:gd name="connsiteY7" fmla="*/ 85637 h 158144"/>
                <a:gd name="connsiteX8" fmla="*/ 58966 w 173226"/>
                <a:gd name="connsiteY8" fmla="*/ 115963 h 158144"/>
                <a:gd name="connsiteX9" fmla="*/ 21499 w 173226"/>
                <a:gd name="connsiteY9" fmla="*/ 107013 h 158144"/>
                <a:gd name="connsiteX10" fmla="*/ 3455 w 173226"/>
                <a:gd name="connsiteY10" fmla="*/ 117963 h 158144"/>
                <a:gd name="connsiteX11" fmla="*/ 2931 w 173226"/>
                <a:gd name="connsiteY11" fmla="*/ 120201 h 158144"/>
                <a:gd name="connsiteX12" fmla="*/ 13834 w 173226"/>
                <a:gd name="connsiteY12" fmla="*/ 138244 h 158144"/>
                <a:gd name="connsiteX13" fmla="*/ 96387 w 173226"/>
                <a:gd name="connsiteY13" fmla="*/ 158144 h 1581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73226" h="158144">
                  <a:moveTo>
                    <a:pt x="173226" y="108156"/>
                  </a:moveTo>
                  <a:lnTo>
                    <a:pt x="142138" y="47026"/>
                  </a:lnTo>
                  <a:cubicBezTo>
                    <a:pt x="129379" y="26174"/>
                    <a:pt x="111526" y="32744"/>
                    <a:pt x="111526" y="32744"/>
                  </a:cubicBezTo>
                  <a:lnTo>
                    <a:pt x="57824" y="54596"/>
                  </a:lnTo>
                  <a:lnTo>
                    <a:pt x="28545" y="6845"/>
                  </a:lnTo>
                  <a:cubicBezTo>
                    <a:pt x="24260" y="-106"/>
                    <a:pt x="14500" y="-2010"/>
                    <a:pt x="7502" y="2275"/>
                  </a:cubicBezTo>
                  <a:cubicBezTo>
                    <a:pt x="503" y="6559"/>
                    <a:pt x="-2258" y="16129"/>
                    <a:pt x="2074" y="23127"/>
                  </a:cubicBezTo>
                  <a:lnTo>
                    <a:pt x="40399" y="85637"/>
                  </a:lnTo>
                  <a:lnTo>
                    <a:pt x="58966" y="115963"/>
                  </a:lnTo>
                  <a:lnTo>
                    <a:pt x="21499" y="107013"/>
                  </a:lnTo>
                  <a:cubicBezTo>
                    <a:pt x="13548" y="105061"/>
                    <a:pt x="5407" y="109965"/>
                    <a:pt x="3455" y="117963"/>
                  </a:cubicBezTo>
                  <a:lnTo>
                    <a:pt x="2931" y="120201"/>
                  </a:lnTo>
                  <a:cubicBezTo>
                    <a:pt x="979" y="128199"/>
                    <a:pt x="5883" y="136292"/>
                    <a:pt x="13834" y="138244"/>
                  </a:cubicBezTo>
                  <a:lnTo>
                    <a:pt x="96387" y="158144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77" name="Forma livre: Forma 1876">
              <a:extLst>
                <a:ext uri="{FF2B5EF4-FFF2-40B4-BE49-F238E27FC236}">
                  <a16:creationId xmlns:a16="http://schemas.microsoft.com/office/drawing/2014/main" id="{35568BD2-85FC-7ABB-F690-2BE62A9898C5}"/>
                </a:ext>
              </a:extLst>
            </p:cNvPr>
            <p:cNvSpPr/>
            <p:nvPr/>
          </p:nvSpPr>
          <p:spPr>
            <a:xfrm>
              <a:off x="7658869" y="3657559"/>
              <a:ext cx="89979" cy="85552"/>
            </a:xfrm>
            <a:custGeom>
              <a:avLst/>
              <a:gdLst>
                <a:gd name="connsiteX0" fmla="*/ 44990 w 89979"/>
                <a:gd name="connsiteY0" fmla="*/ 0 h 85552"/>
                <a:gd name="connsiteX1" fmla="*/ 58035 w 89979"/>
                <a:gd name="connsiteY1" fmla="*/ 29279 h 85552"/>
                <a:gd name="connsiteX2" fmla="*/ 89980 w 89979"/>
                <a:gd name="connsiteY2" fmla="*/ 32659 h 85552"/>
                <a:gd name="connsiteX3" fmla="*/ 66128 w 89979"/>
                <a:gd name="connsiteY3" fmla="*/ 54178 h 85552"/>
                <a:gd name="connsiteX4" fmla="*/ 72793 w 89979"/>
                <a:gd name="connsiteY4" fmla="*/ 85552 h 85552"/>
                <a:gd name="connsiteX5" fmla="*/ 44990 w 89979"/>
                <a:gd name="connsiteY5" fmla="*/ 69508 h 85552"/>
                <a:gd name="connsiteX6" fmla="*/ 17187 w 89979"/>
                <a:gd name="connsiteY6" fmla="*/ 85552 h 85552"/>
                <a:gd name="connsiteX7" fmla="*/ 23804 w 89979"/>
                <a:gd name="connsiteY7" fmla="*/ 54178 h 85552"/>
                <a:gd name="connsiteX8" fmla="*/ 0 w 89979"/>
                <a:gd name="connsiteY8" fmla="*/ 32659 h 85552"/>
                <a:gd name="connsiteX9" fmla="*/ 31898 w 89979"/>
                <a:gd name="connsiteY9" fmla="*/ 29279 h 85552"/>
                <a:gd name="connsiteX10" fmla="*/ 44990 w 89979"/>
                <a:gd name="connsiteY10" fmla="*/ 0 h 855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9979" h="85552">
                  <a:moveTo>
                    <a:pt x="44990" y="0"/>
                  </a:moveTo>
                  <a:lnTo>
                    <a:pt x="58035" y="29279"/>
                  </a:lnTo>
                  <a:lnTo>
                    <a:pt x="89980" y="32659"/>
                  </a:lnTo>
                  <a:lnTo>
                    <a:pt x="66128" y="54178"/>
                  </a:lnTo>
                  <a:lnTo>
                    <a:pt x="72793" y="85552"/>
                  </a:lnTo>
                  <a:lnTo>
                    <a:pt x="44990" y="69508"/>
                  </a:lnTo>
                  <a:lnTo>
                    <a:pt x="17187" y="85552"/>
                  </a:lnTo>
                  <a:lnTo>
                    <a:pt x="23804" y="54178"/>
                  </a:lnTo>
                  <a:lnTo>
                    <a:pt x="0" y="32659"/>
                  </a:lnTo>
                  <a:lnTo>
                    <a:pt x="31898" y="29279"/>
                  </a:lnTo>
                  <a:lnTo>
                    <a:pt x="44990" y="0"/>
                  </a:ln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878" name="Gráfico 17">
              <a:extLst>
                <a:ext uri="{FF2B5EF4-FFF2-40B4-BE49-F238E27FC236}">
                  <a16:creationId xmlns:a16="http://schemas.microsoft.com/office/drawing/2014/main" id="{7D34E150-E639-5898-9C18-6F3336772BF1}"/>
                </a:ext>
              </a:extLst>
            </p:cNvPr>
            <p:cNvGrpSpPr/>
            <p:nvPr/>
          </p:nvGrpSpPr>
          <p:grpSpPr>
            <a:xfrm>
              <a:off x="7631447" y="3616569"/>
              <a:ext cx="144824" cy="261512"/>
              <a:chOff x="7631447" y="3616569"/>
              <a:chExt cx="144824" cy="261512"/>
            </a:xfrm>
            <a:noFill/>
          </p:grpSpPr>
          <p:grpSp>
            <p:nvGrpSpPr>
              <p:cNvPr id="1879" name="Gráfico 17">
                <a:extLst>
                  <a:ext uri="{FF2B5EF4-FFF2-40B4-BE49-F238E27FC236}">
                    <a16:creationId xmlns:a16="http://schemas.microsoft.com/office/drawing/2014/main" id="{6613E612-BA4F-752D-47A9-7AC534FD789B}"/>
                  </a:ext>
                </a:extLst>
              </p:cNvPr>
              <p:cNvGrpSpPr/>
              <p:nvPr/>
            </p:nvGrpSpPr>
            <p:grpSpPr>
              <a:xfrm>
                <a:off x="7631447" y="3616569"/>
                <a:ext cx="144824" cy="261512"/>
                <a:chOff x="7631447" y="3616569"/>
                <a:chExt cx="144824" cy="261512"/>
              </a:xfrm>
              <a:noFill/>
            </p:grpSpPr>
            <p:sp>
              <p:nvSpPr>
                <p:cNvPr id="1880" name="Forma livre: Forma 1879">
                  <a:extLst>
                    <a:ext uri="{FF2B5EF4-FFF2-40B4-BE49-F238E27FC236}">
                      <a16:creationId xmlns:a16="http://schemas.microsoft.com/office/drawing/2014/main" id="{5D2E5B36-ADC8-F664-6CB4-CFB910C60645}"/>
                    </a:ext>
                  </a:extLst>
                </p:cNvPr>
                <p:cNvSpPr/>
                <p:nvPr/>
              </p:nvSpPr>
              <p:spPr>
                <a:xfrm>
                  <a:off x="7631447" y="3616569"/>
                  <a:ext cx="144824" cy="261512"/>
                </a:xfrm>
                <a:custGeom>
                  <a:avLst/>
                  <a:gdLst>
                    <a:gd name="connsiteX0" fmla="*/ 92551 w 144824"/>
                    <a:gd name="connsiteY0" fmla="*/ 261513 h 261512"/>
                    <a:gd name="connsiteX1" fmla="*/ 11854 w 144824"/>
                    <a:gd name="connsiteY1" fmla="*/ 261513 h 261512"/>
                    <a:gd name="connsiteX2" fmla="*/ 0 w 144824"/>
                    <a:gd name="connsiteY2" fmla="*/ 249658 h 261512"/>
                    <a:gd name="connsiteX3" fmla="*/ 0 w 144824"/>
                    <a:gd name="connsiteY3" fmla="*/ 11854 h 261512"/>
                    <a:gd name="connsiteX4" fmla="*/ 11854 w 144824"/>
                    <a:gd name="connsiteY4" fmla="*/ 0 h 261512"/>
                    <a:gd name="connsiteX5" fmla="*/ 132970 w 144824"/>
                    <a:gd name="connsiteY5" fmla="*/ 0 h 261512"/>
                    <a:gd name="connsiteX6" fmla="*/ 144825 w 144824"/>
                    <a:gd name="connsiteY6" fmla="*/ 11854 h 261512"/>
                    <a:gd name="connsiteX7" fmla="*/ 144825 w 144824"/>
                    <a:gd name="connsiteY7" fmla="*/ 125305 h 26151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44824" h="261512">
                      <a:moveTo>
                        <a:pt x="92551" y="261513"/>
                      </a:moveTo>
                      <a:lnTo>
                        <a:pt x="11854" y="261513"/>
                      </a:lnTo>
                      <a:cubicBezTo>
                        <a:pt x="5332" y="261513"/>
                        <a:pt x="0" y="256181"/>
                        <a:pt x="0" y="249658"/>
                      </a:cubicBezTo>
                      <a:lnTo>
                        <a:pt x="0" y="11854"/>
                      </a:lnTo>
                      <a:cubicBezTo>
                        <a:pt x="0" y="5332"/>
                        <a:pt x="5332" y="0"/>
                        <a:pt x="11854" y="0"/>
                      </a:cubicBezTo>
                      <a:lnTo>
                        <a:pt x="132970" y="0"/>
                      </a:lnTo>
                      <a:cubicBezTo>
                        <a:pt x="139493" y="0"/>
                        <a:pt x="144825" y="5332"/>
                        <a:pt x="144825" y="11854"/>
                      </a:cubicBezTo>
                      <a:lnTo>
                        <a:pt x="144825" y="125305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881" name="Forma livre: Forma 1880">
                  <a:extLst>
                    <a:ext uri="{FF2B5EF4-FFF2-40B4-BE49-F238E27FC236}">
                      <a16:creationId xmlns:a16="http://schemas.microsoft.com/office/drawing/2014/main" id="{2A05BAB3-EC62-2864-1957-487063E2554B}"/>
                    </a:ext>
                  </a:extLst>
                </p:cNvPr>
                <p:cNvSpPr/>
                <p:nvPr/>
              </p:nvSpPr>
              <p:spPr>
                <a:xfrm>
                  <a:off x="7694004" y="3851849"/>
                  <a:ext cx="19709" cy="4760"/>
                </a:xfrm>
                <a:custGeom>
                  <a:avLst/>
                  <a:gdLst>
                    <a:gd name="connsiteX0" fmla="*/ 0 w 19709"/>
                    <a:gd name="connsiteY0" fmla="*/ 0 h 4760"/>
                    <a:gd name="connsiteX1" fmla="*/ 19710 w 19709"/>
                    <a:gd name="connsiteY1" fmla="*/ 0 h 476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9709" h="4760">
                      <a:moveTo>
                        <a:pt x="0" y="0"/>
                      </a:moveTo>
                      <a:lnTo>
                        <a:pt x="19710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1882" name="Forma livre: Forma 1881">
                <a:extLst>
                  <a:ext uri="{FF2B5EF4-FFF2-40B4-BE49-F238E27FC236}">
                    <a16:creationId xmlns:a16="http://schemas.microsoft.com/office/drawing/2014/main" id="{6CDCFC95-AE55-A5EB-28DA-5E870680EE42}"/>
                  </a:ext>
                </a:extLst>
              </p:cNvPr>
              <p:cNvSpPr/>
              <p:nvPr/>
            </p:nvSpPr>
            <p:spPr>
              <a:xfrm>
                <a:off x="7631447" y="3826760"/>
                <a:ext cx="113307" cy="4760"/>
              </a:xfrm>
              <a:custGeom>
                <a:avLst/>
                <a:gdLst>
                  <a:gd name="connsiteX0" fmla="*/ 0 w 113307"/>
                  <a:gd name="connsiteY0" fmla="*/ 0 h 4760"/>
                  <a:gd name="connsiteX1" fmla="*/ 113308 w 113307"/>
                  <a:gd name="connsiteY1" fmla="*/ 0 h 47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3307" h="4760">
                    <a:moveTo>
                      <a:pt x="0" y="0"/>
                    </a:moveTo>
                    <a:lnTo>
                      <a:pt x="113308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883" name="Gráfico 17">
            <a:extLst>
              <a:ext uri="{FF2B5EF4-FFF2-40B4-BE49-F238E27FC236}">
                <a16:creationId xmlns:a16="http://schemas.microsoft.com/office/drawing/2014/main" id="{E5553862-E8E0-64FF-5AA2-68007108592D}"/>
              </a:ext>
            </a:extLst>
          </p:cNvPr>
          <p:cNvGrpSpPr/>
          <p:nvPr/>
        </p:nvGrpSpPr>
        <p:grpSpPr>
          <a:xfrm>
            <a:off x="6388058" y="3636183"/>
            <a:ext cx="290887" cy="263226"/>
            <a:chOff x="6388058" y="3636183"/>
            <a:chExt cx="290887" cy="263226"/>
          </a:xfrm>
          <a:noFill/>
        </p:grpSpPr>
        <p:sp>
          <p:nvSpPr>
            <p:cNvPr id="1884" name="Forma livre: Forma 1883">
              <a:extLst>
                <a:ext uri="{FF2B5EF4-FFF2-40B4-BE49-F238E27FC236}">
                  <a16:creationId xmlns:a16="http://schemas.microsoft.com/office/drawing/2014/main" id="{06CC356F-F1C3-0667-13EC-1DDECEAD77C4}"/>
                </a:ext>
              </a:extLst>
            </p:cNvPr>
            <p:cNvSpPr/>
            <p:nvPr/>
          </p:nvSpPr>
          <p:spPr>
            <a:xfrm>
              <a:off x="6388058" y="3636183"/>
              <a:ext cx="201859" cy="198384"/>
            </a:xfrm>
            <a:custGeom>
              <a:avLst/>
              <a:gdLst>
                <a:gd name="connsiteX0" fmla="*/ 121735 w 201859"/>
                <a:gd name="connsiteY0" fmla="*/ 147729 h 198384"/>
                <a:gd name="connsiteX1" fmla="*/ 73650 w 201859"/>
                <a:gd name="connsiteY1" fmla="*/ 147729 h 198384"/>
                <a:gd name="connsiteX2" fmla="*/ 73650 w 201859"/>
                <a:gd name="connsiteY2" fmla="*/ 198384 h 198384"/>
                <a:gd name="connsiteX3" fmla="*/ 38896 w 201859"/>
                <a:gd name="connsiteY3" fmla="*/ 147824 h 198384"/>
                <a:gd name="connsiteX4" fmla="*/ 15568 w 201859"/>
                <a:gd name="connsiteY4" fmla="*/ 147824 h 198384"/>
                <a:gd name="connsiteX5" fmla="*/ 0 w 201859"/>
                <a:gd name="connsiteY5" fmla="*/ 132256 h 198384"/>
                <a:gd name="connsiteX6" fmla="*/ 0 w 201859"/>
                <a:gd name="connsiteY6" fmla="*/ 15568 h 198384"/>
                <a:gd name="connsiteX7" fmla="*/ 15568 w 201859"/>
                <a:gd name="connsiteY7" fmla="*/ 0 h 198384"/>
                <a:gd name="connsiteX8" fmla="*/ 186101 w 201859"/>
                <a:gd name="connsiteY8" fmla="*/ 0 h 198384"/>
                <a:gd name="connsiteX9" fmla="*/ 201860 w 201859"/>
                <a:gd name="connsiteY9" fmla="*/ 15568 h 198384"/>
                <a:gd name="connsiteX10" fmla="*/ 201860 w 201859"/>
                <a:gd name="connsiteY10" fmla="*/ 57987 h 1983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01859" h="198384">
                  <a:moveTo>
                    <a:pt x="121735" y="147729"/>
                  </a:moveTo>
                  <a:lnTo>
                    <a:pt x="73650" y="147729"/>
                  </a:lnTo>
                  <a:lnTo>
                    <a:pt x="73650" y="198384"/>
                  </a:lnTo>
                  <a:lnTo>
                    <a:pt x="38896" y="147824"/>
                  </a:lnTo>
                  <a:lnTo>
                    <a:pt x="15568" y="147824"/>
                  </a:lnTo>
                  <a:cubicBezTo>
                    <a:pt x="6998" y="147824"/>
                    <a:pt x="0" y="140826"/>
                    <a:pt x="0" y="132256"/>
                  </a:cubicBezTo>
                  <a:lnTo>
                    <a:pt x="0" y="15568"/>
                  </a:lnTo>
                  <a:cubicBezTo>
                    <a:pt x="0" y="6998"/>
                    <a:pt x="6998" y="0"/>
                    <a:pt x="15568" y="0"/>
                  </a:cubicBezTo>
                  <a:lnTo>
                    <a:pt x="186101" y="0"/>
                  </a:lnTo>
                  <a:cubicBezTo>
                    <a:pt x="194671" y="0"/>
                    <a:pt x="201860" y="6998"/>
                    <a:pt x="201860" y="15568"/>
                  </a:cubicBezTo>
                  <a:lnTo>
                    <a:pt x="201860" y="57987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885" name="Gráfico 17">
              <a:extLst>
                <a:ext uri="{FF2B5EF4-FFF2-40B4-BE49-F238E27FC236}">
                  <a16:creationId xmlns:a16="http://schemas.microsoft.com/office/drawing/2014/main" id="{B83F5FEB-3E2C-6919-4163-CCADADEE46F3}"/>
                </a:ext>
              </a:extLst>
            </p:cNvPr>
            <p:cNvGrpSpPr/>
            <p:nvPr/>
          </p:nvGrpSpPr>
          <p:grpSpPr>
            <a:xfrm>
              <a:off x="6421813" y="3674603"/>
              <a:ext cx="134350" cy="69270"/>
              <a:chOff x="6421813" y="3674603"/>
              <a:chExt cx="134350" cy="69270"/>
            </a:xfrm>
          </p:grpSpPr>
          <p:sp>
            <p:nvSpPr>
              <p:cNvPr id="1886" name="Forma livre: Forma 1885">
                <a:extLst>
                  <a:ext uri="{FF2B5EF4-FFF2-40B4-BE49-F238E27FC236}">
                    <a16:creationId xmlns:a16="http://schemas.microsoft.com/office/drawing/2014/main" id="{0C3127B7-69B1-CBE0-2ACF-8E062E5AF04D}"/>
                  </a:ext>
                </a:extLst>
              </p:cNvPr>
              <p:cNvSpPr/>
              <p:nvPr/>
            </p:nvSpPr>
            <p:spPr>
              <a:xfrm>
                <a:off x="6421813" y="3674603"/>
                <a:ext cx="134350" cy="4760"/>
              </a:xfrm>
              <a:custGeom>
                <a:avLst/>
                <a:gdLst>
                  <a:gd name="connsiteX0" fmla="*/ 0 w 134350"/>
                  <a:gd name="connsiteY0" fmla="*/ 0 h 4760"/>
                  <a:gd name="connsiteX1" fmla="*/ 134351 w 134350"/>
                  <a:gd name="connsiteY1" fmla="*/ 0 h 47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34350" h="4760">
                    <a:moveTo>
                      <a:pt x="0" y="0"/>
                    </a:moveTo>
                    <a:lnTo>
                      <a:pt x="134351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887" name="Forma livre: Forma 1886">
                <a:extLst>
                  <a:ext uri="{FF2B5EF4-FFF2-40B4-BE49-F238E27FC236}">
                    <a16:creationId xmlns:a16="http://schemas.microsoft.com/office/drawing/2014/main" id="{5A628465-8849-0DD3-DA27-C3A244F2781E}"/>
                  </a:ext>
                </a:extLst>
              </p:cNvPr>
              <p:cNvSpPr/>
              <p:nvPr/>
            </p:nvSpPr>
            <p:spPr>
              <a:xfrm>
                <a:off x="6421813" y="3743873"/>
                <a:ext cx="52797" cy="4760"/>
              </a:xfrm>
              <a:custGeom>
                <a:avLst/>
                <a:gdLst>
                  <a:gd name="connsiteX0" fmla="*/ 0 w 52797"/>
                  <a:gd name="connsiteY0" fmla="*/ 0 h 4760"/>
                  <a:gd name="connsiteX1" fmla="*/ 52798 w 52797"/>
                  <a:gd name="connsiteY1" fmla="*/ 0 h 47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2797" h="4760">
                    <a:moveTo>
                      <a:pt x="0" y="0"/>
                    </a:moveTo>
                    <a:lnTo>
                      <a:pt x="52798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888" name="Forma livre: Forma 1887">
                <a:extLst>
                  <a:ext uri="{FF2B5EF4-FFF2-40B4-BE49-F238E27FC236}">
                    <a16:creationId xmlns:a16="http://schemas.microsoft.com/office/drawing/2014/main" id="{0AE051AB-53BC-7474-792B-566DAC0AC15E}"/>
                  </a:ext>
                </a:extLst>
              </p:cNvPr>
              <p:cNvSpPr/>
              <p:nvPr/>
            </p:nvSpPr>
            <p:spPr>
              <a:xfrm>
                <a:off x="6421813" y="3709262"/>
                <a:ext cx="103929" cy="4760"/>
              </a:xfrm>
              <a:custGeom>
                <a:avLst/>
                <a:gdLst>
                  <a:gd name="connsiteX0" fmla="*/ 0 w 103929"/>
                  <a:gd name="connsiteY0" fmla="*/ 0 h 4760"/>
                  <a:gd name="connsiteX1" fmla="*/ 103929 w 103929"/>
                  <a:gd name="connsiteY1" fmla="*/ 0 h 47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03929" h="4760">
                    <a:moveTo>
                      <a:pt x="0" y="0"/>
                    </a:moveTo>
                    <a:lnTo>
                      <a:pt x="103929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889" name="Forma livre: Forma 1888">
              <a:extLst>
                <a:ext uri="{FF2B5EF4-FFF2-40B4-BE49-F238E27FC236}">
                  <a16:creationId xmlns:a16="http://schemas.microsoft.com/office/drawing/2014/main" id="{553FC75D-D6BA-6A90-AB05-64437B18DCAA}"/>
                </a:ext>
              </a:extLst>
            </p:cNvPr>
            <p:cNvSpPr/>
            <p:nvPr/>
          </p:nvSpPr>
          <p:spPr>
            <a:xfrm>
              <a:off x="6557782" y="3748634"/>
              <a:ext cx="87313" cy="25888"/>
            </a:xfrm>
            <a:custGeom>
              <a:avLst/>
              <a:gdLst>
                <a:gd name="connsiteX0" fmla="*/ 0 w 87313"/>
                <a:gd name="connsiteY0" fmla="*/ 25470 h 25888"/>
                <a:gd name="connsiteX1" fmla="*/ 53655 w 87313"/>
                <a:gd name="connsiteY1" fmla="*/ 0 h 25888"/>
                <a:gd name="connsiteX2" fmla="*/ 87314 w 87313"/>
                <a:gd name="connsiteY2" fmla="*/ 25280 h 258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87313" h="25888">
                  <a:moveTo>
                    <a:pt x="0" y="25470"/>
                  </a:moveTo>
                  <a:cubicBezTo>
                    <a:pt x="0" y="25470"/>
                    <a:pt x="40896" y="31231"/>
                    <a:pt x="53655" y="0"/>
                  </a:cubicBezTo>
                  <a:cubicBezTo>
                    <a:pt x="53655" y="0"/>
                    <a:pt x="67318" y="25280"/>
                    <a:pt x="87314" y="2528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890" name="Gráfico 17">
              <a:extLst>
                <a:ext uri="{FF2B5EF4-FFF2-40B4-BE49-F238E27FC236}">
                  <a16:creationId xmlns:a16="http://schemas.microsoft.com/office/drawing/2014/main" id="{883EFE4A-E115-0014-BAC9-FAB1204D217D}"/>
                </a:ext>
              </a:extLst>
            </p:cNvPr>
            <p:cNvGrpSpPr/>
            <p:nvPr/>
          </p:nvGrpSpPr>
          <p:grpSpPr>
            <a:xfrm>
              <a:off x="6500319" y="3715356"/>
              <a:ext cx="178626" cy="184053"/>
              <a:chOff x="6500319" y="3715356"/>
              <a:chExt cx="178626" cy="184053"/>
            </a:xfrm>
            <a:noFill/>
          </p:grpSpPr>
          <p:sp>
            <p:nvSpPr>
              <p:cNvPr id="1891" name="Forma livre: Forma 1890">
                <a:extLst>
                  <a:ext uri="{FF2B5EF4-FFF2-40B4-BE49-F238E27FC236}">
                    <a16:creationId xmlns:a16="http://schemas.microsoft.com/office/drawing/2014/main" id="{AC0BF04A-AFD5-1A0C-9B4B-494733BD00ED}"/>
                  </a:ext>
                </a:extLst>
              </p:cNvPr>
              <p:cNvSpPr/>
              <p:nvPr/>
            </p:nvSpPr>
            <p:spPr>
              <a:xfrm>
                <a:off x="6500319" y="3850278"/>
                <a:ext cx="58420" cy="49131"/>
              </a:xfrm>
              <a:custGeom>
                <a:avLst/>
                <a:gdLst>
                  <a:gd name="connsiteX0" fmla="*/ 58415 w 58420"/>
                  <a:gd name="connsiteY0" fmla="*/ 0 h 49131"/>
                  <a:gd name="connsiteX1" fmla="*/ 58415 w 58420"/>
                  <a:gd name="connsiteY1" fmla="*/ 23709 h 49131"/>
                  <a:gd name="connsiteX2" fmla="*/ 0 w 58420"/>
                  <a:gd name="connsiteY2" fmla="*/ 49132 h 491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58420" h="49131">
                    <a:moveTo>
                      <a:pt x="58415" y="0"/>
                    </a:moveTo>
                    <a:cubicBezTo>
                      <a:pt x="58415" y="7522"/>
                      <a:pt x="58415" y="23709"/>
                      <a:pt x="58415" y="23709"/>
                    </a:cubicBezTo>
                    <a:cubicBezTo>
                      <a:pt x="58415" y="23709"/>
                      <a:pt x="60129" y="33850"/>
                      <a:pt x="0" y="49132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1892" name="Gráfico 17">
                <a:extLst>
                  <a:ext uri="{FF2B5EF4-FFF2-40B4-BE49-F238E27FC236}">
                    <a16:creationId xmlns:a16="http://schemas.microsoft.com/office/drawing/2014/main" id="{8DF89B70-806B-E673-F03A-D8C1CE076D08}"/>
                  </a:ext>
                </a:extLst>
              </p:cNvPr>
              <p:cNvGrpSpPr/>
              <p:nvPr/>
            </p:nvGrpSpPr>
            <p:grpSpPr>
              <a:xfrm>
                <a:off x="6532705" y="3715356"/>
                <a:ext cx="146240" cy="184053"/>
                <a:chOff x="6532705" y="3715356"/>
                <a:chExt cx="146240" cy="184053"/>
              </a:xfrm>
              <a:noFill/>
            </p:grpSpPr>
            <p:sp>
              <p:nvSpPr>
                <p:cNvPr id="1893" name="Forma livre: Forma 1892">
                  <a:extLst>
                    <a:ext uri="{FF2B5EF4-FFF2-40B4-BE49-F238E27FC236}">
                      <a16:creationId xmlns:a16="http://schemas.microsoft.com/office/drawing/2014/main" id="{67829BB7-30E6-0E77-A420-BA2D2DC05C88}"/>
                    </a:ext>
                  </a:extLst>
                </p:cNvPr>
                <p:cNvSpPr/>
                <p:nvPr/>
              </p:nvSpPr>
              <p:spPr>
                <a:xfrm>
                  <a:off x="6620525" y="3850278"/>
                  <a:ext cx="58420" cy="49131"/>
                </a:xfrm>
                <a:custGeom>
                  <a:avLst/>
                  <a:gdLst>
                    <a:gd name="connsiteX0" fmla="*/ 5 w 58420"/>
                    <a:gd name="connsiteY0" fmla="*/ 0 h 49131"/>
                    <a:gd name="connsiteX1" fmla="*/ 5 w 58420"/>
                    <a:gd name="connsiteY1" fmla="*/ 23709 h 49131"/>
                    <a:gd name="connsiteX2" fmla="*/ 58420 w 58420"/>
                    <a:gd name="connsiteY2" fmla="*/ 49132 h 4913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58420" h="49131">
                      <a:moveTo>
                        <a:pt x="5" y="0"/>
                      </a:moveTo>
                      <a:cubicBezTo>
                        <a:pt x="5" y="7522"/>
                        <a:pt x="5" y="23709"/>
                        <a:pt x="5" y="23709"/>
                      </a:cubicBezTo>
                      <a:cubicBezTo>
                        <a:pt x="5" y="23709"/>
                        <a:pt x="-1709" y="33850"/>
                        <a:pt x="58420" y="49132"/>
                      </a:cubicBez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894" name="Forma livre: Forma 1893">
                  <a:extLst>
                    <a:ext uri="{FF2B5EF4-FFF2-40B4-BE49-F238E27FC236}">
                      <a16:creationId xmlns:a16="http://schemas.microsoft.com/office/drawing/2014/main" id="{88FAB383-FFA2-166B-40F4-4A188F1ADFC2}"/>
                    </a:ext>
                  </a:extLst>
                </p:cNvPr>
                <p:cNvSpPr/>
                <p:nvPr/>
              </p:nvSpPr>
              <p:spPr>
                <a:xfrm>
                  <a:off x="6532705" y="3715356"/>
                  <a:ext cx="113854" cy="138635"/>
                </a:xfrm>
                <a:custGeom>
                  <a:avLst/>
                  <a:gdLst>
                    <a:gd name="connsiteX0" fmla="*/ 75542 w 113854"/>
                    <a:gd name="connsiteY0" fmla="*/ 138636 h 138635"/>
                    <a:gd name="connsiteX1" fmla="*/ 87873 w 113854"/>
                    <a:gd name="connsiteY1" fmla="*/ 133018 h 138635"/>
                    <a:gd name="connsiteX2" fmla="*/ 112820 w 113854"/>
                    <a:gd name="connsiteY2" fmla="*/ 70936 h 138635"/>
                    <a:gd name="connsiteX3" fmla="*/ 57070 w 113854"/>
                    <a:gd name="connsiteY3" fmla="*/ 0 h 138635"/>
                    <a:gd name="connsiteX4" fmla="*/ 56737 w 113854"/>
                    <a:gd name="connsiteY4" fmla="*/ 0 h 138635"/>
                    <a:gd name="connsiteX5" fmla="*/ 1035 w 113854"/>
                    <a:gd name="connsiteY5" fmla="*/ 70936 h 138635"/>
                    <a:gd name="connsiteX6" fmla="*/ 25982 w 113854"/>
                    <a:gd name="connsiteY6" fmla="*/ 133018 h 138635"/>
                    <a:gd name="connsiteX7" fmla="*/ 38312 w 113854"/>
                    <a:gd name="connsiteY7" fmla="*/ 138636 h 13863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3854" h="138635">
                      <a:moveTo>
                        <a:pt x="75542" y="138636"/>
                      </a:moveTo>
                      <a:cubicBezTo>
                        <a:pt x="83683" y="136684"/>
                        <a:pt x="87873" y="133018"/>
                        <a:pt x="87873" y="133018"/>
                      </a:cubicBezTo>
                      <a:cubicBezTo>
                        <a:pt x="101679" y="123210"/>
                        <a:pt x="110249" y="92503"/>
                        <a:pt x="112820" y="70936"/>
                      </a:cubicBezTo>
                      <a:cubicBezTo>
                        <a:pt x="116628" y="39229"/>
                        <a:pt x="112391" y="1285"/>
                        <a:pt x="57070" y="0"/>
                      </a:cubicBezTo>
                      <a:lnTo>
                        <a:pt x="56737" y="0"/>
                      </a:lnTo>
                      <a:cubicBezTo>
                        <a:pt x="1464" y="1238"/>
                        <a:pt x="-2774" y="39182"/>
                        <a:pt x="1035" y="70936"/>
                      </a:cubicBezTo>
                      <a:cubicBezTo>
                        <a:pt x="3606" y="92455"/>
                        <a:pt x="12175" y="123210"/>
                        <a:pt x="25982" y="133018"/>
                      </a:cubicBezTo>
                      <a:cubicBezTo>
                        <a:pt x="25982" y="133018"/>
                        <a:pt x="30171" y="136684"/>
                        <a:pt x="38312" y="138636"/>
                      </a:cubicBez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</p:grpSp>
      <p:grpSp>
        <p:nvGrpSpPr>
          <p:cNvPr id="1895" name="Gráfico 17">
            <a:extLst>
              <a:ext uri="{FF2B5EF4-FFF2-40B4-BE49-F238E27FC236}">
                <a16:creationId xmlns:a16="http://schemas.microsoft.com/office/drawing/2014/main" id="{02AFE120-9D1D-A197-7938-C7A73BA2FF5F}"/>
              </a:ext>
            </a:extLst>
          </p:cNvPr>
          <p:cNvGrpSpPr/>
          <p:nvPr/>
        </p:nvGrpSpPr>
        <p:grpSpPr>
          <a:xfrm>
            <a:off x="7009062" y="3636754"/>
            <a:ext cx="288887" cy="262084"/>
            <a:chOff x="7009062" y="3636754"/>
            <a:chExt cx="288887" cy="262084"/>
          </a:xfrm>
          <a:noFill/>
        </p:grpSpPr>
        <p:grpSp>
          <p:nvGrpSpPr>
            <p:cNvPr id="1896" name="Gráfico 17">
              <a:extLst>
                <a:ext uri="{FF2B5EF4-FFF2-40B4-BE49-F238E27FC236}">
                  <a16:creationId xmlns:a16="http://schemas.microsoft.com/office/drawing/2014/main" id="{44122AED-A7CC-97C2-BCC6-D7B1A571BCBF}"/>
                </a:ext>
              </a:extLst>
            </p:cNvPr>
            <p:cNvGrpSpPr/>
            <p:nvPr/>
          </p:nvGrpSpPr>
          <p:grpSpPr>
            <a:xfrm>
              <a:off x="7126131" y="3716677"/>
              <a:ext cx="171818" cy="182161"/>
              <a:chOff x="7126131" y="3716677"/>
              <a:chExt cx="171818" cy="182161"/>
            </a:xfrm>
            <a:noFill/>
          </p:grpSpPr>
          <p:sp>
            <p:nvSpPr>
              <p:cNvPr id="1897" name="Forma livre: Forma 1896">
                <a:extLst>
                  <a:ext uri="{FF2B5EF4-FFF2-40B4-BE49-F238E27FC236}">
                    <a16:creationId xmlns:a16="http://schemas.microsoft.com/office/drawing/2014/main" id="{80ABE891-C7EF-B39E-DC3C-D897F8FA916B}"/>
                  </a:ext>
                </a:extLst>
              </p:cNvPr>
              <p:cNvSpPr/>
              <p:nvPr/>
            </p:nvSpPr>
            <p:spPr>
              <a:xfrm>
                <a:off x="7136891" y="3716677"/>
                <a:ext cx="150442" cy="144360"/>
              </a:xfrm>
              <a:custGeom>
                <a:avLst/>
                <a:gdLst>
                  <a:gd name="connsiteX0" fmla="*/ 0 w 150442"/>
                  <a:gd name="connsiteY0" fmla="*/ 144361 h 144360"/>
                  <a:gd name="connsiteX1" fmla="*/ 0 w 150442"/>
                  <a:gd name="connsiteY1" fmla="*/ 78804 h 144360"/>
                  <a:gd name="connsiteX2" fmla="*/ 75221 w 150442"/>
                  <a:gd name="connsiteY2" fmla="*/ 12 h 144360"/>
                  <a:gd name="connsiteX3" fmla="*/ 150443 w 150442"/>
                  <a:gd name="connsiteY3" fmla="*/ 78804 h 144360"/>
                  <a:gd name="connsiteX4" fmla="*/ 150443 w 150442"/>
                  <a:gd name="connsiteY4" fmla="*/ 144361 h 1443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50442" h="144360">
                    <a:moveTo>
                      <a:pt x="0" y="144361"/>
                    </a:moveTo>
                    <a:lnTo>
                      <a:pt x="0" y="78804"/>
                    </a:lnTo>
                    <a:cubicBezTo>
                      <a:pt x="0" y="-2463"/>
                      <a:pt x="71936" y="12"/>
                      <a:pt x="75221" y="12"/>
                    </a:cubicBezTo>
                    <a:cubicBezTo>
                      <a:pt x="78506" y="12"/>
                      <a:pt x="150443" y="-2844"/>
                      <a:pt x="150443" y="78804"/>
                    </a:cubicBezTo>
                    <a:lnTo>
                      <a:pt x="150443" y="144361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898" name="Forma livre: Forma 1897">
                <a:extLst>
                  <a:ext uri="{FF2B5EF4-FFF2-40B4-BE49-F238E27FC236}">
                    <a16:creationId xmlns:a16="http://schemas.microsoft.com/office/drawing/2014/main" id="{922C583D-519E-C582-46E3-31331F355271}"/>
                  </a:ext>
                </a:extLst>
              </p:cNvPr>
              <p:cNvSpPr/>
              <p:nvPr/>
            </p:nvSpPr>
            <p:spPr>
              <a:xfrm>
                <a:off x="7160981" y="3758061"/>
                <a:ext cx="102738" cy="24851"/>
              </a:xfrm>
              <a:custGeom>
                <a:avLst/>
                <a:gdLst>
                  <a:gd name="connsiteX0" fmla="*/ 0 w 102738"/>
                  <a:gd name="connsiteY0" fmla="*/ 24852 h 24851"/>
                  <a:gd name="connsiteX1" fmla="*/ 29850 w 102738"/>
                  <a:gd name="connsiteY1" fmla="*/ 24852 h 24851"/>
                  <a:gd name="connsiteX2" fmla="*/ 42276 w 102738"/>
                  <a:gd name="connsiteY2" fmla="*/ 0 h 24851"/>
                  <a:gd name="connsiteX3" fmla="*/ 56892 w 102738"/>
                  <a:gd name="connsiteY3" fmla="*/ 24852 h 24851"/>
                  <a:gd name="connsiteX4" fmla="*/ 102739 w 102738"/>
                  <a:gd name="connsiteY4" fmla="*/ 24852 h 248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02738" h="24851">
                    <a:moveTo>
                      <a:pt x="0" y="24852"/>
                    </a:moveTo>
                    <a:lnTo>
                      <a:pt x="29850" y="24852"/>
                    </a:lnTo>
                    <a:lnTo>
                      <a:pt x="42276" y="0"/>
                    </a:lnTo>
                    <a:lnTo>
                      <a:pt x="56892" y="24852"/>
                    </a:lnTo>
                    <a:lnTo>
                      <a:pt x="102739" y="24852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1899" name="Gráfico 17">
                <a:extLst>
                  <a:ext uri="{FF2B5EF4-FFF2-40B4-BE49-F238E27FC236}">
                    <a16:creationId xmlns:a16="http://schemas.microsoft.com/office/drawing/2014/main" id="{C7C3AE03-59FA-05E9-6FC1-4003BC552D2C}"/>
                  </a:ext>
                </a:extLst>
              </p:cNvPr>
              <p:cNvGrpSpPr/>
              <p:nvPr/>
            </p:nvGrpSpPr>
            <p:grpSpPr>
              <a:xfrm>
                <a:off x="7126131" y="3847707"/>
                <a:ext cx="171818" cy="51131"/>
                <a:chOff x="7126131" y="3847707"/>
                <a:chExt cx="171818" cy="51131"/>
              </a:xfrm>
              <a:noFill/>
            </p:grpSpPr>
            <p:sp>
              <p:nvSpPr>
                <p:cNvPr id="1900" name="Forma livre: Forma 1899">
                  <a:extLst>
                    <a:ext uri="{FF2B5EF4-FFF2-40B4-BE49-F238E27FC236}">
                      <a16:creationId xmlns:a16="http://schemas.microsoft.com/office/drawing/2014/main" id="{84757E24-0360-0396-4208-BD59986EC64C}"/>
                    </a:ext>
                  </a:extLst>
                </p:cNvPr>
                <p:cNvSpPr/>
                <p:nvPr/>
              </p:nvSpPr>
              <p:spPr>
                <a:xfrm>
                  <a:off x="7241291" y="3847707"/>
                  <a:ext cx="56658" cy="51131"/>
                </a:xfrm>
                <a:custGeom>
                  <a:avLst/>
                  <a:gdLst>
                    <a:gd name="connsiteX0" fmla="*/ 5 w 56658"/>
                    <a:gd name="connsiteY0" fmla="*/ 0 h 51131"/>
                    <a:gd name="connsiteX1" fmla="*/ 5 w 56658"/>
                    <a:gd name="connsiteY1" fmla="*/ 26470 h 51131"/>
                    <a:gd name="connsiteX2" fmla="*/ 56659 w 56658"/>
                    <a:gd name="connsiteY2" fmla="*/ 51131 h 5113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56658" h="51131">
                      <a:moveTo>
                        <a:pt x="5" y="0"/>
                      </a:moveTo>
                      <a:cubicBezTo>
                        <a:pt x="5" y="7284"/>
                        <a:pt x="5" y="26470"/>
                        <a:pt x="5" y="26470"/>
                      </a:cubicBezTo>
                      <a:cubicBezTo>
                        <a:pt x="5" y="26470"/>
                        <a:pt x="-1661" y="36325"/>
                        <a:pt x="56659" y="51131"/>
                      </a:cubicBez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901" name="Forma livre: Forma 1900">
                  <a:extLst>
                    <a:ext uri="{FF2B5EF4-FFF2-40B4-BE49-F238E27FC236}">
                      <a16:creationId xmlns:a16="http://schemas.microsoft.com/office/drawing/2014/main" id="{B49F5AB2-7A79-FED0-C731-8B0F6579DB69}"/>
                    </a:ext>
                  </a:extLst>
                </p:cNvPr>
                <p:cNvSpPr/>
                <p:nvPr/>
              </p:nvSpPr>
              <p:spPr>
                <a:xfrm>
                  <a:off x="7126131" y="3847707"/>
                  <a:ext cx="56706" cy="51131"/>
                </a:xfrm>
                <a:custGeom>
                  <a:avLst/>
                  <a:gdLst>
                    <a:gd name="connsiteX0" fmla="*/ 56702 w 56706"/>
                    <a:gd name="connsiteY0" fmla="*/ 0 h 51131"/>
                    <a:gd name="connsiteX1" fmla="*/ 56702 w 56706"/>
                    <a:gd name="connsiteY1" fmla="*/ 26470 h 51131"/>
                    <a:gd name="connsiteX2" fmla="*/ 0 w 56706"/>
                    <a:gd name="connsiteY2" fmla="*/ 51131 h 5113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56706" h="51131">
                      <a:moveTo>
                        <a:pt x="56702" y="0"/>
                      </a:moveTo>
                      <a:cubicBezTo>
                        <a:pt x="56702" y="7284"/>
                        <a:pt x="56702" y="26470"/>
                        <a:pt x="56702" y="26470"/>
                      </a:cubicBezTo>
                      <a:cubicBezTo>
                        <a:pt x="56702" y="26470"/>
                        <a:pt x="58368" y="36325"/>
                        <a:pt x="0" y="51131"/>
                      </a:cubicBez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1902" name="Gráfico 17">
                <a:extLst>
                  <a:ext uri="{FF2B5EF4-FFF2-40B4-BE49-F238E27FC236}">
                    <a16:creationId xmlns:a16="http://schemas.microsoft.com/office/drawing/2014/main" id="{A8D1F564-603B-6EE5-7A1E-5AEE143ABB6A}"/>
                  </a:ext>
                </a:extLst>
              </p:cNvPr>
              <p:cNvGrpSpPr/>
              <p:nvPr/>
            </p:nvGrpSpPr>
            <p:grpSpPr>
              <a:xfrm>
                <a:off x="7169698" y="3783341"/>
                <a:ext cx="84733" cy="77363"/>
                <a:chOff x="7169698" y="3783341"/>
                <a:chExt cx="84733" cy="77363"/>
              </a:xfrm>
              <a:noFill/>
            </p:grpSpPr>
            <p:sp>
              <p:nvSpPr>
                <p:cNvPr id="1903" name="Forma livre: Forma 1902">
                  <a:extLst>
                    <a:ext uri="{FF2B5EF4-FFF2-40B4-BE49-F238E27FC236}">
                      <a16:creationId xmlns:a16="http://schemas.microsoft.com/office/drawing/2014/main" id="{E74660F4-1EBE-4FAA-42AC-8932DD06B3D4}"/>
                    </a:ext>
                  </a:extLst>
                </p:cNvPr>
                <p:cNvSpPr/>
                <p:nvPr/>
              </p:nvSpPr>
              <p:spPr>
                <a:xfrm>
                  <a:off x="7226728" y="3783341"/>
                  <a:ext cx="27703" cy="77363"/>
                </a:xfrm>
                <a:custGeom>
                  <a:avLst/>
                  <a:gdLst>
                    <a:gd name="connsiteX0" fmla="*/ 26232 w 27703"/>
                    <a:gd name="connsiteY0" fmla="*/ 0 h 77363"/>
                    <a:gd name="connsiteX1" fmla="*/ 27660 w 27703"/>
                    <a:gd name="connsiteY1" fmla="*/ 15949 h 77363"/>
                    <a:gd name="connsiteX2" fmla="*/ 4047 w 27703"/>
                    <a:gd name="connsiteY2" fmla="*/ 75126 h 77363"/>
                    <a:gd name="connsiteX3" fmla="*/ 0 w 27703"/>
                    <a:gd name="connsiteY3" fmla="*/ 77364 h 7736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27703" h="77363">
                      <a:moveTo>
                        <a:pt x="26232" y="0"/>
                      </a:moveTo>
                      <a:cubicBezTo>
                        <a:pt x="28089" y="8760"/>
                        <a:pt x="27660" y="15949"/>
                        <a:pt x="27660" y="15949"/>
                      </a:cubicBezTo>
                      <a:cubicBezTo>
                        <a:pt x="27660" y="38801"/>
                        <a:pt x="18662" y="64176"/>
                        <a:pt x="4047" y="75126"/>
                      </a:cubicBezTo>
                      <a:cubicBezTo>
                        <a:pt x="4047" y="75126"/>
                        <a:pt x="2000" y="76507"/>
                        <a:pt x="0" y="77364"/>
                      </a:cubicBez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904" name="Forma livre: Forma 1903">
                  <a:extLst>
                    <a:ext uri="{FF2B5EF4-FFF2-40B4-BE49-F238E27FC236}">
                      <a16:creationId xmlns:a16="http://schemas.microsoft.com/office/drawing/2014/main" id="{D7DE405E-EC71-32CF-77A7-BE5E4F8BBBF4}"/>
                    </a:ext>
                  </a:extLst>
                </p:cNvPr>
                <p:cNvSpPr/>
                <p:nvPr/>
              </p:nvSpPr>
              <p:spPr>
                <a:xfrm>
                  <a:off x="7169698" y="3783341"/>
                  <a:ext cx="27703" cy="77363"/>
                </a:xfrm>
                <a:custGeom>
                  <a:avLst/>
                  <a:gdLst>
                    <a:gd name="connsiteX0" fmla="*/ 1471 w 27703"/>
                    <a:gd name="connsiteY0" fmla="*/ 0 h 77363"/>
                    <a:gd name="connsiteX1" fmla="*/ 43 w 27703"/>
                    <a:gd name="connsiteY1" fmla="*/ 15949 h 77363"/>
                    <a:gd name="connsiteX2" fmla="*/ 23656 w 27703"/>
                    <a:gd name="connsiteY2" fmla="*/ 75126 h 77363"/>
                    <a:gd name="connsiteX3" fmla="*/ 27703 w 27703"/>
                    <a:gd name="connsiteY3" fmla="*/ 77364 h 7736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27703" h="77363">
                      <a:moveTo>
                        <a:pt x="1471" y="0"/>
                      </a:moveTo>
                      <a:cubicBezTo>
                        <a:pt x="-386" y="8760"/>
                        <a:pt x="43" y="15949"/>
                        <a:pt x="43" y="15949"/>
                      </a:cubicBezTo>
                      <a:cubicBezTo>
                        <a:pt x="43" y="38801"/>
                        <a:pt x="9041" y="64176"/>
                        <a:pt x="23656" y="75126"/>
                      </a:cubicBezTo>
                      <a:cubicBezTo>
                        <a:pt x="23656" y="75126"/>
                        <a:pt x="25704" y="76507"/>
                        <a:pt x="27703" y="77364"/>
                      </a:cubicBez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sp>
          <p:nvSpPr>
            <p:cNvPr id="1905" name="Forma livre: Forma 1904">
              <a:extLst>
                <a:ext uri="{FF2B5EF4-FFF2-40B4-BE49-F238E27FC236}">
                  <a16:creationId xmlns:a16="http://schemas.microsoft.com/office/drawing/2014/main" id="{77CA141C-282F-26B1-4DD4-5A5C2014A72B}"/>
                </a:ext>
              </a:extLst>
            </p:cNvPr>
            <p:cNvSpPr/>
            <p:nvPr/>
          </p:nvSpPr>
          <p:spPr>
            <a:xfrm>
              <a:off x="7009062" y="3636754"/>
              <a:ext cx="201859" cy="198384"/>
            </a:xfrm>
            <a:custGeom>
              <a:avLst/>
              <a:gdLst>
                <a:gd name="connsiteX0" fmla="*/ 105167 w 201859"/>
                <a:gd name="connsiteY0" fmla="*/ 147729 h 198384"/>
                <a:gd name="connsiteX1" fmla="*/ 73650 w 201859"/>
                <a:gd name="connsiteY1" fmla="*/ 147729 h 198384"/>
                <a:gd name="connsiteX2" fmla="*/ 73650 w 201859"/>
                <a:gd name="connsiteY2" fmla="*/ 198384 h 198384"/>
                <a:gd name="connsiteX3" fmla="*/ 38896 w 201859"/>
                <a:gd name="connsiteY3" fmla="*/ 147824 h 198384"/>
                <a:gd name="connsiteX4" fmla="*/ 15568 w 201859"/>
                <a:gd name="connsiteY4" fmla="*/ 147824 h 198384"/>
                <a:gd name="connsiteX5" fmla="*/ 0 w 201859"/>
                <a:gd name="connsiteY5" fmla="*/ 132256 h 198384"/>
                <a:gd name="connsiteX6" fmla="*/ 0 w 201859"/>
                <a:gd name="connsiteY6" fmla="*/ 15568 h 198384"/>
                <a:gd name="connsiteX7" fmla="*/ 15568 w 201859"/>
                <a:gd name="connsiteY7" fmla="*/ 0 h 198384"/>
                <a:gd name="connsiteX8" fmla="*/ 186101 w 201859"/>
                <a:gd name="connsiteY8" fmla="*/ 0 h 198384"/>
                <a:gd name="connsiteX9" fmla="*/ 201860 w 201859"/>
                <a:gd name="connsiteY9" fmla="*/ 15568 h 198384"/>
                <a:gd name="connsiteX10" fmla="*/ 201860 w 201859"/>
                <a:gd name="connsiteY10" fmla="*/ 57987 h 1983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01859" h="198384">
                  <a:moveTo>
                    <a:pt x="105167" y="147729"/>
                  </a:moveTo>
                  <a:lnTo>
                    <a:pt x="73650" y="147729"/>
                  </a:lnTo>
                  <a:lnTo>
                    <a:pt x="73650" y="198384"/>
                  </a:lnTo>
                  <a:lnTo>
                    <a:pt x="38896" y="147824"/>
                  </a:lnTo>
                  <a:lnTo>
                    <a:pt x="15568" y="147824"/>
                  </a:lnTo>
                  <a:cubicBezTo>
                    <a:pt x="6998" y="147824"/>
                    <a:pt x="0" y="140826"/>
                    <a:pt x="0" y="132256"/>
                  </a:cubicBezTo>
                  <a:lnTo>
                    <a:pt x="0" y="15568"/>
                  </a:lnTo>
                  <a:cubicBezTo>
                    <a:pt x="0" y="6998"/>
                    <a:pt x="6998" y="0"/>
                    <a:pt x="15568" y="0"/>
                  </a:cubicBezTo>
                  <a:lnTo>
                    <a:pt x="186101" y="0"/>
                  </a:lnTo>
                  <a:cubicBezTo>
                    <a:pt x="194671" y="0"/>
                    <a:pt x="201860" y="6998"/>
                    <a:pt x="201860" y="15568"/>
                  </a:cubicBezTo>
                  <a:lnTo>
                    <a:pt x="201860" y="57987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906" name="Gráfico 17">
              <a:extLst>
                <a:ext uri="{FF2B5EF4-FFF2-40B4-BE49-F238E27FC236}">
                  <a16:creationId xmlns:a16="http://schemas.microsoft.com/office/drawing/2014/main" id="{7176CE5D-12BE-3D5A-B3A6-FAA88EE0C9A9}"/>
                </a:ext>
              </a:extLst>
            </p:cNvPr>
            <p:cNvGrpSpPr/>
            <p:nvPr/>
          </p:nvGrpSpPr>
          <p:grpSpPr>
            <a:xfrm>
              <a:off x="7042816" y="3675174"/>
              <a:ext cx="134350" cy="69270"/>
              <a:chOff x="7042816" y="3675174"/>
              <a:chExt cx="134350" cy="69270"/>
            </a:xfrm>
          </p:grpSpPr>
          <p:sp>
            <p:nvSpPr>
              <p:cNvPr id="1907" name="Forma livre: Forma 1906">
                <a:extLst>
                  <a:ext uri="{FF2B5EF4-FFF2-40B4-BE49-F238E27FC236}">
                    <a16:creationId xmlns:a16="http://schemas.microsoft.com/office/drawing/2014/main" id="{FBF2761E-04C2-3DDB-4C2A-D1B9F35AF1BF}"/>
                  </a:ext>
                </a:extLst>
              </p:cNvPr>
              <p:cNvSpPr/>
              <p:nvPr/>
            </p:nvSpPr>
            <p:spPr>
              <a:xfrm>
                <a:off x="7042816" y="3675174"/>
                <a:ext cx="134350" cy="4760"/>
              </a:xfrm>
              <a:custGeom>
                <a:avLst/>
                <a:gdLst>
                  <a:gd name="connsiteX0" fmla="*/ 0 w 134350"/>
                  <a:gd name="connsiteY0" fmla="*/ 0 h 4760"/>
                  <a:gd name="connsiteX1" fmla="*/ 134351 w 134350"/>
                  <a:gd name="connsiteY1" fmla="*/ 0 h 47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34350" h="4760">
                    <a:moveTo>
                      <a:pt x="0" y="0"/>
                    </a:moveTo>
                    <a:lnTo>
                      <a:pt x="134351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908" name="Forma livre: Forma 1907">
                <a:extLst>
                  <a:ext uri="{FF2B5EF4-FFF2-40B4-BE49-F238E27FC236}">
                    <a16:creationId xmlns:a16="http://schemas.microsoft.com/office/drawing/2014/main" id="{52D2D1E1-0CAB-9BDC-6BD9-69F42799BFB4}"/>
                  </a:ext>
                </a:extLst>
              </p:cNvPr>
              <p:cNvSpPr/>
              <p:nvPr/>
            </p:nvSpPr>
            <p:spPr>
              <a:xfrm>
                <a:off x="7042816" y="3744445"/>
                <a:ext cx="52797" cy="4760"/>
              </a:xfrm>
              <a:custGeom>
                <a:avLst/>
                <a:gdLst>
                  <a:gd name="connsiteX0" fmla="*/ 0 w 52797"/>
                  <a:gd name="connsiteY0" fmla="*/ 0 h 4760"/>
                  <a:gd name="connsiteX1" fmla="*/ 52798 w 52797"/>
                  <a:gd name="connsiteY1" fmla="*/ 0 h 47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2797" h="4760">
                    <a:moveTo>
                      <a:pt x="0" y="0"/>
                    </a:moveTo>
                    <a:lnTo>
                      <a:pt x="52798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909" name="Forma livre: Forma 1908">
                <a:extLst>
                  <a:ext uri="{FF2B5EF4-FFF2-40B4-BE49-F238E27FC236}">
                    <a16:creationId xmlns:a16="http://schemas.microsoft.com/office/drawing/2014/main" id="{6B9BEB4A-3177-A2D8-ACF7-448E91B5AEEB}"/>
                  </a:ext>
                </a:extLst>
              </p:cNvPr>
              <p:cNvSpPr/>
              <p:nvPr/>
            </p:nvSpPr>
            <p:spPr>
              <a:xfrm>
                <a:off x="7042816" y="3709833"/>
                <a:ext cx="103976" cy="4760"/>
              </a:xfrm>
              <a:custGeom>
                <a:avLst/>
                <a:gdLst>
                  <a:gd name="connsiteX0" fmla="*/ 0 w 103976"/>
                  <a:gd name="connsiteY0" fmla="*/ 0 h 4760"/>
                  <a:gd name="connsiteX1" fmla="*/ 103977 w 103976"/>
                  <a:gd name="connsiteY1" fmla="*/ 0 h 47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03976" h="4760">
                    <a:moveTo>
                      <a:pt x="0" y="0"/>
                    </a:moveTo>
                    <a:lnTo>
                      <a:pt x="103977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910" name="Gráfico 17">
            <a:extLst>
              <a:ext uri="{FF2B5EF4-FFF2-40B4-BE49-F238E27FC236}">
                <a16:creationId xmlns:a16="http://schemas.microsoft.com/office/drawing/2014/main" id="{0672A582-5ADA-3F32-85FD-FB6F7B4237BE}"/>
              </a:ext>
            </a:extLst>
          </p:cNvPr>
          <p:cNvGrpSpPr/>
          <p:nvPr/>
        </p:nvGrpSpPr>
        <p:grpSpPr>
          <a:xfrm>
            <a:off x="7634782" y="5216404"/>
            <a:ext cx="277553" cy="316878"/>
            <a:chOff x="7634782" y="5216404"/>
            <a:chExt cx="277553" cy="316878"/>
          </a:xfrm>
          <a:noFill/>
        </p:grpSpPr>
        <p:sp>
          <p:nvSpPr>
            <p:cNvPr id="1911" name="Forma livre: Forma 1910">
              <a:extLst>
                <a:ext uri="{FF2B5EF4-FFF2-40B4-BE49-F238E27FC236}">
                  <a16:creationId xmlns:a16="http://schemas.microsoft.com/office/drawing/2014/main" id="{5C662C00-B592-9F83-A3C2-F404A8BFC914}"/>
                </a:ext>
              </a:extLst>
            </p:cNvPr>
            <p:cNvSpPr/>
            <p:nvPr/>
          </p:nvSpPr>
          <p:spPr>
            <a:xfrm>
              <a:off x="7634782" y="5216404"/>
              <a:ext cx="213993" cy="184050"/>
            </a:xfrm>
            <a:custGeom>
              <a:avLst/>
              <a:gdLst>
                <a:gd name="connsiteX0" fmla="*/ 184241 w 213993"/>
                <a:gd name="connsiteY0" fmla="*/ 107116 h 184050"/>
                <a:gd name="connsiteX1" fmla="*/ 197524 w 213993"/>
                <a:gd name="connsiteY1" fmla="*/ 93642 h 184050"/>
                <a:gd name="connsiteX2" fmla="*/ 198286 w 213993"/>
                <a:gd name="connsiteY2" fmla="*/ 15707 h 184050"/>
                <a:gd name="connsiteX3" fmla="*/ 120351 w 213993"/>
                <a:gd name="connsiteY3" fmla="*/ 16469 h 184050"/>
                <a:gd name="connsiteX4" fmla="*/ 106925 w 213993"/>
                <a:gd name="connsiteY4" fmla="*/ 29752 h 184050"/>
                <a:gd name="connsiteX5" fmla="*/ 93642 w 213993"/>
                <a:gd name="connsiteY5" fmla="*/ 16469 h 184050"/>
                <a:gd name="connsiteX6" fmla="*/ 15708 w 213993"/>
                <a:gd name="connsiteY6" fmla="*/ 15707 h 184050"/>
                <a:gd name="connsiteX7" fmla="*/ 16469 w 213993"/>
                <a:gd name="connsiteY7" fmla="*/ 93642 h 184050"/>
                <a:gd name="connsiteX8" fmla="*/ 106973 w 213993"/>
                <a:gd name="connsiteY8" fmla="*/ 184051 h 184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3993" h="184050">
                  <a:moveTo>
                    <a:pt x="184241" y="107116"/>
                  </a:moveTo>
                  <a:lnTo>
                    <a:pt x="197524" y="93642"/>
                  </a:lnTo>
                  <a:cubicBezTo>
                    <a:pt x="219186" y="71981"/>
                    <a:pt x="219519" y="36941"/>
                    <a:pt x="198286" y="15707"/>
                  </a:cubicBezTo>
                  <a:cubicBezTo>
                    <a:pt x="177052" y="-5526"/>
                    <a:pt x="142013" y="-5145"/>
                    <a:pt x="120351" y="16469"/>
                  </a:cubicBezTo>
                  <a:lnTo>
                    <a:pt x="106925" y="29752"/>
                  </a:lnTo>
                  <a:lnTo>
                    <a:pt x="93642" y="16469"/>
                  </a:lnTo>
                  <a:cubicBezTo>
                    <a:pt x="71981" y="-5193"/>
                    <a:pt x="36941" y="-5526"/>
                    <a:pt x="15708" y="15707"/>
                  </a:cubicBezTo>
                  <a:cubicBezTo>
                    <a:pt x="-5526" y="36941"/>
                    <a:pt x="-5193" y="71981"/>
                    <a:pt x="16469" y="93642"/>
                  </a:cubicBezTo>
                  <a:lnTo>
                    <a:pt x="106973" y="184051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12" name="Forma livre: Forma 1911">
              <a:extLst>
                <a:ext uri="{FF2B5EF4-FFF2-40B4-BE49-F238E27FC236}">
                  <a16:creationId xmlns:a16="http://schemas.microsoft.com/office/drawing/2014/main" id="{3B89A179-1BD8-ABD7-92BC-2D52FE78958E}"/>
                </a:ext>
              </a:extLst>
            </p:cNvPr>
            <p:cNvSpPr/>
            <p:nvPr/>
          </p:nvSpPr>
          <p:spPr>
            <a:xfrm>
              <a:off x="7712832" y="5318133"/>
              <a:ext cx="199504" cy="215149"/>
            </a:xfrm>
            <a:custGeom>
              <a:avLst/>
              <a:gdLst>
                <a:gd name="connsiteX0" fmla="*/ 199504 w 199504"/>
                <a:gd name="connsiteY0" fmla="*/ 194202 h 215149"/>
                <a:gd name="connsiteX1" fmla="*/ 192506 w 199504"/>
                <a:gd name="connsiteY1" fmla="*/ 111601 h 215149"/>
                <a:gd name="connsiteX2" fmla="*/ 164702 w 199504"/>
                <a:gd name="connsiteY2" fmla="*/ 81703 h 215149"/>
                <a:gd name="connsiteX3" fmla="*/ 94670 w 199504"/>
                <a:gd name="connsiteY3" fmla="*/ 81703 h 215149"/>
                <a:gd name="connsiteX4" fmla="*/ 83625 w 199504"/>
                <a:gd name="connsiteY4" fmla="*/ 14956 h 215149"/>
                <a:gd name="connsiteX5" fmla="*/ 62154 w 199504"/>
                <a:gd name="connsiteY5" fmla="*/ 245 h 215149"/>
                <a:gd name="connsiteX6" fmla="*/ 46586 w 199504"/>
                <a:gd name="connsiteY6" fmla="*/ 21098 h 215149"/>
                <a:gd name="connsiteX7" fmla="*/ 61059 w 199504"/>
                <a:gd name="connsiteY7" fmla="*/ 108507 h 215149"/>
                <a:gd name="connsiteX8" fmla="*/ 68057 w 199504"/>
                <a:gd name="connsiteY8" fmla="*/ 150878 h 215149"/>
                <a:gd name="connsiteX9" fmla="*/ 30209 w 199504"/>
                <a:gd name="connsiteY9" fmla="*/ 123836 h 215149"/>
                <a:gd name="connsiteX10" fmla="*/ 5024 w 199504"/>
                <a:gd name="connsiteY10" fmla="*/ 127883 h 215149"/>
                <a:gd name="connsiteX11" fmla="*/ 3405 w 199504"/>
                <a:gd name="connsiteY11" fmla="*/ 130121 h 215149"/>
                <a:gd name="connsiteX12" fmla="*/ 7404 w 199504"/>
                <a:gd name="connsiteY12" fmla="*/ 155306 h 215149"/>
                <a:gd name="connsiteX13" fmla="*/ 90767 w 199504"/>
                <a:gd name="connsiteY13" fmla="*/ 215149 h 2151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99504" h="215149">
                  <a:moveTo>
                    <a:pt x="199504" y="194202"/>
                  </a:moveTo>
                  <a:lnTo>
                    <a:pt x="192506" y="111601"/>
                  </a:lnTo>
                  <a:cubicBezTo>
                    <a:pt x="187697" y="82465"/>
                    <a:pt x="164702" y="81703"/>
                    <a:pt x="164702" y="81703"/>
                  </a:cubicBezTo>
                  <a:lnTo>
                    <a:pt x="94670" y="81703"/>
                  </a:lnTo>
                  <a:lnTo>
                    <a:pt x="83625" y="14956"/>
                  </a:lnTo>
                  <a:cubicBezTo>
                    <a:pt x="82007" y="5196"/>
                    <a:pt x="71961" y="-1374"/>
                    <a:pt x="62154" y="245"/>
                  </a:cubicBezTo>
                  <a:cubicBezTo>
                    <a:pt x="52394" y="1864"/>
                    <a:pt x="44967" y="11290"/>
                    <a:pt x="46586" y="21098"/>
                  </a:cubicBezTo>
                  <a:lnTo>
                    <a:pt x="61059" y="108507"/>
                  </a:lnTo>
                  <a:lnTo>
                    <a:pt x="68057" y="150878"/>
                  </a:lnTo>
                  <a:lnTo>
                    <a:pt x="30209" y="123836"/>
                  </a:lnTo>
                  <a:cubicBezTo>
                    <a:pt x="22163" y="118028"/>
                    <a:pt x="10832" y="119837"/>
                    <a:pt x="5024" y="127883"/>
                  </a:cubicBezTo>
                  <a:lnTo>
                    <a:pt x="3405" y="130121"/>
                  </a:lnTo>
                  <a:cubicBezTo>
                    <a:pt x="-2403" y="138167"/>
                    <a:pt x="-594" y="149497"/>
                    <a:pt x="7404" y="155306"/>
                  </a:cubicBezTo>
                  <a:lnTo>
                    <a:pt x="90767" y="215149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913" name="Gráfico 17">
            <a:extLst>
              <a:ext uri="{FF2B5EF4-FFF2-40B4-BE49-F238E27FC236}">
                <a16:creationId xmlns:a16="http://schemas.microsoft.com/office/drawing/2014/main" id="{72DFC4A0-4D0E-6100-88F5-A36600631DA3}"/>
              </a:ext>
            </a:extLst>
          </p:cNvPr>
          <p:cNvGrpSpPr/>
          <p:nvPr/>
        </p:nvGrpSpPr>
        <p:grpSpPr>
          <a:xfrm>
            <a:off x="6366635" y="5237824"/>
            <a:ext cx="333734" cy="274081"/>
            <a:chOff x="6366635" y="5237824"/>
            <a:chExt cx="333734" cy="274081"/>
          </a:xfrm>
        </p:grpSpPr>
        <p:sp>
          <p:nvSpPr>
            <p:cNvPr id="1914" name="Forma livre: Forma 1913">
              <a:extLst>
                <a:ext uri="{FF2B5EF4-FFF2-40B4-BE49-F238E27FC236}">
                  <a16:creationId xmlns:a16="http://schemas.microsoft.com/office/drawing/2014/main" id="{0A350B54-692C-BE94-973A-1E489A6E2D1F}"/>
                </a:ext>
              </a:extLst>
            </p:cNvPr>
            <p:cNvSpPr/>
            <p:nvPr/>
          </p:nvSpPr>
          <p:spPr>
            <a:xfrm>
              <a:off x="6504604" y="5237824"/>
              <a:ext cx="195765" cy="205144"/>
            </a:xfrm>
            <a:custGeom>
              <a:avLst/>
              <a:gdLst>
                <a:gd name="connsiteX0" fmla="*/ 79411 w 195765"/>
                <a:gd name="connsiteY0" fmla="*/ 148633 h 205144"/>
                <a:gd name="connsiteX1" fmla="*/ 106881 w 195765"/>
                <a:gd name="connsiteY1" fmla="*/ 148633 h 205144"/>
                <a:gd name="connsiteX2" fmla="*/ 155584 w 195765"/>
                <a:gd name="connsiteY2" fmla="*/ 205144 h 205144"/>
                <a:gd name="connsiteX3" fmla="*/ 155584 w 195765"/>
                <a:gd name="connsiteY3" fmla="*/ 148633 h 205144"/>
                <a:gd name="connsiteX4" fmla="*/ 168772 w 195765"/>
                <a:gd name="connsiteY4" fmla="*/ 148633 h 205144"/>
                <a:gd name="connsiteX5" fmla="*/ 195766 w 195765"/>
                <a:gd name="connsiteY5" fmla="*/ 121639 h 205144"/>
                <a:gd name="connsiteX6" fmla="*/ 195766 w 195765"/>
                <a:gd name="connsiteY6" fmla="*/ 26994 h 205144"/>
                <a:gd name="connsiteX7" fmla="*/ 168772 w 195765"/>
                <a:gd name="connsiteY7" fmla="*/ 0 h 205144"/>
                <a:gd name="connsiteX8" fmla="*/ 26994 w 195765"/>
                <a:gd name="connsiteY8" fmla="*/ 0 h 205144"/>
                <a:gd name="connsiteX9" fmla="*/ 0 w 195765"/>
                <a:gd name="connsiteY9" fmla="*/ 26994 h 205144"/>
                <a:gd name="connsiteX10" fmla="*/ 0 w 195765"/>
                <a:gd name="connsiteY10" fmla="*/ 47942 h 2051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95765" h="205144">
                  <a:moveTo>
                    <a:pt x="79411" y="148633"/>
                  </a:moveTo>
                  <a:lnTo>
                    <a:pt x="106881" y="148633"/>
                  </a:lnTo>
                  <a:lnTo>
                    <a:pt x="155584" y="205144"/>
                  </a:lnTo>
                  <a:lnTo>
                    <a:pt x="155584" y="148633"/>
                  </a:lnTo>
                  <a:lnTo>
                    <a:pt x="168772" y="148633"/>
                  </a:lnTo>
                  <a:cubicBezTo>
                    <a:pt x="183626" y="148633"/>
                    <a:pt x="195766" y="136493"/>
                    <a:pt x="195766" y="121639"/>
                  </a:cubicBezTo>
                  <a:lnTo>
                    <a:pt x="195766" y="26994"/>
                  </a:lnTo>
                  <a:cubicBezTo>
                    <a:pt x="195766" y="12140"/>
                    <a:pt x="183626" y="0"/>
                    <a:pt x="168772" y="0"/>
                  </a:cubicBezTo>
                  <a:lnTo>
                    <a:pt x="26994" y="0"/>
                  </a:lnTo>
                  <a:cubicBezTo>
                    <a:pt x="12140" y="0"/>
                    <a:pt x="0" y="12140"/>
                    <a:pt x="0" y="26994"/>
                  </a:cubicBezTo>
                  <a:lnTo>
                    <a:pt x="0" y="47942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15" name="Forma livre: Forma 1914">
              <a:extLst>
                <a:ext uri="{FF2B5EF4-FFF2-40B4-BE49-F238E27FC236}">
                  <a16:creationId xmlns:a16="http://schemas.microsoft.com/office/drawing/2014/main" id="{D31C34A3-004B-6B8A-EF76-6712BF6CF0BC}"/>
                </a:ext>
              </a:extLst>
            </p:cNvPr>
            <p:cNvSpPr/>
            <p:nvPr/>
          </p:nvSpPr>
          <p:spPr>
            <a:xfrm>
              <a:off x="6366635" y="5306761"/>
              <a:ext cx="195765" cy="205144"/>
            </a:xfrm>
            <a:custGeom>
              <a:avLst/>
              <a:gdLst>
                <a:gd name="connsiteX0" fmla="*/ 40181 w 195765"/>
                <a:gd name="connsiteY0" fmla="*/ 205144 h 205144"/>
                <a:gd name="connsiteX1" fmla="*/ 40181 w 195765"/>
                <a:gd name="connsiteY1" fmla="*/ 148633 h 205144"/>
                <a:gd name="connsiteX2" fmla="*/ 26994 w 195765"/>
                <a:gd name="connsiteY2" fmla="*/ 148633 h 205144"/>
                <a:gd name="connsiteX3" fmla="*/ 0 w 195765"/>
                <a:gd name="connsiteY3" fmla="*/ 121639 h 205144"/>
                <a:gd name="connsiteX4" fmla="*/ 0 w 195765"/>
                <a:gd name="connsiteY4" fmla="*/ 26994 h 205144"/>
                <a:gd name="connsiteX5" fmla="*/ 26994 w 195765"/>
                <a:gd name="connsiteY5" fmla="*/ 0 h 205144"/>
                <a:gd name="connsiteX6" fmla="*/ 168772 w 195765"/>
                <a:gd name="connsiteY6" fmla="*/ 0 h 205144"/>
                <a:gd name="connsiteX7" fmla="*/ 195766 w 195765"/>
                <a:gd name="connsiteY7" fmla="*/ 26994 h 205144"/>
                <a:gd name="connsiteX8" fmla="*/ 195766 w 195765"/>
                <a:gd name="connsiteY8" fmla="*/ 121639 h 205144"/>
                <a:gd name="connsiteX9" fmla="*/ 168772 w 195765"/>
                <a:gd name="connsiteY9" fmla="*/ 148633 h 205144"/>
                <a:gd name="connsiteX10" fmla="*/ 88885 w 195765"/>
                <a:gd name="connsiteY10" fmla="*/ 148633 h 205144"/>
                <a:gd name="connsiteX11" fmla="*/ 40181 w 195765"/>
                <a:gd name="connsiteY11" fmla="*/ 205144 h 2051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95765" h="205144">
                  <a:moveTo>
                    <a:pt x="40181" y="205144"/>
                  </a:moveTo>
                  <a:lnTo>
                    <a:pt x="40181" y="148633"/>
                  </a:lnTo>
                  <a:lnTo>
                    <a:pt x="26994" y="148633"/>
                  </a:lnTo>
                  <a:cubicBezTo>
                    <a:pt x="12140" y="148633"/>
                    <a:pt x="0" y="136493"/>
                    <a:pt x="0" y="121639"/>
                  </a:cubicBezTo>
                  <a:lnTo>
                    <a:pt x="0" y="26994"/>
                  </a:lnTo>
                  <a:cubicBezTo>
                    <a:pt x="0" y="12140"/>
                    <a:pt x="12140" y="0"/>
                    <a:pt x="26994" y="0"/>
                  </a:cubicBezTo>
                  <a:lnTo>
                    <a:pt x="168772" y="0"/>
                  </a:lnTo>
                  <a:cubicBezTo>
                    <a:pt x="183626" y="0"/>
                    <a:pt x="195766" y="12140"/>
                    <a:pt x="195766" y="26994"/>
                  </a:cubicBezTo>
                  <a:lnTo>
                    <a:pt x="195766" y="121639"/>
                  </a:lnTo>
                  <a:cubicBezTo>
                    <a:pt x="195766" y="136493"/>
                    <a:pt x="183626" y="148633"/>
                    <a:pt x="168772" y="148633"/>
                  </a:cubicBezTo>
                  <a:lnTo>
                    <a:pt x="88885" y="148633"/>
                  </a:lnTo>
                  <a:lnTo>
                    <a:pt x="40181" y="205144"/>
                  </a:ln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16" name="Forma livre: Forma 1915">
              <a:extLst>
                <a:ext uri="{FF2B5EF4-FFF2-40B4-BE49-F238E27FC236}">
                  <a16:creationId xmlns:a16="http://schemas.microsoft.com/office/drawing/2014/main" id="{7293807B-D176-0FA2-A836-A401E3351052}"/>
                </a:ext>
              </a:extLst>
            </p:cNvPr>
            <p:cNvSpPr/>
            <p:nvPr/>
          </p:nvSpPr>
          <p:spPr>
            <a:xfrm>
              <a:off x="6594155" y="5308094"/>
              <a:ext cx="7426" cy="7426"/>
            </a:xfrm>
            <a:custGeom>
              <a:avLst/>
              <a:gdLst>
                <a:gd name="connsiteX0" fmla="*/ 7427 w 7426"/>
                <a:gd name="connsiteY0" fmla="*/ 3713 h 7426"/>
                <a:gd name="connsiteX1" fmla="*/ 3713 w 7426"/>
                <a:gd name="connsiteY1" fmla="*/ 7427 h 7426"/>
                <a:gd name="connsiteX2" fmla="*/ 0 w 7426"/>
                <a:gd name="connsiteY2" fmla="*/ 3713 h 7426"/>
                <a:gd name="connsiteX3" fmla="*/ 3713 w 7426"/>
                <a:gd name="connsiteY3" fmla="*/ 0 h 7426"/>
                <a:gd name="connsiteX4" fmla="*/ 7427 w 7426"/>
                <a:gd name="connsiteY4" fmla="*/ 3713 h 74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426" h="7426">
                  <a:moveTo>
                    <a:pt x="7427" y="3713"/>
                  </a:moveTo>
                  <a:cubicBezTo>
                    <a:pt x="7427" y="5764"/>
                    <a:pt x="5764" y="7427"/>
                    <a:pt x="3713" y="7427"/>
                  </a:cubicBezTo>
                  <a:cubicBezTo>
                    <a:pt x="1663" y="7427"/>
                    <a:pt x="0" y="5764"/>
                    <a:pt x="0" y="3713"/>
                  </a:cubicBezTo>
                  <a:cubicBezTo>
                    <a:pt x="0" y="1662"/>
                    <a:pt x="1663" y="0"/>
                    <a:pt x="3713" y="0"/>
                  </a:cubicBezTo>
                  <a:cubicBezTo>
                    <a:pt x="5764" y="0"/>
                    <a:pt x="7427" y="1662"/>
                    <a:pt x="7427" y="3713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17" name="Forma livre: Forma 1916">
              <a:extLst>
                <a:ext uri="{FF2B5EF4-FFF2-40B4-BE49-F238E27FC236}">
                  <a16:creationId xmlns:a16="http://schemas.microsoft.com/office/drawing/2014/main" id="{B79838CA-9CE4-8C67-E8A2-4D291F9CDC5A}"/>
                </a:ext>
              </a:extLst>
            </p:cNvPr>
            <p:cNvSpPr/>
            <p:nvPr/>
          </p:nvSpPr>
          <p:spPr>
            <a:xfrm>
              <a:off x="6634241" y="5308094"/>
              <a:ext cx="7426" cy="7426"/>
            </a:xfrm>
            <a:custGeom>
              <a:avLst/>
              <a:gdLst>
                <a:gd name="connsiteX0" fmla="*/ 7427 w 7426"/>
                <a:gd name="connsiteY0" fmla="*/ 3713 h 7426"/>
                <a:gd name="connsiteX1" fmla="*/ 3713 w 7426"/>
                <a:gd name="connsiteY1" fmla="*/ 7427 h 7426"/>
                <a:gd name="connsiteX2" fmla="*/ 0 w 7426"/>
                <a:gd name="connsiteY2" fmla="*/ 3713 h 7426"/>
                <a:gd name="connsiteX3" fmla="*/ 3713 w 7426"/>
                <a:gd name="connsiteY3" fmla="*/ 0 h 7426"/>
                <a:gd name="connsiteX4" fmla="*/ 7427 w 7426"/>
                <a:gd name="connsiteY4" fmla="*/ 3713 h 74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426" h="7426">
                  <a:moveTo>
                    <a:pt x="7427" y="3713"/>
                  </a:moveTo>
                  <a:cubicBezTo>
                    <a:pt x="7427" y="5764"/>
                    <a:pt x="5764" y="7427"/>
                    <a:pt x="3713" y="7427"/>
                  </a:cubicBezTo>
                  <a:cubicBezTo>
                    <a:pt x="1663" y="7427"/>
                    <a:pt x="0" y="5764"/>
                    <a:pt x="0" y="3713"/>
                  </a:cubicBezTo>
                  <a:cubicBezTo>
                    <a:pt x="0" y="1662"/>
                    <a:pt x="1663" y="0"/>
                    <a:pt x="3713" y="0"/>
                  </a:cubicBezTo>
                  <a:cubicBezTo>
                    <a:pt x="5764" y="0"/>
                    <a:pt x="7427" y="1662"/>
                    <a:pt x="7427" y="3713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918" name="Gráfico 17">
              <a:extLst>
                <a:ext uri="{FF2B5EF4-FFF2-40B4-BE49-F238E27FC236}">
                  <a16:creationId xmlns:a16="http://schemas.microsoft.com/office/drawing/2014/main" id="{6180DD6F-682F-95A6-0DC1-C725DE31A95F}"/>
                </a:ext>
              </a:extLst>
            </p:cNvPr>
            <p:cNvGrpSpPr/>
            <p:nvPr/>
          </p:nvGrpSpPr>
          <p:grpSpPr>
            <a:xfrm>
              <a:off x="6417385" y="5349228"/>
              <a:ext cx="94264" cy="66985"/>
              <a:chOff x="6417385" y="5349228"/>
              <a:chExt cx="94264" cy="66985"/>
            </a:xfrm>
          </p:grpSpPr>
          <p:grpSp>
            <p:nvGrpSpPr>
              <p:cNvPr id="1919" name="Gráfico 17">
                <a:extLst>
                  <a:ext uri="{FF2B5EF4-FFF2-40B4-BE49-F238E27FC236}">
                    <a16:creationId xmlns:a16="http://schemas.microsoft.com/office/drawing/2014/main" id="{55C17029-A792-2011-86F5-5983D33FD95B}"/>
                  </a:ext>
                </a:extLst>
              </p:cNvPr>
              <p:cNvGrpSpPr/>
              <p:nvPr/>
            </p:nvGrpSpPr>
            <p:grpSpPr>
              <a:xfrm>
                <a:off x="6433953" y="5349228"/>
                <a:ext cx="61129" cy="7141"/>
                <a:chOff x="6433953" y="5349228"/>
                <a:chExt cx="61129" cy="7141"/>
              </a:xfrm>
              <a:solidFill>
                <a:srgbClr val="394553"/>
              </a:solidFill>
            </p:grpSpPr>
            <p:sp>
              <p:nvSpPr>
                <p:cNvPr id="1920" name="Forma livre: Forma 1919">
                  <a:extLst>
                    <a:ext uri="{FF2B5EF4-FFF2-40B4-BE49-F238E27FC236}">
                      <a16:creationId xmlns:a16="http://schemas.microsoft.com/office/drawing/2014/main" id="{B40F5E9A-5493-BA33-4521-F084D246606A}"/>
                    </a:ext>
                  </a:extLst>
                </p:cNvPr>
                <p:cNvSpPr/>
                <p:nvPr/>
              </p:nvSpPr>
              <p:spPr>
                <a:xfrm>
                  <a:off x="6487941" y="5349228"/>
                  <a:ext cx="7141" cy="7141"/>
                </a:xfrm>
                <a:custGeom>
                  <a:avLst/>
                  <a:gdLst>
                    <a:gd name="connsiteX0" fmla="*/ 0 w 7141"/>
                    <a:gd name="connsiteY0" fmla="*/ 3571 h 7141"/>
                    <a:gd name="connsiteX1" fmla="*/ 3571 w 7141"/>
                    <a:gd name="connsiteY1" fmla="*/ 7141 h 7141"/>
                    <a:gd name="connsiteX2" fmla="*/ 7141 w 7141"/>
                    <a:gd name="connsiteY2" fmla="*/ 3571 h 7141"/>
                    <a:gd name="connsiteX3" fmla="*/ 3571 w 7141"/>
                    <a:gd name="connsiteY3" fmla="*/ 0 h 7141"/>
                    <a:gd name="connsiteX4" fmla="*/ 0 w 7141"/>
                    <a:gd name="connsiteY4" fmla="*/ 3571 h 714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7141" h="7141">
                      <a:moveTo>
                        <a:pt x="0" y="3571"/>
                      </a:moveTo>
                      <a:cubicBezTo>
                        <a:pt x="0" y="5570"/>
                        <a:pt x="1571" y="7141"/>
                        <a:pt x="3571" y="7141"/>
                      </a:cubicBezTo>
                      <a:cubicBezTo>
                        <a:pt x="5570" y="7141"/>
                        <a:pt x="7141" y="5570"/>
                        <a:pt x="7141" y="3571"/>
                      </a:cubicBezTo>
                      <a:cubicBezTo>
                        <a:pt x="7141" y="1571"/>
                        <a:pt x="5523" y="0"/>
                        <a:pt x="3571" y="0"/>
                      </a:cubicBezTo>
                      <a:cubicBezTo>
                        <a:pt x="1619" y="0"/>
                        <a:pt x="0" y="1619"/>
                        <a:pt x="0" y="3571"/>
                      </a:cubicBezTo>
                      <a:close/>
                    </a:path>
                  </a:pathLst>
                </a:custGeom>
                <a:solidFill>
                  <a:srgbClr val="394553"/>
                </a:solidFill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921" name="Forma livre: Forma 1920">
                  <a:extLst>
                    <a:ext uri="{FF2B5EF4-FFF2-40B4-BE49-F238E27FC236}">
                      <a16:creationId xmlns:a16="http://schemas.microsoft.com/office/drawing/2014/main" id="{4AFB2885-4F3B-2CE5-FD0A-1676DB60B208}"/>
                    </a:ext>
                  </a:extLst>
                </p:cNvPr>
                <p:cNvSpPr/>
                <p:nvPr/>
              </p:nvSpPr>
              <p:spPr>
                <a:xfrm>
                  <a:off x="6433953" y="5349228"/>
                  <a:ext cx="7141" cy="7141"/>
                </a:xfrm>
                <a:custGeom>
                  <a:avLst/>
                  <a:gdLst>
                    <a:gd name="connsiteX0" fmla="*/ 0 w 7141"/>
                    <a:gd name="connsiteY0" fmla="*/ 3571 h 7141"/>
                    <a:gd name="connsiteX1" fmla="*/ 3571 w 7141"/>
                    <a:gd name="connsiteY1" fmla="*/ 7141 h 7141"/>
                    <a:gd name="connsiteX2" fmla="*/ 7141 w 7141"/>
                    <a:gd name="connsiteY2" fmla="*/ 3571 h 7141"/>
                    <a:gd name="connsiteX3" fmla="*/ 3571 w 7141"/>
                    <a:gd name="connsiteY3" fmla="*/ 0 h 7141"/>
                    <a:gd name="connsiteX4" fmla="*/ 0 w 7141"/>
                    <a:gd name="connsiteY4" fmla="*/ 3571 h 714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7141" h="7141">
                      <a:moveTo>
                        <a:pt x="0" y="3571"/>
                      </a:moveTo>
                      <a:cubicBezTo>
                        <a:pt x="0" y="5570"/>
                        <a:pt x="1571" y="7141"/>
                        <a:pt x="3571" y="7141"/>
                      </a:cubicBezTo>
                      <a:cubicBezTo>
                        <a:pt x="5570" y="7141"/>
                        <a:pt x="7141" y="5570"/>
                        <a:pt x="7141" y="3571"/>
                      </a:cubicBezTo>
                      <a:cubicBezTo>
                        <a:pt x="7141" y="1571"/>
                        <a:pt x="5523" y="0"/>
                        <a:pt x="3571" y="0"/>
                      </a:cubicBezTo>
                      <a:cubicBezTo>
                        <a:pt x="1619" y="0"/>
                        <a:pt x="0" y="1619"/>
                        <a:pt x="0" y="3571"/>
                      </a:cubicBezTo>
                      <a:close/>
                    </a:path>
                  </a:pathLst>
                </a:custGeom>
                <a:solidFill>
                  <a:srgbClr val="394553"/>
                </a:solidFill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1922" name="Forma livre: Forma 1921">
                <a:extLst>
                  <a:ext uri="{FF2B5EF4-FFF2-40B4-BE49-F238E27FC236}">
                    <a16:creationId xmlns:a16="http://schemas.microsoft.com/office/drawing/2014/main" id="{1119DC67-7898-0B3B-F480-3ED4427EDF59}"/>
                  </a:ext>
                </a:extLst>
              </p:cNvPr>
              <p:cNvSpPr/>
              <p:nvPr/>
            </p:nvSpPr>
            <p:spPr>
              <a:xfrm>
                <a:off x="6417385" y="5395741"/>
                <a:ext cx="94264" cy="20471"/>
              </a:xfrm>
              <a:custGeom>
                <a:avLst/>
                <a:gdLst>
                  <a:gd name="connsiteX0" fmla="*/ 94265 w 94264"/>
                  <a:gd name="connsiteY0" fmla="*/ 0 h 20471"/>
                  <a:gd name="connsiteX1" fmla="*/ 47132 w 94264"/>
                  <a:gd name="connsiteY1" fmla="*/ 20472 h 20471"/>
                  <a:gd name="connsiteX2" fmla="*/ 0 w 94264"/>
                  <a:gd name="connsiteY2" fmla="*/ 0 h 204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94264" h="20471">
                    <a:moveTo>
                      <a:pt x="94265" y="0"/>
                    </a:moveTo>
                    <a:cubicBezTo>
                      <a:pt x="84838" y="12235"/>
                      <a:pt x="67033" y="20472"/>
                      <a:pt x="47132" y="20472"/>
                    </a:cubicBezTo>
                    <a:cubicBezTo>
                      <a:pt x="27232" y="20472"/>
                      <a:pt x="9426" y="12235"/>
                      <a:pt x="0" y="0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923" name="Gráfico 17">
            <a:extLst>
              <a:ext uri="{FF2B5EF4-FFF2-40B4-BE49-F238E27FC236}">
                <a16:creationId xmlns:a16="http://schemas.microsoft.com/office/drawing/2014/main" id="{45D68C00-2395-EC00-873C-DD63D7C60B15}"/>
              </a:ext>
            </a:extLst>
          </p:cNvPr>
          <p:cNvGrpSpPr/>
          <p:nvPr/>
        </p:nvGrpSpPr>
        <p:grpSpPr>
          <a:xfrm>
            <a:off x="7020155" y="5211592"/>
            <a:ext cx="266749" cy="326593"/>
            <a:chOff x="7020155" y="5211592"/>
            <a:chExt cx="266749" cy="326593"/>
          </a:xfrm>
          <a:noFill/>
        </p:grpSpPr>
        <p:sp>
          <p:nvSpPr>
            <p:cNvPr id="1924" name="Forma livre: Forma 1923">
              <a:extLst>
                <a:ext uri="{FF2B5EF4-FFF2-40B4-BE49-F238E27FC236}">
                  <a16:creationId xmlns:a16="http://schemas.microsoft.com/office/drawing/2014/main" id="{8DDDFCC7-876E-A385-0BFC-FD9351874537}"/>
                </a:ext>
              </a:extLst>
            </p:cNvPr>
            <p:cNvSpPr/>
            <p:nvPr/>
          </p:nvSpPr>
          <p:spPr>
            <a:xfrm>
              <a:off x="7087400" y="5323036"/>
              <a:ext cx="199504" cy="215149"/>
            </a:xfrm>
            <a:custGeom>
              <a:avLst/>
              <a:gdLst>
                <a:gd name="connsiteX0" fmla="*/ 199504 w 199504"/>
                <a:gd name="connsiteY0" fmla="*/ 194202 h 215149"/>
                <a:gd name="connsiteX1" fmla="*/ 192506 w 199504"/>
                <a:gd name="connsiteY1" fmla="*/ 111601 h 215149"/>
                <a:gd name="connsiteX2" fmla="*/ 164703 w 199504"/>
                <a:gd name="connsiteY2" fmla="*/ 81703 h 215149"/>
                <a:gd name="connsiteX3" fmla="*/ 94671 w 199504"/>
                <a:gd name="connsiteY3" fmla="*/ 81703 h 215149"/>
                <a:gd name="connsiteX4" fmla="*/ 83625 w 199504"/>
                <a:gd name="connsiteY4" fmla="*/ 14956 h 215149"/>
                <a:gd name="connsiteX5" fmla="*/ 62154 w 199504"/>
                <a:gd name="connsiteY5" fmla="*/ 245 h 215149"/>
                <a:gd name="connsiteX6" fmla="*/ 46586 w 199504"/>
                <a:gd name="connsiteY6" fmla="*/ 21098 h 215149"/>
                <a:gd name="connsiteX7" fmla="*/ 61059 w 199504"/>
                <a:gd name="connsiteY7" fmla="*/ 108507 h 215149"/>
                <a:gd name="connsiteX8" fmla="*/ 68058 w 199504"/>
                <a:gd name="connsiteY8" fmla="*/ 150878 h 215149"/>
                <a:gd name="connsiteX9" fmla="*/ 30209 w 199504"/>
                <a:gd name="connsiteY9" fmla="*/ 123836 h 215149"/>
                <a:gd name="connsiteX10" fmla="*/ 5024 w 199504"/>
                <a:gd name="connsiteY10" fmla="*/ 127883 h 215149"/>
                <a:gd name="connsiteX11" fmla="*/ 3405 w 199504"/>
                <a:gd name="connsiteY11" fmla="*/ 130121 h 215149"/>
                <a:gd name="connsiteX12" fmla="*/ 7404 w 199504"/>
                <a:gd name="connsiteY12" fmla="*/ 155306 h 215149"/>
                <a:gd name="connsiteX13" fmla="*/ 90767 w 199504"/>
                <a:gd name="connsiteY13" fmla="*/ 215149 h 2151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99504" h="215149">
                  <a:moveTo>
                    <a:pt x="199504" y="194202"/>
                  </a:moveTo>
                  <a:lnTo>
                    <a:pt x="192506" y="111601"/>
                  </a:lnTo>
                  <a:cubicBezTo>
                    <a:pt x="187697" y="82465"/>
                    <a:pt x="164703" y="81703"/>
                    <a:pt x="164703" y="81703"/>
                  </a:cubicBezTo>
                  <a:lnTo>
                    <a:pt x="94671" y="81703"/>
                  </a:lnTo>
                  <a:lnTo>
                    <a:pt x="83625" y="14956"/>
                  </a:lnTo>
                  <a:cubicBezTo>
                    <a:pt x="82007" y="5196"/>
                    <a:pt x="71961" y="-1374"/>
                    <a:pt x="62154" y="245"/>
                  </a:cubicBezTo>
                  <a:cubicBezTo>
                    <a:pt x="52394" y="1864"/>
                    <a:pt x="44967" y="11290"/>
                    <a:pt x="46586" y="21098"/>
                  </a:cubicBezTo>
                  <a:lnTo>
                    <a:pt x="61059" y="108507"/>
                  </a:lnTo>
                  <a:lnTo>
                    <a:pt x="68058" y="150878"/>
                  </a:lnTo>
                  <a:lnTo>
                    <a:pt x="30209" y="123836"/>
                  </a:lnTo>
                  <a:cubicBezTo>
                    <a:pt x="22163" y="118028"/>
                    <a:pt x="10832" y="119837"/>
                    <a:pt x="5024" y="127883"/>
                  </a:cubicBezTo>
                  <a:lnTo>
                    <a:pt x="3405" y="130121"/>
                  </a:lnTo>
                  <a:cubicBezTo>
                    <a:pt x="-2403" y="138167"/>
                    <a:pt x="-594" y="149497"/>
                    <a:pt x="7404" y="155306"/>
                  </a:cubicBezTo>
                  <a:lnTo>
                    <a:pt x="90767" y="215149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25" name="Forma livre: Forma 1924">
              <a:extLst>
                <a:ext uri="{FF2B5EF4-FFF2-40B4-BE49-F238E27FC236}">
                  <a16:creationId xmlns:a16="http://schemas.microsoft.com/office/drawing/2014/main" id="{5B5BBBDC-43E6-3D07-68FB-AF1D5F034F76}"/>
                </a:ext>
              </a:extLst>
            </p:cNvPr>
            <p:cNvSpPr/>
            <p:nvPr/>
          </p:nvSpPr>
          <p:spPr>
            <a:xfrm>
              <a:off x="7020155" y="5211592"/>
              <a:ext cx="209857" cy="199621"/>
            </a:xfrm>
            <a:custGeom>
              <a:avLst/>
              <a:gdLst>
                <a:gd name="connsiteX0" fmla="*/ 99121 w 209857"/>
                <a:gd name="connsiteY0" fmla="*/ 165582 h 199621"/>
                <a:gd name="connsiteX1" fmla="*/ 40086 w 209857"/>
                <a:gd name="connsiteY1" fmla="*/ 199622 h 199621"/>
                <a:gd name="connsiteX2" fmla="*/ 55559 w 209857"/>
                <a:gd name="connsiteY2" fmla="*/ 126353 h 199621"/>
                <a:gd name="connsiteX3" fmla="*/ 0 w 209857"/>
                <a:gd name="connsiteY3" fmla="*/ 76221 h 199621"/>
                <a:gd name="connsiteX4" fmla="*/ 74460 w 209857"/>
                <a:gd name="connsiteY4" fmla="*/ 68366 h 199621"/>
                <a:gd name="connsiteX5" fmla="*/ 104929 w 209857"/>
                <a:gd name="connsiteY5" fmla="*/ 0 h 199621"/>
                <a:gd name="connsiteX6" fmla="*/ 135398 w 209857"/>
                <a:gd name="connsiteY6" fmla="*/ 68366 h 199621"/>
                <a:gd name="connsiteX7" fmla="*/ 209858 w 209857"/>
                <a:gd name="connsiteY7" fmla="*/ 76221 h 199621"/>
                <a:gd name="connsiteX8" fmla="*/ 167343 w 209857"/>
                <a:gd name="connsiteY8" fmla="*/ 115022 h 1996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09857" h="199621">
                  <a:moveTo>
                    <a:pt x="99121" y="165582"/>
                  </a:moveTo>
                  <a:lnTo>
                    <a:pt x="40086" y="199622"/>
                  </a:lnTo>
                  <a:lnTo>
                    <a:pt x="55559" y="126353"/>
                  </a:lnTo>
                  <a:lnTo>
                    <a:pt x="0" y="76221"/>
                  </a:lnTo>
                  <a:lnTo>
                    <a:pt x="74460" y="68366"/>
                  </a:lnTo>
                  <a:lnTo>
                    <a:pt x="104929" y="0"/>
                  </a:lnTo>
                  <a:lnTo>
                    <a:pt x="135398" y="68366"/>
                  </a:lnTo>
                  <a:lnTo>
                    <a:pt x="209858" y="76221"/>
                  </a:lnTo>
                  <a:lnTo>
                    <a:pt x="167343" y="115022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926" name="Gráfico 17">
            <a:extLst>
              <a:ext uri="{FF2B5EF4-FFF2-40B4-BE49-F238E27FC236}">
                <a16:creationId xmlns:a16="http://schemas.microsoft.com/office/drawing/2014/main" id="{F3982F67-2A7F-3327-6F23-C06D6418ECFA}"/>
              </a:ext>
            </a:extLst>
          </p:cNvPr>
          <p:cNvGrpSpPr/>
          <p:nvPr/>
        </p:nvGrpSpPr>
        <p:grpSpPr>
          <a:xfrm>
            <a:off x="7614641" y="4712228"/>
            <a:ext cx="317833" cy="253847"/>
            <a:chOff x="7614641" y="4712228"/>
            <a:chExt cx="317833" cy="253847"/>
          </a:xfrm>
          <a:noFill/>
        </p:grpSpPr>
        <p:sp>
          <p:nvSpPr>
            <p:cNvPr id="1927" name="Forma livre: Forma 1926">
              <a:extLst>
                <a:ext uri="{FF2B5EF4-FFF2-40B4-BE49-F238E27FC236}">
                  <a16:creationId xmlns:a16="http://schemas.microsoft.com/office/drawing/2014/main" id="{643B4C97-6CA7-0611-9660-8B79321CBD82}"/>
                </a:ext>
              </a:extLst>
            </p:cNvPr>
            <p:cNvSpPr/>
            <p:nvPr/>
          </p:nvSpPr>
          <p:spPr>
            <a:xfrm>
              <a:off x="7614641" y="4799732"/>
              <a:ext cx="178959" cy="166343"/>
            </a:xfrm>
            <a:custGeom>
              <a:avLst/>
              <a:gdLst>
                <a:gd name="connsiteX0" fmla="*/ 178960 w 178959"/>
                <a:gd name="connsiteY0" fmla="*/ 96312 h 166343"/>
                <a:gd name="connsiteX1" fmla="*/ 178960 w 178959"/>
                <a:gd name="connsiteY1" fmla="*/ 114593 h 166343"/>
                <a:gd name="connsiteX2" fmla="*/ 167486 w 178959"/>
                <a:gd name="connsiteY2" fmla="*/ 126257 h 166343"/>
                <a:gd name="connsiteX3" fmla="*/ 78554 w 178959"/>
                <a:gd name="connsiteY3" fmla="*/ 126257 h 166343"/>
                <a:gd name="connsiteX4" fmla="*/ 38087 w 178959"/>
                <a:gd name="connsiteY4" fmla="*/ 166344 h 166343"/>
                <a:gd name="connsiteX5" fmla="*/ 38087 w 178959"/>
                <a:gd name="connsiteY5" fmla="*/ 126305 h 166343"/>
                <a:gd name="connsiteX6" fmla="*/ 11616 w 178959"/>
                <a:gd name="connsiteY6" fmla="*/ 126305 h 166343"/>
                <a:gd name="connsiteX7" fmla="*/ 0 w 178959"/>
                <a:gd name="connsiteY7" fmla="*/ 114688 h 166343"/>
                <a:gd name="connsiteX8" fmla="*/ 0 w 178959"/>
                <a:gd name="connsiteY8" fmla="*/ 11616 h 166343"/>
                <a:gd name="connsiteX9" fmla="*/ 11616 w 178959"/>
                <a:gd name="connsiteY9" fmla="*/ 0 h 166343"/>
                <a:gd name="connsiteX10" fmla="*/ 31421 w 178959"/>
                <a:gd name="connsiteY10" fmla="*/ 0 h 1663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78959" h="166343">
                  <a:moveTo>
                    <a:pt x="178960" y="96312"/>
                  </a:moveTo>
                  <a:lnTo>
                    <a:pt x="178960" y="114593"/>
                  </a:lnTo>
                  <a:cubicBezTo>
                    <a:pt x="178960" y="120973"/>
                    <a:pt x="173866" y="126257"/>
                    <a:pt x="167486" y="126257"/>
                  </a:cubicBezTo>
                  <a:lnTo>
                    <a:pt x="78554" y="126257"/>
                  </a:lnTo>
                  <a:lnTo>
                    <a:pt x="38087" y="166344"/>
                  </a:lnTo>
                  <a:lnTo>
                    <a:pt x="38087" y="126305"/>
                  </a:lnTo>
                  <a:lnTo>
                    <a:pt x="11616" y="126305"/>
                  </a:lnTo>
                  <a:cubicBezTo>
                    <a:pt x="5237" y="126305"/>
                    <a:pt x="0" y="121068"/>
                    <a:pt x="0" y="114688"/>
                  </a:cubicBezTo>
                  <a:lnTo>
                    <a:pt x="0" y="11616"/>
                  </a:lnTo>
                  <a:cubicBezTo>
                    <a:pt x="0" y="5237"/>
                    <a:pt x="5237" y="0"/>
                    <a:pt x="11616" y="0"/>
                  </a:cubicBezTo>
                  <a:lnTo>
                    <a:pt x="31421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28" name="Forma livre: Forma 1927">
              <a:extLst>
                <a:ext uri="{FF2B5EF4-FFF2-40B4-BE49-F238E27FC236}">
                  <a16:creationId xmlns:a16="http://schemas.microsoft.com/office/drawing/2014/main" id="{53F0C268-9B5E-3D40-8B36-1D04C281C710}"/>
                </a:ext>
              </a:extLst>
            </p:cNvPr>
            <p:cNvSpPr/>
            <p:nvPr/>
          </p:nvSpPr>
          <p:spPr>
            <a:xfrm>
              <a:off x="7754800" y="4799780"/>
              <a:ext cx="38753" cy="75887"/>
            </a:xfrm>
            <a:custGeom>
              <a:avLst/>
              <a:gdLst>
                <a:gd name="connsiteX0" fmla="*/ 0 w 38753"/>
                <a:gd name="connsiteY0" fmla="*/ 0 h 75887"/>
                <a:gd name="connsiteX1" fmla="*/ 27042 w 38753"/>
                <a:gd name="connsiteY1" fmla="*/ 0 h 75887"/>
                <a:gd name="connsiteX2" fmla="*/ 38753 w 38753"/>
                <a:gd name="connsiteY2" fmla="*/ 11616 h 75887"/>
                <a:gd name="connsiteX3" fmla="*/ 38753 w 38753"/>
                <a:gd name="connsiteY3" fmla="*/ 75888 h 758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8753" h="75887">
                  <a:moveTo>
                    <a:pt x="0" y="0"/>
                  </a:moveTo>
                  <a:lnTo>
                    <a:pt x="27042" y="0"/>
                  </a:lnTo>
                  <a:cubicBezTo>
                    <a:pt x="33421" y="0"/>
                    <a:pt x="38753" y="5237"/>
                    <a:pt x="38753" y="11616"/>
                  </a:cubicBezTo>
                  <a:lnTo>
                    <a:pt x="38753" y="75888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29" name="Forma livre: Forma 1928">
              <a:extLst>
                <a:ext uri="{FF2B5EF4-FFF2-40B4-BE49-F238E27FC236}">
                  <a16:creationId xmlns:a16="http://schemas.microsoft.com/office/drawing/2014/main" id="{2706F2B1-BDAB-666B-41AA-514908251D35}"/>
                </a:ext>
              </a:extLst>
            </p:cNvPr>
            <p:cNvSpPr/>
            <p:nvPr/>
          </p:nvSpPr>
          <p:spPr>
            <a:xfrm>
              <a:off x="7666296" y="4799780"/>
              <a:ext cx="66937" cy="4760"/>
            </a:xfrm>
            <a:custGeom>
              <a:avLst/>
              <a:gdLst>
                <a:gd name="connsiteX0" fmla="*/ 0 w 66937"/>
                <a:gd name="connsiteY0" fmla="*/ 0 h 4760"/>
                <a:gd name="connsiteX1" fmla="*/ 66937 w 66937"/>
                <a:gd name="connsiteY1" fmla="*/ 0 h 47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6937" h="4760">
                  <a:moveTo>
                    <a:pt x="0" y="0"/>
                  </a:moveTo>
                  <a:lnTo>
                    <a:pt x="66937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30" name="Forma livre: Forma 1929">
              <a:extLst>
                <a:ext uri="{FF2B5EF4-FFF2-40B4-BE49-F238E27FC236}">
                  <a16:creationId xmlns:a16="http://schemas.microsoft.com/office/drawing/2014/main" id="{3D194DEE-DBBF-CE4D-BA7A-110AA75DDE96}"/>
                </a:ext>
              </a:extLst>
            </p:cNvPr>
            <p:cNvSpPr/>
            <p:nvPr/>
          </p:nvSpPr>
          <p:spPr>
            <a:xfrm>
              <a:off x="7647015" y="4712228"/>
              <a:ext cx="178959" cy="166343"/>
            </a:xfrm>
            <a:custGeom>
              <a:avLst/>
              <a:gdLst>
                <a:gd name="connsiteX0" fmla="*/ 178960 w 178959"/>
                <a:gd name="connsiteY0" fmla="*/ 57654 h 166343"/>
                <a:gd name="connsiteX1" fmla="*/ 178960 w 178959"/>
                <a:gd name="connsiteY1" fmla="*/ 114593 h 166343"/>
                <a:gd name="connsiteX2" fmla="*/ 167486 w 178959"/>
                <a:gd name="connsiteY2" fmla="*/ 126257 h 166343"/>
                <a:gd name="connsiteX3" fmla="*/ 78554 w 178959"/>
                <a:gd name="connsiteY3" fmla="*/ 126257 h 166343"/>
                <a:gd name="connsiteX4" fmla="*/ 38087 w 178959"/>
                <a:gd name="connsiteY4" fmla="*/ 166344 h 166343"/>
                <a:gd name="connsiteX5" fmla="*/ 38087 w 178959"/>
                <a:gd name="connsiteY5" fmla="*/ 126305 h 166343"/>
                <a:gd name="connsiteX6" fmla="*/ 11616 w 178959"/>
                <a:gd name="connsiteY6" fmla="*/ 126305 h 166343"/>
                <a:gd name="connsiteX7" fmla="*/ 0 w 178959"/>
                <a:gd name="connsiteY7" fmla="*/ 114689 h 166343"/>
                <a:gd name="connsiteX8" fmla="*/ 0 w 178959"/>
                <a:gd name="connsiteY8" fmla="*/ 11616 h 166343"/>
                <a:gd name="connsiteX9" fmla="*/ 11616 w 178959"/>
                <a:gd name="connsiteY9" fmla="*/ 0 h 166343"/>
                <a:gd name="connsiteX10" fmla="*/ 167201 w 178959"/>
                <a:gd name="connsiteY10" fmla="*/ 0 h 166343"/>
                <a:gd name="connsiteX11" fmla="*/ 178912 w 178959"/>
                <a:gd name="connsiteY11" fmla="*/ 11616 h 166343"/>
                <a:gd name="connsiteX12" fmla="*/ 178912 w 178959"/>
                <a:gd name="connsiteY12" fmla="*/ 37373 h 1663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78959" h="166343">
                  <a:moveTo>
                    <a:pt x="178960" y="57654"/>
                  </a:moveTo>
                  <a:lnTo>
                    <a:pt x="178960" y="114593"/>
                  </a:lnTo>
                  <a:cubicBezTo>
                    <a:pt x="178960" y="120973"/>
                    <a:pt x="173866" y="126257"/>
                    <a:pt x="167486" y="126257"/>
                  </a:cubicBezTo>
                  <a:lnTo>
                    <a:pt x="78554" y="126257"/>
                  </a:lnTo>
                  <a:lnTo>
                    <a:pt x="38087" y="166344"/>
                  </a:lnTo>
                  <a:lnTo>
                    <a:pt x="38087" y="126305"/>
                  </a:lnTo>
                  <a:lnTo>
                    <a:pt x="11616" y="126305"/>
                  </a:lnTo>
                  <a:cubicBezTo>
                    <a:pt x="5237" y="126305"/>
                    <a:pt x="0" y="121068"/>
                    <a:pt x="0" y="114689"/>
                  </a:cubicBezTo>
                  <a:lnTo>
                    <a:pt x="0" y="11616"/>
                  </a:lnTo>
                  <a:cubicBezTo>
                    <a:pt x="0" y="5237"/>
                    <a:pt x="5237" y="0"/>
                    <a:pt x="11616" y="0"/>
                  </a:cubicBezTo>
                  <a:lnTo>
                    <a:pt x="167201" y="0"/>
                  </a:lnTo>
                  <a:cubicBezTo>
                    <a:pt x="173580" y="0"/>
                    <a:pt x="178912" y="5237"/>
                    <a:pt x="178912" y="11616"/>
                  </a:cubicBezTo>
                  <a:lnTo>
                    <a:pt x="178912" y="37373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31" name="Forma livre: Forma 1930">
              <a:extLst>
                <a:ext uri="{FF2B5EF4-FFF2-40B4-BE49-F238E27FC236}">
                  <a16:creationId xmlns:a16="http://schemas.microsoft.com/office/drawing/2014/main" id="{5EB587F1-66AE-8947-1ADB-5A99FE983065}"/>
                </a:ext>
              </a:extLst>
            </p:cNvPr>
            <p:cNvSpPr/>
            <p:nvPr/>
          </p:nvSpPr>
          <p:spPr>
            <a:xfrm>
              <a:off x="7753562" y="4750505"/>
              <a:ext cx="178912" cy="166343"/>
            </a:xfrm>
            <a:custGeom>
              <a:avLst/>
              <a:gdLst>
                <a:gd name="connsiteX0" fmla="*/ 100358 w 178912"/>
                <a:gd name="connsiteY0" fmla="*/ 126258 h 166343"/>
                <a:gd name="connsiteX1" fmla="*/ 140826 w 178912"/>
                <a:gd name="connsiteY1" fmla="*/ 166344 h 166343"/>
                <a:gd name="connsiteX2" fmla="*/ 140826 w 178912"/>
                <a:gd name="connsiteY2" fmla="*/ 126305 h 166343"/>
                <a:gd name="connsiteX3" fmla="*/ 167296 w 178912"/>
                <a:gd name="connsiteY3" fmla="*/ 126305 h 166343"/>
                <a:gd name="connsiteX4" fmla="*/ 178912 w 178912"/>
                <a:gd name="connsiteY4" fmla="*/ 114689 h 166343"/>
                <a:gd name="connsiteX5" fmla="*/ 178912 w 178912"/>
                <a:gd name="connsiteY5" fmla="*/ 11616 h 166343"/>
                <a:gd name="connsiteX6" fmla="*/ 167296 w 178912"/>
                <a:gd name="connsiteY6" fmla="*/ 0 h 166343"/>
                <a:gd name="connsiteX7" fmla="*/ 11712 w 178912"/>
                <a:gd name="connsiteY7" fmla="*/ 0 h 166343"/>
                <a:gd name="connsiteX8" fmla="*/ 0 w 178912"/>
                <a:gd name="connsiteY8" fmla="*/ 11616 h 166343"/>
                <a:gd name="connsiteX9" fmla="*/ 0 w 178912"/>
                <a:gd name="connsiteY9" fmla="*/ 114546 h 166343"/>
                <a:gd name="connsiteX10" fmla="*/ 11474 w 178912"/>
                <a:gd name="connsiteY10" fmla="*/ 126258 h 166343"/>
                <a:gd name="connsiteX11" fmla="*/ 100406 w 178912"/>
                <a:gd name="connsiteY11" fmla="*/ 126258 h 1663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78912" h="166343">
                  <a:moveTo>
                    <a:pt x="100358" y="126258"/>
                  </a:moveTo>
                  <a:lnTo>
                    <a:pt x="140826" y="166344"/>
                  </a:lnTo>
                  <a:lnTo>
                    <a:pt x="140826" y="126305"/>
                  </a:lnTo>
                  <a:lnTo>
                    <a:pt x="167296" y="126305"/>
                  </a:lnTo>
                  <a:cubicBezTo>
                    <a:pt x="173675" y="126305"/>
                    <a:pt x="178912" y="121068"/>
                    <a:pt x="178912" y="114689"/>
                  </a:cubicBezTo>
                  <a:lnTo>
                    <a:pt x="178912" y="11616"/>
                  </a:lnTo>
                  <a:cubicBezTo>
                    <a:pt x="178912" y="5237"/>
                    <a:pt x="173675" y="0"/>
                    <a:pt x="167296" y="0"/>
                  </a:cubicBezTo>
                  <a:lnTo>
                    <a:pt x="11712" y="0"/>
                  </a:lnTo>
                  <a:cubicBezTo>
                    <a:pt x="5332" y="0"/>
                    <a:pt x="0" y="5237"/>
                    <a:pt x="0" y="11616"/>
                  </a:cubicBezTo>
                  <a:lnTo>
                    <a:pt x="0" y="114546"/>
                  </a:lnTo>
                  <a:cubicBezTo>
                    <a:pt x="0" y="120925"/>
                    <a:pt x="5094" y="126258"/>
                    <a:pt x="11474" y="126258"/>
                  </a:cubicBezTo>
                  <a:lnTo>
                    <a:pt x="100406" y="126258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932" name="Gráfico 17">
            <a:extLst>
              <a:ext uri="{FF2B5EF4-FFF2-40B4-BE49-F238E27FC236}">
                <a16:creationId xmlns:a16="http://schemas.microsoft.com/office/drawing/2014/main" id="{9847B89B-2B76-C73C-4E46-EB730D5D3609}"/>
              </a:ext>
            </a:extLst>
          </p:cNvPr>
          <p:cNvGrpSpPr/>
          <p:nvPr/>
        </p:nvGrpSpPr>
        <p:grpSpPr>
          <a:xfrm>
            <a:off x="6385916" y="4713608"/>
            <a:ext cx="295124" cy="251134"/>
            <a:chOff x="6385916" y="4713608"/>
            <a:chExt cx="295124" cy="251134"/>
          </a:xfrm>
          <a:noFill/>
        </p:grpSpPr>
        <p:grpSp>
          <p:nvGrpSpPr>
            <p:cNvPr id="1933" name="Gráfico 17">
              <a:extLst>
                <a:ext uri="{FF2B5EF4-FFF2-40B4-BE49-F238E27FC236}">
                  <a16:creationId xmlns:a16="http://schemas.microsoft.com/office/drawing/2014/main" id="{74CA6FD7-AF59-3DD2-0BC3-0E77A5689485}"/>
                </a:ext>
              </a:extLst>
            </p:cNvPr>
            <p:cNvGrpSpPr/>
            <p:nvPr/>
          </p:nvGrpSpPr>
          <p:grpSpPr>
            <a:xfrm>
              <a:off x="6386963" y="4851768"/>
              <a:ext cx="293077" cy="112974"/>
              <a:chOff x="6386963" y="4851768"/>
              <a:chExt cx="293077" cy="112974"/>
            </a:xfrm>
            <a:noFill/>
          </p:grpSpPr>
          <p:grpSp>
            <p:nvGrpSpPr>
              <p:cNvPr id="1934" name="Gráfico 17">
                <a:extLst>
                  <a:ext uri="{FF2B5EF4-FFF2-40B4-BE49-F238E27FC236}">
                    <a16:creationId xmlns:a16="http://schemas.microsoft.com/office/drawing/2014/main" id="{B1D7EE26-8FD5-978D-1DDD-69D279200765}"/>
                  </a:ext>
                </a:extLst>
              </p:cNvPr>
              <p:cNvGrpSpPr/>
              <p:nvPr/>
            </p:nvGrpSpPr>
            <p:grpSpPr>
              <a:xfrm>
                <a:off x="6484180" y="4851816"/>
                <a:ext cx="98549" cy="112927"/>
                <a:chOff x="6484180" y="4851816"/>
                <a:chExt cx="98549" cy="112927"/>
              </a:xfrm>
              <a:noFill/>
            </p:grpSpPr>
            <p:sp>
              <p:nvSpPr>
                <p:cNvPr id="1935" name="Forma livre: Forma 1934">
                  <a:extLst>
                    <a:ext uri="{FF2B5EF4-FFF2-40B4-BE49-F238E27FC236}">
                      <a16:creationId xmlns:a16="http://schemas.microsoft.com/office/drawing/2014/main" id="{D90EF0AD-FDC5-0673-04F8-ED1ED429F262}"/>
                    </a:ext>
                  </a:extLst>
                </p:cNvPr>
                <p:cNvSpPr/>
                <p:nvPr/>
              </p:nvSpPr>
              <p:spPr>
                <a:xfrm>
                  <a:off x="6484180" y="4925942"/>
                  <a:ext cx="98549" cy="38800"/>
                </a:xfrm>
                <a:custGeom>
                  <a:avLst/>
                  <a:gdLst>
                    <a:gd name="connsiteX0" fmla="*/ 0 w 98549"/>
                    <a:gd name="connsiteY0" fmla="*/ 38801 h 38800"/>
                    <a:gd name="connsiteX1" fmla="*/ 0 w 98549"/>
                    <a:gd name="connsiteY1" fmla="*/ 24137 h 38800"/>
                    <a:gd name="connsiteX2" fmla="*/ 29136 w 98549"/>
                    <a:gd name="connsiteY2" fmla="*/ 0 h 38800"/>
                    <a:gd name="connsiteX3" fmla="*/ 49275 w 98549"/>
                    <a:gd name="connsiteY3" fmla="*/ 22186 h 38800"/>
                    <a:gd name="connsiteX4" fmla="*/ 67985 w 98549"/>
                    <a:gd name="connsiteY4" fmla="*/ 0 h 38800"/>
                    <a:gd name="connsiteX5" fmla="*/ 98549 w 98549"/>
                    <a:gd name="connsiteY5" fmla="*/ 24137 h 38800"/>
                    <a:gd name="connsiteX6" fmla="*/ 98549 w 98549"/>
                    <a:gd name="connsiteY6" fmla="*/ 38801 h 388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98549" h="38800">
                      <a:moveTo>
                        <a:pt x="0" y="38801"/>
                      </a:moveTo>
                      <a:lnTo>
                        <a:pt x="0" y="24137"/>
                      </a:lnTo>
                      <a:cubicBezTo>
                        <a:pt x="0" y="6522"/>
                        <a:pt x="12759" y="0"/>
                        <a:pt x="29136" y="0"/>
                      </a:cubicBezTo>
                      <a:lnTo>
                        <a:pt x="49275" y="22186"/>
                      </a:lnTo>
                      <a:lnTo>
                        <a:pt x="67985" y="0"/>
                      </a:lnTo>
                      <a:cubicBezTo>
                        <a:pt x="84410" y="0"/>
                        <a:pt x="98549" y="6522"/>
                        <a:pt x="98549" y="24137"/>
                      </a:cubicBezTo>
                      <a:lnTo>
                        <a:pt x="98549" y="38801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936" name="Forma livre: Forma 1935">
                  <a:extLst>
                    <a:ext uri="{FF2B5EF4-FFF2-40B4-BE49-F238E27FC236}">
                      <a16:creationId xmlns:a16="http://schemas.microsoft.com/office/drawing/2014/main" id="{1172D566-50D4-E735-2FEA-F4319E127AF5}"/>
                    </a:ext>
                  </a:extLst>
                </p:cNvPr>
                <p:cNvSpPr/>
                <p:nvPr/>
              </p:nvSpPr>
              <p:spPr>
                <a:xfrm>
                  <a:off x="6510698" y="4851816"/>
                  <a:ext cx="45608" cy="54892"/>
                </a:xfrm>
                <a:custGeom>
                  <a:avLst/>
                  <a:gdLst>
                    <a:gd name="connsiteX0" fmla="*/ 45609 w 45608"/>
                    <a:gd name="connsiteY0" fmla="*/ 31707 h 54892"/>
                    <a:gd name="connsiteX1" fmla="*/ 22804 w 45608"/>
                    <a:gd name="connsiteY1" fmla="*/ 54892 h 54892"/>
                    <a:gd name="connsiteX2" fmla="*/ 0 w 45608"/>
                    <a:gd name="connsiteY2" fmla="*/ 31707 h 54892"/>
                    <a:gd name="connsiteX3" fmla="*/ 0 w 45608"/>
                    <a:gd name="connsiteY3" fmla="*/ 23138 h 54892"/>
                    <a:gd name="connsiteX4" fmla="*/ 22804 w 45608"/>
                    <a:gd name="connsiteY4" fmla="*/ 0 h 54892"/>
                    <a:gd name="connsiteX5" fmla="*/ 45609 w 45608"/>
                    <a:gd name="connsiteY5" fmla="*/ 23138 h 54892"/>
                    <a:gd name="connsiteX6" fmla="*/ 45609 w 45608"/>
                    <a:gd name="connsiteY6" fmla="*/ 31707 h 548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45608" h="54892">
                      <a:moveTo>
                        <a:pt x="45609" y="31707"/>
                      </a:moveTo>
                      <a:cubicBezTo>
                        <a:pt x="45609" y="44466"/>
                        <a:pt x="35325" y="54892"/>
                        <a:pt x="22804" y="54892"/>
                      </a:cubicBezTo>
                      <a:cubicBezTo>
                        <a:pt x="10283" y="54892"/>
                        <a:pt x="0" y="44466"/>
                        <a:pt x="0" y="31707"/>
                      </a:cubicBezTo>
                      <a:lnTo>
                        <a:pt x="0" y="23138"/>
                      </a:lnTo>
                      <a:cubicBezTo>
                        <a:pt x="0" y="10379"/>
                        <a:pt x="10283" y="0"/>
                        <a:pt x="22804" y="0"/>
                      </a:cubicBezTo>
                      <a:cubicBezTo>
                        <a:pt x="35325" y="0"/>
                        <a:pt x="45609" y="10426"/>
                        <a:pt x="45609" y="23138"/>
                      </a:cubicBezTo>
                      <a:lnTo>
                        <a:pt x="45609" y="31707"/>
                      </a:lnTo>
                      <a:close/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1937" name="Gráfico 17">
                <a:extLst>
                  <a:ext uri="{FF2B5EF4-FFF2-40B4-BE49-F238E27FC236}">
                    <a16:creationId xmlns:a16="http://schemas.microsoft.com/office/drawing/2014/main" id="{C59B06FF-3D24-E47F-3347-62C5E180486B}"/>
                  </a:ext>
                </a:extLst>
              </p:cNvPr>
              <p:cNvGrpSpPr/>
              <p:nvPr/>
            </p:nvGrpSpPr>
            <p:grpSpPr>
              <a:xfrm>
                <a:off x="6386963" y="4851768"/>
                <a:ext cx="85409" cy="112974"/>
                <a:chOff x="6386963" y="4851768"/>
                <a:chExt cx="85409" cy="112974"/>
              </a:xfrm>
              <a:noFill/>
            </p:grpSpPr>
            <p:sp>
              <p:nvSpPr>
                <p:cNvPr id="1938" name="Forma livre: Forma 1937">
                  <a:extLst>
                    <a:ext uri="{FF2B5EF4-FFF2-40B4-BE49-F238E27FC236}">
                      <a16:creationId xmlns:a16="http://schemas.microsoft.com/office/drawing/2014/main" id="{9162C1F8-3248-EFCA-BB4E-2E31DC6C9E11}"/>
                    </a:ext>
                  </a:extLst>
                </p:cNvPr>
                <p:cNvSpPr/>
                <p:nvPr/>
              </p:nvSpPr>
              <p:spPr>
                <a:xfrm>
                  <a:off x="6386963" y="4925942"/>
                  <a:ext cx="85409" cy="38800"/>
                </a:xfrm>
                <a:custGeom>
                  <a:avLst/>
                  <a:gdLst>
                    <a:gd name="connsiteX0" fmla="*/ 0 w 85409"/>
                    <a:gd name="connsiteY0" fmla="*/ 38801 h 38800"/>
                    <a:gd name="connsiteX1" fmla="*/ 0 w 85409"/>
                    <a:gd name="connsiteY1" fmla="*/ 24137 h 38800"/>
                    <a:gd name="connsiteX2" fmla="*/ 29136 w 85409"/>
                    <a:gd name="connsiteY2" fmla="*/ 0 h 38800"/>
                    <a:gd name="connsiteX3" fmla="*/ 49322 w 85409"/>
                    <a:gd name="connsiteY3" fmla="*/ 22186 h 38800"/>
                    <a:gd name="connsiteX4" fmla="*/ 68032 w 85409"/>
                    <a:gd name="connsiteY4" fmla="*/ 0 h 38800"/>
                    <a:gd name="connsiteX5" fmla="*/ 85409 w 85409"/>
                    <a:gd name="connsiteY5" fmla="*/ 3190 h 388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85409" h="38800">
                      <a:moveTo>
                        <a:pt x="0" y="38801"/>
                      </a:moveTo>
                      <a:lnTo>
                        <a:pt x="0" y="24137"/>
                      </a:lnTo>
                      <a:cubicBezTo>
                        <a:pt x="0" y="6522"/>
                        <a:pt x="12759" y="0"/>
                        <a:pt x="29136" y="0"/>
                      </a:cubicBezTo>
                      <a:lnTo>
                        <a:pt x="49322" y="22186"/>
                      </a:lnTo>
                      <a:lnTo>
                        <a:pt x="68032" y="0"/>
                      </a:lnTo>
                      <a:cubicBezTo>
                        <a:pt x="74412" y="0"/>
                        <a:pt x="80411" y="1000"/>
                        <a:pt x="85409" y="3190"/>
                      </a:cubicBez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939" name="Forma livre: Forma 1938">
                  <a:extLst>
                    <a:ext uri="{FF2B5EF4-FFF2-40B4-BE49-F238E27FC236}">
                      <a16:creationId xmlns:a16="http://schemas.microsoft.com/office/drawing/2014/main" id="{513B02C1-D5A4-EDA9-81C6-252942B44EA5}"/>
                    </a:ext>
                  </a:extLst>
                </p:cNvPr>
                <p:cNvSpPr/>
                <p:nvPr/>
              </p:nvSpPr>
              <p:spPr>
                <a:xfrm>
                  <a:off x="6413434" y="4851768"/>
                  <a:ext cx="45608" cy="54939"/>
                </a:xfrm>
                <a:custGeom>
                  <a:avLst/>
                  <a:gdLst>
                    <a:gd name="connsiteX0" fmla="*/ 45609 w 45608"/>
                    <a:gd name="connsiteY0" fmla="*/ 31755 h 54939"/>
                    <a:gd name="connsiteX1" fmla="*/ 22804 w 45608"/>
                    <a:gd name="connsiteY1" fmla="*/ 54940 h 54939"/>
                    <a:gd name="connsiteX2" fmla="*/ 0 w 45608"/>
                    <a:gd name="connsiteY2" fmla="*/ 31755 h 54939"/>
                    <a:gd name="connsiteX3" fmla="*/ 0 w 45608"/>
                    <a:gd name="connsiteY3" fmla="*/ 23185 h 54939"/>
                    <a:gd name="connsiteX4" fmla="*/ 22804 w 45608"/>
                    <a:gd name="connsiteY4" fmla="*/ 0 h 54939"/>
                    <a:gd name="connsiteX5" fmla="*/ 45609 w 45608"/>
                    <a:gd name="connsiteY5" fmla="*/ 23185 h 54939"/>
                    <a:gd name="connsiteX6" fmla="*/ 45609 w 45608"/>
                    <a:gd name="connsiteY6" fmla="*/ 31755 h 5493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45608" h="54939">
                      <a:moveTo>
                        <a:pt x="45609" y="31755"/>
                      </a:moveTo>
                      <a:cubicBezTo>
                        <a:pt x="45609" y="44514"/>
                        <a:pt x="35325" y="54940"/>
                        <a:pt x="22804" y="54940"/>
                      </a:cubicBezTo>
                      <a:cubicBezTo>
                        <a:pt x="10283" y="54940"/>
                        <a:pt x="0" y="44514"/>
                        <a:pt x="0" y="31755"/>
                      </a:cubicBezTo>
                      <a:lnTo>
                        <a:pt x="0" y="23185"/>
                      </a:lnTo>
                      <a:cubicBezTo>
                        <a:pt x="0" y="10426"/>
                        <a:pt x="10283" y="0"/>
                        <a:pt x="22804" y="0"/>
                      </a:cubicBezTo>
                      <a:cubicBezTo>
                        <a:pt x="35325" y="0"/>
                        <a:pt x="45609" y="10426"/>
                        <a:pt x="45609" y="23185"/>
                      </a:cubicBezTo>
                      <a:lnTo>
                        <a:pt x="45609" y="31755"/>
                      </a:lnTo>
                      <a:close/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1940" name="Gráfico 17">
                <a:extLst>
                  <a:ext uri="{FF2B5EF4-FFF2-40B4-BE49-F238E27FC236}">
                    <a16:creationId xmlns:a16="http://schemas.microsoft.com/office/drawing/2014/main" id="{85AEB333-E0FE-18AF-32DC-C07648023063}"/>
                  </a:ext>
                </a:extLst>
              </p:cNvPr>
              <p:cNvGrpSpPr/>
              <p:nvPr/>
            </p:nvGrpSpPr>
            <p:grpSpPr>
              <a:xfrm>
                <a:off x="6594631" y="4851768"/>
                <a:ext cx="85409" cy="112974"/>
                <a:chOff x="6594631" y="4851768"/>
                <a:chExt cx="85409" cy="112974"/>
              </a:xfrm>
              <a:noFill/>
            </p:grpSpPr>
            <p:sp>
              <p:nvSpPr>
                <p:cNvPr id="1941" name="Forma livre: Forma 1940">
                  <a:extLst>
                    <a:ext uri="{FF2B5EF4-FFF2-40B4-BE49-F238E27FC236}">
                      <a16:creationId xmlns:a16="http://schemas.microsoft.com/office/drawing/2014/main" id="{4E1E7EF4-CB2A-729E-588F-861173E023D0}"/>
                    </a:ext>
                  </a:extLst>
                </p:cNvPr>
                <p:cNvSpPr/>
                <p:nvPr/>
              </p:nvSpPr>
              <p:spPr>
                <a:xfrm>
                  <a:off x="6594631" y="4925942"/>
                  <a:ext cx="85409" cy="38800"/>
                </a:xfrm>
                <a:custGeom>
                  <a:avLst/>
                  <a:gdLst>
                    <a:gd name="connsiteX0" fmla="*/ 85409 w 85409"/>
                    <a:gd name="connsiteY0" fmla="*/ 38801 h 38800"/>
                    <a:gd name="connsiteX1" fmla="*/ 85409 w 85409"/>
                    <a:gd name="connsiteY1" fmla="*/ 24137 h 38800"/>
                    <a:gd name="connsiteX2" fmla="*/ 56273 w 85409"/>
                    <a:gd name="connsiteY2" fmla="*/ 0 h 38800"/>
                    <a:gd name="connsiteX3" fmla="*/ 36087 w 85409"/>
                    <a:gd name="connsiteY3" fmla="*/ 22186 h 38800"/>
                    <a:gd name="connsiteX4" fmla="*/ 17377 w 85409"/>
                    <a:gd name="connsiteY4" fmla="*/ 0 h 38800"/>
                    <a:gd name="connsiteX5" fmla="*/ 0 w 85409"/>
                    <a:gd name="connsiteY5" fmla="*/ 3190 h 388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85409" h="38800">
                      <a:moveTo>
                        <a:pt x="85409" y="38801"/>
                      </a:moveTo>
                      <a:lnTo>
                        <a:pt x="85409" y="24137"/>
                      </a:lnTo>
                      <a:cubicBezTo>
                        <a:pt x="85409" y="6522"/>
                        <a:pt x="72650" y="0"/>
                        <a:pt x="56273" y="0"/>
                      </a:cubicBezTo>
                      <a:lnTo>
                        <a:pt x="36087" y="22186"/>
                      </a:lnTo>
                      <a:lnTo>
                        <a:pt x="17377" y="0"/>
                      </a:lnTo>
                      <a:cubicBezTo>
                        <a:pt x="10998" y="0"/>
                        <a:pt x="4999" y="1000"/>
                        <a:pt x="0" y="3190"/>
                      </a:cubicBez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942" name="Forma livre: Forma 1941">
                  <a:extLst>
                    <a:ext uri="{FF2B5EF4-FFF2-40B4-BE49-F238E27FC236}">
                      <a16:creationId xmlns:a16="http://schemas.microsoft.com/office/drawing/2014/main" id="{233D34C8-5CC2-8E8E-77AB-20BFFBE47DB3}"/>
                    </a:ext>
                  </a:extLst>
                </p:cNvPr>
                <p:cNvSpPr/>
                <p:nvPr/>
              </p:nvSpPr>
              <p:spPr>
                <a:xfrm>
                  <a:off x="6607914" y="4851768"/>
                  <a:ext cx="45608" cy="54939"/>
                </a:xfrm>
                <a:custGeom>
                  <a:avLst/>
                  <a:gdLst>
                    <a:gd name="connsiteX0" fmla="*/ 0 w 45608"/>
                    <a:gd name="connsiteY0" fmla="*/ 31755 h 54939"/>
                    <a:gd name="connsiteX1" fmla="*/ 22804 w 45608"/>
                    <a:gd name="connsiteY1" fmla="*/ 54940 h 54939"/>
                    <a:gd name="connsiteX2" fmla="*/ 45609 w 45608"/>
                    <a:gd name="connsiteY2" fmla="*/ 31755 h 54939"/>
                    <a:gd name="connsiteX3" fmla="*/ 45609 w 45608"/>
                    <a:gd name="connsiteY3" fmla="*/ 23185 h 54939"/>
                    <a:gd name="connsiteX4" fmla="*/ 22804 w 45608"/>
                    <a:gd name="connsiteY4" fmla="*/ 0 h 54939"/>
                    <a:gd name="connsiteX5" fmla="*/ 0 w 45608"/>
                    <a:gd name="connsiteY5" fmla="*/ 23185 h 54939"/>
                    <a:gd name="connsiteX6" fmla="*/ 0 w 45608"/>
                    <a:gd name="connsiteY6" fmla="*/ 31755 h 5493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45608" h="54939">
                      <a:moveTo>
                        <a:pt x="0" y="31755"/>
                      </a:moveTo>
                      <a:cubicBezTo>
                        <a:pt x="0" y="44514"/>
                        <a:pt x="10283" y="54940"/>
                        <a:pt x="22804" y="54940"/>
                      </a:cubicBezTo>
                      <a:cubicBezTo>
                        <a:pt x="35325" y="54940"/>
                        <a:pt x="45609" y="44514"/>
                        <a:pt x="45609" y="31755"/>
                      </a:cubicBezTo>
                      <a:lnTo>
                        <a:pt x="45609" y="23185"/>
                      </a:lnTo>
                      <a:cubicBezTo>
                        <a:pt x="45609" y="10426"/>
                        <a:pt x="35325" y="0"/>
                        <a:pt x="22804" y="0"/>
                      </a:cubicBezTo>
                      <a:cubicBezTo>
                        <a:pt x="10283" y="0"/>
                        <a:pt x="0" y="10426"/>
                        <a:pt x="0" y="23185"/>
                      </a:cubicBezTo>
                      <a:lnTo>
                        <a:pt x="0" y="31755"/>
                      </a:lnTo>
                      <a:close/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sp>
          <p:nvSpPr>
            <p:cNvPr id="1943" name="Forma livre: Forma 1942">
              <a:extLst>
                <a:ext uri="{FF2B5EF4-FFF2-40B4-BE49-F238E27FC236}">
                  <a16:creationId xmlns:a16="http://schemas.microsoft.com/office/drawing/2014/main" id="{F580B33E-34CE-DA8A-87E3-77E098FEBC54}"/>
                </a:ext>
              </a:extLst>
            </p:cNvPr>
            <p:cNvSpPr/>
            <p:nvPr/>
          </p:nvSpPr>
          <p:spPr>
            <a:xfrm>
              <a:off x="6385916" y="4713608"/>
              <a:ext cx="295124" cy="116354"/>
            </a:xfrm>
            <a:custGeom>
              <a:avLst/>
              <a:gdLst>
                <a:gd name="connsiteX0" fmla="*/ 132970 w 295124"/>
                <a:gd name="connsiteY0" fmla="*/ 81839 h 116354"/>
                <a:gd name="connsiteX1" fmla="*/ 132970 w 295124"/>
                <a:gd name="connsiteY1" fmla="*/ 81839 h 116354"/>
                <a:gd name="connsiteX2" fmla="*/ 147491 w 295124"/>
                <a:gd name="connsiteY2" fmla="*/ 116355 h 116354"/>
                <a:gd name="connsiteX3" fmla="*/ 162059 w 295124"/>
                <a:gd name="connsiteY3" fmla="*/ 81839 h 116354"/>
                <a:gd name="connsiteX4" fmla="*/ 215238 w 295124"/>
                <a:gd name="connsiteY4" fmla="*/ 81839 h 116354"/>
                <a:gd name="connsiteX5" fmla="*/ 244279 w 295124"/>
                <a:gd name="connsiteY5" fmla="*/ 116355 h 116354"/>
                <a:gd name="connsiteX6" fmla="*/ 244279 w 295124"/>
                <a:gd name="connsiteY6" fmla="*/ 81839 h 116354"/>
                <a:gd name="connsiteX7" fmla="*/ 280842 w 295124"/>
                <a:gd name="connsiteY7" fmla="*/ 81839 h 116354"/>
                <a:gd name="connsiteX8" fmla="*/ 295124 w 295124"/>
                <a:gd name="connsiteY8" fmla="*/ 67556 h 116354"/>
                <a:gd name="connsiteX9" fmla="*/ 295124 w 295124"/>
                <a:gd name="connsiteY9" fmla="*/ 14283 h 116354"/>
                <a:gd name="connsiteX10" fmla="*/ 280842 w 295124"/>
                <a:gd name="connsiteY10" fmla="*/ 0 h 116354"/>
                <a:gd name="connsiteX11" fmla="*/ 14283 w 295124"/>
                <a:gd name="connsiteY11" fmla="*/ 0 h 116354"/>
                <a:gd name="connsiteX12" fmla="*/ 0 w 295124"/>
                <a:gd name="connsiteY12" fmla="*/ 14283 h 116354"/>
                <a:gd name="connsiteX13" fmla="*/ 0 w 295124"/>
                <a:gd name="connsiteY13" fmla="*/ 67556 h 116354"/>
                <a:gd name="connsiteX14" fmla="*/ 14283 w 295124"/>
                <a:gd name="connsiteY14" fmla="*/ 81839 h 116354"/>
                <a:gd name="connsiteX15" fmla="*/ 50751 w 295124"/>
                <a:gd name="connsiteY15" fmla="*/ 81839 h 116354"/>
                <a:gd name="connsiteX16" fmla="*/ 50751 w 295124"/>
                <a:gd name="connsiteY16" fmla="*/ 116355 h 116354"/>
                <a:gd name="connsiteX17" fmla="*/ 79839 w 295124"/>
                <a:gd name="connsiteY17" fmla="*/ 81839 h 116354"/>
                <a:gd name="connsiteX18" fmla="*/ 132970 w 295124"/>
                <a:gd name="connsiteY18" fmla="*/ 81839 h 1163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295124" h="116354">
                  <a:moveTo>
                    <a:pt x="132970" y="81839"/>
                  </a:moveTo>
                  <a:lnTo>
                    <a:pt x="132970" y="81839"/>
                  </a:lnTo>
                  <a:lnTo>
                    <a:pt x="147491" y="116355"/>
                  </a:lnTo>
                  <a:lnTo>
                    <a:pt x="162059" y="81839"/>
                  </a:lnTo>
                  <a:lnTo>
                    <a:pt x="215238" y="81839"/>
                  </a:lnTo>
                  <a:lnTo>
                    <a:pt x="244279" y="116355"/>
                  </a:lnTo>
                  <a:lnTo>
                    <a:pt x="244279" y="81839"/>
                  </a:lnTo>
                  <a:lnTo>
                    <a:pt x="280842" y="81839"/>
                  </a:lnTo>
                  <a:cubicBezTo>
                    <a:pt x="288697" y="81839"/>
                    <a:pt x="295124" y="75412"/>
                    <a:pt x="295124" y="67556"/>
                  </a:cubicBezTo>
                  <a:lnTo>
                    <a:pt x="295124" y="14283"/>
                  </a:lnTo>
                  <a:cubicBezTo>
                    <a:pt x="295124" y="6427"/>
                    <a:pt x="288745" y="0"/>
                    <a:pt x="280842" y="0"/>
                  </a:cubicBezTo>
                  <a:lnTo>
                    <a:pt x="14283" y="0"/>
                  </a:lnTo>
                  <a:cubicBezTo>
                    <a:pt x="6427" y="0"/>
                    <a:pt x="0" y="6427"/>
                    <a:pt x="0" y="14283"/>
                  </a:cubicBezTo>
                  <a:lnTo>
                    <a:pt x="0" y="67556"/>
                  </a:lnTo>
                  <a:cubicBezTo>
                    <a:pt x="0" y="75412"/>
                    <a:pt x="6427" y="81839"/>
                    <a:pt x="14283" y="81839"/>
                  </a:cubicBezTo>
                  <a:lnTo>
                    <a:pt x="50751" y="81839"/>
                  </a:lnTo>
                  <a:lnTo>
                    <a:pt x="50751" y="116355"/>
                  </a:lnTo>
                  <a:lnTo>
                    <a:pt x="79839" y="81839"/>
                  </a:lnTo>
                  <a:lnTo>
                    <a:pt x="132970" y="81839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944" name="Gráfico 17">
            <a:extLst>
              <a:ext uri="{FF2B5EF4-FFF2-40B4-BE49-F238E27FC236}">
                <a16:creationId xmlns:a16="http://schemas.microsoft.com/office/drawing/2014/main" id="{8878EFB9-B1FB-4B4E-5173-3F77736347D1}"/>
              </a:ext>
            </a:extLst>
          </p:cNvPr>
          <p:cNvGrpSpPr/>
          <p:nvPr/>
        </p:nvGrpSpPr>
        <p:grpSpPr>
          <a:xfrm>
            <a:off x="7044197" y="4688757"/>
            <a:ext cx="218665" cy="300837"/>
            <a:chOff x="7044197" y="4688757"/>
            <a:chExt cx="218665" cy="300837"/>
          </a:xfrm>
          <a:noFill/>
        </p:grpSpPr>
        <p:sp>
          <p:nvSpPr>
            <p:cNvPr id="1945" name="Forma livre: Forma 1944">
              <a:extLst>
                <a:ext uri="{FF2B5EF4-FFF2-40B4-BE49-F238E27FC236}">
                  <a16:creationId xmlns:a16="http://schemas.microsoft.com/office/drawing/2014/main" id="{9C6E2437-F914-E74E-A1CF-1D3DD91C1B74}"/>
                </a:ext>
              </a:extLst>
            </p:cNvPr>
            <p:cNvSpPr/>
            <p:nvPr/>
          </p:nvSpPr>
          <p:spPr>
            <a:xfrm>
              <a:off x="7044197" y="4729414"/>
              <a:ext cx="218665" cy="260179"/>
            </a:xfrm>
            <a:custGeom>
              <a:avLst/>
              <a:gdLst>
                <a:gd name="connsiteX0" fmla="*/ 184720 w 218665"/>
                <a:gd name="connsiteY0" fmla="*/ 0 h 260179"/>
                <a:gd name="connsiteX1" fmla="*/ 203431 w 218665"/>
                <a:gd name="connsiteY1" fmla="*/ 0 h 260179"/>
                <a:gd name="connsiteX2" fmla="*/ 218665 w 218665"/>
                <a:gd name="connsiteY2" fmla="*/ 15235 h 260179"/>
                <a:gd name="connsiteX3" fmla="*/ 218665 w 218665"/>
                <a:gd name="connsiteY3" fmla="*/ 244898 h 260179"/>
                <a:gd name="connsiteX4" fmla="*/ 203431 w 218665"/>
                <a:gd name="connsiteY4" fmla="*/ 260180 h 260179"/>
                <a:gd name="connsiteX5" fmla="*/ 15235 w 218665"/>
                <a:gd name="connsiteY5" fmla="*/ 260180 h 260179"/>
                <a:gd name="connsiteX6" fmla="*/ 0 w 218665"/>
                <a:gd name="connsiteY6" fmla="*/ 244898 h 260179"/>
                <a:gd name="connsiteX7" fmla="*/ 0 w 218665"/>
                <a:gd name="connsiteY7" fmla="*/ 15235 h 260179"/>
                <a:gd name="connsiteX8" fmla="*/ 15235 w 218665"/>
                <a:gd name="connsiteY8" fmla="*/ 0 h 260179"/>
                <a:gd name="connsiteX9" fmla="*/ 33945 w 218665"/>
                <a:gd name="connsiteY9" fmla="*/ 0 h 2601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18665" h="260179">
                  <a:moveTo>
                    <a:pt x="184720" y="0"/>
                  </a:moveTo>
                  <a:lnTo>
                    <a:pt x="203431" y="0"/>
                  </a:lnTo>
                  <a:cubicBezTo>
                    <a:pt x="211810" y="0"/>
                    <a:pt x="218665" y="6856"/>
                    <a:pt x="218665" y="15235"/>
                  </a:cubicBezTo>
                  <a:lnTo>
                    <a:pt x="218665" y="244898"/>
                  </a:lnTo>
                  <a:cubicBezTo>
                    <a:pt x="218665" y="253277"/>
                    <a:pt x="211810" y="260180"/>
                    <a:pt x="203431" y="260180"/>
                  </a:cubicBezTo>
                  <a:lnTo>
                    <a:pt x="15235" y="260180"/>
                  </a:lnTo>
                  <a:cubicBezTo>
                    <a:pt x="6856" y="260180"/>
                    <a:pt x="0" y="253324"/>
                    <a:pt x="0" y="244898"/>
                  </a:cubicBezTo>
                  <a:lnTo>
                    <a:pt x="0" y="15235"/>
                  </a:lnTo>
                  <a:cubicBezTo>
                    <a:pt x="0" y="6856"/>
                    <a:pt x="6856" y="0"/>
                    <a:pt x="15235" y="0"/>
                  </a:cubicBezTo>
                  <a:lnTo>
                    <a:pt x="33945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46" name="Forma livre: Forma 1945">
              <a:extLst>
                <a:ext uri="{FF2B5EF4-FFF2-40B4-BE49-F238E27FC236}">
                  <a16:creationId xmlns:a16="http://schemas.microsoft.com/office/drawing/2014/main" id="{406982DA-AE9F-E85F-592A-6A4782AA3573}"/>
                </a:ext>
              </a:extLst>
            </p:cNvPr>
            <p:cNvSpPr/>
            <p:nvPr/>
          </p:nvSpPr>
          <p:spPr>
            <a:xfrm>
              <a:off x="7102660" y="4688757"/>
              <a:ext cx="101691" cy="57748"/>
            </a:xfrm>
            <a:custGeom>
              <a:avLst/>
              <a:gdLst>
                <a:gd name="connsiteX0" fmla="*/ 101692 w 101691"/>
                <a:gd name="connsiteY0" fmla="*/ 24899 h 57748"/>
                <a:gd name="connsiteX1" fmla="*/ 76221 w 101691"/>
                <a:gd name="connsiteY1" fmla="*/ 24899 h 57748"/>
                <a:gd name="connsiteX2" fmla="*/ 50846 w 101691"/>
                <a:gd name="connsiteY2" fmla="*/ 0 h 57748"/>
                <a:gd name="connsiteX3" fmla="*/ 25470 w 101691"/>
                <a:gd name="connsiteY3" fmla="*/ 24899 h 57748"/>
                <a:gd name="connsiteX4" fmla="*/ 0 w 101691"/>
                <a:gd name="connsiteY4" fmla="*/ 24899 h 57748"/>
                <a:gd name="connsiteX5" fmla="*/ 0 w 101691"/>
                <a:gd name="connsiteY5" fmla="*/ 57749 h 57748"/>
                <a:gd name="connsiteX6" fmla="*/ 101692 w 101691"/>
                <a:gd name="connsiteY6" fmla="*/ 57749 h 57748"/>
                <a:gd name="connsiteX7" fmla="*/ 101692 w 101691"/>
                <a:gd name="connsiteY7" fmla="*/ 24899 h 577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01691" h="57748">
                  <a:moveTo>
                    <a:pt x="101692" y="24899"/>
                  </a:moveTo>
                  <a:lnTo>
                    <a:pt x="76221" y="24899"/>
                  </a:lnTo>
                  <a:cubicBezTo>
                    <a:pt x="75935" y="11093"/>
                    <a:pt x="64700" y="0"/>
                    <a:pt x="50846" y="0"/>
                  </a:cubicBezTo>
                  <a:cubicBezTo>
                    <a:pt x="36992" y="0"/>
                    <a:pt x="25756" y="11093"/>
                    <a:pt x="25470" y="24899"/>
                  </a:cubicBezTo>
                  <a:lnTo>
                    <a:pt x="0" y="24899"/>
                  </a:lnTo>
                  <a:lnTo>
                    <a:pt x="0" y="57749"/>
                  </a:lnTo>
                  <a:lnTo>
                    <a:pt x="101692" y="57749"/>
                  </a:lnTo>
                  <a:lnTo>
                    <a:pt x="101692" y="24899"/>
                  </a:ln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947" name="Gráfico 17">
              <a:extLst>
                <a:ext uri="{FF2B5EF4-FFF2-40B4-BE49-F238E27FC236}">
                  <a16:creationId xmlns:a16="http://schemas.microsoft.com/office/drawing/2014/main" id="{476F5682-0075-C228-D0FE-18CE51C237D4}"/>
                </a:ext>
              </a:extLst>
            </p:cNvPr>
            <p:cNvGrpSpPr/>
            <p:nvPr/>
          </p:nvGrpSpPr>
          <p:grpSpPr>
            <a:xfrm>
              <a:off x="7078142" y="4781403"/>
              <a:ext cx="158155" cy="70555"/>
              <a:chOff x="7078142" y="4781403"/>
              <a:chExt cx="158155" cy="70555"/>
            </a:xfrm>
            <a:noFill/>
          </p:grpSpPr>
          <p:sp>
            <p:nvSpPr>
              <p:cNvPr id="1948" name="Forma livre: Forma 1947">
                <a:extLst>
                  <a:ext uri="{FF2B5EF4-FFF2-40B4-BE49-F238E27FC236}">
                    <a16:creationId xmlns:a16="http://schemas.microsoft.com/office/drawing/2014/main" id="{E550E7C1-0F1A-87D0-4E42-36763147A112}"/>
                  </a:ext>
                </a:extLst>
              </p:cNvPr>
              <p:cNvSpPr/>
              <p:nvPr/>
            </p:nvSpPr>
            <p:spPr>
              <a:xfrm>
                <a:off x="7078142" y="4788068"/>
                <a:ext cx="63890" cy="63890"/>
              </a:xfrm>
              <a:custGeom>
                <a:avLst/>
                <a:gdLst>
                  <a:gd name="connsiteX0" fmla="*/ 63890 w 63890"/>
                  <a:gd name="connsiteY0" fmla="*/ 40943 h 63890"/>
                  <a:gd name="connsiteX1" fmla="*/ 63890 w 63890"/>
                  <a:gd name="connsiteY1" fmla="*/ 63890 h 63890"/>
                  <a:gd name="connsiteX2" fmla="*/ 0 w 63890"/>
                  <a:gd name="connsiteY2" fmla="*/ 63890 h 63890"/>
                  <a:gd name="connsiteX3" fmla="*/ 0 w 63890"/>
                  <a:gd name="connsiteY3" fmla="*/ 0 h 63890"/>
                  <a:gd name="connsiteX4" fmla="*/ 41181 w 63890"/>
                  <a:gd name="connsiteY4" fmla="*/ 0 h 638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3890" h="63890">
                    <a:moveTo>
                      <a:pt x="63890" y="40943"/>
                    </a:moveTo>
                    <a:lnTo>
                      <a:pt x="63890" y="63890"/>
                    </a:lnTo>
                    <a:lnTo>
                      <a:pt x="0" y="63890"/>
                    </a:lnTo>
                    <a:lnTo>
                      <a:pt x="0" y="0"/>
                    </a:lnTo>
                    <a:lnTo>
                      <a:pt x="41181" y="0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949" name="Forma livre: Forma 1948">
                <a:extLst>
                  <a:ext uri="{FF2B5EF4-FFF2-40B4-BE49-F238E27FC236}">
                    <a16:creationId xmlns:a16="http://schemas.microsoft.com/office/drawing/2014/main" id="{73CE91F9-7E68-DFDC-54B6-BBD58A613EDD}"/>
                  </a:ext>
                </a:extLst>
              </p:cNvPr>
              <p:cNvSpPr/>
              <p:nvPr/>
            </p:nvSpPr>
            <p:spPr>
              <a:xfrm>
                <a:off x="7098471" y="4781403"/>
                <a:ext cx="54083" cy="47846"/>
              </a:xfrm>
              <a:custGeom>
                <a:avLst/>
                <a:gdLst>
                  <a:gd name="connsiteX0" fmla="*/ 0 w 54083"/>
                  <a:gd name="connsiteY0" fmla="*/ 29089 h 47846"/>
                  <a:gd name="connsiteX1" fmla="*/ 17044 w 54083"/>
                  <a:gd name="connsiteY1" fmla="*/ 47846 h 47846"/>
                  <a:gd name="connsiteX2" fmla="*/ 54083 w 54083"/>
                  <a:gd name="connsiteY2" fmla="*/ 0 h 478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54083" h="47846">
                    <a:moveTo>
                      <a:pt x="0" y="29089"/>
                    </a:moveTo>
                    <a:lnTo>
                      <a:pt x="17044" y="47846"/>
                    </a:lnTo>
                    <a:lnTo>
                      <a:pt x="54083" y="0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1950" name="Gráfico 17">
                <a:extLst>
                  <a:ext uri="{FF2B5EF4-FFF2-40B4-BE49-F238E27FC236}">
                    <a16:creationId xmlns:a16="http://schemas.microsoft.com/office/drawing/2014/main" id="{1525397F-A9BD-8A4E-9D53-3544335233C0}"/>
                  </a:ext>
                </a:extLst>
              </p:cNvPr>
              <p:cNvGrpSpPr/>
              <p:nvPr/>
            </p:nvGrpSpPr>
            <p:grpSpPr>
              <a:xfrm>
                <a:off x="7174644" y="4805731"/>
                <a:ext cx="61652" cy="28612"/>
                <a:chOff x="7174644" y="4805731"/>
                <a:chExt cx="61652" cy="28612"/>
              </a:xfrm>
            </p:grpSpPr>
            <p:sp>
              <p:nvSpPr>
                <p:cNvPr id="1951" name="Forma livre: Forma 1950">
                  <a:extLst>
                    <a:ext uri="{FF2B5EF4-FFF2-40B4-BE49-F238E27FC236}">
                      <a16:creationId xmlns:a16="http://schemas.microsoft.com/office/drawing/2014/main" id="{9A67FB40-D11C-F98A-3FEA-CD57DF5C1127}"/>
                    </a:ext>
                  </a:extLst>
                </p:cNvPr>
                <p:cNvSpPr/>
                <p:nvPr/>
              </p:nvSpPr>
              <p:spPr>
                <a:xfrm>
                  <a:off x="7174644" y="4805731"/>
                  <a:ext cx="61652" cy="4760"/>
                </a:xfrm>
                <a:custGeom>
                  <a:avLst/>
                  <a:gdLst>
                    <a:gd name="connsiteX0" fmla="*/ 0 w 61652"/>
                    <a:gd name="connsiteY0" fmla="*/ 0 h 4760"/>
                    <a:gd name="connsiteX1" fmla="*/ 61653 w 61652"/>
                    <a:gd name="connsiteY1" fmla="*/ 0 h 476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61652" h="4760">
                      <a:moveTo>
                        <a:pt x="0" y="0"/>
                      </a:moveTo>
                      <a:lnTo>
                        <a:pt x="61653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952" name="Forma livre: Forma 1951">
                  <a:extLst>
                    <a:ext uri="{FF2B5EF4-FFF2-40B4-BE49-F238E27FC236}">
                      <a16:creationId xmlns:a16="http://schemas.microsoft.com/office/drawing/2014/main" id="{41693F4C-33A1-43A8-04FA-FD60ABB9C4B0}"/>
                    </a:ext>
                  </a:extLst>
                </p:cNvPr>
                <p:cNvSpPr/>
                <p:nvPr/>
              </p:nvSpPr>
              <p:spPr>
                <a:xfrm>
                  <a:off x="7174644" y="4834343"/>
                  <a:ext cx="39657" cy="4760"/>
                </a:xfrm>
                <a:custGeom>
                  <a:avLst/>
                  <a:gdLst>
                    <a:gd name="connsiteX0" fmla="*/ 0 w 39657"/>
                    <a:gd name="connsiteY0" fmla="*/ 0 h 4760"/>
                    <a:gd name="connsiteX1" fmla="*/ 39658 w 39657"/>
                    <a:gd name="connsiteY1" fmla="*/ 0 h 476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39657" h="4760">
                      <a:moveTo>
                        <a:pt x="0" y="0"/>
                      </a:moveTo>
                      <a:lnTo>
                        <a:pt x="39658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grpSp>
          <p:nvGrpSpPr>
            <p:cNvPr id="1953" name="Gráfico 17">
              <a:extLst>
                <a:ext uri="{FF2B5EF4-FFF2-40B4-BE49-F238E27FC236}">
                  <a16:creationId xmlns:a16="http://schemas.microsoft.com/office/drawing/2014/main" id="{4C5B7EB4-4881-A9EA-40CA-26DF900AC9E5}"/>
                </a:ext>
              </a:extLst>
            </p:cNvPr>
            <p:cNvGrpSpPr/>
            <p:nvPr/>
          </p:nvGrpSpPr>
          <p:grpSpPr>
            <a:xfrm>
              <a:off x="7078142" y="4885094"/>
              <a:ext cx="158155" cy="70555"/>
              <a:chOff x="7078142" y="4885094"/>
              <a:chExt cx="158155" cy="70555"/>
            </a:xfrm>
            <a:noFill/>
          </p:grpSpPr>
          <p:sp>
            <p:nvSpPr>
              <p:cNvPr id="1954" name="Forma livre: Forma 1953">
                <a:extLst>
                  <a:ext uri="{FF2B5EF4-FFF2-40B4-BE49-F238E27FC236}">
                    <a16:creationId xmlns:a16="http://schemas.microsoft.com/office/drawing/2014/main" id="{0369D0B5-3649-2480-4BA8-EC43F73154F9}"/>
                  </a:ext>
                </a:extLst>
              </p:cNvPr>
              <p:cNvSpPr/>
              <p:nvPr/>
            </p:nvSpPr>
            <p:spPr>
              <a:xfrm>
                <a:off x="7078142" y="4891759"/>
                <a:ext cx="63890" cy="63890"/>
              </a:xfrm>
              <a:custGeom>
                <a:avLst/>
                <a:gdLst>
                  <a:gd name="connsiteX0" fmla="*/ 63890 w 63890"/>
                  <a:gd name="connsiteY0" fmla="*/ 40896 h 63890"/>
                  <a:gd name="connsiteX1" fmla="*/ 63890 w 63890"/>
                  <a:gd name="connsiteY1" fmla="*/ 63890 h 63890"/>
                  <a:gd name="connsiteX2" fmla="*/ 0 w 63890"/>
                  <a:gd name="connsiteY2" fmla="*/ 63890 h 63890"/>
                  <a:gd name="connsiteX3" fmla="*/ 0 w 63890"/>
                  <a:gd name="connsiteY3" fmla="*/ 0 h 63890"/>
                  <a:gd name="connsiteX4" fmla="*/ 41181 w 63890"/>
                  <a:gd name="connsiteY4" fmla="*/ 0 h 638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3890" h="63890">
                    <a:moveTo>
                      <a:pt x="63890" y="40896"/>
                    </a:moveTo>
                    <a:lnTo>
                      <a:pt x="63890" y="63890"/>
                    </a:lnTo>
                    <a:lnTo>
                      <a:pt x="0" y="63890"/>
                    </a:lnTo>
                    <a:lnTo>
                      <a:pt x="0" y="0"/>
                    </a:lnTo>
                    <a:lnTo>
                      <a:pt x="41181" y="0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955" name="Forma livre: Forma 1954">
                <a:extLst>
                  <a:ext uri="{FF2B5EF4-FFF2-40B4-BE49-F238E27FC236}">
                    <a16:creationId xmlns:a16="http://schemas.microsoft.com/office/drawing/2014/main" id="{4A657229-6D68-E9DD-A88F-B6C5998AE15C}"/>
                  </a:ext>
                </a:extLst>
              </p:cNvPr>
              <p:cNvSpPr/>
              <p:nvPr/>
            </p:nvSpPr>
            <p:spPr>
              <a:xfrm>
                <a:off x="7098471" y="4885094"/>
                <a:ext cx="54083" cy="47846"/>
              </a:xfrm>
              <a:custGeom>
                <a:avLst/>
                <a:gdLst>
                  <a:gd name="connsiteX0" fmla="*/ 0 w 54083"/>
                  <a:gd name="connsiteY0" fmla="*/ 29089 h 47846"/>
                  <a:gd name="connsiteX1" fmla="*/ 17044 w 54083"/>
                  <a:gd name="connsiteY1" fmla="*/ 47846 h 47846"/>
                  <a:gd name="connsiteX2" fmla="*/ 54083 w 54083"/>
                  <a:gd name="connsiteY2" fmla="*/ 0 h 478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54083" h="47846">
                    <a:moveTo>
                      <a:pt x="0" y="29089"/>
                    </a:moveTo>
                    <a:lnTo>
                      <a:pt x="17044" y="47846"/>
                    </a:lnTo>
                    <a:lnTo>
                      <a:pt x="54083" y="0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1956" name="Gráfico 17">
                <a:extLst>
                  <a:ext uri="{FF2B5EF4-FFF2-40B4-BE49-F238E27FC236}">
                    <a16:creationId xmlns:a16="http://schemas.microsoft.com/office/drawing/2014/main" id="{5AFFA9C4-2785-D6E5-01B3-BA5ACD0298E7}"/>
                  </a:ext>
                </a:extLst>
              </p:cNvPr>
              <p:cNvGrpSpPr/>
              <p:nvPr/>
            </p:nvGrpSpPr>
            <p:grpSpPr>
              <a:xfrm>
                <a:off x="7174644" y="4909374"/>
                <a:ext cx="61652" cy="28612"/>
                <a:chOff x="7174644" y="4909374"/>
                <a:chExt cx="61652" cy="28612"/>
              </a:xfrm>
            </p:grpSpPr>
            <p:sp>
              <p:nvSpPr>
                <p:cNvPr id="1957" name="Forma livre: Forma 1956">
                  <a:extLst>
                    <a:ext uri="{FF2B5EF4-FFF2-40B4-BE49-F238E27FC236}">
                      <a16:creationId xmlns:a16="http://schemas.microsoft.com/office/drawing/2014/main" id="{0048FFE6-C1B0-5E6B-1AE8-24E9D70ABAC2}"/>
                    </a:ext>
                  </a:extLst>
                </p:cNvPr>
                <p:cNvSpPr/>
                <p:nvPr/>
              </p:nvSpPr>
              <p:spPr>
                <a:xfrm>
                  <a:off x="7174644" y="4909374"/>
                  <a:ext cx="61652" cy="4760"/>
                </a:xfrm>
                <a:custGeom>
                  <a:avLst/>
                  <a:gdLst>
                    <a:gd name="connsiteX0" fmla="*/ 0 w 61652"/>
                    <a:gd name="connsiteY0" fmla="*/ 0 h 4760"/>
                    <a:gd name="connsiteX1" fmla="*/ 61653 w 61652"/>
                    <a:gd name="connsiteY1" fmla="*/ 0 h 476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61652" h="4760">
                      <a:moveTo>
                        <a:pt x="0" y="0"/>
                      </a:moveTo>
                      <a:lnTo>
                        <a:pt x="61653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958" name="Forma livre: Forma 1957">
                  <a:extLst>
                    <a:ext uri="{FF2B5EF4-FFF2-40B4-BE49-F238E27FC236}">
                      <a16:creationId xmlns:a16="http://schemas.microsoft.com/office/drawing/2014/main" id="{467FD0CA-19B3-2494-64D7-11185F2F594E}"/>
                    </a:ext>
                  </a:extLst>
                </p:cNvPr>
                <p:cNvSpPr/>
                <p:nvPr/>
              </p:nvSpPr>
              <p:spPr>
                <a:xfrm>
                  <a:off x="7174644" y="4937987"/>
                  <a:ext cx="39657" cy="4760"/>
                </a:xfrm>
                <a:custGeom>
                  <a:avLst/>
                  <a:gdLst>
                    <a:gd name="connsiteX0" fmla="*/ 0 w 39657"/>
                    <a:gd name="connsiteY0" fmla="*/ 0 h 4760"/>
                    <a:gd name="connsiteX1" fmla="*/ 39658 w 39657"/>
                    <a:gd name="connsiteY1" fmla="*/ 0 h 476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39657" h="4760">
                      <a:moveTo>
                        <a:pt x="0" y="0"/>
                      </a:moveTo>
                      <a:lnTo>
                        <a:pt x="39658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</p:grpSp>
      <p:grpSp>
        <p:nvGrpSpPr>
          <p:cNvPr id="1959" name="Gráfico 17">
            <a:extLst>
              <a:ext uri="{FF2B5EF4-FFF2-40B4-BE49-F238E27FC236}">
                <a16:creationId xmlns:a16="http://schemas.microsoft.com/office/drawing/2014/main" id="{8E9836FD-516E-6282-B2B7-C0B94D2F54B6}"/>
              </a:ext>
            </a:extLst>
          </p:cNvPr>
          <p:cNvGrpSpPr/>
          <p:nvPr/>
        </p:nvGrpSpPr>
        <p:grpSpPr>
          <a:xfrm>
            <a:off x="7570175" y="4202485"/>
            <a:ext cx="406765" cy="202002"/>
            <a:chOff x="7570175" y="4202485"/>
            <a:chExt cx="406765" cy="202002"/>
          </a:xfrm>
        </p:grpSpPr>
        <p:sp>
          <p:nvSpPr>
            <p:cNvPr id="1960" name="Forma livre: Forma 1959">
              <a:extLst>
                <a:ext uri="{FF2B5EF4-FFF2-40B4-BE49-F238E27FC236}">
                  <a16:creationId xmlns:a16="http://schemas.microsoft.com/office/drawing/2014/main" id="{E4A364ED-C132-BF67-63B3-0C75116749F6}"/>
                </a:ext>
              </a:extLst>
            </p:cNvPr>
            <p:cNvSpPr/>
            <p:nvPr/>
          </p:nvSpPr>
          <p:spPr>
            <a:xfrm>
              <a:off x="7911717" y="4271136"/>
              <a:ext cx="7141" cy="7141"/>
            </a:xfrm>
            <a:custGeom>
              <a:avLst/>
              <a:gdLst>
                <a:gd name="connsiteX0" fmla="*/ 0 w 7141"/>
                <a:gd name="connsiteY0" fmla="*/ 3571 h 7141"/>
                <a:gd name="connsiteX1" fmla="*/ 3571 w 7141"/>
                <a:gd name="connsiteY1" fmla="*/ 7141 h 7141"/>
                <a:gd name="connsiteX2" fmla="*/ 7141 w 7141"/>
                <a:gd name="connsiteY2" fmla="*/ 3571 h 7141"/>
                <a:gd name="connsiteX3" fmla="*/ 3571 w 7141"/>
                <a:gd name="connsiteY3" fmla="*/ 0 h 7141"/>
                <a:gd name="connsiteX4" fmla="*/ 0 w 7141"/>
                <a:gd name="connsiteY4" fmla="*/ 3571 h 7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41" h="7141">
                  <a:moveTo>
                    <a:pt x="0" y="3571"/>
                  </a:moveTo>
                  <a:cubicBezTo>
                    <a:pt x="0" y="5570"/>
                    <a:pt x="1571" y="7141"/>
                    <a:pt x="3571" y="7141"/>
                  </a:cubicBezTo>
                  <a:cubicBezTo>
                    <a:pt x="5570" y="7141"/>
                    <a:pt x="7141" y="5523"/>
                    <a:pt x="7141" y="3571"/>
                  </a:cubicBezTo>
                  <a:cubicBezTo>
                    <a:pt x="7141" y="1619"/>
                    <a:pt x="5523" y="0"/>
                    <a:pt x="3571" y="0"/>
                  </a:cubicBezTo>
                  <a:cubicBezTo>
                    <a:pt x="1619" y="0"/>
                    <a:pt x="0" y="1571"/>
                    <a:pt x="0" y="3571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61" name="Forma livre: Forma 1960">
              <a:extLst>
                <a:ext uri="{FF2B5EF4-FFF2-40B4-BE49-F238E27FC236}">
                  <a16:creationId xmlns:a16="http://schemas.microsoft.com/office/drawing/2014/main" id="{28C706DB-8119-A599-A5E2-62D771942C64}"/>
                </a:ext>
              </a:extLst>
            </p:cNvPr>
            <p:cNvSpPr/>
            <p:nvPr/>
          </p:nvSpPr>
          <p:spPr>
            <a:xfrm>
              <a:off x="7875344" y="4327981"/>
              <a:ext cx="44751" cy="25422"/>
            </a:xfrm>
            <a:custGeom>
              <a:avLst/>
              <a:gdLst>
                <a:gd name="connsiteX0" fmla="*/ 0 w 44751"/>
                <a:gd name="connsiteY0" fmla="*/ 0 h 25422"/>
                <a:gd name="connsiteX1" fmla="*/ 44752 w 44751"/>
                <a:gd name="connsiteY1" fmla="*/ 25423 h 254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4751" h="25422">
                  <a:moveTo>
                    <a:pt x="0" y="0"/>
                  </a:moveTo>
                  <a:cubicBezTo>
                    <a:pt x="18901" y="0"/>
                    <a:pt x="35802" y="10236"/>
                    <a:pt x="44752" y="25423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62" name="Forma livre: Forma 1961">
              <a:extLst>
                <a:ext uri="{FF2B5EF4-FFF2-40B4-BE49-F238E27FC236}">
                  <a16:creationId xmlns:a16="http://schemas.microsoft.com/office/drawing/2014/main" id="{3AA4D170-CC92-FD10-035D-DDBD64C1E91F}"/>
                </a:ext>
              </a:extLst>
            </p:cNvPr>
            <p:cNvSpPr/>
            <p:nvPr/>
          </p:nvSpPr>
          <p:spPr>
            <a:xfrm>
              <a:off x="7723236" y="4202485"/>
              <a:ext cx="151156" cy="201954"/>
            </a:xfrm>
            <a:custGeom>
              <a:avLst/>
              <a:gdLst>
                <a:gd name="connsiteX0" fmla="*/ 0 w 151156"/>
                <a:gd name="connsiteY0" fmla="*/ 188624 h 201954"/>
                <a:gd name="connsiteX1" fmla="*/ 50179 w 151156"/>
                <a:gd name="connsiteY1" fmla="*/ 201955 h 201954"/>
                <a:gd name="connsiteX2" fmla="*/ 151157 w 151156"/>
                <a:gd name="connsiteY2" fmla="*/ 100977 h 201954"/>
                <a:gd name="connsiteX3" fmla="*/ 50179 w 151156"/>
                <a:gd name="connsiteY3" fmla="*/ 0 h 201954"/>
                <a:gd name="connsiteX4" fmla="*/ 24423 w 151156"/>
                <a:gd name="connsiteY4" fmla="*/ 3285 h 2019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1156" h="201954">
                  <a:moveTo>
                    <a:pt x="0" y="188624"/>
                  </a:moveTo>
                  <a:cubicBezTo>
                    <a:pt x="14806" y="197099"/>
                    <a:pt x="31945" y="201955"/>
                    <a:pt x="50179" y="201955"/>
                  </a:cubicBezTo>
                  <a:cubicBezTo>
                    <a:pt x="105929" y="201955"/>
                    <a:pt x="151157" y="156727"/>
                    <a:pt x="151157" y="100977"/>
                  </a:cubicBezTo>
                  <a:cubicBezTo>
                    <a:pt x="151157" y="45228"/>
                    <a:pt x="105929" y="0"/>
                    <a:pt x="50179" y="0"/>
                  </a:cubicBezTo>
                  <a:cubicBezTo>
                    <a:pt x="41276" y="0"/>
                    <a:pt x="32659" y="1143"/>
                    <a:pt x="24423" y="3285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63" name="Forma livre: Forma 1962">
              <a:extLst>
                <a:ext uri="{FF2B5EF4-FFF2-40B4-BE49-F238E27FC236}">
                  <a16:creationId xmlns:a16="http://schemas.microsoft.com/office/drawing/2014/main" id="{E5A0A975-8113-07F8-E736-EFB15B3E0F90}"/>
                </a:ext>
              </a:extLst>
            </p:cNvPr>
            <p:cNvSpPr/>
            <p:nvPr/>
          </p:nvSpPr>
          <p:spPr>
            <a:xfrm>
              <a:off x="7825784" y="4202485"/>
              <a:ext cx="151156" cy="201954"/>
            </a:xfrm>
            <a:custGeom>
              <a:avLst/>
              <a:gdLst>
                <a:gd name="connsiteX0" fmla="*/ 0 w 151156"/>
                <a:gd name="connsiteY0" fmla="*/ 188624 h 201954"/>
                <a:gd name="connsiteX1" fmla="*/ 50179 w 151156"/>
                <a:gd name="connsiteY1" fmla="*/ 201955 h 201954"/>
                <a:gd name="connsiteX2" fmla="*/ 151157 w 151156"/>
                <a:gd name="connsiteY2" fmla="*/ 100977 h 201954"/>
                <a:gd name="connsiteX3" fmla="*/ 50179 w 151156"/>
                <a:gd name="connsiteY3" fmla="*/ 0 h 201954"/>
                <a:gd name="connsiteX4" fmla="*/ 24423 w 151156"/>
                <a:gd name="connsiteY4" fmla="*/ 3285 h 2019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1156" h="201954">
                  <a:moveTo>
                    <a:pt x="0" y="188624"/>
                  </a:moveTo>
                  <a:cubicBezTo>
                    <a:pt x="14806" y="197099"/>
                    <a:pt x="31945" y="201955"/>
                    <a:pt x="50179" y="201955"/>
                  </a:cubicBezTo>
                  <a:cubicBezTo>
                    <a:pt x="105929" y="201955"/>
                    <a:pt x="151157" y="156727"/>
                    <a:pt x="151157" y="100977"/>
                  </a:cubicBezTo>
                  <a:cubicBezTo>
                    <a:pt x="151157" y="45228"/>
                    <a:pt x="105929" y="0"/>
                    <a:pt x="50179" y="0"/>
                  </a:cubicBezTo>
                  <a:cubicBezTo>
                    <a:pt x="41277" y="0"/>
                    <a:pt x="32659" y="1143"/>
                    <a:pt x="24423" y="3285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64" name="Forma livre: Forma 1963">
              <a:extLst>
                <a:ext uri="{FF2B5EF4-FFF2-40B4-BE49-F238E27FC236}">
                  <a16:creationId xmlns:a16="http://schemas.microsoft.com/office/drawing/2014/main" id="{E541D133-24EF-E2A8-8B1A-AA17D760D43D}"/>
                </a:ext>
              </a:extLst>
            </p:cNvPr>
            <p:cNvSpPr/>
            <p:nvPr/>
          </p:nvSpPr>
          <p:spPr>
            <a:xfrm>
              <a:off x="7809216" y="4271136"/>
              <a:ext cx="7141" cy="7141"/>
            </a:xfrm>
            <a:custGeom>
              <a:avLst/>
              <a:gdLst>
                <a:gd name="connsiteX0" fmla="*/ 0 w 7141"/>
                <a:gd name="connsiteY0" fmla="*/ 3571 h 7141"/>
                <a:gd name="connsiteX1" fmla="*/ 3571 w 7141"/>
                <a:gd name="connsiteY1" fmla="*/ 7141 h 7141"/>
                <a:gd name="connsiteX2" fmla="*/ 7141 w 7141"/>
                <a:gd name="connsiteY2" fmla="*/ 3571 h 7141"/>
                <a:gd name="connsiteX3" fmla="*/ 3571 w 7141"/>
                <a:gd name="connsiteY3" fmla="*/ 0 h 7141"/>
                <a:gd name="connsiteX4" fmla="*/ 0 w 7141"/>
                <a:gd name="connsiteY4" fmla="*/ 3571 h 7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41" h="7141">
                  <a:moveTo>
                    <a:pt x="0" y="3571"/>
                  </a:moveTo>
                  <a:cubicBezTo>
                    <a:pt x="0" y="5570"/>
                    <a:pt x="1571" y="7141"/>
                    <a:pt x="3571" y="7141"/>
                  </a:cubicBezTo>
                  <a:cubicBezTo>
                    <a:pt x="5570" y="7141"/>
                    <a:pt x="7141" y="5523"/>
                    <a:pt x="7141" y="3571"/>
                  </a:cubicBezTo>
                  <a:cubicBezTo>
                    <a:pt x="7141" y="1619"/>
                    <a:pt x="5523" y="0"/>
                    <a:pt x="3571" y="0"/>
                  </a:cubicBezTo>
                  <a:cubicBezTo>
                    <a:pt x="1619" y="0"/>
                    <a:pt x="0" y="1571"/>
                    <a:pt x="0" y="3571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65" name="Forma livre: Forma 1964">
              <a:extLst>
                <a:ext uri="{FF2B5EF4-FFF2-40B4-BE49-F238E27FC236}">
                  <a16:creationId xmlns:a16="http://schemas.microsoft.com/office/drawing/2014/main" id="{A6BE2E09-8093-4605-CE70-409AAC3A1925}"/>
                </a:ext>
              </a:extLst>
            </p:cNvPr>
            <p:cNvSpPr/>
            <p:nvPr/>
          </p:nvSpPr>
          <p:spPr>
            <a:xfrm>
              <a:off x="7760418" y="4328885"/>
              <a:ext cx="57177" cy="25422"/>
            </a:xfrm>
            <a:custGeom>
              <a:avLst/>
              <a:gdLst>
                <a:gd name="connsiteX0" fmla="*/ 57178 w 57177"/>
                <a:gd name="connsiteY0" fmla="*/ 0 h 25422"/>
                <a:gd name="connsiteX1" fmla="*/ 12426 w 57177"/>
                <a:gd name="connsiteY1" fmla="*/ 25423 h 25422"/>
                <a:gd name="connsiteX2" fmla="*/ 0 w 57177"/>
                <a:gd name="connsiteY2" fmla="*/ 23947 h 254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57177" h="25422">
                  <a:moveTo>
                    <a:pt x="57178" y="0"/>
                  </a:moveTo>
                  <a:cubicBezTo>
                    <a:pt x="48227" y="15187"/>
                    <a:pt x="31326" y="25423"/>
                    <a:pt x="12426" y="25423"/>
                  </a:cubicBezTo>
                  <a:cubicBezTo>
                    <a:pt x="8189" y="25423"/>
                    <a:pt x="3999" y="24899"/>
                    <a:pt x="0" y="23947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66" name="Forma livre: Forma 1965">
              <a:extLst>
                <a:ext uri="{FF2B5EF4-FFF2-40B4-BE49-F238E27FC236}">
                  <a16:creationId xmlns:a16="http://schemas.microsoft.com/office/drawing/2014/main" id="{0F739B6E-1C17-B308-7BDD-2CFE6A16B500}"/>
                </a:ext>
              </a:extLst>
            </p:cNvPr>
            <p:cNvSpPr/>
            <p:nvPr/>
          </p:nvSpPr>
          <p:spPr>
            <a:xfrm>
              <a:off x="7570175" y="4202532"/>
              <a:ext cx="201954" cy="201954"/>
            </a:xfrm>
            <a:custGeom>
              <a:avLst/>
              <a:gdLst>
                <a:gd name="connsiteX0" fmla="*/ 0 w 201954"/>
                <a:gd name="connsiteY0" fmla="*/ 100977 h 201954"/>
                <a:gd name="connsiteX1" fmla="*/ 100977 w 201954"/>
                <a:gd name="connsiteY1" fmla="*/ 201955 h 201954"/>
                <a:gd name="connsiteX2" fmla="*/ 201955 w 201954"/>
                <a:gd name="connsiteY2" fmla="*/ 100977 h 201954"/>
                <a:gd name="connsiteX3" fmla="*/ 100977 w 201954"/>
                <a:gd name="connsiteY3" fmla="*/ 0 h 201954"/>
                <a:gd name="connsiteX4" fmla="*/ 0 w 201954"/>
                <a:gd name="connsiteY4" fmla="*/ 100977 h 2019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01954" h="201954">
                  <a:moveTo>
                    <a:pt x="0" y="100977"/>
                  </a:moveTo>
                  <a:cubicBezTo>
                    <a:pt x="0" y="156727"/>
                    <a:pt x="45180" y="201955"/>
                    <a:pt x="100977" y="201955"/>
                  </a:cubicBezTo>
                  <a:cubicBezTo>
                    <a:pt x="156774" y="201955"/>
                    <a:pt x="201955" y="156727"/>
                    <a:pt x="201955" y="100977"/>
                  </a:cubicBezTo>
                  <a:cubicBezTo>
                    <a:pt x="201955" y="45228"/>
                    <a:pt x="156727" y="0"/>
                    <a:pt x="100977" y="0"/>
                  </a:cubicBezTo>
                  <a:cubicBezTo>
                    <a:pt x="45228" y="0"/>
                    <a:pt x="0" y="45228"/>
                    <a:pt x="0" y="100977"/>
                  </a:cubicBez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67" name="Forma livre: Forma 1966">
              <a:extLst>
                <a:ext uri="{FF2B5EF4-FFF2-40B4-BE49-F238E27FC236}">
                  <a16:creationId xmlns:a16="http://schemas.microsoft.com/office/drawing/2014/main" id="{8B9981EF-AA32-236D-055D-4ACA32802882}"/>
                </a:ext>
              </a:extLst>
            </p:cNvPr>
            <p:cNvSpPr/>
            <p:nvPr/>
          </p:nvSpPr>
          <p:spPr>
            <a:xfrm>
              <a:off x="7606119" y="4236668"/>
              <a:ext cx="130066" cy="123686"/>
            </a:xfrm>
            <a:custGeom>
              <a:avLst/>
              <a:gdLst>
                <a:gd name="connsiteX0" fmla="*/ 65033 w 130066"/>
                <a:gd name="connsiteY0" fmla="*/ 0 h 123686"/>
                <a:gd name="connsiteX1" fmla="*/ 83934 w 130066"/>
                <a:gd name="connsiteY1" fmla="*/ 42371 h 123686"/>
                <a:gd name="connsiteX2" fmla="*/ 130066 w 130066"/>
                <a:gd name="connsiteY2" fmla="*/ 47228 h 123686"/>
                <a:gd name="connsiteX3" fmla="*/ 95598 w 130066"/>
                <a:gd name="connsiteY3" fmla="*/ 78316 h 123686"/>
                <a:gd name="connsiteX4" fmla="*/ 105215 w 130066"/>
                <a:gd name="connsiteY4" fmla="*/ 123687 h 123686"/>
                <a:gd name="connsiteX5" fmla="*/ 65033 w 130066"/>
                <a:gd name="connsiteY5" fmla="*/ 100501 h 123686"/>
                <a:gd name="connsiteX6" fmla="*/ 24852 w 130066"/>
                <a:gd name="connsiteY6" fmla="*/ 123687 h 123686"/>
                <a:gd name="connsiteX7" fmla="*/ 34421 w 130066"/>
                <a:gd name="connsiteY7" fmla="*/ 78316 h 123686"/>
                <a:gd name="connsiteX8" fmla="*/ 0 w 130066"/>
                <a:gd name="connsiteY8" fmla="*/ 47228 h 123686"/>
                <a:gd name="connsiteX9" fmla="*/ 46133 w 130066"/>
                <a:gd name="connsiteY9" fmla="*/ 42371 h 123686"/>
                <a:gd name="connsiteX10" fmla="*/ 54226 w 130066"/>
                <a:gd name="connsiteY10" fmla="*/ 24233 h 123686"/>
                <a:gd name="connsiteX11" fmla="*/ 65033 w 130066"/>
                <a:gd name="connsiteY11" fmla="*/ 0 h 1236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30066" h="123686">
                  <a:moveTo>
                    <a:pt x="65033" y="0"/>
                  </a:moveTo>
                  <a:lnTo>
                    <a:pt x="83934" y="42371"/>
                  </a:lnTo>
                  <a:lnTo>
                    <a:pt x="130066" y="47228"/>
                  </a:lnTo>
                  <a:lnTo>
                    <a:pt x="95598" y="78316"/>
                  </a:lnTo>
                  <a:lnTo>
                    <a:pt x="105215" y="123687"/>
                  </a:lnTo>
                  <a:lnTo>
                    <a:pt x="65033" y="100501"/>
                  </a:lnTo>
                  <a:lnTo>
                    <a:pt x="24852" y="123687"/>
                  </a:lnTo>
                  <a:lnTo>
                    <a:pt x="34421" y="78316"/>
                  </a:lnTo>
                  <a:lnTo>
                    <a:pt x="0" y="47228"/>
                  </a:lnTo>
                  <a:lnTo>
                    <a:pt x="46133" y="42371"/>
                  </a:lnTo>
                  <a:lnTo>
                    <a:pt x="54226" y="24233"/>
                  </a:lnTo>
                  <a:lnTo>
                    <a:pt x="65033" y="0"/>
                  </a:ln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968" name="Gráfico 17">
            <a:extLst>
              <a:ext uri="{FF2B5EF4-FFF2-40B4-BE49-F238E27FC236}">
                <a16:creationId xmlns:a16="http://schemas.microsoft.com/office/drawing/2014/main" id="{F2452EA8-6A0E-99AD-4AF8-630D80BFD5CB}"/>
              </a:ext>
            </a:extLst>
          </p:cNvPr>
          <p:cNvGrpSpPr/>
          <p:nvPr/>
        </p:nvGrpSpPr>
        <p:grpSpPr>
          <a:xfrm>
            <a:off x="6387915" y="4181680"/>
            <a:ext cx="291056" cy="243659"/>
            <a:chOff x="6387915" y="4181680"/>
            <a:chExt cx="291056" cy="243659"/>
          </a:xfrm>
          <a:noFill/>
        </p:grpSpPr>
        <p:grpSp>
          <p:nvGrpSpPr>
            <p:cNvPr id="1969" name="Gráfico 17">
              <a:extLst>
                <a:ext uri="{FF2B5EF4-FFF2-40B4-BE49-F238E27FC236}">
                  <a16:creationId xmlns:a16="http://schemas.microsoft.com/office/drawing/2014/main" id="{F97F70D7-FDB2-A35B-88D6-29260F6B28BF}"/>
                </a:ext>
              </a:extLst>
            </p:cNvPr>
            <p:cNvGrpSpPr/>
            <p:nvPr/>
          </p:nvGrpSpPr>
          <p:grpSpPr>
            <a:xfrm>
              <a:off x="6507508" y="4262585"/>
              <a:ext cx="171464" cy="160326"/>
              <a:chOff x="6507508" y="4262585"/>
              <a:chExt cx="171464" cy="160326"/>
            </a:xfrm>
            <a:noFill/>
          </p:grpSpPr>
          <p:sp>
            <p:nvSpPr>
              <p:cNvPr id="1970" name="Forma livre: Forma 1969">
                <a:extLst>
                  <a:ext uri="{FF2B5EF4-FFF2-40B4-BE49-F238E27FC236}">
                    <a16:creationId xmlns:a16="http://schemas.microsoft.com/office/drawing/2014/main" id="{1AC7BE45-20F7-1F51-1171-7B5FC9190517}"/>
                  </a:ext>
                </a:extLst>
              </p:cNvPr>
              <p:cNvSpPr/>
              <p:nvPr/>
            </p:nvSpPr>
            <p:spPr>
              <a:xfrm>
                <a:off x="6561400" y="4262585"/>
                <a:ext cx="117571" cy="153375"/>
              </a:xfrm>
              <a:custGeom>
                <a:avLst/>
                <a:gdLst>
                  <a:gd name="connsiteX0" fmla="*/ 1095 w 117571"/>
                  <a:gd name="connsiteY0" fmla="*/ 64776 h 153375"/>
                  <a:gd name="connsiteX1" fmla="*/ 44181 w 117571"/>
                  <a:gd name="connsiteY1" fmla="*/ 10027 h 153375"/>
                  <a:gd name="connsiteX2" fmla="*/ 55987 w 117571"/>
                  <a:gd name="connsiteY2" fmla="*/ 29 h 153375"/>
                  <a:gd name="connsiteX3" fmla="*/ 69413 w 117571"/>
                  <a:gd name="connsiteY3" fmla="*/ 12502 h 153375"/>
                  <a:gd name="connsiteX4" fmla="*/ 63890 w 117571"/>
                  <a:gd name="connsiteY4" fmla="*/ 56159 h 153375"/>
                  <a:gd name="connsiteX5" fmla="*/ 104405 w 117571"/>
                  <a:gd name="connsiteY5" fmla="*/ 56159 h 153375"/>
                  <a:gd name="connsiteX6" fmla="*/ 115926 w 117571"/>
                  <a:gd name="connsiteY6" fmla="*/ 61872 h 153375"/>
                  <a:gd name="connsiteX7" fmla="*/ 116926 w 117571"/>
                  <a:gd name="connsiteY7" fmla="*/ 75441 h 153375"/>
                  <a:gd name="connsiteX8" fmla="*/ 104072 w 117571"/>
                  <a:gd name="connsiteY8" fmla="*/ 141283 h 153375"/>
                  <a:gd name="connsiteX9" fmla="*/ 88552 w 117571"/>
                  <a:gd name="connsiteY9" fmla="*/ 153376 h 153375"/>
                  <a:gd name="connsiteX10" fmla="*/ 0 w 117571"/>
                  <a:gd name="connsiteY10" fmla="*/ 153376 h 1533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117571" h="153375">
                    <a:moveTo>
                      <a:pt x="1095" y="64776"/>
                    </a:moveTo>
                    <a:cubicBezTo>
                      <a:pt x="10188" y="62063"/>
                      <a:pt x="44181" y="49399"/>
                      <a:pt x="44181" y="10027"/>
                    </a:cubicBezTo>
                    <a:cubicBezTo>
                      <a:pt x="44181" y="10027"/>
                      <a:pt x="44990" y="29"/>
                      <a:pt x="55987" y="29"/>
                    </a:cubicBezTo>
                    <a:cubicBezTo>
                      <a:pt x="55987" y="29"/>
                      <a:pt x="68128" y="-1209"/>
                      <a:pt x="69413" y="12502"/>
                    </a:cubicBezTo>
                    <a:cubicBezTo>
                      <a:pt x="69413" y="12502"/>
                      <a:pt x="72508" y="38877"/>
                      <a:pt x="63890" y="56159"/>
                    </a:cubicBezTo>
                    <a:lnTo>
                      <a:pt x="104405" y="56159"/>
                    </a:lnTo>
                    <a:cubicBezTo>
                      <a:pt x="106072" y="56159"/>
                      <a:pt x="112403" y="55874"/>
                      <a:pt x="115926" y="61872"/>
                    </a:cubicBezTo>
                    <a:cubicBezTo>
                      <a:pt x="118307" y="65967"/>
                      <a:pt x="117593" y="71442"/>
                      <a:pt x="116926" y="75441"/>
                    </a:cubicBezTo>
                    <a:cubicBezTo>
                      <a:pt x="116260" y="79440"/>
                      <a:pt x="104072" y="141283"/>
                      <a:pt x="104072" y="141283"/>
                    </a:cubicBezTo>
                    <a:cubicBezTo>
                      <a:pt x="102739" y="146948"/>
                      <a:pt x="97788" y="153376"/>
                      <a:pt x="88552" y="153376"/>
                    </a:cubicBezTo>
                    <a:lnTo>
                      <a:pt x="0" y="153376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971" name="Forma livre: Forma 1970">
                <a:extLst>
                  <a:ext uri="{FF2B5EF4-FFF2-40B4-BE49-F238E27FC236}">
                    <a16:creationId xmlns:a16="http://schemas.microsoft.com/office/drawing/2014/main" id="{4F38E216-66F6-45C7-AF34-6E76F529452D}"/>
                  </a:ext>
                </a:extLst>
              </p:cNvPr>
              <p:cNvSpPr/>
              <p:nvPr/>
            </p:nvSpPr>
            <p:spPr>
              <a:xfrm>
                <a:off x="6507508" y="4324505"/>
                <a:ext cx="34944" cy="98406"/>
              </a:xfrm>
              <a:custGeom>
                <a:avLst/>
                <a:gdLst>
                  <a:gd name="connsiteX0" fmla="*/ 0 w 34944"/>
                  <a:gd name="connsiteY0" fmla="*/ 0 h 98406"/>
                  <a:gd name="connsiteX1" fmla="*/ 34945 w 34944"/>
                  <a:gd name="connsiteY1" fmla="*/ 0 h 98406"/>
                  <a:gd name="connsiteX2" fmla="*/ 34945 w 34944"/>
                  <a:gd name="connsiteY2" fmla="*/ 98407 h 98406"/>
                  <a:gd name="connsiteX3" fmla="*/ 0 w 34944"/>
                  <a:gd name="connsiteY3" fmla="*/ 98407 h 98406"/>
                  <a:gd name="connsiteX4" fmla="*/ 0 w 34944"/>
                  <a:gd name="connsiteY4" fmla="*/ 51798 h 98406"/>
                  <a:gd name="connsiteX5" fmla="*/ 0 w 34944"/>
                  <a:gd name="connsiteY5" fmla="*/ 0 h 984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34944" h="98406">
                    <a:moveTo>
                      <a:pt x="0" y="0"/>
                    </a:moveTo>
                    <a:lnTo>
                      <a:pt x="34945" y="0"/>
                    </a:lnTo>
                    <a:lnTo>
                      <a:pt x="34945" y="98407"/>
                    </a:lnTo>
                    <a:lnTo>
                      <a:pt x="0" y="98407"/>
                    </a:lnTo>
                    <a:lnTo>
                      <a:pt x="0" y="51798"/>
                    </a:lnTo>
                    <a:lnTo>
                      <a:pt x="0" y="0"/>
                    </a:lnTo>
                    <a:close/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972" name="Forma livre: Forma 1971">
              <a:extLst>
                <a:ext uri="{FF2B5EF4-FFF2-40B4-BE49-F238E27FC236}">
                  <a16:creationId xmlns:a16="http://schemas.microsoft.com/office/drawing/2014/main" id="{20204D67-6649-BC0C-3B5C-A475CE769F88}"/>
                </a:ext>
              </a:extLst>
            </p:cNvPr>
            <p:cNvSpPr/>
            <p:nvPr/>
          </p:nvSpPr>
          <p:spPr>
            <a:xfrm>
              <a:off x="6387915" y="4181680"/>
              <a:ext cx="275890" cy="243659"/>
            </a:xfrm>
            <a:custGeom>
              <a:avLst/>
              <a:gdLst>
                <a:gd name="connsiteX0" fmla="*/ 275891 w 275890"/>
                <a:gd name="connsiteY0" fmla="*/ 114593 h 243659"/>
                <a:gd name="connsiteX1" fmla="*/ 275891 w 275890"/>
                <a:gd name="connsiteY1" fmla="*/ 14806 h 243659"/>
                <a:gd name="connsiteX2" fmla="*/ 261084 w 275890"/>
                <a:gd name="connsiteY2" fmla="*/ 0 h 243659"/>
                <a:gd name="connsiteX3" fmla="*/ 14806 w 275890"/>
                <a:gd name="connsiteY3" fmla="*/ 0 h 243659"/>
                <a:gd name="connsiteX4" fmla="*/ 0 w 275890"/>
                <a:gd name="connsiteY4" fmla="*/ 14806 h 243659"/>
                <a:gd name="connsiteX5" fmla="*/ 0 w 275890"/>
                <a:gd name="connsiteY5" fmla="*/ 177865 h 243659"/>
                <a:gd name="connsiteX6" fmla="*/ 14806 w 275890"/>
                <a:gd name="connsiteY6" fmla="*/ 192671 h 243659"/>
                <a:gd name="connsiteX7" fmla="*/ 33564 w 275890"/>
                <a:gd name="connsiteY7" fmla="*/ 192671 h 243659"/>
                <a:gd name="connsiteX8" fmla="*/ 33564 w 275890"/>
                <a:gd name="connsiteY8" fmla="*/ 243660 h 243659"/>
                <a:gd name="connsiteX9" fmla="*/ 71889 w 275890"/>
                <a:gd name="connsiteY9" fmla="*/ 192671 h 243659"/>
                <a:gd name="connsiteX10" fmla="*/ 95455 w 275890"/>
                <a:gd name="connsiteY10" fmla="*/ 192671 h 2436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75890" h="243659">
                  <a:moveTo>
                    <a:pt x="275891" y="114593"/>
                  </a:moveTo>
                  <a:lnTo>
                    <a:pt x="275891" y="14806"/>
                  </a:lnTo>
                  <a:cubicBezTo>
                    <a:pt x="275891" y="6665"/>
                    <a:pt x="269225" y="0"/>
                    <a:pt x="261084" y="0"/>
                  </a:cubicBezTo>
                  <a:lnTo>
                    <a:pt x="14806" y="0"/>
                  </a:lnTo>
                  <a:cubicBezTo>
                    <a:pt x="6665" y="0"/>
                    <a:pt x="0" y="6665"/>
                    <a:pt x="0" y="14806"/>
                  </a:cubicBezTo>
                  <a:lnTo>
                    <a:pt x="0" y="177865"/>
                  </a:lnTo>
                  <a:cubicBezTo>
                    <a:pt x="0" y="186006"/>
                    <a:pt x="6665" y="192671"/>
                    <a:pt x="14806" y="192671"/>
                  </a:cubicBezTo>
                  <a:lnTo>
                    <a:pt x="33564" y="192671"/>
                  </a:lnTo>
                  <a:lnTo>
                    <a:pt x="33564" y="243660"/>
                  </a:lnTo>
                  <a:lnTo>
                    <a:pt x="71889" y="192671"/>
                  </a:lnTo>
                  <a:lnTo>
                    <a:pt x="95455" y="192671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973" name="Gráfico 17">
            <a:extLst>
              <a:ext uri="{FF2B5EF4-FFF2-40B4-BE49-F238E27FC236}">
                <a16:creationId xmlns:a16="http://schemas.microsoft.com/office/drawing/2014/main" id="{69023D78-5717-1B0C-58DB-5B85F2F8BF18}"/>
              </a:ext>
            </a:extLst>
          </p:cNvPr>
          <p:cNvGrpSpPr/>
          <p:nvPr/>
        </p:nvGrpSpPr>
        <p:grpSpPr>
          <a:xfrm>
            <a:off x="7015632" y="4154638"/>
            <a:ext cx="275726" cy="297695"/>
            <a:chOff x="7015632" y="4154638"/>
            <a:chExt cx="275726" cy="297695"/>
          </a:xfrm>
          <a:noFill/>
        </p:grpSpPr>
        <p:grpSp>
          <p:nvGrpSpPr>
            <p:cNvPr id="1974" name="Gráfico 17">
              <a:extLst>
                <a:ext uri="{FF2B5EF4-FFF2-40B4-BE49-F238E27FC236}">
                  <a16:creationId xmlns:a16="http://schemas.microsoft.com/office/drawing/2014/main" id="{471A7D89-4AEA-1C9A-0AE4-1847F691E9C3}"/>
                </a:ext>
              </a:extLst>
            </p:cNvPr>
            <p:cNvGrpSpPr/>
            <p:nvPr/>
          </p:nvGrpSpPr>
          <p:grpSpPr>
            <a:xfrm>
              <a:off x="7086235" y="4178318"/>
              <a:ext cx="205123" cy="160278"/>
              <a:chOff x="7086235" y="4178318"/>
              <a:chExt cx="205123" cy="160278"/>
            </a:xfrm>
            <a:noFill/>
          </p:grpSpPr>
          <p:sp>
            <p:nvSpPr>
              <p:cNvPr id="1975" name="Forma livre: Forma 1974">
                <a:extLst>
                  <a:ext uri="{FF2B5EF4-FFF2-40B4-BE49-F238E27FC236}">
                    <a16:creationId xmlns:a16="http://schemas.microsoft.com/office/drawing/2014/main" id="{D4AD614E-70CC-7BEE-BBE9-0D04C4143B00}"/>
                  </a:ext>
                </a:extLst>
              </p:cNvPr>
              <p:cNvSpPr/>
              <p:nvPr/>
            </p:nvSpPr>
            <p:spPr>
              <a:xfrm>
                <a:off x="7173787" y="4178318"/>
                <a:ext cx="117571" cy="153375"/>
              </a:xfrm>
              <a:custGeom>
                <a:avLst/>
                <a:gdLst>
                  <a:gd name="connsiteX0" fmla="*/ 1095 w 117571"/>
                  <a:gd name="connsiteY0" fmla="*/ 64776 h 153375"/>
                  <a:gd name="connsiteX1" fmla="*/ 44181 w 117571"/>
                  <a:gd name="connsiteY1" fmla="*/ 10027 h 153375"/>
                  <a:gd name="connsiteX2" fmla="*/ 55988 w 117571"/>
                  <a:gd name="connsiteY2" fmla="*/ 29 h 153375"/>
                  <a:gd name="connsiteX3" fmla="*/ 69413 w 117571"/>
                  <a:gd name="connsiteY3" fmla="*/ 12502 h 153375"/>
                  <a:gd name="connsiteX4" fmla="*/ 63891 w 117571"/>
                  <a:gd name="connsiteY4" fmla="*/ 56159 h 153375"/>
                  <a:gd name="connsiteX5" fmla="*/ 104405 w 117571"/>
                  <a:gd name="connsiteY5" fmla="*/ 56159 h 153375"/>
                  <a:gd name="connsiteX6" fmla="*/ 115926 w 117571"/>
                  <a:gd name="connsiteY6" fmla="*/ 61872 h 153375"/>
                  <a:gd name="connsiteX7" fmla="*/ 116926 w 117571"/>
                  <a:gd name="connsiteY7" fmla="*/ 75441 h 153375"/>
                  <a:gd name="connsiteX8" fmla="*/ 104072 w 117571"/>
                  <a:gd name="connsiteY8" fmla="*/ 141283 h 153375"/>
                  <a:gd name="connsiteX9" fmla="*/ 88552 w 117571"/>
                  <a:gd name="connsiteY9" fmla="*/ 153376 h 153375"/>
                  <a:gd name="connsiteX10" fmla="*/ 0 w 117571"/>
                  <a:gd name="connsiteY10" fmla="*/ 153376 h 1533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117571" h="153375">
                    <a:moveTo>
                      <a:pt x="1095" y="64776"/>
                    </a:moveTo>
                    <a:cubicBezTo>
                      <a:pt x="10188" y="62063"/>
                      <a:pt x="44181" y="49399"/>
                      <a:pt x="44181" y="10027"/>
                    </a:cubicBezTo>
                    <a:cubicBezTo>
                      <a:pt x="44181" y="10027"/>
                      <a:pt x="44990" y="29"/>
                      <a:pt x="55988" y="29"/>
                    </a:cubicBezTo>
                    <a:cubicBezTo>
                      <a:pt x="55988" y="29"/>
                      <a:pt x="68128" y="-1209"/>
                      <a:pt x="69413" y="12502"/>
                    </a:cubicBezTo>
                    <a:cubicBezTo>
                      <a:pt x="69413" y="12502"/>
                      <a:pt x="72508" y="38877"/>
                      <a:pt x="63891" y="56159"/>
                    </a:cubicBezTo>
                    <a:lnTo>
                      <a:pt x="104405" y="56159"/>
                    </a:lnTo>
                    <a:cubicBezTo>
                      <a:pt x="106072" y="56159"/>
                      <a:pt x="112403" y="55874"/>
                      <a:pt x="115926" y="61872"/>
                    </a:cubicBezTo>
                    <a:cubicBezTo>
                      <a:pt x="118307" y="65967"/>
                      <a:pt x="117593" y="71442"/>
                      <a:pt x="116926" y="75441"/>
                    </a:cubicBezTo>
                    <a:cubicBezTo>
                      <a:pt x="116260" y="79440"/>
                      <a:pt x="104072" y="141283"/>
                      <a:pt x="104072" y="141283"/>
                    </a:cubicBezTo>
                    <a:cubicBezTo>
                      <a:pt x="102739" y="146948"/>
                      <a:pt x="97788" y="153376"/>
                      <a:pt x="88552" y="153376"/>
                    </a:cubicBezTo>
                    <a:lnTo>
                      <a:pt x="0" y="153376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976" name="Forma livre: Forma 1975">
                <a:extLst>
                  <a:ext uri="{FF2B5EF4-FFF2-40B4-BE49-F238E27FC236}">
                    <a16:creationId xmlns:a16="http://schemas.microsoft.com/office/drawing/2014/main" id="{888A78EC-A192-D768-4DE9-5C9FD3C77B72}"/>
                  </a:ext>
                </a:extLst>
              </p:cNvPr>
              <p:cNvSpPr/>
              <p:nvPr/>
            </p:nvSpPr>
            <p:spPr>
              <a:xfrm>
                <a:off x="7086235" y="4240334"/>
                <a:ext cx="68603" cy="98263"/>
              </a:xfrm>
              <a:custGeom>
                <a:avLst/>
                <a:gdLst>
                  <a:gd name="connsiteX0" fmla="*/ 0 w 68603"/>
                  <a:gd name="connsiteY0" fmla="*/ 0 h 98263"/>
                  <a:gd name="connsiteX1" fmla="*/ 68604 w 68603"/>
                  <a:gd name="connsiteY1" fmla="*/ 0 h 98263"/>
                  <a:gd name="connsiteX2" fmla="*/ 68604 w 68603"/>
                  <a:gd name="connsiteY2" fmla="*/ 98264 h 98263"/>
                  <a:gd name="connsiteX3" fmla="*/ 31660 w 68603"/>
                  <a:gd name="connsiteY3" fmla="*/ 98264 h 982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8603" h="98263">
                    <a:moveTo>
                      <a:pt x="0" y="0"/>
                    </a:moveTo>
                    <a:lnTo>
                      <a:pt x="68604" y="0"/>
                    </a:lnTo>
                    <a:lnTo>
                      <a:pt x="68604" y="98264"/>
                    </a:lnTo>
                    <a:lnTo>
                      <a:pt x="31660" y="98264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977" name="Gráfico 17">
              <a:extLst>
                <a:ext uri="{FF2B5EF4-FFF2-40B4-BE49-F238E27FC236}">
                  <a16:creationId xmlns:a16="http://schemas.microsoft.com/office/drawing/2014/main" id="{A892BA63-C858-0A43-47B8-AF617E9A514C}"/>
                </a:ext>
              </a:extLst>
            </p:cNvPr>
            <p:cNvGrpSpPr/>
            <p:nvPr/>
          </p:nvGrpSpPr>
          <p:grpSpPr>
            <a:xfrm>
              <a:off x="7015632" y="4154638"/>
              <a:ext cx="164915" cy="297695"/>
              <a:chOff x="7015632" y="4154638"/>
              <a:chExt cx="164915" cy="297695"/>
            </a:xfrm>
            <a:noFill/>
          </p:grpSpPr>
          <p:grpSp>
            <p:nvGrpSpPr>
              <p:cNvPr id="1978" name="Gráfico 17">
                <a:extLst>
                  <a:ext uri="{FF2B5EF4-FFF2-40B4-BE49-F238E27FC236}">
                    <a16:creationId xmlns:a16="http://schemas.microsoft.com/office/drawing/2014/main" id="{938CAC8E-A640-0693-3EA3-91BAB429905E}"/>
                  </a:ext>
                </a:extLst>
              </p:cNvPr>
              <p:cNvGrpSpPr/>
              <p:nvPr/>
            </p:nvGrpSpPr>
            <p:grpSpPr>
              <a:xfrm>
                <a:off x="7015632" y="4154638"/>
                <a:ext cx="164915" cy="297695"/>
                <a:chOff x="7015632" y="4154638"/>
                <a:chExt cx="164915" cy="297695"/>
              </a:xfrm>
              <a:noFill/>
            </p:grpSpPr>
            <p:sp>
              <p:nvSpPr>
                <p:cNvPr id="1979" name="Forma livre: Forma 1978">
                  <a:extLst>
                    <a:ext uri="{FF2B5EF4-FFF2-40B4-BE49-F238E27FC236}">
                      <a16:creationId xmlns:a16="http://schemas.microsoft.com/office/drawing/2014/main" id="{A54F05B4-3D70-9465-1B6C-6949C7097B33}"/>
                    </a:ext>
                  </a:extLst>
                </p:cNvPr>
                <p:cNvSpPr/>
                <p:nvPr/>
              </p:nvSpPr>
              <p:spPr>
                <a:xfrm>
                  <a:off x="7015727" y="4154638"/>
                  <a:ext cx="164820" cy="297695"/>
                </a:xfrm>
                <a:custGeom>
                  <a:avLst/>
                  <a:gdLst>
                    <a:gd name="connsiteX0" fmla="*/ 164820 w 164820"/>
                    <a:gd name="connsiteY0" fmla="*/ 200003 h 297695"/>
                    <a:gd name="connsiteX1" fmla="*/ 164820 w 164820"/>
                    <a:gd name="connsiteY1" fmla="*/ 284222 h 297695"/>
                    <a:gd name="connsiteX2" fmla="*/ 151347 w 164820"/>
                    <a:gd name="connsiteY2" fmla="*/ 297695 h 297695"/>
                    <a:gd name="connsiteX3" fmla="*/ 13473 w 164820"/>
                    <a:gd name="connsiteY3" fmla="*/ 297695 h 297695"/>
                    <a:gd name="connsiteX4" fmla="*/ 0 w 164820"/>
                    <a:gd name="connsiteY4" fmla="*/ 284222 h 297695"/>
                    <a:gd name="connsiteX5" fmla="*/ 0 w 164820"/>
                    <a:gd name="connsiteY5" fmla="*/ 13473 h 297695"/>
                    <a:gd name="connsiteX6" fmla="*/ 13473 w 164820"/>
                    <a:gd name="connsiteY6" fmla="*/ 0 h 297695"/>
                    <a:gd name="connsiteX7" fmla="*/ 151347 w 164820"/>
                    <a:gd name="connsiteY7" fmla="*/ 0 h 297695"/>
                    <a:gd name="connsiteX8" fmla="*/ 164820 w 164820"/>
                    <a:gd name="connsiteY8" fmla="*/ 13473 h 297695"/>
                    <a:gd name="connsiteX9" fmla="*/ 164820 w 164820"/>
                    <a:gd name="connsiteY9" fmla="*/ 52702 h 29769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164820" h="297695">
                      <a:moveTo>
                        <a:pt x="164820" y="200003"/>
                      </a:moveTo>
                      <a:lnTo>
                        <a:pt x="164820" y="284222"/>
                      </a:lnTo>
                      <a:cubicBezTo>
                        <a:pt x="164820" y="291649"/>
                        <a:pt x="158726" y="297695"/>
                        <a:pt x="151347" y="297695"/>
                      </a:cubicBezTo>
                      <a:lnTo>
                        <a:pt x="13473" y="297695"/>
                      </a:lnTo>
                      <a:cubicBezTo>
                        <a:pt x="6046" y="297695"/>
                        <a:pt x="0" y="291649"/>
                        <a:pt x="0" y="284222"/>
                      </a:cubicBezTo>
                      <a:lnTo>
                        <a:pt x="0" y="13473"/>
                      </a:lnTo>
                      <a:cubicBezTo>
                        <a:pt x="0" y="6046"/>
                        <a:pt x="6046" y="0"/>
                        <a:pt x="13473" y="0"/>
                      </a:cubicBezTo>
                      <a:lnTo>
                        <a:pt x="151347" y="0"/>
                      </a:lnTo>
                      <a:cubicBezTo>
                        <a:pt x="158774" y="0"/>
                        <a:pt x="164820" y="6046"/>
                        <a:pt x="164820" y="13473"/>
                      </a:cubicBezTo>
                      <a:lnTo>
                        <a:pt x="164820" y="52702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980" name="Forma livre: Forma 1979">
                  <a:extLst>
                    <a:ext uri="{FF2B5EF4-FFF2-40B4-BE49-F238E27FC236}">
                      <a16:creationId xmlns:a16="http://schemas.microsoft.com/office/drawing/2014/main" id="{12BC50DA-3C74-07A6-874D-F9637F3DC44C}"/>
                    </a:ext>
                  </a:extLst>
                </p:cNvPr>
                <p:cNvSpPr/>
                <p:nvPr/>
              </p:nvSpPr>
              <p:spPr>
                <a:xfrm>
                  <a:off x="7015632" y="4393966"/>
                  <a:ext cx="164915" cy="4760"/>
                </a:xfrm>
                <a:custGeom>
                  <a:avLst/>
                  <a:gdLst>
                    <a:gd name="connsiteX0" fmla="*/ 0 w 164915"/>
                    <a:gd name="connsiteY0" fmla="*/ 0 h 4760"/>
                    <a:gd name="connsiteX1" fmla="*/ 164915 w 164915"/>
                    <a:gd name="connsiteY1" fmla="*/ 0 h 476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64915" h="4760">
                      <a:moveTo>
                        <a:pt x="0" y="0"/>
                      </a:moveTo>
                      <a:lnTo>
                        <a:pt x="164915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981" name="Forma livre: Forma 1980">
                  <a:extLst>
                    <a:ext uri="{FF2B5EF4-FFF2-40B4-BE49-F238E27FC236}">
                      <a16:creationId xmlns:a16="http://schemas.microsoft.com/office/drawing/2014/main" id="{9AD2FA07-1D16-ED7D-7168-C62E360A2E93}"/>
                    </a:ext>
                  </a:extLst>
                </p:cNvPr>
                <p:cNvSpPr/>
                <p:nvPr/>
              </p:nvSpPr>
              <p:spPr>
                <a:xfrm>
                  <a:off x="7086902" y="4422531"/>
                  <a:ext cx="22423" cy="4760"/>
                </a:xfrm>
                <a:custGeom>
                  <a:avLst/>
                  <a:gdLst>
                    <a:gd name="connsiteX0" fmla="*/ 0 w 22423"/>
                    <a:gd name="connsiteY0" fmla="*/ 0 h 4760"/>
                    <a:gd name="connsiteX1" fmla="*/ 22424 w 22423"/>
                    <a:gd name="connsiteY1" fmla="*/ 0 h 476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2423" h="4760">
                      <a:moveTo>
                        <a:pt x="0" y="0"/>
                      </a:moveTo>
                      <a:lnTo>
                        <a:pt x="22424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1982" name="Forma livre: Forma 1981">
                <a:extLst>
                  <a:ext uri="{FF2B5EF4-FFF2-40B4-BE49-F238E27FC236}">
                    <a16:creationId xmlns:a16="http://schemas.microsoft.com/office/drawing/2014/main" id="{B3C9DF89-8551-8806-391D-60E22D96DF21}"/>
                  </a:ext>
                </a:extLst>
              </p:cNvPr>
              <p:cNvSpPr/>
              <p:nvPr/>
            </p:nvSpPr>
            <p:spPr>
              <a:xfrm>
                <a:off x="7015632" y="4393966"/>
                <a:ext cx="164915" cy="4760"/>
              </a:xfrm>
              <a:custGeom>
                <a:avLst/>
                <a:gdLst>
                  <a:gd name="connsiteX0" fmla="*/ 0 w 164915"/>
                  <a:gd name="connsiteY0" fmla="*/ 0 h 4760"/>
                  <a:gd name="connsiteX1" fmla="*/ 164915 w 164915"/>
                  <a:gd name="connsiteY1" fmla="*/ 0 h 47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64915" h="4760">
                    <a:moveTo>
                      <a:pt x="0" y="0"/>
                    </a:moveTo>
                    <a:lnTo>
                      <a:pt x="164915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983" name="Forma livre: Forma 1982">
              <a:extLst>
                <a:ext uri="{FF2B5EF4-FFF2-40B4-BE49-F238E27FC236}">
                  <a16:creationId xmlns:a16="http://schemas.microsoft.com/office/drawing/2014/main" id="{7F59F64D-E77E-50FC-4E8B-418441021241}"/>
                </a:ext>
              </a:extLst>
            </p:cNvPr>
            <p:cNvSpPr/>
            <p:nvPr/>
          </p:nvSpPr>
          <p:spPr>
            <a:xfrm>
              <a:off x="7048577" y="4240334"/>
              <a:ext cx="24946" cy="4760"/>
            </a:xfrm>
            <a:custGeom>
              <a:avLst/>
              <a:gdLst>
                <a:gd name="connsiteX0" fmla="*/ 24947 w 24946"/>
                <a:gd name="connsiteY0" fmla="*/ 0 h 4760"/>
                <a:gd name="connsiteX1" fmla="*/ 0 w 24946"/>
                <a:gd name="connsiteY1" fmla="*/ 0 h 47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4946" h="4760">
                  <a:moveTo>
                    <a:pt x="24947" y="0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84" name="Forma livre: Forma 1983">
              <a:extLst>
                <a:ext uri="{FF2B5EF4-FFF2-40B4-BE49-F238E27FC236}">
                  <a16:creationId xmlns:a16="http://schemas.microsoft.com/office/drawing/2014/main" id="{D28B89A0-A9B4-9420-5564-A7293170C579}"/>
                </a:ext>
              </a:extLst>
            </p:cNvPr>
            <p:cNvSpPr/>
            <p:nvPr/>
          </p:nvSpPr>
          <p:spPr>
            <a:xfrm>
              <a:off x="7088568" y="4338597"/>
              <a:ext cx="16234" cy="4760"/>
            </a:xfrm>
            <a:custGeom>
              <a:avLst/>
              <a:gdLst>
                <a:gd name="connsiteX0" fmla="*/ 16234 w 16234"/>
                <a:gd name="connsiteY0" fmla="*/ 0 h 4760"/>
                <a:gd name="connsiteX1" fmla="*/ 0 w 16234"/>
                <a:gd name="connsiteY1" fmla="*/ 0 h 47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6234" h="4760">
                  <a:moveTo>
                    <a:pt x="16234" y="0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85" name="Forma livre: Forma 1984">
              <a:extLst>
                <a:ext uri="{FF2B5EF4-FFF2-40B4-BE49-F238E27FC236}">
                  <a16:creationId xmlns:a16="http://schemas.microsoft.com/office/drawing/2014/main" id="{7035D397-DFF0-72BA-97E5-9E6E3A8F2DE1}"/>
                </a:ext>
              </a:extLst>
            </p:cNvPr>
            <p:cNvSpPr/>
            <p:nvPr/>
          </p:nvSpPr>
          <p:spPr>
            <a:xfrm>
              <a:off x="7118323" y="4242047"/>
              <a:ext cx="4760" cy="58701"/>
            </a:xfrm>
            <a:custGeom>
              <a:avLst/>
              <a:gdLst>
                <a:gd name="connsiteX0" fmla="*/ 0 w 4760"/>
                <a:gd name="connsiteY0" fmla="*/ 0 h 58701"/>
                <a:gd name="connsiteX1" fmla="*/ 0 w 4760"/>
                <a:gd name="connsiteY1" fmla="*/ 58701 h 587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760" h="58701">
                  <a:moveTo>
                    <a:pt x="0" y="0"/>
                  </a:moveTo>
                  <a:lnTo>
                    <a:pt x="0" y="58701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986" name="Gráfico 17">
            <a:extLst>
              <a:ext uri="{FF2B5EF4-FFF2-40B4-BE49-F238E27FC236}">
                <a16:creationId xmlns:a16="http://schemas.microsoft.com/office/drawing/2014/main" id="{ADF69B11-9173-9C07-5824-7813AA4FFDEB}"/>
              </a:ext>
            </a:extLst>
          </p:cNvPr>
          <p:cNvGrpSpPr/>
          <p:nvPr/>
        </p:nvGrpSpPr>
        <p:grpSpPr>
          <a:xfrm>
            <a:off x="7635541" y="5779417"/>
            <a:ext cx="276033" cy="262131"/>
            <a:chOff x="7635541" y="5779417"/>
            <a:chExt cx="276033" cy="262131"/>
          </a:xfrm>
          <a:noFill/>
        </p:grpSpPr>
        <p:sp>
          <p:nvSpPr>
            <p:cNvPr id="1987" name="Forma livre: Forma 1986">
              <a:extLst>
                <a:ext uri="{FF2B5EF4-FFF2-40B4-BE49-F238E27FC236}">
                  <a16:creationId xmlns:a16="http://schemas.microsoft.com/office/drawing/2014/main" id="{4F124809-BA16-F572-53D6-F9CC7B1840AF}"/>
                </a:ext>
              </a:extLst>
            </p:cNvPr>
            <p:cNvSpPr/>
            <p:nvPr/>
          </p:nvSpPr>
          <p:spPr>
            <a:xfrm>
              <a:off x="7635541" y="5779417"/>
              <a:ext cx="276033" cy="243659"/>
            </a:xfrm>
            <a:custGeom>
              <a:avLst/>
              <a:gdLst>
                <a:gd name="connsiteX0" fmla="*/ 105786 w 276033"/>
                <a:gd name="connsiteY0" fmla="*/ 192624 h 243659"/>
                <a:gd name="connsiteX1" fmla="*/ 75126 w 276033"/>
                <a:gd name="connsiteY1" fmla="*/ 192624 h 243659"/>
                <a:gd name="connsiteX2" fmla="*/ 36801 w 276033"/>
                <a:gd name="connsiteY2" fmla="*/ 243660 h 243659"/>
                <a:gd name="connsiteX3" fmla="*/ 36801 w 276033"/>
                <a:gd name="connsiteY3" fmla="*/ 192671 h 243659"/>
                <a:gd name="connsiteX4" fmla="*/ 14806 w 276033"/>
                <a:gd name="connsiteY4" fmla="*/ 192671 h 243659"/>
                <a:gd name="connsiteX5" fmla="*/ 0 w 276033"/>
                <a:gd name="connsiteY5" fmla="*/ 177865 h 243659"/>
                <a:gd name="connsiteX6" fmla="*/ 0 w 276033"/>
                <a:gd name="connsiteY6" fmla="*/ 14806 h 243659"/>
                <a:gd name="connsiteX7" fmla="*/ 14806 w 276033"/>
                <a:gd name="connsiteY7" fmla="*/ 0 h 243659"/>
                <a:gd name="connsiteX8" fmla="*/ 261084 w 276033"/>
                <a:gd name="connsiteY8" fmla="*/ 0 h 243659"/>
                <a:gd name="connsiteX9" fmla="*/ 276033 w 276033"/>
                <a:gd name="connsiteY9" fmla="*/ 14806 h 243659"/>
                <a:gd name="connsiteX10" fmla="*/ 276033 w 276033"/>
                <a:gd name="connsiteY10" fmla="*/ 177722 h 243659"/>
                <a:gd name="connsiteX11" fmla="*/ 261418 w 276033"/>
                <a:gd name="connsiteY11" fmla="*/ 192624 h 243659"/>
                <a:gd name="connsiteX12" fmla="*/ 225140 w 276033"/>
                <a:gd name="connsiteY12" fmla="*/ 192624 h 2436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76033" h="243659">
                  <a:moveTo>
                    <a:pt x="105786" y="192624"/>
                  </a:moveTo>
                  <a:lnTo>
                    <a:pt x="75126" y="192624"/>
                  </a:lnTo>
                  <a:lnTo>
                    <a:pt x="36801" y="243660"/>
                  </a:lnTo>
                  <a:lnTo>
                    <a:pt x="36801" y="192671"/>
                  </a:lnTo>
                  <a:lnTo>
                    <a:pt x="14806" y="192671"/>
                  </a:lnTo>
                  <a:cubicBezTo>
                    <a:pt x="6665" y="192671"/>
                    <a:pt x="0" y="186006"/>
                    <a:pt x="0" y="177865"/>
                  </a:cubicBezTo>
                  <a:lnTo>
                    <a:pt x="0" y="14806"/>
                  </a:lnTo>
                  <a:cubicBezTo>
                    <a:pt x="0" y="6665"/>
                    <a:pt x="6665" y="0"/>
                    <a:pt x="14806" y="0"/>
                  </a:cubicBezTo>
                  <a:lnTo>
                    <a:pt x="261084" y="0"/>
                  </a:lnTo>
                  <a:cubicBezTo>
                    <a:pt x="269225" y="0"/>
                    <a:pt x="276033" y="6665"/>
                    <a:pt x="276033" y="14806"/>
                  </a:cubicBezTo>
                  <a:lnTo>
                    <a:pt x="276033" y="177722"/>
                  </a:lnTo>
                  <a:cubicBezTo>
                    <a:pt x="276033" y="185863"/>
                    <a:pt x="269559" y="192624"/>
                    <a:pt x="261418" y="192624"/>
                  </a:cubicBezTo>
                  <a:lnTo>
                    <a:pt x="225140" y="192624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988" name="Gráfico 17">
              <a:extLst>
                <a:ext uri="{FF2B5EF4-FFF2-40B4-BE49-F238E27FC236}">
                  <a16:creationId xmlns:a16="http://schemas.microsoft.com/office/drawing/2014/main" id="{1BA2DD5C-F0FF-34A0-571C-EC93C74A1788}"/>
                </a:ext>
              </a:extLst>
            </p:cNvPr>
            <p:cNvGrpSpPr/>
            <p:nvPr/>
          </p:nvGrpSpPr>
          <p:grpSpPr>
            <a:xfrm>
              <a:off x="7690005" y="5823360"/>
              <a:ext cx="167105" cy="102215"/>
              <a:chOff x="7690005" y="5823360"/>
              <a:chExt cx="167105" cy="102215"/>
            </a:xfrm>
          </p:grpSpPr>
          <p:sp>
            <p:nvSpPr>
              <p:cNvPr id="1989" name="Forma livre: Forma 1988">
                <a:extLst>
                  <a:ext uri="{FF2B5EF4-FFF2-40B4-BE49-F238E27FC236}">
                    <a16:creationId xmlns:a16="http://schemas.microsoft.com/office/drawing/2014/main" id="{C8AEF79D-6AEE-AE67-23C1-45A82A9E7FFD}"/>
                  </a:ext>
                </a:extLst>
              </p:cNvPr>
              <p:cNvSpPr/>
              <p:nvPr/>
            </p:nvSpPr>
            <p:spPr>
              <a:xfrm>
                <a:off x="7690005" y="5823360"/>
                <a:ext cx="167105" cy="4760"/>
              </a:xfrm>
              <a:custGeom>
                <a:avLst/>
                <a:gdLst>
                  <a:gd name="connsiteX0" fmla="*/ 167105 w 167105"/>
                  <a:gd name="connsiteY0" fmla="*/ 0 h 4760"/>
                  <a:gd name="connsiteX1" fmla="*/ 0 w 167105"/>
                  <a:gd name="connsiteY1" fmla="*/ 0 h 47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67105" h="4760">
                    <a:moveTo>
                      <a:pt x="167105" y="0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990" name="Forma livre: Forma 1989">
                <a:extLst>
                  <a:ext uri="{FF2B5EF4-FFF2-40B4-BE49-F238E27FC236}">
                    <a16:creationId xmlns:a16="http://schemas.microsoft.com/office/drawing/2014/main" id="{DD27D49F-7B8A-CDA7-51F1-6556FE85AFA0}"/>
                  </a:ext>
                </a:extLst>
              </p:cNvPr>
              <p:cNvSpPr/>
              <p:nvPr/>
            </p:nvSpPr>
            <p:spPr>
              <a:xfrm>
                <a:off x="7690005" y="5891487"/>
                <a:ext cx="104976" cy="4760"/>
              </a:xfrm>
              <a:custGeom>
                <a:avLst/>
                <a:gdLst>
                  <a:gd name="connsiteX0" fmla="*/ 104976 w 104976"/>
                  <a:gd name="connsiteY0" fmla="*/ 0 h 4760"/>
                  <a:gd name="connsiteX1" fmla="*/ 0 w 104976"/>
                  <a:gd name="connsiteY1" fmla="*/ 0 h 47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04976" h="4760">
                    <a:moveTo>
                      <a:pt x="104976" y="0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991" name="Forma livre: Forma 1990">
                <a:extLst>
                  <a:ext uri="{FF2B5EF4-FFF2-40B4-BE49-F238E27FC236}">
                    <a16:creationId xmlns:a16="http://schemas.microsoft.com/office/drawing/2014/main" id="{DB63B79F-3D0A-8392-E2A7-F5159C2F895E}"/>
                  </a:ext>
                </a:extLst>
              </p:cNvPr>
              <p:cNvSpPr/>
              <p:nvPr/>
            </p:nvSpPr>
            <p:spPr>
              <a:xfrm>
                <a:off x="7690005" y="5857400"/>
                <a:ext cx="163725" cy="4760"/>
              </a:xfrm>
              <a:custGeom>
                <a:avLst/>
                <a:gdLst>
                  <a:gd name="connsiteX0" fmla="*/ 163725 w 163725"/>
                  <a:gd name="connsiteY0" fmla="*/ 0 h 4760"/>
                  <a:gd name="connsiteX1" fmla="*/ 0 w 163725"/>
                  <a:gd name="connsiteY1" fmla="*/ 0 h 47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63725" h="4760">
                    <a:moveTo>
                      <a:pt x="163725" y="0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992" name="Forma livre: Forma 1991">
                <a:extLst>
                  <a:ext uri="{FF2B5EF4-FFF2-40B4-BE49-F238E27FC236}">
                    <a16:creationId xmlns:a16="http://schemas.microsoft.com/office/drawing/2014/main" id="{EEF4B944-AF2A-B68E-37D6-C31BB7916E76}"/>
                  </a:ext>
                </a:extLst>
              </p:cNvPr>
              <p:cNvSpPr/>
              <p:nvPr/>
            </p:nvSpPr>
            <p:spPr>
              <a:xfrm>
                <a:off x="7690005" y="5925575"/>
                <a:ext cx="80648" cy="4760"/>
              </a:xfrm>
              <a:custGeom>
                <a:avLst/>
                <a:gdLst>
                  <a:gd name="connsiteX0" fmla="*/ 80649 w 80648"/>
                  <a:gd name="connsiteY0" fmla="*/ 0 h 4760"/>
                  <a:gd name="connsiteX1" fmla="*/ 0 w 80648"/>
                  <a:gd name="connsiteY1" fmla="*/ 0 h 47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80648" h="4760">
                    <a:moveTo>
                      <a:pt x="80649" y="0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993" name="Gráfico 17">
              <a:extLst>
                <a:ext uri="{FF2B5EF4-FFF2-40B4-BE49-F238E27FC236}">
                  <a16:creationId xmlns:a16="http://schemas.microsoft.com/office/drawing/2014/main" id="{D5CB9216-F825-9B78-90DC-69CF3A737EB9}"/>
                </a:ext>
              </a:extLst>
            </p:cNvPr>
            <p:cNvGrpSpPr/>
            <p:nvPr/>
          </p:nvGrpSpPr>
          <p:grpSpPr>
            <a:xfrm>
              <a:off x="7748420" y="5883404"/>
              <a:ext cx="127163" cy="158145"/>
              <a:chOff x="7748420" y="5883404"/>
              <a:chExt cx="127163" cy="158145"/>
            </a:xfrm>
            <a:noFill/>
          </p:grpSpPr>
          <p:sp>
            <p:nvSpPr>
              <p:cNvPr id="1994" name="Forma livre: Forma 1993">
                <a:extLst>
                  <a:ext uri="{FF2B5EF4-FFF2-40B4-BE49-F238E27FC236}">
                    <a16:creationId xmlns:a16="http://schemas.microsoft.com/office/drawing/2014/main" id="{85BD2D5A-5535-6E42-7827-DC23A6B4ED45}"/>
                  </a:ext>
                </a:extLst>
              </p:cNvPr>
              <p:cNvSpPr/>
              <p:nvPr/>
            </p:nvSpPr>
            <p:spPr>
              <a:xfrm>
                <a:off x="7748420" y="5883404"/>
                <a:ext cx="127163" cy="158145"/>
              </a:xfrm>
              <a:custGeom>
                <a:avLst/>
                <a:gdLst>
                  <a:gd name="connsiteX0" fmla="*/ 55797 w 127163"/>
                  <a:gd name="connsiteY0" fmla="*/ 128533 h 158145"/>
                  <a:gd name="connsiteX1" fmla="*/ 0 w 127163"/>
                  <a:gd name="connsiteY1" fmla="*/ 158145 h 158145"/>
                  <a:gd name="connsiteX2" fmla="*/ 14140 w 127163"/>
                  <a:gd name="connsiteY2" fmla="*/ 94683 h 158145"/>
                  <a:gd name="connsiteX3" fmla="*/ 82553 w 127163"/>
                  <a:gd name="connsiteY3" fmla="*/ 3656 h 158145"/>
                  <a:gd name="connsiteX4" fmla="*/ 102025 w 127163"/>
                  <a:gd name="connsiteY4" fmla="*/ 3989 h 158145"/>
                  <a:gd name="connsiteX5" fmla="*/ 119688 w 127163"/>
                  <a:gd name="connsiteY5" fmla="*/ 17272 h 158145"/>
                  <a:gd name="connsiteX6" fmla="*/ 125400 w 127163"/>
                  <a:gd name="connsiteY6" fmla="*/ 35887 h 158145"/>
                  <a:gd name="connsiteX7" fmla="*/ 55750 w 127163"/>
                  <a:gd name="connsiteY7" fmla="*/ 128533 h 1581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27163" h="158145">
                    <a:moveTo>
                      <a:pt x="55797" y="128533"/>
                    </a:moveTo>
                    <a:lnTo>
                      <a:pt x="0" y="158145"/>
                    </a:lnTo>
                    <a:lnTo>
                      <a:pt x="14140" y="94683"/>
                    </a:lnTo>
                    <a:lnTo>
                      <a:pt x="82553" y="3656"/>
                    </a:lnTo>
                    <a:cubicBezTo>
                      <a:pt x="86314" y="-1343"/>
                      <a:pt x="95074" y="-1200"/>
                      <a:pt x="102025" y="3989"/>
                    </a:cubicBezTo>
                    <a:lnTo>
                      <a:pt x="119688" y="17272"/>
                    </a:lnTo>
                    <a:cubicBezTo>
                      <a:pt x="126638" y="22461"/>
                      <a:pt x="129209" y="30888"/>
                      <a:pt x="125400" y="35887"/>
                    </a:cubicBezTo>
                    <a:lnTo>
                      <a:pt x="55750" y="128533"/>
                    </a:ln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995" name="Forma livre: Forma 1994">
                <a:extLst>
                  <a:ext uri="{FF2B5EF4-FFF2-40B4-BE49-F238E27FC236}">
                    <a16:creationId xmlns:a16="http://schemas.microsoft.com/office/drawing/2014/main" id="{D74443E0-5DC4-7DE8-1D71-D6EE8966C5ED}"/>
                  </a:ext>
                </a:extLst>
              </p:cNvPr>
              <p:cNvSpPr/>
              <p:nvPr/>
            </p:nvSpPr>
            <p:spPr>
              <a:xfrm>
                <a:off x="7753276" y="6023458"/>
                <a:ext cx="11187" cy="8379"/>
              </a:xfrm>
              <a:custGeom>
                <a:avLst/>
                <a:gdLst>
                  <a:gd name="connsiteX0" fmla="*/ 11188 w 11187"/>
                  <a:gd name="connsiteY0" fmla="*/ 8379 h 8379"/>
                  <a:gd name="connsiteX1" fmla="*/ 0 w 11187"/>
                  <a:gd name="connsiteY1" fmla="*/ 0 h 83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187" h="8379">
                    <a:moveTo>
                      <a:pt x="11188" y="8379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996" name="Forma livre: Forma 1995">
                <a:extLst>
                  <a:ext uri="{FF2B5EF4-FFF2-40B4-BE49-F238E27FC236}">
                    <a16:creationId xmlns:a16="http://schemas.microsoft.com/office/drawing/2014/main" id="{C234E549-70C8-9ADD-005D-65A14B4A056E}"/>
                  </a:ext>
                </a:extLst>
              </p:cNvPr>
              <p:cNvSpPr/>
              <p:nvPr/>
            </p:nvSpPr>
            <p:spPr>
              <a:xfrm>
                <a:off x="7765512" y="5977087"/>
                <a:ext cx="40086" cy="30136"/>
              </a:xfrm>
              <a:custGeom>
                <a:avLst/>
                <a:gdLst>
                  <a:gd name="connsiteX0" fmla="*/ 40086 w 40086"/>
                  <a:gd name="connsiteY0" fmla="*/ 30136 h 30136"/>
                  <a:gd name="connsiteX1" fmla="*/ 0 w 40086"/>
                  <a:gd name="connsiteY1" fmla="*/ 0 h 301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0086" h="30136">
                    <a:moveTo>
                      <a:pt x="40086" y="30136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997" name="Forma livre: Forma 1996">
                <a:extLst>
                  <a:ext uri="{FF2B5EF4-FFF2-40B4-BE49-F238E27FC236}">
                    <a16:creationId xmlns:a16="http://schemas.microsoft.com/office/drawing/2014/main" id="{BD580A5E-2AD0-41A3-FC86-8941C4D47050}"/>
                  </a:ext>
                </a:extLst>
              </p:cNvPr>
              <p:cNvSpPr/>
              <p:nvPr/>
            </p:nvSpPr>
            <p:spPr>
              <a:xfrm>
                <a:off x="7817500" y="5907960"/>
                <a:ext cx="40086" cy="30088"/>
              </a:xfrm>
              <a:custGeom>
                <a:avLst/>
                <a:gdLst>
                  <a:gd name="connsiteX0" fmla="*/ 40086 w 40086"/>
                  <a:gd name="connsiteY0" fmla="*/ 30088 h 30088"/>
                  <a:gd name="connsiteX1" fmla="*/ 0 w 40086"/>
                  <a:gd name="connsiteY1" fmla="*/ 0 h 300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0086" h="30088">
                    <a:moveTo>
                      <a:pt x="40086" y="30088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998" name="Forma livre: Forma 1997">
                <a:extLst>
                  <a:ext uri="{FF2B5EF4-FFF2-40B4-BE49-F238E27FC236}">
                    <a16:creationId xmlns:a16="http://schemas.microsoft.com/office/drawing/2014/main" id="{900F35D1-E3D7-57D5-0437-5C0796719627}"/>
                  </a:ext>
                </a:extLst>
              </p:cNvPr>
              <p:cNvSpPr/>
              <p:nvPr/>
            </p:nvSpPr>
            <p:spPr>
              <a:xfrm>
                <a:off x="7786412" y="5941095"/>
                <a:ext cx="37515" cy="49941"/>
              </a:xfrm>
              <a:custGeom>
                <a:avLst/>
                <a:gdLst>
                  <a:gd name="connsiteX0" fmla="*/ 0 w 37515"/>
                  <a:gd name="connsiteY0" fmla="*/ 49941 h 49941"/>
                  <a:gd name="connsiteX1" fmla="*/ 37515 w 37515"/>
                  <a:gd name="connsiteY1" fmla="*/ 0 h 499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7515" h="49941">
                    <a:moveTo>
                      <a:pt x="0" y="49941"/>
                    </a:moveTo>
                    <a:lnTo>
                      <a:pt x="37515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999" name="Gráfico 17">
            <a:extLst>
              <a:ext uri="{FF2B5EF4-FFF2-40B4-BE49-F238E27FC236}">
                <a16:creationId xmlns:a16="http://schemas.microsoft.com/office/drawing/2014/main" id="{28335C7D-07F0-5135-BEAA-CFD01A783A94}"/>
              </a:ext>
            </a:extLst>
          </p:cNvPr>
          <p:cNvGrpSpPr/>
          <p:nvPr/>
        </p:nvGrpSpPr>
        <p:grpSpPr>
          <a:xfrm>
            <a:off x="6397056" y="5781179"/>
            <a:ext cx="272938" cy="258608"/>
            <a:chOff x="6397056" y="5781179"/>
            <a:chExt cx="272938" cy="258608"/>
          </a:xfrm>
          <a:noFill/>
        </p:grpSpPr>
        <p:sp>
          <p:nvSpPr>
            <p:cNvPr id="2000" name="Forma livre: Forma 1999">
              <a:extLst>
                <a:ext uri="{FF2B5EF4-FFF2-40B4-BE49-F238E27FC236}">
                  <a16:creationId xmlns:a16="http://schemas.microsoft.com/office/drawing/2014/main" id="{9852CABA-3290-917F-B5CB-060AF9F07123}"/>
                </a:ext>
              </a:extLst>
            </p:cNvPr>
            <p:cNvSpPr/>
            <p:nvPr/>
          </p:nvSpPr>
          <p:spPr>
            <a:xfrm>
              <a:off x="6397056" y="5781179"/>
              <a:ext cx="272938" cy="258608"/>
            </a:xfrm>
            <a:custGeom>
              <a:avLst/>
              <a:gdLst>
                <a:gd name="connsiteX0" fmla="*/ 24804 w 272938"/>
                <a:gd name="connsiteY0" fmla="*/ 180674 h 258608"/>
                <a:gd name="connsiteX1" fmla="*/ 0 w 272938"/>
                <a:gd name="connsiteY1" fmla="*/ 252086 h 258608"/>
                <a:gd name="connsiteX2" fmla="*/ 72984 w 272938"/>
                <a:gd name="connsiteY2" fmla="*/ 237661 h 258608"/>
                <a:gd name="connsiteX3" fmla="*/ 143587 w 272938"/>
                <a:gd name="connsiteY3" fmla="*/ 258609 h 258608"/>
                <a:gd name="connsiteX4" fmla="*/ 272939 w 272938"/>
                <a:gd name="connsiteY4" fmla="*/ 129304 h 258608"/>
                <a:gd name="connsiteX5" fmla="*/ 143587 w 272938"/>
                <a:gd name="connsiteY5" fmla="*/ 0 h 258608"/>
                <a:gd name="connsiteX6" fmla="*/ 14283 w 272938"/>
                <a:gd name="connsiteY6" fmla="*/ 129304 h 258608"/>
                <a:gd name="connsiteX7" fmla="*/ 15854 w 272938"/>
                <a:gd name="connsiteY7" fmla="*/ 149538 h 2586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72938" h="258608">
                  <a:moveTo>
                    <a:pt x="24804" y="180674"/>
                  </a:moveTo>
                  <a:lnTo>
                    <a:pt x="0" y="252086"/>
                  </a:lnTo>
                  <a:lnTo>
                    <a:pt x="72984" y="237661"/>
                  </a:lnTo>
                  <a:cubicBezTo>
                    <a:pt x="93265" y="250896"/>
                    <a:pt x="117545" y="258609"/>
                    <a:pt x="143587" y="258609"/>
                  </a:cubicBezTo>
                  <a:cubicBezTo>
                    <a:pt x="215047" y="258609"/>
                    <a:pt x="272939" y="200717"/>
                    <a:pt x="272939" y="129304"/>
                  </a:cubicBezTo>
                  <a:cubicBezTo>
                    <a:pt x="272939" y="57892"/>
                    <a:pt x="215047" y="0"/>
                    <a:pt x="143587" y="0"/>
                  </a:cubicBezTo>
                  <a:cubicBezTo>
                    <a:pt x="72127" y="0"/>
                    <a:pt x="14283" y="57892"/>
                    <a:pt x="14283" y="129304"/>
                  </a:cubicBezTo>
                  <a:cubicBezTo>
                    <a:pt x="14283" y="136160"/>
                    <a:pt x="14806" y="142920"/>
                    <a:pt x="15854" y="149538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2001" name="Gráfico 17">
              <a:extLst>
                <a:ext uri="{FF2B5EF4-FFF2-40B4-BE49-F238E27FC236}">
                  <a16:creationId xmlns:a16="http://schemas.microsoft.com/office/drawing/2014/main" id="{E37BB193-B8C5-EDB3-FFA6-27C8DB0A1F6F}"/>
                </a:ext>
              </a:extLst>
            </p:cNvPr>
            <p:cNvGrpSpPr/>
            <p:nvPr/>
          </p:nvGrpSpPr>
          <p:grpSpPr>
            <a:xfrm>
              <a:off x="6468802" y="5874348"/>
              <a:ext cx="139825" cy="86076"/>
              <a:chOff x="6468802" y="5874348"/>
              <a:chExt cx="139825" cy="86076"/>
            </a:xfrm>
            <a:noFill/>
          </p:grpSpPr>
          <p:sp>
            <p:nvSpPr>
              <p:cNvPr id="2002" name="Forma livre: Forma 2001">
                <a:extLst>
                  <a:ext uri="{FF2B5EF4-FFF2-40B4-BE49-F238E27FC236}">
                    <a16:creationId xmlns:a16="http://schemas.microsoft.com/office/drawing/2014/main" id="{F4220151-2491-A451-1188-800992BB1282}"/>
                  </a:ext>
                </a:extLst>
              </p:cNvPr>
              <p:cNvSpPr/>
              <p:nvPr/>
            </p:nvSpPr>
            <p:spPr>
              <a:xfrm>
                <a:off x="6468802" y="5874348"/>
                <a:ext cx="57415" cy="86076"/>
              </a:xfrm>
              <a:custGeom>
                <a:avLst/>
                <a:gdLst>
                  <a:gd name="connsiteX0" fmla="*/ 25756 w 57415"/>
                  <a:gd name="connsiteY0" fmla="*/ 86076 h 86076"/>
                  <a:gd name="connsiteX1" fmla="*/ 57416 w 57415"/>
                  <a:gd name="connsiteY1" fmla="*/ 39563 h 86076"/>
                  <a:gd name="connsiteX2" fmla="*/ 57416 w 57415"/>
                  <a:gd name="connsiteY2" fmla="*/ 0 h 86076"/>
                  <a:gd name="connsiteX3" fmla="*/ 0 w 57415"/>
                  <a:gd name="connsiteY3" fmla="*/ 0 h 86076"/>
                  <a:gd name="connsiteX4" fmla="*/ 0 w 57415"/>
                  <a:gd name="connsiteY4" fmla="*/ 40896 h 86076"/>
                  <a:gd name="connsiteX5" fmla="*/ 33421 w 57415"/>
                  <a:gd name="connsiteY5" fmla="*/ 40896 h 86076"/>
                  <a:gd name="connsiteX6" fmla="*/ 7522 w 57415"/>
                  <a:gd name="connsiteY6" fmla="*/ 70413 h 860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57415" h="86076">
                    <a:moveTo>
                      <a:pt x="25756" y="86076"/>
                    </a:moveTo>
                    <a:cubicBezTo>
                      <a:pt x="57416" y="63843"/>
                      <a:pt x="57416" y="45656"/>
                      <a:pt x="57416" y="39563"/>
                    </a:cubicBezTo>
                    <a:lnTo>
                      <a:pt x="57416" y="0"/>
                    </a:lnTo>
                    <a:lnTo>
                      <a:pt x="0" y="0"/>
                    </a:lnTo>
                    <a:lnTo>
                      <a:pt x="0" y="40896"/>
                    </a:lnTo>
                    <a:lnTo>
                      <a:pt x="33421" y="40896"/>
                    </a:lnTo>
                    <a:cubicBezTo>
                      <a:pt x="33421" y="40896"/>
                      <a:pt x="28565" y="58368"/>
                      <a:pt x="7522" y="70413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003" name="Forma livre: Forma 2002">
                <a:extLst>
                  <a:ext uri="{FF2B5EF4-FFF2-40B4-BE49-F238E27FC236}">
                    <a16:creationId xmlns:a16="http://schemas.microsoft.com/office/drawing/2014/main" id="{D1CC695D-A758-F951-D35E-1A3C5B32FC63}"/>
                  </a:ext>
                </a:extLst>
              </p:cNvPr>
              <p:cNvSpPr/>
              <p:nvPr/>
            </p:nvSpPr>
            <p:spPr>
              <a:xfrm>
                <a:off x="6551212" y="5874348"/>
                <a:ext cx="57415" cy="86076"/>
              </a:xfrm>
              <a:custGeom>
                <a:avLst/>
                <a:gdLst>
                  <a:gd name="connsiteX0" fmla="*/ 25756 w 57415"/>
                  <a:gd name="connsiteY0" fmla="*/ 86076 h 86076"/>
                  <a:gd name="connsiteX1" fmla="*/ 57416 w 57415"/>
                  <a:gd name="connsiteY1" fmla="*/ 39563 h 86076"/>
                  <a:gd name="connsiteX2" fmla="*/ 57416 w 57415"/>
                  <a:gd name="connsiteY2" fmla="*/ 0 h 86076"/>
                  <a:gd name="connsiteX3" fmla="*/ 0 w 57415"/>
                  <a:gd name="connsiteY3" fmla="*/ 0 h 86076"/>
                  <a:gd name="connsiteX4" fmla="*/ 0 w 57415"/>
                  <a:gd name="connsiteY4" fmla="*/ 40896 h 86076"/>
                  <a:gd name="connsiteX5" fmla="*/ 33421 w 57415"/>
                  <a:gd name="connsiteY5" fmla="*/ 40896 h 86076"/>
                  <a:gd name="connsiteX6" fmla="*/ 7522 w 57415"/>
                  <a:gd name="connsiteY6" fmla="*/ 70413 h 860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57415" h="86076">
                    <a:moveTo>
                      <a:pt x="25756" y="86076"/>
                    </a:moveTo>
                    <a:cubicBezTo>
                      <a:pt x="57416" y="63843"/>
                      <a:pt x="57416" y="45656"/>
                      <a:pt x="57416" y="39563"/>
                    </a:cubicBezTo>
                    <a:lnTo>
                      <a:pt x="57416" y="0"/>
                    </a:lnTo>
                    <a:lnTo>
                      <a:pt x="0" y="0"/>
                    </a:lnTo>
                    <a:lnTo>
                      <a:pt x="0" y="40896"/>
                    </a:lnTo>
                    <a:lnTo>
                      <a:pt x="33421" y="40896"/>
                    </a:lnTo>
                    <a:cubicBezTo>
                      <a:pt x="33421" y="40896"/>
                      <a:pt x="28565" y="58368"/>
                      <a:pt x="7522" y="70413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2004" name="Gráfico 17">
            <a:extLst>
              <a:ext uri="{FF2B5EF4-FFF2-40B4-BE49-F238E27FC236}">
                <a16:creationId xmlns:a16="http://schemas.microsoft.com/office/drawing/2014/main" id="{E3DEEFF9-3177-BDFC-0E43-75247C49BA7D}"/>
              </a:ext>
            </a:extLst>
          </p:cNvPr>
          <p:cNvGrpSpPr/>
          <p:nvPr/>
        </p:nvGrpSpPr>
        <p:grpSpPr>
          <a:xfrm>
            <a:off x="7005512" y="5783258"/>
            <a:ext cx="295976" cy="254529"/>
            <a:chOff x="7005512" y="5783258"/>
            <a:chExt cx="295976" cy="254529"/>
          </a:xfrm>
          <a:noFill/>
        </p:grpSpPr>
        <p:sp>
          <p:nvSpPr>
            <p:cNvPr id="2005" name="Forma livre: Forma 2004">
              <a:extLst>
                <a:ext uri="{FF2B5EF4-FFF2-40B4-BE49-F238E27FC236}">
                  <a16:creationId xmlns:a16="http://schemas.microsoft.com/office/drawing/2014/main" id="{3B0F7A1C-6780-BEB5-4166-B8878BBA9941}"/>
                </a:ext>
              </a:extLst>
            </p:cNvPr>
            <p:cNvSpPr/>
            <p:nvPr/>
          </p:nvSpPr>
          <p:spPr>
            <a:xfrm>
              <a:off x="7039280" y="5819884"/>
              <a:ext cx="25673" cy="68936"/>
            </a:xfrm>
            <a:custGeom>
              <a:avLst/>
              <a:gdLst>
                <a:gd name="connsiteX0" fmla="*/ 25674 w 25673"/>
                <a:gd name="connsiteY0" fmla="*/ 0 h 68936"/>
                <a:gd name="connsiteX1" fmla="*/ 11867 w 25673"/>
                <a:gd name="connsiteY1" fmla="*/ 8998 h 68936"/>
                <a:gd name="connsiteX2" fmla="*/ 12962 w 25673"/>
                <a:gd name="connsiteY2" fmla="*/ 68937 h 689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5673" h="68936">
                  <a:moveTo>
                    <a:pt x="25674" y="0"/>
                  </a:moveTo>
                  <a:cubicBezTo>
                    <a:pt x="20627" y="1952"/>
                    <a:pt x="15914" y="4951"/>
                    <a:pt x="11867" y="8998"/>
                  </a:cubicBezTo>
                  <a:cubicBezTo>
                    <a:pt x="-4367" y="25233"/>
                    <a:pt x="-3891" y="52131"/>
                    <a:pt x="12962" y="68937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06" name="Forma livre: Forma 2005">
              <a:extLst>
                <a:ext uri="{FF2B5EF4-FFF2-40B4-BE49-F238E27FC236}">
                  <a16:creationId xmlns:a16="http://schemas.microsoft.com/office/drawing/2014/main" id="{037EA5BD-8A8F-E26C-27A2-A8E9FD819829}"/>
                </a:ext>
              </a:extLst>
            </p:cNvPr>
            <p:cNvSpPr/>
            <p:nvPr/>
          </p:nvSpPr>
          <p:spPr>
            <a:xfrm>
              <a:off x="7005512" y="5783258"/>
              <a:ext cx="295976" cy="254529"/>
            </a:xfrm>
            <a:custGeom>
              <a:avLst/>
              <a:gdLst>
                <a:gd name="connsiteX0" fmla="*/ 273204 w 295976"/>
                <a:gd name="connsiteY0" fmla="*/ 129510 h 254529"/>
                <a:gd name="connsiteX1" fmla="*/ 274252 w 295976"/>
                <a:gd name="connsiteY1" fmla="*/ 21725 h 254529"/>
                <a:gd name="connsiteX2" fmla="*/ 166466 w 295976"/>
                <a:gd name="connsiteY2" fmla="*/ 22772 h 254529"/>
                <a:gd name="connsiteX3" fmla="*/ 147899 w 295976"/>
                <a:gd name="connsiteY3" fmla="*/ 41197 h 254529"/>
                <a:gd name="connsiteX4" fmla="*/ 129475 w 295976"/>
                <a:gd name="connsiteY4" fmla="*/ 22772 h 254529"/>
                <a:gd name="connsiteX5" fmla="*/ 21689 w 295976"/>
                <a:gd name="connsiteY5" fmla="*/ 21725 h 254529"/>
                <a:gd name="connsiteX6" fmla="*/ 22737 w 295976"/>
                <a:gd name="connsiteY6" fmla="*/ 129510 h 254529"/>
                <a:gd name="connsiteX7" fmla="*/ 147899 w 295976"/>
                <a:gd name="connsiteY7" fmla="*/ 254530 h 254529"/>
                <a:gd name="connsiteX8" fmla="*/ 273157 w 295976"/>
                <a:gd name="connsiteY8" fmla="*/ 129510 h 2545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95976" h="254529">
                  <a:moveTo>
                    <a:pt x="273204" y="129510"/>
                  </a:moveTo>
                  <a:cubicBezTo>
                    <a:pt x="303150" y="99565"/>
                    <a:pt x="303626" y="51052"/>
                    <a:pt x="274252" y="21725"/>
                  </a:cubicBezTo>
                  <a:cubicBezTo>
                    <a:pt x="244925" y="-7602"/>
                    <a:pt x="196412" y="-7126"/>
                    <a:pt x="166466" y="22772"/>
                  </a:cubicBezTo>
                  <a:lnTo>
                    <a:pt x="147899" y="41197"/>
                  </a:lnTo>
                  <a:lnTo>
                    <a:pt x="129475" y="22772"/>
                  </a:lnTo>
                  <a:cubicBezTo>
                    <a:pt x="99529" y="-7173"/>
                    <a:pt x="51016" y="-7649"/>
                    <a:pt x="21689" y="21725"/>
                  </a:cubicBezTo>
                  <a:cubicBezTo>
                    <a:pt x="-7637" y="51099"/>
                    <a:pt x="-7161" y="99612"/>
                    <a:pt x="22737" y="129510"/>
                  </a:cubicBezTo>
                  <a:lnTo>
                    <a:pt x="147899" y="254530"/>
                  </a:lnTo>
                  <a:lnTo>
                    <a:pt x="273157" y="129510"/>
                  </a:ln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2008" name="Gráfico 18">
            <a:extLst>
              <a:ext uri="{FF2B5EF4-FFF2-40B4-BE49-F238E27FC236}">
                <a16:creationId xmlns:a16="http://schemas.microsoft.com/office/drawing/2014/main" id="{1BAB6B30-33E4-67E3-3906-FAF63FC4779B}"/>
              </a:ext>
            </a:extLst>
          </p:cNvPr>
          <p:cNvGrpSpPr/>
          <p:nvPr/>
        </p:nvGrpSpPr>
        <p:grpSpPr>
          <a:xfrm>
            <a:off x="9419798" y="4179013"/>
            <a:ext cx="288532" cy="278285"/>
            <a:chOff x="9419798" y="4179013"/>
            <a:chExt cx="288532" cy="278285"/>
          </a:xfrm>
        </p:grpSpPr>
        <p:sp>
          <p:nvSpPr>
            <p:cNvPr id="2009" name="Forma livre: Forma 2008">
              <a:extLst>
                <a:ext uri="{FF2B5EF4-FFF2-40B4-BE49-F238E27FC236}">
                  <a16:creationId xmlns:a16="http://schemas.microsoft.com/office/drawing/2014/main" id="{A5F53B59-4D53-31FD-2771-CF090D61DF5D}"/>
                </a:ext>
              </a:extLst>
            </p:cNvPr>
            <p:cNvSpPr/>
            <p:nvPr/>
          </p:nvSpPr>
          <p:spPr>
            <a:xfrm>
              <a:off x="9445960" y="4179013"/>
              <a:ext cx="144253" cy="108261"/>
            </a:xfrm>
            <a:custGeom>
              <a:avLst/>
              <a:gdLst>
                <a:gd name="connsiteX0" fmla="*/ 0 w 144253"/>
                <a:gd name="connsiteY0" fmla="*/ 108262 h 108261"/>
                <a:gd name="connsiteX1" fmla="*/ 23138 w 144253"/>
                <a:gd name="connsiteY1" fmla="*/ 85552 h 108261"/>
                <a:gd name="connsiteX2" fmla="*/ 38515 w 144253"/>
                <a:gd name="connsiteY2" fmla="*/ 64271 h 108261"/>
                <a:gd name="connsiteX3" fmla="*/ 38515 w 144253"/>
                <a:gd name="connsiteY3" fmla="*/ 52893 h 108261"/>
                <a:gd name="connsiteX4" fmla="*/ 91361 w 144253"/>
                <a:gd name="connsiteY4" fmla="*/ 0 h 108261"/>
                <a:gd name="connsiteX5" fmla="*/ 144253 w 144253"/>
                <a:gd name="connsiteY5" fmla="*/ 52893 h 108261"/>
                <a:gd name="connsiteX6" fmla="*/ 144253 w 144253"/>
                <a:gd name="connsiteY6" fmla="*/ 68889 h 108261"/>
                <a:gd name="connsiteX7" fmla="*/ 137541 w 144253"/>
                <a:gd name="connsiteY7" fmla="*/ 101406 h 1082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44253" h="108261">
                  <a:moveTo>
                    <a:pt x="0" y="108262"/>
                  </a:moveTo>
                  <a:cubicBezTo>
                    <a:pt x="4237" y="89075"/>
                    <a:pt x="17996" y="87695"/>
                    <a:pt x="23138" y="85552"/>
                  </a:cubicBezTo>
                  <a:cubicBezTo>
                    <a:pt x="30850" y="82315"/>
                    <a:pt x="38515" y="76888"/>
                    <a:pt x="38515" y="64271"/>
                  </a:cubicBezTo>
                  <a:lnTo>
                    <a:pt x="38515" y="52893"/>
                  </a:lnTo>
                  <a:cubicBezTo>
                    <a:pt x="38515" y="23709"/>
                    <a:pt x="62129" y="0"/>
                    <a:pt x="91361" y="0"/>
                  </a:cubicBezTo>
                  <a:cubicBezTo>
                    <a:pt x="120592" y="0"/>
                    <a:pt x="144253" y="23661"/>
                    <a:pt x="144253" y="52893"/>
                  </a:cubicBezTo>
                  <a:lnTo>
                    <a:pt x="144253" y="68889"/>
                  </a:lnTo>
                  <a:cubicBezTo>
                    <a:pt x="144253" y="78506"/>
                    <a:pt x="142825" y="90456"/>
                    <a:pt x="137541" y="101406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10" name="Forma livre: Forma 2009">
              <a:extLst>
                <a:ext uri="{FF2B5EF4-FFF2-40B4-BE49-F238E27FC236}">
                  <a16:creationId xmlns:a16="http://schemas.microsoft.com/office/drawing/2014/main" id="{5766B4BD-78F2-D48A-F211-19489DCC6607}"/>
                </a:ext>
              </a:extLst>
            </p:cNvPr>
            <p:cNvSpPr/>
            <p:nvPr/>
          </p:nvSpPr>
          <p:spPr>
            <a:xfrm>
              <a:off x="9544891" y="4217338"/>
              <a:ext cx="7760" cy="7807"/>
            </a:xfrm>
            <a:custGeom>
              <a:avLst/>
              <a:gdLst>
                <a:gd name="connsiteX0" fmla="*/ 7760 w 7760"/>
                <a:gd name="connsiteY0" fmla="*/ 3904 h 7807"/>
                <a:gd name="connsiteX1" fmla="*/ 3904 w 7760"/>
                <a:gd name="connsiteY1" fmla="*/ 7808 h 7807"/>
                <a:gd name="connsiteX2" fmla="*/ 0 w 7760"/>
                <a:gd name="connsiteY2" fmla="*/ 3904 h 7807"/>
                <a:gd name="connsiteX3" fmla="*/ 3904 w 7760"/>
                <a:gd name="connsiteY3" fmla="*/ 0 h 7807"/>
                <a:gd name="connsiteX4" fmla="*/ 7760 w 7760"/>
                <a:gd name="connsiteY4" fmla="*/ 3904 h 7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760" h="7807">
                  <a:moveTo>
                    <a:pt x="7760" y="3904"/>
                  </a:moveTo>
                  <a:cubicBezTo>
                    <a:pt x="7760" y="6046"/>
                    <a:pt x="6046" y="7808"/>
                    <a:pt x="3904" y="7808"/>
                  </a:cubicBezTo>
                  <a:cubicBezTo>
                    <a:pt x="1761" y="7808"/>
                    <a:pt x="0" y="6094"/>
                    <a:pt x="0" y="3904"/>
                  </a:cubicBezTo>
                  <a:cubicBezTo>
                    <a:pt x="0" y="1714"/>
                    <a:pt x="1761" y="0"/>
                    <a:pt x="3904" y="0"/>
                  </a:cubicBezTo>
                  <a:cubicBezTo>
                    <a:pt x="6046" y="0"/>
                    <a:pt x="7760" y="1714"/>
                    <a:pt x="7760" y="3904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11" name="Forma livre: Forma 2010">
              <a:extLst>
                <a:ext uri="{FF2B5EF4-FFF2-40B4-BE49-F238E27FC236}">
                  <a16:creationId xmlns:a16="http://schemas.microsoft.com/office/drawing/2014/main" id="{FB040E10-734F-57EC-B8EB-4F66B62262D4}"/>
                </a:ext>
              </a:extLst>
            </p:cNvPr>
            <p:cNvSpPr/>
            <p:nvPr/>
          </p:nvSpPr>
          <p:spPr>
            <a:xfrm>
              <a:off x="9602687" y="4322648"/>
              <a:ext cx="105643" cy="128835"/>
            </a:xfrm>
            <a:custGeom>
              <a:avLst/>
              <a:gdLst>
                <a:gd name="connsiteX0" fmla="*/ 0 w 105643"/>
                <a:gd name="connsiteY0" fmla="*/ 114070 h 128835"/>
                <a:gd name="connsiteX1" fmla="*/ 33469 w 105643"/>
                <a:gd name="connsiteY1" fmla="*/ 128828 h 128835"/>
                <a:gd name="connsiteX2" fmla="*/ 105643 w 105643"/>
                <a:gd name="connsiteY2" fmla="*/ 34230 h 128835"/>
                <a:gd name="connsiteX3" fmla="*/ 85266 w 105643"/>
                <a:gd name="connsiteY3" fmla="*/ 12902 h 128835"/>
                <a:gd name="connsiteX4" fmla="*/ 64271 w 105643"/>
                <a:gd name="connsiteY4" fmla="*/ 26518 h 128835"/>
                <a:gd name="connsiteX5" fmla="*/ 48180 w 105643"/>
                <a:gd name="connsiteY5" fmla="*/ 0 h 128835"/>
                <a:gd name="connsiteX6" fmla="*/ 32040 w 105643"/>
                <a:gd name="connsiteY6" fmla="*/ 12902 h 1288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5643" h="128835">
                  <a:moveTo>
                    <a:pt x="0" y="114070"/>
                  </a:moveTo>
                  <a:cubicBezTo>
                    <a:pt x="10283" y="123449"/>
                    <a:pt x="21614" y="129066"/>
                    <a:pt x="33469" y="128828"/>
                  </a:cubicBezTo>
                  <a:cubicBezTo>
                    <a:pt x="66985" y="128162"/>
                    <a:pt x="94741" y="81125"/>
                    <a:pt x="105643" y="34230"/>
                  </a:cubicBezTo>
                  <a:lnTo>
                    <a:pt x="85266" y="12902"/>
                  </a:lnTo>
                  <a:lnTo>
                    <a:pt x="64271" y="26518"/>
                  </a:lnTo>
                  <a:lnTo>
                    <a:pt x="48180" y="0"/>
                  </a:lnTo>
                  <a:lnTo>
                    <a:pt x="32040" y="12902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2012" name="Gráfico 18">
              <a:extLst>
                <a:ext uri="{FF2B5EF4-FFF2-40B4-BE49-F238E27FC236}">
                  <a16:creationId xmlns:a16="http://schemas.microsoft.com/office/drawing/2014/main" id="{2D210039-3439-16B2-B643-8CDD4AEE7B30}"/>
                </a:ext>
              </a:extLst>
            </p:cNvPr>
            <p:cNvGrpSpPr/>
            <p:nvPr/>
          </p:nvGrpSpPr>
          <p:grpSpPr>
            <a:xfrm>
              <a:off x="9419798" y="4292083"/>
              <a:ext cx="192344" cy="165215"/>
              <a:chOff x="9419798" y="4292083"/>
              <a:chExt cx="192344" cy="165215"/>
            </a:xfrm>
          </p:grpSpPr>
          <p:sp>
            <p:nvSpPr>
              <p:cNvPr id="2013" name="Forma livre: Forma 2012">
                <a:extLst>
                  <a:ext uri="{FF2B5EF4-FFF2-40B4-BE49-F238E27FC236}">
                    <a16:creationId xmlns:a16="http://schemas.microsoft.com/office/drawing/2014/main" id="{F32A453E-918E-6BFE-0464-A44A7A5F8B11}"/>
                  </a:ext>
                </a:extLst>
              </p:cNvPr>
              <p:cNvSpPr/>
              <p:nvPr/>
            </p:nvSpPr>
            <p:spPr>
              <a:xfrm>
                <a:off x="9419798" y="4292083"/>
                <a:ext cx="192344" cy="165215"/>
              </a:xfrm>
              <a:custGeom>
                <a:avLst/>
                <a:gdLst>
                  <a:gd name="connsiteX0" fmla="*/ 185793 w 192344"/>
                  <a:gd name="connsiteY0" fmla="*/ 0 h 165215"/>
                  <a:gd name="connsiteX1" fmla="*/ 155943 w 192344"/>
                  <a:gd name="connsiteY1" fmla="*/ 37182 h 165215"/>
                  <a:gd name="connsiteX2" fmla="*/ 130187 w 192344"/>
                  <a:gd name="connsiteY2" fmla="*/ 12426 h 165215"/>
                  <a:gd name="connsiteX3" fmla="*/ 81388 w 192344"/>
                  <a:gd name="connsiteY3" fmla="*/ 52084 h 165215"/>
                  <a:gd name="connsiteX4" fmla="*/ 57346 w 192344"/>
                  <a:gd name="connsiteY4" fmla="*/ 16473 h 165215"/>
                  <a:gd name="connsiteX5" fmla="*/ 32590 w 192344"/>
                  <a:gd name="connsiteY5" fmla="*/ 34135 h 165215"/>
                  <a:gd name="connsiteX6" fmla="*/ 4072 w 192344"/>
                  <a:gd name="connsiteY6" fmla="*/ 7427 h 165215"/>
                  <a:gd name="connsiteX7" fmla="*/ 26 w 192344"/>
                  <a:gd name="connsiteY7" fmla="*/ 49894 h 165215"/>
                  <a:gd name="connsiteX8" fmla="*/ 98194 w 192344"/>
                  <a:gd name="connsiteY8" fmla="*/ 165201 h 165215"/>
                  <a:gd name="connsiteX9" fmla="*/ 192316 w 192344"/>
                  <a:gd name="connsiteY9" fmla="*/ 46275 h 165215"/>
                  <a:gd name="connsiteX10" fmla="*/ 185746 w 192344"/>
                  <a:gd name="connsiteY10" fmla="*/ 0 h 1652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192344" h="165215">
                    <a:moveTo>
                      <a:pt x="185793" y="0"/>
                    </a:moveTo>
                    <a:lnTo>
                      <a:pt x="155943" y="37182"/>
                    </a:lnTo>
                    <a:lnTo>
                      <a:pt x="130187" y="12426"/>
                    </a:lnTo>
                    <a:lnTo>
                      <a:pt x="81388" y="52084"/>
                    </a:lnTo>
                    <a:lnTo>
                      <a:pt x="57346" y="16473"/>
                    </a:lnTo>
                    <a:lnTo>
                      <a:pt x="32590" y="34135"/>
                    </a:lnTo>
                    <a:lnTo>
                      <a:pt x="4072" y="7427"/>
                    </a:lnTo>
                    <a:cubicBezTo>
                      <a:pt x="1216" y="22138"/>
                      <a:pt x="-213" y="36611"/>
                      <a:pt x="26" y="49894"/>
                    </a:cubicBezTo>
                    <a:cubicBezTo>
                      <a:pt x="1263" y="116736"/>
                      <a:pt x="45111" y="166201"/>
                      <a:pt x="98194" y="165201"/>
                    </a:cubicBezTo>
                    <a:cubicBezTo>
                      <a:pt x="151277" y="164201"/>
                      <a:pt x="193601" y="113118"/>
                      <a:pt x="192316" y="46275"/>
                    </a:cubicBezTo>
                    <a:cubicBezTo>
                      <a:pt x="192030" y="31802"/>
                      <a:pt x="189745" y="15949"/>
                      <a:pt x="185746" y="0"/>
                    </a:cubicBezTo>
                    <a:close/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014" name="Forma livre: Forma 2013">
                <a:extLst>
                  <a:ext uri="{FF2B5EF4-FFF2-40B4-BE49-F238E27FC236}">
                    <a16:creationId xmlns:a16="http://schemas.microsoft.com/office/drawing/2014/main" id="{E9D9462D-CE88-C13B-3783-C9A649CA81D8}"/>
                  </a:ext>
                </a:extLst>
              </p:cNvPr>
              <p:cNvSpPr/>
              <p:nvPr/>
            </p:nvSpPr>
            <p:spPr>
              <a:xfrm>
                <a:off x="9489713" y="4341739"/>
                <a:ext cx="16758" cy="47370"/>
              </a:xfrm>
              <a:custGeom>
                <a:avLst/>
                <a:gdLst>
                  <a:gd name="connsiteX0" fmla="*/ 12188 w 16758"/>
                  <a:gd name="connsiteY0" fmla="*/ 0 h 47370"/>
                  <a:gd name="connsiteX1" fmla="*/ 16758 w 16758"/>
                  <a:gd name="connsiteY1" fmla="*/ 34564 h 47370"/>
                  <a:gd name="connsiteX2" fmla="*/ 0 w 16758"/>
                  <a:gd name="connsiteY2" fmla="*/ 47370 h 473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6758" h="47370">
                    <a:moveTo>
                      <a:pt x="12188" y="0"/>
                    </a:moveTo>
                    <a:lnTo>
                      <a:pt x="16758" y="34564"/>
                    </a:lnTo>
                    <a:lnTo>
                      <a:pt x="0" y="47370"/>
                    </a:lnTo>
                  </a:path>
                </a:pathLst>
              </a:custGeom>
              <a:solidFill>
                <a:srgbClr val="FFFFFF"/>
              </a:solidFill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2015" name="Forma livre: Forma 2014">
              <a:extLst>
                <a:ext uri="{FF2B5EF4-FFF2-40B4-BE49-F238E27FC236}">
                  <a16:creationId xmlns:a16="http://schemas.microsoft.com/office/drawing/2014/main" id="{0E40BD9D-3A62-0B74-0E91-82BB04B8D426}"/>
                </a:ext>
              </a:extLst>
            </p:cNvPr>
            <p:cNvSpPr/>
            <p:nvPr/>
          </p:nvSpPr>
          <p:spPr>
            <a:xfrm>
              <a:off x="9590595" y="4207578"/>
              <a:ext cx="20566" cy="9236"/>
            </a:xfrm>
            <a:custGeom>
              <a:avLst/>
              <a:gdLst>
                <a:gd name="connsiteX0" fmla="*/ 0 w 20566"/>
                <a:gd name="connsiteY0" fmla="*/ 9236 h 9236"/>
                <a:gd name="connsiteX1" fmla="*/ 20567 w 20566"/>
                <a:gd name="connsiteY1" fmla="*/ 0 h 9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0566" h="9236">
                  <a:moveTo>
                    <a:pt x="0" y="9236"/>
                  </a:moveTo>
                  <a:lnTo>
                    <a:pt x="20567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16" name="Forma livre: Forma 2015">
              <a:extLst>
                <a:ext uri="{FF2B5EF4-FFF2-40B4-BE49-F238E27FC236}">
                  <a16:creationId xmlns:a16="http://schemas.microsoft.com/office/drawing/2014/main" id="{F4301A0F-99F0-0DB4-67BE-E2285DB39434}"/>
                </a:ext>
              </a:extLst>
            </p:cNvPr>
            <p:cNvSpPr/>
            <p:nvPr/>
          </p:nvSpPr>
          <p:spPr>
            <a:xfrm>
              <a:off x="9592166" y="4227145"/>
              <a:ext cx="20995" cy="3951"/>
            </a:xfrm>
            <a:custGeom>
              <a:avLst/>
              <a:gdLst>
                <a:gd name="connsiteX0" fmla="*/ 20995 w 20995"/>
                <a:gd name="connsiteY0" fmla="*/ 3952 h 3951"/>
                <a:gd name="connsiteX1" fmla="*/ 0 w 20995"/>
                <a:gd name="connsiteY1" fmla="*/ 0 h 39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0995" h="3951">
                  <a:moveTo>
                    <a:pt x="20995" y="3952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2017" name="Gráfico 18">
            <a:extLst>
              <a:ext uri="{FF2B5EF4-FFF2-40B4-BE49-F238E27FC236}">
                <a16:creationId xmlns:a16="http://schemas.microsoft.com/office/drawing/2014/main" id="{0B638978-C741-B5F0-96F4-949604ED1EB1}"/>
              </a:ext>
            </a:extLst>
          </p:cNvPr>
          <p:cNvGrpSpPr/>
          <p:nvPr/>
        </p:nvGrpSpPr>
        <p:grpSpPr>
          <a:xfrm>
            <a:off x="8786655" y="4154171"/>
            <a:ext cx="313087" cy="327916"/>
            <a:chOff x="8786655" y="4154171"/>
            <a:chExt cx="313087" cy="327916"/>
          </a:xfrm>
          <a:noFill/>
        </p:grpSpPr>
        <p:grpSp>
          <p:nvGrpSpPr>
            <p:cNvPr id="2018" name="Gráfico 18">
              <a:extLst>
                <a:ext uri="{FF2B5EF4-FFF2-40B4-BE49-F238E27FC236}">
                  <a16:creationId xmlns:a16="http://schemas.microsoft.com/office/drawing/2014/main" id="{513A3F65-6CD9-069C-3E91-A22C7C145AE5}"/>
                </a:ext>
              </a:extLst>
            </p:cNvPr>
            <p:cNvGrpSpPr/>
            <p:nvPr/>
          </p:nvGrpSpPr>
          <p:grpSpPr>
            <a:xfrm>
              <a:off x="8786655" y="4154171"/>
              <a:ext cx="313087" cy="153717"/>
              <a:chOff x="8786655" y="4154171"/>
              <a:chExt cx="313087" cy="153717"/>
            </a:xfrm>
            <a:noFill/>
          </p:grpSpPr>
          <p:sp>
            <p:nvSpPr>
              <p:cNvPr id="2019" name="Forma livre: Forma 2018">
                <a:extLst>
                  <a:ext uri="{FF2B5EF4-FFF2-40B4-BE49-F238E27FC236}">
                    <a16:creationId xmlns:a16="http://schemas.microsoft.com/office/drawing/2014/main" id="{28A61957-6974-1B7E-895A-B9CE33CD694F}"/>
                  </a:ext>
                </a:extLst>
              </p:cNvPr>
              <p:cNvSpPr/>
              <p:nvPr/>
            </p:nvSpPr>
            <p:spPr>
              <a:xfrm>
                <a:off x="8816600" y="4214148"/>
                <a:ext cx="33112" cy="93740"/>
              </a:xfrm>
              <a:custGeom>
                <a:avLst/>
                <a:gdLst>
                  <a:gd name="connsiteX0" fmla="*/ 33113 w 33112"/>
                  <a:gd name="connsiteY0" fmla="*/ 93741 h 93740"/>
                  <a:gd name="connsiteX1" fmla="*/ 1358 w 33112"/>
                  <a:gd name="connsiteY1" fmla="*/ 22471 h 93740"/>
                  <a:gd name="connsiteX2" fmla="*/ 9309 w 33112"/>
                  <a:gd name="connsiteY2" fmla="*/ 1714 h 93740"/>
                  <a:gd name="connsiteX3" fmla="*/ 13165 w 33112"/>
                  <a:gd name="connsiteY3" fmla="*/ 0 h 937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112" h="93740">
                    <a:moveTo>
                      <a:pt x="33113" y="93741"/>
                    </a:moveTo>
                    <a:lnTo>
                      <a:pt x="1358" y="22471"/>
                    </a:lnTo>
                    <a:cubicBezTo>
                      <a:pt x="-2165" y="14568"/>
                      <a:pt x="1406" y="5237"/>
                      <a:pt x="9309" y="1714"/>
                    </a:cubicBezTo>
                    <a:lnTo>
                      <a:pt x="13165" y="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020" name="Forma livre: Forma 2019">
                <a:extLst>
                  <a:ext uri="{FF2B5EF4-FFF2-40B4-BE49-F238E27FC236}">
                    <a16:creationId xmlns:a16="http://schemas.microsoft.com/office/drawing/2014/main" id="{E9127E64-4DE5-3CDA-6880-61E36B1A5312}"/>
                  </a:ext>
                </a:extLst>
              </p:cNvPr>
              <p:cNvSpPr/>
              <p:nvPr/>
            </p:nvSpPr>
            <p:spPr>
              <a:xfrm>
                <a:off x="8786655" y="4244189"/>
                <a:ext cx="20163" cy="62985"/>
              </a:xfrm>
              <a:custGeom>
                <a:avLst/>
                <a:gdLst>
                  <a:gd name="connsiteX0" fmla="*/ 20163 w 20163"/>
                  <a:gd name="connsiteY0" fmla="*/ 62986 h 62985"/>
                  <a:gd name="connsiteX1" fmla="*/ 1358 w 20163"/>
                  <a:gd name="connsiteY1" fmla="*/ 20757 h 62985"/>
                  <a:gd name="connsiteX2" fmla="*/ 9309 w 20163"/>
                  <a:gd name="connsiteY2" fmla="*/ 0 h 629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0163" h="62985">
                    <a:moveTo>
                      <a:pt x="20163" y="62986"/>
                    </a:moveTo>
                    <a:lnTo>
                      <a:pt x="1358" y="20757"/>
                    </a:lnTo>
                    <a:cubicBezTo>
                      <a:pt x="-2165" y="12854"/>
                      <a:pt x="1406" y="3523"/>
                      <a:pt x="9309" y="0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021" name="Forma livre: Forma 2020">
                <a:extLst>
                  <a:ext uri="{FF2B5EF4-FFF2-40B4-BE49-F238E27FC236}">
                    <a16:creationId xmlns:a16="http://schemas.microsoft.com/office/drawing/2014/main" id="{5714775E-096F-A2F4-05FD-601C90AB5182}"/>
                  </a:ext>
                </a:extLst>
              </p:cNvPr>
              <p:cNvSpPr/>
              <p:nvPr/>
            </p:nvSpPr>
            <p:spPr>
              <a:xfrm>
                <a:off x="8937693" y="4154171"/>
                <a:ext cx="162049" cy="99920"/>
              </a:xfrm>
              <a:custGeom>
                <a:avLst/>
                <a:gdLst>
                  <a:gd name="connsiteX0" fmla="*/ 0 w 162049"/>
                  <a:gd name="connsiteY0" fmla="*/ 62119 h 99920"/>
                  <a:gd name="connsiteX1" fmla="*/ 136826 w 162049"/>
                  <a:gd name="connsiteY1" fmla="*/ 1228 h 99920"/>
                  <a:gd name="connsiteX2" fmla="*/ 155679 w 162049"/>
                  <a:gd name="connsiteY2" fmla="*/ 8465 h 99920"/>
                  <a:gd name="connsiteX3" fmla="*/ 160821 w 162049"/>
                  <a:gd name="connsiteY3" fmla="*/ 19986 h 99920"/>
                  <a:gd name="connsiteX4" fmla="*/ 153585 w 162049"/>
                  <a:gd name="connsiteY4" fmla="*/ 38839 h 99920"/>
                  <a:gd name="connsiteX5" fmla="*/ 16425 w 162049"/>
                  <a:gd name="connsiteY5" fmla="*/ 99920 h 999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62049" h="99920">
                    <a:moveTo>
                      <a:pt x="0" y="62119"/>
                    </a:moveTo>
                    <a:lnTo>
                      <a:pt x="136826" y="1228"/>
                    </a:lnTo>
                    <a:cubicBezTo>
                      <a:pt x="144015" y="-1962"/>
                      <a:pt x="152490" y="1276"/>
                      <a:pt x="155679" y="8465"/>
                    </a:cubicBezTo>
                    <a:lnTo>
                      <a:pt x="160821" y="19986"/>
                    </a:lnTo>
                    <a:cubicBezTo>
                      <a:pt x="164011" y="27175"/>
                      <a:pt x="160773" y="35649"/>
                      <a:pt x="153585" y="38839"/>
                    </a:cubicBezTo>
                    <a:lnTo>
                      <a:pt x="16425" y="9992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022" name="Forma livre: Forma 2021">
                <a:extLst>
                  <a:ext uri="{FF2B5EF4-FFF2-40B4-BE49-F238E27FC236}">
                    <a16:creationId xmlns:a16="http://schemas.microsoft.com/office/drawing/2014/main" id="{59DF6AB4-CDFD-A645-1C5A-D7A71A073E8B}"/>
                  </a:ext>
                </a:extLst>
              </p:cNvPr>
              <p:cNvSpPr/>
              <p:nvPr/>
            </p:nvSpPr>
            <p:spPr>
              <a:xfrm>
                <a:off x="8852457" y="4195461"/>
                <a:ext cx="41532" cy="111571"/>
              </a:xfrm>
              <a:custGeom>
                <a:avLst/>
                <a:gdLst>
                  <a:gd name="connsiteX0" fmla="*/ 39771 w 41532"/>
                  <a:gd name="connsiteY0" fmla="*/ 111571 h 111571"/>
                  <a:gd name="connsiteX1" fmla="*/ 1351 w 41532"/>
                  <a:gd name="connsiteY1" fmla="*/ 25210 h 111571"/>
                  <a:gd name="connsiteX2" fmla="*/ 9301 w 41532"/>
                  <a:gd name="connsiteY2" fmla="*/ 4452 h 111571"/>
                  <a:gd name="connsiteX3" fmla="*/ 16252 w 41532"/>
                  <a:gd name="connsiteY3" fmla="*/ 1358 h 111571"/>
                  <a:gd name="connsiteX4" fmla="*/ 37009 w 41532"/>
                  <a:gd name="connsiteY4" fmla="*/ 9309 h 111571"/>
                  <a:gd name="connsiteX5" fmla="*/ 41532 w 41532"/>
                  <a:gd name="connsiteY5" fmla="*/ 19497 h 1115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41532" h="111571">
                    <a:moveTo>
                      <a:pt x="39771" y="111571"/>
                    </a:moveTo>
                    <a:lnTo>
                      <a:pt x="1351" y="25210"/>
                    </a:lnTo>
                    <a:cubicBezTo>
                      <a:pt x="-2172" y="17307"/>
                      <a:pt x="1446" y="7976"/>
                      <a:pt x="9301" y="4452"/>
                    </a:cubicBezTo>
                    <a:lnTo>
                      <a:pt x="16252" y="1358"/>
                    </a:lnTo>
                    <a:cubicBezTo>
                      <a:pt x="24155" y="-2165"/>
                      <a:pt x="33486" y="1406"/>
                      <a:pt x="37009" y="9309"/>
                    </a:cubicBezTo>
                    <a:lnTo>
                      <a:pt x="41532" y="19497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2023" name="Gráfico 18">
                <a:extLst>
                  <a:ext uri="{FF2B5EF4-FFF2-40B4-BE49-F238E27FC236}">
                    <a16:creationId xmlns:a16="http://schemas.microsoft.com/office/drawing/2014/main" id="{A3B9CCD9-D129-D660-B3E6-FBC57498340F}"/>
                  </a:ext>
                </a:extLst>
              </p:cNvPr>
              <p:cNvGrpSpPr/>
              <p:nvPr/>
            </p:nvGrpSpPr>
            <p:grpSpPr>
              <a:xfrm>
                <a:off x="8893447" y="4192224"/>
                <a:ext cx="70217" cy="106073"/>
                <a:chOff x="8893447" y="4192224"/>
                <a:chExt cx="70217" cy="106073"/>
              </a:xfrm>
              <a:noFill/>
            </p:grpSpPr>
            <p:sp>
              <p:nvSpPr>
                <p:cNvPr id="2024" name="Forma livre: Forma 2023">
                  <a:extLst>
                    <a:ext uri="{FF2B5EF4-FFF2-40B4-BE49-F238E27FC236}">
                      <a16:creationId xmlns:a16="http://schemas.microsoft.com/office/drawing/2014/main" id="{A8A120A9-04FA-F39E-5BA7-CFA3A3F536ED}"/>
                    </a:ext>
                  </a:extLst>
                </p:cNvPr>
                <p:cNvSpPr/>
                <p:nvPr/>
              </p:nvSpPr>
              <p:spPr>
                <a:xfrm>
                  <a:off x="8893447" y="4192224"/>
                  <a:ext cx="70217" cy="106073"/>
                </a:xfrm>
                <a:custGeom>
                  <a:avLst/>
                  <a:gdLst>
                    <a:gd name="connsiteX0" fmla="*/ 68859 w 70217"/>
                    <a:gd name="connsiteY0" fmla="*/ 80864 h 106073"/>
                    <a:gd name="connsiteX1" fmla="*/ 60909 w 70217"/>
                    <a:gd name="connsiteY1" fmla="*/ 101621 h 106073"/>
                    <a:gd name="connsiteX2" fmla="*/ 53958 w 70217"/>
                    <a:gd name="connsiteY2" fmla="*/ 104716 h 106073"/>
                    <a:gd name="connsiteX3" fmla="*/ 33201 w 70217"/>
                    <a:gd name="connsiteY3" fmla="*/ 96765 h 106073"/>
                    <a:gd name="connsiteX4" fmla="*/ 1351 w 70217"/>
                    <a:gd name="connsiteY4" fmla="*/ 25210 h 106073"/>
                    <a:gd name="connsiteX5" fmla="*/ 9301 w 70217"/>
                    <a:gd name="connsiteY5" fmla="*/ 4452 h 106073"/>
                    <a:gd name="connsiteX6" fmla="*/ 16252 w 70217"/>
                    <a:gd name="connsiteY6" fmla="*/ 1358 h 106073"/>
                    <a:gd name="connsiteX7" fmla="*/ 37009 w 70217"/>
                    <a:gd name="connsiteY7" fmla="*/ 9309 h 106073"/>
                    <a:gd name="connsiteX8" fmla="*/ 68859 w 70217"/>
                    <a:gd name="connsiteY8" fmla="*/ 80864 h 10607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70217" h="106073">
                      <a:moveTo>
                        <a:pt x="68859" y="80864"/>
                      </a:moveTo>
                      <a:cubicBezTo>
                        <a:pt x="72382" y="88767"/>
                        <a:pt x="68812" y="98098"/>
                        <a:pt x="60909" y="101621"/>
                      </a:cubicBezTo>
                      <a:lnTo>
                        <a:pt x="53958" y="104716"/>
                      </a:lnTo>
                      <a:cubicBezTo>
                        <a:pt x="46055" y="108239"/>
                        <a:pt x="36724" y="104668"/>
                        <a:pt x="33201" y="96765"/>
                      </a:cubicBezTo>
                      <a:lnTo>
                        <a:pt x="1351" y="25210"/>
                      </a:lnTo>
                      <a:cubicBezTo>
                        <a:pt x="-2172" y="17307"/>
                        <a:pt x="1446" y="7976"/>
                        <a:pt x="9301" y="4452"/>
                      </a:cubicBezTo>
                      <a:lnTo>
                        <a:pt x="16252" y="1358"/>
                      </a:lnTo>
                      <a:cubicBezTo>
                        <a:pt x="24155" y="-2165"/>
                        <a:pt x="33486" y="1406"/>
                        <a:pt x="37009" y="9309"/>
                      </a:cubicBezTo>
                      <a:lnTo>
                        <a:pt x="68859" y="80864"/>
                      </a:lnTo>
                      <a:close/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025" name="Forma livre: Forma 2024">
                  <a:extLst>
                    <a:ext uri="{FF2B5EF4-FFF2-40B4-BE49-F238E27FC236}">
                      <a16:creationId xmlns:a16="http://schemas.microsoft.com/office/drawing/2014/main" id="{F096C156-C505-2CE2-11F9-EB269FFE38DA}"/>
                    </a:ext>
                  </a:extLst>
                </p:cNvPr>
                <p:cNvSpPr/>
                <p:nvPr/>
              </p:nvSpPr>
              <p:spPr>
                <a:xfrm>
                  <a:off x="8893447" y="4192224"/>
                  <a:ext cx="70217" cy="106073"/>
                </a:xfrm>
                <a:custGeom>
                  <a:avLst/>
                  <a:gdLst>
                    <a:gd name="connsiteX0" fmla="*/ 68859 w 70217"/>
                    <a:gd name="connsiteY0" fmla="*/ 80864 h 106073"/>
                    <a:gd name="connsiteX1" fmla="*/ 60909 w 70217"/>
                    <a:gd name="connsiteY1" fmla="*/ 101621 h 106073"/>
                    <a:gd name="connsiteX2" fmla="*/ 53958 w 70217"/>
                    <a:gd name="connsiteY2" fmla="*/ 104716 h 106073"/>
                    <a:gd name="connsiteX3" fmla="*/ 33201 w 70217"/>
                    <a:gd name="connsiteY3" fmla="*/ 96765 h 106073"/>
                    <a:gd name="connsiteX4" fmla="*/ 1351 w 70217"/>
                    <a:gd name="connsiteY4" fmla="*/ 25210 h 106073"/>
                    <a:gd name="connsiteX5" fmla="*/ 9301 w 70217"/>
                    <a:gd name="connsiteY5" fmla="*/ 4452 h 106073"/>
                    <a:gd name="connsiteX6" fmla="*/ 16252 w 70217"/>
                    <a:gd name="connsiteY6" fmla="*/ 1358 h 106073"/>
                    <a:gd name="connsiteX7" fmla="*/ 37009 w 70217"/>
                    <a:gd name="connsiteY7" fmla="*/ 9309 h 106073"/>
                    <a:gd name="connsiteX8" fmla="*/ 68859 w 70217"/>
                    <a:gd name="connsiteY8" fmla="*/ 80864 h 10607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70217" h="106073">
                      <a:moveTo>
                        <a:pt x="68859" y="80864"/>
                      </a:moveTo>
                      <a:cubicBezTo>
                        <a:pt x="72382" y="88767"/>
                        <a:pt x="68812" y="98098"/>
                        <a:pt x="60909" y="101621"/>
                      </a:cubicBezTo>
                      <a:lnTo>
                        <a:pt x="53958" y="104716"/>
                      </a:lnTo>
                      <a:cubicBezTo>
                        <a:pt x="46055" y="108239"/>
                        <a:pt x="36724" y="104668"/>
                        <a:pt x="33201" y="96765"/>
                      </a:cubicBezTo>
                      <a:lnTo>
                        <a:pt x="1351" y="25210"/>
                      </a:lnTo>
                      <a:cubicBezTo>
                        <a:pt x="-2172" y="17307"/>
                        <a:pt x="1446" y="7976"/>
                        <a:pt x="9301" y="4452"/>
                      </a:cubicBezTo>
                      <a:lnTo>
                        <a:pt x="16252" y="1358"/>
                      </a:lnTo>
                      <a:cubicBezTo>
                        <a:pt x="24155" y="-2165"/>
                        <a:pt x="33486" y="1406"/>
                        <a:pt x="37009" y="9309"/>
                      </a:cubicBezTo>
                      <a:lnTo>
                        <a:pt x="68859" y="80864"/>
                      </a:lnTo>
                      <a:close/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sp>
          <p:nvSpPr>
            <p:cNvPr id="2026" name="Forma livre: Forma 2025">
              <a:extLst>
                <a:ext uri="{FF2B5EF4-FFF2-40B4-BE49-F238E27FC236}">
                  <a16:creationId xmlns:a16="http://schemas.microsoft.com/office/drawing/2014/main" id="{A447854F-DE15-79E8-C6E4-5BA7E5AE5042}"/>
                </a:ext>
              </a:extLst>
            </p:cNvPr>
            <p:cNvSpPr/>
            <p:nvPr/>
          </p:nvSpPr>
          <p:spPr>
            <a:xfrm>
              <a:off x="8796099" y="4293607"/>
              <a:ext cx="161207" cy="188481"/>
            </a:xfrm>
            <a:custGeom>
              <a:avLst/>
              <a:gdLst>
                <a:gd name="connsiteX0" fmla="*/ 108554 w 161207"/>
                <a:gd name="connsiteY0" fmla="*/ 8808 h 188481"/>
                <a:gd name="connsiteX1" fmla="*/ 40569 w 161207"/>
                <a:gd name="connsiteY1" fmla="*/ 10902 h 188481"/>
                <a:gd name="connsiteX2" fmla="*/ 1435 w 161207"/>
                <a:gd name="connsiteY2" fmla="*/ 26994 h 188481"/>
                <a:gd name="connsiteX3" fmla="*/ 388 w 161207"/>
                <a:gd name="connsiteY3" fmla="*/ 30850 h 188481"/>
                <a:gd name="connsiteX4" fmla="*/ 26287 w 161207"/>
                <a:gd name="connsiteY4" fmla="*/ 66652 h 188481"/>
                <a:gd name="connsiteX5" fmla="*/ 28191 w 161207"/>
                <a:gd name="connsiteY5" fmla="*/ 67271 h 188481"/>
                <a:gd name="connsiteX6" fmla="*/ 60422 w 161207"/>
                <a:gd name="connsiteY6" fmla="*/ 114070 h 188481"/>
                <a:gd name="connsiteX7" fmla="*/ 58565 w 161207"/>
                <a:gd name="connsiteY7" fmla="*/ 125400 h 188481"/>
                <a:gd name="connsiteX8" fmla="*/ 58280 w 161207"/>
                <a:gd name="connsiteY8" fmla="*/ 125924 h 188481"/>
                <a:gd name="connsiteX9" fmla="*/ 46140 w 161207"/>
                <a:gd name="connsiteY9" fmla="*/ 153489 h 188481"/>
                <a:gd name="connsiteX10" fmla="*/ 74038 w 161207"/>
                <a:gd name="connsiteY10" fmla="*/ 188482 h 188481"/>
                <a:gd name="connsiteX11" fmla="*/ 74467 w 161207"/>
                <a:gd name="connsiteY11" fmla="*/ 188482 h 188481"/>
                <a:gd name="connsiteX12" fmla="*/ 102365 w 161207"/>
                <a:gd name="connsiteY12" fmla="*/ 153489 h 188481"/>
                <a:gd name="connsiteX13" fmla="*/ 90606 w 161207"/>
                <a:gd name="connsiteY13" fmla="*/ 127352 h 188481"/>
                <a:gd name="connsiteX14" fmla="*/ 90035 w 161207"/>
                <a:gd name="connsiteY14" fmla="*/ 125686 h 188481"/>
                <a:gd name="connsiteX15" fmla="*/ 87987 w 161207"/>
                <a:gd name="connsiteY15" fmla="*/ 114784 h 188481"/>
                <a:gd name="connsiteX16" fmla="*/ 110601 w 161207"/>
                <a:gd name="connsiteY16" fmla="*/ 47465 h 188481"/>
                <a:gd name="connsiteX17" fmla="*/ 142689 w 161207"/>
                <a:gd name="connsiteY17" fmla="*/ 34706 h 188481"/>
                <a:gd name="connsiteX18" fmla="*/ 160067 w 161207"/>
                <a:gd name="connsiteY18" fmla="*/ 0 h 1884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61207" h="188481">
                  <a:moveTo>
                    <a:pt x="108554" y="8808"/>
                  </a:moveTo>
                  <a:cubicBezTo>
                    <a:pt x="108554" y="8808"/>
                    <a:pt x="84798" y="30088"/>
                    <a:pt x="40569" y="10902"/>
                  </a:cubicBezTo>
                  <a:cubicBezTo>
                    <a:pt x="40569" y="10902"/>
                    <a:pt x="11957" y="1238"/>
                    <a:pt x="1435" y="26994"/>
                  </a:cubicBezTo>
                  <a:lnTo>
                    <a:pt x="388" y="30850"/>
                  </a:lnTo>
                  <a:cubicBezTo>
                    <a:pt x="388" y="30850"/>
                    <a:pt x="-5230" y="59606"/>
                    <a:pt x="26287" y="66652"/>
                  </a:cubicBezTo>
                  <a:lnTo>
                    <a:pt x="28191" y="67271"/>
                  </a:lnTo>
                  <a:cubicBezTo>
                    <a:pt x="39570" y="71793"/>
                    <a:pt x="57756" y="83553"/>
                    <a:pt x="60422" y="114070"/>
                  </a:cubicBezTo>
                  <a:cubicBezTo>
                    <a:pt x="60613" y="116260"/>
                    <a:pt x="60946" y="118164"/>
                    <a:pt x="58565" y="125400"/>
                  </a:cubicBezTo>
                  <a:lnTo>
                    <a:pt x="58280" y="125924"/>
                  </a:lnTo>
                  <a:cubicBezTo>
                    <a:pt x="54709" y="136493"/>
                    <a:pt x="50282" y="142920"/>
                    <a:pt x="46140" y="153489"/>
                  </a:cubicBezTo>
                  <a:cubicBezTo>
                    <a:pt x="39713" y="169867"/>
                    <a:pt x="52234" y="188482"/>
                    <a:pt x="74038" y="188482"/>
                  </a:cubicBezTo>
                  <a:lnTo>
                    <a:pt x="74467" y="188482"/>
                  </a:lnTo>
                  <a:cubicBezTo>
                    <a:pt x="96271" y="188482"/>
                    <a:pt x="108792" y="169914"/>
                    <a:pt x="102365" y="153489"/>
                  </a:cubicBezTo>
                  <a:cubicBezTo>
                    <a:pt x="98223" y="142920"/>
                    <a:pt x="94177" y="137921"/>
                    <a:pt x="90606" y="127352"/>
                  </a:cubicBezTo>
                  <a:lnTo>
                    <a:pt x="90035" y="125686"/>
                  </a:lnTo>
                  <a:cubicBezTo>
                    <a:pt x="88892" y="122115"/>
                    <a:pt x="87940" y="116783"/>
                    <a:pt x="87987" y="114784"/>
                  </a:cubicBezTo>
                  <a:cubicBezTo>
                    <a:pt x="88797" y="56702"/>
                    <a:pt x="100032" y="51893"/>
                    <a:pt x="110601" y="47465"/>
                  </a:cubicBezTo>
                  <a:cubicBezTo>
                    <a:pt x="125312" y="41372"/>
                    <a:pt x="130597" y="39277"/>
                    <a:pt x="142689" y="34706"/>
                  </a:cubicBezTo>
                  <a:cubicBezTo>
                    <a:pt x="142689" y="34706"/>
                    <a:pt x="166636" y="26327"/>
                    <a:pt x="160067" y="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2027" name="Gráfico 18">
            <a:extLst>
              <a:ext uri="{FF2B5EF4-FFF2-40B4-BE49-F238E27FC236}">
                <a16:creationId xmlns:a16="http://schemas.microsoft.com/office/drawing/2014/main" id="{D7086F5F-3CB4-5791-5B8B-3F204B05F7FF}"/>
              </a:ext>
            </a:extLst>
          </p:cNvPr>
          <p:cNvGrpSpPr/>
          <p:nvPr/>
        </p:nvGrpSpPr>
        <p:grpSpPr>
          <a:xfrm>
            <a:off x="8235279" y="4162636"/>
            <a:ext cx="174008" cy="311025"/>
            <a:chOff x="8235279" y="4162636"/>
            <a:chExt cx="174008" cy="311025"/>
          </a:xfrm>
          <a:noFill/>
        </p:grpSpPr>
        <p:grpSp>
          <p:nvGrpSpPr>
            <p:cNvPr id="2028" name="Gráfico 18">
              <a:extLst>
                <a:ext uri="{FF2B5EF4-FFF2-40B4-BE49-F238E27FC236}">
                  <a16:creationId xmlns:a16="http://schemas.microsoft.com/office/drawing/2014/main" id="{AF1AB37C-1C9F-904E-CD7B-AB603A2D9CC6}"/>
                </a:ext>
              </a:extLst>
            </p:cNvPr>
            <p:cNvGrpSpPr/>
            <p:nvPr/>
          </p:nvGrpSpPr>
          <p:grpSpPr>
            <a:xfrm>
              <a:off x="8244944" y="4342739"/>
              <a:ext cx="154679" cy="4760"/>
              <a:chOff x="8244944" y="4342739"/>
              <a:chExt cx="154679" cy="4760"/>
            </a:xfrm>
          </p:grpSpPr>
          <p:sp>
            <p:nvSpPr>
              <p:cNvPr id="2029" name="Forma livre: Forma 2028">
                <a:extLst>
                  <a:ext uri="{FF2B5EF4-FFF2-40B4-BE49-F238E27FC236}">
                    <a16:creationId xmlns:a16="http://schemas.microsoft.com/office/drawing/2014/main" id="{10779087-41C5-8F03-AEB0-2C6953D04CD0}"/>
                  </a:ext>
                </a:extLst>
              </p:cNvPr>
              <p:cNvSpPr/>
              <p:nvPr/>
            </p:nvSpPr>
            <p:spPr>
              <a:xfrm>
                <a:off x="8308263" y="4342739"/>
                <a:ext cx="91360" cy="4760"/>
              </a:xfrm>
              <a:custGeom>
                <a:avLst/>
                <a:gdLst>
                  <a:gd name="connsiteX0" fmla="*/ 0 w 91360"/>
                  <a:gd name="connsiteY0" fmla="*/ 0 h 4760"/>
                  <a:gd name="connsiteX1" fmla="*/ 91360 w 91360"/>
                  <a:gd name="connsiteY1" fmla="*/ 0 h 47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1360" h="4760">
                    <a:moveTo>
                      <a:pt x="0" y="0"/>
                    </a:moveTo>
                    <a:lnTo>
                      <a:pt x="9136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030" name="Forma livre: Forma 2029">
                <a:extLst>
                  <a:ext uri="{FF2B5EF4-FFF2-40B4-BE49-F238E27FC236}">
                    <a16:creationId xmlns:a16="http://schemas.microsoft.com/office/drawing/2014/main" id="{77C67B8B-67A6-6C56-90C2-0C062DC3BB09}"/>
                  </a:ext>
                </a:extLst>
              </p:cNvPr>
              <p:cNvSpPr/>
              <p:nvPr/>
            </p:nvSpPr>
            <p:spPr>
              <a:xfrm>
                <a:off x="8244944" y="4342739"/>
                <a:ext cx="37563" cy="4760"/>
              </a:xfrm>
              <a:custGeom>
                <a:avLst/>
                <a:gdLst>
                  <a:gd name="connsiteX0" fmla="*/ 0 w 37563"/>
                  <a:gd name="connsiteY0" fmla="*/ 0 h 4760"/>
                  <a:gd name="connsiteX1" fmla="*/ 37563 w 37563"/>
                  <a:gd name="connsiteY1" fmla="*/ 0 h 47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7563" h="4760">
                    <a:moveTo>
                      <a:pt x="0" y="0"/>
                    </a:moveTo>
                    <a:lnTo>
                      <a:pt x="37563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2031" name="Forma livre: Forma 2030">
              <a:extLst>
                <a:ext uri="{FF2B5EF4-FFF2-40B4-BE49-F238E27FC236}">
                  <a16:creationId xmlns:a16="http://schemas.microsoft.com/office/drawing/2014/main" id="{488DD18F-E964-D48C-3DAC-296A9A8484E8}"/>
                </a:ext>
              </a:extLst>
            </p:cNvPr>
            <p:cNvSpPr/>
            <p:nvPr/>
          </p:nvSpPr>
          <p:spPr>
            <a:xfrm>
              <a:off x="8235279" y="4473662"/>
              <a:ext cx="174008" cy="4760"/>
            </a:xfrm>
            <a:custGeom>
              <a:avLst/>
              <a:gdLst>
                <a:gd name="connsiteX0" fmla="*/ 0 w 174008"/>
                <a:gd name="connsiteY0" fmla="*/ 0 h 4760"/>
                <a:gd name="connsiteX1" fmla="*/ 174009 w 174008"/>
                <a:gd name="connsiteY1" fmla="*/ 0 h 47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74008" h="4760">
                  <a:moveTo>
                    <a:pt x="0" y="0"/>
                  </a:moveTo>
                  <a:lnTo>
                    <a:pt x="174009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32" name="Forma livre: Forma 2031">
              <a:extLst>
                <a:ext uri="{FF2B5EF4-FFF2-40B4-BE49-F238E27FC236}">
                  <a16:creationId xmlns:a16="http://schemas.microsoft.com/office/drawing/2014/main" id="{CA1C76A0-4AB1-2F4B-D795-4B575C66139F}"/>
                </a:ext>
              </a:extLst>
            </p:cNvPr>
            <p:cNvSpPr/>
            <p:nvPr/>
          </p:nvSpPr>
          <p:spPr>
            <a:xfrm>
              <a:off x="8269557" y="4235286"/>
              <a:ext cx="105452" cy="4760"/>
            </a:xfrm>
            <a:custGeom>
              <a:avLst/>
              <a:gdLst>
                <a:gd name="connsiteX0" fmla="*/ 0 w 105452"/>
                <a:gd name="connsiteY0" fmla="*/ 0 h 4760"/>
                <a:gd name="connsiteX1" fmla="*/ 105453 w 105452"/>
                <a:gd name="connsiteY1" fmla="*/ 0 h 47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5452" h="4760">
                  <a:moveTo>
                    <a:pt x="0" y="0"/>
                  </a:moveTo>
                  <a:lnTo>
                    <a:pt x="105453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33" name="Forma livre: Forma 2032">
              <a:extLst>
                <a:ext uri="{FF2B5EF4-FFF2-40B4-BE49-F238E27FC236}">
                  <a16:creationId xmlns:a16="http://schemas.microsoft.com/office/drawing/2014/main" id="{267373B8-69EC-7ACB-13C5-12E5D530F02B}"/>
                </a:ext>
              </a:extLst>
            </p:cNvPr>
            <p:cNvSpPr/>
            <p:nvPr/>
          </p:nvSpPr>
          <p:spPr>
            <a:xfrm>
              <a:off x="8294885" y="4277705"/>
              <a:ext cx="73745" cy="4760"/>
            </a:xfrm>
            <a:custGeom>
              <a:avLst/>
              <a:gdLst>
                <a:gd name="connsiteX0" fmla="*/ 0 w 73745"/>
                <a:gd name="connsiteY0" fmla="*/ 0 h 4760"/>
                <a:gd name="connsiteX1" fmla="*/ 73745 w 73745"/>
                <a:gd name="connsiteY1" fmla="*/ 0 h 47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3745" h="4760">
                  <a:moveTo>
                    <a:pt x="0" y="0"/>
                  </a:moveTo>
                  <a:lnTo>
                    <a:pt x="73745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2034" name="Gráfico 18">
              <a:extLst>
                <a:ext uri="{FF2B5EF4-FFF2-40B4-BE49-F238E27FC236}">
                  <a16:creationId xmlns:a16="http://schemas.microsoft.com/office/drawing/2014/main" id="{DA2CBCD9-C102-AFDE-C55C-9813E9C73E5D}"/>
                </a:ext>
              </a:extLst>
            </p:cNvPr>
            <p:cNvGrpSpPr/>
            <p:nvPr/>
          </p:nvGrpSpPr>
          <p:grpSpPr>
            <a:xfrm>
              <a:off x="8244801" y="4180727"/>
              <a:ext cx="154917" cy="87266"/>
              <a:chOff x="8244801" y="4180727"/>
              <a:chExt cx="154917" cy="87266"/>
            </a:xfrm>
            <a:noFill/>
          </p:grpSpPr>
          <p:sp>
            <p:nvSpPr>
              <p:cNvPr id="2035" name="Forma livre: Forma 2034">
                <a:extLst>
                  <a:ext uri="{FF2B5EF4-FFF2-40B4-BE49-F238E27FC236}">
                    <a16:creationId xmlns:a16="http://schemas.microsoft.com/office/drawing/2014/main" id="{897E5277-89CF-A1F8-E88D-337180D6562B}"/>
                  </a:ext>
                </a:extLst>
              </p:cNvPr>
              <p:cNvSpPr/>
              <p:nvPr/>
            </p:nvSpPr>
            <p:spPr>
              <a:xfrm>
                <a:off x="8371249" y="4180727"/>
                <a:ext cx="28469" cy="87266"/>
              </a:xfrm>
              <a:custGeom>
                <a:avLst/>
                <a:gdLst>
                  <a:gd name="connsiteX0" fmla="*/ 0 w 28469"/>
                  <a:gd name="connsiteY0" fmla="*/ 87266 h 87266"/>
                  <a:gd name="connsiteX1" fmla="*/ 19519 w 28469"/>
                  <a:gd name="connsiteY1" fmla="*/ 87266 h 87266"/>
                  <a:gd name="connsiteX2" fmla="*/ 28470 w 28469"/>
                  <a:gd name="connsiteY2" fmla="*/ 2380 h 87266"/>
                  <a:gd name="connsiteX3" fmla="*/ 7046 w 28469"/>
                  <a:gd name="connsiteY3" fmla="*/ 0 h 872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8469" h="87266">
                    <a:moveTo>
                      <a:pt x="0" y="87266"/>
                    </a:moveTo>
                    <a:lnTo>
                      <a:pt x="19519" y="87266"/>
                    </a:lnTo>
                    <a:lnTo>
                      <a:pt x="28470" y="2380"/>
                    </a:lnTo>
                    <a:lnTo>
                      <a:pt x="7046" y="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036" name="Forma livre: Forma 2035">
                <a:extLst>
                  <a:ext uri="{FF2B5EF4-FFF2-40B4-BE49-F238E27FC236}">
                    <a16:creationId xmlns:a16="http://schemas.microsoft.com/office/drawing/2014/main" id="{81692D6B-D5D8-F561-4F80-1F25ABBCBFB7}"/>
                  </a:ext>
                </a:extLst>
              </p:cNvPr>
              <p:cNvSpPr/>
              <p:nvPr/>
            </p:nvSpPr>
            <p:spPr>
              <a:xfrm>
                <a:off x="8244801" y="4180727"/>
                <a:ext cx="28517" cy="87266"/>
              </a:xfrm>
              <a:custGeom>
                <a:avLst/>
                <a:gdLst>
                  <a:gd name="connsiteX0" fmla="*/ 21471 w 28517"/>
                  <a:gd name="connsiteY0" fmla="*/ 0 h 87266"/>
                  <a:gd name="connsiteX1" fmla="*/ 0 w 28517"/>
                  <a:gd name="connsiteY1" fmla="*/ 2380 h 87266"/>
                  <a:gd name="connsiteX2" fmla="*/ 8998 w 28517"/>
                  <a:gd name="connsiteY2" fmla="*/ 87266 h 87266"/>
                  <a:gd name="connsiteX3" fmla="*/ 28517 w 28517"/>
                  <a:gd name="connsiteY3" fmla="*/ 87266 h 872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8517" h="87266">
                    <a:moveTo>
                      <a:pt x="21471" y="0"/>
                    </a:moveTo>
                    <a:lnTo>
                      <a:pt x="0" y="2380"/>
                    </a:lnTo>
                    <a:lnTo>
                      <a:pt x="8998" y="87266"/>
                    </a:lnTo>
                    <a:lnTo>
                      <a:pt x="28517" y="87266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2037" name="Forma livre: Forma 2036">
              <a:extLst>
                <a:ext uri="{FF2B5EF4-FFF2-40B4-BE49-F238E27FC236}">
                  <a16:creationId xmlns:a16="http://schemas.microsoft.com/office/drawing/2014/main" id="{657D42D8-64B6-C0BD-AE41-4E92A3DD203B}"/>
                </a:ext>
              </a:extLst>
            </p:cNvPr>
            <p:cNvSpPr/>
            <p:nvPr/>
          </p:nvSpPr>
          <p:spPr>
            <a:xfrm>
              <a:off x="8267367" y="4162636"/>
              <a:ext cx="109880" cy="34040"/>
            </a:xfrm>
            <a:custGeom>
              <a:avLst/>
              <a:gdLst>
                <a:gd name="connsiteX0" fmla="*/ 109880 w 109880"/>
                <a:gd name="connsiteY0" fmla="*/ 16377 h 34040"/>
                <a:gd name="connsiteX1" fmla="*/ 100549 w 109880"/>
                <a:gd name="connsiteY1" fmla="*/ 0 h 34040"/>
                <a:gd name="connsiteX2" fmla="*/ 88504 w 109880"/>
                <a:gd name="connsiteY2" fmla="*/ 5094 h 34040"/>
                <a:gd name="connsiteX3" fmla="*/ 69556 w 109880"/>
                <a:gd name="connsiteY3" fmla="*/ 0 h 34040"/>
                <a:gd name="connsiteX4" fmla="*/ 40277 w 109880"/>
                <a:gd name="connsiteY4" fmla="*/ 0 h 34040"/>
                <a:gd name="connsiteX5" fmla="*/ 21329 w 109880"/>
                <a:gd name="connsiteY5" fmla="*/ 5094 h 34040"/>
                <a:gd name="connsiteX6" fmla="*/ 9284 w 109880"/>
                <a:gd name="connsiteY6" fmla="*/ 0 h 34040"/>
                <a:gd name="connsiteX7" fmla="*/ 0 w 109880"/>
                <a:gd name="connsiteY7" fmla="*/ 16377 h 34040"/>
                <a:gd name="connsiteX8" fmla="*/ 0 w 109880"/>
                <a:gd name="connsiteY8" fmla="*/ 17663 h 34040"/>
                <a:gd name="connsiteX9" fmla="*/ 9284 w 109880"/>
                <a:gd name="connsiteY9" fmla="*/ 34040 h 34040"/>
                <a:gd name="connsiteX10" fmla="*/ 21329 w 109880"/>
                <a:gd name="connsiteY10" fmla="*/ 28946 h 34040"/>
                <a:gd name="connsiteX11" fmla="*/ 40277 w 109880"/>
                <a:gd name="connsiteY11" fmla="*/ 34040 h 34040"/>
                <a:gd name="connsiteX12" fmla="*/ 69556 w 109880"/>
                <a:gd name="connsiteY12" fmla="*/ 34040 h 34040"/>
                <a:gd name="connsiteX13" fmla="*/ 88504 w 109880"/>
                <a:gd name="connsiteY13" fmla="*/ 28946 h 34040"/>
                <a:gd name="connsiteX14" fmla="*/ 100549 w 109880"/>
                <a:gd name="connsiteY14" fmla="*/ 34040 h 34040"/>
                <a:gd name="connsiteX15" fmla="*/ 109880 w 109880"/>
                <a:gd name="connsiteY15" fmla="*/ 17663 h 34040"/>
                <a:gd name="connsiteX16" fmla="*/ 109880 w 109880"/>
                <a:gd name="connsiteY16" fmla="*/ 16377 h 340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09880" h="34040">
                  <a:moveTo>
                    <a:pt x="109880" y="16377"/>
                  </a:moveTo>
                  <a:cubicBezTo>
                    <a:pt x="109880" y="7284"/>
                    <a:pt x="105976" y="0"/>
                    <a:pt x="100549" y="0"/>
                  </a:cubicBezTo>
                  <a:cubicBezTo>
                    <a:pt x="94741" y="0"/>
                    <a:pt x="96026" y="5094"/>
                    <a:pt x="88504" y="5094"/>
                  </a:cubicBezTo>
                  <a:cubicBezTo>
                    <a:pt x="80982" y="5094"/>
                    <a:pt x="77935" y="0"/>
                    <a:pt x="69556" y="0"/>
                  </a:cubicBezTo>
                  <a:lnTo>
                    <a:pt x="40277" y="0"/>
                  </a:lnTo>
                  <a:cubicBezTo>
                    <a:pt x="31898" y="0"/>
                    <a:pt x="28851" y="5094"/>
                    <a:pt x="21329" y="5094"/>
                  </a:cubicBezTo>
                  <a:cubicBezTo>
                    <a:pt x="13806" y="5094"/>
                    <a:pt x="15044" y="0"/>
                    <a:pt x="9284" y="0"/>
                  </a:cubicBezTo>
                  <a:cubicBezTo>
                    <a:pt x="3904" y="0"/>
                    <a:pt x="0" y="7141"/>
                    <a:pt x="0" y="16377"/>
                  </a:cubicBezTo>
                  <a:lnTo>
                    <a:pt x="0" y="17663"/>
                  </a:lnTo>
                  <a:cubicBezTo>
                    <a:pt x="0" y="26899"/>
                    <a:pt x="3904" y="34040"/>
                    <a:pt x="9284" y="34040"/>
                  </a:cubicBezTo>
                  <a:cubicBezTo>
                    <a:pt x="15092" y="34040"/>
                    <a:pt x="13854" y="28946"/>
                    <a:pt x="21329" y="28946"/>
                  </a:cubicBezTo>
                  <a:cubicBezTo>
                    <a:pt x="28803" y="28946"/>
                    <a:pt x="31898" y="34040"/>
                    <a:pt x="40277" y="34040"/>
                  </a:cubicBezTo>
                  <a:lnTo>
                    <a:pt x="69556" y="34040"/>
                  </a:lnTo>
                  <a:cubicBezTo>
                    <a:pt x="77935" y="34040"/>
                    <a:pt x="80982" y="28946"/>
                    <a:pt x="88504" y="28946"/>
                  </a:cubicBezTo>
                  <a:cubicBezTo>
                    <a:pt x="96026" y="28946"/>
                    <a:pt x="94788" y="34040"/>
                    <a:pt x="100549" y="34040"/>
                  </a:cubicBezTo>
                  <a:cubicBezTo>
                    <a:pt x="105929" y="34040"/>
                    <a:pt x="109880" y="26756"/>
                    <a:pt x="109880" y="17663"/>
                  </a:cubicBezTo>
                  <a:lnTo>
                    <a:pt x="109880" y="16377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2038" name="Gráfico 18">
              <a:extLst>
                <a:ext uri="{FF2B5EF4-FFF2-40B4-BE49-F238E27FC236}">
                  <a16:creationId xmlns:a16="http://schemas.microsoft.com/office/drawing/2014/main" id="{6F01CAAC-E363-66E9-7E31-A9324034B5D8}"/>
                </a:ext>
              </a:extLst>
            </p:cNvPr>
            <p:cNvGrpSpPr/>
            <p:nvPr/>
          </p:nvGrpSpPr>
          <p:grpSpPr>
            <a:xfrm>
              <a:off x="8243563" y="4238191"/>
              <a:ext cx="157393" cy="233376"/>
              <a:chOff x="8243563" y="4238191"/>
              <a:chExt cx="157393" cy="233376"/>
            </a:xfrm>
            <a:noFill/>
          </p:grpSpPr>
          <p:sp>
            <p:nvSpPr>
              <p:cNvPr id="2039" name="Forma livre: Forma 2038">
                <a:extLst>
                  <a:ext uri="{FF2B5EF4-FFF2-40B4-BE49-F238E27FC236}">
                    <a16:creationId xmlns:a16="http://schemas.microsoft.com/office/drawing/2014/main" id="{760F62C6-0279-D718-7ED3-A48A6045912F}"/>
                  </a:ext>
                </a:extLst>
              </p:cNvPr>
              <p:cNvSpPr/>
              <p:nvPr/>
            </p:nvSpPr>
            <p:spPr>
              <a:xfrm>
                <a:off x="8243563" y="4238191"/>
                <a:ext cx="31040" cy="233376"/>
              </a:xfrm>
              <a:custGeom>
                <a:avLst/>
                <a:gdLst>
                  <a:gd name="connsiteX0" fmla="*/ 31041 w 31040"/>
                  <a:gd name="connsiteY0" fmla="*/ 0 h 233376"/>
                  <a:gd name="connsiteX1" fmla="*/ 31041 w 31040"/>
                  <a:gd name="connsiteY1" fmla="*/ 69842 h 233376"/>
                  <a:gd name="connsiteX2" fmla="*/ 857 w 31040"/>
                  <a:gd name="connsiteY2" fmla="*/ 102406 h 233376"/>
                  <a:gd name="connsiteX3" fmla="*/ 0 w 31040"/>
                  <a:gd name="connsiteY3" fmla="*/ 105976 h 233376"/>
                  <a:gd name="connsiteX4" fmla="*/ 0 w 31040"/>
                  <a:gd name="connsiteY4" fmla="*/ 233376 h 2333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1040" h="233376">
                    <a:moveTo>
                      <a:pt x="31041" y="0"/>
                    </a:moveTo>
                    <a:lnTo>
                      <a:pt x="31041" y="69842"/>
                    </a:lnTo>
                    <a:lnTo>
                      <a:pt x="857" y="102406"/>
                    </a:lnTo>
                    <a:cubicBezTo>
                      <a:pt x="286" y="103501"/>
                      <a:pt x="0" y="104738"/>
                      <a:pt x="0" y="105976"/>
                    </a:cubicBezTo>
                    <a:lnTo>
                      <a:pt x="0" y="233376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040" name="Forma livre: Forma 2039">
                <a:extLst>
                  <a:ext uri="{FF2B5EF4-FFF2-40B4-BE49-F238E27FC236}">
                    <a16:creationId xmlns:a16="http://schemas.microsoft.com/office/drawing/2014/main" id="{0649C86F-0A40-EB05-4D77-CA3F2D066D4D}"/>
                  </a:ext>
                </a:extLst>
              </p:cNvPr>
              <p:cNvSpPr/>
              <p:nvPr/>
            </p:nvSpPr>
            <p:spPr>
              <a:xfrm>
                <a:off x="8369916" y="4238191"/>
                <a:ext cx="31040" cy="233376"/>
              </a:xfrm>
              <a:custGeom>
                <a:avLst/>
                <a:gdLst>
                  <a:gd name="connsiteX0" fmla="*/ 31041 w 31040"/>
                  <a:gd name="connsiteY0" fmla="*/ 233376 h 233376"/>
                  <a:gd name="connsiteX1" fmla="*/ 31041 w 31040"/>
                  <a:gd name="connsiteY1" fmla="*/ 105976 h 233376"/>
                  <a:gd name="connsiteX2" fmla="*/ 30184 w 31040"/>
                  <a:gd name="connsiteY2" fmla="*/ 102406 h 233376"/>
                  <a:gd name="connsiteX3" fmla="*/ 0 w 31040"/>
                  <a:gd name="connsiteY3" fmla="*/ 69842 h 233376"/>
                  <a:gd name="connsiteX4" fmla="*/ 0 w 31040"/>
                  <a:gd name="connsiteY4" fmla="*/ 0 h 2333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1040" h="233376">
                    <a:moveTo>
                      <a:pt x="31041" y="233376"/>
                    </a:moveTo>
                    <a:lnTo>
                      <a:pt x="31041" y="105976"/>
                    </a:lnTo>
                    <a:cubicBezTo>
                      <a:pt x="31041" y="104738"/>
                      <a:pt x="30755" y="103501"/>
                      <a:pt x="30184" y="102406"/>
                    </a:cubicBezTo>
                    <a:lnTo>
                      <a:pt x="0" y="69842"/>
                    </a:lnTo>
                    <a:lnTo>
                      <a:pt x="0" y="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2041" name="Gráfico 18">
            <a:extLst>
              <a:ext uri="{FF2B5EF4-FFF2-40B4-BE49-F238E27FC236}">
                <a16:creationId xmlns:a16="http://schemas.microsoft.com/office/drawing/2014/main" id="{A5F54356-AC7F-2868-B03D-37E2D7A2E072}"/>
              </a:ext>
            </a:extLst>
          </p:cNvPr>
          <p:cNvGrpSpPr/>
          <p:nvPr/>
        </p:nvGrpSpPr>
        <p:grpSpPr>
          <a:xfrm>
            <a:off x="9439865" y="5201689"/>
            <a:ext cx="248469" cy="330164"/>
            <a:chOff x="9439865" y="5201689"/>
            <a:chExt cx="248469" cy="330164"/>
          </a:xfrm>
          <a:noFill/>
        </p:grpSpPr>
        <p:sp>
          <p:nvSpPr>
            <p:cNvPr id="2042" name="Forma livre: Forma 2041">
              <a:extLst>
                <a:ext uri="{FF2B5EF4-FFF2-40B4-BE49-F238E27FC236}">
                  <a16:creationId xmlns:a16="http://schemas.microsoft.com/office/drawing/2014/main" id="{04191267-1546-CD91-1A7E-D0F0844CFFA9}"/>
                </a:ext>
              </a:extLst>
            </p:cNvPr>
            <p:cNvSpPr/>
            <p:nvPr/>
          </p:nvSpPr>
          <p:spPr>
            <a:xfrm>
              <a:off x="9490998" y="5331993"/>
              <a:ext cx="4760" cy="159345"/>
            </a:xfrm>
            <a:custGeom>
              <a:avLst/>
              <a:gdLst>
                <a:gd name="connsiteX0" fmla="*/ 0 w 4760"/>
                <a:gd name="connsiteY0" fmla="*/ 159345 h 159345"/>
                <a:gd name="connsiteX1" fmla="*/ 0 w 4760"/>
                <a:gd name="connsiteY1" fmla="*/ 0 h 1593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760" h="159345">
                  <a:moveTo>
                    <a:pt x="0" y="159345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43" name="Forma livre: Forma 2042">
              <a:extLst>
                <a:ext uri="{FF2B5EF4-FFF2-40B4-BE49-F238E27FC236}">
                  <a16:creationId xmlns:a16="http://schemas.microsoft.com/office/drawing/2014/main" id="{C41F2B5E-E95E-F81E-ED6E-87419FF8BB68}"/>
                </a:ext>
              </a:extLst>
            </p:cNvPr>
            <p:cNvSpPr/>
            <p:nvPr/>
          </p:nvSpPr>
          <p:spPr>
            <a:xfrm>
              <a:off x="9439865" y="5237967"/>
              <a:ext cx="50370" cy="197669"/>
            </a:xfrm>
            <a:custGeom>
              <a:avLst/>
              <a:gdLst>
                <a:gd name="connsiteX0" fmla="*/ 1 w 50370"/>
                <a:gd name="connsiteY0" fmla="*/ 0 h 197669"/>
                <a:gd name="connsiteX1" fmla="*/ 1 w 50370"/>
                <a:gd name="connsiteY1" fmla="*/ 133351 h 197669"/>
                <a:gd name="connsiteX2" fmla="*/ 7761 w 50370"/>
                <a:gd name="connsiteY2" fmla="*/ 154156 h 197669"/>
                <a:gd name="connsiteX3" fmla="*/ 50371 w 50370"/>
                <a:gd name="connsiteY3" fmla="*/ 197670 h 1976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0370" h="197669">
                  <a:moveTo>
                    <a:pt x="1" y="0"/>
                  </a:moveTo>
                  <a:lnTo>
                    <a:pt x="1" y="133351"/>
                  </a:lnTo>
                  <a:cubicBezTo>
                    <a:pt x="1" y="133351"/>
                    <a:pt x="-284" y="145967"/>
                    <a:pt x="7761" y="154156"/>
                  </a:cubicBezTo>
                  <a:cubicBezTo>
                    <a:pt x="17283" y="163868"/>
                    <a:pt x="50371" y="197670"/>
                    <a:pt x="50371" y="19767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44" name="Forma livre: Forma 2043">
              <a:extLst>
                <a:ext uri="{FF2B5EF4-FFF2-40B4-BE49-F238E27FC236}">
                  <a16:creationId xmlns:a16="http://schemas.microsoft.com/office/drawing/2014/main" id="{26F7A801-B6A3-95DD-8452-C5D5435D88A3}"/>
                </a:ext>
              </a:extLst>
            </p:cNvPr>
            <p:cNvSpPr/>
            <p:nvPr/>
          </p:nvSpPr>
          <p:spPr>
            <a:xfrm>
              <a:off x="9491569" y="5280529"/>
              <a:ext cx="50131" cy="51417"/>
            </a:xfrm>
            <a:custGeom>
              <a:avLst/>
              <a:gdLst>
                <a:gd name="connsiteX0" fmla="*/ 0 w 50131"/>
                <a:gd name="connsiteY0" fmla="*/ 51417 h 51417"/>
                <a:gd name="connsiteX1" fmla="*/ 50132 w 50131"/>
                <a:gd name="connsiteY1" fmla="*/ 0 h 514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0131" h="51417">
                  <a:moveTo>
                    <a:pt x="0" y="51417"/>
                  </a:moveTo>
                  <a:lnTo>
                    <a:pt x="50132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45" name="Forma livre: Forma 2044">
              <a:extLst>
                <a:ext uri="{FF2B5EF4-FFF2-40B4-BE49-F238E27FC236}">
                  <a16:creationId xmlns:a16="http://schemas.microsoft.com/office/drawing/2014/main" id="{C9C984D2-ECF1-108A-760D-7AE5F24071B8}"/>
                </a:ext>
              </a:extLst>
            </p:cNvPr>
            <p:cNvSpPr/>
            <p:nvPr/>
          </p:nvSpPr>
          <p:spPr>
            <a:xfrm>
              <a:off x="9440200" y="5333517"/>
              <a:ext cx="49798" cy="50179"/>
            </a:xfrm>
            <a:custGeom>
              <a:avLst/>
              <a:gdLst>
                <a:gd name="connsiteX0" fmla="*/ 49798 w 49798"/>
                <a:gd name="connsiteY0" fmla="*/ 50179 h 50179"/>
                <a:gd name="connsiteX1" fmla="*/ 0 w 49798"/>
                <a:gd name="connsiteY1" fmla="*/ 0 h 501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9798" h="50179">
                  <a:moveTo>
                    <a:pt x="49798" y="50179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46" name="Forma livre: Forma 2045">
              <a:extLst>
                <a:ext uri="{FF2B5EF4-FFF2-40B4-BE49-F238E27FC236}">
                  <a16:creationId xmlns:a16="http://schemas.microsoft.com/office/drawing/2014/main" id="{DDB536F0-55D6-1FD7-47FF-46B599E614A0}"/>
                </a:ext>
              </a:extLst>
            </p:cNvPr>
            <p:cNvSpPr/>
            <p:nvPr/>
          </p:nvSpPr>
          <p:spPr>
            <a:xfrm>
              <a:off x="9440723" y="5282195"/>
              <a:ext cx="49512" cy="49750"/>
            </a:xfrm>
            <a:custGeom>
              <a:avLst/>
              <a:gdLst>
                <a:gd name="connsiteX0" fmla="*/ 49513 w 49512"/>
                <a:gd name="connsiteY0" fmla="*/ 49751 h 49750"/>
                <a:gd name="connsiteX1" fmla="*/ 0 w 49512"/>
                <a:gd name="connsiteY1" fmla="*/ 0 h 49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9512" h="49750">
                  <a:moveTo>
                    <a:pt x="49513" y="49751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47" name="Forma livre: Forma 2046">
              <a:extLst>
                <a:ext uri="{FF2B5EF4-FFF2-40B4-BE49-F238E27FC236}">
                  <a16:creationId xmlns:a16="http://schemas.microsoft.com/office/drawing/2014/main" id="{7C23219E-68AA-0B91-A51D-B4F3DE9DF305}"/>
                </a:ext>
              </a:extLst>
            </p:cNvPr>
            <p:cNvSpPr/>
            <p:nvPr/>
          </p:nvSpPr>
          <p:spPr>
            <a:xfrm>
              <a:off x="9472954" y="5201784"/>
              <a:ext cx="4760" cy="112117"/>
            </a:xfrm>
            <a:custGeom>
              <a:avLst/>
              <a:gdLst>
                <a:gd name="connsiteX0" fmla="*/ 0 w 4760"/>
                <a:gd name="connsiteY0" fmla="*/ 112118 h 112117"/>
                <a:gd name="connsiteX1" fmla="*/ 0 w 4760"/>
                <a:gd name="connsiteY1" fmla="*/ 0 h 112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760" h="112117">
                  <a:moveTo>
                    <a:pt x="0" y="112118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48" name="Forma livre: Forma 2047">
              <a:extLst>
                <a:ext uri="{FF2B5EF4-FFF2-40B4-BE49-F238E27FC236}">
                  <a16:creationId xmlns:a16="http://schemas.microsoft.com/office/drawing/2014/main" id="{16844D5C-BA1D-8F96-1F46-6EAEA91E9A05}"/>
                </a:ext>
              </a:extLst>
            </p:cNvPr>
            <p:cNvSpPr/>
            <p:nvPr/>
          </p:nvSpPr>
          <p:spPr>
            <a:xfrm>
              <a:off x="9506661" y="5201689"/>
              <a:ext cx="4760" cy="113117"/>
            </a:xfrm>
            <a:custGeom>
              <a:avLst/>
              <a:gdLst>
                <a:gd name="connsiteX0" fmla="*/ 0 w 4760"/>
                <a:gd name="connsiteY0" fmla="*/ 113117 h 113117"/>
                <a:gd name="connsiteX1" fmla="*/ 0 w 4760"/>
                <a:gd name="connsiteY1" fmla="*/ 0 h 113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760" h="113117">
                  <a:moveTo>
                    <a:pt x="0" y="113117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49" name="Forma livre: Forma 2048">
              <a:extLst>
                <a:ext uri="{FF2B5EF4-FFF2-40B4-BE49-F238E27FC236}">
                  <a16:creationId xmlns:a16="http://schemas.microsoft.com/office/drawing/2014/main" id="{9E79A559-CDB5-FA6B-C4EC-5DDBFC93CC9C}"/>
                </a:ext>
              </a:extLst>
            </p:cNvPr>
            <p:cNvSpPr/>
            <p:nvPr/>
          </p:nvSpPr>
          <p:spPr>
            <a:xfrm>
              <a:off x="9491902" y="5419259"/>
              <a:ext cx="17139" cy="16662"/>
            </a:xfrm>
            <a:custGeom>
              <a:avLst/>
              <a:gdLst>
                <a:gd name="connsiteX0" fmla="*/ 17139 w 17139"/>
                <a:gd name="connsiteY0" fmla="*/ 0 h 16662"/>
                <a:gd name="connsiteX1" fmla="*/ 0 w 17139"/>
                <a:gd name="connsiteY1" fmla="*/ 16663 h 166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7139" h="16662">
                  <a:moveTo>
                    <a:pt x="17139" y="0"/>
                  </a:moveTo>
                  <a:cubicBezTo>
                    <a:pt x="9331" y="7998"/>
                    <a:pt x="0" y="16663"/>
                    <a:pt x="0" y="16663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50" name="Forma livre: Forma 2049">
              <a:extLst>
                <a:ext uri="{FF2B5EF4-FFF2-40B4-BE49-F238E27FC236}">
                  <a16:creationId xmlns:a16="http://schemas.microsoft.com/office/drawing/2014/main" id="{7DFECD6F-26CD-C5D1-D8E1-16D21F534075}"/>
                </a:ext>
              </a:extLst>
            </p:cNvPr>
            <p:cNvSpPr/>
            <p:nvPr/>
          </p:nvSpPr>
          <p:spPr>
            <a:xfrm>
              <a:off x="9491902" y="5237681"/>
              <a:ext cx="50988" cy="145776"/>
            </a:xfrm>
            <a:custGeom>
              <a:avLst/>
              <a:gdLst>
                <a:gd name="connsiteX0" fmla="*/ 50989 w 50988"/>
                <a:gd name="connsiteY0" fmla="*/ 0 h 145776"/>
                <a:gd name="connsiteX1" fmla="*/ 50989 w 50988"/>
                <a:gd name="connsiteY1" fmla="*/ 93170 h 145776"/>
                <a:gd name="connsiteX2" fmla="*/ 0 w 50988"/>
                <a:gd name="connsiteY2" fmla="*/ 145777 h 1457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50988" h="145776">
                  <a:moveTo>
                    <a:pt x="50989" y="0"/>
                  </a:moveTo>
                  <a:lnTo>
                    <a:pt x="50989" y="93170"/>
                  </a:lnTo>
                  <a:lnTo>
                    <a:pt x="0" y="145777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2051" name="Gráfico 18">
              <a:extLst>
                <a:ext uri="{FF2B5EF4-FFF2-40B4-BE49-F238E27FC236}">
                  <a16:creationId xmlns:a16="http://schemas.microsoft.com/office/drawing/2014/main" id="{E0398AE5-E200-40C8-F54D-B837D9C2F1BF}"/>
                </a:ext>
              </a:extLst>
            </p:cNvPr>
            <p:cNvGrpSpPr/>
            <p:nvPr/>
          </p:nvGrpSpPr>
          <p:grpSpPr>
            <a:xfrm>
              <a:off x="9527323" y="5266056"/>
              <a:ext cx="161011" cy="265797"/>
              <a:chOff x="9527323" y="5266056"/>
              <a:chExt cx="161011" cy="265797"/>
            </a:xfrm>
            <a:noFill/>
          </p:grpSpPr>
          <p:sp>
            <p:nvSpPr>
              <p:cNvPr id="2052" name="Forma livre: Forma 2051">
                <a:extLst>
                  <a:ext uri="{FF2B5EF4-FFF2-40B4-BE49-F238E27FC236}">
                    <a16:creationId xmlns:a16="http://schemas.microsoft.com/office/drawing/2014/main" id="{2FBB72FF-5CA8-6637-176E-57ED62905F36}"/>
                  </a:ext>
                </a:extLst>
              </p:cNvPr>
              <p:cNvSpPr/>
              <p:nvPr/>
            </p:nvSpPr>
            <p:spPr>
              <a:xfrm>
                <a:off x="9533162" y="5282481"/>
                <a:ext cx="63764" cy="198146"/>
              </a:xfrm>
              <a:custGeom>
                <a:avLst/>
                <a:gdLst>
                  <a:gd name="connsiteX0" fmla="*/ 63764 w 63764"/>
                  <a:gd name="connsiteY0" fmla="*/ 0 h 198146"/>
                  <a:gd name="connsiteX1" fmla="*/ 3587 w 63764"/>
                  <a:gd name="connsiteY1" fmla="*/ 118450 h 198146"/>
                  <a:gd name="connsiteX2" fmla="*/ 1064 w 63764"/>
                  <a:gd name="connsiteY2" fmla="*/ 140588 h 198146"/>
                  <a:gd name="connsiteX3" fmla="*/ 19012 w 63764"/>
                  <a:gd name="connsiteY3" fmla="*/ 198146 h 1981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3764" h="198146">
                    <a:moveTo>
                      <a:pt x="63764" y="0"/>
                    </a:moveTo>
                    <a:lnTo>
                      <a:pt x="3587" y="118450"/>
                    </a:lnTo>
                    <a:cubicBezTo>
                      <a:pt x="3587" y="118450"/>
                      <a:pt x="-2364" y="129542"/>
                      <a:pt x="1064" y="140588"/>
                    </a:cubicBezTo>
                    <a:cubicBezTo>
                      <a:pt x="5111" y="153680"/>
                      <a:pt x="19012" y="198146"/>
                      <a:pt x="19012" y="198146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053" name="Forma livre: Forma 2052">
                <a:extLst>
                  <a:ext uri="{FF2B5EF4-FFF2-40B4-BE49-F238E27FC236}">
                    <a16:creationId xmlns:a16="http://schemas.microsoft.com/office/drawing/2014/main" id="{673EB1B7-21E6-270C-B5FD-502011EFEEC8}"/>
                  </a:ext>
                </a:extLst>
              </p:cNvPr>
              <p:cNvSpPr/>
              <p:nvPr/>
            </p:nvSpPr>
            <p:spPr>
              <a:xfrm>
                <a:off x="9576645" y="5414165"/>
                <a:ext cx="68841" cy="22233"/>
              </a:xfrm>
              <a:custGeom>
                <a:avLst/>
                <a:gdLst>
                  <a:gd name="connsiteX0" fmla="*/ 0 w 68841"/>
                  <a:gd name="connsiteY0" fmla="*/ 22233 h 22233"/>
                  <a:gd name="connsiteX1" fmla="*/ 68842 w 68841"/>
                  <a:gd name="connsiteY1" fmla="*/ 0 h 222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8841" h="22233">
                    <a:moveTo>
                      <a:pt x="0" y="22233"/>
                    </a:moveTo>
                    <a:lnTo>
                      <a:pt x="68842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054" name="Forma livre: Forma 2053">
                <a:extLst>
                  <a:ext uri="{FF2B5EF4-FFF2-40B4-BE49-F238E27FC236}">
                    <a16:creationId xmlns:a16="http://schemas.microsoft.com/office/drawing/2014/main" id="{15D10E16-0F99-5322-E08E-E2A3DBCEBB6C}"/>
                  </a:ext>
                </a:extLst>
              </p:cNvPr>
              <p:cNvSpPr/>
              <p:nvPr/>
            </p:nvSpPr>
            <p:spPr>
              <a:xfrm>
                <a:off x="9599593" y="5368176"/>
                <a:ext cx="69413" cy="22375"/>
              </a:xfrm>
              <a:custGeom>
                <a:avLst/>
                <a:gdLst>
                  <a:gd name="connsiteX0" fmla="*/ 0 w 69413"/>
                  <a:gd name="connsiteY0" fmla="*/ 22376 h 22375"/>
                  <a:gd name="connsiteX1" fmla="*/ 69413 w 69413"/>
                  <a:gd name="connsiteY1" fmla="*/ 0 h 223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9413" h="22375">
                    <a:moveTo>
                      <a:pt x="0" y="22376"/>
                    </a:moveTo>
                    <a:lnTo>
                      <a:pt x="69413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055" name="Forma livre: Forma 2054">
                <a:extLst>
                  <a:ext uri="{FF2B5EF4-FFF2-40B4-BE49-F238E27FC236}">
                    <a16:creationId xmlns:a16="http://schemas.microsoft.com/office/drawing/2014/main" id="{8E656A3F-DDE9-9F42-9092-687FCF11EE8E}"/>
                  </a:ext>
                </a:extLst>
              </p:cNvPr>
              <p:cNvSpPr/>
              <p:nvPr/>
            </p:nvSpPr>
            <p:spPr>
              <a:xfrm>
                <a:off x="9554079" y="5367509"/>
                <a:ext cx="21233" cy="68270"/>
              </a:xfrm>
              <a:custGeom>
                <a:avLst/>
                <a:gdLst>
                  <a:gd name="connsiteX0" fmla="*/ 21233 w 21233"/>
                  <a:gd name="connsiteY0" fmla="*/ 68270 h 68270"/>
                  <a:gd name="connsiteX1" fmla="*/ 0 w 21233"/>
                  <a:gd name="connsiteY1" fmla="*/ 0 h 682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1233" h="68270">
                    <a:moveTo>
                      <a:pt x="21233" y="68270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056" name="Forma livre: Forma 2055">
                <a:extLst>
                  <a:ext uri="{FF2B5EF4-FFF2-40B4-BE49-F238E27FC236}">
                    <a16:creationId xmlns:a16="http://schemas.microsoft.com/office/drawing/2014/main" id="{4BA18544-55DF-A525-E4FD-5B8869E8B07B}"/>
                  </a:ext>
                </a:extLst>
              </p:cNvPr>
              <p:cNvSpPr/>
              <p:nvPr/>
            </p:nvSpPr>
            <p:spPr>
              <a:xfrm>
                <a:off x="9577788" y="5322186"/>
                <a:ext cx="20995" cy="67937"/>
              </a:xfrm>
              <a:custGeom>
                <a:avLst/>
                <a:gdLst>
                  <a:gd name="connsiteX0" fmla="*/ 20995 w 20995"/>
                  <a:gd name="connsiteY0" fmla="*/ 67937 h 67937"/>
                  <a:gd name="connsiteX1" fmla="*/ 0 w 20995"/>
                  <a:gd name="connsiteY1" fmla="*/ 0 h 679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0995" h="67937">
                    <a:moveTo>
                      <a:pt x="20995" y="67937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057" name="Forma livre: Forma 2056">
                <a:extLst>
                  <a:ext uri="{FF2B5EF4-FFF2-40B4-BE49-F238E27FC236}">
                    <a16:creationId xmlns:a16="http://schemas.microsoft.com/office/drawing/2014/main" id="{A92C2738-8EC7-4281-ED1C-CBB786996E85}"/>
                  </a:ext>
                </a:extLst>
              </p:cNvPr>
              <p:cNvSpPr/>
              <p:nvPr/>
            </p:nvSpPr>
            <p:spPr>
              <a:xfrm>
                <a:off x="9592118" y="5266056"/>
                <a:ext cx="50607" cy="99549"/>
              </a:xfrm>
              <a:custGeom>
                <a:avLst/>
                <a:gdLst>
                  <a:gd name="connsiteX0" fmla="*/ 0 w 50607"/>
                  <a:gd name="connsiteY0" fmla="*/ 99549 h 99549"/>
                  <a:gd name="connsiteX1" fmla="*/ 50608 w 50607"/>
                  <a:gd name="connsiteY1" fmla="*/ 0 h 995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0607" h="99549">
                    <a:moveTo>
                      <a:pt x="0" y="99549"/>
                    </a:moveTo>
                    <a:lnTo>
                      <a:pt x="50608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058" name="Forma livre: Forma 2057">
                <a:extLst>
                  <a:ext uri="{FF2B5EF4-FFF2-40B4-BE49-F238E27FC236}">
                    <a16:creationId xmlns:a16="http://schemas.microsoft.com/office/drawing/2014/main" id="{95CD5048-A286-1F80-5884-119A4DB1A640}"/>
                  </a:ext>
                </a:extLst>
              </p:cNvPr>
              <p:cNvSpPr/>
              <p:nvPr/>
            </p:nvSpPr>
            <p:spPr>
              <a:xfrm>
                <a:off x="9621397" y="5281862"/>
                <a:ext cx="51179" cy="100739"/>
              </a:xfrm>
              <a:custGeom>
                <a:avLst/>
                <a:gdLst>
                  <a:gd name="connsiteX0" fmla="*/ 0 w 51179"/>
                  <a:gd name="connsiteY0" fmla="*/ 100739 h 100739"/>
                  <a:gd name="connsiteX1" fmla="*/ 51179 w 51179"/>
                  <a:gd name="connsiteY1" fmla="*/ 0 h 1007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1179" h="100739">
                    <a:moveTo>
                      <a:pt x="0" y="100739"/>
                    </a:moveTo>
                    <a:lnTo>
                      <a:pt x="51179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059" name="Forma livre: Forma 2058">
                <a:extLst>
                  <a:ext uri="{FF2B5EF4-FFF2-40B4-BE49-F238E27FC236}">
                    <a16:creationId xmlns:a16="http://schemas.microsoft.com/office/drawing/2014/main" id="{CE888E56-362E-B7F9-13C6-FF2C3F847717}"/>
                  </a:ext>
                </a:extLst>
              </p:cNvPr>
              <p:cNvSpPr/>
              <p:nvPr/>
            </p:nvSpPr>
            <p:spPr>
              <a:xfrm>
                <a:off x="9554032" y="5330851"/>
                <a:ext cx="134303" cy="150728"/>
              </a:xfrm>
              <a:custGeom>
                <a:avLst/>
                <a:gdLst>
                  <a:gd name="connsiteX0" fmla="*/ 134303 w 134303"/>
                  <a:gd name="connsiteY0" fmla="*/ 0 h 150728"/>
                  <a:gd name="connsiteX1" fmla="*/ 74126 w 134303"/>
                  <a:gd name="connsiteY1" fmla="*/ 118402 h 150728"/>
                  <a:gd name="connsiteX2" fmla="*/ 57844 w 134303"/>
                  <a:gd name="connsiteY2" fmla="*/ 133256 h 150728"/>
                  <a:gd name="connsiteX3" fmla="*/ 0 w 134303"/>
                  <a:gd name="connsiteY3" fmla="*/ 150728 h 1507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34303" h="150728">
                    <a:moveTo>
                      <a:pt x="134303" y="0"/>
                    </a:moveTo>
                    <a:lnTo>
                      <a:pt x="74126" y="118402"/>
                    </a:lnTo>
                    <a:cubicBezTo>
                      <a:pt x="74126" y="118402"/>
                      <a:pt x="68699" y="129733"/>
                      <a:pt x="57844" y="133256"/>
                    </a:cubicBezTo>
                    <a:cubicBezTo>
                      <a:pt x="45037" y="137446"/>
                      <a:pt x="0" y="150728"/>
                      <a:pt x="0" y="150728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060" name="Forma livre: Forma 2059">
                <a:extLst>
                  <a:ext uri="{FF2B5EF4-FFF2-40B4-BE49-F238E27FC236}">
                    <a16:creationId xmlns:a16="http://schemas.microsoft.com/office/drawing/2014/main" id="{A3716B1C-9B92-B1C7-6C05-4AB13C7DBD03}"/>
                  </a:ext>
                </a:extLst>
              </p:cNvPr>
              <p:cNvSpPr/>
              <p:nvPr/>
            </p:nvSpPr>
            <p:spPr>
              <a:xfrm>
                <a:off x="9527323" y="5390361"/>
                <a:ext cx="71936" cy="141492"/>
              </a:xfrm>
              <a:custGeom>
                <a:avLst/>
                <a:gdLst>
                  <a:gd name="connsiteX0" fmla="*/ 0 w 71936"/>
                  <a:gd name="connsiteY0" fmla="*/ 141492 h 141492"/>
                  <a:gd name="connsiteX1" fmla="*/ 71936 w 71936"/>
                  <a:gd name="connsiteY1" fmla="*/ 0 h 1414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71936" h="141492">
                    <a:moveTo>
                      <a:pt x="0" y="141492"/>
                    </a:moveTo>
                    <a:lnTo>
                      <a:pt x="71936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2061" name="Gráfico 18">
            <a:extLst>
              <a:ext uri="{FF2B5EF4-FFF2-40B4-BE49-F238E27FC236}">
                <a16:creationId xmlns:a16="http://schemas.microsoft.com/office/drawing/2014/main" id="{58405C97-2E89-4431-3932-D2A435C3FA21}"/>
              </a:ext>
            </a:extLst>
          </p:cNvPr>
          <p:cNvGrpSpPr/>
          <p:nvPr/>
        </p:nvGrpSpPr>
        <p:grpSpPr>
          <a:xfrm>
            <a:off x="8789770" y="5206283"/>
            <a:ext cx="306867" cy="320992"/>
            <a:chOff x="8789770" y="5206283"/>
            <a:chExt cx="306867" cy="320992"/>
          </a:xfrm>
          <a:noFill/>
        </p:grpSpPr>
        <p:sp>
          <p:nvSpPr>
            <p:cNvPr id="2062" name="Forma livre: Forma 2061">
              <a:extLst>
                <a:ext uri="{FF2B5EF4-FFF2-40B4-BE49-F238E27FC236}">
                  <a16:creationId xmlns:a16="http://schemas.microsoft.com/office/drawing/2014/main" id="{8E2C1C2E-2339-6966-25A4-D7BFD06AA2E1}"/>
                </a:ext>
              </a:extLst>
            </p:cNvPr>
            <p:cNvSpPr/>
            <p:nvPr/>
          </p:nvSpPr>
          <p:spPr>
            <a:xfrm>
              <a:off x="8963402" y="5206283"/>
              <a:ext cx="43410" cy="33825"/>
            </a:xfrm>
            <a:custGeom>
              <a:avLst/>
              <a:gdLst>
                <a:gd name="connsiteX0" fmla="*/ 41372 w 43410"/>
                <a:gd name="connsiteY0" fmla="*/ 33826 h 33825"/>
                <a:gd name="connsiteX1" fmla="*/ 31707 w 43410"/>
                <a:gd name="connsiteY1" fmla="*/ 4737 h 33825"/>
                <a:gd name="connsiteX2" fmla="*/ 0 w 43410"/>
                <a:gd name="connsiteY2" fmla="*/ 7403 h 338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3410" h="33825">
                  <a:moveTo>
                    <a:pt x="41372" y="33826"/>
                  </a:moveTo>
                  <a:cubicBezTo>
                    <a:pt x="46942" y="24495"/>
                    <a:pt x="40229" y="9831"/>
                    <a:pt x="31707" y="4737"/>
                  </a:cubicBezTo>
                  <a:cubicBezTo>
                    <a:pt x="22662" y="-690"/>
                    <a:pt x="6427" y="-3356"/>
                    <a:pt x="0" y="7403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63" name="Forma livre: Forma 2062">
              <a:extLst>
                <a:ext uri="{FF2B5EF4-FFF2-40B4-BE49-F238E27FC236}">
                  <a16:creationId xmlns:a16="http://schemas.microsoft.com/office/drawing/2014/main" id="{1AF105E8-5E0C-28B2-916C-5EAADE648DA2}"/>
                </a:ext>
              </a:extLst>
            </p:cNvPr>
            <p:cNvSpPr/>
            <p:nvPr/>
          </p:nvSpPr>
          <p:spPr>
            <a:xfrm>
              <a:off x="8789770" y="5313188"/>
              <a:ext cx="151017" cy="214087"/>
            </a:xfrm>
            <a:custGeom>
              <a:avLst/>
              <a:gdLst>
                <a:gd name="connsiteX0" fmla="*/ 107646 w 151017"/>
                <a:gd name="connsiteY0" fmla="*/ 0 h 214087"/>
                <a:gd name="connsiteX1" fmla="*/ 58895 w 151017"/>
                <a:gd name="connsiteY1" fmla="*/ 60177 h 214087"/>
                <a:gd name="connsiteX2" fmla="*/ 58657 w 151017"/>
                <a:gd name="connsiteY2" fmla="*/ 60320 h 214087"/>
                <a:gd name="connsiteX3" fmla="*/ 480 w 151017"/>
                <a:gd name="connsiteY3" fmla="*/ 197480 h 214087"/>
                <a:gd name="connsiteX4" fmla="*/ 7954 w 151017"/>
                <a:gd name="connsiteY4" fmla="*/ 210762 h 214087"/>
                <a:gd name="connsiteX5" fmla="*/ 19618 w 151017"/>
                <a:gd name="connsiteY5" fmla="*/ 214047 h 214087"/>
                <a:gd name="connsiteX6" fmla="*/ 36234 w 151017"/>
                <a:gd name="connsiteY6" fmla="*/ 194909 h 214087"/>
                <a:gd name="connsiteX7" fmla="*/ 79034 w 151017"/>
                <a:gd name="connsiteY7" fmla="*/ 89789 h 214087"/>
                <a:gd name="connsiteX8" fmla="*/ 151018 w 151017"/>
                <a:gd name="connsiteY8" fmla="*/ 25756 h 2140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51017" h="214087">
                  <a:moveTo>
                    <a:pt x="107646" y="0"/>
                  </a:moveTo>
                  <a:cubicBezTo>
                    <a:pt x="92174" y="22614"/>
                    <a:pt x="76130" y="48608"/>
                    <a:pt x="58895" y="60177"/>
                  </a:cubicBezTo>
                  <a:lnTo>
                    <a:pt x="58657" y="60320"/>
                  </a:lnTo>
                  <a:cubicBezTo>
                    <a:pt x="56039" y="62177"/>
                    <a:pt x="-6043" y="106405"/>
                    <a:pt x="480" y="197480"/>
                  </a:cubicBezTo>
                  <a:cubicBezTo>
                    <a:pt x="861" y="203002"/>
                    <a:pt x="3765" y="207811"/>
                    <a:pt x="7954" y="210762"/>
                  </a:cubicBezTo>
                  <a:cubicBezTo>
                    <a:pt x="11239" y="213095"/>
                    <a:pt x="15334" y="214333"/>
                    <a:pt x="19618" y="214047"/>
                  </a:cubicBezTo>
                  <a:cubicBezTo>
                    <a:pt x="29521" y="213333"/>
                    <a:pt x="36900" y="204764"/>
                    <a:pt x="36234" y="194909"/>
                  </a:cubicBezTo>
                  <a:cubicBezTo>
                    <a:pt x="31235" y="125353"/>
                    <a:pt x="76510" y="91646"/>
                    <a:pt x="79034" y="89789"/>
                  </a:cubicBezTo>
                  <a:cubicBezTo>
                    <a:pt x="100505" y="75364"/>
                    <a:pt x="130641" y="50227"/>
                    <a:pt x="151018" y="25756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64" name="Forma livre: Forma 2063">
              <a:extLst>
                <a:ext uri="{FF2B5EF4-FFF2-40B4-BE49-F238E27FC236}">
                  <a16:creationId xmlns:a16="http://schemas.microsoft.com/office/drawing/2014/main" id="{C38F085F-9B12-3C91-A9CC-599FC3BE4E83}"/>
                </a:ext>
              </a:extLst>
            </p:cNvPr>
            <p:cNvSpPr/>
            <p:nvPr/>
          </p:nvSpPr>
          <p:spPr>
            <a:xfrm>
              <a:off x="8905488" y="5229042"/>
              <a:ext cx="191150" cy="176458"/>
            </a:xfrm>
            <a:custGeom>
              <a:avLst/>
              <a:gdLst>
                <a:gd name="connsiteX0" fmla="*/ 188123 w 191150"/>
                <a:gd name="connsiteY0" fmla="*/ 41727 h 176458"/>
                <a:gd name="connsiteX1" fmla="*/ 93001 w 191150"/>
                <a:gd name="connsiteY1" fmla="*/ 38633 h 176458"/>
                <a:gd name="connsiteX2" fmla="*/ 87146 w 191150"/>
                <a:gd name="connsiteY2" fmla="*/ 26778 h 176458"/>
                <a:gd name="connsiteX3" fmla="*/ 47250 w 191150"/>
                <a:gd name="connsiteY3" fmla="*/ 2307 h 176458"/>
                <a:gd name="connsiteX4" fmla="*/ 25588 w 191150"/>
                <a:gd name="connsiteY4" fmla="*/ 7497 h 176458"/>
                <a:gd name="connsiteX5" fmla="*/ 2307 w 191150"/>
                <a:gd name="connsiteY5" fmla="*/ 45441 h 176458"/>
                <a:gd name="connsiteX6" fmla="*/ 7497 w 191150"/>
                <a:gd name="connsiteY6" fmla="*/ 67150 h 176458"/>
                <a:gd name="connsiteX7" fmla="*/ 47393 w 191150"/>
                <a:gd name="connsiteY7" fmla="*/ 91621 h 176458"/>
                <a:gd name="connsiteX8" fmla="*/ 60104 w 191150"/>
                <a:gd name="connsiteY8" fmla="*/ 91526 h 176458"/>
                <a:gd name="connsiteX9" fmla="*/ 103332 w 191150"/>
                <a:gd name="connsiteY9" fmla="*/ 176459 h 176458"/>
                <a:gd name="connsiteX10" fmla="*/ 167794 w 191150"/>
                <a:gd name="connsiteY10" fmla="*/ 121614 h 176458"/>
                <a:gd name="connsiteX11" fmla="*/ 188171 w 191150"/>
                <a:gd name="connsiteY11" fmla="*/ 41727 h 1764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91150" h="176458">
                  <a:moveTo>
                    <a:pt x="188123" y="41727"/>
                  </a:moveTo>
                  <a:cubicBezTo>
                    <a:pt x="153321" y="73720"/>
                    <a:pt x="102761" y="43108"/>
                    <a:pt x="93001" y="38633"/>
                  </a:cubicBezTo>
                  <a:cubicBezTo>
                    <a:pt x="92049" y="34681"/>
                    <a:pt x="90859" y="29063"/>
                    <a:pt x="87146" y="26778"/>
                  </a:cubicBezTo>
                  <a:lnTo>
                    <a:pt x="47250" y="2307"/>
                  </a:lnTo>
                  <a:cubicBezTo>
                    <a:pt x="39870" y="-2215"/>
                    <a:pt x="30063" y="117"/>
                    <a:pt x="25588" y="7497"/>
                  </a:cubicBezTo>
                  <a:lnTo>
                    <a:pt x="2307" y="45441"/>
                  </a:lnTo>
                  <a:cubicBezTo>
                    <a:pt x="-2215" y="52820"/>
                    <a:pt x="117" y="62580"/>
                    <a:pt x="7497" y="67150"/>
                  </a:cubicBezTo>
                  <a:lnTo>
                    <a:pt x="47393" y="91621"/>
                  </a:lnTo>
                  <a:cubicBezTo>
                    <a:pt x="50963" y="93811"/>
                    <a:pt x="56295" y="92335"/>
                    <a:pt x="60104" y="91526"/>
                  </a:cubicBezTo>
                  <a:cubicBezTo>
                    <a:pt x="68293" y="98476"/>
                    <a:pt x="118615" y="134992"/>
                    <a:pt x="103332" y="176459"/>
                  </a:cubicBezTo>
                  <a:cubicBezTo>
                    <a:pt x="103332" y="176459"/>
                    <a:pt x="132612" y="175507"/>
                    <a:pt x="167794" y="121614"/>
                  </a:cubicBezTo>
                  <a:cubicBezTo>
                    <a:pt x="202644" y="65865"/>
                    <a:pt x="188171" y="41727"/>
                    <a:pt x="188171" y="41727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2065" name="Gráfico 18">
            <a:extLst>
              <a:ext uri="{FF2B5EF4-FFF2-40B4-BE49-F238E27FC236}">
                <a16:creationId xmlns:a16="http://schemas.microsoft.com/office/drawing/2014/main" id="{84D0E2E1-0D35-AC04-E341-20128B2499EE}"/>
              </a:ext>
            </a:extLst>
          </p:cNvPr>
          <p:cNvGrpSpPr/>
          <p:nvPr/>
        </p:nvGrpSpPr>
        <p:grpSpPr>
          <a:xfrm>
            <a:off x="8161010" y="5240585"/>
            <a:ext cx="322546" cy="252419"/>
            <a:chOff x="8161010" y="5240585"/>
            <a:chExt cx="322546" cy="252419"/>
          </a:xfrm>
        </p:grpSpPr>
        <p:grpSp>
          <p:nvGrpSpPr>
            <p:cNvPr id="2066" name="Gráfico 18">
              <a:extLst>
                <a:ext uri="{FF2B5EF4-FFF2-40B4-BE49-F238E27FC236}">
                  <a16:creationId xmlns:a16="http://schemas.microsoft.com/office/drawing/2014/main" id="{64A062E4-A9D9-2EF0-1971-5C3EAA9B77EF}"/>
                </a:ext>
              </a:extLst>
            </p:cNvPr>
            <p:cNvGrpSpPr/>
            <p:nvPr/>
          </p:nvGrpSpPr>
          <p:grpSpPr>
            <a:xfrm>
              <a:off x="8176769" y="5240585"/>
              <a:ext cx="269987" cy="251277"/>
              <a:chOff x="8176769" y="5240585"/>
              <a:chExt cx="269987" cy="251277"/>
            </a:xfrm>
            <a:noFill/>
          </p:grpSpPr>
          <p:grpSp>
            <p:nvGrpSpPr>
              <p:cNvPr id="2067" name="Gráfico 18">
                <a:extLst>
                  <a:ext uri="{FF2B5EF4-FFF2-40B4-BE49-F238E27FC236}">
                    <a16:creationId xmlns:a16="http://schemas.microsoft.com/office/drawing/2014/main" id="{327D19F2-20A1-68EE-A498-C410D009BA53}"/>
                  </a:ext>
                </a:extLst>
              </p:cNvPr>
              <p:cNvGrpSpPr/>
              <p:nvPr/>
            </p:nvGrpSpPr>
            <p:grpSpPr>
              <a:xfrm>
                <a:off x="8371106" y="5240585"/>
                <a:ext cx="75649" cy="251277"/>
                <a:chOff x="8371106" y="5240585"/>
                <a:chExt cx="75649" cy="251277"/>
              </a:xfrm>
              <a:noFill/>
            </p:grpSpPr>
            <p:sp>
              <p:nvSpPr>
                <p:cNvPr id="2068" name="Forma livre: Forma 2067">
                  <a:extLst>
                    <a:ext uri="{FF2B5EF4-FFF2-40B4-BE49-F238E27FC236}">
                      <a16:creationId xmlns:a16="http://schemas.microsoft.com/office/drawing/2014/main" id="{3DE38CC1-020D-EE39-4866-05329089A696}"/>
                    </a:ext>
                  </a:extLst>
                </p:cNvPr>
                <p:cNvSpPr/>
                <p:nvPr/>
              </p:nvSpPr>
              <p:spPr>
                <a:xfrm>
                  <a:off x="8371106" y="5456013"/>
                  <a:ext cx="23328" cy="35849"/>
                </a:xfrm>
                <a:custGeom>
                  <a:avLst/>
                  <a:gdLst>
                    <a:gd name="connsiteX0" fmla="*/ 23328 w 23328"/>
                    <a:gd name="connsiteY0" fmla="*/ 35849 h 35849"/>
                    <a:gd name="connsiteX1" fmla="*/ 23328 w 23328"/>
                    <a:gd name="connsiteY1" fmla="*/ 0 h 35849"/>
                    <a:gd name="connsiteX2" fmla="*/ 0 w 23328"/>
                    <a:gd name="connsiteY2" fmla="*/ 0 h 3584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23328" h="35849">
                      <a:moveTo>
                        <a:pt x="23328" y="35849"/>
                      </a:moveTo>
                      <a:lnTo>
                        <a:pt x="23328" y="0"/>
                      </a:lnTo>
                      <a:lnTo>
                        <a:pt x="0" y="0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069" name="Forma livre: Forma 2068">
                  <a:extLst>
                    <a:ext uri="{FF2B5EF4-FFF2-40B4-BE49-F238E27FC236}">
                      <a16:creationId xmlns:a16="http://schemas.microsoft.com/office/drawing/2014/main" id="{D2D0B76D-320F-9213-955D-037AD86294BF}"/>
                    </a:ext>
                  </a:extLst>
                </p:cNvPr>
                <p:cNvSpPr/>
                <p:nvPr/>
              </p:nvSpPr>
              <p:spPr>
                <a:xfrm>
                  <a:off x="8394434" y="5240585"/>
                  <a:ext cx="52321" cy="251277"/>
                </a:xfrm>
                <a:custGeom>
                  <a:avLst/>
                  <a:gdLst>
                    <a:gd name="connsiteX0" fmla="*/ 0 w 52321"/>
                    <a:gd name="connsiteY0" fmla="*/ 82886 h 251277"/>
                    <a:gd name="connsiteX1" fmla="*/ 0 w 52321"/>
                    <a:gd name="connsiteY1" fmla="*/ 45085 h 251277"/>
                    <a:gd name="connsiteX2" fmla="*/ 25709 w 52321"/>
                    <a:gd name="connsiteY2" fmla="*/ 0 h 251277"/>
                    <a:gd name="connsiteX3" fmla="*/ 52322 w 52321"/>
                    <a:gd name="connsiteY3" fmla="*/ 45085 h 251277"/>
                    <a:gd name="connsiteX4" fmla="*/ 52322 w 52321"/>
                    <a:gd name="connsiteY4" fmla="*/ 251277 h 25127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2321" h="251277">
                      <a:moveTo>
                        <a:pt x="0" y="82886"/>
                      </a:moveTo>
                      <a:lnTo>
                        <a:pt x="0" y="45085"/>
                      </a:lnTo>
                      <a:lnTo>
                        <a:pt x="25709" y="0"/>
                      </a:lnTo>
                      <a:lnTo>
                        <a:pt x="52322" y="45085"/>
                      </a:lnTo>
                      <a:lnTo>
                        <a:pt x="52322" y="251277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070" name="Forma livre: Forma 2069">
                  <a:extLst>
                    <a:ext uri="{FF2B5EF4-FFF2-40B4-BE49-F238E27FC236}">
                      <a16:creationId xmlns:a16="http://schemas.microsoft.com/office/drawing/2014/main" id="{5249EBF7-CAAF-678B-6A91-7E150A5B9B8A}"/>
                    </a:ext>
                  </a:extLst>
                </p:cNvPr>
                <p:cNvSpPr/>
                <p:nvPr/>
              </p:nvSpPr>
              <p:spPr>
                <a:xfrm>
                  <a:off x="8371106" y="5307903"/>
                  <a:ext cx="23137" cy="4760"/>
                </a:xfrm>
                <a:custGeom>
                  <a:avLst/>
                  <a:gdLst>
                    <a:gd name="connsiteX0" fmla="*/ 0 w 23137"/>
                    <a:gd name="connsiteY0" fmla="*/ 0 h 4760"/>
                    <a:gd name="connsiteX1" fmla="*/ 23138 w 23137"/>
                    <a:gd name="connsiteY1" fmla="*/ 0 h 476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3137" h="4760">
                      <a:moveTo>
                        <a:pt x="0" y="0"/>
                      </a:moveTo>
                      <a:lnTo>
                        <a:pt x="23138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071" name="Forma livre: Forma 2070">
                  <a:extLst>
                    <a:ext uri="{FF2B5EF4-FFF2-40B4-BE49-F238E27FC236}">
                      <a16:creationId xmlns:a16="http://schemas.microsoft.com/office/drawing/2014/main" id="{C75BC806-F5BF-01A8-59F2-0A9AFAD3B335}"/>
                    </a:ext>
                  </a:extLst>
                </p:cNvPr>
                <p:cNvSpPr/>
                <p:nvPr/>
              </p:nvSpPr>
              <p:spPr>
                <a:xfrm>
                  <a:off x="8371106" y="5408976"/>
                  <a:ext cx="23851" cy="4760"/>
                </a:xfrm>
                <a:custGeom>
                  <a:avLst/>
                  <a:gdLst>
                    <a:gd name="connsiteX0" fmla="*/ 23852 w 23851"/>
                    <a:gd name="connsiteY0" fmla="*/ 0 h 4760"/>
                    <a:gd name="connsiteX1" fmla="*/ 0 w 23851"/>
                    <a:gd name="connsiteY1" fmla="*/ 0 h 476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3851" h="4760">
                      <a:moveTo>
                        <a:pt x="23852" y="0"/>
                      </a:moveTo>
                      <a:lnTo>
                        <a:pt x="0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072" name="Forma livre: Forma 2071">
                  <a:extLst>
                    <a:ext uri="{FF2B5EF4-FFF2-40B4-BE49-F238E27FC236}">
                      <a16:creationId xmlns:a16="http://schemas.microsoft.com/office/drawing/2014/main" id="{44B6FE67-DB64-2331-9E76-A89B245D8A03}"/>
                    </a:ext>
                  </a:extLst>
                </p:cNvPr>
                <p:cNvSpPr/>
                <p:nvPr/>
              </p:nvSpPr>
              <p:spPr>
                <a:xfrm>
                  <a:off x="8371106" y="5357321"/>
                  <a:ext cx="23328" cy="67223"/>
                </a:xfrm>
                <a:custGeom>
                  <a:avLst/>
                  <a:gdLst>
                    <a:gd name="connsiteX0" fmla="*/ 0 w 23328"/>
                    <a:gd name="connsiteY0" fmla="*/ 0 h 67223"/>
                    <a:gd name="connsiteX1" fmla="*/ 23328 w 23328"/>
                    <a:gd name="connsiteY1" fmla="*/ 0 h 67223"/>
                    <a:gd name="connsiteX2" fmla="*/ 23328 w 23328"/>
                    <a:gd name="connsiteY2" fmla="*/ 67223 h 6722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23328" h="67223">
                      <a:moveTo>
                        <a:pt x="0" y="0"/>
                      </a:moveTo>
                      <a:lnTo>
                        <a:pt x="23328" y="0"/>
                      </a:lnTo>
                      <a:lnTo>
                        <a:pt x="23328" y="67223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2073" name="Gráfico 18">
                <a:extLst>
                  <a:ext uri="{FF2B5EF4-FFF2-40B4-BE49-F238E27FC236}">
                    <a16:creationId xmlns:a16="http://schemas.microsoft.com/office/drawing/2014/main" id="{773B4F6E-9F63-A218-1D67-BD7B426B3590}"/>
                  </a:ext>
                </a:extLst>
              </p:cNvPr>
              <p:cNvGrpSpPr/>
              <p:nvPr/>
            </p:nvGrpSpPr>
            <p:grpSpPr>
              <a:xfrm>
                <a:off x="8273937" y="5240585"/>
                <a:ext cx="75697" cy="251277"/>
                <a:chOff x="8273937" y="5240585"/>
                <a:chExt cx="75697" cy="251277"/>
              </a:xfrm>
              <a:noFill/>
            </p:grpSpPr>
            <p:sp>
              <p:nvSpPr>
                <p:cNvPr id="2074" name="Forma livre: Forma 2073">
                  <a:extLst>
                    <a:ext uri="{FF2B5EF4-FFF2-40B4-BE49-F238E27FC236}">
                      <a16:creationId xmlns:a16="http://schemas.microsoft.com/office/drawing/2014/main" id="{57C7A92A-6C58-AE4F-623B-38475FE438B5}"/>
                    </a:ext>
                  </a:extLst>
                </p:cNvPr>
                <p:cNvSpPr/>
                <p:nvPr/>
              </p:nvSpPr>
              <p:spPr>
                <a:xfrm>
                  <a:off x="8273937" y="5456013"/>
                  <a:ext cx="23328" cy="35849"/>
                </a:xfrm>
                <a:custGeom>
                  <a:avLst/>
                  <a:gdLst>
                    <a:gd name="connsiteX0" fmla="*/ 23328 w 23328"/>
                    <a:gd name="connsiteY0" fmla="*/ 35849 h 35849"/>
                    <a:gd name="connsiteX1" fmla="*/ 23328 w 23328"/>
                    <a:gd name="connsiteY1" fmla="*/ 0 h 35849"/>
                    <a:gd name="connsiteX2" fmla="*/ 0 w 23328"/>
                    <a:gd name="connsiteY2" fmla="*/ 0 h 3584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23328" h="35849">
                      <a:moveTo>
                        <a:pt x="23328" y="35849"/>
                      </a:moveTo>
                      <a:lnTo>
                        <a:pt x="23328" y="0"/>
                      </a:lnTo>
                      <a:lnTo>
                        <a:pt x="0" y="0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075" name="Forma livre: Forma 2074">
                  <a:extLst>
                    <a:ext uri="{FF2B5EF4-FFF2-40B4-BE49-F238E27FC236}">
                      <a16:creationId xmlns:a16="http://schemas.microsoft.com/office/drawing/2014/main" id="{9CC66157-79B1-98CA-CDE8-B548F01CDE79}"/>
                    </a:ext>
                  </a:extLst>
                </p:cNvPr>
                <p:cNvSpPr/>
                <p:nvPr/>
              </p:nvSpPr>
              <p:spPr>
                <a:xfrm>
                  <a:off x="8297265" y="5240585"/>
                  <a:ext cx="52369" cy="251277"/>
                </a:xfrm>
                <a:custGeom>
                  <a:avLst/>
                  <a:gdLst>
                    <a:gd name="connsiteX0" fmla="*/ 0 w 52369"/>
                    <a:gd name="connsiteY0" fmla="*/ 82886 h 251277"/>
                    <a:gd name="connsiteX1" fmla="*/ 0 w 52369"/>
                    <a:gd name="connsiteY1" fmla="*/ 45085 h 251277"/>
                    <a:gd name="connsiteX2" fmla="*/ 25661 w 52369"/>
                    <a:gd name="connsiteY2" fmla="*/ 0 h 251277"/>
                    <a:gd name="connsiteX3" fmla="*/ 52369 w 52369"/>
                    <a:gd name="connsiteY3" fmla="*/ 45085 h 251277"/>
                    <a:gd name="connsiteX4" fmla="*/ 52369 w 52369"/>
                    <a:gd name="connsiteY4" fmla="*/ 251277 h 25127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2369" h="251277">
                      <a:moveTo>
                        <a:pt x="0" y="82886"/>
                      </a:moveTo>
                      <a:lnTo>
                        <a:pt x="0" y="45085"/>
                      </a:lnTo>
                      <a:lnTo>
                        <a:pt x="25661" y="0"/>
                      </a:lnTo>
                      <a:lnTo>
                        <a:pt x="52369" y="45085"/>
                      </a:lnTo>
                      <a:lnTo>
                        <a:pt x="52369" y="251277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076" name="Forma livre: Forma 2075">
                  <a:extLst>
                    <a:ext uri="{FF2B5EF4-FFF2-40B4-BE49-F238E27FC236}">
                      <a16:creationId xmlns:a16="http://schemas.microsoft.com/office/drawing/2014/main" id="{E9C4B6C5-0383-9EC0-AFD1-F984390079BF}"/>
                    </a:ext>
                  </a:extLst>
                </p:cNvPr>
                <p:cNvSpPr/>
                <p:nvPr/>
              </p:nvSpPr>
              <p:spPr>
                <a:xfrm>
                  <a:off x="8273937" y="5307903"/>
                  <a:ext cx="22471" cy="4760"/>
                </a:xfrm>
                <a:custGeom>
                  <a:avLst/>
                  <a:gdLst>
                    <a:gd name="connsiteX0" fmla="*/ 0 w 22471"/>
                    <a:gd name="connsiteY0" fmla="*/ 0 h 4760"/>
                    <a:gd name="connsiteX1" fmla="*/ 22471 w 22471"/>
                    <a:gd name="connsiteY1" fmla="*/ 0 h 476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2471" h="4760">
                      <a:moveTo>
                        <a:pt x="0" y="0"/>
                      </a:moveTo>
                      <a:lnTo>
                        <a:pt x="22471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077" name="Forma livre: Forma 2076">
                  <a:extLst>
                    <a:ext uri="{FF2B5EF4-FFF2-40B4-BE49-F238E27FC236}">
                      <a16:creationId xmlns:a16="http://schemas.microsoft.com/office/drawing/2014/main" id="{43716EA0-A81C-A0C7-CCC5-125554DA2029}"/>
                    </a:ext>
                  </a:extLst>
                </p:cNvPr>
                <p:cNvSpPr/>
                <p:nvPr/>
              </p:nvSpPr>
              <p:spPr>
                <a:xfrm>
                  <a:off x="8273937" y="5408976"/>
                  <a:ext cx="24327" cy="4760"/>
                </a:xfrm>
                <a:custGeom>
                  <a:avLst/>
                  <a:gdLst>
                    <a:gd name="connsiteX0" fmla="*/ 24328 w 24327"/>
                    <a:gd name="connsiteY0" fmla="*/ 0 h 4760"/>
                    <a:gd name="connsiteX1" fmla="*/ 0 w 24327"/>
                    <a:gd name="connsiteY1" fmla="*/ 0 h 476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4327" h="4760">
                      <a:moveTo>
                        <a:pt x="24328" y="0"/>
                      </a:moveTo>
                      <a:lnTo>
                        <a:pt x="0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078" name="Forma livre: Forma 2077">
                  <a:extLst>
                    <a:ext uri="{FF2B5EF4-FFF2-40B4-BE49-F238E27FC236}">
                      <a16:creationId xmlns:a16="http://schemas.microsoft.com/office/drawing/2014/main" id="{BDA288A5-E1E9-CCDA-CF0F-FE212B33BE49}"/>
                    </a:ext>
                  </a:extLst>
                </p:cNvPr>
                <p:cNvSpPr/>
                <p:nvPr/>
              </p:nvSpPr>
              <p:spPr>
                <a:xfrm>
                  <a:off x="8273937" y="5357321"/>
                  <a:ext cx="23328" cy="67223"/>
                </a:xfrm>
                <a:custGeom>
                  <a:avLst/>
                  <a:gdLst>
                    <a:gd name="connsiteX0" fmla="*/ 0 w 23328"/>
                    <a:gd name="connsiteY0" fmla="*/ 0 h 67223"/>
                    <a:gd name="connsiteX1" fmla="*/ 23328 w 23328"/>
                    <a:gd name="connsiteY1" fmla="*/ 0 h 67223"/>
                    <a:gd name="connsiteX2" fmla="*/ 23328 w 23328"/>
                    <a:gd name="connsiteY2" fmla="*/ 67223 h 6722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23328" h="67223">
                      <a:moveTo>
                        <a:pt x="0" y="0"/>
                      </a:moveTo>
                      <a:lnTo>
                        <a:pt x="23328" y="0"/>
                      </a:lnTo>
                      <a:lnTo>
                        <a:pt x="23328" y="67223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2079" name="Gráfico 18">
                <a:extLst>
                  <a:ext uri="{FF2B5EF4-FFF2-40B4-BE49-F238E27FC236}">
                    <a16:creationId xmlns:a16="http://schemas.microsoft.com/office/drawing/2014/main" id="{4676033F-9C06-1CDB-98F6-37BB2E9A4F11}"/>
                  </a:ext>
                </a:extLst>
              </p:cNvPr>
              <p:cNvGrpSpPr/>
              <p:nvPr/>
            </p:nvGrpSpPr>
            <p:grpSpPr>
              <a:xfrm>
                <a:off x="8176769" y="5240585"/>
                <a:ext cx="75697" cy="251277"/>
                <a:chOff x="8176769" y="5240585"/>
                <a:chExt cx="75697" cy="251277"/>
              </a:xfrm>
              <a:noFill/>
            </p:grpSpPr>
            <p:sp>
              <p:nvSpPr>
                <p:cNvPr id="2080" name="Forma livre: Forma 2079">
                  <a:extLst>
                    <a:ext uri="{FF2B5EF4-FFF2-40B4-BE49-F238E27FC236}">
                      <a16:creationId xmlns:a16="http://schemas.microsoft.com/office/drawing/2014/main" id="{7D7572F0-2941-76B0-5D6B-E3A35891EAF8}"/>
                    </a:ext>
                  </a:extLst>
                </p:cNvPr>
                <p:cNvSpPr/>
                <p:nvPr/>
              </p:nvSpPr>
              <p:spPr>
                <a:xfrm>
                  <a:off x="8176769" y="5456013"/>
                  <a:ext cx="23328" cy="35849"/>
                </a:xfrm>
                <a:custGeom>
                  <a:avLst/>
                  <a:gdLst>
                    <a:gd name="connsiteX0" fmla="*/ 23328 w 23328"/>
                    <a:gd name="connsiteY0" fmla="*/ 35849 h 35849"/>
                    <a:gd name="connsiteX1" fmla="*/ 23328 w 23328"/>
                    <a:gd name="connsiteY1" fmla="*/ 0 h 35849"/>
                    <a:gd name="connsiteX2" fmla="*/ 0 w 23328"/>
                    <a:gd name="connsiteY2" fmla="*/ 0 h 3584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23328" h="35849">
                      <a:moveTo>
                        <a:pt x="23328" y="35849"/>
                      </a:moveTo>
                      <a:lnTo>
                        <a:pt x="23328" y="0"/>
                      </a:lnTo>
                      <a:lnTo>
                        <a:pt x="0" y="0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081" name="Forma livre: Forma 2080">
                  <a:extLst>
                    <a:ext uri="{FF2B5EF4-FFF2-40B4-BE49-F238E27FC236}">
                      <a16:creationId xmlns:a16="http://schemas.microsoft.com/office/drawing/2014/main" id="{2F3801F4-7D30-864B-68D2-58154CD6A1A1}"/>
                    </a:ext>
                  </a:extLst>
                </p:cNvPr>
                <p:cNvSpPr/>
                <p:nvPr/>
              </p:nvSpPr>
              <p:spPr>
                <a:xfrm>
                  <a:off x="8200097" y="5240585"/>
                  <a:ext cx="52369" cy="251277"/>
                </a:xfrm>
                <a:custGeom>
                  <a:avLst/>
                  <a:gdLst>
                    <a:gd name="connsiteX0" fmla="*/ 0 w 52369"/>
                    <a:gd name="connsiteY0" fmla="*/ 82886 h 251277"/>
                    <a:gd name="connsiteX1" fmla="*/ 0 w 52369"/>
                    <a:gd name="connsiteY1" fmla="*/ 45085 h 251277"/>
                    <a:gd name="connsiteX2" fmla="*/ 25661 w 52369"/>
                    <a:gd name="connsiteY2" fmla="*/ 0 h 251277"/>
                    <a:gd name="connsiteX3" fmla="*/ 52369 w 52369"/>
                    <a:gd name="connsiteY3" fmla="*/ 45085 h 251277"/>
                    <a:gd name="connsiteX4" fmla="*/ 52369 w 52369"/>
                    <a:gd name="connsiteY4" fmla="*/ 251277 h 25127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2369" h="251277">
                      <a:moveTo>
                        <a:pt x="0" y="82886"/>
                      </a:moveTo>
                      <a:lnTo>
                        <a:pt x="0" y="45085"/>
                      </a:lnTo>
                      <a:lnTo>
                        <a:pt x="25661" y="0"/>
                      </a:lnTo>
                      <a:lnTo>
                        <a:pt x="52369" y="45085"/>
                      </a:lnTo>
                      <a:lnTo>
                        <a:pt x="52369" y="251277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082" name="Forma livre: Forma 2081">
                  <a:extLst>
                    <a:ext uri="{FF2B5EF4-FFF2-40B4-BE49-F238E27FC236}">
                      <a16:creationId xmlns:a16="http://schemas.microsoft.com/office/drawing/2014/main" id="{98A28DA6-49C1-69C5-0F05-9A923D507826}"/>
                    </a:ext>
                  </a:extLst>
                </p:cNvPr>
                <p:cNvSpPr/>
                <p:nvPr/>
              </p:nvSpPr>
              <p:spPr>
                <a:xfrm>
                  <a:off x="8176769" y="5307903"/>
                  <a:ext cx="22804" cy="4760"/>
                </a:xfrm>
                <a:custGeom>
                  <a:avLst/>
                  <a:gdLst>
                    <a:gd name="connsiteX0" fmla="*/ 0 w 22804"/>
                    <a:gd name="connsiteY0" fmla="*/ 0 h 4760"/>
                    <a:gd name="connsiteX1" fmla="*/ 22804 w 22804"/>
                    <a:gd name="connsiteY1" fmla="*/ 0 h 476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2804" h="4760">
                      <a:moveTo>
                        <a:pt x="0" y="0"/>
                      </a:moveTo>
                      <a:lnTo>
                        <a:pt x="22804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083" name="Forma livre: Forma 2082">
                  <a:extLst>
                    <a:ext uri="{FF2B5EF4-FFF2-40B4-BE49-F238E27FC236}">
                      <a16:creationId xmlns:a16="http://schemas.microsoft.com/office/drawing/2014/main" id="{C6F1EC1B-57BF-247F-5585-B28F8F734BBC}"/>
                    </a:ext>
                  </a:extLst>
                </p:cNvPr>
                <p:cNvSpPr/>
                <p:nvPr/>
              </p:nvSpPr>
              <p:spPr>
                <a:xfrm>
                  <a:off x="8176769" y="5408976"/>
                  <a:ext cx="23661" cy="4760"/>
                </a:xfrm>
                <a:custGeom>
                  <a:avLst/>
                  <a:gdLst>
                    <a:gd name="connsiteX0" fmla="*/ 23661 w 23661"/>
                    <a:gd name="connsiteY0" fmla="*/ 0 h 4760"/>
                    <a:gd name="connsiteX1" fmla="*/ 0 w 23661"/>
                    <a:gd name="connsiteY1" fmla="*/ 0 h 476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3661" h="4760">
                      <a:moveTo>
                        <a:pt x="23661" y="0"/>
                      </a:moveTo>
                      <a:lnTo>
                        <a:pt x="0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084" name="Forma livre: Forma 2083">
                  <a:extLst>
                    <a:ext uri="{FF2B5EF4-FFF2-40B4-BE49-F238E27FC236}">
                      <a16:creationId xmlns:a16="http://schemas.microsoft.com/office/drawing/2014/main" id="{BC71BE5D-A65B-6ABD-B9E9-1CD1A6108337}"/>
                    </a:ext>
                  </a:extLst>
                </p:cNvPr>
                <p:cNvSpPr/>
                <p:nvPr/>
              </p:nvSpPr>
              <p:spPr>
                <a:xfrm>
                  <a:off x="8176769" y="5357321"/>
                  <a:ext cx="23328" cy="67223"/>
                </a:xfrm>
                <a:custGeom>
                  <a:avLst/>
                  <a:gdLst>
                    <a:gd name="connsiteX0" fmla="*/ 0 w 23328"/>
                    <a:gd name="connsiteY0" fmla="*/ 0 h 67223"/>
                    <a:gd name="connsiteX1" fmla="*/ 23328 w 23328"/>
                    <a:gd name="connsiteY1" fmla="*/ 0 h 67223"/>
                    <a:gd name="connsiteX2" fmla="*/ 23328 w 23328"/>
                    <a:gd name="connsiteY2" fmla="*/ 67223 h 6722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23328" h="67223">
                      <a:moveTo>
                        <a:pt x="0" y="0"/>
                      </a:moveTo>
                      <a:lnTo>
                        <a:pt x="23328" y="0"/>
                      </a:lnTo>
                      <a:lnTo>
                        <a:pt x="23328" y="67223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sp>
          <p:nvSpPr>
            <p:cNvPr id="2085" name="Forma livre: Forma 2084">
              <a:extLst>
                <a:ext uri="{FF2B5EF4-FFF2-40B4-BE49-F238E27FC236}">
                  <a16:creationId xmlns:a16="http://schemas.microsoft.com/office/drawing/2014/main" id="{8E4CF916-22A0-6C95-1F81-513B6C56806D}"/>
                </a:ext>
              </a:extLst>
            </p:cNvPr>
            <p:cNvSpPr/>
            <p:nvPr/>
          </p:nvSpPr>
          <p:spPr>
            <a:xfrm>
              <a:off x="8161010" y="5493005"/>
              <a:ext cx="322546" cy="4760"/>
            </a:xfrm>
            <a:custGeom>
              <a:avLst/>
              <a:gdLst>
                <a:gd name="connsiteX0" fmla="*/ 322547 w 322546"/>
                <a:gd name="connsiteY0" fmla="*/ 0 h 4760"/>
                <a:gd name="connsiteX1" fmla="*/ 0 w 322546"/>
                <a:gd name="connsiteY1" fmla="*/ 0 h 47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22546" h="4760">
                  <a:moveTo>
                    <a:pt x="322547" y="0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86" name="Forma livre: Forma 2085">
              <a:extLst>
                <a:ext uri="{FF2B5EF4-FFF2-40B4-BE49-F238E27FC236}">
                  <a16:creationId xmlns:a16="http://schemas.microsoft.com/office/drawing/2014/main" id="{782A0D7C-C5C8-1B7C-C153-16C035813807}"/>
                </a:ext>
              </a:extLst>
            </p:cNvPr>
            <p:cNvSpPr/>
            <p:nvPr/>
          </p:nvSpPr>
          <p:spPr>
            <a:xfrm>
              <a:off x="8417286" y="5329899"/>
              <a:ext cx="5713" cy="5712"/>
            </a:xfrm>
            <a:custGeom>
              <a:avLst/>
              <a:gdLst>
                <a:gd name="connsiteX0" fmla="*/ 5713 w 5713"/>
                <a:gd name="connsiteY0" fmla="*/ 2857 h 5712"/>
                <a:gd name="connsiteX1" fmla="*/ 2857 w 5713"/>
                <a:gd name="connsiteY1" fmla="*/ 5713 h 5712"/>
                <a:gd name="connsiteX2" fmla="*/ 0 w 5713"/>
                <a:gd name="connsiteY2" fmla="*/ 2857 h 5712"/>
                <a:gd name="connsiteX3" fmla="*/ 2857 w 5713"/>
                <a:gd name="connsiteY3" fmla="*/ 0 h 5712"/>
                <a:gd name="connsiteX4" fmla="*/ 5713 w 5713"/>
                <a:gd name="connsiteY4" fmla="*/ 2857 h 57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3" h="5712">
                  <a:moveTo>
                    <a:pt x="5713" y="2857"/>
                  </a:moveTo>
                  <a:cubicBezTo>
                    <a:pt x="5713" y="4428"/>
                    <a:pt x="4428" y="5713"/>
                    <a:pt x="2857" y="5713"/>
                  </a:cubicBezTo>
                  <a:cubicBezTo>
                    <a:pt x="1285" y="5713"/>
                    <a:pt x="0" y="4428"/>
                    <a:pt x="0" y="2857"/>
                  </a:cubicBezTo>
                  <a:cubicBezTo>
                    <a:pt x="0" y="1285"/>
                    <a:pt x="1285" y="0"/>
                    <a:pt x="2857" y="0"/>
                  </a:cubicBezTo>
                  <a:cubicBezTo>
                    <a:pt x="4428" y="0"/>
                    <a:pt x="5713" y="1285"/>
                    <a:pt x="5713" y="2857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87" name="Forma livre: Forma 2086">
              <a:extLst>
                <a:ext uri="{FF2B5EF4-FFF2-40B4-BE49-F238E27FC236}">
                  <a16:creationId xmlns:a16="http://schemas.microsoft.com/office/drawing/2014/main" id="{5CEAAD01-3470-961B-51DF-051A776407D2}"/>
                </a:ext>
              </a:extLst>
            </p:cNvPr>
            <p:cNvSpPr/>
            <p:nvPr/>
          </p:nvSpPr>
          <p:spPr>
            <a:xfrm>
              <a:off x="8319832" y="5329899"/>
              <a:ext cx="5712" cy="5712"/>
            </a:xfrm>
            <a:custGeom>
              <a:avLst/>
              <a:gdLst>
                <a:gd name="connsiteX0" fmla="*/ 5713 w 5712"/>
                <a:gd name="connsiteY0" fmla="*/ 2857 h 5712"/>
                <a:gd name="connsiteX1" fmla="*/ 2856 w 5712"/>
                <a:gd name="connsiteY1" fmla="*/ 5713 h 5712"/>
                <a:gd name="connsiteX2" fmla="*/ 0 w 5712"/>
                <a:gd name="connsiteY2" fmla="*/ 2857 h 5712"/>
                <a:gd name="connsiteX3" fmla="*/ 2856 w 5712"/>
                <a:gd name="connsiteY3" fmla="*/ 0 h 5712"/>
                <a:gd name="connsiteX4" fmla="*/ 5713 w 5712"/>
                <a:gd name="connsiteY4" fmla="*/ 2857 h 57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2" h="5712">
                  <a:moveTo>
                    <a:pt x="5713" y="2857"/>
                  </a:moveTo>
                  <a:cubicBezTo>
                    <a:pt x="5713" y="4428"/>
                    <a:pt x="4428" y="5713"/>
                    <a:pt x="2856" y="5713"/>
                  </a:cubicBezTo>
                  <a:cubicBezTo>
                    <a:pt x="1285" y="5713"/>
                    <a:pt x="0" y="4428"/>
                    <a:pt x="0" y="2857"/>
                  </a:cubicBezTo>
                  <a:cubicBezTo>
                    <a:pt x="0" y="1285"/>
                    <a:pt x="1285" y="0"/>
                    <a:pt x="2856" y="0"/>
                  </a:cubicBezTo>
                  <a:cubicBezTo>
                    <a:pt x="4428" y="0"/>
                    <a:pt x="5713" y="1285"/>
                    <a:pt x="5713" y="2857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88" name="Forma livre: Forma 2087">
              <a:extLst>
                <a:ext uri="{FF2B5EF4-FFF2-40B4-BE49-F238E27FC236}">
                  <a16:creationId xmlns:a16="http://schemas.microsoft.com/office/drawing/2014/main" id="{2833D54E-37A5-4F61-EB92-68135F41C252}"/>
                </a:ext>
              </a:extLst>
            </p:cNvPr>
            <p:cNvSpPr/>
            <p:nvPr/>
          </p:nvSpPr>
          <p:spPr>
            <a:xfrm>
              <a:off x="8222520" y="5329899"/>
              <a:ext cx="5713" cy="5712"/>
            </a:xfrm>
            <a:custGeom>
              <a:avLst/>
              <a:gdLst>
                <a:gd name="connsiteX0" fmla="*/ 5713 w 5713"/>
                <a:gd name="connsiteY0" fmla="*/ 2857 h 5712"/>
                <a:gd name="connsiteX1" fmla="*/ 2857 w 5713"/>
                <a:gd name="connsiteY1" fmla="*/ 5713 h 5712"/>
                <a:gd name="connsiteX2" fmla="*/ 0 w 5713"/>
                <a:gd name="connsiteY2" fmla="*/ 2857 h 5712"/>
                <a:gd name="connsiteX3" fmla="*/ 2857 w 5713"/>
                <a:gd name="connsiteY3" fmla="*/ 0 h 5712"/>
                <a:gd name="connsiteX4" fmla="*/ 5713 w 5713"/>
                <a:gd name="connsiteY4" fmla="*/ 2857 h 57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3" h="5712">
                  <a:moveTo>
                    <a:pt x="5713" y="2857"/>
                  </a:moveTo>
                  <a:cubicBezTo>
                    <a:pt x="5713" y="4428"/>
                    <a:pt x="4428" y="5713"/>
                    <a:pt x="2857" y="5713"/>
                  </a:cubicBezTo>
                  <a:cubicBezTo>
                    <a:pt x="1285" y="5713"/>
                    <a:pt x="0" y="4428"/>
                    <a:pt x="0" y="2857"/>
                  </a:cubicBezTo>
                  <a:cubicBezTo>
                    <a:pt x="0" y="1285"/>
                    <a:pt x="1285" y="0"/>
                    <a:pt x="2857" y="0"/>
                  </a:cubicBezTo>
                  <a:cubicBezTo>
                    <a:pt x="4428" y="0"/>
                    <a:pt x="5713" y="1285"/>
                    <a:pt x="5713" y="2857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89" name="Forma livre: Forma 2088">
              <a:extLst>
                <a:ext uri="{FF2B5EF4-FFF2-40B4-BE49-F238E27FC236}">
                  <a16:creationId xmlns:a16="http://schemas.microsoft.com/office/drawing/2014/main" id="{792FE3CF-B884-8ED1-2793-0100410A9C6F}"/>
                </a:ext>
              </a:extLst>
            </p:cNvPr>
            <p:cNvSpPr/>
            <p:nvPr/>
          </p:nvSpPr>
          <p:spPr>
            <a:xfrm>
              <a:off x="8417286" y="5430971"/>
              <a:ext cx="5713" cy="5713"/>
            </a:xfrm>
            <a:custGeom>
              <a:avLst/>
              <a:gdLst>
                <a:gd name="connsiteX0" fmla="*/ 5713 w 5713"/>
                <a:gd name="connsiteY0" fmla="*/ 2857 h 5713"/>
                <a:gd name="connsiteX1" fmla="*/ 2857 w 5713"/>
                <a:gd name="connsiteY1" fmla="*/ 5713 h 5713"/>
                <a:gd name="connsiteX2" fmla="*/ 0 w 5713"/>
                <a:gd name="connsiteY2" fmla="*/ 2857 h 5713"/>
                <a:gd name="connsiteX3" fmla="*/ 2857 w 5713"/>
                <a:gd name="connsiteY3" fmla="*/ 0 h 5713"/>
                <a:gd name="connsiteX4" fmla="*/ 5713 w 5713"/>
                <a:gd name="connsiteY4" fmla="*/ 2857 h 57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3" h="5713">
                  <a:moveTo>
                    <a:pt x="5713" y="2857"/>
                  </a:moveTo>
                  <a:cubicBezTo>
                    <a:pt x="5713" y="4428"/>
                    <a:pt x="4428" y="5713"/>
                    <a:pt x="2857" y="5713"/>
                  </a:cubicBezTo>
                  <a:cubicBezTo>
                    <a:pt x="1285" y="5713"/>
                    <a:pt x="0" y="4428"/>
                    <a:pt x="0" y="2857"/>
                  </a:cubicBezTo>
                  <a:cubicBezTo>
                    <a:pt x="0" y="1286"/>
                    <a:pt x="1285" y="0"/>
                    <a:pt x="2857" y="0"/>
                  </a:cubicBezTo>
                  <a:cubicBezTo>
                    <a:pt x="4428" y="0"/>
                    <a:pt x="5713" y="1286"/>
                    <a:pt x="5713" y="2857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90" name="Forma livre: Forma 2089">
              <a:extLst>
                <a:ext uri="{FF2B5EF4-FFF2-40B4-BE49-F238E27FC236}">
                  <a16:creationId xmlns:a16="http://schemas.microsoft.com/office/drawing/2014/main" id="{18E76BBB-9855-DC92-FB63-7EA2282CD6AA}"/>
                </a:ext>
              </a:extLst>
            </p:cNvPr>
            <p:cNvSpPr/>
            <p:nvPr/>
          </p:nvSpPr>
          <p:spPr>
            <a:xfrm>
              <a:off x="8319832" y="5430971"/>
              <a:ext cx="5712" cy="5713"/>
            </a:xfrm>
            <a:custGeom>
              <a:avLst/>
              <a:gdLst>
                <a:gd name="connsiteX0" fmla="*/ 5713 w 5712"/>
                <a:gd name="connsiteY0" fmla="*/ 2857 h 5713"/>
                <a:gd name="connsiteX1" fmla="*/ 2856 w 5712"/>
                <a:gd name="connsiteY1" fmla="*/ 5713 h 5713"/>
                <a:gd name="connsiteX2" fmla="*/ 0 w 5712"/>
                <a:gd name="connsiteY2" fmla="*/ 2857 h 5713"/>
                <a:gd name="connsiteX3" fmla="*/ 2856 w 5712"/>
                <a:gd name="connsiteY3" fmla="*/ 0 h 5713"/>
                <a:gd name="connsiteX4" fmla="*/ 5713 w 5712"/>
                <a:gd name="connsiteY4" fmla="*/ 2857 h 57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2" h="5713">
                  <a:moveTo>
                    <a:pt x="5713" y="2857"/>
                  </a:moveTo>
                  <a:cubicBezTo>
                    <a:pt x="5713" y="4428"/>
                    <a:pt x="4428" y="5713"/>
                    <a:pt x="2856" y="5713"/>
                  </a:cubicBezTo>
                  <a:cubicBezTo>
                    <a:pt x="1285" y="5713"/>
                    <a:pt x="0" y="4428"/>
                    <a:pt x="0" y="2857"/>
                  </a:cubicBezTo>
                  <a:cubicBezTo>
                    <a:pt x="0" y="1286"/>
                    <a:pt x="1285" y="0"/>
                    <a:pt x="2856" y="0"/>
                  </a:cubicBezTo>
                  <a:cubicBezTo>
                    <a:pt x="4428" y="0"/>
                    <a:pt x="5713" y="1286"/>
                    <a:pt x="5713" y="2857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91" name="Forma livre: Forma 2090">
              <a:extLst>
                <a:ext uri="{FF2B5EF4-FFF2-40B4-BE49-F238E27FC236}">
                  <a16:creationId xmlns:a16="http://schemas.microsoft.com/office/drawing/2014/main" id="{57E63133-FCE1-1878-0ACC-22F7ACABAE01}"/>
                </a:ext>
              </a:extLst>
            </p:cNvPr>
            <p:cNvSpPr/>
            <p:nvPr/>
          </p:nvSpPr>
          <p:spPr>
            <a:xfrm>
              <a:off x="8222520" y="5430971"/>
              <a:ext cx="5713" cy="5713"/>
            </a:xfrm>
            <a:custGeom>
              <a:avLst/>
              <a:gdLst>
                <a:gd name="connsiteX0" fmla="*/ 5713 w 5713"/>
                <a:gd name="connsiteY0" fmla="*/ 2857 h 5713"/>
                <a:gd name="connsiteX1" fmla="*/ 2857 w 5713"/>
                <a:gd name="connsiteY1" fmla="*/ 5713 h 5713"/>
                <a:gd name="connsiteX2" fmla="*/ 0 w 5713"/>
                <a:gd name="connsiteY2" fmla="*/ 2857 h 5713"/>
                <a:gd name="connsiteX3" fmla="*/ 2857 w 5713"/>
                <a:gd name="connsiteY3" fmla="*/ 0 h 5713"/>
                <a:gd name="connsiteX4" fmla="*/ 5713 w 5713"/>
                <a:gd name="connsiteY4" fmla="*/ 2857 h 57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3" h="5713">
                  <a:moveTo>
                    <a:pt x="5713" y="2857"/>
                  </a:moveTo>
                  <a:cubicBezTo>
                    <a:pt x="5713" y="4428"/>
                    <a:pt x="4428" y="5713"/>
                    <a:pt x="2857" y="5713"/>
                  </a:cubicBezTo>
                  <a:cubicBezTo>
                    <a:pt x="1285" y="5713"/>
                    <a:pt x="0" y="4428"/>
                    <a:pt x="0" y="2857"/>
                  </a:cubicBezTo>
                  <a:cubicBezTo>
                    <a:pt x="0" y="1286"/>
                    <a:pt x="1285" y="0"/>
                    <a:pt x="2857" y="0"/>
                  </a:cubicBezTo>
                  <a:cubicBezTo>
                    <a:pt x="4428" y="0"/>
                    <a:pt x="5713" y="1286"/>
                    <a:pt x="5713" y="2857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2092" name="Gráfico 18">
            <a:extLst>
              <a:ext uri="{FF2B5EF4-FFF2-40B4-BE49-F238E27FC236}">
                <a16:creationId xmlns:a16="http://schemas.microsoft.com/office/drawing/2014/main" id="{451DD643-FFC7-1926-DB4E-291848C52AB2}"/>
              </a:ext>
            </a:extLst>
          </p:cNvPr>
          <p:cNvGrpSpPr/>
          <p:nvPr/>
        </p:nvGrpSpPr>
        <p:grpSpPr>
          <a:xfrm>
            <a:off x="9370215" y="3651988"/>
            <a:ext cx="387770" cy="283650"/>
            <a:chOff x="9370215" y="3651988"/>
            <a:chExt cx="387770" cy="283650"/>
          </a:xfrm>
          <a:noFill/>
        </p:grpSpPr>
        <p:sp>
          <p:nvSpPr>
            <p:cNvPr id="2093" name="Forma livre: Forma 2092">
              <a:extLst>
                <a:ext uri="{FF2B5EF4-FFF2-40B4-BE49-F238E27FC236}">
                  <a16:creationId xmlns:a16="http://schemas.microsoft.com/office/drawing/2014/main" id="{05DEFF03-8C05-EFBC-C5F8-1A32222C35D4}"/>
                </a:ext>
              </a:extLst>
            </p:cNvPr>
            <p:cNvSpPr/>
            <p:nvPr/>
          </p:nvSpPr>
          <p:spPr>
            <a:xfrm>
              <a:off x="9488998" y="3702691"/>
              <a:ext cx="155298" cy="61986"/>
            </a:xfrm>
            <a:custGeom>
              <a:avLst/>
              <a:gdLst>
                <a:gd name="connsiteX0" fmla="*/ 0 w 155298"/>
                <a:gd name="connsiteY0" fmla="*/ 61986 h 61986"/>
                <a:gd name="connsiteX1" fmla="*/ 78411 w 155298"/>
                <a:gd name="connsiteY1" fmla="*/ 0 h 61986"/>
                <a:gd name="connsiteX2" fmla="*/ 155299 w 155298"/>
                <a:gd name="connsiteY2" fmla="*/ 56321 h 619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55298" h="61986">
                  <a:moveTo>
                    <a:pt x="0" y="61986"/>
                  </a:moveTo>
                  <a:cubicBezTo>
                    <a:pt x="8379" y="26423"/>
                    <a:pt x="40324" y="0"/>
                    <a:pt x="78411" y="0"/>
                  </a:cubicBezTo>
                  <a:cubicBezTo>
                    <a:pt x="114450" y="0"/>
                    <a:pt x="144967" y="23661"/>
                    <a:pt x="155299" y="56321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94" name="Forma livre: Forma 2093">
              <a:extLst>
                <a:ext uri="{FF2B5EF4-FFF2-40B4-BE49-F238E27FC236}">
                  <a16:creationId xmlns:a16="http://schemas.microsoft.com/office/drawing/2014/main" id="{9DD2E485-BD3E-44B9-3A64-DF890AB7DDC8}"/>
                </a:ext>
              </a:extLst>
            </p:cNvPr>
            <p:cNvSpPr/>
            <p:nvPr/>
          </p:nvSpPr>
          <p:spPr>
            <a:xfrm>
              <a:off x="9370215" y="3785858"/>
              <a:ext cx="171866" cy="14525"/>
            </a:xfrm>
            <a:custGeom>
              <a:avLst/>
              <a:gdLst>
                <a:gd name="connsiteX0" fmla="*/ 0 w 171866"/>
                <a:gd name="connsiteY0" fmla="*/ 14525 h 14525"/>
                <a:gd name="connsiteX1" fmla="*/ 171866 w 171866"/>
                <a:gd name="connsiteY1" fmla="*/ 11240 h 14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71866" h="14525">
                  <a:moveTo>
                    <a:pt x="0" y="14525"/>
                  </a:moveTo>
                  <a:cubicBezTo>
                    <a:pt x="46418" y="-3090"/>
                    <a:pt x="108023" y="-5280"/>
                    <a:pt x="171866" y="11240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95" name="Forma livre: Forma 2094">
              <a:extLst>
                <a:ext uri="{FF2B5EF4-FFF2-40B4-BE49-F238E27FC236}">
                  <a16:creationId xmlns:a16="http://schemas.microsoft.com/office/drawing/2014/main" id="{C4F390C3-CC9C-8D30-B0B5-F705DD5A2C9A}"/>
                </a:ext>
              </a:extLst>
            </p:cNvPr>
            <p:cNvSpPr/>
            <p:nvPr/>
          </p:nvSpPr>
          <p:spPr>
            <a:xfrm>
              <a:off x="9400732" y="3819713"/>
              <a:ext cx="87218" cy="6522"/>
            </a:xfrm>
            <a:custGeom>
              <a:avLst/>
              <a:gdLst>
                <a:gd name="connsiteX0" fmla="*/ 0 w 87218"/>
                <a:gd name="connsiteY0" fmla="*/ 6522 h 6522"/>
                <a:gd name="connsiteX1" fmla="*/ 55940 w 87218"/>
                <a:gd name="connsiteY1" fmla="*/ 0 h 6522"/>
                <a:gd name="connsiteX2" fmla="*/ 87219 w 87218"/>
                <a:gd name="connsiteY2" fmla="*/ 1762 h 65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87218" h="6522">
                  <a:moveTo>
                    <a:pt x="0" y="6522"/>
                  </a:moveTo>
                  <a:cubicBezTo>
                    <a:pt x="16758" y="2285"/>
                    <a:pt x="35611" y="0"/>
                    <a:pt x="55940" y="0"/>
                  </a:cubicBezTo>
                  <a:cubicBezTo>
                    <a:pt x="66176" y="0"/>
                    <a:pt x="76650" y="571"/>
                    <a:pt x="87219" y="1762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96" name="Forma livre: Forma 2095">
              <a:extLst>
                <a:ext uri="{FF2B5EF4-FFF2-40B4-BE49-F238E27FC236}">
                  <a16:creationId xmlns:a16="http://schemas.microsoft.com/office/drawing/2014/main" id="{C769E977-F2C8-45EF-F030-01CD58A6BB39}"/>
                </a:ext>
              </a:extLst>
            </p:cNvPr>
            <p:cNvSpPr/>
            <p:nvPr/>
          </p:nvSpPr>
          <p:spPr>
            <a:xfrm>
              <a:off x="9439105" y="3781626"/>
              <a:ext cx="318880" cy="79220"/>
            </a:xfrm>
            <a:custGeom>
              <a:avLst/>
              <a:gdLst>
                <a:gd name="connsiteX0" fmla="*/ 0 w 318880"/>
                <a:gd name="connsiteY0" fmla="*/ 79220 h 79220"/>
                <a:gd name="connsiteX1" fmla="*/ 208810 w 318880"/>
                <a:gd name="connsiteY1" fmla="*/ 0 h 79220"/>
                <a:gd name="connsiteX2" fmla="*/ 318881 w 318880"/>
                <a:gd name="connsiteY2" fmla="*/ 17139 h 792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18880" h="79220">
                  <a:moveTo>
                    <a:pt x="0" y="79220"/>
                  </a:moveTo>
                  <a:cubicBezTo>
                    <a:pt x="39753" y="32088"/>
                    <a:pt x="118355" y="0"/>
                    <a:pt x="208810" y="0"/>
                  </a:cubicBezTo>
                  <a:cubicBezTo>
                    <a:pt x="248563" y="0"/>
                    <a:pt x="285984" y="6189"/>
                    <a:pt x="318881" y="17139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97" name="Forma livre: Forma 2096">
              <a:extLst>
                <a:ext uri="{FF2B5EF4-FFF2-40B4-BE49-F238E27FC236}">
                  <a16:creationId xmlns:a16="http://schemas.microsoft.com/office/drawing/2014/main" id="{C5941A77-C7BC-4CE5-A9B1-1869B559E8FC}"/>
                </a:ext>
              </a:extLst>
            </p:cNvPr>
            <p:cNvSpPr/>
            <p:nvPr/>
          </p:nvSpPr>
          <p:spPr>
            <a:xfrm>
              <a:off x="9464528" y="3815428"/>
              <a:ext cx="278747" cy="67318"/>
            </a:xfrm>
            <a:custGeom>
              <a:avLst/>
              <a:gdLst>
                <a:gd name="connsiteX0" fmla="*/ 0 w 278747"/>
                <a:gd name="connsiteY0" fmla="*/ 67318 h 67318"/>
                <a:gd name="connsiteX1" fmla="*/ 183435 w 278747"/>
                <a:gd name="connsiteY1" fmla="*/ 0 h 67318"/>
                <a:gd name="connsiteX2" fmla="*/ 278747 w 278747"/>
                <a:gd name="connsiteY2" fmla="*/ 14044 h 673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78747" h="67318">
                  <a:moveTo>
                    <a:pt x="0" y="67318"/>
                  </a:moveTo>
                  <a:cubicBezTo>
                    <a:pt x="32707" y="27994"/>
                    <a:pt x="103548" y="0"/>
                    <a:pt x="183435" y="0"/>
                  </a:cubicBezTo>
                  <a:cubicBezTo>
                    <a:pt x="217618" y="0"/>
                    <a:pt x="250134" y="5142"/>
                    <a:pt x="278747" y="14044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98" name="Forma livre: Forma 2097">
              <a:extLst>
                <a:ext uri="{FF2B5EF4-FFF2-40B4-BE49-F238E27FC236}">
                  <a16:creationId xmlns:a16="http://schemas.microsoft.com/office/drawing/2014/main" id="{87099911-DE4E-4EEB-2F80-D803E6D34956}"/>
                </a:ext>
              </a:extLst>
            </p:cNvPr>
            <p:cNvSpPr/>
            <p:nvPr/>
          </p:nvSpPr>
          <p:spPr>
            <a:xfrm>
              <a:off x="9489951" y="3849278"/>
              <a:ext cx="238756" cy="55606"/>
            </a:xfrm>
            <a:custGeom>
              <a:avLst/>
              <a:gdLst>
                <a:gd name="connsiteX0" fmla="*/ 0 w 238756"/>
                <a:gd name="connsiteY0" fmla="*/ 55607 h 55606"/>
                <a:gd name="connsiteX1" fmla="*/ 158012 w 238756"/>
                <a:gd name="connsiteY1" fmla="*/ 0 h 55606"/>
                <a:gd name="connsiteX2" fmla="*/ 238756 w 238756"/>
                <a:gd name="connsiteY2" fmla="*/ 11188 h 556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38756" h="55606">
                  <a:moveTo>
                    <a:pt x="0" y="55607"/>
                  </a:moveTo>
                  <a:cubicBezTo>
                    <a:pt x="23709" y="26232"/>
                    <a:pt x="84457" y="0"/>
                    <a:pt x="158012" y="0"/>
                  </a:cubicBezTo>
                  <a:cubicBezTo>
                    <a:pt x="187529" y="0"/>
                    <a:pt x="214952" y="4237"/>
                    <a:pt x="238756" y="11188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99" name="Forma livre: Forma 2098">
              <a:extLst>
                <a:ext uri="{FF2B5EF4-FFF2-40B4-BE49-F238E27FC236}">
                  <a16:creationId xmlns:a16="http://schemas.microsoft.com/office/drawing/2014/main" id="{8BBD98B0-7D9B-CB11-7622-47B3824935A4}"/>
                </a:ext>
              </a:extLst>
            </p:cNvPr>
            <p:cNvSpPr/>
            <p:nvPr/>
          </p:nvSpPr>
          <p:spPr>
            <a:xfrm>
              <a:off x="9521372" y="3882223"/>
              <a:ext cx="23328" cy="53416"/>
            </a:xfrm>
            <a:custGeom>
              <a:avLst/>
              <a:gdLst>
                <a:gd name="connsiteX0" fmla="*/ 0 w 23328"/>
                <a:gd name="connsiteY0" fmla="*/ 0 h 53416"/>
                <a:gd name="connsiteX1" fmla="*/ 23328 w 23328"/>
                <a:gd name="connsiteY1" fmla="*/ 53417 h 534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3328" h="53416">
                  <a:moveTo>
                    <a:pt x="0" y="0"/>
                  </a:moveTo>
                  <a:cubicBezTo>
                    <a:pt x="0" y="0"/>
                    <a:pt x="15235" y="9903"/>
                    <a:pt x="23328" y="53417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00" name="Forma livre: Forma 2099">
              <a:extLst>
                <a:ext uri="{FF2B5EF4-FFF2-40B4-BE49-F238E27FC236}">
                  <a16:creationId xmlns:a16="http://schemas.microsoft.com/office/drawing/2014/main" id="{C633B94D-90B4-8031-544C-B8A966AACEC4}"/>
                </a:ext>
              </a:extLst>
            </p:cNvPr>
            <p:cNvSpPr/>
            <p:nvPr/>
          </p:nvSpPr>
          <p:spPr>
            <a:xfrm>
              <a:off x="9566648" y="3863132"/>
              <a:ext cx="28612" cy="61462"/>
            </a:xfrm>
            <a:custGeom>
              <a:avLst/>
              <a:gdLst>
                <a:gd name="connsiteX0" fmla="*/ 0 w 28612"/>
                <a:gd name="connsiteY0" fmla="*/ 0 h 61462"/>
                <a:gd name="connsiteX1" fmla="*/ 28613 w 28612"/>
                <a:gd name="connsiteY1" fmla="*/ 61462 h 614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8612" h="61462">
                  <a:moveTo>
                    <a:pt x="0" y="0"/>
                  </a:moveTo>
                  <a:cubicBezTo>
                    <a:pt x="0" y="0"/>
                    <a:pt x="18091" y="20948"/>
                    <a:pt x="28613" y="61462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01" name="Forma livre: Forma 2100">
              <a:extLst>
                <a:ext uri="{FF2B5EF4-FFF2-40B4-BE49-F238E27FC236}">
                  <a16:creationId xmlns:a16="http://schemas.microsoft.com/office/drawing/2014/main" id="{869F205B-5C9C-6D0E-EA8D-D86206FEBC2C}"/>
                </a:ext>
              </a:extLst>
            </p:cNvPr>
            <p:cNvSpPr/>
            <p:nvPr/>
          </p:nvSpPr>
          <p:spPr>
            <a:xfrm>
              <a:off x="9610543" y="3851991"/>
              <a:ext cx="36515" cy="61557"/>
            </a:xfrm>
            <a:custGeom>
              <a:avLst/>
              <a:gdLst>
                <a:gd name="connsiteX0" fmla="*/ 0 w 36515"/>
                <a:gd name="connsiteY0" fmla="*/ 0 h 61557"/>
                <a:gd name="connsiteX1" fmla="*/ 36516 w 36515"/>
                <a:gd name="connsiteY1" fmla="*/ 61558 h 615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6515" h="61557">
                  <a:moveTo>
                    <a:pt x="0" y="0"/>
                  </a:moveTo>
                  <a:cubicBezTo>
                    <a:pt x="0" y="0"/>
                    <a:pt x="24233" y="23519"/>
                    <a:pt x="36516" y="61558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02" name="Forma livre: Forma 2101">
              <a:extLst>
                <a:ext uri="{FF2B5EF4-FFF2-40B4-BE49-F238E27FC236}">
                  <a16:creationId xmlns:a16="http://schemas.microsoft.com/office/drawing/2014/main" id="{364EBAC3-5EA6-5368-B2E7-9715159BC5B5}"/>
                </a:ext>
              </a:extLst>
            </p:cNvPr>
            <p:cNvSpPr/>
            <p:nvPr/>
          </p:nvSpPr>
          <p:spPr>
            <a:xfrm>
              <a:off x="9666292" y="3850753"/>
              <a:ext cx="36325" cy="51845"/>
            </a:xfrm>
            <a:custGeom>
              <a:avLst/>
              <a:gdLst>
                <a:gd name="connsiteX0" fmla="*/ 0 w 36325"/>
                <a:gd name="connsiteY0" fmla="*/ 0 h 51845"/>
                <a:gd name="connsiteX1" fmla="*/ 36325 w 36325"/>
                <a:gd name="connsiteY1" fmla="*/ 51846 h 518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6325" h="51845">
                  <a:moveTo>
                    <a:pt x="0" y="0"/>
                  </a:moveTo>
                  <a:cubicBezTo>
                    <a:pt x="7475" y="5523"/>
                    <a:pt x="26185" y="21995"/>
                    <a:pt x="36325" y="51846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03" name="Forma livre: Forma 2102">
              <a:extLst>
                <a:ext uri="{FF2B5EF4-FFF2-40B4-BE49-F238E27FC236}">
                  <a16:creationId xmlns:a16="http://schemas.microsoft.com/office/drawing/2014/main" id="{35C1B14E-8E56-64DF-F2B5-E8F45B2CDD86}"/>
                </a:ext>
              </a:extLst>
            </p:cNvPr>
            <p:cNvSpPr/>
            <p:nvPr/>
          </p:nvSpPr>
          <p:spPr>
            <a:xfrm>
              <a:off x="9567409" y="3651988"/>
              <a:ext cx="4760" cy="22423"/>
            </a:xfrm>
            <a:custGeom>
              <a:avLst/>
              <a:gdLst>
                <a:gd name="connsiteX0" fmla="*/ 0 w 4760"/>
                <a:gd name="connsiteY0" fmla="*/ 22424 h 22423"/>
                <a:gd name="connsiteX1" fmla="*/ 0 w 4760"/>
                <a:gd name="connsiteY1" fmla="*/ 0 h 224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760" h="22423">
                  <a:moveTo>
                    <a:pt x="0" y="22424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04" name="Forma livre: Forma 2103">
              <a:extLst>
                <a:ext uri="{FF2B5EF4-FFF2-40B4-BE49-F238E27FC236}">
                  <a16:creationId xmlns:a16="http://schemas.microsoft.com/office/drawing/2014/main" id="{2F19A992-F3E3-C428-C667-84EF7A05E424}"/>
                </a:ext>
              </a:extLst>
            </p:cNvPr>
            <p:cNvSpPr/>
            <p:nvPr/>
          </p:nvSpPr>
          <p:spPr>
            <a:xfrm>
              <a:off x="9609210" y="3662034"/>
              <a:ext cx="8617" cy="20757"/>
            </a:xfrm>
            <a:custGeom>
              <a:avLst/>
              <a:gdLst>
                <a:gd name="connsiteX0" fmla="*/ 0 w 8617"/>
                <a:gd name="connsiteY0" fmla="*/ 20757 h 20757"/>
                <a:gd name="connsiteX1" fmla="*/ 8617 w 8617"/>
                <a:gd name="connsiteY1" fmla="*/ 0 h 207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617" h="20757">
                  <a:moveTo>
                    <a:pt x="0" y="20757"/>
                  </a:moveTo>
                  <a:lnTo>
                    <a:pt x="8617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05" name="Forma livre: Forma 2104">
              <a:extLst>
                <a:ext uri="{FF2B5EF4-FFF2-40B4-BE49-F238E27FC236}">
                  <a16:creationId xmlns:a16="http://schemas.microsoft.com/office/drawing/2014/main" id="{8205A959-041B-2B29-EDB9-E2EC96066161}"/>
                </a:ext>
              </a:extLst>
            </p:cNvPr>
            <p:cNvSpPr/>
            <p:nvPr/>
          </p:nvSpPr>
          <p:spPr>
            <a:xfrm>
              <a:off x="9667720" y="3733351"/>
              <a:ext cx="20757" cy="8617"/>
            </a:xfrm>
            <a:custGeom>
              <a:avLst/>
              <a:gdLst>
                <a:gd name="connsiteX0" fmla="*/ 0 w 20757"/>
                <a:gd name="connsiteY0" fmla="*/ 8617 h 8617"/>
                <a:gd name="connsiteX1" fmla="*/ 20757 w 20757"/>
                <a:gd name="connsiteY1" fmla="*/ 0 h 86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0757" h="8617">
                  <a:moveTo>
                    <a:pt x="0" y="8617"/>
                  </a:moveTo>
                  <a:lnTo>
                    <a:pt x="20757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06" name="Forma livre: Forma 2105">
              <a:extLst>
                <a:ext uri="{FF2B5EF4-FFF2-40B4-BE49-F238E27FC236}">
                  <a16:creationId xmlns:a16="http://schemas.microsoft.com/office/drawing/2014/main" id="{489F53EE-E87B-B681-8C87-D1CB1F767052}"/>
                </a:ext>
              </a:extLst>
            </p:cNvPr>
            <p:cNvSpPr/>
            <p:nvPr/>
          </p:nvSpPr>
          <p:spPr>
            <a:xfrm>
              <a:off x="9644249" y="3690266"/>
              <a:ext cx="15853" cy="15901"/>
            </a:xfrm>
            <a:custGeom>
              <a:avLst/>
              <a:gdLst>
                <a:gd name="connsiteX0" fmla="*/ 0 w 15853"/>
                <a:gd name="connsiteY0" fmla="*/ 15901 h 15901"/>
                <a:gd name="connsiteX1" fmla="*/ 15854 w 15853"/>
                <a:gd name="connsiteY1" fmla="*/ 0 h 159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853" h="15901">
                  <a:moveTo>
                    <a:pt x="0" y="15901"/>
                  </a:moveTo>
                  <a:lnTo>
                    <a:pt x="15854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07" name="Forma livre: Forma 2106">
              <a:extLst>
                <a:ext uri="{FF2B5EF4-FFF2-40B4-BE49-F238E27FC236}">
                  <a16:creationId xmlns:a16="http://schemas.microsoft.com/office/drawing/2014/main" id="{384AFF8C-1877-F8CA-977D-82322BDD2A4D}"/>
                </a:ext>
              </a:extLst>
            </p:cNvPr>
            <p:cNvSpPr/>
            <p:nvPr/>
          </p:nvSpPr>
          <p:spPr>
            <a:xfrm>
              <a:off x="9516754" y="3662034"/>
              <a:ext cx="8569" cy="20757"/>
            </a:xfrm>
            <a:custGeom>
              <a:avLst/>
              <a:gdLst>
                <a:gd name="connsiteX0" fmla="*/ 8570 w 8569"/>
                <a:gd name="connsiteY0" fmla="*/ 20757 h 20757"/>
                <a:gd name="connsiteX1" fmla="*/ 0 w 8569"/>
                <a:gd name="connsiteY1" fmla="*/ 0 h 207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569" h="20757">
                  <a:moveTo>
                    <a:pt x="8570" y="20757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08" name="Forma livre: Forma 2107">
              <a:extLst>
                <a:ext uri="{FF2B5EF4-FFF2-40B4-BE49-F238E27FC236}">
                  <a16:creationId xmlns:a16="http://schemas.microsoft.com/office/drawing/2014/main" id="{9F31E98C-7F34-44EA-1C61-3E0865A3BB4D}"/>
                </a:ext>
              </a:extLst>
            </p:cNvPr>
            <p:cNvSpPr/>
            <p:nvPr/>
          </p:nvSpPr>
          <p:spPr>
            <a:xfrm>
              <a:off x="9446103" y="3733351"/>
              <a:ext cx="20757" cy="8617"/>
            </a:xfrm>
            <a:custGeom>
              <a:avLst/>
              <a:gdLst>
                <a:gd name="connsiteX0" fmla="*/ 20757 w 20757"/>
                <a:gd name="connsiteY0" fmla="*/ 8617 h 8617"/>
                <a:gd name="connsiteX1" fmla="*/ 0 w 20757"/>
                <a:gd name="connsiteY1" fmla="*/ 0 h 86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0757" h="8617">
                  <a:moveTo>
                    <a:pt x="20757" y="8617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09" name="Forma livre: Forma 2108">
              <a:extLst>
                <a:ext uri="{FF2B5EF4-FFF2-40B4-BE49-F238E27FC236}">
                  <a16:creationId xmlns:a16="http://schemas.microsoft.com/office/drawing/2014/main" id="{80344379-9790-06FE-6B18-3E20C6DEA874}"/>
                </a:ext>
              </a:extLst>
            </p:cNvPr>
            <p:cNvSpPr/>
            <p:nvPr/>
          </p:nvSpPr>
          <p:spPr>
            <a:xfrm>
              <a:off x="9474430" y="3690266"/>
              <a:ext cx="15901" cy="15901"/>
            </a:xfrm>
            <a:custGeom>
              <a:avLst/>
              <a:gdLst>
                <a:gd name="connsiteX0" fmla="*/ 15901 w 15901"/>
                <a:gd name="connsiteY0" fmla="*/ 15901 h 15901"/>
                <a:gd name="connsiteX1" fmla="*/ 0 w 15901"/>
                <a:gd name="connsiteY1" fmla="*/ 0 h 159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901" h="15901">
                  <a:moveTo>
                    <a:pt x="15901" y="15901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2110" name="Gráfico 18">
            <a:extLst>
              <a:ext uri="{FF2B5EF4-FFF2-40B4-BE49-F238E27FC236}">
                <a16:creationId xmlns:a16="http://schemas.microsoft.com/office/drawing/2014/main" id="{77D5753B-307E-8A3F-2A9A-841A9CE9A35C}"/>
              </a:ext>
            </a:extLst>
          </p:cNvPr>
          <p:cNvGrpSpPr/>
          <p:nvPr/>
        </p:nvGrpSpPr>
        <p:grpSpPr>
          <a:xfrm>
            <a:off x="8773635" y="3609427"/>
            <a:ext cx="339114" cy="368774"/>
            <a:chOff x="8773635" y="3609427"/>
            <a:chExt cx="339114" cy="368774"/>
          </a:xfrm>
        </p:grpSpPr>
        <p:sp>
          <p:nvSpPr>
            <p:cNvPr id="2111" name="Forma livre: Forma 2110">
              <a:extLst>
                <a:ext uri="{FF2B5EF4-FFF2-40B4-BE49-F238E27FC236}">
                  <a16:creationId xmlns:a16="http://schemas.microsoft.com/office/drawing/2014/main" id="{A13730E7-A0EA-FC69-142D-A72053171594}"/>
                </a:ext>
              </a:extLst>
            </p:cNvPr>
            <p:cNvSpPr/>
            <p:nvPr/>
          </p:nvSpPr>
          <p:spPr>
            <a:xfrm>
              <a:off x="8953501" y="3609427"/>
              <a:ext cx="85711" cy="164867"/>
            </a:xfrm>
            <a:custGeom>
              <a:avLst/>
              <a:gdLst>
                <a:gd name="connsiteX0" fmla="*/ 72316 w 85711"/>
                <a:gd name="connsiteY0" fmla="*/ 110166 h 164867"/>
                <a:gd name="connsiteX1" fmla="*/ 67841 w 85711"/>
                <a:gd name="connsiteY1" fmla="*/ 0 h 164867"/>
                <a:gd name="connsiteX2" fmla="*/ 5283 w 85711"/>
                <a:gd name="connsiteY2" fmla="*/ 107452 h 164867"/>
                <a:gd name="connsiteX3" fmla="*/ 5283 w 85711"/>
                <a:gd name="connsiteY3" fmla="*/ 107452 h 164867"/>
                <a:gd name="connsiteX4" fmla="*/ 11139 w 85711"/>
                <a:gd name="connsiteY4" fmla="*/ 153727 h 164867"/>
                <a:gd name="connsiteX5" fmla="*/ 64984 w 85711"/>
                <a:gd name="connsiteY5" fmla="*/ 153727 h 164867"/>
                <a:gd name="connsiteX6" fmla="*/ 72268 w 85711"/>
                <a:gd name="connsiteY6" fmla="*/ 110166 h 1648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5711" h="164867">
                  <a:moveTo>
                    <a:pt x="72316" y="110166"/>
                  </a:moveTo>
                  <a:cubicBezTo>
                    <a:pt x="73697" y="107595"/>
                    <a:pt x="104452" y="48132"/>
                    <a:pt x="67841" y="0"/>
                  </a:cubicBezTo>
                  <a:lnTo>
                    <a:pt x="5283" y="107452"/>
                  </a:lnTo>
                  <a:lnTo>
                    <a:pt x="5283" y="107452"/>
                  </a:lnTo>
                  <a:cubicBezTo>
                    <a:pt x="-3334" y="122068"/>
                    <a:pt x="-1429" y="141159"/>
                    <a:pt x="11139" y="153727"/>
                  </a:cubicBezTo>
                  <a:cubicBezTo>
                    <a:pt x="25993" y="168581"/>
                    <a:pt x="50130" y="168581"/>
                    <a:pt x="64984" y="153727"/>
                  </a:cubicBezTo>
                  <a:cubicBezTo>
                    <a:pt x="76791" y="141921"/>
                    <a:pt x="79172" y="124353"/>
                    <a:pt x="72268" y="110166"/>
                  </a:cubicBez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12" name="Forma livre: Forma 2111">
              <a:extLst>
                <a:ext uri="{FF2B5EF4-FFF2-40B4-BE49-F238E27FC236}">
                  <a16:creationId xmlns:a16="http://schemas.microsoft.com/office/drawing/2014/main" id="{D88BB142-B1B2-FF66-A769-FC3E6E800C3F}"/>
                </a:ext>
              </a:extLst>
            </p:cNvPr>
            <p:cNvSpPr/>
            <p:nvPr/>
          </p:nvSpPr>
          <p:spPr>
            <a:xfrm>
              <a:off x="9044907" y="3695169"/>
              <a:ext cx="67841" cy="70269"/>
            </a:xfrm>
            <a:custGeom>
              <a:avLst/>
              <a:gdLst>
                <a:gd name="connsiteX0" fmla="*/ 6142 w 67841"/>
                <a:gd name="connsiteY0" fmla="*/ 23090 h 70269"/>
                <a:gd name="connsiteX1" fmla="*/ 67842 w 67841"/>
                <a:gd name="connsiteY1" fmla="*/ 0 h 70269"/>
                <a:gd name="connsiteX2" fmla="*/ 0 w 67841"/>
                <a:gd name="connsiteY2" fmla="*/ 70270 h 702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7841" h="70269">
                  <a:moveTo>
                    <a:pt x="6142" y="23090"/>
                  </a:moveTo>
                  <a:cubicBezTo>
                    <a:pt x="23995" y="19377"/>
                    <a:pt x="48751" y="12426"/>
                    <a:pt x="67842" y="0"/>
                  </a:cubicBezTo>
                  <a:cubicBezTo>
                    <a:pt x="67842" y="0"/>
                    <a:pt x="56606" y="52084"/>
                    <a:pt x="0" y="70270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13" name="Forma livre: Forma 2112">
              <a:extLst>
                <a:ext uri="{FF2B5EF4-FFF2-40B4-BE49-F238E27FC236}">
                  <a16:creationId xmlns:a16="http://schemas.microsoft.com/office/drawing/2014/main" id="{24CE0802-67BC-41D6-4706-06FC46D59D69}"/>
                </a:ext>
              </a:extLst>
            </p:cNvPr>
            <p:cNvSpPr/>
            <p:nvPr/>
          </p:nvSpPr>
          <p:spPr>
            <a:xfrm>
              <a:off x="8773635" y="3702329"/>
              <a:ext cx="186624" cy="154756"/>
            </a:xfrm>
            <a:custGeom>
              <a:avLst/>
              <a:gdLst>
                <a:gd name="connsiteX0" fmla="*/ 165630 w 186624"/>
                <a:gd name="connsiteY0" fmla="*/ 2885 h 154756"/>
                <a:gd name="connsiteX1" fmla="*/ 123306 w 186624"/>
                <a:gd name="connsiteY1" fmla="*/ 1933 h 154756"/>
                <a:gd name="connsiteX2" fmla="*/ 99168 w 186624"/>
                <a:gd name="connsiteY2" fmla="*/ 28451 h 154756"/>
                <a:gd name="connsiteX3" fmla="*/ 0 w 186624"/>
                <a:gd name="connsiteY3" fmla="*/ 137236 h 154756"/>
                <a:gd name="connsiteX4" fmla="*/ 20186 w 186624"/>
                <a:gd name="connsiteY4" fmla="*/ 154756 h 154756"/>
                <a:gd name="connsiteX5" fmla="*/ 146729 w 186624"/>
                <a:gd name="connsiteY5" fmla="*/ 51779 h 154756"/>
                <a:gd name="connsiteX6" fmla="*/ 186625 w 186624"/>
                <a:gd name="connsiteY6" fmla="*/ 56350 h 1547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86624" h="154756">
                  <a:moveTo>
                    <a:pt x="165630" y="2885"/>
                  </a:moveTo>
                  <a:cubicBezTo>
                    <a:pt x="150633" y="600"/>
                    <a:pt x="129352" y="-1780"/>
                    <a:pt x="123306" y="1933"/>
                  </a:cubicBezTo>
                  <a:cubicBezTo>
                    <a:pt x="110547" y="9741"/>
                    <a:pt x="112308" y="19167"/>
                    <a:pt x="99168" y="28451"/>
                  </a:cubicBezTo>
                  <a:cubicBezTo>
                    <a:pt x="99168" y="28451"/>
                    <a:pt x="22757" y="80868"/>
                    <a:pt x="0" y="137236"/>
                  </a:cubicBezTo>
                  <a:cubicBezTo>
                    <a:pt x="0" y="137236"/>
                    <a:pt x="1952" y="150567"/>
                    <a:pt x="20186" y="154756"/>
                  </a:cubicBezTo>
                  <a:cubicBezTo>
                    <a:pt x="20186" y="154756"/>
                    <a:pt x="107976" y="51827"/>
                    <a:pt x="146729" y="51779"/>
                  </a:cubicBezTo>
                  <a:lnTo>
                    <a:pt x="186625" y="5635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14" name="Forma livre: Forma 2113">
              <a:extLst>
                <a:ext uri="{FF2B5EF4-FFF2-40B4-BE49-F238E27FC236}">
                  <a16:creationId xmlns:a16="http://schemas.microsoft.com/office/drawing/2014/main" id="{2882EAEA-7460-2DB3-B53F-5EE305C615B1}"/>
                </a:ext>
              </a:extLst>
            </p:cNvPr>
            <p:cNvSpPr/>
            <p:nvPr/>
          </p:nvSpPr>
          <p:spPr>
            <a:xfrm>
              <a:off x="8997299" y="3768629"/>
              <a:ext cx="28507" cy="86694"/>
            </a:xfrm>
            <a:custGeom>
              <a:avLst/>
              <a:gdLst>
                <a:gd name="connsiteX0" fmla="*/ 21376 w 28507"/>
                <a:gd name="connsiteY0" fmla="*/ 0 h 86694"/>
                <a:gd name="connsiteX1" fmla="*/ 26804 w 28507"/>
                <a:gd name="connsiteY1" fmla="*/ 62843 h 86694"/>
                <a:gd name="connsiteX2" fmla="*/ 0 w 28507"/>
                <a:gd name="connsiteY2" fmla="*/ 86695 h 866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8507" h="86694">
                  <a:moveTo>
                    <a:pt x="21376" y="0"/>
                  </a:moveTo>
                  <a:cubicBezTo>
                    <a:pt x="21376" y="0"/>
                    <a:pt x="32707" y="53179"/>
                    <a:pt x="26804" y="62843"/>
                  </a:cubicBezTo>
                  <a:cubicBezTo>
                    <a:pt x="18996" y="75602"/>
                    <a:pt x="10760" y="73841"/>
                    <a:pt x="0" y="86695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15" name="Forma livre: Forma 2114">
              <a:extLst>
                <a:ext uri="{FF2B5EF4-FFF2-40B4-BE49-F238E27FC236}">
                  <a16:creationId xmlns:a16="http://schemas.microsoft.com/office/drawing/2014/main" id="{971C44D9-0018-6DA9-1612-53D70B77C937}"/>
                </a:ext>
              </a:extLst>
            </p:cNvPr>
            <p:cNvSpPr/>
            <p:nvPr/>
          </p:nvSpPr>
          <p:spPr>
            <a:xfrm>
              <a:off x="8902487" y="3765725"/>
              <a:ext cx="96668" cy="212476"/>
            </a:xfrm>
            <a:custGeom>
              <a:avLst/>
              <a:gdLst>
                <a:gd name="connsiteX0" fmla="*/ 64771 w 96668"/>
                <a:gd name="connsiteY0" fmla="*/ 0 h 212476"/>
                <a:gd name="connsiteX1" fmla="*/ 74007 w 96668"/>
                <a:gd name="connsiteY1" fmla="*/ 44561 h 212476"/>
                <a:gd name="connsiteX2" fmla="*/ 2785 w 96668"/>
                <a:gd name="connsiteY2" fmla="*/ 209524 h 212476"/>
                <a:gd name="connsiteX3" fmla="*/ 25494 w 96668"/>
                <a:gd name="connsiteY3" fmla="*/ 208572 h 212476"/>
                <a:gd name="connsiteX4" fmla="*/ 96669 w 96668"/>
                <a:gd name="connsiteY4" fmla="*/ 87409 h 2124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6668" h="212476">
                  <a:moveTo>
                    <a:pt x="64771" y="0"/>
                  </a:moveTo>
                  <a:lnTo>
                    <a:pt x="74007" y="44561"/>
                  </a:lnTo>
                  <a:cubicBezTo>
                    <a:pt x="74007" y="44561"/>
                    <a:pt x="-16877" y="150633"/>
                    <a:pt x="2785" y="209524"/>
                  </a:cubicBezTo>
                  <a:cubicBezTo>
                    <a:pt x="2785" y="209524"/>
                    <a:pt x="16592" y="216761"/>
                    <a:pt x="25494" y="208572"/>
                  </a:cubicBezTo>
                  <a:cubicBezTo>
                    <a:pt x="25494" y="208572"/>
                    <a:pt x="28065" y="161059"/>
                    <a:pt x="96669" y="87409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16" name="Forma livre: Forma 2115">
              <a:extLst>
                <a:ext uri="{FF2B5EF4-FFF2-40B4-BE49-F238E27FC236}">
                  <a16:creationId xmlns:a16="http://schemas.microsoft.com/office/drawing/2014/main" id="{86754C25-2CA7-14FC-4AAD-58A56C99C7AA}"/>
                </a:ext>
              </a:extLst>
            </p:cNvPr>
            <p:cNvSpPr/>
            <p:nvPr/>
          </p:nvSpPr>
          <p:spPr>
            <a:xfrm>
              <a:off x="8915651" y="3776532"/>
              <a:ext cx="52083" cy="43037"/>
            </a:xfrm>
            <a:custGeom>
              <a:avLst/>
              <a:gdLst>
                <a:gd name="connsiteX0" fmla="*/ 0 w 52083"/>
                <a:gd name="connsiteY0" fmla="*/ 0 h 43037"/>
                <a:gd name="connsiteX1" fmla="*/ 52084 w 52083"/>
                <a:gd name="connsiteY1" fmla="*/ 43038 h 430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2083" h="43037">
                  <a:moveTo>
                    <a:pt x="0" y="0"/>
                  </a:moveTo>
                  <a:cubicBezTo>
                    <a:pt x="8808" y="12997"/>
                    <a:pt x="26327" y="31850"/>
                    <a:pt x="52084" y="43038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17" name="Forma livre: Forma 2116">
              <a:extLst>
                <a:ext uri="{FF2B5EF4-FFF2-40B4-BE49-F238E27FC236}">
                  <a16:creationId xmlns:a16="http://schemas.microsoft.com/office/drawing/2014/main" id="{69AF64CD-6B1B-62D9-2BDD-1B464412C4CA}"/>
                </a:ext>
              </a:extLst>
            </p:cNvPr>
            <p:cNvSpPr/>
            <p:nvPr/>
          </p:nvSpPr>
          <p:spPr>
            <a:xfrm>
              <a:off x="8987920" y="3732542"/>
              <a:ext cx="7426" cy="7426"/>
            </a:xfrm>
            <a:custGeom>
              <a:avLst/>
              <a:gdLst>
                <a:gd name="connsiteX0" fmla="*/ 7427 w 7426"/>
                <a:gd name="connsiteY0" fmla="*/ 3713 h 7426"/>
                <a:gd name="connsiteX1" fmla="*/ 3713 w 7426"/>
                <a:gd name="connsiteY1" fmla="*/ 7427 h 7426"/>
                <a:gd name="connsiteX2" fmla="*/ 0 w 7426"/>
                <a:gd name="connsiteY2" fmla="*/ 3713 h 7426"/>
                <a:gd name="connsiteX3" fmla="*/ 3713 w 7426"/>
                <a:gd name="connsiteY3" fmla="*/ 0 h 7426"/>
                <a:gd name="connsiteX4" fmla="*/ 7427 w 7426"/>
                <a:gd name="connsiteY4" fmla="*/ 3713 h 74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426" h="7426">
                  <a:moveTo>
                    <a:pt x="7427" y="3713"/>
                  </a:moveTo>
                  <a:cubicBezTo>
                    <a:pt x="7427" y="5761"/>
                    <a:pt x="5761" y="7427"/>
                    <a:pt x="3713" y="7427"/>
                  </a:cubicBezTo>
                  <a:cubicBezTo>
                    <a:pt x="1666" y="7427"/>
                    <a:pt x="0" y="5761"/>
                    <a:pt x="0" y="3713"/>
                  </a:cubicBezTo>
                  <a:cubicBezTo>
                    <a:pt x="0" y="1666"/>
                    <a:pt x="1666" y="0"/>
                    <a:pt x="3713" y="0"/>
                  </a:cubicBezTo>
                  <a:cubicBezTo>
                    <a:pt x="5761" y="0"/>
                    <a:pt x="7427" y="1666"/>
                    <a:pt x="7427" y="3713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2118" name="Gráfico 18">
            <a:extLst>
              <a:ext uri="{FF2B5EF4-FFF2-40B4-BE49-F238E27FC236}">
                <a16:creationId xmlns:a16="http://schemas.microsoft.com/office/drawing/2014/main" id="{DAD9A97B-70FE-07B5-1146-0100902E7B66}"/>
              </a:ext>
            </a:extLst>
          </p:cNvPr>
          <p:cNvGrpSpPr/>
          <p:nvPr/>
        </p:nvGrpSpPr>
        <p:grpSpPr>
          <a:xfrm>
            <a:off x="8190718" y="3619967"/>
            <a:ext cx="263131" cy="347665"/>
            <a:chOff x="8190718" y="3619967"/>
            <a:chExt cx="263131" cy="347665"/>
          </a:xfrm>
        </p:grpSpPr>
        <p:sp>
          <p:nvSpPr>
            <p:cNvPr id="2119" name="Forma livre: Forma 2118">
              <a:extLst>
                <a:ext uri="{FF2B5EF4-FFF2-40B4-BE49-F238E27FC236}">
                  <a16:creationId xmlns:a16="http://schemas.microsoft.com/office/drawing/2014/main" id="{3C54E741-FE2C-8EED-E309-97D6A5E27A5B}"/>
                </a:ext>
              </a:extLst>
            </p:cNvPr>
            <p:cNvSpPr/>
            <p:nvPr/>
          </p:nvSpPr>
          <p:spPr>
            <a:xfrm>
              <a:off x="8257512" y="3694741"/>
              <a:ext cx="7141" cy="7141"/>
            </a:xfrm>
            <a:custGeom>
              <a:avLst/>
              <a:gdLst>
                <a:gd name="connsiteX0" fmla="*/ 7141 w 7141"/>
                <a:gd name="connsiteY0" fmla="*/ 3571 h 7141"/>
                <a:gd name="connsiteX1" fmla="*/ 3571 w 7141"/>
                <a:gd name="connsiteY1" fmla="*/ 7141 h 7141"/>
                <a:gd name="connsiteX2" fmla="*/ 0 w 7141"/>
                <a:gd name="connsiteY2" fmla="*/ 3571 h 7141"/>
                <a:gd name="connsiteX3" fmla="*/ 3571 w 7141"/>
                <a:gd name="connsiteY3" fmla="*/ 0 h 7141"/>
                <a:gd name="connsiteX4" fmla="*/ 7141 w 7141"/>
                <a:gd name="connsiteY4" fmla="*/ 3571 h 7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41" h="7141">
                  <a:moveTo>
                    <a:pt x="7141" y="3571"/>
                  </a:moveTo>
                  <a:cubicBezTo>
                    <a:pt x="7141" y="5523"/>
                    <a:pt x="5570" y="7141"/>
                    <a:pt x="3571" y="7141"/>
                  </a:cubicBezTo>
                  <a:cubicBezTo>
                    <a:pt x="1571" y="7141"/>
                    <a:pt x="0" y="5570"/>
                    <a:pt x="0" y="3571"/>
                  </a:cubicBezTo>
                  <a:cubicBezTo>
                    <a:pt x="0" y="1571"/>
                    <a:pt x="1619" y="0"/>
                    <a:pt x="3571" y="0"/>
                  </a:cubicBezTo>
                  <a:cubicBezTo>
                    <a:pt x="5523" y="0"/>
                    <a:pt x="7141" y="1619"/>
                    <a:pt x="7141" y="3571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20" name="Forma livre: Forma 2119">
              <a:extLst>
                <a:ext uri="{FF2B5EF4-FFF2-40B4-BE49-F238E27FC236}">
                  <a16:creationId xmlns:a16="http://schemas.microsoft.com/office/drawing/2014/main" id="{B08ABC51-CF57-A321-4B34-DAC7D69B7252}"/>
                </a:ext>
              </a:extLst>
            </p:cNvPr>
            <p:cNvSpPr/>
            <p:nvPr/>
          </p:nvSpPr>
          <p:spPr>
            <a:xfrm>
              <a:off x="8360299" y="3660177"/>
              <a:ext cx="93550" cy="86885"/>
            </a:xfrm>
            <a:custGeom>
              <a:avLst/>
              <a:gdLst>
                <a:gd name="connsiteX0" fmla="*/ 0 w 93550"/>
                <a:gd name="connsiteY0" fmla="*/ 86885 h 86885"/>
                <a:gd name="connsiteX1" fmla="*/ 86885 w 93550"/>
                <a:gd name="connsiteY1" fmla="*/ 0 h 86885"/>
                <a:gd name="connsiteX2" fmla="*/ 93550 w 93550"/>
                <a:gd name="connsiteY2" fmla="*/ 0 h 868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3550" h="86885">
                  <a:moveTo>
                    <a:pt x="0" y="86885"/>
                  </a:moveTo>
                  <a:cubicBezTo>
                    <a:pt x="0" y="39086"/>
                    <a:pt x="39086" y="0"/>
                    <a:pt x="86885" y="0"/>
                  </a:cubicBezTo>
                  <a:lnTo>
                    <a:pt x="93550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21" name="Forma livre: Forma 2120">
              <a:extLst>
                <a:ext uri="{FF2B5EF4-FFF2-40B4-BE49-F238E27FC236}">
                  <a16:creationId xmlns:a16="http://schemas.microsoft.com/office/drawing/2014/main" id="{F1EA0CCD-1C96-0CF1-C624-4E0604E1591D}"/>
                </a:ext>
              </a:extLst>
            </p:cNvPr>
            <p:cNvSpPr/>
            <p:nvPr/>
          </p:nvSpPr>
          <p:spPr>
            <a:xfrm>
              <a:off x="8389245" y="3689123"/>
              <a:ext cx="64604" cy="57939"/>
            </a:xfrm>
            <a:custGeom>
              <a:avLst/>
              <a:gdLst>
                <a:gd name="connsiteX0" fmla="*/ 0 w 64604"/>
                <a:gd name="connsiteY0" fmla="*/ 57939 h 57939"/>
                <a:gd name="connsiteX1" fmla="*/ 57939 w 64604"/>
                <a:gd name="connsiteY1" fmla="*/ 0 h 57939"/>
                <a:gd name="connsiteX2" fmla="*/ 64605 w 64604"/>
                <a:gd name="connsiteY2" fmla="*/ 0 h 579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4604" h="57939">
                  <a:moveTo>
                    <a:pt x="0" y="57939"/>
                  </a:moveTo>
                  <a:cubicBezTo>
                    <a:pt x="0" y="25994"/>
                    <a:pt x="25994" y="0"/>
                    <a:pt x="57939" y="0"/>
                  </a:cubicBezTo>
                  <a:lnTo>
                    <a:pt x="64605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22" name="Forma livre: Forma 2121">
              <a:extLst>
                <a:ext uri="{FF2B5EF4-FFF2-40B4-BE49-F238E27FC236}">
                  <a16:creationId xmlns:a16="http://schemas.microsoft.com/office/drawing/2014/main" id="{6BA882E2-E18A-157E-5D2C-65000AA3C898}"/>
                </a:ext>
              </a:extLst>
            </p:cNvPr>
            <p:cNvSpPr/>
            <p:nvPr/>
          </p:nvSpPr>
          <p:spPr>
            <a:xfrm>
              <a:off x="8230090" y="3660272"/>
              <a:ext cx="223759" cy="197527"/>
            </a:xfrm>
            <a:custGeom>
              <a:avLst/>
              <a:gdLst>
                <a:gd name="connsiteX0" fmla="*/ 223759 w 223759"/>
                <a:gd name="connsiteY0" fmla="*/ 57844 h 197527"/>
                <a:gd name="connsiteX1" fmla="*/ 217094 w 223759"/>
                <a:gd name="connsiteY1" fmla="*/ 57844 h 197527"/>
                <a:gd name="connsiteX2" fmla="*/ 188196 w 223759"/>
                <a:gd name="connsiteY2" fmla="*/ 86790 h 197527"/>
                <a:gd name="connsiteX3" fmla="*/ 188196 w 223759"/>
                <a:gd name="connsiteY3" fmla="*/ 100977 h 197527"/>
                <a:gd name="connsiteX4" fmla="*/ 94122 w 223759"/>
                <a:gd name="connsiteY4" fmla="*/ 197527 h 197527"/>
                <a:gd name="connsiteX5" fmla="*/ 0 w 223759"/>
                <a:gd name="connsiteY5" fmla="*/ 100977 h 197527"/>
                <a:gd name="connsiteX6" fmla="*/ 0 w 223759"/>
                <a:gd name="connsiteY6" fmla="*/ 33802 h 197527"/>
                <a:gd name="connsiteX7" fmla="*/ 31755 w 223759"/>
                <a:gd name="connsiteY7" fmla="*/ 0 h 197527"/>
                <a:gd name="connsiteX8" fmla="*/ 63414 w 223759"/>
                <a:gd name="connsiteY8" fmla="*/ 33802 h 197527"/>
                <a:gd name="connsiteX9" fmla="*/ 63414 w 223759"/>
                <a:gd name="connsiteY9" fmla="*/ 71793 h 197527"/>
                <a:gd name="connsiteX10" fmla="*/ 96597 w 223759"/>
                <a:gd name="connsiteY10" fmla="*/ 105595 h 197527"/>
                <a:gd name="connsiteX11" fmla="*/ 164630 w 223759"/>
                <a:gd name="connsiteY11" fmla="*/ 105595 h 1975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23759" h="197527">
                  <a:moveTo>
                    <a:pt x="223759" y="57844"/>
                  </a:moveTo>
                  <a:lnTo>
                    <a:pt x="217094" y="57844"/>
                  </a:lnTo>
                  <a:cubicBezTo>
                    <a:pt x="201098" y="57844"/>
                    <a:pt x="188196" y="70841"/>
                    <a:pt x="188196" y="86790"/>
                  </a:cubicBezTo>
                  <a:lnTo>
                    <a:pt x="188196" y="100977"/>
                  </a:lnTo>
                  <a:cubicBezTo>
                    <a:pt x="188196" y="154061"/>
                    <a:pt x="145872" y="197527"/>
                    <a:pt x="94122" y="197527"/>
                  </a:cubicBezTo>
                  <a:cubicBezTo>
                    <a:pt x="42371" y="197527"/>
                    <a:pt x="0" y="154108"/>
                    <a:pt x="0" y="100977"/>
                  </a:cubicBezTo>
                  <a:lnTo>
                    <a:pt x="0" y="33802"/>
                  </a:lnTo>
                  <a:cubicBezTo>
                    <a:pt x="0" y="15235"/>
                    <a:pt x="14283" y="0"/>
                    <a:pt x="31755" y="0"/>
                  </a:cubicBezTo>
                  <a:cubicBezTo>
                    <a:pt x="49227" y="0"/>
                    <a:pt x="63414" y="15187"/>
                    <a:pt x="63414" y="33802"/>
                  </a:cubicBezTo>
                  <a:lnTo>
                    <a:pt x="63414" y="71793"/>
                  </a:lnTo>
                  <a:cubicBezTo>
                    <a:pt x="63414" y="90361"/>
                    <a:pt x="78316" y="105595"/>
                    <a:pt x="96597" y="105595"/>
                  </a:cubicBezTo>
                  <a:lnTo>
                    <a:pt x="164630" y="105595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23" name="Forma livre: Forma 2122">
              <a:extLst>
                <a:ext uri="{FF2B5EF4-FFF2-40B4-BE49-F238E27FC236}">
                  <a16:creationId xmlns:a16="http://schemas.microsoft.com/office/drawing/2014/main" id="{F0EE87A0-A6B0-71C2-D810-E8DCC9C08D5C}"/>
                </a:ext>
              </a:extLst>
            </p:cNvPr>
            <p:cNvSpPr/>
            <p:nvPr/>
          </p:nvSpPr>
          <p:spPr>
            <a:xfrm>
              <a:off x="8190718" y="3694074"/>
              <a:ext cx="39324" cy="33421"/>
            </a:xfrm>
            <a:custGeom>
              <a:avLst/>
              <a:gdLst>
                <a:gd name="connsiteX0" fmla="*/ 39325 w 39324"/>
                <a:gd name="connsiteY0" fmla="*/ 0 h 33421"/>
                <a:gd name="connsiteX1" fmla="*/ 0 w 39324"/>
                <a:gd name="connsiteY1" fmla="*/ 13426 h 33421"/>
                <a:gd name="connsiteX2" fmla="*/ 36325 w 39324"/>
                <a:gd name="connsiteY2" fmla="*/ 33421 h 334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9324" h="33421">
                  <a:moveTo>
                    <a:pt x="39325" y="0"/>
                  </a:moveTo>
                  <a:lnTo>
                    <a:pt x="0" y="13426"/>
                  </a:lnTo>
                  <a:lnTo>
                    <a:pt x="36325" y="33421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24" name="Forma livre: Forma 2123">
              <a:extLst>
                <a:ext uri="{FF2B5EF4-FFF2-40B4-BE49-F238E27FC236}">
                  <a16:creationId xmlns:a16="http://schemas.microsoft.com/office/drawing/2014/main" id="{D676229C-AD27-0628-C7C9-EF0C4B5F044B}"/>
                </a:ext>
              </a:extLst>
            </p:cNvPr>
            <p:cNvSpPr/>
            <p:nvPr/>
          </p:nvSpPr>
          <p:spPr>
            <a:xfrm>
              <a:off x="8228204" y="3619967"/>
              <a:ext cx="74135" cy="52159"/>
            </a:xfrm>
            <a:custGeom>
              <a:avLst/>
              <a:gdLst>
                <a:gd name="connsiteX0" fmla="*/ 1077 w 74135"/>
                <a:gd name="connsiteY0" fmla="*/ 29260 h 52159"/>
                <a:gd name="connsiteX1" fmla="*/ 29 w 74135"/>
                <a:gd name="connsiteY1" fmla="*/ 21262 h 52159"/>
                <a:gd name="connsiteX2" fmla="*/ 23596 w 74135"/>
                <a:gd name="connsiteY2" fmla="*/ 29 h 52159"/>
                <a:gd name="connsiteX3" fmla="*/ 44020 w 74135"/>
                <a:gd name="connsiteY3" fmla="*/ 16216 h 52159"/>
                <a:gd name="connsiteX4" fmla="*/ 55303 w 74135"/>
                <a:gd name="connsiteY4" fmla="*/ 13502 h 52159"/>
                <a:gd name="connsiteX5" fmla="*/ 74108 w 74135"/>
                <a:gd name="connsiteY5" fmla="*/ 34402 h 52159"/>
                <a:gd name="connsiteX6" fmla="*/ 65348 w 74135"/>
                <a:gd name="connsiteY6" fmla="*/ 49875 h 52159"/>
                <a:gd name="connsiteX7" fmla="*/ 61492 w 74135"/>
                <a:gd name="connsiteY7" fmla="*/ 52160 h 521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4135" h="52159">
                  <a:moveTo>
                    <a:pt x="1077" y="29260"/>
                  </a:moveTo>
                  <a:cubicBezTo>
                    <a:pt x="267" y="26737"/>
                    <a:pt x="-113" y="24071"/>
                    <a:pt x="29" y="21262"/>
                  </a:cubicBezTo>
                  <a:cubicBezTo>
                    <a:pt x="696" y="8884"/>
                    <a:pt x="11217" y="-590"/>
                    <a:pt x="23596" y="29"/>
                  </a:cubicBezTo>
                  <a:cubicBezTo>
                    <a:pt x="33403" y="552"/>
                    <a:pt x="41449" y="7313"/>
                    <a:pt x="44020" y="16216"/>
                  </a:cubicBezTo>
                  <a:cubicBezTo>
                    <a:pt x="47305" y="14264"/>
                    <a:pt x="51208" y="13264"/>
                    <a:pt x="55303" y="13502"/>
                  </a:cubicBezTo>
                  <a:cubicBezTo>
                    <a:pt x="66253" y="14073"/>
                    <a:pt x="74679" y="23452"/>
                    <a:pt x="74108" y="34402"/>
                  </a:cubicBezTo>
                  <a:cubicBezTo>
                    <a:pt x="73775" y="40924"/>
                    <a:pt x="70347" y="46494"/>
                    <a:pt x="65348" y="49875"/>
                  </a:cubicBezTo>
                  <a:lnTo>
                    <a:pt x="61492" y="52160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25" name="Forma livre: Forma 2124">
              <a:extLst>
                <a:ext uri="{FF2B5EF4-FFF2-40B4-BE49-F238E27FC236}">
                  <a16:creationId xmlns:a16="http://schemas.microsoft.com/office/drawing/2014/main" id="{EA85B0CC-CEC2-4EAE-4635-4DC9D065984A}"/>
                </a:ext>
              </a:extLst>
            </p:cNvPr>
            <p:cNvSpPr/>
            <p:nvPr/>
          </p:nvSpPr>
          <p:spPr>
            <a:xfrm>
              <a:off x="8324164" y="3859799"/>
              <a:ext cx="4760" cy="107832"/>
            </a:xfrm>
            <a:custGeom>
              <a:avLst/>
              <a:gdLst>
                <a:gd name="connsiteX0" fmla="*/ 0 w 4760"/>
                <a:gd name="connsiteY0" fmla="*/ 0 h 107832"/>
                <a:gd name="connsiteX1" fmla="*/ 0 w 4760"/>
                <a:gd name="connsiteY1" fmla="*/ 107833 h 1078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760" h="107832">
                  <a:moveTo>
                    <a:pt x="0" y="0"/>
                  </a:moveTo>
                  <a:lnTo>
                    <a:pt x="0" y="107833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26" name="Forma livre: Forma 2125">
              <a:extLst>
                <a:ext uri="{FF2B5EF4-FFF2-40B4-BE49-F238E27FC236}">
                  <a16:creationId xmlns:a16="http://schemas.microsoft.com/office/drawing/2014/main" id="{16FEB2AA-703E-4351-C568-2C1A8124410E}"/>
                </a:ext>
              </a:extLst>
            </p:cNvPr>
            <p:cNvSpPr/>
            <p:nvPr/>
          </p:nvSpPr>
          <p:spPr>
            <a:xfrm>
              <a:off x="8196574" y="3880318"/>
              <a:ext cx="212571" cy="59177"/>
            </a:xfrm>
            <a:custGeom>
              <a:avLst/>
              <a:gdLst>
                <a:gd name="connsiteX0" fmla="*/ 212571 w 212571"/>
                <a:gd name="connsiteY0" fmla="*/ 29612 h 59177"/>
                <a:gd name="connsiteX1" fmla="*/ 51179 w 212571"/>
                <a:gd name="connsiteY1" fmla="*/ 29612 h 59177"/>
                <a:gd name="connsiteX2" fmla="*/ 51179 w 212571"/>
                <a:gd name="connsiteY2" fmla="*/ 59177 h 59177"/>
                <a:gd name="connsiteX3" fmla="*/ 0 w 212571"/>
                <a:gd name="connsiteY3" fmla="*/ 29612 h 59177"/>
                <a:gd name="connsiteX4" fmla="*/ 51179 w 212571"/>
                <a:gd name="connsiteY4" fmla="*/ 0 h 591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12571" h="59177">
                  <a:moveTo>
                    <a:pt x="212571" y="29612"/>
                  </a:moveTo>
                  <a:lnTo>
                    <a:pt x="51179" y="29612"/>
                  </a:lnTo>
                  <a:lnTo>
                    <a:pt x="51179" y="59177"/>
                  </a:lnTo>
                  <a:lnTo>
                    <a:pt x="0" y="29612"/>
                  </a:lnTo>
                  <a:lnTo>
                    <a:pt x="51179" y="0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27" name="Forma livre: Forma 2126">
              <a:extLst>
                <a:ext uri="{FF2B5EF4-FFF2-40B4-BE49-F238E27FC236}">
                  <a16:creationId xmlns:a16="http://schemas.microsoft.com/office/drawing/2014/main" id="{5C9F745D-45B4-5771-BBFE-ECA89C8D0385}"/>
                </a:ext>
              </a:extLst>
            </p:cNvPr>
            <p:cNvSpPr/>
            <p:nvPr/>
          </p:nvSpPr>
          <p:spPr>
            <a:xfrm>
              <a:off x="8409240" y="3884460"/>
              <a:ext cx="21328" cy="25327"/>
            </a:xfrm>
            <a:custGeom>
              <a:avLst/>
              <a:gdLst>
                <a:gd name="connsiteX0" fmla="*/ 21329 w 21328"/>
                <a:gd name="connsiteY0" fmla="*/ 0 h 25327"/>
                <a:gd name="connsiteX1" fmla="*/ 0 w 21328"/>
                <a:gd name="connsiteY1" fmla="*/ 25328 h 25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1328" h="25327">
                  <a:moveTo>
                    <a:pt x="21329" y="0"/>
                  </a:moveTo>
                  <a:lnTo>
                    <a:pt x="0" y="25328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28" name="Forma livre: Forma 2127">
              <a:extLst>
                <a:ext uri="{FF2B5EF4-FFF2-40B4-BE49-F238E27FC236}">
                  <a16:creationId xmlns:a16="http://schemas.microsoft.com/office/drawing/2014/main" id="{4C3D4F90-1333-B47F-5832-1834C7B2F4DA}"/>
                </a:ext>
              </a:extLst>
            </p:cNvPr>
            <p:cNvSpPr/>
            <p:nvPr/>
          </p:nvSpPr>
          <p:spPr>
            <a:xfrm>
              <a:off x="8409240" y="3909978"/>
              <a:ext cx="21328" cy="25327"/>
            </a:xfrm>
            <a:custGeom>
              <a:avLst/>
              <a:gdLst>
                <a:gd name="connsiteX0" fmla="*/ 21329 w 21328"/>
                <a:gd name="connsiteY0" fmla="*/ 25328 h 25327"/>
                <a:gd name="connsiteX1" fmla="*/ 0 w 21328"/>
                <a:gd name="connsiteY1" fmla="*/ 0 h 25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1328" h="25327">
                  <a:moveTo>
                    <a:pt x="21329" y="25328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29" name="Forma livre: Forma 2128">
              <a:extLst>
                <a:ext uri="{FF2B5EF4-FFF2-40B4-BE49-F238E27FC236}">
                  <a16:creationId xmlns:a16="http://schemas.microsoft.com/office/drawing/2014/main" id="{48F44BD6-0AF2-003D-C291-FB1931B50320}"/>
                </a:ext>
              </a:extLst>
            </p:cNvPr>
            <p:cNvSpPr/>
            <p:nvPr/>
          </p:nvSpPr>
          <p:spPr>
            <a:xfrm>
              <a:off x="8295075" y="3784863"/>
              <a:ext cx="62652" cy="25327"/>
            </a:xfrm>
            <a:custGeom>
              <a:avLst/>
              <a:gdLst>
                <a:gd name="connsiteX0" fmla="*/ 0 w 62652"/>
                <a:gd name="connsiteY0" fmla="*/ 0 h 25327"/>
                <a:gd name="connsiteX1" fmla="*/ 31326 w 62652"/>
                <a:gd name="connsiteY1" fmla="*/ 25328 h 25327"/>
                <a:gd name="connsiteX2" fmla="*/ 62653 w 62652"/>
                <a:gd name="connsiteY2" fmla="*/ 0 h 25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2652" h="25327">
                  <a:moveTo>
                    <a:pt x="0" y="0"/>
                  </a:moveTo>
                  <a:cubicBezTo>
                    <a:pt x="3618" y="14521"/>
                    <a:pt x="16330" y="25328"/>
                    <a:pt x="31326" y="25328"/>
                  </a:cubicBezTo>
                  <a:cubicBezTo>
                    <a:pt x="46323" y="25328"/>
                    <a:pt x="59034" y="14521"/>
                    <a:pt x="62653" y="0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2130" name="Gráfico 18">
            <a:extLst>
              <a:ext uri="{FF2B5EF4-FFF2-40B4-BE49-F238E27FC236}">
                <a16:creationId xmlns:a16="http://schemas.microsoft.com/office/drawing/2014/main" id="{3ACD83A6-196B-83DF-4616-D4E872050171}"/>
              </a:ext>
            </a:extLst>
          </p:cNvPr>
          <p:cNvGrpSpPr/>
          <p:nvPr/>
        </p:nvGrpSpPr>
        <p:grpSpPr>
          <a:xfrm>
            <a:off x="9418776" y="4696183"/>
            <a:ext cx="290649" cy="292553"/>
            <a:chOff x="9418776" y="4696183"/>
            <a:chExt cx="290649" cy="292553"/>
          </a:xfrm>
          <a:noFill/>
        </p:grpSpPr>
        <p:grpSp>
          <p:nvGrpSpPr>
            <p:cNvPr id="2131" name="Gráfico 18">
              <a:extLst>
                <a:ext uri="{FF2B5EF4-FFF2-40B4-BE49-F238E27FC236}">
                  <a16:creationId xmlns:a16="http://schemas.microsoft.com/office/drawing/2014/main" id="{3F7FDD7C-487F-2557-EFD5-D6F8F0D9CD38}"/>
                </a:ext>
              </a:extLst>
            </p:cNvPr>
            <p:cNvGrpSpPr/>
            <p:nvPr/>
          </p:nvGrpSpPr>
          <p:grpSpPr>
            <a:xfrm>
              <a:off x="9418776" y="4705276"/>
              <a:ext cx="191385" cy="283460"/>
              <a:chOff x="9418776" y="4705276"/>
              <a:chExt cx="191385" cy="283460"/>
            </a:xfrm>
            <a:noFill/>
          </p:grpSpPr>
          <p:sp>
            <p:nvSpPr>
              <p:cNvPr id="2132" name="Forma livre: Forma 2131">
                <a:extLst>
                  <a:ext uri="{FF2B5EF4-FFF2-40B4-BE49-F238E27FC236}">
                    <a16:creationId xmlns:a16="http://schemas.microsoft.com/office/drawing/2014/main" id="{2DBC1441-5AC1-AF9B-40BE-56C035515C06}"/>
                  </a:ext>
                </a:extLst>
              </p:cNvPr>
              <p:cNvSpPr/>
              <p:nvPr/>
            </p:nvSpPr>
            <p:spPr>
              <a:xfrm>
                <a:off x="9500044" y="4891663"/>
                <a:ext cx="31421" cy="25565"/>
              </a:xfrm>
              <a:custGeom>
                <a:avLst/>
                <a:gdLst>
                  <a:gd name="connsiteX0" fmla="*/ 31421 w 31421"/>
                  <a:gd name="connsiteY0" fmla="*/ 0 h 25565"/>
                  <a:gd name="connsiteX1" fmla="*/ 0 w 31421"/>
                  <a:gd name="connsiteY1" fmla="*/ 25566 h 255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1421" h="25565">
                    <a:moveTo>
                      <a:pt x="31421" y="0"/>
                    </a:moveTo>
                    <a:cubicBezTo>
                      <a:pt x="31421" y="0"/>
                      <a:pt x="10617" y="5999"/>
                      <a:pt x="0" y="25566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133" name="Forma livre: Forma 2132">
                <a:extLst>
                  <a:ext uri="{FF2B5EF4-FFF2-40B4-BE49-F238E27FC236}">
                    <a16:creationId xmlns:a16="http://schemas.microsoft.com/office/drawing/2014/main" id="{DC0C74F5-404E-5EBE-5114-C32F3BADE356}"/>
                  </a:ext>
                </a:extLst>
              </p:cNvPr>
              <p:cNvSpPr/>
              <p:nvPr/>
            </p:nvSpPr>
            <p:spPr>
              <a:xfrm>
                <a:off x="9531465" y="4858570"/>
                <a:ext cx="78649" cy="45228"/>
              </a:xfrm>
              <a:custGeom>
                <a:avLst/>
                <a:gdLst>
                  <a:gd name="connsiteX0" fmla="*/ 0 w 78649"/>
                  <a:gd name="connsiteY0" fmla="*/ 33093 h 45228"/>
                  <a:gd name="connsiteX1" fmla="*/ 47989 w 78649"/>
                  <a:gd name="connsiteY1" fmla="*/ 38854 h 45228"/>
                  <a:gd name="connsiteX2" fmla="*/ 78649 w 78649"/>
                  <a:gd name="connsiteY2" fmla="*/ 7670 h 45228"/>
                  <a:gd name="connsiteX3" fmla="*/ 35706 w 78649"/>
                  <a:gd name="connsiteY3" fmla="*/ 291 h 45228"/>
                  <a:gd name="connsiteX4" fmla="*/ 4618 w 78649"/>
                  <a:gd name="connsiteY4" fmla="*/ 17716 h 452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8649" h="45228">
                    <a:moveTo>
                      <a:pt x="0" y="33093"/>
                    </a:moveTo>
                    <a:cubicBezTo>
                      <a:pt x="4047" y="46471"/>
                      <a:pt x="30231" y="49375"/>
                      <a:pt x="47989" y="38854"/>
                    </a:cubicBezTo>
                    <a:cubicBezTo>
                      <a:pt x="70937" y="25285"/>
                      <a:pt x="78649" y="7670"/>
                      <a:pt x="78649" y="7670"/>
                    </a:cubicBezTo>
                    <a:cubicBezTo>
                      <a:pt x="78649" y="7670"/>
                      <a:pt x="59939" y="-1756"/>
                      <a:pt x="35706" y="291"/>
                    </a:cubicBezTo>
                    <a:cubicBezTo>
                      <a:pt x="22852" y="1338"/>
                      <a:pt x="10902" y="9146"/>
                      <a:pt x="4618" y="17716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134" name="Forma livre: Forma 2133">
                <a:extLst>
                  <a:ext uri="{FF2B5EF4-FFF2-40B4-BE49-F238E27FC236}">
                    <a16:creationId xmlns:a16="http://schemas.microsoft.com/office/drawing/2014/main" id="{D86D6689-1739-FD38-5718-7A1C9D79134C}"/>
                  </a:ext>
                </a:extLst>
              </p:cNvPr>
              <p:cNvSpPr/>
              <p:nvPr/>
            </p:nvSpPr>
            <p:spPr>
              <a:xfrm>
                <a:off x="9464290" y="4955201"/>
                <a:ext cx="145872" cy="33535"/>
              </a:xfrm>
              <a:custGeom>
                <a:avLst/>
                <a:gdLst>
                  <a:gd name="connsiteX0" fmla="*/ 145872 w 145872"/>
                  <a:gd name="connsiteY0" fmla="*/ 31584 h 33535"/>
                  <a:gd name="connsiteX1" fmla="*/ 140921 w 145872"/>
                  <a:gd name="connsiteY1" fmla="*/ 21253 h 33535"/>
                  <a:gd name="connsiteX2" fmla="*/ 117735 w 145872"/>
                  <a:gd name="connsiteY2" fmla="*/ 7732 h 33535"/>
                  <a:gd name="connsiteX3" fmla="*/ 85409 w 145872"/>
                  <a:gd name="connsiteY3" fmla="*/ 24919 h 33535"/>
                  <a:gd name="connsiteX4" fmla="*/ 85409 w 145872"/>
                  <a:gd name="connsiteY4" fmla="*/ 24919 h 33535"/>
                  <a:gd name="connsiteX5" fmla="*/ 39515 w 145872"/>
                  <a:gd name="connsiteY5" fmla="*/ 258 h 33535"/>
                  <a:gd name="connsiteX6" fmla="*/ 0 w 145872"/>
                  <a:gd name="connsiteY6" fmla="*/ 33536 h 335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45872" h="33535">
                    <a:moveTo>
                      <a:pt x="145872" y="31584"/>
                    </a:moveTo>
                    <a:cubicBezTo>
                      <a:pt x="144825" y="27870"/>
                      <a:pt x="143158" y="24347"/>
                      <a:pt x="140921" y="21253"/>
                    </a:cubicBezTo>
                    <a:cubicBezTo>
                      <a:pt x="135636" y="13921"/>
                      <a:pt x="127400" y="8779"/>
                      <a:pt x="117735" y="7732"/>
                    </a:cubicBezTo>
                    <a:cubicBezTo>
                      <a:pt x="104215" y="6256"/>
                      <a:pt x="91646" y="13731"/>
                      <a:pt x="85409" y="24919"/>
                    </a:cubicBezTo>
                    <a:lnTo>
                      <a:pt x="85409" y="24919"/>
                    </a:lnTo>
                    <a:cubicBezTo>
                      <a:pt x="76840" y="8541"/>
                      <a:pt x="58939" y="-1790"/>
                      <a:pt x="39515" y="258"/>
                    </a:cubicBezTo>
                    <a:cubicBezTo>
                      <a:pt x="20424" y="2257"/>
                      <a:pt x="5284" y="16254"/>
                      <a:pt x="0" y="33536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135" name="Forma livre: Forma 2134">
                <a:extLst>
                  <a:ext uri="{FF2B5EF4-FFF2-40B4-BE49-F238E27FC236}">
                    <a16:creationId xmlns:a16="http://schemas.microsoft.com/office/drawing/2014/main" id="{DD2D3ECD-17B2-940B-40CE-3672AF434FEC}"/>
                  </a:ext>
                </a:extLst>
              </p:cNvPr>
              <p:cNvSpPr/>
              <p:nvPr/>
            </p:nvSpPr>
            <p:spPr>
              <a:xfrm>
                <a:off x="9484523" y="4890997"/>
                <a:ext cx="22375" cy="63652"/>
              </a:xfrm>
              <a:custGeom>
                <a:avLst/>
                <a:gdLst>
                  <a:gd name="connsiteX0" fmla="*/ 0 w 22375"/>
                  <a:gd name="connsiteY0" fmla="*/ 0 h 63652"/>
                  <a:gd name="connsiteX1" fmla="*/ 22376 w 22375"/>
                  <a:gd name="connsiteY1" fmla="*/ 63652 h 636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2375" h="63652">
                    <a:moveTo>
                      <a:pt x="0" y="0"/>
                    </a:moveTo>
                    <a:cubicBezTo>
                      <a:pt x="11474" y="17520"/>
                      <a:pt x="21519" y="34945"/>
                      <a:pt x="22376" y="63652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136" name="Forma livre: Forma 2135">
                <a:extLst>
                  <a:ext uri="{FF2B5EF4-FFF2-40B4-BE49-F238E27FC236}">
                    <a16:creationId xmlns:a16="http://schemas.microsoft.com/office/drawing/2014/main" id="{412E2DD4-B9A0-394D-2177-F0B86D0771BD}"/>
                  </a:ext>
                </a:extLst>
              </p:cNvPr>
              <p:cNvSpPr/>
              <p:nvPr/>
            </p:nvSpPr>
            <p:spPr>
              <a:xfrm>
                <a:off x="9490665" y="4794399"/>
                <a:ext cx="4760" cy="26660"/>
              </a:xfrm>
              <a:custGeom>
                <a:avLst/>
                <a:gdLst>
                  <a:gd name="connsiteX0" fmla="*/ 0 w 4760"/>
                  <a:gd name="connsiteY0" fmla="*/ 0 h 26660"/>
                  <a:gd name="connsiteX1" fmla="*/ 0 w 4760"/>
                  <a:gd name="connsiteY1" fmla="*/ 26661 h 266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60" h="26660">
                    <a:moveTo>
                      <a:pt x="0" y="0"/>
                    </a:moveTo>
                    <a:lnTo>
                      <a:pt x="0" y="26661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137" name="Forma livre: Forma 2136">
                <a:extLst>
                  <a:ext uri="{FF2B5EF4-FFF2-40B4-BE49-F238E27FC236}">
                    <a16:creationId xmlns:a16="http://schemas.microsoft.com/office/drawing/2014/main" id="{C13260CD-0493-CDCC-9C5A-B37148A50EBA}"/>
                  </a:ext>
                </a:extLst>
              </p:cNvPr>
              <p:cNvSpPr/>
              <p:nvPr/>
            </p:nvSpPr>
            <p:spPr>
              <a:xfrm>
                <a:off x="9491760" y="4705276"/>
                <a:ext cx="81933" cy="69508"/>
              </a:xfrm>
              <a:custGeom>
                <a:avLst/>
                <a:gdLst>
                  <a:gd name="connsiteX0" fmla="*/ 81934 w 81933"/>
                  <a:gd name="connsiteY0" fmla="*/ 0 h 69508"/>
                  <a:gd name="connsiteX1" fmla="*/ 0 w 81933"/>
                  <a:gd name="connsiteY1" fmla="*/ 69508 h 695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81933" h="69508">
                    <a:moveTo>
                      <a:pt x="81934" y="0"/>
                    </a:moveTo>
                    <a:cubicBezTo>
                      <a:pt x="40705" y="0"/>
                      <a:pt x="6475" y="30089"/>
                      <a:pt x="0" y="69508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138" name="Forma livre: Forma 2137">
                <a:extLst>
                  <a:ext uri="{FF2B5EF4-FFF2-40B4-BE49-F238E27FC236}">
                    <a16:creationId xmlns:a16="http://schemas.microsoft.com/office/drawing/2014/main" id="{C69DB8A5-DE56-C987-A0F1-A6CE59957B13}"/>
                  </a:ext>
                </a:extLst>
              </p:cNvPr>
              <p:cNvSpPr/>
              <p:nvPr/>
            </p:nvSpPr>
            <p:spPr>
              <a:xfrm>
                <a:off x="9522515" y="4759883"/>
                <a:ext cx="8617" cy="61272"/>
              </a:xfrm>
              <a:custGeom>
                <a:avLst/>
                <a:gdLst>
                  <a:gd name="connsiteX0" fmla="*/ 8617 w 8617"/>
                  <a:gd name="connsiteY0" fmla="*/ 0 h 61272"/>
                  <a:gd name="connsiteX1" fmla="*/ 0 w 8617"/>
                  <a:gd name="connsiteY1" fmla="*/ 28422 h 61272"/>
                  <a:gd name="connsiteX2" fmla="*/ 0 w 8617"/>
                  <a:gd name="connsiteY2" fmla="*/ 61272 h 612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617" h="61272">
                    <a:moveTo>
                      <a:pt x="8617" y="0"/>
                    </a:moveTo>
                    <a:cubicBezTo>
                      <a:pt x="3190" y="8141"/>
                      <a:pt x="0" y="17901"/>
                      <a:pt x="0" y="28422"/>
                    </a:cubicBezTo>
                    <a:lnTo>
                      <a:pt x="0" y="61272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139" name="Forma livre: Forma 2138">
                <a:extLst>
                  <a:ext uri="{FF2B5EF4-FFF2-40B4-BE49-F238E27FC236}">
                    <a16:creationId xmlns:a16="http://schemas.microsoft.com/office/drawing/2014/main" id="{152FC018-A511-9121-3B45-6CA0D4961B18}"/>
                  </a:ext>
                </a:extLst>
              </p:cNvPr>
              <p:cNvSpPr/>
              <p:nvPr/>
            </p:nvSpPr>
            <p:spPr>
              <a:xfrm>
                <a:off x="9543700" y="4737126"/>
                <a:ext cx="29993" cy="9712"/>
              </a:xfrm>
              <a:custGeom>
                <a:avLst/>
                <a:gdLst>
                  <a:gd name="connsiteX0" fmla="*/ 29993 w 29993"/>
                  <a:gd name="connsiteY0" fmla="*/ 0 h 9712"/>
                  <a:gd name="connsiteX1" fmla="*/ 0 w 29993"/>
                  <a:gd name="connsiteY1" fmla="*/ 9712 h 97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9993" h="9712">
                    <a:moveTo>
                      <a:pt x="29993" y="0"/>
                    </a:moveTo>
                    <a:cubicBezTo>
                      <a:pt x="18805" y="0"/>
                      <a:pt x="8427" y="3618"/>
                      <a:pt x="0" y="9712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140" name="Forma livre: Forma 2139">
                <a:extLst>
                  <a:ext uri="{FF2B5EF4-FFF2-40B4-BE49-F238E27FC236}">
                    <a16:creationId xmlns:a16="http://schemas.microsoft.com/office/drawing/2014/main" id="{12E5FFDA-A18F-7262-9270-BD20D9D1C038}"/>
                  </a:ext>
                </a:extLst>
              </p:cNvPr>
              <p:cNvSpPr/>
              <p:nvPr/>
            </p:nvSpPr>
            <p:spPr>
              <a:xfrm>
                <a:off x="9554507" y="4768976"/>
                <a:ext cx="19329" cy="52131"/>
              </a:xfrm>
              <a:custGeom>
                <a:avLst/>
                <a:gdLst>
                  <a:gd name="connsiteX0" fmla="*/ 19329 w 19329"/>
                  <a:gd name="connsiteY0" fmla="*/ 0 h 52131"/>
                  <a:gd name="connsiteX1" fmla="*/ 0 w 19329"/>
                  <a:gd name="connsiteY1" fmla="*/ 19329 h 52131"/>
                  <a:gd name="connsiteX2" fmla="*/ 0 w 19329"/>
                  <a:gd name="connsiteY2" fmla="*/ 52131 h 521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9329" h="52131">
                    <a:moveTo>
                      <a:pt x="19329" y="0"/>
                    </a:moveTo>
                    <a:cubicBezTo>
                      <a:pt x="8665" y="0"/>
                      <a:pt x="0" y="8665"/>
                      <a:pt x="0" y="19329"/>
                    </a:cubicBezTo>
                    <a:lnTo>
                      <a:pt x="0" y="52131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141" name="Forma livre: Forma 2140">
                <a:extLst>
                  <a:ext uri="{FF2B5EF4-FFF2-40B4-BE49-F238E27FC236}">
                    <a16:creationId xmlns:a16="http://schemas.microsoft.com/office/drawing/2014/main" id="{15EC54FC-FCC1-5A89-B361-BEB0152D205F}"/>
                  </a:ext>
                </a:extLst>
              </p:cNvPr>
              <p:cNvSpPr/>
              <p:nvPr/>
            </p:nvSpPr>
            <p:spPr>
              <a:xfrm>
                <a:off x="9418776" y="4841395"/>
                <a:ext cx="67955" cy="55362"/>
              </a:xfrm>
              <a:custGeom>
                <a:avLst/>
                <a:gdLst>
                  <a:gd name="connsiteX0" fmla="*/ 48751 w 67955"/>
                  <a:gd name="connsiteY0" fmla="*/ 55363 h 55362"/>
                  <a:gd name="connsiteX1" fmla="*/ 18853 w 67955"/>
                  <a:gd name="connsiteY1" fmla="*/ 39842 h 55362"/>
                  <a:gd name="connsiteX2" fmla="*/ 0 w 67955"/>
                  <a:gd name="connsiteY2" fmla="*/ 375 h 55362"/>
                  <a:gd name="connsiteX3" fmla="*/ 42990 w 67955"/>
                  <a:gd name="connsiteY3" fmla="*/ 7326 h 55362"/>
                  <a:gd name="connsiteX4" fmla="*/ 65700 w 67955"/>
                  <a:gd name="connsiteY4" fmla="*/ 49602 h 553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7955" h="55362">
                    <a:moveTo>
                      <a:pt x="48751" y="55363"/>
                    </a:moveTo>
                    <a:cubicBezTo>
                      <a:pt x="38896" y="54125"/>
                      <a:pt x="26327" y="48555"/>
                      <a:pt x="18853" y="39842"/>
                    </a:cubicBezTo>
                    <a:cubicBezTo>
                      <a:pt x="1571" y="19561"/>
                      <a:pt x="0" y="375"/>
                      <a:pt x="0" y="375"/>
                    </a:cubicBezTo>
                    <a:cubicBezTo>
                      <a:pt x="0" y="375"/>
                      <a:pt x="20757" y="-2434"/>
                      <a:pt x="42990" y="7326"/>
                    </a:cubicBezTo>
                    <a:cubicBezTo>
                      <a:pt x="61891" y="15609"/>
                      <a:pt x="72984" y="39556"/>
                      <a:pt x="65700" y="49602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2142" name="Forma livre: Forma 2141">
              <a:extLst>
                <a:ext uri="{FF2B5EF4-FFF2-40B4-BE49-F238E27FC236}">
                  <a16:creationId xmlns:a16="http://schemas.microsoft.com/office/drawing/2014/main" id="{290804F9-5A6B-57AE-33C2-0EC08CC887BA}"/>
                </a:ext>
              </a:extLst>
            </p:cNvPr>
            <p:cNvSpPr/>
            <p:nvPr/>
          </p:nvSpPr>
          <p:spPr>
            <a:xfrm>
              <a:off x="9600545" y="4696183"/>
              <a:ext cx="108880" cy="79458"/>
            </a:xfrm>
            <a:custGeom>
              <a:avLst/>
              <a:gdLst>
                <a:gd name="connsiteX0" fmla="*/ 108880 w 108880"/>
                <a:gd name="connsiteY0" fmla="*/ 20614 h 79458"/>
                <a:gd name="connsiteX1" fmla="*/ 41943 w 108880"/>
                <a:gd name="connsiteY1" fmla="*/ 20614 h 79458"/>
                <a:gd name="connsiteX2" fmla="*/ 18186 w 108880"/>
                <a:gd name="connsiteY2" fmla="*/ 0 h 79458"/>
                <a:gd name="connsiteX3" fmla="*/ 0 w 108880"/>
                <a:gd name="connsiteY3" fmla="*/ 0 h 79458"/>
                <a:gd name="connsiteX4" fmla="*/ 0 w 108880"/>
                <a:gd name="connsiteY4" fmla="*/ 79458 h 79458"/>
                <a:gd name="connsiteX5" fmla="*/ 18186 w 108880"/>
                <a:gd name="connsiteY5" fmla="*/ 79458 h 79458"/>
                <a:gd name="connsiteX6" fmla="*/ 41991 w 108880"/>
                <a:gd name="connsiteY6" fmla="*/ 58701 h 79458"/>
                <a:gd name="connsiteX7" fmla="*/ 108880 w 108880"/>
                <a:gd name="connsiteY7" fmla="*/ 58701 h 794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08880" h="79458">
                  <a:moveTo>
                    <a:pt x="108880" y="20614"/>
                  </a:moveTo>
                  <a:lnTo>
                    <a:pt x="41943" y="20614"/>
                  </a:lnTo>
                  <a:lnTo>
                    <a:pt x="18186" y="0"/>
                  </a:lnTo>
                  <a:lnTo>
                    <a:pt x="0" y="0"/>
                  </a:lnTo>
                  <a:lnTo>
                    <a:pt x="0" y="79458"/>
                  </a:lnTo>
                  <a:lnTo>
                    <a:pt x="18186" y="79458"/>
                  </a:lnTo>
                  <a:lnTo>
                    <a:pt x="41991" y="58701"/>
                  </a:lnTo>
                  <a:lnTo>
                    <a:pt x="108880" y="58701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43" name="Forma livre: Forma 2142">
              <a:extLst>
                <a:ext uri="{FF2B5EF4-FFF2-40B4-BE49-F238E27FC236}">
                  <a16:creationId xmlns:a16="http://schemas.microsoft.com/office/drawing/2014/main" id="{8D53E849-D0A1-6794-E846-169DFBEE2DAA}"/>
                </a:ext>
              </a:extLst>
            </p:cNvPr>
            <p:cNvSpPr/>
            <p:nvPr/>
          </p:nvSpPr>
          <p:spPr>
            <a:xfrm>
              <a:off x="9642821" y="4716798"/>
              <a:ext cx="4760" cy="19995"/>
            </a:xfrm>
            <a:custGeom>
              <a:avLst/>
              <a:gdLst>
                <a:gd name="connsiteX0" fmla="*/ 0 w 4760"/>
                <a:gd name="connsiteY0" fmla="*/ 0 h 19995"/>
                <a:gd name="connsiteX1" fmla="*/ 0 w 4760"/>
                <a:gd name="connsiteY1" fmla="*/ 19996 h 199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760" h="19995">
                  <a:moveTo>
                    <a:pt x="0" y="0"/>
                  </a:moveTo>
                  <a:lnTo>
                    <a:pt x="0" y="19996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2144" name="Gráfico 18">
            <a:extLst>
              <a:ext uri="{FF2B5EF4-FFF2-40B4-BE49-F238E27FC236}">
                <a16:creationId xmlns:a16="http://schemas.microsoft.com/office/drawing/2014/main" id="{3F0A5EA5-F4D8-C8A6-DBEF-E56407804BB2}"/>
              </a:ext>
            </a:extLst>
          </p:cNvPr>
          <p:cNvGrpSpPr/>
          <p:nvPr/>
        </p:nvGrpSpPr>
        <p:grpSpPr>
          <a:xfrm>
            <a:off x="8803390" y="4692565"/>
            <a:ext cx="279603" cy="299790"/>
            <a:chOff x="8803390" y="4692565"/>
            <a:chExt cx="279603" cy="299790"/>
          </a:xfrm>
          <a:noFill/>
        </p:grpSpPr>
        <p:sp>
          <p:nvSpPr>
            <p:cNvPr id="2145" name="Forma livre: Forma 2144">
              <a:extLst>
                <a:ext uri="{FF2B5EF4-FFF2-40B4-BE49-F238E27FC236}">
                  <a16:creationId xmlns:a16="http://schemas.microsoft.com/office/drawing/2014/main" id="{2F8315BD-8CB6-022E-5990-C21C0044DA54}"/>
                </a:ext>
              </a:extLst>
            </p:cNvPr>
            <p:cNvSpPr/>
            <p:nvPr/>
          </p:nvSpPr>
          <p:spPr>
            <a:xfrm>
              <a:off x="8934884" y="4795494"/>
              <a:ext cx="4760" cy="71031"/>
            </a:xfrm>
            <a:custGeom>
              <a:avLst/>
              <a:gdLst>
                <a:gd name="connsiteX0" fmla="*/ 0 w 4760"/>
                <a:gd name="connsiteY0" fmla="*/ 0 h 71031"/>
                <a:gd name="connsiteX1" fmla="*/ 0 w 4760"/>
                <a:gd name="connsiteY1" fmla="*/ 71032 h 710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760" h="71031">
                  <a:moveTo>
                    <a:pt x="0" y="0"/>
                  </a:moveTo>
                  <a:lnTo>
                    <a:pt x="0" y="71032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46" name="Forma livre: Forma 2145">
              <a:extLst>
                <a:ext uri="{FF2B5EF4-FFF2-40B4-BE49-F238E27FC236}">
                  <a16:creationId xmlns:a16="http://schemas.microsoft.com/office/drawing/2014/main" id="{1CC4BE2C-6F22-BD3C-A31E-C7C085F4F585}"/>
                </a:ext>
              </a:extLst>
            </p:cNvPr>
            <p:cNvSpPr/>
            <p:nvPr/>
          </p:nvSpPr>
          <p:spPr>
            <a:xfrm>
              <a:off x="8908176" y="4796827"/>
              <a:ext cx="10664" cy="36658"/>
            </a:xfrm>
            <a:custGeom>
              <a:avLst/>
              <a:gdLst>
                <a:gd name="connsiteX0" fmla="*/ 10664 w 10664"/>
                <a:gd name="connsiteY0" fmla="*/ 0 h 36658"/>
                <a:gd name="connsiteX1" fmla="*/ 0 w 10664"/>
                <a:gd name="connsiteY1" fmla="*/ 36658 h 366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664" h="36658">
                  <a:moveTo>
                    <a:pt x="10664" y="0"/>
                  </a:moveTo>
                  <a:lnTo>
                    <a:pt x="0" y="36658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47" name="Forma livre: Forma 2146">
              <a:extLst>
                <a:ext uri="{FF2B5EF4-FFF2-40B4-BE49-F238E27FC236}">
                  <a16:creationId xmlns:a16="http://schemas.microsoft.com/office/drawing/2014/main" id="{588A170C-D00F-D27D-39BF-E374990F4689}"/>
                </a:ext>
              </a:extLst>
            </p:cNvPr>
            <p:cNvSpPr/>
            <p:nvPr/>
          </p:nvSpPr>
          <p:spPr>
            <a:xfrm>
              <a:off x="8883515" y="4796827"/>
              <a:ext cx="10664" cy="36658"/>
            </a:xfrm>
            <a:custGeom>
              <a:avLst/>
              <a:gdLst>
                <a:gd name="connsiteX0" fmla="*/ 10664 w 10664"/>
                <a:gd name="connsiteY0" fmla="*/ 0 h 36658"/>
                <a:gd name="connsiteX1" fmla="*/ 0 w 10664"/>
                <a:gd name="connsiteY1" fmla="*/ 36658 h 366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664" h="36658">
                  <a:moveTo>
                    <a:pt x="10664" y="0"/>
                  </a:moveTo>
                  <a:lnTo>
                    <a:pt x="0" y="36658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48" name="Forma livre: Forma 2147">
              <a:extLst>
                <a:ext uri="{FF2B5EF4-FFF2-40B4-BE49-F238E27FC236}">
                  <a16:creationId xmlns:a16="http://schemas.microsoft.com/office/drawing/2014/main" id="{534B6094-66EB-A70E-EA97-5FFD3C3D051C}"/>
                </a:ext>
              </a:extLst>
            </p:cNvPr>
            <p:cNvSpPr/>
            <p:nvPr/>
          </p:nvSpPr>
          <p:spPr>
            <a:xfrm>
              <a:off x="8902844" y="4866669"/>
              <a:ext cx="64080" cy="28945"/>
            </a:xfrm>
            <a:custGeom>
              <a:avLst/>
              <a:gdLst>
                <a:gd name="connsiteX0" fmla="*/ 3713 w 64080"/>
                <a:gd name="connsiteY0" fmla="*/ 28946 h 28945"/>
                <a:gd name="connsiteX1" fmla="*/ 0 w 64080"/>
                <a:gd name="connsiteY1" fmla="*/ 0 h 28945"/>
                <a:gd name="connsiteX2" fmla="*/ 64081 w 64080"/>
                <a:gd name="connsiteY2" fmla="*/ 0 h 28945"/>
                <a:gd name="connsiteX3" fmla="*/ 60367 w 64080"/>
                <a:gd name="connsiteY3" fmla="*/ 28946 h 289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4080" h="28945">
                  <a:moveTo>
                    <a:pt x="3713" y="28946"/>
                  </a:moveTo>
                  <a:lnTo>
                    <a:pt x="0" y="0"/>
                  </a:lnTo>
                  <a:lnTo>
                    <a:pt x="64081" y="0"/>
                  </a:lnTo>
                  <a:lnTo>
                    <a:pt x="60367" y="28946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49" name="Forma livre: Forma 2148">
              <a:extLst>
                <a:ext uri="{FF2B5EF4-FFF2-40B4-BE49-F238E27FC236}">
                  <a16:creationId xmlns:a16="http://schemas.microsoft.com/office/drawing/2014/main" id="{4B2D0326-1D4F-B211-5C17-120671083163}"/>
                </a:ext>
              </a:extLst>
            </p:cNvPr>
            <p:cNvSpPr/>
            <p:nvPr/>
          </p:nvSpPr>
          <p:spPr>
            <a:xfrm>
              <a:off x="8808341" y="4692565"/>
              <a:ext cx="253086" cy="64699"/>
            </a:xfrm>
            <a:custGeom>
              <a:avLst/>
              <a:gdLst>
                <a:gd name="connsiteX0" fmla="*/ 253086 w 253086"/>
                <a:gd name="connsiteY0" fmla="*/ 64700 h 64699"/>
                <a:gd name="connsiteX1" fmla="*/ 223712 w 253086"/>
                <a:gd name="connsiteY1" fmla="*/ 0 h 64699"/>
                <a:gd name="connsiteX2" fmla="*/ 29374 w 253086"/>
                <a:gd name="connsiteY2" fmla="*/ 0 h 64699"/>
                <a:gd name="connsiteX3" fmla="*/ 0 w 253086"/>
                <a:gd name="connsiteY3" fmla="*/ 64700 h 64699"/>
                <a:gd name="connsiteX4" fmla="*/ 253086 w 253086"/>
                <a:gd name="connsiteY4" fmla="*/ 64700 h 646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3086" h="64699">
                  <a:moveTo>
                    <a:pt x="253086" y="64700"/>
                  </a:moveTo>
                  <a:lnTo>
                    <a:pt x="223712" y="0"/>
                  </a:lnTo>
                  <a:lnTo>
                    <a:pt x="29374" y="0"/>
                  </a:lnTo>
                  <a:lnTo>
                    <a:pt x="0" y="64700"/>
                  </a:lnTo>
                  <a:lnTo>
                    <a:pt x="253086" y="64700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2150" name="Gráfico 18">
              <a:extLst>
                <a:ext uri="{FF2B5EF4-FFF2-40B4-BE49-F238E27FC236}">
                  <a16:creationId xmlns:a16="http://schemas.microsoft.com/office/drawing/2014/main" id="{D6D997C7-76F6-147E-8D4F-8C98BE442488}"/>
                </a:ext>
              </a:extLst>
            </p:cNvPr>
            <p:cNvGrpSpPr/>
            <p:nvPr/>
          </p:nvGrpSpPr>
          <p:grpSpPr>
            <a:xfrm>
              <a:off x="8841144" y="4776022"/>
              <a:ext cx="187481" cy="132732"/>
              <a:chOff x="8841144" y="4776022"/>
              <a:chExt cx="187481" cy="132732"/>
            </a:xfrm>
          </p:grpSpPr>
          <p:grpSp>
            <p:nvGrpSpPr>
              <p:cNvPr id="2151" name="Gráfico 18">
                <a:extLst>
                  <a:ext uri="{FF2B5EF4-FFF2-40B4-BE49-F238E27FC236}">
                    <a16:creationId xmlns:a16="http://schemas.microsoft.com/office/drawing/2014/main" id="{9DD047D4-A698-3B78-6774-4A272C46B519}"/>
                  </a:ext>
                </a:extLst>
              </p:cNvPr>
              <p:cNvGrpSpPr/>
              <p:nvPr/>
            </p:nvGrpSpPr>
            <p:grpSpPr>
              <a:xfrm>
                <a:off x="8841144" y="4776022"/>
                <a:ext cx="4760" cy="132732"/>
                <a:chOff x="8841144" y="4776022"/>
                <a:chExt cx="4760" cy="132732"/>
              </a:xfrm>
            </p:grpSpPr>
            <p:sp>
              <p:nvSpPr>
                <p:cNvPr id="2152" name="Forma livre: Forma 2151">
                  <a:extLst>
                    <a:ext uri="{FF2B5EF4-FFF2-40B4-BE49-F238E27FC236}">
                      <a16:creationId xmlns:a16="http://schemas.microsoft.com/office/drawing/2014/main" id="{34DBD21A-6EFD-8E01-0671-5833DB3B0D3D}"/>
                    </a:ext>
                  </a:extLst>
                </p:cNvPr>
                <p:cNvSpPr/>
                <p:nvPr/>
              </p:nvSpPr>
              <p:spPr>
                <a:xfrm>
                  <a:off x="8841144" y="4833867"/>
                  <a:ext cx="4760" cy="74887"/>
                </a:xfrm>
                <a:custGeom>
                  <a:avLst/>
                  <a:gdLst>
                    <a:gd name="connsiteX0" fmla="*/ 0 w 4760"/>
                    <a:gd name="connsiteY0" fmla="*/ 0 h 74887"/>
                    <a:gd name="connsiteX1" fmla="*/ 0 w 4760"/>
                    <a:gd name="connsiteY1" fmla="*/ 74888 h 748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760" h="74887">
                      <a:moveTo>
                        <a:pt x="0" y="0"/>
                      </a:moveTo>
                      <a:lnTo>
                        <a:pt x="0" y="74888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153" name="Forma livre: Forma 2152">
                  <a:extLst>
                    <a:ext uri="{FF2B5EF4-FFF2-40B4-BE49-F238E27FC236}">
                      <a16:creationId xmlns:a16="http://schemas.microsoft.com/office/drawing/2014/main" id="{950E7627-8D49-7D19-743A-76CCD929CD31}"/>
                    </a:ext>
                  </a:extLst>
                </p:cNvPr>
                <p:cNvSpPr/>
                <p:nvPr/>
              </p:nvSpPr>
              <p:spPr>
                <a:xfrm>
                  <a:off x="8841144" y="4776022"/>
                  <a:ext cx="4760" cy="37372"/>
                </a:xfrm>
                <a:custGeom>
                  <a:avLst/>
                  <a:gdLst>
                    <a:gd name="connsiteX0" fmla="*/ 0 w 4760"/>
                    <a:gd name="connsiteY0" fmla="*/ 0 h 37372"/>
                    <a:gd name="connsiteX1" fmla="*/ 0 w 4760"/>
                    <a:gd name="connsiteY1" fmla="*/ 37373 h 373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760" h="37372">
                      <a:moveTo>
                        <a:pt x="0" y="0"/>
                      </a:moveTo>
                      <a:lnTo>
                        <a:pt x="0" y="37373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2154" name="Gráfico 18">
                <a:extLst>
                  <a:ext uri="{FF2B5EF4-FFF2-40B4-BE49-F238E27FC236}">
                    <a16:creationId xmlns:a16="http://schemas.microsoft.com/office/drawing/2014/main" id="{3D2F0A1B-1AF7-F706-DD3A-B05584ADB3FF}"/>
                  </a:ext>
                </a:extLst>
              </p:cNvPr>
              <p:cNvGrpSpPr/>
              <p:nvPr/>
            </p:nvGrpSpPr>
            <p:grpSpPr>
              <a:xfrm>
                <a:off x="9028625" y="4776022"/>
                <a:ext cx="4760" cy="132732"/>
                <a:chOff x="9028625" y="4776022"/>
                <a:chExt cx="4760" cy="132732"/>
              </a:xfrm>
            </p:grpSpPr>
            <p:sp>
              <p:nvSpPr>
                <p:cNvPr id="2155" name="Forma livre: Forma 2154">
                  <a:extLst>
                    <a:ext uri="{FF2B5EF4-FFF2-40B4-BE49-F238E27FC236}">
                      <a16:creationId xmlns:a16="http://schemas.microsoft.com/office/drawing/2014/main" id="{E5F7C9AD-3486-18D8-2060-73F43703AE2C}"/>
                    </a:ext>
                  </a:extLst>
                </p:cNvPr>
                <p:cNvSpPr/>
                <p:nvPr/>
              </p:nvSpPr>
              <p:spPr>
                <a:xfrm>
                  <a:off x="9028625" y="4776022"/>
                  <a:ext cx="4760" cy="37372"/>
                </a:xfrm>
                <a:custGeom>
                  <a:avLst/>
                  <a:gdLst>
                    <a:gd name="connsiteX0" fmla="*/ 0 w 4760"/>
                    <a:gd name="connsiteY0" fmla="*/ 0 h 37372"/>
                    <a:gd name="connsiteX1" fmla="*/ 0 w 4760"/>
                    <a:gd name="connsiteY1" fmla="*/ 37373 h 373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760" h="37372">
                      <a:moveTo>
                        <a:pt x="0" y="0"/>
                      </a:moveTo>
                      <a:lnTo>
                        <a:pt x="0" y="37373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156" name="Forma livre: Forma 2155">
                  <a:extLst>
                    <a:ext uri="{FF2B5EF4-FFF2-40B4-BE49-F238E27FC236}">
                      <a16:creationId xmlns:a16="http://schemas.microsoft.com/office/drawing/2014/main" id="{6F6BDA1F-45A2-70EB-E860-F025D5317546}"/>
                    </a:ext>
                  </a:extLst>
                </p:cNvPr>
                <p:cNvSpPr/>
                <p:nvPr/>
              </p:nvSpPr>
              <p:spPr>
                <a:xfrm>
                  <a:off x="9028625" y="4833867"/>
                  <a:ext cx="4760" cy="74887"/>
                </a:xfrm>
                <a:custGeom>
                  <a:avLst/>
                  <a:gdLst>
                    <a:gd name="connsiteX0" fmla="*/ 0 w 4760"/>
                    <a:gd name="connsiteY0" fmla="*/ 0 h 74887"/>
                    <a:gd name="connsiteX1" fmla="*/ 0 w 4760"/>
                    <a:gd name="connsiteY1" fmla="*/ 74888 h 748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760" h="74887">
                      <a:moveTo>
                        <a:pt x="0" y="0"/>
                      </a:moveTo>
                      <a:lnTo>
                        <a:pt x="0" y="74888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sp>
          <p:nvSpPr>
            <p:cNvPr id="2157" name="Forma livre: Forma 2156">
              <a:extLst>
                <a:ext uri="{FF2B5EF4-FFF2-40B4-BE49-F238E27FC236}">
                  <a16:creationId xmlns:a16="http://schemas.microsoft.com/office/drawing/2014/main" id="{7985678F-1276-B55A-CB55-D5C89295D872}"/>
                </a:ext>
              </a:extLst>
            </p:cNvPr>
            <p:cNvSpPr/>
            <p:nvPr/>
          </p:nvSpPr>
          <p:spPr>
            <a:xfrm>
              <a:off x="8867233" y="4795542"/>
              <a:ext cx="135303" cy="38515"/>
            </a:xfrm>
            <a:custGeom>
              <a:avLst/>
              <a:gdLst>
                <a:gd name="connsiteX0" fmla="*/ 65842 w 135303"/>
                <a:gd name="connsiteY0" fmla="*/ 38515 h 38515"/>
                <a:gd name="connsiteX1" fmla="*/ 0 w 135303"/>
                <a:gd name="connsiteY1" fmla="*/ 38515 h 38515"/>
                <a:gd name="connsiteX2" fmla="*/ 0 w 135303"/>
                <a:gd name="connsiteY2" fmla="*/ 0 h 38515"/>
                <a:gd name="connsiteX3" fmla="*/ 135303 w 135303"/>
                <a:gd name="connsiteY3" fmla="*/ 0 h 38515"/>
                <a:gd name="connsiteX4" fmla="*/ 135303 w 135303"/>
                <a:gd name="connsiteY4" fmla="*/ 38515 h 38515"/>
                <a:gd name="connsiteX5" fmla="*/ 88456 w 135303"/>
                <a:gd name="connsiteY5" fmla="*/ 38515 h 385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35303" h="38515">
                  <a:moveTo>
                    <a:pt x="65842" y="38515"/>
                  </a:moveTo>
                  <a:lnTo>
                    <a:pt x="0" y="38515"/>
                  </a:lnTo>
                  <a:lnTo>
                    <a:pt x="0" y="0"/>
                  </a:lnTo>
                  <a:lnTo>
                    <a:pt x="135303" y="0"/>
                  </a:lnTo>
                  <a:lnTo>
                    <a:pt x="135303" y="38515"/>
                  </a:lnTo>
                  <a:lnTo>
                    <a:pt x="88456" y="38515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58" name="Forma livre: Forma 2157">
              <a:extLst>
                <a:ext uri="{FF2B5EF4-FFF2-40B4-BE49-F238E27FC236}">
                  <a16:creationId xmlns:a16="http://schemas.microsoft.com/office/drawing/2014/main" id="{418DAFB8-2874-C369-36D3-50D2F06B9283}"/>
                </a:ext>
              </a:extLst>
            </p:cNvPr>
            <p:cNvSpPr/>
            <p:nvPr/>
          </p:nvSpPr>
          <p:spPr>
            <a:xfrm>
              <a:off x="8824433" y="4910231"/>
              <a:ext cx="220902" cy="81410"/>
            </a:xfrm>
            <a:custGeom>
              <a:avLst/>
              <a:gdLst>
                <a:gd name="connsiteX0" fmla="*/ 0 w 220902"/>
                <a:gd name="connsiteY0" fmla="*/ 81410 h 81410"/>
                <a:gd name="connsiteX1" fmla="*/ 0 w 220902"/>
                <a:gd name="connsiteY1" fmla="*/ 0 h 81410"/>
                <a:gd name="connsiteX2" fmla="*/ 220903 w 220902"/>
                <a:gd name="connsiteY2" fmla="*/ 0 h 81410"/>
                <a:gd name="connsiteX3" fmla="*/ 220903 w 220902"/>
                <a:gd name="connsiteY3" fmla="*/ 81410 h 814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20902" h="81410">
                  <a:moveTo>
                    <a:pt x="0" y="81410"/>
                  </a:moveTo>
                  <a:lnTo>
                    <a:pt x="0" y="0"/>
                  </a:lnTo>
                  <a:lnTo>
                    <a:pt x="220903" y="0"/>
                  </a:lnTo>
                  <a:lnTo>
                    <a:pt x="220903" y="8141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59" name="Forma livre: Forma 2158">
              <a:extLst>
                <a:ext uri="{FF2B5EF4-FFF2-40B4-BE49-F238E27FC236}">
                  <a16:creationId xmlns:a16="http://schemas.microsoft.com/office/drawing/2014/main" id="{C5FB4773-51AD-70DD-DB3D-BBDACDBEFB65}"/>
                </a:ext>
              </a:extLst>
            </p:cNvPr>
            <p:cNvSpPr/>
            <p:nvPr/>
          </p:nvSpPr>
          <p:spPr>
            <a:xfrm>
              <a:off x="8824766" y="4814966"/>
              <a:ext cx="39372" cy="4760"/>
            </a:xfrm>
            <a:custGeom>
              <a:avLst/>
              <a:gdLst>
                <a:gd name="connsiteX0" fmla="*/ 39372 w 39372"/>
                <a:gd name="connsiteY0" fmla="*/ 0 h 4760"/>
                <a:gd name="connsiteX1" fmla="*/ 0 w 39372"/>
                <a:gd name="connsiteY1" fmla="*/ 0 h 47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9372" h="4760">
                  <a:moveTo>
                    <a:pt x="39372" y="0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60" name="Forma livre: Forma 2159">
              <a:extLst>
                <a:ext uri="{FF2B5EF4-FFF2-40B4-BE49-F238E27FC236}">
                  <a16:creationId xmlns:a16="http://schemas.microsoft.com/office/drawing/2014/main" id="{24933ABD-56BE-DBE6-8519-5CE8F227A52C}"/>
                </a:ext>
              </a:extLst>
            </p:cNvPr>
            <p:cNvSpPr/>
            <p:nvPr/>
          </p:nvSpPr>
          <p:spPr>
            <a:xfrm>
              <a:off x="9005392" y="4814776"/>
              <a:ext cx="77601" cy="30279"/>
            </a:xfrm>
            <a:custGeom>
              <a:avLst/>
              <a:gdLst>
                <a:gd name="connsiteX0" fmla="*/ 0 w 77601"/>
                <a:gd name="connsiteY0" fmla="*/ 0 h 30279"/>
                <a:gd name="connsiteX1" fmla="*/ 51798 w 77601"/>
                <a:gd name="connsiteY1" fmla="*/ 0 h 30279"/>
                <a:gd name="connsiteX2" fmla="*/ 51798 w 77601"/>
                <a:gd name="connsiteY2" fmla="*/ 30279 h 30279"/>
                <a:gd name="connsiteX3" fmla="*/ 77602 w 77601"/>
                <a:gd name="connsiteY3" fmla="*/ 30279 h 302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7601" h="30279">
                  <a:moveTo>
                    <a:pt x="0" y="0"/>
                  </a:moveTo>
                  <a:lnTo>
                    <a:pt x="51798" y="0"/>
                  </a:lnTo>
                  <a:lnTo>
                    <a:pt x="51798" y="30279"/>
                  </a:lnTo>
                  <a:lnTo>
                    <a:pt x="77602" y="30279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61" name="Forma livre: Forma 2160">
              <a:extLst>
                <a:ext uri="{FF2B5EF4-FFF2-40B4-BE49-F238E27FC236}">
                  <a16:creationId xmlns:a16="http://schemas.microsoft.com/office/drawing/2014/main" id="{B5BBBEDC-698C-CBC2-5FD1-21B6D8071424}"/>
                </a:ext>
              </a:extLst>
            </p:cNvPr>
            <p:cNvSpPr/>
            <p:nvPr/>
          </p:nvSpPr>
          <p:spPr>
            <a:xfrm>
              <a:off x="8803390" y="4992355"/>
              <a:ext cx="262988" cy="4760"/>
            </a:xfrm>
            <a:custGeom>
              <a:avLst/>
              <a:gdLst>
                <a:gd name="connsiteX0" fmla="*/ 0 w 262988"/>
                <a:gd name="connsiteY0" fmla="*/ 0 h 4760"/>
                <a:gd name="connsiteX1" fmla="*/ 262989 w 262988"/>
                <a:gd name="connsiteY1" fmla="*/ 0 h 47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62988" h="4760">
                  <a:moveTo>
                    <a:pt x="0" y="0"/>
                  </a:moveTo>
                  <a:lnTo>
                    <a:pt x="262989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2162" name="Gráfico 18">
            <a:extLst>
              <a:ext uri="{FF2B5EF4-FFF2-40B4-BE49-F238E27FC236}">
                <a16:creationId xmlns:a16="http://schemas.microsoft.com/office/drawing/2014/main" id="{94110640-0195-8791-6E41-ECD355046F1C}"/>
              </a:ext>
            </a:extLst>
          </p:cNvPr>
          <p:cNvGrpSpPr/>
          <p:nvPr/>
        </p:nvGrpSpPr>
        <p:grpSpPr>
          <a:xfrm>
            <a:off x="8144948" y="4665095"/>
            <a:ext cx="354700" cy="354700"/>
            <a:chOff x="8144948" y="4665095"/>
            <a:chExt cx="354700" cy="354700"/>
          </a:xfrm>
          <a:noFill/>
        </p:grpSpPr>
        <p:sp>
          <p:nvSpPr>
            <p:cNvPr id="2163" name="Forma livre: Forma 2162">
              <a:extLst>
                <a:ext uri="{FF2B5EF4-FFF2-40B4-BE49-F238E27FC236}">
                  <a16:creationId xmlns:a16="http://schemas.microsoft.com/office/drawing/2014/main" id="{BAEAA555-C6B3-4DCB-110A-DE6CE1433653}"/>
                </a:ext>
              </a:extLst>
            </p:cNvPr>
            <p:cNvSpPr/>
            <p:nvPr/>
          </p:nvSpPr>
          <p:spPr>
            <a:xfrm>
              <a:off x="8291267" y="4822176"/>
              <a:ext cx="36896" cy="8691"/>
            </a:xfrm>
            <a:custGeom>
              <a:avLst/>
              <a:gdLst>
                <a:gd name="connsiteX0" fmla="*/ 36897 w 36896"/>
                <a:gd name="connsiteY0" fmla="*/ 2074 h 8691"/>
                <a:gd name="connsiteX1" fmla="*/ 20424 w 36896"/>
                <a:gd name="connsiteY1" fmla="*/ 1121 h 8691"/>
                <a:gd name="connsiteX2" fmla="*/ 0 w 36896"/>
                <a:gd name="connsiteY2" fmla="*/ 8691 h 86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6896" h="8691">
                  <a:moveTo>
                    <a:pt x="36897" y="2074"/>
                  </a:moveTo>
                  <a:cubicBezTo>
                    <a:pt x="32659" y="169"/>
                    <a:pt x="26994" y="-973"/>
                    <a:pt x="20424" y="1121"/>
                  </a:cubicBezTo>
                  <a:lnTo>
                    <a:pt x="0" y="8691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64" name="Forma livre: Forma 2163">
              <a:extLst>
                <a:ext uri="{FF2B5EF4-FFF2-40B4-BE49-F238E27FC236}">
                  <a16:creationId xmlns:a16="http://schemas.microsoft.com/office/drawing/2014/main" id="{6B711FF4-AA0C-A576-3B9E-04EB18F32CC8}"/>
                </a:ext>
              </a:extLst>
            </p:cNvPr>
            <p:cNvSpPr/>
            <p:nvPr/>
          </p:nvSpPr>
          <p:spPr>
            <a:xfrm>
              <a:off x="8382294" y="4728652"/>
              <a:ext cx="117354" cy="88884"/>
            </a:xfrm>
            <a:custGeom>
              <a:avLst/>
              <a:gdLst>
                <a:gd name="connsiteX0" fmla="*/ 46989 w 117354"/>
                <a:gd name="connsiteY0" fmla="*/ 25328 h 88884"/>
                <a:gd name="connsiteX1" fmla="*/ 117355 w 117354"/>
                <a:gd name="connsiteY1" fmla="*/ 0 h 88884"/>
                <a:gd name="connsiteX2" fmla="*/ 0 w 117354"/>
                <a:gd name="connsiteY2" fmla="*/ 88885 h 888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17354" h="88884">
                  <a:moveTo>
                    <a:pt x="46989" y="25328"/>
                  </a:moveTo>
                  <a:lnTo>
                    <a:pt x="117355" y="0"/>
                  </a:lnTo>
                  <a:cubicBezTo>
                    <a:pt x="117355" y="0"/>
                    <a:pt x="101073" y="40896"/>
                    <a:pt x="0" y="88885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65" name="Forma livre: Forma 2164">
              <a:extLst>
                <a:ext uri="{FF2B5EF4-FFF2-40B4-BE49-F238E27FC236}">
                  <a16:creationId xmlns:a16="http://schemas.microsoft.com/office/drawing/2014/main" id="{8080BB9A-73E2-0F54-F391-F56A18DE7951}"/>
                </a:ext>
              </a:extLst>
            </p:cNvPr>
            <p:cNvSpPr/>
            <p:nvPr/>
          </p:nvSpPr>
          <p:spPr>
            <a:xfrm>
              <a:off x="8302598" y="4784449"/>
              <a:ext cx="42133" cy="15139"/>
            </a:xfrm>
            <a:custGeom>
              <a:avLst/>
              <a:gdLst>
                <a:gd name="connsiteX0" fmla="*/ 0 w 42133"/>
                <a:gd name="connsiteY0" fmla="*/ 15139 h 15139"/>
                <a:gd name="connsiteX1" fmla="*/ 42133 w 42133"/>
                <a:gd name="connsiteY1" fmla="*/ 0 h 151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2133" h="15139">
                  <a:moveTo>
                    <a:pt x="0" y="15139"/>
                  </a:moveTo>
                  <a:lnTo>
                    <a:pt x="42133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66" name="Forma livre: Forma 2165">
              <a:extLst>
                <a:ext uri="{FF2B5EF4-FFF2-40B4-BE49-F238E27FC236}">
                  <a16:creationId xmlns:a16="http://schemas.microsoft.com/office/drawing/2014/main" id="{4711AA46-EB53-A63A-9757-F2D0E0A75C5A}"/>
                </a:ext>
              </a:extLst>
            </p:cNvPr>
            <p:cNvSpPr/>
            <p:nvPr/>
          </p:nvSpPr>
          <p:spPr>
            <a:xfrm>
              <a:off x="8144948" y="4802350"/>
              <a:ext cx="148794" cy="86552"/>
            </a:xfrm>
            <a:custGeom>
              <a:avLst/>
              <a:gdLst>
                <a:gd name="connsiteX0" fmla="*/ 27393 w 148794"/>
                <a:gd name="connsiteY0" fmla="*/ 85029 h 86552"/>
                <a:gd name="connsiteX1" fmla="*/ 1351 w 148794"/>
                <a:gd name="connsiteY1" fmla="*/ 74555 h 86552"/>
                <a:gd name="connsiteX2" fmla="*/ 12825 w 148794"/>
                <a:gd name="connsiteY2" fmla="*/ 48941 h 86552"/>
                <a:gd name="connsiteX3" fmla="*/ 134226 w 148794"/>
                <a:gd name="connsiteY3" fmla="*/ 0 h 86552"/>
                <a:gd name="connsiteX4" fmla="*/ 148794 w 148794"/>
                <a:gd name="connsiteY4" fmla="*/ 36087 h 86552"/>
                <a:gd name="connsiteX5" fmla="*/ 27393 w 148794"/>
                <a:gd name="connsiteY5" fmla="*/ 85029 h 865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48794" h="86552">
                  <a:moveTo>
                    <a:pt x="27393" y="85029"/>
                  </a:moveTo>
                  <a:cubicBezTo>
                    <a:pt x="17062" y="89218"/>
                    <a:pt x="5350" y="84457"/>
                    <a:pt x="1351" y="74555"/>
                  </a:cubicBezTo>
                  <a:cubicBezTo>
                    <a:pt x="-2648" y="64652"/>
                    <a:pt x="2541" y="53083"/>
                    <a:pt x="12825" y="48941"/>
                  </a:cubicBezTo>
                  <a:lnTo>
                    <a:pt x="134226" y="0"/>
                  </a:lnTo>
                  <a:lnTo>
                    <a:pt x="148794" y="36087"/>
                  </a:lnTo>
                  <a:lnTo>
                    <a:pt x="27393" y="85029"/>
                  </a:ln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67" name="Forma livre: Forma 2166">
              <a:extLst>
                <a:ext uri="{FF2B5EF4-FFF2-40B4-BE49-F238E27FC236}">
                  <a16:creationId xmlns:a16="http://schemas.microsoft.com/office/drawing/2014/main" id="{7EB489FB-2FFA-D053-E9AE-CBD137084453}"/>
                </a:ext>
              </a:extLst>
            </p:cNvPr>
            <p:cNvSpPr/>
            <p:nvPr/>
          </p:nvSpPr>
          <p:spPr>
            <a:xfrm>
              <a:off x="8328401" y="4665095"/>
              <a:ext cx="107690" cy="217760"/>
            </a:xfrm>
            <a:custGeom>
              <a:avLst/>
              <a:gdLst>
                <a:gd name="connsiteX0" fmla="*/ 28946 w 107690"/>
                <a:gd name="connsiteY0" fmla="*/ 217761 h 217760"/>
                <a:gd name="connsiteX1" fmla="*/ 36754 w 107690"/>
                <a:gd name="connsiteY1" fmla="*/ 197051 h 217760"/>
                <a:gd name="connsiteX2" fmla="*/ 107690 w 107690"/>
                <a:gd name="connsiteY2" fmla="*/ 0 h 217760"/>
                <a:gd name="connsiteX3" fmla="*/ 9712 w 107690"/>
                <a:gd name="connsiteY3" fmla="*/ 137445 h 217760"/>
                <a:gd name="connsiteX4" fmla="*/ 0 w 107690"/>
                <a:gd name="connsiteY4" fmla="*/ 159298 h 217760"/>
                <a:gd name="connsiteX5" fmla="*/ 13045 w 107690"/>
                <a:gd name="connsiteY5" fmla="*/ 188006 h 217760"/>
                <a:gd name="connsiteX6" fmla="*/ 5427 w 107690"/>
                <a:gd name="connsiteY6" fmla="*/ 208525 h 2177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7690" h="217760">
                  <a:moveTo>
                    <a:pt x="28946" y="217761"/>
                  </a:moveTo>
                  <a:lnTo>
                    <a:pt x="36754" y="197051"/>
                  </a:lnTo>
                  <a:lnTo>
                    <a:pt x="107690" y="0"/>
                  </a:lnTo>
                  <a:cubicBezTo>
                    <a:pt x="107690" y="0"/>
                    <a:pt x="61510" y="18377"/>
                    <a:pt x="9712" y="137445"/>
                  </a:cubicBezTo>
                  <a:lnTo>
                    <a:pt x="0" y="159298"/>
                  </a:lnTo>
                  <a:cubicBezTo>
                    <a:pt x="0" y="159298"/>
                    <a:pt x="19377" y="168248"/>
                    <a:pt x="13045" y="188006"/>
                  </a:cubicBezTo>
                  <a:lnTo>
                    <a:pt x="5427" y="208525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68" name="Forma livre: Forma 2167">
              <a:extLst>
                <a:ext uri="{FF2B5EF4-FFF2-40B4-BE49-F238E27FC236}">
                  <a16:creationId xmlns:a16="http://schemas.microsoft.com/office/drawing/2014/main" id="{CB4E6769-2A76-A931-B237-74B6FD8D990F}"/>
                </a:ext>
              </a:extLst>
            </p:cNvPr>
            <p:cNvSpPr/>
            <p:nvPr/>
          </p:nvSpPr>
          <p:spPr>
            <a:xfrm>
              <a:off x="8275841" y="4871001"/>
              <a:ext cx="86552" cy="148794"/>
            </a:xfrm>
            <a:custGeom>
              <a:avLst/>
              <a:gdLst>
                <a:gd name="connsiteX0" fmla="*/ 86552 w 86552"/>
                <a:gd name="connsiteY0" fmla="*/ 14568 h 148794"/>
                <a:gd name="connsiteX1" fmla="*/ 50465 w 86552"/>
                <a:gd name="connsiteY1" fmla="*/ 0 h 148794"/>
                <a:gd name="connsiteX2" fmla="*/ 1524 w 86552"/>
                <a:gd name="connsiteY2" fmla="*/ 121401 h 148794"/>
                <a:gd name="connsiteX3" fmla="*/ 11998 w 86552"/>
                <a:gd name="connsiteY3" fmla="*/ 147443 h 148794"/>
                <a:gd name="connsiteX4" fmla="*/ 37611 w 86552"/>
                <a:gd name="connsiteY4" fmla="*/ 135970 h 148794"/>
                <a:gd name="connsiteX5" fmla="*/ 86552 w 86552"/>
                <a:gd name="connsiteY5" fmla="*/ 14568 h 1487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86552" h="148794">
                  <a:moveTo>
                    <a:pt x="86552" y="14568"/>
                  </a:moveTo>
                  <a:lnTo>
                    <a:pt x="50465" y="0"/>
                  </a:lnTo>
                  <a:lnTo>
                    <a:pt x="1524" y="121401"/>
                  </a:lnTo>
                  <a:cubicBezTo>
                    <a:pt x="-2666" y="131732"/>
                    <a:pt x="2095" y="143444"/>
                    <a:pt x="11998" y="147443"/>
                  </a:cubicBezTo>
                  <a:cubicBezTo>
                    <a:pt x="21900" y="151442"/>
                    <a:pt x="33469" y="146253"/>
                    <a:pt x="37611" y="135970"/>
                  </a:cubicBezTo>
                  <a:lnTo>
                    <a:pt x="86552" y="14568"/>
                  </a:ln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2169" name="Gráfico 18">
            <a:extLst>
              <a:ext uri="{FF2B5EF4-FFF2-40B4-BE49-F238E27FC236}">
                <a16:creationId xmlns:a16="http://schemas.microsoft.com/office/drawing/2014/main" id="{03FCAA90-94E9-DBB0-4829-23878DE26CD5}"/>
              </a:ext>
            </a:extLst>
          </p:cNvPr>
          <p:cNvGrpSpPr/>
          <p:nvPr/>
        </p:nvGrpSpPr>
        <p:grpSpPr>
          <a:xfrm>
            <a:off x="9436062" y="5741854"/>
            <a:ext cx="256217" cy="298456"/>
            <a:chOff x="9436062" y="5741854"/>
            <a:chExt cx="256217" cy="298456"/>
          </a:xfrm>
        </p:grpSpPr>
        <p:grpSp>
          <p:nvGrpSpPr>
            <p:cNvPr id="2170" name="Gráfico 18">
              <a:extLst>
                <a:ext uri="{FF2B5EF4-FFF2-40B4-BE49-F238E27FC236}">
                  <a16:creationId xmlns:a16="http://schemas.microsoft.com/office/drawing/2014/main" id="{89E904AA-B3CD-C661-8FDC-38C4FC8B8BA5}"/>
                </a:ext>
              </a:extLst>
            </p:cNvPr>
            <p:cNvGrpSpPr/>
            <p:nvPr/>
          </p:nvGrpSpPr>
          <p:grpSpPr>
            <a:xfrm>
              <a:off x="9462100" y="5772561"/>
              <a:ext cx="204049" cy="201907"/>
              <a:chOff x="9462100" y="5772561"/>
              <a:chExt cx="204049" cy="201907"/>
            </a:xfrm>
            <a:solidFill>
              <a:srgbClr val="394553"/>
            </a:solidFill>
          </p:grpSpPr>
          <p:grpSp>
            <p:nvGrpSpPr>
              <p:cNvPr id="2171" name="Gráfico 18">
                <a:extLst>
                  <a:ext uri="{FF2B5EF4-FFF2-40B4-BE49-F238E27FC236}">
                    <a16:creationId xmlns:a16="http://schemas.microsoft.com/office/drawing/2014/main" id="{707D23D9-DF9C-C676-48CB-84FDCDB4364B}"/>
                  </a:ext>
                </a:extLst>
              </p:cNvPr>
              <p:cNvGrpSpPr/>
              <p:nvPr/>
            </p:nvGrpSpPr>
            <p:grpSpPr>
              <a:xfrm>
                <a:off x="9462100" y="5792176"/>
                <a:ext cx="43371" cy="182292"/>
                <a:chOff x="9462100" y="5792176"/>
                <a:chExt cx="43371" cy="182292"/>
              </a:xfrm>
              <a:solidFill>
                <a:srgbClr val="394553"/>
              </a:solidFill>
            </p:grpSpPr>
            <p:sp>
              <p:nvSpPr>
                <p:cNvPr id="2172" name="Forma livre: Forma 2171">
                  <a:extLst>
                    <a:ext uri="{FF2B5EF4-FFF2-40B4-BE49-F238E27FC236}">
                      <a16:creationId xmlns:a16="http://schemas.microsoft.com/office/drawing/2014/main" id="{8B70898A-0AB9-EACF-1FD2-9921CE113370}"/>
                    </a:ext>
                  </a:extLst>
                </p:cNvPr>
                <p:cNvSpPr/>
                <p:nvPr/>
              </p:nvSpPr>
              <p:spPr>
                <a:xfrm>
                  <a:off x="9468384" y="5908436"/>
                  <a:ext cx="7046" cy="7046"/>
                </a:xfrm>
                <a:custGeom>
                  <a:avLst/>
                  <a:gdLst>
                    <a:gd name="connsiteX0" fmla="*/ 7046 w 7046"/>
                    <a:gd name="connsiteY0" fmla="*/ 3523 h 7046"/>
                    <a:gd name="connsiteX1" fmla="*/ 3523 w 7046"/>
                    <a:gd name="connsiteY1" fmla="*/ 7046 h 7046"/>
                    <a:gd name="connsiteX2" fmla="*/ 0 w 7046"/>
                    <a:gd name="connsiteY2" fmla="*/ 3523 h 7046"/>
                    <a:gd name="connsiteX3" fmla="*/ 3523 w 7046"/>
                    <a:gd name="connsiteY3" fmla="*/ 0 h 7046"/>
                    <a:gd name="connsiteX4" fmla="*/ 7046 w 7046"/>
                    <a:gd name="connsiteY4" fmla="*/ 3523 h 70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7046" h="7046">
                      <a:moveTo>
                        <a:pt x="7046" y="3523"/>
                      </a:moveTo>
                      <a:cubicBezTo>
                        <a:pt x="7046" y="5475"/>
                        <a:pt x="5475" y="7046"/>
                        <a:pt x="3523" y="7046"/>
                      </a:cubicBezTo>
                      <a:cubicBezTo>
                        <a:pt x="1571" y="7046"/>
                        <a:pt x="0" y="5475"/>
                        <a:pt x="0" y="3523"/>
                      </a:cubicBezTo>
                      <a:cubicBezTo>
                        <a:pt x="0" y="1571"/>
                        <a:pt x="1571" y="0"/>
                        <a:pt x="3523" y="0"/>
                      </a:cubicBezTo>
                      <a:cubicBezTo>
                        <a:pt x="5475" y="0"/>
                        <a:pt x="7046" y="1571"/>
                        <a:pt x="7046" y="3523"/>
                      </a:cubicBezTo>
                      <a:close/>
                    </a:path>
                  </a:pathLst>
                </a:custGeom>
                <a:solidFill>
                  <a:srgbClr val="394553"/>
                </a:solidFill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173" name="Forma livre: Forma 2172">
                  <a:extLst>
                    <a:ext uri="{FF2B5EF4-FFF2-40B4-BE49-F238E27FC236}">
                      <a16:creationId xmlns:a16="http://schemas.microsoft.com/office/drawing/2014/main" id="{6D44022E-385D-F5C1-270A-90B532C049F0}"/>
                    </a:ext>
                  </a:extLst>
                </p:cNvPr>
                <p:cNvSpPr/>
                <p:nvPr/>
              </p:nvSpPr>
              <p:spPr>
                <a:xfrm>
                  <a:off x="9462100" y="5841689"/>
                  <a:ext cx="7045" cy="7045"/>
                </a:xfrm>
                <a:custGeom>
                  <a:avLst/>
                  <a:gdLst>
                    <a:gd name="connsiteX0" fmla="*/ 7046 w 7045"/>
                    <a:gd name="connsiteY0" fmla="*/ 3523 h 7045"/>
                    <a:gd name="connsiteX1" fmla="*/ 3523 w 7045"/>
                    <a:gd name="connsiteY1" fmla="*/ 7046 h 7045"/>
                    <a:gd name="connsiteX2" fmla="*/ 0 w 7045"/>
                    <a:gd name="connsiteY2" fmla="*/ 3523 h 7045"/>
                    <a:gd name="connsiteX3" fmla="*/ 3523 w 7045"/>
                    <a:gd name="connsiteY3" fmla="*/ 0 h 7045"/>
                    <a:gd name="connsiteX4" fmla="*/ 7046 w 7045"/>
                    <a:gd name="connsiteY4" fmla="*/ 3523 h 704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7045" h="7045">
                      <a:moveTo>
                        <a:pt x="7046" y="3523"/>
                      </a:moveTo>
                      <a:cubicBezTo>
                        <a:pt x="7046" y="5475"/>
                        <a:pt x="5475" y="7046"/>
                        <a:pt x="3523" y="7046"/>
                      </a:cubicBezTo>
                      <a:cubicBezTo>
                        <a:pt x="1571" y="7046"/>
                        <a:pt x="0" y="5475"/>
                        <a:pt x="0" y="3523"/>
                      </a:cubicBezTo>
                      <a:cubicBezTo>
                        <a:pt x="0" y="1571"/>
                        <a:pt x="1571" y="0"/>
                        <a:pt x="3523" y="0"/>
                      </a:cubicBezTo>
                      <a:cubicBezTo>
                        <a:pt x="5475" y="0"/>
                        <a:pt x="7046" y="1571"/>
                        <a:pt x="7046" y="3523"/>
                      </a:cubicBezTo>
                      <a:close/>
                    </a:path>
                  </a:pathLst>
                </a:custGeom>
                <a:solidFill>
                  <a:srgbClr val="394553"/>
                </a:solidFill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174" name="Forma livre: Forma 2173">
                  <a:extLst>
                    <a:ext uri="{FF2B5EF4-FFF2-40B4-BE49-F238E27FC236}">
                      <a16:creationId xmlns:a16="http://schemas.microsoft.com/office/drawing/2014/main" id="{9A32C07D-9641-3147-15AF-D53A775DB00A}"/>
                    </a:ext>
                  </a:extLst>
                </p:cNvPr>
                <p:cNvSpPr/>
                <p:nvPr/>
              </p:nvSpPr>
              <p:spPr>
                <a:xfrm>
                  <a:off x="9498425" y="5792176"/>
                  <a:ext cx="7046" cy="7045"/>
                </a:xfrm>
                <a:custGeom>
                  <a:avLst/>
                  <a:gdLst>
                    <a:gd name="connsiteX0" fmla="*/ 7046 w 7046"/>
                    <a:gd name="connsiteY0" fmla="*/ 3523 h 7045"/>
                    <a:gd name="connsiteX1" fmla="*/ 3523 w 7046"/>
                    <a:gd name="connsiteY1" fmla="*/ 7046 h 7045"/>
                    <a:gd name="connsiteX2" fmla="*/ 0 w 7046"/>
                    <a:gd name="connsiteY2" fmla="*/ 3523 h 7045"/>
                    <a:gd name="connsiteX3" fmla="*/ 3523 w 7046"/>
                    <a:gd name="connsiteY3" fmla="*/ 0 h 7045"/>
                    <a:gd name="connsiteX4" fmla="*/ 7046 w 7046"/>
                    <a:gd name="connsiteY4" fmla="*/ 3523 h 704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7046" h="7045">
                      <a:moveTo>
                        <a:pt x="7046" y="3523"/>
                      </a:moveTo>
                      <a:cubicBezTo>
                        <a:pt x="7046" y="5475"/>
                        <a:pt x="5475" y="7046"/>
                        <a:pt x="3523" y="7046"/>
                      </a:cubicBezTo>
                      <a:cubicBezTo>
                        <a:pt x="1571" y="7046"/>
                        <a:pt x="0" y="5475"/>
                        <a:pt x="0" y="3523"/>
                      </a:cubicBezTo>
                      <a:cubicBezTo>
                        <a:pt x="0" y="1571"/>
                        <a:pt x="1571" y="0"/>
                        <a:pt x="3523" y="0"/>
                      </a:cubicBezTo>
                      <a:cubicBezTo>
                        <a:pt x="5475" y="0"/>
                        <a:pt x="7046" y="1571"/>
                        <a:pt x="7046" y="3523"/>
                      </a:cubicBezTo>
                      <a:close/>
                    </a:path>
                  </a:pathLst>
                </a:custGeom>
                <a:solidFill>
                  <a:srgbClr val="394553"/>
                </a:solidFill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175" name="Forma livre: Forma 2174">
                  <a:extLst>
                    <a:ext uri="{FF2B5EF4-FFF2-40B4-BE49-F238E27FC236}">
                      <a16:creationId xmlns:a16="http://schemas.microsoft.com/office/drawing/2014/main" id="{FD79B498-E0D8-AF7A-E711-E112520075AF}"/>
                    </a:ext>
                  </a:extLst>
                </p:cNvPr>
                <p:cNvSpPr/>
                <p:nvPr/>
              </p:nvSpPr>
              <p:spPr>
                <a:xfrm>
                  <a:off x="9487618" y="5967422"/>
                  <a:ext cx="7046" cy="7045"/>
                </a:xfrm>
                <a:custGeom>
                  <a:avLst/>
                  <a:gdLst>
                    <a:gd name="connsiteX0" fmla="*/ 7046 w 7046"/>
                    <a:gd name="connsiteY0" fmla="*/ 3523 h 7045"/>
                    <a:gd name="connsiteX1" fmla="*/ 3523 w 7046"/>
                    <a:gd name="connsiteY1" fmla="*/ 7046 h 7045"/>
                    <a:gd name="connsiteX2" fmla="*/ 0 w 7046"/>
                    <a:gd name="connsiteY2" fmla="*/ 3523 h 7045"/>
                    <a:gd name="connsiteX3" fmla="*/ 3523 w 7046"/>
                    <a:gd name="connsiteY3" fmla="*/ 0 h 7045"/>
                    <a:gd name="connsiteX4" fmla="*/ 7046 w 7046"/>
                    <a:gd name="connsiteY4" fmla="*/ 3523 h 704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7046" h="7045">
                      <a:moveTo>
                        <a:pt x="7046" y="3523"/>
                      </a:moveTo>
                      <a:cubicBezTo>
                        <a:pt x="7046" y="5475"/>
                        <a:pt x="5475" y="7046"/>
                        <a:pt x="3523" y="7046"/>
                      </a:cubicBezTo>
                      <a:cubicBezTo>
                        <a:pt x="1571" y="7046"/>
                        <a:pt x="0" y="5475"/>
                        <a:pt x="0" y="3523"/>
                      </a:cubicBezTo>
                      <a:cubicBezTo>
                        <a:pt x="0" y="1571"/>
                        <a:pt x="1571" y="0"/>
                        <a:pt x="3523" y="0"/>
                      </a:cubicBezTo>
                      <a:cubicBezTo>
                        <a:pt x="5475" y="0"/>
                        <a:pt x="7046" y="1571"/>
                        <a:pt x="7046" y="3523"/>
                      </a:cubicBezTo>
                      <a:close/>
                    </a:path>
                  </a:pathLst>
                </a:custGeom>
                <a:solidFill>
                  <a:srgbClr val="394553"/>
                </a:solidFill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2176" name="Gráfico 18">
                <a:extLst>
                  <a:ext uri="{FF2B5EF4-FFF2-40B4-BE49-F238E27FC236}">
                    <a16:creationId xmlns:a16="http://schemas.microsoft.com/office/drawing/2014/main" id="{2682E0FD-86E2-F019-7109-9D80262528EA}"/>
                  </a:ext>
                </a:extLst>
              </p:cNvPr>
              <p:cNvGrpSpPr/>
              <p:nvPr/>
            </p:nvGrpSpPr>
            <p:grpSpPr>
              <a:xfrm>
                <a:off x="9622730" y="5792176"/>
                <a:ext cx="43418" cy="182292"/>
                <a:chOff x="9622730" y="5792176"/>
                <a:chExt cx="43418" cy="182292"/>
              </a:xfrm>
              <a:solidFill>
                <a:srgbClr val="394553"/>
              </a:solidFill>
            </p:grpSpPr>
            <p:sp>
              <p:nvSpPr>
                <p:cNvPr id="2177" name="Forma livre: Forma 2176">
                  <a:extLst>
                    <a:ext uri="{FF2B5EF4-FFF2-40B4-BE49-F238E27FC236}">
                      <a16:creationId xmlns:a16="http://schemas.microsoft.com/office/drawing/2014/main" id="{E7C7C1A5-BE1B-534E-A712-B54954AAC913}"/>
                    </a:ext>
                  </a:extLst>
                </p:cNvPr>
                <p:cNvSpPr/>
                <p:nvPr/>
              </p:nvSpPr>
              <p:spPr>
                <a:xfrm>
                  <a:off x="9652771" y="5908436"/>
                  <a:ext cx="7046" cy="7046"/>
                </a:xfrm>
                <a:custGeom>
                  <a:avLst/>
                  <a:gdLst>
                    <a:gd name="connsiteX0" fmla="*/ 0 w 7046"/>
                    <a:gd name="connsiteY0" fmla="*/ 3523 h 7046"/>
                    <a:gd name="connsiteX1" fmla="*/ 3523 w 7046"/>
                    <a:gd name="connsiteY1" fmla="*/ 7046 h 7046"/>
                    <a:gd name="connsiteX2" fmla="*/ 7046 w 7046"/>
                    <a:gd name="connsiteY2" fmla="*/ 3523 h 7046"/>
                    <a:gd name="connsiteX3" fmla="*/ 3523 w 7046"/>
                    <a:gd name="connsiteY3" fmla="*/ 0 h 7046"/>
                    <a:gd name="connsiteX4" fmla="*/ 0 w 7046"/>
                    <a:gd name="connsiteY4" fmla="*/ 3523 h 70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7046" h="7046">
                      <a:moveTo>
                        <a:pt x="0" y="3523"/>
                      </a:moveTo>
                      <a:cubicBezTo>
                        <a:pt x="0" y="5475"/>
                        <a:pt x="1571" y="7046"/>
                        <a:pt x="3523" y="7046"/>
                      </a:cubicBezTo>
                      <a:cubicBezTo>
                        <a:pt x="5475" y="7046"/>
                        <a:pt x="7046" y="5475"/>
                        <a:pt x="7046" y="3523"/>
                      </a:cubicBezTo>
                      <a:cubicBezTo>
                        <a:pt x="7046" y="1571"/>
                        <a:pt x="5475" y="0"/>
                        <a:pt x="3523" y="0"/>
                      </a:cubicBezTo>
                      <a:cubicBezTo>
                        <a:pt x="1571" y="0"/>
                        <a:pt x="0" y="1571"/>
                        <a:pt x="0" y="3523"/>
                      </a:cubicBezTo>
                      <a:close/>
                    </a:path>
                  </a:pathLst>
                </a:custGeom>
                <a:solidFill>
                  <a:srgbClr val="394553"/>
                </a:solidFill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178" name="Forma livre: Forma 2177">
                  <a:extLst>
                    <a:ext uri="{FF2B5EF4-FFF2-40B4-BE49-F238E27FC236}">
                      <a16:creationId xmlns:a16="http://schemas.microsoft.com/office/drawing/2014/main" id="{EA3A4B2E-76ED-7E30-DFD4-0208D1415D6E}"/>
                    </a:ext>
                  </a:extLst>
                </p:cNvPr>
                <p:cNvSpPr/>
                <p:nvPr/>
              </p:nvSpPr>
              <p:spPr>
                <a:xfrm>
                  <a:off x="9659103" y="5841689"/>
                  <a:ext cx="7046" cy="7045"/>
                </a:xfrm>
                <a:custGeom>
                  <a:avLst/>
                  <a:gdLst>
                    <a:gd name="connsiteX0" fmla="*/ 0 w 7046"/>
                    <a:gd name="connsiteY0" fmla="*/ 3523 h 7045"/>
                    <a:gd name="connsiteX1" fmla="*/ 3523 w 7046"/>
                    <a:gd name="connsiteY1" fmla="*/ 7046 h 7045"/>
                    <a:gd name="connsiteX2" fmla="*/ 7046 w 7046"/>
                    <a:gd name="connsiteY2" fmla="*/ 3523 h 7045"/>
                    <a:gd name="connsiteX3" fmla="*/ 3523 w 7046"/>
                    <a:gd name="connsiteY3" fmla="*/ 0 h 7045"/>
                    <a:gd name="connsiteX4" fmla="*/ 0 w 7046"/>
                    <a:gd name="connsiteY4" fmla="*/ 3523 h 704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7046" h="7045">
                      <a:moveTo>
                        <a:pt x="0" y="3523"/>
                      </a:moveTo>
                      <a:cubicBezTo>
                        <a:pt x="0" y="5475"/>
                        <a:pt x="1571" y="7046"/>
                        <a:pt x="3523" y="7046"/>
                      </a:cubicBezTo>
                      <a:cubicBezTo>
                        <a:pt x="5475" y="7046"/>
                        <a:pt x="7046" y="5475"/>
                        <a:pt x="7046" y="3523"/>
                      </a:cubicBezTo>
                      <a:cubicBezTo>
                        <a:pt x="7046" y="1571"/>
                        <a:pt x="5475" y="0"/>
                        <a:pt x="3523" y="0"/>
                      </a:cubicBezTo>
                      <a:cubicBezTo>
                        <a:pt x="1571" y="0"/>
                        <a:pt x="0" y="1571"/>
                        <a:pt x="0" y="3523"/>
                      </a:cubicBezTo>
                      <a:close/>
                    </a:path>
                  </a:pathLst>
                </a:custGeom>
                <a:solidFill>
                  <a:srgbClr val="394553"/>
                </a:solidFill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179" name="Forma livre: Forma 2178">
                  <a:extLst>
                    <a:ext uri="{FF2B5EF4-FFF2-40B4-BE49-F238E27FC236}">
                      <a16:creationId xmlns:a16="http://schemas.microsoft.com/office/drawing/2014/main" id="{F0EDB981-B340-D1BA-8DA5-2ECBC5453A09}"/>
                    </a:ext>
                  </a:extLst>
                </p:cNvPr>
                <p:cNvSpPr/>
                <p:nvPr/>
              </p:nvSpPr>
              <p:spPr>
                <a:xfrm>
                  <a:off x="9622730" y="5792176"/>
                  <a:ext cx="7046" cy="7045"/>
                </a:xfrm>
                <a:custGeom>
                  <a:avLst/>
                  <a:gdLst>
                    <a:gd name="connsiteX0" fmla="*/ 0 w 7046"/>
                    <a:gd name="connsiteY0" fmla="*/ 3523 h 7045"/>
                    <a:gd name="connsiteX1" fmla="*/ 3523 w 7046"/>
                    <a:gd name="connsiteY1" fmla="*/ 7046 h 7045"/>
                    <a:gd name="connsiteX2" fmla="*/ 7046 w 7046"/>
                    <a:gd name="connsiteY2" fmla="*/ 3523 h 7045"/>
                    <a:gd name="connsiteX3" fmla="*/ 3523 w 7046"/>
                    <a:gd name="connsiteY3" fmla="*/ 0 h 7045"/>
                    <a:gd name="connsiteX4" fmla="*/ 0 w 7046"/>
                    <a:gd name="connsiteY4" fmla="*/ 3523 h 704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7046" h="7045">
                      <a:moveTo>
                        <a:pt x="0" y="3523"/>
                      </a:moveTo>
                      <a:cubicBezTo>
                        <a:pt x="0" y="5475"/>
                        <a:pt x="1571" y="7046"/>
                        <a:pt x="3523" y="7046"/>
                      </a:cubicBezTo>
                      <a:cubicBezTo>
                        <a:pt x="5475" y="7046"/>
                        <a:pt x="7046" y="5475"/>
                        <a:pt x="7046" y="3523"/>
                      </a:cubicBezTo>
                      <a:cubicBezTo>
                        <a:pt x="7046" y="1571"/>
                        <a:pt x="5475" y="0"/>
                        <a:pt x="3523" y="0"/>
                      </a:cubicBezTo>
                      <a:cubicBezTo>
                        <a:pt x="1571" y="0"/>
                        <a:pt x="0" y="1571"/>
                        <a:pt x="0" y="3523"/>
                      </a:cubicBezTo>
                      <a:close/>
                    </a:path>
                  </a:pathLst>
                </a:custGeom>
                <a:solidFill>
                  <a:srgbClr val="394553"/>
                </a:solidFill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180" name="Forma livre: Forma 2179">
                  <a:extLst>
                    <a:ext uri="{FF2B5EF4-FFF2-40B4-BE49-F238E27FC236}">
                      <a16:creationId xmlns:a16="http://schemas.microsoft.com/office/drawing/2014/main" id="{615C7323-679A-20F1-B6B1-6571A7E36F36}"/>
                    </a:ext>
                  </a:extLst>
                </p:cNvPr>
                <p:cNvSpPr/>
                <p:nvPr/>
              </p:nvSpPr>
              <p:spPr>
                <a:xfrm>
                  <a:off x="9633537" y="5967422"/>
                  <a:ext cx="7046" cy="7045"/>
                </a:xfrm>
                <a:custGeom>
                  <a:avLst/>
                  <a:gdLst>
                    <a:gd name="connsiteX0" fmla="*/ 0 w 7046"/>
                    <a:gd name="connsiteY0" fmla="*/ 3523 h 7045"/>
                    <a:gd name="connsiteX1" fmla="*/ 3523 w 7046"/>
                    <a:gd name="connsiteY1" fmla="*/ 7046 h 7045"/>
                    <a:gd name="connsiteX2" fmla="*/ 7046 w 7046"/>
                    <a:gd name="connsiteY2" fmla="*/ 3523 h 7045"/>
                    <a:gd name="connsiteX3" fmla="*/ 3523 w 7046"/>
                    <a:gd name="connsiteY3" fmla="*/ 0 h 7045"/>
                    <a:gd name="connsiteX4" fmla="*/ 0 w 7046"/>
                    <a:gd name="connsiteY4" fmla="*/ 3523 h 704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7046" h="7045">
                      <a:moveTo>
                        <a:pt x="0" y="3523"/>
                      </a:moveTo>
                      <a:cubicBezTo>
                        <a:pt x="0" y="5475"/>
                        <a:pt x="1571" y="7046"/>
                        <a:pt x="3523" y="7046"/>
                      </a:cubicBezTo>
                      <a:cubicBezTo>
                        <a:pt x="5475" y="7046"/>
                        <a:pt x="7046" y="5475"/>
                        <a:pt x="7046" y="3523"/>
                      </a:cubicBezTo>
                      <a:cubicBezTo>
                        <a:pt x="7046" y="1571"/>
                        <a:pt x="5475" y="0"/>
                        <a:pt x="3523" y="0"/>
                      </a:cubicBezTo>
                      <a:cubicBezTo>
                        <a:pt x="1571" y="0"/>
                        <a:pt x="0" y="1571"/>
                        <a:pt x="0" y="3523"/>
                      </a:cubicBezTo>
                      <a:close/>
                    </a:path>
                  </a:pathLst>
                </a:custGeom>
                <a:solidFill>
                  <a:srgbClr val="394553"/>
                </a:solidFill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2181" name="Forma livre: Forma 2180">
                <a:extLst>
                  <a:ext uri="{FF2B5EF4-FFF2-40B4-BE49-F238E27FC236}">
                    <a16:creationId xmlns:a16="http://schemas.microsoft.com/office/drawing/2014/main" id="{A9E70D8F-E9C9-EB63-3B97-F94E7F30BFD6}"/>
                  </a:ext>
                </a:extLst>
              </p:cNvPr>
              <p:cNvSpPr/>
              <p:nvPr/>
            </p:nvSpPr>
            <p:spPr>
              <a:xfrm>
                <a:off x="9560697" y="5772561"/>
                <a:ext cx="7045" cy="7046"/>
              </a:xfrm>
              <a:custGeom>
                <a:avLst/>
                <a:gdLst>
                  <a:gd name="connsiteX0" fmla="*/ 7046 w 7045"/>
                  <a:gd name="connsiteY0" fmla="*/ 3523 h 7046"/>
                  <a:gd name="connsiteX1" fmla="*/ 3523 w 7045"/>
                  <a:gd name="connsiteY1" fmla="*/ 7046 h 7046"/>
                  <a:gd name="connsiteX2" fmla="*/ 0 w 7045"/>
                  <a:gd name="connsiteY2" fmla="*/ 3523 h 7046"/>
                  <a:gd name="connsiteX3" fmla="*/ 3523 w 7045"/>
                  <a:gd name="connsiteY3" fmla="*/ 0 h 7046"/>
                  <a:gd name="connsiteX4" fmla="*/ 7046 w 7045"/>
                  <a:gd name="connsiteY4" fmla="*/ 3523 h 70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045" h="7046">
                    <a:moveTo>
                      <a:pt x="7046" y="3523"/>
                    </a:moveTo>
                    <a:cubicBezTo>
                      <a:pt x="7046" y="5475"/>
                      <a:pt x="5475" y="7046"/>
                      <a:pt x="3523" y="7046"/>
                    </a:cubicBezTo>
                    <a:cubicBezTo>
                      <a:pt x="1571" y="7046"/>
                      <a:pt x="0" y="5475"/>
                      <a:pt x="0" y="3523"/>
                    </a:cubicBezTo>
                    <a:cubicBezTo>
                      <a:pt x="0" y="1571"/>
                      <a:pt x="1571" y="0"/>
                      <a:pt x="3523" y="0"/>
                    </a:cubicBezTo>
                    <a:cubicBezTo>
                      <a:pt x="5475" y="0"/>
                      <a:pt x="7046" y="1571"/>
                      <a:pt x="7046" y="3523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2182" name="Forma livre: Forma 2181">
              <a:extLst>
                <a:ext uri="{FF2B5EF4-FFF2-40B4-BE49-F238E27FC236}">
                  <a16:creationId xmlns:a16="http://schemas.microsoft.com/office/drawing/2014/main" id="{35D4117B-F1D8-C1C8-1965-36068065DDE4}"/>
                </a:ext>
              </a:extLst>
            </p:cNvPr>
            <p:cNvSpPr/>
            <p:nvPr/>
          </p:nvSpPr>
          <p:spPr>
            <a:xfrm>
              <a:off x="9436062" y="5741854"/>
              <a:ext cx="256217" cy="298456"/>
            </a:xfrm>
            <a:custGeom>
              <a:avLst/>
              <a:gdLst>
                <a:gd name="connsiteX0" fmla="*/ 35655 w 256217"/>
                <a:gd name="connsiteY0" fmla="*/ 34516 h 298456"/>
                <a:gd name="connsiteX1" fmla="*/ 901 w 256217"/>
                <a:gd name="connsiteY1" fmla="*/ 132113 h 298456"/>
                <a:gd name="connsiteX2" fmla="*/ 41606 w 256217"/>
                <a:gd name="connsiteY2" fmla="*/ 253039 h 298456"/>
                <a:gd name="connsiteX3" fmla="*/ 34322 w 256217"/>
                <a:gd name="connsiteY3" fmla="*/ 268511 h 298456"/>
                <a:gd name="connsiteX4" fmla="*/ 12470 w 256217"/>
                <a:gd name="connsiteY4" fmla="*/ 268511 h 298456"/>
                <a:gd name="connsiteX5" fmla="*/ 12470 w 256217"/>
                <a:gd name="connsiteY5" fmla="*/ 298457 h 298456"/>
                <a:gd name="connsiteX6" fmla="*/ 72361 w 256217"/>
                <a:gd name="connsiteY6" fmla="*/ 298457 h 298456"/>
                <a:gd name="connsiteX7" fmla="*/ 91404 w 256217"/>
                <a:gd name="connsiteY7" fmla="*/ 263941 h 298456"/>
                <a:gd name="connsiteX8" fmla="*/ 55365 w 256217"/>
                <a:gd name="connsiteY8" fmla="*/ 142492 h 298456"/>
                <a:gd name="connsiteX9" fmla="*/ 128110 w 256217"/>
                <a:gd name="connsiteY9" fmla="*/ 66937 h 298456"/>
                <a:gd name="connsiteX10" fmla="*/ 200856 w 256217"/>
                <a:gd name="connsiteY10" fmla="*/ 142492 h 298456"/>
                <a:gd name="connsiteX11" fmla="*/ 164817 w 256217"/>
                <a:gd name="connsiteY11" fmla="*/ 263941 h 298456"/>
                <a:gd name="connsiteX12" fmla="*/ 183860 w 256217"/>
                <a:gd name="connsiteY12" fmla="*/ 298457 h 298456"/>
                <a:gd name="connsiteX13" fmla="*/ 243751 w 256217"/>
                <a:gd name="connsiteY13" fmla="*/ 298457 h 298456"/>
                <a:gd name="connsiteX14" fmla="*/ 243751 w 256217"/>
                <a:gd name="connsiteY14" fmla="*/ 268511 h 298456"/>
                <a:gd name="connsiteX15" fmla="*/ 221899 w 256217"/>
                <a:gd name="connsiteY15" fmla="*/ 268511 h 298456"/>
                <a:gd name="connsiteX16" fmla="*/ 214615 w 256217"/>
                <a:gd name="connsiteY16" fmla="*/ 253039 h 298456"/>
                <a:gd name="connsiteX17" fmla="*/ 255320 w 256217"/>
                <a:gd name="connsiteY17" fmla="*/ 132113 h 298456"/>
                <a:gd name="connsiteX18" fmla="*/ 128158 w 256217"/>
                <a:gd name="connsiteY18" fmla="*/ 0 h 298456"/>
                <a:gd name="connsiteX19" fmla="*/ 59269 w 256217"/>
                <a:gd name="connsiteY19" fmla="*/ 17520 h 2984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256217" h="298456">
                  <a:moveTo>
                    <a:pt x="35655" y="34516"/>
                  </a:moveTo>
                  <a:cubicBezTo>
                    <a:pt x="10613" y="57749"/>
                    <a:pt x="-3860" y="91503"/>
                    <a:pt x="901" y="132113"/>
                  </a:cubicBezTo>
                  <a:cubicBezTo>
                    <a:pt x="901" y="132113"/>
                    <a:pt x="4329" y="180531"/>
                    <a:pt x="41606" y="253039"/>
                  </a:cubicBezTo>
                  <a:cubicBezTo>
                    <a:pt x="41606" y="253039"/>
                    <a:pt x="50271" y="268511"/>
                    <a:pt x="34322" y="268511"/>
                  </a:cubicBezTo>
                  <a:lnTo>
                    <a:pt x="12470" y="268511"/>
                  </a:lnTo>
                  <a:lnTo>
                    <a:pt x="12470" y="298457"/>
                  </a:lnTo>
                  <a:lnTo>
                    <a:pt x="72361" y="298457"/>
                  </a:lnTo>
                  <a:cubicBezTo>
                    <a:pt x="103545" y="295410"/>
                    <a:pt x="91404" y="263941"/>
                    <a:pt x="91404" y="263941"/>
                  </a:cubicBezTo>
                  <a:cubicBezTo>
                    <a:pt x="63458" y="190100"/>
                    <a:pt x="55365" y="142492"/>
                    <a:pt x="55365" y="142492"/>
                  </a:cubicBezTo>
                  <a:cubicBezTo>
                    <a:pt x="50080" y="97312"/>
                    <a:pt x="86358" y="66937"/>
                    <a:pt x="128110" y="66937"/>
                  </a:cubicBezTo>
                  <a:cubicBezTo>
                    <a:pt x="169863" y="66937"/>
                    <a:pt x="206093" y="97312"/>
                    <a:pt x="200856" y="142492"/>
                  </a:cubicBezTo>
                  <a:cubicBezTo>
                    <a:pt x="200856" y="142492"/>
                    <a:pt x="192763" y="190100"/>
                    <a:pt x="164817" y="263941"/>
                  </a:cubicBezTo>
                  <a:cubicBezTo>
                    <a:pt x="164817" y="263941"/>
                    <a:pt x="152629" y="295410"/>
                    <a:pt x="183860" y="298457"/>
                  </a:cubicBezTo>
                  <a:lnTo>
                    <a:pt x="243751" y="298457"/>
                  </a:lnTo>
                  <a:lnTo>
                    <a:pt x="243751" y="268511"/>
                  </a:lnTo>
                  <a:lnTo>
                    <a:pt x="221899" y="268511"/>
                  </a:lnTo>
                  <a:cubicBezTo>
                    <a:pt x="205903" y="268511"/>
                    <a:pt x="214615" y="253039"/>
                    <a:pt x="214615" y="253039"/>
                  </a:cubicBezTo>
                  <a:cubicBezTo>
                    <a:pt x="251845" y="180531"/>
                    <a:pt x="255320" y="132113"/>
                    <a:pt x="255320" y="132113"/>
                  </a:cubicBezTo>
                  <a:cubicBezTo>
                    <a:pt x="264556" y="53131"/>
                    <a:pt x="201142" y="0"/>
                    <a:pt x="128158" y="0"/>
                  </a:cubicBezTo>
                  <a:cubicBezTo>
                    <a:pt x="103259" y="0"/>
                    <a:pt x="79455" y="6189"/>
                    <a:pt x="59269" y="1752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2183" name="Gráfico 18">
            <a:extLst>
              <a:ext uri="{FF2B5EF4-FFF2-40B4-BE49-F238E27FC236}">
                <a16:creationId xmlns:a16="http://schemas.microsoft.com/office/drawing/2014/main" id="{A5A9F9FC-A709-159F-F850-6EBB1DF06804}"/>
              </a:ext>
            </a:extLst>
          </p:cNvPr>
          <p:cNvGrpSpPr/>
          <p:nvPr/>
        </p:nvGrpSpPr>
        <p:grpSpPr>
          <a:xfrm>
            <a:off x="8787536" y="5747995"/>
            <a:ext cx="311311" cy="286221"/>
            <a:chOff x="8787536" y="5747995"/>
            <a:chExt cx="311311" cy="286221"/>
          </a:xfrm>
          <a:noFill/>
        </p:grpSpPr>
        <p:sp>
          <p:nvSpPr>
            <p:cNvPr id="2184" name="Forma livre: Forma 2183">
              <a:extLst>
                <a:ext uri="{FF2B5EF4-FFF2-40B4-BE49-F238E27FC236}">
                  <a16:creationId xmlns:a16="http://schemas.microsoft.com/office/drawing/2014/main" id="{8F962FD9-76FA-CB8A-1A7C-6E67BFEE945E}"/>
                </a:ext>
              </a:extLst>
            </p:cNvPr>
            <p:cNvSpPr/>
            <p:nvPr/>
          </p:nvSpPr>
          <p:spPr>
            <a:xfrm>
              <a:off x="8910461" y="5994797"/>
              <a:ext cx="6807" cy="39134"/>
            </a:xfrm>
            <a:custGeom>
              <a:avLst/>
              <a:gdLst>
                <a:gd name="connsiteX0" fmla="*/ 0 w 6807"/>
                <a:gd name="connsiteY0" fmla="*/ 0 h 39134"/>
                <a:gd name="connsiteX1" fmla="*/ 6808 w 6807"/>
                <a:gd name="connsiteY1" fmla="*/ 39134 h 391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807" h="39134">
                  <a:moveTo>
                    <a:pt x="0" y="0"/>
                  </a:moveTo>
                  <a:cubicBezTo>
                    <a:pt x="5523" y="10759"/>
                    <a:pt x="6808" y="16187"/>
                    <a:pt x="6808" y="39134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85" name="Forma livre: Forma 2184">
              <a:extLst>
                <a:ext uri="{FF2B5EF4-FFF2-40B4-BE49-F238E27FC236}">
                  <a16:creationId xmlns:a16="http://schemas.microsoft.com/office/drawing/2014/main" id="{7E589A8C-6237-D316-FB37-4AEDCD1BC6D9}"/>
                </a:ext>
              </a:extLst>
            </p:cNvPr>
            <p:cNvSpPr/>
            <p:nvPr/>
          </p:nvSpPr>
          <p:spPr>
            <a:xfrm>
              <a:off x="8868553" y="5940048"/>
              <a:ext cx="47605" cy="58551"/>
            </a:xfrm>
            <a:custGeom>
              <a:avLst/>
              <a:gdLst>
                <a:gd name="connsiteX0" fmla="*/ 43099 w 47605"/>
                <a:gd name="connsiteY0" fmla="*/ 56130 h 58551"/>
                <a:gd name="connsiteX1" fmla="*/ 6726 w 47605"/>
                <a:gd name="connsiteY1" fmla="*/ 37039 h 58551"/>
                <a:gd name="connsiteX2" fmla="*/ 537 w 47605"/>
                <a:gd name="connsiteY2" fmla="*/ 0 h 58551"/>
                <a:gd name="connsiteX3" fmla="*/ 34339 w 47605"/>
                <a:gd name="connsiteY3" fmla="*/ 15949 h 58551"/>
                <a:gd name="connsiteX4" fmla="*/ 43099 w 47605"/>
                <a:gd name="connsiteY4" fmla="*/ 56130 h 585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7605" h="58551">
                  <a:moveTo>
                    <a:pt x="43099" y="56130"/>
                  </a:moveTo>
                  <a:cubicBezTo>
                    <a:pt x="33672" y="63510"/>
                    <a:pt x="14010" y="53131"/>
                    <a:pt x="6726" y="37039"/>
                  </a:cubicBezTo>
                  <a:cubicBezTo>
                    <a:pt x="-2701" y="16187"/>
                    <a:pt x="537" y="0"/>
                    <a:pt x="537" y="0"/>
                  </a:cubicBezTo>
                  <a:cubicBezTo>
                    <a:pt x="537" y="0"/>
                    <a:pt x="18342" y="2618"/>
                    <a:pt x="34339" y="15949"/>
                  </a:cubicBezTo>
                  <a:cubicBezTo>
                    <a:pt x="47955" y="27280"/>
                    <a:pt x="51478" y="49560"/>
                    <a:pt x="43099" y="56130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86" name="Forma livre: Forma 2185">
              <a:extLst>
                <a:ext uri="{FF2B5EF4-FFF2-40B4-BE49-F238E27FC236}">
                  <a16:creationId xmlns:a16="http://schemas.microsoft.com/office/drawing/2014/main" id="{F0322FF5-1099-8EBC-CF1E-A6D6DA123974}"/>
                </a:ext>
              </a:extLst>
            </p:cNvPr>
            <p:cNvSpPr/>
            <p:nvPr/>
          </p:nvSpPr>
          <p:spPr>
            <a:xfrm>
              <a:off x="8961212" y="5976278"/>
              <a:ext cx="5522" cy="56701"/>
            </a:xfrm>
            <a:custGeom>
              <a:avLst/>
              <a:gdLst>
                <a:gd name="connsiteX0" fmla="*/ 5523 w 5522"/>
                <a:gd name="connsiteY0" fmla="*/ 0 h 56701"/>
                <a:gd name="connsiteX1" fmla="*/ 0 w 5522"/>
                <a:gd name="connsiteY1" fmla="*/ 56702 h 567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522" h="56701">
                  <a:moveTo>
                    <a:pt x="5523" y="0"/>
                  </a:moveTo>
                  <a:cubicBezTo>
                    <a:pt x="2000" y="18139"/>
                    <a:pt x="0" y="37992"/>
                    <a:pt x="0" y="56702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87" name="Forma livre: Forma 2186">
              <a:extLst>
                <a:ext uri="{FF2B5EF4-FFF2-40B4-BE49-F238E27FC236}">
                  <a16:creationId xmlns:a16="http://schemas.microsoft.com/office/drawing/2014/main" id="{8DD05465-7480-6351-FFFB-BC230FDB9148}"/>
                </a:ext>
              </a:extLst>
            </p:cNvPr>
            <p:cNvSpPr/>
            <p:nvPr/>
          </p:nvSpPr>
          <p:spPr>
            <a:xfrm>
              <a:off x="8958008" y="5912244"/>
              <a:ext cx="39922" cy="65632"/>
            </a:xfrm>
            <a:custGeom>
              <a:avLst/>
              <a:gdLst>
                <a:gd name="connsiteX0" fmla="*/ 8489 w 39922"/>
                <a:gd name="connsiteY0" fmla="*/ 65128 h 65632"/>
                <a:gd name="connsiteX1" fmla="*/ 38815 w 39922"/>
                <a:gd name="connsiteY1" fmla="*/ 37372 h 65632"/>
                <a:gd name="connsiteX2" fmla="*/ 35388 w 39922"/>
                <a:gd name="connsiteY2" fmla="*/ 0 h 65632"/>
                <a:gd name="connsiteX3" fmla="*/ 6727 w 39922"/>
                <a:gd name="connsiteY3" fmla="*/ 24042 h 65632"/>
                <a:gd name="connsiteX4" fmla="*/ 8489 w 39922"/>
                <a:gd name="connsiteY4" fmla="*/ 65128 h 656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922" h="65632">
                  <a:moveTo>
                    <a:pt x="8489" y="65128"/>
                  </a:moveTo>
                  <a:cubicBezTo>
                    <a:pt x="15773" y="68270"/>
                    <a:pt x="35626" y="56463"/>
                    <a:pt x="38815" y="37372"/>
                  </a:cubicBezTo>
                  <a:cubicBezTo>
                    <a:pt x="42624" y="14806"/>
                    <a:pt x="35388" y="0"/>
                    <a:pt x="35388" y="0"/>
                  </a:cubicBezTo>
                  <a:cubicBezTo>
                    <a:pt x="35388" y="0"/>
                    <a:pt x="18867" y="7046"/>
                    <a:pt x="6727" y="24042"/>
                  </a:cubicBezTo>
                  <a:cubicBezTo>
                    <a:pt x="-3556" y="38468"/>
                    <a:pt x="-1319" y="60891"/>
                    <a:pt x="8489" y="65128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88" name="Forma livre: Forma 2187">
              <a:extLst>
                <a:ext uri="{FF2B5EF4-FFF2-40B4-BE49-F238E27FC236}">
                  <a16:creationId xmlns:a16="http://schemas.microsoft.com/office/drawing/2014/main" id="{680026F9-9768-6D8F-8A98-71F6B48B1E61}"/>
                </a:ext>
              </a:extLst>
            </p:cNvPr>
            <p:cNvSpPr/>
            <p:nvPr/>
          </p:nvSpPr>
          <p:spPr>
            <a:xfrm>
              <a:off x="8787536" y="6034217"/>
              <a:ext cx="311311" cy="4760"/>
            </a:xfrm>
            <a:custGeom>
              <a:avLst/>
              <a:gdLst>
                <a:gd name="connsiteX0" fmla="*/ 0 w 311311"/>
                <a:gd name="connsiteY0" fmla="*/ 0 h 4760"/>
                <a:gd name="connsiteX1" fmla="*/ 311311 w 311311"/>
                <a:gd name="connsiteY1" fmla="*/ 0 h 47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11311" h="4760">
                  <a:moveTo>
                    <a:pt x="0" y="0"/>
                  </a:moveTo>
                  <a:lnTo>
                    <a:pt x="311311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89" name="Forma livre: Forma 2188">
              <a:extLst>
                <a:ext uri="{FF2B5EF4-FFF2-40B4-BE49-F238E27FC236}">
                  <a16:creationId xmlns:a16="http://schemas.microsoft.com/office/drawing/2014/main" id="{461C0ECD-752E-D3A0-8F13-30684F0D2D8F}"/>
                </a:ext>
              </a:extLst>
            </p:cNvPr>
            <p:cNvSpPr/>
            <p:nvPr/>
          </p:nvSpPr>
          <p:spPr>
            <a:xfrm>
              <a:off x="8815530" y="5837690"/>
              <a:ext cx="255276" cy="195289"/>
            </a:xfrm>
            <a:custGeom>
              <a:avLst/>
              <a:gdLst>
                <a:gd name="connsiteX0" fmla="*/ 255276 w 255276"/>
                <a:gd name="connsiteY0" fmla="*/ 195290 h 195289"/>
                <a:gd name="connsiteX1" fmla="*/ 255276 w 255276"/>
                <a:gd name="connsiteY1" fmla="*/ 73841 h 195289"/>
                <a:gd name="connsiteX2" fmla="*/ 127495 w 255276"/>
                <a:gd name="connsiteY2" fmla="*/ 0 h 195289"/>
                <a:gd name="connsiteX3" fmla="*/ 0 w 255276"/>
                <a:gd name="connsiteY3" fmla="*/ 72888 h 195289"/>
                <a:gd name="connsiteX4" fmla="*/ 0 w 255276"/>
                <a:gd name="connsiteY4" fmla="*/ 174056 h 1952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5276" h="195289">
                  <a:moveTo>
                    <a:pt x="255276" y="195290"/>
                  </a:moveTo>
                  <a:lnTo>
                    <a:pt x="255276" y="73841"/>
                  </a:lnTo>
                  <a:lnTo>
                    <a:pt x="127495" y="0"/>
                  </a:lnTo>
                  <a:lnTo>
                    <a:pt x="0" y="72888"/>
                  </a:lnTo>
                  <a:lnTo>
                    <a:pt x="0" y="174056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2190" name="Gráfico 18">
              <a:extLst>
                <a:ext uri="{FF2B5EF4-FFF2-40B4-BE49-F238E27FC236}">
                  <a16:creationId xmlns:a16="http://schemas.microsoft.com/office/drawing/2014/main" id="{4C7D3EA3-6228-ACF8-DFD5-261C2EF9CF2C}"/>
                </a:ext>
              </a:extLst>
            </p:cNvPr>
            <p:cNvGrpSpPr/>
            <p:nvPr/>
          </p:nvGrpSpPr>
          <p:grpSpPr>
            <a:xfrm>
              <a:off x="8991300" y="5747995"/>
              <a:ext cx="99691" cy="99691"/>
              <a:chOff x="8991300" y="5747995"/>
              <a:chExt cx="99691" cy="99691"/>
            </a:xfrm>
            <a:noFill/>
          </p:grpSpPr>
          <p:sp>
            <p:nvSpPr>
              <p:cNvPr id="2191" name="Forma livre: Forma 2190">
                <a:extLst>
                  <a:ext uri="{FF2B5EF4-FFF2-40B4-BE49-F238E27FC236}">
                    <a16:creationId xmlns:a16="http://schemas.microsoft.com/office/drawing/2014/main" id="{E7AEF3F2-FA31-430B-43F2-D4DFFDFF4B16}"/>
                  </a:ext>
                </a:extLst>
              </p:cNvPr>
              <p:cNvSpPr/>
              <p:nvPr/>
            </p:nvSpPr>
            <p:spPr>
              <a:xfrm>
                <a:off x="9020627" y="5777512"/>
                <a:ext cx="40848" cy="40848"/>
              </a:xfrm>
              <a:custGeom>
                <a:avLst/>
                <a:gdLst>
                  <a:gd name="connsiteX0" fmla="*/ 0 w 40848"/>
                  <a:gd name="connsiteY0" fmla="*/ 20519 h 40848"/>
                  <a:gd name="connsiteX1" fmla="*/ 20519 w 40848"/>
                  <a:gd name="connsiteY1" fmla="*/ 40848 h 40848"/>
                  <a:gd name="connsiteX2" fmla="*/ 40848 w 40848"/>
                  <a:gd name="connsiteY2" fmla="*/ 20329 h 40848"/>
                  <a:gd name="connsiteX3" fmla="*/ 20329 w 40848"/>
                  <a:gd name="connsiteY3" fmla="*/ 0 h 40848"/>
                  <a:gd name="connsiteX4" fmla="*/ 0 w 40848"/>
                  <a:gd name="connsiteY4" fmla="*/ 20519 h 408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0848" h="40848">
                    <a:moveTo>
                      <a:pt x="0" y="20519"/>
                    </a:moveTo>
                    <a:cubicBezTo>
                      <a:pt x="48" y="31755"/>
                      <a:pt x="9236" y="40896"/>
                      <a:pt x="20519" y="40848"/>
                    </a:cubicBezTo>
                    <a:cubicBezTo>
                      <a:pt x="31803" y="40801"/>
                      <a:pt x="40896" y="31612"/>
                      <a:pt x="40848" y="20329"/>
                    </a:cubicBezTo>
                    <a:cubicBezTo>
                      <a:pt x="40801" y="9093"/>
                      <a:pt x="31612" y="-47"/>
                      <a:pt x="20329" y="0"/>
                    </a:cubicBezTo>
                    <a:cubicBezTo>
                      <a:pt x="9046" y="0"/>
                      <a:pt x="-47" y="9236"/>
                      <a:pt x="0" y="20519"/>
                    </a:cubicBezTo>
                    <a:close/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2192" name="Gráfico 18">
                <a:extLst>
                  <a:ext uri="{FF2B5EF4-FFF2-40B4-BE49-F238E27FC236}">
                    <a16:creationId xmlns:a16="http://schemas.microsoft.com/office/drawing/2014/main" id="{C3498A6F-662B-D184-70EE-AD949D2BB8B2}"/>
                  </a:ext>
                </a:extLst>
              </p:cNvPr>
              <p:cNvGrpSpPr/>
              <p:nvPr/>
            </p:nvGrpSpPr>
            <p:grpSpPr>
              <a:xfrm>
                <a:off x="9020722" y="5747995"/>
                <a:ext cx="40847" cy="99691"/>
                <a:chOff x="9020722" y="5747995"/>
                <a:chExt cx="40847" cy="99691"/>
              </a:xfrm>
            </p:grpSpPr>
            <p:sp>
              <p:nvSpPr>
                <p:cNvPr id="2193" name="Forma livre: Forma 2192">
                  <a:extLst>
                    <a:ext uri="{FF2B5EF4-FFF2-40B4-BE49-F238E27FC236}">
                      <a16:creationId xmlns:a16="http://schemas.microsoft.com/office/drawing/2014/main" id="{A65B13B9-AB98-589B-28F5-BCABEDE3385C}"/>
                    </a:ext>
                  </a:extLst>
                </p:cNvPr>
                <p:cNvSpPr/>
                <p:nvPr/>
              </p:nvSpPr>
              <p:spPr>
                <a:xfrm>
                  <a:off x="9020722" y="5837071"/>
                  <a:ext cx="4427" cy="10616"/>
                </a:xfrm>
                <a:custGeom>
                  <a:avLst/>
                  <a:gdLst>
                    <a:gd name="connsiteX0" fmla="*/ 0 w 4427"/>
                    <a:gd name="connsiteY0" fmla="*/ 10617 h 10616"/>
                    <a:gd name="connsiteX1" fmla="*/ 4428 w 4427"/>
                    <a:gd name="connsiteY1" fmla="*/ 0 h 1061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427" h="10616">
                      <a:moveTo>
                        <a:pt x="0" y="10617"/>
                      </a:moveTo>
                      <a:lnTo>
                        <a:pt x="4428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194" name="Forma livre: Forma 2193">
                  <a:extLst>
                    <a:ext uri="{FF2B5EF4-FFF2-40B4-BE49-F238E27FC236}">
                      <a16:creationId xmlns:a16="http://schemas.microsoft.com/office/drawing/2014/main" id="{D37B2695-D834-E129-087B-50FCEDD9DD81}"/>
                    </a:ext>
                  </a:extLst>
                </p:cNvPr>
                <p:cNvSpPr/>
                <p:nvPr/>
              </p:nvSpPr>
              <p:spPr>
                <a:xfrm>
                  <a:off x="9057095" y="5747995"/>
                  <a:ext cx="4475" cy="10664"/>
                </a:xfrm>
                <a:custGeom>
                  <a:avLst/>
                  <a:gdLst>
                    <a:gd name="connsiteX0" fmla="*/ 0 w 4475"/>
                    <a:gd name="connsiteY0" fmla="*/ 10664 h 10664"/>
                    <a:gd name="connsiteX1" fmla="*/ 4475 w 4475"/>
                    <a:gd name="connsiteY1" fmla="*/ 0 h 1066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475" h="10664">
                      <a:moveTo>
                        <a:pt x="0" y="10664"/>
                      </a:moveTo>
                      <a:lnTo>
                        <a:pt x="4475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2195" name="Gráfico 18">
                <a:extLst>
                  <a:ext uri="{FF2B5EF4-FFF2-40B4-BE49-F238E27FC236}">
                    <a16:creationId xmlns:a16="http://schemas.microsoft.com/office/drawing/2014/main" id="{D652EAEB-7834-3B5D-7460-D34991B232D0}"/>
                  </a:ext>
                </a:extLst>
              </p:cNvPr>
              <p:cNvGrpSpPr/>
              <p:nvPr/>
            </p:nvGrpSpPr>
            <p:grpSpPr>
              <a:xfrm>
                <a:off x="8991443" y="5777036"/>
                <a:ext cx="99358" cy="41609"/>
                <a:chOff x="8991443" y="5777036"/>
                <a:chExt cx="99358" cy="41609"/>
              </a:xfrm>
            </p:grpSpPr>
            <p:sp>
              <p:nvSpPr>
                <p:cNvPr id="2196" name="Forma livre: Forma 2195">
                  <a:extLst>
                    <a:ext uri="{FF2B5EF4-FFF2-40B4-BE49-F238E27FC236}">
                      <a16:creationId xmlns:a16="http://schemas.microsoft.com/office/drawing/2014/main" id="{EE8836AC-C2CB-FA6E-21E2-7CF23F370FBD}"/>
                    </a:ext>
                  </a:extLst>
                </p:cNvPr>
                <p:cNvSpPr/>
                <p:nvPr/>
              </p:nvSpPr>
              <p:spPr>
                <a:xfrm>
                  <a:off x="8991443" y="5814266"/>
                  <a:ext cx="10664" cy="4379"/>
                </a:xfrm>
                <a:custGeom>
                  <a:avLst/>
                  <a:gdLst>
                    <a:gd name="connsiteX0" fmla="*/ 0 w 10664"/>
                    <a:gd name="connsiteY0" fmla="*/ 4380 h 4379"/>
                    <a:gd name="connsiteX1" fmla="*/ 10664 w 10664"/>
                    <a:gd name="connsiteY1" fmla="*/ 0 h 437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0664" h="4379">
                      <a:moveTo>
                        <a:pt x="0" y="4380"/>
                      </a:moveTo>
                      <a:lnTo>
                        <a:pt x="10664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197" name="Forma livre: Forma 2196">
                  <a:extLst>
                    <a:ext uri="{FF2B5EF4-FFF2-40B4-BE49-F238E27FC236}">
                      <a16:creationId xmlns:a16="http://schemas.microsoft.com/office/drawing/2014/main" id="{402B8637-20AE-2D60-2D21-EB718AD07CDA}"/>
                    </a:ext>
                  </a:extLst>
                </p:cNvPr>
                <p:cNvSpPr/>
                <p:nvPr/>
              </p:nvSpPr>
              <p:spPr>
                <a:xfrm>
                  <a:off x="9080185" y="5777036"/>
                  <a:ext cx="10616" cy="4379"/>
                </a:xfrm>
                <a:custGeom>
                  <a:avLst/>
                  <a:gdLst>
                    <a:gd name="connsiteX0" fmla="*/ 0 w 10616"/>
                    <a:gd name="connsiteY0" fmla="*/ 4380 h 4379"/>
                    <a:gd name="connsiteX1" fmla="*/ 10617 w 10616"/>
                    <a:gd name="connsiteY1" fmla="*/ 0 h 437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0616" h="4379">
                      <a:moveTo>
                        <a:pt x="0" y="4380"/>
                      </a:moveTo>
                      <a:lnTo>
                        <a:pt x="10617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2198" name="Gráfico 18">
                <a:extLst>
                  <a:ext uri="{FF2B5EF4-FFF2-40B4-BE49-F238E27FC236}">
                    <a16:creationId xmlns:a16="http://schemas.microsoft.com/office/drawing/2014/main" id="{A4A5CF88-8527-7E33-7731-EEDB6A785598}"/>
                  </a:ext>
                </a:extLst>
              </p:cNvPr>
              <p:cNvGrpSpPr/>
              <p:nvPr/>
            </p:nvGrpSpPr>
            <p:grpSpPr>
              <a:xfrm>
                <a:off x="8991300" y="5777417"/>
                <a:ext cx="99691" cy="40847"/>
                <a:chOff x="8991300" y="5777417"/>
                <a:chExt cx="99691" cy="40847"/>
              </a:xfrm>
            </p:grpSpPr>
            <p:sp>
              <p:nvSpPr>
                <p:cNvPr id="2199" name="Forma livre: Forma 2198">
                  <a:extLst>
                    <a:ext uri="{FF2B5EF4-FFF2-40B4-BE49-F238E27FC236}">
                      <a16:creationId xmlns:a16="http://schemas.microsoft.com/office/drawing/2014/main" id="{E87135E7-85A5-8800-C809-75E8853E9F96}"/>
                    </a:ext>
                  </a:extLst>
                </p:cNvPr>
                <p:cNvSpPr/>
                <p:nvPr/>
              </p:nvSpPr>
              <p:spPr>
                <a:xfrm>
                  <a:off x="8991300" y="5777417"/>
                  <a:ext cx="10616" cy="4475"/>
                </a:xfrm>
                <a:custGeom>
                  <a:avLst/>
                  <a:gdLst>
                    <a:gd name="connsiteX0" fmla="*/ 0 w 10616"/>
                    <a:gd name="connsiteY0" fmla="*/ 0 h 4475"/>
                    <a:gd name="connsiteX1" fmla="*/ 10617 w 10616"/>
                    <a:gd name="connsiteY1" fmla="*/ 4475 h 44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0616" h="4475">
                      <a:moveTo>
                        <a:pt x="0" y="0"/>
                      </a:moveTo>
                      <a:lnTo>
                        <a:pt x="10617" y="4475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200" name="Forma livre: Forma 2199">
                  <a:extLst>
                    <a:ext uri="{FF2B5EF4-FFF2-40B4-BE49-F238E27FC236}">
                      <a16:creationId xmlns:a16="http://schemas.microsoft.com/office/drawing/2014/main" id="{658633E6-F74F-2F81-B84F-BE6EA3255A3E}"/>
                    </a:ext>
                  </a:extLst>
                </p:cNvPr>
                <p:cNvSpPr/>
                <p:nvPr/>
              </p:nvSpPr>
              <p:spPr>
                <a:xfrm>
                  <a:off x="9080376" y="5813838"/>
                  <a:ext cx="10616" cy="4427"/>
                </a:xfrm>
                <a:custGeom>
                  <a:avLst/>
                  <a:gdLst>
                    <a:gd name="connsiteX0" fmla="*/ 0 w 10616"/>
                    <a:gd name="connsiteY0" fmla="*/ 0 h 4427"/>
                    <a:gd name="connsiteX1" fmla="*/ 10617 w 10616"/>
                    <a:gd name="connsiteY1" fmla="*/ 4428 h 442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0616" h="4427">
                      <a:moveTo>
                        <a:pt x="0" y="0"/>
                      </a:moveTo>
                      <a:lnTo>
                        <a:pt x="10617" y="4428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2201" name="Gráfico 18">
                <a:extLst>
                  <a:ext uri="{FF2B5EF4-FFF2-40B4-BE49-F238E27FC236}">
                    <a16:creationId xmlns:a16="http://schemas.microsoft.com/office/drawing/2014/main" id="{6D0D9F64-88BB-6A59-6F1B-7FAD3371E242}"/>
                  </a:ext>
                </a:extLst>
              </p:cNvPr>
              <p:cNvGrpSpPr/>
              <p:nvPr/>
            </p:nvGrpSpPr>
            <p:grpSpPr>
              <a:xfrm>
                <a:off x="9020341" y="5748186"/>
                <a:ext cx="41609" cy="99358"/>
                <a:chOff x="9020341" y="5748186"/>
                <a:chExt cx="41609" cy="99358"/>
              </a:xfrm>
            </p:grpSpPr>
            <p:sp>
              <p:nvSpPr>
                <p:cNvPr id="2202" name="Forma livre: Forma 2201">
                  <a:extLst>
                    <a:ext uri="{FF2B5EF4-FFF2-40B4-BE49-F238E27FC236}">
                      <a16:creationId xmlns:a16="http://schemas.microsoft.com/office/drawing/2014/main" id="{F5247711-0F5C-236B-B20C-6E6539C014F5}"/>
                    </a:ext>
                  </a:extLst>
                </p:cNvPr>
                <p:cNvSpPr/>
                <p:nvPr/>
              </p:nvSpPr>
              <p:spPr>
                <a:xfrm>
                  <a:off x="9057571" y="5836880"/>
                  <a:ext cx="4379" cy="10664"/>
                </a:xfrm>
                <a:custGeom>
                  <a:avLst/>
                  <a:gdLst>
                    <a:gd name="connsiteX0" fmla="*/ 4380 w 4379"/>
                    <a:gd name="connsiteY0" fmla="*/ 10664 h 10664"/>
                    <a:gd name="connsiteX1" fmla="*/ 0 w 4379"/>
                    <a:gd name="connsiteY1" fmla="*/ 0 h 1066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379" h="10664">
                      <a:moveTo>
                        <a:pt x="4380" y="10664"/>
                      </a:moveTo>
                      <a:lnTo>
                        <a:pt x="0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203" name="Forma livre: Forma 2202">
                  <a:extLst>
                    <a:ext uri="{FF2B5EF4-FFF2-40B4-BE49-F238E27FC236}">
                      <a16:creationId xmlns:a16="http://schemas.microsoft.com/office/drawing/2014/main" id="{CA5B14F7-33CA-7E6D-73B7-C92C770D7CEF}"/>
                    </a:ext>
                  </a:extLst>
                </p:cNvPr>
                <p:cNvSpPr/>
                <p:nvPr/>
              </p:nvSpPr>
              <p:spPr>
                <a:xfrm>
                  <a:off x="9020341" y="5748186"/>
                  <a:ext cx="4379" cy="10664"/>
                </a:xfrm>
                <a:custGeom>
                  <a:avLst/>
                  <a:gdLst>
                    <a:gd name="connsiteX0" fmla="*/ 4380 w 4379"/>
                    <a:gd name="connsiteY0" fmla="*/ 10664 h 10664"/>
                    <a:gd name="connsiteX1" fmla="*/ 0 w 4379"/>
                    <a:gd name="connsiteY1" fmla="*/ 0 h 1066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379" h="10664">
                      <a:moveTo>
                        <a:pt x="4380" y="10664"/>
                      </a:moveTo>
                      <a:lnTo>
                        <a:pt x="0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</p:grpSp>
      <p:grpSp>
        <p:nvGrpSpPr>
          <p:cNvPr id="2204" name="Gráfico 18">
            <a:extLst>
              <a:ext uri="{FF2B5EF4-FFF2-40B4-BE49-F238E27FC236}">
                <a16:creationId xmlns:a16="http://schemas.microsoft.com/office/drawing/2014/main" id="{CD178E73-9969-AE52-2126-9AE4F8AE7405}"/>
              </a:ext>
            </a:extLst>
          </p:cNvPr>
          <p:cNvGrpSpPr/>
          <p:nvPr/>
        </p:nvGrpSpPr>
        <p:grpSpPr>
          <a:xfrm>
            <a:off x="8163230" y="5733177"/>
            <a:ext cx="318005" cy="315863"/>
            <a:chOff x="8163230" y="5733177"/>
            <a:chExt cx="318005" cy="315863"/>
          </a:xfrm>
          <a:noFill/>
        </p:grpSpPr>
        <p:grpSp>
          <p:nvGrpSpPr>
            <p:cNvPr id="2205" name="Gráfico 18">
              <a:extLst>
                <a:ext uri="{FF2B5EF4-FFF2-40B4-BE49-F238E27FC236}">
                  <a16:creationId xmlns:a16="http://schemas.microsoft.com/office/drawing/2014/main" id="{73AD84C8-9DFB-1F12-4A4C-A27041755DE0}"/>
                </a:ext>
              </a:extLst>
            </p:cNvPr>
            <p:cNvGrpSpPr/>
            <p:nvPr/>
          </p:nvGrpSpPr>
          <p:grpSpPr>
            <a:xfrm>
              <a:off x="8163230" y="5733177"/>
              <a:ext cx="318005" cy="315863"/>
              <a:chOff x="8163230" y="5733177"/>
              <a:chExt cx="318005" cy="315863"/>
            </a:xfrm>
            <a:noFill/>
          </p:grpSpPr>
          <p:sp>
            <p:nvSpPr>
              <p:cNvPr id="2206" name="Forma livre: Forma 2205">
                <a:extLst>
                  <a:ext uri="{FF2B5EF4-FFF2-40B4-BE49-F238E27FC236}">
                    <a16:creationId xmlns:a16="http://schemas.microsoft.com/office/drawing/2014/main" id="{19CF5268-3D9E-A5F9-0B4E-D19A8D549891}"/>
                  </a:ext>
                </a:extLst>
              </p:cNvPr>
              <p:cNvSpPr/>
              <p:nvPr/>
            </p:nvSpPr>
            <p:spPr>
              <a:xfrm>
                <a:off x="8163230" y="5863922"/>
                <a:ext cx="185053" cy="185118"/>
              </a:xfrm>
              <a:custGeom>
                <a:avLst/>
                <a:gdLst>
                  <a:gd name="connsiteX0" fmla="*/ 118657 w 185053"/>
                  <a:gd name="connsiteY0" fmla="*/ 36801 h 185118"/>
                  <a:gd name="connsiteX1" fmla="*/ 86427 w 185053"/>
                  <a:gd name="connsiteY1" fmla="*/ 4570 h 185118"/>
                  <a:gd name="connsiteX2" fmla="*/ 64289 w 185053"/>
                  <a:gd name="connsiteY2" fmla="*/ 4570 h 185118"/>
                  <a:gd name="connsiteX3" fmla="*/ 8730 w 185053"/>
                  <a:gd name="connsiteY3" fmla="*/ 78554 h 185118"/>
                  <a:gd name="connsiteX4" fmla="*/ 3826 w 185053"/>
                  <a:gd name="connsiteY4" fmla="*/ 151775 h 185118"/>
                  <a:gd name="connsiteX5" fmla="*/ 13824 w 185053"/>
                  <a:gd name="connsiteY5" fmla="*/ 171295 h 185118"/>
                  <a:gd name="connsiteX6" fmla="*/ 33343 w 185053"/>
                  <a:gd name="connsiteY6" fmla="*/ 181293 h 185118"/>
                  <a:gd name="connsiteX7" fmla="*/ 106517 w 185053"/>
                  <a:gd name="connsiteY7" fmla="*/ 176389 h 185118"/>
                  <a:gd name="connsiteX8" fmla="*/ 180501 w 185053"/>
                  <a:gd name="connsiteY8" fmla="*/ 120830 h 185118"/>
                  <a:gd name="connsiteX9" fmla="*/ 180501 w 185053"/>
                  <a:gd name="connsiteY9" fmla="*/ 98692 h 185118"/>
                  <a:gd name="connsiteX10" fmla="*/ 148032 w 185053"/>
                  <a:gd name="connsiteY10" fmla="*/ 66223 h 185118"/>
                  <a:gd name="connsiteX11" fmla="*/ 176930 w 185053"/>
                  <a:gd name="connsiteY11" fmla="*/ 37563 h 185118"/>
                  <a:gd name="connsiteX12" fmla="*/ 172264 w 185053"/>
                  <a:gd name="connsiteY12" fmla="*/ 33088 h 1851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85053" h="185118">
                    <a:moveTo>
                      <a:pt x="118657" y="36801"/>
                    </a:moveTo>
                    <a:lnTo>
                      <a:pt x="86427" y="4570"/>
                    </a:lnTo>
                    <a:cubicBezTo>
                      <a:pt x="80333" y="-1523"/>
                      <a:pt x="70382" y="-1523"/>
                      <a:pt x="64289" y="4570"/>
                    </a:cubicBezTo>
                    <a:cubicBezTo>
                      <a:pt x="64289" y="4570"/>
                      <a:pt x="24916" y="40610"/>
                      <a:pt x="8730" y="78554"/>
                    </a:cubicBezTo>
                    <a:cubicBezTo>
                      <a:pt x="-7457" y="116498"/>
                      <a:pt x="3826" y="151775"/>
                      <a:pt x="3826" y="151775"/>
                    </a:cubicBezTo>
                    <a:cubicBezTo>
                      <a:pt x="6064" y="159060"/>
                      <a:pt x="11872" y="169295"/>
                      <a:pt x="13824" y="171295"/>
                    </a:cubicBezTo>
                    <a:cubicBezTo>
                      <a:pt x="15776" y="173295"/>
                      <a:pt x="26059" y="179055"/>
                      <a:pt x="33343" y="181293"/>
                    </a:cubicBezTo>
                    <a:cubicBezTo>
                      <a:pt x="33343" y="181293"/>
                      <a:pt x="68573" y="192576"/>
                      <a:pt x="106517" y="176389"/>
                    </a:cubicBezTo>
                    <a:cubicBezTo>
                      <a:pt x="144509" y="160250"/>
                      <a:pt x="180501" y="120830"/>
                      <a:pt x="180501" y="120830"/>
                    </a:cubicBezTo>
                    <a:cubicBezTo>
                      <a:pt x="186547" y="114736"/>
                      <a:pt x="186595" y="104786"/>
                      <a:pt x="180501" y="98692"/>
                    </a:cubicBezTo>
                    <a:lnTo>
                      <a:pt x="148032" y="66223"/>
                    </a:lnTo>
                    <a:lnTo>
                      <a:pt x="176930" y="37563"/>
                    </a:lnTo>
                    <a:lnTo>
                      <a:pt x="172264" y="33088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207" name="Forma livre: Forma 2206">
                <a:extLst>
                  <a:ext uri="{FF2B5EF4-FFF2-40B4-BE49-F238E27FC236}">
                    <a16:creationId xmlns:a16="http://schemas.microsoft.com/office/drawing/2014/main" id="{A63F1D1F-BEA0-08B8-9510-33663B927F19}"/>
                  </a:ext>
                </a:extLst>
              </p:cNvPr>
              <p:cNvSpPr/>
              <p:nvPr/>
            </p:nvSpPr>
            <p:spPr>
              <a:xfrm>
                <a:off x="8316690" y="5733177"/>
                <a:ext cx="164546" cy="163832"/>
              </a:xfrm>
              <a:custGeom>
                <a:avLst/>
                <a:gdLst>
                  <a:gd name="connsiteX0" fmla="*/ 156632 w 164546"/>
                  <a:gd name="connsiteY0" fmla="*/ 59475 h 163832"/>
                  <a:gd name="connsiteX1" fmla="*/ 105119 w 164546"/>
                  <a:gd name="connsiteY1" fmla="*/ 7963 h 163832"/>
                  <a:gd name="connsiteX2" fmla="*/ 66557 w 164546"/>
                  <a:gd name="connsiteY2" fmla="*/ 7963 h 163832"/>
                  <a:gd name="connsiteX3" fmla="*/ 49132 w 164546"/>
                  <a:gd name="connsiteY3" fmla="*/ 25387 h 163832"/>
                  <a:gd name="connsiteX4" fmla="*/ 40943 w 164546"/>
                  <a:gd name="connsiteY4" fmla="*/ 62665 h 163832"/>
                  <a:gd name="connsiteX5" fmla="*/ 52941 w 164546"/>
                  <a:gd name="connsiteY5" fmla="*/ 93372 h 163832"/>
                  <a:gd name="connsiteX6" fmla="*/ 0 w 164546"/>
                  <a:gd name="connsiteY6" fmla="*/ 145741 h 163832"/>
                  <a:gd name="connsiteX7" fmla="*/ 18805 w 164546"/>
                  <a:gd name="connsiteY7" fmla="*/ 163832 h 163832"/>
                  <a:gd name="connsiteX8" fmla="*/ 18948 w 164546"/>
                  <a:gd name="connsiteY8" fmla="*/ 163832 h 163832"/>
                  <a:gd name="connsiteX9" fmla="*/ 71603 w 164546"/>
                  <a:gd name="connsiteY9" fmla="*/ 111225 h 163832"/>
                  <a:gd name="connsiteX10" fmla="*/ 101739 w 164546"/>
                  <a:gd name="connsiteY10" fmla="*/ 123175 h 163832"/>
                  <a:gd name="connsiteX11" fmla="*/ 139159 w 164546"/>
                  <a:gd name="connsiteY11" fmla="*/ 115462 h 163832"/>
                  <a:gd name="connsiteX12" fmla="*/ 156584 w 164546"/>
                  <a:gd name="connsiteY12" fmla="*/ 98038 h 163832"/>
                  <a:gd name="connsiteX13" fmla="*/ 156584 w 164546"/>
                  <a:gd name="connsiteY13" fmla="*/ 59522 h 1638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64546" h="163832">
                    <a:moveTo>
                      <a:pt x="156632" y="59475"/>
                    </a:moveTo>
                    <a:lnTo>
                      <a:pt x="105119" y="7963"/>
                    </a:lnTo>
                    <a:cubicBezTo>
                      <a:pt x="94503" y="-2654"/>
                      <a:pt x="77173" y="-2654"/>
                      <a:pt x="66557" y="7963"/>
                    </a:cubicBezTo>
                    <a:lnTo>
                      <a:pt x="49132" y="25387"/>
                    </a:lnTo>
                    <a:cubicBezTo>
                      <a:pt x="39991" y="34480"/>
                      <a:pt x="36468" y="50524"/>
                      <a:pt x="40943" y="62665"/>
                    </a:cubicBezTo>
                    <a:cubicBezTo>
                      <a:pt x="40943" y="62665"/>
                      <a:pt x="51274" y="90801"/>
                      <a:pt x="52941" y="93372"/>
                    </a:cubicBezTo>
                    <a:lnTo>
                      <a:pt x="0" y="145741"/>
                    </a:lnTo>
                    <a:lnTo>
                      <a:pt x="18805" y="163832"/>
                    </a:lnTo>
                    <a:lnTo>
                      <a:pt x="18948" y="163832"/>
                    </a:lnTo>
                    <a:cubicBezTo>
                      <a:pt x="18948" y="163832"/>
                      <a:pt x="71603" y="111225"/>
                      <a:pt x="71603" y="111225"/>
                    </a:cubicBezTo>
                    <a:cubicBezTo>
                      <a:pt x="72984" y="111987"/>
                      <a:pt x="101739" y="123175"/>
                      <a:pt x="101739" y="123175"/>
                    </a:cubicBezTo>
                    <a:cubicBezTo>
                      <a:pt x="113879" y="127983"/>
                      <a:pt x="129923" y="124651"/>
                      <a:pt x="139159" y="115462"/>
                    </a:cubicBezTo>
                    <a:lnTo>
                      <a:pt x="156584" y="98038"/>
                    </a:lnTo>
                    <a:cubicBezTo>
                      <a:pt x="167201" y="87421"/>
                      <a:pt x="167201" y="70139"/>
                      <a:pt x="156584" y="59522"/>
                    </a:cubicBezTo>
                    <a:close/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2208" name="Forma livre: Forma 2207">
              <a:extLst>
                <a:ext uri="{FF2B5EF4-FFF2-40B4-BE49-F238E27FC236}">
                  <a16:creationId xmlns:a16="http://schemas.microsoft.com/office/drawing/2014/main" id="{90850681-EED0-6E12-ED7C-83A0A708DC4F}"/>
                </a:ext>
              </a:extLst>
            </p:cNvPr>
            <p:cNvSpPr/>
            <p:nvPr/>
          </p:nvSpPr>
          <p:spPr>
            <a:xfrm>
              <a:off x="8246460" y="5891106"/>
              <a:ext cx="45568" cy="61414"/>
            </a:xfrm>
            <a:custGeom>
              <a:avLst/>
              <a:gdLst>
                <a:gd name="connsiteX0" fmla="*/ 4006 w 45568"/>
                <a:gd name="connsiteY0" fmla="*/ 61415 h 61414"/>
                <a:gd name="connsiteX1" fmla="*/ 4244 w 45568"/>
                <a:gd name="connsiteY1" fmla="*/ 41419 h 61414"/>
                <a:gd name="connsiteX2" fmla="*/ 45568 w 45568"/>
                <a:gd name="connsiteY2" fmla="*/ 0 h 614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5568" h="61414">
                  <a:moveTo>
                    <a:pt x="4006" y="61415"/>
                  </a:moveTo>
                  <a:cubicBezTo>
                    <a:pt x="-1421" y="55987"/>
                    <a:pt x="-1326" y="46989"/>
                    <a:pt x="4244" y="41419"/>
                  </a:cubicBezTo>
                  <a:lnTo>
                    <a:pt x="45568" y="0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209" name="Forma livre: Forma 2208">
              <a:extLst>
                <a:ext uri="{FF2B5EF4-FFF2-40B4-BE49-F238E27FC236}">
                  <a16:creationId xmlns:a16="http://schemas.microsoft.com/office/drawing/2014/main" id="{31DCD993-2F4E-45ED-5205-968BF004D28D}"/>
                </a:ext>
              </a:extLst>
            </p:cNvPr>
            <p:cNvSpPr/>
            <p:nvPr/>
          </p:nvSpPr>
          <p:spPr>
            <a:xfrm>
              <a:off x="8392149" y="5762992"/>
              <a:ext cx="58939" cy="64339"/>
            </a:xfrm>
            <a:custGeom>
              <a:avLst/>
              <a:gdLst>
                <a:gd name="connsiteX0" fmla="*/ 0 w 58939"/>
                <a:gd name="connsiteY0" fmla="*/ 10141 h 64339"/>
                <a:gd name="connsiteX1" fmla="*/ 10141 w 58939"/>
                <a:gd name="connsiteY1" fmla="*/ 0 h 64339"/>
                <a:gd name="connsiteX2" fmla="*/ 58939 w 58939"/>
                <a:gd name="connsiteY2" fmla="*/ 49560 h 64339"/>
                <a:gd name="connsiteX3" fmla="*/ 49179 w 58939"/>
                <a:gd name="connsiteY3" fmla="*/ 59320 h 64339"/>
                <a:gd name="connsiteX4" fmla="*/ 21233 w 58939"/>
                <a:gd name="connsiteY4" fmla="*/ 61034 h 643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8939" h="64339">
                  <a:moveTo>
                    <a:pt x="0" y="10141"/>
                  </a:moveTo>
                  <a:lnTo>
                    <a:pt x="10141" y="0"/>
                  </a:lnTo>
                  <a:cubicBezTo>
                    <a:pt x="21138" y="25994"/>
                    <a:pt x="33754" y="36944"/>
                    <a:pt x="58939" y="49560"/>
                  </a:cubicBezTo>
                  <a:lnTo>
                    <a:pt x="49179" y="59320"/>
                  </a:lnTo>
                  <a:cubicBezTo>
                    <a:pt x="49179" y="59320"/>
                    <a:pt x="36706" y="69365"/>
                    <a:pt x="21233" y="61034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2211" name="Gráfico 19">
            <a:extLst>
              <a:ext uri="{FF2B5EF4-FFF2-40B4-BE49-F238E27FC236}">
                <a16:creationId xmlns:a16="http://schemas.microsoft.com/office/drawing/2014/main" id="{709FC1FC-C13A-FB57-86DC-28549BEA75CE}"/>
              </a:ext>
            </a:extLst>
          </p:cNvPr>
          <p:cNvGrpSpPr/>
          <p:nvPr/>
        </p:nvGrpSpPr>
        <p:grpSpPr>
          <a:xfrm>
            <a:off x="10014325" y="5190415"/>
            <a:ext cx="198241" cy="356339"/>
            <a:chOff x="10014325" y="5190415"/>
            <a:chExt cx="198241" cy="356339"/>
          </a:xfrm>
          <a:noFill/>
        </p:grpSpPr>
        <p:sp>
          <p:nvSpPr>
            <p:cNvPr id="2212" name="Forma livre: Forma 2211">
              <a:extLst>
                <a:ext uri="{FF2B5EF4-FFF2-40B4-BE49-F238E27FC236}">
                  <a16:creationId xmlns:a16="http://schemas.microsoft.com/office/drawing/2014/main" id="{36A1E01F-F3A8-9766-0CD6-A366F94723AE}"/>
                </a:ext>
              </a:extLst>
            </p:cNvPr>
            <p:cNvSpPr/>
            <p:nvPr/>
          </p:nvSpPr>
          <p:spPr>
            <a:xfrm>
              <a:off x="10126205" y="5212401"/>
              <a:ext cx="29623" cy="67413"/>
            </a:xfrm>
            <a:custGeom>
              <a:avLst/>
              <a:gdLst>
                <a:gd name="connsiteX0" fmla="*/ 0 w 29623"/>
                <a:gd name="connsiteY0" fmla="*/ 0 h 67413"/>
                <a:gd name="connsiteX1" fmla="*/ 22233 w 29623"/>
                <a:gd name="connsiteY1" fmla="*/ 3761 h 67413"/>
                <a:gd name="connsiteX2" fmla="*/ 29374 w 29623"/>
                <a:gd name="connsiteY2" fmla="*/ 14473 h 67413"/>
                <a:gd name="connsiteX3" fmla="*/ 16996 w 29623"/>
                <a:gd name="connsiteY3" fmla="*/ 67413 h 674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9623" h="67413">
                  <a:moveTo>
                    <a:pt x="0" y="0"/>
                  </a:moveTo>
                  <a:lnTo>
                    <a:pt x="22233" y="3761"/>
                  </a:lnTo>
                  <a:cubicBezTo>
                    <a:pt x="27375" y="4570"/>
                    <a:pt x="30565" y="9379"/>
                    <a:pt x="29374" y="14473"/>
                  </a:cubicBezTo>
                  <a:lnTo>
                    <a:pt x="16996" y="67413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213" name="Forma livre: Forma 2212">
              <a:extLst>
                <a:ext uri="{FF2B5EF4-FFF2-40B4-BE49-F238E27FC236}">
                  <a16:creationId xmlns:a16="http://schemas.microsoft.com/office/drawing/2014/main" id="{87CDBAB0-5DF1-B4B9-0DAF-B79C621C66F9}"/>
                </a:ext>
              </a:extLst>
            </p:cNvPr>
            <p:cNvSpPr/>
            <p:nvPr/>
          </p:nvSpPr>
          <p:spPr>
            <a:xfrm>
              <a:off x="10059256" y="5212972"/>
              <a:ext cx="28433" cy="46037"/>
            </a:xfrm>
            <a:custGeom>
              <a:avLst/>
              <a:gdLst>
                <a:gd name="connsiteX0" fmla="*/ 28433 w 28433"/>
                <a:gd name="connsiteY0" fmla="*/ 0 h 46037"/>
                <a:gd name="connsiteX1" fmla="*/ 7390 w 28433"/>
                <a:gd name="connsiteY1" fmla="*/ 3142 h 46037"/>
                <a:gd name="connsiteX2" fmla="*/ 249 w 28433"/>
                <a:gd name="connsiteY2" fmla="*/ 13854 h 46037"/>
                <a:gd name="connsiteX3" fmla="*/ 7914 w 28433"/>
                <a:gd name="connsiteY3" fmla="*/ 46037 h 460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8433" h="46037">
                  <a:moveTo>
                    <a:pt x="28433" y="0"/>
                  </a:moveTo>
                  <a:lnTo>
                    <a:pt x="7390" y="3142"/>
                  </a:lnTo>
                  <a:cubicBezTo>
                    <a:pt x="2249" y="3951"/>
                    <a:pt x="-941" y="8760"/>
                    <a:pt x="249" y="13854"/>
                  </a:cubicBezTo>
                  <a:lnTo>
                    <a:pt x="7914" y="46037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214" name="Forma livre: Forma 2213">
              <a:extLst>
                <a:ext uri="{FF2B5EF4-FFF2-40B4-BE49-F238E27FC236}">
                  <a16:creationId xmlns:a16="http://schemas.microsoft.com/office/drawing/2014/main" id="{1BA09526-0C78-77E7-A14F-CF426B83C6DE}"/>
                </a:ext>
              </a:extLst>
            </p:cNvPr>
            <p:cNvSpPr/>
            <p:nvPr/>
          </p:nvSpPr>
          <p:spPr>
            <a:xfrm>
              <a:off x="10089833" y="5190415"/>
              <a:ext cx="34780" cy="84067"/>
            </a:xfrm>
            <a:custGeom>
              <a:avLst/>
              <a:gdLst>
                <a:gd name="connsiteX0" fmla="*/ 3426 w 34780"/>
                <a:gd name="connsiteY0" fmla="*/ 62501 h 84067"/>
                <a:gd name="connsiteX1" fmla="*/ 141 w 34780"/>
                <a:gd name="connsiteY1" fmla="*/ 19463 h 84067"/>
                <a:gd name="connsiteX2" fmla="*/ 17375 w 34780"/>
                <a:gd name="connsiteY2" fmla="*/ 38 h 84067"/>
                <a:gd name="connsiteX3" fmla="*/ 34562 w 34780"/>
                <a:gd name="connsiteY3" fmla="*/ 19463 h 84067"/>
                <a:gd name="connsiteX4" fmla="*/ 29611 w 34780"/>
                <a:gd name="connsiteY4" fmla="*/ 84067 h 840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780" h="84067">
                  <a:moveTo>
                    <a:pt x="3426" y="62501"/>
                  </a:moveTo>
                  <a:lnTo>
                    <a:pt x="141" y="19463"/>
                  </a:lnTo>
                  <a:cubicBezTo>
                    <a:pt x="-1192" y="-533"/>
                    <a:pt x="7092" y="38"/>
                    <a:pt x="17375" y="38"/>
                  </a:cubicBezTo>
                  <a:cubicBezTo>
                    <a:pt x="27659" y="38"/>
                    <a:pt x="36276" y="-1771"/>
                    <a:pt x="34562" y="19463"/>
                  </a:cubicBezTo>
                  <a:lnTo>
                    <a:pt x="29611" y="84067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215" name="Forma livre: Forma 2214">
              <a:extLst>
                <a:ext uri="{FF2B5EF4-FFF2-40B4-BE49-F238E27FC236}">
                  <a16:creationId xmlns:a16="http://schemas.microsoft.com/office/drawing/2014/main" id="{7A11550D-9020-58CF-C295-6ABF4E23C7C2}"/>
                </a:ext>
              </a:extLst>
            </p:cNvPr>
            <p:cNvSpPr/>
            <p:nvPr/>
          </p:nvSpPr>
          <p:spPr>
            <a:xfrm>
              <a:off x="10040616" y="5274435"/>
              <a:ext cx="135851" cy="175055"/>
            </a:xfrm>
            <a:custGeom>
              <a:avLst/>
              <a:gdLst>
                <a:gd name="connsiteX0" fmla="*/ 117534 w 135851"/>
                <a:gd name="connsiteY0" fmla="*/ 175056 h 175055"/>
                <a:gd name="connsiteX1" fmla="*/ 135816 w 135851"/>
                <a:gd name="connsiteY1" fmla="*/ 44419 h 175055"/>
                <a:gd name="connsiteX2" fmla="*/ 71306 w 135851"/>
                <a:gd name="connsiteY2" fmla="*/ 0 h 175055"/>
                <a:gd name="connsiteX3" fmla="*/ 67926 w 135851"/>
                <a:gd name="connsiteY3" fmla="*/ 0 h 175055"/>
                <a:gd name="connsiteX4" fmla="*/ 64546 w 135851"/>
                <a:gd name="connsiteY4" fmla="*/ 0 h 175055"/>
                <a:gd name="connsiteX5" fmla="*/ 36 w 135851"/>
                <a:gd name="connsiteY5" fmla="*/ 44419 h 175055"/>
                <a:gd name="connsiteX6" fmla="*/ 18889 w 135851"/>
                <a:gd name="connsiteY6" fmla="*/ 175056 h 1750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35851" h="175055">
                  <a:moveTo>
                    <a:pt x="117534" y="175056"/>
                  </a:moveTo>
                  <a:cubicBezTo>
                    <a:pt x="132293" y="103786"/>
                    <a:pt x="135816" y="44419"/>
                    <a:pt x="135816" y="44419"/>
                  </a:cubicBezTo>
                  <a:cubicBezTo>
                    <a:pt x="137625" y="1190"/>
                    <a:pt x="71306" y="0"/>
                    <a:pt x="71306" y="0"/>
                  </a:cubicBezTo>
                  <a:lnTo>
                    <a:pt x="67926" y="0"/>
                  </a:lnTo>
                  <a:cubicBezTo>
                    <a:pt x="67926" y="0"/>
                    <a:pt x="64546" y="0"/>
                    <a:pt x="64546" y="0"/>
                  </a:cubicBezTo>
                  <a:cubicBezTo>
                    <a:pt x="64546" y="0"/>
                    <a:pt x="-1773" y="1238"/>
                    <a:pt x="36" y="44419"/>
                  </a:cubicBezTo>
                  <a:cubicBezTo>
                    <a:pt x="36" y="44419"/>
                    <a:pt x="4416" y="104548"/>
                    <a:pt x="18889" y="175056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216" name="Forma livre: Forma 2215">
              <a:extLst>
                <a:ext uri="{FF2B5EF4-FFF2-40B4-BE49-F238E27FC236}">
                  <a16:creationId xmlns:a16="http://schemas.microsoft.com/office/drawing/2014/main" id="{67706545-B631-7F2C-8811-B7FBC1846FC2}"/>
                </a:ext>
              </a:extLst>
            </p:cNvPr>
            <p:cNvSpPr/>
            <p:nvPr/>
          </p:nvSpPr>
          <p:spPr>
            <a:xfrm>
              <a:off x="10043652" y="5335945"/>
              <a:ext cx="49179" cy="11441"/>
            </a:xfrm>
            <a:custGeom>
              <a:avLst/>
              <a:gdLst>
                <a:gd name="connsiteX0" fmla="*/ 0 w 49179"/>
                <a:gd name="connsiteY0" fmla="*/ 0 h 11441"/>
                <a:gd name="connsiteX1" fmla="*/ 49179 w 49179"/>
                <a:gd name="connsiteY1" fmla="*/ 11140 h 114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9179" h="11441">
                  <a:moveTo>
                    <a:pt x="0" y="0"/>
                  </a:moveTo>
                  <a:cubicBezTo>
                    <a:pt x="0" y="0"/>
                    <a:pt x="20757" y="13616"/>
                    <a:pt x="49179" y="1114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217" name="Forma livre: Forma 2216">
              <a:extLst>
                <a:ext uri="{FF2B5EF4-FFF2-40B4-BE49-F238E27FC236}">
                  <a16:creationId xmlns:a16="http://schemas.microsoft.com/office/drawing/2014/main" id="{07F5192C-D853-78B2-CF2D-83C4B27362E2}"/>
                </a:ext>
              </a:extLst>
            </p:cNvPr>
            <p:cNvSpPr/>
            <p:nvPr/>
          </p:nvSpPr>
          <p:spPr>
            <a:xfrm>
              <a:off x="10126157" y="5381982"/>
              <a:ext cx="42085" cy="9432"/>
            </a:xfrm>
            <a:custGeom>
              <a:avLst/>
              <a:gdLst>
                <a:gd name="connsiteX0" fmla="*/ 42086 w 42085"/>
                <a:gd name="connsiteY0" fmla="*/ 0 h 9432"/>
                <a:gd name="connsiteX1" fmla="*/ 0 w 42085"/>
                <a:gd name="connsiteY1" fmla="*/ 9141 h 94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2085" h="9432">
                  <a:moveTo>
                    <a:pt x="42086" y="0"/>
                  </a:moveTo>
                  <a:cubicBezTo>
                    <a:pt x="42086" y="0"/>
                    <a:pt x="26327" y="11378"/>
                    <a:pt x="0" y="9141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218" name="Forma livre: Forma 2217">
              <a:extLst>
                <a:ext uri="{FF2B5EF4-FFF2-40B4-BE49-F238E27FC236}">
                  <a16:creationId xmlns:a16="http://schemas.microsoft.com/office/drawing/2014/main" id="{B8639298-23A7-EC5A-35CE-F092C08B8AC3}"/>
                </a:ext>
              </a:extLst>
            </p:cNvPr>
            <p:cNvSpPr/>
            <p:nvPr/>
          </p:nvSpPr>
          <p:spPr>
            <a:xfrm>
              <a:off x="10054030" y="5415308"/>
              <a:ext cx="45418" cy="10219"/>
            </a:xfrm>
            <a:custGeom>
              <a:avLst/>
              <a:gdLst>
                <a:gd name="connsiteX0" fmla="*/ 0 w 45418"/>
                <a:gd name="connsiteY0" fmla="*/ 0 h 10219"/>
                <a:gd name="connsiteX1" fmla="*/ 45418 w 45418"/>
                <a:gd name="connsiteY1" fmla="*/ 9902 h 102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5418" h="10219">
                  <a:moveTo>
                    <a:pt x="0" y="0"/>
                  </a:moveTo>
                  <a:cubicBezTo>
                    <a:pt x="0" y="0"/>
                    <a:pt x="17044" y="12331"/>
                    <a:pt x="45418" y="9902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219" name="Forma livre: Forma 2218">
              <a:extLst>
                <a:ext uri="{FF2B5EF4-FFF2-40B4-BE49-F238E27FC236}">
                  <a16:creationId xmlns:a16="http://schemas.microsoft.com/office/drawing/2014/main" id="{889B46C4-58F1-F911-8C27-D4B2F6845216}"/>
                </a:ext>
              </a:extLst>
            </p:cNvPr>
            <p:cNvSpPr/>
            <p:nvPr/>
          </p:nvSpPr>
          <p:spPr>
            <a:xfrm>
              <a:off x="10047841" y="5374079"/>
              <a:ext cx="28945" cy="7622"/>
            </a:xfrm>
            <a:custGeom>
              <a:avLst/>
              <a:gdLst>
                <a:gd name="connsiteX0" fmla="*/ 0 w 28945"/>
                <a:gd name="connsiteY0" fmla="*/ 0 h 7622"/>
                <a:gd name="connsiteX1" fmla="*/ 28946 w 28945"/>
                <a:gd name="connsiteY1" fmla="*/ 7617 h 76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8945" h="7622">
                  <a:moveTo>
                    <a:pt x="0" y="0"/>
                  </a:moveTo>
                  <a:cubicBezTo>
                    <a:pt x="0" y="0"/>
                    <a:pt x="11426" y="7855"/>
                    <a:pt x="28946" y="7617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220" name="Forma livre: Forma 2219">
              <a:extLst>
                <a:ext uri="{FF2B5EF4-FFF2-40B4-BE49-F238E27FC236}">
                  <a16:creationId xmlns:a16="http://schemas.microsoft.com/office/drawing/2014/main" id="{5CDFF704-4DDE-01EE-123C-9EEC76C68C31}"/>
                </a:ext>
              </a:extLst>
            </p:cNvPr>
            <p:cNvSpPr/>
            <p:nvPr/>
          </p:nvSpPr>
          <p:spPr>
            <a:xfrm>
              <a:off x="10095259" y="5508953"/>
              <a:ext cx="58939" cy="20090"/>
            </a:xfrm>
            <a:custGeom>
              <a:avLst/>
              <a:gdLst>
                <a:gd name="connsiteX0" fmla="*/ 58939 w 58939"/>
                <a:gd name="connsiteY0" fmla="*/ 20091 h 20090"/>
                <a:gd name="connsiteX1" fmla="*/ 29374 w 58939"/>
                <a:gd name="connsiteY1" fmla="*/ 0 h 20090"/>
                <a:gd name="connsiteX2" fmla="*/ 0 w 58939"/>
                <a:gd name="connsiteY2" fmla="*/ 19853 h 200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58939" h="20090">
                  <a:moveTo>
                    <a:pt x="58939" y="20091"/>
                  </a:moveTo>
                  <a:cubicBezTo>
                    <a:pt x="54274" y="8331"/>
                    <a:pt x="42800" y="0"/>
                    <a:pt x="29374" y="0"/>
                  </a:cubicBezTo>
                  <a:cubicBezTo>
                    <a:pt x="16187" y="0"/>
                    <a:pt x="4856" y="8427"/>
                    <a:pt x="0" y="19853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221" name="Forma livre: Forma 2220">
              <a:extLst>
                <a:ext uri="{FF2B5EF4-FFF2-40B4-BE49-F238E27FC236}">
                  <a16:creationId xmlns:a16="http://schemas.microsoft.com/office/drawing/2014/main" id="{3FA6A28A-CB09-4262-0B6C-8848741B99C7}"/>
                </a:ext>
              </a:extLst>
            </p:cNvPr>
            <p:cNvSpPr/>
            <p:nvPr/>
          </p:nvSpPr>
          <p:spPr>
            <a:xfrm>
              <a:off x="10169147" y="5520080"/>
              <a:ext cx="32611" cy="26674"/>
            </a:xfrm>
            <a:custGeom>
              <a:avLst/>
              <a:gdLst>
                <a:gd name="connsiteX0" fmla="*/ 32612 w 32611"/>
                <a:gd name="connsiteY0" fmla="*/ 26675 h 26674"/>
                <a:gd name="connsiteX1" fmla="*/ 14711 w 32611"/>
                <a:gd name="connsiteY1" fmla="*/ 1633 h 26674"/>
                <a:gd name="connsiteX2" fmla="*/ 0 w 32611"/>
                <a:gd name="connsiteY2" fmla="*/ 585 h 266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2611" h="26674">
                  <a:moveTo>
                    <a:pt x="32612" y="26675"/>
                  </a:moveTo>
                  <a:cubicBezTo>
                    <a:pt x="32326" y="15772"/>
                    <a:pt x="25518" y="5632"/>
                    <a:pt x="14711" y="1633"/>
                  </a:cubicBezTo>
                  <a:cubicBezTo>
                    <a:pt x="9855" y="-176"/>
                    <a:pt x="4761" y="-415"/>
                    <a:pt x="0" y="585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222" name="Forma livre: Forma 2221">
              <a:extLst>
                <a:ext uri="{FF2B5EF4-FFF2-40B4-BE49-F238E27FC236}">
                  <a16:creationId xmlns:a16="http://schemas.microsoft.com/office/drawing/2014/main" id="{BE6FEFE0-2742-A84F-E81D-397AA1E5F08D}"/>
                </a:ext>
              </a:extLst>
            </p:cNvPr>
            <p:cNvSpPr/>
            <p:nvPr/>
          </p:nvSpPr>
          <p:spPr>
            <a:xfrm>
              <a:off x="10014325" y="5456108"/>
              <a:ext cx="198241" cy="40847"/>
            </a:xfrm>
            <a:custGeom>
              <a:avLst/>
              <a:gdLst>
                <a:gd name="connsiteX0" fmla="*/ 198241 w 198241"/>
                <a:gd name="connsiteY0" fmla="*/ 40610 h 40847"/>
                <a:gd name="connsiteX1" fmla="*/ 173533 w 198241"/>
                <a:gd name="connsiteY1" fmla="*/ 14806 h 40847"/>
                <a:gd name="connsiteX2" fmla="*/ 140683 w 198241"/>
                <a:gd name="connsiteY2" fmla="*/ 28136 h 40847"/>
                <a:gd name="connsiteX3" fmla="*/ 99264 w 198241"/>
                <a:gd name="connsiteY3" fmla="*/ 0 h 40847"/>
                <a:gd name="connsiteX4" fmla="*/ 57511 w 198241"/>
                <a:gd name="connsiteY4" fmla="*/ 28327 h 40847"/>
                <a:gd name="connsiteX5" fmla="*/ 24709 w 198241"/>
                <a:gd name="connsiteY5" fmla="*/ 15044 h 40847"/>
                <a:gd name="connsiteX6" fmla="*/ 0 w 198241"/>
                <a:gd name="connsiteY6" fmla="*/ 40848 h 408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98241" h="40847">
                  <a:moveTo>
                    <a:pt x="198241" y="40610"/>
                  </a:moveTo>
                  <a:cubicBezTo>
                    <a:pt x="196099" y="28136"/>
                    <a:pt x="186625" y="17615"/>
                    <a:pt x="173533" y="14806"/>
                  </a:cubicBezTo>
                  <a:cubicBezTo>
                    <a:pt x="160631" y="12045"/>
                    <a:pt x="147776" y="17948"/>
                    <a:pt x="140683" y="28136"/>
                  </a:cubicBezTo>
                  <a:cubicBezTo>
                    <a:pt x="133875" y="11997"/>
                    <a:pt x="117878" y="0"/>
                    <a:pt x="99264" y="0"/>
                  </a:cubicBezTo>
                  <a:cubicBezTo>
                    <a:pt x="80649" y="0"/>
                    <a:pt x="64129" y="11759"/>
                    <a:pt x="57511" y="28327"/>
                  </a:cubicBezTo>
                  <a:cubicBezTo>
                    <a:pt x="50370" y="18186"/>
                    <a:pt x="37563" y="12283"/>
                    <a:pt x="24709" y="15044"/>
                  </a:cubicBezTo>
                  <a:cubicBezTo>
                    <a:pt x="11569" y="17853"/>
                    <a:pt x="2095" y="28375"/>
                    <a:pt x="0" y="40848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2223" name="Gráfico 19">
            <a:extLst>
              <a:ext uri="{FF2B5EF4-FFF2-40B4-BE49-F238E27FC236}">
                <a16:creationId xmlns:a16="http://schemas.microsoft.com/office/drawing/2014/main" id="{DF5F17B3-D7F9-4632-5A76-9F7070E50FE5}"/>
              </a:ext>
            </a:extLst>
          </p:cNvPr>
          <p:cNvGrpSpPr/>
          <p:nvPr/>
        </p:nvGrpSpPr>
        <p:grpSpPr>
          <a:xfrm>
            <a:off x="10541540" y="5251086"/>
            <a:ext cx="386294" cy="235062"/>
            <a:chOff x="10541540" y="5251086"/>
            <a:chExt cx="386294" cy="235062"/>
          </a:xfrm>
          <a:noFill/>
        </p:grpSpPr>
        <p:grpSp>
          <p:nvGrpSpPr>
            <p:cNvPr id="2224" name="Gráfico 19">
              <a:extLst>
                <a:ext uri="{FF2B5EF4-FFF2-40B4-BE49-F238E27FC236}">
                  <a16:creationId xmlns:a16="http://schemas.microsoft.com/office/drawing/2014/main" id="{181B6E64-EFFA-1E64-8BBF-E39945DF3693}"/>
                </a:ext>
              </a:extLst>
            </p:cNvPr>
            <p:cNvGrpSpPr/>
            <p:nvPr/>
          </p:nvGrpSpPr>
          <p:grpSpPr>
            <a:xfrm>
              <a:off x="10541540" y="5251086"/>
              <a:ext cx="369897" cy="235062"/>
              <a:chOff x="10541540" y="5251086"/>
              <a:chExt cx="369897" cy="235062"/>
            </a:xfrm>
            <a:noFill/>
          </p:grpSpPr>
          <p:sp>
            <p:nvSpPr>
              <p:cNvPr id="2225" name="Forma livre: Forma 2224">
                <a:extLst>
                  <a:ext uri="{FF2B5EF4-FFF2-40B4-BE49-F238E27FC236}">
                    <a16:creationId xmlns:a16="http://schemas.microsoft.com/office/drawing/2014/main" id="{ADF7F98C-95F3-7A6B-9625-1D79ED324177}"/>
                  </a:ext>
                </a:extLst>
              </p:cNvPr>
              <p:cNvSpPr/>
              <p:nvPr/>
            </p:nvSpPr>
            <p:spPr>
              <a:xfrm>
                <a:off x="10836570" y="5251086"/>
                <a:ext cx="74868" cy="83429"/>
              </a:xfrm>
              <a:custGeom>
                <a:avLst/>
                <a:gdLst>
                  <a:gd name="connsiteX0" fmla="*/ 0 w 74868"/>
                  <a:gd name="connsiteY0" fmla="*/ 9732 h 83429"/>
                  <a:gd name="connsiteX1" fmla="*/ 36849 w 74868"/>
                  <a:gd name="connsiteY1" fmla="*/ 6542 h 83429"/>
                  <a:gd name="connsiteX2" fmla="*/ 66414 w 74868"/>
                  <a:gd name="connsiteY2" fmla="*/ 31918 h 83429"/>
                  <a:gd name="connsiteX3" fmla="*/ 67842 w 74868"/>
                  <a:gd name="connsiteY3" fmla="*/ 68862 h 83429"/>
                  <a:gd name="connsiteX4" fmla="*/ 54892 w 74868"/>
                  <a:gd name="connsiteY4" fmla="*/ 83430 h 834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4868" h="83429">
                    <a:moveTo>
                      <a:pt x="0" y="9732"/>
                    </a:moveTo>
                    <a:cubicBezTo>
                      <a:pt x="12283" y="-2551"/>
                      <a:pt x="26327" y="-2741"/>
                      <a:pt x="36849" y="6542"/>
                    </a:cubicBezTo>
                    <a:lnTo>
                      <a:pt x="66414" y="31918"/>
                    </a:lnTo>
                    <a:cubicBezTo>
                      <a:pt x="76888" y="41201"/>
                      <a:pt x="77935" y="58769"/>
                      <a:pt x="67842" y="68862"/>
                    </a:cubicBezTo>
                    <a:lnTo>
                      <a:pt x="54892" y="8343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226" name="Forma livre: Forma 2225">
                <a:extLst>
                  <a:ext uri="{FF2B5EF4-FFF2-40B4-BE49-F238E27FC236}">
                    <a16:creationId xmlns:a16="http://schemas.microsoft.com/office/drawing/2014/main" id="{6877A58C-B3C1-71A4-A2B6-B16A512FB05A}"/>
                  </a:ext>
                </a:extLst>
              </p:cNvPr>
              <p:cNvSpPr/>
              <p:nvPr/>
            </p:nvSpPr>
            <p:spPr>
              <a:xfrm>
                <a:off x="10541540" y="5447491"/>
                <a:ext cx="285" cy="38610"/>
              </a:xfrm>
              <a:custGeom>
                <a:avLst/>
                <a:gdLst>
                  <a:gd name="connsiteX0" fmla="*/ 286 w 285"/>
                  <a:gd name="connsiteY0" fmla="*/ 0 h 38610"/>
                  <a:gd name="connsiteX1" fmla="*/ 0 w 285"/>
                  <a:gd name="connsiteY1" fmla="*/ 6856 h 38610"/>
                  <a:gd name="connsiteX2" fmla="*/ 0 w 285"/>
                  <a:gd name="connsiteY2" fmla="*/ 38610 h 386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85" h="38610">
                    <a:moveTo>
                      <a:pt x="286" y="0"/>
                    </a:moveTo>
                    <a:cubicBezTo>
                      <a:pt x="95" y="2285"/>
                      <a:pt x="0" y="4571"/>
                      <a:pt x="0" y="6856"/>
                    </a:cubicBezTo>
                    <a:lnTo>
                      <a:pt x="0" y="38610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227" name="Forma livre: Forma 2226">
                <a:extLst>
                  <a:ext uri="{FF2B5EF4-FFF2-40B4-BE49-F238E27FC236}">
                    <a16:creationId xmlns:a16="http://schemas.microsoft.com/office/drawing/2014/main" id="{D1FA3653-37BA-D5C7-2A87-9070BC740A23}"/>
                  </a:ext>
                </a:extLst>
              </p:cNvPr>
              <p:cNvSpPr/>
              <p:nvPr/>
            </p:nvSpPr>
            <p:spPr>
              <a:xfrm>
                <a:off x="10545682" y="5384600"/>
                <a:ext cx="36229" cy="44180"/>
              </a:xfrm>
              <a:custGeom>
                <a:avLst/>
                <a:gdLst>
                  <a:gd name="connsiteX0" fmla="*/ 36230 w 36229"/>
                  <a:gd name="connsiteY0" fmla="*/ 0 h 44180"/>
                  <a:gd name="connsiteX1" fmla="*/ 0 w 36229"/>
                  <a:gd name="connsiteY1" fmla="*/ 44181 h 441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6229" h="44180">
                    <a:moveTo>
                      <a:pt x="36230" y="0"/>
                    </a:moveTo>
                    <a:cubicBezTo>
                      <a:pt x="19329" y="9712"/>
                      <a:pt x="6284" y="25375"/>
                      <a:pt x="0" y="44181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228" name="Forma livre: Forma 2227">
                <a:extLst>
                  <a:ext uri="{FF2B5EF4-FFF2-40B4-BE49-F238E27FC236}">
                    <a16:creationId xmlns:a16="http://schemas.microsoft.com/office/drawing/2014/main" id="{367FE6AC-4247-A4A2-8767-A2CD82D53398}"/>
                  </a:ext>
                </a:extLst>
              </p:cNvPr>
              <p:cNvSpPr/>
              <p:nvPr/>
            </p:nvSpPr>
            <p:spPr>
              <a:xfrm>
                <a:off x="10598194" y="5373936"/>
                <a:ext cx="23804" cy="3570"/>
              </a:xfrm>
              <a:custGeom>
                <a:avLst/>
                <a:gdLst>
                  <a:gd name="connsiteX0" fmla="*/ 23804 w 23804"/>
                  <a:gd name="connsiteY0" fmla="*/ 0 h 3570"/>
                  <a:gd name="connsiteX1" fmla="*/ 0 w 23804"/>
                  <a:gd name="connsiteY1" fmla="*/ 3571 h 35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3804" h="3570">
                    <a:moveTo>
                      <a:pt x="23804" y="0"/>
                    </a:moveTo>
                    <a:cubicBezTo>
                      <a:pt x="15520" y="0"/>
                      <a:pt x="7522" y="1238"/>
                      <a:pt x="0" y="3571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229" name="Forma livre: Forma 2228">
                <a:extLst>
                  <a:ext uri="{FF2B5EF4-FFF2-40B4-BE49-F238E27FC236}">
                    <a16:creationId xmlns:a16="http://schemas.microsoft.com/office/drawing/2014/main" id="{D7F58D16-E22A-3B0D-7316-CD8732BA53B7}"/>
                  </a:ext>
                </a:extLst>
              </p:cNvPr>
              <p:cNvSpPr/>
              <p:nvPr/>
            </p:nvSpPr>
            <p:spPr>
              <a:xfrm>
                <a:off x="10572391" y="5469962"/>
                <a:ext cx="4760" cy="16186"/>
              </a:xfrm>
              <a:custGeom>
                <a:avLst/>
                <a:gdLst>
                  <a:gd name="connsiteX0" fmla="*/ 0 w 4760"/>
                  <a:gd name="connsiteY0" fmla="*/ 0 h 16186"/>
                  <a:gd name="connsiteX1" fmla="*/ 0 w 4760"/>
                  <a:gd name="connsiteY1" fmla="*/ 16187 h 161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60" h="16186">
                    <a:moveTo>
                      <a:pt x="0" y="0"/>
                    </a:moveTo>
                    <a:lnTo>
                      <a:pt x="0" y="16187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230" name="Forma livre: Forma 2229">
                <a:extLst>
                  <a:ext uri="{FF2B5EF4-FFF2-40B4-BE49-F238E27FC236}">
                    <a16:creationId xmlns:a16="http://schemas.microsoft.com/office/drawing/2014/main" id="{239B5BD1-A664-21A2-0445-8A90EC156A41}"/>
                  </a:ext>
                </a:extLst>
              </p:cNvPr>
              <p:cNvSpPr/>
              <p:nvPr/>
            </p:nvSpPr>
            <p:spPr>
              <a:xfrm>
                <a:off x="10572533" y="5404786"/>
                <a:ext cx="49465" cy="46132"/>
              </a:xfrm>
              <a:custGeom>
                <a:avLst/>
                <a:gdLst>
                  <a:gd name="connsiteX0" fmla="*/ 49465 w 49465"/>
                  <a:gd name="connsiteY0" fmla="*/ 0 h 46132"/>
                  <a:gd name="connsiteX1" fmla="*/ 0 w 49465"/>
                  <a:gd name="connsiteY1" fmla="*/ 46133 h 461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9465" h="46132">
                    <a:moveTo>
                      <a:pt x="49465" y="0"/>
                    </a:moveTo>
                    <a:cubicBezTo>
                      <a:pt x="23281" y="0"/>
                      <a:pt x="1761" y="20424"/>
                      <a:pt x="0" y="46133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231" name="Forma livre: Forma 2230">
                <a:extLst>
                  <a:ext uri="{FF2B5EF4-FFF2-40B4-BE49-F238E27FC236}">
                    <a16:creationId xmlns:a16="http://schemas.microsoft.com/office/drawing/2014/main" id="{CE9A6D7B-D712-D82D-DBEC-E3D35535588D}"/>
                  </a:ext>
                </a:extLst>
              </p:cNvPr>
              <p:cNvSpPr/>
              <p:nvPr/>
            </p:nvSpPr>
            <p:spPr>
              <a:xfrm>
                <a:off x="10603384" y="5435637"/>
                <a:ext cx="18710" cy="50512"/>
              </a:xfrm>
              <a:custGeom>
                <a:avLst/>
                <a:gdLst>
                  <a:gd name="connsiteX0" fmla="*/ 18710 w 18710"/>
                  <a:gd name="connsiteY0" fmla="*/ 0 h 50512"/>
                  <a:gd name="connsiteX1" fmla="*/ 0 w 18710"/>
                  <a:gd name="connsiteY1" fmla="*/ 18758 h 50512"/>
                  <a:gd name="connsiteX2" fmla="*/ 0 w 18710"/>
                  <a:gd name="connsiteY2" fmla="*/ 50513 h 505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8710" h="50512">
                    <a:moveTo>
                      <a:pt x="18710" y="0"/>
                    </a:moveTo>
                    <a:cubicBezTo>
                      <a:pt x="8379" y="0"/>
                      <a:pt x="0" y="8427"/>
                      <a:pt x="0" y="18758"/>
                    </a:cubicBezTo>
                    <a:lnTo>
                      <a:pt x="0" y="50513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232" name="Forma livre: Forma 2231">
                <a:extLst>
                  <a:ext uri="{FF2B5EF4-FFF2-40B4-BE49-F238E27FC236}">
                    <a16:creationId xmlns:a16="http://schemas.microsoft.com/office/drawing/2014/main" id="{6D6BE30C-2B58-A473-8CA4-CC60388F3CDB}"/>
                  </a:ext>
                </a:extLst>
              </p:cNvPr>
              <p:cNvSpPr/>
              <p:nvPr/>
            </p:nvSpPr>
            <p:spPr>
              <a:xfrm>
                <a:off x="10811099" y="5304333"/>
                <a:ext cx="39038" cy="34278"/>
              </a:xfrm>
              <a:custGeom>
                <a:avLst/>
                <a:gdLst>
                  <a:gd name="connsiteX0" fmla="*/ 0 w 39038"/>
                  <a:gd name="connsiteY0" fmla="*/ 0 h 34278"/>
                  <a:gd name="connsiteX1" fmla="*/ 39039 w 39038"/>
                  <a:gd name="connsiteY1" fmla="*/ 34278 h 342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9038" h="34278">
                    <a:moveTo>
                      <a:pt x="0" y="0"/>
                    </a:moveTo>
                    <a:lnTo>
                      <a:pt x="39039" y="34278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2233" name="Forma livre: Forma 2232">
              <a:extLst>
                <a:ext uri="{FF2B5EF4-FFF2-40B4-BE49-F238E27FC236}">
                  <a16:creationId xmlns:a16="http://schemas.microsoft.com/office/drawing/2014/main" id="{1AFCB375-6169-44BC-F59A-448021DDA63E}"/>
                </a:ext>
              </a:extLst>
            </p:cNvPr>
            <p:cNvSpPr/>
            <p:nvPr/>
          </p:nvSpPr>
          <p:spPr>
            <a:xfrm>
              <a:off x="10647517" y="5262199"/>
              <a:ext cx="280318" cy="205287"/>
            </a:xfrm>
            <a:custGeom>
              <a:avLst/>
              <a:gdLst>
                <a:gd name="connsiteX0" fmla="*/ 41181 w 280318"/>
                <a:gd name="connsiteY0" fmla="*/ 138112 h 205287"/>
                <a:gd name="connsiteX1" fmla="*/ 41181 w 280318"/>
                <a:gd name="connsiteY1" fmla="*/ 123544 h 205287"/>
                <a:gd name="connsiteX2" fmla="*/ 17663 w 280318"/>
                <a:gd name="connsiteY2" fmla="*/ 101549 h 205287"/>
                <a:gd name="connsiteX3" fmla="*/ 0 w 280318"/>
                <a:gd name="connsiteY3" fmla="*/ 101549 h 205287"/>
                <a:gd name="connsiteX4" fmla="*/ 0 w 280318"/>
                <a:gd name="connsiteY4" fmla="*/ 178293 h 205287"/>
                <a:gd name="connsiteX5" fmla="*/ 17663 w 280318"/>
                <a:gd name="connsiteY5" fmla="*/ 178293 h 205287"/>
                <a:gd name="connsiteX6" fmla="*/ 41943 w 280318"/>
                <a:gd name="connsiteY6" fmla="*/ 156203 h 205287"/>
                <a:gd name="connsiteX7" fmla="*/ 137017 w 280318"/>
                <a:gd name="connsiteY7" fmla="*/ 156203 h 205287"/>
                <a:gd name="connsiteX8" fmla="*/ 180674 w 280318"/>
                <a:gd name="connsiteY8" fmla="*/ 205287 h 205287"/>
                <a:gd name="connsiteX9" fmla="*/ 280318 w 280318"/>
                <a:gd name="connsiteY9" fmla="*/ 105738 h 205287"/>
                <a:gd name="connsiteX10" fmla="*/ 160297 w 280318"/>
                <a:gd name="connsiteY10" fmla="*/ 0 h 205287"/>
                <a:gd name="connsiteX11" fmla="*/ 74936 w 280318"/>
                <a:gd name="connsiteY11" fmla="*/ 85267 h 205287"/>
                <a:gd name="connsiteX12" fmla="*/ 102787 w 280318"/>
                <a:gd name="connsiteY12" fmla="*/ 117021 h 205287"/>
                <a:gd name="connsiteX13" fmla="*/ 41372 w 280318"/>
                <a:gd name="connsiteY13" fmla="*/ 123496 h 2052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80318" h="205287">
                  <a:moveTo>
                    <a:pt x="41181" y="138112"/>
                  </a:moveTo>
                  <a:lnTo>
                    <a:pt x="41181" y="123544"/>
                  </a:lnTo>
                  <a:lnTo>
                    <a:pt x="17663" y="101549"/>
                  </a:lnTo>
                  <a:lnTo>
                    <a:pt x="0" y="101549"/>
                  </a:lnTo>
                  <a:lnTo>
                    <a:pt x="0" y="178293"/>
                  </a:lnTo>
                  <a:lnTo>
                    <a:pt x="17663" y="178293"/>
                  </a:lnTo>
                  <a:lnTo>
                    <a:pt x="41943" y="156203"/>
                  </a:lnTo>
                  <a:lnTo>
                    <a:pt x="137017" y="156203"/>
                  </a:lnTo>
                  <a:lnTo>
                    <a:pt x="180674" y="205287"/>
                  </a:lnTo>
                  <a:lnTo>
                    <a:pt x="280318" y="105738"/>
                  </a:lnTo>
                  <a:lnTo>
                    <a:pt x="160297" y="0"/>
                  </a:lnTo>
                  <a:lnTo>
                    <a:pt x="74936" y="85267"/>
                  </a:lnTo>
                  <a:lnTo>
                    <a:pt x="102787" y="117021"/>
                  </a:lnTo>
                  <a:lnTo>
                    <a:pt x="41372" y="123496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2234" name="Gráfico 19">
            <a:extLst>
              <a:ext uri="{FF2B5EF4-FFF2-40B4-BE49-F238E27FC236}">
                <a16:creationId xmlns:a16="http://schemas.microsoft.com/office/drawing/2014/main" id="{4B416278-5206-4F5E-1368-5FFB9F31EC43}"/>
              </a:ext>
            </a:extLst>
          </p:cNvPr>
          <p:cNvGrpSpPr/>
          <p:nvPr/>
        </p:nvGrpSpPr>
        <p:grpSpPr>
          <a:xfrm>
            <a:off x="11211724" y="5191834"/>
            <a:ext cx="288554" cy="353539"/>
            <a:chOff x="11211724" y="5191834"/>
            <a:chExt cx="288554" cy="353539"/>
          </a:xfrm>
          <a:noFill/>
        </p:grpSpPr>
        <p:sp>
          <p:nvSpPr>
            <p:cNvPr id="2235" name="Forma livre: Forma 2234">
              <a:extLst>
                <a:ext uri="{FF2B5EF4-FFF2-40B4-BE49-F238E27FC236}">
                  <a16:creationId xmlns:a16="http://schemas.microsoft.com/office/drawing/2014/main" id="{C42BEB72-0D6B-4B68-C144-C4E42D766039}"/>
                </a:ext>
              </a:extLst>
            </p:cNvPr>
            <p:cNvSpPr/>
            <p:nvPr/>
          </p:nvSpPr>
          <p:spPr>
            <a:xfrm>
              <a:off x="11291944" y="5191834"/>
              <a:ext cx="128685" cy="163772"/>
            </a:xfrm>
            <a:custGeom>
              <a:avLst/>
              <a:gdLst>
                <a:gd name="connsiteX0" fmla="*/ 0 w 128685"/>
                <a:gd name="connsiteY0" fmla="*/ 137493 h 163772"/>
                <a:gd name="connsiteX1" fmla="*/ 63843 w 128685"/>
                <a:gd name="connsiteY1" fmla="*/ 0 h 163772"/>
                <a:gd name="connsiteX2" fmla="*/ 128686 w 128685"/>
                <a:gd name="connsiteY2" fmla="*/ 163773 h 1637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8685" h="163772">
                  <a:moveTo>
                    <a:pt x="0" y="137493"/>
                  </a:moveTo>
                  <a:cubicBezTo>
                    <a:pt x="4713" y="59653"/>
                    <a:pt x="31517" y="0"/>
                    <a:pt x="63843" y="0"/>
                  </a:cubicBezTo>
                  <a:cubicBezTo>
                    <a:pt x="99502" y="0"/>
                    <a:pt x="128686" y="74269"/>
                    <a:pt x="128686" y="163773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236" name="Forma livre: Forma 2235">
              <a:extLst>
                <a:ext uri="{FF2B5EF4-FFF2-40B4-BE49-F238E27FC236}">
                  <a16:creationId xmlns:a16="http://schemas.microsoft.com/office/drawing/2014/main" id="{6A60547F-23F9-B698-D068-DB8ADC7BAE62}"/>
                </a:ext>
              </a:extLst>
            </p:cNvPr>
            <p:cNvSpPr/>
            <p:nvPr/>
          </p:nvSpPr>
          <p:spPr>
            <a:xfrm>
              <a:off x="11374973" y="5231016"/>
              <a:ext cx="13758" cy="148633"/>
            </a:xfrm>
            <a:custGeom>
              <a:avLst/>
              <a:gdLst>
                <a:gd name="connsiteX0" fmla="*/ 13759 w 13758"/>
                <a:gd name="connsiteY0" fmla="*/ 148633 h 148633"/>
                <a:gd name="connsiteX1" fmla="*/ 0 w 13758"/>
                <a:gd name="connsiteY1" fmla="*/ 0 h 1486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3758" h="148633">
                  <a:moveTo>
                    <a:pt x="13759" y="148633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237" name="Forma livre: Forma 2236">
              <a:extLst>
                <a:ext uri="{FF2B5EF4-FFF2-40B4-BE49-F238E27FC236}">
                  <a16:creationId xmlns:a16="http://schemas.microsoft.com/office/drawing/2014/main" id="{87E70051-09AD-85D5-7F1D-8D662F77E187}"/>
                </a:ext>
              </a:extLst>
            </p:cNvPr>
            <p:cNvSpPr/>
            <p:nvPr/>
          </p:nvSpPr>
          <p:spPr>
            <a:xfrm>
              <a:off x="11347598" y="5231159"/>
              <a:ext cx="46084" cy="143539"/>
            </a:xfrm>
            <a:custGeom>
              <a:avLst/>
              <a:gdLst>
                <a:gd name="connsiteX0" fmla="*/ 46085 w 46084"/>
                <a:gd name="connsiteY0" fmla="*/ 143539 h 143539"/>
                <a:gd name="connsiteX1" fmla="*/ 0 w 46084"/>
                <a:gd name="connsiteY1" fmla="*/ 143539 h 143539"/>
                <a:gd name="connsiteX2" fmla="*/ 0 w 46084"/>
                <a:gd name="connsiteY2" fmla="*/ 0 h 1435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6084" h="143539">
                  <a:moveTo>
                    <a:pt x="46085" y="143539"/>
                  </a:moveTo>
                  <a:lnTo>
                    <a:pt x="0" y="143539"/>
                  </a:lnTo>
                  <a:lnTo>
                    <a:pt x="0" y="0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238" name="Forma livre: Forma 2237">
              <a:extLst>
                <a:ext uri="{FF2B5EF4-FFF2-40B4-BE49-F238E27FC236}">
                  <a16:creationId xmlns:a16="http://schemas.microsoft.com/office/drawing/2014/main" id="{BA0EF571-C68E-FBA8-4B99-3A3ACFD642D9}"/>
                </a:ext>
              </a:extLst>
            </p:cNvPr>
            <p:cNvSpPr/>
            <p:nvPr/>
          </p:nvSpPr>
          <p:spPr>
            <a:xfrm>
              <a:off x="11323032" y="5310331"/>
              <a:ext cx="94931" cy="4760"/>
            </a:xfrm>
            <a:custGeom>
              <a:avLst/>
              <a:gdLst>
                <a:gd name="connsiteX0" fmla="*/ 94931 w 94931"/>
                <a:gd name="connsiteY0" fmla="*/ 0 h 4760"/>
                <a:gd name="connsiteX1" fmla="*/ 0 w 94931"/>
                <a:gd name="connsiteY1" fmla="*/ 0 h 47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4931" h="4760">
                  <a:moveTo>
                    <a:pt x="94931" y="0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239" name="Forma livre: Forma 2238">
              <a:extLst>
                <a:ext uri="{FF2B5EF4-FFF2-40B4-BE49-F238E27FC236}">
                  <a16:creationId xmlns:a16="http://schemas.microsoft.com/office/drawing/2014/main" id="{AFE3225E-D0AD-0D33-6AB3-B1FFB2C2AB7C}"/>
                </a:ext>
              </a:extLst>
            </p:cNvPr>
            <p:cNvSpPr/>
            <p:nvPr/>
          </p:nvSpPr>
          <p:spPr>
            <a:xfrm>
              <a:off x="11328079" y="5278148"/>
              <a:ext cx="84504" cy="4760"/>
            </a:xfrm>
            <a:custGeom>
              <a:avLst/>
              <a:gdLst>
                <a:gd name="connsiteX0" fmla="*/ 84505 w 84504"/>
                <a:gd name="connsiteY0" fmla="*/ 0 h 4760"/>
                <a:gd name="connsiteX1" fmla="*/ 0 w 84504"/>
                <a:gd name="connsiteY1" fmla="*/ 0 h 47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4504" h="4760">
                  <a:moveTo>
                    <a:pt x="84505" y="0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240" name="Forma livre: Forma 2239">
              <a:extLst>
                <a:ext uri="{FF2B5EF4-FFF2-40B4-BE49-F238E27FC236}">
                  <a16:creationId xmlns:a16="http://schemas.microsoft.com/office/drawing/2014/main" id="{564A1EC4-C6C1-1448-D30E-365FC80E1DE8}"/>
                </a:ext>
              </a:extLst>
            </p:cNvPr>
            <p:cNvSpPr/>
            <p:nvPr/>
          </p:nvSpPr>
          <p:spPr>
            <a:xfrm>
              <a:off x="11335268" y="5245965"/>
              <a:ext cx="68032" cy="4760"/>
            </a:xfrm>
            <a:custGeom>
              <a:avLst/>
              <a:gdLst>
                <a:gd name="connsiteX0" fmla="*/ 68032 w 68032"/>
                <a:gd name="connsiteY0" fmla="*/ 0 h 4760"/>
                <a:gd name="connsiteX1" fmla="*/ 0 w 68032"/>
                <a:gd name="connsiteY1" fmla="*/ 0 h 47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8032" h="4760">
                  <a:moveTo>
                    <a:pt x="68032" y="0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241" name="Forma livre: Forma 2240">
              <a:extLst>
                <a:ext uri="{FF2B5EF4-FFF2-40B4-BE49-F238E27FC236}">
                  <a16:creationId xmlns:a16="http://schemas.microsoft.com/office/drawing/2014/main" id="{93C9C8BF-2038-5660-6D32-55181316CBE6}"/>
                </a:ext>
              </a:extLst>
            </p:cNvPr>
            <p:cNvSpPr/>
            <p:nvPr/>
          </p:nvSpPr>
          <p:spPr>
            <a:xfrm>
              <a:off x="11340076" y="5515381"/>
              <a:ext cx="31754" cy="29993"/>
            </a:xfrm>
            <a:custGeom>
              <a:avLst/>
              <a:gdLst>
                <a:gd name="connsiteX0" fmla="*/ 31755 w 31754"/>
                <a:gd name="connsiteY0" fmla="*/ 0 h 29993"/>
                <a:gd name="connsiteX1" fmla="*/ 31755 w 31754"/>
                <a:gd name="connsiteY1" fmla="*/ 29993 h 29993"/>
                <a:gd name="connsiteX2" fmla="*/ 0 w 31754"/>
                <a:gd name="connsiteY2" fmla="*/ 29993 h 29993"/>
                <a:gd name="connsiteX3" fmla="*/ 0 w 31754"/>
                <a:gd name="connsiteY3" fmla="*/ 0 h 299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1754" h="29993">
                  <a:moveTo>
                    <a:pt x="31755" y="0"/>
                  </a:moveTo>
                  <a:lnTo>
                    <a:pt x="31755" y="29993"/>
                  </a:lnTo>
                  <a:lnTo>
                    <a:pt x="0" y="29993"/>
                  </a:lnTo>
                  <a:lnTo>
                    <a:pt x="0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242" name="Forma livre: Forma 2241">
              <a:extLst>
                <a:ext uri="{FF2B5EF4-FFF2-40B4-BE49-F238E27FC236}">
                  <a16:creationId xmlns:a16="http://schemas.microsoft.com/office/drawing/2014/main" id="{F34AA28B-87FC-7C2B-49EA-D84ED7DF957F}"/>
                </a:ext>
              </a:extLst>
            </p:cNvPr>
            <p:cNvSpPr/>
            <p:nvPr/>
          </p:nvSpPr>
          <p:spPr>
            <a:xfrm>
              <a:off x="11320223" y="5342515"/>
              <a:ext cx="99739" cy="4760"/>
            </a:xfrm>
            <a:custGeom>
              <a:avLst/>
              <a:gdLst>
                <a:gd name="connsiteX0" fmla="*/ 99740 w 99739"/>
                <a:gd name="connsiteY0" fmla="*/ 0 h 4760"/>
                <a:gd name="connsiteX1" fmla="*/ 0 w 99739"/>
                <a:gd name="connsiteY1" fmla="*/ 0 h 47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9739" h="4760">
                  <a:moveTo>
                    <a:pt x="99740" y="0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243" name="Forma livre: Forma 2242">
              <a:extLst>
                <a:ext uri="{FF2B5EF4-FFF2-40B4-BE49-F238E27FC236}">
                  <a16:creationId xmlns:a16="http://schemas.microsoft.com/office/drawing/2014/main" id="{017F5502-C9C7-B435-22D2-5584C50B2EEB}"/>
                </a:ext>
              </a:extLst>
            </p:cNvPr>
            <p:cNvSpPr/>
            <p:nvPr/>
          </p:nvSpPr>
          <p:spPr>
            <a:xfrm>
              <a:off x="11211724" y="5323614"/>
              <a:ext cx="288554" cy="192528"/>
            </a:xfrm>
            <a:custGeom>
              <a:avLst/>
              <a:gdLst>
                <a:gd name="connsiteX0" fmla="*/ 133161 w 288554"/>
                <a:gd name="connsiteY0" fmla="*/ 84029 h 192528"/>
                <a:gd name="connsiteX1" fmla="*/ 0 w 288554"/>
                <a:gd name="connsiteY1" fmla="*/ 0 h 192528"/>
                <a:gd name="connsiteX2" fmla="*/ 72508 w 288554"/>
                <a:gd name="connsiteY2" fmla="*/ 81791 h 192528"/>
                <a:gd name="connsiteX3" fmla="*/ 72508 w 288554"/>
                <a:gd name="connsiteY3" fmla="*/ 120116 h 192528"/>
                <a:gd name="connsiteX4" fmla="*/ 143016 w 288554"/>
                <a:gd name="connsiteY4" fmla="*/ 192528 h 192528"/>
                <a:gd name="connsiteX5" fmla="*/ 216047 w 288554"/>
                <a:gd name="connsiteY5" fmla="*/ 120116 h 192528"/>
                <a:gd name="connsiteX6" fmla="*/ 216047 w 288554"/>
                <a:gd name="connsiteY6" fmla="*/ 81791 h 192528"/>
                <a:gd name="connsiteX7" fmla="*/ 288555 w 288554"/>
                <a:gd name="connsiteY7" fmla="*/ 0 h 192528"/>
                <a:gd name="connsiteX8" fmla="*/ 139017 w 288554"/>
                <a:gd name="connsiteY8" fmla="*/ 151823 h 1925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8554" h="192528">
                  <a:moveTo>
                    <a:pt x="133161" y="84029"/>
                  </a:moveTo>
                  <a:cubicBezTo>
                    <a:pt x="114308" y="52798"/>
                    <a:pt x="75935" y="18758"/>
                    <a:pt x="0" y="0"/>
                  </a:cubicBezTo>
                  <a:cubicBezTo>
                    <a:pt x="0" y="0"/>
                    <a:pt x="72508" y="38706"/>
                    <a:pt x="72508" y="81791"/>
                  </a:cubicBezTo>
                  <a:lnTo>
                    <a:pt x="72508" y="120116"/>
                  </a:lnTo>
                  <a:cubicBezTo>
                    <a:pt x="72508" y="119402"/>
                    <a:pt x="69461" y="192576"/>
                    <a:pt x="143016" y="192528"/>
                  </a:cubicBezTo>
                  <a:cubicBezTo>
                    <a:pt x="219427" y="192433"/>
                    <a:pt x="216047" y="120116"/>
                    <a:pt x="216047" y="120116"/>
                  </a:cubicBezTo>
                  <a:lnTo>
                    <a:pt x="216047" y="81791"/>
                  </a:lnTo>
                  <a:cubicBezTo>
                    <a:pt x="216047" y="38753"/>
                    <a:pt x="288555" y="0"/>
                    <a:pt x="288555" y="0"/>
                  </a:cubicBezTo>
                  <a:cubicBezTo>
                    <a:pt x="127686" y="39658"/>
                    <a:pt x="139017" y="151823"/>
                    <a:pt x="139017" y="151823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2244" name="Gráfico 19">
            <a:extLst>
              <a:ext uri="{FF2B5EF4-FFF2-40B4-BE49-F238E27FC236}">
                <a16:creationId xmlns:a16="http://schemas.microsoft.com/office/drawing/2014/main" id="{37B118F4-006E-4FAE-FE48-95D6532C6AC0}"/>
              </a:ext>
            </a:extLst>
          </p:cNvPr>
          <p:cNvGrpSpPr/>
          <p:nvPr/>
        </p:nvGrpSpPr>
        <p:grpSpPr>
          <a:xfrm>
            <a:off x="9916347" y="3625566"/>
            <a:ext cx="394149" cy="285888"/>
            <a:chOff x="9916347" y="3625566"/>
            <a:chExt cx="394149" cy="285888"/>
          </a:xfrm>
          <a:noFill/>
        </p:grpSpPr>
        <p:sp>
          <p:nvSpPr>
            <p:cNvPr id="2245" name="Forma livre: Forma 2244">
              <a:extLst>
                <a:ext uri="{FF2B5EF4-FFF2-40B4-BE49-F238E27FC236}">
                  <a16:creationId xmlns:a16="http://schemas.microsoft.com/office/drawing/2014/main" id="{84BE6E19-4434-897E-476C-4F7C5A295B7A}"/>
                </a:ext>
              </a:extLst>
            </p:cNvPr>
            <p:cNvSpPr/>
            <p:nvPr/>
          </p:nvSpPr>
          <p:spPr>
            <a:xfrm>
              <a:off x="9937056" y="3631136"/>
              <a:ext cx="66080" cy="13806"/>
            </a:xfrm>
            <a:custGeom>
              <a:avLst/>
              <a:gdLst>
                <a:gd name="connsiteX0" fmla="*/ 66080 w 66080"/>
                <a:gd name="connsiteY0" fmla="*/ 13806 h 13806"/>
                <a:gd name="connsiteX1" fmla="*/ 52703 w 66080"/>
                <a:gd name="connsiteY1" fmla="*/ 13806 h 13806"/>
                <a:gd name="connsiteX2" fmla="*/ 38896 w 66080"/>
                <a:gd name="connsiteY2" fmla="*/ 0 h 13806"/>
                <a:gd name="connsiteX3" fmla="*/ 25090 w 66080"/>
                <a:gd name="connsiteY3" fmla="*/ 13806 h 13806"/>
                <a:gd name="connsiteX4" fmla="*/ 0 w 66080"/>
                <a:gd name="connsiteY4" fmla="*/ 13806 h 13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6080" h="13806">
                  <a:moveTo>
                    <a:pt x="66080" y="13806"/>
                  </a:moveTo>
                  <a:lnTo>
                    <a:pt x="52703" y="13806"/>
                  </a:lnTo>
                  <a:cubicBezTo>
                    <a:pt x="52703" y="6189"/>
                    <a:pt x="46513" y="0"/>
                    <a:pt x="38896" y="0"/>
                  </a:cubicBezTo>
                  <a:cubicBezTo>
                    <a:pt x="31279" y="0"/>
                    <a:pt x="25090" y="6189"/>
                    <a:pt x="25090" y="13806"/>
                  </a:cubicBezTo>
                  <a:lnTo>
                    <a:pt x="0" y="13806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246" name="Forma livre: Forma 2245">
              <a:extLst>
                <a:ext uri="{FF2B5EF4-FFF2-40B4-BE49-F238E27FC236}">
                  <a16:creationId xmlns:a16="http://schemas.microsoft.com/office/drawing/2014/main" id="{BFBE3EA2-9A53-B04E-6F6B-D0DB2A7DB83B}"/>
                </a:ext>
              </a:extLst>
            </p:cNvPr>
            <p:cNvSpPr/>
            <p:nvPr/>
          </p:nvSpPr>
          <p:spPr>
            <a:xfrm>
              <a:off x="9962003" y="3667890"/>
              <a:ext cx="27565" cy="4760"/>
            </a:xfrm>
            <a:custGeom>
              <a:avLst/>
              <a:gdLst>
                <a:gd name="connsiteX0" fmla="*/ 0 w 27565"/>
                <a:gd name="connsiteY0" fmla="*/ 0 h 4760"/>
                <a:gd name="connsiteX1" fmla="*/ 27565 w 27565"/>
                <a:gd name="connsiteY1" fmla="*/ 0 h 47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7565" h="4760">
                  <a:moveTo>
                    <a:pt x="0" y="0"/>
                  </a:moveTo>
                  <a:lnTo>
                    <a:pt x="27565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247" name="Forma livre: Forma 2246">
              <a:extLst>
                <a:ext uri="{FF2B5EF4-FFF2-40B4-BE49-F238E27FC236}">
                  <a16:creationId xmlns:a16="http://schemas.microsoft.com/office/drawing/2014/main" id="{61188D7B-4785-C3C8-6DD7-184C2613A6E3}"/>
                </a:ext>
              </a:extLst>
            </p:cNvPr>
            <p:cNvSpPr/>
            <p:nvPr/>
          </p:nvSpPr>
          <p:spPr>
            <a:xfrm>
              <a:off x="9923488" y="3673508"/>
              <a:ext cx="11521" cy="4760"/>
            </a:xfrm>
            <a:custGeom>
              <a:avLst/>
              <a:gdLst>
                <a:gd name="connsiteX0" fmla="*/ 0 w 11521"/>
                <a:gd name="connsiteY0" fmla="*/ 0 h 4760"/>
                <a:gd name="connsiteX1" fmla="*/ 11521 w 11521"/>
                <a:gd name="connsiteY1" fmla="*/ 0 h 47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521" h="4760">
                  <a:moveTo>
                    <a:pt x="0" y="0"/>
                  </a:moveTo>
                  <a:lnTo>
                    <a:pt x="11521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248" name="Forma livre: Forma 2247">
              <a:extLst>
                <a:ext uri="{FF2B5EF4-FFF2-40B4-BE49-F238E27FC236}">
                  <a16:creationId xmlns:a16="http://schemas.microsoft.com/office/drawing/2014/main" id="{D27CE160-38D8-1F35-A908-6E174F037B06}"/>
                </a:ext>
              </a:extLst>
            </p:cNvPr>
            <p:cNvSpPr/>
            <p:nvPr/>
          </p:nvSpPr>
          <p:spPr>
            <a:xfrm>
              <a:off x="10113160" y="3835186"/>
              <a:ext cx="4760" cy="76268"/>
            </a:xfrm>
            <a:custGeom>
              <a:avLst/>
              <a:gdLst>
                <a:gd name="connsiteX0" fmla="*/ 0 w 4760"/>
                <a:gd name="connsiteY0" fmla="*/ 0 h 76268"/>
                <a:gd name="connsiteX1" fmla="*/ 0 w 4760"/>
                <a:gd name="connsiteY1" fmla="*/ 76269 h 762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760" h="76268">
                  <a:moveTo>
                    <a:pt x="0" y="0"/>
                  </a:moveTo>
                  <a:lnTo>
                    <a:pt x="0" y="76269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2249" name="Gráfico 19">
              <a:extLst>
                <a:ext uri="{FF2B5EF4-FFF2-40B4-BE49-F238E27FC236}">
                  <a16:creationId xmlns:a16="http://schemas.microsoft.com/office/drawing/2014/main" id="{8B5F125F-B331-98A4-B781-D5F0933BA53F}"/>
                </a:ext>
              </a:extLst>
            </p:cNvPr>
            <p:cNvGrpSpPr/>
            <p:nvPr/>
          </p:nvGrpSpPr>
          <p:grpSpPr>
            <a:xfrm>
              <a:off x="9916347" y="3835376"/>
              <a:ext cx="393626" cy="75792"/>
              <a:chOff x="9916347" y="3835376"/>
              <a:chExt cx="393626" cy="75792"/>
            </a:xfrm>
          </p:grpSpPr>
          <p:grpSp>
            <p:nvGrpSpPr>
              <p:cNvPr id="2250" name="Gráfico 19">
                <a:extLst>
                  <a:ext uri="{FF2B5EF4-FFF2-40B4-BE49-F238E27FC236}">
                    <a16:creationId xmlns:a16="http://schemas.microsoft.com/office/drawing/2014/main" id="{FD60EA16-F926-5E21-3B9D-9BA942E6A599}"/>
                  </a:ext>
                </a:extLst>
              </p:cNvPr>
              <p:cNvGrpSpPr/>
              <p:nvPr/>
            </p:nvGrpSpPr>
            <p:grpSpPr>
              <a:xfrm>
                <a:off x="10149295" y="3835376"/>
                <a:ext cx="160678" cy="75792"/>
                <a:chOff x="10149295" y="3835376"/>
                <a:chExt cx="160678" cy="75792"/>
              </a:xfrm>
            </p:grpSpPr>
            <p:sp>
              <p:nvSpPr>
                <p:cNvPr id="2251" name="Forma livre: Forma 2250">
                  <a:extLst>
                    <a:ext uri="{FF2B5EF4-FFF2-40B4-BE49-F238E27FC236}">
                      <a16:creationId xmlns:a16="http://schemas.microsoft.com/office/drawing/2014/main" id="{6310CCF8-612D-2AF7-BD8A-FFEF3DE894C7}"/>
                    </a:ext>
                  </a:extLst>
                </p:cNvPr>
                <p:cNvSpPr/>
                <p:nvPr/>
              </p:nvSpPr>
              <p:spPr>
                <a:xfrm>
                  <a:off x="10149295" y="3835757"/>
                  <a:ext cx="21280" cy="75411"/>
                </a:xfrm>
                <a:custGeom>
                  <a:avLst/>
                  <a:gdLst>
                    <a:gd name="connsiteX0" fmla="*/ 0 w 21280"/>
                    <a:gd name="connsiteY0" fmla="*/ 0 h 75411"/>
                    <a:gd name="connsiteX1" fmla="*/ 21281 w 21280"/>
                    <a:gd name="connsiteY1" fmla="*/ 75412 h 7541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1280" h="75411">
                      <a:moveTo>
                        <a:pt x="0" y="0"/>
                      </a:moveTo>
                      <a:lnTo>
                        <a:pt x="21281" y="75412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252" name="Forma livre: Forma 2251">
                  <a:extLst>
                    <a:ext uri="{FF2B5EF4-FFF2-40B4-BE49-F238E27FC236}">
                      <a16:creationId xmlns:a16="http://schemas.microsoft.com/office/drawing/2014/main" id="{AB1C0DF2-E934-3EAB-3341-47DF3FBB1A9C}"/>
                    </a:ext>
                  </a:extLst>
                </p:cNvPr>
                <p:cNvSpPr/>
                <p:nvPr/>
              </p:nvSpPr>
              <p:spPr>
                <a:xfrm>
                  <a:off x="10186001" y="3835709"/>
                  <a:ext cx="51464" cy="74745"/>
                </a:xfrm>
                <a:custGeom>
                  <a:avLst/>
                  <a:gdLst>
                    <a:gd name="connsiteX0" fmla="*/ 0 w 51464"/>
                    <a:gd name="connsiteY0" fmla="*/ 0 h 74745"/>
                    <a:gd name="connsiteX1" fmla="*/ 51465 w 51464"/>
                    <a:gd name="connsiteY1" fmla="*/ 74745 h 7474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51464" h="74745">
                      <a:moveTo>
                        <a:pt x="0" y="0"/>
                      </a:moveTo>
                      <a:lnTo>
                        <a:pt x="51465" y="74745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253" name="Forma livre: Forma 2252">
                  <a:extLst>
                    <a:ext uri="{FF2B5EF4-FFF2-40B4-BE49-F238E27FC236}">
                      <a16:creationId xmlns:a16="http://schemas.microsoft.com/office/drawing/2014/main" id="{6255FD84-01F1-5EE4-DDD5-A765FBC4A228}"/>
                    </a:ext>
                  </a:extLst>
                </p:cNvPr>
                <p:cNvSpPr/>
                <p:nvPr/>
              </p:nvSpPr>
              <p:spPr>
                <a:xfrm>
                  <a:off x="10223754" y="3835376"/>
                  <a:ext cx="86218" cy="73888"/>
                </a:xfrm>
                <a:custGeom>
                  <a:avLst/>
                  <a:gdLst>
                    <a:gd name="connsiteX0" fmla="*/ 0 w 86218"/>
                    <a:gd name="connsiteY0" fmla="*/ 0 h 73888"/>
                    <a:gd name="connsiteX1" fmla="*/ 86219 w 86218"/>
                    <a:gd name="connsiteY1" fmla="*/ 73888 h 7388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86218" h="73888">
                      <a:moveTo>
                        <a:pt x="0" y="0"/>
                      </a:moveTo>
                      <a:lnTo>
                        <a:pt x="86219" y="73888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2254" name="Gráfico 19">
                <a:extLst>
                  <a:ext uri="{FF2B5EF4-FFF2-40B4-BE49-F238E27FC236}">
                    <a16:creationId xmlns:a16="http://schemas.microsoft.com/office/drawing/2014/main" id="{7C143294-D22D-2321-98A7-02BD23B83ACD}"/>
                  </a:ext>
                </a:extLst>
              </p:cNvPr>
              <p:cNvGrpSpPr/>
              <p:nvPr/>
            </p:nvGrpSpPr>
            <p:grpSpPr>
              <a:xfrm>
                <a:off x="9916347" y="3835376"/>
                <a:ext cx="160678" cy="75792"/>
                <a:chOff x="9916347" y="3835376"/>
                <a:chExt cx="160678" cy="75792"/>
              </a:xfrm>
            </p:grpSpPr>
            <p:sp>
              <p:nvSpPr>
                <p:cNvPr id="2255" name="Forma livre: Forma 2254">
                  <a:extLst>
                    <a:ext uri="{FF2B5EF4-FFF2-40B4-BE49-F238E27FC236}">
                      <a16:creationId xmlns:a16="http://schemas.microsoft.com/office/drawing/2014/main" id="{455E614D-DB16-BD21-7006-C13C58626BD4}"/>
                    </a:ext>
                  </a:extLst>
                </p:cNvPr>
                <p:cNvSpPr/>
                <p:nvPr/>
              </p:nvSpPr>
              <p:spPr>
                <a:xfrm>
                  <a:off x="10055744" y="3835757"/>
                  <a:ext cx="21280" cy="75411"/>
                </a:xfrm>
                <a:custGeom>
                  <a:avLst/>
                  <a:gdLst>
                    <a:gd name="connsiteX0" fmla="*/ 21281 w 21280"/>
                    <a:gd name="connsiteY0" fmla="*/ 0 h 75411"/>
                    <a:gd name="connsiteX1" fmla="*/ 0 w 21280"/>
                    <a:gd name="connsiteY1" fmla="*/ 75412 h 7541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1280" h="75411">
                      <a:moveTo>
                        <a:pt x="21281" y="0"/>
                      </a:moveTo>
                      <a:lnTo>
                        <a:pt x="0" y="75412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256" name="Forma livre: Forma 2255">
                  <a:extLst>
                    <a:ext uri="{FF2B5EF4-FFF2-40B4-BE49-F238E27FC236}">
                      <a16:creationId xmlns:a16="http://schemas.microsoft.com/office/drawing/2014/main" id="{F5D6C3F3-28C9-D142-460C-2388D0B3B6E4}"/>
                    </a:ext>
                  </a:extLst>
                </p:cNvPr>
                <p:cNvSpPr/>
                <p:nvPr/>
              </p:nvSpPr>
              <p:spPr>
                <a:xfrm>
                  <a:off x="9988854" y="3835709"/>
                  <a:ext cx="51512" cy="74745"/>
                </a:xfrm>
                <a:custGeom>
                  <a:avLst/>
                  <a:gdLst>
                    <a:gd name="connsiteX0" fmla="*/ 51512 w 51512"/>
                    <a:gd name="connsiteY0" fmla="*/ 0 h 74745"/>
                    <a:gd name="connsiteX1" fmla="*/ 0 w 51512"/>
                    <a:gd name="connsiteY1" fmla="*/ 74745 h 7474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51512" h="74745">
                      <a:moveTo>
                        <a:pt x="51512" y="0"/>
                      </a:moveTo>
                      <a:lnTo>
                        <a:pt x="0" y="74745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257" name="Forma livre: Forma 2256">
                  <a:extLst>
                    <a:ext uri="{FF2B5EF4-FFF2-40B4-BE49-F238E27FC236}">
                      <a16:creationId xmlns:a16="http://schemas.microsoft.com/office/drawing/2014/main" id="{D689D199-A66F-1295-76BA-B57FD01D30B2}"/>
                    </a:ext>
                  </a:extLst>
                </p:cNvPr>
                <p:cNvSpPr/>
                <p:nvPr/>
              </p:nvSpPr>
              <p:spPr>
                <a:xfrm>
                  <a:off x="9916347" y="3835376"/>
                  <a:ext cx="86266" cy="73888"/>
                </a:xfrm>
                <a:custGeom>
                  <a:avLst/>
                  <a:gdLst>
                    <a:gd name="connsiteX0" fmla="*/ 86266 w 86266"/>
                    <a:gd name="connsiteY0" fmla="*/ 0 h 73888"/>
                    <a:gd name="connsiteX1" fmla="*/ 0 w 86266"/>
                    <a:gd name="connsiteY1" fmla="*/ 73888 h 7388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86266" h="73888">
                      <a:moveTo>
                        <a:pt x="86266" y="0"/>
                      </a:moveTo>
                      <a:lnTo>
                        <a:pt x="0" y="73888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sp>
          <p:nvSpPr>
            <p:cNvPr id="2258" name="Forma livre: Forma 2257">
              <a:extLst>
                <a:ext uri="{FF2B5EF4-FFF2-40B4-BE49-F238E27FC236}">
                  <a16:creationId xmlns:a16="http://schemas.microsoft.com/office/drawing/2014/main" id="{4B36B7C2-FE7F-B27E-61AB-474442C3BC64}"/>
                </a:ext>
              </a:extLst>
            </p:cNvPr>
            <p:cNvSpPr/>
            <p:nvPr/>
          </p:nvSpPr>
          <p:spPr>
            <a:xfrm>
              <a:off x="9965764" y="3834900"/>
              <a:ext cx="294791" cy="4760"/>
            </a:xfrm>
            <a:custGeom>
              <a:avLst/>
              <a:gdLst>
                <a:gd name="connsiteX0" fmla="*/ 0 w 294791"/>
                <a:gd name="connsiteY0" fmla="*/ 0 h 4760"/>
                <a:gd name="connsiteX1" fmla="*/ 294791 w 294791"/>
                <a:gd name="connsiteY1" fmla="*/ 0 h 47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94791" h="4760">
                  <a:moveTo>
                    <a:pt x="0" y="0"/>
                  </a:moveTo>
                  <a:lnTo>
                    <a:pt x="294791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259" name="Forma livre: Forma 2258">
              <a:extLst>
                <a:ext uri="{FF2B5EF4-FFF2-40B4-BE49-F238E27FC236}">
                  <a16:creationId xmlns:a16="http://schemas.microsoft.com/office/drawing/2014/main" id="{091F180C-8176-86C8-70C7-D925D387E0B5}"/>
                </a:ext>
              </a:extLst>
            </p:cNvPr>
            <p:cNvSpPr/>
            <p:nvPr/>
          </p:nvSpPr>
          <p:spPr>
            <a:xfrm>
              <a:off x="10123015" y="3625566"/>
              <a:ext cx="93455" cy="126400"/>
            </a:xfrm>
            <a:custGeom>
              <a:avLst/>
              <a:gdLst>
                <a:gd name="connsiteX0" fmla="*/ 22043 w 93455"/>
                <a:gd name="connsiteY0" fmla="*/ 126400 h 126400"/>
                <a:gd name="connsiteX1" fmla="*/ 0 w 93455"/>
                <a:gd name="connsiteY1" fmla="*/ 84410 h 126400"/>
                <a:gd name="connsiteX2" fmla="*/ 22043 w 93455"/>
                <a:gd name="connsiteY2" fmla="*/ 0 h 126400"/>
                <a:gd name="connsiteX3" fmla="*/ 70841 w 93455"/>
                <a:gd name="connsiteY3" fmla="*/ 0 h 126400"/>
                <a:gd name="connsiteX4" fmla="*/ 93455 w 93455"/>
                <a:gd name="connsiteY4" fmla="*/ 84410 h 126400"/>
                <a:gd name="connsiteX5" fmla="*/ 70841 w 93455"/>
                <a:gd name="connsiteY5" fmla="*/ 126400 h 126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3455" h="126400">
                  <a:moveTo>
                    <a:pt x="22043" y="126400"/>
                  </a:moveTo>
                  <a:lnTo>
                    <a:pt x="0" y="84410"/>
                  </a:lnTo>
                  <a:lnTo>
                    <a:pt x="22043" y="0"/>
                  </a:lnTo>
                  <a:lnTo>
                    <a:pt x="70841" y="0"/>
                  </a:lnTo>
                  <a:lnTo>
                    <a:pt x="93455" y="84410"/>
                  </a:lnTo>
                  <a:lnTo>
                    <a:pt x="70841" y="12640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260" name="Forma livre: Forma 2259">
              <a:extLst>
                <a:ext uri="{FF2B5EF4-FFF2-40B4-BE49-F238E27FC236}">
                  <a16:creationId xmlns:a16="http://schemas.microsoft.com/office/drawing/2014/main" id="{201CAC06-2F29-F151-D557-E6C4C87EAD9A}"/>
                </a:ext>
              </a:extLst>
            </p:cNvPr>
            <p:cNvSpPr/>
            <p:nvPr/>
          </p:nvSpPr>
          <p:spPr>
            <a:xfrm>
              <a:off x="10019467" y="3660558"/>
              <a:ext cx="93931" cy="91217"/>
            </a:xfrm>
            <a:custGeom>
              <a:avLst/>
              <a:gdLst>
                <a:gd name="connsiteX0" fmla="*/ 93931 w 93931"/>
                <a:gd name="connsiteY0" fmla="*/ 0 h 91217"/>
                <a:gd name="connsiteX1" fmla="*/ 24804 w 93931"/>
                <a:gd name="connsiteY1" fmla="*/ 0 h 91217"/>
                <a:gd name="connsiteX2" fmla="*/ 0 w 93931"/>
                <a:gd name="connsiteY2" fmla="*/ 48180 h 91217"/>
                <a:gd name="connsiteX3" fmla="*/ 0 w 93931"/>
                <a:gd name="connsiteY3" fmla="*/ 61082 h 91217"/>
                <a:gd name="connsiteX4" fmla="*/ 24804 w 93931"/>
                <a:gd name="connsiteY4" fmla="*/ 91218 h 912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3931" h="91217">
                  <a:moveTo>
                    <a:pt x="93931" y="0"/>
                  </a:moveTo>
                  <a:lnTo>
                    <a:pt x="24804" y="0"/>
                  </a:lnTo>
                  <a:lnTo>
                    <a:pt x="0" y="48180"/>
                  </a:lnTo>
                  <a:lnTo>
                    <a:pt x="0" y="61082"/>
                  </a:lnTo>
                  <a:lnTo>
                    <a:pt x="24804" y="91218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261" name="Forma livre: Forma 2260">
              <a:extLst>
                <a:ext uri="{FF2B5EF4-FFF2-40B4-BE49-F238E27FC236}">
                  <a16:creationId xmlns:a16="http://schemas.microsoft.com/office/drawing/2014/main" id="{7C82305F-0D60-44CA-C794-3C0FBC4E70C3}"/>
                </a:ext>
              </a:extLst>
            </p:cNvPr>
            <p:cNvSpPr/>
            <p:nvPr/>
          </p:nvSpPr>
          <p:spPr>
            <a:xfrm>
              <a:off x="10022180" y="3715498"/>
              <a:ext cx="80743" cy="4760"/>
            </a:xfrm>
            <a:custGeom>
              <a:avLst/>
              <a:gdLst>
                <a:gd name="connsiteX0" fmla="*/ 80744 w 80743"/>
                <a:gd name="connsiteY0" fmla="*/ 0 h 4760"/>
                <a:gd name="connsiteX1" fmla="*/ 0 w 80743"/>
                <a:gd name="connsiteY1" fmla="*/ 0 h 47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0743" h="4760">
                  <a:moveTo>
                    <a:pt x="80744" y="0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262" name="Forma livre: Forma 2261">
              <a:extLst>
                <a:ext uri="{FF2B5EF4-FFF2-40B4-BE49-F238E27FC236}">
                  <a16:creationId xmlns:a16="http://schemas.microsoft.com/office/drawing/2014/main" id="{C5E92F38-9D7A-D579-421F-8EE87DBC0CEA}"/>
                </a:ext>
              </a:extLst>
            </p:cNvPr>
            <p:cNvSpPr/>
            <p:nvPr/>
          </p:nvSpPr>
          <p:spPr>
            <a:xfrm>
              <a:off x="10061886" y="3631565"/>
              <a:ext cx="4760" cy="27612"/>
            </a:xfrm>
            <a:custGeom>
              <a:avLst/>
              <a:gdLst>
                <a:gd name="connsiteX0" fmla="*/ 0 w 4760"/>
                <a:gd name="connsiteY0" fmla="*/ 27613 h 27612"/>
                <a:gd name="connsiteX1" fmla="*/ 0 w 4760"/>
                <a:gd name="connsiteY1" fmla="*/ 0 h 276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760" h="27612">
                  <a:moveTo>
                    <a:pt x="0" y="27613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263" name="Forma livre: Forma 2262">
              <a:extLst>
                <a:ext uri="{FF2B5EF4-FFF2-40B4-BE49-F238E27FC236}">
                  <a16:creationId xmlns:a16="http://schemas.microsoft.com/office/drawing/2014/main" id="{ACB7016A-BC8A-C2AB-F615-EDDA47A3E694}"/>
                </a:ext>
              </a:extLst>
            </p:cNvPr>
            <p:cNvSpPr/>
            <p:nvPr/>
          </p:nvSpPr>
          <p:spPr>
            <a:xfrm>
              <a:off x="10145819" y="3709404"/>
              <a:ext cx="68794" cy="4760"/>
            </a:xfrm>
            <a:custGeom>
              <a:avLst/>
              <a:gdLst>
                <a:gd name="connsiteX0" fmla="*/ 68794 w 68794"/>
                <a:gd name="connsiteY0" fmla="*/ 0 h 4760"/>
                <a:gd name="connsiteX1" fmla="*/ 0 w 68794"/>
                <a:gd name="connsiteY1" fmla="*/ 0 h 47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8794" h="4760">
                  <a:moveTo>
                    <a:pt x="68794" y="0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264" name="Forma livre: Forma 2263">
              <a:extLst>
                <a:ext uri="{FF2B5EF4-FFF2-40B4-BE49-F238E27FC236}">
                  <a16:creationId xmlns:a16="http://schemas.microsoft.com/office/drawing/2014/main" id="{34084596-3C58-EAF7-961B-65DCEFBF599F}"/>
                </a:ext>
              </a:extLst>
            </p:cNvPr>
            <p:cNvSpPr/>
            <p:nvPr/>
          </p:nvSpPr>
          <p:spPr>
            <a:xfrm>
              <a:off x="9997948" y="3769819"/>
              <a:ext cx="4760" cy="43752"/>
            </a:xfrm>
            <a:custGeom>
              <a:avLst/>
              <a:gdLst>
                <a:gd name="connsiteX0" fmla="*/ 0 w 4760"/>
                <a:gd name="connsiteY0" fmla="*/ 0 h 43752"/>
                <a:gd name="connsiteX1" fmla="*/ 0 w 4760"/>
                <a:gd name="connsiteY1" fmla="*/ 43752 h 437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760" h="43752">
                  <a:moveTo>
                    <a:pt x="0" y="0"/>
                  </a:moveTo>
                  <a:lnTo>
                    <a:pt x="0" y="43752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265" name="Forma livre: Forma 2264">
              <a:extLst>
                <a:ext uri="{FF2B5EF4-FFF2-40B4-BE49-F238E27FC236}">
                  <a16:creationId xmlns:a16="http://schemas.microsoft.com/office/drawing/2014/main" id="{7880B603-6DB1-6D62-007B-DAF0E49917F2}"/>
                </a:ext>
              </a:extLst>
            </p:cNvPr>
            <p:cNvSpPr/>
            <p:nvPr/>
          </p:nvSpPr>
          <p:spPr>
            <a:xfrm>
              <a:off x="10026751" y="3769819"/>
              <a:ext cx="4760" cy="43752"/>
            </a:xfrm>
            <a:custGeom>
              <a:avLst/>
              <a:gdLst>
                <a:gd name="connsiteX0" fmla="*/ 0 w 4760"/>
                <a:gd name="connsiteY0" fmla="*/ 0 h 43752"/>
                <a:gd name="connsiteX1" fmla="*/ 0 w 4760"/>
                <a:gd name="connsiteY1" fmla="*/ 43752 h 437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760" h="43752">
                  <a:moveTo>
                    <a:pt x="0" y="0"/>
                  </a:moveTo>
                  <a:lnTo>
                    <a:pt x="0" y="43752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266" name="Forma livre: Forma 2265">
              <a:extLst>
                <a:ext uri="{FF2B5EF4-FFF2-40B4-BE49-F238E27FC236}">
                  <a16:creationId xmlns:a16="http://schemas.microsoft.com/office/drawing/2014/main" id="{8CCBB65E-C29A-AC06-F35C-2B5DD2074626}"/>
                </a:ext>
              </a:extLst>
            </p:cNvPr>
            <p:cNvSpPr/>
            <p:nvPr/>
          </p:nvSpPr>
          <p:spPr>
            <a:xfrm>
              <a:off x="10055554" y="3769819"/>
              <a:ext cx="4760" cy="43752"/>
            </a:xfrm>
            <a:custGeom>
              <a:avLst/>
              <a:gdLst>
                <a:gd name="connsiteX0" fmla="*/ 0 w 4760"/>
                <a:gd name="connsiteY0" fmla="*/ 0 h 43752"/>
                <a:gd name="connsiteX1" fmla="*/ 0 w 4760"/>
                <a:gd name="connsiteY1" fmla="*/ 43752 h 437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760" h="43752">
                  <a:moveTo>
                    <a:pt x="0" y="0"/>
                  </a:moveTo>
                  <a:lnTo>
                    <a:pt x="0" y="43752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267" name="Forma livre: Forma 2266">
              <a:extLst>
                <a:ext uri="{FF2B5EF4-FFF2-40B4-BE49-F238E27FC236}">
                  <a16:creationId xmlns:a16="http://schemas.microsoft.com/office/drawing/2014/main" id="{2742E8F1-0E91-1230-59A1-B99649325947}"/>
                </a:ext>
              </a:extLst>
            </p:cNvPr>
            <p:cNvSpPr/>
            <p:nvPr/>
          </p:nvSpPr>
          <p:spPr>
            <a:xfrm>
              <a:off x="10084357" y="3769819"/>
              <a:ext cx="4760" cy="43752"/>
            </a:xfrm>
            <a:custGeom>
              <a:avLst/>
              <a:gdLst>
                <a:gd name="connsiteX0" fmla="*/ 0 w 4760"/>
                <a:gd name="connsiteY0" fmla="*/ 0 h 43752"/>
                <a:gd name="connsiteX1" fmla="*/ 0 w 4760"/>
                <a:gd name="connsiteY1" fmla="*/ 43752 h 437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760" h="43752">
                  <a:moveTo>
                    <a:pt x="0" y="0"/>
                  </a:moveTo>
                  <a:lnTo>
                    <a:pt x="0" y="43752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268" name="Forma livre: Forma 2267">
              <a:extLst>
                <a:ext uri="{FF2B5EF4-FFF2-40B4-BE49-F238E27FC236}">
                  <a16:creationId xmlns:a16="http://schemas.microsoft.com/office/drawing/2014/main" id="{FB528978-7627-A80F-6284-1BE07D7CAC4B}"/>
                </a:ext>
              </a:extLst>
            </p:cNvPr>
            <p:cNvSpPr/>
            <p:nvPr/>
          </p:nvSpPr>
          <p:spPr>
            <a:xfrm>
              <a:off x="10113160" y="3769819"/>
              <a:ext cx="4760" cy="43752"/>
            </a:xfrm>
            <a:custGeom>
              <a:avLst/>
              <a:gdLst>
                <a:gd name="connsiteX0" fmla="*/ 0 w 4760"/>
                <a:gd name="connsiteY0" fmla="*/ 0 h 43752"/>
                <a:gd name="connsiteX1" fmla="*/ 0 w 4760"/>
                <a:gd name="connsiteY1" fmla="*/ 43752 h 437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760" h="43752">
                  <a:moveTo>
                    <a:pt x="0" y="0"/>
                  </a:moveTo>
                  <a:lnTo>
                    <a:pt x="0" y="43752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269" name="Forma livre: Forma 2268">
              <a:extLst>
                <a:ext uri="{FF2B5EF4-FFF2-40B4-BE49-F238E27FC236}">
                  <a16:creationId xmlns:a16="http://schemas.microsoft.com/office/drawing/2014/main" id="{B53A21A6-2D8C-130F-1298-05F6D15198D0}"/>
                </a:ext>
              </a:extLst>
            </p:cNvPr>
            <p:cNvSpPr/>
            <p:nvPr/>
          </p:nvSpPr>
          <p:spPr>
            <a:xfrm>
              <a:off x="10141963" y="3769819"/>
              <a:ext cx="4760" cy="43752"/>
            </a:xfrm>
            <a:custGeom>
              <a:avLst/>
              <a:gdLst>
                <a:gd name="connsiteX0" fmla="*/ 0 w 4760"/>
                <a:gd name="connsiteY0" fmla="*/ 0 h 43752"/>
                <a:gd name="connsiteX1" fmla="*/ 0 w 4760"/>
                <a:gd name="connsiteY1" fmla="*/ 43752 h 437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760" h="43752">
                  <a:moveTo>
                    <a:pt x="0" y="0"/>
                  </a:moveTo>
                  <a:lnTo>
                    <a:pt x="0" y="43752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270" name="Forma livre: Forma 2269">
              <a:extLst>
                <a:ext uri="{FF2B5EF4-FFF2-40B4-BE49-F238E27FC236}">
                  <a16:creationId xmlns:a16="http://schemas.microsoft.com/office/drawing/2014/main" id="{C3F6A20D-5114-CC95-7994-E2E779A1CE64}"/>
                </a:ext>
              </a:extLst>
            </p:cNvPr>
            <p:cNvSpPr/>
            <p:nvPr/>
          </p:nvSpPr>
          <p:spPr>
            <a:xfrm>
              <a:off x="10170766" y="3769819"/>
              <a:ext cx="4760" cy="43752"/>
            </a:xfrm>
            <a:custGeom>
              <a:avLst/>
              <a:gdLst>
                <a:gd name="connsiteX0" fmla="*/ 0 w 4760"/>
                <a:gd name="connsiteY0" fmla="*/ 0 h 43752"/>
                <a:gd name="connsiteX1" fmla="*/ 0 w 4760"/>
                <a:gd name="connsiteY1" fmla="*/ 43752 h 437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760" h="43752">
                  <a:moveTo>
                    <a:pt x="0" y="0"/>
                  </a:moveTo>
                  <a:lnTo>
                    <a:pt x="0" y="43752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271" name="Forma livre: Forma 2270">
              <a:extLst>
                <a:ext uri="{FF2B5EF4-FFF2-40B4-BE49-F238E27FC236}">
                  <a16:creationId xmlns:a16="http://schemas.microsoft.com/office/drawing/2014/main" id="{2F852025-7461-7AB1-B741-791C8B01C6F3}"/>
                </a:ext>
              </a:extLst>
            </p:cNvPr>
            <p:cNvSpPr/>
            <p:nvPr/>
          </p:nvSpPr>
          <p:spPr>
            <a:xfrm>
              <a:off x="10199569" y="3769819"/>
              <a:ext cx="4760" cy="43752"/>
            </a:xfrm>
            <a:custGeom>
              <a:avLst/>
              <a:gdLst>
                <a:gd name="connsiteX0" fmla="*/ 0 w 4760"/>
                <a:gd name="connsiteY0" fmla="*/ 0 h 43752"/>
                <a:gd name="connsiteX1" fmla="*/ 0 w 4760"/>
                <a:gd name="connsiteY1" fmla="*/ 43752 h 437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760" h="43752">
                  <a:moveTo>
                    <a:pt x="0" y="0"/>
                  </a:moveTo>
                  <a:lnTo>
                    <a:pt x="0" y="43752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272" name="Forma livre: Forma 2271">
              <a:extLst>
                <a:ext uri="{FF2B5EF4-FFF2-40B4-BE49-F238E27FC236}">
                  <a16:creationId xmlns:a16="http://schemas.microsoft.com/office/drawing/2014/main" id="{72A4ECCF-C024-2548-42BC-B37C1F80C422}"/>
                </a:ext>
              </a:extLst>
            </p:cNvPr>
            <p:cNvSpPr/>
            <p:nvPr/>
          </p:nvSpPr>
          <p:spPr>
            <a:xfrm>
              <a:off x="10228372" y="3769819"/>
              <a:ext cx="4760" cy="43752"/>
            </a:xfrm>
            <a:custGeom>
              <a:avLst/>
              <a:gdLst>
                <a:gd name="connsiteX0" fmla="*/ 0 w 4760"/>
                <a:gd name="connsiteY0" fmla="*/ 0 h 43752"/>
                <a:gd name="connsiteX1" fmla="*/ 0 w 4760"/>
                <a:gd name="connsiteY1" fmla="*/ 43752 h 437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760" h="43752">
                  <a:moveTo>
                    <a:pt x="0" y="0"/>
                  </a:moveTo>
                  <a:lnTo>
                    <a:pt x="0" y="43752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273" name="Forma livre: Forma 2272">
              <a:extLst>
                <a:ext uri="{FF2B5EF4-FFF2-40B4-BE49-F238E27FC236}">
                  <a16:creationId xmlns:a16="http://schemas.microsoft.com/office/drawing/2014/main" id="{C306CC49-BD00-745E-F487-7ACC376C29CD}"/>
                </a:ext>
              </a:extLst>
            </p:cNvPr>
            <p:cNvSpPr/>
            <p:nvPr/>
          </p:nvSpPr>
          <p:spPr>
            <a:xfrm>
              <a:off x="9972287" y="3751776"/>
              <a:ext cx="281794" cy="41086"/>
            </a:xfrm>
            <a:custGeom>
              <a:avLst/>
              <a:gdLst>
                <a:gd name="connsiteX0" fmla="*/ 24233 w 281794"/>
                <a:gd name="connsiteY0" fmla="*/ 41086 h 41086"/>
                <a:gd name="connsiteX1" fmla="*/ 0 w 281794"/>
                <a:gd name="connsiteY1" fmla="*/ 41086 h 41086"/>
                <a:gd name="connsiteX2" fmla="*/ 0 w 281794"/>
                <a:gd name="connsiteY2" fmla="*/ 0 h 41086"/>
                <a:gd name="connsiteX3" fmla="*/ 281794 w 281794"/>
                <a:gd name="connsiteY3" fmla="*/ 0 h 41086"/>
                <a:gd name="connsiteX4" fmla="*/ 281794 w 281794"/>
                <a:gd name="connsiteY4" fmla="*/ 41086 h 41086"/>
                <a:gd name="connsiteX5" fmla="*/ 258085 w 281794"/>
                <a:gd name="connsiteY5" fmla="*/ 41086 h 410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81794" h="41086">
                  <a:moveTo>
                    <a:pt x="24233" y="41086"/>
                  </a:moveTo>
                  <a:lnTo>
                    <a:pt x="0" y="41086"/>
                  </a:lnTo>
                  <a:lnTo>
                    <a:pt x="0" y="0"/>
                  </a:lnTo>
                  <a:lnTo>
                    <a:pt x="281794" y="0"/>
                  </a:lnTo>
                  <a:lnTo>
                    <a:pt x="281794" y="41086"/>
                  </a:lnTo>
                  <a:lnTo>
                    <a:pt x="258085" y="41086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274" name="Forma livre: Forma 2273">
              <a:extLst>
                <a:ext uri="{FF2B5EF4-FFF2-40B4-BE49-F238E27FC236}">
                  <a16:creationId xmlns:a16="http://schemas.microsoft.com/office/drawing/2014/main" id="{517605D5-3098-95D4-DAEC-25D917B1064C}"/>
                </a:ext>
              </a:extLst>
            </p:cNvPr>
            <p:cNvSpPr/>
            <p:nvPr/>
          </p:nvSpPr>
          <p:spPr>
            <a:xfrm>
              <a:off x="10217279" y="3644752"/>
              <a:ext cx="93217" cy="65556"/>
            </a:xfrm>
            <a:custGeom>
              <a:avLst/>
              <a:gdLst>
                <a:gd name="connsiteX0" fmla="*/ 0 w 93217"/>
                <a:gd name="connsiteY0" fmla="*/ 65557 h 65556"/>
                <a:gd name="connsiteX1" fmla="*/ 93217 w 93217"/>
                <a:gd name="connsiteY1" fmla="*/ 0 h 65556"/>
                <a:gd name="connsiteX2" fmla="*/ 93217 w 93217"/>
                <a:gd name="connsiteY2" fmla="*/ 35897 h 655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3217" h="65556">
                  <a:moveTo>
                    <a:pt x="0" y="65557"/>
                  </a:moveTo>
                  <a:lnTo>
                    <a:pt x="93217" y="0"/>
                  </a:lnTo>
                  <a:lnTo>
                    <a:pt x="93217" y="35897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2275" name="Gráfico 19">
            <a:extLst>
              <a:ext uri="{FF2B5EF4-FFF2-40B4-BE49-F238E27FC236}">
                <a16:creationId xmlns:a16="http://schemas.microsoft.com/office/drawing/2014/main" id="{AB32591B-58D6-0BEB-6815-836B15CE16CD}"/>
              </a:ext>
            </a:extLst>
          </p:cNvPr>
          <p:cNvGrpSpPr/>
          <p:nvPr/>
        </p:nvGrpSpPr>
        <p:grpSpPr>
          <a:xfrm>
            <a:off x="10569963" y="3614188"/>
            <a:ext cx="329497" cy="308597"/>
            <a:chOff x="10569963" y="3614188"/>
            <a:chExt cx="329497" cy="308597"/>
          </a:xfrm>
          <a:noFill/>
        </p:grpSpPr>
        <p:grpSp>
          <p:nvGrpSpPr>
            <p:cNvPr id="2276" name="Gráfico 19">
              <a:extLst>
                <a:ext uri="{FF2B5EF4-FFF2-40B4-BE49-F238E27FC236}">
                  <a16:creationId xmlns:a16="http://schemas.microsoft.com/office/drawing/2014/main" id="{18DADAC0-C176-CE40-EDEC-CF21D6E5F1C3}"/>
                </a:ext>
              </a:extLst>
            </p:cNvPr>
            <p:cNvGrpSpPr/>
            <p:nvPr/>
          </p:nvGrpSpPr>
          <p:grpSpPr>
            <a:xfrm>
              <a:off x="10651022" y="3614188"/>
              <a:ext cx="248437" cy="179531"/>
              <a:chOff x="10651022" y="3614188"/>
              <a:chExt cx="248437" cy="179531"/>
            </a:xfrm>
            <a:noFill/>
          </p:grpSpPr>
          <p:sp>
            <p:nvSpPr>
              <p:cNvPr id="2277" name="Forma livre: Forma 2276">
                <a:extLst>
                  <a:ext uri="{FF2B5EF4-FFF2-40B4-BE49-F238E27FC236}">
                    <a16:creationId xmlns:a16="http://schemas.microsoft.com/office/drawing/2014/main" id="{E993B529-0B44-247E-6096-319442D9589C}"/>
                  </a:ext>
                </a:extLst>
              </p:cNvPr>
              <p:cNvSpPr/>
              <p:nvPr/>
            </p:nvSpPr>
            <p:spPr>
              <a:xfrm>
                <a:off x="10651022" y="3614188"/>
                <a:ext cx="75762" cy="179531"/>
              </a:xfrm>
              <a:custGeom>
                <a:avLst/>
                <a:gdLst>
                  <a:gd name="connsiteX0" fmla="*/ 75762 w 75762"/>
                  <a:gd name="connsiteY0" fmla="*/ 179531 h 179531"/>
                  <a:gd name="connsiteX1" fmla="*/ 50149 w 75762"/>
                  <a:gd name="connsiteY1" fmla="*/ 79030 h 179531"/>
                  <a:gd name="connsiteX2" fmla="*/ 44055 w 75762"/>
                  <a:gd name="connsiteY2" fmla="*/ 25566 h 179531"/>
                  <a:gd name="connsiteX3" fmla="*/ 2207 w 75762"/>
                  <a:gd name="connsiteY3" fmla="*/ 0 h 179531"/>
                  <a:gd name="connsiteX4" fmla="*/ 5064 w 75762"/>
                  <a:gd name="connsiteY4" fmla="*/ 49179 h 179531"/>
                  <a:gd name="connsiteX5" fmla="*/ 34057 w 75762"/>
                  <a:gd name="connsiteY5" fmla="*/ 80077 h 1795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75762" h="179531">
                    <a:moveTo>
                      <a:pt x="75762" y="179531"/>
                    </a:moveTo>
                    <a:cubicBezTo>
                      <a:pt x="71335" y="127352"/>
                      <a:pt x="59480" y="96359"/>
                      <a:pt x="50149" y="79030"/>
                    </a:cubicBezTo>
                    <a:cubicBezTo>
                      <a:pt x="62003" y="71651"/>
                      <a:pt x="60242" y="42229"/>
                      <a:pt x="44055" y="25566"/>
                    </a:cubicBezTo>
                    <a:cubicBezTo>
                      <a:pt x="25012" y="5903"/>
                      <a:pt x="2207" y="0"/>
                      <a:pt x="2207" y="0"/>
                    </a:cubicBezTo>
                    <a:cubicBezTo>
                      <a:pt x="2207" y="0"/>
                      <a:pt x="-4315" y="20662"/>
                      <a:pt x="5064" y="49179"/>
                    </a:cubicBezTo>
                    <a:cubicBezTo>
                      <a:pt x="9920" y="63938"/>
                      <a:pt x="22346" y="76126"/>
                      <a:pt x="34057" y="80077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278" name="Forma livre: Forma 2277">
                <a:extLst>
                  <a:ext uri="{FF2B5EF4-FFF2-40B4-BE49-F238E27FC236}">
                    <a16:creationId xmlns:a16="http://schemas.microsoft.com/office/drawing/2014/main" id="{1A69D8E5-7A83-E1DD-D858-DF576118DD2B}"/>
                  </a:ext>
                </a:extLst>
              </p:cNvPr>
              <p:cNvSpPr/>
              <p:nvPr/>
            </p:nvSpPr>
            <p:spPr>
              <a:xfrm>
                <a:off x="10749577" y="3635666"/>
                <a:ext cx="149882" cy="119944"/>
              </a:xfrm>
              <a:custGeom>
                <a:avLst/>
                <a:gdLst>
                  <a:gd name="connsiteX0" fmla="*/ 1440 w 149882"/>
                  <a:gd name="connsiteY0" fmla="*/ 72120 h 119944"/>
                  <a:gd name="connsiteX1" fmla="*/ 38051 w 149882"/>
                  <a:gd name="connsiteY1" fmla="*/ 6658 h 119944"/>
                  <a:gd name="connsiteX2" fmla="*/ 149883 w 149882"/>
                  <a:gd name="connsiteY2" fmla="*/ 3944 h 119944"/>
                  <a:gd name="connsiteX3" fmla="*/ 97323 w 149882"/>
                  <a:gd name="connsiteY3" fmla="*/ 101732 h 119944"/>
                  <a:gd name="connsiteX4" fmla="*/ 9390 w 149882"/>
                  <a:gd name="connsiteY4" fmla="*/ 91687 h 1199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49882" h="119944">
                    <a:moveTo>
                      <a:pt x="1440" y="72120"/>
                    </a:moveTo>
                    <a:cubicBezTo>
                      <a:pt x="-3845" y="48125"/>
                      <a:pt x="4772" y="20369"/>
                      <a:pt x="38051" y="6658"/>
                    </a:cubicBezTo>
                    <a:cubicBezTo>
                      <a:pt x="70044" y="-6530"/>
                      <a:pt x="149883" y="3944"/>
                      <a:pt x="149883" y="3944"/>
                    </a:cubicBezTo>
                    <a:cubicBezTo>
                      <a:pt x="149883" y="3944"/>
                      <a:pt x="125031" y="77261"/>
                      <a:pt x="97323" y="101732"/>
                    </a:cubicBezTo>
                    <a:cubicBezTo>
                      <a:pt x="59713" y="135010"/>
                      <a:pt x="25054" y="117252"/>
                      <a:pt x="9390" y="91687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279" name="Forma livre: Forma 2278">
                <a:extLst>
                  <a:ext uri="{FF2B5EF4-FFF2-40B4-BE49-F238E27FC236}">
                    <a16:creationId xmlns:a16="http://schemas.microsoft.com/office/drawing/2014/main" id="{055AC598-DF4E-5604-C0AD-62F1354E565F}"/>
                  </a:ext>
                </a:extLst>
              </p:cNvPr>
              <p:cNvSpPr/>
              <p:nvPr/>
            </p:nvSpPr>
            <p:spPr>
              <a:xfrm>
                <a:off x="10787390" y="3710166"/>
                <a:ext cx="30231" cy="15234"/>
              </a:xfrm>
              <a:custGeom>
                <a:avLst/>
                <a:gdLst>
                  <a:gd name="connsiteX0" fmla="*/ 0 w 30231"/>
                  <a:gd name="connsiteY0" fmla="*/ 0 h 15234"/>
                  <a:gd name="connsiteX1" fmla="*/ 30231 w 30231"/>
                  <a:gd name="connsiteY1" fmla="*/ 15235 h 152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0231" h="15234">
                    <a:moveTo>
                      <a:pt x="0" y="0"/>
                    </a:moveTo>
                    <a:lnTo>
                      <a:pt x="30231" y="15235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280" name="Forma livre: Forma 2279">
                <a:extLst>
                  <a:ext uri="{FF2B5EF4-FFF2-40B4-BE49-F238E27FC236}">
                    <a16:creationId xmlns:a16="http://schemas.microsoft.com/office/drawing/2014/main" id="{AE5FE306-F839-EAB8-7726-EFDAA9C29997}"/>
                  </a:ext>
                </a:extLst>
              </p:cNvPr>
              <p:cNvSpPr/>
              <p:nvPr/>
            </p:nvSpPr>
            <p:spPr>
              <a:xfrm>
                <a:off x="10812480" y="3668509"/>
                <a:ext cx="856" cy="22947"/>
              </a:xfrm>
              <a:custGeom>
                <a:avLst/>
                <a:gdLst>
                  <a:gd name="connsiteX0" fmla="*/ 0 w 856"/>
                  <a:gd name="connsiteY0" fmla="*/ 22947 h 22947"/>
                  <a:gd name="connsiteX1" fmla="*/ 857 w 856"/>
                  <a:gd name="connsiteY1" fmla="*/ 0 h 229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856" h="22947">
                    <a:moveTo>
                      <a:pt x="0" y="22947"/>
                    </a:moveTo>
                    <a:lnTo>
                      <a:pt x="857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281" name="Forma livre: Forma 2280">
                <a:extLst>
                  <a:ext uri="{FF2B5EF4-FFF2-40B4-BE49-F238E27FC236}">
                    <a16:creationId xmlns:a16="http://schemas.microsoft.com/office/drawing/2014/main" id="{70A22172-5399-61C9-62B4-70EE884C4F7D}"/>
                  </a:ext>
                </a:extLst>
              </p:cNvPr>
              <p:cNvSpPr/>
              <p:nvPr/>
            </p:nvSpPr>
            <p:spPr>
              <a:xfrm>
                <a:off x="10723928" y="3667985"/>
                <a:ext cx="129113" cy="93788"/>
              </a:xfrm>
              <a:custGeom>
                <a:avLst/>
                <a:gdLst>
                  <a:gd name="connsiteX0" fmla="*/ 129114 w 129113"/>
                  <a:gd name="connsiteY0" fmla="*/ 0 h 93788"/>
                  <a:gd name="connsiteX1" fmla="*/ 30517 w 129113"/>
                  <a:gd name="connsiteY1" fmla="*/ 61320 h 93788"/>
                  <a:gd name="connsiteX2" fmla="*/ 0 w 129113"/>
                  <a:gd name="connsiteY2" fmla="*/ 93789 h 937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29113" h="93788">
                    <a:moveTo>
                      <a:pt x="129114" y="0"/>
                    </a:moveTo>
                    <a:lnTo>
                      <a:pt x="30517" y="61320"/>
                    </a:lnTo>
                    <a:cubicBezTo>
                      <a:pt x="30517" y="61320"/>
                      <a:pt x="6998" y="75793"/>
                      <a:pt x="0" y="93789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2282" name="Gráfico 19">
              <a:extLst>
                <a:ext uri="{FF2B5EF4-FFF2-40B4-BE49-F238E27FC236}">
                  <a16:creationId xmlns:a16="http://schemas.microsoft.com/office/drawing/2014/main" id="{EA279813-5B5B-1707-DF77-5F391B89AE73}"/>
                </a:ext>
              </a:extLst>
            </p:cNvPr>
            <p:cNvGrpSpPr/>
            <p:nvPr/>
          </p:nvGrpSpPr>
          <p:grpSpPr>
            <a:xfrm>
              <a:off x="10569963" y="3792068"/>
              <a:ext cx="325677" cy="130716"/>
              <a:chOff x="10569963" y="3792068"/>
              <a:chExt cx="325677" cy="130716"/>
            </a:xfrm>
            <a:noFill/>
          </p:grpSpPr>
          <p:sp>
            <p:nvSpPr>
              <p:cNvPr id="2283" name="Forma livre: Forma 2282">
                <a:extLst>
                  <a:ext uri="{FF2B5EF4-FFF2-40B4-BE49-F238E27FC236}">
                    <a16:creationId xmlns:a16="http://schemas.microsoft.com/office/drawing/2014/main" id="{CCA6AF41-EB18-F9EF-2696-4809733A58CA}"/>
                  </a:ext>
                </a:extLst>
              </p:cNvPr>
              <p:cNvSpPr/>
              <p:nvPr/>
            </p:nvSpPr>
            <p:spPr>
              <a:xfrm>
                <a:off x="10614524" y="3792068"/>
                <a:ext cx="281115" cy="130716"/>
              </a:xfrm>
              <a:custGeom>
                <a:avLst/>
                <a:gdLst>
                  <a:gd name="connsiteX0" fmla="*/ 191862 w 281115"/>
                  <a:gd name="connsiteY0" fmla="*/ 32596 h 130716"/>
                  <a:gd name="connsiteX1" fmla="*/ 249373 w 281115"/>
                  <a:gd name="connsiteY1" fmla="*/ 3221 h 130716"/>
                  <a:gd name="connsiteX2" fmla="*/ 278890 w 281115"/>
                  <a:gd name="connsiteY2" fmla="*/ 9648 h 130716"/>
                  <a:gd name="connsiteX3" fmla="*/ 268416 w 281115"/>
                  <a:gd name="connsiteY3" fmla="*/ 38690 h 130716"/>
                  <a:gd name="connsiteX4" fmla="*/ 149109 w 281115"/>
                  <a:gd name="connsiteY4" fmla="*/ 102628 h 130716"/>
                  <a:gd name="connsiteX5" fmla="*/ 142778 w 281115"/>
                  <a:gd name="connsiteY5" fmla="*/ 104199 h 130716"/>
                  <a:gd name="connsiteX6" fmla="*/ 31517 w 281115"/>
                  <a:gd name="connsiteY6" fmla="*/ 107198 h 130716"/>
                  <a:gd name="connsiteX7" fmla="*/ 0 w 281115"/>
                  <a:gd name="connsiteY7" fmla="*/ 130717 h 1307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81115" h="130716">
                    <a:moveTo>
                      <a:pt x="191862" y="32596"/>
                    </a:moveTo>
                    <a:lnTo>
                      <a:pt x="249373" y="3221"/>
                    </a:lnTo>
                    <a:cubicBezTo>
                      <a:pt x="260466" y="-2730"/>
                      <a:pt x="273510" y="-349"/>
                      <a:pt x="278890" y="9648"/>
                    </a:cubicBezTo>
                    <a:cubicBezTo>
                      <a:pt x="284270" y="19646"/>
                      <a:pt x="279556" y="32739"/>
                      <a:pt x="268416" y="38690"/>
                    </a:cubicBezTo>
                    <a:lnTo>
                      <a:pt x="149109" y="102628"/>
                    </a:lnTo>
                    <a:lnTo>
                      <a:pt x="142778" y="104199"/>
                    </a:lnTo>
                    <a:lnTo>
                      <a:pt x="31517" y="107198"/>
                    </a:lnTo>
                    <a:cubicBezTo>
                      <a:pt x="31517" y="107198"/>
                      <a:pt x="17187" y="111197"/>
                      <a:pt x="0" y="130717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284" name="Forma livre: Forma 2283">
                <a:extLst>
                  <a:ext uri="{FF2B5EF4-FFF2-40B4-BE49-F238E27FC236}">
                    <a16:creationId xmlns:a16="http://schemas.microsoft.com/office/drawing/2014/main" id="{05B5C91C-A3D9-0D45-CE4F-F91036E48947}"/>
                  </a:ext>
                </a:extLst>
              </p:cNvPr>
              <p:cNvSpPr/>
              <p:nvPr/>
            </p:nvSpPr>
            <p:spPr>
              <a:xfrm>
                <a:off x="10569963" y="3807873"/>
                <a:ext cx="217237" cy="60971"/>
              </a:xfrm>
              <a:custGeom>
                <a:avLst/>
                <a:gdLst>
                  <a:gd name="connsiteX0" fmla="*/ 0 w 217237"/>
                  <a:gd name="connsiteY0" fmla="*/ 60972 h 60971"/>
                  <a:gd name="connsiteX1" fmla="*/ 55511 w 217237"/>
                  <a:gd name="connsiteY1" fmla="*/ 9983 h 60971"/>
                  <a:gd name="connsiteX2" fmla="*/ 109452 w 217237"/>
                  <a:gd name="connsiteY2" fmla="*/ 2509 h 60971"/>
                  <a:gd name="connsiteX3" fmla="*/ 149919 w 217237"/>
                  <a:gd name="connsiteY3" fmla="*/ 7079 h 60971"/>
                  <a:gd name="connsiteX4" fmla="*/ 193576 w 217237"/>
                  <a:gd name="connsiteY4" fmla="*/ 7079 h 60971"/>
                  <a:gd name="connsiteX5" fmla="*/ 217237 w 217237"/>
                  <a:gd name="connsiteY5" fmla="*/ 27741 h 60971"/>
                  <a:gd name="connsiteX6" fmla="*/ 193576 w 217237"/>
                  <a:gd name="connsiteY6" fmla="*/ 48403 h 60971"/>
                  <a:gd name="connsiteX7" fmla="*/ 133161 w 217237"/>
                  <a:gd name="connsiteY7" fmla="*/ 48403 h 609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17237" h="60971">
                    <a:moveTo>
                      <a:pt x="0" y="60972"/>
                    </a:moveTo>
                    <a:lnTo>
                      <a:pt x="55511" y="9983"/>
                    </a:lnTo>
                    <a:cubicBezTo>
                      <a:pt x="80173" y="-6632"/>
                      <a:pt x="109452" y="2509"/>
                      <a:pt x="109452" y="2509"/>
                    </a:cubicBezTo>
                    <a:cubicBezTo>
                      <a:pt x="123591" y="6222"/>
                      <a:pt x="149919" y="7079"/>
                      <a:pt x="149919" y="7079"/>
                    </a:cubicBezTo>
                    <a:lnTo>
                      <a:pt x="193576" y="7079"/>
                    </a:lnTo>
                    <a:cubicBezTo>
                      <a:pt x="206573" y="7079"/>
                      <a:pt x="217237" y="16363"/>
                      <a:pt x="217237" y="27741"/>
                    </a:cubicBezTo>
                    <a:cubicBezTo>
                      <a:pt x="217237" y="39120"/>
                      <a:pt x="206573" y="48403"/>
                      <a:pt x="193576" y="48403"/>
                    </a:cubicBezTo>
                    <a:lnTo>
                      <a:pt x="133161" y="48403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2285" name="Gráfico 19">
            <a:extLst>
              <a:ext uri="{FF2B5EF4-FFF2-40B4-BE49-F238E27FC236}">
                <a16:creationId xmlns:a16="http://schemas.microsoft.com/office/drawing/2014/main" id="{B9708289-EADD-3DC3-A105-D667E37C970E}"/>
              </a:ext>
            </a:extLst>
          </p:cNvPr>
          <p:cNvGrpSpPr/>
          <p:nvPr/>
        </p:nvGrpSpPr>
        <p:grpSpPr>
          <a:xfrm>
            <a:off x="11222329" y="3631635"/>
            <a:ext cx="267237" cy="273832"/>
            <a:chOff x="11222329" y="3631635"/>
            <a:chExt cx="267237" cy="273832"/>
          </a:xfrm>
          <a:noFill/>
        </p:grpSpPr>
        <p:sp>
          <p:nvSpPr>
            <p:cNvPr id="2286" name="Forma livre: Forma 2285">
              <a:extLst>
                <a:ext uri="{FF2B5EF4-FFF2-40B4-BE49-F238E27FC236}">
                  <a16:creationId xmlns:a16="http://schemas.microsoft.com/office/drawing/2014/main" id="{809C02B5-8620-E2C6-D41F-3F640EA6D938}"/>
                </a:ext>
              </a:extLst>
            </p:cNvPr>
            <p:cNvSpPr/>
            <p:nvPr/>
          </p:nvSpPr>
          <p:spPr>
            <a:xfrm>
              <a:off x="11423867" y="3662415"/>
              <a:ext cx="65699" cy="38229"/>
            </a:xfrm>
            <a:custGeom>
              <a:avLst/>
              <a:gdLst>
                <a:gd name="connsiteX0" fmla="*/ 65700 w 65699"/>
                <a:gd name="connsiteY0" fmla="*/ 0 h 38229"/>
                <a:gd name="connsiteX1" fmla="*/ 0 w 65699"/>
                <a:gd name="connsiteY1" fmla="*/ 38230 h 382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5699" h="38229">
                  <a:moveTo>
                    <a:pt x="65700" y="0"/>
                  </a:moveTo>
                  <a:cubicBezTo>
                    <a:pt x="65700" y="0"/>
                    <a:pt x="29184" y="9046"/>
                    <a:pt x="0" y="3823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287" name="Forma livre: Forma 2286">
              <a:extLst>
                <a:ext uri="{FF2B5EF4-FFF2-40B4-BE49-F238E27FC236}">
                  <a16:creationId xmlns:a16="http://schemas.microsoft.com/office/drawing/2014/main" id="{1AA035C5-D6A8-FF55-CB7E-F3505BDB4C29}"/>
                </a:ext>
              </a:extLst>
            </p:cNvPr>
            <p:cNvSpPr/>
            <p:nvPr/>
          </p:nvSpPr>
          <p:spPr>
            <a:xfrm>
              <a:off x="11405663" y="3631635"/>
              <a:ext cx="41136" cy="65914"/>
            </a:xfrm>
            <a:custGeom>
              <a:avLst/>
              <a:gdLst>
                <a:gd name="connsiteX0" fmla="*/ 21299 w 41136"/>
                <a:gd name="connsiteY0" fmla="*/ 65915 h 65914"/>
                <a:gd name="connsiteX1" fmla="*/ 37152 w 41136"/>
                <a:gd name="connsiteY1" fmla="*/ 11165 h 65914"/>
                <a:gd name="connsiteX2" fmla="*/ 7349 w 41136"/>
                <a:gd name="connsiteY2" fmla="*/ 3167 h 65914"/>
                <a:gd name="connsiteX3" fmla="*/ 2112 w 41136"/>
                <a:gd name="connsiteY3" fmla="*/ 22972 h 65914"/>
                <a:gd name="connsiteX4" fmla="*/ 7683 w 41136"/>
                <a:gd name="connsiteY4" fmla="*/ 31637 h 659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1136" h="65914">
                  <a:moveTo>
                    <a:pt x="21299" y="65915"/>
                  </a:moveTo>
                  <a:cubicBezTo>
                    <a:pt x="37390" y="49776"/>
                    <a:pt x="47007" y="29161"/>
                    <a:pt x="37152" y="11165"/>
                  </a:cubicBezTo>
                  <a:cubicBezTo>
                    <a:pt x="31011" y="-118"/>
                    <a:pt x="18633" y="-2975"/>
                    <a:pt x="7349" y="3167"/>
                  </a:cubicBezTo>
                  <a:cubicBezTo>
                    <a:pt x="303" y="7071"/>
                    <a:pt x="-2172" y="16164"/>
                    <a:pt x="2112" y="22972"/>
                  </a:cubicBezTo>
                  <a:cubicBezTo>
                    <a:pt x="5778" y="28828"/>
                    <a:pt x="4874" y="27828"/>
                    <a:pt x="7683" y="31637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288" name="Forma livre: Forma 2287">
              <a:extLst>
                <a:ext uri="{FF2B5EF4-FFF2-40B4-BE49-F238E27FC236}">
                  <a16:creationId xmlns:a16="http://schemas.microsoft.com/office/drawing/2014/main" id="{9BE96786-BA7A-356E-CE93-14CD2AC595DE}"/>
                </a:ext>
              </a:extLst>
            </p:cNvPr>
            <p:cNvSpPr/>
            <p:nvPr/>
          </p:nvSpPr>
          <p:spPr>
            <a:xfrm>
              <a:off x="11265865" y="3688028"/>
              <a:ext cx="55274" cy="55285"/>
            </a:xfrm>
            <a:custGeom>
              <a:avLst/>
              <a:gdLst>
                <a:gd name="connsiteX0" fmla="*/ 27650 w 55274"/>
                <a:gd name="connsiteY0" fmla="*/ 0 h 55285"/>
                <a:gd name="connsiteX1" fmla="*/ 47169 w 55274"/>
                <a:gd name="connsiteY1" fmla="*/ 8093 h 55285"/>
                <a:gd name="connsiteX2" fmla="*/ 47169 w 55274"/>
                <a:gd name="connsiteY2" fmla="*/ 47180 h 55285"/>
                <a:gd name="connsiteX3" fmla="*/ 8083 w 55274"/>
                <a:gd name="connsiteY3" fmla="*/ 47180 h 55285"/>
                <a:gd name="connsiteX4" fmla="*/ 5893 w 55274"/>
                <a:gd name="connsiteY4" fmla="*/ 10617 h 552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274" h="55285">
                  <a:moveTo>
                    <a:pt x="27650" y="0"/>
                  </a:moveTo>
                  <a:cubicBezTo>
                    <a:pt x="34696" y="0"/>
                    <a:pt x="41789" y="2714"/>
                    <a:pt x="47169" y="8093"/>
                  </a:cubicBezTo>
                  <a:cubicBezTo>
                    <a:pt x="57976" y="18901"/>
                    <a:pt x="57976" y="36373"/>
                    <a:pt x="47169" y="47180"/>
                  </a:cubicBezTo>
                  <a:cubicBezTo>
                    <a:pt x="36362" y="57987"/>
                    <a:pt x="18890" y="57987"/>
                    <a:pt x="8083" y="47180"/>
                  </a:cubicBezTo>
                  <a:cubicBezTo>
                    <a:pt x="-1915" y="37182"/>
                    <a:pt x="-2629" y="21424"/>
                    <a:pt x="5893" y="10617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289" name="Forma livre: Forma 2288">
              <a:extLst>
                <a:ext uri="{FF2B5EF4-FFF2-40B4-BE49-F238E27FC236}">
                  <a16:creationId xmlns:a16="http://schemas.microsoft.com/office/drawing/2014/main" id="{4A9EB30A-0EBF-D44B-E0C1-B3CC8F321895}"/>
                </a:ext>
              </a:extLst>
            </p:cNvPr>
            <p:cNvSpPr/>
            <p:nvPr/>
          </p:nvSpPr>
          <p:spPr>
            <a:xfrm>
              <a:off x="11305405" y="3727579"/>
              <a:ext cx="55297" cy="55297"/>
            </a:xfrm>
            <a:custGeom>
              <a:avLst/>
              <a:gdLst>
                <a:gd name="connsiteX0" fmla="*/ 47192 w 55297"/>
                <a:gd name="connsiteY0" fmla="*/ 47192 h 55297"/>
                <a:gd name="connsiteX1" fmla="*/ 8105 w 55297"/>
                <a:gd name="connsiteY1" fmla="*/ 47192 h 55297"/>
                <a:gd name="connsiteX2" fmla="*/ 8105 w 55297"/>
                <a:gd name="connsiteY2" fmla="*/ 8105 h 55297"/>
                <a:gd name="connsiteX3" fmla="*/ 47192 w 55297"/>
                <a:gd name="connsiteY3" fmla="*/ 8105 h 55297"/>
                <a:gd name="connsiteX4" fmla="*/ 47192 w 55297"/>
                <a:gd name="connsiteY4" fmla="*/ 47192 h 552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297" h="55297">
                  <a:moveTo>
                    <a:pt x="47192" y="47192"/>
                  </a:moveTo>
                  <a:cubicBezTo>
                    <a:pt x="36385" y="57999"/>
                    <a:pt x="18912" y="57999"/>
                    <a:pt x="8105" y="47192"/>
                  </a:cubicBezTo>
                  <a:cubicBezTo>
                    <a:pt x="-2702" y="36385"/>
                    <a:pt x="-2702" y="18912"/>
                    <a:pt x="8105" y="8105"/>
                  </a:cubicBezTo>
                  <a:cubicBezTo>
                    <a:pt x="18912" y="-2702"/>
                    <a:pt x="36385" y="-2702"/>
                    <a:pt x="47192" y="8105"/>
                  </a:cubicBezTo>
                  <a:cubicBezTo>
                    <a:pt x="57999" y="18912"/>
                    <a:pt x="57999" y="36385"/>
                    <a:pt x="47192" y="47192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290" name="Forma livre: Forma 2289">
              <a:extLst>
                <a:ext uri="{FF2B5EF4-FFF2-40B4-BE49-F238E27FC236}">
                  <a16:creationId xmlns:a16="http://schemas.microsoft.com/office/drawing/2014/main" id="{8EFE6A5E-1EBE-5A45-E5A8-44C838BA0CAB}"/>
                </a:ext>
              </a:extLst>
            </p:cNvPr>
            <p:cNvSpPr/>
            <p:nvPr/>
          </p:nvSpPr>
          <p:spPr>
            <a:xfrm>
              <a:off x="11344920" y="3767094"/>
              <a:ext cx="55297" cy="55297"/>
            </a:xfrm>
            <a:custGeom>
              <a:avLst/>
              <a:gdLst>
                <a:gd name="connsiteX0" fmla="*/ 47192 w 55297"/>
                <a:gd name="connsiteY0" fmla="*/ 47192 h 55297"/>
                <a:gd name="connsiteX1" fmla="*/ 8105 w 55297"/>
                <a:gd name="connsiteY1" fmla="*/ 47192 h 55297"/>
                <a:gd name="connsiteX2" fmla="*/ 8105 w 55297"/>
                <a:gd name="connsiteY2" fmla="*/ 8105 h 55297"/>
                <a:gd name="connsiteX3" fmla="*/ 47192 w 55297"/>
                <a:gd name="connsiteY3" fmla="*/ 8105 h 55297"/>
                <a:gd name="connsiteX4" fmla="*/ 47192 w 55297"/>
                <a:gd name="connsiteY4" fmla="*/ 47192 h 552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297" h="55297">
                  <a:moveTo>
                    <a:pt x="47192" y="47192"/>
                  </a:moveTo>
                  <a:cubicBezTo>
                    <a:pt x="36385" y="57999"/>
                    <a:pt x="18912" y="57999"/>
                    <a:pt x="8105" y="47192"/>
                  </a:cubicBezTo>
                  <a:cubicBezTo>
                    <a:pt x="-2702" y="36385"/>
                    <a:pt x="-2702" y="18912"/>
                    <a:pt x="8105" y="8105"/>
                  </a:cubicBezTo>
                  <a:cubicBezTo>
                    <a:pt x="18912" y="-2702"/>
                    <a:pt x="36385" y="-2702"/>
                    <a:pt x="47192" y="8105"/>
                  </a:cubicBezTo>
                  <a:cubicBezTo>
                    <a:pt x="57999" y="18912"/>
                    <a:pt x="57999" y="36385"/>
                    <a:pt x="47192" y="47192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291" name="Forma livre: Forma 2290">
              <a:extLst>
                <a:ext uri="{FF2B5EF4-FFF2-40B4-BE49-F238E27FC236}">
                  <a16:creationId xmlns:a16="http://schemas.microsoft.com/office/drawing/2014/main" id="{BCDB7410-26C1-2968-6AFB-38A3C7D512E0}"/>
                </a:ext>
              </a:extLst>
            </p:cNvPr>
            <p:cNvSpPr/>
            <p:nvPr/>
          </p:nvSpPr>
          <p:spPr>
            <a:xfrm>
              <a:off x="11384483" y="3806656"/>
              <a:ext cx="55297" cy="55297"/>
            </a:xfrm>
            <a:custGeom>
              <a:avLst/>
              <a:gdLst>
                <a:gd name="connsiteX0" fmla="*/ 47192 w 55297"/>
                <a:gd name="connsiteY0" fmla="*/ 47192 h 55297"/>
                <a:gd name="connsiteX1" fmla="*/ 8105 w 55297"/>
                <a:gd name="connsiteY1" fmla="*/ 47192 h 55297"/>
                <a:gd name="connsiteX2" fmla="*/ 8105 w 55297"/>
                <a:gd name="connsiteY2" fmla="*/ 8105 h 55297"/>
                <a:gd name="connsiteX3" fmla="*/ 47192 w 55297"/>
                <a:gd name="connsiteY3" fmla="*/ 8105 h 55297"/>
                <a:gd name="connsiteX4" fmla="*/ 47192 w 55297"/>
                <a:gd name="connsiteY4" fmla="*/ 47192 h 552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297" h="55297">
                  <a:moveTo>
                    <a:pt x="47192" y="47192"/>
                  </a:moveTo>
                  <a:cubicBezTo>
                    <a:pt x="36385" y="57999"/>
                    <a:pt x="18912" y="57999"/>
                    <a:pt x="8105" y="47192"/>
                  </a:cubicBezTo>
                  <a:cubicBezTo>
                    <a:pt x="-2702" y="36385"/>
                    <a:pt x="-2702" y="18912"/>
                    <a:pt x="8105" y="8105"/>
                  </a:cubicBezTo>
                  <a:cubicBezTo>
                    <a:pt x="18912" y="-2702"/>
                    <a:pt x="36385" y="-2702"/>
                    <a:pt x="47192" y="8105"/>
                  </a:cubicBezTo>
                  <a:cubicBezTo>
                    <a:pt x="57999" y="18912"/>
                    <a:pt x="57999" y="36385"/>
                    <a:pt x="47192" y="47192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292" name="Forma livre: Forma 2291">
              <a:extLst>
                <a:ext uri="{FF2B5EF4-FFF2-40B4-BE49-F238E27FC236}">
                  <a16:creationId xmlns:a16="http://schemas.microsoft.com/office/drawing/2014/main" id="{E5AA2481-8145-CFB0-4B08-39CB0A3A8196}"/>
                </a:ext>
              </a:extLst>
            </p:cNvPr>
            <p:cNvSpPr/>
            <p:nvPr/>
          </p:nvSpPr>
          <p:spPr>
            <a:xfrm>
              <a:off x="11319878" y="3673650"/>
              <a:ext cx="55297" cy="55190"/>
            </a:xfrm>
            <a:custGeom>
              <a:avLst/>
              <a:gdLst>
                <a:gd name="connsiteX0" fmla="*/ 30100 w 55297"/>
                <a:gd name="connsiteY0" fmla="*/ 0 h 55190"/>
                <a:gd name="connsiteX1" fmla="*/ 47192 w 55297"/>
                <a:gd name="connsiteY1" fmla="*/ 7998 h 55190"/>
                <a:gd name="connsiteX2" fmla="*/ 47192 w 55297"/>
                <a:gd name="connsiteY2" fmla="*/ 47085 h 55190"/>
                <a:gd name="connsiteX3" fmla="*/ 8105 w 55297"/>
                <a:gd name="connsiteY3" fmla="*/ 47085 h 55190"/>
                <a:gd name="connsiteX4" fmla="*/ 8105 w 55297"/>
                <a:gd name="connsiteY4" fmla="*/ 7998 h 551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297" h="55190">
                  <a:moveTo>
                    <a:pt x="30100" y="0"/>
                  </a:moveTo>
                  <a:cubicBezTo>
                    <a:pt x="36337" y="571"/>
                    <a:pt x="42431" y="3237"/>
                    <a:pt x="47192" y="7998"/>
                  </a:cubicBezTo>
                  <a:cubicBezTo>
                    <a:pt x="57999" y="18805"/>
                    <a:pt x="57999" y="36278"/>
                    <a:pt x="47192" y="47085"/>
                  </a:cubicBezTo>
                  <a:cubicBezTo>
                    <a:pt x="36385" y="57892"/>
                    <a:pt x="18912" y="57892"/>
                    <a:pt x="8105" y="47085"/>
                  </a:cubicBezTo>
                  <a:cubicBezTo>
                    <a:pt x="-2702" y="36278"/>
                    <a:pt x="-2702" y="18805"/>
                    <a:pt x="8105" y="7998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293" name="Forma livre: Forma 2292">
              <a:extLst>
                <a:ext uri="{FF2B5EF4-FFF2-40B4-BE49-F238E27FC236}">
                  <a16:creationId xmlns:a16="http://schemas.microsoft.com/office/drawing/2014/main" id="{E1A7A844-D7CA-CC55-8AC4-1A6DCFBCCB9A}"/>
                </a:ext>
              </a:extLst>
            </p:cNvPr>
            <p:cNvSpPr/>
            <p:nvPr/>
          </p:nvSpPr>
          <p:spPr>
            <a:xfrm>
              <a:off x="11359441" y="3713058"/>
              <a:ext cx="55297" cy="55297"/>
            </a:xfrm>
            <a:custGeom>
              <a:avLst/>
              <a:gdLst>
                <a:gd name="connsiteX0" fmla="*/ 47192 w 55297"/>
                <a:gd name="connsiteY0" fmla="*/ 47192 h 55297"/>
                <a:gd name="connsiteX1" fmla="*/ 8105 w 55297"/>
                <a:gd name="connsiteY1" fmla="*/ 47192 h 55297"/>
                <a:gd name="connsiteX2" fmla="*/ 8105 w 55297"/>
                <a:gd name="connsiteY2" fmla="*/ 8105 h 55297"/>
                <a:gd name="connsiteX3" fmla="*/ 47192 w 55297"/>
                <a:gd name="connsiteY3" fmla="*/ 8105 h 55297"/>
                <a:gd name="connsiteX4" fmla="*/ 47192 w 55297"/>
                <a:gd name="connsiteY4" fmla="*/ 47192 h 552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297" h="55297">
                  <a:moveTo>
                    <a:pt x="47192" y="47192"/>
                  </a:moveTo>
                  <a:cubicBezTo>
                    <a:pt x="36385" y="57999"/>
                    <a:pt x="18912" y="57999"/>
                    <a:pt x="8105" y="47192"/>
                  </a:cubicBezTo>
                  <a:cubicBezTo>
                    <a:pt x="-2702" y="36385"/>
                    <a:pt x="-2702" y="18912"/>
                    <a:pt x="8105" y="8105"/>
                  </a:cubicBezTo>
                  <a:cubicBezTo>
                    <a:pt x="18912" y="-2702"/>
                    <a:pt x="36385" y="-2702"/>
                    <a:pt x="47192" y="8105"/>
                  </a:cubicBezTo>
                  <a:cubicBezTo>
                    <a:pt x="57999" y="18912"/>
                    <a:pt x="57999" y="36385"/>
                    <a:pt x="47192" y="47192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294" name="Forma livre: Forma 2293">
              <a:extLst>
                <a:ext uri="{FF2B5EF4-FFF2-40B4-BE49-F238E27FC236}">
                  <a16:creationId xmlns:a16="http://schemas.microsoft.com/office/drawing/2014/main" id="{1D39C343-5E0B-D51B-5E5F-86F808DCEDF2}"/>
                </a:ext>
              </a:extLst>
            </p:cNvPr>
            <p:cNvSpPr/>
            <p:nvPr/>
          </p:nvSpPr>
          <p:spPr>
            <a:xfrm>
              <a:off x="11399003" y="3752621"/>
              <a:ext cx="55297" cy="55297"/>
            </a:xfrm>
            <a:custGeom>
              <a:avLst/>
              <a:gdLst>
                <a:gd name="connsiteX0" fmla="*/ 47192 w 55297"/>
                <a:gd name="connsiteY0" fmla="*/ 47192 h 55297"/>
                <a:gd name="connsiteX1" fmla="*/ 8105 w 55297"/>
                <a:gd name="connsiteY1" fmla="*/ 47192 h 55297"/>
                <a:gd name="connsiteX2" fmla="*/ 8105 w 55297"/>
                <a:gd name="connsiteY2" fmla="*/ 8105 h 55297"/>
                <a:gd name="connsiteX3" fmla="*/ 47192 w 55297"/>
                <a:gd name="connsiteY3" fmla="*/ 8105 h 55297"/>
                <a:gd name="connsiteX4" fmla="*/ 47192 w 55297"/>
                <a:gd name="connsiteY4" fmla="*/ 47192 h 552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297" h="55297">
                  <a:moveTo>
                    <a:pt x="47192" y="47192"/>
                  </a:moveTo>
                  <a:cubicBezTo>
                    <a:pt x="36385" y="57999"/>
                    <a:pt x="18912" y="57999"/>
                    <a:pt x="8105" y="47192"/>
                  </a:cubicBezTo>
                  <a:cubicBezTo>
                    <a:pt x="-2702" y="36385"/>
                    <a:pt x="-2702" y="18912"/>
                    <a:pt x="8105" y="8105"/>
                  </a:cubicBezTo>
                  <a:cubicBezTo>
                    <a:pt x="18912" y="-2702"/>
                    <a:pt x="36385" y="-2702"/>
                    <a:pt x="47192" y="8105"/>
                  </a:cubicBezTo>
                  <a:cubicBezTo>
                    <a:pt x="57999" y="18912"/>
                    <a:pt x="57999" y="36385"/>
                    <a:pt x="47192" y="47192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295" name="Forma livre: Forma 2294">
              <a:extLst>
                <a:ext uri="{FF2B5EF4-FFF2-40B4-BE49-F238E27FC236}">
                  <a16:creationId xmlns:a16="http://schemas.microsoft.com/office/drawing/2014/main" id="{01BA7F95-EBA0-A7CC-07A4-7598041A5415}"/>
                </a:ext>
              </a:extLst>
            </p:cNvPr>
            <p:cNvSpPr/>
            <p:nvPr/>
          </p:nvSpPr>
          <p:spPr>
            <a:xfrm>
              <a:off x="11251322" y="3742087"/>
              <a:ext cx="55297" cy="55261"/>
            </a:xfrm>
            <a:custGeom>
              <a:avLst/>
              <a:gdLst>
                <a:gd name="connsiteX0" fmla="*/ 47192 w 55297"/>
                <a:gd name="connsiteY0" fmla="*/ 47156 h 55261"/>
                <a:gd name="connsiteX1" fmla="*/ 8105 w 55297"/>
                <a:gd name="connsiteY1" fmla="*/ 47156 h 55261"/>
                <a:gd name="connsiteX2" fmla="*/ 8105 w 55297"/>
                <a:gd name="connsiteY2" fmla="*/ 8070 h 55261"/>
                <a:gd name="connsiteX3" fmla="*/ 47192 w 55297"/>
                <a:gd name="connsiteY3" fmla="*/ 8070 h 55261"/>
                <a:gd name="connsiteX4" fmla="*/ 47192 w 55297"/>
                <a:gd name="connsiteY4" fmla="*/ 47156 h 552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297" h="55261">
                  <a:moveTo>
                    <a:pt x="47192" y="47156"/>
                  </a:moveTo>
                  <a:cubicBezTo>
                    <a:pt x="36385" y="57963"/>
                    <a:pt x="18912" y="57963"/>
                    <a:pt x="8105" y="47156"/>
                  </a:cubicBezTo>
                  <a:cubicBezTo>
                    <a:pt x="-2702" y="36349"/>
                    <a:pt x="-2702" y="18877"/>
                    <a:pt x="8105" y="8070"/>
                  </a:cubicBezTo>
                  <a:cubicBezTo>
                    <a:pt x="18912" y="-2690"/>
                    <a:pt x="36385" y="-2690"/>
                    <a:pt x="47192" y="8070"/>
                  </a:cubicBezTo>
                  <a:cubicBezTo>
                    <a:pt x="57999" y="18877"/>
                    <a:pt x="57999" y="36349"/>
                    <a:pt x="47192" y="47156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296" name="Forma livre: Forma 2295">
              <a:extLst>
                <a:ext uri="{FF2B5EF4-FFF2-40B4-BE49-F238E27FC236}">
                  <a16:creationId xmlns:a16="http://schemas.microsoft.com/office/drawing/2014/main" id="{7BD943E7-AEEA-C272-8BC3-D89523E18150}"/>
                </a:ext>
              </a:extLst>
            </p:cNvPr>
            <p:cNvSpPr/>
            <p:nvPr/>
          </p:nvSpPr>
          <p:spPr>
            <a:xfrm>
              <a:off x="11290885" y="3781650"/>
              <a:ext cx="55297" cy="55261"/>
            </a:xfrm>
            <a:custGeom>
              <a:avLst/>
              <a:gdLst>
                <a:gd name="connsiteX0" fmla="*/ 47192 w 55297"/>
                <a:gd name="connsiteY0" fmla="*/ 47156 h 55261"/>
                <a:gd name="connsiteX1" fmla="*/ 8105 w 55297"/>
                <a:gd name="connsiteY1" fmla="*/ 47156 h 55261"/>
                <a:gd name="connsiteX2" fmla="*/ 8105 w 55297"/>
                <a:gd name="connsiteY2" fmla="*/ 8070 h 55261"/>
                <a:gd name="connsiteX3" fmla="*/ 47192 w 55297"/>
                <a:gd name="connsiteY3" fmla="*/ 8070 h 55261"/>
                <a:gd name="connsiteX4" fmla="*/ 47192 w 55297"/>
                <a:gd name="connsiteY4" fmla="*/ 47108 h 552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297" h="55261">
                  <a:moveTo>
                    <a:pt x="47192" y="47156"/>
                  </a:moveTo>
                  <a:cubicBezTo>
                    <a:pt x="36385" y="57963"/>
                    <a:pt x="18912" y="57963"/>
                    <a:pt x="8105" y="47156"/>
                  </a:cubicBezTo>
                  <a:cubicBezTo>
                    <a:pt x="-2702" y="36349"/>
                    <a:pt x="-2702" y="18877"/>
                    <a:pt x="8105" y="8070"/>
                  </a:cubicBezTo>
                  <a:cubicBezTo>
                    <a:pt x="18912" y="-2690"/>
                    <a:pt x="36385" y="-2690"/>
                    <a:pt x="47192" y="8070"/>
                  </a:cubicBezTo>
                  <a:cubicBezTo>
                    <a:pt x="57999" y="18877"/>
                    <a:pt x="57999" y="36349"/>
                    <a:pt x="47192" y="47108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297" name="Forma livre: Forma 2296">
              <a:extLst>
                <a:ext uri="{FF2B5EF4-FFF2-40B4-BE49-F238E27FC236}">
                  <a16:creationId xmlns:a16="http://schemas.microsoft.com/office/drawing/2014/main" id="{F286F115-AECE-913C-6F7B-5E68BB42800F}"/>
                </a:ext>
              </a:extLst>
            </p:cNvPr>
            <p:cNvSpPr/>
            <p:nvPr/>
          </p:nvSpPr>
          <p:spPr>
            <a:xfrm>
              <a:off x="11330447" y="3821165"/>
              <a:ext cx="55297" cy="55261"/>
            </a:xfrm>
            <a:custGeom>
              <a:avLst/>
              <a:gdLst>
                <a:gd name="connsiteX0" fmla="*/ 47192 w 55297"/>
                <a:gd name="connsiteY0" fmla="*/ 47156 h 55261"/>
                <a:gd name="connsiteX1" fmla="*/ 8105 w 55297"/>
                <a:gd name="connsiteY1" fmla="*/ 47156 h 55261"/>
                <a:gd name="connsiteX2" fmla="*/ 8105 w 55297"/>
                <a:gd name="connsiteY2" fmla="*/ 8070 h 55261"/>
                <a:gd name="connsiteX3" fmla="*/ 47192 w 55297"/>
                <a:gd name="connsiteY3" fmla="*/ 8070 h 55261"/>
                <a:gd name="connsiteX4" fmla="*/ 47192 w 55297"/>
                <a:gd name="connsiteY4" fmla="*/ 47156 h 552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297" h="55261">
                  <a:moveTo>
                    <a:pt x="47192" y="47156"/>
                  </a:moveTo>
                  <a:cubicBezTo>
                    <a:pt x="36385" y="57963"/>
                    <a:pt x="18912" y="57963"/>
                    <a:pt x="8105" y="47156"/>
                  </a:cubicBezTo>
                  <a:cubicBezTo>
                    <a:pt x="-2702" y="36349"/>
                    <a:pt x="-2702" y="18877"/>
                    <a:pt x="8105" y="8070"/>
                  </a:cubicBezTo>
                  <a:cubicBezTo>
                    <a:pt x="18912" y="-2690"/>
                    <a:pt x="36385" y="-2690"/>
                    <a:pt x="47192" y="8070"/>
                  </a:cubicBezTo>
                  <a:cubicBezTo>
                    <a:pt x="57999" y="18877"/>
                    <a:pt x="57999" y="36349"/>
                    <a:pt x="47192" y="47156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298" name="Forma livre: Forma 2297">
              <a:extLst>
                <a:ext uri="{FF2B5EF4-FFF2-40B4-BE49-F238E27FC236}">
                  <a16:creationId xmlns:a16="http://schemas.microsoft.com/office/drawing/2014/main" id="{FF2B4A9C-7ED2-20DE-DF7D-FD78D264B6D6}"/>
                </a:ext>
              </a:extLst>
            </p:cNvPr>
            <p:cNvSpPr/>
            <p:nvPr/>
          </p:nvSpPr>
          <p:spPr>
            <a:xfrm>
              <a:off x="11236944" y="3796182"/>
              <a:ext cx="55297" cy="55297"/>
            </a:xfrm>
            <a:custGeom>
              <a:avLst/>
              <a:gdLst>
                <a:gd name="connsiteX0" fmla="*/ 47192 w 55297"/>
                <a:gd name="connsiteY0" fmla="*/ 47192 h 55297"/>
                <a:gd name="connsiteX1" fmla="*/ 8105 w 55297"/>
                <a:gd name="connsiteY1" fmla="*/ 47192 h 55297"/>
                <a:gd name="connsiteX2" fmla="*/ 8105 w 55297"/>
                <a:gd name="connsiteY2" fmla="*/ 8105 h 55297"/>
                <a:gd name="connsiteX3" fmla="*/ 47192 w 55297"/>
                <a:gd name="connsiteY3" fmla="*/ 8105 h 55297"/>
                <a:gd name="connsiteX4" fmla="*/ 47192 w 55297"/>
                <a:gd name="connsiteY4" fmla="*/ 47192 h 552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297" h="55297">
                  <a:moveTo>
                    <a:pt x="47192" y="47192"/>
                  </a:moveTo>
                  <a:cubicBezTo>
                    <a:pt x="36385" y="57999"/>
                    <a:pt x="18912" y="57999"/>
                    <a:pt x="8105" y="47192"/>
                  </a:cubicBezTo>
                  <a:cubicBezTo>
                    <a:pt x="-2702" y="36385"/>
                    <a:pt x="-2702" y="18912"/>
                    <a:pt x="8105" y="8105"/>
                  </a:cubicBezTo>
                  <a:cubicBezTo>
                    <a:pt x="18912" y="-2702"/>
                    <a:pt x="36385" y="-2702"/>
                    <a:pt x="47192" y="8105"/>
                  </a:cubicBezTo>
                  <a:cubicBezTo>
                    <a:pt x="57999" y="18912"/>
                    <a:pt x="57999" y="36385"/>
                    <a:pt x="47192" y="47192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299" name="Forma livre: Forma 2298">
              <a:extLst>
                <a:ext uri="{FF2B5EF4-FFF2-40B4-BE49-F238E27FC236}">
                  <a16:creationId xmlns:a16="http://schemas.microsoft.com/office/drawing/2014/main" id="{E66B8F1A-E97E-9ECB-372B-C7C7BE595C29}"/>
                </a:ext>
              </a:extLst>
            </p:cNvPr>
            <p:cNvSpPr/>
            <p:nvPr/>
          </p:nvSpPr>
          <p:spPr>
            <a:xfrm>
              <a:off x="11276269" y="3835555"/>
              <a:ext cx="55297" cy="55297"/>
            </a:xfrm>
            <a:custGeom>
              <a:avLst/>
              <a:gdLst>
                <a:gd name="connsiteX0" fmla="*/ 47192 w 55297"/>
                <a:gd name="connsiteY0" fmla="*/ 47192 h 55297"/>
                <a:gd name="connsiteX1" fmla="*/ 8105 w 55297"/>
                <a:gd name="connsiteY1" fmla="*/ 47192 h 55297"/>
                <a:gd name="connsiteX2" fmla="*/ 8105 w 55297"/>
                <a:gd name="connsiteY2" fmla="*/ 8105 h 55297"/>
                <a:gd name="connsiteX3" fmla="*/ 47192 w 55297"/>
                <a:gd name="connsiteY3" fmla="*/ 8105 h 55297"/>
                <a:gd name="connsiteX4" fmla="*/ 47192 w 55297"/>
                <a:gd name="connsiteY4" fmla="*/ 47192 h 552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297" h="55297">
                  <a:moveTo>
                    <a:pt x="47192" y="47192"/>
                  </a:moveTo>
                  <a:cubicBezTo>
                    <a:pt x="36385" y="57999"/>
                    <a:pt x="18912" y="57999"/>
                    <a:pt x="8105" y="47192"/>
                  </a:cubicBezTo>
                  <a:cubicBezTo>
                    <a:pt x="-2702" y="36385"/>
                    <a:pt x="-2702" y="18912"/>
                    <a:pt x="8105" y="8105"/>
                  </a:cubicBezTo>
                  <a:cubicBezTo>
                    <a:pt x="18912" y="-2702"/>
                    <a:pt x="36385" y="-2702"/>
                    <a:pt x="47192" y="8105"/>
                  </a:cubicBezTo>
                  <a:cubicBezTo>
                    <a:pt x="57999" y="18912"/>
                    <a:pt x="57999" y="36385"/>
                    <a:pt x="47192" y="47192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300" name="Forma livre: Forma 2299">
              <a:extLst>
                <a:ext uri="{FF2B5EF4-FFF2-40B4-BE49-F238E27FC236}">
                  <a16:creationId xmlns:a16="http://schemas.microsoft.com/office/drawing/2014/main" id="{0C7030B5-536C-EE46-75D5-87AC55736428}"/>
                </a:ext>
              </a:extLst>
            </p:cNvPr>
            <p:cNvSpPr/>
            <p:nvPr/>
          </p:nvSpPr>
          <p:spPr>
            <a:xfrm>
              <a:off x="11222329" y="3850170"/>
              <a:ext cx="55297" cy="55297"/>
            </a:xfrm>
            <a:custGeom>
              <a:avLst/>
              <a:gdLst>
                <a:gd name="connsiteX0" fmla="*/ 47192 w 55297"/>
                <a:gd name="connsiteY0" fmla="*/ 47192 h 55297"/>
                <a:gd name="connsiteX1" fmla="*/ 8105 w 55297"/>
                <a:gd name="connsiteY1" fmla="*/ 47192 h 55297"/>
                <a:gd name="connsiteX2" fmla="*/ 8105 w 55297"/>
                <a:gd name="connsiteY2" fmla="*/ 8105 h 55297"/>
                <a:gd name="connsiteX3" fmla="*/ 47192 w 55297"/>
                <a:gd name="connsiteY3" fmla="*/ 8105 h 55297"/>
                <a:gd name="connsiteX4" fmla="*/ 47192 w 55297"/>
                <a:gd name="connsiteY4" fmla="*/ 47192 h 552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297" h="55297">
                  <a:moveTo>
                    <a:pt x="47192" y="47192"/>
                  </a:moveTo>
                  <a:cubicBezTo>
                    <a:pt x="36385" y="57999"/>
                    <a:pt x="18912" y="57999"/>
                    <a:pt x="8105" y="47192"/>
                  </a:cubicBezTo>
                  <a:cubicBezTo>
                    <a:pt x="-2702" y="36385"/>
                    <a:pt x="-2702" y="18912"/>
                    <a:pt x="8105" y="8105"/>
                  </a:cubicBezTo>
                  <a:cubicBezTo>
                    <a:pt x="18912" y="-2702"/>
                    <a:pt x="36385" y="-2702"/>
                    <a:pt x="47192" y="8105"/>
                  </a:cubicBezTo>
                  <a:cubicBezTo>
                    <a:pt x="57999" y="18912"/>
                    <a:pt x="57999" y="36385"/>
                    <a:pt x="47192" y="47192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2301" name="Gráfico 19">
            <a:extLst>
              <a:ext uri="{FF2B5EF4-FFF2-40B4-BE49-F238E27FC236}">
                <a16:creationId xmlns:a16="http://schemas.microsoft.com/office/drawing/2014/main" id="{82B6705E-75D3-9E47-3CA3-80ECD04E3C41}"/>
              </a:ext>
            </a:extLst>
          </p:cNvPr>
          <p:cNvGrpSpPr/>
          <p:nvPr/>
        </p:nvGrpSpPr>
        <p:grpSpPr>
          <a:xfrm>
            <a:off x="9976286" y="5766896"/>
            <a:ext cx="274319" cy="270177"/>
            <a:chOff x="9976286" y="5766896"/>
            <a:chExt cx="274319" cy="270177"/>
          </a:xfrm>
          <a:noFill/>
        </p:grpSpPr>
        <p:sp>
          <p:nvSpPr>
            <p:cNvPr id="2302" name="Forma livre: Forma 2301">
              <a:extLst>
                <a:ext uri="{FF2B5EF4-FFF2-40B4-BE49-F238E27FC236}">
                  <a16:creationId xmlns:a16="http://schemas.microsoft.com/office/drawing/2014/main" id="{83DB6E68-7788-C7B9-AF81-E86AE9FF5A04}"/>
                </a:ext>
              </a:extLst>
            </p:cNvPr>
            <p:cNvSpPr/>
            <p:nvPr/>
          </p:nvSpPr>
          <p:spPr>
            <a:xfrm>
              <a:off x="10013468" y="5840736"/>
              <a:ext cx="199907" cy="196337"/>
            </a:xfrm>
            <a:custGeom>
              <a:avLst/>
              <a:gdLst>
                <a:gd name="connsiteX0" fmla="*/ 199908 w 199907"/>
                <a:gd name="connsiteY0" fmla="*/ 0 h 196337"/>
                <a:gd name="connsiteX1" fmla="*/ 199908 w 199907"/>
                <a:gd name="connsiteY1" fmla="*/ 177198 h 196337"/>
                <a:gd name="connsiteX2" fmla="*/ 182388 w 199907"/>
                <a:gd name="connsiteY2" fmla="*/ 196337 h 196337"/>
                <a:gd name="connsiteX3" fmla="*/ 17520 w 199907"/>
                <a:gd name="connsiteY3" fmla="*/ 196337 h 196337"/>
                <a:gd name="connsiteX4" fmla="*/ 0 w 199907"/>
                <a:gd name="connsiteY4" fmla="*/ 177198 h 196337"/>
                <a:gd name="connsiteX5" fmla="*/ 0 w 199907"/>
                <a:gd name="connsiteY5" fmla="*/ 24137 h 1963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99907" h="196337">
                  <a:moveTo>
                    <a:pt x="199908" y="0"/>
                  </a:moveTo>
                  <a:lnTo>
                    <a:pt x="199908" y="177198"/>
                  </a:lnTo>
                  <a:cubicBezTo>
                    <a:pt x="199908" y="187720"/>
                    <a:pt x="192052" y="196337"/>
                    <a:pt x="182388" y="196337"/>
                  </a:cubicBezTo>
                  <a:lnTo>
                    <a:pt x="17520" y="196337"/>
                  </a:lnTo>
                  <a:cubicBezTo>
                    <a:pt x="7903" y="196337"/>
                    <a:pt x="0" y="187720"/>
                    <a:pt x="0" y="177198"/>
                  </a:cubicBezTo>
                  <a:lnTo>
                    <a:pt x="0" y="24137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303" name="Forma livre: Forma 2302">
              <a:extLst>
                <a:ext uri="{FF2B5EF4-FFF2-40B4-BE49-F238E27FC236}">
                  <a16:creationId xmlns:a16="http://schemas.microsoft.com/office/drawing/2014/main" id="{00874403-FD50-1E27-FC0E-BBCC2EDBB0B7}"/>
                </a:ext>
              </a:extLst>
            </p:cNvPr>
            <p:cNvSpPr/>
            <p:nvPr/>
          </p:nvSpPr>
          <p:spPr>
            <a:xfrm>
              <a:off x="9976286" y="5808458"/>
              <a:ext cx="274319" cy="36098"/>
            </a:xfrm>
            <a:custGeom>
              <a:avLst/>
              <a:gdLst>
                <a:gd name="connsiteX0" fmla="*/ 19091 w 274319"/>
                <a:gd name="connsiteY0" fmla="*/ 16806 h 36098"/>
                <a:gd name="connsiteX1" fmla="*/ 0 w 274319"/>
                <a:gd name="connsiteY1" fmla="*/ 33945 h 36098"/>
                <a:gd name="connsiteX2" fmla="*/ 60177 w 274319"/>
                <a:gd name="connsiteY2" fmla="*/ 28993 h 36098"/>
                <a:gd name="connsiteX3" fmla="*/ 111927 w 274319"/>
                <a:gd name="connsiteY3" fmla="*/ 32755 h 36098"/>
                <a:gd name="connsiteX4" fmla="*/ 137160 w 274319"/>
                <a:gd name="connsiteY4" fmla="*/ 36087 h 36098"/>
                <a:gd name="connsiteX5" fmla="*/ 162392 w 274319"/>
                <a:gd name="connsiteY5" fmla="*/ 32755 h 36098"/>
                <a:gd name="connsiteX6" fmla="*/ 214143 w 274319"/>
                <a:gd name="connsiteY6" fmla="*/ 28993 h 36098"/>
                <a:gd name="connsiteX7" fmla="*/ 274320 w 274319"/>
                <a:gd name="connsiteY7" fmla="*/ 33945 h 36098"/>
                <a:gd name="connsiteX8" fmla="*/ 250039 w 274319"/>
                <a:gd name="connsiteY8" fmla="*/ 8808 h 36098"/>
                <a:gd name="connsiteX9" fmla="*/ 247326 w 274319"/>
                <a:gd name="connsiteY9" fmla="*/ 0 h 360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74319" h="36098">
                  <a:moveTo>
                    <a:pt x="19091" y="16806"/>
                  </a:moveTo>
                  <a:cubicBezTo>
                    <a:pt x="11712" y="24947"/>
                    <a:pt x="0" y="33945"/>
                    <a:pt x="0" y="33945"/>
                  </a:cubicBezTo>
                  <a:cubicBezTo>
                    <a:pt x="0" y="33945"/>
                    <a:pt x="21805" y="40943"/>
                    <a:pt x="60177" y="28993"/>
                  </a:cubicBezTo>
                  <a:cubicBezTo>
                    <a:pt x="60177" y="28993"/>
                    <a:pt x="81172" y="21376"/>
                    <a:pt x="111927" y="32755"/>
                  </a:cubicBezTo>
                  <a:cubicBezTo>
                    <a:pt x="111927" y="32755"/>
                    <a:pt x="122116" y="36325"/>
                    <a:pt x="137160" y="36087"/>
                  </a:cubicBezTo>
                  <a:cubicBezTo>
                    <a:pt x="152204" y="36278"/>
                    <a:pt x="162392" y="32755"/>
                    <a:pt x="162392" y="32755"/>
                  </a:cubicBezTo>
                  <a:cubicBezTo>
                    <a:pt x="193147" y="21376"/>
                    <a:pt x="214143" y="28993"/>
                    <a:pt x="214143" y="28993"/>
                  </a:cubicBezTo>
                  <a:cubicBezTo>
                    <a:pt x="252515" y="40991"/>
                    <a:pt x="274320" y="33945"/>
                    <a:pt x="274320" y="33945"/>
                  </a:cubicBezTo>
                  <a:cubicBezTo>
                    <a:pt x="274320" y="33945"/>
                    <a:pt x="254134" y="18710"/>
                    <a:pt x="250039" y="8808"/>
                  </a:cubicBezTo>
                  <a:cubicBezTo>
                    <a:pt x="248516" y="5046"/>
                    <a:pt x="247707" y="2142"/>
                    <a:pt x="247326" y="0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304" name="Forma livre: Forma 2303">
              <a:extLst>
                <a:ext uri="{FF2B5EF4-FFF2-40B4-BE49-F238E27FC236}">
                  <a16:creationId xmlns:a16="http://schemas.microsoft.com/office/drawing/2014/main" id="{B7E5A60E-AA69-CCB3-8A40-946BB0EF553A}"/>
                </a:ext>
              </a:extLst>
            </p:cNvPr>
            <p:cNvSpPr/>
            <p:nvPr/>
          </p:nvSpPr>
          <p:spPr>
            <a:xfrm>
              <a:off x="10003208" y="5766896"/>
              <a:ext cx="220474" cy="37324"/>
            </a:xfrm>
            <a:custGeom>
              <a:avLst/>
              <a:gdLst>
                <a:gd name="connsiteX0" fmla="*/ 218499 w 220474"/>
                <a:gd name="connsiteY0" fmla="*/ 37325 h 37324"/>
                <a:gd name="connsiteX1" fmla="*/ 183935 w 220474"/>
                <a:gd name="connsiteY1" fmla="*/ 0 h 37324"/>
                <a:gd name="connsiteX2" fmla="*/ 36587 w 220474"/>
                <a:gd name="connsiteY2" fmla="*/ 0 h 37324"/>
                <a:gd name="connsiteX3" fmla="*/ 1976 w 220474"/>
                <a:gd name="connsiteY3" fmla="*/ 37325 h 373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20474" h="37324">
                  <a:moveTo>
                    <a:pt x="218499" y="37325"/>
                  </a:moveTo>
                  <a:cubicBezTo>
                    <a:pt x="227640" y="10950"/>
                    <a:pt x="203169" y="0"/>
                    <a:pt x="183935" y="0"/>
                  </a:cubicBezTo>
                  <a:lnTo>
                    <a:pt x="36587" y="0"/>
                  </a:lnTo>
                  <a:cubicBezTo>
                    <a:pt x="17306" y="0"/>
                    <a:pt x="-7165" y="10950"/>
                    <a:pt x="1976" y="37325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305" name="Forma livre: Forma 2304">
              <a:extLst>
                <a:ext uri="{FF2B5EF4-FFF2-40B4-BE49-F238E27FC236}">
                  <a16:creationId xmlns:a16="http://schemas.microsoft.com/office/drawing/2014/main" id="{BD90D61B-CFAB-5365-325A-F66EAF43FCAE}"/>
                </a:ext>
              </a:extLst>
            </p:cNvPr>
            <p:cNvSpPr/>
            <p:nvPr/>
          </p:nvSpPr>
          <p:spPr>
            <a:xfrm>
              <a:off x="9992806" y="5806030"/>
              <a:ext cx="241231" cy="4760"/>
            </a:xfrm>
            <a:custGeom>
              <a:avLst/>
              <a:gdLst>
                <a:gd name="connsiteX0" fmla="*/ 0 w 241231"/>
                <a:gd name="connsiteY0" fmla="*/ 0 h 4760"/>
                <a:gd name="connsiteX1" fmla="*/ 241232 w 241231"/>
                <a:gd name="connsiteY1" fmla="*/ 0 h 47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41231" h="4760">
                  <a:moveTo>
                    <a:pt x="0" y="0"/>
                  </a:moveTo>
                  <a:lnTo>
                    <a:pt x="241232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306" name="Forma livre: Forma 2305">
              <a:extLst>
                <a:ext uri="{FF2B5EF4-FFF2-40B4-BE49-F238E27FC236}">
                  <a16:creationId xmlns:a16="http://schemas.microsoft.com/office/drawing/2014/main" id="{279DA8B4-E281-17AA-4451-2515BAE38149}"/>
                </a:ext>
              </a:extLst>
            </p:cNvPr>
            <p:cNvSpPr/>
            <p:nvPr/>
          </p:nvSpPr>
          <p:spPr>
            <a:xfrm>
              <a:off x="10036082" y="5881299"/>
              <a:ext cx="112260" cy="109784"/>
            </a:xfrm>
            <a:custGeom>
              <a:avLst/>
              <a:gdLst>
                <a:gd name="connsiteX0" fmla="*/ 476 w 112260"/>
                <a:gd name="connsiteY0" fmla="*/ 0 h 109784"/>
                <a:gd name="connsiteX1" fmla="*/ 112261 w 112260"/>
                <a:gd name="connsiteY1" fmla="*/ 0 h 109784"/>
                <a:gd name="connsiteX2" fmla="*/ 112261 w 112260"/>
                <a:gd name="connsiteY2" fmla="*/ 109785 h 109784"/>
                <a:gd name="connsiteX3" fmla="*/ 0 w 112260"/>
                <a:gd name="connsiteY3" fmla="*/ 109785 h 1097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2260" h="109784">
                  <a:moveTo>
                    <a:pt x="476" y="0"/>
                  </a:moveTo>
                  <a:lnTo>
                    <a:pt x="112261" y="0"/>
                  </a:lnTo>
                  <a:lnTo>
                    <a:pt x="112261" y="109785"/>
                  </a:lnTo>
                  <a:lnTo>
                    <a:pt x="0" y="109785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307" name="Forma livre: Forma 2306">
              <a:extLst>
                <a:ext uri="{FF2B5EF4-FFF2-40B4-BE49-F238E27FC236}">
                  <a16:creationId xmlns:a16="http://schemas.microsoft.com/office/drawing/2014/main" id="{0C560F29-622D-423A-815E-B54F7B5817BA}"/>
                </a:ext>
              </a:extLst>
            </p:cNvPr>
            <p:cNvSpPr/>
            <p:nvPr/>
          </p:nvSpPr>
          <p:spPr>
            <a:xfrm>
              <a:off x="10150723" y="5906912"/>
              <a:ext cx="60129" cy="4760"/>
            </a:xfrm>
            <a:custGeom>
              <a:avLst/>
              <a:gdLst>
                <a:gd name="connsiteX0" fmla="*/ 0 w 60129"/>
                <a:gd name="connsiteY0" fmla="*/ 0 h 4760"/>
                <a:gd name="connsiteX1" fmla="*/ 60129 w 60129"/>
                <a:gd name="connsiteY1" fmla="*/ 0 h 47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129" h="4760">
                  <a:moveTo>
                    <a:pt x="0" y="0"/>
                  </a:moveTo>
                  <a:lnTo>
                    <a:pt x="60129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2308" name="Gráfico 19">
            <a:extLst>
              <a:ext uri="{FF2B5EF4-FFF2-40B4-BE49-F238E27FC236}">
                <a16:creationId xmlns:a16="http://schemas.microsoft.com/office/drawing/2014/main" id="{64ABF563-10FB-2EFA-371E-8541F247A658}"/>
              </a:ext>
            </a:extLst>
          </p:cNvPr>
          <p:cNvGrpSpPr/>
          <p:nvPr/>
        </p:nvGrpSpPr>
        <p:grpSpPr>
          <a:xfrm>
            <a:off x="10589530" y="5760992"/>
            <a:ext cx="290316" cy="281984"/>
            <a:chOff x="10589530" y="5760992"/>
            <a:chExt cx="290316" cy="281984"/>
          </a:xfrm>
        </p:grpSpPr>
        <p:sp>
          <p:nvSpPr>
            <p:cNvPr id="2309" name="Forma livre: Forma 2308">
              <a:extLst>
                <a:ext uri="{FF2B5EF4-FFF2-40B4-BE49-F238E27FC236}">
                  <a16:creationId xmlns:a16="http://schemas.microsoft.com/office/drawing/2014/main" id="{A649BF3D-4007-8781-653D-63B90F7D4673}"/>
                </a:ext>
              </a:extLst>
            </p:cNvPr>
            <p:cNvSpPr/>
            <p:nvPr/>
          </p:nvSpPr>
          <p:spPr>
            <a:xfrm>
              <a:off x="10664154" y="5839689"/>
              <a:ext cx="7976" cy="21995"/>
            </a:xfrm>
            <a:custGeom>
              <a:avLst/>
              <a:gdLst>
                <a:gd name="connsiteX0" fmla="*/ 7976 w 7976"/>
                <a:gd name="connsiteY0" fmla="*/ 0 h 21995"/>
                <a:gd name="connsiteX1" fmla="*/ 168 w 7976"/>
                <a:gd name="connsiteY1" fmla="*/ 21995 h 219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976" h="21995">
                  <a:moveTo>
                    <a:pt x="7976" y="0"/>
                  </a:moveTo>
                  <a:cubicBezTo>
                    <a:pt x="2025" y="5142"/>
                    <a:pt x="-736" y="11093"/>
                    <a:pt x="168" y="21995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310" name="Forma livre: Forma 2309">
              <a:extLst>
                <a:ext uri="{FF2B5EF4-FFF2-40B4-BE49-F238E27FC236}">
                  <a16:creationId xmlns:a16="http://schemas.microsoft.com/office/drawing/2014/main" id="{D43EF327-CE94-963A-9D8B-1C27C62D3061}"/>
                </a:ext>
              </a:extLst>
            </p:cNvPr>
            <p:cNvSpPr/>
            <p:nvPr/>
          </p:nvSpPr>
          <p:spPr>
            <a:xfrm>
              <a:off x="10633660" y="5811140"/>
              <a:ext cx="123212" cy="76062"/>
            </a:xfrm>
            <a:custGeom>
              <a:avLst/>
              <a:gdLst>
                <a:gd name="connsiteX0" fmla="*/ 123213 w 123212"/>
                <a:gd name="connsiteY0" fmla="*/ 9078 h 76062"/>
                <a:gd name="connsiteX1" fmla="*/ 86697 w 123212"/>
                <a:gd name="connsiteY1" fmla="*/ 1984 h 76062"/>
                <a:gd name="connsiteX2" fmla="*/ 67416 w 123212"/>
                <a:gd name="connsiteY2" fmla="*/ 5602 h 76062"/>
                <a:gd name="connsiteX3" fmla="*/ 48277 w 123212"/>
                <a:gd name="connsiteY3" fmla="*/ 1984 h 76062"/>
                <a:gd name="connsiteX4" fmla="*/ 1050 w 123212"/>
                <a:gd name="connsiteY4" fmla="*/ 31787 h 76062"/>
                <a:gd name="connsiteX5" fmla="*/ 5953 w 123212"/>
                <a:gd name="connsiteY5" fmla="*/ 76063 h 760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23212" h="76062">
                  <a:moveTo>
                    <a:pt x="123213" y="9078"/>
                  </a:moveTo>
                  <a:cubicBezTo>
                    <a:pt x="108502" y="-4396"/>
                    <a:pt x="86697" y="1984"/>
                    <a:pt x="86697" y="1984"/>
                  </a:cubicBezTo>
                  <a:cubicBezTo>
                    <a:pt x="73414" y="5793"/>
                    <a:pt x="67416" y="5602"/>
                    <a:pt x="67416" y="5602"/>
                  </a:cubicBezTo>
                  <a:cubicBezTo>
                    <a:pt x="67416" y="5602"/>
                    <a:pt x="61655" y="5650"/>
                    <a:pt x="48277" y="1984"/>
                  </a:cubicBezTo>
                  <a:cubicBezTo>
                    <a:pt x="48277" y="1984"/>
                    <a:pt x="11524" y="-11489"/>
                    <a:pt x="1050" y="31787"/>
                  </a:cubicBezTo>
                  <a:cubicBezTo>
                    <a:pt x="1050" y="31787"/>
                    <a:pt x="-3378" y="52306"/>
                    <a:pt x="5953" y="76063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311" name="Forma livre: Forma 2310">
              <a:extLst>
                <a:ext uri="{FF2B5EF4-FFF2-40B4-BE49-F238E27FC236}">
                  <a16:creationId xmlns:a16="http://schemas.microsoft.com/office/drawing/2014/main" id="{4F89A887-FCE7-7B9A-5181-B89DFC1B1F1B}"/>
                </a:ext>
              </a:extLst>
            </p:cNvPr>
            <p:cNvSpPr/>
            <p:nvPr/>
          </p:nvSpPr>
          <p:spPr>
            <a:xfrm>
              <a:off x="10687270" y="5779036"/>
              <a:ext cx="16144" cy="33373"/>
            </a:xfrm>
            <a:custGeom>
              <a:avLst/>
              <a:gdLst>
                <a:gd name="connsiteX0" fmla="*/ 0 w 16144"/>
                <a:gd name="connsiteY0" fmla="*/ 0 h 33373"/>
                <a:gd name="connsiteX1" fmla="*/ 15996 w 16144"/>
                <a:gd name="connsiteY1" fmla="*/ 33374 h 333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6144" h="33373">
                  <a:moveTo>
                    <a:pt x="0" y="0"/>
                  </a:moveTo>
                  <a:cubicBezTo>
                    <a:pt x="0" y="0"/>
                    <a:pt x="17948" y="11140"/>
                    <a:pt x="15996" y="33374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312" name="Forma livre: Forma 2311">
              <a:extLst>
                <a:ext uri="{FF2B5EF4-FFF2-40B4-BE49-F238E27FC236}">
                  <a16:creationId xmlns:a16="http://schemas.microsoft.com/office/drawing/2014/main" id="{8455770D-EB66-3884-AF5E-48564FD1A0DD}"/>
                </a:ext>
              </a:extLst>
            </p:cNvPr>
            <p:cNvSpPr/>
            <p:nvPr/>
          </p:nvSpPr>
          <p:spPr>
            <a:xfrm>
              <a:off x="10822716" y="5763087"/>
              <a:ext cx="4475" cy="30897"/>
            </a:xfrm>
            <a:custGeom>
              <a:avLst/>
              <a:gdLst>
                <a:gd name="connsiteX0" fmla="*/ 4475 w 4475"/>
                <a:gd name="connsiteY0" fmla="*/ 0 h 30897"/>
                <a:gd name="connsiteX1" fmla="*/ 0 w 4475"/>
                <a:gd name="connsiteY1" fmla="*/ 30898 h 308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475" h="30897">
                  <a:moveTo>
                    <a:pt x="4475" y="0"/>
                  </a:moveTo>
                  <a:lnTo>
                    <a:pt x="0" y="30898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313" name="Forma livre: Forma 2312">
              <a:extLst>
                <a:ext uri="{FF2B5EF4-FFF2-40B4-BE49-F238E27FC236}">
                  <a16:creationId xmlns:a16="http://schemas.microsoft.com/office/drawing/2014/main" id="{FD2FD306-6610-D505-5475-4E12C43EC44C}"/>
                </a:ext>
              </a:extLst>
            </p:cNvPr>
            <p:cNvSpPr/>
            <p:nvPr/>
          </p:nvSpPr>
          <p:spPr>
            <a:xfrm>
              <a:off x="10847996" y="5788796"/>
              <a:ext cx="23708" cy="19138"/>
            </a:xfrm>
            <a:custGeom>
              <a:avLst/>
              <a:gdLst>
                <a:gd name="connsiteX0" fmla="*/ 23709 w 23708"/>
                <a:gd name="connsiteY0" fmla="*/ 0 h 19138"/>
                <a:gd name="connsiteX1" fmla="*/ 0 w 23708"/>
                <a:gd name="connsiteY1" fmla="*/ 19139 h 19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3708" h="19138">
                  <a:moveTo>
                    <a:pt x="23709" y="0"/>
                  </a:moveTo>
                  <a:lnTo>
                    <a:pt x="0" y="19139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314" name="Forma livre: Forma 2313">
              <a:extLst>
                <a:ext uri="{FF2B5EF4-FFF2-40B4-BE49-F238E27FC236}">
                  <a16:creationId xmlns:a16="http://schemas.microsoft.com/office/drawing/2014/main" id="{9D09942A-624C-7671-EF88-E7BB22A91E60}"/>
                </a:ext>
              </a:extLst>
            </p:cNvPr>
            <p:cNvSpPr/>
            <p:nvPr/>
          </p:nvSpPr>
          <p:spPr>
            <a:xfrm>
              <a:off x="10835570" y="5760992"/>
              <a:ext cx="22137" cy="38372"/>
            </a:xfrm>
            <a:custGeom>
              <a:avLst/>
              <a:gdLst>
                <a:gd name="connsiteX0" fmla="*/ 0 w 22137"/>
                <a:gd name="connsiteY0" fmla="*/ 38372 h 38372"/>
                <a:gd name="connsiteX1" fmla="*/ 22138 w 22137"/>
                <a:gd name="connsiteY1" fmla="*/ 0 h 383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2137" h="38372">
                  <a:moveTo>
                    <a:pt x="0" y="38372"/>
                  </a:moveTo>
                  <a:lnTo>
                    <a:pt x="22138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315" name="Forma livre: Forma 2314">
              <a:extLst>
                <a:ext uri="{FF2B5EF4-FFF2-40B4-BE49-F238E27FC236}">
                  <a16:creationId xmlns:a16="http://schemas.microsoft.com/office/drawing/2014/main" id="{31AF03A3-9830-8E7F-FA24-79D3813A4494}"/>
                </a:ext>
              </a:extLst>
            </p:cNvPr>
            <p:cNvSpPr/>
            <p:nvPr/>
          </p:nvSpPr>
          <p:spPr>
            <a:xfrm>
              <a:off x="10757968" y="5792613"/>
              <a:ext cx="102454" cy="94826"/>
            </a:xfrm>
            <a:custGeom>
              <a:avLst/>
              <a:gdLst>
                <a:gd name="connsiteX0" fmla="*/ 66795 w 102454"/>
                <a:gd name="connsiteY0" fmla="*/ 94827 h 94826"/>
                <a:gd name="connsiteX1" fmla="*/ 99644 w 102454"/>
                <a:gd name="connsiteY1" fmla="*/ 48932 h 94826"/>
                <a:gd name="connsiteX2" fmla="*/ 76840 w 102454"/>
                <a:gd name="connsiteY2" fmla="*/ 7180 h 94826"/>
                <a:gd name="connsiteX3" fmla="*/ 29422 w 102454"/>
                <a:gd name="connsiteY3" fmla="*/ 11369 h 94826"/>
                <a:gd name="connsiteX4" fmla="*/ 0 w 102454"/>
                <a:gd name="connsiteY4" fmla="*/ 94684 h 948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454" h="94826">
                  <a:moveTo>
                    <a:pt x="66795" y="94827"/>
                  </a:moveTo>
                  <a:cubicBezTo>
                    <a:pt x="86695" y="69213"/>
                    <a:pt x="99644" y="48932"/>
                    <a:pt x="99644" y="48932"/>
                  </a:cubicBezTo>
                  <a:cubicBezTo>
                    <a:pt x="112546" y="27080"/>
                    <a:pt x="76840" y="7180"/>
                    <a:pt x="76840" y="7180"/>
                  </a:cubicBezTo>
                  <a:cubicBezTo>
                    <a:pt x="76840" y="7180"/>
                    <a:pt x="40467" y="-11483"/>
                    <a:pt x="29422" y="11369"/>
                  </a:cubicBezTo>
                  <a:cubicBezTo>
                    <a:pt x="29422" y="11369"/>
                    <a:pt x="12473" y="49408"/>
                    <a:pt x="0" y="94684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316" name="Forma livre: Forma 2315">
              <a:extLst>
                <a:ext uri="{FF2B5EF4-FFF2-40B4-BE49-F238E27FC236}">
                  <a16:creationId xmlns:a16="http://schemas.microsoft.com/office/drawing/2014/main" id="{7DD809A0-D237-76FC-0B83-4A2317264B5A}"/>
                </a:ext>
              </a:extLst>
            </p:cNvPr>
            <p:cNvSpPr/>
            <p:nvPr/>
          </p:nvSpPr>
          <p:spPr>
            <a:xfrm>
              <a:off x="10784296" y="5813647"/>
              <a:ext cx="21947" cy="17995"/>
            </a:xfrm>
            <a:custGeom>
              <a:avLst/>
              <a:gdLst>
                <a:gd name="connsiteX0" fmla="*/ 0 w 21947"/>
                <a:gd name="connsiteY0" fmla="*/ 0 h 17995"/>
                <a:gd name="connsiteX1" fmla="*/ 21947 w 21947"/>
                <a:gd name="connsiteY1" fmla="*/ 17996 h 179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1947" h="17995">
                  <a:moveTo>
                    <a:pt x="0" y="0"/>
                  </a:moveTo>
                  <a:cubicBezTo>
                    <a:pt x="0" y="0"/>
                    <a:pt x="7951" y="11378"/>
                    <a:pt x="21947" y="17996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317" name="Forma livre: Forma 2316">
              <a:extLst>
                <a:ext uri="{FF2B5EF4-FFF2-40B4-BE49-F238E27FC236}">
                  <a16:creationId xmlns:a16="http://schemas.microsoft.com/office/drawing/2014/main" id="{28761CF3-67AF-46D0-289F-A55521DC7898}"/>
                </a:ext>
              </a:extLst>
            </p:cNvPr>
            <p:cNvSpPr/>
            <p:nvPr/>
          </p:nvSpPr>
          <p:spPr>
            <a:xfrm>
              <a:off x="10770775" y="5849115"/>
              <a:ext cx="20852" cy="17853"/>
            </a:xfrm>
            <a:custGeom>
              <a:avLst/>
              <a:gdLst>
                <a:gd name="connsiteX0" fmla="*/ 0 w 20852"/>
                <a:gd name="connsiteY0" fmla="*/ 0 h 17853"/>
                <a:gd name="connsiteX1" fmla="*/ 20853 w 20852"/>
                <a:gd name="connsiteY1" fmla="*/ 17853 h 178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0852" h="17853">
                  <a:moveTo>
                    <a:pt x="0" y="0"/>
                  </a:moveTo>
                  <a:cubicBezTo>
                    <a:pt x="2999" y="4047"/>
                    <a:pt x="8331" y="11569"/>
                    <a:pt x="20853" y="17853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318" name="Forma livre: Forma 2317">
              <a:extLst>
                <a:ext uri="{FF2B5EF4-FFF2-40B4-BE49-F238E27FC236}">
                  <a16:creationId xmlns:a16="http://schemas.microsoft.com/office/drawing/2014/main" id="{BAA44321-466A-FECF-4294-FCE62D2724F9}"/>
                </a:ext>
              </a:extLst>
            </p:cNvPr>
            <p:cNvSpPr/>
            <p:nvPr/>
          </p:nvSpPr>
          <p:spPr>
            <a:xfrm>
              <a:off x="10816907" y="5856066"/>
              <a:ext cx="22042" cy="8998"/>
            </a:xfrm>
            <a:custGeom>
              <a:avLst/>
              <a:gdLst>
                <a:gd name="connsiteX0" fmla="*/ 0 w 22042"/>
                <a:gd name="connsiteY0" fmla="*/ 0 h 8998"/>
                <a:gd name="connsiteX1" fmla="*/ 22043 w 22042"/>
                <a:gd name="connsiteY1" fmla="*/ 8998 h 89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2042" h="8998">
                  <a:moveTo>
                    <a:pt x="0" y="0"/>
                  </a:moveTo>
                  <a:cubicBezTo>
                    <a:pt x="0" y="0"/>
                    <a:pt x="11712" y="7427"/>
                    <a:pt x="22043" y="8998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319" name="Forma livre: Forma 2318">
              <a:extLst>
                <a:ext uri="{FF2B5EF4-FFF2-40B4-BE49-F238E27FC236}">
                  <a16:creationId xmlns:a16="http://schemas.microsoft.com/office/drawing/2014/main" id="{72D96E08-B6D9-398E-2CBA-A6E37EF6D02B}"/>
                </a:ext>
              </a:extLst>
            </p:cNvPr>
            <p:cNvSpPr/>
            <p:nvPr/>
          </p:nvSpPr>
          <p:spPr>
            <a:xfrm>
              <a:off x="10589530" y="5888250"/>
              <a:ext cx="290316" cy="69793"/>
            </a:xfrm>
            <a:custGeom>
              <a:avLst/>
              <a:gdLst>
                <a:gd name="connsiteX0" fmla="*/ 0 w 290316"/>
                <a:gd name="connsiteY0" fmla="*/ 69794 h 69793"/>
                <a:gd name="connsiteX1" fmla="*/ 0 w 290316"/>
                <a:gd name="connsiteY1" fmla="*/ 0 h 69793"/>
                <a:gd name="connsiteX2" fmla="*/ 290316 w 290316"/>
                <a:gd name="connsiteY2" fmla="*/ 0 h 69793"/>
                <a:gd name="connsiteX3" fmla="*/ 290316 w 290316"/>
                <a:gd name="connsiteY3" fmla="*/ 69794 h 697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90316" h="69793">
                  <a:moveTo>
                    <a:pt x="0" y="69794"/>
                  </a:moveTo>
                  <a:lnTo>
                    <a:pt x="0" y="0"/>
                  </a:lnTo>
                  <a:lnTo>
                    <a:pt x="290316" y="0"/>
                  </a:lnTo>
                  <a:lnTo>
                    <a:pt x="290316" y="69794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320" name="Forma livre: Forma 2319">
              <a:extLst>
                <a:ext uri="{FF2B5EF4-FFF2-40B4-BE49-F238E27FC236}">
                  <a16:creationId xmlns:a16="http://schemas.microsoft.com/office/drawing/2014/main" id="{7ADF4A35-E610-F50D-A8A1-361902C5440F}"/>
                </a:ext>
              </a:extLst>
            </p:cNvPr>
            <p:cNvSpPr/>
            <p:nvPr/>
          </p:nvSpPr>
          <p:spPr>
            <a:xfrm>
              <a:off x="10589530" y="5974421"/>
              <a:ext cx="290316" cy="68556"/>
            </a:xfrm>
            <a:custGeom>
              <a:avLst/>
              <a:gdLst>
                <a:gd name="connsiteX0" fmla="*/ 290316 w 290316"/>
                <a:gd name="connsiteY0" fmla="*/ 0 h 68556"/>
                <a:gd name="connsiteX1" fmla="*/ 290316 w 290316"/>
                <a:gd name="connsiteY1" fmla="*/ 68556 h 68556"/>
                <a:gd name="connsiteX2" fmla="*/ 0 w 290316"/>
                <a:gd name="connsiteY2" fmla="*/ 68556 h 68556"/>
                <a:gd name="connsiteX3" fmla="*/ 0 w 290316"/>
                <a:gd name="connsiteY3" fmla="*/ 0 h 685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90316" h="68556">
                  <a:moveTo>
                    <a:pt x="290316" y="0"/>
                  </a:moveTo>
                  <a:lnTo>
                    <a:pt x="290316" y="68556"/>
                  </a:lnTo>
                  <a:lnTo>
                    <a:pt x="0" y="68556"/>
                  </a:lnTo>
                  <a:lnTo>
                    <a:pt x="0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321" name="Forma livre: Forma 2320">
              <a:extLst>
                <a:ext uri="{FF2B5EF4-FFF2-40B4-BE49-F238E27FC236}">
                  <a16:creationId xmlns:a16="http://schemas.microsoft.com/office/drawing/2014/main" id="{1B7F4FE3-DE25-3640-909D-6A0C9053BFA7}"/>
                </a:ext>
              </a:extLst>
            </p:cNvPr>
            <p:cNvSpPr/>
            <p:nvPr/>
          </p:nvSpPr>
          <p:spPr>
            <a:xfrm>
              <a:off x="10612667" y="5966089"/>
              <a:ext cx="244088" cy="4760"/>
            </a:xfrm>
            <a:custGeom>
              <a:avLst/>
              <a:gdLst>
                <a:gd name="connsiteX0" fmla="*/ 0 w 244088"/>
                <a:gd name="connsiteY0" fmla="*/ 0 h 4760"/>
                <a:gd name="connsiteX1" fmla="*/ 244088 w 244088"/>
                <a:gd name="connsiteY1" fmla="*/ 0 h 47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44088" h="4760">
                  <a:moveTo>
                    <a:pt x="0" y="0"/>
                  </a:moveTo>
                  <a:lnTo>
                    <a:pt x="244088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2322" name="Gráfico 19">
              <a:extLst>
                <a:ext uri="{FF2B5EF4-FFF2-40B4-BE49-F238E27FC236}">
                  <a16:creationId xmlns:a16="http://schemas.microsoft.com/office/drawing/2014/main" id="{1B9A55FA-3FEB-297A-348B-9AFE1E022533}"/>
                </a:ext>
              </a:extLst>
            </p:cNvPr>
            <p:cNvGrpSpPr/>
            <p:nvPr/>
          </p:nvGrpSpPr>
          <p:grpSpPr>
            <a:xfrm>
              <a:off x="10624569" y="5923242"/>
              <a:ext cx="220236" cy="7426"/>
              <a:chOff x="10624569" y="5923242"/>
              <a:chExt cx="220236" cy="7426"/>
            </a:xfrm>
            <a:solidFill>
              <a:srgbClr val="394553"/>
            </a:solidFill>
          </p:grpSpPr>
          <p:sp>
            <p:nvSpPr>
              <p:cNvPr id="2323" name="Forma livre: Forma 2322">
                <a:extLst>
                  <a:ext uri="{FF2B5EF4-FFF2-40B4-BE49-F238E27FC236}">
                    <a16:creationId xmlns:a16="http://schemas.microsoft.com/office/drawing/2014/main" id="{91A79BB8-6DA8-D277-0C52-F918FEE8D3F7}"/>
                  </a:ext>
                </a:extLst>
              </p:cNvPr>
              <p:cNvSpPr/>
              <p:nvPr/>
            </p:nvSpPr>
            <p:spPr>
              <a:xfrm>
                <a:off x="10624569" y="5923242"/>
                <a:ext cx="7426" cy="7426"/>
              </a:xfrm>
              <a:custGeom>
                <a:avLst/>
                <a:gdLst>
                  <a:gd name="connsiteX0" fmla="*/ 7427 w 7426"/>
                  <a:gd name="connsiteY0" fmla="*/ 3713 h 7426"/>
                  <a:gd name="connsiteX1" fmla="*/ 3713 w 7426"/>
                  <a:gd name="connsiteY1" fmla="*/ 7427 h 7426"/>
                  <a:gd name="connsiteX2" fmla="*/ 0 w 7426"/>
                  <a:gd name="connsiteY2" fmla="*/ 3713 h 7426"/>
                  <a:gd name="connsiteX3" fmla="*/ 3713 w 7426"/>
                  <a:gd name="connsiteY3" fmla="*/ 0 h 7426"/>
                  <a:gd name="connsiteX4" fmla="*/ 7427 w 7426"/>
                  <a:gd name="connsiteY4" fmla="*/ 3713 h 74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426" h="7426">
                    <a:moveTo>
                      <a:pt x="7427" y="3713"/>
                    </a:moveTo>
                    <a:cubicBezTo>
                      <a:pt x="7427" y="5761"/>
                      <a:pt x="5761" y="7427"/>
                      <a:pt x="3713" y="7427"/>
                    </a:cubicBezTo>
                    <a:cubicBezTo>
                      <a:pt x="1666" y="7427"/>
                      <a:pt x="0" y="5761"/>
                      <a:pt x="0" y="3713"/>
                    </a:cubicBezTo>
                    <a:cubicBezTo>
                      <a:pt x="0" y="1666"/>
                      <a:pt x="1666" y="0"/>
                      <a:pt x="3713" y="0"/>
                    </a:cubicBezTo>
                    <a:cubicBezTo>
                      <a:pt x="5761" y="0"/>
                      <a:pt x="7427" y="1666"/>
                      <a:pt x="7427" y="3713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324" name="Forma livre: Forma 2323">
                <a:extLst>
                  <a:ext uri="{FF2B5EF4-FFF2-40B4-BE49-F238E27FC236}">
                    <a16:creationId xmlns:a16="http://schemas.microsoft.com/office/drawing/2014/main" id="{8E42A873-7052-7F17-04EE-D6030BB23E12}"/>
                  </a:ext>
                </a:extLst>
              </p:cNvPr>
              <p:cNvSpPr/>
              <p:nvPr/>
            </p:nvSpPr>
            <p:spPr>
              <a:xfrm>
                <a:off x="10837379" y="5923242"/>
                <a:ext cx="7426" cy="7426"/>
              </a:xfrm>
              <a:custGeom>
                <a:avLst/>
                <a:gdLst>
                  <a:gd name="connsiteX0" fmla="*/ 7427 w 7426"/>
                  <a:gd name="connsiteY0" fmla="*/ 3713 h 7426"/>
                  <a:gd name="connsiteX1" fmla="*/ 3713 w 7426"/>
                  <a:gd name="connsiteY1" fmla="*/ 7427 h 7426"/>
                  <a:gd name="connsiteX2" fmla="*/ 0 w 7426"/>
                  <a:gd name="connsiteY2" fmla="*/ 3713 h 7426"/>
                  <a:gd name="connsiteX3" fmla="*/ 3713 w 7426"/>
                  <a:gd name="connsiteY3" fmla="*/ 0 h 7426"/>
                  <a:gd name="connsiteX4" fmla="*/ 7427 w 7426"/>
                  <a:gd name="connsiteY4" fmla="*/ 3713 h 74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426" h="7426">
                    <a:moveTo>
                      <a:pt x="7427" y="3713"/>
                    </a:moveTo>
                    <a:cubicBezTo>
                      <a:pt x="7427" y="5761"/>
                      <a:pt x="5761" y="7427"/>
                      <a:pt x="3713" y="7427"/>
                    </a:cubicBezTo>
                    <a:cubicBezTo>
                      <a:pt x="1666" y="7427"/>
                      <a:pt x="0" y="5761"/>
                      <a:pt x="0" y="3713"/>
                    </a:cubicBezTo>
                    <a:cubicBezTo>
                      <a:pt x="0" y="1666"/>
                      <a:pt x="1666" y="0"/>
                      <a:pt x="3713" y="0"/>
                    </a:cubicBezTo>
                    <a:cubicBezTo>
                      <a:pt x="5761" y="0"/>
                      <a:pt x="7427" y="1666"/>
                      <a:pt x="7427" y="3713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2325" name="Gráfico 19">
              <a:extLst>
                <a:ext uri="{FF2B5EF4-FFF2-40B4-BE49-F238E27FC236}">
                  <a16:creationId xmlns:a16="http://schemas.microsoft.com/office/drawing/2014/main" id="{0876207C-E393-055E-607B-B53E431CC5B6}"/>
                </a:ext>
              </a:extLst>
            </p:cNvPr>
            <p:cNvGrpSpPr/>
            <p:nvPr/>
          </p:nvGrpSpPr>
          <p:grpSpPr>
            <a:xfrm>
              <a:off x="10624569" y="6000701"/>
              <a:ext cx="220236" cy="7426"/>
              <a:chOff x="10624569" y="6000701"/>
              <a:chExt cx="220236" cy="7426"/>
            </a:xfrm>
            <a:solidFill>
              <a:srgbClr val="394553"/>
            </a:solidFill>
          </p:grpSpPr>
          <p:sp>
            <p:nvSpPr>
              <p:cNvPr id="2326" name="Forma livre: Forma 2325">
                <a:extLst>
                  <a:ext uri="{FF2B5EF4-FFF2-40B4-BE49-F238E27FC236}">
                    <a16:creationId xmlns:a16="http://schemas.microsoft.com/office/drawing/2014/main" id="{ACE0479C-7C46-B5B7-D494-4B2AB025DE9B}"/>
                  </a:ext>
                </a:extLst>
              </p:cNvPr>
              <p:cNvSpPr/>
              <p:nvPr/>
            </p:nvSpPr>
            <p:spPr>
              <a:xfrm>
                <a:off x="10624569" y="6000701"/>
                <a:ext cx="7426" cy="7426"/>
              </a:xfrm>
              <a:custGeom>
                <a:avLst/>
                <a:gdLst>
                  <a:gd name="connsiteX0" fmla="*/ 7427 w 7426"/>
                  <a:gd name="connsiteY0" fmla="*/ 3713 h 7426"/>
                  <a:gd name="connsiteX1" fmla="*/ 3713 w 7426"/>
                  <a:gd name="connsiteY1" fmla="*/ 7427 h 7426"/>
                  <a:gd name="connsiteX2" fmla="*/ 0 w 7426"/>
                  <a:gd name="connsiteY2" fmla="*/ 3713 h 7426"/>
                  <a:gd name="connsiteX3" fmla="*/ 3713 w 7426"/>
                  <a:gd name="connsiteY3" fmla="*/ 0 h 7426"/>
                  <a:gd name="connsiteX4" fmla="*/ 7427 w 7426"/>
                  <a:gd name="connsiteY4" fmla="*/ 3713 h 74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426" h="7426">
                    <a:moveTo>
                      <a:pt x="7427" y="3713"/>
                    </a:moveTo>
                    <a:cubicBezTo>
                      <a:pt x="7427" y="5761"/>
                      <a:pt x="5761" y="7427"/>
                      <a:pt x="3713" y="7427"/>
                    </a:cubicBezTo>
                    <a:cubicBezTo>
                      <a:pt x="1666" y="7427"/>
                      <a:pt x="0" y="5761"/>
                      <a:pt x="0" y="3713"/>
                    </a:cubicBezTo>
                    <a:cubicBezTo>
                      <a:pt x="0" y="1666"/>
                      <a:pt x="1666" y="0"/>
                      <a:pt x="3713" y="0"/>
                    </a:cubicBezTo>
                    <a:cubicBezTo>
                      <a:pt x="5761" y="0"/>
                      <a:pt x="7427" y="1666"/>
                      <a:pt x="7427" y="3713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327" name="Forma livre: Forma 2326">
                <a:extLst>
                  <a:ext uri="{FF2B5EF4-FFF2-40B4-BE49-F238E27FC236}">
                    <a16:creationId xmlns:a16="http://schemas.microsoft.com/office/drawing/2014/main" id="{ACF48139-1CBC-23CE-F909-2E56B6C8263B}"/>
                  </a:ext>
                </a:extLst>
              </p:cNvPr>
              <p:cNvSpPr/>
              <p:nvPr/>
            </p:nvSpPr>
            <p:spPr>
              <a:xfrm>
                <a:off x="10837379" y="6000701"/>
                <a:ext cx="7426" cy="7426"/>
              </a:xfrm>
              <a:custGeom>
                <a:avLst/>
                <a:gdLst>
                  <a:gd name="connsiteX0" fmla="*/ 7427 w 7426"/>
                  <a:gd name="connsiteY0" fmla="*/ 3713 h 7426"/>
                  <a:gd name="connsiteX1" fmla="*/ 3713 w 7426"/>
                  <a:gd name="connsiteY1" fmla="*/ 7427 h 7426"/>
                  <a:gd name="connsiteX2" fmla="*/ 0 w 7426"/>
                  <a:gd name="connsiteY2" fmla="*/ 3713 h 7426"/>
                  <a:gd name="connsiteX3" fmla="*/ 3713 w 7426"/>
                  <a:gd name="connsiteY3" fmla="*/ 0 h 7426"/>
                  <a:gd name="connsiteX4" fmla="*/ 7427 w 7426"/>
                  <a:gd name="connsiteY4" fmla="*/ 3713 h 74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426" h="7426">
                    <a:moveTo>
                      <a:pt x="7427" y="3713"/>
                    </a:moveTo>
                    <a:cubicBezTo>
                      <a:pt x="7427" y="5761"/>
                      <a:pt x="5761" y="7427"/>
                      <a:pt x="3713" y="7427"/>
                    </a:cubicBezTo>
                    <a:cubicBezTo>
                      <a:pt x="1666" y="7427"/>
                      <a:pt x="0" y="5761"/>
                      <a:pt x="0" y="3713"/>
                    </a:cubicBezTo>
                    <a:cubicBezTo>
                      <a:pt x="0" y="1666"/>
                      <a:pt x="1666" y="0"/>
                      <a:pt x="3713" y="0"/>
                    </a:cubicBezTo>
                    <a:cubicBezTo>
                      <a:pt x="5761" y="0"/>
                      <a:pt x="7427" y="1666"/>
                      <a:pt x="7427" y="3713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2328" name="Gráfico 19">
            <a:extLst>
              <a:ext uri="{FF2B5EF4-FFF2-40B4-BE49-F238E27FC236}">
                <a16:creationId xmlns:a16="http://schemas.microsoft.com/office/drawing/2014/main" id="{3B5D1BA7-639C-468E-2158-5F5C45931667}"/>
              </a:ext>
            </a:extLst>
          </p:cNvPr>
          <p:cNvGrpSpPr/>
          <p:nvPr/>
        </p:nvGrpSpPr>
        <p:grpSpPr>
          <a:xfrm>
            <a:off x="11191109" y="5765944"/>
            <a:ext cx="329689" cy="272081"/>
            <a:chOff x="11191109" y="5765944"/>
            <a:chExt cx="329689" cy="272081"/>
          </a:xfrm>
          <a:noFill/>
        </p:grpSpPr>
        <p:grpSp>
          <p:nvGrpSpPr>
            <p:cNvPr id="2329" name="Gráfico 19">
              <a:extLst>
                <a:ext uri="{FF2B5EF4-FFF2-40B4-BE49-F238E27FC236}">
                  <a16:creationId xmlns:a16="http://schemas.microsoft.com/office/drawing/2014/main" id="{C4D37CB0-4F39-63C1-FD3E-AFD65EBA3958}"/>
                </a:ext>
              </a:extLst>
            </p:cNvPr>
            <p:cNvGrpSpPr/>
            <p:nvPr/>
          </p:nvGrpSpPr>
          <p:grpSpPr>
            <a:xfrm>
              <a:off x="11356339" y="5832529"/>
              <a:ext cx="164460" cy="164412"/>
              <a:chOff x="11356339" y="5832529"/>
              <a:chExt cx="164460" cy="164412"/>
            </a:xfrm>
            <a:noFill/>
          </p:grpSpPr>
          <p:sp>
            <p:nvSpPr>
              <p:cNvPr id="2330" name="Forma livre: Forma 2329">
                <a:extLst>
                  <a:ext uri="{FF2B5EF4-FFF2-40B4-BE49-F238E27FC236}">
                    <a16:creationId xmlns:a16="http://schemas.microsoft.com/office/drawing/2014/main" id="{AE046F39-E5D4-0D09-6E7C-D1522BAD3BBD}"/>
                  </a:ext>
                </a:extLst>
              </p:cNvPr>
              <p:cNvSpPr/>
              <p:nvPr/>
            </p:nvSpPr>
            <p:spPr>
              <a:xfrm>
                <a:off x="11439149" y="5902005"/>
                <a:ext cx="69715" cy="83001"/>
              </a:xfrm>
              <a:custGeom>
                <a:avLst/>
                <a:gdLst>
                  <a:gd name="connsiteX0" fmla="*/ 0 w 69715"/>
                  <a:gd name="connsiteY0" fmla="*/ 61418 h 83001"/>
                  <a:gd name="connsiteX1" fmla="*/ 67318 w 69715"/>
                  <a:gd name="connsiteY1" fmla="*/ 80700 h 83001"/>
                  <a:gd name="connsiteX2" fmla="*/ 67413 w 69715"/>
                  <a:gd name="connsiteY2" fmla="*/ 80604 h 83001"/>
                  <a:gd name="connsiteX3" fmla="*/ 48132 w 69715"/>
                  <a:gd name="connsiteY3" fmla="*/ 13286 h 83001"/>
                  <a:gd name="connsiteX4" fmla="*/ 10426 w 69715"/>
                  <a:gd name="connsiteY4" fmla="*/ 765 h 830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9715" h="83001">
                    <a:moveTo>
                      <a:pt x="0" y="61418"/>
                    </a:moveTo>
                    <a:cubicBezTo>
                      <a:pt x="15758" y="77177"/>
                      <a:pt x="60129" y="87936"/>
                      <a:pt x="67318" y="80700"/>
                    </a:cubicBezTo>
                    <a:lnTo>
                      <a:pt x="67413" y="80604"/>
                    </a:lnTo>
                    <a:cubicBezTo>
                      <a:pt x="74650" y="73415"/>
                      <a:pt x="63890" y="29044"/>
                      <a:pt x="48132" y="13286"/>
                    </a:cubicBezTo>
                    <a:cubicBezTo>
                      <a:pt x="37277" y="2431"/>
                      <a:pt x="22757" y="-1901"/>
                      <a:pt x="10426" y="765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2331" name="Gráfico 19">
                <a:extLst>
                  <a:ext uri="{FF2B5EF4-FFF2-40B4-BE49-F238E27FC236}">
                    <a16:creationId xmlns:a16="http://schemas.microsoft.com/office/drawing/2014/main" id="{92F2BEC4-3D47-3042-C7BC-B1E178C317AE}"/>
                  </a:ext>
                </a:extLst>
              </p:cNvPr>
              <p:cNvGrpSpPr/>
              <p:nvPr/>
            </p:nvGrpSpPr>
            <p:grpSpPr>
              <a:xfrm>
                <a:off x="11364452" y="5842117"/>
                <a:ext cx="39372" cy="39372"/>
                <a:chOff x="11364452" y="5842117"/>
                <a:chExt cx="39372" cy="39372"/>
              </a:xfrm>
            </p:grpSpPr>
            <p:sp>
              <p:nvSpPr>
                <p:cNvPr id="2332" name="Forma livre: Forma 2331">
                  <a:extLst>
                    <a:ext uri="{FF2B5EF4-FFF2-40B4-BE49-F238E27FC236}">
                      <a16:creationId xmlns:a16="http://schemas.microsoft.com/office/drawing/2014/main" id="{41EF5060-DB38-527E-8720-C19095730AFD}"/>
                    </a:ext>
                  </a:extLst>
                </p:cNvPr>
                <p:cNvSpPr/>
                <p:nvPr/>
              </p:nvSpPr>
              <p:spPr>
                <a:xfrm>
                  <a:off x="11364452" y="5875586"/>
                  <a:ext cx="28517" cy="5903"/>
                </a:xfrm>
                <a:custGeom>
                  <a:avLst/>
                  <a:gdLst>
                    <a:gd name="connsiteX0" fmla="*/ 28517 w 28517"/>
                    <a:gd name="connsiteY0" fmla="*/ 5903 h 5903"/>
                    <a:gd name="connsiteX1" fmla="*/ 0 w 28517"/>
                    <a:gd name="connsiteY1" fmla="*/ 0 h 59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8517" h="5903">
                      <a:moveTo>
                        <a:pt x="28517" y="5903"/>
                      </a:moveTo>
                      <a:lnTo>
                        <a:pt x="0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333" name="Forma livre: Forma 2332">
                  <a:extLst>
                    <a:ext uri="{FF2B5EF4-FFF2-40B4-BE49-F238E27FC236}">
                      <a16:creationId xmlns:a16="http://schemas.microsoft.com/office/drawing/2014/main" id="{E1110236-F284-D6D6-5AC4-6D4D23AA6893}"/>
                    </a:ext>
                  </a:extLst>
                </p:cNvPr>
                <p:cNvSpPr/>
                <p:nvPr/>
              </p:nvSpPr>
              <p:spPr>
                <a:xfrm>
                  <a:off x="11397920" y="5842117"/>
                  <a:ext cx="5903" cy="28565"/>
                </a:xfrm>
                <a:custGeom>
                  <a:avLst/>
                  <a:gdLst>
                    <a:gd name="connsiteX0" fmla="*/ 5903 w 5903"/>
                    <a:gd name="connsiteY0" fmla="*/ 28565 h 28565"/>
                    <a:gd name="connsiteX1" fmla="*/ 0 w 5903"/>
                    <a:gd name="connsiteY1" fmla="*/ 0 h 2856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5903" h="28565">
                      <a:moveTo>
                        <a:pt x="5903" y="28565"/>
                      </a:moveTo>
                      <a:lnTo>
                        <a:pt x="0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2334" name="Forma livre: Forma 2333">
                <a:extLst>
                  <a:ext uri="{FF2B5EF4-FFF2-40B4-BE49-F238E27FC236}">
                    <a16:creationId xmlns:a16="http://schemas.microsoft.com/office/drawing/2014/main" id="{DC4EDCC9-3D39-2548-BA90-F6790091E694}"/>
                  </a:ext>
                </a:extLst>
              </p:cNvPr>
              <p:cNvSpPr/>
              <p:nvPr/>
            </p:nvSpPr>
            <p:spPr>
              <a:xfrm>
                <a:off x="11458335" y="5917576"/>
                <a:ext cx="29517" cy="29421"/>
              </a:xfrm>
              <a:custGeom>
                <a:avLst/>
                <a:gdLst>
                  <a:gd name="connsiteX0" fmla="*/ 0 w 29517"/>
                  <a:gd name="connsiteY0" fmla="*/ 29422 h 29421"/>
                  <a:gd name="connsiteX1" fmla="*/ 29517 w 29517"/>
                  <a:gd name="connsiteY1" fmla="*/ 0 h 294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9517" h="29421">
                    <a:moveTo>
                      <a:pt x="0" y="29422"/>
                    </a:moveTo>
                    <a:lnTo>
                      <a:pt x="29517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335" name="Forma livre: Forma 2334">
                <a:extLst>
                  <a:ext uri="{FF2B5EF4-FFF2-40B4-BE49-F238E27FC236}">
                    <a16:creationId xmlns:a16="http://schemas.microsoft.com/office/drawing/2014/main" id="{9A9EAA04-9997-714C-75A5-1E7BB36C6B04}"/>
                  </a:ext>
                </a:extLst>
              </p:cNvPr>
              <p:cNvSpPr/>
              <p:nvPr/>
            </p:nvSpPr>
            <p:spPr>
              <a:xfrm>
                <a:off x="11481330" y="5940428"/>
                <a:ext cx="18900" cy="18376"/>
              </a:xfrm>
              <a:custGeom>
                <a:avLst/>
                <a:gdLst>
                  <a:gd name="connsiteX0" fmla="*/ 0 w 18900"/>
                  <a:gd name="connsiteY0" fmla="*/ 18377 h 18376"/>
                  <a:gd name="connsiteX1" fmla="*/ 18901 w 18900"/>
                  <a:gd name="connsiteY1" fmla="*/ 0 h 183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8900" h="18376">
                    <a:moveTo>
                      <a:pt x="0" y="18377"/>
                    </a:moveTo>
                    <a:lnTo>
                      <a:pt x="18901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2336" name="Gráfico 19">
                <a:extLst>
                  <a:ext uri="{FF2B5EF4-FFF2-40B4-BE49-F238E27FC236}">
                    <a16:creationId xmlns:a16="http://schemas.microsoft.com/office/drawing/2014/main" id="{04E604C1-23D4-83B6-D315-47AB3145E3F5}"/>
                  </a:ext>
                </a:extLst>
              </p:cNvPr>
              <p:cNvGrpSpPr/>
              <p:nvPr/>
            </p:nvGrpSpPr>
            <p:grpSpPr>
              <a:xfrm>
                <a:off x="11356339" y="5832529"/>
                <a:ext cx="164460" cy="164412"/>
                <a:chOff x="11356339" y="5832529"/>
                <a:chExt cx="164460" cy="164412"/>
              </a:xfrm>
              <a:noFill/>
            </p:grpSpPr>
            <p:sp>
              <p:nvSpPr>
                <p:cNvPr id="2337" name="Forma livre: Forma 2336">
                  <a:extLst>
                    <a:ext uri="{FF2B5EF4-FFF2-40B4-BE49-F238E27FC236}">
                      <a16:creationId xmlns:a16="http://schemas.microsoft.com/office/drawing/2014/main" id="{CA2676CC-6C0E-D625-C3D6-D510B3E66DE1}"/>
                    </a:ext>
                  </a:extLst>
                </p:cNvPr>
                <p:cNvSpPr/>
                <p:nvPr/>
              </p:nvSpPr>
              <p:spPr>
                <a:xfrm>
                  <a:off x="11432436" y="5832529"/>
                  <a:ext cx="88362" cy="73907"/>
                </a:xfrm>
                <a:custGeom>
                  <a:avLst/>
                  <a:gdLst>
                    <a:gd name="connsiteX0" fmla="*/ 40610 w 88362"/>
                    <a:gd name="connsiteY0" fmla="*/ 5827 h 73907"/>
                    <a:gd name="connsiteX1" fmla="*/ 0 w 88362"/>
                    <a:gd name="connsiteY1" fmla="*/ 73907 h 73907"/>
                    <a:gd name="connsiteX2" fmla="*/ 77602 w 88362"/>
                    <a:gd name="connsiteY2" fmla="*/ 51531 h 73907"/>
                    <a:gd name="connsiteX3" fmla="*/ 81791 w 88362"/>
                    <a:gd name="connsiteY3" fmla="*/ 11350 h 73907"/>
                    <a:gd name="connsiteX4" fmla="*/ 40657 w 88362"/>
                    <a:gd name="connsiteY4" fmla="*/ 5827 h 7390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88362" h="73907">
                      <a:moveTo>
                        <a:pt x="40610" y="5827"/>
                      </a:moveTo>
                      <a:cubicBezTo>
                        <a:pt x="28137" y="15397"/>
                        <a:pt x="0" y="73907"/>
                        <a:pt x="0" y="73907"/>
                      </a:cubicBezTo>
                      <a:cubicBezTo>
                        <a:pt x="0" y="73907"/>
                        <a:pt x="65081" y="61148"/>
                        <a:pt x="77602" y="51531"/>
                      </a:cubicBezTo>
                      <a:cubicBezTo>
                        <a:pt x="90123" y="41962"/>
                        <a:pt x="91979" y="23966"/>
                        <a:pt x="81791" y="11350"/>
                      </a:cubicBezTo>
                      <a:cubicBezTo>
                        <a:pt x="71603" y="-1266"/>
                        <a:pt x="53179" y="-3742"/>
                        <a:pt x="40657" y="5827"/>
                      </a:cubicBezTo>
                      <a:close/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338" name="Forma livre: Forma 2337">
                  <a:extLst>
                    <a:ext uri="{FF2B5EF4-FFF2-40B4-BE49-F238E27FC236}">
                      <a16:creationId xmlns:a16="http://schemas.microsoft.com/office/drawing/2014/main" id="{16865D48-EE69-69D4-CAEA-3EA2E68981B3}"/>
                    </a:ext>
                  </a:extLst>
                </p:cNvPr>
                <p:cNvSpPr/>
                <p:nvPr/>
              </p:nvSpPr>
              <p:spPr>
                <a:xfrm>
                  <a:off x="11356339" y="5908578"/>
                  <a:ext cx="73954" cy="88362"/>
                </a:xfrm>
                <a:custGeom>
                  <a:avLst/>
                  <a:gdLst>
                    <a:gd name="connsiteX0" fmla="*/ 5875 w 73954"/>
                    <a:gd name="connsiteY0" fmla="*/ 40610 h 88362"/>
                    <a:gd name="connsiteX1" fmla="*/ 73955 w 73954"/>
                    <a:gd name="connsiteY1" fmla="*/ 0 h 88362"/>
                    <a:gd name="connsiteX2" fmla="*/ 51579 w 73954"/>
                    <a:gd name="connsiteY2" fmla="*/ 77602 h 88362"/>
                    <a:gd name="connsiteX3" fmla="*/ 11350 w 73954"/>
                    <a:gd name="connsiteY3" fmla="*/ 81791 h 88362"/>
                    <a:gd name="connsiteX4" fmla="*/ 5827 w 73954"/>
                    <a:gd name="connsiteY4" fmla="*/ 40658 h 8836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73954" h="88362">
                      <a:moveTo>
                        <a:pt x="5875" y="40610"/>
                      </a:moveTo>
                      <a:cubicBezTo>
                        <a:pt x="15444" y="28089"/>
                        <a:pt x="73955" y="0"/>
                        <a:pt x="73955" y="0"/>
                      </a:cubicBezTo>
                      <a:cubicBezTo>
                        <a:pt x="73955" y="0"/>
                        <a:pt x="61196" y="65081"/>
                        <a:pt x="51579" y="77602"/>
                      </a:cubicBezTo>
                      <a:cubicBezTo>
                        <a:pt x="42010" y="90123"/>
                        <a:pt x="24014" y="91979"/>
                        <a:pt x="11350" y="81791"/>
                      </a:cubicBezTo>
                      <a:cubicBezTo>
                        <a:pt x="-1266" y="71555"/>
                        <a:pt x="-3742" y="53179"/>
                        <a:pt x="5827" y="40658"/>
                      </a:cubicBezTo>
                      <a:close/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2339" name="Forma livre: Forma 2338">
                <a:extLst>
                  <a:ext uri="{FF2B5EF4-FFF2-40B4-BE49-F238E27FC236}">
                    <a16:creationId xmlns:a16="http://schemas.microsoft.com/office/drawing/2014/main" id="{78EE7288-0A87-E0CF-F6F7-6C3910CA9871}"/>
                  </a:ext>
                </a:extLst>
              </p:cNvPr>
              <p:cNvSpPr/>
              <p:nvPr/>
            </p:nvSpPr>
            <p:spPr>
              <a:xfrm>
                <a:off x="11393026" y="5870600"/>
                <a:ext cx="50693" cy="48690"/>
              </a:xfrm>
              <a:custGeom>
                <a:avLst/>
                <a:gdLst>
                  <a:gd name="connsiteX0" fmla="*/ 50694 w 50693"/>
                  <a:gd name="connsiteY0" fmla="*/ 9604 h 48690"/>
                  <a:gd name="connsiteX1" fmla="*/ 3847 w 50693"/>
                  <a:gd name="connsiteY1" fmla="*/ 3891 h 48690"/>
                  <a:gd name="connsiteX2" fmla="*/ 10893 w 50693"/>
                  <a:gd name="connsiteY2" fmla="*/ 48691 h 486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50693" h="48690">
                    <a:moveTo>
                      <a:pt x="50694" y="9604"/>
                    </a:moveTo>
                    <a:cubicBezTo>
                      <a:pt x="39315" y="-7916"/>
                      <a:pt x="3847" y="3891"/>
                      <a:pt x="3847" y="3891"/>
                    </a:cubicBezTo>
                    <a:cubicBezTo>
                      <a:pt x="3847" y="3891"/>
                      <a:pt x="-8436" y="37836"/>
                      <a:pt x="10893" y="48691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2340" name="Forma livre: Forma 2339">
              <a:extLst>
                <a:ext uri="{FF2B5EF4-FFF2-40B4-BE49-F238E27FC236}">
                  <a16:creationId xmlns:a16="http://schemas.microsoft.com/office/drawing/2014/main" id="{19B0F248-1413-8B72-F16A-00C968C30FBD}"/>
                </a:ext>
              </a:extLst>
            </p:cNvPr>
            <p:cNvSpPr/>
            <p:nvPr/>
          </p:nvSpPr>
          <p:spPr>
            <a:xfrm>
              <a:off x="11258475" y="5921385"/>
              <a:ext cx="107690" cy="116640"/>
            </a:xfrm>
            <a:custGeom>
              <a:avLst/>
              <a:gdLst>
                <a:gd name="connsiteX0" fmla="*/ 107690 w 107690"/>
                <a:gd name="connsiteY0" fmla="*/ 93360 h 116640"/>
                <a:gd name="connsiteX1" fmla="*/ 67318 w 107690"/>
                <a:gd name="connsiteY1" fmla="*/ 116641 h 116640"/>
                <a:gd name="connsiteX2" fmla="*/ 0 w 107690"/>
                <a:gd name="connsiteY2" fmla="*/ 77745 h 116640"/>
                <a:gd name="connsiteX3" fmla="*/ 0 w 107690"/>
                <a:gd name="connsiteY3" fmla="*/ 0 h 1166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7690" h="116640">
                  <a:moveTo>
                    <a:pt x="107690" y="93360"/>
                  </a:moveTo>
                  <a:lnTo>
                    <a:pt x="67318" y="116641"/>
                  </a:lnTo>
                  <a:lnTo>
                    <a:pt x="0" y="77745"/>
                  </a:lnTo>
                  <a:lnTo>
                    <a:pt x="0" y="0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341" name="Forma livre: Forma 2340">
              <a:extLst>
                <a:ext uri="{FF2B5EF4-FFF2-40B4-BE49-F238E27FC236}">
                  <a16:creationId xmlns:a16="http://schemas.microsoft.com/office/drawing/2014/main" id="{DBE6DE5C-6EF6-C553-365B-926B8A9483D9}"/>
                </a:ext>
              </a:extLst>
            </p:cNvPr>
            <p:cNvSpPr/>
            <p:nvPr/>
          </p:nvSpPr>
          <p:spPr>
            <a:xfrm>
              <a:off x="11191109" y="5765944"/>
              <a:ext cx="134684" cy="155488"/>
            </a:xfrm>
            <a:custGeom>
              <a:avLst/>
              <a:gdLst>
                <a:gd name="connsiteX0" fmla="*/ 0 w 134684"/>
                <a:gd name="connsiteY0" fmla="*/ 116593 h 155488"/>
                <a:gd name="connsiteX1" fmla="*/ 0 w 134684"/>
                <a:gd name="connsiteY1" fmla="*/ 38848 h 155488"/>
                <a:gd name="connsiteX2" fmla="*/ 67366 w 134684"/>
                <a:gd name="connsiteY2" fmla="*/ 0 h 155488"/>
                <a:gd name="connsiteX3" fmla="*/ 134684 w 134684"/>
                <a:gd name="connsiteY3" fmla="*/ 38896 h 155488"/>
                <a:gd name="connsiteX4" fmla="*/ 134684 w 134684"/>
                <a:gd name="connsiteY4" fmla="*/ 116641 h 155488"/>
                <a:gd name="connsiteX5" fmla="*/ 67318 w 134684"/>
                <a:gd name="connsiteY5" fmla="*/ 155489 h 155488"/>
                <a:gd name="connsiteX6" fmla="*/ 0 w 134684"/>
                <a:gd name="connsiteY6" fmla="*/ 116593 h 1554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34684" h="155488">
                  <a:moveTo>
                    <a:pt x="0" y="116593"/>
                  </a:moveTo>
                  <a:lnTo>
                    <a:pt x="0" y="38848"/>
                  </a:lnTo>
                  <a:lnTo>
                    <a:pt x="67366" y="0"/>
                  </a:lnTo>
                  <a:lnTo>
                    <a:pt x="134684" y="38896"/>
                  </a:lnTo>
                  <a:lnTo>
                    <a:pt x="134684" y="116641"/>
                  </a:lnTo>
                  <a:lnTo>
                    <a:pt x="67318" y="155489"/>
                  </a:lnTo>
                  <a:lnTo>
                    <a:pt x="0" y="116593"/>
                  </a:ln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342" name="Forma livre: Forma 2341">
              <a:extLst>
                <a:ext uri="{FF2B5EF4-FFF2-40B4-BE49-F238E27FC236}">
                  <a16:creationId xmlns:a16="http://schemas.microsoft.com/office/drawing/2014/main" id="{35D41310-FDF3-C4FC-5A9F-B2984E79BD07}"/>
                </a:ext>
              </a:extLst>
            </p:cNvPr>
            <p:cNvSpPr/>
            <p:nvPr/>
          </p:nvSpPr>
          <p:spPr>
            <a:xfrm>
              <a:off x="11326032" y="5882537"/>
              <a:ext cx="46227" cy="26708"/>
            </a:xfrm>
            <a:custGeom>
              <a:avLst/>
              <a:gdLst>
                <a:gd name="connsiteX0" fmla="*/ 46228 w 46227"/>
                <a:gd name="connsiteY0" fmla="*/ 26708 h 26708"/>
                <a:gd name="connsiteX1" fmla="*/ 0 w 46227"/>
                <a:gd name="connsiteY1" fmla="*/ 0 h 267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6227" h="26708">
                  <a:moveTo>
                    <a:pt x="46228" y="26708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343" name="Forma livre: Forma 2342">
              <a:extLst>
                <a:ext uri="{FF2B5EF4-FFF2-40B4-BE49-F238E27FC236}">
                  <a16:creationId xmlns:a16="http://schemas.microsoft.com/office/drawing/2014/main" id="{F9662B64-D01F-3E34-7B10-3E7E124442BE}"/>
                </a:ext>
              </a:extLst>
            </p:cNvPr>
            <p:cNvSpPr/>
            <p:nvPr/>
          </p:nvSpPr>
          <p:spPr>
            <a:xfrm>
              <a:off x="11326032" y="5765944"/>
              <a:ext cx="134684" cy="54987"/>
            </a:xfrm>
            <a:custGeom>
              <a:avLst/>
              <a:gdLst>
                <a:gd name="connsiteX0" fmla="*/ 0 w 134684"/>
                <a:gd name="connsiteY0" fmla="*/ 38848 h 54987"/>
                <a:gd name="connsiteX1" fmla="*/ 67366 w 134684"/>
                <a:gd name="connsiteY1" fmla="*/ 0 h 54987"/>
                <a:gd name="connsiteX2" fmla="*/ 134684 w 134684"/>
                <a:gd name="connsiteY2" fmla="*/ 38896 h 54987"/>
                <a:gd name="connsiteX3" fmla="*/ 134684 w 134684"/>
                <a:gd name="connsiteY3" fmla="*/ 54988 h 549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4684" h="54987">
                  <a:moveTo>
                    <a:pt x="0" y="38848"/>
                  </a:moveTo>
                  <a:lnTo>
                    <a:pt x="67366" y="0"/>
                  </a:lnTo>
                  <a:lnTo>
                    <a:pt x="134684" y="38896"/>
                  </a:lnTo>
                  <a:lnTo>
                    <a:pt x="134684" y="54988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2344" name="Gráfico 19">
            <a:extLst>
              <a:ext uri="{FF2B5EF4-FFF2-40B4-BE49-F238E27FC236}">
                <a16:creationId xmlns:a16="http://schemas.microsoft.com/office/drawing/2014/main" id="{2D022895-7939-B693-9E3F-E940E2B3A2D9}"/>
              </a:ext>
            </a:extLst>
          </p:cNvPr>
          <p:cNvGrpSpPr/>
          <p:nvPr/>
        </p:nvGrpSpPr>
        <p:grpSpPr>
          <a:xfrm>
            <a:off x="9967518" y="4672569"/>
            <a:ext cx="291766" cy="325378"/>
            <a:chOff x="9967518" y="4672569"/>
            <a:chExt cx="291766" cy="325378"/>
          </a:xfrm>
        </p:grpSpPr>
        <p:sp>
          <p:nvSpPr>
            <p:cNvPr id="2345" name="Forma livre: Forma 2344">
              <a:extLst>
                <a:ext uri="{FF2B5EF4-FFF2-40B4-BE49-F238E27FC236}">
                  <a16:creationId xmlns:a16="http://schemas.microsoft.com/office/drawing/2014/main" id="{6B34D7F4-A4B6-809E-995F-CEF185F545B3}"/>
                </a:ext>
              </a:extLst>
            </p:cNvPr>
            <p:cNvSpPr/>
            <p:nvPr/>
          </p:nvSpPr>
          <p:spPr>
            <a:xfrm>
              <a:off x="10000423" y="4794018"/>
              <a:ext cx="6808" cy="107452"/>
            </a:xfrm>
            <a:custGeom>
              <a:avLst/>
              <a:gdLst>
                <a:gd name="connsiteX0" fmla="*/ 6808 w 6808"/>
                <a:gd name="connsiteY0" fmla="*/ 107452 h 107452"/>
                <a:gd name="connsiteX1" fmla="*/ 0 w 6808"/>
                <a:gd name="connsiteY1" fmla="*/ 0 h 1074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808" h="107452">
                  <a:moveTo>
                    <a:pt x="6808" y="107452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346" name="Forma livre: Forma 2345">
              <a:extLst>
                <a:ext uri="{FF2B5EF4-FFF2-40B4-BE49-F238E27FC236}">
                  <a16:creationId xmlns:a16="http://schemas.microsoft.com/office/drawing/2014/main" id="{BFCBB91D-6F83-74E9-3E61-6D958F94132B}"/>
                </a:ext>
              </a:extLst>
            </p:cNvPr>
            <p:cNvSpPr/>
            <p:nvPr/>
          </p:nvSpPr>
          <p:spPr>
            <a:xfrm>
              <a:off x="10008850" y="4926608"/>
              <a:ext cx="115593" cy="50845"/>
            </a:xfrm>
            <a:custGeom>
              <a:avLst/>
              <a:gdLst>
                <a:gd name="connsiteX0" fmla="*/ 115593 w 115593"/>
                <a:gd name="connsiteY0" fmla="*/ 50846 h 50845"/>
                <a:gd name="connsiteX1" fmla="*/ 26899 w 115593"/>
                <a:gd name="connsiteY1" fmla="*/ 50846 h 50845"/>
                <a:gd name="connsiteX2" fmla="*/ 1762 w 115593"/>
                <a:gd name="connsiteY2" fmla="*/ 27327 h 50845"/>
                <a:gd name="connsiteX3" fmla="*/ 0 w 115593"/>
                <a:gd name="connsiteY3" fmla="*/ 0 h 508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5593" h="50845">
                  <a:moveTo>
                    <a:pt x="115593" y="50846"/>
                  </a:moveTo>
                  <a:lnTo>
                    <a:pt x="26899" y="50846"/>
                  </a:lnTo>
                  <a:cubicBezTo>
                    <a:pt x="13949" y="50846"/>
                    <a:pt x="2618" y="40277"/>
                    <a:pt x="1762" y="27327"/>
                  </a:cubicBezTo>
                  <a:lnTo>
                    <a:pt x="0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347" name="Forma livre: Forma 2346">
              <a:extLst>
                <a:ext uri="{FF2B5EF4-FFF2-40B4-BE49-F238E27FC236}">
                  <a16:creationId xmlns:a16="http://schemas.microsoft.com/office/drawing/2014/main" id="{B6DE1E8B-C232-2DC9-DEA6-639EEBB9BD89}"/>
                </a:ext>
              </a:extLst>
            </p:cNvPr>
            <p:cNvSpPr/>
            <p:nvPr/>
          </p:nvSpPr>
          <p:spPr>
            <a:xfrm>
              <a:off x="10193237" y="4794018"/>
              <a:ext cx="2951" cy="45846"/>
            </a:xfrm>
            <a:custGeom>
              <a:avLst/>
              <a:gdLst>
                <a:gd name="connsiteX0" fmla="*/ 2952 w 2951"/>
                <a:gd name="connsiteY0" fmla="*/ 0 h 45846"/>
                <a:gd name="connsiteX1" fmla="*/ 0 w 2951"/>
                <a:gd name="connsiteY1" fmla="*/ 45847 h 45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951" h="45846">
                  <a:moveTo>
                    <a:pt x="2952" y="0"/>
                  </a:moveTo>
                  <a:lnTo>
                    <a:pt x="0" y="45847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348" name="Forma livre: Forma 2347">
              <a:extLst>
                <a:ext uri="{FF2B5EF4-FFF2-40B4-BE49-F238E27FC236}">
                  <a16:creationId xmlns:a16="http://schemas.microsoft.com/office/drawing/2014/main" id="{DE8D53AE-5249-348A-B04D-FCC34E5F8EF2}"/>
                </a:ext>
              </a:extLst>
            </p:cNvPr>
            <p:cNvSpPr/>
            <p:nvPr/>
          </p:nvSpPr>
          <p:spPr>
            <a:xfrm>
              <a:off x="9967518" y="4822060"/>
              <a:ext cx="131835" cy="105620"/>
            </a:xfrm>
            <a:custGeom>
              <a:avLst/>
              <a:gdLst>
                <a:gd name="connsiteX0" fmla="*/ 131836 w 131835"/>
                <a:gd name="connsiteY0" fmla="*/ 17329 h 105620"/>
                <a:gd name="connsiteX1" fmla="*/ 104413 w 131835"/>
                <a:gd name="connsiteY1" fmla="*/ 61224 h 105620"/>
                <a:gd name="connsiteX2" fmla="*/ 9672 w 131835"/>
                <a:gd name="connsiteY2" fmla="*/ 99073 h 105620"/>
                <a:gd name="connsiteX3" fmla="*/ 33905 w 131835"/>
                <a:gd name="connsiteY3" fmla="*/ 0 h 1056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1835" h="105620">
                  <a:moveTo>
                    <a:pt x="131836" y="17329"/>
                  </a:moveTo>
                  <a:cubicBezTo>
                    <a:pt x="126170" y="31707"/>
                    <a:pt x="116887" y="46942"/>
                    <a:pt x="104413" y="61224"/>
                  </a:cubicBezTo>
                  <a:cubicBezTo>
                    <a:pt x="71563" y="99025"/>
                    <a:pt x="29144" y="115974"/>
                    <a:pt x="9672" y="99073"/>
                  </a:cubicBezTo>
                  <a:cubicBezTo>
                    <a:pt x="-9799" y="82172"/>
                    <a:pt x="1055" y="37801"/>
                    <a:pt x="33905" y="0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349" name="Forma livre: Forma 2348">
              <a:extLst>
                <a:ext uri="{FF2B5EF4-FFF2-40B4-BE49-F238E27FC236}">
                  <a16:creationId xmlns:a16="http://schemas.microsoft.com/office/drawing/2014/main" id="{989DFF98-8CD4-F6ED-681F-7C69BD89F937}"/>
                </a:ext>
              </a:extLst>
            </p:cNvPr>
            <p:cNvSpPr/>
            <p:nvPr/>
          </p:nvSpPr>
          <p:spPr>
            <a:xfrm>
              <a:off x="10092545" y="4832439"/>
              <a:ext cx="13806" cy="13806"/>
            </a:xfrm>
            <a:custGeom>
              <a:avLst/>
              <a:gdLst>
                <a:gd name="connsiteX0" fmla="*/ 6903 w 13806"/>
                <a:gd name="connsiteY0" fmla="*/ 0 h 13806"/>
                <a:gd name="connsiteX1" fmla="*/ 13806 w 13806"/>
                <a:gd name="connsiteY1" fmla="*/ 6903 h 13806"/>
                <a:gd name="connsiteX2" fmla="*/ 6903 w 13806"/>
                <a:gd name="connsiteY2" fmla="*/ 13806 h 13806"/>
                <a:gd name="connsiteX3" fmla="*/ 0 w 13806"/>
                <a:gd name="connsiteY3" fmla="*/ 6903 h 13806"/>
                <a:gd name="connsiteX4" fmla="*/ 6903 w 13806"/>
                <a:gd name="connsiteY4" fmla="*/ 0 h 13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806" h="13806">
                  <a:moveTo>
                    <a:pt x="6903" y="0"/>
                  </a:moveTo>
                  <a:cubicBezTo>
                    <a:pt x="10712" y="0"/>
                    <a:pt x="13806" y="3095"/>
                    <a:pt x="13806" y="6903"/>
                  </a:cubicBezTo>
                  <a:cubicBezTo>
                    <a:pt x="13806" y="10712"/>
                    <a:pt x="10712" y="13806"/>
                    <a:pt x="6903" y="13806"/>
                  </a:cubicBezTo>
                  <a:cubicBezTo>
                    <a:pt x="3095" y="13806"/>
                    <a:pt x="0" y="10712"/>
                    <a:pt x="0" y="6903"/>
                  </a:cubicBezTo>
                  <a:cubicBezTo>
                    <a:pt x="0" y="3095"/>
                    <a:pt x="3095" y="0"/>
                    <a:pt x="6903" y="0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350" name="Forma livre: Forma 2349">
              <a:extLst>
                <a:ext uri="{FF2B5EF4-FFF2-40B4-BE49-F238E27FC236}">
                  <a16:creationId xmlns:a16="http://schemas.microsoft.com/office/drawing/2014/main" id="{8C33885A-2506-7287-FAF2-B6DFDE998C9A}"/>
                </a:ext>
              </a:extLst>
            </p:cNvPr>
            <p:cNvSpPr/>
            <p:nvPr/>
          </p:nvSpPr>
          <p:spPr>
            <a:xfrm>
              <a:off x="10198712" y="4843484"/>
              <a:ext cx="38991" cy="36215"/>
            </a:xfrm>
            <a:custGeom>
              <a:avLst/>
              <a:gdLst>
                <a:gd name="connsiteX0" fmla="*/ 27613 w 38991"/>
                <a:gd name="connsiteY0" fmla="*/ 26994 h 36215"/>
                <a:gd name="connsiteX1" fmla="*/ 0 w 38991"/>
                <a:gd name="connsiteY1" fmla="*/ 36135 h 36215"/>
                <a:gd name="connsiteX2" fmla="*/ 10474 w 38991"/>
                <a:gd name="connsiteY2" fmla="*/ 8331 h 36215"/>
                <a:gd name="connsiteX3" fmla="*/ 38991 w 38991"/>
                <a:gd name="connsiteY3" fmla="*/ 0 h 36215"/>
                <a:gd name="connsiteX4" fmla="*/ 27613 w 38991"/>
                <a:gd name="connsiteY4" fmla="*/ 26994 h 362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8991" h="36215">
                  <a:moveTo>
                    <a:pt x="27613" y="26994"/>
                  </a:moveTo>
                  <a:cubicBezTo>
                    <a:pt x="18567" y="37706"/>
                    <a:pt x="0" y="36135"/>
                    <a:pt x="0" y="36135"/>
                  </a:cubicBezTo>
                  <a:cubicBezTo>
                    <a:pt x="0" y="36135"/>
                    <a:pt x="0" y="15425"/>
                    <a:pt x="10474" y="8331"/>
                  </a:cubicBezTo>
                  <a:cubicBezTo>
                    <a:pt x="18377" y="2999"/>
                    <a:pt x="38991" y="0"/>
                    <a:pt x="38991" y="0"/>
                  </a:cubicBezTo>
                  <a:cubicBezTo>
                    <a:pt x="38991" y="0"/>
                    <a:pt x="34183" y="19234"/>
                    <a:pt x="27613" y="26994"/>
                  </a:cubicBez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351" name="Forma livre: Forma 2350">
              <a:extLst>
                <a:ext uri="{FF2B5EF4-FFF2-40B4-BE49-F238E27FC236}">
                  <a16:creationId xmlns:a16="http://schemas.microsoft.com/office/drawing/2014/main" id="{4688CF72-640E-C23A-995E-DC93187E03A7}"/>
                </a:ext>
              </a:extLst>
            </p:cNvPr>
            <p:cNvSpPr/>
            <p:nvPr/>
          </p:nvSpPr>
          <p:spPr>
            <a:xfrm>
              <a:off x="10139187" y="4895932"/>
              <a:ext cx="120097" cy="102016"/>
            </a:xfrm>
            <a:custGeom>
              <a:avLst/>
              <a:gdLst>
                <a:gd name="connsiteX0" fmla="*/ 119321 w 120097"/>
                <a:gd name="connsiteY0" fmla="*/ 28343 h 102016"/>
                <a:gd name="connsiteX1" fmla="*/ 77188 w 120097"/>
                <a:gd name="connsiteY1" fmla="*/ 1778 h 102016"/>
                <a:gd name="connsiteX2" fmla="*/ 60049 w 120097"/>
                <a:gd name="connsiteY2" fmla="*/ 3920 h 102016"/>
                <a:gd name="connsiteX3" fmla="*/ 42910 w 120097"/>
                <a:gd name="connsiteY3" fmla="*/ 1778 h 102016"/>
                <a:gd name="connsiteX4" fmla="*/ 824 w 120097"/>
                <a:gd name="connsiteY4" fmla="*/ 28343 h 102016"/>
                <a:gd name="connsiteX5" fmla="*/ 24295 w 120097"/>
                <a:gd name="connsiteY5" fmla="*/ 96090 h 102016"/>
                <a:gd name="connsiteX6" fmla="*/ 48242 w 120097"/>
                <a:gd name="connsiteY6" fmla="*/ 99756 h 102016"/>
                <a:gd name="connsiteX7" fmla="*/ 60049 w 120097"/>
                <a:gd name="connsiteY7" fmla="*/ 96995 h 102016"/>
                <a:gd name="connsiteX8" fmla="*/ 71856 w 120097"/>
                <a:gd name="connsiteY8" fmla="*/ 99756 h 102016"/>
                <a:gd name="connsiteX9" fmla="*/ 95803 w 120097"/>
                <a:gd name="connsiteY9" fmla="*/ 96090 h 102016"/>
                <a:gd name="connsiteX10" fmla="*/ 119274 w 120097"/>
                <a:gd name="connsiteY10" fmla="*/ 28343 h 1020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20097" h="102016">
                  <a:moveTo>
                    <a:pt x="119321" y="28343"/>
                  </a:moveTo>
                  <a:cubicBezTo>
                    <a:pt x="109990" y="-10267"/>
                    <a:pt x="77188" y="1778"/>
                    <a:pt x="77188" y="1778"/>
                  </a:cubicBezTo>
                  <a:cubicBezTo>
                    <a:pt x="65238" y="4016"/>
                    <a:pt x="60049" y="3920"/>
                    <a:pt x="60049" y="3920"/>
                  </a:cubicBezTo>
                  <a:cubicBezTo>
                    <a:pt x="60049" y="3920"/>
                    <a:pt x="54907" y="4016"/>
                    <a:pt x="42910" y="1778"/>
                  </a:cubicBezTo>
                  <a:cubicBezTo>
                    <a:pt x="42910" y="1778"/>
                    <a:pt x="10155" y="-10219"/>
                    <a:pt x="824" y="28343"/>
                  </a:cubicBezTo>
                  <a:cubicBezTo>
                    <a:pt x="824" y="28343"/>
                    <a:pt x="-6793" y="68192"/>
                    <a:pt x="24295" y="96090"/>
                  </a:cubicBezTo>
                  <a:cubicBezTo>
                    <a:pt x="24295" y="96090"/>
                    <a:pt x="33198" y="106421"/>
                    <a:pt x="48242" y="99756"/>
                  </a:cubicBezTo>
                  <a:cubicBezTo>
                    <a:pt x="48242" y="99756"/>
                    <a:pt x="55336" y="96995"/>
                    <a:pt x="60049" y="96995"/>
                  </a:cubicBezTo>
                  <a:cubicBezTo>
                    <a:pt x="64762" y="96995"/>
                    <a:pt x="71856" y="99756"/>
                    <a:pt x="71856" y="99756"/>
                  </a:cubicBezTo>
                  <a:cubicBezTo>
                    <a:pt x="86900" y="106469"/>
                    <a:pt x="95803" y="96090"/>
                    <a:pt x="95803" y="96090"/>
                  </a:cubicBezTo>
                  <a:cubicBezTo>
                    <a:pt x="126891" y="68239"/>
                    <a:pt x="119274" y="28343"/>
                    <a:pt x="119274" y="28343"/>
                  </a:cubicBez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352" name="Forma livre: Forma 2351">
              <a:extLst>
                <a:ext uri="{FF2B5EF4-FFF2-40B4-BE49-F238E27FC236}">
                  <a16:creationId xmlns:a16="http://schemas.microsoft.com/office/drawing/2014/main" id="{E4094D1D-EEC6-F7BC-43AB-DF0BD6ED6D08}"/>
                </a:ext>
              </a:extLst>
            </p:cNvPr>
            <p:cNvSpPr/>
            <p:nvPr/>
          </p:nvSpPr>
          <p:spPr>
            <a:xfrm>
              <a:off x="10176289" y="4857195"/>
              <a:ext cx="22852" cy="35801"/>
            </a:xfrm>
            <a:custGeom>
              <a:avLst/>
              <a:gdLst>
                <a:gd name="connsiteX0" fmla="*/ 0 w 22852"/>
                <a:gd name="connsiteY0" fmla="*/ 0 h 35801"/>
                <a:gd name="connsiteX1" fmla="*/ 22852 w 22852"/>
                <a:gd name="connsiteY1" fmla="*/ 35801 h 358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2852" h="35801">
                  <a:moveTo>
                    <a:pt x="0" y="0"/>
                  </a:moveTo>
                  <a:cubicBezTo>
                    <a:pt x="0" y="0"/>
                    <a:pt x="22852" y="14854"/>
                    <a:pt x="22852" y="35801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353" name="Forma livre: Forma 2352">
              <a:extLst>
                <a:ext uri="{FF2B5EF4-FFF2-40B4-BE49-F238E27FC236}">
                  <a16:creationId xmlns:a16="http://schemas.microsoft.com/office/drawing/2014/main" id="{1D9A7FE4-E5FC-5CA9-222E-0E5395CC056E}"/>
                </a:ext>
              </a:extLst>
            </p:cNvPr>
            <p:cNvSpPr/>
            <p:nvPr/>
          </p:nvSpPr>
          <p:spPr>
            <a:xfrm>
              <a:off x="10007184" y="4694242"/>
              <a:ext cx="106166" cy="47550"/>
            </a:xfrm>
            <a:custGeom>
              <a:avLst/>
              <a:gdLst>
                <a:gd name="connsiteX0" fmla="*/ 106167 w 106166"/>
                <a:gd name="connsiteY0" fmla="*/ 20842 h 47550"/>
                <a:gd name="connsiteX1" fmla="*/ 64081 w 106166"/>
                <a:gd name="connsiteY1" fmla="*/ 3941 h 47550"/>
                <a:gd name="connsiteX2" fmla="*/ 49084 w 106166"/>
                <a:gd name="connsiteY2" fmla="*/ 8702 h 47550"/>
                <a:gd name="connsiteX3" fmla="*/ 33373 w 106166"/>
                <a:gd name="connsiteY3" fmla="*/ 9607 h 47550"/>
                <a:gd name="connsiteX4" fmla="*/ 0 w 106166"/>
                <a:gd name="connsiteY4" fmla="*/ 40362 h 47550"/>
                <a:gd name="connsiteX5" fmla="*/ 619 w 106166"/>
                <a:gd name="connsiteY5" fmla="*/ 47551 h 475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06166" h="47550">
                  <a:moveTo>
                    <a:pt x="106167" y="20842"/>
                  </a:moveTo>
                  <a:cubicBezTo>
                    <a:pt x="91456" y="-12198"/>
                    <a:pt x="64081" y="3941"/>
                    <a:pt x="64081" y="3941"/>
                  </a:cubicBezTo>
                  <a:cubicBezTo>
                    <a:pt x="53750" y="7940"/>
                    <a:pt x="49084" y="8702"/>
                    <a:pt x="49084" y="8702"/>
                  </a:cubicBezTo>
                  <a:cubicBezTo>
                    <a:pt x="49084" y="8702"/>
                    <a:pt x="44466" y="9654"/>
                    <a:pt x="33373" y="9607"/>
                  </a:cubicBezTo>
                  <a:cubicBezTo>
                    <a:pt x="33373" y="9607"/>
                    <a:pt x="2047" y="4227"/>
                    <a:pt x="0" y="40362"/>
                  </a:cubicBezTo>
                  <a:cubicBezTo>
                    <a:pt x="0" y="40362"/>
                    <a:pt x="0" y="43123"/>
                    <a:pt x="619" y="47551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354" name="Forma livre: Forma 2353">
              <a:extLst>
                <a:ext uri="{FF2B5EF4-FFF2-40B4-BE49-F238E27FC236}">
                  <a16:creationId xmlns:a16="http://schemas.microsoft.com/office/drawing/2014/main" id="{CE7B9D20-79FB-823A-65FA-1647D603BF47}"/>
                </a:ext>
              </a:extLst>
            </p:cNvPr>
            <p:cNvSpPr/>
            <p:nvPr/>
          </p:nvSpPr>
          <p:spPr>
            <a:xfrm>
              <a:off x="10033463" y="4672569"/>
              <a:ext cx="21090" cy="29422"/>
            </a:xfrm>
            <a:custGeom>
              <a:avLst/>
              <a:gdLst>
                <a:gd name="connsiteX0" fmla="*/ 0 w 21090"/>
                <a:gd name="connsiteY0" fmla="*/ 0 h 29422"/>
                <a:gd name="connsiteX1" fmla="*/ 21091 w 21090"/>
                <a:gd name="connsiteY1" fmla="*/ 29422 h 294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1090" h="29422">
                  <a:moveTo>
                    <a:pt x="0" y="0"/>
                  </a:moveTo>
                  <a:cubicBezTo>
                    <a:pt x="0" y="0"/>
                    <a:pt x="18424" y="13616"/>
                    <a:pt x="21091" y="29422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355" name="Forma livre: Forma 2354">
              <a:extLst>
                <a:ext uri="{FF2B5EF4-FFF2-40B4-BE49-F238E27FC236}">
                  <a16:creationId xmlns:a16="http://schemas.microsoft.com/office/drawing/2014/main" id="{406E3CD3-53E2-61E7-FAD8-7D4C6306EA44}"/>
                </a:ext>
              </a:extLst>
            </p:cNvPr>
            <p:cNvSpPr/>
            <p:nvPr/>
          </p:nvSpPr>
          <p:spPr>
            <a:xfrm>
              <a:off x="9976095" y="4764930"/>
              <a:ext cx="244421" cy="30088"/>
            </a:xfrm>
            <a:custGeom>
              <a:avLst/>
              <a:gdLst>
                <a:gd name="connsiteX0" fmla="*/ 51465 w 244421"/>
                <a:gd name="connsiteY0" fmla="*/ 30088 h 30088"/>
                <a:gd name="connsiteX1" fmla="*/ 9426 w 244421"/>
                <a:gd name="connsiteY1" fmla="*/ 30088 h 30088"/>
                <a:gd name="connsiteX2" fmla="*/ 0 w 244421"/>
                <a:gd name="connsiteY2" fmla="*/ 20662 h 30088"/>
                <a:gd name="connsiteX3" fmla="*/ 0 w 244421"/>
                <a:gd name="connsiteY3" fmla="*/ 9426 h 30088"/>
                <a:gd name="connsiteX4" fmla="*/ 9426 w 244421"/>
                <a:gd name="connsiteY4" fmla="*/ 0 h 30088"/>
                <a:gd name="connsiteX5" fmla="*/ 234995 w 244421"/>
                <a:gd name="connsiteY5" fmla="*/ 0 h 30088"/>
                <a:gd name="connsiteX6" fmla="*/ 244422 w 244421"/>
                <a:gd name="connsiteY6" fmla="*/ 9426 h 30088"/>
                <a:gd name="connsiteX7" fmla="*/ 244422 w 244421"/>
                <a:gd name="connsiteY7" fmla="*/ 20662 h 30088"/>
                <a:gd name="connsiteX8" fmla="*/ 234995 w 244421"/>
                <a:gd name="connsiteY8" fmla="*/ 30088 h 30088"/>
                <a:gd name="connsiteX9" fmla="*/ 94503 w 244421"/>
                <a:gd name="connsiteY9" fmla="*/ 30088 h 300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44421" h="30088">
                  <a:moveTo>
                    <a:pt x="51465" y="30088"/>
                  </a:moveTo>
                  <a:lnTo>
                    <a:pt x="9426" y="30088"/>
                  </a:lnTo>
                  <a:cubicBezTo>
                    <a:pt x="4237" y="30088"/>
                    <a:pt x="0" y="25851"/>
                    <a:pt x="0" y="20662"/>
                  </a:cubicBezTo>
                  <a:lnTo>
                    <a:pt x="0" y="9426"/>
                  </a:lnTo>
                  <a:cubicBezTo>
                    <a:pt x="0" y="4237"/>
                    <a:pt x="4237" y="0"/>
                    <a:pt x="9426" y="0"/>
                  </a:cubicBezTo>
                  <a:lnTo>
                    <a:pt x="234995" y="0"/>
                  </a:lnTo>
                  <a:cubicBezTo>
                    <a:pt x="240184" y="0"/>
                    <a:pt x="244422" y="4237"/>
                    <a:pt x="244422" y="9426"/>
                  </a:cubicBezTo>
                  <a:lnTo>
                    <a:pt x="244422" y="20662"/>
                  </a:lnTo>
                  <a:cubicBezTo>
                    <a:pt x="244422" y="25851"/>
                    <a:pt x="240184" y="30088"/>
                    <a:pt x="234995" y="30088"/>
                  </a:cubicBezTo>
                  <a:lnTo>
                    <a:pt x="94503" y="30088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356" name="Forma livre: Forma 2355">
              <a:extLst>
                <a:ext uri="{FF2B5EF4-FFF2-40B4-BE49-F238E27FC236}">
                  <a16:creationId xmlns:a16="http://schemas.microsoft.com/office/drawing/2014/main" id="{61A5B7C4-4497-A214-21DC-0BA1EB82AAD8}"/>
                </a:ext>
              </a:extLst>
            </p:cNvPr>
            <p:cNvSpPr/>
            <p:nvPr/>
          </p:nvSpPr>
          <p:spPr>
            <a:xfrm>
              <a:off x="10089905" y="4718339"/>
              <a:ext cx="101778" cy="45686"/>
            </a:xfrm>
            <a:custGeom>
              <a:avLst/>
              <a:gdLst>
                <a:gd name="connsiteX0" fmla="*/ 100809 w 101778"/>
                <a:gd name="connsiteY0" fmla="*/ 45543 h 45686"/>
                <a:gd name="connsiteX1" fmla="*/ 101665 w 101778"/>
                <a:gd name="connsiteY1" fmla="*/ 31118 h 45686"/>
                <a:gd name="connsiteX2" fmla="*/ 68387 w 101778"/>
                <a:gd name="connsiteY2" fmla="*/ 5314 h 45686"/>
                <a:gd name="connsiteX3" fmla="*/ 53771 w 101778"/>
                <a:gd name="connsiteY3" fmla="*/ 5743 h 45686"/>
                <a:gd name="connsiteX4" fmla="*/ 39537 w 101778"/>
                <a:gd name="connsiteY4" fmla="*/ 2553 h 45686"/>
                <a:gd name="connsiteX5" fmla="*/ 1926 w 101778"/>
                <a:gd name="connsiteY5" fmla="*/ 21501 h 45686"/>
                <a:gd name="connsiteX6" fmla="*/ 450 w 101778"/>
                <a:gd name="connsiteY6" fmla="*/ 45686 h 456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1778" h="45686">
                  <a:moveTo>
                    <a:pt x="100809" y="45543"/>
                  </a:moveTo>
                  <a:cubicBezTo>
                    <a:pt x="102237" y="37069"/>
                    <a:pt x="101665" y="31118"/>
                    <a:pt x="101665" y="31118"/>
                  </a:cubicBezTo>
                  <a:cubicBezTo>
                    <a:pt x="96952" y="-2160"/>
                    <a:pt x="68387" y="5314"/>
                    <a:pt x="68387" y="5314"/>
                  </a:cubicBezTo>
                  <a:cubicBezTo>
                    <a:pt x="58104" y="6266"/>
                    <a:pt x="53771" y="5743"/>
                    <a:pt x="53771" y="5743"/>
                  </a:cubicBezTo>
                  <a:cubicBezTo>
                    <a:pt x="53771" y="5743"/>
                    <a:pt x="49439" y="5409"/>
                    <a:pt x="39537" y="2553"/>
                  </a:cubicBezTo>
                  <a:cubicBezTo>
                    <a:pt x="39537" y="2553"/>
                    <a:pt x="12923" y="-10254"/>
                    <a:pt x="1926" y="21501"/>
                  </a:cubicBezTo>
                  <a:cubicBezTo>
                    <a:pt x="1926" y="21501"/>
                    <a:pt x="-1121" y="31927"/>
                    <a:pt x="450" y="45686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2357" name="Gráfico 19">
            <a:extLst>
              <a:ext uri="{FF2B5EF4-FFF2-40B4-BE49-F238E27FC236}">
                <a16:creationId xmlns:a16="http://schemas.microsoft.com/office/drawing/2014/main" id="{88B9B83D-753F-9546-5202-9E0FB0D79648}"/>
              </a:ext>
            </a:extLst>
          </p:cNvPr>
          <p:cNvGrpSpPr/>
          <p:nvPr/>
        </p:nvGrpSpPr>
        <p:grpSpPr>
          <a:xfrm>
            <a:off x="10570343" y="4720892"/>
            <a:ext cx="328688" cy="228710"/>
            <a:chOff x="10570343" y="4720892"/>
            <a:chExt cx="328688" cy="228710"/>
          </a:xfrm>
          <a:noFill/>
        </p:grpSpPr>
        <p:sp>
          <p:nvSpPr>
            <p:cNvPr id="2358" name="Forma livre: Forma 2357">
              <a:extLst>
                <a:ext uri="{FF2B5EF4-FFF2-40B4-BE49-F238E27FC236}">
                  <a16:creationId xmlns:a16="http://schemas.microsoft.com/office/drawing/2014/main" id="{C44AFE4A-81C1-970E-31DE-D4F93566737C}"/>
                </a:ext>
              </a:extLst>
            </p:cNvPr>
            <p:cNvSpPr/>
            <p:nvPr/>
          </p:nvSpPr>
          <p:spPr>
            <a:xfrm>
              <a:off x="10571534" y="4870049"/>
              <a:ext cx="62224" cy="77934"/>
            </a:xfrm>
            <a:custGeom>
              <a:avLst/>
              <a:gdLst>
                <a:gd name="connsiteX0" fmla="*/ 62224 w 62224"/>
                <a:gd name="connsiteY0" fmla="*/ 0 h 77934"/>
                <a:gd name="connsiteX1" fmla="*/ 0 w 62224"/>
                <a:gd name="connsiteY1" fmla="*/ 77935 h 77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224" h="77934">
                  <a:moveTo>
                    <a:pt x="62224" y="0"/>
                  </a:moveTo>
                  <a:lnTo>
                    <a:pt x="0" y="77935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359" name="Forma livre: Forma 2358">
              <a:extLst>
                <a:ext uri="{FF2B5EF4-FFF2-40B4-BE49-F238E27FC236}">
                  <a16:creationId xmlns:a16="http://schemas.microsoft.com/office/drawing/2014/main" id="{E80FDB87-2564-CF24-B066-E18211E01175}"/>
                </a:ext>
              </a:extLst>
            </p:cNvPr>
            <p:cNvSpPr/>
            <p:nvPr/>
          </p:nvSpPr>
          <p:spPr>
            <a:xfrm>
              <a:off x="10761967" y="4870049"/>
              <a:ext cx="62224" cy="77934"/>
            </a:xfrm>
            <a:custGeom>
              <a:avLst/>
              <a:gdLst>
                <a:gd name="connsiteX0" fmla="*/ 0 w 62224"/>
                <a:gd name="connsiteY0" fmla="*/ 0 h 77934"/>
                <a:gd name="connsiteX1" fmla="*/ 62224 w 62224"/>
                <a:gd name="connsiteY1" fmla="*/ 77935 h 77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224" h="77934">
                  <a:moveTo>
                    <a:pt x="0" y="0"/>
                  </a:moveTo>
                  <a:lnTo>
                    <a:pt x="62224" y="77935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360" name="Forma livre: Forma 2359">
              <a:extLst>
                <a:ext uri="{FF2B5EF4-FFF2-40B4-BE49-F238E27FC236}">
                  <a16:creationId xmlns:a16="http://schemas.microsoft.com/office/drawing/2014/main" id="{002CFA5A-0A82-5AF4-EA91-1B32C94BA965}"/>
                </a:ext>
              </a:extLst>
            </p:cNvPr>
            <p:cNvSpPr/>
            <p:nvPr/>
          </p:nvSpPr>
          <p:spPr>
            <a:xfrm>
              <a:off x="10570343" y="4720892"/>
              <a:ext cx="328688" cy="228710"/>
            </a:xfrm>
            <a:custGeom>
              <a:avLst/>
              <a:gdLst>
                <a:gd name="connsiteX0" fmla="*/ 255514 w 328688"/>
                <a:gd name="connsiteY0" fmla="*/ 228711 h 228710"/>
                <a:gd name="connsiteX1" fmla="*/ 0 w 328688"/>
                <a:gd name="connsiteY1" fmla="*/ 228711 h 228710"/>
                <a:gd name="connsiteX2" fmla="*/ 0 w 328688"/>
                <a:gd name="connsiteY2" fmla="*/ 73174 h 228710"/>
                <a:gd name="connsiteX3" fmla="*/ 73222 w 328688"/>
                <a:gd name="connsiteY3" fmla="*/ 0 h 228710"/>
                <a:gd name="connsiteX4" fmla="*/ 328688 w 328688"/>
                <a:gd name="connsiteY4" fmla="*/ 0 h 228710"/>
                <a:gd name="connsiteX5" fmla="*/ 328688 w 328688"/>
                <a:gd name="connsiteY5" fmla="*/ 155537 h 228710"/>
                <a:gd name="connsiteX6" fmla="*/ 255514 w 328688"/>
                <a:gd name="connsiteY6" fmla="*/ 228711 h 2287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28688" h="228710">
                  <a:moveTo>
                    <a:pt x="255514" y="228711"/>
                  </a:moveTo>
                  <a:lnTo>
                    <a:pt x="0" y="228711"/>
                  </a:lnTo>
                  <a:lnTo>
                    <a:pt x="0" y="73174"/>
                  </a:lnTo>
                  <a:lnTo>
                    <a:pt x="73222" y="0"/>
                  </a:lnTo>
                  <a:lnTo>
                    <a:pt x="328688" y="0"/>
                  </a:lnTo>
                  <a:lnTo>
                    <a:pt x="328688" y="155537"/>
                  </a:lnTo>
                  <a:lnTo>
                    <a:pt x="255514" y="228711"/>
                  </a:ln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361" name="Forma livre: Forma 2360">
              <a:extLst>
                <a:ext uri="{FF2B5EF4-FFF2-40B4-BE49-F238E27FC236}">
                  <a16:creationId xmlns:a16="http://schemas.microsoft.com/office/drawing/2014/main" id="{DBA2FC3E-92A0-6340-8A9F-3C80E807D8FD}"/>
                </a:ext>
              </a:extLst>
            </p:cNvPr>
            <p:cNvSpPr/>
            <p:nvPr/>
          </p:nvSpPr>
          <p:spPr>
            <a:xfrm>
              <a:off x="10825858" y="4794304"/>
              <a:ext cx="4760" cy="155298"/>
            </a:xfrm>
            <a:custGeom>
              <a:avLst/>
              <a:gdLst>
                <a:gd name="connsiteX0" fmla="*/ 0 w 4760"/>
                <a:gd name="connsiteY0" fmla="*/ 155299 h 155298"/>
                <a:gd name="connsiteX1" fmla="*/ 0 w 4760"/>
                <a:gd name="connsiteY1" fmla="*/ 0 h 1552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760" h="155298">
                  <a:moveTo>
                    <a:pt x="0" y="155299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362" name="Forma livre: Forma 2361">
              <a:extLst>
                <a:ext uri="{FF2B5EF4-FFF2-40B4-BE49-F238E27FC236}">
                  <a16:creationId xmlns:a16="http://schemas.microsoft.com/office/drawing/2014/main" id="{43E31421-ABFC-FBBA-F871-2185FFB46F2A}"/>
                </a:ext>
              </a:extLst>
            </p:cNvPr>
            <p:cNvSpPr/>
            <p:nvPr/>
          </p:nvSpPr>
          <p:spPr>
            <a:xfrm>
              <a:off x="10661323" y="4722892"/>
              <a:ext cx="235709" cy="71174"/>
            </a:xfrm>
            <a:custGeom>
              <a:avLst/>
              <a:gdLst>
                <a:gd name="connsiteX0" fmla="*/ 235709 w 235709"/>
                <a:gd name="connsiteY0" fmla="*/ 0 h 71174"/>
                <a:gd name="connsiteX1" fmla="*/ 164535 w 235709"/>
                <a:gd name="connsiteY1" fmla="*/ 71175 h 71174"/>
                <a:gd name="connsiteX2" fmla="*/ 0 w 235709"/>
                <a:gd name="connsiteY2" fmla="*/ 71175 h 71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35709" h="71174">
                  <a:moveTo>
                    <a:pt x="235709" y="0"/>
                  </a:moveTo>
                  <a:lnTo>
                    <a:pt x="164535" y="71175"/>
                  </a:lnTo>
                  <a:lnTo>
                    <a:pt x="0" y="71175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363" name="Forma livre: Forma 2362">
              <a:extLst>
                <a:ext uri="{FF2B5EF4-FFF2-40B4-BE49-F238E27FC236}">
                  <a16:creationId xmlns:a16="http://schemas.microsoft.com/office/drawing/2014/main" id="{4EC84DCD-62A2-B5B8-12E5-BE66841E55DE}"/>
                </a:ext>
              </a:extLst>
            </p:cNvPr>
            <p:cNvSpPr/>
            <p:nvPr/>
          </p:nvSpPr>
          <p:spPr>
            <a:xfrm>
              <a:off x="10571153" y="4794066"/>
              <a:ext cx="63652" cy="4760"/>
            </a:xfrm>
            <a:custGeom>
              <a:avLst/>
              <a:gdLst>
                <a:gd name="connsiteX0" fmla="*/ 63652 w 63652"/>
                <a:gd name="connsiteY0" fmla="*/ 0 h 4760"/>
                <a:gd name="connsiteX1" fmla="*/ 0 w 63652"/>
                <a:gd name="connsiteY1" fmla="*/ 0 h 47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3652" h="4760">
                  <a:moveTo>
                    <a:pt x="63652" y="0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364" name="Forma livre: Forma 2363">
              <a:extLst>
                <a:ext uri="{FF2B5EF4-FFF2-40B4-BE49-F238E27FC236}">
                  <a16:creationId xmlns:a16="http://schemas.microsoft.com/office/drawing/2014/main" id="{031AED22-47BE-FC75-C595-D4E5095078DD}"/>
                </a:ext>
              </a:extLst>
            </p:cNvPr>
            <p:cNvSpPr/>
            <p:nvPr/>
          </p:nvSpPr>
          <p:spPr>
            <a:xfrm>
              <a:off x="10571486" y="4795209"/>
              <a:ext cx="253514" cy="95216"/>
            </a:xfrm>
            <a:custGeom>
              <a:avLst/>
              <a:gdLst>
                <a:gd name="connsiteX0" fmla="*/ 0 w 253514"/>
                <a:gd name="connsiteY0" fmla="*/ 0 h 95216"/>
                <a:gd name="connsiteX1" fmla="*/ 126734 w 253514"/>
                <a:gd name="connsiteY1" fmla="*/ 95217 h 95216"/>
                <a:gd name="connsiteX2" fmla="*/ 253515 w 253514"/>
                <a:gd name="connsiteY2" fmla="*/ 0 h 952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53514" h="95216">
                  <a:moveTo>
                    <a:pt x="0" y="0"/>
                  </a:moveTo>
                  <a:lnTo>
                    <a:pt x="126734" y="95217"/>
                  </a:lnTo>
                  <a:lnTo>
                    <a:pt x="253515" y="0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2365" name="Gráfico 19">
            <a:extLst>
              <a:ext uri="{FF2B5EF4-FFF2-40B4-BE49-F238E27FC236}">
                <a16:creationId xmlns:a16="http://schemas.microsoft.com/office/drawing/2014/main" id="{99B83FC6-AE9F-2394-856E-69AC8F4FA2C5}"/>
              </a:ext>
            </a:extLst>
          </p:cNvPr>
          <p:cNvGrpSpPr/>
          <p:nvPr/>
        </p:nvGrpSpPr>
        <p:grpSpPr>
          <a:xfrm>
            <a:off x="11167972" y="4714132"/>
            <a:ext cx="376011" cy="242231"/>
            <a:chOff x="11167972" y="4714132"/>
            <a:chExt cx="376011" cy="242231"/>
          </a:xfrm>
        </p:grpSpPr>
        <p:sp>
          <p:nvSpPr>
            <p:cNvPr id="2366" name="Forma livre: Forma 2365">
              <a:extLst>
                <a:ext uri="{FF2B5EF4-FFF2-40B4-BE49-F238E27FC236}">
                  <a16:creationId xmlns:a16="http://schemas.microsoft.com/office/drawing/2014/main" id="{5C7E89CD-C5AE-8819-EF65-D5DC0EF2FEEF}"/>
                </a:ext>
              </a:extLst>
            </p:cNvPr>
            <p:cNvSpPr/>
            <p:nvPr/>
          </p:nvSpPr>
          <p:spPr>
            <a:xfrm>
              <a:off x="11199631" y="4833200"/>
              <a:ext cx="344351" cy="76554"/>
            </a:xfrm>
            <a:custGeom>
              <a:avLst/>
              <a:gdLst>
                <a:gd name="connsiteX0" fmla="*/ 320881 w 344351"/>
                <a:gd name="connsiteY0" fmla="*/ 76554 h 76554"/>
                <a:gd name="connsiteX1" fmla="*/ 333306 w 344351"/>
                <a:gd name="connsiteY1" fmla="*/ 76554 h 76554"/>
                <a:gd name="connsiteX2" fmla="*/ 344352 w 344351"/>
                <a:gd name="connsiteY2" fmla="*/ 65509 h 76554"/>
                <a:gd name="connsiteX3" fmla="*/ 344352 w 344351"/>
                <a:gd name="connsiteY3" fmla="*/ 57987 h 76554"/>
                <a:gd name="connsiteX4" fmla="*/ 333306 w 344351"/>
                <a:gd name="connsiteY4" fmla="*/ 46990 h 76554"/>
                <a:gd name="connsiteX5" fmla="*/ 295029 w 344351"/>
                <a:gd name="connsiteY5" fmla="*/ 46990 h 76554"/>
                <a:gd name="connsiteX6" fmla="*/ 211048 w 344351"/>
                <a:gd name="connsiteY6" fmla="*/ 31279 h 76554"/>
                <a:gd name="connsiteX7" fmla="*/ 154632 w 344351"/>
                <a:gd name="connsiteY7" fmla="*/ 52941 h 76554"/>
                <a:gd name="connsiteX8" fmla="*/ 81791 w 344351"/>
                <a:gd name="connsiteY8" fmla="*/ 52941 h 76554"/>
                <a:gd name="connsiteX9" fmla="*/ 0 w 344351"/>
                <a:gd name="connsiteY9" fmla="*/ 0 h 765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44351" h="76554">
                  <a:moveTo>
                    <a:pt x="320881" y="76554"/>
                  </a:moveTo>
                  <a:lnTo>
                    <a:pt x="333306" y="76554"/>
                  </a:lnTo>
                  <a:cubicBezTo>
                    <a:pt x="339400" y="76554"/>
                    <a:pt x="344352" y="71603"/>
                    <a:pt x="344352" y="65509"/>
                  </a:cubicBezTo>
                  <a:lnTo>
                    <a:pt x="344352" y="57987"/>
                  </a:lnTo>
                  <a:cubicBezTo>
                    <a:pt x="344352" y="51893"/>
                    <a:pt x="339400" y="46990"/>
                    <a:pt x="333306" y="46990"/>
                  </a:cubicBezTo>
                  <a:lnTo>
                    <a:pt x="295029" y="46990"/>
                  </a:lnTo>
                  <a:cubicBezTo>
                    <a:pt x="258609" y="14187"/>
                    <a:pt x="211048" y="31279"/>
                    <a:pt x="211048" y="31279"/>
                  </a:cubicBezTo>
                  <a:lnTo>
                    <a:pt x="154632" y="52941"/>
                  </a:lnTo>
                  <a:lnTo>
                    <a:pt x="81791" y="52941"/>
                  </a:lnTo>
                  <a:cubicBezTo>
                    <a:pt x="74650" y="12521"/>
                    <a:pt x="26042" y="2000"/>
                    <a:pt x="0" y="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367" name="Forma livre: Forma 2366">
              <a:extLst>
                <a:ext uri="{FF2B5EF4-FFF2-40B4-BE49-F238E27FC236}">
                  <a16:creationId xmlns:a16="http://schemas.microsoft.com/office/drawing/2014/main" id="{275FBC07-FF91-527B-7479-F9249F246574}"/>
                </a:ext>
              </a:extLst>
            </p:cNvPr>
            <p:cNvSpPr/>
            <p:nvPr/>
          </p:nvSpPr>
          <p:spPr>
            <a:xfrm>
              <a:off x="11172256" y="4864622"/>
              <a:ext cx="91693" cy="91693"/>
            </a:xfrm>
            <a:custGeom>
              <a:avLst/>
              <a:gdLst>
                <a:gd name="connsiteX0" fmla="*/ 91694 w 91693"/>
                <a:gd name="connsiteY0" fmla="*/ 45847 h 91693"/>
                <a:gd name="connsiteX1" fmla="*/ 45847 w 91693"/>
                <a:gd name="connsiteY1" fmla="*/ 91694 h 91693"/>
                <a:gd name="connsiteX2" fmla="*/ 0 w 91693"/>
                <a:gd name="connsiteY2" fmla="*/ 45847 h 91693"/>
                <a:gd name="connsiteX3" fmla="*/ 45847 w 91693"/>
                <a:gd name="connsiteY3" fmla="*/ 0 h 91693"/>
                <a:gd name="connsiteX4" fmla="*/ 91694 w 91693"/>
                <a:gd name="connsiteY4" fmla="*/ 45847 h 916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1693" h="91693">
                  <a:moveTo>
                    <a:pt x="91694" y="45847"/>
                  </a:moveTo>
                  <a:cubicBezTo>
                    <a:pt x="91694" y="71175"/>
                    <a:pt x="71175" y="91694"/>
                    <a:pt x="45847" y="91694"/>
                  </a:cubicBezTo>
                  <a:cubicBezTo>
                    <a:pt x="20519" y="91694"/>
                    <a:pt x="0" y="71175"/>
                    <a:pt x="0" y="45847"/>
                  </a:cubicBezTo>
                  <a:cubicBezTo>
                    <a:pt x="0" y="20519"/>
                    <a:pt x="20519" y="0"/>
                    <a:pt x="45847" y="0"/>
                  </a:cubicBezTo>
                  <a:cubicBezTo>
                    <a:pt x="71175" y="0"/>
                    <a:pt x="91694" y="20519"/>
                    <a:pt x="91694" y="45847"/>
                  </a:cubicBez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368" name="Forma livre: Forma 2367">
              <a:extLst>
                <a:ext uri="{FF2B5EF4-FFF2-40B4-BE49-F238E27FC236}">
                  <a16:creationId xmlns:a16="http://schemas.microsoft.com/office/drawing/2014/main" id="{A520A413-D124-BE41-42BB-CE2C42F702B1}"/>
                </a:ext>
              </a:extLst>
            </p:cNvPr>
            <p:cNvSpPr/>
            <p:nvPr/>
          </p:nvSpPr>
          <p:spPr>
            <a:xfrm>
              <a:off x="11196584" y="4888997"/>
              <a:ext cx="42942" cy="42942"/>
            </a:xfrm>
            <a:custGeom>
              <a:avLst/>
              <a:gdLst>
                <a:gd name="connsiteX0" fmla="*/ 42943 w 42942"/>
                <a:gd name="connsiteY0" fmla="*/ 21471 h 42942"/>
                <a:gd name="connsiteX1" fmla="*/ 21471 w 42942"/>
                <a:gd name="connsiteY1" fmla="*/ 42943 h 42942"/>
                <a:gd name="connsiteX2" fmla="*/ 0 w 42942"/>
                <a:gd name="connsiteY2" fmla="*/ 21471 h 42942"/>
                <a:gd name="connsiteX3" fmla="*/ 21471 w 42942"/>
                <a:gd name="connsiteY3" fmla="*/ 0 h 42942"/>
                <a:gd name="connsiteX4" fmla="*/ 42943 w 42942"/>
                <a:gd name="connsiteY4" fmla="*/ 21471 h 429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2942" h="42942">
                  <a:moveTo>
                    <a:pt x="42943" y="21471"/>
                  </a:moveTo>
                  <a:cubicBezTo>
                    <a:pt x="42943" y="33326"/>
                    <a:pt x="33326" y="42943"/>
                    <a:pt x="21471" y="42943"/>
                  </a:cubicBezTo>
                  <a:cubicBezTo>
                    <a:pt x="9617" y="42943"/>
                    <a:pt x="0" y="33326"/>
                    <a:pt x="0" y="21471"/>
                  </a:cubicBezTo>
                  <a:cubicBezTo>
                    <a:pt x="0" y="9617"/>
                    <a:pt x="9617" y="0"/>
                    <a:pt x="21471" y="0"/>
                  </a:cubicBezTo>
                  <a:cubicBezTo>
                    <a:pt x="33326" y="0"/>
                    <a:pt x="42943" y="9617"/>
                    <a:pt x="42943" y="21471"/>
                  </a:cubicBez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369" name="Forma livre: Forma 2368">
              <a:extLst>
                <a:ext uri="{FF2B5EF4-FFF2-40B4-BE49-F238E27FC236}">
                  <a16:creationId xmlns:a16="http://schemas.microsoft.com/office/drawing/2014/main" id="{4DA725DF-B60B-82E1-0B37-AD68EE8AEFB1}"/>
                </a:ext>
              </a:extLst>
            </p:cNvPr>
            <p:cNvSpPr/>
            <p:nvPr/>
          </p:nvSpPr>
          <p:spPr>
            <a:xfrm>
              <a:off x="11167972" y="4748600"/>
              <a:ext cx="358015" cy="129066"/>
            </a:xfrm>
            <a:custGeom>
              <a:avLst/>
              <a:gdLst>
                <a:gd name="connsiteX0" fmla="*/ 358015 w 358015"/>
                <a:gd name="connsiteY0" fmla="*/ 129066 h 129066"/>
                <a:gd name="connsiteX1" fmla="*/ 347637 w 358015"/>
                <a:gd name="connsiteY1" fmla="*/ 70032 h 129066"/>
                <a:gd name="connsiteX2" fmla="*/ 302361 w 358015"/>
                <a:gd name="connsiteY2" fmla="*/ 32659 h 129066"/>
                <a:gd name="connsiteX3" fmla="*/ 198099 w 358015"/>
                <a:gd name="connsiteY3" fmla="*/ 0 h 129066"/>
                <a:gd name="connsiteX4" fmla="*/ 173866 w 358015"/>
                <a:gd name="connsiteY4" fmla="*/ 45704 h 129066"/>
                <a:gd name="connsiteX5" fmla="*/ 193671 w 358015"/>
                <a:gd name="connsiteY5" fmla="*/ 89313 h 129066"/>
                <a:gd name="connsiteX6" fmla="*/ 189148 w 358015"/>
                <a:gd name="connsiteY6" fmla="*/ 107643 h 129066"/>
                <a:gd name="connsiteX7" fmla="*/ 123544 w 358015"/>
                <a:gd name="connsiteY7" fmla="*/ 107643 h 129066"/>
                <a:gd name="connsiteX8" fmla="*/ 103072 w 358015"/>
                <a:gd name="connsiteY8" fmla="*/ 56892 h 129066"/>
                <a:gd name="connsiteX9" fmla="*/ 27565 w 358015"/>
                <a:gd name="connsiteY9" fmla="*/ 56892 h 129066"/>
                <a:gd name="connsiteX10" fmla="*/ 12854 w 358015"/>
                <a:gd name="connsiteY10" fmla="*/ 65176 h 129066"/>
                <a:gd name="connsiteX11" fmla="*/ 0 w 358015"/>
                <a:gd name="connsiteY11" fmla="*/ 115974 h 1290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58015" h="129066">
                  <a:moveTo>
                    <a:pt x="358015" y="129066"/>
                  </a:moveTo>
                  <a:lnTo>
                    <a:pt x="347637" y="70032"/>
                  </a:lnTo>
                  <a:cubicBezTo>
                    <a:pt x="342543" y="45704"/>
                    <a:pt x="302361" y="32659"/>
                    <a:pt x="302361" y="32659"/>
                  </a:cubicBezTo>
                  <a:lnTo>
                    <a:pt x="198099" y="0"/>
                  </a:lnTo>
                  <a:lnTo>
                    <a:pt x="173866" y="45704"/>
                  </a:lnTo>
                  <a:lnTo>
                    <a:pt x="193671" y="89313"/>
                  </a:lnTo>
                  <a:cubicBezTo>
                    <a:pt x="193671" y="89313"/>
                    <a:pt x="201193" y="100073"/>
                    <a:pt x="189148" y="107643"/>
                  </a:cubicBezTo>
                  <a:lnTo>
                    <a:pt x="123544" y="107643"/>
                  </a:lnTo>
                  <a:lnTo>
                    <a:pt x="103072" y="56892"/>
                  </a:lnTo>
                  <a:lnTo>
                    <a:pt x="27565" y="56892"/>
                  </a:lnTo>
                  <a:cubicBezTo>
                    <a:pt x="13426" y="56892"/>
                    <a:pt x="12854" y="65176"/>
                    <a:pt x="12854" y="65176"/>
                  </a:cubicBezTo>
                  <a:lnTo>
                    <a:pt x="0" y="115974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370" name="Forma livre: Forma 2369">
              <a:extLst>
                <a:ext uri="{FF2B5EF4-FFF2-40B4-BE49-F238E27FC236}">
                  <a16:creationId xmlns:a16="http://schemas.microsoft.com/office/drawing/2014/main" id="{F186A87F-D212-89E5-B8C5-602AC90AADC3}"/>
                </a:ext>
              </a:extLst>
            </p:cNvPr>
            <p:cNvSpPr/>
            <p:nvPr/>
          </p:nvSpPr>
          <p:spPr>
            <a:xfrm>
              <a:off x="11323651" y="4739316"/>
              <a:ext cx="27232" cy="36468"/>
            </a:xfrm>
            <a:custGeom>
              <a:avLst/>
              <a:gdLst>
                <a:gd name="connsiteX0" fmla="*/ 27232 w 27232"/>
                <a:gd name="connsiteY0" fmla="*/ 36468 h 36468"/>
                <a:gd name="connsiteX1" fmla="*/ 0 w 27232"/>
                <a:gd name="connsiteY1" fmla="*/ 0 h 364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7232" h="36468">
                  <a:moveTo>
                    <a:pt x="27232" y="36468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371" name="Forma livre: Forma 2370">
              <a:extLst>
                <a:ext uri="{FF2B5EF4-FFF2-40B4-BE49-F238E27FC236}">
                  <a16:creationId xmlns:a16="http://schemas.microsoft.com/office/drawing/2014/main" id="{0C9B0B82-B873-3232-6BB6-A5014F2A8158}"/>
                </a:ext>
              </a:extLst>
            </p:cNvPr>
            <p:cNvSpPr/>
            <p:nvPr/>
          </p:nvSpPr>
          <p:spPr>
            <a:xfrm>
              <a:off x="11297228" y="4726938"/>
              <a:ext cx="52083" cy="22661"/>
            </a:xfrm>
            <a:custGeom>
              <a:avLst/>
              <a:gdLst>
                <a:gd name="connsiteX0" fmla="*/ 52084 w 52083"/>
                <a:gd name="connsiteY0" fmla="*/ 0 h 22661"/>
                <a:gd name="connsiteX1" fmla="*/ 0 w 52083"/>
                <a:gd name="connsiteY1" fmla="*/ 22662 h 226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2083" h="22661">
                  <a:moveTo>
                    <a:pt x="52084" y="0"/>
                  </a:moveTo>
                  <a:lnTo>
                    <a:pt x="0" y="22662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372" name="Forma livre: Forma 2371">
              <a:extLst>
                <a:ext uri="{FF2B5EF4-FFF2-40B4-BE49-F238E27FC236}">
                  <a16:creationId xmlns:a16="http://schemas.microsoft.com/office/drawing/2014/main" id="{2629F9F2-7297-3401-F23D-E6C840F0406D}"/>
                </a:ext>
              </a:extLst>
            </p:cNvPr>
            <p:cNvSpPr/>
            <p:nvPr/>
          </p:nvSpPr>
          <p:spPr>
            <a:xfrm>
              <a:off x="11460716" y="4806444"/>
              <a:ext cx="56082" cy="31326"/>
            </a:xfrm>
            <a:custGeom>
              <a:avLst/>
              <a:gdLst>
                <a:gd name="connsiteX0" fmla="*/ 17568 w 56082"/>
                <a:gd name="connsiteY0" fmla="*/ 0 h 31326"/>
                <a:gd name="connsiteX1" fmla="*/ 0 w 56082"/>
                <a:gd name="connsiteY1" fmla="*/ 20376 h 31326"/>
                <a:gd name="connsiteX2" fmla="*/ 56083 w 56082"/>
                <a:gd name="connsiteY2" fmla="*/ 31326 h 313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56082" h="31326">
                  <a:moveTo>
                    <a:pt x="17568" y="0"/>
                  </a:moveTo>
                  <a:lnTo>
                    <a:pt x="0" y="20376"/>
                  </a:lnTo>
                  <a:lnTo>
                    <a:pt x="56083" y="31326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373" name="Forma livre: Forma 2372">
              <a:extLst>
                <a:ext uri="{FF2B5EF4-FFF2-40B4-BE49-F238E27FC236}">
                  <a16:creationId xmlns:a16="http://schemas.microsoft.com/office/drawing/2014/main" id="{3755CCBA-10D8-1006-C700-D505EBAE0981}"/>
                </a:ext>
              </a:extLst>
            </p:cNvPr>
            <p:cNvSpPr/>
            <p:nvPr/>
          </p:nvSpPr>
          <p:spPr>
            <a:xfrm>
              <a:off x="11173637" y="4714132"/>
              <a:ext cx="86885" cy="69079"/>
            </a:xfrm>
            <a:custGeom>
              <a:avLst/>
              <a:gdLst>
                <a:gd name="connsiteX0" fmla="*/ 0 w 86885"/>
                <a:gd name="connsiteY0" fmla="*/ 0 h 69079"/>
                <a:gd name="connsiteX1" fmla="*/ 9617 w 86885"/>
                <a:gd name="connsiteY1" fmla="*/ 42467 h 69079"/>
                <a:gd name="connsiteX2" fmla="*/ 37944 w 86885"/>
                <a:gd name="connsiteY2" fmla="*/ 69080 h 69079"/>
                <a:gd name="connsiteX3" fmla="*/ 86885 w 86885"/>
                <a:gd name="connsiteY3" fmla="*/ 69080 h 690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6885" h="69079">
                  <a:moveTo>
                    <a:pt x="0" y="0"/>
                  </a:moveTo>
                  <a:lnTo>
                    <a:pt x="9617" y="42467"/>
                  </a:lnTo>
                  <a:cubicBezTo>
                    <a:pt x="9617" y="42467"/>
                    <a:pt x="15187" y="69080"/>
                    <a:pt x="37944" y="69080"/>
                  </a:cubicBezTo>
                  <a:lnTo>
                    <a:pt x="86885" y="69080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374" name="Forma livre: Forma 2373">
              <a:extLst>
                <a:ext uri="{FF2B5EF4-FFF2-40B4-BE49-F238E27FC236}">
                  <a16:creationId xmlns:a16="http://schemas.microsoft.com/office/drawing/2014/main" id="{4BF2CEBA-B4CA-16E9-FA00-AC514D5B7B8A}"/>
                </a:ext>
              </a:extLst>
            </p:cNvPr>
            <p:cNvSpPr/>
            <p:nvPr/>
          </p:nvSpPr>
          <p:spPr>
            <a:xfrm>
              <a:off x="11280946" y="4931845"/>
              <a:ext cx="134208" cy="24518"/>
            </a:xfrm>
            <a:custGeom>
              <a:avLst/>
              <a:gdLst>
                <a:gd name="connsiteX0" fmla="*/ 68413 w 134208"/>
                <a:gd name="connsiteY0" fmla="*/ 0 h 24518"/>
                <a:gd name="connsiteX1" fmla="*/ 120640 w 134208"/>
                <a:gd name="connsiteY1" fmla="*/ 0 h 24518"/>
                <a:gd name="connsiteX2" fmla="*/ 134208 w 134208"/>
                <a:gd name="connsiteY2" fmla="*/ 13616 h 24518"/>
                <a:gd name="connsiteX3" fmla="*/ 134208 w 134208"/>
                <a:gd name="connsiteY3" fmla="*/ 24518 h 24518"/>
                <a:gd name="connsiteX4" fmla="*/ 0 w 134208"/>
                <a:gd name="connsiteY4" fmla="*/ 24518 h 24518"/>
                <a:gd name="connsiteX5" fmla="*/ 0 w 134208"/>
                <a:gd name="connsiteY5" fmla="*/ 13616 h 24518"/>
                <a:gd name="connsiteX6" fmla="*/ 13568 w 134208"/>
                <a:gd name="connsiteY6" fmla="*/ 0 h 24518"/>
                <a:gd name="connsiteX7" fmla="*/ 38896 w 134208"/>
                <a:gd name="connsiteY7" fmla="*/ 0 h 24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34208" h="24518">
                  <a:moveTo>
                    <a:pt x="68413" y="0"/>
                  </a:moveTo>
                  <a:lnTo>
                    <a:pt x="120640" y="0"/>
                  </a:lnTo>
                  <a:cubicBezTo>
                    <a:pt x="128114" y="0"/>
                    <a:pt x="134208" y="6142"/>
                    <a:pt x="134208" y="13616"/>
                  </a:cubicBezTo>
                  <a:lnTo>
                    <a:pt x="134208" y="24518"/>
                  </a:lnTo>
                  <a:lnTo>
                    <a:pt x="0" y="24518"/>
                  </a:lnTo>
                  <a:lnTo>
                    <a:pt x="0" y="13616"/>
                  </a:lnTo>
                  <a:cubicBezTo>
                    <a:pt x="0" y="6142"/>
                    <a:pt x="6094" y="0"/>
                    <a:pt x="13568" y="0"/>
                  </a:cubicBezTo>
                  <a:lnTo>
                    <a:pt x="38896" y="0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2375" name="Gráfico 19">
              <a:extLst>
                <a:ext uri="{FF2B5EF4-FFF2-40B4-BE49-F238E27FC236}">
                  <a16:creationId xmlns:a16="http://schemas.microsoft.com/office/drawing/2014/main" id="{A009CDCA-879B-5EC5-A86A-63773FB42A3D}"/>
                </a:ext>
              </a:extLst>
            </p:cNvPr>
            <p:cNvGrpSpPr/>
            <p:nvPr/>
          </p:nvGrpSpPr>
          <p:grpSpPr>
            <a:xfrm>
              <a:off x="11280518" y="4908659"/>
              <a:ext cx="135065" cy="22852"/>
              <a:chOff x="11280518" y="4908659"/>
              <a:chExt cx="135065" cy="22852"/>
            </a:xfrm>
            <a:noFill/>
          </p:grpSpPr>
          <p:sp>
            <p:nvSpPr>
              <p:cNvPr id="2376" name="Forma livre: Forma 2375">
                <a:extLst>
                  <a:ext uri="{FF2B5EF4-FFF2-40B4-BE49-F238E27FC236}">
                    <a16:creationId xmlns:a16="http://schemas.microsoft.com/office/drawing/2014/main" id="{4E1F0056-32AA-1914-8C08-795413BD3C4E}"/>
                  </a:ext>
                </a:extLst>
              </p:cNvPr>
              <p:cNvSpPr/>
              <p:nvPr/>
            </p:nvSpPr>
            <p:spPr>
              <a:xfrm>
                <a:off x="11391445" y="4908659"/>
                <a:ext cx="24137" cy="22852"/>
              </a:xfrm>
              <a:custGeom>
                <a:avLst/>
                <a:gdLst>
                  <a:gd name="connsiteX0" fmla="*/ 0 w 24137"/>
                  <a:gd name="connsiteY0" fmla="*/ 22852 h 22852"/>
                  <a:gd name="connsiteX1" fmla="*/ 0 w 24137"/>
                  <a:gd name="connsiteY1" fmla="*/ 0 h 22852"/>
                  <a:gd name="connsiteX2" fmla="*/ 24137 w 24137"/>
                  <a:gd name="connsiteY2" fmla="*/ 0 h 228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4137" h="22852">
                    <a:moveTo>
                      <a:pt x="0" y="22852"/>
                    </a:moveTo>
                    <a:lnTo>
                      <a:pt x="0" y="0"/>
                    </a:lnTo>
                    <a:lnTo>
                      <a:pt x="24137" y="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377" name="Forma livre: Forma 2376">
                <a:extLst>
                  <a:ext uri="{FF2B5EF4-FFF2-40B4-BE49-F238E27FC236}">
                    <a16:creationId xmlns:a16="http://schemas.microsoft.com/office/drawing/2014/main" id="{4DACF66A-E6CE-16CC-B960-0B0F4D873EA0}"/>
                  </a:ext>
                </a:extLst>
              </p:cNvPr>
              <p:cNvSpPr/>
              <p:nvPr/>
            </p:nvSpPr>
            <p:spPr>
              <a:xfrm>
                <a:off x="11280518" y="4908659"/>
                <a:ext cx="24185" cy="22852"/>
              </a:xfrm>
              <a:custGeom>
                <a:avLst/>
                <a:gdLst>
                  <a:gd name="connsiteX0" fmla="*/ 24185 w 24185"/>
                  <a:gd name="connsiteY0" fmla="*/ 22852 h 22852"/>
                  <a:gd name="connsiteX1" fmla="*/ 24185 w 24185"/>
                  <a:gd name="connsiteY1" fmla="*/ 0 h 22852"/>
                  <a:gd name="connsiteX2" fmla="*/ 0 w 24185"/>
                  <a:gd name="connsiteY2" fmla="*/ 0 h 228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4185" h="22852">
                    <a:moveTo>
                      <a:pt x="24185" y="22852"/>
                    </a:moveTo>
                    <a:lnTo>
                      <a:pt x="24185" y="0"/>
                    </a:lnTo>
                    <a:lnTo>
                      <a:pt x="0" y="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2378" name="Gráfico 19">
              <a:extLst>
                <a:ext uri="{FF2B5EF4-FFF2-40B4-BE49-F238E27FC236}">
                  <a16:creationId xmlns:a16="http://schemas.microsoft.com/office/drawing/2014/main" id="{48EE1028-A955-AC85-457D-6AA077667916}"/>
                </a:ext>
              </a:extLst>
            </p:cNvPr>
            <p:cNvGrpSpPr/>
            <p:nvPr/>
          </p:nvGrpSpPr>
          <p:grpSpPr>
            <a:xfrm>
              <a:off x="11432817" y="4890092"/>
              <a:ext cx="66270" cy="66270"/>
              <a:chOff x="11432817" y="4890092"/>
              <a:chExt cx="66270" cy="66270"/>
            </a:xfrm>
          </p:grpSpPr>
          <p:sp>
            <p:nvSpPr>
              <p:cNvPr id="2379" name="Forma livre: Forma 2378">
                <a:extLst>
                  <a:ext uri="{FF2B5EF4-FFF2-40B4-BE49-F238E27FC236}">
                    <a16:creationId xmlns:a16="http://schemas.microsoft.com/office/drawing/2014/main" id="{0A2DCD4A-836E-AE5B-17E9-F868CF433A6C}"/>
                  </a:ext>
                </a:extLst>
              </p:cNvPr>
              <p:cNvSpPr/>
              <p:nvPr/>
            </p:nvSpPr>
            <p:spPr>
              <a:xfrm>
                <a:off x="11432817" y="4890092"/>
                <a:ext cx="66270" cy="66270"/>
              </a:xfrm>
              <a:custGeom>
                <a:avLst/>
                <a:gdLst>
                  <a:gd name="connsiteX0" fmla="*/ 66271 w 66270"/>
                  <a:gd name="connsiteY0" fmla="*/ 33135 h 66270"/>
                  <a:gd name="connsiteX1" fmla="*/ 33135 w 66270"/>
                  <a:gd name="connsiteY1" fmla="*/ 66271 h 66270"/>
                  <a:gd name="connsiteX2" fmla="*/ 0 w 66270"/>
                  <a:gd name="connsiteY2" fmla="*/ 33135 h 66270"/>
                  <a:gd name="connsiteX3" fmla="*/ 33135 w 66270"/>
                  <a:gd name="connsiteY3" fmla="*/ 0 h 66270"/>
                  <a:gd name="connsiteX4" fmla="*/ 66271 w 66270"/>
                  <a:gd name="connsiteY4" fmla="*/ 33135 h 662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6270" h="66270">
                    <a:moveTo>
                      <a:pt x="66271" y="33135"/>
                    </a:moveTo>
                    <a:cubicBezTo>
                      <a:pt x="66271" y="51417"/>
                      <a:pt x="51417" y="66271"/>
                      <a:pt x="33135" y="66271"/>
                    </a:cubicBezTo>
                    <a:cubicBezTo>
                      <a:pt x="14854" y="66271"/>
                      <a:pt x="0" y="51465"/>
                      <a:pt x="0" y="33135"/>
                    </a:cubicBezTo>
                    <a:cubicBezTo>
                      <a:pt x="0" y="14806"/>
                      <a:pt x="14806" y="0"/>
                      <a:pt x="33135" y="0"/>
                    </a:cubicBezTo>
                    <a:cubicBezTo>
                      <a:pt x="51465" y="0"/>
                      <a:pt x="66271" y="14854"/>
                      <a:pt x="66271" y="33135"/>
                    </a:cubicBezTo>
                    <a:close/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380" name="Forma livre: Forma 2379">
                <a:extLst>
                  <a:ext uri="{FF2B5EF4-FFF2-40B4-BE49-F238E27FC236}">
                    <a16:creationId xmlns:a16="http://schemas.microsoft.com/office/drawing/2014/main" id="{C942EC87-3A0E-DCC6-54D7-063820F21A78}"/>
                  </a:ext>
                </a:extLst>
              </p:cNvPr>
              <p:cNvSpPr/>
              <p:nvPr/>
            </p:nvSpPr>
            <p:spPr>
              <a:xfrm>
                <a:off x="11462668" y="4919847"/>
                <a:ext cx="6665" cy="6712"/>
              </a:xfrm>
              <a:custGeom>
                <a:avLst/>
                <a:gdLst>
                  <a:gd name="connsiteX0" fmla="*/ 6665 w 6665"/>
                  <a:gd name="connsiteY0" fmla="*/ 3380 h 6712"/>
                  <a:gd name="connsiteX1" fmla="*/ 3333 w 6665"/>
                  <a:gd name="connsiteY1" fmla="*/ 6713 h 6712"/>
                  <a:gd name="connsiteX2" fmla="*/ 0 w 6665"/>
                  <a:gd name="connsiteY2" fmla="*/ 3380 h 6712"/>
                  <a:gd name="connsiteX3" fmla="*/ 3333 w 6665"/>
                  <a:gd name="connsiteY3" fmla="*/ 0 h 6712"/>
                  <a:gd name="connsiteX4" fmla="*/ 6665 w 6665"/>
                  <a:gd name="connsiteY4" fmla="*/ 3380 h 67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665" h="6712">
                    <a:moveTo>
                      <a:pt x="6665" y="3380"/>
                    </a:moveTo>
                    <a:cubicBezTo>
                      <a:pt x="6665" y="5237"/>
                      <a:pt x="5189" y="6713"/>
                      <a:pt x="3333" y="6713"/>
                    </a:cubicBezTo>
                    <a:cubicBezTo>
                      <a:pt x="1476" y="6713"/>
                      <a:pt x="0" y="5237"/>
                      <a:pt x="0" y="3380"/>
                    </a:cubicBezTo>
                    <a:cubicBezTo>
                      <a:pt x="0" y="1524"/>
                      <a:pt x="1476" y="0"/>
                      <a:pt x="3333" y="0"/>
                    </a:cubicBezTo>
                    <a:cubicBezTo>
                      <a:pt x="5189" y="0"/>
                      <a:pt x="6665" y="1476"/>
                      <a:pt x="6665" y="3380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2381" name="Gráfico 19">
            <a:extLst>
              <a:ext uri="{FF2B5EF4-FFF2-40B4-BE49-F238E27FC236}">
                <a16:creationId xmlns:a16="http://schemas.microsoft.com/office/drawing/2014/main" id="{3A52B9B3-7E75-D584-D291-39C0BBC01D0B}"/>
              </a:ext>
            </a:extLst>
          </p:cNvPr>
          <p:cNvGrpSpPr/>
          <p:nvPr/>
        </p:nvGrpSpPr>
        <p:grpSpPr>
          <a:xfrm>
            <a:off x="9948530" y="4136928"/>
            <a:ext cx="329735" cy="329878"/>
            <a:chOff x="9948530" y="4136928"/>
            <a:chExt cx="329735" cy="329878"/>
          </a:xfrm>
          <a:noFill/>
        </p:grpSpPr>
        <p:sp>
          <p:nvSpPr>
            <p:cNvPr id="2382" name="Forma livre: Forma 2381">
              <a:extLst>
                <a:ext uri="{FF2B5EF4-FFF2-40B4-BE49-F238E27FC236}">
                  <a16:creationId xmlns:a16="http://schemas.microsoft.com/office/drawing/2014/main" id="{FCE1CE28-C445-BED2-56A4-53251F2ED34C}"/>
                </a:ext>
              </a:extLst>
            </p:cNvPr>
            <p:cNvSpPr/>
            <p:nvPr/>
          </p:nvSpPr>
          <p:spPr>
            <a:xfrm>
              <a:off x="10029131" y="4284704"/>
              <a:ext cx="101453" cy="182102"/>
            </a:xfrm>
            <a:custGeom>
              <a:avLst/>
              <a:gdLst>
                <a:gd name="connsiteX0" fmla="*/ 0 w 101453"/>
                <a:gd name="connsiteY0" fmla="*/ 182102 h 182102"/>
                <a:gd name="connsiteX1" fmla="*/ 80030 w 101453"/>
                <a:gd name="connsiteY1" fmla="*/ 102072 h 182102"/>
                <a:gd name="connsiteX2" fmla="*/ 83648 w 101453"/>
                <a:gd name="connsiteY2" fmla="*/ 73365 h 182102"/>
                <a:gd name="connsiteX3" fmla="*/ 69556 w 101453"/>
                <a:gd name="connsiteY3" fmla="*/ 59272 h 182102"/>
                <a:gd name="connsiteX4" fmla="*/ 101454 w 101453"/>
                <a:gd name="connsiteY4" fmla="*/ 27375 h 182102"/>
                <a:gd name="connsiteX5" fmla="*/ 74079 w 101453"/>
                <a:gd name="connsiteY5" fmla="*/ 0 h 1821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01453" h="182102">
                  <a:moveTo>
                    <a:pt x="0" y="182102"/>
                  </a:moveTo>
                  <a:lnTo>
                    <a:pt x="80030" y="102072"/>
                  </a:lnTo>
                  <a:cubicBezTo>
                    <a:pt x="88742" y="93360"/>
                    <a:pt x="92598" y="82315"/>
                    <a:pt x="83648" y="73365"/>
                  </a:cubicBezTo>
                  <a:lnTo>
                    <a:pt x="69556" y="59272"/>
                  </a:lnTo>
                  <a:lnTo>
                    <a:pt x="101454" y="27375"/>
                  </a:lnTo>
                  <a:lnTo>
                    <a:pt x="74079" y="0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383" name="Forma livre: Forma 2382">
              <a:extLst>
                <a:ext uri="{FF2B5EF4-FFF2-40B4-BE49-F238E27FC236}">
                  <a16:creationId xmlns:a16="http://schemas.microsoft.com/office/drawing/2014/main" id="{7CCF799D-7AF9-ACA8-7B0A-3A8E3F89F750}"/>
                </a:ext>
              </a:extLst>
            </p:cNvPr>
            <p:cNvSpPr/>
            <p:nvPr/>
          </p:nvSpPr>
          <p:spPr>
            <a:xfrm>
              <a:off x="10002518" y="4368876"/>
              <a:ext cx="70888" cy="70888"/>
            </a:xfrm>
            <a:custGeom>
              <a:avLst/>
              <a:gdLst>
                <a:gd name="connsiteX0" fmla="*/ 70889 w 70888"/>
                <a:gd name="connsiteY0" fmla="*/ 0 h 70888"/>
                <a:gd name="connsiteX1" fmla="*/ 0 w 70888"/>
                <a:gd name="connsiteY1" fmla="*/ 70889 h 708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0888" h="70888">
                  <a:moveTo>
                    <a:pt x="70889" y="0"/>
                  </a:moveTo>
                  <a:lnTo>
                    <a:pt x="0" y="70889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384" name="Forma livre: Forma 2383">
              <a:extLst>
                <a:ext uri="{FF2B5EF4-FFF2-40B4-BE49-F238E27FC236}">
                  <a16:creationId xmlns:a16="http://schemas.microsoft.com/office/drawing/2014/main" id="{F83F0375-2FFE-9F19-090C-724DA14E1365}"/>
                </a:ext>
              </a:extLst>
            </p:cNvPr>
            <p:cNvSpPr/>
            <p:nvPr/>
          </p:nvSpPr>
          <p:spPr>
            <a:xfrm>
              <a:off x="10002518" y="4358116"/>
              <a:ext cx="70888" cy="81648"/>
            </a:xfrm>
            <a:custGeom>
              <a:avLst/>
              <a:gdLst>
                <a:gd name="connsiteX0" fmla="*/ 60082 w 70888"/>
                <a:gd name="connsiteY0" fmla="*/ 0 h 81648"/>
                <a:gd name="connsiteX1" fmla="*/ 70889 w 70888"/>
                <a:gd name="connsiteY1" fmla="*/ 10760 h 81648"/>
                <a:gd name="connsiteX2" fmla="*/ 0 w 70888"/>
                <a:gd name="connsiteY2" fmla="*/ 81648 h 816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70888" h="81648">
                  <a:moveTo>
                    <a:pt x="60082" y="0"/>
                  </a:moveTo>
                  <a:lnTo>
                    <a:pt x="70889" y="10760"/>
                  </a:lnTo>
                  <a:lnTo>
                    <a:pt x="0" y="81648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385" name="Forma livre: Forma 2384">
              <a:extLst>
                <a:ext uri="{FF2B5EF4-FFF2-40B4-BE49-F238E27FC236}">
                  <a16:creationId xmlns:a16="http://schemas.microsoft.com/office/drawing/2014/main" id="{1EA6C12A-7FDC-B352-C211-5431FD94B80B}"/>
                </a:ext>
              </a:extLst>
            </p:cNvPr>
            <p:cNvSpPr/>
            <p:nvPr/>
          </p:nvSpPr>
          <p:spPr>
            <a:xfrm>
              <a:off x="9975619" y="4327266"/>
              <a:ext cx="70888" cy="85599"/>
            </a:xfrm>
            <a:custGeom>
              <a:avLst/>
              <a:gdLst>
                <a:gd name="connsiteX0" fmla="*/ 56178 w 70888"/>
                <a:gd name="connsiteY0" fmla="*/ 0 h 85599"/>
                <a:gd name="connsiteX1" fmla="*/ 70889 w 70888"/>
                <a:gd name="connsiteY1" fmla="*/ 14711 h 85599"/>
                <a:gd name="connsiteX2" fmla="*/ 0 w 70888"/>
                <a:gd name="connsiteY2" fmla="*/ 85600 h 855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70888" h="85599">
                  <a:moveTo>
                    <a:pt x="56178" y="0"/>
                  </a:moveTo>
                  <a:lnTo>
                    <a:pt x="70889" y="14711"/>
                  </a:lnTo>
                  <a:lnTo>
                    <a:pt x="0" y="8560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386" name="Forma livre: Forma 2385">
              <a:extLst>
                <a:ext uri="{FF2B5EF4-FFF2-40B4-BE49-F238E27FC236}">
                  <a16:creationId xmlns:a16="http://schemas.microsoft.com/office/drawing/2014/main" id="{2172A44B-95D2-62FB-24BC-644EB8E2956A}"/>
                </a:ext>
              </a:extLst>
            </p:cNvPr>
            <p:cNvSpPr/>
            <p:nvPr/>
          </p:nvSpPr>
          <p:spPr>
            <a:xfrm>
              <a:off x="9975619" y="4341977"/>
              <a:ext cx="70888" cy="70888"/>
            </a:xfrm>
            <a:custGeom>
              <a:avLst/>
              <a:gdLst>
                <a:gd name="connsiteX0" fmla="*/ 70889 w 70888"/>
                <a:gd name="connsiteY0" fmla="*/ 0 h 70888"/>
                <a:gd name="connsiteX1" fmla="*/ 0 w 70888"/>
                <a:gd name="connsiteY1" fmla="*/ 70889 h 708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0888" h="70888">
                  <a:moveTo>
                    <a:pt x="70889" y="0"/>
                  </a:moveTo>
                  <a:lnTo>
                    <a:pt x="0" y="70889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387" name="Forma livre: Forma 2386">
              <a:extLst>
                <a:ext uri="{FF2B5EF4-FFF2-40B4-BE49-F238E27FC236}">
                  <a16:creationId xmlns:a16="http://schemas.microsoft.com/office/drawing/2014/main" id="{CDA67C29-9765-B5A5-EDC4-8A94F0166FF8}"/>
                </a:ext>
              </a:extLst>
            </p:cNvPr>
            <p:cNvSpPr/>
            <p:nvPr/>
          </p:nvSpPr>
          <p:spPr>
            <a:xfrm>
              <a:off x="10107875" y="4136928"/>
              <a:ext cx="170390" cy="170485"/>
            </a:xfrm>
            <a:custGeom>
              <a:avLst/>
              <a:gdLst>
                <a:gd name="connsiteX0" fmla="*/ 0 w 170390"/>
                <a:gd name="connsiteY0" fmla="*/ 150966 h 170485"/>
                <a:gd name="connsiteX1" fmla="*/ 109118 w 170390"/>
                <a:gd name="connsiteY1" fmla="*/ 41848 h 170485"/>
                <a:gd name="connsiteX2" fmla="*/ 109118 w 170390"/>
                <a:gd name="connsiteY2" fmla="*/ 41848 h 170485"/>
                <a:gd name="connsiteX3" fmla="*/ 86600 w 170390"/>
                <a:gd name="connsiteY3" fmla="*/ 19281 h 170485"/>
                <a:gd name="connsiteX4" fmla="*/ 105881 w 170390"/>
                <a:gd name="connsiteY4" fmla="*/ 0 h 170485"/>
                <a:gd name="connsiteX5" fmla="*/ 170390 w 170390"/>
                <a:gd name="connsiteY5" fmla="*/ 64509 h 170485"/>
                <a:gd name="connsiteX6" fmla="*/ 151109 w 170390"/>
                <a:gd name="connsiteY6" fmla="*/ 83791 h 170485"/>
                <a:gd name="connsiteX7" fmla="*/ 128638 w 170390"/>
                <a:gd name="connsiteY7" fmla="*/ 61320 h 170485"/>
                <a:gd name="connsiteX8" fmla="*/ 128638 w 170390"/>
                <a:gd name="connsiteY8" fmla="*/ 61320 h 170485"/>
                <a:gd name="connsiteX9" fmla="*/ 19424 w 170390"/>
                <a:gd name="connsiteY9" fmla="*/ 170486 h 1704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70390" h="170485">
                  <a:moveTo>
                    <a:pt x="0" y="150966"/>
                  </a:moveTo>
                  <a:lnTo>
                    <a:pt x="109118" y="41848"/>
                  </a:lnTo>
                  <a:lnTo>
                    <a:pt x="109118" y="41848"/>
                  </a:lnTo>
                  <a:cubicBezTo>
                    <a:pt x="109118" y="41848"/>
                    <a:pt x="86600" y="19281"/>
                    <a:pt x="86600" y="19281"/>
                  </a:cubicBezTo>
                  <a:lnTo>
                    <a:pt x="105881" y="0"/>
                  </a:lnTo>
                  <a:lnTo>
                    <a:pt x="170390" y="64509"/>
                  </a:lnTo>
                  <a:lnTo>
                    <a:pt x="151109" y="83791"/>
                  </a:lnTo>
                  <a:lnTo>
                    <a:pt x="128638" y="61320"/>
                  </a:lnTo>
                  <a:lnTo>
                    <a:pt x="128638" y="61320"/>
                  </a:lnTo>
                  <a:cubicBezTo>
                    <a:pt x="128638" y="61320"/>
                    <a:pt x="19424" y="170486"/>
                    <a:pt x="19424" y="170486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388" name="Forma livre: Forma 2387">
              <a:extLst>
                <a:ext uri="{FF2B5EF4-FFF2-40B4-BE49-F238E27FC236}">
                  <a16:creationId xmlns:a16="http://schemas.microsoft.com/office/drawing/2014/main" id="{8363BE21-1D58-EB3F-E54E-3AE41F5B5999}"/>
                </a:ext>
              </a:extLst>
            </p:cNvPr>
            <p:cNvSpPr/>
            <p:nvPr/>
          </p:nvSpPr>
          <p:spPr>
            <a:xfrm>
              <a:off x="9948530" y="4297407"/>
              <a:ext cx="137588" cy="88750"/>
            </a:xfrm>
            <a:custGeom>
              <a:avLst/>
              <a:gdLst>
                <a:gd name="connsiteX0" fmla="*/ 0 w 137588"/>
                <a:gd name="connsiteY0" fmla="*/ 88750 h 88750"/>
                <a:gd name="connsiteX1" fmla="*/ 80030 w 137588"/>
                <a:gd name="connsiteY1" fmla="*/ 8720 h 88750"/>
                <a:gd name="connsiteX2" fmla="*/ 108738 w 137588"/>
                <a:gd name="connsiteY2" fmla="*/ 5102 h 88750"/>
                <a:gd name="connsiteX3" fmla="*/ 122830 w 137588"/>
                <a:gd name="connsiteY3" fmla="*/ 19194 h 88750"/>
                <a:gd name="connsiteX4" fmla="*/ 137588 w 137588"/>
                <a:gd name="connsiteY4" fmla="*/ 4436 h 88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7588" h="88750">
                  <a:moveTo>
                    <a:pt x="0" y="88750"/>
                  </a:moveTo>
                  <a:lnTo>
                    <a:pt x="80030" y="8720"/>
                  </a:lnTo>
                  <a:cubicBezTo>
                    <a:pt x="88742" y="8"/>
                    <a:pt x="99787" y="-3848"/>
                    <a:pt x="108738" y="5102"/>
                  </a:cubicBezTo>
                  <a:lnTo>
                    <a:pt x="122830" y="19194"/>
                  </a:lnTo>
                  <a:lnTo>
                    <a:pt x="137588" y="4436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2389" name="Gráfico 19">
            <a:extLst>
              <a:ext uri="{FF2B5EF4-FFF2-40B4-BE49-F238E27FC236}">
                <a16:creationId xmlns:a16="http://schemas.microsoft.com/office/drawing/2014/main" id="{EEFBCD22-7166-402C-5EAA-A71A4D5131B4}"/>
              </a:ext>
            </a:extLst>
          </p:cNvPr>
          <p:cNvGrpSpPr/>
          <p:nvPr/>
        </p:nvGrpSpPr>
        <p:grpSpPr>
          <a:xfrm>
            <a:off x="10615343" y="4126835"/>
            <a:ext cx="238698" cy="350016"/>
            <a:chOff x="10615343" y="4126835"/>
            <a:chExt cx="238698" cy="350016"/>
          </a:xfrm>
        </p:grpSpPr>
        <p:grpSp>
          <p:nvGrpSpPr>
            <p:cNvPr id="2390" name="Gráfico 19">
              <a:extLst>
                <a:ext uri="{FF2B5EF4-FFF2-40B4-BE49-F238E27FC236}">
                  <a16:creationId xmlns:a16="http://schemas.microsoft.com/office/drawing/2014/main" id="{A1AFA99D-C90A-C807-3205-DB786BB257E6}"/>
                </a:ext>
              </a:extLst>
            </p:cNvPr>
            <p:cNvGrpSpPr/>
            <p:nvPr/>
          </p:nvGrpSpPr>
          <p:grpSpPr>
            <a:xfrm>
              <a:off x="10615343" y="4276373"/>
              <a:ext cx="238698" cy="200478"/>
              <a:chOff x="10615343" y="4276373"/>
              <a:chExt cx="238698" cy="200478"/>
            </a:xfrm>
          </p:grpSpPr>
          <p:sp>
            <p:nvSpPr>
              <p:cNvPr id="2391" name="Forma livre: Forma 2390">
                <a:extLst>
                  <a:ext uri="{FF2B5EF4-FFF2-40B4-BE49-F238E27FC236}">
                    <a16:creationId xmlns:a16="http://schemas.microsoft.com/office/drawing/2014/main" id="{35B68E8C-9215-DA4C-2D10-E7EA0578CCAC}"/>
                  </a:ext>
                </a:extLst>
              </p:cNvPr>
              <p:cNvSpPr/>
              <p:nvPr/>
            </p:nvSpPr>
            <p:spPr>
              <a:xfrm>
                <a:off x="10646422" y="4303843"/>
                <a:ext cx="6427" cy="101358"/>
              </a:xfrm>
              <a:custGeom>
                <a:avLst/>
                <a:gdLst>
                  <a:gd name="connsiteX0" fmla="*/ 6427 w 6427"/>
                  <a:gd name="connsiteY0" fmla="*/ 101358 h 101358"/>
                  <a:gd name="connsiteX1" fmla="*/ 0 w 6427"/>
                  <a:gd name="connsiteY1" fmla="*/ 0 h 1013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427" h="101358">
                    <a:moveTo>
                      <a:pt x="6427" y="101358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392" name="Forma livre: Forma 2391">
                <a:extLst>
                  <a:ext uri="{FF2B5EF4-FFF2-40B4-BE49-F238E27FC236}">
                    <a16:creationId xmlns:a16="http://schemas.microsoft.com/office/drawing/2014/main" id="{F50D1AB6-84E3-E547-980C-EA2557442AA7}"/>
                  </a:ext>
                </a:extLst>
              </p:cNvPr>
              <p:cNvSpPr/>
              <p:nvPr/>
            </p:nvSpPr>
            <p:spPr>
              <a:xfrm>
                <a:off x="10654372" y="4303843"/>
                <a:ext cx="176674" cy="173008"/>
              </a:xfrm>
              <a:custGeom>
                <a:avLst/>
                <a:gdLst>
                  <a:gd name="connsiteX0" fmla="*/ 176675 w 176674"/>
                  <a:gd name="connsiteY0" fmla="*/ 0 h 173008"/>
                  <a:gd name="connsiteX1" fmla="*/ 166677 w 176674"/>
                  <a:gd name="connsiteY1" fmla="*/ 150823 h 173008"/>
                  <a:gd name="connsiteX2" fmla="*/ 142873 w 176674"/>
                  <a:gd name="connsiteY2" fmla="*/ 173009 h 173008"/>
                  <a:gd name="connsiteX3" fmla="*/ 25328 w 176674"/>
                  <a:gd name="connsiteY3" fmla="*/ 173009 h 173008"/>
                  <a:gd name="connsiteX4" fmla="*/ 1619 w 176674"/>
                  <a:gd name="connsiteY4" fmla="*/ 150823 h 173008"/>
                  <a:gd name="connsiteX5" fmla="*/ 0 w 176674"/>
                  <a:gd name="connsiteY5" fmla="*/ 125020 h 1730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76674" h="173008">
                    <a:moveTo>
                      <a:pt x="176675" y="0"/>
                    </a:moveTo>
                    <a:lnTo>
                      <a:pt x="166677" y="150823"/>
                    </a:lnTo>
                    <a:cubicBezTo>
                      <a:pt x="165820" y="163011"/>
                      <a:pt x="155156" y="173009"/>
                      <a:pt x="142873" y="173009"/>
                    </a:cubicBezTo>
                    <a:lnTo>
                      <a:pt x="25328" y="173009"/>
                    </a:lnTo>
                    <a:cubicBezTo>
                      <a:pt x="13092" y="173009"/>
                      <a:pt x="2428" y="163011"/>
                      <a:pt x="1619" y="150823"/>
                    </a:cubicBezTo>
                    <a:lnTo>
                      <a:pt x="0" y="12502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393" name="Forma livre: Forma 2392">
                <a:extLst>
                  <a:ext uri="{FF2B5EF4-FFF2-40B4-BE49-F238E27FC236}">
                    <a16:creationId xmlns:a16="http://schemas.microsoft.com/office/drawing/2014/main" id="{4A4D33F6-25C9-8648-9838-7C8997E6244B}"/>
                  </a:ext>
                </a:extLst>
              </p:cNvPr>
              <p:cNvSpPr/>
              <p:nvPr/>
            </p:nvSpPr>
            <p:spPr>
              <a:xfrm>
                <a:off x="10623474" y="4276373"/>
                <a:ext cx="230567" cy="28422"/>
              </a:xfrm>
              <a:custGeom>
                <a:avLst/>
                <a:gdLst>
                  <a:gd name="connsiteX0" fmla="*/ 45180 w 230567"/>
                  <a:gd name="connsiteY0" fmla="*/ 28422 h 28422"/>
                  <a:gd name="connsiteX1" fmla="*/ 8903 w 230567"/>
                  <a:gd name="connsiteY1" fmla="*/ 28422 h 28422"/>
                  <a:gd name="connsiteX2" fmla="*/ 0 w 230567"/>
                  <a:gd name="connsiteY2" fmla="*/ 19519 h 28422"/>
                  <a:gd name="connsiteX3" fmla="*/ 0 w 230567"/>
                  <a:gd name="connsiteY3" fmla="*/ 8903 h 28422"/>
                  <a:gd name="connsiteX4" fmla="*/ 8903 w 230567"/>
                  <a:gd name="connsiteY4" fmla="*/ 0 h 28422"/>
                  <a:gd name="connsiteX5" fmla="*/ 221665 w 230567"/>
                  <a:gd name="connsiteY5" fmla="*/ 0 h 28422"/>
                  <a:gd name="connsiteX6" fmla="*/ 230568 w 230567"/>
                  <a:gd name="connsiteY6" fmla="*/ 8903 h 28422"/>
                  <a:gd name="connsiteX7" fmla="*/ 230568 w 230567"/>
                  <a:gd name="connsiteY7" fmla="*/ 19519 h 28422"/>
                  <a:gd name="connsiteX8" fmla="*/ 221665 w 230567"/>
                  <a:gd name="connsiteY8" fmla="*/ 28422 h 28422"/>
                  <a:gd name="connsiteX9" fmla="*/ 91646 w 230567"/>
                  <a:gd name="connsiteY9" fmla="*/ 28422 h 284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30567" h="28422">
                    <a:moveTo>
                      <a:pt x="45180" y="28422"/>
                    </a:moveTo>
                    <a:lnTo>
                      <a:pt x="8903" y="28422"/>
                    </a:lnTo>
                    <a:cubicBezTo>
                      <a:pt x="3999" y="28422"/>
                      <a:pt x="0" y="24423"/>
                      <a:pt x="0" y="19519"/>
                    </a:cubicBezTo>
                    <a:lnTo>
                      <a:pt x="0" y="8903"/>
                    </a:lnTo>
                    <a:cubicBezTo>
                      <a:pt x="0" y="3999"/>
                      <a:pt x="3999" y="0"/>
                      <a:pt x="8903" y="0"/>
                    </a:cubicBezTo>
                    <a:lnTo>
                      <a:pt x="221665" y="0"/>
                    </a:lnTo>
                    <a:cubicBezTo>
                      <a:pt x="226568" y="0"/>
                      <a:pt x="230568" y="3999"/>
                      <a:pt x="230568" y="8903"/>
                    </a:cubicBezTo>
                    <a:lnTo>
                      <a:pt x="230568" y="19519"/>
                    </a:lnTo>
                    <a:cubicBezTo>
                      <a:pt x="230568" y="24423"/>
                      <a:pt x="226568" y="28422"/>
                      <a:pt x="221665" y="28422"/>
                    </a:cubicBezTo>
                    <a:lnTo>
                      <a:pt x="91646" y="28422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394" name="Forma livre: Forma 2393">
                <a:extLst>
                  <a:ext uri="{FF2B5EF4-FFF2-40B4-BE49-F238E27FC236}">
                    <a16:creationId xmlns:a16="http://schemas.microsoft.com/office/drawing/2014/main" id="{6891F6D8-8B6C-2E59-F225-F484C09AD755}"/>
                  </a:ext>
                </a:extLst>
              </p:cNvPr>
              <p:cNvSpPr/>
              <p:nvPr/>
            </p:nvSpPr>
            <p:spPr>
              <a:xfrm>
                <a:off x="10615343" y="4330313"/>
                <a:ext cx="124343" cy="99633"/>
              </a:xfrm>
              <a:custGeom>
                <a:avLst/>
                <a:gdLst>
                  <a:gd name="connsiteX0" fmla="*/ 124343 w 124343"/>
                  <a:gd name="connsiteY0" fmla="*/ 16330 h 99633"/>
                  <a:gd name="connsiteX1" fmla="*/ 98492 w 124343"/>
                  <a:gd name="connsiteY1" fmla="*/ 57749 h 99633"/>
                  <a:gd name="connsiteX2" fmla="*/ 9131 w 124343"/>
                  <a:gd name="connsiteY2" fmla="*/ 93455 h 99633"/>
                  <a:gd name="connsiteX3" fmla="*/ 31983 w 124343"/>
                  <a:gd name="connsiteY3" fmla="*/ 0 h 996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24343" h="99633">
                    <a:moveTo>
                      <a:pt x="124343" y="16330"/>
                    </a:moveTo>
                    <a:cubicBezTo>
                      <a:pt x="119011" y="29850"/>
                      <a:pt x="110204" y="44228"/>
                      <a:pt x="98492" y="57749"/>
                    </a:cubicBezTo>
                    <a:cubicBezTo>
                      <a:pt x="67499" y="93408"/>
                      <a:pt x="27460" y="109404"/>
                      <a:pt x="9131" y="93455"/>
                    </a:cubicBezTo>
                    <a:cubicBezTo>
                      <a:pt x="-9246" y="77506"/>
                      <a:pt x="990" y="35659"/>
                      <a:pt x="31983" y="0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395" name="Forma livre: Forma 2394">
                <a:extLst>
                  <a:ext uri="{FF2B5EF4-FFF2-40B4-BE49-F238E27FC236}">
                    <a16:creationId xmlns:a16="http://schemas.microsoft.com/office/drawing/2014/main" id="{240D4EC4-68EA-CE49-A8F8-E2B44377916D}"/>
                  </a:ext>
                </a:extLst>
              </p:cNvPr>
              <p:cNvSpPr/>
              <p:nvPr/>
            </p:nvSpPr>
            <p:spPr>
              <a:xfrm>
                <a:off x="10733259" y="4340073"/>
                <a:ext cx="13044" cy="13044"/>
              </a:xfrm>
              <a:custGeom>
                <a:avLst/>
                <a:gdLst>
                  <a:gd name="connsiteX0" fmla="*/ 6522 w 13044"/>
                  <a:gd name="connsiteY0" fmla="*/ 0 h 13044"/>
                  <a:gd name="connsiteX1" fmla="*/ 13045 w 13044"/>
                  <a:gd name="connsiteY1" fmla="*/ 6522 h 13044"/>
                  <a:gd name="connsiteX2" fmla="*/ 6522 w 13044"/>
                  <a:gd name="connsiteY2" fmla="*/ 13045 h 13044"/>
                  <a:gd name="connsiteX3" fmla="*/ 0 w 13044"/>
                  <a:gd name="connsiteY3" fmla="*/ 6522 h 13044"/>
                  <a:gd name="connsiteX4" fmla="*/ 6522 w 13044"/>
                  <a:gd name="connsiteY4" fmla="*/ 0 h 130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3044" h="13044">
                    <a:moveTo>
                      <a:pt x="6522" y="0"/>
                    </a:moveTo>
                    <a:cubicBezTo>
                      <a:pt x="10141" y="0"/>
                      <a:pt x="13045" y="2904"/>
                      <a:pt x="13045" y="6522"/>
                    </a:cubicBezTo>
                    <a:cubicBezTo>
                      <a:pt x="13045" y="10141"/>
                      <a:pt x="10141" y="13045"/>
                      <a:pt x="6522" y="13045"/>
                    </a:cubicBezTo>
                    <a:cubicBezTo>
                      <a:pt x="2904" y="13045"/>
                      <a:pt x="0" y="10141"/>
                      <a:pt x="0" y="6522"/>
                    </a:cubicBezTo>
                    <a:cubicBezTo>
                      <a:pt x="0" y="2904"/>
                      <a:pt x="2904" y="0"/>
                      <a:pt x="6522" y="0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2396" name="Gráfico 19">
              <a:extLst>
                <a:ext uri="{FF2B5EF4-FFF2-40B4-BE49-F238E27FC236}">
                  <a16:creationId xmlns:a16="http://schemas.microsoft.com/office/drawing/2014/main" id="{0080B673-0C1B-D855-132F-F67E8D5DAFF0}"/>
                </a:ext>
              </a:extLst>
            </p:cNvPr>
            <p:cNvGrpSpPr/>
            <p:nvPr/>
          </p:nvGrpSpPr>
          <p:grpSpPr>
            <a:xfrm>
              <a:off x="10639804" y="4126835"/>
              <a:ext cx="191671" cy="123020"/>
              <a:chOff x="10639804" y="4126835"/>
              <a:chExt cx="191671" cy="123020"/>
            </a:xfrm>
            <a:noFill/>
          </p:grpSpPr>
          <p:sp>
            <p:nvSpPr>
              <p:cNvPr id="2397" name="Forma livre: Forma 2396">
                <a:extLst>
                  <a:ext uri="{FF2B5EF4-FFF2-40B4-BE49-F238E27FC236}">
                    <a16:creationId xmlns:a16="http://schemas.microsoft.com/office/drawing/2014/main" id="{FA3181F8-2FD6-BF9F-5D40-C511233B2D0C}"/>
                  </a:ext>
                </a:extLst>
              </p:cNvPr>
              <p:cNvSpPr/>
              <p:nvPr/>
            </p:nvSpPr>
            <p:spPr>
              <a:xfrm>
                <a:off x="10639804" y="4126835"/>
                <a:ext cx="26946" cy="49655"/>
              </a:xfrm>
              <a:custGeom>
                <a:avLst/>
                <a:gdLst>
                  <a:gd name="connsiteX0" fmla="*/ 26946 w 26946"/>
                  <a:gd name="connsiteY0" fmla="*/ 49656 h 49655"/>
                  <a:gd name="connsiteX1" fmla="*/ 0 w 26946"/>
                  <a:gd name="connsiteY1" fmla="*/ 0 h 496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6946" h="49655">
                    <a:moveTo>
                      <a:pt x="26946" y="49656"/>
                    </a:moveTo>
                    <a:cubicBezTo>
                      <a:pt x="13521" y="36373"/>
                      <a:pt x="3952" y="19234"/>
                      <a:pt x="0" y="0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398" name="Forma livre: Forma 2397">
                <a:extLst>
                  <a:ext uri="{FF2B5EF4-FFF2-40B4-BE49-F238E27FC236}">
                    <a16:creationId xmlns:a16="http://schemas.microsoft.com/office/drawing/2014/main" id="{4C5C17D6-85EF-D084-DE28-9C7BE06A7A66}"/>
                  </a:ext>
                </a:extLst>
              </p:cNvPr>
              <p:cNvSpPr/>
              <p:nvPr/>
            </p:nvSpPr>
            <p:spPr>
              <a:xfrm>
                <a:off x="10686317" y="4191582"/>
                <a:ext cx="32373" cy="11854"/>
              </a:xfrm>
              <a:custGeom>
                <a:avLst/>
                <a:gdLst>
                  <a:gd name="connsiteX0" fmla="*/ 32374 w 32373"/>
                  <a:gd name="connsiteY0" fmla="*/ 11854 h 11854"/>
                  <a:gd name="connsiteX1" fmla="*/ 6951 w 32373"/>
                  <a:gd name="connsiteY1" fmla="*/ 3713 h 11854"/>
                  <a:gd name="connsiteX2" fmla="*/ 0 w 32373"/>
                  <a:gd name="connsiteY2" fmla="*/ 0 h 118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2373" h="11854">
                    <a:moveTo>
                      <a:pt x="32374" y="11854"/>
                    </a:moveTo>
                    <a:cubicBezTo>
                      <a:pt x="23423" y="10283"/>
                      <a:pt x="14901" y="7522"/>
                      <a:pt x="6951" y="3713"/>
                    </a:cubicBezTo>
                    <a:cubicBezTo>
                      <a:pt x="4570" y="2571"/>
                      <a:pt x="2238" y="1333"/>
                      <a:pt x="0" y="0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399" name="Forma livre: Forma 2398">
                <a:extLst>
                  <a:ext uri="{FF2B5EF4-FFF2-40B4-BE49-F238E27FC236}">
                    <a16:creationId xmlns:a16="http://schemas.microsoft.com/office/drawing/2014/main" id="{D5E255F3-0C14-FBD7-436F-E58A8FC21719}"/>
                  </a:ext>
                </a:extLst>
              </p:cNvPr>
              <p:cNvSpPr/>
              <p:nvPr/>
            </p:nvSpPr>
            <p:spPr>
              <a:xfrm>
                <a:off x="10743448" y="4195772"/>
                <a:ext cx="33468" cy="8807"/>
              </a:xfrm>
              <a:custGeom>
                <a:avLst/>
                <a:gdLst>
                  <a:gd name="connsiteX0" fmla="*/ 33469 w 33468"/>
                  <a:gd name="connsiteY0" fmla="*/ 0 h 8807"/>
                  <a:gd name="connsiteX1" fmla="*/ 3809 w 33468"/>
                  <a:gd name="connsiteY1" fmla="*/ 8427 h 8807"/>
                  <a:gd name="connsiteX2" fmla="*/ 0 w 33468"/>
                  <a:gd name="connsiteY2" fmla="*/ 8808 h 88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3468" h="8807">
                    <a:moveTo>
                      <a:pt x="33469" y="0"/>
                    </a:moveTo>
                    <a:cubicBezTo>
                      <a:pt x="24280" y="4285"/>
                      <a:pt x="14283" y="7189"/>
                      <a:pt x="3809" y="8427"/>
                    </a:cubicBezTo>
                    <a:cubicBezTo>
                      <a:pt x="2571" y="8569"/>
                      <a:pt x="1285" y="8712"/>
                      <a:pt x="0" y="8808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400" name="Forma livre: Forma 2399">
                <a:extLst>
                  <a:ext uri="{FF2B5EF4-FFF2-40B4-BE49-F238E27FC236}">
                    <a16:creationId xmlns:a16="http://schemas.microsoft.com/office/drawing/2014/main" id="{2D551046-00C7-A055-E9D1-B1EA411535BE}"/>
                  </a:ext>
                </a:extLst>
              </p:cNvPr>
              <p:cNvSpPr/>
              <p:nvPr/>
            </p:nvSpPr>
            <p:spPr>
              <a:xfrm>
                <a:off x="10797340" y="4126930"/>
                <a:ext cx="34135" cy="56082"/>
              </a:xfrm>
              <a:custGeom>
                <a:avLst/>
                <a:gdLst>
                  <a:gd name="connsiteX0" fmla="*/ 34135 w 34135"/>
                  <a:gd name="connsiteY0" fmla="*/ 0 h 56082"/>
                  <a:gd name="connsiteX1" fmla="*/ 0 w 34135"/>
                  <a:gd name="connsiteY1" fmla="*/ 56083 h 560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4135" h="56082">
                    <a:moveTo>
                      <a:pt x="34135" y="0"/>
                    </a:moveTo>
                    <a:cubicBezTo>
                      <a:pt x="29470" y="22471"/>
                      <a:pt x="17139" y="42086"/>
                      <a:pt x="0" y="56083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401" name="Forma livre: Forma 2400">
                <a:extLst>
                  <a:ext uri="{FF2B5EF4-FFF2-40B4-BE49-F238E27FC236}">
                    <a16:creationId xmlns:a16="http://schemas.microsoft.com/office/drawing/2014/main" id="{8A640DF1-7903-3F72-B394-FC3E6E5DB87C}"/>
                  </a:ext>
                </a:extLst>
              </p:cNvPr>
              <p:cNvSpPr/>
              <p:nvPr/>
            </p:nvSpPr>
            <p:spPr>
              <a:xfrm>
                <a:off x="10718650" y="4203722"/>
                <a:ext cx="33979" cy="46132"/>
              </a:xfrm>
              <a:custGeom>
                <a:avLst/>
                <a:gdLst>
                  <a:gd name="connsiteX0" fmla="*/ 89 w 33979"/>
                  <a:gd name="connsiteY0" fmla="*/ 0 h 46132"/>
                  <a:gd name="connsiteX1" fmla="*/ 16990 w 33979"/>
                  <a:gd name="connsiteY1" fmla="*/ 46133 h 46132"/>
                  <a:gd name="connsiteX2" fmla="*/ 33891 w 33979"/>
                  <a:gd name="connsiteY2" fmla="*/ 0 h 461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3979" h="46132">
                    <a:moveTo>
                      <a:pt x="89" y="0"/>
                    </a:moveTo>
                    <a:cubicBezTo>
                      <a:pt x="89" y="0"/>
                      <a:pt x="-2244" y="46133"/>
                      <a:pt x="16990" y="46133"/>
                    </a:cubicBezTo>
                    <a:cubicBezTo>
                      <a:pt x="36224" y="46133"/>
                      <a:pt x="33891" y="0"/>
                      <a:pt x="33891" y="0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2402" name="Gráfico 19">
                <a:extLst>
                  <a:ext uri="{FF2B5EF4-FFF2-40B4-BE49-F238E27FC236}">
                    <a16:creationId xmlns:a16="http://schemas.microsoft.com/office/drawing/2014/main" id="{0531CE66-5D04-1AD6-9709-3186B20B87E9}"/>
                  </a:ext>
                </a:extLst>
              </p:cNvPr>
              <p:cNvGrpSpPr/>
              <p:nvPr/>
            </p:nvGrpSpPr>
            <p:grpSpPr>
              <a:xfrm>
                <a:off x="10649327" y="4176728"/>
                <a:ext cx="172673" cy="49490"/>
                <a:chOff x="10649327" y="4176728"/>
                <a:chExt cx="172673" cy="49490"/>
              </a:xfrm>
              <a:noFill/>
            </p:grpSpPr>
            <p:sp>
              <p:nvSpPr>
                <p:cNvPr id="2403" name="Forma livre: Forma 2402">
                  <a:extLst>
                    <a:ext uri="{FF2B5EF4-FFF2-40B4-BE49-F238E27FC236}">
                      <a16:creationId xmlns:a16="http://schemas.microsoft.com/office/drawing/2014/main" id="{95351356-BD49-A9FE-A83F-B16CF98734D9}"/>
                    </a:ext>
                  </a:extLst>
                </p:cNvPr>
                <p:cNvSpPr/>
                <p:nvPr/>
              </p:nvSpPr>
              <p:spPr>
                <a:xfrm>
                  <a:off x="10776964" y="4176728"/>
                  <a:ext cx="45036" cy="49490"/>
                </a:xfrm>
                <a:custGeom>
                  <a:avLst/>
                  <a:gdLst>
                    <a:gd name="connsiteX0" fmla="*/ 0 w 45036"/>
                    <a:gd name="connsiteY0" fmla="*/ 19281 h 49490"/>
                    <a:gd name="connsiteX1" fmla="*/ 40229 w 45036"/>
                    <a:gd name="connsiteY1" fmla="*/ 47561 h 49490"/>
                    <a:gd name="connsiteX2" fmla="*/ 27803 w 45036"/>
                    <a:gd name="connsiteY2" fmla="*/ 0 h 494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45036" h="49490">
                      <a:moveTo>
                        <a:pt x="0" y="19281"/>
                      </a:moveTo>
                      <a:cubicBezTo>
                        <a:pt x="0" y="19281"/>
                        <a:pt x="24423" y="58511"/>
                        <a:pt x="40229" y="47561"/>
                      </a:cubicBezTo>
                      <a:cubicBezTo>
                        <a:pt x="56035" y="36611"/>
                        <a:pt x="27803" y="0"/>
                        <a:pt x="27803" y="0"/>
                      </a:cubicBez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404" name="Forma livre: Forma 2403">
                  <a:extLst>
                    <a:ext uri="{FF2B5EF4-FFF2-40B4-BE49-F238E27FC236}">
                      <a16:creationId xmlns:a16="http://schemas.microsoft.com/office/drawing/2014/main" id="{F859278A-1904-BC3F-475E-CC0A41480AB1}"/>
                    </a:ext>
                  </a:extLst>
                </p:cNvPr>
                <p:cNvSpPr/>
                <p:nvPr/>
              </p:nvSpPr>
              <p:spPr>
                <a:xfrm>
                  <a:off x="10649327" y="4176728"/>
                  <a:ext cx="45036" cy="49490"/>
                </a:xfrm>
                <a:custGeom>
                  <a:avLst/>
                  <a:gdLst>
                    <a:gd name="connsiteX0" fmla="*/ 45036 w 45036"/>
                    <a:gd name="connsiteY0" fmla="*/ 19281 h 49490"/>
                    <a:gd name="connsiteX1" fmla="*/ 4807 w 45036"/>
                    <a:gd name="connsiteY1" fmla="*/ 47561 h 49490"/>
                    <a:gd name="connsiteX2" fmla="*/ 17233 w 45036"/>
                    <a:gd name="connsiteY2" fmla="*/ 0 h 494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45036" h="49490">
                      <a:moveTo>
                        <a:pt x="45036" y="19281"/>
                      </a:moveTo>
                      <a:cubicBezTo>
                        <a:pt x="45036" y="19281"/>
                        <a:pt x="20613" y="58511"/>
                        <a:pt x="4807" y="47561"/>
                      </a:cubicBezTo>
                      <a:cubicBezTo>
                        <a:pt x="-10999" y="36611"/>
                        <a:pt x="17233" y="0"/>
                        <a:pt x="17233" y="0"/>
                      </a:cubicBez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</p:grpSp>
      <p:grpSp>
        <p:nvGrpSpPr>
          <p:cNvPr id="2405" name="Gráfico 19">
            <a:extLst>
              <a:ext uri="{FF2B5EF4-FFF2-40B4-BE49-F238E27FC236}">
                <a16:creationId xmlns:a16="http://schemas.microsoft.com/office/drawing/2014/main" id="{2A29511C-8DB8-6992-EDF4-FE6901FD2C6C}"/>
              </a:ext>
            </a:extLst>
          </p:cNvPr>
          <p:cNvGrpSpPr/>
          <p:nvPr/>
        </p:nvGrpSpPr>
        <p:grpSpPr>
          <a:xfrm>
            <a:off x="11204916" y="4177803"/>
            <a:ext cx="302027" cy="248107"/>
            <a:chOff x="11204916" y="4177803"/>
            <a:chExt cx="302027" cy="248107"/>
          </a:xfrm>
          <a:noFill/>
        </p:grpSpPr>
        <p:sp>
          <p:nvSpPr>
            <p:cNvPr id="2406" name="Forma livre: Forma 2405">
              <a:extLst>
                <a:ext uri="{FF2B5EF4-FFF2-40B4-BE49-F238E27FC236}">
                  <a16:creationId xmlns:a16="http://schemas.microsoft.com/office/drawing/2014/main" id="{3575FEEB-682D-E5E2-29CC-DA0F7CFF1B86}"/>
                </a:ext>
              </a:extLst>
            </p:cNvPr>
            <p:cNvSpPr/>
            <p:nvPr/>
          </p:nvSpPr>
          <p:spPr>
            <a:xfrm>
              <a:off x="11304417" y="4177803"/>
              <a:ext cx="167594" cy="130372"/>
            </a:xfrm>
            <a:custGeom>
              <a:avLst/>
              <a:gdLst>
                <a:gd name="connsiteX0" fmla="*/ 0 w 167594"/>
                <a:gd name="connsiteY0" fmla="*/ 82288 h 130372"/>
                <a:gd name="connsiteX1" fmla="*/ 30612 w 167594"/>
                <a:gd name="connsiteY1" fmla="*/ 31204 h 130372"/>
                <a:gd name="connsiteX2" fmla="*/ 129495 w 167594"/>
                <a:gd name="connsiteY2" fmla="*/ 6828 h 130372"/>
                <a:gd name="connsiteX3" fmla="*/ 131923 w 167594"/>
                <a:gd name="connsiteY3" fmla="*/ 7781 h 130372"/>
                <a:gd name="connsiteX4" fmla="*/ 156298 w 167594"/>
                <a:gd name="connsiteY4" fmla="*/ 107568 h 130372"/>
                <a:gd name="connsiteX5" fmla="*/ 142444 w 167594"/>
                <a:gd name="connsiteY5" fmla="*/ 130372 h 1303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67594" h="130372">
                  <a:moveTo>
                    <a:pt x="0" y="82288"/>
                  </a:moveTo>
                  <a:lnTo>
                    <a:pt x="30612" y="31204"/>
                  </a:lnTo>
                  <a:cubicBezTo>
                    <a:pt x="51036" y="163"/>
                    <a:pt x="86981" y="-7216"/>
                    <a:pt x="129495" y="6828"/>
                  </a:cubicBezTo>
                  <a:lnTo>
                    <a:pt x="131923" y="7781"/>
                  </a:lnTo>
                  <a:cubicBezTo>
                    <a:pt x="170438" y="21158"/>
                    <a:pt x="176437" y="74432"/>
                    <a:pt x="156298" y="107568"/>
                  </a:cubicBezTo>
                  <a:lnTo>
                    <a:pt x="142444" y="130372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407" name="Forma livre: Forma 2406">
              <a:extLst>
                <a:ext uri="{FF2B5EF4-FFF2-40B4-BE49-F238E27FC236}">
                  <a16:creationId xmlns:a16="http://schemas.microsoft.com/office/drawing/2014/main" id="{6C91A020-E4C5-A555-5DBF-1E7F65F5DEFB}"/>
                </a:ext>
              </a:extLst>
            </p:cNvPr>
            <p:cNvSpPr/>
            <p:nvPr/>
          </p:nvSpPr>
          <p:spPr>
            <a:xfrm>
              <a:off x="11204916" y="4194534"/>
              <a:ext cx="302027" cy="231376"/>
            </a:xfrm>
            <a:custGeom>
              <a:avLst/>
              <a:gdLst>
                <a:gd name="connsiteX0" fmla="*/ 247564 w 302027"/>
                <a:gd name="connsiteY0" fmla="*/ 0 h 231376"/>
                <a:gd name="connsiteX1" fmla="*/ 302028 w 302027"/>
                <a:gd name="connsiteY1" fmla="*/ 155727 h 231376"/>
                <a:gd name="connsiteX2" fmla="*/ 302028 w 302027"/>
                <a:gd name="connsiteY2" fmla="*/ 231377 h 231376"/>
                <a:gd name="connsiteX3" fmla="*/ 137350 w 302027"/>
                <a:gd name="connsiteY3" fmla="*/ 231377 h 231376"/>
                <a:gd name="connsiteX4" fmla="*/ 106024 w 302027"/>
                <a:gd name="connsiteY4" fmla="*/ 207763 h 231376"/>
                <a:gd name="connsiteX5" fmla="*/ 74698 w 302027"/>
                <a:gd name="connsiteY5" fmla="*/ 231377 h 231376"/>
                <a:gd name="connsiteX6" fmla="*/ 0 w 302027"/>
                <a:gd name="connsiteY6" fmla="*/ 231377 h 231376"/>
                <a:gd name="connsiteX7" fmla="*/ 44419 w 302027"/>
                <a:gd name="connsiteY7" fmla="*/ 157489 h 231376"/>
                <a:gd name="connsiteX8" fmla="*/ 93836 w 302027"/>
                <a:gd name="connsiteY8" fmla="*/ 142397 h 231376"/>
                <a:gd name="connsiteX9" fmla="*/ 86171 w 302027"/>
                <a:gd name="connsiteY9" fmla="*/ 87695 h 2313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02027" h="231376">
                  <a:moveTo>
                    <a:pt x="247564" y="0"/>
                  </a:moveTo>
                  <a:cubicBezTo>
                    <a:pt x="247564" y="0"/>
                    <a:pt x="302028" y="26518"/>
                    <a:pt x="302028" y="155727"/>
                  </a:cubicBezTo>
                  <a:lnTo>
                    <a:pt x="302028" y="231377"/>
                  </a:lnTo>
                  <a:lnTo>
                    <a:pt x="137350" y="231377"/>
                  </a:lnTo>
                  <a:cubicBezTo>
                    <a:pt x="137350" y="218475"/>
                    <a:pt x="123306" y="207763"/>
                    <a:pt x="106024" y="207763"/>
                  </a:cubicBezTo>
                  <a:cubicBezTo>
                    <a:pt x="88742" y="207763"/>
                    <a:pt x="74698" y="218475"/>
                    <a:pt x="74698" y="231377"/>
                  </a:cubicBezTo>
                  <a:lnTo>
                    <a:pt x="0" y="231377"/>
                  </a:lnTo>
                  <a:cubicBezTo>
                    <a:pt x="0" y="231377"/>
                    <a:pt x="44419" y="157489"/>
                    <a:pt x="44419" y="157489"/>
                  </a:cubicBezTo>
                  <a:cubicBezTo>
                    <a:pt x="59177" y="167534"/>
                    <a:pt x="81315" y="160773"/>
                    <a:pt x="93836" y="142397"/>
                  </a:cubicBezTo>
                  <a:cubicBezTo>
                    <a:pt x="106357" y="124020"/>
                    <a:pt x="100930" y="97740"/>
                    <a:pt x="86171" y="87695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408" name="Forma livre: Forma 2407">
              <a:extLst>
                <a:ext uri="{FF2B5EF4-FFF2-40B4-BE49-F238E27FC236}">
                  <a16:creationId xmlns:a16="http://schemas.microsoft.com/office/drawing/2014/main" id="{CF401AD9-96B5-B3ED-ED41-6630C8B7E8DB}"/>
                </a:ext>
              </a:extLst>
            </p:cNvPr>
            <p:cNvSpPr/>
            <p:nvPr/>
          </p:nvSpPr>
          <p:spPr>
            <a:xfrm>
              <a:off x="11376211" y="4374731"/>
              <a:ext cx="29660" cy="51179"/>
            </a:xfrm>
            <a:custGeom>
              <a:avLst/>
              <a:gdLst>
                <a:gd name="connsiteX0" fmla="*/ 29660 w 29660"/>
                <a:gd name="connsiteY0" fmla="*/ 0 h 51179"/>
                <a:gd name="connsiteX1" fmla="*/ 0 w 29660"/>
                <a:gd name="connsiteY1" fmla="*/ 51179 h 511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9660" h="51179">
                  <a:moveTo>
                    <a:pt x="29660" y="0"/>
                  </a:moveTo>
                  <a:lnTo>
                    <a:pt x="0" y="51179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409" name="Forma livre: Forma 2408">
              <a:extLst>
                <a:ext uri="{FF2B5EF4-FFF2-40B4-BE49-F238E27FC236}">
                  <a16:creationId xmlns:a16="http://schemas.microsoft.com/office/drawing/2014/main" id="{9E7366B8-5830-084A-035F-6FA9F743FDCA}"/>
                </a:ext>
              </a:extLst>
            </p:cNvPr>
            <p:cNvSpPr/>
            <p:nvPr/>
          </p:nvSpPr>
          <p:spPr>
            <a:xfrm>
              <a:off x="11350740" y="4232335"/>
              <a:ext cx="52178" cy="44275"/>
            </a:xfrm>
            <a:custGeom>
              <a:avLst/>
              <a:gdLst>
                <a:gd name="connsiteX0" fmla="*/ 22138 w 52178"/>
                <a:gd name="connsiteY0" fmla="*/ 238 h 44275"/>
                <a:gd name="connsiteX1" fmla="*/ 26089 w 52178"/>
                <a:gd name="connsiteY1" fmla="*/ 0 h 44275"/>
                <a:gd name="connsiteX2" fmla="*/ 52179 w 52178"/>
                <a:gd name="connsiteY2" fmla="*/ 22138 h 44275"/>
                <a:gd name="connsiteX3" fmla="*/ 26089 w 52178"/>
                <a:gd name="connsiteY3" fmla="*/ 44276 h 44275"/>
                <a:gd name="connsiteX4" fmla="*/ 0 w 52178"/>
                <a:gd name="connsiteY4" fmla="*/ 22138 h 44275"/>
                <a:gd name="connsiteX5" fmla="*/ 3571 w 52178"/>
                <a:gd name="connsiteY5" fmla="*/ 10950 h 44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2178" h="44275">
                  <a:moveTo>
                    <a:pt x="22138" y="238"/>
                  </a:moveTo>
                  <a:cubicBezTo>
                    <a:pt x="23423" y="48"/>
                    <a:pt x="24756" y="0"/>
                    <a:pt x="26089" y="0"/>
                  </a:cubicBezTo>
                  <a:cubicBezTo>
                    <a:pt x="40515" y="0"/>
                    <a:pt x="52179" y="9903"/>
                    <a:pt x="52179" y="22138"/>
                  </a:cubicBezTo>
                  <a:cubicBezTo>
                    <a:pt x="52179" y="34373"/>
                    <a:pt x="40515" y="44276"/>
                    <a:pt x="26089" y="44276"/>
                  </a:cubicBezTo>
                  <a:cubicBezTo>
                    <a:pt x="11664" y="44276"/>
                    <a:pt x="0" y="34373"/>
                    <a:pt x="0" y="22138"/>
                  </a:cubicBezTo>
                  <a:cubicBezTo>
                    <a:pt x="0" y="18044"/>
                    <a:pt x="1285" y="14235"/>
                    <a:pt x="3571" y="1095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410" name="Forma livre: Forma 2409">
              <a:extLst>
                <a:ext uri="{FF2B5EF4-FFF2-40B4-BE49-F238E27FC236}">
                  <a16:creationId xmlns:a16="http://schemas.microsoft.com/office/drawing/2014/main" id="{0C86481D-C8B4-D3A8-FD98-0A79A8659307}"/>
                </a:ext>
              </a:extLst>
            </p:cNvPr>
            <p:cNvSpPr/>
            <p:nvPr/>
          </p:nvSpPr>
          <p:spPr>
            <a:xfrm>
              <a:off x="11393337" y="4304558"/>
              <a:ext cx="62487" cy="71151"/>
            </a:xfrm>
            <a:custGeom>
              <a:avLst/>
              <a:gdLst>
                <a:gd name="connsiteX0" fmla="*/ 27387 w 62487"/>
                <a:gd name="connsiteY0" fmla="*/ 2474 h 71151"/>
                <a:gd name="connsiteX1" fmla="*/ 50763 w 62487"/>
                <a:gd name="connsiteY1" fmla="*/ 3141 h 71151"/>
                <a:gd name="connsiteX2" fmla="*/ 55619 w 62487"/>
                <a:gd name="connsiteY2" fmla="*/ 50226 h 71151"/>
                <a:gd name="connsiteX3" fmla="*/ 11724 w 62487"/>
                <a:gd name="connsiteY3" fmla="*/ 67984 h 71151"/>
                <a:gd name="connsiteX4" fmla="*/ 6868 w 62487"/>
                <a:gd name="connsiteY4" fmla="*/ 20899 h 711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2487" h="71151">
                  <a:moveTo>
                    <a:pt x="27387" y="2474"/>
                  </a:moveTo>
                  <a:cubicBezTo>
                    <a:pt x="35481" y="-906"/>
                    <a:pt x="43907" y="-953"/>
                    <a:pt x="50763" y="3141"/>
                  </a:cubicBezTo>
                  <a:cubicBezTo>
                    <a:pt x="64236" y="11234"/>
                    <a:pt x="66426" y="32325"/>
                    <a:pt x="55619" y="50226"/>
                  </a:cubicBezTo>
                  <a:cubicBezTo>
                    <a:pt x="44860" y="68126"/>
                    <a:pt x="25197" y="76077"/>
                    <a:pt x="11724" y="67984"/>
                  </a:cubicBezTo>
                  <a:cubicBezTo>
                    <a:pt x="-1749" y="59890"/>
                    <a:pt x="-3939" y="38800"/>
                    <a:pt x="6868" y="20899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411" name="Forma livre: Forma 2410">
              <a:extLst>
                <a:ext uri="{FF2B5EF4-FFF2-40B4-BE49-F238E27FC236}">
                  <a16:creationId xmlns:a16="http://schemas.microsoft.com/office/drawing/2014/main" id="{917A5868-8230-2E41-E1EE-5E292FAF14CD}"/>
                </a:ext>
              </a:extLst>
            </p:cNvPr>
            <p:cNvSpPr/>
            <p:nvPr/>
          </p:nvSpPr>
          <p:spPr>
            <a:xfrm>
              <a:off x="11322223" y="4344167"/>
              <a:ext cx="36182" cy="30659"/>
            </a:xfrm>
            <a:custGeom>
              <a:avLst/>
              <a:gdLst>
                <a:gd name="connsiteX0" fmla="*/ 36182 w 36182"/>
                <a:gd name="connsiteY0" fmla="*/ 15330 h 30659"/>
                <a:gd name="connsiteX1" fmla="*/ 18091 w 36182"/>
                <a:gd name="connsiteY1" fmla="*/ 30660 h 30659"/>
                <a:gd name="connsiteX2" fmla="*/ 0 w 36182"/>
                <a:gd name="connsiteY2" fmla="*/ 15330 h 30659"/>
                <a:gd name="connsiteX3" fmla="*/ 18091 w 36182"/>
                <a:gd name="connsiteY3" fmla="*/ 0 h 30659"/>
                <a:gd name="connsiteX4" fmla="*/ 36182 w 36182"/>
                <a:gd name="connsiteY4" fmla="*/ 15330 h 306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6182" h="30659">
                  <a:moveTo>
                    <a:pt x="36182" y="15330"/>
                  </a:moveTo>
                  <a:cubicBezTo>
                    <a:pt x="36182" y="23804"/>
                    <a:pt x="28089" y="30660"/>
                    <a:pt x="18091" y="30660"/>
                  </a:cubicBezTo>
                  <a:cubicBezTo>
                    <a:pt x="8093" y="30660"/>
                    <a:pt x="0" y="23804"/>
                    <a:pt x="0" y="15330"/>
                  </a:cubicBezTo>
                  <a:cubicBezTo>
                    <a:pt x="0" y="6856"/>
                    <a:pt x="8093" y="0"/>
                    <a:pt x="18091" y="0"/>
                  </a:cubicBezTo>
                  <a:cubicBezTo>
                    <a:pt x="28089" y="0"/>
                    <a:pt x="36182" y="6856"/>
                    <a:pt x="36182" y="15330"/>
                  </a:cubicBez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</p:spTree>
    <p:extLst>
      <p:ext uri="{BB962C8B-B14F-4D97-AF65-F5344CB8AC3E}">
        <p14:creationId xmlns:p14="http://schemas.microsoft.com/office/powerpoint/2010/main" val="6663366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áfico 2">
            <a:extLst>
              <a:ext uri="{FF2B5EF4-FFF2-40B4-BE49-F238E27FC236}">
                <a16:creationId xmlns:a16="http://schemas.microsoft.com/office/drawing/2014/main" id="{F4D05AD4-E942-EBBD-DF3C-E3D58276BC1B}"/>
              </a:ext>
            </a:extLst>
          </p:cNvPr>
          <p:cNvGrpSpPr/>
          <p:nvPr/>
        </p:nvGrpSpPr>
        <p:grpSpPr>
          <a:xfrm>
            <a:off x="780356" y="2090472"/>
            <a:ext cx="300477" cy="228986"/>
            <a:chOff x="780356" y="2090472"/>
            <a:chExt cx="300477" cy="228986"/>
          </a:xfrm>
          <a:noFill/>
        </p:grpSpPr>
        <p:sp>
          <p:nvSpPr>
            <p:cNvPr id="23" name="Forma livre: Forma 22">
              <a:extLst>
                <a:ext uri="{FF2B5EF4-FFF2-40B4-BE49-F238E27FC236}">
                  <a16:creationId xmlns:a16="http://schemas.microsoft.com/office/drawing/2014/main" id="{73C79C8A-6670-6FDB-D9BE-C07D8D926B1B}"/>
                </a:ext>
              </a:extLst>
            </p:cNvPr>
            <p:cNvSpPr/>
            <p:nvPr/>
          </p:nvSpPr>
          <p:spPr>
            <a:xfrm>
              <a:off x="873571" y="2126726"/>
              <a:ext cx="144673" cy="157816"/>
            </a:xfrm>
            <a:custGeom>
              <a:avLst/>
              <a:gdLst>
                <a:gd name="connsiteX0" fmla="*/ 90237 w 144673"/>
                <a:gd name="connsiteY0" fmla="*/ 24176 h 157816"/>
                <a:gd name="connsiteX1" fmla="*/ 66347 w 144673"/>
                <a:gd name="connsiteY1" fmla="*/ 13426 h 157816"/>
                <a:gd name="connsiteX2" fmla="*/ 15568 w 144673"/>
                <a:gd name="connsiteY2" fmla="*/ 8457 h 157816"/>
                <a:gd name="connsiteX3" fmla="*/ 6980 w 144673"/>
                <a:gd name="connsiteY3" fmla="*/ 64670 h 157816"/>
                <a:gd name="connsiteX4" fmla="*/ 28863 w 144673"/>
                <a:gd name="connsiteY4" fmla="*/ 131742 h 157816"/>
                <a:gd name="connsiteX5" fmla="*/ 44762 w 144673"/>
                <a:gd name="connsiteY5" fmla="*/ 155763 h 157816"/>
                <a:gd name="connsiteX6" fmla="*/ 52574 w 144673"/>
                <a:gd name="connsiteY6" fmla="*/ 157782 h 157816"/>
                <a:gd name="connsiteX7" fmla="*/ 58774 w 144673"/>
                <a:gd name="connsiteY7" fmla="*/ 126988 h 157816"/>
                <a:gd name="connsiteX8" fmla="*/ 72331 w 144673"/>
                <a:gd name="connsiteY8" fmla="*/ 95273 h 157816"/>
                <a:gd name="connsiteX9" fmla="*/ 85877 w 144673"/>
                <a:gd name="connsiteY9" fmla="*/ 126988 h 157816"/>
                <a:gd name="connsiteX10" fmla="*/ 92076 w 144673"/>
                <a:gd name="connsiteY10" fmla="*/ 157782 h 157816"/>
                <a:gd name="connsiteX11" fmla="*/ 99900 w 144673"/>
                <a:gd name="connsiteY11" fmla="*/ 155763 h 157816"/>
                <a:gd name="connsiteX12" fmla="*/ 115811 w 144673"/>
                <a:gd name="connsiteY12" fmla="*/ 131742 h 157816"/>
                <a:gd name="connsiteX13" fmla="*/ 137695 w 144673"/>
                <a:gd name="connsiteY13" fmla="*/ 64670 h 157816"/>
                <a:gd name="connsiteX14" fmla="*/ 129094 w 144673"/>
                <a:gd name="connsiteY14" fmla="*/ 8457 h 157816"/>
                <a:gd name="connsiteX15" fmla="*/ 91742 w 144673"/>
                <a:gd name="connsiteY15" fmla="*/ 2341 h 1578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44673" h="157816">
                  <a:moveTo>
                    <a:pt x="90237" y="24176"/>
                  </a:moveTo>
                  <a:cubicBezTo>
                    <a:pt x="78328" y="24176"/>
                    <a:pt x="66347" y="13426"/>
                    <a:pt x="66347" y="13426"/>
                  </a:cubicBezTo>
                  <a:cubicBezTo>
                    <a:pt x="50078" y="-633"/>
                    <a:pt x="32542" y="-4766"/>
                    <a:pt x="15568" y="8457"/>
                  </a:cubicBezTo>
                  <a:cubicBezTo>
                    <a:pt x="-1406" y="21668"/>
                    <a:pt x="-4858" y="46382"/>
                    <a:pt x="6980" y="64670"/>
                  </a:cubicBezTo>
                  <a:cubicBezTo>
                    <a:pt x="6980" y="64670"/>
                    <a:pt x="26689" y="97424"/>
                    <a:pt x="28863" y="131742"/>
                  </a:cubicBezTo>
                  <a:cubicBezTo>
                    <a:pt x="28863" y="131742"/>
                    <a:pt x="28696" y="150233"/>
                    <a:pt x="44762" y="155763"/>
                  </a:cubicBezTo>
                  <a:cubicBezTo>
                    <a:pt x="44762" y="155763"/>
                    <a:pt x="49755" y="158128"/>
                    <a:pt x="52574" y="157782"/>
                  </a:cubicBezTo>
                  <a:cubicBezTo>
                    <a:pt x="58272" y="157077"/>
                    <a:pt x="59335" y="148847"/>
                    <a:pt x="58774" y="126988"/>
                  </a:cubicBezTo>
                  <a:cubicBezTo>
                    <a:pt x="58774" y="126988"/>
                    <a:pt x="58965" y="95273"/>
                    <a:pt x="72331" y="95273"/>
                  </a:cubicBezTo>
                  <a:cubicBezTo>
                    <a:pt x="85698" y="95273"/>
                    <a:pt x="85877" y="126988"/>
                    <a:pt x="85877" y="126988"/>
                  </a:cubicBezTo>
                  <a:cubicBezTo>
                    <a:pt x="85327" y="148847"/>
                    <a:pt x="86403" y="157077"/>
                    <a:pt x="92076" y="157782"/>
                  </a:cubicBezTo>
                  <a:cubicBezTo>
                    <a:pt x="94907" y="158128"/>
                    <a:pt x="99900" y="155763"/>
                    <a:pt x="99900" y="155763"/>
                  </a:cubicBezTo>
                  <a:cubicBezTo>
                    <a:pt x="115967" y="150233"/>
                    <a:pt x="115811" y="131742"/>
                    <a:pt x="115811" y="131742"/>
                  </a:cubicBezTo>
                  <a:cubicBezTo>
                    <a:pt x="117973" y="97424"/>
                    <a:pt x="137695" y="64670"/>
                    <a:pt x="137695" y="64670"/>
                  </a:cubicBezTo>
                  <a:cubicBezTo>
                    <a:pt x="149532" y="46382"/>
                    <a:pt x="146080" y="21668"/>
                    <a:pt x="129094" y="8457"/>
                  </a:cubicBezTo>
                  <a:cubicBezTo>
                    <a:pt x="117603" y="-502"/>
                    <a:pt x="104236" y="-1995"/>
                    <a:pt x="91742" y="2341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24" name="Gráfico 2">
              <a:extLst>
                <a:ext uri="{FF2B5EF4-FFF2-40B4-BE49-F238E27FC236}">
                  <a16:creationId xmlns:a16="http://schemas.microsoft.com/office/drawing/2014/main" id="{99DDD466-D62E-FBAE-EB08-BA9C42591A1B}"/>
                </a:ext>
              </a:extLst>
            </p:cNvPr>
            <p:cNvGrpSpPr/>
            <p:nvPr/>
          </p:nvGrpSpPr>
          <p:grpSpPr>
            <a:xfrm>
              <a:off x="780356" y="2090472"/>
              <a:ext cx="300477" cy="228986"/>
              <a:chOff x="780356" y="2090472"/>
              <a:chExt cx="300477" cy="228986"/>
            </a:xfrm>
            <a:noFill/>
          </p:grpSpPr>
          <p:sp>
            <p:nvSpPr>
              <p:cNvPr id="25" name="Forma livre: Forma 24">
                <a:extLst>
                  <a:ext uri="{FF2B5EF4-FFF2-40B4-BE49-F238E27FC236}">
                    <a16:creationId xmlns:a16="http://schemas.microsoft.com/office/drawing/2014/main" id="{873B5944-B3D1-8217-A4B1-42D1D75A94C4}"/>
                  </a:ext>
                </a:extLst>
              </p:cNvPr>
              <p:cNvSpPr/>
              <p:nvPr/>
            </p:nvSpPr>
            <p:spPr>
              <a:xfrm>
                <a:off x="780356" y="2090472"/>
                <a:ext cx="300477" cy="228986"/>
              </a:xfrm>
              <a:custGeom>
                <a:avLst/>
                <a:gdLst>
                  <a:gd name="connsiteX0" fmla="*/ 300478 w 300477"/>
                  <a:gd name="connsiteY0" fmla="*/ 228975 h 228986"/>
                  <a:gd name="connsiteX1" fmla="*/ 0 w 300477"/>
                  <a:gd name="connsiteY1" fmla="*/ 228987 h 228986"/>
                  <a:gd name="connsiteX2" fmla="*/ 12 w 300477"/>
                  <a:gd name="connsiteY2" fmla="*/ 0 h 228986"/>
                  <a:gd name="connsiteX3" fmla="*/ 300478 w 300477"/>
                  <a:gd name="connsiteY3" fmla="*/ 0 h 228986"/>
                  <a:gd name="connsiteX4" fmla="*/ 300478 w 300477"/>
                  <a:gd name="connsiteY4" fmla="*/ 228975 h 2289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00477" h="228986">
                    <a:moveTo>
                      <a:pt x="300478" y="228975"/>
                    </a:moveTo>
                    <a:lnTo>
                      <a:pt x="0" y="228987"/>
                    </a:lnTo>
                    <a:lnTo>
                      <a:pt x="12" y="0"/>
                    </a:lnTo>
                    <a:lnTo>
                      <a:pt x="300478" y="0"/>
                    </a:lnTo>
                    <a:lnTo>
                      <a:pt x="300478" y="228975"/>
                    </a:ln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6" name="Forma livre: Forma 25">
                <a:extLst>
                  <a:ext uri="{FF2B5EF4-FFF2-40B4-BE49-F238E27FC236}">
                    <a16:creationId xmlns:a16="http://schemas.microsoft.com/office/drawing/2014/main" id="{2144ED73-BA85-7535-C24E-A220774DF473}"/>
                  </a:ext>
                </a:extLst>
              </p:cNvPr>
              <p:cNvSpPr/>
              <p:nvPr/>
            </p:nvSpPr>
            <p:spPr>
              <a:xfrm>
                <a:off x="806384" y="2288916"/>
                <a:ext cx="35261" cy="1194"/>
              </a:xfrm>
              <a:custGeom>
                <a:avLst/>
                <a:gdLst>
                  <a:gd name="connsiteX0" fmla="*/ 0 w 35261"/>
                  <a:gd name="connsiteY0" fmla="*/ 0 h 1194"/>
                  <a:gd name="connsiteX1" fmla="*/ 35262 w 35261"/>
                  <a:gd name="connsiteY1" fmla="*/ 0 h 11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5261" h="1194">
                    <a:moveTo>
                      <a:pt x="0" y="0"/>
                    </a:moveTo>
                    <a:lnTo>
                      <a:pt x="35262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7" name="Forma livre: Forma 26">
                <a:extLst>
                  <a:ext uri="{FF2B5EF4-FFF2-40B4-BE49-F238E27FC236}">
                    <a16:creationId xmlns:a16="http://schemas.microsoft.com/office/drawing/2014/main" id="{CC2E6FE7-BC3E-6B41-8131-F78E53F33F6B}"/>
                  </a:ext>
                </a:extLst>
              </p:cNvPr>
              <p:cNvSpPr/>
              <p:nvPr/>
            </p:nvSpPr>
            <p:spPr>
              <a:xfrm>
                <a:off x="806384" y="2262875"/>
                <a:ext cx="51984" cy="1194"/>
              </a:xfrm>
              <a:custGeom>
                <a:avLst/>
                <a:gdLst>
                  <a:gd name="connsiteX0" fmla="*/ 0 w 51984"/>
                  <a:gd name="connsiteY0" fmla="*/ 0 h 1194"/>
                  <a:gd name="connsiteX1" fmla="*/ 51985 w 51984"/>
                  <a:gd name="connsiteY1" fmla="*/ 0 h 11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1984" h="1194">
                    <a:moveTo>
                      <a:pt x="0" y="0"/>
                    </a:moveTo>
                    <a:lnTo>
                      <a:pt x="51985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28" name="Gráfico 2">
            <a:extLst>
              <a:ext uri="{FF2B5EF4-FFF2-40B4-BE49-F238E27FC236}">
                <a16:creationId xmlns:a16="http://schemas.microsoft.com/office/drawing/2014/main" id="{04FAC30D-C85F-899B-9021-58439C630AED}"/>
              </a:ext>
            </a:extLst>
          </p:cNvPr>
          <p:cNvGrpSpPr/>
          <p:nvPr/>
        </p:nvGrpSpPr>
        <p:grpSpPr>
          <a:xfrm>
            <a:off x="2042997" y="2046453"/>
            <a:ext cx="262850" cy="317012"/>
            <a:chOff x="2042997" y="2046453"/>
            <a:chExt cx="262850" cy="317012"/>
          </a:xfrm>
          <a:noFill/>
        </p:grpSpPr>
        <p:sp>
          <p:nvSpPr>
            <p:cNvPr id="29" name="Forma livre: Forma 28">
              <a:extLst>
                <a:ext uri="{FF2B5EF4-FFF2-40B4-BE49-F238E27FC236}">
                  <a16:creationId xmlns:a16="http://schemas.microsoft.com/office/drawing/2014/main" id="{CE9A2334-970D-8D8B-D76B-849732BA707C}"/>
                </a:ext>
              </a:extLst>
            </p:cNvPr>
            <p:cNvSpPr/>
            <p:nvPr/>
          </p:nvSpPr>
          <p:spPr>
            <a:xfrm>
              <a:off x="2042997" y="2046453"/>
              <a:ext cx="262850" cy="317012"/>
            </a:xfrm>
            <a:custGeom>
              <a:avLst/>
              <a:gdLst>
                <a:gd name="connsiteX0" fmla="*/ 30794 w 262850"/>
                <a:gd name="connsiteY0" fmla="*/ 270725 h 317012"/>
                <a:gd name="connsiteX1" fmla="*/ 131419 w 262850"/>
                <a:gd name="connsiteY1" fmla="*/ 317012 h 317012"/>
                <a:gd name="connsiteX2" fmla="*/ 262851 w 262850"/>
                <a:gd name="connsiteY2" fmla="*/ 152887 h 317012"/>
                <a:gd name="connsiteX3" fmla="*/ 201262 w 262850"/>
                <a:gd name="connsiteY3" fmla="*/ 13201 h 317012"/>
                <a:gd name="connsiteX4" fmla="*/ 131419 w 262850"/>
                <a:gd name="connsiteY4" fmla="*/ 8507 h 317012"/>
                <a:gd name="connsiteX5" fmla="*/ 61589 w 262850"/>
                <a:gd name="connsiteY5" fmla="*/ 13201 h 317012"/>
                <a:gd name="connsiteX6" fmla="*/ 0 w 262850"/>
                <a:gd name="connsiteY6" fmla="*/ 152887 h 317012"/>
                <a:gd name="connsiteX7" fmla="*/ 17786 w 262850"/>
                <a:gd name="connsiteY7" fmla="*/ 248376 h 3170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62850" h="317012">
                  <a:moveTo>
                    <a:pt x="30794" y="270725"/>
                  </a:moveTo>
                  <a:cubicBezTo>
                    <a:pt x="51662" y="299405"/>
                    <a:pt x="84189" y="317012"/>
                    <a:pt x="131419" y="317012"/>
                  </a:cubicBezTo>
                  <a:cubicBezTo>
                    <a:pt x="227697" y="317012"/>
                    <a:pt x="262851" y="243896"/>
                    <a:pt x="262851" y="152887"/>
                  </a:cubicBezTo>
                  <a:cubicBezTo>
                    <a:pt x="262851" y="94010"/>
                    <a:pt x="238256" y="42347"/>
                    <a:pt x="201262" y="13201"/>
                  </a:cubicBezTo>
                  <a:cubicBezTo>
                    <a:pt x="181063" y="-2698"/>
                    <a:pt x="154557" y="-4191"/>
                    <a:pt x="131419" y="8507"/>
                  </a:cubicBezTo>
                  <a:cubicBezTo>
                    <a:pt x="108294" y="-4203"/>
                    <a:pt x="81788" y="-2698"/>
                    <a:pt x="61589" y="13201"/>
                  </a:cubicBezTo>
                  <a:cubicBezTo>
                    <a:pt x="24595" y="42347"/>
                    <a:pt x="0" y="94010"/>
                    <a:pt x="0" y="152887"/>
                  </a:cubicBezTo>
                  <a:cubicBezTo>
                    <a:pt x="0" y="188579"/>
                    <a:pt x="5399" y="221523"/>
                    <a:pt x="17786" y="248376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0" name="Forma livre: Forma 29">
              <a:extLst>
                <a:ext uri="{FF2B5EF4-FFF2-40B4-BE49-F238E27FC236}">
                  <a16:creationId xmlns:a16="http://schemas.microsoft.com/office/drawing/2014/main" id="{A1D4906E-7229-1B88-2056-F8E3353DB9DC}"/>
                </a:ext>
              </a:extLst>
            </p:cNvPr>
            <p:cNvSpPr/>
            <p:nvPr/>
          </p:nvSpPr>
          <p:spPr>
            <a:xfrm>
              <a:off x="2068153" y="2083831"/>
              <a:ext cx="212514" cy="234839"/>
            </a:xfrm>
            <a:custGeom>
              <a:avLst/>
              <a:gdLst>
                <a:gd name="connsiteX0" fmla="*/ 67955 w 212514"/>
                <a:gd name="connsiteY0" fmla="*/ 7872 h 234839"/>
                <a:gd name="connsiteX1" fmla="*/ 106251 w 212514"/>
                <a:gd name="connsiteY1" fmla="*/ 0 h 234839"/>
                <a:gd name="connsiteX2" fmla="*/ 212515 w 212514"/>
                <a:gd name="connsiteY2" fmla="*/ 117420 h 234839"/>
                <a:gd name="connsiteX3" fmla="*/ 106251 w 212514"/>
                <a:gd name="connsiteY3" fmla="*/ 234840 h 234839"/>
                <a:gd name="connsiteX4" fmla="*/ 0 w 212514"/>
                <a:gd name="connsiteY4" fmla="*/ 117420 h 234839"/>
                <a:gd name="connsiteX5" fmla="*/ 44185 w 212514"/>
                <a:gd name="connsiteY5" fmla="*/ 22110 h 2348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12514" h="234839">
                  <a:moveTo>
                    <a:pt x="67955" y="7872"/>
                  </a:moveTo>
                  <a:cubicBezTo>
                    <a:pt x="79841" y="2795"/>
                    <a:pt x="92753" y="0"/>
                    <a:pt x="106251" y="0"/>
                  </a:cubicBezTo>
                  <a:cubicBezTo>
                    <a:pt x="164949" y="0"/>
                    <a:pt x="212515" y="52582"/>
                    <a:pt x="212515" y="117420"/>
                  </a:cubicBezTo>
                  <a:cubicBezTo>
                    <a:pt x="212515" y="182258"/>
                    <a:pt x="164949" y="234840"/>
                    <a:pt x="106251" y="234840"/>
                  </a:cubicBezTo>
                  <a:cubicBezTo>
                    <a:pt x="47553" y="234840"/>
                    <a:pt x="0" y="182270"/>
                    <a:pt x="0" y="117420"/>
                  </a:cubicBezTo>
                  <a:cubicBezTo>
                    <a:pt x="0" y="78180"/>
                    <a:pt x="17416" y="43432"/>
                    <a:pt x="44185" y="2211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1" name="Forma livre: Forma 30">
              <a:extLst>
                <a:ext uri="{FF2B5EF4-FFF2-40B4-BE49-F238E27FC236}">
                  <a16:creationId xmlns:a16="http://schemas.microsoft.com/office/drawing/2014/main" id="{33E54F64-A8AA-AC8F-7D62-3218C434E464}"/>
                </a:ext>
              </a:extLst>
            </p:cNvPr>
            <p:cNvSpPr/>
            <p:nvPr/>
          </p:nvSpPr>
          <p:spPr>
            <a:xfrm>
              <a:off x="2093596" y="2123297"/>
              <a:ext cx="185626" cy="76161"/>
            </a:xfrm>
            <a:custGeom>
              <a:avLst/>
              <a:gdLst>
                <a:gd name="connsiteX0" fmla="*/ 185626 w 185626"/>
                <a:gd name="connsiteY0" fmla="*/ 76162 h 76161"/>
                <a:gd name="connsiteX1" fmla="*/ 130428 w 185626"/>
                <a:gd name="connsiteY1" fmla="*/ 10631 h 76161"/>
                <a:gd name="connsiteX2" fmla="*/ 80964 w 185626"/>
                <a:gd name="connsiteY2" fmla="*/ 0 h 76161"/>
                <a:gd name="connsiteX3" fmla="*/ 31499 w 185626"/>
                <a:gd name="connsiteY3" fmla="*/ 10631 h 76161"/>
                <a:gd name="connsiteX4" fmla="*/ 0 w 185626"/>
                <a:gd name="connsiteY4" fmla="*/ 40972 h 761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5626" h="76161">
                  <a:moveTo>
                    <a:pt x="185626" y="76162"/>
                  </a:moveTo>
                  <a:cubicBezTo>
                    <a:pt x="168115" y="39431"/>
                    <a:pt x="130428" y="10631"/>
                    <a:pt x="130428" y="10631"/>
                  </a:cubicBezTo>
                  <a:cubicBezTo>
                    <a:pt x="114517" y="3058"/>
                    <a:pt x="102919" y="0"/>
                    <a:pt x="80964" y="0"/>
                  </a:cubicBezTo>
                  <a:cubicBezTo>
                    <a:pt x="59009" y="0"/>
                    <a:pt x="47410" y="3058"/>
                    <a:pt x="31499" y="10631"/>
                  </a:cubicBezTo>
                  <a:cubicBezTo>
                    <a:pt x="31499" y="10631"/>
                    <a:pt x="15827" y="22612"/>
                    <a:pt x="0" y="40972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2" name="Forma livre: Forma 31">
              <a:extLst>
                <a:ext uri="{FF2B5EF4-FFF2-40B4-BE49-F238E27FC236}">
                  <a16:creationId xmlns:a16="http://schemas.microsoft.com/office/drawing/2014/main" id="{61C1FBF4-412D-E497-D149-D7055ECFCCD5}"/>
                </a:ext>
              </a:extLst>
            </p:cNvPr>
            <p:cNvSpPr/>
            <p:nvPr/>
          </p:nvSpPr>
          <p:spPr>
            <a:xfrm>
              <a:off x="2105123" y="2162371"/>
              <a:ext cx="138866" cy="76219"/>
            </a:xfrm>
            <a:custGeom>
              <a:avLst/>
              <a:gdLst>
                <a:gd name="connsiteX0" fmla="*/ 137918 w 138866"/>
                <a:gd name="connsiteY0" fmla="*/ 76220 h 76219"/>
                <a:gd name="connsiteX1" fmla="*/ 95393 w 138866"/>
                <a:gd name="connsiteY1" fmla="*/ 369 h 76219"/>
                <a:gd name="connsiteX2" fmla="*/ 80534 w 138866"/>
                <a:gd name="connsiteY2" fmla="*/ 7679 h 76219"/>
                <a:gd name="connsiteX3" fmla="*/ 82839 w 138866"/>
                <a:gd name="connsiteY3" fmla="*/ 21870 h 76219"/>
                <a:gd name="connsiteX4" fmla="*/ 87115 w 138866"/>
                <a:gd name="connsiteY4" fmla="*/ 33265 h 76219"/>
                <a:gd name="connsiteX5" fmla="*/ 69293 w 138866"/>
                <a:gd name="connsiteY5" fmla="*/ 50598 h 76219"/>
                <a:gd name="connsiteX6" fmla="*/ 51483 w 138866"/>
                <a:gd name="connsiteY6" fmla="*/ 33265 h 76219"/>
                <a:gd name="connsiteX7" fmla="*/ 55759 w 138866"/>
                <a:gd name="connsiteY7" fmla="*/ 21870 h 76219"/>
                <a:gd name="connsiteX8" fmla="*/ 58065 w 138866"/>
                <a:gd name="connsiteY8" fmla="*/ 7679 h 76219"/>
                <a:gd name="connsiteX9" fmla="*/ 43205 w 138866"/>
                <a:gd name="connsiteY9" fmla="*/ 369 h 76219"/>
                <a:gd name="connsiteX10" fmla="*/ 0 w 138866"/>
                <a:gd name="connsiteY10" fmla="*/ 54659 h 762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38866" h="76219">
                  <a:moveTo>
                    <a:pt x="137918" y="76220"/>
                  </a:moveTo>
                  <a:cubicBezTo>
                    <a:pt x="146387" y="6915"/>
                    <a:pt x="95393" y="369"/>
                    <a:pt x="95393" y="369"/>
                  </a:cubicBezTo>
                  <a:cubicBezTo>
                    <a:pt x="85383" y="-1172"/>
                    <a:pt x="81107" y="2292"/>
                    <a:pt x="80534" y="7679"/>
                  </a:cubicBezTo>
                  <a:cubicBezTo>
                    <a:pt x="79626" y="16148"/>
                    <a:pt x="82839" y="21870"/>
                    <a:pt x="82839" y="21870"/>
                  </a:cubicBezTo>
                  <a:cubicBezTo>
                    <a:pt x="85503" y="24916"/>
                    <a:pt x="87115" y="28905"/>
                    <a:pt x="87115" y="33265"/>
                  </a:cubicBezTo>
                  <a:cubicBezTo>
                    <a:pt x="87115" y="42833"/>
                    <a:pt x="78861" y="50598"/>
                    <a:pt x="69293" y="50598"/>
                  </a:cubicBezTo>
                  <a:cubicBezTo>
                    <a:pt x="59725" y="50598"/>
                    <a:pt x="51483" y="42833"/>
                    <a:pt x="51483" y="33265"/>
                  </a:cubicBezTo>
                  <a:cubicBezTo>
                    <a:pt x="51483" y="28905"/>
                    <a:pt x="53096" y="24916"/>
                    <a:pt x="55759" y="21870"/>
                  </a:cubicBezTo>
                  <a:cubicBezTo>
                    <a:pt x="55759" y="21870"/>
                    <a:pt x="58973" y="16136"/>
                    <a:pt x="58065" y="7679"/>
                  </a:cubicBezTo>
                  <a:cubicBezTo>
                    <a:pt x="57492" y="2280"/>
                    <a:pt x="53227" y="-1172"/>
                    <a:pt x="43205" y="369"/>
                  </a:cubicBezTo>
                  <a:cubicBezTo>
                    <a:pt x="43205" y="369"/>
                    <a:pt x="3584" y="5493"/>
                    <a:pt x="0" y="54659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3" name="Forma livre: Forma 32">
              <a:extLst>
                <a:ext uri="{FF2B5EF4-FFF2-40B4-BE49-F238E27FC236}">
                  <a16:creationId xmlns:a16="http://schemas.microsoft.com/office/drawing/2014/main" id="{89F75FC1-8EA9-C487-24CA-86D865719DE5}"/>
                </a:ext>
              </a:extLst>
            </p:cNvPr>
            <p:cNvSpPr/>
            <p:nvPr/>
          </p:nvSpPr>
          <p:spPr>
            <a:xfrm>
              <a:off x="2085748" y="2228553"/>
              <a:ext cx="177503" cy="32673"/>
            </a:xfrm>
            <a:custGeom>
              <a:avLst/>
              <a:gdLst>
                <a:gd name="connsiteX0" fmla="*/ 177504 w 177503"/>
                <a:gd name="connsiteY0" fmla="*/ 32673 h 32673"/>
                <a:gd name="connsiteX1" fmla="*/ 88752 w 177503"/>
                <a:gd name="connsiteY1" fmla="*/ 17778 h 32673"/>
                <a:gd name="connsiteX2" fmla="*/ 0 w 177503"/>
                <a:gd name="connsiteY2" fmla="*/ 32673 h 326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77503" h="32673">
                  <a:moveTo>
                    <a:pt x="177504" y="32673"/>
                  </a:moveTo>
                  <a:cubicBezTo>
                    <a:pt x="136747" y="-30815"/>
                    <a:pt x="88752" y="17778"/>
                    <a:pt x="88752" y="17778"/>
                  </a:cubicBezTo>
                  <a:cubicBezTo>
                    <a:pt x="88752" y="17778"/>
                    <a:pt x="40757" y="-30815"/>
                    <a:pt x="0" y="32673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34" name="Gráfico 2">
            <a:extLst>
              <a:ext uri="{FF2B5EF4-FFF2-40B4-BE49-F238E27FC236}">
                <a16:creationId xmlns:a16="http://schemas.microsoft.com/office/drawing/2014/main" id="{590CCB37-D393-04EF-46FA-B265984ADE13}"/>
              </a:ext>
            </a:extLst>
          </p:cNvPr>
          <p:cNvGrpSpPr/>
          <p:nvPr/>
        </p:nvGrpSpPr>
        <p:grpSpPr>
          <a:xfrm>
            <a:off x="1374205" y="2135589"/>
            <a:ext cx="356607" cy="138741"/>
            <a:chOff x="1374205" y="2135589"/>
            <a:chExt cx="356607" cy="138741"/>
          </a:xfrm>
          <a:noFill/>
        </p:grpSpPr>
        <p:sp>
          <p:nvSpPr>
            <p:cNvPr id="35" name="Forma livre: Forma 34">
              <a:extLst>
                <a:ext uri="{FF2B5EF4-FFF2-40B4-BE49-F238E27FC236}">
                  <a16:creationId xmlns:a16="http://schemas.microsoft.com/office/drawing/2014/main" id="{7120AC44-2321-CB18-2D00-9DE3A1DEC5B7}"/>
                </a:ext>
              </a:extLst>
            </p:cNvPr>
            <p:cNvSpPr/>
            <p:nvPr/>
          </p:nvSpPr>
          <p:spPr>
            <a:xfrm>
              <a:off x="1413623" y="2208490"/>
              <a:ext cx="63464" cy="4885"/>
            </a:xfrm>
            <a:custGeom>
              <a:avLst/>
              <a:gdLst>
                <a:gd name="connsiteX0" fmla="*/ 63464 w 63464"/>
                <a:gd name="connsiteY0" fmla="*/ 4885 h 4885"/>
                <a:gd name="connsiteX1" fmla="*/ 0 w 63464"/>
                <a:gd name="connsiteY1" fmla="*/ 0 h 48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3464" h="4885">
                  <a:moveTo>
                    <a:pt x="63464" y="4885"/>
                  </a:moveTo>
                  <a:cubicBezTo>
                    <a:pt x="41963" y="4324"/>
                    <a:pt x="23018" y="2879"/>
                    <a:pt x="0" y="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6" name="Forma livre: Forma 35">
              <a:extLst>
                <a:ext uri="{FF2B5EF4-FFF2-40B4-BE49-F238E27FC236}">
                  <a16:creationId xmlns:a16="http://schemas.microsoft.com/office/drawing/2014/main" id="{A8A4DF04-B2B4-B489-45B6-7B564DD3837D}"/>
                </a:ext>
              </a:extLst>
            </p:cNvPr>
            <p:cNvSpPr/>
            <p:nvPr/>
          </p:nvSpPr>
          <p:spPr>
            <a:xfrm>
              <a:off x="1520161" y="2214163"/>
              <a:ext cx="64443" cy="179"/>
            </a:xfrm>
            <a:custGeom>
              <a:avLst/>
              <a:gdLst>
                <a:gd name="connsiteX0" fmla="*/ 64444 w 64443"/>
                <a:gd name="connsiteY0" fmla="*/ 12 h 179"/>
                <a:gd name="connsiteX1" fmla="*/ 32646 w 64443"/>
                <a:gd name="connsiteY1" fmla="*/ 179 h 179"/>
                <a:gd name="connsiteX2" fmla="*/ 0 w 64443"/>
                <a:gd name="connsiteY2" fmla="*/ 0 h 1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4443" h="179">
                  <a:moveTo>
                    <a:pt x="64444" y="12"/>
                  </a:moveTo>
                  <a:cubicBezTo>
                    <a:pt x="53908" y="119"/>
                    <a:pt x="43301" y="179"/>
                    <a:pt x="32646" y="179"/>
                  </a:cubicBezTo>
                  <a:cubicBezTo>
                    <a:pt x="21704" y="179"/>
                    <a:pt x="10810" y="119"/>
                    <a:pt x="0" y="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7" name="Forma livre: Forma 36">
              <a:extLst>
                <a:ext uri="{FF2B5EF4-FFF2-40B4-BE49-F238E27FC236}">
                  <a16:creationId xmlns:a16="http://schemas.microsoft.com/office/drawing/2014/main" id="{50A5092E-4756-0EC0-3A2A-C3EEE8E760C4}"/>
                </a:ext>
              </a:extLst>
            </p:cNvPr>
            <p:cNvSpPr/>
            <p:nvPr/>
          </p:nvSpPr>
          <p:spPr>
            <a:xfrm>
              <a:off x="1627332" y="2208502"/>
              <a:ext cx="64395" cy="4897"/>
            </a:xfrm>
            <a:custGeom>
              <a:avLst/>
              <a:gdLst>
                <a:gd name="connsiteX0" fmla="*/ 64396 w 64395"/>
                <a:gd name="connsiteY0" fmla="*/ 0 h 4897"/>
                <a:gd name="connsiteX1" fmla="*/ 0 w 64395"/>
                <a:gd name="connsiteY1" fmla="*/ 4897 h 48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4395" h="4897">
                  <a:moveTo>
                    <a:pt x="64396" y="0"/>
                  </a:moveTo>
                  <a:cubicBezTo>
                    <a:pt x="43850" y="3273"/>
                    <a:pt x="21824" y="4348"/>
                    <a:pt x="0" y="4897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8" name="Forma livre: Forma 37">
              <a:extLst>
                <a:ext uri="{FF2B5EF4-FFF2-40B4-BE49-F238E27FC236}">
                  <a16:creationId xmlns:a16="http://schemas.microsoft.com/office/drawing/2014/main" id="{42386B77-3ACB-8460-0623-C50169CF923E}"/>
                </a:ext>
              </a:extLst>
            </p:cNvPr>
            <p:cNvSpPr/>
            <p:nvPr/>
          </p:nvSpPr>
          <p:spPr>
            <a:xfrm>
              <a:off x="1659871" y="2135589"/>
              <a:ext cx="70941" cy="122819"/>
            </a:xfrm>
            <a:custGeom>
              <a:avLst/>
              <a:gdLst>
                <a:gd name="connsiteX0" fmla="*/ 70942 w 70941"/>
                <a:gd name="connsiteY0" fmla="*/ 8648 h 122819"/>
                <a:gd name="connsiteX1" fmla="*/ 45535 w 70941"/>
                <a:gd name="connsiteY1" fmla="*/ 0 h 122819"/>
                <a:gd name="connsiteX2" fmla="*/ 0 w 70941"/>
                <a:gd name="connsiteY2" fmla="*/ 50444 h 122819"/>
                <a:gd name="connsiteX3" fmla="*/ 0 w 70941"/>
                <a:gd name="connsiteY3" fmla="*/ 101796 h 122819"/>
                <a:gd name="connsiteX4" fmla="*/ 21011 w 70941"/>
                <a:gd name="connsiteY4" fmla="*/ 122819 h 122819"/>
                <a:gd name="connsiteX5" fmla="*/ 70046 w 70941"/>
                <a:gd name="connsiteY5" fmla="*/ 120968 h 1228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0941" h="122819">
                  <a:moveTo>
                    <a:pt x="70942" y="8648"/>
                  </a:moveTo>
                  <a:cubicBezTo>
                    <a:pt x="63667" y="3189"/>
                    <a:pt x="54923" y="0"/>
                    <a:pt x="45535" y="0"/>
                  </a:cubicBezTo>
                  <a:cubicBezTo>
                    <a:pt x="20486" y="0"/>
                    <a:pt x="0" y="22696"/>
                    <a:pt x="0" y="50444"/>
                  </a:cubicBezTo>
                  <a:lnTo>
                    <a:pt x="0" y="101796"/>
                  </a:lnTo>
                  <a:cubicBezTo>
                    <a:pt x="0" y="113359"/>
                    <a:pt x="9449" y="122819"/>
                    <a:pt x="21011" y="122819"/>
                  </a:cubicBezTo>
                  <a:lnTo>
                    <a:pt x="70046" y="120968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9" name="Forma livre: Forma 38">
              <a:extLst>
                <a:ext uri="{FF2B5EF4-FFF2-40B4-BE49-F238E27FC236}">
                  <a16:creationId xmlns:a16="http://schemas.microsoft.com/office/drawing/2014/main" id="{A5C54C7B-F3DE-BEBF-028F-BEA238645EEC}"/>
                </a:ext>
              </a:extLst>
            </p:cNvPr>
            <p:cNvSpPr/>
            <p:nvPr/>
          </p:nvSpPr>
          <p:spPr>
            <a:xfrm>
              <a:off x="1375101" y="2212611"/>
              <a:ext cx="70045" cy="45785"/>
            </a:xfrm>
            <a:custGeom>
              <a:avLst/>
              <a:gdLst>
                <a:gd name="connsiteX0" fmla="*/ 70046 w 70045"/>
                <a:gd name="connsiteY0" fmla="*/ 0 h 45785"/>
                <a:gd name="connsiteX1" fmla="*/ 70046 w 70045"/>
                <a:gd name="connsiteY1" fmla="*/ 24762 h 45785"/>
                <a:gd name="connsiteX2" fmla="*/ 49034 w 70045"/>
                <a:gd name="connsiteY2" fmla="*/ 45785 h 45785"/>
                <a:gd name="connsiteX3" fmla="*/ 0 w 70045"/>
                <a:gd name="connsiteY3" fmla="*/ 43934 h 457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0045" h="45785">
                  <a:moveTo>
                    <a:pt x="70046" y="0"/>
                  </a:moveTo>
                  <a:lnTo>
                    <a:pt x="70046" y="24762"/>
                  </a:lnTo>
                  <a:cubicBezTo>
                    <a:pt x="70046" y="36325"/>
                    <a:pt x="60597" y="45785"/>
                    <a:pt x="49034" y="45785"/>
                  </a:cubicBezTo>
                  <a:lnTo>
                    <a:pt x="0" y="43934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0" name="Forma livre: Forma 39">
              <a:extLst>
                <a:ext uri="{FF2B5EF4-FFF2-40B4-BE49-F238E27FC236}">
                  <a16:creationId xmlns:a16="http://schemas.microsoft.com/office/drawing/2014/main" id="{EB927081-5273-EE68-E9AD-D6171C7432BC}"/>
                </a:ext>
              </a:extLst>
            </p:cNvPr>
            <p:cNvSpPr/>
            <p:nvPr/>
          </p:nvSpPr>
          <p:spPr>
            <a:xfrm>
              <a:off x="1374205" y="2135589"/>
              <a:ext cx="70941" cy="54003"/>
            </a:xfrm>
            <a:custGeom>
              <a:avLst/>
              <a:gdLst>
                <a:gd name="connsiteX0" fmla="*/ 0 w 70941"/>
                <a:gd name="connsiteY0" fmla="*/ 8648 h 54003"/>
                <a:gd name="connsiteX1" fmla="*/ 25407 w 70941"/>
                <a:gd name="connsiteY1" fmla="*/ 0 h 54003"/>
                <a:gd name="connsiteX2" fmla="*/ 70942 w 70941"/>
                <a:gd name="connsiteY2" fmla="*/ 50444 h 54003"/>
                <a:gd name="connsiteX3" fmla="*/ 70942 w 70941"/>
                <a:gd name="connsiteY3" fmla="*/ 54004 h 540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0941" h="54003">
                  <a:moveTo>
                    <a:pt x="0" y="8648"/>
                  </a:moveTo>
                  <a:cubicBezTo>
                    <a:pt x="7275" y="3189"/>
                    <a:pt x="16018" y="0"/>
                    <a:pt x="25407" y="0"/>
                  </a:cubicBezTo>
                  <a:cubicBezTo>
                    <a:pt x="50456" y="0"/>
                    <a:pt x="70942" y="22696"/>
                    <a:pt x="70942" y="50444"/>
                  </a:cubicBezTo>
                  <a:lnTo>
                    <a:pt x="70942" y="54004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1" name="Forma livre: Forma 40">
              <a:extLst>
                <a:ext uri="{FF2B5EF4-FFF2-40B4-BE49-F238E27FC236}">
                  <a16:creationId xmlns:a16="http://schemas.microsoft.com/office/drawing/2014/main" id="{D8679CAD-B31E-3A07-F06A-22403EB8B082}"/>
                </a:ext>
              </a:extLst>
            </p:cNvPr>
            <p:cNvSpPr/>
            <p:nvPr/>
          </p:nvSpPr>
          <p:spPr>
            <a:xfrm>
              <a:off x="1463040" y="2135589"/>
              <a:ext cx="89408" cy="56870"/>
            </a:xfrm>
            <a:custGeom>
              <a:avLst/>
              <a:gdLst>
                <a:gd name="connsiteX0" fmla="*/ 89409 w 89408"/>
                <a:gd name="connsiteY0" fmla="*/ 56870 h 56870"/>
                <a:gd name="connsiteX1" fmla="*/ 35775 w 89408"/>
                <a:gd name="connsiteY1" fmla="*/ 0 h 56870"/>
                <a:gd name="connsiteX2" fmla="*/ 0 w 89408"/>
                <a:gd name="connsiteY2" fmla="*/ 15230 h 568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89408" h="56870">
                  <a:moveTo>
                    <a:pt x="89409" y="56870"/>
                  </a:moveTo>
                  <a:cubicBezTo>
                    <a:pt x="88166" y="25359"/>
                    <a:pt x="64515" y="0"/>
                    <a:pt x="35775" y="0"/>
                  </a:cubicBezTo>
                  <a:cubicBezTo>
                    <a:pt x="22062" y="0"/>
                    <a:pt x="9520" y="5769"/>
                    <a:pt x="0" y="1523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2" name="Forma livre: Forma 41">
              <a:extLst>
                <a:ext uri="{FF2B5EF4-FFF2-40B4-BE49-F238E27FC236}">
                  <a16:creationId xmlns:a16="http://schemas.microsoft.com/office/drawing/2014/main" id="{214B53E3-E59E-0494-BE24-BD2E69E82DB7}"/>
                </a:ext>
              </a:extLst>
            </p:cNvPr>
            <p:cNvSpPr/>
            <p:nvPr/>
          </p:nvSpPr>
          <p:spPr>
            <a:xfrm>
              <a:off x="1445146" y="2213471"/>
              <a:ext cx="107350" cy="60860"/>
            </a:xfrm>
            <a:custGeom>
              <a:avLst/>
              <a:gdLst>
                <a:gd name="connsiteX0" fmla="*/ 0 w 107350"/>
                <a:gd name="connsiteY0" fmla="*/ 0 h 60860"/>
                <a:gd name="connsiteX1" fmla="*/ 0 w 107350"/>
                <a:gd name="connsiteY1" fmla="*/ 36086 h 60860"/>
                <a:gd name="connsiteX2" fmla="*/ 24774 w 107350"/>
                <a:gd name="connsiteY2" fmla="*/ 60860 h 60860"/>
                <a:gd name="connsiteX3" fmla="*/ 82576 w 107350"/>
                <a:gd name="connsiteY3" fmla="*/ 60860 h 60860"/>
                <a:gd name="connsiteX4" fmla="*/ 107350 w 107350"/>
                <a:gd name="connsiteY4" fmla="*/ 36086 h 608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7350" h="60860">
                  <a:moveTo>
                    <a:pt x="0" y="0"/>
                  </a:moveTo>
                  <a:lnTo>
                    <a:pt x="0" y="36086"/>
                  </a:lnTo>
                  <a:cubicBezTo>
                    <a:pt x="0" y="49715"/>
                    <a:pt x="11157" y="60860"/>
                    <a:pt x="24774" y="60860"/>
                  </a:cubicBezTo>
                  <a:lnTo>
                    <a:pt x="82576" y="60860"/>
                  </a:lnTo>
                  <a:cubicBezTo>
                    <a:pt x="96206" y="60860"/>
                    <a:pt x="107350" y="49703"/>
                    <a:pt x="107350" y="36086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3" name="Forma livre: Forma 42">
              <a:extLst>
                <a:ext uri="{FF2B5EF4-FFF2-40B4-BE49-F238E27FC236}">
                  <a16:creationId xmlns:a16="http://schemas.microsoft.com/office/drawing/2014/main" id="{C6105071-AB9B-3A9F-A45F-DD896A1E798C}"/>
                </a:ext>
              </a:extLst>
            </p:cNvPr>
            <p:cNvSpPr/>
            <p:nvPr/>
          </p:nvSpPr>
          <p:spPr>
            <a:xfrm>
              <a:off x="1478389" y="2196843"/>
              <a:ext cx="40875" cy="35930"/>
            </a:xfrm>
            <a:custGeom>
              <a:avLst/>
              <a:gdLst>
                <a:gd name="connsiteX0" fmla="*/ 0 w 40875"/>
                <a:gd name="connsiteY0" fmla="*/ 0 h 35930"/>
                <a:gd name="connsiteX1" fmla="*/ 40876 w 40875"/>
                <a:gd name="connsiteY1" fmla="*/ 0 h 35930"/>
                <a:gd name="connsiteX2" fmla="*/ 40876 w 40875"/>
                <a:gd name="connsiteY2" fmla="*/ 35931 h 35930"/>
                <a:gd name="connsiteX3" fmla="*/ 0 w 40875"/>
                <a:gd name="connsiteY3" fmla="*/ 35931 h 359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0875" h="35930">
                  <a:moveTo>
                    <a:pt x="0" y="0"/>
                  </a:moveTo>
                  <a:lnTo>
                    <a:pt x="40876" y="0"/>
                  </a:lnTo>
                  <a:lnTo>
                    <a:pt x="40876" y="35931"/>
                  </a:lnTo>
                  <a:lnTo>
                    <a:pt x="0" y="35931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4" name="Forma livre: Forma 43">
              <a:extLst>
                <a:ext uri="{FF2B5EF4-FFF2-40B4-BE49-F238E27FC236}">
                  <a16:creationId xmlns:a16="http://schemas.microsoft.com/office/drawing/2014/main" id="{8923E54B-443B-BEE7-5F98-DCD5FB9D9FF4}"/>
                </a:ext>
              </a:extLst>
            </p:cNvPr>
            <p:cNvSpPr/>
            <p:nvPr/>
          </p:nvSpPr>
          <p:spPr>
            <a:xfrm>
              <a:off x="1552497" y="2135589"/>
              <a:ext cx="107362" cy="138741"/>
            </a:xfrm>
            <a:custGeom>
              <a:avLst/>
              <a:gdLst>
                <a:gd name="connsiteX0" fmla="*/ 0 w 107362"/>
                <a:gd name="connsiteY0" fmla="*/ 80414 h 138741"/>
                <a:gd name="connsiteX1" fmla="*/ 0 w 107362"/>
                <a:gd name="connsiteY1" fmla="*/ 113968 h 138741"/>
                <a:gd name="connsiteX2" fmla="*/ 24774 w 107362"/>
                <a:gd name="connsiteY2" fmla="*/ 138742 h 138741"/>
                <a:gd name="connsiteX3" fmla="*/ 82588 w 107362"/>
                <a:gd name="connsiteY3" fmla="*/ 138742 h 138741"/>
                <a:gd name="connsiteX4" fmla="*/ 107362 w 107362"/>
                <a:gd name="connsiteY4" fmla="*/ 113968 h 138741"/>
                <a:gd name="connsiteX5" fmla="*/ 107362 w 107362"/>
                <a:gd name="connsiteY5" fmla="*/ 59462 h 138741"/>
                <a:gd name="connsiteX6" fmla="*/ 53681 w 107362"/>
                <a:gd name="connsiteY6" fmla="*/ 0 h 138741"/>
                <a:gd name="connsiteX7" fmla="*/ 18097 w 107362"/>
                <a:gd name="connsiteY7" fmla="*/ 15039 h 1387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07362" h="138741">
                  <a:moveTo>
                    <a:pt x="0" y="80414"/>
                  </a:moveTo>
                  <a:lnTo>
                    <a:pt x="0" y="113968"/>
                  </a:lnTo>
                  <a:cubicBezTo>
                    <a:pt x="0" y="127597"/>
                    <a:pt x="11157" y="138742"/>
                    <a:pt x="24774" y="138742"/>
                  </a:cubicBezTo>
                  <a:lnTo>
                    <a:pt x="82588" y="138742"/>
                  </a:lnTo>
                  <a:cubicBezTo>
                    <a:pt x="96218" y="138742"/>
                    <a:pt x="107362" y="127585"/>
                    <a:pt x="107362" y="113968"/>
                  </a:cubicBezTo>
                  <a:lnTo>
                    <a:pt x="107362" y="59462"/>
                  </a:lnTo>
                  <a:cubicBezTo>
                    <a:pt x="107362" y="26757"/>
                    <a:pt x="83209" y="0"/>
                    <a:pt x="53681" y="0"/>
                  </a:cubicBezTo>
                  <a:cubicBezTo>
                    <a:pt x="40064" y="0"/>
                    <a:pt x="27593" y="5698"/>
                    <a:pt x="18097" y="15039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5" name="Forma livre: Forma 44">
              <a:extLst>
                <a:ext uri="{FF2B5EF4-FFF2-40B4-BE49-F238E27FC236}">
                  <a16:creationId xmlns:a16="http://schemas.microsoft.com/office/drawing/2014/main" id="{08BB77A8-CEC4-19EF-225F-8FCA8AC1C22A}"/>
                </a:ext>
              </a:extLst>
            </p:cNvPr>
            <p:cNvSpPr/>
            <p:nvPr/>
          </p:nvSpPr>
          <p:spPr>
            <a:xfrm>
              <a:off x="1585740" y="2196843"/>
              <a:ext cx="40875" cy="35930"/>
            </a:xfrm>
            <a:custGeom>
              <a:avLst/>
              <a:gdLst>
                <a:gd name="connsiteX0" fmla="*/ 0 w 40875"/>
                <a:gd name="connsiteY0" fmla="*/ 0 h 35930"/>
                <a:gd name="connsiteX1" fmla="*/ 40876 w 40875"/>
                <a:gd name="connsiteY1" fmla="*/ 0 h 35930"/>
                <a:gd name="connsiteX2" fmla="*/ 40876 w 40875"/>
                <a:gd name="connsiteY2" fmla="*/ 35931 h 35930"/>
                <a:gd name="connsiteX3" fmla="*/ 0 w 40875"/>
                <a:gd name="connsiteY3" fmla="*/ 35931 h 359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0875" h="35930">
                  <a:moveTo>
                    <a:pt x="0" y="0"/>
                  </a:moveTo>
                  <a:lnTo>
                    <a:pt x="40876" y="0"/>
                  </a:lnTo>
                  <a:lnTo>
                    <a:pt x="40876" y="35931"/>
                  </a:lnTo>
                  <a:lnTo>
                    <a:pt x="0" y="35931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6" name="Forma livre: Forma 45">
              <a:extLst>
                <a:ext uri="{FF2B5EF4-FFF2-40B4-BE49-F238E27FC236}">
                  <a16:creationId xmlns:a16="http://schemas.microsoft.com/office/drawing/2014/main" id="{27C9DCEB-FF8D-B6D3-55D6-5FFDD03C03ED}"/>
                </a:ext>
              </a:extLst>
            </p:cNvPr>
            <p:cNvSpPr/>
            <p:nvPr/>
          </p:nvSpPr>
          <p:spPr>
            <a:xfrm>
              <a:off x="1692302" y="2187132"/>
              <a:ext cx="32860" cy="36886"/>
            </a:xfrm>
            <a:custGeom>
              <a:avLst/>
              <a:gdLst>
                <a:gd name="connsiteX0" fmla="*/ 32861 w 32860"/>
                <a:gd name="connsiteY0" fmla="*/ 35907 h 36886"/>
                <a:gd name="connsiteX1" fmla="*/ 1111 w 32860"/>
                <a:gd name="connsiteY1" fmla="*/ 36886 h 36886"/>
                <a:gd name="connsiteX2" fmla="*/ 0 w 32860"/>
                <a:gd name="connsiteY2" fmla="*/ 991 h 36886"/>
                <a:gd name="connsiteX3" fmla="*/ 31750 w 32860"/>
                <a:gd name="connsiteY3" fmla="*/ 0 h 368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2860" h="36886">
                  <a:moveTo>
                    <a:pt x="32861" y="35907"/>
                  </a:moveTo>
                  <a:lnTo>
                    <a:pt x="1111" y="36886"/>
                  </a:lnTo>
                  <a:lnTo>
                    <a:pt x="0" y="991"/>
                  </a:lnTo>
                  <a:lnTo>
                    <a:pt x="31750" y="0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7" name="Forma livre: Forma 46">
              <a:extLst>
                <a:ext uri="{FF2B5EF4-FFF2-40B4-BE49-F238E27FC236}">
                  <a16:creationId xmlns:a16="http://schemas.microsoft.com/office/drawing/2014/main" id="{3B7A60E0-5F69-2F2C-D427-72885971EB7B}"/>
                </a:ext>
              </a:extLst>
            </p:cNvPr>
            <p:cNvSpPr/>
            <p:nvPr/>
          </p:nvSpPr>
          <p:spPr>
            <a:xfrm>
              <a:off x="1380165" y="2186976"/>
              <a:ext cx="33207" cy="37208"/>
            </a:xfrm>
            <a:custGeom>
              <a:avLst/>
              <a:gdLst>
                <a:gd name="connsiteX0" fmla="*/ 0 w 33207"/>
                <a:gd name="connsiteY0" fmla="*/ 35895 h 37208"/>
                <a:gd name="connsiteX1" fmla="*/ 31738 w 33207"/>
                <a:gd name="connsiteY1" fmla="*/ 37209 h 37208"/>
                <a:gd name="connsiteX2" fmla="*/ 33207 w 33207"/>
                <a:gd name="connsiteY2" fmla="*/ 1314 h 37208"/>
                <a:gd name="connsiteX3" fmla="*/ 1469 w 33207"/>
                <a:gd name="connsiteY3" fmla="*/ 0 h 372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207" h="37208">
                  <a:moveTo>
                    <a:pt x="0" y="35895"/>
                  </a:moveTo>
                  <a:lnTo>
                    <a:pt x="31738" y="37209"/>
                  </a:lnTo>
                  <a:lnTo>
                    <a:pt x="33207" y="1314"/>
                  </a:lnTo>
                  <a:lnTo>
                    <a:pt x="1469" y="0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48" name="Gráfico 2">
            <a:extLst>
              <a:ext uri="{FF2B5EF4-FFF2-40B4-BE49-F238E27FC236}">
                <a16:creationId xmlns:a16="http://schemas.microsoft.com/office/drawing/2014/main" id="{8C389B67-8549-3DC5-9CB9-970CEE84FC79}"/>
              </a:ext>
            </a:extLst>
          </p:cNvPr>
          <p:cNvGrpSpPr/>
          <p:nvPr/>
        </p:nvGrpSpPr>
        <p:grpSpPr>
          <a:xfrm>
            <a:off x="772735" y="1516631"/>
            <a:ext cx="315719" cy="303440"/>
            <a:chOff x="772735" y="1516631"/>
            <a:chExt cx="315719" cy="303440"/>
          </a:xfrm>
          <a:noFill/>
        </p:grpSpPr>
        <p:sp>
          <p:nvSpPr>
            <p:cNvPr id="49" name="Forma livre: Forma 48">
              <a:extLst>
                <a:ext uri="{FF2B5EF4-FFF2-40B4-BE49-F238E27FC236}">
                  <a16:creationId xmlns:a16="http://schemas.microsoft.com/office/drawing/2014/main" id="{F57DAAC0-1CD8-8212-E73C-5678C961A013}"/>
                </a:ext>
              </a:extLst>
            </p:cNvPr>
            <p:cNvSpPr/>
            <p:nvPr/>
          </p:nvSpPr>
          <p:spPr>
            <a:xfrm>
              <a:off x="985584" y="1533343"/>
              <a:ext cx="72064" cy="55102"/>
            </a:xfrm>
            <a:custGeom>
              <a:avLst/>
              <a:gdLst>
                <a:gd name="connsiteX0" fmla="*/ 0 w 72064"/>
                <a:gd name="connsiteY0" fmla="*/ 0 h 55102"/>
                <a:gd name="connsiteX1" fmla="*/ 44555 w 72064"/>
                <a:gd name="connsiteY1" fmla="*/ 17918 h 55102"/>
                <a:gd name="connsiteX2" fmla="*/ 72065 w 72064"/>
                <a:gd name="connsiteY2" fmla="*/ 55103 h 551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72064" h="55102">
                  <a:moveTo>
                    <a:pt x="0" y="0"/>
                  </a:moveTo>
                  <a:cubicBezTo>
                    <a:pt x="15875" y="1505"/>
                    <a:pt x="31200" y="7513"/>
                    <a:pt x="44555" y="17918"/>
                  </a:cubicBezTo>
                  <a:cubicBezTo>
                    <a:pt x="57253" y="27796"/>
                    <a:pt x="66510" y="40757"/>
                    <a:pt x="72065" y="55103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50" name="Forma livre: Forma 49">
              <a:extLst>
                <a:ext uri="{FF2B5EF4-FFF2-40B4-BE49-F238E27FC236}">
                  <a16:creationId xmlns:a16="http://schemas.microsoft.com/office/drawing/2014/main" id="{7DE974A9-D7B0-F83A-16B4-D924566620F1}"/>
                </a:ext>
              </a:extLst>
            </p:cNvPr>
            <p:cNvSpPr/>
            <p:nvPr/>
          </p:nvSpPr>
          <p:spPr>
            <a:xfrm>
              <a:off x="1017442" y="1516631"/>
              <a:ext cx="46537" cy="34939"/>
            </a:xfrm>
            <a:custGeom>
              <a:avLst/>
              <a:gdLst>
                <a:gd name="connsiteX0" fmla="*/ 0 w 46537"/>
                <a:gd name="connsiteY0" fmla="*/ 0 h 34939"/>
                <a:gd name="connsiteX1" fmla="*/ 27390 w 46537"/>
                <a:gd name="connsiteY1" fmla="*/ 15767 h 34939"/>
                <a:gd name="connsiteX2" fmla="*/ 46538 w 46537"/>
                <a:gd name="connsiteY2" fmla="*/ 34939 h 349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6537" h="34939">
                  <a:moveTo>
                    <a:pt x="0" y="0"/>
                  </a:moveTo>
                  <a:cubicBezTo>
                    <a:pt x="9604" y="3822"/>
                    <a:pt x="18802" y="9102"/>
                    <a:pt x="27390" y="15767"/>
                  </a:cubicBezTo>
                  <a:cubicBezTo>
                    <a:pt x="34665" y="21441"/>
                    <a:pt x="41067" y="27904"/>
                    <a:pt x="46538" y="34939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51" name="Forma livre: Forma 50">
              <a:extLst>
                <a:ext uri="{FF2B5EF4-FFF2-40B4-BE49-F238E27FC236}">
                  <a16:creationId xmlns:a16="http://schemas.microsoft.com/office/drawing/2014/main" id="{99461BBC-2B3E-9ECE-B41E-BCA37770865B}"/>
                </a:ext>
              </a:extLst>
            </p:cNvPr>
            <p:cNvSpPr/>
            <p:nvPr/>
          </p:nvSpPr>
          <p:spPr>
            <a:xfrm>
              <a:off x="795943" y="1551260"/>
              <a:ext cx="33662" cy="75170"/>
            </a:xfrm>
            <a:custGeom>
              <a:avLst/>
              <a:gdLst>
                <a:gd name="connsiteX0" fmla="*/ 133 w 33662"/>
                <a:gd name="connsiteY0" fmla="*/ 75170 h 75170"/>
                <a:gd name="connsiteX1" fmla="*/ 33662 w 33662"/>
                <a:gd name="connsiteY1" fmla="*/ 0 h 751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3662" h="75170">
                  <a:moveTo>
                    <a:pt x="133" y="75170"/>
                  </a:moveTo>
                  <a:cubicBezTo>
                    <a:pt x="-1396" y="46693"/>
                    <a:pt x="10322" y="18168"/>
                    <a:pt x="33662" y="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52" name="Forma livre: Forma 51">
              <a:extLst>
                <a:ext uri="{FF2B5EF4-FFF2-40B4-BE49-F238E27FC236}">
                  <a16:creationId xmlns:a16="http://schemas.microsoft.com/office/drawing/2014/main" id="{5C6EF58B-8E2F-86FD-DC29-0D62AB31E346}"/>
                </a:ext>
              </a:extLst>
            </p:cNvPr>
            <p:cNvSpPr/>
            <p:nvPr/>
          </p:nvSpPr>
          <p:spPr>
            <a:xfrm>
              <a:off x="773846" y="1551236"/>
              <a:ext cx="22217" cy="50169"/>
            </a:xfrm>
            <a:custGeom>
              <a:avLst/>
              <a:gdLst>
                <a:gd name="connsiteX0" fmla="*/ 0 w 22217"/>
                <a:gd name="connsiteY0" fmla="*/ 50169 h 50169"/>
                <a:gd name="connsiteX1" fmla="*/ 22218 w 22217"/>
                <a:gd name="connsiteY1" fmla="*/ 0 h 501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2217" h="50169">
                  <a:moveTo>
                    <a:pt x="0" y="50169"/>
                  </a:moveTo>
                  <a:cubicBezTo>
                    <a:pt x="3201" y="32037"/>
                    <a:pt x="10703" y="14716"/>
                    <a:pt x="22218" y="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53" name="Forma livre: Forma 52">
              <a:extLst>
                <a:ext uri="{FF2B5EF4-FFF2-40B4-BE49-F238E27FC236}">
                  <a16:creationId xmlns:a16="http://schemas.microsoft.com/office/drawing/2014/main" id="{64D3E1A0-5412-4212-7B32-FFB1434EE0B5}"/>
                </a:ext>
              </a:extLst>
            </p:cNvPr>
            <p:cNvSpPr/>
            <p:nvPr/>
          </p:nvSpPr>
          <p:spPr>
            <a:xfrm>
              <a:off x="824551" y="1561584"/>
              <a:ext cx="210650" cy="229821"/>
            </a:xfrm>
            <a:custGeom>
              <a:avLst/>
              <a:gdLst>
                <a:gd name="connsiteX0" fmla="*/ 135064 w 210650"/>
                <a:gd name="connsiteY0" fmla="*/ 31329 h 229821"/>
                <a:gd name="connsiteX1" fmla="*/ 101738 w 210650"/>
                <a:gd name="connsiteY1" fmla="*/ 17962 h 229821"/>
                <a:gd name="connsiteX2" fmla="*/ 22661 w 210650"/>
                <a:gd name="connsiteY2" fmla="*/ 12300 h 229821"/>
                <a:gd name="connsiteX3" fmla="*/ 10167 w 210650"/>
                <a:gd name="connsiteY3" fmla="*/ 94171 h 229821"/>
                <a:gd name="connsiteX4" fmla="*/ 43995 w 210650"/>
                <a:gd name="connsiteY4" fmla="*/ 191846 h 229821"/>
                <a:gd name="connsiteX5" fmla="*/ 67145 w 210650"/>
                <a:gd name="connsiteY5" fmla="*/ 226833 h 229821"/>
                <a:gd name="connsiteX6" fmla="*/ 78540 w 210650"/>
                <a:gd name="connsiteY6" fmla="*/ 229772 h 229821"/>
                <a:gd name="connsiteX7" fmla="*/ 87559 w 210650"/>
                <a:gd name="connsiteY7" fmla="*/ 184930 h 229821"/>
                <a:gd name="connsiteX8" fmla="*/ 105321 w 210650"/>
                <a:gd name="connsiteY8" fmla="*/ 138750 h 229821"/>
                <a:gd name="connsiteX9" fmla="*/ 123083 w 210650"/>
                <a:gd name="connsiteY9" fmla="*/ 184930 h 229821"/>
                <a:gd name="connsiteX10" fmla="*/ 132102 w 210650"/>
                <a:gd name="connsiteY10" fmla="*/ 229772 h 229821"/>
                <a:gd name="connsiteX11" fmla="*/ 143498 w 210650"/>
                <a:gd name="connsiteY11" fmla="*/ 226833 h 229821"/>
                <a:gd name="connsiteX12" fmla="*/ 166647 w 210650"/>
                <a:gd name="connsiteY12" fmla="*/ 191846 h 229821"/>
                <a:gd name="connsiteX13" fmla="*/ 200487 w 210650"/>
                <a:gd name="connsiteY13" fmla="*/ 94171 h 229821"/>
                <a:gd name="connsiteX14" fmla="*/ 187993 w 210650"/>
                <a:gd name="connsiteY14" fmla="*/ 12300 h 229821"/>
                <a:gd name="connsiteX15" fmla="*/ 125819 w 210650"/>
                <a:gd name="connsiteY15" fmla="*/ 6674 h 2298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210650" h="229821">
                  <a:moveTo>
                    <a:pt x="135064" y="31329"/>
                  </a:moveTo>
                  <a:cubicBezTo>
                    <a:pt x="114364" y="28127"/>
                    <a:pt x="101738" y="17962"/>
                    <a:pt x="101738" y="17962"/>
                  </a:cubicBezTo>
                  <a:cubicBezTo>
                    <a:pt x="78039" y="-2512"/>
                    <a:pt x="47388" y="-6932"/>
                    <a:pt x="22661" y="12300"/>
                  </a:cubicBezTo>
                  <a:cubicBezTo>
                    <a:pt x="-2053" y="31544"/>
                    <a:pt x="-7070" y="67534"/>
                    <a:pt x="10167" y="94171"/>
                  </a:cubicBezTo>
                  <a:cubicBezTo>
                    <a:pt x="10167" y="94171"/>
                    <a:pt x="40830" y="141868"/>
                    <a:pt x="43995" y="191846"/>
                  </a:cubicBezTo>
                  <a:cubicBezTo>
                    <a:pt x="43995" y="191846"/>
                    <a:pt x="43756" y="218782"/>
                    <a:pt x="67145" y="226833"/>
                  </a:cubicBezTo>
                  <a:cubicBezTo>
                    <a:pt x="67145" y="226833"/>
                    <a:pt x="74419" y="230274"/>
                    <a:pt x="78540" y="229772"/>
                  </a:cubicBezTo>
                  <a:cubicBezTo>
                    <a:pt x="86818" y="228745"/>
                    <a:pt x="88371" y="216764"/>
                    <a:pt x="87559" y="184930"/>
                  </a:cubicBezTo>
                  <a:cubicBezTo>
                    <a:pt x="87559" y="184930"/>
                    <a:pt x="85863" y="138750"/>
                    <a:pt x="105321" y="138750"/>
                  </a:cubicBezTo>
                  <a:cubicBezTo>
                    <a:pt x="124780" y="138750"/>
                    <a:pt x="123083" y="184930"/>
                    <a:pt x="123083" y="184930"/>
                  </a:cubicBezTo>
                  <a:cubicBezTo>
                    <a:pt x="122271" y="216764"/>
                    <a:pt x="123824" y="228745"/>
                    <a:pt x="132102" y="229772"/>
                  </a:cubicBezTo>
                  <a:cubicBezTo>
                    <a:pt x="136211" y="230274"/>
                    <a:pt x="143498" y="226833"/>
                    <a:pt x="143498" y="226833"/>
                  </a:cubicBezTo>
                  <a:cubicBezTo>
                    <a:pt x="166898" y="218782"/>
                    <a:pt x="166647" y="191846"/>
                    <a:pt x="166647" y="191846"/>
                  </a:cubicBezTo>
                  <a:cubicBezTo>
                    <a:pt x="169813" y="141868"/>
                    <a:pt x="200487" y="94171"/>
                    <a:pt x="200487" y="94171"/>
                  </a:cubicBezTo>
                  <a:cubicBezTo>
                    <a:pt x="217724" y="67534"/>
                    <a:pt x="212695" y="31544"/>
                    <a:pt x="187993" y="12300"/>
                  </a:cubicBezTo>
                  <a:cubicBezTo>
                    <a:pt x="168833" y="-2607"/>
                    <a:pt x="146102" y="-3312"/>
                    <a:pt x="125819" y="6674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54" name="Forma livre: Forma 53">
              <a:extLst>
                <a:ext uri="{FF2B5EF4-FFF2-40B4-BE49-F238E27FC236}">
                  <a16:creationId xmlns:a16="http://schemas.microsoft.com/office/drawing/2014/main" id="{4295CB56-C2C3-720B-08C3-37394F9F712B}"/>
                </a:ext>
              </a:extLst>
            </p:cNvPr>
            <p:cNvSpPr/>
            <p:nvPr/>
          </p:nvSpPr>
          <p:spPr>
            <a:xfrm>
              <a:off x="772735" y="1677794"/>
              <a:ext cx="43766" cy="6605"/>
            </a:xfrm>
            <a:custGeom>
              <a:avLst/>
              <a:gdLst>
                <a:gd name="connsiteX0" fmla="*/ 0 w 43766"/>
                <a:gd name="connsiteY0" fmla="*/ 6606 h 6605"/>
                <a:gd name="connsiteX1" fmla="*/ 43767 w 43766"/>
                <a:gd name="connsiteY1" fmla="*/ 0 h 66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3766" h="6605">
                  <a:moveTo>
                    <a:pt x="0" y="6606"/>
                  </a:moveTo>
                  <a:cubicBezTo>
                    <a:pt x="14119" y="4049"/>
                    <a:pt x="28728" y="1851"/>
                    <a:pt x="43767" y="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55" name="Forma livre: Forma 54">
              <a:extLst>
                <a:ext uri="{FF2B5EF4-FFF2-40B4-BE49-F238E27FC236}">
                  <a16:creationId xmlns:a16="http://schemas.microsoft.com/office/drawing/2014/main" id="{9AC0B700-8567-0890-587F-7708241EB6C9}"/>
                </a:ext>
              </a:extLst>
            </p:cNvPr>
            <p:cNvSpPr/>
            <p:nvPr/>
          </p:nvSpPr>
          <p:spPr>
            <a:xfrm>
              <a:off x="1018122" y="1674951"/>
              <a:ext cx="70332" cy="9448"/>
            </a:xfrm>
            <a:custGeom>
              <a:avLst/>
              <a:gdLst>
                <a:gd name="connsiteX0" fmla="*/ 70333 w 70332"/>
                <a:gd name="connsiteY0" fmla="*/ 9449 h 9448"/>
                <a:gd name="connsiteX1" fmla="*/ 0 w 70332"/>
                <a:gd name="connsiteY1" fmla="*/ 0 h 94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0332" h="9448">
                  <a:moveTo>
                    <a:pt x="70333" y="9449"/>
                  </a:moveTo>
                  <a:cubicBezTo>
                    <a:pt x="48043" y="5411"/>
                    <a:pt x="24511" y="2234"/>
                    <a:pt x="0" y="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56" name="Forma livre: Forma 55">
              <a:extLst>
                <a:ext uri="{FF2B5EF4-FFF2-40B4-BE49-F238E27FC236}">
                  <a16:creationId xmlns:a16="http://schemas.microsoft.com/office/drawing/2014/main" id="{A6853468-2B8B-E7CD-DE95-2C7BB25934B3}"/>
                </a:ext>
              </a:extLst>
            </p:cNvPr>
            <p:cNvSpPr/>
            <p:nvPr/>
          </p:nvSpPr>
          <p:spPr>
            <a:xfrm>
              <a:off x="833034" y="1719614"/>
              <a:ext cx="193939" cy="100457"/>
            </a:xfrm>
            <a:custGeom>
              <a:avLst/>
              <a:gdLst>
                <a:gd name="connsiteX0" fmla="*/ 193940 w 193939"/>
                <a:gd name="connsiteY0" fmla="*/ 107 h 100457"/>
                <a:gd name="connsiteX1" fmla="*/ 186833 w 193939"/>
                <a:gd name="connsiteY1" fmla="*/ 34856 h 100457"/>
                <a:gd name="connsiteX2" fmla="*/ 145861 w 193939"/>
                <a:gd name="connsiteY2" fmla="*/ 95369 h 100457"/>
                <a:gd name="connsiteX3" fmla="*/ 124456 w 193939"/>
                <a:gd name="connsiteY3" fmla="*/ 100458 h 100457"/>
                <a:gd name="connsiteX4" fmla="*/ 120143 w 193939"/>
                <a:gd name="connsiteY4" fmla="*/ 100195 h 100457"/>
                <a:gd name="connsiteX5" fmla="*/ 96851 w 193939"/>
                <a:gd name="connsiteY5" fmla="*/ 87916 h 100457"/>
                <a:gd name="connsiteX6" fmla="*/ 73605 w 193939"/>
                <a:gd name="connsiteY6" fmla="*/ 100183 h 100457"/>
                <a:gd name="connsiteX7" fmla="*/ 47840 w 193939"/>
                <a:gd name="connsiteY7" fmla="*/ 95369 h 100457"/>
                <a:gd name="connsiteX8" fmla="*/ 6868 w 193939"/>
                <a:gd name="connsiteY8" fmla="*/ 34856 h 100457"/>
                <a:gd name="connsiteX9" fmla="*/ 0 w 193939"/>
                <a:gd name="connsiteY9" fmla="*/ 0 h 1004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93939" h="100457">
                  <a:moveTo>
                    <a:pt x="193940" y="107"/>
                  </a:moveTo>
                  <a:cubicBezTo>
                    <a:pt x="190428" y="11049"/>
                    <a:pt x="187669" y="22946"/>
                    <a:pt x="186833" y="34856"/>
                  </a:cubicBezTo>
                  <a:cubicBezTo>
                    <a:pt x="186570" y="52522"/>
                    <a:pt x="177695" y="83556"/>
                    <a:pt x="145861" y="95369"/>
                  </a:cubicBezTo>
                  <a:cubicBezTo>
                    <a:pt x="140163" y="97902"/>
                    <a:pt x="132471" y="100458"/>
                    <a:pt x="124456" y="100458"/>
                  </a:cubicBezTo>
                  <a:cubicBezTo>
                    <a:pt x="123022" y="100458"/>
                    <a:pt x="121589" y="100374"/>
                    <a:pt x="120143" y="100195"/>
                  </a:cubicBezTo>
                  <a:cubicBezTo>
                    <a:pt x="109429" y="98869"/>
                    <a:pt x="101987" y="94366"/>
                    <a:pt x="96851" y="87916"/>
                  </a:cubicBezTo>
                  <a:cubicBezTo>
                    <a:pt x="91726" y="94366"/>
                    <a:pt x="84296" y="98857"/>
                    <a:pt x="73605" y="100183"/>
                  </a:cubicBezTo>
                  <a:cubicBezTo>
                    <a:pt x="64026" y="101354"/>
                    <a:pt x="54553" y="98368"/>
                    <a:pt x="47840" y="95369"/>
                  </a:cubicBezTo>
                  <a:cubicBezTo>
                    <a:pt x="16006" y="83556"/>
                    <a:pt x="7131" y="52510"/>
                    <a:pt x="6868" y="34856"/>
                  </a:cubicBezTo>
                  <a:cubicBezTo>
                    <a:pt x="6056" y="23424"/>
                    <a:pt x="3333" y="10607"/>
                    <a:pt x="0" y="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57" name="Gráfico 2">
            <a:extLst>
              <a:ext uri="{FF2B5EF4-FFF2-40B4-BE49-F238E27FC236}">
                <a16:creationId xmlns:a16="http://schemas.microsoft.com/office/drawing/2014/main" id="{07AED83C-408A-CA17-9757-A8E9A1A2EBFE}"/>
              </a:ext>
            </a:extLst>
          </p:cNvPr>
          <p:cNvGrpSpPr/>
          <p:nvPr/>
        </p:nvGrpSpPr>
        <p:grpSpPr>
          <a:xfrm>
            <a:off x="2019978" y="1553742"/>
            <a:ext cx="308875" cy="229216"/>
            <a:chOff x="2019978" y="1553742"/>
            <a:chExt cx="308875" cy="229216"/>
          </a:xfrm>
          <a:noFill/>
        </p:grpSpPr>
        <p:sp>
          <p:nvSpPr>
            <p:cNvPr id="58" name="Forma livre: Forma 57">
              <a:extLst>
                <a:ext uri="{FF2B5EF4-FFF2-40B4-BE49-F238E27FC236}">
                  <a16:creationId xmlns:a16="http://schemas.microsoft.com/office/drawing/2014/main" id="{E72646D4-138F-564A-CC5E-962C060DB0BC}"/>
                </a:ext>
              </a:extLst>
            </p:cNvPr>
            <p:cNvSpPr/>
            <p:nvPr/>
          </p:nvSpPr>
          <p:spPr>
            <a:xfrm>
              <a:off x="2019978" y="1706355"/>
              <a:ext cx="308875" cy="76603"/>
            </a:xfrm>
            <a:custGeom>
              <a:avLst/>
              <a:gdLst>
                <a:gd name="connsiteX0" fmla="*/ 308875 w 308875"/>
                <a:gd name="connsiteY0" fmla="*/ 0 h 76603"/>
                <a:gd name="connsiteX1" fmla="*/ 280804 w 308875"/>
                <a:gd name="connsiteY1" fmla="*/ 0 h 76603"/>
                <a:gd name="connsiteX2" fmla="*/ 253928 w 308875"/>
                <a:gd name="connsiteY2" fmla="*/ 11097 h 76603"/>
                <a:gd name="connsiteX3" fmla="*/ 224137 w 308875"/>
                <a:gd name="connsiteY3" fmla="*/ 22923 h 76603"/>
                <a:gd name="connsiteX4" fmla="*/ 0 w 308875"/>
                <a:gd name="connsiteY4" fmla="*/ 22923 h 76603"/>
                <a:gd name="connsiteX5" fmla="*/ 0 w 308875"/>
                <a:gd name="connsiteY5" fmla="*/ 57492 h 76603"/>
                <a:gd name="connsiteX6" fmla="*/ 19112 w 308875"/>
                <a:gd name="connsiteY6" fmla="*/ 76604 h 76603"/>
                <a:gd name="connsiteX7" fmla="*/ 224137 w 308875"/>
                <a:gd name="connsiteY7" fmla="*/ 76604 h 76603"/>
                <a:gd name="connsiteX8" fmla="*/ 253928 w 308875"/>
                <a:gd name="connsiteY8" fmla="*/ 64862 h 76603"/>
                <a:gd name="connsiteX9" fmla="*/ 280804 w 308875"/>
                <a:gd name="connsiteY9" fmla="*/ 53765 h 76603"/>
                <a:gd name="connsiteX10" fmla="*/ 308875 w 308875"/>
                <a:gd name="connsiteY10" fmla="*/ 53765 h 766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08875" h="76603">
                  <a:moveTo>
                    <a:pt x="308875" y="0"/>
                  </a:moveTo>
                  <a:lnTo>
                    <a:pt x="280804" y="0"/>
                  </a:lnTo>
                  <a:cubicBezTo>
                    <a:pt x="266470" y="0"/>
                    <a:pt x="261286" y="6713"/>
                    <a:pt x="253928" y="11097"/>
                  </a:cubicBezTo>
                  <a:cubicBezTo>
                    <a:pt x="244742" y="16556"/>
                    <a:pt x="236763" y="22923"/>
                    <a:pt x="224137" y="22923"/>
                  </a:cubicBezTo>
                  <a:lnTo>
                    <a:pt x="0" y="22923"/>
                  </a:lnTo>
                  <a:lnTo>
                    <a:pt x="0" y="57492"/>
                  </a:lnTo>
                  <a:cubicBezTo>
                    <a:pt x="0" y="68003"/>
                    <a:pt x="8600" y="76604"/>
                    <a:pt x="19112" y="76604"/>
                  </a:cubicBezTo>
                  <a:lnTo>
                    <a:pt x="224137" y="76604"/>
                  </a:lnTo>
                  <a:cubicBezTo>
                    <a:pt x="236751" y="76604"/>
                    <a:pt x="244742" y="70309"/>
                    <a:pt x="253928" y="64862"/>
                  </a:cubicBezTo>
                  <a:cubicBezTo>
                    <a:pt x="261286" y="60490"/>
                    <a:pt x="266470" y="53765"/>
                    <a:pt x="280804" y="53765"/>
                  </a:cubicBezTo>
                  <a:lnTo>
                    <a:pt x="308875" y="53765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59" name="Forma livre: Forma 58">
              <a:extLst>
                <a:ext uri="{FF2B5EF4-FFF2-40B4-BE49-F238E27FC236}">
                  <a16:creationId xmlns:a16="http://schemas.microsoft.com/office/drawing/2014/main" id="{88CBFC04-9804-410D-7B67-11E32550B231}"/>
                </a:ext>
              </a:extLst>
            </p:cNvPr>
            <p:cNvSpPr/>
            <p:nvPr/>
          </p:nvSpPr>
          <p:spPr>
            <a:xfrm>
              <a:off x="2201639" y="1651097"/>
              <a:ext cx="1194" cy="57336"/>
            </a:xfrm>
            <a:custGeom>
              <a:avLst/>
              <a:gdLst>
                <a:gd name="connsiteX0" fmla="*/ 0 w 1194"/>
                <a:gd name="connsiteY0" fmla="*/ 0 h 57336"/>
                <a:gd name="connsiteX1" fmla="*/ 0 w 1194"/>
                <a:gd name="connsiteY1" fmla="*/ 57336 h 573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94" h="57336">
                  <a:moveTo>
                    <a:pt x="0" y="0"/>
                  </a:moveTo>
                  <a:lnTo>
                    <a:pt x="0" y="57336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0" name="Forma livre: Forma 59">
              <a:extLst>
                <a:ext uri="{FF2B5EF4-FFF2-40B4-BE49-F238E27FC236}">
                  <a16:creationId xmlns:a16="http://schemas.microsoft.com/office/drawing/2014/main" id="{82CA783F-9295-058B-2C17-217CC16174DA}"/>
                </a:ext>
              </a:extLst>
            </p:cNvPr>
            <p:cNvSpPr/>
            <p:nvPr/>
          </p:nvSpPr>
          <p:spPr>
            <a:xfrm>
              <a:off x="2047189" y="1581636"/>
              <a:ext cx="20640" cy="21596"/>
            </a:xfrm>
            <a:custGeom>
              <a:avLst/>
              <a:gdLst>
                <a:gd name="connsiteX0" fmla="*/ 20641 w 20640"/>
                <a:gd name="connsiteY0" fmla="*/ 0 h 21596"/>
                <a:gd name="connsiteX1" fmla="*/ 0 w 20640"/>
                <a:gd name="connsiteY1" fmla="*/ 21597 h 215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0640" h="21596">
                  <a:moveTo>
                    <a:pt x="20641" y="0"/>
                  </a:moveTo>
                  <a:cubicBezTo>
                    <a:pt x="9902" y="1971"/>
                    <a:pt x="1493" y="10691"/>
                    <a:pt x="0" y="21597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1" name="Forma livre: Forma 60">
              <a:extLst>
                <a:ext uri="{FF2B5EF4-FFF2-40B4-BE49-F238E27FC236}">
                  <a16:creationId xmlns:a16="http://schemas.microsoft.com/office/drawing/2014/main" id="{FFAD38C2-8394-6C8F-FDE0-982E4FD75910}"/>
                </a:ext>
              </a:extLst>
            </p:cNvPr>
            <p:cNvSpPr/>
            <p:nvPr/>
          </p:nvSpPr>
          <p:spPr>
            <a:xfrm>
              <a:off x="2020898" y="1553742"/>
              <a:ext cx="231331" cy="95658"/>
            </a:xfrm>
            <a:custGeom>
              <a:avLst/>
              <a:gdLst>
                <a:gd name="connsiteX0" fmla="*/ 214533 w 231331"/>
                <a:gd name="connsiteY0" fmla="*/ 95659 h 95658"/>
                <a:gd name="connsiteX1" fmla="*/ 213793 w 231331"/>
                <a:gd name="connsiteY1" fmla="*/ 6561 h 95658"/>
                <a:gd name="connsiteX2" fmla="*/ 128385 w 231331"/>
                <a:gd name="connsiteY2" fmla="*/ 24287 h 95658"/>
                <a:gd name="connsiteX3" fmla="*/ 54923 w 231331"/>
                <a:gd name="connsiteY3" fmla="*/ 194 h 95658"/>
                <a:gd name="connsiteX4" fmla="*/ 0 w 231331"/>
                <a:gd name="connsiteY4" fmla="*/ 56336 h 95658"/>
                <a:gd name="connsiteX5" fmla="*/ 3309 w 231331"/>
                <a:gd name="connsiteY5" fmla="*/ 74982 h 956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31331" h="95658">
                  <a:moveTo>
                    <a:pt x="214533" y="95659"/>
                  </a:moveTo>
                  <a:cubicBezTo>
                    <a:pt x="252757" y="56646"/>
                    <a:pt x="213793" y="6561"/>
                    <a:pt x="213793" y="6561"/>
                  </a:cubicBezTo>
                  <a:cubicBezTo>
                    <a:pt x="186725" y="49563"/>
                    <a:pt x="145121" y="34333"/>
                    <a:pt x="128385" y="24287"/>
                  </a:cubicBezTo>
                  <a:cubicBezTo>
                    <a:pt x="81609" y="-3784"/>
                    <a:pt x="54923" y="194"/>
                    <a:pt x="54923" y="194"/>
                  </a:cubicBezTo>
                  <a:cubicBezTo>
                    <a:pt x="22074" y="194"/>
                    <a:pt x="0" y="25673"/>
                    <a:pt x="0" y="56336"/>
                  </a:cubicBezTo>
                  <a:cubicBezTo>
                    <a:pt x="0" y="62870"/>
                    <a:pt x="1254" y="69153"/>
                    <a:pt x="3309" y="74982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2" name="Forma livre: Forma 61">
              <a:extLst>
                <a:ext uri="{FF2B5EF4-FFF2-40B4-BE49-F238E27FC236}">
                  <a16:creationId xmlns:a16="http://schemas.microsoft.com/office/drawing/2014/main" id="{5DF30BFF-7648-27CC-1605-DD15A65517EB}"/>
                </a:ext>
              </a:extLst>
            </p:cNvPr>
            <p:cNvSpPr/>
            <p:nvPr/>
          </p:nvSpPr>
          <p:spPr>
            <a:xfrm>
              <a:off x="2036009" y="1650297"/>
              <a:ext cx="15170" cy="58136"/>
            </a:xfrm>
            <a:custGeom>
              <a:avLst/>
              <a:gdLst>
                <a:gd name="connsiteX0" fmla="*/ 15170 w 15170"/>
                <a:gd name="connsiteY0" fmla="*/ 0 h 58136"/>
                <a:gd name="connsiteX1" fmla="*/ 0 w 15170"/>
                <a:gd name="connsiteY1" fmla="*/ 0 h 58136"/>
                <a:gd name="connsiteX2" fmla="*/ 0 w 15170"/>
                <a:gd name="connsiteY2" fmla="*/ 58137 h 581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5170" h="58136">
                  <a:moveTo>
                    <a:pt x="15170" y="0"/>
                  </a:moveTo>
                  <a:lnTo>
                    <a:pt x="0" y="0"/>
                  </a:lnTo>
                  <a:lnTo>
                    <a:pt x="0" y="58137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3" name="Forma livre: Forma 62">
              <a:extLst>
                <a:ext uri="{FF2B5EF4-FFF2-40B4-BE49-F238E27FC236}">
                  <a16:creationId xmlns:a16="http://schemas.microsoft.com/office/drawing/2014/main" id="{F0A062A5-4BFD-0A64-2CB1-60AD0B8CDA4C}"/>
                </a:ext>
              </a:extLst>
            </p:cNvPr>
            <p:cNvSpPr/>
            <p:nvPr/>
          </p:nvSpPr>
          <p:spPr>
            <a:xfrm>
              <a:off x="2168515" y="1650297"/>
              <a:ext cx="66247" cy="78049"/>
            </a:xfrm>
            <a:custGeom>
              <a:avLst/>
              <a:gdLst>
                <a:gd name="connsiteX0" fmla="*/ 0 w 66247"/>
                <a:gd name="connsiteY0" fmla="*/ 58137 h 78049"/>
                <a:gd name="connsiteX1" fmla="*/ 0 w 66247"/>
                <a:gd name="connsiteY1" fmla="*/ 0 h 78049"/>
                <a:gd name="connsiteX2" fmla="*/ 66247 w 66247"/>
                <a:gd name="connsiteY2" fmla="*/ 0 h 78049"/>
                <a:gd name="connsiteX3" fmla="*/ 66247 w 66247"/>
                <a:gd name="connsiteY3" fmla="*/ 78049 h 780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6247" h="78049">
                  <a:moveTo>
                    <a:pt x="0" y="58137"/>
                  </a:moveTo>
                  <a:lnTo>
                    <a:pt x="0" y="0"/>
                  </a:lnTo>
                  <a:lnTo>
                    <a:pt x="66247" y="0"/>
                  </a:lnTo>
                  <a:lnTo>
                    <a:pt x="66247" y="78049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4" name="Forma livre: Forma 63">
              <a:extLst>
                <a:ext uri="{FF2B5EF4-FFF2-40B4-BE49-F238E27FC236}">
                  <a16:creationId xmlns:a16="http://schemas.microsoft.com/office/drawing/2014/main" id="{2A18B825-D415-1B14-1F7D-527F70BD9FFF}"/>
                </a:ext>
              </a:extLst>
            </p:cNvPr>
            <p:cNvSpPr/>
            <p:nvPr/>
          </p:nvSpPr>
          <p:spPr>
            <a:xfrm>
              <a:off x="2069109" y="1650297"/>
              <a:ext cx="15217" cy="58136"/>
            </a:xfrm>
            <a:custGeom>
              <a:avLst/>
              <a:gdLst>
                <a:gd name="connsiteX0" fmla="*/ 0 w 15217"/>
                <a:gd name="connsiteY0" fmla="*/ 58137 h 58136"/>
                <a:gd name="connsiteX1" fmla="*/ 0 w 15217"/>
                <a:gd name="connsiteY1" fmla="*/ 0 h 58136"/>
                <a:gd name="connsiteX2" fmla="*/ 15218 w 15217"/>
                <a:gd name="connsiteY2" fmla="*/ 0 h 581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5217" h="58136">
                  <a:moveTo>
                    <a:pt x="0" y="58137"/>
                  </a:moveTo>
                  <a:lnTo>
                    <a:pt x="0" y="0"/>
                  </a:lnTo>
                  <a:lnTo>
                    <a:pt x="15218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5" name="Forma livre: Forma 64">
              <a:extLst>
                <a:ext uri="{FF2B5EF4-FFF2-40B4-BE49-F238E27FC236}">
                  <a16:creationId xmlns:a16="http://schemas.microsoft.com/office/drawing/2014/main" id="{E57D1983-394A-2E71-5E94-B5B8BF4CCED3}"/>
                </a:ext>
              </a:extLst>
            </p:cNvPr>
            <p:cNvSpPr/>
            <p:nvPr/>
          </p:nvSpPr>
          <p:spPr>
            <a:xfrm>
              <a:off x="2135368" y="1650297"/>
              <a:ext cx="15217" cy="58136"/>
            </a:xfrm>
            <a:custGeom>
              <a:avLst/>
              <a:gdLst>
                <a:gd name="connsiteX0" fmla="*/ 0 w 15217"/>
                <a:gd name="connsiteY0" fmla="*/ 58137 h 58136"/>
                <a:gd name="connsiteX1" fmla="*/ 0 w 15217"/>
                <a:gd name="connsiteY1" fmla="*/ 0 h 58136"/>
                <a:gd name="connsiteX2" fmla="*/ 15218 w 15217"/>
                <a:gd name="connsiteY2" fmla="*/ 0 h 581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5217" h="58136">
                  <a:moveTo>
                    <a:pt x="0" y="58137"/>
                  </a:moveTo>
                  <a:lnTo>
                    <a:pt x="0" y="0"/>
                  </a:lnTo>
                  <a:lnTo>
                    <a:pt x="15218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6" name="Forma livre: Forma 65">
              <a:extLst>
                <a:ext uri="{FF2B5EF4-FFF2-40B4-BE49-F238E27FC236}">
                  <a16:creationId xmlns:a16="http://schemas.microsoft.com/office/drawing/2014/main" id="{35CB6F13-41DA-6D38-D899-D6587456955E}"/>
                </a:ext>
              </a:extLst>
            </p:cNvPr>
            <p:cNvSpPr/>
            <p:nvPr/>
          </p:nvSpPr>
          <p:spPr>
            <a:xfrm>
              <a:off x="2102232" y="1650297"/>
              <a:ext cx="15217" cy="58136"/>
            </a:xfrm>
            <a:custGeom>
              <a:avLst/>
              <a:gdLst>
                <a:gd name="connsiteX0" fmla="*/ 0 w 15217"/>
                <a:gd name="connsiteY0" fmla="*/ 58137 h 58136"/>
                <a:gd name="connsiteX1" fmla="*/ 0 w 15217"/>
                <a:gd name="connsiteY1" fmla="*/ 0 h 58136"/>
                <a:gd name="connsiteX2" fmla="*/ 15218 w 15217"/>
                <a:gd name="connsiteY2" fmla="*/ 0 h 581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5217" h="58136">
                  <a:moveTo>
                    <a:pt x="0" y="58137"/>
                  </a:moveTo>
                  <a:lnTo>
                    <a:pt x="0" y="0"/>
                  </a:lnTo>
                  <a:lnTo>
                    <a:pt x="15218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67" name="Gráfico 2">
            <a:extLst>
              <a:ext uri="{FF2B5EF4-FFF2-40B4-BE49-F238E27FC236}">
                <a16:creationId xmlns:a16="http://schemas.microsoft.com/office/drawing/2014/main" id="{60D8B66E-221D-0B78-85C6-62D3BD4EE256}"/>
              </a:ext>
            </a:extLst>
          </p:cNvPr>
          <p:cNvGrpSpPr/>
          <p:nvPr/>
        </p:nvGrpSpPr>
        <p:grpSpPr>
          <a:xfrm>
            <a:off x="1439394" y="1519807"/>
            <a:ext cx="226218" cy="297072"/>
            <a:chOff x="1439394" y="1519807"/>
            <a:chExt cx="226218" cy="297072"/>
          </a:xfrm>
          <a:noFill/>
        </p:grpSpPr>
        <p:sp>
          <p:nvSpPr>
            <p:cNvPr id="68" name="Forma livre: Forma 67">
              <a:extLst>
                <a:ext uri="{FF2B5EF4-FFF2-40B4-BE49-F238E27FC236}">
                  <a16:creationId xmlns:a16="http://schemas.microsoft.com/office/drawing/2014/main" id="{736B0C2C-0DE1-B237-98C4-76CB0D17D9F0}"/>
                </a:ext>
              </a:extLst>
            </p:cNvPr>
            <p:cNvSpPr/>
            <p:nvPr/>
          </p:nvSpPr>
          <p:spPr>
            <a:xfrm>
              <a:off x="1461045" y="1519807"/>
              <a:ext cx="204567" cy="136402"/>
            </a:xfrm>
            <a:custGeom>
              <a:avLst/>
              <a:gdLst>
                <a:gd name="connsiteX0" fmla="*/ 0 w 204567"/>
                <a:gd name="connsiteY0" fmla="*/ 136402 h 136402"/>
                <a:gd name="connsiteX1" fmla="*/ 182389 w 204567"/>
                <a:gd name="connsiteY1" fmla="*/ 136402 h 136402"/>
                <a:gd name="connsiteX2" fmla="*/ 195600 w 204567"/>
                <a:gd name="connsiteY2" fmla="*/ 104270 h 136402"/>
                <a:gd name="connsiteX3" fmla="*/ 181887 w 204567"/>
                <a:gd name="connsiteY3" fmla="*/ 13631 h 136402"/>
                <a:gd name="connsiteX4" fmla="*/ 113693 w 204567"/>
                <a:gd name="connsiteY4" fmla="*/ 7384 h 1364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04567" h="136402">
                  <a:moveTo>
                    <a:pt x="0" y="136402"/>
                  </a:moveTo>
                  <a:lnTo>
                    <a:pt x="182389" y="136402"/>
                  </a:lnTo>
                  <a:cubicBezTo>
                    <a:pt x="191037" y="116968"/>
                    <a:pt x="195600" y="104270"/>
                    <a:pt x="195600" y="104270"/>
                  </a:cubicBezTo>
                  <a:cubicBezTo>
                    <a:pt x="209445" y="67754"/>
                    <a:pt x="208991" y="34929"/>
                    <a:pt x="181887" y="13631"/>
                  </a:cubicBezTo>
                  <a:cubicBezTo>
                    <a:pt x="160864" y="-2889"/>
                    <a:pt x="135947" y="-3666"/>
                    <a:pt x="113693" y="7384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9" name="Forma livre: Forma 68">
              <a:extLst>
                <a:ext uri="{FF2B5EF4-FFF2-40B4-BE49-F238E27FC236}">
                  <a16:creationId xmlns:a16="http://schemas.microsoft.com/office/drawing/2014/main" id="{C56CCE8F-5D1B-60A7-79CA-4F4F09B0623F}"/>
                </a:ext>
              </a:extLst>
            </p:cNvPr>
            <p:cNvSpPr/>
            <p:nvPr/>
          </p:nvSpPr>
          <p:spPr>
            <a:xfrm>
              <a:off x="1439394" y="1519811"/>
              <a:ext cx="145485" cy="111588"/>
            </a:xfrm>
            <a:custGeom>
              <a:avLst/>
              <a:gdLst>
                <a:gd name="connsiteX0" fmla="*/ 145486 w 145485"/>
                <a:gd name="connsiteY0" fmla="*/ 34674 h 111588"/>
                <a:gd name="connsiteX1" fmla="*/ 108934 w 145485"/>
                <a:gd name="connsiteY1" fmla="*/ 19886 h 111588"/>
                <a:gd name="connsiteX2" fmla="*/ 22201 w 145485"/>
                <a:gd name="connsiteY2" fmla="*/ 13627 h 111588"/>
                <a:gd name="connsiteX3" fmla="*/ 7699 w 145485"/>
                <a:gd name="connsiteY3" fmla="*/ 104266 h 111588"/>
                <a:gd name="connsiteX4" fmla="*/ 10817 w 145485"/>
                <a:gd name="connsiteY4" fmla="*/ 111588 h 1115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5485" h="111588">
                  <a:moveTo>
                    <a:pt x="145486" y="34674"/>
                  </a:moveTo>
                  <a:cubicBezTo>
                    <a:pt x="122778" y="31150"/>
                    <a:pt x="108934" y="19886"/>
                    <a:pt x="108934" y="19886"/>
                  </a:cubicBezTo>
                  <a:cubicBezTo>
                    <a:pt x="82929" y="-2786"/>
                    <a:pt x="49316" y="-7683"/>
                    <a:pt x="22201" y="13627"/>
                  </a:cubicBezTo>
                  <a:cubicBezTo>
                    <a:pt x="-4915" y="34925"/>
                    <a:pt x="-3852" y="77115"/>
                    <a:pt x="7699" y="104266"/>
                  </a:cubicBezTo>
                  <a:cubicBezTo>
                    <a:pt x="7699" y="104266"/>
                    <a:pt x="8798" y="106894"/>
                    <a:pt x="10817" y="111588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70" name="Gráfico 2">
              <a:extLst>
                <a:ext uri="{FF2B5EF4-FFF2-40B4-BE49-F238E27FC236}">
                  <a16:creationId xmlns:a16="http://schemas.microsoft.com/office/drawing/2014/main" id="{D45E5047-B8FC-B947-A4A4-D88616197C03}"/>
                </a:ext>
              </a:extLst>
            </p:cNvPr>
            <p:cNvGrpSpPr/>
            <p:nvPr/>
          </p:nvGrpSpPr>
          <p:grpSpPr>
            <a:xfrm>
              <a:off x="1475272" y="1656401"/>
              <a:ext cx="154461" cy="28668"/>
              <a:chOff x="1475272" y="1656401"/>
              <a:chExt cx="154461" cy="28668"/>
            </a:xfrm>
          </p:grpSpPr>
          <p:sp>
            <p:nvSpPr>
              <p:cNvPr id="71" name="Forma livre: Forma 70">
                <a:extLst>
                  <a:ext uri="{FF2B5EF4-FFF2-40B4-BE49-F238E27FC236}">
                    <a16:creationId xmlns:a16="http://schemas.microsoft.com/office/drawing/2014/main" id="{CE10D9B1-7115-079A-399B-7A732457780B}"/>
                  </a:ext>
                </a:extLst>
              </p:cNvPr>
              <p:cNvSpPr/>
              <p:nvPr/>
            </p:nvSpPr>
            <p:spPr>
              <a:xfrm>
                <a:off x="1475272" y="1656401"/>
                <a:ext cx="1194" cy="28668"/>
              </a:xfrm>
              <a:custGeom>
                <a:avLst/>
                <a:gdLst>
                  <a:gd name="connsiteX0" fmla="*/ 0 w 1194"/>
                  <a:gd name="connsiteY0" fmla="*/ 0 h 28668"/>
                  <a:gd name="connsiteX1" fmla="*/ 0 w 1194"/>
                  <a:gd name="connsiteY1" fmla="*/ 28668 h 286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4" h="28668">
                    <a:moveTo>
                      <a:pt x="0" y="0"/>
                    </a:moveTo>
                    <a:lnTo>
                      <a:pt x="0" y="28668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2" name="Forma livre: Forma 71">
                <a:extLst>
                  <a:ext uri="{FF2B5EF4-FFF2-40B4-BE49-F238E27FC236}">
                    <a16:creationId xmlns:a16="http://schemas.microsoft.com/office/drawing/2014/main" id="{BA4CB8FF-BC70-57BB-15CB-AD15A6BE8CED}"/>
                  </a:ext>
                </a:extLst>
              </p:cNvPr>
              <p:cNvSpPr/>
              <p:nvPr/>
            </p:nvSpPr>
            <p:spPr>
              <a:xfrm>
                <a:off x="1629733" y="1656401"/>
                <a:ext cx="1194" cy="28668"/>
              </a:xfrm>
              <a:custGeom>
                <a:avLst/>
                <a:gdLst>
                  <a:gd name="connsiteX0" fmla="*/ 0 w 1194"/>
                  <a:gd name="connsiteY0" fmla="*/ 0 h 28668"/>
                  <a:gd name="connsiteX1" fmla="*/ 0 w 1194"/>
                  <a:gd name="connsiteY1" fmla="*/ 28668 h 286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4" h="28668">
                    <a:moveTo>
                      <a:pt x="0" y="0"/>
                    </a:moveTo>
                    <a:lnTo>
                      <a:pt x="0" y="28668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73" name="Forma livre: Forma 72">
              <a:extLst>
                <a:ext uri="{FF2B5EF4-FFF2-40B4-BE49-F238E27FC236}">
                  <a16:creationId xmlns:a16="http://schemas.microsoft.com/office/drawing/2014/main" id="{B4460CEA-6AFC-96A9-CBD2-179F6EB5EA03}"/>
                </a:ext>
              </a:extLst>
            </p:cNvPr>
            <p:cNvSpPr/>
            <p:nvPr/>
          </p:nvSpPr>
          <p:spPr>
            <a:xfrm>
              <a:off x="1488352" y="1735334"/>
              <a:ext cx="37555" cy="5016"/>
            </a:xfrm>
            <a:custGeom>
              <a:avLst/>
              <a:gdLst>
                <a:gd name="connsiteX0" fmla="*/ 37555 w 37555"/>
                <a:gd name="connsiteY0" fmla="*/ 0 h 5016"/>
                <a:gd name="connsiteX1" fmla="*/ 0 w 37555"/>
                <a:gd name="connsiteY1" fmla="*/ 5017 h 50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7555" h="5016">
                  <a:moveTo>
                    <a:pt x="37555" y="0"/>
                  </a:moveTo>
                  <a:lnTo>
                    <a:pt x="0" y="5017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74" name="Forma livre: Forma 73">
              <a:extLst>
                <a:ext uri="{FF2B5EF4-FFF2-40B4-BE49-F238E27FC236}">
                  <a16:creationId xmlns:a16="http://schemas.microsoft.com/office/drawing/2014/main" id="{F3E0EE4A-345E-572F-ECAD-7BCCA92541F1}"/>
                </a:ext>
              </a:extLst>
            </p:cNvPr>
            <p:cNvSpPr/>
            <p:nvPr/>
          </p:nvSpPr>
          <p:spPr>
            <a:xfrm>
              <a:off x="1550442" y="1721501"/>
              <a:ext cx="75767" cy="10105"/>
            </a:xfrm>
            <a:custGeom>
              <a:avLst/>
              <a:gdLst>
                <a:gd name="connsiteX0" fmla="*/ 75768 w 75767"/>
                <a:gd name="connsiteY0" fmla="*/ 0 h 10105"/>
                <a:gd name="connsiteX1" fmla="*/ 0 w 75767"/>
                <a:gd name="connsiteY1" fmla="*/ 10106 h 101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5767" h="10105">
                  <a:moveTo>
                    <a:pt x="75768" y="0"/>
                  </a:moveTo>
                  <a:lnTo>
                    <a:pt x="0" y="10106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75" name="Gráfico 2">
              <a:extLst>
                <a:ext uri="{FF2B5EF4-FFF2-40B4-BE49-F238E27FC236}">
                  <a16:creationId xmlns:a16="http://schemas.microsoft.com/office/drawing/2014/main" id="{D3AC64EA-B82E-DEEA-3421-12CB7564D2AA}"/>
                </a:ext>
              </a:extLst>
            </p:cNvPr>
            <p:cNvGrpSpPr/>
            <p:nvPr/>
          </p:nvGrpSpPr>
          <p:grpSpPr>
            <a:xfrm>
              <a:off x="1472632" y="1682321"/>
              <a:ext cx="170133" cy="22707"/>
              <a:chOff x="1472632" y="1682321"/>
              <a:chExt cx="170133" cy="22707"/>
            </a:xfrm>
          </p:grpSpPr>
          <p:sp>
            <p:nvSpPr>
              <p:cNvPr id="76" name="Forma livre: Forma 75">
                <a:extLst>
                  <a:ext uri="{FF2B5EF4-FFF2-40B4-BE49-F238E27FC236}">
                    <a16:creationId xmlns:a16="http://schemas.microsoft.com/office/drawing/2014/main" id="{A181A993-2782-4567-45F7-7D99DAD55637}"/>
                  </a:ext>
                </a:extLst>
              </p:cNvPr>
              <p:cNvSpPr/>
              <p:nvPr/>
            </p:nvSpPr>
            <p:spPr>
              <a:xfrm>
                <a:off x="1472632" y="1698937"/>
                <a:ext cx="45689" cy="6091"/>
              </a:xfrm>
              <a:custGeom>
                <a:avLst/>
                <a:gdLst>
                  <a:gd name="connsiteX0" fmla="*/ 45690 w 45689"/>
                  <a:gd name="connsiteY0" fmla="*/ 0 h 6091"/>
                  <a:gd name="connsiteX1" fmla="*/ 0 w 45689"/>
                  <a:gd name="connsiteY1" fmla="*/ 6092 h 60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5689" h="6091">
                    <a:moveTo>
                      <a:pt x="45690" y="0"/>
                    </a:moveTo>
                    <a:lnTo>
                      <a:pt x="0" y="6092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7" name="Forma livre: Forma 76">
                <a:extLst>
                  <a:ext uri="{FF2B5EF4-FFF2-40B4-BE49-F238E27FC236}">
                    <a16:creationId xmlns:a16="http://schemas.microsoft.com/office/drawing/2014/main" id="{57B662C8-48F1-0807-0DF4-2929C1AAE5CF}"/>
                  </a:ext>
                </a:extLst>
              </p:cNvPr>
              <p:cNvSpPr/>
              <p:nvPr/>
            </p:nvSpPr>
            <p:spPr>
              <a:xfrm>
                <a:off x="1544625" y="1682321"/>
                <a:ext cx="98140" cy="13139"/>
              </a:xfrm>
              <a:custGeom>
                <a:avLst/>
                <a:gdLst>
                  <a:gd name="connsiteX0" fmla="*/ 98141 w 98140"/>
                  <a:gd name="connsiteY0" fmla="*/ 0 h 13139"/>
                  <a:gd name="connsiteX1" fmla="*/ 0 w 98140"/>
                  <a:gd name="connsiteY1" fmla="*/ 13140 h 131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8140" h="13139">
                    <a:moveTo>
                      <a:pt x="98141" y="0"/>
                    </a:moveTo>
                    <a:lnTo>
                      <a:pt x="0" y="1314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78" name="Forma livre: Forma 77">
              <a:extLst>
                <a:ext uri="{FF2B5EF4-FFF2-40B4-BE49-F238E27FC236}">
                  <a16:creationId xmlns:a16="http://schemas.microsoft.com/office/drawing/2014/main" id="{FEE9AA24-8C74-0C00-5AF3-22574C4533BE}"/>
                </a:ext>
              </a:extLst>
            </p:cNvPr>
            <p:cNvSpPr/>
            <p:nvPr/>
          </p:nvSpPr>
          <p:spPr>
            <a:xfrm>
              <a:off x="1505290" y="1761374"/>
              <a:ext cx="98928" cy="13211"/>
            </a:xfrm>
            <a:custGeom>
              <a:avLst/>
              <a:gdLst>
                <a:gd name="connsiteX0" fmla="*/ 98929 w 98928"/>
                <a:gd name="connsiteY0" fmla="*/ 0 h 13211"/>
                <a:gd name="connsiteX1" fmla="*/ 0 w 98928"/>
                <a:gd name="connsiteY1" fmla="*/ 13211 h 132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8928" h="13211">
                  <a:moveTo>
                    <a:pt x="98929" y="0"/>
                  </a:moveTo>
                  <a:lnTo>
                    <a:pt x="0" y="13211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79" name="Forma livre: Forma 78">
              <a:extLst>
                <a:ext uri="{FF2B5EF4-FFF2-40B4-BE49-F238E27FC236}">
                  <a16:creationId xmlns:a16="http://schemas.microsoft.com/office/drawing/2014/main" id="{D939EDC9-0178-A377-1E5A-0B1C37F2BF7D}"/>
                </a:ext>
              </a:extLst>
            </p:cNvPr>
            <p:cNvSpPr/>
            <p:nvPr/>
          </p:nvSpPr>
          <p:spPr>
            <a:xfrm>
              <a:off x="1485437" y="1685511"/>
              <a:ext cx="144308" cy="131368"/>
            </a:xfrm>
            <a:custGeom>
              <a:avLst/>
              <a:gdLst>
                <a:gd name="connsiteX0" fmla="*/ 8421 w 144308"/>
                <a:gd name="connsiteY0" fmla="*/ 34043 h 131368"/>
                <a:gd name="connsiteX1" fmla="*/ 0 w 144308"/>
                <a:gd name="connsiteY1" fmla="*/ 18622 h 131368"/>
                <a:gd name="connsiteX2" fmla="*/ 26888 w 144308"/>
                <a:gd name="connsiteY2" fmla="*/ 68433 h 131368"/>
                <a:gd name="connsiteX3" fmla="*/ 18551 w 144308"/>
                <a:gd name="connsiteY3" fmla="*/ 53167 h 131368"/>
                <a:gd name="connsiteX4" fmla="*/ 144308 w 144308"/>
                <a:gd name="connsiteY4" fmla="*/ 0 h 131368"/>
                <a:gd name="connsiteX5" fmla="*/ 75875 w 144308"/>
                <a:gd name="connsiteY5" fmla="*/ 125017 h 131368"/>
                <a:gd name="connsiteX6" fmla="*/ 58137 w 144308"/>
                <a:gd name="connsiteY6" fmla="*/ 125017 h 131368"/>
                <a:gd name="connsiteX7" fmla="*/ 37424 w 144308"/>
                <a:gd name="connsiteY7" fmla="*/ 87115 h 1313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44308" h="131368">
                  <a:moveTo>
                    <a:pt x="8421" y="34043"/>
                  </a:moveTo>
                  <a:lnTo>
                    <a:pt x="0" y="18622"/>
                  </a:lnTo>
                  <a:moveTo>
                    <a:pt x="26888" y="68433"/>
                  </a:moveTo>
                  <a:lnTo>
                    <a:pt x="18551" y="53167"/>
                  </a:lnTo>
                  <a:moveTo>
                    <a:pt x="144308" y="0"/>
                  </a:moveTo>
                  <a:lnTo>
                    <a:pt x="75875" y="125017"/>
                  </a:lnTo>
                  <a:cubicBezTo>
                    <a:pt x="70989" y="133486"/>
                    <a:pt x="63010" y="133486"/>
                    <a:pt x="58137" y="125017"/>
                  </a:cubicBezTo>
                  <a:lnTo>
                    <a:pt x="37424" y="87115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80" name="Gráfico 2">
            <a:extLst>
              <a:ext uri="{FF2B5EF4-FFF2-40B4-BE49-F238E27FC236}">
                <a16:creationId xmlns:a16="http://schemas.microsoft.com/office/drawing/2014/main" id="{3CFF4442-038F-31B9-3E63-6038CD09F43A}"/>
              </a:ext>
            </a:extLst>
          </p:cNvPr>
          <p:cNvGrpSpPr/>
          <p:nvPr/>
        </p:nvGrpSpPr>
        <p:grpSpPr>
          <a:xfrm>
            <a:off x="770489" y="2570879"/>
            <a:ext cx="320198" cy="341385"/>
            <a:chOff x="770489" y="2570879"/>
            <a:chExt cx="320198" cy="341385"/>
          </a:xfrm>
        </p:grpSpPr>
        <p:sp>
          <p:nvSpPr>
            <p:cNvPr id="81" name="Forma livre: Forma 80">
              <a:extLst>
                <a:ext uri="{FF2B5EF4-FFF2-40B4-BE49-F238E27FC236}">
                  <a16:creationId xmlns:a16="http://schemas.microsoft.com/office/drawing/2014/main" id="{6AC989B1-7184-279A-7A96-E62B5682C8C2}"/>
                </a:ext>
              </a:extLst>
            </p:cNvPr>
            <p:cNvSpPr/>
            <p:nvPr/>
          </p:nvSpPr>
          <p:spPr>
            <a:xfrm>
              <a:off x="805787" y="2618922"/>
              <a:ext cx="7167" cy="7167"/>
            </a:xfrm>
            <a:custGeom>
              <a:avLst/>
              <a:gdLst>
                <a:gd name="connsiteX0" fmla="*/ 0 w 7167"/>
                <a:gd name="connsiteY0" fmla="*/ 3584 h 7167"/>
                <a:gd name="connsiteX1" fmla="*/ 3560 w 7167"/>
                <a:gd name="connsiteY1" fmla="*/ 7167 h 7167"/>
                <a:gd name="connsiteX2" fmla="*/ 7167 w 7167"/>
                <a:gd name="connsiteY2" fmla="*/ 3584 h 7167"/>
                <a:gd name="connsiteX3" fmla="*/ 3560 w 7167"/>
                <a:gd name="connsiteY3" fmla="*/ 0 h 7167"/>
                <a:gd name="connsiteX4" fmla="*/ 0 w 7167"/>
                <a:gd name="connsiteY4" fmla="*/ 3584 h 71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67" h="7167">
                  <a:moveTo>
                    <a:pt x="0" y="3584"/>
                  </a:moveTo>
                  <a:cubicBezTo>
                    <a:pt x="0" y="5566"/>
                    <a:pt x="1601" y="7167"/>
                    <a:pt x="3560" y="7167"/>
                  </a:cubicBezTo>
                  <a:cubicBezTo>
                    <a:pt x="5519" y="7167"/>
                    <a:pt x="7167" y="5566"/>
                    <a:pt x="7167" y="3584"/>
                  </a:cubicBezTo>
                  <a:cubicBezTo>
                    <a:pt x="7167" y="1601"/>
                    <a:pt x="5543" y="0"/>
                    <a:pt x="3560" y="0"/>
                  </a:cubicBezTo>
                  <a:cubicBezTo>
                    <a:pt x="1577" y="0"/>
                    <a:pt x="0" y="1601"/>
                    <a:pt x="0" y="3584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2" name="Forma livre: Forma 81">
              <a:extLst>
                <a:ext uri="{FF2B5EF4-FFF2-40B4-BE49-F238E27FC236}">
                  <a16:creationId xmlns:a16="http://schemas.microsoft.com/office/drawing/2014/main" id="{39A6CC24-AB07-98E4-D6A6-C6609311565D}"/>
                </a:ext>
              </a:extLst>
            </p:cNvPr>
            <p:cNvSpPr/>
            <p:nvPr/>
          </p:nvSpPr>
          <p:spPr>
            <a:xfrm>
              <a:off x="839233" y="2802076"/>
              <a:ext cx="7167" cy="7167"/>
            </a:xfrm>
            <a:custGeom>
              <a:avLst/>
              <a:gdLst>
                <a:gd name="connsiteX0" fmla="*/ 0 w 7167"/>
                <a:gd name="connsiteY0" fmla="*/ 3584 h 7167"/>
                <a:gd name="connsiteX1" fmla="*/ 3560 w 7167"/>
                <a:gd name="connsiteY1" fmla="*/ 7167 h 7167"/>
                <a:gd name="connsiteX2" fmla="*/ 7167 w 7167"/>
                <a:gd name="connsiteY2" fmla="*/ 3584 h 7167"/>
                <a:gd name="connsiteX3" fmla="*/ 3560 w 7167"/>
                <a:gd name="connsiteY3" fmla="*/ 0 h 7167"/>
                <a:gd name="connsiteX4" fmla="*/ 0 w 7167"/>
                <a:gd name="connsiteY4" fmla="*/ 3584 h 71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67" h="7167">
                  <a:moveTo>
                    <a:pt x="0" y="3584"/>
                  </a:moveTo>
                  <a:cubicBezTo>
                    <a:pt x="0" y="5566"/>
                    <a:pt x="1601" y="7167"/>
                    <a:pt x="3560" y="7167"/>
                  </a:cubicBezTo>
                  <a:cubicBezTo>
                    <a:pt x="5519" y="7167"/>
                    <a:pt x="7167" y="5566"/>
                    <a:pt x="7167" y="3584"/>
                  </a:cubicBezTo>
                  <a:cubicBezTo>
                    <a:pt x="7167" y="1601"/>
                    <a:pt x="5543" y="0"/>
                    <a:pt x="3560" y="0"/>
                  </a:cubicBezTo>
                  <a:cubicBezTo>
                    <a:pt x="1577" y="0"/>
                    <a:pt x="0" y="1601"/>
                    <a:pt x="0" y="3584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3" name="Forma livre: Forma 82">
              <a:extLst>
                <a:ext uri="{FF2B5EF4-FFF2-40B4-BE49-F238E27FC236}">
                  <a16:creationId xmlns:a16="http://schemas.microsoft.com/office/drawing/2014/main" id="{99894E65-E113-54A0-A2D2-095C7D0CD9AA}"/>
                </a:ext>
              </a:extLst>
            </p:cNvPr>
            <p:cNvSpPr/>
            <p:nvPr/>
          </p:nvSpPr>
          <p:spPr>
            <a:xfrm>
              <a:off x="808391" y="2645440"/>
              <a:ext cx="89528" cy="89516"/>
            </a:xfrm>
            <a:custGeom>
              <a:avLst/>
              <a:gdLst>
                <a:gd name="connsiteX0" fmla="*/ 44770 w 89528"/>
                <a:gd name="connsiteY0" fmla="*/ 89516 h 89516"/>
                <a:gd name="connsiteX1" fmla="*/ 0 w 89528"/>
                <a:gd name="connsiteY1" fmla="*/ 44758 h 89516"/>
                <a:gd name="connsiteX2" fmla="*/ 44770 w 89528"/>
                <a:gd name="connsiteY2" fmla="*/ 0 h 89516"/>
                <a:gd name="connsiteX3" fmla="*/ 89528 w 89528"/>
                <a:gd name="connsiteY3" fmla="*/ 44758 h 89516"/>
                <a:gd name="connsiteX4" fmla="*/ 44770 w 89528"/>
                <a:gd name="connsiteY4" fmla="*/ 89516 h 895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9528" h="89516">
                  <a:moveTo>
                    <a:pt x="44770" y="89516"/>
                  </a:moveTo>
                  <a:cubicBezTo>
                    <a:pt x="30042" y="56106"/>
                    <a:pt x="33422" y="59475"/>
                    <a:pt x="0" y="44758"/>
                  </a:cubicBezTo>
                  <a:cubicBezTo>
                    <a:pt x="33422" y="30030"/>
                    <a:pt x="30042" y="33410"/>
                    <a:pt x="44770" y="0"/>
                  </a:cubicBezTo>
                  <a:cubicBezTo>
                    <a:pt x="59474" y="33398"/>
                    <a:pt x="56118" y="30030"/>
                    <a:pt x="89528" y="44758"/>
                  </a:cubicBezTo>
                  <a:cubicBezTo>
                    <a:pt x="56118" y="59475"/>
                    <a:pt x="59474" y="56106"/>
                    <a:pt x="44770" y="89516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84" name="Gráfico 2">
              <a:extLst>
                <a:ext uri="{FF2B5EF4-FFF2-40B4-BE49-F238E27FC236}">
                  <a16:creationId xmlns:a16="http://schemas.microsoft.com/office/drawing/2014/main" id="{0EEFE756-5040-18EE-E9F7-97B7CD5BB275}"/>
                </a:ext>
              </a:extLst>
            </p:cNvPr>
            <p:cNvGrpSpPr/>
            <p:nvPr/>
          </p:nvGrpSpPr>
          <p:grpSpPr>
            <a:xfrm>
              <a:off x="874017" y="2570879"/>
              <a:ext cx="54684" cy="54684"/>
              <a:chOff x="874017" y="2570879"/>
              <a:chExt cx="54684" cy="54684"/>
            </a:xfrm>
          </p:grpSpPr>
          <p:sp>
            <p:nvSpPr>
              <p:cNvPr id="85" name="Forma livre: Forma 84">
                <a:extLst>
                  <a:ext uri="{FF2B5EF4-FFF2-40B4-BE49-F238E27FC236}">
                    <a16:creationId xmlns:a16="http://schemas.microsoft.com/office/drawing/2014/main" id="{1B9F80DB-54A5-CC2F-B0EE-2A23551CF437}"/>
                  </a:ext>
                </a:extLst>
              </p:cNvPr>
              <p:cNvSpPr/>
              <p:nvPr/>
            </p:nvSpPr>
            <p:spPr>
              <a:xfrm>
                <a:off x="901359" y="2570879"/>
                <a:ext cx="1194" cy="17415"/>
              </a:xfrm>
              <a:custGeom>
                <a:avLst/>
                <a:gdLst>
                  <a:gd name="connsiteX0" fmla="*/ 0 w 1194"/>
                  <a:gd name="connsiteY0" fmla="*/ 0 h 17415"/>
                  <a:gd name="connsiteX1" fmla="*/ 0 w 1194"/>
                  <a:gd name="connsiteY1" fmla="*/ 17416 h 174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4" h="17415">
                    <a:moveTo>
                      <a:pt x="0" y="0"/>
                    </a:moveTo>
                    <a:lnTo>
                      <a:pt x="0" y="17416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86" name="Forma livre: Forma 85">
                <a:extLst>
                  <a:ext uri="{FF2B5EF4-FFF2-40B4-BE49-F238E27FC236}">
                    <a16:creationId xmlns:a16="http://schemas.microsoft.com/office/drawing/2014/main" id="{05FFA611-294F-D301-D21A-DC9A1859C7D2}"/>
                  </a:ext>
                </a:extLst>
              </p:cNvPr>
              <p:cNvSpPr/>
              <p:nvPr/>
            </p:nvSpPr>
            <p:spPr>
              <a:xfrm>
                <a:off x="901359" y="2608147"/>
                <a:ext cx="1194" cy="17415"/>
              </a:xfrm>
              <a:custGeom>
                <a:avLst/>
                <a:gdLst>
                  <a:gd name="connsiteX0" fmla="*/ 0 w 1194"/>
                  <a:gd name="connsiteY0" fmla="*/ 0 h 17415"/>
                  <a:gd name="connsiteX1" fmla="*/ 0 w 1194"/>
                  <a:gd name="connsiteY1" fmla="*/ 17416 h 174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4" h="17415">
                    <a:moveTo>
                      <a:pt x="0" y="0"/>
                    </a:moveTo>
                    <a:lnTo>
                      <a:pt x="0" y="17416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87" name="Forma livre: Forma 86">
                <a:extLst>
                  <a:ext uri="{FF2B5EF4-FFF2-40B4-BE49-F238E27FC236}">
                    <a16:creationId xmlns:a16="http://schemas.microsoft.com/office/drawing/2014/main" id="{9B45747E-ABBE-A8C5-8A21-C10ACC15FF35}"/>
                  </a:ext>
                </a:extLst>
              </p:cNvPr>
              <p:cNvSpPr/>
              <p:nvPr/>
            </p:nvSpPr>
            <p:spPr>
              <a:xfrm>
                <a:off x="911298" y="2598221"/>
                <a:ext cx="17403" cy="1194"/>
              </a:xfrm>
              <a:custGeom>
                <a:avLst/>
                <a:gdLst>
                  <a:gd name="connsiteX0" fmla="*/ 17404 w 17403"/>
                  <a:gd name="connsiteY0" fmla="*/ 0 h 1194"/>
                  <a:gd name="connsiteX1" fmla="*/ 0 w 17403"/>
                  <a:gd name="connsiteY1" fmla="*/ 0 h 11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7403" h="1194">
                    <a:moveTo>
                      <a:pt x="17404" y="0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88" name="Forma livre: Forma 87">
                <a:extLst>
                  <a:ext uri="{FF2B5EF4-FFF2-40B4-BE49-F238E27FC236}">
                    <a16:creationId xmlns:a16="http://schemas.microsoft.com/office/drawing/2014/main" id="{86358FFD-F569-16E9-69D5-648C60DBDFC8}"/>
                  </a:ext>
                </a:extLst>
              </p:cNvPr>
              <p:cNvSpPr/>
              <p:nvPr/>
            </p:nvSpPr>
            <p:spPr>
              <a:xfrm>
                <a:off x="874017" y="2598221"/>
                <a:ext cx="17415" cy="1194"/>
              </a:xfrm>
              <a:custGeom>
                <a:avLst/>
                <a:gdLst>
                  <a:gd name="connsiteX0" fmla="*/ 17416 w 17415"/>
                  <a:gd name="connsiteY0" fmla="*/ 0 h 1194"/>
                  <a:gd name="connsiteX1" fmla="*/ 0 w 17415"/>
                  <a:gd name="connsiteY1" fmla="*/ 0 h 11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7415" h="1194">
                    <a:moveTo>
                      <a:pt x="17416" y="0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89" name="Gráfico 2">
              <a:extLst>
                <a:ext uri="{FF2B5EF4-FFF2-40B4-BE49-F238E27FC236}">
                  <a16:creationId xmlns:a16="http://schemas.microsoft.com/office/drawing/2014/main" id="{CD51B359-CF53-9CA4-8207-821DEFD5876C}"/>
                </a:ext>
              </a:extLst>
            </p:cNvPr>
            <p:cNvGrpSpPr/>
            <p:nvPr/>
          </p:nvGrpSpPr>
          <p:grpSpPr>
            <a:xfrm>
              <a:off x="770489" y="2738110"/>
              <a:ext cx="54696" cy="54684"/>
              <a:chOff x="770489" y="2738110"/>
              <a:chExt cx="54696" cy="54684"/>
            </a:xfrm>
          </p:grpSpPr>
          <p:sp>
            <p:nvSpPr>
              <p:cNvPr id="90" name="Forma livre: Forma 89">
                <a:extLst>
                  <a:ext uri="{FF2B5EF4-FFF2-40B4-BE49-F238E27FC236}">
                    <a16:creationId xmlns:a16="http://schemas.microsoft.com/office/drawing/2014/main" id="{130BB3DB-EC98-887B-7225-B96EA9127B9D}"/>
                  </a:ext>
                </a:extLst>
              </p:cNvPr>
              <p:cNvSpPr/>
              <p:nvPr/>
            </p:nvSpPr>
            <p:spPr>
              <a:xfrm>
                <a:off x="797844" y="2738110"/>
                <a:ext cx="1194" cy="17415"/>
              </a:xfrm>
              <a:custGeom>
                <a:avLst/>
                <a:gdLst>
                  <a:gd name="connsiteX0" fmla="*/ 0 w 1194"/>
                  <a:gd name="connsiteY0" fmla="*/ 0 h 17415"/>
                  <a:gd name="connsiteX1" fmla="*/ 0 w 1194"/>
                  <a:gd name="connsiteY1" fmla="*/ 17416 h 174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4" h="17415">
                    <a:moveTo>
                      <a:pt x="0" y="0"/>
                    </a:moveTo>
                    <a:lnTo>
                      <a:pt x="0" y="17416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1" name="Forma livre: Forma 90">
                <a:extLst>
                  <a:ext uri="{FF2B5EF4-FFF2-40B4-BE49-F238E27FC236}">
                    <a16:creationId xmlns:a16="http://schemas.microsoft.com/office/drawing/2014/main" id="{D14285E8-EBBD-C8FC-13E6-997A6B4EFF13}"/>
                  </a:ext>
                </a:extLst>
              </p:cNvPr>
              <p:cNvSpPr/>
              <p:nvPr/>
            </p:nvSpPr>
            <p:spPr>
              <a:xfrm>
                <a:off x="797844" y="2775390"/>
                <a:ext cx="1194" cy="17403"/>
              </a:xfrm>
              <a:custGeom>
                <a:avLst/>
                <a:gdLst>
                  <a:gd name="connsiteX0" fmla="*/ 0 w 1194"/>
                  <a:gd name="connsiteY0" fmla="*/ 0 h 17403"/>
                  <a:gd name="connsiteX1" fmla="*/ 0 w 1194"/>
                  <a:gd name="connsiteY1" fmla="*/ 17404 h 174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4" h="17403">
                    <a:moveTo>
                      <a:pt x="0" y="0"/>
                    </a:moveTo>
                    <a:lnTo>
                      <a:pt x="0" y="17404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2" name="Forma livre: Forma 91">
                <a:extLst>
                  <a:ext uri="{FF2B5EF4-FFF2-40B4-BE49-F238E27FC236}">
                    <a16:creationId xmlns:a16="http://schemas.microsoft.com/office/drawing/2014/main" id="{7194FEDF-BC92-0218-5ADE-806A73A909D7}"/>
                  </a:ext>
                </a:extLst>
              </p:cNvPr>
              <p:cNvSpPr/>
              <p:nvPr/>
            </p:nvSpPr>
            <p:spPr>
              <a:xfrm>
                <a:off x="807770" y="2765452"/>
                <a:ext cx="17415" cy="1194"/>
              </a:xfrm>
              <a:custGeom>
                <a:avLst/>
                <a:gdLst>
                  <a:gd name="connsiteX0" fmla="*/ 17416 w 17415"/>
                  <a:gd name="connsiteY0" fmla="*/ 0 h 1194"/>
                  <a:gd name="connsiteX1" fmla="*/ 0 w 17415"/>
                  <a:gd name="connsiteY1" fmla="*/ 0 h 11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7415" h="1194">
                    <a:moveTo>
                      <a:pt x="17416" y="0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3" name="Forma livre: Forma 92">
                <a:extLst>
                  <a:ext uri="{FF2B5EF4-FFF2-40B4-BE49-F238E27FC236}">
                    <a16:creationId xmlns:a16="http://schemas.microsoft.com/office/drawing/2014/main" id="{623C4A56-D68D-A70F-290B-563D6D67A07C}"/>
                  </a:ext>
                </a:extLst>
              </p:cNvPr>
              <p:cNvSpPr/>
              <p:nvPr/>
            </p:nvSpPr>
            <p:spPr>
              <a:xfrm>
                <a:off x="770489" y="2765452"/>
                <a:ext cx="17415" cy="1194"/>
              </a:xfrm>
              <a:custGeom>
                <a:avLst/>
                <a:gdLst>
                  <a:gd name="connsiteX0" fmla="*/ 17416 w 17415"/>
                  <a:gd name="connsiteY0" fmla="*/ 0 h 1194"/>
                  <a:gd name="connsiteX1" fmla="*/ 0 w 17415"/>
                  <a:gd name="connsiteY1" fmla="*/ 0 h 11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7415" h="1194">
                    <a:moveTo>
                      <a:pt x="17416" y="0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94" name="Gráfico 2">
              <a:extLst>
                <a:ext uri="{FF2B5EF4-FFF2-40B4-BE49-F238E27FC236}">
                  <a16:creationId xmlns:a16="http://schemas.microsoft.com/office/drawing/2014/main" id="{503A9D56-4248-54AC-230D-FB1DA63C2145}"/>
                </a:ext>
              </a:extLst>
            </p:cNvPr>
            <p:cNvGrpSpPr/>
            <p:nvPr/>
          </p:nvGrpSpPr>
          <p:grpSpPr>
            <a:xfrm>
              <a:off x="864091" y="2652524"/>
              <a:ext cx="226597" cy="259740"/>
              <a:chOff x="864091" y="2652524"/>
              <a:chExt cx="226597" cy="259740"/>
            </a:xfrm>
            <a:noFill/>
          </p:grpSpPr>
          <p:sp>
            <p:nvSpPr>
              <p:cNvPr id="95" name="Forma livre: Forma 94">
                <a:extLst>
                  <a:ext uri="{FF2B5EF4-FFF2-40B4-BE49-F238E27FC236}">
                    <a16:creationId xmlns:a16="http://schemas.microsoft.com/office/drawing/2014/main" id="{5F6CAB6E-344A-AE0E-83F8-00FB2A4CD4EE}"/>
                  </a:ext>
                </a:extLst>
              </p:cNvPr>
              <p:cNvSpPr/>
              <p:nvPr/>
            </p:nvSpPr>
            <p:spPr>
              <a:xfrm>
                <a:off x="864091" y="2652524"/>
                <a:ext cx="226597" cy="259740"/>
              </a:xfrm>
              <a:custGeom>
                <a:avLst/>
                <a:gdLst>
                  <a:gd name="connsiteX0" fmla="*/ 0 w 226597"/>
                  <a:gd name="connsiteY0" fmla="*/ 106441 h 259740"/>
                  <a:gd name="connsiteX1" fmla="*/ 10070 w 226597"/>
                  <a:gd name="connsiteY1" fmla="*/ 124335 h 259740"/>
                  <a:gd name="connsiteX2" fmla="*/ 38248 w 226597"/>
                  <a:gd name="connsiteY2" fmla="*/ 216826 h 259740"/>
                  <a:gd name="connsiteX3" fmla="*/ 64420 w 226597"/>
                  <a:gd name="connsiteY3" fmla="*/ 256364 h 259740"/>
                  <a:gd name="connsiteX4" fmla="*/ 77285 w 226597"/>
                  <a:gd name="connsiteY4" fmla="*/ 259685 h 259740"/>
                  <a:gd name="connsiteX5" fmla="*/ 87486 w 226597"/>
                  <a:gd name="connsiteY5" fmla="*/ 209002 h 259740"/>
                  <a:gd name="connsiteX6" fmla="*/ 107553 w 226597"/>
                  <a:gd name="connsiteY6" fmla="*/ 156814 h 259740"/>
                  <a:gd name="connsiteX7" fmla="*/ 127621 w 226597"/>
                  <a:gd name="connsiteY7" fmla="*/ 209002 h 259740"/>
                  <a:gd name="connsiteX8" fmla="*/ 137822 w 226597"/>
                  <a:gd name="connsiteY8" fmla="*/ 259685 h 259740"/>
                  <a:gd name="connsiteX9" fmla="*/ 150687 w 226597"/>
                  <a:gd name="connsiteY9" fmla="*/ 256364 h 259740"/>
                  <a:gd name="connsiteX10" fmla="*/ 176859 w 226597"/>
                  <a:gd name="connsiteY10" fmla="*/ 216826 h 259740"/>
                  <a:gd name="connsiteX11" fmla="*/ 215107 w 226597"/>
                  <a:gd name="connsiteY11" fmla="*/ 106441 h 259740"/>
                  <a:gd name="connsiteX12" fmla="*/ 200988 w 226597"/>
                  <a:gd name="connsiteY12" fmla="*/ 13915 h 259740"/>
                  <a:gd name="connsiteX13" fmla="*/ 130703 w 226597"/>
                  <a:gd name="connsiteY13" fmla="*/ 7536 h 2597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26597" h="259740">
                    <a:moveTo>
                      <a:pt x="0" y="106441"/>
                    </a:moveTo>
                    <a:cubicBezTo>
                      <a:pt x="0" y="106441"/>
                      <a:pt x="4324" y="113155"/>
                      <a:pt x="10070" y="124335"/>
                    </a:cubicBezTo>
                    <a:cubicBezTo>
                      <a:pt x="20605" y="144821"/>
                      <a:pt x="35931" y="180286"/>
                      <a:pt x="38248" y="216826"/>
                    </a:cubicBezTo>
                    <a:cubicBezTo>
                      <a:pt x="38248" y="216826"/>
                      <a:pt x="37973" y="247262"/>
                      <a:pt x="64420" y="256364"/>
                    </a:cubicBezTo>
                    <a:cubicBezTo>
                      <a:pt x="64420" y="256364"/>
                      <a:pt x="72650" y="260246"/>
                      <a:pt x="77285" y="259685"/>
                    </a:cubicBezTo>
                    <a:cubicBezTo>
                      <a:pt x="86649" y="258526"/>
                      <a:pt x="88405" y="244980"/>
                      <a:pt x="87486" y="209002"/>
                    </a:cubicBezTo>
                    <a:cubicBezTo>
                      <a:pt x="87486" y="209002"/>
                      <a:pt x="85574" y="156814"/>
                      <a:pt x="107553" y="156814"/>
                    </a:cubicBezTo>
                    <a:cubicBezTo>
                      <a:pt x="129532" y="156814"/>
                      <a:pt x="127621" y="209002"/>
                      <a:pt x="127621" y="209002"/>
                    </a:cubicBezTo>
                    <a:cubicBezTo>
                      <a:pt x="126701" y="244980"/>
                      <a:pt x="128469" y="258514"/>
                      <a:pt x="137822" y="259685"/>
                    </a:cubicBezTo>
                    <a:cubicBezTo>
                      <a:pt x="142469" y="260246"/>
                      <a:pt x="150687" y="256364"/>
                      <a:pt x="150687" y="256364"/>
                    </a:cubicBezTo>
                    <a:cubicBezTo>
                      <a:pt x="177133" y="247262"/>
                      <a:pt x="176859" y="216826"/>
                      <a:pt x="176859" y="216826"/>
                    </a:cubicBezTo>
                    <a:cubicBezTo>
                      <a:pt x="180442" y="160338"/>
                      <a:pt x="215107" y="106441"/>
                      <a:pt x="215107" y="106441"/>
                    </a:cubicBezTo>
                    <a:cubicBezTo>
                      <a:pt x="234589" y="76340"/>
                      <a:pt x="228915" y="35655"/>
                      <a:pt x="200988" y="13915"/>
                    </a:cubicBezTo>
                    <a:cubicBezTo>
                      <a:pt x="179331" y="-2951"/>
                      <a:pt x="153637" y="-3740"/>
                      <a:pt x="130703" y="7536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6" name="Forma livre: Forma 95">
                <a:extLst>
                  <a:ext uri="{FF2B5EF4-FFF2-40B4-BE49-F238E27FC236}">
                    <a16:creationId xmlns:a16="http://schemas.microsoft.com/office/drawing/2014/main" id="{24921AA2-57AB-6897-D472-7ED016A7413B}"/>
                  </a:ext>
                </a:extLst>
              </p:cNvPr>
              <p:cNvSpPr/>
              <p:nvPr/>
            </p:nvSpPr>
            <p:spPr>
              <a:xfrm>
                <a:off x="888984" y="2652532"/>
                <a:ext cx="116261" cy="35396"/>
              </a:xfrm>
              <a:custGeom>
                <a:avLst/>
                <a:gdLst>
                  <a:gd name="connsiteX0" fmla="*/ 116261 w 116261"/>
                  <a:gd name="connsiteY0" fmla="*/ 35396 h 35396"/>
                  <a:gd name="connsiteX1" fmla="*/ 78598 w 116261"/>
                  <a:gd name="connsiteY1" fmla="*/ 20298 h 35396"/>
                  <a:gd name="connsiteX2" fmla="*/ 0 w 116261"/>
                  <a:gd name="connsiteY2" fmla="*/ 6991 h 353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16261" h="35396">
                    <a:moveTo>
                      <a:pt x="116261" y="35396"/>
                    </a:moveTo>
                    <a:cubicBezTo>
                      <a:pt x="92873" y="31789"/>
                      <a:pt x="78598" y="20298"/>
                      <a:pt x="78598" y="20298"/>
                    </a:cubicBezTo>
                    <a:cubicBezTo>
                      <a:pt x="55162" y="39"/>
                      <a:pt x="25706" y="-6304"/>
                      <a:pt x="0" y="6991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97" name="Gráfico 2">
            <a:extLst>
              <a:ext uri="{FF2B5EF4-FFF2-40B4-BE49-F238E27FC236}">
                <a16:creationId xmlns:a16="http://schemas.microsoft.com/office/drawing/2014/main" id="{4D48FE24-074E-6E52-969C-8DB64ABAB3FD}"/>
              </a:ext>
            </a:extLst>
          </p:cNvPr>
          <p:cNvGrpSpPr/>
          <p:nvPr/>
        </p:nvGrpSpPr>
        <p:grpSpPr>
          <a:xfrm>
            <a:off x="2035703" y="2611696"/>
            <a:ext cx="277431" cy="259763"/>
            <a:chOff x="2035703" y="2611696"/>
            <a:chExt cx="277431" cy="259763"/>
          </a:xfrm>
          <a:noFill/>
        </p:grpSpPr>
        <p:grpSp>
          <p:nvGrpSpPr>
            <p:cNvPr id="98" name="Gráfico 2">
              <a:extLst>
                <a:ext uri="{FF2B5EF4-FFF2-40B4-BE49-F238E27FC236}">
                  <a16:creationId xmlns:a16="http://schemas.microsoft.com/office/drawing/2014/main" id="{B1ED68B6-42DE-9048-BC1A-472F719E9FB0}"/>
                </a:ext>
              </a:extLst>
            </p:cNvPr>
            <p:cNvGrpSpPr/>
            <p:nvPr/>
          </p:nvGrpSpPr>
          <p:grpSpPr>
            <a:xfrm>
              <a:off x="2201424" y="2684548"/>
              <a:ext cx="111710" cy="130344"/>
              <a:chOff x="2201424" y="2684548"/>
              <a:chExt cx="111710" cy="130344"/>
            </a:xfrm>
            <a:noFill/>
          </p:grpSpPr>
          <p:sp>
            <p:nvSpPr>
              <p:cNvPr id="99" name="Forma livre: Forma 98">
                <a:extLst>
                  <a:ext uri="{FF2B5EF4-FFF2-40B4-BE49-F238E27FC236}">
                    <a16:creationId xmlns:a16="http://schemas.microsoft.com/office/drawing/2014/main" id="{9B05FC6C-B471-F311-50EB-DC3615548F01}"/>
                  </a:ext>
                </a:extLst>
              </p:cNvPr>
              <p:cNvSpPr/>
              <p:nvPr/>
            </p:nvSpPr>
            <p:spPr>
              <a:xfrm>
                <a:off x="2230391" y="2715283"/>
                <a:ext cx="16794" cy="24535"/>
              </a:xfrm>
              <a:custGeom>
                <a:avLst/>
                <a:gdLst>
                  <a:gd name="connsiteX0" fmla="*/ 0 w 16794"/>
                  <a:gd name="connsiteY0" fmla="*/ 24535 h 24535"/>
                  <a:gd name="connsiteX1" fmla="*/ 16795 w 16794"/>
                  <a:gd name="connsiteY1" fmla="*/ 0 h 245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6794" h="24535">
                    <a:moveTo>
                      <a:pt x="0" y="24535"/>
                    </a:moveTo>
                    <a:cubicBezTo>
                      <a:pt x="0" y="13355"/>
                      <a:pt x="6976" y="3811"/>
                      <a:pt x="16795" y="0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00" name="Forma livre: Forma 99">
                <a:extLst>
                  <a:ext uri="{FF2B5EF4-FFF2-40B4-BE49-F238E27FC236}">
                    <a16:creationId xmlns:a16="http://schemas.microsoft.com/office/drawing/2014/main" id="{BC38E2B7-9438-45B1-FE3E-6968B0F34050}"/>
                  </a:ext>
                </a:extLst>
              </p:cNvPr>
              <p:cNvSpPr/>
              <p:nvPr/>
            </p:nvSpPr>
            <p:spPr>
              <a:xfrm>
                <a:off x="2289483" y="2784313"/>
                <a:ext cx="23651" cy="30579"/>
              </a:xfrm>
              <a:custGeom>
                <a:avLst/>
                <a:gdLst>
                  <a:gd name="connsiteX0" fmla="*/ 0 w 23651"/>
                  <a:gd name="connsiteY0" fmla="*/ 0 h 30579"/>
                  <a:gd name="connsiteX1" fmla="*/ 23651 w 23651"/>
                  <a:gd name="connsiteY1" fmla="*/ 30579 h 305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3651" h="30579">
                    <a:moveTo>
                      <a:pt x="0" y="0"/>
                    </a:moveTo>
                    <a:lnTo>
                      <a:pt x="23651" y="30579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01" name="Forma livre: Forma 100">
                <a:extLst>
                  <a:ext uri="{FF2B5EF4-FFF2-40B4-BE49-F238E27FC236}">
                    <a16:creationId xmlns:a16="http://schemas.microsoft.com/office/drawing/2014/main" id="{CCFB5A1E-BE6E-A3C9-1AA5-AC6DF3883437}"/>
                  </a:ext>
                </a:extLst>
              </p:cNvPr>
              <p:cNvSpPr/>
              <p:nvPr/>
            </p:nvSpPr>
            <p:spPr>
              <a:xfrm>
                <a:off x="2201424" y="2684548"/>
                <a:ext cx="110491" cy="110539"/>
              </a:xfrm>
              <a:custGeom>
                <a:avLst/>
                <a:gdLst>
                  <a:gd name="connsiteX0" fmla="*/ 110492 w 110491"/>
                  <a:gd name="connsiteY0" fmla="*/ 55270 h 110539"/>
                  <a:gd name="connsiteX1" fmla="*/ 55222 w 110491"/>
                  <a:gd name="connsiteY1" fmla="*/ 110540 h 110539"/>
                  <a:gd name="connsiteX2" fmla="*/ 0 w 110491"/>
                  <a:gd name="connsiteY2" fmla="*/ 55270 h 110539"/>
                  <a:gd name="connsiteX3" fmla="*/ 55222 w 110491"/>
                  <a:gd name="connsiteY3" fmla="*/ 0 h 110539"/>
                  <a:gd name="connsiteX4" fmla="*/ 110492 w 110491"/>
                  <a:gd name="connsiteY4" fmla="*/ 55270 h 1105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10491" h="110539">
                    <a:moveTo>
                      <a:pt x="110492" y="55270"/>
                    </a:moveTo>
                    <a:cubicBezTo>
                      <a:pt x="110492" y="85790"/>
                      <a:pt x="85753" y="110540"/>
                      <a:pt x="55222" y="110540"/>
                    </a:cubicBezTo>
                    <a:cubicBezTo>
                      <a:pt x="24690" y="110540"/>
                      <a:pt x="0" y="85801"/>
                      <a:pt x="0" y="55270"/>
                    </a:cubicBezTo>
                    <a:cubicBezTo>
                      <a:pt x="0" y="24738"/>
                      <a:pt x="24750" y="0"/>
                      <a:pt x="55222" y="0"/>
                    </a:cubicBezTo>
                    <a:cubicBezTo>
                      <a:pt x="85694" y="0"/>
                      <a:pt x="110492" y="24738"/>
                      <a:pt x="110492" y="55270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02" name="Gráfico 2">
              <a:extLst>
                <a:ext uri="{FF2B5EF4-FFF2-40B4-BE49-F238E27FC236}">
                  <a16:creationId xmlns:a16="http://schemas.microsoft.com/office/drawing/2014/main" id="{5E2C9CEC-6830-8692-FAEF-32F6E7FAE7FF}"/>
                </a:ext>
              </a:extLst>
            </p:cNvPr>
            <p:cNvGrpSpPr/>
            <p:nvPr/>
          </p:nvGrpSpPr>
          <p:grpSpPr>
            <a:xfrm>
              <a:off x="2035703" y="2611696"/>
              <a:ext cx="235934" cy="259763"/>
              <a:chOff x="2035703" y="2611696"/>
              <a:chExt cx="235934" cy="259763"/>
            </a:xfrm>
            <a:noFill/>
          </p:grpSpPr>
          <p:sp>
            <p:nvSpPr>
              <p:cNvPr id="103" name="Forma livre: Forma 102">
                <a:extLst>
                  <a:ext uri="{FF2B5EF4-FFF2-40B4-BE49-F238E27FC236}">
                    <a16:creationId xmlns:a16="http://schemas.microsoft.com/office/drawing/2014/main" id="{8D68C6DC-E7F3-2432-941B-CE2DCAB96D48}"/>
                  </a:ext>
                </a:extLst>
              </p:cNvPr>
              <p:cNvSpPr/>
              <p:nvPr/>
            </p:nvSpPr>
            <p:spPr>
              <a:xfrm>
                <a:off x="2177904" y="2611696"/>
                <a:ext cx="93732" cy="50132"/>
              </a:xfrm>
              <a:custGeom>
                <a:avLst/>
                <a:gdLst>
                  <a:gd name="connsiteX0" fmla="*/ 93733 w 93732"/>
                  <a:gd name="connsiteY0" fmla="*/ 50132 h 50132"/>
                  <a:gd name="connsiteX1" fmla="*/ 70273 w 93732"/>
                  <a:gd name="connsiteY1" fmla="*/ 13915 h 50132"/>
                  <a:gd name="connsiteX2" fmla="*/ 0 w 93732"/>
                  <a:gd name="connsiteY2" fmla="*/ 7536 h 501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93732" h="50132">
                    <a:moveTo>
                      <a:pt x="93733" y="50132"/>
                    </a:moveTo>
                    <a:cubicBezTo>
                      <a:pt x="90185" y="36121"/>
                      <a:pt x="82290" y="23268"/>
                      <a:pt x="70273" y="13915"/>
                    </a:cubicBezTo>
                    <a:cubicBezTo>
                      <a:pt x="48616" y="-2951"/>
                      <a:pt x="22935" y="-3740"/>
                      <a:pt x="0" y="7536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04" name="Forma livre: Forma 103">
                <a:extLst>
                  <a:ext uri="{FF2B5EF4-FFF2-40B4-BE49-F238E27FC236}">
                    <a16:creationId xmlns:a16="http://schemas.microsoft.com/office/drawing/2014/main" id="{C56F3144-9FC1-4708-B93C-B0E8335A1D8A}"/>
                  </a:ext>
                </a:extLst>
              </p:cNvPr>
              <p:cNvSpPr/>
              <p:nvPr/>
            </p:nvSpPr>
            <p:spPr>
              <a:xfrm>
                <a:off x="2035703" y="2611705"/>
                <a:ext cx="190112" cy="259755"/>
              </a:xfrm>
              <a:custGeom>
                <a:avLst/>
                <a:gdLst>
                  <a:gd name="connsiteX0" fmla="*/ 152653 w 190112"/>
                  <a:gd name="connsiteY0" fmla="*/ 35395 h 259755"/>
                  <a:gd name="connsiteX1" fmla="*/ 114990 w 190112"/>
                  <a:gd name="connsiteY1" fmla="*/ 20297 h 259755"/>
                  <a:gd name="connsiteX2" fmla="*/ 25617 w 190112"/>
                  <a:gd name="connsiteY2" fmla="*/ 13906 h 259755"/>
                  <a:gd name="connsiteX3" fmla="*/ 11487 w 190112"/>
                  <a:gd name="connsiteY3" fmla="*/ 106433 h 259755"/>
                  <a:gd name="connsiteX4" fmla="*/ 49734 w 190112"/>
                  <a:gd name="connsiteY4" fmla="*/ 216829 h 259755"/>
                  <a:gd name="connsiteX5" fmla="*/ 75906 w 190112"/>
                  <a:gd name="connsiteY5" fmla="*/ 256367 h 259755"/>
                  <a:gd name="connsiteX6" fmla="*/ 88771 w 190112"/>
                  <a:gd name="connsiteY6" fmla="*/ 259700 h 259755"/>
                  <a:gd name="connsiteX7" fmla="*/ 98972 w 190112"/>
                  <a:gd name="connsiteY7" fmla="*/ 209017 h 259755"/>
                  <a:gd name="connsiteX8" fmla="*/ 119040 w 190112"/>
                  <a:gd name="connsiteY8" fmla="*/ 156829 h 259755"/>
                  <a:gd name="connsiteX9" fmla="*/ 139108 w 190112"/>
                  <a:gd name="connsiteY9" fmla="*/ 209017 h 259755"/>
                  <a:gd name="connsiteX10" fmla="*/ 149309 w 190112"/>
                  <a:gd name="connsiteY10" fmla="*/ 259700 h 259755"/>
                  <a:gd name="connsiteX11" fmla="*/ 162173 w 190112"/>
                  <a:gd name="connsiteY11" fmla="*/ 256367 h 259755"/>
                  <a:gd name="connsiteX12" fmla="*/ 188345 w 190112"/>
                  <a:gd name="connsiteY12" fmla="*/ 216829 h 259755"/>
                  <a:gd name="connsiteX13" fmla="*/ 190113 w 190112"/>
                  <a:gd name="connsiteY13" fmla="*/ 201038 h 2597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90112" h="259755">
                    <a:moveTo>
                      <a:pt x="152653" y="35395"/>
                    </a:moveTo>
                    <a:cubicBezTo>
                      <a:pt x="129253" y="31788"/>
                      <a:pt x="114990" y="20297"/>
                      <a:pt x="114990" y="20297"/>
                    </a:cubicBezTo>
                    <a:cubicBezTo>
                      <a:pt x="88198" y="-2853"/>
                      <a:pt x="53557" y="-7834"/>
                      <a:pt x="25617" y="13906"/>
                    </a:cubicBezTo>
                    <a:cubicBezTo>
                      <a:pt x="-2310" y="35646"/>
                      <a:pt x="-7996" y="76331"/>
                      <a:pt x="11487" y="106433"/>
                    </a:cubicBezTo>
                    <a:cubicBezTo>
                      <a:pt x="11487" y="106433"/>
                      <a:pt x="46151" y="160329"/>
                      <a:pt x="49734" y="216829"/>
                    </a:cubicBezTo>
                    <a:cubicBezTo>
                      <a:pt x="49734" y="216829"/>
                      <a:pt x="49460" y="247265"/>
                      <a:pt x="75906" y="256367"/>
                    </a:cubicBezTo>
                    <a:cubicBezTo>
                      <a:pt x="75906" y="256367"/>
                      <a:pt x="84124" y="260261"/>
                      <a:pt x="88771" y="259700"/>
                    </a:cubicBezTo>
                    <a:cubicBezTo>
                      <a:pt x="98124" y="258541"/>
                      <a:pt x="99880" y="244995"/>
                      <a:pt x="98972" y="209017"/>
                    </a:cubicBezTo>
                    <a:cubicBezTo>
                      <a:pt x="98972" y="209017"/>
                      <a:pt x="97049" y="156829"/>
                      <a:pt x="119040" y="156829"/>
                    </a:cubicBezTo>
                    <a:cubicBezTo>
                      <a:pt x="141031" y="156829"/>
                      <a:pt x="139108" y="209017"/>
                      <a:pt x="139108" y="209017"/>
                    </a:cubicBezTo>
                    <a:cubicBezTo>
                      <a:pt x="138188" y="244995"/>
                      <a:pt x="139956" y="258541"/>
                      <a:pt x="149309" y="259700"/>
                    </a:cubicBezTo>
                    <a:cubicBezTo>
                      <a:pt x="153955" y="260261"/>
                      <a:pt x="162173" y="256367"/>
                      <a:pt x="162173" y="256367"/>
                    </a:cubicBezTo>
                    <a:cubicBezTo>
                      <a:pt x="188620" y="247265"/>
                      <a:pt x="188345" y="216829"/>
                      <a:pt x="188345" y="216829"/>
                    </a:cubicBezTo>
                    <a:cubicBezTo>
                      <a:pt x="188680" y="211525"/>
                      <a:pt x="189289" y="206246"/>
                      <a:pt x="190113" y="201038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05" name="Gráfico 2">
            <a:extLst>
              <a:ext uri="{FF2B5EF4-FFF2-40B4-BE49-F238E27FC236}">
                <a16:creationId xmlns:a16="http://schemas.microsoft.com/office/drawing/2014/main" id="{D25968F2-5555-48C1-BD45-DAF3367DA455}"/>
              </a:ext>
            </a:extLst>
          </p:cNvPr>
          <p:cNvGrpSpPr/>
          <p:nvPr/>
        </p:nvGrpSpPr>
        <p:grpSpPr>
          <a:xfrm>
            <a:off x="1401580" y="2592846"/>
            <a:ext cx="301854" cy="297467"/>
            <a:chOff x="1401580" y="2592846"/>
            <a:chExt cx="301854" cy="297467"/>
          </a:xfrm>
        </p:grpSpPr>
        <p:grpSp>
          <p:nvGrpSpPr>
            <p:cNvPr id="106" name="Gráfico 2">
              <a:extLst>
                <a:ext uri="{FF2B5EF4-FFF2-40B4-BE49-F238E27FC236}">
                  <a16:creationId xmlns:a16="http://schemas.microsoft.com/office/drawing/2014/main" id="{5BEC8003-2772-4A7E-D750-350FE0A31D73}"/>
                </a:ext>
              </a:extLst>
            </p:cNvPr>
            <p:cNvGrpSpPr/>
            <p:nvPr/>
          </p:nvGrpSpPr>
          <p:grpSpPr>
            <a:xfrm>
              <a:off x="1592489" y="2621239"/>
              <a:ext cx="54684" cy="54696"/>
              <a:chOff x="1592489" y="2621239"/>
              <a:chExt cx="54684" cy="54696"/>
            </a:xfrm>
          </p:grpSpPr>
          <p:sp>
            <p:nvSpPr>
              <p:cNvPr id="107" name="Forma livre: Forma 106">
                <a:extLst>
                  <a:ext uri="{FF2B5EF4-FFF2-40B4-BE49-F238E27FC236}">
                    <a16:creationId xmlns:a16="http://schemas.microsoft.com/office/drawing/2014/main" id="{8D005D02-823E-94EE-0C77-F9DC0AB6D408}"/>
                  </a:ext>
                </a:extLst>
              </p:cNvPr>
              <p:cNvSpPr/>
              <p:nvPr/>
            </p:nvSpPr>
            <p:spPr>
              <a:xfrm>
                <a:off x="1619831" y="2621239"/>
                <a:ext cx="1194" cy="17415"/>
              </a:xfrm>
              <a:custGeom>
                <a:avLst/>
                <a:gdLst>
                  <a:gd name="connsiteX0" fmla="*/ 0 w 1194"/>
                  <a:gd name="connsiteY0" fmla="*/ 0 h 17415"/>
                  <a:gd name="connsiteX1" fmla="*/ 0 w 1194"/>
                  <a:gd name="connsiteY1" fmla="*/ 17416 h 174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4" h="17415">
                    <a:moveTo>
                      <a:pt x="0" y="0"/>
                    </a:moveTo>
                    <a:lnTo>
                      <a:pt x="0" y="17416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08" name="Forma livre: Forma 107">
                <a:extLst>
                  <a:ext uri="{FF2B5EF4-FFF2-40B4-BE49-F238E27FC236}">
                    <a16:creationId xmlns:a16="http://schemas.microsoft.com/office/drawing/2014/main" id="{52700917-C7A7-A105-54B3-9B5AF202DF5C}"/>
                  </a:ext>
                </a:extLst>
              </p:cNvPr>
              <p:cNvSpPr/>
              <p:nvPr/>
            </p:nvSpPr>
            <p:spPr>
              <a:xfrm>
                <a:off x="1619831" y="2658508"/>
                <a:ext cx="1194" cy="17427"/>
              </a:xfrm>
              <a:custGeom>
                <a:avLst/>
                <a:gdLst>
                  <a:gd name="connsiteX0" fmla="*/ 0 w 1194"/>
                  <a:gd name="connsiteY0" fmla="*/ 0 h 17427"/>
                  <a:gd name="connsiteX1" fmla="*/ 0 w 1194"/>
                  <a:gd name="connsiteY1" fmla="*/ 17428 h 174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4" h="17427">
                    <a:moveTo>
                      <a:pt x="0" y="0"/>
                    </a:moveTo>
                    <a:lnTo>
                      <a:pt x="0" y="17428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09" name="Forma livre: Forma 108">
                <a:extLst>
                  <a:ext uri="{FF2B5EF4-FFF2-40B4-BE49-F238E27FC236}">
                    <a16:creationId xmlns:a16="http://schemas.microsoft.com/office/drawing/2014/main" id="{F553B531-25C6-BDA3-B099-D8B1CAC69F41}"/>
                  </a:ext>
                </a:extLst>
              </p:cNvPr>
              <p:cNvSpPr/>
              <p:nvPr/>
            </p:nvSpPr>
            <p:spPr>
              <a:xfrm>
                <a:off x="1629757" y="2648581"/>
                <a:ext cx="17415" cy="1194"/>
              </a:xfrm>
              <a:custGeom>
                <a:avLst/>
                <a:gdLst>
                  <a:gd name="connsiteX0" fmla="*/ 17416 w 17415"/>
                  <a:gd name="connsiteY0" fmla="*/ 0 h 1194"/>
                  <a:gd name="connsiteX1" fmla="*/ 0 w 17415"/>
                  <a:gd name="connsiteY1" fmla="*/ 0 h 11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7415" h="1194">
                    <a:moveTo>
                      <a:pt x="17416" y="0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10" name="Forma livre: Forma 109">
                <a:extLst>
                  <a:ext uri="{FF2B5EF4-FFF2-40B4-BE49-F238E27FC236}">
                    <a16:creationId xmlns:a16="http://schemas.microsoft.com/office/drawing/2014/main" id="{9A337155-E7C9-EDBC-084D-3B9CE0FA0C26}"/>
                  </a:ext>
                </a:extLst>
              </p:cNvPr>
              <p:cNvSpPr/>
              <p:nvPr/>
            </p:nvSpPr>
            <p:spPr>
              <a:xfrm>
                <a:off x="1592489" y="2648581"/>
                <a:ext cx="17415" cy="1194"/>
              </a:xfrm>
              <a:custGeom>
                <a:avLst/>
                <a:gdLst>
                  <a:gd name="connsiteX0" fmla="*/ 17416 w 17415"/>
                  <a:gd name="connsiteY0" fmla="*/ 0 h 1194"/>
                  <a:gd name="connsiteX1" fmla="*/ 0 w 17415"/>
                  <a:gd name="connsiteY1" fmla="*/ 0 h 11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7415" h="1194">
                    <a:moveTo>
                      <a:pt x="17416" y="0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11" name="Forma livre: Forma 110">
              <a:extLst>
                <a:ext uri="{FF2B5EF4-FFF2-40B4-BE49-F238E27FC236}">
                  <a16:creationId xmlns:a16="http://schemas.microsoft.com/office/drawing/2014/main" id="{8CC61A88-FD16-4425-7765-92C52EAD3A56}"/>
                </a:ext>
              </a:extLst>
            </p:cNvPr>
            <p:cNvSpPr/>
            <p:nvPr/>
          </p:nvSpPr>
          <p:spPr>
            <a:xfrm>
              <a:off x="1401580" y="2681220"/>
              <a:ext cx="162753" cy="209093"/>
            </a:xfrm>
            <a:custGeom>
              <a:avLst/>
              <a:gdLst>
                <a:gd name="connsiteX0" fmla="*/ 79724 w 162753"/>
                <a:gd name="connsiteY0" fmla="*/ 7975 h 209093"/>
                <a:gd name="connsiteX1" fmla="*/ 20620 w 162753"/>
                <a:gd name="connsiteY1" fmla="*/ 11200 h 209093"/>
                <a:gd name="connsiteX2" fmla="*/ 9248 w 162753"/>
                <a:gd name="connsiteY2" fmla="*/ 85690 h 209093"/>
                <a:gd name="connsiteX3" fmla="*/ 40030 w 162753"/>
                <a:gd name="connsiteY3" fmla="*/ 174549 h 209093"/>
                <a:gd name="connsiteX4" fmla="*/ 61101 w 162753"/>
                <a:gd name="connsiteY4" fmla="*/ 206383 h 209093"/>
                <a:gd name="connsiteX5" fmla="*/ 71458 w 162753"/>
                <a:gd name="connsiteY5" fmla="*/ 209046 h 209093"/>
                <a:gd name="connsiteX6" fmla="*/ 79676 w 162753"/>
                <a:gd name="connsiteY6" fmla="*/ 168254 h 209093"/>
                <a:gd name="connsiteX7" fmla="*/ 95838 w 162753"/>
                <a:gd name="connsiteY7" fmla="*/ 126243 h 209093"/>
                <a:gd name="connsiteX8" fmla="*/ 111999 w 162753"/>
                <a:gd name="connsiteY8" fmla="*/ 168254 h 209093"/>
                <a:gd name="connsiteX9" fmla="*/ 120206 w 162753"/>
                <a:gd name="connsiteY9" fmla="*/ 209046 h 209093"/>
                <a:gd name="connsiteX10" fmla="*/ 130562 w 162753"/>
                <a:gd name="connsiteY10" fmla="*/ 206383 h 209093"/>
                <a:gd name="connsiteX11" fmla="*/ 151621 w 162753"/>
                <a:gd name="connsiteY11" fmla="*/ 174549 h 209093"/>
                <a:gd name="connsiteX12" fmla="*/ 162754 w 162753"/>
                <a:gd name="connsiteY12" fmla="*/ 126124 h 2090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62753" h="209093">
                  <a:moveTo>
                    <a:pt x="79724" y="7975"/>
                  </a:moveTo>
                  <a:cubicBezTo>
                    <a:pt x="60671" y="-3038"/>
                    <a:pt x="39206" y="-3265"/>
                    <a:pt x="20620" y="11200"/>
                  </a:cubicBezTo>
                  <a:cubicBezTo>
                    <a:pt x="-1861" y="28712"/>
                    <a:pt x="-6436" y="61453"/>
                    <a:pt x="9248" y="85690"/>
                  </a:cubicBezTo>
                  <a:cubicBezTo>
                    <a:pt x="9248" y="85690"/>
                    <a:pt x="37151" y="129086"/>
                    <a:pt x="40030" y="174549"/>
                  </a:cubicBezTo>
                  <a:cubicBezTo>
                    <a:pt x="40030" y="174549"/>
                    <a:pt x="39815" y="199060"/>
                    <a:pt x="61101" y="206383"/>
                  </a:cubicBezTo>
                  <a:cubicBezTo>
                    <a:pt x="61101" y="206383"/>
                    <a:pt x="67719" y="209512"/>
                    <a:pt x="71458" y="209046"/>
                  </a:cubicBezTo>
                  <a:cubicBezTo>
                    <a:pt x="78983" y="208115"/>
                    <a:pt x="80417" y="197221"/>
                    <a:pt x="79676" y="168254"/>
                  </a:cubicBezTo>
                  <a:cubicBezTo>
                    <a:pt x="79676" y="168254"/>
                    <a:pt x="78135" y="126243"/>
                    <a:pt x="95838" y="126243"/>
                  </a:cubicBezTo>
                  <a:cubicBezTo>
                    <a:pt x="113540" y="126243"/>
                    <a:pt x="111999" y="168254"/>
                    <a:pt x="111999" y="168254"/>
                  </a:cubicBezTo>
                  <a:cubicBezTo>
                    <a:pt x="111259" y="197221"/>
                    <a:pt x="112668" y="208127"/>
                    <a:pt x="120206" y="209046"/>
                  </a:cubicBezTo>
                  <a:cubicBezTo>
                    <a:pt x="123932" y="209512"/>
                    <a:pt x="130562" y="206383"/>
                    <a:pt x="130562" y="206383"/>
                  </a:cubicBezTo>
                  <a:cubicBezTo>
                    <a:pt x="151848" y="199060"/>
                    <a:pt x="151621" y="174549"/>
                    <a:pt x="151621" y="174549"/>
                  </a:cubicBezTo>
                  <a:cubicBezTo>
                    <a:pt x="152708" y="157372"/>
                    <a:pt x="157367" y="140482"/>
                    <a:pt x="162754" y="126124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2" name="Forma livre: Forma 111">
              <a:extLst>
                <a:ext uri="{FF2B5EF4-FFF2-40B4-BE49-F238E27FC236}">
                  <a16:creationId xmlns:a16="http://schemas.microsoft.com/office/drawing/2014/main" id="{37D15EE2-098D-7D65-06EC-A6FE8CDC1E4A}"/>
                </a:ext>
              </a:extLst>
            </p:cNvPr>
            <p:cNvSpPr/>
            <p:nvPr/>
          </p:nvSpPr>
          <p:spPr>
            <a:xfrm>
              <a:off x="1569220" y="2722593"/>
              <a:ext cx="7167" cy="7167"/>
            </a:xfrm>
            <a:custGeom>
              <a:avLst/>
              <a:gdLst>
                <a:gd name="connsiteX0" fmla="*/ 0 w 7167"/>
                <a:gd name="connsiteY0" fmla="*/ 3584 h 7167"/>
                <a:gd name="connsiteX1" fmla="*/ 3560 w 7167"/>
                <a:gd name="connsiteY1" fmla="*/ 7167 h 7167"/>
                <a:gd name="connsiteX2" fmla="*/ 7167 w 7167"/>
                <a:gd name="connsiteY2" fmla="*/ 3584 h 7167"/>
                <a:gd name="connsiteX3" fmla="*/ 3560 w 7167"/>
                <a:gd name="connsiteY3" fmla="*/ 0 h 7167"/>
                <a:gd name="connsiteX4" fmla="*/ 0 w 7167"/>
                <a:gd name="connsiteY4" fmla="*/ 3584 h 71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67" h="7167">
                  <a:moveTo>
                    <a:pt x="0" y="3584"/>
                  </a:moveTo>
                  <a:cubicBezTo>
                    <a:pt x="0" y="5566"/>
                    <a:pt x="1601" y="7167"/>
                    <a:pt x="3560" y="7167"/>
                  </a:cubicBezTo>
                  <a:cubicBezTo>
                    <a:pt x="5519" y="7167"/>
                    <a:pt x="7167" y="5554"/>
                    <a:pt x="7167" y="3584"/>
                  </a:cubicBezTo>
                  <a:cubicBezTo>
                    <a:pt x="7167" y="1613"/>
                    <a:pt x="5543" y="0"/>
                    <a:pt x="3560" y="0"/>
                  </a:cubicBezTo>
                  <a:cubicBezTo>
                    <a:pt x="1577" y="0"/>
                    <a:pt x="0" y="1601"/>
                    <a:pt x="0" y="3584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3" name="Forma livre: Forma 112">
              <a:extLst>
                <a:ext uri="{FF2B5EF4-FFF2-40B4-BE49-F238E27FC236}">
                  <a16:creationId xmlns:a16="http://schemas.microsoft.com/office/drawing/2014/main" id="{A4468393-B346-7097-C4A7-7E5476F72142}"/>
                </a:ext>
              </a:extLst>
            </p:cNvPr>
            <p:cNvSpPr/>
            <p:nvPr/>
          </p:nvSpPr>
          <p:spPr>
            <a:xfrm>
              <a:off x="1602248" y="2747690"/>
              <a:ext cx="7167" cy="7167"/>
            </a:xfrm>
            <a:custGeom>
              <a:avLst/>
              <a:gdLst>
                <a:gd name="connsiteX0" fmla="*/ 0 w 7167"/>
                <a:gd name="connsiteY0" fmla="*/ 3584 h 7167"/>
                <a:gd name="connsiteX1" fmla="*/ 3560 w 7167"/>
                <a:gd name="connsiteY1" fmla="*/ 7167 h 7167"/>
                <a:gd name="connsiteX2" fmla="*/ 7167 w 7167"/>
                <a:gd name="connsiteY2" fmla="*/ 3584 h 7167"/>
                <a:gd name="connsiteX3" fmla="*/ 3560 w 7167"/>
                <a:gd name="connsiteY3" fmla="*/ 0 h 7167"/>
                <a:gd name="connsiteX4" fmla="*/ 0 w 7167"/>
                <a:gd name="connsiteY4" fmla="*/ 3584 h 71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67" h="7167">
                  <a:moveTo>
                    <a:pt x="0" y="3584"/>
                  </a:moveTo>
                  <a:cubicBezTo>
                    <a:pt x="0" y="5566"/>
                    <a:pt x="1601" y="7167"/>
                    <a:pt x="3560" y="7167"/>
                  </a:cubicBezTo>
                  <a:cubicBezTo>
                    <a:pt x="5519" y="7167"/>
                    <a:pt x="7167" y="5566"/>
                    <a:pt x="7167" y="3584"/>
                  </a:cubicBezTo>
                  <a:cubicBezTo>
                    <a:pt x="7167" y="1601"/>
                    <a:pt x="5543" y="0"/>
                    <a:pt x="3560" y="0"/>
                  </a:cubicBezTo>
                  <a:cubicBezTo>
                    <a:pt x="1577" y="0"/>
                    <a:pt x="0" y="1601"/>
                    <a:pt x="0" y="3584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4" name="Forma livre: Forma 113">
              <a:extLst>
                <a:ext uri="{FF2B5EF4-FFF2-40B4-BE49-F238E27FC236}">
                  <a16:creationId xmlns:a16="http://schemas.microsoft.com/office/drawing/2014/main" id="{16F987A9-62D8-4E22-090B-8408E672F374}"/>
                </a:ext>
              </a:extLst>
            </p:cNvPr>
            <p:cNvSpPr/>
            <p:nvPr/>
          </p:nvSpPr>
          <p:spPr>
            <a:xfrm>
              <a:off x="1506413" y="2592846"/>
              <a:ext cx="197021" cy="197021"/>
            </a:xfrm>
            <a:custGeom>
              <a:avLst/>
              <a:gdLst>
                <a:gd name="connsiteX0" fmla="*/ 21955 w 197021"/>
                <a:gd name="connsiteY0" fmla="*/ 36504 h 197021"/>
                <a:gd name="connsiteX1" fmla="*/ 0 w 197021"/>
                <a:gd name="connsiteY1" fmla="*/ 98511 h 197021"/>
                <a:gd name="connsiteX2" fmla="*/ 98511 w 197021"/>
                <a:gd name="connsiteY2" fmla="*/ 197022 h 197021"/>
                <a:gd name="connsiteX3" fmla="*/ 197022 w 197021"/>
                <a:gd name="connsiteY3" fmla="*/ 98511 h 197021"/>
                <a:gd name="connsiteX4" fmla="*/ 98511 w 197021"/>
                <a:gd name="connsiteY4" fmla="*/ 0 h 197021"/>
                <a:gd name="connsiteX5" fmla="*/ 45081 w 197021"/>
                <a:gd name="connsiteY5" fmla="*/ 15732 h 1970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97021" h="197021">
                  <a:moveTo>
                    <a:pt x="21955" y="36504"/>
                  </a:moveTo>
                  <a:cubicBezTo>
                    <a:pt x="8230" y="53430"/>
                    <a:pt x="0" y="75003"/>
                    <a:pt x="0" y="98511"/>
                  </a:cubicBezTo>
                  <a:cubicBezTo>
                    <a:pt x="0" y="152921"/>
                    <a:pt x="44101" y="197022"/>
                    <a:pt x="98511" y="197022"/>
                  </a:cubicBezTo>
                  <a:cubicBezTo>
                    <a:pt x="152921" y="197022"/>
                    <a:pt x="197022" y="152921"/>
                    <a:pt x="197022" y="98511"/>
                  </a:cubicBezTo>
                  <a:cubicBezTo>
                    <a:pt x="197022" y="44101"/>
                    <a:pt x="152921" y="0"/>
                    <a:pt x="98511" y="0"/>
                  </a:cubicBezTo>
                  <a:cubicBezTo>
                    <a:pt x="78813" y="0"/>
                    <a:pt x="60466" y="5782"/>
                    <a:pt x="45081" y="15732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5" name="Forma livre: Forma 114">
              <a:extLst>
                <a:ext uri="{FF2B5EF4-FFF2-40B4-BE49-F238E27FC236}">
                  <a16:creationId xmlns:a16="http://schemas.microsoft.com/office/drawing/2014/main" id="{75057C72-92AC-531B-0687-4F544055AB2A}"/>
                </a:ext>
              </a:extLst>
            </p:cNvPr>
            <p:cNvSpPr/>
            <p:nvPr/>
          </p:nvSpPr>
          <p:spPr>
            <a:xfrm>
              <a:off x="1542857" y="2656549"/>
              <a:ext cx="31857" cy="31845"/>
            </a:xfrm>
            <a:custGeom>
              <a:avLst/>
              <a:gdLst>
                <a:gd name="connsiteX0" fmla="*/ 15923 w 31857"/>
                <a:gd name="connsiteY0" fmla="*/ 0 h 31845"/>
                <a:gd name="connsiteX1" fmla="*/ 31858 w 31857"/>
                <a:gd name="connsiteY1" fmla="*/ 15923 h 31845"/>
                <a:gd name="connsiteX2" fmla="*/ 15923 w 31857"/>
                <a:gd name="connsiteY2" fmla="*/ 31846 h 31845"/>
                <a:gd name="connsiteX3" fmla="*/ 0 w 31857"/>
                <a:gd name="connsiteY3" fmla="*/ 15923 h 318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1857" h="31845">
                  <a:moveTo>
                    <a:pt x="15923" y="0"/>
                  </a:moveTo>
                  <a:cubicBezTo>
                    <a:pt x="24726" y="0"/>
                    <a:pt x="31858" y="7131"/>
                    <a:pt x="31858" y="15923"/>
                  </a:cubicBezTo>
                  <a:cubicBezTo>
                    <a:pt x="31858" y="24714"/>
                    <a:pt x="24726" y="31846"/>
                    <a:pt x="15923" y="31846"/>
                  </a:cubicBezTo>
                  <a:cubicBezTo>
                    <a:pt x="7119" y="31846"/>
                    <a:pt x="0" y="24714"/>
                    <a:pt x="0" y="15923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6" name="Forma livre: Forma 115">
              <a:extLst>
                <a:ext uri="{FF2B5EF4-FFF2-40B4-BE49-F238E27FC236}">
                  <a16:creationId xmlns:a16="http://schemas.microsoft.com/office/drawing/2014/main" id="{BACADCC4-72FB-05D5-89F5-5AB77D6F1687}"/>
                </a:ext>
              </a:extLst>
            </p:cNvPr>
            <p:cNvSpPr/>
            <p:nvPr/>
          </p:nvSpPr>
          <p:spPr>
            <a:xfrm>
              <a:off x="1625672" y="2699551"/>
              <a:ext cx="31857" cy="31845"/>
            </a:xfrm>
            <a:custGeom>
              <a:avLst/>
              <a:gdLst>
                <a:gd name="connsiteX0" fmla="*/ 15935 w 31857"/>
                <a:gd name="connsiteY0" fmla="*/ 0 h 31845"/>
                <a:gd name="connsiteX1" fmla="*/ 31857 w 31857"/>
                <a:gd name="connsiteY1" fmla="*/ 15923 h 31845"/>
                <a:gd name="connsiteX2" fmla="*/ 15935 w 31857"/>
                <a:gd name="connsiteY2" fmla="*/ 31846 h 31845"/>
                <a:gd name="connsiteX3" fmla="*/ 0 w 31857"/>
                <a:gd name="connsiteY3" fmla="*/ 15923 h 318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1857" h="31845">
                  <a:moveTo>
                    <a:pt x="15935" y="0"/>
                  </a:moveTo>
                  <a:cubicBezTo>
                    <a:pt x="24726" y="0"/>
                    <a:pt x="31857" y="7131"/>
                    <a:pt x="31857" y="15923"/>
                  </a:cubicBezTo>
                  <a:cubicBezTo>
                    <a:pt x="31857" y="24714"/>
                    <a:pt x="24726" y="31846"/>
                    <a:pt x="15935" y="31846"/>
                  </a:cubicBezTo>
                  <a:cubicBezTo>
                    <a:pt x="7143" y="31846"/>
                    <a:pt x="0" y="24714"/>
                    <a:pt x="0" y="15923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17" name="Gráfico 2">
            <a:extLst>
              <a:ext uri="{FF2B5EF4-FFF2-40B4-BE49-F238E27FC236}">
                <a16:creationId xmlns:a16="http://schemas.microsoft.com/office/drawing/2014/main" id="{F41E4E99-26ED-41A5-7915-97BFFCB7ED71}"/>
              </a:ext>
            </a:extLst>
          </p:cNvPr>
          <p:cNvGrpSpPr/>
          <p:nvPr/>
        </p:nvGrpSpPr>
        <p:grpSpPr>
          <a:xfrm>
            <a:off x="811557" y="3148311"/>
            <a:ext cx="238093" cy="259747"/>
            <a:chOff x="811557" y="3148311"/>
            <a:chExt cx="238093" cy="259747"/>
          </a:xfrm>
          <a:noFill/>
        </p:grpSpPr>
        <p:sp>
          <p:nvSpPr>
            <p:cNvPr id="118" name="Forma livre: Forma 117">
              <a:extLst>
                <a:ext uri="{FF2B5EF4-FFF2-40B4-BE49-F238E27FC236}">
                  <a16:creationId xmlns:a16="http://schemas.microsoft.com/office/drawing/2014/main" id="{0EA906DE-FA77-B339-FFDC-66E0D5C4D254}"/>
                </a:ext>
              </a:extLst>
            </p:cNvPr>
            <p:cNvSpPr/>
            <p:nvPr/>
          </p:nvSpPr>
          <p:spPr>
            <a:xfrm>
              <a:off x="811557" y="3148311"/>
              <a:ext cx="238093" cy="259747"/>
            </a:xfrm>
            <a:custGeom>
              <a:avLst/>
              <a:gdLst>
                <a:gd name="connsiteX0" fmla="*/ 142194 w 238093"/>
                <a:gd name="connsiteY0" fmla="*/ 7541 h 259747"/>
                <a:gd name="connsiteX1" fmla="*/ 212479 w 238093"/>
                <a:gd name="connsiteY1" fmla="*/ 13920 h 259747"/>
                <a:gd name="connsiteX2" fmla="*/ 226598 w 238093"/>
                <a:gd name="connsiteY2" fmla="*/ 106446 h 259747"/>
                <a:gd name="connsiteX3" fmla="*/ 188349 w 238093"/>
                <a:gd name="connsiteY3" fmla="*/ 216831 h 259747"/>
                <a:gd name="connsiteX4" fmla="*/ 162178 w 238093"/>
                <a:gd name="connsiteY4" fmla="*/ 256369 h 259747"/>
                <a:gd name="connsiteX5" fmla="*/ 149313 w 238093"/>
                <a:gd name="connsiteY5" fmla="*/ 259690 h 259747"/>
                <a:gd name="connsiteX6" fmla="*/ 139112 w 238093"/>
                <a:gd name="connsiteY6" fmla="*/ 209019 h 259747"/>
                <a:gd name="connsiteX7" fmla="*/ 119044 w 238093"/>
                <a:gd name="connsiteY7" fmla="*/ 156831 h 259747"/>
                <a:gd name="connsiteX8" fmla="*/ 98977 w 238093"/>
                <a:gd name="connsiteY8" fmla="*/ 209019 h 259747"/>
                <a:gd name="connsiteX9" fmla="*/ 88775 w 238093"/>
                <a:gd name="connsiteY9" fmla="*/ 259690 h 259747"/>
                <a:gd name="connsiteX10" fmla="*/ 75911 w 238093"/>
                <a:gd name="connsiteY10" fmla="*/ 256369 h 259747"/>
                <a:gd name="connsiteX11" fmla="*/ 49739 w 238093"/>
                <a:gd name="connsiteY11" fmla="*/ 216831 h 259747"/>
                <a:gd name="connsiteX12" fmla="*/ 11491 w 238093"/>
                <a:gd name="connsiteY12" fmla="*/ 106446 h 259747"/>
                <a:gd name="connsiteX13" fmla="*/ 16699 w 238093"/>
                <a:gd name="connsiteY13" fmla="*/ 22317 h 259747"/>
                <a:gd name="connsiteX14" fmla="*/ 60275 w 238093"/>
                <a:gd name="connsiteY14" fmla="*/ 81995 h 259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38093" h="259747">
                  <a:moveTo>
                    <a:pt x="142194" y="7541"/>
                  </a:moveTo>
                  <a:cubicBezTo>
                    <a:pt x="165128" y="-3747"/>
                    <a:pt x="190810" y="-2946"/>
                    <a:pt x="212479" y="13920"/>
                  </a:cubicBezTo>
                  <a:cubicBezTo>
                    <a:pt x="240406" y="35660"/>
                    <a:pt x="246092" y="76345"/>
                    <a:pt x="226598" y="106446"/>
                  </a:cubicBezTo>
                  <a:cubicBezTo>
                    <a:pt x="226598" y="106446"/>
                    <a:pt x="191933" y="160342"/>
                    <a:pt x="188349" y="216831"/>
                  </a:cubicBezTo>
                  <a:cubicBezTo>
                    <a:pt x="188349" y="216831"/>
                    <a:pt x="188624" y="247267"/>
                    <a:pt x="162178" y="256369"/>
                  </a:cubicBezTo>
                  <a:cubicBezTo>
                    <a:pt x="162178" y="256369"/>
                    <a:pt x="153948" y="260263"/>
                    <a:pt x="149313" y="259690"/>
                  </a:cubicBezTo>
                  <a:cubicBezTo>
                    <a:pt x="139960" y="258531"/>
                    <a:pt x="138192" y="244997"/>
                    <a:pt x="139112" y="209019"/>
                  </a:cubicBezTo>
                  <a:cubicBezTo>
                    <a:pt x="139112" y="209019"/>
                    <a:pt x="141035" y="156831"/>
                    <a:pt x="119044" y="156831"/>
                  </a:cubicBezTo>
                  <a:cubicBezTo>
                    <a:pt x="97053" y="156831"/>
                    <a:pt x="98977" y="209019"/>
                    <a:pt x="98977" y="209019"/>
                  </a:cubicBezTo>
                  <a:cubicBezTo>
                    <a:pt x="99896" y="244997"/>
                    <a:pt x="98140" y="258531"/>
                    <a:pt x="88775" y="259690"/>
                  </a:cubicBezTo>
                  <a:cubicBezTo>
                    <a:pt x="84141" y="260263"/>
                    <a:pt x="75911" y="256369"/>
                    <a:pt x="75911" y="256369"/>
                  </a:cubicBezTo>
                  <a:cubicBezTo>
                    <a:pt x="49476" y="247267"/>
                    <a:pt x="49739" y="216831"/>
                    <a:pt x="49739" y="216831"/>
                  </a:cubicBezTo>
                  <a:cubicBezTo>
                    <a:pt x="46155" y="160342"/>
                    <a:pt x="11491" y="106446"/>
                    <a:pt x="11491" y="106446"/>
                  </a:cubicBezTo>
                  <a:cubicBezTo>
                    <a:pt x="-5710" y="79869"/>
                    <a:pt x="-3297" y="45073"/>
                    <a:pt x="16699" y="22317"/>
                  </a:cubicBezTo>
                  <a:lnTo>
                    <a:pt x="60275" y="81995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9" name="Forma livre: Forma 118">
              <a:extLst>
                <a:ext uri="{FF2B5EF4-FFF2-40B4-BE49-F238E27FC236}">
                  <a16:creationId xmlns:a16="http://schemas.microsoft.com/office/drawing/2014/main" id="{CD7B40D6-EE63-61E4-D2E8-5ECDA8AD1701}"/>
                </a:ext>
              </a:extLst>
            </p:cNvPr>
            <p:cNvSpPr/>
            <p:nvPr/>
          </p:nvSpPr>
          <p:spPr>
            <a:xfrm>
              <a:off x="856554" y="3148381"/>
              <a:ext cx="107648" cy="112205"/>
            </a:xfrm>
            <a:custGeom>
              <a:avLst/>
              <a:gdLst>
                <a:gd name="connsiteX0" fmla="*/ 107649 w 107648"/>
                <a:gd name="connsiteY0" fmla="*/ 35339 h 112205"/>
                <a:gd name="connsiteX1" fmla="*/ 69986 w 107648"/>
                <a:gd name="connsiteY1" fmla="*/ 20240 h 112205"/>
                <a:gd name="connsiteX2" fmla="*/ 0 w 107648"/>
                <a:gd name="connsiteY2" fmla="*/ 3350 h 112205"/>
                <a:gd name="connsiteX3" fmla="*/ 15278 w 107648"/>
                <a:gd name="connsiteY3" fmla="*/ 81937 h 112205"/>
                <a:gd name="connsiteX4" fmla="*/ 39968 w 107648"/>
                <a:gd name="connsiteY4" fmla="*/ 63625 h 112205"/>
                <a:gd name="connsiteX5" fmla="*/ 56691 w 107648"/>
                <a:gd name="connsiteY5" fmla="*/ 112205 h 1122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07648" h="112205">
                  <a:moveTo>
                    <a:pt x="107649" y="35339"/>
                  </a:moveTo>
                  <a:cubicBezTo>
                    <a:pt x="84260" y="31732"/>
                    <a:pt x="69986" y="20240"/>
                    <a:pt x="69986" y="20240"/>
                  </a:cubicBezTo>
                  <a:cubicBezTo>
                    <a:pt x="49118" y="2203"/>
                    <a:pt x="23508" y="-4749"/>
                    <a:pt x="0" y="3350"/>
                  </a:cubicBezTo>
                  <a:lnTo>
                    <a:pt x="15278" y="81937"/>
                  </a:lnTo>
                  <a:lnTo>
                    <a:pt x="39968" y="63625"/>
                  </a:lnTo>
                  <a:lnTo>
                    <a:pt x="56691" y="112205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20" name="Gráfico 2">
            <a:extLst>
              <a:ext uri="{FF2B5EF4-FFF2-40B4-BE49-F238E27FC236}">
                <a16:creationId xmlns:a16="http://schemas.microsoft.com/office/drawing/2014/main" id="{09FBC730-2152-FE5F-18F2-18B3C72599CF}"/>
              </a:ext>
            </a:extLst>
          </p:cNvPr>
          <p:cNvGrpSpPr/>
          <p:nvPr/>
        </p:nvGrpSpPr>
        <p:grpSpPr>
          <a:xfrm>
            <a:off x="1992753" y="3153556"/>
            <a:ext cx="363291" cy="249260"/>
            <a:chOff x="1992753" y="3153556"/>
            <a:chExt cx="363291" cy="249260"/>
          </a:xfrm>
          <a:noFill/>
        </p:grpSpPr>
        <p:sp>
          <p:nvSpPr>
            <p:cNvPr id="121" name="Forma livre: Forma 120">
              <a:extLst>
                <a:ext uri="{FF2B5EF4-FFF2-40B4-BE49-F238E27FC236}">
                  <a16:creationId xmlns:a16="http://schemas.microsoft.com/office/drawing/2014/main" id="{17A0933D-1057-7D8D-ED83-FD1C111CA26D}"/>
                </a:ext>
              </a:extLst>
            </p:cNvPr>
            <p:cNvSpPr/>
            <p:nvPr/>
          </p:nvSpPr>
          <p:spPr>
            <a:xfrm>
              <a:off x="1992753" y="3153556"/>
              <a:ext cx="363291" cy="208540"/>
            </a:xfrm>
            <a:custGeom>
              <a:avLst/>
              <a:gdLst>
                <a:gd name="connsiteX0" fmla="*/ 130097 w 363291"/>
                <a:gd name="connsiteY0" fmla="*/ 105896 h 208540"/>
                <a:gd name="connsiteX1" fmla="*/ 277773 w 363291"/>
                <a:gd name="connsiteY1" fmla="*/ 105896 h 208540"/>
                <a:gd name="connsiteX2" fmla="*/ 289862 w 363291"/>
                <a:gd name="connsiteY2" fmla="*/ 110913 h 208540"/>
                <a:gd name="connsiteX3" fmla="*/ 358283 w 363291"/>
                <a:gd name="connsiteY3" fmla="*/ 179334 h 208540"/>
                <a:gd name="connsiteX4" fmla="*/ 358283 w 363291"/>
                <a:gd name="connsiteY4" fmla="*/ 203523 h 208540"/>
                <a:gd name="connsiteX5" fmla="*/ 346195 w 363291"/>
                <a:gd name="connsiteY5" fmla="*/ 208540 h 208540"/>
                <a:gd name="connsiteX6" fmla="*/ 334094 w 363291"/>
                <a:gd name="connsiteY6" fmla="*/ 203523 h 208540"/>
                <a:gd name="connsiteX7" fmla="*/ 270678 w 363291"/>
                <a:gd name="connsiteY7" fmla="*/ 140107 h 208540"/>
                <a:gd name="connsiteX8" fmla="*/ 123001 w 363291"/>
                <a:gd name="connsiteY8" fmla="*/ 140107 h 208540"/>
                <a:gd name="connsiteX9" fmla="*/ 110901 w 363291"/>
                <a:gd name="connsiteY9" fmla="*/ 135090 h 208540"/>
                <a:gd name="connsiteX10" fmla="*/ 5008 w 363291"/>
                <a:gd name="connsiteY10" fmla="*/ 29197 h 208540"/>
                <a:gd name="connsiteX11" fmla="*/ 5008 w 363291"/>
                <a:gd name="connsiteY11" fmla="*/ 5008 h 208540"/>
                <a:gd name="connsiteX12" fmla="*/ 29197 w 363291"/>
                <a:gd name="connsiteY12" fmla="*/ 5008 h 208540"/>
                <a:gd name="connsiteX13" fmla="*/ 130073 w 363291"/>
                <a:gd name="connsiteY13" fmla="*/ 105884 h 2085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63291" h="208540">
                  <a:moveTo>
                    <a:pt x="130097" y="105896"/>
                  </a:moveTo>
                  <a:lnTo>
                    <a:pt x="277773" y="105896"/>
                  </a:lnTo>
                  <a:cubicBezTo>
                    <a:pt x="282313" y="105896"/>
                    <a:pt x="286661" y="107700"/>
                    <a:pt x="289862" y="110913"/>
                  </a:cubicBezTo>
                  <a:lnTo>
                    <a:pt x="358283" y="179334"/>
                  </a:lnTo>
                  <a:cubicBezTo>
                    <a:pt x="364960" y="186011"/>
                    <a:pt x="364960" y="196846"/>
                    <a:pt x="358283" y="203523"/>
                  </a:cubicBezTo>
                  <a:cubicBezTo>
                    <a:pt x="354939" y="206856"/>
                    <a:pt x="350567" y="208540"/>
                    <a:pt x="346195" y="208540"/>
                  </a:cubicBezTo>
                  <a:cubicBezTo>
                    <a:pt x="341823" y="208540"/>
                    <a:pt x="337439" y="206868"/>
                    <a:pt x="334094" y="203523"/>
                  </a:cubicBezTo>
                  <a:lnTo>
                    <a:pt x="270678" y="140107"/>
                  </a:lnTo>
                  <a:lnTo>
                    <a:pt x="123001" y="140107"/>
                  </a:lnTo>
                  <a:cubicBezTo>
                    <a:pt x="118462" y="140107"/>
                    <a:pt x="114114" y="138303"/>
                    <a:pt x="110901" y="135090"/>
                  </a:cubicBezTo>
                  <a:lnTo>
                    <a:pt x="5008" y="29197"/>
                  </a:lnTo>
                  <a:cubicBezTo>
                    <a:pt x="-1669" y="22519"/>
                    <a:pt x="-1669" y="11685"/>
                    <a:pt x="5008" y="5008"/>
                  </a:cubicBezTo>
                  <a:cubicBezTo>
                    <a:pt x="11685" y="-1669"/>
                    <a:pt x="22519" y="-1669"/>
                    <a:pt x="29197" y="5008"/>
                  </a:cubicBezTo>
                  <a:lnTo>
                    <a:pt x="130073" y="105884"/>
                  </a:ln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2" name="Forma livre: Forma 121">
              <a:extLst>
                <a:ext uri="{FF2B5EF4-FFF2-40B4-BE49-F238E27FC236}">
                  <a16:creationId xmlns:a16="http://schemas.microsoft.com/office/drawing/2014/main" id="{D831E31A-DF9D-9518-41F9-92EF2692D15B}"/>
                </a:ext>
              </a:extLst>
            </p:cNvPr>
            <p:cNvSpPr/>
            <p:nvPr/>
          </p:nvSpPr>
          <p:spPr>
            <a:xfrm>
              <a:off x="2142284" y="3214479"/>
              <a:ext cx="91224" cy="22970"/>
            </a:xfrm>
            <a:custGeom>
              <a:avLst/>
              <a:gdLst>
                <a:gd name="connsiteX0" fmla="*/ 91224 w 91224"/>
                <a:gd name="connsiteY0" fmla="*/ 22970 h 22970"/>
                <a:gd name="connsiteX1" fmla="*/ 91224 w 91224"/>
                <a:gd name="connsiteY1" fmla="*/ 0 h 22970"/>
                <a:gd name="connsiteX2" fmla="*/ 0 w 91224"/>
                <a:gd name="connsiteY2" fmla="*/ 0 h 22970"/>
                <a:gd name="connsiteX3" fmla="*/ 0 w 91224"/>
                <a:gd name="connsiteY3" fmla="*/ 22970 h 229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1224" h="22970">
                  <a:moveTo>
                    <a:pt x="91224" y="22970"/>
                  </a:moveTo>
                  <a:lnTo>
                    <a:pt x="91224" y="0"/>
                  </a:lnTo>
                  <a:lnTo>
                    <a:pt x="0" y="0"/>
                  </a:lnTo>
                  <a:lnTo>
                    <a:pt x="0" y="2297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3" name="Forma livre: Forma 122">
              <a:extLst>
                <a:ext uri="{FF2B5EF4-FFF2-40B4-BE49-F238E27FC236}">
                  <a16:creationId xmlns:a16="http://schemas.microsoft.com/office/drawing/2014/main" id="{404D376A-0BED-A25E-6746-70637FFD61C4}"/>
                </a:ext>
              </a:extLst>
            </p:cNvPr>
            <p:cNvSpPr/>
            <p:nvPr/>
          </p:nvSpPr>
          <p:spPr>
            <a:xfrm>
              <a:off x="2178692" y="3170808"/>
              <a:ext cx="27521" cy="42142"/>
            </a:xfrm>
            <a:custGeom>
              <a:avLst/>
              <a:gdLst>
                <a:gd name="connsiteX0" fmla="*/ 0 w 27521"/>
                <a:gd name="connsiteY0" fmla="*/ 13390 h 42142"/>
                <a:gd name="connsiteX1" fmla="*/ 13390 w 27521"/>
                <a:gd name="connsiteY1" fmla="*/ 0 h 42142"/>
                <a:gd name="connsiteX2" fmla="*/ 14131 w 27521"/>
                <a:gd name="connsiteY2" fmla="*/ 0 h 42142"/>
                <a:gd name="connsiteX3" fmla="*/ 27521 w 27521"/>
                <a:gd name="connsiteY3" fmla="*/ 13390 h 42142"/>
                <a:gd name="connsiteX4" fmla="*/ 27521 w 27521"/>
                <a:gd name="connsiteY4" fmla="*/ 42142 h 421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7521" h="42142">
                  <a:moveTo>
                    <a:pt x="0" y="13390"/>
                  </a:moveTo>
                  <a:cubicBezTo>
                    <a:pt x="0" y="6020"/>
                    <a:pt x="6020" y="0"/>
                    <a:pt x="13390" y="0"/>
                  </a:cubicBezTo>
                  <a:lnTo>
                    <a:pt x="14131" y="0"/>
                  </a:lnTo>
                  <a:cubicBezTo>
                    <a:pt x="21501" y="0"/>
                    <a:pt x="27521" y="6020"/>
                    <a:pt x="27521" y="13390"/>
                  </a:cubicBezTo>
                  <a:lnTo>
                    <a:pt x="27521" y="42142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4" name="Forma livre: Forma 123">
              <a:extLst>
                <a:ext uri="{FF2B5EF4-FFF2-40B4-BE49-F238E27FC236}">
                  <a16:creationId xmlns:a16="http://schemas.microsoft.com/office/drawing/2014/main" id="{7AAE3152-7936-B0C7-6BF3-1C2127220306}"/>
                </a:ext>
              </a:extLst>
            </p:cNvPr>
            <p:cNvSpPr/>
            <p:nvPr/>
          </p:nvSpPr>
          <p:spPr>
            <a:xfrm>
              <a:off x="2116829" y="3295287"/>
              <a:ext cx="135385" cy="46991"/>
            </a:xfrm>
            <a:custGeom>
              <a:avLst/>
              <a:gdLst>
                <a:gd name="connsiteX0" fmla="*/ 0 w 135385"/>
                <a:gd name="connsiteY0" fmla="*/ 17762 h 46991"/>
                <a:gd name="connsiteX1" fmla="*/ 4838 w 135385"/>
                <a:gd name="connsiteY1" fmla="*/ 46992 h 46991"/>
                <a:gd name="connsiteX2" fmla="*/ 120729 w 135385"/>
                <a:gd name="connsiteY2" fmla="*/ 24440 h 46991"/>
                <a:gd name="connsiteX3" fmla="*/ 135385 w 135385"/>
                <a:gd name="connsiteY3" fmla="*/ 0 h 469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5385" h="46991">
                  <a:moveTo>
                    <a:pt x="0" y="17762"/>
                  </a:moveTo>
                  <a:lnTo>
                    <a:pt x="4838" y="46992"/>
                  </a:lnTo>
                  <a:lnTo>
                    <a:pt x="120729" y="24440"/>
                  </a:lnTo>
                  <a:cubicBezTo>
                    <a:pt x="120729" y="24440"/>
                    <a:pt x="135385" y="21991"/>
                    <a:pt x="135385" y="0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25" name="Gráfico 2">
              <a:extLst>
                <a:ext uri="{FF2B5EF4-FFF2-40B4-BE49-F238E27FC236}">
                  <a16:creationId xmlns:a16="http://schemas.microsoft.com/office/drawing/2014/main" id="{0E72B7B5-C1B1-1B91-325A-965E4DD40379}"/>
                </a:ext>
              </a:extLst>
            </p:cNvPr>
            <p:cNvGrpSpPr/>
            <p:nvPr/>
          </p:nvGrpSpPr>
          <p:grpSpPr>
            <a:xfrm>
              <a:off x="2057928" y="3333296"/>
              <a:ext cx="229177" cy="69520"/>
              <a:chOff x="2057928" y="3333296"/>
              <a:chExt cx="229177" cy="69520"/>
            </a:xfrm>
            <a:noFill/>
          </p:grpSpPr>
          <p:sp>
            <p:nvSpPr>
              <p:cNvPr id="126" name="Forma livre: Forma 125">
                <a:extLst>
                  <a:ext uri="{FF2B5EF4-FFF2-40B4-BE49-F238E27FC236}">
                    <a16:creationId xmlns:a16="http://schemas.microsoft.com/office/drawing/2014/main" id="{FE327132-E320-A6AD-4BE0-27EB360829E6}"/>
                  </a:ext>
                </a:extLst>
              </p:cNvPr>
              <p:cNvSpPr/>
              <p:nvPr/>
            </p:nvSpPr>
            <p:spPr>
              <a:xfrm>
                <a:off x="2057928" y="3353579"/>
                <a:ext cx="229177" cy="49225"/>
              </a:xfrm>
              <a:custGeom>
                <a:avLst/>
                <a:gdLst>
                  <a:gd name="connsiteX0" fmla="*/ 172045 w 229177"/>
                  <a:gd name="connsiteY0" fmla="*/ 0 h 49225"/>
                  <a:gd name="connsiteX1" fmla="*/ 208346 w 229177"/>
                  <a:gd name="connsiteY1" fmla="*/ 14884 h 49225"/>
                  <a:gd name="connsiteX2" fmla="*/ 229178 w 229177"/>
                  <a:gd name="connsiteY2" fmla="*/ 49226 h 49225"/>
                  <a:gd name="connsiteX3" fmla="*/ 0 w 229177"/>
                  <a:gd name="connsiteY3" fmla="*/ 49226 h 492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29177" h="49225">
                    <a:moveTo>
                      <a:pt x="172045" y="0"/>
                    </a:moveTo>
                    <a:lnTo>
                      <a:pt x="208346" y="14884"/>
                    </a:lnTo>
                    <a:cubicBezTo>
                      <a:pt x="208346" y="14884"/>
                      <a:pt x="229178" y="23926"/>
                      <a:pt x="229178" y="49226"/>
                    </a:cubicBezTo>
                    <a:lnTo>
                      <a:pt x="0" y="49226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7" name="Forma livre: Forma 126">
                <a:extLst>
                  <a:ext uri="{FF2B5EF4-FFF2-40B4-BE49-F238E27FC236}">
                    <a16:creationId xmlns:a16="http://schemas.microsoft.com/office/drawing/2014/main" id="{D464D775-BB90-18C7-158F-316E199348B8}"/>
                  </a:ext>
                </a:extLst>
              </p:cNvPr>
              <p:cNvSpPr/>
              <p:nvPr/>
            </p:nvSpPr>
            <p:spPr>
              <a:xfrm>
                <a:off x="2168097" y="3333296"/>
                <a:ext cx="55245" cy="24857"/>
              </a:xfrm>
              <a:custGeom>
                <a:avLst/>
                <a:gdLst>
                  <a:gd name="connsiteX0" fmla="*/ 0 w 55245"/>
                  <a:gd name="connsiteY0" fmla="*/ 0 h 24857"/>
                  <a:gd name="connsiteX1" fmla="*/ 55246 w 55245"/>
                  <a:gd name="connsiteY1" fmla="*/ 24858 h 248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5245" h="24857">
                    <a:moveTo>
                      <a:pt x="0" y="0"/>
                    </a:moveTo>
                    <a:lnTo>
                      <a:pt x="55246" y="24858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8" name="Forma livre: Forma 127">
                <a:extLst>
                  <a:ext uri="{FF2B5EF4-FFF2-40B4-BE49-F238E27FC236}">
                    <a16:creationId xmlns:a16="http://schemas.microsoft.com/office/drawing/2014/main" id="{9953D3F8-60E2-7436-0497-10434392039E}"/>
                  </a:ext>
                </a:extLst>
              </p:cNvPr>
              <p:cNvSpPr/>
              <p:nvPr/>
            </p:nvSpPr>
            <p:spPr>
              <a:xfrm>
                <a:off x="2121655" y="3342279"/>
                <a:ext cx="65136" cy="43384"/>
              </a:xfrm>
              <a:custGeom>
                <a:avLst/>
                <a:gdLst>
                  <a:gd name="connsiteX0" fmla="*/ 0 w 65136"/>
                  <a:gd name="connsiteY0" fmla="*/ 0 h 43384"/>
                  <a:gd name="connsiteX1" fmla="*/ 65136 w 65136"/>
                  <a:gd name="connsiteY1" fmla="*/ 43385 h 433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5136" h="43384">
                    <a:moveTo>
                      <a:pt x="0" y="0"/>
                    </a:moveTo>
                    <a:lnTo>
                      <a:pt x="65136" y="43385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9" name="Forma livre: Forma 128">
                <a:extLst>
                  <a:ext uri="{FF2B5EF4-FFF2-40B4-BE49-F238E27FC236}">
                    <a16:creationId xmlns:a16="http://schemas.microsoft.com/office/drawing/2014/main" id="{82990DE7-4CFF-2545-F0F0-FC600F37B814}"/>
                  </a:ext>
                </a:extLst>
              </p:cNvPr>
              <p:cNvSpPr/>
              <p:nvPr/>
            </p:nvSpPr>
            <p:spPr>
              <a:xfrm>
                <a:off x="2167512" y="3353579"/>
                <a:ext cx="62460" cy="49237"/>
              </a:xfrm>
              <a:custGeom>
                <a:avLst/>
                <a:gdLst>
                  <a:gd name="connsiteX0" fmla="*/ 62461 w 62460"/>
                  <a:gd name="connsiteY0" fmla="*/ 0 h 49237"/>
                  <a:gd name="connsiteX1" fmla="*/ 0 w 62460"/>
                  <a:gd name="connsiteY1" fmla="*/ 49238 h 492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2460" h="49237">
                    <a:moveTo>
                      <a:pt x="62461" y="0"/>
                    </a:moveTo>
                    <a:lnTo>
                      <a:pt x="0" y="49238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30" name="Gráfico 2">
            <a:extLst>
              <a:ext uri="{FF2B5EF4-FFF2-40B4-BE49-F238E27FC236}">
                <a16:creationId xmlns:a16="http://schemas.microsoft.com/office/drawing/2014/main" id="{EA02572C-7DF2-37D3-3E54-EE4A9655AED1}"/>
              </a:ext>
            </a:extLst>
          </p:cNvPr>
          <p:cNvGrpSpPr/>
          <p:nvPr/>
        </p:nvGrpSpPr>
        <p:grpSpPr>
          <a:xfrm>
            <a:off x="1403026" y="3139404"/>
            <a:ext cx="298951" cy="277566"/>
            <a:chOff x="1403026" y="3139404"/>
            <a:chExt cx="298951" cy="277566"/>
          </a:xfrm>
          <a:noFill/>
        </p:grpSpPr>
        <p:sp>
          <p:nvSpPr>
            <p:cNvPr id="131" name="Forma livre: Forma 130">
              <a:extLst>
                <a:ext uri="{FF2B5EF4-FFF2-40B4-BE49-F238E27FC236}">
                  <a16:creationId xmlns:a16="http://schemas.microsoft.com/office/drawing/2014/main" id="{27460E6E-9D55-101A-FA17-B0C5AEE4F1EE}"/>
                </a:ext>
              </a:extLst>
            </p:cNvPr>
            <p:cNvSpPr/>
            <p:nvPr/>
          </p:nvSpPr>
          <p:spPr>
            <a:xfrm>
              <a:off x="1403026" y="3207877"/>
              <a:ext cx="162753" cy="209093"/>
            </a:xfrm>
            <a:custGeom>
              <a:avLst/>
              <a:gdLst>
                <a:gd name="connsiteX0" fmla="*/ 79724 w 162753"/>
                <a:gd name="connsiteY0" fmla="*/ 7975 h 209093"/>
                <a:gd name="connsiteX1" fmla="*/ 20620 w 162753"/>
                <a:gd name="connsiteY1" fmla="*/ 11200 h 209093"/>
                <a:gd name="connsiteX2" fmla="*/ 9248 w 162753"/>
                <a:gd name="connsiteY2" fmla="*/ 85678 h 209093"/>
                <a:gd name="connsiteX3" fmla="*/ 40030 w 162753"/>
                <a:gd name="connsiteY3" fmla="*/ 174549 h 209093"/>
                <a:gd name="connsiteX4" fmla="*/ 61101 w 162753"/>
                <a:gd name="connsiteY4" fmla="*/ 206383 h 209093"/>
                <a:gd name="connsiteX5" fmla="*/ 71458 w 162753"/>
                <a:gd name="connsiteY5" fmla="*/ 209046 h 209093"/>
                <a:gd name="connsiteX6" fmla="*/ 79676 w 162753"/>
                <a:gd name="connsiteY6" fmla="*/ 168242 h 209093"/>
                <a:gd name="connsiteX7" fmla="*/ 95838 w 162753"/>
                <a:gd name="connsiteY7" fmla="*/ 126243 h 209093"/>
                <a:gd name="connsiteX8" fmla="*/ 111999 w 162753"/>
                <a:gd name="connsiteY8" fmla="*/ 168242 h 209093"/>
                <a:gd name="connsiteX9" fmla="*/ 120205 w 162753"/>
                <a:gd name="connsiteY9" fmla="*/ 209046 h 209093"/>
                <a:gd name="connsiteX10" fmla="*/ 130562 w 162753"/>
                <a:gd name="connsiteY10" fmla="*/ 206383 h 209093"/>
                <a:gd name="connsiteX11" fmla="*/ 151621 w 162753"/>
                <a:gd name="connsiteY11" fmla="*/ 174549 h 209093"/>
                <a:gd name="connsiteX12" fmla="*/ 162754 w 162753"/>
                <a:gd name="connsiteY12" fmla="*/ 126124 h 2090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62753" h="209093">
                  <a:moveTo>
                    <a:pt x="79724" y="7975"/>
                  </a:moveTo>
                  <a:cubicBezTo>
                    <a:pt x="60671" y="-3038"/>
                    <a:pt x="39206" y="-3265"/>
                    <a:pt x="20620" y="11200"/>
                  </a:cubicBezTo>
                  <a:cubicBezTo>
                    <a:pt x="-1861" y="28700"/>
                    <a:pt x="-6436" y="61453"/>
                    <a:pt x="9248" y="85678"/>
                  </a:cubicBezTo>
                  <a:cubicBezTo>
                    <a:pt x="9248" y="85678"/>
                    <a:pt x="37152" y="129074"/>
                    <a:pt x="40030" y="174549"/>
                  </a:cubicBezTo>
                  <a:cubicBezTo>
                    <a:pt x="40030" y="174549"/>
                    <a:pt x="39815" y="199060"/>
                    <a:pt x="61101" y="206383"/>
                  </a:cubicBezTo>
                  <a:cubicBezTo>
                    <a:pt x="61101" y="206383"/>
                    <a:pt x="67731" y="209512"/>
                    <a:pt x="71458" y="209046"/>
                  </a:cubicBezTo>
                  <a:cubicBezTo>
                    <a:pt x="78983" y="208115"/>
                    <a:pt x="80405" y="197221"/>
                    <a:pt x="79676" y="168242"/>
                  </a:cubicBezTo>
                  <a:cubicBezTo>
                    <a:pt x="79676" y="168242"/>
                    <a:pt x="78135" y="126243"/>
                    <a:pt x="95838" y="126243"/>
                  </a:cubicBezTo>
                  <a:cubicBezTo>
                    <a:pt x="113540" y="126243"/>
                    <a:pt x="111999" y="168242"/>
                    <a:pt x="111999" y="168242"/>
                  </a:cubicBezTo>
                  <a:cubicBezTo>
                    <a:pt x="111259" y="197209"/>
                    <a:pt x="112680" y="208115"/>
                    <a:pt x="120205" y="209046"/>
                  </a:cubicBezTo>
                  <a:cubicBezTo>
                    <a:pt x="123932" y="209500"/>
                    <a:pt x="130562" y="206383"/>
                    <a:pt x="130562" y="206383"/>
                  </a:cubicBezTo>
                  <a:cubicBezTo>
                    <a:pt x="151848" y="199060"/>
                    <a:pt x="151621" y="174549"/>
                    <a:pt x="151621" y="174549"/>
                  </a:cubicBezTo>
                  <a:cubicBezTo>
                    <a:pt x="152708" y="157360"/>
                    <a:pt x="157367" y="140482"/>
                    <a:pt x="162754" y="126124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32" name="Forma livre: Forma 131">
              <a:extLst>
                <a:ext uri="{FF2B5EF4-FFF2-40B4-BE49-F238E27FC236}">
                  <a16:creationId xmlns:a16="http://schemas.microsoft.com/office/drawing/2014/main" id="{042FCA44-8E04-5BC6-E48F-1F6572083DCC}"/>
                </a:ext>
              </a:extLst>
            </p:cNvPr>
            <p:cNvSpPr/>
            <p:nvPr/>
          </p:nvSpPr>
          <p:spPr>
            <a:xfrm>
              <a:off x="1582144" y="3154407"/>
              <a:ext cx="68648" cy="1194"/>
            </a:xfrm>
            <a:custGeom>
              <a:avLst/>
              <a:gdLst>
                <a:gd name="connsiteX0" fmla="*/ 0 w 68648"/>
                <a:gd name="connsiteY0" fmla="*/ 0 h 1194"/>
                <a:gd name="connsiteX1" fmla="*/ 68648 w 68648"/>
                <a:gd name="connsiteY1" fmla="*/ 0 h 11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8648" h="1194">
                  <a:moveTo>
                    <a:pt x="0" y="0"/>
                  </a:moveTo>
                  <a:lnTo>
                    <a:pt x="68648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33" name="Forma livre: Forma 132">
              <a:extLst>
                <a:ext uri="{FF2B5EF4-FFF2-40B4-BE49-F238E27FC236}">
                  <a16:creationId xmlns:a16="http://schemas.microsoft.com/office/drawing/2014/main" id="{1740E0D5-1DC0-41E1-132B-3CCCD34B0F45}"/>
                </a:ext>
              </a:extLst>
            </p:cNvPr>
            <p:cNvSpPr/>
            <p:nvPr/>
          </p:nvSpPr>
          <p:spPr>
            <a:xfrm>
              <a:off x="1510856" y="3154407"/>
              <a:ext cx="191120" cy="152896"/>
            </a:xfrm>
            <a:custGeom>
              <a:avLst/>
              <a:gdLst>
                <a:gd name="connsiteX0" fmla="*/ 160876 w 191120"/>
                <a:gd name="connsiteY0" fmla="*/ 0 h 152896"/>
                <a:gd name="connsiteX1" fmla="*/ 191121 w 191120"/>
                <a:gd name="connsiteY1" fmla="*/ 0 h 152896"/>
                <a:gd name="connsiteX2" fmla="*/ 191121 w 191120"/>
                <a:gd name="connsiteY2" fmla="*/ 152897 h 152896"/>
                <a:gd name="connsiteX3" fmla="*/ 0 w 191120"/>
                <a:gd name="connsiteY3" fmla="*/ 152897 h 152896"/>
                <a:gd name="connsiteX4" fmla="*/ 0 w 191120"/>
                <a:gd name="connsiteY4" fmla="*/ 0 h 152896"/>
                <a:gd name="connsiteX5" fmla="*/ 49524 w 191120"/>
                <a:gd name="connsiteY5" fmla="*/ 0 h 1528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91120" h="152896">
                  <a:moveTo>
                    <a:pt x="160876" y="0"/>
                  </a:moveTo>
                  <a:lnTo>
                    <a:pt x="191121" y="0"/>
                  </a:lnTo>
                  <a:lnTo>
                    <a:pt x="191121" y="152897"/>
                  </a:lnTo>
                  <a:lnTo>
                    <a:pt x="0" y="152897"/>
                  </a:lnTo>
                  <a:lnTo>
                    <a:pt x="0" y="0"/>
                  </a:lnTo>
                  <a:lnTo>
                    <a:pt x="49524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34" name="Gráfico 2">
              <a:extLst>
                <a:ext uri="{FF2B5EF4-FFF2-40B4-BE49-F238E27FC236}">
                  <a16:creationId xmlns:a16="http://schemas.microsoft.com/office/drawing/2014/main" id="{0AACFB7B-D14C-E27B-E4EB-43E38F119C54}"/>
                </a:ext>
              </a:extLst>
            </p:cNvPr>
            <p:cNvGrpSpPr/>
            <p:nvPr/>
          </p:nvGrpSpPr>
          <p:grpSpPr>
            <a:xfrm>
              <a:off x="1561623" y="3139404"/>
              <a:ext cx="89587" cy="29062"/>
              <a:chOff x="1561623" y="3139404"/>
              <a:chExt cx="89587" cy="29062"/>
            </a:xfrm>
          </p:grpSpPr>
          <p:sp>
            <p:nvSpPr>
              <p:cNvPr id="135" name="Forma livre: Forma 134">
                <a:extLst>
                  <a:ext uri="{FF2B5EF4-FFF2-40B4-BE49-F238E27FC236}">
                    <a16:creationId xmlns:a16="http://schemas.microsoft.com/office/drawing/2014/main" id="{4C01190F-73BB-C13D-C47C-ACA31282AB11}"/>
                  </a:ext>
                </a:extLst>
              </p:cNvPr>
              <p:cNvSpPr/>
              <p:nvPr/>
            </p:nvSpPr>
            <p:spPr>
              <a:xfrm>
                <a:off x="1561623" y="3139404"/>
                <a:ext cx="1194" cy="29062"/>
              </a:xfrm>
              <a:custGeom>
                <a:avLst/>
                <a:gdLst>
                  <a:gd name="connsiteX0" fmla="*/ 0 w 1194"/>
                  <a:gd name="connsiteY0" fmla="*/ 0 h 29062"/>
                  <a:gd name="connsiteX1" fmla="*/ 0 w 1194"/>
                  <a:gd name="connsiteY1" fmla="*/ 29062 h 290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4" h="29062">
                    <a:moveTo>
                      <a:pt x="0" y="0"/>
                    </a:moveTo>
                    <a:lnTo>
                      <a:pt x="0" y="29062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36" name="Forma livre: Forma 135">
                <a:extLst>
                  <a:ext uri="{FF2B5EF4-FFF2-40B4-BE49-F238E27FC236}">
                    <a16:creationId xmlns:a16="http://schemas.microsoft.com/office/drawing/2014/main" id="{A4D45F71-6966-F6E5-0E8F-E3D4C88941F9}"/>
                  </a:ext>
                </a:extLst>
              </p:cNvPr>
              <p:cNvSpPr/>
              <p:nvPr/>
            </p:nvSpPr>
            <p:spPr>
              <a:xfrm>
                <a:off x="1651211" y="3139404"/>
                <a:ext cx="1194" cy="29062"/>
              </a:xfrm>
              <a:custGeom>
                <a:avLst/>
                <a:gdLst>
                  <a:gd name="connsiteX0" fmla="*/ 0 w 1194"/>
                  <a:gd name="connsiteY0" fmla="*/ 0 h 29062"/>
                  <a:gd name="connsiteX1" fmla="*/ 0 w 1194"/>
                  <a:gd name="connsiteY1" fmla="*/ 29062 h 290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4" h="29062">
                    <a:moveTo>
                      <a:pt x="0" y="0"/>
                    </a:moveTo>
                    <a:lnTo>
                      <a:pt x="0" y="29062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37" name="Forma livre: Forma 136">
              <a:extLst>
                <a:ext uri="{FF2B5EF4-FFF2-40B4-BE49-F238E27FC236}">
                  <a16:creationId xmlns:a16="http://schemas.microsoft.com/office/drawing/2014/main" id="{5B3A738D-AB58-E4FA-6D45-4058C1B25B0C}"/>
                </a:ext>
              </a:extLst>
            </p:cNvPr>
            <p:cNvSpPr/>
            <p:nvPr/>
          </p:nvSpPr>
          <p:spPr>
            <a:xfrm>
              <a:off x="1534149" y="3188558"/>
              <a:ext cx="144535" cy="1194"/>
            </a:xfrm>
            <a:custGeom>
              <a:avLst/>
              <a:gdLst>
                <a:gd name="connsiteX0" fmla="*/ 0 w 144535"/>
                <a:gd name="connsiteY0" fmla="*/ 0 h 1194"/>
                <a:gd name="connsiteX1" fmla="*/ 144535 w 144535"/>
                <a:gd name="connsiteY1" fmla="*/ 0 h 11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44535" h="1194">
                  <a:moveTo>
                    <a:pt x="0" y="0"/>
                  </a:moveTo>
                  <a:lnTo>
                    <a:pt x="144535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38" name="Gráfico 2">
              <a:extLst>
                <a:ext uri="{FF2B5EF4-FFF2-40B4-BE49-F238E27FC236}">
                  <a16:creationId xmlns:a16="http://schemas.microsoft.com/office/drawing/2014/main" id="{962076D9-E690-B63A-F161-290A93787CCD}"/>
                </a:ext>
              </a:extLst>
            </p:cNvPr>
            <p:cNvGrpSpPr/>
            <p:nvPr/>
          </p:nvGrpSpPr>
          <p:grpSpPr>
            <a:xfrm>
              <a:off x="1551469" y="3210967"/>
              <a:ext cx="109906" cy="74059"/>
              <a:chOff x="1551469" y="3210967"/>
              <a:chExt cx="109906" cy="74059"/>
            </a:xfrm>
          </p:grpSpPr>
          <p:grpSp>
            <p:nvGrpSpPr>
              <p:cNvPr id="139" name="Gráfico 2">
                <a:extLst>
                  <a:ext uri="{FF2B5EF4-FFF2-40B4-BE49-F238E27FC236}">
                    <a16:creationId xmlns:a16="http://schemas.microsoft.com/office/drawing/2014/main" id="{D94AFED8-37EA-ED88-B38C-98ED041FB1FF}"/>
                  </a:ext>
                </a:extLst>
              </p:cNvPr>
              <p:cNvGrpSpPr/>
              <p:nvPr/>
            </p:nvGrpSpPr>
            <p:grpSpPr>
              <a:xfrm>
                <a:off x="1572290" y="3210967"/>
                <a:ext cx="68266" cy="74059"/>
                <a:chOff x="1572290" y="3210967"/>
                <a:chExt cx="68266" cy="74059"/>
              </a:xfrm>
            </p:grpSpPr>
            <p:sp>
              <p:nvSpPr>
                <p:cNvPr id="140" name="Forma livre: Forma 139">
                  <a:extLst>
                    <a:ext uri="{FF2B5EF4-FFF2-40B4-BE49-F238E27FC236}">
                      <a16:creationId xmlns:a16="http://schemas.microsoft.com/office/drawing/2014/main" id="{B86AF672-BD9C-F089-0238-B09B48C40E05}"/>
                    </a:ext>
                  </a:extLst>
                </p:cNvPr>
                <p:cNvSpPr/>
                <p:nvPr/>
              </p:nvSpPr>
              <p:spPr>
                <a:xfrm>
                  <a:off x="1572290" y="3210967"/>
                  <a:ext cx="1194" cy="74059"/>
                </a:xfrm>
                <a:custGeom>
                  <a:avLst/>
                  <a:gdLst>
                    <a:gd name="connsiteX0" fmla="*/ 0 w 1194"/>
                    <a:gd name="connsiteY0" fmla="*/ 0 h 74059"/>
                    <a:gd name="connsiteX1" fmla="*/ 0 w 1194"/>
                    <a:gd name="connsiteY1" fmla="*/ 74059 h 7405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194" h="74059">
                      <a:moveTo>
                        <a:pt x="0" y="0"/>
                      </a:moveTo>
                      <a:lnTo>
                        <a:pt x="0" y="74059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41" name="Forma livre: Forma 140">
                  <a:extLst>
                    <a:ext uri="{FF2B5EF4-FFF2-40B4-BE49-F238E27FC236}">
                      <a16:creationId xmlns:a16="http://schemas.microsoft.com/office/drawing/2014/main" id="{38785E46-E158-7161-ED30-F7A8BCA4BA0D}"/>
                    </a:ext>
                  </a:extLst>
                </p:cNvPr>
                <p:cNvSpPr/>
                <p:nvPr/>
              </p:nvSpPr>
              <p:spPr>
                <a:xfrm>
                  <a:off x="1606417" y="3210967"/>
                  <a:ext cx="1194" cy="74059"/>
                </a:xfrm>
                <a:custGeom>
                  <a:avLst/>
                  <a:gdLst>
                    <a:gd name="connsiteX0" fmla="*/ 0 w 1194"/>
                    <a:gd name="connsiteY0" fmla="*/ 0 h 74059"/>
                    <a:gd name="connsiteX1" fmla="*/ 0 w 1194"/>
                    <a:gd name="connsiteY1" fmla="*/ 74059 h 7405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194" h="74059">
                      <a:moveTo>
                        <a:pt x="0" y="0"/>
                      </a:moveTo>
                      <a:lnTo>
                        <a:pt x="0" y="74059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42" name="Forma livre: Forma 141">
                  <a:extLst>
                    <a:ext uri="{FF2B5EF4-FFF2-40B4-BE49-F238E27FC236}">
                      <a16:creationId xmlns:a16="http://schemas.microsoft.com/office/drawing/2014/main" id="{3B3B2772-A0AC-0B17-8FEC-E7A657FF74DF}"/>
                    </a:ext>
                  </a:extLst>
                </p:cNvPr>
                <p:cNvSpPr/>
                <p:nvPr/>
              </p:nvSpPr>
              <p:spPr>
                <a:xfrm>
                  <a:off x="1640556" y="3210967"/>
                  <a:ext cx="1194" cy="74059"/>
                </a:xfrm>
                <a:custGeom>
                  <a:avLst/>
                  <a:gdLst>
                    <a:gd name="connsiteX0" fmla="*/ 0 w 1194"/>
                    <a:gd name="connsiteY0" fmla="*/ 0 h 74059"/>
                    <a:gd name="connsiteX1" fmla="*/ 0 w 1194"/>
                    <a:gd name="connsiteY1" fmla="*/ 74059 h 7405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194" h="74059">
                      <a:moveTo>
                        <a:pt x="0" y="0"/>
                      </a:moveTo>
                      <a:lnTo>
                        <a:pt x="0" y="74059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143" name="Gráfico 2">
                <a:extLst>
                  <a:ext uri="{FF2B5EF4-FFF2-40B4-BE49-F238E27FC236}">
                    <a16:creationId xmlns:a16="http://schemas.microsoft.com/office/drawing/2014/main" id="{788AB294-4E93-B4E8-F0BC-97D448505AD7}"/>
                  </a:ext>
                </a:extLst>
              </p:cNvPr>
              <p:cNvGrpSpPr/>
              <p:nvPr/>
            </p:nvGrpSpPr>
            <p:grpSpPr>
              <a:xfrm>
                <a:off x="1551469" y="3230891"/>
                <a:ext cx="109906" cy="34210"/>
                <a:chOff x="1551469" y="3230891"/>
                <a:chExt cx="109906" cy="34210"/>
              </a:xfrm>
            </p:grpSpPr>
            <p:sp>
              <p:nvSpPr>
                <p:cNvPr id="144" name="Forma livre: Forma 143">
                  <a:extLst>
                    <a:ext uri="{FF2B5EF4-FFF2-40B4-BE49-F238E27FC236}">
                      <a16:creationId xmlns:a16="http://schemas.microsoft.com/office/drawing/2014/main" id="{F15FB055-BBB5-50C6-B114-5E10CD4DD5C4}"/>
                    </a:ext>
                  </a:extLst>
                </p:cNvPr>
                <p:cNvSpPr/>
                <p:nvPr/>
              </p:nvSpPr>
              <p:spPr>
                <a:xfrm>
                  <a:off x="1551469" y="3230891"/>
                  <a:ext cx="109906" cy="1194"/>
                </a:xfrm>
                <a:custGeom>
                  <a:avLst/>
                  <a:gdLst>
                    <a:gd name="connsiteX0" fmla="*/ 0 w 109906"/>
                    <a:gd name="connsiteY0" fmla="*/ 0 h 1194"/>
                    <a:gd name="connsiteX1" fmla="*/ 109907 w 109906"/>
                    <a:gd name="connsiteY1" fmla="*/ 0 h 119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09906" h="1194">
                      <a:moveTo>
                        <a:pt x="0" y="0"/>
                      </a:moveTo>
                      <a:lnTo>
                        <a:pt x="109907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45" name="Forma livre: Forma 144">
                  <a:extLst>
                    <a:ext uri="{FF2B5EF4-FFF2-40B4-BE49-F238E27FC236}">
                      <a16:creationId xmlns:a16="http://schemas.microsoft.com/office/drawing/2014/main" id="{0744B27B-1F64-5689-5FB1-2349FB0E4D2D}"/>
                    </a:ext>
                  </a:extLst>
                </p:cNvPr>
                <p:cNvSpPr/>
                <p:nvPr/>
              </p:nvSpPr>
              <p:spPr>
                <a:xfrm>
                  <a:off x="1551469" y="3265102"/>
                  <a:ext cx="109906" cy="1194"/>
                </a:xfrm>
                <a:custGeom>
                  <a:avLst/>
                  <a:gdLst>
                    <a:gd name="connsiteX0" fmla="*/ 0 w 109906"/>
                    <a:gd name="connsiteY0" fmla="*/ 0 h 1194"/>
                    <a:gd name="connsiteX1" fmla="*/ 109907 w 109906"/>
                    <a:gd name="connsiteY1" fmla="*/ 0 h 119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09906" h="1194">
                      <a:moveTo>
                        <a:pt x="0" y="0"/>
                      </a:moveTo>
                      <a:lnTo>
                        <a:pt x="109907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</p:grpSp>
      <p:sp>
        <p:nvSpPr>
          <p:cNvPr id="146" name="Forma livre: Forma 145">
            <a:extLst>
              <a:ext uri="{FF2B5EF4-FFF2-40B4-BE49-F238E27FC236}">
                <a16:creationId xmlns:a16="http://schemas.microsoft.com/office/drawing/2014/main" id="{297EF90E-666F-25A5-D577-6AF7B2328FE3}"/>
              </a:ext>
            </a:extLst>
          </p:cNvPr>
          <p:cNvSpPr/>
          <p:nvPr/>
        </p:nvSpPr>
        <p:spPr>
          <a:xfrm>
            <a:off x="811552" y="1001864"/>
            <a:ext cx="238093" cy="259738"/>
          </a:xfrm>
          <a:custGeom>
            <a:avLst/>
            <a:gdLst>
              <a:gd name="connsiteX0" fmla="*/ 152651 w 238093"/>
              <a:gd name="connsiteY0" fmla="*/ 35400 h 259738"/>
              <a:gd name="connsiteX1" fmla="*/ 114988 w 238093"/>
              <a:gd name="connsiteY1" fmla="*/ 20302 h 259738"/>
              <a:gd name="connsiteX2" fmla="*/ 25615 w 238093"/>
              <a:gd name="connsiteY2" fmla="*/ 13911 h 259738"/>
              <a:gd name="connsiteX3" fmla="*/ 11496 w 238093"/>
              <a:gd name="connsiteY3" fmla="*/ 106438 h 259738"/>
              <a:gd name="connsiteX4" fmla="*/ 49744 w 238093"/>
              <a:gd name="connsiteY4" fmla="*/ 216822 h 259738"/>
              <a:gd name="connsiteX5" fmla="*/ 75916 w 238093"/>
              <a:gd name="connsiteY5" fmla="*/ 256360 h 259738"/>
              <a:gd name="connsiteX6" fmla="*/ 88780 w 238093"/>
              <a:gd name="connsiteY6" fmla="*/ 259681 h 259738"/>
              <a:gd name="connsiteX7" fmla="*/ 98981 w 238093"/>
              <a:gd name="connsiteY7" fmla="*/ 208998 h 259738"/>
              <a:gd name="connsiteX8" fmla="*/ 119049 w 238093"/>
              <a:gd name="connsiteY8" fmla="*/ 156810 h 259738"/>
              <a:gd name="connsiteX9" fmla="*/ 139117 w 238093"/>
              <a:gd name="connsiteY9" fmla="*/ 208998 h 259738"/>
              <a:gd name="connsiteX10" fmla="*/ 149318 w 238093"/>
              <a:gd name="connsiteY10" fmla="*/ 259681 h 259738"/>
              <a:gd name="connsiteX11" fmla="*/ 162183 w 238093"/>
              <a:gd name="connsiteY11" fmla="*/ 256360 h 259738"/>
              <a:gd name="connsiteX12" fmla="*/ 188354 w 238093"/>
              <a:gd name="connsiteY12" fmla="*/ 216822 h 259738"/>
              <a:gd name="connsiteX13" fmla="*/ 226602 w 238093"/>
              <a:gd name="connsiteY13" fmla="*/ 106438 h 259738"/>
              <a:gd name="connsiteX14" fmla="*/ 212483 w 238093"/>
              <a:gd name="connsiteY14" fmla="*/ 13911 h 259738"/>
              <a:gd name="connsiteX15" fmla="*/ 142199 w 238093"/>
              <a:gd name="connsiteY15" fmla="*/ 7544 h 2597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238093" h="259738">
                <a:moveTo>
                  <a:pt x="152651" y="35400"/>
                </a:moveTo>
                <a:cubicBezTo>
                  <a:pt x="129262" y="31793"/>
                  <a:pt x="114988" y="20302"/>
                  <a:pt x="114988" y="20302"/>
                </a:cubicBezTo>
                <a:cubicBezTo>
                  <a:pt x="88207" y="-2848"/>
                  <a:pt x="53554" y="-7841"/>
                  <a:pt x="25615" y="13911"/>
                </a:cubicBezTo>
                <a:cubicBezTo>
                  <a:pt x="-2313" y="35663"/>
                  <a:pt x="-7999" y="76336"/>
                  <a:pt x="11496" y="106438"/>
                </a:cubicBezTo>
                <a:cubicBezTo>
                  <a:pt x="11496" y="106438"/>
                  <a:pt x="46160" y="160334"/>
                  <a:pt x="49744" y="216822"/>
                </a:cubicBezTo>
                <a:cubicBezTo>
                  <a:pt x="49744" y="216822"/>
                  <a:pt x="49469" y="247258"/>
                  <a:pt x="75916" y="256360"/>
                </a:cubicBezTo>
                <a:cubicBezTo>
                  <a:pt x="75916" y="256360"/>
                  <a:pt x="84146" y="260254"/>
                  <a:pt x="88780" y="259681"/>
                </a:cubicBezTo>
                <a:cubicBezTo>
                  <a:pt x="98145" y="258522"/>
                  <a:pt x="99901" y="244988"/>
                  <a:pt x="98981" y="208998"/>
                </a:cubicBezTo>
                <a:cubicBezTo>
                  <a:pt x="98981" y="208998"/>
                  <a:pt x="97070" y="156810"/>
                  <a:pt x="119049" y="156810"/>
                </a:cubicBezTo>
                <a:cubicBezTo>
                  <a:pt x="141028" y="156810"/>
                  <a:pt x="139117" y="208998"/>
                  <a:pt x="139117" y="208998"/>
                </a:cubicBezTo>
                <a:cubicBezTo>
                  <a:pt x="138197" y="244976"/>
                  <a:pt x="139965" y="258522"/>
                  <a:pt x="149318" y="259681"/>
                </a:cubicBezTo>
                <a:cubicBezTo>
                  <a:pt x="153965" y="260254"/>
                  <a:pt x="162183" y="256360"/>
                  <a:pt x="162183" y="256360"/>
                </a:cubicBezTo>
                <a:cubicBezTo>
                  <a:pt x="188629" y="247258"/>
                  <a:pt x="188354" y="216822"/>
                  <a:pt x="188354" y="216822"/>
                </a:cubicBezTo>
                <a:cubicBezTo>
                  <a:pt x="191938" y="160334"/>
                  <a:pt x="226602" y="106438"/>
                  <a:pt x="226602" y="106438"/>
                </a:cubicBezTo>
                <a:cubicBezTo>
                  <a:pt x="246085" y="76336"/>
                  <a:pt x="240411" y="35651"/>
                  <a:pt x="212483" y="13911"/>
                </a:cubicBezTo>
                <a:cubicBezTo>
                  <a:pt x="190827" y="-2943"/>
                  <a:pt x="165133" y="-3732"/>
                  <a:pt x="142199" y="7544"/>
                </a:cubicBezTo>
              </a:path>
            </a:pathLst>
          </a:custGeom>
          <a:noFill/>
          <a:ln w="6350" cap="rnd">
            <a:solidFill>
              <a:schemeClr val="accent2"/>
            </a:solidFill>
            <a:prstDash val="solid"/>
            <a:miter/>
          </a:ln>
        </p:spPr>
        <p:txBody>
          <a:bodyPr rtlCol="0" anchor="ctr"/>
          <a:lstStyle/>
          <a:p>
            <a:endParaRPr lang="pt-PT"/>
          </a:p>
        </p:txBody>
      </p:sp>
      <p:grpSp>
        <p:nvGrpSpPr>
          <p:cNvPr id="147" name="Gráfico 2">
            <a:extLst>
              <a:ext uri="{FF2B5EF4-FFF2-40B4-BE49-F238E27FC236}">
                <a16:creationId xmlns:a16="http://schemas.microsoft.com/office/drawing/2014/main" id="{6F26489D-5B49-AFE0-E830-A76BFFFDDA4C}"/>
              </a:ext>
            </a:extLst>
          </p:cNvPr>
          <p:cNvGrpSpPr/>
          <p:nvPr/>
        </p:nvGrpSpPr>
        <p:grpSpPr>
          <a:xfrm>
            <a:off x="1994802" y="987059"/>
            <a:ext cx="359220" cy="289357"/>
            <a:chOff x="1994802" y="987059"/>
            <a:chExt cx="359220" cy="289357"/>
          </a:xfrm>
          <a:noFill/>
        </p:grpSpPr>
        <p:sp>
          <p:nvSpPr>
            <p:cNvPr id="148" name="Forma livre: Forma 147">
              <a:extLst>
                <a:ext uri="{FF2B5EF4-FFF2-40B4-BE49-F238E27FC236}">
                  <a16:creationId xmlns:a16="http://schemas.microsoft.com/office/drawing/2014/main" id="{62ABE9C0-C8E1-61D0-7D95-97762604797C}"/>
                </a:ext>
              </a:extLst>
            </p:cNvPr>
            <p:cNvSpPr/>
            <p:nvPr/>
          </p:nvSpPr>
          <p:spPr>
            <a:xfrm>
              <a:off x="2045194" y="1050834"/>
              <a:ext cx="196135" cy="225582"/>
            </a:xfrm>
            <a:custGeom>
              <a:avLst/>
              <a:gdLst>
                <a:gd name="connsiteX0" fmla="*/ 196102 w 196135"/>
                <a:gd name="connsiteY0" fmla="*/ 0 h 225582"/>
                <a:gd name="connsiteX1" fmla="*/ 132817 w 196135"/>
                <a:gd name="connsiteY1" fmla="*/ 141119 h 225582"/>
                <a:gd name="connsiteX2" fmla="*/ 126486 w 196135"/>
                <a:gd name="connsiteY2" fmla="*/ 147450 h 225582"/>
                <a:gd name="connsiteX3" fmla="*/ 48354 w 196135"/>
                <a:gd name="connsiteY3" fmla="*/ 225583 h 225582"/>
                <a:gd name="connsiteX4" fmla="*/ 0 w 196135"/>
                <a:gd name="connsiteY4" fmla="*/ 177229 h 225582"/>
                <a:gd name="connsiteX5" fmla="*/ 82361 w 196135"/>
                <a:gd name="connsiteY5" fmla="*/ 94880 h 225582"/>
                <a:gd name="connsiteX6" fmla="*/ 95166 w 196135"/>
                <a:gd name="connsiteY6" fmla="*/ 82063 h 225582"/>
                <a:gd name="connsiteX7" fmla="*/ 154378 w 196135"/>
                <a:gd name="connsiteY7" fmla="*/ 3846 h 2255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96135" h="225582">
                  <a:moveTo>
                    <a:pt x="196102" y="0"/>
                  </a:moveTo>
                  <a:cubicBezTo>
                    <a:pt x="196102" y="0"/>
                    <a:pt x="199686" y="74251"/>
                    <a:pt x="132817" y="141119"/>
                  </a:cubicBezTo>
                  <a:lnTo>
                    <a:pt x="126486" y="147450"/>
                  </a:lnTo>
                  <a:lnTo>
                    <a:pt x="48354" y="225583"/>
                  </a:lnTo>
                  <a:lnTo>
                    <a:pt x="0" y="177229"/>
                  </a:lnTo>
                  <a:lnTo>
                    <a:pt x="82361" y="94880"/>
                  </a:lnTo>
                  <a:lnTo>
                    <a:pt x="95166" y="82063"/>
                  </a:lnTo>
                  <a:cubicBezTo>
                    <a:pt x="125793" y="51435"/>
                    <a:pt x="144619" y="21704"/>
                    <a:pt x="154378" y="3846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9" name="Forma livre: Forma 148">
              <a:extLst>
                <a:ext uri="{FF2B5EF4-FFF2-40B4-BE49-F238E27FC236}">
                  <a16:creationId xmlns:a16="http://schemas.microsoft.com/office/drawing/2014/main" id="{3EB3BDB7-9462-1196-EDF5-464E6D7169ED}"/>
                </a:ext>
              </a:extLst>
            </p:cNvPr>
            <p:cNvSpPr/>
            <p:nvPr/>
          </p:nvSpPr>
          <p:spPr>
            <a:xfrm>
              <a:off x="2200815" y="987059"/>
              <a:ext cx="79569" cy="67085"/>
            </a:xfrm>
            <a:custGeom>
              <a:avLst/>
              <a:gdLst>
                <a:gd name="connsiteX0" fmla="*/ 47410 w 79569"/>
                <a:gd name="connsiteY0" fmla="*/ 65578 h 67085"/>
                <a:gd name="connsiteX1" fmla="*/ 75421 w 79569"/>
                <a:gd name="connsiteY1" fmla="*/ 53442 h 67085"/>
                <a:gd name="connsiteX2" fmla="*/ 78061 w 79569"/>
                <a:gd name="connsiteY2" fmla="*/ 46753 h 67085"/>
                <a:gd name="connsiteX3" fmla="*/ 65925 w 79569"/>
                <a:gd name="connsiteY3" fmla="*/ 18742 h 67085"/>
                <a:gd name="connsiteX4" fmla="*/ 18527 w 79569"/>
                <a:gd name="connsiteY4" fmla="*/ 0 h 67085"/>
                <a:gd name="connsiteX5" fmla="*/ 0 w 79569"/>
                <a:gd name="connsiteY5" fmla="*/ 46849 h 67085"/>
                <a:gd name="connsiteX6" fmla="*/ 47398 w 79569"/>
                <a:gd name="connsiteY6" fmla="*/ 65590 h 670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9569" h="67085">
                  <a:moveTo>
                    <a:pt x="47410" y="65578"/>
                  </a:moveTo>
                  <a:cubicBezTo>
                    <a:pt x="58447" y="69950"/>
                    <a:pt x="71061" y="64479"/>
                    <a:pt x="75421" y="53442"/>
                  </a:cubicBezTo>
                  <a:lnTo>
                    <a:pt x="78061" y="46753"/>
                  </a:lnTo>
                  <a:cubicBezTo>
                    <a:pt x="82433" y="35716"/>
                    <a:pt x="76974" y="23102"/>
                    <a:pt x="65925" y="18742"/>
                  </a:cubicBezTo>
                  <a:lnTo>
                    <a:pt x="18527" y="0"/>
                  </a:lnTo>
                  <a:lnTo>
                    <a:pt x="0" y="46849"/>
                  </a:lnTo>
                  <a:lnTo>
                    <a:pt x="47398" y="65590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0" name="Forma livre: Forma 149">
              <a:extLst>
                <a:ext uri="{FF2B5EF4-FFF2-40B4-BE49-F238E27FC236}">
                  <a16:creationId xmlns:a16="http://schemas.microsoft.com/office/drawing/2014/main" id="{1BF57158-C6E7-8C94-5905-CD28C0049F9F}"/>
                </a:ext>
              </a:extLst>
            </p:cNvPr>
            <p:cNvSpPr/>
            <p:nvPr/>
          </p:nvSpPr>
          <p:spPr>
            <a:xfrm>
              <a:off x="2226413" y="1015417"/>
              <a:ext cx="10428" cy="26410"/>
            </a:xfrm>
            <a:custGeom>
              <a:avLst/>
              <a:gdLst>
                <a:gd name="connsiteX0" fmla="*/ 10428 w 10428"/>
                <a:gd name="connsiteY0" fmla="*/ 0 h 26410"/>
                <a:gd name="connsiteX1" fmla="*/ 0 w 10428"/>
                <a:gd name="connsiteY1" fmla="*/ 26411 h 264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428" h="26410">
                  <a:moveTo>
                    <a:pt x="10428" y="0"/>
                  </a:moveTo>
                  <a:lnTo>
                    <a:pt x="0" y="26411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1" name="Forma livre: Forma 150">
              <a:extLst>
                <a:ext uri="{FF2B5EF4-FFF2-40B4-BE49-F238E27FC236}">
                  <a16:creationId xmlns:a16="http://schemas.microsoft.com/office/drawing/2014/main" id="{C85B2C84-F99C-417D-78D8-1D72B46D3610}"/>
                </a:ext>
              </a:extLst>
            </p:cNvPr>
            <p:cNvSpPr/>
            <p:nvPr/>
          </p:nvSpPr>
          <p:spPr>
            <a:xfrm>
              <a:off x="2278111" y="1037372"/>
              <a:ext cx="26255" cy="10404"/>
            </a:xfrm>
            <a:custGeom>
              <a:avLst/>
              <a:gdLst>
                <a:gd name="connsiteX0" fmla="*/ 0 w 26255"/>
                <a:gd name="connsiteY0" fmla="*/ 0 h 10404"/>
                <a:gd name="connsiteX1" fmla="*/ 26255 w 26255"/>
                <a:gd name="connsiteY1" fmla="*/ 10404 h 104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6255" h="10404">
                  <a:moveTo>
                    <a:pt x="0" y="0"/>
                  </a:moveTo>
                  <a:lnTo>
                    <a:pt x="26255" y="10404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2" name="Forma livre: Forma 151">
              <a:extLst>
                <a:ext uri="{FF2B5EF4-FFF2-40B4-BE49-F238E27FC236}">
                  <a16:creationId xmlns:a16="http://schemas.microsoft.com/office/drawing/2014/main" id="{0D2527BF-2DD7-2E58-A228-E0FB1BF018F5}"/>
                </a:ext>
              </a:extLst>
            </p:cNvPr>
            <p:cNvSpPr/>
            <p:nvPr/>
          </p:nvSpPr>
          <p:spPr>
            <a:xfrm>
              <a:off x="2143311" y="1159797"/>
              <a:ext cx="33434" cy="33422"/>
            </a:xfrm>
            <a:custGeom>
              <a:avLst/>
              <a:gdLst>
                <a:gd name="connsiteX0" fmla="*/ 0 w 33434"/>
                <a:gd name="connsiteY0" fmla="*/ 0 h 33422"/>
                <a:gd name="connsiteX1" fmla="*/ 33434 w 33434"/>
                <a:gd name="connsiteY1" fmla="*/ 33422 h 334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3434" h="33422">
                  <a:moveTo>
                    <a:pt x="0" y="0"/>
                  </a:moveTo>
                  <a:lnTo>
                    <a:pt x="33434" y="33422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3" name="Forma livre: Forma 152">
              <a:extLst>
                <a:ext uri="{FF2B5EF4-FFF2-40B4-BE49-F238E27FC236}">
                  <a16:creationId xmlns:a16="http://schemas.microsoft.com/office/drawing/2014/main" id="{376FFCB1-94EA-DBE4-B002-E0AA96FFD197}"/>
                </a:ext>
              </a:extLst>
            </p:cNvPr>
            <p:cNvSpPr/>
            <p:nvPr/>
          </p:nvSpPr>
          <p:spPr>
            <a:xfrm>
              <a:off x="1994802" y="1062603"/>
              <a:ext cx="109732" cy="202063"/>
            </a:xfrm>
            <a:custGeom>
              <a:avLst/>
              <a:gdLst>
                <a:gd name="connsiteX0" fmla="*/ 36751 w 109732"/>
                <a:gd name="connsiteY0" fmla="*/ 26813 h 202063"/>
                <a:gd name="connsiteX1" fmla="*/ 53642 w 109732"/>
                <a:gd name="connsiteY1" fmla="*/ 9923 h 202063"/>
                <a:gd name="connsiteX2" fmla="*/ 100371 w 109732"/>
                <a:gd name="connsiteY2" fmla="*/ 9361 h 202063"/>
                <a:gd name="connsiteX3" fmla="*/ 99809 w 109732"/>
                <a:gd name="connsiteY3" fmla="*/ 56090 h 202063"/>
                <a:gd name="connsiteX4" fmla="*/ 9923 w 109732"/>
                <a:gd name="connsiteY4" fmla="*/ 145977 h 202063"/>
                <a:gd name="connsiteX5" fmla="*/ 9361 w 109732"/>
                <a:gd name="connsiteY5" fmla="*/ 192706 h 202063"/>
                <a:gd name="connsiteX6" fmla="*/ 56090 w 109732"/>
                <a:gd name="connsiteY6" fmla="*/ 192145 h 202063"/>
                <a:gd name="connsiteX7" fmla="*/ 65324 w 109732"/>
                <a:gd name="connsiteY7" fmla="*/ 182911 h 2020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09732" h="202063">
                  <a:moveTo>
                    <a:pt x="36751" y="26813"/>
                  </a:moveTo>
                  <a:lnTo>
                    <a:pt x="53642" y="9923"/>
                  </a:lnTo>
                  <a:cubicBezTo>
                    <a:pt x="66650" y="-3085"/>
                    <a:pt x="87685" y="-3336"/>
                    <a:pt x="100371" y="9361"/>
                  </a:cubicBezTo>
                  <a:cubicBezTo>
                    <a:pt x="113068" y="22059"/>
                    <a:pt x="112818" y="43094"/>
                    <a:pt x="99809" y="56090"/>
                  </a:cubicBezTo>
                  <a:lnTo>
                    <a:pt x="9923" y="145977"/>
                  </a:lnTo>
                  <a:cubicBezTo>
                    <a:pt x="-3085" y="158985"/>
                    <a:pt x="-3336" y="180009"/>
                    <a:pt x="9361" y="192706"/>
                  </a:cubicBezTo>
                  <a:cubicBezTo>
                    <a:pt x="22059" y="205404"/>
                    <a:pt x="43082" y="205141"/>
                    <a:pt x="56090" y="192145"/>
                  </a:cubicBezTo>
                  <a:lnTo>
                    <a:pt x="65324" y="182911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4" name="Forma livre: Forma 153">
              <a:extLst>
                <a:ext uri="{FF2B5EF4-FFF2-40B4-BE49-F238E27FC236}">
                  <a16:creationId xmlns:a16="http://schemas.microsoft.com/office/drawing/2014/main" id="{70175381-649A-EF76-384A-2579D3CACD52}"/>
                </a:ext>
              </a:extLst>
            </p:cNvPr>
            <p:cNvSpPr/>
            <p:nvPr/>
          </p:nvSpPr>
          <p:spPr>
            <a:xfrm>
              <a:off x="2329857" y="1058013"/>
              <a:ext cx="18705" cy="7680"/>
            </a:xfrm>
            <a:custGeom>
              <a:avLst/>
              <a:gdLst>
                <a:gd name="connsiteX0" fmla="*/ 0 w 18705"/>
                <a:gd name="connsiteY0" fmla="*/ 0 h 7680"/>
                <a:gd name="connsiteX1" fmla="*/ 18706 w 18705"/>
                <a:gd name="connsiteY1" fmla="*/ 7681 h 76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705" h="7680">
                  <a:moveTo>
                    <a:pt x="0" y="0"/>
                  </a:moveTo>
                  <a:lnTo>
                    <a:pt x="18706" y="7681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5" name="Forma livre: Forma 154">
              <a:extLst>
                <a:ext uri="{FF2B5EF4-FFF2-40B4-BE49-F238E27FC236}">
                  <a16:creationId xmlns:a16="http://schemas.microsoft.com/office/drawing/2014/main" id="{5F8DC55B-2C9B-74A0-4C8A-EDCCD04FE9C7}"/>
                </a:ext>
              </a:extLst>
            </p:cNvPr>
            <p:cNvSpPr/>
            <p:nvPr/>
          </p:nvSpPr>
          <p:spPr>
            <a:xfrm>
              <a:off x="2334647" y="1023838"/>
              <a:ext cx="19374" cy="5757"/>
            </a:xfrm>
            <a:custGeom>
              <a:avLst/>
              <a:gdLst>
                <a:gd name="connsiteX0" fmla="*/ 0 w 19374"/>
                <a:gd name="connsiteY0" fmla="*/ 5758 h 5757"/>
                <a:gd name="connsiteX1" fmla="*/ 19375 w 19374"/>
                <a:gd name="connsiteY1" fmla="*/ 0 h 57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9374" h="5757">
                  <a:moveTo>
                    <a:pt x="0" y="5758"/>
                  </a:moveTo>
                  <a:lnTo>
                    <a:pt x="19375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6" name="Forma livre: Forma 155">
              <a:extLst>
                <a:ext uri="{FF2B5EF4-FFF2-40B4-BE49-F238E27FC236}">
                  <a16:creationId xmlns:a16="http://schemas.microsoft.com/office/drawing/2014/main" id="{CDB342BE-42FA-6FDA-0431-537C2D34951E}"/>
                </a:ext>
              </a:extLst>
            </p:cNvPr>
            <p:cNvSpPr/>
            <p:nvPr/>
          </p:nvSpPr>
          <p:spPr>
            <a:xfrm>
              <a:off x="2313289" y="1081604"/>
              <a:ext cx="9735" cy="17738"/>
            </a:xfrm>
            <a:custGeom>
              <a:avLst/>
              <a:gdLst>
                <a:gd name="connsiteX0" fmla="*/ 0 w 9735"/>
                <a:gd name="connsiteY0" fmla="*/ 0 h 17738"/>
                <a:gd name="connsiteX1" fmla="*/ 9735 w 9735"/>
                <a:gd name="connsiteY1" fmla="*/ 17738 h 177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735" h="17738">
                  <a:moveTo>
                    <a:pt x="0" y="0"/>
                  </a:moveTo>
                  <a:lnTo>
                    <a:pt x="9735" y="17738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57" name="Gráfico 2">
            <a:extLst>
              <a:ext uri="{FF2B5EF4-FFF2-40B4-BE49-F238E27FC236}">
                <a16:creationId xmlns:a16="http://schemas.microsoft.com/office/drawing/2014/main" id="{8982C350-6E72-A379-D338-E59E14C181BE}"/>
              </a:ext>
            </a:extLst>
          </p:cNvPr>
          <p:cNvGrpSpPr/>
          <p:nvPr/>
        </p:nvGrpSpPr>
        <p:grpSpPr>
          <a:xfrm>
            <a:off x="1366452" y="994262"/>
            <a:ext cx="372124" cy="274939"/>
            <a:chOff x="1366452" y="994262"/>
            <a:chExt cx="372124" cy="274939"/>
          </a:xfrm>
        </p:grpSpPr>
        <p:sp>
          <p:nvSpPr>
            <p:cNvPr id="158" name="Forma livre: Forma 157">
              <a:extLst>
                <a:ext uri="{FF2B5EF4-FFF2-40B4-BE49-F238E27FC236}">
                  <a16:creationId xmlns:a16="http://schemas.microsoft.com/office/drawing/2014/main" id="{C9FF2333-DC94-B0D0-FDA6-9998766F7986}"/>
                </a:ext>
              </a:extLst>
            </p:cNvPr>
            <p:cNvSpPr/>
            <p:nvPr/>
          </p:nvSpPr>
          <p:spPr>
            <a:xfrm>
              <a:off x="1393161" y="1075882"/>
              <a:ext cx="7167" cy="7167"/>
            </a:xfrm>
            <a:custGeom>
              <a:avLst/>
              <a:gdLst>
                <a:gd name="connsiteX0" fmla="*/ 0 w 7167"/>
                <a:gd name="connsiteY0" fmla="*/ 3584 h 7167"/>
                <a:gd name="connsiteX1" fmla="*/ 3560 w 7167"/>
                <a:gd name="connsiteY1" fmla="*/ 7167 h 7167"/>
                <a:gd name="connsiteX2" fmla="*/ 7167 w 7167"/>
                <a:gd name="connsiteY2" fmla="*/ 3584 h 7167"/>
                <a:gd name="connsiteX3" fmla="*/ 3560 w 7167"/>
                <a:gd name="connsiteY3" fmla="*/ 0 h 7167"/>
                <a:gd name="connsiteX4" fmla="*/ 0 w 7167"/>
                <a:gd name="connsiteY4" fmla="*/ 3584 h 71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67" h="7167">
                  <a:moveTo>
                    <a:pt x="0" y="3584"/>
                  </a:moveTo>
                  <a:cubicBezTo>
                    <a:pt x="0" y="5566"/>
                    <a:pt x="1601" y="7167"/>
                    <a:pt x="3560" y="7167"/>
                  </a:cubicBezTo>
                  <a:cubicBezTo>
                    <a:pt x="5519" y="7167"/>
                    <a:pt x="7167" y="5566"/>
                    <a:pt x="7167" y="3584"/>
                  </a:cubicBezTo>
                  <a:cubicBezTo>
                    <a:pt x="7167" y="1601"/>
                    <a:pt x="5542" y="0"/>
                    <a:pt x="3560" y="0"/>
                  </a:cubicBezTo>
                  <a:cubicBezTo>
                    <a:pt x="1577" y="0"/>
                    <a:pt x="0" y="1601"/>
                    <a:pt x="0" y="3584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9" name="Forma livre: Forma 158">
              <a:extLst>
                <a:ext uri="{FF2B5EF4-FFF2-40B4-BE49-F238E27FC236}">
                  <a16:creationId xmlns:a16="http://schemas.microsoft.com/office/drawing/2014/main" id="{2B44E8E6-51C6-27AD-8410-51C98D30FFB9}"/>
                </a:ext>
              </a:extLst>
            </p:cNvPr>
            <p:cNvSpPr/>
            <p:nvPr/>
          </p:nvSpPr>
          <p:spPr>
            <a:xfrm>
              <a:off x="1473193" y="994262"/>
              <a:ext cx="7167" cy="7167"/>
            </a:xfrm>
            <a:custGeom>
              <a:avLst/>
              <a:gdLst>
                <a:gd name="connsiteX0" fmla="*/ 0 w 7167"/>
                <a:gd name="connsiteY0" fmla="*/ 3584 h 7167"/>
                <a:gd name="connsiteX1" fmla="*/ 3560 w 7167"/>
                <a:gd name="connsiteY1" fmla="*/ 7167 h 7167"/>
                <a:gd name="connsiteX2" fmla="*/ 7167 w 7167"/>
                <a:gd name="connsiteY2" fmla="*/ 3584 h 7167"/>
                <a:gd name="connsiteX3" fmla="*/ 3560 w 7167"/>
                <a:gd name="connsiteY3" fmla="*/ 0 h 7167"/>
                <a:gd name="connsiteX4" fmla="*/ 0 w 7167"/>
                <a:gd name="connsiteY4" fmla="*/ 3584 h 71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67" h="7167">
                  <a:moveTo>
                    <a:pt x="0" y="3584"/>
                  </a:moveTo>
                  <a:cubicBezTo>
                    <a:pt x="0" y="5566"/>
                    <a:pt x="1601" y="7167"/>
                    <a:pt x="3560" y="7167"/>
                  </a:cubicBezTo>
                  <a:cubicBezTo>
                    <a:pt x="5519" y="7167"/>
                    <a:pt x="7167" y="5566"/>
                    <a:pt x="7167" y="3584"/>
                  </a:cubicBezTo>
                  <a:cubicBezTo>
                    <a:pt x="7167" y="1601"/>
                    <a:pt x="5542" y="0"/>
                    <a:pt x="3560" y="0"/>
                  </a:cubicBezTo>
                  <a:cubicBezTo>
                    <a:pt x="1577" y="0"/>
                    <a:pt x="0" y="1601"/>
                    <a:pt x="0" y="3584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0" name="Forma livre: Forma 159">
              <a:extLst>
                <a:ext uri="{FF2B5EF4-FFF2-40B4-BE49-F238E27FC236}">
                  <a16:creationId xmlns:a16="http://schemas.microsoft.com/office/drawing/2014/main" id="{9D23756B-566B-F39A-F28A-5A729463A33B}"/>
                </a:ext>
              </a:extLst>
            </p:cNvPr>
            <p:cNvSpPr/>
            <p:nvPr/>
          </p:nvSpPr>
          <p:spPr>
            <a:xfrm>
              <a:off x="1504239" y="1040943"/>
              <a:ext cx="6975" cy="6975"/>
            </a:xfrm>
            <a:custGeom>
              <a:avLst/>
              <a:gdLst>
                <a:gd name="connsiteX0" fmla="*/ 0 w 6975"/>
                <a:gd name="connsiteY0" fmla="*/ 3488 h 6975"/>
                <a:gd name="connsiteX1" fmla="*/ 3476 w 6975"/>
                <a:gd name="connsiteY1" fmla="*/ 6976 h 6975"/>
                <a:gd name="connsiteX2" fmla="*/ 6976 w 6975"/>
                <a:gd name="connsiteY2" fmla="*/ 3488 h 6975"/>
                <a:gd name="connsiteX3" fmla="*/ 3476 w 6975"/>
                <a:gd name="connsiteY3" fmla="*/ 0 h 6975"/>
                <a:gd name="connsiteX4" fmla="*/ 0 w 6975"/>
                <a:gd name="connsiteY4" fmla="*/ 3488 h 6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975" h="6975">
                  <a:moveTo>
                    <a:pt x="0" y="3488"/>
                  </a:moveTo>
                  <a:cubicBezTo>
                    <a:pt x="0" y="5411"/>
                    <a:pt x="1553" y="6976"/>
                    <a:pt x="3476" y="6976"/>
                  </a:cubicBezTo>
                  <a:cubicBezTo>
                    <a:pt x="5399" y="6976"/>
                    <a:pt x="6976" y="5423"/>
                    <a:pt x="6976" y="3488"/>
                  </a:cubicBezTo>
                  <a:cubicBezTo>
                    <a:pt x="6976" y="1553"/>
                    <a:pt x="5399" y="0"/>
                    <a:pt x="3476" y="0"/>
                  </a:cubicBezTo>
                  <a:cubicBezTo>
                    <a:pt x="1553" y="0"/>
                    <a:pt x="0" y="1553"/>
                    <a:pt x="0" y="3488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61" name="Gráfico 2">
              <a:extLst>
                <a:ext uri="{FF2B5EF4-FFF2-40B4-BE49-F238E27FC236}">
                  <a16:creationId xmlns:a16="http://schemas.microsoft.com/office/drawing/2014/main" id="{E949506D-F86C-EB51-90A8-2FB5219F4493}"/>
                </a:ext>
              </a:extLst>
            </p:cNvPr>
            <p:cNvGrpSpPr/>
            <p:nvPr/>
          </p:nvGrpSpPr>
          <p:grpSpPr>
            <a:xfrm>
              <a:off x="1420360" y="1021807"/>
              <a:ext cx="54684" cy="54696"/>
              <a:chOff x="1420360" y="1021807"/>
              <a:chExt cx="54684" cy="54696"/>
            </a:xfrm>
          </p:grpSpPr>
          <p:sp>
            <p:nvSpPr>
              <p:cNvPr id="162" name="Forma livre: Forma 161">
                <a:extLst>
                  <a:ext uri="{FF2B5EF4-FFF2-40B4-BE49-F238E27FC236}">
                    <a16:creationId xmlns:a16="http://schemas.microsoft.com/office/drawing/2014/main" id="{3374C3B6-0238-522A-CCB3-FD101861ACD4}"/>
                  </a:ext>
                </a:extLst>
              </p:cNvPr>
              <p:cNvSpPr/>
              <p:nvPr/>
            </p:nvSpPr>
            <p:spPr>
              <a:xfrm>
                <a:off x="1447703" y="1021807"/>
                <a:ext cx="1194" cy="17427"/>
              </a:xfrm>
              <a:custGeom>
                <a:avLst/>
                <a:gdLst>
                  <a:gd name="connsiteX0" fmla="*/ 0 w 1194"/>
                  <a:gd name="connsiteY0" fmla="*/ 0 h 17427"/>
                  <a:gd name="connsiteX1" fmla="*/ 0 w 1194"/>
                  <a:gd name="connsiteY1" fmla="*/ 17428 h 174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4" h="17427">
                    <a:moveTo>
                      <a:pt x="0" y="0"/>
                    </a:moveTo>
                    <a:lnTo>
                      <a:pt x="0" y="17428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63" name="Forma livre: Forma 162">
                <a:extLst>
                  <a:ext uri="{FF2B5EF4-FFF2-40B4-BE49-F238E27FC236}">
                    <a16:creationId xmlns:a16="http://schemas.microsoft.com/office/drawing/2014/main" id="{6CF0E6DA-926B-F91E-0D4F-6B7A52036738}"/>
                  </a:ext>
                </a:extLst>
              </p:cNvPr>
              <p:cNvSpPr/>
              <p:nvPr/>
            </p:nvSpPr>
            <p:spPr>
              <a:xfrm>
                <a:off x="1447703" y="1059088"/>
                <a:ext cx="1194" cy="17415"/>
              </a:xfrm>
              <a:custGeom>
                <a:avLst/>
                <a:gdLst>
                  <a:gd name="connsiteX0" fmla="*/ 0 w 1194"/>
                  <a:gd name="connsiteY0" fmla="*/ 0 h 17415"/>
                  <a:gd name="connsiteX1" fmla="*/ 0 w 1194"/>
                  <a:gd name="connsiteY1" fmla="*/ 17416 h 174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4" h="17415">
                    <a:moveTo>
                      <a:pt x="0" y="0"/>
                    </a:moveTo>
                    <a:lnTo>
                      <a:pt x="0" y="17416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64" name="Forma livre: Forma 163">
                <a:extLst>
                  <a:ext uri="{FF2B5EF4-FFF2-40B4-BE49-F238E27FC236}">
                    <a16:creationId xmlns:a16="http://schemas.microsoft.com/office/drawing/2014/main" id="{4AE310DF-26E4-B78D-CA59-75CD23457291}"/>
                  </a:ext>
                </a:extLst>
              </p:cNvPr>
              <p:cNvSpPr/>
              <p:nvPr/>
            </p:nvSpPr>
            <p:spPr>
              <a:xfrm>
                <a:off x="1457629" y="1049161"/>
                <a:ext cx="17415" cy="1194"/>
              </a:xfrm>
              <a:custGeom>
                <a:avLst/>
                <a:gdLst>
                  <a:gd name="connsiteX0" fmla="*/ 17416 w 17415"/>
                  <a:gd name="connsiteY0" fmla="*/ 0 h 1194"/>
                  <a:gd name="connsiteX1" fmla="*/ 0 w 17415"/>
                  <a:gd name="connsiteY1" fmla="*/ 0 h 11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7415" h="1194">
                    <a:moveTo>
                      <a:pt x="17416" y="0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65" name="Forma livre: Forma 164">
                <a:extLst>
                  <a:ext uri="{FF2B5EF4-FFF2-40B4-BE49-F238E27FC236}">
                    <a16:creationId xmlns:a16="http://schemas.microsoft.com/office/drawing/2014/main" id="{24C3F553-77DA-FB73-7070-95DF13A5EACA}"/>
                  </a:ext>
                </a:extLst>
              </p:cNvPr>
              <p:cNvSpPr/>
              <p:nvPr/>
            </p:nvSpPr>
            <p:spPr>
              <a:xfrm>
                <a:off x="1420360" y="1049161"/>
                <a:ext cx="17415" cy="1194"/>
              </a:xfrm>
              <a:custGeom>
                <a:avLst/>
                <a:gdLst>
                  <a:gd name="connsiteX0" fmla="*/ 17416 w 17415"/>
                  <a:gd name="connsiteY0" fmla="*/ 0 h 1194"/>
                  <a:gd name="connsiteX1" fmla="*/ 0 w 17415"/>
                  <a:gd name="connsiteY1" fmla="*/ 0 h 11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7415" h="1194">
                    <a:moveTo>
                      <a:pt x="17416" y="0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66" name="Forma livre: Forma 165">
              <a:extLst>
                <a:ext uri="{FF2B5EF4-FFF2-40B4-BE49-F238E27FC236}">
                  <a16:creationId xmlns:a16="http://schemas.microsoft.com/office/drawing/2014/main" id="{4D86E2CA-9B91-99E8-4E70-D240EC50EFCE}"/>
                </a:ext>
              </a:extLst>
            </p:cNvPr>
            <p:cNvSpPr/>
            <p:nvPr/>
          </p:nvSpPr>
          <p:spPr>
            <a:xfrm>
              <a:off x="1367300" y="1131391"/>
              <a:ext cx="370404" cy="76567"/>
            </a:xfrm>
            <a:custGeom>
              <a:avLst/>
              <a:gdLst>
                <a:gd name="connsiteX0" fmla="*/ 0 w 370404"/>
                <a:gd name="connsiteY0" fmla="*/ 0 h 76567"/>
                <a:gd name="connsiteX1" fmla="*/ 185208 w 370404"/>
                <a:gd name="connsiteY1" fmla="*/ 76568 h 76567"/>
                <a:gd name="connsiteX2" fmla="*/ 370404 w 370404"/>
                <a:gd name="connsiteY2" fmla="*/ 0 h 76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70404" h="76567">
                  <a:moveTo>
                    <a:pt x="0" y="0"/>
                  </a:moveTo>
                  <a:cubicBezTo>
                    <a:pt x="28489" y="44925"/>
                    <a:pt x="101724" y="76568"/>
                    <a:pt x="185208" y="76568"/>
                  </a:cubicBezTo>
                  <a:cubicBezTo>
                    <a:pt x="268692" y="76568"/>
                    <a:pt x="341915" y="44925"/>
                    <a:pt x="370404" y="0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7" name="Forma livre: Forma 166">
              <a:extLst>
                <a:ext uri="{FF2B5EF4-FFF2-40B4-BE49-F238E27FC236}">
                  <a16:creationId xmlns:a16="http://schemas.microsoft.com/office/drawing/2014/main" id="{AE2958CB-F48E-9763-2996-036B2FD961FB}"/>
                </a:ext>
              </a:extLst>
            </p:cNvPr>
            <p:cNvSpPr/>
            <p:nvPr/>
          </p:nvSpPr>
          <p:spPr>
            <a:xfrm>
              <a:off x="1366452" y="1083245"/>
              <a:ext cx="372124" cy="185956"/>
            </a:xfrm>
            <a:custGeom>
              <a:avLst/>
              <a:gdLst>
                <a:gd name="connsiteX0" fmla="*/ 23305 w 372124"/>
                <a:gd name="connsiteY0" fmla="*/ 103404 h 185956"/>
                <a:gd name="connsiteX1" fmla="*/ 186056 w 372124"/>
                <a:gd name="connsiteY1" fmla="*/ 185956 h 185956"/>
                <a:gd name="connsiteX2" fmla="*/ 372124 w 372124"/>
                <a:gd name="connsiteY2" fmla="*/ 47274 h 185956"/>
                <a:gd name="connsiteX3" fmla="*/ 244205 w 372124"/>
                <a:gd name="connsiteY3" fmla="*/ 2205 h 185956"/>
                <a:gd name="connsiteX4" fmla="*/ 186068 w 372124"/>
                <a:gd name="connsiteY4" fmla="*/ 21975 h 185956"/>
                <a:gd name="connsiteX5" fmla="*/ 127920 w 372124"/>
                <a:gd name="connsiteY5" fmla="*/ 2205 h 185956"/>
                <a:gd name="connsiteX6" fmla="*/ 0 w 372124"/>
                <a:gd name="connsiteY6" fmla="*/ 47274 h 1859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72124" h="185956">
                  <a:moveTo>
                    <a:pt x="23305" y="103404"/>
                  </a:moveTo>
                  <a:cubicBezTo>
                    <a:pt x="56094" y="152403"/>
                    <a:pt x="116775" y="185956"/>
                    <a:pt x="186056" y="185956"/>
                  </a:cubicBezTo>
                  <a:cubicBezTo>
                    <a:pt x="279502" y="185956"/>
                    <a:pt x="357277" y="124941"/>
                    <a:pt x="372124" y="47274"/>
                  </a:cubicBezTo>
                  <a:lnTo>
                    <a:pt x="244205" y="2205"/>
                  </a:lnTo>
                  <a:cubicBezTo>
                    <a:pt x="208155" y="-8258"/>
                    <a:pt x="186068" y="21975"/>
                    <a:pt x="186068" y="21975"/>
                  </a:cubicBezTo>
                  <a:cubicBezTo>
                    <a:pt x="186068" y="21975"/>
                    <a:pt x="163970" y="-8270"/>
                    <a:pt x="127920" y="2205"/>
                  </a:cubicBezTo>
                  <a:lnTo>
                    <a:pt x="0" y="47274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8" name="Forma livre: Forma 167">
              <a:extLst>
                <a:ext uri="{FF2B5EF4-FFF2-40B4-BE49-F238E27FC236}">
                  <a16:creationId xmlns:a16="http://schemas.microsoft.com/office/drawing/2014/main" id="{E640E901-7CB4-1A14-7D69-26CD1C8DB550}"/>
                </a:ext>
              </a:extLst>
            </p:cNvPr>
            <p:cNvSpPr/>
            <p:nvPr/>
          </p:nvSpPr>
          <p:spPr>
            <a:xfrm>
              <a:off x="1367790" y="1131200"/>
              <a:ext cx="369424" cy="13629"/>
            </a:xfrm>
            <a:custGeom>
              <a:avLst/>
              <a:gdLst>
                <a:gd name="connsiteX0" fmla="*/ 0 w 369424"/>
                <a:gd name="connsiteY0" fmla="*/ 0 h 13629"/>
                <a:gd name="connsiteX1" fmla="*/ 184706 w 369424"/>
                <a:gd name="connsiteY1" fmla="*/ 13629 h 13629"/>
                <a:gd name="connsiteX2" fmla="*/ 369425 w 369424"/>
                <a:gd name="connsiteY2" fmla="*/ 0 h 136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69424" h="13629">
                  <a:moveTo>
                    <a:pt x="0" y="0"/>
                  </a:moveTo>
                  <a:cubicBezTo>
                    <a:pt x="55306" y="8027"/>
                    <a:pt x="118137" y="13629"/>
                    <a:pt x="184706" y="13629"/>
                  </a:cubicBezTo>
                  <a:cubicBezTo>
                    <a:pt x="251276" y="13629"/>
                    <a:pt x="314119" y="8027"/>
                    <a:pt x="369425" y="0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9" name="Forma livre: Forma 168">
              <a:extLst>
                <a:ext uri="{FF2B5EF4-FFF2-40B4-BE49-F238E27FC236}">
                  <a16:creationId xmlns:a16="http://schemas.microsoft.com/office/drawing/2014/main" id="{45A13A7A-0BB4-07FA-72B2-1253400FF39C}"/>
                </a:ext>
              </a:extLst>
            </p:cNvPr>
            <p:cNvSpPr/>
            <p:nvPr/>
          </p:nvSpPr>
          <p:spPr>
            <a:xfrm>
              <a:off x="1552509" y="1146896"/>
              <a:ext cx="1194" cy="41282"/>
            </a:xfrm>
            <a:custGeom>
              <a:avLst/>
              <a:gdLst>
                <a:gd name="connsiteX0" fmla="*/ 0 w 1194"/>
                <a:gd name="connsiteY0" fmla="*/ 0 h 41282"/>
                <a:gd name="connsiteX1" fmla="*/ 0 w 1194"/>
                <a:gd name="connsiteY1" fmla="*/ 41282 h 412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94" h="41282">
                  <a:moveTo>
                    <a:pt x="0" y="0"/>
                  </a:moveTo>
                  <a:lnTo>
                    <a:pt x="0" y="41282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70" name="Gráfico 2">
              <a:extLst>
                <a:ext uri="{FF2B5EF4-FFF2-40B4-BE49-F238E27FC236}">
                  <a16:creationId xmlns:a16="http://schemas.microsoft.com/office/drawing/2014/main" id="{ABB7B726-8CD8-931F-D036-8549E2D8ACAC}"/>
                </a:ext>
              </a:extLst>
            </p:cNvPr>
            <p:cNvGrpSpPr/>
            <p:nvPr/>
          </p:nvGrpSpPr>
          <p:grpSpPr>
            <a:xfrm>
              <a:off x="1435041" y="1140696"/>
              <a:ext cx="234923" cy="45355"/>
              <a:chOff x="1435041" y="1140696"/>
              <a:chExt cx="234923" cy="45355"/>
            </a:xfrm>
          </p:grpSpPr>
          <p:grpSp>
            <p:nvGrpSpPr>
              <p:cNvPr id="171" name="Gráfico 2">
                <a:extLst>
                  <a:ext uri="{FF2B5EF4-FFF2-40B4-BE49-F238E27FC236}">
                    <a16:creationId xmlns:a16="http://schemas.microsoft.com/office/drawing/2014/main" id="{EC9AF20B-8087-8BB7-2122-5A41F582353F}"/>
                  </a:ext>
                </a:extLst>
              </p:cNvPr>
              <p:cNvGrpSpPr/>
              <p:nvPr/>
            </p:nvGrpSpPr>
            <p:grpSpPr>
              <a:xfrm>
                <a:off x="1435041" y="1140696"/>
                <a:ext cx="55831" cy="41951"/>
                <a:chOff x="1435041" y="1140696"/>
                <a:chExt cx="55831" cy="41951"/>
              </a:xfrm>
            </p:grpSpPr>
            <p:sp>
              <p:nvSpPr>
                <p:cNvPr id="172" name="Forma livre: Forma 171">
                  <a:extLst>
                    <a:ext uri="{FF2B5EF4-FFF2-40B4-BE49-F238E27FC236}">
                      <a16:creationId xmlns:a16="http://schemas.microsoft.com/office/drawing/2014/main" id="{1AF6870F-A626-DCD1-BC62-462EC44BB17C}"/>
                    </a:ext>
                  </a:extLst>
                </p:cNvPr>
                <p:cNvSpPr/>
                <p:nvPr/>
              </p:nvSpPr>
              <p:spPr>
                <a:xfrm>
                  <a:off x="1490872" y="1143778"/>
                  <a:ext cx="1194" cy="38869"/>
                </a:xfrm>
                <a:custGeom>
                  <a:avLst/>
                  <a:gdLst>
                    <a:gd name="connsiteX0" fmla="*/ 0 w 1194"/>
                    <a:gd name="connsiteY0" fmla="*/ 0 h 38869"/>
                    <a:gd name="connsiteX1" fmla="*/ 0 w 1194"/>
                    <a:gd name="connsiteY1" fmla="*/ 38869 h 3886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194" h="38869">
                      <a:moveTo>
                        <a:pt x="0" y="0"/>
                      </a:moveTo>
                      <a:lnTo>
                        <a:pt x="0" y="38869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73" name="Forma livre: Forma 172">
                  <a:extLst>
                    <a:ext uri="{FF2B5EF4-FFF2-40B4-BE49-F238E27FC236}">
                      <a16:creationId xmlns:a16="http://schemas.microsoft.com/office/drawing/2014/main" id="{544B7CE9-3AF3-4BC5-0379-9D06ECC48833}"/>
                    </a:ext>
                  </a:extLst>
                </p:cNvPr>
                <p:cNvSpPr/>
                <p:nvPr/>
              </p:nvSpPr>
              <p:spPr>
                <a:xfrm>
                  <a:off x="1435041" y="1140696"/>
                  <a:ext cx="1194" cy="22480"/>
                </a:xfrm>
                <a:custGeom>
                  <a:avLst/>
                  <a:gdLst>
                    <a:gd name="connsiteX0" fmla="*/ 0 w 1194"/>
                    <a:gd name="connsiteY0" fmla="*/ 0 h 22480"/>
                    <a:gd name="connsiteX1" fmla="*/ 0 w 1194"/>
                    <a:gd name="connsiteY1" fmla="*/ 22481 h 224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194" h="22480">
                      <a:moveTo>
                        <a:pt x="0" y="0"/>
                      </a:moveTo>
                      <a:lnTo>
                        <a:pt x="0" y="22481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174" name="Gráfico 2">
                <a:extLst>
                  <a:ext uri="{FF2B5EF4-FFF2-40B4-BE49-F238E27FC236}">
                    <a16:creationId xmlns:a16="http://schemas.microsoft.com/office/drawing/2014/main" id="{C0459EE8-01AC-D3E3-A085-FC137A435721}"/>
                  </a:ext>
                </a:extLst>
              </p:cNvPr>
              <p:cNvGrpSpPr/>
              <p:nvPr/>
            </p:nvGrpSpPr>
            <p:grpSpPr>
              <a:xfrm>
                <a:off x="1614133" y="1140696"/>
                <a:ext cx="55831" cy="45355"/>
                <a:chOff x="1614133" y="1140696"/>
                <a:chExt cx="55831" cy="45355"/>
              </a:xfrm>
            </p:grpSpPr>
            <p:sp>
              <p:nvSpPr>
                <p:cNvPr id="175" name="Forma livre: Forma 174">
                  <a:extLst>
                    <a:ext uri="{FF2B5EF4-FFF2-40B4-BE49-F238E27FC236}">
                      <a16:creationId xmlns:a16="http://schemas.microsoft.com/office/drawing/2014/main" id="{F481B3F5-C449-2F76-6B7F-73B9F24B3AF8}"/>
                    </a:ext>
                  </a:extLst>
                </p:cNvPr>
                <p:cNvSpPr/>
                <p:nvPr/>
              </p:nvSpPr>
              <p:spPr>
                <a:xfrm>
                  <a:off x="1614133" y="1143778"/>
                  <a:ext cx="1194" cy="38869"/>
                </a:xfrm>
                <a:custGeom>
                  <a:avLst/>
                  <a:gdLst>
                    <a:gd name="connsiteX0" fmla="*/ 0 w 1194"/>
                    <a:gd name="connsiteY0" fmla="*/ 0 h 38869"/>
                    <a:gd name="connsiteX1" fmla="*/ 0 w 1194"/>
                    <a:gd name="connsiteY1" fmla="*/ 38869 h 3886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194" h="38869">
                      <a:moveTo>
                        <a:pt x="0" y="0"/>
                      </a:moveTo>
                      <a:lnTo>
                        <a:pt x="0" y="38869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76" name="Forma livre: Forma 175">
                  <a:extLst>
                    <a:ext uri="{FF2B5EF4-FFF2-40B4-BE49-F238E27FC236}">
                      <a16:creationId xmlns:a16="http://schemas.microsoft.com/office/drawing/2014/main" id="{318D5D8D-8085-DC63-3E3B-FB4B43225AA3}"/>
                    </a:ext>
                  </a:extLst>
                </p:cNvPr>
                <p:cNvSpPr/>
                <p:nvPr/>
              </p:nvSpPr>
              <p:spPr>
                <a:xfrm>
                  <a:off x="1669964" y="1140696"/>
                  <a:ext cx="1194" cy="45355"/>
                </a:xfrm>
                <a:custGeom>
                  <a:avLst/>
                  <a:gdLst>
                    <a:gd name="connsiteX0" fmla="*/ 0 w 1194"/>
                    <a:gd name="connsiteY0" fmla="*/ 0 h 45355"/>
                    <a:gd name="connsiteX1" fmla="*/ 0 w 1194"/>
                    <a:gd name="connsiteY1" fmla="*/ 45355 h 4535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194" h="45355">
                      <a:moveTo>
                        <a:pt x="0" y="0"/>
                      </a:moveTo>
                      <a:lnTo>
                        <a:pt x="0" y="45355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</p:grpSp>
      <p:grpSp>
        <p:nvGrpSpPr>
          <p:cNvPr id="178" name="Gráfico 4">
            <a:extLst>
              <a:ext uri="{FF2B5EF4-FFF2-40B4-BE49-F238E27FC236}">
                <a16:creationId xmlns:a16="http://schemas.microsoft.com/office/drawing/2014/main" id="{3C943F75-BA75-4756-3C26-A79885E51AE3}"/>
              </a:ext>
            </a:extLst>
          </p:cNvPr>
          <p:cNvGrpSpPr/>
          <p:nvPr/>
        </p:nvGrpSpPr>
        <p:grpSpPr>
          <a:xfrm>
            <a:off x="2579519" y="1531865"/>
            <a:ext cx="350181" cy="298417"/>
            <a:chOff x="2579519" y="1531865"/>
            <a:chExt cx="350181" cy="298417"/>
          </a:xfrm>
          <a:noFill/>
        </p:grpSpPr>
        <p:sp>
          <p:nvSpPr>
            <p:cNvPr id="179" name="Forma livre: Forma 178">
              <a:extLst>
                <a:ext uri="{FF2B5EF4-FFF2-40B4-BE49-F238E27FC236}">
                  <a16:creationId xmlns:a16="http://schemas.microsoft.com/office/drawing/2014/main" id="{8CA0E4E2-5675-755B-D6AA-4E8089822A9F}"/>
                </a:ext>
              </a:extLst>
            </p:cNvPr>
            <p:cNvSpPr/>
            <p:nvPr/>
          </p:nvSpPr>
          <p:spPr>
            <a:xfrm>
              <a:off x="2666171" y="1600803"/>
              <a:ext cx="210342" cy="229480"/>
            </a:xfrm>
            <a:custGeom>
              <a:avLst/>
              <a:gdLst>
                <a:gd name="connsiteX0" fmla="*/ 134866 w 210342"/>
                <a:gd name="connsiteY0" fmla="*/ 31278 h 229480"/>
                <a:gd name="connsiteX1" fmla="*/ 101589 w 210342"/>
                <a:gd name="connsiteY1" fmla="*/ 17931 h 229480"/>
                <a:gd name="connsiteX2" fmla="*/ 22628 w 210342"/>
                <a:gd name="connsiteY2" fmla="*/ 12289 h 229480"/>
                <a:gd name="connsiteX3" fmla="*/ 10152 w 210342"/>
                <a:gd name="connsiteY3" fmla="*/ 94041 h 229480"/>
                <a:gd name="connsiteX4" fmla="*/ 43931 w 210342"/>
                <a:gd name="connsiteY4" fmla="*/ 191572 h 229480"/>
                <a:gd name="connsiteX5" fmla="*/ 67046 w 210342"/>
                <a:gd name="connsiteY5" fmla="*/ 226496 h 229480"/>
                <a:gd name="connsiteX6" fmla="*/ 78425 w 210342"/>
                <a:gd name="connsiteY6" fmla="*/ 229430 h 229480"/>
                <a:gd name="connsiteX7" fmla="*/ 87431 w 210342"/>
                <a:gd name="connsiteY7" fmla="*/ 184654 h 229480"/>
                <a:gd name="connsiteX8" fmla="*/ 105167 w 210342"/>
                <a:gd name="connsiteY8" fmla="*/ 138542 h 229480"/>
                <a:gd name="connsiteX9" fmla="*/ 122903 w 210342"/>
                <a:gd name="connsiteY9" fmla="*/ 184654 h 229480"/>
                <a:gd name="connsiteX10" fmla="*/ 131908 w 210342"/>
                <a:gd name="connsiteY10" fmla="*/ 229430 h 229480"/>
                <a:gd name="connsiteX11" fmla="*/ 143287 w 210342"/>
                <a:gd name="connsiteY11" fmla="*/ 226496 h 229480"/>
                <a:gd name="connsiteX12" fmla="*/ 166403 w 210342"/>
                <a:gd name="connsiteY12" fmla="*/ 191572 h 229480"/>
                <a:gd name="connsiteX13" fmla="*/ 200194 w 210342"/>
                <a:gd name="connsiteY13" fmla="*/ 94041 h 229480"/>
                <a:gd name="connsiteX14" fmla="*/ 187718 w 210342"/>
                <a:gd name="connsiteY14" fmla="*/ 12289 h 229480"/>
                <a:gd name="connsiteX15" fmla="*/ 125635 w 210342"/>
                <a:gd name="connsiteY15" fmla="*/ 6659 h 2294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210342" h="229480">
                  <a:moveTo>
                    <a:pt x="134866" y="31278"/>
                  </a:moveTo>
                  <a:cubicBezTo>
                    <a:pt x="114208" y="28093"/>
                    <a:pt x="101589" y="17931"/>
                    <a:pt x="101589" y="17931"/>
                  </a:cubicBezTo>
                  <a:cubicBezTo>
                    <a:pt x="77924" y="-2513"/>
                    <a:pt x="47318" y="-6926"/>
                    <a:pt x="22628" y="12289"/>
                  </a:cubicBezTo>
                  <a:cubicBezTo>
                    <a:pt x="-2050" y="31504"/>
                    <a:pt x="-7060" y="67442"/>
                    <a:pt x="10152" y="94041"/>
                  </a:cubicBezTo>
                  <a:cubicBezTo>
                    <a:pt x="10152" y="94041"/>
                    <a:pt x="40770" y="141667"/>
                    <a:pt x="43931" y="191572"/>
                  </a:cubicBezTo>
                  <a:cubicBezTo>
                    <a:pt x="43931" y="191572"/>
                    <a:pt x="43692" y="218457"/>
                    <a:pt x="67046" y="226496"/>
                  </a:cubicBezTo>
                  <a:cubicBezTo>
                    <a:pt x="67046" y="226496"/>
                    <a:pt x="74310" y="229931"/>
                    <a:pt x="78425" y="229430"/>
                  </a:cubicBezTo>
                  <a:cubicBezTo>
                    <a:pt x="86691" y="228405"/>
                    <a:pt x="88242" y="216441"/>
                    <a:pt x="87431" y="184654"/>
                  </a:cubicBezTo>
                  <a:cubicBezTo>
                    <a:pt x="87431" y="184654"/>
                    <a:pt x="85737" y="138542"/>
                    <a:pt x="105167" y="138542"/>
                  </a:cubicBezTo>
                  <a:cubicBezTo>
                    <a:pt x="124597" y="138542"/>
                    <a:pt x="122903" y="184654"/>
                    <a:pt x="122903" y="184654"/>
                  </a:cubicBezTo>
                  <a:cubicBezTo>
                    <a:pt x="122092" y="216441"/>
                    <a:pt x="123643" y="228405"/>
                    <a:pt x="131908" y="229430"/>
                  </a:cubicBezTo>
                  <a:cubicBezTo>
                    <a:pt x="136012" y="229931"/>
                    <a:pt x="143287" y="226496"/>
                    <a:pt x="143287" y="226496"/>
                  </a:cubicBezTo>
                  <a:cubicBezTo>
                    <a:pt x="166653" y="218457"/>
                    <a:pt x="166403" y="191572"/>
                    <a:pt x="166403" y="191572"/>
                  </a:cubicBezTo>
                  <a:cubicBezTo>
                    <a:pt x="169564" y="141667"/>
                    <a:pt x="200194" y="94041"/>
                    <a:pt x="200194" y="94041"/>
                  </a:cubicBezTo>
                  <a:cubicBezTo>
                    <a:pt x="217405" y="67454"/>
                    <a:pt x="212384" y="31504"/>
                    <a:pt x="187718" y="12289"/>
                  </a:cubicBezTo>
                  <a:cubicBezTo>
                    <a:pt x="168586" y="-2596"/>
                    <a:pt x="145888" y="-3312"/>
                    <a:pt x="125635" y="6659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0" name="Forma livre: Forma 179">
              <a:extLst>
                <a:ext uri="{FF2B5EF4-FFF2-40B4-BE49-F238E27FC236}">
                  <a16:creationId xmlns:a16="http://schemas.microsoft.com/office/drawing/2014/main" id="{56F1B8E4-A2B7-A0A1-596B-04A854CD8BBF}"/>
                </a:ext>
              </a:extLst>
            </p:cNvPr>
            <p:cNvSpPr/>
            <p:nvPr/>
          </p:nvSpPr>
          <p:spPr>
            <a:xfrm>
              <a:off x="2614431" y="1714011"/>
              <a:ext cx="70229" cy="9434"/>
            </a:xfrm>
            <a:custGeom>
              <a:avLst/>
              <a:gdLst>
                <a:gd name="connsiteX0" fmla="*/ 0 w 70229"/>
                <a:gd name="connsiteY0" fmla="*/ 9435 h 9434"/>
                <a:gd name="connsiteX1" fmla="*/ 70229 w 70229"/>
                <a:gd name="connsiteY1" fmla="*/ 0 h 94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0229" h="9434">
                  <a:moveTo>
                    <a:pt x="0" y="9435"/>
                  </a:moveTo>
                  <a:cubicBezTo>
                    <a:pt x="22257" y="5403"/>
                    <a:pt x="45766" y="2219"/>
                    <a:pt x="70229" y="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1" name="Forma livre: Forma 180">
              <a:extLst>
                <a:ext uri="{FF2B5EF4-FFF2-40B4-BE49-F238E27FC236}">
                  <a16:creationId xmlns:a16="http://schemas.microsoft.com/office/drawing/2014/main" id="{622F6240-FAF9-2EB2-C041-170C9E1C99D2}"/>
                </a:ext>
              </a:extLst>
            </p:cNvPr>
            <p:cNvSpPr/>
            <p:nvPr/>
          </p:nvSpPr>
          <p:spPr>
            <a:xfrm>
              <a:off x="2859471" y="1714011"/>
              <a:ext cx="70229" cy="9434"/>
            </a:xfrm>
            <a:custGeom>
              <a:avLst/>
              <a:gdLst>
                <a:gd name="connsiteX0" fmla="*/ 70229 w 70229"/>
                <a:gd name="connsiteY0" fmla="*/ 9435 h 9434"/>
                <a:gd name="connsiteX1" fmla="*/ 0 w 70229"/>
                <a:gd name="connsiteY1" fmla="*/ 0 h 94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0229" h="9434">
                  <a:moveTo>
                    <a:pt x="70229" y="9435"/>
                  </a:moveTo>
                  <a:cubicBezTo>
                    <a:pt x="47973" y="5403"/>
                    <a:pt x="24463" y="2219"/>
                    <a:pt x="0" y="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2" name="Forma livre: Forma 181">
              <a:extLst>
                <a:ext uri="{FF2B5EF4-FFF2-40B4-BE49-F238E27FC236}">
                  <a16:creationId xmlns:a16="http://schemas.microsoft.com/office/drawing/2014/main" id="{2AACB4BA-7478-8D1B-16B6-EB8F858545C9}"/>
                </a:ext>
              </a:extLst>
            </p:cNvPr>
            <p:cNvSpPr/>
            <p:nvPr/>
          </p:nvSpPr>
          <p:spPr>
            <a:xfrm>
              <a:off x="2579519" y="1531865"/>
              <a:ext cx="142116" cy="149571"/>
            </a:xfrm>
            <a:custGeom>
              <a:avLst/>
              <a:gdLst>
                <a:gd name="connsiteX0" fmla="*/ 68953 w 142116"/>
                <a:gd name="connsiteY0" fmla="*/ 149572 h 149571"/>
                <a:gd name="connsiteX1" fmla="*/ 22149 w 142116"/>
                <a:gd name="connsiteY1" fmla="*/ 140745 h 149571"/>
                <a:gd name="connsiteX2" fmla="*/ 47985 w 142116"/>
                <a:gd name="connsiteY2" fmla="*/ 116270 h 149571"/>
                <a:gd name="connsiteX3" fmla="*/ 0 w 142116"/>
                <a:gd name="connsiteY3" fmla="*/ 88586 h 149571"/>
                <a:gd name="connsiteX4" fmla="*/ 51682 w 142116"/>
                <a:gd name="connsiteY4" fmla="*/ 77505 h 149571"/>
                <a:gd name="connsiteX5" fmla="*/ 20301 w 142116"/>
                <a:gd name="connsiteY5" fmla="*/ 23986 h 149571"/>
                <a:gd name="connsiteX6" fmla="*/ 79366 w 142116"/>
                <a:gd name="connsiteY6" fmla="*/ 44287 h 149571"/>
                <a:gd name="connsiteX7" fmla="*/ 79366 w 142116"/>
                <a:gd name="connsiteY7" fmla="*/ 0 h 149571"/>
                <a:gd name="connsiteX8" fmla="*/ 107050 w 142116"/>
                <a:gd name="connsiteY8" fmla="*/ 29521 h 149571"/>
                <a:gd name="connsiteX9" fmla="*/ 139302 w 142116"/>
                <a:gd name="connsiteY9" fmla="*/ 8862 h 149571"/>
                <a:gd name="connsiteX10" fmla="*/ 142117 w 142116"/>
                <a:gd name="connsiteY10" fmla="*/ 47973 h 1495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42116" h="149571">
                  <a:moveTo>
                    <a:pt x="68953" y="149572"/>
                  </a:moveTo>
                  <a:lnTo>
                    <a:pt x="22149" y="140745"/>
                  </a:lnTo>
                  <a:lnTo>
                    <a:pt x="47985" y="116270"/>
                  </a:lnTo>
                  <a:lnTo>
                    <a:pt x="0" y="88586"/>
                  </a:lnTo>
                  <a:lnTo>
                    <a:pt x="51682" y="77505"/>
                  </a:lnTo>
                  <a:lnTo>
                    <a:pt x="20301" y="23986"/>
                  </a:lnTo>
                  <a:lnTo>
                    <a:pt x="79366" y="44287"/>
                  </a:lnTo>
                  <a:lnTo>
                    <a:pt x="79366" y="0"/>
                  </a:lnTo>
                  <a:lnTo>
                    <a:pt x="107050" y="29521"/>
                  </a:lnTo>
                  <a:lnTo>
                    <a:pt x="139302" y="8862"/>
                  </a:lnTo>
                  <a:lnTo>
                    <a:pt x="142117" y="47973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83" name="Gráfico 4">
            <a:extLst>
              <a:ext uri="{FF2B5EF4-FFF2-40B4-BE49-F238E27FC236}">
                <a16:creationId xmlns:a16="http://schemas.microsoft.com/office/drawing/2014/main" id="{BEF017BB-9634-39A3-CA84-480CFB3C7CAA}"/>
              </a:ext>
            </a:extLst>
          </p:cNvPr>
          <p:cNvGrpSpPr/>
          <p:nvPr/>
        </p:nvGrpSpPr>
        <p:grpSpPr>
          <a:xfrm>
            <a:off x="3900723" y="1513044"/>
            <a:ext cx="194013" cy="336046"/>
            <a:chOff x="3900723" y="1513044"/>
            <a:chExt cx="194013" cy="336046"/>
          </a:xfrm>
          <a:noFill/>
        </p:grpSpPr>
        <p:sp>
          <p:nvSpPr>
            <p:cNvPr id="184" name="Forma livre: Forma 183">
              <a:extLst>
                <a:ext uri="{FF2B5EF4-FFF2-40B4-BE49-F238E27FC236}">
                  <a16:creationId xmlns:a16="http://schemas.microsoft.com/office/drawing/2014/main" id="{E65FD336-F8E9-42A2-C489-84E6EC689AF3}"/>
                </a:ext>
              </a:extLst>
            </p:cNvPr>
            <p:cNvSpPr/>
            <p:nvPr/>
          </p:nvSpPr>
          <p:spPr>
            <a:xfrm>
              <a:off x="3900723" y="1590668"/>
              <a:ext cx="194013" cy="67593"/>
            </a:xfrm>
            <a:custGeom>
              <a:avLst/>
              <a:gdLst>
                <a:gd name="connsiteX0" fmla="*/ 46112 w 194013"/>
                <a:gd name="connsiteY0" fmla="*/ 67593 h 67593"/>
                <a:gd name="connsiteX1" fmla="*/ 4771 w 194013"/>
                <a:gd name="connsiteY1" fmla="*/ 67593 h 67593"/>
                <a:gd name="connsiteX2" fmla="*/ 0 w 194013"/>
                <a:gd name="connsiteY2" fmla="*/ 62822 h 67593"/>
                <a:gd name="connsiteX3" fmla="*/ 0 w 194013"/>
                <a:gd name="connsiteY3" fmla="*/ 23855 h 67593"/>
                <a:gd name="connsiteX4" fmla="*/ 23855 w 194013"/>
                <a:gd name="connsiteY4" fmla="*/ 0 h 67593"/>
                <a:gd name="connsiteX5" fmla="*/ 170159 w 194013"/>
                <a:gd name="connsiteY5" fmla="*/ 0 h 67593"/>
                <a:gd name="connsiteX6" fmla="*/ 194014 w 194013"/>
                <a:gd name="connsiteY6" fmla="*/ 23855 h 67593"/>
                <a:gd name="connsiteX7" fmla="*/ 194014 w 194013"/>
                <a:gd name="connsiteY7" fmla="*/ 62822 h 67593"/>
                <a:gd name="connsiteX8" fmla="*/ 189243 w 194013"/>
                <a:gd name="connsiteY8" fmla="*/ 67593 h 67593"/>
                <a:gd name="connsiteX9" fmla="*/ 84280 w 194013"/>
                <a:gd name="connsiteY9" fmla="*/ 67593 h 675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94013" h="67593">
                  <a:moveTo>
                    <a:pt x="46112" y="67593"/>
                  </a:moveTo>
                  <a:lnTo>
                    <a:pt x="4771" y="67593"/>
                  </a:lnTo>
                  <a:cubicBezTo>
                    <a:pt x="2147" y="67593"/>
                    <a:pt x="0" y="65447"/>
                    <a:pt x="0" y="62822"/>
                  </a:cubicBezTo>
                  <a:lnTo>
                    <a:pt x="0" y="23855"/>
                  </a:lnTo>
                  <a:cubicBezTo>
                    <a:pt x="0" y="10735"/>
                    <a:pt x="10735" y="0"/>
                    <a:pt x="23855" y="0"/>
                  </a:cubicBezTo>
                  <a:lnTo>
                    <a:pt x="170159" y="0"/>
                  </a:lnTo>
                  <a:cubicBezTo>
                    <a:pt x="183279" y="0"/>
                    <a:pt x="194014" y="10735"/>
                    <a:pt x="194014" y="23855"/>
                  </a:cubicBezTo>
                  <a:lnTo>
                    <a:pt x="194014" y="62822"/>
                  </a:lnTo>
                  <a:cubicBezTo>
                    <a:pt x="194014" y="65447"/>
                    <a:pt x="191867" y="67593"/>
                    <a:pt x="189243" y="67593"/>
                  </a:cubicBezTo>
                  <a:lnTo>
                    <a:pt x="84280" y="67593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5" name="Forma livre: Forma 184">
              <a:extLst>
                <a:ext uri="{FF2B5EF4-FFF2-40B4-BE49-F238E27FC236}">
                  <a16:creationId xmlns:a16="http://schemas.microsoft.com/office/drawing/2014/main" id="{03570691-A4C7-CCB8-126F-BE56D2708F0D}"/>
                </a:ext>
              </a:extLst>
            </p:cNvPr>
            <p:cNvSpPr/>
            <p:nvPr/>
          </p:nvSpPr>
          <p:spPr>
            <a:xfrm>
              <a:off x="3917410" y="1679326"/>
              <a:ext cx="1192" cy="101384"/>
            </a:xfrm>
            <a:custGeom>
              <a:avLst/>
              <a:gdLst>
                <a:gd name="connsiteX0" fmla="*/ 0 w 1192"/>
                <a:gd name="connsiteY0" fmla="*/ 0 h 101384"/>
                <a:gd name="connsiteX1" fmla="*/ 0 w 1192"/>
                <a:gd name="connsiteY1" fmla="*/ 101384 h 1013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92" h="101384">
                  <a:moveTo>
                    <a:pt x="0" y="0"/>
                  </a:moveTo>
                  <a:lnTo>
                    <a:pt x="0" y="101384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6" name="Forma livre: Forma 185">
              <a:extLst>
                <a:ext uri="{FF2B5EF4-FFF2-40B4-BE49-F238E27FC236}">
                  <a16:creationId xmlns:a16="http://schemas.microsoft.com/office/drawing/2014/main" id="{2A61495D-5C92-A83F-A6AB-A5685FCF4510}"/>
                </a:ext>
              </a:extLst>
            </p:cNvPr>
            <p:cNvSpPr/>
            <p:nvPr/>
          </p:nvSpPr>
          <p:spPr>
            <a:xfrm>
              <a:off x="4078050" y="1659049"/>
              <a:ext cx="1192" cy="121661"/>
            </a:xfrm>
            <a:custGeom>
              <a:avLst/>
              <a:gdLst>
                <a:gd name="connsiteX0" fmla="*/ 0 w 1192"/>
                <a:gd name="connsiteY0" fmla="*/ 0 h 121661"/>
                <a:gd name="connsiteX1" fmla="*/ 0 w 1192"/>
                <a:gd name="connsiteY1" fmla="*/ 121661 h 1216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92" h="121661">
                  <a:moveTo>
                    <a:pt x="0" y="0"/>
                  </a:moveTo>
                  <a:lnTo>
                    <a:pt x="0" y="121661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7" name="Forma livre: Forma 186">
              <a:extLst>
                <a:ext uri="{FF2B5EF4-FFF2-40B4-BE49-F238E27FC236}">
                  <a16:creationId xmlns:a16="http://schemas.microsoft.com/office/drawing/2014/main" id="{8C4FC821-6C1B-0F86-00E8-F79EBF5549FE}"/>
                </a:ext>
              </a:extLst>
            </p:cNvPr>
            <p:cNvSpPr/>
            <p:nvPr/>
          </p:nvSpPr>
          <p:spPr>
            <a:xfrm>
              <a:off x="3900723" y="1781497"/>
              <a:ext cx="194013" cy="67593"/>
            </a:xfrm>
            <a:custGeom>
              <a:avLst/>
              <a:gdLst>
                <a:gd name="connsiteX0" fmla="*/ 46112 w 194013"/>
                <a:gd name="connsiteY0" fmla="*/ 0 h 67593"/>
                <a:gd name="connsiteX1" fmla="*/ 4771 w 194013"/>
                <a:gd name="connsiteY1" fmla="*/ 0 h 67593"/>
                <a:gd name="connsiteX2" fmla="*/ 0 w 194013"/>
                <a:gd name="connsiteY2" fmla="*/ 4771 h 67593"/>
                <a:gd name="connsiteX3" fmla="*/ 0 w 194013"/>
                <a:gd name="connsiteY3" fmla="*/ 43738 h 67593"/>
                <a:gd name="connsiteX4" fmla="*/ 23855 w 194013"/>
                <a:gd name="connsiteY4" fmla="*/ 67593 h 67593"/>
                <a:gd name="connsiteX5" fmla="*/ 170159 w 194013"/>
                <a:gd name="connsiteY5" fmla="*/ 67593 h 67593"/>
                <a:gd name="connsiteX6" fmla="*/ 194014 w 194013"/>
                <a:gd name="connsiteY6" fmla="*/ 43738 h 67593"/>
                <a:gd name="connsiteX7" fmla="*/ 194014 w 194013"/>
                <a:gd name="connsiteY7" fmla="*/ 4771 h 67593"/>
                <a:gd name="connsiteX8" fmla="*/ 189243 w 194013"/>
                <a:gd name="connsiteY8" fmla="*/ 0 h 67593"/>
                <a:gd name="connsiteX9" fmla="*/ 84280 w 194013"/>
                <a:gd name="connsiteY9" fmla="*/ 0 h 675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94013" h="67593">
                  <a:moveTo>
                    <a:pt x="46112" y="0"/>
                  </a:moveTo>
                  <a:lnTo>
                    <a:pt x="4771" y="0"/>
                  </a:lnTo>
                  <a:cubicBezTo>
                    <a:pt x="2147" y="0"/>
                    <a:pt x="0" y="2147"/>
                    <a:pt x="0" y="4771"/>
                  </a:cubicBezTo>
                  <a:lnTo>
                    <a:pt x="0" y="43738"/>
                  </a:lnTo>
                  <a:cubicBezTo>
                    <a:pt x="0" y="56859"/>
                    <a:pt x="10735" y="67593"/>
                    <a:pt x="23855" y="67593"/>
                  </a:cubicBezTo>
                  <a:lnTo>
                    <a:pt x="170159" y="67593"/>
                  </a:lnTo>
                  <a:cubicBezTo>
                    <a:pt x="183279" y="67593"/>
                    <a:pt x="194014" y="56859"/>
                    <a:pt x="194014" y="43738"/>
                  </a:cubicBezTo>
                  <a:lnTo>
                    <a:pt x="194014" y="4771"/>
                  </a:lnTo>
                  <a:cubicBezTo>
                    <a:pt x="194014" y="2147"/>
                    <a:pt x="191867" y="0"/>
                    <a:pt x="189243" y="0"/>
                  </a:cubicBezTo>
                  <a:lnTo>
                    <a:pt x="84280" y="0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8" name="Forma livre: Forma 187">
              <a:extLst>
                <a:ext uri="{FF2B5EF4-FFF2-40B4-BE49-F238E27FC236}">
                  <a16:creationId xmlns:a16="http://schemas.microsoft.com/office/drawing/2014/main" id="{FD63BB3B-CD45-7D7A-278F-CADCB4260894}"/>
                </a:ext>
              </a:extLst>
            </p:cNvPr>
            <p:cNvSpPr/>
            <p:nvPr/>
          </p:nvSpPr>
          <p:spPr>
            <a:xfrm>
              <a:off x="3948827" y="1688903"/>
              <a:ext cx="97806" cy="62023"/>
            </a:xfrm>
            <a:custGeom>
              <a:avLst/>
              <a:gdLst>
                <a:gd name="connsiteX0" fmla="*/ 0 w 97806"/>
                <a:gd name="connsiteY0" fmla="*/ 0 h 62023"/>
                <a:gd name="connsiteX1" fmla="*/ 97806 w 97806"/>
                <a:gd name="connsiteY1" fmla="*/ 0 h 62023"/>
                <a:gd name="connsiteX2" fmla="*/ 97806 w 97806"/>
                <a:gd name="connsiteY2" fmla="*/ 62023 h 62023"/>
                <a:gd name="connsiteX3" fmla="*/ 0 w 97806"/>
                <a:gd name="connsiteY3" fmla="*/ 62023 h 620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7806" h="62023">
                  <a:moveTo>
                    <a:pt x="0" y="0"/>
                  </a:moveTo>
                  <a:lnTo>
                    <a:pt x="97806" y="0"/>
                  </a:lnTo>
                  <a:lnTo>
                    <a:pt x="97806" y="62023"/>
                  </a:lnTo>
                  <a:lnTo>
                    <a:pt x="0" y="62023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9" name="Forma livre: Forma 188">
              <a:extLst>
                <a:ext uri="{FF2B5EF4-FFF2-40B4-BE49-F238E27FC236}">
                  <a16:creationId xmlns:a16="http://schemas.microsoft.com/office/drawing/2014/main" id="{E651E3B1-609E-DFC8-4CD5-4C20989F4F82}"/>
                </a:ext>
              </a:extLst>
            </p:cNvPr>
            <p:cNvSpPr/>
            <p:nvPr/>
          </p:nvSpPr>
          <p:spPr>
            <a:xfrm>
              <a:off x="3970165" y="1719915"/>
              <a:ext cx="52481" cy="1192"/>
            </a:xfrm>
            <a:custGeom>
              <a:avLst/>
              <a:gdLst>
                <a:gd name="connsiteX0" fmla="*/ 0 w 52481"/>
                <a:gd name="connsiteY0" fmla="*/ 0 h 1192"/>
                <a:gd name="connsiteX1" fmla="*/ 52481 w 52481"/>
                <a:gd name="connsiteY1" fmla="*/ 0 h 11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2481" h="1192">
                  <a:moveTo>
                    <a:pt x="0" y="0"/>
                  </a:moveTo>
                  <a:lnTo>
                    <a:pt x="52481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90" name="Gráfico 4">
              <a:extLst>
                <a:ext uri="{FF2B5EF4-FFF2-40B4-BE49-F238E27FC236}">
                  <a16:creationId xmlns:a16="http://schemas.microsoft.com/office/drawing/2014/main" id="{BC849B78-866F-B9BF-1360-6D55FCE5E7AA}"/>
                </a:ext>
              </a:extLst>
            </p:cNvPr>
            <p:cNvGrpSpPr/>
            <p:nvPr/>
          </p:nvGrpSpPr>
          <p:grpSpPr>
            <a:xfrm>
              <a:off x="3963211" y="1513044"/>
              <a:ext cx="69048" cy="53399"/>
              <a:chOff x="3963211" y="1513044"/>
              <a:chExt cx="69048" cy="53399"/>
            </a:xfrm>
            <a:noFill/>
          </p:grpSpPr>
          <p:sp>
            <p:nvSpPr>
              <p:cNvPr id="191" name="Forma livre: Forma 190">
                <a:extLst>
                  <a:ext uri="{FF2B5EF4-FFF2-40B4-BE49-F238E27FC236}">
                    <a16:creationId xmlns:a16="http://schemas.microsoft.com/office/drawing/2014/main" id="{333E0A12-B30D-9887-66E9-BE19CE749C4F}"/>
                  </a:ext>
                </a:extLst>
              </p:cNvPr>
              <p:cNvSpPr/>
              <p:nvPr/>
            </p:nvSpPr>
            <p:spPr>
              <a:xfrm>
                <a:off x="4009288" y="1538306"/>
                <a:ext cx="1192" cy="27349"/>
              </a:xfrm>
              <a:custGeom>
                <a:avLst/>
                <a:gdLst>
                  <a:gd name="connsiteX0" fmla="*/ 0 w 1192"/>
                  <a:gd name="connsiteY0" fmla="*/ 0 h 27349"/>
                  <a:gd name="connsiteX1" fmla="*/ 0 w 1192"/>
                  <a:gd name="connsiteY1" fmla="*/ 27350 h 273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2" h="27349">
                    <a:moveTo>
                      <a:pt x="0" y="0"/>
                    </a:moveTo>
                    <a:lnTo>
                      <a:pt x="0" y="2735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92" name="Forma livre: Forma 191">
                <a:extLst>
                  <a:ext uri="{FF2B5EF4-FFF2-40B4-BE49-F238E27FC236}">
                    <a16:creationId xmlns:a16="http://schemas.microsoft.com/office/drawing/2014/main" id="{B71CC237-E3D9-4B92-C36D-7190C6C785EA}"/>
                  </a:ext>
                </a:extLst>
              </p:cNvPr>
              <p:cNvSpPr/>
              <p:nvPr/>
            </p:nvSpPr>
            <p:spPr>
              <a:xfrm>
                <a:off x="3963211" y="1513044"/>
                <a:ext cx="69048" cy="53399"/>
              </a:xfrm>
              <a:custGeom>
                <a:avLst/>
                <a:gdLst>
                  <a:gd name="connsiteX0" fmla="*/ 0 w 69048"/>
                  <a:gd name="connsiteY0" fmla="*/ 53400 h 53399"/>
                  <a:gd name="connsiteX1" fmla="*/ 0 w 69048"/>
                  <a:gd name="connsiteY1" fmla="*/ 11916 h 53399"/>
                  <a:gd name="connsiteX2" fmla="*/ 11916 w 69048"/>
                  <a:gd name="connsiteY2" fmla="*/ 0 h 53399"/>
                  <a:gd name="connsiteX3" fmla="*/ 57133 w 69048"/>
                  <a:gd name="connsiteY3" fmla="*/ 0 h 53399"/>
                  <a:gd name="connsiteX4" fmla="*/ 69049 w 69048"/>
                  <a:gd name="connsiteY4" fmla="*/ 11916 h 53399"/>
                  <a:gd name="connsiteX5" fmla="*/ 69049 w 69048"/>
                  <a:gd name="connsiteY5" fmla="*/ 53400 h 53399"/>
                  <a:gd name="connsiteX6" fmla="*/ 23139 w 69048"/>
                  <a:gd name="connsiteY6" fmla="*/ 53400 h 53399"/>
                  <a:gd name="connsiteX7" fmla="*/ 23139 w 69048"/>
                  <a:gd name="connsiteY7" fmla="*/ 25263 h 533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69048" h="53399">
                    <a:moveTo>
                      <a:pt x="0" y="53400"/>
                    </a:moveTo>
                    <a:lnTo>
                      <a:pt x="0" y="11916"/>
                    </a:lnTo>
                    <a:cubicBezTo>
                      <a:pt x="0" y="5355"/>
                      <a:pt x="5367" y="0"/>
                      <a:pt x="11916" y="0"/>
                    </a:cubicBezTo>
                    <a:lnTo>
                      <a:pt x="57133" y="0"/>
                    </a:lnTo>
                    <a:cubicBezTo>
                      <a:pt x="63681" y="0"/>
                      <a:pt x="69049" y="5355"/>
                      <a:pt x="69049" y="11916"/>
                    </a:cubicBezTo>
                    <a:lnTo>
                      <a:pt x="69049" y="53400"/>
                    </a:lnTo>
                    <a:lnTo>
                      <a:pt x="23139" y="53400"/>
                    </a:lnTo>
                    <a:lnTo>
                      <a:pt x="23139" y="25263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93" name="Gráfico 4">
            <a:extLst>
              <a:ext uri="{FF2B5EF4-FFF2-40B4-BE49-F238E27FC236}">
                <a16:creationId xmlns:a16="http://schemas.microsoft.com/office/drawing/2014/main" id="{B9226EC3-DD92-592A-280E-E581D3D7F1D3}"/>
              </a:ext>
            </a:extLst>
          </p:cNvPr>
          <p:cNvGrpSpPr/>
          <p:nvPr/>
        </p:nvGrpSpPr>
        <p:grpSpPr>
          <a:xfrm>
            <a:off x="3280096" y="1489475"/>
            <a:ext cx="192141" cy="383196"/>
            <a:chOff x="3280096" y="1489475"/>
            <a:chExt cx="192141" cy="383196"/>
          </a:xfrm>
          <a:noFill/>
        </p:grpSpPr>
        <p:sp>
          <p:nvSpPr>
            <p:cNvPr id="194" name="Forma livre: Forma 193">
              <a:extLst>
                <a:ext uri="{FF2B5EF4-FFF2-40B4-BE49-F238E27FC236}">
                  <a16:creationId xmlns:a16="http://schemas.microsoft.com/office/drawing/2014/main" id="{BCE5ED46-7956-23C5-E07F-A3491FAA212C}"/>
                </a:ext>
              </a:extLst>
            </p:cNvPr>
            <p:cNvSpPr/>
            <p:nvPr/>
          </p:nvSpPr>
          <p:spPr>
            <a:xfrm>
              <a:off x="3398859" y="1694664"/>
              <a:ext cx="73378" cy="159018"/>
            </a:xfrm>
            <a:custGeom>
              <a:avLst/>
              <a:gdLst>
                <a:gd name="connsiteX0" fmla="*/ 73378 w 73378"/>
                <a:gd name="connsiteY0" fmla="*/ 0 h 159018"/>
                <a:gd name="connsiteX1" fmla="*/ 73378 w 73378"/>
                <a:gd name="connsiteY1" fmla="*/ 119192 h 159018"/>
                <a:gd name="connsiteX2" fmla="*/ 59304 w 73378"/>
                <a:gd name="connsiteY2" fmla="*/ 133267 h 159018"/>
                <a:gd name="connsiteX3" fmla="*/ 45229 w 73378"/>
                <a:gd name="connsiteY3" fmla="*/ 119192 h 159018"/>
                <a:gd name="connsiteX4" fmla="*/ 45229 w 73378"/>
                <a:gd name="connsiteY4" fmla="*/ 56334 h 159018"/>
                <a:gd name="connsiteX5" fmla="*/ 31155 w 73378"/>
                <a:gd name="connsiteY5" fmla="*/ 42259 h 159018"/>
                <a:gd name="connsiteX6" fmla="*/ 17080 w 73378"/>
                <a:gd name="connsiteY6" fmla="*/ 56334 h 159018"/>
                <a:gd name="connsiteX7" fmla="*/ 17080 w 73378"/>
                <a:gd name="connsiteY7" fmla="*/ 144944 h 159018"/>
                <a:gd name="connsiteX8" fmla="*/ 3006 w 73378"/>
                <a:gd name="connsiteY8" fmla="*/ 159018 h 159018"/>
                <a:gd name="connsiteX9" fmla="*/ 0 w 73378"/>
                <a:gd name="connsiteY9" fmla="*/ 159018 h 1590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73378" h="159018">
                  <a:moveTo>
                    <a:pt x="73378" y="0"/>
                  </a:moveTo>
                  <a:lnTo>
                    <a:pt x="73378" y="119192"/>
                  </a:lnTo>
                  <a:cubicBezTo>
                    <a:pt x="73378" y="126933"/>
                    <a:pt x="67045" y="133267"/>
                    <a:pt x="59304" y="133267"/>
                  </a:cubicBezTo>
                  <a:cubicBezTo>
                    <a:pt x="51563" y="133267"/>
                    <a:pt x="45229" y="126933"/>
                    <a:pt x="45229" y="119192"/>
                  </a:cubicBezTo>
                  <a:lnTo>
                    <a:pt x="45229" y="56334"/>
                  </a:lnTo>
                  <a:cubicBezTo>
                    <a:pt x="45229" y="48593"/>
                    <a:pt x="38896" y="42259"/>
                    <a:pt x="31155" y="42259"/>
                  </a:cubicBezTo>
                  <a:cubicBezTo>
                    <a:pt x="23414" y="42259"/>
                    <a:pt x="17080" y="48593"/>
                    <a:pt x="17080" y="56334"/>
                  </a:cubicBezTo>
                  <a:lnTo>
                    <a:pt x="17080" y="144944"/>
                  </a:lnTo>
                  <a:cubicBezTo>
                    <a:pt x="17080" y="152685"/>
                    <a:pt x="10747" y="159018"/>
                    <a:pt x="3006" y="159018"/>
                  </a:cubicBezTo>
                  <a:lnTo>
                    <a:pt x="0" y="159018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5" name="Forma livre: Forma 194">
              <a:extLst>
                <a:ext uri="{FF2B5EF4-FFF2-40B4-BE49-F238E27FC236}">
                  <a16:creationId xmlns:a16="http://schemas.microsoft.com/office/drawing/2014/main" id="{2D29581F-B9BB-F7D2-AD93-A468780DF9D8}"/>
                </a:ext>
              </a:extLst>
            </p:cNvPr>
            <p:cNvSpPr/>
            <p:nvPr/>
          </p:nvSpPr>
          <p:spPr>
            <a:xfrm>
              <a:off x="3300910" y="1643352"/>
              <a:ext cx="77290" cy="178543"/>
            </a:xfrm>
            <a:custGeom>
              <a:avLst/>
              <a:gdLst>
                <a:gd name="connsiteX0" fmla="*/ 0 w 77290"/>
                <a:gd name="connsiteY0" fmla="*/ 157981 h 178543"/>
                <a:gd name="connsiteX1" fmla="*/ 0 w 77290"/>
                <a:gd name="connsiteY1" fmla="*/ 28161 h 178543"/>
                <a:gd name="connsiteX2" fmla="*/ 28161 w 77290"/>
                <a:gd name="connsiteY2" fmla="*/ 0 h 178543"/>
                <a:gd name="connsiteX3" fmla="*/ 49142 w 77290"/>
                <a:gd name="connsiteY3" fmla="*/ 0 h 178543"/>
                <a:gd name="connsiteX4" fmla="*/ 77291 w 77290"/>
                <a:gd name="connsiteY4" fmla="*/ 28161 h 178543"/>
                <a:gd name="connsiteX5" fmla="*/ 77291 w 77290"/>
                <a:gd name="connsiteY5" fmla="*/ 178544 h 1785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7290" h="178543">
                  <a:moveTo>
                    <a:pt x="0" y="157981"/>
                  </a:moveTo>
                  <a:lnTo>
                    <a:pt x="0" y="28161"/>
                  </a:lnTo>
                  <a:cubicBezTo>
                    <a:pt x="0" y="12679"/>
                    <a:pt x="12667" y="0"/>
                    <a:pt x="28161" y="0"/>
                  </a:cubicBezTo>
                  <a:lnTo>
                    <a:pt x="49142" y="0"/>
                  </a:lnTo>
                  <a:cubicBezTo>
                    <a:pt x="64624" y="0"/>
                    <a:pt x="77291" y="12667"/>
                    <a:pt x="77291" y="28161"/>
                  </a:cubicBezTo>
                  <a:lnTo>
                    <a:pt x="77291" y="178544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6" name="Forma livre: Forma 195">
              <a:extLst>
                <a:ext uri="{FF2B5EF4-FFF2-40B4-BE49-F238E27FC236}">
                  <a16:creationId xmlns:a16="http://schemas.microsoft.com/office/drawing/2014/main" id="{AB4111BB-0002-905D-1E57-54890E1B2010}"/>
                </a:ext>
              </a:extLst>
            </p:cNvPr>
            <p:cNvSpPr/>
            <p:nvPr/>
          </p:nvSpPr>
          <p:spPr>
            <a:xfrm>
              <a:off x="3321866" y="1683309"/>
              <a:ext cx="56214" cy="1192"/>
            </a:xfrm>
            <a:custGeom>
              <a:avLst/>
              <a:gdLst>
                <a:gd name="connsiteX0" fmla="*/ 0 w 56214"/>
                <a:gd name="connsiteY0" fmla="*/ 0 h 1192"/>
                <a:gd name="connsiteX1" fmla="*/ 56215 w 56214"/>
                <a:gd name="connsiteY1" fmla="*/ 0 h 11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6214" h="1192">
                  <a:moveTo>
                    <a:pt x="0" y="0"/>
                  </a:moveTo>
                  <a:lnTo>
                    <a:pt x="56215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7" name="Forma livre: Forma 196">
              <a:extLst>
                <a:ext uri="{FF2B5EF4-FFF2-40B4-BE49-F238E27FC236}">
                  <a16:creationId xmlns:a16="http://schemas.microsoft.com/office/drawing/2014/main" id="{29AF5A39-9CD1-2FFB-FFD3-EC8929C28CF1}"/>
                </a:ext>
              </a:extLst>
            </p:cNvPr>
            <p:cNvSpPr/>
            <p:nvPr/>
          </p:nvSpPr>
          <p:spPr>
            <a:xfrm>
              <a:off x="3281897" y="1820381"/>
              <a:ext cx="115315" cy="52290"/>
            </a:xfrm>
            <a:custGeom>
              <a:avLst/>
              <a:gdLst>
                <a:gd name="connsiteX0" fmla="*/ 115304 w 115315"/>
                <a:gd name="connsiteY0" fmla="*/ 52290 h 52290"/>
                <a:gd name="connsiteX1" fmla="*/ 0 w 115315"/>
                <a:gd name="connsiteY1" fmla="*/ 52290 h 52290"/>
                <a:gd name="connsiteX2" fmla="*/ 0 w 115315"/>
                <a:gd name="connsiteY2" fmla="*/ 28161 h 52290"/>
                <a:gd name="connsiteX3" fmla="*/ 28161 w 115315"/>
                <a:gd name="connsiteY3" fmla="*/ 0 h 52290"/>
                <a:gd name="connsiteX4" fmla="*/ 87155 w 115315"/>
                <a:gd name="connsiteY4" fmla="*/ 0 h 52290"/>
                <a:gd name="connsiteX5" fmla="*/ 115316 w 115315"/>
                <a:gd name="connsiteY5" fmla="*/ 28161 h 52290"/>
                <a:gd name="connsiteX6" fmla="*/ 115316 w 115315"/>
                <a:gd name="connsiteY6" fmla="*/ 52290 h 522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15315" h="52290">
                  <a:moveTo>
                    <a:pt x="115304" y="52290"/>
                  </a:moveTo>
                  <a:lnTo>
                    <a:pt x="0" y="52290"/>
                  </a:lnTo>
                  <a:lnTo>
                    <a:pt x="0" y="28161"/>
                  </a:lnTo>
                  <a:cubicBezTo>
                    <a:pt x="0" y="12679"/>
                    <a:pt x="12667" y="0"/>
                    <a:pt x="28161" y="0"/>
                  </a:cubicBezTo>
                  <a:lnTo>
                    <a:pt x="87155" y="0"/>
                  </a:lnTo>
                  <a:cubicBezTo>
                    <a:pt x="102637" y="0"/>
                    <a:pt x="115316" y="12667"/>
                    <a:pt x="115316" y="28161"/>
                  </a:cubicBezTo>
                  <a:lnTo>
                    <a:pt x="115316" y="52290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8" name="Forma livre: Forma 197">
              <a:extLst>
                <a:ext uri="{FF2B5EF4-FFF2-40B4-BE49-F238E27FC236}">
                  <a16:creationId xmlns:a16="http://schemas.microsoft.com/office/drawing/2014/main" id="{BE5F9F35-72C3-82EF-5C67-5B9F21E77D27}"/>
                </a:ext>
              </a:extLst>
            </p:cNvPr>
            <p:cNvSpPr/>
            <p:nvPr/>
          </p:nvSpPr>
          <p:spPr>
            <a:xfrm>
              <a:off x="3280096" y="1689392"/>
              <a:ext cx="19441" cy="38883"/>
            </a:xfrm>
            <a:custGeom>
              <a:avLst/>
              <a:gdLst>
                <a:gd name="connsiteX0" fmla="*/ 19442 w 19441"/>
                <a:gd name="connsiteY0" fmla="*/ 38884 h 38883"/>
                <a:gd name="connsiteX1" fmla="*/ 0 w 19441"/>
                <a:gd name="connsiteY1" fmla="*/ 19442 h 38883"/>
                <a:gd name="connsiteX2" fmla="*/ 19442 w 19441"/>
                <a:gd name="connsiteY2" fmla="*/ 0 h 388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9441" h="38883">
                  <a:moveTo>
                    <a:pt x="19442" y="38884"/>
                  </a:moveTo>
                  <a:cubicBezTo>
                    <a:pt x="8707" y="38884"/>
                    <a:pt x="0" y="30177"/>
                    <a:pt x="0" y="19442"/>
                  </a:cubicBezTo>
                  <a:cubicBezTo>
                    <a:pt x="0" y="8707"/>
                    <a:pt x="8707" y="0"/>
                    <a:pt x="19442" y="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9" name="Forma livre: Forma 198">
              <a:extLst>
                <a:ext uri="{FF2B5EF4-FFF2-40B4-BE49-F238E27FC236}">
                  <a16:creationId xmlns:a16="http://schemas.microsoft.com/office/drawing/2014/main" id="{D9D095F3-D95B-C613-5E64-5CA3E3F20FB0}"/>
                </a:ext>
              </a:extLst>
            </p:cNvPr>
            <p:cNvSpPr/>
            <p:nvPr/>
          </p:nvSpPr>
          <p:spPr>
            <a:xfrm>
              <a:off x="3327401" y="1489475"/>
              <a:ext cx="24296" cy="153459"/>
            </a:xfrm>
            <a:custGeom>
              <a:avLst/>
              <a:gdLst>
                <a:gd name="connsiteX0" fmla="*/ 0 w 24296"/>
                <a:gd name="connsiteY0" fmla="*/ 135187 h 153459"/>
                <a:gd name="connsiteX1" fmla="*/ 0 w 24296"/>
                <a:gd name="connsiteY1" fmla="*/ 0 h 153459"/>
                <a:gd name="connsiteX2" fmla="*/ 24296 w 24296"/>
                <a:gd name="connsiteY2" fmla="*/ 11606 h 153459"/>
                <a:gd name="connsiteX3" fmla="*/ 24296 w 24296"/>
                <a:gd name="connsiteY3" fmla="*/ 153460 h 1534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296" h="153459">
                  <a:moveTo>
                    <a:pt x="0" y="135187"/>
                  </a:moveTo>
                  <a:lnTo>
                    <a:pt x="0" y="0"/>
                  </a:lnTo>
                  <a:cubicBezTo>
                    <a:pt x="0" y="0"/>
                    <a:pt x="24296" y="2851"/>
                    <a:pt x="24296" y="11606"/>
                  </a:cubicBezTo>
                  <a:lnTo>
                    <a:pt x="24296" y="15346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0" name="Forma livre: Forma 199">
              <a:extLst>
                <a:ext uri="{FF2B5EF4-FFF2-40B4-BE49-F238E27FC236}">
                  <a16:creationId xmlns:a16="http://schemas.microsoft.com/office/drawing/2014/main" id="{33D451D3-E631-D541-44B1-52BB05E83F45}"/>
                </a:ext>
              </a:extLst>
            </p:cNvPr>
            <p:cNvSpPr/>
            <p:nvPr/>
          </p:nvSpPr>
          <p:spPr>
            <a:xfrm>
              <a:off x="3295817" y="1489475"/>
              <a:ext cx="31584" cy="41877"/>
            </a:xfrm>
            <a:custGeom>
              <a:avLst/>
              <a:gdLst>
                <a:gd name="connsiteX0" fmla="*/ 31584 w 31584"/>
                <a:gd name="connsiteY0" fmla="*/ 41878 h 41877"/>
                <a:gd name="connsiteX1" fmla="*/ 11248 w 31584"/>
                <a:gd name="connsiteY1" fmla="*/ 41878 h 41877"/>
                <a:gd name="connsiteX2" fmla="*/ 0 w 31584"/>
                <a:gd name="connsiteY2" fmla="*/ 30630 h 41877"/>
                <a:gd name="connsiteX3" fmla="*/ 0 w 31584"/>
                <a:gd name="connsiteY3" fmla="*/ 11236 h 41877"/>
                <a:gd name="connsiteX4" fmla="*/ 11248 w 31584"/>
                <a:gd name="connsiteY4" fmla="*/ 0 h 41877"/>
                <a:gd name="connsiteX5" fmla="*/ 31584 w 31584"/>
                <a:gd name="connsiteY5" fmla="*/ 0 h 418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1584" h="41877">
                  <a:moveTo>
                    <a:pt x="31584" y="41878"/>
                  </a:moveTo>
                  <a:lnTo>
                    <a:pt x="11248" y="41878"/>
                  </a:lnTo>
                  <a:cubicBezTo>
                    <a:pt x="5057" y="41878"/>
                    <a:pt x="0" y="36820"/>
                    <a:pt x="0" y="30630"/>
                  </a:cubicBezTo>
                  <a:lnTo>
                    <a:pt x="0" y="11236"/>
                  </a:lnTo>
                  <a:cubicBezTo>
                    <a:pt x="0" y="5057"/>
                    <a:pt x="5057" y="0"/>
                    <a:pt x="11248" y="0"/>
                  </a:cubicBezTo>
                  <a:lnTo>
                    <a:pt x="31584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201" name="Gráfico 4">
            <a:extLst>
              <a:ext uri="{FF2B5EF4-FFF2-40B4-BE49-F238E27FC236}">
                <a16:creationId xmlns:a16="http://schemas.microsoft.com/office/drawing/2014/main" id="{7C6C3552-699D-7B66-10AE-917386BE465F}"/>
              </a:ext>
            </a:extLst>
          </p:cNvPr>
          <p:cNvGrpSpPr/>
          <p:nvPr/>
        </p:nvGrpSpPr>
        <p:grpSpPr>
          <a:xfrm>
            <a:off x="2634099" y="2071229"/>
            <a:ext cx="241032" cy="276373"/>
            <a:chOff x="2634099" y="2071229"/>
            <a:chExt cx="241032" cy="276373"/>
          </a:xfrm>
          <a:noFill/>
        </p:grpSpPr>
        <p:sp>
          <p:nvSpPr>
            <p:cNvPr id="202" name="Forma livre: Forma 201">
              <a:extLst>
                <a:ext uri="{FF2B5EF4-FFF2-40B4-BE49-F238E27FC236}">
                  <a16:creationId xmlns:a16="http://schemas.microsoft.com/office/drawing/2014/main" id="{305D4EC3-8870-3D7C-46AC-9A7244C79BC9}"/>
                </a:ext>
              </a:extLst>
            </p:cNvPr>
            <p:cNvSpPr/>
            <p:nvPr/>
          </p:nvSpPr>
          <p:spPr>
            <a:xfrm>
              <a:off x="2815732" y="2277886"/>
              <a:ext cx="1192" cy="49785"/>
            </a:xfrm>
            <a:custGeom>
              <a:avLst/>
              <a:gdLst>
                <a:gd name="connsiteX0" fmla="*/ 0 w 1192"/>
                <a:gd name="connsiteY0" fmla="*/ 0 h 49785"/>
                <a:gd name="connsiteX1" fmla="*/ 0 w 1192"/>
                <a:gd name="connsiteY1" fmla="*/ 49786 h 497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92" h="49785">
                  <a:moveTo>
                    <a:pt x="0" y="0"/>
                  </a:moveTo>
                  <a:lnTo>
                    <a:pt x="0" y="49786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3" name="Forma livre: Forma 202">
              <a:extLst>
                <a:ext uri="{FF2B5EF4-FFF2-40B4-BE49-F238E27FC236}">
                  <a16:creationId xmlns:a16="http://schemas.microsoft.com/office/drawing/2014/main" id="{C5614EA5-CBB3-1A41-1394-61F30F00283E}"/>
                </a:ext>
              </a:extLst>
            </p:cNvPr>
            <p:cNvSpPr/>
            <p:nvPr/>
          </p:nvSpPr>
          <p:spPr>
            <a:xfrm>
              <a:off x="2790839" y="2302779"/>
              <a:ext cx="49797" cy="1192"/>
            </a:xfrm>
            <a:custGeom>
              <a:avLst/>
              <a:gdLst>
                <a:gd name="connsiteX0" fmla="*/ 49798 w 49797"/>
                <a:gd name="connsiteY0" fmla="*/ 0 h 1192"/>
                <a:gd name="connsiteX1" fmla="*/ 0 w 49797"/>
                <a:gd name="connsiteY1" fmla="*/ 0 h 11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9797" h="1192">
                  <a:moveTo>
                    <a:pt x="49798" y="0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204" name="Gráfico 4">
              <a:extLst>
                <a:ext uri="{FF2B5EF4-FFF2-40B4-BE49-F238E27FC236}">
                  <a16:creationId xmlns:a16="http://schemas.microsoft.com/office/drawing/2014/main" id="{EC58C922-C36D-FB4D-1AB9-87CAF96639A4}"/>
                </a:ext>
              </a:extLst>
            </p:cNvPr>
            <p:cNvGrpSpPr/>
            <p:nvPr/>
          </p:nvGrpSpPr>
          <p:grpSpPr>
            <a:xfrm>
              <a:off x="2634099" y="2233396"/>
              <a:ext cx="241032" cy="114206"/>
              <a:chOff x="2634099" y="2233396"/>
              <a:chExt cx="241032" cy="114206"/>
            </a:xfrm>
            <a:noFill/>
          </p:grpSpPr>
          <p:sp>
            <p:nvSpPr>
              <p:cNvPr id="205" name="Forma livre: Forma 204">
                <a:extLst>
                  <a:ext uri="{FF2B5EF4-FFF2-40B4-BE49-F238E27FC236}">
                    <a16:creationId xmlns:a16="http://schemas.microsoft.com/office/drawing/2014/main" id="{7BD1DFEB-A1CB-E196-12DE-0D5605B14001}"/>
                  </a:ext>
                </a:extLst>
              </p:cNvPr>
              <p:cNvSpPr/>
              <p:nvPr/>
            </p:nvSpPr>
            <p:spPr>
              <a:xfrm>
                <a:off x="2754603" y="2312273"/>
                <a:ext cx="1192" cy="35329"/>
              </a:xfrm>
              <a:custGeom>
                <a:avLst/>
                <a:gdLst>
                  <a:gd name="connsiteX0" fmla="*/ 0 w 1192"/>
                  <a:gd name="connsiteY0" fmla="*/ 0 h 35329"/>
                  <a:gd name="connsiteX1" fmla="*/ 0 w 1192"/>
                  <a:gd name="connsiteY1" fmla="*/ 35329 h 353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2" h="35329">
                    <a:moveTo>
                      <a:pt x="0" y="0"/>
                    </a:moveTo>
                    <a:lnTo>
                      <a:pt x="0" y="35329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06" name="Forma livre: Forma 205">
                <a:extLst>
                  <a:ext uri="{FF2B5EF4-FFF2-40B4-BE49-F238E27FC236}">
                    <a16:creationId xmlns:a16="http://schemas.microsoft.com/office/drawing/2014/main" id="{6EFC9F4E-08BB-6996-7ADC-9CB6181847E5}"/>
                  </a:ext>
                </a:extLst>
              </p:cNvPr>
              <p:cNvSpPr/>
              <p:nvPr/>
            </p:nvSpPr>
            <p:spPr>
              <a:xfrm>
                <a:off x="2634099" y="2233396"/>
                <a:ext cx="241032" cy="114206"/>
              </a:xfrm>
              <a:custGeom>
                <a:avLst/>
                <a:gdLst>
                  <a:gd name="connsiteX0" fmla="*/ 241032 w 241032"/>
                  <a:gd name="connsiteY0" fmla="*/ 114206 h 114206"/>
                  <a:gd name="connsiteX1" fmla="*/ 236309 w 241032"/>
                  <a:gd name="connsiteY1" fmla="*/ 39194 h 114206"/>
                  <a:gd name="connsiteX2" fmla="*/ 200013 w 241032"/>
                  <a:gd name="connsiteY2" fmla="*/ 5964 h 114206"/>
                  <a:gd name="connsiteX3" fmla="*/ 165244 w 241032"/>
                  <a:gd name="connsiteY3" fmla="*/ 0 h 114206"/>
                  <a:gd name="connsiteX4" fmla="*/ 120516 w 241032"/>
                  <a:gd name="connsiteY4" fmla="*/ 81656 h 114206"/>
                  <a:gd name="connsiteX5" fmla="*/ 75788 w 241032"/>
                  <a:gd name="connsiteY5" fmla="*/ 0 h 114206"/>
                  <a:gd name="connsiteX6" fmla="*/ 41019 w 241032"/>
                  <a:gd name="connsiteY6" fmla="*/ 5964 h 114206"/>
                  <a:gd name="connsiteX7" fmla="*/ 4723 w 241032"/>
                  <a:gd name="connsiteY7" fmla="*/ 39194 h 114206"/>
                  <a:gd name="connsiteX8" fmla="*/ 0 w 241032"/>
                  <a:gd name="connsiteY8" fmla="*/ 114206 h 1142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41032" h="114206">
                    <a:moveTo>
                      <a:pt x="241032" y="114206"/>
                    </a:moveTo>
                    <a:lnTo>
                      <a:pt x="236309" y="39194"/>
                    </a:lnTo>
                    <a:cubicBezTo>
                      <a:pt x="232063" y="12274"/>
                      <a:pt x="200013" y="5964"/>
                      <a:pt x="200013" y="5964"/>
                    </a:cubicBezTo>
                    <a:lnTo>
                      <a:pt x="165244" y="0"/>
                    </a:lnTo>
                    <a:lnTo>
                      <a:pt x="120516" y="81656"/>
                    </a:lnTo>
                    <a:lnTo>
                      <a:pt x="75788" y="0"/>
                    </a:lnTo>
                    <a:lnTo>
                      <a:pt x="41019" y="5964"/>
                    </a:lnTo>
                    <a:cubicBezTo>
                      <a:pt x="41019" y="5964"/>
                      <a:pt x="8970" y="12274"/>
                      <a:pt x="4723" y="39194"/>
                    </a:cubicBezTo>
                    <a:lnTo>
                      <a:pt x="0" y="114206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207" name="Gráfico 4">
              <a:extLst>
                <a:ext uri="{FF2B5EF4-FFF2-40B4-BE49-F238E27FC236}">
                  <a16:creationId xmlns:a16="http://schemas.microsoft.com/office/drawing/2014/main" id="{699EF33F-027C-E0C6-6FD9-381D70B3F8ED}"/>
                </a:ext>
              </a:extLst>
            </p:cNvPr>
            <p:cNvGrpSpPr/>
            <p:nvPr/>
          </p:nvGrpSpPr>
          <p:grpSpPr>
            <a:xfrm>
              <a:off x="2699817" y="2071229"/>
              <a:ext cx="108964" cy="145062"/>
              <a:chOff x="2699817" y="2071229"/>
              <a:chExt cx="108964" cy="145062"/>
            </a:xfrm>
            <a:noFill/>
          </p:grpSpPr>
          <p:sp>
            <p:nvSpPr>
              <p:cNvPr id="208" name="Forma livre: Forma 207">
                <a:extLst>
                  <a:ext uri="{FF2B5EF4-FFF2-40B4-BE49-F238E27FC236}">
                    <a16:creationId xmlns:a16="http://schemas.microsoft.com/office/drawing/2014/main" id="{18017F6C-00EF-0B0B-7D71-92B297FB9D20}"/>
                  </a:ext>
                </a:extLst>
              </p:cNvPr>
              <p:cNvSpPr/>
              <p:nvPr/>
            </p:nvSpPr>
            <p:spPr>
              <a:xfrm>
                <a:off x="2699817" y="2071229"/>
                <a:ext cx="108964" cy="145062"/>
              </a:xfrm>
              <a:custGeom>
                <a:avLst/>
                <a:gdLst>
                  <a:gd name="connsiteX0" fmla="*/ 54488 w 108964"/>
                  <a:gd name="connsiteY0" fmla="*/ 0 h 145062"/>
                  <a:gd name="connsiteX1" fmla="*/ 1124 w 108964"/>
                  <a:gd name="connsiteY1" fmla="*/ 72543 h 145062"/>
                  <a:gd name="connsiteX2" fmla="*/ 54488 w 108964"/>
                  <a:gd name="connsiteY2" fmla="*/ 145063 h 145062"/>
                  <a:gd name="connsiteX3" fmla="*/ 107840 w 108964"/>
                  <a:gd name="connsiteY3" fmla="*/ 72543 h 145062"/>
                  <a:gd name="connsiteX4" fmla="*/ 54488 w 108964"/>
                  <a:gd name="connsiteY4" fmla="*/ 0 h 1450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08964" h="145062">
                    <a:moveTo>
                      <a:pt x="54488" y="0"/>
                    </a:moveTo>
                    <a:cubicBezTo>
                      <a:pt x="349" y="0"/>
                      <a:pt x="-2657" y="32741"/>
                      <a:pt x="1124" y="72543"/>
                    </a:cubicBezTo>
                    <a:cubicBezTo>
                      <a:pt x="4917" y="112417"/>
                      <a:pt x="29977" y="145063"/>
                      <a:pt x="54488" y="145063"/>
                    </a:cubicBezTo>
                    <a:cubicBezTo>
                      <a:pt x="78999" y="145063"/>
                      <a:pt x="104059" y="112417"/>
                      <a:pt x="107840" y="72543"/>
                    </a:cubicBezTo>
                    <a:cubicBezTo>
                      <a:pt x="111621" y="32741"/>
                      <a:pt x="108627" y="0"/>
                      <a:pt x="54488" y="0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09" name="Forma livre: Forma 208">
                <a:extLst>
                  <a:ext uri="{FF2B5EF4-FFF2-40B4-BE49-F238E27FC236}">
                    <a16:creationId xmlns:a16="http://schemas.microsoft.com/office/drawing/2014/main" id="{88EE67E7-EEC3-709D-B89C-796D0C04DCDC}"/>
                  </a:ext>
                </a:extLst>
              </p:cNvPr>
              <p:cNvSpPr/>
              <p:nvPr/>
            </p:nvSpPr>
            <p:spPr>
              <a:xfrm>
                <a:off x="2723174" y="2103374"/>
                <a:ext cx="47161" cy="27218"/>
              </a:xfrm>
              <a:custGeom>
                <a:avLst/>
                <a:gdLst>
                  <a:gd name="connsiteX0" fmla="*/ 47162 w 47161"/>
                  <a:gd name="connsiteY0" fmla="*/ 0 h 27218"/>
                  <a:gd name="connsiteX1" fmla="*/ 0 w 47161"/>
                  <a:gd name="connsiteY1" fmla="*/ 27219 h 272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161" h="27218">
                    <a:moveTo>
                      <a:pt x="47162" y="0"/>
                    </a:moveTo>
                    <a:cubicBezTo>
                      <a:pt x="47162" y="0"/>
                      <a:pt x="41412" y="27219"/>
                      <a:pt x="0" y="27219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10" name="Forma livre: Forma 209">
                <a:extLst>
                  <a:ext uri="{FF2B5EF4-FFF2-40B4-BE49-F238E27FC236}">
                    <a16:creationId xmlns:a16="http://schemas.microsoft.com/office/drawing/2014/main" id="{C7F61B7C-123F-20BC-31FD-8FFCC883D834}"/>
                  </a:ext>
                </a:extLst>
              </p:cNvPr>
              <p:cNvSpPr/>
              <p:nvPr/>
            </p:nvSpPr>
            <p:spPr>
              <a:xfrm>
                <a:off x="2765601" y="2114407"/>
                <a:ext cx="41495" cy="18726"/>
              </a:xfrm>
              <a:custGeom>
                <a:avLst/>
                <a:gdLst>
                  <a:gd name="connsiteX0" fmla="*/ 0 w 41495"/>
                  <a:gd name="connsiteY0" fmla="*/ 0 h 18726"/>
                  <a:gd name="connsiteX1" fmla="*/ 41496 w 41495"/>
                  <a:gd name="connsiteY1" fmla="*/ 18726 h 187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1495" h="18726">
                    <a:moveTo>
                      <a:pt x="0" y="0"/>
                    </a:moveTo>
                    <a:cubicBezTo>
                      <a:pt x="0" y="0"/>
                      <a:pt x="18607" y="12751"/>
                      <a:pt x="41496" y="18726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211" name="Gráfico 4">
            <a:extLst>
              <a:ext uri="{FF2B5EF4-FFF2-40B4-BE49-F238E27FC236}">
                <a16:creationId xmlns:a16="http://schemas.microsoft.com/office/drawing/2014/main" id="{37D58D70-40B9-C0F6-9125-820186359A7D}"/>
              </a:ext>
            </a:extLst>
          </p:cNvPr>
          <p:cNvGrpSpPr/>
          <p:nvPr/>
        </p:nvGrpSpPr>
        <p:grpSpPr>
          <a:xfrm>
            <a:off x="3864129" y="2057334"/>
            <a:ext cx="267191" cy="304161"/>
            <a:chOff x="3864129" y="2057334"/>
            <a:chExt cx="267191" cy="304161"/>
          </a:xfrm>
          <a:noFill/>
        </p:grpSpPr>
        <p:sp>
          <p:nvSpPr>
            <p:cNvPr id="212" name="Forma livre: Forma 211">
              <a:extLst>
                <a:ext uri="{FF2B5EF4-FFF2-40B4-BE49-F238E27FC236}">
                  <a16:creationId xmlns:a16="http://schemas.microsoft.com/office/drawing/2014/main" id="{A7466BC4-C456-D389-07E4-00743D16E56B}"/>
                </a:ext>
              </a:extLst>
            </p:cNvPr>
            <p:cNvSpPr/>
            <p:nvPr/>
          </p:nvSpPr>
          <p:spPr>
            <a:xfrm>
              <a:off x="3864129" y="2093248"/>
              <a:ext cx="129103" cy="229605"/>
            </a:xfrm>
            <a:custGeom>
              <a:avLst/>
              <a:gdLst>
                <a:gd name="connsiteX0" fmla="*/ 129104 w 129103"/>
                <a:gd name="connsiteY0" fmla="*/ 229605 h 229605"/>
                <a:gd name="connsiteX1" fmla="*/ 13466 w 129103"/>
                <a:gd name="connsiteY1" fmla="*/ 229605 h 229605"/>
                <a:gd name="connsiteX2" fmla="*/ 0 w 129103"/>
                <a:gd name="connsiteY2" fmla="*/ 216139 h 229605"/>
                <a:gd name="connsiteX3" fmla="*/ 0 w 129103"/>
                <a:gd name="connsiteY3" fmla="*/ 13466 h 229605"/>
                <a:gd name="connsiteX4" fmla="*/ 13466 w 129103"/>
                <a:gd name="connsiteY4" fmla="*/ 0 h 229605"/>
                <a:gd name="connsiteX5" fmla="*/ 29974 w 129103"/>
                <a:gd name="connsiteY5" fmla="*/ 0 h 2296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29103" h="229605">
                  <a:moveTo>
                    <a:pt x="129104" y="229605"/>
                  </a:moveTo>
                  <a:lnTo>
                    <a:pt x="13466" y="229605"/>
                  </a:lnTo>
                  <a:cubicBezTo>
                    <a:pt x="6059" y="229605"/>
                    <a:pt x="0" y="223558"/>
                    <a:pt x="0" y="216139"/>
                  </a:cubicBezTo>
                  <a:lnTo>
                    <a:pt x="0" y="13466"/>
                  </a:lnTo>
                  <a:cubicBezTo>
                    <a:pt x="0" y="6059"/>
                    <a:pt x="6059" y="0"/>
                    <a:pt x="13466" y="0"/>
                  </a:cubicBezTo>
                  <a:lnTo>
                    <a:pt x="29974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3" name="Forma livre: Forma 212">
              <a:extLst>
                <a:ext uri="{FF2B5EF4-FFF2-40B4-BE49-F238E27FC236}">
                  <a16:creationId xmlns:a16="http://schemas.microsoft.com/office/drawing/2014/main" id="{AB565128-6FDF-6116-CCD8-3CBD115072F3}"/>
                </a:ext>
              </a:extLst>
            </p:cNvPr>
            <p:cNvSpPr/>
            <p:nvPr/>
          </p:nvSpPr>
          <p:spPr>
            <a:xfrm>
              <a:off x="4027167" y="2093248"/>
              <a:ext cx="29973" cy="100549"/>
            </a:xfrm>
            <a:custGeom>
              <a:avLst/>
              <a:gdLst>
                <a:gd name="connsiteX0" fmla="*/ 0 w 29973"/>
                <a:gd name="connsiteY0" fmla="*/ 0 h 100549"/>
                <a:gd name="connsiteX1" fmla="*/ 16508 w 29973"/>
                <a:gd name="connsiteY1" fmla="*/ 0 h 100549"/>
                <a:gd name="connsiteX2" fmla="*/ 29974 w 29973"/>
                <a:gd name="connsiteY2" fmla="*/ 13466 h 100549"/>
                <a:gd name="connsiteX3" fmla="*/ 29974 w 29973"/>
                <a:gd name="connsiteY3" fmla="*/ 100549 h 1005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9973" h="100549">
                  <a:moveTo>
                    <a:pt x="0" y="0"/>
                  </a:moveTo>
                  <a:lnTo>
                    <a:pt x="16508" y="0"/>
                  </a:lnTo>
                  <a:cubicBezTo>
                    <a:pt x="23915" y="0"/>
                    <a:pt x="29974" y="6047"/>
                    <a:pt x="29974" y="13466"/>
                  </a:cubicBezTo>
                  <a:lnTo>
                    <a:pt x="29974" y="100549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4" name="Forma livre: Forma 213">
              <a:extLst>
                <a:ext uri="{FF2B5EF4-FFF2-40B4-BE49-F238E27FC236}">
                  <a16:creationId xmlns:a16="http://schemas.microsoft.com/office/drawing/2014/main" id="{62EAF817-6117-0A4D-4283-99E80AE3BD79}"/>
                </a:ext>
              </a:extLst>
            </p:cNvPr>
            <p:cNvSpPr/>
            <p:nvPr/>
          </p:nvSpPr>
          <p:spPr>
            <a:xfrm>
              <a:off x="3915764" y="2057334"/>
              <a:ext cx="89754" cy="50990"/>
            </a:xfrm>
            <a:custGeom>
              <a:avLst/>
              <a:gdLst>
                <a:gd name="connsiteX0" fmla="*/ 89743 w 89754"/>
                <a:gd name="connsiteY0" fmla="*/ 21982 h 50990"/>
                <a:gd name="connsiteX1" fmla="*/ 67259 w 89754"/>
                <a:gd name="connsiteY1" fmla="*/ 21982 h 50990"/>
                <a:gd name="connsiteX2" fmla="*/ 44871 w 89754"/>
                <a:gd name="connsiteY2" fmla="*/ 0 h 50990"/>
                <a:gd name="connsiteX3" fmla="*/ 22471 w 89754"/>
                <a:gd name="connsiteY3" fmla="*/ 21982 h 50990"/>
                <a:gd name="connsiteX4" fmla="*/ 0 w 89754"/>
                <a:gd name="connsiteY4" fmla="*/ 21982 h 50990"/>
                <a:gd name="connsiteX5" fmla="*/ 0 w 89754"/>
                <a:gd name="connsiteY5" fmla="*/ 50990 h 50990"/>
                <a:gd name="connsiteX6" fmla="*/ 89755 w 89754"/>
                <a:gd name="connsiteY6" fmla="*/ 50990 h 50990"/>
                <a:gd name="connsiteX7" fmla="*/ 89755 w 89754"/>
                <a:gd name="connsiteY7" fmla="*/ 21982 h 509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9754" h="50990">
                  <a:moveTo>
                    <a:pt x="89743" y="21982"/>
                  </a:moveTo>
                  <a:lnTo>
                    <a:pt x="67259" y="21982"/>
                  </a:lnTo>
                  <a:cubicBezTo>
                    <a:pt x="67009" y="9804"/>
                    <a:pt x="57097" y="0"/>
                    <a:pt x="44871" y="0"/>
                  </a:cubicBezTo>
                  <a:cubicBezTo>
                    <a:pt x="32646" y="0"/>
                    <a:pt x="22722" y="9804"/>
                    <a:pt x="22471" y="21982"/>
                  </a:cubicBezTo>
                  <a:lnTo>
                    <a:pt x="0" y="21982"/>
                  </a:lnTo>
                  <a:lnTo>
                    <a:pt x="0" y="50990"/>
                  </a:lnTo>
                  <a:lnTo>
                    <a:pt x="89755" y="50990"/>
                  </a:lnTo>
                  <a:lnTo>
                    <a:pt x="89755" y="21982"/>
                  </a:ln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215" name="Gráfico 4">
              <a:extLst>
                <a:ext uri="{FF2B5EF4-FFF2-40B4-BE49-F238E27FC236}">
                  <a16:creationId xmlns:a16="http://schemas.microsoft.com/office/drawing/2014/main" id="{E398D693-4A2F-7E44-8571-3699FB11DAA8}"/>
                </a:ext>
              </a:extLst>
            </p:cNvPr>
            <p:cNvGrpSpPr/>
            <p:nvPr/>
          </p:nvGrpSpPr>
          <p:grpSpPr>
            <a:xfrm>
              <a:off x="3894103" y="2139097"/>
              <a:ext cx="139564" cy="62297"/>
              <a:chOff x="3894103" y="2139097"/>
              <a:chExt cx="139564" cy="62297"/>
            </a:xfrm>
            <a:noFill/>
          </p:grpSpPr>
          <p:sp>
            <p:nvSpPr>
              <p:cNvPr id="216" name="Forma livre: Forma 215">
                <a:extLst>
                  <a:ext uri="{FF2B5EF4-FFF2-40B4-BE49-F238E27FC236}">
                    <a16:creationId xmlns:a16="http://schemas.microsoft.com/office/drawing/2014/main" id="{68301F91-5E7E-A5EE-B092-DE3DBF609C71}"/>
                  </a:ext>
                </a:extLst>
              </p:cNvPr>
              <p:cNvSpPr/>
              <p:nvPr/>
            </p:nvSpPr>
            <p:spPr>
              <a:xfrm>
                <a:off x="3894103" y="2145001"/>
                <a:ext cx="54222" cy="56393"/>
              </a:xfrm>
              <a:custGeom>
                <a:avLst/>
                <a:gdLst>
                  <a:gd name="connsiteX0" fmla="*/ 54223 w 54222"/>
                  <a:gd name="connsiteY0" fmla="*/ 56393 h 56393"/>
                  <a:gd name="connsiteX1" fmla="*/ 0 w 54222"/>
                  <a:gd name="connsiteY1" fmla="*/ 56393 h 56393"/>
                  <a:gd name="connsiteX2" fmla="*/ 0 w 54222"/>
                  <a:gd name="connsiteY2" fmla="*/ 0 h 56393"/>
                  <a:gd name="connsiteX3" fmla="*/ 30630 w 54222"/>
                  <a:gd name="connsiteY3" fmla="*/ 0 h 563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4222" h="56393">
                    <a:moveTo>
                      <a:pt x="54223" y="56393"/>
                    </a:moveTo>
                    <a:lnTo>
                      <a:pt x="0" y="56393"/>
                    </a:lnTo>
                    <a:lnTo>
                      <a:pt x="0" y="0"/>
                    </a:lnTo>
                    <a:lnTo>
                      <a:pt x="30630" y="0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17" name="Forma livre: Forma 216">
                <a:extLst>
                  <a:ext uri="{FF2B5EF4-FFF2-40B4-BE49-F238E27FC236}">
                    <a16:creationId xmlns:a16="http://schemas.microsoft.com/office/drawing/2014/main" id="{72183FC0-58DC-B6C1-8ECD-23EDD84D6E68}"/>
                  </a:ext>
                </a:extLst>
              </p:cNvPr>
              <p:cNvSpPr/>
              <p:nvPr/>
            </p:nvSpPr>
            <p:spPr>
              <a:xfrm>
                <a:off x="3913509" y="2139097"/>
                <a:ext cx="46243" cy="42235"/>
              </a:xfrm>
              <a:custGeom>
                <a:avLst/>
                <a:gdLst>
                  <a:gd name="connsiteX0" fmla="*/ 0 w 46243"/>
                  <a:gd name="connsiteY0" fmla="*/ 27159 h 42235"/>
                  <a:gd name="connsiteX1" fmla="*/ 13562 w 46243"/>
                  <a:gd name="connsiteY1" fmla="*/ 42235 h 42235"/>
                  <a:gd name="connsiteX2" fmla="*/ 46243 w 46243"/>
                  <a:gd name="connsiteY2" fmla="*/ 0 h 422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46243" h="42235">
                    <a:moveTo>
                      <a:pt x="0" y="27159"/>
                    </a:moveTo>
                    <a:lnTo>
                      <a:pt x="13562" y="42235"/>
                    </a:lnTo>
                    <a:lnTo>
                      <a:pt x="46243" y="0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18" name="Forma livre: Forma 217">
                <a:extLst>
                  <a:ext uri="{FF2B5EF4-FFF2-40B4-BE49-F238E27FC236}">
                    <a16:creationId xmlns:a16="http://schemas.microsoft.com/office/drawing/2014/main" id="{52971248-DA65-B59B-175B-94C540A1EC86}"/>
                  </a:ext>
                </a:extLst>
              </p:cNvPr>
              <p:cNvSpPr/>
              <p:nvPr/>
            </p:nvSpPr>
            <p:spPr>
              <a:xfrm>
                <a:off x="3979254" y="2158038"/>
                <a:ext cx="54413" cy="1192"/>
              </a:xfrm>
              <a:custGeom>
                <a:avLst/>
                <a:gdLst>
                  <a:gd name="connsiteX0" fmla="*/ 0 w 54413"/>
                  <a:gd name="connsiteY0" fmla="*/ 0 h 1192"/>
                  <a:gd name="connsiteX1" fmla="*/ 54414 w 54413"/>
                  <a:gd name="connsiteY1" fmla="*/ 0 h 11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4413" h="1192">
                    <a:moveTo>
                      <a:pt x="0" y="0"/>
                    </a:moveTo>
                    <a:lnTo>
                      <a:pt x="54414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19" name="Forma livre: Forma 218">
                <a:extLst>
                  <a:ext uri="{FF2B5EF4-FFF2-40B4-BE49-F238E27FC236}">
                    <a16:creationId xmlns:a16="http://schemas.microsoft.com/office/drawing/2014/main" id="{931879A9-8EDC-92E4-EF5D-E2893482C7C5}"/>
                  </a:ext>
                </a:extLst>
              </p:cNvPr>
              <p:cNvSpPr/>
              <p:nvPr/>
            </p:nvSpPr>
            <p:spPr>
              <a:xfrm>
                <a:off x="3979254" y="2183754"/>
                <a:ext cx="31918" cy="1192"/>
              </a:xfrm>
              <a:custGeom>
                <a:avLst/>
                <a:gdLst>
                  <a:gd name="connsiteX0" fmla="*/ 0 w 31918"/>
                  <a:gd name="connsiteY0" fmla="*/ 0 h 1192"/>
                  <a:gd name="connsiteX1" fmla="*/ 31918 w 31918"/>
                  <a:gd name="connsiteY1" fmla="*/ 0 h 11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1918" h="1192">
                    <a:moveTo>
                      <a:pt x="0" y="0"/>
                    </a:moveTo>
                    <a:lnTo>
                      <a:pt x="31918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220" name="Gráfico 4">
              <a:extLst>
                <a:ext uri="{FF2B5EF4-FFF2-40B4-BE49-F238E27FC236}">
                  <a16:creationId xmlns:a16="http://schemas.microsoft.com/office/drawing/2014/main" id="{83A2C804-2FA9-4BB4-2A33-6C08093AF580}"/>
                </a:ext>
              </a:extLst>
            </p:cNvPr>
            <p:cNvGrpSpPr/>
            <p:nvPr/>
          </p:nvGrpSpPr>
          <p:grpSpPr>
            <a:xfrm>
              <a:off x="3894103" y="2230605"/>
              <a:ext cx="65649" cy="62285"/>
              <a:chOff x="3894103" y="2230605"/>
              <a:chExt cx="65649" cy="62285"/>
            </a:xfrm>
            <a:noFill/>
          </p:grpSpPr>
          <p:sp>
            <p:nvSpPr>
              <p:cNvPr id="221" name="Forma livre: Forma 220">
                <a:extLst>
                  <a:ext uri="{FF2B5EF4-FFF2-40B4-BE49-F238E27FC236}">
                    <a16:creationId xmlns:a16="http://schemas.microsoft.com/office/drawing/2014/main" id="{80679258-4F7E-042A-4C51-CCCF9BCD5545}"/>
                  </a:ext>
                </a:extLst>
              </p:cNvPr>
              <p:cNvSpPr/>
              <p:nvPr/>
            </p:nvSpPr>
            <p:spPr>
              <a:xfrm>
                <a:off x="3894103" y="2236510"/>
                <a:ext cx="54222" cy="56381"/>
              </a:xfrm>
              <a:custGeom>
                <a:avLst/>
                <a:gdLst>
                  <a:gd name="connsiteX0" fmla="*/ 54223 w 54222"/>
                  <a:gd name="connsiteY0" fmla="*/ 56381 h 56381"/>
                  <a:gd name="connsiteX1" fmla="*/ 0 w 54222"/>
                  <a:gd name="connsiteY1" fmla="*/ 56381 h 56381"/>
                  <a:gd name="connsiteX2" fmla="*/ 0 w 54222"/>
                  <a:gd name="connsiteY2" fmla="*/ 0 h 56381"/>
                  <a:gd name="connsiteX3" fmla="*/ 30630 w 54222"/>
                  <a:gd name="connsiteY3" fmla="*/ 0 h 563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4222" h="56381">
                    <a:moveTo>
                      <a:pt x="54223" y="56381"/>
                    </a:moveTo>
                    <a:lnTo>
                      <a:pt x="0" y="56381"/>
                    </a:lnTo>
                    <a:lnTo>
                      <a:pt x="0" y="0"/>
                    </a:lnTo>
                    <a:lnTo>
                      <a:pt x="30630" y="0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22" name="Forma livre: Forma 221">
                <a:extLst>
                  <a:ext uri="{FF2B5EF4-FFF2-40B4-BE49-F238E27FC236}">
                    <a16:creationId xmlns:a16="http://schemas.microsoft.com/office/drawing/2014/main" id="{99F8F5AE-31CA-E44A-0C86-AB3587387974}"/>
                  </a:ext>
                </a:extLst>
              </p:cNvPr>
              <p:cNvSpPr/>
              <p:nvPr/>
            </p:nvSpPr>
            <p:spPr>
              <a:xfrm>
                <a:off x="3913509" y="2230605"/>
                <a:ext cx="46243" cy="42223"/>
              </a:xfrm>
              <a:custGeom>
                <a:avLst/>
                <a:gdLst>
                  <a:gd name="connsiteX0" fmla="*/ 0 w 46243"/>
                  <a:gd name="connsiteY0" fmla="*/ 27159 h 42223"/>
                  <a:gd name="connsiteX1" fmla="*/ 13562 w 46243"/>
                  <a:gd name="connsiteY1" fmla="*/ 42224 h 42223"/>
                  <a:gd name="connsiteX2" fmla="*/ 46243 w 46243"/>
                  <a:gd name="connsiteY2" fmla="*/ 0 h 422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46243" h="42223">
                    <a:moveTo>
                      <a:pt x="0" y="27159"/>
                    </a:moveTo>
                    <a:lnTo>
                      <a:pt x="13562" y="42224"/>
                    </a:lnTo>
                    <a:lnTo>
                      <a:pt x="46243" y="0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223" name="Forma livre: Forma 222">
              <a:extLst>
                <a:ext uri="{FF2B5EF4-FFF2-40B4-BE49-F238E27FC236}">
                  <a16:creationId xmlns:a16="http://schemas.microsoft.com/office/drawing/2014/main" id="{909B1C05-6CDC-4746-5636-1CA40E6459EB}"/>
                </a:ext>
              </a:extLst>
            </p:cNvPr>
            <p:cNvSpPr/>
            <p:nvPr/>
          </p:nvSpPr>
          <p:spPr>
            <a:xfrm>
              <a:off x="3988261" y="2205415"/>
              <a:ext cx="143059" cy="156080"/>
            </a:xfrm>
            <a:custGeom>
              <a:avLst/>
              <a:gdLst>
                <a:gd name="connsiteX0" fmla="*/ 89240 w 143059"/>
                <a:gd name="connsiteY0" fmla="*/ 23902 h 156080"/>
                <a:gd name="connsiteX1" fmla="*/ 65612 w 143059"/>
                <a:gd name="connsiteY1" fmla="*/ 13275 h 156080"/>
                <a:gd name="connsiteX2" fmla="*/ 15397 w 143059"/>
                <a:gd name="connsiteY2" fmla="*/ 8360 h 156080"/>
                <a:gd name="connsiteX3" fmla="*/ 6904 w 143059"/>
                <a:gd name="connsiteY3" fmla="*/ 63955 h 156080"/>
                <a:gd name="connsiteX4" fmla="*/ 28541 w 143059"/>
                <a:gd name="connsiteY4" fmla="*/ 130296 h 156080"/>
                <a:gd name="connsiteX5" fmla="*/ 44262 w 143059"/>
                <a:gd name="connsiteY5" fmla="*/ 154044 h 156080"/>
                <a:gd name="connsiteX6" fmla="*/ 51991 w 143059"/>
                <a:gd name="connsiteY6" fmla="*/ 156047 h 156080"/>
                <a:gd name="connsiteX7" fmla="*/ 58121 w 143059"/>
                <a:gd name="connsiteY7" fmla="*/ 125584 h 156080"/>
                <a:gd name="connsiteX8" fmla="*/ 71528 w 143059"/>
                <a:gd name="connsiteY8" fmla="*/ 94215 h 156080"/>
                <a:gd name="connsiteX9" fmla="*/ 84923 w 143059"/>
                <a:gd name="connsiteY9" fmla="*/ 125584 h 156080"/>
                <a:gd name="connsiteX10" fmla="*/ 91053 w 143059"/>
                <a:gd name="connsiteY10" fmla="*/ 156047 h 156080"/>
                <a:gd name="connsiteX11" fmla="*/ 98783 w 143059"/>
                <a:gd name="connsiteY11" fmla="*/ 154044 h 156080"/>
                <a:gd name="connsiteX12" fmla="*/ 114527 w 143059"/>
                <a:gd name="connsiteY12" fmla="*/ 130296 h 156080"/>
                <a:gd name="connsiteX13" fmla="*/ 136163 w 143059"/>
                <a:gd name="connsiteY13" fmla="*/ 63955 h 156080"/>
                <a:gd name="connsiteX14" fmla="*/ 127671 w 143059"/>
                <a:gd name="connsiteY14" fmla="*/ 8360 h 156080"/>
                <a:gd name="connsiteX15" fmla="*/ 90731 w 143059"/>
                <a:gd name="connsiteY15" fmla="*/ 2313 h 1560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43059" h="156080">
                  <a:moveTo>
                    <a:pt x="89240" y="23902"/>
                  </a:moveTo>
                  <a:cubicBezTo>
                    <a:pt x="77456" y="23902"/>
                    <a:pt x="65612" y="13275"/>
                    <a:pt x="65612" y="13275"/>
                  </a:cubicBezTo>
                  <a:cubicBezTo>
                    <a:pt x="49522" y="-645"/>
                    <a:pt x="32179" y="-4724"/>
                    <a:pt x="15397" y="8360"/>
                  </a:cubicBezTo>
                  <a:cubicBezTo>
                    <a:pt x="-1385" y="21421"/>
                    <a:pt x="-4808" y="45872"/>
                    <a:pt x="6904" y="63955"/>
                  </a:cubicBezTo>
                  <a:cubicBezTo>
                    <a:pt x="6904" y="63955"/>
                    <a:pt x="26394" y="96350"/>
                    <a:pt x="28541" y="130296"/>
                  </a:cubicBezTo>
                  <a:cubicBezTo>
                    <a:pt x="28541" y="130296"/>
                    <a:pt x="28374" y="148581"/>
                    <a:pt x="44262" y="154044"/>
                  </a:cubicBezTo>
                  <a:cubicBezTo>
                    <a:pt x="44262" y="154044"/>
                    <a:pt x="49211" y="156381"/>
                    <a:pt x="51991" y="156047"/>
                  </a:cubicBezTo>
                  <a:cubicBezTo>
                    <a:pt x="57620" y="155344"/>
                    <a:pt x="58682" y="147209"/>
                    <a:pt x="58121" y="125584"/>
                  </a:cubicBezTo>
                  <a:cubicBezTo>
                    <a:pt x="58121" y="125584"/>
                    <a:pt x="58312" y="94215"/>
                    <a:pt x="71528" y="94215"/>
                  </a:cubicBezTo>
                  <a:cubicBezTo>
                    <a:pt x="84744" y="94215"/>
                    <a:pt x="84923" y="125584"/>
                    <a:pt x="84923" y="125584"/>
                  </a:cubicBezTo>
                  <a:cubicBezTo>
                    <a:pt x="84374" y="147197"/>
                    <a:pt x="85435" y="155344"/>
                    <a:pt x="91053" y="156047"/>
                  </a:cubicBezTo>
                  <a:cubicBezTo>
                    <a:pt x="93844" y="156381"/>
                    <a:pt x="98783" y="154044"/>
                    <a:pt x="98783" y="154044"/>
                  </a:cubicBezTo>
                  <a:cubicBezTo>
                    <a:pt x="114670" y="148581"/>
                    <a:pt x="114527" y="130296"/>
                    <a:pt x="114527" y="130296"/>
                  </a:cubicBezTo>
                  <a:cubicBezTo>
                    <a:pt x="116662" y="96350"/>
                    <a:pt x="136163" y="63955"/>
                    <a:pt x="136163" y="63955"/>
                  </a:cubicBezTo>
                  <a:cubicBezTo>
                    <a:pt x="147864" y="45861"/>
                    <a:pt x="144441" y="21421"/>
                    <a:pt x="127671" y="8360"/>
                  </a:cubicBezTo>
                  <a:cubicBezTo>
                    <a:pt x="116292" y="-502"/>
                    <a:pt x="103076" y="-1969"/>
                    <a:pt x="90731" y="2313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224" name="Gráfico 4">
            <a:extLst>
              <a:ext uri="{FF2B5EF4-FFF2-40B4-BE49-F238E27FC236}">
                <a16:creationId xmlns:a16="http://schemas.microsoft.com/office/drawing/2014/main" id="{DB44FD5A-4BCD-B8E0-672A-5E21BD1EBC71}"/>
              </a:ext>
            </a:extLst>
          </p:cNvPr>
          <p:cNvGrpSpPr/>
          <p:nvPr/>
        </p:nvGrpSpPr>
        <p:grpSpPr>
          <a:xfrm>
            <a:off x="3205251" y="2038500"/>
            <a:ext cx="341820" cy="341819"/>
            <a:chOff x="3205251" y="2038500"/>
            <a:chExt cx="341820" cy="341819"/>
          </a:xfrm>
          <a:noFill/>
        </p:grpSpPr>
        <p:sp>
          <p:nvSpPr>
            <p:cNvPr id="225" name="Forma livre: Forma 224">
              <a:extLst>
                <a:ext uri="{FF2B5EF4-FFF2-40B4-BE49-F238E27FC236}">
                  <a16:creationId xmlns:a16="http://schemas.microsoft.com/office/drawing/2014/main" id="{F5CF0752-E6BD-B66B-5A46-2B5FE5976E1D}"/>
                </a:ext>
              </a:extLst>
            </p:cNvPr>
            <p:cNvSpPr/>
            <p:nvPr/>
          </p:nvSpPr>
          <p:spPr>
            <a:xfrm>
              <a:off x="3294449" y="2123373"/>
              <a:ext cx="168472" cy="183822"/>
            </a:xfrm>
            <a:custGeom>
              <a:avLst/>
              <a:gdLst>
                <a:gd name="connsiteX0" fmla="*/ 106831 w 168472"/>
                <a:gd name="connsiteY0" fmla="*/ 25839 h 183822"/>
                <a:gd name="connsiteX1" fmla="*/ 80591 w 168472"/>
                <a:gd name="connsiteY1" fmla="*/ 14627 h 183822"/>
                <a:gd name="connsiteX2" fmla="*/ 18126 w 168472"/>
                <a:gd name="connsiteY2" fmla="*/ 9844 h 183822"/>
                <a:gd name="connsiteX3" fmla="*/ 8131 w 168472"/>
                <a:gd name="connsiteY3" fmla="*/ 75327 h 183822"/>
                <a:gd name="connsiteX4" fmla="*/ 35195 w 168472"/>
                <a:gd name="connsiteY4" fmla="*/ 153452 h 183822"/>
                <a:gd name="connsiteX5" fmla="*/ 53706 w 168472"/>
                <a:gd name="connsiteY5" fmla="*/ 181422 h 183822"/>
                <a:gd name="connsiteX6" fmla="*/ 62819 w 168472"/>
                <a:gd name="connsiteY6" fmla="*/ 183784 h 183822"/>
                <a:gd name="connsiteX7" fmla="*/ 70035 w 168472"/>
                <a:gd name="connsiteY7" fmla="*/ 147906 h 183822"/>
                <a:gd name="connsiteX8" fmla="*/ 84241 w 168472"/>
                <a:gd name="connsiteY8" fmla="*/ 110978 h 183822"/>
                <a:gd name="connsiteX9" fmla="*/ 98446 w 168472"/>
                <a:gd name="connsiteY9" fmla="*/ 147906 h 183822"/>
                <a:gd name="connsiteX10" fmla="*/ 105663 w 168472"/>
                <a:gd name="connsiteY10" fmla="*/ 183784 h 183822"/>
                <a:gd name="connsiteX11" fmla="*/ 114763 w 168472"/>
                <a:gd name="connsiteY11" fmla="*/ 181422 h 183822"/>
                <a:gd name="connsiteX12" fmla="*/ 133275 w 168472"/>
                <a:gd name="connsiteY12" fmla="*/ 153452 h 183822"/>
                <a:gd name="connsiteX13" fmla="*/ 160339 w 168472"/>
                <a:gd name="connsiteY13" fmla="*/ 75327 h 183822"/>
                <a:gd name="connsiteX14" fmla="*/ 150343 w 168472"/>
                <a:gd name="connsiteY14" fmla="*/ 9844 h 183822"/>
                <a:gd name="connsiteX15" fmla="*/ 103635 w 168472"/>
                <a:gd name="connsiteY15" fmla="*/ 3964 h 1838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68472" h="183822">
                  <a:moveTo>
                    <a:pt x="106831" y="25839"/>
                  </a:moveTo>
                  <a:cubicBezTo>
                    <a:pt x="92125" y="25064"/>
                    <a:pt x="80591" y="14627"/>
                    <a:pt x="80591" y="14627"/>
                  </a:cubicBezTo>
                  <a:cubicBezTo>
                    <a:pt x="61638" y="-1749"/>
                    <a:pt x="37902" y="-5542"/>
                    <a:pt x="18126" y="9844"/>
                  </a:cubicBezTo>
                  <a:cubicBezTo>
                    <a:pt x="-1638" y="25243"/>
                    <a:pt x="-5657" y="54024"/>
                    <a:pt x="8131" y="75327"/>
                  </a:cubicBezTo>
                  <a:cubicBezTo>
                    <a:pt x="8131" y="75327"/>
                    <a:pt x="32666" y="113471"/>
                    <a:pt x="35195" y="153452"/>
                  </a:cubicBezTo>
                  <a:cubicBezTo>
                    <a:pt x="35195" y="153452"/>
                    <a:pt x="35004" y="174981"/>
                    <a:pt x="53706" y="181422"/>
                  </a:cubicBezTo>
                  <a:cubicBezTo>
                    <a:pt x="53706" y="181422"/>
                    <a:pt x="59527" y="184177"/>
                    <a:pt x="62819" y="183784"/>
                  </a:cubicBezTo>
                  <a:cubicBezTo>
                    <a:pt x="69439" y="182949"/>
                    <a:pt x="70679" y="173371"/>
                    <a:pt x="70035" y="147906"/>
                  </a:cubicBezTo>
                  <a:cubicBezTo>
                    <a:pt x="70035" y="147906"/>
                    <a:pt x="68675" y="110978"/>
                    <a:pt x="84241" y="110978"/>
                  </a:cubicBezTo>
                  <a:cubicBezTo>
                    <a:pt x="99806" y="110978"/>
                    <a:pt x="98446" y="147906"/>
                    <a:pt x="98446" y="147906"/>
                  </a:cubicBezTo>
                  <a:cubicBezTo>
                    <a:pt x="97790" y="173371"/>
                    <a:pt x="99043" y="182949"/>
                    <a:pt x="105663" y="183784"/>
                  </a:cubicBezTo>
                  <a:cubicBezTo>
                    <a:pt x="108943" y="184177"/>
                    <a:pt x="114763" y="181422"/>
                    <a:pt x="114763" y="181422"/>
                  </a:cubicBezTo>
                  <a:cubicBezTo>
                    <a:pt x="133466" y="174981"/>
                    <a:pt x="133275" y="153452"/>
                    <a:pt x="133275" y="153452"/>
                  </a:cubicBezTo>
                  <a:cubicBezTo>
                    <a:pt x="135804" y="113471"/>
                    <a:pt x="160339" y="75327"/>
                    <a:pt x="160339" y="75327"/>
                  </a:cubicBezTo>
                  <a:cubicBezTo>
                    <a:pt x="174127" y="54024"/>
                    <a:pt x="170119" y="25243"/>
                    <a:pt x="150343" y="9844"/>
                  </a:cubicBezTo>
                  <a:cubicBezTo>
                    <a:pt x="135971" y="-1356"/>
                    <a:pt x="119069" y="-2537"/>
                    <a:pt x="103635" y="3964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226" name="Gráfico 4">
              <a:extLst>
                <a:ext uri="{FF2B5EF4-FFF2-40B4-BE49-F238E27FC236}">
                  <a16:creationId xmlns:a16="http://schemas.microsoft.com/office/drawing/2014/main" id="{5074A715-9954-EEFC-77A4-1BA278900206}"/>
                </a:ext>
              </a:extLst>
            </p:cNvPr>
            <p:cNvGrpSpPr/>
            <p:nvPr/>
          </p:nvGrpSpPr>
          <p:grpSpPr>
            <a:xfrm>
              <a:off x="3205251" y="2209410"/>
              <a:ext cx="341820" cy="1192"/>
              <a:chOff x="3205251" y="2209410"/>
              <a:chExt cx="341820" cy="1192"/>
            </a:xfrm>
          </p:grpSpPr>
          <p:sp>
            <p:nvSpPr>
              <p:cNvPr id="227" name="Forma livre: Forma 226">
                <a:extLst>
                  <a:ext uri="{FF2B5EF4-FFF2-40B4-BE49-F238E27FC236}">
                    <a16:creationId xmlns:a16="http://schemas.microsoft.com/office/drawing/2014/main" id="{706476F9-2F04-1D87-63D3-115DDB54BD7F}"/>
                  </a:ext>
                </a:extLst>
              </p:cNvPr>
              <p:cNvSpPr/>
              <p:nvPr/>
            </p:nvSpPr>
            <p:spPr>
              <a:xfrm>
                <a:off x="3508497" y="2209410"/>
                <a:ext cx="38573" cy="1192"/>
              </a:xfrm>
              <a:custGeom>
                <a:avLst/>
                <a:gdLst>
                  <a:gd name="connsiteX0" fmla="*/ 38574 w 38573"/>
                  <a:gd name="connsiteY0" fmla="*/ 0 h 1192"/>
                  <a:gd name="connsiteX1" fmla="*/ 0 w 38573"/>
                  <a:gd name="connsiteY1" fmla="*/ 0 h 11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8573" h="1192">
                    <a:moveTo>
                      <a:pt x="38574" y="0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28" name="Forma livre: Forma 227">
                <a:extLst>
                  <a:ext uri="{FF2B5EF4-FFF2-40B4-BE49-F238E27FC236}">
                    <a16:creationId xmlns:a16="http://schemas.microsoft.com/office/drawing/2014/main" id="{1018DBB2-4790-484E-A99F-D646CEE8E030}"/>
                  </a:ext>
                </a:extLst>
              </p:cNvPr>
              <p:cNvSpPr/>
              <p:nvPr/>
            </p:nvSpPr>
            <p:spPr>
              <a:xfrm>
                <a:off x="3205251" y="2209410"/>
                <a:ext cx="38585" cy="1192"/>
              </a:xfrm>
              <a:custGeom>
                <a:avLst/>
                <a:gdLst>
                  <a:gd name="connsiteX0" fmla="*/ 38586 w 38585"/>
                  <a:gd name="connsiteY0" fmla="*/ 0 h 1192"/>
                  <a:gd name="connsiteX1" fmla="*/ 0 w 38585"/>
                  <a:gd name="connsiteY1" fmla="*/ 0 h 11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8585" h="1192">
                    <a:moveTo>
                      <a:pt x="38586" y="0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229" name="Gráfico 4">
              <a:extLst>
                <a:ext uri="{FF2B5EF4-FFF2-40B4-BE49-F238E27FC236}">
                  <a16:creationId xmlns:a16="http://schemas.microsoft.com/office/drawing/2014/main" id="{36888EA2-1D5C-8B22-6E40-1AD1538F4242}"/>
                </a:ext>
              </a:extLst>
            </p:cNvPr>
            <p:cNvGrpSpPr/>
            <p:nvPr/>
          </p:nvGrpSpPr>
          <p:grpSpPr>
            <a:xfrm>
              <a:off x="3376173" y="2038500"/>
              <a:ext cx="1192" cy="341819"/>
              <a:chOff x="3376173" y="2038500"/>
              <a:chExt cx="1192" cy="341819"/>
            </a:xfrm>
          </p:grpSpPr>
          <p:sp>
            <p:nvSpPr>
              <p:cNvPr id="230" name="Forma livre: Forma 229">
                <a:extLst>
                  <a:ext uri="{FF2B5EF4-FFF2-40B4-BE49-F238E27FC236}">
                    <a16:creationId xmlns:a16="http://schemas.microsoft.com/office/drawing/2014/main" id="{C32A6A48-0B3E-272D-0055-5D5C5EC0344A}"/>
                  </a:ext>
                </a:extLst>
              </p:cNvPr>
              <p:cNvSpPr/>
              <p:nvPr/>
            </p:nvSpPr>
            <p:spPr>
              <a:xfrm>
                <a:off x="3376173" y="2341746"/>
                <a:ext cx="1192" cy="38573"/>
              </a:xfrm>
              <a:custGeom>
                <a:avLst/>
                <a:gdLst>
                  <a:gd name="connsiteX0" fmla="*/ 0 w 1192"/>
                  <a:gd name="connsiteY0" fmla="*/ 38574 h 38573"/>
                  <a:gd name="connsiteX1" fmla="*/ 0 w 1192"/>
                  <a:gd name="connsiteY1" fmla="*/ 0 h 385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2" h="38573">
                    <a:moveTo>
                      <a:pt x="0" y="38574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31" name="Forma livre: Forma 230">
                <a:extLst>
                  <a:ext uri="{FF2B5EF4-FFF2-40B4-BE49-F238E27FC236}">
                    <a16:creationId xmlns:a16="http://schemas.microsoft.com/office/drawing/2014/main" id="{B3D03C97-16D0-15F6-8985-1046B4BA08E9}"/>
                  </a:ext>
                </a:extLst>
              </p:cNvPr>
              <p:cNvSpPr/>
              <p:nvPr/>
            </p:nvSpPr>
            <p:spPr>
              <a:xfrm>
                <a:off x="3376173" y="2038500"/>
                <a:ext cx="1192" cy="38585"/>
              </a:xfrm>
              <a:custGeom>
                <a:avLst/>
                <a:gdLst>
                  <a:gd name="connsiteX0" fmla="*/ 0 w 1192"/>
                  <a:gd name="connsiteY0" fmla="*/ 38586 h 38585"/>
                  <a:gd name="connsiteX1" fmla="*/ 0 w 1192"/>
                  <a:gd name="connsiteY1" fmla="*/ 0 h 385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2" h="38585">
                    <a:moveTo>
                      <a:pt x="0" y="38586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232" name="Gráfico 4">
              <a:extLst>
                <a:ext uri="{FF2B5EF4-FFF2-40B4-BE49-F238E27FC236}">
                  <a16:creationId xmlns:a16="http://schemas.microsoft.com/office/drawing/2014/main" id="{DC59FBF7-02C9-D122-6820-E6CD366ABF53}"/>
                </a:ext>
              </a:extLst>
            </p:cNvPr>
            <p:cNvGrpSpPr/>
            <p:nvPr/>
          </p:nvGrpSpPr>
          <p:grpSpPr>
            <a:xfrm>
              <a:off x="3228152" y="2123949"/>
              <a:ext cx="296030" cy="170909"/>
              <a:chOff x="3228152" y="2123949"/>
              <a:chExt cx="296030" cy="170909"/>
            </a:xfrm>
          </p:grpSpPr>
          <p:sp>
            <p:nvSpPr>
              <p:cNvPr id="233" name="Forma livre: Forma 232">
                <a:extLst>
                  <a:ext uri="{FF2B5EF4-FFF2-40B4-BE49-F238E27FC236}">
                    <a16:creationId xmlns:a16="http://schemas.microsoft.com/office/drawing/2014/main" id="{28030CDC-A0C0-B261-A978-B4CB0ECF36D6}"/>
                  </a:ext>
                </a:extLst>
              </p:cNvPr>
              <p:cNvSpPr/>
              <p:nvPr/>
            </p:nvSpPr>
            <p:spPr>
              <a:xfrm>
                <a:off x="3490761" y="2275572"/>
                <a:ext cx="33421" cy="19286"/>
              </a:xfrm>
              <a:custGeom>
                <a:avLst/>
                <a:gdLst>
                  <a:gd name="connsiteX0" fmla="*/ 33421 w 33421"/>
                  <a:gd name="connsiteY0" fmla="*/ 19287 h 19286"/>
                  <a:gd name="connsiteX1" fmla="*/ 0 w 33421"/>
                  <a:gd name="connsiteY1" fmla="*/ 0 h 192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3421" h="19286">
                    <a:moveTo>
                      <a:pt x="33421" y="19287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34" name="Forma livre: Forma 233">
                <a:extLst>
                  <a:ext uri="{FF2B5EF4-FFF2-40B4-BE49-F238E27FC236}">
                    <a16:creationId xmlns:a16="http://schemas.microsoft.com/office/drawing/2014/main" id="{FDC8621D-4684-7FE7-B067-D117726F21D4}"/>
                  </a:ext>
                </a:extLst>
              </p:cNvPr>
              <p:cNvSpPr/>
              <p:nvPr/>
            </p:nvSpPr>
            <p:spPr>
              <a:xfrm>
                <a:off x="3228152" y="2123949"/>
                <a:ext cx="33409" cy="19298"/>
              </a:xfrm>
              <a:custGeom>
                <a:avLst/>
                <a:gdLst>
                  <a:gd name="connsiteX0" fmla="*/ 33409 w 33409"/>
                  <a:gd name="connsiteY0" fmla="*/ 19299 h 19298"/>
                  <a:gd name="connsiteX1" fmla="*/ 0 w 33409"/>
                  <a:gd name="connsiteY1" fmla="*/ 0 h 19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3409" h="19298">
                    <a:moveTo>
                      <a:pt x="33409" y="19299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235" name="Gráfico 4">
              <a:extLst>
                <a:ext uri="{FF2B5EF4-FFF2-40B4-BE49-F238E27FC236}">
                  <a16:creationId xmlns:a16="http://schemas.microsoft.com/office/drawing/2014/main" id="{7B501ED4-6308-B385-4BD5-3AEF78358515}"/>
                </a:ext>
              </a:extLst>
            </p:cNvPr>
            <p:cNvGrpSpPr/>
            <p:nvPr/>
          </p:nvGrpSpPr>
          <p:grpSpPr>
            <a:xfrm>
              <a:off x="3290712" y="2061401"/>
              <a:ext cx="170910" cy="296018"/>
              <a:chOff x="3290712" y="2061401"/>
              <a:chExt cx="170910" cy="296018"/>
            </a:xfrm>
          </p:grpSpPr>
          <p:sp>
            <p:nvSpPr>
              <p:cNvPr id="236" name="Forma livre: Forma 235">
                <a:extLst>
                  <a:ext uri="{FF2B5EF4-FFF2-40B4-BE49-F238E27FC236}">
                    <a16:creationId xmlns:a16="http://schemas.microsoft.com/office/drawing/2014/main" id="{916DBDF6-61E0-3CF2-ED30-7EB1EBB3C228}"/>
                  </a:ext>
                </a:extLst>
              </p:cNvPr>
              <p:cNvSpPr/>
              <p:nvPr/>
            </p:nvSpPr>
            <p:spPr>
              <a:xfrm>
                <a:off x="3290712" y="2324010"/>
                <a:ext cx="19286" cy="33409"/>
              </a:xfrm>
              <a:custGeom>
                <a:avLst/>
                <a:gdLst>
                  <a:gd name="connsiteX0" fmla="*/ 0 w 19286"/>
                  <a:gd name="connsiteY0" fmla="*/ 33409 h 33409"/>
                  <a:gd name="connsiteX1" fmla="*/ 19287 w 19286"/>
                  <a:gd name="connsiteY1" fmla="*/ 0 h 334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9286" h="33409">
                    <a:moveTo>
                      <a:pt x="0" y="33409"/>
                    </a:moveTo>
                    <a:lnTo>
                      <a:pt x="19287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37" name="Forma livre: Forma 236">
                <a:extLst>
                  <a:ext uri="{FF2B5EF4-FFF2-40B4-BE49-F238E27FC236}">
                    <a16:creationId xmlns:a16="http://schemas.microsoft.com/office/drawing/2014/main" id="{F32769A6-0281-F936-8BB1-4A116F1372FF}"/>
                  </a:ext>
                </a:extLst>
              </p:cNvPr>
              <p:cNvSpPr/>
              <p:nvPr/>
            </p:nvSpPr>
            <p:spPr>
              <a:xfrm>
                <a:off x="3442335" y="2061401"/>
                <a:ext cx="19286" cy="33409"/>
              </a:xfrm>
              <a:custGeom>
                <a:avLst/>
                <a:gdLst>
                  <a:gd name="connsiteX0" fmla="*/ 0 w 19286"/>
                  <a:gd name="connsiteY0" fmla="*/ 33409 h 33409"/>
                  <a:gd name="connsiteX1" fmla="*/ 19287 w 19286"/>
                  <a:gd name="connsiteY1" fmla="*/ 0 h 334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9286" h="33409">
                    <a:moveTo>
                      <a:pt x="0" y="33409"/>
                    </a:moveTo>
                    <a:lnTo>
                      <a:pt x="19287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238" name="Gráfico 4">
              <a:extLst>
                <a:ext uri="{FF2B5EF4-FFF2-40B4-BE49-F238E27FC236}">
                  <a16:creationId xmlns:a16="http://schemas.microsoft.com/office/drawing/2014/main" id="{7D9085A7-8221-2DF6-307B-EEC54A399545}"/>
                </a:ext>
              </a:extLst>
            </p:cNvPr>
            <p:cNvGrpSpPr/>
            <p:nvPr/>
          </p:nvGrpSpPr>
          <p:grpSpPr>
            <a:xfrm>
              <a:off x="3290712" y="2061401"/>
              <a:ext cx="170910" cy="296018"/>
              <a:chOff x="3290712" y="2061401"/>
              <a:chExt cx="170910" cy="296018"/>
            </a:xfrm>
          </p:grpSpPr>
          <p:sp>
            <p:nvSpPr>
              <p:cNvPr id="239" name="Forma livre: Forma 238">
                <a:extLst>
                  <a:ext uri="{FF2B5EF4-FFF2-40B4-BE49-F238E27FC236}">
                    <a16:creationId xmlns:a16="http://schemas.microsoft.com/office/drawing/2014/main" id="{D9069D1C-0787-1F5D-AEFE-672EB5471C97}"/>
                  </a:ext>
                </a:extLst>
              </p:cNvPr>
              <p:cNvSpPr/>
              <p:nvPr/>
            </p:nvSpPr>
            <p:spPr>
              <a:xfrm>
                <a:off x="3442335" y="2324022"/>
                <a:ext cx="19286" cy="33397"/>
              </a:xfrm>
              <a:custGeom>
                <a:avLst/>
                <a:gdLst>
                  <a:gd name="connsiteX0" fmla="*/ 19287 w 19286"/>
                  <a:gd name="connsiteY0" fmla="*/ 33397 h 33397"/>
                  <a:gd name="connsiteX1" fmla="*/ 0 w 19286"/>
                  <a:gd name="connsiteY1" fmla="*/ 0 h 333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9286" h="33397">
                    <a:moveTo>
                      <a:pt x="19287" y="33397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40" name="Forma livre: Forma 239">
                <a:extLst>
                  <a:ext uri="{FF2B5EF4-FFF2-40B4-BE49-F238E27FC236}">
                    <a16:creationId xmlns:a16="http://schemas.microsoft.com/office/drawing/2014/main" id="{14DB1DAB-1776-D6D4-A476-7940E330CFAA}"/>
                  </a:ext>
                </a:extLst>
              </p:cNvPr>
              <p:cNvSpPr/>
              <p:nvPr/>
            </p:nvSpPr>
            <p:spPr>
              <a:xfrm>
                <a:off x="3290712" y="2061401"/>
                <a:ext cx="19298" cy="33409"/>
              </a:xfrm>
              <a:custGeom>
                <a:avLst/>
                <a:gdLst>
                  <a:gd name="connsiteX0" fmla="*/ 19299 w 19298"/>
                  <a:gd name="connsiteY0" fmla="*/ 33409 h 33409"/>
                  <a:gd name="connsiteX1" fmla="*/ 0 w 19298"/>
                  <a:gd name="connsiteY1" fmla="*/ 0 h 334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9298" h="33409">
                    <a:moveTo>
                      <a:pt x="19299" y="33409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241" name="Gráfico 4">
              <a:extLst>
                <a:ext uri="{FF2B5EF4-FFF2-40B4-BE49-F238E27FC236}">
                  <a16:creationId xmlns:a16="http://schemas.microsoft.com/office/drawing/2014/main" id="{E795A113-7E58-DC80-472A-D8E53EFD95C9}"/>
                </a:ext>
              </a:extLst>
            </p:cNvPr>
            <p:cNvGrpSpPr/>
            <p:nvPr/>
          </p:nvGrpSpPr>
          <p:grpSpPr>
            <a:xfrm>
              <a:off x="3228175" y="2123949"/>
              <a:ext cx="296018" cy="170909"/>
              <a:chOff x="3228175" y="2123949"/>
              <a:chExt cx="296018" cy="170909"/>
            </a:xfrm>
          </p:grpSpPr>
          <p:sp>
            <p:nvSpPr>
              <p:cNvPr id="242" name="Forma livre: Forma 241">
                <a:extLst>
                  <a:ext uri="{FF2B5EF4-FFF2-40B4-BE49-F238E27FC236}">
                    <a16:creationId xmlns:a16="http://schemas.microsoft.com/office/drawing/2014/main" id="{2AE338FA-E4BA-B43C-53A7-BE9F15E061FD}"/>
                  </a:ext>
                </a:extLst>
              </p:cNvPr>
              <p:cNvSpPr/>
              <p:nvPr/>
            </p:nvSpPr>
            <p:spPr>
              <a:xfrm>
                <a:off x="3228175" y="2275572"/>
                <a:ext cx="33397" cy="19286"/>
              </a:xfrm>
              <a:custGeom>
                <a:avLst/>
                <a:gdLst>
                  <a:gd name="connsiteX0" fmla="*/ 0 w 33397"/>
                  <a:gd name="connsiteY0" fmla="*/ 19287 h 19286"/>
                  <a:gd name="connsiteX1" fmla="*/ 33397 w 33397"/>
                  <a:gd name="connsiteY1" fmla="*/ 0 h 192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3397" h="19286">
                    <a:moveTo>
                      <a:pt x="0" y="19287"/>
                    </a:moveTo>
                    <a:lnTo>
                      <a:pt x="33397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43" name="Forma livre: Forma 242">
                <a:extLst>
                  <a:ext uri="{FF2B5EF4-FFF2-40B4-BE49-F238E27FC236}">
                    <a16:creationId xmlns:a16="http://schemas.microsoft.com/office/drawing/2014/main" id="{3F943924-E3A2-EACF-3B16-1EC1459C4C92}"/>
                  </a:ext>
                </a:extLst>
              </p:cNvPr>
              <p:cNvSpPr/>
              <p:nvPr/>
            </p:nvSpPr>
            <p:spPr>
              <a:xfrm>
                <a:off x="3490785" y="2123949"/>
                <a:ext cx="33409" cy="19298"/>
              </a:xfrm>
              <a:custGeom>
                <a:avLst/>
                <a:gdLst>
                  <a:gd name="connsiteX0" fmla="*/ 0 w 33409"/>
                  <a:gd name="connsiteY0" fmla="*/ 19299 h 19298"/>
                  <a:gd name="connsiteX1" fmla="*/ 33409 w 33409"/>
                  <a:gd name="connsiteY1" fmla="*/ 0 h 19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3409" h="19298">
                    <a:moveTo>
                      <a:pt x="0" y="19299"/>
                    </a:moveTo>
                    <a:lnTo>
                      <a:pt x="33409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244" name="Gráfico 4">
            <a:extLst>
              <a:ext uri="{FF2B5EF4-FFF2-40B4-BE49-F238E27FC236}">
                <a16:creationId xmlns:a16="http://schemas.microsoft.com/office/drawing/2014/main" id="{4A0F2E7E-8481-D8EE-2F07-8060EC64F425}"/>
              </a:ext>
            </a:extLst>
          </p:cNvPr>
          <p:cNvGrpSpPr/>
          <p:nvPr/>
        </p:nvGrpSpPr>
        <p:grpSpPr>
          <a:xfrm>
            <a:off x="2619285" y="1007375"/>
            <a:ext cx="270636" cy="290721"/>
            <a:chOff x="2619285" y="1007375"/>
            <a:chExt cx="270636" cy="290721"/>
          </a:xfrm>
          <a:noFill/>
        </p:grpSpPr>
        <p:grpSp>
          <p:nvGrpSpPr>
            <p:cNvPr id="245" name="Gráfico 4">
              <a:extLst>
                <a:ext uri="{FF2B5EF4-FFF2-40B4-BE49-F238E27FC236}">
                  <a16:creationId xmlns:a16="http://schemas.microsoft.com/office/drawing/2014/main" id="{E935C06E-0A3B-69FC-CFB4-6DE73020F74B}"/>
                </a:ext>
              </a:extLst>
            </p:cNvPr>
            <p:cNvGrpSpPr/>
            <p:nvPr/>
          </p:nvGrpSpPr>
          <p:grpSpPr>
            <a:xfrm>
              <a:off x="2758253" y="1010798"/>
              <a:ext cx="131668" cy="287299"/>
              <a:chOff x="2758253" y="1010798"/>
              <a:chExt cx="131668" cy="287299"/>
            </a:xfrm>
            <a:noFill/>
          </p:grpSpPr>
          <p:sp>
            <p:nvSpPr>
              <p:cNvPr id="246" name="Forma livre: Forma 245">
                <a:extLst>
                  <a:ext uri="{FF2B5EF4-FFF2-40B4-BE49-F238E27FC236}">
                    <a16:creationId xmlns:a16="http://schemas.microsoft.com/office/drawing/2014/main" id="{A8A79742-DCCD-7953-BCE0-4770BB4AF590}"/>
                  </a:ext>
                </a:extLst>
              </p:cNvPr>
              <p:cNvSpPr/>
              <p:nvPr/>
            </p:nvSpPr>
            <p:spPr>
              <a:xfrm>
                <a:off x="2758253" y="1010798"/>
                <a:ext cx="131668" cy="232992"/>
              </a:xfrm>
              <a:custGeom>
                <a:avLst/>
                <a:gdLst>
                  <a:gd name="connsiteX0" fmla="*/ 6357 w 131668"/>
                  <a:gd name="connsiteY0" fmla="*/ 45659 h 232992"/>
                  <a:gd name="connsiteX1" fmla="*/ 13407 w 131668"/>
                  <a:gd name="connsiteY1" fmla="*/ 77422 h 232992"/>
                  <a:gd name="connsiteX2" fmla="*/ 13514 w 131668"/>
                  <a:gd name="connsiteY2" fmla="*/ 78066 h 232992"/>
                  <a:gd name="connsiteX3" fmla="*/ 27577 w 131668"/>
                  <a:gd name="connsiteY3" fmla="*/ 232993 h 232992"/>
                  <a:gd name="connsiteX4" fmla="*/ 104092 w 131668"/>
                  <a:gd name="connsiteY4" fmla="*/ 232993 h 232992"/>
                  <a:gd name="connsiteX5" fmla="*/ 118143 w 131668"/>
                  <a:gd name="connsiteY5" fmla="*/ 78066 h 232992"/>
                  <a:gd name="connsiteX6" fmla="*/ 118250 w 131668"/>
                  <a:gd name="connsiteY6" fmla="*/ 77422 h 232992"/>
                  <a:gd name="connsiteX7" fmla="*/ 131645 w 131668"/>
                  <a:gd name="connsiteY7" fmla="*/ 30248 h 232992"/>
                  <a:gd name="connsiteX8" fmla="*/ 131668 w 131668"/>
                  <a:gd name="connsiteY8" fmla="*/ 0 h 232992"/>
                  <a:gd name="connsiteX9" fmla="*/ 0 w 131668"/>
                  <a:gd name="connsiteY9" fmla="*/ 0 h 232992"/>
                  <a:gd name="connsiteX10" fmla="*/ 0 w 131668"/>
                  <a:gd name="connsiteY10" fmla="*/ 25215 h 232992"/>
                  <a:gd name="connsiteX11" fmla="*/ 111785 w 131668"/>
                  <a:gd name="connsiteY11" fmla="*/ 25215 h 2329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31668" h="232992">
                    <a:moveTo>
                      <a:pt x="6357" y="45659"/>
                    </a:moveTo>
                    <a:cubicBezTo>
                      <a:pt x="9005" y="53567"/>
                      <a:pt x="11796" y="64266"/>
                      <a:pt x="13407" y="77422"/>
                    </a:cubicBezTo>
                    <a:lnTo>
                      <a:pt x="13514" y="78066"/>
                    </a:lnTo>
                    <a:cubicBezTo>
                      <a:pt x="17414" y="108946"/>
                      <a:pt x="16746" y="111797"/>
                      <a:pt x="27577" y="232993"/>
                    </a:cubicBezTo>
                    <a:lnTo>
                      <a:pt x="104092" y="232993"/>
                    </a:lnTo>
                    <a:cubicBezTo>
                      <a:pt x="114910" y="111797"/>
                      <a:pt x="114242" y="108946"/>
                      <a:pt x="118143" y="78066"/>
                    </a:cubicBezTo>
                    <a:lnTo>
                      <a:pt x="118250" y="77422"/>
                    </a:lnTo>
                    <a:cubicBezTo>
                      <a:pt x="121578" y="50263"/>
                      <a:pt x="129939" y="33564"/>
                      <a:pt x="131645" y="30248"/>
                    </a:cubicBezTo>
                    <a:lnTo>
                      <a:pt x="131668" y="0"/>
                    </a:lnTo>
                    <a:lnTo>
                      <a:pt x="0" y="0"/>
                    </a:lnTo>
                    <a:lnTo>
                      <a:pt x="0" y="25215"/>
                    </a:lnTo>
                    <a:lnTo>
                      <a:pt x="111785" y="25215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47" name="Forma livre: Forma 246">
                <a:extLst>
                  <a:ext uri="{FF2B5EF4-FFF2-40B4-BE49-F238E27FC236}">
                    <a16:creationId xmlns:a16="http://schemas.microsoft.com/office/drawing/2014/main" id="{E5DEE35B-CAA9-9AD1-9C8F-3DA7E44F5500}"/>
                  </a:ext>
                </a:extLst>
              </p:cNvPr>
              <p:cNvSpPr/>
              <p:nvPr/>
            </p:nvSpPr>
            <p:spPr>
              <a:xfrm>
                <a:off x="2790350" y="1263364"/>
                <a:ext cx="68726" cy="34733"/>
              </a:xfrm>
              <a:custGeom>
                <a:avLst/>
                <a:gdLst>
                  <a:gd name="connsiteX0" fmla="*/ 68727 w 68726"/>
                  <a:gd name="connsiteY0" fmla="*/ 0 h 34733"/>
                  <a:gd name="connsiteX1" fmla="*/ 68727 w 68726"/>
                  <a:gd name="connsiteY1" fmla="*/ 34733 h 34733"/>
                  <a:gd name="connsiteX2" fmla="*/ 0 w 68726"/>
                  <a:gd name="connsiteY2" fmla="*/ 34733 h 34733"/>
                  <a:gd name="connsiteX3" fmla="*/ 0 w 68726"/>
                  <a:gd name="connsiteY3" fmla="*/ 0 h 347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8726" h="34733">
                    <a:moveTo>
                      <a:pt x="68727" y="0"/>
                    </a:moveTo>
                    <a:lnTo>
                      <a:pt x="68727" y="34733"/>
                    </a:lnTo>
                    <a:lnTo>
                      <a:pt x="0" y="34733"/>
                    </a:lnTo>
                    <a:lnTo>
                      <a:pt x="0" y="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248" name="Forma livre: Forma 247">
              <a:extLst>
                <a:ext uri="{FF2B5EF4-FFF2-40B4-BE49-F238E27FC236}">
                  <a16:creationId xmlns:a16="http://schemas.microsoft.com/office/drawing/2014/main" id="{576495D0-438C-273C-12EC-F8A58D1C2509}"/>
                </a:ext>
              </a:extLst>
            </p:cNvPr>
            <p:cNvSpPr/>
            <p:nvPr/>
          </p:nvSpPr>
          <p:spPr>
            <a:xfrm>
              <a:off x="2619285" y="1007375"/>
              <a:ext cx="44215" cy="101059"/>
            </a:xfrm>
            <a:custGeom>
              <a:avLst/>
              <a:gdLst>
                <a:gd name="connsiteX0" fmla="*/ 29270 w 44215"/>
                <a:gd name="connsiteY0" fmla="*/ 441 h 101059"/>
                <a:gd name="connsiteX1" fmla="*/ 0 w 44215"/>
                <a:gd name="connsiteY1" fmla="*/ 8110 h 101059"/>
                <a:gd name="connsiteX2" fmla="*/ 17188 w 44215"/>
                <a:gd name="connsiteY2" fmla="*/ 46791 h 101059"/>
                <a:gd name="connsiteX3" fmla="*/ 6560 w 44215"/>
                <a:gd name="connsiteY3" fmla="*/ 79914 h 101059"/>
                <a:gd name="connsiteX4" fmla="*/ 35890 w 44215"/>
                <a:gd name="connsiteY4" fmla="*/ 100871 h 101059"/>
                <a:gd name="connsiteX5" fmla="*/ 44215 w 44215"/>
                <a:gd name="connsiteY5" fmla="*/ 98497 h 101059"/>
                <a:gd name="connsiteX6" fmla="*/ 44215 w 44215"/>
                <a:gd name="connsiteY6" fmla="*/ 52576 h 1010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4215" h="101059">
                  <a:moveTo>
                    <a:pt x="29270" y="441"/>
                  </a:moveTo>
                  <a:cubicBezTo>
                    <a:pt x="11355" y="-2231"/>
                    <a:pt x="0" y="8110"/>
                    <a:pt x="0" y="8110"/>
                  </a:cubicBezTo>
                  <a:cubicBezTo>
                    <a:pt x="20909" y="17652"/>
                    <a:pt x="23104" y="36415"/>
                    <a:pt x="17188" y="46791"/>
                  </a:cubicBezTo>
                  <a:cubicBezTo>
                    <a:pt x="4831" y="68476"/>
                    <a:pt x="6560" y="79914"/>
                    <a:pt x="6560" y="79914"/>
                  </a:cubicBezTo>
                  <a:cubicBezTo>
                    <a:pt x="8158" y="94168"/>
                    <a:pt x="21923" y="102434"/>
                    <a:pt x="35890" y="100871"/>
                  </a:cubicBezTo>
                  <a:cubicBezTo>
                    <a:pt x="38860" y="100525"/>
                    <a:pt x="41663" y="99666"/>
                    <a:pt x="44215" y="98497"/>
                  </a:cubicBezTo>
                  <a:lnTo>
                    <a:pt x="44215" y="52576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249" name="Gráfico 4">
              <a:extLst>
                <a:ext uri="{FF2B5EF4-FFF2-40B4-BE49-F238E27FC236}">
                  <a16:creationId xmlns:a16="http://schemas.microsoft.com/office/drawing/2014/main" id="{42CF34F8-2127-A794-E29C-07288E898B85}"/>
                </a:ext>
              </a:extLst>
            </p:cNvPr>
            <p:cNvGrpSpPr/>
            <p:nvPr/>
          </p:nvGrpSpPr>
          <p:grpSpPr>
            <a:xfrm>
              <a:off x="2665958" y="1015533"/>
              <a:ext cx="20169" cy="1192"/>
              <a:chOff x="2665958" y="1015533"/>
              <a:chExt cx="20169" cy="1192"/>
            </a:xfrm>
          </p:grpSpPr>
          <p:sp>
            <p:nvSpPr>
              <p:cNvPr id="250" name="Forma livre: Forma 249">
                <a:extLst>
                  <a:ext uri="{FF2B5EF4-FFF2-40B4-BE49-F238E27FC236}">
                    <a16:creationId xmlns:a16="http://schemas.microsoft.com/office/drawing/2014/main" id="{AE394A61-2F6B-4B1E-5E89-ACB0603987F5}"/>
                  </a:ext>
                </a:extLst>
              </p:cNvPr>
              <p:cNvSpPr/>
              <p:nvPr/>
            </p:nvSpPr>
            <p:spPr>
              <a:xfrm>
                <a:off x="2665958" y="1015533"/>
                <a:ext cx="20169" cy="1192"/>
              </a:xfrm>
              <a:custGeom>
                <a:avLst/>
                <a:gdLst>
                  <a:gd name="connsiteX0" fmla="*/ 0 w 20169"/>
                  <a:gd name="connsiteY0" fmla="*/ 0 h 1192"/>
                  <a:gd name="connsiteX1" fmla="*/ 20170 w 20169"/>
                  <a:gd name="connsiteY1" fmla="*/ 0 h 11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0169" h="1192">
                    <a:moveTo>
                      <a:pt x="0" y="0"/>
                    </a:moveTo>
                    <a:lnTo>
                      <a:pt x="2017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51" name="Forma livre: Forma 250">
                <a:extLst>
                  <a:ext uri="{FF2B5EF4-FFF2-40B4-BE49-F238E27FC236}">
                    <a16:creationId xmlns:a16="http://schemas.microsoft.com/office/drawing/2014/main" id="{26F2CFAB-1EA8-6A10-7B95-C37469167A07}"/>
                  </a:ext>
                </a:extLst>
              </p:cNvPr>
              <p:cNvSpPr/>
              <p:nvPr/>
            </p:nvSpPr>
            <p:spPr>
              <a:xfrm>
                <a:off x="2665958" y="1015533"/>
                <a:ext cx="10961" cy="1192"/>
              </a:xfrm>
              <a:custGeom>
                <a:avLst/>
                <a:gdLst>
                  <a:gd name="connsiteX0" fmla="*/ 0 w 10961"/>
                  <a:gd name="connsiteY0" fmla="*/ 0 h 1192"/>
                  <a:gd name="connsiteX1" fmla="*/ 10961 w 10961"/>
                  <a:gd name="connsiteY1" fmla="*/ 0 h 11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0961" h="1192">
                    <a:moveTo>
                      <a:pt x="0" y="0"/>
                    </a:moveTo>
                    <a:lnTo>
                      <a:pt x="10961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252" name="Gráfico 4">
              <a:extLst>
                <a:ext uri="{FF2B5EF4-FFF2-40B4-BE49-F238E27FC236}">
                  <a16:creationId xmlns:a16="http://schemas.microsoft.com/office/drawing/2014/main" id="{D9769CD6-8B29-A3AA-BE52-D10ED46BD7E1}"/>
                </a:ext>
              </a:extLst>
            </p:cNvPr>
            <p:cNvGrpSpPr/>
            <p:nvPr/>
          </p:nvGrpSpPr>
          <p:grpSpPr>
            <a:xfrm>
              <a:off x="2665958" y="1037742"/>
              <a:ext cx="20169" cy="1192"/>
              <a:chOff x="2665958" y="1037742"/>
              <a:chExt cx="20169" cy="1192"/>
            </a:xfrm>
          </p:grpSpPr>
          <p:sp>
            <p:nvSpPr>
              <p:cNvPr id="253" name="Forma livre: Forma 252">
                <a:extLst>
                  <a:ext uri="{FF2B5EF4-FFF2-40B4-BE49-F238E27FC236}">
                    <a16:creationId xmlns:a16="http://schemas.microsoft.com/office/drawing/2014/main" id="{7CC8FF8E-8F37-ABFB-94C4-AFC38B161A18}"/>
                  </a:ext>
                </a:extLst>
              </p:cNvPr>
              <p:cNvSpPr/>
              <p:nvPr/>
            </p:nvSpPr>
            <p:spPr>
              <a:xfrm>
                <a:off x="2665958" y="1037742"/>
                <a:ext cx="20169" cy="1192"/>
              </a:xfrm>
              <a:custGeom>
                <a:avLst/>
                <a:gdLst>
                  <a:gd name="connsiteX0" fmla="*/ 20170 w 20169"/>
                  <a:gd name="connsiteY0" fmla="*/ 0 h 1192"/>
                  <a:gd name="connsiteX1" fmla="*/ 0 w 20169"/>
                  <a:gd name="connsiteY1" fmla="*/ 0 h 11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0169" h="1192">
                    <a:moveTo>
                      <a:pt x="20170" y="0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54" name="Forma livre: Forma 253">
                <a:extLst>
                  <a:ext uri="{FF2B5EF4-FFF2-40B4-BE49-F238E27FC236}">
                    <a16:creationId xmlns:a16="http://schemas.microsoft.com/office/drawing/2014/main" id="{ABBBCF67-A035-362E-874A-3DB0CFE54F34}"/>
                  </a:ext>
                </a:extLst>
              </p:cNvPr>
              <p:cNvSpPr/>
              <p:nvPr/>
            </p:nvSpPr>
            <p:spPr>
              <a:xfrm>
                <a:off x="2665958" y="1037742"/>
                <a:ext cx="9971" cy="1192"/>
              </a:xfrm>
              <a:custGeom>
                <a:avLst/>
                <a:gdLst>
                  <a:gd name="connsiteX0" fmla="*/ 9971 w 9971"/>
                  <a:gd name="connsiteY0" fmla="*/ 0 h 1192"/>
                  <a:gd name="connsiteX1" fmla="*/ 0 w 9971"/>
                  <a:gd name="connsiteY1" fmla="*/ 0 h 11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971" h="1192">
                    <a:moveTo>
                      <a:pt x="9971" y="0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255" name="Forma livre: Forma 254">
              <a:extLst>
                <a:ext uri="{FF2B5EF4-FFF2-40B4-BE49-F238E27FC236}">
                  <a16:creationId xmlns:a16="http://schemas.microsoft.com/office/drawing/2014/main" id="{87F72A41-7907-DBE3-5D0F-78972E54E30C}"/>
                </a:ext>
              </a:extLst>
            </p:cNvPr>
            <p:cNvSpPr/>
            <p:nvPr/>
          </p:nvSpPr>
          <p:spPr>
            <a:xfrm>
              <a:off x="2663572" y="1059940"/>
              <a:ext cx="22555" cy="1192"/>
            </a:xfrm>
            <a:custGeom>
              <a:avLst/>
              <a:gdLst>
                <a:gd name="connsiteX0" fmla="*/ 22555 w 22555"/>
                <a:gd name="connsiteY0" fmla="*/ 0 h 1192"/>
                <a:gd name="connsiteX1" fmla="*/ 0 w 22555"/>
                <a:gd name="connsiteY1" fmla="*/ 0 h 11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2555" h="1192">
                  <a:moveTo>
                    <a:pt x="22555" y="0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256" name="Gráfico 4">
              <a:extLst>
                <a:ext uri="{FF2B5EF4-FFF2-40B4-BE49-F238E27FC236}">
                  <a16:creationId xmlns:a16="http://schemas.microsoft.com/office/drawing/2014/main" id="{5048EE8C-F4AD-24BA-DABD-C9490225F09B}"/>
                </a:ext>
              </a:extLst>
            </p:cNvPr>
            <p:cNvGrpSpPr/>
            <p:nvPr/>
          </p:nvGrpSpPr>
          <p:grpSpPr>
            <a:xfrm>
              <a:off x="2663704" y="1104334"/>
              <a:ext cx="36772" cy="1192"/>
              <a:chOff x="2663704" y="1104334"/>
              <a:chExt cx="36772" cy="1192"/>
            </a:xfrm>
          </p:grpSpPr>
          <p:sp>
            <p:nvSpPr>
              <p:cNvPr id="257" name="Forma livre: Forma 256">
                <a:extLst>
                  <a:ext uri="{FF2B5EF4-FFF2-40B4-BE49-F238E27FC236}">
                    <a16:creationId xmlns:a16="http://schemas.microsoft.com/office/drawing/2014/main" id="{57949A7B-02F6-5670-5776-A72264B77B5A}"/>
                  </a:ext>
                </a:extLst>
              </p:cNvPr>
              <p:cNvSpPr/>
              <p:nvPr/>
            </p:nvSpPr>
            <p:spPr>
              <a:xfrm>
                <a:off x="2665958" y="1104334"/>
                <a:ext cx="34518" cy="1192"/>
              </a:xfrm>
              <a:custGeom>
                <a:avLst/>
                <a:gdLst>
                  <a:gd name="connsiteX0" fmla="*/ 34518 w 34518"/>
                  <a:gd name="connsiteY0" fmla="*/ 0 h 1192"/>
                  <a:gd name="connsiteX1" fmla="*/ 0 w 34518"/>
                  <a:gd name="connsiteY1" fmla="*/ 0 h 11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4518" h="1192">
                    <a:moveTo>
                      <a:pt x="34518" y="0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58" name="Forma livre: Forma 257">
                <a:extLst>
                  <a:ext uri="{FF2B5EF4-FFF2-40B4-BE49-F238E27FC236}">
                    <a16:creationId xmlns:a16="http://schemas.microsoft.com/office/drawing/2014/main" id="{665B37C0-8D60-AD3E-DC03-7BF3B1474351}"/>
                  </a:ext>
                </a:extLst>
              </p:cNvPr>
              <p:cNvSpPr/>
              <p:nvPr/>
            </p:nvSpPr>
            <p:spPr>
              <a:xfrm>
                <a:off x="2663704" y="1104334"/>
                <a:ext cx="12225" cy="1192"/>
              </a:xfrm>
              <a:custGeom>
                <a:avLst/>
                <a:gdLst>
                  <a:gd name="connsiteX0" fmla="*/ 12226 w 12225"/>
                  <a:gd name="connsiteY0" fmla="*/ 0 h 1192"/>
                  <a:gd name="connsiteX1" fmla="*/ 0 w 12225"/>
                  <a:gd name="connsiteY1" fmla="*/ 0 h 11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225" h="1192">
                    <a:moveTo>
                      <a:pt x="12226" y="0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259" name="Forma livre: Forma 258">
              <a:extLst>
                <a:ext uri="{FF2B5EF4-FFF2-40B4-BE49-F238E27FC236}">
                  <a16:creationId xmlns:a16="http://schemas.microsoft.com/office/drawing/2014/main" id="{FF922D27-8241-6877-38CE-2C4B11FB1C56}"/>
                </a:ext>
              </a:extLst>
            </p:cNvPr>
            <p:cNvSpPr/>
            <p:nvPr/>
          </p:nvSpPr>
          <p:spPr>
            <a:xfrm>
              <a:off x="2691936" y="1008377"/>
              <a:ext cx="36462" cy="289720"/>
            </a:xfrm>
            <a:custGeom>
              <a:avLst/>
              <a:gdLst>
                <a:gd name="connsiteX0" fmla="*/ 26217 w 36462"/>
                <a:gd name="connsiteY0" fmla="*/ 279582 h 289720"/>
                <a:gd name="connsiteX1" fmla="*/ 16066 w 36462"/>
                <a:gd name="connsiteY1" fmla="*/ 289720 h 289720"/>
                <a:gd name="connsiteX2" fmla="*/ 10115 w 36462"/>
                <a:gd name="connsiteY2" fmla="*/ 289720 h 289720"/>
                <a:gd name="connsiteX3" fmla="*/ 0 w 36462"/>
                <a:gd name="connsiteY3" fmla="*/ 279582 h 289720"/>
                <a:gd name="connsiteX4" fmla="*/ 0 w 36462"/>
                <a:gd name="connsiteY4" fmla="*/ 125621 h 289720"/>
                <a:gd name="connsiteX5" fmla="*/ 4998 w 36462"/>
                <a:gd name="connsiteY5" fmla="*/ 113598 h 289720"/>
                <a:gd name="connsiteX6" fmla="*/ 10293 w 36462"/>
                <a:gd name="connsiteY6" fmla="*/ 100275 h 289720"/>
                <a:gd name="connsiteX7" fmla="*/ 10293 w 36462"/>
                <a:gd name="connsiteY7" fmla="*/ 0 h 289720"/>
                <a:gd name="connsiteX8" fmla="*/ 27910 w 36462"/>
                <a:gd name="connsiteY8" fmla="*/ 0 h 289720"/>
                <a:gd name="connsiteX9" fmla="*/ 36463 w 36462"/>
                <a:gd name="connsiteY9" fmla="*/ 8552 h 289720"/>
                <a:gd name="connsiteX10" fmla="*/ 36463 w 36462"/>
                <a:gd name="connsiteY10" fmla="*/ 100287 h 289720"/>
                <a:gd name="connsiteX11" fmla="*/ 31202 w 36462"/>
                <a:gd name="connsiteY11" fmla="*/ 113610 h 289720"/>
                <a:gd name="connsiteX12" fmla="*/ 26217 w 36462"/>
                <a:gd name="connsiteY12" fmla="*/ 125633 h 289720"/>
                <a:gd name="connsiteX13" fmla="*/ 26217 w 36462"/>
                <a:gd name="connsiteY13" fmla="*/ 279594 h 2897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6462" h="289720">
                  <a:moveTo>
                    <a:pt x="26217" y="279582"/>
                  </a:moveTo>
                  <a:cubicBezTo>
                    <a:pt x="26217" y="285152"/>
                    <a:pt x="21637" y="289720"/>
                    <a:pt x="16066" y="289720"/>
                  </a:cubicBezTo>
                  <a:lnTo>
                    <a:pt x="10115" y="289720"/>
                  </a:lnTo>
                  <a:cubicBezTo>
                    <a:pt x="4544" y="289720"/>
                    <a:pt x="0" y="285164"/>
                    <a:pt x="0" y="279582"/>
                  </a:cubicBezTo>
                  <a:lnTo>
                    <a:pt x="0" y="125621"/>
                  </a:lnTo>
                  <a:cubicBezTo>
                    <a:pt x="0" y="119204"/>
                    <a:pt x="3030" y="116890"/>
                    <a:pt x="4998" y="113598"/>
                  </a:cubicBezTo>
                  <a:cubicBezTo>
                    <a:pt x="7443" y="109495"/>
                    <a:pt x="10293" y="105917"/>
                    <a:pt x="10293" y="100275"/>
                  </a:cubicBezTo>
                  <a:lnTo>
                    <a:pt x="10293" y="0"/>
                  </a:lnTo>
                  <a:lnTo>
                    <a:pt x="27910" y="0"/>
                  </a:lnTo>
                  <a:cubicBezTo>
                    <a:pt x="32622" y="0"/>
                    <a:pt x="36463" y="3841"/>
                    <a:pt x="36463" y="8552"/>
                  </a:cubicBezTo>
                  <a:lnTo>
                    <a:pt x="36463" y="100287"/>
                  </a:lnTo>
                  <a:cubicBezTo>
                    <a:pt x="36463" y="105929"/>
                    <a:pt x="33648" y="109507"/>
                    <a:pt x="31202" y="113610"/>
                  </a:cubicBezTo>
                  <a:cubicBezTo>
                    <a:pt x="29234" y="116902"/>
                    <a:pt x="26217" y="119216"/>
                    <a:pt x="26217" y="125633"/>
                  </a:cubicBezTo>
                  <a:lnTo>
                    <a:pt x="26217" y="279594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60" name="Forma livre: Forma 259">
              <a:extLst>
                <a:ext uri="{FF2B5EF4-FFF2-40B4-BE49-F238E27FC236}">
                  <a16:creationId xmlns:a16="http://schemas.microsoft.com/office/drawing/2014/main" id="{EC8958DA-3D54-2461-7882-ED88E8C4BEDA}"/>
                </a:ext>
              </a:extLst>
            </p:cNvPr>
            <p:cNvSpPr/>
            <p:nvPr/>
          </p:nvSpPr>
          <p:spPr>
            <a:xfrm>
              <a:off x="2663859" y="1082137"/>
              <a:ext cx="22268" cy="1192"/>
            </a:xfrm>
            <a:custGeom>
              <a:avLst/>
              <a:gdLst>
                <a:gd name="connsiteX0" fmla="*/ 22269 w 22268"/>
                <a:gd name="connsiteY0" fmla="*/ 0 h 1192"/>
                <a:gd name="connsiteX1" fmla="*/ 0 w 22268"/>
                <a:gd name="connsiteY1" fmla="*/ 0 h 11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2268" h="1192">
                  <a:moveTo>
                    <a:pt x="22269" y="0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61" name="Forma livre: Forma 260">
              <a:extLst>
                <a:ext uri="{FF2B5EF4-FFF2-40B4-BE49-F238E27FC236}">
                  <a16:creationId xmlns:a16="http://schemas.microsoft.com/office/drawing/2014/main" id="{A5D1636E-5D62-77F5-DD9D-D75235860B6D}"/>
                </a:ext>
              </a:extLst>
            </p:cNvPr>
            <p:cNvSpPr/>
            <p:nvPr/>
          </p:nvSpPr>
          <p:spPr>
            <a:xfrm>
              <a:off x="2800000" y="1094005"/>
              <a:ext cx="48175" cy="63383"/>
            </a:xfrm>
            <a:custGeom>
              <a:avLst/>
              <a:gdLst>
                <a:gd name="connsiteX0" fmla="*/ 48175 w 48175"/>
                <a:gd name="connsiteY0" fmla="*/ 31692 h 63383"/>
                <a:gd name="connsiteX1" fmla="*/ 24094 w 48175"/>
                <a:gd name="connsiteY1" fmla="*/ 63383 h 63383"/>
                <a:gd name="connsiteX2" fmla="*/ 0 w 48175"/>
                <a:gd name="connsiteY2" fmla="*/ 31692 h 63383"/>
                <a:gd name="connsiteX3" fmla="*/ 24094 w 48175"/>
                <a:gd name="connsiteY3" fmla="*/ 0 h 63383"/>
                <a:gd name="connsiteX4" fmla="*/ 48175 w 48175"/>
                <a:gd name="connsiteY4" fmla="*/ 31692 h 633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8175" h="63383">
                  <a:moveTo>
                    <a:pt x="48175" y="31692"/>
                  </a:moveTo>
                  <a:cubicBezTo>
                    <a:pt x="48175" y="49189"/>
                    <a:pt x="37393" y="63383"/>
                    <a:pt x="24094" y="63383"/>
                  </a:cubicBezTo>
                  <a:cubicBezTo>
                    <a:pt x="10794" y="63383"/>
                    <a:pt x="0" y="49189"/>
                    <a:pt x="0" y="31692"/>
                  </a:cubicBezTo>
                  <a:cubicBezTo>
                    <a:pt x="0" y="14194"/>
                    <a:pt x="10783" y="0"/>
                    <a:pt x="24094" y="0"/>
                  </a:cubicBezTo>
                  <a:cubicBezTo>
                    <a:pt x="37405" y="0"/>
                    <a:pt x="48175" y="14182"/>
                    <a:pt x="48175" y="31692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262" name="Gráfico 4">
            <a:extLst>
              <a:ext uri="{FF2B5EF4-FFF2-40B4-BE49-F238E27FC236}">
                <a16:creationId xmlns:a16="http://schemas.microsoft.com/office/drawing/2014/main" id="{061E9394-0069-5331-E8F0-B13E6FC55BF4}"/>
              </a:ext>
            </a:extLst>
          </p:cNvPr>
          <p:cNvGrpSpPr/>
          <p:nvPr/>
        </p:nvGrpSpPr>
        <p:grpSpPr>
          <a:xfrm>
            <a:off x="3856111" y="1010655"/>
            <a:ext cx="283234" cy="284150"/>
            <a:chOff x="3856111" y="1010655"/>
            <a:chExt cx="283234" cy="284150"/>
          </a:xfrm>
          <a:noFill/>
        </p:grpSpPr>
        <p:grpSp>
          <p:nvGrpSpPr>
            <p:cNvPr id="263" name="Gráfico 4">
              <a:extLst>
                <a:ext uri="{FF2B5EF4-FFF2-40B4-BE49-F238E27FC236}">
                  <a16:creationId xmlns:a16="http://schemas.microsoft.com/office/drawing/2014/main" id="{A3154D6B-CB29-ADFF-4A49-0E252D6FE0C5}"/>
                </a:ext>
              </a:extLst>
            </p:cNvPr>
            <p:cNvGrpSpPr/>
            <p:nvPr/>
          </p:nvGrpSpPr>
          <p:grpSpPr>
            <a:xfrm>
              <a:off x="3856111" y="1054527"/>
              <a:ext cx="188744" cy="240272"/>
              <a:chOff x="3856111" y="1054527"/>
              <a:chExt cx="188744" cy="240272"/>
            </a:xfrm>
            <a:noFill/>
          </p:grpSpPr>
          <p:sp>
            <p:nvSpPr>
              <p:cNvPr id="264" name="Forma livre: Forma 263">
                <a:extLst>
                  <a:ext uri="{FF2B5EF4-FFF2-40B4-BE49-F238E27FC236}">
                    <a16:creationId xmlns:a16="http://schemas.microsoft.com/office/drawing/2014/main" id="{070B27A1-51E5-12A2-892F-A26BEC036EC3}"/>
                  </a:ext>
                </a:extLst>
              </p:cNvPr>
              <p:cNvSpPr/>
              <p:nvPr/>
            </p:nvSpPr>
            <p:spPr>
              <a:xfrm>
                <a:off x="3987651" y="1054527"/>
                <a:ext cx="57204" cy="7642"/>
              </a:xfrm>
              <a:custGeom>
                <a:avLst/>
                <a:gdLst>
                  <a:gd name="connsiteX0" fmla="*/ 57205 w 57204"/>
                  <a:gd name="connsiteY0" fmla="*/ 7643 h 7642"/>
                  <a:gd name="connsiteX1" fmla="*/ 0 w 57204"/>
                  <a:gd name="connsiteY1" fmla="*/ 6975 h 76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7204" h="7642">
                    <a:moveTo>
                      <a:pt x="57205" y="7643"/>
                    </a:moveTo>
                    <a:cubicBezTo>
                      <a:pt x="38979" y="-2734"/>
                      <a:pt x="18512" y="-2138"/>
                      <a:pt x="0" y="6975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65" name="Forma livre: Forma 264">
                <a:extLst>
                  <a:ext uri="{FF2B5EF4-FFF2-40B4-BE49-F238E27FC236}">
                    <a16:creationId xmlns:a16="http://schemas.microsoft.com/office/drawing/2014/main" id="{39E1A5D6-34B6-DD4B-15DD-2E0BCC2BFD99}"/>
                  </a:ext>
                </a:extLst>
              </p:cNvPr>
              <p:cNvSpPr/>
              <p:nvPr/>
            </p:nvSpPr>
            <p:spPr>
              <a:xfrm>
                <a:off x="3856111" y="1054546"/>
                <a:ext cx="174681" cy="240254"/>
              </a:xfrm>
              <a:custGeom>
                <a:avLst/>
                <a:gdLst>
                  <a:gd name="connsiteX0" fmla="*/ 141201 w 174681"/>
                  <a:gd name="connsiteY0" fmla="*/ 32744 h 240254"/>
                  <a:gd name="connsiteX1" fmla="*/ 106360 w 174681"/>
                  <a:gd name="connsiteY1" fmla="*/ 18776 h 240254"/>
                  <a:gd name="connsiteX2" fmla="*/ 23691 w 174681"/>
                  <a:gd name="connsiteY2" fmla="*/ 12860 h 240254"/>
                  <a:gd name="connsiteX3" fmla="*/ 10630 w 174681"/>
                  <a:gd name="connsiteY3" fmla="*/ 98453 h 240254"/>
                  <a:gd name="connsiteX4" fmla="*/ 46007 w 174681"/>
                  <a:gd name="connsiteY4" fmla="*/ 200564 h 240254"/>
                  <a:gd name="connsiteX5" fmla="*/ 70220 w 174681"/>
                  <a:gd name="connsiteY5" fmla="*/ 237134 h 240254"/>
                  <a:gd name="connsiteX6" fmla="*/ 82124 w 174681"/>
                  <a:gd name="connsiteY6" fmla="*/ 240200 h 240254"/>
                  <a:gd name="connsiteX7" fmla="*/ 91546 w 174681"/>
                  <a:gd name="connsiteY7" fmla="*/ 193324 h 240254"/>
                  <a:gd name="connsiteX8" fmla="*/ 110118 w 174681"/>
                  <a:gd name="connsiteY8" fmla="*/ 145042 h 240254"/>
                  <a:gd name="connsiteX9" fmla="*/ 128689 w 174681"/>
                  <a:gd name="connsiteY9" fmla="*/ 193324 h 240254"/>
                  <a:gd name="connsiteX10" fmla="*/ 138124 w 174681"/>
                  <a:gd name="connsiteY10" fmla="*/ 240200 h 240254"/>
                  <a:gd name="connsiteX11" fmla="*/ 150027 w 174681"/>
                  <a:gd name="connsiteY11" fmla="*/ 237134 h 240254"/>
                  <a:gd name="connsiteX12" fmla="*/ 174228 w 174681"/>
                  <a:gd name="connsiteY12" fmla="*/ 200564 h 240254"/>
                  <a:gd name="connsiteX13" fmla="*/ 174682 w 174681"/>
                  <a:gd name="connsiteY13" fmla="*/ 195066 h 2402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74681" h="240254">
                    <a:moveTo>
                      <a:pt x="141201" y="32744"/>
                    </a:moveTo>
                    <a:cubicBezTo>
                      <a:pt x="119564" y="29404"/>
                      <a:pt x="106360" y="18776"/>
                      <a:pt x="106360" y="18776"/>
                    </a:cubicBezTo>
                    <a:cubicBezTo>
                      <a:pt x="81587" y="-2634"/>
                      <a:pt x="49537" y="-7249"/>
                      <a:pt x="23691" y="12860"/>
                    </a:cubicBezTo>
                    <a:cubicBezTo>
                      <a:pt x="-2145" y="32982"/>
                      <a:pt x="-7393" y="70614"/>
                      <a:pt x="10630" y="98453"/>
                    </a:cubicBezTo>
                    <a:cubicBezTo>
                      <a:pt x="10630" y="98453"/>
                      <a:pt x="42691" y="148322"/>
                      <a:pt x="46007" y="200564"/>
                    </a:cubicBezTo>
                    <a:cubicBezTo>
                      <a:pt x="46007" y="200564"/>
                      <a:pt x="45757" y="228725"/>
                      <a:pt x="70220" y="237134"/>
                    </a:cubicBezTo>
                    <a:cubicBezTo>
                      <a:pt x="70220" y="237134"/>
                      <a:pt x="77830" y="240736"/>
                      <a:pt x="82124" y="240200"/>
                    </a:cubicBezTo>
                    <a:cubicBezTo>
                      <a:pt x="90771" y="239126"/>
                      <a:pt x="92405" y="226602"/>
                      <a:pt x="91546" y="193324"/>
                    </a:cubicBezTo>
                    <a:cubicBezTo>
                      <a:pt x="91546" y="193324"/>
                      <a:pt x="89781" y="145042"/>
                      <a:pt x="110118" y="145042"/>
                    </a:cubicBezTo>
                    <a:cubicBezTo>
                      <a:pt x="130454" y="145042"/>
                      <a:pt x="128689" y="193324"/>
                      <a:pt x="128689" y="193324"/>
                    </a:cubicBezTo>
                    <a:cubicBezTo>
                      <a:pt x="127842" y="226602"/>
                      <a:pt x="129476" y="239126"/>
                      <a:pt x="138124" y="240200"/>
                    </a:cubicBezTo>
                    <a:cubicBezTo>
                      <a:pt x="142429" y="240736"/>
                      <a:pt x="150027" y="237134"/>
                      <a:pt x="150027" y="237134"/>
                    </a:cubicBezTo>
                    <a:cubicBezTo>
                      <a:pt x="174491" y="228713"/>
                      <a:pt x="174228" y="200564"/>
                      <a:pt x="174228" y="200564"/>
                    </a:cubicBezTo>
                    <a:cubicBezTo>
                      <a:pt x="174348" y="198728"/>
                      <a:pt x="174503" y="196903"/>
                      <a:pt x="174682" y="195066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266" name="Gráfico 4">
              <a:extLst>
                <a:ext uri="{FF2B5EF4-FFF2-40B4-BE49-F238E27FC236}">
                  <a16:creationId xmlns:a16="http://schemas.microsoft.com/office/drawing/2014/main" id="{C46FE399-FBEB-E8FE-7AA9-FFB94F3ACF22}"/>
                </a:ext>
              </a:extLst>
            </p:cNvPr>
            <p:cNvGrpSpPr/>
            <p:nvPr/>
          </p:nvGrpSpPr>
          <p:grpSpPr>
            <a:xfrm>
              <a:off x="4032964" y="1010655"/>
              <a:ext cx="106381" cy="284150"/>
              <a:chOff x="4032964" y="1010655"/>
              <a:chExt cx="106381" cy="284150"/>
            </a:xfrm>
            <a:noFill/>
          </p:grpSpPr>
          <p:sp>
            <p:nvSpPr>
              <p:cNvPr id="267" name="Forma livre: Forma 266">
                <a:extLst>
                  <a:ext uri="{FF2B5EF4-FFF2-40B4-BE49-F238E27FC236}">
                    <a16:creationId xmlns:a16="http://schemas.microsoft.com/office/drawing/2014/main" id="{88816A3C-9C5F-26C9-3DD7-B71154331D90}"/>
                  </a:ext>
                </a:extLst>
              </p:cNvPr>
              <p:cNvSpPr/>
              <p:nvPr/>
            </p:nvSpPr>
            <p:spPr>
              <a:xfrm>
                <a:off x="4050139" y="1294733"/>
                <a:ext cx="72018" cy="1192"/>
              </a:xfrm>
              <a:custGeom>
                <a:avLst/>
                <a:gdLst>
                  <a:gd name="connsiteX0" fmla="*/ 72019 w 72018"/>
                  <a:gd name="connsiteY0" fmla="*/ 0 h 1192"/>
                  <a:gd name="connsiteX1" fmla="*/ 0 w 72018"/>
                  <a:gd name="connsiteY1" fmla="*/ 0 h 11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72018" h="1192">
                    <a:moveTo>
                      <a:pt x="72019" y="0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68" name="Forma livre: Forma 267">
                <a:extLst>
                  <a:ext uri="{FF2B5EF4-FFF2-40B4-BE49-F238E27FC236}">
                    <a16:creationId xmlns:a16="http://schemas.microsoft.com/office/drawing/2014/main" id="{182A2B52-4EBB-3107-DB6D-69F4BDF2E821}"/>
                  </a:ext>
                </a:extLst>
              </p:cNvPr>
              <p:cNvSpPr/>
              <p:nvPr/>
            </p:nvSpPr>
            <p:spPr>
              <a:xfrm>
                <a:off x="4055328" y="1062969"/>
                <a:ext cx="61641" cy="160461"/>
              </a:xfrm>
              <a:custGeom>
                <a:avLst/>
                <a:gdLst>
                  <a:gd name="connsiteX0" fmla="*/ 0 w 61641"/>
                  <a:gd name="connsiteY0" fmla="*/ 160461 h 160461"/>
                  <a:gd name="connsiteX1" fmla="*/ 0 w 61641"/>
                  <a:gd name="connsiteY1" fmla="*/ 30749 h 160461"/>
                  <a:gd name="connsiteX2" fmla="*/ 30809 w 61641"/>
                  <a:gd name="connsiteY2" fmla="*/ 0 h 160461"/>
                  <a:gd name="connsiteX3" fmla="*/ 30904 w 61641"/>
                  <a:gd name="connsiteY3" fmla="*/ 0 h 160461"/>
                  <a:gd name="connsiteX4" fmla="*/ 61642 w 61641"/>
                  <a:gd name="connsiteY4" fmla="*/ 30749 h 160461"/>
                  <a:gd name="connsiteX5" fmla="*/ 61642 w 61641"/>
                  <a:gd name="connsiteY5" fmla="*/ 160461 h 1604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61641" h="160461">
                    <a:moveTo>
                      <a:pt x="0" y="160461"/>
                    </a:moveTo>
                    <a:lnTo>
                      <a:pt x="0" y="30749"/>
                    </a:lnTo>
                    <a:lnTo>
                      <a:pt x="30809" y="0"/>
                    </a:lnTo>
                    <a:lnTo>
                      <a:pt x="30904" y="0"/>
                    </a:lnTo>
                    <a:lnTo>
                      <a:pt x="61642" y="30749"/>
                    </a:lnTo>
                    <a:lnTo>
                      <a:pt x="61642" y="160461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69" name="Forma livre: Forma 268">
                <a:extLst>
                  <a:ext uri="{FF2B5EF4-FFF2-40B4-BE49-F238E27FC236}">
                    <a16:creationId xmlns:a16="http://schemas.microsoft.com/office/drawing/2014/main" id="{86949040-BB7F-99A4-C6E9-203A94929CD2}"/>
                  </a:ext>
                </a:extLst>
              </p:cNvPr>
              <p:cNvSpPr/>
              <p:nvPr/>
            </p:nvSpPr>
            <p:spPr>
              <a:xfrm>
                <a:off x="4095691" y="1187898"/>
                <a:ext cx="19704" cy="11"/>
              </a:xfrm>
              <a:custGeom>
                <a:avLst/>
                <a:gdLst>
                  <a:gd name="connsiteX0" fmla="*/ 19704 w 19704"/>
                  <a:gd name="connsiteY0" fmla="*/ 0 h 11"/>
                  <a:gd name="connsiteX1" fmla="*/ 0 w 19704"/>
                  <a:gd name="connsiteY1" fmla="*/ 12 h 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9704" h="11">
                    <a:moveTo>
                      <a:pt x="19704" y="0"/>
                    </a:moveTo>
                    <a:lnTo>
                      <a:pt x="0" y="12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70" name="Forma livre: Forma 269">
                <a:extLst>
                  <a:ext uri="{FF2B5EF4-FFF2-40B4-BE49-F238E27FC236}">
                    <a16:creationId xmlns:a16="http://schemas.microsoft.com/office/drawing/2014/main" id="{A39E4991-B385-F932-9CE3-6D4CF55D1E7B}"/>
                  </a:ext>
                </a:extLst>
              </p:cNvPr>
              <p:cNvSpPr/>
              <p:nvPr/>
            </p:nvSpPr>
            <p:spPr>
              <a:xfrm>
                <a:off x="4095691" y="1156207"/>
                <a:ext cx="19692" cy="1192"/>
              </a:xfrm>
              <a:custGeom>
                <a:avLst/>
                <a:gdLst>
                  <a:gd name="connsiteX0" fmla="*/ 19692 w 19692"/>
                  <a:gd name="connsiteY0" fmla="*/ 0 h 1192"/>
                  <a:gd name="connsiteX1" fmla="*/ 0 w 19692"/>
                  <a:gd name="connsiteY1" fmla="*/ 0 h 11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9692" h="1192">
                    <a:moveTo>
                      <a:pt x="19692" y="0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71" name="Forma livre: Forma 270">
                <a:extLst>
                  <a:ext uri="{FF2B5EF4-FFF2-40B4-BE49-F238E27FC236}">
                    <a16:creationId xmlns:a16="http://schemas.microsoft.com/office/drawing/2014/main" id="{D07B6427-3AE3-2137-E7A2-77D54973F4DD}"/>
                  </a:ext>
                </a:extLst>
              </p:cNvPr>
              <p:cNvSpPr/>
              <p:nvPr/>
            </p:nvSpPr>
            <p:spPr>
              <a:xfrm>
                <a:off x="4095691" y="1124527"/>
                <a:ext cx="19704" cy="1192"/>
              </a:xfrm>
              <a:custGeom>
                <a:avLst/>
                <a:gdLst>
                  <a:gd name="connsiteX0" fmla="*/ 19704 w 19704"/>
                  <a:gd name="connsiteY0" fmla="*/ 0 h 1192"/>
                  <a:gd name="connsiteX1" fmla="*/ 0 w 19704"/>
                  <a:gd name="connsiteY1" fmla="*/ 0 h 11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9704" h="1192">
                    <a:moveTo>
                      <a:pt x="19704" y="0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72" name="Forma livre: Forma 271">
                <a:extLst>
                  <a:ext uri="{FF2B5EF4-FFF2-40B4-BE49-F238E27FC236}">
                    <a16:creationId xmlns:a16="http://schemas.microsoft.com/office/drawing/2014/main" id="{B149A8DE-4E63-7167-C725-CEBEBF7418E6}"/>
                  </a:ext>
                </a:extLst>
              </p:cNvPr>
              <p:cNvSpPr/>
              <p:nvPr/>
            </p:nvSpPr>
            <p:spPr>
              <a:xfrm>
                <a:off x="4032964" y="1223216"/>
                <a:ext cx="106381" cy="1192"/>
              </a:xfrm>
              <a:custGeom>
                <a:avLst/>
                <a:gdLst>
                  <a:gd name="connsiteX0" fmla="*/ 106382 w 106381"/>
                  <a:gd name="connsiteY0" fmla="*/ 0 h 1192"/>
                  <a:gd name="connsiteX1" fmla="*/ 0 w 106381"/>
                  <a:gd name="connsiteY1" fmla="*/ 0 h 11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06381" h="1192">
                    <a:moveTo>
                      <a:pt x="106382" y="0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273" name="Gráfico 4">
                <a:extLst>
                  <a:ext uri="{FF2B5EF4-FFF2-40B4-BE49-F238E27FC236}">
                    <a16:creationId xmlns:a16="http://schemas.microsoft.com/office/drawing/2014/main" id="{1AAB5753-98C0-A4DB-BE50-F650BC25EE91}"/>
                  </a:ext>
                </a:extLst>
              </p:cNvPr>
              <p:cNvGrpSpPr/>
              <p:nvPr/>
            </p:nvGrpSpPr>
            <p:grpSpPr>
              <a:xfrm>
                <a:off x="4069724" y="1244912"/>
                <a:ext cx="32848" cy="49892"/>
                <a:chOff x="4069724" y="1244912"/>
                <a:chExt cx="32848" cy="49892"/>
              </a:xfrm>
            </p:grpSpPr>
            <p:sp>
              <p:nvSpPr>
                <p:cNvPr id="274" name="Forma livre: Forma 273">
                  <a:extLst>
                    <a:ext uri="{FF2B5EF4-FFF2-40B4-BE49-F238E27FC236}">
                      <a16:creationId xmlns:a16="http://schemas.microsoft.com/office/drawing/2014/main" id="{183012C3-E3FF-7FBB-4741-186228A4A8DB}"/>
                    </a:ext>
                  </a:extLst>
                </p:cNvPr>
                <p:cNvSpPr/>
                <p:nvPr/>
              </p:nvSpPr>
              <p:spPr>
                <a:xfrm>
                  <a:off x="4102573" y="1244912"/>
                  <a:ext cx="1192" cy="49892"/>
                </a:xfrm>
                <a:custGeom>
                  <a:avLst/>
                  <a:gdLst>
                    <a:gd name="connsiteX0" fmla="*/ 0 w 1192"/>
                    <a:gd name="connsiteY0" fmla="*/ 0 h 49892"/>
                    <a:gd name="connsiteX1" fmla="*/ 0 w 1192"/>
                    <a:gd name="connsiteY1" fmla="*/ 49893 h 498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192" h="49892">
                      <a:moveTo>
                        <a:pt x="0" y="0"/>
                      </a:moveTo>
                      <a:lnTo>
                        <a:pt x="0" y="49893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75" name="Forma livre: Forma 274">
                  <a:extLst>
                    <a:ext uri="{FF2B5EF4-FFF2-40B4-BE49-F238E27FC236}">
                      <a16:creationId xmlns:a16="http://schemas.microsoft.com/office/drawing/2014/main" id="{84A3928A-051E-47E0-FBAA-2A0B40285B84}"/>
                    </a:ext>
                  </a:extLst>
                </p:cNvPr>
                <p:cNvSpPr/>
                <p:nvPr/>
              </p:nvSpPr>
              <p:spPr>
                <a:xfrm>
                  <a:off x="4069724" y="1244912"/>
                  <a:ext cx="1192" cy="49881"/>
                </a:xfrm>
                <a:custGeom>
                  <a:avLst/>
                  <a:gdLst>
                    <a:gd name="connsiteX0" fmla="*/ 0 w 1192"/>
                    <a:gd name="connsiteY0" fmla="*/ 0 h 49881"/>
                    <a:gd name="connsiteX1" fmla="*/ 0 w 1192"/>
                    <a:gd name="connsiteY1" fmla="*/ 49881 h 4988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192" h="49881">
                      <a:moveTo>
                        <a:pt x="0" y="0"/>
                      </a:moveTo>
                      <a:lnTo>
                        <a:pt x="0" y="49881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276" name="Forma livre: Forma 275">
                <a:extLst>
                  <a:ext uri="{FF2B5EF4-FFF2-40B4-BE49-F238E27FC236}">
                    <a16:creationId xmlns:a16="http://schemas.microsoft.com/office/drawing/2014/main" id="{3A9948D8-CCB0-6877-D6A9-9841E40E35C8}"/>
                  </a:ext>
                </a:extLst>
              </p:cNvPr>
              <p:cNvSpPr/>
              <p:nvPr/>
            </p:nvSpPr>
            <p:spPr>
              <a:xfrm>
                <a:off x="4086149" y="1010655"/>
                <a:ext cx="1192" cy="51992"/>
              </a:xfrm>
              <a:custGeom>
                <a:avLst/>
                <a:gdLst>
                  <a:gd name="connsiteX0" fmla="*/ 0 w 1192"/>
                  <a:gd name="connsiteY0" fmla="*/ 51992 h 51992"/>
                  <a:gd name="connsiteX1" fmla="*/ 0 w 1192"/>
                  <a:gd name="connsiteY1" fmla="*/ 0 h 519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2" h="51992">
                    <a:moveTo>
                      <a:pt x="0" y="51992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277" name="Gráfico 4">
            <a:extLst>
              <a:ext uri="{FF2B5EF4-FFF2-40B4-BE49-F238E27FC236}">
                <a16:creationId xmlns:a16="http://schemas.microsoft.com/office/drawing/2014/main" id="{75BFBEAA-58BE-92AC-68FE-77366A680D62}"/>
              </a:ext>
            </a:extLst>
          </p:cNvPr>
          <p:cNvGrpSpPr/>
          <p:nvPr/>
        </p:nvGrpSpPr>
        <p:grpSpPr>
          <a:xfrm>
            <a:off x="3236775" y="987038"/>
            <a:ext cx="278782" cy="331371"/>
            <a:chOff x="3236775" y="987038"/>
            <a:chExt cx="278782" cy="331371"/>
          </a:xfrm>
          <a:noFill/>
        </p:grpSpPr>
        <p:grpSp>
          <p:nvGrpSpPr>
            <p:cNvPr id="278" name="Gráfico 4">
              <a:extLst>
                <a:ext uri="{FF2B5EF4-FFF2-40B4-BE49-F238E27FC236}">
                  <a16:creationId xmlns:a16="http://schemas.microsoft.com/office/drawing/2014/main" id="{1538A79E-0878-9DBD-749C-354AF793EE2A}"/>
                </a:ext>
              </a:extLst>
            </p:cNvPr>
            <p:cNvGrpSpPr/>
            <p:nvPr/>
          </p:nvGrpSpPr>
          <p:grpSpPr>
            <a:xfrm>
              <a:off x="3236775" y="1074670"/>
              <a:ext cx="278782" cy="243739"/>
              <a:chOff x="3236775" y="1074670"/>
              <a:chExt cx="278782" cy="243739"/>
            </a:xfrm>
            <a:noFill/>
          </p:grpSpPr>
          <p:grpSp>
            <p:nvGrpSpPr>
              <p:cNvPr id="279" name="Gráfico 4">
                <a:extLst>
                  <a:ext uri="{FF2B5EF4-FFF2-40B4-BE49-F238E27FC236}">
                    <a16:creationId xmlns:a16="http://schemas.microsoft.com/office/drawing/2014/main" id="{01499BBE-7E3C-6104-9F62-93A1B1D61F30}"/>
                  </a:ext>
                </a:extLst>
              </p:cNvPr>
              <p:cNvGrpSpPr/>
              <p:nvPr/>
            </p:nvGrpSpPr>
            <p:grpSpPr>
              <a:xfrm>
                <a:off x="3390331" y="1074670"/>
                <a:ext cx="125227" cy="243739"/>
                <a:chOff x="3390331" y="1074670"/>
                <a:chExt cx="125227" cy="243739"/>
              </a:xfrm>
              <a:noFill/>
            </p:grpSpPr>
            <p:sp>
              <p:nvSpPr>
                <p:cNvPr id="280" name="Forma livre: Forma 279">
                  <a:extLst>
                    <a:ext uri="{FF2B5EF4-FFF2-40B4-BE49-F238E27FC236}">
                      <a16:creationId xmlns:a16="http://schemas.microsoft.com/office/drawing/2014/main" id="{15AF4BE3-88B6-B1A0-D7BD-437089BE5741}"/>
                    </a:ext>
                  </a:extLst>
                </p:cNvPr>
                <p:cNvSpPr/>
                <p:nvPr/>
              </p:nvSpPr>
              <p:spPr>
                <a:xfrm>
                  <a:off x="3455924" y="1074670"/>
                  <a:ext cx="59634" cy="243131"/>
                </a:xfrm>
                <a:custGeom>
                  <a:avLst/>
                  <a:gdLst>
                    <a:gd name="connsiteX0" fmla="*/ 26845 w 59634"/>
                    <a:gd name="connsiteY0" fmla="*/ 80714 h 243131"/>
                    <a:gd name="connsiteX1" fmla="*/ 26845 w 59634"/>
                    <a:gd name="connsiteY1" fmla="*/ 18798 h 243131"/>
                    <a:gd name="connsiteX2" fmla="*/ 42721 w 59634"/>
                    <a:gd name="connsiteY2" fmla="*/ 0 h 243131"/>
                    <a:gd name="connsiteX3" fmla="*/ 59634 w 59634"/>
                    <a:gd name="connsiteY3" fmla="*/ 18595 h 243131"/>
                    <a:gd name="connsiteX4" fmla="*/ 59634 w 59634"/>
                    <a:gd name="connsiteY4" fmla="*/ 138765 h 243131"/>
                    <a:gd name="connsiteX5" fmla="*/ 4529 w 59634"/>
                    <a:gd name="connsiteY5" fmla="*/ 210712 h 243131"/>
                    <a:gd name="connsiteX6" fmla="*/ 330 w 59634"/>
                    <a:gd name="connsiteY6" fmla="*/ 243132 h 24313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59634" h="243131">
                      <a:moveTo>
                        <a:pt x="26845" y="80714"/>
                      </a:moveTo>
                      <a:lnTo>
                        <a:pt x="26845" y="18798"/>
                      </a:lnTo>
                      <a:cubicBezTo>
                        <a:pt x="26786" y="8528"/>
                        <a:pt x="33465" y="72"/>
                        <a:pt x="42721" y="0"/>
                      </a:cubicBezTo>
                      <a:cubicBezTo>
                        <a:pt x="51953" y="-48"/>
                        <a:pt x="59562" y="8314"/>
                        <a:pt x="59634" y="18595"/>
                      </a:cubicBezTo>
                      <a:lnTo>
                        <a:pt x="59634" y="138765"/>
                      </a:lnTo>
                      <a:lnTo>
                        <a:pt x="4529" y="210712"/>
                      </a:lnTo>
                      <a:cubicBezTo>
                        <a:pt x="4529" y="210712"/>
                        <a:pt x="-1447" y="217678"/>
                        <a:pt x="330" y="243132"/>
                      </a:cubicBez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81" name="Forma livre: Forma 280">
                  <a:extLst>
                    <a:ext uri="{FF2B5EF4-FFF2-40B4-BE49-F238E27FC236}">
                      <a16:creationId xmlns:a16="http://schemas.microsoft.com/office/drawing/2014/main" id="{D52F4DE5-67AC-57BC-23B3-C9260B2DAFB2}"/>
                    </a:ext>
                  </a:extLst>
                </p:cNvPr>
                <p:cNvSpPr/>
                <p:nvPr/>
              </p:nvSpPr>
              <p:spPr>
                <a:xfrm>
                  <a:off x="3390331" y="1172260"/>
                  <a:ext cx="104158" cy="146149"/>
                </a:xfrm>
                <a:custGeom>
                  <a:avLst/>
                  <a:gdLst>
                    <a:gd name="connsiteX0" fmla="*/ 0 w 104158"/>
                    <a:gd name="connsiteY0" fmla="*/ 146150 h 146149"/>
                    <a:gd name="connsiteX1" fmla="*/ 60 w 104158"/>
                    <a:gd name="connsiteY1" fmla="*/ 90317 h 146149"/>
                    <a:gd name="connsiteX2" fmla="*/ 25358 w 104158"/>
                    <a:gd name="connsiteY2" fmla="*/ 53926 h 146149"/>
                    <a:gd name="connsiteX3" fmla="*/ 49845 w 104158"/>
                    <a:gd name="connsiteY3" fmla="*/ 32898 h 146149"/>
                    <a:gd name="connsiteX4" fmla="*/ 71434 w 104158"/>
                    <a:gd name="connsiteY4" fmla="*/ 9496 h 146149"/>
                    <a:gd name="connsiteX5" fmla="*/ 99989 w 104158"/>
                    <a:gd name="connsiteY5" fmla="*/ 3365 h 146149"/>
                    <a:gd name="connsiteX6" fmla="*/ 96184 w 104158"/>
                    <a:gd name="connsiteY6" fmla="*/ 32289 h 146149"/>
                    <a:gd name="connsiteX7" fmla="*/ 65828 w 104158"/>
                    <a:gd name="connsiteY7" fmla="*/ 65162 h 14614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04158" h="146149">
                      <a:moveTo>
                        <a:pt x="0" y="146150"/>
                      </a:moveTo>
                      <a:lnTo>
                        <a:pt x="60" y="90317"/>
                      </a:lnTo>
                      <a:cubicBezTo>
                        <a:pt x="60" y="68621"/>
                        <a:pt x="25358" y="53926"/>
                        <a:pt x="25358" y="53926"/>
                      </a:cubicBezTo>
                      <a:cubicBezTo>
                        <a:pt x="36809" y="46257"/>
                        <a:pt x="49845" y="32898"/>
                        <a:pt x="49845" y="32898"/>
                      </a:cubicBezTo>
                      <a:lnTo>
                        <a:pt x="71434" y="9496"/>
                      </a:lnTo>
                      <a:cubicBezTo>
                        <a:pt x="80332" y="-154"/>
                        <a:pt x="93178" y="-2909"/>
                        <a:pt x="99989" y="3365"/>
                      </a:cubicBezTo>
                      <a:cubicBezTo>
                        <a:pt x="106799" y="9627"/>
                        <a:pt x="105082" y="22640"/>
                        <a:pt x="96184" y="32289"/>
                      </a:cubicBezTo>
                      <a:lnTo>
                        <a:pt x="65828" y="65162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282" name="Gráfico 4">
                <a:extLst>
                  <a:ext uri="{FF2B5EF4-FFF2-40B4-BE49-F238E27FC236}">
                    <a16:creationId xmlns:a16="http://schemas.microsoft.com/office/drawing/2014/main" id="{1B6683CD-C702-FCB2-1672-28B54953B505}"/>
                  </a:ext>
                </a:extLst>
              </p:cNvPr>
              <p:cNvGrpSpPr/>
              <p:nvPr/>
            </p:nvGrpSpPr>
            <p:grpSpPr>
              <a:xfrm>
                <a:off x="3236775" y="1074670"/>
                <a:ext cx="125239" cy="243739"/>
                <a:chOff x="3236775" y="1074670"/>
                <a:chExt cx="125239" cy="243739"/>
              </a:xfrm>
              <a:noFill/>
            </p:grpSpPr>
            <p:sp>
              <p:nvSpPr>
                <p:cNvPr id="283" name="Forma livre: Forma 282">
                  <a:extLst>
                    <a:ext uri="{FF2B5EF4-FFF2-40B4-BE49-F238E27FC236}">
                      <a16:creationId xmlns:a16="http://schemas.microsoft.com/office/drawing/2014/main" id="{35CC73C0-6AEE-EF0F-D769-4380876542A2}"/>
                    </a:ext>
                  </a:extLst>
                </p:cNvPr>
                <p:cNvSpPr/>
                <p:nvPr/>
              </p:nvSpPr>
              <p:spPr>
                <a:xfrm>
                  <a:off x="3236775" y="1074670"/>
                  <a:ext cx="59634" cy="243131"/>
                </a:xfrm>
                <a:custGeom>
                  <a:avLst/>
                  <a:gdLst>
                    <a:gd name="connsiteX0" fmla="*/ 32801 w 59634"/>
                    <a:gd name="connsiteY0" fmla="*/ 80714 h 243131"/>
                    <a:gd name="connsiteX1" fmla="*/ 32801 w 59634"/>
                    <a:gd name="connsiteY1" fmla="*/ 18798 h 243131"/>
                    <a:gd name="connsiteX2" fmla="*/ 16913 w 59634"/>
                    <a:gd name="connsiteY2" fmla="*/ 0 h 243131"/>
                    <a:gd name="connsiteX3" fmla="*/ 0 w 59634"/>
                    <a:gd name="connsiteY3" fmla="*/ 18595 h 243131"/>
                    <a:gd name="connsiteX4" fmla="*/ 0 w 59634"/>
                    <a:gd name="connsiteY4" fmla="*/ 138765 h 243131"/>
                    <a:gd name="connsiteX5" fmla="*/ 55105 w 59634"/>
                    <a:gd name="connsiteY5" fmla="*/ 210712 h 243131"/>
                    <a:gd name="connsiteX6" fmla="*/ 59304 w 59634"/>
                    <a:gd name="connsiteY6" fmla="*/ 243132 h 24313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59634" h="243131">
                      <a:moveTo>
                        <a:pt x="32801" y="80714"/>
                      </a:moveTo>
                      <a:lnTo>
                        <a:pt x="32801" y="18798"/>
                      </a:lnTo>
                      <a:cubicBezTo>
                        <a:pt x="32860" y="8528"/>
                        <a:pt x="26169" y="72"/>
                        <a:pt x="16913" y="0"/>
                      </a:cubicBezTo>
                      <a:cubicBezTo>
                        <a:pt x="7681" y="-48"/>
                        <a:pt x="72" y="8314"/>
                        <a:pt x="0" y="18595"/>
                      </a:cubicBezTo>
                      <a:lnTo>
                        <a:pt x="0" y="138765"/>
                      </a:lnTo>
                      <a:cubicBezTo>
                        <a:pt x="0" y="138765"/>
                        <a:pt x="55105" y="210712"/>
                        <a:pt x="55105" y="210712"/>
                      </a:cubicBezTo>
                      <a:cubicBezTo>
                        <a:pt x="55105" y="210712"/>
                        <a:pt x="61081" y="217678"/>
                        <a:pt x="59304" y="243132"/>
                      </a:cubicBez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84" name="Forma livre: Forma 283">
                  <a:extLst>
                    <a:ext uri="{FF2B5EF4-FFF2-40B4-BE49-F238E27FC236}">
                      <a16:creationId xmlns:a16="http://schemas.microsoft.com/office/drawing/2014/main" id="{40B499B9-C417-9368-8BB4-C663A7608A30}"/>
                    </a:ext>
                  </a:extLst>
                </p:cNvPr>
                <p:cNvSpPr/>
                <p:nvPr/>
              </p:nvSpPr>
              <p:spPr>
                <a:xfrm>
                  <a:off x="3257862" y="1172260"/>
                  <a:ext cx="104152" cy="146149"/>
                </a:xfrm>
                <a:custGeom>
                  <a:avLst/>
                  <a:gdLst>
                    <a:gd name="connsiteX0" fmla="*/ 104152 w 104152"/>
                    <a:gd name="connsiteY0" fmla="*/ 146150 h 146149"/>
                    <a:gd name="connsiteX1" fmla="*/ 104093 w 104152"/>
                    <a:gd name="connsiteY1" fmla="*/ 90317 h 146149"/>
                    <a:gd name="connsiteX2" fmla="*/ 78794 w 104152"/>
                    <a:gd name="connsiteY2" fmla="*/ 53926 h 146149"/>
                    <a:gd name="connsiteX3" fmla="*/ 54319 w 104152"/>
                    <a:gd name="connsiteY3" fmla="*/ 32898 h 146149"/>
                    <a:gd name="connsiteX4" fmla="*/ 32718 w 104152"/>
                    <a:gd name="connsiteY4" fmla="*/ 9496 h 146149"/>
                    <a:gd name="connsiteX5" fmla="*/ 4163 w 104152"/>
                    <a:gd name="connsiteY5" fmla="*/ 3365 h 146149"/>
                    <a:gd name="connsiteX6" fmla="*/ 7980 w 104152"/>
                    <a:gd name="connsiteY6" fmla="*/ 32289 h 146149"/>
                    <a:gd name="connsiteX7" fmla="*/ 38336 w 104152"/>
                    <a:gd name="connsiteY7" fmla="*/ 65162 h 14614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04152" h="146149">
                      <a:moveTo>
                        <a:pt x="104152" y="146150"/>
                      </a:moveTo>
                      <a:lnTo>
                        <a:pt x="104093" y="90317"/>
                      </a:lnTo>
                      <a:cubicBezTo>
                        <a:pt x="104093" y="68621"/>
                        <a:pt x="78794" y="53926"/>
                        <a:pt x="78794" y="53926"/>
                      </a:cubicBezTo>
                      <a:cubicBezTo>
                        <a:pt x="67344" y="46257"/>
                        <a:pt x="54319" y="32898"/>
                        <a:pt x="54319" y="32898"/>
                      </a:cubicBezTo>
                      <a:lnTo>
                        <a:pt x="32718" y="9496"/>
                      </a:lnTo>
                      <a:cubicBezTo>
                        <a:pt x="23832" y="-154"/>
                        <a:pt x="10974" y="-2909"/>
                        <a:pt x="4163" y="3365"/>
                      </a:cubicBezTo>
                      <a:cubicBezTo>
                        <a:pt x="-2635" y="9627"/>
                        <a:pt x="-930" y="22640"/>
                        <a:pt x="7980" y="32289"/>
                      </a:cubicBezTo>
                      <a:lnTo>
                        <a:pt x="38336" y="65162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sp>
          <p:nvSpPr>
            <p:cNvPr id="285" name="Forma livre: Forma 284">
              <a:extLst>
                <a:ext uri="{FF2B5EF4-FFF2-40B4-BE49-F238E27FC236}">
                  <a16:creationId xmlns:a16="http://schemas.microsoft.com/office/drawing/2014/main" id="{59092587-66BB-3553-E866-16ACBB15DC30}"/>
                </a:ext>
              </a:extLst>
            </p:cNvPr>
            <p:cNvSpPr/>
            <p:nvPr/>
          </p:nvSpPr>
          <p:spPr>
            <a:xfrm>
              <a:off x="3310350" y="1042773"/>
              <a:ext cx="131642" cy="143641"/>
            </a:xfrm>
            <a:custGeom>
              <a:avLst/>
              <a:gdLst>
                <a:gd name="connsiteX0" fmla="*/ 82116 w 131642"/>
                <a:gd name="connsiteY0" fmla="*/ 22009 h 143641"/>
                <a:gd name="connsiteX1" fmla="*/ 60372 w 131642"/>
                <a:gd name="connsiteY1" fmla="*/ 12229 h 143641"/>
                <a:gd name="connsiteX2" fmla="*/ 14164 w 131642"/>
                <a:gd name="connsiteY2" fmla="*/ 7696 h 143641"/>
                <a:gd name="connsiteX3" fmla="*/ 6352 w 131642"/>
                <a:gd name="connsiteY3" fmla="*/ 58853 h 143641"/>
                <a:gd name="connsiteX4" fmla="*/ 26271 w 131642"/>
                <a:gd name="connsiteY4" fmla="*/ 119899 h 143641"/>
                <a:gd name="connsiteX5" fmla="*/ 40739 w 131642"/>
                <a:gd name="connsiteY5" fmla="*/ 141762 h 143641"/>
                <a:gd name="connsiteX6" fmla="*/ 47848 w 131642"/>
                <a:gd name="connsiteY6" fmla="*/ 143611 h 143641"/>
                <a:gd name="connsiteX7" fmla="*/ 53490 w 131642"/>
                <a:gd name="connsiteY7" fmla="*/ 115581 h 143641"/>
                <a:gd name="connsiteX8" fmla="*/ 65823 w 131642"/>
                <a:gd name="connsiteY8" fmla="*/ 86716 h 143641"/>
                <a:gd name="connsiteX9" fmla="*/ 78144 w 131642"/>
                <a:gd name="connsiteY9" fmla="*/ 115581 h 143641"/>
                <a:gd name="connsiteX10" fmla="*/ 83786 w 131642"/>
                <a:gd name="connsiteY10" fmla="*/ 143611 h 143641"/>
                <a:gd name="connsiteX11" fmla="*/ 90894 w 131642"/>
                <a:gd name="connsiteY11" fmla="*/ 141762 h 143641"/>
                <a:gd name="connsiteX12" fmla="*/ 105375 w 131642"/>
                <a:gd name="connsiteY12" fmla="*/ 119899 h 143641"/>
                <a:gd name="connsiteX13" fmla="*/ 125294 w 131642"/>
                <a:gd name="connsiteY13" fmla="*/ 58853 h 143641"/>
                <a:gd name="connsiteX14" fmla="*/ 117481 w 131642"/>
                <a:gd name="connsiteY14" fmla="*/ 7696 h 143641"/>
                <a:gd name="connsiteX15" fmla="*/ 83487 w 131642"/>
                <a:gd name="connsiteY15" fmla="*/ 2126 h 143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31642" h="143641">
                  <a:moveTo>
                    <a:pt x="82116" y="22009"/>
                  </a:moveTo>
                  <a:cubicBezTo>
                    <a:pt x="71274" y="22009"/>
                    <a:pt x="60372" y="12229"/>
                    <a:pt x="60372" y="12229"/>
                  </a:cubicBezTo>
                  <a:cubicBezTo>
                    <a:pt x="45570" y="-582"/>
                    <a:pt x="29611" y="-4327"/>
                    <a:pt x="14164" y="7696"/>
                  </a:cubicBezTo>
                  <a:cubicBezTo>
                    <a:pt x="-1282" y="19707"/>
                    <a:pt x="-4419" y="42214"/>
                    <a:pt x="6352" y="58853"/>
                  </a:cubicBezTo>
                  <a:cubicBezTo>
                    <a:pt x="6352" y="58853"/>
                    <a:pt x="24291" y="88660"/>
                    <a:pt x="26271" y="119899"/>
                  </a:cubicBezTo>
                  <a:cubicBezTo>
                    <a:pt x="26271" y="119899"/>
                    <a:pt x="26128" y="136728"/>
                    <a:pt x="40739" y="141762"/>
                  </a:cubicBezTo>
                  <a:cubicBezTo>
                    <a:pt x="40739" y="141762"/>
                    <a:pt x="45284" y="143921"/>
                    <a:pt x="47848" y="143611"/>
                  </a:cubicBezTo>
                  <a:cubicBezTo>
                    <a:pt x="53024" y="142967"/>
                    <a:pt x="54003" y="135476"/>
                    <a:pt x="53490" y="115581"/>
                  </a:cubicBezTo>
                  <a:cubicBezTo>
                    <a:pt x="53490" y="115581"/>
                    <a:pt x="53657" y="86716"/>
                    <a:pt x="65823" y="86716"/>
                  </a:cubicBezTo>
                  <a:cubicBezTo>
                    <a:pt x="77989" y="86716"/>
                    <a:pt x="78144" y="115581"/>
                    <a:pt x="78144" y="115581"/>
                  </a:cubicBezTo>
                  <a:cubicBezTo>
                    <a:pt x="77643" y="135476"/>
                    <a:pt x="78621" y="142955"/>
                    <a:pt x="83786" y="143611"/>
                  </a:cubicBezTo>
                  <a:cubicBezTo>
                    <a:pt x="86350" y="143921"/>
                    <a:pt x="90894" y="141762"/>
                    <a:pt x="90894" y="141762"/>
                  </a:cubicBezTo>
                  <a:cubicBezTo>
                    <a:pt x="105518" y="136728"/>
                    <a:pt x="105375" y="119899"/>
                    <a:pt x="105375" y="119899"/>
                  </a:cubicBezTo>
                  <a:cubicBezTo>
                    <a:pt x="107355" y="88660"/>
                    <a:pt x="125294" y="58853"/>
                    <a:pt x="125294" y="58853"/>
                  </a:cubicBezTo>
                  <a:cubicBezTo>
                    <a:pt x="136064" y="42203"/>
                    <a:pt x="132915" y="19707"/>
                    <a:pt x="117481" y="7696"/>
                  </a:cubicBezTo>
                  <a:cubicBezTo>
                    <a:pt x="107021" y="-462"/>
                    <a:pt x="94854" y="-1810"/>
                    <a:pt x="83487" y="2126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86" name="Forma livre: Forma 285">
              <a:extLst>
                <a:ext uri="{FF2B5EF4-FFF2-40B4-BE49-F238E27FC236}">
                  <a16:creationId xmlns:a16="http://schemas.microsoft.com/office/drawing/2014/main" id="{DE9A8DBB-670C-1F7F-3040-67634025762B}"/>
                </a:ext>
              </a:extLst>
            </p:cNvPr>
            <p:cNvSpPr/>
            <p:nvPr/>
          </p:nvSpPr>
          <p:spPr>
            <a:xfrm>
              <a:off x="3376161" y="987038"/>
              <a:ext cx="1192" cy="23246"/>
            </a:xfrm>
            <a:custGeom>
              <a:avLst/>
              <a:gdLst>
                <a:gd name="connsiteX0" fmla="*/ 0 w 1192"/>
                <a:gd name="connsiteY0" fmla="*/ 23247 h 23246"/>
                <a:gd name="connsiteX1" fmla="*/ 0 w 1192"/>
                <a:gd name="connsiteY1" fmla="*/ 0 h 23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92" h="23246">
                  <a:moveTo>
                    <a:pt x="0" y="23247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287" name="Gráfico 4">
              <a:extLst>
                <a:ext uri="{FF2B5EF4-FFF2-40B4-BE49-F238E27FC236}">
                  <a16:creationId xmlns:a16="http://schemas.microsoft.com/office/drawing/2014/main" id="{1EAA7B61-2BCA-6C55-C03D-5E477D52F618}"/>
                </a:ext>
              </a:extLst>
            </p:cNvPr>
            <p:cNvGrpSpPr/>
            <p:nvPr/>
          </p:nvGrpSpPr>
          <p:grpSpPr>
            <a:xfrm>
              <a:off x="3300373" y="1005240"/>
              <a:ext cx="151587" cy="18094"/>
              <a:chOff x="3300373" y="1005240"/>
              <a:chExt cx="151587" cy="18094"/>
            </a:xfrm>
          </p:grpSpPr>
          <p:sp>
            <p:nvSpPr>
              <p:cNvPr id="288" name="Forma livre: Forma 287">
                <a:extLst>
                  <a:ext uri="{FF2B5EF4-FFF2-40B4-BE49-F238E27FC236}">
                    <a16:creationId xmlns:a16="http://schemas.microsoft.com/office/drawing/2014/main" id="{4596B125-AF75-1A59-6B4E-1E675810C3F7}"/>
                  </a:ext>
                </a:extLst>
              </p:cNvPr>
              <p:cNvSpPr/>
              <p:nvPr/>
            </p:nvSpPr>
            <p:spPr>
              <a:xfrm>
                <a:off x="3300373" y="1005240"/>
                <a:ext cx="14611" cy="18094"/>
              </a:xfrm>
              <a:custGeom>
                <a:avLst/>
                <a:gdLst>
                  <a:gd name="connsiteX0" fmla="*/ 14611 w 14611"/>
                  <a:gd name="connsiteY0" fmla="*/ 18094 h 18094"/>
                  <a:gd name="connsiteX1" fmla="*/ 0 w 14611"/>
                  <a:gd name="connsiteY1" fmla="*/ 0 h 180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4611" h="18094">
                    <a:moveTo>
                      <a:pt x="14611" y="18094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89" name="Forma livre: Forma 288">
                <a:extLst>
                  <a:ext uri="{FF2B5EF4-FFF2-40B4-BE49-F238E27FC236}">
                    <a16:creationId xmlns:a16="http://schemas.microsoft.com/office/drawing/2014/main" id="{F3F4D0E8-62B1-7FA8-BA86-7306489C645C}"/>
                  </a:ext>
                </a:extLst>
              </p:cNvPr>
              <p:cNvSpPr/>
              <p:nvPr/>
            </p:nvSpPr>
            <p:spPr>
              <a:xfrm>
                <a:off x="3437349" y="1005240"/>
                <a:ext cx="14611" cy="18094"/>
              </a:xfrm>
              <a:custGeom>
                <a:avLst/>
                <a:gdLst>
                  <a:gd name="connsiteX0" fmla="*/ 14611 w 14611"/>
                  <a:gd name="connsiteY0" fmla="*/ 0 h 18094"/>
                  <a:gd name="connsiteX1" fmla="*/ 0 w 14611"/>
                  <a:gd name="connsiteY1" fmla="*/ 18094 h 180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4611" h="18094">
                    <a:moveTo>
                      <a:pt x="14611" y="0"/>
                    </a:moveTo>
                    <a:lnTo>
                      <a:pt x="0" y="18094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290" name="Gráfico 4">
            <a:extLst>
              <a:ext uri="{FF2B5EF4-FFF2-40B4-BE49-F238E27FC236}">
                <a16:creationId xmlns:a16="http://schemas.microsoft.com/office/drawing/2014/main" id="{D938A9C6-199C-A041-3BEB-7410BEC859C5}"/>
              </a:ext>
            </a:extLst>
          </p:cNvPr>
          <p:cNvGrpSpPr/>
          <p:nvPr/>
        </p:nvGrpSpPr>
        <p:grpSpPr>
          <a:xfrm>
            <a:off x="2609374" y="2601147"/>
            <a:ext cx="290485" cy="273221"/>
            <a:chOff x="2609374" y="2601147"/>
            <a:chExt cx="290485" cy="273221"/>
          </a:xfrm>
          <a:noFill/>
        </p:grpSpPr>
        <p:grpSp>
          <p:nvGrpSpPr>
            <p:cNvPr id="291" name="Gráfico 4">
              <a:extLst>
                <a:ext uri="{FF2B5EF4-FFF2-40B4-BE49-F238E27FC236}">
                  <a16:creationId xmlns:a16="http://schemas.microsoft.com/office/drawing/2014/main" id="{E9AF5DF5-D520-2B6B-84B1-EA0C622E4873}"/>
                </a:ext>
              </a:extLst>
            </p:cNvPr>
            <p:cNvGrpSpPr/>
            <p:nvPr/>
          </p:nvGrpSpPr>
          <p:grpSpPr>
            <a:xfrm>
              <a:off x="2609374" y="2601147"/>
              <a:ext cx="288527" cy="197305"/>
              <a:chOff x="2609374" y="2601147"/>
              <a:chExt cx="288527" cy="197305"/>
            </a:xfrm>
            <a:noFill/>
          </p:grpSpPr>
          <p:sp>
            <p:nvSpPr>
              <p:cNvPr id="292" name="Forma livre: Forma 291">
                <a:extLst>
                  <a:ext uri="{FF2B5EF4-FFF2-40B4-BE49-F238E27FC236}">
                    <a16:creationId xmlns:a16="http://schemas.microsoft.com/office/drawing/2014/main" id="{11481C4D-A131-6B23-F367-5AE885F6C39A}"/>
                  </a:ext>
                </a:extLst>
              </p:cNvPr>
              <p:cNvSpPr/>
              <p:nvPr/>
            </p:nvSpPr>
            <p:spPr>
              <a:xfrm>
                <a:off x="2609374" y="2601147"/>
                <a:ext cx="237310" cy="197222"/>
              </a:xfrm>
              <a:custGeom>
                <a:avLst/>
                <a:gdLst>
                  <a:gd name="connsiteX0" fmla="*/ 0 w 237310"/>
                  <a:gd name="connsiteY0" fmla="*/ 197222 h 197222"/>
                  <a:gd name="connsiteX1" fmla="*/ 0 w 237310"/>
                  <a:gd name="connsiteY1" fmla="*/ 14313 h 197222"/>
                  <a:gd name="connsiteX2" fmla="*/ 14313 w 237310"/>
                  <a:gd name="connsiteY2" fmla="*/ 0 h 197222"/>
                  <a:gd name="connsiteX3" fmla="*/ 84197 w 237310"/>
                  <a:gd name="connsiteY3" fmla="*/ 0 h 197222"/>
                  <a:gd name="connsiteX4" fmla="*/ 106728 w 237310"/>
                  <a:gd name="connsiteY4" fmla="*/ 31143 h 197222"/>
                  <a:gd name="connsiteX5" fmla="*/ 237311 w 237310"/>
                  <a:gd name="connsiteY5" fmla="*/ 31143 h 1972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37310" h="197222">
                    <a:moveTo>
                      <a:pt x="0" y="197222"/>
                    </a:moveTo>
                    <a:lnTo>
                      <a:pt x="0" y="14313"/>
                    </a:lnTo>
                    <a:cubicBezTo>
                      <a:pt x="0" y="6441"/>
                      <a:pt x="6441" y="0"/>
                      <a:pt x="14313" y="0"/>
                    </a:cubicBezTo>
                    <a:lnTo>
                      <a:pt x="84197" y="0"/>
                    </a:lnTo>
                    <a:lnTo>
                      <a:pt x="106728" y="31143"/>
                    </a:lnTo>
                    <a:lnTo>
                      <a:pt x="237311" y="31143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93" name="Forma livre: Forma 292">
                <a:extLst>
                  <a:ext uri="{FF2B5EF4-FFF2-40B4-BE49-F238E27FC236}">
                    <a16:creationId xmlns:a16="http://schemas.microsoft.com/office/drawing/2014/main" id="{9232AD8E-60BB-5CFC-9933-CFC95EB2AFD7}"/>
                  </a:ext>
                </a:extLst>
              </p:cNvPr>
              <p:cNvSpPr/>
              <p:nvPr/>
            </p:nvSpPr>
            <p:spPr>
              <a:xfrm>
                <a:off x="2609636" y="2670112"/>
                <a:ext cx="288265" cy="128340"/>
              </a:xfrm>
              <a:custGeom>
                <a:avLst/>
                <a:gdLst>
                  <a:gd name="connsiteX0" fmla="*/ 133457 w 288265"/>
                  <a:gd name="connsiteY0" fmla="*/ 128341 h 128340"/>
                  <a:gd name="connsiteX1" fmla="*/ 0 w 288265"/>
                  <a:gd name="connsiteY1" fmla="*/ 128341 h 128340"/>
                  <a:gd name="connsiteX2" fmla="*/ 54652 w 288265"/>
                  <a:gd name="connsiteY2" fmla="*/ 0 h 128340"/>
                  <a:gd name="connsiteX3" fmla="*/ 288265 w 288265"/>
                  <a:gd name="connsiteY3" fmla="*/ 0 h 128340"/>
                  <a:gd name="connsiteX4" fmla="*/ 274656 w 288265"/>
                  <a:gd name="connsiteY4" fmla="*/ 31835 h 1283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88265" h="128340">
                    <a:moveTo>
                      <a:pt x="133457" y="128341"/>
                    </a:moveTo>
                    <a:lnTo>
                      <a:pt x="0" y="128341"/>
                    </a:lnTo>
                    <a:lnTo>
                      <a:pt x="54652" y="0"/>
                    </a:lnTo>
                    <a:lnTo>
                      <a:pt x="288265" y="0"/>
                    </a:lnTo>
                    <a:lnTo>
                      <a:pt x="274656" y="31835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294" name="Forma livre: Forma 293">
              <a:extLst>
                <a:ext uri="{FF2B5EF4-FFF2-40B4-BE49-F238E27FC236}">
                  <a16:creationId xmlns:a16="http://schemas.microsoft.com/office/drawing/2014/main" id="{F2CAA012-55C4-80B6-D7F0-F6C30DCCD783}"/>
                </a:ext>
              </a:extLst>
            </p:cNvPr>
            <p:cNvSpPr/>
            <p:nvPr/>
          </p:nvSpPr>
          <p:spPr>
            <a:xfrm>
              <a:off x="2756776" y="2718279"/>
              <a:ext cx="143083" cy="156089"/>
            </a:xfrm>
            <a:custGeom>
              <a:avLst/>
              <a:gdLst>
                <a:gd name="connsiteX0" fmla="*/ 89240 w 143083"/>
                <a:gd name="connsiteY0" fmla="*/ 23911 h 156089"/>
                <a:gd name="connsiteX1" fmla="*/ 65612 w 143083"/>
                <a:gd name="connsiteY1" fmla="*/ 13283 h 156089"/>
                <a:gd name="connsiteX2" fmla="*/ 15397 w 143083"/>
                <a:gd name="connsiteY2" fmla="*/ 8357 h 156089"/>
                <a:gd name="connsiteX3" fmla="*/ 6905 w 143083"/>
                <a:gd name="connsiteY3" fmla="*/ 63964 h 156089"/>
                <a:gd name="connsiteX4" fmla="*/ 28553 w 143083"/>
                <a:gd name="connsiteY4" fmla="*/ 130305 h 156089"/>
                <a:gd name="connsiteX5" fmla="*/ 44274 w 143083"/>
                <a:gd name="connsiteY5" fmla="*/ 154053 h 156089"/>
                <a:gd name="connsiteX6" fmla="*/ 52003 w 143083"/>
                <a:gd name="connsiteY6" fmla="*/ 156056 h 156089"/>
                <a:gd name="connsiteX7" fmla="*/ 58145 w 143083"/>
                <a:gd name="connsiteY7" fmla="*/ 125593 h 156089"/>
                <a:gd name="connsiteX8" fmla="*/ 71540 w 143083"/>
                <a:gd name="connsiteY8" fmla="*/ 94236 h 156089"/>
                <a:gd name="connsiteX9" fmla="*/ 84935 w 143083"/>
                <a:gd name="connsiteY9" fmla="*/ 125593 h 156089"/>
                <a:gd name="connsiteX10" fmla="*/ 91065 w 143083"/>
                <a:gd name="connsiteY10" fmla="*/ 156056 h 156089"/>
                <a:gd name="connsiteX11" fmla="*/ 98794 w 143083"/>
                <a:gd name="connsiteY11" fmla="*/ 154053 h 156089"/>
                <a:gd name="connsiteX12" fmla="*/ 114539 w 143083"/>
                <a:gd name="connsiteY12" fmla="*/ 130305 h 156089"/>
                <a:gd name="connsiteX13" fmla="*/ 136187 w 143083"/>
                <a:gd name="connsiteY13" fmla="*/ 63964 h 156089"/>
                <a:gd name="connsiteX14" fmla="*/ 127695 w 143083"/>
                <a:gd name="connsiteY14" fmla="*/ 8357 h 156089"/>
                <a:gd name="connsiteX15" fmla="*/ 90755 w 143083"/>
                <a:gd name="connsiteY15" fmla="*/ 2310 h 1560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43083" h="156089">
                  <a:moveTo>
                    <a:pt x="89240" y="23911"/>
                  </a:moveTo>
                  <a:cubicBezTo>
                    <a:pt x="77456" y="23911"/>
                    <a:pt x="65612" y="13283"/>
                    <a:pt x="65612" y="13283"/>
                  </a:cubicBezTo>
                  <a:cubicBezTo>
                    <a:pt x="49522" y="-636"/>
                    <a:pt x="32179" y="-4715"/>
                    <a:pt x="15397" y="8357"/>
                  </a:cubicBezTo>
                  <a:cubicBezTo>
                    <a:pt x="-1385" y="21418"/>
                    <a:pt x="-4808" y="45870"/>
                    <a:pt x="6905" y="63964"/>
                  </a:cubicBezTo>
                  <a:cubicBezTo>
                    <a:pt x="6905" y="63964"/>
                    <a:pt x="26394" y="96347"/>
                    <a:pt x="28553" y="130305"/>
                  </a:cubicBezTo>
                  <a:cubicBezTo>
                    <a:pt x="28553" y="130305"/>
                    <a:pt x="28386" y="148590"/>
                    <a:pt x="44274" y="154053"/>
                  </a:cubicBezTo>
                  <a:cubicBezTo>
                    <a:pt x="44274" y="154053"/>
                    <a:pt x="49223" y="156390"/>
                    <a:pt x="52003" y="156056"/>
                  </a:cubicBezTo>
                  <a:cubicBezTo>
                    <a:pt x="57632" y="155353"/>
                    <a:pt x="58694" y="147218"/>
                    <a:pt x="58145" y="125593"/>
                  </a:cubicBezTo>
                  <a:cubicBezTo>
                    <a:pt x="58145" y="125593"/>
                    <a:pt x="58336" y="94236"/>
                    <a:pt x="71540" y="94236"/>
                  </a:cubicBezTo>
                  <a:cubicBezTo>
                    <a:pt x="84744" y="94236"/>
                    <a:pt x="84935" y="125593"/>
                    <a:pt x="84935" y="125593"/>
                  </a:cubicBezTo>
                  <a:cubicBezTo>
                    <a:pt x="84386" y="147206"/>
                    <a:pt x="85447" y="155353"/>
                    <a:pt x="91065" y="156056"/>
                  </a:cubicBezTo>
                  <a:cubicBezTo>
                    <a:pt x="93856" y="156390"/>
                    <a:pt x="98794" y="154053"/>
                    <a:pt x="98794" y="154053"/>
                  </a:cubicBezTo>
                  <a:cubicBezTo>
                    <a:pt x="114682" y="148590"/>
                    <a:pt x="114539" y="130305"/>
                    <a:pt x="114539" y="130305"/>
                  </a:cubicBezTo>
                  <a:cubicBezTo>
                    <a:pt x="116686" y="96359"/>
                    <a:pt x="136187" y="63964"/>
                    <a:pt x="136187" y="63964"/>
                  </a:cubicBezTo>
                  <a:cubicBezTo>
                    <a:pt x="147888" y="45870"/>
                    <a:pt x="144465" y="21418"/>
                    <a:pt x="127695" y="8357"/>
                  </a:cubicBezTo>
                  <a:cubicBezTo>
                    <a:pt x="116316" y="-493"/>
                    <a:pt x="103100" y="-1972"/>
                    <a:pt x="90755" y="231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295" name="Gráfico 4">
            <a:extLst>
              <a:ext uri="{FF2B5EF4-FFF2-40B4-BE49-F238E27FC236}">
                <a16:creationId xmlns:a16="http://schemas.microsoft.com/office/drawing/2014/main" id="{65BF33AB-AB59-5F8A-34E7-DFBC6279B686}"/>
              </a:ext>
            </a:extLst>
          </p:cNvPr>
          <p:cNvGrpSpPr/>
          <p:nvPr/>
        </p:nvGrpSpPr>
        <p:grpSpPr>
          <a:xfrm>
            <a:off x="3834096" y="2577960"/>
            <a:ext cx="327268" cy="319598"/>
            <a:chOff x="3834096" y="2577960"/>
            <a:chExt cx="327268" cy="319598"/>
          </a:xfrm>
        </p:grpSpPr>
        <p:sp>
          <p:nvSpPr>
            <p:cNvPr id="296" name="Forma livre: Forma 295">
              <a:extLst>
                <a:ext uri="{FF2B5EF4-FFF2-40B4-BE49-F238E27FC236}">
                  <a16:creationId xmlns:a16="http://schemas.microsoft.com/office/drawing/2014/main" id="{F5BCF34D-437E-35E2-5D9A-FB6EDD923517}"/>
                </a:ext>
              </a:extLst>
            </p:cNvPr>
            <p:cNvSpPr/>
            <p:nvPr/>
          </p:nvSpPr>
          <p:spPr>
            <a:xfrm>
              <a:off x="3935158" y="2746334"/>
              <a:ext cx="36186" cy="31074"/>
            </a:xfrm>
            <a:custGeom>
              <a:avLst/>
              <a:gdLst>
                <a:gd name="connsiteX0" fmla="*/ 35245 w 36186"/>
                <a:gd name="connsiteY0" fmla="*/ 8416 h 31074"/>
                <a:gd name="connsiteX1" fmla="*/ 23819 w 36186"/>
                <a:gd name="connsiteY1" fmla="*/ 29336 h 31074"/>
                <a:gd name="connsiteX2" fmla="*/ 942 w 36186"/>
                <a:gd name="connsiteY2" fmla="*/ 22669 h 31074"/>
                <a:gd name="connsiteX3" fmla="*/ 12344 w 36186"/>
                <a:gd name="connsiteY3" fmla="*/ 1736 h 31074"/>
                <a:gd name="connsiteX4" fmla="*/ 35245 w 36186"/>
                <a:gd name="connsiteY4" fmla="*/ 8404 h 310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6186" h="31074">
                  <a:moveTo>
                    <a:pt x="35245" y="8416"/>
                  </a:moveTo>
                  <a:cubicBezTo>
                    <a:pt x="38418" y="16037"/>
                    <a:pt x="33313" y="25400"/>
                    <a:pt x="23819" y="29336"/>
                  </a:cubicBezTo>
                  <a:cubicBezTo>
                    <a:pt x="14348" y="33273"/>
                    <a:pt x="4114" y="30303"/>
                    <a:pt x="942" y="22669"/>
                  </a:cubicBezTo>
                  <a:cubicBezTo>
                    <a:pt x="-2231" y="15047"/>
                    <a:pt x="2874" y="5684"/>
                    <a:pt x="12344" y="1736"/>
                  </a:cubicBezTo>
                  <a:cubicBezTo>
                    <a:pt x="21827" y="-2200"/>
                    <a:pt x="32073" y="782"/>
                    <a:pt x="35245" y="8404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97" name="Forma livre: Forma 296">
              <a:extLst>
                <a:ext uri="{FF2B5EF4-FFF2-40B4-BE49-F238E27FC236}">
                  <a16:creationId xmlns:a16="http://schemas.microsoft.com/office/drawing/2014/main" id="{82B39573-E7B2-B398-8AB9-424644EAD41A}"/>
                </a:ext>
              </a:extLst>
            </p:cNvPr>
            <p:cNvSpPr/>
            <p:nvPr/>
          </p:nvSpPr>
          <p:spPr>
            <a:xfrm>
              <a:off x="3930736" y="2806141"/>
              <a:ext cx="9450" cy="10106"/>
            </a:xfrm>
            <a:custGeom>
              <a:avLst/>
              <a:gdLst>
                <a:gd name="connsiteX0" fmla="*/ 9192 w 9450"/>
                <a:gd name="connsiteY0" fmla="*/ 8855 h 10106"/>
                <a:gd name="connsiteX1" fmla="*/ 8668 w 9450"/>
                <a:gd name="connsiteY1" fmla="*/ 9594 h 10106"/>
                <a:gd name="connsiteX2" fmla="*/ 1988 w 9450"/>
                <a:gd name="connsiteY2" fmla="*/ 7423 h 10106"/>
                <a:gd name="connsiteX3" fmla="*/ 247 w 9450"/>
                <a:gd name="connsiteY3" fmla="*/ 1257 h 10106"/>
                <a:gd name="connsiteX4" fmla="*/ 783 w 9450"/>
                <a:gd name="connsiteY4" fmla="*/ 517 h 10106"/>
                <a:gd name="connsiteX5" fmla="*/ 7451 w 9450"/>
                <a:gd name="connsiteY5" fmla="*/ 2688 h 10106"/>
                <a:gd name="connsiteX6" fmla="*/ 9204 w 9450"/>
                <a:gd name="connsiteY6" fmla="*/ 8855 h 101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9450" h="10106">
                  <a:moveTo>
                    <a:pt x="9192" y="8855"/>
                  </a:moveTo>
                  <a:cubicBezTo>
                    <a:pt x="9061" y="9165"/>
                    <a:pt x="8882" y="9403"/>
                    <a:pt x="8668" y="9594"/>
                  </a:cubicBezTo>
                  <a:cubicBezTo>
                    <a:pt x="7379" y="10703"/>
                    <a:pt x="4254" y="10024"/>
                    <a:pt x="1988" y="7423"/>
                  </a:cubicBezTo>
                  <a:cubicBezTo>
                    <a:pt x="68" y="5205"/>
                    <a:pt x="-338" y="2640"/>
                    <a:pt x="247" y="1257"/>
                  </a:cubicBezTo>
                  <a:cubicBezTo>
                    <a:pt x="378" y="947"/>
                    <a:pt x="545" y="708"/>
                    <a:pt x="783" y="517"/>
                  </a:cubicBezTo>
                  <a:cubicBezTo>
                    <a:pt x="2072" y="-604"/>
                    <a:pt x="5197" y="88"/>
                    <a:pt x="7451" y="2688"/>
                  </a:cubicBezTo>
                  <a:cubicBezTo>
                    <a:pt x="9383" y="4895"/>
                    <a:pt x="9789" y="7471"/>
                    <a:pt x="9204" y="8855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98" name="Forma livre: Forma 297">
              <a:extLst>
                <a:ext uri="{FF2B5EF4-FFF2-40B4-BE49-F238E27FC236}">
                  <a16:creationId xmlns:a16="http://schemas.microsoft.com/office/drawing/2014/main" id="{18296F42-88AE-1623-93CB-79C5AD440EBF}"/>
                </a:ext>
              </a:extLst>
            </p:cNvPr>
            <p:cNvSpPr/>
            <p:nvPr/>
          </p:nvSpPr>
          <p:spPr>
            <a:xfrm>
              <a:off x="3877786" y="2689494"/>
              <a:ext cx="164373" cy="164373"/>
            </a:xfrm>
            <a:custGeom>
              <a:avLst/>
              <a:gdLst>
                <a:gd name="connsiteX0" fmla="*/ 82181 w 164373"/>
                <a:gd name="connsiteY0" fmla="*/ 0 h 164373"/>
                <a:gd name="connsiteX1" fmla="*/ 164374 w 164373"/>
                <a:gd name="connsiteY1" fmla="*/ 82193 h 164373"/>
                <a:gd name="connsiteX2" fmla="*/ 82181 w 164373"/>
                <a:gd name="connsiteY2" fmla="*/ 164374 h 164373"/>
                <a:gd name="connsiteX3" fmla="*/ 0 w 164373"/>
                <a:gd name="connsiteY3" fmla="*/ 82193 h 164373"/>
                <a:gd name="connsiteX4" fmla="*/ 10818 w 164373"/>
                <a:gd name="connsiteY4" fmla="*/ 41401 h 1643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373" h="164373">
                  <a:moveTo>
                    <a:pt x="82181" y="0"/>
                  </a:moveTo>
                  <a:cubicBezTo>
                    <a:pt x="127565" y="0"/>
                    <a:pt x="164374" y="36797"/>
                    <a:pt x="164374" y="82193"/>
                  </a:cubicBezTo>
                  <a:cubicBezTo>
                    <a:pt x="164374" y="127589"/>
                    <a:pt x="127577" y="164374"/>
                    <a:pt x="82181" y="164374"/>
                  </a:cubicBezTo>
                  <a:cubicBezTo>
                    <a:pt x="36785" y="164374"/>
                    <a:pt x="0" y="127577"/>
                    <a:pt x="0" y="82193"/>
                  </a:cubicBezTo>
                  <a:cubicBezTo>
                    <a:pt x="0" y="67343"/>
                    <a:pt x="3936" y="53424"/>
                    <a:pt x="10818" y="41401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99" name="Forma livre: Forma 298">
              <a:extLst>
                <a:ext uri="{FF2B5EF4-FFF2-40B4-BE49-F238E27FC236}">
                  <a16:creationId xmlns:a16="http://schemas.microsoft.com/office/drawing/2014/main" id="{EE554755-54A5-0867-4F26-EAC5E1DA9876}"/>
                </a:ext>
              </a:extLst>
            </p:cNvPr>
            <p:cNvSpPr/>
            <p:nvPr/>
          </p:nvSpPr>
          <p:spPr>
            <a:xfrm>
              <a:off x="3902035" y="2692440"/>
              <a:ext cx="36140" cy="20980"/>
            </a:xfrm>
            <a:custGeom>
              <a:avLst/>
              <a:gdLst>
                <a:gd name="connsiteX0" fmla="*/ 0 w 36140"/>
                <a:gd name="connsiteY0" fmla="*/ 20981 h 20980"/>
                <a:gd name="connsiteX1" fmla="*/ 36140 w 36140"/>
                <a:gd name="connsiteY1" fmla="*/ 0 h 209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6140" h="20980">
                  <a:moveTo>
                    <a:pt x="0" y="20981"/>
                  </a:moveTo>
                  <a:cubicBezTo>
                    <a:pt x="9888" y="11188"/>
                    <a:pt x="22304" y="3829"/>
                    <a:pt x="36140" y="0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300" name="Gráfico 4">
              <a:extLst>
                <a:ext uri="{FF2B5EF4-FFF2-40B4-BE49-F238E27FC236}">
                  <a16:creationId xmlns:a16="http://schemas.microsoft.com/office/drawing/2014/main" id="{C64A8C60-1DEE-1999-23BE-17804290D7DE}"/>
                </a:ext>
              </a:extLst>
            </p:cNvPr>
            <p:cNvGrpSpPr/>
            <p:nvPr/>
          </p:nvGrpSpPr>
          <p:grpSpPr>
            <a:xfrm>
              <a:off x="3959967" y="2645804"/>
              <a:ext cx="1192" cy="251754"/>
              <a:chOff x="3959967" y="2645804"/>
              <a:chExt cx="1192" cy="251754"/>
            </a:xfrm>
          </p:grpSpPr>
          <p:sp>
            <p:nvSpPr>
              <p:cNvPr id="301" name="Forma livre: Forma 300">
                <a:extLst>
                  <a:ext uri="{FF2B5EF4-FFF2-40B4-BE49-F238E27FC236}">
                    <a16:creationId xmlns:a16="http://schemas.microsoft.com/office/drawing/2014/main" id="{651C1235-13D5-2FB3-4499-F5151F149E5A}"/>
                  </a:ext>
                </a:extLst>
              </p:cNvPr>
              <p:cNvSpPr/>
              <p:nvPr/>
            </p:nvSpPr>
            <p:spPr>
              <a:xfrm>
                <a:off x="3959967" y="2645804"/>
                <a:ext cx="1192" cy="43690"/>
              </a:xfrm>
              <a:custGeom>
                <a:avLst/>
                <a:gdLst>
                  <a:gd name="connsiteX0" fmla="*/ 0 w 1192"/>
                  <a:gd name="connsiteY0" fmla="*/ 0 h 43690"/>
                  <a:gd name="connsiteX1" fmla="*/ 0 w 1192"/>
                  <a:gd name="connsiteY1" fmla="*/ 43691 h 436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2" h="43690">
                    <a:moveTo>
                      <a:pt x="0" y="0"/>
                    </a:moveTo>
                    <a:lnTo>
                      <a:pt x="0" y="43691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02" name="Forma livre: Forma 301">
                <a:extLst>
                  <a:ext uri="{FF2B5EF4-FFF2-40B4-BE49-F238E27FC236}">
                    <a16:creationId xmlns:a16="http://schemas.microsoft.com/office/drawing/2014/main" id="{8D786FD1-AC04-6915-9F94-82642677C101}"/>
                  </a:ext>
                </a:extLst>
              </p:cNvPr>
              <p:cNvSpPr/>
              <p:nvPr/>
            </p:nvSpPr>
            <p:spPr>
              <a:xfrm>
                <a:off x="3959967" y="2855741"/>
                <a:ext cx="1192" cy="41818"/>
              </a:xfrm>
              <a:custGeom>
                <a:avLst/>
                <a:gdLst>
                  <a:gd name="connsiteX0" fmla="*/ 0 w 1192"/>
                  <a:gd name="connsiteY0" fmla="*/ 0 h 41818"/>
                  <a:gd name="connsiteX1" fmla="*/ 0 w 1192"/>
                  <a:gd name="connsiteY1" fmla="*/ 41818 h 418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2" h="41818">
                    <a:moveTo>
                      <a:pt x="0" y="0"/>
                    </a:moveTo>
                    <a:lnTo>
                      <a:pt x="0" y="41818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303" name="Gráfico 4">
              <a:extLst>
                <a:ext uri="{FF2B5EF4-FFF2-40B4-BE49-F238E27FC236}">
                  <a16:creationId xmlns:a16="http://schemas.microsoft.com/office/drawing/2014/main" id="{1345F3BE-7BA4-1DB6-297B-5733A210C0D4}"/>
                </a:ext>
              </a:extLst>
            </p:cNvPr>
            <p:cNvGrpSpPr/>
            <p:nvPr/>
          </p:nvGrpSpPr>
          <p:grpSpPr>
            <a:xfrm>
              <a:off x="3834096" y="2771675"/>
              <a:ext cx="251755" cy="1192"/>
              <a:chOff x="3834096" y="2771675"/>
              <a:chExt cx="251755" cy="1192"/>
            </a:xfrm>
          </p:grpSpPr>
          <p:sp>
            <p:nvSpPr>
              <p:cNvPr id="304" name="Forma livre: Forma 303">
                <a:extLst>
                  <a:ext uri="{FF2B5EF4-FFF2-40B4-BE49-F238E27FC236}">
                    <a16:creationId xmlns:a16="http://schemas.microsoft.com/office/drawing/2014/main" id="{DBAA8EDB-0B91-19A9-5194-742EEE413FA9}"/>
                  </a:ext>
                </a:extLst>
              </p:cNvPr>
              <p:cNvSpPr/>
              <p:nvPr/>
            </p:nvSpPr>
            <p:spPr>
              <a:xfrm>
                <a:off x="4044033" y="2771675"/>
                <a:ext cx="41818" cy="1192"/>
              </a:xfrm>
              <a:custGeom>
                <a:avLst/>
                <a:gdLst>
                  <a:gd name="connsiteX0" fmla="*/ 41818 w 41818"/>
                  <a:gd name="connsiteY0" fmla="*/ 0 h 1192"/>
                  <a:gd name="connsiteX1" fmla="*/ 0 w 41818"/>
                  <a:gd name="connsiteY1" fmla="*/ 0 h 11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1818" h="1192">
                    <a:moveTo>
                      <a:pt x="41818" y="0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05" name="Forma livre: Forma 304">
                <a:extLst>
                  <a:ext uri="{FF2B5EF4-FFF2-40B4-BE49-F238E27FC236}">
                    <a16:creationId xmlns:a16="http://schemas.microsoft.com/office/drawing/2014/main" id="{1F4954CB-AAA7-D8F1-BFA0-29376F2D39AB}"/>
                  </a:ext>
                </a:extLst>
              </p:cNvPr>
              <p:cNvSpPr/>
              <p:nvPr/>
            </p:nvSpPr>
            <p:spPr>
              <a:xfrm>
                <a:off x="3834096" y="2771675"/>
                <a:ext cx="41818" cy="1192"/>
              </a:xfrm>
              <a:custGeom>
                <a:avLst/>
                <a:gdLst>
                  <a:gd name="connsiteX0" fmla="*/ 41818 w 41818"/>
                  <a:gd name="connsiteY0" fmla="*/ 0 h 1192"/>
                  <a:gd name="connsiteX1" fmla="*/ 0 w 41818"/>
                  <a:gd name="connsiteY1" fmla="*/ 0 h 11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1818" h="1192">
                    <a:moveTo>
                      <a:pt x="41818" y="0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306" name="Gráfico 4">
              <a:extLst>
                <a:ext uri="{FF2B5EF4-FFF2-40B4-BE49-F238E27FC236}">
                  <a16:creationId xmlns:a16="http://schemas.microsoft.com/office/drawing/2014/main" id="{BA1DE34E-6B91-08FF-D6CA-97367DA6D399}"/>
                </a:ext>
              </a:extLst>
            </p:cNvPr>
            <p:cNvGrpSpPr/>
            <p:nvPr/>
          </p:nvGrpSpPr>
          <p:grpSpPr>
            <a:xfrm>
              <a:off x="3870964" y="2682672"/>
              <a:ext cx="178018" cy="178018"/>
              <a:chOff x="3870964" y="2682672"/>
              <a:chExt cx="178018" cy="178018"/>
            </a:xfrm>
          </p:grpSpPr>
          <p:sp>
            <p:nvSpPr>
              <p:cNvPr id="307" name="Forma livre: Forma 306">
                <a:extLst>
                  <a:ext uri="{FF2B5EF4-FFF2-40B4-BE49-F238E27FC236}">
                    <a16:creationId xmlns:a16="http://schemas.microsoft.com/office/drawing/2014/main" id="{F3D15F54-0F05-2CC7-48E9-4D54788DD641}"/>
                  </a:ext>
                </a:extLst>
              </p:cNvPr>
              <p:cNvSpPr/>
              <p:nvPr/>
            </p:nvSpPr>
            <p:spPr>
              <a:xfrm>
                <a:off x="4019414" y="2682672"/>
                <a:ext cx="29568" cy="29568"/>
              </a:xfrm>
              <a:custGeom>
                <a:avLst/>
                <a:gdLst>
                  <a:gd name="connsiteX0" fmla="*/ 29568 w 29568"/>
                  <a:gd name="connsiteY0" fmla="*/ 0 h 29568"/>
                  <a:gd name="connsiteX1" fmla="*/ 0 w 29568"/>
                  <a:gd name="connsiteY1" fmla="*/ 29568 h 295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9568" h="29568">
                    <a:moveTo>
                      <a:pt x="29568" y="0"/>
                    </a:moveTo>
                    <a:lnTo>
                      <a:pt x="0" y="29568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08" name="Forma livre: Forma 307">
                <a:extLst>
                  <a:ext uri="{FF2B5EF4-FFF2-40B4-BE49-F238E27FC236}">
                    <a16:creationId xmlns:a16="http://schemas.microsoft.com/office/drawing/2014/main" id="{F01B1259-09A6-B670-C539-22FDEE0B02A2}"/>
                  </a:ext>
                </a:extLst>
              </p:cNvPr>
              <p:cNvSpPr/>
              <p:nvPr/>
            </p:nvSpPr>
            <p:spPr>
              <a:xfrm>
                <a:off x="3870964" y="2831122"/>
                <a:ext cx="29568" cy="29568"/>
              </a:xfrm>
              <a:custGeom>
                <a:avLst/>
                <a:gdLst>
                  <a:gd name="connsiteX0" fmla="*/ 29568 w 29568"/>
                  <a:gd name="connsiteY0" fmla="*/ 0 h 29568"/>
                  <a:gd name="connsiteX1" fmla="*/ 0 w 29568"/>
                  <a:gd name="connsiteY1" fmla="*/ 29568 h 295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9568" h="29568">
                    <a:moveTo>
                      <a:pt x="29568" y="0"/>
                    </a:moveTo>
                    <a:lnTo>
                      <a:pt x="0" y="29568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309" name="Gráfico 4">
              <a:extLst>
                <a:ext uri="{FF2B5EF4-FFF2-40B4-BE49-F238E27FC236}">
                  <a16:creationId xmlns:a16="http://schemas.microsoft.com/office/drawing/2014/main" id="{9DFD360F-40A3-1472-063D-65674DEB3CAB}"/>
                </a:ext>
              </a:extLst>
            </p:cNvPr>
            <p:cNvGrpSpPr/>
            <p:nvPr/>
          </p:nvGrpSpPr>
          <p:grpSpPr>
            <a:xfrm>
              <a:off x="3870964" y="2682672"/>
              <a:ext cx="178018" cy="178018"/>
              <a:chOff x="3870964" y="2682672"/>
              <a:chExt cx="178018" cy="178018"/>
            </a:xfrm>
          </p:grpSpPr>
          <p:sp>
            <p:nvSpPr>
              <p:cNvPr id="310" name="Forma livre: Forma 309">
                <a:extLst>
                  <a:ext uri="{FF2B5EF4-FFF2-40B4-BE49-F238E27FC236}">
                    <a16:creationId xmlns:a16="http://schemas.microsoft.com/office/drawing/2014/main" id="{4F6337AD-FCB8-F037-75A1-46A297A4B579}"/>
                  </a:ext>
                </a:extLst>
              </p:cNvPr>
              <p:cNvSpPr/>
              <p:nvPr/>
            </p:nvSpPr>
            <p:spPr>
              <a:xfrm>
                <a:off x="3870964" y="2682672"/>
                <a:ext cx="31071" cy="30749"/>
              </a:xfrm>
              <a:custGeom>
                <a:avLst/>
                <a:gdLst>
                  <a:gd name="connsiteX0" fmla="*/ 0 w 31071"/>
                  <a:gd name="connsiteY0" fmla="*/ 0 h 30749"/>
                  <a:gd name="connsiteX1" fmla="*/ 31071 w 31071"/>
                  <a:gd name="connsiteY1" fmla="*/ 30749 h 307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1071" h="30749">
                    <a:moveTo>
                      <a:pt x="0" y="0"/>
                    </a:moveTo>
                    <a:lnTo>
                      <a:pt x="31071" y="30749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11" name="Forma livre: Forma 310">
                <a:extLst>
                  <a:ext uri="{FF2B5EF4-FFF2-40B4-BE49-F238E27FC236}">
                    <a16:creationId xmlns:a16="http://schemas.microsoft.com/office/drawing/2014/main" id="{BCA1CD3C-61CB-C67E-26E9-449E80B73587}"/>
                  </a:ext>
                </a:extLst>
              </p:cNvPr>
              <p:cNvSpPr/>
              <p:nvPr/>
            </p:nvSpPr>
            <p:spPr>
              <a:xfrm>
                <a:off x="4019426" y="2831122"/>
                <a:ext cx="29556" cy="29568"/>
              </a:xfrm>
              <a:custGeom>
                <a:avLst/>
                <a:gdLst>
                  <a:gd name="connsiteX0" fmla="*/ 0 w 29556"/>
                  <a:gd name="connsiteY0" fmla="*/ 0 h 29568"/>
                  <a:gd name="connsiteX1" fmla="*/ 29556 w 29556"/>
                  <a:gd name="connsiteY1" fmla="*/ 29568 h 295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9556" h="29568">
                    <a:moveTo>
                      <a:pt x="0" y="0"/>
                    </a:moveTo>
                    <a:lnTo>
                      <a:pt x="29556" y="29568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312" name="Forma livre: Forma 311">
              <a:extLst>
                <a:ext uri="{FF2B5EF4-FFF2-40B4-BE49-F238E27FC236}">
                  <a16:creationId xmlns:a16="http://schemas.microsoft.com/office/drawing/2014/main" id="{A613C8FF-B304-6078-657D-3E6464D091BD}"/>
                </a:ext>
              </a:extLst>
            </p:cNvPr>
            <p:cNvSpPr/>
            <p:nvPr/>
          </p:nvSpPr>
          <p:spPr>
            <a:xfrm>
              <a:off x="3902524" y="2762133"/>
              <a:ext cx="6679" cy="6679"/>
            </a:xfrm>
            <a:custGeom>
              <a:avLst/>
              <a:gdLst>
                <a:gd name="connsiteX0" fmla="*/ 6680 w 6679"/>
                <a:gd name="connsiteY0" fmla="*/ 3340 h 6679"/>
                <a:gd name="connsiteX1" fmla="*/ 3340 w 6679"/>
                <a:gd name="connsiteY1" fmla="*/ 6679 h 6679"/>
                <a:gd name="connsiteX2" fmla="*/ 0 w 6679"/>
                <a:gd name="connsiteY2" fmla="*/ 3340 h 6679"/>
                <a:gd name="connsiteX3" fmla="*/ 3340 w 6679"/>
                <a:gd name="connsiteY3" fmla="*/ 0 h 6679"/>
                <a:gd name="connsiteX4" fmla="*/ 6680 w 6679"/>
                <a:gd name="connsiteY4" fmla="*/ 3340 h 66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679" h="6679">
                  <a:moveTo>
                    <a:pt x="6680" y="3340"/>
                  </a:moveTo>
                  <a:cubicBezTo>
                    <a:pt x="6680" y="5188"/>
                    <a:pt x="5200" y="6679"/>
                    <a:pt x="3340" y="6679"/>
                  </a:cubicBezTo>
                  <a:cubicBezTo>
                    <a:pt x="1479" y="6679"/>
                    <a:pt x="0" y="5188"/>
                    <a:pt x="0" y="3340"/>
                  </a:cubicBezTo>
                  <a:cubicBezTo>
                    <a:pt x="0" y="1491"/>
                    <a:pt x="1503" y="0"/>
                    <a:pt x="3340" y="0"/>
                  </a:cubicBezTo>
                  <a:cubicBezTo>
                    <a:pt x="5177" y="0"/>
                    <a:pt x="6680" y="1491"/>
                    <a:pt x="6680" y="3340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13" name="Forma livre: Forma 312">
              <a:extLst>
                <a:ext uri="{FF2B5EF4-FFF2-40B4-BE49-F238E27FC236}">
                  <a16:creationId xmlns:a16="http://schemas.microsoft.com/office/drawing/2014/main" id="{D3ED1B64-A31A-029F-F1F3-CF2DDDA09C1C}"/>
                </a:ext>
              </a:extLst>
            </p:cNvPr>
            <p:cNvSpPr/>
            <p:nvPr/>
          </p:nvSpPr>
          <p:spPr>
            <a:xfrm>
              <a:off x="3921283" y="2724177"/>
              <a:ext cx="7724" cy="9219"/>
            </a:xfrm>
            <a:custGeom>
              <a:avLst/>
              <a:gdLst>
                <a:gd name="connsiteX0" fmla="*/ 6182 w 7724"/>
                <a:gd name="connsiteY0" fmla="*/ 6277 h 9219"/>
                <a:gd name="connsiteX1" fmla="*/ 779 w 7724"/>
                <a:gd name="connsiteY1" fmla="*/ 8901 h 9219"/>
                <a:gd name="connsiteX2" fmla="*/ 1530 w 7724"/>
                <a:gd name="connsiteY2" fmla="*/ 2937 h 9219"/>
                <a:gd name="connsiteX3" fmla="*/ 6945 w 7724"/>
                <a:gd name="connsiteY3" fmla="*/ 313 h 9219"/>
                <a:gd name="connsiteX4" fmla="*/ 6182 w 7724"/>
                <a:gd name="connsiteY4" fmla="*/ 6265 h 92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724" h="9219">
                  <a:moveTo>
                    <a:pt x="6182" y="6277"/>
                  </a:moveTo>
                  <a:cubicBezTo>
                    <a:pt x="4464" y="8651"/>
                    <a:pt x="2067" y="9831"/>
                    <a:pt x="779" y="8901"/>
                  </a:cubicBezTo>
                  <a:cubicBezTo>
                    <a:pt x="-498" y="7983"/>
                    <a:pt x="-176" y="5323"/>
                    <a:pt x="1530" y="2937"/>
                  </a:cubicBezTo>
                  <a:cubicBezTo>
                    <a:pt x="3248" y="564"/>
                    <a:pt x="5657" y="-605"/>
                    <a:pt x="6945" y="313"/>
                  </a:cubicBezTo>
                  <a:cubicBezTo>
                    <a:pt x="8233" y="1232"/>
                    <a:pt x="7887" y="3891"/>
                    <a:pt x="6182" y="6265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14" name="Forma livre: Forma 313">
              <a:extLst>
                <a:ext uri="{FF2B5EF4-FFF2-40B4-BE49-F238E27FC236}">
                  <a16:creationId xmlns:a16="http://schemas.microsoft.com/office/drawing/2014/main" id="{D76F9D5F-7764-BE62-83B1-A3C7291E5B86}"/>
                </a:ext>
              </a:extLst>
            </p:cNvPr>
            <p:cNvSpPr/>
            <p:nvPr/>
          </p:nvSpPr>
          <p:spPr>
            <a:xfrm>
              <a:off x="3963593" y="2716665"/>
              <a:ext cx="6679" cy="6691"/>
            </a:xfrm>
            <a:custGeom>
              <a:avLst/>
              <a:gdLst>
                <a:gd name="connsiteX0" fmla="*/ 6679 w 6679"/>
                <a:gd name="connsiteY0" fmla="*/ 3340 h 6691"/>
                <a:gd name="connsiteX1" fmla="*/ 3340 w 6679"/>
                <a:gd name="connsiteY1" fmla="*/ 6691 h 6691"/>
                <a:gd name="connsiteX2" fmla="*/ 0 w 6679"/>
                <a:gd name="connsiteY2" fmla="*/ 3340 h 6691"/>
                <a:gd name="connsiteX3" fmla="*/ 3340 w 6679"/>
                <a:gd name="connsiteY3" fmla="*/ 0 h 6691"/>
                <a:gd name="connsiteX4" fmla="*/ 6679 w 6679"/>
                <a:gd name="connsiteY4" fmla="*/ 3340 h 66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679" h="6691">
                  <a:moveTo>
                    <a:pt x="6679" y="3340"/>
                  </a:moveTo>
                  <a:cubicBezTo>
                    <a:pt x="6679" y="5188"/>
                    <a:pt x="5200" y="6691"/>
                    <a:pt x="3340" y="6691"/>
                  </a:cubicBezTo>
                  <a:cubicBezTo>
                    <a:pt x="1479" y="6691"/>
                    <a:pt x="0" y="5200"/>
                    <a:pt x="0" y="3340"/>
                  </a:cubicBezTo>
                  <a:cubicBezTo>
                    <a:pt x="0" y="1479"/>
                    <a:pt x="1503" y="0"/>
                    <a:pt x="3340" y="0"/>
                  </a:cubicBezTo>
                  <a:cubicBezTo>
                    <a:pt x="5177" y="0"/>
                    <a:pt x="6679" y="1491"/>
                    <a:pt x="6679" y="3340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15" name="Forma livre: Forma 314">
              <a:extLst>
                <a:ext uri="{FF2B5EF4-FFF2-40B4-BE49-F238E27FC236}">
                  <a16:creationId xmlns:a16="http://schemas.microsoft.com/office/drawing/2014/main" id="{1DC3093A-5A54-8809-5D64-BF2D361BB811}"/>
                </a:ext>
              </a:extLst>
            </p:cNvPr>
            <p:cNvSpPr/>
            <p:nvPr/>
          </p:nvSpPr>
          <p:spPr>
            <a:xfrm>
              <a:off x="3998744" y="2733901"/>
              <a:ext cx="6679" cy="6679"/>
            </a:xfrm>
            <a:custGeom>
              <a:avLst/>
              <a:gdLst>
                <a:gd name="connsiteX0" fmla="*/ 6679 w 6679"/>
                <a:gd name="connsiteY0" fmla="*/ 3340 h 6679"/>
                <a:gd name="connsiteX1" fmla="*/ 3340 w 6679"/>
                <a:gd name="connsiteY1" fmla="*/ 6679 h 6679"/>
                <a:gd name="connsiteX2" fmla="*/ 0 w 6679"/>
                <a:gd name="connsiteY2" fmla="*/ 3340 h 6679"/>
                <a:gd name="connsiteX3" fmla="*/ 3340 w 6679"/>
                <a:gd name="connsiteY3" fmla="*/ 0 h 6679"/>
                <a:gd name="connsiteX4" fmla="*/ 6679 w 6679"/>
                <a:gd name="connsiteY4" fmla="*/ 3340 h 66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679" h="6679">
                  <a:moveTo>
                    <a:pt x="6679" y="3340"/>
                  </a:moveTo>
                  <a:cubicBezTo>
                    <a:pt x="6679" y="5188"/>
                    <a:pt x="5200" y="6679"/>
                    <a:pt x="3340" y="6679"/>
                  </a:cubicBezTo>
                  <a:cubicBezTo>
                    <a:pt x="1479" y="6679"/>
                    <a:pt x="0" y="5188"/>
                    <a:pt x="0" y="3340"/>
                  </a:cubicBezTo>
                  <a:cubicBezTo>
                    <a:pt x="0" y="1491"/>
                    <a:pt x="1503" y="0"/>
                    <a:pt x="3340" y="0"/>
                  </a:cubicBezTo>
                  <a:cubicBezTo>
                    <a:pt x="5177" y="0"/>
                    <a:pt x="6679" y="1491"/>
                    <a:pt x="6679" y="3340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16" name="Forma livre: Forma 315">
              <a:extLst>
                <a:ext uri="{FF2B5EF4-FFF2-40B4-BE49-F238E27FC236}">
                  <a16:creationId xmlns:a16="http://schemas.microsoft.com/office/drawing/2014/main" id="{1F9BD14D-180C-AB20-0231-1134C74E4F35}"/>
                </a:ext>
              </a:extLst>
            </p:cNvPr>
            <p:cNvSpPr/>
            <p:nvPr/>
          </p:nvSpPr>
          <p:spPr>
            <a:xfrm>
              <a:off x="3984501" y="2788673"/>
              <a:ext cx="11882" cy="7371"/>
            </a:xfrm>
            <a:custGeom>
              <a:avLst/>
              <a:gdLst>
                <a:gd name="connsiteX0" fmla="*/ 11773 w 11882"/>
                <a:gd name="connsiteY0" fmla="*/ 5926 h 7371"/>
                <a:gd name="connsiteX1" fmla="*/ 4831 w 11882"/>
                <a:gd name="connsiteY1" fmla="*/ 6606 h 7371"/>
                <a:gd name="connsiteX2" fmla="*/ 108 w 11882"/>
                <a:gd name="connsiteY2" fmla="*/ 1430 h 7371"/>
                <a:gd name="connsiteX3" fmla="*/ 7074 w 11882"/>
                <a:gd name="connsiteY3" fmla="*/ 774 h 7371"/>
                <a:gd name="connsiteX4" fmla="*/ 11773 w 11882"/>
                <a:gd name="connsiteY4" fmla="*/ 5926 h 73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882" h="7371">
                  <a:moveTo>
                    <a:pt x="11773" y="5926"/>
                  </a:moveTo>
                  <a:cubicBezTo>
                    <a:pt x="11153" y="7549"/>
                    <a:pt x="8064" y="7847"/>
                    <a:pt x="4831" y="6606"/>
                  </a:cubicBezTo>
                  <a:cubicBezTo>
                    <a:pt x="1599" y="5366"/>
                    <a:pt x="-512" y="3052"/>
                    <a:pt x="108" y="1430"/>
                  </a:cubicBezTo>
                  <a:cubicBezTo>
                    <a:pt x="728" y="-192"/>
                    <a:pt x="3853" y="-467"/>
                    <a:pt x="7074" y="774"/>
                  </a:cubicBezTo>
                  <a:cubicBezTo>
                    <a:pt x="10306" y="2014"/>
                    <a:pt x="12393" y="4316"/>
                    <a:pt x="11773" y="5926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17" name="Forma livre: Forma 316">
              <a:extLst>
                <a:ext uri="{FF2B5EF4-FFF2-40B4-BE49-F238E27FC236}">
                  <a16:creationId xmlns:a16="http://schemas.microsoft.com/office/drawing/2014/main" id="{1240181C-592A-B8CB-302C-6729D5FB783B}"/>
                </a:ext>
              </a:extLst>
            </p:cNvPr>
            <p:cNvSpPr/>
            <p:nvPr/>
          </p:nvSpPr>
          <p:spPr>
            <a:xfrm>
              <a:off x="3976165" y="2818992"/>
              <a:ext cx="6679" cy="6679"/>
            </a:xfrm>
            <a:custGeom>
              <a:avLst/>
              <a:gdLst>
                <a:gd name="connsiteX0" fmla="*/ 6680 w 6679"/>
                <a:gd name="connsiteY0" fmla="*/ 3340 h 6679"/>
                <a:gd name="connsiteX1" fmla="*/ 3340 w 6679"/>
                <a:gd name="connsiteY1" fmla="*/ 6679 h 6679"/>
                <a:gd name="connsiteX2" fmla="*/ 0 w 6679"/>
                <a:gd name="connsiteY2" fmla="*/ 3340 h 6679"/>
                <a:gd name="connsiteX3" fmla="*/ 3340 w 6679"/>
                <a:gd name="connsiteY3" fmla="*/ 0 h 6679"/>
                <a:gd name="connsiteX4" fmla="*/ 6680 w 6679"/>
                <a:gd name="connsiteY4" fmla="*/ 3340 h 66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679" h="6679">
                  <a:moveTo>
                    <a:pt x="6680" y="3340"/>
                  </a:moveTo>
                  <a:cubicBezTo>
                    <a:pt x="6680" y="5188"/>
                    <a:pt x="5201" y="6679"/>
                    <a:pt x="3340" y="6679"/>
                  </a:cubicBezTo>
                  <a:cubicBezTo>
                    <a:pt x="1479" y="6679"/>
                    <a:pt x="0" y="5188"/>
                    <a:pt x="0" y="3340"/>
                  </a:cubicBezTo>
                  <a:cubicBezTo>
                    <a:pt x="0" y="1491"/>
                    <a:pt x="1503" y="0"/>
                    <a:pt x="3340" y="0"/>
                  </a:cubicBezTo>
                  <a:cubicBezTo>
                    <a:pt x="5177" y="0"/>
                    <a:pt x="6680" y="1491"/>
                    <a:pt x="6680" y="3340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18" name="Forma livre: Forma 317">
              <a:extLst>
                <a:ext uri="{FF2B5EF4-FFF2-40B4-BE49-F238E27FC236}">
                  <a16:creationId xmlns:a16="http://schemas.microsoft.com/office/drawing/2014/main" id="{DD7FDEC6-F330-F60F-456F-C6D4A98B79B9}"/>
                </a:ext>
              </a:extLst>
            </p:cNvPr>
            <p:cNvSpPr/>
            <p:nvPr/>
          </p:nvSpPr>
          <p:spPr>
            <a:xfrm>
              <a:off x="4009562" y="2764125"/>
              <a:ext cx="6679" cy="6679"/>
            </a:xfrm>
            <a:custGeom>
              <a:avLst/>
              <a:gdLst>
                <a:gd name="connsiteX0" fmla="*/ 6680 w 6679"/>
                <a:gd name="connsiteY0" fmla="*/ 3340 h 6679"/>
                <a:gd name="connsiteX1" fmla="*/ 3340 w 6679"/>
                <a:gd name="connsiteY1" fmla="*/ 6679 h 6679"/>
                <a:gd name="connsiteX2" fmla="*/ 0 w 6679"/>
                <a:gd name="connsiteY2" fmla="*/ 3340 h 6679"/>
                <a:gd name="connsiteX3" fmla="*/ 3340 w 6679"/>
                <a:gd name="connsiteY3" fmla="*/ 0 h 6679"/>
                <a:gd name="connsiteX4" fmla="*/ 6680 w 6679"/>
                <a:gd name="connsiteY4" fmla="*/ 3340 h 66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679" h="6679">
                  <a:moveTo>
                    <a:pt x="6680" y="3340"/>
                  </a:moveTo>
                  <a:cubicBezTo>
                    <a:pt x="6680" y="5188"/>
                    <a:pt x="5201" y="6679"/>
                    <a:pt x="3340" y="6679"/>
                  </a:cubicBezTo>
                  <a:cubicBezTo>
                    <a:pt x="1479" y="6679"/>
                    <a:pt x="0" y="5188"/>
                    <a:pt x="0" y="3340"/>
                  </a:cubicBezTo>
                  <a:cubicBezTo>
                    <a:pt x="0" y="1491"/>
                    <a:pt x="1503" y="0"/>
                    <a:pt x="3340" y="0"/>
                  </a:cubicBezTo>
                  <a:cubicBezTo>
                    <a:pt x="5177" y="0"/>
                    <a:pt x="6680" y="1491"/>
                    <a:pt x="6680" y="3340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19" name="Forma livre: Forma 318">
              <a:extLst>
                <a:ext uri="{FF2B5EF4-FFF2-40B4-BE49-F238E27FC236}">
                  <a16:creationId xmlns:a16="http://schemas.microsoft.com/office/drawing/2014/main" id="{3353E0FB-9325-D914-0952-E19D454B98B7}"/>
                </a:ext>
              </a:extLst>
            </p:cNvPr>
            <p:cNvSpPr/>
            <p:nvPr/>
          </p:nvSpPr>
          <p:spPr>
            <a:xfrm>
              <a:off x="4062946" y="2703089"/>
              <a:ext cx="11850" cy="7729"/>
            </a:xfrm>
            <a:custGeom>
              <a:avLst/>
              <a:gdLst>
                <a:gd name="connsiteX0" fmla="*/ 480 w 11850"/>
                <a:gd name="connsiteY0" fmla="*/ 6539 h 7729"/>
                <a:gd name="connsiteX1" fmla="*/ 51 w 11850"/>
                <a:gd name="connsiteY1" fmla="*/ 5775 h 7729"/>
                <a:gd name="connsiteX2" fmla="*/ 5048 w 11850"/>
                <a:gd name="connsiteY2" fmla="*/ 456 h 7729"/>
                <a:gd name="connsiteX3" fmla="*/ 11370 w 11850"/>
                <a:gd name="connsiteY3" fmla="*/ 1195 h 7729"/>
                <a:gd name="connsiteX4" fmla="*/ 11799 w 11850"/>
                <a:gd name="connsiteY4" fmla="*/ 1947 h 7729"/>
                <a:gd name="connsiteX5" fmla="*/ 6790 w 11850"/>
                <a:gd name="connsiteY5" fmla="*/ 7266 h 7729"/>
                <a:gd name="connsiteX6" fmla="*/ 492 w 11850"/>
                <a:gd name="connsiteY6" fmla="*/ 6527 h 77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1850" h="7729">
                  <a:moveTo>
                    <a:pt x="480" y="6539"/>
                  </a:moveTo>
                  <a:cubicBezTo>
                    <a:pt x="254" y="6300"/>
                    <a:pt x="122" y="6050"/>
                    <a:pt x="51" y="5775"/>
                  </a:cubicBezTo>
                  <a:cubicBezTo>
                    <a:pt x="-355" y="4165"/>
                    <a:pt x="1697" y="1553"/>
                    <a:pt x="5048" y="456"/>
                  </a:cubicBezTo>
                  <a:cubicBezTo>
                    <a:pt x="7911" y="-463"/>
                    <a:pt x="10392" y="122"/>
                    <a:pt x="11370" y="1195"/>
                  </a:cubicBezTo>
                  <a:cubicBezTo>
                    <a:pt x="11585" y="1422"/>
                    <a:pt x="11728" y="1660"/>
                    <a:pt x="11799" y="1947"/>
                  </a:cubicBezTo>
                  <a:cubicBezTo>
                    <a:pt x="12205" y="3557"/>
                    <a:pt x="10153" y="6169"/>
                    <a:pt x="6790" y="7266"/>
                  </a:cubicBezTo>
                  <a:cubicBezTo>
                    <a:pt x="3939" y="8208"/>
                    <a:pt x="1446" y="7588"/>
                    <a:pt x="492" y="6527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20" name="Forma livre: Forma 319">
              <a:extLst>
                <a:ext uri="{FF2B5EF4-FFF2-40B4-BE49-F238E27FC236}">
                  <a16:creationId xmlns:a16="http://schemas.microsoft.com/office/drawing/2014/main" id="{52F66063-B873-D1C8-134A-DF41B85D4EC2}"/>
                </a:ext>
              </a:extLst>
            </p:cNvPr>
            <p:cNvSpPr/>
            <p:nvPr/>
          </p:nvSpPr>
          <p:spPr>
            <a:xfrm>
              <a:off x="3995786" y="2612156"/>
              <a:ext cx="131384" cy="131429"/>
            </a:xfrm>
            <a:custGeom>
              <a:avLst/>
              <a:gdLst>
                <a:gd name="connsiteX0" fmla="*/ 0 w 131384"/>
                <a:gd name="connsiteY0" fmla="*/ 63276 h 131429"/>
                <a:gd name="connsiteX1" fmla="*/ 57717 w 131384"/>
                <a:gd name="connsiteY1" fmla="*/ 489 h 131429"/>
                <a:gd name="connsiteX2" fmla="*/ 130893 w 131384"/>
                <a:gd name="connsiteY2" fmla="*/ 57754 h 131429"/>
                <a:gd name="connsiteX3" fmla="*/ 73629 w 131384"/>
                <a:gd name="connsiteY3" fmla="*/ 130941 h 131429"/>
                <a:gd name="connsiteX4" fmla="*/ 62011 w 131384"/>
                <a:gd name="connsiteY4" fmla="*/ 131335 h 1314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1384" h="131429">
                  <a:moveTo>
                    <a:pt x="0" y="63276"/>
                  </a:moveTo>
                  <a:cubicBezTo>
                    <a:pt x="1133" y="31537"/>
                    <a:pt x="25191" y="4449"/>
                    <a:pt x="57717" y="489"/>
                  </a:cubicBezTo>
                  <a:cubicBezTo>
                    <a:pt x="93739" y="-3900"/>
                    <a:pt x="126504" y="21720"/>
                    <a:pt x="130893" y="57754"/>
                  </a:cubicBezTo>
                  <a:cubicBezTo>
                    <a:pt x="135294" y="93775"/>
                    <a:pt x="109662" y="126540"/>
                    <a:pt x="73629" y="130941"/>
                  </a:cubicBezTo>
                  <a:cubicBezTo>
                    <a:pt x="69705" y="131418"/>
                    <a:pt x="65816" y="131538"/>
                    <a:pt x="62011" y="131335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21" name="Forma livre: Forma 320">
              <a:extLst>
                <a:ext uri="{FF2B5EF4-FFF2-40B4-BE49-F238E27FC236}">
                  <a16:creationId xmlns:a16="http://schemas.microsoft.com/office/drawing/2014/main" id="{DED4CFD4-F2AA-148F-CF49-D7FFE27E2B6D}"/>
                </a:ext>
              </a:extLst>
            </p:cNvPr>
            <p:cNvSpPr/>
            <p:nvPr/>
          </p:nvSpPr>
          <p:spPr>
            <a:xfrm>
              <a:off x="4049257" y="2577960"/>
              <a:ext cx="4067" cy="33194"/>
            </a:xfrm>
            <a:custGeom>
              <a:avLst/>
              <a:gdLst>
                <a:gd name="connsiteX0" fmla="*/ 0 w 4067"/>
                <a:gd name="connsiteY0" fmla="*/ 0 h 33194"/>
                <a:gd name="connsiteX1" fmla="*/ 4067 w 4067"/>
                <a:gd name="connsiteY1" fmla="*/ 33194 h 331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067" h="33194">
                  <a:moveTo>
                    <a:pt x="0" y="0"/>
                  </a:moveTo>
                  <a:lnTo>
                    <a:pt x="4067" y="33194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22" name="Forma livre: Forma 321">
              <a:extLst>
                <a:ext uri="{FF2B5EF4-FFF2-40B4-BE49-F238E27FC236}">
                  <a16:creationId xmlns:a16="http://schemas.microsoft.com/office/drawing/2014/main" id="{595C81D8-56F1-8897-1D60-713302BFD895}"/>
                </a:ext>
              </a:extLst>
            </p:cNvPr>
            <p:cNvSpPr/>
            <p:nvPr/>
          </p:nvSpPr>
          <p:spPr>
            <a:xfrm>
              <a:off x="4128170" y="2665675"/>
              <a:ext cx="33194" cy="4055"/>
            </a:xfrm>
            <a:custGeom>
              <a:avLst/>
              <a:gdLst>
                <a:gd name="connsiteX0" fmla="*/ 33194 w 33194"/>
                <a:gd name="connsiteY0" fmla="*/ 0 h 4055"/>
                <a:gd name="connsiteX1" fmla="*/ 0 w 33194"/>
                <a:gd name="connsiteY1" fmla="*/ 4055 h 40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3194" h="4055">
                  <a:moveTo>
                    <a:pt x="33194" y="0"/>
                  </a:moveTo>
                  <a:lnTo>
                    <a:pt x="0" y="4055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23" name="Forma livre: Forma 322">
              <a:extLst>
                <a:ext uri="{FF2B5EF4-FFF2-40B4-BE49-F238E27FC236}">
                  <a16:creationId xmlns:a16="http://schemas.microsoft.com/office/drawing/2014/main" id="{D18641CB-400A-1ED5-E26C-BEA05EE4EFAE}"/>
                </a:ext>
              </a:extLst>
            </p:cNvPr>
            <p:cNvSpPr/>
            <p:nvPr/>
          </p:nvSpPr>
          <p:spPr>
            <a:xfrm>
              <a:off x="4102883" y="2598606"/>
              <a:ext cx="20598" cy="26336"/>
            </a:xfrm>
            <a:custGeom>
              <a:avLst/>
              <a:gdLst>
                <a:gd name="connsiteX0" fmla="*/ 20599 w 20598"/>
                <a:gd name="connsiteY0" fmla="*/ 0 h 26336"/>
                <a:gd name="connsiteX1" fmla="*/ 0 w 20598"/>
                <a:gd name="connsiteY1" fmla="*/ 26336 h 263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0598" h="26336">
                  <a:moveTo>
                    <a:pt x="20599" y="0"/>
                  </a:moveTo>
                  <a:lnTo>
                    <a:pt x="0" y="26336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324" name="Gráfico 4">
              <a:extLst>
                <a:ext uri="{FF2B5EF4-FFF2-40B4-BE49-F238E27FC236}">
                  <a16:creationId xmlns:a16="http://schemas.microsoft.com/office/drawing/2014/main" id="{4AAFA9BC-C2B8-6B54-2519-66ABAF3C0724}"/>
                </a:ext>
              </a:extLst>
            </p:cNvPr>
            <p:cNvGrpSpPr/>
            <p:nvPr/>
          </p:nvGrpSpPr>
          <p:grpSpPr>
            <a:xfrm>
              <a:off x="3982200" y="2615842"/>
              <a:ext cx="158517" cy="124046"/>
              <a:chOff x="3982200" y="2615842"/>
              <a:chExt cx="158517" cy="124046"/>
            </a:xfrm>
          </p:grpSpPr>
          <p:sp>
            <p:nvSpPr>
              <p:cNvPr id="325" name="Forma livre: Forma 324">
                <a:extLst>
                  <a:ext uri="{FF2B5EF4-FFF2-40B4-BE49-F238E27FC236}">
                    <a16:creationId xmlns:a16="http://schemas.microsoft.com/office/drawing/2014/main" id="{EDE95C3D-CE04-9996-6A42-CB6716720145}"/>
                  </a:ext>
                </a:extLst>
              </p:cNvPr>
              <p:cNvSpPr/>
              <p:nvPr/>
            </p:nvSpPr>
            <p:spPr>
              <a:xfrm>
                <a:off x="3982200" y="2615842"/>
                <a:ext cx="26324" cy="20610"/>
              </a:xfrm>
              <a:custGeom>
                <a:avLst/>
                <a:gdLst>
                  <a:gd name="connsiteX0" fmla="*/ 0 w 26324"/>
                  <a:gd name="connsiteY0" fmla="*/ 0 h 20610"/>
                  <a:gd name="connsiteX1" fmla="*/ 26324 w 26324"/>
                  <a:gd name="connsiteY1" fmla="*/ 20611 h 206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6324" h="20610">
                    <a:moveTo>
                      <a:pt x="0" y="0"/>
                    </a:moveTo>
                    <a:lnTo>
                      <a:pt x="26324" y="20611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26" name="Forma livre: Forma 325">
                <a:extLst>
                  <a:ext uri="{FF2B5EF4-FFF2-40B4-BE49-F238E27FC236}">
                    <a16:creationId xmlns:a16="http://schemas.microsoft.com/office/drawing/2014/main" id="{C2DE6ECD-8411-DA04-BB0D-A00350A41FB4}"/>
                  </a:ext>
                </a:extLst>
              </p:cNvPr>
              <p:cNvSpPr/>
              <p:nvPr/>
            </p:nvSpPr>
            <p:spPr>
              <a:xfrm>
                <a:off x="4114393" y="2719289"/>
                <a:ext cx="26324" cy="20598"/>
              </a:xfrm>
              <a:custGeom>
                <a:avLst/>
                <a:gdLst>
                  <a:gd name="connsiteX0" fmla="*/ 0 w 26324"/>
                  <a:gd name="connsiteY0" fmla="*/ 0 h 20598"/>
                  <a:gd name="connsiteX1" fmla="*/ 26324 w 26324"/>
                  <a:gd name="connsiteY1" fmla="*/ 20599 h 205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6324" h="20598">
                    <a:moveTo>
                      <a:pt x="0" y="0"/>
                    </a:moveTo>
                    <a:lnTo>
                      <a:pt x="26324" y="20599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327" name="Forma livre: Forma 326">
              <a:extLst>
                <a:ext uri="{FF2B5EF4-FFF2-40B4-BE49-F238E27FC236}">
                  <a16:creationId xmlns:a16="http://schemas.microsoft.com/office/drawing/2014/main" id="{28B58F4A-3599-1E3A-11D6-6DEF3479F489}"/>
                </a:ext>
              </a:extLst>
            </p:cNvPr>
            <p:cNvSpPr/>
            <p:nvPr/>
          </p:nvSpPr>
          <p:spPr>
            <a:xfrm>
              <a:off x="4071875" y="2643186"/>
              <a:ext cx="5336" cy="5357"/>
            </a:xfrm>
            <a:custGeom>
              <a:avLst/>
              <a:gdLst>
                <a:gd name="connsiteX0" fmla="*/ 5316 w 5336"/>
                <a:gd name="connsiteY0" fmla="*/ 2367 h 5357"/>
                <a:gd name="connsiteX1" fmla="*/ 2990 w 5336"/>
                <a:gd name="connsiteY1" fmla="*/ 5337 h 5357"/>
                <a:gd name="connsiteX2" fmla="*/ 20 w 5336"/>
                <a:gd name="connsiteY2" fmla="*/ 3000 h 5357"/>
                <a:gd name="connsiteX3" fmla="*/ 2346 w 5336"/>
                <a:gd name="connsiteY3" fmla="*/ 18 h 5357"/>
                <a:gd name="connsiteX4" fmla="*/ 5316 w 5336"/>
                <a:gd name="connsiteY4" fmla="*/ 2356 h 5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336" h="5357">
                  <a:moveTo>
                    <a:pt x="5316" y="2367"/>
                  </a:moveTo>
                  <a:cubicBezTo>
                    <a:pt x="5495" y="3835"/>
                    <a:pt x="4469" y="5159"/>
                    <a:pt x="2990" y="5337"/>
                  </a:cubicBezTo>
                  <a:cubicBezTo>
                    <a:pt x="1523" y="5516"/>
                    <a:pt x="199" y="4479"/>
                    <a:pt x="20" y="3000"/>
                  </a:cubicBezTo>
                  <a:cubicBezTo>
                    <a:pt x="-159" y="1533"/>
                    <a:pt x="891" y="209"/>
                    <a:pt x="2346" y="18"/>
                  </a:cubicBezTo>
                  <a:cubicBezTo>
                    <a:pt x="3825" y="-149"/>
                    <a:pt x="5137" y="877"/>
                    <a:pt x="5316" y="2356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28" name="Forma livre: Forma 327">
              <a:extLst>
                <a:ext uri="{FF2B5EF4-FFF2-40B4-BE49-F238E27FC236}">
                  <a16:creationId xmlns:a16="http://schemas.microsoft.com/office/drawing/2014/main" id="{4E3E1C49-1854-8479-68D3-404147129B55}"/>
                </a:ext>
              </a:extLst>
            </p:cNvPr>
            <p:cNvSpPr/>
            <p:nvPr/>
          </p:nvSpPr>
          <p:spPr>
            <a:xfrm>
              <a:off x="4032574" y="2654131"/>
              <a:ext cx="5347" cy="5350"/>
            </a:xfrm>
            <a:custGeom>
              <a:avLst/>
              <a:gdLst>
                <a:gd name="connsiteX0" fmla="*/ 5328 w 5347"/>
                <a:gd name="connsiteY0" fmla="*/ 2348 h 5350"/>
                <a:gd name="connsiteX1" fmla="*/ 3002 w 5347"/>
                <a:gd name="connsiteY1" fmla="*/ 5330 h 5350"/>
                <a:gd name="connsiteX2" fmla="*/ 20 w 5347"/>
                <a:gd name="connsiteY2" fmla="*/ 3004 h 5350"/>
                <a:gd name="connsiteX3" fmla="*/ 2346 w 5347"/>
                <a:gd name="connsiteY3" fmla="*/ 22 h 5350"/>
                <a:gd name="connsiteX4" fmla="*/ 5328 w 5347"/>
                <a:gd name="connsiteY4" fmla="*/ 2348 h 53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347" h="5350">
                  <a:moveTo>
                    <a:pt x="5328" y="2348"/>
                  </a:moveTo>
                  <a:cubicBezTo>
                    <a:pt x="5507" y="3815"/>
                    <a:pt x="4469" y="5139"/>
                    <a:pt x="3002" y="5330"/>
                  </a:cubicBezTo>
                  <a:cubicBezTo>
                    <a:pt x="1535" y="5509"/>
                    <a:pt x="211" y="4471"/>
                    <a:pt x="20" y="3004"/>
                  </a:cubicBezTo>
                  <a:cubicBezTo>
                    <a:pt x="-159" y="1525"/>
                    <a:pt x="891" y="201"/>
                    <a:pt x="2346" y="22"/>
                  </a:cubicBezTo>
                  <a:cubicBezTo>
                    <a:pt x="3813" y="-168"/>
                    <a:pt x="5137" y="881"/>
                    <a:pt x="5328" y="2348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29" name="Forma livre: Forma 328">
              <a:extLst>
                <a:ext uri="{FF2B5EF4-FFF2-40B4-BE49-F238E27FC236}">
                  <a16:creationId xmlns:a16="http://schemas.microsoft.com/office/drawing/2014/main" id="{524030AE-ADE8-AECD-D216-A7BED4425E00}"/>
                </a:ext>
              </a:extLst>
            </p:cNvPr>
            <p:cNvSpPr/>
            <p:nvPr/>
          </p:nvSpPr>
          <p:spPr>
            <a:xfrm>
              <a:off x="4086065" y="2671430"/>
              <a:ext cx="9992" cy="5446"/>
            </a:xfrm>
            <a:custGeom>
              <a:avLst/>
              <a:gdLst>
                <a:gd name="connsiteX0" fmla="*/ 9983 w 9992"/>
                <a:gd name="connsiteY0" fmla="*/ 2117 h 5446"/>
                <a:gd name="connsiteX1" fmla="*/ 5320 w 9992"/>
                <a:gd name="connsiteY1" fmla="*/ 5373 h 5446"/>
                <a:gd name="connsiteX2" fmla="*/ 12 w 9992"/>
                <a:gd name="connsiteY2" fmla="*/ 3334 h 5446"/>
                <a:gd name="connsiteX3" fmla="*/ 4676 w 9992"/>
                <a:gd name="connsiteY3" fmla="*/ 66 h 5446"/>
                <a:gd name="connsiteX4" fmla="*/ 9983 w 9992"/>
                <a:gd name="connsiteY4" fmla="*/ 2105 h 54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992" h="5446">
                  <a:moveTo>
                    <a:pt x="9983" y="2117"/>
                  </a:moveTo>
                  <a:cubicBezTo>
                    <a:pt x="10150" y="3596"/>
                    <a:pt x="8075" y="5051"/>
                    <a:pt x="5320" y="5373"/>
                  </a:cubicBezTo>
                  <a:cubicBezTo>
                    <a:pt x="2565" y="5719"/>
                    <a:pt x="191" y="4801"/>
                    <a:pt x="12" y="3334"/>
                  </a:cubicBezTo>
                  <a:cubicBezTo>
                    <a:pt x="-179" y="1867"/>
                    <a:pt x="1920" y="411"/>
                    <a:pt x="4676" y="66"/>
                  </a:cubicBezTo>
                  <a:cubicBezTo>
                    <a:pt x="7419" y="-257"/>
                    <a:pt x="9793" y="638"/>
                    <a:pt x="9983" y="2105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330" name="Gráfico 4">
            <a:extLst>
              <a:ext uri="{FF2B5EF4-FFF2-40B4-BE49-F238E27FC236}">
                <a16:creationId xmlns:a16="http://schemas.microsoft.com/office/drawing/2014/main" id="{8B031B8B-D1A1-78E7-79B8-6A368248748F}"/>
              </a:ext>
            </a:extLst>
          </p:cNvPr>
          <p:cNvGrpSpPr/>
          <p:nvPr/>
        </p:nvGrpSpPr>
        <p:grpSpPr>
          <a:xfrm>
            <a:off x="3217011" y="2604284"/>
            <a:ext cx="318310" cy="266938"/>
            <a:chOff x="3217011" y="2604284"/>
            <a:chExt cx="318310" cy="266938"/>
          </a:xfrm>
          <a:noFill/>
        </p:grpSpPr>
        <p:sp>
          <p:nvSpPr>
            <p:cNvPr id="331" name="Forma livre: Forma 330">
              <a:extLst>
                <a:ext uri="{FF2B5EF4-FFF2-40B4-BE49-F238E27FC236}">
                  <a16:creationId xmlns:a16="http://schemas.microsoft.com/office/drawing/2014/main" id="{C6EF6EE8-0919-BEF6-5792-F2092B07D1F1}"/>
                </a:ext>
              </a:extLst>
            </p:cNvPr>
            <p:cNvSpPr/>
            <p:nvPr/>
          </p:nvSpPr>
          <p:spPr>
            <a:xfrm>
              <a:off x="3259605" y="2680083"/>
              <a:ext cx="94764" cy="49451"/>
            </a:xfrm>
            <a:custGeom>
              <a:avLst/>
              <a:gdLst>
                <a:gd name="connsiteX0" fmla="*/ 49452 w 94764"/>
                <a:gd name="connsiteY0" fmla="*/ 24726 h 49451"/>
                <a:gd name="connsiteX1" fmla="*/ 24726 w 94764"/>
                <a:gd name="connsiteY1" fmla="*/ 0 h 49451"/>
                <a:gd name="connsiteX2" fmla="*/ 0 w 94764"/>
                <a:gd name="connsiteY2" fmla="*/ 24726 h 49451"/>
                <a:gd name="connsiteX3" fmla="*/ 24726 w 94764"/>
                <a:gd name="connsiteY3" fmla="*/ 49452 h 49451"/>
                <a:gd name="connsiteX4" fmla="*/ 94764 w 94764"/>
                <a:gd name="connsiteY4" fmla="*/ 49452 h 494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4764" h="49451">
                  <a:moveTo>
                    <a:pt x="49452" y="24726"/>
                  </a:moveTo>
                  <a:cubicBezTo>
                    <a:pt x="49452" y="11081"/>
                    <a:pt x="38395" y="0"/>
                    <a:pt x="24726" y="0"/>
                  </a:cubicBezTo>
                  <a:cubicBezTo>
                    <a:pt x="11057" y="0"/>
                    <a:pt x="0" y="11081"/>
                    <a:pt x="0" y="24726"/>
                  </a:cubicBezTo>
                  <a:cubicBezTo>
                    <a:pt x="0" y="38371"/>
                    <a:pt x="11069" y="49452"/>
                    <a:pt x="24726" y="49452"/>
                  </a:cubicBezTo>
                  <a:lnTo>
                    <a:pt x="94764" y="49452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32" name="Forma livre: Forma 331">
              <a:extLst>
                <a:ext uri="{FF2B5EF4-FFF2-40B4-BE49-F238E27FC236}">
                  <a16:creationId xmlns:a16="http://schemas.microsoft.com/office/drawing/2014/main" id="{BE4A225D-B55F-6ED7-3A31-AD8A626EF74C}"/>
                </a:ext>
              </a:extLst>
            </p:cNvPr>
            <p:cNvSpPr/>
            <p:nvPr/>
          </p:nvSpPr>
          <p:spPr>
            <a:xfrm>
              <a:off x="3295650" y="2790807"/>
              <a:ext cx="94776" cy="49439"/>
            </a:xfrm>
            <a:custGeom>
              <a:avLst/>
              <a:gdLst>
                <a:gd name="connsiteX0" fmla="*/ 49452 w 94776"/>
                <a:gd name="connsiteY0" fmla="*/ 24726 h 49439"/>
                <a:gd name="connsiteX1" fmla="*/ 24726 w 94776"/>
                <a:gd name="connsiteY1" fmla="*/ 49440 h 49439"/>
                <a:gd name="connsiteX2" fmla="*/ 0 w 94776"/>
                <a:gd name="connsiteY2" fmla="*/ 24726 h 49439"/>
                <a:gd name="connsiteX3" fmla="*/ 24726 w 94776"/>
                <a:gd name="connsiteY3" fmla="*/ 0 h 49439"/>
                <a:gd name="connsiteX4" fmla="*/ 94776 w 94776"/>
                <a:gd name="connsiteY4" fmla="*/ 0 h 494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4776" h="49439">
                  <a:moveTo>
                    <a:pt x="49452" y="24726"/>
                  </a:moveTo>
                  <a:cubicBezTo>
                    <a:pt x="49452" y="38359"/>
                    <a:pt x="38383" y="49440"/>
                    <a:pt x="24726" y="49440"/>
                  </a:cubicBezTo>
                  <a:cubicBezTo>
                    <a:pt x="11069" y="49440"/>
                    <a:pt x="0" y="38359"/>
                    <a:pt x="0" y="24726"/>
                  </a:cubicBezTo>
                  <a:cubicBezTo>
                    <a:pt x="0" y="11093"/>
                    <a:pt x="11069" y="0"/>
                    <a:pt x="24726" y="0"/>
                  </a:cubicBezTo>
                  <a:lnTo>
                    <a:pt x="94776" y="0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33" name="Forma livre: Forma 332">
              <a:extLst>
                <a:ext uri="{FF2B5EF4-FFF2-40B4-BE49-F238E27FC236}">
                  <a16:creationId xmlns:a16="http://schemas.microsoft.com/office/drawing/2014/main" id="{5F6433A2-0746-C756-35A7-0AD6E9BB107C}"/>
                </a:ext>
              </a:extLst>
            </p:cNvPr>
            <p:cNvSpPr/>
            <p:nvPr/>
          </p:nvSpPr>
          <p:spPr>
            <a:xfrm>
              <a:off x="3347964" y="2760213"/>
              <a:ext cx="71982" cy="1192"/>
            </a:xfrm>
            <a:custGeom>
              <a:avLst/>
              <a:gdLst>
                <a:gd name="connsiteX0" fmla="*/ 0 w 71982"/>
                <a:gd name="connsiteY0" fmla="*/ 0 h 1192"/>
                <a:gd name="connsiteX1" fmla="*/ 71983 w 71982"/>
                <a:gd name="connsiteY1" fmla="*/ 0 h 11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1982" h="1192">
                  <a:moveTo>
                    <a:pt x="0" y="0"/>
                  </a:moveTo>
                  <a:lnTo>
                    <a:pt x="71983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34" name="Forma livre: Forma 333">
              <a:extLst>
                <a:ext uri="{FF2B5EF4-FFF2-40B4-BE49-F238E27FC236}">
                  <a16:creationId xmlns:a16="http://schemas.microsoft.com/office/drawing/2014/main" id="{673D26D3-FA5B-C0A0-8ED6-C64288945B98}"/>
                </a:ext>
              </a:extLst>
            </p:cNvPr>
            <p:cNvSpPr/>
            <p:nvPr/>
          </p:nvSpPr>
          <p:spPr>
            <a:xfrm>
              <a:off x="3217011" y="2760213"/>
              <a:ext cx="104008" cy="43273"/>
            </a:xfrm>
            <a:custGeom>
              <a:avLst/>
              <a:gdLst>
                <a:gd name="connsiteX0" fmla="*/ 43059 w 104008"/>
                <a:gd name="connsiteY0" fmla="*/ 24654 h 43273"/>
                <a:gd name="connsiteX1" fmla="*/ 21637 w 104008"/>
                <a:gd name="connsiteY1" fmla="*/ 43273 h 43273"/>
                <a:gd name="connsiteX2" fmla="*/ 0 w 104008"/>
                <a:gd name="connsiteY2" fmla="*/ 21637 h 43273"/>
                <a:gd name="connsiteX3" fmla="*/ 21637 w 104008"/>
                <a:gd name="connsiteY3" fmla="*/ 0 h 43273"/>
                <a:gd name="connsiteX4" fmla="*/ 104008 w 104008"/>
                <a:gd name="connsiteY4" fmla="*/ 0 h 432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4008" h="43273">
                  <a:moveTo>
                    <a:pt x="43059" y="24654"/>
                  </a:moveTo>
                  <a:cubicBezTo>
                    <a:pt x="41591" y="35174"/>
                    <a:pt x="32562" y="43273"/>
                    <a:pt x="21637" y="43273"/>
                  </a:cubicBezTo>
                  <a:cubicBezTo>
                    <a:pt x="9685" y="43273"/>
                    <a:pt x="0" y="33588"/>
                    <a:pt x="0" y="21637"/>
                  </a:cubicBezTo>
                  <a:cubicBezTo>
                    <a:pt x="0" y="9685"/>
                    <a:pt x="9685" y="0"/>
                    <a:pt x="21637" y="0"/>
                  </a:cubicBezTo>
                  <a:lnTo>
                    <a:pt x="104008" y="0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335" name="Gráfico 4">
              <a:extLst>
                <a:ext uri="{FF2B5EF4-FFF2-40B4-BE49-F238E27FC236}">
                  <a16:creationId xmlns:a16="http://schemas.microsoft.com/office/drawing/2014/main" id="{F68C935C-8587-DCB0-015A-F2E89A1C1712}"/>
                </a:ext>
              </a:extLst>
            </p:cNvPr>
            <p:cNvGrpSpPr/>
            <p:nvPr/>
          </p:nvGrpSpPr>
          <p:grpSpPr>
            <a:xfrm>
              <a:off x="3392879" y="2604284"/>
              <a:ext cx="142442" cy="266938"/>
              <a:chOff x="3392879" y="2604284"/>
              <a:chExt cx="142442" cy="266938"/>
            </a:xfrm>
            <a:noFill/>
          </p:grpSpPr>
          <p:sp>
            <p:nvSpPr>
              <p:cNvPr id="336" name="Forma livre: Forma 335">
                <a:extLst>
                  <a:ext uri="{FF2B5EF4-FFF2-40B4-BE49-F238E27FC236}">
                    <a16:creationId xmlns:a16="http://schemas.microsoft.com/office/drawing/2014/main" id="{C4075975-FE5E-C37E-9031-3C9CD58EBE7A}"/>
                  </a:ext>
                </a:extLst>
              </p:cNvPr>
              <p:cNvSpPr/>
              <p:nvPr/>
            </p:nvSpPr>
            <p:spPr>
              <a:xfrm>
                <a:off x="3430338" y="2782279"/>
                <a:ext cx="104984" cy="88943"/>
              </a:xfrm>
              <a:custGeom>
                <a:avLst/>
                <a:gdLst>
                  <a:gd name="connsiteX0" fmla="*/ 2395 w 104984"/>
                  <a:gd name="connsiteY0" fmla="*/ 0 h 88943"/>
                  <a:gd name="connsiteX1" fmla="*/ 3934 w 104984"/>
                  <a:gd name="connsiteY1" fmla="*/ 19895 h 88943"/>
                  <a:gd name="connsiteX2" fmla="*/ 6987 w 104984"/>
                  <a:gd name="connsiteY2" fmla="*/ 50084 h 88943"/>
                  <a:gd name="connsiteX3" fmla="*/ 93402 w 104984"/>
                  <a:gd name="connsiteY3" fmla="*/ 46673 h 88943"/>
                  <a:gd name="connsiteX4" fmla="*/ 104984 w 104984"/>
                  <a:gd name="connsiteY4" fmla="*/ 88944 h 889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04984" h="88943">
                    <a:moveTo>
                      <a:pt x="2395" y="0"/>
                    </a:moveTo>
                    <a:cubicBezTo>
                      <a:pt x="2574" y="7204"/>
                      <a:pt x="3934" y="19895"/>
                      <a:pt x="3934" y="19895"/>
                    </a:cubicBezTo>
                    <a:cubicBezTo>
                      <a:pt x="3934" y="19895"/>
                      <a:pt x="-6694" y="42271"/>
                      <a:pt x="6987" y="50084"/>
                    </a:cubicBezTo>
                    <a:cubicBezTo>
                      <a:pt x="9742" y="50776"/>
                      <a:pt x="20036" y="62453"/>
                      <a:pt x="93402" y="46673"/>
                    </a:cubicBezTo>
                    <a:cubicBezTo>
                      <a:pt x="93402" y="46673"/>
                      <a:pt x="100499" y="50621"/>
                      <a:pt x="104984" y="88944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37" name="Forma livre: Forma 336">
                <a:extLst>
                  <a:ext uri="{FF2B5EF4-FFF2-40B4-BE49-F238E27FC236}">
                    <a16:creationId xmlns:a16="http://schemas.microsoft.com/office/drawing/2014/main" id="{5C8012E7-8863-188E-5DE6-16D23B4D66AA}"/>
                  </a:ext>
                </a:extLst>
              </p:cNvPr>
              <p:cNvSpPr/>
              <p:nvPr/>
            </p:nvSpPr>
            <p:spPr>
              <a:xfrm>
                <a:off x="3392879" y="2604284"/>
                <a:ext cx="59212" cy="131048"/>
              </a:xfrm>
              <a:custGeom>
                <a:avLst/>
                <a:gdLst>
                  <a:gd name="connsiteX0" fmla="*/ 59212 w 59212"/>
                  <a:gd name="connsiteY0" fmla="*/ 0 h 131048"/>
                  <a:gd name="connsiteX1" fmla="*/ 42084 w 59212"/>
                  <a:gd name="connsiteY1" fmla="*/ 36021 h 131048"/>
                  <a:gd name="connsiteX2" fmla="*/ 874 w 59212"/>
                  <a:gd name="connsiteY2" fmla="*/ 84459 h 131048"/>
                  <a:gd name="connsiteX3" fmla="*/ 11848 w 59212"/>
                  <a:gd name="connsiteY3" fmla="*/ 100239 h 131048"/>
                  <a:gd name="connsiteX4" fmla="*/ 36955 w 59212"/>
                  <a:gd name="connsiteY4" fmla="*/ 105416 h 131048"/>
                  <a:gd name="connsiteX5" fmla="*/ 36526 w 59212"/>
                  <a:gd name="connsiteY5" fmla="*/ 131048 h 1310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59212" h="131048">
                    <a:moveTo>
                      <a:pt x="59212" y="0"/>
                    </a:moveTo>
                    <a:cubicBezTo>
                      <a:pt x="59212" y="0"/>
                      <a:pt x="49706" y="24774"/>
                      <a:pt x="42084" y="36021"/>
                    </a:cubicBezTo>
                    <a:lnTo>
                      <a:pt x="874" y="84459"/>
                    </a:lnTo>
                    <a:cubicBezTo>
                      <a:pt x="874" y="84459"/>
                      <a:pt x="-4600" y="98868"/>
                      <a:pt x="11848" y="100239"/>
                    </a:cubicBezTo>
                    <a:lnTo>
                      <a:pt x="36955" y="105416"/>
                    </a:lnTo>
                    <a:cubicBezTo>
                      <a:pt x="36955" y="105416"/>
                      <a:pt x="38017" y="119419"/>
                      <a:pt x="36526" y="131048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338" name="Forma livre: Forma 337">
              <a:extLst>
                <a:ext uri="{FF2B5EF4-FFF2-40B4-BE49-F238E27FC236}">
                  <a16:creationId xmlns:a16="http://schemas.microsoft.com/office/drawing/2014/main" id="{7CC2D76B-2D7E-F573-89E0-4EB14FA33561}"/>
                </a:ext>
              </a:extLst>
            </p:cNvPr>
            <p:cNvSpPr/>
            <p:nvPr/>
          </p:nvSpPr>
          <p:spPr>
            <a:xfrm>
              <a:off x="3431743" y="2736155"/>
              <a:ext cx="73783" cy="45754"/>
            </a:xfrm>
            <a:custGeom>
              <a:avLst/>
              <a:gdLst>
                <a:gd name="connsiteX0" fmla="*/ 0 w 73783"/>
                <a:gd name="connsiteY0" fmla="*/ 0 h 45754"/>
                <a:gd name="connsiteX1" fmla="*/ 72341 w 73783"/>
                <a:gd name="connsiteY1" fmla="*/ 36164 h 45754"/>
                <a:gd name="connsiteX2" fmla="*/ 3185 w 73783"/>
                <a:gd name="connsiteY2" fmla="*/ 45754 h 457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73783" h="45754">
                  <a:moveTo>
                    <a:pt x="0" y="0"/>
                  </a:moveTo>
                  <a:cubicBezTo>
                    <a:pt x="0" y="0"/>
                    <a:pt x="85855" y="18130"/>
                    <a:pt x="72341" y="36164"/>
                  </a:cubicBezTo>
                  <a:cubicBezTo>
                    <a:pt x="72341" y="36164"/>
                    <a:pt x="70790" y="45754"/>
                    <a:pt x="3185" y="45754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339" name="Gráfico 4">
            <a:extLst>
              <a:ext uri="{FF2B5EF4-FFF2-40B4-BE49-F238E27FC236}">
                <a16:creationId xmlns:a16="http://schemas.microsoft.com/office/drawing/2014/main" id="{33199B8B-C8B9-9A2E-1367-9073AB0A053C}"/>
              </a:ext>
            </a:extLst>
          </p:cNvPr>
          <p:cNvGrpSpPr/>
          <p:nvPr/>
        </p:nvGrpSpPr>
        <p:grpSpPr>
          <a:xfrm>
            <a:off x="2615914" y="3136427"/>
            <a:ext cx="277394" cy="259367"/>
            <a:chOff x="2615914" y="3136427"/>
            <a:chExt cx="277394" cy="259367"/>
          </a:xfrm>
          <a:noFill/>
        </p:grpSpPr>
        <p:grpSp>
          <p:nvGrpSpPr>
            <p:cNvPr id="340" name="Gráfico 4">
              <a:extLst>
                <a:ext uri="{FF2B5EF4-FFF2-40B4-BE49-F238E27FC236}">
                  <a16:creationId xmlns:a16="http://schemas.microsoft.com/office/drawing/2014/main" id="{561243D2-292E-2757-B29A-4CCA2D77D9D4}"/>
                </a:ext>
              </a:extLst>
            </p:cNvPr>
            <p:cNvGrpSpPr/>
            <p:nvPr/>
          </p:nvGrpSpPr>
          <p:grpSpPr>
            <a:xfrm>
              <a:off x="2615914" y="3136427"/>
              <a:ext cx="212150" cy="259367"/>
              <a:chOff x="2615914" y="3136427"/>
              <a:chExt cx="212150" cy="259367"/>
            </a:xfrm>
            <a:noFill/>
          </p:grpSpPr>
          <p:sp>
            <p:nvSpPr>
              <p:cNvPr id="341" name="Forma livre: Forma 340">
                <a:extLst>
                  <a:ext uri="{FF2B5EF4-FFF2-40B4-BE49-F238E27FC236}">
                    <a16:creationId xmlns:a16="http://schemas.microsoft.com/office/drawing/2014/main" id="{85C60AA2-CA59-5BCB-47A6-C7517379ED5E}"/>
                  </a:ext>
                </a:extLst>
              </p:cNvPr>
              <p:cNvSpPr/>
              <p:nvPr/>
            </p:nvSpPr>
            <p:spPr>
              <a:xfrm>
                <a:off x="2615914" y="3136427"/>
                <a:ext cx="192732" cy="259367"/>
              </a:xfrm>
              <a:custGeom>
                <a:avLst/>
                <a:gdLst>
                  <a:gd name="connsiteX0" fmla="*/ 192733 w 192732"/>
                  <a:gd name="connsiteY0" fmla="*/ 186170 h 259367"/>
                  <a:gd name="connsiteX1" fmla="*/ 188069 w 192732"/>
                  <a:gd name="connsiteY1" fmla="*/ 216502 h 259367"/>
                  <a:gd name="connsiteX2" fmla="*/ 161936 w 192732"/>
                  <a:gd name="connsiteY2" fmla="*/ 255994 h 259367"/>
                  <a:gd name="connsiteX3" fmla="*/ 149090 w 192732"/>
                  <a:gd name="connsiteY3" fmla="*/ 259310 h 259367"/>
                  <a:gd name="connsiteX4" fmla="*/ 138904 w 192732"/>
                  <a:gd name="connsiteY4" fmla="*/ 208701 h 259367"/>
                  <a:gd name="connsiteX5" fmla="*/ 118865 w 192732"/>
                  <a:gd name="connsiteY5" fmla="*/ 156590 h 259367"/>
                  <a:gd name="connsiteX6" fmla="*/ 98827 w 192732"/>
                  <a:gd name="connsiteY6" fmla="*/ 208701 h 259367"/>
                  <a:gd name="connsiteX7" fmla="*/ 88641 w 192732"/>
                  <a:gd name="connsiteY7" fmla="*/ 259310 h 259367"/>
                  <a:gd name="connsiteX8" fmla="*/ 75795 w 192732"/>
                  <a:gd name="connsiteY8" fmla="*/ 255994 h 259367"/>
                  <a:gd name="connsiteX9" fmla="*/ 49662 w 192732"/>
                  <a:gd name="connsiteY9" fmla="*/ 216502 h 259367"/>
                  <a:gd name="connsiteX10" fmla="*/ 11470 w 192732"/>
                  <a:gd name="connsiteY10" fmla="*/ 106279 h 259367"/>
                  <a:gd name="connsiteX11" fmla="*/ 25580 w 192732"/>
                  <a:gd name="connsiteY11" fmla="*/ 13889 h 259367"/>
                  <a:gd name="connsiteX12" fmla="*/ 95750 w 192732"/>
                  <a:gd name="connsiteY12" fmla="*/ 7531 h 2593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92732" h="259367">
                    <a:moveTo>
                      <a:pt x="192733" y="186170"/>
                    </a:moveTo>
                    <a:cubicBezTo>
                      <a:pt x="190407" y="195987"/>
                      <a:pt x="188725" y="206197"/>
                      <a:pt x="188069" y="216502"/>
                    </a:cubicBezTo>
                    <a:cubicBezTo>
                      <a:pt x="188069" y="216502"/>
                      <a:pt x="188343" y="246893"/>
                      <a:pt x="161936" y="255994"/>
                    </a:cubicBezTo>
                    <a:cubicBezTo>
                      <a:pt x="161936" y="255994"/>
                      <a:pt x="153730" y="259871"/>
                      <a:pt x="149090" y="259310"/>
                    </a:cubicBezTo>
                    <a:cubicBezTo>
                      <a:pt x="139751" y="258153"/>
                      <a:pt x="137997" y="244639"/>
                      <a:pt x="138904" y="208701"/>
                    </a:cubicBezTo>
                    <a:cubicBezTo>
                      <a:pt x="138904" y="208701"/>
                      <a:pt x="140824" y="156590"/>
                      <a:pt x="118865" y="156590"/>
                    </a:cubicBezTo>
                    <a:cubicBezTo>
                      <a:pt x="96907" y="156590"/>
                      <a:pt x="98827" y="208701"/>
                      <a:pt x="98827" y="208701"/>
                    </a:cubicBezTo>
                    <a:cubicBezTo>
                      <a:pt x="99746" y="244627"/>
                      <a:pt x="97992" y="258153"/>
                      <a:pt x="88641" y="259310"/>
                    </a:cubicBezTo>
                    <a:cubicBezTo>
                      <a:pt x="84013" y="259883"/>
                      <a:pt x="75795" y="255994"/>
                      <a:pt x="75795" y="255994"/>
                    </a:cubicBezTo>
                    <a:cubicBezTo>
                      <a:pt x="49399" y="246905"/>
                      <a:pt x="49662" y="216502"/>
                      <a:pt x="49662" y="216502"/>
                    </a:cubicBezTo>
                    <a:cubicBezTo>
                      <a:pt x="46095" y="160097"/>
                      <a:pt x="11470" y="106279"/>
                      <a:pt x="11470" y="106279"/>
                    </a:cubicBezTo>
                    <a:cubicBezTo>
                      <a:pt x="-7984" y="76222"/>
                      <a:pt x="-2307" y="35609"/>
                      <a:pt x="25580" y="13889"/>
                    </a:cubicBezTo>
                    <a:cubicBezTo>
                      <a:pt x="47205" y="-2941"/>
                      <a:pt x="72849" y="-3740"/>
                      <a:pt x="95750" y="7531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42" name="Forma livre: Forma 341">
                <a:extLst>
                  <a:ext uri="{FF2B5EF4-FFF2-40B4-BE49-F238E27FC236}">
                    <a16:creationId xmlns:a16="http://schemas.microsoft.com/office/drawing/2014/main" id="{A10BFE1A-738A-2148-4CC2-97F7B75330E2}"/>
                  </a:ext>
                </a:extLst>
              </p:cNvPr>
              <p:cNvSpPr/>
              <p:nvPr/>
            </p:nvSpPr>
            <p:spPr>
              <a:xfrm>
                <a:off x="2701216" y="3136430"/>
                <a:ext cx="126849" cy="35343"/>
              </a:xfrm>
              <a:custGeom>
                <a:avLst/>
                <a:gdLst>
                  <a:gd name="connsiteX0" fmla="*/ 0 w 126849"/>
                  <a:gd name="connsiteY0" fmla="*/ 35344 h 35343"/>
                  <a:gd name="connsiteX1" fmla="*/ 37608 w 126849"/>
                  <a:gd name="connsiteY1" fmla="*/ 20267 h 35343"/>
                  <a:gd name="connsiteX2" fmla="*/ 126850 w 126849"/>
                  <a:gd name="connsiteY2" fmla="*/ 13886 h 353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26849" h="35343">
                    <a:moveTo>
                      <a:pt x="0" y="35344"/>
                    </a:moveTo>
                    <a:cubicBezTo>
                      <a:pt x="23366" y="31741"/>
                      <a:pt x="37608" y="20267"/>
                      <a:pt x="37608" y="20267"/>
                    </a:cubicBezTo>
                    <a:cubicBezTo>
                      <a:pt x="64361" y="-2849"/>
                      <a:pt x="98951" y="-7822"/>
                      <a:pt x="126850" y="13886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343" name="Forma livre: Forma 342">
              <a:extLst>
                <a:ext uri="{FF2B5EF4-FFF2-40B4-BE49-F238E27FC236}">
                  <a16:creationId xmlns:a16="http://schemas.microsoft.com/office/drawing/2014/main" id="{810E402D-C391-E5E0-2C27-D822CEC950DA}"/>
                </a:ext>
              </a:extLst>
            </p:cNvPr>
            <p:cNvSpPr/>
            <p:nvPr/>
          </p:nvSpPr>
          <p:spPr>
            <a:xfrm>
              <a:off x="2769930" y="3174159"/>
              <a:ext cx="123378" cy="123354"/>
            </a:xfrm>
            <a:custGeom>
              <a:avLst/>
              <a:gdLst>
                <a:gd name="connsiteX0" fmla="*/ 123379 w 123378"/>
                <a:gd name="connsiteY0" fmla="*/ 40816 h 123354"/>
                <a:gd name="connsiteX1" fmla="*/ 82527 w 123378"/>
                <a:gd name="connsiteY1" fmla="*/ 40816 h 123354"/>
                <a:gd name="connsiteX2" fmla="*/ 82527 w 123378"/>
                <a:gd name="connsiteY2" fmla="*/ 0 h 123354"/>
                <a:gd name="connsiteX3" fmla="*/ 40816 w 123378"/>
                <a:gd name="connsiteY3" fmla="*/ 0 h 123354"/>
                <a:gd name="connsiteX4" fmla="*/ 40816 w 123378"/>
                <a:gd name="connsiteY4" fmla="*/ 40816 h 123354"/>
                <a:gd name="connsiteX5" fmla="*/ 0 w 123378"/>
                <a:gd name="connsiteY5" fmla="*/ 40816 h 123354"/>
                <a:gd name="connsiteX6" fmla="*/ 0 w 123378"/>
                <a:gd name="connsiteY6" fmla="*/ 82539 h 123354"/>
                <a:gd name="connsiteX7" fmla="*/ 40816 w 123378"/>
                <a:gd name="connsiteY7" fmla="*/ 82539 h 123354"/>
                <a:gd name="connsiteX8" fmla="*/ 40816 w 123378"/>
                <a:gd name="connsiteY8" fmla="*/ 123355 h 123354"/>
                <a:gd name="connsiteX9" fmla="*/ 82527 w 123378"/>
                <a:gd name="connsiteY9" fmla="*/ 123355 h 123354"/>
                <a:gd name="connsiteX10" fmla="*/ 82527 w 123378"/>
                <a:gd name="connsiteY10" fmla="*/ 82539 h 123354"/>
                <a:gd name="connsiteX11" fmla="*/ 123379 w 123378"/>
                <a:gd name="connsiteY11" fmla="*/ 82539 h 123354"/>
                <a:gd name="connsiteX12" fmla="*/ 123379 w 123378"/>
                <a:gd name="connsiteY12" fmla="*/ 40816 h 1233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23378" h="123354">
                  <a:moveTo>
                    <a:pt x="123379" y="40816"/>
                  </a:moveTo>
                  <a:lnTo>
                    <a:pt x="82527" y="40816"/>
                  </a:lnTo>
                  <a:lnTo>
                    <a:pt x="82527" y="0"/>
                  </a:lnTo>
                  <a:lnTo>
                    <a:pt x="40816" y="0"/>
                  </a:lnTo>
                  <a:lnTo>
                    <a:pt x="40816" y="40816"/>
                  </a:lnTo>
                  <a:lnTo>
                    <a:pt x="0" y="40816"/>
                  </a:lnTo>
                  <a:lnTo>
                    <a:pt x="0" y="82539"/>
                  </a:lnTo>
                  <a:lnTo>
                    <a:pt x="40816" y="82539"/>
                  </a:lnTo>
                  <a:lnTo>
                    <a:pt x="40816" y="123355"/>
                  </a:lnTo>
                  <a:lnTo>
                    <a:pt x="82527" y="123355"/>
                  </a:lnTo>
                  <a:lnTo>
                    <a:pt x="82527" y="82539"/>
                  </a:lnTo>
                  <a:lnTo>
                    <a:pt x="123379" y="82539"/>
                  </a:lnTo>
                  <a:lnTo>
                    <a:pt x="123379" y="40816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344" name="Gráfico 4">
            <a:extLst>
              <a:ext uri="{FF2B5EF4-FFF2-40B4-BE49-F238E27FC236}">
                <a16:creationId xmlns:a16="http://schemas.microsoft.com/office/drawing/2014/main" id="{D27A69CF-3303-A8E8-BEAB-33447829B90C}"/>
              </a:ext>
            </a:extLst>
          </p:cNvPr>
          <p:cNvGrpSpPr/>
          <p:nvPr/>
        </p:nvGrpSpPr>
        <p:grpSpPr>
          <a:xfrm>
            <a:off x="3892775" y="3115029"/>
            <a:ext cx="209927" cy="302146"/>
            <a:chOff x="3892775" y="3115029"/>
            <a:chExt cx="209927" cy="302146"/>
          </a:xfrm>
          <a:noFill/>
        </p:grpSpPr>
        <p:grpSp>
          <p:nvGrpSpPr>
            <p:cNvPr id="345" name="Gráfico 4">
              <a:extLst>
                <a:ext uri="{FF2B5EF4-FFF2-40B4-BE49-F238E27FC236}">
                  <a16:creationId xmlns:a16="http://schemas.microsoft.com/office/drawing/2014/main" id="{F6B5AB5F-9481-3E70-69A8-693D85DB8149}"/>
                </a:ext>
              </a:extLst>
            </p:cNvPr>
            <p:cNvGrpSpPr/>
            <p:nvPr/>
          </p:nvGrpSpPr>
          <p:grpSpPr>
            <a:xfrm>
              <a:off x="3892775" y="3115029"/>
              <a:ext cx="209927" cy="93863"/>
              <a:chOff x="3892775" y="3115029"/>
              <a:chExt cx="209927" cy="93863"/>
            </a:xfrm>
            <a:noFill/>
          </p:grpSpPr>
          <p:sp>
            <p:nvSpPr>
              <p:cNvPr id="346" name="Forma livre: Forma 345">
                <a:extLst>
                  <a:ext uri="{FF2B5EF4-FFF2-40B4-BE49-F238E27FC236}">
                    <a16:creationId xmlns:a16="http://schemas.microsoft.com/office/drawing/2014/main" id="{B8456D2A-9FDE-117B-9734-AF5559C0470F}"/>
                  </a:ext>
                </a:extLst>
              </p:cNvPr>
              <p:cNvSpPr/>
              <p:nvPr/>
            </p:nvSpPr>
            <p:spPr>
              <a:xfrm>
                <a:off x="4018150" y="3115043"/>
                <a:ext cx="84552" cy="93848"/>
              </a:xfrm>
              <a:custGeom>
                <a:avLst/>
                <a:gdLst>
                  <a:gd name="connsiteX0" fmla="*/ 4616 w 84552"/>
                  <a:gd name="connsiteY0" fmla="*/ 93849 h 93848"/>
                  <a:gd name="connsiteX1" fmla="*/ 74416 w 84552"/>
                  <a:gd name="connsiteY1" fmla="*/ 93849 h 93848"/>
                  <a:gd name="connsiteX2" fmla="*/ 61964 w 84552"/>
                  <a:gd name="connsiteY2" fmla="*/ 12264 h 93848"/>
                  <a:gd name="connsiteX3" fmla="*/ 0 w 84552"/>
                  <a:gd name="connsiteY3" fmla="*/ 6647 h 938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4552" h="93848">
                    <a:moveTo>
                      <a:pt x="4616" y="93849"/>
                    </a:moveTo>
                    <a:lnTo>
                      <a:pt x="74416" y="93849"/>
                    </a:lnTo>
                    <a:cubicBezTo>
                      <a:pt x="91604" y="67310"/>
                      <a:pt x="86594" y="31444"/>
                      <a:pt x="61964" y="12264"/>
                    </a:cubicBezTo>
                    <a:cubicBezTo>
                      <a:pt x="42868" y="-2597"/>
                      <a:pt x="20217" y="-3301"/>
                      <a:pt x="0" y="6647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47" name="Forma livre: Forma 346">
                <a:extLst>
                  <a:ext uri="{FF2B5EF4-FFF2-40B4-BE49-F238E27FC236}">
                    <a16:creationId xmlns:a16="http://schemas.microsoft.com/office/drawing/2014/main" id="{273AB11B-42F8-6EAA-8BC4-2173EB1B13EE}"/>
                  </a:ext>
                </a:extLst>
              </p:cNvPr>
              <p:cNvSpPr/>
              <p:nvPr/>
            </p:nvSpPr>
            <p:spPr>
              <a:xfrm>
                <a:off x="3892775" y="3115029"/>
                <a:ext cx="134583" cy="93851"/>
              </a:xfrm>
              <a:custGeom>
                <a:avLst/>
                <a:gdLst>
                  <a:gd name="connsiteX0" fmla="*/ 134583 w 134583"/>
                  <a:gd name="connsiteY0" fmla="*/ 31220 h 93851"/>
                  <a:gd name="connsiteX1" fmla="*/ 101377 w 134583"/>
                  <a:gd name="connsiteY1" fmla="*/ 17897 h 93851"/>
                  <a:gd name="connsiteX2" fmla="*/ 22583 w 134583"/>
                  <a:gd name="connsiteY2" fmla="*/ 12267 h 93851"/>
                  <a:gd name="connsiteX3" fmla="*/ 10131 w 134583"/>
                  <a:gd name="connsiteY3" fmla="*/ 93851 h 93851"/>
                  <a:gd name="connsiteX4" fmla="*/ 79526 w 134583"/>
                  <a:gd name="connsiteY4" fmla="*/ 93851 h 938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34583" h="93851">
                    <a:moveTo>
                      <a:pt x="134583" y="31220"/>
                    </a:moveTo>
                    <a:cubicBezTo>
                      <a:pt x="113960" y="28047"/>
                      <a:pt x="101377" y="17897"/>
                      <a:pt x="101377" y="17897"/>
                    </a:cubicBezTo>
                    <a:cubicBezTo>
                      <a:pt x="77760" y="-2511"/>
                      <a:pt x="47214" y="-6913"/>
                      <a:pt x="22583" y="12267"/>
                    </a:cubicBezTo>
                    <a:cubicBezTo>
                      <a:pt x="-2047" y="31446"/>
                      <a:pt x="-7045" y="67313"/>
                      <a:pt x="10131" y="93851"/>
                    </a:cubicBezTo>
                    <a:lnTo>
                      <a:pt x="79526" y="93851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348" name="Forma livre: Forma 347">
              <a:extLst>
                <a:ext uri="{FF2B5EF4-FFF2-40B4-BE49-F238E27FC236}">
                  <a16:creationId xmlns:a16="http://schemas.microsoft.com/office/drawing/2014/main" id="{507C0D56-BFED-43AF-8E77-38839B0186F6}"/>
                </a:ext>
              </a:extLst>
            </p:cNvPr>
            <p:cNvSpPr/>
            <p:nvPr/>
          </p:nvSpPr>
          <p:spPr>
            <a:xfrm>
              <a:off x="3902906" y="3282008"/>
              <a:ext cx="189660" cy="135167"/>
            </a:xfrm>
            <a:custGeom>
              <a:avLst/>
              <a:gdLst>
                <a:gd name="connsiteX0" fmla="*/ 48032 w 189660"/>
                <a:gd name="connsiteY0" fmla="*/ 0 h 135167"/>
                <a:gd name="connsiteX1" fmla="*/ 0 w 189660"/>
                <a:gd name="connsiteY1" fmla="*/ 0 h 135167"/>
                <a:gd name="connsiteX2" fmla="*/ 33719 w 189660"/>
                <a:gd name="connsiteY2" fmla="*/ 97329 h 135167"/>
                <a:gd name="connsiteX3" fmla="*/ 56787 w 189660"/>
                <a:gd name="connsiteY3" fmla="*/ 132193 h 135167"/>
                <a:gd name="connsiteX4" fmla="*/ 68142 w 189660"/>
                <a:gd name="connsiteY4" fmla="*/ 135115 h 135167"/>
                <a:gd name="connsiteX5" fmla="*/ 77135 w 189660"/>
                <a:gd name="connsiteY5" fmla="*/ 90435 h 135167"/>
                <a:gd name="connsiteX6" fmla="*/ 94836 w 189660"/>
                <a:gd name="connsiteY6" fmla="*/ 44430 h 135167"/>
                <a:gd name="connsiteX7" fmla="*/ 112537 w 189660"/>
                <a:gd name="connsiteY7" fmla="*/ 90435 h 135167"/>
                <a:gd name="connsiteX8" fmla="*/ 121530 w 189660"/>
                <a:gd name="connsiteY8" fmla="*/ 135115 h 135167"/>
                <a:gd name="connsiteX9" fmla="*/ 132873 w 189660"/>
                <a:gd name="connsiteY9" fmla="*/ 132193 h 135167"/>
                <a:gd name="connsiteX10" fmla="*/ 155941 w 189660"/>
                <a:gd name="connsiteY10" fmla="*/ 97329 h 135167"/>
                <a:gd name="connsiteX11" fmla="*/ 189660 w 189660"/>
                <a:gd name="connsiteY11" fmla="*/ 0 h 135167"/>
                <a:gd name="connsiteX12" fmla="*/ 87620 w 189660"/>
                <a:gd name="connsiteY12" fmla="*/ 0 h 1351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89660" h="135167">
                  <a:moveTo>
                    <a:pt x="48032" y="0"/>
                  </a:moveTo>
                  <a:lnTo>
                    <a:pt x="0" y="0"/>
                  </a:lnTo>
                  <a:cubicBezTo>
                    <a:pt x="0" y="0"/>
                    <a:pt x="30558" y="47519"/>
                    <a:pt x="33719" y="97329"/>
                  </a:cubicBezTo>
                  <a:cubicBezTo>
                    <a:pt x="33719" y="97329"/>
                    <a:pt x="33481" y="124166"/>
                    <a:pt x="56787" y="132193"/>
                  </a:cubicBezTo>
                  <a:cubicBezTo>
                    <a:pt x="56787" y="132193"/>
                    <a:pt x="64039" y="135628"/>
                    <a:pt x="68142" y="135115"/>
                  </a:cubicBezTo>
                  <a:cubicBezTo>
                    <a:pt x="76384" y="134102"/>
                    <a:pt x="77947" y="122162"/>
                    <a:pt x="77135" y="90435"/>
                  </a:cubicBezTo>
                  <a:cubicBezTo>
                    <a:pt x="77135" y="90435"/>
                    <a:pt x="75442" y="44430"/>
                    <a:pt x="94836" y="44430"/>
                  </a:cubicBezTo>
                  <a:cubicBezTo>
                    <a:pt x="114230" y="44430"/>
                    <a:pt x="112537" y="90435"/>
                    <a:pt x="112537" y="90435"/>
                  </a:cubicBezTo>
                  <a:cubicBezTo>
                    <a:pt x="111713" y="122162"/>
                    <a:pt x="113276" y="134102"/>
                    <a:pt x="121530" y="135115"/>
                  </a:cubicBezTo>
                  <a:cubicBezTo>
                    <a:pt x="125621" y="135616"/>
                    <a:pt x="132873" y="132193"/>
                    <a:pt x="132873" y="132193"/>
                  </a:cubicBezTo>
                  <a:cubicBezTo>
                    <a:pt x="156191" y="124166"/>
                    <a:pt x="155941" y="97329"/>
                    <a:pt x="155941" y="97329"/>
                  </a:cubicBezTo>
                  <a:cubicBezTo>
                    <a:pt x="159102" y="47519"/>
                    <a:pt x="189660" y="0"/>
                    <a:pt x="189660" y="0"/>
                  </a:cubicBezTo>
                  <a:lnTo>
                    <a:pt x="87620" y="0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349" name="Gráfico 4">
              <a:extLst>
                <a:ext uri="{FF2B5EF4-FFF2-40B4-BE49-F238E27FC236}">
                  <a16:creationId xmlns:a16="http://schemas.microsoft.com/office/drawing/2014/main" id="{2912B313-4095-3E6B-A6F1-71DCDDF5C92D}"/>
                </a:ext>
              </a:extLst>
            </p:cNvPr>
            <p:cNvGrpSpPr/>
            <p:nvPr/>
          </p:nvGrpSpPr>
          <p:grpSpPr>
            <a:xfrm>
              <a:off x="3925317" y="3247811"/>
              <a:ext cx="144824" cy="33623"/>
              <a:chOff x="3925317" y="3247811"/>
              <a:chExt cx="144824" cy="33623"/>
            </a:xfrm>
            <a:noFill/>
          </p:grpSpPr>
          <p:sp>
            <p:nvSpPr>
              <p:cNvPr id="350" name="Forma livre: Forma 349">
                <a:extLst>
                  <a:ext uri="{FF2B5EF4-FFF2-40B4-BE49-F238E27FC236}">
                    <a16:creationId xmlns:a16="http://schemas.microsoft.com/office/drawing/2014/main" id="{91368553-EEFA-A53B-0317-52B3117C7255}"/>
                  </a:ext>
                </a:extLst>
              </p:cNvPr>
              <p:cNvSpPr/>
              <p:nvPr/>
            </p:nvSpPr>
            <p:spPr>
              <a:xfrm>
                <a:off x="4038617" y="3247811"/>
                <a:ext cx="31524" cy="33623"/>
              </a:xfrm>
              <a:custGeom>
                <a:avLst/>
                <a:gdLst>
                  <a:gd name="connsiteX0" fmla="*/ 0 w 31524"/>
                  <a:gd name="connsiteY0" fmla="*/ 0 h 33623"/>
                  <a:gd name="connsiteX1" fmla="*/ 17343 w 31524"/>
                  <a:gd name="connsiteY1" fmla="*/ 0 h 33623"/>
                  <a:gd name="connsiteX2" fmla="*/ 22746 w 31524"/>
                  <a:gd name="connsiteY2" fmla="*/ 4043 h 33623"/>
                  <a:gd name="connsiteX3" fmla="*/ 31524 w 31524"/>
                  <a:gd name="connsiteY3" fmla="*/ 33624 h 336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1524" h="33623">
                    <a:moveTo>
                      <a:pt x="0" y="0"/>
                    </a:moveTo>
                    <a:lnTo>
                      <a:pt x="17343" y="0"/>
                    </a:lnTo>
                    <a:cubicBezTo>
                      <a:pt x="19657" y="0"/>
                      <a:pt x="22090" y="1813"/>
                      <a:pt x="22746" y="4043"/>
                    </a:cubicBezTo>
                    <a:lnTo>
                      <a:pt x="31524" y="33624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51" name="Forma livre: Forma 350">
                <a:extLst>
                  <a:ext uri="{FF2B5EF4-FFF2-40B4-BE49-F238E27FC236}">
                    <a16:creationId xmlns:a16="http://schemas.microsoft.com/office/drawing/2014/main" id="{C0F08E37-2120-956A-CFB8-4640E62F6B3E}"/>
                  </a:ext>
                </a:extLst>
              </p:cNvPr>
              <p:cNvSpPr/>
              <p:nvPr/>
            </p:nvSpPr>
            <p:spPr>
              <a:xfrm>
                <a:off x="3925317" y="3247811"/>
                <a:ext cx="31464" cy="33599"/>
              </a:xfrm>
              <a:custGeom>
                <a:avLst/>
                <a:gdLst>
                  <a:gd name="connsiteX0" fmla="*/ 0 w 31464"/>
                  <a:gd name="connsiteY0" fmla="*/ 33600 h 33599"/>
                  <a:gd name="connsiteX1" fmla="*/ 8683 w 31464"/>
                  <a:gd name="connsiteY1" fmla="*/ 4043 h 33599"/>
                  <a:gd name="connsiteX2" fmla="*/ 14098 w 31464"/>
                  <a:gd name="connsiteY2" fmla="*/ 0 h 33599"/>
                  <a:gd name="connsiteX3" fmla="*/ 31465 w 31464"/>
                  <a:gd name="connsiteY3" fmla="*/ 0 h 335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1464" h="33599">
                    <a:moveTo>
                      <a:pt x="0" y="33600"/>
                    </a:moveTo>
                    <a:lnTo>
                      <a:pt x="8683" y="4043"/>
                    </a:lnTo>
                    <a:cubicBezTo>
                      <a:pt x="9339" y="1825"/>
                      <a:pt x="11772" y="0"/>
                      <a:pt x="14098" y="0"/>
                    </a:cubicBezTo>
                    <a:lnTo>
                      <a:pt x="31465" y="0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352" name="Gráfico 4">
              <a:extLst>
                <a:ext uri="{FF2B5EF4-FFF2-40B4-BE49-F238E27FC236}">
                  <a16:creationId xmlns:a16="http://schemas.microsoft.com/office/drawing/2014/main" id="{3FB0F38E-26EB-112C-5639-649CCF444524}"/>
                </a:ext>
              </a:extLst>
            </p:cNvPr>
            <p:cNvGrpSpPr/>
            <p:nvPr/>
          </p:nvGrpSpPr>
          <p:grpSpPr>
            <a:xfrm>
              <a:off x="3976773" y="3192646"/>
              <a:ext cx="41925" cy="65935"/>
              <a:chOff x="3976773" y="3192646"/>
              <a:chExt cx="41925" cy="65935"/>
            </a:xfrm>
            <a:noFill/>
          </p:grpSpPr>
          <p:sp>
            <p:nvSpPr>
              <p:cNvPr id="353" name="Forma livre: Forma 352">
                <a:extLst>
                  <a:ext uri="{FF2B5EF4-FFF2-40B4-BE49-F238E27FC236}">
                    <a16:creationId xmlns:a16="http://schemas.microsoft.com/office/drawing/2014/main" id="{7944FC36-5D8C-E52B-5CC7-E52DF48DB815}"/>
                  </a:ext>
                </a:extLst>
              </p:cNvPr>
              <p:cNvSpPr/>
              <p:nvPr/>
            </p:nvSpPr>
            <p:spPr>
              <a:xfrm>
                <a:off x="3997527" y="3192646"/>
                <a:ext cx="47" cy="65434"/>
              </a:xfrm>
              <a:custGeom>
                <a:avLst/>
                <a:gdLst>
                  <a:gd name="connsiteX0" fmla="*/ 48 w 47"/>
                  <a:gd name="connsiteY0" fmla="*/ 65435 h 65434"/>
                  <a:gd name="connsiteX1" fmla="*/ 0 w 47"/>
                  <a:gd name="connsiteY1" fmla="*/ 0 h 654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" h="65434">
                    <a:moveTo>
                      <a:pt x="48" y="65435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54" name="Forma livre: Forma 353">
                <a:extLst>
                  <a:ext uri="{FF2B5EF4-FFF2-40B4-BE49-F238E27FC236}">
                    <a16:creationId xmlns:a16="http://schemas.microsoft.com/office/drawing/2014/main" id="{DCA3B53A-9F90-0339-F0F0-114759CBBFD2}"/>
                  </a:ext>
                </a:extLst>
              </p:cNvPr>
              <p:cNvSpPr/>
              <p:nvPr/>
            </p:nvSpPr>
            <p:spPr>
              <a:xfrm>
                <a:off x="3976773" y="3237566"/>
                <a:ext cx="41925" cy="21016"/>
              </a:xfrm>
              <a:custGeom>
                <a:avLst/>
                <a:gdLst>
                  <a:gd name="connsiteX0" fmla="*/ 41925 w 41925"/>
                  <a:gd name="connsiteY0" fmla="*/ 0 h 21016"/>
                  <a:gd name="connsiteX1" fmla="*/ 20897 w 41925"/>
                  <a:gd name="connsiteY1" fmla="*/ 21016 h 21016"/>
                  <a:gd name="connsiteX2" fmla="*/ 0 w 41925"/>
                  <a:gd name="connsiteY2" fmla="*/ 107 h 210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41925" h="21016">
                    <a:moveTo>
                      <a:pt x="41925" y="0"/>
                    </a:moveTo>
                    <a:lnTo>
                      <a:pt x="20897" y="21016"/>
                    </a:lnTo>
                    <a:lnTo>
                      <a:pt x="0" y="107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355" name="Gráfico 4">
            <a:extLst>
              <a:ext uri="{FF2B5EF4-FFF2-40B4-BE49-F238E27FC236}">
                <a16:creationId xmlns:a16="http://schemas.microsoft.com/office/drawing/2014/main" id="{1CF489EC-C229-09CE-9357-D08402236FA5}"/>
              </a:ext>
            </a:extLst>
          </p:cNvPr>
          <p:cNvGrpSpPr/>
          <p:nvPr/>
        </p:nvGrpSpPr>
        <p:grpSpPr>
          <a:xfrm>
            <a:off x="3214960" y="3123433"/>
            <a:ext cx="322413" cy="285353"/>
            <a:chOff x="3214960" y="3123433"/>
            <a:chExt cx="322413" cy="285353"/>
          </a:xfrm>
          <a:noFill/>
        </p:grpSpPr>
        <p:sp>
          <p:nvSpPr>
            <p:cNvPr id="356" name="Forma livre: Forma 355">
              <a:extLst>
                <a:ext uri="{FF2B5EF4-FFF2-40B4-BE49-F238E27FC236}">
                  <a16:creationId xmlns:a16="http://schemas.microsoft.com/office/drawing/2014/main" id="{351C7156-07AE-6B1B-280B-3B49D263BA58}"/>
                </a:ext>
              </a:extLst>
            </p:cNvPr>
            <p:cNvSpPr/>
            <p:nvPr/>
          </p:nvSpPr>
          <p:spPr>
            <a:xfrm>
              <a:off x="3308408" y="3123433"/>
              <a:ext cx="189572" cy="221736"/>
            </a:xfrm>
            <a:custGeom>
              <a:avLst/>
              <a:gdLst>
                <a:gd name="connsiteX0" fmla="*/ 127390 w 189572"/>
                <a:gd name="connsiteY0" fmla="*/ 46516 h 221736"/>
                <a:gd name="connsiteX1" fmla="*/ 100947 w 189572"/>
                <a:gd name="connsiteY1" fmla="*/ 27288 h 221736"/>
                <a:gd name="connsiteX2" fmla="*/ 32375 w 189572"/>
                <a:gd name="connsiteY2" fmla="*/ 4626 h 221736"/>
                <a:gd name="connsiteX3" fmla="*/ 3057 w 189572"/>
                <a:gd name="connsiteY3" fmla="*/ 74152 h 221736"/>
                <a:gd name="connsiteX4" fmla="*/ 11132 w 189572"/>
                <a:gd name="connsiteY4" fmla="*/ 167974 h 221736"/>
                <a:gd name="connsiteX5" fmla="*/ 23763 w 189572"/>
                <a:gd name="connsiteY5" fmla="*/ 204043 h 221736"/>
                <a:gd name="connsiteX6" fmla="*/ 33162 w 189572"/>
                <a:gd name="connsiteY6" fmla="*/ 209184 h 221736"/>
                <a:gd name="connsiteX7" fmla="*/ 51149 w 189572"/>
                <a:gd name="connsiteY7" fmla="*/ 171588 h 221736"/>
                <a:gd name="connsiteX8" fmla="*/ 77139 w 189572"/>
                <a:gd name="connsiteY8" fmla="*/ 134780 h 221736"/>
                <a:gd name="connsiteX9" fmla="*/ 82531 w 189572"/>
                <a:gd name="connsiteY9" fmla="*/ 179532 h 221736"/>
                <a:gd name="connsiteX10" fmla="*/ 80491 w 189572"/>
                <a:gd name="connsiteY10" fmla="*/ 221147 h 221736"/>
                <a:gd name="connsiteX11" fmla="*/ 91190 w 189572"/>
                <a:gd name="connsiteY11" fmla="*/ 221087 h 221736"/>
                <a:gd name="connsiteX12" fmla="*/ 119458 w 189572"/>
                <a:gd name="connsiteY12" fmla="*/ 195360 h 221736"/>
                <a:gd name="connsiteX13" fmla="*/ 171152 w 189572"/>
                <a:gd name="connsiteY13" fmla="*/ 116638 h 221736"/>
                <a:gd name="connsiteX14" fmla="*/ 178404 w 189572"/>
                <a:gd name="connsiteY14" fmla="*/ 41542 h 221736"/>
                <a:gd name="connsiteX15" fmla="*/ 124742 w 189572"/>
                <a:gd name="connsiteY15" fmla="*/ 22672 h 2217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89572" h="221736">
                  <a:moveTo>
                    <a:pt x="127390" y="46516"/>
                  </a:moveTo>
                  <a:cubicBezTo>
                    <a:pt x="109821" y="39073"/>
                    <a:pt x="100947" y="27288"/>
                    <a:pt x="100947" y="27288"/>
                  </a:cubicBezTo>
                  <a:cubicBezTo>
                    <a:pt x="84594" y="3887"/>
                    <a:pt x="58497" y="-6848"/>
                    <a:pt x="32375" y="4626"/>
                  </a:cubicBezTo>
                  <a:cubicBezTo>
                    <a:pt x="6254" y="16088"/>
                    <a:pt x="-6234" y="46778"/>
                    <a:pt x="3057" y="74152"/>
                  </a:cubicBezTo>
                  <a:cubicBezTo>
                    <a:pt x="3057" y="74152"/>
                    <a:pt x="19481" y="123114"/>
                    <a:pt x="11132" y="167974"/>
                  </a:cubicBezTo>
                  <a:cubicBezTo>
                    <a:pt x="11132" y="167974"/>
                    <a:pt x="4894" y="191698"/>
                    <a:pt x="23763" y="204043"/>
                  </a:cubicBezTo>
                  <a:cubicBezTo>
                    <a:pt x="23763" y="204043"/>
                    <a:pt x="29429" y="208707"/>
                    <a:pt x="33162" y="209184"/>
                  </a:cubicBezTo>
                  <a:cubicBezTo>
                    <a:pt x="40701" y="210114"/>
                    <a:pt x="44756" y="199880"/>
                    <a:pt x="51149" y="171588"/>
                  </a:cubicBezTo>
                  <a:cubicBezTo>
                    <a:pt x="51149" y="171588"/>
                    <a:pt x="59964" y="130426"/>
                    <a:pt x="77139" y="134780"/>
                  </a:cubicBezTo>
                  <a:cubicBezTo>
                    <a:pt x="94327" y="139121"/>
                    <a:pt x="82531" y="179532"/>
                    <a:pt x="82531" y="179532"/>
                  </a:cubicBezTo>
                  <a:cubicBezTo>
                    <a:pt x="74706" y="207454"/>
                    <a:pt x="73406" y="218392"/>
                    <a:pt x="80491" y="221147"/>
                  </a:cubicBezTo>
                  <a:cubicBezTo>
                    <a:pt x="84010" y="222507"/>
                    <a:pt x="91190" y="221087"/>
                    <a:pt x="91190" y="221087"/>
                  </a:cubicBezTo>
                  <a:cubicBezTo>
                    <a:pt x="113661" y="219203"/>
                    <a:pt x="119458" y="195360"/>
                    <a:pt x="119458" y="195360"/>
                  </a:cubicBezTo>
                  <a:cubicBezTo>
                    <a:pt x="133414" y="151931"/>
                    <a:pt x="171152" y="116638"/>
                    <a:pt x="171152" y="116638"/>
                  </a:cubicBezTo>
                  <a:cubicBezTo>
                    <a:pt x="192324" y="96969"/>
                    <a:pt x="195926" y="64061"/>
                    <a:pt x="178404" y="41542"/>
                  </a:cubicBezTo>
                  <a:cubicBezTo>
                    <a:pt x="164795" y="24092"/>
                    <a:pt x="144888" y="18391"/>
                    <a:pt x="124742" y="22672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57" name="Forma livre: Forma 356">
              <a:extLst>
                <a:ext uri="{FF2B5EF4-FFF2-40B4-BE49-F238E27FC236}">
                  <a16:creationId xmlns:a16="http://schemas.microsoft.com/office/drawing/2014/main" id="{A94B0DAD-8000-78DD-10F0-049BE6B80BA0}"/>
                </a:ext>
              </a:extLst>
            </p:cNvPr>
            <p:cNvSpPr/>
            <p:nvPr/>
          </p:nvSpPr>
          <p:spPr>
            <a:xfrm>
              <a:off x="3214960" y="3293422"/>
              <a:ext cx="322413" cy="115363"/>
            </a:xfrm>
            <a:custGeom>
              <a:avLst/>
              <a:gdLst>
                <a:gd name="connsiteX0" fmla="*/ 0 w 322413"/>
                <a:gd name="connsiteY0" fmla="*/ 9399 h 115363"/>
                <a:gd name="connsiteX1" fmla="*/ 70313 w 322413"/>
                <a:gd name="connsiteY1" fmla="*/ 0 h 115363"/>
                <a:gd name="connsiteX2" fmla="*/ 90530 w 322413"/>
                <a:gd name="connsiteY2" fmla="*/ 70170 h 115363"/>
                <a:gd name="connsiteX3" fmla="*/ 119586 w 322413"/>
                <a:gd name="connsiteY3" fmla="*/ 113598 h 115363"/>
                <a:gd name="connsiteX4" fmla="*/ 130929 w 322413"/>
                <a:gd name="connsiteY4" fmla="*/ 115363 h 115363"/>
                <a:gd name="connsiteX5" fmla="*/ 148033 w 322413"/>
                <a:gd name="connsiteY5" fmla="*/ 99881 h 115363"/>
                <a:gd name="connsiteX6" fmla="*/ 161273 w 322413"/>
                <a:gd name="connsiteY6" fmla="*/ 89934 h 115363"/>
                <a:gd name="connsiteX7" fmla="*/ 174512 w 322413"/>
                <a:gd name="connsiteY7" fmla="*/ 99881 h 115363"/>
                <a:gd name="connsiteX8" fmla="*/ 191616 w 322413"/>
                <a:gd name="connsiteY8" fmla="*/ 115363 h 115363"/>
                <a:gd name="connsiteX9" fmla="*/ 202959 w 322413"/>
                <a:gd name="connsiteY9" fmla="*/ 113598 h 115363"/>
                <a:gd name="connsiteX10" fmla="*/ 232015 w 322413"/>
                <a:gd name="connsiteY10" fmla="*/ 70170 h 115363"/>
                <a:gd name="connsiteX11" fmla="*/ 252172 w 322413"/>
                <a:gd name="connsiteY11" fmla="*/ 0 h 115363"/>
                <a:gd name="connsiteX12" fmla="*/ 322414 w 322413"/>
                <a:gd name="connsiteY12" fmla="*/ 9399 h 1153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22413" h="115363">
                  <a:moveTo>
                    <a:pt x="0" y="9399"/>
                  </a:moveTo>
                  <a:cubicBezTo>
                    <a:pt x="22257" y="5367"/>
                    <a:pt x="45850" y="2230"/>
                    <a:pt x="70313" y="0"/>
                  </a:cubicBezTo>
                  <a:cubicBezTo>
                    <a:pt x="78722" y="17748"/>
                    <a:pt x="88813" y="43810"/>
                    <a:pt x="90530" y="70170"/>
                  </a:cubicBezTo>
                  <a:cubicBezTo>
                    <a:pt x="90590" y="74285"/>
                    <a:pt x="92021" y="103770"/>
                    <a:pt x="119586" y="113598"/>
                  </a:cubicBezTo>
                  <a:cubicBezTo>
                    <a:pt x="122794" y="115077"/>
                    <a:pt x="125752" y="115363"/>
                    <a:pt x="130929" y="115363"/>
                  </a:cubicBezTo>
                  <a:cubicBezTo>
                    <a:pt x="139421" y="115363"/>
                    <a:pt x="145898" y="109471"/>
                    <a:pt x="148033" y="99881"/>
                  </a:cubicBezTo>
                  <a:cubicBezTo>
                    <a:pt x="150526" y="90936"/>
                    <a:pt x="159555" y="90017"/>
                    <a:pt x="161273" y="89934"/>
                  </a:cubicBezTo>
                  <a:cubicBezTo>
                    <a:pt x="162990" y="90005"/>
                    <a:pt x="172031" y="90936"/>
                    <a:pt x="174512" y="99881"/>
                  </a:cubicBezTo>
                  <a:cubicBezTo>
                    <a:pt x="176647" y="109483"/>
                    <a:pt x="183124" y="115363"/>
                    <a:pt x="191616" y="115363"/>
                  </a:cubicBezTo>
                  <a:cubicBezTo>
                    <a:pt x="196793" y="115363"/>
                    <a:pt x="199751" y="115077"/>
                    <a:pt x="202959" y="113598"/>
                  </a:cubicBezTo>
                  <a:cubicBezTo>
                    <a:pt x="230524" y="103770"/>
                    <a:pt x="231955" y="74285"/>
                    <a:pt x="232015" y="70170"/>
                  </a:cubicBezTo>
                  <a:cubicBezTo>
                    <a:pt x="233744" y="43810"/>
                    <a:pt x="243752" y="17736"/>
                    <a:pt x="252172" y="0"/>
                  </a:cubicBezTo>
                  <a:cubicBezTo>
                    <a:pt x="276636" y="2242"/>
                    <a:pt x="300157" y="5379"/>
                    <a:pt x="322414" y="9399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359" name="Gráfico 6">
            <a:extLst>
              <a:ext uri="{FF2B5EF4-FFF2-40B4-BE49-F238E27FC236}">
                <a16:creationId xmlns:a16="http://schemas.microsoft.com/office/drawing/2014/main" id="{58F2ABD4-E609-F5B8-6575-A811BD01ADD8}"/>
              </a:ext>
            </a:extLst>
          </p:cNvPr>
          <p:cNvGrpSpPr/>
          <p:nvPr/>
        </p:nvGrpSpPr>
        <p:grpSpPr>
          <a:xfrm>
            <a:off x="4373797" y="1558404"/>
            <a:ext cx="383714" cy="283931"/>
            <a:chOff x="4373797" y="1558404"/>
            <a:chExt cx="383714" cy="283931"/>
          </a:xfrm>
          <a:noFill/>
        </p:grpSpPr>
        <p:sp>
          <p:nvSpPr>
            <p:cNvPr id="360" name="Forma livre: Forma 359">
              <a:extLst>
                <a:ext uri="{FF2B5EF4-FFF2-40B4-BE49-F238E27FC236}">
                  <a16:creationId xmlns:a16="http://schemas.microsoft.com/office/drawing/2014/main" id="{7B108E77-D38A-6D8F-609C-E86F5D987282}"/>
                </a:ext>
              </a:extLst>
            </p:cNvPr>
            <p:cNvSpPr/>
            <p:nvPr/>
          </p:nvSpPr>
          <p:spPr>
            <a:xfrm>
              <a:off x="4560560" y="1630246"/>
              <a:ext cx="155207" cy="169342"/>
            </a:xfrm>
            <a:custGeom>
              <a:avLst/>
              <a:gdLst>
                <a:gd name="connsiteX0" fmla="*/ 99384 w 155207"/>
                <a:gd name="connsiteY0" fmla="*/ 24429 h 169342"/>
                <a:gd name="connsiteX1" fmla="*/ 74968 w 155207"/>
                <a:gd name="connsiteY1" fmla="*/ 13233 h 169342"/>
                <a:gd name="connsiteX2" fmla="*/ 16701 w 155207"/>
                <a:gd name="connsiteY2" fmla="*/ 9068 h 169342"/>
                <a:gd name="connsiteX3" fmla="*/ 7492 w 155207"/>
                <a:gd name="connsiteY3" fmla="*/ 69394 h 169342"/>
                <a:gd name="connsiteX4" fmla="*/ 32419 w 155207"/>
                <a:gd name="connsiteY4" fmla="*/ 141368 h 169342"/>
                <a:gd name="connsiteX5" fmla="*/ 49481 w 155207"/>
                <a:gd name="connsiteY5" fmla="*/ 167140 h 169342"/>
                <a:gd name="connsiteX6" fmla="*/ 57870 w 155207"/>
                <a:gd name="connsiteY6" fmla="*/ 169306 h 169342"/>
                <a:gd name="connsiteX7" fmla="*/ 64509 w 155207"/>
                <a:gd name="connsiteY7" fmla="*/ 136263 h 169342"/>
                <a:gd name="connsiteX8" fmla="*/ 77598 w 155207"/>
                <a:gd name="connsiteY8" fmla="*/ 102234 h 169342"/>
                <a:gd name="connsiteX9" fmla="*/ 90686 w 155207"/>
                <a:gd name="connsiteY9" fmla="*/ 136263 h 169342"/>
                <a:gd name="connsiteX10" fmla="*/ 97337 w 155207"/>
                <a:gd name="connsiteY10" fmla="*/ 169306 h 169342"/>
                <a:gd name="connsiteX11" fmla="*/ 105726 w 155207"/>
                <a:gd name="connsiteY11" fmla="*/ 167140 h 169342"/>
                <a:gd name="connsiteX12" fmla="*/ 122788 w 155207"/>
                <a:gd name="connsiteY12" fmla="*/ 141368 h 169342"/>
                <a:gd name="connsiteX13" fmla="*/ 147715 w 155207"/>
                <a:gd name="connsiteY13" fmla="*/ 69394 h 169342"/>
                <a:gd name="connsiteX14" fmla="*/ 138506 w 155207"/>
                <a:gd name="connsiteY14" fmla="*/ 9068 h 169342"/>
                <a:gd name="connsiteX15" fmla="*/ 97492 w 155207"/>
                <a:gd name="connsiteY15" fmla="*/ 2845 h 1693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55207" h="169342">
                  <a:moveTo>
                    <a:pt x="99384" y="24429"/>
                  </a:moveTo>
                  <a:cubicBezTo>
                    <a:pt x="84142" y="22073"/>
                    <a:pt x="74968" y="13233"/>
                    <a:pt x="74968" y="13233"/>
                  </a:cubicBezTo>
                  <a:cubicBezTo>
                    <a:pt x="57501" y="-1854"/>
                    <a:pt x="34918" y="-5103"/>
                    <a:pt x="16701" y="9068"/>
                  </a:cubicBezTo>
                  <a:cubicBezTo>
                    <a:pt x="-1504" y="23240"/>
                    <a:pt x="-5216" y="49773"/>
                    <a:pt x="7492" y="69394"/>
                  </a:cubicBezTo>
                  <a:cubicBezTo>
                    <a:pt x="7492" y="69394"/>
                    <a:pt x="30087" y="104542"/>
                    <a:pt x="32419" y="141368"/>
                  </a:cubicBezTo>
                  <a:cubicBezTo>
                    <a:pt x="32419" y="141368"/>
                    <a:pt x="32240" y="161215"/>
                    <a:pt x="49481" y="167140"/>
                  </a:cubicBezTo>
                  <a:cubicBezTo>
                    <a:pt x="49481" y="167140"/>
                    <a:pt x="54848" y="169674"/>
                    <a:pt x="57870" y="169306"/>
                  </a:cubicBezTo>
                  <a:cubicBezTo>
                    <a:pt x="63962" y="168544"/>
                    <a:pt x="65116" y="159715"/>
                    <a:pt x="64509" y="136263"/>
                  </a:cubicBezTo>
                  <a:cubicBezTo>
                    <a:pt x="64509" y="136263"/>
                    <a:pt x="63272" y="102234"/>
                    <a:pt x="77598" y="102234"/>
                  </a:cubicBezTo>
                  <a:cubicBezTo>
                    <a:pt x="91923" y="102234"/>
                    <a:pt x="90686" y="136263"/>
                    <a:pt x="90686" y="136263"/>
                  </a:cubicBezTo>
                  <a:cubicBezTo>
                    <a:pt x="90091" y="159715"/>
                    <a:pt x="91233" y="168556"/>
                    <a:pt x="97337" y="169306"/>
                  </a:cubicBezTo>
                  <a:cubicBezTo>
                    <a:pt x="100371" y="169674"/>
                    <a:pt x="105726" y="167140"/>
                    <a:pt x="105726" y="167140"/>
                  </a:cubicBezTo>
                  <a:cubicBezTo>
                    <a:pt x="122955" y="161215"/>
                    <a:pt x="122788" y="141368"/>
                    <a:pt x="122788" y="141368"/>
                  </a:cubicBezTo>
                  <a:cubicBezTo>
                    <a:pt x="125120" y="104542"/>
                    <a:pt x="147715" y="69394"/>
                    <a:pt x="147715" y="69394"/>
                  </a:cubicBezTo>
                  <a:cubicBezTo>
                    <a:pt x="160423" y="49773"/>
                    <a:pt x="156711" y="23251"/>
                    <a:pt x="138506" y="9068"/>
                  </a:cubicBezTo>
                  <a:cubicBezTo>
                    <a:pt x="125882" y="-760"/>
                    <a:pt x="111163" y="-2211"/>
                    <a:pt x="97492" y="2845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61" name="Forma livre: Forma 360">
              <a:extLst>
                <a:ext uri="{FF2B5EF4-FFF2-40B4-BE49-F238E27FC236}">
                  <a16:creationId xmlns:a16="http://schemas.microsoft.com/office/drawing/2014/main" id="{BCBBAC8C-FFB6-D7EC-4186-E35291B6BA19}"/>
                </a:ext>
              </a:extLst>
            </p:cNvPr>
            <p:cNvSpPr/>
            <p:nvPr/>
          </p:nvSpPr>
          <p:spPr>
            <a:xfrm>
              <a:off x="4417906" y="1659986"/>
              <a:ext cx="162037" cy="182349"/>
            </a:xfrm>
            <a:custGeom>
              <a:avLst/>
              <a:gdLst>
                <a:gd name="connsiteX0" fmla="*/ 114010 w 162037"/>
                <a:gd name="connsiteY0" fmla="*/ 51112 h 182349"/>
                <a:gd name="connsiteX1" fmla="*/ 98959 w 162037"/>
                <a:gd name="connsiteY1" fmla="*/ 31134 h 182349"/>
                <a:gd name="connsiteX2" fmla="*/ 49699 w 162037"/>
                <a:gd name="connsiteY2" fmla="*/ 805 h 182349"/>
                <a:gd name="connsiteX3" fmla="*/ 13944 w 162037"/>
                <a:gd name="connsiteY3" fmla="*/ 50267 h 182349"/>
                <a:gd name="connsiteX4" fmla="*/ 3247 w 162037"/>
                <a:gd name="connsiteY4" fmla="*/ 125679 h 182349"/>
                <a:gd name="connsiteX5" fmla="*/ 6662 w 162037"/>
                <a:gd name="connsiteY5" fmla="*/ 156401 h 182349"/>
                <a:gd name="connsiteX6" fmla="*/ 13135 w 162037"/>
                <a:gd name="connsiteY6" fmla="*/ 162160 h 182349"/>
                <a:gd name="connsiteX7" fmla="*/ 34148 w 162037"/>
                <a:gd name="connsiteY7" fmla="*/ 135793 h 182349"/>
                <a:gd name="connsiteX8" fmla="*/ 61324 w 162037"/>
                <a:gd name="connsiteY8" fmla="*/ 111508 h 182349"/>
                <a:gd name="connsiteX9" fmla="*/ 57433 w 162037"/>
                <a:gd name="connsiteY9" fmla="*/ 147751 h 182349"/>
                <a:gd name="connsiteX10" fmla="*/ 48247 w 162037"/>
                <a:gd name="connsiteY10" fmla="*/ 180187 h 182349"/>
                <a:gd name="connsiteX11" fmla="*/ 56695 w 162037"/>
                <a:gd name="connsiteY11" fmla="*/ 182090 h 182349"/>
                <a:gd name="connsiteX12" fmla="*/ 83657 w 162037"/>
                <a:gd name="connsiteY12" fmla="*/ 166955 h 182349"/>
                <a:gd name="connsiteX13" fmla="*/ 138712 w 162037"/>
                <a:gd name="connsiteY13" fmla="*/ 114316 h 182349"/>
                <a:gd name="connsiteX14" fmla="*/ 158070 w 162037"/>
                <a:gd name="connsiteY14" fmla="*/ 56442 h 182349"/>
                <a:gd name="connsiteX15" fmla="*/ 119210 w 162037"/>
                <a:gd name="connsiteY15" fmla="*/ 31824 h 1823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62037" h="182349">
                  <a:moveTo>
                    <a:pt x="114010" y="51112"/>
                  </a:moveTo>
                  <a:cubicBezTo>
                    <a:pt x="101529" y="42057"/>
                    <a:pt x="98959" y="31134"/>
                    <a:pt x="98959" y="31134"/>
                  </a:cubicBezTo>
                  <a:cubicBezTo>
                    <a:pt x="90309" y="9729"/>
                    <a:pt x="72377" y="-3479"/>
                    <a:pt x="49699" y="805"/>
                  </a:cubicBezTo>
                  <a:cubicBezTo>
                    <a:pt x="27020" y="5100"/>
                    <a:pt x="11600" y="27005"/>
                    <a:pt x="13944" y="50267"/>
                  </a:cubicBezTo>
                  <a:cubicBezTo>
                    <a:pt x="13944" y="50267"/>
                    <a:pt x="18001" y="91852"/>
                    <a:pt x="3247" y="125679"/>
                  </a:cubicBezTo>
                  <a:cubicBezTo>
                    <a:pt x="3247" y="125679"/>
                    <a:pt x="-5974" y="143254"/>
                    <a:pt x="6662" y="156401"/>
                  </a:cubicBezTo>
                  <a:cubicBezTo>
                    <a:pt x="6662" y="156401"/>
                    <a:pt x="10267" y="161113"/>
                    <a:pt x="13135" y="162160"/>
                  </a:cubicBezTo>
                  <a:cubicBezTo>
                    <a:pt x="18906" y="164266"/>
                    <a:pt x="23951" y="156949"/>
                    <a:pt x="34148" y="135793"/>
                  </a:cubicBezTo>
                  <a:cubicBezTo>
                    <a:pt x="34148" y="135793"/>
                    <a:pt x="48580" y="104952"/>
                    <a:pt x="61324" y="111508"/>
                  </a:cubicBezTo>
                  <a:cubicBezTo>
                    <a:pt x="74091" y="118064"/>
                    <a:pt x="57433" y="147751"/>
                    <a:pt x="57433" y="147751"/>
                  </a:cubicBezTo>
                  <a:cubicBezTo>
                    <a:pt x="46177" y="168347"/>
                    <a:pt x="43179" y="176724"/>
                    <a:pt x="48247" y="180187"/>
                  </a:cubicBezTo>
                  <a:cubicBezTo>
                    <a:pt x="50770" y="181900"/>
                    <a:pt x="56695" y="182090"/>
                    <a:pt x="56695" y="182090"/>
                  </a:cubicBezTo>
                  <a:cubicBezTo>
                    <a:pt x="74745" y="184684"/>
                    <a:pt x="83657" y="166955"/>
                    <a:pt x="83657" y="166955"/>
                  </a:cubicBezTo>
                  <a:cubicBezTo>
                    <a:pt x="102564" y="135258"/>
                    <a:pt x="138712" y="114316"/>
                    <a:pt x="138712" y="114316"/>
                  </a:cubicBezTo>
                  <a:cubicBezTo>
                    <a:pt x="158975" y="102668"/>
                    <a:pt x="167803" y="77383"/>
                    <a:pt x="158070" y="56442"/>
                  </a:cubicBezTo>
                  <a:cubicBezTo>
                    <a:pt x="150527" y="40213"/>
                    <a:pt x="135868" y="32110"/>
                    <a:pt x="119210" y="31824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62" name="Forma livre: Forma 361">
              <a:extLst>
                <a:ext uri="{FF2B5EF4-FFF2-40B4-BE49-F238E27FC236}">
                  <a16:creationId xmlns:a16="http://schemas.microsoft.com/office/drawing/2014/main" id="{C9756861-28EE-A116-1A3E-90D5CE4E9D36}"/>
                </a:ext>
              </a:extLst>
            </p:cNvPr>
            <p:cNvSpPr/>
            <p:nvPr/>
          </p:nvSpPr>
          <p:spPr>
            <a:xfrm>
              <a:off x="4373797" y="1715857"/>
              <a:ext cx="36242" cy="5865"/>
            </a:xfrm>
            <a:custGeom>
              <a:avLst/>
              <a:gdLst>
                <a:gd name="connsiteX0" fmla="*/ 0 w 36242"/>
                <a:gd name="connsiteY0" fmla="*/ 5866 h 5865"/>
                <a:gd name="connsiteX1" fmla="*/ 36243 w 36242"/>
                <a:gd name="connsiteY1" fmla="*/ 0 h 58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6242" h="5865">
                  <a:moveTo>
                    <a:pt x="0" y="5866"/>
                  </a:moveTo>
                  <a:cubicBezTo>
                    <a:pt x="16789" y="2832"/>
                    <a:pt x="17776" y="1678"/>
                    <a:pt x="36243" y="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63" name="Forma livre: Forma 362">
              <a:extLst>
                <a:ext uri="{FF2B5EF4-FFF2-40B4-BE49-F238E27FC236}">
                  <a16:creationId xmlns:a16="http://schemas.microsoft.com/office/drawing/2014/main" id="{49F592DF-74FE-360D-8EDD-96F76AEF3218}"/>
                </a:ext>
              </a:extLst>
            </p:cNvPr>
            <p:cNvSpPr/>
            <p:nvPr/>
          </p:nvSpPr>
          <p:spPr>
            <a:xfrm>
              <a:off x="4704515" y="1713120"/>
              <a:ext cx="52995" cy="7115"/>
            </a:xfrm>
            <a:custGeom>
              <a:avLst/>
              <a:gdLst>
                <a:gd name="connsiteX0" fmla="*/ 52996 w 52995"/>
                <a:gd name="connsiteY0" fmla="*/ 7115 h 7115"/>
                <a:gd name="connsiteX1" fmla="*/ 0 w 52995"/>
                <a:gd name="connsiteY1" fmla="*/ 0 h 71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2995" h="7115">
                  <a:moveTo>
                    <a:pt x="52996" y="7115"/>
                  </a:moveTo>
                  <a:cubicBezTo>
                    <a:pt x="36207" y="4081"/>
                    <a:pt x="18455" y="1678"/>
                    <a:pt x="0" y="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364" name="Gráfico 6">
              <a:extLst>
                <a:ext uri="{FF2B5EF4-FFF2-40B4-BE49-F238E27FC236}">
                  <a16:creationId xmlns:a16="http://schemas.microsoft.com/office/drawing/2014/main" id="{DFE32BC2-0DB6-A6E7-5D88-930159E75A51}"/>
                </a:ext>
              </a:extLst>
            </p:cNvPr>
            <p:cNvGrpSpPr/>
            <p:nvPr/>
          </p:nvGrpSpPr>
          <p:grpSpPr>
            <a:xfrm>
              <a:off x="4449900" y="1558404"/>
              <a:ext cx="130264" cy="75103"/>
              <a:chOff x="4449900" y="1558404"/>
              <a:chExt cx="130264" cy="75103"/>
            </a:xfrm>
          </p:grpSpPr>
          <p:sp>
            <p:nvSpPr>
              <p:cNvPr id="365" name="Forma livre: Forma 364">
                <a:extLst>
                  <a:ext uri="{FF2B5EF4-FFF2-40B4-BE49-F238E27FC236}">
                    <a16:creationId xmlns:a16="http://schemas.microsoft.com/office/drawing/2014/main" id="{EA56739C-97FF-CC9E-D705-4E323C5A6019}"/>
                  </a:ext>
                </a:extLst>
              </p:cNvPr>
              <p:cNvSpPr/>
              <p:nvPr/>
            </p:nvSpPr>
            <p:spPr>
              <a:xfrm>
                <a:off x="4507048" y="1558404"/>
                <a:ext cx="12445" cy="50247"/>
              </a:xfrm>
              <a:custGeom>
                <a:avLst/>
                <a:gdLst>
                  <a:gd name="connsiteX0" fmla="*/ 12446 w 12445"/>
                  <a:gd name="connsiteY0" fmla="*/ 50247 h 50247"/>
                  <a:gd name="connsiteX1" fmla="*/ 0 w 12445"/>
                  <a:gd name="connsiteY1" fmla="*/ 0 h 502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445" h="50247">
                    <a:moveTo>
                      <a:pt x="12446" y="50247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66" name="Forma livre: Forma 365">
                <a:extLst>
                  <a:ext uri="{FF2B5EF4-FFF2-40B4-BE49-F238E27FC236}">
                    <a16:creationId xmlns:a16="http://schemas.microsoft.com/office/drawing/2014/main" id="{E61AB18D-B7C2-DCE0-CB88-EDB704F159AF}"/>
                  </a:ext>
                </a:extLst>
              </p:cNvPr>
              <p:cNvSpPr/>
              <p:nvPr/>
            </p:nvSpPr>
            <p:spPr>
              <a:xfrm>
                <a:off x="4553428" y="1574515"/>
                <a:ext cx="26735" cy="44333"/>
              </a:xfrm>
              <a:custGeom>
                <a:avLst/>
                <a:gdLst>
                  <a:gd name="connsiteX0" fmla="*/ 0 w 26735"/>
                  <a:gd name="connsiteY0" fmla="*/ 44334 h 44333"/>
                  <a:gd name="connsiteX1" fmla="*/ 26736 w 26735"/>
                  <a:gd name="connsiteY1" fmla="*/ 0 h 443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6735" h="44333">
                    <a:moveTo>
                      <a:pt x="0" y="44334"/>
                    </a:moveTo>
                    <a:lnTo>
                      <a:pt x="26736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67" name="Forma livre: Forma 366">
                <a:extLst>
                  <a:ext uri="{FF2B5EF4-FFF2-40B4-BE49-F238E27FC236}">
                    <a16:creationId xmlns:a16="http://schemas.microsoft.com/office/drawing/2014/main" id="{711AAD97-A200-F22B-2D5D-83ED17A48071}"/>
                  </a:ext>
                </a:extLst>
              </p:cNvPr>
              <p:cNvSpPr/>
              <p:nvPr/>
            </p:nvSpPr>
            <p:spPr>
              <a:xfrm>
                <a:off x="4449900" y="1606772"/>
                <a:ext cx="44321" cy="26735"/>
              </a:xfrm>
              <a:custGeom>
                <a:avLst/>
                <a:gdLst>
                  <a:gd name="connsiteX0" fmla="*/ 44322 w 44321"/>
                  <a:gd name="connsiteY0" fmla="*/ 26736 h 26735"/>
                  <a:gd name="connsiteX1" fmla="*/ 0 w 44321"/>
                  <a:gd name="connsiteY1" fmla="*/ 0 h 267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4321" h="26735">
                    <a:moveTo>
                      <a:pt x="44322" y="26736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368" name="Gráfico 6">
            <a:extLst>
              <a:ext uri="{FF2B5EF4-FFF2-40B4-BE49-F238E27FC236}">
                <a16:creationId xmlns:a16="http://schemas.microsoft.com/office/drawing/2014/main" id="{9D82CDF7-BC6A-3CE9-6B5F-6C4BA7C54948}"/>
              </a:ext>
            </a:extLst>
          </p:cNvPr>
          <p:cNvGrpSpPr/>
          <p:nvPr/>
        </p:nvGrpSpPr>
        <p:grpSpPr>
          <a:xfrm>
            <a:off x="5066722" y="1571009"/>
            <a:ext cx="237151" cy="258725"/>
            <a:chOff x="5066722" y="1571009"/>
            <a:chExt cx="237151" cy="258725"/>
          </a:xfrm>
        </p:grpSpPr>
        <p:grpSp>
          <p:nvGrpSpPr>
            <p:cNvPr id="369" name="Gráfico 6">
              <a:extLst>
                <a:ext uri="{FF2B5EF4-FFF2-40B4-BE49-F238E27FC236}">
                  <a16:creationId xmlns:a16="http://schemas.microsoft.com/office/drawing/2014/main" id="{692D32A1-BF4D-55B8-DD49-4BB01E6CED44}"/>
                </a:ext>
              </a:extLst>
            </p:cNvPr>
            <p:cNvGrpSpPr/>
            <p:nvPr/>
          </p:nvGrpSpPr>
          <p:grpSpPr>
            <a:xfrm>
              <a:off x="5125044" y="1631425"/>
              <a:ext cx="120507" cy="7139"/>
              <a:chOff x="5125044" y="1631425"/>
              <a:chExt cx="120507" cy="7139"/>
            </a:xfrm>
            <a:solidFill>
              <a:srgbClr val="394553"/>
            </a:solidFill>
          </p:grpSpPr>
          <p:sp>
            <p:nvSpPr>
              <p:cNvPr id="370" name="Forma livre: Forma 369">
                <a:extLst>
                  <a:ext uri="{FF2B5EF4-FFF2-40B4-BE49-F238E27FC236}">
                    <a16:creationId xmlns:a16="http://schemas.microsoft.com/office/drawing/2014/main" id="{733DF542-5C51-A9C9-1DB3-6B0F2F19D81F}"/>
                  </a:ext>
                </a:extLst>
              </p:cNvPr>
              <p:cNvSpPr/>
              <p:nvPr/>
            </p:nvSpPr>
            <p:spPr>
              <a:xfrm>
                <a:off x="5125044" y="1631425"/>
                <a:ext cx="7139" cy="7139"/>
              </a:xfrm>
              <a:custGeom>
                <a:avLst/>
                <a:gdLst>
                  <a:gd name="connsiteX0" fmla="*/ 0 w 7139"/>
                  <a:gd name="connsiteY0" fmla="*/ 3570 h 7139"/>
                  <a:gd name="connsiteX1" fmla="*/ 3558 w 7139"/>
                  <a:gd name="connsiteY1" fmla="*/ 7139 h 7139"/>
                  <a:gd name="connsiteX2" fmla="*/ 7139 w 7139"/>
                  <a:gd name="connsiteY2" fmla="*/ 3570 h 7139"/>
                  <a:gd name="connsiteX3" fmla="*/ 3558 w 7139"/>
                  <a:gd name="connsiteY3" fmla="*/ 0 h 7139"/>
                  <a:gd name="connsiteX4" fmla="*/ 0 w 7139"/>
                  <a:gd name="connsiteY4" fmla="*/ 3570 h 71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139" h="7139">
                    <a:moveTo>
                      <a:pt x="0" y="3570"/>
                    </a:moveTo>
                    <a:cubicBezTo>
                      <a:pt x="0" y="5545"/>
                      <a:pt x="1594" y="7139"/>
                      <a:pt x="3558" y="7139"/>
                    </a:cubicBezTo>
                    <a:cubicBezTo>
                      <a:pt x="5521" y="7139"/>
                      <a:pt x="7139" y="5545"/>
                      <a:pt x="7139" y="3570"/>
                    </a:cubicBezTo>
                    <a:cubicBezTo>
                      <a:pt x="7139" y="1594"/>
                      <a:pt x="5521" y="0"/>
                      <a:pt x="3558" y="0"/>
                    </a:cubicBezTo>
                    <a:cubicBezTo>
                      <a:pt x="1594" y="0"/>
                      <a:pt x="0" y="1594"/>
                      <a:pt x="0" y="3570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71" name="Forma livre: Forma 370">
                <a:extLst>
                  <a:ext uri="{FF2B5EF4-FFF2-40B4-BE49-F238E27FC236}">
                    <a16:creationId xmlns:a16="http://schemas.microsoft.com/office/drawing/2014/main" id="{382C60E3-24AE-87F0-2CE4-DF205C5D76AD}"/>
                  </a:ext>
                </a:extLst>
              </p:cNvPr>
              <p:cNvSpPr/>
              <p:nvPr/>
            </p:nvSpPr>
            <p:spPr>
              <a:xfrm>
                <a:off x="5238413" y="1631425"/>
                <a:ext cx="7139" cy="7139"/>
              </a:xfrm>
              <a:custGeom>
                <a:avLst/>
                <a:gdLst>
                  <a:gd name="connsiteX0" fmla="*/ 0 w 7139"/>
                  <a:gd name="connsiteY0" fmla="*/ 3570 h 7139"/>
                  <a:gd name="connsiteX1" fmla="*/ 3558 w 7139"/>
                  <a:gd name="connsiteY1" fmla="*/ 7139 h 7139"/>
                  <a:gd name="connsiteX2" fmla="*/ 7139 w 7139"/>
                  <a:gd name="connsiteY2" fmla="*/ 3570 h 7139"/>
                  <a:gd name="connsiteX3" fmla="*/ 3558 w 7139"/>
                  <a:gd name="connsiteY3" fmla="*/ 0 h 7139"/>
                  <a:gd name="connsiteX4" fmla="*/ 0 w 7139"/>
                  <a:gd name="connsiteY4" fmla="*/ 3570 h 71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139" h="7139">
                    <a:moveTo>
                      <a:pt x="0" y="3570"/>
                    </a:moveTo>
                    <a:cubicBezTo>
                      <a:pt x="0" y="5545"/>
                      <a:pt x="1594" y="7139"/>
                      <a:pt x="3558" y="7139"/>
                    </a:cubicBezTo>
                    <a:cubicBezTo>
                      <a:pt x="5521" y="7139"/>
                      <a:pt x="7139" y="5545"/>
                      <a:pt x="7139" y="3570"/>
                    </a:cubicBezTo>
                    <a:cubicBezTo>
                      <a:pt x="7139" y="1594"/>
                      <a:pt x="5521" y="0"/>
                      <a:pt x="3558" y="0"/>
                    </a:cubicBezTo>
                    <a:cubicBezTo>
                      <a:pt x="1594" y="0"/>
                      <a:pt x="0" y="1594"/>
                      <a:pt x="0" y="3570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372" name="Forma livre: Forma 371">
              <a:extLst>
                <a:ext uri="{FF2B5EF4-FFF2-40B4-BE49-F238E27FC236}">
                  <a16:creationId xmlns:a16="http://schemas.microsoft.com/office/drawing/2014/main" id="{E66E6414-1D16-7ED1-16AD-95987DFB1BA1}"/>
                </a:ext>
              </a:extLst>
            </p:cNvPr>
            <p:cNvSpPr/>
            <p:nvPr/>
          </p:nvSpPr>
          <p:spPr>
            <a:xfrm>
              <a:off x="5151066" y="1673701"/>
              <a:ext cx="68475" cy="16931"/>
            </a:xfrm>
            <a:custGeom>
              <a:avLst/>
              <a:gdLst>
                <a:gd name="connsiteX0" fmla="*/ 0 w 68475"/>
                <a:gd name="connsiteY0" fmla="*/ 0 h 16931"/>
                <a:gd name="connsiteX1" fmla="*/ 34244 w 68475"/>
                <a:gd name="connsiteY1" fmla="*/ 16932 h 16931"/>
                <a:gd name="connsiteX2" fmla="*/ 68476 w 68475"/>
                <a:gd name="connsiteY2" fmla="*/ 0 h 169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8475" h="16931">
                  <a:moveTo>
                    <a:pt x="0" y="0"/>
                  </a:moveTo>
                  <a:cubicBezTo>
                    <a:pt x="7163" y="10161"/>
                    <a:pt x="19799" y="16932"/>
                    <a:pt x="34244" y="16932"/>
                  </a:cubicBezTo>
                  <a:cubicBezTo>
                    <a:pt x="48689" y="16932"/>
                    <a:pt x="61325" y="10149"/>
                    <a:pt x="68476" y="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73" name="Forma livre: Forma 372">
              <a:extLst>
                <a:ext uri="{FF2B5EF4-FFF2-40B4-BE49-F238E27FC236}">
                  <a16:creationId xmlns:a16="http://schemas.microsoft.com/office/drawing/2014/main" id="{A4226747-D3DB-8048-F1E1-A773EF88A54F}"/>
                </a:ext>
              </a:extLst>
            </p:cNvPr>
            <p:cNvSpPr/>
            <p:nvPr/>
          </p:nvSpPr>
          <p:spPr>
            <a:xfrm>
              <a:off x="5066722" y="1571009"/>
              <a:ext cx="237151" cy="258725"/>
            </a:xfrm>
            <a:custGeom>
              <a:avLst/>
              <a:gdLst>
                <a:gd name="connsiteX0" fmla="*/ 152058 w 237151"/>
                <a:gd name="connsiteY0" fmla="*/ 35262 h 258725"/>
                <a:gd name="connsiteX1" fmla="*/ 114542 w 237151"/>
                <a:gd name="connsiteY1" fmla="*/ 20223 h 258725"/>
                <a:gd name="connsiteX2" fmla="*/ 25518 w 237151"/>
                <a:gd name="connsiteY2" fmla="*/ 13857 h 258725"/>
                <a:gd name="connsiteX3" fmla="*/ 11442 w 237151"/>
                <a:gd name="connsiteY3" fmla="*/ 106023 h 258725"/>
                <a:gd name="connsiteX4" fmla="*/ 49541 w 237151"/>
                <a:gd name="connsiteY4" fmla="*/ 215977 h 258725"/>
                <a:gd name="connsiteX5" fmla="*/ 75610 w 237151"/>
                <a:gd name="connsiteY5" fmla="*/ 255361 h 258725"/>
                <a:gd name="connsiteX6" fmla="*/ 88425 w 237151"/>
                <a:gd name="connsiteY6" fmla="*/ 258669 h 258725"/>
                <a:gd name="connsiteX7" fmla="*/ 98586 w 237151"/>
                <a:gd name="connsiteY7" fmla="*/ 208183 h 258725"/>
                <a:gd name="connsiteX8" fmla="*/ 118576 w 237151"/>
                <a:gd name="connsiteY8" fmla="*/ 156199 h 258725"/>
                <a:gd name="connsiteX9" fmla="*/ 138565 w 237151"/>
                <a:gd name="connsiteY9" fmla="*/ 208183 h 258725"/>
                <a:gd name="connsiteX10" fmla="*/ 148727 w 237151"/>
                <a:gd name="connsiteY10" fmla="*/ 258669 h 258725"/>
                <a:gd name="connsiteX11" fmla="*/ 161541 w 237151"/>
                <a:gd name="connsiteY11" fmla="*/ 255361 h 258725"/>
                <a:gd name="connsiteX12" fmla="*/ 187611 w 237151"/>
                <a:gd name="connsiteY12" fmla="*/ 215977 h 258725"/>
                <a:gd name="connsiteX13" fmla="*/ 225710 w 237151"/>
                <a:gd name="connsiteY13" fmla="*/ 106023 h 258725"/>
                <a:gd name="connsiteX14" fmla="*/ 211634 w 237151"/>
                <a:gd name="connsiteY14" fmla="*/ 13857 h 258725"/>
                <a:gd name="connsiteX15" fmla="*/ 141647 w 237151"/>
                <a:gd name="connsiteY15" fmla="*/ 7515 h 2587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237151" h="258725">
                  <a:moveTo>
                    <a:pt x="152058" y="35262"/>
                  </a:moveTo>
                  <a:cubicBezTo>
                    <a:pt x="128749" y="31669"/>
                    <a:pt x="114542" y="20223"/>
                    <a:pt x="114542" y="20223"/>
                  </a:cubicBezTo>
                  <a:cubicBezTo>
                    <a:pt x="87854" y="-2837"/>
                    <a:pt x="53348" y="-7810"/>
                    <a:pt x="25518" y="13857"/>
                  </a:cubicBezTo>
                  <a:cubicBezTo>
                    <a:pt x="-2301" y="35524"/>
                    <a:pt x="-7965" y="76038"/>
                    <a:pt x="11442" y="106023"/>
                  </a:cubicBezTo>
                  <a:cubicBezTo>
                    <a:pt x="11442" y="106023"/>
                    <a:pt x="45971" y="159709"/>
                    <a:pt x="49541" y="215977"/>
                  </a:cubicBezTo>
                  <a:cubicBezTo>
                    <a:pt x="49541" y="215977"/>
                    <a:pt x="49267" y="246294"/>
                    <a:pt x="75610" y="255361"/>
                  </a:cubicBezTo>
                  <a:cubicBezTo>
                    <a:pt x="75610" y="255361"/>
                    <a:pt x="83796" y="259240"/>
                    <a:pt x="88425" y="258669"/>
                  </a:cubicBezTo>
                  <a:cubicBezTo>
                    <a:pt x="97742" y="257514"/>
                    <a:pt x="99491" y="244033"/>
                    <a:pt x="98586" y="208183"/>
                  </a:cubicBezTo>
                  <a:cubicBezTo>
                    <a:pt x="98586" y="208183"/>
                    <a:pt x="96671" y="156199"/>
                    <a:pt x="118576" y="156199"/>
                  </a:cubicBezTo>
                  <a:cubicBezTo>
                    <a:pt x="140481" y="156199"/>
                    <a:pt x="138565" y="208183"/>
                    <a:pt x="138565" y="208183"/>
                  </a:cubicBezTo>
                  <a:cubicBezTo>
                    <a:pt x="137649" y="244022"/>
                    <a:pt x="139410" y="257514"/>
                    <a:pt x="148727" y="258669"/>
                  </a:cubicBezTo>
                  <a:cubicBezTo>
                    <a:pt x="153355" y="259240"/>
                    <a:pt x="161541" y="255361"/>
                    <a:pt x="161541" y="255361"/>
                  </a:cubicBezTo>
                  <a:cubicBezTo>
                    <a:pt x="187885" y="246294"/>
                    <a:pt x="187611" y="215977"/>
                    <a:pt x="187611" y="215977"/>
                  </a:cubicBezTo>
                  <a:cubicBezTo>
                    <a:pt x="191169" y="159709"/>
                    <a:pt x="225710" y="106023"/>
                    <a:pt x="225710" y="106023"/>
                  </a:cubicBezTo>
                  <a:cubicBezTo>
                    <a:pt x="245116" y="76038"/>
                    <a:pt x="239453" y="35512"/>
                    <a:pt x="211634" y="13857"/>
                  </a:cubicBezTo>
                  <a:cubicBezTo>
                    <a:pt x="190062" y="-2932"/>
                    <a:pt x="164480" y="-3729"/>
                    <a:pt x="141647" y="7515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374" name="Gráfico 6">
            <a:extLst>
              <a:ext uri="{FF2B5EF4-FFF2-40B4-BE49-F238E27FC236}">
                <a16:creationId xmlns:a16="http://schemas.microsoft.com/office/drawing/2014/main" id="{9753FC55-2AAB-0EB8-D763-ED79E31B7BD6}"/>
              </a:ext>
            </a:extLst>
          </p:cNvPr>
          <p:cNvGrpSpPr/>
          <p:nvPr/>
        </p:nvGrpSpPr>
        <p:grpSpPr>
          <a:xfrm>
            <a:off x="5686372" y="1571009"/>
            <a:ext cx="237151" cy="258725"/>
            <a:chOff x="5686372" y="1571009"/>
            <a:chExt cx="237151" cy="258725"/>
          </a:xfrm>
        </p:grpSpPr>
        <p:grpSp>
          <p:nvGrpSpPr>
            <p:cNvPr id="375" name="Gráfico 6">
              <a:extLst>
                <a:ext uri="{FF2B5EF4-FFF2-40B4-BE49-F238E27FC236}">
                  <a16:creationId xmlns:a16="http://schemas.microsoft.com/office/drawing/2014/main" id="{F0CA233E-7A97-6BB2-5A34-435BEDADE172}"/>
                </a:ext>
              </a:extLst>
            </p:cNvPr>
            <p:cNvGrpSpPr/>
            <p:nvPr/>
          </p:nvGrpSpPr>
          <p:grpSpPr>
            <a:xfrm>
              <a:off x="5744706" y="1631425"/>
              <a:ext cx="120507" cy="7139"/>
              <a:chOff x="5744706" y="1631425"/>
              <a:chExt cx="120507" cy="7139"/>
            </a:xfrm>
            <a:solidFill>
              <a:srgbClr val="394553"/>
            </a:solidFill>
          </p:grpSpPr>
          <p:sp>
            <p:nvSpPr>
              <p:cNvPr id="376" name="Forma livre: Forma 375">
                <a:extLst>
                  <a:ext uri="{FF2B5EF4-FFF2-40B4-BE49-F238E27FC236}">
                    <a16:creationId xmlns:a16="http://schemas.microsoft.com/office/drawing/2014/main" id="{894D5893-91B6-43C9-93B4-DBDD1F6FC69F}"/>
                  </a:ext>
                </a:extLst>
              </p:cNvPr>
              <p:cNvSpPr/>
              <p:nvPr/>
            </p:nvSpPr>
            <p:spPr>
              <a:xfrm>
                <a:off x="5744706" y="1631425"/>
                <a:ext cx="7139" cy="7139"/>
              </a:xfrm>
              <a:custGeom>
                <a:avLst/>
                <a:gdLst>
                  <a:gd name="connsiteX0" fmla="*/ 0 w 7139"/>
                  <a:gd name="connsiteY0" fmla="*/ 3570 h 7139"/>
                  <a:gd name="connsiteX1" fmla="*/ 3546 w 7139"/>
                  <a:gd name="connsiteY1" fmla="*/ 7139 h 7139"/>
                  <a:gd name="connsiteX2" fmla="*/ 7139 w 7139"/>
                  <a:gd name="connsiteY2" fmla="*/ 3570 h 7139"/>
                  <a:gd name="connsiteX3" fmla="*/ 3546 w 7139"/>
                  <a:gd name="connsiteY3" fmla="*/ 0 h 7139"/>
                  <a:gd name="connsiteX4" fmla="*/ 0 w 7139"/>
                  <a:gd name="connsiteY4" fmla="*/ 3570 h 71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139" h="7139">
                    <a:moveTo>
                      <a:pt x="0" y="3570"/>
                    </a:moveTo>
                    <a:cubicBezTo>
                      <a:pt x="0" y="5545"/>
                      <a:pt x="1594" y="7139"/>
                      <a:pt x="3546" y="7139"/>
                    </a:cubicBezTo>
                    <a:cubicBezTo>
                      <a:pt x="5497" y="7139"/>
                      <a:pt x="7139" y="5545"/>
                      <a:pt x="7139" y="3570"/>
                    </a:cubicBezTo>
                    <a:cubicBezTo>
                      <a:pt x="7139" y="1594"/>
                      <a:pt x="5521" y="0"/>
                      <a:pt x="3546" y="0"/>
                    </a:cubicBezTo>
                    <a:cubicBezTo>
                      <a:pt x="1571" y="0"/>
                      <a:pt x="0" y="1594"/>
                      <a:pt x="0" y="3570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77" name="Forma livre: Forma 376">
                <a:extLst>
                  <a:ext uri="{FF2B5EF4-FFF2-40B4-BE49-F238E27FC236}">
                    <a16:creationId xmlns:a16="http://schemas.microsoft.com/office/drawing/2014/main" id="{49AD05EB-D353-9B69-8E9A-EE7133768327}"/>
                  </a:ext>
                </a:extLst>
              </p:cNvPr>
              <p:cNvSpPr/>
              <p:nvPr/>
            </p:nvSpPr>
            <p:spPr>
              <a:xfrm>
                <a:off x="5858075" y="1631425"/>
                <a:ext cx="7139" cy="7139"/>
              </a:xfrm>
              <a:custGeom>
                <a:avLst/>
                <a:gdLst>
                  <a:gd name="connsiteX0" fmla="*/ 0 w 7139"/>
                  <a:gd name="connsiteY0" fmla="*/ 3570 h 7139"/>
                  <a:gd name="connsiteX1" fmla="*/ 3546 w 7139"/>
                  <a:gd name="connsiteY1" fmla="*/ 7139 h 7139"/>
                  <a:gd name="connsiteX2" fmla="*/ 7139 w 7139"/>
                  <a:gd name="connsiteY2" fmla="*/ 3570 h 7139"/>
                  <a:gd name="connsiteX3" fmla="*/ 3546 w 7139"/>
                  <a:gd name="connsiteY3" fmla="*/ 0 h 7139"/>
                  <a:gd name="connsiteX4" fmla="*/ 0 w 7139"/>
                  <a:gd name="connsiteY4" fmla="*/ 3570 h 71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139" h="7139">
                    <a:moveTo>
                      <a:pt x="0" y="3570"/>
                    </a:moveTo>
                    <a:cubicBezTo>
                      <a:pt x="0" y="5545"/>
                      <a:pt x="1595" y="7139"/>
                      <a:pt x="3546" y="7139"/>
                    </a:cubicBezTo>
                    <a:cubicBezTo>
                      <a:pt x="5497" y="7139"/>
                      <a:pt x="7139" y="5545"/>
                      <a:pt x="7139" y="3570"/>
                    </a:cubicBezTo>
                    <a:cubicBezTo>
                      <a:pt x="7139" y="1594"/>
                      <a:pt x="5521" y="0"/>
                      <a:pt x="3546" y="0"/>
                    </a:cubicBezTo>
                    <a:cubicBezTo>
                      <a:pt x="1571" y="0"/>
                      <a:pt x="0" y="1594"/>
                      <a:pt x="0" y="3570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378" name="Forma livre: Forma 377">
              <a:extLst>
                <a:ext uri="{FF2B5EF4-FFF2-40B4-BE49-F238E27FC236}">
                  <a16:creationId xmlns:a16="http://schemas.microsoft.com/office/drawing/2014/main" id="{5510E2C0-6D61-4AFD-3D5E-4598F9DD068B}"/>
                </a:ext>
              </a:extLst>
            </p:cNvPr>
            <p:cNvSpPr/>
            <p:nvPr/>
          </p:nvSpPr>
          <p:spPr>
            <a:xfrm>
              <a:off x="5770704" y="1673689"/>
              <a:ext cx="68475" cy="16931"/>
            </a:xfrm>
            <a:custGeom>
              <a:avLst/>
              <a:gdLst>
                <a:gd name="connsiteX0" fmla="*/ 68476 w 68475"/>
                <a:gd name="connsiteY0" fmla="*/ 16932 h 16931"/>
                <a:gd name="connsiteX1" fmla="*/ 34232 w 68475"/>
                <a:gd name="connsiteY1" fmla="*/ 0 h 16931"/>
                <a:gd name="connsiteX2" fmla="*/ 0 w 68475"/>
                <a:gd name="connsiteY2" fmla="*/ 16932 h 169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8475" h="16931">
                  <a:moveTo>
                    <a:pt x="68476" y="16932"/>
                  </a:moveTo>
                  <a:cubicBezTo>
                    <a:pt x="61313" y="6770"/>
                    <a:pt x="48677" y="0"/>
                    <a:pt x="34232" y="0"/>
                  </a:cubicBezTo>
                  <a:cubicBezTo>
                    <a:pt x="19787" y="0"/>
                    <a:pt x="7151" y="6782"/>
                    <a:pt x="0" y="16932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79" name="Forma livre: Forma 378">
              <a:extLst>
                <a:ext uri="{FF2B5EF4-FFF2-40B4-BE49-F238E27FC236}">
                  <a16:creationId xmlns:a16="http://schemas.microsoft.com/office/drawing/2014/main" id="{EFD81ABC-5599-1772-EC7A-78115D60DBB8}"/>
                </a:ext>
              </a:extLst>
            </p:cNvPr>
            <p:cNvSpPr/>
            <p:nvPr/>
          </p:nvSpPr>
          <p:spPr>
            <a:xfrm>
              <a:off x="5686372" y="1571009"/>
              <a:ext cx="237151" cy="258725"/>
            </a:xfrm>
            <a:custGeom>
              <a:avLst/>
              <a:gdLst>
                <a:gd name="connsiteX0" fmla="*/ 152058 w 237151"/>
                <a:gd name="connsiteY0" fmla="*/ 35262 h 258725"/>
                <a:gd name="connsiteX1" fmla="*/ 114542 w 237151"/>
                <a:gd name="connsiteY1" fmla="*/ 20223 h 258725"/>
                <a:gd name="connsiteX2" fmla="*/ 25518 w 237151"/>
                <a:gd name="connsiteY2" fmla="*/ 13857 h 258725"/>
                <a:gd name="connsiteX3" fmla="*/ 11442 w 237151"/>
                <a:gd name="connsiteY3" fmla="*/ 106023 h 258725"/>
                <a:gd name="connsiteX4" fmla="*/ 49541 w 237151"/>
                <a:gd name="connsiteY4" fmla="*/ 215977 h 258725"/>
                <a:gd name="connsiteX5" fmla="*/ 75610 w 237151"/>
                <a:gd name="connsiteY5" fmla="*/ 255361 h 258725"/>
                <a:gd name="connsiteX6" fmla="*/ 88425 w 237151"/>
                <a:gd name="connsiteY6" fmla="*/ 258669 h 258725"/>
                <a:gd name="connsiteX7" fmla="*/ 98586 w 237151"/>
                <a:gd name="connsiteY7" fmla="*/ 208183 h 258725"/>
                <a:gd name="connsiteX8" fmla="*/ 118576 w 237151"/>
                <a:gd name="connsiteY8" fmla="*/ 156199 h 258725"/>
                <a:gd name="connsiteX9" fmla="*/ 138565 w 237151"/>
                <a:gd name="connsiteY9" fmla="*/ 208183 h 258725"/>
                <a:gd name="connsiteX10" fmla="*/ 148727 w 237151"/>
                <a:gd name="connsiteY10" fmla="*/ 258669 h 258725"/>
                <a:gd name="connsiteX11" fmla="*/ 161541 w 237151"/>
                <a:gd name="connsiteY11" fmla="*/ 255361 h 258725"/>
                <a:gd name="connsiteX12" fmla="*/ 187611 w 237151"/>
                <a:gd name="connsiteY12" fmla="*/ 215977 h 258725"/>
                <a:gd name="connsiteX13" fmla="*/ 225710 w 237151"/>
                <a:gd name="connsiteY13" fmla="*/ 106023 h 258725"/>
                <a:gd name="connsiteX14" fmla="*/ 211634 w 237151"/>
                <a:gd name="connsiteY14" fmla="*/ 13857 h 258725"/>
                <a:gd name="connsiteX15" fmla="*/ 141635 w 237151"/>
                <a:gd name="connsiteY15" fmla="*/ 7515 h 2587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237151" h="258725">
                  <a:moveTo>
                    <a:pt x="152058" y="35262"/>
                  </a:moveTo>
                  <a:cubicBezTo>
                    <a:pt x="128749" y="31669"/>
                    <a:pt x="114542" y="20223"/>
                    <a:pt x="114542" y="20223"/>
                  </a:cubicBezTo>
                  <a:cubicBezTo>
                    <a:pt x="87854" y="-2837"/>
                    <a:pt x="53348" y="-7810"/>
                    <a:pt x="25518" y="13857"/>
                  </a:cubicBezTo>
                  <a:cubicBezTo>
                    <a:pt x="-2301" y="35524"/>
                    <a:pt x="-7965" y="76038"/>
                    <a:pt x="11442" y="106023"/>
                  </a:cubicBezTo>
                  <a:cubicBezTo>
                    <a:pt x="11442" y="106023"/>
                    <a:pt x="45971" y="159709"/>
                    <a:pt x="49541" y="215977"/>
                  </a:cubicBezTo>
                  <a:cubicBezTo>
                    <a:pt x="49541" y="215977"/>
                    <a:pt x="49267" y="246294"/>
                    <a:pt x="75610" y="255361"/>
                  </a:cubicBezTo>
                  <a:cubicBezTo>
                    <a:pt x="75610" y="255361"/>
                    <a:pt x="83796" y="259240"/>
                    <a:pt x="88425" y="258669"/>
                  </a:cubicBezTo>
                  <a:cubicBezTo>
                    <a:pt x="97742" y="257514"/>
                    <a:pt x="99491" y="244033"/>
                    <a:pt x="98586" y="208183"/>
                  </a:cubicBezTo>
                  <a:cubicBezTo>
                    <a:pt x="98586" y="208183"/>
                    <a:pt x="96671" y="156199"/>
                    <a:pt x="118576" y="156199"/>
                  </a:cubicBezTo>
                  <a:cubicBezTo>
                    <a:pt x="140481" y="156199"/>
                    <a:pt x="138565" y="208183"/>
                    <a:pt x="138565" y="208183"/>
                  </a:cubicBezTo>
                  <a:cubicBezTo>
                    <a:pt x="137649" y="244022"/>
                    <a:pt x="139398" y="257514"/>
                    <a:pt x="148727" y="258669"/>
                  </a:cubicBezTo>
                  <a:cubicBezTo>
                    <a:pt x="153343" y="259240"/>
                    <a:pt x="161541" y="255361"/>
                    <a:pt x="161541" y="255361"/>
                  </a:cubicBezTo>
                  <a:cubicBezTo>
                    <a:pt x="187873" y="246294"/>
                    <a:pt x="187611" y="215977"/>
                    <a:pt x="187611" y="215977"/>
                  </a:cubicBezTo>
                  <a:cubicBezTo>
                    <a:pt x="191169" y="159709"/>
                    <a:pt x="225710" y="106023"/>
                    <a:pt x="225710" y="106023"/>
                  </a:cubicBezTo>
                  <a:cubicBezTo>
                    <a:pt x="245116" y="76038"/>
                    <a:pt x="239453" y="35512"/>
                    <a:pt x="211634" y="13857"/>
                  </a:cubicBezTo>
                  <a:cubicBezTo>
                    <a:pt x="190062" y="-2932"/>
                    <a:pt x="164480" y="-3729"/>
                    <a:pt x="141635" y="7515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380" name="Gráfico 6">
            <a:extLst>
              <a:ext uri="{FF2B5EF4-FFF2-40B4-BE49-F238E27FC236}">
                <a16:creationId xmlns:a16="http://schemas.microsoft.com/office/drawing/2014/main" id="{86C52A7F-675E-22B3-1F3D-65560BE8D3E7}"/>
              </a:ext>
            </a:extLst>
          </p:cNvPr>
          <p:cNvGrpSpPr/>
          <p:nvPr/>
        </p:nvGrpSpPr>
        <p:grpSpPr>
          <a:xfrm>
            <a:off x="4392192" y="2114373"/>
            <a:ext cx="346912" cy="222014"/>
            <a:chOff x="4392192" y="2114373"/>
            <a:chExt cx="346912" cy="222014"/>
          </a:xfrm>
          <a:noFill/>
        </p:grpSpPr>
        <p:grpSp>
          <p:nvGrpSpPr>
            <p:cNvPr id="381" name="Gráfico 6">
              <a:extLst>
                <a:ext uri="{FF2B5EF4-FFF2-40B4-BE49-F238E27FC236}">
                  <a16:creationId xmlns:a16="http://schemas.microsoft.com/office/drawing/2014/main" id="{8FA848C3-D319-83D4-32C8-D65E8079F9CE}"/>
                </a:ext>
              </a:extLst>
            </p:cNvPr>
            <p:cNvGrpSpPr/>
            <p:nvPr/>
          </p:nvGrpSpPr>
          <p:grpSpPr>
            <a:xfrm>
              <a:off x="4392192" y="2114373"/>
              <a:ext cx="346912" cy="222014"/>
              <a:chOff x="4392192" y="2114373"/>
              <a:chExt cx="346912" cy="222014"/>
            </a:xfrm>
            <a:noFill/>
          </p:grpSpPr>
          <p:sp>
            <p:nvSpPr>
              <p:cNvPr id="382" name="Forma livre: Forma 381">
                <a:extLst>
                  <a:ext uri="{FF2B5EF4-FFF2-40B4-BE49-F238E27FC236}">
                    <a16:creationId xmlns:a16="http://schemas.microsoft.com/office/drawing/2014/main" id="{CFABA626-7BE6-68FD-AE08-AB7FCD31B969}"/>
                  </a:ext>
                </a:extLst>
              </p:cNvPr>
              <p:cNvSpPr/>
              <p:nvPr/>
            </p:nvSpPr>
            <p:spPr>
              <a:xfrm>
                <a:off x="4424960" y="2114373"/>
                <a:ext cx="281363" cy="172218"/>
              </a:xfrm>
              <a:custGeom>
                <a:avLst/>
                <a:gdLst>
                  <a:gd name="connsiteX0" fmla="*/ 0 w 281363"/>
                  <a:gd name="connsiteY0" fmla="*/ 172219 h 172218"/>
                  <a:gd name="connsiteX1" fmla="*/ 0 w 281363"/>
                  <a:gd name="connsiteY1" fmla="*/ 20537 h 172218"/>
                  <a:gd name="connsiteX2" fmla="*/ 20525 w 281363"/>
                  <a:gd name="connsiteY2" fmla="*/ 0 h 172218"/>
                  <a:gd name="connsiteX3" fmla="*/ 260815 w 281363"/>
                  <a:gd name="connsiteY3" fmla="*/ 0 h 172218"/>
                  <a:gd name="connsiteX4" fmla="*/ 281364 w 281363"/>
                  <a:gd name="connsiteY4" fmla="*/ 20537 h 172218"/>
                  <a:gd name="connsiteX5" fmla="*/ 281364 w 281363"/>
                  <a:gd name="connsiteY5" fmla="*/ 172219 h 1722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81363" h="172218">
                    <a:moveTo>
                      <a:pt x="0" y="172219"/>
                    </a:moveTo>
                    <a:lnTo>
                      <a:pt x="0" y="20537"/>
                    </a:lnTo>
                    <a:cubicBezTo>
                      <a:pt x="0" y="9245"/>
                      <a:pt x="9245" y="0"/>
                      <a:pt x="20525" y="0"/>
                    </a:cubicBezTo>
                    <a:lnTo>
                      <a:pt x="260815" y="0"/>
                    </a:lnTo>
                    <a:cubicBezTo>
                      <a:pt x="272119" y="0"/>
                      <a:pt x="281364" y="9245"/>
                      <a:pt x="281364" y="20537"/>
                    </a:cubicBezTo>
                    <a:lnTo>
                      <a:pt x="281364" y="172219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83" name="Forma livre: Forma 382">
                <a:extLst>
                  <a:ext uri="{FF2B5EF4-FFF2-40B4-BE49-F238E27FC236}">
                    <a16:creationId xmlns:a16="http://schemas.microsoft.com/office/drawing/2014/main" id="{9B4113A2-0A27-59AE-132A-D4ED204EEEEF}"/>
                  </a:ext>
                </a:extLst>
              </p:cNvPr>
              <p:cNvSpPr/>
              <p:nvPr/>
            </p:nvSpPr>
            <p:spPr>
              <a:xfrm>
                <a:off x="4392192" y="2309211"/>
                <a:ext cx="346912" cy="27176"/>
              </a:xfrm>
              <a:custGeom>
                <a:avLst/>
                <a:gdLst>
                  <a:gd name="connsiteX0" fmla="*/ 0 w 346912"/>
                  <a:gd name="connsiteY0" fmla="*/ 0 h 27176"/>
                  <a:gd name="connsiteX1" fmla="*/ 25855 w 346912"/>
                  <a:gd name="connsiteY1" fmla="*/ 27176 h 27176"/>
                  <a:gd name="connsiteX2" fmla="*/ 321045 w 346912"/>
                  <a:gd name="connsiteY2" fmla="*/ 27176 h 27176"/>
                  <a:gd name="connsiteX3" fmla="*/ 346913 w 346912"/>
                  <a:gd name="connsiteY3" fmla="*/ 0 h 27176"/>
                  <a:gd name="connsiteX4" fmla="*/ 0 w 346912"/>
                  <a:gd name="connsiteY4" fmla="*/ 0 h 271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46912" h="27176">
                    <a:moveTo>
                      <a:pt x="0" y="0"/>
                    </a:moveTo>
                    <a:cubicBezTo>
                      <a:pt x="0" y="0"/>
                      <a:pt x="5985" y="27176"/>
                      <a:pt x="25855" y="27176"/>
                    </a:cubicBezTo>
                    <a:lnTo>
                      <a:pt x="321045" y="27176"/>
                    </a:lnTo>
                    <a:cubicBezTo>
                      <a:pt x="340928" y="27176"/>
                      <a:pt x="346913" y="0"/>
                      <a:pt x="346913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384" name="Forma livre: Forma 383">
              <a:extLst>
                <a:ext uri="{FF2B5EF4-FFF2-40B4-BE49-F238E27FC236}">
                  <a16:creationId xmlns:a16="http://schemas.microsoft.com/office/drawing/2014/main" id="{C4404D50-EC05-0701-8523-C6889419918D}"/>
                </a:ext>
              </a:extLst>
            </p:cNvPr>
            <p:cNvSpPr/>
            <p:nvPr/>
          </p:nvSpPr>
          <p:spPr>
            <a:xfrm>
              <a:off x="4503848" y="2143731"/>
              <a:ext cx="123593" cy="134835"/>
            </a:xfrm>
            <a:custGeom>
              <a:avLst/>
              <a:gdLst>
                <a:gd name="connsiteX0" fmla="*/ 77089 w 123593"/>
                <a:gd name="connsiteY0" fmla="*/ 20652 h 134835"/>
                <a:gd name="connsiteX1" fmla="*/ 56683 w 123593"/>
                <a:gd name="connsiteY1" fmla="*/ 11478 h 134835"/>
                <a:gd name="connsiteX2" fmla="*/ 13302 w 123593"/>
                <a:gd name="connsiteY2" fmla="*/ 7218 h 134835"/>
                <a:gd name="connsiteX3" fmla="*/ 5972 w 123593"/>
                <a:gd name="connsiteY3" fmla="*/ 55253 h 134835"/>
                <a:gd name="connsiteX4" fmla="*/ 23368 w 123593"/>
                <a:gd name="connsiteY4" fmla="*/ 112556 h 134835"/>
                <a:gd name="connsiteX5" fmla="*/ 36944 w 123593"/>
                <a:gd name="connsiteY5" fmla="*/ 133081 h 134835"/>
                <a:gd name="connsiteX6" fmla="*/ 43619 w 123593"/>
                <a:gd name="connsiteY6" fmla="*/ 134806 h 134835"/>
                <a:gd name="connsiteX7" fmla="*/ 48926 w 123593"/>
                <a:gd name="connsiteY7" fmla="*/ 108498 h 134835"/>
                <a:gd name="connsiteX8" fmla="*/ 61800 w 123593"/>
                <a:gd name="connsiteY8" fmla="*/ 81405 h 134835"/>
                <a:gd name="connsiteX9" fmla="*/ 74674 w 123593"/>
                <a:gd name="connsiteY9" fmla="*/ 108498 h 134835"/>
                <a:gd name="connsiteX10" fmla="*/ 79969 w 123593"/>
                <a:gd name="connsiteY10" fmla="*/ 134806 h 134835"/>
                <a:gd name="connsiteX11" fmla="*/ 86644 w 123593"/>
                <a:gd name="connsiteY11" fmla="*/ 133081 h 134835"/>
                <a:gd name="connsiteX12" fmla="*/ 100244 w 123593"/>
                <a:gd name="connsiteY12" fmla="*/ 112556 h 134835"/>
                <a:gd name="connsiteX13" fmla="*/ 117639 w 123593"/>
                <a:gd name="connsiteY13" fmla="*/ 55253 h 134835"/>
                <a:gd name="connsiteX14" fmla="*/ 110298 w 123593"/>
                <a:gd name="connsiteY14" fmla="*/ 7218 h 134835"/>
                <a:gd name="connsiteX15" fmla="*/ 78398 w 123593"/>
                <a:gd name="connsiteY15" fmla="*/ 1995 h 1348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3593" h="134835">
                  <a:moveTo>
                    <a:pt x="77089" y="20652"/>
                  </a:moveTo>
                  <a:cubicBezTo>
                    <a:pt x="66916" y="20652"/>
                    <a:pt x="56683" y="11478"/>
                    <a:pt x="56683" y="11478"/>
                  </a:cubicBezTo>
                  <a:cubicBezTo>
                    <a:pt x="42774" y="-551"/>
                    <a:pt x="27794" y="-4073"/>
                    <a:pt x="13302" y="7218"/>
                  </a:cubicBezTo>
                  <a:cubicBezTo>
                    <a:pt x="-1203" y="18498"/>
                    <a:pt x="-4154" y="39618"/>
                    <a:pt x="5972" y="55253"/>
                  </a:cubicBezTo>
                  <a:cubicBezTo>
                    <a:pt x="5972" y="55253"/>
                    <a:pt x="21511" y="83238"/>
                    <a:pt x="23368" y="112556"/>
                  </a:cubicBezTo>
                  <a:cubicBezTo>
                    <a:pt x="23368" y="112556"/>
                    <a:pt x="23225" y="128357"/>
                    <a:pt x="36944" y="133081"/>
                  </a:cubicBezTo>
                  <a:cubicBezTo>
                    <a:pt x="36944" y="133081"/>
                    <a:pt x="41215" y="135103"/>
                    <a:pt x="43619" y="134806"/>
                  </a:cubicBezTo>
                  <a:cubicBezTo>
                    <a:pt x="48485" y="134211"/>
                    <a:pt x="49402" y="127179"/>
                    <a:pt x="48926" y="108498"/>
                  </a:cubicBezTo>
                  <a:cubicBezTo>
                    <a:pt x="48926" y="108498"/>
                    <a:pt x="49116" y="81405"/>
                    <a:pt x="61800" y="81405"/>
                  </a:cubicBezTo>
                  <a:cubicBezTo>
                    <a:pt x="74484" y="81405"/>
                    <a:pt x="74674" y="108498"/>
                    <a:pt x="74674" y="108498"/>
                  </a:cubicBezTo>
                  <a:cubicBezTo>
                    <a:pt x="74210" y="127179"/>
                    <a:pt x="75126" y="134211"/>
                    <a:pt x="79969" y="134806"/>
                  </a:cubicBezTo>
                  <a:cubicBezTo>
                    <a:pt x="82372" y="135103"/>
                    <a:pt x="86644" y="133081"/>
                    <a:pt x="86644" y="133081"/>
                  </a:cubicBezTo>
                  <a:cubicBezTo>
                    <a:pt x="100375" y="128357"/>
                    <a:pt x="100244" y="112556"/>
                    <a:pt x="100244" y="112556"/>
                  </a:cubicBezTo>
                  <a:cubicBezTo>
                    <a:pt x="102088" y="83238"/>
                    <a:pt x="117639" y="55253"/>
                    <a:pt x="117639" y="55253"/>
                  </a:cubicBezTo>
                  <a:cubicBezTo>
                    <a:pt x="127741" y="39630"/>
                    <a:pt x="124790" y="18510"/>
                    <a:pt x="110298" y="7218"/>
                  </a:cubicBezTo>
                  <a:cubicBezTo>
                    <a:pt x="100470" y="-421"/>
                    <a:pt x="89059" y="-1706"/>
                    <a:pt x="78398" y="1995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385" name="Gráfico 6">
            <a:extLst>
              <a:ext uri="{FF2B5EF4-FFF2-40B4-BE49-F238E27FC236}">
                <a16:creationId xmlns:a16="http://schemas.microsoft.com/office/drawing/2014/main" id="{80C55351-374A-B98E-1F1D-925A7A8738B7}"/>
              </a:ext>
            </a:extLst>
          </p:cNvPr>
          <p:cNvGrpSpPr/>
          <p:nvPr/>
        </p:nvGrpSpPr>
        <p:grpSpPr>
          <a:xfrm>
            <a:off x="5073762" y="2080843"/>
            <a:ext cx="223049" cy="289062"/>
            <a:chOff x="5073762" y="2080843"/>
            <a:chExt cx="223049" cy="289062"/>
          </a:xfrm>
          <a:noFill/>
        </p:grpSpPr>
        <p:sp>
          <p:nvSpPr>
            <p:cNvPr id="386" name="Forma livre: Forma 385">
              <a:extLst>
                <a:ext uri="{FF2B5EF4-FFF2-40B4-BE49-F238E27FC236}">
                  <a16:creationId xmlns:a16="http://schemas.microsoft.com/office/drawing/2014/main" id="{9298175C-DE91-E16D-8CE1-F1EC5000F3E1}"/>
                </a:ext>
              </a:extLst>
            </p:cNvPr>
            <p:cNvSpPr/>
            <p:nvPr/>
          </p:nvSpPr>
          <p:spPr>
            <a:xfrm>
              <a:off x="5073762" y="2080843"/>
              <a:ext cx="160058" cy="289062"/>
            </a:xfrm>
            <a:custGeom>
              <a:avLst/>
              <a:gdLst>
                <a:gd name="connsiteX0" fmla="*/ 160059 w 160058"/>
                <a:gd name="connsiteY0" fmla="*/ 202608 h 289062"/>
                <a:gd name="connsiteX1" fmla="*/ 160059 w 160058"/>
                <a:gd name="connsiteY1" fmla="*/ 275962 h 289062"/>
                <a:gd name="connsiteX2" fmla="*/ 146958 w 160058"/>
                <a:gd name="connsiteY2" fmla="*/ 289062 h 289062"/>
                <a:gd name="connsiteX3" fmla="*/ 13100 w 160058"/>
                <a:gd name="connsiteY3" fmla="*/ 289062 h 289062"/>
                <a:gd name="connsiteX4" fmla="*/ 0 w 160058"/>
                <a:gd name="connsiteY4" fmla="*/ 275962 h 289062"/>
                <a:gd name="connsiteX5" fmla="*/ 0 w 160058"/>
                <a:gd name="connsiteY5" fmla="*/ 13100 h 289062"/>
                <a:gd name="connsiteX6" fmla="*/ 13100 w 160058"/>
                <a:gd name="connsiteY6" fmla="*/ 0 h 289062"/>
                <a:gd name="connsiteX7" fmla="*/ 146958 w 160058"/>
                <a:gd name="connsiteY7" fmla="*/ 0 h 289062"/>
                <a:gd name="connsiteX8" fmla="*/ 160059 w 160058"/>
                <a:gd name="connsiteY8" fmla="*/ 13100 h 289062"/>
                <a:gd name="connsiteX9" fmla="*/ 160059 w 160058"/>
                <a:gd name="connsiteY9" fmla="*/ 33566 h 2890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60058" h="289062">
                  <a:moveTo>
                    <a:pt x="160059" y="202608"/>
                  </a:moveTo>
                  <a:lnTo>
                    <a:pt x="160059" y="275962"/>
                  </a:lnTo>
                  <a:cubicBezTo>
                    <a:pt x="160059" y="283172"/>
                    <a:pt x="154169" y="289062"/>
                    <a:pt x="146958" y="289062"/>
                  </a:cubicBezTo>
                  <a:lnTo>
                    <a:pt x="13100" y="289062"/>
                  </a:lnTo>
                  <a:cubicBezTo>
                    <a:pt x="5890" y="289062"/>
                    <a:pt x="0" y="283172"/>
                    <a:pt x="0" y="275962"/>
                  </a:cubicBezTo>
                  <a:lnTo>
                    <a:pt x="0" y="13100"/>
                  </a:lnTo>
                  <a:cubicBezTo>
                    <a:pt x="0" y="5902"/>
                    <a:pt x="5890" y="0"/>
                    <a:pt x="13100" y="0"/>
                  </a:cubicBezTo>
                  <a:lnTo>
                    <a:pt x="146958" y="0"/>
                  </a:lnTo>
                  <a:cubicBezTo>
                    <a:pt x="154157" y="0"/>
                    <a:pt x="160059" y="5890"/>
                    <a:pt x="160059" y="13100"/>
                  </a:cubicBezTo>
                  <a:lnTo>
                    <a:pt x="160059" y="33566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87" name="Forma livre: Forma 386">
              <a:extLst>
                <a:ext uri="{FF2B5EF4-FFF2-40B4-BE49-F238E27FC236}">
                  <a16:creationId xmlns:a16="http://schemas.microsoft.com/office/drawing/2014/main" id="{79ED50C1-107C-206D-C3E9-7CB370D23AE4}"/>
                </a:ext>
              </a:extLst>
            </p:cNvPr>
            <p:cNvSpPr/>
            <p:nvPr/>
          </p:nvSpPr>
          <p:spPr>
            <a:xfrm>
              <a:off x="5142916" y="2340945"/>
              <a:ext cx="21762" cy="1189"/>
            </a:xfrm>
            <a:custGeom>
              <a:avLst/>
              <a:gdLst>
                <a:gd name="connsiteX0" fmla="*/ 0 w 21762"/>
                <a:gd name="connsiteY0" fmla="*/ 0 h 1189"/>
                <a:gd name="connsiteX1" fmla="*/ 21762 w 21762"/>
                <a:gd name="connsiteY1" fmla="*/ 0 h 11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1762" h="1189">
                  <a:moveTo>
                    <a:pt x="0" y="0"/>
                  </a:moveTo>
                  <a:lnTo>
                    <a:pt x="21762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88" name="Forma livre: Forma 387">
              <a:extLst>
                <a:ext uri="{FF2B5EF4-FFF2-40B4-BE49-F238E27FC236}">
                  <a16:creationId xmlns:a16="http://schemas.microsoft.com/office/drawing/2014/main" id="{69423B85-F659-44EC-8815-DF8BA33AF919}"/>
                </a:ext>
              </a:extLst>
            </p:cNvPr>
            <p:cNvSpPr/>
            <p:nvPr/>
          </p:nvSpPr>
          <p:spPr>
            <a:xfrm>
              <a:off x="5095381" y="2313197"/>
              <a:ext cx="116819" cy="1189"/>
            </a:xfrm>
            <a:custGeom>
              <a:avLst/>
              <a:gdLst>
                <a:gd name="connsiteX0" fmla="*/ 0 w 116819"/>
                <a:gd name="connsiteY0" fmla="*/ 0 h 1189"/>
                <a:gd name="connsiteX1" fmla="*/ 116819 w 116819"/>
                <a:gd name="connsiteY1" fmla="*/ 0 h 11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6819" h="1189">
                  <a:moveTo>
                    <a:pt x="0" y="0"/>
                  </a:moveTo>
                  <a:lnTo>
                    <a:pt x="116819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89" name="Forma livre: Forma 388">
              <a:extLst>
                <a:ext uri="{FF2B5EF4-FFF2-40B4-BE49-F238E27FC236}">
                  <a16:creationId xmlns:a16="http://schemas.microsoft.com/office/drawing/2014/main" id="{DBEF027A-3064-C800-336A-63E63382F425}"/>
                </a:ext>
              </a:extLst>
            </p:cNvPr>
            <p:cNvSpPr/>
            <p:nvPr/>
          </p:nvSpPr>
          <p:spPr>
            <a:xfrm>
              <a:off x="5168875" y="2130177"/>
              <a:ext cx="127935" cy="139585"/>
            </a:xfrm>
            <a:custGeom>
              <a:avLst/>
              <a:gdLst>
                <a:gd name="connsiteX0" fmla="*/ 79818 w 127935"/>
                <a:gd name="connsiteY0" fmla="*/ 21391 h 139585"/>
                <a:gd name="connsiteX1" fmla="*/ 58686 w 127935"/>
                <a:gd name="connsiteY1" fmla="*/ 11884 h 139585"/>
                <a:gd name="connsiteX2" fmla="*/ 13769 w 127935"/>
                <a:gd name="connsiteY2" fmla="*/ 7481 h 139585"/>
                <a:gd name="connsiteX3" fmla="*/ 6178 w 127935"/>
                <a:gd name="connsiteY3" fmla="*/ 57193 h 139585"/>
                <a:gd name="connsiteX4" fmla="*/ 24181 w 127935"/>
                <a:gd name="connsiteY4" fmla="*/ 116519 h 139585"/>
                <a:gd name="connsiteX5" fmla="*/ 38245 w 127935"/>
                <a:gd name="connsiteY5" fmla="*/ 137770 h 139585"/>
                <a:gd name="connsiteX6" fmla="*/ 45146 w 127935"/>
                <a:gd name="connsiteY6" fmla="*/ 139555 h 139585"/>
                <a:gd name="connsiteX7" fmla="*/ 50631 w 127935"/>
                <a:gd name="connsiteY7" fmla="*/ 112319 h 139585"/>
                <a:gd name="connsiteX8" fmla="*/ 63969 w 127935"/>
                <a:gd name="connsiteY8" fmla="*/ 84262 h 139585"/>
                <a:gd name="connsiteX9" fmla="*/ 77295 w 127935"/>
                <a:gd name="connsiteY9" fmla="*/ 112319 h 139585"/>
                <a:gd name="connsiteX10" fmla="*/ 82781 w 127935"/>
                <a:gd name="connsiteY10" fmla="*/ 139555 h 139585"/>
                <a:gd name="connsiteX11" fmla="*/ 89694 w 127935"/>
                <a:gd name="connsiteY11" fmla="*/ 137770 h 139585"/>
                <a:gd name="connsiteX12" fmla="*/ 103770 w 127935"/>
                <a:gd name="connsiteY12" fmla="*/ 116519 h 139585"/>
                <a:gd name="connsiteX13" fmla="*/ 121772 w 127935"/>
                <a:gd name="connsiteY13" fmla="*/ 57193 h 139585"/>
                <a:gd name="connsiteX14" fmla="*/ 114169 w 127935"/>
                <a:gd name="connsiteY14" fmla="*/ 7481 h 139585"/>
                <a:gd name="connsiteX15" fmla="*/ 81127 w 127935"/>
                <a:gd name="connsiteY15" fmla="*/ 2068 h 1395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7935" h="139585">
                  <a:moveTo>
                    <a:pt x="79818" y="21391"/>
                  </a:moveTo>
                  <a:cubicBezTo>
                    <a:pt x="69276" y="21391"/>
                    <a:pt x="58686" y="11884"/>
                    <a:pt x="58686" y="11884"/>
                  </a:cubicBezTo>
                  <a:cubicBezTo>
                    <a:pt x="44289" y="-562"/>
                    <a:pt x="28785" y="-4203"/>
                    <a:pt x="13769" y="7481"/>
                  </a:cubicBezTo>
                  <a:cubicBezTo>
                    <a:pt x="-1235" y="19154"/>
                    <a:pt x="-4304" y="41023"/>
                    <a:pt x="6178" y="57193"/>
                  </a:cubicBezTo>
                  <a:cubicBezTo>
                    <a:pt x="6178" y="57193"/>
                    <a:pt x="22265" y="86166"/>
                    <a:pt x="24181" y="116519"/>
                  </a:cubicBezTo>
                  <a:cubicBezTo>
                    <a:pt x="24181" y="116519"/>
                    <a:pt x="24038" y="132880"/>
                    <a:pt x="38245" y="137770"/>
                  </a:cubicBezTo>
                  <a:cubicBezTo>
                    <a:pt x="38245" y="137770"/>
                    <a:pt x="42671" y="139864"/>
                    <a:pt x="45146" y="139555"/>
                  </a:cubicBezTo>
                  <a:cubicBezTo>
                    <a:pt x="50179" y="138936"/>
                    <a:pt x="51131" y="131654"/>
                    <a:pt x="50631" y="112319"/>
                  </a:cubicBezTo>
                  <a:cubicBezTo>
                    <a:pt x="50631" y="112319"/>
                    <a:pt x="50833" y="84262"/>
                    <a:pt x="63969" y="84262"/>
                  </a:cubicBezTo>
                  <a:cubicBezTo>
                    <a:pt x="77105" y="84262"/>
                    <a:pt x="77295" y="112319"/>
                    <a:pt x="77295" y="112319"/>
                  </a:cubicBezTo>
                  <a:cubicBezTo>
                    <a:pt x="76808" y="131654"/>
                    <a:pt x="77748" y="138924"/>
                    <a:pt x="82781" y="139555"/>
                  </a:cubicBezTo>
                  <a:cubicBezTo>
                    <a:pt x="85279" y="139852"/>
                    <a:pt x="89694" y="137770"/>
                    <a:pt x="89694" y="137770"/>
                  </a:cubicBezTo>
                  <a:cubicBezTo>
                    <a:pt x="103912" y="132880"/>
                    <a:pt x="103770" y="116519"/>
                    <a:pt x="103770" y="116519"/>
                  </a:cubicBezTo>
                  <a:cubicBezTo>
                    <a:pt x="105685" y="86166"/>
                    <a:pt x="121772" y="57193"/>
                    <a:pt x="121772" y="57193"/>
                  </a:cubicBezTo>
                  <a:cubicBezTo>
                    <a:pt x="132231" y="41023"/>
                    <a:pt x="129173" y="19154"/>
                    <a:pt x="114169" y="7481"/>
                  </a:cubicBezTo>
                  <a:cubicBezTo>
                    <a:pt x="103996" y="-443"/>
                    <a:pt x="92180" y="-1764"/>
                    <a:pt x="81127" y="2068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390" name="Gráfico 6">
            <a:extLst>
              <a:ext uri="{FF2B5EF4-FFF2-40B4-BE49-F238E27FC236}">
                <a16:creationId xmlns:a16="http://schemas.microsoft.com/office/drawing/2014/main" id="{2EA437F9-CAD1-4FF3-83CA-41725318FA6A}"/>
              </a:ext>
            </a:extLst>
          </p:cNvPr>
          <p:cNvGrpSpPr/>
          <p:nvPr/>
        </p:nvGrpSpPr>
        <p:grpSpPr>
          <a:xfrm>
            <a:off x="5708763" y="2049384"/>
            <a:ext cx="192365" cy="351992"/>
            <a:chOff x="5708763" y="2049384"/>
            <a:chExt cx="192365" cy="351992"/>
          </a:xfrm>
          <a:noFill/>
        </p:grpSpPr>
        <p:sp>
          <p:nvSpPr>
            <p:cNvPr id="391" name="Forma livre: Forma 390">
              <a:extLst>
                <a:ext uri="{FF2B5EF4-FFF2-40B4-BE49-F238E27FC236}">
                  <a16:creationId xmlns:a16="http://schemas.microsoft.com/office/drawing/2014/main" id="{A7820D4E-3145-C9C2-8F0A-86297BF5B271}"/>
                </a:ext>
              </a:extLst>
            </p:cNvPr>
            <p:cNvSpPr/>
            <p:nvPr/>
          </p:nvSpPr>
          <p:spPr>
            <a:xfrm>
              <a:off x="5708763" y="2191492"/>
              <a:ext cx="192365" cy="209884"/>
            </a:xfrm>
            <a:custGeom>
              <a:avLst/>
              <a:gdLst>
                <a:gd name="connsiteX0" fmla="*/ 123349 w 192365"/>
                <a:gd name="connsiteY0" fmla="*/ 28612 h 209884"/>
                <a:gd name="connsiteX1" fmla="*/ 92913 w 192365"/>
                <a:gd name="connsiteY1" fmla="*/ 16416 h 209884"/>
                <a:gd name="connsiteX2" fmla="*/ 20701 w 192365"/>
                <a:gd name="connsiteY2" fmla="*/ 11240 h 209884"/>
                <a:gd name="connsiteX3" fmla="*/ 9290 w 192365"/>
                <a:gd name="connsiteY3" fmla="*/ 86010 h 209884"/>
                <a:gd name="connsiteX4" fmla="*/ 40191 w 192365"/>
                <a:gd name="connsiteY4" fmla="*/ 175213 h 209884"/>
                <a:gd name="connsiteX5" fmla="*/ 61334 w 192365"/>
                <a:gd name="connsiteY5" fmla="*/ 207161 h 209884"/>
                <a:gd name="connsiteX6" fmla="*/ 71734 w 192365"/>
                <a:gd name="connsiteY6" fmla="*/ 209838 h 209884"/>
                <a:gd name="connsiteX7" fmla="*/ 79968 w 192365"/>
                <a:gd name="connsiteY7" fmla="*/ 168883 h 209884"/>
                <a:gd name="connsiteX8" fmla="*/ 96185 w 192365"/>
                <a:gd name="connsiteY8" fmla="*/ 126715 h 209884"/>
                <a:gd name="connsiteX9" fmla="*/ 112403 w 192365"/>
                <a:gd name="connsiteY9" fmla="*/ 168883 h 209884"/>
                <a:gd name="connsiteX10" fmla="*/ 120636 w 192365"/>
                <a:gd name="connsiteY10" fmla="*/ 209838 h 209884"/>
                <a:gd name="connsiteX11" fmla="*/ 131036 w 192365"/>
                <a:gd name="connsiteY11" fmla="*/ 207161 h 209884"/>
                <a:gd name="connsiteX12" fmla="*/ 152179 w 192365"/>
                <a:gd name="connsiteY12" fmla="*/ 175213 h 209884"/>
                <a:gd name="connsiteX13" fmla="*/ 183080 w 192365"/>
                <a:gd name="connsiteY13" fmla="*/ 86010 h 209884"/>
                <a:gd name="connsiteX14" fmla="*/ 171669 w 192365"/>
                <a:gd name="connsiteY14" fmla="*/ 11240 h 209884"/>
                <a:gd name="connsiteX15" fmla="*/ 114890 w 192365"/>
                <a:gd name="connsiteY15" fmla="*/ 6100 h 2098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92365" h="209884">
                  <a:moveTo>
                    <a:pt x="123349" y="28612"/>
                  </a:moveTo>
                  <a:cubicBezTo>
                    <a:pt x="104455" y="25697"/>
                    <a:pt x="92913" y="16416"/>
                    <a:pt x="92913" y="16416"/>
                  </a:cubicBezTo>
                  <a:cubicBezTo>
                    <a:pt x="71270" y="-2289"/>
                    <a:pt x="43284" y="-6322"/>
                    <a:pt x="20701" y="11240"/>
                  </a:cubicBezTo>
                  <a:cubicBezTo>
                    <a:pt x="-1870" y="28814"/>
                    <a:pt x="-6463" y="61690"/>
                    <a:pt x="9290" y="86010"/>
                  </a:cubicBezTo>
                  <a:cubicBezTo>
                    <a:pt x="9290" y="86010"/>
                    <a:pt x="37300" y="129570"/>
                    <a:pt x="40191" y="175213"/>
                  </a:cubicBezTo>
                  <a:cubicBezTo>
                    <a:pt x="40191" y="175213"/>
                    <a:pt x="39977" y="199807"/>
                    <a:pt x="61334" y="207161"/>
                  </a:cubicBezTo>
                  <a:cubicBezTo>
                    <a:pt x="61334" y="207161"/>
                    <a:pt x="67986" y="210302"/>
                    <a:pt x="71734" y="209838"/>
                  </a:cubicBezTo>
                  <a:cubicBezTo>
                    <a:pt x="79289" y="208898"/>
                    <a:pt x="80717" y="197963"/>
                    <a:pt x="79968" y="168883"/>
                  </a:cubicBezTo>
                  <a:cubicBezTo>
                    <a:pt x="79968" y="168883"/>
                    <a:pt x="78421" y="126715"/>
                    <a:pt x="96185" y="126715"/>
                  </a:cubicBezTo>
                  <a:cubicBezTo>
                    <a:pt x="113950" y="126715"/>
                    <a:pt x="112403" y="168883"/>
                    <a:pt x="112403" y="168883"/>
                  </a:cubicBezTo>
                  <a:cubicBezTo>
                    <a:pt x="111665" y="197951"/>
                    <a:pt x="113081" y="208898"/>
                    <a:pt x="120636" y="209838"/>
                  </a:cubicBezTo>
                  <a:cubicBezTo>
                    <a:pt x="124396" y="210302"/>
                    <a:pt x="131036" y="207161"/>
                    <a:pt x="131036" y="207161"/>
                  </a:cubicBezTo>
                  <a:cubicBezTo>
                    <a:pt x="152394" y="199807"/>
                    <a:pt x="152179" y="175213"/>
                    <a:pt x="152179" y="175213"/>
                  </a:cubicBezTo>
                  <a:cubicBezTo>
                    <a:pt x="155071" y="129570"/>
                    <a:pt x="183080" y="86010"/>
                    <a:pt x="183080" y="86010"/>
                  </a:cubicBezTo>
                  <a:cubicBezTo>
                    <a:pt x="198822" y="61690"/>
                    <a:pt x="194241" y="28814"/>
                    <a:pt x="171669" y="11240"/>
                  </a:cubicBezTo>
                  <a:cubicBezTo>
                    <a:pt x="154167" y="-2384"/>
                    <a:pt x="133415" y="-3026"/>
                    <a:pt x="114890" y="610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392" name="Gráfico 6">
              <a:extLst>
                <a:ext uri="{FF2B5EF4-FFF2-40B4-BE49-F238E27FC236}">
                  <a16:creationId xmlns:a16="http://schemas.microsoft.com/office/drawing/2014/main" id="{B64909CD-75ED-27DE-111B-5C44E42393D6}"/>
                </a:ext>
              </a:extLst>
            </p:cNvPr>
            <p:cNvGrpSpPr/>
            <p:nvPr/>
          </p:nvGrpSpPr>
          <p:grpSpPr>
            <a:xfrm>
              <a:off x="5712604" y="2049384"/>
              <a:ext cx="184712" cy="112060"/>
              <a:chOff x="5712604" y="2049384"/>
              <a:chExt cx="184712" cy="112060"/>
            </a:xfrm>
            <a:noFill/>
          </p:grpSpPr>
          <p:sp>
            <p:nvSpPr>
              <p:cNvPr id="393" name="Forma livre: Forma 392">
                <a:extLst>
                  <a:ext uri="{FF2B5EF4-FFF2-40B4-BE49-F238E27FC236}">
                    <a16:creationId xmlns:a16="http://schemas.microsoft.com/office/drawing/2014/main" id="{1D05EB68-3325-5466-217E-3A56A8C0025A}"/>
                  </a:ext>
                </a:extLst>
              </p:cNvPr>
              <p:cNvSpPr/>
              <p:nvPr/>
            </p:nvSpPr>
            <p:spPr>
              <a:xfrm>
                <a:off x="5712604" y="2049384"/>
                <a:ext cx="184712" cy="112060"/>
              </a:xfrm>
              <a:custGeom>
                <a:avLst/>
                <a:gdLst>
                  <a:gd name="connsiteX0" fmla="*/ 9971 w 184712"/>
                  <a:gd name="connsiteY0" fmla="*/ 44596 h 112060"/>
                  <a:gd name="connsiteX1" fmla="*/ 27283 w 184712"/>
                  <a:gd name="connsiteY1" fmla="*/ 84991 h 112060"/>
                  <a:gd name="connsiteX2" fmla="*/ 27283 w 184712"/>
                  <a:gd name="connsiteY2" fmla="*/ 112060 h 112060"/>
                  <a:gd name="connsiteX3" fmla="*/ 157417 w 184712"/>
                  <a:gd name="connsiteY3" fmla="*/ 112060 h 112060"/>
                  <a:gd name="connsiteX4" fmla="*/ 157417 w 184712"/>
                  <a:gd name="connsiteY4" fmla="*/ 84991 h 112060"/>
                  <a:gd name="connsiteX5" fmla="*/ 184712 w 184712"/>
                  <a:gd name="connsiteY5" fmla="*/ 10959 h 112060"/>
                  <a:gd name="connsiteX6" fmla="*/ 131740 w 184712"/>
                  <a:gd name="connsiteY6" fmla="*/ 45214 h 112060"/>
                  <a:gd name="connsiteX7" fmla="*/ 92404 w 184712"/>
                  <a:gd name="connsiteY7" fmla="*/ 0 h 112060"/>
                  <a:gd name="connsiteX8" fmla="*/ 92297 w 184712"/>
                  <a:gd name="connsiteY8" fmla="*/ 0 h 112060"/>
                  <a:gd name="connsiteX9" fmla="*/ 52972 w 184712"/>
                  <a:gd name="connsiteY9" fmla="*/ 45214 h 112060"/>
                  <a:gd name="connsiteX10" fmla="*/ 0 w 184712"/>
                  <a:gd name="connsiteY10" fmla="*/ 10959 h 1120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184712" h="112060">
                    <a:moveTo>
                      <a:pt x="9971" y="44596"/>
                    </a:moveTo>
                    <a:lnTo>
                      <a:pt x="27283" y="84991"/>
                    </a:lnTo>
                    <a:lnTo>
                      <a:pt x="27283" y="112060"/>
                    </a:lnTo>
                    <a:lnTo>
                      <a:pt x="157417" y="112060"/>
                    </a:lnTo>
                    <a:lnTo>
                      <a:pt x="157417" y="84991"/>
                    </a:lnTo>
                    <a:lnTo>
                      <a:pt x="184712" y="10959"/>
                    </a:lnTo>
                    <a:lnTo>
                      <a:pt x="131740" y="45214"/>
                    </a:lnTo>
                    <a:lnTo>
                      <a:pt x="92404" y="0"/>
                    </a:lnTo>
                    <a:lnTo>
                      <a:pt x="92297" y="0"/>
                    </a:lnTo>
                    <a:lnTo>
                      <a:pt x="52972" y="45214"/>
                    </a:lnTo>
                    <a:lnTo>
                      <a:pt x="0" y="10959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94" name="Forma livre: Forma 393">
                <a:extLst>
                  <a:ext uri="{FF2B5EF4-FFF2-40B4-BE49-F238E27FC236}">
                    <a16:creationId xmlns:a16="http://schemas.microsoft.com/office/drawing/2014/main" id="{ACC50029-7C88-B3BC-18FB-1D7466346079}"/>
                  </a:ext>
                </a:extLst>
              </p:cNvPr>
              <p:cNvSpPr/>
              <p:nvPr/>
            </p:nvSpPr>
            <p:spPr>
              <a:xfrm>
                <a:off x="5764327" y="2135719"/>
                <a:ext cx="104611" cy="1189"/>
              </a:xfrm>
              <a:custGeom>
                <a:avLst/>
                <a:gdLst>
                  <a:gd name="connsiteX0" fmla="*/ 104612 w 104611"/>
                  <a:gd name="connsiteY0" fmla="*/ 0 h 1189"/>
                  <a:gd name="connsiteX1" fmla="*/ 0 w 104611"/>
                  <a:gd name="connsiteY1" fmla="*/ 0 h 11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04611" h="1189">
                    <a:moveTo>
                      <a:pt x="104612" y="0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395" name="Gráfico 6">
            <a:extLst>
              <a:ext uri="{FF2B5EF4-FFF2-40B4-BE49-F238E27FC236}">
                <a16:creationId xmlns:a16="http://schemas.microsoft.com/office/drawing/2014/main" id="{0B9D83B9-3597-2C20-39C4-BDF66A334C11}"/>
              </a:ext>
            </a:extLst>
          </p:cNvPr>
          <p:cNvGrpSpPr/>
          <p:nvPr/>
        </p:nvGrpSpPr>
        <p:grpSpPr>
          <a:xfrm>
            <a:off x="4404602" y="1047019"/>
            <a:ext cx="322104" cy="256722"/>
            <a:chOff x="4404602" y="1047019"/>
            <a:chExt cx="322104" cy="256722"/>
          </a:xfrm>
          <a:noFill/>
        </p:grpSpPr>
        <p:sp>
          <p:nvSpPr>
            <p:cNvPr id="396" name="Forma livre: Forma 395">
              <a:extLst>
                <a:ext uri="{FF2B5EF4-FFF2-40B4-BE49-F238E27FC236}">
                  <a16:creationId xmlns:a16="http://schemas.microsoft.com/office/drawing/2014/main" id="{781A8D62-14D0-709D-1D8E-52CFDCC815C0}"/>
                </a:ext>
              </a:extLst>
            </p:cNvPr>
            <p:cNvSpPr/>
            <p:nvPr/>
          </p:nvSpPr>
          <p:spPr>
            <a:xfrm>
              <a:off x="4411848" y="1108296"/>
              <a:ext cx="219098" cy="195444"/>
            </a:xfrm>
            <a:custGeom>
              <a:avLst/>
              <a:gdLst>
                <a:gd name="connsiteX0" fmla="*/ 219099 w 219098"/>
                <a:gd name="connsiteY0" fmla="*/ 0 h 195444"/>
                <a:gd name="connsiteX1" fmla="*/ 219099 w 219098"/>
                <a:gd name="connsiteY1" fmla="*/ 141235 h 195444"/>
                <a:gd name="connsiteX2" fmla="*/ 164889 w 219098"/>
                <a:gd name="connsiteY2" fmla="*/ 195445 h 195444"/>
                <a:gd name="connsiteX3" fmla="*/ 54210 w 219098"/>
                <a:gd name="connsiteY3" fmla="*/ 195445 h 195444"/>
                <a:gd name="connsiteX4" fmla="*/ 0 w 219098"/>
                <a:gd name="connsiteY4" fmla="*/ 141235 h 195444"/>
                <a:gd name="connsiteX5" fmla="*/ 0 w 219098"/>
                <a:gd name="connsiteY5" fmla="*/ 25308 h 1954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19098" h="195444">
                  <a:moveTo>
                    <a:pt x="219099" y="0"/>
                  </a:moveTo>
                  <a:lnTo>
                    <a:pt x="219099" y="141235"/>
                  </a:lnTo>
                  <a:cubicBezTo>
                    <a:pt x="219099" y="171041"/>
                    <a:pt x="194707" y="195445"/>
                    <a:pt x="164889" y="195445"/>
                  </a:cubicBezTo>
                  <a:lnTo>
                    <a:pt x="54210" y="195445"/>
                  </a:lnTo>
                  <a:cubicBezTo>
                    <a:pt x="24392" y="195445"/>
                    <a:pt x="0" y="171053"/>
                    <a:pt x="0" y="141235"/>
                  </a:cubicBezTo>
                  <a:lnTo>
                    <a:pt x="0" y="25308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97" name="Forma livre: Forma 396">
              <a:extLst>
                <a:ext uri="{FF2B5EF4-FFF2-40B4-BE49-F238E27FC236}">
                  <a16:creationId xmlns:a16="http://schemas.microsoft.com/office/drawing/2014/main" id="{775BD929-DF01-4444-6E07-B13F82F03D0E}"/>
                </a:ext>
              </a:extLst>
            </p:cNvPr>
            <p:cNvSpPr/>
            <p:nvPr/>
          </p:nvSpPr>
          <p:spPr>
            <a:xfrm>
              <a:off x="4459668" y="1154759"/>
              <a:ext cx="123482" cy="123470"/>
            </a:xfrm>
            <a:custGeom>
              <a:avLst/>
              <a:gdLst>
                <a:gd name="connsiteX0" fmla="*/ 123483 w 123482"/>
                <a:gd name="connsiteY0" fmla="*/ 61729 h 123470"/>
                <a:gd name="connsiteX1" fmla="*/ 61741 w 123482"/>
                <a:gd name="connsiteY1" fmla="*/ 123471 h 123470"/>
                <a:gd name="connsiteX2" fmla="*/ 0 w 123482"/>
                <a:gd name="connsiteY2" fmla="*/ 61729 h 123470"/>
                <a:gd name="connsiteX3" fmla="*/ 61741 w 123482"/>
                <a:gd name="connsiteY3" fmla="*/ 0 h 123470"/>
                <a:gd name="connsiteX4" fmla="*/ 123483 w 123482"/>
                <a:gd name="connsiteY4" fmla="*/ 61729 h 123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3482" h="123470">
                  <a:moveTo>
                    <a:pt x="123483" y="61729"/>
                  </a:moveTo>
                  <a:cubicBezTo>
                    <a:pt x="123483" y="95831"/>
                    <a:pt x="95842" y="123471"/>
                    <a:pt x="61741" y="123471"/>
                  </a:cubicBezTo>
                  <a:cubicBezTo>
                    <a:pt x="27640" y="123471"/>
                    <a:pt x="0" y="95831"/>
                    <a:pt x="0" y="61729"/>
                  </a:cubicBezTo>
                  <a:cubicBezTo>
                    <a:pt x="0" y="27628"/>
                    <a:pt x="27640" y="0"/>
                    <a:pt x="61741" y="0"/>
                  </a:cubicBezTo>
                  <a:cubicBezTo>
                    <a:pt x="95842" y="0"/>
                    <a:pt x="123483" y="27640"/>
                    <a:pt x="123483" y="61729"/>
                  </a:cubicBez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98" name="Forma livre: Forma 397">
              <a:extLst>
                <a:ext uri="{FF2B5EF4-FFF2-40B4-BE49-F238E27FC236}">
                  <a16:creationId xmlns:a16="http://schemas.microsoft.com/office/drawing/2014/main" id="{FA936669-A2A5-FE27-EBF5-FB7A93255E66}"/>
                </a:ext>
              </a:extLst>
            </p:cNvPr>
            <p:cNvSpPr/>
            <p:nvPr/>
          </p:nvSpPr>
          <p:spPr>
            <a:xfrm>
              <a:off x="4483453" y="1178533"/>
              <a:ext cx="75912" cy="75912"/>
            </a:xfrm>
            <a:custGeom>
              <a:avLst/>
              <a:gdLst>
                <a:gd name="connsiteX0" fmla="*/ 75912 w 75912"/>
                <a:gd name="connsiteY0" fmla="*/ 37956 h 75912"/>
                <a:gd name="connsiteX1" fmla="*/ 37956 w 75912"/>
                <a:gd name="connsiteY1" fmla="*/ 75912 h 75912"/>
                <a:gd name="connsiteX2" fmla="*/ 0 w 75912"/>
                <a:gd name="connsiteY2" fmla="*/ 37956 h 75912"/>
                <a:gd name="connsiteX3" fmla="*/ 37956 w 75912"/>
                <a:gd name="connsiteY3" fmla="*/ 0 h 75912"/>
                <a:gd name="connsiteX4" fmla="*/ 75912 w 75912"/>
                <a:gd name="connsiteY4" fmla="*/ 37956 h 759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5912" h="75912">
                  <a:moveTo>
                    <a:pt x="75912" y="37956"/>
                  </a:moveTo>
                  <a:cubicBezTo>
                    <a:pt x="75912" y="58921"/>
                    <a:pt x="58921" y="75912"/>
                    <a:pt x="37956" y="75912"/>
                  </a:cubicBezTo>
                  <a:cubicBezTo>
                    <a:pt x="16991" y="75912"/>
                    <a:pt x="0" y="58921"/>
                    <a:pt x="0" y="37956"/>
                  </a:cubicBezTo>
                  <a:cubicBezTo>
                    <a:pt x="0" y="16991"/>
                    <a:pt x="16991" y="0"/>
                    <a:pt x="37956" y="0"/>
                  </a:cubicBezTo>
                  <a:cubicBezTo>
                    <a:pt x="58921" y="0"/>
                    <a:pt x="75912" y="16991"/>
                    <a:pt x="75912" y="37956"/>
                  </a:cubicBez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99" name="Forma livre: Forma 398">
              <a:extLst>
                <a:ext uri="{FF2B5EF4-FFF2-40B4-BE49-F238E27FC236}">
                  <a16:creationId xmlns:a16="http://schemas.microsoft.com/office/drawing/2014/main" id="{9E47AB4E-0B0F-638E-9567-8A832652B9B8}"/>
                </a:ext>
              </a:extLst>
            </p:cNvPr>
            <p:cNvSpPr/>
            <p:nvPr/>
          </p:nvSpPr>
          <p:spPr>
            <a:xfrm>
              <a:off x="4506965" y="1202032"/>
              <a:ext cx="28889" cy="28901"/>
            </a:xfrm>
            <a:custGeom>
              <a:avLst/>
              <a:gdLst>
                <a:gd name="connsiteX0" fmla="*/ 28890 w 28889"/>
                <a:gd name="connsiteY0" fmla="*/ 14457 h 28901"/>
                <a:gd name="connsiteX1" fmla="*/ 14445 w 28889"/>
                <a:gd name="connsiteY1" fmla="*/ 28901 h 28901"/>
                <a:gd name="connsiteX2" fmla="*/ 0 w 28889"/>
                <a:gd name="connsiteY2" fmla="*/ 14457 h 28901"/>
                <a:gd name="connsiteX3" fmla="*/ 14445 w 28889"/>
                <a:gd name="connsiteY3" fmla="*/ 0 h 28901"/>
                <a:gd name="connsiteX4" fmla="*/ 28890 w 28889"/>
                <a:gd name="connsiteY4" fmla="*/ 14457 h 289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8889" h="28901">
                  <a:moveTo>
                    <a:pt x="28890" y="14457"/>
                  </a:moveTo>
                  <a:cubicBezTo>
                    <a:pt x="28890" y="22441"/>
                    <a:pt x="22417" y="28901"/>
                    <a:pt x="14445" y="28901"/>
                  </a:cubicBezTo>
                  <a:cubicBezTo>
                    <a:pt x="6473" y="28901"/>
                    <a:pt x="0" y="22429"/>
                    <a:pt x="0" y="14457"/>
                  </a:cubicBezTo>
                  <a:cubicBezTo>
                    <a:pt x="0" y="6485"/>
                    <a:pt x="6473" y="0"/>
                    <a:pt x="14445" y="0"/>
                  </a:cubicBezTo>
                  <a:cubicBezTo>
                    <a:pt x="22417" y="0"/>
                    <a:pt x="28890" y="6473"/>
                    <a:pt x="28890" y="14457"/>
                  </a:cubicBez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00" name="Forma livre: Forma 399">
              <a:extLst>
                <a:ext uri="{FF2B5EF4-FFF2-40B4-BE49-F238E27FC236}">
                  <a16:creationId xmlns:a16="http://schemas.microsoft.com/office/drawing/2014/main" id="{5E607B7D-7072-15F6-BA96-5A054CC09A15}"/>
                </a:ext>
              </a:extLst>
            </p:cNvPr>
            <p:cNvSpPr/>
            <p:nvPr/>
          </p:nvSpPr>
          <p:spPr>
            <a:xfrm>
              <a:off x="4632268" y="1142290"/>
              <a:ext cx="94438" cy="129729"/>
            </a:xfrm>
            <a:custGeom>
              <a:avLst/>
              <a:gdLst>
                <a:gd name="connsiteX0" fmla="*/ 94438 w 94438"/>
                <a:gd name="connsiteY0" fmla="*/ 129729 h 129729"/>
                <a:gd name="connsiteX1" fmla="*/ 94438 w 94438"/>
                <a:gd name="connsiteY1" fmla="*/ 40538 h 129729"/>
                <a:gd name="connsiteX2" fmla="*/ 80113 w 94438"/>
                <a:gd name="connsiteY2" fmla="*/ 26212 h 129729"/>
                <a:gd name="connsiteX3" fmla="*/ 65787 w 94438"/>
                <a:gd name="connsiteY3" fmla="*/ 40538 h 129729"/>
                <a:gd name="connsiteX4" fmla="*/ 65787 w 94438"/>
                <a:gd name="connsiteY4" fmla="*/ 84360 h 129729"/>
                <a:gd name="connsiteX5" fmla="*/ 51461 w 94438"/>
                <a:gd name="connsiteY5" fmla="*/ 98686 h 129729"/>
                <a:gd name="connsiteX6" fmla="*/ 37135 w 94438"/>
                <a:gd name="connsiteY6" fmla="*/ 84360 h 129729"/>
                <a:gd name="connsiteX7" fmla="*/ 37135 w 94438"/>
                <a:gd name="connsiteY7" fmla="*/ 14326 h 129729"/>
                <a:gd name="connsiteX8" fmla="*/ 22809 w 94438"/>
                <a:gd name="connsiteY8" fmla="*/ 0 h 129729"/>
                <a:gd name="connsiteX9" fmla="*/ 0 w 94438"/>
                <a:gd name="connsiteY9" fmla="*/ 0 h 1297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94438" h="129729">
                  <a:moveTo>
                    <a:pt x="94438" y="129729"/>
                  </a:moveTo>
                  <a:lnTo>
                    <a:pt x="94438" y="40538"/>
                  </a:lnTo>
                  <a:cubicBezTo>
                    <a:pt x="94438" y="32661"/>
                    <a:pt x="87989" y="26212"/>
                    <a:pt x="80113" y="26212"/>
                  </a:cubicBezTo>
                  <a:cubicBezTo>
                    <a:pt x="72236" y="26212"/>
                    <a:pt x="65787" y="32661"/>
                    <a:pt x="65787" y="40538"/>
                  </a:cubicBezTo>
                  <a:lnTo>
                    <a:pt x="65787" y="84360"/>
                  </a:lnTo>
                  <a:cubicBezTo>
                    <a:pt x="65787" y="92237"/>
                    <a:pt x="59350" y="98686"/>
                    <a:pt x="51461" y="98686"/>
                  </a:cubicBezTo>
                  <a:cubicBezTo>
                    <a:pt x="43572" y="98686"/>
                    <a:pt x="37135" y="92237"/>
                    <a:pt x="37135" y="84360"/>
                  </a:cubicBezTo>
                  <a:lnTo>
                    <a:pt x="37135" y="14326"/>
                  </a:lnTo>
                  <a:cubicBezTo>
                    <a:pt x="37135" y="6449"/>
                    <a:pt x="30698" y="0"/>
                    <a:pt x="22809" y="0"/>
                  </a:cubicBezTo>
                  <a:lnTo>
                    <a:pt x="0" y="0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01" name="Forma livre: Forma 400">
              <a:extLst>
                <a:ext uri="{FF2B5EF4-FFF2-40B4-BE49-F238E27FC236}">
                  <a16:creationId xmlns:a16="http://schemas.microsoft.com/office/drawing/2014/main" id="{27C6D353-AC1F-FF4E-744E-2529E19AF6AC}"/>
                </a:ext>
              </a:extLst>
            </p:cNvPr>
            <p:cNvSpPr/>
            <p:nvPr/>
          </p:nvSpPr>
          <p:spPr>
            <a:xfrm>
              <a:off x="4404602" y="1047019"/>
              <a:ext cx="233757" cy="80921"/>
            </a:xfrm>
            <a:custGeom>
              <a:avLst/>
              <a:gdLst>
                <a:gd name="connsiteX0" fmla="*/ 79994 w 233757"/>
                <a:gd name="connsiteY0" fmla="*/ 61277 h 80921"/>
                <a:gd name="connsiteX1" fmla="*/ 79994 w 233757"/>
                <a:gd name="connsiteY1" fmla="*/ 80922 h 80921"/>
                <a:gd name="connsiteX2" fmla="*/ 153622 w 233757"/>
                <a:gd name="connsiteY2" fmla="*/ 80922 h 80921"/>
                <a:gd name="connsiteX3" fmla="*/ 153622 w 233757"/>
                <a:gd name="connsiteY3" fmla="*/ 61277 h 80921"/>
                <a:gd name="connsiteX4" fmla="*/ 233758 w 233757"/>
                <a:gd name="connsiteY4" fmla="*/ 61277 h 80921"/>
                <a:gd name="connsiteX5" fmla="*/ 233758 w 233757"/>
                <a:gd name="connsiteY5" fmla="*/ 9031 h 80921"/>
                <a:gd name="connsiteX6" fmla="*/ 224727 w 233757"/>
                <a:gd name="connsiteY6" fmla="*/ 0 h 80921"/>
                <a:gd name="connsiteX7" fmla="*/ 9031 w 233757"/>
                <a:gd name="connsiteY7" fmla="*/ 0 h 80921"/>
                <a:gd name="connsiteX8" fmla="*/ 0 w 233757"/>
                <a:gd name="connsiteY8" fmla="*/ 9031 h 80921"/>
                <a:gd name="connsiteX9" fmla="*/ 0 w 233757"/>
                <a:gd name="connsiteY9" fmla="*/ 61277 h 80921"/>
                <a:gd name="connsiteX10" fmla="*/ 57958 w 233757"/>
                <a:gd name="connsiteY10" fmla="*/ 61277 h 809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33757" h="80921">
                  <a:moveTo>
                    <a:pt x="79994" y="61277"/>
                  </a:moveTo>
                  <a:lnTo>
                    <a:pt x="79994" y="80922"/>
                  </a:lnTo>
                  <a:lnTo>
                    <a:pt x="153622" y="80922"/>
                  </a:lnTo>
                  <a:lnTo>
                    <a:pt x="153622" y="61277"/>
                  </a:lnTo>
                  <a:lnTo>
                    <a:pt x="233758" y="61277"/>
                  </a:lnTo>
                  <a:lnTo>
                    <a:pt x="233758" y="9031"/>
                  </a:lnTo>
                  <a:cubicBezTo>
                    <a:pt x="233758" y="4057"/>
                    <a:pt x="229689" y="0"/>
                    <a:pt x="224727" y="0"/>
                  </a:cubicBezTo>
                  <a:lnTo>
                    <a:pt x="9031" y="0"/>
                  </a:lnTo>
                  <a:cubicBezTo>
                    <a:pt x="4057" y="0"/>
                    <a:pt x="0" y="4057"/>
                    <a:pt x="0" y="9031"/>
                  </a:cubicBezTo>
                  <a:lnTo>
                    <a:pt x="0" y="61277"/>
                  </a:lnTo>
                  <a:lnTo>
                    <a:pt x="57958" y="61277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402" name="Gráfico 6">
            <a:extLst>
              <a:ext uri="{FF2B5EF4-FFF2-40B4-BE49-F238E27FC236}">
                <a16:creationId xmlns:a16="http://schemas.microsoft.com/office/drawing/2014/main" id="{5D6E8DD6-E90D-FC9B-6C56-7B6CFFDEB60D}"/>
              </a:ext>
            </a:extLst>
          </p:cNvPr>
          <p:cNvGrpSpPr/>
          <p:nvPr/>
        </p:nvGrpSpPr>
        <p:grpSpPr>
          <a:xfrm>
            <a:off x="5040077" y="1004553"/>
            <a:ext cx="290441" cy="341634"/>
            <a:chOff x="5040077" y="1004553"/>
            <a:chExt cx="290441" cy="341634"/>
          </a:xfrm>
          <a:noFill/>
        </p:grpSpPr>
        <p:sp>
          <p:nvSpPr>
            <p:cNvPr id="403" name="Forma livre: Forma 402">
              <a:extLst>
                <a:ext uri="{FF2B5EF4-FFF2-40B4-BE49-F238E27FC236}">
                  <a16:creationId xmlns:a16="http://schemas.microsoft.com/office/drawing/2014/main" id="{9692E1EC-EE2A-A399-8A82-04AFC3782F64}"/>
                </a:ext>
              </a:extLst>
            </p:cNvPr>
            <p:cNvSpPr/>
            <p:nvPr/>
          </p:nvSpPr>
          <p:spPr>
            <a:xfrm>
              <a:off x="5109528" y="1004553"/>
              <a:ext cx="220990" cy="266454"/>
            </a:xfrm>
            <a:custGeom>
              <a:avLst/>
              <a:gdLst>
                <a:gd name="connsiteX0" fmla="*/ 87894 w 220990"/>
                <a:gd name="connsiteY0" fmla="*/ 218706 h 266454"/>
                <a:gd name="connsiteX1" fmla="*/ 87894 w 220990"/>
                <a:gd name="connsiteY1" fmla="*/ 266455 h 266454"/>
                <a:gd name="connsiteX2" fmla="*/ 178418 w 220990"/>
                <a:gd name="connsiteY2" fmla="*/ 197658 h 266454"/>
                <a:gd name="connsiteX3" fmla="*/ 220991 w 220990"/>
                <a:gd name="connsiteY3" fmla="*/ 110489 h 266454"/>
                <a:gd name="connsiteX4" fmla="*/ 110489 w 220990"/>
                <a:gd name="connsiteY4" fmla="*/ 0 h 266454"/>
                <a:gd name="connsiteX5" fmla="*/ 0 w 220990"/>
                <a:gd name="connsiteY5" fmla="*/ 110489 h 266454"/>
                <a:gd name="connsiteX6" fmla="*/ 61384 w 220990"/>
                <a:gd name="connsiteY6" fmla="*/ 209544 h 2664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20990" h="266454">
                  <a:moveTo>
                    <a:pt x="87894" y="218706"/>
                  </a:moveTo>
                  <a:lnTo>
                    <a:pt x="87894" y="266455"/>
                  </a:lnTo>
                  <a:lnTo>
                    <a:pt x="178418" y="197658"/>
                  </a:lnTo>
                  <a:cubicBezTo>
                    <a:pt x="204333" y="177430"/>
                    <a:pt x="220991" y="145923"/>
                    <a:pt x="220991" y="110489"/>
                  </a:cubicBezTo>
                  <a:cubicBezTo>
                    <a:pt x="220991" y="49474"/>
                    <a:pt x="171529" y="0"/>
                    <a:pt x="110489" y="0"/>
                  </a:cubicBezTo>
                  <a:cubicBezTo>
                    <a:pt x="49450" y="0"/>
                    <a:pt x="0" y="49474"/>
                    <a:pt x="0" y="110489"/>
                  </a:cubicBezTo>
                  <a:cubicBezTo>
                    <a:pt x="0" y="153907"/>
                    <a:pt x="24987" y="191471"/>
                    <a:pt x="61384" y="209544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04" name="Forma livre: Forma 403">
              <a:extLst>
                <a:ext uri="{FF2B5EF4-FFF2-40B4-BE49-F238E27FC236}">
                  <a16:creationId xmlns:a16="http://schemas.microsoft.com/office/drawing/2014/main" id="{23724CE8-DD3D-DC7F-9A4B-E4CA236DEA94}"/>
                </a:ext>
              </a:extLst>
            </p:cNvPr>
            <p:cNvSpPr/>
            <p:nvPr/>
          </p:nvSpPr>
          <p:spPr>
            <a:xfrm>
              <a:off x="5040077" y="1157111"/>
              <a:ext cx="150690" cy="189076"/>
            </a:xfrm>
            <a:custGeom>
              <a:avLst/>
              <a:gdLst>
                <a:gd name="connsiteX0" fmla="*/ 12291 w 150690"/>
                <a:gd name="connsiteY0" fmla="*/ 10237 h 189076"/>
                <a:gd name="connsiteX1" fmla="*/ 9411 w 150690"/>
                <a:gd name="connsiteY1" fmla="*/ 12070 h 189076"/>
                <a:gd name="connsiteX2" fmla="*/ 35 w 150690"/>
                <a:gd name="connsiteY2" fmla="*/ 25539 h 189076"/>
                <a:gd name="connsiteX3" fmla="*/ 38432 w 150690"/>
                <a:gd name="connsiteY3" fmla="*/ 120358 h 189076"/>
                <a:gd name="connsiteX4" fmla="*/ 114820 w 150690"/>
                <a:gd name="connsiteY4" fmla="*/ 188418 h 189076"/>
                <a:gd name="connsiteX5" fmla="*/ 130657 w 150690"/>
                <a:gd name="connsiteY5" fmla="*/ 184122 h 189076"/>
                <a:gd name="connsiteX6" fmla="*/ 133548 w 150690"/>
                <a:gd name="connsiteY6" fmla="*/ 181861 h 189076"/>
                <a:gd name="connsiteX7" fmla="*/ 150361 w 150690"/>
                <a:gd name="connsiteY7" fmla="*/ 164656 h 189076"/>
                <a:gd name="connsiteX8" fmla="*/ 147600 w 150690"/>
                <a:gd name="connsiteY8" fmla="*/ 155875 h 189076"/>
                <a:gd name="connsiteX9" fmla="*/ 120412 w 150690"/>
                <a:gd name="connsiteY9" fmla="*/ 130055 h 189076"/>
                <a:gd name="connsiteX10" fmla="*/ 107598 w 150690"/>
                <a:gd name="connsiteY10" fmla="*/ 127069 h 189076"/>
                <a:gd name="connsiteX11" fmla="*/ 87263 w 150690"/>
                <a:gd name="connsiteY11" fmla="*/ 134113 h 189076"/>
                <a:gd name="connsiteX12" fmla="*/ 62859 w 150690"/>
                <a:gd name="connsiteY12" fmla="*/ 103129 h 189076"/>
                <a:gd name="connsiteX13" fmla="*/ 41894 w 150690"/>
                <a:gd name="connsiteY13" fmla="*/ 69718 h 189076"/>
                <a:gd name="connsiteX14" fmla="*/ 55351 w 150690"/>
                <a:gd name="connsiteY14" fmla="*/ 52953 h 189076"/>
                <a:gd name="connsiteX15" fmla="*/ 56862 w 150690"/>
                <a:gd name="connsiteY15" fmla="*/ 39877 h 189076"/>
                <a:gd name="connsiteX16" fmla="*/ 41680 w 150690"/>
                <a:gd name="connsiteY16" fmla="*/ 5573 h 189076"/>
                <a:gd name="connsiteX17" fmla="*/ 34350 w 150690"/>
                <a:gd name="connsiteY17" fmla="*/ 29 h 189076"/>
                <a:gd name="connsiteX18" fmla="*/ 22987 w 150690"/>
                <a:gd name="connsiteY18" fmla="*/ 4015 h 189076"/>
                <a:gd name="connsiteX19" fmla="*/ 12279 w 150690"/>
                <a:gd name="connsiteY19" fmla="*/ 10214 h 1890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50690" h="189076">
                  <a:moveTo>
                    <a:pt x="12291" y="10237"/>
                  </a:moveTo>
                  <a:cubicBezTo>
                    <a:pt x="10518" y="11344"/>
                    <a:pt x="9411" y="12070"/>
                    <a:pt x="9411" y="12070"/>
                  </a:cubicBezTo>
                  <a:cubicBezTo>
                    <a:pt x="-726" y="18364"/>
                    <a:pt x="35" y="25539"/>
                    <a:pt x="35" y="25539"/>
                  </a:cubicBezTo>
                  <a:cubicBezTo>
                    <a:pt x="-1297" y="68338"/>
                    <a:pt x="35695" y="116265"/>
                    <a:pt x="38432" y="120358"/>
                  </a:cubicBezTo>
                  <a:cubicBezTo>
                    <a:pt x="42239" y="125355"/>
                    <a:pt x="74044" y="175258"/>
                    <a:pt x="114820" y="188418"/>
                  </a:cubicBezTo>
                  <a:cubicBezTo>
                    <a:pt x="114820" y="188418"/>
                    <a:pt x="121317" y="191559"/>
                    <a:pt x="130657" y="184122"/>
                  </a:cubicBezTo>
                  <a:lnTo>
                    <a:pt x="133548" y="181861"/>
                  </a:lnTo>
                  <a:cubicBezTo>
                    <a:pt x="137237" y="178423"/>
                    <a:pt x="149873" y="166869"/>
                    <a:pt x="150361" y="164656"/>
                  </a:cubicBezTo>
                  <a:cubicBezTo>
                    <a:pt x="150361" y="164656"/>
                    <a:pt x="152098" y="160444"/>
                    <a:pt x="147600" y="155875"/>
                  </a:cubicBezTo>
                  <a:lnTo>
                    <a:pt x="120412" y="130055"/>
                  </a:lnTo>
                  <a:cubicBezTo>
                    <a:pt x="120412" y="130055"/>
                    <a:pt x="115879" y="124237"/>
                    <a:pt x="107598" y="127069"/>
                  </a:cubicBezTo>
                  <a:lnTo>
                    <a:pt x="87263" y="134113"/>
                  </a:lnTo>
                  <a:cubicBezTo>
                    <a:pt x="87263" y="134113"/>
                    <a:pt x="71224" y="116110"/>
                    <a:pt x="62859" y="103129"/>
                  </a:cubicBezTo>
                  <a:cubicBezTo>
                    <a:pt x="53448" y="90886"/>
                    <a:pt x="41894" y="69718"/>
                    <a:pt x="41894" y="69718"/>
                  </a:cubicBezTo>
                  <a:lnTo>
                    <a:pt x="55351" y="52953"/>
                  </a:lnTo>
                  <a:cubicBezTo>
                    <a:pt x="60813" y="46111"/>
                    <a:pt x="56862" y="39877"/>
                    <a:pt x="56862" y="39877"/>
                  </a:cubicBezTo>
                  <a:lnTo>
                    <a:pt x="41680" y="5573"/>
                  </a:lnTo>
                  <a:cubicBezTo>
                    <a:pt x="38908" y="-186"/>
                    <a:pt x="34350" y="29"/>
                    <a:pt x="34350" y="29"/>
                  </a:cubicBezTo>
                  <a:cubicBezTo>
                    <a:pt x="32066" y="-257"/>
                    <a:pt x="27556" y="1635"/>
                    <a:pt x="22987" y="4015"/>
                  </a:cubicBezTo>
                  <a:lnTo>
                    <a:pt x="12279" y="10214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05" name="Forma livre: Forma 404">
              <a:extLst>
                <a:ext uri="{FF2B5EF4-FFF2-40B4-BE49-F238E27FC236}">
                  <a16:creationId xmlns:a16="http://schemas.microsoft.com/office/drawing/2014/main" id="{BB6708FA-D7B1-EB9E-5D19-EB2854D964FD}"/>
                </a:ext>
              </a:extLst>
            </p:cNvPr>
            <p:cNvSpPr/>
            <p:nvPr/>
          </p:nvSpPr>
          <p:spPr>
            <a:xfrm>
              <a:off x="5160813" y="1053839"/>
              <a:ext cx="118455" cy="129207"/>
            </a:xfrm>
            <a:custGeom>
              <a:avLst/>
              <a:gdLst>
                <a:gd name="connsiteX0" fmla="*/ 73876 w 118455"/>
                <a:gd name="connsiteY0" fmla="*/ 20462 h 129207"/>
                <a:gd name="connsiteX1" fmla="*/ 54315 w 118455"/>
                <a:gd name="connsiteY1" fmla="*/ 11669 h 129207"/>
                <a:gd name="connsiteX2" fmla="*/ 12741 w 118455"/>
                <a:gd name="connsiteY2" fmla="*/ 6922 h 129207"/>
                <a:gd name="connsiteX3" fmla="*/ 5721 w 118455"/>
                <a:gd name="connsiteY3" fmla="*/ 52945 h 129207"/>
                <a:gd name="connsiteX4" fmla="*/ 22391 w 118455"/>
                <a:gd name="connsiteY4" fmla="*/ 107857 h 129207"/>
                <a:gd name="connsiteX5" fmla="*/ 35408 w 118455"/>
                <a:gd name="connsiteY5" fmla="*/ 127525 h 129207"/>
                <a:gd name="connsiteX6" fmla="*/ 41809 w 118455"/>
                <a:gd name="connsiteY6" fmla="*/ 129179 h 129207"/>
                <a:gd name="connsiteX7" fmla="*/ 46890 w 118455"/>
                <a:gd name="connsiteY7" fmla="*/ 103966 h 129207"/>
                <a:gd name="connsiteX8" fmla="*/ 59241 w 118455"/>
                <a:gd name="connsiteY8" fmla="*/ 78004 h 129207"/>
                <a:gd name="connsiteX9" fmla="*/ 71567 w 118455"/>
                <a:gd name="connsiteY9" fmla="*/ 103966 h 129207"/>
                <a:gd name="connsiteX10" fmla="*/ 76648 w 118455"/>
                <a:gd name="connsiteY10" fmla="*/ 129179 h 129207"/>
                <a:gd name="connsiteX11" fmla="*/ 83038 w 118455"/>
                <a:gd name="connsiteY11" fmla="*/ 127525 h 129207"/>
                <a:gd name="connsiteX12" fmla="*/ 96078 w 118455"/>
                <a:gd name="connsiteY12" fmla="*/ 107857 h 129207"/>
                <a:gd name="connsiteX13" fmla="*/ 112748 w 118455"/>
                <a:gd name="connsiteY13" fmla="*/ 52945 h 129207"/>
                <a:gd name="connsiteX14" fmla="*/ 105704 w 118455"/>
                <a:gd name="connsiteY14" fmla="*/ 6922 h 129207"/>
                <a:gd name="connsiteX15" fmla="*/ 75125 w 118455"/>
                <a:gd name="connsiteY15" fmla="*/ 1913 h 1292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18455" h="129207">
                  <a:moveTo>
                    <a:pt x="73876" y="20462"/>
                  </a:moveTo>
                  <a:cubicBezTo>
                    <a:pt x="64119" y="20462"/>
                    <a:pt x="54315" y="11669"/>
                    <a:pt x="54315" y="11669"/>
                  </a:cubicBezTo>
                  <a:cubicBezTo>
                    <a:pt x="40988" y="152"/>
                    <a:pt x="26639" y="-3906"/>
                    <a:pt x="12741" y="6922"/>
                  </a:cubicBezTo>
                  <a:cubicBezTo>
                    <a:pt x="-1156" y="17738"/>
                    <a:pt x="-3976" y="37965"/>
                    <a:pt x="5721" y="52945"/>
                  </a:cubicBezTo>
                  <a:cubicBezTo>
                    <a:pt x="5721" y="52945"/>
                    <a:pt x="20618" y="79753"/>
                    <a:pt x="22391" y="107857"/>
                  </a:cubicBezTo>
                  <a:cubicBezTo>
                    <a:pt x="22391" y="107857"/>
                    <a:pt x="22248" y="123004"/>
                    <a:pt x="35408" y="127525"/>
                  </a:cubicBezTo>
                  <a:cubicBezTo>
                    <a:pt x="35408" y="127525"/>
                    <a:pt x="39513" y="129465"/>
                    <a:pt x="41809" y="129179"/>
                  </a:cubicBezTo>
                  <a:cubicBezTo>
                    <a:pt x="46462" y="128596"/>
                    <a:pt x="47342" y="121873"/>
                    <a:pt x="46890" y="103966"/>
                  </a:cubicBezTo>
                  <a:cubicBezTo>
                    <a:pt x="46890" y="103966"/>
                    <a:pt x="47080" y="78004"/>
                    <a:pt x="59241" y="78004"/>
                  </a:cubicBezTo>
                  <a:cubicBezTo>
                    <a:pt x="71401" y="78004"/>
                    <a:pt x="71567" y="103966"/>
                    <a:pt x="71567" y="103966"/>
                  </a:cubicBezTo>
                  <a:cubicBezTo>
                    <a:pt x="71115" y="121861"/>
                    <a:pt x="71996" y="128596"/>
                    <a:pt x="76648" y="129179"/>
                  </a:cubicBezTo>
                  <a:cubicBezTo>
                    <a:pt x="78956" y="129453"/>
                    <a:pt x="83038" y="127525"/>
                    <a:pt x="83038" y="127525"/>
                  </a:cubicBezTo>
                  <a:cubicBezTo>
                    <a:pt x="96197" y="123004"/>
                    <a:pt x="96078" y="107857"/>
                    <a:pt x="96078" y="107857"/>
                  </a:cubicBezTo>
                  <a:cubicBezTo>
                    <a:pt x="97839" y="79753"/>
                    <a:pt x="112748" y="52945"/>
                    <a:pt x="112748" y="52945"/>
                  </a:cubicBezTo>
                  <a:cubicBezTo>
                    <a:pt x="122433" y="37965"/>
                    <a:pt x="119602" y="17738"/>
                    <a:pt x="105704" y="6922"/>
                  </a:cubicBezTo>
                  <a:cubicBezTo>
                    <a:pt x="96292" y="-407"/>
                    <a:pt x="85358" y="-1633"/>
                    <a:pt x="75125" y="1913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406" name="Gráfico 6">
            <a:extLst>
              <a:ext uri="{FF2B5EF4-FFF2-40B4-BE49-F238E27FC236}">
                <a16:creationId xmlns:a16="http://schemas.microsoft.com/office/drawing/2014/main" id="{553F4E3F-315A-6D89-4CE3-0C18103CCAB2}"/>
              </a:ext>
            </a:extLst>
          </p:cNvPr>
          <p:cNvGrpSpPr/>
          <p:nvPr/>
        </p:nvGrpSpPr>
        <p:grpSpPr>
          <a:xfrm>
            <a:off x="5664736" y="1038975"/>
            <a:ext cx="280423" cy="272808"/>
            <a:chOff x="5664736" y="1038975"/>
            <a:chExt cx="280423" cy="272808"/>
          </a:xfrm>
          <a:noFill/>
        </p:grpSpPr>
        <p:grpSp>
          <p:nvGrpSpPr>
            <p:cNvPr id="407" name="Gráfico 6">
              <a:extLst>
                <a:ext uri="{FF2B5EF4-FFF2-40B4-BE49-F238E27FC236}">
                  <a16:creationId xmlns:a16="http://schemas.microsoft.com/office/drawing/2014/main" id="{2987B58C-E394-DB9E-6806-78A9361E0446}"/>
                </a:ext>
              </a:extLst>
            </p:cNvPr>
            <p:cNvGrpSpPr/>
            <p:nvPr/>
          </p:nvGrpSpPr>
          <p:grpSpPr>
            <a:xfrm>
              <a:off x="5673018" y="1105024"/>
              <a:ext cx="263658" cy="69035"/>
              <a:chOff x="5673018" y="1105024"/>
              <a:chExt cx="263658" cy="69035"/>
            </a:xfrm>
            <a:noFill/>
          </p:grpSpPr>
          <p:grpSp>
            <p:nvGrpSpPr>
              <p:cNvPr id="408" name="Gráfico 6">
                <a:extLst>
                  <a:ext uri="{FF2B5EF4-FFF2-40B4-BE49-F238E27FC236}">
                    <a16:creationId xmlns:a16="http://schemas.microsoft.com/office/drawing/2014/main" id="{380F71C8-950F-6918-D990-FC96CCBDD66E}"/>
                  </a:ext>
                </a:extLst>
              </p:cNvPr>
              <p:cNvGrpSpPr/>
              <p:nvPr/>
            </p:nvGrpSpPr>
            <p:grpSpPr>
              <a:xfrm>
                <a:off x="5673018" y="1105024"/>
                <a:ext cx="131823" cy="69035"/>
                <a:chOff x="5673018" y="1105024"/>
                <a:chExt cx="131823" cy="69035"/>
              </a:xfrm>
              <a:noFill/>
            </p:grpSpPr>
            <p:sp>
              <p:nvSpPr>
                <p:cNvPr id="409" name="Forma livre: Forma 408">
                  <a:extLst>
                    <a:ext uri="{FF2B5EF4-FFF2-40B4-BE49-F238E27FC236}">
                      <a16:creationId xmlns:a16="http://schemas.microsoft.com/office/drawing/2014/main" id="{F217BF75-DBBF-5BCA-A72E-EDA4F2ABEA8E}"/>
                    </a:ext>
                  </a:extLst>
                </p:cNvPr>
                <p:cNvSpPr/>
                <p:nvPr/>
              </p:nvSpPr>
              <p:spPr>
                <a:xfrm>
                  <a:off x="5751548" y="1105024"/>
                  <a:ext cx="53293" cy="69035"/>
                </a:xfrm>
                <a:custGeom>
                  <a:avLst/>
                  <a:gdLst>
                    <a:gd name="connsiteX0" fmla="*/ 53293 w 53293"/>
                    <a:gd name="connsiteY0" fmla="*/ 32697 h 69035"/>
                    <a:gd name="connsiteX1" fmla="*/ 20251 w 53293"/>
                    <a:gd name="connsiteY1" fmla="*/ 0 h 69035"/>
                    <a:gd name="connsiteX2" fmla="*/ 0 w 53293"/>
                    <a:gd name="connsiteY2" fmla="*/ 22060 h 69035"/>
                    <a:gd name="connsiteX3" fmla="*/ 0 w 53293"/>
                    <a:gd name="connsiteY3" fmla="*/ 64466 h 69035"/>
                    <a:gd name="connsiteX4" fmla="*/ 4557 w 53293"/>
                    <a:gd name="connsiteY4" fmla="*/ 69035 h 69035"/>
                    <a:gd name="connsiteX5" fmla="*/ 48796 w 53293"/>
                    <a:gd name="connsiteY5" fmla="*/ 69035 h 69035"/>
                    <a:gd name="connsiteX6" fmla="*/ 53293 w 53293"/>
                    <a:gd name="connsiteY6" fmla="*/ 64466 h 69035"/>
                    <a:gd name="connsiteX7" fmla="*/ 53293 w 53293"/>
                    <a:gd name="connsiteY7" fmla="*/ 32697 h 6903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53293" h="69035">
                      <a:moveTo>
                        <a:pt x="53293" y="32697"/>
                      </a:moveTo>
                      <a:cubicBezTo>
                        <a:pt x="53293" y="16349"/>
                        <a:pt x="38884" y="0"/>
                        <a:pt x="20251" y="0"/>
                      </a:cubicBezTo>
                      <a:cubicBezTo>
                        <a:pt x="13409" y="0"/>
                        <a:pt x="0" y="4557"/>
                        <a:pt x="0" y="22060"/>
                      </a:cubicBezTo>
                      <a:lnTo>
                        <a:pt x="0" y="64466"/>
                      </a:lnTo>
                      <a:cubicBezTo>
                        <a:pt x="0" y="66977"/>
                        <a:pt x="2047" y="69035"/>
                        <a:pt x="4557" y="69035"/>
                      </a:cubicBezTo>
                      <a:lnTo>
                        <a:pt x="48796" y="69035"/>
                      </a:lnTo>
                      <a:cubicBezTo>
                        <a:pt x="51306" y="69035"/>
                        <a:pt x="53293" y="66977"/>
                        <a:pt x="53293" y="64466"/>
                      </a:cubicBezTo>
                      <a:lnTo>
                        <a:pt x="53293" y="32697"/>
                      </a:lnTo>
                      <a:close/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410" name="Forma livre: Forma 409">
                  <a:extLst>
                    <a:ext uri="{FF2B5EF4-FFF2-40B4-BE49-F238E27FC236}">
                      <a16:creationId xmlns:a16="http://schemas.microsoft.com/office/drawing/2014/main" id="{3767F779-A7B1-A02A-9537-DFD61546692B}"/>
                    </a:ext>
                  </a:extLst>
                </p:cNvPr>
                <p:cNvSpPr/>
                <p:nvPr/>
              </p:nvSpPr>
              <p:spPr>
                <a:xfrm>
                  <a:off x="5706464" y="1106166"/>
                  <a:ext cx="44595" cy="64180"/>
                </a:xfrm>
                <a:custGeom>
                  <a:avLst/>
                  <a:gdLst>
                    <a:gd name="connsiteX0" fmla="*/ 44596 w 44595"/>
                    <a:gd name="connsiteY0" fmla="*/ 23547 h 64180"/>
                    <a:gd name="connsiteX1" fmla="*/ 17312 w 44595"/>
                    <a:gd name="connsiteY1" fmla="*/ 0 h 64180"/>
                    <a:gd name="connsiteX2" fmla="*/ 0 w 44595"/>
                    <a:gd name="connsiteY2" fmla="*/ 20918 h 64180"/>
                    <a:gd name="connsiteX3" fmla="*/ 0 w 44595"/>
                    <a:gd name="connsiteY3" fmla="*/ 59623 h 64180"/>
                    <a:gd name="connsiteX4" fmla="*/ 4557 w 44595"/>
                    <a:gd name="connsiteY4" fmla="*/ 64181 h 64180"/>
                    <a:gd name="connsiteX5" fmla="*/ 26141 w 44595"/>
                    <a:gd name="connsiteY5" fmla="*/ 64181 h 641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44595" h="64180">
                      <a:moveTo>
                        <a:pt x="44596" y="23547"/>
                      </a:moveTo>
                      <a:cubicBezTo>
                        <a:pt x="39515" y="11220"/>
                        <a:pt x="29770" y="0"/>
                        <a:pt x="17312" y="0"/>
                      </a:cubicBezTo>
                      <a:cubicBezTo>
                        <a:pt x="10471" y="0"/>
                        <a:pt x="0" y="3415"/>
                        <a:pt x="0" y="20918"/>
                      </a:cubicBezTo>
                      <a:lnTo>
                        <a:pt x="0" y="59623"/>
                      </a:lnTo>
                      <a:cubicBezTo>
                        <a:pt x="0" y="62134"/>
                        <a:pt x="2047" y="64181"/>
                        <a:pt x="4557" y="64181"/>
                      </a:cubicBezTo>
                      <a:lnTo>
                        <a:pt x="26141" y="64181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411" name="Forma livre: Forma 410">
                  <a:extLst>
                    <a:ext uri="{FF2B5EF4-FFF2-40B4-BE49-F238E27FC236}">
                      <a16:creationId xmlns:a16="http://schemas.microsoft.com/office/drawing/2014/main" id="{50346DBB-11C5-E6CA-075C-043001E294CE}"/>
                    </a:ext>
                  </a:extLst>
                </p:cNvPr>
                <p:cNvSpPr/>
                <p:nvPr/>
              </p:nvSpPr>
              <p:spPr>
                <a:xfrm>
                  <a:off x="5673018" y="1109771"/>
                  <a:ext cx="33815" cy="52400"/>
                </a:xfrm>
                <a:custGeom>
                  <a:avLst/>
                  <a:gdLst>
                    <a:gd name="connsiteX0" fmla="*/ 33815 w 33815"/>
                    <a:gd name="connsiteY0" fmla="*/ 13945 h 52400"/>
                    <a:gd name="connsiteX1" fmla="*/ 14124 w 33815"/>
                    <a:gd name="connsiteY1" fmla="*/ 0 h 52400"/>
                    <a:gd name="connsiteX2" fmla="*/ 0 w 33815"/>
                    <a:gd name="connsiteY2" fmla="*/ 17074 h 52400"/>
                    <a:gd name="connsiteX3" fmla="*/ 0 w 33815"/>
                    <a:gd name="connsiteY3" fmla="*/ 48677 h 52400"/>
                    <a:gd name="connsiteX4" fmla="*/ 3712 w 33815"/>
                    <a:gd name="connsiteY4" fmla="*/ 52401 h 52400"/>
                    <a:gd name="connsiteX5" fmla="*/ 14956 w 33815"/>
                    <a:gd name="connsiteY5" fmla="*/ 52401 h 524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33815" h="52400">
                      <a:moveTo>
                        <a:pt x="33815" y="13945"/>
                      </a:moveTo>
                      <a:cubicBezTo>
                        <a:pt x="29330" y="6163"/>
                        <a:pt x="22476" y="0"/>
                        <a:pt x="14124" y="0"/>
                      </a:cubicBezTo>
                      <a:cubicBezTo>
                        <a:pt x="8543" y="0"/>
                        <a:pt x="0" y="2796"/>
                        <a:pt x="0" y="17074"/>
                      </a:cubicBezTo>
                      <a:lnTo>
                        <a:pt x="0" y="48677"/>
                      </a:lnTo>
                      <a:cubicBezTo>
                        <a:pt x="0" y="50723"/>
                        <a:pt x="1678" y="52401"/>
                        <a:pt x="3712" y="52401"/>
                      </a:cubicBezTo>
                      <a:lnTo>
                        <a:pt x="14956" y="52401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412" name="Gráfico 6">
                <a:extLst>
                  <a:ext uri="{FF2B5EF4-FFF2-40B4-BE49-F238E27FC236}">
                    <a16:creationId xmlns:a16="http://schemas.microsoft.com/office/drawing/2014/main" id="{F12B4EBA-869E-8E4B-1AA2-7BF429F9EE51}"/>
                  </a:ext>
                </a:extLst>
              </p:cNvPr>
              <p:cNvGrpSpPr/>
              <p:nvPr/>
            </p:nvGrpSpPr>
            <p:grpSpPr>
              <a:xfrm>
                <a:off x="5804841" y="1105024"/>
                <a:ext cx="131835" cy="69035"/>
                <a:chOff x="5804841" y="1105024"/>
                <a:chExt cx="131835" cy="69035"/>
              </a:xfrm>
              <a:noFill/>
            </p:grpSpPr>
            <p:sp>
              <p:nvSpPr>
                <p:cNvPr id="413" name="Forma livre: Forma 412">
                  <a:extLst>
                    <a:ext uri="{FF2B5EF4-FFF2-40B4-BE49-F238E27FC236}">
                      <a16:creationId xmlns:a16="http://schemas.microsoft.com/office/drawing/2014/main" id="{C90787DF-ED8A-4A88-0C83-4244258B291D}"/>
                    </a:ext>
                  </a:extLst>
                </p:cNvPr>
                <p:cNvSpPr/>
                <p:nvPr/>
              </p:nvSpPr>
              <p:spPr>
                <a:xfrm>
                  <a:off x="5804841" y="1105024"/>
                  <a:ext cx="53293" cy="69035"/>
                </a:xfrm>
                <a:custGeom>
                  <a:avLst/>
                  <a:gdLst>
                    <a:gd name="connsiteX0" fmla="*/ 0 w 53293"/>
                    <a:gd name="connsiteY0" fmla="*/ 32697 h 69035"/>
                    <a:gd name="connsiteX1" fmla="*/ 33042 w 53293"/>
                    <a:gd name="connsiteY1" fmla="*/ 0 h 69035"/>
                    <a:gd name="connsiteX2" fmla="*/ 53293 w 53293"/>
                    <a:gd name="connsiteY2" fmla="*/ 22060 h 69035"/>
                    <a:gd name="connsiteX3" fmla="*/ 53293 w 53293"/>
                    <a:gd name="connsiteY3" fmla="*/ 64466 h 69035"/>
                    <a:gd name="connsiteX4" fmla="*/ 48736 w 53293"/>
                    <a:gd name="connsiteY4" fmla="*/ 69035 h 69035"/>
                    <a:gd name="connsiteX5" fmla="*/ 4498 w 53293"/>
                    <a:gd name="connsiteY5" fmla="*/ 69035 h 69035"/>
                    <a:gd name="connsiteX6" fmla="*/ 0 w 53293"/>
                    <a:gd name="connsiteY6" fmla="*/ 64466 h 69035"/>
                    <a:gd name="connsiteX7" fmla="*/ 0 w 53293"/>
                    <a:gd name="connsiteY7" fmla="*/ 32697 h 6903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53293" h="69035">
                      <a:moveTo>
                        <a:pt x="0" y="32697"/>
                      </a:moveTo>
                      <a:cubicBezTo>
                        <a:pt x="0" y="16349"/>
                        <a:pt x="14409" y="0"/>
                        <a:pt x="33042" y="0"/>
                      </a:cubicBezTo>
                      <a:cubicBezTo>
                        <a:pt x="39884" y="0"/>
                        <a:pt x="53293" y="4557"/>
                        <a:pt x="53293" y="22060"/>
                      </a:cubicBezTo>
                      <a:lnTo>
                        <a:pt x="53293" y="64466"/>
                      </a:lnTo>
                      <a:cubicBezTo>
                        <a:pt x="53293" y="66977"/>
                        <a:pt x="51247" y="69035"/>
                        <a:pt x="48736" y="69035"/>
                      </a:cubicBezTo>
                      <a:lnTo>
                        <a:pt x="4498" y="69035"/>
                      </a:lnTo>
                      <a:cubicBezTo>
                        <a:pt x="1987" y="69035"/>
                        <a:pt x="0" y="66977"/>
                        <a:pt x="0" y="64466"/>
                      </a:cubicBezTo>
                      <a:lnTo>
                        <a:pt x="0" y="32697"/>
                      </a:lnTo>
                      <a:close/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414" name="Forma livre: Forma 413">
                  <a:extLst>
                    <a:ext uri="{FF2B5EF4-FFF2-40B4-BE49-F238E27FC236}">
                      <a16:creationId xmlns:a16="http://schemas.microsoft.com/office/drawing/2014/main" id="{58989019-2E51-2614-EE50-D1BF5D51A39C}"/>
                    </a:ext>
                  </a:extLst>
                </p:cNvPr>
                <p:cNvSpPr/>
                <p:nvPr/>
              </p:nvSpPr>
              <p:spPr>
                <a:xfrm>
                  <a:off x="5858622" y="1106166"/>
                  <a:ext cx="44595" cy="64180"/>
                </a:xfrm>
                <a:custGeom>
                  <a:avLst/>
                  <a:gdLst>
                    <a:gd name="connsiteX0" fmla="*/ 0 w 44595"/>
                    <a:gd name="connsiteY0" fmla="*/ 23547 h 64180"/>
                    <a:gd name="connsiteX1" fmla="*/ 27283 w 44595"/>
                    <a:gd name="connsiteY1" fmla="*/ 0 h 64180"/>
                    <a:gd name="connsiteX2" fmla="*/ 44596 w 44595"/>
                    <a:gd name="connsiteY2" fmla="*/ 20918 h 64180"/>
                    <a:gd name="connsiteX3" fmla="*/ 44596 w 44595"/>
                    <a:gd name="connsiteY3" fmla="*/ 59623 h 64180"/>
                    <a:gd name="connsiteX4" fmla="*/ 40038 w 44595"/>
                    <a:gd name="connsiteY4" fmla="*/ 64181 h 64180"/>
                    <a:gd name="connsiteX5" fmla="*/ 762 w 44595"/>
                    <a:gd name="connsiteY5" fmla="*/ 64181 h 641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44595" h="64180">
                      <a:moveTo>
                        <a:pt x="0" y="23547"/>
                      </a:moveTo>
                      <a:cubicBezTo>
                        <a:pt x="5081" y="11220"/>
                        <a:pt x="14825" y="0"/>
                        <a:pt x="27283" y="0"/>
                      </a:cubicBezTo>
                      <a:cubicBezTo>
                        <a:pt x="34125" y="0"/>
                        <a:pt x="44596" y="3415"/>
                        <a:pt x="44596" y="20918"/>
                      </a:cubicBezTo>
                      <a:lnTo>
                        <a:pt x="44596" y="59623"/>
                      </a:lnTo>
                      <a:cubicBezTo>
                        <a:pt x="44596" y="62134"/>
                        <a:pt x="42549" y="64181"/>
                        <a:pt x="40038" y="64181"/>
                      </a:cubicBezTo>
                      <a:lnTo>
                        <a:pt x="762" y="64181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415" name="Forma livre: Forma 414">
                  <a:extLst>
                    <a:ext uri="{FF2B5EF4-FFF2-40B4-BE49-F238E27FC236}">
                      <a16:creationId xmlns:a16="http://schemas.microsoft.com/office/drawing/2014/main" id="{DCCA59C9-9E97-238C-F83C-4705A69CE2EE}"/>
                    </a:ext>
                  </a:extLst>
                </p:cNvPr>
                <p:cNvSpPr/>
                <p:nvPr/>
              </p:nvSpPr>
              <p:spPr>
                <a:xfrm>
                  <a:off x="5902861" y="1109771"/>
                  <a:ext cx="33815" cy="52400"/>
                </a:xfrm>
                <a:custGeom>
                  <a:avLst/>
                  <a:gdLst>
                    <a:gd name="connsiteX0" fmla="*/ 0 w 33815"/>
                    <a:gd name="connsiteY0" fmla="*/ 13945 h 52400"/>
                    <a:gd name="connsiteX1" fmla="*/ 19692 w 33815"/>
                    <a:gd name="connsiteY1" fmla="*/ 0 h 52400"/>
                    <a:gd name="connsiteX2" fmla="*/ 33816 w 33815"/>
                    <a:gd name="connsiteY2" fmla="*/ 17074 h 52400"/>
                    <a:gd name="connsiteX3" fmla="*/ 33816 w 33815"/>
                    <a:gd name="connsiteY3" fmla="*/ 48677 h 52400"/>
                    <a:gd name="connsiteX4" fmla="*/ 30103 w 33815"/>
                    <a:gd name="connsiteY4" fmla="*/ 52401 h 52400"/>
                    <a:gd name="connsiteX5" fmla="*/ 1059 w 33815"/>
                    <a:gd name="connsiteY5" fmla="*/ 52401 h 524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33815" h="52400">
                      <a:moveTo>
                        <a:pt x="0" y="13945"/>
                      </a:moveTo>
                      <a:cubicBezTo>
                        <a:pt x="4486" y="6163"/>
                        <a:pt x="11339" y="0"/>
                        <a:pt x="19692" y="0"/>
                      </a:cubicBezTo>
                      <a:cubicBezTo>
                        <a:pt x="25272" y="0"/>
                        <a:pt x="33816" y="2796"/>
                        <a:pt x="33816" y="17074"/>
                      </a:cubicBezTo>
                      <a:lnTo>
                        <a:pt x="33816" y="48677"/>
                      </a:lnTo>
                      <a:cubicBezTo>
                        <a:pt x="33816" y="50723"/>
                        <a:pt x="32138" y="52401"/>
                        <a:pt x="30103" y="52401"/>
                      </a:cubicBezTo>
                      <a:lnTo>
                        <a:pt x="1059" y="52401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sp>
          <p:nvSpPr>
            <p:cNvPr id="416" name="Forma livre: Forma 415">
              <a:extLst>
                <a:ext uri="{FF2B5EF4-FFF2-40B4-BE49-F238E27FC236}">
                  <a16:creationId xmlns:a16="http://schemas.microsoft.com/office/drawing/2014/main" id="{10C5F9FE-08F4-8CB6-928F-ECF6D4E98983}"/>
                </a:ext>
              </a:extLst>
            </p:cNvPr>
            <p:cNvSpPr/>
            <p:nvPr/>
          </p:nvSpPr>
          <p:spPr>
            <a:xfrm>
              <a:off x="5664736" y="1038975"/>
              <a:ext cx="280423" cy="89155"/>
            </a:xfrm>
            <a:custGeom>
              <a:avLst/>
              <a:gdLst>
                <a:gd name="connsiteX0" fmla="*/ 272666 w 280423"/>
                <a:gd name="connsiteY0" fmla="*/ 89155 h 89155"/>
                <a:gd name="connsiteX1" fmla="*/ 280424 w 280423"/>
                <a:gd name="connsiteY1" fmla="*/ 89155 h 89155"/>
                <a:gd name="connsiteX2" fmla="*/ 280424 w 280423"/>
                <a:gd name="connsiteY2" fmla="*/ 41419 h 89155"/>
                <a:gd name="connsiteX3" fmla="*/ 140212 w 280423"/>
                <a:gd name="connsiteY3" fmla="*/ 0 h 89155"/>
                <a:gd name="connsiteX4" fmla="*/ 0 w 280423"/>
                <a:gd name="connsiteY4" fmla="*/ 41419 h 89155"/>
                <a:gd name="connsiteX5" fmla="*/ 0 w 280423"/>
                <a:gd name="connsiteY5" fmla="*/ 55257 h 891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80423" h="89155">
                  <a:moveTo>
                    <a:pt x="272666" y="89155"/>
                  </a:moveTo>
                  <a:lnTo>
                    <a:pt x="280424" y="89155"/>
                  </a:lnTo>
                  <a:lnTo>
                    <a:pt x="280424" y="41419"/>
                  </a:lnTo>
                  <a:cubicBezTo>
                    <a:pt x="257305" y="17074"/>
                    <a:pt x="203298" y="0"/>
                    <a:pt x="140212" y="0"/>
                  </a:cubicBezTo>
                  <a:cubicBezTo>
                    <a:pt x="77126" y="0"/>
                    <a:pt x="23107" y="17074"/>
                    <a:pt x="0" y="41419"/>
                  </a:cubicBezTo>
                  <a:lnTo>
                    <a:pt x="0" y="55257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17" name="Forma livre: Forma 416">
              <a:extLst>
                <a:ext uri="{FF2B5EF4-FFF2-40B4-BE49-F238E27FC236}">
                  <a16:creationId xmlns:a16="http://schemas.microsoft.com/office/drawing/2014/main" id="{2C440039-1066-A66C-04C2-BC9F43BA780D}"/>
                </a:ext>
              </a:extLst>
            </p:cNvPr>
            <p:cNvSpPr/>
            <p:nvPr/>
          </p:nvSpPr>
          <p:spPr>
            <a:xfrm>
              <a:off x="5682596" y="1226400"/>
              <a:ext cx="246893" cy="85383"/>
            </a:xfrm>
            <a:custGeom>
              <a:avLst/>
              <a:gdLst>
                <a:gd name="connsiteX0" fmla="*/ 0 w 246893"/>
                <a:gd name="connsiteY0" fmla="*/ 37861 h 85383"/>
                <a:gd name="connsiteX1" fmla="*/ 0 w 246893"/>
                <a:gd name="connsiteY1" fmla="*/ 48915 h 85383"/>
                <a:gd name="connsiteX2" fmla="*/ 123447 w 246893"/>
                <a:gd name="connsiteY2" fmla="*/ 85384 h 85383"/>
                <a:gd name="connsiteX3" fmla="*/ 246894 w 246893"/>
                <a:gd name="connsiteY3" fmla="*/ 48915 h 85383"/>
                <a:gd name="connsiteX4" fmla="*/ 246894 w 246893"/>
                <a:gd name="connsiteY4" fmla="*/ 0 h 85383"/>
                <a:gd name="connsiteX5" fmla="*/ 239160 w 246893"/>
                <a:gd name="connsiteY5" fmla="*/ 0 h 853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46893" h="85383">
                  <a:moveTo>
                    <a:pt x="0" y="37861"/>
                  </a:moveTo>
                  <a:lnTo>
                    <a:pt x="0" y="48915"/>
                  </a:lnTo>
                  <a:cubicBezTo>
                    <a:pt x="20346" y="70344"/>
                    <a:pt x="67905" y="85384"/>
                    <a:pt x="123447" y="85384"/>
                  </a:cubicBezTo>
                  <a:cubicBezTo>
                    <a:pt x="178989" y="85384"/>
                    <a:pt x="226536" y="70344"/>
                    <a:pt x="246894" y="48915"/>
                  </a:cubicBezTo>
                  <a:lnTo>
                    <a:pt x="246894" y="0"/>
                  </a:lnTo>
                  <a:lnTo>
                    <a:pt x="239160" y="0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418" name="Gráfico 6">
              <a:extLst>
                <a:ext uri="{FF2B5EF4-FFF2-40B4-BE49-F238E27FC236}">
                  <a16:creationId xmlns:a16="http://schemas.microsoft.com/office/drawing/2014/main" id="{1BC6BAF3-5EE3-A739-2986-F1EA5C5E3127}"/>
                </a:ext>
              </a:extLst>
            </p:cNvPr>
            <p:cNvGrpSpPr/>
            <p:nvPr/>
          </p:nvGrpSpPr>
          <p:grpSpPr>
            <a:xfrm>
              <a:off x="5691627" y="1194584"/>
              <a:ext cx="114237" cy="72283"/>
              <a:chOff x="5691627" y="1194584"/>
              <a:chExt cx="114237" cy="72283"/>
            </a:xfrm>
            <a:noFill/>
          </p:grpSpPr>
          <p:sp>
            <p:nvSpPr>
              <p:cNvPr id="419" name="Forma livre: Forma 418">
                <a:extLst>
                  <a:ext uri="{FF2B5EF4-FFF2-40B4-BE49-F238E27FC236}">
                    <a16:creationId xmlns:a16="http://schemas.microsoft.com/office/drawing/2014/main" id="{F10506C9-6235-112C-777B-61A563A29A6F}"/>
                  </a:ext>
                </a:extLst>
              </p:cNvPr>
              <p:cNvSpPr/>
              <p:nvPr/>
            </p:nvSpPr>
            <p:spPr>
              <a:xfrm>
                <a:off x="5767396" y="1205566"/>
                <a:ext cx="38467" cy="61301"/>
              </a:xfrm>
              <a:custGeom>
                <a:avLst/>
                <a:gdLst>
                  <a:gd name="connsiteX0" fmla="*/ 38468 w 38467"/>
                  <a:gd name="connsiteY0" fmla="*/ 0 h 61301"/>
                  <a:gd name="connsiteX1" fmla="*/ 38468 w 38467"/>
                  <a:gd name="connsiteY1" fmla="*/ 42263 h 61301"/>
                  <a:gd name="connsiteX2" fmla="*/ 19430 w 38467"/>
                  <a:gd name="connsiteY2" fmla="*/ 61301 h 61301"/>
                  <a:gd name="connsiteX3" fmla="*/ 19038 w 38467"/>
                  <a:gd name="connsiteY3" fmla="*/ 61301 h 61301"/>
                  <a:gd name="connsiteX4" fmla="*/ 0 w 38467"/>
                  <a:gd name="connsiteY4" fmla="*/ 42263 h 61301"/>
                  <a:gd name="connsiteX5" fmla="*/ 0 w 38467"/>
                  <a:gd name="connsiteY5" fmla="*/ 0 h 613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38467" h="61301">
                    <a:moveTo>
                      <a:pt x="38468" y="0"/>
                    </a:moveTo>
                    <a:lnTo>
                      <a:pt x="38468" y="42263"/>
                    </a:lnTo>
                    <a:cubicBezTo>
                      <a:pt x="38468" y="52734"/>
                      <a:pt x="29901" y="61301"/>
                      <a:pt x="19430" y="61301"/>
                    </a:cubicBezTo>
                    <a:lnTo>
                      <a:pt x="19038" y="61301"/>
                    </a:lnTo>
                    <a:cubicBezTo>
                      <a:pt x="8567" y="61301"/>
                      <a:pt x="0" y="52734"/>
                      <a:pt x="0" y="42263"/>
                    </a:cubicBezTo>
                    <a:lnTo>
                      <a:pt x="0" y="0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20" name="Forma livre: Forma 419">
                <a:extLst>
                  <a:ext uri="{FF2B5EF4-FFF2-40B4-BE49-F238E27FC236}">
                    <a16:creationId xmlns:a16="http://schemas.microsoft.com/office/drawing/2014/main" id="{347F8D77-950C-86CF-6651-F5D00A2F2F34}"/>
                  </a:ext>
                </a:extLst>
              </p:cNvPr>
              <p:cNvSpPr/>
              <p:nvPr/>
            </p:nvSpPr>
            <p:spPr>
              <a:xfrm>
                <a:off x="5691627" y="1194584"/>
                <a:ext cx="37289" cy="58088"/>
              </a:xfrm>
              <a:custGeom>
                <a:avLst/>
                <a:gdLst>
                  <a:gd name="connsiteX0" fmla="*/ 12 w 37289"/>
                  <a:gd name="connsiteY0" fmla="*/ 0 h 58088"/>
                  <a:gd name="connsiteX1" fmla="*/ 12 w 37289"/>
                  <a:gd name="connsiteY1" fmla="*/ 40836 h 58088"/>
                  <a:gd name="connsiteX2" fmla="*/ 14611 w 37289"/>
                  <a:gd name="connsiteY2" fmla="*/ 58088 h 58088"/>
                  <a:gd name="connsiteX3" fmla="*/ 37290 w 37289"/>
                  <a:gd name="connsiteY3" fmla="*/ 38456 h 58088"/>
                  <a:gd name="connsiteX4" fmla="*/ 37290 w 37289"/>
                  <a:gd name="connsiteY4" fmla="*/ 0 h 58088"/>
                  <a:gd name="connsiteX5" fmla="*/ 0 w 37289"/>
                  <a:gd name="connsiteY5" fmla="*/ 0 h 580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37289" h="58088">
                    <a:moveTo>
                      <a:pt x="12" y="0"/>
                    </a:moveTo>
                    <a:lnTo>
                      <a:pt x="12" y="40836"/>
                    </a:lnTo>
                    <a:cubicBezTo>
                      <a:pt x="12" y="51306"/>
                      <a:pt x="4474" y="58088"/>
                      <a:pt x="14611" y="58088"/>
                    </a:cubicBezTo>
                    <a:cubicBezTo>
                      <a:pt x="24749" y="58088"/>
                      <a:pt x="37290" y="48927"/>
                      <a:pt x="37290" y="38456"/>
                    </a:cubicBezTo>
                    <a:lnTo>
                      <a:pt x="37290" y="0"/>
                    </a:lnTo>
                    <a:lnTo>
                      <a:pt x="0" y="0"/>
                    </a:lnTo>
                    <a:close/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421" name="Gráfico 6">
              <a:extLst>
                <a:ext uri="{FF2B5EF4-FFF2-40B4-BE49-F238E27FC236}">
                  <a16:creationId xmlns:a16="http://schemas.microsoft.com/office/drawing/2014/main" id="{04739837-71F5-E4B1-A7A4-8A90C4F94DB2}"/>
                </a:ext>
              </a:extLst>
            </p:cNvPr>
            <p:cNvGrpSpPr/>
            <p:nvPr/>
          </p:nvGrpSpPr>
          <p:grpSpPr>
            <a:xfrm>
              <a:off x="5805864" y="1194584"/>
              <a:ext cx="114237" cy="72283"/>
              <a:chOff x="5805864" y="1194584"/>
              <a:chExt cx="114237" cy="72283"/>
            </a:xfrm>
            <a:noFill/>
          </p:grpSpPr>
          <p:sp>
            <p:nvSpPr>
              <p:cNvPr id="422" name="Forma livre: Forma 421">
                <a:extLst>
                  <a:ext uri="{FF2B5EF4-FFF2-40B4-BE49-F238E27FC236}">
                    <a16:creationId xmlns:a16="http://schemas.microsoft.com/office/drawing/2014/main" id="{5BB62913-693E-4A76-B356-353AE8D8EED5}"/>
                  </a:ext>
                </a:extLst>
              </p:cNvPr>
              <p:cNvSpPr/>
              <p:nvPr/>
            </p:nvSpPr>
            <p:spPr>
              <a:xfrm>
                <a:off x="5805864" y="1205566"/>
                <a:ext cx="38479" cy="61301"/>
              </a:xfrm>
              <a:custGeom>
                <a:avLst/>
                <a:gdLst>
                  <a:gd name="connsiteX0" fmla="*/ 0 w 38479"/>
                  <a:gd name="connsiteY0" fmla="*/ 0 h 61301"/>
                  <a:gd name="connsiteX1" fmla="*/ 0 w 38479"/>
                  <a:gd name="connsiteY1" fmla="*/ 42263 h 61301"/>
                  <a:gd name="connsiteX2" fmla="*/ 19038 w 38479"/>
                  <a:gd name="connsiteY2" fmla="*/ 61301 h 61301"/>
                  <a:gd name="connsiteX3" fmla="*/ 19442 w 38479"/>
                  <a:gd name="connsiteY3" fmla="*/ 61301 h 61301"/>
                  <a:gd name="connsiteX4" fmla="*/ 38480 w 38479"/>
                  <a:gd name="connsiteY4" fmla="*/ 42263 h 61301"/>
                  <a:gd name="connsiteX5" fmla="*/ 38480 w 38479"/>
                  <a:gd name="connsiteY5" fmla="*/ 0 h 613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38479" h="61301">
                    <a:moveTo>
                      <a:pt x="0" y="0"/>
                    </a:moveTo>
                    <a:lnTo>
                      <a:pt x="0" y="42263"/>
                    </a:lnTo>
                    <a:cubicBezTo>
                      <a:pt x="0" y="52734"/>
                      <a:pt x="8567" y="61301"/>
                      <a:pt x="19038" y="61301"/>
                    </a:cubicBezTo>
                    <a:lnTo>
                      <a:pt x="19442" y="61301"/>
                    </a:lnTo>
                    <a:cubicBezTo>
                      <a:pt x="29913" y="61301"/>
                      <a:pt x="38480" y="52734"/>
                      <a:pt x="38480" y="42263"/>
                    </a:cubicBezTo>
                    <a:lnTo>
                      <a:pt x="38480" y="0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23" name="Forma livre: Forma 422">
                <a:extLst>
                  <a:ext uri="{FF2B5EF4-FFF2-40B4-BE49-F238E27FC236}">
                    <a16:creationId xmlns:a16="http://schemas.microsoft.com/office/drawing/2014/main" id="{DE501649-A295-D05B-00E6-FF5C582438C8}"/>
                  </a:ext>
                </a:extLst>
              </p:cNvPr>
              <p:cNvSpPr/>
              <p:nvPr/>
            </p:nvSpPr>
            <p:spPr>
              <a:xfrm>
                <a:off x="5882812" y="1194584"/>
                <a:ext cx="37289" cy="58088"/>
              </a:xfrm>
              <a:custGeom>
                <a:avLst/>
                <a:gdLst>
                  <a:gd name="connsiteX0" fmla="*/ 37290 w 37289"/>
                  <a:gd name="connsiteY0" fmla="*/ 0 h 58088"/>
                  <a:gd name="connsiteX1" fmla="*/ 37290 w 37289"/>
                  <a:gd name="connsiteY1" fmla="*/ 40836 h 58088"/>
                  <a:gd name="connsiteX2" fmla="*/ 22679 w 37289"/>
                  <a:gd name="connsiteY2" fmla="*/ 58088 h 58088"/>
                  <a:gd name="connsiteX3" fmla="*/ 0 w 37289"/>
                  <a:gd name="connsiteY3" fmla="*/ 38456 h 58088"/>
                  <a:gd name="connsiteX4" fmla="*/ 0 w 37289"/>
                  <a:gd name="connsiteY4" fmla="*/ 0 h 58088"/>
                  <a:gd name="connsiteX5" fmla="*/ 37290 w 37289"/>
                  <a:gd name="connsiteY5" fmla="*/ 0 h 580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37289" h="58088">
                    <a:moveTo>
                      <a:pt x="37290" y="0"/>
                    </a:moveTo>
                    <a:lnTo>
                      <a:pt x="37290" y="40836"/>
                    </a:lnTo>
                    <a:cubicBezTo>
                      <a:pt x="37290" y="51306"/>
                      <a:pt x="32828" y="58088"/>
                      <a:pt x="22679" y="58088"/>
                    </a:cubicBezTo>
                    <a:cubicBezTo>
                      <a:pt x="12529" y="58088"/>
                      <a:pt x="0" y="48927"/>
                      <a:pt x="0" y="38456"/>
                    </a:cubicBezTo>
                    <a:lnTo>
                      <a:pt x="0" y="0"/>
                    </a:lnTo>
                    <a:lnTo>
                      <a:pt x="37290" y="0"/>
                    </a:lnTo>
                    <a:close/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424" name="Forma livre: Forma 423">
              <a:extLst>
                <a:ext uri="{FF2B5EF4-FFF2-40B4-BE49-F238E27FC236}">
                  <a16:creationId xmlns:a16="http://schemas.microsoft.com/office/drawing/2014/main" id="{62A23134-7055-2B8F-3CEC-2ED1CA10FFF2}"/>
                </a:ext>
              </a:extLst>
            </p:cNvPr>
            <p:cNvSpPr/>
            <p:nvPr/>
          </p:nvSpPr>
          <p:spPr>
            <a:xfrm>
              <a:off x="5728917" y="1202615"/>
              <a:ext cx="153895" cy="59278"/>
            </a:xfrm>
            <a:custGeom>
              <a:avLst/>
              <a:gdLst>
                <a:gd name="connsiteX0" fmla="*/ 115427 w 153895"/>
                <a:gd name="connsiteY0" fmla="*/ 39646 h 59278"/>
                <a:gd name="connsiteX1" fmla="*/ 138820 w 153895"/>
                <a:gd name="connsiteY1" fmla="*/ 59278 h 59278"/>
                <a:gd name="connsiteX2" fmla="*/ 153895 w 153895"/>
                <a:gd name="connsiteY2" fmla="*/ 42026 h 59278"/>
                <a:gd name="connsiteX3" fmla="*/ 153895 w 153895"/>
                <a:gd name="connsiteY3" fmla="*/ 0 h 59278"/>
                <a:gd name="connsiteX4" fmla="*/ 0 w 153895"/>
                <a:gd name="connsiteY4" fmla="*/ 0 h 59278"/>
                <a:gd name="connsiteX5" fmla="*/ 0 w 153895"/>
                <a:gd name="connsiteY5" fmla="*/ 42026 h 59278"/>
                <a:gd name="connsiteX6" fmla="*/ 15075 w 153895"/>
                <a:gd name="connsiteY6" fmla="*/ 59278 h 59278"/>
                <a:gd name="connsiteX7" fmla="*/ 38480 w 153895"/>
                <a:gd name="connsiteY7" fmla="*/ 39646 h 592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53895" h="59278">
                  <a:moveTo>
                    <a:pt x="115427" y="39646"/>
                  </a:moveTo>
                  <a:cubicBezTo>
                    <a:pt x="115427" y="50116"/>
                    <a:pt x="128361" y="59278"/>
                    <a:pt x="138820" y="59278"/>
                  </a:cubicBezTo>
                  <a:cubicBezTo>
                    <a:pt x="149279" y="59278"/>
                    <a:pt x="153895" y="52496"/>
                    <a:pt x="153895" y="42026"/>
                  </a:cubicBezTo>
                  <a:lnTo>
                    <a:pt x="153895" y="0"/>
                  </a:lnTo>
                  <a:lnTo>
                    <a:pt x="0" y="0"/>
                  </a:lnTo>
                  <a:lnTo>
                    <a:pt x="0" y="42026"/>
                  </a:lnTo>
                  <a:cubicBezTo>
                    <a:pt x="0" y="52496"/>
                    <a:pt x="4605" y="59278"/>
                    <a:pt x="15075" y="59278"/>
                  </a:cubicBezTo>
                  <a:cubicBezTo>
                    <a:pt x="25546" y="59278"/>
                    <a:pt x="38480" y="50116"/>
                    <a:pt x="38480" y="39646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425" name="Gráfico 6">
            <a:extLst>
              <a:ext uri="{FF2B5EF4-FFF2-40B4-BE49-F238E27FC236}">
                <a16:creationId xmlns:a16="http://schemas.microsoft.com/office/drawing/2014/main" id="{A7034D65-5169-EBF7-7360-633EADC55B3D}"/>
              </a:ext>
            </a:extLst>
          </p:cNvPr>
          <p:cNvGrpSpPr/>
          <p:nvPr/>
        </p:nvGrpSpPr>
        <p:grpSpPr>
          <a:xfrm>
            <a:off x="4415308" y="2602224"/>
            <a:ext cx="300689" cy="296319"/>
            <a:chOff x="4415308" y="2602224"/>
            <a:chExt cx="300689" cy="296319"/>
          </a:xfrm>
          <a:noFill/>
        </p:grpSpPr>
        <p:sp>
          <p:nvSpPr>
            <p:cNvPr id="426" name="Forma livre: Forma 425">
              <a:extLst>
                <a:ext uri="{FF2B5EF4-FFF2-40B4-BE49-F238E27FC236}">
                  <a16:creationId xmlns:a16="http://schemas.microsoft.com/office/drawing/2014/main" id="{C7672BBF-74BC-8FF8-1FD5-4AF3F393A13A}"/>
                </a:ext>
              </a:extLst>
            </p:cNvPr>
            <p:cNvSpPr/>
            <p:nvPr/>
          </p:nvSpPr>
          <p:spPr>
            <a:xfrm>
              <a:off x="4415308" y="2690260"/>
              <a:ext cx="162119" cy="208283"/>
            </a:xfrm>
            <a:custGeom>
              <a:avLst/>
              <a:gdLst>
                <a:gd name="connsiteX0" fmla="*/ 79413 w 162119"/>
                <a:gd name="connsiteY0" fmla="*/ 7949 h 208283"/>
                <a:gd name="connsiteX1" fmla="*/ 20539 w 162119"/>
                <a:gd name="connsiteY1" fmla="*/ 11161 h 208283"/>
                <a:gd name="connsiteX2" fmla="*/ 9212 w 162119"/>
                <a:gd name="connsiteY2" fmla="*/ 85360 h 208283"/>
                <a:gd name="connsiteX3" fmla="*/ 39874 w 162119"/>
                <a:gd name="connsiteY3" fmla="*/ 173873 h 208283"/>
                <a:gd name="connsiteX4" fmla="*/ 60863 w 162119"/>
                <a:gd name="connsiteY4" fmla="*/ 205583 h 208283"/>
                <a:gd name="connsiteX5" fmla="*/ 71179 w 162119"/>
                <a:gd name="connsiteY5" fmla="*/ 208236 h 208283"/>
                <a:gd name="connsiteX6" fmla="*/ 79365 w 162119"/>
                <a:gd name="connsiteY6" fmla="*/ 167603 h 208283"/>
                <a:gd name="connsiteX7" fmla="*/ 95464 w 162119"/>
                <a:gd name="connsiteY7" fmla="*/ 125756 h 208283"/>
                <a:gd name="connsiteX8" fmla="*/ 111563 w 162119"/>
                <a:gd name="connsiteY8" fmla="*/ 167603 h 208283"/>
                <a:gd name="connsiteX9" fmla="*/ 119737 w 162119"/>
                <a:gd name="connsiteY9" fmla="*/ 208236 h 208283"/>
                <a:gd name="connsiteX10" fmla="*/ 130053 w 162119"/>
                <a:gd name="connsiteY10" fmla="*/ 205583 h 208283"/>
                <a:gd name="connsiteX11" fmla="*/ 151030 w 162119"/>
                <a:gd name="connsiteY11" fmla="*/ 173873 h 208283"/>
                <a:gd name="connsiteX12" fmla="*/ 162119 w 162119"/>
                <a:gd name="connsiteY12" fmla="*/ 125637 h 2082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62119" h="208283">
                  <a:moveTo>
                    <a:pt x="79413" y="7949"/>
                  </a:moveTo>
                  <a:cubicBezTo>
                    <a:pt x="60435" y="-3034"/>
                    <a:pt x="39053" y="-3248"/>
                    <a:pt x="20539" y="11161"/>
                  </a:cubicBezTo>
                  <a:cubicBezTo>
                    <a:pt x="-1854" y="28605"/>
                    <a:pt x="-6411" y="61218"/>
                    <a:pt x="9212" y="85360"/>
                  </a:cubicBezTo>
                  <a:cubicBezTo>
                    <a:pt x="9212" y="85360"/>
                    <a:pt x="37007" y="128588"/>
                    <a:pt x="39874" y="173873"/>
                  </a:cubicBezTo>
                  <a:cubicBezTo>
                    <a:pt x="39874" y="173873"/>
                    <a:pt x="39648" y="198289"/>
                    <a:pt x="60863" y="205583"/>
                  </a:cubicBezTo>
                  <a:cubicBezTo>
                    <a:pt x="60863" y="205583"/>
                    <a:pt x="67455" y="208700"/>
                    <a:pt x="71179" y="208236"/>
                  </a:cubicBezTo>
                  <a:cubicBezTo>
                    <a:pt x="78675" y="207320"/>
                    <a:pt x="80103" y="196457"/>
                    <a:pt x="79365" y="167603"/>
                  </a:cubicBezTo>
                  <a:cubicBezTo>
                    <a:pt x="79365" y="167603"/>
                    <a:pt x="77830" y="125756"/>
                    <a:pt x="95464" y="125756"/>
                  </a:cubicBezTo>
                  <a:cubicBezTo>
                    <a:pt x="113098" y="125756"/>
                    <a:pt x="111563" y="167603"/>
                    <a:pt x="111563" y="167603"/>
                  </a:cubicBezTo>
                  <a:cubicBezTo>
                    <a:pt x="110825" y="196457"/>
                    <a:pt x="112241" y="207320"/>
                    <a:pt x="119737" y="208236"/>
                  </a:cubicBezTo>
                  <a:cubicBezTo>
                    <a:pt x="123449" y="208700"/>
                    <a:pt x="130053" y="205583"/>
                    <a:pt x="130053" y="205583"/>
                  </a:cubicBezTo>
                  <a:cubicBezTo>
                    <a:pt x="151256" y="198289"/>
                    <a:pt x="151030" y="173873"/>
                    <a:pt x="151030" y="173873"/>
                  </a:cubicBezTo>
                  <a:cubicBezTo>
                    <a:pt x="152113" y="156763"/>
                    <a:pt x="156753" y="139939"/>
                    <a:pt x="162119" y="125637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27" name="Forma livre: Forma 426">
              <a:extLst>
                <a:ext uri="{FF2B5EF4-FFF2-40B4-BE49-F238E27FC236}">
                  <a16:creationId xmlns:a16="http://schemas.microsoft.com/office/drawing/2014/main" id="{473DF176-1291-0C63-3B3A-F03932D95D70}"/>
                </a:ext>
              </a:extLst>
            </p:cNvPr>
            <p:cNvSpPr/>
            <p:nvPr/>
          </p:nvSpPr>
          <p:spPr>
            <a:xfrm>
              <a:off x="4519744" y="2602224"/>
              <a:ext cx="196253" cy="196242"/>
            </a:xfrm>
            <a:custGeom>
              <a:avLst/>
              <a:gdLst>
                <a:gd name="connsiteX0" fmla="*/ 21869 w 196253"/>
                <a:gd name="connsiteY0" fmla="*/ 36362 h 196242"/>
                <a:gd name="connsiteX1" fmla="*/ 0 w 196253"/>
                <a:gd name="connsiteY1" fmla="*/ 98127 h 196242"/>
                <a:gd name="connsiteX2" fmla="*/ 98127 w 196253"/>
                <a:gd name="connsiteY2" fmla="*/ 196242 h 196242"/>
                <a:gd name="connsiteX3" fmla="*/ 196254 w 196253"/>
                <a:gd name="connsiteY3" fmla="*/ 98127 h 196242"/>
                <a:gd name="connsiteX4" fmla="*/ 98127 w 196253"/>
                <a:gd name="connsiteY4" fmla="*/ 0 h 196242"/>
                <a:gd name="connsiteX5" fmla="*/ 44905 w 196253"/>
                <a:gd name="connsiteY5" fmla="*/ 15670 h 1962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96253" h="196242">
                  <a:moveTo>
                    <a:pt x="21869" y="36362"/>
                  </a:moveTo>
                  <a:cubicBezTo>
                    <a:pt x="8198" y="53234"/>
                    <a:pt x="0" y="74723"/>
                    <a:pt x="0" y="98127"/>
                  </a:cubicBezTo>
                  <a:cubicBezTo>
                    <a:pt x="0" y="152313"/>
                    <a:pt x="43929" y="196242"/>
                    <a:pt x="98127" y="196242"/>
                  </a:cubicBezTo>
                  <a:cubicBezTo>
                    <a:pt x="152325" y="196242"/>
                    <a:pt x="196254" y="152313"/>
                    <a:pt x="196254" y="98127"/>
                  </a:cubicBezTo>
                  <a:cubicBezTo>
                    <a:pt x="196254" y="43941"/>
                    <a:pt x="152313" y="0"/>
                    <a:pt x="98127" y="0"/>
                  </a:cubicBezTo>
                  <a:cubicBezTo>
                    <a:pt x="78506" y="0"/>
                    <a:pt x="60230" y="5759"/>
                    <a:pt x="44905" y="1567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428" name="Gráfico 6">
              <a:extLst>
                <a:ext uri="{FF2B5EF4-FFF2-40B4-BE49-F238E27FC236}">
                  <a16:creationId xmlns:a16="http://schemas.microsoft.com/office/drawing/2014/main" id="{3EC59C9B-F0DC-8B5C-C1CC-4832673E67A3}"/>
                </a:ext>
              </a:extLst>
            </p:cNvPr>
            <p:cNvGrpSpPr/>
            <p:nvPr/>
          </p:nvGrpSpPr>
          <p:grpSpPr>
            <a:xfrm>
              <a:off x="4519660" y="2700291"/>
              <a:ext cx="196051" cy="1189"/>
              <a:chOff x="4519660" y="2700291"/>
              <a:chExt cx="196051" cy="1189"/>
            </a:xfrm>
          </p:grpSpPr>
          <p:sp>
            <p:nvSpPr>
              <p:cNvPr id="429" name="Forma livre: Forma 428">
                <a:extLst>
                  <a:ext uri="{FF2B5EF4-FFF2-40B4-BE49-F238E27FC236}">
                    <a16:creationId xmlns:a16="http://schemas.microsoft.com/office/drawing/2014/main" id="{D11DED57-8528-E39F-AADC-820CCAE168EE}"/>
                  </a:ext>
                </a:extLst>
              </p:cNvPr>
              <p:cNvSpPr/>
              <p:nvPr/>
            </p:nvSpPr>
            <p:spPr>
              <a:xfrm>
                <a:off x="4519660" y="2700291"/>
                <a:ext cx="28282" cy="1189"/>
              </a:xfrm>
              <a:custGeom>
                <a:avLst/>
                <a:gdLst>
                  <a:gd name="connsiteX0" fmla="*/ 28283 w 28282"/>
                  <a:gd name="connsiteY0" fmla="*/ 0 h 1189"/>
                  <a:gd name="connsiteX1" fmla="*/ 0 w 28282"/>
                  <a:gd name="connsiteY1" fmla="*/ 0 h 11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8282" h="1189">
                    <a:moveTo>
                      <a:pt x="28283" y="0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30" name="Forma livre: Forma 429">
                <a:extLst>
                  <a:ext uri="{FF2B5EF4-FFF2-40B4-BE49-F238E27FC236}">
                    <a16:creationId xmlns:a16="http://schemas.microsoft.com/office/drawing/2014/main" id="{AD582F02-0141-21B7-67B5-BC9B3F243743}"/>
                  </a:ext>
                </a:extLst>
              </p:cNvPr>
              <p:cNvSpPr/>
              <p:nvPr/>
            </p:nvSpPr>
            <p:spPr>
              <a:xfrm>
                <a:off x="4687429" y="2700291"/>
                <a:ext cx="28282" cy="1189"/>
              </a:xfrm>
              <a:custGeom>
                <a:avLst/>
                <a:gdLst>
                  <a:gd name="connsiteX0" fmla="*/ 28283 w 28282"/>
                  <a:gd name="connsiteY0" fmla="*/ 0 h 1189"/>
                  <a:gd name="connsiteX1" fmla="*/ 0 w 28282"/>
                  <a:gd name="connsiteY1" fmla="*/ 0 h 11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8282" h="1189">
                    <a:moveTo>
                      <a:pt x="28283" y="0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431" name="Gráfico 6">
              <a:extLst>
                <a:ext uri="{FF2B5EF4-FFF2-40B4-BE49-F238E27FC236}">
                  <a16:creationId xmlns:a16="http://schemas.microsoft.com/office/drawing/2014/main" id="{3BFF83A8-8ECE-885B-B26D-6C38F97CDD45}"/>
                </a:ext>
              </a:extLst>
            </p:cNvPr>
            <p:cNvGrpSpPr/>
            <p:nvPr/>
          </p:nvGrpSpPr>
          <p:grpSpPr>
            <a:xfrm>
              <a:off x="4617692" y="2602248"/>
              <a:ext cx="1189" cy="196063"/>
              <a:chOff x="4617692" y="2602248"/>
              <a:chExt cx="1189" cy="196063"/>
            </a:xfrm>
          </p:grpSpPr>
          <p:sp>
            <p:nvSpPr>
              <p:cNvPr id="432" name="Forma livre: Forma 431">
                <a:extLst>
                  <a:ext uri="{FF2B5EF4-FFF2-40B4-BE49-F238E27FC236}">
                    <a16:creationId xmlns:a16="http://schemas.microsoft.com/office/drawing/2014/main" id="{E0C2ACAF-996F-1B1F-A281-F578A016C2DF}"/>
                  </a:ext>
                </a:extLst>
              </p:cNvPr>
              <p:cNvSpPr/>
              <p:nvPr/>
            </p:nvSpPr>
            <p:spPr>
              <a:xfrm>
                <a:off x="4617692" y="2602248"/>
                <a:ext cx="1189" cy="28294"/>
              </a:xfrm>
              <a:custGeom>
                <a:avLst/>
                <a:gdLst>
                  <a:gd name="connsiteX0" fmla="*/ 0 w 1189"/>
                  <a:gd name="connsiteY0" fmla="*/ 28295 h 28294"/>
                  <a:gd name="connsiteX1" fmla="*/ 0 w 1189"/>
                  <a:gd name="connsiteY1" fmla="*/ 0 h 282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89" h="28294">
                    <a:moveTo>
                      <a:pt x="0" y="28295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33" name="Forma livre: Forma 432">
                <a:extLst>
                  <a:ext uri="{FF2B5EF4-FFF2-40B4-BE49-F238E27FC236}">
                    <a16:creationId xmlns:a16="http://schemas.microsoft.com/office/drawing/2014/main" id="{E7F13667-101C-307E-ECCC-57106B70AEAF}"/>
                  </a:ext>
                </a:extLst>
              </p:cNvPr>
              <p:cNvSpPr/>
              <p:nvPr/>
            </p:nvSpPr>
            <p:spPr>
              <a:xfrm>
                <a:off x="4617692" y="2770016"/>
                <a:ext cx="1189" cy="28294"/>
              </a:xfrm>
              <a:custGeom>
                <a:avLst/>
                <a:gdLst>
                  <a:gd name="connsiteX0" fmla="*/ 0 w 1189"/>
                  <a:gd name="connsiteY0" fmla="*/ 28295 h 28294"/>
                  <a:gd name="connsiteX1" fmla="*/ 0 w 1189"/>
                  <a:gd name="connsiteY1" fmla="*/ 0 h 282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89" h="28294">
                    <a:moveTo>
                      <a:pt x="0" y="28295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434" name="Forma livre: Forma 433">
              <a:extLst>
                <a:ext uri="{FF2B5EF4-FFF2-40B4-BE49-F238E27FC236}">
                  <a16:creationId xmlns:a16="http://schemas.microsoft.com/office/drawing/2014/main" id="{9E7DBD1A-371A-2571-F724-F8640CE9EF97}"/>
                </a:ext>
              </a:extLst>
            </p:cNvPr>
            <p:cNvSpPr/>
            <p:nvPr/>
          </p:nvSpPr>
          <p:spPr>
            <a:xfrm>
              <a:off x="4585649" y="2659218"/>
              <a:ext cx="83325" cy="50425"/>
            </a:xfrm>
            <a:custGeom>
              <a:avLst/>
              <a:gdLst>
                <a:gd name="connsiteX0" fmla="*/ 83325 w 83325"/>
                <a:gd name="connsiteY0" fmla="*/ 0 h 50425"/>
                <a:gd name="connsiteX1" fmla="*/ 32887 w 83325"/>
                <a:gd name="connsiteY1" fmla="*/ 50426 h 50425"/>
                <a:gd name="connsiteX2" fmla="*/ 0 w 83325"/>
                <a:gd name="connsiteY2" fmla="*/ 19335 h 504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83325" h="50425">
                  <a:moveTo>
                    <a:pt x="83325" y="0"/>
                  </a:moveTo>
                  <a:lnTo>
                    <a:pt x="32887" y="50426"/>
                  </a:lnTo>
                  <a:lnTo>
                    <a:pt x="0" y="19335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435" name="Gráfico 6">
            <a:extLst>
              <a:ext uri="{FF2B5EF4-FFF2-40B4-BE49-F238E27FC236}">
                <a16:creationId xmlns:a16="http://schemas.microsoft.com/office/drawing/2014/main" id="{D23E410E-68D7-A771-8557-EDF6E1179562}"/>
              </a:ext>
            </a:extLst>
          </p:cNvPr>
          <p:cNvGrpSpPr/>
          <p:nvPr/>
        </p:nvGrpSpPr>
        <p:grpSpPr>
          <a:xfrm>
            <a:off x="5047647" y="2603747"/>
            <a:ext cx="275321" cy="293271"/>
            <a:chOff x="5047647" y="2603747"/>
            <a:chExt cx="275321" cy="293271"/>
          </a:xfrm>
          <a:noFill/>
        </p:grpSpPr>
        <p:grpSp>
          <p:nvGrpSpPr>
            <p:cNvPr id="436" name="Gráfico 6">
              <a:extLst>
                <a:ext uri="{FF2B5EF4-FFF2-40B4-BE49-F238E27FC236}">
                  <a16:creationId xmlns:a16="http://schemas.microsoft.com/office/drawing/2014/main" id="{9456A051-3A7A-B076-A0E6-F984EF2D0F58}"/>
                </a:ext>
              </a:extLst>
            </p:cNvPr>
            <p:cNvGrpSpPr/>
            <p:nvPr/>
          </p:nvGrpSpPr>
          <p:grpSpPr>
            <a:xfrm>
              <a:off x="5166873" y="2603747"/>
              <a:ext cx="156096" cy="213685"/>
              <a:chOff x="5166873" y="2603747"/>
              <a:chExt cx="156096" cy="213685"/>
            </a:xfrm>
            <a:noFill/>
          </p:grpSpPr>
          <p:sp>
            <p:nvSpPr>
              <p:cNvPr id="437" name="Forma livre: Forma 436">
                <a:extLst>
                  <a:ext uri="{FF2B5EF4-FFF2-40B4-BE49-F238E27FC236}">
                    <a16:creationId xmlns:a16="http://schemas.microsoft.com/office/drawing/2014/main" id="{B25255FD-0661-4C80-A661-C4600BCBB24F}"/>
                  </a:ext>
                </a:extLst>
              </p:cNvPr>
              <p:cNvSpPr/>
              <p:nvPr/>
            </p:nvSpPr>
            <p:spPr>
              <a:xfrm>
                <a:off x="5166873" y="2603747"/>
                <a:ext cx="156096" cy="213685"/>
              </a:xfrm>
              <a:custGeom>
                <a:avLst/>
                <a:gdLst>
                  <a:gd name="connsiteX0" fmla="*/ 156043 w 156096"/>
                  <a:gd name="connsiteY0" fmla="*/ 101649 h 213685"/>
                  <a:gd name="connsiteX1" fmla="*/ 156043 w 156096"/>
                  <a:gd name="connsiteY1" fmla="*/ 35422 h 213685"/>
                  <a:gd name="connsiteX2" fmla="*/ 78370 w 156096"/>
                  <a:gd name="connsiteY2" fmla="*/ 0 h 213685"/>
                  <a:gd name="connsiteX3" fmla="*/ 78 w 156096"/>
                  <a:gd name="connsiteY3" fmla="*/ 34815 h 213685"/>
                  <a:gd name="connsiteX4" fmla="*/ 78 w 156096"/>
                  <a:gd name="connsiteY4" fmla="*/ 101042 h 213685"/>
                  <a:gd name="connsiteX5" fmla="*/ 77549 w 156096"/>
                  <a:gd name="connsiteY5" fmla="*/ 213685 h 213685"/>
                  <a:gd name="connsiteX6" fmla="*/ 156043 w 156096"/>
                  <a:gd name="connsiteY6" fmla="*/ 101649 h 2136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56096" h="213685">
                    <a:moveTo>
                      <a:pt x="156043" y="101649"/>
                    </a:moveTo>
                    <a:lnTo>
                      <a:pt x="156043" y="35422"/>
                    </a:lnTo>
                    <a:cubicBezTo>
                      <a:pt x="91625" y="35172"/>
                      <a:pt x="78370" y="0"/>
                      <a:pt x="78370" y="0"/>
                    </a:cubicBezTo>
                    <a:cubicBezTo>
                      <a:pt x="78370" y="0"/>
                      <a:pt x="64496" y="35053"/>
                      <a:pt x="78" y="34815"/>
                    </a:cubicBezTo>
                    <a:lnTo>
                      <a:pt x="78" y="101042"/>
                    </a:lnTo>
                    <a:cubicBezTo>
                      <a:pt x="78" y="101042"/>
                      <a:pt x="-5491" y="172576"/>
                      <a:pt x="77549" y="213685"/>
                    </a:cubicBezTo>
                    <a:cubicBezTo>
                      <a:pt x="160898" y="173206"/>
                      <a:pt x="156043" y="101649"/>
                      <a:pt x="156043" y="101649"/>
                    </a:cubicBezTo>
                    <a:close/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38" name="Forma livre: Forma 437">
                <a:extLst>
                  <a:ext uri="{FF2B5EF4-FFF2-40B4-BE49-F238E27FC236}">
                    <a16:creationId xmlns:a16="http://schemas.microsoft.com/office/drawing/2014/main" id="{42B46C13-805B-6831-84CA-A79309446DE1}"/>
                  </a:ext>
                </a:extLst>
              </p:cNvPr>
              <p:cNvSpPr/>
              <p:nvPr/>
            </p:nvSpPr>
            <p:spPr>
              <a:xfrm>
                <a:off x="5209987" y="2680028"/>
                <a:ext cx="69808" cy="57612"/>
              </a:xfrm>
              <a:custGeom>
                <a:avLst/>
                <a:gdLst>
                  <a:gd name="connsiteX0" fmla="*/ 0 w 69808"/>
                  <a:gd name="connsiteY0" fmla="*/ 29461 h 57612"/>
                  <a:gd name="connsiteX1" fmla="*/ 27938 w 69808"/>
                  <a:gd name="connsiteY1" fmla="*/ 57613 h 57612"/>
                  <a:gd name="connsiteX2" fmla="*/ 69808 w 69808"/>
                  <a:gd name="connsiteY2" fmla="*/ 0 h 576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69808" h="57612">
                    <a:moveTo>
                      <a:pt x="0" y="29461"/>
                    </a:moveTo>
                    <a:lnTo>
                      <a:pt x="27938" y="57613"/>
                    </a:lnTo>
                    <a:lnTo>
                      <a:pt x="69808" y="0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439" name="Forma livre: Forma 438">
              <a:extLst>
                <a:ext uri="{FF2B5EF4-FFF2-40B4-BE49-F238E27FC236}">
                  <a16:creationId xmlns:a16="http://schemas.microsoft.com/office/drawing/2014/main" id="{5E720FA2-D2DE-E8FD-4128-0DFAB0FFA675}"/>
                </a:ext>
              </a:extLst>
            </p:cNvPr>
            <p:cNvSpPr/>
            <p:nvPr/>
          </p:nvSpPr>
          <p:spPr>
            <a:xfrm>
              <a:off x="5047647" y="2688768"/>
              <a:ext cx="158770" cy="208250"/>
            </a:xfrm>
            <a:custGeom>
              <a:avLst/>
              <a:gdLst>
                <a:gd name="connsiteX0" fmla="*/ 92187 w 158770"/>
                <a:gd name="connsiteY0" fmla="*/ 16271 h 208250"/>
                <a:gd name="connsiteX1" fmla="*/ 20534 w 158770"/>
                <a:gd name="connsiteY1" fmla="*/ 11154 h 208250"/>
                <a:gd name="connsiteX2" fmla="*/ 9207 w 158770"/>
                <a:gd name="connsiteY2" fmla="*/ 85341 h 208250"/>
                <a:gd name="connsiteX3" fmla="*/ 39869 w 158770"/>
                <a:gd name="connsiteY3" fmla="*/ 173843 h 208250"/>
                <a:gd name="connsiteX4" fmla="*/ 60846 w 158770"/>
                <a:gd name="connsiteY4" fmla="*/ 205540 h 208250"/>
                <a:gd name="connsiteX5" fmla="*/ 71162 w 158770"/>
                <a:gd name="connsiteY5" fmla="*/ 208205 h 208250"/>
                <a:gd name="connsiteX6" fmla="*/ 79336 w 158770"/>
                <a:gd name="connsiteY6" fmla="*/ 167572 h 208250"/>
                <a:gd name="connsiteX7" fmla="*/ 95435 w 158770"/>
                <a:gd name="connsiteY7" fmla="*/ 125737 h 208250"/>
                <a:gd name="connsiteX8" fmla="*/ 111534 w 158770"/>
                <a:gd name="connsiteY8" fmla="*/ 167572 h 208250"/>
                <a:gd name="connsiteX9" fmla="*/ 119708 w 158770"/>
                <a:gd name="connsiteY9" fmla="*/ 208205 h 208250"/>
                <a:gd name="connsiteX10" fmla="*/ 130024 w 158770"/>
                <a:gd name="connsiteY10" fmla="*/ 205540 h 208250"/>
                <a:gd name="connsiteX11" fmla="*/ 151001 w 158770"/>
                <a:gd name="connsiteY11" fmla="*/ 173843 h 208250"/>
                <a:gd name="connsiteX12" fmla="*/ 158771 w 158770"/>
                <a:gd name="connsiteY12" fmla="*/ 135137 h 208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58770" h="208250">
                  <a:moveTo>
                    <a:pt x="92187" y="16271"/>
                  </a:moveTo>
                  <a:cubicBezTo>
                    <a:pt x="70710" y="-2279"/>
                    <a:pt x="42939" y="-6289"/>
                    <a:pt x="20534" y="11154"/>
                  </a:cubicBezTo>
                  <a:cubicBezTo>
                    <a:pt x="-1859" y="28598"/>
                    <a:pt x="-6404" y="61211"/>
                    <a:pt x="9207" y="85341"/>
                  </a:cubicBezTo>
                  <a:cubicBezTo>
                    <a:pt x="9207" y="85341"/>
                    <a:pt x="37002" y="128557"/>
                    <a:pt x="39869" y="173843"/>
                  </a:cubicBezTo>
                  <a:cubicBezTo>
                    <a:pt x="39869" y="173843"/>
                    <a:pt x="39655" y="198258"/>
                    <a:pt x="60846" y="205540"/>
                  </a:cubicBezTo>
                  <a:cubicBezTo>
                    <a:pt x="60846" y="205540"/>
                    <a:pt x="67438" y="208658"/>
                    <a:pt x="71162" y="208205"/>
                  </a:cubicBezTo>
                  <a:cubicBezTo>
                    <a:pt x="78670" y="207277"/>
                    <a:pt x="80074" y="196426"/>
                    <a:pt x="79336" y="167572"/>
                  </a:cubicBezTo>
                  <a:cubicBezTo>
                    <a:pt x="79336" y="167572"/>
                    <a:pt x="77801" y="125737"/>
                    <a:pt x="95435" y="125737"/>
                  </a:cubicBezTo>
                  <a:cubicBezTo>
                    <a:pt x="113069" y="125737"/>
                    <a:pt x="111534" y="167572"/>
                    <a:pt x="111534" y="167572"/>
                  </a:cubicBezTo>
                  <a:cubicBezTo>
                    <a:pt x="110784" y="196426"/>
                    <a:pt x="112200" y="207289"/>
                    <a:pt x="119708" y="208205"/>
                  </a:cubicBezTo>
                  <a:cubicBezTo>
                    <a:pt x="123420" y="208658"/>
                    <a:pt x="130024" y="205540"/>
                    <a:pt x="130024" y="205540"/>
                  </a:cubicBezTo>
                  <a:cubicBezTo>
                    <a:pt x="151215" y="198258"/>
                    <a:pt x="151001" y="173843"/>
                    <a:pt x="151001" y="173843"/>
                  </a:cubicBezTo>
                  <a:cubicBezTo>
                    <a:pt x="151846" y="160397"/>
                    <a:pt x="154904" y="147142"/>
                    <a:pt x="158771" y="135137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440" name="Gráfico 6">
            <a:extLst>
              <a:ext uri="{FF2B5EF4-FFF2-40B4-BE49-F238E27FC236}">
                <a16:creationId xmlns:a16="http://schemas.microsoft.com/office/drawing/2014/main" id="{345A43ED-7C45-B7B5-11C7-345ABB5F3DC8}"/>
              </a:ext>
            </a:extLst>
          </p:cNvPr>
          <p:cNvGrpSpPr/>
          <p:nvPr/>
        </p:nvGrpSpPr>
        <p:grpSpPr>
          <a:xfrm>
            <a:off x="5680775" y="2603223"/>
            <a:ext cx="248339" cy="294309"/>
            <a:chOff x="5680775" y="2603223"/>
            <a:chExt cx="248339" cy="294309"/>
          </a:xfrm>
        </p:grpSpPr>
        <p:sp>
          <p:nvSpPr>
            <p:cNvPr id="441" name="Forma livre: Forma 440">
              <a:extLst>
                <a:ext uri="{FF2B5EF4-FFF2-40B4-BE49-F238E27FC236}">
                  <a16:creationId xmlns:a16="http://schemas.microsoft.com/office/drawing/2014/main" id="{9826B759-D49F-5503-B5BB-56B435DE4CA1}"/>
                </a:ext>
              </a:extLst>
            </p:cNvPr>
            <p:cNvSpPr/>
            <p:nvPr/>
          </p:nvSpPr>
          <p:spPr>
            <a:xfrm>
              <a:off x="5692924" y="2862028"/>
              <a:ext cx="20108" cy="16991"/>
            </a:xfrm>
            <a:custGeom>
              <a:avLst/>
              <a:gdLst>
                <a:gd name="connsiteX0" fmla="*/ 20109 w 20108"/>
                <a:gd name="connsiteY0" fmla="*/ 0 h 16991"/>
                <a:gd name="connsiteX1" fmla="*/ 0 w 20108"/>
                <a:gd name="connsiteY1" fmla="*/ 16991 h 169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0108" h="16991">
                  <a:moveTo>
                    <a:pt x="20109" y="0"/>
                  </a:moveTo>
                  <a:lnTo>
                    <a:pt x="0" y="16991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42" name="Forma livre: Forma 441">
              <a:extLst>
                <a:ext uri="{FF2B5EF4-FFF2-40B4-BE49-F238E27FC236}">
                  <a16:creationId xmlns:a16="http://schemas.microsoft.com/office/drawing/2014/main" id="{9B1AC64B-7E5A-A9D9-0967-708D9056486D}"/>
                </a:ext>
              </a:extLst>
            </p:cNvPr>
            <p:cNvSpPr/>
            <p:nvPr/>
          </p:nvSpPr>
          <p:spPr>
            <a:xfrm>
              <a:off x="5680775" y="2831805"/>
              <a:ext cx="27580" cy="2332"/>
            </a:xfrm>
            <a:custGeom>
              <a:avLst/>
              <a:gdLst>
                <a:gd name="connsiteX0" fmla="*/ 27581 w 27580"/>
                <a:gd name="connsiteY0" fmla="*/ 2332 h 2332"/>
                <a:gd name="connsiteX1" fmla="*/ 0 w 27580"/>
                <a:gd name="connsiteY1" fmla="*/ 0 h 23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7580" h="2332">
                  <a:moveTo>
                    <a:pt x="27581" y="2332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43" name="Forma livre: Forma 442">
              <a:extLst>
                <a:ext uri="{FF2B5EF4-FFF2-40B4-BE49-F238E27FC236}">
                  <a16:creationId xmlns:a16="http://schemas.microsoft.com/office/drawing/2014/main" id="{BBFDC2EB-A419-46B9-5296-0005E972FCDB}"/>
                </a:ext>
              </a:extLst>
            </p:cNvPr>
            <p:cNvSpPr/>
            <p:nvPr/>
          </p:nvSpPr>
          <p:spPr>
            <a:xfrm>
              <a:off x="5737543" y="2871332"/>
              <a:ext cx="2213" cy="26200"/>
            </a:xfrm>
            <a:custGeom>
              <a:avLst/>
              <a:gdLst>
                <a:gd name="connsiteX0" fmla="*/ 2213 w 2213"/>
                <a:gd name="connsiteY0" fmla="*/ 0 h 26200"/>
                <a:gd name="connsiteX1" fmla="*/ 0 w 2213"/>
                <a:gd name="connsiteY1" fmla="*/ 26201 h 26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213" h="26200">
                  <a:moveTo>
                    <a:pt x="2213" y="0"/>
                  </a:moveTo>
                  <a:lnTo>
                    <a:pt x="0" y="26201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44" name="Forma livre: Forma 443">
              <a:extLst>
                <a:ext uri="{FF2B5EF4-FFF2-40B4-BE49-F238E27FC236}">
                  <a16:creationId xmlns:a16="http://schemas.microsoft.com/office/drawing/2014/main" id="{594F34CA-2032-912C-6694-73149D00EEEC}"/>
                </a:ext>
              </a:extLst>
            </p:cNvPr>
            <p:cNvSpPr/>
            <p:nvPr/>
          </p:nvSpPr>
          <p:spPr>
            <a:xfrm>
              <a:off x="5804853" y="2826820"/>
              <a:ext cx="34398" cy="3426"/>
            </a:xfrm>
            <a:custGeom>
              <a:avLst/>
              <a:gdLst>
                <a:gd name="connsiteX0" fmla="*/ 34399 w 34398"/>
                <a:gd name="connsiteY0" fmla="*/ 3427 h 3426"/>
                <a:gd name="connsiteX1" fmla="*/ 0 w 34398"/>
                <a:gd name="connsiteY1" fmla="*/ 3427 h 34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4398" h="3426">
                  <a:moveTo>
                    <a:pt x="34399" y="3427"/>
                  </a:moveTo>
                  <a:cubicBezTo>
                    <a:pt x="23392" y="-1142"/>
                    <a:pt x="11018" y="-1142"/>
                    <a:pt x="0" y="3427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445" name="Gráfico 6">
              <a:extLst>
                <a:ext uri="{FF2B5EF4-FFF2-40B4-BE49-F238E27FC236}">
                  <a16:creationId xmlns:a16="http://schemas.microsoft.com/office/drawing/2014/main" id="{D027762D-E373-0595-694D-7CF16E559FD5}"/>
                </a:ext>
              </a:extLst>
            </p:cNvPr>
            <p:cNvGrpSpPr/>
            <p:nvPr/>
          </p:nvGrpSpPr>
          <p:grpSpPr>
            <a:xfrm>
              <a:off x="5777950" y="2757154"/>
              <a:ext cx="88215" cy="7615"/>
              <a:chOff x="5777950" y="2757154"/>
              <a:chExt cx="88215" cy="7615"/>
            </a:xfrm>
            <a:solidFill>
              <a:srgbClr val="394553"/>
            </a:solidFill>
          </p:grpSpPr>
          <p:sp>
            <p:nvSpPr>
              <p:cNvPr id="446" name="Forma livre: Forma 445">
                <a:extLst>
                  <a:ext uri="{FF2B5EF4-FFF2-40B4-BE49-F238E27FC236}">
                    <a16:creationId xmlns:a16="http://schemas.microsoft.com/office/drawing/2014/main" id="{D88067A1-45BB-E3E4-EF51-6A3C460D0E08}"/>
                  </a:ext>
                </a:extLst>
              </p:cNvPr>
              <p:cNvSpPr/>
              <p:nvPr/>
            </p:nvSpPr>
            <p:spPr>
              <a:xfrm>
                <a:off x="5777950" y="2757154"/>
                <a:ext cx="7615" cy="7615"/>
              </a:xfrm>
              <a:custGeom>
                <a:avLst/>
                <a:gdLst>
                  <a:gd name="connsiteX0" fmla="*/ 7615 w 7615"/>
                  <a:gd name="connsiteY0" fmla="*/ 3820 h 7615"/>
                  <a:gd name="connsiteX1" fmla="*/ 3819 w 7615"/>
                  <a:gd name="connsiteY1" fmla="*/ 7615 h 7615"/>
                  <a:gd name="connsiteX2" fmla="*/ 0 w 7615"/>
                  <a:gd name="connsiteY2" fmla="*/ 3820 h 7615"/>
                  <a:gd name="connsiteX3" fmla="*/ 3819 w 7615"/>
                  <a:gd name="connsiteY3" fmla="*/ 0 h 7615"/>
                  <a:gd name="connsiteX4" fmla="*/ 7615 w 7615"/>
                  <a:gd name="connsiteY4" fmla="*/ 3820 h 76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615" h="7615">
                    <a:moveTo>
                      <a:pt x="7615" y="3820"/>
                    </a:moveTo>
                    <a:cubicBezTo>
                      <a:pt x="7615" y="5926"/>
                      <a:pt x="5925" y="7615"/>
                      <a:pt x="3819" y="7615"/>
                    </a:cubicBezTo>
                    <a:cubicBezTo>
                      <a:pt x="1713" y="7615"/>
                      <a:pt x="0" y="5914"/>
                      <a:pt x="0" y="3820"/>
                    </a:cubicBezTo>
                    <a:cubicBezTo>
                      <a:pt x="0" y="1725"/>
                      <a:pt x="1713" y="0"/>
                      <a:pt x="3819" y="0"/>
                    </a:cubicBezTo>
                    <a:cubicBezTo>
                      <a:pt x="5925" y="0"/>
                      <a:pt x="7615" y="1702"/>
                      <a:pt x="7615" y="3820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47" name="Forma livre: Forma 446">
                <a:extLst>
                  <a:ext uri="{FF2B5EF4-FFF2-40B4-BE49-F238E27FC236}">
                    <a16:creationId xmlns:a16="http://schemas.microsoft.com/office/drawing/2014/main" id="{6021B2BB-3212-B5D9-0D01-CC5F8E4E8B67}"/>
                  </a:ext>
                </a:extLst>
              </p:cNvPr>
              <p:cNvSpPr/>
              <p:nvPr/>
            </p:nvSpPr>
            <p:spPr>
              <a:xfrm>
                <a:off x="5859027" y="2757630"/>
                <a:ext cx="7139" cy="7139"/>
              </a:xfrm>
              <a:custGeom>
                <a:avLst/>
                <a:gdLst>
                  <a:gd name="connsiteX0" fmla="*/ 7139 w 7139"/>
                  <a:gd name="connsiteY0" fmla="*/ 3581 h 7139"/>
                  <a:gd name="connsiteX1" fmla="*/ 3570 w 7139"/>
                  <a:gd name="connsiteY1" fmla="*/ 7139 h 7139"/>
                  <a:gd name="connsiteX2" fmla="*/ 0 w 7139"/>
                  <a:gd name="connsiteY2" fmla="*/ 3581 h 7139"/>
                  <a:gd name="connsiteX3" fmla="*/ 3570 w 7139"/>
                  <a:gd name="connsiteY3" fmla="*/ 0 h 7139"/>
                  <a:gd name="connsiteX4" fmla="*/ 7139 w 7139"/>
                  <a:gd name="connsiteY4" fmla="*/ 3581 h 71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139" h="7139">
                    <a:moveTo>
                      <a:pt x="7139" y="3581"/>
                    </a:moveTo>
                    <a:cubicBezTo>
                      <a:pt x="7139" y="5557"/>
                      <a:pt x="5545" y="7139"/>
                      <a:pt x="3570" y="7139"/>
                    </a:cubicBezTo>
                    <a:cubicBezTo>
                      <a:pt x="1594" y="7139"/>
                      <a:pt x="0" y="5545"/>
                      <a:pt x="0" y="3581"/>
                    </a:cubicBezTo>
                    <a:cubicBezTo>
                      <a:pt x="0" y="1618"/>
                      <a:pt x="1606" y="0"/>
                      <a:pt x="3570" y="0"/>
                    </a:cubicBezTo>
                    <a:cubicBezTo>
                      <a:pt x="5533" y="0"/>
                      <a:pt x="7139" y="1594"/>
                      <a:pt x="7139" y="3581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448" name="Gráfico 6">
              <a:extLst>
                <a:ext uri="{FF2B5EF4-FFF2-40B4-BE49-F238E27FC236}">
                  <a16:creationId xmlns:a16="http://schemas.microsoft.com/office/drawing/2014/main" id="{FDB1110E-8B7C-B5AD-12A8-B9F6A088978D}"/>
                </a:ext>
              </a:extLst>
            </p:cNvPr>
            <p:cNvGrpSpPr/>
            <p:nvPr/>
          </p:nvGrpSpPr>
          <p:grpSpPr>
            <a:xfrm>
              <a:off x="5714981" y="2603223"/>
              <a:ext cx="214133" cy="269227"/>
              <a:chOff x="5714981" y="2603223"/>
              <a:chExt cx="214133" cy="269227"/>
            </a:xfrm>
            <a:noFill/>
          </p:grpSpPr>
          <p:grpSp>
            <p:nvGrpSpPr>
              <p:cNvPr id="449" name="Gráfico 6">
                <a:extLst>
                  <a:ext uri="{FF2B5EF4-FFF2-40B4-BE49-F238E27FC236}">
                    <a16:creationId xmlns:a16="http://schemas.microsoft.com/office/drawing/2014/main" id="{D3001EC8-6552-4EC0-9977-F987EEB3297E}"/>
                  </a:ext>
                </a:extLst>
              </p:cNvPr>
              <p:cNvGrpSpPr/>
              <p:nvPr/>
            </p:nvGrpSpPr>
            <p:grpSpPr>
              <a:xfrm>
                <a:off x="5750120" y="2665464"/>
                <a:ext cx="165163" cy="54066"/>
                <a:chOff x="5750120" y="2665464"/>
                <a:chExt cx="165163" cy="54066"/>
              </a:xfrm>
              <a:noFill/>
            </p:grpSpPr>
            <p:sp>
              <p:nvSpPr>
                <p:cNvPr id="450" name="Forma livre: Forma 449">
                  <a:extLst>
                    <a:ext uri="{FF2B5EF4-FFF2-40B4-BE49-F238E27FC236}">
                      <a16:creationId xmlns:a16="http://schemas.microsoft.com/office/drawing/2014/main" id="{A509AE2B-49C7-CB10-D0BE-72C0909827DB}"/>
                    </a:ext>
                  </a:extLst>
                </p:cNvPr>
                <p:cNvSpPr/>
                <p:nvPr/>
              </p:nvSpPr>
              <p:spPr>
                <a:xfrm>
                  <a:off x="5750120" y="2665464"/>
                  <a:ext cx="104016" cy="54066"/>
                </a:xfrm>
                <a:custGeom>
                  <a:avLst/>
                  <a:gdLst>
                    <a:gd name="connsiteX0" fmla="*/ 104017 w 104016"/>
                    <a:gd name="connsiteY0" fmla="*/ 0 h 54066"/>
                    <a:gd name="connsiteX1" fmla="*/ 0 w 104016"/>
                    <a:gd name="connsiteY1" fmla="*/ 54067 h 5406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04016" h="54066">
                      <a:moveTo>
                        <a:pt x="104017" y="0"/>
                      </a:moveTo>
                      <a:cubicBezTo>
                        <a:pt x="104017" y="0"/>
                        <a:pt x="95188" y="51687"/>
                        <a:pt x="0" y="54067"/>
                      </a:cubicBez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451" name="Forma livre: Forma 450">
                  <a:extLst>
                    <a:ext uri="{FF2B5EF4-FFF2-40B4-BE49-F238E27FC236}">
                      <a16:creationId xmlns:a16="http://schemas.microsoft.com/office/drawing/2014/main" id="{CD47AA5E-E030-3077-C62C-DFD1A12A2AC5}"/>
                    </a:ext>
                  </a:extLst>
                </p:cNvPr>
                <p:cNvSpPr/>
                <p:nvPr/>
              </p:nvSpPr>
              <p:spPr>
                <a:xfrm>
                  <a:off x="5844915" y="2683776"/>
                  <a:ext cx="70367" cy="32447"/>
                </a:xfrm>
                <a:custGeom>
                  <a:avLst/>
                  <a:gdLst>
                    <a:gd name="connsiteX0" fmla="*/ 0 w 70367"/>
                    <a:gd name="connsiteY0" fmla="*/ 0 h 32447"/>
                    <a:gd name="connsiteX1" fmla="*/ 70368 w 70367"/>
                    <a:gd name="connsiteY1" fmla="*/ 32447 h 3244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70367" h="32447">
                      <a:moveTo>
                        <a:pt x="0" y="0"/>
                      </a:moveTo>
                      <a:cubicBezTo>
                        <a:pt x="0" y="0"/>
                        <a:pt x="29223" y="21703"/>
                        <a:pt x="70368" y="32447"/>
                      </a:cubicBez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452" name="Forma livre: Forma 451">
                <a:extLst>
                  <a:ext uri="{FF2B5EF4-FFF2-40B4-BE49-F238E27FC236}">
                    <a16:creationId xmlns:a16="http://schemas.microsoft.com/office/drawing/2014/main" id="{8B7BC198-46FB-B9F3-FA74-790445F6D2B7}"/>
                  </a:ext>
                </a:extLst>
              </p:cNvPr>
              <p:cNvSpPr/>
              <p:nvPr/>
            </p:nvSpPr>
            <p:spPr>
              <a:xfrm>
                <a:off x="5714981" y="2603223"/>
                <a:ext cx="214133" cy="269227"/>
              </a:xfrm>
              <a:custGeom>
                <a:avLst/>
                <a:gdLst>
                  <a:gd name="connsiteX0" fmla="*/ 8213 w 214133"/>
                  <a:gd name="connsiteY0" fmla="*/ 126695 h 269227"/>
                  <a:gd name="connsiteX1" fmla="*/ 18981 w 214133"/>
                  <a:gd name="connsiteY1" fmla="*/ 179715 h 269227"/>
                  <a:gd name="connsiteX2" fmla="*/ 23824 w 214133"/>
                  <a:gd name="connsiteY2" fmla="*/ 198955 h 269227"/>
                  <a:gd name="connsiteX3" fmla="*/ 18576 w 214133"/>
                  <a:gd name="connsiteY3" fmla="*/ 229106 h 269227"/>
                  <a:gd name="connsiteX4" fmla="*/ 50131 w 214133"/>
                  <a:gd name="connsiteY4" fmla="*/ 245109 h 269227"/>
                  <a:gd name="connsiteX5" fmla="*/ 106958 w 214133"/>
                  <a:gd name="connsiteY5" fmla="*/ 269227 h 269227"/>
                  <a:gd name="connsiteX6" fmla="*/ 195007 w 214133"/>
                  <a:gd name="connsiteY6" fmla="*/ 179715 h 269227"/>
                  <a:gd name="connsiteX7" fmla="*/ 206156 w 214133"/>
                  <a:gd name="connsiteY7" fmla="*/ 126065 h 269227"/>
                  <a:gd name="connsiteX8" fmla="*/ 202027 w 214133"/>
                  <a:gd name="connsiteY8" fmla="*/ 69820 h 269227"/>
                  <a:gd name="connsiteX9" fmla="*/ 105066 w 214133"/>
                  <a:gd name="connsiteY9" fmla="*/ 0 h 269227"/>
                  <a:gd name="connsiteX10" fmla="*/ 8106 w 214133"/>
                  <a:gd name="connsiteY10" fmla="*/ 69820 h 269227"/>
                  <a:gd name="connsiteX11" fmla="*/ 5452 w 214133"/>
                  <a:gd name="connsiteY11" fmla="*/ 98758 h 2692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214133" h="269227">
                    <a:moveTo>
                      <a:pt x="8213" y="126695"/>
                    </a:moveTo>
                    <a:cubicBezTo>
                      <a:pt x="8213" y="126695"/>
                      <a:pt x="-16120" y="155918"/>
                      <a:pt x="18981" y="179715"/>
                    </a:cubicBezTo>
                    <a:cubicBezTo>
                      <a:pt x="18981" y="179715"/>
                      <a:pt x="20135" y="187735"/>
                      <a:pt x="23824" y="198955"/>
                    </a:cubicBezTo>
                    <a:cubicBezTo>
                      <a:pt x="16328" y="205654"/>
                      <a:pt x="13829" y="217802"/>
                      <a:pt x="18576" y="229106"/>
                    </a:cubicBezTo>
                    <a:cubicBezTo>
                      <a:pt x="24347" y="242837"/>
                      <a:pt x="38471" y="249999"/>
                      <a:pt x="50131" y="245109"/>
                    </a:cubicBezTo>
                    <a:cubicBezTo>
                      <a:pt x="63243" y="258816"/>
                      <a:pt x="81555" y="269227"/>
                      <a:pt x="106958" y="269227"/>
                    </a:cubicBezTo>
                    <a:cubicBezTo>
                      <a:pt x="181467" y="269227"/>
                      <a:pt x="195007" y="179715"/>
                      <a:pt x="195007" y="179715"/>
                    </a:cubicBezTo>
                    <a:cubicBezTo>
                      <a:pt x="230108" y="155918"/>
                      <a:pt x="206156" y="126065"/>
                      <a:pt x="206156" y="126065"/>
                    </a:cubicBezTo>
                    <a:lnTo>
                      <a:pt x="202027" y="69820"/>
                    </a:lnTo>
                    <a:cubicBezTo>
                      <a:pt x="202027" y="69820"/>
                      <a:pt x="201837" y="0"/>
                      <a:pt x="105066" y="0"/>
                    </a:cubicBezTo>
                    <a:cubicBezTo>
                      <a:pt x="8296" y="0"/>
                      <a:pt x="8106" y="69820"/>
                      <a:pt x="8106" y="69820"/>
                    </a:cubicBezTo>
                    <a:lnTo>
                      <a:pt x="5452" y="98758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453" name="Gráfico 6">
            <a:extLst>
              <a:ext uri="{FF2B5EF4-FFF2-40B4-BE49-F238E27FC236}">
                <a16:creationId xmlns:a16="http://schemas.microsoft.com/office/drawing/2014/main" id="{60DB8AA2-50FB-2805-E5B3-416D9FDACDE3}"/>
              </a:ext>
            </a:extLst>
          </p:cNvPr>
          <p:cNvGrpSpPr/>
          <p:nvPr/>
        </p:nvGrpSpPr>
        <p:grpSpPr>
          <a:xfrm>
            <a:off x="4453172" y="3125627"/>
            <a:ext cx="224964" cy="299520"/>
            <a:chOff x="4453172" y="3125627"/>
            <a:chExt cx="224964" cy="299520"/>
          </a:xfrm>
          <a:noFill/>
        </p:grpSpPr>
        <p:sp>
          <p:nvSpPr>
            <p:cNvPr id="454" name="Forma livre: Forma 453">
              <a:extLst>
                <a:ext uri="{FF2B5EF4-FFF2-40B4-BE49-F238E27FC236}">
                  <a16:creationId xmlns:a16="http://schemas.microsoft.com/office/drawing/2014/main" id="{DC827293-E23F-E1E2-3787-06FF13078B70}"/>
                </a:ext>
              </a:extLst>
            </p:cNvPr>
            <p:cNvSpPr/>
            <p:nvPr/>
          </p:nvSpPr>
          <p:spPr>
            <a:xfrm>
              <a:off x="4500462" y="3233899"/>
              <a:ext cx="130367" cy="142234"/>
            </a:xfrm>
            <a:custGeom>
              <a:avLst/>
              <a:gdLst>
                <a:gd name="connsiteX0" fmla="*/ 81321 w 130367"/>
                <a:gd name="connsiteY0" fmla="*/ 21791 h 142234"/>
                <a:gd name="connsiteX1" fmla="*/ 59797 w 130367"/>
                <a:gd name="connsiteY1" fmla="*/ 12106 h 142234"/>
                <a:gd name="connsiteX2" fmla="*/ 14035 w 130367"/>
                <a:gd name="connsiteY2" fmla="*/ 7620 h 142234"/>
                <a:gd name="connsiteX3" fmla="*/ 6301 w 130367"/>
                <a:gd name="connsiteY3" fmla="*/ 58284 h 142234"/>
                <a:gd name="connsiteX4" fmla="*/ 24636 w 130367"/>
                <a:gd name="connsiteY4" fmla="*/ 118728 h 142234"/>
                <a:gd name="connsiteX5" fmla="*/ 38962 w 130367"/>
                <a:gd name="connsiteY5" fmla="*/ 140371 h 142234"/>
                <a:gd name="connsiteX6" fmla="*/ 46006 w 130367"/>
                <a:gd name="connsiteY6" fmla="*/ 142204 h 142234"/>
                <a:gd name="connsiteX7" fmla="*/ 51610 w 130367"/>
                <a:gd name="connsiteY7" fmla="*/ 114456 h 142234"/>
                <a:gd name="connsiteX8" fmla="*/ 65187 w 130367"/>
                <a:gd name="connsiteY8" fmla="*/ 85876 h 142234"/>
                <a:gd name="connsiteX9" fmla="*/ 78763 w 130367"/>
                <a:gd name="connsiteY9" fmla="*/ 114456 h 142234"/>
                <a:gd name="connsiteX10" fmla="*/ 84355 w 130367"/>
                <a:gd name="connsiteY10" fmla="*/ 142204 h 142234"/>
                <a:gd name="connsiteX11" fmla="*/ 91387 w 130367"/>
                <a:gd name="connsiteY11" fmla="*/ 140371 h 142234"/>
                <a:gd name="connsiteX12" fmla="*/ 105737 w 130367"/>
                <a:gd name="connsiteY12" fmla="*/ 118728 h 142234"/>
                <a:gd name="connsiteX13" fmla="*/ 124084 w 130367"/>
                <a:gd name="connsiteY13" fmla="*/ 58284 h 142234"/>
                <a:gd name="connsiteX14" fmla="*/ 116338 w 130367"/>
                <a:gd name="connsiteY14" fmla="*/ 7620 h 142234"/>
                <a:gd name="connsiteX15" fmla="*/ 85450 w 130367"/>
                <a:gd name="connsiteY15" fmla="*/ 1254 h 1422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30367" h="142234">
                  <a:moveTo>
                    <a:pt x="81321" y="21791"/>
                  </a:moveTo>
                  <a:cubicBezTo>
                    <a:pt x="70577" y="21791"/>
                    <a:pt x="59797" y="12106"/>
                    <a:pt x="59797" y="12106"/>
                  </a:cubicBezTo>
                  <a:cubicBezTo>
                    <a:pt x="45138" y="-578"/>
                    <a:pt x="29324" y="-4291"/>
                    <a:pt x="14035" y="7620"/>
                  </a:cubicBezTo>
                  <a:cubicBezTo>
                    <a:pt x="-1267" y="19518"/>
                    <a:pt x="-4384" y="41804"/>
                    <a:pt x="6301" y="58284"/>
                  </a:cubicBezTo>
                  <a:cubicBezTo>
                    <a:pt x="6301" y="58284"/>
                    <a:pt x="22697" y="87792"/>
                    <a:pt x="24636" y="118728"/>
                  </a:cubicBezTo>
                  <a:cubicBezTo>
                    <a:pt x="24636" y="118728"/>
                    <a:pt x="24494" y="135386"/>
                    <a:pt x="38962" y="140371"/>
                  </a:cubicBezTo>
                  <a:cubicBezTo>
                    <a:pt x="38962" y="140371"/>
                    <a:pt x="43472" y="142501"/>
                    <a:pt x="46006" y="142204"/>
                  </a:cubicBezTo>
                  <a:cubicBezTo>
                    <a:pt x="51146" y="141561"/>
                    <a:pt x="52098" y="134148"/>
                    <a:pt x="51610" y="114456"/>
                  </a:cubicBezTo>
                  <a:cubicBezTo>
                    <a:pt x="51610" y="114456"/>
                    <a:pt x="51813" y="85876"/>
                    <a:pt x="65187" y="85876"/>
                  </a:cubicBezTo>
                  <a:cubicBezTo>
                    <a:pt x="78560" y="85876"/>
                    <a:pt x="78763" y="114456"/>
                    <a:pt x="78763" y="114456"/>
                  </a:cubicBezTo>
                  <a:cubicBezTo>
                    <a:pt x="78263" y="134160"/>
                    <a:pt x="79227" y="141573"/>
                    <a:pt x="84355" y="142204"/>
                  </a:cubicBezTo>
                  <a:cubicBezTo>
                    <a:pt x="86889" y="142513"/>
                    <a:pt x="91387" y="140371"/>
                    <a:pt x="91387" y="140371"/>
                  </a:cubicBezTo>
                  <a:cubicBezTo>
                    <a:pt x="105867" y="135386"/>
                    <a:pt x="105737" y="118728"/>
                    <a:pt x="105737" y="118728"/>
                  </a:cubicBezTo>
                  <a:cubicBezTo>
                    <a:pt x="107688" y="87792"/>
                    <a:pt x="124084" y="58284"/>
                    <a:pt x="124084" y="58284"/>
                  </a:cubicBezTo>
                  <a:cubicBezTo>
                    <a:pt x="134745" y="41792"/>
                    <a:pt x="131628" y="19518"/>
                    <a:pt x="116338" y="7620"/>
                  </a:cubicBezTo>
                  <a:cubicBezTo>
                    <a:pt x="106819" y="207"/>
                    <a:pt x="95885" y="-1530"/>
                    <a:pt x="85450" y="1254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455" name="Gráfico 6">
              <a:extLst>
                <a:ext uri="{FF2B5EF4-FFF2-40B4-BE49-F238E27FC236}">
                  <a16:creationId xmlns:a16="http://schemas.microsoft.com/office/drawing/2014/main" id="{6C475D69-1365-6F8E-2B33-0DE3489C7C20}"/>
                </a:ext>
              </a:extLst>
            </p:cNvPr>
            <p:cNvGrpSpPr/>
            <p:nvPr/>
          </p:nvGrpSpPr>
          <p:grpSpPr>
            <a:xfrm>
              <a:off x="4453172" y="3125627"/>
              <a:ext cx="224964" cy="299520"/>
              <a:chOff x="4453172" y="3125627"/>
              <a:chExt cx="224964" cy="299520"/>
            </a:xfrm>
            <a:noFill/>
          </p:grpSpPr>
          <p:sp>
            <p:nvSpPr>
              <p:cNvPr id="456" name="Forma livre: Forma 455">
                <a:extLst>
                  <a:ext uri="{FF2B5EF4-FFF2-40B4-BE49-F238E27FC236}">
                    <a16:creationId xmlns:a16="http://schemas.microsoft.com/office/drawing/2014/main" id="{14EB4E03-024A-23A7-00B2-54167D848D99}"/>
                  </a:ext>
                </a:extLst>
              </p:cNvPr>
              <p:cNvSpPr/>
              <p:nvPr/>
            </p:nvSpPr>
            <p:spPr>
              <a:xfrm>
                <a:off x="4481240" y="3127602"/>
                <a:ext cx="38967" cy="57683"/>
              </a:xfrm>
              <a:custGeom>
                <a:avLst/>
                <a:gdLst>
                  <a:gd name="connsiteX0" fmla="*/ 38968 w 38967"/>
                  <a:gd name="connsiteY0" fmla="*/ 0 h 57683"/>
                  <a:gd name="connsiteX1" fmla="*/ 38968 w 38967"/>
                  <a:gd name="connsiteY1" fmla="*/ 57684 h 57683"/>
                  <a:gd name="connsiteX2" fmla="*/ 0 w 38967"/>
                  <a:gd name="connsiteY2" fmla="*/ 57684 h 576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8967" h="57683">
                    <a:moveTo>
                      <a:pt x="38968" y="0"/>
                    </a:moveTo>
                    <a:lnTo>
                      <a:pt x="38968" y="57684"/>
                    </a:lnTo>
                    <a:lnTo>
                      <a:pt x="0" y="57684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57" name="Forma livre: Forma 456">
                <a:extLst>
                  <a:ext uri="{FF2B5EF4-FFF2-40B4-BE49-F238E27FC236}">
                    <a16:creationId xmlns:a16="http://schemas.microsoft.com/office/drawing/2014/main" id="{DDBF8830-7413-C3DB-742C-DA4F6684617B}"/>
                  </a:ext>
                </a:extLst>
              </p:cNvPr>
              <p:cNvSpPr/>
              <p:nvPr/>
            </p:nvSpPr>
            <p:spPr>
              <a:xfrm>
                <a:off x="4453172" y="3125627"/>
                <a:ext cx="224964" cy="299520"/>
              </a:xfrm>
              <a:custGeom>
                <a:avLst/>
                <a:gdLst>
                  <a:gd name="connsiteX0" fmla="*/ 0 w 224964"/>
                  <a:gd name="connsiteY0" fmla="*/ 299521 h 299520"/>
                  <a:gd name="connsiteX1" fmla="*/ 0 w 224964"/>
                  <a:gd name="connsiteY1" fmla="*/ 50878 h 299520"/>
                  <a:gd name="connsiteX2" fmla="*/ 58124 w 224964"/>
                  <a:gd name="connsiteY2" fmla="*/ 0 h 299520"/>
                  <a:gd name="connsiteX3" fmla="*/ 224965 w 224964"/>
                  <a:gd name="connsiteY3" fmla="*/ 0 h 299520"/>
                  <a:gd name="connsiteX4" fmla="*/ 224965 w 224964"/>
                  <a:gd name="connsiteY4" fmla="*/ 299521 h 299520"/>
                  <a:gd name="connsiteX5" fmla="*/ 0 w 224964"/>
                  <a:gd name="connsiteY5" fmla="*/ 299521 h 2995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24964" h="299520">
                    <a:moveTo>
                      <a:pt x="0" y="299521"/>
                    </a:moveTo>
                    <a:lnTo>
                      <a:pt x="0" y="50878"/>
                    </a:lnTo>
                    <a:lnTo>
                      <a:pt x="58124" y="0"/>
                    </a:lnTo>
                    <a:lnTo>
                      <a:pt x="224965" y="0"/>
                    </a:lnTo>
                    <a:lnTo>
                      <a:pt x="224965" y="299521"/>
                    </a:lnTo>
                    <a:lnTo>
                      <a:pt x="0" y="299521"/>
                    </a:ln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458" name="Gráfico 6">
            <a:extLst>
              <a:ext uri="{FF2B5EF4-FFF2-40B4-BE49-F238E27FC236}">
                <a16:creationId xmlns:a16="http://schemas.microsoft.com/office/drawing/2014/main" id="{97A9AAC2-6588-C1A2-A66D-6A0750CDA0DB}"/>
              </a:ext>
            </a:extLst>
          </p:cNvPr>
          <p:cNvGrpSpPr/>
          <p:nvPr/>
        </p:nvGrpSpPr>
        <p:grpSpPr>
          <a:xfrm>
            <a:off x="5022479" y="3140286"/>
            <a:ext cx="325649" cy="270191"/>
            <a:chOff x="5022479" y="3140286"/>
            <a:chExt cx="325649" cy="270191"/>
          </a:xfrm>
          <a:noFill/>
        </p:grpSpPr>
        <p:grpSp>
          <p:nvGrpSpPr>
            <p:cNvPr id="459" name="Gráfico 6">
              <a:extLst>
                <a:ext uri="{FF2B5EF4-FFF2-40B4-BE49-F238E27FC236}">
                  <a16:creationId xmlns:a16="http://schemas.microsoft.com/office/drawing/2014/main" id="{0B028C32-3859-4B31-E7C0-3463E05DE793}"/>
                </a:ext>
              </a:extLst>
            </p:cNvPr>
            <p:cNvGrpSpPr/>
            <p:nvPr/>
          </p:nvGrpSpPr>
          <p:grpSpPr>
            <a:xfrm>
              <a:off x="5022479" y="3140286"/>
              <a:ext cx="290989" cy="76186"/>
              <a:chOff x="5022479" y="3140286"/>
              <a:chExt cx="290989" cy="76186"/>
            </a:xfrm>
            <a:noFill/>
          </p:grpSpPr>
          <p:grpSp>
            <p:nvGrpSpPr>
              <p:cNvPr id="460" name="Gráfico 6">
                <a:extLst>
                  <a:ext uri="{FF2B5EF4-FFF2-40B4-BE49-F238E27FC236}">
                    <a16:creationId xmlns:a16="http://schemas.microsoft.com/office/drawing/2014/main" id="{E808BAAC-552F-B023-568D-2CC7581D6682}"/>
                  </a:ext>
                </a:extLst>
              </p:cNvPr>
              <p:cNvGrpSpPr/>
              <p:nvPr/>
            </p:nvGrpSpPr>
            <p:grpSpPr>
              <a:xfrm>
                <a:off x="5022479" y="3140286"/>
                <a:ext cx="145494" cy="76186"/>
                <a:chOff x="5022479" y="3140286"/>
                <a:chExt cx="145494" cy="76186"/>
              </a:xfrm>
              <a:noFill/>
            </p:grpSpPr>
            <p:sp>
              <p:nvSpPr>
                <p:cNvPr id="461" name="Forma livre: Forma 460">
                  <a:extLst>
                    <a:ext uri="{FF2B5EF4-FFF2-40B4-BE49-F238E27FC236}">
                      <a16:creationId xmlns:a16="http://schemas.microsoft.com/office/drawing/2014/main" id="{EBE81632-D681-4BB6-1087-C01E0FFAD6CB}"/>
                    </a:ext>
                  </a:extLst>
                </p:cNvPr>
                <p:cNvSpPr/>
                <p:nvPr/>
              </p:nvSpPr>
              <p:spPr>
                <a:xfrm>
                  <a:off x="5109160" y="3140286"/>
                  <a:ext cx="58814" cy="76186"/>
                </a:xfrm>
                <a:custGeom>
                  <a:avLst/>
                  <a:gdLst>
                    <a:gd name="connsiteX0" fmla="*/ 58814 w 58814"/>
                    <a:gd name="connsiteY0" fmla="*/ 36088 h 76186"/>
                    <a:gd name="connsiteX1" fmla="*/ 22357 w 58814"/>
                    <a:gd name="connsiteY1" fmla="*/ 0 h 76186"/>
                    <a:gd name="connsiteX2" fmla="*/ 0 w 58814"/>
                    <a:gd name="connsiteY2" fmla="*/ 24344 h 76186"/>
                    <a:gd name="connsiteX3" fmla="*/ 0 w 58814"/>
                    <a:gd name="connsiteY3" fmla="*/ 71153 h 76186"/>
                    <a:gd name="connsiteX4" fmla="*/ 5033 w 58814"/>
                    <a:gd name="connsiteY4" fmla="*/ 76186 h 76186"/>
                    <a:gd name="connsiteX5" fmla="*/ 53853 w 58814"/>
                    <a:gd name="connsiteY5" fmla="*/ 76186 h 76186"/>
                    <a:gd name="connsiteX6" fmla="*/ 58814 w 58814"/>
                    <a:gd name="connsiteY6" fmla="*/ 71153 h 76186"/>
                    <a:gd name="connsiteX7" fmla="*/ 58814 w 58814"/>
                    <a:gd name="connsiteY7" fmla="*/ 36100 h 7618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58814" h="76186">
                      <a:moveTo>
                        <a:pt x="58814" y="36088"/>
                      </a:moveTo>
                      <a:cubicBezTo>
                        <a:pt x="58814" y="18038"/>
                        <a:pt x="42906" y="0"/>
                        <a:pt x="22357" y="0"/>
                      </a:cubicBezTo>
                      <a:cubicBezTo>
                        <a:pt x="14802" y="0"/>
                        <a:pt x="0" y="5033"/>
                        <a:pt x="0" y="24344"/>
                      </a:cubicBezTo>
                      <a:lnTo>
                        <a:pt x="0" y="71153"/>
                      </a:lnTo>
                      <a:cubicBezTo>
                        <a:pt x="0" y="73925"/>
                        <a:pt x="2261" y="76186"/>
                        <a:pt x="5033" y="76186"/>
                      </a:cubicBezTo>
                      <a:lnTo>
                        <a:pt x="53853" y="76186"/>
                      </a:lnTo>
                      <a:cubicBezTo>
                        <a:pt x="56625" y="76186"/>
                        <a:pt x="58814" y="73925"/>
                        <a:pt x="58814" y="71153"/>
                      </a:cubicBezTo>
                      <a:lnTo>
                        <a:pt x="58814" y="36100"/>
                      </a:lnTo>
                      <a:close/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462" name="Forma livre: Forma 461">
                  <a:extLst>
                    <a:ext uri="{FF2B5EF4-FFF2-40B4-BE49-F238E27FC236}">
                      <a16:creationId xmlns:a16="http://schemas.microsoft.com/office/drawing/2014/main" id="{EFEE5131-2AB8-0437-5469-1FDF91C1FAD0}"/>
                    </a:ext>
                  </a:extLst>
                </p:cNvPr>
                <p:cNvSpPr/>
                <p:nvPr/>
              </p:nvSpPr>
              <p:spPr>
                <a:xfrm>
                  <a:off x="5059412" y="3141547"/>
                  <a:ext cx="49200" cy="70831"/>
                </a:xfrm>
                <a:custGeom>
                  <a:avLst/>
                  <a:gdLst>
                    <a:gd name="connsiteX0" fmla="*/ 49200 w 49200"/>
                    <a:gd name="connsiteY0" fmla="*/ 25986 h 70831"/>
                    <a:gd name="connsiteX1" fmla="*/ 19097 w 49200"/>
                    <a:gd name="connsiteY1" fmla="*/ 0 h 70831"/>
                    <a:gd name="connsiteX2" fmla="*/ 0 w 49200"/>
                    <a:gd name="connsiteY2" fmla="*/ 23083 h 70831"/>
                    <a:gd name="connsiteX3" fmla="*/ 0 w 49200"/>
                    <a:gd name="connsiteY3" fmla="*/ 65799 h 70831"/>
                    <a:gd name="connsiteX4" fmla="*/ 5033 w 49200"/>
                    <a:gd name="connsiteY4" fmla="*/ 70832 h 70831"/>
                    <a:gd name="connsiteX5" fmla="*/ 28866 w 49200"/>
                    <a:gd name="connsiteY5" fmla="*/ 70832 h 7083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49200" h="70831">
                      <a:moveTo>
                        <a:pt x="49200" y="25986"/>
                      </a:moveTo>
                      <a:cubicBezTo>
                        <a:pt x="43596" y="12386"/>
                        <a:pt x="32840" y="0"/>
                        <a:pt x="19097" y="0"/>
                      </a:cubicBezTo>
                      <a:cubicBezTo>
                        <a:pt x="11553" y="0"/>
                        <a:pt x="0" y="3772"/>
                        <a:pt x="0" y="23083"/>
                      </a:cubicBezTo>
                      <a:lnTo>
                        <a:pt x="0" y="65799"/>
                      </a:lnTo>
                      <a:cubicBezTo>
                        <a:pt x="0" y="68571"/>
                        <a:pt x="2261" y="70832"/>
                        <a:pt x="5033" y="70832"/>
                      </a:cubicBezTo>
                      <a:lnTo>
                        <a:pt x="28866" y="70832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463" name="Forma livre: Forma 462">
                  <a:extLst>
                    <a:ext uri="{FF2B5EF4-FFF2-40B4-BE49-F238E27FC236}">
                      <a16:creationId xmlns:a16="http://schemas.microsoft.com/office/drawing/2014/main" id="{CE38F098-0E28-24D6-FEB2-267E542AA419}"/>
                    </a:ext>
                  </a:extLst>
                </p:cNvPr>
                <p:cNvSpPr/>
                <p:nvPr/>
              </p:nvSpPr>
              <p:spPr>
                <a:xfrm>
                  <a:off x="5022479" y="3145521"/>
                  <a:ext cx="37325" cy="57838"/>
                </a:xfrm>
                <a:custGeom>
                  <a:avLst/>
                  <a:gdLst>
                    <a:gd name="connsiteX0" fmla="*/ 37326 w 37325"/>
                    <a:gd name="connsiteY0" fmla="*/ 15397 h 57838"/>
                    <a:gd name="connsiteX1" fmla="*/ 15587 w 37325"/>
                    <a:gd name="connsiteY1" fmla="*/ 0 h 57838"/>
                    <a:gd name="connsiteX2" fmla="*/ 0 w 37325"/>
                    <a:gd name="connsiteY2" fmla="*/ 18847 h 57838"/>
                    <a:gd name="connsiteX3" fmla="*/ 0 w 37325"/>
                    <a:gd name="connsiteY3" fmla="*/ 53734 h 57838"/>
                    <a:gd name="connsiteX4" fmla="*/ 4105 w 37325"/>
                    <a:gd name="connsiteY4" fmla="*/ 57839 h 57838"/>
                    <a:gd name="connsiteX5" fmla="*/ 16515 w 37325"/>
                    <a:gd name="connsiteY5" fmla="*/ 57839 h 5783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37325" h="57838">
                      <a:moveTo>
                        <a:pt x="37326" y="15397"/>
                      </a:moveTo>
                      <a:cubicBezTo>
                        <a:pt x="32376" y="6818"/>
                        <a:pt x="24808" y="0"/>
                        <a:pt x="15587" y="0"/>
                      </a:cubicBezTo>
                      <a:cubicBezTo>
                        <a:pt x="9436" y="0"/>
                        <a:pt x="0" y="3082"/>
                        <a:pt x="0" y="18847"/>
                      </a:cubicBezTo>
                      <a:lnTo>
                        <a:pt x="0" y="53734"/>
                      </a:lnTo>
                      <a:cubicBezTo>
                        <a:pt x="0" y="55994"/>
                        <a:pt x="1844" y="57839"/>
                        <a:pt x="4105" y="57839"/>
                      </a:cubicBezTo>
                      <a:lnTo>
                        <a:pt x="16515" y="57839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464" name="Gráfico 6">
                <a:extLst>
                  <a:ext uri="{FF2B5EF4-FFF2-40B4-BE49-F238E27FC236}">
                    <a16:creationId xmlns:a16="http://schemas.microsoft.com/office/drawing/2014/main" id="{BB65266C-7F7F-8CB5-FE60-3E7CDD0A6207}"/>
                  </a:ext>
                </a:extLst>
              </p:cNvPr>
              <p:cNvGrpSpPr/>
              <p:nvPr/>
            </p:nvGrpSpPr>
            <p:grpSpPr>
              <a:xfrm>
                <a:off x="5167974" y="3140298"/>
                <a:ext cx="145494" cy="76174"/>
                <a:chOff x="5167974" y="3140298"/>
                <a:chExt cx="145494" cy="76174"/>
              </a:xfrm>
              <a:noFill/>
            </p:grpSpPr>
            <p:sp>
              <p:nvSpPr>
                <p:cNvPr id="465" name="Forma livre: Forma 464">
                  <a:extLst>
                    <a:ext uri="{FF2B5EF4-FFF2-40B4-BE49-F238E27FC236}">
                      <a16:creationId xmlns:a16="http://schemas.microsoft.com/office/drawing/2014/main" id="{ECB7DF9E-703A-8DF8-9B26-A80798A58748}"/>
                    </a:ext>
                  </a:extLst>
                </p:cNvPr>
                <p:cNvSpPr/>
                <p:nvPr/>
              </p:nvSpPr>
              <p:spPr>
                <a:xfrm>
                  <a:off x="5167974" y="3140298"/>
                  <a:ext cx="58826" cy="76174"/>
                </a:xfrm>
                <a:custGeom>
                  <a:avLst/>
                  <a:gdLst>
                    <a:gd name="connsiteX0" fmla="*/ 17467 w 58826"/>
                    <a:gd name="connsiteY0" fmla="*/ 76174 h 76174"/>
                    <a:gd name="connsiteX1" fmla="*/ 4962 w 58826"/>
                    <a:gd name="connsiteY1" fmla="*/ 76174 h 76174"/>
                    <a:gd name="connsiteX2" fmla="*/ 0 w 58826"/>
                    <a:gd name="connsiteY2" fmla="*/ 71141 h 76174"/>
                    <a:gd name="connsiteX3" fmla="*/ 0 w 58826"/>
                    <a:gd name="connsiteY3" fmla="*/ 36088 h 76174"/>
                    <a:gd name="connsiteX4" fmla="*/ 36469 w 58826"/>
                    <a:gd name="connsiteY4" fmla="*/ 0 h 76174"/>
                    <a:gd name="connsiteX5" fmla="*/ 58826 w 58826"/>
                    <a:gd name="connsiteY5" fmla="*/ 24344 h 76174"/>
                    <a:gd name="connsiteX6" fmla="*/ 58826 w 58826"/>
                    <a:gd name="connsiteY6" fmla="*/ 45310 h 76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58826" h="76174">
                      <a:moveTo>
                        <a:pt x="17467" y="76174"/>
                      </a:moveTo>
                      <a:lnTo>
                        <a:pt x="4962" y="76174"/>
                      </a:lnTo>
                      <a:cubicBezTo>
                        <a:pt x="2189" y="76174"/>
                        <a:pt x="0" y="73913"/>
                        <a:pt x="0" y="71141"/>
                      </a:cubicBezTo>
                      <a:lnTo>
                        <a:pt x="0" y="36088"/>
                      </a:lnTo>
                      <a:cubicBezTo>
                        <a:pt x="0" y="18038"/>
                        <a:pt x="15908" y="0"/>
                        <a:pt x="36469" y="0"/>
                      </a:cubicBezTo>
                      <a:cubicBezTo>
                        <a:pt x="44013" y="0"/>
                        <a:pt x="58826" y="5033"/>
                        <a:pt x="58826" y="24344"/>
                      </a:cubicBezTo>
                      <a:lnTo>
                        <a:pt x="58826" y="45310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466" name="Forma livre: Forma 465">
                  <a:extLst>
                    <a:ext uri="{FF2B5EF4-FFF2-40B4-BE49-F238E27FC236}">
                      <a16:creationId xmlns:a16="http://schemas.microsoft.com/office/drawing/2014/main" id="{5E1A1DD5-A346-02A3-177F-A6F37A423269}"/>
                    </a:ext>
                  </a:extLst>
                </p:cNvPr>
                <p:cNvSpPr/>
                <p:nvPr/>
              </p:nvSpPr>
              <p:spPr>
                <a:xfrm>
                  <a:off x="5227335" y="3141547"/>
                  <a:ext cx="49200" cy="41966"/>
                </a:xfrm>
                <a:custGeom>
                  <a:avLst/>
                  <a:gdLst>
                    <a:gd name="connsiteX0" fmla="*/ 0 w 49200"/>
                    <a:gd name="connsiteY0" fmla="*/ 25986 h 41966"/>
                    <a:gd name="connsiteX1" fmla="*/ 30103 w 49200"/>
                    <a:gd name="connsiteY1" fmla="*/ 0 h 41966"/>
                    <a:gd name="connsiteX2" fmla="*/ 49200 w 49200"/>
                    <a:gd name="connsiteY2" fmla="*/ 23083 h 41966"/>
                    <a:gd name="connsiteX3" fmla="*/ 49200 w 49200"/>
                    <a:gd name="connsiteY3" fmla="*/ 41966 h 4196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9200" h="41966">
                      <a:moveTo>
                        <a:pt x="0" y="25986"/>
                      </a:moveTo>
                      <a:cubicBezTo>
                        <a:pt x="5616" y="12386"/>
                        <a:pt x="16360" y="0"/>
                        <a:pt x="30103" y="0"/>
                      </a:cubicBezTo>
                      <a:cubicBezTo>
                        <a:pt x="37647" y="0"/>
                        <a:pt x="49200" y="3772"/>
                        <a:pt x="49200" y="23083"/>
                      </a:cubicBezTo>
                      <a:lnTo>
                        <a:pt x="49200" y="41966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467" name="Forma livre: Forma 466">
                  <a:extLst>
                    <a:ext uri="{FF2B5EF4-FFF2-40B4-BE49-F238E27FC236}">
                      <a16:creationId xmlns:a16="http://schemas.microsoft.com/office/drawing/2014/main" id="{6D1A353A-F608-D650-7AF5-91608B7A05CD}"/>
                    </a:ext>
                  </a:extLst>
                </p:cNvPr>
                <p:cNvSpPr/>
                <p:nvPr/>
              </p:nvSpPr>
              <p:spPr>
                <a:xfrm>
                  <a:off x="5276143" y="3145521"/>
                  <a:ext cx="37325" cy="57838"/>
                </a:xfrm>
                <a:custGeom>
                  <a:avLst/>
                  <a:gdLst>
                    <a:gd name="connsiteX0" fmla="*/ 0 w 37325"/>
                    <a:gd name="connsiteY0" fmla="*/ 15397 h 57838"/>
                    <a:gd name="connsiteX1" fmla="*/ 21739 w 37325"/>
                    <a:gd name="connsiteY1" fmla="*/ 0 h 57838"/>
                    <a:gd name="connsiteX2" fmla="*/ 37326 w 37325"/>
                    <a:gd name="connsiteY2" fmla="*/ 18847 h 57838"/>
                    <a:gd name="connsiteX3" fmla="*/ 37326 w 37325"/>
                    <a:gd name="connsiteY3" fmla="*/ 53734 h 57838"/>
                    <a:gd name="connsiteX4" fmla="*/ 33221 w 37325"/>
                    <a:gd name="connsiteY4" fmla="*/ 57839 h 57838"/>
                    <a:gd name="connsiteX5" fmla="*/ 20656 w 37325"/>
                    <a:gd name="connsiteY5" fmla="*/ 57839 h 5783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37325" h="57838">
                      <a:moveTo>
                        <a:pt x="0" y="15397"/>
                      </a:moveTo>
                      <a:cubicBezTo>
                        <a:pt x="4950" y="6818"/>
                        <a:pt x="12517" y="0"/>
                        <a:pt x="21739" y="0"/>
                      </a:cubicBezTo>
                      <a:cubicBezTo>
                        <a:pt x="27902" y="0"/>
                        <a:pt x="37326" y="3082"/>
                        <a:pt x="37326" y="18847"/>
                      </a:cubicBezTo>
                      <a:lnTo>
                        <a:pt x="37326" y="53734"/>
                      </a:lnTo>
                      <a:cubicBezTo>
                        <a:pt x="37326" y="55994"/>
                        <a:pt x="35481" y="57839"/>
                        <a:pt x="33221" y="57839"/>
                      </a:cubicBezTo>
                      <a:lnTo>
                        <a:pt x="20656" y="57839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grpSp>
          <p:nvGrpSpPr>
            <p:cNvPr id="468" name="Gráfico 6">
              <a:extLst>
                <a:ext uri="{FF2B5EF4-FFF2-40B4-BE49-F238E27FC236}">
                  <a16:creationId xmlns:a16="http://schemas.microsoft.com/office/drawing/2014/main" id="{C8DAF4DB-B5C1-2A36-406B-EFAF38E40225}"/>
                </a:ext>
              </a:extLst>
            </p:cNvPr>
            <p:cNvGrpSpPr/>
            <p:nvPr/>
          </p:nvGrpSpPr>
          <p:grpSpPr>
            <a:xfrm>
              <a:off x="5042944" y="3239127"/>
              <a:ext cx="168530" cy="79779"/>
              <a:chOff x="5042944" y="3239127"/>
              <a:chExt cx="168530" cy="79779"/>
            </a:xfrm>
            <a:noFill/>
          </p:grpSpPr>
          <p:grpSp>
            <p:nvGrpSpPr>
              <p:cNvPr id="469" name="Gráfico 6">
                <a:extLst>
                  <a:ext uri="{FF2B5EF4-FFF2-40B4-BE49-F238E27FC236}">
                    <a16:creationId xmlns:a16="http://schemas.microsoft.com/office/drawing/2014/main" id="{5AB4BF92-36D9-F408-BB7D-3082A12D7650}"/>
                  </a:ext>
                </a:extLst>
              </p:cNvPr>
              <p:cNvGrpSpPr/>
              <p:nvPr/>
            </p:nvGrpSpPr>
            <p:grpSpPr>
              <a:xfrm>
                <a:off x="5042944" y="3239127"/>
                <a:ext cx="126064" cy="79779"/>
                <a:chOff x="5042944" y="3239127"/>
                <a:chExt cx="126064" cy="79779"/>
              </a:xfrm>
              <a:noFill/>
            </p:grpSpPr>
            <p:sp>
              <p:nvSpPr>
                <p:cNvPr id="470" name="Forma livre: Forma 469">
                  <a:extLst>
                    <a:ext uri="{FF2B5EF4-FFF2-40B4-BE49-F238E27FC236}">
                      <a16:creationId xmlns:a16="http://schemas.microsoft.com/office/drawing/2014/main" id="{41D48180-9CB4-007C-7468-288DC0523EE3}"/>
                    </a:ext>
                  </a:extLst>
                </p:cNvPr>
                <p:cNvSpPr/>
                <p:nvPr/>
              </p:nvSpPr>
              <p:spPr>
                <a:xfrm>
                  <a:off x="5126543" y="3251251"/>
                  <a:ext cx="42465" cy="67654"/>
                </a:xfrm>
                <a:custGeom>
                  <a:avLst/>
                  <a:gdLst>
                    <a:gd name="connsiteX0" fmla="*/ 42466 w 42465"/>
                    <a:gd name="connsiteY0" fmla="*/ 0 h 67654"/>
                    <a:gd name="connsiteX1" fmla="*/ 42466 w 42465"/>
                    <a:gd name="connsiteY1" fmla="*/ 46642 h 67654"/>
                    <a:gd name="connsiteX2" fmla="*/ 21453 w 42465"/>
                    <a:gd name="connsiteY2" fmla="*/ 67655 h 67654"/>
                    <a:gd name="connsiteX3" fmla="*/ 21013 w 42465"/>
                    <a:gd name="connsiteY3" fmla="*/ 67655 h 67654"/>
                    <a:gd name="connsiteX4" fmla="*/ 0 w 42465"/>
                    <a:gd name="connsiteY4" fmla="*/ 46642 h 67654"/>
                    <a:gd name="connsiteX5" fmla="*/ 0 w 42465"/>
                    <a:gd name="connsiteY5" fmla="*/ 0 h 6765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42465" h="67654">
                      <a:moveTo>
                        <a:pt x="42466" y="0"/>
                      </a:moveTo>
                      <a:lnTo>
                        <a:pt x="42466" y="46642"/>
                      </a:lnTo>
                      <a:cubicBezTo>
                        <a:pt x="42466" y="58196"/>
                        <a:pt x="33006" y="67655"/>
                        <a:pt x="21453" y="67655"/>
                      </a:cubicBezTo>
                      <a:lnTo>
                        <a:pt x="21013" y="67655"/>
                      </a:lnTo>
                      <a:cubicBezTo>
                        <a:pt x="9447" y="67655"/>
                        <a:pt x="0" y="58196"/>
                        <a:pt x="0" y="46642"/>
                      </a:cubicBezTo>
                      <a:lnTo>
                        <a:pt x="0" y="0"/>
                      </a:ln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471" name="Forma livre: Forma 470">
                  <a:extLst>
                    <a:ext uri="{FF2B5EF4-FFF2-40B4-BE49-F238E27FC236}">
                      <a16:creationId xmlns:a16="http://schemas.microsoft.com/office/drawing/2014/main" id="{F8A3A113-7CAA-BB6E-24A4-7DDD24FDFBDC}"/>
                    </a:ext>
                  </a:extLst>
                </p:cNvPr>
                <p:cNvSpPr/>
                <p:nvPr/>
              </p:nvSpPr>
              <p:spPr>
                <a:xfrm>
                  <a:off x="5042944" y="3239127"/>
                  <a:ext cx="41145" cy="64109"/>
                </a:xfrm>
                <a:custGeom>
                  <a:avLst/>
                  <a:gdLst>
                    <a:gd name="connsiteX0" fmla="*/ 0 w 41145"/>
                    <a:gd name="connsiteY0" fmla="*/ 0 h 64109"/>
                    <a:gd name="connsiteX1" fmla="*/ 0 w 41145"/>
                    <a:gd name="connsiteY1" fmla="*/ 45072 h 64109"/>
                    <a:gd name="connsiteX2" fmla="*/ 16111 w 41145"/>
                    <a:gd name="connsiteY2" fmla="*/ 64109 h 64109"/>
                    <a:gd name="connsiteX3" fmla="*/ 41145 w 41145"/>
                    <a:gd name="connsiteY3" fmla="*/ 42442 h 64109"/>
                    <a:gd name="connsiteX4" fmla="*/ 41145 w 41145"/>
                    <a:gd name="connsiteY4" fmla="*/ 0 h 64109"/>
                    <a:gd name="connsiteX5" fmla="*/ 0 w 41145"/>
                    <a:gd name="connsiteY5" fmla="*/ 0 h 6410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41145" h="64109">
                      <a:moveTo>
                        <a:pt x="0" y="0"/>
                      </a:moveTo>
                      <a:lnTo>
                        <a:pt x="0" y="45072"/>
                      </a:lnTo>
                      <a:cubicBezTo>
                        <a:pt x="0" y="56625"/>
                        <a:pt x="4914" y="64109"/>
                        <a:pt x="16111" y="64109"/>
                      </a:cubicBezTo>
                      <a:cubicBezTo>
                        <a:pt x="27307" y="64109"/>
                        <a:pt x="41145" y="53995"/>
                        <a:pt x="41145" y="42442"/>
                      </a:cubicBezTo>
                      <a:lnTo>
                        <a:pt x="41145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472" name="Forma livre: Forma 471">
                <a:extLst>
                  <a:ext uri="{FF2B5EF4-FFF2-40B4-BE49-F238E27FC236}">
                    <a16:creationId xmlns:a16="http://schemas.microsoft.com/office/drawing/2014/main" id="{20A8C160-36F6-25B3-A473-71741BEED6E0}"/>
                  </a:ext>
                </a:extLst>
              </p:cNvPr>
              <p:cNvSpPr/>
              <p:nvPr/>
            </p:nvSpPr>
            <p:spPr>
              <a:xfrm>
                <a:off x="5169009" y="3251251"/>
                <a:ext cx="42465" cy="67654"/>
              </a:xfrm>
              <a:custGeom>
                <a:avLst/>
                <a:gdLst>
                  <a:gd name="connsiteX0" fmla="*/ 0 w 42465"/>
                  <a:gd name="connsiteY0" fmla="*/ 0 h 67654"/>
                  <a:gd name="connsiteX1" fmla="*/ 0 w 42465"/>
                  <a:gd name="connsiteY1" fmla="*/ 46642 h 67654"/>
                  <a:gd name="connsiteX2" fmla="*/ 21013 w 42465"/>
                  <a:gd name="connsiteY2" fmla="*/ 67655 h 67654"/>
                  <a:gd name="connsiteX3" fmla="*/ 21453 w 42465"/>
                  <a:gd name="connsiteY3" fmla="*/ 67655 h 67654"/>
                  <a:gd name="connsiteX4" fmla="*/ 42466 w 42465"/>
                  <a:gd name="connsiteY4" fmla="*/ 46642 h 67654"/>
                  <a:gd name="connsiteX5" fmla="*/ 42466 w 42465"/>
                  <a:gd name="connsiteY5" fmla="*/ 25784 h 676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42465" h="67654">
                    <a:moveTo>
                      <a:pt x="0" y="0"/>
                    </a:moveTo>
                    <a:lnTo>
                      <a:pt x="0" y="46642"/>
                    </a:lnTo>
                    <a:cubicBezTo>
                      <a:pt x="0" y="58196"/>
                      <a:pt x="9459" y="67655"/>
                      <a:pt x="21013" y="67655"/>
                    </a:cubicBezTo>
                    <a:lnTo>
                      <a:pt x="21453" y="67655"/>
                    </a:lnTo>
                    <a:cubicBezTo>
                      <a:pt x="33018" y="67655"/>
                      <a:pt x="42466" y="58196"/>
                      <a:pt x="42466" y="46642"/>
                    </a:cubicBezTo>
                    <a:lnTo>
                      <a:pt x="42466" y="25784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73" name="Forma livre: Forma 472">
                <a:extLst>
                  <a:ext uri="{FF2B5EF4-FFF2-40B4-BE49-F238E27FC236}">
                    <a16:creationId xmlns:a16="http://schemas.microsoft.com/office/drawing/2014/main" id="{A97AAF3A-31F4-4FBA-F319-3B607BCE9D52}"/>
                  </a:ext>
                </a:extLst>
              </p:cNvPr>
              <p:cNvSpPr/>
              <p:nvPr/>
            </p:nvSpPr>
            <p:spPr>
              <a:xfrm>
                <a:off x="5084078" y="3247991"/>
                <a:ext cx="101256" cy="65429"/>
              </a:xfrm>
              <a:custGeom>
                <a:avLst/>
                <a:gdLst>
                  <a:gd name="connsiteX0" fmla="*/ 101256 w 101256"/>
                  <a:gd name="connsiteY0" fmla="*/ 0 h 65429"/>
                  <a:gd name="connsiteX1" fmla="*/ 0 w 101256"/>
                  <a:gd name="connsiteY1" fmla="*/ 0 h 65429"/>
                  <a:gd name="connsiteX2" fmla="*/ 0 w 101256"/>
                  <a:gd name="connsiteY2" fmla="*/ 46380 h 65429"/>
                  <a:gd name="connsiteX3" fmla="*/ 16634 w 101256"/>
                  <a:gd name="connsiteY3" fmla="*/ 65430 h 65429"/>
                  <a:gd name="connsiteX4" fmla="*/ 42466 w 101256"/>
                  <a:gd name="connsiteY4" fmla="*/ 43763 h 654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01256" h="65429">
                    <a:moveTo>
                      <a:pt x="101256" y="0"/>
                    </a:moveTo>
                    <a:lnTo>
                      <a:pt x="0" y="0"/>
                    </a:lnTo>
                    <a:lnTo>
                      <a:pt x="0" y="46380"/>
                    </a:lnTo>
                    <a:cubicBezTo>
                      <a:pt x="0" y="57934"/>
                      <a:pt x="5081" y="65430"/>
                      <a:pt x="16634" y="65430"/>
                    </a:cubicBezTo>
                    <a:cubicBezTo>
                      <a:pt x="28188" y="65430"/>
                      <a:pt x="42466" y="55316"/>
                      <a:pt x="42466" y="43763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474" name="Gráfico 6">
              <a:extLst>
                <a:ext uri="{FF2B5EF4-FFF2-40B4-BE49-F238E27FC236}">
                  <a16:creationId xmlns:a16="http://schemas.microsoft.com/office/drawing/2014/main" id="{E060828A-804A-E277-9A93-7BB8DE7F1A25}"/>
                </a:ext>
              </a:extLst>
            </p:cNvPr>
            <p:cNvGrpSpPr/>
            <p:nvPr/>
          </p:nvGrpSpPr>
          <p:grpSpPr>
            <a:xfrm>
              <a:off x="5205180" y="3182645"/>
              <a:ext cx="142948" cy="227832"/>
              <a:chOff x="5205180" y="3182645"/>
              <a:chExt cx="142948" cy="227832"/>
            </a:xfrm>
            <a:noFill/>
          </p:grpSpPr>
          <p:sp>
            <p:nvSpPr>
              <p:cNvPr id="475" name="Forma livre: Forma 474">
                <a:extLst>
                  <a:ext uri="{FF2B5EF4-FFF2-40B4-BE49-F238E27FC236}">
                    <a16:creationId xmlns:a16="http://schemas.microsoft.com/office/drawing/2014/main" id="{9E107275-648D-8F2E-F93C-FBDEC52C820C}"/>
                  </a:ext>
                </a:extLst>
              </p:cNvPr>
              <p:cNvSpPr/>
              <p:nvPr/>
            </p:nvSpPr>
            <p:spPr>
              <a:xfrm>
                <a:off x="5205180" y="3182645"/>
                <a:ext cx="58814" cy="76174"/>
              </a:xfrm>
              <a:custGeom>
                <a:avLst/>
                <a:gdLst>
                  <a:gd name="connsiteX0" fmla="*/ 58814 w 58814"/>
                  <a:gd name="connsiteY0" fmla="*/ 54935 h 76174"/>
                  <a:gd name="connsiteX1" fmla="*/ 58814 w 58814"/>
                  <a:gd name="connsiteY1" fmla="*/ 71141 h 76174"/>
                  <a:gd name="connsiteX2" fmla="*/ 53781 w 58814"/>
                  <a:gd name="connsiteY2" fmla="*/ 76174 h 76174"/>
                  <a:gd name="connsiteX3" fmla="*/ 4962 w 58814"/>
                  <a:gd name="connsiteY3" fmla="*/ 76174 h 76174"/>
                  <a:gd name="connsiteX4" fmla="*/ 0 w 58814"/>
                  <a:gd name="connsiteY4" fmla="*/ 71141 h 76174"/>
                  <a:gd name="connsiteX5" fmla="*/ 0 w 58814"/>
                  <a:gd name="connsiteY5" fmla="*/ 36088 h 76174"/>
                  <a:gd name="connsiteX6" fmla="*/ 36457 w 58814"/>
                  <a:gd name="connsiteY6" fmla="*/ 0 h 76174"/>
                  <a:gd name="connsiteX7" fmla="*/ 58814 w 58814"/>
                  <a:gd name="connsiteY7" fmla="*/ 24332 h 76174"/>
                  <a:gd name="connsiteX8" fmla="*/ 58814 w 58814"/>
                  <a:gd name="connsiteY8" fmla="*/ 29758 h 76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58814" h="76174">
                    <a:moveTo>
                      <a:pt x="58814" y="54935"/>
                    </a:moveTo>
                    <a:lnTo>
                      <a:pt x="58814" y="71141"/>
                    </a:lnTo>
                    <a:cubicBezTo>
                      <a:pt x="58814" y="73913"/>
                      <a:pt x="56554" y="76174"/>
                      <a:pt x="53781" y="76174"/>
                    </a:cubicBezTo>
                    <a:lnTo>
                      <a:pt x="4962" y="76174"/>
                    </a:lnTo>
                    <a:cubicBezTo>
                      <a:pt x="2189" y="76174"/>
                      <a:pt x="0" y="73902"/>
                      <a:pt x="0" y="71141"/>
                    </a:cubicBezTo>
                    <a:lnTo>
                      <a:pt x="0" y="36088"/>
                    </a:lnTo>
                    <a:cubicBezTo>
                      <a:pt x="0" y="18038"/>
                      <a:pt x="15896" y="0"/>
                      <a:pt x="36457" y="0"/>
                    </a:cubicBezTo>
                    <a:cubicBezTo>
                      <a:pt x="44001" y="0"/>
                      <a:pt x="58814" y="5033"/>
                      <a:pt x="58814" y="24332"/>
                    </a:cubicBezTo>
                    <a:lnTo>
                      <a:pt x="58814" y="29758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76" name="Forma livre: Forma 475">
                <a:extLst>
                  <a:ext uri="{FF2B5EF4-FFF2-40B4-BE49-F238E27FC236}">
                    <a16:creationId xmlns:a16="http://schemas.microsoft.com/office/drawing/2014/main" id="{B3E384D8-9859-84A1-1336-08DCE521E9FE}"/>
                  </a:ext>
                </a:extLst>
              </p:cNvPr>
              <p:cNvSpPr/>
              <p:nvPr/>
            </p:nvSpPr>
            <p:spPr>
              <a:xfrm>
                <a:off x="5236509" y="3213938"/>
                <a:ext cx="111619" cy="173349"/>
              </a:xfrm>
              <a:custGeom>
                <a:avLst/>
                <a:gdLst>
                  <a:gd name="connsiteX0" fmla="*/ 111620 w 111619"/>
                  <a:gd name="connsiteY0" fmla="*/ 99805 h 173349"/>
                  <a:gd name="connsiteX1" fmla="*/ 47273 w 111619"/>
                  <a:gd name="connsiteY1" fmla="*/ 0 h 173349"/>
                  <a:gd name="connsiteX2" fmla="*/ 0 w 111619"/>
                  <a:gd name="connsiteY2" fmla="*/ 0 h 173349"/>
                  <a:gd name="connsiteX3" fmla="*/ 10506 w 111619"/>
                  <a:gd name="connsiteY3" fmla="*/ 23630 h 173349"/>
                  <a:gd name="connsiteX4" fmla="*/ 31519 w 111619"/>
                  <a:gd name="connsiteY4" fmla="*/ 23630 h 173349"/>
                  <a:gd name="connsiteX5" fmla="*/ 107681 w 111619"/>
                  <a:gd name="connsiteY5" fmla="*/ 173349 h 1733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11619" h="173349">
                    <a:moveTo>
                      <a:pt x="111620" y="99805"/>
                    </a:moveTo>
                    <a:lnTo>
                      <a:pt x="47273" y="0"/>
                    </a:lnTo>
                    <a:lnTo>
                      <a:pt x="0" y="0"/>
                    </a:lnTo>
                    <a:lnTo>
                      <a:pt x="10506" y="23630"/>
                    </a:lnTo>
                    <a:lnTo>
                      <a:pt x="31519" y="23630"/>
                    </a:lnTo>
                    <a:lnTo>
                      <a:pt x="107681" y="173349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77" name="Forma livre: Forma 476">
                <a:extLst>
                  <a:ext uri="{FF2B5EF4-FFF2-40B4-BE49-F238E27FC236}">
                    <a16:creationId xmlns:a16="http://schemas.microsoft.com/office/drawing/2014/main" id="{370872E8-BAF3-D60D-8ACE-520F10D05010}"/>
                  </a:ext>
                </a:extLst>
              </p:cNvPr>
              <p:cNvSpPr/>
              <p:nvPr/>
            </p:nvSpPr>
            <p:spPr>
              <a:xfrm>
                <a:off x="5249205" y="3259901"/>
                <a:ext cx="68285" cy="150575"/>
              </a:xfrm>
              <a:custGeom>
                <a:avLst/>
                <a:gdLst>
                  <a:gd name="connsiteX0" fmla="*/ 0 w 68285"/>
                  <a:gd name="connsiteY0" fmla="*/ 0 h 150575"/>
                  <a:gd name="connsiteX1" fmla="*/ 68285 w 68285"/>
                  <a:gd name="connsiteY1" fmla="*/ 150576 h 1505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8285" h="150575">
                    <a:moveTo>
                      <a:pt x="0" y="0"/>
                    </a:moveTo>
                    <a:lnTo>
                      <a:pt x="68285" y="150576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478" name="Forma livre: Forma 477">
              <a:extLst>
                <a:ext uri="{FF2B5EF4-FFF2-40B4-BE49-F238E27FC236}">
                  <a16:creationId xmlns:a16="http://schemas.microsoft.com/office/drawing/2014/main" id="{FE399AB1-4EF8-D12C-5B8D-DF30F6666C3C}"/>
                </a:ext>
              </a:extLst>
            </p:cNvPr>
            <p:cNvSpPr/>
            <p:nvPr/>
          </p:nvSpPr>
          <p:spPr>
            <a:xfrm>
              <a:off x="5211475" y="3291742"/>
              <a:ext cx="37266" cy="21667"/>
            </a:xfrm>
            <a:custGeom>
              <a:avLst/>
              <a:gdLst>
                <a:gd name="connsiteX0" fmla="*/ 37266 w 37266"/>
                <a:gd name="connsiteY0" fmla="*/ 17753 h 21667"/>
                <a:gd name="connsiteX1" fmla="*/ 25820 w 37266"/>
                <a:gd name="connsiteY1" fmla="*/ 21667 h 21667"/>
                <a:gd name="connsiteX2" fmla="*/ 0 w 37266"/>
                <a:gd name="connsiteY2" fmla="*/ 0 h 216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7266" h="21667">
                  <a:moveTo>
                    <a:pt x="37266" y="17753"/>
                  </a:moveTo>
                  <a:cubicBezTo>
                    <a:pt x="34577" y="20263"/>
                    <a:pt x="30805" y="21667"/>
                    <a:pt x="25820" y="21667"/>
                  </a:cubicBezTo>
                  <a:cubicBezTo>
                    <a:pt x="14266" y="21667"/>
                    <a:pt x="0" y="11553"/>
                    <a:pt x="0" y="0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479" name="Gráfico 6">
            <a:extLst>
              <a:ext uri="{FF2B5EF4-FFF2-40B4-BE49-F238E27FC236}">
                <a16:creationId xmlns:a16="http://schemas.microsoft.com/office/drawing/2014/main" id="{FD25A92D-228D-41EC-B3F4-6CF6B49E3204}"/>
              </a:ext>
            </a:extLst>
          </p:cNvPr>
          <p:cNvGrpSpPr/>
          <p:nvPr/>
        </p:nvGrpSpPr>
        <p:grpSpPr>
          <a:xfrm>
            <a:off x="5673874" y="3115977"/>
            <a:ext cx="262159" cy="318832"/>
            <a:chOff x="5673874" y="3115977"/>
            <a:chExt cx="262159" cy="318832"/>
          </a:xfrm>
          <a:noFill/>
        </p:grpSpPr>
        <p:grpSp>
          <p:nvGrpSpPr>
            <p:cNvPr id="480" name="Gráfico 6">
              <a:extLst>
                <a:ext uri="{FF2B5EF4-FFF2-40B4-BE49-F238E27FC236}">
                  <a16:creationId xmlns:a16="http://schemas.microsoft.com/office/drawing/2014/main" id="{44542B80-38C1-9ACD-6462-3EDE65C8E197}"/>
                </a:ext>
              </a:extLst>
            </p:cNvPr>
            <p:cNvGrpSpPr/>
            <p:nvPr/>
          </p:nvGrpSpPr>
          <p:grpSpPr>
            <a:xfrm>
              <a:off x="5782281" y="3297358"/>
              <a:ext cx="30150" cy="77340"/>
              <a:chOff x="5782281" y="3297358"/>
              <a:chExt cx="30150" cy="77340"/>
            </a:xfrm>
          </p:grpSpPr>
          <p:sp>
            <p:nvSpPr>
              <p:cNvPr id="481" name="Forma livre: Forma 480">
                <a:extLst>
                  <a:ext uri="{FF2B5EF4-FFF2-40B4-BE49-F238E27FC236}">
                    <a16:creationId xmlns:a16="http://schemas.microsoft.com/office/drawing/2014/main" id="{9E0B6125-8FB5-69B3-0352-F3EA877F6A89}"/>
                  </a:ext>
                </a:extLst>
              </p:cNvPr>
              <p:cNvSpPr/>
              <p:nvPr/>
            </p:nvSpPr>
            <p:spPr>
              <a:xfrm>
                <a:off x="5782281" y="3297358"/>
                <a:ext cx="30150" cy="1189"/>
              </a:xfrm>
              <a:custGeom>
                <a:avLst/>
                <a:gdLst>
                  <a:gd name="connsiteX0" fmla="*/ 0 w 30150"/>
                  <a:gd name="connsiteY0" fmla="*/ 0 h 1189"/>
                  <a:gd name="connsiteX1" fmla="*/ 30151 w 30150"/>
                  <a:gd name="connsiteY1" fmla="*/ 0 h 11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0150" h="1189">
                    <a:moveTo>
                      <a:pt x="0" y="0"/>
                    </a:moveTo>
                    <a:lnTo>
                      <a:pt x="30151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82" name="Forma livre: Forma 481">
                <a:extLst>
                  <a:ext uri="{FF2B5EF4-FFF2-40B4-BE49-F238E27FC236}">
                    <a16:creationId xmlns:a16="http://schemas.microsoft.com/office/drawing/2014/main" id="{4990A19D-B175-0BCF-E3EC-DDAA9441F04A}"/>
                  </a:ext>
                </a:extLst>
              </p:cNvPr>
              <p:cNvSpPr/>
              <p:nvPr/>
            </p:nvSpPr>
            <p:spPr>
              <a:xfrm>
                <a:off x="5782281" y="3323142"/>
                <a:ext cx="30150" cy="1189"/>
              </a:xfrm>
              <a:custGeom>
                <a:avLst/>
                <a:gdLst>
                  <a:gd name="connsiteX0" fmla="*/ 0 w 30150"/>
                  <a:gd name="connsiteY0" fmla="*/ 0 h 1189"/>
                  <a:gd name="connsiteX1" fmla="*/ 30151 w 30150"/>
                  <a:gd name="connsiteY1" fmla="*/ 0 h 11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0150" h="1189">
                    <a:moveTo>
                      <a:pt x="0" y="0"/>
                    </a:moveTo>
                    <a:lnTo>
                      <a:pt x="30151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83" name="Forma livre: Forma 482">
                <a:extLst>
                  <a:ext uri="{FF2B5EF4-FFF2-40B4-BE49-F238E27FC236}">
                    <a16:creationId xmlns:a16="http://schemas.microsoft.com/office/drawing/2014/main" id="{160C4486-D3F1-E88B-5BCD-D70DB3C69E9D}"/>
                  </a:ext>
                </a:extLst>
              </p:cNvPr>
              <p:cNvSpPr/>
              <p:nvPr/>
            </p:nvSpPr>
            <p:spPr>
              <a:xfrm>
                <a:off x="5782281" y="3348926"/>
                <a:ext cx="30150" cy="1189"/>
              </a:xfrm>
              <a:custGeom>
                <a:avLst/>
                <a:gdLst>
                  <a:gd name="connsiteX0" fmla="*/ 0 w 30150"/>
                  <a:gd name="connsiteY0" fmla="*/ 0 h 1189"/>
                  <a:gd name="connsiteX1" fmla="*/ 30151 w 30150"/>
                  <a:gd name="connsiteY1" fmla="*/ 0 h 11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0150" h="1189">
                    <a:moveTo>
                      <a:pt x="0" y="0"/>
                    </a:moveTo>
                    <a:lnTo>
                      <a:pt x="30151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84" name="Forma livre: Forma 483">
                <a:extLst>
                  <a:ext uri="{FF2B5EF4-FFF2-40B4-BE49-F238E27FC236}">
                    <a16:creationId xmlns:a16="http://schemas.microsoft.com/office/drawing/2014/main" id="{C65C7488-D36C-820A-D447-E9137592C576}"/>
                  </a:ext>
                </a:extLst>
              </p:cNvPr>
              <p:cNvSpPr/>
              <p:nvPr/>
            </p:nvSpPr>
            <p:spPr>
              <a:xfrm>
                <a:off x="5782281" y="3374698"/>
                <a:ext cx="30150" cy="1189"/>
              </a:xfrm>
              <a:custGeom>
                <a:avLst/>
                <a:gdLst>
                  <a:gd name="connsiteX0" fmla="*/ 0 w 30150"/>
                  <a:gd name="connsiteY0" fmla="*/ 0 h 1189"/>
                  <a:gd name="connsiteX1" fmla="*/ 30151 w 30150"/>
                  <a:gd name="connsiteY1" fmla="*/ 0 h 11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0150" h="1189">
                    <a:moveTo>
                      <a:pt x="0" y="0"/>
                    </a:moveTo>
                    <a:lnTo>
                      <a:pt x="30151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485" name="Gráfico 6">
              <a:extLst>
                <a:ext uri="{FF2B5EF4-FFF2-40B4-BE49-F238E27FC236}">
                  <a16:creationId xmlns:a16="http://schemas.microsoft.com/office/drawing/2014/main" id="{7A90A86E-BAF9-FBF4-1D37-5724885714FB}"/>
                </a:ext>
              </a:extLst>
            </p:cNvPr>
            <p:cNvGrpSpPr/>
            <p:nvPr/>
          </p:nvGrpSpPr>
          <p:grpSpPr>
            <a:xfrm>
              <a:off x="5692579" y="3297358"/>
              <a:ext cx="30138" cy="77340"/>
              <a:chOff x="5692579" y="3297358"/>
              <a:chExt cx="30138" cy="77340"/>
            </a:xfrm>
          </p:grpSpPr>
          <p:sp>
            <p:nvSpPr>
              <p:cNvPr id="486" name="Forma livre: Forma 485">
                <a:extLst>
                  <a:ext uri="{FF2B5EF4-FFF2-40B4-BE49-F238E27FC236}">
                    <a16:creationId xmlns:a16="http://schemas.microsoft.com/office/drawing/2014/main" id="{A274DC5B-B5BA-5874-078D-239481352F9B}"/>
                  </a:ext>
                </a:extLst>
              </p:cNvPr>
              <p:cNvSpPr/>
              <p:nvPr/>
            </p:nvSpPr>
            <p:spPr>
              <a:xfrm>
                <a:off x="5692579" y="3297358"/>
                <a:ext cx="30138" cy="1189"/>
              </a:xfrm>
              <a:custGeom>
                <a:avLst/>
                <a:gdLst>
                  <a:gd name="connsiteX0" fmla="*/ 0 w 30138"/>
                  <a:gd name="connsiteY0" fmla="*/ 0 h 1189"/>
                  <a:gd name="connsiteX1" fmla="*/ 30139 w 30138"/>
                  <a:gd name="connsiteY1" fmla="*/ 0 h 11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0138" h="1189">
                    <a:moveTo>
                      <a:pt x="0" y="0"/>
                    </a:moveTo>
                    <a:lnTo>
                      <a:pt x="30139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87" name="Forma livre: Forma 486">
                <a:extLst>
                  <a:ext uri="{FF2B5EF4-FFF2-40B4-BE49-F238E27FC236}">
                    <a16:creationId xmlns:a16="http://schemas.microsoft.com/office/drawing/2014/main" id="{FF2E1610-14E2-FA89-A7A0-605E04708040}"/>
                  </a:ext>
                </a:extLst>
              </p:cNvPr>
              <p:cNvSpPr/>
              <p:nvPr/>
            </p:nvSpPr>
            <p:spPr>
              <a:xfrm>
                <a:off x="5692579" y="3323142"/>
                <a:ext cx="30138" cy="1189"/>
              </a:xfrm>
              <a:custGeom>
                <a:avLst/>
                <a:gdLst>
                  <a:gd name="connsiteX0" fmla="*/ 0 w 30138"/>
                  <a:gd name="connsiteY0" fmla="*/ 0 h 1189"/>
                  <a:gd name="connsiteX1" fmla="*/ 30139 w 30138"/>
                  <a:gd name="connsiteY1" fmla="*/ 0 h 11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0138" h="1189">
                    <a:moveTo>
                      <a:pt x="0" y="0"/>
                    </a:moveTo>
                    <a:lnTo>
                      <a:pt x="30139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88" name="Forma livre: Forma 487">
                <a:extLst>
                  <a:ext uri="{FF2B5EF4-FFF2-40B4-BE49-F238E27FC236}">
                    <a16:creationId xmlns:a16="http://schemas.microsoft.com/office/drawing/2014/main" id="{12CA8E3F-9F10-79A4-746B-B21FF56370AA}"/>
                  </a:ext>
                </a:extLst>
              </p:cNvPr>
              <p:cNvSpPr/>
              <p:nvPr/>
            </p:nvSpPr>
            <p:spPr>
              <a:xfrm>
                <a:off x="5692579" y="3348926"/>
                <a:ext cx="30138" cy="1189"/>
              </a:xfrm>
              <a:custGeom>
                <a:avLst/>
                <a:gdLst>
                  <a:gd name="connsiteX0" fmla="*/ 0 w 30138"/>
                  <a:gd name="connsiteY0" fmla="*/ 0 h 1189"/>
                  <a:gd name="connsiteX1" fmla="*/ 30139 w 30138"/>
                  <a:gd name="connsiteY1" fmla="*/ 0 h 11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0138" h="1189">
                    <a:moveTo>
                      <a:pt x="0" y="0"/>
                    </a:moveTo>
                    <a:lnTo>
                      <a:pt x="30139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89" name="Forma livre: Forma 488">
                <a:extLst>
                  <a:ext uri="{FF2B5EF4-FFF2-40B4-BE49-F238E27FC236}">
                    <a16:creationId xmlns:a16="http://schemas.microsoft.com/office/drawing/2014/main" id="{008D6FA8-880F-DC88-ED19-6443CB8B07DC}"/>
                  </a:ext>
                </a:extLst>
              </p:cNvPr>
              <p:cNvSpPr/>
              <p:nvPr/>
            </p:nvSpPr>
            <p:spPr>
              <a:xfrm>
                <a:off x="5692579" y="3374698"/>
                <a:ext cx="30138" cy="1189"/>
              </a:xfrm>
              <a:custGeom>
                <a:avLst/>
                <a:gdLst>
                  <a:gd name="connsiteX0" fmla="*/ 0 w 30138"/>
                  <a:gd name="connsiteY0" fmla="*/ 0 h 1189"/>
                  <a:gd name="connsiteX1" fmla="*/ 30139 w 30138"/>
                  <a:gd name="connsiteY1" fmla="*/ 0 h 11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0138" h="1189">
                    <a:moveTo>
                      <a:pt x="0" y="0"/>
                    </a:moveTo>
                    <a:lnTo>
                      <a:pt x="30139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490" name="Forma livre: Forma 489">
              <a:extLst>
                <a:ext uri="{FF2B5EF4-FFF2-40B4-BE49-F238E27FC236}">
                  <a16:creationId xmlns:a16="http://schemas.microsoft.com/office/drawing/2014/main" id="{705AF33F-0E4A-5B7B-E441-847974641A6F}"/>
                </a:ext>
              </a:extLst>
            </p:cNvPr>
            <p:cNvSpPr/>
            <p:nvPr/>
          </p:nvSpPr>
          <p:spPr>
            <a:xfrm>
              <a:off x="5673874" y="3115977"/>
              <a:ext cx="49438" cy="318832"/>
            </a:xfrm>
            <a:custGeom>
              <a:avLst/>
              <a:gdLst>
                <a:gd name="connsiteX0" fmla="*/ 33804 w 49438"/>
                <a:gd name="connsiteY0" fmla="*/ 0 h 318832"/>
                <a:gd name="connsiteX1" fmla="*/ 0 w 49438"/>
                <a:gd name="connsiteY1" fmla="*/ 33804 h 318832"/>
                <a:gd name="connsiteX2" fmla="*/ 33804 w 49438"/>
                <a:gd name="connsiteY2" fmla="*/ 67607 h 318832"/>
                <a:gd name="connsiteX3" fmla="*/ 33804 w 49438"/>
                <a:gd name="connsiteY3" fmla="*/ 121293 h 318832"/>
                <a:gd name="connsiteX4" fmla="*/ 35160 w 49438"/>
                <a:gd name="connsiteY4" fmla="*/ 121293 h 318832"/>
                <a:gd name="connsiteX5" fmla="*/ 49438 w 49438"/>
                <a:gd name="connsiteY5" fmla="*/ 135571 h 318832"/>
                <a:gd name="connsiteX6" fmla="*/ 49438 w 49438"/>
                <a:gd name="connsiteY6" fmla="*/ 304554 h 318832"/>
                <a:gd name="connsiteX7" fmla="*/ 35160 w 49438"/>
                <a:gd name="connsiteY7" fmla="*/ 318832 h 318832"/>
                <a:gd name="connsiteX8" fmla="*/ 32376 w 49438"/>
                <a:gd name="connsiteY8" fmla="*/ 318832 h 318832"/>
                <a:gd name="connsiteX9" fmla="*/ 18098 w 49438"/>
                <a:gd name="connsiteY9" fmla="*/ 304554 h 318832"/>
                <a:gd name="connsiteX10" fmla="*/ 18098 w 49438"/>
                <a:gd name="connsiteY10" fmla="*/ 135571 h 3188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49438" h="318832">
                  <a:moveTo>
                    <a:pt x="33804" y="0"/>
                  </a:moveTo>
                  <a:lnTo>
                    <a:pt x="0" y="33804"/>
                  </a:lnTo>
                  <a:lnTo>
                    <a:pt x="33804" y="67607"/>
                  </a:lnTo>
                  <a:lnTo>
                    <a:pt x="33804" y="121293"/>
                  </a:lnTo>
                  <a:lnTo>
                    <a:pt x="35160" y="121293"/>
                  </a:lnTo>
                  <a:cubicBezTo>
                    <a:pt x="43013" y="121293"/>
                    <a:pt x="49438" y="127718"/>
                    <a:pt x="49438" y="135571"/>
                  </a:cubicBezTo>
                  <a:lnTo>
                    <a:pt x="49438" y="304554"/>
                  </a:lnTo>
                  <a:cubicBezTo>
                    <a:pt x="49438" y="312407"/>
                    <a:pt x="43013" y="318832"/>
                    <a:pt x="35160" y="318832"/>
                  </a:cubicBezTo>
                  <a:lnTo>
                    <a:pt x="32376" y="318832"/>
                  </a:lnTo>
                  <a:cubicBezTo>
                    <a:pt x="24523" y="318832"/>
                    <a:pt x="18098" y="312407"/>
                    <a:pt x="18098" y="304554"/>
                  </a:cubicBezTo>
                  <a:lnTo>
                    <a:pt x="18098" y="135571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491" name="Gráfico 6">
              <a:extLst>
                <a:ext uri="{FF2B5EF4-FFF2-40B4-BE49-F238E27FC236}">
                  <a16:creationId xmlns:a16="http://schemas.microsoft.com/office/drawing/2014/main" id="{F1BA4574-CBAA-A766-AE75-937C49FE63F7}"/>
                </a:ext>
              </a:extLst>
            </p:cNvPr>
            <p:cNvGrpSpPr/>
            <p:nvPr/>
          </p:nvGrpSpPr>
          <p:grpSpPr>
            <a:xfrm>
              <a:off x="5878921" y="3297358"/>
              <a:ext cx="30138" cy="77340"/>
              <a:chOff x="5878921" y="3297358"/>
              <a:chExt cx="30138" cy="77340"/>
            </a:xfrm>
          </p:grpSpPr>
          <p:sp>
            <p:nvSpPr>
              <p:cNvPr id="492" name="Forma livre: Forma 491">
                <a:extLst>
                  <a:ext uri="{FF2B5EF4-FFF2-40B4-BE49-F238E27FC236}">
                    <a16:creationId xmlns:a16="http://schemas.microsoft.com/office/drawing/2014/main" id="{33FD33C5-77A4-5007-CFEB-149E5D09D611}"/>
                  </a:ext>
                </a:extLst>
              </p:cNvPr>
              <p:cNvSpPr/>
              <p:nvPr/>
            </p:nvSpPr>
            <p:spPr>
              <a:xfrm>
                <a:off x="5878921" y="3297358"/>
                <a:ext cx="30138" cy="1189"/>
              </a:xfrm>
              <a:custGeom>
                <a:avLst/>
                <a:gdLst>
                  <a:gd name="connsiteX0" fmla="*/ 0 w 30138"/>
                  <a:gd name="connsiteY0" fmla="*/ 0 h 1189"/>
                  <a:gd name="connsiteX1" fmla="*/ 30139 w 30138"/>
                  <a:gd name="connsiteY1" fmla="*/ 0 h 11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0138" h="1189">
                    <a:moveTo>
                      <a:pt x="0" y="0"/>
                    </a:moveTo>
                    <a:lnTo>
                      <a:pt x="30139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93" name="Forma livre: Forma 492">
                <a:extLst>
                  <a:ext uri="{FF2B5EF4-FFF2-40B4-BE49-F238E27FC236}">
                    <a16:creationId xmlns:a16="http://schemas.microsoft.com/office/drawing/2014/main" id="{A020C0A6-3258-7B4F-774B-E44B1E577961}"/>
                  </a:ext>
                </a:extLst>
              </p:cNvPr>
              <p:cNvSpPr/>
              <p:nvPr/>
            </p:nvSpPr>
            <p:spPr>
              <a:xfrm>
                <a:off x="5878921" y="3323142"/>
                <a:ext cx="30138" cy="1189"/>
              </a:xfrm>
              <a:custGeom>
                <a:avLst/>
                <a:gdLst>
                  <a:gd name="connsiteX0" fmla="*/ 0 w 30138"/>
                  <a:gd name="connsiteY0" fmla="*/ 0 h 1189"/>
                  <a:gd name="connsiteX1" fmla="*/ 30139 w 30138"/>
                  <a:gd name="connsiteY1" fmla="*/ 0 h 11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0138" h="1189">
                    <a:moveTo>
                      <a:pt x="0" y="0"/>
                    </a:moveTo>
                    <a:lnTo>
                      <a:pt x="30139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94" name="Forma livre: Forma 493">
                <a:extLst>
                  <a:ext uri="{FF2B5EF4-FFF2-40B4-BE49-F238E27FC236}">
                    <a16:creationId xmlns:a16="http://schemas.microsoft.com/office/drawing/2014/main" id="{2F341382-7E4D-1304-B204-BF4CC031778D}"/>
                  </a:ext>
                </a:extLst>
              </p:cNvPr>
              <p:cNvSpPr/>
              <p:nvPr/>
            </p:nvSpPr>
            <p:spPr>
              <a:xfrm>
                <a:off x="5878921" y="3348926"/>
                <a:ext cx="30138" cy="1189"/>
              </a:xfrm>
              <a:custGeom>
                <a:avLst/>
                <a:gdLst>
                  <a:gd name="connsiteX0" fmla="*/ 0 w 30138"/>
                  <a:gd name="connsiteY0" fmla="*/ 0 h 1189"/>
                  <a:gd name="connsiteX1" fmla="*/ 30139 w 30138"/>
                  <a:gd name="connsiteY1" fmla="*/ 0 h 11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0138" h="1189">
                    <a:moveTo>
                      <a:pt x="0" y="0"/>
                    </a:moveTo>
                    <a:lnTo>
                      <a:pt x="30139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95" name="Forma livre: Forma 494">
                <a:extLst>
                  <a:ext uri="{FF2B5EF4-FFF2-40B4-BE49-F238E27FC236}">
                    <a16:creationId xmlns:a16="http://schemas.microsoft.com/office/drawing/2014/main" id="{B5BB8B56-0704-2B25-4934-7980162E5637}"/>
                  </a:ext>
                </a:extLst>
              </p:cNvPr>
              <p:cNvSpPr/>
              <p:nvPr/>
            </p:nvSpPr>
            <p:spPr>
              <a:xfrm>
                <a:off x="5878921" y="3374698"/>
                <a:ext cx="30138" cy="1189"/>
              </a:xfrm>
              <a:custGeom>
                <a:avLst/>
                <a:gdLst>
                  <a:gd name="connsiteX0" fmla="*/ 0 w 30138"/>
                  <a:gd name="connsiteY0" fmla="*/ 0 h 1189"/>
                  <a:gd name="connsiteX1" fmla="*/ 30139 w 30138"/>
                  <a:gd name="connsiteY1" fmla="*/ 0 h 11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0138" h="1189">
                    <a:moveTo>
                      <a:pt x="0" y="0"/>
                    </a:moveTo>
                    <a:lnTo>
                      <a:pt x="30139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496" name="Forma livre: Forma 495">
              <a:extLst>
                <a:ext uri="{FF2B5EF4-FFF2-40B4-BE49-F238E27FC236}">
                  <a16:creationId xmlns:a16="http://schemas.microsoft.com/office/drawing/2014/main" id="{B1237533-836B-297A-FDAE-08CB6675DCA9}"/>
                </a:ext>
              </a:extLst>
            </p:cNvPr>
            <p:cNvSpPr/>
            <p:nvPr/>
          </p:nvSpPr>
          <p:spPr>
            <a:xfrm>
              <a:off x="5878326" y="3201301"/>
              <a:ext cx="31340" cy="233508"/>
            </a:xfrm>
            <a:custGeom>
              <a:avLst/>
              <a:gdLst>
                <a:gd name="connsiteX0" fmla="*/ 15670 w 31340"/>
                <a:gd name="connsiteY0" fmla="*/ 0 h 233508"/>
                <a:gd name="connsiteX1" fmla="*/ 15670 w 31340"/>
                <a:gd name="connsiteY1" fmla="*/ 35969 h 233508"/>
                <a:gd name="connsiteX2" fmla="*/ 17063 w 31340"/>
                <a:gd name="connsiteY2" fmla="*/ 35969 h 233508"/>
                <a:gd name="connsiteX3" fmla="*/ 31341 w 31340"/>
                <a:gd name="connsiteY3" fmla="*/ 50247 h 233508"/>
                <a:gd name="connsiteX4" fmla="*/ 31341 w 31340"/>
                <a:gd name="connsiteY4" fmla="*/ 219230 h 233508"/>
                <a:gd name="connsiteX5" fmla="*/ 17063 w 31340"/>
                <a:gd name="connsiteY5" fmla="*/ 233508 h 233508"/>
                <a:gd name="connsiteX6" fmla="*/ 14278 w 31340"/>
                <a:gd name="connsiteY6" fmla="*/ 233508 h 233508"/>
                <a:gd name="connsiteX7" fmla="*/ 0 w 31340"/>
                <a:gd name="connsiteY7" fmla="*/ 219230 h 233508"/>
                <a:gd name="connsiteX8" fmla="*/ 0 w 31340"/>
                <a:gd name="connsiteY8" fmla="*/ 50247 h 2335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1340" h="233508">
                  <a:moveTo>
                    <a:pt x="15670" y="0"/>
                  </a:moveTo>
                  <a:lnTo>
                    <a:pt x="15670" y="35969"/>
                  </a:lnTo>
                  <a:lnTo>
                    <a:pt x="17063" y="35969"/>
                  </a:lnTo>
                  <a:cubicBezTo>
                    <a:pt x="24916" y="35969"/>
                    <a:pt x="31341" y="42394"/>
                    <a:pt x="31341" y="50247"/>
                  </a:cubicBezTo>
                  <a:lnTo>
                    <a:pt x="31341" y="219230"/>
                  </a:lnTo>
                  <a:cubicBezTo>
                    <a:pt x="31341" y="227083"/>
                    <a:pt x="24916" y="233508"/>
                    <a:pt x="17063" y="233508"/>
                  </a:cubicBezTo>
                  <a:lnTo>
                    <a:pt x="14278" y="233508"/>
                  </a:lnTo>
                  <a:cubicBezTo>
                    <a:pt x="6425" y="233508"/>
                    <a:pt x="0" y="227083"/>
                    <a:pt x="0" y="219230"/>
                  </a:cubicBezTo>
                  <a:lnTo>
                    <a:pt x="0" y="50247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97" name="Forma livre: Forma 496">
              <a:extLst>
                <a:ext uri="{FF2B5EF4-FFF2-40B4-BE49-F238E27FC236}">
                  <a16:creationId xmlns:a16="http://schemas.microsoft.com/office/drawing/2014/main" id="{3415A59D-3DF2-C84F-8484-CFB60E2C12EE}"/>
                </a:ext>
              </a:extLst>
            </p:cNvPr>
            <p:cNvSpPr/>
            <p:nvPr/>
          </p:nvSpPr>
          <p:spPr>
            <a:xfrm>
              <a:off x="5851959" y="3115977"/>
              <a:ext cx="84074" cy="84074"/>
            </a:xfrm>
            <a:custGeom>
              <a:avLst/>
              <a:gdLst>
                <a:gd name="connsiteX0" fmla="*/ 84075 w 84074"/>
                <a:gd name="connsiteY0" fmla="*/ 42037 h 84074"/>
                <a:gd name="connsiteX1" fmla="*/ 42037 w 84074"/>
                <a:gd name="connsiteY1" fmla="*/ 84075 h 84074"/>
                <a:gd name="connsiteX2" fmla="*/ 0 w 84074"/>
                <a:gd name="connsiteY2" fmla="*/ 42037 h 84074"/>
                <a:gd name="connsiteX3" fmla="*/ 42037 w 84074"/>
                <a:gd name="connsiteY3" fmla="*/ 0 h 84074"/>
                <a:gd name="connsiteX4" fmla="*/ 84075 w 84074"/>
                <a:gd name="connsiteY4" fmla="*/ 42037 h 840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4074" h="84074">
                  <a:moveTo>
                    <a:pt x="84075" y="42037"/>
                  </a:moveTo>
                  <a:cubicBezTo>
                    <a:pt x="84075" y="65254"/>
                    <a:pt x="65254" y="84075"/>
                    <a:pt x="42037" y="84075"/>
                  </a:cubicBezTo>
                  <a:cubicBezTo>
                    <a:pt x="18821" y="84075"/>
                    <a:pt x="0" y="65254"/>
                    <a:pt x="0" y="42037"/>
                  </a:cubicBezTo>
                  <a:cubicBezTo>
                    <a:pt x="0" y="18821"/>
                    <a:pt x="18821" y="0"/>
                    <a:pt x="42037" y="0"/>
                  </a:cubicBezTo>
                  <a:cubicBezTo>
                    <a:pt x="65254" y="0"/>
                    <a:pt x="84075" y="18821"/>
                    <a:pt x="84075" y="42037"/>
                  </a:cubicBez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98" name="Forma livre: Forma 497">
              <a:extLst>
                <a:ext uri="{FF2B5EF4-FFF2-40B4-BE49-F238E27FC236}">
                  <a16:creationId xmlns:a16="http://schemas.microsoft.com/office/drawing/2014/main" id="{BAAC1998-3ACA-3B07-8146-9779742D4AD7}"/>
                </a:ext>
              </a:extLst>
            </p:cNvPr>
            <p:cNvSpPr/>
            <p:nvPr/>
          </p:nvSpPr>
          <p:spPr>
            <a:xfrm>
              <a:off x="5875744" y="3139774"/>
              <a:ext cx="18240" cy="18240"/>
            </a:xfrm>
            <a:custGeom>
              <a:avLst/>
              <a:gdLst>
                <a:gd name="connsiteX0" fmla="*/ 0 w 18240"/>
                <a:gd name="connsiteY0" fmla="*/ 18240 h 18240"/>
                <a:gd name="connsiteX1" fmla="*/ 18240 w 18240"/>
                <a:gd name="connsiteY1" fmla="*/ 0 h 182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240" h="18240">
                  <a:moveTo>
                    <a:pt x="0" y="18240"/>
                  </a:moveTo>
                  <a:cubicBezTo>
                    <a:pt x="0" y="8162"/>
                    <a:pt x="8162" y="0"/>
                    <a:pt x="18240" y="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99" name="Forma livre: Forma 498">
              <a:extLst>
                <a:ext uri="{FF2B5EF4-FFF2-40B4-BE49-F238E27FC236}">
                  <a16:creationId xmlns:a16="http://schemas.microsoft.com/office/drawing/2014/main" id="{9F875037-30D2-F67C-8E57-4EBF0C1CB1F9}"/>
                </a:ext>
              </a:extLst>
            </p:cNvPr>
            <p:cNvSpPr/>
            <p:nvPr/>
          </p:nvSpPr>
          <p:spPr>
            <a:xfrm>
              <a:off x="5763280" y="3115977"/>
              <a:ext cx="55970" cy="318832"/>
            </a:xfrm>
            <a:custGeom>
              <a:avLst/>
              <a:gdLst>
                <a:gd name="connsiteX0" fmla="*/ 55970 w 55970"/>
                <a:gd name="connsiteY0" fmla="*/ 8043 h 318832"/>
                <a:gd name="connsiteX1" fmla="*/ 34006 w 55970"/>
                <a:gd name="connsiteY1" fmla="*/ 0 h 318832"/>
                <a:gd name="connsiteX2" fmla="*/ 0 w 55970"/>
                <a:gd name="connsiteY2" fmla="*/ 34006 h 318832"/>
                <a:gd name="connsiteX3" fmla="*/ 33982 w 55970"/>
                <a:gd name="connsiteY3" fmla="*/ 68059 h 318832"/>
                <a:gd name="connsiteX4" fmla="*/ 33982 w 55970"/>
                <a:gd name="connsiteY4" fmla="*/ 121293 h 318832"/>
                <a:gd name="connsiteX5" fmla="*/ 35469 w 55970"/>
                <a:gd name="connsiteY5" fmla="*/ 121293 h 318832"/>
                <a:gd name="connsiteX6" fmla="*/ 49748 w 55970"/>
                <a:gd name="connsiteY6" fmla="*/ 135571 h 318832"/>
                <a:gd name="connsiteX7" fmla="*/ 49748 w 55970"/>
                <a:gd name="connsiteY7" fmla="*/ 304554 h 318832"/>
                <a:gd name="connsiteX8" fmla="*/ 35469 w 55970"/>
                <a:gd name="connsiteY8" fmla="*/ 318832 h 318832"/>
                <a:gd name="connsiteX9" fmla="*/ 32685 w 55970"/>
                <a:gd name="connsiteY9" fmla="*/ 318832 h 318832"/>
                <a:gd name="connsiteX10" fmla="*/ 18407 w 55970"/>
                <a:gd name="connsiteY10" fmla="*/ 304554 h 318832"/>
                <a:gd name="connsiteX11" fmla="*/ 18407 w 55970"/>
                <a:gd name="connsiteY11" fmla="*/ 135571 h 3188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5970" h="318832">
                  <a:moveTo>
                    <a:pt x="55970" y="8043"/>
                  </a:moveTo>
                  <a:cubicBezTo>
                    <a:pt x="50045" y="3022"/>
                    <a:pt x="42382" y="0"/>
                    <a:pt x="34006" y="0"/>
                  </a:cubicBezTo>
                  <a:cubicBezTo>
                    <a:pt x="15218" y="0"/>
                    <a:pt x="0" y="15230"/>
                    <a:pt x="0" y="34006"/>
                  </a:cubicBezTo>
                  <a:cubicBezTo>
                    <a:pt x="0" y="52782"/>
                    <a:pt x="15206" y="68059"/>
                    <a:pt x="33982" y="68059"/>
                  </a:cubicBezTo>
                  <a:lnTo>
                    <a:pt x="33982" y="121293"/>
                  </a:lnTo>
                  <a:lnTo>
                    <a:pt x="35469" y="121293"/>
                  </a:lnTo>
                  <a:cubicBezTo>
                    <a:pt x="43322" y="121293"/>
                    <a:pt x="49748" y="127718"/>
                    <a:pt x="49748" y="135571"/>
                  </a:cubicBezTo>
                  <a:lnTo>
                    <a:pt x="49748" y="304554"/>
                  </a:lnTo>
                  <a:cubicBezTo>
                    <a:pt x="49748" y="312407"/>
                    <a:pt x="43322" y="318832"/>
                    <a:pt x="35469" y="318832"/>
                  </a:cubicBezTo>
                  <a:lnTo>
                    <a:pt x="32685" y="318832"/>
                  </a:lnTo>
                  <a:cubicBezTo>
                    <a:pt x="24832" y="318832"/>
                    <a:pt x="18407" y="312407"/>
                    <a:pt x="18407" y="304554"/>
                  </a:cubicBezTo>
                  <a:lnTo>
                    <a:pt x="18407" y="135571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501" name="Gráfico 9">
            <a:extLst>
              <a:ext uri="{FF2B5EF4-FFF2-40B4-BE49-F238E27FC236}">
                <a16:creationId xmlns:a16="http://schemas.microsoft.com/office/drawing/2014/main" id="{CBA0E552-8BFF-C9E8-6D5E-0AA8543B9989}"/>
              </a:ext>
            </a:extLst>
          </p:cNvPr>
          <p:cNvGrpSpPr/>
          <p:nvPr/>
        </p:nvGrpSpPr>
        <p:grpSpPr>
          <a:xfrm>
            <a:off x="6156489" y="1533252"/>
            <a:ext cx="324253" cy="324253"/>
            <a:chOff x="6156489" y="1533252"/>
            <a:chExt cx="324253" cy="324253"/>
          </a:xfrm>
          <a:noFill/>
        </p:grpSpPr>
        <p:grpSp>
          <p:nvGrpSpPr>
            <p:cNvPr id="502" name="Gráfico 9">
              <a:extLst>
                <a:ext uri="{FF2B5EF4-FFF2-40B4-BE49-F238E27FC236}">
                  <a16:creationId xmlns:a16="http://schemas.microsoft.com/office/drawing/2014/main" id="{A4071E79-1A83-7C5F-7EBF-E022285A218C}"/>
                </a:ext>
              </a:extLst>
            </p:cNvPr>
            <p:cNvGrpSpPr/>
            <p:nvPr/>
          </p:nvGrpSpPr>
          <p:grpSpPr>
            <a:xfrm>
              <a:off x="6156489" y="1533252"/>
              <a:ext cx="324253" cy="324253"/>
              <a:chOff x="6156489" y="1533252"/>
              <a:chExt cx="324253" cy="324253"/>
            </a:xfrm>
            <a:noFill/>
          </p:grpSpPr>
          <p:sp>
            <p:nvSpPr>
              <p:cNvPr id="503" name="Forma livre: Forma 502">
                <a:extLst>
                  <a:ext uri="{FF2B5EF4-FFF2-40B4-BE49-F238E27FC236}">
                    <a16:creationId xmlns:a16="http://schemas.microsoft.com/office/drawing/2014/main" id="{C6D8F75D-38A6-5141-D248-F9719C0812C7}"/>
                  </a:ext>
                </a:extLst>
              </p:cNvPr>
              <p:cNvSpPr/>
              <p:nvPr/>
            </p:nvSpPr>
            <p:spPr>
              <a:xfrm>
                <a:off x="6187288" y="1564098"/>
                <a:ext cx="113327" cy="113614"/>
              </a:xfrm>
              <a:custGeom>
                <a:avLst/>
                <a:gdLst>
                  <a:gd name="connsiteX0" fmla="*/ 0 w 113327"/>
                  <a:gd name="connsiteY0" fmla="*/ 113614 h 113614"/>
                  <a:gd name="connsiteX1" fmla="*/ 113327 w 113327"/>
                  <a:gd name="connsiteY1" fmla="*/ 0 h 1136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3327" h="113614">
                    <a:moveTo>
                      <a:pt x="0" y="113614"/>
                    </a:moveTo>
                    <a:cubicBezTo>
                      <a:pt x="7858" y="54684"/>
                      <a:pt x="54445" y="8002"/>
                      <a:pt x="113327" y="0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04" name="Forma livre: Forma 503">
                <a:extLst>
                  <a:ext uri="{FF2B5EF4-FFF2-40B4-BE49-F238E27FC236}">
                    <a16:creationId xmlns:a16="http://schemas.microsoft.com/office/drawing/2014/main" id="{E229C782-F538-46FF-2399-A30FCDE252CC}"/>
                  </a:ext>
                </a:extLst>
              </p:cNvPr>
              <p:cNvSpPr/>
              <p:nvPr/>
            </p:nvSpPr>
            <p:spPr>
              <a:xfrm>
                <a:off x="6186127" y="1695378"/>
                <a:ext cx="114619" cy="131292"/>
              </a:xfrm>
              <a:custGeom>
                <a:avLst/>
                <a:gdLst>
                  <a:gd name="connsiteX0" fmla="*/ 114619 w 114619"/>
                  <a:gd name="connsiteY0" fmla="*/ 131292 h 131292"/>
                  <a:gd name="connsiteX1" fmla="*/ 0 w 114619"/>
                  <a:gd name="connsiteY1" fmla="*/ 0 h 1312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4619" h="131292">
                    <a:moveTo>
                      <a:pt x="114619" y="131292"/>
                    </a:moveTo>
                    <a:cubicBezTo>
                      <a:pt x="49900" y="122573"/>
                      <a:pt x="0" y="67111"/>
                      <a:pt x="0" y="0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05" name="Forma livre: Forma 504">
                <a:extLst>
                  <a:ext uri="{FF2B5EF4-FFF2-40B4-BE49-F238E27FC236}">
                    <a16:creationId xmlns:a16="http://schemas.microsoft.com/office/drawing/2014/main" id="{2140A05D-3EA5-8BFD-668F-289A8FAFE545}"/>
                  </a:ext>
                </a:extLst>
              </p:cNvPr>
              <p:cNvSpPr/>
              <p:nvPr/>
            </p:nvSpPr>
            <p:spPr>
              <a:xfrm>
                <a:off x="6318616" y="1695378"/>
                <a:ext cx="132500" cy="132500"/>
              </a:xfrm>
              <a:custGeom>
                <a:avLst/>
                <a:gdLst>
                  <a:gd name="connsiteX0" fmla="*/ 132500 w 132500"/>
                  <a:gd name="connsiteY0" fmla="*/ 0 h 132500"/>
                  <a:gd name="connsiteX1" fmla="*/ 0 w 132500"/>
                  <a:gd name="connsiteY1" fmla="*/ 132500 h 1325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32500" h="132500">
                    <a:moveTo>
                      <a:pt x="132500" y="0"/>
                    </a:moveTo>
                    <a:cubicBezTo>
                      <a:pt x="132500" y="73175"/>
                      <a:pt x="73175" y="132500"/>
                      <a:pt x="0" y="132500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06" name="Forma livre: Forma 505">
                <a:extLst>
                  <a:ext uri="{FF2B5EF4-FFF2-40B4-BE49-F238E27FC236}">
                    <a16:creationId xmlns:a16="http://schemas.microsoft.com/office/drawing/2014/main" id="{04427A38-9855-E6CF-3EF7-D27C4C02319C}"/>
                  </a:ext>
                </a:extLst>
              </p:cNvPr>
              <p:cNvSpPr/>
              <p:nvPr/>
            </p:nvSpPr>
            <p:spPr>
              <a:xfrm>
                <a:off x="6318616" y="1562878"/>
                <a:ext cx="131316" cy="114774"/>
              </a:xfrm>
              <a:custGeom>
                <a:avLst/>
                <a:gdLst>
                  <a:gd name="connsiteX0" fmla="*/ 0 w 131316"/>
                  <a:gd name="connsiteY0" fmla="*/ 0 h 114774"/>
                  <a:gd name="connsiteX1" fmla="*/ 131316 w 131316"/>
                  <a:gd name="connsiteY1" fmla="*/ 114775 h 1147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31316" h="114774">
                    <a:moveTo>
                      <a:pt x="0" y="0"/>
                    </a:moveTo>
                    <a:cubicBezTo>
                      <a:pt x="67171" y="0"/>
                      <a:pt x="122657" y="49984"/>
                      <a:pt x="131316" y="114775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07" name="Forma livre: Forma 506">
                <a:extLst>
                  <a:ext uri="{FF2B5EF4-FFF2-40B4-BE49-F238E27FC236}">
                    <a16:creationId xmlns:a16="http://schemas.microsoft.com/office/drawing/2014/main" id="{BD326EAD-A9F1-BBDA-290C-4B7D889E2767}"/>
                  </a:ext>
                </a:extLst>
              </p:cNvPr>
              <p:cNvSpPr/>
              <p:nvPr/>
            </p:nvSpPr>
            <p:spPr>
              <a:xfrm>
                <a:off x="6218541" y="1595399"/>
                <a:ext cx="81954" cy="82420"/>
              </a:xfrm>
              <a:custGeom>
                <a:avLst/>
                <a:gdLst>
                  <a:gd name="connsiteX0" fmla="*/ 0 w 81954"/>
                  <a:gd name="connsiteY0" fmla="*/ 82421 h 82420"/>
                  <a:gd name="connsiteX1" fmla="*/ 81954 w 81954"/>
                  <a:gd name="connsiteY1" fmla="*/ 0 h 824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81954" h="82420">
                    <a:moveTo>
                      <a:pt x="0" y="82421"/>
                    </a:moveTo>
                    <a:cubicBezTo>
                      <a:pt x="7284" y="40571"/>
                      <a:pt x="40188" y="7511"/>
                      <a:pt x="81954" y="0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08" name="Forma livre: Forma 507">
                <a:extLst>
                  <a:ext uri="{FF2B5EF4-FFF2-40B4-BE49-F238E27FC236}">
                    <a16:creationId xmlns:a16="http://schemas.microsoft.com/office/drawing/2014/main" id="{43CAEE2C-2858-7F93-AA0E-B89665E4ED86}"/>
                  </a:ext>
                </a:extLst>
              </p:cNvPr>
              <p:cNvSpPr/>
              <p:nvPr/>
            </p:nvSpPr>
            <p:spPr>
              <a:xfrm>
                <a:off x="6217022" y="1695378"/>
                <a:ext cx="83748" cy="100038"/>
              </a:xfrm>
              <a:custGeom>
                <a:avLst/>
                <a:gdLst>
                  <a:gd name="connsiteX0" fmla="*/ 83749 w 83748"/>
                  <a:gd name="connsiteY0" fmla="*/ 100039 h 100038"/>
                  <a:gd name="connsiteX1" fmla="*/ 0 w 83748"/>
                  <a:gd name="connsiteY1" fmla="*/ 0 h 1000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83748" h="100038">
                    <a:moveTo>
                      <a:pt x="83749" y="100039"/>
                    </a:moveTo>
                    <a:cubicBezTo>
                      <a:pt x="36145" y="91607"/>
                      <a:pt x="0" y="50020"/>
                      <a:pt x="0" y="0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09" name="Forma livre: Forma 508">
                <a:extLst>
                  <a:ext uri="{FF2B5EF4-FFF2-40B4-BE49-F238E27FC236}">
                    <a16:creationId xmlns:a16="http://schemas.microsoft.com/office/drawing/2014/main" id="{E63B1065-27F6-A5AC-3D6C-9271CCF6F024}"/>
                  </a:ext>
                </a:extLst>
              </p:cNvPr>
              <p:cNvSpPr/>
              <p:nvPr/>
            </p:nvSpPr>
            <p:spPr>
              <a:xfrm>
                <a:off x="6318628" y="1695378"/>
                <a:ext cx="101593" cy="101593"/>
              </a:xfrm>
              <a:custGeom>
                <a:avLst/>
                <a:gdLst>
                  <a:gd name="connsiteX0" fmla="*/ 101594 w 101593"/>
                  <a:gd name="connsiteY0" fmla="*/ 0 h 101593"/>
                  <a:gd name="connsiteX1" fmla="*/ 0 w 101593"/>
                  <a:gd name="connsiteY1" fmla="*/ 101594 h 1015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01593" h="101593">
                    <a:moveTo>
                      <a:pt x="101594" y="0"/>
                    </a:moveTo>
                    <a:cubicBezTo>
                      <a:pt x="101594" y="56107"/>
                      <a:pt x="56107" y="101594"/>
                      <a:pt x="0" y="101594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10" name="Forma livre: Forma 509">
                <a:extLst>
                  <a:ext uri="{FF2B5EF4-FFF2-40B4-BE49-F238E27FC236}">
                    <a16:creationId xmlns:a16="http://schemas.microsoft.com/office/drawing/2014/main" id="{B158A88B-C63D-93FD-51DE-106FF31B6390}"/>
                  </a:ext>
                </a:extLst>
              </p:cNvPr>
              <p:cNvSpPr/>
              <p:nvPr/>
            </p:nvSpPr>
            <p:spPr>
              <a:xfrm>
                <a:off x="6318616" y="1593785"/>
                <a:ext cx="100050" cy="83868"/>
              </a:xfrm>
              <a:custGeom>
                <a:avLst/>
                <a:gdLst>
                  <a:gd name="connsiteX0" fmla="*/ 0 w 100050"/>
                  <a:gd name="connsiteY0" fmla="*/ 0 h 83868"/>
                  <a:gd name="connsiteX1" fmla="*/ 100051 w 100050"/>
                  <a:gd name="connsiteY1" fmla="*/ 83868 h 838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00050" h="83868">
                    <a:moveTo>
                      <a:pt x="0" y="0"/>
                    </a:moveTo>
                    <a:cubicBezTo>
                      <a:pt x="50067" y="0"/>
                      <a:pt x="91667" y="36205"/>
                      <a:pt x="100051" y="83868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511" name="Gráfico 9">
                <a:extLst>
                  <a:ext uri="{FF2B5EF4-FFF2-40B4-BE49-F238E27FC236}">
                    <a16:creationId xmlns:a16="http://schemas.microsoft.com/office/drawing/2014/main" id="{B165EE13-42CC-1453-3AFE-84DFDD87B34C}"/>
                  </a:ext>
                </a:extLst>
              </p:cNvPr>
              <p:cNvGrpSpPr/>
              <p:nvPr/>
            </p:nvGrpSpPr>
            <p:grpSpPr>
              <a:xfrm>
                <a:off x="6318616" y="1533252"/>
                <a:ext cx="1196" cy="324253"/>
                <a:chOff x="6318616" y="1533252"/>
                <a:chExt cx="1196" cy="324253"/>
              </a:xfrm>
            </p:grpSpPr>
            <p:sp>
              <p:nvSpPr>
                <p:cNvPr id="512" name="Forma livre: Forma 511">
                  <a:extLst>
                    <a:ext uri="{FF2B5EF4-FFF2-40B4-BE49-F238E27FC236}">
                      <a16:creationId xmlns:a16="http://schemas.microsoft.com/office/drawing/2014/main" id="{048C9357-EB74-3F62-C971-65D609E7714F}"/>
                    </a:ext>
                  </a:extLst>
                </p:cNvPr>
                <p:cNvSpPr/>
                <p:nvPr/>
              </p:nvSpPr>
              <p:spPr>
                <a:xfrm>
                  <a:off x="6318616" y="1783242"/>
                  <a:ext cx="1196" cy="74263"/>
                </a:xfrm>
                <a:custGeom>
                  <a:avLst/>
                  <a:gdLst>
                    <a:gd name="connsiteX0" fmla="*/ 0 w 1196"/>
                    <a:gd name="connsiteY0" fmla="*/ 0 h 74263"/>
                    <a:gd name="connsiteX1" fmla="*/ 0 w 1196"/>
                    <a:gd name="connsiteY1" fmla="*/ 74264 h 7426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196" h="74263">
                      <a:moveTo>
                        <a:pt x="0" y="0"/>
                      </a:moveTo>
                      <a:lnTo>
                        <a:pt x="0" y="74264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513" name="Forma livre: Forma 512">
                  <a:extLst>
                    <a:ext uri="{FF2B5EF4-FFF2-40B4-BE49-F238E27FC236}">
                      <a16:creationId xmlns:a16="http://schemas.microsoft.com/office/drawing/2014/main" id="{3F2730D8-5A1C-3F23-FB3B-5B7C3BC827E9}"/>
                    </a:ext>
                  </a:extLst>
                </p:cNvPr>
                <p:cNvSpPr/>
                <p:nvPr/>
              </p:nvSpPr>
              <p:spPr>
                <a:xfrm>
                  <a:off x="6318616" y="1533252"/>
                  <a:ext cx="1196" cy="74263"/>
                </a:xfrm>
                <a:custGeom>
                  <a:avLst/>
                  <a:gdLst>
                    <a:gd name="connsiteX0" fmla="*/ 0 w 1196"/>
                    <a:gd name="connsiteY0" fmla="*/ 0 h 74263"/>
                    <a:gd name="connsiteX1" fmla="*/ 0 w 1196"/>
                    <a:gd name="connsiteY1" fmla="*/ 74264 h 7426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196" h="74263">
                      <a:moveTo>
                        <a:pt x="0" y="0"/>
                      </a:moveTo>
                      <a:lnTo>
                        <a:pt x="0" y="74264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514" name="Gráfico 9">
                <a:extLst>
                  <a:ext uri="{FF2B5EF4-FFF2-40B4-BE49-F238E27FC236}">
                    <a16:creationId xmlns:a16="http://schemas.microsoft.com/office/drawing/2014/main" id="{649C0966-A199-BBF8-666E-E645EEA36710}"/>
                  </a:ext>
                </a:extLst>
              </p:cNvPr>
              <p:cNvGrpSpPr/>
              <p:nvPr/>
            </p:nvGrpSpPr>
            <p:grpSpPr>
              <a:xfrm>
                <a:off x="6156489" y="1695378"/>
                <a:ext cx="324253" cy="1196"/>
                <a:chOff x="6156489" y="1695378"/>
                <a:chExt cx="324253" cy="1196"/>
              </a:xfrm>
            </p:grpSpPr>
            <p:sp>
              <p:nvSpPr>
                <p:cNvPr id="515" name="Forma livre: Forma 514">
                  <a:extLst>
                    <a:ext uri="{FF2B5EF4-FFF2-40B4-BE49-F238E27FC236}">
                      <a16:creationId xmlns:a16="http://schemas.microsoft.com/office/drawing/2014/main" id="{29691F85-5039-84C8-31C7-BFC6EFA0EDFD}"/>
                    </a:ext>
                  </a:extLst>
                </p:cNvPr>
                <p:cNvSpPr/>
                <p:nvPr/>
              </p:nvSpPr>
              <p:spPr>
                <a:xfrm>
                  <a:off x="6156489" y="1695378"/>
                  <a:ext cx="74275" cy="1196"/>
                </a:xfrm>
                <a:custGeom>
                  <a:avLst/>
                  <a:gdLst>
                    <a:gd name="connsiteX0" fmla="*/ 74276 w 74275"/>
                    <a:gd name="connsiteY0" fmla="*/ 0 h 1196"/>
                    <a:gd name="connsiteX1" fmla="*/ 0 w 74275"/>
                    <a:gd name="connsiteY1" fmla="*/ 0 h 119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74275" h="1196">
                      <a:moveTo>
                        <a:pt x="74276" y="0"/>
                      </a:moveTo>
                      <a:lnTo>
                        <a:pt x="0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516" name="Forma livre: Forma 515">
                  <a:extLst>
                    <a:ext uri="{FF2B5EF4-FFF2-40B4-BE49-F238E27FC236}">
                      <a16:creationId xmlns:a16="http://schemas.microsoft.com/office/drawing/2014/main" id="{AA5A3409-8A36-45A6-743E-1049DC4E1788}"/>
                    </a:ext>
                  </a:extLst>
                </p:cNvPr>
                <p:cNvSpPr/>
                <p:nvPr/>
              </p:nvSpPr>
              <p:spPr>
                <a:xfrm>
                  <a:off x="6406479" y="1695378"/>
                  <a:ext cx="74263" cy="1196"/>
                </a:xfrm>
                <a:custGeom>
                  <a:avLst/>
                  <a:gdLst>
                    <a:gd name="connsiteX0" fmla="*/ 74264 w 74263"/>
                    <a:gd name="connsiteY0" fmla="*/ 0 h 1196"/>
                    <a:gd name="connsiteX1" fmla="*/ 0 w 74263"/>
                    <a:gd name="connsiteY1" fmla="*/ 0 h 119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74263" h="1196">
                      <a:moveTo>
                        <a:pt x="74264" y="0"/>
                      </a:moveTo>
                      <a:lnTo>
                        <a:pt x="0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grpSp>
          <p:nvGrpSpPr>
            <p:cNvPr id="517" name="Gráfico 9">
              <a:extLst>
                <a:ext uri="{FF2B5EF4-FFF2-40B4-BE49-F238E27FC236}">
                  <a16:creationId xmlns:a16="http://schemas.microsoft.com/office/drawing/2014/main" id="{1B8CAB97-F9DD-E4D7-CF1B-E2E858BEAFF5}"/>
                </a:ext>
              </a:extLst>
            </p:cNvPr>
            <p:cNvGrpSpPr/>
            <p:nvPr/>
          </p:nvGrpSpPr>
          <p:grpSpPr>
            <a:xfrm>
              <a:off x="6273081" y="1633638"/>
              <a:ext cx="91080" cy="115731"/>
              <a:chOff x="6273081" y="1633638"/>
              <a:chExt cx="91080" cy="115731"/>
            </a:xfrm>
            <a:noFill/>
          </p:grpSpPr>
          <p:sp>
            <p:nvSpPr>
              <p:cNvPr id="518" name="Forma livre: Forma 517">
                <a:extLst>
                  <a:ext uri="{FF2B5EF4-FFF2-40B4-BE49-F238E27FC236}">
                    <a16:creationId xmlns:a16="http://schemas.microsoft.com/office/drawing/2014/main" id="{B6D02A82-61DD-6AFA-9C88-36D7BF447AB9}"/>
                  </a:ext>
                </a:extLst>
              </p:cNvPr>
              <p:cNvSpPr/>
              <p:nvPr/>
            </p:nvSpPr>
            <p:spPr>
              <a:xfrm>
                <a:off x="6273081" y="1702160"/>
                <a:ext cx="91080" cy="47208"/>
              </a:xfrm>
              <a:custGeom>
                <a:avLst/>
                <a:gdLst>
                  <a:gd name="connsiteX0" fmla="*/ 0 w 91080"/>
                  <a:gd name="connsiteY0" fmla="*/ 47209 h 47208"/>
                  <a:gd name="connsiteX1" fmla="*/ 0 w 91080"/>
                  <a:gd name="connsiteY1" fmla="*/ 26158 h 47208"/>
                  <a:gd name="connsiteX2" fmla="*/ 26684 w 91080"/>
                  <a:gd name="connsiteY2" fmla="*/ 0 h 47208"/>
                  <a:gd name="connsiteX3" fmla="*/ 45546 w 91080"/>
                  <a:gd name="connsiteY3" fmla="*/ 20788 h 47208"/>
                  <a:gd name="connsiteX4" fmla="*/ 63057 w 91080"/>
                  <a:gd name="connsiteY4" fmla="*/ 0 h 47208"/>
                  <a:gd name="connsiteX5" fmla="*/ 91080 w 91080"/>
                  <a:gd name="connsiteY5" fmla="*/ 26158 h 47208"/>
                  <a:gd name="connsiteX6" fmla="*/ 91080 w 91080"/>
                  <a:gd name="connsiteY6" fmla="*/ 47209 h 472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91080" h="47208">
                    <a:moveTo>
                      <a:pt x="0" y="47209"/>
                    </a:moveTo>
                    <a:lnTo>
                      <a:pt x="0" y="26158"/>
                    </a:lnTo>
                    <a:cubicBezTo>
                      <a:pt x="0" y="9664"/>
                      <a:pt x="11339" y="0"/>
                      <a:pt x="26684" y="0"/>
                    </a:cubicBezTo>
                    <a:lnTo>
                      <a:pt x="45546" y="20788"/>
                    </a:lnTo>
                    <a:lnTo>
                      <a:pt x="63057" y="0"/>
                    </a:lnTo>
                    <a:cubicBezTo>
                      <a:pt x="78414" y="0"/>
                      <a:pt x="91080" y="9664"/>
                      <a:pt x="91080" y="26158"/>
                    </a:cubicBezTo>
                    <a:lnTo>
                      <a:pt x="91080" y="47209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19" name="Forma livre: Forma 518">
                <a:extLst>
                  <a:ext uri="{FF2B5EF4-FFF2-40B4-BE49-F238E27FC236}">
                    <a16:creationId xmlns:a16="http://schemas.microsoft.com/office/drawing/2014/main" id="{F9F414C5-F402-668B-ECF8-31195F10D76D}"/>
                  </a:ext>
                </a:extLst>
              </p:cNvPr>
              <p:cNvSpPr/>
              <p:nvPr/>
            </p:nvSpPr>
            <p:spPr>
              <a:xfrm>
                <a:off x="6296118" y="1633638"/>
                <a:ext cx="45007" cy="51083"/>
              </a:xfrm>
              <a:custGeom>
                <a:avLst/>
                <a:gdLst>
                  <a:gd name="connsiteX0" fmla="*/ 45008 w 45007"/>
                  <a:gd name="connsiteY0" fmla="*/ 28227 h 51083"/>
                  <a:gd name="connsiteX1" fmla="*/ 22510 w 45007"/>
                  <a:gd name="connsiteY1" fmla="*/ 51084 h 51083"/>
                  <a:gd name="connsiteX2" fmla="*/ 0 w 45007"/>
                  <a:gd name="connsiteY2" fmla="*/ 28227 h 51083"/>
                  <a:gd name="connsiteX3" fmla="*/ 0 w 45007"/>
                  <a:gd name="connsiteY3" fmla="*/ 22857 h 51083"/>
                  <a:gd name="connsiteX4" fmla="*/ 22510 w 45007"/>
                  <a:gd name="connsiteY4" fmla="*/ 0 h 51083"/>
                  <a:gd name="connsiteX5" fmla="*/ 45008 w 45007"/>
                  <a:gd name="connsiteY5" fmla="*/ 22857 h 51083"/>
                  <a:gd name="connsiteX6" fmla="*/ 45008 w 45007"/>
                  <a:gd name="connsiteY6" fmla="*/ 28227 h 510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5007" h="51083">
                    <a:moveTo>
                      <a:pt x="45008" y="28227"/>
                    </a:moveTo>
                    <a:cubicBezTo>
                      <a:pt x="45008" y="40798"/>
                      <a:pt x="34889" y="51084"/>
                      <a:pt x="22510" y="51084"/>
                    </a:cubicBezTo>
                    <a:cubicBezTo>
                      <a:pt x="10131" y="51084"/>
                      <a:pt x="0" y="40798"/>
                      <a:pt x="0" y="28227"/>
                    </a:cubicBezTo>
                    <a:lnTo>
                      <a:pt x="0" y="22857"/>
                    </a:lnTo>
                    <a:cubicBezTo>
                      <a:pt x="0" y="10286"/>
                      <a:pt x="10119" y="0"/>
                      <a:pt x="22510" y="0"/>
                    </a:cubicBezTo>
                    <a:cubicBezTo>
                      <a:pt x="34901" y="0"/>
                      <a:pt x="45008" y="10286"/>
                      <a:pt x="45008" y="22857"/>
                    </a:cubicBezTo>
                    <a:lnTo>
                      <a:pt x="45008" y="28227"/>
                    </a:ln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520" name="Gráfico 9">
            <a:extLst>
              <a:ext uri="{FF2B5EF4-FFF2-40B4-BE49-F238E27FC236}">
                <a16:creationId xmlns:a16="http://schemas.microsoft.com/office/drawing/2014/main" id="{1FF6C5BD-851C-16B9-C131-59C607499498}"/>
              </a:ext>
            </a:extLst>
          </p:cNvPr>
          <p:cNvGrpSpPr/>
          <p:nvPr/>
        </p:nvGrpSpPr>
        <p:grpSpPr>
          <a:xfrm>
            <a:off x="6813865" y="1536708"/>
            <a:ext cx="233322" cy="317352"/>
            <a:chOff x="6813865" y="1536708"/>
            <a:chExt cx="233322" cy="317352"/>
          </a:xfrm>
          <a:noFill/>
        </p:grpSpPr>
        <p:sp>
          <p:nvSpPr>
            <p:cNvPr id="521" name="Forma livre: Forma 520">
              <a:extLst>
                <a:ext uri="{FF2B5EF4-FFF2-40B4-BE49-F238E27FC236}">
                  <a16:creationId xmlns:a16="http://schemas.microsoft.com/office/drawing/2014/main" id="{3A98ED3B-4A67-5E77-11EF-3711EA190E43}"/>
                </a:ext>
              </a:extLst>
            </p:cNvPr>
            <p:cNvSpPr/>
            <p:nvPr/>
          </p:nvSpPr>
          <p:spPr>
            <a:xfrm>
              <a:off x="6840376" y="1536708"/>
              <a:ext cx="55066" cy="55066"/>
            </a:xfrm>
            <a:custGeom>
              <a:avLst/>
              <a:gdLst>
                <a:gd name="connsiteX0" fmla="*/ 55067 w 55066"/>
                <a:gd name="connsiteY0" fmla="*/ 27533 h 55066"/>
                <a:gd name="connsiteX1" fmla="*/ 27533 w 55066"/>
                <a:gd name="connsiteY1" fmla="*/ 55067 h 55066"/>
                <a:gd name="connsiteX2" fmla="*/ 0 w 55066"/>
                <a:gd name="connsiteY2" fmla="*/ 27533 h 55066"/>
                <a:gd name="connsiteX3" fmla="*/ 27533 w 55066"/>
                <a:gd name="connsiteY3" fmla="*/ 0 h 55066"/>
                <a:gd name="connsiteX4" fmla="*/ 55067 w 55066"/>
                <a:gd name="connsiteY4" fmla="*/ 27533 h 550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066" h="55066">
                  <a:moveTo>
                    <a:pt x="55067" y="27533"/>
                  </a:moveTo>
                  <a:cubicBezTo>
                    <a:pt x="55067" y="42747"/>
                    <a:pt x="42747" y="55067"/>
                    <a:pt x="27533" y="55067"/>
                  </a:cubicBezTo>
                  <a:cubicBezTo>
                    <a:pt x="12319" y="55067"/>
                    <a:pt x="0" y="42747"/>
                    <a:pt x="0" y="27533"/>
                  </a:cubicBezTo>
                  <a:cubicBezTo>
                    <a:pt x="0" y="12320"/>
                    <a:pt x="12319" y="0"/>
                    <a:pt x="27533" y="0"/>
                  </a:cubicBezTo>
                  <a:cubicBezTo>
                    <a:pt x="42747" y="0"/>
                    <a:pt x="55067" y="12331"/>
                    <a:pt x="55067" y="27533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522" name="Forma livre: Forma 521">
              <a:extLst>
                <a:ext uri="{FF2B5EF4-FFF2-40B4-BE49-F238E27FC236}">
                  <a16:creationId xmlns:a16="http://schemas.microsoft.com/office/drawing/2014/main" id="{9C63EEDF-96C3-EF20-A10D-FE78C94AB274}"/>
                </a:ext>
              </a:extLst>
            </p:cNvPr>
            <p:cNvSpPr/>
            <p:nvPr/>
          </p:nvSpPr>
          <p:spPr>
            <a:xfrm>
              <a:off x="6813865" y="1617012"/>
              <a:ext cx="104015" cy="231797"/>
            </a:xfrm>
            <a:custGeom>
              <a:avLst/>
              <a:gdLst>
                <a:gd name="connsiteX0" fmla="*/ 104016 w 104015"/>
                <a:gd name="connsiteY0" fmla="*/ 61861 h 231797"/>
                <a:gd name="connsiteX1" fmla="*/ 99722 w 104015"/>
                <a:gd name="connsiteY1" fmla="*/ 19328 h 231797"/>
                <a:gd name="connsiteX2" fmla="*/ 78336 w 104015"/>
                <a:gd name="connsiteY2" fmla="*/ 0 h 231797"/>
                <a:gd name="connsiteX3" fmla="*/ 29716 w 104015"/>
                <a:gd name="connsiteY3" fmla="*/ 0 h 231797"/>
                <a:gd name="connsiteX4" fmla="*/ 8331 w 104015"/>
                <a:gd name="connsiteY4" fmla="*/ 19328 h 231797"/>
                <a:gd name="connsiteX5" fmla="*/ 66 w 104015"/>
                <a:gd name="connsiteY5" fmla="*/ 101319 h 231797"/>
                <a:gd name="connsiteX6" fmla="*/ 21188 w 104015"/>
                <a:gd name="connsiteY6" fmla="*/ 124044 h 231797"/>
                <a:gd name="connsiteX7" fmla="*/ 23808 w 104015"/>
                <a:gd name="connsiteY7" fmla="*/ 231798 h 231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04015" h="231797">
                  <a:moveTo>
                    <a:pt x="104016" y="61861"/>
                  </a:moveTo>
                  <a:lnTo>
                    <a:pt x="99722" y="19328"/>
                  </a:lnTo>
                  <a:cubicBezTo>
                    <a:pt x="98658" y="8695"/>
                    <a:pt x="89029" y="0"/>
                    <a:pt x="78336" y="0"/>
                  </a:cubicBezTo>
                  <a:lnTo>
                    <a:pt x="29716" y="0"/>
                  </a:lnTo>
                  <a:cubicBezTo>
                    <a:pt x="19023" y="0"/>
                    <a:pt x="9407" y="8695"/>
                    <a:pt x="8331" y="19328"/>
                  </a:cubicBezTo>
                  <a:lnTo>
                    <a:pt x="66" y="101319"/>
                  </a:lnTo>
                  <a:cubicBezTo>
                    <a:pt x="-999" y="111952"/>
                    <a:pt x="11070" y="120408"/>
                    <a:pt x="21188" y="124044"/>
                  </a:cubicBezTo>
                  <a:lnTo>
                    <a:pt x="23808" y="231798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523" name="Forma livre: Forma 522">
              <a:extLst>
                <a:ext uri="{FF2B5EF4-FFF2-40B4-BE49-F238E27FC236}">
                  <a16:creationId xmlns:a16="http://schemas.microsoft.com/office/drawing/2014/main" id="{2878B60B-56C6-79B7-F8BA-19F25B59793C}"/>
                </a:ext>
              </a:extLst>
            </p:cNvPr>
            <p:cNvSpPr/>
            <p:nvPr/>
          </p:nvSpPr>
          <p:spPr>
            <a:xfrm>
              <a:off x="6885515" y="1692388"/>
              <a:ext cx="161672" cy="161672"/>
            </a:xfrm>
            <a:custGeom>
              <a:avLst/>
              <a:gdLst>
                <a:gd name="connsiteX0" fmla="*/ 161672 w 161672"/>
                <a:gd name="connsiteY0" fmla="*/ 80842 h 161672"/>
                <a:gd name="connsiteX1" fmla="*/ 80830 w 161672"/>
                <a:gd name="connsiteY1" fmla="*/ 161672 h 161672"/>
                <a:gd name="connsiteX2" fmla="*/ 0 w 161672"/>
                <a:gd name="connsiteY2" fmla="*/ 80842 h 161672"/>
                <a:gd name="connsiteX3" fmla="*/ 80830 w 161672"/>
                <a:gd name="connsiteY3" fmla="*/ 0 h 161672"/>
                <a:gd name="connsiteX4" fmla="*/ 161672 w 161672"/>
                <a:gd name="connsiteY4" fmla="*/ 80842 h 1616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1672" h="161672">
                  <a:moveTo>
                    <a:pt x="161672" y="80842"/>
                  </a:moveTo>
                  <a:cubicBezTo>
                    <a:pt x="161672" y="125479"/>
                    <a:pt x="125467" y="161672"/>
                    <a:pt x="80830" y="161672"/>
                  </a:cubicBezTo>
                  <a:cubicBezTo>
                    <a:pt x="36193" y="161672"/>
                    <a:pt x="0" y="125479"/>
                    <a:pt x="0" y="80842"/>
                  </a:cubicBezTo>
                  <a:cubicBezTo>
                    <a:pt x="0" y="36205"/>
                    <a:pt x="36181" y="0"/>
                    <a:pt x="80830" y="0"/>
                  </a:cubicBezTo>
                  <a:cubicBezTo>
                    <a:pt x="125479" y="0"/>
                    <a:pt x="161672" y="36205"/>
                    <a:pt x="161672" y="80842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524" name="Gráfico 9">
              <a:extLst>
                <a:ext uri="{FF2B5EF4-FFF2-40B4-BE49-F238E27FC236}">
                  <a16:creationId xmlns:a16="http://schemas.microsoft.com/office/drawing/2014/main" id="{997CF352-EC9C-D299-B4BE-6920AC03E4F6}"/>
                </a:ext>
              </a:extLst>
            </p:cNvPr>
            <p:cNvGrpSpPr/>
            <p:nvPr/>
          </p:nvGrpSpPr>
          <p:grpSpPr>
            <a:xfrm>
              <a:off x="6945510" y="1720221"/>
              <a:ext cx="41706" cy="105995"/>
              <a:chOff x="6945510" y="1720221"/>
              <a:chExt cx="41706" cy="105995"/>
            </a:xfrm>
            <a:noFill/>
          </p:grpSpPr>
          <p:sp>
            <p:nvSpPr>
              <p:cNvPr id="525" name="Forma livre: Forma 524">
                <a:extLst>
                  <a:ext uri="{FF2B5EF4-FFF2-40B4-BE49-F238E27FC236}">
                    <a16:creationId xmlns:a16="http://schemas.microsoft.com/office/drawing/2014/main" id="{2B03F912-1231-D251-A358-6C33EDF8F1F3}"/>
                  </a:ext>
                </a:extLst>
              </p:cNvPr>
              <p:cNvSpPr/>
              <p:nvPr/>
            </p:nvSpPr>
            <p:spPr>
              <a:xfrm>
                <a:off x="6945510" y="1733569"/>
                <a:ext cx="41706" cy="79299"/>
              </a:xfrm>
              <a:custGeom>
                <a:avLst/>
                <a:gdLst>
                  <a:gd name="connsiteX0" fmla="*/ 84 w 41706"/>
                  <a:gd name="connsiteY0" fmla="*/ 59959 h 79299"/>
                  <a:gd name="connsiteX1" fmla="*/ 20895 w 41706"/>
                  <a:gd name="connsiteY1" fmla="*/ 79299 h 79299"/>
                  <a:gd name="connsiteX2" fmla="*/ 41707 w 41706"/>
                  <a:gd name="connsiteY2" fmla="*/ 59959 h 79299"/>
                  <a:gd name="connsiteX3" fmla="*/ 20847 w 41706"/>
                  <a:gd name="connsiteY3" fmla="*/ 39650 h 79299"/>
                  <a:gd name="connsiteX4" fmla="*/ 0 w 41706"/>
                  <a:gd name="connsiteY4" fmla="*/ 19340 h 79299"/>
                  <a:gd name="connsiteX5" fmla="*/ 20800 w 41706"/>
                  <a:gd name="connsiteY5" fmla="*/ 0 h 79299"/>
                  <a:gd name="connsiteX6" fmla="*/ 41611 w 41706"/>
                  <a:gd name="connsiteY6" fmla="*/ 19340 h 792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1706" h="79299">
                    <a:moveTo>
                      <a:pt x="84" y="59959"/>
                    </a:moveTo>
                    <a:cubicBezTo>
                      <a:pt x="84" y="70652"/>
                      <a:pt x="9413" y="79299"/>
                      <a:pt x="20895" y="79299"/>
                    </a:cubicBezTo>
                    <a:cubicBezTo>
                      <a:pt x="32378" y="79299"/>
                      <a:pt x="41707" y="70652"/>
                      <a:pt x="41707" y="59959"/>
                    </a:cubicBezTo>
                    <a:cubicBezTo>
                      <a:pt x="41707" y="49266"/>
                      <a:pt x="30595" y="44589"/>
                      <a:pt x="20847" y="39650"/>
                    </a:cubicBezTo>
                    <a:cubicBezTo>
                      <a:pt x="11100" y="34698"/>
                      <a:pt x="0" y="30021"/>
                      <a:pt x="0" y="19340"/>
                    </a:cubicBezTo>
                    <a:cubicBezTo>
                      <a:pt x="0" y="8660"/>
                      <a:pt x="9305" y="0"/>
                      <a:pt x="20800" y="0"/>
                    </a:cubicBezTo>
                    <a:cubicBezTo>
                      <a:pt x="32294" y="0"/>
                      <a:pt x="41611" y="8660"/>
                      <a:pt x="41611" y="19340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26" name="Forma livre: Forma 525">
                <a:extLst>
                  <a:ext uri="{FF2B5EF4-FFF2-40B4-BE49-F238E27FC236}">
                    <a16:creationId xmlns:a16="http://schemas.microsoft.com/office/drawing/2014/main" id="{BEBDF32A-961E-5999-F49A-8259C34B18A6}"/>
                  </a:ext>
                </a:extLst>
              </p:cNvPr>
              <p:cNvSpPr/>
              <p:nvPr/>
            </p:nvSpPr>
            <p:spPr>
              <a:xfrm>
                <a:off x="6966310" y="1720221"/>
                <a:ext cx="1196" cy="13240"/>
              </a:xfrm>
              <a:custGeom>
                <a:avLst/>
                <a:gdLst>
                  <a:gd name="connsiteX0" fmla="*/ 0 w 1196"/>
                  <a:gd name="connsiteY0" fmla="*/ 13240 h 13240"/>
                  <a:gd name="connsiteX1" fmla="*/ 0 w 1196"/>
                  <a:gd name="connsiteY1" fmla="*/ 0 h 132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6" h="13240">
                    <a:moveTo>
                      <a:pt x="0" y="13240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27" name="Forma livre: Forma 526">
                <a:extLst>
                  <a:ext uri="{FF2B5EF4-FFF2-40B4-BE49-F238E27FC236}">
                    <a16:creationId xmlns:a16="http://schemas.microsoft.com/office/drawing/2014/main" id="{C0BA8FC2-D312-A726-D19B-4501127DEC20}"/>
                  </a:ext>
                </a:extLst>
              </p:cNvPr>
              <p:cNvSpPr/>
              <p:nvPr/>
            </p:nvSpPr>
            <p:spPr>
              <a:xfrm>
                <a:off x="6966310" y="1812988"/>
                <a:ext cx="1196" cy="13228"/>
              </a:xfrm>
              <a:custGeom>
                <a:avLst/>
                <a:gdLst>
                  <a:gd name="connsiteX0" fmla="*/ 0 w 1196"/>
                  <a:gd name="connsiteY0" fmla="*/ 13228 h 13228"/>
                  <a:gd name="connsiteX1" fmla="*/ 0 w 1196"/>
                  <a:gd name="connsiteY1" fmla="*/ 0 h 132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6" h="13228">
                    <a:moveTo>
                      <a:pt x="0" y="13228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528" name="Gráfico 9">
            <a:extLst>
              <a:ext uri="{FF2B5EF4-FFF2-40B4-BE49-F238E27FC236}">
                <a16:creationId xmlns:a16="http://schemas.microsoft.com/office/drawing/2014/main" id="{22802A3C-EFD9-172D-A806-F725C7F799EB}"/>
              </a:ext>
            </a:extLst>
          </p:cNvPr>
          <p:cNvGrpSpPr/>
          <p:nvPr/>
        </p:nvGrpSpPr>
        <p:grpSpPr>
          <a:xfrm>
            <a:off x="7447540" y="1536517"/>
            <a:ext cx="233479" cy="317723"/>
            <a:chOff x="7447540" y="1536517"/>
            <a:chExt cx="233479" cy="317723"/>
          </a:xfrm>
          <a:noFill/>
        </p:grpSpPr>
        <p:sp>
          <p:nvSpPr>
            <p:cNvPr id="529" name="Forma livre: Forma 528">
              <a:extLst>
                <a:ext uri="{FF2B5EF4-FFF2-40B4-BE49-F238E27FC236}">
                  <a16:creationId xmlns:a16="http://schemas.microsoft.com/office/drawing/2014/main" id="{653F9FC1-367D-3FD7-CBBF-548F7FB215AF}"/>
                </a:ext>
              </a:extLst>
            </p:cNvPr>
            <p:cNvSpPr/>
            <p:nvPr/>
          </p:nvSpPr>
          <p:spPr>
            <a:xfrm>
              <a:off x="7474016" y="1536517"/>
              <a:ext cx="55066" cy="55066"/>
            </a:xfrm>
            <a:custGeom>
              <a:avLst/>
              <a:gdLst>
                <a:gd name="connsiteX0" fmla="*/ 55067 w 55066"/>
                <a:gd name="connsiteY0" fmla="*/ 27533 h 55066"/>
                <a:gd name="connsiteX1" fmla="*/ 27533 w 55066"/>
                <a:gd name="connsiteY1" fmla="*/ 55067 h 55066"/>
                <a:gd name="connsiteX2" fmla="*/ 0 w 55066"/>
                <a:gd name="connsiteY2" fmla="*/ 27533 h 55066"/>
                <a:gd name="connsiteX3" fmla="*/ 27533 w 55066"/>
                <a:gd name="connsiteY3" fmla="*/ 0 h 55066"/>
                <a:gd name="connsiteX4" fmla="*/ 55067 w 55066"/>
                <a:gd name="connsiteY4" fmla="*/ 27533 h 550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066" h="55066">
                  <a:moveTo>
                    <a:pt x="55067" y="27533"/>
                  </a:moveTo>
                  <a:cubicBezTo>
                    <a:pt x="55067" y="42747"/>
                    <a:pt x="42747" y="55067"/>
                    <a:pt x="27533" y="55067"/>
                  </a:cubicBezTo>
                  <a:cubicBezTo>
                    <a:pt x="12319" y="55067"/>
                    <a:pt x="0" y="42747"/>
                    <a:pt x="0" y="27533"/>
                  </a:cubicBezTo>
                  <a:cubicBezTo>
                    <a:pt x="0" y="12319"/>
                    <a:pt x="12319" y="0"/>
                    <a:pt x="27533" y="0"/>
                  </a:cubicBezTo>
                  <a:cubicBezTo>
                    <a:pt x="42747" y="0"/>
                    <a:pt x="55067" y="12331"/>
                    <a:pt x="55067" y="27533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530" name="Forma livre: Forma 529">
              <a:extLst>
                <a:ext uri="{FF2B5EF4-FFF2-40B4-BE49-F238E27FC236}">
                  <a16:creationId xmlns:a16="http://schemas.microsoft.com/office/drawing/2014/main" id="{F25E88C1-416F-1E8B-F93B-CF1615222E35}"/>
                </a:ext>
              </a:extLst>
            </p:cNvPr>
            <p:cNvSpPr/>
            <p:nvPr/>
          </p:nvSpPr>
          <p:spPr>
            <a:xfrm>
              <a:off x="7447540" y="1617503"/>
              <a:ext cx="103778" cy="231797"/>
            </a:xfrm>
            <a:custGeom>
              <a:avLst/>
              <a:gdLst>
                <a:gd name="connsiteX0" fmla="*/ 103778 w 103778"/>
                <a:gd name="connsiteY0" fmla="*/ 59803 h 231797"/>
                <a:gd name="connsiteX1" fmla="*/ 99700 w 103778"/>
                <a:gd name="connsiteY1" fmla="*/ 19328 h 231797"/>
                <a:gd name="connsiteX2" fmla="*/ 78314 w 103778"/>
                <a:gd name="connsiteY2" fmla="*/ 0 h 231797"/>
                <a:gd name="connsiteX3" fmla="*/ 29706 w 103778"/>
                <a:gd name="connsiteY3" fmla="*/ 0 h 231797"/>
                <a:gd name="connsiteX4" fmla="*/ 8332 w 103778"/>
                <a:gd name="connsiteY4" fmla="*/ 19328 h 231797"/>
                <a:gd name="connsiteX5" fmla="*/ 67 w 103778"/>
                <a:gd name="connsiteY5" fmla="*/ 101319 h 231797"/>
                <a:gd name="connsiteX6" fmla="*/ 21190 w 103778"/>
                <a:gd name="connsiteY6" fmla="*/ 124044 h 231797"/>
                <a:gd name="connsiteX7" fmla="*/ 23809 w 103778"/>
                <a:gd name="connsiteY7" fmla="*/ 231798 h 231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03778" h="231797">
                  <a:moveTo>
                    <a:pt x="103778" y="59803"/>
                  </a:moveTo>
                  <a:lnTo>
                    <a:pt x="99700" y="19328"/>
                  </a:lnTo>
                  <a:cubicBezTo>
                    <a:pt x="98623" y="8695"/>
                    <a:pt x="88995" y="0"/>
                    <a:pt x="78314" y="0"/>
                  </a:cubicBezTo>
                  <a:lnTo>
                    <a:pt x="29706" y="0"/>
                  </a:lnTo>
                  <a:cubicBezTo>
                    <a:pt x="19013" y="0"/>
                    <a:pt x="9397" y="8695"/>
                    <a:pt x="8332" y="19328"/>
                  </a:cubicBezTo>
                  <a:lnTo>
                    <a:pt x="67" y="101319"/>
                  </a:lnTo>
                  <a:cubicBezTo>
                    <a:pt x="-1009" y="111952"/>
                    <a:pt x="11071" y="120396"/>
                    <a:pt x="21190" y="124044"/>
                  </a:cubicBezTo>
                  <a:lnTo>
                    <a:pt x="23809" y="231798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531" name="Forma livre: Forma 530">
              <a:extLst>
                <a:ext uri="{FF2B5EF4-FFF2-40B4-BE49-F238E27FC236}">
                  <a16:creationId xmlns:a16="http://schemas.microsoft.com/office/drawing/2014/main" id="{05E2EE66-FAF6-5DAF-BF8B-D641750E366D}"/>
                </a:ext>
              </a:extLst>
            </p:cNvPr>
            <p:cNvSpPr/>
            <p:nvPr/>
          </p:nvSpPr>
          <p:spPr>
            <a:xfrm>
              <a:off x="7518234" y="1773470"/>
              <a:ext cx="162784" cy="1196"/>
            </a:xfrm>
            <a:custGeom>
              <a:avLst/>
              <a:gdLst>
                <a:gd name="connsiteX0" fmla="*/ 162785 w 162784"/>
                <a:gd name="connsiteY0" fmla="*/ 0 h 1196"/>
                <a:gd name="connsiteX1" fmla="*/ 0 w 162784"/>
                <a:gd name="connsiteY1" fmla="*/ 0 h 11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62784" h="1196">
                  <a:moveTo>
                    <a:pt x="162785" y="0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532" name="Forma livre: Forma 531">
              <a:extLst>
                <a:ext uri="{FF2B5EF4-FFF2-40B4-BE49-F238E27FC236}">
                  <a16:creationId xmlns:a16="http://schemas.microsoft.com/office/drawing/2014/main" id="{66BEA062-62ED-6DE1-B6E3-2D9E8F07C666}"/>
                </a:ext>
              </a:extLst>
            </p:cNvPr>
            <p:cNvSpPr/>
            <p:nvPr/>
          </p:nvSpPr>
          <p:spPr>
            <a:xfrm>
              <a:off x="7569402" y="1773769"/>
              <a:ext cx="27473" cy="79909"/>
            </a:xfrm>
            <a:custGeom>
              <a:avLst/>
              <a:gdLst>
                <a:gd name="connsiteX0" fmla="*/ 0 w 27473"/>
                <a:gd name="connsiteY0" fmla="*/ 0 h 79909"/>
                <a:gd name="connsiteX1" fmla="*/ 27474 w 27473"/>
                <a:gd name="connsiteY1" fmla="*/ 79909 h 799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7473" h="79909">
                  <a:moveTo>
                    <a:pt x="0" y="0"/>
                  </a:moveTo>
                  <a:cubicBezTo>
                    <a:pt x="514" y="23156"/>
                    <a:pt x="7631" y="50271"/>
                    <a:pt x="27474" y="79909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533" name="Forma livre: Forma 532">
              <a:extLst>
                <a:ext uri="{FF2B5EF4-FFF2-40B4-BE49-F238E27FC236}">
                  <a16:creationId xmlns:a16="http://schemas.microsoft.com/office/drawing/2014/main" id="{F97FEE3F-4245-4FF4-B1EE-E0A314179AAB}"/>
                </a:ext>
              </a:extLst>
            </p:cNvPr>
            <p:cNvSpPr/>
            <p:nvPr/>
          </p:nvSpPr>
          <p:spPr>
            <a:xfrm>
              <a:off x="7601780" y="1774678"/>
              <a:ext cx="27449" cy="79000"/>
            </a:xfrm>
            <a:custGeom>
              <a:avLst/>
              <a:gdLst>
                <a:gd name="connsiteX0" fmla="*/ 27450 w 27449"/>
                <a:gd name="connsiteY0" fmla="*/ 0 h 79000"/>
                <a:gd name="connsiteX1" fmla="*/ 0 w 27449"/>
                <a:gd name="connsiteY1" fmla="*/ 79000 h 79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7449" h="79000">
                  <a:moveTo>
                    <a:pt x="27450" y="0"/>
                  </a:moveTo>
                  <a:cubicBezTo>
                    <a:pt x="26768" y="22953"/>
                    <a:pt x="19580" y="49744"/>
                    <a:pt x="0" y="79000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534" name="Gráfico 9">
              <a:extLst>
                <a:ext uri="{FF2B5EF4-FFF2-40B4-BE49-F238E27FC236}">
                  <a16:creationId xmlns:a16="http://schemas.microsoft.com/office/drawing/2014/main" id="{3F630B9B-2522-377D-4E8C-8F9AD729A00B}"/>
                </a:ext>
              </a:extLst>
            </p:cNvPr>
            <p:cNvGrpSpPr/>
            <p:nvPr/>
          </p:nvGrpSpPr>
          <p:grpSpPr>
            <a:xfrm>
              <a:off x="7570658" y="1693357"/>
              <a:ext cx="57339" cy="59922"/>
              <a:chOff x="7570658" y="1693357"/>
              <a:chExt cx="57339" cy="59922"/>
            </a:xfrm>
            <a:noFill/>
          </p:grpSpPr>
          <p:sp>
            <p:nvSpPr>
              <p:cNvPr id="535" name="Forma livre: Forma 534">
                <a:extLst>
                  <a:ext uri="{FF2B5EF4-FFF2-40B4-BE49-F238E27FC236}">
                    <a16:creationId xmlns:a16="http://schemas.microsoft.com/office/drawing/2014/main" id="{44D6B66B-E3A1-2BA2-81B7-D684784BE68E}"/>
                  </a:ext>
                </a:extLst>
              </p:cNvPr>
              <p:cNvSpPr/>
              <p:nvPr/>
            </p:nvSpPr>
            <p:spPr>
              <a:xfrm>
                <a:off x="7570658" y="1693357"/>
                <a:ext cx="26217" cy="59922"/>
              </a:xfrm>
              <a:custGeom>
                <a:avLst/>
                <a:gdLst>
                  <a:gd name="connsiteX0" fmla="*/ 26218 w 26217"/>
                  <a:gd name="connsiteY0" fmla="*/ 0 h 59922"/>
                  <a:gd name="connsiteX1" fmla="*/ 0 w 26217"/>
                  <a:gd name="connsiteY1" fmla="*/ 59923 h 599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6217" h="59922">
                    <a:moveTo>
                      <a:pt x="26218" y="0"/>
                    </a:moveTo>
                    <a:cubicBezTo>
                      <a:pt x="26218" y="0"/>
                      <a:pt x="5442" y="22785"/>
                      <a:pt x="0" y="59923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36" name="Forma livre: Forma 535">
                <a:extLst>
                  <a:ext uri="{FF2B5EF4-FFF2-40B4-BE49-F238E27FC236}">
                    <a16:creationId xmlns:a16="http://schemas.microsoft.com/office/drawing/2014/main" id="{0127B604-EFE8-0763-C610-E4A96148A724}"/>
                  </a:ext>
                </a:extLst>
              </p:cNvPr>
              <p:cNvSpPr/>
              <p:nvPr/>
            </p:nvSpPr>
            <p:spPr>
              <a:xfrm>
                <a:off x="7601780" y="1693357"/>
                <a:ext cx="26217" cy="59922"/>
              </a:xfrm>
              <a:custGeom>
                <a:avLst/>
                <a:gdLst>
                  <a:gd name="connsiteX0" fmla="*/ 0 w 26217"/>
                  <a:gd name="connsiteY0" fmla="*/ 0 h 59922"/>
                  <a:gd name="connsiteX1" fmla="*/ 26218 w 26217"/>
                  <a:gd name="connsiteY1" fmla="*/ 59923 h 599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6217" h="59922">
                    <a:moveTo>
                      <a:pt x="0" y="0"/>
                    </a:moveTo>
                    <a:cubicBezTo>
                      <a:pt x="0" y="0"/>
                      <a:pt x="20776" y="22785"/>
                      <a:pt x="26218" y="59923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537" name="Forma livre: Forma 536">
              <a:extLst>
                <a:ext uri="{FF2B5EF4-FFF2-40B4-BE49-F238E27FC236}">
                  <a16:creationId xmlns:a16="http://schemas.microsoft.com/office/drawing/2014/main" id="{24BD27E5-F495-F3C9-C2CC-C9AE698C0252}"/>
                </a:ext>
              </a:extLst>
            </p:cNvPr>
            <p:cNvSpPr/>
            <p:nvPr/>
          </p:nvSpPr>
          <p:spPr>
            <a:xfrm>
              <a:off x="7518892" y="1692783"/>
              <a:ext cx="161468" cy="161457"/>
            </a:xfrm>
            <a:custGeom>
              <a:avLst/>
              <a:gdLst>
                <a:gd name="connsiteX0" fmla="*/ 161469 w 161468"/>
                <a:gd name="connsiteY0" fmla="*/ 80735 h 161457"/>
                <a:gd name="connsiteX1" fmla="*/ 80723 w 161468"/>
                <a:gd name="connsiteY1" fmla="*/ 161457 h 161457"/>
                <a:gd name="connsiteX2" fmla="*/ 0 w 161468"/>
                <a:gd name="connsiteY2" fmla="*/ 80735 h 161457"/>
                <a:gd name="connsiteX3" fmla="*/ 80723 w 161468"/>
                <a:gd name="connsiteY3" fmla="*/ 0 h 161457"/>
                <a:gd name="connsiteX4" fmla="*/ 161469 w 161468"/>
                <a:gd name="connsiteY4" fmla="*/ 80735 h 1614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1468" h="161457">
                  <a:moveTo>
                    <a:pt x="161469" y="80735"/>
                  </a:moveTo>
                  <a:cubicBezTo>
                    <a:pt x="161469" y="125312"/>
                    <a:pt x="125312" y="161457"/>
                    <a:pt x="80723" y="161457"/>
                  </a:cubicBezTo>
                  <a:cubicBezTo>
                    <a:pt x="36133" y="161457"/>
                    <a:pt x="0" y="125312"/>
                    <a:pt x="0" y="80735"/>
                  </a:cubicBezTo>
                  <a:cubicBezTo>
                    <a:pt x="0" y="36157"/>
                    <a:pt x="36145" y="0"/>
                    <a:pt x="80723" y="0"/>
                  </a:cubicBezTo>
                  <a:cubicBezTo>
                    <a:pt x="125300" y="0"/>
                    <a:pt x="161469" y="36145"/>
                    <a:pt x="161469" y="80735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538" name="Gráfico 9">
            <a:extLst>
              <a:ext uri="{FF2B5EF4-FFF2-40B4-BE49-F238E27FC236}">
                <a16:creationId xmlns:a16="http://schemas.microsoft.com/office/drawing/2014/main" id="{B84CC25F-C2E3-9E68-B4E4-7D57B359C494}"/>
              </a:ext>
            </a:extLst>
          </p:cNvPr>
          <p:cNvGrpSpPr/>
          <p:nvPr/>
        </p:nvGrpSpPr>
        <p:grpSpPr>
          <a:xfrm>
            <a:off x="6180010" y="1017280"/>
            <a:ext cx="277230" cy="307245"/>
            <a:chOff x="6180010" y="1017280"/>
            <a:chExt cx="277230" cy="307245"/>
          </a:xfrm>
        </p:grpSpPr>
        <p:grpSp>
          <p:nvGrpSpPr>
            <p:cNvPr id="539" name="Gráfico 9">
              <a:extLst>
                <a:ext uri="{FF2B5EF4-FFF2-40B4-BE49-F238E27FC236}">
                  <a16:creationId xmlns:a16="http://schemas.microsoft.com/office/drawing/2014/main" id="{5F18F272-A5D9-253C-1306-09A3FEBDBD17}"/>
                </a:ext>
              </a:extLst>
            </p:cNvPr>
            <p:cNvGrpSpPr/>
            <p:nvPr/>
          </p:nvGrpSpPr>
          <p:grpSpPr>
            <a:xfrm>
              <a:off x="6180010" y="1017280"/>
              <a:ext cx="105743" cy="307245"/>
              <a:chOff x="6180010" y="1017280"/>
              <a:chExt cx="105743" cy="307245"/>
            </a:xfrm>
            <a:noFill/>
          </p:grpSpPr>
          <p:sp>
            <p:nvSpPr>
              <p:cNvPr id="540" name="Forma livre: Forma 539">
                <a:extLst>
                  <a:ext uri="{FF2B5EF4-FFF2-40B4-BE49-F238E27FC236}">
                    <a16:creationId xmlns:a16="http://schemas.microsoft.com/office/drawing/2014/main" id="{8BF10CDC-EE70-36B1-9F2A-624709FBADB1}"/>
                  </a:ext>
                </a:extLst>
              </p:cNvPr>
              <p:cNvSpPr/>
              <p:nvPr/>
            </p:nvSpPr>
            <p:spPr>
              <a:xfrm>
                <a:off x="6205898" y="1017280"/>
                <a:ext cx="53942" cy="53942"/>
              </a:xfrm>
              <a:custGeom>
                <a:avLst/>
                <a:gdLst>
                  <a:gd name="connsiteX0" fmla="*/ 26971 w 53942"/>
                  <a:gd name="connsiteY0" fmla="*/ 0 h 53942"/>
                  <a:gd name="connsiteX1" fmla="*/ 0 w 53942"/>
                  <a:gd name="connsiteY1" fmla="*/ 26971 h 53942"/>
                  <a:gd name="connsiteX2" fmla="*/ 26971 w 53942"/>
                  <a:gd name="connsiteY2" fmla="*/ 53943 h 53942"/>
                  <a:gd name="connsiteX3" fmla="*/ 53943 w 53942"/>
                  <a:gd name="connsiteY3" fmla="*/ 26971 h 53942"/>
                  <a:gd name="connsiteX4" fmla="*/ 26971 w 53942"/>
                  <a:gd name="connsiteY4" fmla="*/ 0 h 539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3942" h="53942">
                    <a:moveTo>
                      <a:pt x="26971" y="0"/>
                    </a:moveTo>
                    <a:cubicBezTo>
                      <a:pt x="12080" y="0"/>
                      <a:pt x="0" y="12068"/>
                      <a:pt x="0" y="26971"/>
                    </a:cubicBezTo>
                    <a:cubicBezTo>
                      <a:pt x="0" y="41874"/>
                      <a:pt x="12068" y="53943"/>
                      <a:pt x="26971" y="53943"/>
                    </a:cubicBezTo>
                    <a:cubicBezTo>
                      <a:pt x="41874" y="53943"/>
                      <a:pt x="53943" y="41862"/>
                      <a:pt x="53943" y="26971"/>
                    </a:cubicBezTo>
                    <a:cubicBezTo>
                      <a:pt x="53943" y="12080"/>
                      <a:pt x="41874" y="0"/>
                      <a:pt x="26971" y="0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41" name="Forma livre: Forma 540">
                <a:extLst>
                  <a:ext uri="{FF2B5EF4-FFF2-40B4-BE49-F238E27FC236}">
                    <a16:creationId xmlns:a16="http://schemas.microsoft.com/office/drawing/2014/main" id="{EF7EB888-7A1E-BEB1-0DEE-74922FB1718F}"/>
                  </a:ext>
                </a:extLst>
              </p:cNvPr>
              <p:cNvSpPr/>
              <p:nvPr/>
            </p:nvSpPr>
            <p:spPr>
              <a:xfrm>
                <a:off x="6180010" y="1097465"/>
                <a:ext cx="105743" cy="227061"/>
              </a:xfrm>
              <a:custGeom>
                <a:avLst/>
                <a:gdLst>
                  <a:gd name="connsiteX0" fmla="*/ 23317 w 105743"/>
                  <a:gd name="connsiteY0" fmla="*/ 227061 h 227061"/>
                  <a:gd name="connsiteX1" fmla="*/ 20758 w 105743"/>
                  <a:gd name="connsiteY1" fmla="*/ 121520 h 227061"/>
                  <a:gd name="connsiteX2" fmla="*/ 66 w 105743"/>
                  <a:gd name="connsiteY2" fmla="*/ 99262 h 227061"/>
                  <a:gd name="connsiteX3" fmla="*/ 8163 w 105743"/>
                  <a:gd name="connsiteY3" fmla="*/ 18946 h 227061"/>
                  <a:gd name="connsiteX4" fmla="*/ 29106 w 105743"/>
                  <a:gd name="connsiteY4" fmla="*/ 0 h 227061"/>
                  <a:gd name="connsiteX5" fmla="*/ 76650 w 105743"/>
                  <a:gd name="connsiteY5" fmla="*/ 0 h 227061"/>
                  <a:gd name="connsiteX6" fmla="*/ 97581 w 105743"/>
                  <a:gd name="connsiteY6" fmla="*/ 18946 h 227061"/>
                  <a:gd name="connsiteX7" fmla="*/ 105678 w 105743"/>
                  <a:gd name="connsiteY7" fmla="*/ 99262 h 227061"/>
                  <a:gd name="connsiteX8" fmla="*/ 84974 w 105743"/>
                  <a:gd name="connsiteY8" fmla="*/ 121520 h 227061"/>
                  <a:gd name="connsiteX9" fmla="*/ 82427 w 105743"/>
                  <a:gd name="connsiteY9" fmla="*/ 227061 h 2270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05743" h="227061">
                    <a:moveTo>
                      <a:pt x="23317" y="227061"/>
                    </a:moveTo>
                    <a:lnTo>
                      <a:pt x="20758" y="121520"/>
                    </a:lnTo>
                    <a:cubicBezTo>
                      <a:pt x="10842" y="117944"/>
                      <a:pt x="-987" y="109679"/>
                      <a:pt x="66" y="99262"/>
                    </a:cubicBezTo>
                    <a:lnTo>
                      <a:pt x="8163" y="18946"/>
                    </a:lnTo>
                    <a:cubicBezTo>
                      <a:pt x="9215" y="8528"/>
                      <a:pt x="18640" y="0"/>
                      <a:pt x="29106" y="0"/>
                    </a:cubicBezTo>
                    <a:lnTo>
                      <a:pt x="76650" y="0"/>
                    </a:lnTo>
                    <a:cubicBezTo>
                      <a:pt x="87115" y="0"/>
                      <a:pt x="96540" y="8528"/>
                      <a:pt x="97581" y="18946"/>
                    </a:cubicBezTo>
                    <a:lnTo>
                      <a:pt x="105678" y="99262"/>
                    </a:lnTo>
                    <a:cubicBezTo>
                      <a:pt x="106731" y="109679"/>
                      <a:pt x="94890" y="117944"/>
                      <a:pt x="84974" y="121520"/>
                    </a:cubicBezTo>
                    <a:lnTo>
                      <a:pt x="82427" y="227061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542" name="Gráfico 9">
              <a:extLst>
                <a:ext uri="{FF2B5EF4-FFF2-40B4-BE49-F238E27FC236}">
                  <a16:creationId xmlns:a16="http://schemas.microsoft.com/office/drawing/2014/main" id="{0E749FB8-54F3-89C1-E574-F4AF448AB9AE}"/>
                </a:ext>
              </a:extLst>
            </p:cNvPr>
            <p:cNvGrpSpPr/>
            <p:nvPr/>
          </p:nvGrpSpPr>
          <p:grpSpPr>
            <a:xfrm>
              <a:off x="6294694" y="1024947"/>
              <a:ext cx="162545" cy="299578"/>
              <a:chOff x="6294694" y="1024947"/>
              <a:chExt cx="162545" cy="299578"/>
            </a:xfrm>
          </p:grpSpPr>
          <p:sp>
            <p:nvSpPr>
              <p:cNvPr id="543" name="Forma livre: Forma 542">
                <a:extLst>
                  <a:ext uri="{FF2B5EF4-FFF2-40B4-BE49-F238E27FC236}">
                    <a16:creationId xmlns:a16="http://schemas.microsoft.com/office/drawing/2014/main" id="{32EAD64D-3B5B-FB91-9B4D-DEC612803C11}"/>
                  </a:ext>
                </a:extLst>
              </p:cNvPr>
              <p:cNvSpPr/>
              <p:nvPr/>
            </p:nvSpPr>
            <p:spPr>
              <a:xfrm>
                <a:off x="6334798" y="1156036"/>
                <a:ext cx="122441" cy="168489"/>
              </a:xfrm>
              <a:custGeom>
                <a:avLst/>
                <a:gdLst>
                  <a:gd name="connsiteX0" fmla="*/ 0 w 122441"/>
                  <a:gd name="connsiteY0" fmla="*/ 168490 h 168489"/>
                  <a:gd name="connsiteX1" fmla="*/ 73450 w 122441"/>
                  <a:gd name="connsiteY1" fmla="*/ 168490 h 168489"/>
                  <a:gd name="connsiteX2" fmla="*/ 122441 w 122441"/>
                  <a:gd name="connsiteY2" fmla="*/ 119499 h 168489"/>
                  <a:gd name="connsiteX3" fmla="*/ 122441 w 122441"/>
                  <a:gd name="connsiteY3" fmla="*/ 114703 h 168489"/>
                  <a:gd name="connsiteX4" fmla="*/ 73450 w 122441"/>
                  <a:gd name="connsiteY4" fmla="*/ 65712 h 168489"/>
                  <a:gd name="connsiteX5" fmla="*/ 29961 w 122441"/>
                  <a:gd name="connsiteY5" fmla="*/ 65712 h 168489"/>
                  <a:gd name="connsiteX6" fmla="*/ 1962 w 122441"/>
                  <a:gd name="connsiteY6" fmla="*/ 37700 h 168489"/>
                  <a:gd name="connsiteX7" fmla="*/ 1962 w 122441"/>
                  <a:gd name="connsiteY7" fmla="*/ 28000 h 168489"/>
                  <a:gd name="connsiteX8" fmla="*/ 29961 w 122441"/>
                  <a:gd name="connsiteY8" fmla="*/ 0 h 168489"/>
                  <a:gd name="connsiteX9" fmla="*/ 49278 w 122441"/>
                  <a:gd name="connsiteY9" fmla="*/ 0 h 1684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22441" h="168489">
                    <a:moveTo>
                      <a:pt x="0" y="168490"/>
                    </a:moveTo>
                    <a:lnTo>
                      <a:pt x="73450" y="168490"/>
                    </a:lnTo>
                    <a:cubicBezTo>
                      <a:pt x="100398" y="168490"/>
                      <a:pt x="122441" y="146446"/>
                      <a:pt x="122441" y="119499"/>
                    </a:cubicBezTo>
                    <a:lnTo>
                      <a:pt x="122441" y="114703"/>
                    </a:lnTo>
                    <a:cubicBezTo>
                      <a:pt x="122441" y="87755"/>
                      <a:pt x="100398" y="65712"/>
                      <a:pt x="73450" y="65712"/>
                    </a:cubicBezTo>
                    <a:lnTo>
                      <a:pt x="29961" y="65712"/>
                    </a:lnTo>
                    <a:cubicBezTo>
                      <a:pt x="14568" y="65712"/>
                      <a:pt x="1962" y="53105"/>
                      <a:pt x="1962" y="37700"/>
                    </a:cubicBezTo>
                    <a:lnTo>
                      <a:pt x="1962" y="28000"/>
                    </a:lnTo>
                    <a:cubicBezTo>
                      <a:pt x="1962" y="12607"/>
                      <a:pt x="14568" y="0"/>
                      <a:pt x="29961" y="0"/>
                    </a:cubicBezTo>
                    <a:lnTo>
                      <a:pt x="49278" y="0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44" name="Forma livre: Forma 543">
                <a:extLst>
                  <a:ext uri="{FF2B5EF4-FFF2-40B4-BE49-F238E27FC236}">
                    <a16:creationId xmlns:a16="http://schemas.microsoft.com/office/drawing/2014/main" id="{7EBAA685-DEAD-A67C-CA5E-8F7AFD5BED22}"/>
                  </a:ext>
                </a:extLst>
              </p:cNvPr>
              <p:cNvSpPr/>
              <p:nvPr/>
            </p:nvSpPr>
            <p:spPr>
              <a:xfrm>
                <a:off x="6294694" y="1324526"/>
                <a:ext cx="15548" cy="1196"/>
              </a:xfrm>
              <a:custGeom>
                <a:avLst/>
                <a:gdLst>
                  <a:gd name="connsiteX0" fmla="*/ 0 w 15548"/>
                  <a:gd name="connsiteY0" fmla="*/ 0 h 1196"/>
                  <a:gd name="connsiteX1" fmla="*/ 15549 w 15548"/>
                  <a:gd name="connsiteY1" fmla="*/ 0 h 11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5548" h="1196">
                    <a:moveTo>
                      <a:pt x="0" y="0"/>
                    </a:moveTo>
                    <a:lnTo>
                      <a:pt x="15549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45" name="Forma livre: Forma 544">
                <a:extLst>
                  <a:ext uri="{FF2B5EF4-FFF2-40B4-BE49-F238E27FC236}">
                    <a16:creationId xmlns:a16="http://schemas.microsoft.com/office/drawing/2014/main" id="{97F77AE4-3648-38DE-5D30-D42F4B6BB59D}"/>
                  </a:ext>
                </a:extLst>
              </p:cNvPr>
              <p:cNvSpPr/>
              <p:nvPr/>
            </p:nvSpPr>
            <p:spPr>
              <a:xfrm>
                <a:off x="6373551" y="1024947"/>
                <a:ext cx="80937" cy="130957"/>
              </a:xfrm>
              <a:custGeom>
                <a:avLst/>
                <a:gdLst>
                  <a:gd name="connsiteX0" fmla="*/ 0 w 80937"/>
                  <a:gd name="connsiteY0" fmla="*/ 40463 h 130957"/>
                  <a:gd name="connsiteX1" fmla="*/ 40475 w 80937"/>
                  <a:gd name="connsiteY1" fmla="*/ 130957 h 130957"/>
                  <a:gd name="connsiteX2" fmla="*/ 80938 w 80937"/>
                  <a:gd name="connsiteY2" fmla="*/ 40463 h 130957"/>
                  <a:gd name="connsiteX3" fmla="*/ 40475 w 80937"/>
                  <a:gd name="connsiteY3" fmla="*/ 0 h 130957"/>
                  <a:gd name="connsiteX4" fmla="*/ 0 w 80937"/>
                  <a:gd name="connsiteY4" fmla="*/ 40463 h 1309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0937" h="130957">
                    <a:moveTo>
                      <a:pt x="0" y="40463"/>
                    </a:moveTo>
                    <a:cubicBezTo>
                      <a:pt x="0" y="62805"/>
                      <a:pt x="40475" y="130957"/>
                      <a:pt x="40475" y="130957"/>
                    </a:cubicBezTo>
                    <a:cubicBezTo>
                      <a:pt x="40475" y="130957"/>
                      <a:pt x="80938" y="62805"/>
                      <a:pt x="80938" y="40463"/>
                    </a:cubicBezTo>
                    <a:cubicBezTo>
                      <a:pt x="80938" y="18120"/>
                      <a:pt x="62829" y="0"/>
                      <a:pt x="40475" y="0"/>
                    </a:cubicBezTo>
                    <a:cubicBezTo>
                      <a:pt x="18120" y="0"/>
                      <a:pt x="0" y="18120"/>
                      <a:pt x="0" y="40463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46" name="Forma livre: Forma 545">
                <a:extLst>
                  <a:ext uri="{FF2B5EF4-FFF2-40B4-BE49-F238E27FC236}">
                    <a16:creationId xmlns:a16="http://schemas.microsoft.com/office/drawing/2014/main" id="{90FF5CAC-729A-28FE-DF00-4D804DFE6701}"/>
                  </a:ext>
                </a:extLst>
              </p:cNvPr>
              <p:cNvSpPr/>
              <p:nvPr/>
            </p:nvSpPr>
            <p:spPr>
              <a:xfrm>
                <a:off x="6409349" y="1058090"/>
                <a:ext cx="9341" cy="9341"/>
              </a:xfrm>
              <a:custGeom>
                <a:avLst/>
                <a:gdLst>
                  <a:gd name="connsiteX0" fmla="*/ 0 w 9341"/>
                  <a:gd name="connsiteY0" fmla="*/ 4677 h 9341"/>
                  <a:gd name="connsiteX1" fmla="*/ 4665 w 9341"/>
                  <a:gd name="connsiteY1" fmla="*/ 9341 h 9341"/>
                  <a:gd name="connsiteX2" fmla="*/ 9341 w 9341"/>
                  <a:gd name="connsiteY2" fmla="*/ 4677 h 9341"/>
                  <a:gd name="connsiteX3" fmla="*/ 4665 w 9341"/>
                  <a:gd name="connsiteY3" fmla="*/ 0 h 9341"/>
                  <a:gd name="connsiteX4" fmla="*/ 0 w 9341"/>
                  <a:gd name="connsiteY4" fmla="*/ 4677 h 93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9341" h="9341">
                    <a:moveTo>
                      <a:pt x="0" y="4677"/>
                    </a:moveTo>
                    <a:cubicBezTo>
                      <a:pt x="0" y="7260"/>
                      <a:pt x="2081" y="9341"/>
                      <a:pt x="4665" y="9341"/>
                    </a:cubicBezTo>
                    <a:cubicBezTo>
                      <a:pt x="7248" y="9341"/>
                      <a:pt x="9341" y="7248"/>
                      <a:pt x="9341" y="4677"/>
                    </a:cubicBezTo>
                    <a:cubicBezTo>
                      <a:pt x="9341" y="2105"/>
                      <a:pt x="7248" y="0"/>
                      <a:pt x="4665" y="0"/>
                    </a:cubicBezTo>
                    <a:cubicBezTo>
                      <a:pt x="2081" y="0"/>
                      <a:pt x="0" y="2081"/>
                      <a:pt x="0" y="4677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547" name="Gráfico 9">
            <a:extLst>
              <a:ext uri="{FF2B5EF4-FFF2-40B4-BE49-F238E27FC236}">
                <a16:creationId xmlns:a16="http://schemas.microsoft.com/office/drawing/2014/main" id="{2C6253C5-74BD-7A7C-D3E1-4700E0661768}"/>
              </a:ext>
            </a:extLst>
          </p:cNvPr>
          <p:cNvGrpSpPr/>
          <p:nvPr/>
        </p:nvGrpSpPr>
        <p:grpSpPr>
          <a:xfrm>
            <a:off x="6821586" y="1000811"/>
            <a:ext cx="217899" cy="340185"/>
            <a:chOff x="6821586" y="1000811"/>
            <a:chExt cx="217899" cy="340185"/>
          </a:xfrm>
          <a:noFill/>
        </p:grpSpPr>
        <p:grpSp>
          <p:nvGrpSpPr>
            <p:cNvPr id="548" name="Gráfico 9">
              <a:extLst>
                <a:ext uri="{FF2B5EF4-FFF2-40B4-BE49-F238E27FC236}">
                  <a16:creationId xmlns:a16="http://schemas.microsoft.com/office/drawing/2014/main" id="{D1DF2F56-2B16-2528-0BCD-E5BDB96B4925}"/>
                </a:ext>
              </a:extLst>
            </p:cNvPr>
            <p:cNvGrpSpPr/>
            <p:nvPr/>
          </p:nvGrpSpPr>
          <p:grpSpPr>
            <a:xfrm>
              <a:off x="6890933" y="1056320"/>
              <a:ext cx="79215" cy="95470"/>
              <a:chOff x="6890933" y="1056320"/>
              <a:chExt cx="79215" cy="95470"/>
            </a:xfrm>
            <a:noFill/>
          </p:grpSpPr>
          <p:sp>
            <p:nvSpPr>
              <p:cNvPr id="549" name="Forma livre: Forma 548">
                <a:extLst>
                  <a:ext uri="{FF2B5EF4-FFF2-40B4-BE49-F238E27FC236}">
                    <a16:creationId xmlns:a16="http://schemas.microsoft.com/office/drawing/2014/main" id="{DDEF5B2F-09D1-5E78-69F2-0880D7050396}"/>
                  </a:ext>
                </a:extLst>
              </p:cNvPr>
              <p:cNvSpPr/>
              <p:nvPr/>
            </p:nvSpPr>
            <p:spPr>
              <a:xfrm>
                <a:off x="6890933" y="1116207"/>
                <a:ext cx="79215" cy="35582"/>
              </a:xfrm>
              <a:custGeom>
                <a:avLst/>
                <a:gdLst>
                  <a:gd name="connsiteX0" fmla="*/ 0 w 79215"/>
                  <a:gd name="connsiteY0" fmla="*/ 35583 h 35582"/>
                  <a:gd name="connsiteX1" fmla="*/ 0 w 79215"/>
                  <a:gd name="connsiteY1" fmla="*/ 19388 h 35582"/>
                  <a:gd name="connsiteX2" fmla="*/ 23407 w 79215"/>
                  <a:gd name="connsiteY2" fmla="*/ 0 h 35582"/>
                  <a:gd name="connsiteX3" fmla="*/ 39614 w 79215"/>
                  <a:gd name="connsiteY3" fmla="*/ 17833 h 35582"/>
                  <a:gd name="connsiteX4" fmla="*/ 54648 w 79215"/>
                  <a:gd name="connsiteY4" fmla="*/ 0 h 35582"/>
                  <a:gd name="connsiteX5" fmla="*/ 79216 w 79215"/>
                  <a:gd name="connsiteY5" fmla="*/ 19388 h 35582"/>
                  <a:gd name="connsiteX6" fmla="*/ 79216 w 79215"/>
                  <a:gd name="connsiteY6" fmla="*/ 35583 h 355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79215" h="35582">
                    <a:moveTo>
                      <a:pt x="0" y="35583"/>
                    </a:moveTo>
                    <a:lnTo>
                      <a:pt x="0" y="19388"/>
                    </a:lnTo>
                    <a:cubicBezTo>
                      <a:pt x="0" y="5227"/>
                      <a:pt x="10226" y="0"/>
                      <a:pt x="23407" y="0"/>
                    </a:cubicBezTo>
                    <a:lnTo>
                      <a:pt x="39614" y="17833"/>
                    </a:lnTo>
                    <a:lnTo>
                      <a:pt x="54648" y="0"/>
                    </a:lnTo>
                    <a:cubicBezTo>
                      <a:pt x="67829" y="0"/>
                      <a:pt x="79216" y="5227"/>
                      <a:pt x="79216" y="19388"/>
                    </a:cubicBezTo>
                    <a:lnTo>
                      <a:pt x="79216" y="35583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50" name="Forma livre: Forma 549">
                <a:extLst>
                  <a:ext uri="{FF2B5EF4-FFF2-40B4-BE49-F238E27FC236}">
                    <a16:creationId xmlns:a16="http://schemas.microsoft.com/office/drawing/2014/main" id="{29497ABA-FF9A-2D7B-70C8-062C30FEEA9D}"/>
                  </a:ext>
                </a:extLst>
              </p:cNvPr>
              <p:cNvSpPr/>
              <p:nvPr/>
            </p:nvSpPr>
            <p:spPr>
              <a:xfrm>
                <a:off x="6912212" y="1056320"/>
                <a:ext cx="36647" cy="40857"/>
              </a:xfrm>
              <a:custGeom>
                <a:avLst/>
                <a:gdLst>
                  <a:gd name="connsiteX0" fmla="*/ 36647 w 36647"/>
                  <a:gd name="connsiteY0" fmla="*/ 22247 h 40857"/>
                  <a:gd name="connsiteX1" fmla="*/ 18324 w 36647"/>
                  <a:gd name="connsiteY1" fmla="*/ 40858 h 40857"/>
                  <a:gd name="connsiteX2" fmla="*/ 0 w 36647"/>
                  <a:gd name="connsiteY2" fmla="*/ 22247 h 40857"/>
                  <a:gd name="connsiteX3" fmla="*/ 0 w 36647"/>
                  <a:gd name="connsiteY3" fmla="*/ 18611 h 40857"/>
                  <a:gd name="connsiteX4" fmla="*/ 18324 w 36647"/>
                  <a:gd name="connsiteY4" fmla="*/ 0 h 40857"/>
                  <a:gd name="connsiteX5" fmla="*/ 36647 w 36647"/>
                  <a:gd name="connsiteY5" fmla="*/ 18611 h 40857"/>
                  <a:gd name="connsiteX6" fmla="*/ 36647 w 36647"/>
                  <a:gd name="connsiteY6" fmla="*/ 22247 h 408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6647" h="40857">
                    <a:moveTo>
                      <a:pt x="36647" y="22247"/>
                    </a:moveTo>
                    <a:cubicBezTo>
                      <a:pt x="36647" y="32473"/>
                      <a:pt x="28407" y="40858"/>
                      <a:pt x="18324" y="40858"/>
                    </a:cubicBezTo>
                    <a:cubicBezTo>
                      <a:pt x="8241" y="40858"/>
                      <a:pt x="0" y="32473"/>
                      <a:pt x="0" y="22247"/>
                    </a:cubicBezTo>
                    <a:lnTo>
                      <a:pt x="0" y="18611"/>
                    </a:lnTo>
                    <a:cubicBezTo>
                      <a:pt x="0" y="8384"/>
                      <a:pt x="8253" y="0"/>
                      <a:pt x="18324" y="0"/>
                    </a:cubicBezTo>
                    <a:cubicBezTo>
                      <a:pt x="28395" y="0"/>
                      <a:pt x="36647" y="8384"/>
                      <a:pt x="36647" y="18611"/>
                    </a:cubicBezTo>
                    <a:lnTo>
                      <a:pt x="36647" y="22247"/>
                    </a:ln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551" name="Forma livre: Forma 550">
              <a:extLst>
                <a:ext uri="{FF2B5EF4-FFF2-40B4-BE49-F238E27FC236}">
                  <a16:creationId xmlns:a16="http://schemas.microsoft.com/office/drawing/2014/main" id="{0C97EA22-1118-EB05-7698-E4459C0A56E8}"/>
                </a:ext>
              </a:extLst>
            </p:cNvPr>
            <p:cNvSpPr/>
            <p:nvPr/>
          </p:nvSpPr>
          <p:spPr>
            <a:xfrm>
              <a:off x="6821586" y="1000811"/>
              <a:ext cx="217899" cy="309601"/>
            </a:xfrm>
            <a:custGeom>
              <a:avLst/>
              <a:gdLst>
                <a:gd name="connsiteX0" fmla="*/ 108950 w 217899"/>
                <a:gd name="connsiteY0" fmla="*/ 0 h 309601"/>
                <a:gd name="connsiteX1" fmla="*/ 0 w 217899"/>
                <a:gd name="connsiteY1" fmla="*/ 108950 h 309601"/>
                <a:gd name="connsiteX2" fmla="*/ 108950 w 217899"/>
                <a:gd name="connsiteY2" fmla="*/ 309602 h 309601"/>
                <a:gd name="connsiteX3" fmla="*/ 217899 w 217899"/>
                <a:gd name="connsiteY3" fmla="*/ 108950 h 309601"/>
                <a:gd name="connsiteX4" fmla="*/ 108950 w 217899"/>
                <a:gd name="connsiteY4" fmla="*/ 0 h 3096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17899" h="309601">
                  <a:moveTo>
                    <a:pt x="108950" y="0"/>
                  </a:moveTo>
                  <a:cubicBezTo>
                    <a:pt x="48788" y="0"/>
                    <a:pt x="0" y="48776"/>
                    <a:pt x="0" y="108950"/>
                  </a:cubicBezTo>
                  <a:cubicBezTo>
                    <a:pt x="0" y="169124"/>
                    <a:pt x="108950" y="309602"/>
                    <a:pt x="108950" y="309602"/>
                  </a:cubicBezTo>
                  <a:cubicBezTo>
                    <a:pt x="108950" y="309602"/>
                    <a:pt x="217899" y="169124"/>
                    <a:pt x="217899" y="108950"/>
                  </a:cubicBezTo>
                  <a:cubicBezTo>
                    <a:pt x="217899" y="48776"/>
                    <a:pt x="169112" y="0"/>
                    <a:pt x="108950" y="0"/>
                  </a:cubicBez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552" name="Forma livre: Forma 551">
              <a:extLst>
                <a:ext uri="{FF2B5EF4-FFF2-40B4-BE49-F238E27FC236}">
                  <a16:creationId xmlns:a16="http://schemas.microsoft.com/office/drawing/2014/main" id="{3D03EB47-7F21-9B8D-10B1-10C736825AA7}"/>
                </a:ext>
              </a:extLst>
            </p:cNvPr>
            <p:cNvSpPr/>
            <p:nvPr/>
          </p:nvSpPr>
          <p:spPr>
            <a:xfrm>
              <a:off x="6897045" y="1340996"/>
              <a:ext cx="66979" cy="1196"/>
            </a:xfrm>
            <a:custGeom>
              <a:avLst/>
              <a:gdLst>
                <a:gd name="connsiteX0" fmla="*/ 0 w 66979"/>
                <a:gd name="connsiteY0" fmla="*/ 0 h 1196"/>
                <a:gd name="connsiteX1" fmla="*/ 66980 w 66979"/>
                <a:gd name="connsiteY1" fmla="*/ 0 h 11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6979" h="1196">
                  <a:moveTo>
                    <a:pt x="0" y="0"/>
                  </a:moveTo>
                  <a:lnTo>
                    <a:pt x="6698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553" name="Forma livre: Forma 552">
              <a:extLst>
                <a:ext uri="{FF2B5EF4-FFF2-40B4-BE49-F238E27FC236}">
                  <a16:creationId xmlns:a16="http://schemas.microsoft.com/office/drawing/2014/main" id="{CD90444D-A6A9-43C3-7B89-F102341E50BF}"/>
                </a:ext>
              </a:extLst>
            </p:cNvPr>
            <p:cNvSpPr/>
            <p:nvPr/>
          </p:nvSpPr>
          <p:spPr>
            <a:xfrm>
              <a:off x="6989908" y="1340996"/>
              <a:ext cx="19065" cy="1196"/>
            </a:xfrm>
            <a:custGeom>
              <a:avLst/>
              <a:gdLst>
                <a:gd name="connsiteX0" fmla="*/ 0 w 19065"/>
                <a:gd name="connsiteY0" fmla="*/ 0 h 1196"/>
                <a:gd name="connsiteX1" fmla="*/ 19065 w 19065"/>
                <a:gd name="connsiteY1" fmla="*/ 0 h 11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9065" h="1196">
                  <a:moveTo>
                    <a:pt x="0" y="0"/>
                  </a:moveTo>
                  <a:lnTo>
                    <a:pt x="19065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554" name="Forma livre: Forma 553">
              <a:extLst>
                <a:ext uri="{FF2B5EF4-FFF2-40B4-BE49-F238E27FC236}">
                  <a16:creationId xmlns:a16="http://schemas.microsoft.com/office/drawing/2014/main" id="{619E870D-3A0B-DB08-57D8-19E2F25772B8}"/>
                </a:ext>
              </a:extLst>
            </p:cNvPr>
            <p:cNvSpPr/>
            <p:nvPr/>
          </p:nvSpPr>
          <p:spPr>
            <a:xfrm>
              <a:off x="6851200" y="1030425"/>
              <a:ext cx="158682" cy="158682"/>
            </a:xfrm>
            <a:custGeom>
              <a:avLst/>
              <a:gdLst>
                <a:gd name="connsiteX0" fmla="*/ 34650 w 158682"/>
                <a:gd name="connsiteY0" fmla="*/ 13779 h 158682"/>
                <a:gd name="connsiteX1" fmla="*/ 79335 w 158682"/>
                <a:gd name="connsiteY1" fmla="*/ 0 h 158682"/>
                <a:gd name="connsiteX2" fmla="*/ 158682 w 158682"/>
                <a:gd name="connsiteY2" fmla="*/ 79347 h 158682"/>
                <a:gd name="connsiteX3" fmla="*/ 79335 w 158682"/>
                <a:gd name="connsiteY3" fmla="*/ 158682 h 158682"/>
                <a:gd name="connsiteX4" fmla="*/ 0 w 158682"/>
                <a:gd name="connsiteY4" fmla="*/ 79347 h 158682"/>
                <a:gd name="connsiteX5" fmla="*/ 9664 w 158682"/>
                <a:gd name="connsiteY5" fmla="*/ 41360 h 1586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58682" h="158682">
                  <a:moveTo>
                    <a:pt x="34650" y="13779"/>
                  </a:moveTo>
                  <a:cubicBezTo>
                    <a:pt x="47376" y="5083"/>
                    <a:pt x="62758" y="0"/>
                    <a:pt x="79335" y="0"/>
                  </a:cubicBezTo>
                  <a:cubicBezTo>
                    <a:pt x="123159" y="0"/>
                    <a:pt x="158682" y="35523"/>
                    <a:pt x="158682" y="79347"/>
                  </a:cubicBezTo>
                  <a:cubicBezTo>
                    <a:pt x="158682" y="123171"/>
                    <a:pt x="123159" y="158682"/>
                    <a:pt x="79335" y="158682"/>
                  </a:cubicBezTo>
                  <a:cubicBezTo>
                    <a:pt x="35511" y="158682"/>
                    <a:pt x="0" y="123159"/>
                    <a:pt x="0" y="79347"/>
                  </a:cubicBezTo>
                  <a:cubicBezTo>
                    <a:pt x="0" y="65580"/>
                    <a:pt x="3504" y="52639"/>
                    <a:pt x="9664" y="4136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555" name="Gráfico 9">
            <a:extLst>
              <a:ext uri="{FF2B5EF4-FFF2-40B4-BE49-F238E27FC236}">
                <a16:creationId xmlns:a16="http://schemas.microsoft.com/office/drawing/2014/main" id="{42770C41-B5AE-4189-5766-E2C0025760F9}"/>
              </a:ext>
            </a:extLst>
          </p:cNvPr>
          <p:cNvGrpSpPr/>
          <p:nvPr/>
        </p:nvGrpSpPr>
        <p:grpSpPr>
          <a:xfrm>
            <a:off x="7459065" y="987056"/>
            <a:ext cx="210435" cy="367694"/>
            <a:chOff x="7459065" y="987056"/>
            <a:chExt cx="210435" cy="367694"/>
          </a:xfrm>
          <a:noFill/>
        </p:grpSpPr>
        <p:sp>
          <p:nvSpPr>
            <p:cNvPr id="556" name="Forma livre: Forma 555">
              <a:extLst>
                <a:ext uri="{FF2B5EF4-FFF2-40B4-BE49-F238E27FC236}">
                  <a16:creationId xmlns:a16="http://schemas.microsoft.com/office/drawing/2014/main" id="{FA6F8D38-0B52-584D-35C2-B2628062A33F}"/>
                </a:ext>
              </a:extLst>
            </p:cNvPr>
            <p:cNvSpPr/>
            <p:nvPr/>
          </p:nvSpPr>
          <p:spPr>
            <a:xfrm>
              <a:off x="7515877" y="1144542"/>
              <a:ext cx="96809" cy="210208"/>
            </a:xfrm>
            <a:custGeom>
              <a:avLst/>
              <a:gdLst>
                <a:gd name="connsiteX0" fmla="*/ 75461 w 96809"/>
                <a:gd name="connsiteY0" fmla="*/ 210209 h 210208"/>
                <a:gd name="connsiteX1" fmla="*/ 77805 w 96809"/>
                <a:gd name="connsiteY1" fmla="*/ 111222 h 210208"/>
                <a:gd name="connsiteX2" fmla="*/ 96751 w 96809"/>
                <a:gd name="connsiteY2" fmla="*/ 90841 h 210208"/>
                <a:gd name="connsiteX3" fmla="*/ 89335 w 96809"/>
                <a:gd name="connsiteY3" fmla="*/ 17331 h 210208"/>
                <a:gd name="connsiteX4" fmla="*/ 70174 w 96809"/>
                <a:gd name="connsiteY4" fmla="*/ 0 h 210208"/>
                <a:gd name="connsiteX5" fmla="*/ 26637 w 96809"/>
                <a:gd name="connsiteY5" fmla="*/ 0 h 210208"/>
                <a:gd name="connsiteX6" fmla="*/ 7476 w 96809"/>
                <a:gd name="connsiteY6" fmla="*/ 17331 h 210208"/>
                <a:gd name="connsiteX7" fmla="*/ 61 w 96809"/>
                <a:gd name="connsiteY7" fmla="*/ 90841 h 210208"/>
                <a:gd name="connsiteX8" fmla="*/ 18994 w 96809"/>
                <a:gd name="connsiteY8" fmla="*/ 111222 h 210208"/>
                <a:gd name="connsiteX9" fmla="*/ 21339 w 96809"/>
                <a:gd name="connsiteY9" fmla="*/ 210209 h 2102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96809" h="210208">
                  <a:moveTo>
                    <a:pt x="75461" y="210209"/>
                  </a:moveTo>
                  <a:lnTo>
                    <a:pt x="77805" y="111222"/>
                  </a:lnTo>
                  <a:cubicBezTo>
                    <a:pt x="86883" y="107957"/>
                    <a:pt x="97707" y="100374"/>
                    <a:pt x="96751" y="90841"/>
                  </a:cubicBezTo>
                  <a:lnTo>
                    <a:pt x="89335" y="17331"/>
                  </a:lnTo>
                  <a:cubicBezTo>
                    <a:pt x="88378" y="7798"/>
                    <a:pt x="79743" y="0"/>
                    <a:pt x="70174" y="0"/>
                  </a:cubicBezTo>
                  <a:lnTo>
                    <a:pt x="26637" y="0"/>
                  </a:lnTo>
                  <a:cubicBezTo>
                    <a:pt x="17057" y="0"/>
                    <a:pt x="8421" y="7798"/>
                    <a:pt x="7476" y="17331"/>
                  </a:cubicBezTo>
                  <a:lnTo>
                    <a:pt x="61" y="90841"/>
                  </a:lnTo>
                  <a:cubicBezTo>
                    <a:pt x="-908" y="100374"/>
                    <a:pt x="9928" y="107957"/>
                    <a:pt x="18994" y="111222"/>
                  </a:cubicBezTo>
                  <a:lnTo>
                    <a:pt x="21339" y="210209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557" name="Forma livre: Forma 556">
              <a:extLst>
                <a:ext uri="{FF2B5EF4-FFF2-40B4-BE49-F238E27FC236}">
                  <a16:creationId xmlns:a16="http://schemas.microsoft.com/office/drawing/2014/main" id="{BF2F9927-6442-B572-E574-E3A556E9625C}"/>
                </a:ext>
              </a:extLst>
            </p:cNvPr>
            <p:cNvSpPr/>
            <p:nvPr/>
          </p:nvSpPr>
          <p:spPr>
            <a:xfrm>
              <a:off x="7538962" y="1067180"/>
              <a:ext cx="50653" cy="50665"/>
            </a:xfrm>
            <a:custGeom>
              <a:avLst/>
              <a:gdLst>
                <a:gd name="connsiteX0" fmla="*/ 50653 w 50653"/>
                <a:gd name="connsiteY0" fmla="*/ 25333 h 50665"/>
                <a:gd name="connsiteX1" fmla="*/ 25333 w 50653"/>
                <a:gd name="connsiteY1" fmla="*/ 50665 h 50665"/>
                <a:gd name="connsiteX2" fmla="*/ 0 w 50653"/>
                <a:gd name="connsiteY2" fmla="*/ 25333 h 50665"/>
                <a:gd name="connsiteX3" fmla="*/ 25333 w 50653"/>
                <a:gd name="connsiteY3" fmla="*/ 0 h 50665"/>
                <a:gd name="connsiteX4" fmla="*/ 50653 w 50653"/>
                <a:gd name="connsiteY4" fmla="*/ 25333 h 506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653" h="50665">
                  <a:moveTo>
                    <a:pt x="50653" y="25333"/>
                  </a:moveTo>
                  <a:cubicBezTo>
                    <a:pt x="50653" y="39327"/>
                    <a:pt x="39315" y="50665"/>
                    <a:pt x="25333" y="50665"/>
                  </a:cubicBezTo>
                  <a:cubicBezTo>
                    <a:pt x="11351" y="50665"/>
                    <a:pt x="0" y="39327"/>
                    <a:pt x="0" y="25333"/>
                  </a:cubicBezTo>
                  <a:cubicBezTo>
                    <a:pt x="0" y="11339"/>
                    <a:pt x="11339" y="0"/>
                    <a:pt x="25333" y="0"/>
                  </a:cubicBezTo>
                  <a:cubicBezTo>
                    <a:pt x="39327" y="0"/>
                    <a:pt x="50653" y="11339"/>
                    <a:pt x="50653" y="25333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558" name="Gráfico 9">
              <a:extLst>
                <a:ext uri="{FF2B5EF4-FFF2-40B4-BE49-F238E27FC236}">
                  <a16:creationId xmlns:a16="http://schemas.microsoft.com/office/drawing/2014/main" id="{9D17EECA-A334-0676-7216-A3319D87A20A}"/>
                </a:ext>
              </a:extLst>
            </p:cNvPr>
            <p:cNvGrpSpPr/>
            <p:nvPr/>
          </p:nvGrpSpPr>
          <p:grpSpPr>
            <a:xfrm>
              <a:off x="7459065" y="1092501"/>
              <a:ext cx="210435" cy="1196"/>
              <a:chOff x="7459065" y="1092501"/>
              <a:chExt cx="210435" cy="1196"/>
            </a:xfrm>
          </p:grpSpPr>
          <p:sp>
            <p:nvSpPr>
              <p:cNvPr id="559" name="Forma livre: Forma 558">
                <a:extLst>
                  <a:ext uri="{FF2B5EF4-FFF2-40B4-BE49-F238E27FC236}">
                    <a16:creationId xmlns:a16="http://schemas.microsoft.com/office/drawing/2014/main" id="{46A7BC16-98F5-3A15-B24D-686FDD4BF1CD}"/>
                  </a:ext>
                </a:extLst>
              </p:cNvPr>
              <p:cNvSpPr/>
              <p:nvPr/>
            </p:nvSpPr>
            <p:spPr>
              <a:xfrm>
                <a:off x="7618094" y="1092501"/>
                <a:ext cx="51406" cy="1196"/>
              </a:xfrm>
              <a:custGeom>
                <a:avLst/>
                <a:gdLst>
                  <a:gd name="connsiteX0" fmla="*/ 51407 w 51406"/>
                  <a:gd name="connsiteY0" fmla="*/ 0 h 1196"/>
                  <a:gd name="connsiteX1" fmla="*/ 0 w 51406"/>
                  <a:gd name="connsiteY1" fmla="*/ 0 h 11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1406" h="1196">
                    <a:moveTo>
                      <a:pt x="51407" y="0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60" name="Forma livre: Forma 559">
                <a:extLst>
                  <a:ext uri="{FF2B5EF4-FFF2-40B4-BE49-F238E27FC236}">
                    <a16:creationId xmlns:a16="http://schemas.microsoft.com/office/drawing/2014/main" id="{CB47C02F-672B-C5D7-1D61-1EA38DDA9400}"/>
                  </a:ext>
                </a:extLst>
              </p:cNvPr>
              <p:cNvSpPr/>
              <p:nvPr/>
            </p:nvSpPr>
            <p:spPr>
              <a:xfrm>
                <a:off x="7459065" y="1092501"/>
                <a:ext cx="51394" cy="1196"/>
              </a:xfrm>
              <a:custGeom>
                <a:avLst/>
                <a:gdLst>
                  <a:gd name="connsiteX0" fmla="*/ 51395 w 51394"/>
                  <a:gd name="connsiteY0" fmla="*/ 0 h 1196"/>
                  <a:gd name="connsiteX1" fmla="*/ 0 w 51394"/>
                  <a:gd name="connsiteY1" fmla="*/ 0 h 11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1394" h="1196">
                    <a:moveTo>
                      <a:pt x="51395" y="0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561" name="Forma livre: Forma 560">
              <a:extLst>
                <a:ext uri="{FF2B5EF4-FFF2-40B4-BE49-F238E27FC236}">
                  <a16:creationId xmlns:a16="http://schemas.microsoft.com/office/drawing/2014/main" id="{B01F6CCD-3F41-3B28-EC51-F8C3A7D72EC1}"/>
                </a:ext>
              </a:extLst>
            </p:cNvPr>
            <p:cNvSpPr/>
            <p:nvPr/>
          </p:nvSpPr>
          <p:spPr>
            <a:xfrm>
              <a:off x="7511010" y="1039240"/>
              <a:ext cx="106557" cy="89166"/>
            </a:xfrm>
            <a:custGeom>
              <a:avLst/>
              <a:gdLst>
                <a:gd name="connsiteX0" fmla="*/ 13779 w 106557"/>
                <a:gd name="connsiteY0" fmla="*/ 89035 h 89166"/>
                <a:gd name="connsiteX1" fmla="*/ 0 w 106557"/>
                <a:gd name="connsiteY1" fmla="*/ 53273 h 89166"/>
                <a:gd name="connsiteX2" fmla="*/ 53285 w 106557"/>
                <a:gd name="connsiteY2" fmla="*/ 0 h 89166"/>
                <a:gd name="connsiteX3" fmla="*/ 106558 w 106557"/>
                <a:gd name="connsiteY3" fmla="*/ 53273 h 89166"/>
                <a:gd name="connsiteX4" fmla="*/ 92635 w 106557"/>
                <a:gd name="connsiteY4" fmla="*/ 89167 h 891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6557" h="89166">
                  <a:moveTo>
                    <a:pt x="13779" y="89035"/>
                  </a:moveTo>
                  <a:cubicBezTo>
                    <a:pt x="5215" y="79586"/>
                    <a:pt x="0" y="67040"/>
                    <a:pt x="0" y="53273"/>
                  </a:cubicBezTo>
                  <a:cubicBezTo>
                    <a:pt x="0" y="23850"/>
                    <a:pt x="23862" y="0"/>
                    <a:pt x="53285" y="0"/>
                  </a:cubicBezTo>
                  <a:cubicBezTo>
                    <a:pt x="82708" y="0"/>
                    <a:pt x="106558" y="23850"/>
                    <a:pt x="106558" y="53273"/>
                  </a:cubicBezTo>
                  <a:cubicBezTo>
                    <a:pt x="106558" y="67099"/>
                    <a:pt x="101283" y="79694"/>
                    <a:pt x="92635" y="89167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562" name="Gráfico 9">
              <a:extLst>
                <a:ext uri="{FF2B5EF4-FFF2-40B4-BE49-F238E27FC236}">
                  <a16:creationId xmlns:a16="http://schemas.microsoft.com/office/drawing/2014/main" id="{AB4B86B3-78B6-7561-DF38-7E8762CA8C2B}"/>
                </a:ext>
              </a:extLst>
            </p:cNvPr>
            <p:cNvGrpSpPr/>
            <p:nvPr/>
          </p:nvGrpSpPr>
          <p:grpSpPr>
            <a:xfrm>
              <a:off x="7480893" y="1009123"/>
              <a:ext cx="166779" cy="140968"/>
              <a:chOff x="7480893" y="1009123"/>
              <a:chExt cx="166779" cy="140968"/>
            </a:xfrm>
            <a:noFill/>
          </p:grpSpPr>
          <p:sp>
            <p:nvSpPr>
              <p:cNvPr id="563" name="Forma livre: Forma 562">
                <a:extLst>
                  <a:ext uri="{FF2B5EF4-FFF2-40B4-BE49-F238E27FC236}">
                    <a16:creationId xmlns:a16="http://schemas.microsoft.com/office/drawing/2014/main" id="{14C3C6F0-AD1E-6EDF-B0D8-CC0E6C860088}"/>
                  </a:ext>
                </a:extLst>
              </p:cNvPr>
              <p:cNvSpPr/>
              <p:nvPr/>
            </p:nvSpPr>
            <p:spPr>
              <a:xfrm>
                <a:off x="7480893" y="1092513"/>
                <a:ext cx="22725" cy="57231"/>
              </a:xfrm>
              <a:custGeom>
                <a:avLst/>
                <a:gdLst>
                  <a:gd name="connsiteX0" fmla="*/ 22725 w 22725"/>
                  <a:gd name="connsiteY0" fmla="*/ 57232 h 57231"/>
                  <a:gd name="connsiteX1" fmla="*/ 0 w 22725"/>
                  <a:gd name="connsiteY1" fmla="*/ 0 h 572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2725" h="57231">
                    <a:moveTo>
                      <a:pt x="22725" y="57232"/>
                    </a:moveTo>
                    <a:cubicBezTo>
                      <a:pt x="8636" y="42305"/>
                      <a:pt x="0" y="22163"/>
                      <a:pt x="0" y="0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64" name="Forma livre: Forma 563">
                <a:extLst>
                  <a:ext uri="{FF2B5EF4-FFF2-40B4-BE49-F238E27FC236}">
                    <a16:creationId xmlns:a16="http://schemas.microsoft.com/office/drawing/2014/main" id="{73E50770-B82A-E4A3-DA92-1AB1AA124CEA}"/>
                  </a:ext>
                </a:extLst>
              </p:cNvPr>
              <p:cNvSpPr/>
              <p:nvPr/>
            </p:nvSpPr>
            <p:spPr>
              <a:xfrm>
                <a:off x="7483429" y="1011934"/>
                <a:ext cx="59288" cy="60078"/>
              </a:xfrm>
              <a:custGeom>
                <a:avLst/>
                <a:gdLst>
                  <a:gd name="connsiteX0" fmla="*/ 0 w 59288"/>
                  <a:gd name="connsiteY0" fmla="*/ 60078 h 60078"/>
                  <a:gd name="connsiteX1" fmla="*/ 59289 w 59288"/>
                  <a:gd name="connsiteY1" fmla="*/ 0 h 600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9288" h="60078">
                    <a:moveTo>
                      <a:pt x="0" y="60078"/>
                    </a:moveTo>
                    <a:cubicBezTo>
                      <a:pt x="7392" y="30847"/>
                      <a:pt x="30213" y="7762"/>
                      <a:pt x="59289" y="0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65" name="Forma livre: Forma 564">
                <a:extLst>
                  <a:ext uri="{FF2B5EF4-FFF2-40B4-BE49-F238E27FC236}">
                    <a16:creationId xmlns:a16="http://schemas.microsoft.com/office/drawing/2014/main" id="{83FA5A4B-C2D4-8E89-1838-5F066D519CE7}"/>
                  </a:ext>
                </a:extLst>
              </p:cNvPr>
              <p:cNvSpPr/>
              <p:nvPr/>
            </p:nvSpPr>
            <p:spPr>
              <a:xfrm>
                <a:off x="7624601" y="1092501"/>
                <a:ext cx="23072" cy="57590"/>
              </a:xfrm>
              <a:custGeom>
                <a:avLst/>
                <a:gdLst>
                  <a:gd name="connsiteX0" fmla="*/ 23072 w 23072"/>
                  <a:gd name="connsiteY0" fmla="*/ 0 h 57590"/>
                  <a:gd name="connsiteX1" fmla="*/ 0 w 23072"/>
                  <a:gd name="connsiteY1" fmla="*/ 57591 h 575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3072" h="57590">
                    <a:moveTo>
                      <a:pt x="23072" y="0"/>
                    </a:moveTo>
                    <a:cubicBezTo>
                      <a:pt x="23072" y="22331"/>
                      <a:pt x="14293" y="42616"/>
                      <a:pt x="0" y="57591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66" name="Forma livre: Forma 565">
                <a:extLst>
                  <a:ext uri="{FF2B5EF4-FFF2-40B4-BE49-F238E27FC236}">
                    <a16:creationId xmlns:a16="http://schemas.microsoft.com/office/drawing/2014/main" id="{3EFE630E-66BF-FA8C-6280-D4F30AA4E4D8}"/>
                  </a:ext>
                </a:extLst>
              </p:cNvPr>
              <p:cNvSpPr/>
              <p:nvPr/>
            </p:nvSpPr>
            <p:spPr>
              <a:xfrm>
                <a:off x="7564283" y="1009123"/>
                <a:ext cx="80806" cy="62745"/>
              </a:xfrm>
              <a:custGeom>
                <a:avLst/>
                <a:gdLst>
                  <a:gd name="connsiteX0" fmla="*/ 0 w 80806"/>
                  <a:gd name="connsiteY0" fmla="*/ 0 h 62745"/>
                  <a:gd name="connsiteX1" fmla="*/ 80806 w 80806"/>
                  <a:gd name="connsiteY1" fmla="*/ 62746 h 627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80806" h="62745">
                    <a:moveTo>
                      <a:pt x="0" y="0"/>
                    </a:moveTo>
                    <a:cubicBezTo>
                      <a:pt x="38920" y="0"/>
                      <a:pt x="71620" y="26684"/>
                      <a:pt x="80806" y="62746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567" name="Forma livre: Forma 566">
              <a:extLst>
                <a:ext uri="{FF2B5EF4-FFF2-40B4-BE49-F238E27FC236}">
                  <a16:creationId xmlns:a16="http://schemas.microsoft.com/office/drawing/2014/main" id="{CC20E715-E125-F8BC-E7E8-EC3F82C482F6}"/>
                </a:ext>
              </a:extLst>
            </p:cNvPr>
            <p:cNvSpPr/>
            <p:nvPr/>
          </p:nvSpPr>
          <p:spPr>
            <a:xfrm>
              <a:off x="7564283" y="987056"/>
              <a:ext cx="1196" cy="51406"/>
            </a:xfrm>
            <a:custGeom>
              <a:avLst/>
              <a:gdLst>
                <a:gd name="connsiteX0" fmla="*/ 0 w 1196"/>
                <a:gd name="connsiteY0" fmla="*/ 51407 h 51406"/>
                <a:gd name="connsiteX1" fmla="*/ 0 w 1196"/>
                <a:gd name="connsiteY1" fmla="*/ 0 h 514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96" h="51406">
                  <a:moveTo>
                    <a:pt x="0" y="51407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568" name="Gráfico 9">
            <a:extLst>
              <a:ext uri="{FF2B5EF4-FFF2-40B4-BE49-F238E27FC236}">
                <a16:creationId xmlns:a16="http://schemas.microsoft.com/office/drawing/2014/main" id="{4501E84F-2728-5FD6-3572-015B5B142F2D}"/>
              </a:ext>
            </a:extLst>
          </p:cNvPr>
          <p:cNvGrpSpPr/>
          <p:nvPr/>
        </p:nvGrpSpPr>
        <p:grpSpPr>
          <a:xfrm>
            <a:off x="6172692" y="3103484"/>
            <a:ext cx="291846" cy="330736"/>
            <a:chOff x="6172692" y="3103484"/>
            <a:chExt cx="291846" cy="330736"/>
          </a:xfrm>
          <a:noFill/>
        </p:grpSpPr>
        <p:grpSp>
          <p:nvGrpSpPr>
            <p:cNvPr id="569" name="Gráfico 9">
              <a:extLst>
                <a:ext uri="{FF2B5EF4-FFF2-40B4-BE49-F238E27FC236}">
                  <a16:creationId xmlns:a16="http://schemas.microsoft.com/office/drawing/2014/main" id="{DE7BD3D3-7F81-4188-1892-68515F0C72EE}"/>
                </a:ext>
              </a:extLst>
            </p:cNvPr>
            <p:cNvGrpSpPr/>
            <p:nvPr/>
          </p:nvGrpSpPr>
          <p:grpSpPr>
            <a:xfrm>
              <a:off x="6275474" y="3211716"/>
              <a:ext cx="86308" cy="104380"/>
              <a:chOff x="6275474" y="3211716"/>
              <a:chExt cx="86308" cy="104380"/>
            </a:xfrm>
            <a:noFill/>
          </p:grpSpPr>
          <p:sp>
            <p:nvSpPr>
              <p:cNvPr id="570" name="Forma livre: Forma 569">
                <a:extLst>
                  <a:ext uri="{FF2B5EF4-FFF2-40B4-BE49-F238E27FC236}">
                    <a16:creationId xmlns:a16="http://schemas.microsoft.com/office/drawing/2014/main" id="{ABE4D498-4C28-964B-772C-F26449F6F80E}"/>
                  </a:ext>
                </a:extLst>
              </p:cNvPr>
              <p:cNvSpPr/>
              <p:nvPr/>
            </p:nvSpPr>
            <p:spPr>
              <a:xfrm>
                <a:off x="6275474" y="3276650"/>
                <a:ext cx="86308" cy="39446"/>
              </a:xfrm>
              <a:custGeom>
                <a:avLst/>
                <a:gdLst>
                  <a:gd name="connsiteX0" fmla="*/ 0 w 86308"/>
                  <a:gd name="connsiteY0" fmla="*/ 39446 h 39446"/>
                  <a:gd name="connsiteX1" fmla="*/ 0 w 86308"/>
                  <a:gd name="connsiteY1" fmla="*/ 24782 h 39446"/>
                  <a:gd name="connsiteX2" fmla="*/ 25285 w 86308"/>
                  <a:gd name="connsiteY2" fmla="*/ 0 h 39446"/>
                  <a:gd name="connsiteX3" fmla="*/ 43166 w 86308"/>
                  <a:gd name="connsiteY3" fmla="*/ 19687 h 39446"/>
                  <a:gd name="connsiteX4" fmla="*/ 59755 w 86308"/>
                  <a:gd name="connsiteY4" fmla="*/ 0 h 39446"/>
                  <a:gd name="connsiteX5" fmla="*/ 86308 w 86308"/>
                  <a:gd name="connsiteY5" fmla="*/ 24782 h 39446"/>
                  <a:gd name="connsiteX6" fmla="*/ 86308 w 86308"/>
                  <a:gd name="connsiteY6" fmla="*/ 39446 h 394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86308" h="39446">
                    <a:moveTo>
                      <a:pt x="0" y="39446"/>
                    </a:moveTo>
                    <a:lnTo>
                      <a:pt x="0" y="24782"/>
                    </a:lnTo>
                    <a:cubicBezTo>
                      <a:pt x="0" y="9150"/>
                      <a:pt x="10741" y="0"/>
                      <a:pt x="25285" y="0"/>
                    </a:cubicBezTo>
                    <a:lnTo>
                      <a:pt x="43166" y="19687"/>
                    </a:lnTo>
                    <a:lnTo>
                      <a:pt x="59755" y="0"/>
                    </a:lnTo>
                    <a:cubicBezTo>
                      <a:pt x="74300" y="0"/>
                      <a:pt x="86308" y="9150"/>
                      <a:pt x="86308" y="24782"/>
                    </a:cubicBezTo>
                    <a:lnTo>
                      <a:pt x="86308" y="39446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71" name="Forma livre: Forma 570">
                <a:extLst>
                  <a:ext uri="{FF2B5EF4-FFF2-40B4-BE49-F238E27FC236}">
                    <a16:creationId xmlns:a16="http://schemas.microsoft.com/office/drawing/2014/main" id="{26A130A1-8E27-7637-5F93-4C42DE59E6BF}"/>
                  </a:ext>
                </a:extLst>
              </p:cNvPr>
              <p:cNvSpPr/>
              <p:nvPr/>
            </p:nvSpPr>
            <p:spPr>
              <a:xfrm>
                <a:off x="6297302" y="3211716"/>
                <a:ext cx="42639" cy="48404"/>
              </a:xfrm>
              <a:custGeom>
                <a:avLst/>
                <a:gdLst>
                  <a:gd name="connsiteX0" fmla="*/ 42640 w 42639"/>
                  <a:gd name="connsiteY0" fmla="*/ 26744 h 48404"/>
                  <a:gd name="connsiteX1" fmla="*/ 21326 w 42639"/>
                  <a:gd name="connsiteY1" fmla="*/ 48405 h 48404"/>
                  <a:gd name="connsiteX2" fmla="*/ 0 w 42639"/>
                  <a:gd name="connsiteY2" fmla="*/ 26744 h 48404"/>
                  <a:gd name="connsiteX3" fmla="*/ 0 w 42639"/>
                  <a:gd name="connsiteY3" fmla="*/ 21661 h 48404"/>
                  <a:gd name="connsiteX4" fmla="*/ 21326 w 42639"/>
                  <a:gd name="connsiteY4" fmla="*/ 0 h 48404"/>
                  <a:gd name="connsiteX5" fmla="*/ 42640 w 42639"/>
                  <a:gd name="connsiteY5" fmla="*/ 21661 h 48404"/>
                  <a:gd name="connsiteX6" fmla="*/ 42640 w 42639"/>
                  <a:gd name="connsiteY6" fmla="*/ 26744 h 484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2639" h="48404">
                    <a:moveTo>
                      <a:pt x="42640" y="26744"/>
                    </a:moveTo>
                    <a:cubicBezTo>
                      <a:pt x="42640" y="38657"/>
                      <a:pt x="33059" y="48405"/>
                      <a:pt x="21326" y="48405"/>
                    </a:cubicBezTo>
                    <a:cubicBezTo>
                      <a:pt x="9592" y="48405"/>
                      <a:pt x="0" y="38657"/>
                      <a:pt x="0" y="26744"/>
                    </a:cubicBezTo>
                    <a:lnTo>
                      <a:pt x="0" y="21661"/>
                    </a:lnTo>
                    <a:cubicBezTo>
                      <a:pt x="0" y="9748"/>
                      <a:pt x="9580" y="0"/>
                      <a:pt x="21326" y="0"/>
                    </a:cubicBezTo>
                    <a:cubicBezTo>
                      <a:pt x="33071" y="0"/>
                      <a:pt x="42640" y="9736"/>
                      <a:pt x="42640" y="21661"/>
                    </a:cubicBezTo>
                    <a:lnTo>
                      <a:pt x="42640" y="26744"/>
                    </a:ln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572" name="Gráfico 9">
              <a:extLst>
                <a:ext uri="{FF2B5EF4-FFF2-40B4-BE49-F238E27FC236}">
                  <a16:creationId xmlns:a16="http://schemas.microsoft.com/office/drawing/2014/main" id="{A56829A2-E303-D8E7-8930-03516BCC7E14}"/>
                </a:ext>
              </a:extLst>
            </p:cNvPr>
            <p:cNvGrpSpPr/>
            <p:nvPr/>
          </p:nvGrpSpPr>
          <p:grpSpPr>
            <a:xfrm>
              <a:off x="6232499" y="3147068"/>
              <a:ext cx="172233" cy="243555"/>
              <a:chOff x="6232499" y="3147068"/>
              <a:chExt cx="172233" cy="243555"/>
            </a:xfrm>
          </p:grpSpPr>
          <p:grpSp>
            <p:nvGrpSpPr>
              <p:cNvPr id="573" name="Gráfico 9">
                <a:extLst>
                  <a:ext uri="{FF2B5EF4-FFF2-40B4-BE49-F238E27FC236}">
                    <a16:creationId xmlns:a16="http://schemas.microsoft.com/office/drawing/2014/main" id="{8FECF31B-0D73-05E3-B303-59F4F2C26E9D}"/>
                  </a:ext>
                </a:extLst>
              </p:cNvPr>
              <p:cNvGrpSpPr/>
              <p:nvPr/>
            </p:nvGrpSpPr>
            <p:grpSpPr>
              <a:xfrm>
                <a:off x="6232499" y="3147068"/>
                <a:ext cx="172233" cy="27688"/>
                <a:chOff x="6232499" y="3147068"/>
                <a:chExt cx="172233" cy="27688"/>
              </a:xfrm>
            </p:grpSpPr>
            <p:sp>
              <p:nvSpPr>
                <p:cNvPr id="574" name="Forma livre: Forma 573">
                  <a:extLst>
                    <a:ext uri="{FF2B5EF4-FFF2-40B4-BE49-F238E27FC236}">
                      <a16:creationId xmlns:a16="http://schemas.microsoft.com/office/drawing/2014/main" id="{8D629DCF-D6F7-56EE-E121-F4BC9E41C8BD}"/>
                    </a:ext>
                  </a:extLst>
                </p:cNvPr>
                <p:cNvSpPr/>
                <p:nvPr/>
              </p:nvSpPr>
              <p:spPr>
                <a:xfrm>
                  <a:off x="6356866" y="3147068"/>
                  <a:ext cx="47866" cy="27688"/>
                </a:xfrm>
                <a:custGeom>
                  <a:avLst/>
                  <a:gdLst>
                    <a:gd name="connsiteX0" fmla="*/ 0 w 47866"/>
                    <a:gd name="connsiteY0" fmla="*/ 0 h 27688"/>
                    <a:gd name="connsiteX1" fmla="*/ 47867 w 47866"/>
                    <a:gd name="connsiteY1" fmla="*/ 27689 h 2768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7866" h="27688">
                      <a:moveTo>
                        <a:pt x="0" y="0"/>
                      </a:moveTo>
                      <a:lnTo>
                        <a:pt x="47867" y="27689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575" name="Forma livre: Forma 574">
                  <a:extLst>
                    <a:ext uri="{FF2B5EF4-FFF2-40B4-BE49-F238E27FC236}">
                      <a16:creationId xmlns:a16="http://schemas.microsoft.com/office/drawing/2014/main" id="{3CD7E71D-D7B2-F01E-7B82-B0831E645B75}"/>
                    </a:ext>
                  </a:extLst>
                </p:cNvPr>
                <p:cNvSpPr/>
                <p:nvPr/>
              </p:nvSpPr>
              <p:spPr>
                <a:xfrm>
                  <a:off x="6232499" y="3147068"/>
                  <a:ext cx="47866" cy="27688"/>
                </a:xfrm>
                <a:custGeom>
                  <a:avLst/>
                  <a:gdLst>
                    <a:gd name="connsiteX0" fmla="*/ 47867 w 47866"/>
                    <a:gd name="connsiteY0" fmla="*/ 0 h 27688"/>
                    <a:gd name="connsiteX1" fmla="*/ 0 w 47866"/>
                    <a:gd name="connsiteY1" fmla="*/ 27689 h 2768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7866" h="27688">
                      <a:moveTo>
                        <a:pt x="47867" y="0"/>
                      </a:moveTo>
                      <a:lnTo>
                        <a:pt x="0" y="27689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576" name="Gráfico 9">
                <a:extLst>
                  <a:ext uri="{FF2B5EF4-FFF2-40B4-BE49-F238E27FC236}">
                    <a16:creationId xmlns:a16="http://schemas.microsoft.com/office/drawing/2014/main" id="{32DFF994-AC66-24C0-7D5B-B889DC8103C3}"/>
                  </a:ext>
                </a:extLst>
              </p:cNvPr>
              <p:cNvGrpSpPr/>
              <p:nvPr/>
            </p:nvGrpSpPr>
            <p:grpSpPr>
              <a:xfrm>
                <a:off x="6232499" y="3362935"/>
                <a:ext cx="172233" cy="27688"/>
                <a:chOff x="6232499" y="3362935"/>
                <a:chExt cx="172233" cy="27688"/>
              </a:xfrm>
            </p:grpSpPr>
            <p:sp>
              <p:nvSpPr>
                <p:cNvPr id="577" name="Forma livre: Forma 576">
                  <a:extLst>
                    <a:ext uri="{FF2B5EF4-FFF2-40B4-BE49-F238E27FC236}">
                      <a16:creationId xmlns:a16="http://schemas.microsoft.com/office/drawing/2014/main" id="{84D01485-39FC-236D-F797-D2B2F3C52FAE}"/>
                    </a:ext>
                  </a:extLst>
                </p:cNvPr>
                <p:cNvSpPr/>
                <p:nvPr/>
              </p:nvSpPr>
              <p:spPr>
                <a:xfrm>
                  <a:off x="6356866" y="3362935"/>
                  <a:ext cx="47866" cy="27688"/>
                </a:xfrm>
                <a:custGeom>
                  <a:avLst/>
                  <a:gdLst>
                    <a:gd name="connsiteX0" fmla="*/ 0 w 47866"/>
                    <a:gd name="connsiteY0" fmla="*/ 27689 h 27688"/>
                    <a:gd name="connsiteX1" fmla="*/ 47867 w 47866"/>
                    <a:gd name="connsiteY1" fmla="*/ 0 h 2768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7866" h="27688">
                      <a:moveTo>
                        <a:pt x="0" y="27689"/>
                      </a:moveTo>
                      <a:lnTo>
                        <a:pt x="47867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578" name="Forma livre: Forma 577">
                  <a:extLst>
                    <a:ext uri="{FF2B5EF4-FFF2-40B4-BE49-F238E27FC236}">
                      <a16:creationId xmlns:a16="http://schemas.microsoft.com/office/drawing/2014/main" id="{59FF8362-DA3C-AEC2-ED90-552FAF06828C}"/>
                    </a:ext>
                  </a:extLst>
                </p:cNvPr>
                <p:cNvSpPr/>
                <p:nvPr/>
              </p:nvSpPr>
              <p:spPr>
                <a:xfrm>
                  <a:off x="6232499" y="3362935"/>
                  <a:ext cx="47866" cy="27688"/>
                </a:xfrm>
                <a:custGeom>
                  <a:avLst/>
                  <a:gdLst>
                    <a:gd name="connsiteX0" fmla="*/ 47867 w 47866"/>
                    <a:gd name="connsiteY0" fmla="*/ 27689 h 27688"/>
                    <a:gd name="connsiteX1" fmla="*/ 0 w 47866"/>
                    <a:gd name="connsiteY1" fmla="*/ 0 h 2768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7866" h="27688">
                      <a:moveTo>
                        <a:pt x="47867" y="27689"/>
                      </a:moveTo>
                      <a:lnTo>
                        <a:pt x="0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grpSp>
          <p:nvGrpSpPr>
            <p:cNvPr id="579" name="Gráfico 9">
              <a:extLst>
                <a:ext uri="{FF2B5EF4-FFF2-40B4-BE49-F238E27FC236}">
                  <a16:creationId xmlns:a16="http://schemas.microsoft.com/office/drawing/2014/main" id="{570DC9EC-6C90-9EB3-E49A-2414247E1E0E}"/>
                </a:ext>
              </a:extLst>
            </p:cNvPr>
            <p:cNvGrpSpPr/>
            <p:nvPr/>
          </p:nvGrpSpPr>
          <p:grpSpPr>
            <a:xfrm>
              <a:off x="6297421" y="3103484"/>
              <a:ext cx="42388" cy="330736"/>
              <a:chOff x="6297421" y="3103484"/>
              <a:chExt cx="42388" cy="330736"/>
            </a:xfrm>
            <a:noFill/>
          </p:grpSpPr>
          <p:grpSp>
            <p:nvGrpSpPr>
              <p:cNvPr id="580" name="Gráfico 9">
                <a:extLst>
                  <a:ext uri="{FF2B5EF4-FFF2-40B4-BE49-F238E27FC236}">
                    <a16:creationId xmlns:a16="http://schemas.microsoft.com/office/drawing/2014/main" id="{5B88093F-65DF-ECAB-D7BE-57B2A2633705}"/>
                  </a:ext>
                </a:extLst>
              </p:cNvPr>
              <p:cNvGrpSpPr/>
              <p:nvPr/>
            </p:nvGrpSpPr>
            <p:grpSpPr>
              <a:xfrm>
                <a:off x="6297421" y="3103484"/>
                <a:ext cx="42388" cy="77098"/>
                <a:chOff x="6297421" y="3103484"/>
                <a:chExt cx="42388" cy="77098"/>
              </a:xfrm>
              <a:noFill/>
            </p:grpSpPr>
            <p:sp>
              <p:nvSpPr>
                <p:cNvPr id="581" name="Forma livre: Forma 580">
                  <a:extLst>
                    <a:ext uri="{FF2B5EF4-FFF2-40B4-BE49-F238E27FC236}">
                      <a16:creationId xmlns:a16="http://schemas.microsoft.com/office/drawing/2014/main" id="{24CA5857-C61F-E838-55E2-8E9611DAE418}"/>
                    </a:ext>
                  </a:extLst>
                </p:cNvPr>
                <p:cNvSpPr/>
                <p:nvPr/>
              </p:nvSpPr>
              <p:spPr>
                <a:xfrm>
                  <a:off x="6297421" y="3103484"/>
                  <a:ext cx="42388" cy="42376"/>
                </a:xfrm>
                <a:custGeom>
                  <a:avLst/>
                  <a:gdLst>
                    <a:gd name="connsiteX0" fmla="*/ 42389 w 42388"/>
                    <a:gd name="connsiteY0" fmla="*/ 21182 h 42376"/>
                    <a:gd name="connsiteX1" fmla="*/ 21194 w 42388"/>
                    <a:gd name="connsiteY1" fmla="*/ 42377 h 42376"/>
                    <a:gd name="connsiteX2" fmla="*/ 0 w 42388"/>
                    <a:gd name="connsiteY2" fmla="*/ 21182 h 42376"/>
                    <a:gd name="connsiteX3" fmla="*/ 21194 w 42388"/>
                    <a:gd name="connsiteY3" fmla="*/ 0 h 42376"/>
                    <a:gd name="connsiteX4" fmla="*/ 42389 w 42388"/>
                    <a:gd name="connsiteY4" fmla="*/ 21182 h 4237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42388" h="42376">
                      <a:moveTo>
                        <a:pt x="42389" y="21182"/>
                      </a:moveTo>
                      <a:cubicBezTo>
                        <a:pt x="42389" y="32892"/>
                        <a:pt x="32904" y="42377"/>
                        <a:pt x="21194" y="42377"/>
                      </a:cubicBezTo>
                      <a:cubicBezTo>
                        <a:pt x="9485" y="42377"/>
                        <a:pt x="0" y="32880"/>
                        <a:pt x="0" y="21182"/>
                      </a:cubicBezTo>
                      <a:cubicBezTo>
                        <a:pt x="0" y="9485"/>
                        <a:pt x="9497" y="0"/>
                        <a:pt x="21194" y="0"/>
                      </a:cubicBezTo>
                      <a:cubicBezTo>
                        <a:pt x="32892" y="0"/>
                        <a:pt x="42389" y="9485"/>
                        <a:pt x="42389" y="21182"/>
                      </a:cubicBezTo>
                      <a:close/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582" name="Forma livre: Forma 581">
                  <a:extLst>
                    <a:ext uri="{FF2B5EF4-FFF2-40B4-BE49-F238E27FC236}">
                      <a16:creationId xmlns:a16="http://schemas.microsoft.com/office/drawing/2014/main" id="{D6F389D7-4959-2168-8976-449F16EEBCC2}"/>
                    </a:ext>
                  </a:extLst>
                </p:cNvPr>
                <p:cNvSpPr/>
                <p:nvPr/>
              </p:nvSpPr>
              <p:spPr>
                <a:xfrm>
                  <a:off x="6318616" y="3148229"/>
                  <a:ext cx="1196" cy="32353"/>
                </a:xfrm>
                <a:custGeom>
                  <a:avLst/>
                  <a:gdLst>
                    <a:gd name="connsiteX0" fmla="*/ 0 w 1196"/>
                    <a:gd name="connsiteY0" fmla="*/ 0 h 32353"/>
                    <a:gd name="connsiteX1" fmla="*/ 0 w 1196"/>
                    <a:gd name="connsiteY1" fmla="*/ 32354 h 3235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196" h="32353">
                      <a:moveTo>
                        <a:pt x="0" y="0"/>
                      </a:moveTo>
                      <a:lnTo>
                        <a:pt x="0" y="32354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583" name="Gráfico 9">
                <a:extLst>
                  <a:ext uri="{FF2B5EF4-FFF2-40B4-BE49-F238E27FC236}">
                    <a16:creationId xmlns:a16="http://schemas.microsoft.com/office/drawing/2014/main" id="{AE9700C9-616B-2397-AED4-EA79BB6D2093}"/>
                  </a:ext>
                </a:extLst>
              </p:cNvPr>
              <p:cNvGrpSpPr/>
              <p:nvPr/>
            </p:nvGrpSpPr>
            <p:grpSpPr>
              <a:xfrm>
                <a:off x="6297421" y="3357110"/>
                <a:ext cx="42388" cy="77110"/>
                <a:chOff x="6297421" y="3357110"/>
                <a:chExt cx="42388" cy="77110"/>
              </a:xfrm>
              <a:noFill/>
            </p:grpSpPr>
            <p:sp>
              <p:nvSpPr>
                <p:cNvPr id="584" name="Forma livre: Forma 583">
                  <a:extLst>
                    <a:ext uri="{FF2B5EF4-FFF2-40B4-BE49-F238E27FC236}">
                      <a16:creationId xmlns:a16="http://schemas.microsoft.com/office/drawing/2014/main" id="{041A70B9-4133-F6BE-A6EC-4DF5DDAB57EC}"/>
                    </a:ext>
                  </a:extLst>
                </p:cNvPr>
                <p:cNvSpPr/>
                <p:nvPr/>
              </p:nvSpPr>
              <p:spPr>
                <a:xfrm>
                  <a:off x="6297421" y="3391832"/>
                  <a:ext cx="42388" cy="42388"/>
                </a:xfrm>
                <a:custGeom>
                  <a:avLst/>
                  <a:gdLst>
                    <a:gd name="connsiteX0" fmla="*/ 42389 w 42388"/>
                    <a:gd name="connsiteY0" fmla="*/ 21194 h 42388"/>
                    <a:gd name="connsiteX1" fmla="*/ 21194 w 42388"/>
                    <a:gd name="connsiteY1" fmla="*/ 42389 h 42388"/>
                    <a:gd name="connsiteX2" fmla="*/ 0 w 42388"/>
                    <a:gd name="connsiteY2" fmla="*/ 21194 h 42388"/>
                    <a:gd name="connsiteX3" fmla="*/ 21194 w 42388"/>
                    <a:gd name="connsiteY3" fmla="*/ 0 h 42388"/>
                    <a:gd name="connsiteX4" fmla="*/ 42389 w 42388"/>
                    <a:gd name="connsiteY4" fmla="*/ 21194 h 4238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42388" h="42388">
                      <a:moveTo>
                        <a:pt x="42389" y="21194"/>
                      </a:moveTo>
                      <a:cubicBezTo>
                        <a:pt x="42389" y="32900"/>
                        <a:pt x="32900" y="42389"/>
                        <a:pt x="21194" y="42389"/>
                      </a:cubicBezTo>
                      <a:cubicBezTo>
                        <a:pt x="9489" y="42389"/>
                        <a:pt x="0" y="32900"/>
                        <a:pt x="0" y="21194"/>
                      </a:cubicBezTo>
                      <a:cubicBezTo>
                        <a:pt x="0" y="9489"/>
                        <a:pt x="9489" y="0"/>
                        <a:pt x="21194" y="0"/>
                      </a:cubicBezTo>
                      <a:cubicBezTo>
                        <a:pt x="32900" y="0"/>
                        <a:pt x="42389" y="9489"/>
                        <a:pt x="42389" y="21194"/>
                      </a:cubicBezTo>
                      <a:close/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585" name="Forma livre: Forma 584">
                  <a:extLst>
                    <a:ext uri="{FF2B5EF4-FFF2-40B4-BE49-F238E27FC236}">
                      <a16:creationId xmlns:a16="http://schemas.microsoft.com/office/drawing/2014/main" id="{309F07D2-8EBC-933D-41D6-22D05ED7158E}"/>
                    </a:ext>
                  </a:extLst>
                </p:cNvPr>
                <p:cNvSpPr/>
                <p:nvPr/>
              </p:nvSpPr>
              <p:spPr>
                <a:xfrm>
                  <a:off x="6318616" y="3357110"/>
                  <a:ext cx="1196" cy="32365"/>
                </a:xfrm>
                <a:custGeom>
                  <a:avLst/>
                  <a:gdLst>
                    <a:gd name="connsiteX0" fmla="*/ 0 w 1196"/>
                    <a:gd name="connsiteY0" fmla="*/ 32366 h 32365"/>
                    <a:gd name="connsiteX1" fmla="*/ 0 w 1196"/>
                    <a:gd name="connsiteY1" fmla="*/ 0 h 3236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196" h="32365">
                      <a:moveTo>
                        <a:pt x="0" y="32366"/>
                      </a:moveTo>
                      <a:lnTo>
                        <a:pt x="0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grpSp>
          <p:nvGrpSpPr>
            <p:cNvPr id="586" name="Gráfico 9">
              <a:extLst>
                <a:ext uri="{FF2B5EF4-FFF2-40B4-BE49-F238E27FC236}">
                  <a16:creationId xmlns:a16="http://schemas.microsoft.com/office/drawing/2014/main" id="{F56B188A-BF89-3AD0-7762-15DFFE6A7DCC}"/>
                </a:ext>
              </a:extLst>
            </p:cNvPr>
            <p:cNvGrpSpPr/>
            <p:nvPr/>
          </p:nvGrpSpPr>
          <p:grpSpPr>
            <a:xfrm>
              <a:off x="6172692" y="3175317"/>
              <a:ext cx="291846" cy="187055"/>
              <a:chOff x="6172692" y="3175317"/>
              <a:chExt cx="291846" cy="187055"/>
            </a:xfrm>
            <a:noFill/>
          </p:grpSpPr>
          <p:grpSp>
            <p:nvGrpSpPr>
              <p:cNvPr id="587" name="Gráfico 9">
                <a:extLst>
                  <a:ext uri="{FF2B5EF4-FFF2-40B4-BE49-F238E27FC236}">
                    <a16:creationId xmlns:a16="http://schemas.microsoft.com/office/drawing/2014/main" id="{8551147E-8535-3327-43B7-92AC034DA2F9}"/>
                  </a:ext>
                </a:extLst>
              </p:cNvPr>
              <p:cNvGrpSpPr/>
              <p:nvPr/>
            </p:nvGrpSpPr>
            <p:grpSpPr>
              <a:xfrm>
                <a:off x="6172692" y="3175317"/>
                <a:ext cx="291846" cy="49244"/>
                <a:chOff x="6172692" y="3175317"/>
                <a:chExt cx="291846" cy="49244"/>
              </a:xfrm>
              <a:noFill/>
            </p:grpSpPr>
            <p:grpSp>
              <p:nvGrpSpPr>
                <p:cNvPr id="588" name="Gráfico 9">
                  <a:extLst>
                    <a:ext uri="{FF2B5EF4-FFF2-40B4-BE49-F238E27FC236}">
                      <a16:creationId xmlns:a16="http://schemas.microsoft.com/office/drawing/2014/main" id="{44E19D23-8876-0904-9116-EFD8ED6A64A0}"/>
                    </a:ext>
                  </a:extLst>
                </p:cNvPr>
                <p:cNvGrpSpPr/>
                <p:nvPr/>
              </p:nvGrpSpPr>
              <p:grpSpPr>
                <a:xfrm>
                  <a:off x="6394961" y="3175317"/>
                  <a:ext cx="69578" cy="49244"/>
                  <a:chOff x="6394961" y="3175317"/>
                  <a:chExt cx="69578" cy="49244"/>
                </a:xfrm>
                <a:noFill/>
              </p:grpSpPr>
              <p:sp>
                <p:nvSpPr>
                  <p:cNvPr id="589" name="Forma livre: Forma 588">
                    <a:extLst>
                      <a:ext uri="{FF2B5EF4-FFF2-40B4-BE49-F238E27FC236}">
                        <a16:creationId xmlns:a16="http://schemas.microsoft.com/office/drawing/2014/main" id="{8F6A328E-B0C9-8C54-A68F-4E116C67EED8}"/>
                      </a:ext>
                    </a:extLst>
                  </p:cNvPr>
                  <p:cNvSpPr/>
                  <p:nvPr/>
                </p:nvSpPr>
                <p:spPr>
                  <a:xfrm>
                    <a:off x="6422138" y="3175317"/>
                    <a:ext cx="42401" cy="42385"/>
                  </a:xfrm>
                  <a:custGeom>
                    <a:avLst/>
                    <a:gdLst>
                      <a:gd name="connsiteX0" fmla="*/ 31825 w 42401"/>
                      <a:gd name="connsiteY0" fmla="*/ 39521 h 42385"/>
                      <a:gd name="connsiteX1" fmla="*/ 2856 w 42401"/>
                      <a:gd name="connsiteY1" fmla="*/ 31830 h 42385"/>
                      <a:gd name="connsiteX2" fmla="*/ 10571 w 42401"/>
                      <a:gd name="connsiteY2" fmla="*/ 2861 h 42385"/>
                      <a:gd name="connsiteX3" fmla="*/ 39540 w 42401"/>
                      <a:gd name="connsiteY3" fmla="*/ 10576 h 42385"/>
                      <a:gd name="connsiteX4" fmla="*/ 31825 w 42401"/>
                      <a:gd name="connsiteY4" fmla="*/ 39533 h 4238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42401" h="42385">
                        <a:moveTo>
                          <a:pt x="31825" y="39521"/>
                        </a:moveTo>
                        <a:cubicBezTo>
                          <a:pt x="21706" y="45394"/>
                          <a:pt x="8741" y="41949"/>
                          <a:pt x="2856" y="31830"/>
                        </a:cubicBezTo>
                        <a:cubicBezTo>
                          <a:pt x="-3005" y="21711"/>
                          <a:pt x="440" y="8746"/>
                          <a:pt x="10571" y="2861"/>
                        </a:cubicBezTo>
                        <a:cubicBezTo>
                          <a:pt x="20701" y="-3011"/>
                          <a:pt x="33667" y="445"/>
                          <a:pt x="39540" y="10576"/>
                        </a:cubicBezTo>
                        <a:cubicBezTo>
                          <a:pt x="45412" y="20707"/>
                          <a:pt x="41956" y="33660"/>
                          <a:pt x="31825" y="39533"/>
                        </a:cubicBezTo>
                        <a:close/>
                      </a:path>
                    </a:pathLst>
                  </a:custGeom>
                  <a:noFill/>
                  <a:ln w="6350" cap="flat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590" name="Forma livre: Forma 589">
                    <a:extLst>
                      <a:ext uri="{FF2B5EF4-FFF2-40B4-BE49-F238E27FC236}">
                        <a16:creationId xmlns:a16="http://schemas.microsoft.com/office/drawing/2014/main" id="{E01C50EF-F031-6EF1-E6F9-0A6407B63D64}"/>
                      </a:ext>
                    </a:extLst>
                  </p:cNvPr>
                  <p:cNvSpPr/>
                  <p:nvPr/>
                </p:nvSpPr>
                <p:spPr>
                  <a:xfrm>
                    <a:off x="6394961" y="3208331"/>
                    <a:ext cx="27999" cy="16230"/>
                  </a:xfrm>
                  <a:custGeom>
                    <a:avLst/>
                    <a:gdLst>
                      <a:gd name="connsiteX0" fmla="*/ 28000 w 27999"/>
                      <a:gd name="connsiteY0" fmla="*/ 0 h 16230"/>
                      <a:gd name="connsiteX1" fmla="*/ 0 w 27999"/>
                      <a:gd name="connsiteY1" fmla="*/ 16231 h 1623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27999" h="16230">
                        <a:moveTo>
                          <a:pt x="28000" y="0"/>
                        </a:moveTo>
                        <a:lnTo>
                          <a:pt x="0" y="16231"/>
                        </a:lnTo>
                      </a:path>
                    </a:pathLst>
                  </a:custGeom>
                  <a:ln w="6350" cap="flat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  <p:grpSp>
              <p:nvGrpSpPr>
                <p:cNvPr id="591" name="Gráfico 9">
                  <a:extLst>
                    <a:ext uri="{FF2B5EF4-FFF2-40B4-BE49-F238E27FC236}">
                      <a16:creationId xmlns:a16="http://schemas.microsoft.com/office/drawing/2014/main" id="{416A0677-786F-EB85-232D-C58507B4597D}"/>
                    </a:ext>
                  </a:extLst>
                </p:cNvPr>
                <p:cNvGrpSpPr/>
                <p:nvPr/>
              </p:nvGrpSpPr>
              <p:grpSpPr>
                <a:xfrm>
                  <a:off x="6172692" y="3175317"/>
                  <a:ext cx="69578" cy="49244"/>
                  <a:chOff x="6172692" y="3175317"/>
                  <a:chExt cx="69578" cy="49244"/>
                </a:xfrm>
                <a:noFill/>
              </p:grpSpPr>
              <p:sp>
                <p:nvSpPr>
                  <p:cNvPr id="592" name="Forma livre: Forma 591">
                    <a:extLst>
                      <a:ext uri="{FF2B5EF4-FFF2-40B4-BE49-F238E27FC236}">
                        <a16:creationId xmlns:a16="http://schemas.microsoft.com/office/drawing/2014/main" id="{ECD8AFC8-3C06-A7BB-DB0B-20D9DB142133}"/>
                      </a:ext>
                    </a:extLst>
                  </p:cNvPr>
                  <p:cNvSpPr/>
                  <p:nvPr/>
                </p:nvSpPr>
                <p:spPr>
                  <a:xfrm>
                    <a:off x="6172692" y="3175317"/>
                    <a:ext cx="42406" cy="42385"/>
                  </a:xfrm>
                  <a:custGeom>
                    <a:avLst/>
                    <a:gdLst>
                      <a:gd name="connsiteX0" fmla="*/ 10577 w 42406"/>
                      <a:gd name="connsiteY0" fmla="*/ 39521 h 42385"/>
                      <a:gd name="connsiteX1" fmla="*/ 39545 w 42406"/>
                      <a:gd name="connsiteY1" fmla="*/ 31830 h 42385"/>
                      <a:gd name="connsiteX2" fmla="*/ 31831 w 42406"/>
                      <a:gd name="connsiteY2" fmla="*/ 2861 h 42385"/>
                      <a:gd name="connsiteX3" fmla="*/ 2862 w 42406"/>
                      <a:gd name="connsiteY3" fmla="*/ 10576 h 42385"/>
                      <a:gd name="connsiteX4" fmla="*/ 10565 w 42406"/>
                      <a:gd name="connsiteY4" fmla="*/ 39533 h 4238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42406" h="42385">
                        <a:moveTo>
                          <a:pt x="10577" y="39521"/>
                        </a:moveTo>
                        <a:cubicBezTo>
                          <a:pt x="20695" y="45394"/>
                          <a:pt x="33661" y="41949"/>
                          <a:pt x="39545" y="31830"/>
                        </a:cubicBezTo>
                        <a:cubicBezTo>
                          <a:pt x="45418" y="21711"/>
                          <a:pt x="41961" y="8746"/>
                          <a:pt x="31831" y="2861"/>
                        </a:cubicBezTo>
                        <a:cubicBezTo>
                          <a:pt x="21700" y="-3011"/>
                          <a:pt x="8747" y="445"/>
                          <a:pt x="2862" y="10576"/>
                        </a:cubicBezTo>
                        <a:cubicBezTo>
                          <a:pt x="-3011" y="20707"/>
                          <a:pt x="446" y="33660"/>
                          <a:pt x="10565" y="39533"/>
                        </a:cubicBezTo>
                        <a:close/>
                      </a:path>
                    </a:pathLst>
                  </a:custGeom>
                  <a:noFill/>
                  <a:ln w="6350" cap="flat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593" name="Forma livre: Forma 592">
                    <a:extLst>
                      <a:ext uri="{FF2B5EF4-FFF2-40B4-BE49-F238E27FC236}">
                        <a16:creationId xmlns:a16="http://schemas.microsoft.com/office/drawing/2014/main" id="{C27EBA61-E5C6-E332-740F-0620A30F7BAD}"/>
                      </a:ext>
                    </a:extLst>
                  </p:cNvPr>
                  <p:cNvSpPr/>
                  <p:nvPr/>
                </p:nvSpPr>
                <p:spPr>
                  <a:xfrm>
                    <a:off x="6214271" y="3208331"/>
                    <a:ext cx="27999" cy="16230"/>
                  </a:xfrm>
                  <a:custGeom>
                    <a:avLst/>
                    <a:gdLst>
                      <a:gd name="connsiteX0" fmla="*/ 0 w 27999"/>
                      <a:gd name="connsiteY0" fmla="*/ 0 h 16230"/>
                      <a:gd name="connsiteX1" fmla="*/ 28000 w 27999"/>
                      <a:gd name="connsiteY1" fmla="*/ 16231 h 1623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27999" h="16230">
                        <a:moveTo>
                          <a:pt x="0" y="0"/>
                        </a:moveTo>
                        <a:lnTo>
                          <a:pt x="28000" y="16231"/>
                        </a:lnTo>
                      </a:path>
                    </a:pathLst>
                  </a:custGeom>
                  <a:ln w="6350" cap="flat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</p:grpSp>
          <p:grpSp>
            <p:nvGrpSpPr>
              <p:cNvPr id="594" name="Gráfico 9">
                <a:extLst>
                  <a:ext uri="{FF2B5EF4-FFF2-40B4-BE49-F238E27FC236}">
                    <a16:creationId xmlns:a16="http://schemas.microsoft.com/office/drawing/2014/main" id="{2D28747A-D3D1-2E13-E44A-89E0AA8385AB}"/>
                  </a:ext>
                </a:extLst>
              </p:cNvPr>
              <p:cNvGrpSpPr/>
              <p:nvPr/>
            </p:nvGrpSpPr>
            <p:grpSpPr>
              <a:xfrm>
                <a:off x="6172704" y="3313130"/>
                <a:ext cx="291834" cy="49241"/>
                <a:chOff x="6172704" y="3313130"/>
                <a:chExt cx="291834" cy="49241"/>
              </a:xfrm>
              <a:noFill/>
            </p:grpSpPr>
            <p:grpSp>
              <p:nvGrpSpPr>
                <p:cNvPr id="595" name="Gráfico 9">
                  <a:extLst>
                    <a:ext uri="{FF2B5EF4-FFF2-40B4-BE49-F238E27FC236}">
                      <a16:creationId xmlns:a16="http://schemas.microsoft.com/office/drawing/2014/main" id="{232EDA18-2579-DC16-E097-6F58D63A9271}"/>
                    </a:ext>
                  </a:extLst>
                </p:cNvPr>
                <p:cNvGrpSpPr/>
                <p:nvPr/>
              </p:nvGrpSpPr>
              <p:grpSpPr>
                <a:xfrm>
                  <a:off x="6172704" y="3313130"/>
                  <a:ext cx="69566" cy="49241"/>
                  <a:chOff x="6172704" y="3313130"/>
                  <a:chExt cx="69566" cy="49241"/>
                </a:xfrm>
                <a:noFill/>
              </p:grpSpPr>
              <p:sp>
                <p:nvSpPr>
                  <p:cNvPr id="596" name="Forma livre: Forma 595">
                    <a:extLst>
                      <a:ext uri="{FF2B5EF4-FFF2-40B4-BE49-F238E27FC236}">
                        <a16:creationId xmlns:a16="http://schemas.microsoft.com/office/drawing/2014/main" id="{892E5A09-623F-0312-C26E-5EFE0CADDBAF}"/>
                      </a:ext>
                    </a:extLst>
                  </p:cNvPr>
                  <p:cNvSpPr/>
                  <p:nvPr/>
                </p:nvSpPr>
                <p:spPr>
                  <a:xfrm>
                    <a:off x="6172704" y="3319980"/>
                    <a:ext cx="42394" cy="42391"/>
                  </a:xfrm>
                  <a:custGeom>
                    <a:avLst/>
                    <a:gdLst>
                      <a:gd name="connsiteX0" fmla="*/ 10565 w 42394"/>
                      <a:gd name="connsiteY0" fmla="*/ 2862 h 42391"/>
                      <a:gd name="connsiteX1" fmla="*/ 39533 w 42394"/>
                      <a:gd name="connsiteY1" fmla="*/ 10565 h 42391"/>
                      <a:gd name="connsiteX2" fmla="*/ 31819 w 42394"/>
                      <a:gd name="connsiteY2" fmla="*/ 39521 h 42391"/>
                      <a:gd name="connsiteX3" fmla="*/ 2862 w 42394"/>
                      <a:gd name="connsiteY3" fmla="*/ 31831 h 42391"/>
                      <a:gd name="connsiteX4" fmla="*/ 10565 w 42394"/>
                      <a:gd name="connsiteY4" fmla="*/ 2850 h 4239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42394" h="42391">
                        <a:moveTo>
                          <a:pt x="10565" y="2862"/>
                        </a:moveTo>
                        <a:cubicBezTo>
                          <a:pt x="20683" y="-3011"/>
                          <a:pt x="33661" y="446"/>
                          <a:pt x="39533" y="10565"/>
                        </a:cubicBezTo>
                        <a:cubicBezTo>
                          <a:pt x="45406" y="20695"/>
                          <a:pt x="41949" y="33649"/>
                          <a:pt x="31819" y="39521"/>
                        </a:cubicBezTo>
                        <a:cubicBezTo>
                          <a:pt x="21688" y="45406"/>
                          <a:pt x="8735" y="41949"/>
                          <a:pt x="2862" y="31831"/>
                        </a:cubicBezTo>
                        <a:cubicBezTo>
                          <a:pt x="-3011" y="21700"/>
                          <a:pt x="446" y="8723"/>
                          <a:pt x="10565" y="2850"/>
                        </a:cubicBezTo>
                        <a:close/>
                      </a:path>
                    </a:pathLst>
                  </a:custGeom>
                  <a:noFill/>
                  <a:ln w="6350" cap="flat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597" name="Forma livre: Forma 596">
                    <a:extLst>
                      <a:ext uri="{FF2B5EF4-FFF2-40B4-BE49-F238E27FC236}">
                        <a16:creationId xmlns:a16="http://schemas.microsoft.com/office/drawing/2014/main" id="{B8E7CCEE-51D4-E18E-E6AB-BD9BB06434F4}"/>
                      </a:ext>
                    </a:extLst>
                  </p:cNvPr>
                  <p:cNvSpPr/>
                  <p:nvPr/>
                </p:nvSpPr>
                <p:spPr>
                  <a:xfrm>
                    <a:off x="6214271" y="3313130"/>
                    <a:ext cx="27999" cy="16242"/>
                  </a:xfrm>
                  <a:custGeom>
                    <a:avLst/>
                    <a:gdLst>
                      <a:gd name="connsiteX0" fmla="*/ 0 w 27999"/>
                      <a:gd name="connsiteY0" fmla="*/ 16243 h 16242"/>
                      <a:gd name="connsiteX1" fmla="*/ 28000 w 27999"/>
                      <a:gd name="connsiteY1" fmla="*/ 0 h 1624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27999" h="16242">
                        <a:moveTo>
                          <a:pt x="0" y="16243"/>
                        </a:moveTo>
                        <a:lnTo>
                          <a:pt x="28000" y="0"/>
                        </a:lnTo>
                      </a:path>
                    </a:pathLst>
                  </a:custGeom>
                  <a:ln w="6350" cap="flat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  <p:grpSp>
              <p:nvGrpSpPr>
                <p:cNvPr id="598" name="Gráfico 9">
                  <a:extLst>
                    <a:ext uri="{FF2B5EF4-FFF2-40B4-BE49-F238E27FC236}">
                      <a16:creationId xmlns:a16="http://schemas.microsoft.com/office/drawing/2014/main" id="{3214E43D-4AC3-0D39-3BE7-43AF7FDECABF}"/>
                    </a:ext>
                  </a:extLst>
                </p:cNvPr>
                <p:cNvGrpSpPr/>
                <p:nvPr/>
              </p:nvGrpSpPr>
              <p:grpSpPr>
                <a:xfrm>
                  <a:off x="6394961" y="3313130"/>
                  <a:ext cx="69578" cy="49241"/>
                  <a:chOff x="6394961" y="3313130"/>
                  <a:chExt cx="69578" cy="49241"/>
                </a:xfrm>
                <a:noFill/>
              </p:grpSpPr>
              <p:sp>
                <p:nvSpPr>
                  <p:cNvPr id="599" name="Forma livre: Forma 598">
                    <a:extLst>
                      <a:ext uri="{FF2B5EF4-FFF2-40B4-BE49-F238E27FC236}">
                        <a16:creationId xmlns:a16="http://schemas.microsoft.com/office/drawing/2014/main" id="{95FD0A64-766F-9E9F-6FAF-E0E87FD9F7A8}"/>
                      </a:ext>
                    </a:extLst>
                  </p:cNvPr>
                  <p:cNvSpPr/>
                  <p:nvPr/>
                </p:nvSpPr>
                <p:spPr>
                  <a:xfrm>
                    <a:off x="6422132" y="3319980"/>
                    <a:ext cx="42406" cy="42391"/>
                  </a:xfrm>
                  <a:custGeom>
                    <a:avLst/>
                    <a:gdLst>
                      <a:gd name="connsiteX0" fmla="*/ 31830 w 42406"/>
                      <a:gd name="connsiteY0" fmla="*/ 2862 h 42391"/>
                      <a:gd name="connsiteX1" fmla="*/ 2861 w 42406"/>
                      <a:gd name="connsiteY1" fmla="*/ 10565 h 42391"/>
                      <a:gd name="connsiteX2" fmla="*/ 10576 w 42406"/>
                      <a:gd name="connsiteY2" fmla="*/ 39521 h 42391"/>
                      <a:gd name="connsiteX3" fmla="*/ 39545 w 42406"/>
                      <a:gd name="connsiteY3" fmla="*/ 31831 h 42391"/>
                      <a:gd name="connsiteX4" fmla="*/ 31842 w 42406"/>
                      <a:gd name="connsiteY4" fmla="*/ 2850 h 4239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42406" h="42391">
                        <a:moveTo>
                          <a:pt x="31830" y="2862"/>
                        </a:moveTo>
                        <a:cubicBezTo>
                          <a:pt x="21712" y="-3011"/>
                          <a:pt x="8746" y="446"/>
                          <a:pt x="2861" y="10565"/>
                        </a:cubicBezTo>
                        <a:cubicBezTo>
                          <a:pt x="-3011" y="20695"/>
                          <a:pt x="445" y="33649"/>
                          <a:pt x="10576" y="39521"/>
                        </a:cubicBezTo>
                        <a:cubicBezTo>
                          <a:pt x="20707" y="45406"/>
                          <a:pt x="33672" y="41949"/>
                          <a:pt x="39545" y="31831"/>
                        </a:cubicBezTo>
                        <a:cubicBezTo>
                          <a:pt x="45418" y="21700"/>
                          <a:pt x="41961" y="8723"/>
                          <a:pt x="31842" y="2850"/>
                        </a:cubicBezTo>
                        <a:close/>
                      </a:path>
                    </a:pathLst>
                  </a:custGeom>
                  <a:noFill/>
                  <a:ln w="6350" cap="flat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600" name="Forma livre: Forma 599">
                    <a:extLst>
                      <a:ext uri="{FF2B5EF4-FFF2-40B4-BE49-F238E27FC236}">
                        <a16:creationId xmlns:a16="http://schemas.microsoft.com/office/drawing/2014/main" id="{C75BF2D9-D66E-39D8-483B-4493EB063CEE}"/>
                      </a:ext>
                    </a:extLst>
                  </p:cNvPr>
                  <p:cNvSpPr/>
                  <p:nvPr/>
                </p:nvSpPr>
                <p:spPr>
                  <a:xfrm>
                    <a:off x="6394961" y="3313130"/>
                    <a:ext cx="27999" cy="16242"/>
                  </a:xfrm>
                  <a:custGeom>
                    <a:avLst/>
                    <a:gdLst>
                      <a:gd name="connsiteX0" fmla="*/ 28000 w 27999"/>
                      <a:gd name="connsiteY0" fmla="*/ 16243 h 16242"/>
                      <a:gd name="connsiteX1" fmla="*/ 0 w 27999"/>
                      <a:gd name="connsiteY1" fmla="*/ 0 h 1624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27999" h="16242">
                        <a:moveTo>
                          <a:pt x="28000" y="16243"/>
                        </a:moveTo>
                        <a:lnTo>
                          <a:pt x="0" y="0"/>
                        </a:lnTo>
                      </a:path>
                    </a:pathLst>
                  </a:custGeom>
                  <a:ln w="6350" cap="flat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</p:grpSp>
        </p:grpSp>
        <p:sp>
          <p:nvSpPr>
            <p:cNvPr id="601" name="Forma livre: Forma 600">
              <a:extLst>
                <a:ext uri="{FF2B5EF4-FFF2-40B4-BE49-F238E27FC236}">
                  <a16:creationId xmlns:a16="http://schemas.microsoft.com/office/drawing/2014/main" id="{D46DED1B-6292-5B90-173C-6B3FB84AD3E1}"/>
                </a:ext>
              </a:extLst>
            </p:cNvPr>
            <p:cNvSpPr/>
            <p:nvPr/>
          </p:nvSpPr>
          <p:spPr>
            <a:xfrm>
              <a:off x="6231052" y="3181288"/>
              <a:ext cx="175128" cy="175116"/>
            </a:xfrm>
            <a:custGeom>
              <a:avLst/>
              <a:gdLst>
                <a:gd name="connsiteX0" fmla="*/ 175128 w 175128"/>
                <a:gd name="connsiteY0" fmla="*/ 87564 h 175116"/>
                <a:gd name="connsiteX1" fmla="*/ 87552 w 175128"/>
                <a:gd name="connsiteY1" fmla="*/ 175116 h 175116"/>
                <a:gd name="connsiteX2" fmla="*/ 0 w 175128"/>
                <a:gd name="connsiteY2" fmla="*/ 87564 h 175116"/>
                <a:gd name="connsiteX3" fmla="*/ 87552 w 175128"/>
                <a:gd name="connsiteY3" fmla="*/ 0 h 175116"/>
                <a:gd name="connsiteX4" fmla="*/ 175128 w 175128"/>
                <a:gd name="connsiteY4" fmla="*/ 87564 h 1751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5128" h="175116">
                  <a:moveTo>
                    <a:pt x="175128" y="87564"/>
                  </a:moveTo>
                  <a:cubicBezTo>
                    <a:pt x="175128" y="135909"/>
                    <a:pt x="135921" y="175116"/>
                    <a:pt x="87552" y="175116"/>
                  </a:cubicBezTo>
                  <a:cubicBezTo>
                    <a:pt x="39183" y="175116"/>
                    <a:pt x="0" y="135909"/>
                    <a:pt x="0" y="87564"/>
                  </a:cubicBezTo>
                  <a:cubicBezTo>
                    <a:pt x="0" y="39219"/>
                    <a:pt x="39195" y="0"/>
                    <a:pt x="87552" y="0"/>
                  </a:cubicBezTo>
                  <a:cubicBezTo>
                    <a:pt x="135909" y="0"/>
                    <a:pt x="175128" y="39207"/>
                    <a:pt x="175128" y="87564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602" name="Gráfico 9">
              <a:extLst>
                <a:ext uri="{FF2B5EF4-FFF2-40B4-BE49-F238E27FC236}">
                  <a16:creationId xmlns:a16="http://schemas.microsoft.com/office/drawing/2014/main" id="{B9C33496-FE6B-7B7F-26B4-1E60C10CC887}"/>
                </a:ext>
              </a:extLst>
            </p:cNvPr>
            <p:cNvGrpSpPr/>
            <p:nvPr/>
          </p:nvGrpSpPr>
          <p:grpSpPr>
            <a:xfrm>
              <a:off x="6194141" y="3241163"/>
              <a:ext cx="248949" cy="55365"/>
              <a:chOff x="6194141" y="3241163"/>
              <a:chExt cx="248949" cy="55365"/>
            </a:xfrm>
          </p:grpSpPr>
          <p:sp>
            <p:nvSpPr>
              <p:cNvPr id="603" name="Forma livre: Forma 602">
                <a:extLst>
                  <a:ext uri="{FF2B5EF4-FFF2-40B4-BE49-F238E27FC236}">
                    <a16:creationId xmlns:a16="http://schemas.microsoft.com/office/drawing/2014/main" id="{80D42CA3-5469-8DDB-C7C5-4BDD3E3E7BF8}"/>
                  </a:ext>
                </a:extLst>
              </p:cNvPr>
              <p:cNvSpPr/>
              <p:nvPr/>
            </p:nvSpPr>
            <p:spPr>
              <a:xfrm>
                <a:off x="6194141" y="3241163"/>
                <a:ext cx="1196" cy="55365"/>
              </a:xfrm>
              <a:custGeom>
                <a:avLst/>
                <a:gdLst>
                  <a:gd name="connsiteX0" fmla="*/ 0 w 1196"/>
                  <a:gd name="connsiteY0" fmla="*/ 0 h 55365"/>
                  <a:gd name="connsiteX1" fmla="*/ 0 w 1196"/>
                  <a:gd name="connsiteY1" fmla="*/ 55366 h 553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6" h="55365">
                    <a:moveTo>
                      <a:pt x="0" y="0"/>
                    </a:moveTo>
                    <a:lnTo>
                      <a:pt x="0" y="55366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604" name="Forma livre: Forma 603">
                <a:extLst>
                  <a:ext uri="{FF2B5EF4-FFF2-40B4-BE49-F238E27FC236}">
                    <a16:creationId xmlns:a16="http://schemas.microsoft.com/office/drawing/2014/main" id="{3BF87A3C-90CC-0DD0-628D-26F21B1FD2A2}"/>
                  </a:ext>
                </a:extLst>
              </p:cNvPr>
              <p:cNvSpPr/>
              <p:nvPr/>
            </p:nvSpPr>
            <p:spPr>
              <a:xfrm>
                <a:off x="6443090" y="3241163"/>
                <a:ext cx="1196" cy="55365"/>
              </a:xfrm>
              <a:custGeom>
                <a:avLst/>
                <a:gdLst>
                  <a:gd name="connsiteX0" fmla="*/ 0 w 1196"/>
                  <a:gd name="connsiteY0" fmla="*/ 0 h 55365"/>
                  <a:gd name="connsiteX1" fmla="*/ 0 w 1196"/>
                  <a:gd name="connsiteY1" fmla="*/ 55366 h 553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6" h="55365">
                    <a:moveTo>
                      <a:pt x="0" y="0"/>
                    </a:moveTo>
                    <a:lnTo>
                      <a:pt x="0" y="55366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605" name="Gráfico 9">
            <a:extLst>
              <a:ext uri="{FF2B5EF4-FFF2-40B4-BE49-F238E27FC236}">
                <a16:creationId xmlns:a16="http://schemas.microsoft.com/office/drawing/2014/main" id="{5ED23C41-3791-DBCE-E8E4-1E528953CD9C}"/>
              </a:ext>
            </a:extLst>
          </p:cNvPr>
          <p:cNvGrpSpPr/>
          <p:nvPr/>
        </p:nvGrpSpPr>
        <p:grpSpPr>
          <a:xfrm>
            <a:off x="6794770" y="3113351"/>
            <a:ext cx="271542" cy="310989"/>
            <a:chOff x="6794770" y="3113351"/>
            <a:chExt cx="271542" cy="310989"/>
          </a:xfrm>
        </p:grpSpPr>
        <p:sp>
          <p:nvSpPr>
            <p:cNvPr id="606" name="Forma livre: Forma 605">
              <a:extLst>
                <a:ext uri="{FF2B5EF4-FFF2-40B4-BE49-F238E27FC236}">
                  <a16:creationId xmlns:a16="http://schemas.microsoft.com/office/drawing/2014/main" id="{63F58FDA-29DE-4BA0-1D63-04099B818DED}"/>
                </a:ext>
              </a:extLst>
            </p:cNvPr>
            <p:cNvSpPr/>
            <p:nvPr/>
          </p:nvSpPr>
          <p:spPr>
            <a:xfrm>
              <a:off x="6874918" y="3197746"/>
              <a:ext cx="111222" cy="56179"/>
            </a:xfrm>
            <a:custGeom>
              <a:avLst/>
              <a:gdLst>
                <a:gd name="connsiteX0" fmla="*/ 0 w 111222"/>
                <a:gd name="connsiteY0" fmla="*/ 56179 h 56179"/>
                <a:gd name="connsiteX1" fmla="*/ 0 w 111222"/>
                <a:gd name="connsiteY1" fmla="*/ 29722 h 56179"/>
                <a:gd name="connsiteX2" fmla="*/ 32581 w 111222"/>
                <a:gd name="connsiteY2" fmla="*/ 0 h 56179"/>
                <a:gd name="connsiteX3" fmla="*/ 55629 w 111222"/>
                <a:gd name="connsiteY3" fmla="*/ 23610 h 56179"/>
                <a:gd name="connsiteX4" fmla="*/ 77015 w 111222"/>
                <a:gd name="connsiteY4" fmla="*/ 0 h 56179"/>
                <a:gd name="connsiteX5" fmla="*/ 111222 w 111222"/>
                <a:gd name="connsiteY5" fmla="*/ 29722 h 56179"/>
                <a:gd name="connsiteX6" fmla="*/ 111222 w 111222"/>
                <a:gd name="connsiteY6" fmla="*/ 56179 h 561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11222" h="56179">
                  <a:moveTo>
                    <a:pt x="0" y="56179"/>
                  </a:moveTo>
                  <a:lnTo>
                    <a:pt x="0" y="29722"/>
                  </a:lnTo>
                  <a:cubicBezTo>
                    <a:pt x="0" y="10980"/>
                    <a:pt x="13838" y="0"/>
                    <a:pt x="32581" y="0"/>
                  </a:cubicBezTo>
                  <a:lnTo>
                    <a:pt x="55629" y="23610"/>
                  </a:lnTo>
                  <a:lnTo>
                    <a:pt x="77015" y="0"/>
                  </a:lnTo>
                  <a:cubicBezTo>
                    <a:pt x="95757" y="0"/>
                    <a:pt x="111222" y="10980"/>
                    <a:pt x="111222" y="29722"/>
                  </a:cubicBezTo>
                  <a:lnTo>
                    <a:pt x="111222" y="56179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07" name="Forma livre: Forma 606">
              <a:extLst>
                <a:ext uri="{FF2B5EF4-FFF2-40B4-BE49-F238E27FC236}">
                  <a16:creationId xmlns:a16="http://schemas.microsoft.com/office/drawing/2014/main" id="{5B72A3C5-7D6E-6F57-125E-27AD8304B60B}"/>
                </a:ext>
              </a:extLst>
            </p:cNvPr>
            <p:cNvSpPr/>
            <p:nvPr/>
          </p:nvSpPr>
          <p:spPr>
            <a:xfrm>
              <a:off x="6794770" y="3273875"/>
              <a:ext cx="271542" cy="55916"/>
            </a:xfrm>
            <a:custGeom>
              <a:avLst/>
              <a:gdLst>
                <a:gd name="connsiteX0" fmla="*/ 55079 w 271542"/>
                <a:gd name="connsiteY0" fmla="*/ 55916 h 55916"/>
                <a:gd name="connsiteX1" fmla="*/ 0 w 271542"/>
                <a:gd name="connsiteY1" fmla="*/ 25165 h 55916"/>
                <a:gd name="connsiteX2" fmla="*/ 0 w 271542"/>
                <a:gd name="connsiteY2" fmla="*/ 0 h 55916"/>
                <a:gd name="connsiteX3" fmla="*/ 271543 w 271542"/>
                <a:gd name="connsiteY3" fmla="*/ 0 h 55916"/>
                <a:gd name="connsiteX4" fmla="*/ 271543 w 271542"/>
                <a:gd name="connsiteY4" fmla="*/ 25165 h 55916"/>
                <a:gd name="connsiteX5" fmla="*/ 216524 w 271542"/>
                <a:gd name="connsiteY5" fmla="*/ 55916 h 559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71542" h="55916">
                  <a:moveTo>
                    <a:pt x="55079" y="55916"/>
                  </a:moveTo>
                  <a:lnTo>
                    <a:pt x="0" y="25165"/>
                  </a:lnTo>
                  <a:lnTo>
                    <a:pt x="0" y="0"/>
                  </a:lnTo>
                  <a:lnTo>
                    <a:pt x="271543" y="0"/>
                  </a:lnTo>
                  <a:lnTo>
                    <a:pt x="271543" y="25165"/>
                  </a:lnTo>
                  <a:lnTo>
                    <a:pt x="216524" y="55916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608" name="Gráfico 9">
              <a:extLst>
                <a:ext uri="{FF2B5EF4-FFF2-40B4-BE49-F238E27FC236}">
                  <a16:creationId xmlns:a16="http://schemas.microsoft.com/office/drawing/2014/main" id="{512FC787-0FA6-DF66-230A-4DA07D67BBEA}"/>
                </a:ext>
              </a:extLst>
            </p:cNvPr>
            <p:cNvGrpSpPr/>
            <p:nvPr/>
          </p:nvGrpSpPr>
          <p:grpSpPr>
            <a:xfrm>
              <a:off x="6851990" y="3305069"/>
              <a:ext cx="157079" cy="119271"/>
              <a:chOff x="6851990" y="3305069"/>
              <a:chExt cx="157079" cy="119271"/>
            </a:xfrm>
          </p:grpSpPr>
          <p:sp>
            <p:nvSpPr>
              <p:cNvPr id="609" name="Forma livre: Forma 608">
                <a:extLst>
                  <a:ext uri="{FF2B5EF4-FFF2-40B4-BE49-F238E27FC236}">
                    <a16:creationId xmlns:a16="http://schemas.microsoft.com/office/drawing/2014/main" id="{5A403D6E-7B4E-A5EF-45FA-336CC67F668B}"/>
                  </a:ext>
                </a:extLst>
              </p:cNvPr>
              <p:cNvSpPr/>
              <p:nvPr/>
            </p:nvSpPr>
            <p:spPr>
              <a:xfrm>
                <a:off x="7009069" y="3305069"/>
                <a:ext cx="1196" cy="119271"/>
              </a:xfrm>
              <a:custGeom>
                <a:avLst/>
                <a:gdLst>
                  <a:gd name="connsiteX0" fmla="*/ 0 w 1196"/>
                  <a:gd name="connsiteY0" fmla="*/ 0 h 119271"/>
                  <a:gd name="connsiteX1" fmla="*/ 0 w 1196"/>
                  <a:gd name="connsiteY1" fmla="*/ 119272 h 1192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6" h="119271">
                    <a:moveTo>
                      <a:pt x="0" y="0"/>
                    </a:moveTo>
                    <a:lnTo>
                      <a:pt x="0" y="119272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610" name="Forma livre: Forma 609">
                <a:extLst>
                  <a:ext uri="{FF2B5EF4-FFF2-40B4-BE49-F238E27FC236}">
                    <a16:creationId xmlns:a16="http://schemas.microsoft.com/office/drawing/2014/main" id="{0D51FA96-E507-C9B3-2AB5-404EC57DC708}"/>
                  </a:ext>
                </a:extLst>
              </p:cNvPr>
              <p:cNvSpPr/>
              <p:nvPr/>
            </p:nvSpPr>
            <p:spPr>
              <a:xfrm>
                <a:off x="6851990" y="3305069"/>
                <a:ext cx="1196" cy="119271"/>
              </a:xfrm>
              <a:custGeom>
                <a:avLst/>
                <a:gdLst>
                  <a:gd name="connsiteX0" fmla="*/ 0 w 1196"/>
                  <a:gd name="connsiteY0" fmla="*/ 119272 h 119271"/>
                  <a:gd name="connsiteX1" fmla="*/ 0 w 1196"/>
                  <a:gd name="connsiteY1" fmla="*/ 0 h 1192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6" h="119271">
                    <a:moveTo>
                      <a:pt x="0" y="119272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611" name="Forma livre: Forma 610">
              <a:extLst>
                <a:ext uri="{FF2B5EF4-FFF2-40B4-BE49-F238E27FC236}">
                  <a16:creationId xmlns:a16="http://schemas.microsoft.com/office/drawing/2014/main" id="{A0E4A927-DD57-528B-4037-D59AFC826092}"/>
                </a:ext>
              </a:extLst>
            </p:cNvPr>
            <p:cNvSpPr/>
            <p:nvPr/>
          </p:nvSpPr>
          <p:spPr>
            <a:xfrm>
              <a:off x="6888852" y="3307461"/>
              <a:ext cx="83353" cy="116879"/>
            </a:xfrm>
            <a:custGeom>
              <a:avLst/>
              <a:gdLst>
                <a:gd name="connsiteX0" fmla="*/ 0 w 83353"/>
                <a:gd name="connsiteY0" fmla="*/ 116880 h 116879"/>
                <a:gd name="connsiteX1" fmla="*/ 0 w 83353"/>
                <a:gd name="connsiteY1" fmla="*/ 0 h 116879"/>
                <a:gd name="connsiteX2" fmla="*/ 41683 w 83353"/>
                <a:gd name="connsiteY2" fmla="*/ 0 h 116879"/>
                <a:gd name="connsiteX3" fmla="*/ 83354 w 83353"/>
                <a:gd name="connsiteY3" fmla="*/ 0 h 116879"/>
                <a:gd name="connsiteX4" fmla="*/ 83354 w 83353"/>
                <a:gd name="connsiteY4" fmla="*/ 116880 h 1168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3353" h="116879">
                  <a:moveTo>
                    <a:pt x="0" y="116880"/>
                  </a:moveTo>
                  <a:lnTo>
                    <a:pt x="0" y="0"/>
                  </a:lnTo>
                  <a:lnTo>
                    <a:pt x="41683" y="0"/>
                  </a:lnTo>
                  <a:lnTo>
                    <a:pt x="83354" y="0"/>
                  </a:lnTo>
                  <a:lnTo>
                    <a:pt x="83354" y="116880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12" name="Forma livre: Forma 611">
              <a:extLst>
                <a:ext uri="{FF2B5EF4-FFF2-40B4-BE49-F238E27FC236}">
                  <a16:creationId xmlns:a16="http://schemas.microsoft.com/office/drawing/2014/main" id="{21923472-C161-AF6C-9BAA-19D398343476}"/>
                </a:ext>
              </a:extLst>
            </p:cNvPr>
            <p:cNvSpPr/>
            <p:nvPr/>
          </p:nvSpPr>
          <p:spPr>
            <a:xfrm>
              <a:off x="6993628" y="3168944"/>
              <a:ext cx="32796" cy="104368"/>
            </a:xfrm>
            <a:custGeom>
              <a:avLst/>
              <a:gdLst>
                <a:gd name="connsiteX0" fmla="*/ 32796 w 32796"/>
                <a:gd name="connsiteY0" fmla="*/ 104369 h 104368"/>
                <a:gd name="connsiteX1" fmla="*/ 32796 w 32796"/>
                <a:gd name="connsiteY1" fmla="*/ 21589 h 104368"/>
                <a:gd name="connsiteX2" fmla="*/ 0 w 32796"/>
                <a:gd name="connsiteY2" fmla="*/ 0 h 1043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2796" h="104368">
                  <a:moveTo>
                    <a:pt x="32796" y="104369"/>
                  </a:moveTo>
                  <a:lnTo>
                    <a:pt x="32796" y="21589"/>
                  </a:lnTo>
                  <a:lnTo>
                    <a:pt x="0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13" name="Forma livre: Forma 612">
              <a:extLst>
                <a:ext uri="{FF2B5EF4-FFF2-40B4-BE49-F238E27FC236}">
                  <a16:creationId xmlns:a16="http://schemas.microsoft.com/office/drawing/2014/main" id="{8F94CC1D-AAFE-F4B3-FC25-4DC6971108BF}"/>
                </a:ext>
              </a:extLst>
            </p:cNvPr>
            <p:cNvSpPr/>
            <p:nvPr/>
          </p:nvSpPr>
          <p:spPr>
            <a:xfrm>
              <a:off x="6985662" y="3161242"/>
              <a:ext cx="12678" cy="12678"/>
            </a:xfrm>
            <a:custGeom>
              <a:avLst/>
              <a:gdLst>
                <a:gd name="connsiteX0" fmla="*/ 6339 w 12678"/>
                <a:gd name="connsiteY0" fmla="*/ 12678 h 12678"/>
                <a:gd name="connsiteX1" fmla="*/ 0 w 12678"/>
                <a:gd name="connsiteY1" fmla="*/ 6339 h 12678"/>
                <a:gd name="connsiteX2" fmla="*/ 6339 w 12678"/>
                <a:gd name="connsiteY2" fmla="*/ 0 h 12678"/>
                <a:gd name="connsiteX3" fmla="*/ 12678 w 12678"/>
                <a:gd name="connsiteY3" fmla="*/ 6339 h 12678"/>
                <a:gd name="connsiteX4" fmla="*/ 6339 w 12678"/>
                <a:gd name="connsiteY4" fmla="*/ 12678 h 126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678" h="12678">
                  <a:moveTo>
                    <a:pt x="6339" y="12678"/>
                  </a:moveTo>
                  <a:cubicBezTo>
                    <a:pt x="2835" y="12678"/>
                    <a:pt x="0" y="9832"/>
                    <a:pt x="0" y="6339"/>
                  </a:cubicBezTo>
                  <a:cubicBezTo>
                    <a:pt x="0" y="2847"/>
                    <a:pt x="2847" y="0"/>
                    <a:pt x="6339" y="0"/>
                  </a:cubicBezTo>
                  <a:cubicBezTo>
                    <a:pt x="9832" y="0"/>
                    <a:pt x="12678" y="2847"/>
                    <a:pt x="12678" y="6339"/>
                  </a:cubicBezTo>
                  <a:cubicBezTo>
                    <a:pt x="12678" y="9832"/>
                    <a:pt x="9832" y="12678"/>
                    <a:pt x="6339" y="12678"/>
                  </a:cubicBezTo>
                  <a:close/>
                </a:path>
              </a:pathLst>
            </a:custGeom>
            <a:solidFill>
              <a:srgbClr val="3A434D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14" name="Forma livre: Forma 613">
              <a:extLst>
                <a:ext uri="{FF2B5EF4-FFF2-40B4-BE49-F238E27FC236}">
                  <a16:creationId xmlns:a16="http://schemas.microsoft.com/office/drawing/2014/main" id="{62AC9C7F-82C2-7B5D-B628-D07711610158}"/>
                </a:ext>
              </a:extLst>
            </p:cNvPr>
            <p:cNvSpPr/>
            <p:nvPr/>
          </p:nvSpPr>
          <p:spPr>
            <a:xfrm>
              <a:off x="6904951" y="3113351"/>
              <a:ext cx="51167" cy="61573"/>
            </a:xfrm>
            <a:custGeom>
              <a:avLst/>
              <a:gdLst>
                <a:gd name="connsiteX0" fmla="*/ 51168 w 51167"/>
                <a:gd name="connsiteY0" fmla="*/ 35595 h 61573"/>
                <a:gd name="connsiteX1" fmla="*/ 25584 w 51167"/>
                <a:gd name="connsiteY1" fmla="*/ 61573 h 61573"/>
                <a:gd name="connsiteX2" fmla="*/ 0 w 51167"/>
                <a:gd name="connsiteY2" fmla="*/ 35595 h 61573"/>
                <a:gd name="connsiteX3" fmla="*/ 0 w 51167"/>
                <a:gd name="connsiteY3" fmla="*/ 25979 h 61573"/>
                <a:gd name="connsiteX4" fmla="*/ 25584 w 51167"/>
                <a:gd name="connsiteY4" fmla="*/ 0 h 61573"/>
                <a:gd name="connsiteX5" fmla="*/ 51168 w 51167"/>
                <a:gd name="connsiteY5" fmla="*/ 25979 h 61573"/>
                <a:gd name="connsiteX6" fmla="*/ 51168 w 51167"/>
                <a:gd name="connsiteY6" fmla="*/ 35595 h 615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1167" h="61573">
                  <a:moveTo>
                    <a:pt x="51168" y="35595"/>
                  </a:moveTo>
                  <a:cubicBezTo>
                    <a:pt x="51168" y="49888"/>
                    <a:pt x="39662" y="61573"/>
                    <a:pt x="25584" y="61573"/>
                  </a:cubicBezTo>
                  <a:cubicBezTo>
                    <a:pt x="11506" y="61573"/>
                    <a:pt x="0" y="49888"/>
                    <a:pt x="0" y="35595"/>
                  </a:cubicBezTo>
                  <a:lnTo>
                    <a:pt x="0" y="25979"/>
                  </a:lnTo>
                  <a:cubicBezTo>
                    <a:pt x="0" y="11686"/>
                    <a:pt x="11506" y="0"/>
                    <a:pt x="25584" y="0"/>
                  </a:cubicBezTo>
                  <a:cubicBezTo>
                    <a:pt x="39662" y="0"/>
                    <a:pt x="51168" y="11686"/>
                    <a:pt x="51168" y="25979"/>
                  </a:cubicBezTo>
                  <a:lnTo>
                    <a:pt x="51168" y="35595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615" name="Gráfico 9">
            <a:extLst>
              <a:ext uri="{FF2B5EF4-FFF2-40B4-BE49-F238E27FC236}">
                <a16:creationId xmlns:a16="http://schemas.microsoft.com/office/drawing/2014/main" id="{71381148-F9FD-A957-3EE9-1AF674E1D3B1}"/>
              </a:ext>
            </a:extLst>
          </p:cNvPr>
          <p:cNvGrpSpPr/>
          <p:nvPr/>
        </p:nvGrpSpPr>
        <p:grpSpPr>
          <a:xfrm>
            <a:off x="7375711" y="3125252"/>
            <a:ext cx="333523" cy="287187"/>
            <a:chOff x="7375711" y="3125252"/>
            <a:chExt cx="333523" cy="287187"/>
          </a:xfrm>
          <a:noFill/>
        </p:grpSpPr>
        <p:grpSp>
          <p:nvGrpSpPr>
            <p:cNvPr id="616" name="Gráfico 9">
              <a:extLst>
                <a:ext uri="{FF2B5EF4-FFF2-40B4-BE49-F238E27FC236}">
                  <a16:creationId xmlns:a16="http://schemas.microsoft.com/office/drawing/2014/main" id="{EFACE3C4-A9C2-669A-3BC1-42267A137873}"/>
                </a:ext>
              </a:extLst>
            </p:cNvPr>
            <p:cNvGrpSpPr/>
            <p:nvPr/>
          </p:nvGrpSpPr>
          <p:grpSpPr>
            <a:xfrm>
              <a:off x="7495055" y="3202351"/>
              <a:ext cx="94847" cy="120527"/>
              <a:chOff x="7495055" y="3202351"/>
              <a:chExt cx="94847" cy="120527"/>
            </a:xfrm>
            <a:noFill/>
          </p:grpSpPr>
          <p:sp>
            <p:nvSpPr>
              <p:cNvPr id="617" name="Forma livre: Forma 616">
                <a:extLst>
                  <a:ext uri="{FF2B5EF4-FFF2-40B4-BE49-F238E27FC236}">
                    <a16:creationId xmlns:a16="http://schemas.microsoft.com/office/drawing/2014/main" id="{F6459DC4-EDF6-A06F-66DC-EECC6F94BF6E}"/>
                  </a:ext>
                </a:extLst>
              </p:cNvPr>
              <p:cNvSpPr/>
              <p:nvPr/>
            </p:nvSpPr>
            <p:spPr>
              <a:xfrm>
                <a:off x="7495055" y="3273720"/>
                <a:ext cx="94847" cy="49158"/>
              </a:xfrm>
              <a:custGeom>
                <a:avLst/>
                <a:gdLst>
                  <a:gd name="connsiteX0" fmla="*/ 0 w 94847"/>
                  <a:gd name="connsiteY0" fmla="*/ 49158 h 49158"/>
                  <a:gd name="connsiteX1" fmla="*/ 0 w 94847"/>
                  <a:gd name="connsiteY1" fmla="*/ 27234 h 49158"/>
                  <a:gd name="connsiteX2" fmla="*/ 27785 w 94847"/>
                  <a:gd name="connsiteY2" fmla="*/ 0 h 49158"/>
                  <a:gd name="connsiteX3" fmla="*/ 47436 w 94847"/>
                  <a:gd name="connsiteY3" fmla="*/ 21637 h 49158"/>
                  <a:gd name="connsiteX4" fmla="*/ 65664 w 94847"/>
                  <a:gd name="connsiteY4" fmla="*/ 0 h 49158"/>
                  <a:gd name="connsiteX5" fmla="*/ 94848 w 94847"/>
                  <a:gd name="connsiteY5" fmla="*/ 27234 h 49158"/>
                  <a:gd name="connsiteX6" fmla="*/ 94848 w 94847"/>
                  <a:gd name="connsiteY6" fmla="*/ 49158 h 491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94847" h="49158">
                    <a:moveTo>
                      <a:pt x="0" y="49158"/>
                    </a:moveTo>
                    <a:lnTo>
                      <a:pt x="0" y="27234"/>
                    </a:lnTo>
                    <a:cubicBezTo>
                      <a:pt x="0" y="10059"/>
                      <a:pt x="11805" y="0"/>
                      <a:pt x="27785" y="0"/>
                    </a:cubicBezTo>
                    <a:lnTo>
                      <a:pt x="47436" y="21637"/>
                    </a:lnTo>
                    <a:lnTo>
                      <a:pt x="65664" y="0"/>
                    </a:lnTo>
                    <a:cubicBezTo>
                      <a:pt x="81655" y="0"/>
                      <a:pt x="94848" y="10059"/>
                      <a:pt x="94848" y="27234"/>
                    </a:cubicBezTo>
                    <a:lnTo>
                      <a:pt x="94848" y="49158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618" name="Forma livre: Forma 617">
                <a:extLst>
                  <a:ext uri="{FF2B5EF4-FFF2-40B4-BE49-F238E27FC236}">
                    <a16:creationId xmlns:a16="http://schemas.microsoft.com/office/drawing/2014/main" id="{75BD85EF-710F-0B2D-5531-DA3188619D8D}"/>
                  </a:ext>
                </a:extLst>
              </p:cNvPr>
              <p:cNvSpPr/>
              <p:nvPr/>
            </p:nvSpPr>
            <p:spPr>
              <a:xfrm>
                <a:off x="7519048" y="3202351"/>
                <a:ext cx="46861" cy="53201"/>
              </a:xfrm>
              <a:custGeom>
                <a:avLst/>
                <a:gdLst>
                  <a:gd name="connsiteX0" fmla="*/ 46862 w 46861"/>
                  <a:gd name="connsiteY0" fmla="*/ 29399 h 53201"/>
                  <a:gd name="connsiteX1" fmla="*/ 23431 w 46861"/>
                  <a:gd name="connsiteY1" fmla="*/ 53201 h 53201"/>
                  <a:gd name="connsiteX2" fmla="*/ 0 w 46861"/>
                  <a:gd name="connsiteY2" fmla="*/ 29399 h 53201"/>
                  <a:gd name="connsiteX3" fmla="*/ 0 w 46861"/>
                  <a:gd name="connsiteY3" fmla="*/ 23802 h 53201"/>
                  <a:gd name="connsiteX4" fmla="*/ 23431 w 46861"/>
                  <a:gd name="connsiteY4" fmla="*/ 0 h 53201"/>
                  <a:gd name="connsiteX5" fmla="*/ 46862 w 46861"/>
                  <a:gd name="connsiteY5" fmla="*/ 23802 h 53201"/>
                  <a:gd name="connsiteX6" fmla="*/ 46862 w 46861"/>
                  <a:gd name="connsiteY6" fmla="*/ 29399 h 532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6861" h="53201">
                    <a:moveTo>
                      <a:pt x="46862" y="29399"/>
                    </a:moveTo>
                    <a:cubicBezTo>
                      <a:pt x="46862" y="42484"/>
                      <a:pt x="36337" y="53201"/>
                      <a:pt x="23431" y="53201"/>
                    </a:cubicBezTo>
                    <a:cubicBezTo>
                      <a:pt x="10525" y="53201"/>
                      <a:pt x="0" y="42484"/>
                      <a:pt x="0" y="29399"/>
                    </a:cubicBezTo>
                    <a:lnTo>
                      <a:pt x="0" y="23802"/>
                    </a:lnTo>
                    <a:cubicBezTo>
                      <a:pt x="0" y="10705"/>
                      <a:pt x="10525" y="0"/>
                      <a:pt x="23431" y="0"/>
                    </a:cubicBezTo>
                    <a:cubicBezTo>
                      <a:pt x="36337" y="0"/>
                      <a:pt x="46862" y="10705"/>
                      <a:pt x="46862" y="23802"/>
                    </a:cubicBezTo>
                    <a:lnTo>
                      <a:pt x="46862" y="29399"/>
                    </a:ln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619" name="Gráfico 9">
              <a:extLst>
                <a:ext uri="{FF2B5EF4-FFF2-40B4-BE49-F238E27FC236}">
                  <a16:creationId xmlns:a16="http://schemas.microsoft.com/office/drawing/2014/main" id="{FDD6A5BC-940C-75C8-0488-C70E3ABF44D6}"/>
                </a:ext>
              </a:extLst>
            </p:cNvPr>
            <p:cNvGrpSpPr/>
            <p:nvPr/>
          </p:nvGrpSpPr>
          <p:grpSpPr>
            <a:xfrm>
              <a:off x="7375711" y="3125252"/>
              <a:ext cx="333523" cy="287187"/>
              <a:chOff x="7375711" y="3125252"/>
              <a:chExt cx="333523" cy="287187"/>
            </a:xfrm>
            <a:noFill/>
          </p:grpSpPr>
          <p:grpSp>
            <p:nvGrpSpPr>
              <p:cNvPr id="620" name="Gráfico 9">
                <a:extLst>
                  <a:ext uri="{FF2B5EF4-FFF2-40B4-BE49-F238E27FC236}">
                    <a16:creationId xmlns:a16="http://schemas.microsoft.com/office/drawing/2014/main" id="{EF7B5598-3583-1ECF-497B-BC88A6DE5E9A}"/>
                  </a:ext>
                </a:extLst>
              </p:cNvPr>
              <p:cNvGrpSpPr/>
              <p:nvPr/>
            </p:nvGrpSpPr>
            <p:grpSpPr>
              <a:xfrm>
                <a:off x="7375711" y="3125252"/>
                <a:ext cx="273253" cy="208821"/>
                <a:chOff x="7375711" y="3125252"/>
                <a:chExt cx="273253" cy="208821"/>
              </a:xfrm>
              <a:noFill/>
            </p:grpSpPr>
            <p:sp>
              <p:nvSpPr>
                <p:cNvPr id="621" name="Forma livre: Forma 620">
                  <a:extLst>
                    <a:ext uri="{FF2B5EF4-FFF2-40B4-BE49-F238E27FC236}">
                      <a16:creationId xmlns:a16="http://schemas.microsoft.com/office/drawing/2014/main" id="{B09B3ECD-4D47-421C-47C2-EB28841C6BA1}"/>
                    </a:ext>
                  </a:extLst>
                </p:cNvPr>
                <p:cNvSpPr/>
                <p:nvPr/>
              </p:nvSpPr>
              <p:spPr>
                <a:xfrm>
                  <a:off x="7375711" y="3145932"/>
                  <a:ext cx="254020" cy="188141"/>
                </a:xfrm>
                <a:custGeom>
                  <a:avLst/>
                  <a:gdLst>
                    <a:gd name="connsiteX0" fmla="*/ 92552 w 254020"/>
                    <a:gd name="connsiteY0" fmla="*/ 0 h 188141"/>
                    <a:gd name="connsiteX1" fmla="*/ 23228 w 254020"/>
                    <a:gd name="connsiteY1" fmla="*/ 122980 h 188141"/>
                    <a:gd name="connsiteX2" fmla="*/ 0 w 254020"/>
                    <a:gd name="connsiteY2" fmla="*/ 122980 h 188141"/>
                    <a:gd name="connsiteX3" fmla="*/ 42173 w 254020"/>
                    <a:gd name="connsiteY3" fmla="*/ 188141 h 188141"/>
                    <a:gd name="connsiteX4" fmla="*/ 84395 w 254020"/>
                    <a:gd name="connsiteY4" fmla="*/ 122980 h 188141"/>
                    <a:gd name="connsiteX5" fmla="*/ 60294 w 254020"/>
                    <a:gd name="connsiteY5" fmla="*/ 122980 h 188141"/>
                    <a:gd name="connsiteX6" fmla="*/ 166768 w 254020"/>
                    <a:gd name="connsiteY6" fmla="*/ 16398 h 188141"/>
                    <a:gd name="connsiteX7" fmla="*/ 254021 w 254020"/>
                    <a:gd name="connsiteY7" fmla="*/ 61849 h 18814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254020" h="188141">
                      <a:moveTo>
                        <a:pt x="92552" y="0"/>
                      </a:moveTo>
                      <a:cubicBezTo>
                        <a:pt x="51012" y="25177"/>
                        <a:pt x="23228" y="70867"/>
                        <a:pt x="23228" y="122980"/>
                      </a:cubicBezTo>
                      <a:lnTo>
                        <a:pt x="0" y="122980"/>
                      </a:lnTo>
                      <a:lnTo>
                        <a:pt x="42173" y="188141"/>
                      </a:lnTo>
                      <a:lnTo>
                        <a:pt x="84395" y="122980"/>
                      </a:lnTo>
                      <a:lnTo>
                        <a:pt x="60294" y="122980"/>
                      </a:lnTo>
                      <a:cubicBezTo>
                        <a:pt x="60294" y="64193"/>
                        <a:pt x="107981" y="16398"/>
                        <a:pt x="166768" y="16398"/>
                      </a:cubicBezTo>
                      <a:cubicBezTo>
                        <a:pt x="202865" y="16398"/>
                        <a:pt x="234764" y="34363"/>
                        <a:pt x="254021" y="61849"/>
                      </a:cubicBez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622" name="Forma livre: Forma 621">
                  <a:extLst>
                    <a:ext uri="{FF2B5EF4-FFF2-40B4-BE49-F238E27FC236}">
                      <a16:creationId xmlns:a16="http://schemas.microsoft.com/office/drawing/2014/main" id="{CB8DF712-1F9D-690D-2EB8-903459A4D76B}"/>
                    </a:ext>
                  </a:extLst>
                </p:cNvPr>
                <p:cNvSpPr/>
                <p:nvPr/>
              </p:nvSpPr>
              <p:spPr>
                <a:xfrm>
                  <a:off x="7483596" y="3125252"/>
                  <a:ext cx="68020" cy="12618"/>
                </a:xfrm>
                <a:custGeom>
                  <a:avLst/>
                  <a:gdLst>
                    <a:gd name="connsiteX0" fmla="*/ 68020 w 68020"/>
                    <a:gd name="connsiteY0" fmla="*/ 287 h 12618"/>
                    <a:gd name="connsiteX1" fmla="*/ 58882 w 68020"/>
                    <a:gd name="connsiteY1" fmla="*/ 0 h 12618"/>
                    <a:gd name="connsiteX2" fmla="*/ 0 w 68020"/>
                    <a:gd name="connsiteY2" fmla="*/ 12619 h 1261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68020" h="12618">
                      <a:moveTo>
                        <a:pt x="68020" y="287"/>
                      </a:moveTo>
                      <a:cubicBezTo>
                        <a:pt x="65006" y="96"/>
                        <a:pt x="61956" y="0"/>
                        <a:pt x="58882" y="0"/>
                      </a:cubicBezTo>
                      <a:cubicBezTo>
                        <a:pt x="37903" y="0"/>
                        <a:pt x="17965" y="4509"/>
                        <a:pt x="0" y="12619"/>
                      </a:cubicBez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623" name="Forma livre: Forma 622">
                  <a:extLst>
                    <a:ext uri="{FF2B5EF4-FFF2-40B4-BE49-F238E27FC236}">
                      <a16:creationId xmlns:a16="http://schemas.microsoft.com/office/drawing/2014/main" id="{EEFCAB4F-4941-A48A-41BA-56632053BC38}"/>
                    </a:ext>
                  </a:extLst>
                </p:cNvPr>
                <p:cNvSpPr/>
                <p:nvPr/>
              </p:nvSpPr>
              <p:spPr>
                <a:xfrm>
                  <a:off x="7570263" y="3127931"/>
                  <a:ext cx="40642" cy="14639"/>
                </a:xfrm>
                <a:custGeom>
                  <a:avLst/>
                  <a:gdLst>
                    <a:gd name="connsiteX0" fmla="*/ 40642 w 40642"/>
                    <a:gd name="connsiteY0" fmla="*/ 14640 h 14639"/>
                    <a:gd name="connsiteX1" fmla="*/ 0 w 40642"/>
                    <a:gd name="connsiteY1" fmla="*/ 0 h 1463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0642" h="14639">
                      <a:moveTo>
                        <a:pt x="40642" y="14640"/>
                      </a:moveTo>
                      <a:cubicBezTo>
                        <a:pt x="28108" y="7834"/>
                        <a:pt x="14436" y="2835"/>
                        <a:pt x="0" y="0"/>
                      </a:cubicBez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624" name="Forma livre: Forma 623">
                  <a:extLst>
                    <a:ext uri="{FF2B5EF4-FFF2-40B4-BE49-F238E27FC236}">
                      <a16:creationId xmlns:a16="http://schemas.microsoft.com/office/drawing/2014/main" id="{0696FEEA-D6EE-16CE-ECD9-133856C1BBC3}"/>
                    </a:ext>
                  </a:extLst>
                </p:cNvPr>
                <p:cNvSpPr/>
                <p:nvPr/>
              </p:nvSpPr>
              <p:spPr>
                <a:xfrm>
                  <a:off x="7624852" y="3151219"/>
                  <a:ext cx="24112" cy="21313"/>
                </a:xfrm>
                <a:custGeom>
                  <a:avLst/>
                  <a:gdLst>
                    <a:gd name="connsiteX0" fmla="*/ 24113 w 24112"/>
                    <a:gd name="connsiteY0" fmla="*/ 21314 h 21313"/>
                    <a:gd name="connsiteX1" fmla="*/ 0 w 24112"/>
                    <a:gd name="connsiteY1" fmla="*/ 0 h 2131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4112" h="21313">
                      <a:moveTo>
                        <a:pt x="24113" y="21314"/>
                      </a:moveTo>
                      <a:cubicBezTo>
                        <a:pt x="16912" y="13348"/>
                        <a:pt x="8815" y="6196"/>
                        <a:pt x="0" y="0"/>
                      </a:cubicBez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625" name="Gráfico 9">
                <a:extLst>
                  <a:ext uri="{FF2B5EF4-FFF2-40B4-BE49-F238E27FC236}">
                    <a16:creationId xmlns:a16="http://schemas.microsoft.com/office/drawing/2014/main" id="{384AB28A-96C9-11B0-54E2-0829F1E7886A}"/>
                  </a:ext>
                </a:extLst>
              </p:cNvPr>
              <p:cNvGrpSpPr/>
              <p:nvPr/>
            </p:nvGrpSpPr>
            <p:grpSpPr>
              <a:xfrm>
                <a:off x="7435981" y="3203606"/>
                <a:ext cx="273253" cy="208833"/>
                <a:chOff x="7435981" y="3203606"/>
                <a:chExt cx="273253" cy="208833"/>
              </a:xfrm>
              <a:noFill/>
            </p:grpSpPr>
            <p:sp>
              <p:nvSpPr>
                <p:cNvPr id="626" name="Forma livre: Forma 625">
                  <a:extLst>
                    <a:ext uri="{FF2B5EF4-FFF2-40B4-BE49-F238E27FC236}">
                      <a16:creationId xmlns:a16="http://schemas.microsoft.com/office/drawing/2014/main" id="{1EC277C4-BF40-28E8-C2F7-3D6AD161884D}"/>
                    </a:ext>
                  </a:extLst>
                </p:cNvPr>
                <p:cNvSpPr/>
                <p:nvPr/>
              </p:nvSpPr>
              <p:spPr>
                <a:xfrm>
                  <a:off x="7455202" y="3203606"/>
                  <a:ext cx="254032" cy="188141"/>
                </a:xfrm>
                <a:custGeom>
                  <a:avLst/>
                  <a:gdLst>
                    <a:gd name="connsiteX0" fmla="*/ 161481 w 254032"/>
                    <a:gd name="connsiteY0" fmla="*/ 188141 h 188141"/>
                    <a:gd name="connsiteX1" fmla="*/ 230805 w 254032"/>
                    <a:gd name="connsiteY1" fmla="*/ 65162 h 188141"/>
                    <a:gd name="connsiteX2" fmla="*/ 254033 w 254032"/>
                    <a:gd name="connsiteY2" fmla="*/ 65162 h 188141"/>
                    <a:gd name="connsiteX3" fmla="*/ 211847 w 254032"/>
                    <a:gd name="connsiteY3" fmla="*/ 0 h 188141"/>
                    <a:gd name="connsiteX4" fmla="*/ 169626 w 254032"/>
                    <a:gd name="connsiteY4" fmla="*/ 65162 h 188141"/>
                    <a:gd name="connsiteX5" fmla="*/ 193727 w 254032"/>
                    <a:gd name="connsiteY5" fmla="*/ 65162 h 188141"/>
                    <a:gd name="connsiteX6" fmla="*/ 87253 w 254032"/>
                    <a:gd name="connsiteY6" fmla="*/ 171743 h 188141"/>
                    <a:gd name="connsiteX7" fmla="*/ 0 w 254032"/>
                    <a:gd name="connsiteY7" fmla="*/ 126293 h 18814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254032" h="188141">
                      <a:moveTo>
                        <a:pt x="161481" y="188141"/>
                      </a:moveTo>
                      <a:cubicBezTo>
                        <a:pt x="203032" y="162964"/>
                        <a:pt x="230805" y="117274"/>
                        <a:pt x="230805" y="65162"/>
                      </a:cubicBezTo>
                      <a:lnTo>
                        <a:pt x="254033" y="65162"/>
                      </a:lnTo>
                      <a:lnTo>
                        <a:pt x="211847" y="0"/>
                      </a:lnTo>
                      <a:lnTo>
                        <a:pt x="169626" y="65162"/>
                      </a:lnTo>
                      <a:lnTo>
                        <a:pt x="193727" y="65162"/>
                      </a:lnTo>
                      <a:cubicBezTo>
                        <a:pt x="193727" y="123948"/>
                        <a:pt x="146052" y="171743"/>
                        <a:pt x="87253" y="171743"/>
                      </a:cubicBezTo>
                      <a:cubicBezTo>
                        <a:pt x="51156" y="171743"/>
                        <a:pt x="19257" y="153778"/>
                        <a:pt x="0" y="126293"/>
                      </a:cubicBez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627" name="Forma livre: Forma 626">
                  <a:extLst>
                    <a:ext uri="{FF2B5EF4-FFF2-40B4-BE49-F238E27FC236}">
                      <a16:creationId xmlns:a16="http://schemas.microsoft.com/office/drawing/2014/main" id="{F9A6A930-51BD-13CD-741D-807FFB16C2C2}"/>
                    </a:ext>
                  </a:extLst>
                </p:cNvPr>
                <p:cNvSpPr/>
                <p:nvPr/>
              </p:nvSpPr>
              <p:spPr>
                <a:xfrm>
                  <a:off x="7533329" y="3399821"/>
                  <a:ext cx="68020" cy="12618"/>
                </a:xfrm>
                <a:custGeom>
                  <a:avLst/>
                  <a:gdLst>
                    <a:gd name="connsiteX0" fmla="*/ 0 w 68020"/>
                    <a:gd name="connsiteY0" fmla="*/ 12332 h 12618"/>
                    <a:gd name="connsiteX1" fmla="*/ 9138 w 68020"/>
                    <a:gd name="connsiteY1" fmla="*/ 12619 h 12618"/>
                    <a:gd name="connsiteX2" fmla="*/ 68020 w 68020"/>
                    <a:gd name="connsiteY2" fmla="*/ 0 h 1261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68020" h="12618">
                      <a:moveTo>
                        <a:pt x="0" y="12332"/>
                      </a:moveTo>
                      <a:cubicBezTo>
                        <a:pt x="3026" y="12523"/>
                        <a:pt x="6076" y="12619"/>
                        <a:pt x="9138" y="12619"/>
                      </a:cubicBezTo>
                      <a:cubicBezTo>
                        <a:pt x="30129" y="12619"/>
                        <a:pt x="50055" y="8109"/>
                        <a:pt x="68020" y="0"/>
                      </a:cubicBez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628" name="Forma livre: Forma 627">
                  <a:extLst>
                    <a:ext uri="{FF2B5EF4-FFF2-40B4-BE49-F238E27FC236}">
                      <a16:creationId xmlns:a16="http://schemas.microsoft.com/office/drawing/2014/main" id="{A8C77A63-C6F1-72D2-F6D4-6E749846F74B}"/>
                    </a:ext>
                  </a:extLst>
                </p:cNvPr>
                <p:cNvSpPr/>
                <p:nvPr/>
              </p:nvSpPr>
              <p:spPr>
                <a:xfrm>
                  <a:off x="7474040" y="3395121"/>
                  <a:ext cx="40630" cy="14639"/>
                </a:xfrm>
                <a:custGeom>
                  <a:avLst/>
                  <a:gdLst>
                    <a:gd name="connsiteX0" fmla="*/ 0 w 40630"/>
                    <a:gd name="connsiteY0" fmla="*/ 0 h 14639"/>
                    <a:gd name="connsiteX1" fmla="*/ 40630 w 40630"/>
                    <a:gd name="connsiteY1" fmla="*/ 14640 h 1463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0630" h="14639">
                      <a:moveTo>
                        <a:pt x="0" y="0"/>
                      </a:moveTo>
                      <a:cubicBezTo>
                        <a:pt x="12535" y="6806"/>
                        <a:pt x="26194" y="11805"/>
                        <a:pt x="40630" y="14640"/>
                      </a:cubicBez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629" name="Forma livre: Forma 628">
                  <a:extLst>
                    <a:ext uri="{FF2B5EF4-FFF2-40B4-BE49-F238E27FC236}">
                      <a16:creationId xmlns:a16="http://schemas.microsoft.com/office/drawing/2014/main" id="{DE676F97-9E9D-E880-0981-6ADCDF1DB42E}"/>
                    </a:ext>
                  </a:extLst>
                </p:cNvPr>
                <p:cNvSpPr/>
                <p:nvPr/>
              </p:nvSpPr>
              <p:spPr>
                <a:xfrm>
                  <a:off x="7435981" y="3365159"/>
                  <a:ext cx="24112" cy="21313"/>
                </a:xfrm>
                <a:custGeom>
                  <a:avLst/>
                  <a:gdLst>
                    <a:gd name="connsiteX0" fmla="*/ 0 w 24112"/>
                    <a:gd name="connsiteY0" fmla="*/ 0 h 21313"/>
                    <a:gd name="connsiteX1" fmla="*/ 24113 w 24112"/>
                    <a:gd name="connsiteY1" fmla="*/ 21314 h 2131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4112" h="21313">
                      <a:moveTo>
                        <a:pt x="0" y="0"/>
                      </a:moveTo>
                      <a:cubicBezTo>
                        <a:pt x="7212" y="7966"/>
                        <a:pt x="15298" y="15130"/>
                        <a:pt x="24113" y="21314"/>
                      </a:cubicBez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</p:grpSp>
      <p:grpSp>
        <p:nvGrpSpPr>
          <p:cNvPr id="630" name="Gráfico 9">
            <a:extLst>
              <a:ext uri="{FF2B5EF4-FFF2-40B4-BE49-F238E27FC236}">
                <a16:creationId xmlns:a16="http://schemas.microsoft.com/office/drawing/2014/main" id="{368391EC-5ABE-098C-FEF0-508D5D6FC011}"/>
              </a:ext>
            </a:extLst>
          </p:cNvPr>
          <p:cNvGrpSpPr/>
          <p:nvPr/>
        </p:nvGrpSpPr>
        <p:grpSpPr>
          <a:xfrm>
            <a:off x="6160137" y="2088286"/>
            <a:ext cx="316969" cy="263182"/>
            <a:chOff x="6160137" y="2088286"/>
            <a:chExt cx="316969" cy="263182"/>
          </a:xfrm>
          <a:noFill/>
        </p:grpSpPr>
        <p:grpSp>
          <p:nvGrpSpPr>
            <p:cNvPr id="631" name="Gráfico 9">
              <a:extLst>
                <a:ext uri="{FF2B5EF4-FFF2-40B4-BE49-F238E27FC236}">
                  <a16:creationId xmlns:a16="http://schemas.microsoft.com/office/drawing/2014/main" id="{520DA799-B9EA-A062-4779-528E989C11AC}"/>
                </a:ext>
              </a:extLst>
            </p:cNvPr>
            <p:cNvGrpSpPr/>
            <p:nvPr/>
          </p:nvGrpSpPr>
          <p:grpSpPr>
            <a:xfrm>
              <a:off x="6386720" y="2088286"/>
              <a:ext cx="90386" cy="263182"/>
              <a:chOff x="6386720" y="2088286"/>
              <a:chExt cx="90386" cy="263182"/>
            </a:xfrm>
            <a:noFill/>
          </p:grpSpPr>
          <p:grpSp>
            <p:nvGrpSpPr>
              <p:cNvPr id="632" name="Gráfico 9">
                <a:extLst>
                  <a:ext uri="{FF2B5EF4-FFF2-40B4-BE49-F238E27FC236}">
                    <a16:creationId xmlns:a16="http://schemas.microsoft.com/office/drawing/2014/main" id="{B00597CB-FF1E-081C-BB0D-6D0DF891676D}"/>
                  </a:ext>
                </a:extLst>
              </p:cNvPr>
              <p:cNvGrpSpPr/>
              <p:nvPr/>
            </p:nvGrpSpPr>
            <p:grpSpPr>
              <a:xfrm>
                <a:off x="6386720" y="2088286"/>
                <a:ext cx="90386" cy="110707"/>
                <a:chOff x="6386720" y="2088286"/>
                <a:chExt cx="90386" cy="110707"/>
              </a:xfrm>
              <a:noFill/>
            </p:grpSpPr>
            <p:sp>
              <p:nvSpPr>
                <p:cNvPr id="633" name="Forma livre: Forma 632">
                  <a:extLst>
                    <a:ext uri="{FF2B5EF4-FFF2-40B4-BE49-F238E27FC236}">
                      <a16:creationId xmlns:a16="http://schemas.microsoft.com/office/drawing/2014/main" id="{A56BBE9E-DB45-B5E4-5BF2-5ED68924F10F}"/>
                    </a:ext>
                  </a:extLst>
                </p:cNvPr>
                <p:cNvSpPr/>
                <p:nvPr/>
              </p:nvSpPr>
              <p:spPr>
                <a:xfrm>
                  <a:off x="6386720" y="2157682"/>
                  <a:ext cx="90386" cy="41312"/>
                </a:xfrm>
                <a:custGeom>
                  <a:avLst/>
                  <a:gdLst>
                    <a:gd name="connsiteX0" fmla="*/ 0 w 90386"/>
                    <a:gd name="connsiteY0" fmla="*/ 41312 h 41312"/>
                    <a:gd name="connsiteX1" fmla="*/ 0 w 90386"/>
                    <a:gd name="connsiteY1" fmla="*/ 25955 h 41312"/>
                    <a:gd name="connsiteX2" fmla="*/ 26481 w 90386"/>
                    <a:gd name="connsiteY2" fmla="*/ 0 h 41312"/>
                    <a:gd name="connsiteX3" fmla="*/ 45211 w 90386"/>
                    <a:gd name="connsiteY3" fmla="*/ 20620 h 41312"/>
                    <a:gd name="connsiteX4" fmla="*/ 62578 w 90386"/>
                    <a:gd name="connsiteY4" fmla="*/ 0 h 41312"/>
                    <a:gd name="connsiteX5" fmla="*/ 90387 w 90386"/>
                    <a:gd name="connsiteY5" fmla="*/ 25955 h 41312"/>
                    <a:gd name="connsiteX6" fmla="*/ 90387 w 90386"/>
                    <a:gd name="connsiteY6" fmla="*/ 41312 h 4131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90386" h="41312">
                      <a:moveTo>
                        <a:pt x="0" y="41312"/>
                      </a:moveTo>
                      <a:lnTo>
                        <a:pt x="0" y="25955"/>
                      </a:lnTo>
                      <a:cubicBezTo>
                        <a:pt x="0" y="9581"/>
                        <a:pt x="11243" y="0"/>
                        <a:pt x="26481" y="0"/>
                      </a:cubicBezTo>
                      <a:lnTo>
                        <a:pt x="45211" y="20620"/>
                      </a:lnTo>
                      <a:lnTo>
                        <a:pt x="62578" y="0"/>
                      </a:lnTo>
                      <a:cubicBezTo>
                        <a:pt x="77816" y="0"/>
                        <a:pt x="90387" y="9581"/>
                        <a:pt x="90387" y="25955"/>
                      </a:cubicBezTo>
                      <a:lnTo>
                        <a:pt x="90387" y="41312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634" name="Forma livre: Forma 633">
                  <a:extLst>
                    <a:ext uri="{FF2B5EF4-FFF2-40B4-BE49-F238E27FC236}">
                      <a16:creationId xmlns:a16="http://schemas.microsoft.com/office/drawing/2014/main" id="{E6CB0DB5-2C17-C6AC-6270-59A988D5AD14}"/>
                    </a:ext>
                  </a:extLst>
                </p:cNvPr>
                <p:cNvSpPr/>
                <p:nvPr/>
              </p:nvSpPr>
              <p:spPr>
                <a:xfrm>
                  <a:off x="6409588" y="2088286"/>
                  <a:ext cx="44649" cy="50689"/>
                </a:xfrm>
                <a:custGeom>
                  <a:avLst/>
                  <a:gdLst>
                    <a:gd name="connsiteX0" fmla="*/ 44649 w 44649"/>
                    <a:gd name="connsiteY0" fmla="*/ 28000 h 50689"/>
                    <a:gd name="connsiteX1" fmla="*/ 22331 w 44649"/>
                    <a:gd name="connsiteY1" fmla="*/ 50689 h 50689"/>
                    <a:gd name="connsiteX2" fmla="*/ 0 w 44649"/>
                    <a:gd name="connsiteY2" fmla="*/ 28000 h 50689"/>
                    <a:gd name="connsiteX3" fmla="*/ 0 w 44649"/>
                    <a:gd name="connsiteY3" fmla="*/ 22677 h 50689"/>
                    <a:gd name="connsiteX4" fmla="*/ 22331 w 44649"/>
                    <a:gd name="connsiteY4" fmla="*/ 0 h 50689"/>
                    <a:gd name="connsiteX5" fmla="*/ 44649 w 44649"/>
                    <a:gd name="connsiteY5" fmla="*/ 22677 h 50689"/>
                    <a:gd name="connsiteX6" fmla="*/ 44649 w 44649"/>
                    <a:gd name="connsiteY6" fmla="*/ 28000 h 5068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44649" h="50689">
                      <a:moveTo>
                        <a:pt x="44649" y="28000"/>
                      </a:moveTo>
                      <a:cubicBezTo>
                        <a:pt x="44649" y="40475"/>
                        <a:pt x="34614" y="50689"/>
                        <a:pt x="22331" y="50689"/>
                      </a:cubicBezTo>
                      <a:cubicBezTo>
                        <a:pt x="10047" y="50689"/>
                        <a:pt x="0" y="40475"/>
                        <a:pt x="0" y="28000"/>
                      </a:cubicBezTo>
                      <a:lnTo>
                        <a:pt x="0" y="22677"/>
                      </a:lnTo>
                      <a:cubicBezTo>
                        <a:pt x="0" y="10202"/>
                        <a:pt x="10023" y="0"/>
                        <a:pt x="22331" y="0"/>
                      </a:cubicBezTo>
                      <a:cubicBezTo>
                        <a:pt x="34638" y="0"/>
                        <a:pt x="44649" y="10202"/>
                        <a:pt x="44649" y="22677"/>
                      </a:cubicBezTo>
                      <a:lnTo>
                        <a:pt x="44649" y="28000"/>
                      </a:lnTo>
                      <a:close/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635" name="Gráfico 9">
                <a:extLst>
                  <a:ext uri="{FF2B5EF4-FFF2-40B4-BE49-F238E27FC236}">
                    <a16:creationId xmlns:a16="http://schemas.microsoft.com/office/drawing/2014/main" id="{95DC0F8D-B86D-EB4B-339C-652EFF74D498}"/>
                  </a:ext>
                </a:extLst>
              </p:cNvPr>
              <p:cNvGrpSpPr/>
              <p:nvPr/>
            </p:nvGrpSpPr>
            <p:grpSpPr>
              <a:xfrm>
                <a:off x="6386720" y="2240761"/>
                <a:ext cx="90386" cy="110707"/>
                <a:chOff x="6386720" y="2240761"/>
                <a:chExt cx="90386" cy="110707"/>
              </a:xfrm>
              <a:noFill/>
            </p:grpSpPr>
            <p:sp>
              <p:nvSpPr>
                <p:cNvPr id="636" name="Forma livre: Forma 635">
                  <a:extLst>
                    <a:ext uri="{FF2B5EF4-FFF2-40B4-BE49-F238E27FC236}">
                      <a16:creationId xmlns:a16="http://schemas.microsoft.com/office/drawing/2014/main" id="{73BF72FF-C054-D99A-B892-CB941FA5AB43}"/>
                    </a:ext>
                  </a:extLst>
                </p:cNvPr>
                <p:cNvSpPr/>
                <p:nvPr/>
              </p:nvSpPr>
              <p:spPr>
                <a:xfrm>
                  <a:off x="6386720" y="2310157"/>
                  <a:ext cx="90386" cy="41312"/>
                </a:xfrm>
                <a:custGeom>
                  <a:avLst/>
                  <a:gdLst>
                    <a:gd name="connsiteX0" fmla="*/ 0 w 90386"/>
                    <a:gd name="connsiteY0" fmla="*/ 41312 h 41312"/>
                    <a:gd name="connsiteX1" fmla="*/ 0 w 90386"/>
                    <a:gd name="connsiteY1" fmla="*/ 25955 h 41312"/>
                    <a:gd name="connsiteX2" fmla="*/ 26481 w 90386"/>
                    <a:gd name="connsiteY2" fmla="*/ 0 h 41312"/>
                    <a:gd name="connsiteX3" fmla="*/ 45211 w 90386"/>
                    <a:gd name="connsiteY3" fmla="*/ 20608 h 41312"/>
                    <a:gd name="connsiteX4" fmla="*/ 62578 w 90386"/>
                    <a:gd name="connsiteY4" fmla="*/ 0 h 41312"/>
                    <a:gd name="connsiteX5" fmla="*/ 90387 w 90386"/>
                    <a:gd name="connsiteY5" fmla="*/ 25955 h 41312"/>
                    <a:gd name="connsiteX6" fmla="*/ 90387 w 90386"/>
                    <a:gd name="connsiteY6" fmla="*/ 41312 h 4131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90386" h="41312">
                      <a:moveTo>
                        <a:pt x="0" y="41312"/>
                      </a:moveTo>
                      <a:lnTo>
                        <a:pt x="0" y="25955"/>
                      </a:lnTo>
                      <a:cubicBezTo>
                        <a:pt x="0" y="9592"/>
                        <a:pt x="11243" y="0"/>
                        <a:pt x="26481" y="0"/>
                      </a:cubicBezTo>
                      <a:lnTo>
                        <a:pt x="45211" y="20608"/>
                      </a:lnTo>
                      <a:lnTo>
                        <a:pt x="62578" y="0"/>
                      </a:lnTo>
                      <a:cubicBezTo>
                        <a:pt x="77816" y="0"/>
                        <a:pt x="90387" y="9581"/>
                        <a:pt x="90387" y="25955"/>
                      </a:cubicBezTo>
                      <a:lnTo>
                        <a:pt x="90387" y="41312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637" name="Forma livre: Forma 636">
                  <a:extLst>
                    <a:ext uri="{FF2B5EF4-FFF2-40B4-BE49-F238E27FC236}">
                      <a16:creationId xmlns:a16="http://schemas.microsoft.com/office/drawing/2014/main" id="{BE01CB74-41E6-33E2-699F-3DAD917BFB0D}"/>
                    </a:ext>
                  </a:extLst>
                </p:cNvPr>
                <p:cNvSpPr/>
                <p:nvPr/>
              </p:nvSpPr>
              <p:spPr>
                <a:xfrm>
                  <a:off x="6409588" y="2240761"/>
                  <a:ext cx="44649" cy="50689"/>
                </a:xfrm>
                <a:custGeom>
                  <a:avLst/>
                  <a:gdLst>
                    <a:gd name="connsiteX0" fmla="*/ 44649 w 44649"/>
                    <a:gd name="connsiteY0" fmla="*/ 28012 h 50689"/>
                    <a:gd name="connsiteX1" fmla="*/ 22331 w 44649"/>
                    <a:gd name="connsiteY1" fmla="*/ 50689 h 50689"/>
                    <a:gd name="connsiteX2" fmla="*/ 0 w 44649"/>
                    <a:gd name="connsiteY2" fmla="*/ 28012 h 50689"/>
                    <a:gd name="connsiteX3" fmla="*/ 0 w 44649"/>
                    <a:gd name="connsiteY3" fmla="*/ 22678 h 50689"/>
                    <a:gd name="connsiteX4" fmla="*/ 22331 w 44649"/>
                    <a:gd name="connsiteY4" fmla="*/ 0 h 50689"/>
                    <a:gd name="connsiteX5" fmla="*/ 44649 w 44649"/>
                    <a:gd name="connsiteY5" fmla="*/ 22678 h 50689"/>
                    <a:gd name="connsiteX6" fmla="*/ 44649 w 44649"/>
                    <a:gd name="connsiteY6" fmla="*/ 28012 h 5068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44649" h="50689">
                      <a:moveTo>
                        <a:pt x="44649" y="28012"/>
                      </a:moveTo>
                      <a:cubicBezTo>
                        <a:pt x="44649" y="40487"/>
                        <a:pt x="34614" y="50689"/>
                        <a:pt x="22331" y="50689"/>
                      </a:cubicBezTo>
                      <a:cubicBezTo>
                        <a:pt x="10047" y="50689"/>
                        <a:pt x="0" y="40475"/>
                        <a:pt x="0" y="28012"/>
                      </a:cubicBezTo>
                      <a:lnTo>
                        <a:pt x="0" y="22678"/>
                      </a:lnTo>
                      <a:cubicBezTo>
                        <a:pt x="0" y="10202"/>
                        <a:pt x="10023" y="0"/>
                        <a:pt x="22331" y="0"/>
                      </a:cubicBezTo>
                      <a:cubicBezTo>
                        <a:pt x="34638" y="0"/>
                        <a:pt x="44649" y="10202"/>
                        <a:pt x="44649" y="22678"/>
                      </a:cubicBezTo>
                      <a:lnTo>
                        <a:pt x="44649" y="28012"/>
                      </a:lnTo>
                      <a:close/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grpSp>
          <p:nvGrpSpPr>
            <p:cNvPr id="638" name="Gráfico 9">
              <a:extLst>
                <a:ext uri="{FF2B5EF4-FFF2-40B4-BE49-F238E27FC236}">
                  <a16:creationId xmlns:a16="http://schemas.microsoft.com/office/drawing/2014/main" id="{088E1115-8DDE-DC07-E721-93D0534356C7}"/>
                </a:ext>
              </a:extLst>
            </p:cNvPr>
            <p:cNvGrpSpPr/>
            <p:nvPr/>
          </p:nvGrpSpPr>
          <p:grpSpPr>
            <a:xfrm>
              <a:off x="6301751" y="2116884"/>
              <a:ext cx="62518" cy="205986"/>
              <a:chOff x="6301751" y="2116884"/>
              <a:chExt cx="62518" cy="205986"/>
            </a:xfrm>
            <a:noFill/>
          </p:grpSpPr>
          <p:sp>
            <p:nvSpPr>
              <p:cNvPr id="639" name="Forma livre: Forma 638">
                <a:extLst>
                  <a:ext uri="{FF2B5EF4-FFF2-40B4-BE49-F238E27FC236}">
                    <a16:creationId xmlns:a16="http://schemas.microsoft.com/office/drawing/2014/main" id="{002C254B-02B4-C613-E717-2F4EE56EB541}"/>
                  </a:ext>
                </a:extLst>
              </p:cNvPr>
              <p:cNvSpPr/>
              <p:nvPr/>
            </p:nvSpPr>
            <p:spPr>
              <a:xfrm>
                <a:off x="6335851" y="2116884"/>
                <a:ext cx="28418" cy="205986"/>
              </a:xfrm>
              <a:custGeom>
                <a:avLst/>
                <a:gdLst>
                  <a:gd name="connsiteX0" fmla="*/ 28419 w 28418"/>
                  <a:gd name="connsiteY0" fmla="*/ 0 h 205986"/>
                  <a:gd name="connsiteX1" fmla="*/ 0 w 28418"/>
                  <a:gd name="connsiteY1" fmla="*/ 0 h 205986"/>
                  <a:gd name="connsiteX2" fmla="*/ 0 w 28418"/>
                  <a:gd name="connsiteY2" fmla="*/ 205987 h 205986"/>
                  <a:gd name="connsiteX3" fmla="*/ 28419 w 28418"/>
                  <a:gd name="connsiteY3" fmla="*/ 205987 h 2059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8418" h="205986">
                    <a:moveTo>
                      <a:pt x="28419" y="0"/>
                    </a:moveTo>
                    <a:lnTo>
                      <a:pt x="0" y="0"/>
                    </a:lnTo>
                    <a:lnTo>
                      <a:pt x="0" y="205987"/>
                    </a:lnTo>
                    <a:lnTo>
                      <a:pt x="28419" y="205987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640" name="Forma livre: Forma 639">
                <a:extLst>
                  <a:ext uri="{FF2B5EF4-FFF2-40B4-BE49-F238E27FC236}">
                    <a16:creationId xmlns:a16="http://schemas.microsoft.com/office/drawing/2014/main" id="{1803D9CE-DF5E-EA02-BAF3-BA131E31F90F}"/>
                  </a:ext>
                </a:extLst>
              </p:cNvPr>
              <p:cNvSpPr/>
              <p:nvPr/>
            </p:nvSpPr>
            <p:spPr>
              <a:xfrm>
                <a:off x="6301751" y="2219878"/>
                <a:ext cx="34087" cy="1196"/>
              </a:xfrm>
              <a:custGeom>
                <a:avLst/>
                <a:gdLst>
                  <a:gd name="connsiteX0" fmla="*/ 0 w 34087"/>
                  <a:gd name="connsiteY0" fmla="*/ 0 h 1196"/>
                  <a:gd name="connsiteX1" fmla="*/ 34088 w 34087"/>
                  <a:gd name="connsiteY1" fmla="*/ 0 h 11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4087" h="1196">
                    <a:moveTo>
                      <a:pt x="0" y="0"/>
                    </a:moveTo>
                    <a:lnTo>
                      <a:pt x="34088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641" name="Gráfico 9">
              <a:extLst>
                <a:ext uri="{FF2B5EF4-FFF2-40B4-BE49-F238E27FC236}">
                  <a16:creationId xmlns:a16="http://schemas.microsoft.com/office/drawing/2014/main" id="{44BD19C6-22FB-F2FB-6748-B6D64027754F}"/>
                </a:ext>
              </a:extLst>
            </p:cNvPr>
            <p:cNvGrpSpPr/>
            <p:nvPr/>
          </p:nvGrpSpPr>
          <p:grpSpPr>
            <a:xfrm>
              <a:off x="6160137" y="2138713"/>
              <a:ext cx="130682" cy="162330"/>
              <a:chOff x="6160137" y="2138713"/>
              <a:chExt cx="130682" cy="162330"/>
            </a:xfrm>
            <a:noFill/>
          </p:grpSpPr>
          <p:sp>
            <p:nvSpPr>
              <p:cNvPr id="642" name="Forma livre: Forma 641">
                <a:extLst>
                  <a:ext uri="{FF2B5EF4-FFF2-40B4-BE49-F238E27FC236}">
                    <a16:creationId xmlns:a16="http://schemas.microsoft.com/office/drawing/2014/main" id="{9D20DAD7-5550-CC11-97DD-680969D88BB6}"/>
                  </a:ext>
                </a:extLst>
              </p:cNvPr>
              <p:cNvSpPr/>
              <p:nvPr/>
            </p:nvSpPr>
            <p:spPr>
              <a:xfrm>
                <a:off x="6160137" y="2228980"/>
                <a:ext cx="130682" cy="72063"/>
              </a:xfrm>
              <a:custGeom>
                <a:avLst/>
                <a:gdLst>
                  <a:gd name="connsiteX0" fmla="*/ 0 w 130682"/>
                  <a:gd name="connsiteY0" fmla="*/ 72063 h 72063"/>
                  <a:gd name="connsiteX1" fmla="*/ 0 w 130682"/>
                  <a:gd name="connsiteY1" fmla="*/ 31971 h 72063"/>
                  <a:gd name="connsiteX2" fmla="*/ 38633 w 130682"/>
                  <a:gd name="connsiteY2" fmla="*/ 0 h 72063"/>
                  <a:gd name="connsiteX3" fmla="*/ 65353 w 130682"/>
                  <a:gd name="connsiteY3" fmla="*/ 29423 h 72063"/>
                  <a:gd name="connsiteX4" fmla="*/ 90148 w 130682"/>
                  <a:gd name="connsiteY4" fmla="*/ 0 h 72063"/>
                  <a:gd name="connsiteX5" fmla="*/ 130682 w 130682"/>
                  <a:gd name="connsiteY5" fmla="*/ 31971 h 72063"/>
                  <a:gd name="connsiteX6" fmla="*/ 130682 w 130682"/>
                  <a:gd name="connsiteY6" fmla="*/ 72063 h 720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30682" h="72063">
                    <a:moveTo>
                      <a:pt x="0" y="72063"/>
                    </a:moveTo>
                    <a:lnTo>
                      <a:pt x="0" y="31971"/>
                    </a:lnTo>
                    <a:cubicBezTo>
                      <a:pt x="0" y="8624"/>
                      <a:pt x="16888" y="0"/>
                      <a:pt x="38633" y="0"/>
                    </a:cubicBezTo>
                    <a:lnTo>
                      <a:pt x="65353" y="29423"/>
                    </a:lnTo>
                    <a:lnTo>
                      <a:pt x="90148" y="0"/>
                    </a:lnTo>
                    <a:cubicBezTo>
                      <a:pt x="111892" y="0"/>
                      <a:pt x="130682" y="8612"/>
                      <a:pt x="130682" y="31971"/>
                    </a:cubicBezTo>
                    <a:lnTo>
                      <a:pt x="130682" y="72063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643" name="Forma livre: Forma 642">
                <a:extLst>
                  <a:ext uri="{FF2B5EF4-FFF2-40B4-BE49-F238E27FC236}">
                    <a16:creationId xmlns:a16="http://schemas.microsoft.com/office/drawing/2014/main" id="{B37BC0B4-6309-45E7-CF35-58B8C24ACC4C}"/>
                  </a:ext>
                </a:extLst>
              </p:cNvPr>
              <p:cNvSpPr/>
              <p:nvPr/>
            </p:nvSpPr>
            <p:spPr>
              <a:xfrm>
                <a:off x="6196928" y="2138713"/>
                <a:ext cx="57112" cy="68749"/>
              </a:xfrm>
              <a:custGeom>
                <a:avLst/>
                <a:gdLst>
                  <a:gd name="connsiteX0" fmla="*/ 57112 w 57112"/>
                  <a:gd name="connsiteY0" fmla="*/ 39745 h 68749"/>
                  <a:gd name="connsiteX1" fmla="*/ 28550 w 57112"/>
                  <a:gd name="connsiteY1" fmla="*/ 68750 h 68749"/>
                  <a:gd name="connsiteX2" fmla="*/ 0 w 57112"/>
                  <a:gd name="connsiteY2" fmla="*/ 39745 h 68749"/>
                  <a:gd name="connsiteX3" fmla="*/ 0 w 57112"/>
                  <a:gd name="connsiteY3" fmla="*/ 29005 h 68749"/>
                  <a:gd name="connsiteX4" fmla="*/ 28550 w 57112"/>
                  <a:gd name="connsiteY4" fmla="*/ 0 h 68749"/>
                  <a:gd name="connsiteX5" fmla="*/ 57112 w 57112"/>
                  <a:gd name="connsiteY5" fmla="*/ 29005 h 68749"/>
                  <a:gd name="connsiteX6" fmla="*/ 57112 w 57112"/>
                  <a:gd name="connsiteY6" fmla="*/ 39745 h 687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57112" h="68749">
                    <a:moveTo>
                      <a:pt x="57112" y="39745"/>
                    </a:moveTo>
                    <a:cubicBezTo>
                      <a:pt x="57112" y="55701"/>
                      <a:pt x="44254" y="68750"/>
                      <a:pt x="28550" y="68750"/>
                    </a:cubicBezTo>
                    <a:cubicBezTo>
                      <a:pt x="12846" y="68750"/>
                      <a:pt x="0" y="55701"/>
                      <a:pt x="0" y="39745"/>
                    </a:cubicBezTo>
                    <a:lnTo>
                      <a:pt x="0" y="29005"/>
                    </a:lnTo>
                    <a:cubicBezTo>
                      <a:pt x="0" y="13061"/>
                      <a:pt x="12858" y="0"/>
                      <a:pt x="28550" y="0"/>
                    </a:cubicBezTo>
                    <a:cubicBezTo>
                      <a:pt x="44243" y="0"/>
                      <a:pt x="57112" y="13049"/>
                      <a:pt x="57112" y="29005"/>
                    </a:cubicBezTo>
                    <a:lnTo>
                      <a:pt x="57112" y="39745"/>
                    </a:ln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644" name="Gráfico 9">
                <a:extLst>
                  <a:ext uri="{FF2B5EF4-FFF2-40B4-BE49-F238E27FC236}">
                    <a16:creationId xmlns:a16="http://schemas.microsoft.com/office/drawing/2014/main" id="{5A0B6A6C-4D59-7410-4717-BC4E6D13F49D}"/>
                  </a:ext>
                </a:extLst>
              </p:cNvPr>
              <p:cNvGrpSpPr/>
              <p:nvPr/>
            </p:nvGrpSpPr>
            <p:grpSpPr>
              <a:xfrm>
                <a:off x="6190110" y="2278760"/>
                <a:ext cx="70735" cy="21911"/>
                <a:chOff x="6190110" y="2278760"/>
                <a:chExt cx="70735" cy="21911"/>
              </a:xfrm>
            </p:grpSpPr>
            <p:sp>
              <p:nvSpPr>
                <p:cNvPr id="645" name="Forma livre: Forma 644">
                  <a:extLst>
                    <a:ext uri="{FF2B5EF4-FFF2-40B4-BE49-F238E27FC236}">
                      <a16:creationId xmlns:a16="http://schemas.microsoft.com/office/drawing/2014/main" id="{F9F599BA-52A3-A494-0978-095EDECC3BE8}"/>
                    </a:ext>
                  </a:extLst>
                </p:cNvPr>
                <p:cNvSpPr/>
                <p:nvPr/>
              </p:nvSpPr>
              <p:spPr>
                <a:xfrm>
                  <a:off x="6190110" y="2278760"/>
                  <a:ext cx="1196" cy="21911"/>
                </a:xfrm>
                <a:custGeom>
                  <a:avLst/>
                  <a:gdLst>
                    <a:gd name="connsiteX0" fmla="*/ 0 w 1196"/>
                    <a:gd name="connsiteY0" fmla="*/ 0 h 21911"/>
                    <a:gd name="connsiteX1" fmla="*/ 0 w 1196"/>
                    <a:gd name="connsiteY1" fmla="*/ 21912 h 2191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196" h="21911">
                      <a:moveTo>
                        <a:pt x="0" y="0"/>
                      </a:moveTo>
                      <a:lnTo>
                        <a:pt x="0" y="21912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646" name="Forma livre: Forma 645">
                  <a:extLst>
                    <a:ext uri="{FF2B5EF4-FFF2-40B4-BE49-F238E27FC236}">
                      <a16:creationId xmlns:a16="http://schemas.microsoft.com/office/drawing/2014/main" id="{A934B418-54F2-5160-068C-28F90FEF9770}"/>
                    </a:ext>
                  </a:extLst>
                </p:cNvPr>
                <p:cNvSpPr/>
                <p:nvPr/>
              </p:nvSpPr>
              <p:spPr>
                <a:xfrm>
                  <a:off x="6260846" y="2278760"/>
                  <a:ext cx="1196" cy="21911"/>
                </a:xfrm>
                <a:custGeom>
                  <a:avLst/>
                  <a:gdLst>
                    <a:gd name="connsiteX0" fmla="*/ 0 w 1196"/>
                    <a:gd name="connsiteY0" fmla="*/ 0 h 21911"/>
                    <a:gd name="connsiteX1" fmla="*/ 0 w 1196"/>
                    <a:gd name="connsiteY1" fmla="*/ 21912 h 2191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196" h="21911">
                      <a:moveTo>
                        <a:pt x="0" y="0"/>
                      </a:moveTo>
                      <a:lnTo>
                        <a:pt x="0" y="21912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</p:grpSp>
      <p:grpSp>
        <p:nvGrpSpPr>
          <p:cNvPr id="647" name="Gráfico 9">
            <a:extLst>
              <a:ext uri="{FF2B5EF4-FFF2-40B4-BE49-F238E27FC236}">
                <a16:creationId xmlns:a16="http://schemas.microsoft.com/office/drawing/2014/main" id="{2CFADD63-A31A-2DE3-44F8-B9FB4A85CAA1}"/>
              </a:ext>
            </a:extLst>
          </p:cNvPr>
          <p:cNvGrpSpPr/>
          <p:nvPr/>
        </p:nvGrpSpPr>
        <p:grpSpPr>
          <a:xfrm>
            <a:off x="6790763" y="2049534"/>
            <a:ext cx="279556" cy="340675"/>
            <a:chOff x="6790763" y="2049534"/>
            <a:chExt cx="279556" cy="340675"/>
          </a:xfrm>
          <a:noFill/>
        </p:grpSpPr>
        <p:grpSp>
          <p:nvGrpSpPr>
            <p:cNvPr id="648" name="Gráfico 9">
              <a:extLst>
                <a:ext uri="{FF2B5EF4-FFF2-40B4-BE49-F238E27FC236}">
                  <a16:creationId xmlns:a16="http://schemas.microsoft.com/office/drawing/2014/main" id="{5FEB5F6B-2E14-1B03-C926-3691089312EE}"/>
                </a:ext>
              </a:extLst>
            </p:cNvPr>
            <p:cNvGrpSpPr/>
            <p:nvPr/>
          </p:nvGrpSpPr>
          <p:grpSpPr>
            <a:xfrm>
              <a:off x="6873339" y="2103321"/>
              <a:ext cx="114415" cy="137870"/>
              <a:chOff x="6873339" y="2103321"/>
              <a:chExt cx="114415" cy="137870"/>
            </a:xfrm>
            <a:noFill/>
          </p:grpSpPr>
          <p:sp>
            <p:nvSpPr>
              <p:cNvPr id="649" name="Forma livre: Forma 648">
                <a:extLst>
                  <a:ext uri="{FF2B5EF4-FFF2-40B4-BE49-F238E27FC236}">
                    <a16:creationId xmlns:a16="http://schemas.microsoft.com/office/drawing/2014/main" id="{D9B83D93-1ECA-90C1-41AA-1962DC222615}"/>
                  </a:ext>
                </a:extLst>
              </p:cNvPr>
              <p:cNvSpPr/>
              <p:nvPr/>
            </p:nvSpPr>
            <p:spPr>
              <a:xfrm>
                <a:off x="6873339" y="2189809"/>
                <a:ext cx="114415" cy="51383"/>
              </a:xfrm>
              <a:custGeom>
                <a:avLst/>
                <a:gdLst>
                  <a:gd name="connsiteX0" fmla="*/ 0 w 114415"/>
                  <a:gd name="connsiteY0" fmla="*/ 51383 h 51383"/>
                  <a:gd name="connsiteX1" fmla="*/ 0 w 114415"/>
                  <a:gd name="connsiteY1" fmla="*/ 27988 h 51383"/>
                  <a:gd name="connsiteX2" fmla="*/ 33825 w 114415"/>
                  <a:gd name="connsiteY2" fmla="*/ 0 h 51383"/>
                  <a:gd name="connsiteX3" fmla="*/ 57220 w 114415"/>
                  <a:gd name="connsiteY3" fmla="*/ 25763 h 51383"/>
                  <a:gd name="connsiteX4" fmla="*/ 78940 w 114415"/>
                  <a:gd name="connsiteY4" fmla="*/ 0 h 51383"/>
                  <a:gd name="connsiteX5" fmla="*/ 114416 w 114415"/>
                  <a:gd name="connsiteY5" fmla="*/ 27988 h 51383"/>
                  <a:gd name="connsiteX6" fmla="*/ 114416 w 114415"/>
                  <a:gd name="connsiteY6" fmla="*/ 51383 h 513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14415" h="51383">
                    <a:moveTo>
                      <a:pt x="0" y="51383"/>
                    </a:moveTo>
                    <a:lnTo>
                      <a:pt x="0" y="27988"/>
                    </a:lnTo>
                    <a:cubicBezTo>
                      <a:pt x="0" y="7547"/>
                      <a:pt x="14795" y="0"/>
                      <a:pt x="33825" y="0"/>
                    </a:cubicBezTo>
                    <a:lnTo>
                      <a:pt x="57220" y="25763"/>
                    </a:lnTo>
                    <a:lnTo>
                      <a:pt x="78940" y="0"/>
                    </a:lnTo>
                    <a:cubicBezTo>
                      <a:pt x="97970" y="0"/>
                      <a:pt x="114416" y="7535"/>
                      <a:pt x="114416" y="27988"/>
                    </a:cubicBezTo>
                    <a:lnTo>
                      <a:pt x="114416" y="51383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650" name="Forma livre: Forma 649">
                <a:extLst>
                  <a:ext uri="{FF2B5EF4-FFF2-40B4-BE49-F238E27FC236}">
                    <a16:creationId xmlns:a16="http://schemas.microsoft.com/office/drawing/2014/main" id="{AE063159-63CF-D252-88C5-D84AB6538FDE}"/>
                  </a:ext>
                </a:extLst>
              </p:cNvPr>
              <p:cNvSpPr/>
              <p:nvPr/>
            </p:nvSpPr>
            <p:spPr>
              <a:xfrm>
                <a:off x="6904066" y="2103321"/>
                <a:ext cx="52937" cy="63690"/>
              </a:xfrm>
              <a:custGeom>
                <a:avLst/>
                <a:gdLst>
                  <a:gd name="connsiteX0" fmla="*/ 52938 w 52937"/>
                  <a:gd name="connsiteY0" fmla="*/ 36815 h 63690"/>
                  <a:gd name="connsiteX1" fmla="*/ 26469 w 52937"/>
                  <a:gd name="connsiteY1" fmla="*/ 63691 h 63690"/>
                  <a:gd name="connsiteX2" fmla="*/ 0 w 52937"/>
                  <a:gd name="connsiteY2" fmla="*/ 36815 h 63690"/>
                  <a:gd name="connsiteX3" fmla="*/ 0 w 52937"/>
                  <a:gd name="connsiteY3" fmla="*/ 26864 h 63690"/>
                  <a:gd name="connsiteX4" fmla="*/ 26469 w 52937"/>
                  <a:gd name="connsiteY4" fmla="*/ 0 h 63690"/>
                  <a:gd name="connsiteX5" fmla="*/ 52938 w 52937"/>
                  <a:gd name="connsiteY5" fmla="*/ 26864 h 63690"/>
                  <a:gd name="connsiteX6" fmla="*/ 52938 w 52937"/>
                  <a:gd name="connsiteY6" fmla="*/ 36815 h 636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52937" h="63690">
                    <a:moveTo>
                      <a:pt x="52938" y="36815"/>
                    </a:moveTo>
                    <a:cubicBezTo>
                      <a:pt x="52938" y="51598"/>
                      <a:pt x="41025" y="63691"/>
                      <a:pt x="26469" y="63691"/>
                    </a:cubicBezTo>
                    <a:cubicBezTo>
                      <a:pt x="11913" y="63691"/>
                      <a:pt x="0" y="51598"/>
                      <a:pt x="0" y="36815"/>
                    </a:cubicBezTo>
                    <a:lnTo>
                      <a:pt x="0" y="26864"/>
                    </a:lnTo>
                    <a:cubicBezTo>
                      <a:pt x="0" y="12092"/>
                      <a:pt x="11913" y="0"/>
                      <a:pt x="26469" y="0"/>
                    </a:cubicBezTo>
                    <a:cubicBezTo>
                      <a:pt x="41025" y="0"/>
                      <a:pt x="52938" y="12092"/>
                      <a:pt x="52938" y="26864"/>
                    </a:cubicBezTo>
                    <a:lnTo>
                      <a:pt x="52938" y="36815"/>
                    </a:ln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651" name="Gráfico 9">
              <a:extLst>
                <a:ext uri="{FF2B5EF4-FFF2-40B4-BE49-F238E27FC236}">
                  <a16:creationId xmlns:a16="http://schemas.microsoft.com/office/drawing/2014/main" id="{D8A11CA0-C983-32D9-0998-6B99595816F9}"/>
                </a:ext>
              </a:extLst>
            </p:cNvPr>
            <p:cNvGrpSpPr/>
            <p:nvPr/>
          </p:nvGrpSpPr>
          <p:grpSpPr>
            <a:xfrm>
              <a:off x="6790763" y="2145793"/>
              <a:ext cx="279556" cy="244416"/>
              <a:chOff x="6790763" y="2145793"/>
              <a:chExt cx="279556" cy="244416"/>
            </a:xfrm>
            <a:noFill/>
          </p:grpSpPr>
          <p:grpSp>
            <p:nvGrpSpPr>
              <p:cNvPr id="652" name="Gráfico 9">
                <a:extLst>
                  <a:ext uri="{FF2B5EF4-FFF2-40B4-BE49-F238E27FC236}">
                    <a16:creationId xmlns:a16="http://schemas.microsoft.com/office/drawing/2014/main" id="{D42F8E9B-F127-94A3-8319-4BA561FC817E}"/>
                  </a:ext>
                </a:extLst>
              </p:cNvPr>
              <p:cNvGrpSpPr/>
              <p:nvPr/>
            </p:nvGrpSpPr>
            <p:grpSpPr>
              <a:xfrm>
                <a:off x="6944744" y="2145793"/>
                <a:ext cx="125575" cy="244416"/>
                <a:chOff x="6944744" y="2145793"/>
                <a:chExt cx="125575" cy="244416"/>
              </a:xfrm>
              <a:noFill/>
            </p:grpSpPr>
            <p:sp>
              <p:nvSpPr>
                <p:cNvPr id="653" name="Forma livre: Forma 652">
                  <a:extLst>
                    <a:ext uri="{FF2B5EF4-FFF2-40B4-BE49-F238E27FC236}">
                      <a16:creationId xmlns:a16="http://schemas.microsoft.com/office/drawing/2014/main" id="{D4319A62-346E-3E6A-0E46-8313504C4F40}"/>
                    </a:ext>
                  </a:extLst>
                </p:cNvPr>
                <p:cNvSpPr/>
                <p:nvPr/>
              </p:nvSpPr>
              <p:spPr>
                <a:xfrm>
                  <a:off x="7010520" y="2145793"/>
                  <a:ext cx="59799" cy="243818"/>
                </a:xfrm>
                <a:custGeom>
                  <a:avLst/>
                  <a:gdLst>
                    <a:gd name="connsiteX0" fmla="*/ 26920 w 59799"/>
                    <a:gd name="connsiteY0" fmla="*/ 80938 h 243818"/>
                    <a:gd name="connsiteX1" fmla="*/ 26920 w 59799"/>
                    <a:gd name="connsiteY1" fmla="*/ 18850 h 243818"/>
                    <a:gd name="connsiteX2" fmla="*/ 42839 w 59799"/>
                    <a:gd name="connsiteY2" fmla="*/ 0 h 243818"/>
                    <a:gd name="connsiteX3" fmla="*/ 59800 w 59799"/>
                    <a:gd name="connsiteY3" fmla="*/ 18647 h 243818"/>
                    <a:gd name="connsiteX4" fmla="*/ 59800 w 59799"/>
                    <a:gd name="connsiteY4" fmla="*/ 139163 h 243818"/>
                    <a:gd name="connsiteX5" fmla="*/ 4541 w 59799"/>
                    <a:gd name="connsiteY5" fmla="*/ 211309 h 243818"/>
                    <a:gd name="connsiteX6" fmla="*/ 331 w 59799"/>
                    <a:gd name="connsiteY6" fmla="*/ 243818 h 24381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59799" h="243818">
                      <a:moveTo>
                        <a:pt x="26920" y="80938"/>
                      </a:moveTo>
                      <a:lnTo>
                        <a:pt x="26920" y="18850"/>
                      </a:lnTo>
                      <a:cubicBezTo>
                        <a:pt x="26860" y="8540"/>
                        <a:pt x="33558" y="60"/>
                        <a:pt x="42839" y="0"/>
                      </a:cubicBezTo>
                      <a:cubicBezTo>
                        <a:pt x="52097" y="-48"/>
                        <a:pt x="59728" y="8337"/>
                        <a:pt x="59800" y="18647"/>
                      </a:cubicBezTo>
                      <a:lnTo>
                        <a:pt x="59800" y="139163"/>
                      </a:lnTo>
                      <a:lnTo>
                        <a:pt x="4541" y="211309"/>
                      </a:lnTo>
                      <a:cubicBezTo>
                        <a:pt x="4541" y="211309"/>
                        <a:pt x="-1451" y="218294"/>
                        <a:pt x="331" y="243818"/>
                      </a:cubicBez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654" name="Forma livre: Forma 653">
                  <a:extLst>
                    <a:ext uri="{FF2B5EF4-FFF2-40B4-BE49-F238E27FC236}">
                      <a16:creationId xmlns:a16="http://schemas.microsoft.com/office/drawing/2014/main" id="{E6D7F0BE-9D26-B5AF-5626-C7F4AD77AA75}"/>
                    </a:ext>
                  </a:extLst>
                </p:cNvPr>
                <p:cNvSpPr/>
                <p:nvPr/>
              </p:nvSpPr>
              <p:spPr>
                <a:xfrm>
                  <a:off x="6944744" y="2243654"/>
                  <a:ext cx="104447" cy="146555"/>
                </a:xfrm>
                <a:custGeom>
                  <a:avLst/>
                  <a:gdLst>
                    <a:gd name="connsiteX0" fmla="*/ 0 w 104447"/>
                    <a:gd name="connsiteY0" fmla="*/ 146556 h 146555"/>
                    <a:gd name="connsiteX1" fmla="*/ 60 w 104447"/>
                    <a:gd name="connsiteY1" fmla="*/ 90568 h 146555"/>
                    <a:gd name="connsiteX2" fmla="*/ 25428 w 104447"/>
                    <a:gd name="connsiteY2" fmla="*/ 54076 h 146555"/>
                    <a:gd name="connsiteX3" fmla="*/ 49984 w 104447"/>
                    <a:gd name="connsiteY3" fmla="*/ 32989 h 146555"/>
                    <a:gd name="connsiteX4" fmla="*/ 71632 w 104447"/>
                    <a:gd name="connsiteY4" fmla="*/ 9522 h 146555"/>
                    <a:gd name="connsiteX5" fmla="*/ 100266 w 104447"/>
                    <a:gd name="connsiteY5" fmla="*/ 3374 h 146555"/>
                    <a:gd name="connsiteX6" fmla="*/ 96451 w 104447"/>
                    <a:gd name="connsiteY6" fmla="*/ 32379 h 146555"/>
                    <a:gd name="connsiteX7" fmla="*/ 66011 w 104447"/>
                    <a:gd name="connsiteY7" fmla="*/ 65343 h 14655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04447" h="146555">
                      <a:moveTo>
                        <a:pt x="0" y="146556"/>
                      </a:moveTo>
                      <a:lnTo>
                        <a:pt x="60" y="90568"/>
                      </a:lnTo>
                      <a:cubicBezTo>
                        <a:pt x="60" y="68811"/>
                        <a:pt x="25428" y="54076"/>
                        <a:pt x="25428" y="54076"/>
                      </a:cubicBezTo>
                      <a:cubicBezTo>
                        <a:pt x="36911" y="46385"/>
                        <a:pt x="49984" y="32989"/>
                        <a:pt x="49984" y="32989"/>
                      </a:cubicBezTo>
                      <a:lnTo>
                        <a:pt x="71632" y="9522"/>
                      </a:lnTo>
                      <a:cubicBezTo>
                        <a:pt x="80555" y="-154"/>
                        <a:pt x="93437" y="-2917"/>
                        <a:pt x="100266" y="3374"/>
                      </a:cubicBezTo>
                      <a:cubicBezTo>
                        <a:pt x="107096" y="9654"/>
                        <a:pt x="105374" y="22703"/>
                        <a:pt x="96451" y="32379"/>
                      </a:cubicBezTo>
                      <a:lnTo>
                        <a:pt x="66011" y="65343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655" name="Gráfico 9">
                <a:extLst>
                  <a:ext uri="{FF2B5EF4-FFF2-40B4-BE49-F238E27FC236}">
                    <a16:creationId xmlns:a16="http://schemas.microsoft.com/office/drawing/2014/main" id="{47A3FC89-B42F-BFCF-5066-00A77F6E8E95}"/>
                  </a:ext>
                </a:extLst>
              </p:cNvPr>
              <p:cNvGrpSpPr/>
              <p:nvPr/>
            </p:nvGrpSpPr>
            <p:grpSpPr>
              <a:xfrm>
                <a:off x="6790763" y="2145793"/>
                <a:ext cx="125575" cy="244416"/>
                <a:chOff x="6790763" y="2145793"/>
                <a:chExt cx="125575" cy="244416"/>
              </a:xfrm>
              <a:noFill/>
            </p:grpSpPr>
            <p:sp>
              <p:nvSpPr>
                <p:cNvPr id="656" name="Forma livre: Forma 655">
                  <a:extLst>
                    <a:ext uri="{FF2B5EF4-FFF2-40B4-BE49-F238E27FC236}">
                      <a16:creationId xmlns:a16="http://schemas.microsoft.com/office/drawing/2014/main" id="{F9B39F74-B4C4-4455-E69B-53BB260424C8}"/>
                    </a:ext>
                  </a:extLst>
                </p:cNvPr>
                <p:cNvSpPr/>
                <p:nvPr/>
              </p:nvSpPr>
              <p:spPr>
                <a:xfrm>
                  <a:off x="6790763" y="2145793"/>
                  <a:ext cx="59799" cy="243818"/>
                </a:xfrm>
                <a:custGeom>
                  <a:avLst/>
                  <a:gdLst>
                    <a:gd name="connsiteX0" fmla="*/ 32892 w 59799"/>
                    <a:gd name="connsiteY0" fmla="*/ 80938 h 243818"/>
                    <a:gd name="connsiteX1" fmla="*/ 32892 w 59799"/>
                    <a:gd name="connsiteY1" fmla="*/ 18850 h 243818"/>
                    <a:gd name="connsiteX2" fmla="*/ 16960 w 59799"/>
                    <a:gd name="connsiteY2" fmla="*/ 0 h 243818"/>
                    <a:gd name="connsiteX3" fmla="*/ 0 w 59799"/>
                    <a:gd name="connsiteY3" fmla="*/ 18647 h 243818"/>
                    <a:gd name="connsiteX4" fmla="*/ 0 w 59799"/>
                    <a:gd name="connsiteY4" fmla="*/ 139163 h 243818"/>
                    <a:gd name="connsiteX5" fmla="*/ 55258 w 59799"/>
                    <a:gd name="connsiteY5" fmla="*/ 211309 h 243818"/>
                    <a:gd name="connsiteX6" fmla="*/ 59468 w 59799"/>
                    <a:gd name="connsiteY6" fmla="*/ 243818 h 24381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59799" h="243818">
                      <a:moveTo>
                        <a:pt x="32892" y="80938"/>
                      </a:moveTo>
                      <a:lnTo>
                        <a:pt x="32892" y="18850"/>
                      </a:lnTo>
                      <a:cubicBezTo>
                        <a:pt x="32952" y="8540"/>
                        <a:pt x="26242" y="60"/>
                        <a:pt x="16960" y="0"/>
                      </a:cubicBezTo>
                      <a:cubicBezTo>
                        <a:pt x="7703" y="-48"/>
                        <a:pt x="72" y="8337"/>
                        <a:pt x="0" y="18647"/>
                      </a:cubicBezTo>
                      <a:lnTo>
                        <a:pt x="0" y="139163"/>
                      </a:lnTo>
                      <a:cubicBezTo>
                        <a:pt x="0" y="139163"/>
                        <a:pt x="55258" y="211309"/>
                        <a:pt x="55258" y="211309"/>
                      </a:cubicBezTo>
                      <a:cubicBezTo>
                        <a:pt x="55258" y="211309"/>
                        <a:pt x="61251" y="218294"/>
                        <a:pt x="59468" y="243818"/>
                      </a:cubicBez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657" name="Forma livre: Forma 656">
                  <a:extLst>
                    <a:ext uri="{FF2B5EF4-FFF2-40B4-BE49-F238E27FC236}">
                      <a16:creationId xmlns:a16="http://schemas.microsoft.com/office/drawing/2014/main" id="{C2AF2A7B-61C4-5DAF-5BDE-9CC4E38C8F67}"/>
                    </a:ext>
                  </a:extLst>
                </p:cNvPr>
                <p:cNvSpPr/>
                <p:nvPr/>
              </p:nvSpPr>
              <p:spPr>
                <a:xfrm>
                  <a:off x="6811897" y="2243654"/>
                  <a:ext cx="104441" cy="146555"/>
                </a:xfrm>
                <a:custGeom>
                  <a:avLst/>
                  <a:gdLst>
                    <a:gd name="connsiteX0" fmla="*/ 104441 w 104441"/>
                    <a:gd name="connsiteY0" fmla="*/ 146556 h 146555"/>
                    <a:gd name="connsiteX1" fmla="*/ 104381 w 104441"/>
                    <a:gd name="connsiteY1" fmla="*/ 90568 h 146555"/>
                    <a:gd name="connsiteX2" fmla="*/ 79013 w 104441"/>
                    <a:gd name="connsiteY2" fmla="*/ 54076 h 146555"/>
                    <a:gd name="connsiteX3" fmla="*/ 54470 w 104441"/>
                    <a:gd name="connsiteY3" fmla="*/ 32989 h 146555"/>
                    <a:gd name="connsiteX4" fmla="*/ 32809 w 104441"/>
                    <a:gd name="connsiteY4" fmla="*/ 9522 h 146555"/>
                    <a:gd name="connsiteX5" fmla="*/ 4175 w 104441"/>
                    <a:gd name="connsiteY5" fmla="*/ 3374 h 146555"/>
                    <a:gd name="connsiteX6" fmla="*/ 8002 w 104441"/>
                    <a:gd name="connsiteY6" fmla="*/ 32379 h 146555"/>
                    <a:gd name="connsiteX7" fmla="*/ 38442 w 104441"/>
                    <a:gd name="connsiteY7" fmla="*/ 65343 h 14655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04441" h="146555">
                      <a:moveTo>
                        <a:pt x="104441" y="146556"/>
                      </a:moveTo>
                      <a:lnTo>
                        <a:pt x="104381" y="90568"/>
                      </a:lnTo>
                      <a:cubicBezTo>
                        <a:pt x="104381" y="68811"/>
                        <a:pt x="79013" y="54076"/>
                        <a:pt x="79013" y="54076"/>
                      </a:cubicBezTo>
                      <a:cubicBezTo>
                        <a:pt x="67531" y="46385"/>
                        <a:pt x="54470" y="32989"/>
                        <a:pt x="54470" y="32989"/>
                      </a:cubicBezTo>
                      <a:lnTo>
                        <a:pt x="32809" y="9522"/>
                      </a:lnTo>
                      <a:cubicBezTo>
                        <a:pt x="23898" y="-154"/>
                        <a:pt x="11005" y="-2917"/>
                        <a:pt x="4175" y="3374"/>
                      </a:cubicBezTo>
                      <a:cubicBezTo>
                        <a:pt x="-2643" y="9654"/>
                        <a:pt x="-932" y="22703"/>
                        <a:pt x="8002" y="32379"/>
                      </a:cubicBezTo>
                      <a:lnTo>
                        <a:pt x="38442" y="65343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sp>
          <p:nvSpPr>
            <p:cNvPr id="658" name="Forma livre: Forma 657">
              <a:extLst>
                <a:ext uri="{FF2B5EF4-FFF2-40B4-BE49-F238E27FC236}">
                  <a16:creationId xmlns:a16="http://schemas.microsoft.com/office/drawing/2014/main" id="{9BCA04DA-D43B-5F94-68DA-1DF3A63AA254}"/>
                </a:ext>
              </a:extLst>
            </p:cNvPr>
            <p:cNvSpPr/>
            <p:nvPr/>
          </p:nvSpPr>
          <p:spPr>
            <a:xfrm>
              <a:off x="6930547" y="2049534"/>
              <a:ext cx="1196" cy="23311"/>
            </a:xfrm>
            <a:custGeom>
              <a:avLst/>
              <a:gdLst>
                <a:gd name="connsiteX0" fmla="*/ 0 w 1196"/>
                <a:gd name="connsiteY0" fmla="*/ 23311 h 23311"/>
                <a:gd name="connsiteX1" fmla="*/ 0 w 1196"/>
                <a:gd name="connsiteY1" fmla="*/ 0 h 233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96" h="23311">
                  <a:moveTo>
                    <a:pt x="0" y="23311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659" name="Gráfico 9">
              <a:extLst>
                <a:ext uri="{FF2B5EF4-FFF2-40B4-BE49-F238E27FC236}">
                  <a16:creationId xmlns:a16="http://schemas.microsoft.com/office/drawing/2014/main" id="{B46F4426-D582-E667-EFCE-320A84A90C23}"/>
                </a:ext>
              </a:extLst>
            </p:cNvPr>
            <p:cNvGrpSpPr/>
            <p:nvPr/>
          </p:nvGrpSpPr>
          <p:grpSpPr>
            <a:xfrm>
              <a:off x="6854549" y="2076158"/>
              <a:ext cx="151984" cy="18144"/>
              <a:chOff x="6854549" y="2076158"/>
              <a:chExt cx="151984" cy="18144"/>
            </a:xfrm>
          </p:grpSpPr>
          <p:sp>
            <p:nvSpPr>
              <p:cNvPr id="660" name="Forma livre: Forma 659">
                <a:extLst>
                  <a:ext uri="{FF2B5EF4-FFF2-40B4-BE49-F238E27FC236}">
                    <a16:creationId xmlns:a16="http://schemas.microsoft.com/office/drawing/2014/main" id="{F2454E68-676B-9CBC-37F4-F23F6318D3B3}"/>
                  </a:ext>
                </a:extLst>
              </p:cNvPr>
              <p:cNvSpPr/>
              <p:nvPr/>
            </p:nvSpPr>
            <p:spPr>
              <a:xfrm>
                <a:off x="6854549" y="2076158"/>
                <a:ext cx="14639" cy="18144"/>
              </a:xfrm>
              <a:custGeom>
                <a:avLst/>
                <a:gdLst>
                  <a:gd name="connsiteX0" fmla="*/ 14640 w 14639"/>
                  <a:gd name="connsiteY0" fmla="*/ 18144 h 18144"/>
                  <a:gd name="connsiteX1" fmla="*/ 0 w 14639"/>
                  <a:gd name="connsiteY1" fmla="*/ 0 h 181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4639" h="18144">
                    <a:moveTo>
                      <a:pt x="14640" y="18144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661" name="Forma livre: Forma 660">
                <a:extLst>
                  <a:ext uri="{FF2B5EF4-FFF2-40B4-BE49-F238E27FC236}">
                    <a16:creationId xmlns:a16="http://schemas.microsoft.com/office/drawing/2014/main" id="{FFF43C78-FF9E-7B76-003B-19475B5D0C55}"/>
                  </a:ext>
                </a:extLst>
              </p:cNvPr>
              <p:cNvSpPr/>
              <p:nvPr/>
            </p:nvSpPr>
            <p:spPr>
              <a:xfrm>
                <a:off x="6991893" y="2076158"/>
                <a:ext cx="14639" cy="18144"/>
              </a:xfrm>
              <a:custGeom>
                <a:avLst/>
                <a:gdLst>
                  <a:gd name="connsiteX0" fmla="*/ 14640 w 14639"/>
                  <a:gd name="connsiteY0" fmla="*/ 0 h 18144"/>
                  <a:gd name="connsiteX1" fmla="*/ 0 w 14639"/>
                  <a:gd name="connsiteY1" fmla="*/ 18144 h 181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4639" h="18144">
                    <a:moveTo>
                      <a:pt x="14640" y="0"/>
                    </a:moveTo>
                    <a:lnTo>
                      <a:pt x="0" y="18144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662" name="Gráfico 9">
            <a:extLst>
              <a:ext uri="{FF2B5EF4-FFF2-40B4-BE49-F238E27FC236}">
                <a16:creationId xmlns:a16="http://schemas.microsoft.com/office/drawing/2014/main" id="{7DC9C125-DB92-68B2-CC50-C4B755573767}"/>
              </a:ext>
            </a:extLst>
          </p:cNvPr>
          <p:cNvGrpSpPr/>
          <p:nvPr/>
        </p:nvGrpSpPr>
        <p:grpSpPr>
          <a:xfrm>
            <a:off x="7434390" y="2054952"/>
            <a:ext cx="259797" cy="329851"/>
            <a:chOff x="7434390" y="2054952"/>
            <a:chExt cx="259797" cy="329851"/>
          </a:xfrm>
          <a:noFill/>
        </p:grpSpPr>
        <p:sp>
          <p:nvSpPr>
            <p:cNvPr id="663" name="Forma livre: Forma 662">
              <a:extLst>
                <a:ext uri="{FF2B5EF4-FFF2-40B4-BE49-F238E27FC236}">
                  <a16:creationId xmlns:a16="http://schemas.microsoft.com/office/drawing/2014/main" id="{2C6895FA-DD29-EC61-261B-EA93A7983EDE}"/>
                </a:ext>
              </a:extLst>
            </p:cNvPr>
            <p:cNvSpPr/>
            <p:nvPr/>
          </p:nvSpPr>
          <p:spPr>
            <a:xfrm>
              <a:off x="7513450" y="2132110"/>
              <a:ext cx="101677" cy="51347"/>
            </a:xfrm>
            <a:custGeom>
              <a:avLst/>
              <a:gdLst>
                <a:gd name="connsiteX0" fmla="*/ 0 w 101677"/>
                <a:gd name="connsiteY0" fmla="*/ 51347 h 51347"/>
                <a:gd name="connsiteX1" fmla="*/ 0 w 101677"/>
                <a:gd name="connsiteY1" fmla="*/ 27163 h 51347"/>
                <a:gd name="connsiteX2" fmla="*/ 29794 w 101677"/>
                <a:gd name="connsiteY2" fmla="*/ 0 h 51347"/>
                <a:gd name="connsiteX3" fmla="*/ 50857 w 101677"/>
                <a:gd name="connsiteY3" fmla="*/ 21589 h 51347"/>
                <a:gd name="connsiteX4" fmla="*/ 70400 w 101677"/>
                <a:gd name="connsiteY4" fmla="*/ 0 h 51347"/>
                <a:gd name="connsiteX5" fmla="*/ 101678 w 101677"/>
                <a:gd name="connsiteY5" fmla="*/ 27163 h 51347"/>
                <a:gd name="connsiteX6" fmla="*/ 101678 w 101677"/>
                <a:gd name="connsiteY6" fmla="*/ 51347 h 513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1677" h="51347">
                  <a:moveTo>
                    <a:pt x="0" y="51347"/>
                  </a:moveTo>
                  <a:lnTo>
                    <a:pt x="0" y="27163"/>
                  </a:lnTo>
                  <a:cubicBezTo>
                    <a:pt x="0" y="10035"/>
                    <a:pt x="12654" y="0"/>
                    <a:pt x="29794" y="0"/>
                  </a:cubicBezTo>
                  <a:lnTo>
                    <a:pt x="50857" y="21589"/>
                  </a:lnTo>
                  <a:lnTo>
                    <a:pt x="70400" y="0"/>
                  </a:lnTo>
                  <a:cubicBezTo>
                    <a:pt x="87540" y="0"/>
                    <a:pt x="101678" y="10035"/>
                    <a:pt x="101678" y="27163"/>
                  </a:cubicBezTo>
                  <a:lnTo>
                    <a:pt x="101678" y="51347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64" name="Forma livre: Forma 663">
              <a:extLst>
                <a:ext uri="{FF2B5EF4-FFF2-40B4-BE49-F238E27FC236}">
                  <a16:creationId xmlns:a16="http://schemas.microsoft.com/office/drawing/2014/main" id="{CAC78D15-2099-8D39-41AD-0BE90259B28F}"/>
                </a:ext>
              </a:extLst>
            </p:cNvPr>
            <p:cNvSpPr/>
            <p:nvPr/>
          </p:nvSpPr>
          <p:spPr>
            <a:xfrm>
              <a:off x="7440155" y="2201709"/>
              <a:ext cx="248243" cy="51119"/>
            </a:xfrm>
            <a:custGeom>
              <a:avLst/>
              <a:gdLst>
                <a:gd name="connsiteX0" fmla="*/ 50354 w 248243"/>
                <a:gd name="connsiteY0" fmla="*/ 51120 h 51119"/>
                <a:gd name="connsiteX1" fmla="*/ 0 w 248243"/>
                <a:gd name="connsiteY1" fmla="*/ 23000 h 51119"/>
                <a:gd name="connsiteX2" fmla="*/ 0 w 248243"/>
                <a:gd name="connsiteY2" fmla="*/ 0 h 51119"/>
                <a:gd name="connsiteX3" fmla="*/ 248244 w 248243"/>
                <a:gd name="connsiteY3" fmla="*/ 0 h 51119"/>
                <a:gd name="connsiteX4" fmla="*/ 248244 w 248243"/>
                <a:gd name="connsiteY4" fmla="*/ 23000 h 51119"/>
                <a:gd name="connsiteX5" fmla="*/ 197949 w 248243"/>
                <a:gd name="connsiteY5" fmla="*/ 51120 h 511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48243" h="51119">
                  <a:moveTo>
                    <a:pt x="50354" y="51120"/>
                  </a:moveTo>
                  <a:lnTo>
                    <a:pt x="0" y="23000"/>
                  </a:lnTo>
                  <a:lnTo>
                    <a:pt x="0" y="0"/>
                  </a:lnTo>
                  <a:lnTo>
                    <a:pt x="248244" y="0"/>
                  </a:lnTo>
                  <a:lnTo>
                    <a:pt x="248244" y="23000"/>
                  </a:lnTo>
                  <a:lnTo>
                    <a:pt x="197949" y="51120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665" name="Gráfico 9">
              <a:extLst>
                <a:ext uri="{FF2B5EF4-FFF2-40B4-BE49-F238E27FC236}">
                  <a16:creationId xmlns:a16="http://schemas.microsoft.com/office/drawing/2014/main" id="{6D507B6B-6BCC-1471-240E-4FA1B5978D1E}"/>
                </a:ext>
              </a:extLst>
            </p:cNvPr>
            <p:cNvGrpSpPr/>
            <p:nvPr/>
          </p:nvGrpSpPr>
          <p:grpSpPr>
            <a:xfrm>
              <a:off x="7492483" y="2230224"/>
              <a:ext cx="143599" cy="36671"/>
              <a:chOff x="7492483" y="2230224"/>
              <a:chExt cx="143599" cy="36671"/>
            </a:xfrm>
          </p:grpSpPr>
          <p:sp>
            <p:nvSpPr>
              <p:cNvPr id="666" name="Forma livre: Forma 665">
                <a:extLst>
                  <a:ext uri="{FF2B5EF4-FFF2-40B4-BE49-F238E27FC236}">
                    <a16:creationId xmlns:a16="http://schemas.microsoft.com/office/drawing/2014/main" id="{ED153274-FA20-3F3C-16CD-75A10E3928B6}"/>
                  </a:ext>
                </a:extLst>
              </p:cNvPr>
              <p:cNvSpPr/>
              <p:nvPr/>
            </p:nvSpPr>
            <p:spPr>
              <a:xfrm>
                <a:off x="7636083" y="2230224"/>
                <a:ext cx="1196" cy="36671"/>
              </a:xfrm>
              <a:custGeom>
                <a:avLst/>
                <a:gdLst>
                  <a:gd name="connsiteX0" fmla="*/ 0 w 1196"/>
                  <a:gd name="connsiteY0" fmla="*/ 0 h 36671"/>
                  <a:gd name="connsiteX1" fmla="*/ 0 w 1196"/>
                  <a:gd name="connsiteY1" fmla="*/ 36671 h 366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6" h="36671">
                    <a:moveTo>
                      <a:pt x="0" y="0"/>
                    </a:moveTo>
                    <a:lnTo>
                      <a:pt x="0" y="36671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667" name="Forma livre: Forma 666">
                <a:extLst>
                  <a:ext uri="{FF2B5EF4-FFF2-40B4-BE49-F238E27FC236}">
                    <a16:creationId xmlns:a16="http://schemas.microsoft.com/office/drawing/2014/main" id="{8A78E671-7F6B-CC5C-B386-57FC376A6EC4}"/>
                  </a:ext>
                </a:extLst>
              </p:cNvPr>
              <p:cNvSpPr/>
              <p:nvPr/>
            </p:nvSpPr>
            <p:spPr>
              <a:xfrm>
                <a:off x="7492483" y="2230224"/>
                <a:ext cx="1196" cy="36671"/>
              </a:xfrm>
              <a:custGeom>
                <a:avLst/>
                <a:gdLst>
                  <a:gd name="connsiteX0" fmla="*/ 0 w 1196"/>
                  <a:gd name="connsiteY0" fmla="*/ 36671 h 36671"/>
                  <a:gd name="connsiteX1" fmla="*/ 0 w 1196"/>
                  <a:gd name="connsiteY1" fmla="*/ 0 h 366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6" h="36671">
                    <a:moveTo>
                      <a:pt x="0" y="36671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668" name="Forma livre: Forma 667">
              <a:extLst>
                <a:ext uri="{FF2B5EF4-FFF2-40B4-BE49-F238E27FC236}">
                  <a16:creationId xmlns:a16="http://schemas.microsoft.com/office/drawing/2014/main" id="{B41B7568-68B6-6AD4-5361-6ABFB111241D}"/>
                </a:ext>
              </a:extLst>
            </p:cNvPr>
            <p:cNvSpPr/>
            <p:nvPr/>
          </p:nvSpPr>
          <p:spPr>
            <a:xfrm>
              <a:off x="7526176" y="2232412"/>
              <a:ext cx="76201" cy="42568"/>
            </a:xfrm>
            <a:custGeom>
              <a:avLst/>
              <a:gdLst>
                <a:gd name="connsiteX0" fmla="*/ 0 w 76201"/>
                <a:gd name="connsiteY0" fmla="*/ 42568 h 42568"/>
                <a:gd name="connsiteX1" fmla="*/ 0 w 76201"/>
                <a:gd name="connsiteY1" fmla="*/ 0 h 42568"/>
                <a:gd name="connsiteX2" fmla="*/ 38107 w 76201"/>
                <a:gd name="connsiteY2" fmla="*/ 0 h 42568"/>
                <a:gd name="connsiteX3" fmla="*/ 76201 w 76201"/>
                <a:gd name="connsiteY3" fmla="*/ 0 h 42568"/>
                <a:gd name="connsiteX4" fmla="*/ 76201 w 76201"/>
                <a:gd name="connsiteY4" fmla="*/ 42568 h 425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201" h="42568">
                  <a:moveTo>
                    <a:pt x="0" y="42568"/>
                  </a:moveTo>
                  <a:lnTo>
                    <a:pt x="0" y="0"/>
                  </a:lnTo>
                  <a:lnTo>
                    <a:pt x="38107" y="0"/>
                  </a:lnTo>
                  <a:lnTo>
                    <a:pt x="76201" y="0"/>
                  </a:lnTo>
                  <a:lnTo>
                    <a:pt x="76201" y="42568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69" name="Forma livre: Forma 668">
              <a:extLst>
                <a:ext uri="{FF2B5EF4-FFF2-40B4-BE49-F238E27FC236}">
                  <a16:creationId xmlns:a16="http://schemas.microsoft.com/office/drawing/2014/main" id="{20212CB6-8B14-2A71-3946-FA9586C54124}"/>
                </a:ext>
              </a:extLst>
            </p:cNvPr>
            <p:cNvSpPr/>
            <p:nvPr/>
          </p:nvSpPr>
          <p:spPr>
            <a:xfrm>
              <a:off x="7540900" y="2054952"/>
              <a:ext cx="46778" cy="56298"/>
            </a:xfrm>
            <a:custGeom>
              <a:avLst/>
              <a:gdLst>
                <a:gd name="connsiteX0" fmla="*/ 46778 w 46778"/>
                <a:gd name="connsiteY0" fmla="*/ 32545 h 56298"/>
                <a:gd name="connsiteX1" fmla="*/ 23395 w 46778"/>
                <a:gd name="connsiteY1" fmla="*/ 56299 h 56298"/>
                <a:gd name="connsiteX2" fmla="*/ 0 w 46778"/>
                <a:gd name="connsiteY2" fmla="*/ 32545 h 56298"/>
                <a:gd name="connsiteX3" fmla="*/ 0 w 46778"/>
                <a:gd name="connsiteY3" fmla="*/ 23754 h 56298"/>
                <a:gd name="connsiteX4" fmla="*/ 23395 w 46778"/>
                <a:gd name="connsiteY4" fmla="*/ 0 h 56298"/>
                <a:gd name="connsiteX5" fmla="*/ 46778 w 46778"/>
                <a:gd name="connsiteY5" fmla="*/ 23754 h 56298"/>
                <a:gd name="connsiteX6" fmla="*/ 46778 w 46778"/>
                <a:gd name="connsiteY6" fmla="*/ 32545 h 562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6778" h="56298">
                  <a:moveTo>
                    <a:pt x="46778" y="32545"/>
                  </a:moveTo>
                  <a:cubicBezTo>
                    <a:pt x="46778" y="45606"/>
                    <a:pt x="36253" y="56299"/>
                    <a:pt x="23395" y="56299"/>
                  </a:cubicBezTo>
                  <a:cubicBezTo>
                    <a:pt x="10537" y="56299"/>
                    <a:pt x="0" y="45618"/>
                    <a:pt x="0" y="32545"/>
                  </a:cubicBezTo>
                  <a:lnTo>
                    <a:pt x="0" y="23754"/>
                  </a:lnTo>
                  <a:cubicBezTo>
                    <a:pt x="0" y="10693"/>
                    <a:pt x="10525" y="0"/>
                    <a:pt x="23395" y="0"/>
                  </a:cubicBezTo>
                  <a:cubicBezTo>
                    <a:pt x="36265" y="0"/>
                    <a:pt x="46778" y="10693"/>
                    <a:pt x="46778" y="23754"/>
                  </a:cubicBezTo>
                  <a:lnTo>
                    <a:pt x="46778" y="32545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670" name="Gráfico 9">
              <a:extLst>
                <a:ext uri="{FF2B5EF4-FFF2-40B4-BE49-F238E27FC236}">
                  <a16:creationId xmlns:a16="http://schemas.microsoft.com/office/drawing/2014/main" id="{4A9A981E-B727-DDEF-0FC9-C006DFDD2018}"/>
                </a:ext>
              </a:extLst>
            </p:cNvPr>
            <p:cNvGrpSpPr/>
            <p:nvPr/>
          </p:nvGrpSpPr>
          <p:grpSpPr>
            <a:xfrm>
              <a:off x="7434390" y="2328504"/>
              <a:ext cx="259797" cy="56298"/>
              <a:chOff x="7434390" y="2328504"/>
              <a:chExt cx="259797" cy="56298"/>
            </a:xfrm>
            <a:noFill/>
          </p:grpSpPr>
          <p:sp>
            <p:nvSpPr>
              <p:cNvPr id="671" name="Forma livre: Forma 670">
                <a:extLst>
                  <a:ext uri="{FF2B5EF4-FFF2-40B4-BE49-F238E27FC236}">
                    <a16:creationId xmlns:a16="http://schemas.microsoft.com/office/drawing/2014/main" id="{ACE19D59-F2F8-AEFF-FFF6-2BE198F8D8DF}"/>
                  </a:ext>
                </a:extLst>
              </p:cNvPr>
              <p:cNvSpPr/>
              <p:nvPr/>
            </p:nvSpPr>
            <p:spPr>
              <a:xfrm>
                <a:off x="7505389" y="2328504"/>
                <a:ext cx="46778" cy="56298"/>
              </a:xfrm>
              <a:custGeom>
                <a:avLst/>
                <a:gdLst>
                  <a:gd name="connsiteX0" fmla="*/ 46778 w 46778"/>
                  <a:gd name="connsiteY0" fmla="*/ 32545 h 56298"/>
                  <a:gd name="connsiteX1" fmla="*/ 23383 w 46778"/>
                  <a:gd name="connsiteY1" fmla="*/ 56299 h 56298"/>
                  <a:gd name="connsiteX2" fmla="*/ 0 w 46778"/>
                  <a:gd name="connsiteY2" fmla="*/ 32545 h 56298"/>
                  <a:gd name="connsiteX3" fmla="*/ 0 w 46778"/>
                  <a:gd name="connsiteY3" fmla="*/ 23742 h 56298"/>
                  <a:gd name="connsiteX4" fmla="*/ 23383 w 46778"/>
                  <a:gd name="connsiteY4" fmla="*/ 0 h 56298"/>
                  <a:gd name="connsiteX5" fmla="*/ 46778 w 46778"/>
                  <a:gd name="connsiteY5" fmla="*/ 23742 h 56298"/>
                  <a:gd name="connsiteX6" fmla="*/ 46778 w 46778"/>
                  <a:gd name="connsiteY6" fmla="*/ 32545 h 56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6778" h="56298">
                    <a:moveTo>
                      <a:pt x="46778" y="32545"/>
                    </a:moveTo>
                    <a:cubicBezTo>
                      <a:pt x="46778" y="45606"/>
                      <a:pt x="36253" y="56299"/>
                      <a:pt x="23383" y="56299"/>
                    </a:cubicBezTo>
                    <a:cubicBezTo>
                      <a:pt x="10513" y="56299"/>
                      <a:pt x="0" y="45618"/>
                      <a:pt x="0" y="32545"/>
                    </a:cubicBezTo>
                    <a:lnTo>
                      <a:pt x="0" y="23742"/>
                    </a:lnTo>
                    <a:cubicBezTo>
                      <a:pt x="0" y="10681"/>
                      <a:pt x="10525" y="0"/>
                      <a:pt x="23383" y="0"/>
                    </a:cubicBezTo>
                    <a:cubicBezTo>
                      <a:pt x="36241" y="0"/>
                      <a:pt x="46778" y="10681"/>
                      <a:pt x="46778" y="23742"/>
                    </a:cubicBezTo>
                    <a:lnTo>
                      <a:pt x="46778" y="32545"/>
                    </a:ln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672" name="Forma livre: Forma 671">
                <a:extLst>
                  <a:ext uri="{FF2B5EF4-FFF2-40B4-BE49-F238E27FC236}">
                    <a16:creationId xmlns:a16="http://schemas.microsoft.com/office/drawing/2014/main" id="{83E5ED7E-D8CF-3A93-975D-3BC030297CD8}"/>
                  </a:ext>
                </a:extLst>
              </p:cNvPr>
              <p:cNvSpPr/>
              <p:nvPr/>
            </p:nvSpPr>
            <p:spPr>
              <a:xfrm>
                <a:off x="7434390" y="2328504"/>
                <a:ext cx="46766" cy="56298"/>
              </a:xfrm>
              <a:custGeom>
                <a:avLst/>
                <a:gdLst>
                  <a:gd name="connsiteX0" fmla="*/ 46766 w 46766"/>
                  <a:gd name="connsiteY0" fmla="*/ 32545 h 56298"/>
                  <a:gd name="connsiteX1" fmla="*/ 23383 w 46766"/>
                  <a:gd name="connsiteY1" fmla="*/ 56299 h 56298"/>
                  <a:gd name="connsiteX2" fmla="*/ 0 w 46766"/>
                  <a:gd name="connsiteY2" fmla="*/ 32545 h 56298"/>
                  <a:gd name="connsiteX3" fmla="*/ 0 w 46766"/>
                  <a:gd name="connsiteY3" fmla="*/ 23742 h 56298"/>
                  <a:gd name="connsiteX4" fmla="*/ 23383 w 46766"/>
                  <a:gd name="connsiteY4" fmla="*/ 0 h 56298"/>
                  <a:gd name="connsiteX5" fmla="*/ 46766 w 46766"/>
                  <a:gd name="connsiteY5" fmla="*/ 23742 h 56298"/>
                  <a:gd name="connsiteX6" fmla="*/ 46766 w 46766"/>
                  <a:gd name="connsiteY6" fmla="*/ 32545 h 56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6766" h="56298">
                    <a:moveTo>
                      <a:pt x="46766" y="32545"/>
                    </a:moveTo>
                    <a:cubicBezTo>
                      <a:pt x="46766" y="45606"/>
                      <a:pt x="36241" y="56299"/>
                      <a:pt x="23383" y="56299"/>
                    </a:cubicBezTo>
                    <a:cubicBezTo>
                      <a:pt x="10525" y="56299"/>
                      <a:pt x="0" y="45618"/>
                      <a:pt x="0" y="32545"/>
                    </a:cubicBezTo>
                    <a:lnTo>
                      <a:pt x="0" y="23742"/>
                    </a:lnTo>
                    <a:cubicBezTo>
                      <a:pt x="0" y="10681"/>
                      <a:pt x="10525" y="0"/>
                      <a:pt x="23383" y="0"/>
                    </a:cubicBezTo>
                    <a:cubicBezTo>
                      <a:pt x="36241" y="0"/>
                      <a:pt x="46766" y="10681"/>
                      <a:pt x="46766" y="23742"/>
                    </a:cubicBezTo>
                    <a:lnTo>
                      <a:pt x="46766" y="32545"/>
                    </a:ln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673" name="Forma livre: Forma 672">
                <a:extLst>
                  <a:ext uri="{FF2B5EF4-FFF2-40B4-BE49-F238E27FC236}">
                    <a16:creationId xmlns:a16="http://schemas.microsoft.com/office/drawing/2014/main" id="{AD5E5EF2-8CFF-96C3-F763-F250911560E0}"/>
                  </a:ext>
                </a:extLst>
              </p:cNvPr>
              <p:cNvSpPr/>
              <p:nvPr/>
            </p:nvSpPr>
            <p:spPr>
              <a:xfrm>
                <a:off x="7576411" y="2328504"/>
                <a:ext cx="46766" cy="56298"/>
              </a:xfrm>
              <a:custGeom>
                <a:avLst/>
                <a:gdLst>
                  <a:gd name="connsiteX0" fmla="*/ 46766 w 46766"/>
                  <a:gd name="connsiteY0" fmla="*/ 32545 h 56298"/>
                  <a:gd name="connsiteX1" fmla="*/ 23383 w 46766"/>
                  <a:gd name="connsiteY1" fmla="*/ 56299 h 56298"/>
                  <a:gd name="connsiteX2" fmla="*/ 0 w 46766"/>
                  <a:gd name="connsiteY2" fmla="*/ 32545 h 56298"/>
                  <a:gd name="connsiteX3" fmla="*/ 0 w 46766"/>
                  <a:gd name="connsiteY3" fmla="*/ 23742 h 56298"/>
                  <a:gd name="connsiteX4" fmla="*/ 23383 w 46766"/>
                  <a:gd name="connsiteY4" fmla="*/ 0 h 56298"/>
                  <a:gd name="connsiteX5" fmla="*/ 46766 w 46766"/>
                  <a:gd name="connsiteY5" fmla="*/ 23742 h 56298"/>
                  <a:gd name="connsiteX6" fmla="*/ 46766 w 46766"/>
                  <a:gd name="connsiteY6" fmla="*/ 32545 h 56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6766" h="56298">
                    <a:moveTo>
                      <a:pt x="46766" y="32545"/>
                    </a:moveTo>
                    <a:cubicBezTo>
                      <a:pt x="46766" y="45606"/>
                      <a:pt x="36241" y="56299"/>
                      <a:pt x="23383" y="56299"/>
                    </a:cubicBezTo>
                    <a:cubicBezTo>
                      <a:pt x="10525" y="56299"/>
                      <a:pt x="0" y="45618"/>
                      <a:pt x="0" y="32545"/>
                    </a:cubicBezTo>
                    <a:lnTo>
                      <a:pt x="0" y="23742"/>
                    </a:lnTo>
                    <a:cubicBezTo>
                      <a:pt x="0" y="10681"/>
                      <a:pt x="10525" y="0"/>
                      <a:pt x="23383" y="0"/>
                    </a:cubicBezTo>
                    <a:cubicBezTo>
                      <a:pt x="36241" y="0"/>
                      <a:pt x="46766" y="10681"/>
                      <a:pt x="46766" y="23742"/>
                    </a:cubicBezTo>
                    <a:lnTo>
                      <a:pt x="46766" y="32545"/>
                    </a:ln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674" name="Forma livre: Forma 673">
                <a:extLst>
                  <a:ext uri="{FF2B5EF4-FFF2-40B4-BE49-F238E27FC236}">
                    <a16:creationId xmlns:a16="http://schemas.microsoft.com/office/drawing/2014/main" id="{18647671-5252-3CC4-82CD-E6615D138473}"/>
                  </a:ext>
                </a:extLst>
              </p:cNvPr>
              <p:cNvSpPr/>
              <p:nvPr/>
            </p:nvSpPr>
            <p:spPr>
              <a:xfrm>
                <a:off x="7647422" y="2328504"/>
                <a:ext cx="46766" cy="56298"/>
              </a:xfrm>
              <a:custGeom>
                <a:avLst/>
                <a:gdLst>
                  <a:gd name="connsiteX0" fmla="*/ 46766 w 46766"/>
                  <a:gd name="connsiteY0" fmla="*/ 32545 h 56298"/>
                  <a:gd name="connsiteX1" fmla="*/ 23383 w 46766"/>
                  <a:gd name="connsiteY1" fmla="*/ 56299 h 56298"/>
                  <a:gd name="connsiteX2" fmla="*/ 0 w 46766"/>
                  <a:gd name="connsiteY2" fmla="*/ 32545 h 56298"/>
                  <a:gd name="connsiteX3" fmla="*/ 0 w 46766"/>
                  <a:gd name="connsiteY3" fmla="*/ 23742 h 56298"/>
                  <a:gd name="connsiteX4" fmla="*/ 23383 w 46766"/>
                  <a:gd name="connsiteY4" fmla="*/ 0 h 56298"/>
                  <a:gd name="connsiteX5" fmla="*/ 46766 w 46766"/>
                  <a:gd name="connsiteY5" fmla="*/ 23742 h 56298"/>
                  <a:gd name="connsiteX6" fmla="*/ 46766 w 46766"/>
                  <a:gd name="connsiteY6" fmla="*/ 32545 h 56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6766" h="56298">
                    <a:moveTo>
                      <a:pt x="46766" y="32545"/>
                    </a:moveTo>
                    <a:cubicBezTo>
                      <a:pt x="46766" y="45606"/>
                      <a:pt x="36241" y="56299"/>
                      <a:pt x="23383" y="56299"/>
                    </a:cubicBezTo>
                    <a:cubicBezTo>
                      <a:pt x="10525" y="56299"/>
                      <a:pt x="0" y="45618"/>
                      <a:pt x="0" y="32545"/>
                    </a:cubicBezTo>
                    <a:lnTo>
                      <a:pt x="0" y="23742"/>
                    </a:lnTo>
                    <a:cubicBezTo>
                      <a:pt x="0" y="10681"/>
                      <a:pt x="10525" y="0"/>
                      <a:pt x="23383" y="0"/>
                    </a:cubicBezTo>
                    <a:cubicBezTo>
                      <a:pt x="36241" y="0"/>
                      <a:pt x="46766" y="10681"/>
                      <a:pt x="46766" y="23742"/>
                    </a:cubicBezTo>
                    <a:lnTo>
                      <a:pt x="46766" y="32545"/>
                    </a:ln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675" name="Gráfico 9">
              <a:extLst>
                <a:ext uri="{FF2B5EF4-FFF2-40B4-BE49-F238E27FC236}">
                  <a16:creationId xmlns:a16="http://schemas.microsoft.com/office/drawing/2014/main" id="{D3A7D485-FF85-4795-10DE-8487AC52C4EE}"/>
                </a:ext>
              </a:extLst>
            </p:cNvPr>
            <p:cNvGrpSpPr/>
            <p:nvPr/>
          </p:nvGrpSpPr>
          <p:grpSpPr>
            <a:xfrm>
              <a:off x="7469877" y="2289429"/>
              <a:ext cx="188811" cy="23753"/>
              <a:chOff x="7469877" y="2289429"/>
              <a:chExt cx="188811" cy="23753"/>
            </a:xfrm>
            <a:noFill/>
          </p:grpSpPr>
          <p:sp>
            <p:nvSpPr>
              <p:cNvPr id="676" name="Forma livre: Forma 675">
                <a:extLst>
                  <a:ext uri="{FF2B5EF4-FFF2-40B4-BE49-F238E27FC236}">
                    <a16:creationId xmlns:a16="http://schemas.microsoft.com/office/drawing/2014/main" id="{BB97A0A4-8CBA-C746-D9DC-E59A57B47822}"/>
                  </a:ext>
                </a:extLst>
              </p:cNvPr>
              <p:cNvSpPr/>
              <p:nvPr/>
            </p:nvSpPr>
            <p:spPr>
              <a:xfrm>
                <a:off x="7540888" y="2289429"/>
                <a:ext cx="46778" cy="23753"/>
              </a:xfrm>
              <a:custGeom>
                <a:avLst/>
                <a:gdLst>
                  <a:gd name="connsiteX0" fmla="*/ 0 w 46778"/>
                  <a:gd name="connsiteY0" fmla="*/ 23754 h 23753"/>
                  <a:gd name="connsiteX1" fmla="*/ 23395 w 46778"/>
                  <a:gd name="connsiteY1" fmla="*/ 0 h 23753"/>
                  <a:gd name="connsiteX2" fmla="*/ 46778 w 46778"/>
                  <a:gd name="connsiteY2" fmla="*/ 23754 h 237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46778" h="23753">
                    <a:moveTo>
                      <a:pt x="0" y="23754"/>
                    </a:moveTo>
                    <a:cubicBezTo>
                      <a:pt x="0" y="10693"/>
                      <a:pt x="10525" y="0"/>
                      <a:pt x="23395" y="0"/>
                    </a:cubicBezTo>
                    <a:cubicBezTo>
                      <a:pt x="36265" y="0"/>
                      <a:pt x="46778" y="10681"/>
                      <a:pt x="46778" y="23754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677" name="Forma livre: Forma 676">
                <a:extLst>
                  <a:ext uri="{FF2B5EF4-FFF2-40B4-BE49-F238E27FC236}">
                    <a16:creationId xmlns:a16="http://schemas.microsoft.com/office/drawing/2014/main" id="{32FE2523-7994-ECAE-34D4-C49488F6A6E4}"/>
                  </a:ext>
                </a:extLst>
              </p:cNvPr>
              <p:cNvSpPr/>
              <p:nvPr/>
            </p:nvSpPr>
            <p:spPr>
              <a:xfrm>
                <a:off x="7469877" y="2289429"/>
                <a:ext cx="46766" cy="23753"/>
              </a:xfrm>
              <a:custGeom>
                <a:avLst/>
                <a:gdLst>
                  <a:gd name="connsiteX0" fmla="*/ 0 w 46766"/>
                  <a:gd name="connsiteY0" fmla="*/ 23754 h 23753"/>
                  <a:gd name="connsiteX1" fmla="*/ 23383 w 46766"/>
                  <a:gd name="connsiteY1" fmla="*/ 0 h 23753"/>
                  <a:gd name="connsiteX2" fmla="*/ 46766 w 46766"/>
                  <a:gd name="connsiteY2" fmla="*/ 23754 h 237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46766" h="23753">
                    <a:moveTo>
                      <a:pt x="0" y="23754"/>
                    </a:moveTo>
                    <a:cubicBezTo>
                      <a:pt x="0" y="10693"/>
                      <a:pt x="10525" y="0"/>
                      <a:pt x="23383" y="0"/>
                    </a:cubicBezTo>
                    <a:cubicBezTo>
                      <a:pt x="36241" y="0"/>
                      <a:pt x="46766" y="10681"/>
                      <a:pt x="46766" y="23754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678" name="Forma livre: Forma 677">
                <a:extLst>
                  <a:ext uri="{FF2B5EF4-FFF2-40B4-BE49-F238E27FC236}">
                    <a16:creationId xmlns:a16="http://schemas.microsoft.com/office/drawing/2014/main" id="{7769C8B4-65F3-5B98-6493-705DBF979A0C}"/>
                  </a:ext>
                </a:extLst>
              </p:cNvPr>
              <p:cNvSpPr/>
              <p:nvPr/>
            </p:nvSpPr>
            <p:spPr>
              <a:xfrm>
                <a:off x="7611910" y="2289429"/>
                <a:ext cx="46778" cy="23753"/>
              </a:xfrm>
              <a:custGeom>
                <a:avLst/>
                <a:gdLst>
                  <a:gd name="connsiteX0" fmla="*/ 0 w 46778"/>
                  <a:gd name="connsiteY0" fmla="*/ 23754 h 23753"/>
                  <a:gd name="connsiteX1" fmla="*/ 23395 w 46778"/>
                  <a:gd name="connsiteY1" fmla="*/ 0 h 23753"/>
                  <a:gd name="connsiteX2" fmla="*/ 46778 w 46778"/>
                  <a:gd name="connsiteY2" fmla="*/ 23754 h 237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46778" h="23753">
                    <a:moveTo>
                      <a:pt x="0" y="23754"/>
                    </a:moveTo>
                    <a:cubicBezTo>
                      <a:pt x="0" y="10693"/>
                      <a:pt x="10525" y="0"/>
                      <a:pt x="23395" y="0"/>
                    </a:cubicBezTo>
                    <a:cubicBezTo>
                      <a:pt x="36265" y="0"/>
                      <a:pt x="46778" y="10681"/>
                      <a:pt x="46778" y="23754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679" name="Gráfico 9">
            <a:extLst>
              <a:ext uri="{FF2B5EF4-FFF2-40B4-BE49-F238E27FC236}">
                <a16:creationId xmlns:a16="http://schemas.microsoft.com/office/drawing/2014/main" id="{6EDB17DD-77D4-3FBE-8873-1A936EBEB721}"/>
              </a:ext>
            </a:extLst>
          </p:cNvPr>
          <p:cNvGrpSpPr/>
          <p:nvPr/>
        </p:nvGrpSpPr>
        <p:grpSpPr>
          <a:xfrm>
            <a:off x="6187101" y="2598194"/>
            <a:ext cx="263041" cy="292342"/>
            <a:chOff x="6187101" y="2598194"/>
            <a:chExt cx="263041" cy="292342"/>
          </a:xfrm>
          <a:noFill/>
        </p:grpSpPr>
        <p:grpSp>
          <p:nvGrpSpPr>
            <p:cNvPr id="680" name="Gráfico 9">
              <a:extLst>
                <a:ext uri="{FF2B5EF4-FFF2-40B4-BE49-F238E27FC236}">
                  <a16:creationId xmlns:a16="http://schemas.microsoft.com/office/drawing/2014/main" id="{C53EB73C-3D19-DF20-A4FD-C7E49ED9D1EC}"/>
                </a:ext>
              </a:extLst>
            </p:cNvPr>
            <p:cNvGrpSpPr/>
            <p:nvPr/>
          </p:nvGrpSpPr>
          <p:grpSpPr>
            <a:xfrm>
              <a:off x="6268330" y="2598194"/>
              <a:ext cx="100569" cy="292330"/>
              <a:chOff x="6268330" y="2598194"/>
              <a:chExt cx="100569" cy="292330"/>
            </a:xfrm>
            <a:noFill/>
          </p:grpSpPr>
          <p:sp>
            <p:nvSpPr>
              <p:cNvPr id="681" name="Forma livre: Forma 680">
                <a:extLst>
                  <a:ext uri="{FF2B5EF4-FFF2-40B4-BE49-F238E27FC236}">
                    <a16:creationId xmlns:a16="http://schemas.microsoft.com/office/drawing/2014/main" id="{D4713BE6-68F9-92FB-822D-036B971443CF}"/>
                  </a:ext>
                </a:extLst>
              </p:cNvPr>
              <p:cNvSpPr/>
              <p:nvPr/>
            </p:nvSpPr>
            <p:spPr>
              <a:xfrm>
                <a:off x="6292972" y="2598194"/>
                <a:ext cx="51299" cy="51299"/>
              </a:xfrm>
              <a:custGeom>
                <a:avLst/>
                <a:gdLst>
                  <a:gd name="connsiteX0" fmla="*/ 51299 w 51299"/>
                  <a:gd name="connsiteY0" fmla="*/ 25644 h 51299"/>
                  <a:gd name="connsiteX1" fmla="*/ 25656 w 51299"/>
                  <a:gd name="connsiteY1" fmla="*/ 51299 h 51299"/>
                  <a:gd name="connsiteX2" fmla="*/ 0 w 51299"/>
                  <a:gd name="connsiteY2" fmla="*/ 25644 h 51299"/>
                  <a:gd name="connsiteX3" fmla="*/ 25656 w 51299"/>
                  <a:gd name="connsiteY3" fmla="*/ 0 h 51299"/>
                  <a:gd name="connsiteX4" fmla="*/ 51299 w 51299"/>
                  <a:gd name="connsiteY4" fmla="*/ 25644 h 512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1299" h="51299">
                    <a:moveTo>
                      <a:pt x="51299" y="25644"/>
                    </a:moveTo>
                    <a:cubicBezTo>
                      <a:pt x="51299" y="39817"/>
                      <a:pt x="39817" y="51299"/>
                      <a:pt x="25656" y="51299"/>
                    </a:cubicBezTo>
                    <a:cubicBezTo>
                      <a:pt x="11494" y="51299"/>
                      <a:pt x="0" y="39817"/>
                      <a:pt x="0" y="25644"/>
                    </a:cubicBezTo>
                    <a:cubicBezTo>
                      <a:pt x="0" y="11470"/>
                      <a:pt x="11482" y="0"/>
                      <a:pt x="25656" y="0"/>
                    </a:cubicBezTo>
                    <a:cubicBezTo>
                      <a:pt x="39829" y="0"/>
                      <a:pt x="51299" y="11482"/>
                      <a:pt x="51299" y="25644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682" name="Forma livre: Forma 681">
                <a:extLst>
                  <a:ext uri="{FF2B5EF4-FFF2-40B4-BE49-F238E27FC236}">
                    <a16:creationId xmlns:a16="http://schemas.microsoft.com/office/drawing/2014/main" id="{FDEC5681-6AE3-5BC1-D119-4E88F5824CC4}"/>
                  </a:ext>
                </a:extLst>
              </p:cNvPr>
              <p:cNvSpPr/>
              <p:nvPr/>
            </p:nvSpPr>
            <p:spPr>
              <a:xfrm>
                <a:off x="6268330" y="2674586"/>
                <a:ext cx="100569" cy="215937"/>
              </a:xfrm>
              <a:custGeom>
                <a:avLst/>
                <a:gdLst>
                  <a:gd name="connsiteX0" fmla="*/ 78393 w 100569"/>
                  <a:gd name="connsiteY0" fmla="*/ 215938 h 215937"/>
                  <a:gd name="connsiteX1" fmla="*/ 80833 w 100569"/>
                  <a:gd name="connsiteY1" fmla="*/ 115576 h 215937"/>
                  <a:gd name="connsiteX2" fmla="*/ 100508 w 100569"/>
                  <a:gd name="connsiteY2" fmla="*/ 94393 h 215937"/>
                  <a:gd name="connsiteX3" fmla="*/ 92806 w 100569"/>
                  <a:gd name="connsiteY3" fmla="*/ 18013 h 215937"/>
                  <a:gd name="connsiteX4" fmla="*/ 72903 w 100569"/>
                  <a:gd name="connsiteY4" fmla="*/ 0 h 215937"/>
                  <a:gd name="connsiteX5" fmla="*/ 27680 w 100569"/>
                  <a:gd name="connsiteY5" fmla="*/ 0 h 215937"/>
                  <a:gd name="connsiteX6" fmla="*/ 7765 w 100569"/>
                  <a:gd name="connsiteY6" fmla="*/ 18013 h 215937"/>
                  <a:gd name="connsiteX7" fmla="*/ 63 w 100569"/>
                  <a:gd name="connsiteY7" fmla="*/ 94393 h 215937"/>
                  <a:gd name="connsiteX8" fmla="*/ 19750 w 100569"/>
                  <a:gd name="connsiteY8" fmla="*/ 115576 h 215937"/>
                  <a:gd name="connsiteX9" fmla="*/ 22178 w 100569"/>
                  <a:gd name="connsiteY9" fmla="*/ 215938 h 2159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00569" h="215937">
                    <a:moveTo>
                      <a:pt x="78393" y="215938"/>
                    </a:moveTo>
                    <a:lnTo>
                      <a:pt x="80833" y="115576"/>
                    </a:lnTo>
                    <a:cubicBezTo>
                      <a:pt x="90258" y="112179"/>
                      <a:pt x="101501" y="104297"/>
                      <a:pt x="100508" y="94393"/>
                    </a:cubicBezTo>
                    <a:lnTo>
                      <a:pt x="92806" y="18013"/>
                    </a:lnTo>
                    <a:cubicBezTo>
                      <a:pt x="91813" y="8109"/>
                      <a:pt x="82843" y="0"/>
                      <a:pt x="72903" y="0"/>
                    </a:cubicBezTo>
                    <a:lnTo>
                      <a:pt x="27680" y="0"/>
                    </a:lnTo>
                    <a:cubicBezTo>
                      <a:pt x="17717" y="0"/>
                      <a:pt x="8758" y="8109"/>
                      <a:pt x="7765" y="18013"/>
                    </a:cubicBezTo>
                    <a:lnTo>
                      <a:pt x="63" y="94393"/>
                    </a:lnTo>
                    <a:cubicBezTo>
                      <a:pt x="-942" y="104297"/>
                      <a:pt x="10313" y="112179"/>
                      <a:pt x="19750" y="115576"/>
                    </a:cubicBezTo>
                    <a:lnTo>
                      <a:pt x="22178" y="215938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683" name="Gráfico 9">
              <a:extLst>
                <a:ext uri="{FF2B5EF4-FFF2-40B4-BE49-F238E27FC236}">
                  <a16:creationId xmlns:a16="http://schemas.microsoft.com/office/drawing/2014/main" id="{A87E0AE5-CB3B-0FC2-AD8B-07E1B3987373}"/>
                </a:ext>
              </a:extLst>
            </p:cNvPr>
            <p:cNvGrpSpPr/>
            <p:nvPr/>
          </p:nvGrpSpPr>
          <p:grpSpPr>
            <a:xfrm>
              <a:off x="6187101" y="2629518"/>
              <a:ext cx="263041" cy="261017"/>
              <a:chOff x="6187101" y="2629518"/>
              <a:chExt cx="263041" cy="261017"/>
            </a:xfrm>
            <a:noFill/>
          </p:grpSpPr>
          <p:grpSp>
            <p:nvGrpSpPr>
              <p:cNvPr id="684" name="Gráfico 9">
                <a:extLst>
                  <a:ext uri="{FF2B5EF4-FFF2-40B4-BE49-F238E27FC236}">
                    <a16:creationId xmlns:a16="http://schemas.microsoft.com/office/drawing/2014/main" id="{2A011780-5DBC-BFCF-56FB-1AE268970C9A}"/>
                  </a:ext>
                </a:extLst>
              </p:cNvPr>
              <p:cNvGrpSpPr/>
              <p:nvPr/>
            </p:nvGrpSpPr>
            <p:grpSpPr>
              <a:xfrm>
                <a:off x="6382737" y="2629518"/>
                <a:ext cx="67405" cy="261017"/>
                <a:chOff x="6382737" y="2629518"/>
                <a:chExt cx="67405" cy="261017"/>
              </a:xfrm>
              <a:noFill/>
            </p:grpSpPr>
            <p:sp>
              <p:nvSpPr>
                <p:cNvPr id="685" name="Forma livre: Forma 684">
                  <a:extLst>
                    <a:ext uri="{FF2B5EF4-FFF2-40B4-BE49-F238E27FC236}">
                      <a16:creationId xmlns:a16="http://schemas.microsoft.com/office/drawing/2014/main" id="{198D13BA-C4DF-68F6-A850-3B4981FC17B0}"/>
                    </a:ext>
                  </a:extLst>
                </p:cNvPr>
                <p:cNvSpPr/>
                <p:nvPr/>
              </p:nvSpPr>
              <p:spPr>
                <a:xfrm>
                  <a:off x="6382737" y="2629518"/>
                  <a:ext cx="45546" cy="45546"/>
                </a:xfrm>
                <a:custGeom>
                  <a:avLst/>
                  <a:gdLst>
                    <a:gd name="connsiteX0" fmla="*/ 22773 w 45546"/>
                    <a:gd name="connsiteY0" fmla="*/ 0 h 45546"/>
                    <a:gd name="connsiteX1" fmla="*/ 45546 w 45546"/>
                    <a:gd name="connsiteY1" fmla="*/ 22773 h 45546"/>
                    <a:gd name="connsiteX2" fmla="*/ 22773 w 45546"/>
                    <a:gd name="connsiteY2" fmla="*/ 45546 h 45546"/>
                    <a:gd name="connsiteX3" fmla="*/ 0 w 45546"/>
                    <a:gd name="connsiteY3" fmla="*/ 22773 h 45546"/>
                    <a:gd name="connsiteX4" fmla="*/ 22773 w 45546"/>
                    <a:gd name="connsiteY4" fmla="*/ 0 h 455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45546" h="45546">
                      <a:moveTo>
                        <a:pt x="22773" y="0"/>
                      </a:moveTo>
                      <a:cubicBezTo>
                        <a:pt x="35344" y="0"/>
                        <a:pt x="45546" y="10191"/>
                        <a:pt x="45546" y="22773"/>
                      </a:cubicBezTo>
                      <a:cubicBezTo>
                        <a:pt x="45546" y="35356"/>
                        <a:pt x="35344" y="45546"/>
                        <a:pt x="22773" y="45546"/>
                      </a:cubicBezTo>
                      <a:cubicBezTo>
                        <a:pt x="10202" y="45546"/>
                        <a:pt x="0" y="35356"/>
                        <a:pt x="0" y="22773"/>
                      </a:cubicBezTo>
                      <a:cubicBezTo>
                        <a:pt x="0" y="10191"/>
                        <a:pt x="10190" y="0"/>
                        <a:pt x="22773" y="0"/>
                      </a:cubicBezTo>
                      <a:close/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686" name="Forma livre: Forma 685">
                  <a:extLst>
                    <a:ext uri="{FF2B5EF4-FFF2-40B4-BE49-F238E27FC236}">
                      <a16:creationId xmlns:a16="http://schemas.microsoft.com/office/drawing/2014/main" id="{EB20D519-49FA-107A-3923-17496E0142F0}"/>
                    </a:ext>
                  </a:extLst>
                </p:cNvPr>
                <p:cNvSpPr/>
                <p:nvPr/>
              </p:nvSpPr>
              <p:spPr>
                <a:xfrm>
                  <a:off x="6387461" y="2698831"/>
                  <a:ext cx="62680" cy="191705"/>
                </a:xfrm>
                <a:custGeom>
                  <a:avLst/>
                  <a:gdLst>
                    <a:gd name="connsiteX0" fmla="*/ 42999 w 62680"/>
                    <a:gd name="connsiteY0" fmla="*/ 191705 h 191705"/>
                    <a:gd name="connsiteX1" fmla="*/ 45152 w 62680"/>
                    <a:gd name="connsiteY1" fmla="*/ 102598 h 191705"/>
                    <a:gd name="connsiteX2" fmla="*/ 62626 w 62680"/>
                    <a:gd name="connsiteY2" fmla="*/ 83796 h 191705"/>
                    <a:gd name="connsiteX3" fmla="*/ 55796 w 62680"/>
                    <a:gd name="connsiteY3" fmla="*/ 15991 h 191705"/>
                    <a:gd name="connsiteX4" fmla="*/ 38119 w 62680"/>
                    <a:gd name="connsiteY4" fmla="*/ 0 h 191705"/>
                    <a:gd name="connsiteX5" fmla="*/ 0 w 62680"/>
                    <a:gd name="connsiteY5" fmla="*/ 0 h 19170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62680" h="191705">
                      <a:moveTo>
                        <a:pt x="42999" y="191705"/>
                      </a:moveTo>
                      <a:lnTo>
                        <a:pt x="45152" y="102598"/>
                      </a:lnTo>
                      <a:cubicBezTo>
                        <a:pt x="53524" y="99573"/>
                        <a:pt x="63511" y="92587"/>
                        <a:pt x="62626" y="83796"/>
                      </a:cubicBezTo>
                      <a:lnTo>
                        <a:pt x="55796" y="15991"/>
                      </a:lnTo>
                      <a:cubicBezTo>
                        <a:pt x="54911" y="7200"/>
                        <a:pt x="46958" y="0"/>
                        <a:pt x="38119" y="0"/>
                      </a:cubicBezTo>
                      <a:lnTo>
                        <a:pt x="0" y="0"/>
                      </a:ln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687" name="Gráfico 9">
                <a:extLst>
                  <a:ext uri="{FF2B5EF4-FFF2-40B4-BE49-F238E27FC236}">
                    <a16:creationId xmlns:a16="http://schemas.microsoft.com/office/drawing/2014/main" id="{6CE0E9ED-21FB-2274-17E3-C827548F53C7}"/>
                  </a:ext>
                </a:extLst>
              </p:cNvPr>
              <p:cNvGrpSpPr/>
              <p:nvPr/>
            </p:nvGrpSpPr>
            <p:grpSpPr>
              <a:xfrm>
                <a:off x="6187101" y="2629518"/>
                <a:ext cx="67393" cy="261017"/>
                <a:chOff x="6187101" y="2629518"/>
                <a:chExt cx="67393" cy="261017"/>
              </a:xfrm>
              <a:noFill/>
            </p:grpSpPr>
            <p:sp>
              <p:nvSpPr>
                <p:cNvPr id="688" name="Forma livre: Forma 687">
                  <a:extLst>
                    <a:ext uri="{FF2B5EF4-FFF2-40B4-BE49-F238E27FC236}">
                      <a16:creationId xmlns:a16="http://schemas.microsoft.com/office/drawing/2014/main" id="{D5508DC7-2E2B-1FAD-E251-A604C2FDA1F3}"/>
                    </a:ext>
                  </a:extLst>
                </p:cNvPr>
                <p:cNvSpPr/>
                <p:nvPr/>
              </p:nvSpPr>
              <p:spPr>
                <a:xfrm>
                  <a:off x="6208960" y="2629518"/>
                  <a:ext cx="45534" cy="45546"/>
                </a:xfrm>
                <a:custGeom>
                  <a:avLst/>
                  <a:gdLst>
                    <a:gd name="connsiteX0" fmla="*/ 22773 w 45534"/>
                    <a:gd name="connsiteY0" fmla="*/ 0 h 45546"/>
                    <a:gd name="connsiteX1" fmla="*/ 0 w 45534"/>
                    <a:gd name="connsiteY1" fmla="*/ 22773 h 45546"/>
                    <a:gd name="connsiteX2" fmla="*/ 22773 w 45534"/>
                    <a:gd name="connsiteY2" fmla="*/ 45546 h 45546"/>
                    <a:gd name="connsiteX3" fmla="*/ 45534 w 45534"/>
                    <a:gd name="connsiteY3" fmla="*/ 22773 h 45546"/>
                    <a:gd name="connsiteX4" fmla="*/ 22773 w 45534"/>
                    <a:gd name="connsiteY4" fmla="*/ 0 h 455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45534" h="45546">
                      <a:moveTo>
                        <a:pt x="22773" y="0"/>
                      </a:moveTo>
                      <a:cubicBezTo>
                        <a:pt x="10190" y="0"/>
                        <a:pt x="0" y="10191"/>
                        <a:pt x="0" y="22773"/>
                      </a:cubicBezTo>
                      <a:cubicBezTo>
                        <a:pt x="0" y="35356"/>
                        <a:pt x="10202" y="45546"/>
                        <a:pt x="22773" y="45546"/>
                      </a:cubicBezTo>
                      <a:cubicBezTo>
                        <a:pt x="35344" y="45546"/>
                        <a:pt x="45534" y="35356"/>
                        <a:pt x="45534" y="22773"/>
                      </a:cubicBezTo>
                      <a:cubicBezTo>
                        <a:pt x="45534" y="10191"/>
                        <a:pt x="35344" y="0"/>
                        <a:pt x="22773" y="0"/>
                      </a:cubicBezTo>
                      <a:close/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689" name="Forma livre: Forma 688">
                  <a:extLst>
                    <a:ext uri="{FF2B5EF4-FFF2-40B4-BE49-F238E27FC236}">
                      <a16:creationId xmlns:a16="http://schemas.microsoft.com/office/drawing/2014/main" id="{98A8EF8F-6D8F-CAE5-A00B-0DAE9AE4EA08}"/>
                    </a:ext>
                  </a:extLst>
                </p:cNvPr>
                <p:cNvSpPr/>
                <p:nvPr/>
              </p:nvSpPr>
              <p:spPr>
                <a:xfrm>
                  <a:off x="6187101" y="2698831"/>
                  <a:ext cx="62692" cy="191705"/>
                </a:xfrm>
                <a:custGeom>
                  <a:avLst/>
                  <a:gdLst>
                    <a:gd name="connsiteX0" fmla="*/ 19682 w 62692"/>
                    <a:gd name="connsiteY0" fmla="*/ 191705 h 191705"/>
                    <a:gd name="connsiteX1" fmla="*/ 17529 w 62692"/>
                    <a:gd name="connsiteY1" fmla="*/ 102598 h 191705"/>
                    <a:gd name="connsiteX2" fmla="*/ 55 w 62692"/>
                    <a:gd name="connsiteY2" fmla="*/ 83796 h 191705"/>
                    <a:gd name="connsiteX3" fmla="*/ 6896 w 62692"/>
                    <a:gd name="connsiteY3" fmla="*/ 15991 h 191705"/>
                    <a:gd name="connsiteX4" fmla="*/ 24562 w 62692"/>
                    <a:gd name="connsiteY4" fmla="*/ 0 h 191705"/>
                    <a:gd name="connsiteX5" fmla="*/ 62693 w 62692"/>
                    <a:gd name="connsiteY5" fmla="*/ 0 h 19170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62692" h="191705">
                      <a:moveTo>
                        <a:pt x="19682" y="191705"/>
                      </a:moveTo>
                      <a:lnTo>
                        <a:pt x="17529" y="102598"/>
                      </a:lnTo>
                      <a:cubicBezTo>
                        <a:pt x="9169" y="99573"/>
                        <a:pt x="-830" y="92587"/>
                        <a:pt x="55" y="83796"/>
                      </a:cubicBezTo>
                      <a:lnTo>
                        <a:pt x="6896" y="15991"/>
                      </a:lnTo>
                      <a:cubicBezTo>
                        <a:pt x="7769" y="7200"/>
                        <a:pt x="15735" y="0"/>
                        <a:pt x="24562" y="0"/>
                      </a:cubicBezTo>
                      <a:lnTo>
                        <a:pt x="62693" y="0"/>
                      </a:ln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</p:grpSp>
      <p:grpSp>
        <p:nvGrpSpPr>
          <p:cNvPr id="690" name="Gráfico 9">
            <a:extLst>
              <a:ext uri="{FF2B5EF4-FFF2-40B4-BE49-F238E27FC236}">
                <a16:creationId xmlns:a16="http://schemas.microsoft.com/office/drawing/2014/main" id="{43FB3CE9-0295-C311-24D5-F0016DE52B6B}"/>
              </a:ext>
            </a:extLst>
          </p:cNvPr>
          <p:cNvGrpSpPr/>
          <p:nvPr/>
        </p:nvGrpSpPr>
        <p:grpSpPr>
          <a:xfrm>
            <a:off x="6800152" y="2620748"/>
            <a:ext cx="260778" cy="247230"/>
            <a:chOff x="6800152" y="2620748"/>
            <a:chExt cx="260778" cy="247230"/>
          </a:xfrm>
          <a:noFill/>
        </p:grpSpPr>
        <p:sp>
          <p:nvSpPr>
            <p:cNvPr id="691" name="Forma livre: Forma 690">
              <a:extLst>
                <a:ext uri="{FF2B5EF4-FFF2-40B4-BE49-F238E27FC236}">
                  <a16:creationId xmlns:a16="http://schemas.microsoft.com/office/drawing/2014/main" id="{5C86E401-2426-64E3-2E05-D2DEB2887C68}"/>
                </a:ext>
              </a:extLst>
            </p:cNvPr>
            <p:cNvSpPr/>
            <p:nvPr/>
          </p:nvSpPr>
          <p:spPr>
            <a:xfrm>
              <a:off x="6869703" y="2842024"/>
              <a:ext cx="169434" cy="15297"/>
            </a:xfrm>
            <a:custGeom>
              <a:avLst/>
              <a:gdLst>
                <a:gd name="connsiteX0" fmla="*/ 169435 w 169434"/>
                <a:gd name="connsiteY0" fmla="*/ 0 h 15297"/>
                <a:gd name="connsiteX1" fmla="*/ 146733 w 169434"/>
                <a:gd name="connsiteY1" fmla="*/ 15298 h 15297"/>
                <a:gd name="connsiteX2" fmla="*/ 0 w 169434"/>
                <a:gd name="connsiteY2" fmla="*/ 15298 h 152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9434" h="15297">
                  <a:moveTo>
                    <a:pt x="169435" y="0"/>
                  </a:moveTo>
                  <a:cubicBezTo>
                    <a:pt x="166768" y="5908"/>
                    <a:pt x="160440" y="15298"/>
                    <a:pt x="146733" y="15298"/>
                  </a:cubicBezTo>
                  <a:lnTo>
                    <a:pt x="0" y="15298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92" name="Forma livre: Forma 691">
              <a:extLst>
                <a:ext uri="{FF2B5EF4-FFF2-40B4-BE49-F238E27FC236}">
                  <a16:creationId xmlns:a16="http://schemas.microsoft.com/office/drawing/2014/main" id="{DDE793CF-2104-C716-63AD-BEDF1B4DCDFD}"/>
                </a:ext>
              </a:extLst>
            </p:cNvPr>
            <p:cNvSpPr/>
            <p:nvPr/>
          </p:nvSpPr>
          <p:spPr>
            <a:xfrm>
              <a:off x="6871342" y="2620748"/>
              <a:ext cx="188284" cy="100054"/>
            </a:xfrm>
            <a:custGeom>
              <a:avLst/>
              <a:gdLst>
                <a:gd name="connsiteX0" fmla="*/ 0 w 188284"/>
                <a:gd name="connsiteY0" fmla="*/ 100054 h 100054"/>
                <a:gd name="connsiteX1" fmla="*/ 66382 w 188284"/>
                <a:gd name="connsiteY1" fmla="*/ 15672 h 100054"/>
                <a:gd name="connsiteX2" fmla="*/ 84586 w 188284"/>
                <a:gd name="connsiteY2" fmla="*/ 266 h 100054"/>
                <a:gd name="connsiteX3" fmla="*/ 105278 w 188284"/>
                <a:gd name="connsiteY3" fmla="*/ 19535 h 100054"/>
                <a:gd name="connsiteX4" fmla="*/ 96774 w 188284"/>
                <a:gd name="connsiteY4" fmla="*/ 86814 h 100054"/>
                <a:gd name="connsiteX5" fmla="*/ 176575 w 188284"/>
                <a:gd name="connsiteY5" fmla="*/ 86814 h 100054"/>
                <a:gd name="connsiteX6" fmla="*/ 188285 w 188284"/>
                <a:gd name="connsiteY6" fmla="*/ 95916 h 1000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88284" h="100054">
                  <a:moveTo>
                    <a:pt x="0" y="100054"/>
                  </a:moveTo>
                  <a:cubicBezTo>
                    <a:pt x="14018" y="95892"/>
                    <a:pt x="66382" y="76348"/>
                    <a:pt x="66382" y="15672"/>
                  </a:cubicBezTo>
                  <a:cubicBezTo>
                    <a:pt x="66382" y="15672"/>
                    <a:pt x="67602" y="266"/>
                    <a:pt x="84586" y="266"/>
                  </a:cubicBezTo>
                  <a:cubicBezTo>
                    <a:pt x="84586" y="266"/>
                    <a:pt x="103065" y="-3764"/>
                    <a:pt x="105278" y="19535"/>
                  </a:cubicBezTo>
                  <a:cubicBezTo>
                    <a:pt x="105278" y="19535"/>
                    <a:pt x="110086" y="60189"/>
                    <a:pt x="96774" y="86814"/>
                  </a:cubicBezTo>
                  <a:lnTo>
                    <a:pt x="176575" y="86814"/>
                  </a:lnTo>
                  <a:cubicBezTo>
                    <a:pt x="176575" y="86814"/>
                    <a:pt x="184840" y="86120"/>
                    <a:pt x="188285" y="95916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93" name="Forma livre: Forma 692">
              <a:extLst>
                <a:ext uri="{FF2B5EF4-FFF2-40B4-BE49-F238E27FC236}">
                  <a16:creationId xmlns:a16="http://schemas.microsoft.com/office/drawing/2014/main" id="{7DE5A267-6494-00BE-3F9D-EF967DF86315}"/>
                </a:ext>
              </a:extLst>
            </p:cNvPr>
            <p:cNvSpPr/>
            <p:nvPr/>
          </p:nvSpPr>
          <p:spPr>
            <a:xfrm>
              <a:off x="6800152" y="2716413"/>
              <a:ext cx="43644" cy="151565"/>
            </a:xfrm>
            <a:custGeom>
              <a:avLst/>
              <a:gdLst>
                <a:gd name="connsiteX0" fmla="*/ 3839 w 43644"/>
                <a:gd name="connsiteY0" fmla="*/ 0 h 151565"/>
                <a:gd name="connsiteX1" fmla="*/ 43644 w 43644"/>
                <a:gd name="connsiteY1" fmla="*/ 0 h 151565"/>
                <a:gd name="connsiteX2" fmla="*/ 43644 w 43644"/>
                <a:gd name="connsiteY2" fmla="*/ 151566 h 151565"/>
                <a:gd name="connsiteX3" fmla="*/ 0 w 43644"/>
                <a:gd name="connsiteY3" fmla="*/ 151566 h 1515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644" h="151565">
                  <a:moveTo>
                    <a:pt x="3839" y="0"/>
                  </a:moveTo>
                  <a:lnTo>
                    <a:pt x="43644" y="0"/>
                  </a:lnTo>
                  <a:lnTo>
                    <a:pt x="43644" y="151566"/>
                  </a:lnTo>
                  <a:lnTo>
                    <a:pt x="0" y="151566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94" name="Forma livre: Forma 693">
              <a:extLst>
                <a:ext uri="{FF2B5EF4-FFF2-40B4-BE49-F238E27FC236}">
                  <a16:creationId xmlns:a16="http://schemas.microsoft.com/office/drawing/2014/main" id="{C4BF9D1E-F90B-3676-4FF3-D9259FEEDAB8}"/>
                </a:ext>
              </a:extLst>
            </p:cNvPr>
            <p:cNvSpPr/>
            <p:nvPr/>
          </p:nvSpPr>
          <p:spPr>
            <a:xfrm>
              <a:off x="7033289" y="2730036"/>
              <a:ext cx="27641" cy="16688"/>
            </a:xfrm>
            <a:custGeom>
              <a:avLst/>
              <a:gdLst>
                <a:gd name="connsiteX0" fmla="*/ 27641 w 27641"/>
                <a:gd name="connsiteY0" fmla="*/ 0 h 16688"/>
                <a:gd name="connsiteX1" fmla="*/ 6447 w 27641"/>
                <a:gd name="connsiteY1" fmla="*/ 16685 h 16688"/>
                <a:gd name="connsiteX2" fmla="*/ 0 w 27641"/>
                <a:gd name="connsiteY2" fmla="*/ 16685 h 166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7641" h="16688">
                  <a:moveTo>
                    <a:pt x="27641" y="0"/>
                  </a:moveTo>
                  <a:cubicBezTo>
                    <a:pt x="26218" y="7786"/>
                    <a:pt x="20477" y="16888"/>
                    <a:pt x="6447" y="16685"/>
                  </a:cubicBezTo>
                  <a:lnTo>
                    <a:pt x="0" y="16685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95" name="Forma livre: Forma 694">
              <a:extLst>
                <a:ext uri="{FF2B5EF4-FFF2-40B4-BE49-F238E27FC236}">
                  <a16:creationId xmlns:a16="http://schemas.microsoft.com/office/drawing/2014/main" id="{BEBC926F-119F-8127-E5BE-20171BB046C0}"/>
                </a:ext>
              </a:extLst>
            </p:cNvPr>
            <p:cNvSpPr/>
            <p:nvPr/>
          </p:nvSpPr>
          <p:spPr>
            <a:xfrm>
              <a:off x="7028840" y="2767341"/>
              <a:ext cx="27653" cy="16688"/>
            </a:xfrm>
            <a:custGeom>
              <a:avLst/>
              <a:gdLst>
                <a:gd name="connsiteX0" fmla="*/ 27653 w 27653"/>
                <a:gd name="connsiteY0" fmla="*/ 0 h 16688"/>
                <a:gd name="connsiteX1" fmla="*/ 6447 w 27653"/>
                <a:gd name="connsiteY1" fmla="*/ 16685 h 16688"/>
                <a:gd name="connsiteX2" fmla="*/ 0 w 27653"/>
                <a:gd name="connsiteY2" fmla="*/ 16685 h 166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7653" h="16688">
                  <a:moveTo>
                    <a:pt x="27653" y="0"/>
                  </a:moveTo>
                  <a:cubicBezTo>
                    <a:pt x="26230" y="7774"/>
                    <a:pt x="20477" y="16900"/>
                    <a:pt x="6447" y="16685"/>
                  </a:cubicBezTo>
                  <a:lnTo>
                    <a:pt x="0" y="16685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96" name="Forma livre: Forma 695">
              <a:extLst>
                <a:ext uri="{FF2B5EF4-FFF2-40B4-BE49-F238E27FC236}">
                  <a16:creationId xmlns:a16="http://schemas.microsoft.com/office/drawing/2014/main" id="{AC994C5D-2457-E487-6995-EFF4853BC8ED}"/>
                </a:ext>
              </a:extLst>
            </p:cNvPr>
            <p:cNvSpPr/>
            <p:nvPr/>
          </p:nvSpPr>
          <p:spPr>
            <a:xfrm>
              <a:off x="7019690" y="2805053"/>
              <a:ext cx="27653" cy="16700"/>
            </a:xfrm>
            <a:custGeom>
              <a:avLst/>
              <a:gdLst>
                <a:gd name="connsiteX0" fmla="*/ 27653 w 27653"/>
                <a:gd name="connsiteY0" fmla="*/ 0 h 16700"/>
                <a:gd name="connsiteX1" fmla="*/ 6447 w 27653"/>
                <a:gd name="connsiteY1" fmla="*/ 16697 h 16700"/>
                <a:gd name="connsiteX2" fmla="*/ 0 w 27653"/>
                <a:gd name="connsiteY2" fmla="*/ 16697 h 167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7653" h="16700">
                  <a:moveTo>
                    <a:pt x="27653" y="0"/>
                  </a:moveTo>
                  <a:cubicBezTo>
                    <a:pt x="26230" y="7786"/>
                    <a:pt x="20477" y="16888"/>
                    <a:pt x="6447" y="16697"/>
                  </a:cubicBezTo>
                  <a:lnTo>
                    <a:pt x="0" y="16697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697" name="Gráfico 9">
            <a:extLst>
              <a:ext uri="{FF2B5EF4-FFF2-40B4-BE49-F238E27FC236}">
                <a16:creationId xmlns:a16="http://schemas.microsoft.com/office/drawing/2014/main" id="{82AC5763-4556-3F29-6C8C-299D76BD7F97}"/>
              </a:ext>
            </a:extLst>
          </p:cNvPr>
          <p:cNvGrpSpPr/>
          <p:nvPr/>
        </p:nvGrpSpPr>
        <p:grpSpPr>
          <a:xfrm>
            <a:off x="7443397" y="2574200"/>
            <a:ext cx="241760" cy="340316"/>
            <a:chOff x="7443397" y="2574200"/>
            <a:chExt cx="241760" cy="340316"/>
          </a:xfrm>
          <a:noFill/>
        </p:grpSpPr>
        <p:sp>
          <p:nvSpPr>
            <p:cNvPr id="698" name="Forma livre: Forma 697">
              <a:extLst>
                <a:ext uri="{FF2B5EF4-FFF2-40B4-BE49-F238E27FC236}">
                  <a16:creationId xmlns:a16="http://schemas.microsoft.com/office/drawing/2014/main" id="{76126AA6-47F2-4252-3991-1CB2F7DDF9C8}"/>
                </a:ext>
              </a:extLst>
            </p:cNvPr>
            <p:cNvSpPr/>
            <p:nvPr/>
          </p:nvSpPr>
          <p:spPr>
            <a:xfrm>
              <a:off x="7443397" y="2805771"/>
              <a:ext cx="152474" cy="108746"/>
            </a:xfrm>
            <a:custGeom>
              <a:avLst/>
              <a:gdLst>
                <a:gd name="connsiteX0" fmla="*/ 152475 w 152474"/>
                <a:gd name="connsiteY0" fmla="*/ 107227 h 108746"/>
                <a:gd name="connsiteX1" fmla="*/ 120887 w 152474"/>
                <a:gd name="connsiteY1" fmla="*/ 108746 h 108746"/>
                <a:gd name="connsiteX2" fmla="*/ 0 w 152474"/>
                <a:gd name="connsiteY2" fmla="*/ 52077 h 108746"/>
                <a:gd name="connsiteX3" fmla="*/ 69360 w 152474"/>
                <a:gd name="connsiteY3" fmla="*/ 0 h 1087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2474" h="108746">
                  <a:moveTo>
                    <a:pt x="152475" y="107227"/>
                  </a:moveTo>
                  <a:cubicBezTo>
                    <a:pt x="142069" y="108256"/>
                    <a:pt x="131412" y="108746"/>
                    <a:pt x="120887" y="108746"/>
                  </a:cubicBezTo>
                  <a:cubicBezTo>
                    <a:pt x="62447" y="108746"/>
                    <a:pt x="0" y="93855"/>
                    <a:pt x="0" y="52077"/>
                  </a:cubicBezTo>
                  <a:cubicBezTo>
                    <a:pt x="0" y="23168"/>
                    <a:pt x="31732" y="7129"/>
                    <a:pt x="69360" y="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99" name="Forma livre: Forma 698">
              <a:extLst>
                <a:ext uri="{FF2B5EF4-FFF2-40B4-BE49-F238E27FC236}">
                  <a16:creationId xmlns:a16="http://schemas.microsoft.com/office/drawing/2014/main" id="{14B4420B-3ACE-223F-8E53-64950035B14C}"/>
                </a:ext>
              </a:extLst>
            </p:cNvPr>
            <p:cNvSpPr/>
            <p:nvPr/>
          </p:nvSpPr>
          <p:spPr>
            <a:xfrm>
              <a:off x="7619804" y="2904937"/>
              <a:ext cx="17988" cy="4533"/>
            </a:xfrm>
            <a:custGeom>
              <a:avLst/>
              <a:gdLst>
                <a:gd name="connsiteX0" fmla="*/ 17989 w 17988"/>
                <a:gd name="connsiteY0" fmla="*/ 0 h 4533"/>
                <a:gd name="connsiteX1" fmla="*/ 0 w 17988"/>
                <a:gd name="connsiteY1" fmla="*/ 4533 h 45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7988" h="4533">
                  <a:moveTo>
                    <a:pt x="17989" y="0"/>
                  </a:moveTo>
                  <a:cubicBezTo>
                    <a:pt x="12296" y="1770"/>
                    <a:pt x="6268" y="3277"/>
                    <a:pt x="0" y="4533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700" name="Forma livre: Forma 699">
              <a:extLst>
                <a:ext uri="{FF2B5EF4-FFF2-40B4-BE49-F238E27FC236}">
                  <a16:creationId xmlns:a16="http://schemas.microsoft.com/office/drawing/2014/main" id="{99FABB9E-E5F8-DE59-8E09-46F0EBBCF486}"/>
                </a:ext>
              </a:extLst>
            </p:cNvPr>
            <p:cNvSpPr/>
            <p:nvPr/>
          </p:nvSpPr>
          <p:spPr>
            <a:xfrm>
              <a:off x="7615642" y="2806154"/>
              <a:ext cx="69515" cy="90039"/>
            </a:xfrm>
            <a:custGeom>
              <a:avLst/>
              <a:gdLst>
                <a:gd name="connsiteX0" fmla="*/ 0 w 69515"/>
                <a:gd name="connsiteY0" fmla="*/ 0 h 90039"/>
                <a:gd name="connsiteX1" fmla="*/ 69515 w 69515"/>
                <a:gd name="connsiteY1" fmla="*/ 51682 h 90039"/>
                <a:gd name="connsiteX2" fmla="*/ 43166 w 69515"/>
                <a:gd name="connsiteY2" fmla="*/ 90040 h 900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9515" h="90039">
                  <a:moveTo>
                    <a:pt x="0" y="0"/>
                  </a:moveTo>
                  <a:cubicBezTo>
                    <a:pt x="36659" y="7332"/>
                    <a:pt x="69515" y="23299"/>
                    <a:pt x="69515" y="51682"/>
                  </a:cubicBezTo>
                  <a:cubicBezTo>
                    <a:pt x="69515" y="68618"/>
                    <a:pt x="59265" y="81141"/>
                    <a:pt x="43166" y="9004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701" name="Forma livre: Forma 700">
              <a:extLst>
                <a:ext uri="{FF2B5EF4-FFF2-40B4-BE49-F238E27FC236}">
                  <a16:creationId xmlns:a16="http://schemas.microsoft.com/office/drawing/2014/main" id="{7D820E81-0421-BC89-12D2-3CD58C766ED6}"/>
                </a:ext>
              </a:extLst>
            </p:cNvPr>
            <p:cNvSpPr/>
            <p:nvPr/>
          </p:nvSpPr>
          <p:spPr>
            <a:xfrm>
              <a:off x="7481180" y="2834632"/>
              <a:ext cx="166181" cy="49648"/>
            </a:xfrm>
            <a:custGeom>
              <a:avLst/>
              <a:gdLst>
                <a:gd name="connsiteX0" fmla="*/ 133780 w 166181"/>
                <a:gd name="connsiteY0" fmla="*/ 0 h 49648"/>
                <a:gd name="connsiteX1" fmla="*/ 166181 w 166181"/>
                <a:gd name="connsiteY1" fmla="*/ 21948 h 49648"/>
                <a:gd name="connsiteX2" fmla="*/ 83103 w 166181"/>
                <a:gd name="connsiteY2" fmla="*/ 49649 h 49648"/>
                <a:gd name="connsiteX3" fmla="*/ 0 w 166181"/>
                <a:gd name="connsiteY3" fmla="*/ 21948 h 49648"/>
                <a:gd name="connsiteX4" fmla="*/ 31755 w 166181"/>
                <a:gd name="connsiteY4" fmla="*/ 167 h 496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6181" h="49648">
                  <a:moveTo>
                    <a:pt x="133780" y="0"/>
                  </a:moveTo>
                  <a:cubicBezTo>
                    <a:pt x="153491" y="5059"/>
                    <a:pt x="166181" y="13013"/>
                    <a:pt x="166181" y="21948"/>
                  </a:cubicBezTo>
                  <a:cubicBezTo>
                    <a:pt x="166181" y="37246"/>
                    <a:pt x="128984" y="49649"/>
                    <a:pt x="83103" y="49649"/>
                  </a:cubicBezTo>
                  <a:cubicBezTo>
                    <a:pt x="37222" y="49649"/>
                    <a:pt x="0" y="37234"/>
                    <a:pt x="0" y="21948"/>
                  </a:cubicBezTo>
                  <a:cubicBezTo>
                    <a:pt x="0" y="13109"/>
                    <a:pt x="12415" y="5239"/>
                    <a:pt x="31755" y="167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702" name="Forma livre: Forma 701">
              <a:extLst>
                <a:ext uri="{FF2B5EF4-FFF2-40B4-BE49-F238E27FC236}">
                  <a16:creationId xmlns:a16="http://schemas.microsoft.com/office/drawing/2014/main" id="{E5CBCC52-5AB1-40B8-D20C-D40343DCB922}"/>
                </a:ext>
              </a:extLst>
            </p:cNvPr>
            <p:cNvSpPr/>
            <p:nvPr/>
          </p:nvSpPr>
          <p:spPr>
            <a:xfrm>
              <a:off x="7539740" y="2574200"/>
              <a:ext cx="49074" cy="49086"/>
            </a:xfrm>
            <a:custGeom>
              <a:avLst/>
              <a:gdLst>
                <a:gd name="connsiteX0" fmla="*/ 49075 w 49074"/>
                <a:gd name="connsiteY0" fmla="*/ 24543 h 49086"/>
                <a:gd name="connsiteX1" fmla="*/ 24543 w 49074"/>
                <a:gd name="connsiteY1" fmla="*/ 49087 h 49086"/>
                <a:gd name="connsiteX2" fmla="*/ 0 w 49074"/>
                <a:gd name="connsiteY2" fmla="*/ 24543 h 49086"/>
                <a:gd name="connsiteX3" fmla="*/ 24543 w 49074"/>
                <a:gd name="connsiteY3" fmla="*/ 0 h 49086"/>
                <a:gd name="connsiteX4" fmla="*/ 49075 w 49074"/>
                <a:gd name="connsiteY4" fmla="*/ 24543 h 490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9074" h="49086">
                  <a:moveTo>
                    <a:pt x="49075" y="24543"/>
                  </a:moveTo>
                  <a:cubicBezTo>
                    <a:pt x="49075" y="38107"/>
                    <a:pt x="38083" y="49087"/>
                    <a:pt x="24543" y="49087"/>
                  </a:cubicBezTo>
                  <a:cubicBezTo>
                    <a:pt x="11004" y="49087"/>
                    <a:pt x="0" y="38107"/>
                    <a:pt x="0" y="24543"/>
                  </a:cubicBezTo>
                  <a:cubicBezTo>
                    <a:pt x="0" y="10980"/>
                    <a:pt x="10992" y="0"/>
                    <a:pt x="24543" y="0"/>
                  </a:cubicBezTo>
                  <a:cubicBezTo>
                    <a:pt x="38095" y="0"/>
                    <a:pt x="49075" y="10992"/>
                    <a:pt x="49075" y="24543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703" name="Forma livre: Forma 702">
              <a:extLst>
                <a:ext uri="{FF2B5EF4-FFF2-40B4-BE49-F238E27FC236}">
                  <a16:creationId xmlns:a16="http://schemas.microsoft.com/office/drawing/2014/main" id="{F886DB85-19F7-F857-3E8E-4FBCA65C2C0E}"/>
                </a:ext>
              </a:extLst>
            </p:cNvPr>
            <p:cNvSpPr/>
            <p:nvPr/>
          </p:nvSpPr>
          <p:spPr>
            <a:xfrm>
              <a:off x="7516956" y="2647734"/>
              <a:ext cx="94653" cy="203271"/>
            </a:xfrm>
            <a:custGeom>
              <a:avLst/>
              <a:gdLst>
                <a:gd name="connsiteX0" fmla="*/ 73773 w 94653"/>
                <a:gd name="connsiteY0" fmla="*/ 203272 h 203271"/>
                <a:gd name="connsiteX1" fmla="*/ 76069 w 94653"/>
                <a:gd name="connsiteY1" fmla="*/ 108782 h 203271"/>
                <a:gd name="connsiteX2" fmla="*/ 94596 w 94653"/>
                <a:gd name="connsiteY2" fmla="*/ 88856 h 203271"/>
                <a:gd name="connsiteX3" fmla="*/ 87348 w 94653"/>
                <a:gd name="connsiteY3" fmla="*/ 16948 h 203271"/>
                <a:gd name="connsiteX4" fmla="*/ 68606 w 94653"/>
                <a:gd name="connsiteY4" fmla="*/ 0 h 203271"/>
                <a:gd name="connsiteX5" fmla="*/ 26037 w 94653"/>
                <a:gd name="connsiteY5" fmla="*/ 0 h 203271"/>
                <a:gd name="connsiteX6" fmla="*/ 7307 w 94653"/>
                <a:gd name="connsiteY6" fmla="*/ 16948 h 203271"/>
                <a:gd name="connsiteX7" fmla="*/ 59 w 94653"/>
                <a:gd name="connsiteY7" fmla="*/ 88856 h 203271"/>
                <a:gd name="connsiteX8" fmla="*/ 18586 w 94653"/>
                <a:gd name="connsiteY8" fmla="*/ 108782 h 203271"/>
                <a:gd name="connsiteX9" fmla="*/ 20871 w 94653"/>
                <a:gd name="connsiteY9" fmla="*/ 203272 h 2032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94653" h="203271">
                  <a:moveTo>
                    <a:pt x="73773" y="203272"/>
                  </a:moveTo>
                  <a:lnTo>
                    <a:pt x="76069" y="108782"/>
                  </a:lnTo>
                  <a:cubicBezTo>
                    <a:pt x="84932" y="105577"/>
                    <a:pt x="95529" y="98173"/>
                    <a:pt x="94596" y="88856"/>
                  </a:cubicBezTo>
                  <a:lnTo>
                    <a:pt x="87348" y="16948"/>
                  </a:lnTo>
                  <a:cubicBezTo>
                    <a:pt x="86415" y="7631"/>
                    <a:pt x="77971" y="0"/>
                    <a:pt x="68606" y="0"/>
                  </a:cubicBezTo>
                  <a:lnTo>
                    <a:pt x="26037" y="0"/>
                  </a:lnTo>
                  <a:cubicBezTo>
                    <a:pt x="16660" y="0"/>
                    <a:pt x="8228" y="7631"/>
                    <a:pt x="7307" y="16948"/>
                  </a:cubicBezTo>
                  <a:lnTo>
                    <a:pt x="59" y="88856"/>
                  </a:lnTo>
                  <a:cubicBezTo>
                    <a:pt x="-886" y="98173"/>
                    <a:pt x="9711" y="105589"/>
                    <a:pt x="18586" y="108782"/>
                  </a:cubicBezTo>
                  <a:lnTo>
                    <a:pt x="20871" y="203272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705" name="Gráfico 10">
            <a:extLst>
              <a:ext uri="{FF2B5EF4-FFF2-40B4-BE49-F238E27FC236}">
                <a16:creationId xmlns:a16="http://schemas.microsoft.com/office/drawing/2014/main" id="{E9091428-8ADB-3231-7F37-1A898C524076}"/>
              </a:ext>
            </a:extLst>
          </p:cNvPr>
          <p:cNvGrpSpPr/>
          <p:nvPr/>
        </p:nvGrpSpPr>
        <p:grpSpPr>
          <a:xfrm>
            <a:off x="8651560" y="2057182"/>
            <a:ext cx="303162" cy="295165"/>
            <a:chOff x="8651560" y="2057182"/>
            <a:chExt cx="303162" cy="295165"/>
          </a:xfrm>
        </p:grpSpPr>
        <p:grpSp>
          <p:nvGrpSpPr>
            <p:cNvPr id="706" name="Gráfico 10">
              <a:extLst>
                <a:ext uri="{FF2B5EF4-FFF2-40B4-BE49-F238E27FC236}">
                  <a16:creationId xmlns:a16="http://schemas.microsoft.com/office/drawing/2014/main" id="{4841284C-783C-D3F1-50D7-6DAE69F85C97}"/>
                </a:ext>
              </a:extLst>
            </p:cNvPr>
            <p:cNvGrpSpPr/>
            <p:nvPr/>
          </p:nvGrpSpPr>
          <p:grpSpPr>
            <a:xfrm>
              <a:off x="8651560" y="2352348"/>
              <a:ext cx="303162" cy="1197"/>
              <a:chOff x="8651560" y="2352348"/>
              <a:chExt cx="303162" cy="1197"/>
            </a:xfrm>
          </p:grpSpPr>
          <p:sp>
            <p:nvSpPr>
              <p:cNvPr id="707" name="Forma livre: Forma 706">
                <a:extLst>
                  <a:ext uri="{FF2B5EF4-FFF2-40B4-BE49-F238E27FC236}">
                    <a16:creationId xmlns:a16="http://schemas.microsoft.com/office/drawing/2014/main" id="{535DB124-F611-6DE7-3BA3-112227772307}"/>
                  </a:ext>
                </a:extLst>
              </p:cNvPr>
              <p:cNvSpPr/>
              <p:nvPr/>
            </p:nvSpPr>
            <p:spPr>
              <a:xfrm>
                <a:off x="8938177" y="2352348"/>
                <a:ext cx="16545" cy="1197"/>
              </a:xfrm>
              <a:custGeom>
                <a:avLst/>
                <a:gdLst>
                  <a:gd name="connsiteX0" fmla="*/ 0 w 16545"/>
                  <a:gd name="connsiteY0" fmla="*/ 0 h 1197"/>
                  <a:gd name="connsiteX1" fmla="*/ 16546 w 16545"/>
                  <a:gd name="connsiteY1" fmla="*/ 0 h 11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6545" h="1197">
                    <a:moveTo>
                      <a:pt x="0" y="0"/>
                    </a:moveTo>
                    <a:lnTo>
                      <a:pt x="16546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08" name="Forma livre: Forma 707">
                <a:extLst>
                  <a:ext uri="{FF2B5EF4-FFF2-40B4-BE49-F238E27FC236}">
                    <a16:creationId xmlns:a16="http://schemas.microsoft.com/office/drawing/2014/main" id="{1432FFE1-F63B-5AAD-7DA3-E8DC2505CC30}"/>
                  </a:ext>
                </a:extLst>
              </p:cNvPr>
              <p:cNvSpPr/>
              <p:nvPr/>
            </p:nvSpPr>
            <p:spPr>
              <a:xfrm>
                <a:off x="8651560" y="2352348"/>
                <a:ext cx="269377" cy="1197"/>
              </a:xfrm>
              <a:custGeom>
                <a:avLst/>
                <a:gdLst>
                  <a:gd name="connsiteX0" fmla="*/ 0 w 269377"/>
                  <a:gd name="connsiteY0" fmla="*/ 0 h 1197"/>
                  <a:gd name="connsiteX1" fmla="*/ 269377 w 269377"/>
                  <a:gd name="connsiteY1" fmla="*/ 0 h 11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69377" h="1197">
                    <a:moveTo>
                      <a:pt x="0" y="0"/>
                    </a:moveTo>
                    <a:lnTo>
                      <a:pt x="269377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709" name="Gráfico 10">
              <a:extLst>
                <a:ext uri="{FF2B5EF4-FFF2-40B4-BE49-F238E27FC236}">
                  <a16:creationId xmlns:a16="http://schemas.microsoft.com/office/drawing/2014/main" id="{151B177C-5498-7AE8-7153-58A34435B428}"/>
                </a:ext>
              </a:extLst>
            </p:cNvPr>
            <p:cNvGrpSpPr/>
            <p:nvPr/>
          </p:nvGrpSpPr>
          <p:grpSpPr>
            <a:xfrm>
              <a:off x="8674930" y="2057182"/>
              <a:ext cx="248209" cy="291813"/>
              <a:chOff x="8674930" y="2057182"/>
              <a:chExt cx="248209" cy="291813"/>
            </a:xfrm>
          </p:grpSpPr>
          <p:grpSp>
            <p:nvGrpSpPr>
              <p:cNvPr id="710" name="Gráfico 10">
                <a:extLst>
                  <a:ext uri="{FF2B5EF4-FFF2-40B4-BE49-F238E27FC236}">
                    <a16:creationId xmlns:a16="http://schemas.microsoft.com/office/drawing/2014/main" id="{FD4B022C-2195-0E9D-978B-870612D2890F}"/>
                  </a:ext>
                </a:extLst>
              </p:cNvPr>
              <p:cNvGrpSpPr/>
              <p:nvPr/>
            </p:nvGrpSpPr>
            <p:grpSpPr>
              <a:xfrm>
                <a:off x="8674930" y="2150004"/>
                <a:ext cx="222098" cy="198991"/>
                <a:chOff x="8674930" y="2150004"/>
                <a:chExt cx="222098" cy="198991"/>
              </a:xfrm>
              <a:noFill/>
            </p:grpSpPr>
            <p:sp>
              <p:nvSpPr>
                <p:cNvPr id="711" name="Forma livre: Forma 710">
                  <a:extLst>
                    <a:ext uri="{FF2B5EF4-FFF2-40B4-BE49-F238E27FC236}">
                      <a16:creationId xmlns:a16="http://schemas.microsoft.com/office/drawing/2014/main" id="{A0A5D239-3D09-E1CC-8CC3-8EA32CA34725}"/>
                    </a:ext>
                  </a:extLst>
                </p:cNvPr>
                <p:cNvSpPr/>
                <p:nvPr/>
              </p:nvSpPr>
              <p:spPr>
                <a:xfrm>
                  <a:off x="8849498" y="2276755"/>
                  <a:ext cx="47530" cy="72240"/>
                </a:xfrm>
                <a:custGeom>
                  <a:avLst/>
                  <a:gdLst>
                    <a:gd name="connsiteX0" fmla="*/ 47530 w 47530"/>
                    <a:gd name="connsiteY0" fmla="*/ 72241 h 72240"/>
                    <a:gd name="connsiteX1" fmla="*/ 47530 w 47530"/>
                    <a:gd name="connsiteY1" fmla="*/ 14271 h 72240"/>
                    <a:gd name="connsiteX2" fmla="*/ 33259 w 47530"/>
                    <a:gd name="connsiteY2" fmla="*/ 0 h 72240"/>
                    <a:gd name="connsiteX3" fmla="*/ 14283 w 47530"/>
                    <a:gd name="connsiteY3" fmla="*/ 0 h 72240"/>
                    <a:gd name="connsiteX4" fmla="*/ 0 w 47530"/>
                    <a:gd name="connsiteY4" fmla="*/ 14271 h 72240"/>
                    <a:gd name="connsiteX5" fmla="*/ 0 w 47530"/>
                    <a:gd name="connsiteY5" fmla="*/ 55204 h 7224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47530" h="72240">
                      <a:moveTo>
                        <a:pt x="47530" y="72241"/>
                      </a:moveTo>
                      <a:lnTo>
                        <a:pt x="47530" y="14271"/>
                      </a:lnTo>
                      <a:cubicBezTo>
                        <a:pt x="47530" y="6429"/>
                        <a:pt x="41101" y="0"/>
                        <a:pt x="33259" y="0"/>
                      </a:cubicBezTo>
                      <a:lnTo>
                        <a:pt x="14283" y="0"/>
                      </a:lnTo>
                      <a:cubicBezTo>
                        <a:pt x="6429" y="0"/>
                        <a:pt x="0" y="6429"/>
                        <a:pt x="0" y="14271"/>
                      </a:cubicBezTo>
                      <a:lnTo>
                        <a:pt x="0" y="55204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712" name="Forma livre: Forma 711">
                  <a:extLst>
                    <a:ext uri="{FF2B5EF4-FFF2-40B4-BE49-F238E27FC236}">
                      <a16:creationId xmlns:a16="http://schemas.microsoft.com/office/drawing/2014/main" id="{7F871C3B-20CD-160E-110B-6DAEC765907B}"/>
                    </a:ext>
                  </a:extLst>
                </p:cNvPr>
                <p:cNvSpPr/>
                <p:nvPr/>
              </p:nvSpPr>
              <p:spPr>
                <a:xfrm>
                  <a:off x="8762316" y="2223945"/>
                  <a:ext cx="47422" cy="125050"/>
                </a:xfrm>
                <a:custGeom>
                  <a:avLst/>
                  <a:gdLst>
                    <a:gd name="connsiteX0" fmla="*/ 47422 w 47422"/>
                    <a:gd name="connsiteY0" fmla="*/ 125051 h 125050"/>
                    <a:gd name="connsiteX1" fmla="*/ 47422 w 47422"/>
                    <a:gd name="connsiteY1" fmla="*/ 14271 h 125050"/>
                    <a:gd name="connsiteX2" fmla="*/ 33151 w 47422"/>
                    <a:gd name="connsiteY2" fmla="*/ 0 h 125050"/>
                    <a:gd name="connsiteX3" fmla="*/ 14271 w 47422"/>
                    <a:gd name="connsiteY3" fmla="*/ 0 h 125050"/>
                    <a:gd name="connsiteX4" fmla="*/ 0 w 47422"/>
                    <a:gd name="connsiteY4" fmla="*/ 14271 h 125050"/>
                    <a:gd name="connsiteX5" fmla="*/ 0 w 47422"/>
                    <a:gd name="connsiteY5" fmla="*/ 108014 h 1250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47422" h="125050">
                      <a:moveTo>
                        <a:pt x="47422" y="125051"/>
                      </a:moveTo>
                      <a:lnTo>
                        <a:pt x="47422" y="14271"/>
                      </a:lnTo>
                      <a:cubicBezTo>
                        <a:pt x="47422" y="6417"/>
                        <a:pt x="41005" y="0"/>
                        <a:pt x="33151" y="0"/>
                      </a:cubicBezTo>
                      <a:lnTo>
                        <a:pt x="14271" y="0"/>
                      </a:lnTo>
                      <a:cubicBezTo>
                        <a:pt x="6429" y="0"/>
                        <a:pt x="0" y="6417"/>
                        <a:pt x="0" y="14271"/>
                      </a:cubicBezTo>
                      <a:lnTo>
                        <a:pt x="0" y="108014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713" name="Forma livre: Forma 712">
                  <a:extLst>
                    <a:ext uri="{FF2B5EF4-FFF2-40B4-BE49-F238E27FC236}">
                      <a16:creationId xmlns:a16="http://schemas.microsoft.com/office/drawing/2014/main" id="{811B613F-F810-F27B-EC83-9C01AE7859E6}"/>
                    </a:ext>
                  </a:extLst>
                </p:cNvPr>
                <p:cNvSpPr/>
                <p:nvPr/>
              </p:nvSpPr>
              <p:spPr>
                <a:xfrm>
                  <a:off x="8674930" y="2150004"/>
                  <a:ext cx="47434" cy="198991"/>
                </a:xfrm>
                <a:custGeom>
                  <a:avLst/>
                  <a:gdLst>
                    <a:gd name="connsiteX0" fmla="*/ 47434 w 47434"/>
                    <a:gd name="connsiteY0" fmla="*/ 198992 h 198991"/>
                    <a:gd name="connsiteX1" fmla="*/ 47434 w 47434"/>
                    <a:gd name="connsiteY1" fmla="*/ 14271 h 198991"/>
                    <a:gd name="connsiteX2" fmla="*/ 33163 w 47434"/>
                    <a:gd name="connsiteY2" fmla="*/ 0 h 198991"/>
                    <a:gd name="connsiteX3" fmla="*/ 14283 w 47434"/>
                    <a:gd name="connsiteY3" fmla="*/ 0 h 198991"/>
                    <a:gd name="connsiteX4" fmla="*/ 0 w 47434"/>
                    <a:gd name="connsiteY4" fmla="*/ 14271 h 198991"/>
                    <a:gd name="connsiteX5" fmla="*/ 0 w 47434"/>
                    <a:gd name="connsiteY5" fmla="*/ 181955 h 19899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47434" h="198991">
                      <a:moveTo>
                        <a:pt x="47434" y="198992"/>
                      </a:moveTo>
                      <a:lnTo>
                        <a:pt x="47434" y="14271"/>
                      </a:lnTo>
                      <a:cubicBezTo>
                        <a:pt x="47434" y="6429"/>
                        <a:pt x="41017" y="0"/>
                        <a:pt x="33163" y="0"/>
                      </a:cubicBezTo>
                      <a:lnTo>
                        <a:pt x="14283" y="0"/>
                      </a:lnTo>
                      <a:cubicBezTo>
                        <a:pt x="6429" y="0"/>
                        <a:pt x="0" y="6417"/>
                        <a:pt x="0" y="14271"/>
                      </a:cubicBezTo>
                      <a:lnTo>
                        <a:pt x="0" y="181955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714" name="Gráfico 10">
                <a:extLst>
                  <a:ext uri="{FF2B5EF4-FFF2-40B4-BE49-F238E27FC236}">
                    <a16:creationId xmlns:a16="http://schemas.microsoft.com/office/drawing/2014/main" id="{CDCEA66A-E575-60CE-F4E5-52F3F5BC0D08}"/>
                  </a:ext>
                </a:extLst>
              </p:cNvPr>
              <p:cNvGrpSpPr/>
              <p:nvPr/>
            </p:nvGrpSpPr>
            <p:grpSpPr>
              <a:xfrm>
                <a:off x="8759395" y="2057182"/>
                <a:ext cx="163745" cy="147098"/>
                <a:chOff x="8759395" y="2057182"/>
                <a:chExt cx="163745" cy="147098"/>
              </a:xfrm>
            </p:grpSpPr>
            <p:sp>
              <p:nvSpPr>
                <p:cNvPr id="715" name="Forma livre: Forma 714">
                  <a:extLst>
                    <a:ext uri="{FF2B5EF4-FFF2-40B4-BE49-F238E27FC236}">
                      <a16:creationId xmlns:a16="http://schemas.microsoft.com/office/drawing/2014/main" id="{2CBA2CB9-F23A-DC1F-DD21-8A6A6490AE00}"/>
                    </a:ext>
                  </a:extLst>
                </p:cNvPr>
                <p:cNvSpPr/>
                <p:nvPr/>
              </p:nvSpPr>
              <p:spPr>
                <a:xfrm>
                  <a:off x="8881657" y="2188091"/>
                  <a:ext cx="16202" cy="16189"/>
                </a:xfrm>
                <a:custGeom>
                  <a:avLst/>
                  <a:gdLst>
                    <a:gd name="connsiteX0" fmla="*/ 13001 w 16202"/>
                    <a:gd name="connsiteY0" fmla="*/ 1673 h 16189"/>
                    <a:gd name="connsiteX1" fmla="*/ 1663 w 16202"/>
                    <a:gd name="connsiteY1" fmla="*/ 3181 h 16189"/>
                    <a:gd name="connsiteX2" fmla="*/ 3183 w 16202"/>
                    <a:gd name="connsiteY2" fmla="*/ 14519 h 16189"/>
                    <a:gd name="connsiteX3" fmla="*/ 14533 w 16202"/>
                    <a:gd name="connsiteY3" fmla="*/ 13010 h 16189"/>
                    <a:gd name="connsiteX4" fmla="*/ 13001 w 16202"/>
                    <a:gd name="connsiteY4" fmla="*/ 1673 h 1618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6202" h="16189">
                      <a:moveTo>
                        <a:pt x="13001" y="1673"/>
                      </a:moveTo>
                      <a:cubicBezTo>
                        <a:pt x="9445" y="-1045"/>
                        <a:pt x="4393" y="-387"/>
                        <a:pt x="1663" y="3181"/>
                      </a:cubicBezTo>
                      <a:cubicBezTo>
                        <a:pt x="-1043" y="6725"/>
                        <a:pt x="-384" y="11801"/>
                        <a:pt x="3183" y="14519"/>
                      </a:cubicBezTo>
                      <a:cubicBezTo>
                        <a:pt x="6751" y="17249"/>
                        <a:pt x="11815" y="16554"/>
                        <a:pt x="14533" y="13010"/>
                      </a:cubicBezTo>
                      <a:cubicBezTo>
                        <a:pt x="17263" y="9443"/>
                        <a:pt x="16569" y="4390"/>
                        <a:pt x="13001" y="1673"/>
                      </a:cubicBezTo>
                      <a:close/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716" name="Forma livre: Forma 715">
                  <a:extLst>
                    <a:ext uri="{FF2B5EF4-FFF2-40B4-BE49-F238E27FC236}">
                      <a16:creationId xmlns:a16="http://schemas.microsoft.com/office/drawing/2014/main" id="{A71CC840-6DE4-DD23-7EFC-D2940650223C}"/>
                    </a:ext>
                  </a:extLst>
                </p:cNvPr>
                <p:cNvSpPr/>
                <p:nvPr/>
              </p:nvSpPr>
              <p:spPr>
                <a:xfrm>
                  <a:off x="8809690" y="2134159"/>
                  <a:ext cx="113449" cy="47744"/>
                </a:xfrm>
                <a:custGeom>
                  <a:avLst/>
                  <a:gdLst>
                    <a:gd name="connsiteX0" fmla="*/ 113450 w 113449"/>
                    <a:gd name="connsiteY0" fmla="*/ 5 h 47744"/>
                    <a:gd name="connsiteX1" fmla="*/ 55623 w 113449"/>
                    <a:gd name="connsiteY1" fmla="*/ 27134 h 47744"/>
                    <a:gd name="connsiteX2" fmla="*/ 0 w 113449"/>
                    <a:gd name="connsiteY2" fmla="*/ 47439 h 4774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13449" h="47744">
                      <a:moveTo>
                        <a:pt x="113450" y="5"/>
                      </a:moveTo>
                      <a:cubicBezTo>
                        <a:pt x="113450" y="5"/>
                        <a:pt x="75593" y="-1048"/>
                        <a:pt x="55623" y="27134"/>
                      </a:cubicBezTo>
                      <a:cubicBezTo>
                        <a:pt x="55623" y="27134"/>
                        <a:pt x="47494" y="50672"/>
                        <a:pt x="0" y="47439"/>
                      </a:cubicBez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717" name="Forma livre: Forma 716">
                  <a:extLst>
                    <a:ext uri="{FF2B5EF4-FFF2-40B4-BE49-F238E27FC236}">
                      <a16:creationId xmlns:a16="http://schemas.microsoft.com/office/drawing/2014/main" id="{54165B57-1147-09C6-0362-91AD0C96BBD0}"/>
                    </a:ext>
                  </a:extLst>
                </p:cNvPr>
                <p:cNvSpPr/>
                <p:nvPr/>
              </p:nvSpPr>
              <p:spPr>
                <a:xfrm>
                  <a:off x="8759395" y="2109956"/>
                  <a:ext cx="105224" cy="49421"/>
                </a:xfrm>
                <a:custGeom>
                  <a:avLst/>
                  <a:gdLst>
                    <a:gd name="connsiteX0" fmla="*/ 0 w 105224"/>
                    <a:gd name="connsiteY0" fmla="*/ 29141 h 49421"/>
                    <a:gd name="connsiteX1" fmla="*/ 34013 w 105224"/>
                    <a:gd name="connsiteY1" fmla="*/ 0 h 49421"/>
                    <a:gd name="connsiteX2" fmla="*/ 105225 w 105224"/>
                    <a:gd name="connsiteY2" fmla="*/ 49422 h 4942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05224" h="49421">
                      <a:moveTo>
                        <a:pt x="0" y="29141"/>
                      </a:moveTo>
                      <a:cubicBezTo>
                        <a:pt x="0" y="29141"/>
                        <a:pt x="25764" y="1676"/>
                        <a:pt x="34013" y="0"/>
                      </a:cubicBezTo>
                      <a:cubicBezTo>
                        <a:pt x="34013" y="0"/>
                        <a:pt x="88571" y="17539"/>
                        <a:pt x="105225" y="49422"/>
                      </a:cubicBez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718" name="Forma livre: Forma 717">
                  <a:extLst>
                    <a:ext uri="{FF2B5EF4-FFF2-40B4-BE49-F238E27FC236}">
                      <a16:creationId xmlns:a16="http://schemas.microsoft.com/office/drawing/2014/main" id="{8283616B-3B9C-9E90-4DAF-1C6D16D2C58B}"/>
                    </a:ext>
                  </a:extLst>
                </p:cNvPr>
                <p:cNvSpPr/>
                <p:nvPr/>
              </p:nvSpPr>
              <p:spPr>
                <a:xfrm>
                  <a:off x="8830773" y="2057182"/>
                  <a:ext cx="31514" cy="68757"/>
                </a:xfrm>
                <a:custGeom>
                  <a:avLst/>
                  <a:gdLst>
                    <a:gd name="connsiteX0" fmla="*/ 19599 w 31514"/>
                    <a:gd name="connsiteY0" fmla="*/ 0 h 68757"/>
                    <a:gd name="connsiteX1" fmla="*/ 31200 w 31514"/>
                    <a:gd name="connsiteY1" fmla="*/ 39149 h 68757"/>
                    <a:gd name="connsiteX2" fmla="*/ 0 w 31514"/>
                    <a:gd name="connsiteY2" fmla="*/ 68757 h 6875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31514" h="68757">
                      <a:moveTo>
                        <a:pt x="19599" y="0"/>
                      </a:moveTo>
                      <a:cubicBezTo>
                        <a:pt x="19599" y="0"/>
                        <a:pt x="33786" y="26998"/>
                        <a:pt x="31200" y="39149"/>
                      </a:cubicBezTo>
                      <a:cubicBezTo>
                        <a:pt x="31200" y="39149"/>
                        <a:pt x="21921" y="53241"/>
                        <a:pt x="0" y="68757"/>
                      </a:cubicBez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</p:grpSp>
      <p:grpSp>
        <p:nvGrpSpPr>
          <p:cNvPr id="719" name="Gráfico 10">
            <a:extLst>
              <a:ext uri="{FF2B5EF4-FFF2-40B4-BE49-F238E27FC236}">
                <a16:creationId xmlns:a16="http://schemas.microsoft.com/office/drawing/2014/main" id="{656B4277-EB0A-CFFE-EB21-9FE816557C7B}"/>
              </a:ext>
            </a:extLst>
          </p:cNvPr>
          <p:cNvGrpSpPr/>
          <p:nvPr/>
        </p:nvGrpSpPr>
        <p:grpSpPr>
          <a:xfrm>
            <a:off x="9317484" y="2028413"/>
            <a:ext cx="215106" cy="352704"/>
            <a:chOff x="9317484" y="2028413"/>
            <a:chExt cx="215106" cy="352704"/>
          </a:xfrm>
          <a:noFill/>
        </p:grpSpPr>
        <p:sp>
          <p:nvSpPr>
            <p:cNvPr id="720" name="Forma livre: Forma 719">
              <a:extLst>
                <a:ext uri="{FF2B5EF4-FFF2-40B4-BE49-F238E27FC236}">
                  <a16:creationId xmlns:a16="http://schemas.microsoft.com/office/drawing/2014/main" id="{0D23A664-BD62-C75C-9F14-F70B74C7D46A}"/>
                </a:ext>
              </a:extLst>
            </p:cNvPr>
            <p:cNvSpPr/>
            <p:nvPr/>
          </p:nvSpPr>
          <p:spPr>
            <a:xfrm>
              <a:off x="9317484" y="2314192"/>
              <a:ext cx="215106" cy="66925"/>
            </a:xfrm>
            <a:custGeom>
              <a:avLst/>
              <a:gdLst>
                <a:gd name="connsiteX0" fmla="*/ 0 w 215106"/>
                <a:gd name="connsiteY0" fmla="*/ 66925 h 66925"/>
                <a:gd name="connsiteX1" fmla="*/ 0 w 215106"/>
                <a:gd name="connsiteY1" fmla="*/ 32948 h 66925"/>
                <a:gd name="connsiteX2" fmla="*/ 69224 w 215106"/>
                <a:gd name="connsiteY2" fmla="*/ 32948 h 66925"/>
                <a:gd name="connsiteX3" fmla="*/ 69224 w 215106"/>
                <a:gd name="connsiteY3" fmla="*/ 0 h 66925"/>
                <a:gd name="connsiteX4" fmla="*/ 145547 w 215106"/>
                <a:gd name="connsiteY4" fmla="*/ 0 h 66925"/>
                <a:gd name="connsiteX5" fmla="*/ 145547 w 215106"/>
                <a:gd name="connsiteY5" fmla="*/ 32948 h 66925"/>
                <a:gd name="connsiteX6" fmla="*/ 215107 w 215106"/>
                <a:gd name="connsiteY6" fmla="*/ 32948 h 66925"/>
                <a:gd name="connsiteX7" fmla="*/ 215107 w 215106"/>
                <a:gd name="connsiteY7" fmla="*/ 66925 h 669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15106" h="66925">
                  <a:moveTo>
                    <a:pt x="0" y="66925"/>
                  </a:moveTo>
                  <a:lnTo>
                    <a:pt x="0" y="32948"/>
                  </a:lnTo>
                  <a:lnTo>
                    <a:pt x="69224" y="32948"/>
                  </a:lnTo>
                  <a:lnTo>
                    <a:pt x="69224" y="0"/>
                  </a:lnTo>
                  <a:lnTo>
                    <a:pt x="145547" y="0"/>
                  </a:lnTo>
                  <a:lnTo>
                    <a:pt x="145547" y="32948"/>
                  </a:lnTo>
                  <a:lnTo>
                    <a:pt x="215107" y="32948"/>
                  </a:lnTo>
                  <a:lnTo>
                    <a:pt x="215107" y="66925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721" name="Gráfico 10">
              <a:extLst>
                <a:ext uri="{FF2B5EF4-FFF2-40B4-BE49-F238E27FC236}">
                  <a16:creationId xmlns:a16="http://schemas.microsoft.com/office/drawing/2014/main" id="{6E609E95-BDCA-CDAB-24B6-E97925B8D027}"/>
                </a:ext>
              </a:extLst>
            </p:cNvPr>
            <p:cNvGrpSpPr/>
            <p:nvPr/>
          </p:nvGrpSpPr>
          <p:grpSpPr>
            <a:xfrm>
              <a:off x="9323346" y="2028413"/>
              <a:ext cx="203740" cy="264959"/>
              <a:chOff x="9323346" y="2028413"/>
              <a:chExt cx="203740" cy="264959"/>
            </a:xfrm>
            <a:noFill/>
          </p:grpSpPr>
          <p:grpSp>
            <p:nvGrpSpPr>
              <p:cNvPr id="722" name="Gráfico 10">
                <a:extLst>
                  <a:ext uri="{FF2B5EF4-FFF2-40B4-BE49-F238E27FC236}">
                    <a16:creationId xmlns:a16="http://schemas.microsoft.com/office/drawing/2014/main" id="{FC2804EC-79FC-F91A-82BD-242C82961A05}"/>
                  </a:ext>
                </a:extLst>
              </p:cNvPr>
              <p:cNvGrpSpPr/>
              <p:nvPr/>
            </p:nvGrpSpPr>
            <p:grpSpPr>
              <a:xfrm>
                <a:off x="9401506" y="2034914"/>
                <a:ext cx="47434" cy="258458"/>
                <a:chOff x="9401506" y="2034914"/>
                <a:chExt cx="47434" cy="258458"/>
              </a:xfrm>
              <a:noFill/>
            </p:grpSpPr>
            <p:sp>
              <p:nvSpPr>
                <p:cNvPr id="723" name="Forma livre: Forma 722">
                  <a:extLst>
                    <a:ext uri="{FF2B5EF4-FFF2-40B4-BE49-F238E27FC236}">
                      <a16:creationId xmlns:a16="http://schemas.microsoft.com/office/drawing/2014/main" id="{7B27332B-3BDF-F63D-E2ED-84D067824712}"/>
                    </a:ext>
                  </a:extLst>
                </p:cNvPr>
                <p:cNvSpPr/>
                <p:nvPr/>
              </p:nvSpPr>
              <p:spPr>
                <a:xfrm>
                  <a:off x="9401506" y="2034914"/>
                  <a:ext cx="47434" cy="47434"/>
                </a:xfrm>
                <a:custGeom>
                  <a:avLst/>
                  <a:gdLst>
                    <a:gd name="connsiteX0" fmla="*/ 47434 w 47434"/>
                    <a:gd name="connsiteY0" fmla="*/ 23717 h 47434"/>
                    <a:gd name="connsiteX1" fmla="*/ 23717 w 47434"/>
                    <a:gd name="connsiteY1" fmla="*/ 47434 h 47434"/>
                    <a:gd name="connsiteX2" fmla="*/ 0 w 47434"/>
                    <a:gd name="connsiteY2" fmla="*/ 23717 h 47434"/>
                    <a:gd name="connsiteX3" fmla="*/ 23717 w 47434"/>
                    <a:gd name="connsiteY3" fmla="*/ 0 h 47434"/>
                    <a:gd name="connsiteX4" fmla="*/ 47434 w 47434"/>
                    <a:gd name="connsiteY4" fmla="*/ 23717 h 4743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47434" h="47434">
                      <a:moveTo>
                        <a:pt x="47434" y="23717"/>
                      </a:moveTo>
                      <a:cubicBezTo>
                        <a:pt x="47434" y="36816"/>
                        <a:pt x="36816" y="47434"/>
                        <a:pt x="23717" y="47434"/>
                      </a:cubicBezTo>
                      <a:cubicBezTo>
                        <a:pt x="10618" y="47434"/>
                        <a:pt x="0" y="36816"/>
                        <a:pt x="0" y="23717"/>
                      </a:cubicBezTo>
                      <a:cubicBezTo>
                        <a:pt x="0" y="10619"/>
                        <a:pt x="10618" y="0"/>
                        <a:pt x="23717" y="0"/>
                      </a:cubicBezTo>
                      <a:cubicBezTo>
                        <a:pt x="36816" y="0"/>
                        <a:pt x="47434" y="10619"/>
                        <a:pt x="47434" y="23717"/>
                      </a:cubicBezTo>
                      <a:close/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724" name="Forma livre: Forma 723">
                  <a:extLst>
                    <a:ext uri="{FF2B5EF4-FFF2-40B4-BE49-F238E27FC236}">
                      <a16:creationId xmlns:a16="http://schemas.microsoft.com/office/drawing/2014/main" id="{FBC6C251-E1BB-BDEE-FA8A-5010F2493E15}"/>
                    </a:ext>
                  </a:extLst>
                </p:cNvPr>
                <p:cNvSpPr/>
                <p:nvPr/>
              </p:nvSpPr>
              <p:spPr>
                <a:xfrm>
                  <a:off x="9425223" y="2207004"/>
                  <a:ext cx="1197" cy="86368"/>
                </a:xfrm>
                <a:custGeom>
                  <a:avLst/>
                  <a:gdLst>
                    <a:gd name="connsiteX0" fmla="*/ 0 w 1197"/>
                    <a:gd name="connsiteY0" fmla="*/ 0 h 86368"/>
                    <a:gd name="connsiteX1" fmla="*/ 0 w 1197"/>
                    <a:gd name="connsiteY1" fmla="*/ 86368 h 8636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197" h="86368">
                      <a:moveTo>
                        <a:pt x="0" y="0"/>
                      </a:moveTo>
                      <a:lnTo>
                        <a:pt x="0" y="86368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725" name="Forma livre: Forma 724">
                <a:extLst>
                  <a:ext uri="{FF2B5EF4-FFF2-40B4-BE49-F238E27FC236}">
                    <a16:creationId xmlns:a16="http://schemas.microsoft.com/office/drawing/2014/main" id="{1DA26E58-DF30-FC58-1F13-4600E2073A53}"/>
                  </a:ext>
                </a:extLst>
              </p:cNvPr>
              <p:cNvSpPr/>
              <p:nvPr/>
            </p:nvSpPr>
            <p:spPr>
              <a:xfrm>
                <a:off x="9323346" y="2028413"/>
                <a:ext cx="203740" cy="264959"/>
              </a:xfrm>
              <a:custGeom>
                <a:avLst/>
                <a:gdLst>
                  <a:gd name="connsiteX0" fmla="*/ 133735 w 203740"/>
                  <a:gd name="connsiteY0" fmla="*/ 264959 h 264959"/>
                  <a:gd name="connsiteX1" fmla="*/ 133735 w 203740"/>
                  <a:gd name="connsiteY1" fmla="*/ 118478 h 264959"/>
                  <a:gd name="connsiteX2" fmla="*/ 191825 w 203740"/>
                  <a:gd name="connsiteY2" fmla="*/ 42035 h 264959"/>
                  <a:gd name="connsiteX3" fmla="*/ 195740 w 203740"/>
                  <a:gd name="connsiteY3" fmla="*/ 0 h 264959"/>
                  <a:gd name="connsiteX4" fmla="*/ 126540 w 203740"/>
                  <a:gd name="connsiteY4" fmla="*/ 76383 h 264959"/>
                  <a:gd name="connsiteX5" fmla="*/ 77214 w 203740"/>
                  <a:gd name="connsiteY5" fmla="*/ 76383 h 264959"/>
                  <a:gd name="connsiteX6" fmla="*/ 8014 w 203740"/>
                  <a:gd name="connsiteY6" fmla="*/ 0 h 264959"/>
                  <a:gd name="connsiteX7" fmla="*/ 11929 w 203740"/>
                  <a:gd name="connsiteY7" fmla="*/ 42035 h 264959"/>
                  <a:gd name="connsiteX8" fmla="*/ 70018 w 203740"/>
                  <a:gd name="connsiteY8" fmla="*/ 118478 h 264959"/>
                  <a:gd name="connsiteX9" fmla="*/ 70018 w 203740"/>
                  <a:gd name="connsiteY9" fmla="*/ 264959 h 2649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03740" h="264959">
                    <a:moveTo>
                      <a:pt x="133735" y="264959"/>
                    </a:moveTo>
                    <a:lnTo>
                      <a:pt x="133735" y="118478"/>
                    </a:lnTo>
                    <a:lnTo>
                      <a:pt x="191825" y="42035"/>
                    </a:lnTo>
                    <a:cubicBezTo>
                      <a:pt x="205533" y="24328"/>
                      <a:pt x="208179" y="12044"/>
                      <a:pt x="195740" y="0"/>
                    </a:cubicBezTo>
                    <a:lnTo>
                      <a:pt x="126540" y="76383"/>
                    </a:lnTo>
                    <a:lnTo>
                      <a:pt x="77214" y="76383"/>
                    </a:lnTo>
                    <a:lnTo>
                      <a:pt x="8014" y="0"/>
                    </a:lnTo>
                    <a:cubicBezTo>
                      <a:pt x="-4437" y="12044"/>
                      <a:pt x="-1803" y="24328"/>
                      <a:pt x="11929" y="42035"/>
                    </a:cubicBezTo>
                    <a:lnTo>
                      <a:pt x="70018" y="118478"/>
                    </a:lnTo>
                    <a:lnTo>
                      <a:pt x="70018" y="264959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726" name="Gráfico 10">
            <a:extLst>
              <a:ext uri="{FF2B5EF4-FFF2-40B4-BE49-F238E27FC236}">
                <a16:creationId xmlns:a16="http://schemas.microsoft.com/office/drawing/2014/main" id="{467534AE-C300-F3F2-047F-5C9A7C7299DE}"/>
              </a:ext>
            </a:extLst>
          </p:cNvPr>
          <p:cNvGrpSpPr/>
          <p:nvPr/>
        </p:nvGrpSpPr>
        <p:grpSpPr>
          <a:xfrm>
            <a:off x="8029646" y="2057266"/>
            <a:ext cx="303162" cy="294985"/>
            <a:chOff x="8029646" y="2057266"/>
            <a:chExt cx="303162" cy="294985"/>
          </a:xfrm>
        </p:grpSpPr>
        <p:grpSp>
          <p:nvGrpSpPr>
            <p:cNvPr id="727" name="Gráfico 10">
              <a:extLst>
                <a:ext uri="{FF2B5EF4-FFF2-40B4-BE49-F238E27FC236}">
                  <a16:creationId xmlns:a16="http://schemas.microsoft.com/office/drawing/2014/main" id="{DEB4CC07-377F-7B85-8924-BC9EA9A36300}"/>
                </a:ext>
              </a:extLst>
            </p:cNvPr>
            <p:cNvGrpSpPr/>
            <p:nvPr/>
          </p:nvGrpSpPr>
          <p:grpSpPr>
            <a:xfrm>
              <a:off x="8029646" y="2352252"/>
              <a:ext cx="303162" cy="1197"/>
              <a:chOff x="8029646" y="2352252"/>
              <a:chExt cx="303162" cy="1197"/>
            </a:xfrm>
          </p:grpSpPr>
          <p:sp>
            <p:nvSpPr>
              <p:cNvPr id="728" name="Forma livre: Forma 727">
                <a:extLst>
                  <a:ext uri="{FF2B5EF4-FFF2-40B4-BE49-F238E27FC236}">
                    <a16:creationId xmlns:a16="http://schemas.microsoft.com/office/drawing/2014/main" id="{6D7F91BA-FE72-CB25-5E20-7E33C1661DC7}"/>
                  </a:ext>
                </a:extLst>
              </p:cNvPr>
              <p:cNvSpPr/>
              <p:nvPr/>
            </p:nvSpPr>
            <p:spPr>
              <a:xfrm>
                <a:off x="8316251" y="2352252"/>
                <a:ext cx="16557" cy="1197"/>
              </a:xfrm>
              <a:custGeom>
                <a:avLst/>
                <a:gdLst>
                  <a:gd name="connsiteX0" fmla="*/ 0 w 16557"/>
                  <a:gd name="connsiteY0" fmla="*/ 0 h 1197"/>
                  <a:gd name="connsiteX1" fmla="*/ 16558 w 16557"/>
                  <a:gd name="connsiteY1" fmla="*/ 0 h 11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6557" h="1197">
                    <a:moveTo>
                      <a:pt x="0" y="0"/>
                    </a:moveTo>
                    <a:lnTo>
                      <a:pt x="16558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29" name="Forma livre: Forma 728">
                <a:extLst>
                  <a:ext uri="{FF2B5EF4-FFF2-40B4-BE49-F238E27FC236}">
                    <a16:creationId xmlns:a16="http://schemas.microsoft.com/office/drawing/2014/main" id="{AC8ED470-2E93-A7D7-4F4C-AD0C2C41D20A}"/>
                  </a:ext>
                </a:extLst>
              </p:cNvPr>
              <p:cNvSpPr/>
              <p:nvPr/>
            </p:nvSpPr>
            <p:spPr>
              <a:xfrm>
                <a:off x="8029646" y="2352252"/>
                <a:ext cx="269377" cy="1197"/>
              </a:xfrm>
              <a:custGeom>
                <a:avLst/>
                <a:gdLst>
                  <a:gd name="connsiteX0" fmla="*/ 0 w 269377"/>
                  <a:gd name="connsiteY0" fmla="*/ 0 h 1197"/>
                  <a:gd name="connsiteX1" fmla="*/ 269377 w 269377"/>
                  <a:gd name="connsiteY1" fmla="*/ 0 h 11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69377" h="1197">
                    <a:moveTo>
                      <a:pt x="0" y="0"/>
                    </a:moveTo>
                    <a:lnTo>
                      <a:pt x="269377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730" name="Gráfico 10">
              <a:extLst>
                <a:ext uri="{FF2B5EF4-FFF2-40B4-BE49-F238E27FC236}">
                  <a16:creationId xmlns:a16="http://schemas.microsoft.com/office/drawing/2014/main" id="{EAF0CF3C-F2D6-6DEF-BC1F-3BAB0078716B}"/>
                </a:ext>
              </a:extLst>
            </p:cNvPr>
            <p:cNvGrpSpPr/>
            <p:nvPr/>
          </p:nvGrpSpPr>
          <p:grpSpPr>
            <a:xfrm>
              <a:off x="8042349" y="2057266"/>
              <a:ext cx="232777" cy="291466"/>
              <a:chOff x="8042349" y="2057266"/>
              <a:chExt cx="232777" cy="291466"/>
            </a:xfrm>
          </p:grpSpPr>
          <p:grpSp>
            <p:nvGrpSpPr>
              <p:cNvPr id="731" name="Gráfico 10">
                <a:extLst>
                  <a:ext uri="{FF2B5EF4-FFF2-40B4-BE49-F238E27FC236}">
                    <a16:creationId xmlns:a16="http://schemas.microsoft.com/office/drawing/2014/main" id="{8E3A1EDD-FA95-2C55-4271-C9C9ADB7AB1B}"/>
                  </a:ext>
                </a:extLst>
              </p:cNvPr>
              <p:cNvGrpSpPr/>
              <p:nvPr/>
            </p:nvGrpSpPr>
            <p:grpSpPr>
              <a:xfrm>
                <a:off x="8042349" y="2057266"/>
                <a:ext cx="123566" cy="146337"/>
                <a:chOff x="8042349" y="2057266"/>
                <a:chExt cx="123566" cy="146337"/>
              </a:xfrm>
            </p:grpSpPr>
            <p:sp>
              <p:nvSpPr>
                <p:cNvPr id="732" name="Forma livre: Forma 731">
                  <a:extLst>
                    <a:ext uri="{FF2B5EF4-FFF2-40B4-BE49-F238E27FC236}">
                      <a16:creationId xmlns:a16="http://schemas.microsoft.com/office/drawing/2014/main" id="{DBF3BDDD-36F5-7F9D-892A-8B2C31C505AA}"/>
                    </a:ext>
                  </a:extLst>
                </p:cNvPr>
                <p:cNvSpPr/>
                <p:nvPr/>
              </p:nvSpPr>
              <p:spPr>
                <a:xfrm>
                  <a:off x="8071286" y="2057266"/>
                  <a:ext cx="16186" cy="16198"/>
                </a:xfrm>
                <a:custGeom>
                  <a:avLst/>
                  <a:gdLst>
                    <a:gd name="connsiteX0" fmla="*/ 16187 w 16186"/>
                    <a:gd name="connsiteY0" fmla="*/ 8105 h 16198"/>
                    <a:gd name="connsiteX1" fmla="*/ 8105 w 16186"/>
                    <a:gd name="connsiteY1" fmla="*/ 16199 h 16198"/>
                    <a:gd name="connsiteX2" fmla="*/ 0 w 16186"/>
                    <a:gd name="connsiteY2" fmla="*/ 8105 h 16198"/>
                    <a:gd name="connsiteX3" fmla="*/ 8105 w 16186"/>
                    <a:gd name="connsiteY3" fmla="*/ 0 h 16198"/>
                    <a:gd name="connsiteX4" fmla="*/ 16187 w 16186"/>
                    <a:gd name="connsiteY4" fmla="*/ 8105 h 161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6186" h="16198">
                      <a:moveTo>
                        <a:pt x="16187" y="8105"/>
                      </a:moveTo>
                      <a:cubicBezTo>
                        <a:pt x="16187" y="12583"/>
                        <a:pt x="12595" y="16199"/>
                        <a:pt x="8105" y="16199"/>
                      </a:cubicBezTo>
                      <a:cubicBezTo>
                        <a:pt x="3616" y="16199"/>
                        <a:pt x="0" y="12583"/>
                        <a:pt x="0" y="8105"/>
                      </a:cubicBezTo>
                      <a:cubicBezTo>
                        <a:pt x="0" y="3628"/>
                        <a:pt x="3640" y="0"/>
                        <a:pt x="8105" y="0"/>
                      </a:cubicBezTo>
                      <a:cubicBezTo>
                        <a:pt x="12571" y="0"/>
                        <a:pt x="16187" y="3616"/>
                        <a:pt x="16187" y="8105"/>
                      </a:cubicBezTo>
                      <a:close/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733" name="Forma livre: Forma 732">
                  <a:extLst>
                    <a:ext uri="{FF2B5EF4-FFF2-40B4-BE49-F238E27FC236}">
                      <a16:creationId xmlns:a16="http://schemas.microsoft.com/office/drawing/2014/main" id="{2DE558BF-EFAC-002C-CEB2-1EC68F7C17FA}"/>
                    </a:ext>
                  </a:extLst>
                </p:cNvPr>
                <p:cNvSpPr/>
                <p:nvPr/>
              </p:nvSpPr>
              <p:spPr>
                <a:xfrm>
                  <a:off x="8042349" y="2076506"/>
                  <a:ext cx="106601" cy="61322"/>
                </a:xfrm>
                <a:custGeom>
                  <a:avLst/>
                  <a:gdLst>
                    <a:gd name="connsiteX0" fmla="*/ 106601 w 106601"/>
                    <a:gd name="connsiteY0" fmla="*/ 0 h 61322"/>
                    <a:gd name="connsiteX1" fmla="*/ 49925 w 106601"/>
                    <a:gd name="connsiteY1" fmla="*/ 29464 h 61322"/>
                    <a:gd name="connsiteX2" fmla="*/ 0 w 106601"/>
                    <a:gd name="connsiteY2" fmla="*/ 61322 h 613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06601" h="61322">
                      <a:moveTo>
                        <a:pt x="106601" y="0"/>
                      </a:moveTo>
                      <a:cubicBezTo>
                        <a:pt x="106601" y="0"/>
                        <a:pt x="84465" y="30721"/>
                        <a:pt x="49925" y="29464"/>
                      </a:cubicBezTo>
                      <a:cubicBezTo>
                        <a:pt x="49925" y="29464"/>
                        <a:pt x="26291" y="21622"/>
                        <a:pt x="0" y="61322"/>
                      </a:cubicBez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734" name="Forma livre: Forma 733">
                  <a:extLst>
                    <a:ext uri="{FF2B5EF4-FFF2-40B4-BE49-F238E27FC236}">
                      <a16:creationId xmlns:a16="http://schemas.microsoft.com/office/drawing/2014/main" id="{5723628D-7FDC-BBC5-3FCB-5581FB0111EC}"/>
                    </a:ext>
                  </a:extLst>
                </p:cNvPr>
                <p:cNvSpPr/>
                <p:nvPr/>
              </p:nvSpPr>
              <p:spPr>
                <a:xfrm>
                  <a:off x="8045593" y="2107694"/>
                  <a:ext cx="53662" cy="95910"/>
                </a:xfrm>
                <a:custGeom>
                  <a:avLst/>
                  <a:gdLst>
                    <a:gd name="connsiteX0" fmla="*/ 0 w 53662"/>
                    <a:gd name="connsiteY0" fmla="*/ 95910 h 95910"/>
                    <a:gd name="connsiteX1" fmla="*/ 43807 w 53662"/>
                    <a:gd name="connsiteY1" fmla="*/ 86584 h 95910"/>
                    <a:gd name="connsiteX2" fmla="*/ 47805 w 53662"/>
                    <a:gd name="connsiteY2" fmla="*/ 0 h 9591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53662" h="95910">
                      <a:moveTo>
                        <a:pt x="0" y="95910"/>
                      </a:moveTo>
                      <a:cubicBezTo>
                        <a:pt x="0" y="95910"/>
                        <a:pt x="37473" y="92127"/>
                        <a:pt x="43807" y="86584"/>
                      </a:cubicBezTo>
                      <a:cubicBezTo>
                        <a:pt x="43807" y="86584"/>
                        <a:pt x="63010" y="32589"/>
                        <a:pt x="47805" y="0"/>
                      </a:cubicBez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735" name="Forma livre: Forma 734">
                  <a:extLst>
                    <a:ext uri="{FF2B5EF4-FFF2-40B4-BE49-F238E27FC236}">
                      <a16:creationId xmlns:a16="http://schemas.microsoft.com/office/drawing/2014/main" id="{0E66FFFE-EBE1-3145-885B-DC6177DB05EB}"/>
                    </a:ext>
                  </a:extLst>
                </p:cNvPr>
                <p:cNvSpPr/>
                <p:nvPr/>
              </p:nvSpPr>
              <p:spPr>
                <a:xfrm>
                  <a:off x="8099373" y="2148016"/>
                  <a:ext cx="66542" cy="33056"/>
                </a:xfrm>
                <a:custGeom>
                  <a:avLst/>
                  <a:gdLst>
                    <a:gd name="connsiteX0" fmla="*/ 66542 w 66542"/>
                    <a:gd name="connsiteY0" fmla="*/ 33056 h 33056"/>
                    <a:gd name="connsiteX1" fmla="*/ 42478 w 66542"/>
                    <a:gd name="connsiteY1" fmla="*/ 61 h 33056"/>
                    <a:gd name="connsiteX2" fmla="*/ 0 w 66542"/>
                    <a:gd name="connsiteY2" fmla="*/ 6873 h 3305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66542" h="33056">
                      <a:moveTo>
                        <a:pt x="66542" y="33056"/>
                      </a:moveTo>
                      <a:cubicBezTo>
                        <a:pt x="66542" y="33056"/>
                        <a:pt x="53696" y="5388"/>
                        <a:pt x="42478" y="61"/>
                      </a:cubicBezTo>
                      <a:cubicBezTo>
                        <a:pt x="42478" y="61"/>
                        <a:pt x="25657" y="-1113"/>
                        <a:pt x="0" y="6873"/>
                      </a:cubicBez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736" name="Gráfico 10">
                <a:extLst>
                  <a:ext uri="{FF2B5EF4-FFF2-40B4-BE49-F238E27FC236}">
                    <a16:creationId xmlns:a16="http://schemas.microsoft.com/office/drawing/2014/main" id="{AA40B41B-8EF2-44A2-30E7-A2E12137B8DB}"/>
                  </a:ext>
                </a:extLst>
              </p:cNvPr>
              <p:cNvGrpSpPr/>
              <p:nvPr/>
            </p:nvGrpSpPr>
            <p:grpSpPr>
              <a:xfrm>
                <a:off x="8053028" y="2149740"/>
                <a:ext cx="222098" cy="198991"/>
                <a:chOff x="8053028" y="2149740"/>
                <a:chExt cx="222098" cy="198991"/>
              </a:xfrm>
              <a:noFill/>
            </p:grpSpPr>
            <p:sp>
              <p:nvSpPr>
                <p:cNvPr id="737" name="Forma livre: Forma 736">
                  <a:extLst>
                    <a:ext uri="{FF2B5EF4-FFF2-40B4-BE49-F238E27FC236}">
                      <a16:creationId xmlns:a16="http://schemas.microsoft.com/office/drawing/2014/main" id="{DCB223D7-A7CD-4601-D8E4-C3F84FDFDB29}"/>
                    </a:ext>
                  </a:extLst>
                </p:cNvPr>
                <p:cNvSpPr/>
                <p:nvPr/>
              </p:nvSpPr>
              <p:spPr>
                <a:xfrm>
                  <a:off x="8053028" y="2276491"/>
                  <a:ext cx="47530" cy="72240"/>
                </a:xfrm>
                <a:custGeom>
                  <a:avLst/>
                  <a:gdLst>
                    <a:gd name="connsiteX0" fmla="*/ 0 w 47530"/>
                    <a:gd name="connsiteY0" fmla="*/ 55204 h 72240"/>
                    <a:gd name="connsiteX1" fmla="*/ 0 w 47530"/>
                    <a:gd name="connsiteY1" fmla="*/ 14271 h 72240"/>
                    <a:gd name="connsiteX2" fmla="*/ 14283 w 47530"/>
                    <a:gd name="connsiteY2" fmla="*/ 0 h 72240"/>
                    <a:gd name="connsiteX3" fmla="*/ 33247 w 47530"/>
                    <a:gd name="connsiteY3" fmla="*/ 0 h 72240"/>
                    <a:gd name="connsiteX4" fmla="*/ 47530 w 47530"/>
                    <a:gd name="connsiteY4" fmla="*/ 14271 h 72240"/>
                    <a:gd name="connsiteX5" fmla="*/ 47530 w 47530"/>
                    <a:gd name="connsiteY5" fmla="*/ 72241 h 7224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47530" h="72240">
                      <a:moveTo>
                        <a:pt x="0" y="55204"/>
                      </a:moveTo>
                      <a:lnTo>
                        <a:pt x="0" y="14271"/>
                      </a:lnTo>
                      <a:cubicBezTo>
                        <a:pt x="0" y="6429"/>
                        <a:pt x="6429" y="0"/>
                        <a:pt x="14283" y="0"/>
                      </a:cubicBezTo>
                      <a:lnTo>
                        <a:pt x="33247" y="0"/>
                      </a:lnTo>
                      <a:cubicBezTo>
                        <a:pt x="41101" y="0"/>
                        <a:pt x="47530" y="6429"/>
                        <a:pt x="47530" y="14271"/>
                      </a:cubicBezTo>
                      <a:lnTo>
                        <a:pt x="47530" y="72241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738" name="Forma livre: Forma 737">
                  <a:extLst>
                    <a:ext uri="{FF2B5EF4-FFF2-40B4-BE49-F238E27FC236}">
                      <a16:creationId xmlns:a16="http://schemas.microsoft.com/office/drawing/2014/main" id="{DF6D6A6F-1A49-F096-3314-303C275CB17F}"/>
                    </a:ext>
                  </a:extLst>
                </p:cNvPr>
                <p:cNvSpPr/>
                <p:nvPr/>
              </p:nvSpPr>
              <p:spPr>
                <a:xfrm>
                  <a:off x="8140318" y="2223669"/>
                  <a:ext cx="47434" cy="125062"/>
                </a:xfrm>
                <a:custGeom>
                  <a:avLst/>
                  <a:gdLst>
                    <a:gd name="connsiteX0" fmla="*/ 0 w 47434"/>
                    <a:gd name="connsiteY0" fmla="*/ 108026 h 125062"/>
                    <a:gd name="connsiteX1" fmla="*/ 0 w 47434"/>
                    <a:gd name="connsiteY1" fmla="*/ 14283 h 125062"/>
                    <a:gd name="connsiteX2" fmla="*/ 14271 w 47434"/>
                    <a:gd name="connsiteY2" fmla="*/ 0 h 125062"/>
                    <a:gd name="connsiteX3" fmla="*/ 33163 w 47434"/>
                    <a:gd name="connsiteY3" fmla="*/ 0 h 125062"/>
                    <a:gd name="connsiteX4" fmla="*/ 47434 w 47434"/>
                    <a:gd name="connsiteY4" fmla="*/ 14283 h 125062"/>
                    <a:gd name="connsiteX5" fmla="*/ 47434 w 47434"/>
                    <a:gd name="connsiteY5" fmla="*/ 125063 h 12506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47434" h="125062">
                      <a:moveTo>
                        <a:pt x="0" y="108026"/>
                      </a:moveTo>
                      <a:lnTo>
                        <a:pt x="0" y="14283"/>
                      </a:lnTo>
                      <a:cubicBezTo>
                        <a:pt x="0" y="6429"/>
                        <a:pt x="6429" y="0"/>
                        <a:pt x="14271" y="0"/>
                      </a:cubicBezTo>
                      <a:lnTo>
                        <a:pt x="33163" y="0"/>
                      </a:lnTo>
                      <a:cubicBezTo>
                        <a:pt x="41005" y="0"/>
                        <a:pt x="47434" y="6417"/>
                        <a:pt x="47434" y="14283"/>
                      </a:cubicBezTo>
                      <a:lnTo>
                        <a:pt x="47434" y="125063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739" name="Forma livre: Forma 738">
                  <a:extLst>
                    <a:ext uri="{FF2B5EF4-FFF2-40B4-BE49-F238E27FC236}">
                      <a16:creationId xmlns:a16="http://schemas.microsoft.com/office/drawing/2014/main" id="{C3492822-BB2F-8800-8315-960BE0C82FA6}"/>
                    </a:ext>
                  </a:extLst>
                </p:cNvPr>
                <p:cNvSpPr/>
                <p:nvPr/>
              </p:nvSpPr>
              <p:spPr>
                <a:xfrm>
                  <a:off x="8227692" y="2149740"/>
                  <a:ext cx="47434" cy="198991"/>
                </a:xfrm>
                <a:custGeom>
                  <a:avLst/>
                  <a:gdLst>
                    <a:gd name="connsiteX0" fmla="*/ 0 w 47434"/>
                    <a:gd name="connsiteY0" fmla="*/ 181955 h 198991"/>
                    <a:gd name="connsiteX1" fmla="*/ 0 w 47434"/>
                    <a:gd name="connsiteY1" fmla="*/ 14271 h 198991"/>
                    <a:gd name="connsiteX2" fmla="*/ 14271 w 47434"/>
                    <a:gd name="connsiteY2" fmla="*/ 0 h 198991"/>
                    <a:gd name="connsiteX3" fmla="*/ 33163 w 47434"/>
                    <a:gd name="connsiteY3" fmla="*/ 0 h 198991"/>
                    <a:gd name="connsiteX4" fmla="*/ 47434 w 47434"/>
                    <a:gd name="connsiteY4" fmla="*/ 14271 h 198991"/>
                    <a:gd name="connsiteX5" fmla="*/ 47434 w 47434"/>
                    <a:gd name="connsiteY5" fmla="*/ 198992 h 19899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47434" h="198991">
                      <a:moveTo>
                        <a:pt x="0" y="181955"/>
                      </a:moveTo>
                      <a:lnTo>
                        <a:pt x="0" y="14271"/>
                      </a:lnTo>
                      <a:cubicBezTo>
                        <a:pt x="0" y="6429"/>
                        <a:pt x="6429" y="0"/>
                        <a:pt x="14271" y="0"/>
                      </a:cubicBezTo>
                      <a:lnTo>
                        <a:pt x="33163" y="0"/>
                      </a:lnTo>
                      <a:cubicBezTo>
                        <a:pt x="41005" y="0"/>
                        <a:pt x="47434" y="6429"/>
                        <a:pt x="47434" y="14271"/>
                      </a:cubicBezTo>
                      <a:lnTo>
                        <a:pt x="47434" y="198992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</p:grpSp>
      <p:grpSp>
        <p:nvGrpSpPr>
          <p:cNvPr id="740" name="Gráfico 10">
            <a:extLst>
              <a:ext uri="{FF2B5EF4-FFF2-40B4-BE49-F238E27FC236}">
                <a16:creationId xmlns:a16="http://schemas.microsoft.com/office/drawing/2014/main" id="{2A737D43-6288-3318-5113-7687DDBB4F20}"/>
              </a:ext>
            </a:extLst>
          </p:cNvPr>
          <p:cNvGrpSpPr/>
          <p:nvPr/>
        </p:nvGrpSpPr>
        <p:grpSpPr>
          <a:xfrm>
            <a:off x="8638965" y="1519098"/>
            <a:ext cx="328352" cy="316583"/>
            <a:chOff x="8638965" y="1519098"/>
            <a:chExt cx="328352" cy="316583"/>
          </a:xfrm>
          <a:noFill/>
        </p:grpSpPr>
        <p:grpSp>
          <p:nvGrpSpPr>
            <p:cNvPr id="741" name="Gráfico 10">
              <a:extLst>
                <a:ext uri="{FF2B5EF4-FFF2-40B4-BE49-F238E27FC236}">
                  <a16:creationId xmlns:a16="http://schemas.microsoft.com/office/drawing/2014/main" id="{FD2AD6C7-11D7-858B-90A9-80B21DF4C9CF}"/>
                </a:ext>
              </a:extLst>
            </p:cNvPr>
            <p:cNvGrpSpPr/>
            <p:nvPr/>
          </p:nvGrpSpPr>
          <p:grpSpPr>
            <a:xfrm>
              <a:off x="8638965" y="1605946"/>
              <a:ext cx="173670" cy="229736"/>
              <a:chOff x="8638965" y="1605946"/>
              <a:chExt cx="173670" cy="229736"/>
            </a:xfrm>
            <a:noFill/>
          </p:grpSpPr>
          <p:sp>
            <p:nvSpPr>
              <p:cNvPr id="742" name="Forma livre: Forma 741">
                <a:extLst>
                  <a:ext uri="{FF2B5EF4-FFF2-40B4-BE49-F238E27FC236}">
                    <a16:creationId xmlns:a16="http://schemas.microsoft.com/office/drawing/2014/main" id="{4AEDA2DE-9C04-53A6-81D3-8061C47FB182}"/>
                  </a:ext>
                </a:extLst>
              </p:cNvPr>
              <p:cNvSpPr/>
              <p:nvPr/>
            </p:nvSpPr>
            <p:spPr>
              <a:xfrm>
                <a:off x="8725800" y="1749254"/>
                <a:ext cx="1197" cy="86428"/>
              </a:xfrm>
              <a:custGeom>
                <a:avLst/>
                <a:gdLst>
                  <a:gd name="connsiteX0" fmla="*/ 0 w 1197"/>
                  <a:gd name="connsiteY0" fmla="*/ 0 h 86428"/>
                  <a:gd name="connsiteX1" fmla="*/ 0 w 1197"/>
                  <a:gd name="connsiteY1" fmla="*/ 86428 h 864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7" h="86428">
                    <a:moveTo>
                      <a:pt x="0" y="0"/>
                    </a:moveTo>
                    <a:lnTo>
                      <a:pt x="0" y="86428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743" name="Gráfico 10">
                <a:extLst>
                  <a:ext uri="{FF2B5EF4-FFF2-40B4-BE49-F238E27FC236}">
                    <a16:creationId xmlns:a16="http://schemas.microsoft.com/office/drawing/2014/main" id="{140DF80E-5A7F-DB4D-2A74-0FDC691C0AA0}"/>
                  </a:ext>
                </a:extLst>
              </p:cNvPr>
              <p:cNvGrpSpPr/>
              <p:nvPr/>
            </p:nvGrpSpPr>
            <p:grpSpPr>
              <a:xfrm>
                <a:off x="8638965" y="1742466"/>
                <a:ext cx="173670" cy="93216"/>
                <a:chOff x="8638965" y="1742466"/>
                <a:chExt cx="173670" cy="93216"/>
              </a:xfrm>
              <a:noFill/>
            </p:grpSpPr>
            <p:sp>
              <p:nvSpPr>
                <p:cNvPr id="744" name="Forma livre: Forma 743">
                  <a:extLst>
                    <a:ext uri="{FF2B5EF4-FFF2-40B4-BE49-F238E27FC236}">
                      <a16:creationId xmlns:a16="http://schemas.microsoft.com/office/drawing/2014/main" id="{5A68906D-144C-5721-FCC6-7BBF17E4EF1E}"/>
                    </a:ext>
                  </a:extLst>
                </p:cNvPr>
                <p:cNvSpPr/>
                <p:nvPr/>
              </p:nvSpPr>
              <p:spPr>
                <a:xfrm>
                  <a:off x="8638965" y="1742466"/>
                  <a:ext cx="56593" cy="93216"/>
                </a:xfrm>
                <a:custGeom>
                  <a:avLst/>
                  <a:gdLst>
                    <a:gd name="connsiteX0" fmla="*/ 56593 w 56593"/>
                    <a:gd name="connsiteY0" fmla="*/ 93216 h 93216"/>
                    <a:gd name="connsiteX1" fmla="*/ 48356 w 56593"/>
                    <a:gd name="connsiteY1" fmla="*/ 0 h 93216"/>
                    <a:gd name="connsiteX2" fmla="*/ 32110 w 56593"/>
                    <a:gd name="connsiteY2" fmla="*/ 4933 h 93216"/>
                    <a:gd name="connsiteX3" fmla="*/ 0 w 56593"/>
                    <a:gd name="connsiteY3" fmla="*/ 39449 h 93216"/>
                    <a:gd name="connsiteX4" fmla="*/ 0 w 56593"/>
                    <a:gd name="connsiteY4" fmla="*/ 93216 h 9321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6593" h="93216">
                      <a:moveTo>
                        <a:pt x="56593" y="93216"/>
                      </a:moveTo>
                      <a:lnTo>
                        <a:pt x="48356" y="0"/>
                      </a:lnTo>
                      <a:lnTo>
                        <a:pt x="32110" y="4933"/>
                      </a:lnTo>
                      <a:cubicBezTo>
                        <a:pt x="32110" y="4933"/>
                        <a:pt x="0" y="12954"/>
                        <a:pt x="0" y="39449"/>
                      </a:cubicBezTo>
                      <a:lnTo>
                        <a:pt x="0" y="93216"/>
                      </a:ln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745" name="Forma livre: Forma 744">
                  <a:extLst>
                    <a:ext uri="{FF2B5EF4-FFF2-40B4-BE49-F238E27FC236}">
                      <a16:creationId xmlns:a16="http://schemas.microsoft.com/office/drawing/2014/main" id="{8F56FDB5-2DAD-EA5C-E935-67470CC6AE57}"/>
                    </a:ext>
                  </a:extLst>
                </p:cNvPr>
                <p:cNvSpPr/>
                <p:nvPr/>
              </p:nvSpPr>
              <p:spPr>
                <a:xfrm>
                  <a:off x="8756030" y="1742466"/>
                  <a:ext cx="56605" cy="93216"/>
                </a:xfrm>
                <a:custGeom>
                  <a:avLst/>
                  <a:gdLst>
                    <a:gd name="connsiteX0" fmla="*/ 0 w 56605"/>
                    <a:gd name="connsiteY0" fmla="*/ 93216 h 93216"/>
                    <a:gd name="connsiteX1" fmla="*/ 8237 w 56605"/>
                    <a:gd name="connsiteY1" fmla="*/ 0 h 93216"/>
                    <a:gd name="connsiteX2" fmla="*/ 24483 w 56605"/>
                    <a:gd name="connsiteY2" fmla="*/ 4933 h 93216"/>
                    <a:gd name="connsiteX3" fmla="*/ 56605 w 56605"/>
                    <a:gd name="connsiteY3" fmla="*/ 39449 h 93216"/>
                    <a:gd name="connsiteX4" fmla="*/ 56605 w 56605"/>
                    <a:gd name="connsiteY4" fmla="*/ 93216 h 9321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6605" h="93216">
                      <a:moveTo>
                        <a:pt x="0" y="93216"/>
                      </a:moveTo>
                      <a:lnTo>
                        <a:pt x="8237" y="0"/>
                      </a:lnTo>
                      <a:lnTo>
                        <a:pt x="24483" y="4933"/>
                      </a:lnTo>
                      <a:cubicBezTo>
                        <a:pt x="24483" y="4933"/>
                        <a:pt x="56605" y="12954"/>
                        <a:pt x="56605" y="39449"/>
                      </a:cubicBezTo>
                      <a:lnTo>
                        <a:pt x="56605" y="93216"/>
                      </a:ln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746" name="Gráfico 10">
                <a:extLst>
                  <a:ext uri="{FF2B5EF4-FFF2-40B4-BE49-F238E27FC236}">
                    <a16:creationId xmlns:a16="http://schemas.microsoft.com/office/drawing/2014/main" id="{97D5E638-2EC6-E191-8BBA-07417F2F637A}"/>
                  </a:ext>
                </a:extLst>
              </p:cNvPr>
              <p:cNvGrpSpPr/>
              <p:nvPr/>
            </p:nvGrpSpPr>
            <p:grpSpPr>
              <a:xfrm>
                <a:off x="8681350" y="1605946"/>
                <a:ext cx="88813" cy="118238"/>
                <a:chOff x="8681350" y="1605946"/>
                <a:chExt cx="88813" cy="118238"/>
              </a:xfrm>
              <a:noFill/>
            </p:grpSpPr>
            <p:sp>
              <p:nvSpPr>
                <p:cNvPr id="747" name="Forma livre: Forma 746">
                  <a:extLst>
                    <a:ext uri="{FF2B5EF4-FFF2-40B4-BE49-F238E27FC236}">
                      <a16:creationId xmlns:a16="http://schemas.microsoft.com/office/drawing/2014/main" id="{E91D206E-838A-982A-ECBB-6DD73EC6299D}"/>
                    </a:ext>
                  </a:extLst>
                </p:cNvPr>
                <p:cNvSpPr/>
                <p:nvPr/>
              </p:nvSpPr>
              <p:spPr>
                <a:xfrm>
                  <a:off x="8681350" y="1605946"/>
                  <a:ext cx="88813" cy="118238"/>
                </a:xfrm>
                <a:custGeom>
                  <a:avLst/>
                  <a:gdLst>
                    <a:gd name="connsiteX0" fmla="*/ 44402 w 88813"/>
                    <a:gd name="connsiteY0" fmla="*/ 0 h 118238"/>
                    <a:gd name="connsiteX1" fmla="*/ 919 w 88813"/>
                    <a:gd name="connsiteY1" fmla="*/ 59131 h 118238"/>
                    <a:gd name="connsiteX2" fmla="*/ 44402 w 88813"/>
                    <a:gd name="connsiteY2" fmla="*/ 118239 h 118238"/>
                    <a:gd name="connsiteX3" fmla="*/ 87898 w 88813"/>
                    <a:gd name="connsiteY3" fmla="*/ 59131 h 118238"/>
                    <a:gd name="connsiteX4" fmla="*/ 44402 w 88813"/>
                    <a:gd name="connsiteY4" fmla="*/ 0 h 11823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88813" h="118238">
                      <a:moveTo>
                        <a:pt x="44402" y="0"/>
                      </a:moveTo>
                      <a:cubicBezTo>
                        <a:pt x="284" y="0"/>
                        <a:pt x="-2170" y="26698"/>
                        <a:pt x="919" y="59131"/>
                      </a:cubicBezTo>
                      <a:cubicBezTo>
                        <a:pt x="4008" y="91636"/>
                        <a:pt x="24433" y="118239"/>
                        <a:pt x="44402" y="118239"/>
                      </a:cubicBezTo>
                      <a:cubicBezTo>
                        <a:pt x="64372" y="118239"/>
                        <a:pt x="84809" y="91636"/>
                        <a:pt x="87898" y="59131"/>
                      </a:cubicBezTo>
                      <a:cubicBezTo>
                        <a:pt x="90975" y="26698"/>
                        <a:pt x="88544" y="0"/>
                        <a:pt x="44402" y="0"/>
                      </a:cubicBezTo>
                      <a:close/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748" name="Forma livre: Forma 747">
                  <a:extLst>
                    <a:ext uri="{FF2B5EF4-FFF2-40B4-BE49-F238E27FC236}">
                      <a16:creationId xmlns:a16="http://schemas.microsoft.com/office/drawing/2014/main" id="{00607414-7FA3-7673-525E-C8156454F612}"/>
                    </a:ext>
                  </a:extLst>
                </p:cNvPr>
                <p:cNvSpPr/>
                <p:nvPr/>
              </p:nvSpPr>
              <p:spPr>
                <a:xfrm>
                  <a:off x="8705759" y="1633398"/>
                  <a:ext cx="35306" cy="20807"/>
                </a:xfrm>
                <a:custGeom>
                  <a:avLst/>
                  <a:gdLst>
                    <a:gd name="connsiteX0" fmla="*/ 35306 w 35306"/>
                    <a:gd name="connsiteY0" fmla="*/ 0 h 20807"/>
                    <a:gd name="connsiteX1" fmla="*/ 0 w 35306"/>
                    <a:gd name="connsiteY1" fmla="*/ 20808 h 2080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35306" h="20807">
                      <a:moveTo>
                        <a:pt x="35306" y="0"/>
                      </a:moveTo>
                      <a:cubicBezTo>
                        <a:pt x="35306" y="0"/>
                        <a:pt x="29727" y="18964"/>
                        <a:pt x="0" y="20808"/>
                      </a:cubicBez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749" name="Forma livre: Forma 748">
                  <a:extLst>
                    <a:ext uri="{FF2B5EF4-FFF2-40B4-BE49-F238E27FC236}">
                      <a16:creationId xmlns:a16="http://schemas.microsoft.com/office/drawing/2014/main" id="{E88F81C8-4EB9-3C3B-C091-D5C4514A7DB5}"/>
                    </a:ext>
                  </a:extLst>
                </p:cNvPr>
                <p:cNvSpPr/>
                <p:nvPr/>
              </p:nvSpPr>
              <p:spPr>
                <a:xfrm>
                  <a:off x="8736887" y="1641695"/>
                  <a:ext cx="31894" cy="14702"/>
                </a:xfrm>
                <a:custGeom>
                  <a:avLst/>
                  <a:gdLst>
                    <a:gd name="connsiteX0" fmla="*/ 0 w 31894"/>
                    <a:gd name="connsiteY0" fmla="*/ 0 h 14702"/>
                    <a:gd name="connsiteX1" fmla="*/ 31894 w 31894"/>
                    <a:gd name="connsiteY1" fmla="*/ 14702 h 1470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31894" h="14702">
                      <a:moveTo>
                        <a:pt x="0" y="0"/>
                      </a:moveTo>
                      <a:cubicBezTo>
                        <a:pt x="0" y="0"/>
                        <a:pt x="13241" y="9841"/>
                        <a:pt x="31894" y="14702"/>
                      </a:cubicBez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sp>
          <p:nvSpPr>
            <p:cNvPr id="750" name="Forma livre: Forma 749">
              <a:extLst>
                <a:ext uri="{FF2B5EF4-FFF2-40B4-BE49-F238E27FC236}">
                  <a16:creationId xmlns:a16="http://schemas.microsoft.com/office/drawing/2014/main" id="{8885BD4C-D708-3531-4557-5A13BECDF031}"/>
                </a:ext>
              </a:extLst>
            </p:cNvPr>
            <p:cNvSpPr/>
            <p:nvPr/>
          </p:nvSpPr>
          <p:spPr>
            <a:xfrm>
              <a:off x="8800950" y="1519098"/>
              <a:ext cx="166367" cy="157040"/>
            </a:xfrm>
            <a:custGeom>
              <a:avLst/>
              <a:gdLst>
                <a:gd name="connsiteX0" fmla="*/ 86129 w 166367"/>
                <a:gd name="connsiteY0" fmla="*/ 119747 h 157040"/>
                <a:gd name="connsiteX1" fmla="*/ 166367 w 166367"/>
                <a:gd name="connsiteY1" fmla="*/ 119747 h 157040"/>
                <a:gd name="connsiteX2" fmla="*/ 166367 w 166367"/>
                <a:gd name="connsiteY2" fmla="*/ 0 h 157040"/>
                <a:gd name="connsiteX3" fmla="*/ 0 w 166367"/>
                <a:gd name="connsiteY3" fmla="*/ 0 h 157040"/>
                <a:gd name="connsiteX4" fmla="*/ 0 w 166367"/>
                <a:gd name="connsiteY4" fmla="*/ 119747 h 157040"/>
                <a:gd name="connsiteX5" fmla="*/ 58832 w 166367"/>
                <a:gd name="connsiteY5" fmla="*/ 119747 h 157040"/>
                <a:gd name="connsiteX6" fmla="*/ 17611 w 166367"/>
                <a:gd name="connsiteY6" fmla="*/ 157041 h 1570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66367" h="157040">
                  <a:moveTo>
                    <a:pt x="86129" y="119747"/>
                  </a:moveTo>
                  <a:lnTo>
                    <a:pt x="166367" y="119747"/>
                  </a:lnTo>
                  <a:lnTo>
                    <a:pt x="166367" y="0"/>
                  </a:lnTo>
                  <a:lnTo>
                    <a:pt x="0" y="0"/>
                  </a:lnTo>
                  <a:lnTo>
                    <a:pt x="0" y="119747"/>
                  </a:lnTo>
                  <a:lnTo>
                    <a:pt x="58832" y="119747"/>
                  </a:lnTo>
                  <a:lnTo>
                    <a:pt x="17611" y="157041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751" name="Gráfico 10">
              <a:extLst>
                <a:ext uri="{FF2B5EF4-FFF2-40B4-BE49-F238E27FC236}">
                  <a16:creationId xmlns:a16="http://schemas.microsoft.com/office/drawing/2014/main" id="{15F09873-1E98-5F78-2274-BE5066993C37}"/>
                </a:ext>
              </a:extLst>
            </p:cNvPr>
            <p:cNvGrpSpPr/>
            <p:nvPr/>
          </p:nvGrpSpPr>
          <p:grpSpPr>
            <a:xfrm>
              <a:off x="8833324" y="1560834"/>
              <a:ext cx="101764" cy="36240"/>
              <a:chOff x="8833324" y="1560834"/>
              <a:chExt cx="101764" cy="36240"/>
            </a:xfrm>
          </p:grpSpPr>
          <p:sp>
            <p:nvSpPr>
              <p:cNvPr id="752" name="Forma livre: Forma 751">
                <a:extLst>
                  <a:ext uri="{FF2B5EF4-FFF2-40B4-BE49-F238E27FC236}">
                    <a16:creationId xmlns:a16="http://schemas.microsoft.com/office/drawing/2014/main" id="{C6A54158-35EA-A1BA-8F8B-14C310EFED12}"/>
                  </a:ext>
                </a:extLst>
              </p:cNvPr>
              <p:cNvSpPr/>
              <p:nvPr/>
            </p:nvSpPr>
            <p:spPr>
              <a:xfrm>
                <a:off x="8833324" y="1560834"/>
                <a:ext cx="101764" cy="1197"/>
              </a:xfrm>
              <a:custGeom>
                <a:avLst/>
                <a:gdLst>
                  <a:gd name="connsiteX0" fmla="*/ 0 w 101764"/>
                  <a:gd name="connsiteY0" fmla="*/ 0 h 1197"/>
                  <a:gd name="connsiteX1" fmla="*/ 101765 w 101764"/>
                  <a:gd name="connsiteY1" fmla="*/ 0 h 11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01764" h="1197">
                    <a:moveTo>
                      <a:pt x="0" y="0"/>
                    </a:moveTo>
                    <a:lnTo>
                      <a:pt x="101765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53" name="Forma livre: Forma 752">
                <a:extLst>
                  <a:ext uri="{FF2B5EF4-FFF2-40B4-BE49-F238E27FC236}">
                    <a16:creationId xmlns:a16="http://schemas.microsoft.com/office/drawing/2014/main" id="{EFFC8BBF-BD22-81BB-4345-B37A89B5DE1E}"/>
                  </a:ext>
                </a:extLst>
              </p:cNvPr>
              <p:cNvSpPr/>
              <p:nvPr/>
            </p:nvSpPr>
            <p:spPr>
              <a:xfrm>
                <a:off x="8833324" y="1597074"/>
                <a:ext cx="72564" cy="1197"/>
              </a:xfrm>
              <a:custGeom>
                <a:avLst/>
                <a:gdLst>
                  <a:gd name="connsiteX0" fmla="*/ 0 w 72564"/>
                  <a:gd name="connsiteY0" fmla="*/ 0 h 1197"/>
                  <a:gd name="connsiteX1" fmla="*/ 72564 w 72564"/>
                  <a:gd name="connsiteY1" fmla="*/ 0 h 11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72564" h="1197">
                    <a:moveTo>
                      <a:pt x="0" y="0"/>
                    </a:moveTo>
                    <a:lnTo>
                      <a:pt x="72564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754" name="Gráfico 10">
            <a:extLst>
              <a:ext uri="{FF2B5EF4-FFF2-40B4-BE49-F238E27FC236}">
                <a16:creationId xmlns:a16="http://schemas.microsoft.com/office/drawing/2014/main" id="{E4E8B3B6-A3E2-612D-558B-782EE6464A45}"/>
              </a:ext>
            </a:extLst>
          </p:cNvPr>
          <p:cNvGrpSpPr/>
          <p:nvPr/>
        </p:nvGrpSpPr>
        <p:grpSpPr>
          <a:xfrm>
            <a:off x="9279352" y="1522124"/>
            <a:ext cx="291370" cy="310528"/>
            <a:chOff x="9279352" y="1522124"/>
            <a:chExt cx="291370" cy="310528"/>
          </a:xfrm>
          <a:noFill/>
        </p:grpSpPr>
        <p:sp>
          <p:nvSpPr>
            <p:cNvPr id="755" name="Forma livre: Forma 754">
              <a:extLst>
                <a:ext uri="{FF2B5EF4-FFF2-40B4-BE49-F238E27FC236}">
                  <a16:creationId xmlns:a16="http://schemas.microsoft.com/office/drawing/2014/main" id="{32B5C662-96DA-5D46-116E-8445181DD42B}"/>
                </a:ext>
              </a:extLst>
            </p:cNvPr>
            <p:cNvSpPr/>
            <p:nvPr/>
          </p:nvSpPr>
          <p:spPr>
            <a:xfrm>
              <a:off x="9279352" y="1604317"/>
              <a:ext cx="51313" cy="139597"/>
            </a:xfrm>
            <a:custGeom>
              <a:avLst/>
              <a:gdLst>
                <a:gd name="connsiteX0" fmla="*/ 51313 w 51313"/>
                <a:gd name="connsiteY0" fmla="*/ 139597 h 139597"/>
                <a:gd name="connsiteX1" fmla="*/ 43436 w 51313"/>
                <a:gd name="connsiteY1" fmla="*/ 139454 h 139597"/>
                <a:gd name="connsiteX2" fmla="*/ 0 w 51313"/>
                <a:gd name="connsiteY2" fmla="*/ 96605 h 139597"/>
                <a:gd name="connsiteX3" fmla="*/ 0 w 51313"/>
                <a:gd name="connsiteY3" fmla="*/ 0 h 1395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1313" h="139597">
                  <a:moveTo>
                    <a:pt x="51313" y="139597"/>
                  </a:moveTo>
                  <a:lnTo>
                    <a:pt x="43436" y="139454"/>
                  </a:lnTo>
                  <a:cubicBezTo>
                    <a:pt x="19551" y="139454"/>
                    <a:pt x="0" y="120489"/>
                    <a:pt x="0" y="96605"/>
                  </a:cubicBezTo>
                  <a:lnTo>
                    <a:pt x="0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756" name="Gráfico 10">
              <a:extLst>
                <a:ext uri="{FF2B5EF4-FFF2-40B4-BE49-F238E27FC236}">
                  <a16:creationId xmlns:a16="http://schemas.microsoft.com/office/drawing/2014/main" id="{AD4FD6E4-437C-7D3E-27C6-4E99F6F5C368}"/>
                </a:ext>
              </a:extLst>
            </p:cNvPr>
            <p:cNvGrpSpPr/>
            <p:nvPr/>
          </p:nvGrpSpPr>
          <p:grpSpPr>
            <a:xfrm>
              <a:off x="9298813" y="1522124"/>
              <a:ext cx="147947" cy="310528"/>
              <a:chOff x="9298813" y="1522124"/>
              <a:chExt cx="147947" cy="310528"/>
            </a:xfrm>
            <a:noFill/>
          </p:grpSpPr>
          <p:sp>
            <p:nvSpPr>
              <p:cNvPr id="757" name="Forma livre: Forma 756">
                <a:extLst>
                  <a:ext uri="{FF2B5EF4-FFF2-40B4-BE49-F238E27FC236}">
                    <a16:creationId xmlns:a16="http://schemas.microsoft.com/office/drawing/2014/main" id="{2AB835B1-D157-26CA-D922-EC50A003F0F6}"/>
                  </a:ext>
                </a:extLst>
              </p:cNvPr>
              <p:cNvSpPr/>
              <p:nvPr/>
            </p:nvSpPr>
            <p:spPr>
              <a:xfrm>
                <a:off x="9298813" y="1591046"/>
                <a:ext cx="147947" cy="241607"/>
              </a:xfrm>
              <a:custGeom>
                <a:avLst/>
                <a:gdLst>
                  <a:gd name="connsiteX0" fmla="*/ 112785 w 147947"/>
                  <a:gd name="connsiteY0" fmla="*/ 241608 h 241607"/>
                  <a:gd name="connsiteX1" fmla="*/ 91582 w 147947"/>
                  <a:gd name="connsiteY1" fmla="*/ 152725 h 241607"/>
                  <a:gd name="connsiteX2" fmla="*/ 23040 w 147947"/>
                  <a:gd name="connsiteY2" fmla="*/ 152725 h 241607"/>
                  <a:gd name="connsiteX3" fmla="*/ 1275 w 147947"/>
                  <a:gd name="connsiteY3" fmla="*/ 106608 h 241607"/>
                  <a:gd name="connsiteX4" fmla="*/ 16468 w 147947"/>
                  <a:gd name="connsiteY4" fmla="*/ 17989 h 241607"/>
                  <a:gd name="connsiteX5" fmla="*/ 57221 w 147947"/>
                  <a:gd name="connsiteY5" fmla="*/ 1958 h 241607"/>
                  <a:gd name="connsiteX6" fmla="*/ 80460 w 147947"/>
                  <a:gd name="connsiteY6" fmla="*/ 70607 h 241607"/>
                  <a:gd name="connsiteX7" fmla="*/ 147948 w 147947"/>
                  <a:gd name="connsiteY7" fmla="*/ 87644 h 2416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47947" h="241607">
                    <a:moveTo>
                      <a:pt x="112785" y="241608"/>
                    </a:moveTo>
                    <a:lnTo>
                      <a:pt x="91582" y="152725"/>
                    </a:lnTo>
                    <a:lnTo>
                      <a:pt x="23040" y="152725"/>
                    </a:lnTo>
                    <a:cubicBezTo>
                      <a:pt x="-4795" y="148894"/>
                      <a:pt x="-342" y="119909"/>
                      <a:pt x="1275" y="106608"/>
                    </a:cubicBezTo>
                    <a:cubicBezTo>
                      <a:pt x="4543" y="79754"/>
                      <a:pt x="9152" y="29554"/>
                      <a:pt x="16468" y="17989"/>
                    </a:cubicBezTo>
                    <a:cubicBezTo>
                      <a:pt x="29182" y="-2077"/>
                      <a:pt x="52636" y="-1730"/>
                      <a:pt x="57221" y="1958"/>
                    </a:cubicBezTo>
                    <a:cubicBezTo>
                      <a:pt x="67937" y="10590"/>
                      <a:pt x="69385" y="25435"/>
                      <a:pt x="80460" y="70607"/>
                    </a:cubicBezTo>
                    <a:lnTo>
                      <a:pt x="147948" y="87644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58" name="Forma livre: Forma 757">
                <a:extLst>
                  <a:ext uri="{FF2B5EF4-FFF2-40B4-BE49-F238E27FC236}">
                    <a16:creationId xmlns:a16="http://schemas.microsoft.com/office/drawing/2014/main" id="{6FC315C9-A752-A0FD-A4E9-815F656DF8B9}"/>
                  </a:ext>
                </a:extLst>
              </p:cNvPr>
              <p:cNvSpPr/>
              <p:nvPr/>
            </p:nvSpPr>
            <p:spPr>
              <a:xfrm>
                <a:off x="9349841" y="1522124"/>
                <a:ext cx="50340" cy="50347"/>
              </a:xfrm>
              <a:custGeom>
                <a:avLst/>
                <a:gdLst>
                  <a:gd name="connsiteX0" fmla="*/ 44385 w 50340"/>
                  <a:gd name="connsiteY0" fmla="*/ 8910 h 50347"/>
                  <a:gd name="connsiteX1" fmla="*/ 41440 w 50340"/>
                  <a:gd name="connsiteY1" fmla="*/ 44384 h 50347"/>
                  <a:gd name="connsiteX2" fmla="*/ 5954 w 50340"/>
                  <a:gd name="connsiteY2" fmla="*/ 41427 h 50347"/>
                  <a:gd name="connsiteX3" fmla="*/ 8911 w 50340"/>
                  <a:gd name="connsiteY3" fmla="*/ 5953 h 50347"/>
                  <a:gd name="connsiteX4" fmla="*/ 44385 w 50340"/>
                  <a:gd name="connsiteY4" fmla="*/ 8910 h 503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0340" h="50347">
                    <a:moveTo>
                      <a:pt x="44385" y="8910"/>
                    </a:moveTo>
                    <a:cubicBezTo>
                      <a:pt x="53365" y="19530"/>
                      <a:pt x="52036" y="35417"/>
                      <a:pt x="41440" y="44384"/>
                    </a:cubicBezTo>
                    <a:cubicBezTo>
                      <a:pt x="30821" y="53376"/>
                      <a:pt x="14933" y="52047"/>
                      <a:pt x="5954" y="41427"/>
                    </a:cubicBezTo>
                    <a:cubicBezTo>
                      <a:pt x="-3025" y="30808"/>
                      <a:pt x="-1696" y="14932"/>
                      <a:pt x="8911" y="5953"/>
                    </a:cubicBezTo>
                    <a:cubicBezTo>
                      <a:pt x="19519" y="-3014"/>
                      <a:pt x="35418" y="-1709"/>
                      <a:pt x="44385" y="8910"/>
                    </a:cubicBezTo>
                    <a:close/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59" name="Forma livre: Forma 758">
                <a:extLst>
                  <a:ext uri="{FF2B5EF4-FFF2-40B4-BE49-F238E27FC236}">
                    <a16:creationId xmlns:a16="http://schemas.microsoft.com/office/drawing/2014/main" id="{4C753EE5-64DF-6495-6811-04AFEFA27C4A}"/>
                  </a:ext>
                </a:extLst>
              </p:cNvPr>
              <p:cNvSpPr/>
              <p:nvPr/>
            </p:nvSpPr>
            <p:spPr>
              <a:xfrm>
                <a:off x="9345798" y="1666621"/>
                <a:ext cx="92127" cy="162093"/>
              </a:xfrm>
              <a:custGeom>
                <a:avLst/>
                <a:gdLst>
                  <a:gd name="connsiteX0" fmla="*/ 5723 w 92127"/>
                  <a:gd name="connsiteY0" fmla="*/ 0 h 162093"/>
                  <a:gd name="connsiteX1" fmla="*/ 0 w 92127"/>
                  <a:gd name="connsiteY1" fmla="*/ 36719 h 162093"/>
                  <a:gd name="connsiteX2" fmla="*/ 60520 w 92127"/>
                  <a:gd name="connsiteY2" fmla="*/ 47063 h 162093"/>
                  <a:gd name="connsiteX3" fmla="*/ 74779 w 92127"/>
                  <a:gd name="connsiteY3" fmla="*/ 62100 h 162093"/>
                  <a:gd name="connsiteX4" fmla="*/ 92127 w 92127"/>
                  <a:gd name="connsiteY4" fmla="*/ 162093 h 1620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92127" h="162093">
                    <a:moveTo>
                      <a:pt x="5723" y="0"/>
                    </a:moveTo>
                    <a:lnTo>
                      <a:pt x="0" y="36719"/>
                    </a:lnTo>
                    <a:lnTo>
                      <a:pt x="60520" y="47063"/>
                    </a:lnTo>
                    <a:cubicBezTo>
                      <a:pt x="60520" y="47063"/>
                      <a:pt x="71966" y="49637"/>
                      <a:pt x="74779" y="62100"/>
                    </a:cubicBezTo>
                    <a:lnTo>
                      <a:pt x="92127" y="162093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60" name="Forma livre: Forma 759">
                <a:extLst>
                  <a:ext uri="{FF2B5EF4-FFF2-40B4-BE49-F238E27FC236}">
                    <a16:creationId xmlns:a16="http://schemas.microsoft.com/office/drawing/2014/main" id="{B5C9C9DA-6DA7-4462-EDFA-9BB7A4F55A35}"/>
                  </a:ext>
                </a:extLst>
              </p:cNvPr>
              <p:cNvSpPr/>
              <p:nvPr/>
            </p:nvSpPr>
            <p:spPr>
              <a:xfrm>
                <a:off x="9343236" y="1639684"/>
                <a:ext cx="14965" cy="47027"/>
              </a:xfrm>
              <a:custGeom>
                <a:avLst/>
                <a:gdLst>
                  <a:gd name="connsiteX0" fmla="*/ 0 w 14965"/>
                  <a:gd name="connsiteY0" fmla="*/ 0 h 47027"/>
                  <a:gd name="connsiteX1" fmla="*/ 14965 w 14965"/>
                  <a:gd name="connsiteY1" fmla="*/ 47027 h 470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4965" h="47027">
                    <a:moveTo>
                      <a:pt x="0" y="0"/>
                    </a:moveTo>
                    <a:lnTo>
                      <a:pt x="14965" y="47027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761" name="Forma livre: Forma 760">
              <a:extLst>
                <a:ext uri="{FF2B5EF4-FFF2-40B4-BE49-F238E27FC236}">
                  <a16:creationId xmlns:a16="http://schemas.microsoft.com/office/drawing/2014/main" id="{ACC6767E-BC03-C0ED-EA64-70E9C8590779}"/>
                </a:ext>
              </a:extLst>
            </p:cNvPr>
            <p:cNvSpPr/>
            <p:nvPr/>
          </p:nvSpPr>
          <p:spPr>
            <a:xfrm>
              <a:off x="9346205" y="1689560"/>
              <a:ext cx="224516" cy="1197"/>
            </a:xfrm>
            <a:custGeom>
              <a:avLst/>
              <a:gdLst>
                <a:gd name="connsiteX0" fmla="*/ 0 w 224516"/>
                <a:gd name="connsiteY0" fmla="*/ 0 h 1197"/>
                <a:gd name="connsiteX1" fmla="*/ 224517 w 224516"/>
                <a:gd name="connsiteY1" fmla="*/ 0 h 11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24516" h="1197">
                  <a:moveTo>
                    <a:pt x="0" y="0"/>
                  </a:moveTo>
                  <a:lnTo>
                    <a:pt x="224517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762" name="Forma livre: Forma 761">
              <a:extLst>
                <a:ext uri="{FF2B5EF4-FFF2-40B4-BE49-F238E27FC236}">
                  <a16:creationId xmlns:a16="http://schemas.microsoft.com/office/drawing/2014/main" id="{91F7C524-A814-2A64-D9F6-827D52636AF1}"/>
                </a:ext>
              </a:extLst>
            </p:cNvPr>
            <p:cNvSpPr/>
            <p:nvPr/>
          </p:nvSpPr>
          <p:spPr>
            <a:xfrm>
              <a:off x="9541893" y="1710739"/>
              <a:ext cx="1197" cy="120237"/>
            </a:xfrm>
            <a:custGeom>
              <a:avLst/>
              <a:gdLst>
                <a:gd name="connsiteX0" fmla="*/ 0 w 1197"/>
                <a:gd name="connsiteY0" fmla="*/ 0 h 120237"/>
                <a:gd name="connsiteX1" fmla="*/ 0 w 1197"/>
                <a:gd name="connsiteY1" fmla="*/ 120238 h 1202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97" h="120237">
                  <a:moveTo>
                    <a:pt x="0" y="0"/>
                  </a:moveTo>
                  <a:lnTo>
                    <a:pt x="0" y="120238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763" name="Forma livre: Forma 762">
              <a:extLst>
                <a:ext uri="{FF2B5EF4-FFF2-40B4-BE49-F238E27FC236}">
                  <a16:creationId xmlns:a16="http://schemas.microsoft.com/office/drawing/2014/main" id="{ACC3EB89-AAF4-5211-22CD-AD7EDA4F260D}"/>
                </a:ext>
              </a:extLst>
            </p:cNvPr>
            <p:cNvSpPr/>
            <p:nvPr/>
          </p:nvSpPr>
          <p:spPr>
            <a:xfrm>
              <a:off x="9414879" y="1607275"/>
              <a:ext cx="128606" cy="79711"/>
            </a:xfrm>
            <a:custGeom>
              <a:avLst/>
              <a:gdLst>
                <a:gd name="connsiteX0" fmla="*/ 0 w 128606"/>
                <a:gd name="connsiteY0" fmla="*/ 40514 h 79711"/>
                <a:gd name="connsiteX1" fmla="*/ 14810 w 128606"/>
                <a:gd name="connsiteY1" fmla="*/ 0 h 79711"/>
                <a:gd name="connsiteX2" fmla="*/ 128606 w 128606"/>
                <a:gd name="connsiteY2" fmla="*/ 0 h 79711"/>
                <a:gd name="connsiteX3" fmla="*/ 100567 w 128606"/>
                <a:gd name="connsiteY3" fmla="*/ 79712 h 797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8606" h="79711">
                  <a:moveTo>
                    <a:pt x="0" y="40514"/>
                  </a:moveTo>
                  <a:lnTo>
                    <a:pt x="14810" y="0"/>
                  </a:lnTo>
                  <a:lnTo>
                    <a:pt x="128606" y="0"/>
                  </a:lnTo>
                  <a:lnTo>
                    <a:pt x="100567" y="79712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764" name="Forma livre: Forma 763">
              <a:extLst>
                <a:ext uri="{FF2B5EF4-FFF2-40B4-BE49-F238E27FC236}">
                  <a16:creationId xmlns:a16="http://schemas.microsoft.com/office/drawing/2014/main" id="{7A24A90B-E8FC-D115-11EA-9803458B8315}"/>
                </a:ext>
              </a:extLst>
            </p:cNvPr>
            <p:cNvSpPr/>
            <p:nvPr/>
          </p:nvSpPr>
          <p:spPr>
            <a:xfrm>
              <a:off x="9330965" y="1746357"/>
              <a:ext cx="1197" cy="84620"/>
            </a:xfrm>
            <a:custGeom>
              <a:avLst/>
              <a:gdLst>
                <a:gd name="connsiteX0" fmla="*/ 0 w 1197"/>
                <a:gd name="connsiteY0" fmla="*/ 0 h 84620"/>
                <a:gd name="connsiteX1" fmla="*/ 0 w 1197"/>
                <a:gd name="connsiteY1" fmla="*/ 84620 h 846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97" h="84620">
                  <a:moveTo>
                    <a:pt x="0" y="0"/>
                  </a:moveTo>
                  <a:lnTo>
                    <a:pt x="0" y="8462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765" name="Gráfico 10">
            <a:extLst>
              <a:ext uri="{FF2B5EF4-FFF2-40B4-BE49-F238E27FC236}">
                <a16:creationId xmlns:a16="http://schemas.microsoft.com/office/drawing/2014/main" id="{EEAB3824-59A8-62A8-6796-237FA76821C7}"/>
              </a:ext>
            </a:extLst>
          </p:cNvPr>
          <p:cNvGrpSpPr/>
          <p:nvPr/>
        </p:nvGrpSpPr>
        <p:grpSpPr>
          <a:xfrm>
            <a:off x="8048687" y="1516979"/>
            <a:ext cx="265082" cy="320822"/>
            <a:chOff x="8048687" y="1516979"/>
            <a:chExt cx="265082" cy="320822"/>
          </a:xfrm>
          <a:noFill/>
        </p:grpSpPr>
        <p:sp>
          <p:nvSpPr>
            <p:cNvPr id="766" name="Forma livre: Forma 765">
              <a:extLst>
                <a:ext uri="{FF2B5EF4-FFF2-40B4-BE49-F238E27FC236}">
                  <a16:creationId xmlns:a16="http://schemas.microsoft.com/office/drawing/2014/main" id="{948A8FEB-E08C-C4B1-5527-BDAF94132AC7}"/>
                </a:ext>
              </a:extLst>
            </p:cNvPr>
            <p:cNvSpPr/>
            <p:nvPr/>
          </p:nvSpPr>
          <p:spPr>
            <a:xfrm>
              <a:off x="8152231" y="1660396"/>
              <a:ext cx="22160" cy="1197"/>
            </a:xfrm>
            <a:custGeom>
              <a:avLst/>
              <a:gdLst>
                <a:gd name="connsiteX0" fmla="*/ 0 w 22160"/>
                <a:gd name="connsiteY0" fmla="*/ 0 h 1197"/>
                <a:gd name="connsiteX1" fmla="*/ 22161 w 22160"/>
                <a:gd name="connsiteY1" fmla="*/ 0 h 11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2160" h="1197">
                  <a:moveTo>
                    <a:pt x="0" y="0"/>
                  </a:moveTo>
                  <a:lnTo>
                    <a:pt x="22161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767" name="Gráfico 10">
              <a:extLst>
                <a:ext uri="{FF2B5EF4-FFF2-40B4-BE49-F238E27FC236}">
                  <a16:creationId xmlns:a16="http://schemas.microsoft.com/office/drawing/2014/main" id="{BB161080-C8A1-7A66-18A9-046963FF0AF8}"/>
                </a:ext>
              </a:extLst>
            </p:cNvPr>
            <p:cNvGrpSpPr/>
            <p:nvPr/>
          </p:nvGrpSpPr>
          <p:grpSpPr>
            <a:xfrm>
              <a:off x="8048687" y="1516979"/>
              <a:ext cx="110664" cy="320822"/>
              <a:chOff x="8048687" y="1516979"/>
              <a:chExt cx="110664" cy="320822"/>
            </a:xfrm>
            <a:noFill/>
          </p:grpSpPr>
          <p:grpSp>
            <p:nvGrpSpPr>
              <p:cNvPr id="768" name="Gráfico 10">
                <a:extLst>
                  <a:ext uri="{FF2B5EF4-FFF2-40B4-BE49-F238E27FC236}">
                    <a16:creationId xmlns:a16="http://schemas.microsoft.com/office/drawing/2014/main" id="{7D32E0C8-6DDD-D8BF-96D6-E7C040553AB3}"/>
                  </a:ext>
                </a:extLst>
              </p:cNvPr>
              <p:cNvGrpSpPr/>
              <p:nvPr/>
            </p:nvGrpSpPr>
            <p:grpSpPr>
              <a:xfrm>
                <a:off x="8048687" y="1516979"/>
                <a:ext cx="103759" cy="320810"/>
                <a:chOff x="8048687" y="1516979"/>
                <a:chExt cx="103759" cy="320810"/>
              </a:xfrm>
              <a:noFill/>
            </p:grpSpPr>
            <p:sp>
              <p:nvSpPr>
                <p:cNvPr id="769" name="Forma livre: Forma 768">
                  <a:extLst>
                    <a:ext uri="{FF2B5EF4-FFF2-40B4-BE49-F238E27FC236}">
                      <a16:creationId xmlns:a16="http://schemas.microsoft.com/office/drawing/2014/main" id="{32AB7D07-82FB-2F39-7E51-A5D886961B88}"/>
                    </a:ext>
                  </a:extLst>
                </p:cNvPr>
                <p:cNvSpPr/>
                <p:nvPr/>
              </p:nvSpPr>
              <p:spPr>
                <a:xfrm>
                  <a:off x="8089915" y="1660396"/>
                  <a:ext cx="49278" cy="1197"/>
                </a:xfrm>
                <a:custGeom>
                  <a:avLst/>
                  <a:gdLst>
                    <a:gd name="connsiteX0" fmla="*/ 0 w 49278"/>
                    <a:gd name="connsiteY0" fmla="*/ 0 h 1197"/>
                    <a:gd name="connsiteX1" fmla="*/ 49278 w 49278"/>
                    <a:gd name="connsiteY1" fmla="*/ 0 h 119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9278" h="1197">
                      <a:moveTo>
                        <a:pt x="0" y="0"/>
                      </a:moveTo>
                      <a:lnTo>
                        <a:pt x="49278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770" name="Forma livre: Forma 769">
                  <a:extLst>
                    <a:ext uri="{FF2B5EF4-FFF2-40B4-BE49-F238E27FC236}">
                      <a16:creationId xmlns:a16="http://schemas.microsoft.com/office/drawing/2014/main" id="{79F41ED3-52D2-C2C5-521E-6B0AA5E7DD3B}"/>
                    </a:ext>
                  </a:extLst>
                </p:cNvPr>
                <p:cNvSpPr/>
                <p:nvPr/>
              </p:nvSpPr>
              <p:spPr>
                <a:xfrm>
                  <a:off x="8088275" y="1632656"/>
                  <a:ext cx="27572" cy="55419"/>
                </a:xfrm>
                <a:custGeom>
                  <a:avLst/>
                  <a:gdLst>
                    <a:gd name="connsiteX0" fmla="*/ 27572 w 27572"/>
                    <a:gd name="connsiteY0" fmla="*/ 55420 h 55419"/>
                    <a:gd name="connsiteX1" fmla="*/ 0 w 27572"/>
                    <a:gd name="connsiteY1" fmla="*/ 27704 h 55419"/>
                    <a:gd name="connsiteX2" fmla="*/ 27572 w 27572"/>
                    <a:gd name="connsiteY2" fmla="*/ 0 h 5541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27572" h="55419">
                      <a:moveTo>
                        <a:pt x="27572" y="55420"/>
                      </a:moveTo>
                      <a:lnTo>
                        <a:pt x="0" y="27704"/>
                      </a:lnTo>
                      <a:lnTo>
                        <a:pt x="27572" y="0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771" name="Forma livre: Forma 770">
                  <a:extLst>
                    <a:ext uri="{FF2B5EF4-FFF2-40B4-BE49-F238E27FC236}">
                      <a16:creationId xmlns:a16="http://schemas.microsoft.com/office/drawing/2014/main" id="{8E039F69-FA7F-709F-386F-74CA26CBE309}"/>
                    </a:ext>
                  </a:extLst>
                </p:cNvPr>
                <p:cNvSpPr/>
                <p:nvPr/>
              </p:nvSpPr>
              <p:spPr>
                <a:xfrm>
                  <a:off x="8075799" y="1516979"/>
                  <a:ext cx="56449" cy="56461"/>
                </a:xfrm>
                <a:custGeom>
                  <a:avLst/>
                  <a:gdLst>
                    <a:gd name="connsiteX0" fmla="*/ 56449 w 56449"/>
                    <a:gd name="connsiteY0" fmla="*/ 28231 h 56461"/>
                    <a:gd name="connsiteX1" fmla="*/ 28231 w 56449"/>
                    <a:gd name="connsiteY1" fmla="*/ 56461 h 56461"/>
                    <a:gd name="connsiteX2" fmla="*/ 0 w 56449"/>
                    <a:gd name="connsiteY2" fmla="*/ 28231 h 56461"/>
                    <a:gd name="connsiteX3" fmla="*/ 28231 w 56449"/>
                    <a:gd name="connsiteY3" fmla="*/ 0 h 56461"/>
                    <a:gd name="connsiteX4" fmla="*/ 56449 w 56449"/>
                    <a:gd name="connsiteY4" fmla="*/ 28231 h 5646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6449" h="56461">
                      <a:moveTo>
                        <a:pt x="56449" y="28231"/>
                      </a:moveTo>
                      <a:cubicBezTo>
                        <a:pt x="56449" y="43831"/>
                        <a:pt x="43807" y="56461"/>
                        <a:pt x="28231" y="56461"/>
                      </a:cubicBezTo>
                      <a:cubicBezTo>
                        <a:pt x="12655" y="56461"/>
                        <a:pt x="0" y="43831"/>
                        <a:pt x="0" y="28231"/>
                      </a:cubicBezTo>
                      <a:cubicBezTo>
                        <a:pt x="0" y="12631"/>
                        <a:pt x="12631" y="0"/>
                        <a:pt x="28231" y="0"/>
                      </a:cubicBezTo>
                      <a:cubicBezTo>
                        <a:pt x="43831" y="0"/>
                        <a:pt x="56449" y="12643"/>
                        <a:pt x="56449" y="28231"/>
                      </a:cubicBezTo>
                      <a:close/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772" name="Forma livre: Forma 771">
                  <a:extLst>
                    <a:ext uri="{FF2B5EF4-FFF2-40B4-BE49-F238E27FC236}">
                      <a16:creationId xmlns:a16="http://schemas.microsoft.com/office/drawing/2014/main" id="{25ACC2D0-FBE5-7A66-2083-DB0F25215F93}"/>
                    </a:ext>
                  </a:extLst>
                </p:cNvPr>
                <p:cNvSpPr/>
                <p:nvPr/>
              </p:nvSpPr>
              <p:spPr>
                <a:xfrm>
                  <a:off x="8048687" y="1600175"/>
                  <a:ext cx="103759" cy="237614"/>
                </a:xfrm>
                <a:custGeom>
                  <a:avLst/>
                  <a:gdLst>
                    <a:gd name="connsiteX0" fmla="*/ 103759 w 103759"/>
                    <a:gd name="connsiteY0" fmla="*/ 36025 h 237614"/>
                    <a:gd name="connsiteX1" fmla="*/ 102131 w 103759"/>
                    <a:gd name="connsiteY1" fmla="*/ 19814 h 237614"/>
                    <a:gd name="connsiteX2" fmla="*/ 80222 w 103759"/>
                    <a:gd name="connsiteY2" fmla="*/ 0 h 237614"/>
                    <a:gd name="connsiteX3" fmla="*/ 30453 w 103759"/>
                    <a:gd name="connsiteY3" fmla="*/ 0 h 237614"/>
                    <a:gd name="connsiteX4" fmla="*/ 8544 w 103759"/>
                    <a:gd name="connsiteY4" fmla="*/ 19814 h 237614"/>
                    <a:gd name="connsiteX5" fmla="*/ 67 w 103759"/>
                    <a:gd name="connsiteY5" fmla="*/ 103860 h 237614"/>
                    <a:gd name="connsiteX6" fmla="*/ 21725 w 103759"/>
                    <a:gd name="connsiteY6" fmla="*/ 127158 h 237614"/>
                    <a:gd name="connsiteX7" fmla="*/ 24395 w 103759"/>
                    <a:gd name="connsiteY7" fmla="*/ 237615 h 23761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03759" h="237614">
                      <a:moveTo>
                        <a:pt x="103759" y="36025"/>
                      </a:moveTo>
                      <a:lnTo>
                        <a:pt x="102131" y="19814"/>
                      </a:lnTo>
                      <a:cubicBezTo>
                        <a:pt x="101030" y="8919"/>
                        <a:pt x="91176" y="0"/>
                        <a:pt x="80222" y="0"/>
                      </a:cubicBezTo>
                      <a:lnTo>
                        <a:pt x="30453" y="0"/>
                      </a:lnTo>
                      <a:cubicBezTo>
                        <a:pt x="19498" y="0"/>
                        <a:pt x="9633" y="8919"/>
                        <a:pt x="8544" y="19814"/>
                      </a:cubicBezTo>
                      <a:lnTo>
                        <a:pt x="67" y="103860"/>
                      </a:lnTo>
                      <a:cubicBezTo>
                        <a:pt x="-1022" y="114767"/>
                        <a:pt x="11357" y="123423"/>
                        <a:pt x="21725" y="127158"/>
                      </a:cubicBezTo>
                      <a:lnTo>
                        <a:pt x="24395" y="237615"/>
                      </a:ln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773" name="Forma livre: Forma 772">
                <a:extLst>
                  <a:ext uri="{FF2B5EF4-FFF2-40B4-BE49-F238E27FC236}">
                    <a16:creationId xmlns:a16="http://schemas.microsoft.com/office/drawing/2014/main" id="{AC2C48BB-C33D-A659-8553-CC0AB33F938B}"/>
                  </a:ext>
                </a:extLst>
              </p:cNvPr>
              <p:cNvSpPr/>
              <p:nvPr/>
            </p:nvSpPr>
            <p:spPr>
              <a:xfrm>
                <a:off x="8134943" y="1684173"/>
                <a:ext cx="24408" cy="153628"/>
              </a:xfrm>
              <a:custGeom>
                <a:avLst/>
                <a:gdLst>
                  <a:gd name="connsiteX0" fmla="*/ 0 w 24408"/>
                  <a:gd name="connsiteY0" fmla="*/ 153629 h 153628"/>
                  <a:gd name="connsiteX1" fmla="*/ 2694 w 24408"/>
                  <a:gd name="connsiteY1" fmla="*/ 43172 h 153628"/>
                  <a:gd name="connsiteX2" fmla="*/ 24340 w 24408"/>
                  <a:gd name="connsiteY2" fmla="*/ 19874 h 153628"/>
                  <a:gd name="connsiteX3" fmla="*/ 22340 w 24408"/>
                  <a:gd name="connsiteY3" fmla="*/ 0 h 1536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4408" h="153628">
                    <a:moveTo>
                      <a:pt x="0" y="153629"/>
                    </a:moveTo>
                    <a:lnTo>
                      <a:pt x="2694" y="43172"/>
                    </a:lnTo>
                    <a:cubicBezTo>
                      <a:pt x="13062" y="39437"/>
                      <a:pt x="25441" y="30769"/>
                      <a:pt x="24340" y="19874"/>
                    </a:cubicBezTo>
                    <a:lnTo>
                      <a:pt x="22340" y="0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774" name="Forma livre: Forma 773">
              <a:extLst>
                <a:ext uri="{FF2B5EF4-FFF2-40B4-BE49-F238E27FC236}">
                  <a16:creationId xmlns:a16="http://schemas.microsoft.com/office/drawing/2014/main" id="{5E44CBD0-994B-9FC6-9E34-A51F3A5B4D0F}"/>
                </a:ext>
              </a:extLst>
            </p:cNvPr>
            <p:cNvSpPr/>
            <p:nvPr/>
          </p:nvSpPr>
          <p:spPr>
            <a:xfrm>
              <a:off x="8187932" y="1660396"/>
              <a:ext cx="22148" cy="1197"/>
            </a:xfrm>
            <a:custGeom>
              <a:avLst/>
              <a:gdLst>
                <a:gd name="connsiteX0" fmla="*/ 22149 w 22148"/>
                <a:gd name="connsiteY0" fmla="*/ 0 h 1197"/>
                <a:gd name="connsiteX1" fmla="*/ 0 w 22148"/>
                <a:gd name="connsiteY1" fmla="*/ 0 h 11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2148" h="1197">
                  <a:moveTo>
                    <a:pt x="22149" y="0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775" name="Gráfico 10">
              <a:extLst>
                <a:ext uri="{FF2B5EF4-FFF2-40B4-BE49-F238E27FC236}">
                  <a16:creationId xmlns:a16="http://schemas.microsoft.com/office/drawing/2014/main" id="{BC59DFA0-7DFF-3F50-27B6-3A7DF88580D3}"/>
                </a:ext>
              </a:extLst>
            </p:cNvPr>
            <p:cNvGrpSpPr/>
            <p:nvPr/>
          </p:nvGrpSpPr>
          <p:grpSpPr>
            <a:xfrm>
              <a:off x="8203094" y="1516979"/>
              <a:ext cx="110676" cy="320822"/>
              <a:chOff x="8203094" y="1516979"/>
              <a:chExt cx="110676" cy="320822"/>
            </a:xfrm>
            <a:noFill/>
          </p:grpSpPr>
          <p:grpSp>
            <p:nvGrpSpPr>
              <p:cNvPr id="776" name="Gráfico 10">
                <a:extLst>
                  <a:ext uri="{FF2B5EF4-FFF2-40B4-BE49-F238E27FC236}">
                    <a16:creationId xmlns:a16="http://schemas.microsoft.com/office/drawing/2014/main" id="{193EEFBC-B5AC-97E0-7D33-AC7C2115FF88}"/>
                  </a:ext>
                </a:extLst>
              </p:cNvPr>
              <p:cNvGrpSpPr/>
              <p:nvPr/>
            </p:nvGrpSpPr>
            <p:grpSpPr>
              <a:xfrm>
                <a:off x="8209997" y="1516979"/>
                <a:ext cx="103772" cy="320810"/>
                <a:chOff x="8209997" y="1516979"/>
                <a:chExt cx="103772" cy="320810"/>
              </a:xfrm>
              <a:noFill/>
            </p:grpSpPr>
            <p:sp>
              <p:nvSpPr>
                <p:cNvPr id="777" name="Forma livre: Forma 776">
                  <a:extLst>
                    <a:ext uri="{FF2B5EF4-FFF2-40B4-BE49-F238E27FC236}">
                      <a16:creationId xmlns:a16="http://schemas.microsoft.com/office/drawing/2014/main" id="{DF1AA8D4-5B9C-47C8-6EE2-B32BD0A3F1C3}"/>
                    </a:ext>
                  </a:extLst>
                </p:cNvPr>
                <p:cNvSpPr/>
                <p:nvPr/>
              </p:nvSpPr>
              <p:spPr>
                <a:xfrm>
                  <a:off x="8223131" y="1660396"/>
                  <a:ext cx="49409" cy="1197"/>
                </a:xfrm>
                <a:custGeom>
                  <a:avLst/>
                  <a:gdLst>
                    <a:gd name="connsiteX0" fmla="*/ 49410 w 49409"/>
                    <a:gd name="connsiteY0" fmla="*/ 0 h 1197"/>
                    <a:gd name="connsiteX1" fmla="*/ 0 w 49409"/>
                    <a:gd name="connsiteY1" fmla="*/ 0 h 119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9409" h="1197">
                      <a:moveTo>
                        <a:pt x="49410" y="0"/>
                      </a:moveTo>
                      <a:lnTo>
                        <a:pt x="0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778" name="Forma livre: Forma 777">
                  <a:extLst>
                    <a:ext uri="{FF2B5EF4-FFF2-40B4-BE49-F238E27FC236}">
                      <a16:creationId xmlns:a16="http://schemas.microsoft.com/office/drawing/2014/main" id="{96F4B697-AC19-CC0C-5F6C-FCEDAF797F83}"/>
                    </a:ext>
                  </a:extLst>
                </p:cNvPr>
                <p:cNvSpPr/>
                <p:nvPr/>
              </p:nvSpPr>
              <p:spPr>
                <a:xfrm>
                  <a:off x="8246608" y="1632656"/>
                  <a:ext cx="27572" cy="55419"/>
                </a:xfrm>
                <a:custGeom>
                  <a:avLst/>
                  <a:gdLst>
                    <a:gd name="connsiteX0" fmla="*/ 0 w 27572"/>
                    <a:gd name="connsiteY0" fmla="*/ 55420 h 55419"/>
                    <a:gd name="connsiteX1" fmla="*/ 27572 w 27572"/>
                    <a:gd name="connsiteY1" fmla="*/ 27704 h 55419"/>
                    <a:gd name="connsiteX2" fmla="*/ 0 w 27572"/>
                    <a:gd name="connsiteY2" fmla="*/ 0 h 5541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27572" h="55419">
                      <a:moveTo>
                        <a:pt x="0" y="55420"/>
                      </a:moveTo>
                      <a:lnTo>
                        <a:pt x="27572" y="27704"/>
                      </a:lnTo>
                      <a:lnTo>
                        <a:pt x="0" y="0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779" name="Forma livre: Forma 778">
                  <a:extLst>
                    <a:ext uri="{FF2B5EF4-FFF2-40B4-BE49-F238E27FC236}">
                      <a16:creationId xmlns:a16="http://schemas.microsoft.com/office/drawing/2014/main" id="{10582512-31F9-5C9C-4D39-D7ADB4D70A7F}"/>
                    </a:ext>
                  </a:extLst>
                </p:cNvPr>
                <p:cNvSpPr/>
                <p:nvPr/>
              </p:nvSpPr>
              <p:spPr>
                <a:xfrm>
                  <a:off x="8230218" y="1516979"/>
                  <a:ext cx="56449" cy="56461"/>
                </a:xfrm>
                <a:custGeom>
                  <a:avLst/>
                  <a:gdLst>
                    <a:gd name="connsiteX0" fmla="*/ 0 w 56449"/>
                    <a:gd name="connsiteY0" fmla="*/ 28231 h 56461"/>
                    <a:gd name="connsiteX1" fmla="*/ 28219 w 56449"/>
                    <a:gd name="connsiteY1" fmla="*/ 56461 h 56461"/>
                    <a:gd name="connsiteX2" fmla="*/ 56449 w 56449"/>
                    <a:gd name="connsiteY2" fmla="*/ 28231 h 56461"/>
                    <a:gd name="connsiteX3" fmla="*/ 28219 w 56449"/>
                    <a:gd name="connsiteY3" fmla="*/ 0 h 56461"/>
                    <a:gd name="connsiteX4" fmla="*/ 0 w 56449"/>
                    <a:gd name="connsiteY4" fmla="*/ 28231 h 5646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6449" h="56461">
                      <a:moveTo>
                        <a:pt x="0" y="28231"/>
                      </a:moveTo>
                      <a:cubicBezTo>
                        <a:pt x="0" y="43831"/>
                        <a:pt x="12643" y="56461"/>
                        <a:pt x="28219" y="56461"/>
                      </a:cubicBezTo>
                      <a:cubicBezTo>
                        <a:pt x="43795" y="56461"/>
                        <a:pt x="56449" y="43831"/>
                        <a:pt x="56449" y="28231"/>
                      </a:cubicBezTo>
                      <a:cubicBezTo>
                        <a:pt x="56449" y="12631"/>
                        <a:pt x="43819" y="0"/>
                        <a:pt x="28219" y="0"/>
                      </a:cubicBezTo>
                      <a:cubicBezTo>
                        <a:pt x="12619" y="0"/>
                        <a:pt x="0" y="12643"/>
                        <a:pt x="0" y="28231"/>
                      </a:cubicBezTo>
                      <a:close/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780" name="Forma livre: Forma 779">
                  <a:extLst>
                    <a:ext uri="{FF2B5EF4-FFF2-40B4-BE49-F238E27FC236}">
                      <a16:creationId xmlns:a16="http://schemas.microsoft.com/office/drawing/2014/main" id="{0090BF01-944C-A047-2599-9AAE8F09E324}"/>
                    </a:ext>
                  </a:extLst>
                </p:cNvPr>
                <p:cNvSpPr/>
                <p:nvPr/>
              </p:nvSpPr>
              <p:spPr>
                <a:xfrm>
                  <a:off x="8209997" y="1600175"/>
                  <a:ext cx="103772" cy="237614"/>
                </a:xfrm>
                <a:custGeom>
                  <a:avLst/>
                  <a:gdLst>
                    <a:gd name="connsiteX0" fmla="*/ 0 w 103772"/>
                    <a:gd name="connsiteY0" fmla="*/ 36025 h 237614"/>
                    <a:gd name="connsiteX1" fmla="*/ 1640 w 103772"/>
                    <a:gd name="connsiteY1" fmla="*/ 19814 h 237614"/>
                    <a:gd name="connsiteX2" fmla="*/ 23550 w 103772"/>
                    <a:gd name="connsiteY2" fmla="*/ 0 h 237614"/>
                    <a:gd name="connsiteX3" fmla="*/ 73318 w 103772"/>
                    <a:gd name="connsiteY3" fmla="*/ 0 h 237614"/>
                    <a:gd name="connsiteX4" fmla="*/ 95228 w 103772"/>
                    <a:gd name="connsiteY4" fmla="*/ 19814 h 237614"/>
                    <a:gd name="connsiteX5" fmla="*/ 103704 w 103772"/>
                    <a:gd name="connsiteY5" fmla="*/ 103860 h 237614"/>
                    <a:gd name="connsiteX6" fmla="*/ 82046 w 103772"/>
                    <a:gd name="connsiteY6" fmla="*/ 127158 h 237614"/>
                    <a:gd name="connsiteX7" fmla="*/ 79364 w 103772"/>
                    <a:gd name="connsiteY7" fmla="*/ 237615 h 23761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03772" h="237614">
                      <a:moveTo>
                        <a:pt x="0" y="36025"/>
                      </a:moveTo>
                      <a:lnTo>
                        <a:pt x="1640" y="19814"/>
                      </a:lnTo>
                      <a:cubicBezTo>
                        <a:pt x="2742" y="8919"/>
                        <a:pt x="12607" y="0"/>
                        <a:pt x="23550" y="0"/>
                      </a:cubicBezTo>
                      <a:lnTo>
                        <a:pt x="73318" y="0"/>
                      </a:lnTo>
                      <a:cubicBezTo>
                        <a:pt x="84273" y="0"/>
                        <a:pt x="94126" y="8919"/>
                        <a:pt x="95228" y="19814"/>
                      </a:cubicBezTo>
                      <a:lnTo>
                        <a:pt x="103704" y="103860"/>
                      </a:lnTo>
                      <a:cubicBezTo>
                        <a:pt x="104806" y="114767"/>
                        <a:pt x="92414" y="123423"/>
                        <a:pt x="82046" y="127158"/>
                      </a:cubicBezTo>
                      <a:lnTo>
                        <a:pt x="79364" y="237615"/>
                      </a:ln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781" name="Forma livre: Forma 780">
                <a:extLst>
                  <a:ext uri="{FF2B5EF4-FFF2-40B4-BE49-F238E27FC236}">
                    <a16:creationId xmlns:a16="http://schemas.microsoft.com/office/drawing/2014/main" id="{B6BC32FA-9E2D-5624-A4AA-77986CF3B07B}"/>
                  </a:ext>
                </a:extLst>
              </p:cNvPr>
              <p:cNvSpPr/>
              <p:nvPr/>
            </p:nvSpPr>
            <p:spPr>
              <a:xfrm>
                <a:off x="8203094" y="1684173"/>
                <a:ext cx="24418" cy="153628"/>
              </a:xfrm>
              <a:custGeom>
                <a:avLst/>
                <a:gdLst>
                  <a:gd name="connsiteX0" fmla="*/ 24419 w 24418"/>
                  <a:gd name="connsiteY0" fmla="*/ 153629 h 153628"/>
                  <a:gd name="connsiteX1" fmla="*/ 21725 w 24418"/>
                  <a:gd name="connsiteY1" fmla="*/ 43172 h 153628"/>
                  <a:gd name="connsiteX2" fmla="*/ 67 w 24418"/>
                  <a:gd name="connsiteY2" fmla="*/ 19874 h 153628"/>
                  <a:gd name="connsiteX3" fmla="*/ 2067 w 24418"/>
                  <a:gd name="connsiteY3" fmla="*/ 0 h 1536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4418" h="153628">
                    <a:moveTo>
                      <a:pt x="24419" y="153629"/>
                    </a:moveTo>
                    <a:lnTo>
                      <a:pt x="21725" y="43172"/>
                    </a:lnTo>
                    <a:cubicBezTo>
                      <a:pt x="11357" y="39437"/>
                      <a:pt x="-1022" y="30769"/>
                      <a:pt x="67" y="19874"/>
                    </a:cubicBezTo>
                    <a:lnTo>
                      <a:pt x="2067" y="0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782" name="Gráfico 10">
            <a:extLst>
              <a:ext uri="{FF2B5EF4-FFF2-40B4-BE49-F238E27FC236}">
                <a16:creationId xmlns:a16="http://schemas.microsoft.com/office/drawing/2014/main" id="{3C94D0A9-80A1-69C7-A742-FB940B866012}"/>
              </a:ext>
            </a:extLst>
          </p:cNvPr>
          <p:cNvGrpSpPr/>
          <p:nvPr/>
        </p:nvGrpSpPr>
        <p:grpSpPr>
          <a:xfrm>
            <a:off x="8680419" y="993490"/>
            <a:ext cx="245438" cy="313076"/>
            <a:chOff x="8680419" y="993490"/>
            <a:chExt cx="245438" cy="313076"/>
          </a:xfrm>
          <a:noFill/>
        </p:grpSpPr>
        <p:sp>
          <p:nvSpPr>
            <p:cNvPr id="783" name="Forma livre: Forma 782">
              <a:extLst>
                <a:ext uri="{FF2B5EF4-FFF2-40B4-BE49-F238E27FC236}">
                  <a16:creationId xmlns:a16="http://schemas.microsoft.com/office/drawing/2014/main" id="{F3D6865B-6BF8-8BD4-6713-58948F327CF1}"/>
                </a:ext>
              </a:extLst>
            </p:cNvPr>
            <p:cNvSpPr/>
            <p:nvPr/>
          </p:nvSpPr>
          <p:spPr>
            <a:xfrm>
              <a:off x="8748643" y="1129340"/>
              <a:ext cx="177214" cy="177202"/>
            </a:xfrm>
            <a:custGeom>
              <a:avLst/>
              <a:gdLst>
                <a:gd name="connsiteX0" fmla="*/ 121663 w 177214"/>
                <a:gd name="connsiteY0" fmla="*/ 31787 h 177202"/>
                <a:gd name="connsiteX1" fmla="*/ 89888 w 177214"/>
                <a:gd name="connsiteY1" fmla="*/ 0 h 177202"/>
                <a:gd name="connsiteX2" fmla="*/ 58557 w 177214"/>
                <a:gd name="connsiteY2" fmla="*/ 31320 h 177202"/>
                <a:gd name="connsiteX3" fmla="*/ 76012 w 177214"/>
                <a:gd name="connsiteY3" fmla="*/ 38754 h 177202"/>
                <a:gd name="connsiteX4" fmla="*/ 76012 w 177214"/>
                <a:gd name="connsiteY4" fmla="*/ 74923 h 177202"/>
                <a:gd name="connsiteX5" fmla="*/ 39844 w 177214"/>
                <a:gd name="connsiteY5" fmla="*/ 74923 h 177202"/>
                <a:gd name="connsiteX6" fmla="*/ 32253 w 177214"/>
                <a:gd name="connsiteY6" fmla="*/ 57635 h 177202"/>
                <a:gd name="connsiteX7" fmla="*/ 0 w 177214"/>
                <a:gd name="connsiteY7" fmla="*/ 89888 h 177202"/>
                <a:gd name="connsiteX8" fmla="*/ 31774 w 177214"/>
                <a:gd name="connsiteY8" fmla="*/ 121663 h 177202"/>
                <a:gd name="connsiteX9" fmla="*/ 13014 w 177214"/>
                <a:gd name="connsiteY9" fmla="*/ 129121 h 177202"/>
                <a:gd name="connsiteX10" fmla="*/ 13014 w 177214"/>
                <a:gd name="connsiteY10" fmla="*/ 165290 h 177202"/>
                <a:gd name="connsiteX11" fmla="*/ 49182 w 177214"/>
                <a:gd name="connsiteY11" fmla="*/ 165290 h 177202"/>
                <a:gd name="connsiteX12" fmla="*/ 56653 w 177214"/>
                <a:gd name="connsiteY12" fmla="*/ 146529 h 177202"/>
                <a:gd name="connsiteX13" fmla="*/ 87326 w 177214"/>
                <a:gd name="connsiteY13" fmla="*/ 177202 h 177202"/>
                <a:gd name="connsiteX14" fmla="*/ 119759 w 177214"/>
                <a:gd name="connsiteY14" fmla="*/ 144769 h 177202"/>
                <a:gd name="connsiteX15" fmla="*/ 102244 w 177214"/>
                <a:gd name="connsiteY15" fmla="*/ 137311 h 177202"/>
                <a:gd name="connsiteX16" fmla="*/ 102244 w 177214"/>
                <a:gd name="connsiteY16" fmla="*/ 101130 h 177202"/>
                <a:gd name="connsiteX17" fmla="*/ 138424 w 177214"/>
                <a:gd name="connsiteY17" fmla="*/ 101130 h 177202"/>
                <a:gd name="connsiteX18" fmla="*/ 145895 w 177214"/>
                <a:gd name="connsiteY18" fmla="*/ 118634 h 177202"/>
                <a:gd name="connsiteX19" fmla="*/ 177214 w 177214"/>
                <a:gd name="connsiteY19" fmla="*/ 87314 h 177202"/>
                <a:gd name="connsiteX20" fmla="*/ 146517 w 177214"/>
                <a:gd name="connsiteY20" fmla="*/ 56617 h 177202"/>
                <a:gd name="connsiteX21" fmla="*/ 165314 w 177214"/>
                <a:gd name="connsiteY21" fmla="*/ 49158 h 177202"/>
                <a:gd name="connsiteX22" fmla="*/ 165314 w 177214"/>
                <a:gd name="connsiteY22" fmla="*/ 12978 h 177202"/>
                <a:gd name="connsiteX23" fmla="*/ 132186 w 177214"/>
                <a:gd name="connsiteY23" fmla="*/ 10368 h 1772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77214" h="177202">
                  <a:moveTo>
                    <a:pt x="121663" y="31787"/>
                  </a:moveTo>
                  <a:lnTo>
                    <a:pt x="89888" y="0"/>
                  </a:lnTo>
                  <a:lnTo>
                    <a:pt x="58557" y="31320"/>
                  </a:lnTo>
                  <a:cubicBezTo>
                    <a:pt x="64902" y="31463"/>
                    <a:pt x="71163" y="33906"/>
                    <a:pt x="76012" y="38754"/>
                  </a:cubicBezTo>
                  <a:cubicBezTo>
                    <a:pt x="85997" y="48739"/>
                    <a:pt x="85997" y="64938"/>
                    <a:pt x="76012" y="74923"/>
                  </a:cubicBezTo>
                  <a:cubicBezTo>
                    <a:pt x="66027" y="84920"/>
                    <a:pt x="49841" y="84908"/>
                    <a:pt x="39844" y="74923"/>
                  </a:cubicBezTo>
                  <a:cubicBezTo>
                    <a:pt x="34995" y="70062"/>
                    <a:pt x="32253" y="57635"/>
                    <a:pt x="32253" y="57635"/>
                  </a:cubicBezTo>
                  <a:lnTo>
                    <a:pt x="0" y="89888"/>
                  </a:lnTo>
                  <a:lnTo>
                    <a:pt x="31774" y="121663"/>
                  </a:lnTo>
                  <a:cubicBezTo>
                    <a:pt x="25010" y="121483"/>
                    <a:pt x="18174" y="123961"/>
                    <a:pt x="13014" y="129121"/>
                  </a:cubicBezTo>
                  <a:cubicBezTo>
                    <a:pt x="3029" y="139106"/>
                    <a:pt x="3029" y="155305"/>
                    <a:pt x="13014" y="165290"/>
                  </a:cubicBezTo>
                  <a:cubicBezTo>
                    <a:pt x="22999" y="175275"/>
                    <a:pt x="39197" y="175287"/>
                    <a:pt x="49182" y="165290"/>
                  </a:cubicBezTo>
                  <a:cubicBezTo>
                    <a:pt x="54354" y="160118"/>
                    <a:pt x="56833" y="153294"/>
                    <a:pt x="56653" y="146529"/>
                  </a:cubicBezTo>
                  <a:lnTo>
                    <a:pt x="87326" y="177202"/>
                  </a:lnTo>
                  <a:lnTo>
                    <a:pt x="119759" y="144769"/>
                  </a:lnTo>
                  <a:cubicBezTo>
                    <a:pt x="113390" y="144638"/>
                    <a:pt x="107104" y="142183"/>
                    <a:pt x="102244" y="137311"/>
                  </a:cubicBezTo>
                  <a:cubicBezTo>
                    <a:pt x="92247" y="127326"/>
                    <a:pt x="92247" y="111127"/>
                    <a:pt x="102244" y="101130"/>
                  </a:cubicBezTo>
                  <a:cubicBezTo>
                    <a:pt x="112228" y="91145"/>
                    <a:pt x="128427" y="91145"/>
                    <a:pt x="138424" y="101130"/>
                  </a:cubicBezTo>
                  <a:cubicBezTo>
                    <a:pt x="143273" y="105979"/>
                    <a:pt x="145763" y="112276"/>
                    <a:pt x="145895" y="118634"/>
                  </a:cubicBezTo>
                  <a:lnTo>
                    <a:pt x="177214" y="87314"/>
                  </a:lnTo>
                  <a:lnTo>
                    <a:pt x="146517" y="56617"/>
                  </a:lnTo>
                  <a:cubicBezTo>
                    <a:pt x="153293" y="56809"/>
                    <a:pt x="160130" y="54330"/>
                    <a:pt x="165314" y="49158"/>
                  </a:cubicBezTo>
                  <a:cubicBezTo>
                    <a:pt x="175299" y="39161"/>
                    <a:pt x="175299" y="22975"/>
                    <a:pt x="165314" y="12978"/>
                  </a:cubicBezTo>
                  <a:cubicBezTo>
                    <a:pt x="156287" y="3951"/>
                    <a:pt x="142183" y="3077"/>
                    <a:pt x="132186" y="10368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784" name="Gráfico 10">
              <a:extLst>
                <a:ext uri="{FF2B5EF4-FFF2-40B4-BE49-F238E27FC236}">
                  <a16:creationId xmlns:a16="http://schemas.microsoft.com/office/drawing/2014/main" id="{986B9066-7283-58BB-4793-94B22D038DA8}"/>
                </a:ext>
              </a:extLst>
            </p:cNvPr>
            <p:cNvGrpSpPr/>
            <p:nvPr/>
          </p:nvGrpSpPr>
          <p:grpSpPr>
            <a:xfrm>
              <a:off x="8680419" y="993490"/>
              <a:ext cx="106224" cy="313076"/>
              <a:chOff x="8680419" y="993490"/>
              <a:chExt cx="106224" cy="313076"/>
            </a:xfrm>
            <a:noFill/>
          </p:grpSpPr>
          <p:sp>
            <p:nvSpPr>
              <p:cNvPr id="785" name="Forma livre: Forma 784">
                <a:extLst>
                  <a:ext uri="{FF2B5EF4-FFF2-40B4-BE49-F238E27FC236}">
                    <a16:creationId xmlns:a16="http://schemas.microsoft.com/office/drawing/2014/main" id="{EBF371CC-8CE7-7D0C-7916-B18A0962A473}"/>
                  </a:ext>
                </a:extLst>
              </p:cNvPr>
              <p:cNvSpPr/>
              <p:nvPr/>
            </p:nvSpPr>
            <p:spPr>
              <a:xfrm>
                <a:off x="8680419" y="1074542"/>
                <a:ext cx="106224" cy="232023"/>
              </a:xfrm>
              <a:custGeom>
                <a:avLst/>
                <a:gdLst>
                  <a:gd name="connsiteX0" fmla="*/ 106224 w 106224"/>
                  <a:gd name="connsiteY0" fmla="*/ 83758 h 232023"/>
                  <a:gd name="connsiteX1" fmla="*/ 99735 w 106224"/>
                  <a:gd name="connsiteY1" fmla="*/ 19347 h 232023"/>
                  <a:gd name="connsiteX2" fmla="*/ 78329 w 106224"/>
                  <a:gd name="connsiteY2" fmla="*/ 0 h 232023"/>
                  <a:gd name="connsiteX3" fmla="*/ 29745 w 106224"/>
                  <a:gd name="connsiteY3" fmla="*/ 0 h 232023"/>
                  <a:gd name="connsiteX4" fmla="*/ 8339 w 106224"/>
                  <a:gd name="connsiteY4" fmla="*/ 19347 h 232023"/>
                  <a:gd name="connsiteX5" fmla="*/ 66 w 106224"/>
                  <a:gd name="connsiteY5" fmla="*/ 101418 h 232023"/>
                  <a:gd name="connsiteX6" fmla="*/ 21209 w 106224"/>
                  <a:gd name="connsiteY6" fmla="*/ 124165 h 232023"/>
                  <a:gd name="connsiteX7" fmla="*/ 23831 w 106224"/>
                  <a:gd name="connsiteY7" fmla="*/ 232024 h 2320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06224" h="232023">
                    <a:moveTo>
                      <a:pt x="106224" y="83758"/>
                    </a:moveTo>
                    <a:lnTo>
                      <a:pt x="99735" y="19347"/>
                    </a:lnTo>
                    <a:cubicBezTo>
                      <a:pt x="98670" y="8716"/>
                      <a:pt x="89032" y="0"/>
                      <a:pt x="78329" y="0"/>
                    </a:cubicBezTo>
                    <a:lnTo>
                      <a:pt x="29745" y="0"/>
                    </a:lnTo>
                    <a:cubicBezTo>
                      <a:pt x="19042" y="0"/>
                      <a:pt x="9416" y="8716"/>
                      <a:pt x="8339" y="19347"/>
                    </a:cubicBezTo>
                    <a:lnTo>
                      <a:pt x="66" y="101418"/>
                    </a:lnTo>
                    <a:cubicBezTo>
                      <a:pt x="-1000" y="112061"/>
                      <a:pt x="11080" y="120525"/>
                      <a:pt x="21209" y="124165"/>
                    </a:cubicBezTo>
                    <a:lnTo>
                      <a:pt x="23831" y="232024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86" name="Forma livre: Forma 785">
                <a:extLst>
                  <a:ext uri="{FF2B5EF4-FFF2-40B4-BE49-F238E27FC236}">
                    <a16:creationId xmlns:a16="http://schemas.microsoft.com/office/drawing/2014/main" id="{D4B8E012-3CB4-A3A5-0C80-514A2F466618}"/>
                  </a:ext>
                </a:extLst>
              </p:cNvPr>
              <p:cNvSpPr/>
              <p:nvPr/>
            </p:nvSpPr>
            <p:spPr>
              <a:xfrm>
                <a:off x="8705986" y="993490"/>
                <a:ext cx="55120" cy="55120"/>
              </a:xfrm>
              <a:custGeom>
                <a:avLst/>
                <a:gdLst>
                  <a:gd name="connsiteX0" fmla="*/ 0 w 55120"/>
                  <a:gd name="connsiteY0" fmla="*/ 27560 h 55120"/>
                  <a:gd name="connsiteX1" fmla="*/ 27560 w 55120"/>
                  <a:gd name="connsiteY1" fmla="*/ 55121 h 55120"/>
                  <a:gd name="connsiteX2" fmla="*/ 55121 w 55120"/>
                  <a:gd name="connsiteY2" fmla="*/ 27560 h 55120"/>
                  <a:gd name="connsiteX3" fmla="*/ 27560 w 55120"/>
                  <a:gd name="connsiteY3" fmla="*/ 0 h 55120"/>
                  <a:gd name="connsiteX4" fmla="*/ 0 w 55120"/>
                  <a:gd name="connsiteY4" fmla="*/ 27560 h 551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120" h="55120">
                    <a:moveTo>
                      <a:pt x="0" y="27560"/>
                    </a:moveTo>
                    <a:cubicBezTo>
                      <a:pt x="0" y="42777"/>
                      <a:pt x="12331" y="55121"/>
                      <a:pt x="27560" y="55121"/>
                    </a:cubicBezTo>
                    <a:cubicBezTo>
                      <a:pt x="42789" y="55121"/>
                      <a:pt x="55121" y="42789"/>
                      <a:pt x="55121" y="27560"/>
                    </a:cubicBezTo>
                    <a:cubicBezTo>
                      <a:pt x="55121" y="12331"/>
                      <a:pt x="42789" y="0"/>
                      <a:pt x="27560" y="0"/>
                    </a:cubicBezTo>
                    <a:cubicBezTo>
                      <a:pt x="12331" y="0"/>
                      <a:pt x="0" y="12331"/>
                      <a:pt x="0" y="27560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787" name="Gráfico 10">
            <a:extLst>
              <a:ext uri="{FF2B5EF4-FFF2-40B4-BE49-F238E27FC236}">
                <a16:creationId xmlns:a16="http://schemas.microsoft.com/office/drawing/2014/main" id="{187DE681-9F33-3975-0746-040E5FFC162D}"/>
              </a:ext>
            </a:extLst>
          </p:cNvPr>
          <p:cNvGrpSpPr/>
          <p:nvPr/>
        </p:nvGrpSpPr>
        <p:grpSpPr>
          <a:xfrm>
            <a:off x="9289876" y="1005654"/>
            <a:ext cx="270322" cy="288748"/>
            <a:chOff x="9289876" y="1005654"/>
            <a:chExt cx="270322" cy="288748"/>
          </a:xfrm>
          <a:noFill/>
        </p:grpSpPr>
        <p:grpSp>
          <p:nvGrpSpPr>
            <p:cNvPr id="788" name="Gráfico 10">
              <a:extLst>
                <a:ext uri="{FF2B5EF4-FFF2-40B4-BE49-F238E27FC236}">
                  <a16:creationId xmlns:a16="http://schemas.microsoft.com/office/drawing/2014/main" id="{68A70797-738A-DCC7-C68E-A8E9EFF4F36C}"/>
                </a:ext>
              </a:extLst>
            </p:cNvPr>
            <p:cNvGrpSpPr/>
            <p:nvPr/>
          </p:nvGrpSpPr>
          <p:grpSpPr>
            <a:xfrm>
              <a:off x="9289876" y="1160851"/>
              <a:ext cx="270322" cy="133551"/>
              <a:chOff x="9289876" y="1160851"/>
              <a:chExt cx="270322" cy="133551"/>
            </a:xfrm>
            <a:noFill/>
          </p:grpSpPr>
          <p:grpSp>
            <p:nvGrpSpPr>
              <p:cNvPr id="789" name="Gráfico 10">
                <a:extLst>
                  <a:ext uri="{FF2B5EF4-FFF2-40B4-BE49-F238E27FC236}">
                    <a16:creationId xmlns:a16="http://schemas.microsoft.com/office/drawing/2014/main" id="{30E2A35C-5AC2-B4B3-C0BD-EC9E6B0D2880}"/>
                  </a:ext>
                </a:extLst>
              </p:cNvPr>
              <p:cNvGrpSpPr/>
              <p:nvPr/>
            </p:nvGrpSpPr>
            <p:grpSpPr>
              <a:xfrm>
                <a:off x="9289876" y="1160851"/>
                <a:ext cx="107511" cy="133551"/>
                <a:chOff x="9289876" y="1160851"/>
                <a:chExt cx="107511" cy="133551"/>
              </a:xfrm>
              <a:noFill/>
            </p:grpSpPr>
            <p:sp>
              <p:nvSpPr>
                <p:cNvPr id="790" name="Forma livre: Forma 789">
                  <a:extLst>
                    <a:ext uri="{FF2B5EF4-FFF2-40B4-BE49-F238E27FC236}">
                      <a16:creationId xmlns:a16="http://schemas.microsoft.com/office/drawing/2014/main" id="{587212F7-AF5C-1426-BBAA-033D5CB2E06C}"/>
                    </a:ext>
                  </a:extLst>
                </p:cNvPr>
                <p:cNvSpPr/>
                <p:nvPr/>
              </p:nvSpPr>
              <p:spPr>
                <a:xfrm>
                  <a:off x="9289876" y="1235115"/>
                  <a:ext cx="107511" cy="59286"/>
                </a:xfrm>
                <a:custGeom>
                  <a:avLst/>
                  <a:gdLst>
                    <a:gd name="connsiteX0" fmla="*/ 0 w 107511"/>
                    <a:gd name="connsiteY0" fmla="*/ 59287 h 59286"/>
                    <a:gd name="connsiteX1" fmla="*/ 0 w 107511"/>
                    <a:gd name="connsiteY1" fmla="*/ 26303 h 59286"/>
                    <a:gd name="connsiteX2" fmla="*/ 31786 w 107511"/>
                    <a:gd name="connsiteY2" fmla="*/ 0 h 59286"/>
                    <a:gd name="connsiteX3" fmla="*/ 53756 w 107511"/>
                    <a:gd name="connsiteY3" fmla="*/ 24208 h 59286"/>
                    <a:gd name="connsiteX4" fmla="*/ 74156 w 107511"/>
                    <a:gd name="connsiteY4" fmla="*/ 0 h 59286"/>
                    <a:gd name="connsiteX5" fmla="*/ 107511 w 107511"/>
                    <a:gd name="connsiteY5" fmla="*/ 26303 h 59286"/>
                    <a:gd name="connsiteX6" fmla="*/ 107511 w 107511"/>
                    <a:gd name="connsiteY6" fmla="*/ 59287 h 5928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07511" h="59286">
                      <a:moveTo>
                        <a:pt x="0" y="59287"/>
                      </a:moveTo>
                      <a:lnTo>
                        <a:pt x="0" y="26303"/>
                      </a:lnTo>
                      <a:cubicBezTo>
                        <a:pt x="0" y="7088"/>
                        <a:pt x="13900" y="0"/>
                        <a:pt x="31786" y="0"/>
                      </a:cubicBezTo>
                      <a:lnTo>
                        <a:pt x="53756" y="24208"/>
                      </a:lnTo>
                      <a:lnTo>
                        <a:pt x="74156" y="0"/>
                      </a:lnTo>
                      <a:cubicBezTo>
                        <a:pt x="92055" y="0"/>
                        <a:pt x="107511" y="7088"/>
                        <a:pt x="107511" y="26303"/>
                      </a:cubicBezTo>
                      <a:lnTo>
                        <a:pt x="107511" y="59287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791" name="Forma livre: Forma 790">
                  <a:extLst>
                    <a:ext uri="{FF2B5EF4-FFF2-40B4-BE49-F238E27FC236}">
                      <a16:creationId xmlns:a16="http://schemas.microsoft.com/office/drawing/2014/main" id="{DC565494-CC74-4979-7B59-5094449EEC1D}"/>
                    </a:ext>
                  </a:extLst>
                </p:cNvPr>
                <p:cNvSpPr/>
                <p:nvPr/>
              </p:nvSpPr>
              <p:spPr>
                <a:xfrm>
                  <a:off x="9320142" y="1160851"/>
                  <a:ext cx="46979" cy="56557"/>
                </a:xfrm>
                <a:custGeom>
                  <a:avLst/>
                  <a:gdLst>
                    <a:gd name="connsiteX0" fmla="*/ 46979 w 46979"/>
                    <a:gd name="connsiteY0" fmla="*/ 32696 h 56557"/>
                    <a:gd name="connsiteX1" fmla="*/ 23490 w 46979"/>
                    <a:gd name="connsiteY1" fmla="*/ 56557 h 56557"/>
                    <a:gd name="connsiteX2" fmla="*/ 0 w 46979"/>
                    <a:gd name="connsiteY2" fmla="*/ 32696 h 56557"/>
                    <a:gd name="connsiteX3" fmla="*/ 0 w 46979"/>
                    <a:gd name="connsiteY3" fmla="*/ 23861 h 56557"/>
                    <a:gd name="connsiteX4" fmla="*/ 23490 w 46979"/>
                    <a:gd name="connsiteY4" fmla="*/ 0 h 56557"/>
                    <a:gd name="connsiteX5" fmla="*/ 46979 w 46979"/>
                    <a:gd name="connsiteY5" fmla="*/ 23861 h 56557"/>
                    <a:gd name="connsiteX6" fmla="*/ 46979 w 46979"/>
                    <a:gd name="connsiteY6" fmla="*/ 32696 h 5655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46979" h="56557">
                      <a:moveTo>
                        <a:pt x="46979" y="32696"/>
                      </a:moveTo>
                      <a:cubicBezTo>
                        <a:pt x="46979" y="45818"/>
                        <a:pt x="36396" y="56557"/>
                        <a:pt x="23490" y="56557"/>
                      </a:cubicBezTo>
                      <a:cubicBezTo>
                        <a:pt x="10583" y="56557"/>
                        <a:pt x="0" y="45818"/>
                        <a:pt x="0" y="32696"/>
                      </a:cubicBezTo>
                      <a:lnTo>
                        <a:pt x="0" y="23861"/>
                      </a:lnTo>
                      <a:cubicBezTo>
                        <a:pt x="0" y="10739"/>
                        <a:pt x="10583" y="0"/>
                        <a:pt x="23490" y="0"/>
                      </a:cubicBezTo>
                      <a:cubicBezTo>
                        <a:pt x="36396" y="0"/>
                        <a:pt x="46979" y="10739"/>
                        <a:pt x="46979" y="23861"/>
                      </a:cubicBezTo>
                      <a:lnTo>
                        <a:pt x="46979" y="32696"/>
                      </a:lnTo>
                      <a:close/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grpSp>
              <p:nvGrpSpPr>
                <p:cNvPr id="792" name="Gráfico 10">
                  <a:extLst>
                    <a:ext uri="{FF2B5EF4-FFF2-40B4-BE49-F238E27FC236}">
                      <a16:creationId xmlns:a16="http://schemas.microsoft.com/office/drawing/2014/main" id="{1DF2CBAB-A9D0-68C4-81BB-437F0C8F5EF0}"/>
                    </a:ext>
                  </a:extLst>
                </p:cNvPr>
                <p:cNvGrpSpPr/>
                <p:nvPr/>
              </p:nvGrpSpPr>
              <p:grpSpPr>
                <a:xfrm>
                  <a:off x="9314539" y="1276072"/>
                  <a:ext cx="58185" cy="18018"/>
                  <a:chOff x="9314539" y="1276072"/>
                  <a:chExt cx="58185" cy="18018"/>
                </a:xfrm>
              </p:grpSpPr>
              <p:sp>
                <p:nvSpPr>
                  <p:cNvPr id="793" name="Forma livre: Forma 792">
                    <a:extLst>
                      <a:ext uri="{FF2B5EF4-FFF2-40B4-BE49-F238E27FC236}">
                        <a16:creationId xmlns:a16="http://schemas.microsoft.com/office/drawing/2014/main" id="{2AFAC543-C201-FCB9-80F2-89E3833A0EE1}"/>
                      </a:ext>
                    </a:extLst>
                  </p:cNvPr>
                  <p:cNvSpPr/>
                  <p:nvPr/>
                </p:nvSpPr>
                <p:spPr>
                  <a:xfrm>
                    <a:off x="9314539" y="1276072"/>
                    <a:ext cx="1197" cy="18018"/>
                  </a:xfrm>
                  <a:custGeom>
                    <a:avLst/>
                    <a:gdLst>
                      <a:gd name="connsiteX0" fmla="*/ 0 w 1197"/>
                      <a:gd name="connsiteY0" fmla="*/ 0 h 18018"/>
                      <a:gd name="connsiteX1" fmla="*/ 0 w 1197"/>
                      <a:gd name="connsiteY1" fmla="*/ 18018 h 1801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197" h="18018">
                        <a:moveTo>
                          <a:pt x="0" y="0"/>
                        </a:moveTo>
                        <a:lnTo>
                          <a:pt x="0" y="18018"/>
                        </a:lnTo>
                      </a:path>
                    </a:pathLst>
                  </a:custGeom>
                  <a:ln w="6350" cap="flat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794" name="Forma livre: Forma 793">
                    <a:extLst>
                      <a:ext uri="{FF2B5EF4-FFF2-40B4-BE49-F238E27FC236}">
                        <a16:creationId xmlns:a16="http://schemas.microsoft.com/office/drawing/2014/main" id="{B264AE6D-B228-61BD-0784-A07A9F3EC898}"/>
                      </a:ext>
                    </a:extLst>
                  </p:cNvPr>
                  <p:cNvSpPr/>
                  <p:nvPr/>
                </p:nvSpPr>
                <p:spPr>
                  <a:xfrm>
                    <a:off x="9372724" y="1276072"/>
                    <a:ext cx="1197" cy="18018"/>
                  </a:xfrm>
                  <a:custGeom>
                    <a:avLst/>
                    <a:gdLst>
                      <a:gd name="connsiteX0" fmla="*/ 0 w 1197"/>
                      <a:gd name="connsiteY0" fmla="*/ 0 h 18018"/>
                      <a:gd name="connsiteX1" fmla="*/ 0 w 1197"/>
                      <a:gd name="connsiteY1" fmla="*/ 18018 h 1801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197" h="18018">
                        <a:moveTo>
                          <a:pt x="0" y="0"/>
                        </a:moveTo>
                        <a:lnTo>
                          <a:pt x="0" y="18018"/>
                        </a:lnTo>
                      </a:path>
                    </a:pathLst>
                  </a:custGeom>
                  <a:ln w="6350" cap="flat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</p:grpSp>
          <p:grpSp>
            <p:nvGrpSpPr>
              <p:cNvPr id="795" name="Gráfico 10">
                <a:extLst>
                  <a:ext uri="{FF2B5EF4-FFF2-40B4-BE49-F238E27FC236}">
                    <a16:creationId xmlns:a16="http://schemas.microsoft.com/office/drawing/2014/main" id="{EE432AC2-92DD-2002-B5F1-37BF846D7549}"/>
                  </a:ext>
                </a:extLst>
              </p:cNvPr>
              <p:cNvGrpSpPr/>
              <p:nvPr/>
            </p:nvGrpSpPr>
            <p:grpSpPr>
              <a:xfrm>
                <a:off x="9452687" y="1160851"/>
                <a:ext cx="107511" cy="133551"/>
                <a:chOff x="9452687" y="1160851"/>
                <a:chExt cx="107511" cy="133551"/>
              </a:xfrm>
              <a:noFill/>
            </p:grpSpPr>
            <p:sp>
              <p:nvSpPr>
                <p:cNvPr id="796" name="Forma livre: Forma 795">
                  <a:extLst>
                    <a:ext uri="{FF2B5EF4-FFF2-40B4-BE49-F238E27FC236}">
                      <a16:creationId xmlns:a16="http://schemas.microsoft.com/office/drawing/2014/main" id="{7F573696-78FF-119F-3370-34520B3C4898}"/>
                    </a:ext>
                  </a:extLst>
                </p:cNvPr>
                <p:cNvSpPr/>
                <p:nvPr/>
              </p:nvSpPr>
              <p:spPr>
                <a:xfrm>
                  <a:off x="9452687" y="1235115"/>
                  <a:ext cx="107511" cy="59286"/>
                </a:xfrm>
                <a:custGeom>
                  <a:avLst/>
                  <a:gdLst>
                    <a:gd name="connsiteX0" fmla="*/ 0 w 107511"/>
                    <a:gd name="connsiteY0" fmla="*/ 59287 h 59286"/>
                    <a:gd name="connsiteX1" fmla="*/ 0 w 107511"/>
                    <a:gd name="connsiteY1" fmla="*/ 26303 h 59286"/>
                    <a:gd name="connsiteX2" fmla="*/ 31787 w 107511"/>
                    <a:gd name="connsiteY2" fmla="*/ 0 h 59286"/>
                    <a:gd name="connsiteX3" fmla="*/ 53768 w 107511"/>
                    <a:gd name="connsiteY3" fmla="*/ 24208 h 59286"/>
                    <a:gd name="connsiteX4" fmla="*/ 74168 w 107511"/>
                    <a:gd name="connsiteY4" fmla="*/ 0 h 59286"/>
                    <a:gd name="connsiteX5" fmla="*/ 107511 w 107511"/>
                    <a:gd name="connsiteY5" fmla="*/ 26303 h 59286"/>
                    <a:gd name="connsiteX6" fmla="*/ 107511 w 107511"/>
                    <a:gd name="connsiteY6" fmla="*/ 59287 h 5928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07511" h="59286">
                      <a:moveTo>
                        <a:pt x="0" y="59287"/>
                      </a:moveTo>
                      <a:lnTo>
                        <a:pt x="0" y="26303"/>
                      </a:lnTo>
                      <a:cubicBezTo>
                        <a:pt x="0" y="7088"/>
                        <a:pt x="13900" y="0"/>
                        <a:pt x="31787" y="0"/>
                      </a:cubicBezTo>
                      <a:lnTo>
                        <a:pt x="53768" y="24208"/>
                      </a:lnTo>
                      <a:lnTo>
                        <a:pt x="74168" y="0"/>
                      </a:lnTo>
                      <a:cubicBezTo>
                        <a:pt x="92067" y="0"/>
                        <a:pt x="107511" y="7088"/>
                        <a:pt x="107511" y="26303"/>
                      </a:cubicBezTo>
                      <a:lnTo>
                        <a:pt x="107511" y="59287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797" name="Forma livre: Forma 796">
                  <a:extLst>
                    <a:ext uri="{FF2B5EF4-FFF2-40B4-BE49-F238E27FC236}">
                      <a16:creationId xmlns:a16="http://schemas.microsoft.com/office/drawing/2014/main" id="{85A0C6BA-7BB2-E939-1B24-E0BCA5C91699}"/>
                    </a:ext>
                  </a:extLst>
                </p:cNvPr>
                <p:cNvSpPr/>
                <p:nvPr/>
              </p:nvSpPr>
              <p:spPr>
                <a:xfrm>
                  <a:off x="9482953" y="1160851"/>
                  <a:ext cx="46991" cy="56557"/>
                </a:xfrm>
                <a:custGeom>
                  <a:avLst/>
                  <a:gdLst>
                    <a:gd name="connsiteX0" fmla="*/ 46991 w 46991"/>
                    <a:gd name="connsiteY0" fmla="*/ 32696 h 56557"/>
                    <a:gd name="connsiteX1" fmla="*/ 23490 w 46991"/>
                    <a:gd name="connsiteY1" fmla="*/ 56557 h 56557"/>
                    <a:gd name="connsiteX2" fmla="*/ 0 w 46991"/>
                    <a:gd name="connsiteY2" fmla="*/ 32696 h 56557"/>
                    <a:gd name="connsiteX3" fmla="*/ 0 w 46991"/>
                    <a:gd name="connsiteY3" fmla="*/ 23861 h 56557"/>
                    <a:gd name="connsiteX4" fmla="*/ 23490 w 46991"/>
                    <a:gd name="connsiteY4" fmla="*/ 0 h 56557"/>
                    <a:gd name="connsiteX5" fmla="*/ 46991 w 46991"/>
                    <a:gd name="connsiteY5" fmla="*/ 23861 h 56557"/>
                    <a:gd name="connsiteX6" fmla="*/ 46991 w 46991"/>
                    <a:gd name="connsiteY6" fmla="*/ 32696 h 5655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46991" h="56557">
                      <a:moveTo>
                        <a:pt x="46991" y="32696"/>
                      </a:moveTo>
                      <a:cubicBezTo>
                        <a:pt x="46991" y="45818"/>
                        <a:pt x="36408" y="56557"/>
                        <a:pt x="23490" y="56557"/>
                      </a:cubicBezTo>
                      <a:cubicBezTo>
                        <a:pt x="10571" y="56557"/>
                        <a:pt x="0" y="45818"/>
                        <a:pt x="0" y="32696"/>
                      </a:cubicBezTo>
                      <a:lnTo>
                        <a:pt x="0" y="23861"/>
                      </a:lnTo>
                      <a:cubicBezTo>
                        <a:pt x="0" y="10739"/>
                        <a:pt x="10583" y="0"/>
                        <a:pt x="23490" y="0"/>
                      </a:cubicBezTo>
                      <a:cubicBezTo>
                        <a:pt x="36396" y="0"/>
                        <a:pt x="46991" y="10739"/>
                        <a:pt x="46991" y="23861"/>
                      </a:cubicBezTo>
                      <a:lnTo>
                        <a:pt x="46991" y="32696"/>
                      </a:lnTo>
                      <a:close/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grpSp>
              <p:nvGrpSpPr>
                <p:cNvPr id="798" name="Gráfico 10">
                  <a:extLst>
                    <a:ext uri="{FF2B5EF4-FFF2-40B4-BE49-F238E27FC236}">
                      <a16:creationId xmlns:a16="http://schemas.microsoft.com/office/drawing/2014/main" id="{4C64B663-394F-499F-867B-0EF364E9FD45}"/>
                    </a:ext>
                  </a:extLst>
                </p:cNvPr>
                <p:cNvGrpSpPr/>
                <p:nvPr/>
              </p:nvGrpSpPr>
              <p:grpSpPr>
                <a:xfrm>
                  <a:off x="9477350" y="1276072"/>
                  <a:ext cx="58185" cy="18018"/>
                  <a:chOff x="9477350" y="1276072"/>
                  <a:chExt cx="58185" cy="18018"/>
                </a:xfrm>
              </p:grpSpPr>
              <p:sp>
                <p:nvSpPr>
                  <p:cNvPr id="799" name="Forma livre: Forma 798">
                    <a:extLst>
                      <a:ext uri="{FF2B5EF4-FFF2-40B4-BE49-F238E27FC236}">
                        <a16:creationId xmlns:a16="http://schemas.microsoft.com/office/drawing/2014/main" id="{4AFCD514-28B7-8D3A-5268-EAA5A65D66A5}"/>
                      </a:ext>
                    </a:extLst>
                  </p:cNvPr>
                  <p:cNvSpPr/>
                  <p:nvPr/>
                </p:nvSpPr>
                <p:spPr>
                  <a:xfrm>
                    <a:off x="9477350" y="1276072"/>
                    <a:ext cx="1197" cy="18018"/>
                  </a:xfrm>
                  <a:custGeom>
                    <a:avLst/>
                    <a:gdLst>
                      <a:gd name="connsiteX0" fmla="*/ 0 w 1197"/>
                      <a:gd name="connsiteY0" fmla="*/ 0 h 18018"/>
                      <a:gd name="connsiteX1" fmla="*/ 0 w 1197"/>
                      <a:gd name="connsiteY1" fmla="*/ 18018 h 1801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197" h="18018">
                        <a:moveTo>
                          <a:pt x="0" y="0"/>
                        </a:moveTo>
                        <a:lnTo>
                          <a:pt x="0" y="18018"/>
                        </a:lnTo>
                      </a:path>
                    </a:pathLst>
                  </a:custGeom>
                  <a:ln w="6350" cap="flat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800" name="Forma livre: Forma 799">
                    <a:extLst>
                      <a:ext uri="{FF2B5EF4-FFF2-40B4-BE49-F238E27FC236}">
                        <a16:creationId xmlns:a16="http://schemas.microsoft.com/office/drawing/2014/main" id="{9EA88CB9-640F-6320-12E5-05134C66B572}"/>
                      </a:ext>
                    </a:extLst>
                  </p:cNvPr>
                  <p:cNvSpPr/>
                  <p:nvPr/>
                </p:nvSpPr>
                <p:spPr>
                  <a:xfrm>
                    <a:off x="9535536" y="1276072"/>
                    <a:ext cx="1197" cy="18018"/>
                  </a:xfrm>
                  <a:custGeom>
                    <a:avLst/>
                    <a:gdLst>
                      <a:gd name="connsiteX0" fmla="*/ 0 w 1197"/>
                      <a:gd name="connsiteY0" fmla="*/ 0 h 18018"/>
                      <a:gd name="connsiteX1" fmla="*/ 0 w 1197"/>
                      <a:gd name="connsiteY1" fmla="*/ 18018 h 1801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197" h="18018">
                        <a:moveTo>
                          <a:pt x="0" y="0"/>
                        </a:moveTo>
                        <a:lnTo>
                          <a:pt x="0" y="18018"/>
                        </a:lnTo>
                      </a:path>
                    </a:pathLst>
                  </a:custGeom>
                  <a:ln w="6350" cap="flat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</p:grpSp>
        </p:grpSp>
        <p:sp>
          <p:nvSpPr>
            <p:cNvPr id="801" name="Forma livre: Forma 800">
              <a:extLst>
                <a:ext uri="{FF2B5EF4-FFF2-40B4-BE49-F238E27FC236}">
                  <a16:creationId xmlns:a16="http://schemas.microsoft.com/office/drawing/2014/main" id="{906EE33A-6A75-DDA4-53BF-275B1C562433}"/>
                </a:ext>
              </a:extLst>
            </p:cNvPr>
            <p:cNvSpPr/>
            <p:nvPr/>
          </p:nvSpPr>
          <p:spPr>
            <a:xfrm>
              <a:off x="9313749" y="1005654"/>
              <a:ext cx="222577" cy="132246"/>
            </a:xfrm>
            <a:custGeom>
              <a:avLst/>
              <a:gdLst>
                <a:gd name="connsiteX0" fmla="*/ 192754 w 222577"/>
                <a:gd name="connsiteY0" fmla="*/ 132055 h 132246"/>
                <a:gd name="connsiteX1" fmla="*/ 222577 w 222577"/>
                <a:gd name="connsiteY1" fmla="*/ 127158 h 132246"/>
                <a:gd name="connsiteX2" fmla="*/ 222577 w 222577"/>
                <a:gd name="connsiteY2" fmla="*/ 95407 h 132246"/>
                <a:gd name="connsiteX3" fmla="*/ 192754 w 222577"/>
                <a:gd name="connsiteY3" fmla="*/ 90511 h 132246"/>
                <a:gd name="connsiteX4" fmla="*/ 183691 w 222577"/>
                <a:gd name="connsiteY4" fmla="*/ 68530 h 132246"/>
                <a:gd name="connsiteX5" fmla="*/ 201207 w 222577"/>
                <a:gd name="connsiteY5" fmla="*/ 43819 h 132246"/>
                <a:gd name="connsiteX6" fmla="*/ 178759 w 222577"/>
                <a:gd name="connsiteY6" fmla="*/ 21371 h 132246"/>
                <a:gd name="connsiteX7" fmla="*/ 154048 w 222577"/>
                <a:gd name="connsiteY7" fmla="*/ 38898 h 132246"/>
                <a:gd name="connsiteX8" fmla="*/ 132067 w 222577"/>
                <a:gd name="connsiteY8" fmla="*/ 29823 h 132246"/>
                <a:gd name="connsiteX9" fmla="*/ 127170 w 222577"/>
                <a:gd name="connsiteY9" fmla="*/ 0 h 132246"/>
                <a:gd name="connsiteX10" fmla="*/ 95407 w 222577"/>
                <a:gd name="connsiteY10" fmla="*/ 0 h 132246"/>
                <a:gd name="connsiteX11" fmla="*/ 90511 w 222577"/>
                <a:gd name="connsiteY11" fmla="*/ 29835 h 132246"/>
                <a:gd name="connsiteX12" fmla="*/ 68541 w 222577"/>
                <a:gd name="connsiteY12" fmla="*/ 38910 h 132246"/>
                <a:gd name="connsiteX13" fmla="*/ 43831 w 222577"/>
                <a:gd name="connsiteY13" fmla="*/ 21383 h 132246"/>
                <a:gd name="connsiteX14" fmla="*/ 21371 w 222577"/>
                <a:gd name="connsiteY14" fmla="*/ 43831 h 132246"/>
                <a:gd name="connsiteX15" fmla="*/ 38898 w 222577"/>
                <a:gd name="connsiteY15" fmla="*/ 68542 h 132246"/>
                <a:gd name="connsiteX16" fmla="*/ 29859 w 222577"/>
                <a:gd name="connsiteY16" fmla="*/ 90343 h 132246"/>
                <a:gd name="connsiteX17" fmla="*/ 0 w 222577"/>
                <a:gd name="connsiteY17" fmla="*/ 95419 h 132246"/>
                <a:gd name="connsiteX18" fmla="*/ 0 w 222577"/>
                <a:gd name="connsiteY18" fmla="*/ 127170 h 132246"/>
                <a:gd name="connsiteX19" fmla="*/ 29871 w 222577"/>
                <a:gd name="connsiteY19" fmla="*/ 132246 h 132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222577" h="132246">
                  <a:moveTo>
                    <a:pt x="192754" y="132055"/>
                  </a:moveTo>
                  <a:lnTo>
                    <a:pt x="222577" y="127158"/>
                  </a:lnTo>
                  <a:lnTo>
                    <a:pt x="222577" y="95407"/>
                  </a:lnTo>
                  <a:lnTo>
                    <a:pt x="192754" y="90511"/>
                  </a:lnTo>
                  <a:cubicBezTo>
                    <a:pt x="190779" y="82681"/>
                    <a:pt x="187702" y="75306"/>
                    <a:pt x="183691" y="68530"/>
                  </a:cubicBezTo>
                  <a:lnTo>
                    <a:pt x="201207" y="43819"/>
                  </a:lnTo>
                  <a:lnTo>
                    <a:pt x="178759" y="21371"/>
                  </a:lnTo>
                  <a:lnTo>
                    <a:pt x="154048" y="38898"/>
                  </a:lnTo>
                  <a:cubicBezTo>
                    <a:pt x="147271" y="34887"/>
                    <a:pt x="139885" y="31822"/>
                    <a:pt x="132067" y="29823"/>
                  </a:cubicBezTo>
                  <a:lnTo>
                    <a:pt x="127170" y="0"/>
                  </a:lnTo>
                  <a:lnTo>
                    <a:pt x="95407" y="0"/>
                  </a:lnTo>
                  <a:lnTo>
                    <a:pt x="90511" y="29835"/>
                  </a:lnTo>
                  <a:cubicBezTo>
                    <a:pt x="82693" y="31822"/>
                    <a:pt x="75318" y="34899"/>
                    <a:pt x="68541" y="38910"/>
                  </a:cubicBezTo>
                  <a:lnTo>
                    <a:pt x="43831" y="21383"/>
                  </a:lnTo>
                  <a:lnTo>
                    <a:pt x="21371" y="43831"/>
                  </a:lnTo>
                  <a:lnTo>
                    <a:pt x="38898" y="68542"/>
                  </a:lnTo>
                  <a:cubicBezTo>
                    <a:pt x="34911" y="75270"/>
                    <a:pt x="31858" y="82585"/>
                    <a:pt x="29859" y="90343"/>
                  </a:cubicBezTo>
                  <a:lnTo>
                    <a:pt x="0" y="95419"/>
                  </a:lnTo>
                  <a:lnTo>
                    <a:pt x="0" y="127170"/>
                  </a:lnTo>
                  <a:lnTo>
                    <a:pt x="29871" y="132246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02" name="Forma livre: Forma 801">
              <a:extLst>
                <a:ext uri="{FF2B5EF4-FFF2-40B4-BE49-F238E27FC236}">
                  <a16:creationId xmlns:a16="http://schemas.microsoft.com/office/drawing/2014/main" id="{A2946F1A-099E-02D2-CB93-E319C2B94020}"/>
                </a:ext>
              </a:extLst>
            </p:cNvPr>
            <p:cNvSpPr/>
            <p:nvPr/>
          </p:nvSpPr>
          <p:spPr>
            <a:xfrm>
              <a:off x="9388947" y="1192925"/>
              <a:ext cx="71366" cy="35354"/>
            </a:xfrm>
            <a:custGeom>
              <a:avLst/>
              <a:gdLst>
                <a:gd name="connsiteX0" fmla="*/ 0 w 71366"/>
                <a:gd name="connsiteY0" fmla="*/ 0 h 35354"/>
                <a:gd name="connsiteX1" fmla="*/ 15313 w 71366"/>
                <a:gd name="connsiteY1" fmla="*/ 5531 h 35354"/>
                <a:gd name="connsiteX2" fmla="*/ 20209 w 71366"/>
                <a:gd name="connsiteY2" fmla="*/ 35354 h 35354"/>
                <a:gd name="connsiteX3" fmla="*/ 51960 w 71366"/>
                <a:gd name="connsiteY3" fmla="*/ 35354 h 35354"/>
                <a:gd name="connsiteX4" fmla="*/ 56857 w 71366"/>
                <a:gd name="connsiteY4" fmla="*/ 5519 h 35354"/>
                <a:gd name="connsiteX5" fmla="*/ 71367 w 71366"/>
                <a:gd name="connsiteY5" fmla="*/ 371 h 353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1366" h="35354">
                  <a:moveTo>
                    <a:pt x="0" y="0"/>
                  </a:moveTo>
                  <a:cubicBezTo>
                    <a:pt x="4861" y="2311"/>
                    <a:pt x="9985" y="4166"/>
                    <a:pt x="15313" y="5531"/>
                  </a:cubicBezTo>
                  <a:lnTo>
                    <a:pt x="20209" y="35354"/>
                  </a:lnTo>
                  <a:lnTo>
                    <a:pt x="51960" y="35354"/>
                  </a:lnTo>
                  <a:lnTo>
                    <a:pt x="56857" y="5519"/>
                  </a:lnTo>
                  <a:cubicBezTo>
                    <a:pt x="61897" y="4238"/>
                    <a:pt x="66746" y="2502"/>
                    <a:pt x="71367" y="371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03" name="Forma livre: Forma 802">
              <a:extLst>
                <a:ext uri="{FF2B5EF4-FFF2-40B4-BE49-F238E27FC236}">
                  <a16:creationId xmlns:a16="http://schemas.microsoft.com/office/drawing/2014/main" id="{C836136F-6ED4-7398-04D4-C397D261D410}"/>
                </a:ext>
              </a:extLst>
            </p:cNvPr>
            <p:cNvSpPr/>
            <p:nvPr/>
          </p:nvSpPr>
          <p:spPr>
            <a:xfrm>
              <a:off x="9369659" y="1061313"/>
              <a:ext cx="110743" cy="110743"/>
            </a:xfrm>
            <a:custGeom>
              <a:avLst/>
              <a:gdLst>
                <a:gd name="connsiteX0" fmla="*/ 34097 w 110743"/>
                <a:gd name="connsiteY0" fmla="*/ 4238 h 110743"/>
                <a:gd name="connsiteX1" fmla="*/ 55372 w 110743"/>
                <a:gd name="connsiteY1" fmla="*/ 0 h 110743"/>
                <a:gd name="connsiteX2" fmla="*/ 110744 w 110743"/>
                <a:gd name="connsiteY2" fmla="*/ 55372 h 110743"/>
                <a:gd name="connsiteX3" fmla="*/ 55372 w 110743"/>
                <a:gd name="connsiteY3" fmla="*/ 110744 h 110743"/>
                <a:gd name="connsiteX4" fmla="*/ 0 w 110743"/>
                <a:gd name="connsiteY4" fmla="*/ 55372 h 110743"/>
                <a:gd name="connsiteX5" fmla="*/ 11481 w 110743"/>
                <a:gd name="connsiteY5" fmla="*/ 21610 h 1107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0743" h="110743">
                  <a:moveTo>
                    <a:pt x="34097" y="4238"/>
                  </a:moveTo>
                  <a:cubicBezTo>
                    <a:pt x="40658" y="1509"/>
                    <a:pt x="47841" y="0"/>
                    <a:pt x="55372" y="0"/>
                  </a:cubicBezTo>
                  <a:cubicBezTo>
                    <a:pt x="85949" y="0"/>
                    <a:pt x="110744" y="24795"/>
                    <a:pt x="110744" y="55372"/>
                  </a:cubicBezTo>
                  <a:cubicBezTo>
                    <a:pt x="110744" y="85949"/>
                    <a:pt x="85949" y="110744"/>
                    <a:pt x="55372" y="110744"/>
                  </a:cubicBezTo>
                  <a:cubicBezTo>
                    <a:pt x="24795" y="110744"/>
                    <a:pt x="0" y="85949"/>
                    <a:pt x="0" y="55372"/>
                  </a:cubicBezTo>
                  <a:cubicBezTo>
                    <a:pt x="0" y="42669"/>
                    <a:pt x="4286" y="30960"/>
                    <a:pt x="11481" y="2161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804" name="Gráfico 10">
            <a:extLst>
              <a:ext uri="{FF2B5EF4-FFF2-40B4-BE49-F238E27FC236}">
                <a16:creationId xmlns:a16="http://schemas.microsoft.com/office/drawing/2014/main" id="{4A68324F-5E1A-D263-0F0C-35E27DE71809}"/>
              </a:ext>
            </a:extLst>
          </p:cNvPr>
          <p:cNvGrpSpPr/>
          <p:nvPr/>
        </p:nvGrpSpPr>
        <p:grpSpPr>
          <a:xfrm>
            <a:off x="8021409" y="987061"/>
            <a:ext cx="319648" cy="325910"/>
            <a:chOff x="8021409" y="987061"/>
            <a:chExt cx="319648" cy="325910"/>
          </a:xfrm>
          <a:noFill/>
        </p:grpSpPr>
        <p:grpSp>
          <p:nvGrpSpPr>
            <p:cNvPr id="805" name="Gráfico 10">
              <a:extLst>
                <a:ext uri="{FF2B5EF4-FFF2-40B4-BE49-F238E27FC236}">
                  <a16:creationId xmlns:a16="http://schemas.microsoft.com/office/drawing/2014/main" id="{8B614EBA-DBF4-25C6-5C41-E11C4F3368A7}"/>
                </a:ext>
              </a:extLst>
            </p:cNvPr>
            <p:cNvGrpSpPr/>
            <p:nvPr/>
          </p:nvGrpSpPr>
          <p:grpSpPr>
            <a:xfrm>
              <a:off x="8197354" y="1037775"/>
              <a:ext cx="107858" cy="274453"/>
              <a:chOff x="8197354" y="1037775"/>
              <a:chExt cx="107858" cy="274453"/>
            </a:xfrm>
            <a:noFill/>
          </p:grpSpPr>
          <p:sp>
            <p:nvSpPr>
              <p:cNvPr id="806" name="Forma livre: Forma 805">
                <a:extLst>
                  <a:ext uri="{FF2B5EF4-FFF2-40B4-BE49-F238E27FC236}">
                    <a16:creationId xmlns:a16="http://schemas.microsoft.com/office/drawing/2014/main" id="{868D1208-451F-D5DD-9825-487AB0DF8531}"/>
                  </a:ext>
                </a:extLst>
              </p:cNvPr>
              <p:cNvSpPr/>
              <p:nvPr/>
            </p:nvSpPr>
            <p:spPr>
              <a:xfrm>
                <a:off x="8227716" y="1037775"/>
                <a:ext cx="47099" cy="47123"/>
              </a:xfrm>
              <a:custGeom>
                <a:avLst/>
                <a:gdLst>
                  <a:gd name="connsiteX0" fmla="*/ 47099 w 47099"/>
                  <a:gd name="connsiteY0" fmla="*/ 23562 h 47123"/>
                  <a:gd name="connsiteX1" fmla="*/ 23562 w 47099"/>
                  <a:gd name="connsiteY1" fmla="*/ 47123 h 47123"/>
                  <a:gd name="connsiteX2" fmla="*/ 0 w 47099"/>
                  <a:gd name="connsiteY2" fmla="*/ 23562 h 47123"/>
                  <a:gd name="connsiteX3" fmla="*/ 23562 w 47099"/>
                  <a:gd name="connsiteY3" fmla="*/ 0 h 47123"/>
                  <a:gd name="connsiteX4" fmla="*/ 47099 w 47099"/>
                  <a:gd name="connsiteY4" fmla="*/ 23562 h 471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7099" h="47123">
                    <a:moveTo>
                      <a:pt x="47099" y="23562"/>
                    </a:moveTo>
                    <a:cubicBezTo>
                      <a:pt x="47099" y="36575"/>
                      <a:pt x="36563" y="47123"/>
                      <a:pt x="23562" y="47123"/>
                    </a:cubicBezTo>
                    <a:cubicBezTo>
                      <a:pt x="10560" y="47123"/>
                      <a:pt x="0" y="36587"/>
                      <a:pt x="0" y="23562"/>
                    </a:cubicBezTo>
                    <a:cubicBezTo>
                      <a:pt x="0" y="10536"/>
                      <a:pt x="10548" y="0"/>
                      <a:pt x="23562" y="0"/>
                    </a:cubicBezTo>
                    <a:cubicBezTo>
                      <a:pt x="36575" y="0"/>
                      <a:pt x="47099" y="10548"/>
                      <a:pt x="47099" y="23562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807" name="Forma livre: Forma 806">
                <a:extLst>
                  <a:ext uri="{FF2B5EF4-FFF2-40B4-BE49-F238E27FC236}">
                    <a16:creationId xmlns:a16="http://schemas.microsoft.com/office/drawing/2014/main" id="{B557E873-3A29-4173-84F0-2F4DAB76277D}"/>
                  </a:ext>
                </a:extLst>
              </p:cNvPr>
              <p:cNvSpPr/>
              <p:nvPr/>
            </p:nvSpPr>
            <p:spPr>
              <a:xfrm>
                <a:off x="8197354" y="1107574"/>
                <a:ext cx="107858" cy="112479"/>
              </a:xfrm>
              <a:custGeom>
                <a:avLst/>
                <a:gdLst>
                  <a:gd name="connsiteX0" fmla="*/ 23119 w 107858"/>
                  <a:gd name="connsiteY0" fmla="*/ 112480 h 112479"/>
                  <a:gd name="connsiteX1" fmla="*/ 0 w 107858"/>
                  <a:gd name="connsiteY1" fmla="*/ 81208 h 112479"/>
                  <a:gd name="connsiteX2" fmla="*/ 0 w 107858"/>
                  <a:gd name="connsiteY2" fmla="*/ 31272 h 112479"/>
                  <a:gd name="connsiteX3" fmla="*/ 31272 w 107858"/>
                  <a:gd name="connsiteY3" fmla="*/ 0 h 112479"/>
                  <a:gd name="connsiteX4" fmla="*/ 76563 w 107858"/>
                  <a:gd name="connsiteY4" fmla="*/ 0 h 112479"/>
                  <a:gd name="connsiteX5" fmla="*/ 107859 w 107858"/>
                  <a:gd name="connsiteY5" fmla="*/ 31272 h 112479"/>
                  <a:gd name="connsiteX6" fmla="*/ 107859 w 107858"/>
                  <a:gd name="connsiteY6" fmla="*/ 81208 h 112479"/>
                  <a:gd name="connsiteX7" fmla="*/ 84728 w 107858"/>
                  <a:gd name="connsiteY7" fmla="*/ 112480 h 1124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07858" h="112479">
                    <a:moveTo>
                      <a:pt x="23119" y="112480"/>
                    </a:moveTo>
                    <a:cubicBezTo>
                      <a:pt x="5914" y="112480"/>
                      <a:pt x="0" y="98400"/>
                      <a:pt x="0" y="81208"/>
                    </a:cubicBezTo>
                    <a:lnTo>
                      <a:pt x="0" y="31272"/>
                    </a:lnTo>
                    <a:cubicBezTo>
                      <a:pt x="0" y="14067"/>
                      <a:pt x="14067" y="0"/>
                      <a:pt x="31272" y="0"/>
                    </a:cubicBezTo>
                    <a:lnTo>
                      <a:pt x="76563" y="0"/>
                    </a:lnTo>
                    <a:cubicBezTo>
                      <a:pt x="93779" y="0"/>
                      <a:pt x="107859" y="14079"/>
                      <a:pt x="107859" y="31272"/>
                    </a:cubicBezTo>
                    <a:lnTo>
                      <a:pt x="107859" y="81208"/>
                    </a:lnTo>
                    <a:cubicBezTo>
                      <a:pt x="107859" y="98412"/>
                      <a:pt x="101932" y="112480"/>
                      <a:pt x="84728" y="112480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808" name="Gráfico 10">
                <a:extLst>
                  <a:ext uri="{FF2B5EF4-FFF2-40B4-BE49-F238E27FC236}">
                    <a16:creationId xmlns:a16="http://schemas.microsoft.com/office/drawing/2014/main" id="{761543E6-5C60-2DD8-FD25-4F1CD63F50A0}"/>
                  </a:ext>
                </a:extLst>
              </p:cNvPr>
              <p:cNvGrpSpPr/>
              <p:nvPr/>
            </p:nvGrpSpPr>
            <p:grpSpPr>
              <a:xfrm>
                <a:off x="8220198" y="1148304"/>
                <a:ext cx="62148" cy="163924"/>
                <a:chOff x="8220198" y="1148304"/>
                <a:chExt cx="62148" cy="163924"/>
              </a:xfrm>
            </p:grpSpPr>
            <p:sp>
              <p:nvSpPr>
                <p:cNvPr id="809" name="Forma livre: Forma 808">
                  <a:extLst>
                    <a:ext uri="{FF2B5EF4-FFF2-40B4-BE49-F238E27FC236}">
                      <a16:creationId xmlns:a16="http://schemas.microsoft.com/office/drawing/2014/main" id="{FDBBC7CC-4B44-BA9E-187E-B1398C6614B7}"/>
                    </a:ext>
                  </a:extLst>
                </p:cNvPr>
                <p:cNvSpPr/>
                <p:nvPr/>
              </p:nvSpPr>
              <p:spPr>
                <a:xfrm>
                  <a:off x="8282346" y="1148304"/>
                  <a:ext cx="1197" cy="163924"/>
                </a:xfrm>
                <a:custGeom>
                  <a:avLst/>
                  <a:gdLst>
                    <a:gd name="connsiteX0" fmla="*/ 0 w 1197"/>
                    <a:gd name="connsiteY0" fmla="*/ 0 h 163924"/>
                    <a:gd name="connsiteX1" fmla="*/ 0 w 1197"/>
                    <a:gd name="connsiteY1" fmla="*/ 163925 h 16392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197" h="163924">
                      <a:moveTo>
                        <a:pt x="0" y="0"/>
                      </a:moveTo>
                      <a:lnTo>
                        <a:pt x="0" y="163925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810" name="Forma livre: Forma 809">
                  <a:extLst>
                    <a:ext uri="{FF2B5EF4-FFF2-40B4-BE49-F238E27FC236}">
                      <a16:creationId xmlns:a16="http://schemas.microsoft.com/office/drawing/2014/main" id="{7E3BC0A6-FE89-CE1D-2FA0-4FBCE437CF1F}"/>
                    </a:ext>
                  </a:extLst>
                </p:cNvPr>
                <p:cNvSpPr/>
                <p:nvPr/>
              </p:nvSpPr>
              <p:spPr>
                <a:xfrm>
                  <a:off x="8251266" y="1221419"/>
                  <a:ext cx="1197" cy="90810"/>
                </a:xfrm>
                <a:custGeom>
                  <a:avLst/>
                  <a:gdLst>
                    <a:gd name="connsiteX0" fmla="*/ 0 w 1197"/>
                    <a:gd name="connsiteY0" fmla="*/ 0 h 90810"/>
                    <a:gd name="connsiteX1" fmla="*/ 0 w 1197"/>
                    <a:gd name="connsiteY1" fmla="*/ 90810 h 9081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197" h="90810">
                      <a:moveTo>
                        <a:pt x="0" y="0"/>
                      </a:moveTo>
                      <a:lnTo>
                        <a:pt x="0" y="9081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811" name="Forma livre: Forma 810">
                  <a:extLst>
                    <a:ext uri="{FF2B5EF4-FFF2-40B4-BE49-F238E27FC236}">
                      <a16:creationId xmlns:a16="http://schemas.microsoft.com/office/drawing/2014/main" id="{9549241A-6744-51B8-5E59-8DECB8368B58}"/>
                    </a:ext>
                  </a:extLst>
                </p:cNvPr>
                <p:cNvSpPr/>
                <p:nvPr/>
              </p:nvSpPr>
              <p:spPr>
                <a:xfrm>
                  <a:off x="8220198" y="1148304"/>
                  <a:ext cx="1197" cy="163924"/>
                </a:xfrm>
                <a:custGeom>
                  <a:avLst/>
                  <a:gdLst>
                    <a:gd name="connsiteX0" fmla="*/ 0 w 1197"/>
                    <a:gd name="connsiteY0" fmla="*/ 0 h 163924"/>
                    <a:gd name="connsiteX1" fmla="*/ 0 w 1197"/>
                    <a:gd name="connsiteY1" fmla="*/ 163925 h 16392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197" h="163924">
                      <a:moveTo>
                        <a:pt x="0" y="0"/>
                      </a:moveTo>
                      <a:lnTo>
                        <a:pt x="0" y="163925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grpSp>
          <p:nvGrpSpPr>
            <p:cNvPr id="812" name="Gráfico 10">
              <a:extLst>
                <a:ext uri="{FF2B5EF4-FFF2-40B4-BE49-F238E27FC236}">
                  <a16:creationId xmlns:a16="http://schemas.microsoft.com/office/drawing/2014/main" id="{D9F29C2E-2AAC-505B-E3AF-18DCC07B733E}"/>
                </a:ext>
              </a:extLst>
            </p:cNvPr>
            <p:cNvGrpSpPr/>
            <p:nvPr/>
          </p:nvGrpSpPr>
          <p:grpSpPr>
            <a:xfrm>
              <a:off x="8021409" y="987061"/>
              <a:ext cx="319648" cy="325910"/>
              <a:chOff x="8021409" y="987061"/>
              <a:chExt cx="319648" cy="325910"/>
            </a:xfrm>
            <a:noFill/>
          </p:grpSpPr>
          <p:sp>
            <p:nvSpPr>
              <p:cNvPr id="813" name="Forma livre: Forma 812">
                <a:extLst>
                  <a:ext uri="{FF2B5EF4-FFF2-40B4-BE49-F238E27FC236}">
                    <a16:creationId xmlns:a16="http://schemas.microsoft.com/office/drawing/2014/main" id="{B39B2406-24E5-8386-FC94-E1EDD050123D}"/>
                  </a:ext>
                </a:extLst>
              </p:cNvPr>
              <p:cNvSpPr/>
              <p:nvPr/>
            </p:nvSpPr>
            <p:spPr>
              <a:xfrm>
                <a:off x="8324620" y="1312971"/>
                <a:ext cx="16437" cy="1197"/>
              </a:xfrm>
              <a:custGeom>
                <a:avLst/>
                <a:gdLst>
                  <a:gd name="connsiteX0" fmla="*/ 0 w 16437"/>
                  <a:gd name="connsiteY0" fmla="*/ 0 h 1197"/>
                  <a:gd name="connsiteX1" fmla="*/ 16438 w 16437"/>
                  <a:gd name="connsiteY1" fmla="*/ 0 h 11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6437" h="1197">
                    <a:moveTo>
                      <a:pt x="0" y="0"/>
                    </a:moveTo>
                    <a:lnTo>
                      <a:pt x="16438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814" name="Forma livre: Forma 813">
                <a:extLst>
                  <a:ext uri="{FF2B5EF4-FFF2-40B4-BE49-F238E27FC236}">
                    <a16:creationId xmlns:a16="http://schemas.microsoft.com/office/drawing/2014/main" id="{A7133218-5F32-B978-DCA2-7241C75B6ABA}"/>
                  </a:ext>
                </a:extLst>
              </p:cNvPr>
              <p:cNvSpPr/>
              <p:nvPr/>
            </p:nvSpPr>
            <p:spPr>
              <a:xfrm>
                <a:off x="8021409" y="1312971"/>
                <a:ext cx="282331" cy="1197"/>
              </a:xfrm>
              <a:custGeom>
                <a:avLst/>
                <a:gdLst>
                  <a:gd name="connsiteX0" fmla="*/ 0 w 282331"/>
                  <a:gd name="connsiteY0" fmla="*/ 0 h 1197"/>
                  <a:gd name="connsiteX1" fmla="*/ 282331 w 282331"/>
                  <a:gd name="connsiteY1" fmla="*/ 0 h 11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82331" h="1197">
                    <a:moveTo>
                      <a:pt x="0" y="0"/>
                    </a:moveTo>
                    <a:lnTo>
                      <a:pt x="282331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815" name="Forma livre: Forma 814">
                <a:extLst>
                  <a:ext uri="{FF2B5EF4-FFF2-40B4-BE49-F238E27FC236}">
                    <a16:creationId xmlns:a16="http://schemas.microsoft.com/office/drawing/2014/main" id="{616AA81F-0B26-0291-B2D2-EE63AAAD6F3B}"/>
                  </a:ext>
                </a:extLst>
              </p:cNvPr>
              <p:cNvSpPr/>
              <p:nvPr/>
            </p:nvSpPr>
            <p:spPr>
              <a:xfrm>
                <a:off x="8071466" y="1104413"/>
                <a:ext cx="69152" cy="1197"/>
              </a:xfrm>
              <a:custGeom>
                <a:avLst/>
                <a:gdLst>
                  <a:gd name="connsiteX0" fmla="*/ 0 w 69152"/>
                  <a:gd name="connsiteY0" fmla="*/ 0 h 1197"/>
                  <a:gd name="connsiteX1" fmla="*/ 69152 w 69152"/>
                  <a:gd name="connsiteY1" fmla="*/ 0 h 11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9152" h="1197">
                    <a:moveTo>
                      <a:pt x="0" y="0"/>
                    </a:moveTo>
                    <a:lnTo>
                      <a:pt x="69152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816" name="Forma livre: Forma 815">
                <a:extLst>
                  <a:ext uri="{FF2B5EF4-FFF2-40B4-BE49-F238E27FC236}">
                    <a16:creationId xmlns:a16="http://schemas.microsoft.com/office/drawing/2014/main" id="{B71988D1-4528-6507-FCDE-7A8E88B76924}"/>
                  </a:ext>
                </a:extLst>
              </p:cNvPr>
              <p:cNvSpPr/>
              <p:nvPr/>
            </p:nvSpPr>
            <p:spPr>
              <a:xfrm>
                <a:off x="8071466" y="1139277"/>
                <a:ext cx="69152" cy="1197"/>
              </a:xfrm>
              <a:custGeom>
                <a:avLst/>
                <a:gdLst>
                  <a:gd name="connsiteX0" fmla="*/ 0 w 69152"/>
                  <a:gd name="connsiteY0" fmla="*/ 0 h 1197"/>
                  <a:gd name="connsiteX1" fmla="*/ 69152 w 69152"/>
                  <a:gd name="connsiteY1" fmla="*/ 0 h 11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9152" h="1197">
                    <a:moveTo>
                      <a:pt x="0" y="0"/>
                    </a:moveTo>
                    <a:lnTo>
                      <a:pt x="69152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817" name="Forma livre: Forma 816">
                <a:extLst>
                  <a:ext uri="{FF2B5EF4-FFF2-40B4-BE49-F238E27FC236}">
                    <a16:creationId xmlns:a16="http://schemas.microsoft.com/office/drawing/2014/main" id="{705BA442-86A3-9001-5237-6D54274E0EB9}"/>
                  </a:ext>
                </a:extLst>
              </p:cNvPr>
              <p:cNvSpPr/>
              <p:nvPr/>
            </p:nvSpPr>
            <p:spPr>
              <a:xfrm>
                <a:off x="8071466" y="1174128"/>
                <a:ext cx="69152" cy="1197"/>
              </a:xfrm>
              <a:custGeom>
                <a:avLst/>
                <a:gdLst>
                  <a:gd name="connsiteX0" fmla="*/ 0 w 69152"/>
                  <a:gd name="connsiteY0" fmla="*/ 0 h 1197"/>
                  <a:gd name="connsiteX1" fmla="*/ 69152 w 69152"/>
                  <a:gd name="connsiteY1" fmla="*/ 0 h 11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9152" h="1197">
                    <a:moveTo>
                      <a:pt x="0" y="0"/>
                    </a:moveTo>
                    <a:lnTo>
                      <a:pt x="69152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818" name="Forma livre: Forma 817">
                <a:extLst>
                  <a:ext uri="{FF2B5EF4-FFF2-40B4-BE49-F238E27FC236}">
                    <a16:creationId xmlns:a16="http://schemas.microsoft.com/office/drawing/2014/main" id="{5A7048AA-B240-1711-0965-ECD8CC9A5B64}"/>
                  </a:ext>
                </a:extLst>
              </p:cNvPr>
              <p:cNvSpPr/>
              <p:nvPr/>
            </p:nvSpPr>
            <p:spPr>
              <a:xfrm>
                <a:off x="8071466" y="1243855"/>
                <a:ext cx="69152" cy="1197"/>
              </a:xfrm>
              <a:custGeom>
                <a:avLst/>
                <a:gdLst>
                  <a:gd name="connsiteX0" fmla="*/ 0 w 69152"/>
                  <a:gd name="connsiteY0" fmla="*/ 0 h 1197"/>
                  <a:gd name="connsiteX1" fmla="*/ 69152 w 69152"/>
                  <a:gd name="connsiteY1" fmla="*/ 0 h 11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9152" h="1197">
                    <a:moveTo>
                      <a:pt x="0" y="0"/>
                    </a:moveTo>
                    <a:lnTo>
                      <a:pt x="69152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819" name="Forma livre: Forma 818">
                <a:extLst>
                  <a:ext uri="{FF2B5EF4-FFF2-40B4-BE49-F238E27FC236}">
                    <a16:creationId xmlns:a16="http://schemas.microsoft.com/office/drawing/2014/main" id="{94662B6B-3164-41BE-B086-2C5AD511DEB0}"/>
                  </a:ext>
                </a:extLst>
              </p:cNvPr>
              <p:cNvSpPr/>
              <p:nvPr/>
            </p:nvSpPr>
            <p:spPr>
              <a:xfrm>
                <a:off x="8071466" y="1278718"/>
                <a:ext cx="69152" cy="1197"/>
              </a:xfrm>
              <a:custGeom>
                <a:avLst/>
                <a:gdLst>
                  <a:gd name="connsiteX0" fmla="*/ 0 w 69152"/>
                  <a:gd name="connsiteY0" fmla="*/ 0 h 1197"/>
                  <a:gd name="connsiteX1" fmla="*/ 69152 w 69152"/>
                  <a:gd name="connsiteY1" fmla="*/ 0 h 11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9152" h="1197">
                    <a:moveTo>
                      <a:pt x="0" y="0"/>
                    </a:moveTo>
                    <a:lnTo>
                      <a:pt x="69152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820" name="Forma livre: Forma 819">
                <a:extLst>
                  <a:ext uri="{FF2B5EF4-FFF2-40B4-BE49-F238E27FC236}">
                    <a16:creationId xmlns:a16="http://schemas.microsoft.com/office/drawing/2014/main" id="{A1DAD9D0-7986-C9BC-EF47-7C9EBDAFB86F}"/>
                  </a:ext>
                </a:extLst>
              </p:cNvPr>
              <p:cNvSpPr/>
              <p:nvPr/>
            </p:nvSpPr>
            <p:spPr>
              <a:xfrm>
                <a:off x="8071466" y="1208992"/>
                <a:ext cx="69152" cy="1197"/>
              </a:xfrm>
              <a:custGeom>
                <a:avLst/>
                <a:gdLst>
                  <a:gd name="connsiteX0" fmla="*/ 0 w 69152"/>
                  <a:gd name="connsiteY0" fmla="*/ 0 h 1197"/>
                  <a:gd name="connsiteX1" fmla="*/ 69152 w 69152"/>
                  <a:gd name="connsiteY1" fmla="*/ 0 h 11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9152" h="1197">
                    <a:moveTo>
                      <a:pt x="0" y="0"/>
                    </a:moveTo>
                    <a:lnTo>
                      <a:pt x="69152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821" name="Forma livre: Forma 820">
                <a:extLst>
                  <a:ext uri="{FF2B5EF4-FFF2-40B4-BE49-F238E27FC236}">
                    <a16:creationId xmlns:a16="http://schemas.microsoft.com/office/drawing/2014/main" id="{71456D6A-BEB8-04EB-8EB7-443C0B8F687C}"/>
                  </a:ext>
                </a:extLst>
              </p:cNvPr>
              <p:cNvSpPr/>
              <p:nvPr/>
            </p:nvSpPr>
            <p:spPr>
              <a:xfrm>
                <a:off x="8106030" y="987061"/>
                <a:ext cx="1197" cy="27548"/>
              </a:xfrm>
              <a:custGeom>
                <a:avLst/>
                <a:gdLst>
                  <a:gd name="connsiteX0" fmla="*/ 0 w 1197"/>
                  <a:gd name="connsiteY0" fmla="*/ 0 h 27548"/>
                  <a:gd name="connsiteX1" fmla="*/ 0 w 1197"/>
                  <a:gd name="connsiteY1" fmla="*/ 27548 h 27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7" h="27548">
                    <a:moveTo>
                      <a:pt x="0" y="0"/>
                    </a:moveTo>
                    <a:lnTo>
                      <a:pt x="0" y="27548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822" name="Forma livre: Forma 821">
                <a:extLst>
                  <a:ext uri="{FF2B5EF4-FFF2-40B4-BE49-F238E27FC236}">
                    <a16:creationId xmlns:a16="http://schemas.microsoft.com/office/drawing/2014/main" id="{3414FD49-7726-FACC-3C63-478B3AE841BC}"/>
                  </a:ext>
                </a:extLst>
              </p:cNvPr>
              <p:cNvSpPr/>
              <p:nvPr/>
            </p:nvSpPr>
            <p:spPr>
              <a:xfrm>
                <a:off x="8046623" y="1069550"/>
                <a:ext cx="118837" cy="242427"/>
              </a:xfrm>
              <a:custGeom>
                <a:avLst/>
                <a:gdLst>
                  <a:gd name="connsiteX0" fmla="*/ 0 w 118837"/>
                  <a:gd name="connsiteY0" fmla="*/ 222206 h 242427"/>
                  <a:gd name="connsiteX1" fmla="*/ 0 w 118837"/>
                  <a:gd name="connsiteY1" fmla="*/ 0 h 242427"/>
                  <a:gd name="connsiteX2" fmla="*/ 118837 w 118837"/>
                  <a:gd name="connsiteY2" fmla="*/ 0 h 242427"/>
                  <a:gd name="connsiteX3" fmla="*/ 118837 w 118837"/>
                  <a:gd name="connsiteY3" fmla="*/ 242427 h 2424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8837" h="242427">
                    <a:moveTo>
                      <a:pt x="0" y="222206"/>
                    </a:moveTo>
                    <a:lnTo>
                      <a:pt x="0" y="0"/>
                    </a:lnTo>
                    <a:lnTo>
                      <a:pt x="118837" y="0"/>
                    </a:lnTo>
                    <a:lnTo>
                      <a:pt x="118837" y="242427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823" name="Forma livre: Forma 822">
                <a:extLst>
                  <a:ext uri="{FF2B5EF4-FFF2-40B4-BE49-F238E27FC236}">
                    <a16:creationId xmlns:a16="http://schemas.microsoft.com/office/drawing/2014/main" id="{DEFA1341-86B7-29FD-CE87-A0FDB2112E0C}"/>
                  </a:ext>
                </a:extLst>
              </p:cNvPr>
              <p:cNvSpPr/>
              <p:nvPr/>
            </p:nvSpPr>
            <p:spPr>
              <a:xfrm>
                <a:off x="8067862" y="1040649"/>
                <a:ext cx="76347" cy="28075"/>
              </a:xfrm>
              <a:custGeom>
                <a:avLst/>
                <a:gdLst>
                  <a:gd name="connsiteX0" fmla="*/ 0 w 76347"/>
                  <a:gd name="connsiteY0" fmla="*/ 0 h 28075"/>
                  <a:gd name="connsiteX1" fmla="*/ 76347 w 76347"/>
                  <a:gd name="connsiteY1" fmla="*/ 0 h 28075"/>
                  <a:gd name="connsiteX2" fmla="*/ 76347 w 76347"/>
                  <a:gd name="connsiteY2" fmla="*/ 28075 h 280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76347" h="28075">
                    <a:moveTo>
                      <a:pt x="0" y="0"/>
                    </a:moveTo>
                    <a:lnTo>
                      <a:pt x="76347" y="0"/>
                    </a:lnTo>
                    <a:lnTo>
                      <a:pt x="76347" y="28075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824" name="Forma livre: Forma 823">
                <a:extLst>
                  <a:ext uri="{FF2B5EF4-FFF2-40B4-BE49-F238E27FC236}">
                    <a16:creationId xmlns:a16="http://schemas.microsoft.com/office/drawing/2014/main" id="{13040069-4C31-5807-D0FE-ABAE7BD4452B}"/>
                  </a:ext>
                </a:extLst>
              </p:cNvPr>
              <p:cNvSpPr/>
              <p:nvPr/>
            </p:nvSpPr>
            <p:spPr>
              <a:xfrm>
                <a:off x="8084384" y="1015507"/>
                <a:ext cx="43303" cy="24483"/>
              </a:xfrm>
              <a:custGeom>
                <a:avLst/>
                <a:gdLst>
                  <a:gd name="connsiteX0" fmla="*/ 0 w 43303"/>
                  <a:gd name="connsiteY0" fmla="*/ 0 h 24483"/>
                  <a:gd name="connsiteX1" fmla="*/ 43304 w 43303"/>
                  <a:gd name="connsiteY1" fmla="*/ 0 h 24483"/>
                  <a:gd name="connsiteX2" fmla="*/ 43304 w 43303"/>
                  <a:gd name="connsiteY2" fmla="*/ 24483 h 24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43303" h="24483">
                    <a:moveTo>
                      <a:pt x="0" y="0"/>
                    </a:moveTo>
                    <a:lnTo>
                      <a:pt x="43304" y="0"/>
                    </a:lnTo>
                    <a:lnTo>
                      <a:pt x="43304" y="24483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825" name="Gráfico 10">
            <a:extLst>
              <a:ext uri="{FF2B5EF4-FFF2-40B4-BE49-F238E27FC236}">
                <a16:creationId xmlns:a16="http://schemas.microsoft.com/office/drawing/2014/main" id="{63994B53-4BC5-C57C-9FE4-0B6F8C229F67}"/>
              </a:ext>
            </a:extLst>
          </p:cNvPr>
          <p:cNvGrpSpPr/>
          <p:nvPr/>
        </p:nvGrpSpPr>
        <p:grpSpPr>
          <a:xfrm>
            <a:off x="8691595" y="3085030"/>
            <a:ext cx="223092" cy="348957"/>
            <a:chOff x="8691595" y="3085030"/>
            <a:chExt cx="223092" cy="348957"/>
          </a:xfrm>
          <a:noFill/>
        </p:grpSpPr>
        <p:grpSp>
          <p:nvGrpSpPr>
            <p:cNvPr id="826" name="Gráfico 10">
              <a:extLst>
                <a:ext uri="{FF2B5EF4-FFF2-40B4-BE49-F238E27FC236}">
                  <a16:creationId xmlns:a16="http://schemas.microsoft.com/office/drawing/2014/main" id="{D6122CFA-0C0B-181B-66DD-70F5CA102FB3}"/>
                </a:ext>
              </a:extLst>
            </p:cNvPr>
            <p:cNvGrpSpPr/>
            <p:nvPr/>
          </p:nvGrpSpPr>
          <p:grpSpPr>
            <a:xfrm>
              <a:off x="8752029" y="3085030"/>
              <a:ext cx="103208" cy="299882"/>
              <a:chOff x="8752029" y="3085030"/>
              <a:chExt cx="103208" cy="299882"/>
            </a:xfrm>
            <a:noFill/>
          </p:grpSpPr>
          <p:sp>
            <p:nvSpPr>
              <p:cNvPr id="827" name="Forma livre: Forma 826">
                <a:extLst>
                  <a:ext uri="{FF2B5EF4-FFF2-40B4-BE49-F238E27FC236}">
                    <a16:creationId xmlns:a16="http://schemas.microsoft.com/office/drawing/2014/main" id="{D6D5AE45-1B7A-C902-734A-5FD5881A56A7}"/>
                  </a:ext>
                </a:extLst>
              </p:cNvPr>
              <p:cNvSpPr/>
              <p:nvPr/>
            </p:nvSpPr>
            <p:spPr>
              <a:xfrm>
                <a:off x="8777293" y="3085030"/>
                <a:ext cx="52642" cy="52642"/>
              </a:xfrm>
              <a:custGeom>
                <a:avLst/>
                <a:gdLst>
                  <a:gd name="connsiteX0" fmla="*/ 26327 w 52642"/>
                  <a:gd name="connsiteY0" fmla="*/ 0 h 52642"/>
                  <a:gd name="connsiteX1" fmla="*/ 52642 w 52642"/>
                  <a:gd name="connsiteY1" fmla="*/ 26315 h 52642"/>
                  <a:gd name="connsiteX2" fmla="*/ 26327 w 52642"/>
                  <a:gd name="connsiteY2" fmla="*/ 52642 h 52642"/>
                  <a:gd name="connsiteX3" fmla="*/ 0 w 52642"/>
                  <a:gd name="connsiteY3" fmla="*/ 26315 h 52642"/>
                  <a:gd name="connsiteX4" fmla="*/ 26327 w 52642"/>
                  <a:gd name="connsiteY4" fmla="*/ 0 h 526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2642" h="52642">
                    <a:moveTo>
                      <a:pt x="26327" y="0"/>
                    </a:moveTo>
                    <a:cubicBezTo>
                      <a:pt x="40862" y="0"/>
                      <a:pt x="52642" y="11781"/>
                      <a:pt x="52642" y="26315"/>
                    </a:cubicBezTo>
                    <a:cubicBezTo>
                      <a:pt x="52642" y="40850"/>
                      <a:pt x="40862" y="52642"/>
                      <a:pt x="26327" y="52642"/>
                    </a:cubicBezTo>
                    <a:cubicBezTo>
                      <a:pt x="11793" y="52642"/>
                      <a:pt x="0" y="40862"/>
                      <a:pt x="0" y="26315"/>
                    </a:cubicBezTo>
                    <a:cubicBezTo>
                      <a:pt x="0" y="11769"/>
                      <a:pt x="11781" y="0"/>
                      <a:pt x="26327" y="0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828" name="Forma livre: Forma 827">
                <a:extLst>
                  <a:ext uri="{FF2B5EF4-FFF2-40B4-BE49-F238E27FC236}">
                    <a16:creationId xmlns:a16="http://schemas.microsoft.com/office/drawing/2014/main" id="{39BDB199-DCF4-4CB2-22C7-1B676A7D1CAF}"/>
                  </a:ext>
                </a:extLst>
              </p:cNvPr>
              <p:cNvSpPr/>
              <p:nvPr/>
            </p:nvSpPr>
            <p:spPr>
              <a:xfrm>
                <a:off x="8752029" y="3163293"/>
                <a:ext cx="103208" cy="221619"/>
              </a:xfrm>
              <a:custGeom>
                <a:avLst/>
                <a:gdLst>
                  <a:gd name="connsiteX0" fmla="*/ 80445 w 103208"/>
                  <a:gd name="connsiteY0" fmla="*/ 221620 h 221619"/>
                  <a:gd name="connsiteX1" fmla="*/ 82947 w 103208"/>
                  <a:gd name="connsiteY1" fmla="*/ 118610 h 221619"/>
                  <a:gd name="connsiteX2" fmla="*/ 103144 w 103208"/>
                  <a:gd name="connsiteY2" fmla="*/ 96880 h 221619"/>
                  <a:gd name="connsiteX3" fmla="*/ 95255 w 103208"/>
                  <a:gd name="connsiteY3" fmla="*/ 18485 h 221619"/>
                  <a:gd name="connsiteX4" fmla="*/ 74818 w 103208"/>
                  <a:gd name="connsiteY4" fmla="*/ 0 h 221619"/>
                  <a:gd name="connsiteX5" fmla="*/ 28401 w 103208"/>
                  <a:gd name="connsiteY5" fmla="*/ 0 h 221619"/>
                  <a:gd name="connsiteX6" fmla="*/ 7964 w 103208"/>
                  <a:gd name="connsiteY6" fmla="*/ 18485 h 221619"/>
                  <a:gd name="connsiteX7" fmla="*/ 63 w 103208"/>
                  <a:gd name="connsiteY7" fmla="*/ 96880 h 221619"/>
                  <a:gd name="connsiteX8" fmla="*/ 20272 w 103208"/>
                  <a:gd name="connsiteY8" fmla="*/ 118610 h 221619"/>
                  <a:gd name="connsiteX9" fmla="*/ 22774 w 103208"/>
                  <a:gd name="connsiteY9" fmla="*/ 221620 h 2216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03208" h="221619">
                    <a:moveTo>
                      <a:pt x="80445" y="221620"/>
                    </a:moveTo>
                    <a:lnTo>
                      <a:pt x="82947" y="118610"/>
                    </a:lnTo>
                    <a:cubicBezTo>
                      <a:pt x="92621" y="115126"/>
                      <a:pt x="104174" y="107045"/>
                      <a:pt x="103144" y="96880"/>
                    </a:cubicBezTo>
                    <a:lnTo>
                      <a:pt x="95255" y="18485"/>
                    </a:lnTo>
                    <a:cubicBezTo>
                      <a:pt x="94237" y="8321"/>
                      <a:pt x="85030" y="0"/>
                      <a:pt x="74818" y="0"/>
                    </a:cubicBezTo>
                    <a:lnTo>
                      <a:pt x="28401" y="0"/>
                    </a:lnTo>
                    <a:cubicBezTo>
                      <a:pt x="18189" y="0"/>
                      <a:pt x="8982" y="8321"/>
                      <a:pt x="7964" y="18485"/>
                    </a:cubicBezTo>
                    <a:lnTo>
                      <a:pt x="63" y="96880"/>
                    </a:lnTo>
                    <a:cubicBezTo>
                      <a:pt x="-955" y="107057"/>
                      <a:pt x="10598" y="115126"/>
                      <a:pt x="20272" y="118610"/>
                    </a:cubicBezTo>
                    <a:lnTo>
                      <a:pt x="22774" y="221620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829" name="Gráfico 10">
              <a:extLst>
                <a:ext uri="{FF2B5EF4-FFF2-40B4-BE49-F238E27FC236}">
                  <a16:creationId xmlns:a16="http://schemas.microsoft.com/office/drawing/2014/main" id="{69DED61B-4498-C710-6657-079841030B39}"/>
                </a:ext>
              </a:extLst>
            </p:cNvPr>
            <p:cNvGrpSpPr/>
            <p:nvPr/>
          </p:nvGrpSpPr>
          <p:grpSpPr>
            <a:xfrm>
              <a:off x="8867409" y="3293276"/>
              <a:ext cx="47278" cy="47410"/>
              <a:chOff x="8867409" y="3293276"/>
              <a:chExt cx="47278" cy="47410"/>
            </a:xfrm>
            <a:noFill/>
          </p:grpSpPr>
          <p:sp>
            <p:nvSpPr>
              <p:cNvPr id="830" name="Forma livre: Forma 829">
                <a:extLst>
                  <a:ext uri="{FF2B5EF4-FFF2-40B4-BE49-F238E27FC236}">
                    <a16:creationId xmlns:a16="http://schemas.microsoft.com/office/drawing/2014/main" id="{D632F682-94A9-1062-D55A-623E43045213}"/>
                  </a:ext>
                </a:extLst>
              </p:cNvPr>
              <p:cNvSpPr/>
              <p:nvPr/>
            </p:nvSpPr>
            <p:spPr>
              <a:xfrm>
                <a:off x="8867409" y="3293576"/>
                <a:ext cx="47123" cy="47111"/>
              </a:xfrm>
              <a:custGeom>
                <a:avLst/>
                <a:gdLst>
                  <a:gd name="connsiteX0" fmla="*/ 47123 w 47123"/>
                  <a:gd name="connsiteY0" fmla="*/ 0 h 47111"/>
                  <a:gd name="connsiteX1" fmla="*/ 0 w 47123"/>
                  <a:gd name="connsiteY1" fmla="*/ 47111 h 471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123" h="47111">
                    <a:moveTo>
                      <a:pt x="47123" y="0"/>
                    </a:moveTo>
                    <a:lnTo>
                      <a:pt x="0" y="47111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831" name="Forma livre: Forma 830">
                <a:extLst>
                  <a:ext uri="{FF2B5EF4-FFF2-40B4-BE49-F238E27FC236}">
                    <a16:creationId xmlns:a16="http://schemas.microsoft.com/office/drawing/2014/main" id="{742AA828-4C90-0217-EC4B-3DA92DF5F81D}"/>
                  </a:ext>
                </a:extLst>
              </p:cNvPr>
              <p:cNvSpPr/>
              <p:nvPr/>
            </p:nvSpPr>
            <p:spPr>
              <a:xfrm>
                <a:off x="8884721" y="3293276"/>
                <a:ext cx="29966" cy="30086"/>
              </a:xfrm>
              <a:custGeom>
                <a:avLst/>
                <a:gdLst>
                  <a:gd name="connsiteX0" fmla="*/ 29967 w 29966"/>
                  <a:gd name="connsiteY0" fmla="*/ 30086 h 30086"/>
                  <a:gd name="connsiteX1" fmla="*/ 29967 w 29966"/>
                  <a:gd name="connsiteY1" fmla="*/ 0 h 30086"/>
                  <a:gd name="connsiteX2" fmla="*/ 0 w 29966"/>
                  <a:gd name="connsiteY2" fmla="*/ 0 h 300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9966" h="30086">
                    <a:moveTo>
                      <a:pt x="29967" y="30086"/>
                    </a:moveTo>
                    <a:lnTo>
                      <a:pt x="29967" y="0"/>
                    </a:lnTo>
                    <a:lnTo>
                      <a:pt x="0" y="0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832" name="Gráfico 10">
              <a:extLst>
                <a:ext uri="{FF2B5EF4-FFF2-40B4-BE49-F238E27FC236}">
                  <a16:creationId xmlns:a16="http://schemas.microsoft.com/office/drawing/2014/main" id="{ECD9AF11-45F9-25BD-152A-6A8A93E9A2BC}"/>
                </a:ext>
              </a:extLst>
            </p:cNvPr>
            <p:cNvGrpSpPr/>
            <p:nvPr/>
          </p:nvGrpSpPr>
          <p:grpSpPr>
            <a:xfrm>
              <a:off x="8867409" y="3386588"/>
              <a:ext cx="47278" cy="47398"/>
              <a:chOff x="8867409" y="3386588"/>
              <a:chExt cx="47278" cy="47398"/>
            </a:xfrm>
            <a:noFill/>
          </p:grpSpPr>
          <p:sp>
            <p:nvSpPr>
              <p:cNvPr id="833" name="Forma livre: Forma 832">
                <a:extLst>
                  <a:ext uri="{FF2B5EF4-FFF2-40B4-BE49-F238E27FC236}">
                    <a16:creationId xmlns:a16="http://schemas.microsoft.com/office/drawing/2014/main" id="{702EF754-1927-62BF-5EEC-33331961006C}"/>
                  </a:ext>
                </a:extLst>
              </p:cNvPr>
              <p:cNvSpPr/>
              <p:nvPr/>
            </p:nvSpPr>
            <p:spPr>
              <a:xfrm>
                <a:off x="8867409" y="3386588"/>
                <a:ext cx="47123" cy="47099"/>
              </a:xfrm>
              <a:custGeom>
                <a:avLst/>
                <a:gdLst>
                  <a:gd name="connsiteX0" fmla="*/ 47123 w 47123"/>
                  <a:gd name="connsiteY0" fmla="*/ 47099 h 47099"/>
                  <a:gd name="connsiteX1" fmla="*/ 0 w 47123"/>
                  <a:gd name="connsiteY1" fmla="*/ 0 h 470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123" h="47099">
                    <a:moveTo>
                      <a:pt x="47123" y="47099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834" name="Forma livre: Forma 833">
                <a:extLst>
                  <a:ext uri="{FF2B5EF4-FFF2-40B4-BE49-F238E27FC236}">
                    <a16:creationId xmlns:a16="http://schemas.microsoft.com/office/drawing/2014/main" id="{05716E94-1A1A-2AB4-6B84-264226022146}"/>
                  </a:ext>
                </a:extLst>
              </p:cNvPr>
              <p:cNvSpPr/>
              <p:nvPr/>
            </p:nvSpPr>
            <p:spPr>
              <a:xfrm>
                <a:off x="8884721" y="3403912"/>
                <a:ext cx="29966" cy="30074"/>
              </a:xfrm>
              <a:custGeom>
                <a:avLst/>
                <a:gdLst>
                  <a:gd name="connsiteX0" fmla="*/ 29967 w 29966"/>
                  <a:gd name="connsiteY0" fmla="*/ 0 h 30074"/>
                  <a:gd name="connsiteX1" fmla="*/ 29967 w 29966"/>
                  <a:gd name="connsiteY1" fmla="*/ 30075 h 30074"/>
                  <a:gd name="connsiteX2" fmla="*/ 0 w 29966"/>
                  <a:gd name="connsiteY2" fmla="*/ 30075 h 300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9966" h="30074">
                    <a:moveTo>
                      <a:pt x="29967" y="0"/>
                    </a:moveTo>
                    <a:lnTo>
                      <a:pt x="29967" y="30075"/>
                    </a:lnTo>
                    <a:lnTo>
                      <a:pt x="0" y="30075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835" name="Gráfico 10">
              <a:extLst>
                <a:ext uri="{FF2B5EF4-FFF2-40B4-BE49-F238E27FC236}">
                  <a16:creationId xmlns:a16="http://schemas.microsoft.com/office/drawing/2014/main" id="{C94969A4-A4E5-3286-5D82-28F6A4A23F3E}"/>
                </a:ext>
              </a:extLst>
            </p:cNvPr>
            <p:cNvGrpSpPr/>
            <p:nvPr/>
          </p:nvGrpSpPr>
          <p:grpSpPr>
            <a:xfrm>
              <a:off x="8691595" y="3293276"/>
              <a:ext cx="47278" cy="47410"/>
              <a:chOff x="8691595" y="3293276"/>
              <a:chExt cx="47278" cy="47410"/>
            </a:xfrm>
            <a:noFill/>
          </p:grpSpPr>
          <p:sp>
            <p:nvSpPr>
              <p:cNvPr id="836" name="Forma livre: Forma 835">
                <a:extLst>
                  <a:ext uri="{FF2B5EF4-FFF2-40B4-BE49-F238E27FC236}">
                    <a16:creationId xmlns:a16="http://schemas.microsoft.com/office/drawing/2014/main" id="{E6238977-9F8F-5300-472B-E2704D2D4C46}"/>
                  </a:ext>
                </a:extLst>
              </p:cNvPr>
              <p:cNvSpPr/>
              <p:nvPr/>
            </p:nvSpPr>
            <p:spPr>
              <a:xfrm>
                <a:off x="8691751" y="3293576"/>
                <a:ext cx="47123" cy="47111"/>
              </a:xfrm>
              <a:custGeom>
                <a:avLst/>
                <a:gdLst>
                  <a:gd name="connsiteX0" fmla="*/ 0 w 47123"/>
                  <a:gd name="connsiteY0" fmla="*/ 0 h 47111"/>
                  <a:gd name="connsiteX1" fmla="*/ 47123 w 47123"/>
                  <a:gd name="connsiteY1" fmla="*/ 47111 h 471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123" h="47111">
                    <a:moveTo>
                      <a:pt x="0" y="0"/>
                    </a:moveTo>
                    <a:lnTo>
                      <a:pt x="47123" y="47111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837" name="Forma livre: Forma 836">
                <a:extLst>
                  <a:ext uri="{FF2B5EF4-FFF2-40B4-BE49-F238E27FC236}">
                    <a16:creationId xmlns:a16="http://schemas.microsoft.com/office/drawing/2014/main" id="{D4F693BB-8B7F-56A5-FA05-8DE4151874FB}"/>
                  </a:ext>
                </a:extLst>
              </p:cNvPr>
              <p:cNvSpPr/>
              <p:nvPr/>
            </p:nvSpPr>
            <p:spPr>
              <a:xfrm>
                <a:off x="8691595" y="3293276"/>
                <a:ext cx="29966" cy="30086"/>
              </a:xfrm>
              <a:custGeom>
                <a:avLst/>
                <a:gdLst>
                  <a:gd name="connsiteX0" fmla="*/ 0 w 29966"/>
                  <a:gd name="connsiteY0" fmla="*/ 30086 h 30086"/>
                  <a:gd name="connsiteX1" fmla="*/ 0 w 29966"/>
                  <a:gd name="connsiteY1" fmla="*/ 0 h 30086"/>
                  <a:gd name="connsiteX2" fmla="*/ 29967 w 29966"/>
                  <a:gd name="connsiteY2" fmla="*/ 0 h 300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9966" h="30086">
                    <a:moveTo>
                      <a:pt x="0" y="30086"/>
                    </a:moveTo>
                    <a:lnTo>
                      <a:pt x="0" y="0"/>
                    </a:lnTo>
                    <a:lnTo>
                      <a:pt x="29967" y="0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838" name="Gráfico 10">
              <a:extLst>
                <a:ext uri="{FF2B5EF4-FFF2-40B4-BE49-F238E27FC236}">
                  <a16:creationId xmlns:a16="http://schemas.microsoft.com/office/drawing/2014/main" id="{DDA66C41-1629-686D-BEA5-6C9AB16BCFF8}"/>
                </a:ext>
              </a:extLst>
            </p:cNvPr>
            <p:cNvGrpSpPr/>
            <p:nvPr/>
          </p:nvGrpSpPr>
          <p:grpSpPr>
            <a:xfrm>
              <a:off x="8691595" y="3386588"/>
              <a:ext cx="47278" cy="47398"/>
              <a:chOff x="8691595" y="3386588"/>
              <a:chExt cx="47278" cy="47398"/>
            </a:xfrm>
            <a:noFill/>
          </p:grpSpPr>
          <p:sp>
            <p:nvSpPr>
              <p:cNvPr id="839" name="Forma livre: Forma 838">
                <a:extLst>
                  <a:ext uri="{FF2B5EF4-FFF2-40B4-BE49-F238E27FC236}">
                    <a16:creationId xmlns:a16="http://schemas.microsoft.com/office/drawing/2014/main" id="{2C351B35-F3B2-FBF0-27FE-F68C79A43860}"/>
                  </a:ext>
                </a:extLst>
              </p:cNvPr>
              <p:cNvSpPr/>
              <p:nvPr/>
            </p:nvSpPr>
            <p:spPr>
              <a:xfrm>
                <a:off x="8691751" y="3386588"/>
                <a:ext cx="47123" cy="47099"/>
              </a:xfrm>
              <a:custGeom>
                <a:avLst/>
                <a:gdLst>
                  <a:gd name="connsiteX0" fmla="*/ 0 w 47123"/>
                  <a:gd name="connsiteY0" fmla="*/ 47099 h 47099"/>
                  <a:gd name="connsiteX1" fmla="*/ 47123 w 47123"/>
                  <a:gd name="connsiteY1" fmla="*/ 0 h 470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123" h="47099">
                    <a:moveTo>
                      <a:pt x="0" y="47099"/>
                    </a:moveTo>
                    <a:lnTo>
                      <a:pt x="47123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840" name="Forma livre: Forma 839">
                <a:extLst>
                  <a:ext uri="{FF2B5EF4-FFF2-40B4-BE49-F238E27FC236}">
                    <a16:creationId xmlns:a16="http://schemas.microsoft.com/office/drawing/2014/main" id="{57AD6BC0-368A-25A1-19CD-8E37BA8FD54D}"/>
                  </a:ext>
                </a:extLst>
              </p:cNvPr>
              <p:cNvSpPr/>
              <p:nvPr/>
            </p:nvSpPr>
            <p:spPr>
              <a:xfrm>
                <a:off x="8691595" y="3403912"/>
                <a:ext cx="29966" cy="30074"/>
              </a:xfrm>
              <a:custGeom>
                <a:avLst/>
                <a:gdLst>
                  <a:gd name="connsiteX0" fmla="*/ 0 w 29966"/>
                  <a:gd name="connsiteY0" fmla="*/ 0 h 30074"/>
                  <a:gd name="connsiteX1" fmla="*/ 0 w 29966"/>
                  <a:gd name="connsiteY1" fmla="*/ 30075 h 30074"/>
                  <a:gd name="connsiteX2" fmla="*/ 29967 w 29966"/>
                  <a:gd name="connsiteY2" fmla="*/ 30075 h 300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9966" h="30074">
                    <a:moveTo>
                      <a:pt x="0" y="0"/>
                    </a:moveTo>
                    <a:lnTo>
                      <a:pt x="0" y="30075"/>
                    </a:lnTo>
                    <a:lnTo>
                      <a:pt x="29967" y="30075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841" name="Gráfico 10">
            <a:extLst>
              <a:ext uri="{FF2B5EF4-FFF2-40B4-BE49-F238E27FC236}">
                <a16:creationId xmlns:a16="http://schemas.microsoft.com/office/drawing/2014/main" id="{C2A225AB-47C2-62D8-6924-A7BDB67F7467}"/>
              </a:ext>
            </a:extLst>
          </p:cNvPr>
          <p:cNvGrpSpPr/>
          <p:nvPr/>
        </p:nvGrpSpPr>
        <p:grpSpPr>
          <a:xfrm>
            <a:off x="9287637" y="3117104"/>
            <a:ext cx="274812" cy="284821"/>
            <a:chOff x="9287637" y="3117104"/>
            <a:chExt cx="274812" cy="284821"/>
          </a:xfrm>
          <a:noFill/>
        </p:grpSpPr>
        <p:grpSp>
          <p:nvGrpSpPr>
            <p:cNvPr id="842" name="Gráfico 10">
              <a:extLst>
                <a:ext uri="{FF2B5EF4-FFF2-40B4-BE49-F238E27FC236}">
                  <a16:creationId xmlns:a16="http://schemas.microsoft.com/office/drawing/2014/main" id="{67A7DEAA-6E07-3B0B-F8E1-F90BF59BAEB4}"/>
                </a:ext>
              </a:extLst>
            </p:cNvPr>
            <p:cNvGrpSpPr/>
            <p:nvPr/>
          </p:nvGrpSpPr>
          <p:grpSpPr>
            <a:xfrm>
              <a:off x="9287637" y="3181586"/>
              <a:ext cx="274812" cy="220338"/>
              <a:chOff x="9287637" y="3181586"/>
              <a:chExt cx="274812" cy="220338"/>
            </a:xfrm>
            <a:noFill/>
          </p:grpSpPr>
          <p:grpSp>
            <p:nvGrpSpPr>
              <p:cNvPr id="843" name="Gráfico 10">
                <a:extLst>
                  <a:ext uri="{FF2B5EF4-FFF2-40B4-BE49-F238E27FC236}">
                    <a16:creationId xmlns:a16="http://schemas.microsoft.com/office/drawing/2014/main" id="{FA1598A2-1DBE-7737-20B9-3C1361BEC135}"/>
                  </a:ext>
                </a:extLst>
              </p:cNvPr>
              <p:cNvGrpSpPr/>
              <p:nvPr/>
            </p:nvGrpSpPr>
            <p:grpSpPr>
              <a:xfrm>
                <a:off x="9369839" y="3181586"/>
                <a:ext cx="110408" cy="220338"/>
                <a:chOff x="9369839" y="3181586"/>
                <a:chExt cx="110408" cy="220338"/>
              </a:xfrm>
              <a:noFill/>
            </p:grpSpPr>
            <p:sp>
              <p:nvSpPr>
                <p:cNvPr id="844" name="Forma livre: Forma 843">
                  <a:extLst>
                    <a:ext uri="{FF2B5EF4-FFF2-40B4-BE49-F238E27FC236}">
                      <a16:creationId xmlns:a16="http://schemas.microsoft.com/office/drawing/2014/main" id="{9BEDE3E4-B506-3394-CFF9-E398D5B8FE79}"/>
                    </a:ext>
                  </a:extLst>
                </p:cNvPr>
                <p:cNvSpPr/>
                <p:nvPr/>
              </p:nvSpPr>
              <p:spPr>
                <a:xfrm>
                  <a:off x="9400919" y="3181586"/>
                  <a:ext cx="48224" cy="48248"/>
                </a:xfrm>
                <a:custGeom>
                  <a:avLst/>
                  <a:gdLst>
                    <a:gd name="connsiteX0" fmla="*/ 48225 w 48224"/>
                    <a:gd name="connsiteY0" fmla="*/ 24124 h 48248"/>
                    <a:gd name="connsiteX1" fmla="*/ 24124 w 48224"/>
                    <a:gd name="connsiteY1" fmla="*/ 48248 h 48248"/>
                    <a:gd name="connsiteX2" fmla="*/ 0 w 48224"/>
                    <a:gd name="connsiteY2" fmla="*/ 24124 h 48248"/>
                    <a:gd name="connsiteX3" fmla="*/ 24124 w 48224"/>
                    <a:gd name="connsiteY3" fmla="*/ 0 h 48248"/>
                    <a:gd name="connsiteX4" fmla="*/ 48225 w 48224"/>
                    <a:gd name="connsiteY4" fmla="*/ 24124 h 482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48224" h="48248">
                      <a:moveTo>
                        <a:pt x="48225" y="24124"/>
                      </a:moveTo>
                      <a:cubicBezTo>
                        <a:pt x="48225" y="37437"/>
                        <a:pt x="37425" y="48248"/>
                        <a:pt x="24124" y="48248"/>
                      </a:cubicBezTo>
                      <a:cubicBezTo>
                        <a:pt x="10823" y="48248"/>
                        <a:pt x="0" y="37437"/>
                        <a:pt x="0" y="24124"/>
                      </a:cubicBezTo>
                      <a:cubicBezTo>
                        <a:pt x="0" y="10811"/>
                        <a:pt x="10799" y="0"/>
                        <a:pt x="24124" y="0"/>
                      </a:cubicBezTo>
                      <a:cubicBezTo>
                        <a:pt x="37449" y="0"/>
                        <a:pt x="48225" y="10799"/>
                        <a:pt x="48225" y="24124"/>
                      </a:cubicBezTo>
                      <a:close/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845" name="Forma livre: Forma 844">
                  <a:extLst>
                    <a:ext uri="{FF2B5EF4-FFF2-40B4-BE49-F238E27FC236}">
                      <a16:creationId xmlns:a16="http://schemas.microsoft.com/office/drawing/2014/main" id="{2EDA0D4E-AD72-500E-EB1C-78F6CDF313FD}"/>
                    </a:ext>
                  </a:extLst>
                </p:cNvPr>
                <p:cNvSpPr/>
                <p:nvPr/>
              </p:nvSpPr>
              <p:spPr>
                <a:xfrm>
                  <a:off x="9369839" y="3254366"/>
                  <a:ext cx="110408" cy="110935"/>
                </a:xfrm>
                <a:custGeom>
                  <a:avLst/>
                  <a:gdLst>
                    <a:gd name="connsiteX0" fmla="*/ 23669 w 110408"/>
                    <a:gd name="connsiteY0" fmla="*/ 110935 h 110935"/>
                    <a:gd name="connsiteX1" fmla="*/ 0 w 110408"/>
                    <a:gd name="connsiteY1" fmla="*/ 78909 h 110935"/>
                    <a:gd name="connsiteX2" fmla="*/ 0 w 110408"/>
                    <a:gd name="connsiteY2" fmla="*/ 32026 h 110935"/>
                    <a:gd name="connsiteX3" fmla="*/ 32014 w 110408"/>
                    <a:gd name="connsiteY3" fmla="*/ 0 h 110935"/>
                    <a:gd name="connsiteX4" fmla="*/ 78383 w 110408"/>
                    <a:gd name="connsiteY4" fmla="*/ 0 h 110935"/>
                    <a:gd name="connsiteX5" fmla="*/ 110409 w 110408"/>
                    <a:gd name="connsiteY5" fmla="*/ 32026 h 110935"/>
                    <a:gd name="connsiteX6" fmla="*/ 110409 w 110408"/>
                    <a:gd name="connsiteY6" fmla="*/ 78909 h 110935"/>
                    <a:gd name="connsiteX7" fmla="*/ 86727 w 110408"/>
                    <a:gd name="connsiteY7" fmla="*/ 110935 h 11093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0408" h="110935">
                      <a:moveTo>
                        <a:pt x="23669" y="110935"/>
                      </a:moveTo>
                      <a:cubicBezTo>
                        <a:pt x="6058" y="110935"/>
                        <a:pt x="0" y="96521"/>
                        <a:pt x="0" y="78909"/>
                      </a:cubicBezTo>
                      <a:lnTo>
                        <a:pt x="0" y="32026"/>
                      </a:lnTo>
                      <a:cubicBezTo>
                        <a:pt x="0" y="14415"/>
                        <a:pt x="14403" y="0"/>
                        <a:pt x="32014" y="0"/>
                      </a:cubicBezTo>
                      <a:lnTo>
                        <a:pt x="78383" y="0"/>
                      </a:lnTo>
                      <a:cubicBezTo>
                        <a:pt x="95994" y="0"/>
                        <a:pt x="110409" y="14415"/>
                        <a:pt x="110409" y="32026"/>
                      </a:cubicBezTo>
                      <a:lnTo>
                        <a:pt x="110409" y="78909"/>
                      </a:lnTo>
                      <a:cubicBezTo>
                        <a:pt x="110409" y="96521"/>
                        <a:pt x="104351" y="110935"/>
                        <a:pt x="86727" y="110935"/>
                      </a:cubicBez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grpSp>
              <p:nvGrpSpPr>
                <p:cNvPr id="846" name="Gráfico 10">
                  <a:extLst>
                    <a:ext uri="{FF2B5EF4-FFF2-40B4-BE49-F238E27FC236}">
                      <a16:creationId xmlns:a16="http://schemas.microsoft.com/office/drawing/2014/main" id="{F1FA9293-4254-AB30-34C7-76BC96D5B108}"/>
                    </a:ext>
                  </a:extLst>
                </p:cNvPr>
                <p:cNvGrpSpPr/>
                <p:nvPr/>
              </p:nvGrpSpPr>
              <p:grpSpPr>
                <a:xfrm>
                  <a:off x="9393221" y="3296090"/>
                  <a:ext cx="63632" cy="105835"/>
                  <a:chOff x="9393221" y="3296090"/>
                  <a:chExt cx="63632" cy="105835"/>
                </a:xfrm>
              </p:grpSpPr>
              <p:sp>
                <p:nvSpPr>
                  <p:cNvPr id="847" name="Forma livre: Forma 846">
                    <a:extLst>
                      <a:ext uri="{FF2B5EF4-FFF2-40B4-BE49-F238E27FC236}">
                        <a16:creationId xmlns:a16="http://schemas.microsoft.com/office/drawing/2014/main" id="{85D5EB19-E5AE-87B4-3216-8582436C7A85}"/>
                      </a:ext>
                    </a:extLst>
                  </p:cNvPr>
                  <p:cNvSpPr/>
                  <p:nvPr/>
                </p:nvSpPr>
                <p:spPr>
                  <a:xfrm>
                    <a:off x="9456854" y="3296090"/>
                    <a:ext cx="1197" cy="105835"/>
                  </a:xfrm>
                  <a:custGeom>
                    <a:avLst/>
                    <a:gdLst>
                      <a:gd name="connsiteX0" fmla="*/ 0 w 1197"/>
                      <a:gd name="connsiteY0" fmla="*/ 0 h 105835"/>
                      <a:gd name="connsiteX1" fmla="*/ 0 w 1197"/>
                      <a:gd name="connsiteY1" fmla="*/ 105835 h 10583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197" h="105835">
                        <a:moveTo>
                          <a:pt x="0" y="0"/>
                        </a:moveTo>
                        <a:lnTo>
                          <a:pt x="0" y="105835"/>
                        </a:lnTo>
                      </a:path>
                    </a:pathLst>
                  </a:custGeom>
                  <a:ln w="6350" cap="flat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848" name="Forma livre: Forma 847">
                    <a:extLst>
                      <a:ext uri="{FF2B5EF4-FFF2-40B4-BE49-F238E27FC236}">
                        <a16:creationId xmlns:a16="http://schemas.microsoft.com/office/drawing/2014/main" id="{315457AF-733F-F608-4F5F-AF27022E6FA7}"/>
                      </a:ext>
                    </a:extLst>
                  </p:cNvPr>
                  <p:cNvSpPr/>
                  <p:nvPr/>
                </p:nvSpPr>
                <p:spPr>
                  <a:xfrm>
                    <a:off x="9393221" y="3296090"/>
                    <a:ext cx="1197" cy="105835"/>
                  </a:xfrm>
                  <a:custGeom>
                    <a:avLst/>
                    <a:gdLst>
                      <a:gd name="connsiteX0" fmla="*/ 0 w 1197"/>
                      <a:gd name="connsiteY0" fmla="*/ 0 h 105835"/>
                      <a:gd name="connsiteX1" fmla="*/ 0 w 1197"/>
                      <a:gd name="connsiteY1" fmla="*/ 105835 h 10583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197" h="105835">
                        <a:moveTo>
                          <a:pt x="0" y="0"/>
                        </a:moveTo>
                        <a:lnTo>
                          <a:pt x="0" y="105835"/>
                        </a:lnTo>
                      </a:path>
                    </a:pathLst>
                  </a:custGeom>
                  <a:ln w="6350" cap="flat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</p:grpSp>
          <p:grpSp>
            <p:nvGrpSpPr>
              <p:cNvPr id="849" name="Gráfico 10">
                <a:extLst>
                  <a:ext uri="{FF2B5EF4-FFF2-40B4-BE49-F238E27FC236}">
                    <a16:creationId xmlns:a16="http://schemas.microsoft.com/office/drawing/2014/main" id="{CDC615FB-FCC9-BFE5-5D23-D0FA2EB83AF0}"/>
                  </a:ext>
                </a:extLst>
              </p:cNvPr>
              <p:cNvGrpSpPr/>
              <p:nvPr/>
            </p:nvGrpSpPr>
            <p:grpSpPr>
              <a:xfrm>
                <a:off x="9287637" y="3181586"/>
                <a:ext cx="79316" cy="220338"/>
                <a:chOff x="9287637" y="3181586"/>
                <a:chExt cx="79316" cy="220338"/>
              </a:xfrm>
              <a:noFill/>
            </p:grpSpPr>
            <p:sp>
              <p:nvSpPr>
                <p:cNvPr id="850" name="Forma livre: Forma 849">
                  <a:extLst>
                    <a:ext uri="{FF2B5EF4-FFF2-40B4-BE49-F238E27FC236}">
                      <a16:creationId xmlns:a16="http://schemas.microsoft.com/office/drawing/2014/main" id="{6E8B01B5-44F1-D0CB-FAEA-EA38F0A8D74F}"/>
                    </a:ext>
                  </a:extLst>
                </p:cNvPr>
                <p:cNvSpPr/>
                <p:nvPr/>
              </p:nvSpPr>
              <p:spPr>
                <a:xfrm>
                  <a:off x="9318729" y="3181586"/>
                  <a:ext cx="48224" cy="48248"/>
                </a:xfrm>
                <a:custGeom>
                  <a:avLst/>
                  <a:gdLst>
                    <a:gd name="connsiteX0" fmla="*/ 48225 w 48224"/>
                    <a:gd name="connsiteY0" fmla="*/ 24124 h 48248"/>
                    <a:gd name="connsiteX1" fmla="*/ 24124 w 48224"/>
                    <a:gd name="connsiteY1" fmla="*/ 48248 h 48248"/>
                    <a:gd name="connsiteX2" fmla="*/ 0 w 48224"/>
                    <a:gd name="connsiteY2" fmla="*/ 24124 h 48248"/>
                    <a:gd name="connsiteX3" fmla="*/ 24124 w 48224"/>
                    <a:gd name="connsiteY3" fmla="*/ 0 h 48248"/>
                    <a:gd name="connsiteX4" fmla="*/ 48225 w 48224"/>
                    <a:gd name="connsiteY4" fmla="*/ 24124 h 482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48224" h="48248">
                      <a:moveTo>
                        <a:pt x="48225" y="24124"/>
                      </a:moveTo>
                      <a:cubicBezTo>
                        <a:pt x="48225" y="37437"/>
                        <a:pt x="37425" y="48248"/>
                        <a:pt x="24124" y="48248"/>
                      </a:cubicBezTo>
                      <a:cubicBezTo>
                        <a:pt x="10823" y="48248"/>
                        <a:pt x="0" y="37437"/>
                        <a:pt x="0" y="24124"/>
                      </a:cubicBezTo>
                      <a:cubicBezTo>
                        <a:pt x="0" y="10811"/>
                        <a:pt x="10799" y="0"/>
                        <a:pt x="24124" y="0"/>
                      </a:cubicBezTo>
                      <a:cubicBezTo>
                        <a:pt x="37449" y="0"/>
                        <a:pt x="48225" y="10799"/>
                        <a:pt x="48225" y="24124"/>
                      </a:cubicBezTo>
                      <a:close/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851" name="Forma livre: Forma 850">
                  <a:extLst>
                    <a:ext uri="{FF2B5EF4-FFF2-40B4-BE49-F238E27FC236}">
                      <a16:creationId xmlns:a16="http://schemas.microsoft.com/office/drawing/2014/main" id="{4357C882-DE40-FF43-1D35-657F2DDB9E3D}"/>
                    </a:ext>
                  </a:extLst>
                </p:cNvPr>
                <p:cNvSpPr/>
                <p:nvPr/>
              </p:nvSpPr>
              <p:spPr>
                <a:xfrm>
                  <a:off x="9287637" y="3254366"/>
                  <a:ext cx="66434" cy="110935"/>
                </a:xfrm>
                <a:custGeom>
                  <a:avLst/>
                  <a:gdLst>
                    <a:gd name="connsiteX0" fmla="*/ 23669 w 66434"/>
                    <a:gd name="connsiteY0" fmla="*/ 110935 h 110935"/>
                    <a:gd name="connsiteX1" fmla="*/ 0 w 66434"/>
                    <a:gd name="connsiteY1" fmla="*/ 78909 h 110935"/>
                    <a:gd name="connsiteX2" fmla="*/ 0 w 66434"/>
                    <a:gd name="connsiteY2" fmla="*/ 32026 h 110935"/>
                    <a:gd name="connsiteX3" fmla="*/ 32014 w 66434"/>
                    <a:gd name="connsiteY3" fmla="*/ 0 h 110935"/>
                    <a:gd name="connsiteX4" fmla="*/ 66434 w 66434"/>
                    <a:gd name="connsiteY4" fmla="*/ 0 h 11093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66434" h="110935">
                      <a:moveTo>
                        <a:pt x="23669" y="110935"/>
                      </a:moveTo>
                      <a:cubicBezTo>
                        <a:pt x="6058" y="110935"/>
                        <a:pt x="0" y="96521"/>
                        <a:pt x="0" y="78909"/>
                      </a:cubicBezTo>
                      <a:lnTo>
                        <a:pt x="0" y="32026"/>
                      </a:lnTo>
                      <a:cubicBezTo>
                        <a:pt x="0" y="14415"/>
                        <a:pt x="14403" y="0"/>
                        <a:pt x="32014" y="0"/>
                      </a:cubicBezTo>
                      <a:lnTo>
                        <a:pt x="66434" y="0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852" name="Forma livre: Forma 851">
                  <a:extLst>
                    <a:ext uri="{FF2B5EF4-FFF2-40B4-BE49-F238E27FC236}">
                      <a16:creationId xmlns:a16="http://schemas.microsoft.com/office/drawing/2014/main" id="{7FB82FD5-7081-65DE-1125-373A55449632}"/>
                    </a:ext>
                  </a:extLst>
                </p:cNvPr>
                <p:cNvSpPr/>
                <p:nvPr/>
              </p:nvSpPr>
              <p:spPr>
                <a:xfrm>
                  <a:off x="9311019" y="3296090"/>
                  <a:ext cx="1197" cy="105835"/>
                </a:xfrm>
                <a:custGeom>
                  <a:avLst/>
                  <a:gdLst>
                    <a:gd name="connsiteX0" fmla="*/ 0 w 1197"/>
                    <a:gd name="connsiteY0" fmla="*/ 0 h 105835"/>
                    <a:gd name="connsiteX1" fmla="*/ 0 w 1197"/>
                    <a:gd name="connsiteY1" fmla="*/ 105835 h 10583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197" h="105835">
                      <a:moveTo>
                        <a:pt x="0" y="0"/>
                      </a:moveTo>
                      <a:lnTo>
                        <a:pt x="0" y="105835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853" name="Gráfico 10">
                <a:extLst>
                  <a:ext uri="{FF2B5EF4-FFF2-40B4-BE49-F238E27FC236}">
                    <a16:creationId xmlns:a16="http://schemas.microsoft.com/office/drawing/2014/main" id="{32A6391A-694E-8C17-8C13-5181EB0A0FA1}"/>
                  </a:ext>
                </a:extLst>
              </p:cNvPr>
              <p:cNvGrpSpPr/>
              <p:nvPr/>
            </p:nvGrpSpPr>
            <p:grpSpPr>
              <a:xfrm>
                <a:off x="9483121" y="3181586"/>
                <a:ext cx="79328" cy="220338"/>
                <a:chOff x="9483121" y="3181586"/>
                <a:chExt cx="79328" cy="220338"/>
              </a:xfrm>
              <a:noFill/>
            </p:grpSpPr>
            <p:sp>
              <p:nvSpPr>
                <p:cNvPr id="854" name="Forma livre: Forma 853">
                  <a:extLst>
                    <a:ext uri="{FF2B5EF4-FFF2-40B4-BE49-F238E27FC236}">
                      <a16:creationId xmlns:a16="http://schemas.microsoft.com/office/drawing/2014/main" id="{338C75B1-89BD-3F60-B744-DCEDDCE997EC}"/>
                    </a:ext>
                  </a:extLst>
                </p:cNvPr>
                <p:cNvSpPr/>
                <p:nvPr/>
              </p:nvSpPr>
              <p:spPr>
                <a:xfrm>
                  <a:off x="9483121" y="3181586"/>
                  <a:ext cx="48236" cy="48248"/>
                </a:xfrm>
                <a:custGeom>
                  <a:avLst/>
                  <a:gdLst>
                    <a:gd name="connsiteX0" fmla="*/ 0 w 48236"/>
                    <a:gd name="connsiteY0" fmla="*/ 24124 h 48248"/>
                    <a:gd name="connsiteX1" fmla="*/ 24112 w 48236"/>
                    <a:gd name="connsiteY1" fmla="*/ 48248 h 48248"/>
                    <a:gd name="connsiteX2" fmla="*/ 48236 w 48236"/>
                    <a:gd name="connsiteY2" fmla="*/ 24124 h 48248"/>
                    <a:gd name="connsiteX3" fmla="*/ 24112 w 48236"/>
                    <a:gd name="connsiteY3" fmla="*/ 0 h 48248"/>
                    <a:gd name="connsiteX4" fmla="*/ 0 w 48236"/>
                    <a:gd name="connsiteY4" fmla="*/ 24124 h 482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48236" h="48248">
                      <a:moveTo>
                        <a:pt x="0" y="24124"/>
                      </a:moveTo>
                      <a:cubicBezTo>
                        <a:pt x="0" y="37437"/>
                        <a:pt x="10799" y="48248"/>
                        <a:pt x="24112" y="48248"/>
                      </a:cubicBezTo>
                      <a:cubicBezTo>
                        <a:pt x="37425" y="48248"/>
                        <a:pt x="48236" y="37437"/>
                        <a:pt x="48236" y="24124"/>
                      </a:cubicBezTo>
                      <a:cubicBezTo>
                        <a:pt x="48236" y="10811"/>
                        <a:pt x="37437" y="0"/>
                        <a:pt x="24112" y="0"/>
                      </a:cubicBezTo>
                      <a:cubicBezTo>
                        <a:pt x="10787" y="0"/>
                        <a:pt x="0" y="10799"/>
                        <a:pt x="0" y="24124"/>
                      </a:cubicBezTo>
                      <a:close/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855" name="Forma livre: Forma 854">
                  <a:extLst>
                    <a:ext uri="{FF2B5EF4-FFF2-40B4-BE49-F238E27FC236}">
                      <a16:creationId xmlns:a16="http://schemas.microsoft.com/office/drawing/2014/main" id="{CF31D50A-25D1-FEB2-74DC-60DA5E2F54FE}"/>
                    </a:ext>
                  </a:extLst>
                </p:cNvPr>
                <p:cNvSpPr/>
                <p:nvPr/>
              </p:nvSpPr>
              <p:spPr>
                <a:xfrm>
                  <a:off x="9496015" y="3254366"/>
                  <a:ext cx="66434" cy="110935"/>
                </a:xfrm>
                <a:custGeom>
                  <a:avLst/>
                  <a:gdLst>
                    <a:gd name="connsiteX0" fmla="*/ 42765 w 66434"/>
                    <a:gd name="connsiteY0" fmla="*/ 110935 h 110935"/>
                    <a:gd name="connsiteX1" fmla="*/ 66434 w 66434"/>
                    <a:gd name="connsiteY1" fmla="*/ 78909 h 110935"/>
                    <a:gd name="connsiteX2" fmla="*/ 66434 w 66434"/>
                    <a:gd name="connsiteY2" fmla="*/ 32026 h 110935"/>
                    <a:gd name="connsiteX3" fmla="*/ 34420 w 66434"/>
                    <a:gd name="connsiteY3" fmla="*/ 0 h 110935"/>
                    <a:gd name="connsiteX4" fmla="*/ 0 w 66434"/>
                    <a:gd name="connsiteY4" fmla="*/ 0 h 11093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66434" h="110935">
                      <a:moveTo>
                        <a:pt x="42765" y="110935"/>
                      </a:moveTo>
                      <a:cubicBezTo>
                        <a:pt x="60364" y="110935"/>
                        <a:pt x="66434" y="96521"/>
                        <a:pt x="66434" y="78909"/>
                      </a:cubicBezTo>
                      <a:lnTo>
                        <a:pt x="66434" y="32026"/>
                      </a:lnTo>
                      <a:cubicBezTo>
                        <a:pt x="66434" y="14415"/>
                        <a:pt x="52032" y="0"/>
                        <a:pt x="34420" y="0"/>
                      </a:cubicBezTo>
                      <a:lnTo>
                        <a:pt x="0" y="0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856" name="Forma livre: Forma 855">
                  <a:extLst>
                    <a:ext uri="{FF2B5EF4-FFF2-40B4-BE49-F238E27FC236}">
                      <a16:creationId xmlns:a16="http://schemas.microsoft.com/office/drawing/2014/main" id="{96E2B763-5CF4-C55A-2154-9FF825CD3EE9}"/>
                    </a:ext>
                  </a:extLst>
                </p:cNvPr>
                <p:cNvSpPr/>
                <p:nvPr/>
              </p:nvSpPr>
              <p:spPr>
                <a:xfrm>
                  <a:off x="9539056" y="3296090"/>
                  <a:ext cx="1197" cy="105835"/>
                </a:xfrm>
                <a:custGeom>
                  <a:avLst/>
                  <a:gdLst>
                    <a:gd name="connsiteX0" fmla="*/ 0 w 1197"/>
                    <a:gd name="connsiteY0" fmla="*/ 0 h 105835"/>
                    <a:gd name="connsiteX1" fmla="*/ 0 w 1197"/>
                    <a:gd name="connsiteY1" fmla="*/ 105835 h 10583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197" h="105835">
                      <a:moveTo>
                        <a:pt x="0" y="0"/>
                      </a:moveTo>
                      <a:lnTo>
                        <a:pt x="0" y="105835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grpSp>
          <p:nvGrpSpPr>
            <p:cNvPr id="857" name="Gráfico 10">
              <a:extLst>
                <a:ext uri="{FF2B5EF4-FFF2-40B4-BE49-F238E27FC236}">
                  <a16:creationId xmlns:a16="http://schemas.microsoft.com/office/drawing/2014/main" id="{E8CCBCF7-F56C-7191-8291-E2BDB09EC99D}"/>
                </a:ext>
              </a:extLst>
            </p:cNvPr>
            <p:cNvGrpSpPr/>
            <p:nvPr/>
          </p:nvGrpSpPr>
          <p:grpSpPr>
            <a:xfrm>
              <a:off x="9359830" y="3117104"/>
              <a:ext cx="130426" cy="48248"/>
              <a:chOff x="9359830" y="3117104"/>
              <a:chExt cx="130426" cy="48248"/>
            </a:xfrm>
            <a:noFill/>
          </p:grpSpPr>
          <p:sp>
            <p:nvSpPr>
              <p:cNvPr id="858" name="Forma livre: Forma 857">
                <a:extLst>
                  <a:ext uri="{FF2B5EF4-FFF2-40B4-BE49-F238E27FC236}">
                    <a16:creationId xmlns:a16="http://schemas.microsoft.com/office/drawing/2014/main" id="{8089C4BD-E2F0-A38C-B0F1-4422AC9310A2}"/>
                  </a:ext>
                </a:extLst>
              </p:cNvPr>
              <p:cNvSpPr/>
              <p:nvPr/>
            </p:nvSpPr>
            <p:spPr>
              <a:xfrm>
                <a:off x="9442032" y="3117104"/>
                <a:ext cx="48224" cy="48248"/>
              </a:xfrm>
              <a:custGeom>
                <a:avLst/>
                <a:gdLst>
                  <a:gd name="connsiteX0" fmla="*/ 48225 w 48224"/>
                  <a:gd name="connsiteY0" fmla="*/ 24124 h 48248"/>
                  <a:gd name="connsiteX1" fmla="*/ 24124 w 48224"/>
                  <a:gd name="connsiteY1" fmla="*/ 48248 h 48248"/>
                  <a:gd name="connsiteX2" fmla="*/ 0 w 48224"/>
                  <a:gd name="connsiteY2" fmla="*/ 24124 h 48248"/>
                  <a:gd name="connsiteX3" fmla="*/ 24124 w 48224"/>
                  <a:gd name="connsiteY3" fmla="*/ 0 h 48248"/>
                  <a:gd name="connsiteX4" fmla="*/ 48225 w 48224"/>
                  <a:gd name="connsiteY4" fmla="*/ 24124 h 482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8224" h="48248">
                    <a:moveTo>
                      <a:pt x="48225" y="24124"/>
                    </a:moveTo>
                    <a:cubicBezTo>
                      <a:pt x="48225" y="37449"/>
                      <a:pt x="37425" y="48248"/>
                      <a:pt x="24124" y="48248"/>
                    </a:cubicBezTo>
                    <a:cubicBezTo>
                      <a:pt x="10823" y="48248"/>
                      <a:pt x="0" y="37449"/>
                      <a:pt x="0" y="24124"/>
                    </a:cubicBezTo>
                    <a:cubicBezTo>
                      <a:pt x="0" y="10799"/>
                      <a:pt x="10799" y="0"/>
                      <a:pt x="24124" y="0"/>
                    </a:cubicBezTo>
                    <a:cubicBezTo>
                      <a:pt x="37449" y="0"/>
                      <a:pt x="48225" y="10811"/>
                      <a:pt x="48225" y="24124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859" name="Forma livre: Forma 858">
                <a:extLst>
                  <a:ext uri="{FF2B5EF4-FFF2-40B4-BE49-F238E27FC236}">
                    <a16:creationId xmlns:a16="http://schemas.microsoft.com/office/drawing/2014/main" id="{06916028-B6D4-F2E7-E8D6-81C8A6629EE6}"/>
                  </a:ext>
                </a:extLst>
              </p:cNvPr>
              <p:cNvSpPr/>
              <p:nvPr/>
            </p:nvSpPr>
            <p:spPr>
              <a:xfrm>
                <a:off x="9359830" y="3117104"/>
                <a:ext cx="48224" cy="48248"/>
              </a:xfrm>
              <a:custGeom>
                <a:avLst/>
                <a:gdLst>
                  <a:gd name="connsiteX0" fmla="*/ 48225 w 48224"/>
                  <a:gd name="connsiteY0" fmla="*/ 24124 h 48248"/>
                  <a:gd name="connsiteX1" fmla="*/ 24124 w 48224"/>
                  <a:gd name="connsiteY1" fmla="*/ 48248 h 48248"/>
                  <a:gd name="connsiteX2" fmla="*/ 0 w 48224"/>
                  <a:gd name="connsiteY2" fmla="*/ 24124 h 48248"/>
                  <a:gd name="connsiteX3" fmla="*/ 24124 w 48224"/>
                  <a:gd name="connsiteY3" fmla="*/ 0 h 48248"/>
                  <a:gd name="connsiteX4" fmla="*/ 48225 w 48224"/>
                  <a:gd name="connsiteY4" fmla="*/ 24124 h 482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8224" h="48248">
                    <a:moveTo>
                      <a:pt x="48225" y="24124"/>
                    </a:moveTo>
                    <a:cubicBezTo>
                      <a:pt x="48225" y="37449"/>
                      <a:pt x="37425" y="48248"/>
                      <a:pt x="24124" y="48248"/>
                    </a:cubicBezTo>
                    <a:cubicBezTo>
                      <a:pt x="10823" y="48248"/>
                      <a:pt x="0" y="37449"/>
                      <a:pt x="0" y="24124"/>
                    </a:cubicBezTo>
                    <a:cubicBezTo>
                      <a:pt x="0" y="10799"/>
                      <a:pt x="10799" y="0"/>
                      <a:pt x="24124" y="0"/>
                    </a:cubicBezTo>
                    <a:cubicBezTo>
                      <a:pt x="37449" y="0"/>
                      <a:pt x="48225" y="10811"/>
                      <a:pt x="48225" y="24124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860" name="Gráfico 10">
            <a:extLst>
              <a:ext uri="{FF2B5EF4-FFF2-40B4-BE49-F238E27FC236}">
                <a16:creationId xmlns:a16="http://schemas.microsoft.com/office/drawing/2014/main" id="{5043F653-C041-30F1-3A04-D74FB552D237}"/>
              </a:ext>
            </a:extLst>
          </p:cNvPr>
          <p:cNvGrpSpPr/>
          <p:nvPr/>
        </p:nvGrpSpPr>
        <p:grpSpPr>
          <a:xfrm>
            <a:off x="8073998" y="3102964"/>
            <a:ext cx="214465" cy="313088"/>
            <a:chOff x="8073998" y="3102964"/>
            <a:chExt cx="214465" cy="313088"/>
          </a:xfrm>
          <a:noFill/>
        </p:grpSpPr>
        <p:grpSp>
          <p:nvGrpSpPr>
            <p:cNvPr id="861" name="Gráfico 10">
              <a:extLst>
                <a:ext uri="{FF2B5EF4-FFF2-40B4-BE49-F238E27FC236}">
                  <a16:creationId xmlns:a16="http://schemas.microsoft.com/office/drawing/2014/main" id="{DFF086EF-65E7-8E62-322A-502056026A4A}"/>
                </a:ext>
              </a:extLst>
            </p:cNvPr>
            <p:cNvGrpSpPr/>
            <p:nvPr/>
          </p:nvGrpSpPr>
          <p:grpSpPr>
            <a:xfrm>
              <a:off x="8073998" y="3102964"/>
              <a:ext cx="101902" cy="313076"/>
              <a:chOff x="8073998" y="3102964"/>
              <a:chExt cx="101902" cy="313076"/>
            </a:xfrm>
            <a:noFill/>
          </p:grpSpPr>
          <p:sp>
            <p:nvSpPr>
              <p:cNvPr id="862" name="Forma livre: Forma 861">
                <a:extLst>
                  <a:ext uri="{FF2B5EF4-FFF2-40B4-BE49-F238E27FC236}">
                    <a16:creationId xmlns:a16="http://schemas.microsoft.com/office/drawing/2014/main" id="{EF37DFDE-A501-4879-56FA-EFC22B34E178}"/>
                  </a:ext>
                </a:extLst>
              </p:cNvPr>
              <p:cNvSpPr/>
              <p:nvPr/>
            </p:nvSpPr>
            <p:spPr>
              <a:xfrm>
                <a:off x="8100510" y="3102964"/>
                <a:ext cx="55120" cy="55132"/>
              </a:xfrm>
              <a:custGeom>
                <a:avLst/>
                <a:gdLst>
                  <a:gd name="connsiteX0" fmla="*/ 55121 w 55120"/>
                  <a:gd name="connsiteY0" fmla="*/ 27572 h 55132"/>
                  <a:gd name="connsiteX1" fmla="*/ 27560 w 55120"/>
                  <a:gd name="connsiteY1" fmla="*/ 55133 h 55132"/>
                  <a:gd name="connsiteX2" fmla="*/ 0 w 55120"/>
                  <a:gd name="connsiteY2" fmla="*/ 27572 h 55132"/>
                  <a:gd name="connsiteX3" fmla="*/ 27560 w 55120"/>
                  <a:gd name="connsiteY3" fmla="*/ 0 h 55132"/>
                  <a:gd name="connsiteX4" fmla="*/ 55121 w 55120"/>
                  <a:gd name="connsiteY4" fmla="*/ 27572 h 551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120" h="55132">
                    <a:moveTo>
                      <a:pt x="55121" y="27572"/>
                    </a:moveTo>
                    <a:cubicBezTo>
                      <a:pt x="55121" y="42789"/>
                      <a:pt x="42789" y="55133"/>
                      <a:pt x="27560" y="55133"/>
                    </a:cubicBezTo>
                    <a:cubicBezTo>
                      <a:pt x="12331" y="55133"/>
                      <a:pt x="0" y="42801"/>
                      <a:pt x="0" y="27572"/>
                    </a:cubicBezTo>
                    <a:cubicBezTo>
                      <a:pt x="0" y="12344"/>
                      <a:pt x="12331" y="0"/>
                      <a:pt x="27560" y="0"/>
                    </a:cubicBezTo>
                    <a:cubicBezTo>
                      <a:pt x="42789" y="0"/>
                      <a:pt x="55121" y="12344"/>
                      <a:pt x="55121" y="27572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863" name="Forma livre: Forma 862">
                <a:extLst>
                  <a:ext uri="{FF2B5EF4-FFF2-40B4-BE49-F238E27FC236}">
                    <a16:creationId xmlns:a16="http://schemas.microsoft.com/office/drawing/2014/main" id="{5E5C4DDE-5152-B117-DAA1-64FB601CA921}"/>
                  </a:ext>
                </a:extLst>
              </p:cNvPr>
              <p:cNvSpPr/>
              <p:nvPr/>
            </p:nvSpPr>
            <p:spPr>
              <a:xfrm>
                <a:off x="8073998" y="3184017"/>
                <a:ext cx="101902" cy="232023"/>
              </a:xfrm>
              <a:custGeom>
                <a:avLst/>
                <a:gdLst>
                  <a:gd name="connsiteX0" fmla="*/ 101902 w 101902"/>
                  <a:gd name="connsiteY0" fmla="*/ 39413 h 232023"/>
                  <a:gd name="connsiteX1" fmla="*/ 99807 w 101902"/>
                  <a:gd name="connsiteY1" fmla="*/ 19359 h 232023"/>
                  <a:gd name="connsiteX2" fmla="*/ 78401 w 101902"/>
                  <a:gd name="connsiteY2" fmla="*/ 0 h 232023"/>
                  <a:gd name="connsiteX3" fmla="*/ 29745 w 101902"/>
                  <a:gd name="connsiteY3" fmla="*/ 0 h 232023"/>
                  <a:gd name="connsiteX4" fmla="*/ 8339 w 101902"/>
                  <a:gd name="connsiteY4" fmla="*/ 19359 h 232023"/>
                  <a:gd name="connsiteX5" fmla="*/ 66 w 101902"/>
                  <a:gd name="connsiteY5" fmla="*/ 101417 h 232023"/>
                  <a:gd name="connsiteX6" fmla="*/ 21209 w 101902"/>
                  <a:gd name="connsiteY6" fmla="*/ 124177 h 232023"/>
                  <a:gd name="connsiteX7" fmla="*/ 23831 w 101902"/>
                  <a:gd name="connsiteY7" fmla="*/ 232023 h 2320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01902" h="232023">
                    <a:moveTo>
                      <a:pt x="101902" y="39413"/>
                    </a:moveTo>
                    <a:lnTo>
                      <a:pt x="99807" y="19359"/>
                    </a:lnTo>
                    <a:cubicBezTo>
                      <a:pt x="98742" y="8716"/>
                      <a:pt x="89104" y="0"/>
                      <a:pt x="78401" y="0"/>
                    </a:cubicBezTo>
                    <a:lnTo>
                      <a:pt x="29745" y="0"/>
                    </a:lnTo>
                    <a:cubicBezTo>
                      <a:pt x="19042" y="0"/>
                      <a:pt x="9416" y="8704"/>
                      <a:pt x="8339" y="19359"/>
                    </a:cubicBezTo>
                    <a:lnTo>
                      <a:pt x="66" y="101417"/>
                    </a:lnTo>
                    <a:cubicBezTo>
                      <a:pt x="-1000" y="112061"/>
                      <a:pt x="11080" y="120525"/>
                      <a:pt x="21209" y="124177"/>
                    </a:cubicBezTo>
                    <a:lnTo>
                      <a:pt x="23831" y="232023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864" name="Gráfico 10">
              <a:extLst>
                <a:ext uri="{FF2B5EF4-FFF2-40B4-BE49-F238E27FC236}">
                  <a16:creationId xmlns:a16="http://schemas.microsoft.com/office/drawing/2014/main" id="{82F3C3C6-E0AE-3DF8-5C4C-BEAD1B33A007}"/>
                </a:ext>
              </a:extLst>
            </p:cNvPr>
            <p:cNvGrpSpPr/>
            <p:nvPr/>
          </p:nvGrpSpPr>
          <p:grpSpPr>
            <a:xfrm>
              <a:off x="8125856" y="3249936"/>
              <a:ext cx="162607" cy="166115"/>
              <a:chOff x="8125856" y="3249936"/>
              <a:chExt cx="162607" cy="166115"/>
            </a:xfrm>
            <a:noFill/>
          </p:grpSpPr>
          <p:sp>
            <p:nvSpPr>
              <p:cNvPr id="865" name="Forma livre: Forma 864">
                <a:extLst>
                  <a:ext uri="{FF2B5EF4-FFF2-40B4-BE49-F238E27FC236}">
                    <a16:creationId xmlns:a16="http://schemas.microsoft.com/office/drawing/2014/main" id="{E4A3598A-3982-295B-BA05-EA0289DB638D}"/>
                  </a:ext>
                </a:extLst>
              </p:cNvPr>
              <p:cNvSpPr/>
              <p:nvPr/>
            </p:nvSpPr>
            <p:spPr>
              <a:xfrm>
                <a:off x="8125856" y="3273091"/>
                <a:ext cx="162607" cy="66757"/>
              </a:xfrm>
              <a:custGeom>
                <a:avLst/>
                <a:gdLst>
                  <a:gd name="connsiteX0" fmla="*/ 17192 w 162607"/>
                  <a:gd name="connsiteY0" fmla="*/ 0 h 66757"/>
                  <a:gd name="connsiteX1" fmla="*/ 0 w 162607"/>
                  <a:gd name="connsiteY1" fmla="*/ 0 h 66757"/>
                  <a:gd name="connsiteX2" fmla="*/ 81304 w 162607"/>
                  <a:gd name="connsiteY2" fmla="*/ 66758 h 66757"/>
                  <a:gd name="connsiteX3" fmla="*/ 162608 w 162607"/>
                  <a:gd name="connsiteY3" fmla="*/ 0 h 66757"/>
                  <a:gd name="connsiteX4" fmla="*/ 125685 w 162607"/>
                  <a:gd name="connsiteY4" fmla="*/ 0 h 667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2607" h="66757">
                    <a:moveTo>
                      <a:pt x="17192" y="0"/>
                    </a:moveTo>
                    <a:lnTo>
                      <a:pt x="0" y="0"/>
                    </a:lnTo>
                    <a:cubicBezTo>
                      <a:pt x="0" y="0"/>
                      <a:pt x="20449" y="66758"/>
                      <a:pt x="81304" y="66758"/>
                    </a:cubicBezTo>
                    <a:cubicBezTo>
                      <a:pt x="142159" y="66758"/>
                      <a:pt x="162608" y="0"/>
                      <a:pt x="162608" y="0"/>
                    </a:cubicBezTo>
                    <a:lnTo>
                      <a:pt x="125685" y="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866" name="Forma livre: Forma 865">
                <a:extLst>
                  <a:ext uri="{FF2B5EF4-FFF2-40B4-BE49-F238E27FC236}">
                    <a16:creationId xmlns:a16="http://schemas.microsoft.com/office/drawing/2014/main" id="{4EB050A7-9217-EFE0-2055-12446A65FD41}"/>
                  </a:ext>
                </a:extLst>
              </p:cNvPr>
              <p:cNvSpPr/>
              <p:nvPr/>
            </p:nvSpPr>
            <p:spPr>
              <a:xfrm>
                <a:off x="8162563" y="3249936"/>
                <a:ext cx="89193" cy="89744"/>
              </a:xfrm>
              <a:custGeom>
                <a:avLst/>
                <a:gdLst>
                  <a:gd name="connsiteX0" fmla="*/ 0 w 89193"/>
                  <a:gd name="connsiteY0" fmla="*/ 0 h 89744"/>
                  <a:gd name="connsiteX1" fmla="*/ 44597 w 89193"/>
                  <a:gd name="connsiteY1" fmla="*/ 89745 h 89744"/>
                  <a:gd name="connsiteX2" fmla="*/ 89194 w 89193"/>
                  <a:gd name="connsiteY2" fmla="*/ 0 h 89744"/>
                  <a:gd name="connsiteX3" fmla="*/ 12 w 89193"/>
                  <a:gd name="connsiteY3" fmla="*/ 0 h 897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193" h="89744">
                    <a:moveTo>
                      <a:pt x="0" y="0"/>
                    </a:moveTo>
                    <a:cubicBezTo>
                      <a:pt x="0" y="0"/>
                      <a:pt x="-72" y="85554"/>
                      <a:pt x="44597" y="89745"/>
                    </a:cubicBezTo>
                    <a:cubicBezTo>
                      <a:pt x="89266" y="85566"/>
                      <a:pt x="89194" y="0"/>
                      <a:pt x="89194" y="0"/>
                    </a:cubicBezTo>
                    <a:lnTo>
                      <a:pt x="12" y="0"/>
                    </a:lnTo>
                    <a:close/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867" name="Forma livre: Forma 866">
                <a:extLst>
                  <a:ext uri="{FF2B5EF4-FFF2-40B4-BE49-F238E27FC236}">
                    <a16:creationId xmlns:a16="http://schemas.microsoft.com/office/drawing/2014/main" id="{77F28886-12DB-F535-0710-98E50920AF08}"/>
                  </a:ext>
                </a:extLst>
              </p:cNvPr>
              <p:cNvSpPr/>
              <p:nvPr/>
            </p:nvSpPr>
            <p:spPr>
              <a:xfrm>
                <a:off x="8181719" y="3340076"/>
                <a:ext cx="12953" cy="38718"/>
              </a:xfrm>
              <a:custGeom>
                <a:avLst/>
                <a:gdLst>
                  <a:gd name="connsiteX0" fmla="*/ 12547 w 12953"/>
                  <a:gd name="connsiteY0" fmla="*/ 0 h 38718"/>
                  <a:gd name="connsiteX1" fmla="*/ 0 w 12953"/>
                  <a:gd name="connsiteY1" fmla="*/ 38718 h 387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953" h="38718">
                    <a:moveTo>
                      <a:pt x="12547" y="0"/>
                    </a:moveTo>
                    <a:cubicBezTo>
                      <a:pt x="12547" y="0"/>
                      <a:pt x="16462" y="19539"/>
                      <a:pt x="0" y="38718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868" name="Forma livre: Forma 867">
                <a:extLst>
                  <a:ext uri="{FF2B5EF4-FFF2-40B4-BE49-F238E27FC236}">
                    <a16:creationId xmlns:a16="http://schemas.microsoft.com/office/drawing/2014/main" id="{177C70EC-63F0-537F-8C40-20F4A514AEE0}"/>
                  </a:ext>
                </a:extLst>
              </p:cNvPr>
              <p:cNvSpPr/>
              <p:nvPr/>
            </p:nvSpPr>
            <p:spPr>
              <a:xfrm>
                <a:off x="8219638" y="3340076"/>
                <a:ext cx="12962" cy="38718"/>
              </a:xfrm>
              <a:custGeom>
                <a:avLst/>
                <a:gdLst>
                  <a:gd name="connsiteX0" fmla="*/ 404 w 12962"/>
                  <a:gd name="connsiteY0" fmla="*/ 0 h 38718"/>
                  <a:gd name="connsiteX1" fmla="*/ 12963 w 12962"/>
                  <a:gd name="connsiteY1" fmla="*/ 38718 h 387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962" h="38718">
                    <a:moveTo>
                      <a:pt x="404" y="0"/>
                    </a:moveTo>
                    <a:cubicBezTo>
                      <a:pt x="404" y="0"/>
                      <a:pt x="-3499" y="19539"/>
                      <a:pt x="12963" y="38718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869" name="Forma livre: Forma 868">
                <a:extLst>
                  <a:ext uri="{FF2B5EF4-FFF2-40B4-BE49-F238E27FC236}">
                    <a16:creationId xmlns:a16="http://schemas.microsoft.com/office/drawing/2014/main" id="{05537847-0439-3749-8E2F-76CA266F4AAD}"/>
                  </a:ext>
                </a:extLst>
              </p:cNvPr>
              <p:cNvSpPr/>
              <p:nvPr/>
            </p:nvSpPr>
            <p:spPr>
              <a:xfrm>
                <a:off x="8163664" y="3378184"/>
                <a:ext cx="86883" cy="37868"/>
              </a:xfrm>
              <a:custGeom>
                <a:avLst/>
                <a:gdLst>
                  <a:gd name="connsiteX0" fmla="*/ 5004 w 86883"/>
                  <a:gd name="connsiteY0" fmla="*/ 37868 h 37868"/>
                  <a:gd name="connsiteX1" fmla="*/ 0 w 86883"/>
                  <a:gd name="connsiteY1" fmla="*/ 32780 h 37868"/>
                  <a:gd name="connsiteX2" fmla="*/ 0 w 86883"/>
                  <a:gd name="connsiteY2" fmla="*/ 5016 h 37868"/>
                  <a:gd name="connsiteX3" fmla="*/ 5004 w 86883"/>
                  <a:gd name="connsiteY3" fmla="*/ 0 h 37868"/>
                  <a:gd name="connsiteX4" fmla="*/ 81879 w 86883"/>
                  <a:gd name="connsiteY4" fmla="*/ 0 h 37868"/>
                  <a:gd name="connsiteX5" fmla="*/ 86883 w 86883"/>
                  <a:gd name="connsiteY5" fmla="*/ 5016 h 37868"/>
                  <a:gd name="connsiteX6" fmla="*/ 86883 w 86883"/>
                  <a:gd name="connsiteY6" fmla="*/ 32780 h 37868"/>
                  <a:gd name="connsiteX7" fmla="*/ 81879 w 86883"/>
                  <a:gd name="connsiteY7" fmla="*/ 37868 h 37868"/>
                  <a:gd name="connsiteX8" fmla="*/ 5004 w 86883"/>
                  <a:gd name="connsiteY8" fmla="*/ 37868 h 378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86883" h="37868">
                    <a:moveTo>
                      <a:pt x="5004" y="37868"/>
                    </a:moveTo>
                    <a:cubicBezTo>
                      <a:pt x="2251" y="37868"/>
                      <a:pt x="0" y="35534"/>
                      <a:pt x="0" y="32780"/>
                    </a:cubicBezTo>
                    <a:lnTo>
                      <a:pt x="0" y="5016"/>
                    </a:lnTo>
                    <a:cubicBezTo>
                      <a:pt x="0" y="2263"/>
                      <a:pt x="2251" y="0"/>
                      <a:pt x="5004" y="0"/>
                    </a:cubicBezTo>
                    <a:lnTo>
                      <a:pt x="81879" y="0"/>
                    </a:lnTo>
                    <a:cubicBezTo>
                      <a:pt x="84632" y="0"/>
                      <a:pt x="86883" y="2263"/>
                      <a:pt x="86883" y="5016"/>
                    </a:cubicBezTo>
                    <a:lnTo>
                      <a:pt x="86883" y="32780"/>
                    </a:lnTo>
                    <a:cubicBezTo>
                      <a:pt x="86883" y="35534"/>
                      <a:pt x="84632" y="37868"/>
                      <a:pt x="81879" y="37868"/>
                    </a:cubicBezTo>
                    <a:lnTo>
                      <a:pt x="5004" y="37868"/>
                    </a:ln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870" name="Gráfico 10">
            <a:extLst>
              <a:ext uri="{FF2B5EF4-FFF2-40B4-BE49-F238E27FC236}">
                <a16:creationId xmlns:a16="http://schemas.microsoft.com/office/drawing/2014/main" id="{B096C48C-4921-BDA7-8218-1E82CB436C58}"/>
              </a:ext>
            </a:extLst>
          </p:cNvPr>
          <p:cNvGrpSpPr/>
          <p:nvPr/>
        </p:nvGrpSpPr>
        <p:grpSpPr>
          <a:xfrm>
            <a:off x="8643251" y="2572243"/>
            <a:ext cx="319792" cy="319792"/>
            <a:chOff x="8643251" y="2572243"/>
            <a:chExt cx="319792" cy="319792"/>
          </a:xfrm>
        </p:grpSpPr>
        <p:grpSp>
          <p:nvGrpSpPr>
            <p:cNvPr id="871" name="Gráfico 10">
              <a:extLst>
                <a:ext uri="{FF2B5EF4-FFF2-40B4-BE49-F238E27FC236}">
                  <a16:creationId xmlns:a16="http://schemas.microsoft.com/office/drawing/2014/main" id="{8AEB3008-429F-B805-9DEB-DB623D34C68D}"/>
                </a:ext>
              </a:extLst>
            </p:cNvPr>
            <p:cNvGrpSpPr/>
            <p:nvPr/>
          </p:nvGrpSpPr>
          <p:grpSpPr>
            <a:xfrm>
              <a:off x="8732979" y="2643467"/>
              <a:ext cx="130687" cy="207372"/>
              <a:chOff x="8732979" y="2643467"/>
              <a:chExt cx="130687" cy="207372"/>
            </a:xfrm>
            <a:noFill/>
          </p:grpSpPr>
          <p:grpSp>
            <p:nvGrpSpPr>
              <p:cNvPr id="872" name="Gráfico 10">
                <a:extLst>
                  <a:ext uri="{FF2B5EF4-FFF2-40B4-BE49-F238E27FC236}">
                    <a16:creationId xmlns:a16="http://schemas.microsoft.com/office/drawing/2014/main" id="{C5B3A037-05AE-E48F-4958-678DCB7A02E2}"/>
                  </a:ext>
                </a:extLst>
              </p:cNvPr>
              <p:cNvGrpSpPr/>
              <p:nvPr/>
            </p:nvGrpSpPr>
            <p:grpSpPr>
              <a:xfrm>
                <a:off x="8762352" y="2643467"/>
                <a:ext cx="76000" cy="132617"/>
                <a:chOff x="8762352" y="2643467"/>
                <a:chExt cx="76000" cy="132617"/>
              </a:xfrm>
              <a:noFill/>
            </p:grpSpPr>
            <p:sp>
              <p:nvSpPr>
                <p:cNvPr id="873" name="Forma livre: Forma 872">
                  <a:extLst>
                    <a:ext uri="{FF2B5EF4-FFF2-40B4-BE49-F238E27FC236}">
                      <a16:creationId xmlns:a16="http://schemas.microsoft.com/office/drawing/2014/main" id="{BE40733C-9B24-1067-900A-464168E3949E}"/>
                    </a:ext>
                  </a:extLst>
                </p:cNvPr>
                <p:cNvSpPr/>
                <p:nvPr/>
              </p:nvSpPr>
              <p:spPr>
                <a:xfrm>
                  <a:off x="8787685" y="2643467"/>
                  <a:ext cx="25321" cy="28242"/>
                </a:xfrm>
                <a:custGeom>
                  <a:avLst/>
                  <a:gdLst>
                    <a:gd name="connsiteX0" fmla="*/ 0 w 25321"/>
                    <a:gd name="connsiteY0" fmla="*/ 28243 h 28242"/>
                    <a:gd name="connsiteX1" fmla="*/ 0 w 25321"/>
                    <a:gd name="connsiteY1" fmla="*/ 12870 h 28242"/>
                    <a:gd name="connsiteX2" fmla="*/ 12667 w 25321"/>
                    <a:gd name="connsiteY2" fmla="*/ 0 h 28242"/>
                    <a:gd name="connsiteX3" fmla="*/ 25321 w 25321"/>
                    <a:gd name="connsiteY3" fmla="*/ 12870 h 28242"/>
                    <a:gd name="connsiteX4" fmla="*/ 25321 w 25321"/>
                    <a:gd name="connsiteY4" fmla="*/ 28243 h 2824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25321" h="28242">
                      <a:moveTo>
                        <a:pt x="0" y="28243"/>
                      </a:moveTo>
                      <a:lnTo>
                        <a:pt x="0" y="12870"/>
                      </a:lnTo>
                      <a:cubicBezTo>
                        <a:pt x="0" y="5795"/>
                        <a:pt x="5687" y="0"/>
                        <a:pt x="12667" y="0"/>
                      </a:cubicBezTo>
                      <a:cubicBezTo>
                        <a:pt x="19647" y="0"/>
                        <a:pt x="25321" y="5795"/>
                        <a:pt x="25321" y="12870"/>
                      </a:cubicBezTo>
                      <a:lnTo>
                        <a:pt x="25321" y="28243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grpSp>
              <p:nvGrpSpPr>
                <p:cNvPr id="874" name="Gráfico 10">
                  <a:extLst>
                    <a:ext uri="{FF2B5EF4-FFF2-40B4-BE49-F238E27FC236}">
                      <a16:creationId xmlns:a16="http://schemas.microsoft.com/office/drawing/2014/main" id="{039A525A-DDF6-7F90-B599-37ADE5DC03F9}"/>
                    </a:ext>
                  </a:extLst>
                </p:cNvPr>
                <p:cNvGrpSpPr/>
                <p:nvPr/>
              </p:nvGrpSpPr>
              <p:grpSpPr>
                <a:xfrm>
                  <a:off x="8762352" y="2657127"/>
                  <a:ext cx="76000" cy="118957"/>
                  <a:chOff x="8762352" y="2657127"/>
                  <a:chExt cx="76000" cy="118957"/>
                </a:xfrm>
                <a:noFill/>
              </p:grpSpPr>
              <p:sp>
                <p:nvSpPr>
                  <p:cNvPr id="875" name="Forma livre: Forma 874">
                    <a:extLst>
                      <a:ext uri="{FF2B5EF4-FFF2-40B4-BE49-F238E27FC236}">
                        <a16:creationId xmlns:a16="http://schemas.microsoft.com/office/drawing/2014/main" id="{C243D73B-885D-2C6D-1777-A3210AF3ABDC}"/>
                      </a:ext>
                    </a:extLst>
                  </p:cNvPr>
                  <p:cNvSpPr/>
                  <p:nvPr/>
                </p:nvSpPr>
                <p:spPr>
                  <a:xfrm>
                    <a:off x="8813019" y="2657307"/>
                    <a:ext cx="25333" cy="75892"/>
                  </a:xfrm>
                  <a:custGeom>
                    <a:avLst/>
                    <a:gdLst>
                      <a:gd name="connsiteX0" fmla="*/ 0 w 25333"/>
                      <a:gd name="connsiteY0" fmla="*/ 75893 h 75892"/>
                      <a:gd name="connsiteX1" fmla="*/ 0 w 25333"/>
                      <a:gd name="connsiteY1" fmla="*/ 12882 h 75892"/>
                      <a:gd name="connsiteX2" fmla="*/ 12667 w 25333"/>
                      <a:gd name="connsiteY2" fmla="*/ 0 h 75892"/>
                      <a:gd name="connsiteX3" fmla="*/ 25333 w 25333"/>
                      <a:gd name="connsiteY3" fmla="*/ 12882 h 75892"/>
                      <a:gd name="connsiteX4" fmla="*/ 25333 w 25333"/>
                      <a:gd name="connsiteY4" fmla="*/ 41149 h 7589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25333" h="75892">
                        <a:moveTo>
                          <a:pt x="0" y="75893"/>
                        </a:moveTo>
                        <a:lnTo>
                          <a:pt x="0" y="12882"/>
                        </a:lnTo>
                        <a:cubicBezTo>
                          <a:pt x="0" y="5795"/>
                          <a:pt x="5699" y="0"/>
                          <a:pt x="12667" y="0"/>
                        </a:cubicBezTo>
                        <a:cubicBezTo>
                          <a:pt x="19635" y="0"/>
                          <a:pt x="25333" y="5795"/>
                          <a:pt x="25333" y="12882"/>
                        </a:cubicBezTo>
                        <a:lnTo>
                          <a:pt x="25333" y="41149"/>
                        </a:lnTo>
                      </a:path>
                    </a:pathLst>
                  </a:custGeom>
                  <a:noFill/>
                  <a:ln w="6350" cap="rnd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876" name="Forma livre: Forma 875">
                    <a:extLst>
                      <a:ext uri="{FF2B5EF4-FFF2-40B4-BE49-F238E27FC236}">
                        <a16:creationId xmlns:a16="http://schemas.microsoft.com/office/drawing/2014/main" id="{B0615A69-1FD6-7C95-9D9C-533112EB1A8A}"/>
                      </a:ext>
                    </a:extLst>
                  </p:cNvPr>
                  <p:cNvSpPr/>
                  <p:nvPr/>
                </p:nvSpPr>
                <p:spPr>
                  <a:xfrm>
                    <a:off x="8762352" y="2657127"/>
                    <a:ext cx="25333" cy="118957"/>
                  </a:xfrm>
                  <a:custGeom>
                    <a:avLst/>
                    <a:gdLst>
                      <a:gd name="connsiteX0" fmla="*/ 0 w 25333"/>
                      <a:gd name="connsiteY0" fmla="*/ 118957 h 118957"/>
                      <a:gd name="connsiteX1" fmla="*/ 0 w 25333"/>
                      <a:gd name="connsiteY1" fmla="*/ 12882 h 118957"/>
                      <a:gd name="connsiteX2" fmla="*/ 12655 w 25333"/>
                      <a:gd name="connsiteY2" fmla="*/ 0 h 118957"/>
                      <a:gd name="connsiteX3" fmla="*/ 25333 w 25333"/>
                      <a:gd name="connsiteY3" fmla="*/ 12882 h 118957"/>
                      <a:gd name="connsiteX4" fmla="*/ 25333 w 25333"/>
                      <a:gd name="connsiteY4" fmla="*/ 76838 h 11895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25333" h="118957">
                        <a:moveTo>
                          <a:pt x="0" y="118957"/>
                        </a:moveTo>
                        <a:lnTo>
                          <a:pt x="0" y="12882"/>
                        </a:lnTo>
                        <a:cubicBezTo>
                          <a:pt x="0" y="5795"/>
                          <a:pt x="5699" y="0"/>
                          <a:pt x="12655" y="0"/>
                        </a:cubicBezTo>
                        <a:cubicBezTo>
                          <a:pt x="19611" y="0"/>
                          <a:pt x="25333" y="5795"/>
                          <a:pt x="25333" y="12882"/>
                        </a:cubicBezTo>
                        <a:lnTo>
                          <a:pt x="25333" y="76838"/>
                        </a:lnTo>
                      </a:path>
                    </a:pathLst>
                  </a:custGeom>
                  <a:noFill/>
                  <a:ln w="6350" cap="rnd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</p:grpSp>
          <p:sp>
            <p:nvSpPr>
              <p:cNvPr id="877" name="Forma livre: Forma 876">
                <a:extLst>
                  <a:ext uri="{FF2B5EF4-FFF2-40B4-BE49-F238E27FC236}">
                    <a16:creationId xmlns:a16="http://schemas.microsoft.com/office/drawing/2014/main" id="{2C11D0F7-D2DD-8069-F08E-152B928E5642}"/>
                  </a:ext>
                </a:extLst>
              </p:cNvPr>
              <p:cNvSpPr/>
              <p:nvPr/>
            </p:nvSpPr>
            <p:spPr>
              <a:xfrm>
                <a:off x="8732979" y="2716832"/>
                <a:ext cx="29276" cy="134007"/>
              </a:xfrm>
              <a:custGeom>
                <a:avLst/>
                <a:gdLst>
                  <a:gd name="connsiteX0" fmla="*/ 29013 w 29276"/>
                  <a:gd name="connsiteY0" fmla="*/ 14404 h 134007"/>
                  <a:gd name="connsiteX1" fmla="*/ 5 w 29276"/>
                  <a:gd name="connsiteY1" fmla="*/ 5054 h 134007"/>
                  <a:gd name="connsiteX2" fmla="*/ 5 w 29276"/>
                  <a:gd name="connsiteY2" fmla="*/ 70494 h 134007"/>
                  <a:gd name="connsiteX3" fmla="*/ 29277 w 29276"/>
                  <a:gd name="connsiteY3" fmla="*/ 113200 h 134007"/>
                  <a:gd name="connsiteX4" fmla="*/ 29277 w 29276"/>
                  <a:gd name="connsiteY4" fmla="*/ 134008 h 1340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9276" h="134007">
                    <a:moveTo>
                      <a:pt x="29013" y="14404"/>
                    </a:moveTo>
                    <a:cubicBezTo>
                      <a:pt x="17843" y="-1950"/>
                      <a:pt x="5" y="-3351"/>
                      <a:pt x="5" y="5054"/>
                    </a:cubicBezTo>
                    <a:lnTo>
                      <a:pt x="5" y="70494"/>
                    </a:lnTo>
                    <a:cubicBezTo>
                      <a:pt x="5" y="78779"/>
                      <a:pt x="-1061" y="85663"/>
                      <a:pt x="29277" y="113200"/>
                    </a:cubicBezTo>
                    <a:lnTo>
                      <a:pt x="29277" y="134008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878" name="Forma livre: Forma 877">
                <a:extLst>
                  <a:ext uri="{FF2B5EF4-FFF2-40B4-BE49-F238E27FC236}">
                    <a16:creationId xmlns:a16="http://schemas.microsoft.com/office/drawing/2014/main" id="{09551DA1-8F1A-5B89-2304-B51A7D68E825}"/>
                  </a:ext>
                </a:extLst>
              </p:cNvPr>
              <p:cNvSpPr/>
              <p:nvPr/>
            </p:nvSpPr>
            <p:spPr>
              <a:xfrm>
                <a:off x="8838352" y="2682089"/>
                <a:ext cx="25314" cy="168749"/>
              </a:xfrm>
              <a:custGeom>
                <a:avLst/>
                <a:gdLst>
                  <a:gd name="connsiteX0" fmla="*/ 0 w 25314"/>
                  <a:gd name="connsiteY0" fmla="*/ 58640 h 168749"/>
                  <a:gd name="connsiteX1" fmla="*/ 0 w 25314"/>
                  <a:gd name="connsiteY1" fmla="*/ 12870 h 168749"/>
                  <a:gd name="connsiteX2" fmla="*/ 12655 w 25314"/>
                  <a:gd name="connsiteY2" fmla="*/ 0 h 168749"/>
                  <a:gd name="connsiteX3" fmla="*/ 25286 w 25314"/>
                  <a:gd name="connsiteY3" fmla="*/ 12870 h 168749"/>
                  <a:gd name="connsiteX4" fmla="*/ 25286 w 25314"/>
                  <a:gd name="connsiteY4" fmla="*/ 105237 h 168749"/>
                  <a:gd name="connsiteX5" fmla="*/ 12475 w 25314"/>
                  <a:gd name="connsiteY5" fmla="*/ 147942 h 168749"/>
                  <a:gd name="connsiteX6" fmla="*/ 12475 w 25314"/>
                  <a:gd name="connsiteY6" fmla="*/ 168750 h 1687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5314" h="168749">
                    <a:moveTo>
                      <a:pt x="0" y="58640"/>
                    </a:moveTo>
                    <a:lnTo>
                      <a:pt x="0" y="12870"/>
                    </a:lnTo>
                    <a:cubicBezTo>
                      <a:pt x="0" y="5783"/>
                      <a:pt x="5699" y="0"/>
                      <a:pt x="12655" y="0"/>
                    </a:cubicBezTo>
                    <a:cubicBezTo>
                      <a:pt x="19611" y="0"/>
                      <a:pt x="25286" y="5795"/>
                      <a:pt x="25286" y="12870"/>
                    </a:cubicBezTo>
                    <a:lnTo>
                      <a:pt x="25286" y="105237"/>
                    </a:lnTo>
                    <a:cubicBezTo>
                      <a:pt x="25286" y="113617"/>
                      <a:pt x="26543" y="128487"/>
                      <a:pt x="12475" y="147942"/>
                    </a:cubicBezTo>
                    <a:lnTo>
                      <a:pt x="12475" y="168750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879" name="Gráfico 10">
              <a:extLst>
                <a:ext uri="{FF2B5EF4-FFF2-40B4-BE49-F238E27FC236}">
                  <a16:creationId xmlns:a16="http://schemas.microsoft.com/office/drawing/2014/main" id="{A11AE68A-E223-0F85-39BB-299EAF44E141}"/>
                </a:ext>
              </a:extLst>
            </p:cNvPr>
            <p:cNvGrpSpPr/>
            <p:nvPr/>
          </p:nvGrpSpPr>
          <p:grpSpPr>
            <a:xfrm>
              <a:off x="8745459" y="2852491"/>
              <a:ext cx="121483" cy="39544"/>
              <a:chOff x="8745459" y="2852491"/>
              <a:chExt cx="121483" cy="39544"/>
            </a:xfrm>
          </p:grpSpPr>
          <p:sp>
            <p:nvSpPr>
              <p:cNvPr id="880" name="Forma livre: Forma 879">
                <a:extLst>
                  <a:ext uri="{FF2B5EF4-FFF2-40B4-BE49-F238E27FC236}">
                    <a16:creationId xmlns:a16="http://schemas.microsoft.com/office/drawing/2014/main" id="{258EDC85-F07B-7F2C-FFE4-A01396AED24C}"/>
                  </a:ext>
                </a:extLst>
              </p:cNvPr>
              <p:cNvSpPr/>
              <p:nvPr/>
            </p:nvSpPr>
            <p:spPr>
              <a:xfrm>
                <a:off x="8745459" y="2852491"/>
                <a:ext cx="121483" cy="39544"/>
              </a:xfrm>
              <a:custGeom>
                <a:avLst/>
                <a:gdLst>
                  <a:gd name="connsiteX0" fmla="*/ 121483 w 121483"/>
                  <a:gd name="connsiteY0" fmla="*/ 39185 h 39544"/>
                  <a:gd name="connsiteX1" fmla="*/ 121483 w 121483"/>
                  <a:gd name="connsiteY1" fmla="*/ 0 h 39544"/>
                  <a:gd name="connsiteX2" fmla="*/ 0 w 121483"/>
                  <a:gd name="connsiteY2" fmla="*/ 0 h 39544"/>
                  <a:gd name="connsiteX3" fmla="*/ 0 w 121483"/>
                  <a:gd name="connsiteY3" fmla="*/ 39545 h 395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21483" h="39544">
                    <a:moveTo>
                      <a:pt x="121483" y="39185"/>
                    </a:moveTo>
                    <a:lnTo>
                      <a:pt x="121483" y="0"/>
                    </a:lnTo>
                    <a:lnTo>
                      <a:pt x="0" y="0"/>
                    </a:lnTo>
                    <a:lnTo>
                      <a:pt x="0" y="39545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881" name="Forma livre: Forma 880">
                <a:extLst>
                  <a:ext uri="{FF2B5EF4-FFF2-40B4-BE49-F238E27FC236}">
                    <a16:creationId xmlns:a16="http://schemas.microsoft.com/office/drawing/2014/main" id="{5271E950-8E30-EA58-1228-5ECBF0E56606}"/>
                  </a:ext>
                </a:extLst>
              </p:cNvPr>
              <p:cNvSpPr/>
              <p:nvPr/>
            </p:nvSpPr>
            <p:spPr>
              <a:xfrm>
                <a:off x="8773630" y="2876759"/>
                <a:ext cx="7470" cy="7458"/>
              </a:xfrm>
              <a:custGeom>
                <a:avLst/>
                <a:gdLst>
                  <a:gd name="connsiteX0" fmla="*/ 3735 w 7470"/>
                  <a:gd name="connsiteY0" fmla="*/ 7459 h 7458"/>
                  <a:gd name="connsiteX1" fmla="*/ 0 w 7470"/>
                  <a:gd name="connsiteY1" fmla="*/ 3735 h 7458"/>
                  <a:gd name="connsiteX2" fmla="*/ 3735 w 7470"/>
                  <a:gd name="connsiteY2" fmla="*/ 0 h 7458"/>
                  <a:gd name="connsiteX3" fmla="*/ 7471 w 7470"/>
                  <a:gd name="connsiteY3" fmla="*/ 3735 h 7458"/>
                  <a:gd name="connsiteX4" fmla="*/ 3735 w 7470"/>
                  <a:gd name="connsiteY4" fmla="*/ 7459 h 74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470" h="7458">
                    <a:moveTo>
                      <a:pt x="3735" y="7459"/>
                    </a:moveTo>
                    <a:cubicBezTo>
                      <a:pt x="1664" y="7459"/>
                      <a:pt x="0" y="5795"/>
                      <a:pt x="0" y="3735"/>
                    </a:cubicBezTo>
                    <a:cubicBezTo>
                      <a:pt x="0" y="1676"/>
                      <a:pt x="1664" y="0"/>
                      <a:pt x="3735" y="0"/>
                    </a:cubicBezTo>
                    <a:cubicBezTo>
                      <a:pt x="5807" y="0"/>
                      <a:pt x="7471" y="1664"/>
                      <a:pt x="7471" y="3735"/>
                    </a:cubicBezTo>
                    <a:cubicBezTo>
                      <a:pt x="7471" y="5807"/>
                      <a:pt x="5807" y="7459"/>
                      <a:pt x="3735" y="7459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882" name="Gráfico 10">
              <a:extLst>
                <a:ext uri="{FF2B5EF4-FFF2-40B4-BE49-F238E27FC236}">
                  <a16:creationId xmlns:a16="http://schemas.microsoft.com/office/drawing/2014/main" id="{B52766AA-484E-9352-D4B9-2D5ADD4A23A6}"/>
                </a:ext>
              </a:extLst>
            </p:cNvPr>
            <p:cNvGrpSpPr/>
            <p:nvPr/>
          </p:nvGrpSpPr>
          <p:grpSpPr>
            <a:xfrm>
              <a:off x="8735821" y="2572243"/>
              <a:ext cx="129791" cy="89038"/>
              <a:chOff x="8735821" y="2572243"/>
              <a:chExt cx="129791" cy="89038"/>
            </a:xfrm>
          </p:grpSpPr>
          <p:grpSp>
            <p:nvGrpSpPr>
              <p:cNvPr id="883" name="Gráfico 10">
                <a:extLst>
                  <a:ext uri="{FF2B5EF4-FFF2-40B4-BE49-F238E27FC236}">
                    <a16:creationId xmlns:a16="http://schemas.microsoft.com/office/drawing/2014/main" id="{0D484971-C4EB-75CD-88D9-6910F1BFE6B4}"/>
                  </a:ext>
                </a:extLst>
              </p:cNvPr>
              <p:cNvGrpSpPr/>
              <p:nvPr/>
            </p:nvGrpSpPr>
            <p:grpSpPr>
              <a:xfrm>
                <a:off x="8740143" y="2613428"/>
                <a:ext cx="125469" cy="47853"/>
                <a:chOff x="8740143" y="2613428"/>
                <a:chExt cx="125469" cy="47853"/>
              </a:xfrm>
              <a:noFill/>
            </p:grpSpPr>
            <p:sp>
              <p:nvSpPr>
                <p:cNvPr id="884" name="Forma livre: Forma 883">
                  <a:extLst>
                    <a:ext uri="{FF2B5EF4-FFF2-40B4-BE49-F238E27FC236}">
                      <a16:creationId xmlns:a16="http://schemas.microsoft.com/office/drawing/2014/main" id="{B2AC53C5-4DED-CA9F-199A-3CCB4DFE2BD4}"/>
                    </a:ext>
                  </a:extLst>
                </p:cNvPr>
                <p:cNvSpPr/>
                <p:nvPr/>
              </p:nvSpPr>
              <p:spPr>
                <a:xfrm>
                  <a:off x="8840519" y="2613428"/>
                  <a:ext cx="25093" cy="47853"/>
                </a:xfrm>
                <a:custGeom>
                  <a:avLst/>
                  <a:gdLst>
                    <a:gd name="connsiteX0" fmla="*/ 25094 w 25093"/>
                    <a:gd name="connsiteY0" fmla="*/ 47853 h 47853"/>
                    <a:gd name="connsiteX1" fmla="*/ 0 w 25093"/>
                    <a:gd name="connsiteY1" fmla="*/ 20820 h 47853"/>
                    <a:gd name="connsiteX2" fmla="*/ 0 w 25093"/>
                    <a:gd name="connsiteY2" fmla="*/ 0 h 4785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25093" h="47853">
                      <a:moveTo>
                        <a:pt x="25094" y="47853"/>
                      </a:moveTo>
                      <a:cubicBezTo>
                        <a:pt x="21263" y="41783"/>
                        <a:pt x="13960" y="33487"/>
                        <a:pt x="0" y="20820"/>
                      </a:cubicBezTo>
                      <a:lnTo>
                        <a:pt x="0" y="0"/>
                      </a:ln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885" name="Forma livre: Forma 884">
                  <a:extLst>
                    <a:ext uri="{FF2B5EF4-FFF2-40B4-BE49-F238E27FC236}">
                      <a16:creationId xmlns:a16="http://schemas.microsoft.com/office/drawing/2014/main" id="{3E28B4EA-F3F0-5E89-D469-586D471A3539}"/>
                    </a:ext>
                  </a:extLst>
                </p:cNvPr>
                <p:cNvSpPr/>
                <p:nvPr/>
              </p:nvSpPr>
              <p:spPr>
                <a:xfrm>
                  <a:off x="8740143" y="2613428"/>
                  <a:ext cx="11780" cy="46811"/>
                </a:xfrm>
                <a:custGeom>
                  <a:avLst/>
                  <a:gdLst>
                    <a:gd name="connsiteX0" fmla="*/ 0 w 11780"/>
                    <a:gd name="connsiteY0" fmla="*/ 46812 h 46811"/>
                    <a:gd name="connsiteX1" fmla="*/ 11781 w 11780"/>
                    <a:gd name="connsiteY1" fmla="*/ 20820 h 46811"/>
                    <a:gd name="connsiteX2" fmla="*/ 11781 w 11780"/>
                    <a:gd name="connsiteY2" fmla="*/ 0 h 4681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1780" h="46811">
                      <a:moveTo>
                        <a:pt x="0" y="46812"/>
                      </a:moveTo>
                      <a:cubicBezTo>
                        <a:pt x="1389" y="39521"/>
                        <a:pt x="4585" y="30769"/>
                        <a:pt x="11781" y="20820"/>
                      </a:cubicBezTo>
                      <a:lnTo>
                        <a:pt x="11781" y="0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886" name="Gráfico 10">
                <a:extLst>
                  <a:ext uri="{FF2B5EF4-FFF2-40B4-BE49-F238E27FC236}">
                    <a16:creationId xmlns:a16="http://schemas.microsoft.com/office/drawing/2014/main" id="{6454F2AE-FDC4-FC8A-34CC-B928B79BB814}"/>
                  </a:ext>
                </a:extLst>
              </p:cNvPr>
              <p:cNvGrpSpPr/>
              <p:nvPr/>
            </p:nvGrpSpPr>
            <p:grpSpPr>
              <a:xfrm>
                <a:off x="8735821" y="2572243"/>
                <a:ext cx="121483" cy="39544"/>
                <a:chOff x="8735821" y="2572243"/>
                <a:chExt cx="121483" cy="39544"/>
              </a:xfrm>
            </p:grpSpPr>
            <p:sp>
              <p:nvSpPr>
                <p:cNvPr id="887" name="Forma livre: Forma 886">
                  <a:extLst>
                    <a:ext uri="{FF2B5EF4-FFF2-40B4-BE49-F238E27FC236}">
                      <a16:creationId xmlns:a16="http://schemas.microsoft.com/office/drawing/2014/main" id="{175752C3-1757-CBA5-8EA3-5BE6953CD422}"/>
                    </a:ext>
                  </a:extLst>
                </p:cNvPr>
                <p:cNvSpPr/>
                <p:nvPr/>
              </p:nvSpPr>
              <p:spPr>
                <a:xfrm>
                  <a:off x="8735821" y="2572243"/>
                  <a:ext cx="121483" cy="39544"/>
                </a:xfrm>
                <a:custGeom>
                  <a:avLst/>
                  <a:gdLst>
                    <a:gd name="connsiteX0" fmla="*/ 0 w 121483"/>
                    <a:gd name="connsiteY0" fmla="*/ 359 h 39544"/>
                    <a:gd name="connsiteX1" fmla="*/ 0 w 121483"/>
                    <a:gd name="connsiteY1" fmla="*/ 39544 h 39544"/>
                    <a:gd name="connsiteX2" fmla="*/ 121483 w 121483"/>
                    <a:gd name="connsiteY2" fmla="*/ 39544 h 39544"/>
                    <a:gd name="connsiteX3" fmla="*/ 121483 w 121483"/>
                    <a:gd name="connsiteY3" fmla="*/ 0 h 3954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21483" h="39544">
                      <a:moveTo>
                        <a:pt x="0" y="359"/>
                      </a:moveTo>
                      <a:lnTo>
                        <a:pt x="0" y="39544"/>
                      </a:lnTo>
                      <a:lnTo>
                        <a:pt x="121483" y="39544"/>
                      </a:lnTo>
                      <a:lnTo>
                        <a:pt x="121483" y="0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888" name="Forma livre: Forma 887">
                  <a:extLst>
                    <a:ext uri="{FF2B5EF4-FFF2-40B4-BE49-F238E27FC236}">
                      <a16:creationId xmlns:a16="http://schemas.microsoft.com/office/drawing/2014/main" id="{C2B7D6DD-DB85-C2E7-64F7-A3041113601C}"/>
                    </a:ext>
                  </a:extLst>
                </p:cNvPr>
                <p:cNvSpPr/>
                <p:nvPr/>
              </p:nvSpPr>
              <p:spPr>
                <a:xfrm>
                  <a:off x="8821663" y="2580061"/>
                  <a:ext cx="7470" cy="7470"/>
                </a:xfrm>
                <a:custGeom>
                  <a:avLst/>
                  <a:gdLst>
                    <a:gd name="connsiteX0" fmla="*/ 3735 w 7470"/>
                    <a:gd name="connsiteY0" fmla="*/ 0 h 7470"/>
                    <a:gd name="connsiteX1" fmla="*/ 7471 w 7470"/>
                    <a:gd name="connsiteY1" fmla="*/ 3735 h 7470"/>
                    <a:gd name="connsiteX2" fmla="*/ 3735 w 7470"/>
                    <a:gd name="connsiteY2" fmla="*/ 7471 h 7470"/>
                    <a:gd name="connsiteX3" fmla="*/ 0 w 7470"/>
                    <a:gd name="connsiteY3" fmla="*/ 3735 h 7470"/>
                    <a:gd name="connsiteX4" fmla="*/ 3735 w 7470"/>
                    <a:gd name="connsiteY4" fmla="*/ 0 h 747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7470" h="7470">
                      <a:moveTo>
                        <a:pt x="3735" y="0"/>
                      </a:moveTo>
                      <a:cubicBezTo>
                        <a:pt x="5807" y="0"/>
                        <a:pt x="7471" y="1664"/>
                        <a:pt x="7471" y="3735"/>
                      </a:cubicBezTo>
                      <a:cubicBezTo>
                        <a:pt x="7471" y="5807"/>
                        <a:pt x="5807" y="7471"/>
                        <a:pt x="3735" y="7471"/>
                      </a:cubicBezTo>
                      <a:cubicBezTo>
                        <a:pt x="1664" y="7471"/>
                        <a:pt x="0" y="5795"/>
                        <a:pt x="0" y="3735"/>
                      </a:cubicBezTo>
                      <a:cubicBezTo>
                        <a:pt x="0" y="1676"/>
                        <a:pt x="1664" y="0"/>
                        <a:pt x="3735" y="0"/>
                      </a:cubicBezTo>
                      <a:close/>
                    </a:path>
                  </a:pathLst>
                </a:custGeom>
                <a:solidFill>
                  <a:srgbClr val="394553"/>
                </a:solidFill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grpSp>
          <p:nvGrpSpPr>
            <p:cNvPr id="889" name="Gráfico 10">
              <a:extLst>
                <a:ext uri="{FF2B5EF4-FFF2-40B4-BE49-F238E27FC236}">
                  <a16:creationId xmlns:a16="http://schemas.microsoft.com/office/drawing/2014/main" id="{B50FE139-16CD-C063-E984-C48B8209A407}"/>
                </a:ext>
              </a:extLst>
            </p:cNvPr>
            <p:cNvGrpSpPr/>
            <p:nvPr/>
          </p:nvGrpSpPr>
          <p:grpSpPr>
            <a:xfrm>
              <a:off x="8745459" y="2852491"/>
              <a:ext cx="121483" cy="39544"/>
              <a:chOff x="8745459" y="2852491"/>
              <a:chExt cx="121483" cy="39544"/>
            </a:xfrm>
          </p:grpSpPr>
          <p:sp>
            <p:nvSpPr>
              <p:cNvPr id="890" name="Forma livre: Forma 889">
                <a:extLst>
                  <a:ext uri="{FF2B5EF4-FFF2-40B4-BE49-F238E27FC236}">
                    <a16:creationId xmlns:a16="http://schemas.microsoft.com/office/drawing/2014/main" id="{E0FF0AD7-5E40-9C1E-BB04-A099E79B9D5D}"/>
                  </a:ext>
                </a:extLst>
              </p:cNvPr>
              <p:cNvSpPr/>
              <p:nvPr/>
            </p:nvSpPr>
            <p:spPr>
              <a:xfrm>
                <a:off x="8745459" y="2852491"/>
                <a:ext cx="121483" cy="39544"/>
              </a:xfrm>
              <a:custGeom>
                <a:avLst/>
                <a:gdLst>
                  <a:gd name="connsiteX0" fmla="*/ 121483 w 121483"/>
                  <a:gd name="connsiteY0" fmla="*/ 39185 h 39544"/>
                  <a:gd name="connsiteX1" fmla="*/ 121483 w 121483"/>
                  <a:gd name="connsiteY1" fmla="*/ 0 h 39544"/>
                  <a:gd name="connsiteX2" fmla="*/ 0 w 121483"/>
                  <a:gd name="connsiteY2" fmla="*/ 0 h 39544"/>
                  <a:gd name="connsiteX3" fmla="*/ 0 w 121483"/>
                  <a:gd name="connsiteY3" fmla="*/ 39545 h 395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21483" h="39544">
                    <a:moveTo>
                      <a:pt x="121483" y="39185"/>
                    </a:moveTo>
                    <a:lnTo>
                      <a:pt x="121483" y="0"/>
                    </a:lnTo>
                    <a:lnTo>
                      <a:pt x="0" y="0"/>
                    </a:lnTo>
                    <a:lnTo>
                      <a:pt x="0" y="39545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891" name="Forma livre: Forma 890">
                <a:extLst>
                  <a:ext uri="{FF2B5EF4-FFF2-40B4-BE49-F238E27FC236}">
                    <a16:creationId xmlns:a16="http://schemas.microsoft.com/office/drawing/2014/main" id="{9E4DA634-AAD9-8E6F-392D-08B6C3A9BDFD}"/>
                  </a:ext>
                </a:extLst>
              </p:cNvPr>
              <p:cNvSpPr/>
              <p:nvPr/>
            </p:nvSpPr>
            <p:spPr>
              <a:xfrm>
                <a:off x="8773630" y="2876759"/>
                <a:ext cx="7470" cy="7458"/>
              </a:xfrm>
              <a:custGeom>
                <a:avLst/>
                <a:gdLst>
                  <a:gd name="connsiteX0" fmla="*/ 3735 w 7470"/>
                  <a:gd name="connsiteY0" fmla="*/ 7459 h 7458"/>
                  <a:gd name="connsiteX1" fmla="*/ 0 w 7470"/>
                  <a:gd name="connsiteY1" fmla="*/ 3735 h 7458"/>
                  <a:gd name="connsiteX2" fmla="*/ 3735 w 7470"/>
                  <a:gd name="connsiteY2" fmla="*/ 0 h 7458"/>
                  <a:gd name="connsiteX3" fmla="*/ 7471 w 7470"/>
                  <a:gd name="connsiteY3" fmla="*/ 3735 h 7458"/>
                  <a:gd name="connsiteX4" fmla="*/ 3735 w 7470"/>
                  <a:gd name="connsiteY4" fmla="*/ 7459 h 74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470" h="7458">
                    <a:moveTo>
                      <a:pt x="3735" y="7459"/>
                    </a:moveTo>
                    <a:cubicBezTo>
                      <a:pt x="1664" y="7459"/>
                      <a:pt x="0" y="5795"/>
                      <a:pt x="0" y="3735"/>
                    </a:cubicBezTo>
                    <a:cubicBezTo>
                      <a:pt x="0" y="1676"/>
                      <a:pt x="1664" y="0"/>
                      <a:pt x="3735" y="0"/>
                    </a:cubicBezTo>
                    <a:cubicBezTo>
                      <a:pt x="5807" y="0"/>
                      <a:pt x="7471" y="1664"/>
                      <a:pt x="7471" y="3735"/>
                    </a:cubicBezTo>
                    <a:cubicBezTo>
                      <a:pt x="7471" y="5807"/>
                      <a:pt x="5807" y="7459"/>
                      <a:pt x="3735" y="7459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892" name="Gráfico 10">
              <a:extLst>
                <a:ext uri="{FF2B5EF4-FFF2-40B4-BE49-F238E27FC236}">
                  <a16:creationId xmlns:a16="http://schemas.microsoft.com/office/drawing/2014/main" id="{2E7757CB-E07D-A308-8728-3201991A43DA}"/>
                </a:ext>
              </a:extLst>
            </p:cNvPr>
            <p:cNvGrpSpPr/>
            <p:nvPr/>
          </p:nvGrpSpPr>
          <p:grpSpPr>
            <a:xfrm>
              <a:off x="8643251" y="2679863"/>
              <a:ext cx="319792" cy="133958"/>
              <a:chOff x="8643251" y="2679863"/>
              <a:chExt cx="319792" cy="133958"/>
            </a:xfrm>
          </p:grpSpPr>
          <p:grpSp>
            <p:nvGrpSpPr>
              <p:cNvPr id="893" name="Gráfico 10">
                <a:extLst>
                  <a:ext uri="{FF2B5EF4-FFF2-40B4-BE49-F238E27FC236}">
                    <a16:creationId xmlns:a16="http://schemas.microsoft.com/office/drawing/2014/main" id="{BF5D9E31-0DFA-816E-242F-39511FDD6B09}"/>
                  </a:ext>
                </a:extLst>
              </p:cNvPr>
              <p:cNvGrpSpPr/>
              <p:nvPr/>
            </p:nvGrpSpPr>
            <p:grpSpPr>
              <a:xfrm>
                <a:off x="8858334" y="2683113"/>
                <a:ext cx="63525" cy="130707"/>
                <a:chOff x="8858334" y="2683113"/>
                <a:chExt cx="63525" cy="130707"/>
              </a:xfrm>
              <a:noFill/>
            </p:grpSpPr>
            <p:sp>
              <p:nvSpPr>
                <p:cNvPr id="894" name="Forma livre: Forma 893">
                  <a:extLst>
                    <a:ext uri="{FF2B5EF4-FFF2-40B4-BE49-F238E27FC236}">
                      <a16:creationId xmlns:a16="http://schemas.microsoft.com/office/drawing/2014/main" id="{6B75D112-A967-AFA0-315A-3D8E3E67168F}"/>
                    </a:ext>
                  </a:extLst>
                </p:cNvPr>
                <p:cNvSpPr/>
                <p:nvPr/>
              </p:nvSpPr>
              <p:spPr>
                <a:xfrm>
                  <a:off x="8860453" y="2784536"/>
                  <a:ext cx="61405" cy="29284"/>
                </a:xfrm>
                <a:custGeom>
                  <a:avLst/>
                  <a:gdLst>
                    <a:gd name="connsiteX0" fmla="*/ 0 w 61405"/>
                    <a:gd name="connsiteY0" fmla="*/ 29284 h 29284"/>
                    <a:gd name="connsiteX1" fmla="*/ 40586 w 61405"/>
                    <a:gd name="connsiteY1" fmla="*/ 0 h 29284"/>
                    <a:gd name="connsiteX2" fmla="*/ 61406 w 61405"/>
                    <a:gd name="connsiteY2" fmla="*/ 0 h 2928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61405" h="29284">
                      <a:moveTo>
                        <a:pt x="0" y="29284"/>
                      </a:moveTo>
                      <a:cubicBezTo>
                        <a:pt x="7495" y="29224"/>
                        <a:pt x="15408" y="27728"/>
                        <a:pt x="40586" y="0"/>
                      </a:cubicBezTo>
                      <a:lnTo>
                        <a:pt x="61406" y="0"/>
                      </a:ln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895" name="Forma livre: Forma 894">
                  <a:extLst>
                    <a:ext uri="{FF2B5EF4-FFF2-40B4-BE49-F238E27FC236}">
                      <a16:creationId xmlns:a16="http://schemas.microsoft.com/office/drawing/2014/main" id="{F7B16558-08D0-5F5D-99F8-5AAB86E17DD7}"/>
                    </a:ext>
                  </a:extLst>
                </p:cNvPr>
                <p:cNvSpPr/>
                <p:nvPr/>
              </p:nvSpPr>
              <p:spPr>
                <a:xfrm>
                  <a:off x="8858334" y="2683113"/>
                  <a:ext cx="63525" cy="12827"/>
                </a:xfrm>
                <a:custGeom>
                  <a:avLst/>
                  <a:gdLst>
                    <a:gd name="connsiteX0" fmla="*/ 0 w 63525"/>
                    <a:gd name="connsiteY0" fmla="*/ 30 h 12827"/>
                    <a:gd name="connsiteX1" fmla="*/ 42705 w 63525"/>
                    <a:gd name="connsiteY1" fmla="*/ 12828 h 12827"/>
                    <a:gd name="connsiteX2" fmla="*/ 63525 w 63525"/>
                    <a:gd name="connsiteY2" fmla="*/ 12828 h 1282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63525" h="12827">
                      <a:moveTo>
                        <a:pt x="0" y="30"/>
                      </a:moveTo>
                      <a:cubicBezTo>
                        <a:pt x="8381" y="30"/>
                        <a:pt x="23250" y="-1239"/>
                        <a:pt x="42705" y="12828"/>
                      </a:cubicBezTo>
                      <a:lnTo>
                        <a:pt x="63525" y="12828"/>
                      </a:ln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896" name="Gráfico 10">
                <a:extLst>
                  <a:ext uri="{FF2B5EF4-FFF2-40B4-BE49-F238E27FC236}">
                    <a16:creationId xmlns:a16="http://schemas.microsoft.com/office/drawing/2014/main" id="{E3F3EF45-EC23-ABCA-F5A9-84C2FD6B048A}"/>
                  </a:ext>
                </a:extLst>
              </p:cNvPr>
              <p:cNvGrpSpPr/>
              <p:nvPr/>
            </p:nvGrpSpPr>
            <p:grpSpPr>
              <a:xfrm>
                <a:off x="8923499" y="2679863"/>
                <a:ext cx="39544" cy="121471"/>
                <a:chOff x="8923499" y="2679863"/>
                <a:chExt cx="39544" cy="121471"/>
              </a:xfrm>
            </p:grpSpPr>
            <p:sp>
              <p:nvSpPr>
                <p:cNvPr id="897" name="Forma livre: Forma 896">
                  <a:extLst>
                    <a:ext uri="{FF2B5EF4-FFF2-40B4-BE49-F238E27FC236}">
                      <a16:creationId xmlns:a16="http://schemas.microsoft.com/office/drawing/2014/main" id="{58AFF4E4-3C57-37D8-4164-6A7E115B6102}"/>
                    </a:ext>
                  </a:extLst>
                </p:cNvPr>
                <p:cNvSpPr/>
                <p:nvPr/>
              </p:nvSpPr>
              <p:spPr>
                <a:xfrm>
                  <a:off x="8923499" y="2679863"/>
                  <a:ext cx="39544" cy="121471"/>
                </a:xfrm>
                <a:custGeom>
                  <a:avLst/>
                  <a:gdLst>
                    <a:gd name="connsiteX0" fmla="*/ 39173 w 39544"/>
                    <a:gd name="connsiteY0" fmla="*/ 0 h 121471"/>
                    <a:gd name="connsiteX1" fmla="*/ 0 w 39544"/>
                    <a:gd name="connsiteY1" fmla="*/ 0 h 121471"/>
                    <a:gd name="connsiteX2" fmla="*/ 0 w 39544"/>
                    <a:gd name="connsiteY2" fmla="*/ 121471 h 121471"/>
                    <a:gd name="connsiteX3" fmla="*/ 39545 w 39544"/>
                    <a:gd name="connsiteY3" fmla="*/ 121471 h 1214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39544" h="121471">
                      <a:moveTo>
                        <a:pt x="39173" y="0"/>
                      </a:moveTo>
                      <a:lnTo>
                        <a:pt x="0" y="0"/>
                      </a:lnTo>
                      <a:lnTo>
                        <a:pt x="0" y="121471"/>
                      </a:lnTo>
                      <a:lnTo>
                        <a:pt x="39545" y="121471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898" name="Forma livre: Forma 897">
                  <a:extLst>
                    <a:ext uri="{FF2B5EF4-FFF2-40B4-BE49-F238E27FC236}">
                      <a16:creationId xmlns:a16="http://schemas.microsoft.com/office/drawing/2014/main" id="{90641B20-B978-AC73-24D8-84DB94807CF0}"/>
                    </a:ext>
                  </a:extLst>
                </p:cNvPr>
                <p:cNvSpPr/>
                <p:nvPr/>
              </p:nvSpPr>
              <p:spPr>
                <a:xfrm>
                  <a:off x="8947755" y="2765692"/>
                  <a:ext cx="7470" cy="7470"/>
                </a:xfrm>
                <a:custGeom>
                  <a:avLst/>
                  <a:gdLst>
                    <a:gd name="connsiteX0" fmla="*/ 7471 w 7470"/>
                    <a:gd name="connsiteY0" fmla="*/ 3735 h 7470"/>
                    <a:gd name="connsiteX1" fmla="*/ 3735 w 7470"/>
                    <a:gd name="connsiteY1" fmla="*/ 7471 h 7470"/>
                    <a:gd name="connsiteX2" fmla="*/ 0 w 7470"/>
                    <a:gd name="connsiteY2" fmla="*/ 3735 h 7470"/>
                    <a:gd name="connsiteX3" fmla="*/ 3735 w 7470"/>
                    <a:gd name="connsiteY3" fmla="*/ 0 h 7470"/>
                    <a:gd name="connsiteX4" fmla="*/ 7471 w 7470"/>
                    <a:gd name="connsiteY4" fmla="*/ 3735 h 747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7470" h="7470">
                      <a:moveTo>
                        <a:pt x="7471" y="3735"/>
                      </a:moveTo>
                      <a:cubicBezTo>
                        <a:pt x="7471" y="5807"/>
                        <a:pt x="5807" y="7471"/>
                        <a:pt x="3735" y="7471"/>
                      </a:cubicBezTo>
                      <a:cubicBezTo>
                        <a:pt x="1664" y="7471"/>
                        <a:pt x="0" y="5807"/>
                        <a:pt x="0" y="3735"/>
                      </a:cubicBezTo>
                      <a:cubicBezTo>
                        <a:pt x="0" y="1664"/>
                        <a:pt x="1676" y="0"/>
                        <a:pt x="3735" y="0"/>
                      </a:cubicBezTo>
                      <a:cubicBezTo>
                        <a:pt x="5795" y="0"/>
                        <a:pt x="7471" y="1664"/>
                        <a:pt x="7471" y="3735"/>
                      </a:cubicBezTo>
                      <a:close/>
                    </a:path>
                  </a:pathLst>
                </a:custGeom>
                <a:solidFill>
                  <a:srgbClr val="394553"/>
                </a:solidFill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899" name="Gráfico 10">
                <a:extLst>
                  <a:ext uri="{FF2B5EF4-FFF2-40B4-BE49-F238E27FC236}">
                    <a16:creationId xmlns:a16="http://schemas.microsoft.com/office/drawing/2014/main" id="{950E74BC-6F62-3DE1-7408-E3B6FEB3BA18}"/>
                  </a:ext>
                </a:extLst>
              </p:cNvPr>
              <p:cNvGrpSpPr/>
              <p:nvPr/>
            </p:nvGrpSpPr>
            <p:grpSpPr>
              <a:xfrm>
                <a:off x="8643251" y="2680629"/>
                <a:ext cx="99274" cy="133192"/>
                <a:chOff x="8643251" y="2680629"/>
                <a:chExt cx="99274" cy="133192"/>
              </a:xfrm>
            </p:grpSpPr>
            <p:grpSp>
              <p:nvGrpSpPr>
                <p:cNvPr id="900" name="Gráfico 10">
                  <a:extLst>
                    <a:ext uri="{FF2B5EF4-FFF2-40B4-BE49-F238E27FC236}">
                      <a16:creationId xmlns:a16="http://schemas.microsoft.com/office/drawing/2014/main" id="{96278936-15BE-5AAA-3686-980D06C484DC}"/>
                    </a:ext>
                  </a:extLst>
                </p:cNvPr>
                <p:cNvGrpSpPr/>
                <p:nvPr/>
              </p:nvGrpSpPr>
              <p:grpSpPr>
                <a:xfrm>
                  <a:off x="8684424" y="2680629"/>
                  <a:ext cx="58101" cy="129923"/>
                  <a:chOff x="8684424" y="2680629"/>
                  <a:chExt cx="58101" cy="129923"/>
                </a:xfrm>
                <a:noFill/>
              </p:grpSpPr>
              <p:sp>
                <p:nvSpPr>
                  <p:cNvPr id="901" name="Forma livre: Forma 900">
                    <a:extLst>
                      <a:ext uri="{FF2B5EF4-FFF2-40B4-BE49-F238E27FC236}">
                        <a16:creationId xmlns:a16="http://schemas.microsoft.com/office/drawing/2014/main" id="{37DEC918-E007-B26D-8B2B-2F96DF6194B8}"/>
                      </a:ext>
                    </a:extLst>
                  </p:cNvPr>
                  <p:cNvSpPr/>
                  <p:nvPr/>
                </p:nvSpPr>
                <p:spPr>
                  <a:xfrm>
                    <a:off x="8684436" y="2680629"/>
                    <a:ext cx="55144" cy="28494"/>
                  </a:xfrm>
                  <a:custGeom>
                    <a:avLst/>
                    <a:gdLst>
                      <a:gd name="connsiteX0" fmla="*/ 0 w 55144"/>
                      <a:gd name="connsiteY0" fmla="*/ 28494 h 28494"/>
                      <a:gd name="connsiteX1" fmla="*/ 20820 w 55144"/>
                      <a:gd name="connsiteY1" fmla="*/ 28494 h 28494"/>
                      <a:gd name="connsiteX2" fmla="*/ 55144 w 55144"/>
                      <a:gd name="connsiteY2" fmla="*/ 0 h 2849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</a:cxnLst>
                    <a:rect l="l" t="t" r="r" b="b"/>
                    <a:pathLst>
                      <a:path w="55144" h="28494">
                        <a:moveTo>
                          <a:pt x="0" y="28494"/>
                        </a:moveTo>
                        <a:lnTo>
                          <a:pt x="20820" y="28494"/>
                        </a:lnTo>
                        <a:cubicBezTo>
                          <a:pt x="39413" y="8010"/>
                          <a:pt x="48596" y="1844"/>
                          <a:pt x="55144" y="0"/>
                        </a:cubicBezTo>
                      </a:path>
                    </a:pathLst>
                  </a:custGeom>
                  <a:noFill/>
                  <a:ln w="6350" cap="flat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902" name="Forma livre: Forma 901">
                    <a:extLst>
                      <a:ext uri="{FF2B5EF4-FFF2-40B4-BE49-F238E27FC236}">
                        <a16:creationId xmlns:a16="http://schemas.microsoft.com/office/drawing/2014/main" id="{C9398237-2EC5-569D-2D9E-6D733964ED18}"/>
                      </a:ext>
                    </a:extLst>
                  </p:cNvPr>
                  <p:cNvSpPr/>
                  <p:nvPr/>
                </p:nvSpPr>
                <p:spPr>
                  <a:xfrm>
                    <a:off x="8684424" y="2797730"/>
                    <a:ext cx="58101" cy="12822"/>
                  </a:xfrm>
                  <a:custGeom>
                    <a:avLst/>
                    <a:gdLst>
                      <a:gd name="connsiteX0" fmla="*/ 58102 w 58101"/>
                      <a:gd name="connsiteY0" fmla="*/ 12822 h 12822"/>
                      <a:gd name="connsiteX1" fmla="*/ 20820 w 58101"/>
                      <a:gd name="connsiteY1" fmla="*/ 0 h 12822"/>
                      <a:gd name="connsiteX2" fmla="*/ 0 w 58101"/>
                      <a:gd name="connsiteY2" fmla="*/ 0 h 1282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</a:cxnLst>
                    <a:rect l="l" t="t" r="r" b="b"/>
                    <a:pathLst>
                      <a:path w="58101" h="12822">
                        <a:moveTo>
                          <a:pt x="58102" y="12822"/>
                        </a:moveTo>
                        <a:cubicBezTo>
                          <a:pt x="49374" y="12727"/>
                          <a:pt x="36611" y="11410"/>
                          <a:pt x="20820" y="0"/>
                        </a:cubicBezTo>
                        <a:lnTo>
                          <a:pt x="0" y="0"/>
                        </a:lnTo>
                      </a:path>
                    </a:pathLst>
                  </a:custGeom>
                  <a:noFill/>
                  <a:ln w="6350" cap="rnd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  <p:grpSp>
              <p:nvGrpSpPr>
                <p:cNvPr id="903" name="Gráfico 10">
                  <a:extLst>
                    <a:ext uri="{FF2B5EF4-FFF2-40B4-BE49-F238E27FC236}">
                      <a16:creationId xmlns:a16="http://schemas.microsoft.com/office/drawing/2014/main" id="{03A2CDD5-F8D7-D029-D676-A7DBAC2D3CAD}"/>
                    </a:ext>
                  </a:extLst>
                </p:cNvPr>
                <p:cNvGrpSpPr/>
                <p:nvPr/>
              </p:nvGrpSpPr>
              <p:grpSpPr>
                <a:xfrm>
                  <a:off x="8643251" y="2692338"/>
                  <a:ext cx="39544" cy="121483"/>
                  <a:chOff x="8643251" y="2692338"/>
                  <a:chExt cx="39544" cy="121483"/>
                </a:xfrm>
              </p:grpSpPr>
              <p:sp>
                <p:nvSpPr>
                  <p:cNvPr id="904" name="Forma livre: Forma 903">
                    <a:extLst>
                      <a:ext uri="{FF2B5EF4-FFF2-40B4-BE49-F238E27FC236}">
                        <a16:creationId xmlns:a16="http://schemas.microsoft.com/office/drawing/2014/main" id="{6AF626E6-3824-7E10-D02E-5F35BAC7EE46}"/>
                      </a:ext>
                    </a:extLst>
                  </p:cNvPr>
                  <p:cNvSpPr/>
                  <p:nvPr/>
                </p:nvSpPr>
                <p:spPr>
                  <a:xfrm>
                    <a:off x="8643251" y="2692338"/>
                    <a:ext cx="39544" cy="121483"/>
                  </a:xfrm>
                  <a:custGeom>
                    <a:avLst/>
                    <a:gdLst>
                      <a:gd name="connsiteX0" fmla="*/ 359 w 39544"/>
                      <a:gd name="connsiteY0" fmla="*/ 121483 h 121483"/>
                      <a:gd name="connsiteX1" fmla="*/ 39545 w 39544"/>
                      <a:gd name="connsiteY1" fmla="*/ 121483 h 121483"/>
                      <a:gd name="connsiteX2" fmla="*/ 39545 w 39544"/>
                      <a:gd name="connsiteY2" fmla="*/ 0 h 121483"/>
                      <a:gd name="connsiteX3" fmla="*/ 0 w 39544"/>
                      <a:gd name="connsiteY3" fmla="*/ 0 h 12148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39544" h="121483">
                        <a:moveTo>
                          <a:pt x="359" y="121483"/>
                        </a:moveTo>
                        <a:lnTo>
                          <a:pt x="39545" y="121483"/>
                        </a:lnTo>
                        <a:lnTo>
                          <a:pt x="39545" y="0"/>
                        </a:lnTo>
                        <a:lnTo>
                          <a:pt x="0" y="0"/>
                        </a:lnTo>
                      </a:path>
                    </a:pathLst>
                  </a:custGeom>
                  <a:noFill/>
                  <a:ln w="6350" cap="flat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905" name="Forma livre: Forma 904">
                    <a:extLst>
                      <a:ext uri="{FF2B5EF4-FFF2-40B4-BE49-F238E27FC236}">
                        <a16:creationId xmlns:a16="http://schemas.microsoft.com/office/drawing/2014/main" id="{BD6508B1-552F-8C38-B99D-88D0F92040E1}"/>
                      </a:ext>
                    </a:extLst>
                  </p:cNvPr>
                  <p:cNvSpPr/>
                  <p:nvPr/>
                </p:nvSpPr>
                <p:spPr>
                  <a:xfrm>
                    <a:off x="8651069" y="2720509"/>
                    <a:ext cx="7458" cy="7470"/>
                  </a:xfrm>
                  <a:custGeom>
                    <a:avLst/>
                    <a:gdLst>
                      <a:gd name="connsiteX0" fmla="*/ 0 w 7458"/>
                      <a:gd name="connsiteY0" fmla="*/ 3735 h 7470"/>
                      <a:gd name="connsiteX1" fmla="*/ 3723 w 7458"/>
                      <a:gd name="connsiteY1" fmla="*/ 0 h 7470"/>
                      <a:gd name="connsiteX2" fmla="*/ 7459 w 7458"/>
                      <a:gd name="connsiteY2" fmla="*/ 3735 h 7470"/>
                      <a:gd name="connsiteX3" fmla="*/ 3723 w 7458"/>
                      <a:gd name="connsiteY3" fmla="*/ 7471 h 7470"/>
                      <a:gd name="connsiteX4" fmla="*/ 0 w 7458"/>
                      <a:gd name="connsiteY4" fmla="*/ 3735 h 747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7458" h="7470">
                        <a:moveTo>
                          <a:pt x="0" y="3735"/>
                        </a:moveTo>
                        <a:cubicBezTo>
                          <a:pt x="0" y="1664"/>
                          <a:pt x="1664" y="0"/>
                          <a:pt x="3723" y="0"/>
                        </a:cubicBezTo>
                        <a:cubicBezTo>
                          <a:pt x="5783" y="0"/>
                          <a:pt x="7459" y="1664"/>
                          <a:pt x="7459" y="3735"/>
                        </a:cubicBezTo>
                        <a:cubicBezTo>
                          <a:pt x="7459" y="5807"/>
                          <a:pt x="5795" y="7471"/>
                          <a:pt x="3723" y="7471"/>
                        </a:cubicBezTo>
                        <a:cubicBezTo>
                          <a:pt x="1652" y="7471"/>
                          <a:pt x="0" y="5807"/>
                          <a:pt x="0" y="3735"/>
                        </a:cubicBezTo>
                        <a:close/>
                      </a:path>
                    </a:pathLst>
                  </a:custGeom>
                  <a:solidFill>
                    <a:srgbClr val="394553"/>
                  </a:solidFill>
                  <a:ln w="6350" cap="flat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</p:grpSp>
          <p:grpSp>
            <p:nvGrpSpPr>
              <p:cNvPr id="906" name="Gráfico 10">
                <a:extLst>
                  <a:ext uri="{FF2B5EF4-FFF2-40B4-BE49-F238E27FC236}">
                    <a16:creationId xmlns:a16="http://schemas.microsoft.com/office/drawing/2014/main" id="{B348B157-6BFB-BF98-C9CA-5DDDEF7D5118}"/>
                  </a:ext>
                </a:extLst>
              </p:cNvPr>
              <p:cNvGrpSpPr/>
              <p:nvPr/>
            </p:nvGrpSpPr>
            <p:grpSpPr>
              <a:xfrm>
                <a:off x="8923499" y="2679863"/>
                <a:ext cx="39544" cy="121471"/>
                <a:chOff x="8923499" y="2679863"/>
                <a:chExt cx="39544" cy="121471"/>
              </a:xfrm>
            </p:grpSpPr>
            <p:sp>
              <p:nvSpPr>
                <p:cNvPr id="907" name="Forma livre: Forma 906">
                  <a:extLst>
                    <a:ext uri="{FF2B5EF4-FFF2-40B4-BE49-F238E27FC236}">
                      <a16:creationId xmlns:a16="http://schemas.microsoft.com/office/drawing/2014/main" id="{7844DC89-AEC2-CCFD-4162-D5EF43199553}"/>
                    </a:ext>
                  </a:extLst>
                </p:cNvPr>
                <p:cNvSpPr/>
                <p:nvPr/>
              </p:nvSpPr>
              <p:spPr>
                <a:xfrm>
                  <a:off x="8923499" y="2679863"/>
                  <a:ext cx="39544" cy="121471"/>
                </a:xfrm>
                <a:custGeom>
                  <a:avLst/>
                  <a:gdLst>
                    <a:gd name="connsiteX0" fmla="*/ 39173 w 39544"/>
                    <a:gd name="connsiteY0" fmla="*/ 0 h 121471"/>
                    <a:gd name="connsiteX1" fmla="*/ 0 w 39544"/>
                    <a:gd name="connsiteY1" fmla="*/ 0 h 121471"/>
                    <a:gd name="connsiteX2" fmla="*/ 0 w 39544"/>
                    <a:gd name="connsiteY2" fmla="*/ 121471 h 121471"/>
                    <a:gd name="connsiteX3" fmla="*/ 39545 w 39544"/>
                    <a:gd name="connsiteY3" fmla="*/ 121471 h 1214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39544" h="121471">
                      <a:moveTo>
                        <a:pt x="39173" y="0"/>
                      </a:moveTo>
                      <a:lnTo>
                        <a:pt x="0" y="0"/>
                      </a:lnTo>
                      <a:lnTo>
                        <a:pt x="0" y="121471"/>
                      </a:lnTo>
                      <a:lnTo>
                        <a:pt x="39545" y="121471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908" name="Forma livre: Forma 907">
                  <a:extLst>
                    <a:ext uri="{FF2B5EF4-FFF2-40B4-BE49-F238E27FC236}">
                      <a16:creationId xmlns:a16="http://schemas.microsoft.com/office/drawing/2014/main" id="{F4C9DE18-A6BF-F0A5-EAF0-9A29AA55FE71}"/>
                    </a:ext>
                  </a:extLst>
                </p:cNvPr>
                <p:cNvSpPr/>
                <p:nvPr/>
              </p:nvSpPr>
              <p:spPr>
                <a:xfrm>
                  <a:off x="8947755" y="2765692"/>
                  <a:ext cx="7470" cy="7470"/>
                </a:xfrm>
                <a:custGeom>
                  <a:avLst/>
                  <a:gdLst>
                    <a:gd name="connsiteX0" fmla="*/ 7471 w 7470"/>
                    <a:gd name="connsiteY0" fmla="*/ 3735 h 7470"/>
                    <a:gd name="connsiteX1" fmla="*/ 3735 w 7470"/>
                    <a:gd name="connsiteY1" fmla="*/ 7471 h 7470"/>
                    <a:gd name="connsiteX2" fmla="*/ 0 w 7470"/>
                    <a:gd name="connsiteY2" fmla="*/ 3735 h 7470"/>
                    <a:gd name="connsiteX3" fmla="*/ 3735 w 7470"/>
                    <a:gd name="connsiteY3" fmla="*/ 0 h 7470"/>
                    <a:gd name="connsiteX4" fmla="*/ 7471 w 7470"/>
                    <a:gd name="connsiteY4" fmla="*/ 3735 h 747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7470" h="7470">
                      <a:moveTo>
                        <a:pt x="7471" y="3735"/>
                      </a:moveTo>
                      <a:cubicBezTo>
                        <a:pt x="7471" y="5807"/>
                        <a:pt x="5807" y="7471"/>
                        <a:pt x="3735" y="7471"/>
                      </a:cubicBezTo>
                      <a:cubicBezTo>
                        <a:pt x="1664" y="7471"/>
                        <a:pt x="0" y="5807"/>
                        <a:pt x="0" y="3735"/>
                      </a:cubicBezTo>
                      <a:cubicBezTo>
                        <a:pt x="0" y="1664"/>
                        <a:pt x="1676" y="0"/>
                        <a:pt x="3735" y="0"/>
                      </a:cubicBezTo>
                      <a:cubicBezTo>
                        <a:pt x="5795" y="0"/>
                        <a:pt x="7471" y="1664"/>
                        <a:pt x="7471" y="3735"/>
                      </a:cubicBezTo>
                      <a:close/>
                    </a:path>
                  </a:pathLst>
                </a:custGeom>
                <a:solidFill>
                  <a:srgbClr val="394553"/>
                </a:solidFill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</p:grpSp>
      <p:grpSp>
        <p:nvGrpSpPr>
          <p:cNvPr id="909" name="Gráfico 10">
            <a:extLst>
              <a:ext uri="{FF2B5EF4-FFF2-40B4-BE49-F238E27FC236}">
                <a16:creationId xmlns:a16="http://schemas.microsoft.com/office/drawing/2014/main" id="{1A3101CC-5FFF-5077-FB18-704250490A84}"/>
              </a:ext>
            </a:extLst>
          </p:cNvPr>
          <p:cNvGrpSpPr/>
          <p:nvPr/>
        </p:nvGrpSpPr>
        <p:grpSpPr>
          <a:xfrm>
            <a:off x="9273710" y="2591201"/>
            <a:ext cx="302648" cy="281883"/>
            <a:chOff x="9273710" y="2591201"/>
            <a:chExt cx="302648" cy="281883"/>
          </a:xfrm>
          <a:noFill/>
        </p:grpSpPr>
        <p:grpSp>
          <p:nvGrpSpPr>
            <p:cNvPr id="910" name="Gráfico 10">
              <a:extLst>
                <a:ext uri="{FF2B5EF4-FFF2-40B4-BE49-F238E27FC236}">
                  <a16:creationId xmlns:a16="http://schemas.microsoft.com/office/drawing/2014/main" id="{2E203F43-9430-64F1-23FA-81564C9DFC4D}"/>
                </a:ext>
              </a:extLst>
            </p:cNvPr>
            <p:cNvGrpSpPr/>
            <p:nvPr/>
          </p:nvGrpSpPr>
          <p:grpSpPr>
            <a:xfrm>
              <a:off x="9273710" y="2591201"/>
              <a:ext cx="302648" cy="281883"/>
              <a:chOff x="9273710" y="2591201"/>
              <a:chExt cx="302648" cy="281883"/>
            </a:xfrm>
            <a:noFill/>
          </p:grpSpPr>
          <p:grpSp>
            <p:nvGrpSpPr>
              <p:cNvPr id="911" name="Gráfico 10">
                <a:extLst>
                  <a:ext uri="{FF2B5EF4-FFF2-40B4-BE49-F238E27FC236}">
                    <a16:creationId xmlns:a16="http://schemas.microsoft.com/office/drawing/2014/main" id="{3215E712-B02D-DB9C-6E50-449CEA375AEB}"/>
                  </a:ext>
                </a:extLst>
              </p:cNvPr>
              <p:cNvGrpSpPr/>
              <p:nvPr/>
            </p:nvGrpSpPr>
            <p:grpSpPr>
              <a:xfrm>
                <a:off x="9377621" y="2591335"/>
                <a:ext cx="94844" cy="113764"/>
                <a:chOff x="9377621" y="2591335"/>
                <a:chExt cx="94844" cy="113764"/>
              </a:xfrm>
              <a:noFill/>
            </p:grpSpPr>
            <p:sp>
              <p:nvSpPr>
                <p:cNvPr id="912" name="Forma livre: Forma 911">
                  <a:extLst>
                    <a:ext uri="{FF2B5EF4-FFF2-40B4-BE49-F238E27FC236}">
                      <a16:creationId xmlns:a16="http://schemas.microsoft.com/office/drawing/2014/main" id="{83AB9EBF-AA80-ED67-DF92-762AE652D158}"/>
                    </a:ext>
                  </a:extLst>
                </p:cNvPr>
                <p:cNvSpPr/>
                <p:nvPr/>
              </p:nvSpPr>
              <p:spPr>
                <a:xfrm>
                  <a:off x="9377621" y="2661090"/>
                  <a:ext cx="94844" cy="44010"/>
                </a:xfrm>
                <a:custGeom>
                  <a:avLst/>
                  <a:gdLst>
                    <a:gd name="connsiteX0" fmla="*/ 94845 w 94844"/>
                    <a:gd name="connsiteY0" fmla="*/ 44010 h 44010"/>
                    <a:gd name="connsiteX1" fmla="*/ 92175 w 94844"/>
                    <a:gd name="connsiteY1" fmla="*/ 18425 h 44010"/>
                    <a:gd name="connsiteX2" fmla="*/ 71810 w 94844"/>
                    <a:gd name="connsiteY2" fmla="*/ 0 h 44010"/>
                    <a:gd name="connsiteX3" fmla="*/ 23047 w 94844"/>
                    <a:gd name="connsiteY3" fmla="*/ 0 h 44010"/>
                    <a:gd name="connsiteX4" fmla="*/ 2670 w 94844"/>
                    <a:gd name="connsiteY4" fmla="*/ 18425 h 44010"/>
                    <a:gd name="connsiteX5" fmla="*/ 0 w 94844"/>
                    <a:gd name="connsiteY5" fmla="*/ 44010 h 4401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94844" h="44010">
                      <a:moveTo>
                        <a:pt x="94845" y="44010"/>
                      </a:moveTo>
                      <a:lnTo>
                        <a:pt x="92175" y="18425"/>
                      </a:lnTo>
                      <a:cubicBezTo>
                        <a:pt x="91181" y="6381"/>
                        <a:pt x="81986" y="0"/>
                        <a:pt x="71810" y="0"/>
                      </a:cubicBezTo>
                      <a:lnTo>
                        <a:pt x="23047" y="0"/>
                      </a:lnTo>
                      <a:cubicBezTo>
                        <a:pt x="12846" y="0"/>
                        <a:pt x="3675" y="6381"/>
                        <a:pt x="2670" y="18425"/>
                      </a:cubicBezTo>
                      <a:lnTo>
                        <a:pt x="0" y="44010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913" name="Forma livre: Forma 912">
                  <a:extLst>
                    <a:ext uri="{FF2B5EF4-FFF2-40B4-BE49-F238E27FC236}">
                      <a16:creationId xmlns:a16="http://schemas.microsoft.com/office/drawing/2014/main" id="{CAFD3DCA-59EE-B52C-F812-74E01D4DB95E}"/>
                    </a:ext>
                  </a:extLst>
                </p:cNvPr>
                <p:cNvSpPr/>
                <p:nvPr/>
              </p:nvSpPr>
              <p:spPr>
                <a:xfrm>
                  <a:off x="9402284" y="2591335"/>
                  <a:ext cx="45487" cy="45491"/>
                </a:xfrm>
                <a:custGeom>
                  <a:avLst/>
                  <a:gdLst>
                    <a:gd name="connsiteX0" fmla="*/ 5375 w 45487"/>
                    <a:gd name="connsiteY0" fmla="*/ 8049 h 45491"/>
                    <a:gd name="connsiteX1" fmla="*/ 8045 w 45487"/>
                    <a:gd name="connsiteY1" fmla="*/ 40111 h 45491"/>
                    <a:gd name="connsiteX2" fmla="*/ 40107 w 45487"/>
                    <a:gd name="connsiteY2" fmla="*/ 37441 h 45491"/>
                    <a:gd name="connsiteX3" fmla="*/ 37437 w 45487"/>
                    <a:gd name="connsiteY3" fmla="*/ 5379 h 45491"/>
                    <a:gd name="connsiteX4" fmla="*/ 5375 w 45487"/>
                    <a:gd name="connsiteY4" fmla="*/ 8049 h 4549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45487" h="45491">
                      <a:moveTo>
                        <a:pt x="5375" y="8049"/>
                      </a:moveTo>
                      <a:cubicBezTo>
                        <a:pt x="-2730" y="17651"/>
                        <a:pt x="-1533" y="32006"/>
                        <a:pt x="8045" y="40111"/>
                      </a:cubicBezTo>
                      <a:cubicBezTo>
                        <a:pt x="17647" y="48228"/>
                        <a:pt x="31990" y="47019"/>
                        <a:pt x="40107" y="37441"/>
                      </a:cubicBezTo>
                      <a:cubicBezTo>
                        <a:pt x="48224" y="27851"/>
                        <a:pt x="47015" y="13497"/>
                        <a:pt x="37437" y="5379"/>
                      </a:cubicBezTo>
                      <a:cubicBezTo>
                        <a:pt x="27847" y="-2726"/>
                        <a:pt x="13493" y="-1541"/>
                        <a:pt x="5375" y="8049"/>
                      </a:cubicBezTo>
                      <a:close/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914" name="Forma livre: Forma 913">
                <a:extLst>
                  <a:ext uri="{FF2B5EF4-FFF2-40B4-BE49-F238E27FC236}">
                    <a16:creationId xmlns:a16="http://schemas.microsoft.com/office/drawing/2014/main" id="{EB60FD75-C681-EB75-937F-938288ADE95B}"/>
                  </a:ext>
                </a:extLst>
              </p:cNvPr>
              <p:cNvSpPr/>
              <p:nvPr/>
            </p:nvSpPr>
            <p:spPr>
              <a:xfrm>
                <a:off x="9316730" y="2742526"/>
                <a:ext cx="216627" cy="1197"/>
              </a:xfrm>
              <a:custGeom>
                <a:avLst/>
                <a:gdLst>
                  <a:gd name="connsiteX0" fmla="*/ 0 w 216627"/>
                  <a:gd name="connsiteY0" fmla="*/ 0 h 1197"/>
                  <a:gd name="connsiteX1" fmla="*/ 216627 w 216627"/>
                  <a:gd name="connsiteY1" fmla="*/ 0 h 11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16627" h="1197">
                    <a:moveTo>
                      <a:pt x="0" y="0"/>
                    </a:moveTo>
                    <a:lnTo>
                      <a:pt x="216627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15" name="Forma livre: Forma 914">
                <a:extLst>
                  <a:ext uri="{FF2B5EF4-FFF2-40B4-BE49-F238E27FC236}">
                    <a16:creationId xmlns:a16="http://schemas.microsoft.com/office/drawing/2014/main" id="{2123B9F2-DC7F-F9B5-295D-9DB2343F7773}"/>
                  </a:ext>
                </a:extLst>
              </p:cNvPr>
              <p:cNvSpPr/>
              <p:nvPr/>
            </p:nvSpPr>
            <p:spPr>
              <a:xfrm>
                <a:off x="9425043" y="2763956"/>
                <a:ext cx="1197" cy="109115"/>
              </a:xfrm>
              <a:custGeom>
                <a:avLst/>
                <a:gdLst>
                  <a:gd name="connsiteX0" fmla="*/ 0 w 1197"/>
                  <a:gd name="connsiteY0" fmla="*/ 0 h 109115"/>
                  <a:gd name="connsiteX1" fmla="*/ 0 w 1197"/>
                  <a:gd name="connsiteY1" fmla="*/ 109116 h 1091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7" h="109115">
                    <a:moveTo>
                      <a:pt x="0" y="0"/>
                    </a:moveTo>
                    <a:lnTo>
                      <a:pt x="0" y="109116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916" name="Gráfico 10">
                <a:extLst>
                  <a:ext uri="{FF2B5EF4-FFF2-40B4-BE49-F238E27FC236}">
                    <a16:creationId xmlns:a16="http://schemas.microsoft.com/office/drawing/2014/main" id="{D1D2568E-BC90-B601-32B1-AE8FFDAC7B9D}"/>
                  </a:ext>
                </a:extLst>
              </p:cNvPr>
              <p:cNvGrpSpPr/>
              <p:nvPr/>
            </p:nvGrpSpPr>
            <p:grpSpPr>
              <a:xfrm>
                <a:off x="9273710" y="2591201"/>
                <a:ext cx="302648" cy="281883"/>
                <a:chOff x="9273710" y="2591201"/>
                <a:chExt cx="302648" cy="281883"/>
              </a:xfrm>
              <a:noFill/>
            </p:grpSpPr>
            <p:grpSp>
              <p:nvGrpSpPr>
                <p:cNvPr id="917" name="Gráfico 10">
                  <a:extLst>
                    <a:ext uri="{FF2B5EF4-FFF2-40B4-BE49-F238E27FC236}">
                      <a16:creationId xmlns:a16="http://schemas.microsoft.com/office/drawing/2014/main" id="{190A63F4-7047-ECF1-F4AC-25AC77A0EA7D}"/>
                    </a:ext>
                  </a:extLst>
                </p:cNvPr>
                <p:cNvGrpSpPr/>
                <p:nvPr/>
              </p:nvGrpSpPr>
              <p:grpSpPr>
                <a:xfrm>
                  <a:off x="9273710" y="2591201"/>
                  <a:ext cx="131830" cy="281883"/>
                  <a:chOff x="9273710" y="2591201"/>
                  <a:chExt cx="131830" cy="281883"/>
                </a:xfrm>
                <a:noFill/>
              </p:grpSpPr>
              <p:sp>
                <p:nvSpPr>
                  <p:cNvPr id="918" name="Forma livre: Forma 917">
                    <a:extLst>
                      <a:ext uri="{FF2B5EF4-FFF2-40B4-BE49-F238E27FC236}">
                        <a16:creationId xmlns:a16="http://schemas.microsoft.com/office/drawing/2014/main" id="{C7178B0D-3C0D-81EF-6C9A-872C75C66A6E}"/>
                      </a:ext>
                    </a:extLst>
                  </p:cNvPr>
                  <p:cNvSpPr/>
                  <p:nvPr/>
                </p:nvSpPr>
                <p:spPr>
                  <a:xfrm>
                    <a:off x="9273710" y="2653413"/>
                    <a:ext cx="131830" cy="219658"/>
                  </a:xfrm>
                  <a:custGeom>
                    <a:avLst/>
                    <a:gdLst>
                      <a:gd name="connsiteX0" fmla="*/ 101804 w 131830"/>
                      <a:gd name="connsiteY0" fmla="*/ 219659 h 219658"/>
                      <a:gd name="connsiteX1" fmla="*/ 82672 w 131830"/>
                      <a:gd name="connsiteY1" fmla="*/ 138965 h 219658"/>
                      <a:gd name="connsiteX2" fmla="*/ 20799 w 131830"/>
                      <a:gd name="connsiteY2" fmla="*/ 138965 h 219658"/>
                      <a:gd name="connsiteX3" fmla="*/ 1152 w 131830"/>
                      <a:gd name="connsiteY3" fmla="*/ 97338 h 219658"/>
                      <a:gd name="connsiteX4" fmla="*/ 14861 w 131830"/>
                      <a:gd name="connsiteY4" fmla="*/ 16237 h 219658"/>
                      <a:gd name="connsiteX5" fmla="*/ 51639 w 131830"/>
                      <a:gd name="connsiteY5" fmla="*/ 1774 h 219658"/>
                      <a:gd name="connsiteX6" fmla="*/ 72615 w 131830"/>
                      <a:gd name="connsiteY6" fmla="*/ 63731 h 219658"/>
                      <a:gd name="connsiteX7" fmla="*/ 131830 w 131830"/>
                      <a:gd name="connsiteY7" fmla="*/ 78014 h 21965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131830" h="219658">
                        <a:moveTo>
                          <a:pt x="101804" y="219659"/>
                        </a:moveTo>
                        <a:lnTo>
                          <a:pt x="82672" y="138965"/>
                        </a:lnTo>
                        <a:lnTo>
                          <a:pt x="20799" y="138965"/>
                        </a:lnTo>
                        <a:cubicBezTo>
                          <a:pt x="-4331" y="135529"/>
                          <a:pt x="-308" y="109358"/>
                          <a:pt x="1152" y="97338"/>
                        </a:cubicBezTo>
                        <a:cubicBezTo>
                          <a:pt x="4097" y="73106"/>
                          <a:pt x="8264" y="26665"/>
                          <a:pt x="14861" y="16237"/>
                        </a:cubicBezTo>
                        <a:cubicBezTo>
                          <a:pt x="26330" y="-1877"/>
                          <a:pt x="47509" y="-1566"/>
                          <a:pt x="51639" y="1774"/>
                        </a:cubicBezTo>
                        <a:cubicBezTo>
                          <a:pt x="61301" y="9556"/>
                          <a:pt x="62618" y="22954"/>
                          <a:pt x="72615" y="63731"/>
                        </a:cubicBezTo>
                        <a:lnTo>
                          <a:pt x="131830" y="78014"/>
                        </a:lnTo>
                      </a:path>
                    </a:pathLst>
                  </a:custGeom>
                  <a:noFill/>
                  <a:ln w="6350" cap="flat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919" name="Forma livre: Forma 918">
                    <a:extLst>
                      <a:ext uri="{FF2B5EF4-FFF2-40B4-BE49-F238E27FC236}">
                        <a16:creationId xmlns:a16="http://schemas.microsoft.com/office/drawing/2014/main" id="{F3E7CFEB-1832-AB29-CD98-7B12F2F9905B}"/>
                      </a:ext>
                    </a:extLst>
                  </p:cNvPr>
                  <p:cNvSpPr/>
                  <p:nvPr/>
                </p:nvSpPr>
                <p:spPr>
                  <a:xfrm>
                    <a:off x="9319759" y="2591201"/>
                    <a:ext cx="45446" cy="45441"/>
                  </a:xfrm>
                  <a:custGeom>
                    <a:avLst/>
                    <a:gdLst>
                      <a:gd name="connsiteX0" fmla="*/ 40071 w 45446"/>
                      <a:gd name="connsiteY0" fmla="*/ 8040 h 45441"/>
                      <a:gd name="connsiteX1" fmla="*/ 37401 w 45446"/>
                      <a:gd name="connsiteY1" fmla="*/ 40066 h 45441"/>
                      <a:gd name="connsiteX2" fmla="*/ 5375 w 45446"/>
                      <a:gd name="connsiteY2" fmla="*/ 37396 h 45441"/>
                      <a:gd name="connsiteX3" fmla="*/ 8045 w 45446"/>
                      <a:gd name="connsiteY3" fmla="*/ 5370 h 45441"/>
                      <a:gd name="connsiteX4" fmla="*/ 40071 w 45446"/>
                      <a:gd name="connsiteY4" fmla="*/ 8040 h 4544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45446" h="45441">
                        <a:moveTo>
                          <a:pt x="40071" y="8040"/>
                        </a:moveTo>
                        <a:cubicBezTo>
                          <a:pt x="48176" y="17618"/>
                          <a:pt x="46979" y="31961"/>
                          <a:pt x="37401" y="40066"/>
                        </a:cubicBezTo>
                        <a:cubicBezTo>
                          <a:pt x="27823" y="48172"/>
                          <a:pt x="13481" y="46974"/>
                          <a:pt x="5375" y="37396"/>
                        </a:cubicBezTo>
                        <a:cubicBezTo>
                          <a:pt x="-2730" y="27819"/>
                          <a:pt x="-1533" y="13476"/>
                          <a:pt x="8045" y="5370"/>
                        </a:cubicBezTo>
                        <a:cubicBezTo>
                          <a:pt x="17623" y="-2723"/>
                          <a:pt x="31978" y="-1538"/>
                          <a:pt x="40071" y="8040"/>
                        </a:cubicBezTo>
                        <a:close/>
                      </a:path>
                    </a:pathLst>
                  </a:custGeom>
                  <a:noFill/>
                  <a:ln w="6350" cap="rnd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920" name="Forma livre: Forma 919">
                    <a:extLst>
                      <a:ext uri="{FF2B5EF4-FFF2-40B4-BE49-F238E27FC236}">
                        <a16:creationId xmlns:a16="http://schemas.microsoft.com/office/drawing/2014/main" id="{37B295BB-DB03-4EE9-F7D8-53E897707254}"/>
                      </a:ext>
                    </a:extLst>
                  </p:cNvPr>
                  <p:cNvSpPr/>
                  <p:nvPr/>
                </p:nvSpPr>
                <p:spPr>
                  <a:xfrm>
                    <a:off x="9316131" y="2721634"/>
                    <a:ext cx="83902" cy="151449"/>
                  </a:xfrm>
                  <a:custGeom>
                    <a:avLst/>
                    <a:gdLst>
                      <a:gd name="connsiteX0" fmla="*/ 5160 w 83902"/>
                      <a:gd name="connsiteY0" fmla="*/ 0 h 151449"/>
                      <a:gd name="connsiteX1" fmla="*/ 0 w 83902"/>
                      <a:gd name="connsiteY1" fmla="*/ 33139 h 151449"/>
                      <a:gd name="connsiteX2" fmla="*/ 54618 w 83902"/>
                      <a:gd name="connsiteY2" fmla="*/ 42478 h 151449"/>
                      <a:gd name="connsiteX3" fmla="*/ 67500 w 83902"/>
                      <a:gd name="connsiteY3" fmla="*/ 56054 h 151449"/>
                      <a:gd name="connsiteX4" fmla="*/ 83902 w 83902"/>
                      <a:gd name="connsiteY4" fmla="*/ 151450 h 1514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83902" h="151449">
                        <a:moveTo>
                          <a:pt x="5160" y="0"/>
                        </a:moveTo>
                        <a:lnTo>
                          <a:pt x="0" y="33139"/>
                        </a:lnTo>
                        <a:lnTo>
                          <a:pt x="54618" y="42478"/>
                        </a:lnTo>
                        <a:cubicBezTo>
                          <a:pt x="54618" y="42478"/>
                          <a:pt x="64950" y="44812"/>
                          <a:pt x="67500" y="56054"/>
                        </a:cubicBezTo>
                        <a:lnTo>
                          <a:pt x="83902" y="151450"/>
                        </a:lnTo>
                      </a:path>
                    </a:pathLst>
                  </a:custGeom>
                  <a:noFill/>
                  <a:ln w="6350" cap="flat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921" name="Forma livre: Forma 920">
                    <a:extLst>
                      <a:ext uri="{FF2B5EF4-FFF2-40B4-BE49-F238E27FC236}">
                        <a16:creationId xmlns:a16="http://schemas.microsoft.com/office/drawing/2014/main" id="{6F8B1AC8-EA18-7CB3-5FCE-495C93948A1F}"/>
                      </a:ext>
                    </a:extLst>
                  </p:cNvPr>
                  <p:cNvSpPr/>
                  <p:nvPr/>
                </p:nvSpPr>
                <p:spPr>
                  <a:xfrm>
                    <a:off x="9313820" y="2697294"/>
                    <a:ext cx="13504" cy="42453"/>
                  </a:xfrm>
                  <a:custGeom>
                    <a:avLst/>
                    <a:gdLst>
                      <a:gd name="connsiteX0" fmla="*/ 0 w 13504"/>
                      <a:gd name="connsiteY0" fmla="*/ 0 h 42453"/>
                      <a:gd name="connsiteX1" fmla="*/ 13505 w 13504"/>
                      <a:gd name="connsiteY1" fmla="*/ 42454 h 4245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3504" h="42453">
                        <a:moveTo>
                          <a:pt x="0" y="0"/>
                        </a:moveTo>
                        <a:lnTo>
                          <a:pt x="13505" y="42454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  <p:grpSp>
              <p:nvGrpSpPr>
                <p:cNvPr id="922" name="Gráfico 10">
                  <a:extLst>
                    <a:ext uri="{FF2B5EF4-FFF2-40B4-BE49-F238E27FC236}">
                      <a16:creationId xmlns:a16="http://schemas.microsoft.com/office/drawing/2014/main" id="{C4121972-53E9-2A68-E5E7-6318B3F44DFC}"/>
                    </a:ext>
                  </a:extLst>
                </p:cNvPr>
                <p:cNvGrpSpPr/>
                <p:nvPr/>
              </p:nvGrpSpPr>
              <p:grpSpPr>
                <a:xfrm>
                  <a:off x="9444534" y="2591201"/>
                  <a:ext cx="131824" cy="281883"/>
                  <a:chOff x="9444534" y="2591201"/>
                  <a:chExt cx="131824" cy="281883"/>
                </a:xfrm>
                <a:noFill/>
              </p:grpSpPr>
              <p:sp>
                <p:nvSpPr>
                  <p:cNvPr id="923" name="Forma livre: Forma 922">
                    <a:extLst>
                      <a:ext uri="{FF2B5EF4-FFF2-40B4-BE49-F238E27FC236}">
                        <a16:creationId xmlns:a16="http://schemas.microsoft.com/office/drawing/2014/main" id="{1951167E-B88F-34BE-F55C-3795227BE6A4}"/>
                      </a:ext>
                    </a:extLst>
                  </p:cNvPr>
                  <p:cNvSpPr/>
                  <p:nvPr/>
                </p:nvSpPr>
                <p:spPr>
                  <a:xfrm>
                    <a:off x="9444534" y="2653413"/>
                    <a:ext cx="131824" cy="219658"/>
                  </a:xfrm>
                  <a:custGeom>
                    <a:avLst/>
                    <a:gdLst>
                      <a:gd name="connsiteX0" fmla="*/ 30039 w 131824"/>
                      <a:gd name="connsiteY0" fmla="*/ 219659 h 219658"/>
                      <a:gd name="connsiteX1" fmla="*/ 49170 w 131824"/>
                      <a:gd name="connsiteY1" fmla="*/ 138965 h 219658"/>
                      <a:gd name="connsiteX2" fmla="*/ 111031 w 131824"/>
                      <a:gd name="connsiteY2" fmla="*/ 138965 h 219658"/>
                      <a:gd name="connsiteX3" fmla="*/ 130678 w 131824"/>
                      <a:gd name="connsiteY3" fmla="*/ 97338 h 219658"/>
                      <a:gd name="connsiteX4" fmla="*/ 116970 w 131824"/>
                      <a:gd name="connsiteY4" fmla="*/ 16237 h 219658"/>
                      <a:gd name="connsiteX5" fmla="*/ 80179 w 131824"/>
                      <a:gd name="connsiteY5" fmla="*/ 1774 h 219658"/>
                      <a:gd name="connsiteX6" fmla="*/ 59203 w 131824"/>
                      <a:gd name="connsiteY6" fmla="*/ 63731 h 219658"/>
                      <a:gd name="connsiteX7" fmla="*/ 0 w 131824"/>
                      <a:gd name="connsiteY7" fmla="*/ 78014 h 21965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131824" h="219658">
                        <a:moveTo>
                          <a:pt x="30039" y="219659"/>
                        </a:moveTo>
                        <a:lnTo>
                          <a:pt x="49170" y="138965"/>
                        </a:lnTo>
                        <a:lnTo>
                          <a:pt x="111031" y="138965"/>
                        </a:lnTo>
                        <a:cubicBezTo>
                          <a:pt x="136161" y="135529"/>
                          <a:pt x="132127" y="109358"/>
                          <a:pt x="130678" y="97338"/>
                        </a:cubicBezTo>
                        <a:cubicBezTo>
                          <a:pt x="127733" y="73106"/>
                          <a:pt x="123554" y="26665"/>
                          <a:pt x="116970" y="16237"/>
                        </a:cubicBezTo>
                        <a:cubicBezTo>
                          <a:pt x="105488" y="-1877"/>
                          <a:pt x="84309" y="-1566"/>
                          <a:pt x="80179" y="1774"/>
                        </a:cubicBezTo>
                        <a:cubicBezTo>
                          <a:pt x="70505" y="9556"/>
                          <a:pt x="69200" y="22954"/>
                          <a:pt x="59203" y="63731"/>
                        </a:cubicBezTo>
                        <a:lnTo>
                          <a:pt x="0" y="78014"/>
                        </a:lnTo>
                      </a:path>
                    </a:pathLst>
                  </a:custGeom>
                  <a:noFill/>
                  <a:ln w="6350" cap="flat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924" name="Forma livre: Forma 923">
                    <a:extLst>
                      <a:ext uri="{FF2B5EF4-FFF2-40B4-BE49-F238E27FC236}">
                        <a16:creationId xmlns:a16="http://schemas.microsoft.com/office/drawing/2014/main" id="{B7EACBD3-95CC-8736-058A-78AE7385C6A7}"/>
                      </a:ext>
                    </a:extLst>
                  </p:cNvPr>
                  <p:cNvSpPr/>
                  <p:nvPr/>
                </p:nvSpPr>
                <p:spPr>
                  <a:xfrm>
                    <a:off x="9484857" y="2591201"/>
                    <a:ext cx="45454" cy="45441"/>
                  </a:xfrm>
                  <a:custGeom>
                    <a:avLst/>
                    <a:gdLst>
                      <a:gd name="connsiteX0" fmla="*/ 5375 w 45454"/>
                      <a:gd name="connsiteY0" fmla="*/ 8040 h 45441"/>
                      <a:gd name="connsiteX1" fmla="*/ 8045 w 45454"/>
                      <a:gd name="connsiteY1" fmla="*/ 40066 h 45441"/>
                      <a:gd name="connsiteX2" fmla="*/ 40083 w 45454"/>
                      <a:gd name="connsiteY2" fmla="*/ 37396 h 45441"/>
                      <a:gd name="connsiteX3" fmla="*/ 37413 w 45454"/>
                      <a:gd name="connsiteY3" fmla="*/ 5370 h 45441"/>
                      <a:gd name="connsiteX4" fmla="*/ 5387 w 45454"/>
                      <a:gd name="connsiteY4" fmla="*/ 8040 h 4544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45454" h="45441">
                        <a:moveTo>
                          <a:pt x="5375" y="8040"/>
                        </a:moveTo>
                        <a:cubicBezTo>
                          <a:pt x="-2730" y="17618"/>
                          <a:pt x="-1533" y="31961"/>
                          <a:pt x="8045" y="40066"/>
                        </a:cubicBezTo>
                        <a:cubicBezTo>
                          <a:pt x="17635" y="48172"/>
                          <a:pt x="31966" y="46974"/>
                          <a:pt x="40083" y="37396"/>
                        </a:cubicBezTo>
                        <a:cubicBezTo>
                          <a:pt x="48188" y="27819"/>
                          <a:pt x="46979" y="13476"/>
                          <a:pt x="37413" y="5370"/>
                        </a:cubicBezTo>
                        <a:cubicBezTo>
                          <a:pt x="27847" y="-2723"/>
                          <a:pt x="13493" y="-1538"/>
                          <a:pt x="5387" y="8040"/>
                        </a:cubicBezTo>
                        <a:close/>
                      </a:path>
                    </a:pathLst>
                  </a:custGeom>
                  <a:noFill/>
                  <a:ln w="6350" cap="rnd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925" name="Forma livre: Forma 924">
                    <a:extLst>
                      <a:ext uri="{FF2B5EF4-FFF2-40B4-BE49-F238E27FC236}">
                        <a16:creationId xmlns:a16="http://schemas.microsoft.com/office/drawing/2014/main" id="{887B0DAB-9445-2FF2-EA39-BDD8E0C682B6}"/>
                      </a:ext>
                    </a:extLst>
                  </p:cNvPr>
                  <p:cNvSpPr/>
                  <p:nvPr/>
                </p:nvSpPr>
                <p:spPr>
                  <a:xfrm>
                    <a:off x="9449970" y="2721634"/>
                    <a:ext cx="83985" cy="151449"/>
                  </a:xfrm>
                  <a:custGeom>
                    <a:avLst/>
                    <a:gdLst>
                      <a:gd name="connsiteX0" fmla="*/ 78814 w 83985"/>
                      <a:gd name="connsiteY0" fmla="*/ 0 h 151449"/>
                      <a:gd name="connsiteX1" fmla="*/ 83986 w 83985"/>
                      <a:gd name="connsiteY1" fmla="*/ 33139 h 151449"/>
                      <a:gd name="connsiteX2" fmla="*/ 29344 w 83985"/>
                      <a:gd name="connsiteY2" fmla="*/ 42478 h 151449"/>
                      <a:gd name="connsiteX3" fmla="*/ 16486 w 83985"/>
                      <a:gd name="connsiteY3" fmla="*/ 56054 h 151449"/>
                      <a:gd name="connsiteX4" fmla="*/ 0 w 83985"/>
                      <a:gd name="connsiteY4" fmla="*/ 151450 h 1514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83985" h="151449">
                        <a:moveTo>
                          <a:pt x="78814" y="0"/>
                        </a:moveTo>
                        <a:lnTo>
                          <a:pt x="83986" y="33139"/>
                        </a:lnTo>
                        <a:lnTo>
                          <a:pt x="29344" y="42478"/>
                        </a:lnTo>
                        <a:cubicBezTo>
                          <a:pt x="29344" y="42478"/>
                          <a:pt x="19024" y="44812"/>
                          <a:pt x="16486" y="56054"/>
                        </a:cubicBezTo>
                        <a:lnTo>
                          <a:pt x="0" y="151450"/>
                        </a:lnTo>
                      </a:path>
                    </a:pathLst>
                  </a:custGeom>
                  <a:noFill/>
                  <a:ln w="6350" cap="flat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926" name="Forma livre: Forma 925">
                    <a:extLst>
                      <a:ext uri="{FF2B5EF4-FFF2-40B4-BE49-F238E27FC236}">
                        <a16:creationId xmlns:a16="http://schemas.microsoft.com/office/drawing/2014/main" id="{F438DAC1-7C8F-603C-DD0A-49FAE370A567}"/>
                      </a:ext>
                    </a:extLst>
                  </p:cNvPr>
                  <p:cNvSpPr/>
                  <p:nvPr/>
                </p:nvSpPr>
                <p:spPr>
                  <a:xfrm>
                    <a:off x="9522749" y="2697294"/>
                    <a:ext cx="13504" cy="42453"/>
                  </a:xfrm>
                  <a:custGeom>
                    <a:avLst/>
                    <a:gdLst>
                      <a:gd name="connsiteX0" fmla="*/ 13505 w 13504"/>
                      <a:gd name="connsiteY0" fmla="*/ 0 h 42453"/>
                      <a:gd name="connsiteX1" fmla="*/ 0 w 13504"/>
                      <a:gd name="connsiteY1" fmla="*/ 42454 h 4245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3504" h="42453">
                        <a:moveTo>
                          <a:pt x="13505" y="0"/>
                        </a:moveTo>
                        <a:lnTo>
                          <a:pt x="0" y="42454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</p:grpSp>
        </p:grpSp>
        <p:grpSp>
          <p:nvGrpSpPr>
            <p:cNvPr id="927" name="Gráfico 10">
              <a:extLst>
                <a:ext uri="{FF2B5EF4-FFF2-40B4-BE49-F238E27FC236}">
                  <a16:creationId xmlns:a16="http://schemas.microsoft.com/office/drawing/2014/main" id="{ADFD9A99-94C0-4780-8024-B1391F4AD4C5}"/>
                </a:ext>
              </a:extLst>
            </p:cNvPr>
            <p:cNvGrpSpPr/>
            <p:nvPr/>
          </p:nvGrpSpPr>
          <p:grpSpPr>
            <a:xfrm>
              <a:off x="9305045" y="2792977"/>
              <a:ext cx="239996" cy="80082"/>
              <a:chOff x="9305045" y="2792977"/>
              <a:chExt cx="239996" cy="80082"/>
            </a:xfrm>
          </p:grpSpPr>
          <p:sp>
            <p:nvSpPr>
              <p:cNvPr id="928" name="Forma livre: Forma 927">
                <a:extLst>
                  <a:ext uri="{FF2B5EF4-FFF2-40B4-BE49-F238E27FC236}">
                    <a16:creationId xmlns:a16="http://schemas.microsoft.com/office/drawing/2014/main" id="{3AF300D9-8212-3F1E-A4ED-86659919594B}"/>
                  </a:ext>
                </a:extLst>
              </p:cNvPr>
              <p:cNvSpPr/>
              <p:nvPr/>
            </p:nvSpPr>
            <p:spPr>
              <a:xfrm>
                <a:off x="9545042" y="2792977"/>
                <a:ext cx="1197" cy="80082"/>
              </a:xfrm>
              <a:custGeom>
                <a:avLst/>
                <a:gdLst>
                  <a:gd name="connsiteX0" fmla="*/ 0 w 1197"/>
                  <a:gd name="connsiteY0" fmla="*/ 0 h 80082"/>
                  <a:gd name="connsiteX1" fmla="*/ 0 w 1197"/>
                  <a:gd name="connsiteY1" fmla="*/ 80083 h 800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7" h="80082">
                    <a:moveTo>
                      <a:pt x="0" y="0"/>
                    </a:moveTo>
                    <a:lnTo>
                      <a:pt x="0" y="80083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29" name="Forma livre: Forma 928">
                <a:extLst>
                  <a:ext uri="{FF2B5EF4-FFF2-40B4-BE49-F238E27FC236}">
                    <a16:creationId xmlns:a16="http://schemas.microsoft.com/office/drawing/2014/main" id="{AD3A1B69-81EF-E2AD-CE64-75B920B4C6F2}"/>
                  </a:ext>
                </a:extLst>
              </p:cNvPr>
              <p:cNvSpPr/>
              <p:nvPr/>
            </p:nvSpPr>
            <p:spPr>
              <a:xfrm>
                <a:off x="9305045" y="2792977"/>
                <a:ext cx="1197" cy="80082"/>
              </a:xfrm>
              <a:custGeom>
                <a:avLst/>
                <a:gdLst>
                  <a:gd name="connsiteX0" fmla="*/ 0 w 1197"/>
                  <a:gd name="connsiteY0" fmla="*/ 0 h 80082"/>
                  <a:gd name="connsiteX1" fmla="*/ 0 w 1197"/>
                  <a:gd name="connsiteY1" fmla="*/ 80083 h 800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7" h="80082">
                    <a:moveTo>
                      <a:pt x="0" y="0"/>
                    </a:moveTo>
                    <a:lnTo>
                      <a:pt x="0" y="80083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930" name="Gráfico 10">
            <a:extLst>
              <a:ext uri="{FF2B5EF4-FFF2-40B4-BE49-F238E27FC236}">
                <a16:creationId xmlns:a16="http://schemas.microsoft.com/office/drawing/2014/main" id="{E22228DE-307A-2D2C-88BC-1E26BC50C751}"/>
              </a:ext>
            </a:extLst>
          </p:cNvPr>
          <p:cNvGrpSpPr/>
          <p:nvPr/>
        </p:nvGrpSpPr>
        <p:grpSpPr>
          <a:xfrm>
            <a:off x="8009569" y="2582061"/>
            <a:ext cx="343321" cy="300169"/>
            <a:chOff x="8009569" y="2582061"/>
            <a:chExt cx="343321" cy="300169"/>
          </a:xfrm>
          <a:noFill/>
        </p:grpSpPr>
        <p:sp>
          <p:nvSpPr>
            <p:cNvPr id="931" name="Forma livre: Forma 930">
              <a:extLst>
                <a:ext uri="{FF2B5EF4-FFF2-40B4-BE49-F238E27FC236}">
                  <a16:creationId xmlns:a16="http://schemas.microsoft.com/office/drawing/2014/main" id="{21C53405-E8B6-A7BD-437D-1E144FE33819}"/>
                </a:ext>
              </a:extLst>
            </p:cNvPr>
            <p:cNvSpPr/>
            <p:nvPr/>
          </p:nvSpPr>
          <p:spPr>
            <a:xfrm>
              <a:off x="8072045" y="2755348"/>
              <a:ext cx="115396" cy="58926"/>
            </a:xfrm>
            <a:custGeom>
              <a:avLst/>
              <a:gdLst>
                <a:gd name="connsiteX0" fmla="*/ 96756 w 115396"/>
                <a:gd name="connsiteY0" fmla="*/ 0 h 58926"/>
                <a:gd name="connsiteX1" fmla="*/ 79097 w 115396"/>
                <a:gd name="connsiteY1" fmla="*/ 14235 h 58926"/>
                <a:gd name="connsiteX2" fmla="*/ 11513 w 115396"/>
                <a:gd name="connsiteY2" fmla="*/ 30350 h 58926"/>
                <a:gd name="connsiteX3" fmla="*/ 379 w 115396"/>
                <a:gd name="connsiteY3" fmla="*/ 47877 h 58926"/>
                <a:gd name="connsiteX4" fmla="*/ 18229 w 115396"/>
                <a:gd name="connsiteY4" fmla="*/ 58509 h 58926"/>
                <a:gd name="connsiteX5" fmla="*/ 85813 w 115396"/>
                <a:gd name="connsiteY5" fmla="*/ 42394 h 58926"/>
                <a:gd name="connsiteX6" fmla="*/ 115397 w 115396"/>
                <a:gd name="connsiteY6" fmla="*/ 21263 h 589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15396" h="58926">
                  <a:moveTo>
                    <a:pt x="96756" y="0"/>
                  </a:moveTo>
                  <a:cubicBezTo>
                    <a:pt x="89213" y="11015"/>
                    <a:pt x="79097" y="14235"/>
                    <a:pt x="79097" y="14235"/>
                  </a:cubicBezTo>
                  <a:lnTo>
                    <a:pt x="11513" y="30350"/>
                  </a:lnTo>
                  <a:cubicBezTo>
                    <a:pt x="3539" y="32254"/>
                    <a:pt x="-1453" y="40143"/>
                    <a:pt x="379" y="47877"/>
                  </a:cubicBezTo>
                  <a:cubicBezTo>
                    <a:pt x="2234" y="55635"/>
                    <a:pt x="10256" y="60412"/>
                    <a:pt x="18229" y="58509"/>
                  </a:cubicBezTo>
                  <a:lnTo>
                    <a:pt x="85813" y="42394"/>
                  </a:lnTo>
                  <a:cubicBezTo>
                    <a:pt x="85813" y="42394"/>
                    <a:pt x="101293" y="38120"/>
                    <a:pt x="115397" y="21263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32" name="Forma livre: Forma 931">
              <a:extLst>
                <a:ext uri="{FF2B5EF4-FFF2-40B4-BE49-F238E27FC236}">
                  <a16:creationId xmlns:a16="http://schemas.microsoft.com/office/drawing/2014/main" id="{C6231E91-AAA9-95CB-245C-E1D938FB5EF3}"/>
                </a:ext>
              </a:extLst>
            </p:cNvPr>
            <p:cNvSpPr/>
            <p:nvPr/>
          </p:nvSpPr>
          <p:spPr>
            <a:xfrm>
              <a:off x="8174807" y="2655535"/>
              <a:ext cx="86838" cy="226695"/>
            </a:xfrm>
            <a:custGeom>
              <a:avLst/>
              <a:gdLst>
                <a:gd name="connsiteX0" fmla="*/ 39429 w 86838"/>
                <a:gd name="connsiteY0" fmla="*/ 0 h 226695"/>
                <a:gd name="connsiteX1" fmla="*/ 7283 w 86838"/>
                <a:gd name="connsiteY1" fmla="*/ 49039 h 226695"/>
                <a:gd name="connsiteX2" fmla="*/ 7642 w 86838"/>
                <a:gd name="connsiteY2" fmla="*/ 88966 h 226695"/>
                <a:gd name="connsiteX3" fmla="*/ 51892 w 86838"/>
                <a:gd name="connsiteY3" fmla="*/ 142327 h 226695"/>
                <a:gd name="connsiteX4" fmla="*/ 57890 w 86838"/>
                <a:gd name="connsiteY4" fmla="*/ 211802 h 226695"/>
                <a:gd name="connsiteX5" fmla="*/ 72364 w 86838"/>
                <a:gd name="connsiteY5" fmla="*/ 226696 h 226695"/>
                <a:gd name="connsiteX6" fmla="*/ 86839 w 86838"/>
                <a:gd name="connsiteY6" fmla="*/ 211802 h 226695"/>
                <a:gd name="connsiteX7" fmla="*/ 81272 w 86838"/>
                <a:gd name="connsiteY7" fmla="*/ 135826 h 226695"/>
                <a:gd name="connsiteX8" fmla="*/ 72424 w 86838"/>
                <a:gd name="connsiteY8" fmla="*/ 115078 h 226695"/>
                <a:gd name="connsiteX9" fmla="*/ 45163 w 86838"/>
                <a:gd name="connsiteY9" fmla="*/ 72528 h 226695"/>
                <a:gd name="connsiteX10" fmla="*/ 75681 w 86838"/>
                <a:gd name="connsiteY10" fmla="*/ 34588 h 2266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838" h="226695">
                  <a:moveTo>
                    <a:pt x="39429" y="0"/>
                  </a:moveTo>
                  <a:lnTo>
                    <a:pt x="7283" y="49039"/>
                  </a:lnTo>
                  <a:cubicBezTo>
                    <a:pt x="-9311" y="72349"/>
                    <a:pt x="7642" y="88966"/>
                    <a:pt x="7642" y="88966"/>
                  </a:cubicBezTo>
                  <a:lnTo>
                    <a:pt x="51892" y="142327"/>
                  </a:lnTo>
                  <a:lnTo>
                    <a:pt x="57890" y="211802"/>
                  </a:lnTo>
                  <a:cubicBezTo>
                    <a:pt x="57890" y="219991"/>
                    <a:pt x="64403" y="226696"/>
                    <a:pt x="72364" y="226696"/>
                  </a:cubicBezTo>
                  <a:cubicBezTo>
                    <a:pt x="80326" y="226696"/>
                    <a:pt x="86839" y="219991"/>
                    <a:pt x="86839" y="211802"/>
                  </a:cubicBezTo>
                  <a:lnTo>
                    <a:pt x="81272" y="135826"/>
                  </a:lnTo>
                  <a:cubicBezTo>
                    <a:pt x="81272" y="135826"/>
                    <a:pt x="80925" y="126643"/>
                    <a:pt x="72424" y="115078"/>
                  </a:cubicBezTo>
                  <a:lnTo>
                    <a:pt x="45163" y="72528"/>
                  </a:lnTo>
                  <a:lnTo>
                    <a:pt x="75681" y="34588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33" name="Forma livre: Forma 932">
              <a:extLst>
                <a:ext uri="{FF2B5EF4-FFF2-40B4-BE49-F238E27FC236}">
                  <a16:creationId xmlns:a16="http://schemas.microsoft.com/office/drawing/2014/main" id="{EAC3B8E0-00B1-876B-8C6F-F06C681A2FF0}"/>
                </a:ext>
              </a:extLst>
            </p:cNvPr>
            <p:cNvSpPr/>
            <p:nvPr/>
          </p:nvSpPr>
          <p:spPr>
            <a:xfrm>
              <a:off x="8148867" y="2635122"/>
              <a:ext cx="65153" cy="28853"/>
            </a:xfrm>
            <a:custGeom>
              <a:avLst/>
              <a:gdLst>
                <a:gd name="connsiteX0" fmla="*/ 0 w 65153"/>
                <a:gd name="connsiteY0" fmla="*/ 28853 h 28853"/>
                <a:gd name="connsiteX1" fmla="*/ 29464 w 65153"/>
                <a:gd name="connsiteY1" fmla="*/ 0 h 28853"/>
                <a:gd name="connsiteX2" fmla="*/ 29703 w 65153"/>
                <a:gd name="connsiteY2" fmla="*/ 179 h 28853"/>
                <a:gd name="connsiteX3" fmla="*/ 47063 w 65153"/>
                <a:gd name="connsiteY3" fmla="*/ 9350 h 28853"/>
                <a:gd name="connsiteX4" fmla="*/ 65153 w 65153"/>
                <a:gd name="connsiteY4" fmla="*/ 19527 h 288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5153" h="28853">
                  <a:moveTo>
                    <a:pt x="0" y="28853"/>
                  </a:moveTo>
                  <a:lnTo>
                    <a:pt x="29464" y="0"/>
                  </a:lnTo>
                  <a:lnTo>
                    <a:pt x="29703" y="179"/>
                  </a:lnTo>
                  <a:lnTo>
                    <a:pt x="47063" y="9350"/>
                  </a:lnTo>
                  <a:lnTo>
                    <a:pt x="65153" y="19527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34" name="Forma livre: Forma 933">
              <a:extLst>
                <a:ext uri="{FF2B5EF4-FFF2-40B4-BE49-F238E27FC236}">
                  <a16:creationId xmlns:a16="http://schemas.microsoft.com/office/drawing/2014/main" id="{3046A244-9D03-F41D-EDCA-F0E81D98A888}"/>
                </a:ext>
              </a:extLst>
            </p:cNvPr>
            <p:cNvSpPr/>
            <p:nvPr/>
          </p:nvSpPr>
          <p:spPr>
            <a:xfrm>
              <a:off x="8146688" y="2606944"/>
              <a:ext cx="206203" cy="120839"/>
            </a:xfrm>
            <a:custGeom>
              <a:avLst/>
              <a:gdLst>
                <a:gd name="connsiteX0" fmla="*/ 98676 w 206203"/>
                <a:gd name="connsiteY0" fmla="*/ 68944 h 120839"/>
                <a:gd name="connsiteX1" fmla="*/ 123650 w 206203"/>
                <a:gd name="connsiteY1" fmla="*/ 112451 h 120839"/>
                <a:gd name="connsiteX2" fmla="*/ 138220 w 206203"/>
                <a:gd name="connsiteY2" fmla="*/ 120581 h 120839"/>
                <a:gd name="connsiteX3" fmla="*/ 195412 w 206203"/>
                <a:gd name="connsiteY3" fmla="*/ 113098 h 120839"/>
                <a:gd name="connsiteX4" fmla="*/ 206103 w 206203"/>
                <a:gd name="connsiteY4" fmla="*/ 99581 h 120839"/>
                <a:gd name="connsiteX5" fmla="*/ 192287 w 206203"/>
                <a:gd name="connsiteY5" fmla="*/ 89273 h 120839"/>
                <a:gd name="connsiteX6" fmla="*/ 144829 w 206203"/>
                <a:gd name="connsiteY6" fmla="*/ 95032 h 120839"/>
                <a:gd name="connsiteX7" fmla="*/ 144769 w 206203"/>
                <a:gd name="connsiteY7" fmla="*/ 94732 h 120839"/>
                <a:gd name="connsiteX8" fmla="*/ 123530 w 206203"/>
                <a:gd name="connsiteY8" fmla="*/ 51093 h 120839"/>
                <a:gd name="connsiteX9" fmla="*/ 88451 w 206203"/>
                <a:gd name="connsiteY9" fmla="*/ 19415 h 120839"/>
                <a:gd name="connsiteX10" fmla="*/ 37030 w 206203"/>
                <a:gd name="connsiteY10" fmla="*/ 1276 h 120839"/>
                <a:gd name="connsiteX11" fmla="*/ 20604 w 206203"/>
                <a:gd name="connsiteY11" fmla="*/ 4210 h 120839"/>
                <a:gd name="connsiteX12" fmla="*/ 0 w 206203"/>
                <a:gd name="connsiteY12" fmla="*/ 26083 h 1208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06203" h="120839">
                  <a:moveTo>
                    <a:pt x="98676" y="68944"/>
                  </a:moveTo>
                  <a:lnTo>
                    <a:pt x="123650" y="112451"/>
                  </a:lnTo>
                  <a:cubicBezTo>
                    <a:pt x="127888" y="123095"/>
                    <a:pt x="138220" y="120581"/>
                    <a:pt x="138220" y="120581"/>
                  </a:cubicBezTo>
                  <a:lnTo>
                    <a:pt x="195412" y="113098"/>
                  </a:lnTo>
                  <a:cubicBezTo>
                    <a:pt x="202141" y="112224"/>
                    <a:pt x="206965" y="106142"/>
                    <a:pt x="206103" y="99581"/>
                  </a:cubicBezTo>
                  <a:cubicBezTo>
                    <a:pt x="205241" y="93020"/>
                    <a:pt x="199028" y="88387"/>
                    <a:pt x="192287" y="89273"/>
                  </a:cubicBezTo>
                  <a:lnTo>
                    <a:pt x="144829" y="95032"/>
                  </a:lnTo>
                  <a:lnTo>
                    <a:pt x="144769" y="94732"/>
                  </a:lnTo>
                  <a:lnTo>
                    <a:pt x="123530" y="51093"/>
                  </a:lnTo>
                  <a:lnTo>
                    <a:pt x="88451" y="19415"/>
                  </a:lnTo>
                  <a:lnTo>
                    <a:pt x="37030" y="1276"/>
                  </a:lnTo>
                  <a:cubicBezTo>
                    <a:pt x="26411" y="-2806"/>
                    <a:pt x="20604" y="4210"/>
                    <a:pt x="20604" y="4210"/>
                  </a:cubicBezTo>
                  <a:lnTo>
                    <a:pt x="0" y="26083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35" name="Forma livre: Forma 934">
              <a:extLst>
                <a:ext uri="{FF2B5EF4-FFF2-40B4-BE49-F238E27FC236}">
                  <a16:creationId xmlns:a16="http://schemas.microsoft.com/office/drawing/2014/main" id="{7B32444A-D397-2879-054B-47FFE25241F4}"/>
                </a:ext>
              </a:extLst>
            </p:cNvPr>
            <p:cNvSpPr/>
            <p:nvPr/>
          </p:nvSpPr>
          <p:spPr>
            <a:xfrm>
              <a:off x="8263968" y="2582061"/>
              <a:ext cx="53671" cy="53660"/>
            </a:xfrm>
            <a:custGeom>
              <a:avLst/>
              <a:gdLst>
                <a:gd name="connsiteX0" fmla="*/ 53672 w 53671"/>
                <a:gd name="connsiteY0" fmla="*/ 26830 h 53660"/>
                <a:gd name="connsiteX1" fmla="*/ 26842 w 53671"/>
                <a:gd name="connsiteY1" fmla="*/ 53660 h 53660"/>
                <a:gd name="connsiteX2" fmla="*/ 0 w 53671"/>
                <a:gd name="connsiteY2" fmla="*/ 26830 h 53660"/>
                <a:gd name="connsiteX3" fmla="*/ 26842 w 53671"/>
                <a:gd name="connsiteY3" fmla="*/ 0 h 53660"/>
                <a:gd name="connsiteX4" fmla="*/ 53672 w 53671"/>
                <a:gd name="connsiteY4" fmla="*/ 26830 h 536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3671" h="53660">
                  <a:moveTo>
                    <a:pt x="53672" y="26830"/>
                  </a:moveTo>
                  <a:cubicBezTo>
                    <a:pt x="53672" y="41652"/>
                    <a:pt x="41652" y="53660"/>
                    <a:pt x="26842" y="53660"/>
                  </a:cubicBezTo>
                  <a:cubicBezTo>
                    <a:pt x="12032" y="53660"/>
                    <a:pt x="0" y="41640"/>
                    <a:pt x="0" y="26830"/>
                  </a:cubicBezTo>
                  <a:cubicBezTo>
                    <a:pt x="0" y="12020"/>
                    <a:pt x="12020" y="0"/>
                    <a:pt x="26842" y="0"/>
                  </a:cubicBezTo>
                  <a:cubicBezTo>
                    <a:pt x="41664" y="0"/>
                    <a:pt x="53672" y="12020"/>
                    <a:pt x="53672" y="26830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36" name="Forma livre: Forma 935">
              <a:extLst>
                <a:ext uri="{FF2B5EF4-FFF2-40B4-BE49-F238E27FC236}">
                  <a16:creationId xmlns:a16="http://schemas.microsoft.com/office/drawing/2014/main" id="{F4D34FE6-B3DB-6A1E-8933-B04B67EAB38B}"/>
                </a:ext>
              </a:extLst>
            </p:cNvPr>
            <p:cNvSpPr/>
            <p:nvPr/>
          </p:nvSpPr>
          <p:spPr>
            <a:xfrm>
              <a:off x="8070663" y="2627172"/>
              <a:ext cx="94293" cy="94557"/>
            </a:xfrm>
            <a:custGeom>
              <a:avLst/>
              <a:gdLst>
                <a:gd name="connsiteX0" fmla="*/ 0 w 94293"/>
                <a:gd name="connsiteY0" fmla="*/ 40395 h 94557"/>
                <a:gd name="connsiteX1" fmla="*/ 41269 w 94293"/>
                <a:gd name="connsiteY1" fmla="*/ 0 h 94557"/>
                <a:gd name="connsiteX2" fmla="*/ 94294 w 94293"/>
                <a:gd name="connsiteY2" fmla="*/ 54163 h 94557"/>
                <a:gd name="connsiteX3" fmla="*/ 53025 w 94293"/>
                <a:gd name="connsiteY3" fmla="*/ 94557 h 94557"/>
                <a:gd name="connsiteX4" fmla="*/ 23262 w 94293"/>
                <a:gd name="connsiteY4" fmla="*/ 64160 h 945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4293" h="94557">
                  <a:moveTo>
                    <a:pt x="0" y="40395"/>
                  </a:moveTo>
                  <a:lnTo>
                    <a:pt x="41269" y="0"/>
                  </a:lnTo>
                  <a:lnTo>
                    <a:pt x="94294" y="54163"/>
                  </a:lnTo>
                  <a:lnTo>
                    <a:pt x="53025" y="94557"/>
                  </a:lnTo>
                  <a:lnTo>
                    <a:pt x="23262" y="64160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937" name="Gráfico 10">
              <a:extLst>
                <a:ext uri="{FF2B5EF4-FFF2-40B4-BE49-F238E27FC236}">
                  <a16:creationId xmlns:a16="http://schemas.microsoft.com/office/drawing/2014/main" id="{40466749-6FEB-D2EA-DAEA-A62704675D5C}"/>
                </a:ext>
              </a:extLst>
            </p:cNvPr>
            <p:cNvGrpSpPr/>
            <p:nvPr/>
          </p:nvGrpSpPr>
          <p:grpSpPr>
            <a:xfrm>
              <a:off x="8048131" y="2746943"/>
              <a:ext cx="87565" cy="1197"/>
              <a:chOff x="8048131" y="2746943"/>
              <a:chExt cx="87565" cy="1197"/>
            </a:xfrm>
          </p:grpSpPr>
          <p:sp>
            <p:nvSpPr>
              <p:cNvPr id="938" name="Forma livre: Forma 937">
                <a:extLst>
                  <a:ext uri="{FF2B5EF4-FFF2-40B4-BE49-F238E27FC236}">
                    <a16:creationId xmlns:a16="http://schemas.microsoft.com/office/drawing/2014/main" id="{15444FF0-DEDC-75C8-DF9A-1D098D71F0C2}"/>
                  </a:ext>
                </a:extLst>
              </p:cNvPr>
              <p:cNvSpPr/>
              <p:nvPr/>
            </p:nvSpPr>
            <p:spPr>
              <a:xfrm>
                <a:off x="8048131" y="2746943"/>
                <a:ext cx="51061" cy="1197"/>
              </a:xfrm>
              <a:custGeom>
                <a:avLst/>
                <a:gdLst>
                  <a:gd name="connsiteX0" fmla="*/ 0 w 51061"/>
                  <a:gd name="connsiteY0" fmla="*/ 0 h 1197"/>
                  <a:gd name="connsiteX1" fmla="*/ 51062 w 51061"/>
                  <a:gd name="connsiteY1" fmla="*/ 0 h 11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1061" h="1197">
                    <a:moveTo>
                      <a:pt x="0" y="0"/>
                    </a:moveTo>
                    <a:lnTo>
                      <a:pt x="51062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39" name="Forma livre: Forma 938">
                <a:extLst>
                  <a:ext uri="{FF2B5EF4-FFF2-40B4-BE49-F238E27FC236}">
                    <a16:creationId xmlns:a16="http://schemas.microsoft.com/office/drawing/2014/main" id="{915EDC07-9B40-F499-3988-B5CDEE22ED3B}"/>
                  </a:ext>
                </a:extLst>
              </p:cNvPr>
              <p:cNvSpPr/>
              <p:nvPr/>
            </p:nvSpPr>
            <p:spPr>
              <a:xfrm>
                <a:off x="8123138" y="2746943"/>
                <a:ext cx="12558" cy="1197"/>
              </a:xfrm>
              <a:custGeom>
                <a:avLst/>
                <a:gdLst>
                  <a:gd name="connsiteX0" fmla="*/ 0 w 12558"/>
                  <a:gd name="connsiteY0" fmla="*/ 0 h 1197"/>
                  <a:gd name="connsiteX1" fmla="*/ 12559 w 12558"/>
                  <a:gd name="connsiteY1" fmla="*/ 0 h 11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558" h="1197">
                    <a:moveTo>
                      <a:pt x="0" y="0"/>
                    </a:moveTo>
                    <a:lnTo>
                      <a:pt x="12559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940" name="Gráfico 10">
              <a:extLst>
                <a:ext uri="{FF2B5EF4-FFF2-40B4-BE49-F238E27FC236}">
                  <a16:creationId xmlns:a16="http://schemas.microsoft.com/office/drawing/2014/main" id="{6401392C-DB95-3CBB-3462-9602A9AE1D57}"/>
                </a:ext>
              </a:extLst>
            </p:cNvPr>
            <p:cNvGrpSpPr/>
            <p:nvPr/>
          </p:nvGrpSpPr>
          <p:grpSpPr>
            <a:xfrm>
              <a:off x="8009569" y="2688914"/>
              <a:ext cx="109965" cy="1197"/>
              <a:chOff x="8009569" y="2688914"/>
              <a:chExt cx="109965" cy="1197"/>
            </a:xfrm>
          </p:grpSpPr>
          <p:sp>
            <p:nvSpPr>
              <p:cNvPr id="941" name="Forma livre: Forma 940">
                <a:extLst>
                  <a:ext uri="{FF2B5EF4-FFF2-40B4-BE49-F238E27FC236}">
                    <a16:creationId xmlns:a16="http://schemas.microsoft.com/office/drawing/2014/main" id="{21D25E48-B47C-3623-1758-CE8AD7DDFE83}"/>
                  </a:ext>
                </a:extLst>
              </p:cNvPr>
              <p:cNvSpPr/>
              <p:nvPr/>
            </p:nvSpPr>
            <p:spPr>
              <a:xfrm>
                <a:off x="8009569" y="2688914"/>
                <a:ext cx="12558" cy="1197"/>
              </a:xfrm>
              <a:custGeom>
                <a:avLst/>
                <a:gdLst>
                  <a:gd name="connsiteX0" fmla="*/ 12559 w 12558"/>
                  <a:gd name="connsiteY0" fmla="*/ 0 h 1197"/>
                  <a:gd name="connsiteX1" fmla="*/ 0 w 12558"/>
                  <a:gd name="connsiteY1" fmla="*/ 0 h 11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558" h="1197">
                    <a:moveTo>
                      <a:pt x="12559" y="0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42" name="Forma livre: Forma 941">
                <a:extLst>
                  <a:ext uri="{FF2B5EF4-FFF2-40B4-BE49-F238E27FC236}">
                    <a16:creationId xmlns:a16="http://schemas.microsoft.com/office/drawing/2014/main" id="{B7FF786F-3B26-7140-5AD5-BB3EB4ACF14C}"/>
                  </a:ext>
                </a:extLst>
              </p:cNvPr>
              <p:cNvSpPr/>
              <p:nvPr/>
            </p:nvSpPr>
            <p:spPr>
              <a:xfrm>
                <a:off x="8046072" y="2688914"/>
                <a:ext cx="73462" cy="1197"/>
              </a:xfrm>
              <a:custGeom>
                <a:avLst/>
                <a:gdLst>
                  <a:gd name="connsiteX0" fmla="*/ 73462 w 73462"/>
                  <a:gd name="connsiteY0" fmla="*/ 0 h 1197"/>
                  <a:gd name="connsiteX1" fmla="*/ 0 w 73462"/>
                  <a:gd name="connsiteY1" fmla="*/ 0 h 11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73462" h="1197">
                    <a:moveTo>
                      <a:pt x="73462" y="0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943" name="Gráfico 10">
              <a:extLst>
                <a:ext uri="{FF2B5EF4-FFF2-40B4-BE49-F238E27FC236}">
                  <a16:creationId xmlns:a16="http://schemas.microsoft.com/office/drawing/2014/main" id="{6A1B2CC7-7929-E80F-499B-BEE7EA53C4BE}"/>
                </a:ext>
              </a:extLst>
            </p:cNvPr>
            <p:cNvGrpSpPr/>
            <p:nvPr/>
          </p:nvGrpSpPr>
          <p:grpSpPr>
            <a:xfrm>
              <a:off x="8079212" y="2583976"/>
              <a:ext cx="151988" cy="1197"/>
              <a:chOff x="8079212" y="2583976"/>
              <a:chExt cx="151988" cy="1197"/>
            </a:xfrm>
          </p:grpSpPr>
          <p:sp>
            <p:nvSpPr>
              <p:cNvPr id="944" name="Forma livre: Forma 943">
                <a:extLst>
                  <a:ext uri="{FF2B5EF4-FFF2-40B4-BE49-F238E27FC236}">
                    <a16:creationId xmlns:a16="http://schemas.microsoft.com/office/drawing/2014/main" id="{E659B73E-83EB-A918-00F2-0CC8CA0752FB}"/>
                  </a:ext>
                </a:extLst>
              </p:cNvPr>
              <p:cNvSpPr/>
              <p:nvPr/>
            </p:nvSpPr>
            <p:spPr>
              <a:xfrm>
                <a:off x="8151153" y="2583976"/>
                <a:ext cx="80046" cy="1197"/>
              </a:xfrm>
              <a:custGeom>
                <a:avLst/>
                <a:gdLst>
                  <a:gd name="connsiteX0" fmla="*/ 80047 w 80046"/>
                  <a:gd name="connsiteY0" fmla="*/ 0 h 1197"/>
                  <a:gd name="connsiteX1" fmla="*/ 0 w 80046"/>
                  <a:gd name="connsiteY1" fmla="*/ 0 h 11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80046" h="1197">
                    <a:moveTo>
                      <a:pt x="80047" y="0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45" name="Forma livre: Forma 944">
                <a:extLst>
                  <a:ext uri="{FF2B5EF4-FFF2-40B4-BE49-F238E27FC236}">
                    <a16:creationId xmlns:a16="http://schemas.microsoft.com/office/drawing/2014/main" id="{02CFC083-04BE-8491-6134-9BBC071D80B2}"/>
                  </a:ext>
                </a:extLst>
              </p:cNvPr>
              <p:cNvSpPr/>
              <p:nvPr/>
            </p:nvSpPr>
            <p:spPr>
              <a:xfrm>
                <a:off x="8115176" y="2583976"/>
                <a:ext cx="12032" cy="1197"/>
              </a:xfrm>
              <a:custGeom>
                <a:avLst/>
                <a:gdLst>
                  <a:gd name="connsiteX0" fmla="*/ 12032 w 12032"/>
                  <a:gd name="connsiteY0" fmla="*/ 0 h 1197"/>
                  <a:gd name="connsiteX1" fmla="*/ 0 w 12032"/>
                  <a:gd name="connsiteY1" fmla="*/ 0 h 11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032" h="1197">
                    <a:moveTo>
                      <a:pt x="12032" y="0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46" name="Forma livre: Forma 945">
                <a:extLst>
                  <a:ext uri="{FF2B5EF4-FFF2-40B4-BE49-F238E27FC236}">
                    <a16:creationId xmlns:a16="http://schemas.microsoft.com/office/drawing/2014/main" id="{0D84A007-E500-F4C2-566D-6DDF973394DC}"/>
                  </a:ext>
                </a:extLst>
              </p:cNvPr>
              <p:cNvSpPr/>
              <p:nvPr/>
            </p:nvSpPr>
            <p:spPr>
              <a:xfrm>
                <a:off x="8079212" y="2583976"/>
                <a:ext cx="12020" cy="1197"/>
              </a:xfrm>
              <a:custGeom>
                <a:avLst/>
                <a:gdLst>
                  <a:gd name="connsiteX0" fmla="*/ 12020 w 12020"/>
                  <a:gd name="connsiteY0" fmla="*/ 0 h 1197"/>
                  <a:gd name="connsiteX1" fmla="*/ 0 w 12020"/>
                  <a:gd name="connsiteY1" fmla="*/ 0 h 11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020" h="1197">
                    <a:moveTo>
                      <a:pt x="12020" y="0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948" name="Gráfico 11">
            <a:extLst>
              <a:ext uri="{FF2B5EF4-FFF2-40B4-BE49-F238E27FC236}">
                <a16:creationId xmlns:a16="http://schemas.microsoft.com/office/drawing/2014/main" id="{DFBC2169-DB37-8B4B-FDC0-C25398C33F18}"/>
              </a:ext>
            </a:extLst>
          </p:cNvPr>
          <p:cNvGrpSpPr/>
          <p:nvPr/>
        </p:nvGrpSpPr>
        <p:grpSpPr>
          <a:xfrm>
            <a:off x="9890318" y="2635075"/>
            <a:ext cx="297398" cy="231274"/>
            <a:chOff x="9890318" y="2635075"/>
            <a:chExt cx="297398" cy="231274"/>
          </a:xfrm>
          <a:noFill/>
        </p:grpSpPr>
        <p:grpSp>
          <p:nvGrpSpPr>
            <p:cNvPr id="949" name="Gráfico 11">
              <a:extLst>
                <a:ext uri="{FF2B5EF4-FFF2-40B4-BE49-F238E27FC236}">
                  <a16:creationId xmlns:a16="http://schemas.microsoft.com/office/drawing/2014/main" id="{0D4CCDB6-D7B8-B72D-5AAA-B1F7C7EF73A4}"/>
                </a:ext>
              </a:extLst>
            </p:cNvPr>
            <p:cNvGrpSpPr/>
            <p:nvPr/>
          </p:nvGrpSpPr>
          <p:grpSpPr>
            <a:xfrm>
              <a:off x="9890318" y="2635075"/>
              <a:ext cx="297398" cy="231274"/>
              <a:chOff x="9890318" y="2635075"/>
              <a:chExt cx="297398" cy="231274"/>
            </a:xfrm>
            <a:noFill/>
          </p:grpSpPr>
          <p:sp>
            <p:nvSpPr>
              <p:cNvPr id="950" name="Forma livre: Forma 949">
                <a:extLst>
                  <a:ext uri="{FF2B5EF4-FFF2-40B4-BE49-F238E27FC236}">
                    <a16:creationId xmlns:a16="http://schemas.microsoft.com/office/drawing/2014/main" id="{E32CC1C8-C0F5-021E-F2B7-5FE7392D0CB4}"/>
                  </a:ext>
                </a:extLst>
              </p:cNvPr>
              <p:cNvSpPr/>
              <p:nvPr/>
            </p:nvSpPr>
            <p:spPr>
              <a:xfrm>
                <a:off x="9890318" y="2635075"/>
                <a:ext cx="239697" cy="147969"/>
              </a:xfrm>
              <a:custGeom>
                <a:avLst/>
                <a:gdLst>
                  <a:gd name="connsiteX0" fmla="*/ 36199 w 239697"/>
                  <a:gd name="connsiteY0" fmla="*/ 147969 h 147969"/>
                  <a:gd name="connsiteX1" fmla="*/ 25231 w 239697"/>
                  <a:gd name="connsiteY1" fmla="*/ 147969 h 147969"/>
                  <a:gd name="connsiteX2" fmla="*/ 0 w 239697"/>
                  <a:gd name="connsiteY2" fmla="*/ 122738 h 147969"/>
                  <a:gd name="connsiteX3" fmla="*/ 0 w 239697"/>
                  <a:gd name="connsiteY3" fmla="*/ 25231 h 147969"/>
                  <a:gd name="connsiteX4" fmla="*/ 25231 w 239697"/>
                  <a:gd name="connsiteY4" fmla="*/ 0 h 147969"/>
                  <a:gd name="connsiteX5" fmla="*/ 214454 w 239697"/>
                  <a:gd name="connsiteY5" fmla="*/ 0 h 147969"/>
                  <a:gd name="connsiteX6" fmla="*/ 239697 w 239697"/>
                  <a:gd name="connsiteY6" fmla="*/ 25231 h 147969"/>
                  <a:gd name="connsiteX7" fmla="*/ 239697 w 239697"/>
                  <a:gd name="connsiteY7" fmla="*/ 62479 h 1479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39697" h="147969">
                    <a:moveTo>
                      <a:pt x="36199" y="147969"/>
                    </a:moveTo>
                    <a:lnTo>
                      <a:pt x="25231" y="147969"/>
                    </a:lnTo>
                    <a:cubicBezTo>
                      <a:pt x="11354" y="147969"/>
                      <a:pt x="0" y="136615"/>
                      <a:pt x="0" y="122738"/>
                    </a:cubicBezTo>
                    <a:lnTo>
                      <a:pt x="0" y="25231"/>
                    </a:lnTo>
                    <a:cubicBezTo>
                      <a:pt x="0" y="11354"/>
                      <a:pt x="11354" y="0"/>
                      <a:pt x="25231" y="0"/>
                    </a:cubicBezTo>
                    <a:lnTo>
                      <a:pt x="214454" y="0"/>
                    </a:lnTo>
                    <a:cubicBezTo>
                      <a:pt x="228343" y="0"/>
                      <a:pt x="239697" y="11354"/>
                      <a:pt x="239697" y="25231"/>
                    </a:cubicBezTo>
                    <a:lnTo>
                      <a:pt x="239697" y="62479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51" name="Forma livre: Forma 950">
                <a:extLst>
                  <a:ext uri="{FF2B5EF4-FFF2-40B4-BE49-F238E27FC236}">
                    <a16:creationId xmlns:a16="http://schemas.microsoft.com/office/drawing/2014/main" id="{DFE851A1-519B-0B86-53B3-EC5556E1A9D0}"/>
                  </a:ext>
                </a:extLst>
              </p:cNvPr>
              <p:cNvSpPr/>
              <p:nvPr/>
            </p:nvSpPr>
            <p:spPr>
              <a:xfrm>
                <a:off x="9892019" y="2673205"/>
                <a:ext cx="236294" cy="1206"/>
              </a:xfrm>
              <a:custGeom>
                <a:avLst/>
                <a:gdLst>
                  <a:gd name="connsiteX0" fmla="*/ 0 w 236294"/>
                  <a:gd name="connsiteY0" fmla="*/ 0 h 1206"/>
                  <a:gd name="connsiteX1" fmla="*/ 236294 w 236294"/>
                  <a:gd name="connsiteY1" fmla="*/ 0 h 12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36294" h="1206">
                    <a:moveTo>
                      <a:pt x="0" y="0"/>
                    </a:moveTo>
                    <a:lnTo>
                      <a:pt x="236294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52" name="Forma livre: Forma 951">
                <a:extLst>
                  <a:ext uri="{FF2B5EF4-FFF2-40B4-BE49-F238E27FC236}">
                    <a16:creationId xmlns:a16="http://schemas.microsoft.com/office/drawing/2014/main" id="{F38EDD8C-60ED-1417-9344-DD96E072EC49}"/>
                  </a:ext>
                </a:extLst>
              </p:cNvPr>
              <p:cNvSpPr/>
              <p:nvPr/>
            </p:nvSpPr>
            <p:spPr>
              <a:xfrm>
                <a:off x="9948031" y="2717995"/>
                <a:ext cx="239685" cy="148355"/>
              </a:xfrm>
              <a:custGeom>
                <a:avLst/>
                <a:gdLst>
                  <a:gd name="connsiteX0" fmla="*/ 25231 w 239685"/>
                  <a:gd name="connsiteY0" fmla="*/ 148355 h 148355"/>
                  <a:gd name="connsiteX1" fmla="*/ 0 w 239685"/>
                  <a:gd name="connsiteY1" fmla="*/ 122751 h 148355"/>
                  <a:gd name="connsiteX2" fmla="*/ 0 w 239685"/>
                  <a:gd name="connsiteY2" fmla="*/ 25243 h 148355"/>
                  <a:gd name="connsiteX3" fmla="*/ 25231 w 239685"/>
                  <a:gd name="connsiteY3" fmla="*/ 0 h 148355"/>
                  <a:gd name="connsiteX4" fmla="*/ 214454 w 239685"/>
                  <a:gd name="connsiteY4" fmla="*/ 0 h 148355"/>
                  <a:gd name="connsiteX5" fmla="*/ 239685 w 239685"/>
                  <a:gd name="connsiteY5" fmla="*/ 25243 h 148355"/>
                  <a:gd name="connsiteX6" fmla="*/ 239685 w 239685"/>
                  <a:gd name="connsiteY6" fmla="*/ 122751 h 148355"/>
                  <a:gd name="connsiteX7" fmla="*/ 214454 w 239685"/>
                  <a:gd name="connsiteY7" fmla="*/ 148355 h 148355"/>
                  <a:gd name="connsiteX8" fmla="*/ 25231 w 239685"/>
                  <a:gd name="connsiteY8" fmla="*/ 148355 h 1483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39685" h="148355">
                    <a:moveTo>
                      <a:pt x="25231" y="148355"/>
                    </a:moveTo>
                    <a:cubicBezTo>
                      <a:pt x="11354" y="148355"/>
                      <a:pt x="0" y="136639"/>
                      <a:pt x="0" y="122751"/>
                    </a:cubicBezTo>
                    <a:lnTo>
                      <a:pt x="0" y="25243"/>
                    </a:lnTo>
                    <a:cubicBezTo>
                      <a:pt x="0" y="11367"/>
                      <a:pt x="11354" y="0"/>
                      <a:pt x="25231" y="0"/>
                    </a:cubicBezTo>
                    <a:lnTo>
                      <a:pt x="214454" y="0"/>
                    </a:lnTo>
                    <a:cubicBezTo>
                      <a:pt x="228343" y="0"/>
                      <a:pt x="239685" y="11354"/>
                      <a:pt x="239685" y="25243"/>
                    </a:cubicBezTo>
                    <a:lnTo>
                      <a:pt x="239685" y="122751"/>
                    </a:lnTo>
                    <a:cubicBezTo>
                      <a:pt x="239685" y="136639"/>
                      <a:pt x="228331" y="148355"/>
                      <a:pt x="214454" y="148355"/>
                    </a:cubicBezTo>
                    <a:lnTo>
                      <a:pt x="25231" y="148355"/>
                    </a:ln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53" name="Forma livre: Forma 952">
                <a:extLst>
                  <a:ext uri="{FF2B5EF4-FFF2-40B4-BE49-F238E27FC236}">
                    <a16:creationId xmlns:a16="http://schemas.microsoft.com/office/drawing/2014/main" id="{9242AA5B-5E5B-0F11-3402-67D7282BFE11}"/>
                  </a:ext>
                </a:extLst>
              </p:cNvPr>
              <p:cNvSpPr/>
              <p:nvPr/>
            </p:nvSpPr>
            <p:spPr>
              <a:xfrm>
                <a:off x="9978619" y="2828921"/>
                <a:ext cx="120916" cy="1206"/>
              </a:xfrm>
              <a:custGeom>
                <a:avLst/>
                <a:gdLst>
                  <a:gd name="connsiteX0" fmla="*/ 0 w 120916"/>
                  <a:gd name="connsiteY0" fmla="*/ 0 h 1206"/>
                  <a:gd name="connsiteX1" fmla="*/ 120916 w 120916"/>
                  <a:gd name="connsiteY1" fmla="*/ 0 h 12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0916" h="1206">
                    <a:moveTo>
                      <a:pt x="0" y="0"/>
                    </a:moveTo>
                    <a:lnTo>
                      <a:pt x="120916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54" name="Forma livre: Forma 953">
                <a:extLst>
                  <a:ext uri="{FF2B5EF4-FFF2-40B4-BE49-F238E27FC236}">
                    <a16:creationId xmlns:a16="http://schemas.microsoft.com/office/drawing/2014/main" id="{904805A2-DBA2-C928-2D0D-57EEF62B4A85}"/>
                  </a:ext>
                </a:extLst>
              </p:cNvPr>
              <p:cNvSpPr/>
              <p:nvPr/>
            </p:nvSpPr>
            <p:spPr>
              <a:xfrm>
                <a:off x="9978619" y="2801277"/>
                <a:ext cx="79866" cy="1206"/>
              </a:xfrm>
              <a:custGeom>
                <a:avLst/>
                <a:gdLst>
                  <a:gd name="connsiteX0" fmla="*/ 0 w 79866"/>
                  <a:gd name="connsiteY0" fmla="*/ 0 h 1206"/>
                  <a:gd name="connsiteX1" fmla="*/ 79867 w 79866"/>
                  <a:gd name="connsiteY1" fmla="*/ 0 h 12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79866" h="1206">
                    <a:moveTo>
                      <a:pt x="0" y="0"/>
                    </a:moveTo>
                    <a:lnTo>
                      <a:pt x="79867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955" name="Forma livre: Forma 954">
              <a:extLst>
                <a:ext uri="{FF2B5EF4-FFF2-40B4-BE49-F238E27FC236}">
                  <a16:creationId xmlns:a16="http://schemas.microsoft.com/office/drawing/2014/main" id="{8495D28A-5F03-18DD-0BEE-5BAE8DF2CACF}"/>
                </a:ext>
              </a:extLst>
            </p:cNvPr>
            <p:cNvSpPr/>
            <p:nvPr/>
          </p:nvSpPr>
          <p:spPr>
            <a:xfrm>
              <a:off x="10102130" y="2748656"/>
              <a:ext cx="48651" cy="48651"/>
            </a:xfrm>
            <a:custGeom>
              <a:avLst/>
              <a:gdLst>
                <a:gd name="connsiteX0" fmla="*/ 48651 w 48651"/>
                <a:gd name="connsiteY0" fmla="*/ 24326 h 48651"/>
                <a:gd name="connsiteX1" fmla="*/ 24326 w 48651"/>
                <a:gd name="connsiteY1" fmla="*/ 48651 h 48651"/>
                <a:gd name="connsiteX2" fmla="*/ 0 w 48651"/>
                <a:gd name="connsiteY2" fmla="*/ 24326 h 48651"/>
                <a:gd name="connsiteX3" fmla="*/ 24326 w 48651"/>
                <a:gd name="connsiteY3" fmla="*/ 0 h 48651"/>
                <a:gd name="connsiteX4" fmla="*/ 48651 w 48651"/>
                <a:gd name="connsiteY4" fmla="*/ 24326 h 486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8651" h="48651">
                  <a:moveTo>
                    <a:pt x="48651" y="24326"/>
                  </a:moveTo>
                  <a:cubicBezTo>
                    <a:pt x="48651" y="37767"/>
                    <a:pt x="37755" y="48651"/>
                    <a:pt x="24326" y="48651"/>
                  </a:cubicBezTo>
                  <a:cubicBezTo>
                    <a:pt x="10896" y="48651"/>
                    <a:pt x="0" y="37756"/>
                    <a:pt x="0" y="24326"/>
                  </a:cubicBezTo>
                  <a:cubicBezTo>
                    <a:pt x="0" y="10896"/>
                    <a:pt x="10896" y="0"/>
                    <a:pt x="24326" y="0"/>
                  </a:cubicBezTo>
                  <a:cubicBezTo>
                    <a:pt x="37755" y="0"/>
                    <a:pt x="48651" y="10884"/>
                    <a:pt x="48651" y="24326"/>
                  </a:cubicBez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956" name="Gráfico 11">
            <a:extLst>
              <a:ext uri="{FF2B5EF4-FFF2-40B4-BE49-F238E27FC236}">
                <a16:creationId xmlns:a16="http://schemas.microsoft.com/office/drawing/2014/main" id="{9597238D-0978-ADA2-94F0-855EC825D849}"/>
              </a:ext>
            </a:extLst>
          </p:cNvPr>
          <p:cNvGrpSpPr/>
          <p:nvPr/>
        </p:nvGrpSpPr>
        <p:grpSpPr>
          <a:xfrm>
            <a:off x="9890354" y="3136913"/>
            <a:ext cx="297325" cy="297253"/>
            <a:chOff x="9890354" y="3136913"/>
            <a:chExt cx="297325" cy="297253"/>
          </a:xfrm>
          <a:noFill/>
        </p:grpSpPr>
        <p:grpSp>
          <p:nvGrpSpPr>
            <p:cNvPr id="957" name="Gráfico 11">
              <a:extLst>
                <a:ext uri="{FF2B5EF4-FFF2-40B4-BE49-F238E27FC236}">
                  <a16:creationId xmlns:a16="http://schemas.microsoft.com/office/drawing/2014/main" id="{C7F229D7-C124-F90E-F468-7F9E805D59A6}"/>
                </a:ext>
              </a:extLst>
            </p:cNvPr>
            <p:cNvGrpSpPr/>
            <p:nvPr/>
          </p:nvGrpSpPr>
          <p:grpSpPr>
            <a:xfrm>
              <a:off x="9890354" y="3136913"/>
              <a:ext cx="297325" cy="297253"/>
              <a:chOff x="9890354" y="3136913"/>
              <a:chExt cx="297325" cy="297253"/>
            </a:xfrm>
            <a:noFill/>
          </p:grpSpPr>
          <p:sp>
            <p:nvSpPr>
              <p:cNvPr id="958" name="Forma livre: Forma 957">
                <a:extLst>
                  <a:ext uri="{FF2B5EF4-FFF2-40B4-BE49-F238E27FC236}">
                    <a16:creationId xmlns:a16="http://schemas.microsoft.com/office/drawing/2014/main" id="{A949125E-9579-F494-14C8-C145A99307E7}"/>
                  </a:ext>
                </a:extLst>
              </p:cNvPr>
              <p:cNvSpPr/>
              <p:nvPr/>
            </p:nvSpPr>
            <p:spPr>
              <a:xfrm>
                <a:off x="9890354" y="3136913"/>
                <a:ext cx="297325" cy="297253"/>
              </a:xfrm>
              <a:custGeom>
                <a:avLst/>
                <a:gdLst>
                  <a:gd name="connsiteX0" fmla="*/ 297326 w 297325"/>
                  <a:gd name="connsiteY0" fmla="*/ 148633 h 297253"/>
                  <a:gd name="connsiteX1" fmla="*/ 148633 w 297325"/>
                  <a:gd name="connsiteY1" fmla="*/ 297253 h 297253"/>
                  <a:gd name="connsiteX2" fmla="*/ 0 w 297325"/>
                  <a:gd name="connsiteY2" fmla="*/ 148633 h 297253"/>
                  <a:gd name="connsiteX3" fmla="*/ 71517 w 297325"/>
                  <a:gd name="connsiteY3" fmla="*/ 21550 h 297253"/>
                  <a:gd name="connsiteX4" fmla="*/ 148633 w 297325"/>
                  <a:gd name="connsiteY4" fmla="*/ 0 h 297253"/>
                  <a:gd name="connsiteX5" fmla="*/ 297326 w 297325"/>
                  <a:gd name="connsiteY5" fmla="*/ 148633 h 2972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97325" h="297253">
                    <a:moveTo>
                      <a:pt x="297326" y="148633"/>
                    </a:moveTo>
                    <a:cubicBezTo>
                      <a:pt x="297326" y="230720"/>
                      <a:pt x="230780" y="297253"/>
                      <a:pt x="148633" y="297253"/>
                    </a:cubicBezTo>
                    <a:cubicBezTo>
                      <a:pt x="66485" y="297253"/>
                      <a:pt x="0" y="230720"/>
                      <a:pt x="0" y="148633"/>
                    </a:cubicBezTo>
                    <a:cubicBezTo>
                      <a:pt x="0" y="94793"/>
                      <a:pt x="28633" y="47626"/>
                      <a:pt x="71517" y="21550"/>
                    </a:cubicBezTo>
                    <a:cubicBezTo>
                      <a:pt x="93997" y="7867"/>
                      <a:pt x="120410" y="0"/>
                      <a:pt x="148633" y="0"/>
                    </a:cubicBezTo>
                    <a:cubicBezTo>
                      <a:pt x="230780" y="0"/>
                      <a:pt x="297326" y="66558"/>
                      <a:pt x="297326" y="148633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59" name="Forma livre: Forma 958">
                <a:extLst>
                  <a:ext uri="{FF2B5EF4-FFF2-40B4-BE49-F238E27FC236}">
                    <a16:creationId xmlns:a16="http://schemas.microsoft.com/office/drawing/2014/main" id="{A214B4C7-2DA1-99D4-A062-5D36E4793FE8}"/>
                  </a:ext>
                </a:extLst>
              </p:cNvPr>
              <p:cNvSpPr/>
              <p:nvPr/>
            </p:nvSpPr>
            <p:spPr>
              <a:xfrm>
                <a:off x="9934082" y="3180617"/>
                <a:ext cx="209893" cy="209845"/>
              </a:xfrm>
              <a:custGeom>
                <a:avLst/>
                <a:gdLst>
                  <a:gd name="connsiteX0" fmla="*/ 60947 w 209893"/>
                  <a:gd name="connsiteY0" fmla="*/ 9641 h 209845"/>
                  <a:gd name="connsiteX1" fmla="*/ 104929 w 209893"/>
                  <a:gd name="connsiteY1" fmla="*/ 0 h 209845"/>
                  <a:gd name="connsiteX2" fmla="*/ 209893 w 209893"/>
                  <a:gd name="connsiteY2" fmla="*/ 104929 h 209845"/>
                  <a:gd name="connsiteX3" fmla="*/ 104929 w 209893"/>
                  <a:gd name="connsiteY3" fmla="*/ 209845 h 209845"/>
                  <a:gd name="connsiteX4" fmla="*/ 0 w 209893"/>
                  <a:gd name="connsiteY4" fmla="*/ 104929 h 209845"/>
                  <a:gd name="connsiteX5" fmla="*/ 30890 w 209893"/>
                  <a:gd name="connsiteY5" fmla="*/ 30588 h 2098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09893" h="209845">
                    <a:moveTo>
                      <a:pt x="60947" y="9641"/>
                    </a:moveTo>
                    <a:cubicBezTo>
                      <a:pt x="74328" y="3463"/>
                      <a:pt x="89230" y="0"/>
                      <a:pt x="104929" y="0"/>
                    </a:cubicBezTo>
                    <a:cubicBezTo>
                      <a:pt x="162907" y="0"/>
                      <a:pt x="209893" y="46986"/>
                      <a:pt x="209893" y="104929"/>
                    </a:cubicBezTo>
                    <a:cubicBezTo>
                      <a:pt x="209893" y="162871"/>
                      <a:pt x="162907" y="209845"/>
                      <a:pt x="104929" y="209845"/>
                    </a:cubicBezTo>
                    <a:cubicBezTo>
                      <a:pt x="46950" y="209845"/>
                      <a:pt x="0" y="162895"/>
                      <a:pt x="0" y="104929"/>
                    </a:cubicBezTo>
                    <a:cubicBezTo>
                      <a:pt x="0" y="75885"/>
                      <a:pt x="11813" y="49592"/>
                      <a:pt x="30890" y="30588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60" name="Forma livre: Forma 959">
                <a:extLst>
                  <a:ext uri="{FF2B5EF4-FFF2-40B4-BE49-F238E27FC236}">
                    <a16:creationId xmlns:a16="http://schemas.microsoft.com/office/drawing/2014/main" id="{258B7C22-4A1F-A76E-F5E1-33569C10B164}"/>
                  </a:ext>
                </a:extLst>
              </p:cNvPr>
              <p:cNvSpPr/>
              <p:nvPr/>
            </p:nvSpPr>
            <p:spPr>
              <a:xfrm>
                <a:off x="10039023" y="3137384"/>
                <a:ext cx="1206" cy="19849"/>
              </a:xfrm>
              <a:custGeom>
                <a:avLst/>
                <a:gdLst>
                  <a:gd name="connsiteX0" fmla="*/ 0 w 1206"/>
                  <a:gd name="connsiteY0" fmla="*/ 19849 h 19849"/>
                  <a:gd name="connsiteX1" fmla="*/ 0 w 1206"/>
                  <a:gd name="connsiteY1" fmla="*/ 0 h 198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06" h="19849">
                    <a:moveTo>
                      <a:pt x="0" y="19849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61" name="Forma livre: Forma 960">
                <a:extLst>
                  <a:ext uri="{FF2B5EF4-FFF2-40B4-BE49-F238E27FC236}">
                    <a16:creationId xmlns:a16="http://schemas.microsoft.com/office/drawing/2014/main" id="{9EF8220D-FCCC-63E0-6471-C9D8F7F4F425}"/>
                  </a:ext>
                </a:extLst>
              </p:cNvPr>
              <p:cNvSpPr/>
              <p:nvPr/>
            </p:nvSpPr>
            <p:spPr>
              <a:xfrm>
                <a:off x="10039023" y="3413835"/>
                <a:ext cx="1206" cy="19861"/>
              </a:xfrm>
              <a:custGeom>
                <a:avLst/>
                <a:gdLst>
                  <a:gd name="connsiteX0" fmla="*/ 0 w 1206"/>
                  <a:gd name="connsiteY0" fmla="*/ 19861 h 19861"/>
                  <a:gd name="connsiteX1" fmla="*/ 0 w 1206"/>
                  <a:gd name="connsiteY1" fmla="*/ 0 h 198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06" h="19861">
                    <a:moveTo>
                      <a:pt x="0" y="19861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62" name="Forma livre: Forma 961">
                <a:extLst>
                  <a:ext uri="{FF2B5EF4-FFF2-40B4-BE49-F238E27FC236}">
                    <a16:creationId xmlns:a16="http://schemas.microsoft.com/office/drawing/2014/main" id="{CBACDC31-EEE1-C9D6-AA24-652F06B9A4E9}"/>
                  </a:ext>
                </a:extLst>
              </p:cNvPr>
              <p:cNvSpPr/>
              <p:nvPr/>
            </p:nvSpPr>
            <p:spPr>
              <a:xfrm>
                <a:off x="9982323" y="3148654"/>
                <a:ext cx="7601" cy="18340"/>
              </a:xfrm>
              <a:custGeom>
                <a:avLst/>
                <a:gdLst>
                  <a:gd name="connsiteX0" fmla="*/ 7602 w 7601"/>
                  <a:gd name="connsiteY0" fmla="*/ 18341 h 18340"/>
                  <a:gd name="connsiteX1" fmla="*/ 0 w 7601"/>
                  <a:gd name="connsiteY1" fmla="*/ 0 h 183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7601" h="18340">
                    <a:moveTo>
                      <a:pt x="7602" y="18341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63" name="Forma livre: Forma 962">
                <a:extLst>
                  <a:ext uri="{FF2B5EF4-FFF2-40B4-BE49-F238E27FC236}">
                    <a16:creationId xmlns:a16="http://schemas.microsoft.com/office/drawing/2014/main" id="{744EF6A6-6C27-A14D-895C-98AF40FFD226}"/>
                  </a:ext>
                </a:extLst>
              </p:cNvPr>
              <p:cNvSpPr/>
              <p:nvPr/>
            </p:nvSpPr>
            <p:spPr>
              <a:xfrm>
                <a:off x="10088109" y="3404073"/>
                <a:ext cx="7601" cy="18340"/>
              </a:xfrm>
              <a:custGeom>
                <a:avLst/>
                <a:gdLst>
                  <a:gd name="connsiteX0" fmla="*/ 7602 w 7601"/>
                  <a:gd name="connsiteY0" fmla="*/ 18341 h 18340"/>
                  <a:gd name="connsiteX1" fmla="*/ 0 w 7601"/>
                  <a:gd name="connsiteY1" fmla="*/ 0 h 183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7601" h="18340">
                    <a:moveTo>
                      <a:pt x="7602" y="18341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64" name="Forma livre: Forma 963">
                <a:extLst>
                  <a:ext uri="{FF2B5EF4-FFF2-40B4-BE49-F238E27FC236}">
                    <a16:creationId xmlns:a16="http://schemas.microsoft.com/office/drawing/2014/main" id="{0CA013C7-6768-9319-43DB-B4508B7E87A8}"/>
                  </a:ext>
                </a:extLst>
              </p:cNvPr>
              <p:cNvSpPr/>
              <p:nvPr/>
            </p:nvSpPr>
            <p:spPr>
              <a:xfrm>
                <a:off x="10088121" y="3148654"/>
                <a:ext cx="7589" cy="18340"/>
              </a:xfrm>
              <a:custGeom>
                <a:avLst/>
                <a:gdLst>
                  <a:gd name="connsiteX0" fmla="*/ 0 w 7589"/>
                  <a:gd name="connsiteY0" fmla="*/ 18341 h 18340"/>
                  <a:gd name="connsiteX1" fmla="*/ 7590 w 7589"/>
                  <a:gd name="connsiteY1" fmla="*/ 0 h 183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7589" h="18340">
                    <a:moveTo>
                      <a:pt x="0" y="18341"/>
                    </a:moveTo>
                    <a:lnTo>
                      <a:pt x="759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65" name="Forma livre: Forma 964">
                <a:extLst>
                  <a:ext uri="{FF2B5EF4-FFF2-40B4-BE49-F238E27FC236}">
                    <a16:creationId xmlns:a16="http://schemas.microsoft.com/office/drawing/2014/main" id="{BBA30CDC-2ADA-CDD3-AB15-E034AA78573D}"/>
                  </a:ext>
                </a:extLst>
              </p:cNvPr>
              <p:cNvSpPr/>
              <p:nvPr/>
            </p:nvSpPr>
            <p:spPr>
              <a:xfrm>
                <a:off x="9982323" y="3404073"/>
                <a:ext cx="7601" cy="18340"/>
              </a:xfrm>
              <a:custGeom>
                <a:avLst/>
                <a:gdLst>
                  <a:gd name="connsiteX0" fmla="*/ 0 w 7601"/>
                  <a:gd name="connsiteY0" fmla="*/ 18341 h 18340"/>
                  <a:gd name="connsiteX1" fmla="*/ 7602 w 7601"/>
                  <a:gd name="connsiteY1" fmla="*/ 0 h 183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7601" h="18340">
                    <a:moveTo>
                      <a:pt x="0" y="18341"/>
                    </a:moveTo>
                    <a:lnTo>
                      <a:pt x="7602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66" name="Forma livre: Forma 965">
                <a:extLst>
                  <a:ext uri="{FF2B5EF4-FFF2-40B4-BE49-F238E27FC236}">
                    <a16:creationId xmlns:a16="http://schemas.microsoft.com/office/drawing/2014/main" id="{C68B8A1B-A513-AF33-894F-9A93E87F5D18}"/>
                  </a:ext>
                </a:extLst>
              </p:cNvPr>
              <p:cNvSpPr/>
              <p:nvPr/>
            </p:nvSpPr>
            <p:spPr>
              <a:xfrm>
                <a:off x="9902143" y="3228846"/>
                <a:ext cx="18352" cy="7589"/>
              </a:xfrm>
              <a:custGeom>
                <a:avLst/>
                <a:gdLst>
                  <a:gd name="connsiteX0" fmla="*/ 18353 w 18352"/>
                  <a:gd name="connsiteY0" fmla="*/ 7590 h 7589"/>
                  <a:gd name="connsiteX1" fmla="*/ 0 w 18352"/>
                  <a:gd name="connsiteY1" fmla="*/ 0 h 75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8352" h="7589">
                    <a:moveTo>
                      <a:pt x="18353" y="7590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67" name="Forma livre: Forma 966">
                <a:extLst>
                  <a:ext uri="{FF2B5EF4-FFF2-40B4-BE49-F238E27FC236}">
                    <a16:creationId xmlns:a16="http://schemas.microsoft.com/office/drawing/2014/main" id="{FAA64A2B-2585-314C-236E-C11F4399EA89}"/>
                  </a:ext>
                </a:extLst>
              </p:cNvPr>
              <p:cNvSpPr/>
              <p:nvPr/>
            </p:nvSpPr>
            <p:spPr>
              <a:xfrm>
                <a:off x="10157550" y="3334631"/>
                <a:ext cx="18352" cy="7601"/>
              </a:xfrm>
              <a:custGeom>
                <a:avLst/>
                <a:gdLst>
                  <a:gd name="connsiteX0" fmla="*/ 18353 w 18352"/>
                  <a:gd name="connsiteY0" fmla="*/ 7602 h 7601"/>
                  <a:gd name="connsiteX1" fmla="*/ 0 w 18352"/>
                  <a:gd name="connsiteY1" fmla="*/ 0 h 76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8352" h="7601">
                    <a:moveTo>
                      <a:pt x="18353" y="7602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68" name="Forma livre: Forma 967">
                <a:extLst>
                  <a:ext uri="{FF2B5EF4-FFF2-40B4-BE49-F238E27FC236}">
                    <a16:creationId xmlns:a16="http://schemas.microsoft.com/office/drawing/2014/main" id="{01BDABB4-857B-015A-B568-0CA6B53E348D}"/>
                  </a:ext>
                </a:extLst>
              </p:cNvPr>
              <p:cNvSpPr/>
              <p:nvPr/>
            </p:nvSpPr>
            <p:spPr>
              <a:xfrm>
                <a:off x="9902143" y="3334631"/>
                <a:ext cx="18352" cy="7601"/>
              </a:xfrm>
              <a:custGeom>
                <a:avLst/>
                <a:gdLst>
                  <a:gd name="connsiteX0" fmla="*/ 18353 w 18352"/>
                  <a:gd name="connsiteY0" fmla="*/ 0 h 7601"/>
                  <a:gd name="connsiteX1" fmla="*/ 0 w 18352"/>
                  <a:gd name="connsiteY1" fmla="*/ 7602 h 76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8352" h="7601">
                    <a:moveTo>
                      <a:pt x="18353" y="0"/>
                    </a:moveTo>
                    <a:lnTo>
                      <a:pt x="0" y="7602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69" name="Forma livre: Forma 968">
                <a:extLst>
                  <a:ext uri="{FF2B5EF4-FFF2-40B4-BE49-F238E27FC236}">
                    <a16:creationId xmlns:a16="http://schemas.microsoft.com/office/drawing/2014/main" id="{79869FC4-097B-9969-D11F-E58938A3202D}"/>
                  </a:ext>
                </a:extLst>
              </p:cNvPr>
              <p:cNvSpPr/>
              <p:nvPr/>
            </p:nvSpPr>
            <p:spPr>
              <a:xfrm>
                <a:off x="10157550" y="3228846"/>
                <a:ext cx="18352" cy="7589"/>
              </a:xfrm>
              <a:custGeom>
                <a:avLst/>
                <a:gdLst>
                  <a:gd name="connsiteX0" fmla="*/ 18353 w 18352"/>
                  <a:gd name="connsiteY0" fmla="*/ 0 h 7589"/>
                  <a:gd name="connsiteX1" fmla="*/ 0 w 18352"/>
                  <a:gd name="connsiteY1" fmla="*/ 7590 h 75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8352" h="7589">
                    <a:moveTo>
                      <a:pt x="18353" y="0"/>
                    </a:moveTo>
                    <a:lnTo>
                      <a:pt x="0" y="759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70" name="Forma livre: Forma 969">
                <a:extLst>
                  <a:ext uri="{FF2B5EF4-FFF2-40B4-BE49-F238E27FC236}">
                    <a16:creationId xmlns:a16="http://schemas.microsoft.com/office/drawing/2014/main" id="{CC4F51F0-99DF-DC90-0490-FD4231E5CAE5}"/>
                  </a:ext>
                </a:extLst>
              </p:cNvPr>
              <p:cNvSpPr/>
              <p:nvPr/>
            </p:nvSpPr>
            <p:spPr>
              <a:xfrm>
                <a:off x="10129737" y="3180774"/>
                <a:ext cx="14045" cy="14033"/>
              </a:xfrm>
              <a:custGeom>
                <a:avLst/>
                <a:gdLst>
                  <a:gd name="connsiteX0" fmla="*/ 0 w 14045"/>
                  <a:gd name="connsiteY0" fmla="*/ 14033 h 14033"/>
                  <a:gd name="connsiteX1" fmla="*/ 14045 w 14045"/>
                  <a:gd name="connsiteY1" fmla="*/ 0 h 14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4045" h="14033">
                    <a:moveTo>
                      <a:pt x="0" y="14033"/>
                    </a:moveTo>
                    <a:lnTo>
                      <a:pt x="14045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71" name="Forma livre: Forma 970">
                <a:extLst>
                  <a:ext uri="{FF2B5EF4-FFF2-40B4-BE49-F238E27FC236}">
                    <a16:creationId xmlns:a16="http://schemas.microsoft.com/office/drawing/2014/main" id="{E798DB5C-2B70-7AA0-3E05-11F2F26F2F16}"/>
                  </a:ext>
                </a:extLst>
              </p:cNvPr>
              <p:cNvSpPr/>
              <p:nvPr/>
            </p:nvSpPr>
            <p:spPr>
              <a:xfrm>
                <a:off x="9934263" y="3376260"/>
                <a:ext cx="14033" cy="14033"/>
              </a:xfrm>
              <a:custGeom>
                <a:avLst/>
                <a:gdLst>
                  <a:gd name="connsiteX0" fmla="*/ 0 w 14033"/>
                  <a:gd name="connsiteY0" fmla="*/ 14033 h 14033"/>
                  <a:gd name="connsiteX1" fmla="*/ 14033 w 14033"/>
                  <a:gd name="connsiteY1" fmla="*/ 0 h 14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4033" h="14033">
                    <a:moveTo>
                      <a:pt x="0" y="14033"/>
                    </a:moveTo>
                    <a:lnTo>
                      <a:pt x="14033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72" name="Forma livre: Forma 971">
                <a:extLst>
                  <a:ext uri="{FF2B5EF4-FFF2-40B4-BE49-F238E27FC236}">
                    <a16:creationId xmlns:a16="http://schemas.microsoft.com/office/drawing/2014/main" id="{3A349C14-E3F6-2A3A-0BCB-CE6C19179433}"/>
                  </a:ext>
                </a:extLst>
              </p:cNvPr>
              <p:cNvSpPr/>
              <p:nvPr/>
            </p:nvSpPr>
            <p:spPr>
              <a:xfrm>
                <a:off x="9934263" y="3180774"/>
                <a:ext cx="14033" cy="14033"/>
              </a:xfrm>
              <a:custGeom>
                <a:avLst/>
                <a:gdLst>
                  <a:gd name="connsiteX0" fmla="*/ 14033 w 14033"/>
                  <a:gd name="connsiteY0" fmla="*/ 14033 h 14033"/>
                  <a:gd name="connsiteX1" fmla="*/ 0 w 14033"/>
                  <a:gd name="connsiteY1" fmla="*/ 0 h 14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4033" h="14033">
                    <a:moveTo>
                      <a:pt x="14033" y="14033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73" name="Forma livre: Forma 972">
                <a:extLst>
                  <a:ext uri="{FF2B5EF4-FFF2-40B4-BE49-F238E27FC236}">
                    <a16:creationId xmlns:a16="http://schemas.microsoft.com/office/drawing/2014/main" id="{852D3F4C-9782-D1E8-CDE0-FE0B41B2D37C}"/>
                  </a:ext>
                </a:extLst>
              </p:cNvPr>
              <p:cNvSpPr/>
              <p:nvPr/>
            </p:nvSpPr>
            <p:spPr>
              <a:xfrm>
                <a:off x="10129737" y="3376260"/>
                <a:ext cx="14045" cy="14033"/>
              </a:xfrm>
              <a:custGeom>
                <a:avLst/>
                <a:gdLst>
                  <a:gd name="connsiteX0" fmla="*/ 14045 w 14045"/>
                  <a:gd name="connsiteY0" fmla="*/ 14033 h 14033"/>
                  <a:gd name="connsiteX1" fmla="*/ 0 w 14045"/>
                  <a:gd name="connsiteY1" fmla="*/ 0 h 14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4045" h="14033">
                    <a:moveTo>
                      <a:pt x="14045" y="14033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74" name="Forma livre: Forma 973">
                <a:extLst>
                  <a:ext uri="{FF2B5EF4-FFF2-40B4-BE49-F238E27FC236}">
                    <a16:creationId xmlns:a16="http://schemas.microsoft.com/office/drawing/2014/main" id="{8A3A34A4-5526-9E1D-2395-78E3D7A52466}"/>
                  </a:ext>
                </a:extLst>
              </p:cNvPr>
              <p:cNvSpPr/>
              <p:nvPr/>
            </p:nvSpPr>
            <p:spPr>
              <a:xfrm>
                <a:off x="10167324" y="3285534"/>
                <a:ext cx="19849" cy="1206"/>
              </a:xfrm>
              <a:custGeom>
                <a:avLst/>
                <a:gdLst>
                  <a:gd name="connsiteX0" fmla="*/ 0 w 19849"/>
                  <a:gd name="connsiteY0" fmla="*/ 0 h 1206"/>
                  <a:gd name="connsiteX1" fmla="*/ 19849 w 19849"/>
                  <a:gd name="connsiteY1" fmla="*/ 0 h 12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9849" h="1206">
                    <a:moveTo>
                      <a:pt x="0" y="0"/>
                    </a:moveTo>
                    <a:lnTo>
                      <a:pt x="19849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75" name="Forma livre: Forma 974">
                <a:extLst>
                  <a:ext uri="{FF2B5EF4-FFF2-40B4-BE49-F238E27FC236}">
                    <a16:creationId xmlns:a16="http://schemas.microsoft.com/office/drawing/2014/main" id="{0A97FB2B-C8E9-8B2A-0578-971791A24232}"/>
                  </a:ext>
                </a:extLst>
              </p:cNvPr>
              <p:cNvSpPr/>
              <p:nvPr/>
            </p:nvSpPr>
            <p:spPr>
              <a:xfrm>
                <a:off x="9890873" y="3285534"/>
                <a:ext cx="19849" cy="1206"/>
              </a:xfrm>
              <a:custGeom>
                <a:avLst/>
                <a:gdLst>
                  <a:gd name="connsiteX0" fmla="*/ 0 w 19849"/>
                  <a:gd name="connsiteY0" fmla="*/ 0 h 1206"/>
                  <a:gd name="connsiteX1" fmla="*/ 19849 w 19849"/>
                  <a:gd name="connsiteY1" fmla="*/ 0 h 12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9849" h="1206">
                    <a:moveTo>
                      <a:pt x="0" y="0"/>
                    </a:moveTo>
                    <a:lnTo>
                      <a:pt x="19849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976" name="Gráfico 11">
              <a:extLst>
                <a:ext uri="{FF2B5EF4-FFF2-40B4-BE49-F238E27FC236}">
                  <a16:creationId xmlns:a16="http://schemas.microsoft.com/office/drawing/2014/main" id="{3B4857BB-58E9-DD0E-F6D4-DB5C9CF16352}"/>
                </a:ext>
              </a:extLst>
            </p:cNvPr>
            <p:cNvGrpSpPr/>
            <p:nvPr/>
          </p:nvGrpSpPr>
          <p:grpSpPr>
            <a:xfrm>
              <a:off x="9976664" y="3249299"/>
              <a:ext cx="124717" cy="72470"/>
              <a:chOff x="9976664" y="3249299"/>
              <a:chExt cx="124717" cy="72470"/>
            </a:xfrm>
            <a:noFill/>
          </p:grpSpPr>
          <p:sp>
            <p:nvSpPr>
              <p:cNvPr id="977" name="Forma livre: Forma 976">
                <a:extLst>
                  <a:ext uri="{FF2B5EF4-FFF2-40B4-BE49-F238E27FC236}">
                    <a16:creationId xmlns:a16="http://schemas.microsoft.com/office/drawing/2014/main" id="{CA41901E-422C-BC63-A1FC-DAFBC74573C7}"/>
                  </a:ext>
                </a:extLst>
              </p:cNvPr>
              <p:cNvSpPr/>
              <p:nvPr/>
            </p:nvSpPr>
            <p:spPr>
              <a:xfrm>
                <a:off x="9976664" y="3249998"/>
                <a:ext cx="1206" cy="71275"/>
              </a:xfrm>
              <a:custGeom>
                <a:avLst/>
                <a:gdLst>
                  <a:gd name="connsiteX0" fmla="*/ 0 w 1206"/>
                  <a:gd name="connsiteY0" fmla="*/ 0 h 71275"/>
                  <a:gd name="connsiteX1" fmla="*/ 0 w 1206"/>
                  <a:gd name="connsiteY1" fmla="*/ 71276 h 712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06" h="71275">
                    <a:moveTo>
                      <a:pt x="0" y="0"/>
                    </a:moveTo>
                    <a:lnTo>
                      <a:pt x="0" y="71276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78" name="Forma livre: Forma 977">
                <a:extLst>
                  <a:ext uri="{FF2B5EF4-FFF2-40B4-BE49-F238E27FC236}">
                    <a16:creationId xmlns:a16="http://schemas.microsoft.com/office/drawing/2014/main" id="{DE154CCC-DBCD-B015-94E3-10C1ED321994}"/>
                  </a:ext>
                </a:extLst>
              </p:cNvPr>
              <p:cNvSpPr/>
              <p:nvPr/>
            </p:nvSpPr>
            <p:spPr>
              <a:xfrm>
                <a:off x="10000254" y="3249299"/>
                <a:ext cx="39106" cy="72470"/>
              </a:xfrm>
              <a:custGeom>
                <a:avLst/>
                <a:gdLst>
                  <a:gd name="connsiteX0" fmla="*/ 19801 w 39106"/>
                  <a:gd name="connsiteY0" fmla="*/ 0 h 72470"/>
                  <a:gd name="connsiteX1" fmla="*/ 39107 w 39106"/>
                  <a:gd name="connsiteY1" fmla="*/ 19306 h 72470"/>
                  <a:gd name="connsiteX2" fmla="*/ 39107 w 39106"/>
                  <a:gd name="connsiteY2" fmla="*/ 53164 h 72470"/>
                  <a:gd name="connsiteX3" fmla="*/ 19801 w 39106"/>
                  <a:gd name="connsiteY3" fmla="*/ 72470 h 72470"/>
                  <a:gd name="connsiteX4" fmla="*/ 19306 w 39106"/>
                  <a:gd name="connsiteY4" fmla="*/ 72470 h 72470"/>
                  <a:gd name="connsiteX5" fmla="*/ 0 w 39106"/>
                  <a:gd name="connsiteY5" fmla="*/ 53164 h 72470"/>
                  <a:gd name="connsiteX6" fmla="*/ 0 w 39106"/>
                  <a:gd name="connsiteY6" fmla="*/ 19306 h 72470"/>
                  <a:gd name="connsiteX7" fmla="*/ 19306 w 39106"/>
                  <a:gd name="connsiteY7" fmla="*/ 0 h 724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9106" h="72470">
                    <a:moveTo>
                      <a:pt x="19801" y="0"/>
                    </a:moveTo>
                    <a:cubicBezTo>
                      <a:pt x="30463" y="0"/>
                      <a:pt x="39107" y="8644"/>
                      <a:pt x="39107" y="19306"/>
                    </a:cubicBezTo>
                    <a:lnTo>
                      <a:pt x="39107" y="53164"/>
                    </a:lnTo>
                    <a:cubicBezTo>
                      <a:pt x="39107" y="63827"/>
                      <a:pt x="30463" y="72470"/>
                      <a:pt x="19801" y="72470"/>
                    </a:cubicBezTo>
                    <a:lnTo>
                      <a:pt x="19306" y="72470"/>
                    </a:lnTo>
                    <a:cubicBezTo>
                      <a:pt x="8644" y="72470"/>
                      <a:pt x="0" y="63827"/>
                      <a:pt x="0" y="53164"/>
                    </a:cubicBezTo>
                    <a:lnTo>
                      <a:pt x="0" y="19306"/>
                    </a:lnTo>
                    <a:cubicBezTo>
                      <a:pt x="0" y="8644"/>
                      <a:pt x="8644" y="0"/>
                      <a:pt x="19306" y="0"/>
                    </a:cubicBezTo>
                    <a:close/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79" name="Forma livre: Forma 978">
                <a:extLst>
                  <a:ext uri="{FF2B5EF4-FFF2-40B4-BE49-F238E27FC236}">
                    <a16:creationId xmlns:a16="http://schemas.microsoft.com/office/drawing/2014/main" id="{4109F72D-4A2D-956A-3389-57D64375A36C}"/>
                  </a:ext>
                </a:extLst>
              </p:cNvPr>
              <p:cNvSpPr/>
              <p:nvPr/>
            </p:nvSpPr>
            <p:spPr>
              <a:xfrm>
                <a:off x="10062275" y="3249299"/>
                <a:ext cx="39106" cy="72470"/>
              </a:xfrm>
              <a:custGeom>
                <a:avLst/>
                <a:gdLst>
                  <a:gd name="connsiteX0" fmla="*/ 19801 w 39106"/>
                  <a:gd name="connsiteY0" fmla="*/ 0 h 72470"/>
                  <a:gd name="connsiteX1" fmla="*/ 39107 w 39106"/>
                  <a:gd name="connsiteY1" fmla="*/ 19306 h 72470"/>
                  <a:gd name="connsiteX2" fmla="*/ 39107 w 39106"/>
                  <a:gd name="connsiteY2" fmla="*/ 53164 h 72470"/>
                  <a:gd name="connsiteX3" fmla="*/ 19801 w 39106"/>
                  <a:gd name="connsiteY3" fmla="*/ 72470 h 72470"/>
                  <a:gd name="connsiteX4" fmla="*/ 19306 w 39106"/>
                  <a:gd name="connsiteY4" fmla="*/ 72470 h 72470"/>
                  <a:gd name="connsiteX5" fmla="*/ 0 w 39106"/>
                  <a:gd name="connsiteY5" fmla="*/ 53164 h 72470"/>
                  <a:gd name="connsiteX6" fmla="*/ 0 w 39106"/>
                  <a:gd name="connsiteY6" fmla="*/ 19306 h 72470"/>
                  <a:gd name="connsiteX7" fmla="*/ 19306 w 39106"/>
                  <a:gd name="connsiteY7" fmla="*/ 0 h 724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9106" h="72470">
                    <a:moveTo>
                      <a:pt x="19801" y="0"/>
                    </a:moveTo>
                    <a:cubicBezTo>
                      <a:pt x="30463" y="0"/>
                      <a:pt x="39107" y="8644"/>
                      <a:pt x="39107" y="19306"/>
                    </a:cubicBezTo>
                    <a:lnTo>
                      <a:pt x="39107" y="53164"/>
                    </a:lnTo>
                    <a:cubicBezTo>
                      <a:pt x="39107" y="63827"/>
                      <a:pt x="30463" y="72470"/>
                      <a:pt x="19801" y="72470"/>
                    </a:cubicBezTo>
                    <a:lnTo>
                      <a:pt x="19306" y="72470"/>
                    </a:lnTo>
                    <a:cubicBezTo>
                      <a:pt x="8644" y="72470"/>
                      <a:pt x="0" y="63827"/>
                      <a:pt x="0" y="53164"/>
                    </a:cubicBezTo>
                    <a:lnTo>
                      <a:pt x="0" y="19306"/>
                    </a:lnTo>
                    <a:cubicBezTo>
                      <a:pt x="0" y="8644"/>
                      <a:pt x="8644" y="0"/>
                      <a:pt x="19306" y="0"/>
                    </a:cubicBezTo>
                    <a:close/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980" name="Gráfico 11">
            <a:extLst>
              <a:ext uri="{FF2B5EF4-FFF2-40B4-BE49-F238E27FC236}">
                <a16:creationId xmlns:a16="http://schemas.microsoft.com/office/drawing/2014/main" id="{0E8E33E7-6124-BA69-6041-67F3BA610237}"/>
              </a:ext>
            </a:extLst>
          </p:cNvPr>
          <p:cNvGrpSpPr/>
          <p:nvPr/>
        </p:nvGrpSpPr>
        <p:grpSpPr>
          <a:xfrm>
            <a:off x="9896713" y="2075163"/>
            <a:ext cx="284619" cy="281458"/>
            <a:chOff x="9896713" y="2075163"/>
            <a:chExt cx="284619" cy="281458"/>
          </a:xfrm>
          <a:noFill/>
        </p:grpSpPr>
        <p:sp>
          <p:nvSpPr>
            <p:cNvPr id="981" name="Forma livre: Forma 980">
              <a:extLst>
                <a:ext uri="{FF2B5EF4-FFF2-40B4-BE49-F238E27FC236}">
                  <a16:creationId xmlns:a16="http://schemas.microsoft.com/office/drawing/2014/main" id="{EE0BC8BF-21CB-7C7B-BAC0-D3D9A4458962}"/>
                </a:ext>
              </a:extLst>
            </p:cNvPr>
            <p:cNvSpPr/>
            <p:nvPr/>
          </p:nvSpPr>
          <p:spPr>
            <a:xfrm>
              <a:off x="9896713" y="2134010"/>
              <a:ext cx="284619" cy="222611"/>
            </a:xfrm>
            <a:custGeom>
              <a:avLst/>
              <a:gdLst>
                <a:gd name="connsiteX0" fmla="*/ 142298 w 284619"/>
                <a:gd name="connsiteY0" fmla="*/ 222611 h 222611"/>
                <a:gd name="connsiteX1" fmla="*/ 284620 w 284619"/>
                <a:gd name="connsiteY1" fmla="*/ 61478 h 222611"/>
                <a:gd name="connsiteX2" fmla="*/ 247516 w 284619"/>
                <a:gd name="connsiteY2" fmla="*/ 0 h 222611"/>
                <a:gd name="connsiteX3" fmla="*/ 37104 w 284619"/>
                <a:gd name="connsiteY3" fmla="*/ 0 h 222611"/>
                <a:gd name="connsiteX4" fmla="*/ 0 w 284619"/>
                <a:gd name="connsiteY4" fmla="*/ 61478 h 222611"/>
                <a:gd name="connsiteX5" fmla="*/ 142322 w 284619"/>
                <a:gd name="connsiteY5" fmla="*/ 222611 h 2226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84619" h="222611">
                  <a:moveTo>
                    <a:pt x="142298" y="222611"/>
                  </a:moveTo>
                  <a:lnTo>
                    <a:pt x="284620" y="61478"/>
                  </a:lnTo>
                  <a:lnTo>
                    <a:pt x="247516" y="0"/>
                  </a:lnTo>
                  <a:lnTo>
                    <a:pt x="37104" y="0"/>
                  </a:lnTo>
                  <a:lnTo>
                    <a:pt x="0" y="61478"/>
                  </a:lnTo>
                  <a:lnTo>
                    <a:pt x="142322" y="222611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82" name="Forma livre: Forma 981">
              <a:extLst>
                <a:ext uri="{FF2B5EF4-FFF2-40B4-BE49-F238E27FC236}">
                  <a16:creationId xmlns:a16="http://schemas.microsoft.com/office/drawing/2014/main" id="{7A5D389D-8240-F4F6-C46E-B4920D2D7CD3}"/>
                </a:ext>
              </a:extLst>
            </p:cNvPr>
            <p:cNvSpPr/>
            <p:nvPr/>
          </p:nvSpPr>
          <p:spPr>
            <a:xfrm>
              <a:off x="9899573" y="2195488"/>
              <a:ext cx="77827" cy="1206"/>
            </a:xfrm>
            <a:custGeom>
              <a:avLst/>
              <a:gdLst>
                <a:gd name="connsiteX0" fmla="*/ 0 w 77827"/>
                <a:gd name="connsiteY0" fmla="*/ 0 h 1206"/>
                <a:gd name="connsiteX1" fmla="*/ 77828 w 77827"/>
                <a:gd name="connsiteY1" fmla="*/ 0 h 12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7827" h="1206">
                  <a:moveTo>
                    <a:pt x="0" y="0"/>
                  </a:moveTo>
                  <a:lnTo>
                    <a:pt x="77828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83" name="Forma livre: Forma 982">
              <a:extLst>
                <a:ext uri="{FF2B5EF4-FFF2-40B4-BE49-F238E27FC236}">
                  <a16:creationId xmlns:a16="http://schemas.microsoft.com/office/drawing/2014/main" id="{E247DF55-03D9-0E60-871D-FB328F76C153}"/>
                </a:ext>
              </a:extLst>
            </p:cNvPr>
            <p:cNvSpPr/>
            <p:nvPr/>
          </p:nvSpPr>
          <p:spPr>
            <a:xfrm>
              <a:off x="10013599" y="2195488"/>
              <a:ext cx="164873" cy="1206"/>
            </a:xfrm>
            <a:custGeom>
              <a:avLst/>
              <a:gdLst>
                <a:gd name="connsiteX0" fmla="*/ 0 w 164873"/>
                <a:gd name="connsiteY0" fmla="*/ 0 h 1206"/>
                <a:gd name="connsiteX1" fmla="*/ 164874 w 164873"/>
                <a:gd name="connsiteY1" fmla="*/ 0 h 12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64873" h="1206">
                  <a:moveTo>
                    <a:pt x="0" y="0"/>
                  </a:moveTo>
                  <a:lnTo>
                    <a:pt x="164874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984" name="Gráfico 11">
              <a:extLst>
                <a:ext uri="{FF2B5EF4-FFF2-40B4-BE49-F238E27FC236}">
                  <a16:creationId xmlns:a16="http://schemas.microsoft.com/office/drawing/2014/main" id="{6D4B6DFE-F234-22CD-57EF-6F6A4425F169}"/>
                </a:ext>
              </a:extLst>
            </p:cNvPr>
            <p:cNvGrpSpPr/>
            <p:nvPr/>
          </p:nvGrpSpPr>
          <p:grpSpPr>
            <a:xfrm>
              <a:off x="9951301" y="2135072"/>
              <a:ext cx="192747" cy="219389"/>
              <a:chOff x="9951301" y="2135072"/>
              <a:chExt cx="192747" cy="219389"/>
            </a:xfrm>
          </p:grpSpPr>
          <p:grpSp>
            <p:nvGrpSpPr>
              <p:cNvPr id="985" name="Gráfico 11">
                <a:extLst>
                  <a:ext uri="{FF2B5EF4-FFF2-40B4-BE49-F238E27FC236}">
                    <a16:creationId xmlns:a16="http://schemas.microsoft.com/office/drawing/2014/main" id="{079EC84B-C3B6-5FD6-591E-F090CC10BC94}"/>
                  </a:ext>
                </a:extLst>
              </p:cNvPr>
              <p:cNvGrpSpPr/>
              <p:nvPr/>
            </p:nvGrpSpPr>
            <p:grpSpPr>
              <a:xfrm>
                <a:off x="9951301" y="2135192"/>
                <a:ext cx="87528" cy="219268"/>
                <a:chOff x="9951301" y="2135192"/>
                <a:chExt cx="87528" cy="219268"/>
              </a:xfrm>
            </p:grpSpPr>
            <p:sp>
              <p:nvSpPr>
                <p:cNvPr id="986" name="Forma livre: Forma 985">
                  <a:extLst>
                    <a:ext uri="{FF2B5EF4-FFF2-40B4-BE49-F238E27FC236}">
                      <a16:creationId xmlns:a16="http://schemas.microsoft.com/office/drawing/2014/main" id="{56FC461B-E8E9-A595-5752-583340CCCB5E}"/>
                    </a:ext>
                  </a:extLst>
                </p:cNvPr>
                <p:cNvSpPr/>
                <p:nvPr/>
              </p:nvSpPr>
              <p:spPr>
                <a:xfrm>
                  <a:off x="9976652" y="2195488"/>
                  <a:ext cx="62177" cy="158973"/>
                </a:xfrm>
                <a:custGeom>
                  <a:avLst/>
                  <a:gdLst>
                    <a:gd name="connsiteX0" fmla="*/ 0 w 62177"/>
                    <a:gd name="connsiteY0" fmla="*/ 0 h 158973"/>
                    <a:gd name="connsiteX1" fmla="*/ 62178 w 62177"/>
                    <a:gd name="connsiteY1" fmla="*/ 158974 h 15897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62177" h="158973">
                      <a:moveTo>
                        <a:pt x="0" y="0"/>
                      </a:moveTo>
                      <a:lnTo>
                        <a:pt x="62178" y="158974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987" name="Forma livre: Forma 986">
                  <a:extLst>
                    <a:ext uri="{FF2B5EF4-FFF2-40B4-BE49-F238E27FC236}">
                      <a16:creationId xmlns:a16="http://schemas.microsoft.com/office/drawing/2014/main" id="{3882A7D9-74EB-1074-0529-CFEF0214D1DC}"/>
                    </a:ext>
                  </a:extLst>
                </p:cNvPr>
                <p:cNvSpPr/>
                <p:nvPr/>
              </p:nvSpPr>
              <p:spPr>
                <a:xfrm>
                  <a:off x="9951301" y="2159410"/>
                  <a:ext cx="25085" cy="35293"/>
                </a:xfrm>
                <a:custGeom>
                  <a:avLst/>
                  <a:gdLst>
                    <a:gd name="connsiteX0" fmla="*/ 25086 w 25085"/>
                    <a:gd name="connsiteY0" fmla="*/ 35294 h 35293"/>
                    <a:gd name="connsiteX1" fmla="*/ 0 w 25085"/>
                    <a:gd name="connsiteY1" fmla="*/ 0 h 3529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5085" h="35293">
                      <a:moveTo>
                        <a:pt x="25086" y="35294"/>
                      </a:moveTo>
                      <a:lnTo>
                        <a:pt x="0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988" name="Forma livre: Forma 987">
                  <a:extLst>
                    <a:ext uri="{FF2B5EF4-FFF2-40B4-BE49-F238E27FC236}">
                      <a16:creationId xmlns:a16="http://schemas.microsoft.com/office/drawing/2014/main" id="{97FDCE2A-F433-34DC-E01D-294DD2CD1DD7}"/>
                    </a:ext>
                  </a:extLst>
                </p:cNvPr>
                <p:cNvSpPr/>
                <p:nvPr/>
              </p:nvSpPr>
              <p:spPr>
                <a:xfrm>
                  <a:off x="9977569" y="2135192"/>
                  <a:ext cx="57918" cy="59124"/>
                </a:xfrm>
                <a:custGeom>
                  <a:avLst/>
                  <a:gdLst>
                    <a:gd name="connsiteX0" fmla="*/ 57918 w 57918"/>
                    <a:gd name="connsiteY0" fmla="*/ 0 h 59124"/>
                    <a:gd name="connsiteX1" fmla="*/ 0 w 57918"/>
                    <a:gd name="connsiteY1" fmla="*/ 59125 h 5912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57918" h="59124">
                      <a:moveTo>
                        <a:pt x="57918" y="0"/>
                      </a:moveTo>
                      <a:lnTo>
                        <a:pt x="0" y="59125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989" name="Gráfico 11">
                <a:extLst>
                  <a:ext uri="{FF2B5EF4-FFF2-40B4-BE49-F238E27FC236}">
                    <a16:creationId xmlns:a16="http://schemas.microsoft.com/office/drawing/2014/main" id="{6FF13A32-CA26-227C-4AA4-F8FAD3DF7209}"/>
                  </a:ext>
                </a:extLst>
              </p:cNvPr>
              <p:cNvGrpSpPr/>
              <p:nvPr/>
            </p:nvGrpSpPr>
            <p:grpSpPr>
              <a:xfrm>
                <a:off x="10039216" y="2135072"/>
                <a:ext cx="104832" cy="219389"/>
                <a:chOff x="10039216" y="2135072"/>
                <a:chExt cx="104832" cy="219389"/>
              </a:xfrm>
            </p:grpSpPr>
            <p:sp>
              <p:nvSpPr>
                <p:cNvPr id="990" name="Forma livre: Forma 989">
                  <a:extLst>
                    <a:ext uri="{FF2B5EF4-FFF2-40B4-BE49-F238E27FC236}">
                      <a16:creationId xmlns:a16="http://schemas.microsoft.com/office/drawing/2014/main" id="{0F162329-E233-509D-C398-6D68BF8668E9}"/>
                    </a:ext>
                  </a:extLst>
                </p:cNvPr>
                <p:cNvSpPr/>
                <p:nvPr/>
              </p:nvSpPr>
              <p:spPr>
                <a:xfrm>
                  <a:off x="10039216" y="2195488"/>
                  <a:ext cx="62177" cy="158973"/>
                </a:xfrm>
                <a:custGeom>
                  <a:avLst/>
                  <a:gdLst>
                    <a:gd name="connsiteX0" fmla="*/ 62178 w 62177"/>
                    <a:gd name="connsiteY0" fmla="*/ 0 h 158973"/>
                    <a:gd name="connsiteX1" fmla="*/ 0 w 62177"/>
                    <a:gd name="connsiteY1" fmla="*/ 158974 h 15897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62177" h="158973">
                      <a:moveTo>
                        <a:pt x="62178" y="0"/>
                      </a:moveTo>
                      <a:lnTo>
                        <a:pt x="0" y="158974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991" name="Forma livre: Forma 990">
                  <a:extLst>
                    <a:ext uri="{FF2B5EF4-FFF2-40B4-BE49-F238E27FC236}">
                      <a16:creationId xmlns:a16="http://schemas.microsoft.com/office/drawing/2014/main" id="{E2D72B05-ADEF-8584-5D8D-BA4694006462}"/>
                    </a:ext>
                  </a:extLst>
                </p:cNvPr>
                <p:cNvSpPr/>
                <p:nvPr/>
              </p:nvSpPr>
              <p:spPr>
                <a:xfrm>
                  <a:off x="10101659" y="2135072"/>
                  <a:ext cx="42388" cy="59631"/>
                </a:xfrm>
                <a:custGeom>
                  <a:avLst/>
                  <a:gdLst>
                    <a:gd name="connsiteX0" fmla="*/ 0 w 42388"/>
                    <a:gd name="connsiteY0" fmla="*/ 59632 h 59631"/>
                    <a:gd name="connsiteX1" fmla="*/ 42389 w 42388"/>
                    <a:gd name="connsiteY1" fmla="*/ 0 h 5963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2388" h="59631">
                      <a:moveTo>
                        <a:pt x="0" y="59632"/>
                      </a:moveTo>
                      <a:lnTo>
                        <a:pt x="42389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992" name="Forma livre: Forma 991">
                  <a:extLst>
                    <a:ext uri="{FF2B5EF4-FFF2-40B4-BE49-F238E27FC236}">
                      <a16:creationId xmlns:a16="http://schemas.microsoft.com/office/drawing/2014/main" id="{44B34174-FFF1-DBF2-0769-E981C3D47D26}"/>
                    </a:ext>
                  </a:extLst>
                </p:cNvPr>
                <p:cNvSpPr/>
                <p:nvPr/>
              </p:nvSpPr>
              <p:spPr>
                <a:xfrm>
                  <a:off x="10042558" y="2135192"/>
                  <a:ext cx="57918" cy="59124"/>
                </a:xfrm>
                <a:custGeom>
                  <a:avLst/>
                  <a:gdLst>
                    <a:gd name="connsiteX0" fmla="*/ 0 w 57918"/>
                    <a:gd name="connsiteY0" fmla="*/ 0 h 59124"/>
                    <a:gd name="connsiteX1" fmla="*/ 57918 w 57918"/>
                    <a:gd name="connsiteY1" fmla="*/ 59125 h 5912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57918" h="59124">
                      <a:moveTo>
                        <a:pt x="0" y="0"/>
                      </a:moveTo>
                      <a:lnTo>
                        <a:pt x="57918" y="59125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grpSp>
          <p:nvGrpSpPr>
            <p:cNvPr id="993" name="Gráfico 11">
              <a:extLst>
                <a:ext uri="{FF2B5EF4-FFF2-40B4-BE49-F238E27FC236}">
                  <a16:creationId xmlns:a16="http://schemas.microsoft.com/office/drawing/2014/main" id="{14D0474B-8438-321B-3A52-9780ADCF8921}"/>
                </a:ext>
              </a:extLst>
            </p:cNvPr>
            <p:cNvGrpSpPr/>
            <p:nvPr/>
          </p:nvGrpSpPr>
          <p:grpSpPr>
            <a:xfrm>
              <a:off x="9953992" y="2075163"/>
              <a:ext cx="170062" cy="22358"/>
              <a:chOff x="9953992" y="2075163"/>
              <a:chExt cx="170062" cy="22358"/>
            </a:xfrm>
          </p:grpSpPr>
          <p:sp>
            <p:nvSpPr>
              <p:cNvPr id="994" name="Forma livre: Forma 993">
                <a:extLst>
                  <a:ext uri="{FF2B5EF4-FFF2-40B4-BE49-F238E27FC236}">
                    <a16:creationId xmlns:a16="http://schemas.microsoft.com/office/drawing/2014/main" id="{1D87EB9D-25C0-B156-E934-0E74FFDB24C0}"/>
                  </a:ext>
                </a:extLst>
              </p:cNvPr>
              <p:cNvSpPr/>
              <p:nvPr/>
            </p:nvSpPr>
            <p:spPr>
              <a:xfrm>
                <a:off x="10039095" y="2075163"/>
                <a:ext cx="1206" cy="22358"/>
              </a:xfrm>
              <a:custGeom>
                <a:avLst/>
                <a:gdLst>
                  <a:gd name="connsiteX0" fmla="*/ 0 w 1206"/>
                  <a:gd name="connsiteY0" fmla="*/ 22359 h 22358"/>
                  <a:gd name="connsiteX1" fmla="*/ 0 w 1206"/>
                  <a:gd name="connsiteY1" fmla="*/ 0 h 223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06" h="22358">
                    <a:moveTo>
                      <a:pt x="0" y="22359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95" name="Forma livre: Forma 994">
                <a:extLst>
                  <a:ext uri="{FF2B5EF4-FFF2-40B4-BE49-F238E27FC236}">
                    <a16:creationId xmlns:a16="http://schemas.microsoft.com/office/drawing/2014/main" id="{42D3B2DB-DFDE-28BC-BF2F-E4CED330DE4F}"/>
                  </a:ext>
                </a:extLst>
              </p:cNvPr>
              <p:cNvSpPr/>
              <p:nvPr/>
            </p:nvSpPr>
            <p:spPr>
              <a:xfrm>
                <a:off x="10108923" y="2078010"/>
                <a:ext cx="15131" cy="19499"/>
              </a:xfrm>
              <a:custGeom>
                <a:avLst/>
                <a:gdLst>
                  <a:gd name="connsiteX0" fmla="*/ 0 w 15131"/>
                  <a:gd name="connsiteY0" fmla="*/ 19499 h 19499"/>
                  <a:gd name="connsiteX1" fmla="*/ 15131 w 15131"/>
                  <a:gd name="connsiteY1" fmla="*/ 0 h 194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5131" h="19499">
                    <a:moveTo>
                      <a:pt x="0" y="19499"/>
                    </a:moveTo>
                    <a:lnTo>
                      <a:pt x="15131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96" name="Forma livre: Forma 995">
                <a:extLst>
                  <a:ext uri="{FF2B5EF4-FFF2-40B4-BE49-F238E27FC236}">
                    <a16:creationId xmlns:a16="http://schemas.microsoft.com/office/drawing/2014/main" id="{1DA07CBA-05DE-2036-1A53-3CC664C42647}"/>
                  </a:ext>
                </a:extLst>
              </p:cNvPr>
              <p:cNvSpPr/>
              <p:nvPr/>
            </p:nvSpPr>
            <p:spPr>
              <a:xfrm>
                <a:off x="9953992" y="2078010"/>
                <a:ext cx="15131" cy="19499"/>
              </a:xfrm>
              <a:custGeom>
                <a:avLst/>
                <a:gdLst>
                  <a:gd name="connsiteX0" fmla="*/ 15131 w 15131"/>
                  <a:gd name="connsiteY0" fmla="*/ 19499 h 19499"/>
                  <a:gd name="connsiteX1" fmla="*/ 0 w 15131"/>
                  <a:gd name="connsiteY1" fmla="*/ 0 h 194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5131" h="19499">
                    <a:moveTo>
                      <a:pt x="15131" y="19499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997" name="Gráfico 11">
            <a:extLst>
              <a:ext uri="{FF2B5EF4-FFF2-40B4-BE49-F238E27FC236}">
                <a16:creationId xmlns:a16="http://schemas.microsoft.com/office/drawing/2014/main" id="{5BEAE629-D540-D3AD-0C60-5E300C10FD21}"/>
              </a:ext>
            </a:extLst>
          </p:cNvPr>
          <p:cNvGrpSpPr/>
          <p:nvPr/>
        </p:nvGrpSpPr>
        <p:grpSpPr>
          <a:xfrm>
            <a:off x="9875440" y="1532022"/>
            <a:ext cx="327167" cy="298098"/>
            <a:chOff x="9875440" y="1532022"/>
            <a:chExt cx="327167" cy="298098"/>
          </a:xfrm>
        </p:grpSpPr>
        <p:grpSp>
          <p:nvGrpSpPr>
            <p:cNvPr id="998" name="Gráfico 11">
              <a:extLst>
                <a:ext uri="{FF2B5EF4-FFF2-40B4-BE49-F238E27FC236}">
                  <a16:creationId xmlns:a16="http://schemas.microsoft.com/office/drawing/2014/main" id="{1F97DC35-86AD-A018-1BF1-592FB5925C3B}"/>
                </a:ext>
              </a:extLst>
            </p:cNvPr>
            <p:cNvGrpSpPr/>
            <p:nvPr/>
          </p:nvGrpSpPr>
          <p:grpSpPr>
            <a:xfrm>
              <a:off x="9875440" y="1696701"/>
              <a:ext cx="327167" cy="133419"/>
              <a:chOff x="9875440" y="1696701"/>
              <a:chExt cx="327167" cy="133419"/>
            </a:xfrm>
            <a:noFill/>
          </p:grpSpPr>
          <p:sp>
            <p:nvSpPr>
              <p:cNvPr id="999" name="Forma livre: Forma 998">
                <a:extLst>
                  <a:ext uri="{FF2B5EF4-FFF2-40B4-BE49-F238E27FC236}">
                    <a16:creationId xmlns:a16="http://schemas.microsoft.com/office/drawing/2014/main" id="{53D7FBFB-84F0-8160-7D8D-47118B811AB2}"/>
                  </a:ext>
                </a:extLst>
              </p:cNvPr>
              <p:cNvSpPr/>
              <p:nvPr/>
            </p:nvSpPr>
            <p:spPr>
              <a:xfrm>
                <a:off x="9915790" y="1696701"/>
                <a:ext cx="286818" cy="133419"/>
              </a:xfrm>
              <a:custGeom>
                <a:avLst/>
                <a:gdLst>
                  <a:gd name="connsiteX0" fmla="*/ 195764 w 286818"/>
                  <a:gd name="connsiteY0" fmla="*/ 33281 h 133419"/>
                  <a:gd name="connsiteX1" fmla="*/ 254430 w 286818"/>
                  <a:gd name="connsiteY1" fmla="*/ 3296 h 133419"/>
                  <a:gd name="connsiteX2" fmla="*/ 284560 w 286818"/>
                  <a:gd name="connsiteY2" fmla="*/ 9860 h 133419"/>
                  <a:gd name="connsiteX3" fmla="*/ 273893 w 286818"/>
                  <a:gd name="connsiteY3" fmla="*/ 39495 h 133419"/>
                  <a:gd name="connsiteX4" fmla="*/ 152156 w 286818"/>
                  <a:gd name="connsiteY4" fmla="*/ 104750 h 133419"/>
                  <a:gd name="connsiteX5" fmla="*/ 145713 w 286818"/>
                  <a:gd name="connsiteY5" fmla="*/ 106367 h 133419"/>
                  <a:gd name="connsiteX6" fmla="*/ 32181 w 286818"/>
                  <a:gd name="connsiteY6" fmla="*/ 109431 h 133419"/>
                  <a:gd name="connsiteX7" fmla="*/ 0 w 286818"/>
                  <a:gd name="connsiteY7" fmla="*/ 133419 h 1334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86818" h="133419">
                    <a:moveTo>
                      <a:pt x="195764" y="33281"/>
                    </a:moveTo>
                    <a:lnTo>
                      <a:pt x="254430" y="3296"/>
                    </a:lnTo>
                    <a:cubicBezTo>
                      <a:pt x="265772" y="-2797"/>
                      <a:pt x="279069" y="-348"/>
                      <a:pt x="284560" y="9860"/>
                    </a:cubicBezTo>
                    <a:cubicBezTo>
                      <a:pt x="290026" y="20068"/>
                      <a:pt x="285223" y="33414"/>
                      <a:pt x="273893" y="39495"/>
                    </a:cubicBezTo>
                    <a:lnTo>
                      <a:pt x="152156" y="104750"/>
                    </a:lnTo>
                    <a:lnTo>
                      <a:pt x="145713" y="106367"/>
                    </a:lnTo>
                    <a:lnTo>
                      <a:pt x="32181" y="109431"/>
                    </a:lnTo>
                    <a:cubicBezTo>
                      <a:pt x="32181" y="109431"/>
                      <a:pt x="17556" y="113522"/>
                      <a:pt x="0" y="133419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000" name="Forma livre: Forma 999">
                <a:extLst>
                  <a:ext uri="{FF2B5EF4-FFF2-40B4-BE49-F238E27FC236}">
                    <a16:creationId xmlns:a16="http://schemas.microsoft.com/office/drawing/2014/main" id="{7997F019-35D5-1332-FA3F-A3A4F25B5475}"/>
                  </a:ext>
                </a:extLst>
              </p:cNvPr>
              <p:cNvSpPr/>
              <p:nvPr/>
            </p:nvSpPr>
            <p:spPr>
              <a:xfrm>
                <a:off x="9875440" y="1712847"/>
                <a:ext cx="216493" cy="57592"/>
              </a:xfrm>
              <a:custGeom>
                <a:avLst/>
                <a:gdLst>
                  <a:gd name="connsiteX0" fmla="*/ 0 w 216493"/>
                  <a:gd name="connsiteY0" fmla="*/ 57593 h 57592"/>
                  <a:gd name="connsiteX1" fmla="*/ 51499 w 216493"/>
                  <a:gd name="connsiteY1" fmla="*/ 10184 h 57592"/>
                  <a:gd name="connsiteX2" fmla="*/ 106509 w 216493"/>
                  <a:gd name="connsiteY2" fmla="*/ 2582 h 57592"/>
                  <a:gd name="connsiteX3" fmla="*/ 147800 w 216493"/>
                  <a:gd name="connsiteY3" fmla="*/ 7240 h 57592"/>
                  <a:gd name="connsiteX4" fmla="*/ 192361 w 216493"/>
                  <a:gd name="connsiteY4" fmla="*/ 7240 h 57592"/>
                  <a:gd name="connsiteX5" fmla="*/ 216494 w 216493"/>
                  <a:gd name="connsiteY5" fmla="*/ 28308 h 57592"/>
                  <a:gd name="connsiteX6" fmla="*/ 192361 w 216493"/>
                  <a:gd name="connsiteY6" fmla="*/ 49376 h 57592"/>
                  <a:gd name="connsiteX7" fmla="*/ 130714 w 216493"/>
                  <a:gd name="connsiteY7" fmla="*/ 49376 h 575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16493" h="57592">
                    <a:moveTo>
                      <a:pt x="0" y="57593"/>
                    </a:moveTo>
                    <a:lnTo>
                      <a:pt x="51499" y="10184"/>
                    </a:lnTo>
                    <a:cubicBezTo>
                      <a:pt x="76669" y="-6793"/>
                      <a:pt x="106509" y="2582"/>
                      <a:pt x="106509" y="2582"/>
                    </a:cubicBezTo>
                    <a:cubicBezTo>
                      <a:pt x="120965" y="6383"/>
                      <a:pt x="147800" y="7240"/>
                      <a:pt x="147800" y="7240"/>
                    </a:cubicBezTo>
                    <a:lnTo>
                      <a:pt x="192361" y="7240"/>
                    </a:lnTo>
                    <a:cubicBezTo>
                      <a:pt x="205634" y="7240"/>
                      <a:pt x="216494" y="16724"/>
                      <a:pt x="216494" y="28308"/>
                    </a:cubicBezTo>
                    <a:cubicBezTo>
                      <a:pt x="216494" y="39891"/>
                      <a:pt x="205634" y="49376"/>
                      <a:pt x="192361" y="49376"/>
                    </a:cubicBezTo>
                    <a:lnTo>
                      <a:pt x="130714" y="49376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001" name="Gráfico 11">
              <a:extLst>
                <a:ext uri="{FF2B5EF4-FFF2-40B4-BE49-F238E27FC236}">
                  <a16:creationId xmlns:a16="http://schemas.microsoft.com/office/drawing/2014/main" id="{C7E40080-7148-B746-A4E3-E1C069509BF1}"/>
                </a:ext>
              </a:extLst>
            </p:cNvPr>
            <p:cNvGrpSpPr/>
            <p:nvPr/>
          </p:nvGrpSpPr>
          <p:grpSpPr>
            <a:xfrm>
              <a:off x="9973744" y="1595937"/>
              <a:ext cx="130979" cy="7529"/>
              <a:chOff x="9973744" y="1595937"/>
              <a:chExt cx="130979" cy="7529"/>
            </a:xfrm>
            <a:solidFill>
              <a:srgbClr val="394553"/>
            </a:solidFill>
          </p:grpSpPr>
          <p:sp>
            <p:nvSpPr>
              <p:cNvPr id="1002" name="Forma livre: Forma 1001">
                <a:extLst>
                  <a:ext uri="{FF2B5EF4-FFF2-40B4-BE49-F238E27FC236}">
                    <a16:creationId xmlns:a16="http://schemas.microsoft.com/office/drawing/2014/main" id="{7BC0674E-AE84-F25E-290C-A9F1ECD5241D}"/>
                  </a:ext>
                </a:extLst>
              </p:cNvPr>
              <p:cNvSpPr/>
              <p:nvPr/>
            </p:nvSpPr>
            <p:spPr>
              <a:xfrm>
                <a:off x="9973744" y="1595937"/>
                <a:ext cx="7517" cy="7529"/>
              </a:xfrm>
              <a:custGeom>
                <a:avLst/>
                <a:gdLst>
                  <a:gd name="connsiteX0" fmla="*/ 7517 w 7517"/>
                  <a:gd name="connsiteY0" fmla="*/ 3765 h 7529"/>
                  <a:gd name="connsiteX1" fmla="*/ 3765 w 7517"/>
                  <a:gd name="connsiteY1" fmla="*/ 7529 h 7529"/>
                  <a:gd name="connsiteX2" fmla="*/ 0 w 7517"/>
                  <a:gd name="connsiteY2" fmla="*/ 3765 h 7529"/>
                  <a:gd name="connsiteX3" fmla="*/ 3765 w 7517"/>
                  <a:gd name="connsiteY3" fmla="*/ 0 h 7529"/>
                  <a:gd name="connsiteX4" fmla="*/ 7517 w 7517"/>
                  <a:gd name="connsiteY4" fmla="*/ 3765 h 75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517" h="7529">
                    <a:moveTo>
                      <a:pt x="7517" y="3765"/>
                    </a:moveTo>
                    <a:cubicBezTo>
                      <a:pt x="7517" y="5852"/>
                      <a:pt x="5852" y="7529"/>
                      <a:pt x="3765" y="7529"/>
                    </a:cubicBezTo>
                    <a:cubicBezTo>
                      <a:pt x="1677" y="7529"/>
                      <a:pt x="0" y="5852"/>
                      <a:pt x="0" y="3765"/>
                    </a:cubicBezTo>
                    <a:cubicBezTo>
                      <a:pt x="0" y="1677"/>
                      <a:pt x="1689" y="0"/>
                      <a:pt x="3765" y="0"/>
                    </a:cubicBezTo>
                    <a:cubicBezTo>
                      <a:pt x="5840" y="0"/>
                      <a:pt x="7517" y="1677"/>
                      <a:pt x="7517" y="3765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003" name="Forma livre: Forma 1002">
                <a:extLst>
                  <a:ext uri="{FF2B5EF4-FFF2-40B4-BE49-F238E27FC236}">
                    <a16:creationId xmlns:a16="http://schemas.microsoft.com/office/drawing/2014/main" id="{A1928FB5-BD43-A41A-32C3-88ECB67DF7AF}"/>
                  </a:ext>
                </a:extLst>
              </p:cNvPr>
              <p:cNvSpPr/>
              <p:nvPr/>
            </p:nvSpPr>
            <p:spPr>
              <a:xfrm>
                <a:off x="10097207" y="1595937"/>
                <a:ext cx="7517" cy="7529"/>
              </a:xfrm>
              <a:custGeom>
                <a:avLst/>
                <a:gdLst>
                  <a:gd name="connsiteX0" fmla="*/ 7517 w 7517"/>
                  <a:gd name="connsiteY0" fmla="*/ 3765 h 7529"/>
                  <a:gd name="connsiteX1" fmla="*/ 3765 w 7517"/>
                  <a:gd name="connsiteY1" fmla="*/ 7529 h 7529"/>
                  <a:gd name="connsiteX2" fmla="*/ 0 w 7517"/>
                  <a:gd name="connsiteY2" fmla="*/ 3765 h 7529"/>
                  <a:gd name="connsiteX3" fmla="*/ 3765 w 7517"/>
                  <a:gd name="connsiteY3" fmla="*/ 0 h 7529"/>
                  <a:gd name="connsiteX4" fmla="*/ 7517 w 7517"/>
                  <a:gd name="connsiteY4" fmla="*/ 3765 h 75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517" h="7529">
                    <a:moveTo>
                      <a:pt x="7517" y="3765"/>
                    </a:moveTo>
                    <a:cubicBezTo>
                      <a:pt x="7517" y="5852"/>
                      <a:pt x="5852" y="7529"/>
                      <a:pt x="3765" y="7529"/>
                    </a:cubicBezTo>
                    <a:cubicBezTo>
                      <a:pt x="1677" y="7529"/>
                      <a:pt x="0" y="5852"/>
                      <a:pt x="0" y="3765"/>
                    </a:cubicBezTo>
                    <a:cubicBezTo>
                      <a:pt x="0" y="1677"/>
                      <a:pt x="1689" y="0"/>
                      <a:pt x="3765" y="0"/>
                    </a:cubicBezTo>
                    <a:cubicBezTo>
                      <a:pt x="5840" y="0"/>
                      <a:pt x="7517" y="1677"/>
                      <a:pt x="7517" y="3765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004" name="Gráfico 11">
              <a:extLst>
                <a:ext uri="{FF2B5EF4-FFF2-40B4-BE49-F238E27FC236}">
                  <a16:creationId xmlns:a16="http://schemas.microsoft.com/office/drawing/2014/main" id="{4780F2ED-9542-57FB-1EEC-465B67037227}"/>
                </a:ext>
              </a:extLst>
            </p:cNvPr>
            <p:cNvGrpSpPr/>
            <p:nvPr/>
          </p:nvGrpSpPr>
          <p:grpSpPr>
            <a:xfrm>
              <a:off x="9919953" y="1532022"/>
              <a:ext cx="238562" cy="135359"/>
              <a:chOff x="9919953" y="1532022"/>
              <a:chExt cx="238562" cy="135359"/>
            </a:xfrm>
            <a:noFill/>
          </p:grpSpPr>
          <p:sp>
            <p:nvSpPr>
              <p:cNvPr id="1005" name="Forma livre: Forma 1004">
                <a:extLst>
                  <a:ext uri="{FF2B5EF4-FFF2-40B4-BE49-F238E27FC236}">
                    <a16:creationId xmlns:a16="http://schemas.microsoft.com/office/drawing/2014/main" id="{71AC4C2F-46A8-DAA7-7C7D-D5DB7BAE5B15}"/>
                  </a:ext>
                </a:extLst>
              </p:cNvPr>
              <p:cNvSpPr/>
              <p:nvPr/>
            </p:nvSpPr>
            <p:spPr>
              <a:xfrm>
                <a:off x="9919953" y="1532022"/>
                <a:ext cx="238562" cy="135359"/>
              </a:xfrm>
              <a:custGeom>
                <a:avLst/>
                <a:gdLst>
                  <a:gd name="connsiteX0" fmla="*/ 0 w 238562"/>
                  <a:gd name="connsiteY0" fmla="*/ 0 h 135359"/>
                  <a:gd name="connsiteX1" fmla="*/ 238563 w 238562"/>
                  <a:gd name="connsiteY1" fmla="*/ 0 h 135359"/>
                  <a:gd name="connsiteX2" fmla="*/ 238563 w 238562"/>
                  <a:gd name="connsiteY2" fmla="*/ 135360 h 135359"/>
                  <a:gd name="connsiteX3" fmla="*/ 0 w 238562"/>
                  <a:gd name="connsiteY3" fmla="*/ 135360 h 1353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38562" h="135359">
                    <a:moveTo>
                      <a:pt x="0" y="0"/>
                    </a:moveTo>
                    <a:lnTo>
                      <a:pt x="238563" y="0"/>
                    </a:lnTo>
                    <a:lnTo>
                      <a:pt x="238563" y="135360"/>
                    </a:lnTo>
                    <a:lnTo>
                      <a:pt x="0" y="135360"/>
                    </a:ln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006" name="Forma livre: Forma 1005">
                <a:extLst>
                  <a:ext uri="{FF2B5EF4-FFF2-40B4-BE49-F238E27FC236}">
                    <a16:creationId xmlns:a16="http://schemas.microsoft.com/office/drawing/2014/main" id="{5EF40864-604F-3F35-69FC-B5B1A1C30FE1}"/>
                  </a:ext>
                </a:extLst>
              </p:cNvPr>
              <p:cNvSpPr/>
              <p:nvPr/>
            </p:nvSpPr>
            <p:spPr>
              <a:xfrm>
                <a:off x="10073279" y="1558580"/>
                <a:ext cx="57580" cy="82243"/>
              </a:xfrm>
              <a:custGeom>
                <a:avLst/>
                <a:gdLst>
                  <a:gd name="connsiteX0" fmla="*/ 0 w 57580"/>
                  <a:gd name="connsiteY0" fmla="*/ 82244 h 82243"/>
                  <a:gd name="connsiteX1" fmla="*/ 37864 w 57580"/>
                  <a:gd name="connsiteY1" fmla="*/ 82244 h 82243"/>
                  <a:gd name="connsiteX2" fmla="*/ 57580 w 57580"/>
                  <a:gd name="connsiteY2" fmla="*/ 62528 h 82243"/>
                  <a:gd name="connsiteX3" fmla="*/ 57580 w 57580"/>
                  <a:gd name="connsiteY3" fmla="*/ 19716 h 82243"/>
                  <a:gd name="connsiteX4" fmla="*/ 37864 w 57580"/>
                  <a:gd name="connsiteY4" fmla="*/ 0 h 82243"/>
                  <a:gd name="connsiteX5" fmla="*/ 0 w 57580"/>
                  <a:gd name="connsiteY5" fmla="*/ 0 h 822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57580" h="82243">
                    <a:moveTo>
                      <a:pt x="0" y="82244"/>
                    </a:moveTo>
                    <a:lnTo>
                      <a:pt x="37864" y="82244"/>
                    </a:lnTo>
                    <a:cubicBezTo>
                      <a:pt x="37864" y="71360"/>
                      <a:pt x="46685" y="62528"/>
                      <a:pt x="57580" y="62528"/>
                    </a:cubicBezTo>
                    <a:lnTo>
                      <a:pt x="57580" y="19716"/>
                    </a:lnTo>
                    <a:cubicBezTo>
                      <a:pt x="46697" y="19716"/>
                      <a:pt x="37864" y="10896"/>
                      <a:pt x="37864" y="0"/>
                    </a:cubicBezTo>
                    <a:lnTo>
                      <a:pt x="0" y="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007" name="Forma livre: Forma 1006">
                <a:extLst>
                  <a:ext uri="{FF2B5EF4-FFF2-40B4-BE49-F238E27FC236}">
                    <a16:creationId xmlns:a16="http://schemas.microsoft.com/office/drawing/2014/main" id="{45193A32-0326-4AB2-7F8E-C687A49F1072}"/>
                  </a:ext>
                </a:extLst>
              </p:cNvPr>
              <p:cNvSpPr/>
              <p:nvPr/>
            </p:nvSpPr>
            <p:spPr>
              <a:xfrm>
                <a:off x="9947609" y="1558580"/>
                <a:ext cx="58352" cy="82243"/>
              </a:xfrm>
              <a:custGeom>
                <a:avLst/>
                <a:gdLst>
                  <a:gd name="connsiteX0" fmla="*/ 58353 w 58352"/>
                  <a:gd name="connsiteY0" fmla="*/ 0 h 82243"/>
                  <a:gd name="connsiteX1" fmla="*/ 19716 w 58352"/>
                  <a:gd name="connsiteY1" fmla="*/ 0 h 82243"/>
                  <a:gd name="connsiteX2" fmla="*/ 0 w 58352"/>
                  <a:gd name="connsiteY2" fmla="*/ 19716 h 82243"/>
                  <a:gd name="connsiteX3" fmla="*/ 0 w 58352"/>
                  <a:gd name="connsiteY3" fmla="*/ 62528 h 82243"/>
                  <a:gd name="connsiteX4" fmla="*/ 19716 w 58352"/>
                  <a:gd name="connsiteY4" fmla="*/ 82244 h 82243"/>
                  <a:gd name="connsiteX5" fmla="*/ 58353 w 58352"/>
                  <a:gd name="connsiteY5" fmla="*/ 82244 h 822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58352" h="82243">
                    <a:moveTo>
                      <a:pt x="58353" y="0"/>
                    </a:moveTo>
                    <a:lnTo>
                      <a:pt x="19716" y="0"/>
                    </a:lnTo>
                    <a:cubicBezTo>
                      <a:pt x="19716" y="10884"/>
                      <a:pt x="10884" y="19716"/>
                      <a:pt x="0" y="19716"/>
                    </a:cubicBezTo>
                    <a:lnTo>
                      <a:pt x="0" y="62528"/>
                    </a:lnTo>
                    <a:cubicBezTo>
                      <a:pt x="10884" y="62528"/>
                      <a:pt x="19716" y="71360"/>
                      <a:pt x="19716" y="82244"/>
                    </a:cubicBezTo>
                    <a:lnTo>
                      <a:pt x="58353" y="82244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008" name="Forma livre: Forma 1007">
              <a:extLst>
                <a:ext uri="{FF2B5EF4-FFF2-40B4-BE49-F238E27FC236}">
                  <a16:creationId xmlns:a16="http://schemas.microsoft.com/office/drawing/2014/main" id="{75DD0E62-0EC6-F90E-0932-BF2EFE5683F9}"/>
                </a:ext>
              </a:extLst>
            </p:cNvPr>
            <p:cNvSpPr/>
            <p:nvPr/>
          </p:nvSpPr>
          <p:spPr>
            <a:xfrm>
              <a:off x="10012742" y="1562707"/>
              <a:ext cx="52983" cy="74002"/>
            </a:xfrm>
            <a:custGeom>
              <a:avLst/>
              <a:gdLst>
                <a:gd name="connsiteX0" fmla="*/ 52983 w 52983"/>
                <a:gd name="connsiteY0" fmla="*/ 36995 h 74002"/>
                <a:gd name="connsiteX1" fmla="*/ 26486 w 52983"/>
                <a:gd name="connsiteY1" fmla="*/ 74003 h 74002"/>
                <a:gd name="connsiteX2" fmla="*/ 0 w 52983"/>
                <a:gd name="connsiteY2" fmla="*/ 36995 h 74002"/>
                <a:gd name="connsiteX3" fmla="*/ 26486 w 52983"/>
                <a:gd name="connsiteY3" fmla="*/ 0 h 74002"/>
                <a:gd name="connsiteX4" fmla="*/ 52983 w 52983"/>
                <a:gd name="connsiteY4" fmla="*/ 36995 h 740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2983" h="74002">
                  <a:moveTo>
                    <a:pt x="52983" y="36995"/>
                  </a:moveTo>
                  <a:cubicBezTo>
                    <a:pt x="52983" y="57436"/>
                    <a:pt x="41110" y="74003"/>
                    <a:pt x="26486" y="74003"/>
                  </a:cubicBezTo>
                  <a:cubicBezTo>
                    <a:pt x="11861" y="74003"/>
                    <a:pt x="0" y="57436"/>
                    <a:pt x="0" y="36995"/>
                  </a:cubicBezTo>
                  <a:cubicBezTo>
                    <a:pt x="0" y="16555"/>
                    <a:pt x="11861" y="0"/>
                    <a:pt x="26486" y="0"/>
                  </a:cubicBezTo>
                  <a:cubicBezTo>
                    <a:pt x="41110" y="0"/>
                    <a:pt x="52983" y="16567"/>
                    <a:pt x="52983" y="36995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009" name="Gráfico 11">
            <a:extLst>
              <a:ext uri="{FF2B5EF4-FFF2-40B4-BE49-F238E27FC236}">
                <a16:creationId xmlns:a16="http://schemas.microsoft.com/office/drawing/2014/main" id="{88015325-3E9D-7677-7801-59E93AA2B49E}"/>
              </a:ext>
            </a:extLst>
          </p:cNvPr>
          <p:cNvGrpSpPr/>
          <p:nvPr/>
        </p:nvGrpSpPr>
        <p:grpSpPr>
          <a:xfrm>
            <a:off x="9889364" y="1010239"/>
            <a:ext cx="299304" cy="272034"/>
            <a:chOff x="9889364" y="1010239"/>
            <a:chExt cx="299304" cy="272034"/>
          </a:xfrm>
        </p:grpSpPr>
        <p:sp>
          <p:nvSpPr>
            <p:cNvPr id="1010" name="Forma livre: Forma 1009">
              <a:extLst>
                <a:ext uri="{FF2B5EF4-FFF2-40B4-BE49-F238E27FC236}">
                  <a16:creationId xmlns:a16="http://schemas.microsoft.com/office/drawing/2014/main" id="{2265E5B9-F3EA-6E5A-C603-33EE609E8840}"/>
                </a:ext>
              </a:extLst>
            </p:cNvPr>
            <p:cNvSpPr/>
            <p:nvPr/>
          </p:nvSpPr>
          <p:spPr>
            <a:xfrm>
              <a:off x="9946450" y="1195601"/>
              <a:ext cx="7517" cy="7529"/>
            </a:xfrm>
            <a:custGeom>
              <a:avLst/>
              <a:gdLst>
                <a:gd name="connsiteX0" fmla="*/ 7517 w 7517"/>
                <a:gd name="connsiteY0" fmla="*/ 3765 h 7529"/>
                <a:gd name="connsiteX1" fmla="*/ 3765 w 7517"/>
                <a:gd name="connsiteY1" fmla="*/ 7529 h 7529"/>
                <a:gd name="connsiteX2" fmla="*/ 0 w 7517"/>
                <a:gd name="connsiteY2" fmla="*/ 3765 h 7529"/>
                <a:gd name="connsiteX3" fmla="*/ 3765 w 7517"/>
                <a:gd name="connsiteY3" fmla="*/ 0 h 7529"/>
                <a:gd name="connsiteX4" fmla="*/ 7517 w 7517"/>
                <a:gd name="connsiteY4" fmla="*/ 3765 h 75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517" h="7529">
                  <a:moveTo>
                    <a:pt x="7517" y="3765"/>
                  </a:moveTo>
                  <a:cubicBezTo>
                    <a:pt x="7517" y="5852"/>
                    <a:pt x="5852" y="7529"/>
                    <a:pt x="3765" y="7529"/>
                  </a:cubicBezTo>
                  <a:cubicBezTo>
                    <a:pt x="1677" y="7529"/>
                    <a:pt x="0" y="5852"/>
                    <a:pt x="0" y="3765"/>
                  </a:cubicBezTo>
                  <a:cubicBezTo>
                    <a:pt x="0" y="1677"/>
                    <a:pt x="1689" y="0"/>
                    <a:pt x="3765" y="0"/>
                  </a:cubicBezTo>
                  <a:cubicBezTo>
                    <a:pt x="5840" y="0"/>
                    <a:pt x="7517" y="1677"/>
                    <a:pt x="7517" y="3765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11" name="Forma livre: Forma 1010">
              <a:extLst>
                <a:ext uri="{FF2B5EF4-FFF2-40B4-BE49-F238E27FC236}">
                  <a16:creationId xmlns:a16="http://schemas.microsoft.com/office/drawing/2014/main" id="{C5067E29-7DF1-BFE3-E629-19B46BBDEBD0}"/>
                </a:ext>
              </a:extLst>
            </p:cNvPr>
            <p:cNvSpPr/>
            <p:nvPr/>
          </p:nvSpPr>
          <p:spPr>
            <a:xfrm>
              <a:off x="10002245" y="1195601"/>
              <a:ext cx="7529" cy="7529"/>
            </a:xfrm>
            <a:custGeom>
              <a:avLst/>
              <a:gdLst>
                <a:gd name="connsiteX0" fmla="*/ 7529 w 7529"/>
                <a:gd name="connsiteY0" fmla="*/ 3765 h 7529"/>
                <a:gd name="connsiteX1" fmla="*/ 3765 w 7529"/>
                <a:gd name="connsiteY1" fmla="*/ 7529 h 7529"/>
                <a:gd name="connsiteX2" fmla="*/ 0 w 7529"/>
                <a:gd name="connsiteY2" fmla="*/ 3765 h 7529"/>
                <a:gd name="connsiteX3" fmla="*/ 3765 w 7529"/>
                <a:gd name="connsiteY3" fmla="*/ 0 h 7529"/>
                <a:gd name="connsiteX4" fmla="*/ 7529 w 7529"/>
                <a:gd name="connsiteY4" fmla="*/ 3765 h 75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529" h="7529">
                  <a:moveTo>
                    <a:pt x="7529" y="3765"/>
                  </a:moveTo>
                  <a:cubicBezTo>
                    <a:pt x="7529" y="5844"/>
                    <a:pt x="5844" y="7529"/>
                    <a:pt x="3765" y="7529"/>
                  </a:cubicBezTo>
                  <a:cubicBezTo>
                    <a:pt x="1686" y="7529"/>
                    <a:pt x="0" y="5844"/>
                    <a:pt x="0" y="3765"/>
                  </a:cubicBezTo>
                  <a:cubicBezTo>
                    <a:pt x="0" y="1686"/>
                    <a:pt x="1686" y="0"/>
                    <a:pt x="3765" y="0"/>
                  </a:cubicBezTo>
                  <a:cubicBezTo>
                    <a:pt x="5844" y="0"/>
                    <a:pt x="7529" y="1686"/>
                    <a:pt x="7529" y="3765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12" name="Forma livre: Forma 1011">
              <a:extLst>
                <a:ext uri="{FF2B5EF4-FFF2-40B4-BE49-F238E27FC236}">
                  <a16:creationId xmlns:a16="http://schemas.microsoft.com/office/drawing/2014/main" id="{BAD03631-DC15-520F-7981-CCE8AE7C84DB}"/>
                </a:ext>
              </a:extLst>
            </p:cNvPr>
            <p:cNvSpPr/>
            <p:nvPr/>
          </p:nvSpPr>
          <p:spPr>
            <a:xfrm>
              <a:off x="10058039" y="1195601"/>
              <a:ext cx="7529" cy="7529"/>
            </a:xfrm>
            <a:custGeom>
              <a:avLst/>
              <a:gdLst>
                <a:gd name="connsiteX0" fmla="*/ 7529 w 7529"/>
                <a:gd name="connsiteY0" fmla="*/ 3765 h 7529"/>
                <a:gd name="connsiteX1" fmla="*/ 3765 w 7529"/>
                <a:gd name="connsiteY1" fmla="*/ 7529 h 7529"/>
                <a:gd name="connsiteX2" fmla="*/ 0 w 7529"/>
                <a:gd name="connsiteY2" fmla="*/ 3765 h 7529"/>
                <a:gd name="connsiteX3" fmla="*/ 3765 w 7529"/>
                <a:gd name="connsiteY3" fmla="*/ 0 h 7529"/>
                <a:gd name="connsiteX4" fmla="*/ 7529 w 7529"/>
                <a:gd name="connsiteY4" fmla="*/ 3765 h 75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529" h="7529">
                  <a:moveTo>
                    <a:pt x="7529" y="3765"/>
                  </a:moveTo>
                  <a:cubicBezTo>
                    <a:pt x="7529" y="5852"/>
                    <a:pt x="5852" y="7529"/>
                    <a:pt x="3765" y="7529"/>
                  </a:cubicBezTo>
                  <a:cubicBezTo>
                    <a:pt x="1677" y="7529"/>
                    <a:pt x="0" y="5852"/>
                    <a:pt x="0" y="3765"/>
                  </a:cubicBezTo>
                  <a:cubicBezTo>
                    <a:pt x="0" y="1677"/>
                    <a:pt x="1689" y="0"/>
                    <a:pt x="3765" y="0"/>
                  </a:cubicBezTo>
                  <a:cubicBezTo>
                    <a:pt x="5840" y="0"/>
                    <a:pt x="7529" y="1677"/>
                    <a:pt x="7529" y="3765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13" name="Forma livre: Forma 1012">
              <a:extLst>
                <a:ext uri="{FF2B5EF4-FFF2-40B4-BE49-F238E27FC236}">
                  <a16:creationId xmlns:a16="http://schemas.microsoft.com/office/drawing/2014/main" id="{D28F0B5E-7160-A0B0-4C2F-3BA16B161849}"/>
                </a:ext>
              </a:extLst>
            </p:cNvPr>
            <p:cNvSpPr/>
            <p:nvPr/>
          </p:nvSpPr>
          <p:spPr>
            <a:xfrm>
              <a:off x="9889364" y="1010239"/>
              <a:ext cx="231117" cy="272034"/>
            </a:xfrm>
            <a:custGeom>
              <a:avLst/>
              <a:gdLst>
                <a:gd name="connsiteX0" fmla="*/ 231118 w 231117"/>
                <a:gd name="connsiteY0" fmla="*/ 272035 h 272034"/>
                <a:gd name="connsiteX1" fmla="*/ 231118 w 231117"/>
                <a:gd name="connsiteY1" fmla="*/ 49484 h 272034"/>
                <a:gd name="connsiteX2" fmla="*/ 181634 w 231117"/>
                <a:gd name="connsiteY2" fmla="*/ 0 h 272034"/>
                <a:gd name="connsiteX3" fmla="*/ 49484 w 231117"/>
                <a:gd name="connsiteY3" fmla="*/ 0 h 272034"/>
                <a:gd name="connsiteX4" fmla="*/ 0 w 231117"/>
                <a:gd name="connsiteY4" fmla="*/ 49484 h 272034"/>
                <a:gd name="connsiteX5" fmla="*/ 0 w 231117"/>
                <a:gd name="connsiteY5" fmla="*/ 272023 h 2720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31117" h="272034">
                  <a:moveTo>
                    <a:pt x="231118" y="272035"/>
                  </a:moveTo>
                  <a:lnTo>
                    <a:pt x="231118" y="49484"/>
                  </a:lnTo>
                  <a:cubicBezTo>
                    <a:pt x="231118" y="22262"/>
                    <a:pt x="208844" y="0"/>
                    <a:pt x="181634" y="0"/>
                  </a:cubicBezTo>
                  <a:lnTo>
                    <a:pt x="49484" y="0"/>
                  </a:lnTo>
                  <a:cubicBezTo>
                    <a:pt x="22274" y="0"/>
                    <a:pt x="0" y="22274"/>
                    <a:pt x="0" y="49484"/>
                  </a:cubicBezTo>
                  <a:lnTo>
                    <a:pt x="0" y="272023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14" name="Forma livre: Forma 1013">
              <a:extLst>
                <a:ext uri="{FF2B5EF4-FFF2-40B4-BE49-F238E27FC236}">
                  <a16:creationId xmlns:a16="http://schemas.microsoft.com/office/drawing/2014/main" id="{5005C0DC-FA0A-4C3E-E796-3E828A58B8C5}"/>
                </a:ext>
              </a:extLst>
            </p:cNvPr>
            <p:cNvSpPr/>
            <p:nvPr/>
          </p:nvSpPr>
          <p:spPr>
            <a:xfrm>
              <a:off x="9917636" y="1038510"/>
              <a:ext cx="174563" cy="21212"/>
            </a:xfrm>
            <a:custGeom>
              <a:avLst/>
              <a:gdLst>
                <a:gd name="connsiteX0" fmla="*/ 174563 w 174563"/>
                <a:gd name="connsiteY0" fmla="*/ 21213 h 21212"/>
                <a:gd name="connsiteX1" fmla="*/ 153363 w 174563"/>
                <a:gd name="connsiteY1" fmla="*/ 0 h 21212"/>
                <a:gd name="connsiteX2" fmla="*/ 21213 w 174563"/>
                <a:gd name="connsiteY2" fmla="*/ 0 h 21212"/>
                <a:gd name="connsiteX3" fmla="*/ 0 w 174563"/>
                <a:gd name="connsiteY3" fmla="*/ 21213 h 212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4563" h="21212">
                  <a:moveTo>
                    <a:pt x="174563" y="21213"/>
                  </a:moveTo>
                  <a:cubicBezTo>
                    <a:pt x="174563" y="9520"/>
                    <a:pt x="165043" y="0"/>
                    <a:pt x="153363" y="0"/>
                  </a:cubicBezTo>
                  <a:lnTo>
                    <a:pt x="21213" y="0"/>
                  </a:lnTo>
                  <a:cubicBezTo>
                    <a:pt x="9520" y="0"/>
                    <a:pt x="0" y="9508"/>
                    <a:pt x="0" y="21213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15" name="Forma livre: Forma 1014">
              <a:extLst>
                <a:ext uri="{FF2B5EF4-FFF2-40B4-BE49-F238E27FC236}">
                  <a16:creationId xmlns:a16="http://schemas.microsoft.com/office/drawing/2014/main" id="{889B0FEF-E1EB-7A38-8E21-A33A13CEB16F}"/>
                </a:ext>
              </a:extLst>
            </p:cNvPr>
            <p:cNvSpPr/>
            <p:nvPr/>
          </p:nvSpPr>
          <p:spPr>
            <a:xfrm>
              <a:off x="10151348" y="1071801"/>
              <a:ext cx="37321" cy="37333"/>
            </a:xfrm>
            <a:custGeom>
              <a:avLst/>
              <a:gdLst>
                <a:gd name="connsiteX0" fmla="*/ 37321 w 37321"/>
                <a:gd name="connsiteY0" fmla="*/ 18667 h 37333"/>
                <a:gd name="connsiteX1" fmla="*/ 18667 w 37321"/>
                <a:gd name="connsiteY1" fmla="*/ 37333 h 37333"/>
                <a:gd name="connsiteX2" fmla="*/ 0 w 37321"/>
                <a:gd name="connsiteY2" fmla="*/ 18667 h 37333"/>
                <a:gd name="connsiteX3" fmla="*/ 18667 w 37321"/>
                <a:gd name="connsiteY3" fmla="*/ 0 h 37333"/>
                <a:gd name="connsiteX4" fmla="*/ 37321 w 37321"/>
                <a:gd name="connsiteY4" fmla="*/ 18667 h 373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7321" h="37333">
                  <a:moveTo>
                    <a:pt x="37321" y="18667"/>
                  </a:moveTo>
                  <a:cubicBezTo>
                    <a:pt x="37321" y="28971"/>
                    <a:pt x="28983" y="37333"/>
                    <a:pt x="18667" y="37333"/>
                  </a:cubicBezTo>
                  <a:cubicBezTo>
                    <a:pt x="8350" y="37333"/>
                    <a:pt x="0" y="28983"/>
                    <a:pt x="0" y="18667"/>
                  </a:cubicBezTo>
                  <a:cubicBezTo>
                    <a:pt x="0" y="8350"/>
                    <a:pt x="8362" y="0"/>
                    <a:pt x="18667" y="0"/>
                  </a:cubicBezTo>
                  <a:cubicBezTo>
                    <a:pt x="28971" y="0"/>
                    <a:pt x="37321" y="8362"/>
                    <a:pt x="37321" y="18667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16" name="Forma livre: Forma 1015">
              <a:extLst>
                <a:ext uri="{FF2B5EF4-FFF2-40B4-BE49-F238E27FC236}">
                  <a16:creationId xmlns:a16="http://schemas.microsoft.com/office/drawing/2014/main" id="{14259808-EE5F-C494-3085-E97E276E1173}"/>
                </a:ext>
              </a:extLst>
            </p:cNvPr>
            <p:cNvSpPr/>
            <p:nvPr/>
          </p:nvSpPr>
          <p:spPr>
            <a:xfrm>
              <a:off x="10147185" y="1109122"/>
              <a:ext cx="22793" cy="99752"/>
            </a:xfrm>
            <a:custGeom>
              <a:avLst/>
              <a:gdLst>
                <a:gd name="connsiteX0" fmla="*/ 0 w 22793"/>
                <a:gd name="connsiteY0" fmla="*/ 99752 h 99752"/>
                <a:gd name="connsiteX1" fmla="*/ 22793 w 22793"/>
                <a:gd name="connsiteY1" fmla="*/ 99752 h 99752"/>
                <a:gd name="connsiteX2" fmla="*/ 22793 w 22793"/>
                <a:gd name="connsiteY2" fmla="*/ 0 h 997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2793" h="99752">
                  <a:moveTo>
                    <a:pt x="0" y="99752"/>
                  </a:moveTo>
                  <a:lnTo>
                    <a:pt x="22793" y="99752"/>
                  </a:lnTo>
                  <a:lnTo>
                    <a:pt x="22793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17" name="Forma livre: Forma 1016">
              <a:extLst>
                <a:ext uri="{FF2B5EF4-FFF2-40B4-BE49-F238E27FC236}">
                  <a16:creationId xmlns:a16="http://schemas.microsoft.com/office/drawing/2014/main" id="{A7E0E425-DE21-2499-AE59-774EEE2E3DA4}"/>
                </a:ext>
              </a:extLst>
            </p:cNvPr>
            <p:cNvSpPr/>
            <p:nvPr/>
          </p:nvSpPr>
          <p:spPr>
            <a:xfrm>
              <a:off x="10120917" y="1188144"/>
              <a:ext cx="24687" cy="41158"/>
            </a:xfrm>
            <a:custGeom>
              <a:avLst/>
              <a:gdLst>
                <a:gd name="connsiteX0" fmla="*/ 0 w 24687"/>
                <a:gd name="connsiteY0" fmla="*/ 0 h 41158"/>
                <a:gd name="connsiteX1" fmla="*/ 24688 w 24687"/>
                <a:gd name="connsiteY1" fmla="*/ 0 h 41158"/>
                <a:gd name="connsiteX2" fmla="*/ 24688 w 24687"/>
                <a:gd name="connsiteY2" fmla="*/ 41158 h 41158"/>
                <a:gd name="connsiteX3" fmla="*/ 0 w 24687"/>
                <a:gd name="connsiteY3" fmla="*/ 41158 h 411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687" h="41158">
                  <a:moveTo>
                    <a:pt x="0" y="0"/>
                  </a:moveTo>
                  <a:lnTo>
                    <a:pt x="24688" y="0"/>
                  </a:lnTo>
                  <a:lnTo>
                    <a:pt x="24688" y="41158"/>
                  </a:lnTo>
                  <a:lnTo>
                    <a:pt x="0" y="41158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18" name="Forma livre: Forma 1017">
              <a:extLst>
                <a:ext uri="{FF2B5EF4-FFF2-40B4-BE49-F238E27FC236}">
                  <a16:creationId xmlns:a16="http://schemas.microsoft.com/office/drawing/2014/main" id="{65BC88AC-95A7-B564-E5AE-CB190E486FDF}"/>
                </a:ext>
              </a:extLst>
            </p:cNvPr>
            <p:cNvSpPr/>
            <p:nvPr/>
          </p:nvSpPr>
          <p:spPr>
            <a:xfrm>
              <a:off x="9939416" y="1108627"/>
              <a:ext cx="22443" cy="37417"/>
            </a:xfrm>
            <a:custGeom>
              <a:avLst/>
              <a:gdLst>
                <a:gd name="connsiteX0" fmla="*/ 0 w 22443"/>
                <a:gd name="connsiteY0" fmla="*/ 0 h 37417"/>
                <a:gd name="connsiteX1" fmla="*/ 22443 w 22443"/>
                <a:gd name="connsiteY1" fmla="*/ 0 h 37417"/>
                <a:gd name="connsiteX2" fmla="*/ 6636 w 22443"/>
                <a:gd name="connsiteY2" fmla="*/ 37418 h 374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2443" h="37417">
                  <a:moveTo>
                    <a:pt x="0" y="0"/>
                  </a:moveTo>
                  <a:lnTo>
                    <a:pt x="22443" y="0"/>
                  </a:lnTo>
                  <a:lnTo>
                    <a:pt x="6636" y="37418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19" name="Forma livre: Forma 1018">
              <a:extLst>
                <a:ext uri="{FF2B5EF4-FFF2-40B4-BE49-F238E27FC236}">
                  <a16:creationId xmlns:a16="http://schemas.microsoft.com/office/drawing/2014/main" id="{9E62FEAD-D6B7-8E6D-926E-E1A3EF67DB85}"/>
                </a:ext>
              </a:extLst>
            </p:cNvPr>
            <p:cNvSpPr/>
            <p:nvPr/>
          </p:nvSpPr>
          <p:spPr>
            <a:xfrm>
              <a:off x="9993702" y="1108627"/>
              <a:ext cx="22455" cy="37417"/>
            </a:xfrm>
            <a:custGeom>
              <a:avLst/>
              <a:gdLst>
                <a:gd name="connsiteX0" fmla="*/ 0 w 22455"/>
                <a:gd name="connsiteY0" fmla="*/ 0 h 37417"/>
                <a:gd name="connsiteX1" fmla="*/ 22455 w 22455"/>
                <a:gd name="connsiteY1" fmla="*/ 0 h 37417"/>
                <a:gd name="connsiteX2" fmla="*/ 6649 w 22455"/>
                <a:gd name="connsiteY2" fmla="*/ 37418 h 374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2455" h="37417">
                  <a:moveTo>
                    <a:pt x="0" y="0"/>
                  </a:moveTo>
                  <a:lnTo>
                    <a:pt x="22455" y="0"/>
                  </a:lnTo>
                  <a:lnTo>
                    <a:pt x="6649" y="37418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20" name="Forma livre: Forma 1019">
              <a:extLst>
                <a:ext uri="{FF2B5EF4-FFF2-40B4-BE49-F238E27FC236}">
                  <a16:creationId xmlns:a16="http://schemas.microsoft.com/office/drawing/2014/main" id="{07E9260D-1E88-69C7-A3AE-3277B09391A8}"/>
                </a:ext>
              </a:extLst>
            </p:cNvPr>
            <p:cNvSpPr/>
            <p:nvPr/>
          </p:nvSpPr>
          <p:spPr>
            <a:xfrm>
              <a:off x="10048000" y="1108627"/>
              <a:ext cx="22443" cy="37417"/>
            </a:xfrm>
            <a:custGeom>
              <a:avLst/>
              <a:gdLst>
                <a:gd name="connsiteX0" fmla="*/ 0 w 22443"/>
                <a:gd name="connsiteY0" fmla="*/ 0 h 37417"/>
                <a:gd name="connsiteX1" fmla="*/ 22443 w 22443"/>
                <a:gd name="connsiteY1" fmla="*/ 0 h 37417"/>
                <a:gd name="connsiteX2" fmla="*/ 6649 w 22443"/>
                <a:gd name="connsiteY2" fmla="*/ 37418 h 374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2443" h="37417">
                  <a:moveTo>
                    <a:pt x="0" y="0"/>
                  </a:moveTo>
                  <a:lnTo>
                    <a:pt x="22443" y="0"/>
                  </a:lnTo>
                  <a:lnTo>
                    <a:pt x="6649" y="37418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021" name="Gráfico 11">
              <a:extLst>
                <a:ext uri="{FF2B5EF4-FFF2-40B4-BE49-F238E27FC236}">
                  <a16:creationId xmlns:a16="http://schemas.microsoft.com/office/drawing/2014/main" id="{C15F4C0C-44AD-2BFE-CE53-F5253366F951}"/>
                </a:ext>
              </a:extLst>
            </p:cNvPr>
            <p:cNvGrpSpPr/>
            <p:nvPr/>
          </p:nvGrpSpPr>
          <p:grpSpPr>
            <a:xfrm>
              <a:off x="9917636" y="1085352"/>
              <a:ext cx="174575" cy="83136"/>
              <a:chOff x="9917636" y="1085352"/>
              <a:chExt cx="174575" cy="83136"/>
            </a:xfrm>
            <a:noFill/>
          </p:grpSpPr>
          <p:sp>
            <p:nvSpPr>
              <p:cNvPr id="1022" name="Forma livre: Forma 1021">
                <a:extLst>
                  <a:ext uri="{FF2B5EF4-FFF2-40B4-BE49-F238E27FC236}">
                    <a16:creationId xmlns:a16="http://schemas.microsoft.com/office/drawing/2014/main" id="{5C2F948C-CA4A-3646-6476-FB6048748B83}"/>
                  </a:ext>
                </a:extLst>
              </p:cNvPr>
              <p:cNvSpPr/>
              <p:nvPr/>
            </p:nvSpPr>
            <p:spPr>
              <a:xfrm>
                <a:off x="9917636" y="1085352"/>
                <a:ext cx="174575" cy="83136"/>
              </a:xfrm>
              <a:custGeom>
                <a:avLst/>
                <a:gdLst>
                  <a:gd name="connsiteX0" fmla="*/ 0 w 174575"/>
                  <a:gd name="connsiteY0" fmla="*/ 0 h 83136"/>
                  <a:gd name="connsiteX1" fmla="*/ 174575 w 174575"/>
                  <a:gd name="connsiteY1" fmla="*/ 0 h 83136"/>
                  <a:gd name="connsiteX2" fmla="*/ 174575 w 174575"/>
                  <a:gd name="connsiteY2" fmla="*/ 83137 h 83136"/>
                  <a:gd name="connsiteX3" fmla="*/ 0 w 174575"/>
                  <a:gd name="connsiteY3" fmla="*/ 83137 h 831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74575" h="83136">
                    <a:moveTo>
                      <a:pt x="0" y="0"/>
                    </a:moveTo>
                    <a:lnTo>
                      <a:pt x="174575" y="0"/>
                    </a:lnTo>
                    <a:lnTo>
                      <a:pt x="174575" y="83137"/>
                    </a:lnTo>
                    <a:lnTo>
                      <a:pt x="0" y="83137"/>
                    </a:ln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023" name="Forma livre: Forma 1022">
                <a:extLst>
                  <a:ext uri="{FF2B5EF4-FFF2-40B4-BE49-F238E27FC236}">
                    <a16:creationId xmlns:a16="http://schemas.microsoft.com/office/drawing/2014/main" id="{DF1C2BC9-CD5D-D7ED-04F2-1BE249907E83}"/>
                  </a:ext>
                </a:extLst>
              </p:cNvPr>
              <p:cNvSpPr/>
              <p:nvPr/>
            </p:nvSpPr>
            <p:spPr>
              <a:xfrm>
                <a:off x="9975916" y="1136899"/>
                <a:ext cx="1206" cy="30757"/>
              </a:xfrm>
              <a:custGeom>
                <a:avLst/>
                <a:gdLst>
                  <a:gd name="connsiteX0" fmla="*/ 0 w 1206"/>
                  <a:gd name="connsiteY0" fmla="*/ 0 h 30757"/>
                  <a:gd name="connsiteX1" fmla="*/ 0 w 1206"/>
                  <a:gd name="connsiteY1" fmla="*/ 30757 h 307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06" h="30757">
                    <a:moveTo>
                      <a:pt x="0" y="0"/>
                    </a:moveTo>
                    <a:lnTo>
                      <a:pt x="0" y="30757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024" name="Forma livre: Forma 1023">
                <a:extLst>
                  <a:ext uri="{FF2B5EF4-FFF2-40B4-BE49-F238E27FC236}">
                    <a16:creationId xmlns:a16="http://schemas.microsoft.com/office/drawing/2014/main" id="{F34121FE-1A7C-9D2B-E89B-2D537BA391CE}"/>
                  </a:ext>
                </a:extLst>
              </p:cNvPr>
              <p:cNvSpPr/>
              <p:nvPr/>
            </p:nvSpPr>
            <p:spPr>
              <a:xfrm>
                <a:off x="10034064" y="1136899"/>
                <a:ext cx="1206" cy="30757"/>
              </a:xfrm>
              <a:custGeom>
                <a:avLst/>
                <a:gdLst>
                  <a:gd name="connsiteX0" fmla="*/ 0 w 1206"/>
                  <a:gd name="connsiteY0" fmla="*/ 0 h 30757"/>
                  <a:gd name="connsiteX1" fmla="*/ 0 w 1206"/>
                  <a:gd name="connsiteY1" fmla="*/ 30757 h 307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06" h="30757">
                    <a:moveTo>
                      <a:pt x="0" y="0"/>
                    </a:moveTo>
                    <a:lnTo>
                      <a:pt x="0" y="30757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025" name="Forma livre: Forma 1024">
              <a:extLst>
                <a:ext uri="{FF2B5EF4-FFF2-40B4-BE49-F238E27FC236}">
                  <a16:creationId xmlns:a16="http://schemas.microsoft.com/office/drawing/2014/main" id="{EA2DCBF5-E3C5-5D32-64A0-0C359ABA5313}"/>
                </a:ext>
              </a:extLst>
            </p:cNvPr>
            <p:cNvSpPr/>
            <p:nvPr/>
          </p:nvSpPr>
          <p:spPr>
            <a:xfrm>
              <a:off x="9917817" y="1229049"/>
              <a:ext cx="174213" cy="33665"/>
            </a:xfrm>
            <a:custGeom>
              <a:avLst/>
              <a:gdLst>
                <a:gd name="connsiteX0" fmla="*/ 57991 w 174213"/>
                <a:gd name="connsiteY0" fmla="*/ 0 h 33665"/>
                <a:gd name="connsiteX1" fmla="*/ 174213 w 174213"/>
                <a:gd name="connsiteY1" fmla="*/ 0 h 33665"/>
                <a:gd name="connsiteX2" fmla="*/ 174213 w 174213"/>
                <a:gd name="connsiteY2" fmla="*/ 33665 h 33665"/>
                <a:gd name="connsiteX3" fmla="*/ 0 w 174213"/>
                <a:gd name="connsiteY3" fmla="*/ 33665 h 33665"/>
                <a:gd name="connsiteX4" fmla="*/ 0 w 174213"/>
                <a:gd name="connsiteY4" fmla="*/ 0 h 33665"/>
                <a:gd name="connsiteX5" fmla="*/ 33858 w 174213"/>
                <a:gd name="connsiteY5" fmla="*/ 0 h 336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74213" h="33665">
                  <a:moveTo>
                    <a:pt x="57991" y="0"/>
                  </a:moveTo>
                  <a:lnTo>
                    <a:pt x="174213" y="0"/>
                  </a:lnTo>
                  <a:lnTo>
                    <a:pt x="174213" y="33665"/>
                  </a:lnTo>
                  <a:lnTo>
                    <a:pt x="0" y="33665"/>
                  </a:lnTo>
                  <a:lnTo>
                    <a:pt x="0" y="0"/>
                  </a:lnTo>
                  <a:lnTo>
                    <a:pt x="33858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026" name="Gráfico 11">
            <a:extLst>
              <a:ext uri="{FF2B5EF4-FFF2-40B4-BE49-F238E27FC236}">
                <a16:creationId xmlns:a16="http://schemas.microsoft.com/office/drawing/2014/main" id="{82D5E01E-4A70-D8F0-4B34-D7E1A094124C}"/>
              </a:ext>
            </a:extLst>
          </p:cNvPr>
          <p:cNvGrpSpPr/>
          <p:nvPr/>
        </p:nvGrpSpPr>
        <p:grpSpPr>
          <a:xfrm>
            <a:off x="10536933" y="2599419"/>
            <a:ext cx="259604" cy="302586"/>
            <a:chOff x="10536933" y="2599419"/>
            <a:chExt cx="259604" cy="302586"/>
          </a:xfrm>
        </p:grpSpPr>
        <p:grpSp>
          <p:nvGrpSpPr>
            <p:cNvPr id="1027" name="Gráfico 11">
              <a:extLst>
                <a:ext uri="{FF2B5EF4-FFF2-40B4-BE49-F238E27FC236}">
                  <a16:creationId xmlns:a16="http://schemas.microsoft.com/office/drawing/2014/main" id="{5FC1A40C-9480-12D6-659E-544415E40323}"/>
                </a:ext>
              </a:extLst>
            </p:cNvPr>
            <p:cNvGrpSpPr/>
            <p:nvPr/>
          </p:nvGrpSpPr>
          <p:grpSpPr>
            <a:xfrm>
              <a:off x="10563340" y="2630538"/>
              <a:ext cx="206804" cy="204680"/>
              <a:chOff x="10563340" y="2630538"/>
              <a:chExt cx="206804" cy="204680"/>
            </a:xfrm>
            <a:solidFill>
              <a:srgbClr val="394553"/>
            </a:solidFill>
          </p:grpSpPr>
          <p:grpSp>
            <p:nvGrpSpPr>
              <p:cNvPr id="1028" name="Gráfico 11">
                <a:extLst>
                  <a:ext uri="{FF2B5EF4-FFF2-40B4-BE49-F238E27FC236}">
                    <a16:creationId xmlns:a16="http://schemas.microsoft.com/office/drawing/2014/main" id="{BD69AF21-5E86-D023-2DB0-E1BE615C2CCC}"/>
                  </a:ext>
                </a:extLst>
              </p:cNvPr>
              <p:cNvGrpSpPr/>
              <p:nvPr/>
            </p:nvGrpSpPr>
            <p:grpSpPr>
              <a:xfrm>
                <a:off x="10563340" y="2650436"/>
                <a:ext cx="43981" cy="184783"/>
                <a:chOff x="10563340" y="2650436"/>
                <a:chExt cx="43981" cy="184783"/>
              </a:xfrm>
              <a:solidFill>
                <a:srgbClr val="394553"/>
              </a:solidFill>
            </p:grpSpPr>
            <p:sp>
              <p:nvSpPr>
                <p:cNvPr id="1029" name="Forma livre: Forma 1028">
                  <a:extLst>
                    <a:ext uri="{FF2B5EF4-FFF2-40B4-BE49-F238E27FC236}">
                      <a16:creationId xmlns:a16="http://schemas.microsoft.com/office/drawing/2014/main" id="{C8D82160-7378-2195-6640-C25BA808FF4A}"/>
                    </a:ext>
                  </a:extLst>
                </p:cNvPr>
                <p:cNvSpPr/>
                <p:nvPr/>
              </p:nvSpPr>
              <p:spPr>
                <a:xfrm>
                  <a:off x="10569723" y="2768299"/>
                  <a:ext cx="7119" cy="7131"/>
                </a:xfrm>
                <a:custGeom>
                  <a:avLst/>
                  <a:gdLst>
                    <a:gd name="connsiteX0" fmla="*/ 7119 w 7119"/>
                    <a:gd name="connsiteY0" fmla="*/ 3572 h 7131"/>
                    <a:gd name="connsiteX1" fmla="*/ 3560 w 7119"/>
                    <a:gd name="connsiteY1" fmla="*/ 7131 h 7131"/>
                    <a:gd name="connsiteX2" fmla="*/ 0 w 7119"/>
                    <a:gd name="connsiteY2" fmla="*/ 3572 h 7131"/>
                    <a:gd name="connsiteX3" fmla="*/ 3560 w 7119"/>
                    <a:gd name="connsiteY3" fmla="*/ 0 h 7131"/>
                    <a:gd name="connsiteX4" fmla="*/ 7119 w 7119"/>
                    <a:gd name="connsiteY4" fmla="*/ 3572 h 713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7119" h="7131">
                      <a:moveTo>
                        <a:pt x="7119" y="3572"/>
                      </a:moveTo>
                      <a:cubicBezTo>
                        <a:pt x="7119" y="5538"/>
                        <a:pt x="5538" y="7131"/>
                        <a:pt x="3560" y="7131"/>
                      </a:cubicBezTo>
                      <a:cubicBezTo>
                        <a:pt x="1581" y="7131"/>
                        <a:pt x="0" y="5550"/>
                        <a:pt x="0" y="3572"/>
                      </a:cubicBezTo>
                      <a:cubicBezTo>
                        <a:pt x="0" y="1593"/>
                        <a:pt x="1605" y="0"/>
                        <a:pt x="3560" y="0"/>
                      </a:cubicBezTo>
                      <a:cubicBezTo>
                        <a:pt x="5514" y="0"/>
                        <a:pt x="7119" y="1593"/>
                        <a:pt x="7119" y="3572"/>
                      </a:cubicBezTo>
                      <a:close/>
                    </a:path>
                  </a:pathLst>
                </a:custGeom>
                <a:solidFill>
                  <a:srgbClr val="394553"/>
                </a:solidFill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030" name="Forma livre: Forma 1029">
                  <a:extLst>
                    <a:ext uri="{FF2B5EF4-FFF2-40B4-BE49-F238E27FC236}">
                      <a16:creationId xmlns:a16="http://schemas.microsoft.com/office/drawing/2014/main" id="{3B14B92B-5A68-76E0-3A62-CB730563FF1D}"/>
                    </a:ext>
                  </a:extLst>
                </p:cNvPr>
                <p:cNvSpPr/>
                <p:nvPr/>
              </p:nvSpPr>
              <p:spPr>
                <a:xfrm>
                  <a:off x="10563340" y="2700607"/>
                  <a:ext cx="7119" cy="7131"/>
                </a:xfrm>
                <a:custGeom>
                  <a:avLst/>
                  <a:gdLst>
                    <a:gd name="connsiteX0" fmla="*/ 7119 w 7119"/>
                    <a:gd name="connsiteY0" fmla="*/ 3572 h 7131"/>
                    <a:gd name="connsiteX1" fmla="*/ 3560 w 7119"/>
                    <a:gd name="connsiteY1" fmla="*/ 7131 h 7131"/>
                    <a:gd name="connsiteX2" fmla="*/ 0 w 7119"/>
                    <a:gd name="connsiteY2" fmla="*/ 3572 h 7131"/>
                    <a:gd name="connsiteX3" fmla="*/ 3560 w 7119"/>
                    <a:gd name="connsiteY3" fmla="*/ 0 h 7131"/>
                    <a:gd name="connsiteX4" fmla="*/ 7119 w 7119"/>
                    <a:gd name="connsiteY4" fmla="*/ 3572 h 713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7119" h="7131">
                      <a:moveTo>
                        <a:pt x="7119" y="3572"/>
                      </a:moveTo>
                      <a:cubicBezTo>
                        <a:pt x="7119" y="5539"/>
                        <a:pt x="5538" y="7131"/>
                        <a:pt x="3560" y="7131"/>
                      </a:cubicBezTo>
                      <a:cubicBezTo>
                        <a:pt x="1581" y="7131"/>
                        <a:pt x="0" y="5539"/>
                        <a:pt x="0" y="3572"/>
                      </a:cubicBezTo>
                      <a:cubicBezTo>
                        <a:pt x="0" y="1605"/>
                        <a:pt x="1605" y="0"/>
                        <a:pt x="3560" y="0"/>
                      </a:cubicBezTo>
                      <a:cubicBezTo>
                        <a:pt x="5514" y="0"/>
                        <a:pt x="7119" y="1593"/>
                        <a:pt x="7119" y="3572"/>
                      </a:cubicBezTo>
                      <a:close/>
                    </a:path>
                  </a:pathLst>
                </a:custGeom>
                <a:solidFill>
                  <a:srgbClr val="394553"/>
                </a:solidFill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031" name="Forma livre: Forma 1030">
                  <a:extLst>
                    <a:ext uri="{FF2B5EF4-FFF2-40B4-BE49-F238E27FC236}">
                      <a16:creationId xmlns:a16="http://schemas.microsoft.com/office/drawing/2014/main" id="{E2969CA2-320E-EF1C-A5FE-38E8C0E62B7A}"/>
                    </a:ext>
                  </a:extLst>
                </p:cNvPr>
                <p:cNvSpPr/>
                <p:nvPr/>
              </p:nvSpPr>
              <p:spPr>
                <a:xfrm>
                  <a:off x="10600202" y="2650436"/>
                  <a:ext cx="7119" cy="7131"/>
                </a:xfrm>
                <a:custGeom>
                  <a:avLst/>
                  <a:gdLst>
                    <a:gd name="connsiteX0" fmla="*/ 7119 w 7119"/>
                    <a:gd name="connsiteY0" fmla="*/ 3572 h 7131"/>
                    <a:gd name="connsiteX1" fmla="*/ 3560 w 7119"/>
                    <a:gd name="connsiteY1" fmla="*/ 7131 h 7131"/>
                    <a:gd name="connsiteX2" fmla="*/ 0 w 7119"/>
                    <a:gd name="connsiteY2" fmla="*/ 3572 h 7131"/>
                    <a:gd name="connsiteX3" fmla="*/ 3560 w 7119"/>
                    <a:gd name="connsiteY3" fmla="*/ 0 h 7131"/>
                    <a:gd name="connsiteX4" fmla="*/ 7119 w 7119"/>
                    <a:gd name="connsiteY4" fmla="*/ 3572 h 713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7119" h="7131">
                      <a:moveTo>
                        <a:pt x="7119" y="3572"/>
                      </a:moveTo>
                      <a:cubicBezTo>
                        <a:pt x="7119" y="5538"/>
                        <a:pt x="5538" y="7131"/>
                        <a:pt x="3560" y="7131"/>
                      </a:cubicBezTo>
                      <a:cubicBezTo>
                        <a:pt x="1581" y="7131"/>
                        <a:pt x="0" y="5550"/>
                        <a:pt x="0" y="3572"/>
                      </a:cubicBezTo>
                      <a:cubicBezTo>
                        <a:pt x="0" y="1593"/>
                        <a:pt x="1593" y="0"/>
                        <a:pt x="3560" y="0"/>
                      </a:cubicBezTo>
                      <a:cubicBezTo>
                        <a:pt x="5526" y="0"/>
                        <a:pt x="7119" y="1593"/>
                        <a:pt x="7119" y="3572"/>
                      </a:cubicBezTo>
                      <a:close/>
                    </a:path>
                  </a:pathLst>
                </a:custGeom>
                <a:solidFill>
                  <a:srgbClr val="394553"/>
                </a:solidFill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032" name="Forma livre: Forma 1031">
                  <a:extLst>
                    <a:ext uri="{FF2B5EF4-FFF2-40B4-BE49-F238E27FC236}">
                      <a16:creationId xmlns:a16="http://schemas.microsoft.com/office/drawing/2014/main" id="{390B9DD0-DA65-6D27-B8F7-83D257F459A6}"/>
                    </a:ext>
                  </a:extLst>
                </p:cNvPr>
                <p:cNvSpPr/>
                <p:nvPr/>
              </p:nvSpPr>
              <p:spPr>
                <a:xfrm>
                  <a:off x="10589246" y="2828088"/>
                  <a:ext cx="7119" cy="7131"/>
                </a:xfrm>
                <a:custGeom>
                  <a:avLst/>
                  <a:gdLst>
                    <a:gd name="connsiteX0" fmla="*/ 7119 w 7119"/>
                    <a:gd name="connsiteY0" fmla="*/ 3572 h 7131"/>
                    <a:gd name="connsiteX1" fmla="*/ 3560 w 7119"/>
                    <a:gd name="connsiteY1" fmla="*/ 7131 h 7131"/>
                    <a:gd name="connsiteX2" fmla="*/ 0 w 7119"/>
                    <a:gd name="connsiteY2" fmla="*/ 3572 h 7131"/>
                    <a:gd name="connsiteX3" fmla="*/ 3560 w 7119"/>
                    <a:gd name="connsiteY3" fmla="*/ 0 h 7131"/>
                    <a:gd name="connsiteX4" fmla="*/ 7119 w 7119"/>
                    <a:gd name="connsiteY4" fmla="*/ 3572 h 713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7119" h="7131">
                      <a:moveTo>
                        <a:pt x="7119" y="3572"/>
                      </a:moveTo>
                      <a:cubicBezTo>
                        <a:pt x="7119" y="5539"/>
                        <a:pt x="5538" y="7131"/>
                        <a:pt x="3560" y="7131"/>
                      </a:cubicBezTo>
                      <a:cubicBezTo>
                        <a:pt x="1581" y="7131"/>
                        <a:pt x="0" y="5550"/>
                        <a:pt x="0" y="3572"/>
                      </a:cubicBezTo>
                      <a:cubicBezTo>
                        <a:pt x="0" y="1593"/>
                        <a:pt x="1605" y="0"/>
                        <a:pt x="3560" y="0"/>
                      </a:cubicBezTo>
                      <a:cubicBezTo>
                        <a:pt x="5514" y="0"/>
                        <a:pt x="7119" y="1593"/>
                        <a:pt x="7119" y="3572"/>
                      </a:cubicBezTo>
                      <a:close/>
                    </a:path>
                  </a:pathLst>
                </a:custGeom>
                <a:solidFill>
                  <a:srgbClr val="394553"/>
                </a:solidFill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1033" name="Gráfico 11">
                <a:extLst>
                  <a:ext uri="{FF2B5EF4-FFF2-40B4-BE49-F238E27FC236}">
                    <a16:creationId xmlns:a16="http://schemas.microsoft.com/office/drawing/2014/main" id="{48491644-22B2-0FB6-F779-EF7EB4CB3249}"/>
                  </a:ext>
                </a:extLst>
              </p:cNvPr>
              <p:cNvGrpSpPr/>
              <p:nvPr/>
            </p:nvGrpSpPr>
            <p:grpSpPr>
              <a:xfrm>
                <a:off x="10726175" y="2650436"/>
                <a:ext cx="43969" cy="184783"/>
                <a:chOff x="10726175" y="2650436"/>
                <a:chExt cx="43969" cy="184783"/>
              </a:xfrm>
              <a:solidFill>
                <a:srgbClr val="394553"/>
              </a:solidFill>
            </p:grpSpPr>
            <p:sp>
              <p:nvSpPr>
                <p:cNvPr id="1034" name="Forma livre: Forma 1033">
                  <a:extLst>
                    <a:ext uri="{FF2B5EF4-FFF2-40B4-BE49-F238E27FC236}">
                      <a16:creationId xmlns:a16="http://schemas.microsoft.com/office/drawing/2014/main" id="{EE8D2308-4187-638D-45CB-FF97761AD67F}"/>
                    </a:ext>
                  </a:extLst>
                </p:cNvPr>
                <p:cNvSpPr/>
                <p:nvPr/>
              </p:nvSpPr>
              <p:spPr>
                <a:xfrm>
                  <a:off x="10756642" y="2768299"/>
                  <a:ext cx="7119" cy="7131"/>
                </a:xfrm>
                <a:custGeom>
                  <a:avLst/>
                  <a:gdLst>
                    <a:gd name="connsiteX0" fmla="*/ 0 w 7119"/>
                    <a:gd name="connsiteY0" fmla="*/ 3572 h 7131"/>
                    <a:gd name="connsiteX1" fmla="*/ 3560 w 7119"/>
                    <a:gd name="connsiteY1" fmla="*/ 7131 h 7131"/>
                    <a:gd name="connsiteX2" fmla="*/ 7119 w 7119"/>
                    <a:gd name="connsiteY2" fmla="*/ 3572 h 7131"/>
                    <a:gd name="connsiteX3" fmla="*/ 3560 w 7119"/>
                    <a:gd name="connsiteY3" fmla="*/ 0 h 7131"/>
                    <a:gd name="connsiteX4" fmla="*/ 0 w 7119"/>
                    <a:gd name="connsiteY4" fmla="*/ 3572 h 713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7119" h="7131">
                      <a:moveTo>
                        <a:pt x="0" y="3572"/>
                      </a:moveTo>
                      <a:cubicBezTo>
                        <a:pt x="0" y="5538"/>
                        <a:pt x="1581" y="7131"/>
                        <a:pt x="3560" y="7131"/>
                      </a:cubicBezTo>
                      <a:cubicBezTo>
                        <a:pt x="5538" y="7131"/>
                        <a:pt x="7119" y="5550"/>
                        <a:pt x="7119" y="3572"/>
                      </a:cubicBezTo>
                      <a:cubicBezTo>
                        <a:pt x="7119" y="1593"/>
                        <a:pt x="5526" y="0"/>
                        <a:pt x="3560" y="0"/>
                      </a:cubicBezTo>
                      <a:cubicBezTo>
                        <a:pt x="1593" y="0"/>
                        <a:pt x="0" y="1593"/>
                        <a:pt x="0" y="3572"/>
                      </a:cubicBezTo>
                      <a:close/>
                    </a:path>
                  </a:pathLst>
                </a:custGeom>
                <a:solidFill>
                  <a:srgbClr val="394553"/>
                </a:solidFill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035" name="Forma livre: Forma 1034">
                  <a:extLst>
                    <a:ext uri="{FF2B5EF4-FFF2-40B4-BE49-F238E27FC236}">
                      <a16:creationId xmlns:a16="http://schemas.microsoft.com/office/drawing/2014/main" id="{53633A55-212A-C060-0E97-0D67F50F37E6}"/>
                    </a:ext>
                  </a:extLst>
                </p:cNvPr>
                <p:cNvSpPr/>
                <p:nvPr/>
              </p:nvSpPr>
              <p:spPr>
                <a:xfrm>
                  <a:off x="10763025" y="2700607"/>
                  <a:ext cx="7119" cy="7131"/>
                </a:xfrm>
                <a:custGeom>
                  <a:avLst/>
                  <a:gdLst>
                    <a:gd name="connsiteX0" fmla="*/ 0 w 7119"/>
                    <a:gd name="connsiteY0" fmla="*/ 3572 h 7131"/>
                    <a:gd name="connsiteX1" fmla="*/ 3560 w 7119"/>
                    <a:gd name="connsiteY1" fmla="*/ 7131 h 7131"/>
                    <a:gd name="connsiteX2" fmla="*/ 7119 w 7119"/>
                    <a:gd name="connsiteY2" fmla="*/ 3572 h 7131"/>
                    <a:gd name="connsiteX3" fmla="*/ 3560 w 7119"/>
                    <a:gd name="connsiteY3" fmla="*/ 0 h 7131"/>
                    <a:gd name="connsiteX4" fmla="*/ 0 w 7119"/>
                    <a:gd name="connsiteY4" fmla="*/ 3572 h 713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7119" h="7131">
                      <a:moveTo>
                        <a:pt x="0" y="3572"/>
                      </a:moveTo>
                      <a:cubicBezTo>
                        <a:pt x="0" y="5539"/>
                        <a:pt x="1581" y="7131"/>
                        <a:pt x="3560" y="7131"/>
                      </a:cubicBezTo>
                      <a:cubicBezTo>
                        <a:pt x="5538" y="7131"/>
                        <a:pt x="7119" y="5539"/>
                        <a:pt x="7119" y="3572"/>
                      </a:cubicBezTo>
                      <a:cubicBezTo>
                        <a:pt x="7119" y="1605"/>
                        <a:pt x="5526" y="0"/>
                        <a:pt x="3560" y="0"/>
                      </a:cubicBezTo>
                      <a:cubicBezTo>
                        <a:pt x="1593" y="0"/>
                        <a:pt x="0" y="1593"/>
                        <a:pt x="0" y="3572"/>
                      </a:cubicBezTo>
                      <a:close/>
                    </a:path>
                  </a:pathLst>
                </a:custGeom>
                <a:solidFill>
                  <a:srgbClr val="394553"/>
                </a:solidFill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036" name="Forma livre: Forma 1035">
                  <a:extLst>
                    <a:ext uri="{FF2B5EF4-FFF2-40B4-BE49-F238E27FC236}">
                      <a16:creationId xmlns:a16="http://schemas.microsoft.com/office/drawing/2014/main" id="{76D44C40-8D2E-AD94-C11C-DC20EDE5245E}"/>
                    </a:ext>
                  </a:extLst>
                </p:cNvPr>
                <p:cNvSpPr/>
                <p:nvPr/>
              </p:nvSpPr>
              <p:spPr>
                <a:xfrm>
                  <a:off x="10726175" y="2650436"/>
                  <a:ext cx="7119" cy="7131"/>
                </a:xfrm>
                <a:custGeom>
                  <a:avLst/>
                  <a:gdLst>
                    <a:gd name="connsiteX0" fmla="*/ 0 w 7119"/>
                    <a:gd name="connsiteY0" fmla="*/ 3572 h 7131"/>
                    <a:gd name="connsiteX1" fmla="*/ 3560 w 7119"/>
                    <a:gd name="connsiteY1" fmla="*/ 7131 h 7131"/>
                    <a:gd name="connsiteX2" fmla="*/ 7119 w 7119"/>
                    <a:gd name="connsiteY2" fmla="*/ 3572 h 7131"/>
                    <a:gd name="connsiteX3" fmla="*/ 3560 w 7119"/>
                    <a:gd name="connsiteY3" fmla="*/ 0 h 7131"/>
                    <a:gd name="connsiteX4" fmla="*/ 0 w 7119"/>
                    <a:gd name="connsiteY4" fmla="*/ 3572 h 713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7119" h="7131">
                      <a:moveTo>
                        <a:pt x="0" y="3572"/>
                      </a:moveTo>
                      <a:cubicBezTo>
                        <a:pt x="0" y="5538"/>
                        <a:pt x="1593" y="7131"/>
                        <a:pt x="3560" y="7131"/>
                      </a:cubicBezTo>
                      <a:cubicBezTo>
                        <a:pt x="5526" y="7131"/>
                        <a:pt x="7119" y="5550"/>
                        <a:pt x="7119" y="3572"/>
                      </a:cubicBezTo>
                      <a:cubicBezTo>
                        <a:pt x="7119" y="1593"/>
                        <a:pt x="5526" y="0"/>
                        <a:pt x="3560" y="0"/>
                      </a:cubicBezTo>
                      <a:cubicBezTo>
                        <a:pt x="1593" y="0"/>
                        <a:pt x="0" y="1593"/>
                        <a:pt x="0" y="3572"/>
                      </a:cubicBezTo>
                      <a:close/>
                    </a:path>
                  </a:pathLst>
                </a:custGeom>
                <a:solidFill>
                  <a:srgbClr val="394553"/>
                </a:solidFill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037" name="Forma livre: Forma 1036">
                  <a:extLst>
                    <a:ext uri="{FF2B5EF4-FFF2-40B4-BE49-F238E27FC236}">
                      <a16:creationId xmlns:a16="http://schemas.microsoft.com/office/drawing/2014/main" id="{674EA1DD-21E5-0D65-B919-87AADFC598C8}"/>
                    </a:ext>
                  </a:extLst>
                </p:cNvPr>
                <p:cNvSpPr/>
                <p:nvPr/>
              </p:nvSpPr>
              <p:spPr>
                <a:xfrm>
                  <a:off x="10737131" y="2828088"/>
                  <a:ext cx="7119" cy="7131"/>
                </a:xfrm>
                <a:custGeom>
                  <a:avLst/>
                  <a:gdLst>
                    <a:gd name="connsiteX0" fmla="*/ 0 w 7119"/>
                    <a:gd name="connsiteY0" fmla="*/ 3572 h 7131"/>
                    <a:gd name="connsiteX1" fmla="*/ 3560 w 7119"/>
                    <a:gd name="connsiteY1" fmla="*/ 7131 h 7131"/>
                    <a:gd name="connsiteX2" fmla="*/ 7119 w 7119"/>
                    <a:gd name="connsiteY2" fmla="*/ 3572 h 7131"/>
                    <a:gd name="connsiteX3" fmla="*/ 3560 w 7119"/>
                    <a:gd name="connsiteY3" fmla="*/ 0 h 7131"/>
                    <a:gd name="connsiteX4" fmla="*/ 0 w 7119"/>
                    <a:gd name="connsiteY4" fmla="*/ 3572 h 713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7119" h="7131">
                      <a:moveTo>
                        <a:pt x="0" y="3572"/>
                      </a:moveTo>
                      <a:cubicBezTo>
                        <a:pt x="0" y="5539"/>
                        <a:pt x="1581" y="7131"/>
                        <a:pt x="3560" y="7131"/>
                      </a:cubicBezTo>
                      <a:cubicBezTo>
                        <a:pt x="5538" y="7131"/>
                        <a:pt x="7119" y="5550"/>
                        <a:pt x="7119" y="3572"/>
                      </a:cubicBezTo>
                      <a:cubicBezTo>
                        <a:pt x="7119" y="1593"/>
                        <a:pt x="5526" y="0"/>
                        <a:pt x="3560" y="0"/>
                      </a:cubicBezTo>
                      <a:cubicBezTo>
                        <a:pt x="1593" y="0"/>
                        <a:pt x="0" y="1593"/>
                        <a:pt x="0" y="3572"/>
                      </a:cubicBezTo>
                      <a:close/>
                    </a:path>
                  </a:pathLst>
                </a:custGeom>
                <a:solidFill>
                  <a:srgbClr val="394553"/>
                </a:solidFill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1038" name="Forma livre: Forma 1037">
                <a:extLst>
                  <a:ext uri="{FF2B5EF4-FFF2-40B4-BE49-F238E27FC236}">
                    <a16:creationId xmlns:a16="http://schemas.microsoft.com/office/drawing/2014/main" id="{6FA14FEB-1EC1-8C51-E205-C2D5C0314409}"/>
                  </a:ext>
                </a:extLst>
              </p:cNvPr>
              <p:cNvSpPr/>
              <p:nvPr/>
            </p:nvSpPr>
            <p:spPr>
              <a:xfrm>
                <a:off x="10663297" y="2630538"/>
                <a:ext cx="7119" cy="7131"/>
              </a:xfrm>
              <a:custGeom>
                <a:avLst/>
                <a:gdLst>
                  <a:gd name="connsiteX0" fmla="*/ 7119 w 7119"/>
                  <a:gd name="connsiteY0" fmla="*/ 3572 h 7131"/>
                  <a:gd name="connsiteX1" fmla="*/ 3560 w 7119"/>
                  <a:gd name="connsiteY1" fmla="*/ 7131 h 7131"/>
                  <a:gd name="connsiteX2" fmla="*/ 0 w 7119"/>
                  <a:gd name="connsiteY2" fmla="*/ 3572 h 7131"/>
                  <a:gd name="connsiteX3" fmla="*/ 3560 w 7119"/>
                  <a:gd name="connsiteY3" fmla="*/ 0 h 7131"/>
                  <a:gd name="connsiteX4" fmla="*/ 7119 w 7119"/>
                  <a:gd name="connsiteY4" fmla="*/ 3572 h 71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119" h="7131">
                    <a:moveTo>
                      <a:pt x="7119" y="3572"/>
                    </a:moveTo>
                    <a:cubicBezTo>
                      <a:pt x="7119" y="5538"/>
                      <a:pt x="5538" y="7131"/>
                      <a:pt x="3560" y="7131"/>
                    </a:cubicBezTo>
                    <a:cubicBezTo>
                      <a:pt x="1581" y="7131"/>
                      <a:pt x="0" y="5538"/>
                      <a:pt x="0" y="3572"/>
                    </a:cubicBezTo>
                    <a:cubicBezTo>
                      <a:pt x="0" y="1605"/>
                      <a:pt x="1593" y="0"/>
                      <a:pt x="3560" y="0"/>
                    </a:cubicBezTo>
                    <a:cubicBezTo>
                      <a:pt x="5526" y="0"/>
                      <a:pt x="7119" y="1593"/>
                      <a:pt x="7119" y="3572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039" name="Forma livre: Forma 1038">
              <a:extLst>
                <a:ext uri="{FF2B5EF4-FFF2-40B4-BE49-F238E27FC236}">
                  <a16:creationId xmlns:a16="http://schemas.microsoft.com/office/drawing/2014/main" id="{431036A8-521C-73AA-F104-C3A86BD69F89}"/>
                </a:ext>
              </a:extLst>
            </p:cNvPr>
            <p:cNvSpPr/>
            <p:nvPr/>
          </p:nvSpPr>
          <p:spPr>
            <a:xfrm>
              <a:off x="10536933" y="2599419"/>
              <a:ext cx="259604" cy="302586"/>
            </a:xfrm>
            <a:custGeom>
              <a:avLst/>
              <a:gdLst>
                <a:gd name="connsiteX0" fmla="*/ 36144 w 259604"/>
                <a:gd name="connsiteY0" fmla="*/ 35004 h 302586"/>
                <a:gd name="connsiteX1" fmla="*/ 910 w 259604"/>
                <a:gd name="connsiteY1" fmla="*/ 133936 h 302586"/>
                <a:gd name="connsiteX2" fmla="*/ 42165 w 259604"/>
                <a:gd name="connsiteY2" fmla="*/ 256542 h 302586"/>
                <a:gd name="connsiteX3" fmla="*/ 34756 w 259604"/>
                <a:gd name="connsiteY3" fmla="*/ 272216 h 302586"/>
                <a:gd name="connsiteX4" fmla="*/ 12627 w 259604"/>
                <a:gd name="connsiteY4" fmla="*/ 272216 h 302586"/>
                <a:gd name="connsiteX5" fmla="*/ 12627 w 259604"/>
                <a:gd name="connsiteY5" fmla="*/ 302587 h 302586"/>
                <a:gd name="connsiteX6" fmla="*/ 73344 w 259604"/>
                <a:gd name="connsiteY6" fmla="*/ 302587 h 302586"/>
                <a:gd name="connsiteX7" fmla="*/ 92626 w 259604"/>
                <a:gd name="connsiteY7" fmla="*/ 267594 h 302586"/>
                <a:gd name="connsiteX8" fmla="*/ 56078 w 259604"/>
                <a:gd name="connsiteY8" fmla="*/ 144470 h 302586"/>
                <a:gd name="connsiteX9" fmla="*/ 129803 w 259604"/>
                <a:gd name="connsiteY9" fmla="*/ 67897 h 302586"/>
                <a:gd name="connsiteX10" fmla="*/ 203528 w 259604"/>
                <a:gd name="connsiteY10" fmla="*/ 144470 h 302586"/>
                <a:gd name="connsiteX11" fmla="*/ 166979 w 259604"/>
                <a:gd name="connsiteY11" fmla="*/ 267594 h 302586"/>
                <a:gd name="connsiteX12" fmla="*/ 186261 w 259604"/>
                <a:gd name="connsiteY12" fmla="*/ 302587 h 302586"/>
                <a:gd name="connsiteX13" fmla="*/ 246979 w 259604"/>
                <a:gd name="connsiteY13" fmla="*/ 302587 h 302586"/>
                <a:gd name="connsiteX14" fmla="*/ 246979 w 259604"/>
                <a:gd name="connsiteY14" fmla="*/ 272216 h 302586"/>
                <a:gd name="connsiteX15" fmla="*/ 224849 w 259604"/>
                <a:gd name="connsiteY15" fmla="*/ 272216 h 302586"/>
                <a:gd name="connsiteX16" fmla="*/ 217452 w 259604"/>
                <a:gd name="connsiteY16" fmla="*/ 256542 h 302586"/>
                <a:gd name="connsiteX17" fmla="*/ 258695 w 259604"/>
                <a:gd name="connsiteY17" fmla="*/ 133936 h 302586"/>
                <a:gd name="connsiteX18" fmla="*/ 129803 w 259604"/>
                <a:gd name="connsiteY18" fmla="*/ 0 h 302586"/>
                <a:gd name="connsiteX19" fmla="*/ 59975 w 259604"/>
                <a:gd name="connsiteY19" fmla="*/ 17738 h 3025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259604" h="302586">
                  <a:moveTo>
                    <a:pt x="36144" y="35004"/>
                  </a:moveTo>
                  <a:cubicBezTo>
                    <a:pt x="10744" y="58558"/>
                    <a:pt x="-3904" y="92778"/>
                    <a:pt x="910" y="133936"/>
                  </a:cubicBezTo>
                  <a:cubicBezTo>
                    <a:pt x="910" y="133936"/>
                    <a:pt x="4410" y="183022"/>
                    <a:pt x="42165" y="256542"/>
                  </a:cubicBezTo>
                  <a:cubicBezTo>
                    <a:pt x="42165" y="256542"/>
                    <a:pt x="50961" y="272216"/>
                    <a:pt x="34756" y="272216"/>
                  </a:cubicBezTo>
                  <a:lnTo>
                    <a:pt x="12627" y="272216"/>
                  </a:lnTo>
                  <a:lnTo>
                    <a:pt x="12627" y="302587"/>
                  </a:lnTo>
                  <a:lnTo>
                    <a:pt x="73344" y="302587"/>
                  </a:lnTo>
                  <a:cubicBezTo>
                    <a:pt x="104982" y="299498"/>
                    <a:pt x="92626" y="267594"/>
                    <a:pt x="92626" y="267594"/>
                  </a:cubicBezTo>
                  <a:cubicBezTo>
                    <a:pt x="64271" y="192735"/>
                    <a:pt x="56078" y="144470"/>
                    <a:pt x="56078" y="144470"/>
                  </a:cubicBezTo>
                  <a:cubicBezTo>
                    <a:pt x="50720" y="98678"/>
                    <a:pt x="87510" y="67897"/>
                    <a:pt x="129803" y="67897"/>
                  </a:cubicBezTo>
                  <a:cubicBezTo>
                    <a:pt x="172095" y="67897"/>
                    <a:pt x="208885" y="98690"/>
                    <a:pt x="203528" y="144470"/>
                  </a:cubicBezTo>
                  <a:cubicBezTo>
                    <a:pt x="203528" y="144470"/>
                    <a:pt x="195335" y="192735"/>
                    <a:pt x="166979" y="267594"/>
                  </a:cubicBezTo>
                  <a:cubicBezTo>
                    <a:pt x="166979" y="267594"/>
                    <a:pt x="154635" y="299510"/>
                    <a:pt x="186261" y="302587"/>
                  </a:cubicBezTo>
                  <a:lnTo>
                    <a:pt x="246979" y="302587"/>
                  </a:lnTo>
                  <a:lnTo>
                    <a:pt x="246979" y="272216"/>
                  </a:lnTo>
                  <a:lnTo>
                    <a:pt x="224849" y="272216"/>
                  </a:lnTo>
                  <a:cubicBezTo>
                    <a:pt x="208644" y="272216"/>
                    <a:pt x="217452" y="256542"/>
                    <a:pt x="217452" y="256542"/>
                  </a:cubicBezTo>
                  <a:cubicBezTo>
                    <a:pt x="255196" y="183022"/>
                    <a:pt x="258695" y="133936"/>
                    <a:pt x="258695" y="133936"/>
                  </a:cubicBezTo>
                  <a:cubicBezTo>
                    <a:pt x="268058" y="53864"/>
                    <a:pt x="203769" y="0"/>
                    <a:pt x="129803" y="0"/>
                  </a:cubicBezTo>
                  <a:cubicBezTo>
                    <a:pt x="104548" y="0"/>
                    <a:pt x="80427" y="6287"/>
                    <a:pt x="59975" y="17738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040" name="Gráfico 11">
            <a:extLst>
              <a:ext uri="{FF2B5EF4-FFF2-40B4-BE49-F238E27FC236}">
                <a16:creationId xmlns:a16="http://schemas.microsoft.com/office/drawing/2014/main" id="{663D131E-D600-FE9B-6C36-F86963F5B91C}"/>
              </a:ext>
            </a:extLst>
          </p:cNvPr>
          <p:cNvGrpSpPr/>
          <p:nvPr/>
        </p:nvGrpSpPr>
        <p:grpSpPr>
          <a:xfrm>
            <a:off x="10518079" y="3136913"/>
            <a:ext cx="297325" cy="297253"/>
            <a:chOff x="10518079" y="3136913"/>
            <a:chExt cx="297325" cy="297253"/>
          </a:xfrm>
        </p:grpSpPr>
        <p:sp>
          <p:nvSpPr>
            <p:cNvPr id="1041" name="Forma livre: Forma 1040">
              <a:extLst>
                <a:ext uri="{FF2B5EF4-FFF2-40B4-BE49-F238E27FC236}">
                  <a16:creationId xmlns:a16="http://schemas.microsoft.com/office/drawing/2014/main" id="{A70A2527-CD78-0321-DCF3-B89304C8F342}"/>
                </a:ext>
              </a:extLst>
            </p:cNvPr>
            <p:cNvSpPr/>
            <p:nvPr/>
          </p:nvSpPr>
          <p:spPr>
            <a:xfrm>
              <a:off x="10641011" y="3236605"/>
              <a:ext cx="51450" cy="97833"/>
            </a:xfrm>
            <a:custGeom>
              <a:avLst/>
              <a:gdLst>
                <a:gd name="connsiteX0" fmla="*/ 121 w 51450"/>
                <a:gd name="connsiteY0" fmla="*/ 73978 h 97833"/>
                <a:gd name="connsiteX1" fmla="*/ 25786 w 51450"/>
                <a:gd name="connsiteY1" fmla="*/ 97834 h 97833"/>
                <a:gd name="connsiteX2" fmla="*/ 51451 w 51450"/>
                <a:gd name="connsiteY2" fmla="*/ 73978 h 97833"/>
                <a:gd name="connsiteX3" fmla="*/ 25725 w 51450"/>
                <a:gd name="connsiteY3" fmla="*/ 48917 h 97833"/>
                <a:gd name="connsiteX4" fmla="*/ 0 w 51450"/>
                <a:gd name="connsiteY4" fmla="*/ 23867 h 97833"/>
                <a:gd name="connsiteX5" fmla="*/ 25665 w 51450"/>
                <a:gd name="connsiteY5" fmla="*/ 0 h 97833"/>
                <a:gd name="connsiteX6" fmla="*/ 51330 w 51450"/>
                <a:gd name="connsiteY6" fmla="*/ 23867 h 978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1450" h="97833">
                  <a:moveTo>
                    <a:pt x="121" y="73978"/>
                  </a:moveTo>
                  <a:cubicBezTo>
                    <a:pt x="121" y="87167"/>
                    <a:pt x="11620" y="97834"/>
                    <a:pt x="25786" y="97834"/>
                  </a:cubicBezTo>
                  <a:cubicBezTo>
                    <a:pt x="39952" y="97834"/>
                    <a:pt x="51451" y="87155"/>
                    <a:pt x="51451" y="73978"/>
                  </a:cubicBezTo>
                  <a:cubicBezTo>
                    <a:pt x="51451" y="60802"/>
                    <a:pt x="37743" y="55022"/>
                    <a:pt x="25725" y="48917"/>
                  </a:cubicBezTo>
                  <a:cubicBezTo>
                    <a:pt x="13707" y="42811"/>
                    <a:pt x="0" y="37044"/>
                    <a:pt x="0" y="23867"/>
                  </a:cubicBezTo>
                  <a:cubicBezTo>
                    <a:pt x="0" y="10691"/>
                    <a:pt x="11487" y="0"/>
                    <a:pt x="25665" y="0"/>
                  </a:cubicBezTo>
                  <a:cubicBezTo>
                    <a:pt x="39843" y="0"/>
                    <a:pt x="51330" y="10691"/>
                    <a:pt x="51330" y="23867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42" name="Forma livre: Forma 1041">
              <a:extLst>
                <a:ext uri="{FF2B5EF4-FFF2-40B4-BE49-F238E27FC236}">
                  <a16:creationId xmlns:a16="http://schemas.microsoft.com/office/drawing/2014/main" id="{D49F7C38-AD1D-BAE9-5FB7-C5FA911FE5DB}"/>
                </a:ext>
              </a:extLst>
            </p:cNvPr>
            <p:cNvSpPr/>
            <p:nvPr/>
          </p:nvSpPr>
          <p:spPr>
            <a:xfrm>
              <a:off x="10666688" y="3220689"/>
              <a:ext cx="1206" cy="15818"/>
            </a:xfrm>
            <a:custGeom>
              <a:avLst/>
              <a:gdLst>
                <a:gd name="connsiteX0" fmla="*/ 0 w 1206"/>
                <a:gd name="connsiteY0" fmla="*/ 15819 h 15818"/>
                <a:gd name="connsiteX1" fmla="*/ 0 w 1206"/>
                <a:gd name="connsiteY1" fmla="*/ 0 h 15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6" h="15818">
                  <a:moveTo>
                    <a:pt x="0" y="15819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43" name="Forma livre: Forma 1042">
              <a:extLst>
                <a:ext uri="{FF2B5EF4-FFF2-40B4-BE49-F238E27FC236}">
                  <a16:creationId xmlns:a16="http://schemas.microsoft.com/office/drawing/2014/main" id="{1EE2DDA7-8D9B-B70C-6BC3-BA50A58C81BD}"/>
                </a:ext>
              </a:extLst>
            </p:cNvPr>
            <p:cNvSpPr/>
            <p:nvPr/>
          </p:nvSpPr>
          <p:spPr>
            <a:xfrm>
              <a:off x="10666688" y="3334571"/>
              <a:ext cx="1206" cy="15806"/>
            </a:xfrm>
            <a:custGeom>
              <a:avLst/>
              <a:gdLst>
                <a:gd name="connsiteX0" fmla="*/ 0 w 1206"/>
                <a:gd name="connsiteY0" fmla="*/ 15807 h 15806"/>
                <a:gd name="connsiteX1" fmla="*/ 0 w 1206"/>
                <a:gd name="connsiteY1" fmla="*/ 0 h 15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6" h="15806">
                  <a:moveTo>
                    <a:pt x="0" y="15807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44" name="Forma livre: Forma 1043">
              <a:extLst>
                <a:ext uri="{FF2B5EF4-FFF2-40B4-BE49-F238E27FC236}">
                  <a16:creationId xmlns:a16="http://schemas.microsoft.com/office/drawing/2014/main" id="{54EB477D-AF30-BDC4-E233-F24ED7B4CF46}"/>
                </a:ext>
              </a:extLst>
            </p:cNvPr>
            <p:cNvSpPr/>
            <p:nvPr/>
          </p:nvSpPr>
          <p:spPr>
            <a:xfrm>
              <a:off x="10518079" y="3136913"/>
              <a:ext cx="297325" cy="297253"/>
            </a:xfrm>
            <a:custGeom>
              <a:avLst/>
              <a:gdLst>
                <a:gd name="connsiteX0" fmla="*/ 297326 w 297325"/>
                <a:gd name="connsiteY0" fmla="*/ 148633 h 297253"/>
                <a:gd name="connsiteX1" fmla="*/ 148633 w 297325"/>
                <a:gd name="connsiteY1" fmla="*/ 297253 h 297253"/>
                <a:gd name="connsiteX2" fmla="*/ 0 w 297325"/>
                <a:gd name="connsiteY2" fmla="*/ 148633 h 297253"/>
                <a:gd name="connsiteX3" fmla="*/ 71517 w 297325"/>
                <a:gd name="connsiteY3" fmla="*/ 21550 h 297253"/>
                <a:gd name="connsiteX4" fmla="*/ 148633 w 297325"/>
                <a:gd name="connsiteY4" fmla="*/ 0 h 297253"/>
                <a:gd name="connsiteX5" fmla="*/ 297326 w 297325"/>
                <a:gd name="connsiteY5" fmla="*/ 148633 h 2972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97325" h="297253">
                  <a:moveTo>
                    <a:pt x="297326" y="148633"/>
                  </a:moveTo>
                  <a:cubicBezTo>
                    <a:pt x="297326" y="230720"/>
                    <a:pt x="230780" y="297253"/>
                    <a:pt x="148633" y="297253"/>
                  </a:cubicBezTo>
                  <a:cubicBezTo>
                    <a:pt x="66485" y="297253"/>
                    <a:pt x="0" y="230720"/>
                    <a:pt x="0" y="148633"/>
                  </a:cubicBezTo>
                  <a:cubicBezTo>
                    <a:pt x="0" y="94793"/>
                    <a:pt x="28633" y="47626"/>
                    <a:pt x="71517" y="21550"/>
                  </a:cubicBezTo>
                  <a:cubicBezTo>
                    <a:pt x="93997" y="7867"/>
                    <a:pt x="120398" y="0"/>
                    <a:pt x="148633" y="0"/>
                  </a:cubicBezTo>
                  <a:cubicBezTo>
                    <a:pt x="230768" y="0"/>
                    <a:pt x="297326" y="66558"/>
                    <a:pt x="297326" y="148633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45" name="Forma livre: Forma 1044">
              <a:extLst>
                <a:ext uri="{FF2B5EF4-FFF2-40B4-BE49-F238E27FC236}">
                  <a16:creationId xmlns:a16="http://schemas.microsoft.com/office/drawing/2014/main" id="{BFBE448C-795C-1129-16CF-0241DD1C5E04}"/>
                </a:ext>
              </a:extLst>
            </p:cNvPr>
            <p:cNvSpPr/>
            <p:nvPr/>
          </p:nvSpPr>
          <p:spPr>
            <a:xfrm>
              <a:off x="10561807" y="3180617"/>
              <a:ext cx="209893" cy="209845"/>
            </a:xfrm>
            <a:custGeom>
              <a:avLst/>
              <a:gdLst>
                <a:gd name="connsiteX0" fmla="*/ 60947 w 209893"/>
                <a:gd name="connsiteY0" fmla="*/ 9641 h 209845"/>
                <a:gd name="connsiteX1" fmla="*/ 104929 w 209893"/>
                <a:gd name="connsiteY1" fmla="*/ 0 h 209845"/>
                <a:gd name="connsiteX2" fmla="*/ 209893 w 209893"/>
                <a:gd name="connsiteY2" fmla="*/ 104929 h 209845"/>
                <a:gd name="connsiteX3" fmla="*/ 104929 w 209893"/>
                <a:gd name="connsiteY3" fmla="*/ 209845 h 209845"/>
                <a:gd name="connsiteX4" fmla="*/ 0 w 209893"/>
                <a:gd name="connsiteY4" fmla="*/ 104929 h 209845"/>
                <a:gd name="connsiteX5" fmla="*/ 30890 w 209893"/>
                <a:gd name="connsiteY5" fmla="*/ 30588 h 2098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9893" h="209845">
                  <a:moveTo>
                    <a:pt x="60947" y="9641"/>
                  </a:moveTo>
                  <a:cubicBezTo>
                    <a:pt x="74328" y="3451"/>
                    <a:pt x="89230" y="0"/>
                    <a:pt x="104929" y="0"/>
                  </a:cubicBezTo>
                  <a:cubicBezTo>
                    <a:pt x="162907" y="0"/>
                    <a:pt x="209893" y="46986"/>
                    <a:pt x="209893" y="104929"/>
                  </a:cubicBezTo>
                  <a:cubicBezTo>
                    <a:pt x="209893" y="162871"/>
                    <a:pt x="162907" y="209845"/>
                    <a:pt x="104929" y="209845"/>
                  </a:cubicBezTo>
                  <a:cubicBezTo>
                    <a:pt x="46950" y="209845"/>
                    <a:pt x="0" y="162895"/>
                    <a:pt x="0" y="104929"/>
                  </a:cubicBezTo>
                  <a:cubicBezTo>
                    <a:pt x="0" y="75885"/>
                    <a:pt x="11813" y="49592"/>
                    <a:pt x="30890" y="30588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46" name="Forma livre: Forma 1045">
              <a:extLst>
                <a:ext uri="{FF2B5EF4-FFF2-40B4-BE49-F238E27FC236}">
                  <a16:creationId xmlns:a16="http://schemas.microsoft.com/office/drawing/2014/main" id="{65A7AE60-E429-0F55-583B-999FC7945523}"/>
                </a:ext>
              </a:extLst>
            </p:cNvPr>
            <p:cNvSpPr/>
            <p:nvPr/>
          </p:nvSpPr>
          <p:spPr>
            <a:xfrm>
              <a:off x="10666748" y="3137384"/>
              <a:ext cx="1206" cy="19849"/>
            </a:xfrm>
            <a:custGeom>
              <a:avLst/>
              <a:gdLst>
                <a:gd name="connsiteX0" fmla="*/ 0 w 1206"/>
                <a:gd name="connsiteY0" fmla="*/ 19849 h 19849"/>
                <a:gd name="connsiteX1" fmla="*/ 0 w 1206"/>
                <a:gd name="connsiteY1" fmla="*/ 0 h 198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6" h="19849">
                  <a:moveTo>
                    <a:pt x="0" y="19849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47" name="Forma livre: Forma 1046">
              <a:extLst>
                <a:ext uri="{FF2B5EF4-FFF2-40B4-BE49-F238E27FC236}">
                  <a16:creationId xmlns:a16="http://schemas.microsoft.com/office/drawing/2014/main" id="{EB5CE02E-6B74-E19D-7732-DE3E9F9A5371}"/>
                </a:ext>
              </a:extLst>
            </p:cNvPr>
            <p:cNvSpPr/>
            <p:nvPr/>
          </p:nvSpPr>
          <p:spPr>
            <a:xfrm>
              <a:off x="10666748" y="3413835"/>
              <a:ext cx="1206" cy="19861"/>
            </a:xfrm>
            <a:custGeom>
              <a:avLst/>
              <a:gdLst>
                <a:gd name="connsiteX0" fmla="*/ 0 w 1206"/>
                <a:gd name="connsiteY0" fmla="*/ 19861 h 19861"/>
                <a:gd name="connsiteX1" fmla="*/ 0 w 1206"/>
                <a:gd name="connsiteY1" fmla="*/ 0 h 19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6" h="19861">
                  <a:moveTo>
                    <a:pt x="0" y="19861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48" name="Forma livre: Forma 1047">
              <a:extLst>
                <a:ext uri="{FF2B5EF4-FFF2-40B4-BE49-F238E27FC236}">
                  <a16:creationId xmlns:a16="http://schemas.microsoft.com/office/drawing/2014/main" id="{D778CD66-FEE1-C1E5-3C49-C2A4A17A0A10}"/>
                </a:ext>
              </a:extLst>
            </p:cNvPr>
            <p:cNvSpPr/>
            <p:nvPr/>
          </p:nvSpPr>
          <p:spPr>
            <a:xfrm>
              <a:off x="10610049" y="3148654"/>
              <a:ext cx="7601" cy="18340"/>
            </a:xfrm>
            <a:custGeom>
              <a:avLst/>
              <a:gdLst>
                <a:gd name="connsiteX0" fmla="*/ 7602 w 7601"/>
                <a:gd name="connsiteY0" fmla="*/ 18341 h 18340"/>
                <a:gd name="connsiteX1" fmla="*/ 0 w 7601"/>
                <a:gd name="connsiteY1" fmla="*/ 0 h 183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601" h="18340">
                  <a:moveTo>
                    <a:pt x="7602" y="18341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49" name="Forma livre: Forma 1048">
              <a:extLst>
                <a:ext uri="{FF2B5EF4-FFF2-40B4-BE49-F238E27FC236}">
                  <a16:creationId xmlns:a16="http://schemas.microsoft.com/office/drawing/2014/main" id="{9C6DA977-8574-6A11-F7D7-54E6EE7DB2BC}"/>
                </a:ext>
              </a:extLst>
            </p:cNvPr>
            <p:cNvSpPr/>
            <p:nvPr/>
          </p:nvSpPr>
          <p:spPr>
            <a:xfrm>
              <a:off x="10715834" y="3404073"/>
              <a:ext cx="7601" cy="18340"/>
            </a:xfrm>
            <a:custGeom>
              <a:avLst/>
              <a:gdLst>
                <a:gd name="connsiteX0" fmla="*/ 7602 w 7601"/>
                <a:gd name="connsiteY0" fmla="*/ 18341 h 18340"/>
                <a:gd name="connsiteX1" fmla="*/ 0 w 7601"/>
                <a:gd name="connsiteY1" fmla="*/ 0 h 183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601" h="18340">
                  <a:moveTo>
                    <a:pt x="7602" y="18341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50" name="Forma livre: Forma 1049">
              <a:extLst>
                <a:ext uri="{FF2B5EF4-FFF2-40B4-BE49-F238E27FC236}">
                  <a16:creationId xmlns:a16="http://schemas.microsoft.com/office/drawing/2014/main" id="{A0C36FFB-7D92-FAF7-F2E5-4D920B4C32D3}"/>
                </a:ext>
              </a:extLst>
            </p:cNvPr>
            <p:cNvSpPr/>
            <p:nvPr/>
          </p:nvSpPr>
          <p:spPr>
            <a:xfrm>
              <a:off x="10715846" y="3148654"/>
              <a:ext cx="7589" cy="18340"/>
            </a:xfrm>
            <a:custGeom>
              <a:avLst/>
              <a:gdLst>
                <a:gd name="connsiteX0" fmla="*/ 0 w 7589"/>
                <a:gd name="connsiteY0" fmla="*/ 18341 h 18340"/>
                <a:gd name="connsiteX1" fmla="*/ 7590 w 7589"/>
                <a:gd name="connsiteY1" fmla="*/ 0 h 183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589" h="18340">
                  <a:moveTo>
                    <a:pt x="0" y="18341"/>
                  </a:moveTo>
                  <a:lnTo>
                    <a:pt x="759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51" name="Forma livre: Forma 1050">
              <a:extLst>
                <a:ext uri="{FF2B5EF4-FFF2-40B4-BE49-F238E27FC236}">
                  <a16:creationId xmlns:a16="http://schemas.microsoft.com/office/drawing/2014/main" id="{CFB4344E-244C-5930-CE35-B3050148A500}"/>
                </a:ext>
              </a:extLst>
            </p:cNvPr>
            <p:cNvSpPr/>
            <p:nvPr/>
          </p:nvSpPr>
          <p:spPr>
            <a:xfrm>
              <a:off x="10610049" y="3404073"/>
              <a:ext cx="7589" cy="18340"/>
            </a:xfrm>
            <a:custGeom>
              <a:avLst/>
              <a:gdLst>
                <a:gd name="connsiteX0" fmla="*/ 0 w 7589"/>
                <a:gd name="connsiteY0" fmla="*/ 18341 h 18340"/>
                <a:gd name="connsiteX1" fmla="*/ 7590 w 7589"/>
                <a:gd name="connsiteY1" fmla="*/ 0 h 183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589" h="18340">
                  <a:moveTo>
                    <a:pt x="0" y="18341"/>
                  </a:moveTo>
                  <a:lnTo>
                    <a:pt x="759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52" name="Forma livre: Forma 1051">
              <a:extLst>
                <a:ext uri="{FF2B5EF4-FFF2-40B4-BE49-F238E27FC236}">
                  <a16:creationId xmlns:a16="http://schemas.microsoft.com/office/drawing/2014/main" id="{8082B4B3-A93A-9836-6E57-24B9457C7B54}"/>
                </a:ext>
              </a:extLst>
            </p:cNvPr>
            <p:cNvSpPr/>
            <p:nvPr/>
          </p:nvSpPr>
          <p:spPr>
            <a:xfrm>
              <a:off x="10529868" y="3228846"/>
              <a:ext cx="18340" cy="7589"/>
            </a:xfrm>
            <a:custGeom>
              <a:avLst/>
              <a:gdLst>
                <a:gd name="connsiteX0" fmla="*/ 18341 w 18340"/>
                <a:gd name="connsiteY0" fmla="*/ 7590 h 7589"/>
                <a:gd name="connsiteX1" fmla="*/ 0 w 18340"/>
                <a:gd name="connsiteY1" fmla="*/ 0 h 75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340" h="7589">
                  <a:moveTo>
                    <a:pt x="18341" y="7590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53" name="Forma livre: Forma 1052">
              <a:extLst>
                <a:ext uri="{FF2B5EF4-FFF2-40B4-BE49-F238E27FC236}">
                  <a16:creationId xmlns:a16="http://schemas.microsoft.com/office/drawing/2014/main" id="{2E7B8031-DE24-54E2-F818-6FB80AF3E587}"/>
                </a:ext>
              </a:extLst>
            </p:cNvPr>
            <p:cNvSpPr/>
            <p:nvPr/>
          </p:nvSpPr>
          <p:spPr>
            <a:xfrm>
              <a:off x="10785275" y="3334631"/>
              <a:ext cx="18340" cy="7601"/>
            </a:xfrm>
            <a:custGeom>
              <a:avLst/>
              <a:gdLst>
                <a:gd name="connsiteX0" fmla="*/ 18341 w 18340"/>
                <a:gd name="connsiteY0" fmla="*/ 7602 h 7601"/>
                <a:gd name="connsiteX1" fmla="*/ 0 w 18340"/>
                <a:gd name="connsiteY1" fmla="*/ 0 h 76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340" h="7601">
                  <a:moveTo>
                    <a:pt x="18341" y="7602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54" name="Forma livre: Forma 1053">
              <a:extLst>
                <a:ext uri="{FF2B5EF4-FFF2-40B4-BE49-F238E27FC236}">
                  <a16:creationId xmlns:a16="http://schemas.microsoft.com/office/drawing/2014/main" id="{3AC536B3-7CF3-F34E-E710-CE8B97D2F40B}"/>
                </a:ext>
              </a:extLst>
            </p:cNvPr>
            <p:cNvSpPr/>
            <p:nvPr/>
          </p:nvSpPr>
          <p:spPr>
            <a:xfrm>
              <a:off x="10529868" y="3334631"/>
              <a:ext cx="18340" cy="7601"/>
            </a:xfrm>
            <a:custGeom>
              <a:avLst/>
              <a:gdLst>
                <a:gd name="connsiteX0" fmla="*/ 18341 w 18340"/>
                <a:gd name="connsiteY0" fmla="*/ 0 h 7601"/>
                <a:gd name="connsiteX1" fmla="*/ 0 w 18340"/>
                <a:gd name="connsiteY1" fmla="*/ 7602 h 76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340" h="7601">
                  <a:moveTo>
                    <a:pt x="18341" y="0"/>
                  </a:moveTo>
                  <a:lnTo>
                    <a:pt x="0" y="7602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55" name="Forma livre: Forma 1054">
              <a:extLst>
                <a:ext uri="{FF2B5EF4-FFF2-40B4-BE49-F238E27FC236}">
                  <a16:creationId xmlns:a16="http://schemas.microsoft.com/office/drawing/2014/main" id="{78E3F2C6-33C7-ED01-1E0D-DE25F9D62CC3}"/>
                </a:ext>
              </a:extLst>
            </p:cNvPr>
            <p:cNvSpPr/>
            <p:nvPr/>
          </p:nvSpPr>
          <p:spPr>
            <a:xfrm>
              <a:off x="10785275" y="3228846"/>
              <a:ext cx="18340" cy="7589"/>
            </a:xfrm>
            <a:custGeom>
              <a:avLst/>
              <a:gdLst>
                <a:gd name="connsiteX0" fmla="*/ 18341 w 18340"/>
                <a:gd name="connsiteY0" fmla="*/ 0 h 7589"/>
                <a:gd name="connsiteX1" fmla="*/ 0 w 18340"/>
                <a:gd name="connsiteY1" fmla="*/ 7590 h 75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340" h="7589">
                  <a:moveTo>
                    <a:pt x="18341" y="0"/>
                  </a:moveTo>
                  <a:lnTo>
                    <a:pt x="0" y="759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56" name="Forma livre: Forma 1055">
              <a:extLst>
                <a:ext uri="{FF2B5EF4-FFF2-40B4-BE49-F238E27FC236}">
                  <a16:creationId xmlns:a16="http://schemas.microsoft.com/office/drawing/2014/main" id="{98C20570-819B-31D8-1660-47DEE42E4564}"/>
                </a:ext>
              </a:extLst>
            </p:cNvPr>
            <p:cNvSpPr/>
            <p:nvPr/>
          </p:nvSpPr>
          <p:spPr>
            <a:xfrm>
              <a:off x="10757463" y="3180774"/>
              <a:ext cx="14045" cy="14033"/>
            </a:xfrm>
            <a:custGeom>
              <a:avLst/>
              <a:gdLst>
                <a:gd name="connsiteX0" fmla="*/ 0 w 14045"/>
                <a:gd name="connsiteY0" fmla="*/ 14033 h 14033"/>
                <a:gd name="connsiteX1" fmla="*/ 14045 w 14045"/>
                <a:gd name="connsiteY1" fmla="*/ 0 h 14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4045" h="14033">
                  <a:moveTo>
                    <a:pt x="0" y="14033"/>
                  </a:moveTo>
                  <a:lnTo>
                    <a:pt x="14045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57" name="Forma livre: Forma 1056">
              <a:extLst>
                <a:ext uri="{FF2B5EF4-FFF2-40B4-BE49-F238E27FC236}">
                  <a16:creationId xmlns:a16="http://schemas.microsoft.com/office/drawing/2014/main" id="{A573F81A-3D90-AA2C-7FC7-9E6D7400C313}"/>
                </a:ext>
              </a:extLst>
            </p:cNvPr>
            <p:cNvSpPr/>
            <p:nvPr/>
          </p:nvSpPr>
          <p:spPr>
            <a:xfrm>
              <a:off x="10561989" y="3376260"/>
              <a:ext cx="14033" cy="14033"/>
            </a:xfrm>
            <a:custGeom>
              <a:avLst/>
              <a:gdLst>
                <a:gd name="connsiteX0" fmla="*/ 0 w 14033"/>
                <a:gd name="connsiteY0" fmla="*/ 14033 h 14033"/>
                <a:gd name="connsiteX1" fmla="*/ 14033 w 14033"/>
                <a:gd name="connsiteY1" fmla="*/ 0 h 14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4033" h="14033">
                  <a:moveTo>
                    <a:pt x="0" y="14033"/>
                  </a:moveTo>
                  <a:lnTo>
                    <a:pt x="14033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58" name="Forma livre: Forma 1057">
              <a:extLst>
                <a:ext uri="{FF2B5EF4-FFF2-40B4-BE49-F238E27FC236}">
                  <a16:creationId xmlns:a16="http://schemas.microsoft.com/office/drawing/2014/main" id="{0DB38C18-7600-4AE1-D243-382233CE34B9}"/>
                </a:ext>
              </a:extLst>
            </p:cNvPr>
            <p:cNvSpPr/>
            <p:nvPr/>
          </p:nvSpPr>
          <p:spPr>
            <a:xfrm>
              <a:off x="10561989" y="3180774"/>
              <a:ext cx="14033" cy="14033"/>
            </a:xfrm>
            <a:custGeom>
              <a:avLst/>
              <a:gdLst>
                <a:gd name="connsiteX0" fmla="*/ 14033 w 14033"/>
                <a:gd name="connsiteY0" fmla="*/ 14033 h 14033"/>
                <a:gd name="connsiteX1" fmla="*/ 0 w 14033"/>
                <a:gd name="connsiteY1" fmla="*/ 0 h 14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4033" h="14033">
                  <a:moveTo>
                    <a:pt x="14033" y="14033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59" name="Forma livre: Forma 1058">
              <a:extLst>
                <a:ext uri="{FF2B5EF4-FFF2-40B4-BE49-F238E27FC236}">
                  <a16:creationId xmlns:a16="http://schemas.microsoft.com/office/drawing/2014/main" id="{2AD011F9-AA98-1908-7647-C59965C42311}"/>
                </a:ext>
              </a:extLst>
            </p:cNvPr>
            <p:cNvSpPr/>
            <p:nvPr/>
          </p:nvSpPr>
          <p:spPr>
            <a:xfrm>
              <a:off x="10757463" y="3376260"/>
              <a:ext cx="14045" cy="14033"/>
            </a:xfrm>
            <a:custGeom>
              <a:avLst/>
              <a:gdLst>
                <a:gd name="connsiteX0" fmla="*/ 14045 w 14045"/>
                <a:gd name="connsiteY0" fmla="*/ 14033 h 14033"/>
                <a:gd name="connsiteX1" fmla="*/ 0 w 14045"/>
                <a:gd name="connsiteY1" fmla="*/ 0 h 14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4045" h="14033">
                  <a:moveTo>
                    <a:pt x="14045" y="14033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60" name="Forma livre: Forma 1059">
              <a:extLst>
                <a:ext uri="{FF2B5EF4-FFF2-40B4-BE49-F238E27FC236}">
                  <a16:creationId xmlns:a16="http://schemas.microsoft.com/office/drawing/2014/main" id="{9C5BC18A-E1B3-AD98-6294-C7B207F06D6A}"/>
                </a:ext>
              </a:extLst>
            </p:cNvPr>
            <p:cNvSpPr/>
            <p:nvPr/>
          </p:nvSpPr>
          <p:spPr>
            <a:xfrm>
              <a:off x="10795049" y="3285534"/>
              <a:ext cx="19849" cy="1206"/>
            </a:xfrm>
            <a:custGeom>
              <a:avLst/>
              <a:gdLst>
                <a:gd name="connsiteX0" fmla="*/ 0 w 19849"/>
                <a:gd name="connsiteY0" fmla="*/ 0 h 1206"/>
                <a:gd name="connsiteX1" fmla="*/ 19849 w 19849"/>
                <a:gd name="connsiteY1" fmla="*/ 0 h 12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9849" h="1206">
                  <a:moveTo>
                    <a:pt x="0" y="0"/>
                  </a:moveTo>
                  <a:lnTo>
                    <a:pt x="19849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61" name="Forma livre: Forma 1060">
              <a:extLst>
                <a:ext uri="{FF2B5EF4-FFF2-40B4-BE49-F238E27FC236}">
                  <a16:creationId xmlns:a16="http://schemas.microsoft.com/office/drawing/2014/main" id="{6B4090D0-926F-A0F4-5D4A-B6B8166C8F8F}"/>
                </a:ext>
              </a:extLst>
            </p:cNvPr>
            <p:cNvSpPr/>
            <p:nvPr/>
          </p:nvSpPr>
          <p:spPr>
            <a:xfrm>
              <a:off x="10518598" y="3285534"/>
              <a:ext cx="19849" cy="1206"/>
            </a:xfrm>
            <a:custGeom>
              <a:avLst/>
              <a:gdLst>
                <a:gd name="connsiteX0" fmla="*/ 0 w 19849"/>
                <a:gd name="connsiteY0" fmla="*/ 0 h 1206"/>
                <a:gd name="connsiteX1" fmla="*/ 19849 w 19849"/>
                <a:gd name="connsiteY1" fmla="*/ 0 h 12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9849" h="1206">
                  <a:moveTo>
                    <a:pt x="0" y="0"/>
                  </a:moveTo>
                  <a:lnTo>
                    <a:pt x="19849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62" name="Forma livre: Forma 1061">
              <a:extLst>
                <a:ext uri="{FF2B5EF4-FFF2-40B4-BE49-F238E27FC236}">
                  <a16:creationId xmlns:a16="http://schemas.microsoft.com/office/drawing/2014/main" id="{3BF46F96-2EF3-B23A-3225-17CE8DECC90D}"/>
                </a:ext>
              </a:extLst>
            </p:cNvPr>
            <p:cNvSpPr/>
            <p:nvPr/>
          </p:nvSpPr>
          <p:spPr>
            <a:xfrm>
              <a:off x="10597463" y="3281793"/>
              <a:ext cx="7469" cy="7481"/>
            </a:xfrm>
            <a:custGeom>
              <a:avLst/>
              <a:gdLst>
                <a:gd name="connsiteX0" fmla="*/ 7469 w 7469"/>
                <a:gd name="connsiteY0" fmla="*/ 3741 h 7481"/>
                <a:gd name="connsiteX1" fmla="*/ 3741 w 7469"/>
                <a:gd name="connsiteY1" fmla="*/ 7481 h 7481"/>
                <a:gd name="connsiteX2" fmla="*/ 0 w 7469"/>
                <a:gd name="connsiteY2" fmla="*/ 3741 h 7481"/>
                <a:gd name="connsiteX3" fmla="*/ 3741 w 7469"/>
                <a:gd name="connsiteY3" fmla="*/ 0 h 7481"/>
                <a:gd name="connsiteX4" fmla="*/ 7469 w 7469"/>
                <a:gd name="connsiteY4" fmla="*/ 3741 h 74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469" h="7481">
                  <a:moveTo>
                    <a:pt x="7469" y="3741"/>
                  </a:moveTo>
                  <a:cubicBezTo>
                    <a:pt x="7469" y="5804"/>
                    <a:pt x="5816" y="7481"/>
                    <a:pt x="3741" y="7481"/>
                  </a:cubicBezTo>
                  <a:cubicBezTo>
                    <a:pt x="1665" y="7481"/>
                    <a:pt x="0" y="5816"/>
                    <a:pt x="0" y="3741"/>
                  </a:cubicBezTo>
                  <a:cubicBezTo>
                    <a:pt x="0" y="1665"/>
                    <a:pt x="1677" y="0"/>
                    <a:pt x="3741" y="0"/>
                  </a:cubicBezTo>
                  <a:cubicBezTo>
                    <a:pt x="5804" y="0"/>
                    <a:pt x="7469" y="1665"/>
                    <a:pt x="7469" y="3741"/>
                  </a:cubicBezTo>
                  <a:close/>
                </a:path>
              </a:pathLst>
            </a:custGeom>
            <a:solidFill>
              <a:srgbClr val="394552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63" name="Forma livre: Forma 1062">
              <a:extLst>
                <a:ext uri="{FF2B5EF4-FFF2-40B4-BE49-F238E27FC236}">
                  <a16:creationId xmlns:a16="http://schemas.microsoft.com/office/drawing/2014/main" id="{EEB15993-1C5D-AA78-4292-E886793279EC}"/>
                </a:ext>
              </a:extLst>
            </p:cNvPr>
            <p:cNvSpPr/>
            <p:nvPr/>
          </p:nvSpPr>
          <p:spPr>
            <a:xfrm>
              <a:off x="10728564" y="3281793"/>
              <a:ext cx="7469" cy="7481"/>
            </a:xfrm>
            <a:custGeom>
              <a:avLst/>
              <a:gdLst>
                <a:gd name="connsiteX0" fmla="*/ 7469 w 7469"/>
                <a:gd name="connsiteY0" fmla="*/ 3741 h 7481"/>
                <a:gd name="connsiteX1" fmla="*/ 3741 w 7469"/>
                <a:gd name="connsiteY1" fmla="*/ 7481 h 7481"/>
                <a:gd name="connsiteX2" fmla="*/ 0 w 7469"/>
                <a:gd name="connsiteY2" fmla="*/ 3741 h 7481"/>
                <a:gd name="connsiteX3" fmla="*/ 3741 w 7469"/>
                <a:gd name="connsiteY3" fmla="*/ 0 h 7481"/>
                <a:gd name="connsiteX4" fmla="*/ 7469 w 7469"/>
                <a:gd name="connsiteY4" fmla="*/ 3741 h 74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469" h="7481">
                  <a:moveTo>
                    <a:pt x="7469" y="3741"/>
                  </a:moveTo>
                  <a:cubicBezTo>
                    <a:pt x="7469" y="5804"/>
                    <a:pt x="5816" y="7481"/>
                    <a:pt x="3741" y="7481"/>
                  </a:cubicBezTo>
                  <a:cubicBezTo>
                    <a:pt x="1665" y="7481"/>
                    <a:pt x="0" y="5816"/>
                    <a:pt x="0" y="3741"/>
                  </a:cubicBezTo>
                  <a:cubicBezTo>
                    <a:pt x="0" y="1665"/>
                    <a:pt x="1677" y="0"/>
                    <a:pt x="3741" y="0"/>
                  </a:cubicBezTo>
                  <a:cubicBezTo>
                    <a:pt x="5804" y="0"/>
                    <a:pt x="7469" y="1665"/>
                    <a:pt x="7469" y="3741"/>
                  </a:cubicBezTo>
                  <a:close/>
                </a:path>
              </a:pathLst>
            </a:custGeom>
            <a:solidFill>
              <a:srgbClr val="394552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064" name="Gráfico 11">
            <a:extLst>
              <a:ext uri="{FF2B5EF4-FFF2-40B4-BE49-F238E27FC236}">
                <a16:creationId xmlns:a16="http://schemas.microsoft.com/office/drawing/2014/main" id="{B32CFDE5-B5CE-974E-600C-612E12D7BA40}"/>
              </a:ext>
            </a:extLst>
          </p:cNvPr>
          <p:cNvGrpSpPr/>
          <p:nvPr/>
        </p:nvGrpSpPr>
        <p:grpSpPr>
          <a:xfrm>
            <a:off x="10506496" y="2084043"/>
            <a:ext cx="320517" cy="263684"/>
            <a:chOff x="10506496" y="2084043"/>
            <a:chExt cx="320517" cy="263684"/>
          </a:xfrm>
          <a:noFill/>
        </p:grpSpPr>
        <p:sp>
          <p:nvSpPr>
            <p:cNvPr id="1065" name="Forma livre: Forma 1064">
              <a:extLst>
                <a:ext uri="{FF2B5EF4-FFF2-40B4-BE49-F238E27FC236}">
                  <a16:creationId xmlns:a16="http://schemas.microsoft.com/office/drawing/2014/main" id="{50BA7896-ED0E-C51D-B8F2-A51A49EEC8B6}"/>
                </a:ext>
              </a:extLst>
            </p:cNvPr>
            <p:cNvSpPr/>
            <p:nvPr/>
          </p:nvSpPr>
          <p:spPr>
            <a:xfrm>
              <a:off x="10506496" y="2142987"/>
              <a:ext cx="320517" cy="133525"/>
            </a:xfrm>
            <a:custGeom>
              <a:avLst/>
              <a:gdLst>
                <a:gd name="connsiteX0" fmla="*/ 240385 w 320517"/>
                <a:gd name="connsiteY0" fmla="*/ 97 h 133525"/>
                <a:gd name="connsiteX1" fmla="*/ 320517 w 320517"/>
                <a:gd name="connsiteY1" fmla="*/ 62033 h 133525"/>
                <a:gd name="connsiteX2" fmla="*/ 160253 w 320517"/>
                <a:gd name="connsiteY2" fmla="*/ 133526 h 133525"/>
                <a:gd name="connsiteX3" fmla="*/ 0 w 320517"/>
                <a:gd name="connsiteY3" fmla="*/ 62033 h 133525"/>
                <a:gd name="connsiteX4" fmla="*/ 80518 w 320517"/>
                <a:gd name="connsiteY4" fmla="*/ 0 h 133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20517" h="133525">
                  <a:moveTo>
                    <a:pt x="240385" y="97"/>
                  </a:moveTo>
                  <a:cubicBezTo>
                    <a:pt x="288288" y="12465"/>
                    <a:pt x="320517" y="35559"/>
                    <a:pt x="320517" y="62033"/>
                  </a:cubicBezTo>
                  <a:cubicBezTo>
                    <a:pt x="320517" y="101526"/>
                    <a:pt x="248759" y="133526"/>
                    <a:pt x="160253" y="133526"/>
                  </a:cubicBezTo>
                  <a:cubicBezTo>
                    <a:pt x="71746" y="133526"/>
                    <a:pt x="0" y="101514"/>
                    <a:pt x="0" y="62033"/>
                  </a:cubicBezTo>
                  <a:cubicBezTo>
                    <a:pt x="0" y="35499"/>
                    <a:pt x="32398" y="12332"/>
                    <a:pt x="80518" y="0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66" name="Forma livre: Forma 1065">
              <a:extLst>
                <a:ext uri="{FF2B5EF4-FFF2-40B4-BE49-F238E27FC236}">
                  <a16:creationId xmlns:a16="http://schemas.microsoft.com/office/drawing/2014/main" id="{F57AAEF7-E1DB-7EAE-3520-A49E920452D5}"/>
                </a:ext>
              </a:extLst>
            </p:cNvPr>
            <p:cNvSpPr/>
            <p:nvPr/>
          </p:nvSpPr>
          <p:spPr>
            <a:xfrm>
              <a:off x="10531461" y="2277358"/>
              <a:ext cx="270562" cy="33146"/>
            </a:xfrm>
            <a:custGeom>
              <a:avLst/>
              <a:gdLst>
                <a:gd name="connsiteX0" fmla="*/ 270563 w 270562"/>
                <a:gd name="connsiteY0" fmla="*/ 0 h 33146"/>
                <a:gd name="connsiteX1" fmla="*/ 135275 w 270562"/>
                <a:gd name="connsiteY1" fmla="*/ 33146 h 33146"/>
                <a:gd name="connsiteX2" fmla="*/ 0 w 270562"/>
                <a:gd name="connsiteY2" fmla="*/ 0 h 331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70562" h="33146">
                  <a:moveTo>
                    <a:pt x="270563" y="0"/>
                  </a:moveTo>
                  <a:cubicBezTo>
                    <a:pt x="242110" y="19933"/>
                    <a:pt x="192156" y="33146"/>
                    <a:pt x="135275" y="33146"/>
                  </a:cubicBezTo>
                  <a:cubicBezTo>
                    <a:pt x="78395" y="33146"/>
                    <a:pt x="28452" y="19933"/>
                    <a:pt x="0" y="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67" name="Forma livre: Forma 1066">
              <a:extLst>
                <a:ext uri="{FF2B5EF4-FFF2-40B4-BE49-F238E27FC236}">
                  <a16:creationId xmlns:a16="http://schemas.microsoft.com/office/drawing/2014/main" id="{3D29221E-1691-C7CF-7B29-7460139D6C73}"/>
                </a:ext>
              </a:extLst>
            </p:cNvPr>
            <p:cNvSpPr/>
            <p:nvPr/>
          </p:nvSpPr>
          <p:spPr>
            <a:xfrm>
              <a:off x="10506496" y="2198806"/>
              <a:ext cx="320505" cy="148922"/>
            </a:xfrm>
            <a:custGeom>
              <a:avLst/>
              <a:gdLst>
                <a:gd name="connsiteX0" fmla="*/ 320505 w 320505"/>
                <a:gd name="connsiteY0" fmla="*/ 6202 h 148922"/>
                <a:gd name="connsiteX1" fmla="*/ 320505 w 320505"/>
                <a:gd name="connsiteY1" fmla="*/ 77429 h 148922"/>
                <a:gd name="connsiteX2" fmla="*/ 160253 w 320505"/>
                <a:gd name="connsiteY2" fmla="*/ 148922 h 148922"/>
                <a:gd name="connsiteX3" fmla="*/ 0 w 320505"/>
                <a:gd name="connsiteY3" fmla="*/ 77429 h 148922"/>
                <a:gd name="connsiteX4" fmla="*/ 0 w 320505"/>
                <a:gd name="connsiteY4" fmla="*/ 0 h 1489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20505" h="148922">
                  <a:moveTo>
                    <a:pt x="320505" y="6202"/>
                  </a:moveTo>
                  <a:lnTo>
                    <a:pt x="320505" y="77429"/>
                  </a:lnTo>
                  <a:cubicBezTo>
                    <a:pt x="320505" y="116922"/>
                    <a:pt x="248759" y="148922"/>
                    <a:pt x="160253" y="148922"/>
                  </a:cubicBezTo>
                  <a:cubicBezTo>
                    <a:pt x="71746" y="148922"/>
                    <a:pt x="0" y="116910"/>
                    <a:pt x="0" y="77429"/>
                  </a:cubicBezTo>
                  <a:lnTo>
                    <a:pt x="0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068" name="Gráfico 11">
              <a:extLst>
                <a:ext uri="{FF2B5EF4-FFF2-40B4-BE49-F238E27FC236}">
                  <a16:creationId xmlns:a16="http://schemas.microsoft.com/office/drawing/2014/main" id="{214D26B6-92A2-2D17-D3F7-0AA0FD165699}"/>
                </a:ext>
              </a:extLst>
            </p:cNvPr>
            <p:cNvGrpSpPr/>
            <p:nvPr/>
          </p:nvGrpSpPr>
          <p:grpSpPr>
            <a:xfrm>
              <a:off x="10654803" y="2137183"/>
              <a:ext cx="23891" cy="79842"/>
              <a:chOff x="10654803" y="2137183"/>
              <a:chExt cx="23891" cy="79842"/>
            </a:xfrm>
          </p:grpSpPr>
          <p:sp>
            <p:nvSpPr>
              <p:cNvPr id="1069" name="Forma livre: Forma 1068">
                <a:extLst>
                  <a:ext uri="{FF2B5EF4-FFF2-40B4-BE49-F238E27FC236}">
                    <a16:creationId xmlns:a16="http://schemas.microsoft.com/office/drawing/2014/main" id="{62672B54-35A6-B37F-10FA-019EF1FF99D8}"/>
                  </a:ext>
                </a:extLst>
              </p:cNvPr>
              <p:cNvSpPr/>
              <p:nvPr/>
            </p:nvSpPr>
            <p:spPr>
              <a:xfrm>
                <a:off x="10678694" y="2137183"/>
                <a:ext cx="1206" cy="79842"/>
              </a:xfrm>
              <a:custGeom>
                <a:avLst/>
                <a:gdLst>
                  <a:gd name="connsiteX0" fmla="*/ 0 w 1206"/>
                  <a:gd name="connsiteY0" fmla="*/ 0 h 79842"/>
                  <a:gd name="connsiteX1" fmla="*/ 0 w 1206"/>
                  <a:gd name="connsiteY1" fmla="*/ 79843 h 798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06" h="79842">
                    <a:moveTo>
                      <a:pt x="0" y="0"/>
                    </a:moveTo>
                    <a:lnTo>
                      <a:pt x="0" y="79843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070" name="Forma livre: Forma 1069">
                <a:extLst>
                  <a:ext uri="{FF2B5EF4-FFF2-40B4-BE49-F238E27FC236}">
                    <a16:creationId xmlns:a16="http://schemas.microsoft.com/office/drawing/2014/main" id="{E8240548-EEA8-C579-6B86-975D21DEC7A4}"/>
                  </a:ext>
                </a:extLst>
              </p:cNvPr>
              <p:cNvSpPr/>
              <p:nvPr/>
            </p:nvSpPr>
            <p:spPr>
              <a:xfrm>
                <a:off x="10654803" y="2153956"/>
                <a:ext cx="1206" cy="63070"/>
              </a:xfrm>
              <a:custGeom>
                <a:avLst/>
                <a:gdLst>
                  <a:gd name="connsiteX0" fmla="*/ 0 w 1206"/>
                  <a:gd name="connsiteY0" fmla="*/ 63071 h 63070"/>
                  <a:gd name="connsiteX1" fmla="*/ 0 w 1206"/>
                  <a:gd name="connsiteY1" fmla="*/ 0 h 630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06" h="63070">
                    <a:moveTo>
                      <a:pt x="0" y="63071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071" name="Forma livre: Forma 1070">
              <a:extLst>
                <a:ext uri="{FF2B5EF4-FFF2-40B4-BE49-F238E27FC236}">
                  <a16:creationId xmlns:a16="http://schemas.microsoft.com/office/drawing/2014/main" id="{156CC3C9-088C-C944-2B1B-63994B7D8451}"/>
                </a:ext>
              </a:extLst>
            </p:cNvPr>
            <p:cNvSpPr/>
            <p:nvPr/>
          </p:nvSpPr>
          <p:spPr>
            <a:xfrm>
              <a:off x="10648540" y="2110336"/>
              <a:ext cx="36404" cy="26292"/>
            </a:xfrm>
            <a:custGeom>
              <a:avLst/>
              <a:gdLst>
                <a:gd name="connsiteX0" fmla="*/ 0 w 36404"/>
                <a:gd name="connsiteY0" fmla="*/ 0 h 26292"/>
                <a:gd name="connsiteX1" fmla="*/ 36404 w 36404"/>
                <a:gd name="connsiteY1" fmla="*/ 0 h 26292"/>
                <a:gd name="connsiteX2" fmla="*/ 36404 w 36404"/>
                <a:gd name="connsiteY2" fmla="*/ 26292 h 26292"/>
                <a:gd name="connsiteX3" fmla="*/ 0 w 36404"/>
                <a:gd name="connsiteY3" fmla="*/ 26292 h 262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404" h="26292">
                  <a:moveTo>
                    <a:pt x="0" y="0"/>
                  </a:moveTo>
                  <a:lnTo>
                    <a:pt x="36404" y="0"/>
                  </a:lnTo>
                  <a:lnTo>
                    <a:pt x="36404" y="26292"/>
                  </a:lnTo>
                  <a:lnTo>
                    <a:pt x="0" y="26292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72" name="Forma livre: Forma 1071">
              <a:extLst>
                <a:ext uri="{FF2B5EF4-FFF2-40B4-BE49-F238E27FC236}">
                  <a16:creationId xmlns:a16="http://schemas.microsoft.com/office/drawing/2014/main" id="{120A4F68-1F29-A9DC-4923-DDFC3B0A9B61}"/>
                </a:ext>
              </a:extLst>
            </p:cNvPr>
            <p:cNvSpPr/>
            <p:nvPr/>
          </p:nvSpPr>
          <p:spPr>
            <a:xfrm>
              <a:off x="10645294" y="2218233"/>
              <a:ext cx="42907" cy="24892"/>
            </a:xfrm>
            <a:custGeom>
              <a:avLst/>
              <a:gdLst>
                <a:gd name="connsiteX0" fmla="*/ 0 w 42907"/>
                <a:gd name="connsiteY0" fmla="*/ 24893 h 24892"/>
                <a:gd name="connsiteX1" fmla="*/ 0 w 42907"/>
                <a:gd name="connsiteY1" fmla="*/ 0 h 24892"/>
                <a:gd name="connsiteX2" fmla="*/ 42908 w 42907"/>
                <a:gd name="connsiteY2" fmla="*/ 0 h 24892"/>
                <a:gd name="connsiteX3" fmla="*/ 42908 w 42907"/>
                <a:gd name="connsiteY3" fmla="*/ 24893 h 248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2907" h="24892">
                  <a:moveTo>
                    <a:pt x="0" y="24893"/>
                  </a:moveTo>
                  <a:lnTo>
                    <a:pt x="0" y="0"/>
                  </a:lnTo>
                  <a:lnTo>
                    <a:pt x="42908" y="0"/>
                  </a:lnTo>
                  <a:lnTo>
                    <a:pt x="42908" y="24893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073" name="Gráfico 11">
              <a:extLst>
                <a:ext uri="{FF2B5EF4-FFF2-40B4-BE49-F238E27FC236}">
                  <a16:creationId xmlns:a16="http://schemas.microsoft.com/office/drawing/2014/main" id="{7033BB66-3EE4-C103-EB7C-908F89C1E664}"/>
                </a:ext>
              </a:extLst>
            </p:cNvPr>
            <p:cNvGrpSpPr/>
            <p:nvPr/>
          </p:nvGrpSpPr>
          <p:grpSpPr>
            <a:xfrm>
              <a:off x="10607273" y="2112701"/>
              <a:ext cx="118949" cy="21031"/>
              <a:chOff x="10607273" y="2112701"/>
              <a:chExt cx="118949" cy="21031"/>
            </a:xfrm>
          </p:grpSpPr>
          <p:grpSp>
            <p:nvGrpSpPr>
              <p:cNvPr id="1074" name="Gráfico 11">
                <a:extLst>
                  <a:ext uri="{FF2B5EF4-FFF2-40B4-BE49-F238E27FC236}">
                    <a16:creationId xmlns:a16="http://schemas.microsoft.com/office/drawing/2014/main" id="{F1B2ACC8-8EC5-1449-4A60-3BC119DA44F7}"/>
                  </a:ext>
                </a:extLst>
              </p:cNvPr>
              <p:cNvGrpSpPr/>
              <p:nvPr/>
            </p:nvGrpSpPr>
            <p:grpSpPr>
              <a:xfrm>
                <a:off x="10607273" y="2112701"/>
                <a:ext cx="41339" cy="21031"/>
                <a:chOff x="10607273" y="2112701"/>
                <a:chExt cx="41339" cy="21031"/>
              </a:xfrm>
            </p:grpSpPr>
            <p:sp>
              <p:nvSpPr>
                <p:cNvPr id="1075" name="Forma livre: Forma 1074">
                  <a:extLst>
                    <a:ext uri="{FF2B5EF4-FFF2-40B4-BE49-F238E27FC236}">
                      <a16:creationId xmlns:a16="http://schemas.microsoft.com/office/drawing/2014/main" id="{8BD766A8-75B2-076D-E9F9-044D0316A789}"/>
                    </a:ext>
                  </a:extLst>
                </p:cNvPr>
                <p:cNvSpPr/>
                <p:nvPr/>
              </p:nvSpPr>
              <p:spPr>
                <a:xfrm>
                  <a:off x="10607708" y="2123211"/>
                  <a:ext cx="40904" cy="1206"/>
                </a:xfrm>
                <a:custGeom>
                  <a:avLst/>
                  <a:gdLst>
                    <a:gd name="connsiteX0" fmla="*/ 0 w 40904"/>
                    <a:gd name="connsiteY0" fmla="*/ 0 h 1206"/>
                    <a:gd name="connsiteX1" fmla="*/ 40905 w 40904"/>
                    <a:gd name="connsiteY1" fmla="*/ 0 h 120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0904" h="1206">
                      <a:moveTo>
                        <a:pt x="0" y="0"/>
                      </a:moveTo>
                      <a:lnTo>
                        <a:pt x="40905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076" name="Forma livre: Forma 1075">
                  <a:extLst>
                    <a:ext uri="{FF2B5EF4-FFF2-40B4-BE49-F238E27FC236}">
                      <a16:creationId xmlns:a16="http://schemas.microsoft.com/office/drawing/2014/main" id="{86526703-125F-61D3-75DA-BFD90ADAAEBB}"/>
                    </a:ext>
                  </a:extLst>
                </p:cNvPr>
                <p:cNvSpPr/>
                <p:nvPr/>
              </p:nvSpPr>
              <p:spPr>
                <a:xfrm>
                  <a:off x="10607273" y="2112701"/>
                  <a:ext cx="1206" cy="21031"/>
                </a:xfrm>
                <a:custGeom>
                  <a:avLst/>
                  <a:gdLst>
                    <a:gd name="connsiteX0" fmla="*/ 0 w 1206"/>
                    <a:gd name="connsiteY0" fmla="*/ 0 h 21031"/>
                    <a:gd name="connsiteX1" fmla="*/ 0 w 1206"/>
                    <a:gd name="connsiteY1" fmla="*/ 21032 h 2103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206" h="21031">
                      <a:moveTo>
                        <a:pt x="0" y="0"/>
                      </a:moveTo>
                      <a:lnTo>
                        <a:pt x="0" y="21032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1077" name="Gráfico 11">
                <a:extLst>
                  <a:ext uri="{FF2B5EF4-FFF2-40B4-BE49-F238E27FC236}">
                    <a16:creationId xmlns:a16="http://schemas.microsoft.com/office/drawing/2014/main" id="{D8762B60-013A-7C1A-9C70-65E9986E4387}"/>
                  </a:ext>
                </a:extLst>
              </p:cNvPr>
              <p:cNvGrpSpPr/>
              <p:nvPr/>
            </p:nvGrpSpPr>
            <p:grpSpPr>
              <a:xfrm>
                <a:off x="10684751" y="2112701"/>
                <a:ext cx="41471" cy="21031"/>
                <a:chOff x="10684751" y="2112701"/>
                <a:chExt cx="41471" cy="21031"/>
              </a:xfrm>
            </p:grpSpPr>
            <p:sp>
              <p:nvSpPr>
                <p:cNvPr id="1078" name="Forma livre: Forma 1077">
                  <a:extLst>
                    <a:ext uri="{FF2B5EF4-FFF2-40B4-BE49-F238E27FC236}">
                      <a16:creationId xmlns:a16="http://schemas.microsoft.com/office/drawing/2014/main" id="{7BF713B7-74C0-8E2F-3D6D-BFC59C635BF0}"/>
                    </a:ext>
                  </a:extLst>
                </p:cNvPr>
                <p:cNvSpPr/>
                <p:nvPr/>
              </p:nvSpPr>
              <p:spPr>
                <a:xfrm>
                  <a:off x="10684751" y="2123211"/>
                  <a:ext cx="41037" cy="1206"/>
                </a:xfrm>
                <a:custGeom>
                  <a:avLst/>
                  <a:gdLst>
                    <a:gd name="connsiteX0" fmla="*/ 41037 w 41037"/>
                    <a:gd name="connsiteY0" fmla="*/ 0 h 1206"/>
                    <a:gd name="connsiteX1" fmla="*/ 0 w 41037"/>
                    <a:gd name="connsiteY1" fmla="*/ 0 h 120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1037" h="1206">
                      <a:moveTo>
                        <a:pt x="41037" y="0"/>
                      </a:moveTo>
                      <a:lnTo>
                        <a:pt x="0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079" name="Forma livre: Forma 1078">
                  <a:extLst>
                    <a:ext uri="{FF2B5EF4-FFF2-40B4-BE49-F238E27FC236}">
                      <a16:creationId xmlns:a16="http://schemas.microsoft.com/office/drawing/2014/main" id="{306B79CC-C418-5224-11CC-AAC96C4C6074}"/>
                    </a:ext>
                  </a:extLst>
                </p:cNvPr>
                <p:cNvSpPr/>
                <p:nvPr/>
              </p:nvSpPr>
              <p:spPr>
                <a:xfrm>
                  <a:off x="10726223" y="2112701"/>
                  <a:ext cx="1206" cy="21031"/>
                </a:xfrm>
                <a:custGeom>
                  <a:avLst/>
                  <a:gdLst>
                    <a:gd name="connsiteX0" fmla="*/ 0 w 1206"/>
                    <a:gd name="connsiteY0" fmla="*/ 21032 h 21031"/>
                    <a:gd name="connsiteX1" fmla="*/ 0 w 1206"/>
                    <a:gd name="connsiteY1" fmla="*/ 0 h 2103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206" h="21031">
                      <a:moveTo>
                        <a:pt x="0" y="21032"/>
                      </a:moveTo>
                      <a:lnTo>
                        <a:pt x="0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grpSp>
          <p:nvGrpSpPr>
            <p:cNvPr id="1080" name="Gráfico 11">
              <a:extLst>
                <a:ext uri="{FF2B5EF4-FFF2-40B4-BE49-F238E27FC236}">
                  <a16:creationId xmlns:a16="http://schemas.microsoft.com/office/drawing/2014/main" id="{6A1DFE61-B745-5E09-F0DF-8DAF9D3F8900}"/>
                </a:ext>
              </a:extLst>
            </p:cNvPr>
            <p:cNvGrpSpPr/>
            <p:nvPr/>
          </p:nvGrpSpPr>
          <p:grpSpPr>
            <a:xfrm>
              <a:off x="10656226" y="2084043"/>
              <a:ext cx="21043" cy="25122"/>
              <a:chOff x="10656226" y="2084043"/>
              <a:chExt cx="21043" cy="25122"/>
            </a:xfrm>
          </p:grpSpPr>
          <p:sp>
            <p:nvSpPr>
              <p:cNvPr id="1081" name="Forma livre: Forma 1080">
                <a:extLst>
                  <a:ext uri="{FF2B5EF4-FFF2-40B4-BE49-F238E27FC236}">
                    <a16:creationId xmlns:a16="http://schemas.microsoft.com/office/drawing/2014/main" id="{ECAD4A70-DE64-73C3-0B24-DD9E565AD7BD}"/>
                  </a:ext>
                </a:extLst>
              </p:cNvPr>
              <p:cNvSpPr/>
              <p:nvPr/>
            </p:nvSpPr>
            <p:spPr>
              <a:xfrm>
                <a:off x="10666748" y="2084490"/>
                <a:ext cx="1206" cy="24675"/>
              </a:xfrm>
              <a:custGeom>
                <a:avLst/>
                <a:gdLst>
                  <a:gd name="connsiteX0" fmla="*/ 0 w 1206"/>
                  <a:gd name="connsiteY0" fmla="*/ 0 h 24675"/>
                  <a:gd name="connsiteX1" fmla="*/ 0 w 1206"/>
                  <a:gd name="connsiteY1" fmla="*/ 24676 h 246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06" h="24675">
                    <a:moveTo>
                      <a:pt x="0" y="0"/>
                    </a:moveTo>
                    <a:lnTo>
                      <a:pt x="0" y="24676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082" name="Forma livre: Forma 1081">
                <a:extLst>
                  <a:ext uri="{FF2B5EF4-FFF2-40B4-BE49-F238E27FC236}">
                    <a16:creationId xmlns:a16="http://schemas.microsoft.com/office/drawing/2014/main" id="{E68D0912-40CB-6D91-AD0C-581B0C45A75D}"/>
                  </a:ext>
                </a:extLst>
              </p:cNvPr>
              <p:cNvSpPr/>
              <p:nvPr/>
            </p:nvSpPr>
            <p:spPr>
              <a:xfrm>
                <a:off x="10656226" y="2084043"/>
                <a:ext cx="21043" cy="1206"/>
              </a:xfrm>
              <a:custGeom>
                <a:avLst/>
                <a:gdLst>
                  <a:gd name="connsiteX0" fmla="*/ 21044 w 21043"/>
                  <a:gd name="connsiteY0" fmla="*/ 0 h 1206"/>
                  <a:gd name="connsiteX1" fmla="*/ 0 w 21043"/>
                  <a:gd name="connsiteY1" fmla="*/ 0 h 12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1043" h="1206">
                    <a:moveTo>
                      <a:pt x="21044" y="0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083" name="Gráfico 11">
              <a:extLst>
                <a:ext uri="{FF2B5EF4-FFF2-40B4-BE49-F238E27FC236}">
                  <a16:creationId xmlns:a16="http://schemas.microsoft.com/office/drawing/2014/main" id="{231A4515-828F-D84F-5FA8-36800B6549E8}"/>
                </a:ext>
              </a:extLst>
            </p:cNvPr>
            <p:cNvGrpSpPr/>
            <p:nvPr/>
          </p:nvGrpSpPr>
          <p:grpSpPr>
            <a:xfrm>
              <a:off x="10561084" y="2174010"/>
              <a:ext cx="211329" cy="46781"/>
              <a:chOff x="10561084" y="2174010"/>
              <a:chExt cx="211329" cy="46781"/>
            </a:xfrm>
            <a:noFill/>
          </p:grpSpPr>
          <p:sp>
            <p:nvSpPr>
              <p:cNvPr id="1084" name="Forma livre: Forma 1083">
                <a:extLst>
                  <a:ext uri="{FF2B5EF4-FFF2-40B4-BE49-F238E27FC236}">
                    <a16:creationId xmlns:a16="http://schemas.microsoft.com/office/drawing/2014/main" id="{0E97FCC6-22F7-CF49-A869-E46CC8003E3A}"/>
                  </a:ext>
                </a:extLst>
              </p:cNvPr>
              <p:cNvSpPr/>
              <p:nvPr/>
            </p:nvSpPr>
            <p:spPr>
              <a:xfrm>
                <a:off x="10561084" y="2174010"/>
                <a:ext cx="92669" cy="46781"/>
              </a:xfrm>
              <a:custGeom>
                <a:avLst/>
                <a:gdLst>
                  <a:gd name="connsiteX0" fmla="*/ 0 w 92669"/>
                  <a:gd name="connsiteY0" fmla="*/ 46781 h 46781"/>
                  <a:gd name="connsiteX1" fmla="*/ 92669 w 92669"/>
                  <a:gd name="connsiteY1" fmla="*/ 0 h 46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2669" h="46781">
                    <a:moveTo>
                      <a:pt x="0" y="46781"/>
                    </a:moveTo>
                    <a:cubicBezTo>
                      <a:pt x="0" y="22709"/>
                      <a:pt x="40446" y="2860"/>
                      <a:pt x="92669" y="0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085" name="Forma livre: Forma 1084">
                <a:extLst>
                  <a:ext uri="{FF2B5EF4-FFF2-40B4-BE49-F238E27FC236}">
                    <a16:creationId xmlns:a16="http://schemas.microsoft.com/office/drawing/2014/main" id="{81FAA054-7E60-830F-6B40-2876C3B300C7}"/>
                  </a:ext>
                </a:extLst>
              </p:cNvPr>
              <p:cNvSpPr/>
              <p:nvPr/>
            </p:nvSpPr>
            <p:spPr>
              <a:xfrm>
                <a:off x="10679744" y="2174010"/>
                <a:ext cx="92669" cy="46781"/>
              </a:xfrm>
              <a:custGeom>
                <a:avLst/>
                <a:gdLst>
                  <a:gd name="connsiteX0" fmla="*/ 92669 w 92669"/>
                  <a:gd name="connsiteY0" fmla="*/ 46781 h 46781"/>
                  <a:gd name="connsiteX1" fmla="*/ 0 w 92669"/>
                  <a:gd name="connsiteY1" fmla="*/ 0 h 46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2669" h="46781">
                    <a:moveTo>
                      <a:pt x="92669" y="46781"/>
                    </a:moveTo>
                    <a:cubicBezTo>
                      <a:pt x="92669" y="22709"/>
                      <a:pt x="52223" y="2860"/>
                      <a:pt x="0" y="0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086" name="Gráfico 11">
            <a:extLst>
              <a:ext uri="{FF2B5EF4-FFF2-40B4-BE49-F238E27FC236}">
                <a16:creationId xmlns:a16="http://schemas.microsoft.com/office/drawing/2014/main" id="{A909B2B7-0B99-E08E-653E-3D914AA051E6}"/>
              </a:ext>
            </a:extLst>
          </p:cNvPr>
          <p:cNvGrpSpPr/>
          <p:nvPr/>
        </p:nvGrpSpPr>
        <p:grpSpPr>
          <a:xfrm>
            <a:off x="10487745" y="1541615"/>
            <a:ext cx="358007" cy="278912"/>
            <a:chOff x="10487745" y="1541615"/>
            <a:chExt cx="358007" cy="278912"/>
          </a:xfrm>
          <a:noFill/>
        </p:grpSpPr>
        <p:sp>
          <p:nvSpPr>
            <p:cNvPr id="1087" name="Forma livre: Forma 1086">
              <a:extLst>
                <a:ext uri="{FF2B5EF4-FFF2-40B4-BE49-F238E27FC236}">
                  <a16:creationId xmlns:a16="http://schemas.microsoft.com/office/drawing/2014/main" id="{E7AA1003-76CC-54EB-7D84-198847182781}"/>
                </a:ext>
              </a:extLst>
            </p:cNvPr>
            <p:cNvSpPr/>
            <p:nvPr/>
          </p:nvSpPr>
          <p:spPr>
            <a:xfrm>
              <a:off x="10488565" y="1614881"/>
              <a:ext cx="217434" cy="136843"/>
            </a:xfrm>
            <a:custGeom>
              <a:avLst/>
              <a:gdLst>
                <a:gd name="connsiteX0" fmla="*/ 102660 w 217434"/>
                <a:gd name="connsiteY0" fmla="*/ 0 h 136843"/>
                <a:gd name="connsiteX1" fmla="*/ 0 w 217434"/>
                <a:gd name="connsiteY1" fmla="*/ 56338 h 136843"/>
                <a:gd name="connsiteX2" fmla="*/ 114328 w 217434"/>
                <a:gd name="connsiteY2" fmla="*/ 136844 h 136843"/>
                <a:gd name="connsiteX3" fmla="*/ 217435 w 217434"/>
                <a:gd name="connsiteY3" fmla="*/ 75620 h 1368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17434" h="136843">
                  <a:moveTo>
                    <a:pt x="102660" y="0"/>
                  </a:moveTo>
                  <a:lnTo>
                    <a:pt x="0" y="56338"/>
                  </a:lnTo>
                  <a:lnTo>
                    <a:pt x="114328" y="136844"/>
                  </a:lnTo>
                  <a:lnTo>
                    <a:pt x="217435" y="75620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88" name="Forma livre: Forma 1087">
              <a:extLst>
                <a:ext uri="{FF2B5EF4-FFF2-40B4-BE49-F238E27FC236}">
                  <a16:creationId xmlns:a16="http://schemas.microsoft.com/office/drawing/2014/main" id="{605807BB-51E4-D697-BC0A-EBF740E0D55B}"/>
                </a:ext>
              </a:extLst>
            </p:cNvPr>
            <p:cNvSpPr/>
            <p:nvPr/>
          </p:nvSpPr>
          <p:spPr>
            <a:xfrm>
              <a:off x="10665964" y="1541615"/>
              <a:ext cx="179655" cy="119528"/>
            </a:xfrm>
            <a:custGeom>
              <a:avLst/>
              <a:gdLst>
                <a:gd name="connsiteX0" fmla="*/ 89484 w 179655"/>
                <a:gd name="connsiteY0" fmla="*/ 119529 h 119528"/>
                <a:gd name="connsiteX1" fmla="*/ 179655 w 179655"/>
                <a:gd name="connsiteY1" fmla="*/ 65979 h 119528"/>
                <a:gd name="connsiteX2" fmla="*/ 58763 w 179655"/>
                <a:gd name="connsiteY2" fmla="*/ 0 h 119528"/>
                <a:gd name="connsiteX3" fmla="*/ 0 w 179655"/>
                <a:gd name="connsiteY3" fmla="*/ 32241 h 1195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9655" h="119528">
                  <a:moveTo>
                    <a:pt x="89484" y="119529"/>
                  </a:moveTo>
                  <a:lnTo>
                    <a:pt x="179655" y="65979"/>
                  </a:lnTo>
                  <a:lnTo>
                    <a:pt x="58763" y="0"/>
                  </a:lnTo>
                  <a:lnTo>
                    <a:pt x="0" y="32241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89" name="Forma livre: Forma 1088">
              <a:extLst>
                <a:ext uri="{FF2B5EF4-FFF2-40B4-BE49-F238E27FC236}">
                  <a16:creationId xmlns:a16="http://schemas.microsoft.com/office/drawing/2014/main" id="{B62043EE-DB64-AEEA-CA14-E13CCA8C22EC}"/>
                </a:ext>
              </a:extLst>
            </p:cNvPr>
            <p:cNvSpPr/>
            <p:nvPr/>
          </p:nvSpPr>
          <p:spPr>
            <a:xfrm>
              <a:off x="10755484" y="1641270"/>
              <a:ext cx="89725" cy="53272"/>
            </a:xfrm>
            <a:custGeom>
              <a:avLst/>
              <a:gdLst>
                <a:gd name="connsiteX0" fmla="*/ 0 w 89725"/>
                <a:gd name="connsiteY0" fmla="*/ 53273 h 53272"/>
                <a:gd name="connsiteX1" fmla="*/ 89725 w 89725"/>
                <a:gd name="connsiteY1" fmla="*/ 0 h 532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9725" h="53272">
                  <a:moveTo>
                    <a:pt x="0" y="53273"/>
                  </a:moveTo>
                  <a:lnTo>
                    <a:pt x="89725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90" name="Forma livre: Forma 1089">
              <a:extLst>
                <a:ext uri="{FF2B5EF4-FFF2-40B4-BE49-F238E27FC236}">
                  <a16:creationId xmlns:a16="http://schemas.microsoft.com/office/drawing/2014/main" id="{FEE418C5-AF05-7F1F-653C-650E0D482E3C}"/>
                </a:ext>
              </a:extLst>
            </p:cNvPr>
            <p:cNvSpPr/>
            <p:nvPr/>
          </p:nvSpPr>
          <p:spPr>
            <a:xfrm>
              <a:off x="10488155" y="1704908"/>
              <a:ext cx="217808" cy="80494"/>
            </a:xfrm>
            <a:custGeom>
              <a:avLst/>
              <a:gdLst>
                <a:gd name="connsiteX0" fmla="*/ 0 w 217808"/>
                <a:gd name="connsiteY0" fmla="*/ 0 h 80494"/>
                <a:gd name="connsiteX1" fmla="*/ 114328 w 217808"/>
                <a:gd name="connsiteY1" fmla="*/ 80494 h 80494"/>
                <a:gd name="connsiteX2" fmla="*/ 217809 w 217808"/>
                <a:gd name="connsiteY2" fmla="*/ 19041 h 804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17808" h="80494">
                  <a:moveTo>
                    <a:pt x="0" y="0"/>
                  </a:moveTo>
                  <a:lnTo>
                    <a:pt x="114328" y="80494"/>
                  </a:lnTo>
                  <a:lnTo>
                    <a:pt x="217809" y="19041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91" name="Forma livre: Forma 1090">
              <a:extLst>
                <a:ext uri="{FF2B5EF4-FFF2-40B4-BE49-F238E27FC236}">
                  <a16:creationId xmlns:a16="http://schemas.microsoft.com/office/drawing/2014/main" id="{28715E96-DEBF-834C-9C05-25D643AA7A35}"/>
                </a:ext>
              </a:extLst>
            </p:cNvPr>
            <p:cNvSpPr/>
            <p:nvPr/>
          </p:nvSpPr>
          <p:spPr>
            <a:xfrm>
              <a:off x="10755267" y="1676407"/>
              <a:ext cx="90485" cy="53719"/>
            </a:xfrm>
            <a:custGeom>
              <a:avLst/>
              <a:gdLst>
                <a:gd name="connsiteX0" fmla="*/ 0 w 90485"/>
                <a:gd name="connsiteY0" fmla="*/ 53719 h 53719"/>
                <a:gd name="connsiteX1" fmla="*/ 90485 w 90485"/>
                <a:gd name="connsiteY1" fmla="*/ 0 h 537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0485" h="53719">
                  <a:moveTo>
                    <a:pt x="0" y="53719"/>
                  </a:moveTo>
                  <a:lnTo>
                    <a:pt x="90485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92" name="Forma livre: Forma 1091">
              <a:extLst>
                <a:ext uri="{FF2B5EF4-FFF2-40B4-BE49-F238E27FC236}">
                  <a16:creationId xmlns:a16="http://schemas.microsoft.com/office/drawing/2014/main" id="{C83A81E8-75BA-4D2A-BE9E-C6165B47AB7F}"/>
                </a:ext>
              </a:extLst>
            </p:cNvPr>
            <p:cNvSpPr/>
            <p:nvPr/>
          </p:nvSpPr>
          <p:spPr>
            <a:xfrm>
              <a:off x="10488698" y="1740021"/>
              <a:ext cx="217410" cy="80506"/>
            </a:xfrm>
            <a:custGeom>
              <a:avLst/>
              <a:gdLst>
                <a:gd name="connsiteX0" fmla="*/ 0 w 217410"/>
                <a:gd name="connsiteY0" fmla="*/ 0 h 80506"/>
                <a:gd name="connsiteX1" fmla="*/ 114340 w 217410"/>
                <a:gd name="connsiteY1" fmla="*/ 80506 h 80506"/>
                <a:gd name="connsiteX2" fmla="*/ 217411 w 217410"/>
                <a:gd name="connsiteY2" fmla="*/ 19306 h 805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17410" h="80506">
                  <a:moveTo>
                    <a:pt x="0" y="0"/>
                  </a:moveTo>
                  <a:lnTo>
                    <a:pt x="114340" y="80506"/>
                  </a:lnTo>
                  <a:lnTo>
                    <a:pt x="217411" y="19306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93" name="Forma livre: Forma 1092">
              <a:extLst>
                <a:ext uri="{FF2B5EF4-FFF2-40B4-BE49-F238E27FC236}">
                  <a16:creationId xmlns:a16="http://schemas.microsoft.com/office/drawing/2014/main" id="{E734F745-5E04-0709-0891-4B1F17403FC9}"/>
                </a:ext>
              </a:extLst>
            </p:cNvPr>
            <p:cNvSpPr/>
            <p:nvPr/>
          </p:nvSpPr>
          <p:spPr>
            <a:xfrm>
              <a:off x="10582646" y="1582121"/>
              <a:ext cx="172379" cy="192312"/>
            </a:xfrm>
            <a:custGeom>
              <a:avLst/>
              <a:gdLst>
                <a:gd name="connsiteX0" fmla="*/ 172259 w 172379"/>
                <a:gd name="connsiteY0" fmla="*/ 162244 h 192312"/>
                <a:gd name="connsiteX1" fmla="*/ 172379 w 172379"/>
                <a:gd name="connsiteY1" fmla="*/ 78696 h 192312"/>
                <a:gd name="connsiteX2" fmla="*/ 47312 w 172379"/>
                <a:gd name="connsiteY2" fmla="*/ 0 h 192312"/>
                <a:gd name="connsiteX3" fmla="*/ 0 w 172379"/>
                <a:gd name="connsiteY3" fmla="*/ 26377 h 192312"/>
                <a:gd name="connsiteX4" fmla="*/ 123836 w 172379"/>
                <a:gd name="connsiteY4" fmla="*/ 107668 h 192312"/>
                <a:gd name="connsiteX5" fmla="*/ 123836 w 172379"/>
                <a:gd name="connsiteY5" fmla="*/ 192313 h 192312"/>
                <a:gd name="connsiteX6" fmla="*/ 172259 w 172379"/>
                <a:gd name="connsiteY6" fmla="*/ 162244 h 1923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72379" h="192312">
                  <a:moveTo>
                    <a:pt x="172259" y="162244"/>
                  </a:moveTo>
                  <a:lnTo>
                    <a:pt x="172379" y="78696"/>
                  </a:lnTo>
                  <a:lnTo>
                    <a:pt x="47312" y="0"/>
                  </a:lnTo>
                  <a:lnTo>
                    <a:pt x="0" y="26377"/>
                  </a:lnTo>
                  <a:lnTo>
                    <a:pt x="123836" y="107668"/>
                  </a:lnTo>
                  <a:lnTo>
                    <a:pt x="123836" y="192313"/>
                  </a:lnTo>
                  <a:lnTo>
                    <a:pt x="172259" y="162244"/>
                  </a:ln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94" name="Forma livre: Forma 1093">
              <a:extLst>
                <a:ext uri="{FF2B5EF4-FFF2-40B4-BE49-F238E27FC236}">
                  <a16:creationId xmlns:a16="http://schemas.microsoft.com/office/drawing/2014/main" id="{67D9DD1A-46C8-6555-9E5B-9C2AA9C9772D}"/>
                </a:ext>
              </a:extLst>
            </p:cNvPr>
            <p:cNvSpPr/>
            <p:nvPr/>
          </p:nvSpPr>
          <p:spPr>
            <a:xfrm>
              <a:off x="10695080" y="1767146"/>
              <a:ext cx="10340" cy="7046"/>
            </a:xfrm>
            <a:custGeom>
              <a:avLst/>
              <a:gdLst>
                <a:gd name="connsiteX0" fmla="*/ 0 w 10340"/>
                <a:gd name="connsiteY0" fmla="*/ 0 h 7046"/>
                <a:gd name="connsiteX1" fmla="*/ 10341 w 10340"/>
                <a:gd name="connsiteY1" fmla="*/ 7047 h 7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340" h="7046">
                  <a:moveTo>
                    <a:pt x="0" y="0"/>
                  </a:moveTo>
                  <a:lnTo>
                    <a:pt x="10341" y="7047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95" name="Forma livre: Forma 1094">
              <a:extLst>
                <a:ext uri="{FF2B5EF4-FFF2-40B4-BE49-F238E27FC236}">
                  <a16:creationId xmlns:a16="http://schemas.microsoft.com/office/drawing/2014/main" id="{7D336352-D2AA-DCD3-E88A-C8C698469E4F}"/>
                </a:ext>
              </a:extLst>
            </p:cNvPr>
            <p:cNvSpPr/>
            <p:nvPr/>
          </p:nvSpPr>
          <p:spPr>
            <a:xfrm>
              <a:off x="10582646" y="1608884"/>
              <a:ext cx="1206" cy="10280"/>
            </a:xfrm>
            <a:custGeom>
              <a:avLst/>
              <a:gdLst>
                <a:gd name="connsiteX0" fmla="*/ 0 w 1206"/>
                <a:gd name="connsiteY0" fmla="*/ 0 h 10280"/>
                <a:gd name="connsiteX1" fmla="*/ 0 w 1206"/>
                <a:gd name="connsiteY1" fmla="*/ 10281 h 102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6" h="10280">
                  <a:moveTo>
                    <a:pt x="0" y="0"/>
                  </a:moveTo>
                  <a:lnTo>
                    <a:pt x="0" y="10281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96" name="Forma livre: Forma 1095">
              <a:extLst>
                <a:ext uri="{FF2B5EF4-FFF2-40B4-BE49-F238E27FC236}">
                  <a16:creationId xmlns:a16="http://schemas.microsoft.com/office/drawing/2014/main" id="{E0E85622-FCE8-D972-944D-1D1481182D01}"/>
                </a:ext>
              </a:extLst>
            </p:cNvPr>
            <p:cNvSpPr/>
            <p:nvPr/>
          </p:nvSpPr>
          <p:spPr>
            <a:xfrm>
              <a:off x="10488300" y="1690718"/>
              <a:ext cx="24772" cy="14093"/>
            </a:xfrm>
            <a:custGeom>
              <a:avLst/>
              <a:gdLst>
                <a:gd name="connsiteX0" fmla="*/ 0 w 24772"/>
                <a:gd name="connsiteY0" fmla="*/ 14093 h 14093"/>
                <a:gd name="connsiteX1" fmla="*/ 24772 w 24772"/>
                <a:gd name="connsiteY1" fmla="*/ 0 h 140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4772" h="14093">
                  <a:moveTo>
                    <a:pt x="0" y="14093"/>
                  </a:moveTo>
                  <a:lnTo>
                    <a:pt x="24772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97" name="Forma livre: Forma 1096">
              <a:extLst>
                <a:ext uri="{FF2B5EF4-FFF2-40B4-BE49-F238E27FC236}">
                  <a16:creationId xmlns:a16="http://schemas.microsoft.com/office/drawing/2014/main" id="{78EA25A4-0FDC-1097-69A7-D493EB75733B}"/>
                </a:ext>
              </a:extLst>
            </p:cNvPr>
            <p:cNvSpPr/>
            <p:nvPr/>
          </p:nvSpPr>
          <p:spPr>
            <a:xfrm>
              <a:off x="10487745" y="1726603"/>
              <a:ext cx="24772" cy="14081"/>
            </a:xfrm>
            <a:custGeom>
              <a:avLst/>
              <a:gdLst>
                <a:gd name="connsiteX0" fmla="*/ 0 w 24772"/>
                <a:gd name="connsiteY0" fmla="*/ 14081 h 14081"/>
                <a:gd name="connsiteX1" fmla="*/ 24772 w 24772"/>
                <a:gd name="connsiteY1" fmla="*/ 0 h 140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4772" h="14081">
                  <a:moveTo>
                    <a:pt x="0" y="14081"/>
                  </a:moveTo>
                  <a:lnTo>
                    <a:pt x="24772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098" name="Gráfico 11">
            <a:extLst>
              <a:ext uri="{FF2B5EF4-FFF2-40B4-BE49-F238E27FC236}">
                <a16:creationId xmlns:a16="http://schemas.microsoft.com/office/drawing/2014/main" id="{4E0C8556-B16F-0486-BFE7-6B71A8BAF298}"/>
              </a:ext>
            </a:extLst>
          </p:cNvPr>
          <p:cNvGrpSpPr/>
          <p:nvPr/>
        </p:nvGrpSpPr>
        <p:grpSpPr>
          <a:xfrm>
            <a:off x="10543901" y="987106"/>
            <a:ext cx="245708" cy="318298"/>
            <a:chOff x="10543901" y="987106"/>
            <a:chExt cx="245708" cy="318298"/>
          </a:xfrm>
          <a:noFill/>
        </p:grpSpPr>
        <p:sp>
          <p:nvSpPr>
            <p:cNvPr id="1099" name="Forma livre: Forma 1098">
              <a:extLst>
                <a:ext uri="{FF2B5EF4-FFF2-40B4-BE49-F238E27FC236}">
                  <a16:creationId xmlns:a16="http://schemas.microsoft.com/office/drawing/2014/main" id="{436BBD7B-9F69-EE52-D6CC-344897654995}"/>
                </a:ext>
              </a:extLst>
            </p:cNvPr>
            <p:cNvSpPr/>
            <p:nvPr/>
          </p:nvSpPr>
          <p:spPr>
            <a:xfrm>
              <a:off x="10606501" y="987106"/>
              <a:ext cx="183108" cy="181225"/>
            </a:xfrm>
            <a:custGeom>
              <a:avLst/>
              <a:gdLst>
                <a:gd name="connsiteX0" fmla="*/ 0 w 183108"/>
                <a:gd name="connsiteY0" fmla="*/ 34813 h 181225"/>
                <a:gd name="connsiteX1" fmla="*/ 5756 w 183108"/>
                <a:gd name="connsiteY1" fmla="*/ 16762 h 181225"/>
                <a:gd name="connsiteX2" fmla="*/ 36102 w 183108"/>
                <a:gd name="connsiteY2" fmla="*/ 1148 h 181225"/>
                <a:gd name="connsiteX3" fmla="*/ 166346 w 183108"/>
                <a:gd name="connsiteY3" fmla="*/ 42885 h 181225"/>
                <a:gd name="connsiteX4" fmla="*/ 181960 w 183108"/>
                <a:gd name="connsiteY4" fmla="*/ 73232 h 181225"/>
                <a:gd name="connsiteX5" fmla="*/ 146919 w 183108"/>
                <a:gd name="connsiteY5" fmla="*/ 181225 h 1812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3108" h="181225">
                  <a:moveTo>
                    <a:pt x="0" y="34813"/>
                  </a:moveTo>
                  <a:lnTo>
                    <a:pt x="5756" y="16762"/>
                  </a:lnTo>
                  <a:cubicBezTo>
                    <a:pt x="9810" y="4128"/>
                    <a:pt x="23469" y="-2907"/>
                    <a:pt x="36102" y="1148"/>
                  </a:cubicBezTo>
                  <a:lnTo>
                    <a:pt x="166346" y="42885"/>
                  </a:lnTo>
                  <a:cubicBezTo>
                    <a:pt x="178992" y="46939"/>
                    <a:pt x="186014" y="60598"/>
                    <a:pt x="181960" y="73232"/>
                  </a:cubicBezTo>
                  <a:lnTo>
                    <a:pt x="146919" y="181225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100" name="Gráfico 11">
              <a:extLst>
                <a:ext uri="{FF2B5EF4-FFF2-40B4-BE49-F238E27FC236}">
                  <a16:creationId xmlns:a16="http://schemas.microsoft.com/office/drawing/2014/main" id="{1B738566-BD1A-2BFF-6F4A-983852DEB47D}"/>
                </a:ext>
              </a:extLst>
            </p:cNvPr>
            <p:cNvGrpSpPr/>
            <p:nvPr/>
          </p:nvGrpSpPr>
          <p:grpSpPr>
            <a:xfrm>
              <a:off x="10543901" y="1043638"/>
              <a:ext cx="185036" cy="261766"/>
              <a:chOff x="10543901" y="1043638"/>
              <a:chExt cx="185036" cy="261766"/>
            </a:xfrm>
            <a:noFill/>
          </p:grpSpPr>
          <p:sp>
            <p:nvSpPr>
              <p:cNvPr id="1101" name="Forma livre: Forma 1100">
                <a:extLst>
                  <a:ext uri="{FF2B5EF4-FFF2-40B4-BE49-F238E27FC236}">
                    <a16:creationId xmlns:a16="http://schemas.microsoft.com/office/drawing/2014/main" id="{AC6FF743-4DD2-95F9-EF0D-67C856C38C1A}"/>
                  </a:ext>
                </a:extLst>
              </p:cNvPr>
              <p:cNvSpPr/>
              <p:nvPr/>
            </p:nvSpPr>
            <p:spPr>
              <a:xfrm>
                <a:off x="10543901" y="1043638"/>
                <a:ext cx="185036" cy="261766"/>
              </a:xfrm>
              <a:custGeom>
                <a:avLst/>
                <a:gdLst>
                  <a:gd name="connsiteX0" fmla="*/ 160904 w 185036"/>
                  <a:gd name="connsiteY0" fmla="*/ 0 h 261766"/>
                  <a:gd name="connsiteX1" fmla="*/ 185037 w 185036"/>
                  <a:gd name="connsiteY1" fmla="*/ 24133 h 261766"/>
                  <a:gd name="connsiteX2" fmla="*/ 185037 w 185036"/>
                  <a:gd name="connsiteY2" fmla="*/ 237634 h 261766"/>
                  <a:gd name="connsiteX3" fmla="*/ 160904 w 185036"/>
                  <a:gd name="connsiteY3" fmla="*/ 261766 h 261766"/>
                  <a:gd name="connsiteX4" fmla="*/ 24133 w 185036"/>
                  <a:gd name="connsiteY4" fmla="*/ 261766 h 261766"/>
                  <a:gd name="connsiteX5" fmla="*/ 0 w 185036"/>
                  <a:gd name="connsiteY5" fmla="*/ 237634 h 261766"/>
                  <a:gd name="connsiteX6" fmla="*/ 0 w 185036"/>
                  <a:gd name="connsiteY6" fmla="*/ 24133 h 261766"/>
                  <a:gd name="connsiteX7" fmla="*/ 24133 w 185036"/>
                  <a:gd name="connsiteY7" fmla="*/ 0 h 2617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85036" h="261766">
                    <a:moveTo>
                      <a:pt x="160904" y="0"/>
                    </a:moveTo>
                    <a:cubicBezTo>
                      <a:pt x="174232" y="0"/>
                      <a:pt x="185037" y="10805"/>
                      <a:pt x="185037" y="24133"/>
                    </a:cubicBezTo>
                    <a:lnTo>
                      <a:pt x="185037" y="237634"/>
                    </a:lnTo>
                    <a:cubicBezTo>
                      <a:pt x="185037" y="250962"/>
                      <a:pt x="174232" y="261766"/>
                      <a:pt x="160904" y="261766"/>
                    </a:cubicBezTo>
                    <a:lnTo>
                      <a:pt x="24133" y="261766"/>
                    </a:lnTo>
                    <a:cubicBezTo>
                      <a:pt x="10805" y="261766"/>
                      <a:pt x="0" y="250962"/>
                      <a:pt x="0" y="237634"/>
                    </a:cubicBezTo>
                    <a:lnTo>
                      <a:pt x="0" y="24133"/>
                    </a:lnTo>
                    <a:cubicBezTo>
                      <a:pt x="0" y="10805"/>
                      <a:pt x="10805" y="0"/>
                      <a:pt x="24133" y="0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102" name="Forma livre: Forma 1101">
                <a:extLst>
                  <a:ext uri="{FF2B5EF4-FFF2-40B4-BE49-F238E27FC236}">
                    <a16:creationId xmlns:a16="http://schemas.microsoft.com/office/drawing/2014/main" id="{BF0B853C-F89B-6199-06E1-7159CB8766EE}"/>
                  </a:ext>
                </a:extLst>
              </p:cNvPr>
              <p:cNvSpPr/>
              <p:nvPr/>
            </p:nvSpPr>
            <p:spPr>
              <a:xfrm>
                <a:off x="10543901" y="1043638"/>
                <a:ext cx="185036" cy="261766"/>
              </a:xfrm>
              <a:custGeom>
                <a:avLst/>
                <a:gdLst>
                  <a:gd name="connsiteX0" fmla="*/ 160904 w 185036"/>
                  <a:gd name="connsiteY0" fmla="*/ 0 h 261766"/>
                  <a:gd name="connsiteX1" fmla="*/ 185037 w 185036"/>
                  <a:gd name="connsiteY1" fmla="*/ 24133 h 261766"/>
                  <a:gd name="connsiteX2" fmla="*/ 185037 w 185036"/>
                  <a:gd name="connsiteY2" fmla="*/ 237634 h 261766"/>
                  <a:gd name="connsiteX3" fmla="*/ 160904 w 185036"/>
                  <a:gd name="connsiteY3" fmla="*/ 261766 h 261766"/>
                  <a:gd name="connsiteX4" fmla="*/ 24133 w 185036"/>
                  <a:gd name="connsiteY4" fmla="*/ 261766 h 261766"/>
                  <a:gd name="connsiteX5" fmla="*/ 0 w 185036"/>
                  <a:gd name="connsiteY5" fmla="*/ 237634 h 261766"/>
                  <a:gd name="connsiteX6" fmla="*/ 0 w 185036"/>
                  <a:gd name="connsiteY6" fmla="*/ 24133 h 261766"/>
                  <a:gd name="connsiteX7" fmla="*/ 24133 w 185036"/>
                  <a:gd name="connsiteY7" fmla="*/ 0 h 2617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85036" h="261766">
                    <a:moveTo>
                      <a:pt x="160904" y="0"/>
                    </a:moveTo>
                    <a:cubicBezTo>
                      <a:pt x="174232" y="0"/>
                      <a:pt x="185037" y="10805"/>
                      <a:pt x="185037" y="24133"/>
                    </a:cubicBezTo>
                    <a:lnTo>
                      <a:pt x="185037" y="237634"/>
                    </a:lnTo>
                    <a:cubicBezTo>
                      <a:pt x="185037" y="250962"/>
                      <a:pt x="174232" y="261766"/>
                      <a:pt x="160904" y="261766"/>
                    </a:cubicBezTo>
                    <a:lnTo>
                      <a:pt x="24133" y="261766"/>
                    </a:lnTo>
                    <a:cubicBezTo>
                      <a:pt x="10805" y="261766"/>
                      <a:pt x="0" y="250962"/>
                      <a:pt x="0" y="237634"/>
                    </a:cubicBezTo>
                    <a:lnTo>
                      <a:pt x="0" y="24133"/>
                    </a:lnTo>
                    <a:cubicBezTo>
                      <a:pt x="0" y="10805"/>
                      <a:pt x="10805" y="0"/>
                      <a:pt x="24133" y="0"/>
                    </a:cubicBezTo>
                    <a:close/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103" name="Gráfico 11">
              <a:extLst>
                <a:ext uri="{FF2B5EF4-FFF2-40B4-BE49-F238E27FC236}">
                  <a16:creationId xmlns:a16="http://schemas.microsoft.com/office/drawing/2014/main" id="{43ECD8DD-969F-C685-7686-CDAAC4F6B072}"/>
                </a:ext>
              </a:extLst>
            </p:cNvPr>
            <p:cNvGrpSpPr/>
            <p:nvPr/>
          </p:nvGrpSpPr>
          <p:grpSpPr>
            <a:xfrm>
              <a:off x="10577373" y="1072187"/>
              <a:ext cx="118092" cy="204656"/>
              <a:chOff x="10577373" y="1072187"/>
              <a:chExt cx="118092" cy="204656"/>
            </a:xfrm>
          </p:grpSpPr>
          <p:sp>
            <p:nvSpPr>
              <p:cNvPr id="1104" name="Forma livre: Forma 1103">
                <a:extLst>
                  <a:ext uri="{FF2B5EF4-FFF2-40B4-BE49-F238E27FC236}">
                    <a16:creationId xmlns:a16="http://schemas.microsoft.com/office/drawing/2014/main" id="{CB835AE0-304D-876E-CA4F-297102317616}"/>
                  </a:ext>
                </a:extLst>
              </p:cNvPr>
              <p:cNvSpPr/>
              <p:nvPr/>
            </p:nvSpPr>
            <p:spPr>
              <a:xfrm>
                <a:off x="10577373" y="1072187"/>
                <a:ext cx="1206" cy="25254"/>
              </a:xfrm>
              <a:custGeom>
                <a:avLst/>
                <a:gdLst>
                  <a:gd name="connsiteX0" fmla="*/ 0 w 1206"/>
                  <a:gd name="connsiteY0" fmla="*/ 0 h 25254"/>
                  <a:gd name="connsiteX1" fmla="*/ 0 w 1206"/>
                  <a:gd name="connsiteY1" fmla="*/ 25255 h 252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06" h="25254">
                    <a:moveTo>
                      <a:pt x="0" y="0"/>
                    </a:moveTo>
                    <a:lnTo>
                      <a:pt x="0" y="25255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105" name="Forma livre: Forma 1104">
                <a:extLst>
                  <a:ext uri="{FF2B5EF4-FFF2-40B4-BE49-F238E27FC236}">
                    <a16:creationId xmlns:a16="http://schemas.microsoft.com/office/drawing/2014/main" id="{26C34277-BCDD-A230-FF8F-D534DCE94776}"/>
                  </a:ext>
                </a:extLst>
              </p:cNvPr>
              <p:cNvSpPr/>
              <p:nvPr/>
            </p:nvSpPr>
            <p:spPr>
              <a:xfrm>
                <a:off x="10695466" y="1251589"/>
                <a:ext cx="1206" cy="25254"/>
              </a:xfrm>
              <a:custGeom>
                <a:avLst/>
                <a:gdLst>
                  <a:gd name="connsiteX0" fmla="*/ 0 w 1206"/>
                  <a:gd name="connsiteY0" fmla="*/ 0 h 25254"/>
                  <a:gd name="connsiteX1" fmla="*/ 0 w 1206"/>
                  <a:gd name="connsiteY1" fmla="*/ 25255 h 252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06" h="25254">
                    <a:moveTo>
                      <a:pt x="0" y="0"/>
                    </a:moveTo>
                    <a:lnTo>
                      <a:pt x="0" y="25255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106" name="Forma livre: Forma 1105">
              <a:extLst>
                <a:ext uri="{FF2B5EF4-FFF2-40B4-BE49-F238E27FC236}">
                  <a16:creationId xmlns:a16="http://schemas.microsoft.com/office/drawing/2014/main" id="{6007449C-481C-BF20-8A1A-B1BAD7AB72E3}"/>
                </a:ext>
              </a:extLst>
            </p:cNvPr>
            <p:cNvSpPr/>
            <p:nvPr/>
          </p:nvSpPr>
          <p:spPr>
            <a:xfrm>
              <a:off x="10579703" y="1132958"/>
              <a:ext cx="113441" cy="97563"/>
            </a:xfrm>
            <a:custGeom>
              <a:avLst/>
              <a:gdLst>
                <a:gd name="connsiteX0" fmla="*/ 105120 w 113441"/>
                <a:gd name="connsiteY0" fmla="*/ 8321 h 97563"/>
                <a:gd name="connsiteX1" fmla="*/ 63805 w 113441"/>
                <a:gd name="connsiteY1" fmla="*/ 8731 h 97563"/>
                <a:gd name="connsiteX2" fmla="*/ 56710 w 113441"/>
                <a:gd name="connsiteY2" fmla="*/ 15814 h 97563"/>
                <a:gd name="connsiteX3" fmla="*/ 49627 w 113441"/>
                <a:gd name="connsiteY3" fmla="*/ 8731 h 97563"/>
                <a:gd name="connsiteX4" fmla="*/ 8312 w 113441"/>
                <a:gd name="connsiteY4" fmla="*/ 8321 h 97563"/>
                <a:gd name="connsiteX5" fmla="*/ 8722 w 113441"/>
                <a:gd name="connsiteY5" fmla="*/ 49648 h 97563"/>
                <a:gd name="connsiteX6" fmla="*/ 56710 w 113441"/>
                <a:gd name="connsiteY6" fmla="*/ 97563 h 97563"/>
                <a:gd name="connsiteX7" fmla="*/ 104710 w 113441"/>
                <a:gd name="connsiteY7" fmla="*/ 49648 h 97563"/>
                <a:gd name="connsiteX8" fmla="*/ 105120 w 113441"/>
                <a:gd name="connsiteY8" fmla="*/ 8321 h 975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3441" h="97563">
                  <a:moveTo>
                    <a:pt x="105120" y="8321"/>
                  </a:moveTo>
                  <a:cubicBezTo>
                    <a:pt x="93874" y="-2925"/>
                    <a:pt x="75280" y="-2756"/>
                    <a:pt x="63805" y="8731"/>
                  </a:cubicBezTo>
                  <a:lnTo>
                    <a:pt x="56710" y="15814"/>
                  </a:lnTo>
                  <a:lnTo>
                    <a:pt x="49627" y="8731"/>
                  </a:lnTo>
                  <a:cubicBezTo>
                    <a:pt x="38152" y="-2744"/>
                    <a:pt x="19570" y="-2925"/>
                    <a:pt x="8312" y="8321"/>
                  </a:cubicBezTo>
                  <a:cubicBezTo>
                    <a:pt x="-2934" y="19567"/>
                    <a:pt x="-2741" y="38161"/>
                    <a:pt x="8722" y="49648"/>
                  </a:cubicBezTo>
                  <a:lnTo>
                    <a:pt x="56710" y="97563"/>
                  </a:lnTo>
                  <a:lnTo>
                    <a:pt x="104710" y="49648"/>
                  </a:lnTo>
                  <a:cubicBezTo>
                    <a:pt x="116197" y="38161"/>
                    <a:pt x="116366" y="19567"/>
                    <a:pt x="105120" y="8321"/>
                  </a:cubicBez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107" name="Gráfico 11">
            <a:extLst>
              <a:ext uri="{FF2B5EF4-FFF2-40B4-BE49-F238E27FC236}">
                <a16:creationId xmlns:a16="http://schemas.microsoft.com/office/drawing/2014/main" id="{FD24680A-BB11-ACD7-EF5A-508662408DF4}"/>
              </a:ext>
            </a:extLst>
          </p:cNvPr>
          <p:cNvGrpSpPr/>
          <p:nvPr/>
        </p:nvGrpSpPr>
        <p:grpSpPr>
          <a:xfrm>
            <a:off x="11141268" y="2624867"/>
            <a:ext cx="306411" cy="251691"/>
            <a:chOff x="11141268" y="2624867"/>
            <a:chExt cx="306411" cy="251691"/>
          </a:xfrm>
          <a:noFill/>
        </p:grpSpPr>
        <p:sp>
          <p:nvSpPr>
            <p:cNvPr id="1108" name="Forma livre: Forma 1107">
              <a:extLst>
                <a:ext uri="{FF2B5EF4-FFF2-40B4-BE49-F238E27FC236}">
                  <a16:creationId xmlns:a16="http://schemas.microsoft.com/office/drawing/2014/main" id="{747A2FA5-E08A-D261-6C55-9ABDA762C6E5}"/>
                </a:ext>
              </a:extLst>
            </p:cNvPr>
            <p:cNvSpPr/>
            <p:nvPr/>
          </p:nvSpPr>
          <p:spPr>
            <a:xfrm>
              <a:off x="11251771" y="2680553"/>
              <a:ext cx="85393" cy="43257"/>
            </a:xfrm>
            <a:custGeom>
              <a:avLst/>
              <a:gdLst>
                <a:gd name="connsiteX0" fmla="*/ 85393 w 85393"/>
                <a:gd name="connsiteY0" fmla="*/ 43258 h 43257"/>
                <a:gd name="connsiteX1" fmla="*/ 0 w 85393"/>
                <a:gd name="connsiteY1" fmla="*/ 43258 h 43257"/>
                <a:gd name="connsiteX2" fmla="*/ 18389 w 85393"/>
                <a:gd name="connsiteY2" fmla="*/ 0 h 43257"/>
                <a:gd name="connsiteX3" fmla="*/ 67016 w 85393"/>
                <a:gd name="connsiteY3" fmla="*/ 0 h 43257"/>
                <a:gd name="connsiteX4" fmla="*/ 85393 w 85393"/>
                <a:gd name="connsiteY4" fmla="*/ 43258 h 432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5393" h="43257">
                  <a:moveTo>
                    <a:pt x="85393" y="43258"/>
                  </a:moveTo>
                  <a:lnTo>
                    <a:pt x="0" y="43258"/>
                  </a:lnTo>
                  <a:lnTo>
                    <a:pt x="18389" y="0"/>
                  </a:lnTo>
                  <a:lnTo>
                    <a:pt x="67016" y="0"/>
                  </a:lnTo>
                  <a:lnTo>
                    <a:pt x="85393" y="43258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109" name="Gráfico 11">
              <a:extLst>
                <a:ext uri="{FF2B5EF4-FFF2-40B4-BE49-F238E27FC236}">
                  <a16:creationId xmlns:a16="http://schemas.microsoft.com/office/drawing/2014/main" id="{F099353A-7851-A676-0EED-A42073636611}"/>
                </a:ext>
              </a:extLst>
            </p:cNvPr>
            <p:cNvGrpSpPr/>
            <p:nvPr/>
          </p:nvGrpSpPr>
          <p:grpSpPr>
            <a:xfrm>
              <a:off x="11196399" y="2756933"/>
              <a:ext cx="196137" cy="43257"/>
              <a:chOff x="11196399" y="2756933"/>
              <a:chExt cx="196137" cy="43257"/>
            </a:xfrm>
            <a:noFill/>
          </p:grpSpPr>
          <p:sp>
            <p:nvSpPr>
              <p:cNvPr id="1110" name="Forma livre: Forma 1109">
                <a:extLst>
                  <a:ext uri="{FF2B5EF4-FFF2-40B4-BE49-F238E27FC236}">
                    <a16:creationId xmlns:a16="http://schemas.microsoft.com/office/drawing/2014/main" id="{492C6E03-A942-697E-01E5-7EA995FDE53A}"/>
                  </a:ext>
                </a:extLst>
              </p:cNvPr>
              <p:cNvSpPr/>
              <p:nvPr/>
            </p:nvSpPr>
            <p:spPr>
              <a:xfrm>
                <a:off x="11196399" y="2756933"/>
                <a:ext cx="85465" cy="43257"/>
              </a:xfrm>
              <a:custGeom>
                <a:avLst/>
                <a:gdLst>
                  <a:gd name="connsiteX0" fmla="*/ 85466 w 85465"/>
                  <a:gd name="connsiteY0" fmla="*/ 43258 h 43257"/>
                  <a:gd name="connsiteX1" fmla="*/ 0 w 85465"/>
                  <a:gd name="connsiteY1" fmla="*/ 43258 h 43257"/>
                  <a:gd name="connsiteX2" fmla="*/ 18377 w 85465"/>
                  <a:gd name="connsiteY2" fmla="*/ 0 h 43257"/>
                  <a:gd name="connsiteX3" fmla="*/ 67089 w 85465"/>
                  <a:gd name="connsiteY3" fmla="*/ 0 h 43257"/>
                  <a:gd name="connsiteX4" fmla="*/ 85466 w 85465"/>
                  <a:gd name="connsiteY4" fmla="*/ 43258 h 432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5465" h="43257">
                    <a:moveTo>
                      <a:pt x="85466" y="43258"/>
                    </a:moveTo>
                    <a:lnTo>
                      <a:pt x="0" y="43258"/>
                    </a:lnTo>
                    <a:lnTo>
                      <a:pt x="18377" y="0"/>
                    </a:lnTo>
                    <a:lnTo>
                      <a:pt x="67089" y="0"/>
                    </a:lnTo>
                    <a:lnTo>
                      <a:pt x="85466" y="43258"/>
                    </a:ln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111" name="Forma livre: Forma 1110">
                <a:extLst>
                  <a:ext uri="{FF2B5EF4-FFF2-40B4-BE49-F238E27FC236}">
                    <a16:creationId xmlns:a16="http://schemas.microsoft.com/office/drawing/2014/main" id="{EC464FD6-934F-4543-9FFC-19404525EE5C}"/>
                  </a:ext>
                </a:extLst>
              </p:cNvPr>
              <p:cNvSpPr/>
              <p:nvPr/>
            </p:nvSpPr>
            <p:spPr>
              <a:xfrm>
                <a:off x="11307155" y="2756933"/>
                <a:ext cx="85381" cy="43257"/>
              </a:xfrm>
              <a:custGeom>
                <a:avLst/>
                <a:gdLst>
                  <a:gd name="connsiteX0" fmla="*/ 85381 w 85381"/>
                  <a:gd name="connsiteY0" fmla="*/ 43258 h 43257"/>
                  <a:gd name="connsiteX1" fmla="*/ 0 w 85381"/>
                  <a:gd name="connsiteY1" fmla="*/ 43258 h 43257"/>
                  <a:gd name="connsiteX2" fmla="*/ 18377 w 85381"/>
                  <a:gd name="connsiteY2" fmla="*/ 0 h 43257"/>
                  <a:gd name="connsiteX3" fmla="*/ 67016 w 85381"/>
                  <a:gd name="connsiteY3" fmla="*/ 0 h 43257"/>
                  <a:gd name="connsiteX4" fmla="*/ 85381 w 85381"/>
                  <a:gd name="connsiteY4" fmla="*/ 43258 h 432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5381" h="43257">
                    <a:moveTo>
                      <a:pt x="85381" y="43258"/>
                    </a:moveTo>
                    <a:lnTo>
                      <a:pt x="0" y="43258"/>
                    </a:lnTo>
                    <a:lnTo>
                      <a:pt x="18377" y="0"/>
                    </a:lnTo>
                    <a:lnTo>
                      <a:pt x="67016" y="0"/>
                    </a:lnTo>
                    <a:lnTo>
                      <a:pt x="85381" y="43258"/>
                    </a:ln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112" name="Gráfico 11">
              <a:extLst>
                <a:ext uri="{FF2B5EF4-FFF2-40B4-BE49-F238E27FC236}">
                  <a16:creationId xmlns:a16="http://schemas.microsoft.com/office/drawing/2014/main" id="{C1910FB8-7EEF-3459-FECA-647CB0C9B5B1}"/>
                </a:ext>
              </a:extLst>
            </p:cNvPr>
            <p:cNvGrpSpPr/>
            <p:nvPr/>
          </p:nvGrpSpPr>
          <p:grpSpPr>
            <a:xfrm>
              <a:off x="11141268" y="2833313"/>
              <a:ext cx="306411" cy="43245"/>
              <a:chOff x="11141268" y="2833313"/>
              <a:chExt cx="306411" cy="43245"/>
            </a:xfrm>
            <a:noFill/>
          </p:grpSpPr>
          <p:sp>
            <p:nvSpPr>
              <p:cNvPr id="1113" name="Forma livre: Forma 1112">
                <a:extLst>
                  <a:ext uri="{FF2B5EF4-FFF2-40B4-BE49-F238E27FC236}">
                    <a16:creationId xmlns:a16="http://schemas.microsoft.com/office/drawing/2014/main" id="{A6B983EB-8EFF-B99E-93A8-CE244B0244BD}"/>
                  </a:ext>
                </a:extLst>
              </p:cNvPr>
              <p:cNvSpPr/>
              <p:nvPr/>
            </p:nvSpPr>
            <p:spPr>
              <a:xfrm>
                <a:off x="11141268" y="2833313"/>
                <a:ext cx="85381" cy="43245"/>
              </a:xfrm>
              <a:custGeom>
                <a:avLst/>
                <a:gdLst>
                  <a:gd name="connsiteX0" fmla="*/ 85381 w 85381"/>
                  <a:gd name="connsiteY0" fmla="*/ 43246 h 43245"/>
                  <a:gd name="connsiteX1" fmla="*/ 0 w 85381"/>
                  <a:gd name="connsiteY1" fmla="*/ 43246 h 43245"/>
                  <a:gd name="connsiteX2" fmla="*/ 18377 w 85381"/>
                  <a:gd name="connsiteY2" fmla="*/ 0 h 43245"/>
                  <a:gd name="connsiteX3" fmla="*/ 67004 w 85381"/>
                  <a:gd name="connsiteY3" fmla="*/ 0 h 43245"/>
                  <a:gd name="connsiteX4" fmla="*/ 85381 w 85381"/>
                  <a:gd name="connsiteY4" fmla="*/ 43246 h 432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5381" h="43245">
                    <a:moveTo>
                      <a:pt x="85381" y="43246"/>
                    </a:moveTo>
                    <a:lnTo>
                      <a:pt x="0" y="43246"/>
                    </a:lnTo>
                    <a:lnTo>
                      <a:pt x="18377" y="0"/>
                    </a:lnTo>
                    <a:lnTo>
                      <a:pt x="67004" y="0"/>
                    </a:lnTo>
                    <a:lnTo>
                      <a:pt x="85381" y="43246"/>
                    </a:ln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114" name="Forma livre: Forma 1113">
                <a:extLst>
                  <a:ext uri="{FF2B5EF4-FFF2-40B4-BE49-F238E27FC236}">
                    <a16:creationId xmlns:a16="http://schemas.microsoft.com/office/drawing/2014/main" id="{130AF740-7B9E-1C82-474C-1B822206982D}"/>
                  </a:ext>
                </a:extLst>
              </p:cNvPr>
              <p:cNvSpPr/>
              <p:nvPr/>
            </p:nvSpPr>
            <p:spPr>
              <a:xfrm>
                <a:off x="11251747" y="2833313"/>
                <a:ext cx="85381" cy="43245"/>
              </a:xfrm>
              <a:custGeom>
                <a:avLst/>
                <a:gdLst>
                  <a:gd name="connsiteX0" fmla="*/ 85381 w 85381"/>
                  <a:gd name="connsiteY0" fmla="*/ 43246 h 43245"/>
                  <a:gd name="connsiteX1" fmla="*/ 0 w 85381"/>
                  <a:gd name="connsiteY1" fmla="*/ 43246 h 43245"/>
                  <a:gd name="connsiteX2" fmla="*/ 18377 w 85381"/>
                  <a:gd name="connsiteY2" fmla="*/ 0 h 43245"/>
                  <a:gd name="connsiteX3" fmla="*/ 67016 w 85381"/>
                  <a:gd name="connsiteY3" fmla="*/ 0 h 43245"/>
                  <a:gd name="connsiteX4" fmla="*/ 85381 w 85381"/>
                  <a:gd name="connsiteY4" fmla="*/ 43246 h 432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5381" h="43245">
                    <a:moveTo>
                      <a:pt x="85381" y="43246"/>
                    </a:moveTo>
                    <a:lnTo>
                      <a:pt x="0" y="43246"/>
                    </a:lnTo>
                    <a:lnTo>
                      <a:pt x="18377" y="0"/>
                    </a:lnTo>
                    <a:lnTo>
                      <a:pt x="67016" y="0"/>
                    </a:lnTo>
                    <a:lnTo>
                      <a:pt x="85381" y="43246"/>
                    </a:ln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115" name="Forma livre: Forma 1114">
                <a:extLst>
                  <a:ext uri="{FF2B5EF4-FFF2-40B4-BE49-F238E27FC236}">
                    <a16:creationId xmlns:a16="http://schemas.microsoft.com/office/drawing/2014/main" id="{69511B85-7357-A30A-C73B-A05F38107884}"/>
                  </a:ext>
                </a:extLst>
              </p:cNvPr>
              <p:cNvSpPr/>
              <p:nvPr/>
            </p:nvSpPr>
            <p:spPr>
              <a:xfrm>
                <a:off x="11362286" y="2833313"/>
                <a:ext cx="85393" cy="43245"/>
              </a:xfrm>
              <a:custGeom>
                <a:avLst/>
                <a:gdLst>
                  <a:gd name="connsiteX0" fmla="*/ 85393 w 85393"/>
                  <a:gd name="connsiteY0" fmla="*/ 43246 h 43245"/>
                  <a:gd name="connsiteX1" fmla="*/ 0 w 85393"/>
                  <a:gd name="connsiteY1" fmla="*/ 43246 h 43245"/>
                  <a:gd name="connsiteX2" fmla="*/ 18389 w 85393"/>
                  <a:gd name="connsiteY2" fmla="*/ 0 h 43245"/>
                  <a:gd name="connsiteX3" fmla="*/ 67016 w 85393"/>
                  <a:gd name="connsiteY3" fmla="*/ 0 h 43245"/>
                  <a:gd name="connsiteX4" fmla="*/ 85393 w 85393"/>
                  <a:gd name="connsiteY4" fmla="*/ 43246 h 432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5393" h="43245">
                    <a:moveTo>
                      <a:pt x="85393" y="43246"/>
                    </a:moveTo>
                    <a:lnTo>
                      <a:pt x="0" y="43246"/>
                    </a:lnTo>
                    <a:lnTo>
                      <a:pt x="18389" y="0"/>
                    </a:lnTo>
                    <a:lnTo>
                      <a:pt x="67016" y="0"/>
                    </a:lnTo>
                    <a:lnTo>
                      <a:pt x="85393" y="43246"/>
                    </a:ln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116" name="Forma livre: Forma 1115">
              <a:extLst>
                <a:ext uri="{FF2B5EF4-FFF2-40B4-BE49-F238E27FC236}">
                  <a16:creationId xmlns:a16="http://schemas.microsoft.com/office/drawing/2014/main" id="{D9594529-5E80-16DB-5785-7231C10802FE}"/>
                </a:ext>
              </a:extLst>
            </p:cNvPr>
            <p:cNvSpPr/>
            <p:nvPr/>
          </p:nvSpPr>
          <p:spPr>
            <a:xfrm>
              <a:off x="11294401" y="2624867"/>
              <a:ext cx="144" cy="20850"/>
            </a:xfrm>
            <a:custGeom>
              <a:avLst/>
              <a:gdLst>
                <a:gd name="connsiteX0" fmla="*/ 0 w 144"/>
                <a:gd name="connsiteY0" fmla="*/ 20851 h 20850"/>
                <a:gd name="connsiteX1" fmla="*/ 145 w 144"/>
                <a:gd name="connsiteY1" fmla="*/ 0 h 208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44" h="20850">
                  <a:moveTo>
                    <a:pt x="0" y="20851"/>
                  </a:moveTo>
                  <a:lnTo>
                    <a:pt x="145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117" name="Gráfico 11">
              <a:extLst>
                <a:ext uri="{FF2B5EF4-FFF2-40B4-BE49-F238E27FC236}">
                  <a16:creationId xmlns:a16="http://schemas.microsoft.com/office/drawing/2014/main" id="{130E505B-9205-A711-A635-396773889B31}"/>
                </a:ext>
              </a:extLst>
            </p:cNvPr>
            <p:cNvGrpSpPr/>
            <p:nvPr/>
          </p:nvGrpSpPr>
          <p:grpSpPr>
            <a:xfrm>
              <a:off x="11206233" y="2674146"/>
              <a:ext cx="176469" cy="15758"/>
              <a:chOff x="11206233" y="2674146"/>
              <a:chExt cx="176469" cy="15758"/>
            </a:xfrm>
          </p:grpSpPr>
          <p:sp>
            <p:nvSpPr>
              <p:cNvPr id="1118" name="Forma livre: Forma 1117">
                <a:extLst>
                  <a:ext uri="{FF2B5EF4-FFF2-40B4-BE49-F238E27FC236}">
                    <a16:creationId xmlns:a16="http://schemas.microsoft.com/office/drawing/2014/main" id="{7E667265-7B81-B985-242F-4F845754EA95}"/>
                  </a:ext>
                </a:extLst>
              </p:cNvPr>
              <p:cNvSpPr/>
              <p:nvPr/>
            </p:nvSpPr>
            <p:spPr>
              <a:xfrm>
                <a:off x="11206233" y="2674146"/>
                <a:ext cx="19016" cy="15758"/>
              </a:xfrm>
              <a:custGeom>
                <a:avLst/>
                <a:gdLst>
                  <a:gd name="connsiteX0" fmla="*/ 19017 w 19016"/>
                  <a:gd name="connsiteY0" fmla="*/ 15759 h 15758"/>
                  <a:gd name="connsiteX1" fmla="*/ 0 w 19016"/>
                  <a:gd name="connsiteY1" fmla="*/ 0 h 157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9016" h="15758">
                    <a:moveTo>
                      <a:pt x="19017" y="15759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119" name="Forma livre: Forma 1118">
                <a:extLst>
                  <a:ext uri="{FF2B5EF4-FFF2-40B4-BE49-F238E27FC236}">
                    <a16:creationId xmlns:a16="http://schemas.microsoft.com/office/drawing/2014/main" id="{E261FABC-C223-CF35-C8F0-26D616E0F500}"/>
                  </a:ext>
                </a:extLst>
              </p:cNvPr>
              <p:cNvSpPr/>
              <p:nvPr/>
            </p:nvSpPr>
            <p:spPr>
              <a:xfrm>
                <a:off x="11363686" y="2674146"/>
                <a:ext cx="19016" cy="15758"/>
              </a:xfrm>
              <a:custGeom>
                <a:avLst/>
                <a:gdLst>
                  <a:gd name="connsiteX0" fmla="*/ 0 w 19016"/>
                  <a:gd name="connsiteY0" fmla="*/ 15759 h 15758"/>
                  <a:gd name="connsiteX1" fmla="*/ 19017 w 19016"/>
                  <a:gd name="connsiteY1" fmla="*/ 0 h 157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9016" h="15758">
                    <a:moveTo>
                      <a:pt x="0" y="15759"/>
                    </a:moveTo>
                    <a:lnTo>
                      <a:pt x="19017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120" name="Gráfico 11">
            <a:extLst>
              <a:ext uri="{FF2B5EF4-FFF2-40B4-BE49-F238E27FC236}">
                <a16:creationId xmlns:a16="http://schemas.microsoft.com/office/drawing/2014/main" id="{5EF82FBE-9673-A59E-A132-49657C0FE9EB}"/>
              </a:ext>
            </a:extLst>
          </p:cNvPr>
          <p:cNvGrpSpPr/>
          <p:nvPr/>
        </p:nvGrpSpPr>
        <p:grpSpPr>
          <a:xfrm>
            <a:off x="11141907" y="3192515"/>
            <a:ext cx="305132" cy="186038"/>
            <a:chOff x="11141907" y="3192515"/>
            <a:chExt cx="305132" cy="186038"/>
          </a:xfrm>
        </p:grpSpPr>
        <p:grpSp>
          <p:nvGrpSpPr>
            <p:cNvPr id="1121" name="Gráfico 11">
              <a:extLst>
                <a:ext uri="{FF2B5EF4-FFF2-40B4-BE49-F238E27FC236}">
                  <a16:creationId xmlns:a16="http://schemas.microsoft.com/office/drawing/2014/main" id="{A8237603-511C-96F9-B7E4-8995DE037284}"/>
                </a:ext>
              </a:extLst>
            </p:cNvPr>
            <p:cNvGrpSpPr/>
            <p:nvPr/>
          </p:nvGrpSpPr>
          <p:grpSpPr>
            <a:xfrm>
              <a:off x="11206582" y="3297226"/>
              <a:ext cx="144156" cy="7481"/>
              <a:chOff x="11206582" y="3297226"/>
              <a:chExt cx="144156" cy="7481"/>
            </a:xfrm>
            <a:solidFill>
              <a:srgbClr val="394552"/>
            </a:solidFill>
          </p:grpSpPr>
          <p:sp>
            <p:nvSpPr>
              <p:cNvPr id="1122" name="Forma livre: Forma 1121">
                <a:extLst>
                  <a:ext uri="{FF2B5EF4-FFF2-40B4-BE49-F238E27FC236}">
                    <a16:creationId xmlns:a16="http://schemas.microsoft.com/office/drawing/2014/main" id="{DE393A88-CE6B-A6E3-CF3F-1FF16F113EB4}"/>
                  </a:ext>
                </a:extLst>
              </p:cNvPr>
              <p:cNvSpPr/>
              <p:nvPr/>
            </p:nvSpPr>
            <p:spPr>
              <a:xfrm>
                <a:off x="11206582" y="3297226"/>
                <a:ext cx="7469" cy="7481"/>
              </a:xfrm>
              <a:custGeom>
                <a:avLst/>
                <a:gdLst>
                  <a:gd name="connsiteX0" fmla="*/ 7469 w 7469"/>
                  <a:gd name="connsiteY0" fmla="*/ 3741 h 7481"/>
                  <a:gd name="connsiteX1" fmla="*/ 3741 w 7469"/>
                  <a:gd name="connsiteY1" fmla="*/ 7481 h 7481"/>
                  <a:gd name="connsiteX2" fmla="*/ 0 w 7469"/>
                  <a:gd name="connsiteY2" fmla="*/ 3741 h 7481"/>
                  <a:gd name="connsiteX3" fmla="*/ 3741 w 7469"/>
                  <a:gd name="connsiteY3" fmla="*/ 0 h 7481"/>
                  <a:gd name="connsiteX4" fmla="*/ 7469 w 7469"/>
                  <a:gd name="connsiteY4" fmla="*/ 3741 h 74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469" h="7481">
                    <a:moveTo>
                      <a:pt x="7469" y="3741"/>
                    </a:moveTo>
                    <a:cubicBezTo>
                      <a:pt x="7469" y="5816"/>
                      <a:pt x="5816" y="7481"/>
                      <a:pt x="3741" y="7481"/>
                    </a:cubicBezTo>
                    <a:cubicBezTo>
                      <a:pt x="1665" y="7481"/>
                      <a:pt x="0" y="5816"/>
                      <a:pt x="0" y="3741"/>
                    </a:cubicBezTo>
                    <a:cubicBezTo>
                      <a:pt x="0" y="1665"/>
                      <a:pt x="1677" y="0"/>
                      <a:pt x="3741" y="0"/>
                    </a:cubicBezTo>
                    <a:cubicBezTo>
                      <a:pt x="5804" y="0"/>
                      <a:pt x="7469" y="1665"/>
                      <a:pt x="7469" y="3741"/>
                    </a:cubicBezTo>
                    <a:close/>
                  </a:path>
                </a:pathLst>
              </a:custGeom>
              <a:solidFill>
                <a:srgbClr val="394552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123" name="Forma livre: Forma 1122">
                <a:extLst>
                  <a:ext uri="{FF2B5EF4-FFF2-40B4-BE49-F238E27FC236}">
                    <a16:creationId xmlns:a16="http://schemas.microsoft.com/office/drawing/2014/main" id="{C0354A2B-66E7-5F58-75C9-E61BDB849CBF}"/>
                  </a:ext>
                </a:extLst>
              </p:cNvPr>
              <p:cNvSpPr/>
              <p:nvPr/>
            </p:nvSpPr>
            <p:spPr>
              <a:xfrm>
                <a:off x="11343270" y="3297226"/>
                <a:ext cx="7469" cy="7481"/>
              </a:xfrm>
              <a:custGeom>
                <a:avLst/>
                <a:gdLst>
                  <a:gd name="connsiteX0" fmla="*/ 7469 w 7469"/>
                  <a:gd name="connsiteY0" fmla="*/ 3741 h 7481"/>
                  <a:gd name="connsiteX1" fmla="*/ 3741 w 7469"/>
                  <a:gd name="connsiteY1" fmla="*/ 7481 h 7481"/>
                  <a:gd name="connsiteX2" fmla="*/ 0 w 7469"/>
                  <a:gd name="connsiteY2" fmla="*/ 3741 h 7481"/>
                  <a:gd name="connsiteX3" fmla="*/ 3741 w 7469"/>
                  <a:gd name="connsiteY3" fmla="*/ 0 h 7481"/>
                  <a:gd name="connsiteX4" fmla="*/ 7469 w 7469"/>
                  <a:gd name="connsiteY4" fmla="*/ 3741 h 74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469" h="7481">
                    <a:moveTo>
                      <a:pt x="7469" y="3741"/>
                    </a:moveTo>
                    <a:cubicBezTo>
                      <a:pt x="7469" y="5816"/>
                      <a:pt x="5804" y="7481"/>
                      <a:pt x="3741" y="7481"/>
                    </a:cubicBezTo>
                    <a:cubicBezTo>
                      <a:pt x="1677" y="7481"/>
                      <a:pt x="0" y="5816"/>
                      <a:pt x="0" y="3741"/>
                    </a:cubicBezTo>
                    <a:cubicBezTo>
                      <a:pt x="0" y="1665"/>
                      <a:pt x="1677" y="0"/>
                      <a:pt x="3741" y="0"/>
                    </a:cubicBezTo>
                    <a:cubicBezTo>
                      <a:pt x="5804" y="0"/>
                      <a:pt x="7469" y="1665"/>
                      <a:pt x="7469" y="3741"/>
                    </a:cubicBezTo>
                    <a:close/>
                  </a:path>
                </a:pathLst>
              </a:custGeom>
              <a:solidFill>
                <a:srgbClr val="394552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124" name="Forma livre: Forma 1123">
              <a:extLst>
                <a:ext uri="{FF2B5EF4-FFF2-40B4-BE49-F238E27FC236}">
                  <a16:creationId xmlns:a16="http://schemas.microsoft.com/office/drawing/2014/main" id="{C5C8536E-237F-1DFE-9080-F6C8573C5733}"/>
                </a:ext>
              </a:extLst>
            </p:cNvPr>
            <p:cNvSpPr/>
            <p:nvPr/>
          </p:nvSpPr>
          <p:spPr>
            <a:xfrm>
              <a:off x="11141907" y="3223368"/>
              <a:ext cx="273506" cy="155184"/>
            </a:xfrm>
            <a:custGeom>
              <a:avLst/>
              <a:gdLst>
                <a:gd name="connsiteX0" fmla="*/ 0 w 273506"/>
                <a:gd name="connsiteY0" fmla="*/ 0 h 155184"/>
                <a:gd name="connsiteX1" fmla="*/ 273507 w 273506"/>
                <a:gd name="connsiteY1" fmla="*/ 0 h 155184"/>
                <a:gd name="connsiteX2" fmla="*/ 273507 w 273506"/>
                <a:gd name="connsiteY2" fmla="*/ 155185 h 155184"/>
                <a:gd name="connsiteX3" fmla="*/ 0 w 273506"/>
                <a:gd name="connsiteY3" fmla="*/ 155185 h 1551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73506" h="155184">
                  <a:moveTo>
                    <a:pt x="0" y="0"/>
                  </a:moveTo>
                  <a:lnTo>
                    <a:pt x="273507" y="0"/>
                  </a:lnTo>
                  <a:lnTo>
                    <a:pt x="273507" y="155185"/>
                  </a:lnTo>
                  <a:lnTo>
                    <a:pt x="0" y="155185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25" name="Forma livre: Forma 1124">
              <a:extLst>
                <a:ext uri="{FF2B5EF4-FFF2-40B4-BE49-F238E27FC236}">
                  <a16:creationId xmlns:a16="http://schemas.microsoft.com/office/drawing/2014/main" id="{7954F858-62AB-C9F5-F310-4463008AF5D8}"/>
                </a:ext>
              </a:extLst>
            </p:cNvPr>
            <p:cNvSpPr/>
            <p:nvPr/>
          </p:nvSpPr>
          <p:spPr>
            <a:xfrm>
              <a:off x="11170878" y="3192515"/>
              <a:ext cx="276161" cy="160433"/>
            </a:xfrm>
            <a:custGeom>
              <a:avLst/>
              <a:gdLst>
                <a:gd name="connsiteX0" fmla="*/ 0 w 276161"/>
                <a:gd name="connsiteY0" fmla="*/ 0 h 160433"/>
                <a:gd name="connsiteX1" fmla="*/ 276161 w 276161"/>
                <a:gd name="connsiteY1" fmla="*/ 0 h 160433"/>
                <a:gd name="connsiteX2" fmla="*/ 276161 w 276161"/>
                <a:gd name="connsiteY2" fmla="*/ 160434 h 1604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76161" h="160433">
                  <a:moveTo>
                    <a:pt x="0" y="0"/>
                  </a:moveTo>
                  <a:lnTo>
                    <a:pt x="276161" y="0"/>
                  </a:lnTo>
                  <a:lnTo>
                    <a:pt x="276161" y="160434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26" name="Forma livre: Forma 1125">
              <a:extLst>
                <a:ext uri="{FF2B5EF4-FFF2-40B4-BE49-F238E27FC236}">
                  <a16:creationId xmlns:a16="http://schemas.microsoft.com/office/drawing/2014/main" id="{4AF7D905-A63E-0992-828A-0634F9B0431B}"/>
                </a:ext>
              </a:extLst>
            </p:cNvPr>
            <p:cNvSpPr/>
            <p:nvPr/>
          </p:nvSpPr>
          <p:spPr>
            <a:xfrm>
              <a:off x="11170637" y="3252231"/>
              <a:ext cx="216059" cy="97459"/>
            </a:xfrm>
            <a:custGeom>
              <a:avLst/>
              <a:gdLst>
                <a:gd name="connsiteX0" fmla="*/ 216059 w 216059"/>
                <a:gd name="connsiteY0" fmla="*/ 19584 h 97459"/>
                <a:gd name="connsiteX1" fmla="*/ 196476 w 216059"/>
                <a:gd name="connsiteY1" fmla="*/ 0 h 97459"/>
                <a:gd name="connsiteX2" fmla="*/ 19584 w 216059"/>
                <a:gd name="connsiteY2" fmla="*/ 0 h 97459"/>
                <a:gd name="connsiteX3" fmla="*/ 0 w 216059"/>
                <a:gd name="connsiteY3" fmla="*/ 19584 h 97459"/>
                <a:gd name="connsiteX4" fmla="*/ 0 w 216059"/>
                <a:gd name="connsiteY4" fmla="*/ 77876 h 97459"/>
                <a:gd name="connsiteX5" fmla="*/ 19584 w 216059"/>
                <a:gd name="connsiteY5" fmla="*/ 97460 h 97459"/>
                <a:gd name="connsiteX6" fmla="*/ 196476 w 216059"/>
                <a:gd name="connsiteY6" fmla="*/ 97460 h 97459"/>
                <a:gd name="connsiteX7" fmla="*/ 216059 w 216059"/>
                <a:gd name="connsiteY7" fmla="*/ 77876 h 97459"/>
                <a:gd name="connsiteX8" fmla="*/ 216059 w 216059"/>
                <a:gd name="connsiteY8" fmla="*/ 19584 h 974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59" h="97459">
                  <a:moveTo>
                    <a:pt x="216059" y="19584"/>
                  </a:moveTo>
                  <a:cubicBezTo>
                    <a:pt x="205248" y="19584"/>
                    <a:pt x="196476" y="10811"/>
                    <a:pt x="196476" y="0"/>
                  </a:cubicBezTo>
                  <a:lnTo>
                    <a:pt x="19584" y="0"/>
                  </a:lnTo>
                  <a:cubicBezTo>
                    <a:pt x="19584" y="10823"/>
                    <a:pt x="10811" y="19584"/>
                    <a:pt x="0" y="19584"/>
                  </a:cubicBezTo>
                  <a:lnTo>
                    <a:pt x="0" y="77876"/>
                  </a:lnTo>
                  <a:cubicBezTo>
                    <a:pt x="10811" y="77876"/>
                    <a:pt x="19584" y="86648"/>
                    <a:pt x="19584" y="97460"/>
                  </a:cubicBezTo>
                  <a:lnTo>
                    <a:pt x="196476" y="97460"/>
                  </a:lnTo>
                  <a:cubicBezTo>
                    <a:pt x="196476" y="86648"/>
                    <a:pt x="205248" y="77876"/>
                    <a:pt x="216059" y="77876"/>
                  </a:cubicBezTo>
                  <a:lnTo>
                    <a:pt x="216059" y="19584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27" name="Forma livre: Forma 1126">
              <a:extLst>
                <a:ext uri="{FF2B5EF4-FFF2-40B4-BE49-F238E27FC236}">
                  <a16:creationId xmlns:a16="http://schemas.microsoft.com/office/drawing/2014/main" id="{C8C5581C-D5FC-1934-59BD-42A46B84AA01}"/>
                </a:ext>
              </a:extLst>
            </p:cNvPr>
            <p:cNvSpPr/>
            <p:nvPr/>
          </p:nvSpPr>
          <p:spPr>
            <a:xfrm>
              <a:off x="11254643" y="3275108"/>
              <a:ext cx="48060" cy="51716"/>
            </a:xfrm>
            <a:custGeom>
              <a:avLst/>
              <a:gdLst>
                <a:gd name="connsiteX0" fmla="*/ 48060 w 48060"/>
                <a:gd name="connsiteY0" fmla="*/ 25858 h 51716"/>
                <a:gd name="connsiteX1" fmla="*/ 24024 w 48060"/>
                <a:gd name="connsiteY1" fmla="*/ 51716 h 51716"/>
                <a:gd name="connsiteX2" fmla="*/ 0 w 48060"/>
                <a:gd name="connsiteY2" fmla="*/ 25858 h 51716"/>
                <a:gd name="connsiteX3" fmla="*/ 24024 w 48060"/>
                <a:gd name="connsiteY3" fmla="*/ 0 h 51716"/>
                <a:gd name="connsiteX4" fmla="*/ 48060 w 48060"/>
                <a:gd name="connsiteY4" fmla="*/ 25858 h 517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8060" h="51716">
                  <a:moveTo>
                    <a:pt x="48060" y="25858"/>
                  </a:moveTo>
                  <a:cubicBezTo>
                    <a:pt x="48060" y="40145"/>
                    <a:pt x="37297" y="51716"/>
                    <a:pt x="24024" y="51716"/>
                  </a:cubicBezTo>
                  <a:cubicBezTo>
                    <a:pt x="10751" y="51716"/>
                    <a:pt x="0" y="40145"/>
                    <a:pt x="0" y="25858"/>
                  </a:cubicBezTo>
                  <a:cubicBezTo>
                    <a:pt x="0" y="11572"/>
                    <a:pt x="10763" y="0"/>
                    <a:pt x="24024" y="0"/>
                  </a:cubicBezTo>
                  <a:cubicBezTo>
                    <a:pt x="37285" y="0"/>
                    <a:pt x="48060" y="11584"/>
                    <a:pt x="48060" y="25858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128" name="Gráfico 11">
            <a:extLst>
              <a:ext uri="{FF2B5EF4-FFF2-40B4-BE49-F238E27FC236}">
                <a16:creationId xmlns:a16="http://schemas.microsoft.com/office/drawing/2014/main" id="{010A8F97-1B84-DFE8-2AC5-E220B0B9A5E9}"/>
              </a:ext>
            </a:extLst>
          </p:cNvPr>
          <p:cNvGrpSpPr/>
          <p:nvPr/>
        </p:nvGrpSpPr>
        <p:grpSpPr>
          <a:xfrm>
            <a:off x="11154215" y="2076828"/>
            <a:ext cx="280520" cy="278128"/>
            <a:chOff x="11154215" y="2076828"/>
            <a:chExt cx="280520" cy="278128"/>
          </a:xfrm>
          <a:noFill/>
        </p:grpSpPr>
        <p:sp>
          <p:nvSpPr>
            <p:cNvPr id="1129" name="Forma livre: Forma 1128">
              <a:extLst>
                <a:ext uri="{FF2B5EF4-FFF2-40B4-BE49-F238E27FC236}">
                  <a16:creationId xmlns:a16="http://schemas.microsoft.com/office/drawing/2014/main" id="{475D5DD4-1BA5-3902-1E42-8C4B680E4AE8}"/>
                </a:ext>
              </a:extLst>
            </p:cNvPr>
            <p:cNvSpPr/>
            <p:nvPr/>
          </p:nvSpPr>
          <p:spPr>
            <a:xfrm>
              <a:off x="11302241" y="2082402"/>
              <a:ext cx="132494" cy="113954"/>
            </a:xfrm>
            <a:custGeom>
              <a:avLst/>
              <a:gdLst>
                <a:gd name="connsiteX0" fmla="*/ 122307 w 132494"/>
                <a:gd name="connsiteY0" fmla="*/ 57979 h 113954"/>
                <a:gd name="connsiteX1" fmla="*/ 122778 w 132494"/>
                <a:gd name="connsiteY1" fmla="*/ 9726 h 113954"/>
                <a:gd name="connsiteX2" fmla="*/ 74513 w 132494"/>
                <a:gd name="connsiteY2" fmla="*/ 10196 h 113954"/>
                <a:gd name="connsiteX3" fmla="*/ 66211 w 132494"/>
                <a:gd name="connsiteY3" fmla="*/ 18437 h 113954"/>
                <a:gd name="connsiteX4" fmla="*/ 57970 w 132494"/>
                <a:gd name="connsiteY4" fmla="*/ 10196 h 113954"/>
                <a:gd name="connsiteX5" fmla="*/ 9717 w 132494"/>
                <a:gd name="connsiteY5" fmla="*/ 9726 h 113954"/>
                <a:gd name="connsiteX6" fmla="*/ 10187 w 132494"/>
                <a:gd name="connsiteY6" fmla="*/ 57979 h 113954"/>
                <a:gd name="connsiteX7" fmla="*/ 66247 w 132494"/>
                <a:gd name="connsiteY7" fmla="*/ 113954 h 113954"/>
                <a:gd name="connsiteX8" fmla="*/ 122319 w 132494"/>
                <a:gd name="connsiteY8" fmla="*/ 57979 h 1139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32494" h="113954">
                  <a:moveTo>
                    <a:pt x="122307" y="57979"/>
                  </a:moveTo>
                  <a:cubicBezTo>
                    <a:pt x="135701" y="44573"/>
                    <a:pt x="135918" y="22854"/>
                    <a:pt x="122778" y="9726"/>
                  </a:cubicBezTo>
                  <a:cubicBezTo>
                    <a:pt x="109638" y="-3415"/>
                    <a:pt x="87918" y="-3197"/>
                    <a:pt x="74513" y="10196"/>
                  </a:cubicBezTo>
                  <a:lnTo>
                    <a:pt x="66211" y="18437"/>
                  </a:lnTo>
                  <a:lnTo>
                    <a:pt x="57970" y="10196"/>
                  </a:lnTo>
                  <a:cubicBezTo>
                    <a:pt x="44564" y="-3209"/>
                    <a:pt x="22845" y="-3427"/>
                    <a:pt x="9717" y="9726"/>
                  </a:cubicBezTo>
                  <a:cubicBezTo>
                    <a:pt x="-3424" y="22866"/>
                    <a:pt x="-3207" y="44585"/>
                    <a:pt x="10187" y="57979"/>
                  </a:cubicBezTo>
                  <a:lnTo>
                    <a:pt x="66247" y="113954"/>
                  </a:lnTo>
                  <a:lnTo>
                    <a:pt x="122319" y="57979"/>
                  </a:ln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130" name="Gráfico 11">
              <a:extLst>
                <a:ext uri="{FF2B5EF4-FFF2-40B4-BE49-F238E27FC236}">
                  <a16:creationId xmlns:a16="http://schemas.microsoft.com/office/drawing/2014/main" id="{C2C4D06B-3E17-9B18-D925-0D29F2B9A110}"/>
                </a:ext>
              </a:extLst>
            </p:cNvPr>
            <p:cNvGrpSpPr/>
            <p:nvPr/>
          </p:nvGrpSpPr>
          <p:grpSpPr>
            <a:xfrm>
              <a:off x="11154215" y="2076828"/>
              <a:ext cx="121768" cy="125115"/>
              <a:chOff x="11154215" y="2076828"/>
              <a:chExt cx="121768" cy="125115"/>
            </a:xfrm>
            <a:noFill/>
          </p:grpSpPr>
          <p:sp>
            <p:nvSpPr>
              <p:cNvPr id="1131" name="Forma livre: Forma 1130">
                <a:extLst>
                  <a:ext uri="{FF2B5EF4-FFF2-40B4-BE49-F238E27FC236}">
                    <a16:creationId xmlns:a16="http://schemas.microsoft.com/office/drawing/2014/main" id="{52916F5B-89AD-5677-FE6F-433991C97DB8}"/>
                  </a:ext>
                </a:extLst>
              </p:cNvPr>
              <p:cNvSpPr/>
              <p:nvPr/>
            </p:nvSpPr>
            <p:spPr>
              <a:xfrm>
                <a:off x="11154215" y="2076828"/>
                <a:ext cx="121768" cy="104715"/>
              </a:xfrm>
              <a:custGeom>
                <a:avLst/>
                <a:gdLst>
                  <a:gd name="connsiteX0" fmla="*/ 9363 w 121768"/>
                  <a:gd name="connsiteY0" fmla="*/ 51439 h 104715"/>
                  <a:gd name="connsiteX1" fmla="*/ 8929 w 121768"/>
                  <a:gd name="connsiteY1" fmla="*/ 95782 h 104715"/>
                  <a:gd name="connsiteX2" fmla="*/ 53285 w 121768"/>
                  <a:gd name="connsiteY2" fmla="*/ 95348 h 104715"/>
                  <a:gd name="connsiteX3" fmla="*/ 60911 w 121768"/>
                  <a:gd name="connsiteY3" fmla="*/ 87770 h 104715"/>
                  <a:gd name="connsiteX4" fmla="*/ 68488 w 121768"/>
                  <a:gd name="connsiteY4" fmla="*/ 95348 h 104715"/>
                  <a:gd name="connsiteX5" fmla="*/ 112844 w 121768"/>
                  <a:gd name="connsiteY5" fmla="*/ 95782 h 104715"/>
                  <a:gd name="connsiteX6" fmla="*/ 112410 w 121768"/>
                  <a:gd name="connsiteY6" fmla="*/ 51439 h 104715"/>
                  <a:gd name="connsiteX7" fmla="*/ 60899 w 121768"/>
                  <a:gd name="connsiteY7" fmla="*/ 0 h 104715"/>
                  <a:gd name="connsiteX8" fmla="*/ 9376 w 121768"/>
                  <a:gd name="connsiteY8" fmla="*/ 51439 h 1047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21768" h="104715">
                    <a:moveTo>
                      <a:pt x="9363" y="51439"/>
                    </a:moveTo>
                    <a:cubicBezTo>
                      <a:pt x="-2944" y="63758"/>
                      <a:pt x="-3149" y="83716"/>
                      <a:pt x="8929" y="95782"/>
                    </a:cubicBezTo>
                    <a:cubicBezTo>
                      <a:pt x="20995" y="107861"/>
                      <a:pt x="40965" y="107668"/>
                      <a:pt x="53285" y="95348"/>
                    </a:cubicBezTo>
                    <a:lnTo>
                      <a:pt x="60911" y="87770"/>
                    </a:lnTo>
                    <a:lnTo>
                      <a:pt x="68488" y="95348"/>
                    </a:lnTo>
                    <a:cubicBezTo>
                      <a:pt x="80808" y="107668"/>
                      <a:pt x="100766" y="107861"/>
                      <a:pt x="112844" y="95782"/>
                    </a:cubicBezTo>
                    <a:cubicBezTo>
                      <a:pt x="124910" y="83716"/>
                      <a:pt x="124717" y="63746"/>
                      <a:pt x="112410" y="51439"/>
                    </a:cubicBezTo>
                    <a:lnTo>
                      <a:pt x="60899" y="0"/>
                    </a:lnTo>
                    <a:lnTo>
                      <a:pt x="9376" y="51439"/>
                    </a:lnTo>
                    <a:close/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132" name="Forma livre: Forma 1131">
                <a:extLst>
                  <a:ext uri="{FF2B5EF4-FFF2-40B4-BE49-F238E27FC236}">
                    <a16:creationId xmlns:a16="http://schemas.microsoft.com/office/drawing/2014/main" id="{79C2901A-C64A-1CAD-484D-F3D81CCC4012}"/>
                  </a:ext>
                </a:extLst>
              </p:cNvPr>
              <p:cNvSpPr/>
              <p:nvPr/>
            </p:nvSpPr>
            <p:spPr>
              <a:xfrm>
                <a:off x="11190438" y="2201943"/>
                <a:ext cx="49314" cy="1206"/>
              </a:xfrm>
              <a:custGeom>
                <a:avLst/>
                <a:gdLst>
                  <a:gd name="connsiteX0" fmla="*/ 0 w 49314"/>
                  <a:gd name="connsiteY0" fmla="*/ 0 h 1206"/>
                  <a:gd name="connsiteX1" fmla="*/ 49315 w 49314"/>
                  <a:gd name="connsiteY1" fmla="*/ 0 h 12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9314" h="1206">
                    <a:moveTo>
                      <a:pt x="0" y="0"/>
                    </a:moveTo>
                    <a:lnTo>
                      <a:pt x="49315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133" name="Forma livre: Forma 1132">
              <a:extLst>
                <a:ext uri="{FF2B5EF4-FFF2-40B4-BE49-F238E27FC236}">
                  <a16:creationId xmlns:a16="http://schemas.microsoft.com/office/drawing/2014/main" id="{E320416A-577B-6BA5-3797-DB10EE88ACB4}"/>
                </a:ext>
              </a:extLst>
            </p:cNvPr>
            <p:cNvSpPr/>
            <p:nvPr/>
          </p:nvSpPr>
          <p:spPr>
            <a:xfrm>
              <a:off x="11154890" y="2233979"/>
              <a:ext cx="120409" cy="120409"/>
            </a:xfrm>
            <a:custGeom>
              <a:avLst/>
              <a:gdLst>
                <a:gd name="connsiteX0" fmla="*/ 60199 w 120409"/>
                <a:gd name="connsiteY0" fmla="*/ 120410 h 120409"/>
                <a:gd name="connsiteX1" fmla="*/ 0 w 120409"/>
                <a:gd name="connsiteY1" fmla="*/ 60199 h 120409"/>
                <a:gd name="connsiteX2" fmla="*/ 60199 w 120409"/>
                <a:gd name="connsiteY2" fmla="*/ 0 h 120409"/>
                <a:gd name="connsiteX3" fmla="*/ 120410 w 120409"/>
                <a:gd name="connsiteY3" fmla="*/ 60199 h 120409"/>
                <a:gd name="connsiteX4" fmla="*/ 60199 w 120409"/>
                <a:gd name="connsiteY4" fmla="*/ 120410 h 120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0409" h="120409">
                  <a:moveTo>
                    <a:pt x="60199" y="120410"/>
                  </a:moveTo>
                  <a:cubicBezTo>
                    <a:pt x="40241" y="90389"/>
                    <a:pt x="30009" y="80169"/>
                    <a:pt x="0" y="60199"/>
                  </a:cubicBezTo>
                  <a:cubicBezTo>
                    <a:pt x="30021" y="40241"/>
                    <a:pt x="40241" y="30009"/>
                    <a:pt x="60199" y="0"/>
                  </a:cubicBezTo>
                  <a:cubicBezTo>
                    <a:pt x="80169" y="30021"/>
                    <a:pt x="90389" y="40241"/>
                    <a:pt x="120410" y="60199"/>
                  </a:cubicBezTo>
                  <a:cubicBezTo>
                    <a:pt x="90389" y="80169"/>
                    <a:pt x="80169" y="90389"/>
                    <a:pt x="60199" y="120410"/>
                  </a:cubicBez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134" name="Gráfico 11">
              <a:extLst>
                <a:ext uri="{FF2B5EF4-FFF2-40B4-BE49-F238E27FC236}">
                  <a16:creationId xmlns:a16="http://schemas.microsoft.com/office/drawing/2014/main" id="{3477BB46-37F7-76F3-419A-E2A6825897A2}"/>
                </a:ext>
              </a:extLst>
            </p:cNvPr>
            <p:cNvGrpSpPr/>
            <p:nvPr/>
          </p:nvGrpSpPr>
          <p:grpSpPr>
            <a:xfrm>
              <a:off x="11313237" y="2233400"/>
              <a:ext cx="110527" cy="121555"/>
              <a:chOff x="11313237" y="2233400"/>
              <a:chExt cx="110527" cy="121555"/>
            </a:xfrm>
            <a:noFill/>
          </p:grpSpPr>
          <p:sp>
            <p:nvSpPr>
              <p:cNvPr id="1135" name="Forma livre: Forma 1134">
                <a:extLst>
                  <a:ext uri="{FF2B5EF4-FFF2-40B4-BE49-F238E27FC236}">
                    <a16:creationId xmlns:a16="http://schemas.microsoft.com/office/drawing/2014/main" id="{9B343E62-4602-BC3A-8496-1ABEC4747198}"/>
                  </a:ext>
                </a:extLst>
              </p:cNvPr>
              <p:cNvSpPr/>
              <p:nvPr/>
            </p:nvSpPr>
            <p:spPr>
              <a:xfrm>
                <a:off x="11343825" y="2354956"/>
                <a:ext cx="49314" cy="1206"/>
              </a:xfrm>
              <a:custGeom>
                <a:avLst/>
                <a:gdLst>
                  <a:gd name="connsiteX0" fmla="*/ 0 w 49314"/>
                  <a:gd name="connsiteY0" fmla="*/ 0 h 1206"/>
                  <a:gd name="connsiteX1" fmla="*/ 49315 w 49314"/>
                  <a:gd name="connsiteY1" fmla="*/ 0 h 12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9314" h="1206">
                    <a:moveTo>
                      <a:pt x="0" y="0"/>
                    </a:moveTo>
                    <a:lnTo>
                      <a:pt x="49315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136" name="Forma livre: Forma 1135">
                <a:extLst>
                  <a:ext uri="{FF2B5EF4-FFF2-40B4-BE49-F238E27FC236}">
                    <a16:creationId xmlns:a16="http://schemas.microsoft.com/office/drawing/2014/main" id="{1E9FC870-5ACF-60BF-17D4-7DE181DB5C3B}"/>
                  </a:ext>
                </a:extLst>
              </p:cNvPr>
              <p:cNvSpPr/>
              <p:nvPr/>
            </p:nvSpPr>
            <p:spPr>
              <a:xfrm>
                <a:off x="11313237" y="2233400"/>
                <a:ext cx="110527" cy="100982"/>
              </a:xfrm>
              <a:custGeom>
                <a:avLst/>
                <a:gdLst>
                  <a:gd name="connsiteX0" fmla="*/ 82280 w 110527"/>
                  <a:gd name="connsiteY0" fmla="*/ 44525 h 100982"/>
                  <a:gd name="connsiteX1" fmla="*/ 77997 w 110527"/>
                  <a:gd name="connsiteY1" fmla="*/ 44887 h 100982"/>
                  <a:gd name="connsiteX2" fmla="*/ 83475 w 110527"/>
                  <a:gd name="connsiteY2" fmla="*/ 28223 h 100982"/>
                  <a:gd name="connsiteX3" fmla="*/ 55252 w 110527"/>
                  <a:gd name="connsiteY3" fmla="*/ 0 h 100982"/>
                  <a:gd name="connsiteX4" fmla="*/ 27029 w 110527"/>
                  <a:gd name="connsiteY4" fmla="*/ 28223 h 100982"/>
                  <a:gd name="connsiteX5" fmla="*/ 32507 w 110527"/>
                  <a:gd name="connsiteY5" fmla="*/ 44887 h 100982"/>
                  <a:gd name="connsiteX6" fmla="*/ 28223 w 110527"/>
                  <a:gd name="connsiteY6" fmla="*/ 44525 h 100982"/>
                  <a:gd name="connsiteX7" fmla="*/ 0 w 110527"/>
                  <a:gd name="connsiteY7" fmla="*/ 72748 h 100982"/>
                  <a:gd name="connsiteX8" fmla="*/ 28223 w 110527"/>
                  <a:gd name="connsiteY8" fmla="*/ 100983 h 100982"/>
                  <a:gd name="connsiteX9" fmla="*/ 55264 w 110527"/>
                  <a:gd name="connsiteY9" fmla="*/ 80844 h 100982"/>
                  <a:gd name="connsiteX10" fmla="*/ 82304 w 110527"/>
                  <a:gd name="connsiteY10" fmla="*/ 100983 h 100982"/>
                  <a:gd name="connsiteX11" fmla="*/ 110527 w 110527"/>
                  <a:gd name="connsiteY11" fmla="*/ 72748 h 100982"/>
                  <a:gd name="connsiteX12" fmla="*/ 82304 w 110527"/>
                  <a:gd name="connsiteY12" fmla="*/ 44525 h 1009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10527" h="100982">
                    <a:moveTo>
                      <a:pt x="82280" y="44525"/>
                    </a:moveTo>
                    <a:cubicBezTo>
                      <a:pt x="80820" y="44525"/>
                      <a:pt x="79396" y="44669"/>
                      <a:pt x="77997" y="44887"/>
                    </a:cubicBezTo>
                    <a:cubicBezTo>
                      <a:pt x="81423" y="40217"/>
                      <a:pt x="83475" y="34461"/>
                      <a:pt x="83475" y="28223"/>
                    </a:cubicBezTo>
                    <a:cubicBezTo>
                      <a:pt x="83475" y="12633"/>
                      <a:pt x="70841" y="0"/>
                      <a:pt x="55252" y="0"/>
                    </a:cubicBezTo>
                    <a:cubicBezTo>
                      <a:pt x="39662" y="0"/>
                      <a:pt x="27029" y="12645"/>
                      <a:pt x="27029" y="28223"/>
                    </a:cubicBezTo>
                    <a:cubicBezTo>
                      <a:pt x="27029" y="34461"/>
                      <a:pt x="29080" y="40217"/>
                      <a:pt x="32507" y="44887"/>
                    </a:cubicBezTo>
                    <a:cubicBezTo>
                      <a:pt x="31107" y="44669"/>
                      <a:pt x="29683" y="44525"/>
                      <a:pt x="28223" y="44525"/>
                    </a:cubicBezTo>
                    <a:cubicBezTo>
                      <a:pt x="12633" y="44525"/>
                      <a:pt x="0" y="57170"/>
                      <a:pt x="0" y="72748"/>
                    </a:cubicBezTo>
                    <a:cubicBezTo>
                      <a:pt x="0" y="88325"/>
                      <a:pt x="12633" y="100983"/>
                      <a:pt x="28223" y="100983"/>
                    </a:cubicBezTo>
                    <a:cubicBezTo>
                      <a:pt x="41001" y="100983"/>
                      <a:pt x="51777" y="92488"/>
                      <a:pt x="55264" y="80844"/>
                    </a:cubicBezTo>
                    <a:cubicBezTo>
                      <a:pt x="58739" y="92488"/>
                      <a:pt x="69526" y="100983"/>
                      <a:pt x="82304" y="100983"/>
                    </a:cubicBezTo>
                    <a:cubicBezTo>
                      <a:pt x="97894" y="100983"/>
                      <a:pt x="110527" y="88337"/>
                      <a:pt x="110527" y="72748"/>
                    </a:cubicBezTo>
                    <a:cubicBezTo>
                      <a:pt x="110527" y="57158"/>
                      <a:pt x="97894" y="44525"/>
                      <a:pt x="82304" y="44525"/>
                    </a:cubicBezTo>
                    <a:close/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137" name="Gráfico 11">
            <a:extLst>
              <a:ext uri="{FF2B5EF4-FFF2-40B4-BE49-F238E27FC236}">
                <a16:creationId xmlns:a16="http://schemas.microsoft.com/office/drawing/2014/main" id="{4F91A679-BDD2-6C14-E8E4-0A12C428C713}"/>
              </a:ext>
            </a:extLst>
          </p:cNvPr>
          <p:cNvGrpSpPr/>
          <p:nvPr/>
        </p:nvGrpSpPr>
        <p:grpSpPr>
          <a:xfrm>
            <a:off x="11138420" y="1529850"/>
            <a:ext cx="312107" cy="302441"/>
            <a:chOff x="11138420" y="1529850"/>
            <a:chExt cx="312107" cy="302441"/>
          </a:xfrm>
        </p:grpSpPr>
        <p:sp>
          <p:nvSpPr>
            <p:cNvPr id="1138" name="Forma livre: Forma 1137">
              <a:extLst>
                <a:ext uri="{FF2B5EF4-FFF2-40B4-BE49-F238E27FC236}">
                  <a16:creationId xmlns:a16="http://schemas.microsoft.com/office/drawing/2014/main" id="{67523BA2-F502-626B-CF9A-F608008C0D47}"/>
                </a:ext>
              </a:extLst>
            </p:cNvPr>
            <p:cNvSpPr/>
            <p:nvPr/>
          </p:nvSpPr>
          <p:spPr>
            <a:xfrm>
              <a:off x="11356284" y="1635128"/>
              <a:ext cx="6280" cy="6283"/>
            </a:xfrm>
            <a:custGeom>
              <a:avLst/>
              <a:gdLst>
                <a:gd name="connsiteX0" fmla="*/ 5749 w 6280"/>
                <a:gd name="connsiteY0" fmla="*/ 4875 h 6283"/>
                <a:gd name="connsiteX1" fmla="*/ 1405 w 6280"/>
                <a:gd name="connsiteY1" fmla="*/ 5756 h 6283"/>
                <a:gd name="connsiteX2" fmla="*/ 524 w 6280"/>
                <a:gd name="connsiteY2" fmla="*/ 1400 h 6283"/>
                <a:gd name="connsiteX3" fmla="*/ 4880 w 6280"/>
                <a:gd name="connsiteY3" fmla="*/ 531 h 6283"/>
                <a:gd name="connsiteX4" fmla="*/ 5749 w 6280"/>
                <a:gd name="connsiteY4" fmla="*/ 4863 h 62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280" h="6283">
                  <a:moveTo>
                    <a:pt x="5749" y="4875"/>
                  </a:moveTo>
                  <a:cubicBezTo>
                    <a:pt x="4784" y="6323"/>
                    <a:pt x="2865" y="6721"/>
                    <a:pt x="1405" y="5756"/>
                  </a:cubicBezTo>
                  <a:cubicBezTo>
                    <a:pt x="-31" y="4791"/>
                    <a:pt x="-441" y="2848"/>
                    <a:pt x="524" y="1400"/>
                  </a:cubicBezTo>
                  <a:cubicBezTo>
                    <a:pt x="1490" y="-48"/>
                    <a:pt x="3432" y="-434"/>
                    <a:pt x="4880" y="531"/>
                  </a:cubicBezTo>
                  <a:cubicBezTo>
                    <a:pt x="6328" y="1484"/>
                    <a:pt x="6714" y="3415"/>
                    <a:pt x="5749" y="4863"/>
                  </a:cubicBezTo>
                  <a:close/>
                </a:path>
              </a:pathLst>
            </a:custGeom>
            <a:solidFill>
              <a:srgbClr val="394552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39" name="Forma livre: Forma 1138">
              <a:extLst>
                <a:ext uri="{FF2B5EF4-FFF2-40B4-BE49-F238E27FC236}">
                  <a16:creationId xmlns:a16="http://schemas.microsoft.com/office/drawing/2014/main" id="{4854C758-3C55-471F-5B8C-5D73F41D43D9}"/>
                </a:ext>
              </a:extLst>
            </p:cNvPr>
            <p:cNvSpPr/>
            <p:nvPr/>
          </p:nvSpPr>
          <p:spPr>
            <a:xfrm>
              <a:off x="11395850" y="1660962"/>
              <a:ext cx="6279" cy="6283"/>
            </a:xfrm>
            <a:custGeom>
              <a:avLst/>
              <a:gdLst>
                <a:gd name="connsiteX0" fmla="*/ 5748 w 6279"/>
                <a:gd name="connsiteY0" fmla="*/ 4875 h 6283"/>
                <a:gd name="connsiteX1" fmla="*/ 1417 w 6279"/>
                <a:gd name="connsiteY1" fmla="*/ 5756 h 6283"/>
                <a:gd name="connsiteX2" fmla="*/ 524 w 6279"/>
                <a:gd name="connsiteY2" fmla="*/ 1400 h 6283"/>
                <a:gd name="connsiteX3" fmla="*/ 4880 w 6279"/>
                <a:gd name="connsiteY3" fmla="*/ 531 h 6283"/>
                <a:gd name="connsiteX4" fmla="*/ 5748 w 6279"/>
                <a:gd name="connsiteY4" fmla="*/ 4875 h 62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279" h="6283">
                  <a:moveTo>
                    <a:pt x="5748" y="4875"/>
                  </a:moveTo>
                  <a:cubicBezTo>
                    <a:pt x="4783" y="6323"/>
                    <a:pt x="2865" y="6721"/>
                    <a:pt x="1417" y="5756"/>
                  </a:cubicBezTo>
                  <a:cubicBezTo>
                    <a:pt x="-31" y="4803"/>
                    <a:pt x="-442" y="2848"/>
                    <a:pt x="524" y="1400"/>
                  </a:cubicBezTo>
                  <a:cubicBezTo>
                    <a:pt x="1489" y="-48"/>
                    <a:pt x="3444" y="-434"/>
                    <a:pt x="4880" y="531"/>
                  </a:cubicBezTo>
                  <a:cubicBezTo>
                    <a:pt x="6328" y="1496"/>
                    <a:pt x="6714" y="3427"/>
                    <a:pt x="5748" y="4875"/>
                  </a:cubicBezTo>
                  <a:close/>
                </a:path>
              </a:pathLst>
            </a:custGeom>
            <a:solidFill>
              <a:srgbClr val="394552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40" name="Forma livre: Forma 1139">
              <a:extLst>
                <a:ext uri="{FF2B5EF4-FFF2-40B4-BE49-F238E27FC236}">
                  <a16:creationId xmlns:a16="http://schemas.microsoft.com/office/drawing/2014/main" id="{22748BF1-B4B2-FB6F-F236-BF38AC4464FB}"/>
                </a:ext>
              </a:extLst>
            </p:cNvPr>
            <p:cNvSpPr/>
            <p:nvPr/>
          </p:nvSpPr>
          <p:spPr>
            <a:xfrm>
              <a:off x="11318107" y="1659222"/>
              <a:ext cx="6279" cy="6274"/>
            </a:xfrm>
            <a:custGeom>
              <a:avLst/>
              <a:gdLst>
                <a:gd name="connsiteX0" fmla="*/ 5748 w 6279"/>
                <a:gd name="connsiteY0" fmla="*/ 4866 h 6274"/>
                <a:gd name="connsiteX1" fmla="*/ 1417 w 6279"/>
                <a:gd name="connsiteY1" fmla="*/ 5747 h 6274"/>
                <a:gd name="connsiteX2" fmla="*/ 524 w 6279"/>
                <a:gd name="connsiteY2" fmla="*/ 1403 h 6274"/>
                <a:gd name="connsiteX3" fmla="*/ 4880 w 6279"/>
                <a:gd name="connsiteY3" fmla="*/ 522 h 6274"/>
                <a:gd name="connsiteX4" fmla="*/ 5748 w 6279"/>
                <a:gd name="connsiteY4" fmla="*/ 4866 h 62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279" h="6274">
                  <a:moveTo>
                    <a:pt x="5748" y="4866"/>
                  </a:moveTo>
                  <a:cubicBezTo>
                    <a:pt x="4795" y="6314"/>
                    <a:pt x="2865" y="6712"/>
                    <a:pt x="1417" y="5747"/>
                  </a:cubicBezTo>
                  <a:cubicBezTo>
                    <a:pt x="-31" y="4794"/>
                    <a:pt x="-442" y="2839"/>
                    <a:pt x="524" y="1403"/>
                  </a:cubicBezTo>
                  <a:cubicBezTo>
                    <a:pt x="1489" y="-45"/>
                    <a:pt x="3444" y="-431"/>
                    <a:pt x="4880" y="522"/>
                  </a:cubicBezTo>
                  <a:cubicBezTo>
                    <a:pt x="6328" y="1487"/>
                    <a:pt x="6714" y="3418"/>
                    <a:pt x="5748" y="4866"/>
                  </a:cubicBezTo>
                  <a:close/>
                </a:path>
              </a:pathLst>
            </a:custGeom>
            <a:solidFill>
              <a:srgbClr val="394552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41" name="Forma livre: Forma 1140">
              <a:extLst>
                <a:ext uri="{FF2B5EF4-FFF2-40B4-BE49-F238E27FC236}">
                  <a16:creationId xmlns:a16="http://schemas.microsoft.com/office/drawing/2014/main" id="{4692276C-BBB7-6202-F98D-B46ACB64098D}"/>
                </a:ext>
              </a:extLst>
            </p:cNvPr>
            <p:cNvSpPr/>
            <p:nvPr/>
          </p:nvSpPr>
          <p:spPr>
            <a:xfrm>
              <a:off x="11328274" y="1777019"/>
              <a:ext cx="6269" cy="6269"/>
            </a:xfrm>
            <a:custGeom>
              <a:avLst/>
              <a:gdLst>
                <a:gd name="connsiteX0" fmla="*/ 2893 w 6269"/>
                <a:gd name="connsiteY0" fmla="*/ 6260 h 6269"/>
                <a:gd name="connsiteX1" fmla="*/ 9 w 6269"/>
                <a:gd name="connsiteY1" fmla="*/ 2917 h 6269"/>
                <a:gd name="connsiteX2" fmla="*/ 3364 w 6269"/>
                <a:gd name="connsiteY2" fmla="*/ 9 h 6269"/>
                <a:gd name="connsiteX3" fmla="*/ 6260 w 6269"/>
                <a:gd name="connsiteY3" fmla="*/ 3376 h 6269"/>
                <a:gd name="connsiteX4" fmla="*/ 2893 w 6269"/>
                <a:gd name="connsiteY4" fmla="*/ 6260 h 62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269" h="6269">
                  <a:moveTo>
                    <a:pt x="2893" y="6260"/>
                  </a:moveTo>
                  <a:cubicBezTo>
                    <a:pt x="1168" y="6127"/>
                    <a:pt x="-123" y="4643"/>
                    <a:pt x="9" y="2917"/>
                  </a:cubicBezTo>
                  <a:cubicBezTo>
                    <a:pt x="142" y="1180"/>
                    <a:pt x="1638" y="-123"/>
                    <a:pt x="3364" y="9"/>
                  </a:cubicBezTo>
                  <a:cubicBezTo>
                    <a:pt x="5089" y="142"/>
                    <a:pt x="6393" y="1650"/>
                    <a:pt x="6260" y="3376"/>
                  </a:cubicBezTo>
                  <a:cubicBezTo>
                    <a:pt x="6127" y="5101"/>
                    <a:pt x="4631" y="6392"/>
                    <a:pt x="2893" y="6260"/>
                  </a:cubicBezTo>
                  <a:close/>
                </a:path>
              </a:pathLst>
            </a:custGeom>
            <a:solidFill>
              <a:srgbClr val="394552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42" name="Forma livre: Forma 1141">
              <a:extLst>
                <a:ext uri="{FF2B5EF4-FFF2-40B4-BE49-F238E27FC236}">
                  <a16:creationId xmlns:a16="http://schemas.microsoft.com/office/drawing/2014/main" id="{CC3CAA55-33A7-8A9E-2181-8E6C3F3213B9}"/>
                </a:ext>
              </a:extLst>
            </p:cNvPr>
            <p:cNvSpPr/>
            <p:nvPr/>
          </p:nvSpPr>
          <p:spPr>
            <a:xfrm>
              <a:off x="11309113" y="1741894"/>
              <a:ext cx="6268" cy="6269"/>
            </a:xfrm>
            <a:custGeom>
              <a:avLst/>
              <a:gdLst>
                <a:gd name="connsiteX0" fmla="*/ 2893 w 6268"/>
                <a:gd name="connsiteY0" fmla="*/ 6260 h 6269"/>
                <a:gd name="connsiteX1" fmla="*/ 9 w 6268"/>
                <a:gd name="connsiteY1" fmla="*/ 2917 h 6269"/>
                <a:gd name="connsiteX2" fmla="*/ 3364 w 6268"/>
                <a:gd name="connsiteY2" fmla="*/ 9 h 6269"/>
                <a:gd name="connsiteX3" fmla="*/ 6260 w 6268"/>
                <a:gd name="connsiteY3" fmla="*/ 3376 h 6269"/>
                <a:gd name="connsiteX4" fmla="*/ 2893 w 6268"/>
                <a:gd name="connsiteY4" fmla="*/ 6260 h 62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268" h="6269">
                  <a:moveTo>
                    <a:pt x="2893" y="6260"/>
                  </a:moveTo>
                  <a:cubicBezTo>
                    <a:pt x="1168" y="6127"/>
                    <a:pt x="-123" y="4643"/>
                    <a:pt x="9" y="2917"/>
                  </a:cubicBezTo>
                  <a:cubicBezTo>
                    <a:pt x="142" y="1180"/>
                    <a:pt x="1638" y="-123"/>
                    <a:pt x="3364" y="9"/>
                  </a:cubicBezTo>
                  <a:cubicBezTo>
                    <a:pt x="5089" y="142"/>
                    <a:pt x="6392" y="1662"/>
                    <a:pt x="6260" y="3376"/>
                  </a:cubicBezTo>
                  <a:cubicBezTo>
                    <a:pt x="6127" y="5113"/>
                    <a:pt x="4631" y="6392"/>
                    <a:pt x="2893" y="6260"/>
                  </a:cubicBezTo>
                  <a:close/>
                </a:path>
              </a:pathLst>
            </a:custGeom>
            <a:solidFill>
              <a:srgbClr val="394552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43" name="Forma livre: Forma 1142">
              <a:extLst>
                <a:ext uri="{FF2B5EF4-FFF2-40B4-BE49-F238E27FC236}">
                  <a16:creationId xmlns:a16="http://schemas.microsoft.com/office/drawing/2014/main" id="{073760AB-036E-1448-8FC8-91D1FDC467D6}"/>
                </a:ext>
              </a:extLst>
            </p:cNvPr>
            <p:cNvSpPr/>
            <p:nvPr/>
          </p:nvSpPr>
          <p:spPr>
            <a:xfrm>
              <a:off x="11402204" y="1745067"/>
              <a:ext cx="6269" cy="6269"/>
            </a:xfrm>
            <a:custGeom>
              <a:avLst/>
              <a:gdLst>
                <a:gd name="connsiteX0" fmla="*/ 2893 w 6269"/>
                <a:gd name="connsiteY0" fmla="*/ 6260 h 6269"/>
                <a:gd name="connsiteX1" fmla="*/ 9 w 6269"/>
                <a:gd name="connsiteY1" fmla="*/ 2917 h 6269"/>
                <a:gd name="connsiteX2" fmla="*/ 3364 w 6269"/>
                <a:gd name="connsiteY2" fmla="*/ 9 h 6269"/>
                <a:gd name="connsiteX3" fmla="*/ 6260 w 6269"/>
                <a:gd name="connsiteY3" fmla="*/ 3376 h 6269"/>
                <a:gd name="connsiteX4" fmla="*/ 2893 w 6269"/>
                <a:gd name="connsiteY4" fmla="*/ 6260 h 62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269" h="6269">
                  <a:moveTo>
                    <a:pt x="2893" y="6260"/>
                  </a:moveTo>
                  <a:cubicBezTo>
                    <a:pt x="1168" y="6127"/>
                    <a:pt x="-123" y="4643"/>
                    <a:pt x="9" y="2917"/>
                  </a:cubicBezTo>
                  <a:cubicBezTo>
                    <a:pt x="142" y="1180"/>
                    <a:pt x="1638" y="-123"/>
                    <a:pt x="3364" y="9"/>
                  </a:cubicBezTo>
                  <a:cubicBezTo>
                    <a:pt x="5089" y="142"/>
                    <a:pt x="6393" y="1662"/>
                    <a:pt x="6260" y="3376"/>
                  </a:cubicBezTo>
                  <a:cubicBezTo>
                    <a:pt x="6127" y="5101"/>
                    <a:pt x="4631" y="6392"/>
                    <a:pt x="2893" y="6260"/>
                  </a:cubicBezTo>
                  <a:close/>
                </a:path>
              </a:pathLst>
            </a:custGeom>
            <a:solidFill>
              <a:srgbClr val="394552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44" name="Forma livre: Forma 1143">
              <a:extLst>
                <a:ext uri="{FF2B5EF4-FFF2-40B4-BE49-F238E27FC236}">
                  <a16:creationId xmlns:a16="http://schemas.microsoft.com/office/drawing/2014/main" id="{E836FA55-1D28-79D8-BF1D-99E723945797}"/>
                </a:ext>
              </a:extLst>
            </p:cNvPr>
            <p:cNvSpPr/>
            <p:nvPr/>
          </p:nvSpPr>
          <p:spPr>
            <a:xfrm>
              <a:off x="11214549" y="1675119"/>
              <a:ext cx="6269" cy="6269"/>
            </a:xfrm>
            <a:custGeom>
              <a:avLst/>
              <a:gdLst>
                <a:gd name="connsiteX0" fmla="*/ 2893 w 6269"/>
                <a:gd name="connsiteY0" fmla="*/ 6260 h 6269"/>
                <a:gd name="connsiteX1" fmla="*/ 9 w 6269"/>
                <a:gd name="connsiteY1" fmla="*/ 2917 h 6269"/>
                <a:gd name="connsiteX2" fmla="*/ 3364 w 6269"/>
                <a:gd name="connsiteY2" fmla="*/ 9 h 6269"/>
                <a:gd name="connsiteX3" fmla="*/ 6260 w 6269"/>
                <a:gd name="connsiteY3" fmla="*/ 3376 h 6269"/>
                <a:gd name="connsiteX4" fmla="*/ 2893 w 6269"/>
                <a:gd name="connsiteY4" fmla="*/ 6260 h 62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269" h="6269">
                  <a:moveTo>
                    <a:pt x="2893" y="6260"/>
                  </a:moveTo>
                  <a:cubicBezTo>
                    <a:pt x="1168" y="6127"/>
                    <a:pt x="-123" y="4643"/>
                    <a:pt x="9" y="2917"/>
                  </a:cubicBezTo>
                  <a:cubicBezTo>
                    <a:pt x="142" y="1180"/>
                    <a:pt x="1638" y="-123"/>
                    <a:pt x="3364" y="9"/>
                  </a:cubicBezTo>
                  <a:cubicBezTo>
                    <a:pt x="5089" y="142"/>
                    <a:pt x="6393" y="1662"/>
                    <a:pt x="6260" y="3376"/>
                  </a:cubicBezTo>
                  <a:cubicBezTo>
                    <a:pt x="6127" y="5101"/>
                    <a:pt x="4631" y="6392"/>
                    <a:pt x="2893" y="6260"/>
                  </a:cubicBezTo>
                  <a:close/>
                </a:path>
              </a:pathLst>
            </a:custGeom>
            <a:solidFill>
              <a:srgbClr val="394552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45" name="Forma livre: Forma 1144">
              <a:extLst>
                <a:ext uri="{FF2B5EF4-FFF2-40B4-BE49-F238E27FC236}">
                  <a16:creationId xmlns:a16="http://schemas.microsoft.com/office/drawing/2014/main" id="{2A80F495-396D-FFC4-1C33-F69D57C4FB76}"/>
                </a:ext>
              </a:extLst>
            </p:cNvPr>
            <p:cNvSpPr/>
            <p:nvPr/>
          </p:nvSpPr>
          <p:spPr>
            <a:xfrm>
              <a:off x="11291315" y="1708374"/>
              <a:ext cx="6268" cy="6269"/>
            </a:xfrm>
            <a:custGeom>
              <a:avLst/>
              <a:gdLst>
                <a:gd name="connsiteX0" fmla="*/ 2905 w 6268"/>
                <a:gd name="connsiteY0" fmla="*/ 6260 h 6269"/>
                <a:gd name="connsiteX1" fmla="*/ 9 w 6268"/>
                <a:gd name="connsiteY1" fmla="*/ 2917 h 6269"/>
                <a:gd name="connsiteX2" fmla="*/ 3364 w 6268"/>
                <a:gd name="connsiteY2" fmla="*/ 9 h 6269"/>
                <a:gd name="connsiteX3" fmla="*/ 6260 w 6268"/>
                <a:gd name="connsiteY3" fmla="*/ 3388 h 6269"/>
                <a:gd name="connsiteX4" fmla="*/ 2905 w 6268"/>
                <a:gd name="connsiteY4" fmla="*/ 6260 h 62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268" h="6269">
                  <a:moveTo>
                    <a:pt x="2905" y="6260"/>
                  </a:moveTo>
                  <a:cubicBezTo>
                    <a:pt x="1180" y="6139"/>
                    <a:pt x="-124" y="4655"/>
                    <a:pt x="9" y="2917"/>
                  </a:cubicBezTo>
                  <a:cubicBezTo>
                    <a:pt x="142" y="1180"/>
                    <a:pt x="1638" y="-123"/>
                    <a:pt x="3364" y="9"/>
                  </a:cubicBezTo>
                  <a:cubicBezTo>
                    <a:pt x="5101" y="142"/>
                    <a:pt x="6392" y="1662"/>
                    <a:pt x="6260" y="3388"/>
                  </a:cubicBezTo>
                  <a:cubicBezTo>
                    <a:pt x="6127" y="5125"/>
                    <a:pt x="4631" y="6392"/>
                    <a:pt x="2905" y="6260"/>
                  </a:cubicBezTo>
                  <a:close/>
                </a:path>
              </a:pathLst>
            </a:custGeom>
            <a:solidFill>
              <a:srgbClr val="394552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46" name="Forma livre: Forma 1145">
              <a:extLst>
                <a:ext uri="{FF2B5EF4-FFF2-40B4-BE49-F238E27FC236}">
                  <a16:creationId xmlns:a16="http://schemas.microsoft.com/office/drawing/2014/main" id="{0D3C6B34-8A2E-D587-ABAC-FB002AB56E8B}"/>
                </a:ext>
              </a:extLst>
            </p:cNvPr>
            <p:cNvSpPr/>
            <p:nvPr/>
          </p:nvSpPr>
          <p:spPr>
            <a:xfrm>
              <a:off x="11245753" y="1565824"/>
              <a:ext cx="6269" cy="6281"/>
            </a:xfrm>
            <a:custGeom>
              <a:avLst/>
              <a:gdLst>
                <a:gd name="connsiteX0" fmla="*/ 6260 w 6269"/>
                <a:gd name="connsiteY0" fmla="*/ 3386 h 6281"/>
                <a:gd name="connsiteX1" fmla="*/ 2917 w 6269"/>
                <a:gd name="connsiteY1" fmla="*/ 6270 h 6281"/>
                <a:gd name="connsiteX2" fmla="*/ 9 w 6269"/>
                <a:gd name="connsiteY2" fmla="*/ 2904 h 6281"/>
                <a:gd name="connsiteX3" fmla="*/ 3388 w 6269"/>
                <a:gd name="connsiteY3" fmla="*/ 8 h 6281"/>
                <a:gd name="connsiteX4" fmla="*/ 6260 w 6269"/>
                <a:gd name="connsiteY4" fmla="*/ 3374 h 62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269" h="6281">
                  <a:moveTo>
                    <a:pt x="6260" y="3386"/>
                  </a:moveTo>
                  <a:cubicBezTo>
                    <a:pt x="6127" y="5124"/>
                    <a:pt x="4643" y="6415"/>
                    <a:pt x="2917" y="6270"/>
                  </a:cubicBezTo>
                  <a:cubicBezTo>
                    <a:pt x="1180" y="6138"/>
                    <a:pt x="-124" y="4641"/>
                    <a:pt x="9" y="2904"/>
                  </a:cubicBezTo>
                  <a:cubicBezTo>
                    <a:pt x="142" y="1178"/>
                    <a:pt x="1662" y="-113"/>
                    <a:pt x="3388" y="8"/>
                  </a:cubicBezTo>
                  <a:cubicBezTo>
                    <a:pt x="5113" y="141"/>
                    <a:pt x="6392" y="1649"/>
                    <a:pt x="6260" y="3374"/>
                  </a:cubicBezTo>
                  <a:close/>
                </a:path>
              </a:pathLst>
            </a:custGeom>
            <a:solidFill>
              <a:srgbClr val="394552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47" name="Forma livre: Forma 1146">
              <a:extLst>
                <a:ext uri="{FF2B5EF4-FFF2-40B4-BE49-F238E27FC236}">
                  <a16:creationId xmlns:a16="http://schemas.microsoft.com/office/drawing/2014/main" id="{147EE864-777B-7374-34EF-4BA33524B3D2}"/>
                </a:ext>
              </a:extLst>
            </p:cNvPr>
            <p:cNvSpPr/>
            <p:nvPr/>
          </p:nvSpPr>
          <p:spPr>
            <a:xfrm>
              <a:off x="11190175" y="1592585"/>
              <a:ext cx="6269" cy="6270"/>
            </a:xfrm>
            <a:custGeom>
              <a:avLst/>
              <a:gdLst>
                <a:gd name="connsiteX0" fmla="*/ 6260 w 6269"/>
                <a:gd name="connsiteY0" fmla="*/ 3376 h 6270"/>
                <a:gd name="connsiteX1" fmla="*/ 2917 w 6269"/>
                <a:gd name="connsiteY1" fmla="*/ 6260 h 6270"/>
                <a:gd name="connsiteX2" fmla="*/ 9 w 6269"/>
                <a:gd name="connsiteY2" fmla="*/ 2905 h 6270"/>
                <a:gd name="connsiteX3" fmla="*/ 3376 w 6269"/>
                <a:gd name="connsiteY3" fmla="*/ 9 h 6270"/>
                <a:gd name="connsiteX4" fmla="*/ 6260 w 6269"/>
                <a:gd name="connsiteY4" fmla="*/ 3364 h 62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269" h="6270">
                  <a:moveTo>
                    <a:pt x="6260" y="3376"/>
                  </a:moveTo>
                  <a:cubicBezTo>
                    <a:pt x="6127" y="5101"/>
                    <a:pt x="4643" y="6405"/>
                    <a:pt x="2917" y="6260"/>
                  </a:cubicBezTo>
                  <a:cubicBezTo>
                    <a:pt x="1180" y="6127"/>
                    <a:pt x="-123" y="4631"/>
                    <a:pt x="9" y="2905"/>
                  </a:cubicBezTo>
                  <a:cubicBezTo>
                    <a:pt x="142" y="1168"/>
                    <a:pt x="1650" y="-123"/>
                    <a:pt x="3376" y="9"/>
                  </a:cubicBezTo>
                  <a:cubicBezTo>
                    <a:pt x="5113" y="142"/>
                    <a:pt x="6392" y="1638"/>
                    <a:pt x="6260" y="3364"/>
                  </a:cubicBezTo>
                  <a:close/>
                </a:path>
              </a:pathLst>
            </a:custGeom>
            <a:solidFill>
              <a:srgbClr val="394552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48" name="Forma livre: Forma 1147">
              <a:extLst>
                <a:ext uri="{FF2B5EF4-FFF2-40B4-BE49-F238E27FC236}">
                  <a16:creationId xmlns:a16="http://schemas.microsoft.com/office/drawing/2014/main" id="{079EA909-21C9-E4BE-74D3-17DAD00EC543}"/>
                </a:ext>
              </a:extLst>
            </p:cNvPr>
            <p:cNvSpPr/>
            <p:nvPr/>
          </p:nvSpPr>
          <p:spPr>
            <a:xfrm>
              <a:off x="11357753" y="1685252"/>
              <a:ext cx="6283" cy="6283"/>
            </a:xfrm>
            <a:custGeom>
              <a:avLst/>
              <a:gdLst>
                <a:gd name="connsiteX0" fmla="*/ 5740 w 6283"/>
                <a:gd name="connsiteY0" fmla="*/ 4875 h 6283"/>
                <a:gd name="connsiteX1" fmla="*/ 1408 w 6283"/>
                <a:gd name="connsiteY1" fmla="*/ 5756 h 6283"/>
                <a:gd name="connsiteX2" fmla="*/ 527 w 6283"/>
                <a:gd name="connsiteY2" fmla="*/ 1400 h 6283"/>
                <a:gd name="connsiteX3" fmla="*/ 4883 w 6283"/>
                <a:gd name="connsiteY3" fmla="*/ 531 h 6283"/>
                <a:gd name="connsiteX4" fmla="*/ 5752 w 6283"/>
                <a:gd name="connsiteY4" fmla="*/ 4875 h 62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283" h="6283">
                  <a:moveTo>
                    <a:pt x="5740" y="4875"/>
                  </a:moveTo>
                  <a:cubicBezTo>
                    <a:pt x="4775" y="6323"/>
                    <a:pt x="2856" y="6721"/>
                    <a:pt x="1408" y="5756"/>
                  </a:cubicBezTo>
                  <a:cubicBezTo>
                    <a:pt x="-40" y="4791"/>
                    <a:pt x="-438" y="2848"/>
                    <a:pt x="527" y="1400"/>
                  </a:cubicBezTo>
                  <a:cubicBezTo>
                    <a:pt x="1493" y="-48"/>
                    <a:pt x="3435" y="-434"/>
                    <a:pt x="4883" y="531"/>
                  </a:cubicBezTo>
                  <a:cubicBezTo>
                    <a:pt x="6331" y="1484"/>
                    <a:pt x="6717" y="3427"/>
                    <a:pt x="5752" y="4875"/>
                  </a:cubicBezTo>
                  <a:close/>
                </a:path>
              </a:pathLst>
            </a:custGeom>
            <a:solidFill>
              <a:srgbClr val="394552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49" name="Forma livre: Forma 1148">
              <a:extLst>
                <a:ext uri="{FF2B5EF4-FFF2-40B4-BE49-F238E27FC236}">
                  <a16:creationId xmlns:a16="http://schemas.microsoft.com/office/drawing/2014/main" id="{893029AD-5754-AC9F-F79A-CDA722E4578F}"/>
                </a:ext>
              </a:extLst>
            </p:cNvPr>
            <p:cNvSpPr/>
            <p:nvPr/>
          </p:nvSpPr>
          <p:spPr>
            <a:xfrm>
              <a:off x="11267180" y="1603853"/>
              <a:ext cx="183347" cy="118032"/>
            </a:xfrm>
            <a:custGeom>
              <a:avLst/>
              <a:gdLst>
                <a:gd name="connsiteX0" fmla="*/ 183347 w 183347"/>
                <a:gd name="connsiteY0" fmla="*/ 60537 h 118032"/>
                <a:gd name="connsiteX1" fmla="*/ 92693 w 183347"/>
                <a:gd name="connsiteY1" fmla="*/ 118033 h 118032"/>
                <a:gd name="connsiteX2" fmla="*/ 0 w 183347"/>
                <a:gd name="connsiteY2" fmla="*/ 57484 h 118032"/>
                <a:gd name="connsiteX3" fmla="*/ 90654 w 183347"/>
                <a:gd name="connsiteY3" fmla="*/ 0 h 118032"/>
                <a:gd name="connsiteX4" fmla="*/ 183347 w 183347"/>
                <a:gd name="connsiteY4" fmla="*/ 60537 h 1180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3347" h="118032">
                  <a:moveTo>
                    <a:pt x="183347" y="60537"/>
                  </a:moveTo>
                  <a:lnTo>
                    <a:pt x="92693" y="118033"/>
                  </a:lnTo>
                  <a:lnTo>
                    <a:pt x="0" y="57484"/>
                  </a:lnTo>
                  <a:lnTo>
                    <a:pt x="90654" y="0"/>
                  </a:lnTo>
                  <a:lnTo>
                    <a:pt x="183347" y="60537"/>
                  </a:ln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50" name="Forma livre: Forma 1149">
              <a:extLst>
                <a:ext uri="{FF2B5EF4-FFF2-40B4-BE49-F238E27FC236}">
                  <a16:creationId xmlns:a16="http://schemas.microsoft.com/office/drawing/2014/main" id="{55598FCB-26B7-E024-5280-16C13E2311DC}"/>
                </a:ext>
              </a:extLst>
            </p:cNvPr>
            <p:cNvSpPr/>
            <p:nvPr/>
          </p:nvSpPr>
          <p:spPr>
            <a:xfrm>
              <a:off x="11267180" y="1661337"/>
              <a:ext cx="183347" cy="170955"/>
            </a:xfrm>
            <a:custGeom>
              <a:avLst/>
              <a:gdLst>
                <a:gd name="connsiteX0" fmla="*/ 183347 w 183347"/>
                <a:gd name="connsiteY0" fmla="*/ 3053 h 170955"/>
                <a:gd name="connsiteX1" fmla="*/ 183347 w 183347"/>
                <a:gd name="connsiteY1" fmla="*/ 113459 h 170955"/>
                <a:gd name="connsiteX2" fmla="*/ 92693 w 183347"/>
                <a:gd name="connsiteY2" fmla="*/ 170955 h 170955"/>
                <a:gd name="connsiteX3" fmla="*/ 0 w 183347"/>
                <a:gd name="connsiteY3" fmla="*/ 110407 h 170955"/>
                <a:gd name="connsiteX4" fmla="*/ 0 w 183347"/>
                <a:gd name="connsiteY4" fmla="*/ 0 h 170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3347" h="170955">
                  <a:moveTo>
                    <a:pt x="183347" y="3053"/>
                  </a:moveTo>
                  <a:lnTo>
                    <a:pt x="183347" y="113459"/>
                  </a:lnTo>
                  <a:lnTo>
                    <a:pt x="92693" y="170955"/>
                  </a:lnTo>
                  <a:lnTo>
                    <a:pt x="0" y="110407"/>
                  </a:lnTo>
                  <a:lnTo>
                    <a:pt x="0" y="0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51" name="Forma livre: Forma 1150">
              <a:extLst>
                <a:ext uri="{FF2B5EF4-FFF2-40B4-BE49-F238E27FC236}">
                  <a16:creationId xmlns:a16="http://schemas.microsoft.com/office/drawing/2014/main" id="{25B00EEB-04A3-2D49-B313-29FC99C305A6}"/>
                </a:ext>
              </a:extLst>
            </p:cNvPr>
            <p:cNvSpPr/>
            <p:nvPr/>
          </p:nvSpPr>
          <p:spPr>
            <a:xfrm>
              <a:off x="11138420" y="1529850"/>
              <a:ext cx="165706" cy="104904"/>
            </a:xfrm>
            <a:custGeom>
              <a:avLst/>
              <a:gdLst>
                <a:gd name="connsiteX0" fmla="*/ 165707 w 165706"/>
                <a:gd name="connsiteY0" fmla="*/ 13189 h 104904"/>
                <a:gd name="connsiteX1" fmla="*/ 109924 w 165706"/>
                <a:gd name="connsiteY1" fmla="*/ 104904 h 104904"/>
                <a:gd name="connsiteX2" fmla="*/ 0 w 165706"/>
                <a:gd name="connsiteY2" fmla="*/ 91716 h 104904"/>
                <a:gd name="connsiteX3" fmla="*/ 55771 w 165706"/>
                <a:gd name="connsiteY3" fmla="*/ 0 h 104904"/>
                <a:gd name="connsiteX4" fmla="*/ 165707 w 165706"/>
                <a:gd name="connsiteY4" fmla="*/ 13189 h 1049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5706" h="104904">
                  <a:moveTo>
                    <a:pt x="165707" y="13189"/>
                  </a:moveTo>
                  <a:lnTo>
                    <a:pt x="109924" y="104904"/>
                  </a:lnTo>
                  <a:lnTo>
                    <a:pt x="0" y="91716"/>
                  </a:lnTo>
                  <a:lnTo>
                    <a:pt x="55771" y="0"/>
                  </a:lnTo>
                  <a:lnTo>
                    <a:pt x="165707" y="13189"/>
                  </a:ln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52" name="Forma livre: Forma 1151">
              <a:extLst>
                <a:ext uri="{FF2B5EF4-FFF2-40B4-BE49-F238E27FC236}">
                  <a16:creationId xmlns:a16="http://schemas.microsoft.com/office/drawing/2014/main" id="{9BF9EFFF-E1D2-021D-E2A9-C18BA1321869}"/>
                </a:ext>
              </a:extLst>
            </p:cNvPr>
            <p:cNvSpPr/>
            <p:nvPr/>
          </p:nvSpPr>
          <p:spPr>
            <a:xfrm>
              <a:off x="11138420" y="1621566"/>
              <a:ext cx="105555" cy="105761"/>
            </a:xfrm>
            <a:custGeom>
              <a:avLst/>
              <a:gdLst>
                <a:gd name="connsiteX0" fmla="*/ 105556 w 105555"/>
                <a:gd name="connsiteY0" fmla="*/ 105761 h 105761"/>
                <a:gd name="connsiteX1" fmla="*/ 48929 w 105555"/>
                <a:gd name="connsiteY1" fmla="*/ 98968 h 105761"/>
                <a:gd name="connsiteX2" fmla="*/ 0 w 105555"/>
                <a:gd name="connsiteY2" fmla="*/ 0 h 1057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05555" h="105761">
                  <a:moveTo>
                    <a:pt x="105556" y="105761"/>
                  </a:moveTo>
                  <a:lnTo>
                    <a:pt x="48929" y="98968"/>
                  </a:lnTo>
                  <a:lnTo>
                    <a:pt x="0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53" name="Forma livre: Forma 1152">
              <a:extLst>
                <a:ext uri="{FF2B5EF4-FFF2-40B4-BE49-F238E27FC236}">
                  <a16:creationId xmlns:a16="http://schemas.microsoft.com/office/drawing/2014/main" id="{5A21002B-C53F-05F9-346C-5278D77E68EB}"/>
                </a:ext>
              </a:extLst>
            </p:cNvPr>
            <p:cNvSpPr/>
            <p:nvPr/>
          </p:nvSpPr>
          <p:spPr>
            <a:xfrm>
              <a:off x="11304127" y="1543039"/>
              <a:ext cx="25870" cy="52319"/>
            </a:xfrm>
            <a:custGeom>
              <a:avLst/>
              <a:gdLst>
                <a:gd name="connsiteX0" fmla="*/ 0 w 25870"/>
                <a:gd name="connsiteY0" fmla="*/ 0 h 52319"/>
                <a:gd name="connsiteX1" fmla="*/ 25870 w 25870"/>
                <a:gd name="connsiteY1" fmla="*/ 52319 h 523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5870" h="52319">
                  <a:moveTo>
                    <a:pt x="0" y="0"/>
                  </a:moveTo>
                  <a:lnTo>
                    <a:pt x="25870" y="52319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54" name="Forma livre: Forma 1153">
              <a:extLst>
                <a:ext uri="{FF2B5EF4-FFF2-40B4-BE49-F238E27FC236}">
                  <a16:creationId xmlns:a16="http://schemas.microsoft.com/office/drawing/2014/main" id="{454E895E-F71A-F84C-F297-1B55A0042DDA}"/>
                </a:ext>
              </a:extLst>
            </p:cNvPr>
            <p:cNvSpPr/>
            <p:nvPr/>
          </p:nvSpPr>
          <p:spPr>
            <a:xfrm>
              <a:off x="11359945" y="1722911"/>
              <a:ext cx="1206" cy="107993"/>
            </a:xfrm>
            <a:custGeom>
              <a:avLst/>
              <a:gdLst>
                <a:gd name="connsiteX0" fmla="*/ 0 w 1206"/>
                <a:gd name="connsiteY0" fmla="*/ 107993 h 107993"/>
                <a:gd name="connsiteX1" fmla="*/ 0 w 1206"/>
                <a:gd name="connsiteY1" fmla="*/ 0 h 1079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6" h="107993">
                  <a:moveTo>
                    <a:pt x="0" y="107993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155" name="Gráfico 11">
            <a:extLst>
              <a:ext uri="{FF2B5EF4-FFF2-40B4-BE49-F238E27FC236}">
                <a16:creationId xmlns:a16="http://schemas.microsoft.com/office/drawing/2014/main" id="{F1B0EF99-5CFC-9BB6-A878-C0A597280797}"/>
              </a:ext>
            </a:extLst>
          </p:cNvPr>
          <p:cNvGrpSpPr/>
          <p:nvPr/>
        </p:nvGrpSpPr>
        <p:grpSpPr>
          <a:xfrm>
            <a:off x="11117533" y="995494"/>
            <a:ext cx="353880" cy="301512"/>
            <a:chOff x="11117533" y="995494"/>
            <a:chExt cx="353880" cy="301512"/>
          </a:xfrm>
          <a:noFill/>
        </p:grpSpPr>
        <p:grpSp>
          <p:nvGrpSpPr>
            <p:cNvPr id="1156" name="Gráfico 11">
              <a:extLst>
                <a:ext uri="{FF2B5EF4-FFF2-40B4-BE49-F238E27FC236}">
                  <a16:creationId xmlns:a16="http://schemas.microsoft.com/office/drawing/2014/main" id="{FAFA84C9-CF4C-9938-B20D-646A503F42CC}"/>
                </a:ext>
              </a:extLst>
            </p:cNvPr>
            <p:cNvGrpSpPr/>
            <p:nvPr/>
          </p:nvGrpSpPr>
          <p:grpSpPr>
            <a:xfrm>
              <a:off x="11206920" y="995494"/>
              <a:ext cx="175106" cy="72808"/>
              <a:chOff x="11206920" y="995494"/>
              <a:chExt cx="175106" cy="72808"/>
            </a:xfrm>
          </p:grpSpPr>
          <p:grpSp>
            <p:nvGrpSpPr>
              <p:cNvPr id="1157" name="Gráfico 11">
                <a:extLst>
                  <a:ext uri="{FF2B5EF4-FFF2-40B4-BE49-F238E27FC236}">
                    <a16:creationId xmlns:a16="http://schemas.microsoft.com/office/drawing/2014/main" id="{60E8C6AD-BEFC-E187-2703-18E51BB03B3E}"/>
                  </a:ext>
                </a:extLst>
              </p:cNvPr>
              <p:cNvGrpSpPr/>
              <p:nvPr/>
            </p:nvGrpSpPr>
            <p:grpSpPr>
              <a:xfrm>
                <a:off x="11263692" y="995494"/>
                <a:ext cx="61562" cy="61562"/>
                <a:chOff x="11263692" y="995494"/>
                <a:chExt cx="61562" cy="61562"/>
              </a:xfrm>
            </p:grpSpPr>
            <p:sp>
              <p:nvSpPr>
                <p:cNvPr id="1158" name="Forma livre: Forma 1157">
                  <a:extLst>
                    <a:ext uri="{FF2B5EF4-FFF2-40B4-BE49-F238E27FC236}">
                      <a16:creationId xmlns:a16="http://schemas.microsoft.com/office/drawing/2014/main" id="{648D1117-BC21-B28D-E04F-D268C953898E}"/>
                    </a:ext>
                  </a:extLst>
                </p:cNvPr>
                <p:cNvSpPr/>
                <p:nvPr/>
              </p:nvSpPr>
              <p:spPr>
                <a:xfrm>
                  <a:off x="11294486" y="995494"/>
                  <a:ext cx="1206" cy="19595"/>
                </a:xfrm>
                <a:custGeom>
                  <a:avLst/>
                  <a:gdLst>
                    <a:gd name="connsiteX0" fmla="*/ 0 w 1206"/>
                    <a:gd name="connsiteY0" fmla="*/ 0 h 19595"/>
                    <a:gd name="connsiteX1" fmla="*/ 0 w 1206"/>
                    <a:gd name="connsiteY1" fmla="*/ 19596 h 1959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206" h="19595">
                      <a:moveTo>
                        <a:pt x="0" y="0"/>
                      </a:moveTo>
                      <a:lnTo>
                        <a:pt x="0" y="19596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159" name="Forma livre: Forma 1158">
                  <a:extLst>
                    <a:ext uri="{FF2B5EF4-FFF2-40B4-BE49-F238E27FC236}">
                      <a16:creationId xmlns:a16="http://schemas.microsoft.com/office/drawing/2014/main" id="{EEEE2B34-6AFA-C28D-2C9B-852AF5CA80A1}"/>
                    </a:ext>
                  </a:extLst>
                </p:cNvPr>
                <p:cNvSpPr/>
                <p:nvPr/>
              </p:nvSpPr>
              <p:spPr>
                <a:xfrm>
                  <a:off x="11294486" y="1037448"/>
                  <a:ext cx="1206" cy="19607"/>
                </a:xfrm>
                <a:custGeom>
                  <a:avLst/>
                  <a:gdLst>
                    <a:gd name="connsiteX0" fmla="*/ 0 w 1206"/>
                    <a:gd name="connsiteY0" fmla="*/ 0 h 19607"/>
                    <a:gd name="connsiteX1" fmla="*/ 0 w 1206"/>
                    <a:gd name="connsiteY1" fmla="*/ 19608 h 1960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206" h="19607">
                      <a:moveTo>
                        <a:pt x="0" y="0"/>
                      </a:moveTo>
                      <a:lnTo>
                        <a:pt x="0" y="19608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160" name="Forma livre: Forma 1159">
                  <a:extLst>
                    <a:ext uri="{FF2B5EF4-FFF2-40B4-BE49-F238E27FC236}">
                      <a16:creationId xmlns:a16="http://schemas.microsoft.com/office/drawing/2014/main" id="{7A3EBA70-659F-1A7C-6D69-B892BC037606}"/>
                    </a:ext>
                  </a:extLst>
                </p:cNvPr>
                <p:cNvSpPr/>
                <p:nvPr/>
              </p:nvSpPr>
              <p:spPr>
                <a:xfrm>
                  <a:off x="11305659" y="1026275"/>
                  <a:ext cx="19595" cy="1206"/>
                </a:xfrm>
                <a:custGeom>
                  <a:avLst/>
                  <a:gdLst>
                    <a:gd name="connsiteX0" fmla="*/ 19596 w 19595"/>
                    <a:gd name="connsiteY0" fmla="*/ 0 h 1206"/>
                    <a:gd name="connsiteX1" fmla="*/ 0 w 19595"/>
                    <a:gd name="connsiteY1" fmla="*/ 0 h 120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9595" h="1206">
                      <a:moveTo>
                        <a:pt x="19596" y="0"/>
                      </a:moveTo>
                      <a:lnTo>
                        <a:pt x="0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161" name="Forma livre: Forma 1160">
                  <a:extLst>
                    <a:ext uri="{FF2B5EF4-FFF2-40B4-BE49-F238E27FC236}">
                      <a16:creationId xmlns:a16="http://schemas.microsoft.com/office/drawing/2014/main" id="{3834F79E-239B-614F-B823-2FD47A73F70F}"/>
                    </a:ext>
                  </a:extLst>
                </p:cNvPr>
                <p:cNvSpPr/>
                <p:nvPr/>
              </p:nvSpPr>
              <p:spPr>
                <a:xfrm>
                  <a:off x="11263692" y="1026275"/>
                  <a:ext cx="19607" cy="1206"/>
                </a:xfrm>
                <a:custGeom>
                  <a:avLst/>
                  <a:gdLst>
                    <a:gd name="connsiteX0" fmla="*/ 19608 w 19607"/>
                    <a:gd name="connsiteY0" fmla="*/ 0 h 1206"/>
                    <a:gd name="connsiteX1" fmla="*/ 0 w 19607"/>
                    <a:gd name="connsiteY1" fmla="*/ 0 h 120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9607" h="1206">
                      <a:moveTo>
                        <a:pt x="19608" y="0"/>
                      </a:moveTo>
                      <a:lnTo>
                        <a:pt x="0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1162" name="Gráfico 11">
                <a:extLst>
                  <a:ext uri="{FF2B5EF4-FFF2-40B4-BE49-F238E27FC236}">
                    <a16:creationId xmlns:a16="http://schemas.microsoft.com/office/drawing/2014/main" id="{660231A1-BA77-F739-0222-751253FD2D5C}"/>
                  </a:ext>
                </a:extLst>
              </p:cNvPr>
              <p:cNvGrpSpPr/>
              <p:nvPr/>
            </p:nvGrpSpPr>
            <p:grpSpPr>
              <a:xfrm>
                <a:off x="11206920" y="1029774"/>
                <a:ext cx="175106" cy="38527"/>
                <a:chOff x="11206920" y="1029774"/>
                <a:chExt cx="175106" cy="38527"/>
              </a:xfrm>
            </p:grpSpPr>
            <p:sp>
              <p:nvSpPr>
                <p:cNvPr id="1163" name="Forma livre: Forma 1162">
                  <a:extLst>
                    <a:ext uri="{FF2B5EF4-FFF2-40B4-BE49-F238E27FC236}">
                      <a16:creationId xmlns:a16="http://schemas.microsoft.com/office/drawing/2014/main" id="{948BFCC3-DBCE-52BF-1838-916D60CDB4CF}"/>
                    </a:ext>
                  </a:extLst>
                </p:cNvPr>
                <p:cNvSpPr/>
                <p:nvPr/>
              </p:nvSpPr>
              <p:spPr>
                <a:xfrm>
                  <a:off x="11355372" y="1029774"/>
                  <a:ext cx="26654" cy="38527"/>
                </a:xfrm>
                <a:custGeom>
                  <a:avLst/>
                  <a:gdLst>
                    <a:gd name="connsiteX0" fmla="*/ 0 w 26654"/>
                    <a:gd name="connsiteY0" fmla="*/ 38528 h 38527"/>
                    <a:gd name="connsiteX1" fmla="*/ 26654 w 26654"/>
                    <a:gd name="connsiteY1" fmla="*/ 0 h 3852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6654" h="38527">
                      <a:moveTo>
                        <a:pt x="0" y="38528"/>
                      </a:moveTo>
                      <a:lnTo>
                        <a:pt x="26654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164" name="Forma livre: Forma 1163">
                  <a:extLst>
                    <a:ext uri="{FF2B5EF4-FFF2-40B4-BE49-F238E27FC236}">
                      <a16:creationId xmlns:a16="http://schemas.microsoft.com/office/drawing/2014/main" id="{4818565B-DBA1-4843-D769-22EF0134A31C}"/>
                    </a:ext>
                  </a:extLst>
                </p:cNvPr>
                <p:cNvSpPr/>
                <p:nvPr/>
              </p:nvSpPr>
              <p:spPr>
                <a:xfrm>
                  <a:off x="11206920" y="1029774"/>
                  <a:ext cx="26654" cy="38527"/>
                </a:xfrm>
                <a:custGeom>
                  <a:avLst/>
                  <a:gdLst>
                    <a:gd name="connsiteX0" fmla="*/ 26654 w 26654"/>
                    <a:gd name="connsiteY0" fmla="*/ 38528 h 38527"/>
                    <a:gd name="connsiteX1" fmla="*/ 0 w 26654"/>
                    <a:gd name="connsiteY1" fmla="*/ 0 h 3852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6654" h="38527">
                      <a:moveTo>
                        <a:pt x="26654" y="38528"/>
                      </a:moveTo>
                      <a:lnTo>
                        <a:pt x="0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grpSp>
          <p:nvGrpSpPr>
            <p:cNvPr id="1165" name="Gráfico 11">
              <a:extLst>
                <a:ext uri="{FF2B5EF4-FFF2-40B4-BE49-F238E27FC236}">
                  <a16:creationId xmlns:a16="http://schemas.microsoft.com/office/drawing/2014/main" id="{83A0305F-7DAC-A2EC-DB3B-7097A0D03836}"/>
                </a:ext>
              </a:extLst>
            </p:cNvPr>
            <p:cNvGrpSpPr/>
            <p:nvPr/>
          </p:nvGrpSpPr>
          <p:grpSpPr>
            <a:xfrm>
              <a:off x="11206920" y="1224198"/>
              <a:ext cx="175106" cy="72808"/>
              <a:chOff x="11206920" y="1224198"/>
              <a:chExt cx="175106" cy="72808"/>
            </a:xfrm>
          </p:grpSpPr>
          <p:grpSp>
            <p:nvGrpSpPr>
              <p:cNvPr id="1166" name="Gráfico 11">
                <a:extLst>
                  <a:ext uri="{FF2B5EF4-FFF2-40B4-BE49-F238E27FC236}">
                    <a16:creationId xmlns:a16="http://schemas.microsoft.com/office/drawing/2014/main" id="{AA26791B-1B95-D2C8-9C78-4EED3EE17B0F}"/>
                  </a:ext>
                </a:extLst>
              </p:cNvPr>
              <p:cNvGrpSpPr/>
              <p:nvPr/>
            </p:nvGrpSpPr>
            <p:grpSpPr>
              <a:xfrm>
                <a:off x="11263692" y="1235444"/>
                <a:ext cx="61562" cy="61562"/>
                <a:chOff x="11263692" y="1235444"/>
                <a:chExt cx="61562" cy="61562"/>
              </a:xfrm>
            </p:grpSpPr>
            <p:sp>
              <p:nvSpPr>
                <p:cNvPr id="1167" name="Forma livre: Forma 1166">
                  <a:extLst>
                    <a:ext uri="{FF2B5EF4-FFF2-40B4-BE49-F238E27FC236}">
                      <a16:creationId xmlns:a16="http://schemas.microsoft.com/office/drawing/2014/main" id="{3F1B473D-2E3B-3782-DC21-B1F313C3DC51}"/>
                    </a:ext>
                  </a:extLst>
                </p:cNvPr>
                <p:cNvSpPr/>
                <p:nvPr/>
              </p:nvSpPr>
              <p:spPr>
                <a:xfrm>
                  <a:off x="11294473" y="1277411"/>
                  <a:ext cx="1206" cy="19595"/>
                </a:xfrm>
                <a:custGeom>
                  <a:avLst/>
                  <a:gdLst>
                    <a:gd name="connsiteX0" fmla="*/ 0 w 1206"/>
                    <a:gd name="connsiteY0" fmla="*/ 19596 h 19595"/>
                    <a:gd name="connsiteX1" fmla="*/ 0 w 1206"/>
                    <a:gd name="connsiteY1" fmla="*/ 0 h 1959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206" h="19595">
                      <a:moveTo>
                        <a:pt x="0" y="19596"/>
                      </a:moveTo>
                      <a:lnTo>
                        <a:pt x="0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168" name="Forma livre: Forma 1167">
                  <a:extLst>
                    <a:ext uri="{FF2B5EF4-FFF2-40B4-BE49-F238E27FC236}">
                      <a16:creationId xmlns:a16="http://schemas.microsoft.com/office/drawing/2014/main" id="{553ECF08-22BF-6195-9CEB-6B80427F99AF}"/>
                    </a:ext>
                  </a:extLst>
                </p:cNvPr>
                <p:cNvSpPr/>
                <p:nvPr/>
              </p:nvSpPr>
              <p:spPr>
                <a:xfrm>
                  <a:off x="11294473" y="1235444"/>
                  <a:ext cx="1206" cy="19607"/>
                </a:xfrm>
                <a:custGeom>
                  <a:avLst/>
                  <a:gdLst>
                    <a:gd name="connsiteX0" fmla="*/ 0 w 1206"/>
                    <a:gd name="connsiteY0" fmla="*/ 19608 h 19607"/>
                    <a:gd name="connsiteX1" fmla="*/ 0 w 1206"/>
                    <a:gd name="connsiteY1" fmla="*/ 0 h 1960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206" h="19607">
                      <a:moveTo>
                        <a:pt x="0" y="19608"/>
                      </a:moveTo>
                      <a:lnTo>
                        <a:pt x="0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169" name="Forma livre: Forma 1168">
                  <a:extLst>
                    <a:ext uri="{FF2B5EF4-FFF2-40B4-BE49-F238E27FC236}">
                      <a16:creationId xmlns:a16="http://schemas.microsoft.com/office/drawing/2014/main" id="{CA90889A-904A-509F-AAE5-D5AE24F23950}"/>
                    </a:ext>
                  </a:extLst>
                </p:cNvPr>
                <p:cNvSpPr/>
                <p:nvPr/>
              </p:nvSpPr>
              <p:spPr>
                <a:xfrm>
                  <a:off x="11263692" y="1266237"/>
                  <a:ext cx="19607" cy="1206"/>
                </a:xfrm>
                <a:custGeom>
                  <a:avLst/>
                  <a:gdLst>
                    <a:gd name="connsiteX0" fmla="*/ 0 w 19607"/>
                    <a:gd name="connsiteY0" fmla="*/ 0 h 1206"/>
                    <a:gd name="connsiteX1" fmla="*/ 19608 w 19607"/>
                    <a:gd name="connsiteY1" fmla="*/ 0 h 120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9607" h="1206">
                      <a:moveTo>
                        <a:pt x="0" y="0"/>
                      </a:moveTo>
                      <a:lnTo>
                        <a:pt x="19608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170" name="Forma livre: Forma 1169">
                  <a:extLst>
                    <a:ext uri="{FF2B5EF4-FFF2-40B4-BE49-F238E27FC236}">
                      <a16:creationId xmlns:a16="http://schemas.microsoft.com/office/drawing/2014/main" id="{75CBFAEB-C82E-8632-706E-F181314121E6}"/>
                    </a:ext>
                  </a:extLst>
                </p:cNvPr>
                <p:cNvSpPr/>
                <p:nvPr/>
              </p:nvSpPr>
              <p:spPr>
                <a:xfrm>
                  <a:off x="11305659" y="1266237"/>
                  <a:ext cx="19595" cy="1206"/>
                </a:xfrm>
                <a:custGeom>
                  <a:avLst/>
                  <a:gdLst>
                    <a:gd name="connsiteX0" fmla="*/ 0 w 19595"/>
                    <a:gd name="connsiteY0" fmla="*/ 0 h 1206"/>
                    <a:gd name="connsiteX1" fmla="*/ 19596 w 19595"/>
                    <a:gd name="connsiteY1" fmla="*/ 0 h 120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9595" h="1206">
                      <a:moveTo>
                        <a:pt x="0" y="0"/>
                      </a:moveTo>
                      <a:lnTo>
                        <a:pt x="19596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1171" name="Gráfico 11">
                <a:extLst>
                  <a:ext uri="{FF2B5EF4-FFF2-40B4-BE49-F238E27FC236}">
                    <a16:creationId xmlns:a16="http://schemas.microsoft.com/office/drawing/2014/main" id="{3A225EA3-87D6-ECC8-39EC-B3BF47EBF161}"/>
                  </a:ext>
                </a:extLst>
              </p:cNvPr>
              <p:cNvGrpSpPr/>
              <p:nvPr/>
            </p:nvGrpSpPr>
            <p:grpSpPr>
              <a:xfrm>
                <a:off x="11206920" y="1224198"/>
                <a:ext cx="175106" cy="38527"/>
                <a:chOff x="11206920" y="1224198"/>
                <a:chExt cx="175106" cy="38527"/>
              </a:xfrm>
            </p:grpSpPr>
            <p:sp>
              <p:nvSpPr>
                <p:cNvPr id="1172" name="Forma livre: Forma 1171">
                  <a:extLst>
                    <a:ext uri="{FF2B5EF4-FFF2-40B4-BE49-F238E27FC236}">
                      <a16:creationId xmlns:a16="http://schemas.microsoft.com/office/drawing/2014/main" id="{02B9019F-B844-CEE8-1E52-2F938FA41771}"/>
                    </a:ext>
                  </a:extLst>
                </p:cNvPr>
                <p:cNvSpPr/>
                <p:nvPr/>
              </p:nvSpPr>
              <p:spPr>
                <a:xfrm>
                  <a:off x="11206920" y="1224198"/>
                  <a:ext cx="26654" cy="38527"/>
                </a:xfrm>
                <a:custGeom>
                  <a:avLst/>
                  <a:gdLst>
                    <a:gd name="connsiteX0" fmla="*/ 26654 w 26654"/>
                    <a:gd name="connsiteY0" fmla="*/ 0 h 38527"/>
                    <a:gd name="connsiteX1" fmla="*/ 0 w 26654"/>
                    <a:gd name="connsiteY1" fmla="*/ 38528 h 3852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6654" h="38527">
                      <a:moveTo>
                        <a:pt x="26654" y="0"/>
                      </a:moveTo>
                      <a:lnTo>
                        <a:pt x="0" y="38528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173" name="Forma livre: Forma 1172">
                  <a:extLst>
                    <a:ext uri="{FF2B5EF4-FFF2-40B4-BE49-F238E27FC236}">
                      <a16:creationId xmlns:a16="http://schemas.microsoft.com/office/drawing/2014/main" id="{E5315CE8-D862-BE62-C2CE-766702D40991}"/>
                    </a:ext>
                  </a:extLst>
                </p:cNvPr>
                <p:cNvSpPr/>
                <p:nvPr/>
              </p:nvSpPr>
              <p:spPr>
                <a:xfrm>
                  <a:off x="11355372" y="1224198"/>
                  <a:ext cx="26654" cy="38527"/>
                </a:xfrm>
                <a:custGeom>
                  <a:avLst/>
                  <a:gdLst>
                    <a:gd name="connsiteX0" fmla="*/ 0 w 26654"/>
                    <a:gd name="connsiteY0" fmla="*/ 0 h 38527"/>
                    <a:gd name="connsiteX1" fmla="*/ 26654 w 26654"/>
                    <a:gd name="connsiteY1" fmla="*/ 38528 h 3852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6654" h="38527">
                      <a:moveTo>
                        <a:pt x="0" y="0"/>
                      </a:moveTo>
                      <a:lnTo>
                        <a:pt x="26654" y="38528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grpSp>
          <p:nvGrpSpPr>
            <p:cNvPr id="1174" name="Gráfico 11">
              <a:extLst>
                <a:ext uri="{FF2B5EF4-FFF2-40B4-BE49-F238E27FC236}">
                  <a16:creationId xmlns:a16="http://schemas.microsoft.com/office/drawing/2014/main" id="{17B291D2-2AFF-9E07-2124-8BADE5F0BDA9}"/>
                </a:ext>
              </a:extLst>
            </p:cNvPr>
            <p:cNvGrpSpPr/>
            <p:nvPr/>
          </p:nvGrpSpPr>
          <p:grpSpPr>
            <a:xfrm>
              <a:off x="11117533" y="1114081"/>
              <a:ext cx="353880" cy="64349"/>
              <a:chOff x="11117533" y="1114081"/>
              <a:chExt cx="353880" cy="64349"/>
            </a:xfrm>
            <a:noFill/>
          </p:grpSpPr>
          <p:grpSp>
            <p:nvGrpSpPr>
              <p:cNvPr id="1175" name="Gráfico 11">
                <a:extLst>
                  <a:ext uri="{FF2B5EF4-FFF2-40B4-BE49-F238E27FC236}">
                    <a16:creationId xmlns:a16="http://schemas.microsoft.com/office/drawing/2014/main" id="{40D418D9-0458-B6BA-AB0F-3ACEFA346BAD}"/>
                  </a:ext>
                </a:extLst>
              </p:cNvPr>
              <p:cNvGrpSpPr/>
              <p:nvPr/>
            </p:nvGrpSpPr>
            <p:grpSpPr>
              <a:xfrm>
                <a:off x="11162287" y="1114178"/>
                <a:ext cx="36959" cy="64132"/>
                <a:chOff x="11162287" y="1114178"/>
                <a:chExt cx="36959" cy="64132"/>
              </a:xfrm>
              <a:noFill/>
            </p:grpSpPr>
            <p:sp>
              <p:nvSpPr>
                <p:cNvPr id="1176" name="Forma livre: Forma 1175">
                  <a:extLst>
                    <a:ext uri="{FF2B5EF4-FFF2-40B4-BE49-F238E27FC236}">
                      <a16:creationId xmlns:a16="http://schemas.microsoft.com/office/drawing/2014/main" id="{BBDC22A0-B803-903C-4073-B93E41EBCBAD}"/>
                    </a:ext>
                  </a:extLst>
                </p:cNvPr>
                <p:cNvSpPr/>
                <p:nvPr/>
              </p:nvSpPr>
              <p:spPr>
                <a:xfrm>
                  <a:off x="11168658" y="1157291"/>
                  <a:ext cx="24470" cy="1206"/>
                </a:xfrm>
                <a:custGeom>
                  <a:avLst/>
                  <a:gdLst>
                    <a:gd name="connsiteX0" fmla="*/ 0 w 24470"/>
                    <a:gd name="connsiteY0" fmla="*/ 0 h 1206"/>
                    <a:gd name="connsiteX1" fmla="*/ 24471 w 24470"/>
                    <a:gd name="connsiteY1" fmla="*/ 0 h 120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4470" h="1206">
                      <a:moveTo>
                        <a:pt x="0" y="0"/>
                      </a:moveTo>
                      <a:lnTo>
                        <a:pt x="24471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177" name="Forma livre: Forma 1176">
                  <a:extLst>
                    <a:ext uri="{FF2B5EF4-FFF2-40B4-BE49-F238E27FC236}">
                      <a16:creationId xmlns:a16="http://schemas.microsoft.com/office/drawing/2014/main" id="{2083DFF3-8FFC-F475-92C3-28E62987430E}"/>
                    </a:ext>
                  </a:extLst>
                </p:cNvPr>
                <p:cNvSpPr/>
                <p:nvPr/>
              </p:nvSpPr>
              <p:spPr>
                <a:xfrm>
                  <a:off x="11162287" y="1114178"/>
                  <a:ext cx="36959" cy="64132"/>
                </a:xfrm>
                <a:custGeom>
                  <a:avLst/>
                  <a:gdLst>
                    <a:gd name="connsiteX0" fmla="*/ 36959 w 36959"/>
                    <a:gd name="connsiteY0" fmla="*/ 64132 h 64132"/>
                    <a:gd name="connsiteX1" fmla="*/ 18486 w 36959"/>
                    <a:gd name="connsiteY1" fmla="*/ 0 h 64132"/>
                    <a:gd name="connsiteX2" fmla="*/ 0 w 36959"/>
                    <a:gd name="connsiteY2" fmla="*/ 64132 h 6413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36959" h="64132">
                      <a:moveTo>
                        <a:pt x="36959" y="64132"/>
                      </a:moveTo>
                      <a:lnTo>
                        <a:pt x="18486" y="0"/>
                      </a:lnTo>
                      <a:lnTo>
                        <a:pt x="0" y="64132"/>
                      </a:ln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1178" name="Forma livre: Forma 1177">
                <a:extLst>
                  <a:ext uri="{FF2B5EF4-FFF2-40B4-BE49-F238E27FC236}">
                    <a16:creationId xmlns:a16="http://schemas.microsoft.com/office/drawing/2014/main" id="{09F8737B-C7BA-014E-3676-95FAD9C957F6}"/>
                  </a:ext>
                </a:extLst>
              </p:cNvPr>
              <p:cNvSpPr/>
              <p:nvPr/>
            </p:nvSpPr>
            <p:spPr>
              <a:xfrm>
                <a:off x="11117533" y="1114178"/>
                <a:ext cx="23118" cy="64084"/>
              </a:xfrm>
              <a:custGeom>
                <a:avLst/>
                <a:gdLst>
                  <a:gd name="connsiteX0" fmla="*/ 0 w 23118"/>
                  <a:gd name="connsiteY0" fmla="*/ 43777 h 64084"/>
                  <a:gd name="connsiteX1" fmla="*/ 0 w 23118"/>
                  <a:gd name="connsiteY1" fmla="*/ 52344 h 64084"/>
                  <a:gd name="connsiteX2" fmla="*/ 11559 w 23118"/>
                  <a:gd name="connsiteY2" fmla="*/ 64084 h 64084"/>
                  <a:gd name="connsiteX3" fmla="*/ 23119 w 23118"/>
                  <a:gd name="connsiteY3" fmla="*/ 52344 h 64084"/>
                  <a:gd name="connsiteX4" fmla="*/ 23119 w 23118"/>
                  <a:gd name="connsiteY4" fmla="*/ 0 h 640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3118" h="64084">
                    <a:moveTo>
                      <a:pt x="0" y="43777"/>
                    </a:moveTo>
                    <a:lnTo>
                      <a:pt x="0" y="52344"/>
                    </a:lnTo>
                    <a:cubicBezTo>
                      <a:pt x="0" y="58799"/>
                      <a:pt x="5201" y="64084"/>
                      <a:pt x="11559" y="64084"/>
                    </a:cubicBezTo>
                    <a:cubicBezTo>
                      <a:pt x="17918" y="64084"/>
                      <a:pt x="23119" y="58799"/>
                      <a:pt x="23119" y="52344"/>
                    </a:cubicBezTo>
                    <a:lnTo>
                      <a:pt x="23119" y="0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179" name="Forma livre: Forma 1178">
                <a:extLst>
                  <a:ext uri="{FF2B5EF4-FFF2-40B4-BE49-F238E27FC236}">
                    <a16:creationId xmlns:a16="http://schemas.microsoft.com/office/drawing/2014/main" id="{A843F006-2EBB-FE9C-B303-BC520CD3AB47}"/>
                  </a:ext>
                </a:extLst>
              </p:cNvPr>
              <p:cNvSpPr/>
              <p:nvPr/>
            </p:nvSpPr>
            <p:spPr>
              <a:xfrm>
                <a:off x="11221581" y="1114178"/>
                <a:ext cx="28947" cy="64253"/>
              </a:xfrm>
              <a:custGeom>
                <a:avLst/>
                <a:gdLst>
                  <a:gd name="connsiteX0" fmla="*/ 28947 w 28947"/>
                  <a:gd name="connsiteY0" fmla="*/ 45816 h 64253"/>
                  <a:gd name="connsiteX1" fmla="*/ 28947 w 28947"/>
                  <a:gd name="connsiteY1" fmla="*/ 52513 h 64253"/>
                  <a:gd name="connsiteX2" fmla="*/ 17207 w 28947"/>
                  <a:gd name="connsiteY2" fmla="*/ 64253 h 64253"/>
                  <a:gd name="connsiteX3" fmla="*/ 11740 w 28947"/>
                  <a:gd name="connsiteY3" fmla="*/ 64253 h 64253"/>
                  <a:gd name="connsiteX4" fmla="*/ 0 w 28947"/>
                  <a:gd name="connsiteY4" fmla="*/ 52513 h 64253"/>
                  <a:gd name="connsiteX5" fmla="*/ 0 w 28947"/>
                  <a:gd name="connsiteY5" fmla="*/ 11741 h 64253"/>
                  <a:gd name="connsiteX6" fmla="*/ 11740 w 28947"/>
                  <a:gd name="connsiteY6" fmla="*/ 0 h 64253"/>
                  <a:gd name="connsiteX7" fmla="*/ 17207 w 28947"/>
                  <a:gd name="connsiteY7" fmla="*/ 0 h 64253"/>
                  <a:gd name="connsiteX8" fmla="*/ 28947 w 28947"/>
                  <a:gd name="connsiteY8" fmla="*/ 11741 h 64253"/>
                  <a:gd name="connsiteX9" fmla="*/ 28947 w 28947"/>
                  <a:gd name="connsiteY9" fmla="*/ 18280 h 642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8947" h="64253">
                    <a:moveTo>
                      <a:pt x="28947" y="45816"/>
                    </a:moveTo>
                    <a:lnTo>
                      <a:pt x="28947" y="52513"/>
                    </a:lnTo>
                    <a:cubicBezTo>
                      <a:pt x="28947" y="58968"/>
                      <a:pt x="23662" y="64253"/>
                      <a:pt x="17207" y="64253"/>
                    </a:cubicBezTo>
                    <a:lnTo>
                      <a:pt x="11740" y="64253"/>
                    </a:lnTo>
                    <a:cubicBezTo>
                      <a:pt x="5285" y="64253"/>
                      <a:pt x="0" y="58968"/>
                      <a:pt x="0" y="52513"/>
                    </a:cubicBezTo>
                    <a:lnTo>
                      <a:pt x="0" y="11741"/>
                    </a:lnTo>
                    <a:cubicBezTo>
                      <a:pt x="0" y="5285"/>
                      <a:pt x="5285" y="0"/>
                      <a:pt x="11740" y="0"/>
                    </a:cubicBezTo>
                    <a:lnTo>
                      <a:pt x="17207" y="0"/>
                    </a:lnTo>
                    <a:cubicBezTo>
                      <a:pt x="23662" y="0"/>
                      <a:pt x="28947" y="5285"/>
                      <a:pt x="28947" y="11741"/>
                    </a:cubicBezTo>
                    <a:lnTo>
                      <a:pt x="28947" y="18280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180" name="Forma livre: Forma 1179">
                <a:extLst>
                  <a:ext uri="{FF2B5EF4-FFF2-40B4-BE49-F238E27FC236}">
                    <a16:creationId xmlns:a16="http://schemas.microsoft.com/office/drawing/2014/main" id="{A2CD6A2B-CB71-EEB8-9847-06586703DA15}"/>
                  </a:ext>
                </a:extLst>
              </p:cNvPr>
              <p:cNvSpPr/>
              <p:nvPr/>
            </p:nvSpPr>
            <p:spPr>
              <a:xfrm>
                <a:off x="11384983" y="1114166"/>
                <a:ext cx="28934" cy="64253"/>
              </a:xfrm>
              <a:custGeom>
                <a:avLst/>
                <a:gdLst>
                  <a:gd name="connsiteX0" fmla="*/ 28935 w 28934"/>
                  <a:gd name="connsiteY0" fmla="*/ 52513 h 64253"/>
                  <a:gd name="connsiteX1" fmla="*/ 17194 w 28934"/>
                  <a:gd name="connsiteY1" fmla="*/ 64253 h 64253"/>
                  <a:gd name="connsiteX2" fmla="*/ 11740 w 28934"/>
                  <a:gd name="connsiteY2" fmla="*/ 64253 h 64253"/>
                  <a:gd name="connsiteX3" fmla="*/ 0 w 28934"/>
                  <a:gd name="connsiteY3" fmla="*/ 52513 h 64253"/>
                  <a:gd name="connsiteX4" fmla="*/ 0 w 28934"/>
                  <a:gd name="connsiteY4" fmla="*/ 11741 h 64253"/>
                  <a:gd name="connsiteX5" fmla="*/ 11740 w 28934"/>
                  <a:gd name="connsiteY5" fmla="*/ 0 h 64253"/>
                  <a:gd name="connsiteX6" fmla="*/ 17194 w 28934"/>
                  <a:gd name="connsiteY6" fmla="*/ 0 h 64253"/>
                  <a:gd name="connsiteX7" fmla="*/ 28935 w 28934"/>
                  <a:gd name="connsiteY7" fmla="*/ 11741 h 64253"/>
                  <a:gd name="connsiteX8" fmla="*/ 28935 w 28934"/>
                  <a:gd name="connsiteY8" fmla="*/ 52513 h 642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8934" h="64253">
                    <a:moveTo>
                      <a:pt x="28935" y="52513"/>
                    </a:moveTo>
                    <a:cubicBezTo>
                      <a:pt x="28935" y="58968"/>
                      <a:pt x="23650" y="64253"/>
                      <a:pt x="17194" y="64253"/>
                    </a:cubicBezTo>
                    <a:lnTo>
                      <a:pt x="11740" y="64253"/>
                    </a:lnTo>
                    <a:cubicBezTo>
                      <a:pt x="5273" y="64253"/>
                      <a:pt x="0" y="58968"/>
                      <a:pt x="0" y="52513"/>
                    </a:cubicBezTo>
                    <a:lnTo>
                      <a:pt x="0" y="11741"/>
                    </a:lnTo>
                    <a:cubicBezTo>
                      <a:pt x="0" y="5285"/>
                      <a:pt x="5285" y="0"/>
                      <a:pt x="11740" y="0"/>
                    </a:cubicBezTo>
                    <a:lnTo>
                      <a:pt x="17194" y="0"/>
                    </a:lnTo>
                    <a:cubicBezTo>
                      <a:pt x="23650" y="0"/>
                      <a:pt x="28935" y="5285"/>
                      <a:pt x="28935" y="11741"/>
                    </a:cubicBezTo>
                    <a:lnTo>
                      <a:pt x="28935" y="52513"/>
                    </a:lnTo>
                    <a:close/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181" name="Forma livre: Forma 1180">
                <a:extLst>
                  <a:ext uri="{FF2B5EF4-FFF2-40B4-BE49-F238E27FC236}">
                    <a16:creationId xmlns:a16="http://schemas.microsoft.com/office/drawing/2014/main" id="{CE84BF4E-14D2-7FDC-EC6A-9CDE97231CAC}"/>
                  </a:ext>
                </a:extLst>
              </p:cNvPr>
              <p:cNvSpPr/>
              <p:nvPr/>
            </p:nvSpPr>
            <p:spPr>
              <a:xfrm>
                <a:off x="11276060" y="1114081"/>
                <a:ext cx="1206" cy="64253"/>
              </a:xfrm>
              <a:custGeom>
                <a:avLst/>
                <a:gdLst>
                  <a:gd name="connsiteX0" fmla="*/ 0 w 1206"/>
                  <a:gd name="connsiteY0" fmla="*/ 0 h 64253"/>
                  <a:gd name="connsiteX1" fmla="*/ 0 w 1206"/>
                  <a:gd name="connsiteY1" fmla="*/ 64253 h 642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06" h="64253">
                    <a:moveTo>
                      <a:pt x="0" y="0"/>
                    </a:moveTo>
                    <a:lnTo>
                      <a:pt x="0" y="64253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182" name="Forma livre: Forma 1181">
                <a:extLst>
                  <a:ext uri="{FF2B5EF4-FFF2-40B4-BE49-F238E27FC236}">
                    <a16:creationId xmlns:a16="http://schemas.microsoft.com/office/drawing/2014/main" id="{85141E8B-063B-ADB0-A82E-96FD47BA341B}"/>
                  </a:ext>
                </a:extLst>
              </p:cNvPr>
              <p:cNvSpPr/>
              <p:nvPr/>
            </p:nvSpPr>
            <p:spPr>
              <a:xfrm>
                <a:off x="11276458" y="1114226"/>
                <a:ext cx="28066" cy="43885"/>
              </a:xfrm>
              <a:custGeom>
                <a:avLst/>
                <a:gdLst>
                  <a:gd name="connsiteX0" fmla="*/ 28066 w 28066"/>
                  <a:gd name="connsiteY0" fmla="*/ 0 h 43885"/>
                  <a:gd name="connsiteX1" fmla="*/ 0 w 28066"/>
                  <a:gd name="connsiteY1" fmla="*/ 43885 h 438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8066" h="43885">
                    <a:moveTo>
                      <a:pt x="28066" y="0"/>
                    </a:moveTo>
                    <a:lnTo>
                      <a:pt x="0" y="43885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183" name="Forma livre: Forma 1182">
                <a:extLst>
                  <a:ext uri="{FF2B5EF4-FFF2-40B4-BE49-F238E27FC236}">
                    <a16:creationId xmlns:a16="http://schemas.microsoft.com/office/drawing/2014/main" id="{7524ECA3-A02F-9C96-7B4C-140666352C1A}"/>
                  </a:ext>
                </a:extLst>
              </p:cNvPr>
              <p:cNvSpPr/>
              <p:nvPr/>
            </p:nvSpPr>
            <p:spPr>
              <a:xfrm>
                <a:off x="11289200" y="1140362"/>
                <a:ext cx="18570" cy="37731"/>
              </a:xfrm>
              <a:custGeom>
                <a:avLst/>
                <a:gdLst>
                  <a:gd name="connsiteX0" fmla="*/ 0 w 18570"/>
                  <a:gd name="connsiteY0" fmla="*/ 0 h 37731"/>
                  <a:gd name="connsiteX1" fmla="*/ 18570 w 18570"/>
                  <a:gd name="connsiteY1" fmla="*/ 37731 h 377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8570" h="37731">
                    <a:moveTo>
                      <a:pt x="0" y="0"/>
                    </a:moveTo>
                    <a:lnTo>
                      <a:pt x="18570" y="37731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184" name="Forma livre: Forma 1183">
                <a:extLst>
                  <a:ext uri="{FF2B5EF4-FFF2-40B4-BE49-F238E27FC236}">
                    <a16:creationId xmlns:a16="http://schemas.microsoft.com/office/drawing/2014/main" id="{11CEC7CF-CE04-CBA2-CCE8-98CC14D7323E}"/>
                  </a:ext>
                </a:extLst>
              </p:cNvPr>
              <p:cNvSpPr/>
              <p:nvPr/>
            </p:nvSpPr>
            <p:spPr>
              <a:xfrm>
                <a:off x="11331505" y="1114081"/>
                <a:ext cx="32615" cy="64337"/>
              </a:xfrm>
              <a:custGeom>
                <a:avLst/>
                <a:gdLst>
                  <a:gd name="connsiteX0" fmla="*/ 326 w 32615"/>
                  <a:gd name="connsiteY0" fmla="*/ 30576 h 64337"/>
                  <a:gd name="connsiteX1" fmla="*/ 20875 w 32615"/>
                  <a:gd name="connsiteY1" fmla="*/ 30576 h 64337"/>
                  <a:gd name="connsiteX2" fmla="*/ 32615 w 32615"/>
                  <a:gd name="connsiteY2" fmla="*/ 18835 h 64337"/>
                  <a:gd name="connsiteX3" fmla="*/ 32615 w 32615"/>
                  <a:gd name="connsiteY3" fmla="*/ 11741 h 64337"/>
                  <a:gd name="connsiteX4" fmla="*/ 20875 w 32615"/>
                  <a:gd name="connsiteY4" fmla="*/ 0 h 64337"/>
                  <a:gd name="connsiteX5" fmla="*/ 0 w 32615"/>
                  <a:gd name="connsiteY5" fmla="*/ 0 h 64337"/>
                  <a:gd name="connsiteX6" fmla="*/ 0 w 32615"/>
                  <a:gd name="connsiteY6" fmla="*/ 64338 h 643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2615" h="64337">
                    <a:moveTo>
                      <a:pt x="326" y="30576"/>
                    </a:moveTo>
                    <a:lnTo>
                      <a:pt x="20875" y="30576"/>
                    </a:lnTo>
                    <a:cubicBezTo>
                      <a:pt x="27342" y="30576"/>
                      <a:pt x="32615" y="25291"/>
                      <a:pt x="32615" y="18835"/>
                    </a:cubicBezTo>
                    <a:lnTo>
                      <a:pt x="32615" y="11741"/>
                    </a:lnTo>
                    <a:cubicBezTo>
                      <a:pt x="32615" y="5285"/>
                      <a:pt x="27330" y="0"/>
                      <a:pt x="20875" y="0"/>
                    </a:cubicBezTo>
                    <a:lnTo>
                      <a:pt x="0" y="0"/>
                    </a:lnTo>
                    <a:lnTo>
                      <a:pt x="0" y="64338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1185" name="Gráfico 11">
                <a:extLst>
                  <a:ext uri="{FF2B5EF4-FFF2-40B4-BE49-F238E27FC236}">
                    <a16:creationId xmlns:a16="http://schemas.microsoft.com/office/drawing/2014/main" id="{CBE298F6-5734-07CE-5F60-BB1F0EE19F5F}"/>
                  </a:ext>
                </a:extLst>
              </p:cNvPr>
              <p:cNvGrpSpPr/>
              <p:nvPr/>
            </p:nvGrpSpPr>
            <p:grpSpPr>
              <a:xfrm>
                <a:off x="11433839" y="1114081"/>
                <a:ext cx="37574" cy="64204"/>
                <a:chOff x="11433839" y="1114081"/>
                <a:chExt cx="37574" cy="64204"/>
              </a:xfrm>
            </p:grpSpPr>
            <p:sp>
              <p:nvSpPr>
                <p:cNvPr id="1186" name="Forma livre: Forma 1185">
                  <a:extLst>
                    <a:ext uri="{FF2B5EF4-FFF2-40B4-BE49-F238E27FC236}">
                      <a16:creationId xmlns:a16="http://schemas.microsoft.com/office/drawing/2014/main" id="{92E73551-E31C-12BF-FEDA-E2CC129B6D2C}"/>
                    </a:ext>
                  </a:extLst>
                </p:cNvPr>
                <p:cNvSpPr/>
                <p:nvPr/>
              </p:nvSpPr>
              <p:spPr>
                <a:xfrm>
                  <a:off x="11433839" y="1114081"/>
                  <a:ext cx="37574" cy="1206"/>
                </a:xfrm>
                <a:custGeom>
                  <a:avLst/>
                  <a:gdLst>
                    <a:gd name="connsiteX0" fmla="*/ 0 w 37574"/>
                    <a:gd name="connsiteY0" fmla="*/ 0 h 1206"/>
                    <a:gd name="connsiteX1" fmla="*/ 37575 w 37574"/>
                    <a:gd name="connsiteY1" fmla="*/ 0 h 120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37574" h="1206">
                      <a:moveTo>
                        <a:pt x="0" y="0"/>
                      </a:moveTo>
                      <a:lnTo>
                        <a:pt x="37575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187" name="Forma livre: Forma 1186">
                  <a:extLst>
                    <a:ext uri="{FF2B5EF4-FFF2-40B4-BE49-F238E27FC236}">
                      <a16:creationId xmlns:a16="http://schemas.microsoft.com/office/drawing/2014/main" id="{930A9467-642A-8A7B-F20D-75A24E3C824E}"/>
                    </a:ext>
                  </a:extLst>
                </p:cNvPr>
                <p:cNvSpPr/>
                <p:nvPr/>
              </p:nvSpPr>
              <p:spPr>
                <a:xfrm>
                  <a:off x="11452627" y="1114805"/>
                  <a:ext cx="1206" cy="63480"/>
                </a:xfrm>
                <a:custGeom>
                  <a:avLst/>
                  <a:gdLst>
                    <a:gd name="connsiteX0" fmla="*/ 0 w 1206"/>
                    <a:gd name="connsiteY0" fmla="*/ 0 h 63480"/>
                    <a:gd name="connsiteX1" fmla="*/ 0 w 1206"/>
                    <a:gd name="connsiteY1" fmla="*/ 63481 h 634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206" h="63480">
                      <a:moveTo>
                        <a:pt x="0" y="0"/>
                      </a:moveTo>
                      <a:lnTo>
                        <a:pt x="0" y="63481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</p:grpSp>
      <p:grpSp>
        <p:nvGrpSpPr>
          <p:cNvPr id="1189" name="Gráfico 13">
            <a:extLst>
              <a:ext uri="{FF2B5EF4-FFF2-40B4-BE49-F238E27FC236}">
                <a16:creationId xmlns:a16="http://schemas.microsoft.com/office/drawing/2014/main" id="{8CC2E9C2-F14D-C75C-5F18-711F144A8CA8}"/>
              </a:ext>
            </a:extLst>
          </p:cNvPr>
          <p:cNvGrpSpPr/>
          <p:nvPr/>
        </p:nvGrpSpPr>
        <p:grpSpPr>
          <a:xfrm>
            <a:off x="2012162" y="3580160"/>
            <a:ext cx="204522" cy="272318"/>
            <a:chOff x="2012162" y="3580160"/>
            <a:chExt cx="204522" cy="272318"/>
          </a:xfrm>
          <a:noFill/>
        </p:grpSpPr>
        <p:sp>
          <p:nvSpPr>
            <p:cNvPr id="1190" name="Forma livre: Forma 1189">
              <a:extLst>
                <a:ext uri="{FF2B5EF4-FFF2-40B4-BE49-F238E27FC236}">
                  <a16:creationId xmlns:a16="http://schemas.microsoft.com/office/drawing/2014/main" id="{9509DD14-978E-5C65-5E80-D8D5030FEA28}"/>
                </a:ext>
              </a:extLst>
            </p:cNvPr>
            <p:cNvSpPr/>
            <p:nvPr/>
          </p:nvSpPr>
          <p:spPr>
            <a:xfrm>
              <a:off x="2057371" y="3714925"/>
              <a:ext cx="114104" cy="1181"/>
            </a:xfrm>
            <a:custGeom>
              <a:avLst/>
              <a:gdLst>
                <a:gd name="connsiteX0" fmla="*/ 0 w 114104"/>
                <a:gd name="connsiteY0" fmla="*/ 0 h 1181"/>
                <a:gd name="connsiteX1" fmla="*/ 114104 w 114104"/>
                <a:gd name="connsiteY1" fmla="*/ 0 h 11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4104" h="1181">
                  <a:moveTo>
                    <a:pt x="0" y="0"/>
                  </a:moveTo>
                  <a:lnTo>
                    <a:pt x="114104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91" name="Forma livre: Forma 1190">
              <a:extLst>
                <a:ext uri="{FF2B5EF4-FFF2-40B4-BE49-F238E27FC236}">
                  <a16:creationId xmlns:a16="http://schemas.microsoft.com/office/drawing/2014/main" id="{9DFE886E-4CCA-EF64-B1B2-4CCBA8046B57}"/>
                </a:ext>
              </a:extLst>
            </p:cNvPr>
            <p:cNvSpPr/>
            <p:nvPr/>
          </p:nvSpPr>
          <p:spPr>
            <a:xfrm>
              <a:off x="2057371" y="3754921"/>
              <a:ext cx="114104" cy="1181"/>
            </a:xfrm>
            <a:custGeom>
              <a:avLst/>
              <a:gdLst>
                <a:gd name="connsiteX0" fmla="*/ 0 w 114104"/>
                <a:gd name="connsiteY0" fmla="*/ 0 h 1181"/>
                <a:gd name="connsiteX1" fmla="*/ 114104 w 114104"/>
                <a:gd name="connsiteY1" fmla="*/ 0 h 11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4104" h="1181">
                  <a:moveTo>
                    <a:pt x="0" y="0"/>
                  </a:moveTo>
                  <a:lnTo>
                    <a:pt x="114104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92" name="Forma livre: Forma 1191">
              <a:extLst>
                <a:ext uri="{FF2B5EF4-FFF2-40B4-BE49-F238E27FC236}">
                  <a16:creationId xmlns:a16="http://schemas.microsoft.com/office/drawing/2014/main" id="{739AE5D7-701C-0888-B33F-BABC78D30EF0}"/>
                </a:ext>
              </a:extLst>
            </p:cNvPr>
            <p:cNvSpPr/>
            <p:nvPr/>
          </p:nvSpPr>
          <p:spPr>
            <a:xfrm>
              <a:off x="2057371" y="3794930"/>
              <a:ext cx="114104" cy="1181"/>
            </a:xfrm>
            <a:custGeom>
              <a:avLst/>
              <a:gdLst>
                <a:gd name="connsiteX0" fmla="*/ 0 w 114104"/>
                <a:gd name="connsiteY0" fmla="*/ 0 h 1181"/>
                <a:gd name="connsiteX1" fmla="*/ 114104 w 114104"/>
                <a:gd name="connsiteY1" fmla="*/ 0 h 11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4104" h="1181">
                  <a:moveTo>
                    <a:pt x="0" y="0"/>
                  </a:moveTo>
                  <a:lnTo>
                    <a:pt x="114104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93" name="Forma livre: Forma 1192">
              <a:extLst>
                <a:ext uri="{FF2B5EF4-FFF2-40B4-BE49-F238E27FC236}">
                  <a16:creationId xmlns:a16="http://schemas.microsoft.com/office/drawing/2014/main" id="{75762B36-2D6A-9BFA-A0F1-32B4B4B0DE80}"/>
                </a:ext>
              </a:extLst>
            </p:cNvPr>
            <p:cNvSpPr/>
            <p:nvPr/>
          </p:nvSpPr>
          <p:spPr>
            <a:xfrm>
              <a:off x="2012162" y="3580160"/>
              <a:ext cx="204522" cy="272318"/>
            </a:xfrm>
            <a:custGeom>
              <a:avLst/>
              <a:gdLst>
                <a:gd name="connsiteX0" fmla="*/ 0 w 204522"/>
                <a:gd name="connsiteY0" fmla="*/ 272318 h 272318"/>
                <a:gd name="connsiteX1" fmla="*/ 0 w 204522"/>
                <a:gd name="connsiteY1" fmla="*/ 52833 h 272318"/>
                <a:gd name="connsiteX2" fmla="*/ 52844 w 204522"/>
                <a:gd name="connsiteY2" fmla="*/ 0 h 272318"/>
                <a:gd name="connsiteX3" fmla="*/ 204522 w 204522"/>
                <a:gd name="connsiteY3" fmla="*/ 0 h 272318"/>
                <a:gd name="connsiteX4" fmla="*/ 204522 w 204522"/>
                <a:gd name="connsiteY4" fmla="*/ 272318 h 272318"/>
                <a:gd name="connsiteX5" fmla="*/ 0 w 204522"/>
                <a:gd name="connsiteY5" fmla="*/ 272318 h 2723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4522" h="272318">
                  <a:moveTo>
                    <a:pt x="0" y="272318"/>
                  </a:moveTo>
                  <a:lnTo>
                    <a:pt x="0" y="52833"/>
                  </a:lnTo>
                  <a:lnTo>
                    <a:pt x="52844" y="0"/>
                  </a:lnTo>
                  <a:lnTo>
                    <a:pt x="204522" y="0"/>
                  </a:lnTo>
                  <a:lnTo>
                    <a:pt x="204522" y="272318"/>
                  </a:lnTo>
                  <a:lnTo>
                    <a:pt x="0" y="272318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94" name="Forma livre: Forma 1193">
              <a:extLst>
                <a:ext uri="{FF2B5EF4-FFF2-40B4-BE49-F238E27FC236}">
                  <a16:creationId xmlns:a16="http://schemas.microsoft.com/office/drawing/2014/main" id="{AED773E1-DCE2-F76A-F10B-4B1749E4E0F0}"/>
                </a:ext>
              </a:extLst>
            </p:cNvPr>
            <p:cNvSpPr/>
            <p:nvPr/>
          </p:nvSpPr>
          <p:spPr>
            <a:xfrm>
              <a:off x="2037479" y="3605702"/>
              <a:ext cx="36143" cy="36096"/>
            </a:xfrm>
            <a:custGeom>
              <a:avLst/>
              <a:gdLst>
                <a:gd name="connsiteX0" fmla="*/ 36144 w 36143"/>
                <a:gd name="connsiteY0" fmla="*/ 0 h 36096"/>
                <a:gd name="connsiteX1" fmla="*/ 36144 w 36143"/>
                <a:gd name="connsiteY1" fmla="*/ 36096 h 36096"/>
                <a:gd name="connsiteX2" fmla="*/ 0 w 36143"/>
                <a:gd name="connsiteY2" fmla="*/ 36096 h 360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6143" h="36096">
                  <a:moveTo>
                    <a:pt x="36144" y="0"/>
                  </a:moveTo>
                  <a:lnTo>
                    <a:pt x="36144" y="36096"/>
                  </a:lnTo>
                  <a:lnTo>
                    <a:pt x="0" y="36096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195" name="Gráfico 13">
            <a:extLst>
              <a:ext uri="{FF2B5EF4-FFF2-40B4-BE49-F238E27FC236}">
                <a16:creationId xmlns:a16="http://schemas.microsoft.com/office/drawing/2014/main" id="{54BA44CF-48FD-DE77-F009-BA8CA3773DC5}"/>
              </a:ext>
            </a:extLst>
          </p:cNvPr>
          <p:cNvGrpSpPr/>
          <p:nvPr/>
        </p:nvGrpSpPr>
        <p:grpSpPr>
          <a:xfrm>
            <a:off x="1971149" y="4633728"/>
            <a:ext cx="286548" cy="300141"/>
            <a:chOff x="1971149" y="4633728"/>
            <a:chExt cx="286548" cy="300141"/>
          </a:xfrm>
          <a:noFill/>
        </p:grpSpPr>
        <p:sp>
          <p:nvSpPr>
            <p:cNvPr id="1196" name="Forma livre: Forma 1195">
              <a:extLst>
                <a:ext uri="{FF2B5EF4-FFF2-40B4-BE49-F238E27FC236}">
                  <a16:creationId xmlns:a16="http://schemas.microsoft.com/office/drawing/2014/main" id="{6191E13A-7448-4CB3-B590-FAA93A6AF67D}"/>
                </a:ext>
              </a:extLst>
            </p:cNvPr>
            <p:cNvSpPr/>
            <p:nvPr/>
          </p:nvSpPr>
          <p:spPr>
            <a:xfrm>
              <a:off x="2082452" y="4679469"/>
              <a:ext cx="2422" cy="24265"/>
            </a:xfrm>
            <a:custGeom>
              <a:avLst/>
              <a:gdLst>
                <a:gd name="connsiteX0" fmla="*/ 0 w 2422"/>
                <a:gd name="connsiteY0" fmla="*/ 0 h 24265"/>
                <a:gd name="connsiteX1" fmla="*/ 2423 w 2422"/>
                <a:gd name="connsiteY1" fmla="*/ 24265 h 242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422" h="24265">
                  <a:moveTo>
                    <a:pt x="0" y="0"/>
                  </a:moveTo>
                  <a:lnTo>
                    <a:pt x="2423" y="24265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97" name="Forma livre: Forma 1196">
              <a:extLst>
                <a:ext uri="{FF2B5EF4-FFF2-40B4-BE49-F238E27FC236}">
                  <a16:creationId xmlns:a16="http://schemas.microsoft.com/office/drawing/2014/main" id="{869F9345-B122-5B6C-42FE-01B55841EE67}"/>
                </a:ext>
              </a:extLst>
            </p:cNvPr>
            <p:cNvSpPr/>
            <p:nvPr/>
          </p:nvSpPr>
          <p:spPr>
            <a:xfrm>
              <a:off x="2060437" y="4638195"/>
              <a:ext cx="39957" cy="39954"/>
            </a:xfrm>
            <a:custGeom>
              <a:avLst/>
              <a:gdLst>
                <a:gd name="connsiteX0" fmla="*/ 15278 w 39957"/>
                <a:gd name="connsiteY0" fmla="*/ 567 h 39954"/>
                <a:gd name="connsiteX1" fmla="*/ 39390 w 39957"/>
                <a:gd name="connsiteY1" fmla="*/ 15271 h 39954"/>
                <a:gd name="connsiteX2" fmla="*/ 24686 w 39957"/>
                <a:gd name="connsiteY2" fmla="*/ 39382 h 39954"/>
                <a:gd name="connsiteX3" fmla="*/ 563 w 39957"/>
                <a:gd name="connsiteY3" fmla="*/ 24679 h 39954"/>
                <a:gd name="connsiteX4" fmla="*/ 15278 w 39957"/>
                <a:gd name="connsiteY4" fmla="*/ 567 h 399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957" h="39954">
                  <a:moveTo>
                    <a:pt x="15278" y="567"/>
                  </a:moveTo>
                  <a:cubicBezTo>
                    <a:pt x="25998" y="-2033"/>
                    <a:pt x="36789" y="4551"/>
                    <a:pt x="39390" y="15271"/>
                  </a:cubicBezTo>
                  <a:cubicBezTo>
                    <a:pt x="41990" y="26003"/>
                    <a:pt x="35407" y="36794"/>
                    <a:pt x="24686" y="39382"/>
                  </a:cubicBezTo>
                  <a:cubicBezTo>
                    <a:pt x="13978" y="41994"/>
                    <a:pt x="3175" y="35411"/>
                    <a:pt x="563" y="24679"/>
                  </a:cubicBezTo>
                  <a:cubicBezTo>
                    <a:pt x="-2025" y="13971"/>
                    <a:pt x="4558" y="3168"/>
                    <a:pt x="15278" y="567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98" name="Forma livre: Forma 1197">
              <a:extLst>
                <a:ext uri="{FF2B5EF4-FFF2-40B4-BE49-F238E27FC236}">
                  <a16:creationId xmlns:a16="http://schemas.microsoft.com/office/drawing/2014/main" id="{8C889A3E-8FF0-3874-A45F-0410E32DB85F}"/>
                </a:ext>
              </a:extLst>
            </p:cNvPr>
            <p:cNvSpPr/>
            <p:nvPr/>
          </p:nvSpPr>
          <p:spPr>
            <a:xfrm>
              <a:off x="2194334" y="4810876"/>
              <a:ext cx="35398" cy="69686"/>
            </a:xfrm>
            <a:custGeom>
              <a:avLst/>
              <a:gdLst>
                <a:gd name="connsiteX0" fmla="*/ 18095 w 35398"/>
                <a:gd name="connsiteY0" fmla="*/ 69687 h 69686"/>
                <a:gd name="connsiteX1" fmla="*/ 0 w 35398"/>
                <a:gd name="connsiteY1" fmla="*/ 10897 h 69686"/>
                <a:gd name="connsiteX2" fmla="*/ 35399 w 35398"/>
                <a:gd name="connsiteY2" fmla="*/ 0 h 696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5398" h="69686">
                  <a:moveTo>
                    <a:pt x="18095" y="69687"/>
                  </a:moveTo>
                  <a:lnTo>
                    <a:pt x="0" y="10897"/>
                  </a:lnTo>
                  <a:lnTo>
                    <a:pt x="35399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99" name="Forma livre: Forma 1198">
              <a:extLst>
                <a:ext uri="{FF2B5EF4-FFF2-40B4-BE49-F238E27FC236}">
                  <a16:creationId xmlns:a16="http://schemas.microsoft.com/office/drawing/2014/main" id="{B0833E18-9286-F146-12E1-CBEBAC0D1499}"/>
                </a:ext>
              </a:extLst>
            </p:cNvPr>
            <p:cNvSpPr/>
            <p:nvPr/>
          </p:nvSpPr>
          <p:spPr>
            <a:xfrm>
              <a:off x="2040127" y="4729110"/>
              <a:ext cx="142541" cy="43873"/>
            </a:xfrm>
            <a:custGeom>
              <a:avLst/>
              <a:gdLst>
                <a:gd name="connsiteX0" fmla="*/ 0 w 142541"/>
                <a:gd name="connsiteY0" fmla="*/ 43874 h 43873"/>
                <a:gd name="connsiteX1" fmla="*/ 142542 w 142541"/>
                <a:gd name="connsiteY1" fmla="*/ 0 h 43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42541" h="43873">
                  <a:moveTo>
                    <a:pt x="0" y="43874"/>
                  </a:moveTo>
                  <a:lnTo>
                    <a:pt x="142542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00" name="Forma livre: Forma 1199">
              <a:extLst>
                <a:ext uri="{FF2B5EF4-FFF2-40B4-BE49-F238E27FC236}">
                  <a16:creationId xmlns:a16="http://schemas.microsoft.com/office/drawing/2014/main" id="{BB689257-A269-3A9E-DE48-1440288F3AC6}"/>
                </a:ext>
              </a:extLst>
            </p:cNvPr>
            <p:cNvSpPr/>
            <p:nvPr/>
          </p:nvSpPr>
          <p:spPr>
            <a:xfrm>
              <a:off x="2052348" y="4768799"/>
              <a:ext cx="142541" cy="43873"/>
            </a:xfrm>
            <a:custGeom>
              <a:avLst/>
              <a:gdLst>
                <a:gd name="connsiteX0" fmla="*/ 0 w 142541"/>
                <a:gd name="connsiteY0" fmla="*/ 43874 h 43873"/>
                <a:gd name="connsiteX1" fmla="*/ 142542 w 142541"/>
                <a:gd name="connsiteY1" fmla="*/ 0 h 43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42541" h="43873">
                  <a:moveTo>
                    <a:pt x="0" y="43874"/>
                  </a:moveTo>
                  <a:lnTo>
                    <a:pt x="142542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01" name="Forma livre: Forma 1200">
              <a:extLst>
                <a:ext uri="{FF2B5EF4-FFF2-40B4-BE49-F238E27FC236}">
                  <a16:creationId xmlns:a16="http://schemas.microsoft.com/office/drawing/2014/main" id="{259AFB66-2EF6-A904-412F-BA9E0E8D8297}"/>
                </a:ext>
              </a:extLst>
            </p:cNvPr>
            <p:cNvSpPr/>
            <p:nvPr/>
          </p:nvSpPr>
          <p:spPr>
            <a:xfrm>
              <a:off x="1971149" y="4633728"/>
              <a:ext cx="286548" cy="300141"/>
            </a:xfrm>
            <a:custGeom>
              <a:avLst/>
              <a:gdLst>
                <a:gd name="connsiteX0" fmla="*/ 72405 w 286548"/>
                <a:gd name="connsiteY0" fmla="*/ 48542 h 300141"/>
                <a:gd name="connsiteX1" fmla="*/ 0 w 286548"/>
                <a:gd name="connsiteY1" fmla="*/ 70834 h 300141"/>
                <a:gd name="connsiteX2" fmla="*/ 70573 w 286548"/>
                <a:gd name="connsiteY2" fmla="*/ 300141 h 300141"/>
                <a:gd name="connsiteX3" fmla="*/ 247639 w 286548"/>
                <a:gd name="connsiteY3" fmla="*/ 245630 h 300141"/>
                <a:gd name="connsiteX4" fmla="*/ 286549 w 286548"/>
                <a:gd name="connsiteY4" fmla="*/ 183389 h 300141"/>
                <a:gd name="connsiteX5" fmla="*/ 230099 w 286548"/>
                <a:gd name="connsiteY5" fmla="*/ 0 h 300141"/>
                <a:gd name="connsiteX6" fmla="*/ 153344 w 286548"/>
                <a:gd name="connsiteY6" fmla="*/ 23627 h 300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86548" h="300141">
                  <a:moveTo>
                    <a:pt x="72405" y="48542"/>
                  </a:moveTo>
                  <a:lnTo>
                    <a:pt x="0" y="70834"/>
                  </a:lnTo>
                  <a:lnTo>
                    <a:pt x="70573" y="300141"/>
                  </a:lnTo>
                  <a:lnTo>
                    <a:pt x="247639" y="245630"/>
                  </a:lnTo>
                  <a:lnTo>
                    <a:pt x="286549" y="183389"/>
                  </a:lnTo>
                  <a:lnTo>
                    <a:pt x="230099" y="0"/>
                  </a:lnTo>
                  <a:lnTo>
                    <a:pt x="153344" y="23627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202" name="Gráfico 13">
            <a:extLst>
              <a:ext uri="{FF2B5EF4-FFF2-40B4-BE49-F238E27FC236}">
                <a16:creationId xmlns:a16="http://schemas.microsoft.com/office/drawing/2014/main" id="{619CC098-A4EF-5CE8-0F64-80248617CE55}"/>
              </a:ext>
            </a:extLst>
          </p:cNvPr>
          <p:cNvGrpSpPr/>
          <p:nvPr/>
        </p:nvGrpSpPr>
        <p:grpSpPr>
          <a:xfrm>
            <a:off x="1979139" y="4091277"/>
            <a:ext cx="270569" cy="317562"/>
            <a:chOff x="1979139" y="4091277"/>
            <a:chExt cx="270569" cy="317562"/>
          </a:xfrm>
          <a:noFill/>
        </p:grpSpPr>
        <p:sp>
          <p:nvSpPr>
            <p:cNvPr id="1203" name="Forma livre: Forma 1202">
              <a:extLst>
                <a:ext uri="{FF2B5EF4-FFF2-40B4-BE49-F238E27FC236}">
                  <a16:creationId xmlns:a16="http://schemas.microsoft.com/office/drawing/2014/main" id="{46EF7614-604D-F623-6AC3-2AE4B12C15AA}"/>
                </a:ext>
              </a:extLst>
            </p:cNvPr>
            <p:cNvSpPr/>
            <p:nvPr/>
          </p:nvSpPr>
          <p:spPr>
            <a:xfrm>
              <a:off x="2099188" y="4251052"/>
              <a:ext cx="150519" cy="157788"/>
            </a:xfrm>
            <a:custGeom>
              <a:avLst/>
              <a:gdLst>
                <a:gd name="connsiteX0" fmla="*/ 86541 w 150519"/>
                <a:gd name="connsiteY0" fmla="*/ 120309 h 157788"/>
                <a:gd name="connsiteX1" fmla="*/ 150520 w 150519"/>
                <a:gd name="connsiteY1" fmla="*/ 120309 h 157788"/>
                <a:gd name="connsiteX2" fmla="*/ 150520 w 150519"/>
                <a:gd name="connsiteY2" fmla="*/ 0 h 157788"/>
                <a:gd name="connsiteX3" fmla="*/ 0 w 150519"/>
                <a:gd name="connsiteY3" fmla="*/ 0 h 157788"/>
                <a:gd name="connsiteX4" fmla="*/ 0 w 150519"/>
                <a:gd name="connsiteY4" fmla="*/ 120309 h 157788"/>
                <a:gd name="connsiteX5" fmla="*/ 59121 w 150519"/>
                <a:gd name="connsiteY5" fmla="*/ 120309 h 157788"/>
                <a:gd name="connsiteX6" fmla="*/ 17694 w 150519"/>
                <a:gd name="connsiteY6" fmla="*/ 157789 h 1577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50519" h="157788">
                  <a:moveTo>
                    <a:pt x="86541" y="120309"/>
                  </a:moveTo>
                  <a:lnTo>
                    <a:pt x="150520" y="120309"/>
                  </a:lnTo>
                  <a:lnTo>
                    <a:pt x="150520" y="0"/>
                  </a:lnTo>
                  <a:lnTo>
                    <a:pt x="0" y="0"/>
                  </a:lnTo>
                  <a:lnTo>
                    <a:pt x="0" y="120309"/>
                  </a:lnTo>
                  <a:lnTo>
                    <a:pt x="59121" y="120309"/>
                  </a:lnTo>
                  <a:lnTo>
                    <a:pt x="17694" y="157789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204" name="Gráfico 13">
              <a:extLst>
                <a:ext uri="{FF2B5EF4-FFF2-40B4-BE49-F238E27FC236}">
                  <a16:creationId xmlns:a16="http://schemas.microsoft.com/office/drawing/2014/main" id="{A72CFC3A-16A4-67F1-0B71-4061E251DD99}"/>
                </a:ext>
              </a:extLst>
            </p:cNvPr>
            <p:cNvGrpSpPr/>
            <p:nvPr/>
          </p:nvGrpSpPr>
          <p:grpSpPr>
            <a:xfrm>
              <a:off x="2123382" y="4292975"/>
              <a:ext cx="102261" cy="36427"/>
              <a:chOff x="2123382" y="4292975"/>
              <a:chExt cx="102261" cy="36427"/>
            </a:xfrm>
          </p:grpSpPr>
          <p:sp>
            <p:nvSpPr>
              <p:cNvPr id="1205" name="Forma livre: Forma 1204">
                <a:extLst>
                  <a:ext uri="{FF2B5EF4-FFF2-40B4-BE49-F238E27FC236}">
                    <a16:creationId xmlns:a16="http://schemas.microsoft.com/office/drawing/2014/main" id="{785E8325-91D3-2E5E-E7E7-CF9FC41C9422}"/>
                  </a:ext>
                </a:extLst>
              </p:cNvPr>
              <p:cNvSpPr/>
              <p:nvPr/>
            </p:nvSpPr>
            <p:spPr>
              <a:xfrm>
                <a:off x="2123382" y="4292975"/>
                <a:ext cx="102261" cy="1181"/>
              </a:xfrm>
              <a:custGeom>
                <a:avLst/>
                <a:gdLst>
                  <a:gd name="connsiteX0" fmla="*/ 0 w 102261"/>
                  <a:gd name="connsiteY0" fmla="*/ 0 h 1181"/>
                  <a:gd name="connsiteX1" fmla="*/ 102261 w 102261"/>
                  <a:gd name="connsiteY1" fmla="*/ 0 h 11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02261" h="1181">
                    <a:moveTo>
                      <a:pt x="0" y="0"/>
                    </a:moveTo>
                    <a:lnTo>
                      <a:pt x="102261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06" name="Forma livre: Forma 1205">
                <a:extLst>
                  <a:ext uri="{FF2B5EF4-FFF2-40B4-BE49-F238E27FC236}">
                    <a16:creationId xmlns:a16="http://schemas.microsoft.com/office/drawing/2014/main" id="{1AC69F4E-1F26-8A9E-A452-1018A0A7B5B5}"/>
                  </a:ext>
                </a:extLst>
              </p:cNvPr>
              <p:cNvSpPr/>
              <p:nvPr/>
            </p:nvSpPr>
            <p:spPr>
              <a:xfrm>
                <a:off x="2123382" y="4329402"/>
                <a:ext cx="72925" cy="1181"/>
              </a:xfrm>
              <a:custGeom>
                <a:avLst/>
                <a:gdLst>
                  <a:gd name="connsiteX0" fmla="*/ 0 w 72925"/>
                  <a:gd name="connsiteY0" fmla="*/ 0 h 1181"/>
                  <a:gd name="connsiteX1" fmla="*/ 72926 w 72925"/>
                  <a:gd name="connsiteY1" fmla="*/ 0 h 11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72925" h="1181">
                    <a:moveTo>
                      <a:pt x="0" y="0"/>
                    </a:moveTo>
                    <a:lnTo>
                      <a:pt x="72926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207" name="Gráfico 13">
              <a:extLst>
                <a:ext uri="{FF2B5EF4-FFF2-40B4-BE49-F238E27FC236}">
                  <a16:creationId xmlns:a16="http://schemas.microsoft.com/office/drawing/2014/main" id="{B7BACD19-F115-DF4C-FF9D-680177D67F07}"/>
                </a:ext>
              </a:extLst>
            </p:cNvPr>
            <p:cNvGrpSpPr/>
            <p:nvPr/>
          </p:nvGrpSpPr>
          <p:grpSpPr>
            <a:xfrm>
              <a:off x="1979139" y="4091277"/>
              <a:ext cx="232498" cy="231186"/>
              <a:chOff x="1979139" y="4091277"/>
              <a:chExt cx="232498" cy="231186"/>
            </a:xfrm>
            <a:noFill/>
          </p:grpSpPr>
          <p:sp>
            <p:nvSpPr>
              <p:cNvPr id="1208" name="Forma livre: Forma 1207">
                <a:extLst>
                  <a:ext uri="{FF2B5EF4-FFF2-40B4-BE49-F238E27FC236}">
                    <a16:creationId xmlns:a16="http://schemas.microsoft.com/office/drawing/2014/main" id="{2CF8C4AE-69FB-BA72-343D-7ABED0BED36F}"/>
                  </a:ext>
                </a:extLst>
              </p:cNvPr>
              <p:cNvSpPr/>
              <p:nvPr/>
            </p:nvSpPr>
            <p:spPr>
              <a:xfrm>
                <a:off x="1992660" y="4101903"/>
                <a:ext cx="96895" cy="172598"/>
              </a:xfrm>
              <a:custGeom>
                <a:avLst/>
                <a:gdLst>
                  <a:gd name="connsiteX0" fmla="*/ 0 w 96895"/>
                  <a:gd name="connsiteY0" fmla="*/ 55764 h 172598"/>
                  <a:gd name="connsiteX1" fmla="*/ 32243 w 96895"/>
                  <a:gd name="connsiteY1" fmla="*/ 87475 h 172598"/>
                  <a:gd name="connsiteX2" fmla="*/ 27007 w 96895"/>
                  <a:gd name="connsiteY2" fmla="*/ 114896 h 172598"/>
                  <a:gd name="connsiteX3" fmla="*/ 45954 w 96895"/>
                  <a:gd name="connsiteY3" fmla="*/ 126006 h 172598"/>
                  <a:gd name="connsiteX4" fmla="*/ 59239 w 96895"/>
                  <a:gd name="connsiteY4" fmla="*/ 172598 h 172598"/>
                  <a:gd name="connsiteX5" fmla="*/ 96895 w 96895"/>
                  <a:gd name="connsiteY5" fmla="*/ 103798 h 172598"/>
                  <a:gd name="connsiteX6" fmla="*/ 57714 w 96895"/>
                  <a:gd name="connsiteY6" fmla="*/ 83551 h 172598"/>
                  <a:gd name="connsiteX7" fmla="*/ 32243 w 96895"/>
                  <a:gd name="connsiteY7" fmla="*/ 85525 h 172598"/>
                  <a:gd name="connsiteX8" fmla="*/ 29631 w 96895"/>
                  <a:gd name="connsiteY8" fmla="*/ 64628 h 172598"/>
                  <a:gd name="connsiteX9" fmla="*/ 62276 w 96895"/>
                  <a:gd name="connsiteY9" fmla="*/ 42420 h 172598"/>
                  <a:gd name="connsiteX10" fmla="*/ 60964 w 96895"/>
                  <a:gd name="connsiteY10" fmla="*/ 0 h 1725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96895" h="172598">
                    <a:moveTo>
                      <a:pt x="0" y="55764"/>
                    </a:moveTo>
                    <a:lnTo>
                      <a:pt x="32243" y="87475"/>
                    </a:lnTo>
                    <a:lnTo>
                      <a:pt x="27007" y="114896"/>
                    </a:lnTo>
                    <a:lnTo>
                      <a:pt x="45954" y="126006"/>
                    </a:lnTo>
                    <a:lnTo>
                      <a:pt x="59239" y="172598"/>
                    </a:lnTo>
                    <a:lnTo>
                      <a:pt x="96895" y="103798"/>
                    </a:lnTo>
                    <a:lnTo>
                      <a:pt x="57714" y="83551"/>
                    </a:lnTo>
                    <a:lnTo>
                      <a:pt x="32243" y="85525"/>
                    </a:lnTo>
                    <a:lnTo>
                      <a:pt x="29631" y="64628"/>
                    </a:lnTo>
                    <a:lnTo>
                      <a:pt x="62276" y="42420"/>
                    </a:lnTo>
                    <a:lnTo>
                      <a:pt x="60964" y="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09" name="Forma livre: Forma 1208">
                <a:extLst>
                  <a:ext uri="{FF2B5EF4-FFF2-40B4-BE49-F238E27FC236}">
                    <a16:creationId xmlns:a16="http://schemas.microsoft.com/office/drawing/2014/main" id="{9B23CC4E-4541-5F7C-6252-DE73AB37047D}"/>
                  </a:ext>
                </a:extLst>
              </p:cNvPr>
              <p:cNvSpPr/>
              <p:nvPr/>
            </p:nvSpPr>
            <p:spPr>
              <a:xfrm>
                <a:off x="2129372" y="4103770"/>
                <a:ext cx="57479" cy="127495"/>
              </a:xfrm>
              <a:custGeom>
                <a:avLst/>
                <a:gdLst>
                  <a:gd name="connsiteX0" fmla="*/ 32245 w 57479"/>
                  <a:gd name="connsiteY0" fmla="*/ 127496 h 127495"/>
                  <a:gd name="connsiteX1" fmla="*/ 25095 w 57479"/>
                  <a:gd name="connsiteY1" fmla="*/ 98786 h 127495"/>
                  <a:gd name="connsiteX2" fmla="*/ 15675 w 57479"/>
                  <a:gd name="connsiteY2" fmla="*/ 98668 h 127495"/>
                  <a:gd name="connsiteX3" fmla="*/ 11112 w 57479"/>
                  <a:gd name="connsiteY3" fmla="*/ 64061 h 127495"/>
                  <a:gd name="connsiteX4" fmla="*/ 44419 w 57479"/>
                  <a:gd name="connsiteY4" fmla="*/ 60137 h 127495"/>
                  <a:gd name="connsiteX5" fmla="*/ 57480 w 57479"/>
                  <a:gd name="connsiteY5" fmla="*/ 34666 h 127495"/>
                  <a:gd name="connsiteX6" fmla="*/ 15036 w 57479"/>
                  <a:gd name="connsiteY6" fmla="*/ 39240 h 127495"/>
                  <a:gd name="connsiteX7" fmla="*/ 3371 w 57479"/>
                  <a:gd name="connsiteY7" fmla="*/ 32054 h 127495"/>
                  <a:gd name="connsiteX8" fmla="*/ 14765 w 57479"/>
                  <a:gd name="connsiteY8" fmla="*/ 0 h 1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57479" h="127495">
                    <a:moveTo>
                      <a:pt x="32245" y="127496"/>
                    </a:moveTo>
                    <a:lnTo>
                      <a:pt x="25095" y="98786"/>
                    </a:lnTo>
                    <a:lnTo>
                      <a:pt x="15675" y="98668"/>
                    </a:lnTo>
                    <a:cubicBezTo>
                      <a:pt x="15675" y="98668"/>
                      <a:pt x="-16320" y="86908"/>
                      <a:pt x="11112" y="64061"/>
                    </a:cubicBezTo>
                    <a:lnTo>
                      <a:pt x="44419" y="60137"/>
                    </a:lnTo>
                    <a:lnTo>
                      <a:pt x="57480" y="34666"/>
                    </a:lnTo>
                    <a:lnTo>
                      <a:pt x="15036" y="39240"/>
                    </a:lnTo>
                    <a:lnTo>
                      <a:pt x="3371" y="32054"/>
                    </a:lnTo>
                    <a:lnTo>
                      <a:pt x="14765" y="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10" name="Forma livre: Forma 1209">
                <a:extLst>
                  <a:ext uri="{FF2B5EF4-FFF2-40B4-BE49-F238E27FC236}">
                    <a16:creationId xmlns:a16="http://schemas.microsoft.com/office/drawing/2014/main" id="{F6AABBCB-FFB4-5BDF-8B65-3069FC06293D}"/>
                  </a:ext>
                </a:extLst>
              </p:cNvPr>
              <p:cNvSpPr/>
              <p:nvPr/>
            </p:nvSpPr>
            <p:spPr>
              <a:xfrm>
                <a:off x="2184819" y="4191186"/>
                <a:ext cx="25754" cy="40493"/>
              </a:xfrm>
              <a:custGeom>
                <a:avLst/>
                <a:gdLst>
                  <a:gd name="connsiteX0" fmla="*/ 25754 w 25754"/>
                  <a:gd name="connsiteY0" fmla="*/ 0 h 40493"/>
                  <a:gd name="connsiteX1" fmla="*/ 0 w 25754"/>
                  <a:gd name="connsiteY1" fmla="*/ 40493 h 404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5754" h="40493">
                    <a:moveTo>
                      <a:pt x="25754" y="0"/>
                    </a:moveTo>
                    <a:lnTo>
                      <a:pt x="0" y="40493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11" name="Forma livre: Forma 1210">
                <a:extLst>
                  <a:ext uri="{FF2B5EF4-FFF2-40B4-BE49-F238E27FC236}">
                    <a16:creationId xmlns:a16="http://schemas.microsoft.com/office/drawing/2014/main" id="{A697EC25-C0AD-B60E-AC94-D4D64BEECC18}"/>
                  </a:ext>
                </a:extLst>
              </p:cNvPr>
              <p:cNvSpPr/>
              <p:nvPr/>
            </p:nvSpPr>
            <p:spPr>
              <a:xfrm>
                <a:off x="1979139" y="4091277"/>
                <a:ext cx="232498" cy="231186"/>
              </a:xfrm>
              <a:custGeom>
                <a:avLst/>
                <a:gdLst>
                  <a:gd name="connsiteX0" fmla="*/ 98798 w 232498"/>
                  <a:gd name="connsiteY0" fmla="*/ 231187 h 231186"/>
                  <a:gd name="connsiteX1" fmla="*/ 0 w 232498"/>
                  <a:gd name="connsiteY1" fmla="*/ 116244 h 231186"/>
                  <a:gd name="connsiteX2" fmla="*/ 116255 w 232498"/>
                  <a:gd name="connsiteY2" fmla="*/ 0 h 231186"/>
                  <a:gd name="connsiteX3" fmla="*/ 232499 w 232498"/>
                  <a:gd name="connsiteY3" fmla="*/ 116244 h 231186"/>
                  <a:gd name="connsiteX4" fmla="*/ 230253 w 232498"/>
                  <a:gd name="connsiteY4" fmla="*/ 139043 h 2311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32498" h="231186">
                    <a:moveTo>
                      <a:pt x="98798" y="231187"/>
                    </a:moveTo>
                    <a:cubicBezTo>
                      <a:pt x="42881" y="222772"/>
                      <a:pt x="0" y="174513"/>
                      <a:pt x="0" y="116244"/>
                    </a:cubicBezTo>
                    <a:cubicBezTo>
                      <a:pt x="0" y="52041"/>
                      <a:pt x="52053" y="0"/>
                      <a:pt x="116255" y="0"/>
                    </a:cubicBezTo>
                    <a:cubicBezTo>
                      <a:pt x="180458" y="0"/>
                      <a:pt x="232499" y="52041"/>
                      <a:pt x="232499" y="116244"/>
                    </a:cubicBezTo>
                    <a:cubicBezTo>
                      <a:pt x="232499" y="124056"/>
                      <a:pt x="231731" y="131668"/>
                      <a:pt x="230253" y="139043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212" name="Gráfico 13">
            <a:extLst>
              <a:ext uri="{FF2B5EF4-FFF2-40B4-BE49-F238E27FC236}">
                <a16:creationId xmlns:a16="http://schemas.microsoft.com/office/drawing/2014/main" id="{3D7F524A-72C5-C5A4-A37B-C45F236C965D}"/>
              </a:ext>
            </a:extLst>
          </p:cNvPr>
          <p:cNvGrpSpPr/>
          <p:nvPr/>
        </p:nvGrpSpPr>
        <p:grpSpPr>
          <a:xfrm>
            <a:off x="1987637" y="5176922"/>
            <a:ext cx="253572" cy="281230"/>
            <a:chOff x="1987637" y="5176922"/>
            <a:chExt cx="253572" cy="281230"/>
          </a:xfrm>
          <a:noFill/>
        </p:grpSpPr>
        <p:sp>
          <p:nvSpPr>
            <p:cNvPr id="1213" name="Forma livre: Forma 1212">
              <a:extLst>
                <a:ext uri="{FF2B5EF4-FFF2-40B4-BE49-F238E27FC236}">
                  <a16:creationId xmlns:a16="http://schemas.microsoft.com/office/drawing/2014/main" id="{0B9060A4-DDB7-71D7-8AA2-22F5229E907B}"/>
                </a:ext>
              </a:extLst>
            </p:cNvPr>
            <p:cNvSpPr/>
            <p:nvPr/>
          </p:nvSpPr>
          <p:spPr>
            <a:xfrm>
              <a:off x="1995319" y="5381516"/>
              <a:ext cx="58210" cy="69675"/>
            </a:xfrm>
            <a:custGeom>
              <a:avLst/>
              <a:gdLst>
                <a:gd name="connsiteX0" fmla="*/ 58210 w 58210"/>
                <a:gd name="connsiteY0" fmla="*/ 0 h 69675"/>
                <a:gd name="connsiteX1" fmla="*/ 0 w 58210"/>
                <a:gd name="connsiteY1" fmla="*/ 69675 h 696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8210" h="69675">
                  <a:moveTo>
                    <a:pt x="58210" y="0"/>
                  </a:moveTo>
                  <a:lnTo>
                    <a:pt x="0" y="69675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14" name="Forma livre: Forma 1213">
              <a:extLst>
                <a:ext uri="{FF2B5EF4-FFF2-40B4-BE49-F238E27FC236}">
                  <a16:creationId xmlns:a16="http://schemas.microsoft.com/office/drawing/2014/main" id="{5C17F772-710E-ECB1-7F30-23C40F6B98D2}"/>
                </a:ext>
              </a:extLst>
            </p:cNvPr>
            <p:cNvSpPr/>
            <p:nvPr/>
          </p:nvSpPr>
          <p:spPr>
            <a:xfrm>
              <a:off x="2178520" y="5381516"/>
              <a:ext cx="58210" cy="69675"/>
            </a:xfrm>
            <a:custGeom>
              <a:avLst/>
              <a:gdLst>
                <a:gd name="connsiteX0" fmla="*/ 0 w 58210"/>
                <a:gd name="connsiteY0" fmla="*/ 0 h 69675"/>
                <a:gd name="connsiteX1" fmla="*/ 58210 w 58210"/>
                <a:gd name="connsiteY1" fmla="*/ 69675 h 696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8210" h="69675">
                  <a:moveTo>
                    <a:pt x="0" y="0"/>
                  </a:moveTo>
                  <a:lnTo>
                    <a:pt x="58210" y="69675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15" name="Forma livre: Forma 1214">
              <a:extLst>
                <a:ext uri="{FF2B5EF4-FFF2-40B4-BE49-F238E27FC236}">
                  <a16:creationId xmlns:a16="http://schemas.microsoft.com/office/drawing/2014/main" id="{43F9415B-E261-1C28-03D1-CE0A594CE2F9}"/>
                </a:ext>
              </a:extLst>
            </p:cNvPr>
            <p:cNvSpPr/>
            <p:nvPr/>
          </p:nvSpPr>
          <p:spPr>
            <a:xfrm>
              <a:off x="2015554" y="5294112"/>
              <a:ext cx="199499" cy="71027"/>
            </a:xfrm>
            <a:custGeom>
              <a:avLst/>
              <a:gdLst>
                <a:gd name="connsiteX0" fmla="*/ 0 w 199499"/>
                <a:gd name="connsiteY0" fmla="*/ 0 h 71027"/>
                <a:gd name="connsiteX1" fmla="*/ 85880 w 199499"/>
                <a:gd name="connsiteY1" fmla="*/ 66295 h 71027"/>
                <a:gd name="connsiteX2" fmla="*/ 115723 w 199499"/>
                <a:gd name="connsiteY2" fmla="*/ 66177 h 71027"/>
                <a:gd name="connsiteX3" fmla="*/ 199499 w 199499"/>
                <a:gd name="connsiteY3" fmla="*/ 437 h 710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9499" h="71027">
                  <a:moveTo>
                    <a:pt x="0" y="0"/>
                  </a:moveTo>
                  <a:lnTo>
                    <a:pt x="85880" y="66295"/>
                  </a:lnTo>
                  <a:cubicBezTo>
                    <a:pt x="94118" y="72654"/>
                    <a:pt x="107544" y="72595"/>
                    <a:pt x="115723" y="66177"/>
                  </a:cubicBezTo>
                  <a:lnTo>
                    <a:pt x="199499" y="437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16" name="Forma livre: Forma 1215">
              <a:extLst>
                <a:ext uri="{FF2B5EF4-FFF2-40B4-BE49-F238E27FC236}">
                  <a16:creationId xmlns:a16="http://schemas.microsoft.com/office/drawing/2014/main" id="{5FF3CA7F-7DCC-3771-7951-1C5524A95A29}"/>
                </a:ext>
              </a:extLst>
            </p:cNvPr>
            <p:cNvSpPr/>
            <p:nvPr/>
          </p:nvSpPr>
          <p:spPr>
            <a:xfrm>
              <a:off x="1987637" y="5176922"/>
              <a:ext cx="253572" cy="281230"/>
            </a:xfrm>
            <a:custGeom>
              <a:avLst/>
              <a:gdLst>
                <a:gd name="connsiteX0" fmla="*/ 239508 w 253572"/>
                <a:gd name="connsiteY0" fmla="*/ 79804 h 281230"/>
                <a:gd name="connsiteX1" fmla="*/ 145579 w 253572"/>
                <a:gd name="connsiteY1" fmla="*/ 6123 h 281230"/>
                <a:gd name="connsiteX2" fmla="*/ 126786 w 253572"/>
                <a:gd name="connsiteY2" fmla="*/ 0 h 281230"/>
                <a:gd name="connsiteX3" fmla="*/ 107994 w 253572"/>
                <a:gd name="connsiteY3" fmla="*/ 6123 h 281230"/>
                <a:gd name="connsiteX4" fmla="*/ 14065 w 253572"/>
                <a:gd name="connsiteY4" fmla="*/ 79804 h 281230"/>
                <a:gd name="connsiteX5" fmla="*/ 0 w 253572"/>
                <a:gd name="connsiteY5" fmla="*/ 108195 h 281230"/>
                <a:gd name="connsiteX6" fmla="*/ 0 w 253572"/>
                <a:gd name="connsiteY6" fmla="*/ 267177 h 281230"/>
                <a:gd name="connsiteX7" fmla="*/ 14089 w 253572"/>
                <a:gd name="connsiteY7" fmla="*/ 281230 h 281230"/>
                <a:gd name="connsiteX8" fmla="*/ 239484 w 253572"/>
                <a:gd name="connsiteY8" fmla="*/ 281230 h 281230"/>
                <a:gd name="connsiteX9" fmla="*/ 253573 w 253572"/>
                <a:gd name="connsiteY9" fmla="*/ 267177 h 281230"/>
                <a:gd name="connsiteX10" fmla="*/ 253573 w 253572"/>
                <a:gd name="connsiteY10" fmla="*/ 108195 h 281230"/>
                <a:gd name="connsiteX11" fmla="*/ 239508 w 253572"/>
                <a:gd name="connsiteY11" fmla="*/ 79804 h 2812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53572" h="281230">
                  <a:moveTo>
                    <a:pt x="239508" y="79804"/>
                  </a:moveTo>
                  <a:lnTo>
                    <a:pt x="145579" y="6123"/>
                  </a:lnTo>
                  <a:cubicBezTo>
                    <a:pt x="140414" y="2068"/>
                    <a:pt x="133606" y="35"/>
                    <a:pt x="126786" y="0"/>
                  </a:cubicBezTo>
                  <a:cubicBezTo>
                    <a:pt x="119967" y="24"/>
                    <a:pt x="113147" y="2068"/>
                    <a:pt x="107994" y="6123"/>
                  </a:cubicBezTo>
                  <a:lnTo>
                    <a:pt x="14065" y="79804"/>
                  </a:lnTo>
                  <a:cubicBezTo>
                    <a:pt x="2388" y="88527"/>
                    <a:pt x="0" y="98715"/>
                    <a:pt x="0" y="108195"/>
                  </a:cubicBezTo>
                  <a:lnTo>
                    <a:pt x="0" y="267177"/>
                  </a:lnTo>
                  <a:cubicBezTo>
                    <a:pt x="0" y="274931"/>
                    <a:pt x="6347" y="281230"/>
                    <a:pt x="14089" y="281230"/>
                  </a:cubicBezTo>
                  <a:lnTo>
                    <a:pt x="239484" y="281230"/>
                  </a:lnTo>
                  <a:cubicBezTo>
                    <a:pt x="247226" y="281230"/>
                    <a:pt x="253573" y="274931"/>
                    <a:pt x="253573" y="267177"/>
                  </a:cubicBezTo>
                  <a:lnTo>
                    <a:pt x="253573" y="108195"/>
                  </a:lnTo>
                  <a:cubicBezTo>
                    <a:pt x="253573" y="98715"/>
                    <a:pt x="251185" y="88527"/>
                    <a:pt x="239508" y="79804"/>
                  </a:cubicBez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217" name="Gráfico 13">
            <a:extLst>
              <a:ext uri="{FF2B5EF4-FFF2-40B4-BE49-F238E27FC236}">
                <a16:creationId xmlns:a16="http://schemas.microsoft.com/office/drawing/2014/main" id="{8F3D3C44-C434-E4CD-2AD8-699B396BA8D9}"/>
              </a:ext>
            </a:extLst>
          </p:cNvPr>
          <p:cNvGrpSpPr/>
          <p:nvPr/>
        </p:nvGrpSpPr>
        <p:grpSpPr>
          <a:xfrm>
            <a:off x="1963324" y="5735542"/>
            <a:ext cx="302197" cy="231470"/>
            <a:chOff x="1963324" y="5735542"/>
            <a:chExt cx="302197" cy="231470"/>
          </a:xfrm>
          <a:noFill/>
        </p:grpSpPr>
        <p:grpSp>
          <p:nvGrpSpPr>
            <p:cNvPr id="1218" name="Gráfico 13">
              <a:extLst>
                <a:ext uri="{FF2B5EF4-FFF2-40B4-BE49-F238E27FC236}">
                  <a16:creationId xmlns:a16="http://schemas.microsoft.com/office/drawing/2014/main" id="{A0D6E664-F50B-DF2B-3776-ABDD5EB3111E}"/>
                </a:ext>
              </a:extLst>
            </p:cNvPr>
            <p:cNvGrpSpPr/>
            <p:nvPr/>
          </p:nvGrpSpPr>
          <p:grpSpPr>
            <a:xfrm>
              <a:off x="1963324" y="5779888"/>
              <a:ext cx="257709" cy="187124"/>
              <a:chOff x="1963324" y="5779888"/>
              <a:chExt cx="257709" cy="187124"/>
            </a:xfrm>
            <a:noFill/>
          </p:grpSpPr>
          <p:sp>
            <p:nvSpPr>
              <p:cNvPr id="1219" name="Forma livre: Forma 1218">
                <a:extLst>
                  <a:ext uri="{FF2B5EF4-FFF2-40B4-BE49-F238E27FC236}">
                    <a16:creationId xmlns:a16="http://schemas.microsoft.com/office/drawing/2014/main" id="{B7D23D4F-1058-36B5-76D4-00DCBA92BE0A}"/>
                  </a:ext>
                </a:extLst>
              </p:cNvPr>
              <p:cNvSpPr/>
              <p:nvPr/>
            </p:nvSpPr>
            <p:spPr>
              <a:xfrm>
                <a:off x="1963324" y="5779888"/>
                <a:ext cx="257709" cy="187124"/>
              </a:xfrm>
              <a:custGeom>
                <a:avLst/>
                <a:gdLst>
                  <a:gd name="connsiteX0" fmla="*/ 257709 w 257709"/>
                  <a:gd name="connsiteY0" fmla="*/ 66437 h 187124"/>
                  <a:gd name="connsiteX1" fmla="*/ 257709 w 257709"/>
                  <a:gd name="connsiteY1" fmla="*/ 173071 h 187124"/>
                  <a:gd name="connsiteX2" fmla="*/ 243621 w 257709"/>
                  <a:gd name="connsiteY2" fmla="*/ 187124 h 187124"/>
                  <a:gd name="connsiteX3" fmla="*/ 14089 w 257709"/>
                  <a:gd name="connsiteY3" fmla="*/ 187124 h 187124"/>
                  <a:gd name="connsiteX4" fmla="*/ 0 w 257709"/>
                  <a:gd name="connsiteY4" fmla="*/ 173071 h 187124"/>
                  <a:gd name="connsiteX5" fmla="*/ 0 w 257709"/>
                  <a:gd name="connsiteY5" fmla="*/ 14089 h 187124"/>
                  <a:gd name="connsiteX6" fmla="*/ 14089 w 257709"/>
                  <a:gd name="connsiteY6" fmla="*/ 0 h 187124"/>
                  <a:gd name="connsiteX7" fmla="*/ 190481 w 257709"/>
                  <a:gd name="connsiteY7" fmla="*/ 0 h 1871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57709" h="187124">
                    <a:moveTo>
                      <a:pt x="257709" y="66437"/>
                    </a:moveTo>
                    <a:lnTo>
                      <a:pt x="257709" y="173071"/>
                    </a:lnTo>
                    <a:cubicBezTo>
                      <a:pt x="257709" y="180813"/>
                      <a:pt x="251374" y="187124"/>
                      <a:pt x="243621" y="187124"/>
                    </a:cubicBezTo>
                    <a:lnTo>
                      <a:pt x="14089" y="187124"/>
                    </a:lnTo>
                    <a:cubicBezTo>
                      <a:pt x="6335" y="187124"/>
                      <a:pt x="0" y="180813"/>
                      <a:pt x="0" y="173071"/>
                    </a:cubicBezTo>
                    <a:lnTo>
                      <a:pt x="0" y="14089"/>
                    </a:lnTo>
                    <a:cubicBezTo>
                      <a:pt x="0" y="6347"/>
                      <a:pt x="6335" y="0"/>
                      <a:pt x="14089" y="0"/>
                    </a:cubicBezTo>
                    <a:lnTo>
                      <a:pt x="190481" y="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1220" name="Gráfico 13">
                <a:extLst>
                  <a:ext uri="{FF2B5EF4-FFF2-40B4-BE49-F238E27FC236}">
                    <a16:creationId xmlns:a16="http://schemas.microsoft.com/office/drawing/2014/main" id="{D687FFA9-A2BD-5D82-7461-8D796F11735B}"/>
                  </a:ext>
                </a:extLst>
              </p:cNvPr>
              <p:cNvGrpSpPr/>
              <p:nvPr/>
            </p:nvGrpSpPr>
            <p:grpSpPr>
              <a:xfrm>
                <a:off x="1971468" y="5890387"/>
                <a:ext cx="241422" cy="69675"/>
                <a:chOff x="1971468" y="5890387"/>
                <a:chExt cx="241422" cy="69675"/>
              </a:xfrm>
            </p:grpSpPr>
            <p:sp>
              <p:nvSpPr>
                <p:cNvPr id="1221" name="Forma livre: Forma 1220">
                  <a:extLst>
                    <a:ext uri="{FF2B5EF4-FFF2-40B4-BE49-F238E27FC236}">
                      <a16:creationId xmlns:a16="http://schemas.microsoft.com/office/drawing/2014/main" id="{C0E0C5A5-2BA1-3031-0CB0-EDB0C38D12BB}"/>
                    </a:ext>
                  </a:extLst>
                </p:cNvPr>
                <p:cNvSpPr/>
                <p:nvPr/>
              </p:nvSpPr>
              <p:spPr>
                <a:xfrm>
                  <a:off x="1971468" y="5890387"/>
                  <a:ext cx="58222" cy="69675"/>
                </a:xfrm>
                <a:custGeom>
                  <a:avLst/>
                  <a:gdLst>
                    <a:gd name="connsiteX0" fmla="*/ 58222 w 58222"/>
                    <a:gd name="connsiteY0" fmla="*/ 0 h 69675"/>
                    <a:gd name="connsiteX1" fmla="*/ 0 w 58222"/>
                    <a:gd name="connsiteY1" fmla="*/ 69675 h 696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58222" h="69675">
                      <a:moveTo>
                        <a:pt x="58222" y="0"/>
                      </a:moveTo>
                      <a:lnTo>
                        <a:pt x="0" y="69675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222" name="Forma livre: Forma 1221">
                  <a:extLst>
                    <a:ext uri="{FF2B5EF4-FFF2-40B4-BE49-F238E27FC236}">
                      <a16:creationId xmlns:a16="http://schemas.microsoft.com/office/drawing/2014/main" id="{D98D9C05-6710-0BFB-49A5-1380333DBC06}"/>
                    </a:ext>
                  </a:extLst>
                </p:cNvPr>
                <p:cNvSpPr/>
                <p:nvPr/>
              </p:nvSpPr>
              <p:spPr>
                <a:xfrm>
                  <a:off x="2154668" y="5890387"/>
                  <a:ext cx="58222" cy="69675"/>
                </a:xfrm>
                <a:custGeom>
                  <a:avLst/>
                  <a:gdLst>
                    <a:gd name="connsiteX0" fmla="*/ 0 w 58222"/>
                    <a:gd name="connsiteY0" fmla="*/ 0 h 69675"/>
                    <a:gd name="connsiteX1" fmla="*/ 58222 w 58222"/>
                    <a:gd name="connsiteY1" fmla="*/ 69675 h 696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58222" h="69675">
                      <a:moveTo>
                        <a:pt x="0" y="0"/>
                      </a:moveTo>
                      <a:lnTo>
                        <a:pt x="58222" y="69675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1223" name="Forma livre: Forma 1222">
                <a:extLst>
                  <a:ext uri="{FF2B5EF4-FFF2-40B4-BE49-F238E27FC236}">
                    <a16:creationId xmlns:a16="http://schemas.microsoft.com/office/drawing/2014/main" id="{998A74B2-F446-90C9-8731-BA92260690F7}"/>
                  </a:ext>
                </a:extLst>
              </p:cNvPr>
              <p:cNvSpPr/>
              <p:nvPr/>
            </p:nvSpPr>
            <p:spPr>
              <a:xfrm>
                <a:off x="1991703" y="5802983"/>
                <a:ext cx="172373" cy="77854"/>
              </a:xfrm>
              <a:custGeom>
                <a:avLst/>
                <a:gdLst>
                  <a:gd name="connsiteX0" fmla="*/ 0 w 172373"/>
                  <a:gd name="connsiteY0" fmla="*/ 0 h 77854"/>
                  <a:gd name="connsiteX1" fmla="*/ 100855 w 172373"/>
                  <a:gd name="connsiteY1" fmla="*/ 77854 h 77854"/>
                  <a:gd name="connsiteX2" fmla="*/ 172374 w 172373"/>
                  <a:gd name="connsiteY2" fmla="*/ 21724 h 778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72373" h="77854">
                    <a:moveTo>
                      <a:pt x="0" y="0"/>
                    </a:moveTo>
                    <a:lnTo>
                      <a:pt x="100855" y="77854"/>
                    </a:lnTo>
                    <a:lnTo>
                      <a:pt x="172374" y="21724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224" name="Forma livre: Forma 1223">
              <a:extLst>
                <a:ext uri="{FF2B5EF4-FFF2-40B4-BE49-F238E27FC236}">
                  <a16:creationId xmlns:a16="http://schemas.microsoft.com/office/drawing/2014/main" id="{0A4611DC-B731-3950-C7B6-475AAFC9F3B0}"/>
                </a:ext>
              </a:extLst>
            </p:cNvPr>
            <p:cNvSpPr/>
            <p:nvPr/>
          </p:nvSpPr>
          <p:spPr>
            <a:xfrm>
              <a:off x="2174903" y="5735542"/>
              <a:ext cx="90619" cy="90619"/>
            </a:xfrm>
            <a:custGeom>
              <a:avLst/>
              <a:gdLst>
                <a:gd name="connsiteX0" fmla="*/ 90619 w 90619"/>
                <a:gd name="connsiteY0" fmla="*/ 45304 h 90619"/>
                <a:gd name="connsiteX1" fmla="*/ 45304 w 90619"/>
                <a:gd name="connsiteY1" fmla="*/ 90619 h 90619"/>
                <a:gd name="connsiteX2" fmla="*/ 0 w 90619"/>
                <a:gd name="connsiteY2" fmla="*/ 45304 h 90619"/>
                <a:gd name="connsiteX3" fmla="*/ 45304 w 90619"/>
                <a:gd name="connsiteY3" fmla="*/ 0 h 90619"/>
                <a:gd name="connsiteX4" fmla="*/ 90619 w 90619"/>
                <a:gd name="connsiteY4" fmla="*/ 45304 h 906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0619" h="90619">
                  <a:moveTo>
                    <a:pt x="90619" y="45304"/>
                  </a:moveTo>
                  <a:cubicBezTo>
                    <a:pt x="90619" y="70325"/>
                    <a:pt x="70337" y="90619"/>
                    <a:pt x="45304" y="90619"/>
                  </a:cubicBezTo>
                  <a:cubicBezTo>
                    <a:pt x="20270" y="90619"/>
                    <a:pt x="0" y="70337"/>
                    <a:pt x="0" y="45304"/>
                  </a:cubicBezTo>
                  <a:cubicBezTo>
                    <a:pt x="0" y="20270"/>
                    <a:pt x="20282" y="0"/>
                    <a:pt x="45304" y="0"/>
                  </a:cubicBezTo>
                  <a:cubicBezTo>
                    <a:pt x="70325" y="0"/>
                    <a:pt x="90619" y="20282"/>
                    <a:pt x="90619" y="45304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225" name="Gráfico 13">
              <a:extLst>
                <a:ext uri="{FF2B5EF4-FFF2-40B4-BE49-F238E27FC236}">
                  <a16:creationId xmlns:a16="http://schemas.microsoft.com/office/drawing/2014/main" id="{AA20E76D-4C44-B41A-6F1E-8E668E98878E}"/>
                </a:ext>
              </a:extLst>
            </p:cNvPr>
            <p:cNvGrpSpPr/>
            <p:nvPr/>
          </p:nvGrpSpPr>
          <p:grpSpPr>
            <a:xfrm>
              <a:off x="2200740" y="5761343"/>
              <a:ext cx="39015" cy="39015"/>
              <a:chOff x="2200740" y="5761343"/>
              <a:chExt cx="39015" cy="39015"/>
            </a:xfrm>
          </p:grpSpPr>
          <p:sp>
            <p:nvSpPr>
              <p:cNvPr id="1226" name="Forma livre: Forma 1225">
                <a:extLst>
                  <a:ext uri="{FF2B5EF4-FFF2-40B4-BE49-F238E27FC236}">
                    <a16:creationId xmlns:a16="http://schemas.microsoft.com/office/drawing/2014/main" id="{CC899481-0581-F8F2-A98C-65033D29B651}"/>
                  </a:ext>
                </a:extLst>
              </p:cNvPr>
              <p:cNvSpPr/>
              <p:nvPr/>
            </p:nvSpPr>
            <p:spPr>
              <a:xfrm>
                <a:off x="2220242" y="5761343"/>
                <a:ext cx="1181" cy="39015"/>
              </a:xfrm>
              <a:custGeom>
                <a:avLst/>
                <a:gdLst>
                  <a:gd name="connsiteX0" fmla="*/ 0 w 1181"/>
                  <a:gd name="connsiteY0" fmla="*/ 0 h 39015"/>
                  <a:gd name="connsiteX1" fmla="*/ 0 w 1181"/>
                  <a:gd name="connsiteY1" fmla="*/ 39016 h 390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81" h="39015">
                    <a:moveTo>
                      <a:pt x="0" y="0"/>
                    </a:moveTo>
                    <a:lnTo>
                      <a:pt x="0" y="39016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27" name="Forma livre: Forma 1226">
                <a:extLst>
                  <a:ext uri="{FF2B5EF4-FFF2-40B4-BE49-F238E27FC236}">
                    <a16:creationId xmlns:a16="http://schemas.microsoft.com/office/drawing/2014/main" id="{1931A826-BA52-A203-259F-9CA1C8FE00EA}"/>
                  </a:ext>
                </a:extLst>
              </p:cNvPr>
              <p:cNvSpPr/>
              <p:nvPr/>
            </p:nvSpPr>
            <p:spPr>
              <a:xfrm>
                <a:off x="2200740" y="5780845"/>
                <a:ext cx="39015" cy="1181"/>
              </a:xfrm>
              <a:custGeom>
                <a:avLst/>
                <a:gdLst>
                  <a:gd name="connsiteX0" fmla="*/ 39016 w 39015"/>
                  <a:gd name="connsiteY0" fmla="*/ 0 h 1181"/>
                  <a:gd name="connsiteX1" fmla="*/ 0 w 39015"/>
                  <a:gd name="connsiteY1" fmla="*/ 0 h 11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9015" h="1181">
                    <a:moveTo>
                      <a:pt x="39016" y="0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228" name="Gráfico 13">
            <a:extLst>
              <a:ext uri="{FF2B5EF4-FFF2-40B4-BE49-F238E27FC236}">
                <a16:creationId xmlns:a16="http://schemas.microsoft.com/office/drawing/2014/main" id="{176F8637-DC25-6AB0-936B-A383A1256E5E}"/>
              </a:ext>
            </a:extLst>
          </p:cNvPr>
          <p:cNvGrpSpPr/>
          <p:nvPr/>
        </p:nvGrpSpPr>
        <p:grpSpPr>
          <a:xfrm>
            <a:off x="756248" y="3586696"/>
            <a:ext cx="251338" cy="259258"/>
            <a:chOff x="756248" y="3586696"/>
            <a:chExt cx="251338" cy="259258"/>
          </a:xfrm>
          <a:noFill/>
        </p:grpSpPr>
        <p:sp>
          <p:nvSpPr>
            <p:cNvPr id="1229" name="Forma livre: Forma 1228">
              <a:extLst>
                <a:ext uri="{FF2B5EF4-FFF2-40B4-BE49-F238E27FC236}">
                  <a16:creationId xmlns:a16="http://schemas.microsoft.com/office/drawing/2014/main" id="{F69CB285-1465-D689-6DAD-D25350B28C10}"/>
                </a:ext>
              </a:extLst>
            </p:cNvPr>
            <p:cNvSpPr/>
            <p:nvPr/>
          </p:nvSpPr>
          <p:spPr>
            <a:xfrm>
              <a:off x="807839" y="3641786"/>
              <a:ext cx="148155" cy="1181"/>
            </a:xfrm>
            <a:custGeom>
              <a:avLst/>
              <a:gdLst>
                <a:gd name="connsiteX0" fmla="*/ 148156 w 148155"/>
                <a:gd name="connsiteY0" fmla="*/ 0 h 1181"/>
                <a:gd name="connsiteX1" fmla="*/ 0 w 148155"/>
                <a:gd name="connsiteY1" fmla="*/ 0 h 11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48155" h="1181">
                  <a:moveTo>
                    <a:pt x="148156" y="0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30" name="Forma livre: Forma 1229">
              <a:extLst>
                <a:ext uri="{FF2B5EF4-FFF2-40B4-BE49-F238E27FC236}">
                  <a16:creationId xmlns:a16="http://schemas.microsoft.com/office/drawing/2014/main" id="{4B8C0D9C-9C20-7249-64FA-B7CC82FD62FA}"/>
                </a:ext>
              </a:extLst>
            </p:cNvPr>
            <p:cNvSpPr/>
            <p:nvPr/>
          </p:nvSpPr>
          <p:spPr>
            <a:xfrm>
              <a:off x="807839" y="3681559"/>
              <a:ext cx="148155" cy="1181"/>
            </a:xfrm>
            <a:custGeom>
              <a:avLst/>
              <a:gdLst>
                <a:gd name="connsiteX0" fmla="*/ 148156 w 148155"/>
                <a:gd name="connsiteY0" fmla="*/ 0 h 1181"/>
                <a:gd name="connsiteX1" fmla="*/ 0 w 148155"/>
                <a:gd name="connsiteY1" fmla="*/ 0 h 11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48155" h="1181">
                  <a:moveTo>
                    <a:pt x="148156" y="0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31" name="Forma livre: Forma 1230">
              <a:extLst>
                <a:ext uri="{FF2B5EF4-FFF2-40B4-BE49-F238E27FC236}">
                  <a16:creationId xmlns:a16="http://schemas.microsoft.com/office/drawing/2014/main" id="{C1A2FDB4-B035-CE8C-037A-F7871B1B0968}"/>
                </a:ext>
              </a:extLst>
            </p:cNvPr>
            <p:cNvSpPr/>
            <p:nvPr/>
          </p:nvSpPr>
          <p:spPr>
            <a:xfrm>
              <a:off x="807839" y="3721343"/>
              <a:ext cx="81837" cy="1181"/>
            </a:xfrm>
            <a:custGeom>
              <a:avLst/>
              <a:gdLst>
                <a:gd name="connsiteX0" fmla="*/ 81837 w 81837"/>
                <a:gd name="connsiteY0" fmla="*/ 0 h 1181"/>
                <a:gd name="connsiteX1" fmla="*/ 0 w 81837"/>
                <a:gd name="connsiteY1" fmla="*/ 0 h 11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1837" h="1181">
                  <a:moveTo>
                    <a:pt x="81837" y="0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32" name="Forma livre: Forma 1231">
              <a:extLst>
                <a:ext uri="{FF2B5EF4-FFF2-40B4-BE49-F238E27FC236}">
                  <a16:creationId xmlns:a16="http://schemas.microsoft.com/office/drawing/2014/main" id="{24F048CD-7DB2-789F-F9AD-4A0E0517115A}"/>
                </a:ext>
              </a:extLst>
            </p:cNvPr>
            <p:cNvSpPr/>
            <p:nvPr/>
          </p:nvSpPr>
          <p:spPr>
            <a:xfrm>
              <a:off x="756248" y="3586696"/>
              <a:ext cx="251338" cy="259258"/>
            </a:xfrm>
            <a:custGeom>
              <a:avLst/>
              <a:gdLst>
                <a:gd name="connsiteX0" fmla="*/ 151170 w 251338"/>
                <a:gd name="connsiteY0" fmla="*/ 189961 h 259258"/>
                <a:gd name="connsiteX1" fmla="*/ 227854 w 251338"/>
                <a:gd name="connsiteY1" fmla="*/ 189961 h 259258"/>
                <a:gd name="connsiteX2" fmla="*/ 251339 w 251338"/>
                <a:gd name="connsiteY2" fmla="*/ 166464 h 259258"/>
                <a:gd name="connsiteX3" fmla="*/ 251339 w 251338"/>
                <a:gd name="connsiteY3" fmla="*/ 23485 h 259258"/>
                <a:gd name="connsiteX4" fmla="*/ 227854 w 251338"/>
                <a:gd name="connsiteY4" fmla="*/ 0 h 259258"/>
                <a:gd name="connsiteX5" fmla="*/ 23485 w 251338"/>
                <a:gd name="connsiteY5" fmla="*/ 0 h 259258"/>
                <a:gd name="connsiteX6" fmla="*/ 0 w 251338"/>
                <a:gd name="connsiteY6" fmla="*/ 23485 h 259258"/>
                <a:gd name="connsiteX7" fmla="*/ 0 w 251338"/>
                <a:gd name="connsiteY7" fmla="*/ 166464 h 259258"/>
                <a:gd name="connsiteX8" fmla="*/ 23485 w 251338"/>
                <a:gd name="connsiteY8" fmla="*/ 189961 h 259258"/>
                <a:gd name="connsiteX9" fmla="*/ 56130 w 251338"/>
                <a:gd name="connsiteY9" fmla="*/ 189961 h 259258"/>
                <a:gd name="connsiteX10" fmla="*/ 56130 w 251338"/>
                <a:gd name="connsiteY10" fmla="*/ 259258 h 259258"/>
                <a:gd name="connsiteX11" fmla="*/ 118371 w 251338"/>
                <a:gd name="connsiteY11" fmla="*/ 189961 h 2592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51338" h="259258">
                  <a:moveTo>
                    <a:pt x="151170" y="189961"/>
                  </a:moveTo>
                  <a:lnTo>
                    <a:pt x="227854" y="189961"/>
                  </a:lnTo>
                  <a:cubicBezTo>
                    <a:pt x="240772" y="189961"/>
                    <a:pt x="251339" y="179383"/>
                    <a:pt x="251339" y="166464"/>
                  </a:cubicBezTo>
                  <a:lnTo>
                    <a:pt x="251339" y="23485"/>
                  </a:lnTo>
                  <a:cubicBezTo>
                    <a:pt x="251339" y="10567"/>
                    <a:pt x="240772" y="0"/>
                    <a:pt x="227854" y="0"/>
                  </a:cubicBezTo>
                  <a:lnTo>
                    <a:pt x="23485" y="0"/>
                  </a:lnTo>
                  <a:cubicBezTo>
                    <a:pt x="10567" y="0"/>
                    <a:pt x="0" y="10567"/>
                    <a:pt x="0" y="23485"/>
                  </a:cubicBezTo>
                  <a:lnTo>
                    <a:pt x="0" y="166464"/>
                  </a:lnTo>
                  <a:cubicBezTo>
                    <a:pt x="0" y="179383"/>
                    <a:pt x="10567" y="189961"/>
                    <a:pt x="23485" y="189961"/>
                  </a:cubicBezTo>
                  <a:lnTo>
                    <a:pt x="56130" y="189961"/>
                  </a:lnTo>
                  <a:lnTo>
                    <a:pt x="56130" y="259258"/>
                  </a:lnTo>
                  <a:lnTo>
                    <a:pt x="118371" y="189961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233" name="Gráfico 13">
            <a:extLst>
              <a:ext uri="{FF2B5EF4-FFF2-40B4-BE49-F238E27FC236}">
                <a16:creationId xmlns:a16="http://schemas.microsoft.com/office/drawing/2014/main" id="{92B35073-96C3-073D-E051-27DF15EB9A9B}"/>
              </a:ext>
            </a:extLst>
          </p:cNvPr>
          <p:cNvGrpSpPr/>
          <p:nvPr/>
        </p:nvGrpSpPr>
        <p:grpSpPr>
          <a:xfrm>
            <a:off x="736651" y="4655782"/>
            <a:ext cx="290534" cy="256031"/>
            <a:chOff x="736651" y="4655782"/>
            <a:chExt cx="290534" cy="256031"/>
          </a:xfrm>
          <a:noFill/>
        </p:grpSpPr>
        <p:grpSp>
          <p:nvGrpSpPr>
            <p:cNvPr id="1234" name="Gráfico 13">
              <a:extLst>
                <a:ext uri="{FF2B5EF4-FFF2-40B4-BE49-F238E27FC236}">
                  <a16:creationId xmlns:a16="http://schemas.microsoft.com/office/drawing/2014/main" id="{06487B4A-FF1E-F5C3-7856-DA1070919398}"/>
                </a:ext>
              </a:extLst>
            </p:cNvPr>
            <p:cNvGrpSpPr/>
            <p:nvPr/>
          </p:nvGrpSpPr>
          <p:grpSpPr>
            <a:xfrm>
              <a:off x="846240" y="4741337"/>
              <a:ext cx="180945" cy="170476"/>
              <a:chOff x="846240" y="4741337"/>
              <a:chExt cx="180945" cy="170476"/>
            </a:xfrm>
            <a:noFill/>
          </p:grpSpPr>
          <p:sp>
            <p:nvSpPr>
              <p:cNvPr id="1235" name="Forma livre: Forma 1234">
                <a:extLst>
                  <a:ext uri="{FF2B5EF4-FFF2-40B4-BE49-F238E27FC236}">
                    <a16:creationId xmlns:a16="http://schemas.microsoft.com/office/drawing/2014/main" id="{EE42A3E7-82FE-F50E-139E-C75CC1F52494}"/>
                  </a:ext>
                </a:extLst>
              </p:cNvPr>
              <p:cNvSpPr/>
              <p:nvPr/>
            </p:nvSpPr>
            <p:spPr>
              <a:xfrm>
                <a:off x="902146" y="4741337"/>
                <a:ext cx="125039" cy="163113"/>
              </a:xfrm>
              <a:custGeom>
                <a:avLst/>
                <a:gdLst>
                  <a:gd name="connsiteX0" fmla="*/ 1135 w 125039"/>
                  <a:gd name="connsiteY0" fmla="*/ 68901 h 163113"/>
                  <a:gd name="connsiteX1" fmla="*/ 46958 w 125039"/>
                  <a:gd name="connsiteY1" fmla="*/ 10655 h 163113"/>
                  <a:gd name="connsiteX2" fmla="*/ 59522 w 125039"/>
                  <a:gd name="connsiteY2" fmla="*/ 30 h 163113"/>
                  <a:gd name="connsiteX3" fmla="*/ 73800 w 125039"/>
                  <a:gd name="connsiteY3" fmla="*/ 13327 h 163113"/>
                  <a:gd name="connsiteX4" fmla="*/ 67926 w 125039"/>
                  <a:gd name="connsiteY4" fmla="*/ 59753 h 163113"/>
                  <a:gd name="connsiteX5" fmla="*/ 111019 w 125039"/>
                  <a:gd name="connsiteY5" fmla="*/ 59753 h 163113"/>
                  <a:gd name="connsiteX6" fmla="*/ 123288 w 125039"/>
                  <a:gd name="connsiteY6" fmla="*/ 65816 h 163113"/>
                  <a:gd name="connsiteX7" fmla="*/ 124340 w 125039"/>
                  <a:gd name="connsiteY7" fmla="*/ 80260 h 163113"/>
                  <a:gd name="connsiteX8" fmla="*/ 110653 w 125039"/>
                  <a:gd name="connsiteY8" fmla="*/ 150242 h 163113"/>
                  <a:gd name="connsiteX9" fmla="*/ 94165 w 125039"/>
                  <a:gd name="connsiteY9" fmla="*/ 163113 h 163113"/>
                  <a:gd name="connsiteX10" fmla="*/ 0 w 125039"/>
                  <a:gd name="connsiteY10" fmla="*/ 163113 h 1631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125039" h="163113">
                    <a:moveTo>
                      <a:pt x="1135" y="68901"/>
                    </a:moveTo>
                    <a:cubicBezTo>
                      <a:pt x="10815" y="66005"/>
                      <a:pt x="46958" y="52531"/>
                      <a:pt x="46958" y="10655"/>
                    </a:cubicBezTo>
                    <a:cubicBezTo>
                      <a:pt x="46958" y="10655"/>
                      <a:pt x="47786" y="30"/>
                      <a:pt x="59522" y="30"/>
                    </a:cubicBezTo>
                    <a:cubicBezTo>
                      <a:pt x="59522" y="30"/>
                      <a:pt x="72405" y="-1270"/>
                      <a:pt x="73800" y="13327"/>
                    </a:cubicBezTo>
                    <a:cubicBezTo>
                      <a:pt x="73800" y="13327"/>
                      <a:pt x="77110" y="41374"/>
                      <a:pt x="67926" y="59753"/>
                    </a:cubicBezTo>
                    <a:lnTo>
                      <a:pt x="111019" y="59753"/>
                    </a:lnTo>
                    <a:cubicBezTo>
                      <a:pt x="112792" y="59753"/>
                      <a:pt x="119553" y="59446"/>
                      <a:pt x="123288" y="65816"/>
                    </a:cubicBezTo>
                    <a:cubicBezTo>
                      <a:pt x="125829" y="70154"/>
                      <a:pt x="125061" y="76016"/>
                      <a:pt x="124340" y="80260"/>
                    </a:cubicBezTo>
                    <a:cubicBezTo>
                      <a:pt x="123631" y="84503"/>
                      <a:pt x="110653" y="150242"/>
                      <a:pt x="110653" y="150242"/>
                    </a:cubicBezTo>
                    <a:cubicBezTo>
                      <a:pt x="109235" y="156282"/>
                      <a:pt x="103987" y="163113"/>
                      <a:pt x="94165" y="163113"/>
                    </a:cubicBezTo>
                    <a:lnTo>
                      <a:pt x="0" y="163113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36" name="Forma livre: Forma 1235">
                <a:extLst>
                  <a:ext uri="{FF2B5EF4-FFF2-40B4-BE49-F238E27FC236}">
                    <a16:creationId xmlns:a16="http://schemas.microsoft.com/office/drawing/2014/main" id="{238DB693-CE0D-F35B-5221-F9C46EDB731D}"/>
                  </a:ext>
                </a:extLst>
              </p:cNvPr>
              <p:cNvSpPr/>
              <p:nvPr/>
            </p:nvSpPr>
            <p:spPr>
              <a:xfrm>
                <a:off x="846240" y="4807212"/>
                <a:ext cx="37136" cy="104601"/>
              </a:xfrm>
              <a:custGeom>
                <a:avLst/>
                <a:gdLst>
                  <a:gd name="connsiteX0" fmla="*/ 0 w 37136"/>
                  <a:gd name="connsiteY0" fmla="*/ 0 h 104601"/>
                  <a:gd name="connsiteX1" fmla="*/ 37136 w 37136"/>
                  <a:gd name="connsiteY1" fmla="*/ 0 h 104601"/>
                  <a:gd name="connsiteX2" fmla="*/ 37136 w 37136"/>
                  <a:gd name="connsiteY2" fmla="*/ 104602 h 104601"/>
                  <a:gd name="connsiteX3" fmla="*/ 0 w 37136"/>
                  <a:gd name="connsiteY3" fmla="*/ 104602 h 1046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7136" h="104601">
                    <a:moveTo>
                      <a:pt x="0" y="0"/>
                    </a:moveTo>
                    <a:lnTo>
                      <a:pt x="37136" y="0"/>
                    </a:lnTo>
                    <a:lnTo>
                      <a:pt x="37136" y="104602"/>
                    </a:lnTo>
                    <a:lnTo>
                      <a:pt x="0" y="104602"/>
                    </a:lnTo>
                    <a:close/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237" name="Forma livre: Forma 1236">
              <a:extLst>
                <a:ext uri="{FF2B5EF4-FFF2-40B4-BE49-F238E27FC236}">
                  <a16:creationId xmlns:a16="http://schemas.microsoft.com/office/drawing/2014/main" id="{FEEAEF10-2FAE-D368-8897-5739FAEBB2E5}"/>
                </a:ext>
              </a:extLst>
            </p:cNvPr>
            <p:cNvSpPr/>
            <p:nvPr/>
          </p:nvSpPr>
          <p:spPr>
            <a:xfrm>
              <a:off x="780477" y="4697257"/>
              <a:ext cx="187431" cy="1181"/>
            </a:xfrm>
            <a:custGeom>
              <a:avLst/>
              <a:gdLst>
                <a:gd name="connsiteX0" fmla="*/ 187432 w 187431"/>
                <a:gd name="connsiteY0" fmla="*/ 0 h 1181"/>
                <a:gd name="connsiteX1" fmla="*/ 0 w 187431"/>
                <a:gd name="connsiteY1" fmla="*/ 0 h 11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7431" h="1181">
                  <a:moveTo>
                    <a:pt x="187432" y="0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38" name="Forma livre: Forma 1237">
              <a:extLst>
                <a:ext uri="{FF2B5EF4-FFF2-40B4-BE49-F238E27FC236}">
                  <a16:creationId xmlns:a16="http://schemas.microsoft.com/office/drawing/2014/main" id="{7DAE3AF7-B803-22C4-1D97-0D8F64C4BBC0}"/>
                </a:ext>
              </a:extLst>
            </p:cNvPr>
            <p:cNvSpPr/>
            <p:nvPr/>
          </p:nvSpPr>
          <p:spPr>
            <a:xfrm>
              <a:off x="780477" y="4736580"/>
              <a:ext cx="148876" cy="1181"/>
            </a:xfrm>
            <a:custGeom>
              <a:avLst/>
              <a:gdLst>
                <a:gd name="connsiteX0" fmla="*/ 148877 w 148876"/>
                <a:gd name="connsiteY0" fmla="*/ 0 h 1181"/>
                <a:gd name="connsiteX1" fmla="*/ 0 w 148876"/>
                <a:gd name="connsiteY1" fmla="*/ 0 h 11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48876" h="1181">
                  <a:moveTo>
                    <a:pt x="148877" y="0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39" name="Forma livre: Forma 1238">
              <a:extLst>
                <a:ext uri="{FF2B5EF4-FFF2-40B4-BE49-F238E27FC236}">
                  <a16:creationId xmlns:a16="http://schemas.microsoft.com/office/drawing/2014/main" id="{A39B9BAA-D56A-EABA-92DF-2A46EEB9C877}"/>
                </a:ext>
              </a:extLst>
            </p:cNvPr>
            <p:cNvSpPr/>
            <p:nvPr/>
          </p:nvSpPr>
          <p:spPr>
            <a:xfrm>
              <a:off x="780477" y="4775938"/>
              <a:ext cx="125734" cy="1181"/>
            </a:xfrm>
            <a:custGeom>
              <a:avLst/>
              <a:gdLst>
                <a:gd name="connsiteX0" fmla="*/ 125734 w 125734"/>
                <a:gd name="connsiteY0" fmla="*/ 0 h 1181"/>
                <a:gd name="connsiteX1" fmla="*/ 0 w 125734"/>
                <a:gd name="connsiteY1" fmla="*/ 0 h 11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734" h="1181">
                  <a:moveTo>
                    <a:pt x="125734" y="0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40" name="Forma livre: Forma 1239">
              <a:extLst>
                <a:ext uri="{FF2B5EF4-FFF2-40B4-BE49-F238E27FC236}">
                  <a16:creationId xmlns:a16="http://schemas.microsoft.com/office/drawing/2014/main" id="{5DD58026-CFF2-4D0F-86F7-9E96D40D324A}"/>
                </a:ext>
              </a:extLst>
            </p:cNvPr>
            <p:cNvSpPr/>
            <p:nvPr/>
          </p:nvSpPr>
          <p:spPr>
            <a:xfrm>
              <a:off x="780477" y="4815309"/>
              <a:ext cx="42892" cy="1181"/>
            </a:xfrm>
            <a:custGeom>
              <a:avLst/>
              <a:gdLst>
                <a:gd name="connsiteX0" fmla="*/ 42892 w 42892"/>
                <a:gd name="connsiteY0" fmla="*/ 0 h 1181"/>
                <a:gd name="connsiteX1" fmla="*/ 0 w 42892"/>
                <a:gd name="connsiteY1" fmla="*/ 0 h 11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2892" h="1181">
                  <a:moveTo>
                    <a:pt x="42892" y="0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41" name="Forma livre: Forma 1240">
              <a:extLst>
                <a:ext uri="{FF2B5EF4-FFF2-40B4-BE49-F238E27FC236}">
                  <a16:creationId xmlns:a16="http://schemas.microsoft.com/office/drawing/2014/main" id="{1CEE97A2-E538-FD63-3DE3-CE2B35D5EB51}"/>
                </a:ext>
              </a:extLst>
            </p:cNvPr>
            <p:cNvSpPr/>
            <p:nvPr/>
          </p:nvSpPr>
          <p:spPr>
            <a:xfrm>
              <a:off x="736651" y="4655782"/>
              <a:ext cx="274788" cy="255984"/>
            </a:xfrm>
            <a:custGeom>
              <a:avLst/>
              <a:gdLst>
                <a:gd name="connsiteX0" fmla="*/ 82546 w 274788"/>
                <a:gd name="connsiteY0" fmla="*/ 201887 h 255984"/>
                <a:gd name="connsiteX1" fmla="*/ 38377 w 274788"/>
                <a:gd name="connsiteY1" fmla="*/ 255984 h 255984"/>
                <a:gd name="connsiteX2" fmla="*/ 38377 w 274788"/>
                <a:gd name="connsiteY2" fmla="*/ 201875 h 255984"/>
                <a:gd name="connsiteX3" fmla="*/ 15247 w 274788"/>
                <a:gd name="connsiteY3" fmla="*/ 201875 h 255984"/>
                <a:gd name="connsiteX4" fmla="*/ 0 w 274788"/>
                <a:gd name="connsiteY4" fmla="*/ 186581 h 255984"/>
                <a:gd name="connsiteX5" fmla="*/ 0 w 274788"/>
                <a:gd name="connsiteY5" fmla="*/ 15247 h 255984"/>
                <a:gd name="connsiteX6" fmla="*/ 15247 w 274788"/>
                <a:gd name="connsiteY6" fmla="*/ 0 h 255984"/>
                <a:gd name="connsiteX7" fmla="*/ 259553 w 274788"/>
                <a:gd name="connsiteY7" fmla="*/ 0 h 255984"/>
                <a:gd name="connsiteX8" fmla="*/ 274789 w 274788"/>
                <a:gd name="connsiteY8" fmla="*/ 15247 h 255984"/>
                <a:gd name="connsiteX9" fmla="*/ 274789 w 274788"/>
                <a:gd name="connsiteY9" fmla="*/ 121421 h 2559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74788" h="255984">
                  <a:moveTo>
                    <a:pt x="82546" y="201887"/>
                  </a:moveTo>
                  <a:lnTo>
                    <a:pt x="38377" y="255984"/>
                  </a:lnTo>
                  <a:lnTo>
                    <a:pt x="38377" y="201875"/>
                  </a:lnTo>
                  <a:lnTo>
                    <a:pt x="15247" y="201875"/>
                  </a:lnTo>
                  <a:cubicBezTo>
                    <a:pt x="6855" y="201875"/>
                    <a:pt x="0" y="194961"/>
                    <a:pt x="0" y="186581"/>
                  </a:cubicBezTo>
                  <a:lnTo>
                    <a:pt x="0" y="15247"/>
                  </a:lnTo>
                  <a:cubicBezTo>
                    <a:pt x="0" y="6867"/>
                    <a:pt x="6855" y="0"/>
                    <a:pt x="15247" y="0"/>
                  </a:cubicBezTo>
                  <a:lnTo>
                    <a:pt x="259553" y="0"/>
                  </a:lnTo>
                  <a:cubicBezTo>
                    <a:pt x="267933" y="0"/>
                    <a:pt x="274789" y="6867"/>
                    <a:pt x="274789" y="15247"/>
                  </a:cubicBezTo>
                  <a:lnTo>
                    <a:pt x="274789" y="121421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242" name="Gráfico 13">
            <a:extLst>
              <a:ext uri="{FF2B5EF4-FFF2-40B4-BE49-F238E27FC236}">
                <a16:creationId xmlns:a16="http://schemas.microsoft.com/office/drawing/2014/main" id="{D42FA6CE-4660-520F-C561-AC6EF851D181}"/>
              </a:ext>
            </a:extLst>
          </p:cNvPr>
          <p:cNvGrpSpPr/>
          <p:nvPr/>
        </p:nvGrpSpPr>
        <p:grpSpPr>
          <a:xfrm>
            <a:off x="769190" y="4102943"/>
            <a:ext cx="225454" cy="294207"/>
            <a:chOff x="769190" y="4102943"/>
            <a:chExt cx="225454" cy="294207"/>
          </a:xfrm>
        </p:grpSpPr>
        <p:grpSp>
          <p:nvGrpSpPr>
            <p:cNvPr id="1243" name="Gráfico 13">
              <a:extLst>
                <a:ext uri="{FF2B5EF4-FFF2-40B4-BE49-F238E27FC236}">
                  <a16:creationId xmlns:a16="http://schemas.microsoft.com/office/drawing/2014/main" id="{3E41B5C1-3264-04C5-1053-F45A7970AD0B}"/>
                </a:ext>
              </a:extLst>
            </p:cNvPr>
            <p:cNvGrpSpPr/>
            <p:nvPr/>
          </p:nvGrpSpPr>
          <p:grpSpPr>
            <a:xfrm>
              <a:off x="769190" y="4102943"/>
              <a:ext cx="162681" cy="294207"/>
              <a:chOff x="769190" y="4102943"/>
              <a:chExt cx="162681" cy="294207"/>
            </a:xfrm>
            <a:noFill/>
          </p:grpSpPr>
          <p:sp>
            <p:nvSpPr>
              <p:cNvPr id="1244" name="Forma livre: Forma 1243">
                <a:extLst>
                  <a:ext uri="{FF2B5EF4-FFF2-40B4-BE49-F238E27FC236}">
                    <a16:creationId xmlns:a16="http://schemas.microsoft.com/office/drawing/2014/main" id="{63692564-5EF7-A73F-E22C-25822EFF4C01}"/>
                  </a:ext>
                </a:extLst>
              </p:cNvPr>
              <p:cNvSpPr/>
              <p:nvPr/>
            </p:nvSpPr>
            <p:spPr>
              <a:xfrm>
                <a:off x="769190" y="4102943"/>
                <a:ext cx="162681" cy="294207"/>
              </a:xfrm>
              <a:custGeom>
                <a:avLst/>
                <a:gdLst>
                  <a:gd name="connsiteX0" fmla="*/ 162670 w 162681"/>
                  <a:gd name="connsiteY0" fmla="*/ 216141 h 294207"/>
                  <a:gd name="connsiteX1" fmla="*/ 162670 w 162681"/>
                  <a:gd name="connsiteY1" fmla="*/ 280474 h 294207"/>
                  <a:gd name="connsiteX2" fmla="*/ 149350 w 162681"/>
                  <a:gd name="connsiteY2" fmla="*/ 294208 h 294207"/>
                  <a:gd name="connsiteX3" fmla="*/ 13309 w 162681"/>
                  <a:gd name="connsiteY3" fmla="*/ 294208 h 294207"/>
                  <a:gd name="connsiteX4" fmla="*/ 0 w 162681"/>
                  <a:gd name="connsiteY4" fmla="*/ 280474 h 294207"/>
                  <a:gd name="connsiteX5" fmla="*/ 0 w 162681"/>
                  <a:gd name="connsiteY5" fmla="*/ 13320 h 294207"/>
                  <a:gd name="connsiteX6" fmla="*/ 13309 w 162681"/>
                  <a:gd name="connsiteY6" fmla="*/ 0 h 294207"/>
                  <a:gd name="connsiteX7" fmla="*/ 149361 w 162681"/>
                  <a:gd name="connsiteY7" fmla="*/ 0 h 294207"/>
                  <a:gd name="connsiteX8" fmla="*/ 162682 w 162681"/>
                  <a:gd name="connsiteY8" fmla="*/ 13320 h 294207"/>
                  <a:gd name="connsiteX9" fmla="*/ 162682 w 162681"/>
                  <a:gd name="connsiteY9" fmla="*/ 24892 h 2942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62681" h="294207">
                    <a:moveTo>
                      <a:pt x="162670" y="216141"/>
                    </a:moveTo>
                    <a:lnTo>
                      <a:pt x="162670" y="280474"/>
                    </a:lnTo>
                    <a:cubicBezTo>
                      <a:pt x="162670" y="287802"/>
                      <a:pt x="156678" y="294208"/>
                      <a:pt x="149350" y="294208"/>
                    </a:cubicBezTo>
                    <a:lnTo>
                      <a:pt x="13309" y="294208"/>
                    </a:lnTo>
                    <a:cubicBezTo>
                      <a:pt x="5981" y="294208"/>
                      <a:pt x="0" y="287790"/>
                      <a:pt x="0" y="280474"/>
                    </a:cubicBezTo>
                    <a:lnTo>
                      <a:pt x="0" y="13320"/>
                    </a:lnTo>
                    <a:cubicBezTo>
                      <a:pt x="0" y="5992"/>
                      <a:pt x="5992" y="0"/>
                      <a:pt x="13309" y="0"/>
                    </a:cubicBezTo>
                    <a:lnTo>
                      <a:pt x="149361" y="0"/>
                    </a:lnTo>
                    <a:cubicBezTo>
                      <a:pt x="156689" y="0"/>
                      <a:pt x="162682" y="5992"/>
                      <a:pt x="162682" y="13320"/>
                    </a:cubicBezTo>
                    <a:lnTo>
                      <a:pt x="162682" y="24892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45" name="Forma livre: Forma 1244">
                <a:extLst>
                  <a:ext uri="{FF2B5EF4-FFF2-40B4-BE49-F238E27FC236}">
                    <a16:creationId xmlns:a16="http://schemas.microsoft.com/office/drawing/2014/main" id="{D466F236-F5C8-5A7A-92A6-D7239833D8D1}"/>
                  </a:ext>
                </a:extLst>
              </p:cNvPr>
              <p:cNvSpPr/>
              <p:nvPr/>
            </p:nvSpPr>
            <p:spPr>
              <a:xfrm>
                <a:off x="788952" y="4339094"/>
                <a:ext cx="123098" cy="1181"/>
              </a:xfrm>
              <a:custGeom>
                <a:avLst/>
                <a:gdLst>
                  <a:gd name="connsiteX0" fmla="*/ 0 w 123098"/>
                  <a:gd name="connsiteY0" fmla="*/ 0 h 1181"/>
                  <a:gd name="connsiteX1" fmla="*/ 123099 w 123098"/>
                  <a:gd name="connsiteY1" fmla="*/ 0 h 11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3098" h="1181">
                    <a:moveTo>
                      <a:pt x="0" y="0"/>
                    </a:moveTo>
                    <a:lnTo>
                      <a:pt x="123099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46" name="Forma livre: Forma 1245">
                <a:extLst>
                  <a:ext uri="{FF2B5EF4-FFF2-40B4-BE49-F238E27FC236}">
                    <a16:creationId xmlns:a16="http://schemas.microsoft.com/office/drawing/2014/main" id="{35E2FBC2-2192-CE88-50C6-A9177F2BA5AD}"/>
                  </a:ext>
                </a:extLst>
              </p:cNvPr>
              <p:cNvSpPr/>
              <p:nvPr/>
            </p:nvSpPr>
            <p:spPr>
              <a:xfrm>
                <a:off x="839468" y="4367295"/>
                <a:ext cx="22114" cy="1181"/>
              </a:xfrm>
              <a:custGeom>
                <a:avLst/>
                <a:gdLst>
                  <a:gd name="connsiteX0" fmla="*/ 0 w 22114"/>
                  <a:gd name="connsiteY0" fmla="*/ 0 h 1181"/>
                  <a:gd name="connsiteX1" fmla="*/ 22114 w 22114"/>
                  <a:gd name="connsiteY1" fmla="*/ 0 h 11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2114" h="1181">
                    <a:moveTo>
                      <a:pt x="0" y="0"/>
                    </a:moveTo>
                    <a:lnTo>
                      <a:pt x="22114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247" name="Gráfico 13">
              <a:extLst>
                <a:ext uri="{FF2B5EF4-FFF2-40B4-BE49-F238E27FC236}">
                  <a16:creationId xmlns:a16="http://schemas.microsoft.com/office/drawing/2014/main" id="{FCE71DF6-93CE-9EF0-B774-545DA2F51960}"/>
                </a:ext>
              </a:extLst>
            </p:cNvPr>
            <p:cNvGrpSpPr/>
            <p:nvPr/>
          </p:nvGrpSpPr>
          <p:grpSpPr>
            <a:xfrm>
              <a:off x="886095" y="4199803"/>
              <a:ext cx="65006" cy="60420"/>
              <a:chOff x="886095" y="4199803"/>
              <a:chExt cx="65006" cy="60420"/>
            </a:xfrm>
          </p:grpSpPr>
          <p:grpSp>
            <p:nvGrpSpPr>
              <p:cNvPr id="1248" name="Gráfico 13">
                <a:extLst>
                  <a:ext uri="{FF2B5EF4-FFF2-40B4-BE49-F238E27FC236}">
                    <a16:creationId xmlns:a16="http://schemas.microsoft.com/office/drawing/2014/main" id="{C511B1CF-5D2D-0383-50E5-F2CB670CCF5B}"/>
                  </a:ext>
                </a:extLst>
              </p:cNvPr>
              <p:cNvGrpSpPr/>
              <p:nvPr/>
            </p:nvGrpSpPr>
            <p:grpSpPr>
              <a:xfrm>
                <a:off x="891036" y="4199803"/>
                <a:ext cx="55787" cy="7091"/>
                <a:chOff x="891036" y="4199803"/>
                <a:chExt cx="55787" cy="7091"/>
              </a:xfrm>
              <a:solidFill>
                <a:srgbClr val="394553"/>
              </a:solidFill>
            </p:grpSpPr>
            <p:sp>
              <p:nvSpPr>
                <p:cNvPr id="1249" name="Forma livre: Forma 1248">
                  <a:extLst>
                    <a:ext uri="{FF2B5EF4-FFF2-40B4-BE49-F238E27FC236}">
                      <a16:creationId xmlns:a16="http://schemas.microsoft.com/office/drawing/2014/main" id="{FCE97970-B827-3505-44A9-7865AFA04647}"/>
                    </a:ext>
                  </a:extLst>
                </p:cNvPr>
                <p:cNvSpPr/>
                <p:nvPr/>
              </p:nvSpPr>
              <p:spPr>
                <a:xfrm>
                  <a:off x="939732" y="4199803"/>
                  <a:ext cx="7091" cy="7091"/>
                </a:xfrm>
                <a:custGeom>
                  <a:avLst/>
                  <a:gdLst>
                    <a:gd name="connsiteX0" fmla="*/ 0 w 7091"/>
                    <a:gd name="connsiteY0" fmla="*/ 3546 h 7091"/>
                    <a:gd name="connsiteX1" fmla="*/ 3546 w 7091"/>
                    <a:gd name="connsiteY1" fmla="*/ 7092 h 7091"/>
                    <a:gd name="connsiteX2" fmla="*/ 7092 w 7091"/>
                    <a:gd name="connsiteY2" fmla="*/ 3546 h 7091"/>
                    <a:gd name="connsiteX3" fmla="*/ 3546 w 7091"/>
                    <a:gd name="connsiteY3" fmla="*/ 0 h 7091"/>
                    <a:gd name="connsiteX4" fmla="*/ 0 w 7091"/>
                    <a:gd name="connsiteY4" fmla="*/ 3546 h 709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7091" h="7091">
                      <a:moveTo>
                        <a:pt x="0" y="3546"/>
                      </a:moveTo>
                      <a:cubicBezTo>
                        <a:pt x="0" y="5508"/>
                        <a:pt x="1572" y="7092"/>
                        <a:pt x="3546" y="7092"/>
                      </a:cubicBezTo>
                      <a:cubicBezTo>
                        <a:pt x="5520" y="7092"/>
                        <a:pt x="7092" y="5508"/>
                        <a:pt x="7092" y="3546"/>
                      </a:cubicBezTo>
                      <a:cubicBezTo>
                        <a:pt x="7092" y="1584"/>
                        <a:pt x="5496" y="0"/>
                        <a:pt x="3546" y="0"/>
                      </a:cubicBezTo>
                      <a:cubicBezTo>
                        <a:pt x="1596" y="0"/>
                        <a:pt x="0" y="1584"/>
                        <a:pt x="0" y="3546"/>
                      </a:cubicBezTo>
                      <a:close/>
                    </a:path>
                  </a:pathLst>
                </a:custGeom>
                <a:solidFill>
                  <a:srgbClr val="394553"/>
                </a:solidFill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250" name="Forma livre: Forma 1249">
                  <a:extLst>
                    <a:ext uri="{FF2B5EF4-FFF2-40B4-BE49-F238E27FC236}">
                      <a16:creationId xmlns:a16="http://schemas.microsoft.com/office/drawing/2014/main" id="{77F66CCF-29A4-8AFC-AFCE-94D74BBA4B3A}"/>
                    </a:ext>
                  </a:extLst>
                </p:cNvPr>
                <p:cNvSpPr/>
                <p:nvPr/>
              </p:nvSpPr>
              <p:spPr>
                <a:xfrm>
                  <a:off x="891036" y="4199803"/>
                  <a:ext cx="7091" cy="7091"/>
                </a:xfrm>
                <a:custGeom>
                  <a:avLst/>
                  <a:gdLst>
                    <a:gd name="connsiteX0" fmla="*/ 0 w 7091"/>
                    <a:gd name="connsiteY0" fmla="*/ 3546 h 7091"/>
                    <a:gd name="connsiteX1" fmla="*/ 3546 w 7091"/>
                    <a:gd name="connsiteY1" fmla="*/ 7092 h 7091"/>
                    <a:gd name="connsiteX2" fmla="*/ 7092 w 7091"/>
                    <a:gd name="connsiteY2" fmla="*/ 3546 h 7091"/>
                    <a:gd name="connsiteX3" fmla="*/ 3546 w 7091"/>
                    <a:gd name="connsiteY3" fmla="*/ 0 h 7091"/>
                    <a:gd name="connsiteX4" fmla="*/ 0 w 7091"/>
                    <a:gd name="connsiteY4" fmla="*/ 3546 h 709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7091" h="7091">
                      <a:moveTo>
                        <a:pt x="0" y="3546"/>
                      </a:moveTo>
                      <a:cubicBezTo>
                        <a:pt x="0" y="5508"/>
                        <a:pt x="1572" y="7092"/>
                        <a:pt x="3546" y="7092"/>
                      </a:cubicBezTo>
                      <a:cubicBezTo>
                        <a:pt x="5520" y="7092"/>
                        <a:pt x="7092" y="5508"/>
                        <a:pt x="7092" y="3546"/>
                      </a:cubicBezTo>
                      <a:cubicBezTo>
                        <a:pt x="7092" y="1584"/>
                        <a:pt x="5496" y="0"/>
                        <a:pt x="3546" y="0"/>
                      </a:cubicBezTo>
                      <a:cubicBezTo>
                        <a:pt x="1596" y="0"/>
                        <a:pt x="0" y="1584"/>
                        <a:pt x="0" y="3546"/>
                      </a:cubicBezTo>
                      <a:close/>
                    </a:path>
                  </a:pathLst>
                </a:custGeom>
                <a:solidFill>
                  <a:srgbClr val="394553"/>
                </a:solidFill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1251" name="Forma livre: Forma 1250">
                <a:extLst>
                  <a:ext uri="{FF2B5EF4-FFF2-40B4-BE49-F238E27FC236}">
                    <a16:creationId xmlns:a16="http://schemas.microsoft.com/office/drawing/2014/main" id="{951CC04B-68D0-DB3C-43D5-F05AB715D359}"/>
                  </a:ext>
                </a:extLst>
              </p:cNvPr>
              <p:cNvSpPr/>
              <p:nvPr/>
            </p:nvSpPr>
            <p:spPr>
              <a:xfrm>
                <a:off x="886095" y="4241762"/>
                <a:ext cx="65006" cy="18461"/>
              </a:xfrm>
              <a:custGeom>
                <a:avLst/>
                <a:gdLst>
                  <a:gd name="connsiteX0" fmla="*/ 65007 w 65006"/>
                  <a:gd name="connsiteY0" fmla="*/ 0 h 18461"/>
                  <a:gd name="connsiteX1" fmla="*/ 32503 w 65006"/>
                  <a:gd name="connsiteY1" fmla="*/ 18462 h 18461"/>
                  <a:gd name="connsiteX2" fmla="*/ 0 w 65006"/>
                  <a:gd name="connsiteY2" fmla="*/ 0 h 184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65006" h="18461">
                    <a:moveTo>
                      <a:pt x="65007" y="0"/>
                    </a:moveTo>
                    <a:cubicBezTo>
                      <a:pt x="58494" y="11039"/>
                      <a:pt x="46226" y="18462"/>
                      <a:pt x="32503" y="18462"/>
                    </a:cubicBezTo>
                    <a:cubicBezTo>
                      <a:pt x="18781" y="18462"/>
                      <a:pt x="6512" y="11039"/>
                      <a:pt x="0" y="0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252" name="Forma livre: Forma 1251">
              <a:extLst>
                <a:ext uri="{FF2B5EF4-FFF2-40B4-BE49-F238E27FC236}">
                  <a16:creationId xmlns:a16="http://schemas.microsoft.com/office/drawing/2014/main" id="{4F565A16-B3F9-A463-2ABA-6665258EA4CE}"/>
                </a:ext>
              </a:extLst>
            </p:cNvPr>
            <p:cNvSpPr/>
            <p:nvPr/>
          </p:nvSpPr>
          <p:spPr>
            <a:xfrm>
              <a:off x="832471" y="4146769"/>
              <a:ext cx="162173" cy="152091"/>
            </a:xfrm>
            <a:custGeom>
              <a:avLst/>
              <a:gdLst>
                <a:gd name="connsiteX0" fmla="*/ 20743 w 162173"/>
                <a:gd name="connsiteY0" fmla="*/ 114731 h 152091"/>
                <a:gd name="connsiteX1" fmla="*/ 0 w 162173"/>
                <a:gd name="connsiteY1" fmla="*/ 151040 h 152091"/>
                <a:gd name="connsiteX2" fmla="*/ 43791 w 162173"/>
                <a:gd name="connsiteY2" fmla="*/ 139220 h 152091"/>
                <a:gd name="connsiteX3" fmla="*/ 86128 w 162173"/>
                <a:gd name="connsiteY3" fmla="*/ 152092 h 152091"/>
                <a:gd name="connsiteX4" fmla="*/ 162174 w 162173"/>
                <a:gd name="connsiteY4" fmla="*/ 76046 h 152091"/>
                <a:gd name="connsiteX5" fmla="*/ 86128 w 162173"/>
                <a:gd name="connsiteY5" fmla="*/ 0 h 152091"/>
                <a:gd name="connsiteX6" fmla="*/ 10082 w 162173"/>
                <a:gd name="connsiteY6" fmla="*/ 76046 h 152091"/>
                <a:gd name="connsiteX7" fmla="*/ 11878 w 162173"/>
                <a:gd name="connsiteY7" fmla="*/ 92404 h 1520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62173" h="152091">
                  <a:moveTo>
                    <a:pt x="20743" y="114731"/>
                  </a:moveTo>
                  <a:lnTo>
                    <a:pt x="0" y="151040"/>
                  </a:lnTo>
                  <a:lnTo>
                    <a:pt x="43791" y="139220"/>
                  </a:lnTo>
                  <a:cubicBezTo>
                    <a:pt x="55894" y="147352"/>
                    <a:pt x="70443" y="152092"/>
                    <a:pt x="86128" y="152092"/>
                  </a:cubicBezTo>
                  <a:cubicBezTo>
                    <a:pt x="128134" y="152092"/>
                    <a:pt x="162174" y="118052"/>
                    <a:pt x="162174" y="76046"/>
                  </a:cubicBezTo>
                  <a:cubicBezTo>
                    <a:pt x="162174" y="34040"/>
                    <a:pt x="128122" y="0"/>
                    <a:pt x="86128" y="0"/>
                  </a:cubicBezTo>
                  <a:cubicBezTo>
                    <a:pt x="44134" y="0"/>
                    <a:pt x="10082" y="34052"/>
                    <a:pt x="10082" y="76046"/>
                  </a:cubicBezTo>
                  <a:cubicBezTo>
                    <a:pt x="10082" y="81672"/>
                    <a:pt x="10697" y="87144"/>
                    <a:pt x="11878" y="92404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253" name="Gráfico 13">
            <a:extLst>
              <a:ext uri="{FF2B5EF4-FFF2-40B4-BE49-F238E27FC236}">
                <a16:creationId xmlns:a16="http://schemas.microsoft.com/office/drawing/2014/main" id="{87C854A4-4009-5392-F990-189FD5F54940}"/>
              </a:ext>
            </a:extLst>
          </p:cNvPr>
          <p:cNvGrpSpPr/>
          <p:nvPr/>
        </p:nvGrpSpPr>
        <p:grpSpPr>
          <a:xfrm>
            <a:off x="747277" y="5723722"/>
            <a:ext cx="269268" cy="255133"/>
            <a:chOff x="747277" y="5723722"/>
            <a:chExt cx="269268" cy="255133"/>
          </a:xfrm>
          <a:noFill/>
        </p:grpSpPr>
        <p:sp>
          <p:nvSpPr>
            <p:cNvPr id="1254" name="Forma livre: Forma 1253">
              <a:extLst>
                <a:ext uri="{FF2B5EF4-FFF2-40B4-BE49-F238E27FC236}">
                  <a16:creationId xmlns:a16="http://schemas.microsoft.com/office/drawing/2014/main" id="{9AB1DA8A-6890-2542-D172-BE05542CAFB8}"/>
                </a:ext>
              </a:extLst>
            </p:cNvPr>
            <p:cNvSpPr/>
            <p:nvPr/>
          </p:nvSpPr>
          <p:spPr>
            <a:xfrm>
              <a:off x="747277" y="5723722"/>
              <a:ext cx="269268" cy="255133"/>
            </a:xfrm>
            <a:custGeom>
              <a:avLst/>
              <a:gdLst>
                <a:gd name="connsiteX0" fmla="*/ 24466 w 269268"/>
                <a:gd name="connsiteY0" fmla="*/ 178201 h 255133"/>
                <a:gd name="connsiteX1" fmla="*/ 0 w 269268"/>
                <a:gd name="connsiteY1" fmla="*/ 248680 h 255133"/>
                <a:gd name="connsiteX2" fmla="*/ 72004 w 269268"/>
                <a:gd name="connsiteY2" fmla="*/ 234473 h 255133"/>
                <a:gd name="connsiteX3" fmla="*/ 141655 w 269268"/>
                <a:gd name="connsiteY3" fmla="*/ 255133 h 255133"/>
                <a:gd name="connsiteX4" fmla="*/ 269269 w 269268"/>
                <a:gd name="connsiteY4" fmla="*/ 127567 h 255133"/>
                <a:gd name="connsiteX5" fmla="*/ 141655 w 269268"/>
                <a:gd name="connsiteY5" fmla="*/ 0 h 255133"/>
                <a:gd name="connsiteX6" fmla="*/ 14077 w 269268"/>
                <a:gd name="connsiteY6" fmla="*/ 127567 h 255133"/>
                <a:gd name="connsiteX7" fmla="*/ 15625 w 269268"/>
                <a:gd name="connsiteY7" fmla="*/ 147541 h 2551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69268" h="255133">
                  <a:moveTo>
                    <a:pt x="24466" y="178201"/>
                  </a:moveTo>
                  <a:lnTo>
                    <a:pt x="0" y="248680"/>
                  </a:lnTo>
                  <a:lnTo>
                    <a:pt x="72004" y="234473"/>
                  </a:lnTo>
                  <a:cubicBezTo>
                    <a:pt x="92026" y="247521"/>
                    <a:pt x="115972" y="255133"/>
                    <a:pt x="141655" y="255133"/>
                  </a:cubicBezTo>
                  <a:cubicBezTo>
                    <a:pt x="212158" y="255133"/>
                    <a:pt x="269269" y="198022"/>
                    <a:pt x="269269" y="127567"/>
                  </a:cubicBezTo>
                  <a:cubicBezTo>
                    <a:pt x="269269" y="57111"/>
                    <a:pt x="212158" y="0"/>
                    <a:pt x="141655" y="0"/>
                  </a:cubicBezTo>
                  <a:cubicBezTo>
                    <a:pt x="71153" y="0"/>
                    <a:pt x="14077" y="57111"/>
                    <a:pt x="14077" y="127567"/>
                  </a:cubicBezTo>
                  <a:cubicBezTo>
                    <a:pt x="14077" y="134339"/>
                    <a:pt x="14609" y="141017"/>
                    <a:pt x="15625" y="147541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255" name="Gráfico 13">
              <a:extLst>
                <a:ext uri="{FF2B5EF4-FFF2-40B4-BE49-F238E27FC236}">
                  <a16:creationId xmlns:a16="http://schemas.microsoft.com/office/drawing/2014/main" id="{6A9D0787-1CB5-90B8-CB20-FE41EF324337}"/>
                </a:ext>
              </a:extLst>
            </p:cNvPr>
            <p:cNvGrpSpPr/>
            <p:nvPr/>
          </p:nvGrpSpPr>
          <p:grpSpPr>
            <a:xfrm>
              <a:off x="818110" y="5815594"/>
              <a:ext cx="137979" cy="84898"/>
              <a:chOff x="818110" y="5815594"/>
              <a:chExt cx="137979" cy="84898"/>
            </a:xfrm>
            <a:noFill/>
          </p:grpSpPr>
          <p:sp>
            <p:nvSpPr>
              <p:cNvPr id="1256" name="Forma livre: Forma 1255">
                <a:extLst>
                  <a:ext uri="{FF2B5EF4-FFF2-40B4-BE49-F238E27FC236}">
                    <a16:creationId xmlns:a16="http://schemas.microsoft.com/office/drawing/2014/main" id="{1CEDBC9F-8554-B7A4-C4F7-7FAA8FFB912F}"/>
                  </a:ext>
                </a:extLst>
              </p:cNvPr>
              <p:cNvSpPr/>
              <p:nvPr/>
            </p:nvSpPr>
            <p:spPr>
              <a:xfrm>
                <a:off x="818110" y="5815594"/>
                <a:ext cx="56638" cy="84898"/>
              </a:xfrm>
              <a:custGeom>
                <a:avLst/>
                <a:gdLst>
                  <a:gd name="connsiteX0" fmla="*/ 25376 w 56638"/>
                  <a:gd name="connsiteY0" fmla="*/ 84899 h 84898"/>
                  <a:gd name="connsiteX1" fmla="*/ 56638 w 56638"/>
                  <a:gd name="connsiteY1" fmla="*/ 39016 h 84898"/>
                  <a:gd name="connsiteX2" fmla="*/ 56638 w 56638"/>
                  <a:gd name="connsiteY2" fmla="*/ 0 h 84898"/>
                  <a:gd name="connsiteX3" fmla="*/ 0 w 56638"/>
                  <a:gd name="connsiteY3" fmla="*/ 0 h 84898"/>
                  <a:gd name="connsiteX4" fmla="*/ 0 w 56638"/>
                  <a:gd name="connsiteY4" fmla="*/ 40340 h 84898"/>
                  <a:gd name="connsiteX5" fmla="*/ 32952 w 56638"/>
                  <a:gd name="connsiteY5" fmla="*/ 40340 h 84898"/>
                  <a:gd name="connsiteX6" fmla="*/ 7423 w 56638"/>
                  <a:gd name="connsiteY6" fmla="*/ 69486 h 84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56638" h="84898">
                    <a:moveTo>
                      <a:pt x="25376" y="84899"/>
                    </a:moveTo>
                    <a:cubicBezTo>
                      <a:pt x="56638" y="62950"/>
                      <a:pt x="56638" y="44996"/>
                      <a:pt x="56638" y="39016"/>
                    </a:cubicBezTo>
                    <a:lnTo>
                      <a:pt x="56638" y="0"/>
                    </a:lnTo>
                    <a:lnTo>
                      <a:pt x="0" y="0"/>
                    </a:lnTo>
                    <a:lnTo>
                      <a:pt x="0" y="40340"/>
                    </a:lnTo>
                    <a:lnTo>
                      <a:pt x="32952" y="40340"/>
                    </a:lnTo>
                    <a:cubicBezTo>
                      <a:pt x="32952" y="40340"/>
                      <a:pt x="28166" y="57584"/>
                      <a:pt x="7423" y="69486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57" name="Forma livre: Forma 1256">
                <a:extLst>
                  <a:ext uri="{FF2B5EF4-FFF2-40B4-BE49-F238E27FC236}">
                    <a16:creationId xmlns:a16="http://schemas.microsoft.com/office/drawing/2014/main" id="{5F7EE4E4-B4C6-5A93-EB27-BC60D06A2A5C}"/>
                  </a:ext>
                </a:extLst>
              </p:cNvPr>
              <p:cNvSpPr/>
              <p:nvPr/>
            </p:nvSpPr>
            <p:spPr>
              <a:xfrm>
                <a:off x="899451" y="5815594"/>
                <a:ext cx="56638" cy="84898"/>
              </a:xfrm>
              <a:custGeom>
                <a:avLst/>
                <a:gdLst>
                  <a:gd name="connsiteX0" fmla="*/ 25376 w 56638"/>
                  <a:gd name="connsiteY0" fmla="*/ 84899 h 84898"/>
                  <a:gd name="connsiteX1" fmla="*/ 56638 w 56638"/>
                  <a:gd name="connsiteY1" fmla="*/ 39016 h 84898"/>
                  <a:gd name="connsiteX2" fmla="*/ 56638 w 56638"/>
                  <a:gd name="connsiteY2" fmla="*/ 0 h 84898"/>
                  <a:gd name="connsiteX3" fmla="*/ 0 w 56638"/>
                  <a:gd name="connsiteY3" fmla="*/ 0 h 84898"/>
                  <a:gd name="connsiteX4" fmla="*/ 0 w 56638"/>
                  <a:gd name="connsiteY4" fmla="*/ 40340 h 84898"/>
                  <a:gd name="connsiteX5" fmla="*/ 32952 w 56638"/>
                  <a:gd name="connsiteY5" fmla="*/ 40340 h 84898"/>
                  <a:gd name="connsiteX6" fmla="*/ 7423 w 56638"/>
                  <a:gd name="connsiteY6" fmla="*/ 69486 h 84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56638" h="84898">
                    <a:moveTo>
                      <a:pt x="25376" y="84899"/>
                    </a:moveTo>
                    <a:cubicBezTo>
                      <a:pt x="56638" y="62950"/>
                      <a:pt x="56638" y="44996"/>
                      <a:pt x="56638" y="39016"/>
                    </a:cubicBezTo>
                    <a:lnTo>
                      <a:pt x="56638" y="0"/>
                    </a:lnTo>
                    <a:lnTo>
                      <a:pt x="0" y="0"/>
                    </a:lnTo>
                    <a:lnTo>
                      <a:pt x="0" y="40340"/>
                    </a:lnTo>
                    <a:lnTo>
                      <a:pt x="32952" y="40340"/>
                    </a:lnTo>
                    <a:cubicBezTo>
                      <a:pt x="32952" y="40340"/>
                      <a:pt x="28166" y="57584"/>
                      <a:pt x="7423" y="69486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258" name="Gráfico 13">
            <a:extLst>
              <a:ext uri="{FF2B5EF4-FFF2-40B4-BE49-F238E27FC236}">
                <a16:creationId xmlns:a16="http://schemas.microsoft.com/office/drawing/2014/main" id="{987FD994-4B08-FA90-2D78-7A3DC38507EC}"/>
              </a:ext>
            </a:extLst>
          </p:cNvPr>
          <p:cNvGrpSpPr/>
          <p:nvPr/>
        </p:nvGrpSpPr>
        <p:grpSpPr>
          <a:xfrm>
            <a:off x="1370394" y="3622757"/>
            <a:ext cx="257721" cy="187124"/>
            <a:chOff x="1370394" y="3622757"/>
            <a:chExt cx="257721" cy="187124"/>
          </a:xfrm>
          <a:noFill/>
        </p:grpSpPr>
        <p:sp>
          <p:nvSpPr>
            <p:cNvPr id="1259" name="Forma livre: Forma 1258">
              <a:extLst>
                <a:ext uri="{FF2B5EF4-FFF2-40B4-BE49-F238E27FC236}">
                  <a16:creationId xmlns:a16="http://schemas.microsoft.com/office/drawing/2014/main" id="{F763AC56-7FED-C4E0-3410-9A869871654F}"/>
                </a:ext>
              </a:extLst>
            </p:cNvPr>
            <p:cNvSpPr/>
            <p:nvPr/>
          </p:nvSpPr>
          <p:spPr>
            <a:xfrm>
              <a:off x="1370394" y="3622757"/>
              <a:ext cx="257721" cy="187124"/>
            </a:xfrm>
            <a:custGeom>
              <a:avLst/>
              <a:gdLst>
                <a:gd name="connsiteX0" fmla="*/ 14100 w 257721"/>
                <a:gd name="connsiteY0" fmla="*/ 187124 h 187124"/>
                <a:gd name="connsiteX1" fmla="*/ 0 w 257721"/>
                <a:gd name="connsiteY1" fmla="*/ 173071 h 187124"/>
                <a:gd name="connsiteX2" fmla="*/ 0 w 257721"/>
                <a:gd name="connsiteY2" fmla="*/ 14089 h 187124"/>
                <a:gd name="connsiteX3" fmla="*/ 14100 w 257721"/>
                <a:gd name="connsiteY3" fmla="*/ 0 h 187124"/>
                <a:gd name="connsiteX4" fmla="*/ 243633 w 257721"/>
                <a:gd name="connsiteY4" fmla="*/ 0 h 187124"/>
                <a:gd name="connsiteX5" fmla="*/ 257721 w 257721"/>
                <a:gd name="connsiteY5" fmla="*/ 14089 h 187124"/>
                <a:gd name="connsiteX6" fmla="*/ 257721 w 257721"/>
                <a:gd name="connsiteY6" fmla="*/ 173071 h 187124"/>
                <a:gd name="connsiteX7" fmla="*/ 243633 w 257721"/>
                <a:gd name="connsiteY7" fmla="*/ 187124 h 187124"/>
                <a:gd name="connsiteX8" fmla="*/ 14100 w 257721"/>
                <a:gd name="connsiteY8" fmla="*/ 187124 h 1871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57721" h="187124">
                  <a:moveTo>
                    <a:pt x="14100" y="187124"/>
                  </a:moveTo>
                  <a:cubicBezTo>
                    <a:pt x="6359" y="187124"/>
                    <a:pt x="0" y="180825"/>
                    <a:pt x="0" y="173071"/>
                  </a:cubicBezTo>
                  <a:lnTo>
                    <a:pt x="0" y="14089"/>
                  </a:lnTo>
                  <a:cubicBezTo>
                    <a:pt x="0" y="6335"/>
                    <a:pt x="6347" y="0"/>
                    <a:pt x="14100" y="0"/>
                  </a:cubicBezTo>
                  <a:lnTo>
                    <a:pt x="243633" y="0"/>
                  </a:lnTo>
                  <a:cubicBezTo>
                    <a:pt x="251374" y="0"/>
                    <a:pt x="257721" y="6347"/>
                    <a:pt x="257721" y="14089"/>
                  </a:cubicBezTo>
                  <a:lnTo>
                    <a:pt x="257721" y="173071"/>
                  </a:lnTo>
                  <a:cubicBezTo>
                    <a:pt x="257721" y="180825"/>
                    <a:pt x="251374" y="187124"/>
                    <a:pt x="243633" y="187124"/>
                  </a:cubicBezTo>
                  <a:lnTo>
                    <a:pt x="14100" y="187124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260" name="Gráfico 13">
              <a:extLst>
                <a:ext uri="{FF2B5EF4-FFF2-40B4-BE49-F238E27FC236}">
                  <a16:creationId xmlns:a16="http://schemas.microsoft.com/office/drawing/2014/main" id="{85F5EDAB-7171-246E-7504-CD6463456A17}"/>
                </a:ext>
              </a:extLst>
            </p:cNvPr>
            <p:cNvGrpSpPr/>
            <p:nvPr/>
          </p:nvGrpSpPr>
          <p:grpSpPr>
            <a:xfrm>
              <a:off x="1378549" y="3733257"/>
              <a:ext cx="241422" cy="69675"/>
              <a:chOff x="1378549" y="3733257"/>
              <a:chExt cx="241422" cy="69675"/>
            </a:xfrm>
          </p:grpSpPr>
          <p:sp>
            <p:nvSpPr>
              <p:cNvPr id="1261" name="Forma livre: Forma 1260">
                <a:extLst>
                  <a:ext uri="{FF2B5EF4-FFF2-40B4-BE49-F238E27FC236}">
                    <a16:creationId xmlns:a16="http://schemas.microsoft.com/office/drawing/2014/main" id="{81D0BD9F-D4BF-23AA-29BA-BFF70DEB7AF6}"/>
                  </a:ext>
                </a:extLst>
              </p:cNvPr>
              <p:cNvSpPr/>
              <p:nvPr/>
            </p:nvSpPr>
            <p:spPr>
              <a:xfrm>
                <a:off x="1378549" y="3733257"/>
                <a:ext cx="58222" cy="69675"/>
              </a:xfrm>
              <a:custGeom>
                <a:avLst/>
                <a:gdLst>
                  <a:gd name="connsiteX0" fmla="*/ 58222 w 58222"/>
                  <a:gd name="connsiteY0" fmla="*/ 0 h 69675"/>
                  <a:gd name="connsiteX1" fmla="*/ 0 w 58222"/>
                  <a:gd name="connsiteY1" fmla="*/ 69675 h 696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8222" h="69675">
                    <a:moveTo>
                      <a:pt x="58222" y="0"/>
                    </a:moveTo>
                    <a:lnTo>
                      <a:pt x="0" y="69675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62" name="Forma livre: Forma 1261">
                <a:extLst>
                  <a:ext uri="{FF2B5EF4-FFF2-40B4-BE49-F238E27FC236}">
                    <a16:creationId xmlns:a16="http://schemas.microsoft.com/office/drawing/2014/main" id="{01CBDB90-B3A8-67F0-5C02-184B38B05571}"/>
                  </a:ext>
                </a:extLst>
              </p:cNvPr>
              <p:cNvSpPr/>
              <p:nvPr/>
            </p:nvSpPr>
            <p:spPr>
              <a:xfrm>
                <a:off x="1561749" y="3733257"/>
                <a:ext cx="58222" cy="69675"/>
              </a:xfrm>
              <a:custGeom>
                <a:avLst/>
                <a:gdLst>
                  <a:gd name="connsiteX0" fmla="*/ 0 w 58222"/>
                  <a:gd name="connsiteY0" fmla="*/ 0 h 69675"/>
                  <a:gd name="connsiteX1" fmla="*/ 58222 w 58222"/>
                  <a:gd name="connsiteY1" fmla="*/ 69675 h 696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8222" h="69675">
                    <a:moveTo>
                      <a:pt x="0" y="0"/>
                    </a:moveTo>
                    <a:lnTo>
                      <a:pt x="58222" y="69675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263" name="Forma livre: Forma 1262">
              <a:extLst>
                <a:ext uri="{FF2B5EF4-FFF2-40B4-BE49-F238E27FC236}">
                  <a16:creationId xmlns:a16="http://schemas.microsoft.com/office/drawing/2014/main" id="{F0204ECE-A317-EA29-6C39-D1F4A5D7DFB0}"/>
                </a:ext>
              </a:extLst>
            </p:cNvPr>
            <p:cNvSpPr/>
            <p:nvPr/>
          </p:nvSpPr>
          <p:spPr>
            <a:xfrm>
              <a:off x="1398784" y="3645852"/>
              <a:ext cx="199499" cy="77854"/>
            </a:xfrm>
            <a:custGeom>
              <a:avLst/>
              <a:gdLst>
                <a:gd name="connsiteX0" fmla="*/ 0 w 199499"/>
                <a:gd name="connsiteY0" fmla="*/ 0 h 77854"/>
                <a:gd name="connsiteX1" fmla="*/ 100855 w 199499"/>
                <a:gd name="connsiteY1" fmla="*/ 77854 h 77854"/>
                <a:gd name="connsiteX2" fmla="*/ 199499 w 199499"/>
                <a:gd name="connsiteY2" fmla="*/ 437 h 778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99499" h="77854">
                  <a:moveTo>
                    <a:pt x="0" y="0"/>
                  </a:moveTo>
                  <a:lnTo>
                    <a:pt x="100855" y="77854"/>
                  </a:lnTo>
                  <a:lnTo>
                    <a:pt x="199499" y="437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264" name="Gráfico 13">
            <a:extLst>
              <a:ext uri="{FF2B5EF4-FFF2-40B4-BE49-F238E27FC236}">
                <a16:creationId xmlns:a16="http://schemas.microsoft.com/office/drawing/2014/main" id="{B133746C-4D46-4582-1D93-FF8B362D50C4}"/>
              </a:ext>
            </a:extLst>
          </p:cNvPr>
          <p:cNvGrpSpPr/>
          <p:nvPr/>
        </p:nvGrpSpPr>
        <p:grpSpPr>
          <a:xfrm>
            <a:off x="1365902" y="4640961"/>
            <a:ext cx="266715" cy="285674"/>
            <a:chOff x="1365902" y="4640961"/>
            <a:chExt cx="266715" cy="285674"/>
          </a:xfrm>
          <a:noFill/>
        </p:grpSpPr>
        <p:grpSp>
          <p:nvGrpSpPr>
            <p:cNvPr id="1265" name="Gráfico 13">
              <a:extLst>
                <a:ext uri="{FF2B5EF4-FFF2-40B4-BE49-F238E27FC236}">
                  <a16:creationId xmlns:a16="http://schemas.microsoft.com/office/drawing/2014/main" id="{D5B695A6-211C-D07A-3D9A-3F4465EECF65}"/>
                </a:ext>
              </a:extLst>
            </p:cNvPr>
            <p:cNvGrpSpPr/>
            <p:nvPr/>
          </p:nvGrpSpPr>
          <p:grpSpPr>
            <a:xfrm>
              <a:off x="1459630" y="4801031"/>
              <a:ext cx="172988" cy="125604"/>
              <a:chOff x="1459630" y="4801031"/>
              <a:chExt cx="172988" cy="125604"/>
            </a:xfrm>
            <a:noFill/>
          </p:grpSpPr>
          <p:sp>
            <p:nvSpPr>
              <p:cNvPr id="1266" name="Forma livre: Forma 1265">
                <a:extLst>
                  <a:ext uri="{FF2B5EF4-FFF2-40B4-BE49-F238E27FC236}">
                    <a16:creationId xmlns:a16="http://schemas.microsoft.com/office/drawing/2014/main" id="{379256D3-CF8D-E727-93A6-2D583DFD2BD9}"/>
                  </a:ext>
                </a:extLst>
              </p:cNvPr>
              <p:cNvSpPr/>
              <p:nvPr/>
            </p:nvSpPr>
            <p:spPr>
              <a:xfrm>
                <a:off x="1459630" y="4801031"/>
                <a:ext cx="172988" cy="125604"/>
              </a:xfrm>
              <a:custGeom>
                <a:avLst/>
                <a:gdLst>
                  <a:gd name="connsiteX0" fmla="*/ 9467 w 172988"/>
                  <a:gd name="connsiteY0" fmla="*/ 125605 h 125604"/>
                  <a:gd name="connsiteX1" fmla="*/ 0 w 172988"/>
                  <a:gd name="connsiteY1" fmla="*/ 116173 h 125604"/>
                  <a:gd name="connsiteX2" fmla="*/ 0 w 172988"/>
                  <a:gd name="connsiteY2" fmla="*/ 9456 h 125604"/>
                  <a:gd name="connsiteX3" fmla="*/ 9467 w 172988"/>
                  <a:gd name="connsiteY3" fmla="*/ 0 h 125604"/>
                  <a:gd name="connsiteX4" fmla="*/ 163533 w 172988"/>
                  <a:gd name="connsiteY4" fmla="*/ 0 h 125604"/>
                  <a:gd name="connsiteX5" fmla="*/ 172988 w 172988"/>
                  <a:gd name="connsiteY5" fmla="*/ 9456 h 125604"/>
                  <a:gd name="connsiteX6" fmla="*/ 172988 w 172988"/>
                  <a:gd name="connsiteY6" fmla="*/ 116173 h 125604"/>
                  <a:gd name="connsiteX7" fmla="*/ 163533 w 172988"/>
                  <a:gd name="connsiteY7" fmla="*/ 125605 h 125604"/>
                  <a:gd name="connsiteX8" fmla="*/ 9467 w 172988"/>
                  <a:gd name="connsiteY8" fmla="*/ 125605 h 1256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72988" h="125604">
                    <a:moveTo>
                      <a:pt x="9467" y="125605"/>
                    </a:moveTo>
                    <a:cubicBezTo>
                      <a:pt x="4267" y="125605"/>
                      <a:pt x="0" y="121373"/>
                      <a:pt x="0" y="116173"/>
                    </a:cubicBezTo>
                    <a:lnTo>
                      <a:pt x="0" y="9456"/>
                    </a:lnTo>
                    <a:cubicBezTo>
                      <a:pt x="0" y="4255"/>
                      <a:pt x="4255" y="0"/>
                      <a:pt x="9467" y="0"/>
                    </a:cubicBezTo>
                    <a:lnTo>
                      <a:pt x="163533" y="0"/>
                    </a:lnTo>
                    <a:cubicBezTo>
                      <a:pt x="168733" y="0"/>
                      <a:pt x="172988" y="4267"/>
                      <a:pt x="172988" y="9456"/>
                    </a:cubicBezTo>
                    <a:lnTo>
                      <a:pt x="172988" y="116173"/>
                    </a:lnTo>
                    <a:cubicBezTo>
                      <a:pt x="172988" y="121373"/>
                      <a:pt x="168733" y="125605"/>
                      <a:pt x="163533" y="125605"/>
                    </a:cubicBezTo>
                    <a:lnTo>
                      <a:pt x="9467" y="125605"/>
                    </a:ln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1267" name="Gráfico 13">
                <a:extLst>
                  <a:ext uri="{FF2B5EF4-FFF2-40B4-BE49-F238E27FC236}">
                    <a16:creationId xmlns:a16="http://schemas.microsoft.com/office/drawing/2014/main" id="{F7A2D5E7-EB8D-E72B-29DD-5AD5C87E6EC3}"/>
                  </a:ext>
                </a:extLst>
              </p:cNvPr>
              <p:cNvGrpSpPr/>
              <p:nvPr/>
            </p:nvGrpSpPr>
            <p:grpSpPr>
              <a:xfrm>
                <a:off x="1465102" y="4875209"/>
                <a:ext cx="162043" cy="46757"/>
                <a:chOff x="1465102" y="4875209"/>
                <a:chExt cx="162043" cy="46757"/>
              </a:xfrm>
            </p:grpSpPr>
            <p:sp>
              <p:nvSpPr>
                <p:cNvPr id="1268" name="Forma livre: Forma 1267">
                  <a:extLst>
                    <a:ext uri="{FF2B5EF4-FFF2-40B4-BE49-F238E27FC236}">
                      <a16:creationId xmlns:a16="http://schemas.microsoft.com/office/drawing/2014/main" id="{5D235E0B-19D8-161E-4CF9-45B9F5B86B6B}"/>
                    </a:ext>
                  </a:extLst>
                </p:cNvPr>
                <p:cNvSpPr/>
                <p:nvPr/>
              </p:nvSpPr>
              <p:spPr>
                <a:xfrm>
                  <a:off x="1465102" y="4875209"/>
                  <a:ext cx="39074" cy="46757"/>
                </a:xfrm>
                <a:custGeom>
                  <a:avLst/>
                  <a:gdLst>
                    <a:gd name="connsiteX0" fmla="*/ 39075 w 39074"/>
                    <a:gd name="connsiteY0" fmla="*/ 0 h 46757"/>
                    <a:gd name="connsiteX1" fmla="*/ 0 w 39074"/>
                    <a:gd name="connsiteY1" fmla="*/ 46757 h 4675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39074" h="46757">
                      <a:moveTo>
                        <a:pt x="39075" y="0"/>
                      </a:moveTo>
                      <a:lnTo>
                        <a:pt x="0" y="46757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269" name="Forma livre: Forma 1268">
                  <a:extLst>
                    <a:ext uri="{FF2B5EF4-FFF2-40B4-BE49-F238E27FC236}">
                      <a16:creationId xmlns:a16="http://schemas.microsoft.com/office/drawing/2014/main" id="{1DEAC471-C022-7B8A-C5DD-92D574A06B67}"/>
                    </a:ext>
                  </a:extLst>
                </p:cNvPr>
                <p:cNvSpPr/>
                <p:nvPr/>
              </p:nvSpPr>
              <p:spPr>
                <a:xfrm>
                  <a:off x="1588071" y="4875209"/>
                  <a:ext cx="39074" cy="46757"/>
                </a:xfrm>
                <a:custGeom>
                  <a:avLst/>
                  <a:gdLst>
                    <a:gd name="connsiteX0" fmla="*/ 0 w 39074"/>
                    <a:gd name="connsiteY0" fmla="*/ 0 h 46757"/>
                    <a:gd name="connsiteX1" fmla="*/ 39075 w 39074"/>
                    <a:gd name="connsiteY1" fmla="*/ 46757 h 4675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39074" h="46757">
                      <a:moveTo>
                        <a:pt x="0" y="0"/>
                      </a:moveTo>
                      <a:lnTo>
                        <a:pt x="39075" y="46757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1270" name="Forma livre: Forma 1269">
                <a:extLst>
                  <a:ext uri="{FF2B5EF4-FFF2-40B4-BE49-F238E27FC236}">
                    <a16:creationId xmlns:a16="http://schemas.microsoft.com/office/drawing/2014/main" id="{8998DACC-9F3A-4AD4-A43F-68662C963EF0}"/>
                  </a:ext>
                </a:extLst>
              </p:cNvPr>
              <p:cNvSpPr/>
              <p:nvPr/>
            </p:nvSpPr>
            <p:spPr>
              <a:xfrm>
                <a:off x="1489864" y="4825071"/>
                <a:ext cx="112343" cy="43719"/>
              </a:xfrm>
              <a:custGeom>
                <a:avLst/>
                <a:gdLst>
                  <a:gd name="connsiteX0" fmla="*/ 0 w 112343"/>
                  <a:gd name="connsiteY0" fmla="*/ 0 h 43719"/>
                  <a:gd name="connsiteX1" fmla="*/ 56508 w 112343"/>
                  <a:gd name="connsiteY1" fmla="*/ 43720 h 43719"/>
                  <a:gd name="connsiteX2" fmla="*/ 112343 w 112343"/>
                  <a:gd name="connsiteY2" fmla="*/ 0 h 437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12343" h="43719">
                    <a:moveTo>
                      <a:pt x="0" y="0"/>
                    </a:moveTo>
                    <a:lnTo>
                      <a:pt x="56508" y="43720"/>
                    </a:lnTo>
                    <a:lnTo>
                      <a:pt x="112343" y="0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271" name="Gráfico 13">
              <a:extLst>
                <a:ext uri="{FF2B5EF4-FFF2-40B4-BE49-F238E27FC236}">
                  <a16:creationId xmlns:a16="http://schemas.microsoft.com/office/drawing/2014/main" id="{4BF7C808-6AEB-C985-805F-9349376013E5}"/>
                </a:ext>
              </a:extLst>
            </p:cNvPr>
            <p:cNvGrpSpPr/>
            <p:nvPr/>
          </p:nvGrpSpPr>
          <p:grpSpPr>
            <a:xfrm>
              <a:off x="1404895" y="4734795"/>
              <a:ext cx="104660" cy="99743"/>
              <a:chOff x="1404895" y="4734795"/>
              <a:chExt cx="104660" cy="99743"/>
            </a:xfrm>
          </p:grpSpPr>
          <p:sp>
            <p:nvSpPr>
              <p:cNvPr id="1272" name="Forma livre: Forma 1271">
                <a:extLst>
                  <a:ext uri="{FF2B5EF4-FFF2-40B4-BE49-F238E27FC236}">
                    <a16:creationId xmlns:a16="http://schemas.microsoft.com/office/drawing/2014/main" id="{3C9668D5-F13D-5D2D-191A-8B558DCA6C19}"/>
                  </a:ext>
                </a:extLst>
              </p:cNvPr>
              <p:cNvSpPr/>
              <p:nvPr/>
            </p:nvSpPr>
            <p:spPr>
              <a:xfrm>
                <a:off x="1404895" y="4768114"/>
                <a:ext cx="104660" cy="1181"/>
              </a:xfrm>
              <a:custGeom>
                <a:avLst/>
                <a:gdLst>
                  <a:gd name="connsiteX0" fmla="*/ 0 w 104660"/>
                  <a:gd name="connsiteY0" fmla="*/ 0 h 1181"/>
                  <a:gd name="connsiteX1" fmla="*/ 104661 w 104660"/>
                  <a:gd name="connsiteY1" fmla="*/ 0 h 11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04660" h="1181">
                    <a:moveTo>
                      <a:pt x="0" y="0"/>
                    </a:moveTo>
                    <a:lnTo>
                      <a:pt x="104661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73" name="Forma livre: Forma 1272">
                <a:extLst>
                  <a:ext uri="{FF2B5EF4-FFF2-40B4-BE49-F238E27FC236}">
                    <a16:creationId xmlns:a16="http://schemas.microsoft.com/office/drawing/2014/main" id="{C9930603-6479-492A-057C-441C6BA24A70}"/>
                  </a:ext>
                </a:extLst>
              </p:cNvPr>
              <p:cNvSpPr/>
              <p:nvPr/>
            </p:nvSpPr>
            <p:spPr>
              <a:xfrm>
                <a:off x="1404895" y="4734795"/>
                <a:ext cx="104660" cy="1181"/>
              </a:xfrm>
              <a:custGeom>
                <a:avLst/>
                <a:gdLst>
                  <a:gd name="connsiteX0" fmla="*/ 0 w 104660"/>
                  <a:gd name="connsiteY0" fmla="*/ 0 h 1181"/>
                  <a:gd name="connsiteX1" fmla="*/ 104661 w 104660"/>
                  <a:gd name="connsiteY1" fmla="*/ 0 h 11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04660" h="1181">
                    <a:moveTo>
                      <a:pt x="0" y="0"/>
                    </a:moveTo>
                    <a:lnTo>
                      <a:pt x="104661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74" name="Forma livre: Forma 1273">
                <a:extLst>
                  <a:ext uri="{FF2B5EF4-FFF2-40B4-BE49-F238E27FC236}">
                    <a16:creationId xmlns:a16="http://schemas.microsoft.com/office/drawing/2014/main" id="{01888B9B-CC25-C918-E5C5-B3E4083FB7FE}"/>
                  </a:ext>
                </a:extLst>
              </p:cNvPr>
              <p:cNvSpPr/>
              <p:nvPr/>
            </p:nvSpPr>
            <p:spPr>
              <a:xfrm>
                <a:off x="1404895" y="4801350"/>
                <a:ext cx="33496" cy="1181"/>
              </a:xfrm>
              <a:custGeom>
                <a:avLst/>
                <a:gdLst>
                  <a:gd name="connsiteX0" fmla="*/ 0 w 33496"/>
                  <a:gd name="connsiteY0" fmla="*/ 0 h 1181"/>
                  <a:gd name="connsiteX1" fmla="*/ 33496 w 33496"/>
                  <a:gd name="connsiteY1" fmla="*/ 0 h 11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3496" h="1181">
                    <a:moveTo>
                      <a:pt x="0" y="0"/>
                    </a:moveTo>
                    <a:lnTo>
                      <a:pt x="33496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75" name="Forma livre: Forma 1274">
                <a:extLst>
                  <a:ext uri="{FF2B5EF4-FFF2-40B4-BE49-F238E27FC236}">
                    <a16:creationId xmlns:a16="http://schemas.microsoft.com/office/drawing/2014/main" id="{CF955268-9196-D7F3-38D0-DDB4A13678E8}"/>
                  </a:ext>
                </a:extLst>
              </p:cNvPr>
              <p:cNvSpPr/>
              <p:nvPr/>
            </p:nvSpPr>
            <p:spPr>
              <a:xfrm>
                <a:off x="1404895" y="4834539"/>
                <a:ext cx="33496" cy="1181"/>
              </a:xfrm>
              <a:custGeom>
                <a:avLst/>
                <a:gdLst>
                  <a:gd name="connsiteX0" fmla="*/ 0 w 33496"/>
                  <a:gd name="connsiteY0" fmla="*/ 0 h 1181"/>
                  <a:gd name="connsiteX1" fmla="*/ 33496 w 33496"/>
                  <a:gd name="connsiteY1" fmla="*/ 0 h 11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3496" h="1181">
                    <a:moveTo>
                      <a:pt x="0" y="0"/>
                    </a:moveTo>
                    <a:lnTo>
                      <a:pt x="33496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276" name="Gráfico 13">
              <a:extLst>
                <a:ext uri="{FF2B5EF4-FFF2-40B4-BE49-F238E27FC236}">
                  <a16:creationId xmlns:a16="http://schemas.microsoft.com/office/drawing/2014/main" id="{94099407-A659-1D8D-48D9-D4437C07FC25}"/>
                </a:ext>
              </a:extLst>
            </p:cNvPr>
            <p:cNvGrpSpPr/>
            <p:nvPr/>
          </p:nvGrpSpPr>
          <p:grpSpPr>
            <a:xfrm>
              <a:off x="1365902" y="4640961"/>
              <a:ext cx="182632" cy="243171"/>
              <a:chOff x="1365902" y="4640961"/>
              <a:chExt cx="182632" cy="243171"/>
            </a:xfrm>
            <a:noFill/>
          </p:grpSpPr>
          <p:sp>
            <p:nvSpPr>
              <p:cNvPr id="1277" name="Forma livre: Forma 1276">
                <a:extLst>
                  <a:ext uri="{FF2B5EF4-FFF2-40B4-BE49-F238E27FC236}">
                    <a16:creationId xmlns:a16="http://schemas.microsoft.com/office/drawing/2014/main" id="{0198EDF1-A00D-5E0C-BC62-111C381CD9F8}"/>
                  </a:ext>
                </a:extLst>
              </p:cNvPr>
              <p:cNvSpPr/>
              <p:nvPr/>
            </p:nvSpPr>
            <p:spPr>
              <a:xfrm>
                <a:off x="1365902" y="4640961"/>
                <a:ext cx="182632" cy="243171"/>
              </a:xfrm>
              <a:custGeom>
                <a:avLst/>
                <a:gdLst>
                  <a:gd name="connsiteX0" fmla="*/ 72488 w 182632"/>
                  <a:gd name="connsiteY0" fmla="*/ 243172 h 243171"/>
                  <a:gd name="connsiteX1" fmla="*/ 0 w 182632"/>
                  <a:gd name="connsiteY1" fmla="*/ 243172 h 243171"/>
                  <a:gd name="connsiteX2" fmla="*/ 0 w 182632"/>
                  <a:gd name="connsiteY2" fmla="*/ 47183 h 243171"/>
                  <a:gd name="connsiteX3" fmla="*/ 47195 w 182632"/>
                  <a:gd name="connsiteY3" fmla="*/ 0 h 243171"/>
                  <a:gd name="connsiteX4" fmla="*/ 182633 w 182632"/>
                  <a:gd name="connsiteY4" fmla="*/ 0 h 243171"/>
                  <a:gd name="connsiteX5" fmla="*/ 182633 w 182632"/>
                  <a:gd name="connsiteY5" fmla="*/ 139516 h 2431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82632" h="243171">
                    <a:moveTo>
                      <a:pt x="72488" y="243172"/>
                    </a:moveTo>
                    <a:lnTo>
                      <a:pt x="0" y="243172"/>
                    </a:lnTo>
                    <a:lnTo>
                      <a:pt x="0" y="47183"/>
                    </a:lnTo>
                    <a:lnTo>
                      <a:pt x="47195" y="0"/>
                    </a:lnTo>
                    <a:lnTo>
                      <a:pt x="182633" y="0"/>
                    </a:lnTo>
                    <a:lnTo>
                      <a:pt x="182633" y="139516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78" name="Forma livre: Forma 1277">
                <a:extLst>
                  <a:ext uri="{FF2B5EF4-FFF2-40B4-BE49-F238E27FC236}">
                    <a16:creationId xmlns:a16="http://schemas.microsoft.com/office/drawing/2014/main" id="{41821675-F5A8-99D4-1B6D-A4DE846CEA0F}"/>
                  </a:ext>
                </a:extLst>
              </p:cNvPr>
              <p:cNvSpPr/>
              <p:nvPr/>
            </p:nvSpPr>
            <p:spPr>
              <a:xfrm>
                <a:off x="1388525" y="4663772"/>
                <a:ext cx="32255" cy="32219"/>
              </a:xfrm>
              <a:custGeom>
                <a:avLst/>
                <a:gdLst>
                  <a:gd name="connsiteX0" fmla="*/ 32255 w 32255"/>
                  <a:gd name="connsiteY0" fmla="*/ 0 h 32219"/>
                  <a:gd name="connsiteX1" fmla="*/ 32255 w 32255"/>
                  <a:gd name="connsiteY1" fmla="*/ 32220 h 32219"/>
                  <a:gd name="connsiteX2" fmla="*/ 0 w 32255"/>
                  <a:gd name="connsiteY2" fmla="*/ 32220 h 322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2255" h="32219">
                    <a:moveTo>
                      <a:pt x="32255" y="0"/>
                    </a:moveTo>
                    <a:lnTo>
                      <a:pt x="32255" y="32220"/>
                    </a:lnTo>
                    <a:lnTo>
                      <a:pt x="0" y="3222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279" name="Gráfico 13">
            <a:extLst>
              <a:ext uri="{FF2B5EF4-FFF2-40B4-BE49-F238E27FC236}">
                <a16:creationId xmlns:a16="http://schemas.microsoft.com/office/drawing/2014/main" id="{03C6415F-D0D8-2786-3C0C-4143B7ABDB6A}"/>
              </a:ext>
            </a:extLst>
          </p:cNvPr>
          <p:cNvGrpSpPr/>
          <p:nvPr/>
        </p:nvGrpSpPr>
        <p:grpSpPr>
          <a:xfrm>
            <a:off x="1386515" y="4102943"/>
            <a:ext cx="225466" cy="294207"/>
            <a:chOff x="1386515" y="4102943"/>
            <a:chExt cx="225466" cy="294207"/>
          </a:xfrm>
        </p:grpSpPr>
        <p:grpSp>
          <p:nvGrpSpPr>
            <p:cNvPr id="1280" name="Gráfico 13">
              <a:extLst>
                <a:ext uri="{FF2B5EF4-FFF2-40B4-BE49-F238E27FC236}">
                  <a16:creationId xmlns:a16="http://schemas.microsoft.com/office/drawing/2014/main" id="{CCB7BEE1-81C2-B0F4-3A45-5D436EAE46E6}"/>
                </a:ext>
              </a:extLst>
            </p:cNvPr>
            <p:cNvGrpSpPr/>
            <p:nvPr/>
          </p:nvGrpSpPr>
          <p:grpSpPr>
            <a:xfrm>
              <a:off x="1386515" y="4102943"/>
              <a:ext cx="162681" cy="294207"/>
              <a:chOff x="1386515" y="4102943"/>
              <a:chExt cx="162681" cy="294207"/>
            </a:xfrm>
            <a:noFill/>
          </p:grpSpPr>
          <p:sp>
            <p:nvSpPr>
              <p:cNvPr id="1281" name="Forma livre: Forma 1280">
                <a:extLst>
                  <a:ext uri="{FF2B5EF4-FFF2-40B4-BE49-F238E27FC236}">
                    <a16:creationId xmlns:a16="http://schemas.microsoft.com/office/drawing/2014/main" id="{BF54B516-4D58-D463-ADB8-20BCF04516AF}"/>
                  </a:ext>
                </a:extLst>
              </p:cNvPr>
              <p:cNvSpPr/>
              <p:nvPr/>
            </p:nvSpPr>
            <p:spPr>
              <a:xfrm>
                <a:off x="1386515" y="4102943"/>
                <a:ext cx="162681" cy="294207"/>
              </a:xfrm>
              <a:custGeom>
                <a:avLst/>
                <a:gdLst>
                  <a:gd name="connsiteX0" fmla="*/ 162682 w 162681"/>
                  <a:gd name="connsiteY0" fmla="*/ 216141 h 294207"/>
                  <a:gd name="connsiteX1" fmla="*/ 162682 w 162681"/>
                  <a:gd name="connsiteY1" fmla="*/ 280474 h 294207"/>
                  <a:gd name="connsiteX2" fmla="*/ 149361 w 162681"/>
                  <a:gd name="connsiteY2" fmla="*/ 294208 h 294207"/>
                  <a:gd name="connsiteX3" fmla="*/ 13309 w 162681"/>
                  <a:gd name="connsiteY3" fmla="*/ 294208 h 294207"/>
                  <a:gd name="connsiteX4" fmla="*/ 0 w 162681"/>
                  <a:gd name="connsiteY4" fmla="*/ 280474 h 294207"/>
                  <a:gd name="connsiteX5" fmla="*/ 0 w 162681"/>
                  <a:gd name="connsiteY5" fmla="*/ 13320 h 294207"/>
                  <a:gd name="connsiteX6" fmla="*/ 13309 w 162681"/>
                  <a:gd name="connsiteY6" fmla="*/ 0 h 294207"/>
                  <a:gd name="connsiteX7" fmla="*/ 149361 w 162681"/>
                  <a:gd name="connsiteY7" fmla="*/ 0 h 294207"/>
                  <a:gd name="connsiteX8" fmla="*/ 162682 w 162681"/>
                  <a:gd name="connsiteY8" fmla="*/ 13320 h 294207"/>
                  <a:gd name="connsiteX9" fmla="*/ 162682 w 162681"/>
                  <a:gd name="connsiteY9" fmla="*/ 24892 h 2942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62681" h="294207">
                    <a:moveTo>
                      <a:pt x="162682" y="216141"/>
                    </a:moveTo>
                    <a:lnTo>
                      <a:pt x="162682" y="280474"/>
                    </a:lnTo>
                    <a:cubicBezTo>
                      <a:pt x="162682" y="287802"/>
                      <a:pt x="156689" y="294208"/>
                      <a:pt x="149361" y="294208"/>
                    </a:cubicBezTo>
                    <a:lnTo>
                      <a:pt x="13309" y="294208"/>
                    </a:lnTo>
                    <a:cubicBezTo>
                      <a:pt x="5981" y="294208"/>
                      <a:pt x="0" y="287790"/>
                      <a:pt x="0" y="280474"/>
                    </a:cubicBezTo>
                    <a:lnTo>
                      <a:pt x="0" y="13320"/>
                    </a:lnTo>
                    <a:cubicBezTo>
                      <a:pt x="0" y="5992"/>
                      <a:pt x="5992" y="0"/>
                      <a:pt x="13309" y="0"/>
                    </a:cubicBezTo>
                    <a:lnTo>
                      <a:pt x="149361" y="0"/>
                    </a:lnTo>
                    <a:cubicBezTo>
                      <a:pt x="156689" y="0"/>
                      <a:pt x="162682" y="5992"/>
                      <a:pt x="162682" y="13320"/>
                    </a:cubicBezTo>
                    <a:lnTo>
                      <a:pt x="162682" y="24892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82" name="Forma livre: Forma 1281">
                <a:extLst>
                  <a:ext uri="{FF2B5EF4-FFF2-40B4-BE49-F238E27FC236}">
                    <a16:creationId xmlns:a16="http://schemas.microsoft.com/office/drawing/2014/main" id="{F3F3C72F-B565-5E0D-EFC0-25344BC1E1A3}"/>
                  </a:ext>
                </a:extLst>
              </p:cNvPr>
              <p:cNvSpPr/>
              <p:nvPr/>
            </p:nvSpPr>
            <p:spPr>
              <a:xfrm>
                <a:off x="1406301" y="4339094"/>
                <a:ext cx="123086" cy="1181"/>
              </a:xfrm>
              <a:custGeom>
                <a:avLst/>
                <a:gdLst>
                  <a:gd name="connsiteX0" fmla="*/ 0 w 123086"/>
                  <a:gd name="connsiteY0" fmla="*/ 0 h 1181"/>
                  <a:gd name="connsiteX1" fmla="*/ 123087 w 123086"/>
                  <a:gd name="connsiteY1" fmla="*/ 0 h 11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3086" h="1181">
                    <a:moveTo>
                      <a:pt x="0" y="0"/>
                    </a:moveTo>
                    <a:lnTo>
                      <a:pt x="123087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83" name="Forma livre: Forma 1282">
                <a:extLst>
                  <a:ext uri="{FF2B5EF4-FFF2-40B4-BE49-F238E27FC236}">
                    <a16:creationId xmlns:a16="http://schemas.microsoft.com/office/drawing/2014/main" id="{C276878C-6E54-C32B-86AB-B530A1686CD3}"/>
                  </a:ext>
                </a:extLst>
              </p:cNvPr>
              <p:cNvSpPr/>
              <p:nvPr/>
            </p:nvSpPr>
            <p:spPr>
              <a:xfrm>
                <a:off x="1456805" y="4367295"/>
                <a:ext cx="22114" cy="1181"/>
              </a:xfrm>
              <a:custGeom>
                <a:avLst/>
                <a:gdLst>
                  <a:gd name="connsiteX0" fmla="*/ 0 w 22114"/>
                  <a:gd name="connsiteY0" fmla="*/ 0 h 1181"/>
                  <a:gd name="connsiteX1" fmla="*/ 22114 w 22114"/>
                  <a:gd name="connsiteY1" fmla="*/ 0 h 11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2114" h="1181">
                    <a:moveTo>
                      <a:pt x="0" y="0"/>
                    </a:moveTo>
                    <a:lnTo>
                      <a:pt x="22114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284" name="Gráfico 13">
              <a:extLst>
                <a:ext uri="{FF2B5EF4-FFF2-40B4-BE49-F238E27FC236}">
                  <a16:creationId xmlns:a16="http://schemas.microsoft.com/office/drawing/2014/main" id="{B88C756A-145A-9D07-712F-E5D2A35A06E3}"/>
                </a:ext>
              </a:extLst>
            </p:cNvPr>
            <p:cNvGrpSpPr/>
            <p:nvPr/>
          </p:nvGrpSpPr>
          <p:grpSpPr>
            <a:xfrm>
              <a:off x="1508373" y="4199803"/>
              <a:ext cx="55787" cy="7091"/>
              <a:chOff x="1508373" y="4199803"/>
              <a:chExt cx="55787" cy="7091"/>
            </a:xfrm>
            <a:solidFill>
              <a:srgbClr val="394553"/>
            </a:solidFill>
          </p:grpSpPr>
          <p:sp>
            <p:nvSpPr>
              <p:cNvPr id="1285" name="Forma livre: Forma 1284">
                <a:extLst>
                  <a:ext uri="{FF2B5EF4-FFF2-40B4-BE49-F238E27FC236}">
                    <a16:creationId xmlns:a16="http://schemas.microsoft.com/office/drawing/2014/main" id="{C8F74AC9-0CA4-3E6C-6372-57DD2055A9E7}"/>
                  </a:ext>
                </a:extLst>
              </p:cNvPr>
              <p:cNvSpPr/>
              <p:nvPr/>
            </p:nvSpPr>
            <p:spPr>
              <a:xfrm>
                <a:off x="1557069" y="4199803"/>
                <a:ext cx="7091" cy="7091"/>
              </a:xfrm>
              <a:custGeom>
                <a:avLst/>
                <a:gdLst>
                  <a:gd name="connsiteX0" fmla="*/ 0 w 7091"/>
                  <a:gd name="connsiteY0" fmla="*/ 3546 h 7091"/>
                  <a:gd name="connsiteX1" fmla="*/ 3546 w 7091"/>
                  <a:gd name="connsiteY1" fmla="*/ 7092 h 7091"/>
                  <a:gd name="connsiteX2" fmla="*/ 7092 w 7091"/>
                  <a:gd name="connsiteY2" fmla="*/ 3546 h 7091"/>
                  <a:gd name="connsiteX3" fmla="*/ 3546 w 7091"/>
                  <a:gd name="connsiteY3" fmla="*/ 0 h 7091"/>
                  <a:gd name="connsiteX4" fmla="*/ 0 w 7091"/>
                  <a:gd name="connsiteY4" fmla="*/ 3546 h 70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091" h="7091">
                    <a:moveTo>
                      <a:pt x="0" y="3546"/>
                    </a:moveTo>
                    <a:cubicBezTo>
                      <a:pt x="0" y="5508"/>
                      <a:pt x="1572" y="7092"/>
                      <a:pt x="3546" y="7092"/>
                    </a:cubicBezTo>
                    <a:cubicBezTo>
                      <a:pt x="5520" y="7092"/>
                      <a:pt x="7092" y="5508"/>
                      <a:pt x="7092" y="3546"/>
                    </a:cubicBezTo>
                    <a:cubicBezTo>
                      <a:pt x="7092" y="1584"/>
                      <a:pt x="5496" y="0"/>
                      <a:pt x="3546" y="0"/>
                    </a:cubicBezTo>
                    <a:cubicBezTo>
                      <a:pt x="1596" y="0"/>
                      <a:pt x="0" y="1584"/>
                      <a:pt x="0" y="3546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86" name="Forma livre: Forma 1285">
                <a:extLst>
                  <a:ext uri="{FF2B5EF4-FFF2-40B4-BE49-F238E27FC236}">
                    <a16:creationId xmlns:a16="http://schemas.microsoft.com/office/drawing/2014/main" id="{D0290486-6997-9FC5-CE89-1C0505489413}"/>
                  </a:ext>
                </a:extLst>
              </p:cNvPr>
              <p:cNvSpPr/>
              <p:nvPr/>
            </p:nvSpPr>
            <p:spPr>
              <a:xfrm>
                <a:off x="1508373" y="4199803"/>
                <a:ext cx="7091" cy="7091"/>
              </a:xfrm>
              <a:custGeom>
                <a:avLst/>
                <a:gdLst>
                  <a:gd name="connsiteX0" fmla="*/ 0 w 7091"/>
                  <a:gd name="connsiteY0" fmla="*/ 3546 h 7091"/>
                  <a:gd name="connsiteX1" fmla="*/ 3546 w 7091"/>
                  <a:gd name="connsiteY1" fmla="*/ 7092 h 7091"/>
                  <a:gd name="connsiteX2" fmla="*/ 7092 w 7091"/>
                  <a:gd name="connsiteY2" fmla="*/ 3546 h 7091"/>
                  <a:gd name="connsiteX3" fmla="*/ 3546 w 7091"/>
                  <a:gd name="connsiteY3" fmla="*/ 0 h 7091"/>
                  <a:gd name="connsiteX4" fmla="*/ 0 w 7091"/>
                  <a:gd name="connsiteY4" fmla="*/ 3546 h 70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091" h="7091">
                    <a:moveTo>
                      <a:pt x="0" y="3546"/>
                    </a:moveTo>
                    <a:cubicBezTo>
                      <a:pt x="0" y="5508"/>
                      <a:pt x="1572" y="7092"/>
                      <a:pt x="3546" y="7092"/>
                    </a:cubicBezTo>
                    <a:cubicBezTo>
                      <a:pt x="5520" y="7092"/>
                      <a:pt x="7092" y="5508"/>
                      <a:pt x="7092" y="3546"/>
                    </a:cubicBezTo>
                    <a:cubicBezTo>
                      <a:pt x="7092" y="1584"/>
                      <a:pt x="5496" y="0"/>
                      <a:pt x="3546" y="0"/>
                    </a:cubicBezTo>
                    <a:cubicBezTo>
                      <a:pt x="1596" y="0"/>
                      <a:pt x="0" y="1584"/>
                      <a:pt x="0" y="3546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287" name="Forma livre: Forma 1286">
              <a:extLst>
                <a:ext uri="{FF2B5EF4-FFF2-40B4-BE49-F238E27FC236}">
                  <a16:creationId xmlns:a16="http://schemas.microsoft.com/office/drawing/2014/main" id="{7D47634C-8F76-3E22-9A9D-5BE44BC2280E}"/>
                </a:ext>
              </a:extLst>
            </p:cNvPr>
            <p:cNvSpPr/>
            <p:nvPr/>
          </p:nvSpPr>
          <p:spPr>
            <a:xfrm>
              <a:off x="1503539" y="4241762"/>
              <a:ext cx="65006" cy="18461"/>
            </a:xfrm>
            <a:custGeom>
              <a:avLst/>
              <a:gdLst>
                <a:gd name="connsiteX0" fmla="*/ 0 w 65006"/>
                <a:gd name="connsiteY0" fmla="*/ 18462 h 18461"/>
                <a:gd name="connsiteX1" fmla="*/ 32503 w 65006"/>
                <a:gd name="connsiteY1" fmla="*/ 0 h 18461"/>
                <a:gd name="connsiteX2" fmla="*/ 65007 w 65006"/>
                <a:gd name="connsiteY2" fmla="*/ 18462 h 184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5006" h="18461">
                  <a:moveTo>
                    <a:pt x="0" y="18462"/>
                  </a:moveTo>
                  <a:cubicBezTo>
                    <a:pt x="6512" y="7423"/>
                    <a:pt x="18781" y="0"/>
                    <a:pt x="32503" y="0"/>
                  </a:cubicBezTo>
                  <a:cubicBezTo>
                    <a:pt x="46226" y="0"/>
                    <a:pt x="58494" y="7423"/>
                    <a:pt x="65007" y="18462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88" name="Forma livre: Forma 1287">
              <a:extLst>
                <a:ext uri="{FF2B5EF4-FFF2-40B4-BE49-F238E27FC236}">
                  <a16:creationId xmlns:a16="http://schemas.microsoft.com/office/drawing/2014/main" id="{418D26D0-A977-4796-3DD1-DDC59B69CA2E}"/>
                </a:ext>
              </a:extLst>
            </p:cNvPr>
            <p:cNvSpPr/>
            <p:nvPr/>
          </p:nvSpPr>
          <p:spPr>
            <a:xfrm>
              <a:off x="1449808" y="4146769"/>
              <a:ext cx="162173" cy="152091"/>
            </a:xfrm>
            <a:custGeom>
              <a:avLst/>
              <a:gdLst>
                <a:gd name="connsiteX0" fmla="*/ 20743 w 162173"/>
                <a:gd name="connsiteY0" fmla="*/ 114731 h 152091"/>
                <a:gd name="connsiteX1" fmla="*/ 0 w 162173"/>
                <a:gd name="connsiteY1" fmla="*/ 151040 h 152091"/>
                <a:gd name="connsiteX2" fmla="*/ 43791 w 162173"/>
                <a:gd name="connsiteY2" fmla="*/ 139220 h 152091"/>
                <a:gd name="connsiteX3" fmla="*/ 86128 w 162173"/>
                <a:gd name="connsiteY3" fmla="*/ 152092 h 152091"/>
                <a:gd name="connsiteX4" fmla="*/ 162174 w 162173"/>
                <a:gd name="connsiteY4" fmla="*/ 76046 h 152091"/>
                <a:gd name="connsiteX5" fmla="*/ 86128 w 162173"/>
                <a:gd name="connsiteY5" fmla="*/ 0 h 152091"/>
                <a:gd name="connsiteX6" fmla="*/ 10082 w 162173"/>
                <a:gd name="connsiteY6" fmla="*/ 76046 h 152091"/>
                <a:gd name="connsiteX7" fmla="*/ 11878 w 162173"/>
                <a:gd name="connsiteY7" fmla="*/ 92404 h 1520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62173" h="152091">
                  <a:moveTo>
                    <a:pt x="20743" y="114731"/>
                  </a:moveTo>
                  <a:lnTo>
                    <a:pt x="0" y="151040"/>
                  </a:lnTo>
                  <a:lnTo>
                    <a:pt x="43791" y="139220"/>
                  </a:lnTo>
                  <a:cubicBezTo>
                    <a:pt x="55894" y="147352"/>
                    <a:pt x="70443" y="152092"/>
                    <a:pt x="86128" y="152092"/>
                  </a:cubicBezTo>
                  <a:cubicBezTo>
                    <a:pt x="128134" y="152092"/>
                    <a:pt x="162174" y="118052"/>
                    <a:pt x="162174" y="76046"/>
                  </a:cubicBezTo>
                  <a:cubicBezTo>
                    <a:pt x="162174" y="34040"/>
                    <a:pt x="128122" y="0"/>
                    <a:pt x="86128" y="0"/>
                  </a:cubicBezTo>
                  <a:cubicBezTo>
                    <a:pt x="44133" y="0"/>
                    <a:pt x="10082" y="34052"/>
                    <a:pt x="10082" y="76046"/>
                  </a:cubicBezTo>
                  <a:cubicBezTo>
                    <a:pt x="10082" y="81672"/>
                    <a:pt x="10697" y="87144"/>
                    <a:pt x="11878" y="92404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289" name="Gráfico 13">
            <a:extLst>
              <a:ext uri="{FF2B5EF4-FFF2-40B4-BE49-F238E27FC236}">
                <a16:creationId xmlns:a16="http://schemas.microsoft.com/office/drawing/2014/main" id="{B1810701-EFE1-BDE8-ECF5-444F7DF096FD}"/>
              </a:ext>
            </a:extLst>
          </p:cNvPr>
          <p:cNvGrpSpPr/>
          <p:nvPr/>
        </p:nvGrpSpPr>
        <p:grpSpPr>
          <a:xfrm>
            <a:off x="1358043" y="5170729"/>
            <a:ext cx="282459" cy="293605"/>
            <a:chOff x="1358043" y="5170729"/>
            <a:chExt cx="282459" cy="293605"/>
          </a:xfrm>
          <a:noFill/>
        </p:grpSpPr>
        <p:grpSp>
          <p:nvGrpSpPr>
            <p:cNvPr id="1290" name="Gráfico 13">
              <a:extLst>
                <a:ext uri="{FF2B5EF4-FFF2-40B4-BE49-F238E27FC236}">
                  <a16:creationId xmlns:a16="http://schemas.microsoft.com/office/drawing/2014/main" id="{421D3EE5-DE7C-2295-773A-F9A5536E3D92}"/>
                </a:ext>
              </a:extLst>
            </p:cNvPr>
            <p:cNvGrpSpPr/>
            <p:nvPr/>
          </p:nvGrpSpPr>
          <p:grpSpPr>
            <a:xfrm>
              <a:off x="1360950" y="5326378"/>
              <a:ext cx="112827" cy="78338"/>
              <a:chOff x="1360950" y="5326378"/>
              <a:chExt cx="112827" cy="78338"/>
            </a:xfrm>
            <a:noFill/>
          </p:grpSpPr>
          <p:sp>
            <p:nvSpPr>
              <p:cNvPr id="1291" name="Forma livre: Forma 1290">
                <a:extLst>
                  <a:ext uri="{FF2B5EF4-FFF2-40B4-BE49-F238E27FC236}">
                    <a16:creationId xmlns:a16="http://schemas.microsoft.com/office/drawing/2014/main" id="{7B64EDA2-3525-4C28-BB97-71BEC698288B}"/>
                  </a:ext>
                </a:extLst>
              </p:cNvPr>
              <p:cNvSpPr/>
              <p:nvPr/>
            </p:nvSpPr>
            <p:spPr>
              <a:xfrm>
                <a:off x="1360950" y="5367356"/>
                <a:ext cx="31581" cy="37361"/>
              </a:xfrm>
              <a:custGeom>
                <a:avLst/>
                <a:gdLst>
                  <a:gd name="connsiteX0" fmla="*/ 31581 w 31581"/>
                  <a:gd name="connsiteY0" fmla="*/ 0 h 37361"/>
                  <a:gd name="connsiteX1" fmla="*/ 0 w 31581"/>
                  <a:gd name="connsiteY1" fmla="*/ 37361 h 373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1581" h="37361">
                    <a:moveTo>
                      <a:pt x="31581" y="0"/>
                    </a:moveTo>
                    <a:lnTo>
                      <a:pt x="0" y="37361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92" name="Forma livre: Forma 1291">
                <a:extLst>
                  <a:ext uri="{FF2B5EF4-FFF2-40B4-BE49-F238E27FC236}">
                    <a16:creationId xmlns:a16="http://schemas.microsoft.com/office/drawing/2014/main" id="{29C82CD4-49CE-903C-0AE2-E5C5BF8A19D7}"/>
                  </a:ext>
                </a:extLst>
              </p:cNvPr>
              <p:cNvSpPr/>
              <p:nvPr/>
            </p:nvSpPr>
            <p:spPr>
              <a:xfrm>
                <a:off x="1379932" y="5326378"/>
                <a:ext cx="93845" cy="34607"/>
              </a:xfrm>
              <a:custGeom>
                <a:avLst/>
                <a:gdLst>
                  <a:gd name="connsiteX0" fmla="*/ 0 w 93845"/>
                  <a:gd name="connsiteY0" fmla="*/ 0 h 34607"/>
                  <a:gd name="connsiteX1" fmla="*/ 49570 w 93845"/>
                  <a:gd name="connsiteY1" fmla="*/ 34607 h 34607"/>
                  <a:gd name="connsiteX2" fmla="*/ 93846 w 93845"/>
                  <a:gd name="connsiteY2" fmla="*/ 3321 h 346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93845" h="34607">
                    <a:moveTo>
                      <a:pt x="0" y="0"/>
                    </a:moveTo>
                    <a:lnTo>
                      <a:pt x="49570" y="34607"/>
                    </a:lnTo>
                    <a:lnTo>
                      <a:pt x="93846" y="3321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293" name="Gráfico 13">
              <a:extLst>
                <a:ext uri="{FF2B5EF4-FFF2-40B4-BE49-F238E27FC236}">
                  <a16:creationId xmlns:a16="http://schemas.microsoft.com/office/drawing/2014/main" id="{B0DF0606-88D2-D5AA-B64B-C0BA47D63E6E}"/>
                </a:ext>
              </a:extLst>
            </p:cNvPr>
            <p:cNvGrpSpPr/>
            <p:nvPr/>
          </p:nvGrpSpPr>
          <p:grpSpPr>
            <a:xfrm>
              <a:off x="1386161" y="5246149"/>
              <a:ext cx="125226" cy="161157"/>
              <a:chOff x="1386161" y="5246149"/>
              <a:chExt cx="125226" cy="161157"/>
            </a:xfrm>
            <a:noFill/>
          </p:grpSpPr>
          <p:sp>
            <p:nvSpPr>
              <p:cNvPr id="1294" name="Forma livre: Forma 1293">
                <a:extLst>
                  <a:ext uri="{FF2B5EF4-FFF2-40B4-BE49-F238E27FC236}">
                    <a16:creationId xmlns:a16="http://schemas.microsoft.com/office/drawing/2014/main" id="{C09D0AC6-B44E-2643-7768-F9DEDBC842BA}"/>
                  </a:ext>
                </a:extLst>
              </p:cNvPr>
              <p:cNvSpPr/>
              <p:nvPr/>
            </p:nvSpPr>
            <p:spPr>
              <a:xfrm>
                <a:off x="1386161" y="5246149"/>
                <a:ext cx="89129" cy="161157"/>
              </a:xfrm>
              <a:custGeom>
                <a:avLst/>
                <a:gdLst>
                  <a:gd name="connsiteX0" fmla="*/ 89130 w 89129"/>
                  <a:gd name="connsiteY0" fmla="*/ 161157 h 161157"/>
                  <a:gd name="connsiteX1" fmla="*/ 89130 w 89129"/>
                  <a:gd name="connsiteY1" fmla="*/ 42762 h 161157"/>
                  <a:gd name="connsiteX2" fmla="*/ 46367 w 89129"/>
                  <a:gd name="connsiteY2" fmla="*/ 0 h 161157"/>
                  <a:gd name="connsiteX3" fmla="*/ 42609 w 89129"/>
                  <a:gd name="connsiteY3" fmla="*/ 0 h 161157"/>
                  <a:gd name="connsiteX4" fmla="*/ 0 w 89129"/>
                  <a:gd name="connsiteY4" fmla="*/ 39039 h 1611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9129" h="161157">
                    <a:moveTo>
                      <a:pt x="89130" y="161157"/>
                    </a:moveTo>
                    <a:lnTo>
                      <a:pt x="89130" y="42762"/>
                    </a:lnTo>
                    <a:cubicBezTo>
                      <a:pt x="89130" y="19254"/>
                      <a:pt x="69888" y="0"/>
                      <a:pt x="46367" y="0"/>
                    </a:cubicBezTo>
                    <a:lnTo>
                      <a:pt x="42609" y="0"/>
                    </a:lnTo>
                    <a:cubicBezTo>
                      <a:pt x="20341" y="0"/>
                      <a:pt x="1891" y="17244"/>
                      <a:pt x="0" y="39039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95" name="Forma livre: Forma 1294">
                <a:extLst>
                  <a:ext uri="{FF2B5EF4-FFF2-40B4-BE49-F238E27FC236}">
                    <a16:creationId xmlns:a16="http://schemas.microsoft.com/office/drawing/2014/main" id="{4D89085C-98C9-35C8-E3D7-4C667A7159F9}"/>
                  </a:ext>
                </a:extLst>
              </p:cNvPr>
              <p:cNvSpPr/>
              <p:nvPr/>
            </p:nvSpPr>
            <p:spPr>
              <a:xfrm>
                <a:off x="1432528" y="5246149"/>
                <a:ext cx="78858" cy="1181"/>
              </a:xfrm>
              <a:custGeom>
                <a:avLst/>
                <a:gdLst>
                  <a:gd name="connsiteX0" fmla="*/ 78859 w 78858"/>
                  <a:gd name="connsiteY0" fmla="*/ 0 h 1181"/>
                  <a:gd name="connsiteX1" fmla="*/ 0 w 78858"/>
                  <a:gd name="connsiteY1" fmla="*/ 0 h 11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78858" h="1181">
                    <a:moveTo>
                      <a:pt x="78859" y="0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296" name="Forma livre: Forma 1295">
              <a:extLst>
                <a:ext uri="{FF2B5EF4-FFF2-40B4-BE49-F238E27FC236}">
                  <a16:creationId xmlns:a16="http://schemas.microsoft.com/office/drawing/2014/main" id="{19338CDB-8404-1007-D0B5-A8C036A91A67}"/>
                </a:ext>
              </a:extLst>
            </p:cNvPr>
            <p:cNvSpPr/>
            <p:nvPr/>
          </p:nvSpPr>
          <p:spPr>
            <a:xfrm>
              <a:off x="1515725" y="5285374"/>
              <a:ext cx="39153" cy="39148"/>
            </a:xfrm>
            <a:custGeom>
              <a:avLst/>
              <a:gdLst>
                <a:gd name="connsiteX0" fmla="*/ 25057 w 39153"/>
                <a:gd name="connsiteY0" fmla="*/ 783 h 39148"/>
                <a:gd name="connsiteX1" fmla="*/ 38366 w 39153"/>
                <a:gd name="connsiteY1" fmla="*/ 25060 h 39148"/>
                <a:gd name="connsiteX2" fmla="*/ 14112 w 39153"/>
                <a:gd name="connsiteY2" fmla="*/ 38356 h 39148"/>
                <a:gd name="connsiteX3" fmla="*/ 792 w 39153"/>
                <a:gd name="connsiteY3" fmla="*/ 14091 h 39148"/>
                <a:gd name="connsiteX4" fmla="*/ 25057 w 39153"/>
                <a:gd name="connsiteY4" fmla="*/ 783 h 391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153" h="39148">
                  <a:moveTo>
                    <a:pt x="25057" y="783"/>
                  </a:moveTo>
                  <a:cubicBezTo>
                    <a:pt x="35434" y="3808"/>
                    <a:pt x="41391" y="14670"/>
                    <a:pt x="38366" y="25060"/>
                  </a:cubicBezTo>
                  <a:cubicBezTo>
                    <a:pt x="35340" y="35425"/>
                    <a:pt x="24478" y="41394"/>
                    <a:pt x="14112" y="38356"/>
                  </a:cubicBezTo>
                  <a:cubicBezTo>
                    <a:pt x="3723" y="35342"/>
                    <a:pt x="-2246" y="24492"/>
                    <a:pt x="792" y="14091"/>
                  </a:cubicBezTo>
                  <a:cubicBezTo>
                    <a:pt x="3818" y="3726"/>
                    <a:pt x="14691" y="-2231"/>
                    <a:pt x="25057" y="783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97" name="Forma livre: Forma 1296">
              <a:extLst>
                <a:ext uri="{FF2B5EF4-FFF2-40B4-BE49-F238E27FC236}">
                  <a16:creationId xmlns:a16="http://schemas.microsoft.com/office/drawing/2014/main" id="{8AD021D6-34CC-B9C7-5ED3-C294475CEF17}"/>
                </a:ext>
              </a:extLst>
            </p:cNvPr>
            <p:cNvSpPr/>
            <p:nvPr/>
          </p:nvSpPr>
          <p:spPr>
            <a:xfrm>
              <a:off x="1517781" y="5408653"/>
              <a:ext cx="1181" cy="55681"/>
            </a:xfrm>
            <a:custGeom>
              <a:avLst/>
              <a:gdLst>
                <a:gd name="connsiteX0" fmla="*/ 0 w 1181"/>
                <a:gd name="connsiteY0" fmla="*/ 0 h 55681"/>
                <a:gd name="connsiteX1" fmla="*/ 0 w 1181"/>
                <a:gd name="connsiteY1" fmla="*/ 55681 h 556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81" h="55681">
                  <a:moveTo>
                    <a:pt x="0" y="0"/>
                  </a:moveTo>
                  <a:lnTo>
                    <a:pt x="0" y="55681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98" name="Forma livre: Forma 1297">
              <a:extLst>
                <a:ext uri="{FF2B5EF4-FFF2-40B4-BE49-F238E27FC236}">
                  <a16:creationId xmlns:a16="http://schemas.microsoft.com/office/drawing/2014/main" id="{252ADCB3-E3C7-1526-774E-24484C8CA578}"/>
                </a:ext>
              </a:extLst>
            </p:cNvPr>
            <p:cNvSpPr/>
            <p:nvPr/>
          </p:nvSpPr>
          <p:spPr>
            <a:xfrm>
              <a:off x="1554540" y="5408653"/>
              <a:ext cx="1181" cy="55681"/>
            </a:xfrm>
            <a:custGeom>
              <a:avLst/>
              <a:gdLst>
                <a:gd name="connsiteX0" fmla="*/ 0 w 1181"/>
                <a:gd name="connsiteY0" fmla="*/ 0 h 55681"/>
                <a:gd name="connsiteX1" fmla="*/ 0 w 1181"/>
                <a:gd name="connsiteY1" fmla="*/ 55681 h 556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81" h="55681">
                  <a:moveTo>
                    <a:pt x="0" y="0"/>
                  </a:moveTo>
                  <a:lnTo>
                    <a:pt x="0" y="55681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99" name="Forma livre: Forma 1298">
              <a:extLst>
                <a:ext uri="{FF2B5EF4-FFF2-40B4-BE49-F238E27FC236}">
                  <a16:creationId xmlns:a16="http://schemas.microsoft.com/office/drawing/2014/main" id="{62E893EC-4ADD-301A-8FD0-EA4DDDB90962}"/>
                </a:ext>
              </a:extLst>
            </p:cNvPr>
            <p:cNvSpPr/>
            <p:nvPr/>
          </p:nvSpPr>
          <p:spPr>
            <a:xfrm>
              <a:off x="1534967" y="5170729"/>
              <a:ext cx="59191" cy="116196"/>
            </a:xfrm>
            <a:custGeom>
              <a:avLst/>
              <a:gdLst>
                <a:gd name="connsiteX0" fmla="*/ 0 w 59191"/>
                <a:gd name="connsiteY0" fmla="*/ 116196 h 116196"/>
                <a:gd name="connsiteX1" fmla="*/ 0 w 59191"/>
                <a:gd name="connsiteY1" fmla="*/ 0 h 116196"/>
                <a:gd name="connsiteX2" fmla="*/ 59191 w 59191"/>
                <a:gd name="connsiteY2" fmla="*/ 0 h 116196"/>
                <a:gd name="connsiteX3" fmla="*/ 59191 w 59191"/>
                <a:gd name="connsiteY3" fmla="*/ 34028 h 116196"/>
                <a:gd name="connsiteX4" fmla="*/ 19537 w 59191"/>
                <a:gd name="connsiteY4" fmla="*/ 34028 h 1161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9191" h="116196">
                  <a:moveTo>
                    <a:pt x="0" y="116196"/>
                  </a:moveTo>
                  <a:lnTo>
                    <a:pt x="0" y="0"/>
                  </a:lnTo>
                  <a:lnTo>
                    <a:pt x="59191" y="0"/>
                  </a:lnTo>
                  <a:lnTo>
                    <a:pt x="59191" y="34028"/>
                  </a:lnTo>
                  <a:lnTo>
                    <a:pt x="19537" y="34028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300" name="Forma livre: Forma 1299">
              <a:extLst>
                <a:ext uri="{FF2B5EF4-FFF2-40B4-BE49-F238E27FC236}">
                  <a16:creationId xmlns:a16="http://schemas.microsoft.com/office/drawing/2014/main" id="{FA8FAA65-C940-45C8-AB73-618D356CDC71}"/>
                </a:ext>
              </a:extLst>
            </p:cNvPr>
            <p:cNvSpPr/>
            <p:nvPr/>
          </p:nvSpPr>
          <p:spPr>
            <a:xfrm>
              <a:off x="1358043" y="5246149"/>
              <a:ext cx="282459" cy="162398"/>
            </a:xfrm>
            <a:custGeom>
              <a:avLst/>
              <a:gdLst>
                <a:gd name="connsiteX0" fmla="*/ 176156 w 282459"/>
                <a:gd name="connsiteY0" fmla="*/ 0 h 162398"/>
                <a:gd name="connsiteX1" fmla="*/ 239697 w 282459"/>
                <a:gd name="connsiteY1" fmla="*/ 0 h 162398"/>
                <a:gd name="connsiteX2" fmla="*/ 282459 w 282459"/>
                <a:gd name="connsiteY2" fmla="*/ 42762 h 162398"/>
                <a:gd name="connsiteX3" fmla="*/ 282459 w 282459"/>
                <a:gd name="connsiteY3" fmla="*/ 162398 h 162398"/>
                <a:gd name="connsiteX4" fmla="*/ 7777 w 282459"/>
                <a:gd name="connsiteY4" fmla="*/ 162398 h 162398"/>
                <a:gd name="connsiteX5" fmla="*/ 0 w 282459"/>
                <a:gd name="connsiteY5" fmla="*/ 154645 h 162398"/>
                <a:gd name="connsiteX6" fmla="*/ 0 w 282459"/>
                <a:gd name="connsiteY6" fmla="*/ 66898 h 162398"/>
                <a:gd name="connsiteX7" fmla="*/ 7777 w 282459"/>
                <a:gd name="connsiteY7" fmla="*/ 59121 h 162398"/>
                <a:gd name="connsiteX8" fmla="*/ 116031 w 282459"/>
                <a:gd name="connsiteY8" fmla="*/ 59121 h 1623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2459" h="162398">
                  <a:moveTo>
                    <a:pt x="176156" y="0"/>
                  </a:moveTo>
                  <a:lnTo>
                    <a:pt x="239697" y="0"/>
                  </a:lnTo>
                  <a:cubicBezTo>
                    <a:pt x="263217" y="0"/>
                    <a:pt x="282459" y="19242"/>
                    <a:pt x="282459" y="42762"/>
                  </a:cubicBezTo>
                  <a:lnTo>
                    <a:pt x="282459" y="162398"/>
                  </a:lnTo>
                  <a:lnTo>
                    <a:pt x="7777" y="162398"/>
                  </a:lnTo>
                  <a:cubicBezTo>
                    <a:pt x="3498" y="162398"/>
                    <a:pt x="0" y="158911"/>
                    <a:pt x="0" y="154645"/>
                  </a:cubicBezTo>
                  <a:lnTo>
                    <a:pt x="0" y="66898"/>
                  </a:lnTo>
                  <a:cubicBezTo>
                    <a:pt x="0" y="62619"/>
                    <a:pt x="3498" y="59121"/>
                    <a:pt x="7777" y="59121"/>
                  </a:cubicBezTo>
                  <a:lnTo>
                    <a:pt x="116031" y="59121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301" name="Gráfico 13">
            <a:extLst>
              <a:ext uri="{FF2B5EF4-FFF2-40B4-BE49-F238E27FC236}">
                <a16:creationId xmlns:a16="http://schemas.microsoft.com/office/drawing/2014/main" id="{4CE9DA35-34C8-3228-FEEF-4AAB2B141CFB}"/>
              </a:ext>
            </a:extLst>
          </p:cNvPr>
          <p:cNvGrpSpPr/>
          <p:nvPr/>
        </p:nvGrpSpPr>
        <p:grpSpPr>
          <a:xfrm>
            <a:off x="1361754" y="5709976"/>
            <a:ext cx="275013" cy="282601"/>
            <a:chOff x="1361754" y="5709976"/>
            <a:chExt cx="275013" cy="282601"/>
          </a:xfrm>
          <a:noFill/>
        </p:grpSpPr>
        <p:grpSp>
          <p:nvGrpSpPr>
            <p:cNvPr id="1302" name="Gráfico 13">
              <a:extLst>
                <a:ext uri="{FF2B5EF4-FFF2-40B4-BE49-F238E27FC236}">
                  <a16:creationId xmlns:a16="http://schemas.microsoft.com/office/drawing/2014/main" id="{A718722F-B571-6C83-4EEE-46BF8ADD02A8}"/>
                </a:ext>
              </a:extLst>
            </p:cNvPr>
            <p:cNvGrpSpPr/>
            <p:nvPr/>
          </p:nvGrpSpPr>
          <p:grpSpPr>
            <a:xfrm>
              <a:off x="1361754" y="5737728"/>
              <a:ext cx="247072" cy="254849"/>
              <a:chOff x="1361754" y="5737728"/>
              <a:chExt cx="247072" cy="254849"/>
            </a:xfrm>
            <a:noFill/>
          </p:grpSpPr>
          <p:sp>
            <p:nvSpPr>
              <p:cNvPr id="1303" name="Forma livre: Forma 1302">
                <a:extLst>
                  <a:ext uri="{FF2B5EF4-FFF2-40B4-BE49-F238E27FC236}">
                    <a16:creationId xmlns:a16="http://schemas.microsoft.com/office/drawing/2014/main" id="{DEFBA055-7A56-C0DE-DFE1-8238ECB446DE}"/>
                  </a:ext>
                </a:extLst>
              </p:cNvPr>
              <p:cNvSpPr/>
              <p:nvPr/>
            </p:nvSpPr>
            <p:spPr>
              <a:xfrm>
                <a:off x="1412471" y="5791885"/>
                <a:ext cx="145638" cy="1181"/>
              </a:xfrm>
              <a:custGeom>
                <a:avLst/>
                <a:gdLst>
                  <a:gd name="connsiteX0" fmla="*/ 145638 w 145638"/>
                  <a:gd name="connsiteY0" fmla="*/ 0 h 1181"/>
                  <a:gd name="connsiteX1" fmla="*/ 0 w 145638"/>
                  <a:gd name="connsiteY1" fmla="*/ 0 h 11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45638" h="1181">
                    <a:moveTo>
                      <a:pt x="145638" y="0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304" name="Forma livre: Forma 1303">
                <a:extLst>
                  <a:ext uri="{FF2B5EF4-FFF2-40B4-BE49-F238E27FC236}">
                    <a16:creationId xmlns:a16="http://schemas.microsoft.com/office/drawing/2014/main" id="{A55C8D82-8523-EF55-1DA1-6129022CA2F5}"/>
                  </a:ext>
                </a:extLst>
              </p:cNvPr>
              <p:cNvSpPr/>
              <p:nvPr/>
            </p:nvSpPr>
            <p:spPr>
              <a:xfrm>
                <a:off x="1412471" y="5830983"/>
                <a:ext cx="145638" cy="1181"/>
              </a:xfrm>
              <a:custGeom>
                <a:avLst/>
                <a:gdLst>
                  <a:gd name="connsiteX0" fmla="*/ 145638 w 145638"/>
                  <a:gd name="connsiteY0" fmla="*/ 0 h 1181"/>
                  <a:gd name="connsiteX1" fmla="*/ 0 w 145638"/>
                  <a:gd name="connsiteY1" fmla="*/ 0 h 11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45638" h="1181">
                    <a:moveTo>
                      <a:pt x="145638" y="0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305" name="Forma livre: Forma 1304">
                <a:extLst>
                  <a:ext uri="{FF2B5EF4-FFF2-40B4-BE49-F238E27FC236}">
                    <a16:creationId xmlns:a16="http://schemas.microsoft.com/office/drawing/2014/main" id="{7CCF1B41-839D-87EE-CBFD-27560A716833}"/>
                  </a:ext>
                </a:extLst>
              </p:cNvPr>
              <p:cNvSpPr/>
              <p:nvPr/>
            </p:nvSpPr>
            <p:spPr>
              <a:xfrm>
                <a:off x="1412471" y="5870093"/>
                <a:ext cx="80454" cy="1181"/>
              </a:xfrm>
              <a:custGeom>
                <a:avLst/>
                <a:gdLst>
                  <a:gd name="connsiteX0" fmla="*/ 80454 w 80454"/>
                  <a:gd name="connsiteY0" fmla="*/ 0 h 1181"/>
                  <a:gd name="connsiteX1" fmla="*/ 0 w 80454"/>
                  <a:gd name="connsiteY1" fmla="*/ 0 h 11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80454" h="1181">
                    <a:moveTo>
                      <a:pt x="80454" y="0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306" name="Forma livre: Forma 1305">
                <a:extLst>
                  <a:ext uri="{FF2B5EF4-FFF2-40B4-BE49-F238E27FC236}">
                    <a16:creationId xmlns:a16="http://schemas.microsoft.com/office/drawing/2014/main" id="{73DBB96B-ABF7-BEF1-6C84-94DD25A02631}"/>
                  </a:ext>
                </a:extLst>
              </p:cNvPr>
              <p:cNvSpPr/>
              <p:nvPr/>
            </p:nvSpPr>
            <p:spPr>
              <a:xfrm>
                <a:off x="1361754" y="5737728"/>
                <a:ext cx="247072" cy="254849"/>
              </a:xfrm>
              <a:custGeom>
                <a:avLst/>
                <a:gdLst>
                  <a:gd name="connsiteX0" fmla="*/ 148605 w 247072"/>
                  <a:gd name="connsiteY0" fmla="*/ 186734 h 254849"/>
                  <a:gd name="connsiteX1" fmla="*/ 223977 w 247072"/>
                  <a:gd name="connsiteY1" fmla="*/ 186734 h 254849"/>
                  <a:gd name="connsiteX2" fmla="*/ 247072 w 247072"/>
                  <a:gd name="connsiteY2" fmla="*/ 163639 h 254849"/>
                  <a:gd name="connsiteX3" fmla="*/ 247072 w 247072"/>
                  <a:gd name="connsiteY3" fmla="*/ 23083 h 254849"/>
                  <a:gd name="connsiteX4" fmla="*/ 223977 w 247072"/>
                  <a:gd name="connsiteY4" fmla="*/ 0 h 254849"/>
                  <a:gd name="connsiteX5" fmla="*/ 23083 w 247072"/>
                  <a:gd name="connsiteY5" fmla="*/ 0 h 254849"/>
                  <a:gd name="connsiteX6" fmla="*/ 0 w 247072"/>
                  <a:gd name="connsiteY6" fmla="*/ 23083 h 254849"/>
                  <a:gd name="connsiteX7" fmla="*/ 0 w 247072"/>
                  <a:gd name="connsiteY7" fmla="*/ 163639 h 254849"/>
                  <a:gd name="connsiteX8" fmla="*/ 23083 w 247072"/>
                  <a:gd name="connsiteY8" fmla="*/ 186734 h 254849"/>
                  <a:gd name="connsiteX9" fmla="*/ 55173 w 247072"/>
                  <a:gd name="connsiteY9" fmla="*/ 186734 h 254849"/>
                  <a:gd name="connsiteX10" fmla="*/ 55173 w 247072"/>
                  <a:gd name="connsiteY10" fmla="*/ 254849 h 254849"/>
                  <a:gd name="connsiteX11" fmla="*/ 116362 w 247072"/>
                  <a:gd name="connsiteY11" fmla="*/ 186734 h 2548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247072" h="254849">
                    <a:moveTo>
                      <a:pt x="148605" y="186734"/>
                    </a:moveTo>
                    <a:lnTo>
                      <a:pt x="223977" y="186734"/>
                    </a:lnTo>
                    <a:cubicBezTo>
                      <a:pt x="236683" y="186734"/>
                      <a:pt x="247072" y="176345"/>
                      <a:pt x="247072" y="163639"/>
                    </a:cubicBezTo>
                    <a:lnTo>
                      <a:pt x="247072" y="23083"/>
                    </a:lnTo>
                    <a:cubicBezTo>
                      <a:pt x="247072" y="10389"/>
                      <a:pt x="236683" y="0"/>
                      <a:pt x="223977" y="0"/>
                    </a:cubicBezTo>
                    <a:lnTo>
                      <a:pt x="23083" y="0"/>
                    </a:lnTo>
                    <a:cubicBezTo>
                      <a:pt x="10377" y="0"/>
                      <a:pt x="0" y="10389"/>
                      <a:pt x="0" y="23083"/>
                    </a:cubicBezTo>
                    <a:lnTo>
                      <a:pt x="0" y="163639"/>
                    </a:lnTo>
                    <a:cubicBezTo>
                      <a:pt x="0" y="176345"/>
                      <a:pt x="10389" y="186734"/>
                      <a:pt x="23083" y="186734"/>
                    </a:cubicBezTo>
                    <a:lnTo>
                      <a:pt x="55173" y="186734"/>
                    </a:lnTo>
                    <a:lnTo>
                      <a:pt x="55173" y="254849"/>
                    </a:lnTo>
                    <a:lnTo>
                      <a:pt x="116362" y="186734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307" name="Forma livre: Forma 1306">
              <a:extLst>
                <a:ext uri="{FF2B5EF4-FFF2-40B4-BE49-F238E27FC236}">
                  <a16:creationId xmlns:a16="http://schemas.microsoft.com/office/drawing/2014/main" id="{2FAEDE43-C0E7-BC4F-E845-AEB480E3D6AE}"/>
                </a:ext>
              </a:extLst>
            </p:cNvPr>
            <p:cNvSpPr/>
            <p:nvPr/>
          </p:nvSpPr>
          <p:spPr>
            <a:xfrm>
              <a:off x="1404966" y="5709976"/>
              <a:ext cx="231801" cy="186746"/>
            </a:xfrm>
            <a:custGeom>
              <a:avLst/>
              <a:gdLst>
                <a:gd name="connsiteX0" fmla="*/ 0 w 231801"/>
                <a:gd name="connsiteY0" fmla="*/ 0 h 186746"/>
                <a:gd name="connsiteX1" fmla="*/ 208706 w 231801"/>
                <a:gd name="connsiteY1" fmla="*/ 0 h 186746"/>
                <a:gd name="connsiteX2" fmla="*/ 231801 w 231801"/>
                <a:gd name="connsiteY2" fmla="*/ 23095 h 186746"/>
                <a:gd name="connsiteX3" fmla="*/ 231801 w 231801"/>
                <a:gd name="connsiteY3" fmla="*/ 163651 h 186746"/>
                <a:gd name="connsiteX4" fmla="*/ 208706 w 231801"/>
                <a:gd name="connsiteY4" fmla="*/ 186746 h 186746"/>
                <a:gd name="connsiteX5" fmla="*/ 205480 w 231801"/>
                <a:gd name="connsiteY5" fmla="*/ 186746 h 1867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31801" h="186746">
                  <a:moveTo>
                    <a:pt x="0" y="0"/>
                  </a:moveTo>
                  <a:lnTo>
                    <a:pt x="208706" y="0"/>
                  </a:lnTo>
                  <a:cubicBezTo>
                    <a:pt x="221412" y="0"/>
                    <a:pt x="231801" y="10389"/>
                    <a:pt x="231801" y="23095"/>
                  </a:cubicBezTo>
                  <a:lnTo>
                    <a:pt x="231801" y="163651"/>
                  </a:lnTo>
                  <a:cubicBezTo>
                    <a:pt x="231801" y="176357"/>
                    <a:pt x="221412" y="186746"/>
                    <a:pt x="208706" y="186746"/>
                  </a:cubicBezTo>
                  <a:lnTo>
                    <a:pt x="205480" y="186746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308" name="Gráfico 13">
            <a:extLst>
              <a:ext uri="{FF2B5EF4-FFF2-40B4-BE49-F238E27FC236}">
                <a16:creationId xmlns:a16="http://schemas.microsoft.com/office/drawing/2014/main" id="{3EE654CB-6A99-EBB6-A82C-3563557DD40A}"/>
              </a:ext>
            </a:extLst>
          </p:cNvPr>
          <p:cNvGrpSpPr/>
          <p:nvPr/>
        </p:nvGrpSpPr>
        <p:grpSpPr>
          <a:xfrm>
            <a:off x="722515" y="5200845"/>
            <a:ext cx="318803" cy="231874"/>
            <a:chOff x="722515" y="5200845"/>
            <a:chExt cx="318803" cy="231874"/>
          </a:xfrm>
          <a:noFill/>
        </p:grpSpPr>
        <p:grpSp>
          <p:nvGrpSpPr>
            <p:cNvPr id="1309" name="Gráfico 13">
              <a:extLst>
                <a:ext uri="{FF2B5EF4-FFF2-40B4-BE49-F238E27FC236}">
                  <a16:creationId xmlns:a16="http://schemas.microsoft.com/office/drawing/2014/main" id="{F1F7F457-D2AB-926B-187F-972A79AC2D60}"/>
                </a:ext>
              </a:extLst>
            </p:cNvPr>
            <p:cNvGrpSpPr/>
            <p:nvPr/>
          </p:nvGrpSpPr>
          <p:grpSpPr>
            <a:xfrm>
              <a:off x="730198" y="5201400"/>
              <a:ext cx="300839" cy="231318"/>
              <a:chOff x="730198" y="5201400"/>
              <a:chExt cx="300839" cy="231318"/>
            </a:xfrm>
            <a:noFill/>
          </p:grpSpPr>
          <p:sp>
            <p:nvSpPr>
              <p:cNvPr id="1310" name="Forma livre: Forma 1309">
                <a:extLst>
                  <a:ext uri="{FF2B5EF4-FFF2-40B4-BE49-F238E27FC236}">
                    <a16:creationId xmlns:a16="http://schemas.microsoft.com/office/drawing/2014/main" id="{5E80D28A-0E77-8BD6-6385-9CFCD466FFFD}"/>
                  </a:ext>
                </a:extLst>
              </p:cNvPr>
              <p:cNvSpPr/>
              <p:nvPr/>
            </p:nvSpPr>
            <p:spPr>
              <a:xfrm>
                <a:off x="730198" y="5201400"/>
                <a:ext cx="300839" cy="231318"/>
              </a:xfrm>
              <a:custGeom>
                <a:avLst/>
                <a:gdLst>
                  <a:gd name="connsiteX0" fmla="*/ 244460 w 300839"/>
                  <a:gd name="connsiteY0" fmla="*/ 0 h 231318"/>
                  <a:gd name="connsiteX1" fmla="*/ 297647 w 300839"/>
                  <a:gd name="connsiteY1" fmla="*/ 64037 h 231318"/>
                  <a:gd name="connsiteX2" fmla="*/ 295886 w 300839"/>
                  <a:gd name="connsiteY2" fmla="*/ 83504 h 231318"/>
                  <a:gd name="connsiteX3" fmla="*/ 122838 w 300839"/>
                  <a:gd name="connsiteY3" fmla="*/ 228102 h 231318"/>
                  <a:gd name="connsiteX4" fmla="*/ 103360 w 300839"/>
                  <a:gd name="connsiteY4" fmla="*/ 226388 h 231318"/>
                  <a:gd name="connsiteX5" fmla="*/ 3203 w 300839"/>
                  <a:gd name="connsiteY5" fmla="*/ 106528 h 231318"/>
                  <a:gd name="connsiteX6" fmla="*/ 4940 w 300839"/>
                  <a:gd name="connsiteY6" fmla="*/ 87026 h 231318"/>
                  <a:gd name="connsiteX7" fmla="*/ 81589 w 300839"/>
                  <a:gd name="connsiteY7" fmla="*/ 22977 h 2313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00839" h="231318">
                    <a:moveTo>
                      <a:pt x="244460" y="0"/>
                    </a:moveTo>
                    <a:lnTo>
                      <a:pt x="297647" y="64037"/>
                    </a:lnTo>
                    <a:cubicBezTo>
                      <a:pt x="302528" y="69876"/>
                      <a:pt x="301713" y="78622"/>
                      <a:pt x="295886" y="83504"/>
                    </a:cubicBezTo>
                    <a:lnTo>
                      <a:pt x="122838" y="228102"/>
                    </a:lnTo>
                    <a:cubicBezTo>
                      <a:pt x="117000" y="232984"/>
                      <a:pt x="108242" y="232227"/>
                      <a:pt x="103360" y="226388"/>
                    </a:cubicBezTo>
                    <a:lnTo>
                      <a:pt x="3203" y="106528"/>
                    </a:lnTo>
                    <a:cubicBezTo>
                      <a:pt x="-1679" y="100677"/>
                      <a:pt x="-887" y="91907"/>
                      <a:pt x="4940" y="87026"/>
                    </a:cubicBezTo>
                    <a:lnTo>
                      <a:pt x="81589" y="22977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1311" name="Gráfico 13">
                <a:extLst>
                  <a:ext uri="{FF2B5EF4-FFF2-40B4-BE49-F238E27FC236}">
                    <a16:creationId xmlns:a16="http://schemas.microsoft.com/office/drawing/2014/main" id="{842F5622-D6BF-1FB8-BDD3-C72988338D72}"/>
                  </a:ext>
                </a:extLst>
              </p:cNvPr>
              <p:cNvGrpSpPr/>
              <p:nvPr/>
            </p:nvGrpSpPr>
            <p:grpSpPr>
              <a:xfrm>
                <a:off x="844160" y="5260072"/>
                <a:ext cx="182006" cy="167941"/>
                <a:chOff x="844160" y="5260072"/>
                <a:chExt cx="182006" cy="167941"/>
              </a:xfrm>
            </p:grpSpPr>
            <p:sp>
              <p:nvSpPr>
                <p:cNvPr id="1312" name="Forma livre: Forma 1311">
                  <a:extLst>
                    <a:ext uri="{FF2B5EF4-FFF2-40B4-BE49-F238E27FC236}">
                      <a16:creationId xmlns:a16="http://schemas.microsoft.com/office/drawing/2014/main" id="{7029CC4E-CE05-4F79-EC63-F32E4875A60E}"/>
                    </a:ext>
                  </a:extLst>
                </p:cNvPr>
                <p:cNvSpPr/>
                <p:nvPr/>
              </p:nvSpPr>
              <p:spPr>
                <a:xfrm>
                  <a:off x="844160" y="5338812"/>
                  <a:ext cx="1181" cy="89200"/>
                </a:xfrm>
                <a:custGeom>
                  <a:avLst/>
                  <a:gdLst>
                    <a:gd name="connsiteX0" fmla="*/ 0 w 1181"/>
                    <a:gd name="connsiteY0" fmla="*/ 0 h 89200"/>
                    <a:gd name="connsiteX1" fmla="*/ 0 w 1181"/>
                    <a:gd name="connsiteY1" fmla="*/ 89201 h 892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181" h="89200">
                      <a:moveTo>
                        <a:pt x="0" y="0"/>
                      </a:moveTo>
                      <a:lnTo>
                        <a:pt x="0" y="89201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313" name="Forma livre: Forma 1312">
                  <a:extLst>
                    <a:ext uri="{FF2B5EF4-FFF2-40B4-BE49-F238E27FC236}">
                      <a16:creationId xmlns:a16="http://schemas.microsoft.com/office/drawing/2014/main" id="{E1FBD015-BA5D-C6F7-0F41-55EB9939E6A6}"/>
                    </a:ext>
                  </a:extLst>
                </p:cNvPr>
                <p:cNvSpPr/>
                <p:nvPr/>
              </p:nvSpPr>
              <p:spPr>
                <a:xfrm>
                  <a:off x="938384" y="5260072"/>
                  <a:ext cx="87782" cy="15849"/>
                </a:xfrm>
                <a:custGeom>
                  <a:avLst/>
                  <a:gdLst>
                    <a:gd name="connsiteX0" fmla="*/ 0 w 87782"/>
                    <a:gd name="connsiteY0" fmla="*/ 0 h 15849"/>
                    <a:gd name="connsiteX1" fmla="*/ 87782 w 87782"/>
                    <a:gd name="connsiteY1" fmla="*/ 15850 h 1584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87782" h="15849">
                      <a:moveTo>
                        <a:pt x="0" y="0"/>
                      </a:moveTo>
                      <a:lnTo>
                        <a:pt x="87782" y="1585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1314" name="Forma livre: Forma 1313">
                <a:extLst>
                  <a:ext uri="{FF2B5EF4-FFF2-40B4-BE49-F238E27FC236}">
                    <a16:creationId xmlns:a16="http://schemas.microsoft.com/office/drawing/2014/main" id="{9921E96A-5857-347E-981B-80B9EF5AC8C1}"/>
                  </a:ext>
                </a:extLst>
              </p:cNvPr>
              <p:cNvSpPr/>
              <p:nvPr/>
            </p:nvSpPr>
            <p:spPr>
              <a:xfrm>
                <a:off x="760467" y="5225760"/>
                <a:ext cx="139149" cy="71081"/>
              </a:xfrm>
              <a:custGeom>
                <a:avLst/>
                <a:gdLst>
                  <a:gd name="connsiteX0" fmla="*/ 0 w 139149"/>
                  <a:gd name="connsiteY0" fmla="*/ 71082 h 71081"/>
                  <a:gd name="connsiteX1" fmla="*/ 125073 w 139149"/>
                  <a:gd name="connsiteY1" fmla="*/ 66248 h 71081"/>
                  <a:gd name="connsiteX2" fmla="*/ 139149 w 139149"/>
                  <a:gd name="connsiteY2" fmla="*/ 0 h 710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39149" h="71081">
                    <a:moveTo>
                      <a:pt x="0" y="71082"/>
                    </a:moveTo>
                    <a:lnTo>
                      <a:pt x="125073" y="66248"/>
                    </a:lnTo>
                    <a:lnTo>
                      <a:pt x="139149" y="0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315" name="Forma livre: Forma 1314">
              <a:extLst>
                <a:ext uri="{FF2B5EF4-FFF2-40B4-BE49-F238E27FC236}">
                  <a16:creationId xmlns:a16="http://schemas.microsoft.com/office/drawing/2014/main" id="{12CD9E70-1FBD-611D-309E-2D41499EEBE2}"/>
                </a:ext>
              </a:extLst>
            </p:cNvPr>
            <p:cNvSpPr/>
            <p:nvPr/>
          </p:nvSpPr>
          <p:spPr>
            <a:xfrm>
              <a:off x="722515" y="5200845"/>
              <a:ext cx="318803" cy="44133"/>
            </a:xfrm>
            <a:custGeom>
              <a:avLst/>
              <a:gdLst>
                <a:gd name="connsiteX0" fmla="*/ 32775 w 318803"/>
                <a:gd name="connsiteY0" fmla="*/ 44134 h 44133"/>
                <a:gd name="connsiteX1" fmla="*/ 9455 w 318803"/>
                <a:gd name="connsiteY1" fmla="*/ 44134 h 44133"/>
                <a:gd name="connsiteX2" fmla="*/ 0 w 318803"/>
                <a:gd name="connsiteY2" fmla="*/ 34678 h 44133"/>
                <a:gd name="connsiteX3" fmla="*/ 0 w 318803"/>
                <a:gd name="connsiteY3" fmla="*/ 9456 h 44133"/>
                <a:gd name="connsiteX4" fmla="*/ 9455 w 318803"/>
                <a:gd name="connsiteY4" fmla="*/ 0 h 44133"/>
                <a:gd name="connsiteX5" fmla="*/ 309348 w 318803"/>
                <a:gd name="connsiteY5" fmla="*/ 0 h 44133"/>
                <a:gd name="connsiteX6" fmla="*/ 318804 w 318803"/>
                <a:gd name="connsiteY6" fmla="*/ 9456 h 44133"/>
                <a:gd name="connsiteX7" fmla="*/ 318804 w 318803"/>
                <a:gd name="connsiteY7" fmla="*/ 34678 h 44133"/>
                <a:gd name="connsiteX8" fmla="*/ 309348 w 318803"/>
                <a:gd name="connsiteY8" fmla="*/ 44134 h 44133"/>
                <a:gd name="connsiteX9" fmla="*/ 288712 w 318803"/>
                <a:gd name="connsiteY9" fmla="*/ 44134 h 441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18803" h="44133">
                  <a:moveTo>
                    <a:pt x="32775" y="44134"/>
                  </a:moveTo>
                  <a:lnTo>
                    <a:pt x="9455" y="44134"/>
                  </a:lnTo>
                  <a:cubicBezTo>
                    <a:pt x="4255" y="44134"/>
                    <a:pt x="0" y="39879"/>
                    <a:pt x="0" y="34678"/>
                  </a:cubicBezTo>
                  <a:lnTo>
                    <a:pt x="0" y="9456"/>
                  </a:lnTo>
                  <a:cubicBezTo>
                    <a:pt x="0" y="4255"/>
                    <a:pt x="4255" y="0"/>
                    <a:pt x="9455" y="0"/>
                  </a:cubicBezTo>
                  <a:lnTo>
                    <a:pt x="309348" y="0"/>
                  </a:lnTo>
                  <a:cubicBezTo>
                    <a:pt x="314549" y="0"/>
                    <a:pt x="318804" y="4255"/>
                    <a:pt x="318804" y="9456"/>
                  </a:cubicBezTo>
                  <a:lnTo>
                    <a:pt x="318804" y="34678"/>
                  </a:lnTo>
                  <a:cubicBezTo>
                    <a:pt x="318804" y="39879"/>
                    <a:pt x="314549" y="44134"/>
                    <a:pt x="309348" y="44134"/>
                  </a:cubicBezTo>
                  <a:lnTo>
                    <a:pt x="288712" y="44134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317" name="Gráfico 14">
            <a:extLst>
              <a:ext uri="{FF2B5EF4-FFF2-40B4-BE49-F238E27FC236}">
                <a16:creationId xmlns:a16="http://schemas.microsoft.com/office/drawing/2014/main" id="{A8180280-8D33-7819-8E9A-38FA7DFC0389}"/>
              </a:ext>
            </a:extLst>
          </p:cNvPr>
          <p:cNvGrpSpPr/>
          <p:nvPr/>
        </p:nvGrpSpPr>
        <p:grpSpPr>
          <a:xfrm>
            <a:off x="3749543" y="3589878"/>
            <a:ext cx="361466" cy="300781"/>
            <a:chOff x="3749543" y="3589878"/>
            <a:chExt cx="361466" cy="300781"/>
          </a:xfrm>
          <a:noFill/>
        </p:grpSpPr>
        <p:grpSp>
          <p:nvGrpSpPr>
            <p:cNvPr id="1318" name="Gráfico 14">
              <a:extLst>
                <a:ext uri="{FF2B5EF4-FFF2-40B4-BE49-F238E27FC236}">
                  <a16:creationId xmlns:a16="http://schemas.microsoft.com/office/drawing/2014/main" id="{4E11D1C5-3F93-4EBA-D5A2-79ADD6569E22}"/>
                </a:ext>
              </a:extLst>
            </p:cNvPr>
            <p:cNvGrpSpPr/>
            <p:nvPr/>
          </p:nvGrpSpPr>
          <p:grpSpPr>
            <a:xfrm>
              <a:off x="3952835" y="3589878"/>
              <a:ext cx="158174" cy="158174"/>
              <a:chOff x="3952835" y="3589878"/>
              <a:chExt cx="158174" cy="158174"/>
            </a:xfrm>
            <a:noFill/>
          </p:grpSpPr>
          <p:sp>
            <p:nvSpPr>
              <p:cNvPr id="1319" name="Forma livre: Forma 1318">
                <a:extLst>
                  <a:ext uri="{FF2B5EF4-FFF2-40B4-BE49-F238E27FC236}">
                    <a16:creationId xmlns:a16="http://schemas.microsoft.com/office/drawing/2014/main" id="{978B1B73-C4A0-00C2-83A1-B5C481F557EA}"/>
                  </a:ext>
                </a:extLst>
              </p:cNvPr>
              <p:cNvSpPr/>
              <p:nvPr/>
            </p:nvSpPr>
            <p:spPr>
              <a:xfrm>
                <a:off x="3952835" y="3589878"/>
                <a:ext cx="158174" cy="158174"/>
              </a:xfrm>
              <a:custGeom>
                <a:avLst/>
                <a:gdLst>
                  <a:gd name="connsiteX0" fmla="*/ 46256 w 158174"/>
                  <a:gd name="connsiteY0" fmla="*/ 7121 h 158174"/>
                  <a:gd name="connsiteX1" fmla="*/ 79087 w 158174"/>
                  <a:gd name="connsiteY1" fmla="*/ 0 h 158174"/>
                  <a:gd name="connsiteX2" fmla="*/ 158174 w 158174"/>
                  <a:gd name="connsiteY2" fmla="*/ 79087 h 158174"/>
                  <a:gd name="connsiteX3" fmla="*/ 79087 w 158174"/>
                  <a:gd name="connsiteY3" fmla="*/ 158174 h 158174"/>
                  <a:gd name="connsiteX4" fmla="*/ 0 w 158174"/>
                  <a:gd name="connsiteY4" fmla="*/ 79087 h 158174"/>
                  <a:gd name="connsiteX5" fmla="*/ 24052 w 158174"/>
                  <a:gd name="connsiteY5" fmla="*/ 22287 h 158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58174" h="158174">
                    <a:moveTo>
                      <a:pt x="46256" y="7121"/>
                    </a:moveTo>
                    <a:cubicBezTo>
                      <a:pt x="56267" y="2547"/>
                      <a:pt x="67381" y="0"/>
                      <a:pt x="79087" y="0"/>
                    </a:cubicBezTo>
                    <a:cubicBezTo>
                      <a:pt x="122760" y="0"/>
                      <a:pt x="158174" y="35414"/>
                      <a:pt x="158174" y="79087"/>
                    </a:cubicBezTo>
                    <a:cubicBezTo>
                      <a:pt x="158174" y="122760"/>
                      <a:pt x="122760" y="158174"/>
                      <a:pt x="79087" y="158174"/>
                    </a:cubicBezTo>
                    <a:cubicBezTo>
                      <a:pt x="35414" y="158174"/>
                      <a:pt x="0" y="122772"/>
                      <a:pt x="0" y="79087"/>
                    </a:cubicBezTo>
                    <a:cubicBezTo>
                      <a:pt x="0" y="56801"/>
                      <a:pt x="9230" y="36670"/>
                      <a:pt x="24052" y="22287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320" name="Forma livre: Forma 1319">
                <a:extLst>
                  <a:ext uri="{FF2B5EF4-FFF2-40B4-BE49-F238E27FC236}">
                    <a16:creationId xmlns:a16="http://schemas.microsoft.com/office/drawing/2014/main" id="{3A34974D-5E49-8C09-4B76-2A027559C31B}"/>
                  </a:ext>
                </a:extLst>
              </p:cNvPr>
              <p:cNvSpPr/>
              <p:nvPr/>
            </p:nvSpPr>
            <p:spPr>
              <a:xfrm>
                <a:off x="4004896" y="3629724"/>
                <a:ext cx="54063" cy="78471"/>
              </a:xfrm>
              <a:custGeom>
                <a:avLst/>
                <a:gdLst>
                  <a:gd name="connsiteX0" fmla="*/ 54064 w 54063"/>
                  <a:gd name="connsiteY0" fmla="*/ 0 h 78471"/>
                  <a:gd name="connsiteX1" fmla="*/ 0 w 54063"/>
                  <a:gd name="connsiteY1" fmla="*/ 78471 h 784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4063" h="78471">
                    <a:moveTo>
                      <a:pt x="54064" y="0"/>
                    </a:moveTo>
                    <a:lnTo>
                      <a:pt x="0" y="78471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1321" name="Gráfico 14">
                <a:extLst>
                  <a:ext uri="{FF2B5EF4-FFF2-40B4-BE49-F238E27FC236}">
                    <a16:creationId xmlns:a16="http://schemas.microsoft.com/office/drawing/2014/main" id="{794F74FA-3C0D-661E-11CE-18A6A1640EE5}"/>
                  </a:ext>
                </a:extLst>
              </p:cNvPr>
              <p:cNvGrpSpPr/>
              <p:nvPr/>
            </p:nvGrpSpPr>
            <p:grpSpPr>
              <a:xfrm>
                <a:off x="3990418" y="3625388"/>
                <a:ext cx="83020" cy="87155"/>
                <a:chOff x="3990418" y="3625388"/>
                <a:chExt cx="83020" cy="87155"/>
              </a:xfrm>
              <a:noFill/>
            </p:grpSpPr>
            <p:sp>
              <p:nvSpPr>
                <p:cNvPr id="1322" name="Forma livre: Forma 1321">
                  <a:extLst>
                    <a:ext uri="{FF2B5EF4-FFF2-40B4-BE49-F238E27FC236}">
                      <a16:creationId xmlns:a16="http://schemas.microsoft.com/office/drawing/2014/main" id="{352E0337-49CC-57AC-8939-4E743CC71E50}"/>
                    </a:ext>
                  </a:extLst>
                </p:cNvPr>
                <p:cNvSpPr/>
                <p:nvPr/>
              </p:nvSpPr>
              <p:spPr>
                <a:xfrm>
                  <a:off x="3990418" y="3625388"/>
                  <a:ext cx="30307" cy="30307"/>
                </a:xfrm>
                <a:custGeom>
                  <a:avLst/>
                  <a:gdLst>
                    <a:gd name="connsiteX0" fmla="*/ 30308 w 30307"/>
                    <a:gd name="connsiteY0" fmla="*/ 15154 h 30307"/>
                    <a:gd name="connsiteX1" fmla="*/ 15154 w 30307"/>
                    <a:gd name="connsiteY1" fmla="*/ 30308 h 30307"/>
                    <a:gd name="connsiteX2" fmla="*/ 0 w 30307"/>
                    <a:gd name="connsiteY2" fmla="*/ 15154 h 30307"/>
                    <a:gd name="connsiteX3" fmla="*/ 15154 w 30307"/>
                    <a:gd name="connsiteY3" fmla="*/ 0 h 30307"/>
                    <a:gd name="connsiteX4" fmla="*/ 30308 w 30307"/>
                    <a:gd name="connsiteY4" fmla="*/ 15154 h 3030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0307" h="30307">
                      <a:moveTo>
                        <a:pt x="30308" y="15154"/>
                      </a:moveTo>
                      <a:cubicBezTo>
                        <a:pt x="30308" y="23519"/>
                        <a:pt x="23519" y="30308"/>
                        <a:pt x="15154" y="30308"/>
                      </a:cubicBezTo>
                      <a:cubicBezTo>
                        <a:pt x="6789" y="30308"/>
                        <a:pt x="0" y="23519"/>
                        <a:pt x="0" y="15154"/>
                      </a:cubicBezTo>
                      <a:cubicBezTo>
                        <a:pt x="0" y="6789"/>
                        <a:pt x="6777" y="0"/>
                        <a:pt x="15154" y="0"/>
                      </a:cubicBezTo>
                      <a:cubicBezTo>
                        <a:pt x="23531" y="0"/>
                        <a:pt x="30308" y="6789"/>
                        <a:pt x="30308" y="15154"/>
                      </a:cubicBezTo>
                      <a:close/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323" name="Forma livre: Forma 1322">
                  <a:extLst>
                    <a:ext uri="{FF2B5EF4-FFF2-40B4-BE49-F238E27FC236}">
                      <a16:creationId xmlns:a16="http://schemas.microsoft.com/office/drawing/2014/main" id="{E1B898F2-EDA7-B6C4-8135-10A447F4CDDC}"/>
                    </a:ext>
                  </a:extLst>
                </p:cNvPr>
                <p:cNvSpPr/>
                <p:nvPr/>
              </p:nvSpPr>
              <p:spPr>
                <a:xfrm>
                  <a:off x="4043131" y="3682236"/>
                  <a:ext cx="30307" cy="30307"/>
                </a:xfrm>
                <a:custGeom>
                  <a:avLst/>
                  <a:gdLst>
                    <a:gd name="connsiteX0" fmla="*/ 30308 w 30307"/>
                    <a:gd name="connsiteY0" fmla="*/ 15154 h 30307"/>
                    <a:gd name="connsiteX1" fmla="*/ 15154 w 30307"/>
                    <a:gd name="connsiteY1" fmla="*/ 30308 h 30307"/>
                    <a:gd name="connsiteX2" fmla="*/ 0 w 30307"/>
                    <a:gd name="connsiteY2" fmla="*/ 15154 h 30307"/>
                    <a:gd name="connsiteX3" fmla="*/ 15154 w 30307"/>
                    <a:gd name="connsiteY3" fmla="*/ 0 h 30307"/>
                    <a:gd name="connsiteX4" fmla="*/ 30308 w 30307"/>
                    <a:gd name="connsiteY4" fmla="*/ 15154 h 3030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0307" h="30307">
                      <a:moveTo>
                        <a:pt x="30308" y="15154"/>
                      </a:moveTo>
                      <a:cubicBezTo>
                        <a:pt x="30308" y="23519"/>
                        <a:pt x="23519" y="30308"/>
                        <a:pt x="15154" y="30308"/>
                      </a:cubicBezTo>
                      <a:cubicBezTo>
                        <a:pt x="6789" y="30308"/>
                        <a:pt x="0" y="23519"/>
                        <a:pt x="0" y="15154"/>
                      </a:cubicBezTo>
                      <a:cubicBezTo>
                        <a:pt x="0" y="6789"/>
                        <a:pt x="6789" y="0"/>
                        <a:pt x="15154" y="0"/>
                      </a:cubicBezTo>
                      <a:cubicBezTo>
                        <a:pt x="23519" y="0"/>
                        <a:pt x="30308" y="6789"/>
                        <a:pt x="30308" y="15154"/>
                      </a:cubicBezTo>
                      <a:close/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grpSp>
          <p:nvGrpSpPr>
            <p:cNvPr id="1324" name="Gráfico 14">
              <a:extLst>
                <a:ext uri="{FF2B5EF4-FFF2-40B4-BE49-F238E27FC236}">
                  <a16:creationId xmlns:a16="http://schemas.microsoft.com/office/drawing/2014/main" id="{309B33E5-F542-37F7-E66B-CEB1257A500A}"/>
                </a:ext>
              </a:extLst>
            </p:cNvPr>
            <p:cNvGrpSpPr/>
            <p:nvPr/>
          </p:nvGrpSpPr>
          <p:grpSpPr>
            <a:xfrm>
              <a:off x="3749543" y="3634416"/>
              <a:ext cx="263967" cy="256243"/>
              <a:chOff x="3749543" y="3634416"/>
              <a:chExt cx="263967" cy="256243"/>
            </a:xfrm>
            <a:noFill/>
          </p:grpSpPr>
          <p:sp>
            <p:nvSpPr>
              <p:cNvPr id="1325" name="Forma livre: Forma 1324">
                <a:extLst>
                  <a:ext uri="{FF2B5EF4-FFF2-40B4-BE49-F238E27FC236}">
                    <a16:creationId xmlns:a16="http://schemas.microsoft.com/office/drawing/2014/main" id="{C8BA690C-02E8-49CF-B15C-8791AFDA4C67}"/>
                  </a:ext>
                </a:extLst>
              </p:cNvPr>
              <p:cNvSpPr/>
              <p:nvPr/>
            </p:nvSpPr>
            <p:spPr>
              <a:xfrm>
                <a:off x="3915312" y="3673219"/>
                <a:ext cx="1184" cy="105437"/>
              </a:xfrm>
              <a:custGeom>
                <a:avLst/>
                <a:gdLst>
                  <a:gd name="connsiteX0" fmla="*/ 0 w 1184"/>
                  <a:gd name="connsiteY0" fmla="*/ 0 h 105437"/>
                  <a:gd name="connsiteX1" fmla="*/ 0 w 1184"/>
                  <a:gd name="connsiteY1" fmla="*/ 105438 h 1054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84" h="105437">
                    <a:moveTo>
                      <a:pt x="0" y="0"/>
                    </a:moveTo>
                    <a:lnTo>
                      <a:pt x="0" y="105438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326" name="Forma livre: Forma 1325">
                <a:extLst>
                  <a:ext uri="{FF2B5EF4-FFF2-40B4-BE49-F238E27FC236}">
                    <a16:creationId xmlns:a16="http://schemas.microsoft.com/office/drawing/2014/main" id="{D985CAE7-8EB5-5E14-0401-116625F524BF}"/>
                  </a:ext>
                </a:extLst>
              </p:cNvPr>
              <p:cNvSpPr/>
              <p:nvPr/>
            </p:nvSpPr>
            <p:spPr>
              <a:xfrm>
                <a:off x="3961390" y="3746891"/>
                <a:ext cx="3459" cy="24229"/>
              </a:xfrm>
              <a:custGeom>
                <a:avLst/>
                <a:gdLst>
                  <a:gd name="connsiteX0" fmla="*/ 3460 w 3459"/>
                  <a:gd name="connsiteY0" fmla="*/ 0 h 24229"/>
                  <a:gd name="connsiteX1" fmla="*/ 0 w 3459"/>
                  <a:gd name="connsiteY1" fmla="*/ 24230 h 242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459" h="24229">
                    <a:moveTo>
                      <a:pt x="3460" y="0"/>
                    </a:moveTo>
                    <a:lnTo>
                      <a:pt x="0" y="2423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bevel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327" name="Forma livre: Forma 1326">
                <a:extLst>
                  <a:ext uri="{FF2B5EF4-FFF2-40B4-BE49-F238E27FC236}">
                    <a16:creationId xmlns:a16="http://schemas.microsoft.com/office/drawing/2014/main" id="{38F82E01-82DF-812F-2654-41FE909F3E3F}"/>
                  </a:ext>
                </a:extLst>
              </p:cNvPr>
              <p:cNvSpPr/>
              <p:nvPr/>
            </p:nvSpPr>
            <p:spPr>
              <a:xfrm>
                <a:off x="3814021" y="3723977"/>
                <a:ext cx="129146" cy="1184"/>
              </a:xfrm>
              <a:custGeom>
                <a:avLst/>
                <a:gdLst>
                  <a:gd name="connsiteX0" fmla="*/ 0 w 129146"/>
                  <a:gd name="connsiteY0" fmla="*/ 0 h 1184"/>
                  <a:gd name="connsiteX1" fmla="*/ 129146 w 129146"/>
                  <a:gd name="connsiteY1" fmla="*/ 0 h 11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9146" h="1184">
                    <a:moveTo>
                      <a:pt x="0" y="0"/>
                    </a:moveTo>
                    <a:lnTo>
                      <a:pt x="129146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bevel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328" name="Forma livre: Forma 1327">
                <a:extLst>
                  <a:ext uri="{FF2B5EF4-FFF2-40B4-BE49-F238E27FC236}">
                    <a16:creationId xmlns:a16="http://schemas.microsoft.com/office/drawing/2014/main" id="{0382C84D-CF33-48DD-52B5-0B773BFACF6A}"/>
                  </a:ext>
                </a:extLst>
              </p:cNvPr>
              <p:cNvSpPr/>
              <p:nvPr/>
            </p:nvSpPr>
            <p:spPr>
              <a:xfrm>
                <a:off x="3855502" y="3672923"/>
                <a:ext cx="16445" cy="112250"/>
              </a:xfrm>
              <a:custGeom>
                <a:avLst/>
                <a:gdLst>
                  <a:gd name="connsiteX0" fmla="*/ 0 w 16445"/>
                  <a:gd name="connsiteY0" fmla="*/ 0 h 112250"/>
                  <a:gd name="connsiteX1" fmla="*/ 16445 w 16445"/>
                  <a:gd name="connsiteY1" fmla="*/ 112250 h 1122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6445" h="112250">
                    <a:moveTo>
                      <a:pt x="0" y="0"/>
                    </a:moveTo>
                    <a:lnTo>
                      <a:pt x="16445" y="11225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329" name="Forma livre: Forma 1328">
                <a:extLst>
                  <a:ext uri="{FF2B5EF4-FFF2-40B4-BE49-F238E27FC236}">
                    <a16:creationId xmlns:a16="http://schemas.microsoft.com/office/drawing/2014/main" id="{CA13E0F4-0DED-4870-300D-B058987327CD}"/>
                  </a:ext>
                </a:extLst>
              </p:cNvPr>
              <p:cNvSpPr/>
              <p:nvPr/>
            </p:nvSpPr>
            <p:spPr>
              <a:xfrm>
                <a:off x="3798121" y="3671726"/>
                <a:ext cx="131954" cy="1184"/>
              </a:xfrm>
              <a:custGeom>
                <a:avLst/>
                <a:gdLst>
                  <a:gd name="connsiteX0" fmla="*/ 131954 w 131954"/>
                  <a:gd name="connsiteY0" fmla="*/ 0 h 1184"/>
                  <a:gd name="connsiteX1" fmla="*/ 0 w 131954"/>
                  <a:gd name="connsiteY1" fmla="*/ 0 h 11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31954" h="1184">
                    <a:moveTo>
                      <a:pt x="131954" y="0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330" name="Forma livre: Forma 1329">
                <a:extLst>
                  <a:ext uri="{FF2B5EF4-FFF2-40B4-BE49-F238E27FC236}">
                    <a16:creationId xmlns:a16="http://schemas.microsoft.com/office/drawing/2014/main" id="{E13D92A9-EDC8-500F-D016-20415069F6C9}"/>
                  </a:ext>
                </a:extLst>
              </p:cNvPr>
              <p:cNvSpPr/>
              <p:nvPr/>
            </p:nvSpPr>
            <p:spPr>
              <a:xfrm>
                <a:off x="3822433" y="3765517"/>
                <a:ext cx="191076" cy="57262"/>
              </a:xfrm>
              <a:custGeom>
                <a:avLst/>
                <a:gdLst>
                  <a:gd name="connsiteX0" fmla="*/ 191077 w 191076"/>
                  <a:gd name="connsiteY0" fmla="*/ 57263 h 57262"/>
                  <a:gd name="connsiteX1" fmla="*/ 8969 w 191076"/>
                  <a:gd name="connsiteY1" fmla="*/ 57263 h 57262"/>
                  <a:gd name="connsiteX2" fmla="*/ 13708 w 191076"/>
                  <a:gd name="connsiteY2" fmla="*/ 27061 h 57262"/>
                  <a:gd name="connsiteX3" fmla="*/ 178423 w 191076"/>
                  <a:gd name="connsiteY3" fmla="*/ 0 h 572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91076" h="57262">
                    <a:moveTo>
                      <a:pt x="191077" y="57263"/>
                    </a:moveTo>
                    <a:lnTo>
                      <a:pt x="8969" y="57263"/>
                    </a:lnTo>
                    <a:cubicBezTo>
                      <a:pt x="-2832" y="57263"/>
                      <a:pt x="-4656" y="31102"/>
                      <a:pt x="13708" y="27061"/>
                    </a:cubicBezTo>
                    <a:lnTo>
                      <a:pt x="178423" y="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331" name="Forma livre: Forma 1330">
                <a:extLst>
                  <a:ext uri="{FF2B5EF4-FFF2-40B4-BE49-F238E27FC236}">
                    <a16:creationId xmlns:a16="http://schemas.microsoft.com/office/drawing/2014/main" id="{16E59777-8932-8064-6E47-715B9D6CB0C8}"/>
                  </a:ext>
                </a:extLst>
              </p:cNvPr>
              <p:cNvSpPr/>
              <p:nvPr/>
            </p:nvSpPr>
            <p:spPr>
              <a:xfrm>
                <a:off x="3749543" y="3634416"/>
                <a:ext cx="75686" cy="133529"/>
              </a:xfrm>
              <a:custGeom>
                <a:avLst/>
                <a:gdLst>
                  <a:gd name="connsiteX0" fmla="*/ 75687 w 75686"/>
                  <a:gd name="connsiteY0" fmla="*/ 133530 h 133529"/>
                  <a:gd name="connsiteX1" fmla="*/ 33957 w 75686"/>
                  <a:gd name="connsiteY1" fmla="*/ 0 h 133529"/>
                  <a:gd name="connsiteX2" fmla="*/ 0 w 75686"/>
                  <a:gd name="connsiteY2" fmla="*/ 0 h 1335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75686" h="133529">
                    <a:moveTo>
                      <a:pt x="75687" y="133530"/>
                    </a:moveTo>
                    <a:lnTo>
                      <a:pt x="33957" y="0"/>
                    </a:lnTo>
                    <a:lnTo>
                      <a:pt x="0" y="0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1332" name="Gráfico 14">
                <a:extLst>
                  <a:ext uri="{FF2B5EF4-FFF2-40B4-BE49-F238E27FC236}">
                    <a16:creationId xmlns:a16="http://schemas.microsoft.com/office/drawing/2014/main" id="{970DA9F2-7BB4-0334-D8DE-D29AAD06949E}"/>
                  </a:ext>
                </a:extLst>
              </p:cNvPr>
              <p:cNvGrpSpPr/>
              <p:nvPr/>
            </p:nvGrpSpPr>
            <p:grpSpPr>
              <a:xfrm>
                <a:off x="3825193" y="3839721"/>
                <a:ext cx="176113" cy="50938"/>
                <a:chOff x="3825193" y="3839721"/>
                <a:chExt cx="176113" cy="50938"/>
              </a:xfrm>
              <a:noFill/>
            </p:grpSpPr>
            <p:sp>
              <p:nvSpPr>
                <p:cNvPr id="1333" name="Forma livre: Forma 1332">
                  <a:extLst>
                    <a:ext uri="{FF2B5EF4-FFF2-40B4-BE49-F238E27FC236}">
                      <a16:creationId xmlns:a16="http://schemas.microsoft.com/office/drawing/2014/main" id="{EFCA4DD1-8813-9282-E759-4B1601C294CF}"/>
                    </a:ext>
                  </a:extLst>
                </p:cNvPr>
                <p:cNvSpPr/>
                <p:nvPr/>
              </p:nvSpPr>
              <p:spPr>
                <a:xfrm rot="-2700000">
                  <a:off x="3832653" y="3847181"/>
                  <a:ext cx="36018" cy="36018"/>
                </a:xfrm>
                <a:custGeom>
                  <a:avLst/>
                  <a:gdLst>
                    <a:gd name="connsiteX0" fmla="*/ 36019 w 36018"/>
                    <a:gd name="connsiteY0" fmla="*/ 18009 h 36018"/>
                    <a:gd name="connsiteX1" fmla="*/ 18009 w 36018"/>
                    <a:gd name="connsiteY1" fmla="*/ 36019 h 36018"/>
                    <a:gd name="connsiteX2" fmla="*/ 0 w 36018"/>
                    <a:gd name="connsiteY2" fmla="*/ 18009 h 36018"/>
                    <a:gd name="connsiteX3" fmla="*/ 18009 w 36018"/>
                    <a:gd name="connsiteY3" fmla="*/ 0 h 36018"/>
                    <a:gd name="connsiteX4" fmla="*/ 36019 w 36018"/>
                    <a:gd name="connsiteY4" fmla="*/ 18009 h 3601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6018" h="36018">
                      <a:moveTo>
                        <a:pt x="36019" y="18009"/>
                      </a:moveTo>
                      <a:cubicBezTo>
                        <a:pt x="36019" y="27956"/>
                        <a:pt x="27956" y="36019"/>
                        <a:pt x="18009" y="36019"/>
                      </a:cubicBezTo>
                      <a:cubicBezTo>
                        <a:pt x="8063" y="36019"/>
                        <a:pt x="0" y="27956"/>
                        <a:pt x="0" y="18009"/>
                      </a:cubicBezTo>
                      <a:cubicBezTo>
                        <a:pt x="0" y="8063"/>
                        <a:pt x="8063" y="0"/>
                        <a:pt x="18009" y="0"/>
                      </a:cubicBezTo>
                      <a:cubicBezTo>
                        <a:pt x="27956" y="0"/>
                        <a:pt x="36019" y="8063"/>
                        <a:pt x="36019" y="18009"/>
                      </a:cubicBezTo>
                      <a:close/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334" name="Forma livre: Forma 1333">
                  <a:extLst>
                    <a:ext uri="{FF2B5EF4-FFF2-40B4-BE49-F238E27FC236}">
                      <a16:creationId xmlns:a16="http://schemas.microsoft.com/office/drawing/2014/main" id="{B446C74C-DAAA-752F-48FB-59D80B668037}"/>
                    </a:ext>
                  </a:extLst>
                </p:cNvPr>
                <p:cNvSpPr/>
                <p:nvPr/>
              </p:nvSpPr>
              <p:spPr>
                <a:xfrm>
                  <a:off x="3965276" y="3847175"/>
                  <a:ext cx="36030" cy="36018"/>
                </a:xfrm>
                <a:custGeom>
                  <a:avLst/>
                  <a:gdLst>
                    <a:gd name="connsiteX0" fmla="*/ 36030 w 36030"/>
                    <a:gd name="connsiteY0" fmla="*/ 18009 h 36018"/>
                    <a:gd name="connsiteX1" fmla="*/ 18021 w 36030"/>
                    <a:gd name="connsiteY1" fmla="*/ 36019 h 36018"/>
                    <a:gd name="connsiteX2" fmla="*/ 0 w 36030"/>
                    <a:gd name="connsiteY2" fmla="*/ 18009 h 36018"/>
                    <a:gd name="connsiteX3" fmla="*/ 18021 w 36030"/>
                    <a:gd name="connsiteY3" fmla="*/ 0 h 36018"/>
                    <a:gd name="connsiteX4" fmla="*/ 36030 w 36030"/>
                    <a:gd name="connsiteY4" fmla="*/ 18009 h 3601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6030" h="36018">
                      <a:moveTo>
                        <a:pt x="36030" y="18009"/>
                      </a:moveTo>
                      <a:cubicBezTo>
                        <a:pt x="36030" y="27950"/>
                        <a:pt x="27962" y="36019"/>
                        <a:pt x="18021" y="36019"/>
                      </a:cubicBezTo>
                      <a:cubicBezTo>
                        <a:pt x="8080" y="36019"/>
                        <a:pt x="0" y="27962"/>
                        <a:pt x="0" y="18009"/>
                      </a:cubicBezTo>
                      <a:cubicBezTo>
                        <a:pt x="0" y="8057"/>
                        <a:pt x="8057" y="0"/>
                        <a:pt x="18021" y="0"/>
                      </a:cubicBezTo>
                      <a:cubicBezTo>
                        <a:pt x="27986" y="0"/>
                        <a:pt x="36030" y="8069"/>
                        <a:pt x="36030" y="18009"/>
                      </a:cubicBezTo>
                      <a:close/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</p:grpSp>
      <p:grpSp>
        <p:nvGrpSpPr>
          <p:cNvPr id="1335" name="Gráfico 14">
            <a:extLst>
              <a:ext uri="{FF2B5EF4-FFF2-40B4-BE49-F238E27FC236}">
                <a16:creationId xmlns:a16="http://schemas.microsoft.com/office/drawing/2014/main" id="{B826E257-814A-4C3B-2C96-4167EAA82ADF}"/>
              </a:ext>
            </a:extLst>
          </p:cNvPr>
          <p:cNvGrpSpPr/>
          <p:nvPr/>
        </p:nvGrpSpPr>
        <p:grpSpPr>
          <a:xfrm>
            <a:off x="3147320" y="3594286"/>
            <a:ext cx="330400" cy="284500"/>
            <a:chOff x="3147320" y="3594286"/>
            <a:chExt cx="330400" cy="284500"/>
          </a:xfrm>
          <a:noFill/>
        </p:grpSpPr>
        <p:grpSp>
          <p:nvGrpSpPr>
            <p:cNvPr id="1336" name="Gráfico 14">
              <a:extLst>
                <a:ext uri="{FF2B5EF4-FFF2-40B4-BE49-F238E27FC236}">
                  <a16:creationId xmlns:a16="http://schemas.microsoft.com/office/drawing/2014/main" id="{2EF74FF3-446B-3739-4B66-101F26AC78BA}"/>
                </a:ext>
              </a:extLst>
            </p:cNvPr>
            <p:cNvGrpSpPr/>
            <p:nvPr/>
          </p:nvGrpSpPr>
          <p:grpSpPr>
            <a:xfrm>
              <a:off x="3261489" y="3682875"/>
              <a:ext cx="102060" cy="107333"/>
              <a:chOff x="3261489" y="3682875"/>
              <a:chExt cx="102060" cy="107333"/>
            </a:xfrm>
            <a:noFill/>
          </p:grpSpPr>
          <p:sp>
            <p:nvSpPr>
              <p:cNvPr id="1337" name="Forma livre: Forma 1336">
                <a:extLst>
                  <a:ext uri="{FF2B5EF4-FFF2-40B4-BE49-F238E27FC236}">
                    <a16:creationId xmlns:a16="http://schemas.microsoft.com/office/drawing/2014/main" id="{C67504EE-CCB9-8E56-B0D6-21B26E49E8F4}"/>
                  </a:ext>
                </a:extLst>
              </p:cNvPr>
              <p:cNvSpPr/>
              <p:nvPr/>
            </p:nvSpPr>
            <p:spPr>
              <a:xfrm>
                <a:off x="3277899" y="3686299"/>
                <a:ext cx="69253" cy="100485"/>
              </a:xfrm>
              <a:custGeom>
                <a:avLst/>
                <a:gdLst>
                  <a:gd name="connsiteX0" fmla="*/ 69253 w 69253"/>
                  <a:gd name="connsiteY0" fmla="*/ 0 h 100485"/>
                  <a:gd name="connsiteX1" fmla="*/ 0 w 69253"/>
                  <a:gd name="connsiteY1" fmla="*/ 100485 h 1004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9253" h="100485">
                    <a:moveTo>
                      <a:pt x="69253" y="0"/>
                    </a:moveTo>
                    <a:lnTo>
                      <a:pt x="0" y="100485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1338" name="Gráfico 14">
                <a:extLst>
                  <a:ext uri="{FF2B5EF4-FFF2-40B4-BE49-F238E27FC236}">
                    <a16:creationId xmlns:a16="http://schemas.microsoft.com/office/drawing/2014/main" id="{C2E08015-E16A-7505-4EDB-A2D56AE0D903}"/>
                  </a:ext>
                </a:extLst>
              </p:cNvPr>
              <p:cNvGrpSpPr/>
              <p:nvPr/>
            </p:nvGrpSpPr>
            <p:grpSpPr>
              <a:xfrm>
                <a:off x="3261489" y="3682875"/>
                <a:ext cx="102060" cy="107333"/>
                <a:chOff x="3261489" y="3682875"/>
                <a:chExt cx="102060" cy="107333"/>
              </a:xfrm>
              <a:noFill/>
            </p:grpSpPr>
            <p:sp>
              <p:nvSpPr>
                <p:cNvPr id="1339" name="Forma livre: Forma 1338">
                  <a:extLst>
                    <a:ext uri="{FF2B5EF4-FFF2-40B4-BE49-F238E27FC236}">
                      <a16:creationId xmlns:a16="http://schemas.microsoft.com/office/drawing/2014/main" id="{E055129B-7704-6564-CF74-A6862B6DE8CB}"/>
                    </a:ext>
                  </a:extLst>
                </p:cNvPr>
                <p:cNvSpPr/>
                <p:nvPr/>
              </p:nvSpPr>
              <p:spPr>
                <a:xfrm>
                  <a:off x="3261489" y="3682875"/>
                  <a:ext cx="36954" cy="36978"/>
                </a:xfrm>
                <a:custGeom>
                  <a:avLst/>
                  <a:gdLst>
                    <a:gd name="connsiteX0" fmla="*/ 36955 w 36954"/>
                    <a:gd name="connsiteY0" fmla="*/ 18483 h 36978"/>
                    <a:gd name="connsiteX1" fmla="*/ 18483 w 36954"/>
                    <a:gd name="connsiteY1" fmla="*/ 36978 h 36978"/>
                    <a:gd name="connsiteX2" fmla="*/ 0 w 36954"/>
                    <a:gd name="connsiteY2" fmla="*/ 18483 h 36978"/>
                    <a:gd name="connsiteX3" fmla="*/ 18483 w 36954"/>
                    <a:gd name="connsiteY3" fmla="*/ 0 h 36978"/>
                    <a:gd name="connsiteX4" fmla="*/ 36955 w 36954"/>
                    <a:gd name="connsiteY4" fmla="*/ 18483 h 369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6954" h="36978">
                      <a:moveTo>
                        <a:pt x="36955" y="18483"/>
                      </a:moveTo>
                      <a:cubicBezTo>
                        <a:pt x="36955" y="28685"/>
                        <a:pt x="28685" y="36978"/>
                        <a:pt x="18483" y="36978"/>
                      </a:cubicBezTo>
                      <a:cubicBezTo>
                        <a:pt x="8282" y="36978"/>
                        <a:pt x="0" y="28696"/>
                        <a:pt x="0" y="18483"/>
                      </a:cubicBezTo>
                      <a:cubicBezTo>
                        <a:pt x="0" y="8270"/>
                        <a:pt x="8270" y="0"/>
                        <a:pt x="18483" y="0"/>
                      </a:cubicBezTo>
                      <a:cubicBezTo>
                        <a:pt x="28697" y="0"/>
                        <a:pt x="36955" y="8282"/>
                        <a:pt x="36955" y="18483"/>
                      </a:cubicBezTo>
                      <a:close/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340" name="Forma livre: Forma 1339">
                  <a:extLst>
                    <a:ext uri="{FF2B5EF4-FFF2-40B4-BE49-F238E27FC236}">
                      <a16:creationId xmlns:a16="http://schemas.microsoft.com/office/drawing/2014/main" id="{63C42EF5-556B-F617-96B0-55B3DE7E811F}"/>
                    </a:ext>
                  </a:extLst>
                </p:cNvPr>
                <p:cNvSpPr/>
                <p:nvPr/>
              </p:nvSpPr>
              <p:spPr>
                <a:xfrm>
                  <a:off x="3326584" y="3753230"/>
                  <a:ext cx="36966" cy="36978"/>
                </a:xfrm>
                <a:custGeom>
                  <a:avLst/>
                  <a:gdLst>
                    <a:gd name="connsiteX0" fmla="*/ 36967 w 36966"/>
                    <a:gd name="connsiteY0" fmla="*/ 18483 h 36978"/>
                    <a:gd name="connsiteX1" fmla="*/ 18471 w 36966"/>
                    <a:gd name="connsiteY1" fmla="*/ 36978 h 36978"/>
                    <a:gd name="connsiteX2" fmla="*/ 0 w 36966"/>
                    <a:gd name="connsiteY2" fmla="*/ 18483 h 36978"/>
                    <a:gd name="connsiteX3" fmla="*/ 18471 w 36966"/>
                    <a:gd name="connsiteY3" fmla="*/ 0 h 36978"/>
                    <a:gd name="connsiteX4" fmla="*/ 36967 w 36966"/>
                    <a:gd name="connsiteY4" fmla="*/ 18483 h 369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6966" h="36978">
                      <a:moveTo>
                        <a:pt x="36967" y="18483"/>
                      </a:moveTo>
                      <a:cubicBezTo>
                        <a:pt x="36967" y="28685"/>
                        <a:pt x="28685" y="36978"/>
                        <a:pt x="18471" y="36978"/>
                      </a:cubicBezTo>
                      <a:cubicBezTo>
                        <a:pt x="8258" y="36978"/>
                        <a:pt x="0" y="28696"/>
                        <a:pt x="0" y="18483"/>
                      </a:cubicBezTo>
                      <a:cubicBezTo>
                        <a:pt x="0" y="8270"/>
                        <a:pt x="8282" y="0"/>
                        <a:pt x="18471" y="0"/>
                      </a:cubicBezTo>
                      <a:cubicBezTo>
                        <a:pt x="28661" y="0"/>
                        <a:pt x="36967" y="8282"/>
                        <a:pt x="36967" y="18483"/>
                      </a:cubicBezTo>
                      <a:close/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grpSp>
          <p:nvGrpSpPr>
            <p:cNvPr id="1341" name="Gráfico 14">
              <a:extLst>
                <a:ext uri="{FF2B5EF4-FFF2-40B4-BE49-F238E27FC236}">
                  <a16:creationId xmlns:a16="http://schemas.microsoft.com/office/drawing/2014/main" id="{8F5548A2-B2B0-E393-4AA9-22EAD497B78D}"/>
                </a:ext>
              </a:extLst>
            </p:cNvPr>
            <p:cNvGrpSpPr/>
            <p:nvPr/>
          </p:nvGrpSpPr>
          <p:grpSpPr>
            <a:xfrm>
              <a:off x="3147320" y="3594286"/>
              <a:ext cx="330400" cy="284500"/>
              <a:chOff x="3147320" y="3594286"/>
              <a:chExt cx="330400" cy="284500"/>
            </a:xfrm>
            <a:noFill/>
          </p:grpSpPr>
          <p:grpSp>
            <p:nvGrpSpPr>
              <p:cNvPr id="1342" name="Gráfico 14">
                <a:extLst>
                  <a:ext uri="{FF2B5EF4-FFF2-40B4-BE49-F238E27FC236}">
                    <a16:creationId xmlns:a16="http://schemas.microsoft.com/office/drawing/2014/main" id="{3A2ECDD8-3372-4016-8CDD-A56BC44F18B6}"/>
                  </a:ext>
                </a:extLst>
              </p:cNvPr>
              <p:cNvGrpSpPr/>
              <p:nvPr/>
            </p:nvGrpSpPr>
            <p:grpSpPr>
              <a:xfrm>
                <a:off x="3147320" y="3594286"/>
                <a:ext cx="270685" cy="206870"/>
                <a:chOff x="3147320" y="3594286"/>
                <a:chExt cx="270685" cy="206870"/>
              </a:xfrm>
              <a:noFill/>
            </p:grpSpPr>
            <p:sp>
              <p:nvSpPr>
                <p:cNvPr id="1343" name="Forma livre: Forma 1342">
                  <a:extLst>
                    <a:ext uri="{FF2B5EF4-FFF2-40B4-BE49-F238E27FC236}">
                      <a16:creationId xmlns:a16="http://schemas.microsoft.com/office/drawing/2014/main" id="{479AD3FE-6F81-BC24-F1A3-A293721FF178}"/>
                    </a:ext>
                  </a:extLst>
                </p:cNvPr>
                <p:cNvSpPr/>
                <p:nvPr/>
              </p:nvSpPr>
              <p:spPr>
                <a:xfrm>
                  <a:off x="3147320" y="3614783"/>
                  <a:ext cx="251633" cy="186373"/>
                </a:xfrm>
                <a:custGeom>
                  <a:avLst/>
                  <a:gdLst>
                    <a:gd name="connsiteX0" fmla="*/ 91682 w 251633"/>
                    <a:gd name="connsiteY0" fmla="*/ 0 h 186373"/>
                    <a:gd name="connsiteX1" fmla="*/ 23009 w 251633"/>
                    <a:gd name="connsiteY1" fmla="*/ 121824 h 186373"/>
                    <a:gd name="connsiteX2" fmla="*/ 0 w 251633"/>
                    <a:gd name="connsiteY2" fmla="*/ 121824 h 186373"/>
                    <a:gd name="connsiteX3" fmla="*/ 41777 w 251633"/>
                    <a:gd name="connsiteY3" fmla="*/ 186373 h 186373"/>
                    <a:gd name="connsiteX4" fmla="*/ 83601 w 251633"/>
                    <a:gd name="connsiteY4" fmla="*/ 121824 h 186373"/>
                    <a:gd name="connsiteX5" fmla="*/ 59727 w 251633"/>
                    <a:gd name="connsiteY5" fmla="*/ 121824 h 186373"/>
                    <a:gd name="connsiteX6" fmla="*/ 165200 w 251633"/>
                    <a:gd name="connsiteY6" fmla="*/ 16244 h 186373"/>
                    <a:gd name="connsiteX7" fmla="*/ 251633 w 251633"/>
                    <a:gd name="connsiteY7" fmla="*/ 61267 h 18637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251633" h="186373">
                      <a:moveTo>
                        <a:pt x="91682" y="0"/>
                      </a:moveTo>
                      <a:cubicBezTo>
                        <a:pt x="50521" y="24952"/>
                        <a:pt x="23009" y="70201"/>
                        <a:pt x="23009" y="121824"/>
                      </a:cubicBezTo>
                      <a:lnTo>
                        <a:pt x="0" y="121824"/>
                      </a:lnTo>
                      <a:lnTo>
                        <a:pt x="41777" y="186373"/>
                      </a:lnTo>
                      <a:lnTo>
                        <a:pt x="83601" y="121824"/>
                      </a:lnTo>
                      <a:lnTo>
                        <a:pt x="59727" y="121824"/>
                      </a:lnTo>
                      <a:cubicBezTo>
                        <a:pt x="59727" y="63590"/>
                        <a:pt x="106954" y="16244"/>
                        <a:pt x="165200" y="16244"/>
                      </a:cubicBezTo>
                      <a:cubicBezTo>
                        <a:pt x="200958" y="16244"/>
                        <a:pt x="232558" y="34040"/>
                        <a:pt x="251633" y="61267"/>
                      </a:cubicBez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344" name="Forma livre: Forma 1343">
                  <a:extLst>
                    <a:ext uri="{FF2B5EF4-FFF2-40B4-BE49-F238E27FC236}">
                      <a16:creationId xmlns:a16="http://schemas.microsoft.com/office/drawing/2014/main" id="{71E96935-2A24-17CA-8F16-8D9A133626FB}"/>
                    </a:ext>
                  </a:extLst>
                </p:cNvPr>
                <p:cNvSpPr/>
                <p:nvPr/>
              </p:nvSpPr>
              <p:spPr>
                <a:xfrm>
                  <a:off x="3254203" y="3594286"/>
                  <a:ext cx="67381" cy="12499"/>
                </a:xfrm>
                <a:custGeom>
                  <a:avLst/>
                  <a:gdLst>
                    <a:gd name="connsiteX0" fmla="*/ 67381 w 67381"/>
                    <a:gd name="connsiteY0" fmla="*/ 284 h 12499"/>
                    <a:gd name="connsiteX1" fmla="*/ 58329 w 67381"/>
                    <a:gd name="connsiteY1" fmla="*/ 0 h 12499"/>
                    <a:gd name="connsiteX2" fmla="*/ 0 w 67381"/>
                    <a:gd name="connsiteY2" fmla="*/ 12500 h 1249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67381" h="12499">
                      <a:moveTo>
                        <a:pt x="67381" y="284"/>
                      </a:moveTo>
                      <a:cubicBezTo>
                        <a:pt x="64383" y="95"/>
                        <a:pt x="61374" y="0"/>
                        <a:pt x="58329" y="0"/>
                      </a:cubicBezTo>
                      <a:cubicBezTo>
                        <a:pt x="37547" y="0"/>
                        <a:pt x="17796" y="4467"/>
                        <a:pt x="0" y="12500"/>
                      </a:cubicBez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345" name="Forma livre: Forma 1344">
                  <a:extLst>
                    <a:ext uri="{FF2B5EF4-FFF2-40B4-BE49-F238E27FC236}">
                      <a16:creationId xmlns:a16="http://schemas.microsoft.com/office/drawing/2014/main" id="{E44E710A-FD09-303C-08D7-8990D1C1A57C}"/>
                    </a:ext>
                  </a:extLst>
                </p:cNvPr>
                <p:cNvSpPr/>
                <p:nvPr/>
              </p:nvSpPr>
              <p:spPr>
                <a:xfrm>
                  <a:off x="3340055" y="3596952"/>
                  <a:ext cx="40248" cy="14502"/>
                </a:xfrm>
                <a:custGeom>
                  <a:avLst/>
                  <a:gdLst>
                    <a:gd name="connsiteX0" fmla="*/ 40249 w 40248"/>
                    <a:gd name="connsiteY0" fmla="*/ 14502 h 14502"/>
                    <a:gd name="connsiteX1" fmla="*/ 0 w 40248"/>
                    <a:gd name="connsiteY1" fmla="*/ 0 h 1450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0248" h="14502">
                      <a:moveTo>
                        <a:pt x="40249" y="14502"/>
                      </a:moveTo>
                      <a:cubicBezTo>
                        <a:pt x="27832" y="7761"/>
                        <a:pt x="14301" y="2808"/>
                        <a:pt x="0" y="0"/>
                      </a:cubicBez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346" name="Forma livre: Forma 1345">
                  <a:extLst>
                    <a:ext uri="{FF2B5EF4-FFF2-40B4-BE49-F238E27FC236}">
                      <a16:creationId xmlns:a16="http://schemas.microsoft.com/office/drawing/2014/main" id="{252EBEE5-8E6D-631B-BE0D-A819FAD4A600}"/>
                    </a:ext>
                  </a:extLst>
                </p:cNvPr>
                <p:cNvSpPr/>
                <p:nvPr/>
              </p:nvSpPr>
              <p:spPr>
                <a:xfrm>
                  <a:off x="3394119" y="3620020"/>
                  <a:ext cx="23886" cy="21113"/>
                </a:xfrm>
                <a:custGeom>
                  <a:avLst/>
                  <a:gdLst>
                    <a:gd name="connsiteX0" fmla="*/ 23886 w 23886"/>
                    <a:gd name="connsiteY0" fmla="*/ 21114 h 21113"/>
                    <a:gd name="connsiteX1" fmla="*/ 0 w 23886"/>
                    <a:gd name="connsiteY1" fmla="*/ 0 h 2111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3886" h="21113">
                      <a:moveTo>
                        <a:pt x="23886" y="21114"/>
                      </a:moveTo>
                      <a:cubicBezTo>
                        <a:pt x="16742" y="13223"/>
                        <a:pt x="8732" y="6137"/>
                        <a:pt x="0" y="0"/>
                      </a:cubicBez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1347" name="Gráfico 14">
                <a:extLst>
                  <a:ext uri="{FF2B5EF4-FFF2-40B4-BE49-F238E27FC236}">
                    <a16:creationId xmlns:a16="http://schemas.microsoft.com/office/drawing/2014/main" id="{82173643-8872-F8B7-8243-4565967F9A5D}"/>
                  </a:ext>
                </a:extLst>
              </p:cNvPr>
              <p:cNvGrpSpPr/>
              <p:nvPr/>
            </p:nvGrpSpPr>
            <p:grpSpPr>
              <a:xfrm>
                <a:off x="3207035" y="3671928"/>
                <a:ext cx="270685" cy="206858"/>
                <a:chOff x="3207035" y="3671928"/>
                <a:chExt cx="270685" cy="206858"/>
              </a:xfrm>
              <a:noFill/>
            </p:grpSpPr>
            <p:sp>
              <p:nvSpPr>
                <p:cNvPr id="1348" name="Forma livre: Forma 1347">
                  <a:extLst>
                    <a:ext uri="{FF2B5EF4-FFF2-40B4-BE49-F238E27FC236}">
                      <a16:creationId xmlns:a16="http://schemas.microsoft.com/office/drawing/2014/main" id="{0DC48265-1E1C-633F-1436-9B5635B550FB}"/>
                    </a:ext>
                  </a:extLst>
                </p:cNvPr>
                <p:cNvSpPr/>
                <p:nvPr/>
              </p:nvSpPr>
              <p:spPr>
                <a:xfrm>
                  <a:off x="3226087" y="3671928"/>
                  <a:ext cx="251633" cy="186361"/>
                </a:xfrm>
                <a:custGeom>
                  <a:avLst/>
                  <a:gdLst>
                    <a:gd name="connsiteX0" fmla="*/ 159951 w 251633"/>
                    <a:gd name="connsiteY0" fmla="*/ 186361 h 186361"/>
                    <a:gd name="connsiteX1" fmla="*/ 228624 w 251633"/>
                    <a:gd name="connsiteY1" fmla="*/ 64537 h 186361"/>
                    <a:gd name="connsiteX2" fmla="*/ 251633 w 251633"/>
                    <a:gd name="connsiteY2" fmla="*/ 64537 h 186361"/>
                    <a:gd name="connsiteX3" fmla="*/ 209856 w 251633"/>
                    <a:gd name="connsiteY3" fmla="*/ 0 h 186361"/>
                    <a:gd name="connsiteX4" fmla="*/ 168032 w 251633"/>
                    <a:gd name="connsiteY4" fmla="*/ 64537 h 186361"/>
                    <a:gd name="connsiteX5" fmla="*/ 191906 w 251633"/>
                    <a:gd name="connsiteY5" fmla="*/ 64537 h 186361"/>
                    <a:gd name="connsiteX6" fmla="*/ 86433 w 251633"/>
                    <a:gd name="connsiteY6" fmla="*/ 170117 h 186361"/>
                    <a:gd name="connsiteX7" fmla="*/ 0 w 251633"/>
                    <a:gd name="connsiteY7" fmla="*/ 125094 h 18636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251633" h="186361">
                      <a:moveTo>
                        <a:pt x="159951" y="186361"/>
                      </a:moveTo>
                      <a:cubicBezTo>
                        <a:pt x="201112" y="161409"/>
                        <a:pt x="228624" y="116160"/>
                        <a:pt x="228624" y="64537"/>
                      </a:cubicBezTo>
                      <a:lnTo>
                        <a:pt x="251633" y="64537"/>
                      </a:lnTo>
                      <a:lnTo>
                        <a:pt x="209856" y="0"/>
                      </a:lnTo>
                      <a:lnTo>
                        <a:pt x="168032" y="64537"/>
                      </a:lnTo>
                      <a:lnTo>
                        <a:pt x="191906" y="64537"/>
                      </a:lnTo>
                      <a:cubicBezTo>
                        <a:pt x="191906" y="122772"/>
                        <a:pt x="144679" y="170117"/>
                        <a:pt x="86433" y="170117"/>
                      </a:cubicBezTo>
                      <a:cubicBezTo>
                        <a:pt x="50675" y="170117"/>
                        <a:pt x="19076" y="152321"/>
                        <a:pt x="0" y="125094"/>
                      </a:cubicBez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349" name="Forma livre: Forma 1348">
                  <a:extLst>
                    <a:ext uri="{FF2B5EF4-FFF2-40B4-BE49-F238E27FC236}">
                      <a16:creationId xmlns:a16="http://schemas.microsoft.com/office/drawing/2014/main" id="{D821CCBA-D059-3BE5-C875-2C4299C9A0F8}"/>
                    </a:ext>
                  </a:extLst>
                </p:cNvPr>
                <p:cNvSpPr/>
                <p:nvPr/>
              </p:nvSpPr>
              <p:spPr>
                <a:xfrm>
                  <a:off x="3303456" y="3866286"/>
                  <a:ext cx="67381" cy="12499"/>
                </a:xfrm>
                <a:custGeom>
                  <a:avLst/>
                  <a:gdLst>
                    <a:gd name="connsiteX0" fmla="*/ 0 w 67381"/>
                    <a:gd name="connsiteY0" fmla="*/ 12216 h 12499"/>
                    <a:gd name="connsiteX1" fmla="*/ 9052 w 67381"/>
                    <a:gd name="connsiteY1" fmla="*/ 12500 h 12499"/>
                    <a:gd name="connsiteX2" fmla="*/ 67381 w 67381"/>
                    <a:gd name="connsiteY2" fmla="*/ 0 h 1249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67381" h="12499">
                      <a:moveTo>
                        <a:pt x="0" y="12216"/>
                      </a:moveTo>
                      <a:cubicBezTo>
                        <a:pt x="2998" y="12405"/>
                        <a:pt x="6007" y="12500"/>
                        <a:pt x="9052" y="12500"/>
                      </a:cubicBezTo>
                      <a:cubicBezTo>
                        <a:pt x="29834" y="12500"/>
                        <a:pt x="49585" y="8033"/>
                        <a:pt x="67381" y="0"/>
                      </a:cubicBez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350" name="Forma livre: Forma 1349">
                  <a:extLst>
                    <a:ext uri="{FF2B5EF4-FFF2-40B4-BE49-F238E27FC236}">
                      <a16:creationId xmlns:a16="http://schemas.microsoft.com/office/drawing/2014/main" id="{30FEDAC0-D60E-4215-BDFF-8FA7A2166B56}"/>
                    </a:ext>
                  </a:extLst>
                </p:cNvPr>
                <p:cNvSpPr/>
                <p:nvPr/>
              </p:nvSpPr>
              <p:spPr>
                <a:xfrm>
                  <a:off x="3244724" y="3861618"/>
                  <a:ext cx="40248" cy="14502"/>
                </a:xfrm>
                <a:custGeom>
                  <a:avLst/>
                  <a:gdLst>
                    <a:gd name="connsiteX0" fmla="*/ 0 w 40248"/>
                    <a:gd name="connsiteY0" fmla="*/ 0 h 14502"/>
                    <a:gd name="connsiteX1" fmla="*/ 40248 w 40248"/>
                    <a:gd name="connsiteY1" fmla="*/ 14502 h 1450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0248" h="14502">
                      <a:moveTo>
                        <a:pt x="0" y="0"/>
                      </a:moveTo>
                      <a:cubicBezTo>
                        <a:pt x="12417" y="6742"/>
                        <a:pt x="25948" y="11694"/>
                        <a:pt x="40248" y="14502"/>
                      </a:cubicBez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351" name="Forma livre: Forma 1350">
                  <a:extLst>
                    <a:ext uri="{FF2B5EF4-FFF2-40B4-BE49-F238E27FC236}">
                      <a16:creationId xmlns:a16="http://schemas.microsoft.com/office/drawing/2014/main" id="{A9E50969-27E1-350A-0654-423A5FEC387C}"/>
                    </a:ext>
                  </a:extLst>
                </p:cNvPr>
                <p:cNvSpPr/>
                <p:nvPr/>
              </p:nvSpPr>
              <p:spPr>
                <a:xfrm>
                  <a:off x="3207035" y="3831938"/>
                  <a:ext cx="23886" cy="21113"/>
                </a:xfrm>
                <a:custGeom>
                  <a:avLst/>
                  <a:gdLst>
                    <a:gd name="connsiteX0" fmla="*/ 0 w 23886"/>
                    <a:gd name="connsiteY0" fmla="*/ 0 h 21113"/>
                    <a:gd name="connsiteX1" fmla="*/ 23886 w 23886"/>
                    <a:gd name="connsiteY1" fmla="*/ 21114 h 2111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3886" h="21113">
                      <a:moveTo>
                        <a:pt x="0" y="0"/>
                      </a:moveTo>
                      <a:cubicBezTo>
                        <a:pt x="7144" y="7891"/>
                        <a:pt x="15154" y="14988"/>
                        <a:pt x="23886" y="21114"/>
                      </a:cubicBez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</p:grpSp>
      <p:grpSp>
        <p:nvGrpSpPr>
          <p:cNvPr id="1352" name="Gráfico 14">
            <a:extLst>
              <a:ext uri="{FF2B5EF4-FFF2-40B4-BE49-F238E27FC236}">
                <a16:creationId xmlns:a16="http://schemas.microsoft.com/office/drawing/2014/main" id="{CC25E789-26BF-336B-003D-A8AD75C978A0}"/>
              </a:ext>
            </a:extLst>
          </p:cNvPr>
          <p:cNvGrpSpPr/>
          <p:nvPr/>
        </p:nvGrpSpPr>
        <p:grpSpPr>
          <a:xfrm>
            <a:off x="2534125" y="3580175"/>
            <a:ext cx="321267" cy="312722"/>
            <a:chOff x="2534125" y="3580175"/>
            <a:chExt cx="321267" cy="312722"/>
          </a:xfrm>
          <a:noFill/>
        </p:grpSpPr>
        <p:grpSp>
          <p:nvGrpSpPr>
            <p:cNvPr id="1353" name="Gráfico 14">
              <a:extLst>
                <a:ext uri="{FF2B5EF4-FFF2-40B4-BE49-F238E27FC236}">
                  <a16:creationId xmlns:a16="http://schemas.microsoft.com/office/drawing/2014/main" id="{0742F492-060F-1DD1-556F-0EA3C2D5F378}"/>
                </a:ext>
              </a:extLst>
            </p:cNvPr>
            <p:cNvGrpSpPr/>
            <p:nvPr/>
          </p:nvGrpSpPr>
          <p:grpSpPr>
            <a:xfrm>
              <a:off x="2534125" y="3761889"/>
              <a:ext cx="321267" cy="131008"/>
              <a:chOff x="2534125" y="3761889"/>
              <a:chExt cx="321267" cy="131008"/>
            </a:xfrm>
            <a:noFill/>
          </p:grpSpPr>
          <p:sp>
            <p:nvSpPr>
              <p:cNvPr id="1354" name="Forma livre: Forma 1353">
                <a:extLst>
                  <a:ext uri="{FF2B5EF4-FFF2-40B4-BE49-F238E27FC236}">
                    <a16:creationId xmlns:a16="http://schemas.microsoft.com/office/drawing/2014/main" id="{694DD73D-39BD-E67C-EED1-AFC903FD02E6}"/>
                  </a:ext>
                </a:extLst>
              </p:cNvPr>
              <p:cNvSpPr/>
              <p:nvPr/>
            </p:nvSpPr>
            <p:spPr>
              <a:xfrm>
                <a:off x="2573757" y="3761889"/>
                <a:ext cx="281635" cy="131008"/>
              </a:xfrm>
              <a:custGeom>
                <a:avLst/>
                <a:gdLst>
                  <a:gd name="connsiteX0" fmla="*/ 192226 w 281635"/>
                  <a:gd name="connsiteY0" fmla="*/ 32680 h 131008"/>
                  <a:gd name="connsiteX1" fmla="*/ 249832 w 281635"/>
                  <a:gd name="connsiteY1" fmla="*/ 3237 h 131008"/>
                  <a:gd name="connsiteX2" fmla="*/ 279417 w 281635"/>
                  <a:gd name="connsiteY2" fmla="*/ 9682 h 131008"/>
                  <a:gd name="connsiteX3" fmla="*/ 268944 w 281635"/>
                  <a:gd name="connsiteY3" fmla="*/ 38781 h 131008"/>
                  <a:gd name="connsiteX4" fmla="*/ 149407 w 281635"/>
                  <a:gd name="connsiteY4" fmla="*/ 102857 h 131008"/>
                  <a:gd name="connsiteX5" fmla="*/ 143080 w 281635"/>
                  <a:gd name="connsiteY5" fmla="*/ 104445 h 131008"/>
                  <a:gd name="connsiteX6" fmla="*/ 31599 w 281635"/>
                  <a:gd name="connsiteY6" fmla="*/ 107454 h 131008"/>
                  <a:gd name="connsiteX7" fmla="*/ 0 w 281635"/>
                  <a:gd name="connsiteY7" fmla="*/ 131008 h 1310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81635" h="131008">
                    <a:moveTo>
                      <a:pt x="192226" y="32680"/>
                    </a:moveTo>
                    <a:lnTo>
                      <a:pt x="249832" y="3237"/>
                    </a:lnTo>
                    <a:cubicBezTo>
                      <a:pt x="260970" y="-2747"/>
                      <a:pt x="274027" y="-342"/>
                      <a:pt x="279417" y="9682"/>
                    </a:cubicBezTo>
                    <a:cubicBezTo>
                      <a:pt x="284785" y="19706"/>
                      <a:pt x="280069" y="32810"/>
                      <a:pt x="268944" y="38781"/>
                    </a:cubicBezTo>
                    <a:lnTo>
                      <a:pt x="149407" y="102857"/>
                    </a:lnTo>
                    <a:lnTo>
                      <a:pt x="143080" y="104445"/>
                    </a:lnTo>
                    <a:lnTo>
                      <a:pt x="31599" y="107454"/>
                    </a:lnTo>
                    <a:cubicBezTo>
                      <a:pt x="31599" y="107454"/>
                      <a:pt x="17239" y="111471"/>
                      <a:pt x="0" y="131008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355" name="Forma livre: Forma 1354">
                <a:extLst>
                  <a:ext uri="{FF2B5EF4-FFF2-40B4-BE49-F238E27FC236}">
                    <a16:creationId xmlns:a16="http://schemas.microsoft.com/office/drawing/2014/main" id="{D253B79C-7098-C737-0E4E-4BD52CD83FD9}"/>
                  </a:ext>
                </a:extLst>
              </p:cNvPr>
              <p:cNvSpPr/>
              <p:nvPr/>
            </p:nvSpPr>
            <p:spPr>
              <a:xfrm>
                <a:off x="2534125" y="3777744"/>
                <a:ext cx="212581" cy="56551"/>
              </a:xfrm>
              <a:custGeom>
                <a:avLst/>
                <a:gdLst>
                  <a:gd name="connsiteX0" fmla="*/ 0 w 212581"/>
                  <a:gd name="connsiteY0" fmla="*/ 56552 h 56551"/>
                  <a:gd name="connsiteX1" fmla="*/ 50568 w 212581"/>
                  <a:gd name="connsiteY1" fmla="*/ 10000 h 56551"/>
                  <a:gd name="connsiteX2" fmla="*/ 104585 w 212581"/>
                  <a:gd name="connsiteY2" fmla="*/ 2536 h 56551"/>
                  <a:gd name="connsiteX3" fmla="*/ 145129 w 212581"/>
                  <a:gd name="connsiteY3" fmla="*/ 7109 h 56551"/>
                  <a:gd name="connsiteX4" fmla="*/ 188885 w 212581"/>
                  <a:gd name="connsiteY4" fmla="*/ 7109 h 56551"/>
                  <a:gd name="connsiteX5" fmla="*/ 212581 w 212581"/>
                  <a:gd name="connsiteY5" fmla="*/ 27796 h 56551"/>
                  <a:gd name="connsiteX6" fmla="*/ 188885 w 212581"/>
                  <a:gd name="connsiteY6" fmla="*/ 48483 h 56551"/>
                  <a:gd name="connsiteX7" fmla="*/ 128352 w 212581"/>
                  <a:gd name="connsiteY7" fmla="*/ 48483 h 565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12581" h="56551">
                    <a:moveTo>
                      <a:pt x="0" y="56552"/>
                    </a:moveTo>
                    <a:lnTo>
                      <a:pt x="50568" y="10000"/>
                    </a:lnTo>
                    <a:cubicBezTo>
                      <a:pt x="75284" y="-6670"/>
                      <a:pt x="104585" y="2536"/>
                      <a:pt x="104585" y="2536"/>
                    </a:cubicBezTo>
                    <a:cubicBezTo>
                      <a:pt x="118779" y="6268"/>
                      <a:pt x="145129" y="7109"/>
                      <a:pt x="145129" y="7109"/>
                    </a:cubicBezTo>
                    <a:lnTo>
                      <a:pt x="188885" y="7109"/>
                    </a:lnTo>
                    <a:cubicBezTo>
                      <a:pt x="201918" y="7109"/>
                      <a:pt x="212581" y="16422"/>
                      <a:pt x="212581" y="27796"/>
                    </a:cubicBezTo>
                    <a:cubicBezTo>
                      <a:pt x="212581" y="39171"/>
                      <a:pt x="201918" y="48483"/>
                      <a:pt x="188885" y="48483"/>
                    </a:cubicBezTo>
                    <a:lnTo>
                      <a:pt x="128352" y="48483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356" name="Gráfico 14">
              <a:extLst>
                <a:ext uri="{FF2B5EF4-FFF2-40B4-BE49-F238E27FC236}">
                  <a16:creationId xmlns:a16="http://schemas.microsoft.com/office/drawing/2014/main" id="{E7238C47-4B8B-C011-119C-35BC810E9DD5}"/>
                </a:ext>
              </a:extLst>
            </p:cNvPr>
            <p:cNvGrpSpPr/>
            <p:nvPr/>
          </p:nvGrpSpPr>
          <p:grpSpPr>
            <a:xfrm>
              <a:off x="2598437" y="3580175"/>
              <a:ext cx="219003" cy="172546"/>
              <a:chOff x="2598437" y="3580175"/>
              <a:chExt cx="219003" cy="172546"/>
            </a:xfrm>
            <a:noFill/>
          </p:grpSpPr>
          <p:grpSp>
            <p:nvGrpSpPr>
              <p:cNvPr id="1357" name="Gráfico 14">
                <a:extLst>
                  <a:ext uri="{FF2B5EF4-FFF2-40B4-BE49-F238E27FC236}">
                    <a16:creationId xmlns:a16="http://schemas.microsoft.com/office/drawing/2014/main" id="{05E6269F-0B37-3FF5-CD60-84E44BC6EF4A}"/>
                  </a:ext>
                </a:extLst>
              </p:cNvPr>
              <p:cNvGrpSpPr/>
              <p:nvPr/>
            </p:nvGrpSpPr>
            <p:grpSpPr>
              <a:xfrm>
                <a:off x="2598437" y="3580175"/>
                <a:ext cx="219003" cy="172546"/>
                <a:chOff x="2598437" y="3580175"/>
                <a:chExt cx="219003" cy="172546"/>
              </a:xfrm>
              <a:noFill/>
            </p:grpSpPr>
            <p:sp>
              <p:nvSpPr>
                <p:cNvPr id="1358" name="Forma livre: Forma 1357">
                  <a:extLst>
                    <a:ext uri="{FF2B5EF4-FFF2-40B4-BE49-F238E27FC236}">
                      <a16:creationId xmlns:a16="http://schemas.microsoft.com/office/drawing/2014/main" id="{2DFAF3EC-7A6E-2260-7335-C02FF881A3A3}"/>
                    </a:ext>
                  </a:extLst>
                </p:cNvPr>
                <p:cNvSpPr/>
                <p:nvPr/>
              </p:nvSpPr>
              <p:spPr>
                <a:xfrm>
                  <a:off x="2598437" y="3611039"/>
                  <a:ext cx="33305" cy="141681"/>
                </a:xfrm>
                <a:custGeom>
                  <a:avLst/>
                  <a:gdLst>
                    <a:gd name="connsiteX0" fmla="*/ 19964 w 33305"/>
                    <a:gd name="connsiteY0" fmla="*/ 141682 h 141681"/>
                    <a:gd name="connsiteX1" fmla="*/ 0 w 33305"/>
                    <a:gd name="connsiteY1" fmla="*/ 78637 h 141681"/>
                    <a:gd name="connsiteX2" fmla="*/ 33305 w 33305"/>
                    <a:gd name="connsiteY2" fmla="*/ 0 h 14168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33305" h="141681">
                      <a:moveTo>
                        <a:pt x="19964" y="141682"/>
                      </a:moveTo>
                      <a:cubicBezTo>
                        <a:pt x="7381" y="123862"/>
                        <a:pt x="0" y="102108"/>
                        <a:pt x="0" y="78637"/>
                      </a:cubicBezTo>
                      <a:cubicBezTo>
                        <a:pt x="0" y="47784"/>
                        <a:pt x="12772" y="19905"/>
                        <a:pt x="33305" y="0"/>
                      </a:cubicBez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359" name="Forma livre: Forma 1358">
                  <a:extLst>
                    <a:ext uri="{FF2B5EF4-FFF2-40B4-BE49-F238E27FC236}">
                      <a16:creationId xmlns:a16="http://schemas.microsoft.com/office/drawing/2014/main" id="{76A37738-997F-77A0-C738-7FBD8000C08D}"/>
                    </a:ext>
                  </a:extLst>
                </p:cNvPr>
                <p:cNvSpPr/>
                <p:nvPr/>
              </p:nvSpPr>
              <p:spPr>
                <a:xfrm>
                  <a:off x="2662477" y="3580175"/>
                  <a:ext cx="154963" cy="166278"/>
                </a:xfrm>
                <a:custGeom>
                  <a:avLst/>
                  <a:gdLst>
                    <a:gd name="connsiteX0" fmla="*/ 0 w 154963"/>
                    <a:gd name="connsiteY0" fmla="*/ 9858 h 166278"/>
                    <a:gd name="connsiteX1" fmla="*/ 45462 w 154963"/>
                    <a:gd name="connsiteY1" fmla="*/ 0 h 166278"/>
                    <a:gd name="connsiteX2" fmla="*/ 154963 w 154963"/>
                    <a:gd name="connsiteY2" fmla="*/ 109502 h 166278"/>
                    <a:gd name="connsiteX3" fmla="*/ 139110 w 154963"/>
                    <a:gd name="connsiteY3" fmla="*/ 166278 h 1662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54963" h="166278">
                      <a:moveTo>
                        <a:pt x="0" y="9858"/>
                      </a:moveTo>
                      <a:cubicBezTo>
                        <a:pt x="13851" y="3531"/>
                        <a:pt x="29242" y="0"/>
                        <a:pt x="45462" y="0"/>
                      </a:cubicBezTo>
                      <a:cubicBezTo>
                        <a:pt x="105935" y="0"/>
                        <a:pt x="154963" y="49028"/>
                        <a:pt x="154963" y="109502"/>
                      </a:cubicBezTo>
                      <a:cubicBezTo>
                        <a:pt x="154963" y="130295"/>
                        <a:pt x="149170" y="149726"/>
                        <a:pt x="139110" y="166278"/>
                      </a:cubicBez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1360" name="Forma livre: Forma 1359">
                <a:extLst>
                  <a:ext uri="{FF2B5EF4-FFF2-40B4-BE49-F238E27FC236}">
                    <a16:creationId xmlns:a16="http://schemas.microsoft.com/office/drawing/2014/main" id="{80EEE62D-0EF5-71AC-8283-A7809FF5F70F}"/>
                  </a:ext>
                </a:extLst>
              </p:cNvPr>
              <p:cNvSpPr/>
              <p:nvPr/>
            </p:nvSpPr>
            <p:spPr>
              <a:xfrm>
                <a:off x="2670605" y="3635435"/>
                <a:ext cx="74869" cy="108648"/>
              </a:xfrm>
              <a:custGeom>
                <a:avLst/>
                <a:gdLst>
                  <a:gd name="connsiteX0" fmla="*/ 74869 w 74869"/>
                  <a:gd name="connsiteY0" fmla="*/ 0 h 108648"/>
                  <a:gd name="connsiteX1" fmla="*/ 0 w 74869"/>
                  <a:gd name="connsiteY1" fmla="*/ 108649 h 1086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74869" h="108648">
                    <a:moveTo>
                      <a:pt x="74869" y="0"/>
                    </a:moveTo>
                    <a:lnTo>
                      <a:pt x="0" y="108649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1361" name="Gráfico 14">
                <a:extLst>
                  <a:ext uri="{FF2B5EF4-FFF2-40B4-BE49-F238E27FC236}">
                    <a16:creationId xmlns:a16="http://schemas.microsoft.com/office/drawing/2014/main" id="{32FB9C05-3498-E2FA-3C55-74840D9ACE55}"/>
                  </a:ext>
                </a:extLst>
              </p:cNvPr>
              <p:cNvGrpSpPr/>
              <p:nvPr/>
            </p:nvGrpSpPr>
            <p:grpSpPr>
              <a:xfrm>
                <a:off x="2652856" y="3631726"/>
                <a:ext cx="110342" cy="116053"/>
                <a:chOff x="2652856" y="3631726"/>
                <a:chExt cx="110342" cy="116053"/>
              </a:xfrm>
              <a:noFill/>
            </p:grpSpPr>
            <p:sp>
              <p:nvSpPr>
                <p:cNvPr id="1362" name="Forma livre: Forma 1361">
                  <a:extLst>
                    <a:ext uri="{FF2B5EF4-FFF2-40B4-BE49-F238E27FC236}">
                      <a16:creationId xmlns:a16="http://schemas.microsoft.com/office/drawing/2014/main" id="{5F124D80-78AB-75CA-F293-701B3F4BFE44}"/>
                    </a:ext>
                  </a:extLst>
                </p:cNvPr>
                <p:cNvSpPr/>
                <p:nvPr/>
              </p:nvSpPr>
              <p:spPr>
                <a:xfrm>
                  <a:off x="2652856" y="3631726"/>
                  <a:ext cx="39964" cy="39976"/>
                </a:xfrm>
                <a:custGeom>
                  <a:avLst/>
                  <a:gdLst>
                    <a:gd name="connsiteX0" fmla="*/ 39964 w 39964"/>
                    <a:gd name="connsiteY0" fmla="*/ 19988 h 39976"/>
                    <a:gd name="connsiteX1" fmla="*/ 19988 w 39964"/>
                    <a:gd name="connsiteY1" fmla="*/ 39976 h 39976"/>
                    <a:gd name="connsiteX2" fmla="*/ 0 w 39964"/>
                    <a:gd name="connsiteY2" fmla="*/ 19988 h 39976"/>
                    <a:gd name="connsiteX3" fmla="*/ 19988 w 39964"/>
                    <a:gd name="connsiteY3" fmla="*/ 0 h 39976"/>
                    <a:gd name="connsiteX4" fmla="*/ 39964 w 39964"/>
                    <a:gd name="connsiteY4" fmla="*/ 19988 h 3997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9964" h="39976">
                      <a:moveTo>
                        <a:pt x="39964" y="19988"/>
                      </a:moveTo>
                      <a:cubicBezTo>
                        <a:pt x="39964" y="31019"/>
                        <a:pt x="31019" y="39976"/>
                        <a:pt x="19988" y="39976"/>
                      </a:cubicBezTo>
                      <a:cubicBezTo>
                        <a:pt x="8957" y="39976"/>
                        <a:pt x="0" y="31019"/>
                        <a:pt x="0" y="19988"/>
                      </a:cubicBezTo>
                      <a:cubicBezTo>
                        <a:pt x="0" y="8957"/>
                        <a:pt x="8945" y="0"/>
                        <a:pt x="19988" y="0"/>
                      </a:cubicBezTo>
                      <a:cubicBezTo>
                        <a:pt x="31031" y="0"/>
                        <a:pt x="39964" y="8957"/>
                        <a:pt x="39964" y="19988"/>
                      </a:cubicBezTo>
                      <a:close/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363" name="Forma livre: Forma 1362">
                  <a:extLst>
                    <a:ext uri="{FF2B5EF4-FFF2-40B4-BE49-F238E27FC236}">
                      <a16:creationId xmlns:a16="http://schemas.microsoft.com/office/drawing/2014/main" id="{02EDC008-E50C-A7F1-9646-8F24ADC1C118}"/>
                    </a:ext>
                  </a:extLst>
                </p:cNvPr>
                <p:cNvSpPr/>
                <p:nvPr/>
              </p:nvSpPr>
              <p:spPr>
                <a:xfrm>
                  <a:off x="2723235" y="3707816"/>
                  <a:ext cx="39964" cy="39964"/>
                </a:xfrm>
                <a:custGeom>
                  <a:avLst/>
                  <a:gdLst>
                    <a:gd name="connsiteX0" fmla="*/ 39964 w 39964"/>
                    <a:gd name="connsiteY0" fmla="*/ 19976 h 39964"/>
                    <a:gd name="connsiteX1" fmla="*/ 19976 w 39964"/>
                    <a:gd name="connsiteY1" fmla="*/ 39964 h 39964"/>
                    <a:gd name="connsiteX2" fmla="*/ 0 w 39964"/>
                    <a:gd name="connsiteY2" fmla="*/ 19976 h 39964"/>
                    <a:gd name="connsiteX3" fmla="*/ 19976 w 39964"/>
                    <a:gd name="connsiteY3" fmla="*/ 0 h 39964"/>
                    <a:gd name="connsiteX4" fmla="*/ 39964 w 39964"/>
                    <a:gd name="connsiteY4" fmla="*/ 19976 h 3996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9964" h="39964">
                      <a:moveTo>
                        <a:pt x="39964" y="19976"/>
                      </a:moveTo>
                      <a:cubicBezTo>
                        <a:pt x="39964" y="31007"/>
                        <a:pt x="31007" y="39964"/>
                        <a:pt x="19976" y="39964"/>
                      </a:cubicBezTo>
                      <a:cubicBezTo>
                        <a:pt x="8945" y="39964"/>
                        <a:pt x="0" y="31007"/>
                        <a:pt x="0" y="19976"/>
                      </a:cubicBezTo>
                      <a:cubicBezTo>
                        <a:pt x="0" y="8945"/>
                        <a:pt x="8957" y="0"/>
                        <a:pt x="19976" y="0"/>
                      </a:cubicBezTo>
                      <a:cubicBezTo>
                        <a:pt x="30995" y="0"/>
                        <a:pt x="39964" y="8945"/>
                        <a:pt x="39964" y="19976"/>
                      </a:cubicBezTo>
                      <a:close/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</p:grpSp>
      <p:grpSp>
        <p:nvGrpSpPr>
          <p:cNvPr id="1364" name="Gráfico 14">
            <a:extLst>
              <a:ext uri="{FF2B5EF4-FFF2-40B4-BE49-F238E27FC236}">
                <a16:creationId xmlns:a16="http://schemas.microsoft.com/office/drawing/2014/main" id="{6F420B5D-FD2B-C602-D0C3-93CF02713624}"/>
              </a:ext>
            </a:extLst>
          </p:cNvPr>
          <p:cNvGrpSpPr/>
          <p:nvPr/>
        </p:nvGrpSpPr>
        <p:grpSpPr>
          <a:xfrm>
            <a:off x="3781663" y="4111427"/>
            <a:ext cx="297225" cy="297450"/>
            <a:chOff x="3781663" y="4111427"/>
            <a:chExt cx="297225" cy="297450"/>
          </a:xfrm>
          <a:noFill/>
        </p:grpSpPr>
        <p:grpSp>
          <p:nvGrpSpPr>
            <p:cNvPr id="1365" name="Gráfico 14">
              <a:extLst>
                <a:ext uri="{FF2B5EF4-FFF2-40B4-BE49-F238E27FC236}">
                  <a16:creationId xmlns:a16="http://schemas.microsoft.com/office/drawing/2014/main" id="{1263AAE3-11E3-76A4-D929-D73A52459A43}"/>
                </a:ext>
              </a:extLst>
            </p:cNvPr>
            <p:cNvGrpSpPr/>
            <p:nvPr/>
          </p:nvGrpSpPr>
          <p:grpSpPr>
            <a:xfrm>
              <a:off x="3885490" y="4213156"/>
              <a:ext cx="89549" cy="94015"/>
              <a:chOff x="3885490" y="4213156"/>
              <a:chExt cx="89549" cy="94015"/>
            </a:xfrm>
            <a:noFill/>
          </p:grpSpPr>
          <p:sp>
            <p:nvSpPr>
              <p:cNvPr id="1366" name="Forma livre: Forma 1365">
                <a:extLst>
                  <a:ext uri="{FF2B5EF4-FFF2-40B4-BE49-F238E27FC236}">
                    <a16:creationId xmlns:a16="http://schemas.microsoft.com/office/drawing/2014/main" id="{844421A7-788A-B113-37CA-514CA3658D03}"/>
                  </a:ext>
                </a:extLst>
              </p:cNvPr>
              <p:cNvSpPr/>
              <p:nvPr/>
            </p:nvSpPr>
            <p:spPr>
              <a:xfrm>
                <a:off x="3901118" y="4217836"/>
                <a:ext cx="58317" cy="84655"/>
              </a:xfrm>
              <a:custGeom>
                <a:avLst/>
                <a:gdLst>
                  <a:gd name="connsiteX0" fmla="*/ 58317 w 58317"/>
                  <a:gd name="connsiteY0" fmla="*/ 0 h 84655"/>
                  <a:gd name="connsiteX1" fmla="*/ 0 w 58317"/>
                  <a:gd name="connsiteY1" fmla="*/ 84656 h 846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8317" h="84655">
                    <a:moveTo>
                      <a:pt x="58317" y="0"/>
                    </a:moveTo>
                    <a:lnTo>
                      <a:pt x="0" y="84656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1367" name="Gráfico 14">
                <a:extLst>
                  <a:ext uri="{FF2B5EF4-FFF2-40B4-BE49-F238E27FC236}">
                    <a16:creationId xmlns:a16="http://schemas.microsoft.com/office/drawing/2014/main" id="{1B63B73F-353F-B6FB-0E7B-C4D599C98709}"/>
                  </a:ext>
                </a:extLst>
              </p:cNvPr>
              <p:cNvGrpSpPr/>
              <p:nvPr/>
            </p:nvGrpSpPr>
            <p:grpSpPr>
              <a:xfrm>
                <a:off x="3885490" y="4213156"/>
                <a:ext cx="89549" cy="94015"/>
                <a:chOff x="3885490" y="4213156"/>
                <a:chExt cx="89549" cy="94015"/>
              </a:xfrm>
              <a:noFill/>
            </p:grpSpPr>
            <p:sp>
              <p:nvSpPr>
                <p:cNvPr id="1368" name="Forma livre: Forma 1367">
                  <a:extLst>
                    <a:ext uri="{FF2B5EF4-FFF2-40B4-BE49-F238E27FC236}">
                      <a16:creationId xmlns:a16="http://schemas.microsoft.com/office/drawing/2014/main" id="{9F64EC58-C28C-09C5-C5AF-CD26C7A40698}"/>
                    </a:ext>
                  </a:extLst>
                </p:cNvPr>
                <p:cNvSpPr/>
                <p:nvPr/>
              </p:nvSpPr>
              <p:spPr>
                <a:xfrm>
                  <a:off x="3885490" y="4213156"/>
                  <a:ext cx="32689" cy="32701"/>
                </a:xfrm>
                <a:custGeom>
                  <a:avLst/>
                  <a:gdLst>
                    <a:gd name="connsiteX0" fmla="*/ 32689 w 32689"/>
                    <a:gd name="connsiteY0" fmla="*/ 16351 h 32701"/>
                    <a:gd name="connsiteX1" fmla="*/ 16351 w 32689"/>
                    <a:gd name="connsiteY1" fmla="*/ 32701 h 32701"/>
                    <a:gd name="connsiteX2" fmla="*/ 0 w 32689"/>
                    <a:gd name="connsiteY2" fmla="*/ 16351 h 32701"/>
                    <a:gd name="connsiteX3" fmla="*/ 16351 w 32689"/>
                    <a:gd name="connsiteY3" fmla="*/ 0 h 32701"/>
                    <a:gd name="connsiteX4" fmla="*/ 32689 w 32689"/>
                    <a:gd name="connsiteY4" fmla="*/ 16351 h 3270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2689" h="32701">
                      <a:moveTo>
                        <a:pt x="32689" y="16351"/>
                      </a:moveTo>
                      <a:cubicBezTo>
                        <a:pt x="32689" y="25379"/>
                        <a:pt x="25367" y="32701"/>
                        <a:pt x="16351" y="32701"/>
                      </a:cubicBezTo>
                      <a:cubicBezTo>
                        <a:pt x="7334" y="32701"/>
                        <a:pt x="0" y="25379"/>
                        <a:pt x="0" y="16351"/>
                      </a:cubicBezTo>
                      <a:cubicBezTo>
                        <a:pt x="0" y="7322"/>
                        <a:pt x="7310" y="0"/>
                        <a:pt x="16351" y="0"/>
                      </a:cubicBezTo>
                      <a:cubicBezTo>
                        <a:pt x="25391" y="0"/>
                        <a:pt x="32689" y="7322"/>
                        <a:pt x="32689" y="16351"/>
                      </a:cubicBezTo>
                      <a:close/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369" name="Forma livre: Forma 1368">
                  <a:extLst>
                    <a:ext uri="{FF2B5EF4-FFF2-40B4-BE49-F238E27FC236}">
                      <a16:creationId xmlns:a16="http://schemas.microsoft.com/office/drawing/2014/main" id="{4122CC14-7205-9625-545A-DE84CAA747ED}"/>
                    </a:ext>
                  </a:extLst>
                </p:cNvPr>
                <p:cNvSpPr/>
                <p:nvPr/>
              </p:nvSpPr>
              <p:spPr>
                <a:xfrm>
                  <a:off x="3942338" y="4274483"/>
                  <a:ext cx="32701" cy="32689"/>
                </a:xfrm>
                <a:custGeom>
                  <a:avLst/>
                  <a:gdLst>
                    <a:gd name="connsiteX0" fmla="*/ 32701 w 32701"/>
                    <a:gd name="connsiteY0" fmla="*/ 16339 h 32689"/>
                    <a:gd name="connsiteX1" fmla="*/ 16351 w 32701"/>
                    <a:gd name="connsiteY1" fmla="*/ 32689 h 32689"/>
                    <a:gd name="connsiteX2" fmla="*/ 0 w 32701"/>
                    <a:gd name="connsiteY2" fmla="*/ 16339 h 32689"/>
                    <a:gd name="connsiteX3" fmla="*/ 16351 w 32701"/>
                    <a:gd name="connsiteY3" fmla="*/ 0 h 32689"/>
                    <a:gd name="connsiteX4" fmla="*/ 32701 w 32701"/>
                    <a:gd name="connsiteY4" fmla="*/ 16339 h 3268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2701" h="32689">
                      <a:moveTo>
                        <a:pt x="32701" y="16339"/>
                      </a:moveTo>
                      <a:cubicBezTo>
                        <a:pt x="32701" y="25367"/>
                        <a:pt x="25367" y="32689"/>
                        <a:pt x="16351" y="32689"/>
                      </a:cubicBezTo>
                      <a:cubicBezTo>
                        <a:pt x="7334" y="32689"/>
                        <a:pt x="0" y="25367"/>
                        <a:pt x="0" y="16339"/>
                      </a:cubicBezTo>
                      <a:cubicBezTo>
                        <a:pt x="0" y="7310"/>
                        <a:pt x="7334" y="0"/>
                        <a:pt x="16351" y="0"/>
                      </a:cubicBezTo>
                      <a:cubicBezTo>
                        <a:pt x="25367" y="0"/>
                        <a:pt x="32701" y="7322"/>
                        <a:pt x="32701" y="16339"/>
                      </a:cubicBezTo>
                      <a:close/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grpSp>
          <p:nvGrpSpPr>
            <p:cNvPr id="1370" name="Gráfico 14">
              <a:extLst>
                <a:ext uri="{FF2B5EF4-FFF2-40B4-BE49-F238E27FC236}">
                  <a16:creationId xmlns:a16="http://schemas.microsoft.com/office/drawing/2014/main" id="{B5BA1C08-EEBB-7866-C072-CC9018A12A38}"/>
                </a:ext>
              </a:extLst>
            </p:cNvPr>
            <p:cNvGrpSpPr/>
            <p:nvPr/>
          </p:nvGrpSpPr>
          <p:grpSpPr>
            <a:xfrm>
              <a:off x="3781663" y="4111427"/>
              <a:ext cx="297225" cy="297450"/>
              <a:chOff x="3781663" y="4111427"/>
              <a:chExt cx="297225" cy="297450"/>
            </a:xfrm>
            <a:noFill/>
          </p:grpSpPr>
          <p:sp>
            <p:nvSpPr>
              <p:cNvPr id="1371" name="Forma livre: Forma 1370">
                <a:extLst>
                  <a:ext uri="{FF2B5EF4-FFF2-40B4-BE49-F238E27FC236}">
                    <a16:creationId xmlns:a16="http://schemas.microsoft.com/office/drawing/2014/main" id="{97C65702-2B82-4150-5C0F-128E07016940}"/>
                  </a:ext>
                </a:extLst>
              </p:cNvPr>
              <p:cNvSpPr/>
              <p:nvPr/>
            </p:nvSpPr>
            <p:spPr>
              <a:xfrm>
                <a:off x="3842362" y="4172220"/>
                <a:ext cx="175839" cy="175839"/>
              </a:xfrm>
              <a:custGeom>
                <a:avLst/>
                <a:gdLst>
                  <a:gd name="connsiteX0" fmla="*/ 37867 w 175839"/>
                  <a:gd name="connsiteY0" fmla="*/ 15640 h 175839"/>
                  <a:gd name="connsiteX1" fmla="*/ 87914 w 175839"/>
                  <a:gd name="connsiteY1" fmla="*/ 0 h 175839"/>
                  <a:gd name="connsiteX2" fmla="*/ 175840 w 175839"/>
                  <a:gd name="connsiteY2" fmla="*/ 87926 h 175839"/>
                  <a:gd name="connsiteX3" fmla="*/ 87914 w 175839"/>
                  <a:gd name="connsiteY3" fmla="*/ 175840 h 175839"/>
                  <a:gd name="connsiteX4" fmla="*/ 0 w 175839"/>
                  <a:gd name="connsiteY4" fmla="*/ 87926 h 175839"/>
                  <a:gd name="connsiteX5" fmla="*/ 15012 w 175839"/>
                  <a:gd name="connsiteY5" fmla="*/ 38767 h 1758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75839" h="175839">
                    <a:moveTo>
                      <a:pt x="37867" y="15640"/>
                    </a:moveTo>
                    <a:cubicBezTo>
                      <a:pt x="52061" y="5782"/>
                      <a:pt x="69324" y="0"/>
                      <a:pt x="87914" y="0"/>
                    </a:cubicBezTo>
                    <a:cubicBezTo>
                      <a:pt x="136480" y="0"/>
                      <a:pt x="175840" y="39372"/>
                      <a:pt x="175840" y="87926"/>
                    </a:cubicBezTo>
                    <a:cubicBezTo>
                      <a:pt x="175840" y="136480"/>
                      <a:pt x="136480" y="175840"/>
                      <a:pt x="87914" y="175840"/>
                    </a:cubicBezTo>
                    <a:cubicBezTo>
                      <a:pt x="39348" y="175840"/>
                      <a:pt x="0" y="136480"/>
                      <a:pt x="0" y="87926"/>
                    </a:cubicBezTo>
                    <a:cubicBezTo>
                      <a:pt x="0" y="69715"/>
                      <a:pt x="5533" y="52796"/>
                      <a:pt x="15012" y="38767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372" name="Forma livre: Forma 1371">
                <a:extLst>
                  <a:ext uri="{FF2B5EF4-FFF2-40B4-BE49-F238E27FC236}">
                    <a16:creationId xmlns:a16="http://schemas.microsoft.com/office/drawing/2014/main" id="{79F051C6-2372-B252-2057-C658BCD8FFEF}"/>
                  </a:ext>
                </a:extLst>
              </p:cNvPr>
              <p:cNvSpPr/>
              <p:nvPr/>
            </p:nvSpPr>
            <p:spPr>
              <a:xfrm>
                <a:off x="3781663" y="4111427"/>
                <a:ext cx="297225" cy="297450"/>
              </a:xfrm>
              <a:custGeom>
                <a:avLst/>
                <a:gdLst>
                  <a:gd name="connsiteX0" fmla="*/ 297225 w 297225"/>
                  <a:gd name="connsiteY0" fmla="*/ 170058 h 297450"/>
                  <a:gd name="connsiteX1" fmla="*/ 297225 w 297225"/>
                  <a:gd name="connsiteY1" fmla="*/ 127535 h 297450"/>
                  <a:gd name="connsiteX2" fmla="*/ 265982 w 297225"/>
                  <a:gd name="connsiteY2" fmla="*/ 122310 h 297450"/>
                  <a:gd name="connsiteX3" fmla="*/ 250306 w 297225"/>
                  <a:gd name="connsiteY3" fmla="*/ 84466 h 297450"/>
                  <a:gd name="connsiteX4" fmla="*/ 268695 w 297225"/>
                  <a:gd name="connsiteY4" fmla="*/ 58530 h 297450"/>
                  <a:gd name="connsiteX5" fmla="*/ 238719 w 297225"/>
                  <a:gd name="connsiteY5" fmla="*/ 28554 h 297450"/>
                  <a:gd name="connsiteX6" fmla="*/ 212759 w 297225"/>
                  <a:gd name="connsiteY6" fmla="*/ 46955 h 297450"/>
                  <a:gd name="connsiteX7" fmla="*/ 174963 w 297225"/>
                  <a:gd name="connsiteY7" fmla="*/ 31339 h 297450"/>
                  <a:gd name="connsiteX8" fmla="*/ 169809 w 297225"/>
                  <a:gd name="connsiteY8" fmla="*/ 0 h 297450"/>
                  <a:gd name="connsiteX9" fmla="*/ 127404 w 297225"/>
                  <a:gd name="connsiteY9" fmla="*/ 0 h 297450"/>
                  <a:gd name="connsiteX10" fmla="*/ 122250 w 297225"/>
                  <a:gd name="connsiteY10" fmla="*/ 31339 h 297450"/>
                  <a:gd name="connsiteX11" fmla="*/ 84502 w 297225"/>
                  <a:gd name="connsiteY11" fmla="*/ 46978 h 297450"/>
                  <a:gd name="connsiteX12" fmla="*/ 58507 w 297225"/>
                  <a:gd name="connsiteY12" fmla="*/ 28554 h 297450"/>
                  <a:gd name="connsiteX13" fmla="*/ 28531 w 297225"/>
                  <a:gd name="connsiteY13" fmla="*/ 58530 h 297450"/>
                  <a:gd name="connsiteX14" fmla="*/ 46943 w 297225"/>
                  <a:gd name="connsiteY14" fmla="*/ 84490 h 297450"/>
                  <a:gd name="connsiteX15" fmla="*/ 31268 w 297225"/>
                  <a:gd name="connsiteY15" fmla="*/ 122120 h 297450"/>
                  <a:gd name="connsiteX16" fmla="*/ 0 w 297225"/>
                  <a:gd name="connsiteY16" fmla="*/ 127535 h 297450"/>
                  <a:gd name="connsiteX17" fmla="*/ 0 w 297225"/>
                  <a:gd name="connsiteY17" fmla="*/ 170058 h 297450"/>
                  <a:gd name="connsiteX18" fmla="*/ 31256 w 297225"/>
                  <a:gd name="connsiteY18" fmla="*/ 175188 h 297450"/>
                  <a:gd name="connsiteX19" fmla="*/ 46931 w 297225"/>
                  <a:gd name="connsiteY19" fmla="*/ 212996 h 297450"/>
                  <a:gd name="connsiteX20" fmla="*/ 28531 w 297225"/>
                  <a:gd name="connsiteY20" fmla="*/ 238932 h 297450"/>
                  <a:gd name="connsiteX21" fmla="*/ 58507 w 297225"/>
                  <a:gd name="connsiteY21" fmla="*/ 268908 h 297450"/>
                  <a:gd name="connsiteX22" fmla="*/ 84478 w 297225"/>
                  <a:gd name="connsiteY22" fmla="*/ 250484 h 297450"/>
                  <a:gd name="connsiteX23" fmla="*/ 122239 w 297225"/>
                  <a:gd name="connsiteY23" fmla="*/ 266088 h 297450"/>
                  <a:gd name="connsiteX24" fmla="*/ 127392 w 297225"/>
                  <a:gd name="connsiteY24" fmla="*/ 297451 h 297450"/>
                  <a:gd name="connsiteX25" fmla="*/ 169809 w 297225"/>
                  <a:gd name="connsiteY25" fmla="*/ 297451 h 297450"/>
                  <a:gd name="connsiteX26" fmla="*/ 174963 w 297225"/>
                  <a:gd name="connsiteY26" fmla="*/ 266088 h 297450"/>
                  <a:gd name="connsiteX27" fmla="*/ 212724 w 297225"/>
                  <a:gd name="connsiteY27" fmla="*/ 250496 h 297450"/>
                  <a:gd name="connsiteX28" fmla="*/ 238707 w 297225"/>
                  <a:gd name="connsiteY28" fmla="*/ 268920 h 297450"/>
                  <a:gd name="connsiteX29" fmla="*/ 268683 w 297225"/>
                  <a:gd name="connsiteY29" fmla="*/ 238944 h 297450"/>
                  <a:gd name="connsiteX30" fmla="*/ 250283 w 297225"/>
                  <a:gd name="connsiteY30" fmla="*/ 213008 h 297450"/>
                  <a:gd name="connsiteX31" fmla="*/ 265922 w 297225"/>
                  <a:gd name="connsiteY31" fmla="*/ 175390 h 297450"/>
                  <a:gd name="connsiteX32" fmla="*/ 297225 w 297225"/>
                  <a:gd name="connsiteY32" fmla="*/ 170070 h 2974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</a:cxnLst>
                <a:rect l="l" t="t" r="r" b="b"/>
                <a:pathLst>
                  <a:path w="297225" h="297450">
                    <a:moveTo>
                      <a:pt x="297225" y="170058"/>
                    </a:moveTo>
                    <a:lnTo>
                      <a:pt x="297225" y="127535"/>
                    </a:lnTo>
                    <a:lnTo>
                      <a:pt x="265982" y="122310"/>
                    </a:lnTo>
                    <a:cubicBezTo>
                      <a:pt x="262913" y="108672"/>
                      <a:pt x="257557" y="95924"/>
                      <a:pt x="250306" y="84466"/>
                    </a:cubicBezTo>
                    <a:lnTo>
                      <a:pt x="268695" y="58530"/>
                    </a:lnTo>
                    <a:lnTo>
                      <a:pt x="238719" y="28554"/>
                    </a:lnTo>
                    <a:lnTo>
                      <a:pt x="212759" y="46955"/>
                    </a:lnTo>
                    <a:cubicBezTo>
                      <a:pt x="201314" y="39727"/>
                      <a:pt x="188577" y="34384"/>
                      <a:pt x="174963" y="31339"/>
                    </a:cubicBezTo>
                    <a:lnTo>
                      <a:pt x="169809" y="0"/>
                    </a:lnTo>
                    <a:lnTo>
                      <a:pt x="127404" y="0"/>
                    </a:lnTo>
                    <a:lnTo>
                      <a:pt x="122250" y="31339"/>
                    </a:lnTo>
                    <a:cubicBezTo>
                      <a:pt x="108649" y="34384"/>
                      <a:pt x="95935" y="39751"/>
                      <a:pt x="84502" y="46978"/>
                    </a:cubicBezTo>
                    <a:lnTo>
                      <a:pt x="58507" y="28554"/>
                    </a:lnTo>
                    <a:lnTo>
                      <a:pt x="28531" y="58530"/>
                    </a:lnTo>
                    <a:lnTo>
                      <a:pt x="46943" y="84490"/>
                    </a:lnTo>
                    <a:cubicBezTo>
                      <a:pt x="39727" y="95888"/>
                      <a:pt x="34325" y="108554"/>
                      <a:pt x="31268" y="122120"/>
                    </a:cubicBezTo>
                    <a:lnTo>
                      <a:pt x="0" y="127535"/>
                    </a:lnTo>
                    <a:lnTo>
                      <a:pt x="0" y="170058"/>
                    </a:lnTo>
                    <a:lnTo>
                      <a:pt x="31256" y="175188"/>
                    </a:lnTo>
                    <a:cubicBezTo>
                      <a:pt x="34313" y="188814"/>
                      <a:pt x="39680" y="201551"/>
                      <a:pt x="46931" y="212996"/>
                    </a:cubicBezTo>
                    <a:lnTo>
                      <a:pt x="28531" y="238932"/>
                    </a:lnTo>
                    <a:lnTo>
                      <a:pt x="58507" y="268908"/>
                    </a:lnTo>
                    <a:lnTo>
                      <a:pt x="84478" y="250484"/>
                    </a:lnTo>
                    <a:cubicBezTo>
                      <a:pt x="95912" y="257700"/>
                      <a:pt x="108637" y="263043"/>
                      <a:pt x="122239" y="266088"/>
                    </a:cubicBezTo>
                    <a:lnTo>
                      <a:pt x="127392" y="297451"/>
                    </a:lnTo>
                    <a:lnTo>
                      <a:pt x="169809" y="297451"/>
                    </a:lnTo>
                    <a:lnTo>
                      <a:pt x="174963" y="266088"/>
                    </a:lnTo>
                    <a:cubicBezTo>
                      <a:pt x="188565" y="263055"/>
                      <a:pt x="201290" y="257712"/>
                      <a:pt x="212724" y="250496"/>
                    </a:cubicBezTo>
                    <a:lnTo>
                      <a:pt x="238707" y="268920"/>
                    </a:lnTo>
                    <a:lnTo>
                      <a:pt x="268683" y="238944"/>
                    </a:lnTo>
                    <a:lnTo>
                      <a:pt x="250283" y="213008"/>
                    </a:lnTo>
                    <a:cubicBezTo>
                      <a:pt x="257498" y="201622"/>
                      <a:pt x="262854" y="188932"/>
                      <a:pt x="265922" y="175390"/>
                    </a:cubicBezTo>
                    <a:lnTo>
                      <a:pt x="297225" y="170070"/>
                    </a:lnTo>
                    <a:close/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373" name="Gráfico 14">
            <a:extLst>
              <a:ext uri="{FF2B5EF4-FFF2-40B4-BE49-F238E27FC236}">
                <a16:creationId xmlns:a16="http://schemas.microsoft.com/office/drawing/2014/main" id="{C03489A8-0F48-F55C-8612-FB51DD592677}"/>
              </a:ext>
            </a:extLst>
          </p:cNvPr>
          <p:cNvGrpSpPr/>
          <p:nvPr/>
        </p:nvGrpSpPr>
        <p:grpSpPr>
          <a:xfrm>
            <a:off x="3141455" y="4140443"/>
            <a:ext cx="342118" cy="239453"/>
            <a:chOff x="3141455" y="4140443"/>
            <a:chExt cx="342118" cy="239453"/>
          </a:xfrm>
          <a:noFill/>
        </p:grpSpPr>
        <p:grpSp>
          <p:nvGrpSpPr>
            <p:cNvPr id="1374" name="Gráfico 14">
              <a:extLst>
                <a:ext uri="{FF2B5EF4-FFF2-40B4-BE49-F238E27FC236}">
                  <a16:creationId xmlns:a16="http://schemas.microsoft.com/office/drawing/2014/main" id="{4831477E-3340-55AF-716A-BB9336134F09}"/>
                </a:ext>
              </a:extLst>
            </p:cNvPr>
            <p:cNvGrpSpPr/>
            <p:nvPr/>
          </p:nvGrpSpPr>
          <p:grpSpPr>
            <a:xfrm>
              <a:off x="3141455" y="4140443"/>
              <a:ext cx="236455" cy="239453"/>
              <a:chOff x="3141455" y="4140443"/>
              <a:chExt cx="236455" cy="239453"/>
            </a:xfrm>
            <a:noFill/>
          </p:grpSpPr>
          <p:sp>
            <p:nvSpPr>
              <p:cNvPr id="1375" name="Forma livre: Forma 1374">
                <a:extLst>
                  <a:ext uri="{FF2B5EF4-FFF2-40B4-BE49-F238E27FC236}">
                    <a16:creationId xmlns:a16="http://schemas.microsoft.com/office/drawing/2014/main" id="{675627FF-539B-1D4F-719F-06B1732F9C10}"/>
                  </a:ext>
                </a:extLst>
              </p:cNvPr>
              <p:cNvSpPr/>
              <p:nvPr/>
            </p:nvSpPr>
            <p:spPr>
              <a:xfrm>
                <a:off x="3184168" y="4182457"/>
                <a:ext cx="193742" cy="197439"/>
              </a:xfrm>
              <a:custGeom>
                <a:avLst/>
                <a:gdLst>
                  <a:gd name="connsiteX0" fmla="*/ 124336 w 193742"/>
                  <a:gd name="connsiteY0" fmla="*/ 23400 h 197439"/>
                  <a:gd name="connsiteX1" fmla="*/ 96871 w 193742"/>
                  <a:gd name="connsiteY1" fmla="*/ 0 h 197439"/>
                  <a:gd name="connsiteX2" fmla="*/ 0 w 193742"/>
                  <a:gd name="connsiteY2" fmla="*/ 86729 h 197439"/>
                  <a:gd name="connsiteX3" fmla="*/ 0 w 193742"/>
                  <a:gd name="connsiteY3" fmla="*/ 197439 h 197439"/>
                  <a:gd name="connsiteX4" fmla="*/ 71836 w 193742"/>
                  <a:gd name="connsiteY4" fmla="*/ 197439 h 197439"/>
                  <a:gd name="connsiteX5" fmla="*/ 71836 w 193742"/>
                  <a:gd name="connsiteY5" fmla="*/ 134454 h 197439"/>
                  <a:gd name="connsiteX6" fmla="*/ 121919 w 193742"/>
                  <a:gd name="connsiteY6" fmla="*/ 134454 h 197439"/>
                  <a:gd name="connsiteX7" fmla="*/ 121919 w 193742"/>
                  <a:gd name="connsiteY7" fmla="*/ 197439 h 197439"/>
                  <a:gd name="connsiteX8" fmla="*/ 193743 w 193742"/>
                  <a:gd name="connsiteY8" fmla="*/ 197439 h 197439"/>
                  <a:gd name="connsiteX9" fmla="*/ 193743 w 193742"/>
                  <a:gd name="connsiteY9" fmla="*/ 154478 h 1974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93742" h="197439">
                    <a:moveTo>
                      <a:pt x="124336" y="23400"/>
                    </a:moveTo>
                    <a:lnTo>
                      <a:pt x="96871" y="0"/>
                    </a:lnTo>
                    <a:lnTo>
                      <a:pt x="0" y="86729"/>
                    </a:lnTo>
                    <a:lnTo>
                      <a:pt x="0" y="197439"/>
                    </a:lnTo>
                    <a:lnTo>
                      <a:pt x="71836" y="197439"/>
                    </a:lnTo>
                    <a:lnTo>
                      <a:pt x="71836" y="134454"/>
                    </a:lnTo>
                    <a:lnTo>
                      <a:pt x="121919" y="134454"/>
                    </a:lnTo>
                    <a:lnTo>
                      <a:pt x="121919" y="197439"/>
                    </a:lnTo>
                    <a:lnTo>
                      <a:pt x="193743" y="197439"/>
                    </a:lnTo>
                    <a:lnTo>
                      <a:pt x="193743" y="154478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376" name="Forma livre: Forma 1375">
                <a:extLst>
                  <a:ext uri="{FF2B5EF4-FFF2-40B4-BE49-F238E27FC236}">
                    <a16:creationId xmlns:a16="http://schemas.microsoft.com/office/drawing/2014/main" id="{ECA9E8D5-43C4-9FF0-64C4-13A4570492DF}"/>
                  </a:ext>
                </a:extLst>
              </p:cNvPr>
              <p:cNvSpPr/>
              <p:nvPr/>
            </p:nvSpPr>
            <p:spPr>
              <a:xfrm>
                <a:off x="3141455" y="4140443"/>
                <a:ext cx="182380" cy="121515"/>
              </a:xfrm>
              <a:custGeom>
                <a:avLst/>
                <a:gdLst>
                  <a:gd name="connsiteX0" fmla="*/ 0 w 182380"/>
                  <a:gd name="connsiteY0" fmla="*/ 121516 h 121515"/>
                  <a:gd name="connsiteX1" fmla="*/ 43542 w 182380"/>
                  <a:gd name="connsiteY1" fmla="*/ 83376 h 121515"/>
                  <a:gd name="connsiteX2" fmla="*/ 43542 w 182380"/>
                  <a:gd name="connsiteY2" fmla="*/ 20545 h 121515"/>
                  <a:gd name="connsiteX3" fmla="*/ 73838 w 182380"/>
                  <a:gd name="connsiteY3" fmla="*/ 20545 h 121515"/>
                  <a:gd name="connsiteX4" fmla="*/ 73838 w 182380"/>
                  <a:gd name="connsiteY4" fmla="*/ 57002 h 121515"/>
                  <a:gd name="connsiteX5" fmla="*/ 139193 w 182380"/>
                  <a:gd name="connsiteY5" fmla="*/ 0 h 121515"/>
                  <a:gd name="connsiteX6" fmla="*/ 182380 w 182380"/>
                  <a:gd name="connsiteY6" fmla="*/ 36552 h 1215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82380" h="121515">
                    <a:moveTo>
                      <a:pt x="0" y="121516"/>
                    </a:moveTo>
                    <a:lnTo>
                      <a:pt x="43542" y="83376"/>
                    </a:lnTo>
                    <a:lnTo>
                      <a:pt x="43542" y="20545"/>
                    </a:lnTo>
                    <a:lnTo>
                      <a:pt x="73838" y="20545"/>
                    </a:lnTo>
                    <a:lnTo>
                      <a:pt x="73838" y="57002"/>
                    </a:lnTo>
                    <a:lnTo>
                      <a:pt x="139193" y="0"/>
                    </a:lnTo>
                    <a:lnTo>
                      <a:pt x="182380" y="36552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377" name="Gráfico 14">
              <a:extLst>
                <a:ext uri="{FF2B5EF4-FFF2-40B4-BE49-F238E27FC236}">
                  <a16:creationId xmlns:a16="http://schemas.microsoft.com/office/drawing/2014/main" id="{4CB96BB5-F2EC-4809-A319-5A3CE724CECC}"/>
                </a:ext>
              </a:extLst>
            </p:cNvPr>
            <p:cNvGrpSpPr/>
            <p:nvPr/>
          </p:nvGrpSpPr>
          <p:grpSpPr>
            <a:xfrm>
              <a:off x="3325399" y="4160562"/>
              <a:ext cx="158174" cy="158174"/>
              <a:chOff x="3325399" y="4160562"/>
              <a:chExt cx="158174" cy="158174"/>
            </a:xfrm>
            <a:noFill/>
          </p:grpSpPr>
          <p:sp>
            <p:nvSpPr>
              <p:cNvPr id="1378" name="Forma livre: Forma 1377">
                <a:extLst>
                  <a:ext uri="{FF2B5EF4-FFF2-40B4-BE49-F238E27FC236}">
                    <a16:creationId xmlns:a16="http://schemas.microsoft.com/office/drawing/2014/main" id="{6FA70D9C-0633-F481-8D62-8BCB9B99B892}"/>
                  </a:ext>
                </a:extLst>
              </p:cNvPr>
              <p:cNvSpPr/>
              <p:nvPr/>
            </p:nvSpPr>
            <p:spPr>
              <a:xfrm>
                <a:off x="3325399" y="4160562"/>
                <a:ext cx="158174" cy="158174"/>
              </a:xfrm>
              <a:custGeom>
                <a:avLst/>
                <a:gdLst>
                  <a:gd name="connsiteX0" fmla="*/ 46256 w 158174"/>
                  <a:gd name="connsiteY0" fmla="*/ 7121 h 158174"/>
                  <a:gd name="connsiteX1" fmla="*/ 79087 w 158174"/>
                  <a:gd name="connsiteY1" fmla="*/ 0 h 158174"/>
                  <a:gd name="connsiteX2" fmla="*/ 158174 w 158174"/>
                  <a:gd name="connsiteY2" fmla="*/ 79087 h 158174"/>
                  <a:gd name="connsiteX3" fmla="*/ 79087 w 158174"/>
                  <a:gd name="connsiteY3" fmla="*/ 158174 h 158174"/>
                  <a:gd name="connsiteX4" fmla="*/ 0 w 158174"/>
                  <a:gd name="connsiteY4" fmla="*/ 79087 h 158174"/>
                  <a:gd name="connsiteX5" fmla="*/ 24052 w 158174"/>
                  <a:gd name="connsiteY5" fmla="*/ 22298 h 158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58174" h="158174">
                    <a:moveTo>
                      <a:pt x="46256" y="7121"/>
                    </a:moveTo>
                    <a:cubicBezTo>
                      <a:pt x="56267" y="2547"/>
                      <a:pt x="67381" y="0"/>
                      <a:pt x="79087" y="0"/>
                    </a:cubicBezTo>
                    <a:cubicBezTo>
                      <a:pt x="122760" y="0"/>
                      <a:pt x="158174" y="35414"/>
                      <a:pt x="158174" y="79087"/>
                    </a:cubicBezTo>
                    <a:cubicBezTo>
                      <a:pt x="158174" y="122760"/>
                      <a:pt x="122760" y="158174"/>
                      <a:pt x="79087" y="158174"/>
                    </a:cubicBezTo>
                    <a:cubicBezTo>
                      <a:pt x="35414" y="158174"/>
                      <a:pt x="0" y="122772"/>
                      <a:pt x="0" y="79087"/>
                    </a:cubicBezTo>
                    <a:cubicBezTo>
                      <a:pt x="0" y="56801"/>
                      <a:pt x="9230" y="36670"/>
                      <a:pt x="24052" y="22298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379" name="Forma livre: Forma 1378">
                <a:extLst>
                  <a:ext uri="{FF2B5EF4-FFF2-40B4-BE49-F238E27FC236}">
                    <a16:creationId xmlns:a16="http://schemas.microsoft.com/office/drawing/2014/main" id="{E13509E0-62A3-EF36-C790-EAB55EEB8258}"/>
                  </a:ext>
                </a:extLst>
              </p:cNvPr>
              <p:cNvSpPr/>
              <p:nvPr/>
            </p:nvSpPr>
            <p:spPr>
              <a:xfrm>
                <a:off x="3377460" y="4200419"/>
                <a:ext cx="54075" cy="78471"/>
              </a:xfrm>
              <a:custGeom>
                <a:avLst/>
                <a:gdLst>
                  <a:gd name="connsiteX0" fmla="*/ 54075 w 54075"/>
                  <a:gd name="connsiteY0" fmla="*/ 0 h 78471"/>
                  <a:gd name="connsiteX1" fmla="*/ 0 w 54075"/>
                  <a:gd name="connsiteY1" fmla="*/ 78471 h 784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4075" h="78471">
                    <a:moveTo>
                      <a:pt x="54075" y="0"/>
                    </a:moveTo>
                    <a:lnTo>
                      <a:pt x="0" y="78471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1380" name="Gráfico 14">
                <a:extLst>
                  <a:ext uri="{FF2B5EF4-FFF2-40B4-BE49-F238E27FC236}">
                    <a16:creationId xmlns:a16="http://schemas.microsoft.com/office/drawing/2014/main" id="{C8F672FC-4625-D22B-2721-99642F0CAC14}"/>
                  </a:ext>
                </a:extLst>
              </p:cNvPr>
              <p:cNvGrpSpPr/>
              <p:nvPr/>
            </p:nvGrpSpPr>
            <p:grpSpPr>
              <a:xfrm>
                <a:off x="3362982" y="4196083"/>
                <a:ext cx="83020" cy="87143"/>
                <a:chOff x="3362982" y="4196083"/>
                <a:chExt cx="83020" cy="87143"/>
              </a:xfrm>
              <a:noFill/>
            </p:grpSpPr>
            <p:sp>
              <p:nvSpPr>
                <p:cNvPr id="1381" name="Forma livre: Forma 1380">
                  <a:extLst>
                    <a:ext uri="{FF2B5EF4-FFF2-40B4-BE49-F238E27FC236}">
                      <a16:creationId xmlns:a16="http://schemas.microsoft.com/office/drawing/2014/main" id="{D30AE977-5579-943C-3795-FE045EE57E45}"/>
                    </a:ext>
                  </a:extLst>
                </p:cNvPr>
                <p:cNvSpPr/>
                <p:nvPr/>
              </p:nvSpPr>
              <p:spPr>
                <a:xfrm>
                  <a:off x="3362982" y="4196083"/>
                  <a:ext cx="30307" cy="30319"/>
                </a:xfrm>
                <a:custGeom>
                  <a:avLst/>
                  <a:gdLst>
                    <a:gd name="connsiteX0" fmla="*/ 30308 w 30307"/>
                    <a:gd name="connsiteY0" fmla="*/ 15154 h 30319"/>
                    <a:gd name="connsiteX1" fmla="*/ 15154 w 30307"/>
                    <a:gd name="connsiteY1" fmla="*/ 30320 h 30319"/>
                    <a:gd name="connsiteX2" fmla="*/ 0 w 30307"/>
                    <a:gd name="connsiteY2" fmla="*/ 15154 h 30319"/>
                    <a:gd name="connsiteX3" fmla="*/ 15154 w 30307"/>
                    <a:gd name="connsiteY3" fmla="*/ 0 h 30319"/>
                    <a:gd name="connsiteX4" fmla="*/ 30308 w 30307"/>
                    <a:gd name="connsiteY4" fmla="*/ 15154 h 3031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0307" h="30319">
                      <a:moveTo>
                        <a:pt x="30308" y="15154"/>
                      </a:moveTo>
                      <a:cubicBezTo>
                        <a:pt x="30308" y="23519"/>
                        <a:pt x="23519" y="30320"/>
                        <a:pt x="15154" y="30320"/>
                      </a:cubicBezTo>
                      <a:cubicBezTo>
                        <a:pt x="6789" y="30320"/>
                        <a:pt x="0" y="23531"/>
                        <a:pt x="0" y="15154"/>
                      </a:cubicBezTo>
                      <a:cubicBezTo>
                        <a:pt x="0" y="6777"/>
                        <a:pt x="6777" y="0"/>
                        <a:pt x="15154" y="0"/>
                      </a:cubicBezTo>
                      <a:cubicBezTo>
                        <a:pt x="23531" y="0"/>
                        <a:pt x="30308" y="6789"/>
                        <a:pt x="30308" y="15154"/>
                      </a:cubicBezTo>
                      <a:close/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382" name="Forma livre: Forma 1381">
                  <a:extLst>
                    <a:ext uri="{FF2B5EF4-FFF2-40B4-BE49-F238E27FC236}">
                      <a16:creationId xmlns:a16="http://schemas.microsoft.com/office/drawing/2014/main" id="{102AC171-5626-BA44-AE3B-642C82334A34}"/>
                    </a:ext>
                  </a:extLst>
                </p:cNvPr>
                <p:cNvSpPr/>
                <p:nvPr/>
              </p:nvSpPr>
              <p:spPr>
                <a:xfrm>
                  <a:off x="3415694" y="4252919"/>
                  <a:ext cx="30307" cy="30307"/>
                </a:xfrm>
                <a:custGeom>
                  <a:avLst/>
                  <a:gdLst>
                    <a:gd name="connsiteX0" fmla="*/ 30308 w 30307"/>
                    <a:gd name="connsiteY0" fmla="*/ 15154 h 30307"/>
                    <a:gd name="connsiteX1" fmla="*/ 15154 w 30307"/>
                    <a:gd name="connsiteY1" fmla="*/ 30308 h 30307"/>
                    <a:gd name="connsiteX2" fmla="*/ 0 w 30307"/>
                    <a:gd name="connsiteY2" fmla="*/ 15154 h 30307"/>
                    <a:gd name="connsiteX3" fmla="*/ 15154 w 30307"/>
                    <a:gd name="connsiteY3" fmla="*/ 0 h 30307"/>
                    <a:gd name="connsiteX4" fmla="*/ 30308 w 30307"/>
                    <a:gd name="connsiteY4" fmla="*/ 15154 h 3030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0307" h="30307">
                      <a:moveTo>
                        <a:pt x="30308" y="15154"/>
                      </a:moveTo>
                      <a:cubicBezTo>
                        <a:pt x="30308" y="23519"/>
                        <a:pt x="23519" y="30308"/>
                        <a:pt x="15154" y="30308"/>
                      </a:cubicBezTo>
                      <a:cubicBezTo>
                        <a:pt x="6789" y="30308"/>
                        <a:pt x="0" y="23519"/>
                        <a:pt x="0" y="15154"/>
                      </a:cubicBezTo>
                      <a:cubicBezTo>
                        <a:pt x="0" y="6789"/>
                        <a:pt x="6789" y="0"/>
                        <a:pt x="15154" y="0"/>
                      </a:cubicBezTo>
                      <a:cubicBezTo>
                        <a:pt x="23519" y="0"/>
                        <a:pt x="30308" y="6789"/>
                        <a:pt x="30308" y="15154"/>
                      </a:cubicBezTo>
                      <a:close/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</p:grpSp>
      <p:grpSp>
        <p:nvGrpSpPr>
          <p:cNvPr id="1383" name="Gráfico 14">
            <a:extLst>
              <a:ext uri="{FF2B5EF4-FFF2-40B4-BE49-F238E27FC236}">
                <a16:creationId xmlns:a16="http://schemas.microsoft.com/office/drawing/2014/main" id="{017D3F25-D90C-1869-0473-B53C02FFB579}"/>
              </a:ext>
            </a:extLst>
          </p:cNvPr>
          <p:cNvGrpSpPr/>
          <p:nvPr/>
        </p:nvGrpSpPr>
        <p:grpSpPr>
          <a:xfrm>
            <a:off x="2533284" y="4112114"/>
            <a:ext cx="322936" cy="296099"/>
            <a:chOff x="2533284" y="4112114"/>
            <a:chExt cx="322936" cy="296099"/>
          </a:xfrm>
          <a:noFill/>
        </p:grpSpPr>
        <p:grpSp>
          <p:nvGrpSpPr>
            <p:cNvPr id="1384" name="Gráfico 14">
              <a:extLst>
                <a:ext uri="{FF2B5EF4-FFF2-40B4-BE49-F238E27FC236}">
                  <a16:creationId xmlns:a16="http://schemas.microsoft.com/office/drawing/2014/main" id="{E8D1E18B-4C1B-6681-0FBD-E71CE0295821}"/>
                </a:ext>
              </a:extLst>
            </p:cNvPr>
            <p:cNvGrpSpPr/>
            <p:nvPr/>
          </p:nvGrpSpPr>
          <p:grpSpPr>
            <a:xfrm>
              <a:off x="2698045" y="4112114"/>
              <a:ext cx="158174" cy="158174"/>
              <a:chOff x="2698045" y="4112114"/>
              <a:chExt cx="158174" cy="158174"/>
            </a:xfrm>
            <a:noFill/>
          </p:grpSpPr>
          <p:sp>
            <p:nvSpPr>
              <p:cNvPr id="1385" name="Forma livre: Forma 1384">
                <a:extLst>
                  <a:ext uri="{FF2B5EF4-FFF2-40B4-BE49-F238E27FC236}">
                    <a16:creationId xmlns:a16="http://schemas.microsoft.com/office/drawing/2014/main" id="{5238E55E-ADDE-DE9F-9616-42654FE1289E}"/>
                  </a:ext>
                </a:extLst>
              </p:cNvPr>
              <p:cNvSpPr/>
              <p:nvPr/>
            </p:nvSpPr>
            <p:spPr>
              <a:xfrm>
                <a:off x="2698045" y="4112114"/>
                <a:ext cx="158174" cy="158174"/>
              </a:xfrm>
              <a:custGeom>
                <a:avLst/>
                <a:gdLst>
                  <a:gd name="connsiteX0" fmla="*/ 46256 w 158174"/>
                  <a:gd name="connsiteY0" fmla="*/ 7121 h 158174"/>
                  <a:gd name="connsiteX1" fmla="*/ 79087 w 158174"/>
                  <a:gd name="connsiteY1" fmla="*/ 0 h 158174"/>
                  <a:gd name="connsiteX2" fmla="*/ 158174 w 158174"/>
                  <a:gd name="connsiteY2" fmla="*/ 79087 h 158174"/>
                  <a:gd name="connsiteX3" fmla="*/ 79087 w 158174"/>
                  <a:gd name="connsiteY3" fmla="*/ 158174 h 158174"/>
                  <a:gd name="connsiteX4" fmla="*/ 0 w 158174"/>
                  <a:gd name="connsiteY4" fmla="*/ 79087 h 158174"/>
                  <a:gd name="connsiteX5" fmla="*/ 24052 w 158174"/>
                  <a:gd name="connsiteY5" fmla="*/ 22287 h 158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58174" h="158174">
                    <a:moveTo>
                      <a:pt x="46256" y="7121"/>
                    </a:moveTo>
                    <a:cubicBezTo>
                      <a:pt x="56267" y="2547"/>
                      <a:pt x="67381" y="0"/>
                      <a:pt x="79087" y="0"/>
                    </a:cubicBezTo>
                    <a:cubicBezTo>
                      <a:pt x="122760" y="0"/>
                      <a:pt x="158174" y="35414"/>
                      <a:pt x="158174" y="79087"/>
                    </a:cubicBezTo>
                    <a:cubicBezTo>
                      <a:pt x="158174" y="122760"/>
                      <a:pt x="122760" y="158174"/>
                      <a:pt x="79087" y="158174"/>
                    </a:cubicBezTo>
                    <a:cubicBezTo>
                      <a:pt x="35414" y="158174"/>
                      <a:pt x="0" y="122760"/>
                      <a:pt x="0" y="79087"/>
                    </a:cubicBezTo>
                    <a:cubicBezTo>
                      <a:pt x="0" y="56801"/>
                      <a:pt x="9230" y="36670"/>
                      <a:pt x="24052" y="22287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386" name="Forma livre: Forma 1385">
                <a:extLst>
                  <a:ext uri="{FF2B5EF4-FFF2-40B4-BE49-F238E27FC236}">
                    <a16:creationId xmlns:a16="http://schemas.microsoft.com/office/drawing/2014/main" id="{857C609F-21C4-272F-99A6-65724911EB41}"/>
                  </a:ext>
                </a:extLst>
              </p:cNvPr>
              <p:cNvSpPr/>
              <p:nvPr/>
            </p:nvSpPr>
            <p:spPr>
              <a:xfrm>
                <a:off x="2750107" y="4151960"/>
                <a:ext cx="54075" cy="78482"/>
              </a:xfrm>
              <a:custGeom>
                <a:avLst/>
                <a:gdLst>
                  <a:gd name="connsiteX0" fmla="*/ 54075 w 54075"/>
                  <a:gd name="connsiteY0" fmla="*/ 0 h 78482"/>
                  <a:gd name="connsiteX1" fmla="*/ 0 w 54075"/>
                  <a:gd name="connsiteY1" fmla="*/ 78483 h 784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4075" h="78482">
                    <a:moveTo>
                      <a:pt x="54075" y="0"/>
                    </a:moveTo>
                    <a:lnTo>
                      <a:pt x="0" y="78483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1387" name="Gráfico 14">
                <a:extLst>
                  <a:ext uri="{FF2B5EF4-FFF2-40B4-BE49-F238E27FC236}">
                    <a16:creationId xmlns:a16="http://schemas.microsoft.com/office/drawing/2014/main" id="{D24BB0D3-D80F-52A9-231E-D1BB5EFBD139}"/>
                  </a:ext>
                </a:extLst>
              </p:cNvPr>
              <p:cNvGrpSpPr/>
              <p:nvPr/>
            </p:nvGrpSpPr>
            <p:grpSpPr>
              <a:xfrm>
                <a:off x="2735628" y="4147623"/>
                <a:ext cx="83020" cy="87155"/>
                <a:chOff x="2735628" y="4147623"/>
                <a:chExt cx="83020" cy="87155"/>
              </a:xfrm>
              <a:noFill/>
            </p:grpSpPr>
            <p:sp>
              <p:nvSpPr>
                <p:cNvPr id="1388" name="Forma livre: Forma 1387">
                  <a:extLst>
                    <a:ext uri="{FF2B5EF4-FFF2-40B4-BE49-F238E27FC236}">
                      <a16:creationId xmlns:a16="http://schemas.microsoft.com/office/drawing/2014/main" id="{73BD331F-8461-84F7-5B1C-12D3E2F3FFC8}"/>
                    </a:ext>
                  </a:extLst>
                </p:cNvPr>
                <p:cNvSpPr/>
                <p:nvPr/>
              </p:nvSpPr>
              <p:spPr>
                <a:xfrm>
                  <a:off x="2735628" y="4147623"/>
                  <a:ext cx="30307" cy="30307"/>
                </a:xfrm>
                <a:custGeom>
                  <a:avLst/>
                  <a:gdLst>
                    <a:gd name="connsiteX0" fmla="*/ 30308 w 30307"/>
                    <a:gd name="connsiteY0" fmla="*/ 15154 h 30307"/>
                    <a:gd name="connsiteX1" fmla="*/ 15154 w 30307"/>
                    <a:gd name="connsiteY1" fmla="*/ 30308 h 30307"/>
                    <a:gd name="connsiteX2" fmla="*/ 0 w 30307"/>
                    <a:gd name="connsiteY2" fmla="*/ 15154 h 30307"/>
                    <a:gd name="connsiteX3" fmla="*/ 15154 w 30307"/>
                    <a:gd name="connsiteY3" fmla="*/ 0 h 30307"/>
                    <a:gd name="connsiteX4" fmla="*/ 30308 w 30307"/>
                    <a:gd name="connsiteY4" fmla="*/ 15154 h 3030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0307" h="30307">
                      <a:moveTo>
                        <a:pt x="30308" y="15154"/>
                      </a:moveTo>
                      <a:cubicBezTo>
                        <a:pt x="30308" y="23519"/>
                        <a:pt x="23519" y="30308"/>
                        <a:pt x="15154" y="30308"/>
                      </a:cubicBezTo>
                      <a:cubicBezTo>
                        <a:pt x="6789" y="30308"/>
                        <a:pt x="0" y="23519"/>
                        <a:pt x="0" y="15154"/>
                      </a:cubicBezTo>
                      <a:cubicBezTo>
                        <a:pt x="0" y="6789"/>
                        <a:pt x="6777" y="0"/>
                        <a:pt x="15154" y="0"/>
                      </a:cubicBezTo>
                      <a:cubicBezTo>
                        <a:pt x="23531" y="0"/>
                        <a:pt x="30308" y="6789"/>
                        <a:pt x="30308" y="15154"/>
                      </a:cubicBezTo>
                      <a:close/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389" name="Forma livre: Forma 1388">
                  <a:extLst>
                    <a:ext uri="{FF2B5EF4-FFF2-40B4-BE49-F238E27FC236}">
                      <a16:creationId xmlns:a16="http://schemas.microsoft.com/office/drawing/2014/main" id="{9430D53D-FAEA-2E89-06B1-0D2A4C96DA8F}"/>
                    </a:ext>
                  </a:extLst>
                </p:cNvPr>
                <p:cNvSpPr/>
                <p:nvPr/>
              </p:nvSpPr>
              <p:spPr>
                <a:xfrm>
                  <a:off x="2788341" y="4204471"/>
                  <a:ext cx="30307" cy="30307"/>
                </a:xfrm>
                <a:custGeom>
                  <a:avLst/>
                  <a:gdLst>
                    <a:gd name="connsiteX0" fmla="*/ 30308 w 30307"/>
                    <a:gd name="connsiteY0" fmla="*/ 15154 h 30307"/>
                    <a:gd name="connsiteX1" fmla="*/ 15154 w 30307"/>
                    <a:gd name="connsiteY1" fmla="*/ 30308 h 30307"/>
                    <a:gd name="connsiteX2" fmla="*/ 0 w 30307"/>
                    <a:gd name="connsiteY2" fmla="*/ 15154 h 30307"/>
                    <a:gd name="connsiteX3" fmla="*/ 15154 w 30307"/>
                    <a:gd name="connsiteY3" fmla="*/ 0 h 30307"/>
                    <a:gd name="connsiteX4" fmla="*/ 30308 w 30307"/>
                    <a:gd name="connsiteY4" fmla="*/ 15154 h 3030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0307" h="30307">
                      <a:moveTo>
                        <a:pt x="30308" y="15154"/>
                      </a:moveTo>
                      <a:cubicBezTo>
                        <a:pt x="30308" y="23531"/>
                        <a:pt x="23519" y="30308"/>
                        <a:pt x="15154" y="30308"/>
                      </a:cubicBezTo>
                      <a:cubicBezTo>
                        <a:pt x="6789" y="30308"/>
                        <a:pt x="0" y="23519"/>
                        <a:pt x="0" y="15154"/>
                      </a:cubicBezTo>
                      <a:cubicBezTo>
                        <a:pt x="0" y="6789"/>
                        <a:pt x="6789" y="0"/>
                        <a:pt x="15154" y="0"/>
                      </a:cubicBezTo>
                      <a:cubicBezTo>
                        <a:pt x="23519" y="0"/>
                        <a:pt x="30308" y="6789"/>
                        <a:pt x="30308" y="15154"/>
                      </a:cubicBezTo>
                      <a:close/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sp>
          <p:nvSpPr>
            <p:cNvPr id="1390" name="Forma livre: Forma 1389">
              <a:extLst>
                <a:ext uri="{FF2B5EF4-FFF2-40B4-BE49-F238E27FC236}">
                  <a16:creationId xmlns:a16="http://schemas.microsoft.com/office/drawing/2014/main" id="{CD1BE3AF-1161-62BD-DF33-E35C87B41F23}"/>
                </a:ext>
              </a:extLst>
            </p:cNvPr>
            <p:cNvSpPr/>
            <p:nvPr/>
          </p:nvSpPr>
          <p:spPr>
            <a:xfrm>
              <a:off x="2634006" y="4344103"/>
              <a:ext cx="106136" cy="1184"/>
            </a:xfrm>
            <a:custGeom>
              <a:avLst/>
              <a:gdLst>
                <a:gd name="connsiteX0" fmla="*/ 0 w 106136"/>
                <a:gd name="connsiteY0" fmla="*/ 0 h 1184"/>
                <a:gd name="connsiteX1" fmla="*/ 106137 w 106136"/>
                <a:gd name="connsiteY1" fmla="*/ 0 h 11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6136" h="1184">
                  <a:moveTo>
                    <a:pt x="0" y="0"/>
                  </a:moveTo>
                  <a:lnTo>
                    <a:pt x="106137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391" name="Forma livre: Forma 1390">
              <a:extLst>
                <a:ext uri="{FF2B5EF4-FFF2-40B4-BE49-F238E27FC236}">
                  <a16:creationId xmlns:a16="http://schemas.microsoft.com/office/drawing/2014/main" id="{398D325F-D122-B863-8ADB-9C6B89A276BB}"/>
                </a:ext>
              </a:extLst>
            </p:cNvPr>
            <p:cNvSpPr/>
            <p:nvPr/>
          </p:nvSpPr>
          <p:spPr>
            <a:xfrm>
              <a:off x="2533284" y="4237954"/>
              <a:ext cx="38246" cy="24525"/>
            </a:xfrm>
            <a:custGeom>
              <a:avLst/>
              <a:gdLst>
                <a:gd name="connsiteX0" fmla="*/ 25415 w 38246"/>
                <a:gd name="connsiteY0" fmla="*/ 0 h 24525"/>
                <a:gd name="connsiteX1" fmla="*/ 15024 w 38246"/>
                <a:gd name="connsiteY1" fmla="*/ 0 h 24525"/>
                <a:gd name="connsiteX2" fmla="*/ 0 w 38246"/>
                <a:gd name="connsiteY2" fmla="*/ 21161 h 24525"/>
                <a:gd name="connsiteX3" fmla="*/ 38246 w 38246"/>
                <a:gd name="connsiteY3" fmla="*/ 24526 h 24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8246" h="24525">
                  <a:moveTo>
                    <a:pt x="25415" y="0"/>
                  </a:moveTo>
                  <a:lnTo>
                    <a:pt x="15024" y="0"/>
                  </a:lnTo>
                  <a:cubicBezTo>
                    <a:pt x="1528" y="0"/>
                    <a:pt x="0" y="21161"/>
                    <a:pt x="0" y="21161"/>
                  </a:cubicBezTo>
                  <a:lnTo>
                    <a:pt x="38246" y="24526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392" name="Gráfico 14">
              <a:extLst>
                <a:ext uri="{FF2B5EF4-FFF2-40B4-BE49-F238E27FC236}">
                  <a16:creationId xmlns:a16="http://schemas.microsoft.com/office/drawing/2014/main" id="{34E32C09-A55E-2BFC-524B-B365EF3AC9A0}"/>
                </a:ext>
              </a:extLst>
            </p:cNvPr>
            <p:cNvGrpSpPr/>
            <p:nvPr/>
          </p:nvGrpSpPr>
          <p:grpSpPr>
            <a:xfrm>
              <a:off x="2560535" y="4374186"/>
              <a:ext cx="253078" cy="34028"/>
              <a:chOff x="2560535" y="4374186"/>
              <a:chExt cx="253078" cy="34028"/>
            </a:xfrm>
            <a:noFill/>
          </p:grpSpPr>
          <p:sp>
            <p:nvSpPr>
              <p:cNvPr id="1393" name="Forma livre: Forma 1392">
                <a:extLst>
                  <a:ext uri="{FF2B5EF4-FFF2-40B4-BE49-F238E27FC236}">
                    <a16:creationId xmlns:a16="http://schemas.microsoft.com/office/drawing/2014/main" id="{0113FD67-FABD-E47D-C610-15716E247A78}"/>
                  </a:ext>
                </a:extLst>
              </p:cNvPr>
              <p:cNvSpPr/>
              <p:nvPr/>
            </p:nvSpPr>
            <p:spPr>
              <a:xfrm>
                <a:off x="2560535" y="4374186"/>
                <a:ext cx="57274" cy="34028"/>
              </a:xfrm>
              <a:custGeom>
                <a:avLst/>
                <a:gdLst>
                  <a:gd name="connsiteX0" fmla="*/ 57274 w 57274"/>
                  <a:gd name="connsiteY0" fmla="*/ 17843 h 34028"/>
                  <a:gd name="connsiteX1" fmla="*/ 57274 w 57274"/>
                  <a:gd name="connsiteY1" fmla="*/ 29123 h 34028"/>
                  <a:gd name="connsiteX2" fmla="*/ 52357 w 57274"/>
                  <a:gd name="connsiteY2" fmla="*/ 34028 h 34028"/>
                  <a:gd name="connsiteX3" fmla="*/ 4905 w 57274"/>
                  <a:gd name="connsiteY3" fmla="*/ 34028 h 34028"/>
                  <a:gd name="connsiteX4" fmla="*/ 0 w 57274"/>
                  <a:gd name="connsiteY4" fmla="*/ 29123 h 34028"/>
                  <a:gd name="connsiteX5" fmla="*/ 0 w 57274"/>
                  <a:gd name="connsiteY5" fmla="*/ 0 h 340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57274" h="34028">
                    <a:moveTo>
                      <a:pt x="57274" y="17843"/>
                    </a:moveTo>
                    <a:lnTo>
                      <a:pt x="57274" y="29123"/>
                    </a:lnTo>
                    <a:cubicBezTo>
                      <a:pt x="57274" y="31824"/>
                      <a:pt x="55071" y="34028"/>
                      <a:pt x="52357" y="34028"/>
                    </a:cubicBezTo>
                    <a:lnTo>
                      <a:pt x="4905" y="34028"/>
                    </a:lnTo>
                    <a:cubicBezTo>
                      <a:pt x="2204" y="34028"/>
                      <a:pt x="0" y="31824"/>
                      <a:pt x="0" y="29123"/>
                    </a:cubicBezTo>
                    <a:lnTo>
                      <a:pt x="0" y="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394" name="Forma livre: Forma 1393">
                <a:extLst>
                  <a:ext uri="{FF2B5EF4-FFF2-40B4-BE49-F238E27FC236}">
                    <a16:creationId xmlns:a16="http://schemas.microsoft.com/office/drawing/2014/main" id="{A11D05EA-1AF4-7775-73B0-44A6327B300C}"/>
                  </a:ext>
                </a:extLst>
              </p:cNvPr>
              <p:cNvSpPr/>
              <p:nvPr/>
            </p:nvSpPr>
            <p:spPr>
              <a:xfrm>
                <a:off x="2756339" y="4374186"/>
                <a:ext cx="57274" cy="34028"/>
              </a:xfrm>
              <a:custGeom>
                <a:avLst/>
                <a:gdLst>
                  <a:gd name="connsiteX0" fmla="*/ 0 w 57274"/>
                  <a:gd name="connsiteY0" fmla="*/ 17843 h 34028"/>
                  <a:gd name="connsiteX1" fmla="*/ 0 w 57274"/>
                  <a:gd name="connsiteY1" fmla="*/ 29123 h 34028"/>
                  <a:gd name="connsiteX2" fmla="*/ 4917 w 57274"/>
                  <a:gd name="connsiteY2" fmla="*/ 34028 h 34028"/>
                  <a:gd name="connsiteX3" fmla="*/ 52369 w 57274"/>
                  <a:gd name="connsiteY3" fmla="*/ 34028 h 34028"/>
                  <a:gd name="connsiteX4" fmla="*/ 57274 w 57274"/>
                  <a:gd name="connsiteY4" fmla="*/ 29123 h 34028"/>
                  <a:gd name="connsiteX5" fmla="*/ 57274 w 57274"/>
                  <a:gd name="connsiteY5" fmla="*/ 0 h 340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57274" h="34028">
                    <a:moveTo>
                      <a:pt x="0" y="17843"/>
                    </a:moveTo>
                    <a:lnTo>
                      <a:pt x="0" y="29123"/>
                    </a:lnTo>
                    <a:cubicBezTo>
                      <a:pt x="0" y="31824"/>
                      <a:pt x="2216" y="34028"/>
                      <a:pt x="4917" y="34028"/>
                    </a:cubicBezTo>
                    <a:lnTo>
                      <a:pt x="52369" y="34028"/>
                    </a:lnTo>
                    <a:cubicBezTo>
                      <a:pt x="55071" y="34028"/>
                      <a:pt x="57274" y="31824"/>
                      <a:pt x="57274" y="29123"/>
                    </a:cubicBezTo>
                    <a:lnTo>
                      <a:pt x="57274" y="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395" name="Gráfico 14">
              <a:extLst>
                <a:ext uri="{FF2B5EF4-FFF2-40B4-BE49-F238E27FC236}">
                  <a16:creationId xmlns:a16="http://schemas.microsoft.com/office/drawing/2014/main" id="{53F92793-8D82-A98B-4CEC-6C80753B3871}"/>
                </a:ext>
              </a:extLst>
            </p:cNvPr>
            <p:cNvGrpSpPr/>
            <p:nvPr/>
          </p:nvGrpSpPr>
          <p:grpSpPr>
            <a:xfrm>
              <a:off x="2547253" y="4200786"/>
              <a:ext cx="279642" cy="172925"/>
              <a:chOff x="2547253" y="4200786"/>
              <a:chExt cx="279642" cy="172925"/>
            </a:xfrm>
            <a:noFill/>
          </p:grpSpPr>
          <p:sp>
            <p:nvSpPr>
              <p:cNvPr id="1396" name="Forma livre: Forma 1395">
                <a:extLst>
                  <a:ext uri="{FF2B5EF4-FFF2-40B4-BE49-F238E27FC236}">
                    <a16:creationId xmlns:a16="http://schemas.microsoft.com/office/drawing/2014/main" id="{F877BF4C-BB36-9CBC-4FA5-D78CA07D2018}"/>
                  </a:ext>
                </a:extLst>
              </p:cNvPr>
              <p:cNvSpPr/>
              <p:nvPr/>
            </p:nvSpPr>
            <p:spPr>
              <a:xfrm>
                <a:off x="2592951" y="4263641"/>
                <a:ext cx="115544" cy="3196"/>
              </a:xfrm>
              <a:custGeom>
                <a:avLst/>
                <a:gdLst>
                  <a:gd name="connsiteX0" fmla="*/ 115544 w 115544"/>
                  <a:gd name="connsiteY0" fmla="*/ 3187 h 3196"/>
                  <a:gd name="connsiteX1" fmla="*/ 13981 w 115544"/>
                  <a:gd name="connsiteY1" fmla="*/ 3187 h 3196"/>
                  <a:gd name="connsiteX2" fmla="*/ 0 w 115544"/>
                  <a:gd name="connsiteY2" fmla="*/ 0 h 31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15544" h="3196">
                    <a:moveTo>
                      <a:pt x="115544" y="3187"/>
                    </a:moveTo>
                    <a:lnTo>
                      <a:pt x="13981" y="3187"/>
                    </a:lnTo>
                    <a:cubicBezTo>
                      <a:pt x="13981" y="3187"/>
                      <a:pt x="7772" y="3531"/>
                      <a:pt x="0" y="0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397" name="Forma livre: Forma 1396">
                <a:extLst>
                  <a:ext uri="{FF2B5EF4-FFF2-40B4-BE49-F238E27FC236}">
                    <a16:creationId xmlns:a16="http://schemas.microsoft.com/office/drawing/2014/main" id="{FBE028E5-4B9A-738F-73D4-F1D83390F809}"/>
                  </a:ext>
                </a:extLst>
              </p:cNvPr>
              <p:cNvSpPr/>
              <p:nvPr/>
            </p:nvSpPr>
            <p:spPr>
              <a:xfrm>
                <a:off x="2547253" y="4200786"/>
                <a:ext cx="279642" cy="172925"/>
              </a:xfrm>
              <a:custGeom>
                <a:avLst/>
                <a:gdLst>
                  <a:gd name="connsiteX0" fmla="*/ 271207 w 279642"/>
                  <a:gd name="connsiteY0" fmla="*/ 83246 h 172925"/>
                  <a:gd name="connsiteX1" fmla="*/ 279643 w 279642"/>
                  <a:gd name="connsiteY1" fmla="*/ 108447 h 172925"/>
                  <a:gd name="connsiteX2" fmla="*/ 279643 w 279642"/>
                  <a:gd name="connsiteY2" fmla="*/ 158719 h 172925"/>
                  <a:gd name="connsiteX3" fmla="*/ 264643 w 279642"/>
                  <a:gd name="connsiteY3" fmla="*/ 172925 h 172925"/>
                  <a:gd name="connsiteX4" fmla="*/ 15000 w 279642"/>
                  <a:gd name="connsiteY4" fmla="*/ 172925 h 172925"/>
                  <a:gd name="connsiteX5" fmla="*/ 0 w 279642"/>
                  <a:gd name="connsiteY5" fmla="*/ 158719 h 172925"/>
                  <a:gd name="connsiteX6" fmla="*/ 0 w 279642"/>
                  <a:gd name="connsiteY6" fmla="*/ 108447 h 172925"/>
                  <a:gd name="connsiteX7" fmla="*/ 12358 w 279642"/>
                  <a:gd name="connsiteY7" fmla="*/ 78590 h 172925"/>
                  <a:gd name="connsiteX8" fmla="*/ 29135 w 279642"/>
                  <a:gd name="connsiteY8" fmla="*/ 55497 h 172925"/>
                  <a:gd name="connsiteX9" fmla="*/ 45367 w 279642"/>
                  <a:gd name="connsiteY9" fmla="*/ 11552 h 172925"/>
                  <a:gd name="connsiteX10" fmla="*/ 65367 w 279642"/>
                  <a:gd name="connsiteY10" fmla="*/ 0 h 172925"/>
                  <a:gd name="connsiteX11" fmla="*/ 127594 w 279642"/>
                  <a:gd name="connsiteY11" fmla="*/ 0 h 1729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279642" h="172925">
                    <a:moveTo>
                      <a:pt x="271207" y="83246"/>
                    </a:moveTo>
                    <a:cubicBezTo>
                      <a:pt x="276645" y="91125"/>
                      <a:pt x="279643" y="102085"/>
                      <a:pt x="279643" y="108447"/>
                    </a:cubicBezTo>
                    <a:lnTo>
                      <a:pt x="279643" y="158719"/>
                    </a:lnTo>
                    <a:cubicBezTo>
                      <a:pt x="279643" y="166124"/>
                      <a:pt x="273410" y="172925"/>
                      <a:pt x="264643" y="172925"/>
                    </a:cubicBezTo>
                    <a:lnTo>
                      <a:pt x="15000" y="172925"/>
                    </a:lnTo>
                    <a:cubicBezTo>
                      <a:pt x="6232" y="172925"/>
                      <a:pt x="0" y="166124"/>
                      <a:pt x="0" y="158719"/>
                    </a:cubicBezTo>
                    <a:lnTo>
                      <a:pt x="0" y="108447"/>
                    </a:lnTo>
                    <a:cubicBezTo>
                      <a:pt x="0" y="100687"/>
                      <a:pt x="4455" y="86101"/>
                      <a:pt x="12358" y="78590"/>
                    </a:cubicBezTo>
                    <a:cubicBezTo>
                      <a:pt x="12358" y="78590"/>
                      <a:pt x="27843" y="60059"/>
                      <a:pt x="29135" y="55497"/>
                    </a:cubicBezTo>
                    <a:cubicBezTo>
                      <a:pt x="29135" y="55497"/>
                      <a:pt x="43211" y="15782"/>
                      <a:pt x="45367" y="11552"/>
                    </a:cubicBezTo>
                    <a:cubicBezTo>
                      <a:pt x="45367" y="11552"/>
                      <a:pt x="51267" y="0"/>
                      <a:pt x="65367" y="0"/>
                    </a:cubicBezTo>
                    <a:lnTo>
                      <a:pt x="127594" y="0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398" name="Gráfico 14">
              <a:extLst>
                <a:ext uri="{FF2B5EF4-FFF2-40B4-BE49-F238E27FC236}">
                  <a16:creationId xmlns:a16="http://schemas.microsoft.com/office/drawing/2014/main" id="{D1B648E5-BAC0-0A85-8978-1C3D13300FC9}"/>
                </a:ext>
              </a:extLst>
            </p:cNvPr>
            <p:cNvGrpSpPr/>
            <p:nvPr/>
          </p:nvGrpSpPr>
          <p:grpSpPr>
            <a:xfrm>
              <a:off x="2575025" y="4301888"/>
              <a:ext cx="224109" cy="9182"/>
              <a:chOff x="2575025" y="4301888"/>
              <a:chExt cx="224109" cy="9182"/>
            </a:xfrm>
            <a:noFill/>
          </p:grpSpPr>
          <p:sp>
            <p:nvSpPr>
              <p:cNvPr id="1399" name="Forma livre: Forma 1398">
                <a:extLst>
                  <a:ext uri="{FF2B5EF4-FFF2-40B4-BE49-F238E27FC236}">
                    <a16:creationId xmlns:a16="http://schemas.microsoft.com/office/drawing/2014/main" id="{2B68EE29-2DC8-B05F-85F1-3D12DD1DC99D}"/>
                  </a:ext>
                </a:extLst>
              </p:cNvPr>
              <p:cNvSpPr/>
              <p:nvPr/>
            </p:nvSpPr>
            <p:spPr>
              <a:xfrm>
                <a:off x="2575025" y="4301888"/>
                <a:ext cx="48696" cy="9182"/>
              </a:xfrm>
              <a:custGeom>
                <a:avLst/>
                <a:gdLst>
                  <a:gd name="connsiteX0" fmla="*/ 0 w 48696"/>
                  <a:gd name="connsiteY0" fmla="*/ 0 h 9182"/>
                  <a:gd name="connsiteX1" fmla="*/ 24881 w 48696"/>
                  <a:gd name="connsiteY1" fmla="*/ 9182 h 9182"/>
                  <a:gd name="connsiteX2" fmla="*/ 48696 w 48696"/>
                  <a:gd name="connsiteY2" fmla="*/ 9182 h 91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48696" h="9182">
                    <a:moveTo>
                      <a:pt x="0" y="0"/>
                    </a:moveTo>
                    <a:cubicBezTo>
                      <a:pt x="7998" y="6813"/>
                      <a:pt x="18365" y="9182"/>
                      <a:pt x="24881" y="9182"/>
                    </a:cubicBezTo>
                    <a:lnTo>
                      <a:pt x="48696" y="9182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400" name="Forma livre: Forma 1399">
                <a:extLst>
                  <a:ext uri="{FF2B5EF4-FFF2-40B4-BE49-F238E27FC236}">
                    <a16:creationId xmlns:a16="http://schemas.microsoft.com/office/drawing/2014/main" id="{C8C29B80-A33E-C266-5641-D7E5A15111D2}"/>
                  </a:ext>
                </a:extLst>
              </p:cNvPr>
              <p:cNvSpPr/>
              <p:nvPr/>
            </p:nvSpPr>
            <p:spPr>
              <a:xfrm>
                <a:off x="2750438" y="4301888"/>
                <a:ext cx="48696" cy="9182"/>
              </a:xfrm>
              <a:custGeom>
                <a:avLst/>
                <a:gdLst>
                  <a:gd name="connsiteX0" fmla="*/ 0 w 48696"/>
                  <a:gd name="connsiteY0" fmla="*/ 9182 h 9182"/>
                  <a:gd name="connsiteX1" fmla="*/ 23815 w 48696"/>
                  <a:gd name="connsiteY1" fmla="*/ 9182 h 9182"/>
                  <a:gd name="connsiteX2" fmla="*/ 48696 w 48696"/>
                  <a:gd name="connsiteY2" fmla="*/ 0 h 91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48696" h="9182">
                    <a:moveTo>
                      <a:pt x="0" y="9182"/>
                    </a:moveTo>
                    <a:lnTo>
                      <a:pt x="23815" y="9182"/>
                    </a:lnTo>
                    <a:cubicBezTo>
                      <a:pt x="30332" y="9182"/>
                      <a:pt x="40699" y="6813"/>
                      <a:pt x="48696" y="0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401" name="Gráfico 14">
            <a:extLst>
              <a:ext uri="{FF2B5EF4-FFF2-40B4-BE49-F238E27FC236}">
                <a16:creationId xmlns:a16="http://schemas.microsoft.com/office/drawing/2014/main" id="{4D5E589D-9568-86E9-BFA3-2AF7BB1B084C}"/>
              </a:ext>
            </a:extLst>
          </p:cNvPr>
          <p:cNvGrpSpPr/>
          <p:nvPr/>
        </p:nvGrpSpPr>
        <p:grpSpPr>
          <a:xfrm>
            <a:off x="3813599" y="5669651"/>
            <a:ext cx="233340" cy="322805"/>
            <a:chOff x="3813599" y="5669651"/>
            <a:chExt cx="233340" cy="322805"/>
          </a:xfrm>
          <a:noFill/>
        </p:grpSpPr>
        <p:grpSp>
          <p:nvGrpSpPr>
            <p:cNvPr id="1402" name="Gráfico 14">
              <a:extLst>
                <a:ext uri="{FF2B5EF4-FFF2-40B4-BE49-F238E27FC236}">
                  <a16:creationId xmlns:a16="http://schemas.microsoft.com/office/drawing/2014/main" id="{5A44C1B2-A66E-93AF-7033-0E600EC043A2}"/>
                </a:ext>
              </a:extLst>
            </p:cNvPr>
            <p:cNvGrpSpPr/>
            <p:nvPr/>
          </p:nvGrpSpPr>
          <p:grpSpPr>
            <a:xfrm>
              <a:off x="3882741" y="5832553"/>
              <a:ext cx="95070" cy="99821"/>
              <a:chOff x="3882741" y="5832553"/>
              <a:chExt cx="95070" cy="99821"/>
            </a:xfrm>
            <a:noFill/>
          </p:grpSpPr>
          <p:sp>
            <p:nvSpPr>
              <p:cNvPr id="1403" name="Forma livre: Forma 1402">
                <a:extLst>
                  <a:ext uri="{FF2B5EF4-FFF2-40B4-BE49-F238E27FC236}">
                    <a16:creationId xmlns:a16="http://schemas.microsoft.com/office/drawing/2014/main" id="{B861CA93-FF54-EED1-3815-CE14AFCC171A}"/>
                  </a:ext>
                </a:extLst>
              </p:cNvPr>
              <p:cNvSpPr/>
              <p:nvPr/>
            </p:nvSpPr>
            <p:spPr>
              <a:xfrm>
                <a:off x="3899305" y="5837517"/>
                <a:ext cx="61930" cy="89869"/>
              </a:xfrm>
              <a:custGeom>
                <a:avLst/>
                <a:gdLst>
                  <a:gd name="connsiteX0" fmla="*/ 61931 w 61930"/>
                  <a:gd name="connsiteY0" fmla="*/ 0 h 89869"/>
                  <a:gd name="connsiteX1" fmla="*/ 0 w 61930"/>
                  <a:gd name="connsiteY1" fmla="*/ 89869 h 898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1930" h="89869">
                    <a:moveTo>
                      <a:pt x="61931" y="0"/>
                    </a:moveTo>
                    <a:lnTo>
                      <a:pt x="0" y="89869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1404" name="Gráfico 14">
                <a:extLst>
                  <a:ext uri="{FF2B5EF4-FFF2-40B4-BE49-F238E27FC236}">
                    <a16:creationId xmlns:a16="http://schemas.microsoft.com/office/drawing/2014/main" id="{D006E87B-27D2-C637-FA05-4B7856051A96}"/>
                  </a:ext>
                </a:extLst>
              </p:cNvPr>
              <p:cNvGrpSpPr/>
              <p:nvPr/>
            </p:nvGrpSpPr>
            <p:grpSpPr>
              <a:xfrm>
                <a:off x="3882741" y="5832553"/>
                <a:ext cx="95070" cy="99821"/>
                <a:chOff x="3882741" y="5832553"/>
                <a:chExt cx="95070" cy="99821"/>
              </a:xfrm>
              <a:noFill/>
            </p:grpSpPr>
            <p:sp>
              <p:nvSpPr>
                <p:cNvPr id="1405" name="Forma livre: Forma 1404">
                  <a:extLst>
                    <a:ext uri="{FF2B5EF4-FFF2-40B4-BE49-F238E27FC236}">
                      <a16:creationId xmlns:a16="http://schemas.microsoft.com/office/drawing/2014/main" id="{160ED683-BA2E-D2AC-156E-B3F16EB4B0D2}"/>
                    </a:ext>
                  </a:extLst>
                </p:cNvPr>
                <p:cNvSpPr/>
                <p:nvPr/>
              </p:nvSpPr>
              <p:spPr>
                <a:xfrm>
                  <a:off x="3882741" y="5832553"/>
                  <a:ext cx="34703" cy="34715"/>
                </a:xfrm>
                <a:custGeom>
                  <a:avLst/>
                  <a:gdLst>
                    <a:gd name="connsiteX0" fmla="*/ 34704 w 34703"/>
                    <a:gd name="connsiteY0" fmla="*/ 17358 h 34715"/>
                    <a:gd name="connsiteX1" fmla="*/ 17346 w 34703"/>
                    <a:gd name="connsiteY1" fmla="*/ 34715 h 34715"/>
                    <a:gd name="connsiteX2" fmla="*/ 0 w 34703"/>
                    <a:gd name="connsiteY2" fmla="*/ 17358 h 34715"/>
                    <a:gd name="connsiteX3" fmla="*/ 17346 w 34703"/>
                    <a:gd name="connsiteY3" fmla="*/ 0 h 34715"/>
                    <a:gd name="connsiteX4" fmla="*/ 34704 w 34703"/>
                    <a:gd name="connsiteY4" fmla="*/ 17358 h 3471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4703" h="34715">
                      <a:moveTo>
                        <a:pt x="34704" y="17358"/>
                      </a:moveTo>
                      <a:cubicBezTo>
                        <a:pt x="34704" y="26943"/>
                        <a:pt x="26931" y="34715"/>
                        <a:pt x="17346" y="34715"/>
                      </a:cubicBezTo>
                      <a:cubicBezTo>
                        <a:pt x="7761" y="34715"/>
                        <a:pt x="0" y="26943"/>
                        <a:pt x="0" y="17358"/>
                      </a:cubicBezTo>
                      <a:cubicBezTo>
                        <a:pt x="0" y="7772"/>
                        <a:pt x="7761" y="0"/>
                        <a:pt x="17346" y="0"/>
                      </a:cubicBezTo>
                      <a:cubicBezTo>
                        <a:pt x="26931" y="0"/>
                        <a:pt x="34704" y="7772"/>
                        <a:pt x="34704" y="17358"/>
                      </a:cubicBezTo>
                      <a:close/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406" name="Forma livre: Forma 1405">
                  <a:extLst>
                    <a:ext uri="{FF2B5EF4-FFF2-40B4-BE49-F238E27FC236}">
                      <a16:creationId xmlns:a16="http://schemas.microsoft.com/office/drawing/2014/main" id="{C449599E-F9B2-0EE5-E154-B3A4D9D3521C}"/>
                    </a:ext>
                  </a:extLst>
                </p:cNvPr>
                <p:cNvSpPr/>
                <p:nvPr/>
              </p:nvSpPr>
              <p:spPr>
                <a:xfrm>
                  <a:off x="3943096" y="5897659"/>
                  <a:ext cx="34715" cy="34715"/>
                </a:xfrm>
                <a:custGeom>
                  <a:avLst/>
                  <a:gdLst>
                    <a:gd name="connsiteX0" fmla="*/ 34715 w 34715"/>
                    <a:gd name="connsiteY0" fmla="*/ 17346 h 34715"/>
                    <a:gd name="connsiteX1" fmla="*/ 17346 w 34715"/>
                    <a:gd name="connsiteY1" fmla="*/ 34715 h 34715"/>
                    <a:gd name="connsiteX2" fmla="*/ 0 w 34715"/>
                    <a:gd name="connsiteY2" fmla="*/ 17346 h 34715"/>
                    <a:gd name="connsiteX3" fmla="*/ 17346 w 34715"/>
                    <a:gd name="connsiteY3" fmla="*/ 0 h 34715"/>
                    <a:gd name="connsiteX4" fmla="*/ 34715 w 34715"/>
                    <a:gd name="connsiteY4" fmla="*/ 17346 h 3471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4715" h="34715">
                      <a:moveTo>
                        <a:pt x="34715" y="17346"/>
                      </a:moveTo>
                      <a:cubicBezTo>
                        <a:pt x="34715" y="26931"/>
                        <a:pt x="26931" y="34715"/>
                        <a:pt x="17346" y="34715"/>
                      </a:cubicBezTo>
                      <a:cubicBezTo>
                        <a:pt x="7761" y="34715"/>
                        <a:pt x="0" y="26943"/>
                        <a:pt x="0" y="17346"/>
                      </a:cubicBezTo>
                      <a:cubicBezTo>
                        <a:pt x="0" y="7749"/>
                        <a:pt x="7773" y="0"/>
                        <a:pt x="17346" y="0"/>
                      </a:cubicBezTo>
                      <a:cubicBezTo>
                        <a:pt x="26919" y="0"/>
                        <a:pt x="34715" y="7773"/>
                        <a:pt x="34715" y="17346"/>
                      </a:cubicBezTo>
                      <a:close/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grpSp>
          <p:nvGrpSpPr>
            <p:cNvPr id="1407" name="Gráfico 14">
              <a:extLst>
                <a:ext uri="{FF2B5EF4-FFF2-40B4-BE49-F238E27FC236}">
                  <a16:creationId xmlns:a16="http://schemas.microsoft.com/office/drawing/2014/main" id="{A944A326-A37E-0DF1-47D5-DBFB67E32893}"/>
                </a:ext>
              </a:extLst>
            </p:cNvPr>
            <p:cNvGrpSpPr/>
            <p:nvPr/>
          </p:nvGrpSpPr>
          <p:grpSpPr>
            <a:xfrm>
              <a:off x="3813599" y="5669651"/>
              <a:ext cx="233340" cy="322805"/>
              <a:chOff x="3813599" y="5669651"/>
              <a:chExt cx="233340" cy="322805"/>
            </a:xfrm>
            <a:noFill/>
          </p:grpSpPr>
          <p:sp>
            <p:nvSpPr>
              <p:cNvPr id="1408" name="Forma livre: Forma 1407">
                <a:extLst>
                  <a:ext uri="{FF2B5EF4-FFF2-40B4-BE49-F238E27FC236}">
                    <a16:creationId xmlns:a16="http://schemas.microsoft.com/office/drawing/2014/main" id="{0FBD3ED2-B2C9-858C-EC0E-435E467C718C}"/>
                  </a:ext>
                </a:extLst>
              </p:cNvPr>
              <p:cNvSpPr/>
              <p:nvPr/>
            </p:nvSpPr>
            <p:spPr>
              <a:xfrm>
                <a:off x="3847966" y="5696534"/>
                <a:ext cx="45520" cy="68411"/>
              </a:xfrm>
              <a:custGeom>
                <a:avLst/>
                <a:gdLst>
                  <a:gd name="connsiteX0" fmla="*/ 38684 w 45520"/>
                  <a:gd name="connsiteY0" fmla="*/ 68412 h 68411"/>
                  <a:gd name="connsiteX1" fmla="*/ 0 w 45520"/>
                  <a:gd name="connsiteY1" fmla="*/ 0 h 68411"/>
                  <a:gd name="connsiteX2" fmla="*/ 45521 w 45520"/>
                  <a:gd name="connsiteY2" fmla="*/ 14656 h 684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45520" h="68411">
                    <a:moveTo>
                      <a:pt x="38684" y="68412"/>
                    </a:moveTo>
                    <a:lnTo>
                      <a:pt x="0" y="0"/>
                    </a:lnTo>
                    <a:lnTo>
                      <a:pt x="45521" y="14656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409" name="Forma livre: Forma 1408">
                <a:extLst>
                  <a:ext uri="{FF2B5EF4-FFF2-40B4-BE49-F238E27FC236}">
                    <a16:creationId xmlns:a16="http://schemas.microsoft.com/office/drawing/2014/main" id="{FB43C430-5AFA-1BBD-2C1F-69D533BD0653}"/>
                  </a:ext>
                </a:extLst>
              </p:cNvPr>
              <p:cNvSpPr/>
              <p:nvPr/>
            </p:nvSpPr>
            <p:spPr>
              <a:xfrm>
                <a:off x="3912124" y="5669651"/>
                <a:ext cx="98257" cy="88909"/>
              </a:xfrm>
              <a:custGeom>
                <a:avLst/>
                <a:gdLst>
                  <a:gd name="connsiteX0" fmla="*/ 0 w 98257"/>
                  <a:gd name="connsiteY0" fmla="*/ 62073 h 88909"/>
                  <a:gd name="connsiteX1" fmla="*/ 18318 w 98257"/>
                  <a:gd name="connsiteY1" fmla="*/ 0 h 88909"/>
                  <a:gd name="connsiteX2" fmla="*/ 38862 w 98257"/>
                  <a:gd name="connsiteY2" fmla="*/ 52251 h 88909"/>
                  <a:gd name="connsiteX3" fmla="*/ 98258 w 98257"/>
                  <a:gd name="connsiteY3" fmla="*/ 32725 h 88909"/>
                  <a:gd name="connsiteX4" fmla="*/ 48365 w 98257"/>
                  <a:gd name="connsiteY4" fmla="*/ 88803 h 88909"/>
                  <a:gd name="connsiteX5" fmla="*/ 11825 w 98257"/>
                  <a:gd name="connsiteY5" fmla="*/ 88909 h 889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98257" h="88909">
                    <a:moveTo>
                      <a:pt x="0" y="62073"/>
                    </a:moveTo>
                    <a:lnTo>
                      <a:pt x="18318" y="0"/>
                    </a:lnTo>
                    <a:lnTo>
                      <a:pt x="38862" y="52251"/>
                    </a:lnTo>
                    <a:lnTo>
                      <a:pt x="98258" y="32725"/>
                    </a:lnTo>
                    <a:lnTo>
                      <a:pt x="48365" y="88803"/>
                    </a:lnTo>
                    <a:lnTo>
                      <a:pt x="11825" y="88909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410" name="Forma livre: Forma 1409">
                <a:extLst>
                  <a:ext uri="{FF2B5EF4-FFF2-40B4-BE49-F238E27FC236}">
                    <a16:creationId xmlns:a16="http://schemas.microsoft.com/office/drawing/2014/main" id="{39A9B5E4-047B-904F-A5F3-F3BE2FE3C7C9}"/>
                  </a:ext>
                </a:extLst>
              </p:cNvPr>
              <p:cNvSpPr/>
              <p:nvPr/>
            </p:nvSpPr>
            <p:spPr>
              <a:xfrm>
                <a:off x="3826639" y="5764934"/>
                <a:ext cx="60011" cy="147712"/>
              </a:xfrm>
              <a:custGeom>
                <a:avLst/>
                <a:gdLst>
                  <a:gd name="connsiteX0" fmla="*/ 0 w 60011"/>
                  <a:gd name="connsiteY0" fmla="*/ 147712 h 147712"/>
                  <a:gd name="connsiteX1" fmla="*/ 0 w 60011"/>
                  <a:gd name="connsiteY1" fmla="*/ 85521 h 147712"/>
                  <a:gd name="connsiteX2" fmla="*/ 60011 w 60011"/>
                  <a:gd name="connsiteY2" fmla="*/ 0 h 1477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60011" h="147712">
                    <a:moveTo>
                      <a:pt x="0" y="147712"/>
                    </a:moveTo>
                    <a:lnTo>
                      <a:pt x="0" y="85521"/>
                    </a:lnTo>
                    <a:cubicBezTo>
                      <a:pt x="0" y="45853"/>
                      <a:pt x="25237" y="13306"/>
                      <a:pt x="60011" y="0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411" name="Forma livre: Forma 1410">
                <a:extLst>
                  <a:ext uri="{FF2B5EF4-FFF2-40B4-BE49-F238E27FC236}">
                    <a16:creationId xmlns:a16="http://schemas.microsoft.com/office/drawing/2014/main" id="{FC4673CD-16AA-E844-BF31-6993688F212D}"/>
                  </a:ext>
                </a:extLst>
              </p:cNvPr>
              <p:cNvSpPr/>
              <p:nvPr/>
            </p:nvSpPr>
            <p:spPr>
              <a:xfrm>
                <a:off x="3813599" y="5758560"/>
                <a:ext cx="233340" cy="233896"/>
              </a:xfrm>
              <a:custGeom>
                <a:avLst/>
                <a:gdLst>
                  <a:gd name="connsiteX0" fmla="*/ 125516 w 233340"/>
                  <a:gd name="connsiteY0" fmla="*/ 0 h 233896"/>
                  <a:gd name="connsiteX1" fmla="*/ 220302 w 233340"/>
                  <a:gd name="connsiteY1" fmla="*/ 91907 h 233896"/>
                  <a:gd name="connsiteX2" fmla="*/ 220302 w 233340"/>
                  <a:gd name="connsiteY2" fmla="*/ 182819 h 233896"/>
                  <a:gd name="connsiteX3" fmla="*/ 229946 w 233340"/>
                  <a:gd name="connsiteY3" fmla="*/ 233897 h 233896"/>
                  <a:gd name="connsiteX4" fmla="*/ 3396 w 233340"/>
                  <a:gd name="connsiteY4" fmla="*/ 233897 h 233896"/>
                  <a:gd name="connsiteX5" fmla="*/ 13028 w 233340"/>
                  <a:gd name="connsiteY5" fmla="*/ 182819 h 2338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33340" h="233896">
                    <a:moveTo>
                      <a:pt x="125516" y="0"/>
                    </a:moveTo>
                    <a:cubicBezTo>
                      <a:pt x="177648" y="0"/>
                      <a:pt x="220302" y="39775"/>
                      <a:pt x="220302" y="91907"/>
                    </a:cubicBezTo>
                    <a:lnTo>
                      <a:pt x="220302" y="182819"/>
                    </a:lnTo>
                    <a:cubicBezTo>
                      <a:pt x="220302" y="182819"/>
                      <a:pt x="241368" y="213577"/>
                      <a:pt x="229946" y="233897"/>
                    </a:cubicBezTo>
                    <a:lnTo>
                      <a:pt x="3396" y="233897"/>
                    </a:lnTo>
                    <a:cubicBezTo>
                      <a:pt x="-8026" y="213589"/>
                      <a:pt x="13028" y="182819"/>
                      <a:pt x="13028" y="182819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412" name="Gráfico 14">
            <a:extLst>
              <a:ext uri="{FF2B5EF4-FFF2-40B4-BE49-F238E27FC236}">
                <a16:creationId xmlns:a16="http://schemas.microsoft.com/office/drawing/2014/main" id="{75A7DEC9-7A2C-D1F8-661A-1F90EDF884C9}"/>
              </a:ext>
            </a:extLst>
          </p:cNvPr>
          <p:cNvGrpSpPr/>
          <p:nvPr/>
        </p:nvGrpSpPr>
        <p:grpSpPr>
          <a:xfrm>
            <a:off x="3144203" y="5718430"/>
            <a:ext cx="336644" cy="264370"/>
            <a:chOff x="3144203" y="5718430"/>
            <a:chExt cx="336644" cy="264370"/>
          </a:xfrm>
          <a:noFill/>
        </p:grpSpPr>
        <p:grpSp>
          <p:nvGrpSpPr>
            <p:cNvPr id="1413" name="Gráfico 14">
              <a:extLst>
                <a:ext uri="{FF2B5EF4-FFF2-40B4-BE49-F238E27FC236}">
                  <a16:creationId xmlns:a16="http://schemas.microsoft.com/office/drawing/2014/main" id="{800AF4FC-7DE0-2C66-DE4C-DBCA447DC579}"/>
                </a:ext>
              </a:extLst>
            </p:cNvPr>
            <p:cNvGrpSpPr/>
            <p:nvPr/>
          </p:nvGrpSpPr>
          <p:grpSpPr>
            <a:xfrm>
              <a:off x="3319913" y="5812304"/>
              <a:ext cx="82997" cy="87155"/>
              <a:chOff x="3319913" y="5812304"/>
              <a:chExt cx="82997" cy="87155"/>
            </a:xfrm>
            <a:noFill/>
          </p:grpSpPr>
          <p:sp>
            <p:nvSpPr>
              <p:cNvPr id="1414" name="Forma livre: Forma 1413">
                <a:extLst>
                  <a:ext uri="{FF2B5EF4-FFF2-40B4-BE49-F238E27FC236}">
                    <a16:creationId xmlns:a16="http://schemas.microsoft.com/office/drawing/2014/main" id="{EACD14A1-9F2A-06DE-97A9-9AE7B480D514}"/>
                  </a:ext>
                </a:extLst>
              </p:cNvPr>
              <p:cNvSpPr/>
              <p:nvPr/>
            </p:nvSpPr>
            <p:spPr>
              <a:xfrm>
                <a:off x="3334392" y="5816652"/>
                <a:ext cx="54051" cy="78471"/>
              </a:xfrm>
              <a:custGeom>
                <a:avLst/>
                <a:gdLst>
                  <a:gd name="connsiteX0" fmla="*/ 54052 w 54051"/>
                  <a:gd name="connsiteY0" fmla="*/ 0 h 78471"/>
                  <a:gd name="connsiteX1" fmla="*/ 0 w 54051"/>
                  <a:gd name="connsiteY1" fmla="*/ 78471 h 784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4051" h="78471">
                    <a:moveTo>
                      <a:pt x="54052" y="0"/>
                    </a:moveTo>
                    <a:lnTo>
                      <a:pt x="0" y="78471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1415" name="Gráfico 14">
                <a:extLst>
                  <a:ext uri="{FF2B5EF4-FFF2-40B4-BE49-F238E27FC236}">
                    <a16:creationId xmlns:a16="http://schemas.microsoft.com/office/drawing/2014/main" id="{F10BBE8F-E7C3-7C2D-39D6-DE3A11ED095E}"/>
                  </a:ext>
                </a:extLst>
              </p:cNvPr>
              <p:cNvGrpSpPr/>
              <p:nvPr/>
            </p:nvGrpSpPr>
            <p:grpSpPr>
              <a:xfrm>
                <a:off x="3319913" y="5812304"/>
                <a:ext cx="82997" cy="87155"/>
                <a:chOff x="3319913" y="5812304"/>
                <a:chExt cx="82997" cy="87155"/>
              </a:xfrm>
              <a:noFill/>
            </p:grpSpPr>
            <p:sp>
              <p:nvSpPr>
                <p:cNvPr id="1416" name="Forma livre: Forma 1415">
                  <a:extLst>
                    <a:ext uri="{FF2B5EF4-FFF2-40B4-BE49-F238E27FC236}">
                      <a16:creationId xmlns:a16="http://schemas.microsoft.com/office/drawing/2014/main" id="{3992BFEA-FAD3-A760-D60C-0ED6CD559819}"/>
                    </a:ext>
                  </a:extLst>
                </p:cNvPr>
                <p:cNvSpPr/>
                <p:nvPr/>
              </p:nvSpPr>
              <p:spPr>
                <a:xfrm>
                  <a:off x="3319913" y="5812304"/>
                  <a:ext cx="30284" cy="30307"/>
                </a:xfrm>
                <a:custGeom>
                  <a:avLst/>
                  <a:gdLst>
                    <a:gd name="connsiteX0" fmla="*/ 30284 w 30284"/>
                    <a:gd name="connsiteY0" fmla="*/ 15154 h 30307"/>
                    <a:gd name="connsiteX1" fmla="*/ 15154 w 30284"/>
                    <a:gd name="connsiteY1" fmla="*/ 30308 h 30307"/>
                    <a:gd name="connsiteX2" fmla="*/ 0 w 30284"/>
                    <a:gd name="connsiteY2" fmla="*/ 15154 h 30307"/>
                    <a:gd name="connsiteX3" fmla="*/ 15154 w 30284"/>
                    <a:gd name="connsiteY3" fmla="*/ 0 h 30307"/>
                    <a:gd name="connsiteX4" fmla="*/ 30284 w 30284"/>
                    <a:gd name="connsiteY4" fmla="*/ 15154 h 3030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0284" h="30307">
                      <a:moveTo>
                        <a:pt x="30284" y="15154"/>
                      </a:moveTo>
                      <a:cubicBezTo>
                        <a:pt x="30284" y="23519"/>
                        <a:pt x="23519" y="30308"/>
                        <a:pt x="15154" y="30308"/>
                      </a:cubicBezTo>
                      <a:cubicBezTo>
                        <a:pt x="6789" y="30308"/>
                        <a:pt x="0" y="23519"/>
                        <a:pt x="0" y="15154"/>
                      </a:cubicBezTo>
                      <a:cubicBezTo>
                        <a:pt x="0" y="6789"/>
                        <a:pt x="6777" y="0"/>
                        <a:pt x="15154" y="0"/>
                      </a:cubicBezTo>
                      <a:cubicBezTo>
                        <a:pt x="23531" y="0"/>
                        <a:pt x="30284" y="6789"/>
                        <a:pt x="30284" y="15154"/>
                      </a:cubicBezTo>
                      <a:close/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417" name="Forma livre: Forma 1416">
                  <a:extLst>
                    <a:ext uri="{FF2B5EF4-FFF2-40B4-BE49-F238E27FC236}">
                      <a16:creationId xmlns:a16="http://schemas.microsoft.com/office/drawing/2014/main" id="{B8168FF4-AAFC-AE19-A114-9318D84F7C6A}"/>
                    </a:ext>
                  </a:extLst>
                </p:cNvPr>
                <p:cNvSpPr/>
                <p:nvPr/>
              </p:nvSpPr>
              <p:spPr>
                <a:xfrm>
                  <a:off x="3372602" y="5869152"/>
                  <a:ext cx="30307" cy="30307"/>
                </a:xfrm>
                <a:custGeom>
                  <a:avLst/>
                  <a:gdLst>
                    <a:gd name="connsiteX0" fmla="*/ 30308 w 30307"/>
                    <a:gd name="connsiteY0" fmla="*/ 15154 h 30307"/>
                    <a:gd name="connsiteX1" fmla="*/ 15154 w 30307"/>
                    <a:gd name="connsiteY1" fmla="*/ 30308 h 30307"/>
                    <a:gd name="connsiteX2" fmla="*/ 0 w 30307"/>
                    <a:gd name="connsiteY2" fmla="*/ 15154 h 30307"/>
                    <a:gd name="connsiteX3" fmla="*/ 15154 w 30307"/>
                    <a:gd name="connsiteY3" fmla="*/ 0 h 30307"/>
                    <a:gd name="connsiteX4" fmla="*/ 30308 w 30307"/>
                    <a:gd name="connsiteY4" fmla="*/ 15154 h 3030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0307" h="30307">
                      <a:moveTo>
                        <a:pt x="30308" y="15154"/>
                      </a:moveTo>
                      <a:cubicBezTo>
                        <a:pt x="30308" y="23519"/>
                        <a:pt x="23519" y="30308"/>
                        <a:pt x="15154" y="30308"/>
                      </a:cubicBezTo>
                      <a:cubicBezTo>
                        <a:pt x="6789" y="30308"/>
                        <a:pt x="0" y="23519"/>
                        <a:pt x="0" y="15154"/>
                      </a:cubicBezTo>
                      <a:cubicBezTo>
                        <a:pt x="0" y="6789"/>
                        <a:pt x="6789" y="0"/>
                        <a:pt x="15154" y="0"/>
                      </a:cubicBezTo>
                      <a:cubicBezTo>
                        <a:pt x="23519" y="0"/>
                        <a:pt x="30308" y="6789"/>
                        <a:pt x="30308" y="15154"/>
                      </a:cubicBezTo>
                      <a:close/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sp>
          <p:nvSpPr>
            <p:cNvPr id="1418" name="Forma livre: Forma 1417">
              <a:extLst>
                <a:ext uri="{FF2B5EF4-FFF2-40B4-BE49-F238E27FC236}">
                  <a16:creationId xmlns:a16="http://schemas.microsoft.com/office/drawing/2014/main" id="{9F5491E0-850D-0B6F-CCD8-302A4D642B5E}"/>
                </a:ext>
              </a:extLst>
            </p:cNvPr>
            <p:cNvSpPr/>
            <p:nvPr/>
          </p:nvSpPr>
          <p:spPr>
            <a:xfrm>
              <a:off x="3168706" y="5718430"/>
              <a:ext cx="165129" cy="40627"/>
            </a:xfrm>
            <a:custGeom>
              <a:avLst/>
              <a:gdLst>
                <a:gd name="connsiteX0" fmla="*/ 165129 w 165129"/>
                <a:gd name="connsiteY0" fmla="*/ 40628 h 40627"/>
                <a:gd name="connsiteX1" fmla="*/ 165129 w 165129"/>
                <a:gd name="connsiteY1" fmla="*/ 24372 h 40627"/>
                <a:gd name="connsiteX2" fmla="*/ 140639 w 165129"/>
                <a:gd name="connsiteY2" fmla="*/ 0 h 40627"/>
                <a:gd name="connsiteX3" fmla="*/ 0 w 165129"/>
                <a:gd name="connsiteY3" fmla="*/ 0 h 406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65129" h="40627">
                  <a:moveTo>
                    <a:pt x="165129" y="40628"/>
                  </a:moveTo>
                  <a:lnTo>
                    <a:pt x="165129" y="24372"/>
                  </a:lnTo>
                  <a:cubicBezTo>
                    <a:pt x="165129" y="10972"/>
                    <a:pt x="154039" y="0"/>
                    <a:pt x="140639" y="0"/>
                  </a:cubicBezTo>
                  <a:lnTo>
                    <a:pt x="0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19" name="Forma livre: Forma 1418">
              <a:extLst>
                <a:ext uri="{FF2B5EF4-FFF2-40B4-BE49-F238E27FC236}">
                  <a16:creationId xmlns:a16="http://schemas.microsoft.com/office/drawing/2014/main" id="{026D97BB-EBE0-1865-4C35-9FFEF738A71B}"/>
                </a:ext>
              </a:extLst>
            </p:cNvPr>
            <p:cNvSpPr/>
            <p:nvPr/>
          </p:nvSpPr>
          <p:spPr>
            <a:xfrm>
              <a:off x="3266797" y="5758868"/>
              <a:ext cx="165046" cy="165010"/>
            </a:xfrm>
            <a:custGeom>
              <a:avLst/>
              <a:gdLst>
                <a:gd name="connsiteX0" fmla="*/ 165046 w 165046"/>
                <a:gd name="connsiteY0" fmla="*/ 165011 h 165010"/>
                <a:gd name="connsiteX1" fmla="*/ 165046 w 165046"/>
                <a:gd name="connsiteY1" fmla="*/ 24372 h 165010"/>
                <a:gd name="connsiteX2" fmla="*/ 140603 w 165046"/>
                <a:gd name="connsiteY2" fmla="*/ 0 h 165010"/>
                <a:gd name="connsiteX3" fmla="*/ 0 w 165046"/>
                <a:gd name="connsiteY3" fmla="*/ 0 h 1650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65046" h="165010">
                  <a:moveTo>
                    <a:pt x="165046" y="165011"/>
                  </a:moveTo>
                  <a:lnTo>
                    <a:pt x="165046" y="24372"/>
                  </a:lnTo>
                  <a:cubicBezTo>
                    <a:pt x="165046" y="10972"/>
                    <a:pt x="154004" y="0"/>
                    <a:pt x="140603" y="0"/>
                  </a:cubicBezTo>
                  <a:lnTo>
                    <a:pt x="0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20" name="Forma livre: Forma 1419">
              <a:extLst>
                <a:ext uri="{FF2B5EF4-FFF2-40B4-BE49-F238E27FC236}">
                  <a16:creationId xmlns:a16="http://schemas.microsoft.com/office/drawing/2014/main" id="{D3DA533E-7155-C63B-FE73-CFD295217A00}"/>
                </a:ext>
              </a:extLst>
            </p:cNvPr>
            <p:cNvSpPr/>
            <p:nvPr/>
          </p:nvSpPr>
          <p:spPr>
            <a:xfrm>
              <a:off x="3144203" y="5718430"/>
              <a:ext cx="336644" cy="264370"/>
            </a:xfrm>
            <a:custGeom>
              <a:avLst/>
              <a:gdLst>
                <a:gd name="connsiteX0" fmla="*/ 27974 w 336644"/>
                <a:gd name="connsiteY0" fmla="*/ 37855 h 264370"/>
                <a:gd name="connsiteX1" fmla="*/ 0 w 336644"/>
                <a:gd name="connsiteY1" fmla="*/ 37855 h 264370"/>
                <a:gd name="connsiteX2" fmla="*/ 0 w 336644"/>
                <a:gd name="connsiteY2" fmla="*/ 24372 h 264370"/>
                <a:gd name="connsiteX3" fmla="*/ 24490 w 336644"/>
                <a:gd name="connsiteY3" fmla="*/ 0 h 264370"/>
                <a:gd name="connsiteX4" fmla="*/ 48981 w 336644"/>
                <a:gd name="connsiteY4" fmla="*/ 24372 h 264370"/>
                <a:gd name="connsiteX5" fmla="*/ 48981 w 336644"/>
                <a:gd name="connsiteY5" fmla="*/ 160639 h 264370"/>
                <a:gd name="connsiteX6" fmla="*/ 73471 w 336644"/>
                <a:gd name="connsiteY6" fmla="*/ 185011 h 264370"/>
                <a:gd name="connsiteX7" fmla="*/ 98032 w 336644"/>
                <a:gd name="connsiteY7" fmla="*/ 160639 h 264370"/>
                <a:gd name="connsiteX8" fmla="*/ 98032 w 336644"/>
                <a:gd name="connsiteY8" fmla="*/ 64822 h 264370"/>
                <a:gd name="connsiteX9" fmla="*/ 122594 w 336644"/>
                <a:gd name="connsiteY9" fmla="*/ 40450 h 264370"/>
                <a:gd name="connsiteX10" fmla="*/ 147155 w 336644"/>
                <a:gd name="connsiteY10" fmla="*/ 65711 h 264370"/>
                <a:gd name="connsiteX11" fmla="*/ 147155 w 336644"/>
                <a:gd name="connsiteY11" fmla="*/ 239998 h 264370"/>
                <a:gd name="connsiteX12" fmla="*/ 171705 w 336644"/>
                <a:gd name="connsiteY12" fmla="*/ 264370 h 264370"/>
                <a:gd name="connsiteX13" fmla="*/ 196195 w 336644"/>
                <a:gd name="connsiteY13" fmla="*/ 239998 h 264370"/>
                <a:gd name="connsiteX14" fmla="*/ 196195 w 336644"/>
                <a:gd name="connsiteY14" fmla="*/ 226515 h 264370"/>
                <a:gd name="connsiteX15" fmla="*/ 336645 w 336644"/>
                <a:gd name="connsiteY15" fmla="*/ 226515 h 264370"/>
                <a:gd name="connsiteX16" fmla="*/ 336645 w 336644"/>
                <a:gd name="connsiteY16" fmla="*/ 239998 h 264370"/>
                <a:gd name="connsiteX17" fmla="*/ 312166 w 336644"/>
                <a:gd name="connsiteY17" fmla="*/ 264370 h 264370"/>
                <a:gd name="connsiteX18" fmla="*/ 172250 w 336644"/>
                <a:gd name="connsiteY18" fmla="*/ 264370 h 2643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336644" h="264370">
                  <a:moveTo>
                    <a:pt x="27974" y="37855"/>
                  </a:moveTo>
                  <a:lnTo>
                    <a:pt x="0" y="37855"/>
                  </a:lnTo>
                  <a:lnTo>
                    <a:pt x="0" y="24372"/>
                  </a:lnTo>
                  <a:cubicBezTo>
                    <a:pt x="0" y="10972"/>
                    <a:pt x="11090" y="0"/>
                    <a:pt x="24490" y="0"/>
                  </a:cubicBezTo>
                  <a:cubicBezTo>
                    <a:pt x="37891" y="0"/>
                    <a:pt x="48981" y="10972"/>
                    <a:pt x="48981" y="24372"/>
                  </a:cubicBezTo>
                  <a:lnTo>
                    <a:pt x="48981" y="160639"/>
                  </a:lnTo>
                  <a:cubicBezTo>
                    <a:pt x="48981" y="174039"/>
                    <a:pt x="60071" y="185011"/>
                    <a:pt x="73471" y="185011"/>
                  </a:cubicBezTo>
                  <a:cubicBezTo>
                    <a:pt x="86871" y="185011"/>
                    <a:pt x="98032" y="174039"/>
                    <a:pt x="98032" y="160639"/>
                  </a:cubicBezTo>
                  <a:lnTo>
                    <a:pt x="98032" y="64822"/>
                  </a:lnTo>
                  <a:cubicBezTo>
                    <a:pt x="98032" y="51421"/>
                    <a:pt x="109194" y="40450"/>
                    <a:pt x="122594" y="40450"/>
                  </a:cubicBezTo>
                  <a:cubicBezTo>
                    <a:pt x="135994" y="40450"/>
                    <a:pt x="147155" y="52298"/>
                    <a:pt x="147155" y="65711"/>
                  </a:cubicBezTo>
                  <a:lnTo>
                    <a:pt x="147155" y="239998"/>
                  </a:lnTo>
                  <a:cubicBezTo>
                    <a:pt x="147155" y="253399"/>
                    <a:pt x="158305" y="264370"/>
                    <a:pt x="171705" y="264370"/>
                  </a:cubicBezTo>
                  <a:cubicBezTo>
                    <a:pt x="185105" y="264370"/>
                    <a:pt x="196195" y="253399"/>
                    <a:pt x="196195" y="239998"/>
                  </a:cubicBezTo>
                  <a:lnTo>
                    <a:pt x="196195" y="226515"/>
                  </a:lnTo>
                  <a:lnTo>
                    <a:pt x="336645" y="226515"/>
                  </a:lnTo>
                  <a:lnTo>
                    <a:pt x="336645" y="239998"/>
                  </a:lnTo>
                  <a:cubicBezTo>
                    <a:pt x="336645" y="253399"/>
                    <a:pt x="325555" y="264370"/>
                    <a:pt x="312166" y="264370"/>
                  </a:cubicBezTo>
                  <a:lnTo>
                    <a:pt x="172250" y="26437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21" name="Forma livre: Forma 1420">
              <a:extLst>
                <a:ext uri="{FF2B5EF4-FFF2-40B4-BE49-F238E27FC236}">
                  <a16:creationId xmlns:a16="http://schemas.microsoft.com/office/drawing/2014/main" id="{FC9DCEE4-6076-5A5A-A08D-A3A7BF2E8E28}"/>
                </a:ext>
              </a:extLst>
            </p:cNvPr>
            <p:cNvSpPr/>
            <p:nvPr/>
          </p:nvSpPr>
          <p:spPr>
            <a:xfrm>
              <a:off x="3217674" y="5903429"/>
              <a:ext cx="52238" cy="1184"/>
            </a:xfrm>
            <a:custGeom>
              <a:avLst/>
              <a:gdLst>
                <a:gd name="connsiteX0" fmla="*/ 0 w 52238"/>
                <a:gd name="connsiteY0" fmla="*/ 0 h 1184"/>
                <a:gd name="connsiteX1" fmla="*/ 52239 w 52238"/>
                <a:gd name="connsiteY1" fmla="*/ 0 h 11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2238" h="1184">
                  <a:moveTo>
                    <a:pt x="0" y="0"/>
                  </a:moveTo>
                  <a:lnTo>
                    <a:pt x="52239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422" name="Gráfico 14">
            <a:extLst>
              <a:ext uri="{FF2B5EF4-FFF2-40B4-BE49-F238E27FC236}">
                <a16:creationId xmlns:a16="http://schemas.microsoft.com/office/drawing/2014/main" id="{6914776D-C132-9665-C728-3081D82785B0}"/>
              </a:ext>
            </a:extLst>
          </p:cNvPr>
          <p:cNvGrpSpPr/>
          <p:nvPr/>
        </p:nvGrpSpPr>
        <p:grpSpPr>
          <a:xfrm>
            <a:off x="2531874" y="5717399"/>
            <a:ext cx="325776" cy="266405"/>
            <a:chOff x="2531874" y="5717399"/>
            <a:chExt cx="325776" cy="266405"/>
          </a:xfrm>
          <a:noFill/>
        </p:grpSpPr>
        <p:sp>
          <p:nvSpPr>
            <p:cNvPr id="1423" name="Forma livre: Forma 1422">
              <a:extLst>
                <a:ext uri="{FF2B5EF4-FFF2-40B4-BE49-F238E27FC236}">
                  <a16:creationId xmlns:a16="http://schemas.microsoft.com/office/drawing/2014/main" id="{7F262748-788C-3686-4909-DAEDE9BA0BF9}"/>
                </a:ext>
              </a:extLst>
            </p:cNvPr>
            <p:cNvSpPr/>
            <p:nvPr/>
          </p:nvSpPr>
          <p:spPr>
            <a:xfrm>
              <a:off x="2699458" y="5825610"/>
              <a:ext cx="158191" cy="158194"/>
            </a:xfrm>
            <a:custGeom>
              <a:avLst/>
              <a:gdLst>
                <a:gd name="connsiteX0" fmla="*/ 37367 w 158191"/>
                <a:gd name="connsiteY0" fmla="*/ 11883 h 158194"/>
                <a:gd name="connsiteX1" fmla="*/ 69037 w 158191"/>
                <a:gd name="connsiteY1" fmla="*/ 651 h 158194"/>
                <a:gd name="connsiteX2" fmla="*/ 157543 w 158191"/>
                <a:gd name="connsiteY2" fmla="*/ 69039 h 158194"/>
                <a:gd name="connsiteX3" fmla="*/ 89143 w 158191"/>
                <a:gd name="connsiteY3" fmla="*/ 157546 h 158194"/>
                <a:gd name="connsiteX4" fmla="*/ 649 w 158191"/>
                <a:gd name="connsiteY4" fmla="*/ 89146 h 158194"/>
                <a:gd name="connsiteX5" fmla="*/ 17296 w 158191"/>
                <a:gd name="connsiteY5" fmla="*/ 29750 h 1581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58191" h="158194">
                  <a:moveTo>
                    <a:pt x="37367" y="11883"/>
                  </a:moveTo>
                  <a:cubicBezTo>
                    <a:pt x="46703" y="6078"/>
                    <a:pt x="57414" y="2132"/>
                    <a:pt x="69037" y="651"/>
                  </a:cubicBezTo>
                  <a:cubicBezTo>
                    <a:pt x="112354" y="-4906"/>
                    <a:pt x="151987" y="25722"/>
                    <a:pt x="157543" y="69039"/>
                  </a:cubicBezTo>
                  <a:cubicBezTo>
                    <a:pt x="163088" y="112368"/>
                    <a:pt x="132461" y="151989"/>
                    <a:pt x="89143" y="157546"/>
                  </a:cubicBezTo>
                  <a:cubicBezTo>
                    <a:pt x="45826" y="163091"/>
                    <a:pt x="6206" y="132475"/>
                    <a:pt x="649" y="89146"/>
                  </a:cubicBezTo>
                  <a:cubicBezTo>
                    <a:pt x="-2183" y="67037"/>
                    <a:pt x="4416" y="45900"/>
                    <a:pt x="17296" y="2975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24" name="Forma livre: Forma 1423">
              <a:extLst>
                <a:ext uri="{FF2B5EF4-FFF2-40B4-BE49-F238E27FC236}">
                  <a16:creationId xmlns:a16="http://schemas.microsoft.com/office/drawing/2014/main" id="{E4484DF4-38D2-202F-C884-B31DDC9AE606}"/>
                </a:ext>
              </a:extLst>
            </p:cNvPr>
            <p:cNvSpPr/>
            <p:nvPr/>
          </p:nvSpPr>
          <p:spPr>
            <a:xfrm>
              <a:off x="2751505" y="5865467"/>
              <a:ext cx="54075" cy="78471"/>
            </a:xfrm>
            <a:custGeom>
              <a:avLst/>
              <a:gdLst>
                <a:gd name="connsiteX0" fmla="*/ 54075 w 54075"/>
                <a:gd name="connsiteY0" fmla="*/ 0 h 78471"/>
                <a:gd name="connsiteX1" fmla="*/ 0 w 54075"/>
                <a:gd name="connsiteY1" fmla="*/ 78471 h 784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4075" h="78471">
                  <a:moveTo>
                    <a:pt x="54075" y="0"/>
                  </a:moveTo>
                  <a:lnTo>
                    <a:pt x="0" y="78471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425" name="Gráfico 14">
              <a:extLst>
                <a:ext uri="{FF2B5EF4-FFF2-40B4-BE49-F238E27FC236}">
                  <a16:creationId xmlns:a16="http://schemas.microsoft.com/office/drawing/2014/main" id="{22D77706-1720-3267-A665-F1C75B7ADC86}"/>
                </a:ext>
              </a:extLst>
            </p:cNvPr>
            <p:cNvGrpSpPr/>
            <p:nvPr/>
          </p:nvGrpSpPr>
          <p:grpSpPr>
            <a:xfrm>
              <a:off x="2737026" y="5861131"/>
              <a:ext cx="83032" cy="87155"/>
              <a:chOff x="2737026" y="5861131"/>
              <a:chExt cx="83032" cy="87155"/>
            </a:xfrm>
            <a:noFill/>
          </p:grpSpPr>
          <p:sp>
            <p:nvSpPr>
              <p:cNvPr id="1426" name="Forma livre: Forma 1425">
                <a:extLst>
                  <a:ext uri="{FF2B5EF4-FFF2-40B4-BE49-F238E27FC236}">
                    <a16:creationId xmlns:a16="http://schemas.microsoft.com/office/drawing/2014/main" id="{9E9CB668-C820-0EA9-DAE1-4E1701A968FA}"/>
                  </a:ext>
                </a:extLst>
              </p:cNvPr>
              <p:cNvSpPr/>
              <p:nvPr/>
            </p:nvSpPr>
            <p:spPr>
              <a:xfrm>
                <a:off x="2737026" y="5861131"/>
                <a:ext cx="30307" cy="30319"/>
              </a:xfrm>
              <a:custGeom>
                <a:avLst/>
                <a:gdLst>
                  <a:gd name="connsiteX0" fmla="*/ 30308 w 30307"/>
                  <a:gd name="connsiteY0" fmla="*/ 15154 h 30319"/>
                  <a:gd name="connsiteX1" fmla="*/ 15154 w 30307"/>
                  <a:gd name="connsiteY1" fmla="*/ 30320 h 30319"/>
                  <a:gd name="connsiteX2" fmla="*/ 0 w 30307"/>
                  <a:gd name="connsiteY2" fmla="*/ 15154 h 30319"/>
                  <a:gd name="connsiteX3" fmla="*/ 15154 w 30307"/>
                  <a:gd name="connsiteY3" fmla="*/ 0 h 30319"/>
                  <a:gd name="connsiteX4" fmla="*/ 30308 w 30307"/>
                  <a:gd name="connsiteY4" fmla="*/ 15154 h 303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0307" h="30319">
                    <a:moveTo>
                      <a:pt x="30308" y="15154"/>
                    </a:moveTo>
                    <a:cubicBezTo>
                      <a:pt x="30308" y="23519"/>
                      <a:pt x="23519" y="30320"/>
                      <a:pt x="15154" y="30320"/>
                    </a:cubicBezTo>
                    <a:cubicBezTo>
                      <a:pt x="6789" y="30320"/>
                      <a:pt x="0" y="23531"/>
                      <a:pt x="0" y="15154"/>
                    </a:cubicBezTo>
                    <a:cubicBezTo>
                      <a:pt x="0" y="6777"/>
                      <a:pt x="6777" y="0"/>
                      <a:pt x="15154" y="0"/>
                    </a:cubicBezTo>
                    <a:cubicBezTo>
                      <a:pt x="23531" y="0"/>
                      <a:pt x="30308" y="6789"/>
                      <a:pt x="30308" y="15154"/>
                    </a:cubicBezTo>
                    <a:close/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427" name="Forma livre: Forma 1426">
                <a:extLst>
                  <a:ext uri="{FF2B5EF4-FFF2-40B4-BE49-F238E27FC236}">
                    <a16:creationId xmlns:a16="http://schemas.microsoft.com/office/drawing/2014/main" id="{4D9744DA-2CB4-0983-8D6F-DA444EED1418}"/>
                  </a:ext>
                </a:extLst>
              </p:cNvPr>
              <p:cNvSpPr/>
              <p:nvPr/>
            </p:nvSpPr>
            <p:spPr>
              <a:xfrm>
                <a:off x="2789751" y="5917967"/>
                <a:ext cx="30307" cy="30319"/>
              </a:xfrm>
              <a:custGeom>
                <a:avLst/>
                <a:gdLst>
                  <a:gd name="connsiteX0" fmla="*/ 30308 w 30307"/>
                  <a:gd name="connsiteY0" fmla="*/ 15154 h 30319"/>
                  <a:gd name="connsiteX1" fmla="*/ 15154 w 30307"/>
                  <a:gd name="connsiteY1" fmla="*/ 30320 h 30319"/>
                  <a:gd name="connsiteX2" fmla="*/ 0 w 30307"/>
                  <a:gd name="connsiteY2" fmla="*/ 15154 h 30319"/>
                  <a:gd name="connsiteX3" fmla="*/ 15154 w 30307"/>
                  <a:gd name="connsiteY3" fmla="*/ 0 h 30319"/>
                  <a:gd name="connsiteX4" fmla="*/ 30308 w 30307"/>
                  <a:gd name="connsiteY4" fmla="*/ 15154 h 303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0307" h="30319">
                    <a:moveTo>
                      <a:pt x="30308" y="15154"/>
                    </a:moveTo>
                    <a:cubicBezTo>
                      <a:pt x="30308" y="23531"/>
                      <a:pt x="23519" y="30320"/>
                      <a:pt x="15154" y="30320"/>
                    </a:cubicBezTo>
                    <a:cubicBezTo>
                      <a:pt x="6789" y="30320"/>
                      <a:pt x="0" y="23531"/>
                      <a:pt x="0" y="15154"/>
                    </a:cubicBezTo>
                    <a:cubicBezTo>
                      <a:pt x="0" y="6777"/>
                      <a:pt x="6789" y="0"/>
                      <a:pt x="15154" y="0"/>
                    </a:cubicBezTo>
                    <a:cubicBezTo>
                      <a:pt x="23519" y="0"/>
                      <a:pt x="30308" y="6789"/>
                      <a:pt x="30308" y="15154"/>
                    </a:cubicBezTo>
                    <a:close/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428" name="Gráfico 14">
              <a:extLst>
                <a:ext uri="{FF2B5EF4-FFF2-40B4-BE49-F238E27FC236}">
                  <a16:creationId xmlns:a16="http://schemas.microsoft.com/office/drawing/2014/main" id="{1AA074BC-689F-0C5A-0176-C8E9A0ACC713}"/>
                </a:ext>
              </a:extLst>
            </p:cNvPr>
            <p:cNvGrpSpPr/>
            <p:nvPr/>
          </p:nvGrpSpPr>
          <p:grpSpPr>
            <a:xfrm>
              <a:off x="2531874" y="5746179"/>
              <a:ext cx="229026" cy="215709"/>
              <a:chOff x="2531874" y="5746179"/>
              <a:chExt cx="229026" cy="215709"/>
            </a:xfrm>
            <a:noFill/>
          </p:grpSpPr>
          <p:sp>
            <p:nvSpPr>
              <p:cNvPr id="1429" name="Forma livre: Forma 1428">
                <a:extLst>
                  <a:ext uri="{FF2B5EF4-FFF2-40B4-BE49-F238E27FC236}">
                    <a16:creationId xmlns:a16="http://schemas.microsoft.com/office/drawing/2014/main" id="{C85D1004-3D39-8D0F-0FDE-897B205B6440}"/>
                  </a:ext>
                </a:extLst>
              </p:cNvPr>
              <p:cNvSpPr/>
              <p:nvPr/>
            </p:nvSpPr>
            <p:spPr>
              <a:xfrm>
                <a:off x="2760900" y="5748939"/>
                <a:ext cx="1184" cy="76456"/>
              </a:xfrm>
              <a:custGeom>
                <a:avLst/>
                <a:gdLst>
                  <a:gd name="connsiteX0" fmla="*/ 0 w 1184"/>
                  <a:gd name="connsiteY0" fmla="*/ 76457 h 76456"/>
                  <a:gd name="connsiteX1" fmla="*/ 0 w 1184"/>
                  <a:gd name="connsiteY1" fmla="*/ 0 h 764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84" h="76456">
                    <a:moveTo>
                      <a:pt x="0" y="76457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430" name="Forma livre: Forma 1429">
                <a:extLst>
                  <a:ext uri="{FF2B5EF4-FFF2-40B4-BE49-F238E27FC236}">
                    <a16:creationId xmlns:a16="http://schemas.microsoft.com/office/drawing/2014/main" id="{F7BFA8A4-7813-CE99-50F3-1DD916B3B14E}"/>
                  </a:ext>
                </a:extLst>
              </p:cNvPr>
              <p:cNvSpPr/>
              <p:nvPr/>
            </p:nvSpPr>
            <p:spPr>
              <a:xfrm>
                <a:off x="2531874" y="5792174"/>
                <a:ext cx="127961" cy="59241"/>
              </a:xfrm>
              <a:custGeom>
                <a:avLst/>
                <a:gdLst>
                  <a:gd name="connsiteX0" fmla="*/ 127961 w 127961"/>
                  <a:gd name="connsiteY0" fmla="*/ 29621 h 59241"/>
                  <a:gd name="connsiteX1" fmla="*/ 63981 w 127961"/>
                  <a:gd name="connsiteY1" fmla="*/ 59241 h 59241"/>
                  <a:gd name="connsiteX2" fmla="*/ 0 w 127961"/>
                  <a:gd name="connsiteY2" fmla="*/ 29621 h 59241"/>
                  <a:gd name="connsiteX3" fmla="*/ 63981 w 127961"/>
                  <a:gd name="connsiteY3" fmla="*/ 0 h 59241"/>
                  <a:gd name="connsiteX4" fmla="*/ 127961 w 127961"/>
                  <a:gd name="connsiteY4" fmla="*/ 29621 h 592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7961" h="59241">
                    <a:moveTo>
                      <a:pt x="127961" y="29621"/>
                    </a:moveTo>
                    <a:cubicBezTo>
                      <a:pt x="127961" y="45980"/>
                      <a:pt x="99316" y="59241"/>
                      <a:pt x="63981" y="59241"/>
                    </a:cubicBezTo>
                    <a:cubicBezTo>
                      <a:pt x="28645" y="59241"/>
                      <a:pt x="0" y="45980"/>
                      <a:pt x="0" y="29621"/>
                    </a:cubicBezTo>
                    <a:cubicBezTo>
                      <a:pt x="0" y="13262"/>
                      <a:pt x="28645" y="0"/>
                      <a:pt x="63981" y="0"/>
                    </a:cubicBezTo>
                    <a:cubicBezTo>
                      <a:pt x="99316" y="0"/>
                      <a:pt x="127961" y="13262"/>
                      <a:pt x="127961" y="29621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431" name="Forma livre: Forma 1430">
                <a:extLst>
                  <a:ext uri="{FF2B5EF4-FFF2-40B4-BE49-F238E27FC236}">
                    <a16:creationId xmlns:a16="http://schemas.microsoft.com/office/drawing/2014/main" id="{53414F7C-FB81-1B93-F3B8-8456279979BB}"/>
                  </a:ext>
                </a:extLst>
              </p:cNvPr>
              <p:cNvSpPr/>
              <p:nvPr/>
            </p:nvSpPr>
            <p:spPr>
              <a:xfrm>
                <a:off x="2531874" y="5858524"/>
                <a:ext cx="127961" cy="29620"/>
              </a:xfrm>
              <a:custGeom>
                <a:avLst/>
                <a:gdLst>
                  <a:gd name="connsiteX0" fmla="*/ 0 w 127961"/>
                  <a:gd name="connsiteY0" fmla="*/ 0 h 29620"/>
                  <a:gd name="connsiteX1" fmla="*/ 63981 w 127961"/>
                  <a:gd name="connsiteY1" fmla="*/ 29621 h 29620"/>
                  <a:gd name="connsiteX2" fmla="*/ 127961 w 127961"/>
                  <a:gd name="connsiteY2" fmla="*/ 0 h 296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27961" h="29620">
                    <a:moveTo>
                      <a:pt x="0" y="0"/>
                    </a:moveTo>
                    <a:cubicBezTo>
                      <a:pt x="0" y="16351"/>
                      <a:pt x="28649" y="29621"/>
                      <a:pt x="63981" y="29621"/>
                    </a:cubicBezTo>
                    <a:cubicBezTo>
                      <a:pt x="99312" y="29621"/>
                      <a:pt x="127961" y="16351"/>
                      <a:pt x="127961" y="0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432" name="Forma livre: Forma 1431">
                <a:extLst>
                  <a:ext uri="{FF2B5EF4-FFF2-40B4-BE49-F238E27FC236}">
                    <a16:creationId xmlns:a16="http://schemas.microsoft.com/office/drawing/2014/main" id="{D506F7CC-97D1-7D50-B02A-B0CACC4BC2C2}"/>
                  </a:ext>
                </a:extLst>
              </p:cNvPr>
              <p:cNvSpPr/>
              <p:nvPr/>
            </p:nvSpPr>
            <p:spPr>
              <a:xfrm>
                <a:off x="2532004" y="5895253"/>
                <a:ext cx="127830" cy="29620"/>
              </a:xfrm>
              <a:custGeom>
                <a:avLst/>
                <a:gdLst>
                  <a:gd name="connsiteX0" fmla="*/ 127831 w 127830"/>
                  <a:gd name="connsiteY0" fmla="*/ 0 h 29620"/>
                  <a:gd name="connsiteX1" fmla="*/ 63850 w 127830"/>
                  <a:gd name="connsiteY1" fmla="*/ 29621 h 29620"/>
                  <a:gd name="connsiteX2" fmla="*/ 0 w 127830"/>
                  <a:gd name="connsiteY2" fmla="*/ 0 h 296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27830" h="29620">
                    <a:moveTo>
                      <a:pt x="127831" y="0"/>
                    </a:moveTo>
                    <a:cubicBezTo>
                      <a:pt x="127831" y="16351"/>
                      <a:pt x="99182" y="29621"/>
                      <a:pt x="63850" y="29621"/>
                    </a:cubicBezTo>
                    <a:cubicBezTo>
                      <a:pt x="28519" y="29621"/>
                      <a:pt x="0" y="16351"/>
                      <a:pt x="0" y="0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433" name="Forma livre: Forma 1432">
                <a:extLst>
                  <a:ext uri="{FF2B5EF4-FFF2-40B4-BE49-F238E27FC236}">
                    <a16:creationId xmlns:a16="http://schemas.microsoft.com/office/drawing/2014/main" id="{6277CBFB-7EB2-3AF0-CFD8-4904BC0277B6}"/>
                  </a:ext>
                </a:extLst>
              </p:cNvPr>
              <p:cNvSpPr/>
              <p:nvPr/>
            </p:nvSpPr>
            <p:spPr>
              <a:xfrm>
                <a:off x="2632939" y="5746179"/>
                <a:ext cx="1184" cy="31800"/>
              </a:xfrm>
              <a:custGeom>
                <a:avLst/>
                <a:gdLst>
                  <a:gd name="connsiteX0" fmla="*/ 0 w 1184"/>
                  <a:gd name="connsiteY0" fmla="*/ 0 h 31800"/>
                  <a:gd name="connsiteX1" fmla="*/ 0 w 1184"/>
                  <a:gd name="connsiteY1" fmla="*/ 31801 h 318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84" h="31800">
                    <a:moveTo>
                      <a:pt x="0" y="0"/>
                    </a:moveTo>
                    <a:lnTo>
                      <a:pt x="0" y="31801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434" name="Forma livre: Forma 1433">
                <a:extLst>
                  <a:ext uri="{FF2B5EF4-FFF2-40B4-BE49-F238E27FC236}">
                    <a16:creationId xmlns:a16="http://schemas.microsoft.com/office/drawing/2014/main" id="{200D84AF-C8EC-D1A3-EC51-37A62614DB8D}"/>
                  </a:ext>
                </a:extLst>
              </p:cNvPr>
              <p:cNvSpPr/>
              <p:nvPr/>
            </p:nvSpPr>
            <p:spPr>
              <a:xfrm>
                <a:off x="2531874" y="5822280"/>
                <a:ext cx="127961" cy="139608"/>
              </a:xfrm>
              <a:custGeom>
                <a:avLst/>
                <a:gdLst>
                  <a:gd name="connsiteX0" fmla="*/ 127961 w 127961"/>
                  <a:gd name="connsiteY0" fmla="*/ 0 h 139608"/>
                  <a:gd name="connsiteX1" fmla="*/ 127961 w 127961"/>
                  <a:gd name="connsiteY1" fmla="*/ 109987 h 139608"/>
                  <a:gd name="connsiteX2" fmla="*/ 63981 w 127961"/>
                  <a:gd name="connsiteY2" fmla="*/ 139608 h 139608"/>
                  <a:gd name="connsiteX3" fmla="*/ 0 w 127961"/>
                  <a:gd name="connsiteY3" fmla="*/ 109987 h 139608"/>
                  <a:gd name="connsiteX4" fmla="*/ 0 w 127961"/>
                  <a:gd name="connsiteY4" fmla="*/ 29763 h 1396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7961" h="139608">
                    <a:moveTo>
                      <a:pt x="127961" y="0"/>
                    </a:moveTo>
                    <a:lnTo>
                      <a:pt x="127961" y="109987"/>
                    </a:lnTo>
                    <a:cubicBezTo>
                      <a:pt x="127961" y="126350"/>
                      <a:pt x="99312" y="139608"/>
                      <a:pt x="63981" y="139608"/>
                    </a:cubicBezTo>
                    <a:cubicBezTo>
                      <a:pt x="28649" y="139608"/>
                      <a:pt x="0" y="126350"/>
                      <a:pt x="0" y="109987"/>
                    </a:cubicBezTo>
                    <a:lnTo>
                      <a:pt x="0" y="29763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435" name="Forma livre: Forma 1434">
              <a:extLst>
                <a:ext uri="{FF2B5EF4-FFF2-40B4-BE49-F238E27FC236}">
                  <a16:creationId xmlns:a16="http://schemas.microsoft.com/office/drawing/2014/main" id="{2B61247F-1EC7-B539-D7B3-B178DA0C37B4}"/>
                </a:ext>
              </a:extLst>
            </p:cNvPr>
            <p:cNvSpPr/>
            <p:nvPr/>
          </p:nvSpPr>
          <p:spPr>
            <a:xfrm>
              <a:off x="2660439" y="5917801"/>
              <a:ext cx="22997" cy="4620"/>
            </a:xfrm>
            <a:custGeom>
              <a:avLst/>
              <a:gdLst>
                <a:gd name="connsiteX0" fmla="*/ 22997 w 22997"/>
                <a:gd name="connsiteY0" fmla="*/ 4621 h 4620"/>
                <a:gd name="connsiteX1" fmla="*/ 0 w 22997"/>
                <a:gd name="connsiteY1" fmla="*/ 0 h 46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2997" h="4620">
                  <a:moveTo>
                    <a:pt x="22997" y="4621"/>
                  </a:moveTo>
                  <a:cubicBezTo>
                    <a:pt x="14597" y="3792"/>
                    <a:pt x="6813" y="2192"/>
                    <a:pt x="0" y="0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36" name="Forma livre: Forma 1435">
              <a:extLst>
                <a:ext uri="{FF2B5EF4-FFF2-40B4-BE49-F238E27FC236}">
                  <a16:creationId xmlns:a16="http://schemas.microsoft.com/office/drawing/2014/main" id="{81863EF2-1E70-4561-95EE-E84D2C959800}"/>
                </a:ext>
              </a:extLst>
            </p:cNvPr>
            <p:cNvSpPr/>
            <p:nvPr/>
          </p:nvSpPr>
          <p:spPr>
            <a:xfrm>
              <a:off x="2659029" y="5880728"/>
              <a:ext cx="21469" cy="4762"/>
            </a:xfrm>
            <a:custGeom>
              <a:avLst/>
              <a:gdLst>
                <a:gd name="connsiteX0" fmla="*/ 21469 w 21469"/>
                <a:gd name="connsiteY0" fmla="*/ 4763 h 4762"/>
                <a:gd name="connsiteX1" fmla="*/ 0 w 21469"/>
                <a:gd name="connsiteY1" fmla="*/ 0 h 47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1469" h="4762">
                  <a:moveTo>
                    <a:pt x="21469" y="4763"/>
                  </a:moveTo>
                  <a:cubicBezTo>
                    <a:pt x="13625" y="3803"/>
                    <a:pt x="6363" y="2156"/>
                    <a:pt x="0" y="0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37" name="Forma livre: Forma 1436">
              <a:extLst>
                <a:ext uri="{FF2B5EF4-FFF2-40B4-BE49-F238E27FC236}">
                  <a16:creationId xmlns:a16="http://schemas.microsoft.com/office/drawing/2014/main" id="{C45881B2-A171-502A-1057-456F7BDF1687}"/>
                </a:ext>
              </a:extLst>
            </p:cNvPr>
            <p:cNvSpPr/>
            <p:nvPr/>
          </p:nvSpPr>
          <p:spPr>
            <a:xfrm>
              <a:off x="2659799" y="5844377"/>
              <a:ext cx="33696" cy="5450"/>
            </a:xfrm>
            <a:custGeom>
              <a:avLst/>
              <a:gdLst>
                <a:gd name="connsiteX0" fmla="*/ 33696 w 33696"/>
                <a:gd name="connsiteY0" fmla="*/ 5450 h 5450"/>
                <a:gd name="connsiteX1" fmla="*/ 0 w 33696"/>
                <a:gd name="connsiteY1" fmla="*/ 0 h 5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3696" h="5450">
                  <a:moveTo>
                    <a:pt x="33696" y="5450"/>
                  </a:moveTo>
                  <a:cubicBezTo>
                    <a:pt x="21173" y="5142"/>
                    <a:pt x="9597" y="3164"/>
                    <a:pt x="0" y="0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38" name="Forma livre: Forma 1437">
              <a:extLst>
                <a:ext uri="{FF2B5EF4-FFF2-40B4-BE49-F238E27FC236}">
                  <a16:creationId xmlns:a16="http://schemas.microsoft.com/office/drawing/2014/main" id="{ECF857EA-FD2A-D616-0378-B2451C89E5DD}"/>
                </a:ext>
              </a:extLst>
            </p:cNvPr>
            <p:cNvSpPr/>
            <p:nvPr/>
          </p:nvSpPr>
          <p:spPr>
            <a:xfrm>
              <a:off x="2678934" y="5783631"/>
              <a:ext cx="81966" cy="29620"/>
            </a:xfrm>
            <a:custGeom>
              <a:avLst/>
              <a:gdLst>
                <a:gd name="connsiteX0" fmla="*/ 81966 w 81966"/>
                <a:gd name="connsiteY0" fmla="*/ 0 h 29620"/>
                <a:gd name="connsiteX1" fmla="*/ 17986 w 81966"/>
                <a:gd name="connsiteY1" fmla="*/ 29621 h 29620"/>
                <a:gd name="connsiteX2" fmla="*/ 0 w 81966"/>
                <a:gd name="connsiteY2" fmla="*/ 28436 h 296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81966" h="29620">
                  <a:moveTo>
                    <a:pt x="81966" y="0"/>
                  </a:moveTo>
                  <a:cubicBezTo>
                    <a:pt x="81966" y="16351"/>
                    <a:pt x="53317" y="29621"/>
                    <a:pt x="17986" y="29621"/>
                  </a:cubicBezTo>
                  <a:cubicBezTo>
                    <a:pt x="11742" y="29621"/>
                    <a:pt x="5699" y="29206"/>
                    <a:pt x="0" y="28436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39" name="Forma livre: Forma 1438">
              <a:extLst>
                <a:ext uri="{FF2B5EF4-FFF2-40B4-BE49-F238E27FC236}">
                  <a16:creationId xmlns:a16="http://schemas.microsoft.com/office/drawing/2014/main" id="{5EB5B020-8D5E-9AF4-C806-B801E7624C1F}"/>
                </a:ext>
              </a:extLst>
            </p:cNvPr>
            <p:cNvSpPr/>
            <p:nvPr/>
          </p:nvSpPr>
          <p:spPr>
            <a:xfrm>
              <a:off x="2632939" y="5717399"/>
              <a:ext cx="127961" cy="59241"/>
            </a:xfrm>
            <a:custGeom>
              <a:avLst/>
              <a:gdLst>
                <a:gd name="connsiteX0" fmla="*/ 127961 w 127961"/>
                <a:gd name="connsiteY0" fmla="*/ 29621 h 59241"/>
                <a:gd name="connsiteX1" fmla="*/ 63981 w 127961"/>
                <a:gd name="connsiteY1" fmla="*/ 59241 h 59241"/>
                <a:gd name="connsiteX2" fmla="*/ 0 w 127961"/>
                <a:gd name="connsiteY2" fmla="*/ 29621 h 59241"/>
                <a:gd name="connsiteX3" fmla="*/ 63981 w 127961"/>
                <a:gd name="connsiteY3" fmla="*/ 0 h 59241"/>
                <a:gd name="connsiteX4" fmla="*/ 127961 w 127961"/>
                <a:gd name="connsiteY4" fmla="*/ 29621 h 592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7961" h="59241">
                  <a:moveTo>
                    <a:pt x="127961" y="29621"/>
                  </a:moveTo>
                  <a:cubicBezTo>
                    <a:pt x="127961" y="45980"/>
                    <a:pt x="99316" y="59241"/>
                    <a:pt x="63981" y="59241"/>
                  </a:cubicBezTo>
                  <a:cubicBezTo>
                    <a:pt x="28645" y="59241"/>
                    <a:pt x="0" y="45980"/>
                    <a:pt x="0" y="29621"/>
                  </a:cubicBezTo>
                  <a:cubicBezTo>
                    <a:pt x="0" y="13262"/>
                    <a:pt x="28645" y="0"/>
                    <a:pt x="63981" y="0"/>
                  </a:cubicBezTo>
                  <a:cubicBezTo>
                    <a:pt x="99316" y="0"/>
                    <a:pt x="127961" y="13262"/>
                    <a:pt x="127961" y="29621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440" name="Gráfico 14">
            <a:extLst>
              <a:ext uri="{FF2B5EF4-FFF2-40B4-BE49-F238E27FC236}">
                <a16:creationId xmlns:a16="http://schemas.microsoft.com/office/drawing/2014/main" id="{1CD2F25F-C846-3C26-C679-3132274B10D4}"/>
              </a:ext>
            </a:extLst>
          </p:cNvPr>
          <p:cNvGrpSpPr/>
          <p:nvPr/>
        </p:nvGrpSpPr>
        <p:grpSpPr>
          <a:xfrm>
            <a:off x="3784452" y="4634670"/>
            <a:ext cx="291640" cy="298244"/>
            <a:chOff x="3784452" y="4634670"/>
            <a:chExt cx="291640" cy="298244"/>
          </a:xfrm>
          <a:noFill/>
        </p:grpSpPr>
        <p:grpSp>
          <p:nvGrpSpPr>
            <p:cNvPr id="1441" name="Gráfico 14">
              <a:extLst>
                <a:ext uri="{FF2B5EF4-FFF2-40B4-BE49-F238E27FC236}">
                  <a16:creationId xmlns:a16="http://schemas.microsoft.com/office/drawing/2014/main" id="{D9D95045-D40C-3B5E-B19E-91A8E9D8D944}"/>
                </a:ext>
              </a:extLst>
            </p:cNvPr>
            <p:cNvGrpSpPr/>
            <p:nvPr/>
          </p:nvGrpSpPr>
          <p:grpSpPr>
            <a:xfrm>
              <a:off x="3784452" y="4670286"/>
              <a:ext cx="220989" cy="262628"/>
              <a:chOff x="3784452" y="4670286"/>
              <a:chExt cx="220989" cy="262628"/>
            </a:xfrm>
            <a:noFill/>
          </p:grpSpPr>
          <p:sp>
            <p:nvSpPr>
              <p:cNvPr id="1442" name="Forma livre: Forma 1441">
                <a:extLst>
                  <a:ext uri="{FF2B5EF4-FFF2-40B4-BE49-F238E27FC236}">
                    <a16:creationId xmlns:a16="http://schemas.microsoft.com/office/drawing/2014/main" id="{6BFF6F60-7F89-ABE4-700B-F990AA1C1375}"/>
                  </a:ext>
                </a:extLst>
              </p:cNvPr>
              <p:cNvSpPr/>
              <p:nvPr/>
            </p:nvSpPr>
            <p:spPr>
              <a:xfrm>
                <a:off x="3784452" y="4670286"/>
                <a:ext cx="108087" cy="262225"/>
              </a:xfrm>
              <a:custGeom>
                <a:avLst/>
                <a:gdLst>
                  <a:gd name="connsiteX0" fmla="*/ 108087 w 108087"/>
                  <a:gd name="connsiteY0" fmla="*/ 0 h 262225"/>
                  <a:gd name="connsiteX1" fmla="*/ 64663 w 108087"/>
                  <a:gd name="connsiteY1" fmla="*/ 16054 h 262225"/>
                  <a:gd name="connsiteX2" fmla="*/ 31654 w 108087"/>
                  <a:gd name="connsiteY2" fmla="*/ 92120 h 262225"/>
                  <a:gd name="connsiteX3" fmla="*/ 28313 w 108087"/>
                  <a:gd name="connsiteY3" fmla="*/ 115900 h 262225"/>
                  <a:gd name="connsiteX4" fmla="*/ 588 w 108087"/>
                  <a:gd name="connsiteY4" fmla="*/ 148494 h 262225"/>
                  <a:gd name="connsiteX5" fmla="*/ 7981 w 108087"/>
                  <a:gd name="connsiteY5" fmla="*/ 159110 h 262225"/>
                  <a:gd name="connsiteX6" fmla="*/ 24877 w 108087"/>
                  <a:gd name="connsiteY6" fmla="*/ 162594 h 262225"/>
                  <a:gd name="connsiteX7" fmla="*/ 32638 w 108087"/>
                  <a:gd name="connsiteY7" fmla="*/ 186977 h 262225"/>
                  <a:gd name="connsiteX8" fmla="*/ 30872 w 108087"/>
                  <a:gd name="connsiteY8" fmla="*/ 210650 h 262225"/>
                  <a:gd name="connsiteX9" fmla="*/ 34296 w 108087"/>
                  <a:gd name="connsiteY9" fmla="*/ 233541 h 262225"/>
                  <a:gd name="connsiteX10" fmla="*/ 92436 w 108087"/>
                  <a:gd name="connsiteY10" fmla="*/ 231242 h 262225"/>
                  <a:gd name="connsiteX11" fmla="*/ 101109 w 108087"/>
                  <a:gd name="connsiteY11" fmla="*/ 262226 h 2622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08087" h="262225">
                    <a:moveTo>
                      <a:pt x="108087" y="0"/>
                    </a:moveTo>
                    <a:cubicBezTo>
                      <a:pt x="94403" y="2488"/>
                      <a:pt x="79794" y="7476"/>
                      <a:pt x="64663" y="16054"/>
                    </a:cubicBezTo>
                    <a:cubicBezTo>
                      <a:pt x="64663" y="16054"/>
                      <a:pt x="22804" y="34170"/>
                      <a:pt x="31654" y="92120"/>
                    </a:cubicBezTo>
                    <a:cubicBezTo>
                      <a:pt x="31654" y="92120"/>
                      <a:pt x="33443" y="108329"/>
                      <a:pt x="28313" y="115900"/>
                    </a:cubicBezTo>
                    <a:lnTo>
                      <a:pt x="588" y="148494"/>
                    </a:lnTo>
                    <a:cubicBezTo>
                      <a:pt x="588" y="148494"/>
                      <a:pt x="-3097" y="158186"/>
                      <a:pt x="7981" y="159110"/>
                    </a:cubicBezTo>
                    <a:lnTo>
                      <a:pt x="24877" y="162594"/>
                    </a:lnTo>
                    <a:cubicBezTo>
                      <a:pt x="24877" y="162594"/>
                      <a:pt x="31939" y="176373"/>
                      <a:pt x="32638" y="186977"/>
                    </a:cubicBezTo>
                    <a:cubicBezTo>
                      <a:pt x="33348" y="197582"/>
                      <a:pt x="30872" y="210650"/>
                      <a:pt x="30872" y="210650"/>
                    </a:cubicBezTo>
                    <a:cubicBezTo>
                      <a:pt x="30872" y="210650"/>
                      <a:pt x="24865" y="226551"/>
                      <a:pt x="34296" y="233541"/>
                    </a:cubicBezTo>
                    <a:cubicBezTo>
                      <a:pt x="36156" y="234003"/>
                      <a:pt x="43076" y="241858"/>
                      <a:pt x="92436" y="231242"/>
                    </a:cubicBezTo>
                    <a:cubicBezTo>
                      <a:pt x="92436" y="231242"/>
                      <a:pt x="98087" y="236432"/>
                      <a:pt x="101109" y="262226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443" name="Forma livre: Forma 1442">
                <a:extLst>
                  <a:ext uri="{FF2B5EF4-FFF2-40B4-BE49-F238E27FC236}">
                    <a16:creationId xmlns:a16="http://schemas.microsoft.com/office/drawing/2014/main" id="{50665D2C-C578-ADC2-5D23-FF99A1E0E575}"/>
                  </a:ext>
                </a:extLst>
              </p:cNvPr>
              <p:cNvSpPr/>
              <p:nvPr/>
            </p:nvSpPr>
            <p:spPr>
              <a:xfrm>
                <a:off x="3986927" y="4827796"/>
                <a:ext cx="18514" cy="105117"/>
              </a:xfrm>
              <a:custGeom>
                <a:avLst/>
                <a:gdLst>
                  <a:gd name="connsiteX0" fmla="*/ 5232 w 18514"/>
                  <a:gd name="connsiteY0" fmla="*/ 105118 h 105117"/>
                  <a:gd name="connsiteX1" fmla="*/ 232 w 18514"/>
                  <a:gd name="connsiteY1" fmla="*/ 48353 h 105117"/>
                  <a:gd name="connsiteX2" fmla="*/ 18514 w 18514"/>
                  <a:gd name="connsiteY2" fmla="*/ 0 h 1051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8514" h="105117">
                    <a:moveTo>
                      <a:pt x="5232" y="105118"/>
                    </a:moveTo>
                    <a:cubicBezTo>
                      <a:pt x="3040" y="92334"/>
                      <a:pt x="-1012" y="68613"/>
                      <a:pt x="232" y="48353"/>
                    </a:cubicBezTo>
                    <a:cubicBezTo>
                      <a:pt x="232" y="48353"/>
                      <a:pt x="6322" y="20936"/>
                      <a:pt x="18514" y="0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444" name="Forma livre: Forma 1443">
                <a:extLst>
                  <a:ext uri="{FF2B5EF4-FFF2-40B4-BE49-F238E27FC236}">
                    <a16:creationId xmlns:a16="http://schemas.microsoft.com/office/drawing/2014/main" id="{80414E4B-18F4-6192-1CB5-131BC6CF4543}"/>
                  </a:ext>
                </a:extLst>
              </p:cNvPr>
              <p:cNvSpPr/>
              <p:nvPr/>
            </p:nvSpPr>
            <p:spPr>
              <a:xfrm>
                <a:off x="3819222" y="4857974"/>
                <a:ext cx="21208" cy="355"/>
              </a:xfrm>
              <a:custGeom>
                <a:avLst/>
                <a:gdLst>
                  <a:gd name="connsiteX0" fmla="*/ 0 w 21208"/>
                  <a:gd name="connsiteY0" fmla="*/ 0 h 355"/>
                  <a:gd name="connsiteX1" fmla="*/ 21208 w 21208"/>
                  <a:gd name="connsiteY1" fmla="*/ 355 h 3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1208" h="355">
                    <a:moveTo>
                      <a:pt x="0" y="0"/>
                    </a:moveTo>
                    <a:lnTo>
                      <a:pt x="21208" y="355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445" name="Forma livre: Forma 1444">
              <a:extLst>
                <a:ext uri="{FF2B5EF4-FFF2-40B4-BE49-F238E27FC236}">
                  <a16:creationId xmlns:a16="http://schemas.microsoft.com/office/drawing/2014/main" id="{35CA3456-B6B6-519F-BB41-36B348A29F36}"/>
                </a:ext>
              </a:extLst>
            </p:cNvPr>
            <p:cNvSpPr/>
            <p:nvPr/>
          </p:nvSpPr>
          <p:spPr>
            <a:xfrm>
              <a:off x="3906070" y="4634670"/>
              <a:ext cx="170022" cy="170022"/>
            </a:xfrm>
            <a:custGeom>
              <a:avLst/>
              <a:gdLst>
                <a:gd name="connsiteX0" fmla="*/ 49715 w 170022"/>
                <a:gd name="connsiteY0" fmla="*/ 7654 h 170022"/>
                <a:gd name="connsiteX1" fmla="*/ 85011 w 170022"/>
                <a:gd name="connsiteY1" fmla="*/ 0 h 170022"/>
                <a:gd name="connsiteX2" fmla="*/ 170023 w 170022"/>
                <a:gd name="connsiteY2" fmla="*/ 85011 h 170022"/>
                <a:gd name="connsiteX3" fmla="*/ 85011 w 170022"/>
                <a:gd name="connsiteY3" fmla="*/ 170023 h 170022"/>
                <a:gd name="connsiteX4" fmla="*/ 0 w 170022"/>
                <a:gd name="connsiteY4" fmla="*/ 85011 h 170022"/>
                <a:gd name="connsiteX5" fmla="*/ 25853 w 170022"/>
                <a:gd name="connsiteY5" fmla="*/ 23957 h 170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70022" h="170022">
                  <a:moveTo>
                    <a:pt x="49715" y="7654"/>
                  </a:moveTo>
                  <a:cubicBezTo>
                    <a:pt x="60462" y="2749"/>
                    <a:pt x="72417" y="0"/>
                    <a:pt x="85011" y="0"/>
                  </a:cubicBezTo>
                  <a:cubicBezTo>
                    <a:pt x="131954" y="0"/>
                    <a:pt x="170023" y="38057"/>
                    <a:pt x="170023" y="85011"/>
                  </a:cubicBezTo>
                  <a:cubicBezTo>
                    <a:pt x="170023" y="131966"/>
                    <a:pt x="131954" y="170023"/>
                    <a:pt x="85011" y="170023"/>
                  </a:cubicBezTo>
                  <a:cubicBezTo>
                    <a:pt x="38068" y="170023"/>
                    <a:pt x="0" y="131966"/>
                    <a:pt x="0" y="85011"/>
                  </a:cubicBezTo>
                  <a:cubicBezTo>
                    <a:pt x="0" y="61054"/>
                    <a:pt x="9917" y="39419"/>
                    <a:pt x="25853" y="23957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46" name="Forma livre: Forma 1445">
              <a:extLst>
                <a:ext uri="{FF2B5EF4-FFF2-40B4-BE49-F238E27FC236}">
                  <a16:creationId xmlns:a16="http://schemas.microsoft.com/office/drawing/2014/main" id="{AC177E47-158A-0631-3670-1A5A979B008D}"/>
                </a:ext>
              </a:extLst>
            </p:cNvPr>
            <p:cNvSpPr/>
            <p:nvPr/>
          </p:nvSpPr>
          <p:spPr>
            <a:xfrm>
              <a:off x="3962101" y="4677572"/>
              <a:ext cx="58127" cy="84347"/>
            </a:xfrm>
            <a:custGeom>
              <a:avLst/>
              <a:gdLst>
                <a:gd name="connsiteX0" fmla="*/ 58128 w 58127"/>
                <a:gd name="connsiteY0" fmla="*/ 0 h 84347"/>
                <a:gd name="connsiteX1" fmla="*/ 0 w 58127"/>
                <a:gd name="connsiteY1" fmla="*/ 84348 h 843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8127" h="84347">
                  <a:moveTo>
                    <a:pt x="58128" y="0"/>
                  </a:moveTo>
                  <a:lnTo>
                    <a:pt x="0" y="84348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447" name="Gráfico 14">
              <a:extLst>
                <a:ext uri="{FF2B5EF4-FFF2-40B4-BE49-F238E27FC236}">
                  <a16:creationId xmlns:a16="http://schemas.microsoft.com/office/drawing/2014/main" id="{52723ABB-4BA4-1D89-5EFB-51CA7C72DC16}"/>
                </a:ext>
              </a:extLst>
            </p:cNvPr>
            <p:cNvGrpSpPr/>
            <p:nvPr/>
          </p:nvGrpSpPr>
          <p:grpSpPr>
            <a:xfrm>
              <a:off x="3948333" y="4674693"/>
              <a:ext cx="85651" cy="90094"/>
              <a:chOff x="3948333" y="4674693"/>
              <a:chExt cx="85651" cy="90094"/>
            </a:xfrm>
            <a:noFill/>
          </p:grpSpPr>
          <p:sp>
            <p:nvSpPr>
              <p:cNvPr id="1448" name="Forma livre: Forma 1447">
                <a:extLst>
                  <a:ext uri="{FF2B5EF4-FFF2-40B4-BE49-F238E27FC236}">
                    <a16:creationId xmlns:a16="http://schemas.microsoft.com/office/drawing/2014/main" id="{BD5BA269-04DD-3D26-2B75-C6BD8711D913}"/>
                  </a:ext>
                </a:extLst>
              </p:cNvPr>
              <p:cNvSpPr/>
              <p:nvPr/>
            </p:nvSpPr>
            <p:spPr>
              <a:xfrm>
                <a:off x="3948333" y="4674693"/>
                <a:ext cx="31018" cy="31042"/>
              </a:xfrm>
              <a:custGeom>
                <a:avLst/>
                <a:gdLst>
                  <a:gd name="connsiteX0" fmla="*/ 31019 w 31018"/>
                  <a:gd name="connsiteY0" fmla="*/ 15521 h 31042"/>
                  <a:gd name="connsiteX1" fmla="*/ 15509 w 31018"/>
                  <a:gd name="connsiteY1" fmla="*/ 31042 h 31042"/>
                  <a:gd name="connsiteX2" fmla="*/ 0 w 31018"/>
                  <a:gd name="connsiteY2" fmla="*/ 15521 h 31042"/>
                  <a:gd name="connsiteX3" fmla="*/ 15509 w 31018"/>
                  <a:gd name="connsiteY3" fmla="*/ 0 h 31042"/>
                  <a:gd name="connsiteX4" fmla="*/ 31019 w 31018"/>
                  <a:gd name="connsiteY4" fmla="*/ 15521 h 310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1018" h="31042">
                    <a:moveTo>
                      <a:pt x="31019" y="15521"/>
                    </a:moveTo>
                    <a:cubicBezTo>
                      <a:pt x="31019" y="24087"/>
                      <a:pt x="24076" y="31042"/>
                      <a:pt x="15509" y="31042"/>
                    </a:cubicBezTo>
                    <a:cubicBezTo>
                      <a:pt x="6943" y="31042"/>
                      <a:pt x="0" y="24087"/>
                      <a:pt x="0" y="15521"/>
                    </a:cubicBezTo>
                    <a:cubicBezTo>
                      <a:pt x="0" y="6955"/>
                      <a:pt x="6943" y="0"/>
                      <a:pt x="15509" y="0"/>
                    </a:cubicBezTo>
                    <a:cubicBezTo>
                      <a:pt x="24076" y="0"/>
                      <a:pt x="31019" y="6955"/>
                      <a:pt x="31019" y="15521"/>
                    </a:cubicBezTo>
                    <a:close/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449" name="Forma livre: Forma 1448">
                <a:extLst>
                  <a:ext uri="{FF2B5EF4-FFF2-40B4-BE49-F238E27FC236}">
                    <a16:creationId xmlns:a16="http://schemas.microsoft.com/office/drawing/2014/main" id="{9E72F27C-1F25-E336-6E1C-02D011874CE5}"/>
                  </a:ext>
                </a:extLst>
              </p:cNvPr>
              <p:cNvSpPr/>
              <p:nvPr/>
            </p:nvSpPr>
            <p:spPr>
              <a:xfrm>
                <a:off x="4002953" y="4733757"/>
                <a:ext cx="31030" cy="31030"/>
              </a:xfrm>
              <a:custGeom>
                <a:avLst/>
                <a:gdLst>
                  <a:gd name="connsiteX0" fmla="*/ 31031 w 31030"/>
                  <a:gd name="connsiteY0" fmla="*/ 15509 h 31030"/>
                  <a:gd name="connsiteX1" fmla="*/ 15509 w 31030"/>
                  <a:gd name="connsiteY1" fmla="*/ 31031 h 31030"/>
                  <a:gd name="connsiteX2" fmla="*/ 0 w 31030"/>
                  <a:gd name="connsiteY2" fmla="*/ 15509 h 31030"/>
                  <a:gd name="connsiteX3" fmla="*/ 15509 w 31030"/>
                  <a:gd name="connsiteY3" fmla="*/ 0 h 31030"/>
                  <a:gd name="connsiteX4" fmla="*/ 31031 w 31030"/>
                  <a:gd name="connsiteY4" fmla="*/ 15509 h 310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1030" h="31030">
                    <a:moveTo>
                      <a:pt x="31031" y="15509"/>
                    </a:moveTo>
                    <a:cubicBezTo>
                      <a:pt x="31031" y="24076"/>
                      <a:pt x="24076" y="31031"/>
                      <a:pt x="15509" y="31031"/>
                    </a:cubicBezTo>
                    <a:cubicBezTo>
                      <a:pt x="6943" y="31031"/>
                      <a:pt x="0" y="24076"/>
                      <a:pt x="0" y="15509"/>
                    </a:cubicBezTo>
                    <a:cubicBezTo>
                      <a:pt x="0" y="6943"/>
                      <a:pt x="6955" y="0"/>
                      <a:pt x="15509" y="0"/>
                    </a:cubicBezTo>
                    <a:cubicBezTo>
                      <a:pt x="24064" y="0"/>
                      <a:pt x="31031" y="6943"/>
                      <a:pt x="31031" y="15509"/>
                    </a:cubicBezTo>
                    <a:close/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450" name="Gráfico 14">
            <a:extLst>
              <a:ext uri="{FF2B5EF4-FFF2-40B4-BE49-F238E27FC236}">
                <a16:creationId xmlns:a16="http://schemas.microsoft.com/office/drawing/2014/main" id="{3B592968-80C5-4356-3A17-AF518B1B0F26}"/>
              </a:ext>
            </a:extLst>
          </p:cNvPr>
          <p:cNvGrpSpPr/>
          <p:nvPr/>
        </p:nvGrpSpPr>
        <p:grpSpPr>
          <a:xfrm>
            <a:off x="3153173" y="4651850"/>
            <a:ext cx="318682" cy="263884"/>
            <a:chOff x="3153173" y="4651850"/>
            <a:chExt cx="318682" cy="263884"/>
          </a:xfrm>
          <a:noFill/>
        </p:grpSpPr>
        <p:grpSp>
          <p:nvGrpSpPr>
            <p:cNvPr id="1451" name="Gráfico 14">
              <a:extLst>
                <a:ext uri="{FF2B5EF4-FFF2-40B4-BE49-F238E27FC236}">
                  <a16:creationId xmlns:a16="http://schemas.microsoft.com/office/drawing/2014/main" id="{8B732D3C-07F9-7406-1F13-1527B9AD0680}"/>
                </a:ext>
              </a:extLst>
            </p:cNvPr>
            <p:cNvGrpSpPr/>
            <p:nvPr/>
          </p:nvGrpSpPr>
          <p:grpSpPr>
            <a:xfrm>
              <a:off x="3313681" y="4757560"/>
              <a:ext cx="158174" cy="158174"/>
              <a:chOff x="3313681" y="4757560"/>
              <a:chExt cx="158174" cy="158174"/>
            </a:xfrm>
            <a:noFill/>
          </p:grpSpPr>
          <p:sp>
            <p:nvSpPr>
              <p:cNvPr id="1452" name="Forma livre: Forma 1451">
                <a:extLst>
                  <a:ext uri="{FF2B5EF4-FFF2-40B4-BE49-F238E27FC236}">
                    <a16:creationId xmlns:a16="http://schemas.microsoft.com/office/drawing/2014/main" id="{7DF8E4D0-18E5-2994-A661-6C9F6A44A8D8}"/>
                  </a:ext>
                </a:extLst>
              </p:cNvPr>
              <p:cNvSpPr/>
              <p:nvPr/>
            </p:nvSpPr>
            <p:spPr>
              <a:xfrm>
                <a:off x="3313681" y="4757560"/>
                <a:ext cx="158174" cy="158174"/>
              </a:xfrm>
              <a:custGeom>
                <a:avLst/>
                <a:gdLst>
                  <a:gd name="connsiteX0" fmla="*/ 46256 w 158174"/>
                  <a:gd name="connsiteY0" fmla="*/ 7121 h 158174"/>
                  <a:gd name="connsiteX1" fmla="*/ 79087 w 158174"/>
                  <a:gd name="connsiteY1" fmla="*/ 0 h 158174"/>
                  <a:gd name="connsiteX2" fmla="*/ 158174 w 158174"/>
                  <a:gd name="connsiteY2" fmla="*/ 79087 h 158174"/>
                  <a:gd name="connsiteX3" fmla="*/ 79087 w 158174"/>
                  <a:gd name="connsiteY3" fmla="*/ 158174 h 158174"/>
                  <a:gd name="connsiteX4" fmla="*/ 0 w 158174"/>
                  <a:gd name="connsiteY4" fmla="*/ 79087 h 158174"/>
                  <a:gd name="connsiteX5" fmla="*/ 24052 w 158174"/>
                  <a:gd name="connsiteY5" fmla="*/ 22287 h 158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58174" h="158174">
                    <a:moveTo>
                      <a:pt x="46256" y="7121"/>
                    </a:moveTo>
                    <a:cubicBezTo>
                      <a:pt x="56267" y="2547"/>
                      <a:pt x="67381" y="0"/>
                      <a:pt x="79087" y="0"/>
                    </a:cubicBezTo>
                    <a:cubicBezTo>
                      <a:pt x="122760" y="0"/>
                      <a:pt x="158174" y="35414"/>
                      <a:pt x="158174" y="79087"/>
                    </a:cubicBezTo>
                    <a:cubicBezTo>
                      <a:pt x="158174" y="122760"/>
                      <a:pt x="122760" y="158174"/>
                      <a:pt x="79087" y="158174"/>
                    </a:cubicBezTo>
                    <a:cubicBezTo>
                      <a:pt x="35414" y="158174"/>
                      <a:pt x="0" y="122760"/>
                      <a:pt x="0" y="79087"/>
                    </a:cubicBezTo>
                    <a:cubicBezTo>
                      <a:pt x="0" y="56801"/>
                      <a:pt x="9230" y="36670"/>
                      <a:pt x="24052" y="22287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453" name="Forma livre: Forma 1452">
                <a:extLst>
                  <a:ext uri="{FF2B5EF4-FFF2-40B4-BE49-F238E27FC236}">
                    <a16:creationId xmlns:a16="http://schemas.microsoft.com/office/drawing/2014/main" id="{9D5D1EF8-0DBA-6076-E3E5-7C9E83A24DFF}"/>
                  </a:ext>
                </a:extLst>
              </p:cNvPr>
              <p:cNvSpPr/>
              <p:nvPr/>
            </p:nvSpPr>
            <p:spPr>
              <a:xfrm>
                <a:off x="3365742" y="4797417"/>
                <a:ext cx="54075" cy="78471"/>
              </a:xfrm>
              <a:custGeom>
                <a:avLst/>
                <a:gdLst>
                  <a:gd name="connsiteX0" fmla="*/ 54075 w 54075"/>
                  <a:gd name="connsiteY0" fmla="*/ 0 h 78471"/>
                  <a:gd name="connsiteX1" fmla="*/ 0 w 54075"/>
                  <a:gd name="connsiteY1" fmla="*/ 78471 h 784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4075" h="78471">
                    <a:moveTo>
                      <a:pt x="54075" y="0"/>
                    </a:moveTo>
                    <a:lnTo>
                      <a:pt x="0" y="78471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1454" name="Gráfico 14">
                <a:extLst>
                  <a:ext uri="{FF2B5EF4-FFF2-40B4-BE49-F238E27FC236}">
                    <a16:creationId xmlns:a16="http://schemas.microsoft.com/office/drawing/2014/main" id="{3F45B9CA-46AA-0684-685E-114C47080F46}"/>
                  </a:ext>
                </a:extLst>
              </p:cNvPr>
              <p:cNvGrpSpPr/>
              <p:nvPr/>
            </p:nvGrpSpPr>
            <p:grpSpPr>
              <a:xfrm>
                <a:off x="3351264" y="4793081"/>
                <a:ext cx="83020" cy="87144"/>
                <a:chOff x="3351264" y="4793081"/>
                <a:chExt cx="83020" cy="87144"/>
              </a:xfrm>
              <a:noFill/>
            </p:grpSpPr>
            <p:sp>
              <p:nvSpPr>
                <p:cNvPr id="1455" name="Forma livre: Forma 1454">
                  <a:extLst>
                    <a:ext uri="{FF2B5EF4-FFF2-40B4-BE49-F238E27FC236}">
                      <a16:creationId xmlns:a16="http://schemas.microsoft.com/office/drawing/2014/main" id="{9659CEB1-FDC2-6C88-ADB4-424B2506B72B}"/>
                    </a:ext>
                  </a:extLst>
                </p:cNvPr>
                <p:cNvSpPr/>
                <p:nvPr/>
              </p:nvSpPr>
              <p:spPr>
                <a:xfrm>
                  <a:off x="3351264" y="4793081"/>
                  <a:ext cx="30307" cy="30319"/>
                </a:xfrm>
                <a:custGeom>
                  <a:avLst/>
                  <a:gdLst>
                    <a:gd name="connsiteX0" fmla="*/ 30308 w 30307"/>
                    <a:gd name="connsiteY0" fmla="*/ 15154 h 30319"/>
                    <a:gd name="connsiteX1" fmla="*/ 15154 w 30307"/>
                    <a:gd name="connsiteY1" fmla="*/ 30320 h 30319"/>
                    <a:gd name="connsiteX2" fmla="*/ 0 w 30307"/>
                    <a:gd name="connsiteY2" fmla="*/ 15154 h 30319"/>
                    <a:gd name="connsiteX3" fmla="*/ 15154 w 30307"/>
                    <a:gd name="connsiteY3" fmla="*/ 0 h 30319"/>
                    <a:gd name="connsiteX4" fmla="*/ 30308 w 30307"/>
                    <a:gd name="connsiteY4" fmla="*/ 15154 h 3031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0307" h="30319">
                      <a:moveTo>
                        <a:pt x="30308" y="15154"/>
                      </a:moveTo>
                      <a:cubicBezTo>
                        <a:pt x="30308" y="23519"/>
                        <a:pt x="23519" y="30320"/>
                        <a:pt x="15154" y="30320"/>
                      </a:cubicBezTo>
                      <a:cubicBezTo>
                        <a:pt x="6789" y="30320"/>
                        <a:pt x="0" y="23531"/>
                        <a:pt x="0" y="15154"/>
                      </a:cubicBezTo>
                      <a:cubicBezTo>
                        <a:pt x="0" y="6777"/>
                        <a:pt x="6777" y="0"/>
                        <a:pt x="15154" y="0"/>
                      </a:cubicBezTo>
                      <a:cubicBezTo>
                        <a:pt x="23531" y="0"/>
                        <a:pt x="30308" y="6789"/>
                        <a:pt x="30308" y="15154"/>
                      </a:cubicBezTo>
                      <a:close/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456" name="Forma livre: Forma 1455">
                  <a:extLst>
                    <a:ext uri="{FF2B5EF4-FFF2-40B4-BE49-F238E27FC236}">
                      <a16:creationId xmlns:a16="http://schemas.microsoft.com/office/drawing/2014/main" id="{39836E66-C353-2D7B-4CC4-1C1CCE6245C5}"/>
                    </a:ext>
                  </a:extLst>
                </p:cNvPr>
                <p:cNvSpPr/>
                <p:nvPr/>
              </p:nvSpPr>
              <p:spPr>
                <a:xfrm>
                  <a:off x="3403976" y="4849917"/>
                  <a:ext cx="30307" cy="30307"/>
                </a:xfrm>
                <a:custGeom>
                  <a:avLst/>
                  <a:gdLst>
                    <a:gd name="connsiteX0" fmla="*/ 30308 w 30307"/>
                    <a:gd name="connsiteY0" fmla="*/ 15154 h 30307"/>
                    <a:gd name="connsiteX1" fmla="*/ 15154 w 30307"/>
                    <a:gd name="connsiteY1" fmla="*/ 30308 h 30307"/>
                    <a:gd name="connsiteX2" fmla="*/ 0 w 30307"/>
                    <a:gd name="connsiteY2" fmla="*/ 15154 h 30307"/>
                    <a:gd name="connsiteX3" fmla="*/ 15154 w 30307"/>
                    <a:gd name="connsiteY3" fmla="*/ 0 h 30307"/>
                    <a:gd name="connsiteX4" fmla="*/ 30308 w 30307"/>
                    <a:gd name="connsiteY4" fmla="*/ 15154 h 3030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0307" h="30307">
                      <a:moveTo>
                        <a:pt x="30308" y="15154"/>
                      </a:moveTo>
                      <a:cubicBezTo>
                        <a:pt x="30308" y="23531"/>
                        <a:pt x="23519" y="30308"/>
                        <a:pt x="15154" y="30308"/>
                      </a:cubicBezTo>
                      <a:cubicBezTo>
                        <a:pt x="6789" y="30308"/>
                        <a:pt x="0" y="23519"/>
                        <a:pt x="0" y="15154"/>
                      </a:cubicBezTo>
                      <a:cubicBezTo>
                        <a:pt x="0" y="6789"/>
                        <a:pt x="6789" y="0"/>
                        <a:pt x="15154" y="0"/>
                      </a:cubicBezTo>
                      <a:cubicBezTo>
                        <a:pt x="23519" y="0"/>
                        <a:pt x="30308" y="6789"/>
                        <a:pt x="30308" y="15154"/>
                      </a:cubicBezTo>
                      <a:close/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grpSp>
          <p:nvGrpSpPr>
            <p:cNvPr id="1457" name="Gráfico 14">
              <a:extLst>
                <a:ext uri="{FF2B5EF4-FFF2-40B4-BE49-F238E27FC236}">
                  <a16:creationId xmlns:a16="http://schemas.microsoft.com/office/drawing/2014/main" id="{6D7750FE-3194-4CD9-BC8E-DAEC2DE116CE}"/>
                </a:ext>
              </a:extLst>
            </p:cNvPr>
            <p:cNvGrpSpPr/>
            <p:nvPr/>
          </p:nvGrpSpPr>
          <p:grpSpPr>
            <a:xfrm>
              <a:off x="3153173" y="4651850"/>
              <a:ext cx="232024" cy="237356"/>
              <a:chOff x="3153173" y="4651850"/>
              <a:chExt cx="232024" cy="237356"/>
            </a:xfrm>
            <a:noFill/>
          </p:grpSpPr>
          <p:grpSp>
            <p:nvGrpSpPr>
              <p:cNvPr id="1458" name="Gráfico 14">
                <a:extLst>
                  <a:ext uri="{FF2B5EF4-FFF2-40B4-BE49-F238E27FC236}">
                    <a16:creationId xmlns:a16="http://schemas.microsoft.com/office/drawing/2014/main" id="{76F52DC9-8442-B387-5E0E-4B237874B4EC}"/>
                  </a:ext>
                </a:extLst>
              </p:cNvPr>
              <p:cNvGrpSpPr/>
              <p:nvPr/>
            </p:nvGrpSpPr>
            <p:grpSpPr>
              <a:xfrm>
                <a:off x="3271868" y="4655404"/>
                <a:ext cx="11" cy="230247"/>
                <a:chOff x="3271868" y="4655404"/>
                <a:chExt cx="11" cy="230247"/>
              </a:xfrm>
            </p:grpSpPr>
            <p:sp>
              <p:nvSpPr>
                <p:cNvPr id="1459" name="Forma livre: Forma 1458">
                  <a:extLst>
                    <a:ext uri="{FF2B5EF4-FFF2-40B4-BE49-F238E27FC236}">
                      <a16:creationId xmlns:a16="http://schemas.microsoft.com/office/drawing/2014/main" id="{B52C6661-E9B8-B975-98BE-3C16790D81C0}"/>
                    </a:ext>
                  </a:extLst>
                </p:cNvPr>
                <p:cNvSpPr/>
                <p:nvPr/>
              </p:nvSpPr>
              <p:spPr>
                <a:xfrm>
                  <a:off x="3271868" y="4655404"/>
                  <a:ext cx="1184" cy="29383"/>
                </a:xfrm>
                <a:custGeom>
                  <a:avLst/>
                  <a:gdLst>
                    <a:gd name="connsiteX0" fmla="*/ 0 w 1184"/>
                    <a:gd name="connsiteY0" fmla="*/ 0 h 29383"/>
                    <a:gd name="connsiteX1" fmla="*/ 0 w 1184"/>
                    <a:gd name="connsiteY1" fmla="*/ 29384 h 2938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184" h="29383">
                      <a:moveTo>
                        <a:pt x="0" y="0"/>
                      </a:moveTo>
                      <a:lnTo>
                        <a:pt x="0" y="29384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460" name="Forma livre: Forma 1459">
                  <a:extLst>
                    <a:ext uri="{FF2B5EF4-FFF2-40B4-BE49-F238E27FC236}">
                      <a16:creationId xmlns:a16="http://schemas.microsoft.com/office/drawing/2014/main" id="{9AEAB354-81E5-FBBD-A489-D6E05019CF9C}"/>
                    </a:ext>
                  </a:extLst>
                </p:cNvPr>
                <p:cNvSpPr/>
                <p:nvPr/>
              </p:nvSpPr>
              <p:spPr>
                <a:xfrm>
                  <a:off x="3271880" y="4856268"/>
                  <a:ext cx="1184" cy="29383"/>
                </a:xfrm>
                <a:custGeom>
                  <a:avLst/>
                  <a:gdLst>
                    <a:gd name="connsiteX0" fmla="*/ 0 w 1184"/>
                    <a:gd name="connsiteY0" fmla="*/ 0 h 29383"/>
                    <a:gd name="connsiteX1" fmla="*/ 0 w 1184"/>
                    <a:gd name="connsiteY1" fmla="*/ 29384 h 2938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184" h="29383">
                      <a:moveTo>
                        <a:pt x="0" y="0"/>
                      </a:moveTo>
                      <a:lnTo>
                        <a:pt x="0" y="29384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1461" name="Gráfico 14">
                <a:extLst>
                  <a:ext uri="{FF2B5EF4-FFF2-40B4-BE49-F238E27FC236}">
                    <a16:creationId xmlns:a16="http://schemas.microsoft.com/office/drawing/2014/main" id="{51A79BF1-A18C-2E96-5609-CB03315FE244}"/>
                  </a:ext>
                </a:extLst>
              </p:cNvPr>
              <p:cNvGrpSpPr/>
              <p:nvPr/>
            </p:nvGrpSpPr>
            <p:grpSpPr>
              <a:xfrm>
                <a:off x="3153173" y="4651850"/>
                <a:ext cx="232024" cy="237356"/>
                <a:chOff x="3153173" y="4651850"/>
                <a:chExt cx="232024" cy="237356"/>
              </a:xfrm>
              <a:noFill/>
            </p:grpSpPr>
            <p:sp>
              <p:nvSpPr>
                <p:cNvPr id="1462" name="Forma livre: Forma 1461">
                  <a:extLst>
                    <a:ext uri="{FF2B5EF4-FFF2-40B4-BE49-F238E27FC236}">
                      <a16:creationId xmlns:a16="http://schemas.microsoft.com/office/drawing/2014/main" id="{F351A5E0-1D6B-5830-35DE-DB02E635DB94}"/>
                    </a:ext>
                  </a:extLst>
                </p:cNvPr>
                <p:cNvSpPr/>
                <p:nvPr/>
              </p:nvSpPr>
              <p:spPr>
                <a:xfrm>
                  <a:off x="3156123" y="4770534"/>
                  <a:ext cx="29383" cy="1184"/>
                </a:xfrm>
                <a:custGeom>
                  <a:avLst/>
                  <a:gdLst>
                    <a:gd name="connsiteX0" fmla="*/ 29384 w 29383"/>
                    <a:gd name="connsiteY0" fmla="*/ 0 h 1184"/>
                    <a:gd name="connsiteX1" fmla="*/ 0 w 29383"/>
                    <a:gd name="connsiteY1" fmla="*/ 0 h 118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9383" h="1184">
                      <a:moveTo>
                        <a:pt x="29384" y="0"/>
                      </a:moveTo>
                      <a:lnTo>
                        <a:pt x="0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463" name="Forma livre: Forma 1462">
                  <a:extLst>
                    <a:ext uri="{FF2B5EF4-FFF2-40B4-BE49-F238E27FC236}">
                      <a16:creationId xmlns:a16="http://schemas.microsoft.com/office/drawing/2014/main" id="{AE2D5AA2-0D1A-BC09-2D2C-869765A02CCF}"/>
                    </a:ext>
                  </a:extLst>
                </p:cNvPr>
                <p:cNvSpPr/>
                <p:nvPr/>
              </p:nvSpPr>
              <p:spPr>
                <a:xfrm>
                  <a:off x="3153173" y="4651850"/>
                  <a:ext cx="232024" cy="237356"/>
                </a:xfrm>
                <a:custGeom>
                  <a:avLst/>
                  <a:gdLst>
                    <a:gd name="connsiteX0" fmla="*/ 148198 w 232024"/>
                    <a:gd name="connsiteY0" fmla="*/ 233659 h 237356"/>
                    <a:gd name="connsiteX1" fmla="*/ 118684 w 232024"/>
                    <a:gd name="connsiteY1" fmla="*/ 237356 h 237356"/>
                    <a:gd name="connsiteX2" fmla="*/ 0 w 232024"/>
                    <a:gd name="connsiteY2" fmla="*/ 118684 h 237356"/>
                    <a:gd name="connsiteX3" fmla="*/ 118684 w 232024"/>
                    <a:gd name="connsiteY3" fmla="*/ 0 h 237356"/>
                    <a:gd name="connsiteX4" fmla="*/ 232024 w 232024"/>
                    <a:gd name="connsiteY4" fmla="*/ 83234 h 23735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232024" h="237356">
                      <a:moveTo>
                        <a:pt x="148198" y="233659"/>
                      </a:moveTo>
                      <a:cubicBezTo>
                        <a:pt x="138767" y="236077"/>
                        <a:pt x="128874" y="237356"/>
                        <a:pt x="118684" y="237356"/>
                      </a:cubicBezTo>
                      <a:cubicBezTo>
                        <a:pt x="53139" y="237356"/>
                        <a:pt x="0" y="184229"/>
                        <a:pt x="0" y="118684"/>
                      </a:cubicBezTo>
                      <a:cubicBezTo>
                        <a:pt x="0" y="53139"/>
                        <a:pt x="53139" y="0"/>
                        <a:pt x="118684" y="0"/>
                      </a:cubicBezTo>
                      <a:cubicBezTo>
                        <a:pt x="171918" y="0"/>
                        <a:pt x="216953" y="35000"/>
                        <a:pt x="232024" y="83234"/>
                      </a:cubicBez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1464" name="Forma livre: Forma 1463">
                <a:extLst>
                  <a:ext uri="{FF2B5EF4-FFF2-40B4-BE49-F238E27FC236}">
                    <a16:creationId xmlns:a16="http://schemas.microsoft.com/office/drawing/2014/main" id="{5F861B26-4799-C977-6D5D-0DAEA2E81C52}"/>
                  </a:ext>
                </a:extLst>
              </p:cNvPr>
              <p:cNvSpPr/>
              <p:nvPr/>
            </p:nvSpPr>
            <p:spPr>
              <a:xfrm>
                <a:off x="3232248" y="4720688"/>
                <a:ext cx="101124" cy="61208"/>
              </a:xfrm>
              <a:custGeom>
                <a:avLst/>
                <a:gdLst>
                  <a:gd name="connsiteX0" fmla="*/ 101125 w 101124"/>
                  <a:gd name="connsiteY0" fmla="*/ 0 h 61208"/>
                  <a:gd name="connsiteX1" fmla="*/ 39917 w 101124"/>
                  <a:gd name="connsiteY1" fmla="*/ 61208 h 61208"/>
                  <a:gd name="connsiteX2" fmla="*/ 0 w 101124"/>
                  <a:gd name="connsiteY2" fmla="*/ 23483 h 612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01124" h="61208">
                    <a:moveTo>
                      <a:pt x="101125" y="0"/>
                    </a:moveTo>
                    <a:lnTo>
                      <a:pt x="39917" y="61208"/>
                    </a:lnTo>
                    <a:lnTo>
                      <a:pt x="0" y="23483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465" name="Gráfico 14">
            <a:extLst>
              <a:ext uri="{FF2B5EF4-FFF2-40B4-BE49-F238E27FC236}">
                <a16:creationId xmlns:a16="http://schemas.microsoft.com/office/drawing/2014/main" id="{5C9267C4-C1E5-20D5-FB7F-4A4919CE9D87}"/>
              </a:ext>
            </a:extLst>
          </p:cNvPr>
          <p:cNvGrpSpPr/>
          <p:nvPr/>
        </p:nvGrpSpPr>
        <p:grpSpPr>
          <a:xfrm>
            <a:off x="2551376" y="4651103"/>
            <a:ext cx="286763" cy="265389"/>
            <a:chOff x="2551376" y="4651103"/>
            <a:chExt cx="286763" cy="265389"/>
          </a:xfrm>
          <a:noFill/>
        </p:grpSpPr>
        <p:sp>
          <p:nvSpPr>
            <p:cNvPr id="1466" name="Forma livre: Forma 1465">
              <a:extLst>
                <a:ext uri="{FF2B5EF4-FFF2-40B4-BE49-F238E27FC236}">
                  <a16:creationId xmlns:a16="http://schemas.microsoft.com/office/drawing/2014/main" id="{3112040F-31F0-E55B-6A4F-665845717ABB}"/>
                </a:ext>
              </a:extLst>
            </p:cNvPr>
            <p:cNvSpPr/>
            <p:nvPr/>
          </p:nvSpPr>
          <p:spPr>
            <a:xfrm>
              <a:off x="2551376" y="4651103"/>
              <a:ext cx="205034" cy="265389"/>
            </a:xfrm>
            <a:custGeom>
              <a:avLst/>
              <a:gdLst>
                <a:gd name="connsiteX0" fmla="*/ 137866 w 205034"/>
                <a:gd name="connsiteY0" fmla="*/ 265389 h 265389"/>
                <a:gd name="connsiteX1" fmla="*/ 0 w 205034"/>
                <a:gd name="connsiteY1" fmla="*/ 265389 h 265389"/>
                <a:gd name="connsiteX2" fmla="*/ 0 w 205034"/>
                <a:gd name="connsiteY2" fmla="*/ 52962 h 265389"/>
                <a:gd name="connsiteX3" fmla="*/ 52974 w 205034"/>
                <a:gd name="connsiteY3" fmla="*/ 0 h 265389"/>
                <a:gd name="connsiteX4" fmla="*/ 205034 w 205034"/>
                <a:gd name="connsiteY4" fmla="*/ 0 h 265389"/>
                <a:gd name="connsiteX5" fmla="*/ 205034 w 205034"/>
                <a:gd name="connsiteY5" fmla="*/ 67926 h 2653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5034" h="265389">
                  <a:moveTo>
                    <a:pt x="137866" y="265389"/>
                  </a:moveTo>
                  <a:lnTo>
                    <a:pt x="0" y="265389"/>
                  </a:lnTo>
                  <a:lnTo>
                    <a:pt x="0" y="52962"/>
                  </a:lnTo>
                  <a:lnTo>
                    <a:pt x="52974" y="0"/>
                  </a:lnTo>
                  <a:lnTo>
                    <a:pt x="205034" y="0"/>
                  </a:lnTo>
                  <a:lnTo>
                    <a:pt x="205034" y="67926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67" name="Forma livre: Forma 1466">
              <a:extLst>
                <a:ext uri="{FF2B5EF4-FFF2-40B4-BE49-F238E27FC236}">
                  <a16:creationId xmlns:a16="http://schemas.microsoft.com/office/drawing/2014/main" id="{2051AE7F-C653-718A-466F-18F51460CF52}"/>
                </a:ext>
              </a:extLst>
            </p:cNvPr>
            <p:cNvSpPr/>
            <p:nvPr/>
          </p:nvSpPr>
          <p:spPr>
            <a:xfrm>
              <a:off x="2577241" y="4676696"/>
              <a:ext cx="36220" cy="36184"/>
            </a:xfrm>
            <a:custGeom>
              <a:avLst/>
              <a:gdLst>
                <a:gd name="connsiteX0" fmla="*/ 36220 w 36220"/>
                <a:gd name="connsiteY0" fmla="*/ 0 h 36184"/>
                <a:gd name="connsiteX1" fmla="*/ 36220 w 36220"/>
                <a:gd name="connsiteY1" fmla="*/ 36185 h 36184"/>
                <a:gd name="connsiteX2" fmla="*/ 0 w 36220"/>
                <a:gd name="connsiteY2" fmla="*/ 36185 h 361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6220" h="36184">
                  <a:moveTo>
                    <a:pt x="36220" y="0"/>
                  </a:moveTo>
                  <a:lnTo>
                    <a:pt x="36220" y="36185"/>
                  </a:lnTo>
                  <a:lnTo>
                    <a:pt x="0" y="36185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68" name="Forma livre: Forma 1467">
              <a:extLst>
                <a:ext uri="{FF2B5EF4-FFF2-40B4-BE49-F238E27FC236}">
                  <a16:creationId xmlns:a16="http://schemas.microsoft.com/office/drawing/2014/main" id="{D9F3F2EB-03FF-EB1D-47A9-4C64D16017F5}"/>
                </a:ext>
              </a:extLst>
            </p:cNvPr>
            <p:cNvSpPr/>
            <p:nvPr/>
          </p:nvSpPr>
          <p:spPr>
            <a:xfrm>
              <a:off x="2597264" y="4763318"/>
              <a:ext cx="69833" cy="101350"/>
            </a:xfrm>
            <a:custGeom>
              <a:avLst/>
              <a:gdLst>
                <a:gd name="connsiteX0" fmla="*/ 69834 w 69833"/>
                <a:gd name="connsiteY0" fmla="*/ 0 h 101350"/>
                <a:gd name="connsiteX1" fmla="*/ 0 w 69833"/>
                <a:gd name="connsiteY1" fmla="*/ 101350 h 1013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9833" h="101350">
                  <a:moveTo>
                    <a:pt x="69834" y="0"/>
                  </a:moveTo>
                  <a:lnTo>
                    <a:pt x="0" y="10135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69" name="Forma livre: Forma 1468">
              <a:extLst>
                <a:ext uri="{FF2B5EF4-FFF2-40B4-BE49-F238E27FC236}">
                  <a16:creationId xmlns:a16="http://schemas.microsoft.com/office/drawing/2014/main" id="{9C1BC509-3DC0-5A04-624C-E4135525004B}"/>
                </a:ext>
              </a:extLst>
            </p:cNvPr>
            <p:cNvSpPr/>
            <p:nvPr/>
          </p:nvSpPr>
          <p:spPr>
            <a:xfrm>
              <a:off x="2580724" y="4759858"/>
              <a:ext cx="37262" cy="37298"/>
            </a:xfrm>
            <a:custGeom>
              <a:avLst/>
              <a:gdLst>
                <a:gd name="connsiteX0" fmla="*/ 37263 w 37262"/>
                <a:gd name="connsiteY0" fmla="*/ 18649 h 37298"/>
                <a:gd name="connsiteX1" fmla="*/ 18637 w 37262"/>
                <a:gd name="connsiteY1" fmla="*/ 37298 h 37298"/>
                <a:gd name="connsiteX2" fmla="*/ 0 w 37262"/>
                <a:gd name="connsiteY2" fmla="*/ 18649 h 37298"/>
                <a:gd name="connsiteX3" fmla="*/ 18637 w 37262"/>
                <a:gd name="connsiteY3" fmla="*/ 0 h 37298"/>
                <a:gd name="connsiteX4" fmla="*/ 37263 w 37262"/>
                <a:gd name="connsiteY4" fmla="*/ 18649 h 372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7262" h="37298">
                  <a:moveTo>
                    <a:pt x="37263" y="18649"/>
                  </a:moveTo>
                  <a:cubicBezTo>
                    <a:pt x="37263" y="28945"/>
                    <a:pt x="28922" y="37298"/>
                    <a:pt x="18637" y="37298"/>
                  </a:cubicBezTo>
                  <a:cubicBezTo>
                    <a:pt x="8353" y="37298"/>
                    <a:pt x="0" y="28945"/>
                    <a:pt x="0" y="18649"/>
                  </a:cubicBezTo>
                  <a:cubicBezTo>
                    <a:pt x="0" y="8353"/>
                    <a:pt x="8341" y="0"/>
                    <a:pt x="18637" y="0"/>
                  </a:cubicBezTo>
                  <a:cubicBezTo>
                    <a:pt x="28933" y="0"/>
                    <a:pt x="37263" y="8353"/>
                    <a:pt x="37263" y="18649"/>
                  </a:cubicBez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70" name="Forma livre: Forma 1469">
              <a:extLst>
                <a:ext uri="{FF2B5EF4-FFF2-40B4-BE49-F238E27FC236}">
                  <a16:creationId xmlns:a16="http://schemas.microsoft.com/office/drawing/2014/main" id="{9E224550-D2E4-6D9A-5EFE-59DF5709E138}"/>
                </a:ext>
              </a:extLst>
            </p:cNvPr>
            <p:cNvSpPr/>
            <p:nvPr/>
          </p:nvSpPr>
          <p:spPr>
            <a:xfrm>
              <a:off x="2646351" y="4830830"/>
              <a:ext cx="37286" cy="37286"/>
            </a:xfrm>
            <a:custGeom>
              <a:avLst/>
              <a:gdLst>
                <a:gd name="connsiteX0" fmla="*/ 37286 w 37286"/>
                <a:gd name="connsiteY0" fmla="*/ 18637 h 37286"/>
                <a:gd name="connsiteX1" fmla="*/ 18637 w 37286"/>
                <a:gd name="connsiteY1" fmla="*/ 37286 h 37286"/>
                <a:gd name="connsiteX2" fmla="*/ 0 w 37286"/>
                <a:gd name="connsiteY2" fmla="*/ 18637 h 37286"/>
                <a:gd name="connsiteX3" fmla="*/ 18637 w 37286"/>
                <a:gd name="connsiteY3" fmla="*/ 0 h 37286"/>
                <a:gd name="connsiteX4" fmla="*/ 37286 w 37286"/>
                <a:gd name="connsiteY4" fmla="*/ 18637 h 37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7286" h="37286">
                  <a:moveTo>
                    <a:pt x="37286" y="18637"/>
                  </a:moveTo>
                  <a:cubicBezTo>
                    <a:pt x="37286" y="28933"/>
                    <a:pt x="28933" y="37286"/>
                    <a:pt x="18637" y="37286"/>
                  </a:cubicBezTo>
                  <a:cubicBezTo>
                    <a:pt x="8341" y="37286"/>
                    <a:pt x="0" y="28933"/>
                    <a:pt x="0" y="18637"/>
                  </a:cubicBezTo>
                  <a:cubicBezTo>
                    <a:pt x="0" y="8341"/>
                    <a:pt x="8353" y="0"/>
                    <a:pt x="18637" y="0"/>
                  </a:cubicBezTo>
                  <a:cubicBezTo>
                    <a:pt x="28922" y="0"/>
                    <a:pt x="37286" y="8341"/>
                    <a:pt x="37286" y="18637"/>
                  </a:cubicBez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471" name="Gráfico 14">
              <a:extLst>
                <a:ext uri="{FF2B5EF4-FFF2-40B4-BE49-F238E27FC236}">
                  <a16:creationId xmlns:a16="http://schemas.microsoft.com/office/drawing/2014/main" id="{FF6AF2DB-D7A1-2BE8-BC37-EACF9D68C192}"/>
                </a:ext>
              </a:extLst>
            </p:cNvPr>
            <p:cNvGrpSpPr/>
            <p:nvPr/>
          </p:nvGrpSpPr>
          <p:grpSpPr>
            <a:xfrm>
              <a:off x="2712856" y="4742323"/>
              <a:ext cx="125283" cy="174169"/>
              <a:chOff x="2712856" y="4742323"/>
              <a:chExt cx="125283" cy="174169"/>
            </a:xfrm>
            <a:noFill/>
          </p:grpSpPr>
          <p:sp>
            <p:nvSpPr>
              <p:cNvPr id="1472" name="Forma livre: Forma 1471">
                <a:extLst>
                  <a:ext uri="{FF2B5EF4-FFF2-40B4-BE49-F238E27FC236}">
                    <a16:creationId xmlns:a16="http://schemas.microsoft.com/office/drawing/2014/main" id="{C4D568A6-4E39-DFCC-981A-D821E8C33EED}"/>
                  </a:ext>
                </a:extLst>
              </p:cNvPr>
              <p:cNvSpPr/>
              <p:nvPr/>
            </p:nvSpPr>
            <p:spPr>
              <a:xfrm>
                <a:off x="2712856" y="4742323"/>
                <a:ext cx="125283" cy="174169"/>
              </a:xfrm>
              <a:custGeom>
                <a:avLst/>
                <a:gdLst>
                  <a:gd name="connsiteX0" fmla="*/ 9775 w 125283"/>
                  <a:gd name="connsiteY0" fmla="*/ 174169 h 174169"/>
                  <a:gd name="connsiteX1" fmla="*/ 0 w 125283"/>
                  <a:gd name="connsiteY1" fmla="*/ 164264 h 174169"/>
                  <a:gd name="connsiteX2" fmla="*/ 0 w 125283"/>
                  <a:gd name="connsiteY2" fmla="*/ 9787 h 174169"/>
                  <a:gd name="connsiteX3" fmla="*/ 9775 w 125283"/>
                  <a:gd name="connsiteY3" fmla="*/ 0 h 174169"/>
                  <a:gd name="connsiteX4" fmla="*/ 115509 w 125283"/>
                  <a:gd name="connsiteY4" fmla="*/ 0 h 174169"/>
                  <a:gd name="connsiteX5" fmla="*/ 125283 w 125283"/>
                  <a:gd name="connsiteY5" fmla="*/ 9787 h 174169"/>
                  <a:gd name="connsiteX6" fmla="*/ 125283 w 125283"/>
                  <a:gd name="connsiteY6" fmla="*/ 164264 h 174169"/>
                  <a:gd name="connsiteX7" fmla="*/ 115509 w 125283"/>
                  <a:gd name="connsiteY7" fmla="*/ 174169 h 174169"/>
                  <a:gd name="connsiteX8" fmla="*/ 9775 w 125283"/>
                  <a:gd name="connsiteY8" fmla="*/ 174169 h 1741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25283" h="174169">
                    <a:moveTo>
                      <a:pt x="9775" y="174169"/>
                    </a:moveTo>
                    <a:cubicBezTo>
                      <a:pt x="4396" y="174169"/>
                      <a:pt x="0" y="169643"/>
                      <a:pt x="0" y="164264"/>
                    </a:cubicBezTo>
                    <a:lnTo>
                      <a:pt x="0" y="9787"/>
                    </a:lnTo>
                    <a:cubicBezTo>
                      <a:pt x="0" y="4408"/>
                      <a:pt x="4396" y="0"/>
                      <a:pt x="9775" y="0"/>
                    </a:cubicBezTo>
                    <a:lnTo>
                      <a:pt x="115509" y="0"/>
                    </a:lnTo>
                    <a:cubicBezTo>
                      <a:pt x="120888" y="0"/>
                      <a:pt x="125283" y="4408"/>
                      <a:pt x="125283" y="9787"/>
                    </a:cubicBezTo>
                    <a:lnTo>
                      <a:pt x="125283" y="164264"/>
                    </a:lnTo>
                    <a:cubicBezTo>
                      <a:pt x="125283" y="169643"/>
                      <a:pt x="120888" y="174169"/>
                      <a:pt x="115509" y="174169"/>
                    </a:cubicBezTo>
                    <a:lnTo>
                      <a:pt x="9775" y="174169"/>
                    </a:ln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473" name="Forma livre: Forma 1472">
                <a:extLst>
                  <a:ext uri="{FF2B5EF4-FFF2-40B4-BE49-F238E27FC236}">
                    <a16:creationId xmlns:a16="http://schemas.microsoft.com/office/drawing/2014/main" id="{B633518D-7C5F-F2C6-806D-06C662FE7098}"/>
                  </a:ext>
                </a:extLst>
              </p:cNvPr>
              <p:cNvSpPr/>
              <p:nvPr/>
            </p:nvSpPr>
            <p:spPr>
              <a:xfrm>
                <a:off x="2733578" y="4799692"/>
                <a:ext cx="104312" cy="1184"/>
              </a:xfrm>
              <a:custGeom>
                <a:avLst/>
                <a:gdLst>
                  <a:gd name="connsiteX0" fmla="*/ 0 w 104312"/>
                  <a:gd name="connsiteY0" fmla="*/ 0 h 1184"/>
                  <a:gd name="connsiteX1" fmla="*/ 104312 w 104312"/>
                  <a:gd name="connsiteY1" fmla="*/ 0 h 11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04312" h="1184">
                    <a:moveTo>
                      <a:pt x="0" y="0"/>
                    </a:moveTo>
                    <a:lnTo>
                      <a:pt x="104312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474" name="Forma livre: Forma 1473">
                <a:extLst>
                  <a:ext uri="{FF2B5EF4-FFF2-40B4-BE49-F238E27FC236}">
                    <a16:creationId xmlns:a16="http://schemas.microsoft.com/office/drawing/2014/main" id="{3FC86571-76B2-3298-B410-C88B8559BF53}"/>
                  </a:ext>
                </a:extLst>
              </p:cNvPr>
              <p:cNvSpPr/>
              <p:nvPr/>
            </p:nvSpPr>
            <p:spPr>
              <a:xfrm>
                <a:off x="2754692" y="4800297"/>
                <a:ext cx="1184" cy="115413"/>
              </a:xfrm>
              <a:custGeom>
                <a:avLst/>
                <a:gdLst>
                  <a:gd name="connsiteX0" fmla="*/ 0 w 1184"/>
                  <a:gd name="connsiteY0" fmla="*/ 0 h 115413"/>
                  <a:gd name="connsiteX1" fmla="*/ 0 w 1184"/>
                  <a:gd name="connsiteY1" fmla="*/ 115414 h 1154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84" h="115413">
                    <a:moveTo>
                      <a:pt x="0" y="0"/>
                    </a:moveTo>
                    <a:lnTo>
                      <a:pt x="0" y="115414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475" name="Forma livre: Forma 1474">
                <a:extLst>
                  <a:ext uri="{FF2B5EF4-FFF2-40B4-BE49-F238E27FC236}">
                    <a16:creationId xmlns:a16="http://schemas.microsoft.com/office/drawing/2014/main" id="{A649A49C-E993-748E-CA30-E16B05858314}"/>
                  </a:ext>
                </a:extLst>
              </p:cNvPr>
              <p:cNvSpPr/>
              <p:nvPr/>
            </p:nvSpPr>
            <p:spPr>
              <a:xfrm>
                <a:off x="2796528" y="4800178"/>
                <a:ext cx="1184" cy="115378"/>
              </a:xfrm>
              <a:custGeom>
                <a:avLst/>
                <a:gdLst>
                  <a:gd name="connsiteX0" fmla="*/ 0 w 1184"/>
                  <a:gd name="connsiteY0" fmla="*/ 0 h 115378"/>
                  <a:gd name="connsiteX1" fmla="*/ 0 w 1184"/>
                  <a:gd name="connsiteY1" fmla="*/ 115378 h 1153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84" h="115378">
                    <a:moveTo>
                      <a:pt x="0" y="0"/>
                    </a:moveTo>
                    <a:lnTo>
                      <a:pt x="0" y="115378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476" name="Forma livre: Forma 1475">
                <a:extLst>
                  <a:ext uri="{FF2B5EF4-FFF2-40B4-BE49-F238E27FC236}">
                    <a16:creationId xmlns:a16="http://schemas.microsoft.com/office/drawing/2014/main" id="{08B05BF7-0AE7-E11D-D7A3-1F342D1DF010}"/>
                  </a:ext>
                </a:extLst>
              </p:cNvPr>
              <p:cNvSpPr/>
              <p:nvPr/>
            </p:nvSpPr>
            <p:spPr>
              <a:xfrm>
                <a:off x="2733578" y="4838507"/>
                <a:ext cx="104312" cy="1184"/>
              </a:xfrm>
              <a:custGeom>
                <a:avLst/>
                <a:gdLst>
                  <a:gd name="connsiteX0" fmla="*/ 0 w 104312"/>
                  <a:gd name="connsiteY0" fmla="*/ 0 h 1184"/>
                  <a:gd name="connsiteX1" fmla="*/ 104312 w 104312"/>
                  <a:gd name="connsiteY1" fmla="*/ 0 h 11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04312" h="1184">
                    <a:moveTo>
                      <a:pt x="0" y="0"/>
                    </a:moveTo>
                    <a:lnTo>
                      <a:pt x="104312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477" name="Forma livre: Forma 1476">
                <a:extLst>
                  <a:ext uri="{FF2B5EF4-FFF2-40B4-BE49-F238E27FC236}">
                    <a16:creationId xmlns:a16="http://schemas.microsoft.com/office/drawing/2014/main" id="{3274CD24-BD7F-663F-3692-A4F9405FD928}"/>
                  </a:ext>
                </a:extLst>
              </p:cNvPr>
              <p:cNvSpPr/>
              <p:nvPr/>
            </p:nvSpPr>
            <p:spPr>
              <a:xfrm>
                <a:off x="2733578" y="4877310"/>
                <a:ext cx="62179" cy="1184"/>
              </a:xfrm>
              <a:custGeom>
                <a:avLst/>
                <a:gdLst>
                  <a:gd name="connsiteX0" fmla="*/ 0 w 62179"/>
                  <a:gd name="connsiteY0" fmla="*/ 0 h 1184"/>
                  <a:gd name="connsiteX1" fmla="*/ 62180 w 62179"/>
                  <a:gd name="connsiteY1" fmla="*/ 0 h 11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2179" h="1184">
                    <a:moveTo>
                      <a:pt x="0" y="0"/>
                    </a:moveTo>
                    <a:lnTo>
                      <a:pt x="6218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478" name="Gráfico 14">
            <a:extLst>
              <a:ext uri="{FF2B5EF4-FFF2-40B4-BE49-F238E27FC236}">
                <a16:creationId xmlns:a16="http://schemas.microsoft.com/office/drawing/2014/main" id="{2897B59C-DF4C-1517-0294-B6EC869B9D14}"/>
              </a:ext>
            </a:extLst>
          </p:cNvPr>
          <p:cNvGrpSpPr/>
          <p:nvPr/>
        </p:nvGrpSpPr>
        <p:grpSpPr>
          <a:xfrm>
            <a:off x="3771095" y="5179299"/>
            <a:ext cx="318374" cy="256242"/>
            <a:chOff x="3771095" y="5179299"/>
            <a:chExt cx="318374" cy="256242"/>
          </a:xfrm>
        </p:grpSpPr>
        <p:grpSp>
          <p:nvGrpSpPr>
            <p:cNvPr id="1479" name="Gráfico 14">
              <a:extLst>
                <a:ext uri="{FF2B5EF4-FFF2-40B4-BE49-F238E27FC236}">
                  <a16:creationId xmlns:a16="http://schemas.microsoft.com/office/drawing/2014/main" id="{B9D3CCD3-8897-CF40-7C5D-E404A51D8F7D}"/>
                </a:ext>
              </a:extLst>
            </p:cNvPr>
            <p:cNvGrpSpPr/>
            <p:nvPr/>
          </p:nvGrpSpPr>
          <p:grpSpPr>
            <a:xfrm>
              <a:off x="3931259" y="5179299"/>
              <a:ext cx="158209" cy="158174"/>
              <a:chOff x="3931259" y="5179299"/>
              <a:chExt cx="158209" cy="158174"/>
            </a:xfrm>
            <a:noFill/>
          </p:grpSpPr>
          <p:sp>
            <p:nvSpPr>
              <p:cNvPr id="1480" name="Forma livre: Forma 1479">
                <a:extLst>
                  <a:ext uri="{FF2B5EF4-FFF2-40B4-BE49-F238E27FC236}">
                    <a16:creationId xmlns:a16="http://schemas.microsoft.com/office/drawing/2014/main" id="{EC57AE59-9D68-7CC7-C157-CB83C9D2812E}"/>
                  </a:ext>
                </a:extLst>
              </p:cNvPr>
              <p:cNvSpPr/>
              <p:nvPr/>
            </p:nvSpPr>
            <p:spPr>
              <a:xfrm>
                <a:off x="3931259" y="5179299"/>
                <a:ext cx="158209" cy="158174"/>
              </a:xfrm>
              <a:custGeom>
                <a:avLst/>
                <a:gdLst>
                  <a:gd name="connsiteX0" fmla="*/ 46279 w 158209"/>
                  <a:gd name="connsiteY0" fmla="*/ 7121 h 158174"/>
                  <a:gd name="connsiteX1" fmla="*/ 79111 w 158209"/>
                  <a:gd name="connsiteY1" fmla="*/ 0 h 158174"/>
                  <a:gd name="connsiteX2" fmla="*/ 158210 w 158209"/>
                  <a:gd name="connsiteY2" fmla="*/ 79087 h 158174"/>
                  <a:gd name="connsiteX3" fmla="*/ 79111 w 158209"/>
                  <a:gd name="connsiteY3" fmla="*/ 158174 h 158174"/>
                  <a:gd name="connsiteX4" fmla="*/ 0 w 158209"/>
                  <a:gd name="connsiteY4" fmla="*/ 79087 h 158174"/>
                  <a:gd name="connsiteX5" fmla="*/ 24088 w 158209"/>
                  <a:gd name="connsiteY5" fmla="*/ 22298 h 158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58209" h="158174">
                    <a:moveTo>
                      <a:pt x="46279" y="7121"/>
                    </a:moveTo>
                    <a:cubicBezTo>
                      <a:pt x="56291" y="2547"/>
                      <a:pt x="67405" y="0"/>
                      <a:pt x="79111" y="0"/>
                    </a:cubicBezTo>
                    <a:cubicBezTo>
                      <a:pt x="122795" y="0"/>
                      <a:pt x="158210" y="35414"/>
                      <a:pt x="158210" y="79087"/>
                    </a:cubicBezTo>
                    <a:cubicBezTo>
                      <a:pt x="158210" y="122760"/>
                      <a:pt x="122795" y="158174"/>
                      <a:pt x="79111" y="158174"/>
                    </a:cubicBezTo>
                    <a:cubicBezTo>
                      <a:pt x="35438" y="158174"/>
                      <a:pt x="0" y="122772"/>
                      <a:pt x="0" y="79087"/>
                    </a:cubicBezTo>
                    <a:cubicBezTo>
                      <a:pt x="0" y="56800"/>
                      <a:pt x="9254" y="36670"/>
                      <a:pt x="24088" y="22298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481" name="Forma livre: Forma 1480">
                <a:extLst>
                  <a:ext uri="{FF2B5EF4-FFF2-40B4-BE49-F238E27FC236}">
                    <a16:creationId xmlns:a16="http://schemas.microsoft.com/office/drawing/2014/main" id="{CF006E86-7C4D-8129-D8C5-15007C7224AE}"/>
                  </a:ext>
                </a:extLst>
              </p:cNvPr>
              <p:cNvSpPr/>
              <p:nvPr/>
            </p:nvSpPr>
            <p:spPr>
              <a:xfrm>
                <a:off x="3983344" y="5219144"/>
                <a:ext cx="54075" cy="78471"/>
              </a:xfrm>
              <a:custGeom>
                <a:avLst/>
                <a:gdLst>
                  <a:gd name="connsiteX0" fmla="*/ 54075 w 54075"/>
                  <a:gd name="connsiteY0" fmla="*/ 0 h 78471"/>
                  <a:gd name="connsiteX1" fmla="*/ 0 w 54075"/>
                  <a:gd name="connsiteY1" fmla="*/ 78471 h 784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4075" h="78471">
                    <a:moveTo>
                      <a:pt x="54075" y="0"/>
                    </a:moveTo>
                    <a:lnTo>
                      <a:pt x="0" y="78471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1482" name="Gráfico 14">
                <a:extLst>
                  <a:ext uri="{FF2B5EF4-FFF2-40B4-BE49-F238E27FC236}">
                    <a16:creationId xmlns:a16="http://schemas.microsoft.com/office/drawing/2014/main" id="{177BF4C7-04F3-C610-1194-84FCBD071E4F}"/>
                  </a:ext>
                </a:extLst>
              </p:cNvPr>
              <p:cNvGrpSpPr/>
              <p:nvPr/>
            </p:nvGrpSpPr>
            <p:grpSpPr>
              <a:xfrm>
                <a:off x="3968716" y="5214852"/>
                <a:ext cx="83170" cy="87112"/>
                <a:chOff x="3968716" y="5214852"/>
                <a:chExt cx="83170" cy="87112"/>
              </a:xfrm>
              <a:noFill/>
            </p:grpSpPr>
            <p:sp>
              <p:nvSpPr>
                <p:cNvPr id="1483" name="Forma livre: Forma 1482">
                  <a:extLst>
                    <a:ext uri="{FF2B5EF4-FFF2-40B4-BE49-F238E27FC236}">
                      <a16:creationId xmlns:a16="http://schemas.microsoft.com/office/drawing/2014/main" id="{4AB99732-BB46-7341-B3CE-CE2DCC26AB84}"/>
                    </a:ext>
                  </a:extLst>
                </p:cNvPr>
                <p:cNvSpPr/>
                <p:nvPr/>
              </p:nvSpPr>
              <p:spPr>
                <a:xfrm rot="-10800">
                  <a:off x="3968764" y="5214899"/>
                  <a:ext cx="30307" cy="30307"/>
                </a:xfrm>
                <a:custGeom>
                  <a:avLst/>
                  <a:gdLst>
                    <a:gd name="connsiteX0" fmla="*/ 30308 w 30307"/>
                    <a:gd name="connsiteY0" fmla="*/ 15154 h 30307"/>
                    <a:gd name="connsiteX1" fmla="*/ 15154 w 30307"/>
                    <a:gd name="connsiteY1" fmla="*/ 30308 h 30307"/>
                    <a:gd name="connsiteX2" fmla="*/ 0 w 30307"/>
                    <a:gd name="connsiteY2" fmla="*/ 15154 h 30307"/>
                    <a:gd name="connsiteX3" fmla="*/ 15154 w 30307"/>
                    <a:gd name="connsiteY3" fmla="*/ 0 h 30307"/>
                    <a:gd name="connsiteX4" fmla="*/ 30308 w 30307"/>
                    <a:gd name="connsiteY4" fmla="*/ 15154 h 3030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0307" h="30307">
                      <a:moveTo>
                        <a:pt x="30308" y="15154"/>
                      </a:moveTo>
                      <a:cubicBezTo>
                        <a:pt x="30308" y="23523"/>
                        <a:pt x="23523" y="30308"/>
                        <a:pt x="15154" y="30308"/>
                      </a:cubicBezTo>
                      <a:cubicBezTo>
                        <a:pt x="6785" y="30308"/>
                        <a:pt x="0" y="23523"/>
                        <a:pt x="0" y="15154"/>
                      </a:cubicBezTo>
                      <a:cubicBezTo>
                        <a:pt x="0" y="6785"/>
                        <a:pt x="6785" y="0"/>
                        <a:pt x="15154" y="0"/>
                      </a:cubicBezTo>
                      <a:cubicBezTo>
                        <a:pt x="23523" y="0"/>
                        <a:pt x="30308" y="6785"/>
                        <a:pt x="30308" y="15154"/>
                      </a:cubicBezTo>
                      <a:close/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484" name="Forma livre: Forma 1483">
                  <a:extLst>
                    <a:ext uri="{FF2B5EF4-FFF2-40B4-BE49-F238E27FC236}">
                      <a16:creationId xmlns:a16="http://schemas.microsoft.com/office/drawing/2014/main" id="{2D80AC99-15F2-F1DE-71B0-85FBD5DF85A6}"/>
                    </a:ext>
                  </a:extLst>
                </p:cNvPr>
                <p:cNvSpPr/>
                <p:nvPr/>
              </p:nvSpPr>
              <p:spPr>
                <a:xfrm>
                  <a:off x="4021567" y="5271656"/>
                  <a:ext cx="30319" cy="30307"/>
                </a:xfrm>
                <a:custGeom>
                  <a:avLst/>
                  <a:gdLst>
                    <a:gd name="connsiteX0" fmla="*/ 30320 w 30319"/>
                    <a:gd name="connsiteY0" fmla="*/ 15154 h 30307"/>
                    <a:gd name="connsiteX1" fmla="*/ 15154 w 30319"/>
                    <a:gd name="connsiteY1" fmla="*/ 30308 h 30307"/>
                    <a:gd name="connsiteX2" fmla="*/ 0 w 30319"/>
                    <a:gd name="connsiteY2" fmla="*/ 15154 h 30307"/>
                    <a:gd name="connsiteX3" fmla="*/ 15154 w 30319"/>
                    <a:gd name="connsiteY3" fmla="*/ 0 h 30307"/>
                    <a:gd name="connsiteX4" fmla="*/ 30320 w 30319"/>
                    <a:gd name="connsiteY4" fmla="*/ 15154 h 3030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0319" h="30307">
                      <a:moveTo>
                        <a:pt x="30320" y="15154"/>
                      </a:moveTo>
                      <a:cubicBezTo>
                        <a:pt x="30320" y="23519"/>
                        <a:pt x="23531" y="30308"/>
                        <a:pt x="15154" y="30308"/>
                      </a:cubicBezTo>
                      <a:cubicBezTo>
                        <a:pt x="6777" y="30308"/>
                        <a:pt x="0" y="23519"/>
                        <a:pt x="0" y="15154"/>
                      </a:cubicBezTo>
                      <a:cubicBezTo>
                        <a:pt x="0" y="6789"/>
                        <a:pt x="6789" y="0"/>
                        <a:pt x="15154" y="0"/>
                      </a:cubicBezTo>
                      <a:cubicBezTo>
                        <a:pt x="23519" y="0"/>
                        <a:pt x="30320" y="6789"/>
                        <a:pt x="30320" y="15154"/>
                      </a:cubicBezTo>
                      <a:close/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grpSp>
          <p:nvGrpSpPr>
            <p:cNvPr id="1485" name="Gráfico 14">
              <a:extLst>
                <a:ext uri="{FF2B5EF4-FFF2-40B4-BE49-F238E27FC236}">
                  <a16:creationId xmlns:a16="http://schemas.microsoft.com/office/drawing/2014/main" id="{D65C3F60-325C-04EF-3DE6-3DE8BA5C168D}"/>
                </a:ext>
              </a:extLst>
            </p:cNvPr>
            <p:cNvGrpSpPr/>
            <p:nvPr/>
          </p:nvGrpSpPr>
          <p:grpSpPr>
            <a:xfrm>
              <a:off x="3771095" y="5283161"/>
              <a:ext cx="268552" cy="152380"/>
              <a:chOff x="3771095" y="5283161"/>
              <a:chExt cx="268552" cy="152380"/>
            </a:xfrm>
          </p:grpSpPr>
          <p:grpSp>
            <p:nvGrpSpPr>
              <p:cNvPr id="1486" name="Gráfico 14">
                <a:extLst>
                  <a:ext uri="{FF2B5EF4-FFF2-40B4-BE49-F238E27FC236}">
                    <a16:creationId xmlns:a16="http://schemas.microsoft.com/office/drawing/2014/main" id="{A46E2EB3-9A66-2F4F-B122-5130B3744B49}"/>
                  </a:ext>
                </a:extLst>
              </p:cNvPr>
              <p:cNvGrpSpPr/>
              <p:nvPr/>
            </p:nvGrpSpPr>
            <p:grpSpPr>
              <a:xfrm>
                <a:off x="3834590" y="5355672"/>
                <a:ext cx="141539" cy="7345"/>
                <a:chOff x="3834590" y="5355672"/>
                <a:chExt cx="141539" cy="7345"/>
              </a:xfrm>
              <a:solidFill>
                <a:srgbClr val="394552"/>
              </a:solidFill>
            </p:grpSpPr>
            <p:sp>
              <p:nvSpPr>
                <p:cNvPr id="1487" name="Forma livre: Forma 1486">
                  <a:extLst>
                    <a:ext uri="{FF2B5EF4-FFF2-40B4-BE49-F238E27FC236}">
                      <a16:creationId xmlns:a16="http://schemas.microsoft.com/office/drawing/2014/main" id="{FC1F833F-6859-722C-8698-1C1FFA5C0CFC}"/>
                    </a:ext>
                  </a:extLst>
                </p:cNvPr>
                <p:cNvSpPr/>
                <p:nvPr/>
              </p:nvSpPr>
              <p:spPr>
                <a:xfrm>
                  <a:off x="3834590" y="5355672"/>
                  <a:ext cx="7334" cy="7345"/>
                </a:xfrm>
                <a:custGeom>
                  <a:avLst/>
                  <a:gdLst>
                    <a:gd name="connsiteX0" fmla="*/ 7334 w 7334"/>
                    <a:gd name="connsiteY0" fmla="*/ 3673 h 7345"/>
                    <a:gd name="connsiteX1" fmla="*/ 3673 w 7334"/>
                    <a:gd name="connsiteY1" fmla="*/ 7346 h 7345"/>
                    <a:gd name="connsiteX2" fmla="*/ 0 w 7334"/>
                    <a:gd name="connsiteY2" fmla="*/ 3673 h 7345"/>
                    <a:gd name="connsiteX3" fmla="*/ 3673 w 7334"/>
                    <a:gd name="connsiteY3" fmla="*/ 0 h 7345"/>
                    <a:gd name="connsiteX4" fmla="*/ 7334 w 7334"/>
                    <a:gd name="connsiteY4" fmla="*/ 3673 h 734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7334" h="7345">
                      <a:moveTo>
                        <a:pt x="7334" y="3673"/>
                      </a:moveTo>
                      <a:cubicBezTo>
                        <a:pt x="7334" y="5699"/>
                        <a:pt x="5699" y="7346"/>
                        <a:pt x="3673" y="7346"/>
                      </a:cubicBezTo>
                      <a:cubicBezTo>
                        <a:pt x="1647" y="7346"/>
                        <a:pt x="0" y="5711"/>
                        <a:pt x="0" y="3673"/>
                      </a:cubicBezTo>
                      <a:cubicBezTo>
                        <a:pt x="0" y="1635"/>
                        <a:pt x="1647" y="0"/>
                        <a:pt x="3673" y="0"/>
                      </a:cubicBezTo>
                      <a:cubicBezTo>
                        <a:pt x="5699" y="0"/>
                        <a:pt x="7334" y="1635"/>
                        <a:pt x="7334" y="3673"/>
                      </a:cubicBezTo>
                      <a:close/>
                    </a:path>
                  </a:pathLst>
                </a:custGeom>
                <a:solidFill>
                  <a:srgbClr val="394552"/>
                </a:solidFill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488" name="Forma livre: Forma 1487">
                  <a:extLst>
                    <a:ext uri="{FF2B5EF4-FFF2-40B4-BE49-F238E27FC236}">
                      <a16:creationId xmlns:a16="http://schemas.microsoft.com/office/drawing/2014/main" id="{E2CDBB7E-BE2C-1E20-CF05-1F1804EE3BD3}"/>
                    </a:ext>
                  </a:extLst>
                </p:cNvPr>
                <p:cNvSpPr/>
                <p:nvPr/>
              </p:nvSpPr>
              <p:spPr>
                <a:xfrm>
                  <a:off x="3968795" y="5355672"/>
                  <a:ext cx="7334" cy="7345"/>
                </a:xfrm>
                <a:custGeom>
                  <a:avLst/>
                  <a:gdLst>
                    <a:gd name="connsiteX0" fmla="*/ 7334 w 7334"/>
                    <a:gd name="connsiteY0" fmla="*/ 3673 h 7345"/>
                    <a:gd name="connsiteX1" fmla="*/ 3673 w 7334"/>
                    <a:gd name="connsiteY1" fmla="*/ 7346 h 7345"/>
                    <a:gd name="connsiteX2" fmla="*/ 0 w 7334"/>
                    <a:gd name="connsiteY2" fmla="*/ 3673 h 7345"/>
                    <a:gd name="connsiteX3" fmla="*/ 3673 w 7334"/>
                    <a:gd name="connsiteY3" fmla="*/ 0 h 7345"/>
                    <a:gd name="connsiteX4" fmla="*/ 7334 w 7334"/>
                    <a:gd name="connsiteY4" fmla="*/ 3673 h 734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7334" h="7345">
                      <a:moveTo>
                        <a:pt x="7334" y="3673"/>
                      </a:moveTo>
                      <a:cubicBezTo>
                        <a:pt x="7334" y="5699"/>
                        <a:pt x="5711" y="7346"/>
                        <a:pt x="3673" y="7346"/>
                      </a:cubicBezTo>
                      <a:cubicBezTo>
                        <a:pt x="1635" y="7346"/>
                        <a:pt x="0" y="5711"/>
                        <a:pt x="0" y="3673"/>
                      </a:cubicBezTo>
                      <a:cubicBezTo>
                        <a:pt x="0" y="1635"/>
                        <a:pt x="1647" y="0"/>
                        <a:pt x="3673" y="0"/>
                      </a:cubicBezTo>
                      <a:cubicBezTo>
                        <a:pt x="5699" y="0"/>
                        <a:pt x="7334" y="1635"/>
                        <a:pt x="7334" y="3673"/>
                      </a:cubicBezTo>
                      <a:close/>
                    </a:path>
                  </a:pathLst>
                </a:custGeom>
                <a:solidFill>
                  <a:srgbClr val="394552"/>
                </a:solidFill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1489" name="Forma livre: Forma 1488">
                <a:extLst>
                  <a:ext uri="{FF2B5EF4-FFF2-40B4-BE49-F238E27FC236}">
                    <a16:creationId xmlns:a16="http://schemas.microsoft.com/office/drawing/2014/main" id="{6931A9F1-73BF-9DB4-A0E0-13D82FD5B638}"/>
                  </a:ext>
                </a:extLst>
              </p:cNvPr>
              <p:cNvSpPr/>
              <p:nvPr/>
            </p:nvSpPr>
            <p:spPr>
              <a:xfrm>
                <a:off x="3771095" y="5283161"/>
                <a:ext cx="268552" cy="152380"/>
              </a:xfrm>
              <a:custGeom>
                <a:avLst/>
                <a:gdLst>
                  <a:gd name="connsiteX0" fmla="*/ 268553 w 268552"/>
                  <a:gd name="connsiteY0" fmla="*/ 69549 h 152380"/>
                  <a:gd name="connsiteX1" fmla="*/ 268553 w 268552"/>
                  <a:gd name="connsiteY1" fmla="*/ 152380 h 152380"/>
                  <a:gd name="connsiteX2" fmla="*/ 0 w 268552"/>
                  <a:gd name="connsiteY2" fmla="*/ 152380 h 152380"/>
                  <a:gd name="connsiteX3" fmla="*/ 0 w 268552"/>
                  <a:gd name="connsiteY3" fmla="*/ 0 h 152380"/>
                  <a:gd name="connsiteX4" fmla="*/ 142155 w 268552"/>
                  <a:gd name="connsiteY4" fmla="*/ 0 h 1523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68552" h="152380">
                    <a:moveTo>
                      <a:pt x="268553" y="69549"/>
                    </a:moveTo>
                    <a:lnTo>
                      <a:pt x="268553" y="152380"/>
                    </a:lnTo>
                    <a:lnTo>
                      <a:pt x="0" y="152380"/>
                    </a:lnTo>
                    <a:lnTo>
                      <a:pt x="0" y="0"/>
                    </a:lnTo>
                    <a:lnTo>
                      <a:pt x="142155" y="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490" name="Forma livre: Forma 1489">
                <a:extLst>
                  <a:ext uri="{FF2B5EF4-FFF2-40B4-BE49-F238E27FC236}">
                    <a16:creationId xmlns:a16="http://schemas.microsoft.com/office/drawing/2014/main" id="{DEFAF1EA-D5A3-E32F-42F1-AA4495728886}"/>
                  </a:ext>
                </a:extLst>
              </p:cNvPr>
              <p:cNvSpPr/>
              <p:nvPr/>
            </p:nvSpPr>
            <p:spPr>
              <a:xfrm>
                <a:off x="3799282" y="5311502"/>
                <a:ext cx="212154" cy="95710"/>
              </a:xfrm>
              <a:custGeom>
                <a:avLst/>
                <a:gdLst>
                  <a:gd name="connsiteX0" fmla="*/ 124976 w 212154"/>
                  <a:gd name="connsiteY0" fmla="*/ 0 h 95710"/>
                  <a:gd name="connsiteX1" fmla="*/ 19230 w 212154"/>
                  <a:gd name="connsiteY1" fmla="*/ 0 h 95710"/>
                  <a:gd name="connsiteX2" fmla="*/ 0 w 212154"/>
                  <a:gd name="connsiteY2" fmla="*/ 19230 h 95710"/>
                  <a:gd name="connsiteX3" fmla="*/ 0 w 212154"/>
                  <a:gd name="connsiteY3" fmla="*/ 76481 h 95710"/>
                  <a:gd name="connsiteX4" fmla="*/ 19230 w 212154"/>
                  <a:gd name="connsiteY4" fmla="*/ 95710 h 95710"/>
                  <a:gd name="connsiteX5" fmla="*/ 192925 w 212154"/>
                  <a:gd name="connsiteY5" fmla="*/ 95710 h 95710"/>
                  <a:gd name="connsiteX6" fmla="*/ 212155 w 212154"/>
                  <a:gd name="connsiteY6" fmla="*/ 76481 h 95710"/>
                  <a:gd name="connsiteX7" fmla="*/ 212155 w 212154"/>
                  <a:gd name="connsiteY7" fmla="*/ 46587 h 957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12154" h="95710">
                    <a:moveTo>
                      <a:pt x="124976" y="0"/>
                    </a:moveTo>
                    <a:lnTo>
                      <a:pt x="19230" y="0"/>
                    </a:lnTo>
                    <a:cubicBezTo>
                      <a:pt x="19230" y="10616"/>
                      <a:pt x="10616" y="19230"/>
                      <a:pt x="0" y="19230"/>
                    </a:cubicBezTo>
                    <a:lnTo>
                      <a:pt x="0" y="76481"/>
                    </a:lnTo>
                    <a:cubicBezTo>
                      <a:pt x="10616" y="76481"/>
                      <a:pt x="19230" y="85094"/>
                      <a:pt x="19230" y="95710"/>
                    </a:cubicBezTo>
                    <a:lnTo>
                      <a:pt x="192925" y="95710"/>
                    </a:lnTo>
                    <a:cubicBezTo>
                      <a:pt x="192925" y="85094"/>
                      <a:pt x="201539" y="76481"/>
                      <a:pt x="212155" y="76481"/>
                    </a:cubicBezTo>
                    <a:lnTo>
                      <a:pt x="212155" y="46587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491" name="Forma livre: Forma 1490">
                <a:extLst>
                  <a:ext uri="{FF2B5EF4-FFF2-40B4-BE49-F238E27FC236}">
                    <a16:creationId xmlns:a16="http://schemas.microsoft.com/office/drawing/2014/main" id="{DF067C30-7741-C327-7EE6-025F1EB3D660}"/>
                  </a:ext>
                </a:extLst>
              </p:cNvPr>
              <p:cNvSpPr/>
              <p:nvPr/>
            </p:nvSpPr>
            <p:spPr>
              <a:xfrm>
                <a:off x="3881781" y="5333954"/>
                <a:ext cx="47179" cy="50781"/>
              </a:xfrm>
              <a:custGeom>
                <a:avLst/>
                <a:gdLst>
                  <a:gd name="connsiteX0" fmla="*/ 47180 w 47179"/>
                  <a:gd name="connsiteY0" fmla="*/ 25391 h 50781"/>
                  <a:gd name="connsiteX1" fmla="*/ 23590 w 47179"/>
                  <a:gd name="connsiteY1" fmla="*/ 50782 h 50781"/>
                  <a:gd name="connsiteX2" fmla="*/ 0 w 47179"/>
                  <a:gd name="connsiteY2" fmla="*/ 25391 h 50781"/>
                  <a:gd name="connsiteX3" fmla="*/ 23590 w 47179"/>
                  <a:gd name="connsiteY3" fmla="*/ 0 h 50781"/>
                  <a:gd name="connsiteX4" fmla="*/ 47180 w 47179"/>
                  <a:gd name="connsiteY4" fmla="*/ 25391 h 5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7179" h="50781">
                    <a:moveTo>
                      <a:pt x="47180" y="25391"/>
                    </a:moveTo>
                    <a:cubicBezTo>
                      <a:pt x="47180" y="39407"/>
                      <a:pt x="36611" y="50782"/>
                      <a:pt x="23590" y="50782"/>
                    </a:cubicBezTo>
                    <a:cubicBezTo>
                      <a:pt x="10569" y="50782"/>
                      <a:pt x="0" y="39407"/>
                      <a:pt x="0" y="25391"/>
                    </a:cubicBezTo>
                    <a:cubicBezTo>
                      <a:pt x="0" y="11374"/>
                      <a:pt x="10557" y="0"/>
                      <a:pt x="23590" y="0"/>
                    </a:cubicBezTo>
                    <a:cubicBezTo>
                      <a:pt x="36623" y="0"/>
                      <a:pt x="47180" y="11363"/>
                      <a:pt x="47180" y="25391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492" name="Gráfico 14">
            <a:extLst>
              <a:ext uri="{FF2B5EF4-FFF2-40B4-BE49-F238E27FC236}">
                <a16:creationId xmlns:a16="http://schemas.microsoft.com/office/drawing/2014/main" id="{B1392459-9CF9-AF04-0FF7-8849731B4A91}"/>
              </a:ext>
            </a:extLst>
          </p:cNvPr>
          <p:cNvGrpSpPr/>
          <p:nvPr/>
        </p:nvGrpSpPr>
        <p:grpSpPr>
          <a:xfrm>
            <a:off x="3181701" y="5133446"/>
            <a:ext cx="261635" cy="347953"/>
            <a:chOff x="3181701" y="5133446"/>
            <a:chExt cx="261635" cy="347953"/>
          </a:xfrm>
          <a:noFill/>
        </p:grpSpPr>
        <p:grpSp>
          <p:nvGrpSpPr>
            <p:cNvPr id="1493" name="Gráfico 14">
              <a:extLst>
                <a:ext uri="{FF2B5EF4-FFF2-40B4-BE49-F238E27FC236}">
                  <a16:creationId xmlns:a16="http://schemas.microsoft.com/office/drawing/2014/main" id="{09C14F6E-1E17-9862-6BC8-451CA7E36700}"/>
                </a:ext>
              </a:extLst>
            </p:cNvPr>
            <p:cNvGrpSpPr/>
            <p:nvPr/>
          </p:nvGrpSpPr>
          <p:grpSpPr>
            <a:xfrm>
              <a:off x="3289132" y="5328919"/>
              <a:ext cx="119490" cy="152481"/>
              <a:chOff x="3289132" y="5328919"/>
              <a:chExt cx="119490" cy="152481"/>
            </a:xfrm>
            <a:noFill/>
          </p:grpSpPr>
          <p:sp>
            <p:nvSpPr>
              <p:cNvPr id="1494" name="Forma livre: Forma 1493">
                <a:extLst>
                  <a:ext uri="{FF2B5EF4-FFF2-40B4-BE49-F238E27FC236}">
                    <a16:creationId xmlns:a16="http://schemas.microsoft.com/office/drawing/2014/main" id="{635ABAB5-8F24-221F-D227-25D1F3F3655C}"/>
                  </a:ext>
                </a:extLst>
              </p:cNvPr>
              <p:cNvSpPr/>
              <p:nvPr/>
            </p:nvSpPr>
            <p:spPr>
              <a:xfrm>
                <a:off x="3375221" y="5328919"/>
                <a:ext cx="1184" cy="18222"/>
              </a:xfrm>
              <a:custGeom>
                <a:avLst/>
                <a:gdLst>
                  <a:gd name="connsiteX0" fmla="*/ 0 w 1184"/>
                  <a:gd name="connsiteY0" fmla="*/ 18223 h 18222"/>
                  <a:gd name="connsiteX1" fmla="*/ 0 w 1184"/>
                  <a:gd name="connsiteY1" fmla="*/ 0 h 182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84" h="18222">
                    <a:moveTo>
                      <a:pt x="0" y="18223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495" name="Forma livre: Forma 1494">
                <a:extLst>
                  <a:ext uri="{FF2B5EF4-FFF2-40B4-BE49-F238E27FC236}">
                    <a16:creationId xmlns:a16="http://schemas.microsoft.com/office/drawing/2014/main" id="{5D2D3DA0-1535-3CBA-5804-7FCBB86CE182}"/>
                  </a:ext>
                </a:extLst>
              </p:cNvPr>
              <p:cNvSpPr/>
              <p:nvPr/>
            </p:nvSpPr>
            <p:spPr>
              <a:xfrm>
                <a:off x="3289132" y="5370944"/>
                <a:ext cx="119490" cy="110455"/>
              </a:xfrm>
              <a:custGeom>
                <a:avLst/>
                <a:gdLst>
                  <a:gd name="connsiteX0" fmla="*/ 31397 w 119490"/>
                  <a:gd name="connsiteY0" fmla="*/ 5687 h 110455"/>
                  <a:gd name="connsiteX1" fmla="*/ 31397 w 119490"/>
                  <a:gd name="connsiteY1" fmla="*/ 43602 h 110455"/>
                  <a:gd name="connsiteX2" fmla="*/ 5935 w 119490"/>
                  <a:gd name="connsiteY2" fmla="*/ 43602 h 110455"/>
                  <a:gd name="connsiteX3" fmla="*/ 722 w 119490"/>
                  <a:gd name="connsiteY3" fmla="*/ 47488 h 110455"/>
                  <a:gd name="connsiteX4" fmla="*/ 1753 w 119490"/>
                  <a:gd name="connsiteY4" fmla="*/ 56338 h 110455"/>
                  <a:gd name="connsiteX5" fmla="*/ 53233 w 119490"/>
                  <a:gd name="connsiteY5" fmla="*/ 107772 h 110455"/>
                  <a:gd name="connsiteX6" fmla="*/ 66243 w 119490"/>
                  <a:gd name="connsiteY6" fmla="*/ 107772 h 110455"/>
                  <a:gd name="connsiteX7" fmla="*/ 117486 w 119490"/>
                  <a:gd name="connsiteY7" fmla="*/ 56338 h 110455"/>
                  <a:gd name="connsiteX8" fmla="*/ 118861 w 119490"/>
                  <a:gd name="connsiteY8" fmla="*/ 47571 h 110455"/>
                  <a:gd name="connsiteX9" fmla="*/ 112593 w 119490"/>
                  <a:gd name="connsiteY9" fmla="*/ 43578 h 110455"/>
                  <a:gd name="connsiteX10" fmla="*/ 86100 w 119490"/>
                  <a:gd name="connsiteY10" fmla="*/ 43578 h 110455"/>
                  <a:gd name="connsiteX11" fmla="*/ 86100 w 119490"/>
                  <a:gd name="connsiteY11" fmla="*/ 0 h 1104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19490" h="110455">
                    <a:moveTo>
                      <a:pt x="31397" y="5687"/>
                    </a:moveTo>
                    <a:lnTo>
                      <a:pt x="31397" y="43602"/>
                    </a:lnTo>
                    <a:lnTo>
                      <a:pt x="5935" y="43602"/>
                    </a:lnTo>
                    <a:cubicBezTo>
                      <a:pt x="2807" y="43602"/>
                      <a:pt x="1326" y="46042"/>
                      <a:pt x="722" y="47488"/>
                    </a:cubicBezTo>
                    <a:cubicBezTo>
                      <a:pt x="-546" y="50580"/>
                      <a:pt x="-108" y="54466"/>
                      <a:pt x="1753" y="56338"/>
                    </a:cubicBezTo>
                    <a:lnTo>
                      <a:pt x="53233" y="107772"/>
                    </a:lnTo>
                    <a:cubicBezTo>
                      <a:pt x="56835" y="111350"/>
                      <a:pt x="62676" y="111350"/>
                      <a:pt x="66243" y="107772"/>
                    </a:cubicBezTo>
                    <a:lnTo>
                      <a:pt x="117486" y="56338"/>
                    </a:lnTo>
                    <a:cubicBezTo>
                      <a:pt x="119477" y="54348"/>
                      <a:pt x="120081" y="50509"/>
                      <a:pt x="118861" y="47571"/>
                    </a:cubicBezTo>
                    <a:cubicBezTo>
                      <a:pt x="117783" y="45000"/>
                      <a:pt x="115555" y="43590"/>
                      <a:pt x="112593" y="43578"/>
                    </a:cubicBezTo>
                    <a:lnTo>
                      <a:pt x="86100" y="43578"/>
                    </a:lnTo>
                    <a:cubicBezTo>
                      <a:pt x="86100" y="43578"/>
                      <a:pt x="86100" y="0"/>
                      <a:pt x="86100" y="0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496" name="Gráfico 14">
              <a:extLst>
                <a:ext uri="{FF2B5EF4-FFF2-40B4-BE49-F238E27FC236}">
                  <a16:creationId xmlns:a16="http://schemas.microsoft.com/office/drawing/2014/main" id="{AFC5DB40-25B4-881B-5528-327062ED23DC}"/>
                </a:ext>
              </a:extLst>
            </p:cNvPr>
            <p:cNvGrpSpPr/>
            <p:nvPr/>
          </p:nvGrpSpPr>
          <p:grpSpPr>
            <a:xfrm>
              <a:off x="3181701" y="5190744"/>
              <a:ext cx="160539" cy="206307"/>
              <a:chOff x="3181701" y="5190744"/>
              <a:chExt cx="160539" cy="206307"/>
            </a:xfrm>
            <a:noFill/>
          </p:grpSpPr>
          <p:sp>
            <p:nvSpPr>
              <p:cNvPr id="1497" name="Forma livre: Forma 1496">
                <a:extLst>
                  <a:ext uri="{FF2B5EF4-FFF2-40B4-BE49-F238E27FC236}">
                    <a16:creationId xmlns:a16="http://schemas.microsoft.com/office/drawing/2014/main" id="{7BAED651-E461-F1E6-B976-EAAFC30BD11C}"/>
                  </a:ext>
                </a:extLst>
              </p:cNvPr>
              <p:cNvSpPr/>
              <p:nvPr/>
            </p:nvSpPr>
            <p:spPr>
              <a:xfrm>
                <a:off x="3223895" y="5217142"/>
                <a:ext cx="1184" cy="13566"/>
              </a:xfrm>
              <a:custGeom>
                <a:avLst/>
                <a:gdLst>
                  <a:gd name="connsiteX0" fmla="*/ 0 w 1184"/>
                  <a:gd name="connsiteY0" fmla="*/ 13566 h 13566"/>
                  <a:gd name="connsiteX1" fmla="*/ 0 w 1184"/>
                  <a:gd name="connsiteY1" fmla="*/ 0 h 135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84" h="13566">
                    <a:moveTo>
                      <a:pt x="0" y="13566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498" name="Forma livre: Forma 1497">
                <a:extLst>
                  <a:ext uri="{FF2B5EF4-FFF2-40B4-BE49-F238E27FC236}">
                    <a16:creationId xmlns:a16="http://schemas.microsoft.com/office/drawing/2014/main" id="{45CE4607-F808-55AB-0BB4-78166F3255AE}"/>
                  </a:ext>
                </a:extLst>
              </p:cNvPr>
              <p:cNvSpPr/>
              <p:nvPr/>
            </p:nvSpPr>
            <p:spPr>
              <a:xfrm>
                <a:off x="3297378" y="5190744"/>
                <a:ext cx="1184" cy="12381"/>
              </a:xfrm>
              <a:custGeom>
                <a:avLst/>
                <a:gdLst>
                  <a:gd name="connsiteX0" fmla="*/ 0 w 1184"/>
                  <a:gd name="connsiteY0" fmla="*/ 12381 h 12381"/>
                  <a:gd name="connsiteX1" fmla="*/ 0 w 1184"/>
                  <a:gd name="connsiteY1" fmla="*/ 0 h 123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84" h="12381">
                    <a:moveTo>
                      <a:pt x="0" y="12381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499" name="Forma livre: Forma 1498">
                <a:extLst>
                  <a:ext uri="{FF2B5EF4-FFF2-40B4-BE49-F238E27FC236}">
                    <a16:creationId xmlns:a16="http://schemas.microsoft.com/office/drawing/2014/main" id="{E908C745-3C40-D4F1-3256-EE425168CE47}"/>
                  </a:ext>
                </a:extLst>
              </p:cNvPr>
              <p:cNvSpPr/>
              <p:nvPr/>
            </p:nvSpPr>
            <p:spPr>
              <a:xfrm>
                <a:off x="3297378" y="5226668"/>
                <a:ext cx="1184" cy="22215"/>
              </a:xfrm>
              <a:custGeom>
                <a:avLst/>
                <a:gdLst>
                  <a:gd name="connsiteX0" fmla="*/ 0 w 1184"/>
                  <a:gd name="connsiteY0" fmla="*/ 22216 h 22215"/>
                  <a:gd name="connsiteX1" fmla="*/ 0 w 1184"/>
                  <a:gd name="connsiteY1" fmla="*/ 0 h 222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84" h="22215">
                    <a:moveTo>
                      <a:pt x="0" y="22216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500" name="Forma livre: Forma 1499">
                <a:extLst>
                  <a:ext uri="{FF2B5EF4-FFF2-40B4-BE49-F238E27FC236}">
                    <a16:creationId xmlns:a16="http://schemas.microsoft.com/office/drawing/2014/main" id="{D682D614-4AAD-B66C-E689-6A414A26252D}"/>
                  </a:ext>
                </a:extLst>
              </p:cNvPr>
              <p:cNvSpPr/>
              <p:nvPr/>
            </p:nvSpPr>
            <p:spPr>
              <a:xfrm>
                <a:off x="3181701" y="5253398"/>
                <a:ext cx="160539" cy="143654"/>
              </a:xfrm>
              <a:custGeom>
                <a:avLst/>
                <a:gdLst>
                  <a:gd name="connsiteX0" fmla="*/ 42194 w 160539"/>
                  <a:gd name="connsiteY0" fmla="*/ 0 h 143654"/>
                  <a:gd name="connsiteX1" fmla="*/ 42194 w 160539"/>
                  <a:gd name="connsiteY1" fmla="*/ 53803 h 143654"/>
                  <a:gd name="connsiteX2" fmla="*/ 7988 w 160539"/>
                  <a:gd name="connsiteY2" fmla="*/ 53803 h 143654"/>
                  <a:gd name="connsiteX3" fmla="*/ 974 w 160539"/>
                  <a:gd name="connsiteY3" fmla="*/ 59028 h 143654"/>
                  <a:gd name="connsiteX4" fmla="*/ 2360 w 160539"/>
                  <a:gd name="connsiteY4" fmla="*/ 70924 h 143654"/>
                  <a:gd name="connsiteX5" fmla="*/ 71530 w 160539"/>
                  <a:gd name="connsiteY5" fmla="*/ 140047 h 143654"/>
                  <a:gd name="connsiteX6" fmla="*/ 88995 w 160539"/>
                  <a:gd name="connsiteY6" fmla="*/ 140047 h 143654"/>
                  <a:gd name="connsiteX7" fmla="*/ 157845 w 160539"/>
                  <a:gd name="connsiteY7" fmla="*/ 70936 h 143654"/>
                  <a:gd name="connsiteX8" fmla="*/ 159693 w 160539"/>
                  <a:gd name="connsiteY8" fmla="*/ 59158 h 143654"/>
                  <a:gd name="connsiteX9" fmla="*/ 151269 w 160539"/>
                  <a:gd name="connsiteY9" fmla="*/ 53803 h 143654"/>
                  <a:gd name="connsiteX10" fmla="*/ 115677 w 160539"/>
                  <a:gd name="connsiteY10" fmla="*/ 53827 h 143654"/>
                  <a:gd name="connsiteX11" fmla="*/ 115677 w 160539"/>
                  <a:gd name="connsiteY11" fmla="*/ 17310 h 1436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60539" h="143654">
                    <a:moveTo>
                      <a:pt x="42194" y="0"/>
                    </a:moveTo>
                    <a:lnTo>
                      <a:pt x="42194" y="53803"/>
                    </a:lnTo>
                    <a:lnTo>
                      <a:pt x="7988" y="53803"/>
                    </a:lnTo>
                    <a:cubicBezTo>
                      <a:pt x="3782" y="53803"/>
                      <a:pt x="1792" y="57085"/>
                      <a:pt x="974" y="59028"/>
                    </a:cubicBezTo>
                    <a:cubicBezTo>
                      <a:pt x="-732" y="63187"/>
                      <a:pt x="-152" y="68412"/>
                      <a:pt x="2360" y="70924"/>
                    </a:cubicBezTo>
                    <a:lnTo>
                      <a:pt x="71530" y="140047"/>
                    </a:lnTo>
                    <a:cubicBezTo>
                      <a:pt x="76364" y="144857"/>
                      <a:pt x="84208" y="144857"/>
                      <a:pt x="88995" y="140047"/>
                    </a:cubicBezTo>
                    <a:lnTo>
                      <a:pt x="157845" y="70936"/>
                    </a:lnTo>
                    <a:cubicBezTo>
                      <a:pt x="160511" y="68258"/>
                      <a:pt x="161340" y="63104"/>
                      <a:pt x="159693" y="59158"/>
                    </a:cubicBezTo>
                    <a:cubicBezTo>
                      <a:pt x="158248" y="55711"/>
                      <a:pt x="155250" y="53815"/>
                      <a:pt x="151269" y="53803"/>
                    </a:cubicBezTo>
                    <a:lnTo>
                      <a:pt x="115677" y="53827"/>
                    </a:lnTo>
                    <a:lnTo>
                      <a:pt x="115677" y="17310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501" name="Gráfico 14">
              <a:extLst>
                <a:ext uri="{FF2B5EF4-FFF2-40B4-BE49-F238E27FC236}">
                  <a16:creationId xmlns:a16="http://schemas.microsoft.com/office/drawing/2014/main" id="{2F84E073-1202-2341-769A-F7968277F64A}"/>
                </a:ext>
              </a:extLst>
            </p:cNvPr>
            <p:cNvGrpSpPr/>
            <p:nvPr/>
          </p:nvGrpSpPr>
          <p:grpSpPr>
            <a:xfrm>
              <a:off x="3327472" y="5170484"/>
              <a:ext cx="115864" cy="121646"/>
              <a:chOff x="3327472" y="5170484"/>
              <a:chExt cx="115864" cy="121646"/>
            </a:xfrm>
            <a:noFill/>
          </p:grpSpPr>
          <p:sp>
            <p:nvSpPr>
              <p:cNvPr id="1502" name="Forma livre: Forma 1501">
                <a:extLst>
                  <a:ext uri="{FF2B5EF4-FFF2-40B4-BE49-F238E27FC236}">
                    <a16:creationId xmlns:a16="http://schemas.microsoft.com/office/drawing/2014/main" id="{CD17AF84-6EE4-405F-3F45-7840D3FC116C}"/>
                  </a:ext>
                </a:extLst>
              </p:cNvPr>
              <p:cNvSpPr/>
              <p:nvPr/>
            </p:nvSpPr>
            <p:spPr>
              <a:xfrm>
                <a:off x="3347674" y="5176550"/>
                <a:ext cx="75461" cy="109513"/>
              </a:xfrm>
              <a:custGeom>
                <a:avLst/>
                <a:gdLst>
                  <a:gd name="connsiteX0" fmla="*/ 75462 w 75461"/>
                  <a:gd name="connsiteY0" fmla="*/ 0 h 109513"/>
                  <a:gd name="connsiteX1" fmla="*/ 0 w 75461"/>
                  <a:gd name="connsiteY1" fmla="*/ 109514 h 1095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75461" h="109513">
                    <a:moveTo>
                      <a:pt x="75462" y="0"/>
                    </a:moveTo>
                    <a:lnTo>
                      <a:pt x="0" y="109514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1503" name="Gráfico 14">
                <a:extLst>
                  <a:ext uri="{FF2B5EF4-FFF2-40B4-BE49-F238E27FC236}">
                    <a16:creationId xmlns:a16="http://schemas.microsoft.com/office/drawing/2014/main" id="{888B1132-4163-EAD5-9987-268E0B06B3FB}"/>
                  </a:ext>
                </a:extLst>
              </p:cNvPr>
              <p:cNvGrpSpPr/>
              <p:nvPr/>
            </p:nvGrpSpPr>
            <p:grpSpPr>
              <a:xfrm>
                <a:off x="3327472" y="5170484"/>
                <a:ext cx="115864" cy="121646"/>
                <a:chOff x="3327472" y="5170484"/>
                <a:chExt cx="115864" cy="121646"/>
              </a:xfrm>
              <a:noFill/>
            </p:grpSpPr>
            <p:sp>
              <p:nvSpPr>
                <p:cNvPr id="1504" name="Forma livre: Forma 1503">
                  <a:extLst>
                    <a:ext uri="{FF2B5EF4-FFF2-40B4-BE49-F238E27FC236}">
                      <a16:creationId xmlns:a16="http://schemas.microsoft.com/office/drawing/2014/main" id="{7FE7798E-77E2-05A0-9A3B-9BB909A3A979}"/>
                    </a:ext>
                  </a:extLst>
                </p:cNvPr>
                <p:cNvSpPr/>
                <p:nvPr/>
              </p:nvSpPr>
              <p:spPr>
                <a:xfrm>
                  <a:off x="3327472" y="5170484"/>
                  <a:ext cx="42286" cy="42310"/>
                </a:xfrm>
                <a:custGeom>
                  <a:avLst/>
                  <a:gdLst>
                    <a:gd name="connsiteX0" fmla="*/ 42286 w 42286"/>
                    <a:gd name="connsiteY0" fmla="*/ 21149 h 42310"/>
                    <a:gd name="connsiteX1" fmla="*/ 21149 w 42286"/>
                    <a:gd name="connsiteY1" fmla="*/ 42310 h 42310"/>
                    <a:gd name="connsiteX2" fmla="*/ 0 w 42286"/>
                    <a:gd name="connsiteY2" fmla="*/ 21149 h 42310"/>
                    <a:gd name="connsiteX3" fmla="*/ 21149 w 42286"/>
                    <a:gd name="connsiteY3" fmla="*/ 0 h 42310"/>
                    <a:gd name="connsiteX4" fmla="*/ 42286 w 42286"/>
                    <a:gd name="connsiteY4" fmla="*/ 21149 h 4231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42286" h="42310">
                      <a:moveTo>
                        <a:pt x="42286" y="21149"/>
                      </a:moveTo>
                      <a:cubicBezTo>
                        <a:pt x="42286" y="32831"/>
                        <a:pt x="32820" y="42310"/>
                        <a:pt x="21149" y="42310"/>
                      </a:cubicBezTo>
                      <a:cubicBezTo>
                        <a:pt x="9479" y="42310"/>
                        <a:pt x="0" y="32831"/>
                        <a:pt x="0" y="21149"/>
                      </a:cubicBezTo>
                      <a:cubicBezTo>
                        <a:pt x="0" y="9467"/>
                        <a:pt x="9467" y="0"/>
                        <a:pt x="21149" y="0"/>
                      </a:cubicBezTo>
                      <a:cubicBezTo>
                        <a:pt x="32832" y="0"/>
                        <a:pt x="42286" y="9479"/>
                        <a:pt x="42286" y="21149"/>
                      </a:cubicBezTo>
                      <a:close/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505" name="Forma livre: Forma 1504">
                  <a:extLst>
                    <a:ext uri="{FF2B5EF4-FFF2-40B4-BE49-F238E27FC236}">
                      <a16:creationId xmlns:a16="http://schemas.microsoft.com/office/drawing/2014/main" id="{99C9AD36-C04C-9314-2B23-EB16971C5495}"/>
                    </a:ext>
                  </a:extLst>
                </p:cNvPr>
                <p:cNvSpPr/>
                <p:nvPr/>
              </p:nvSpPr>
              <p:spPr>
                <a:xfrm>
                  <a:off x="3401038" y="5249831"/>
                  <a:ext cx="42298" cy="42298"/>
                </a:xfrm>
                <a:custGeom>
                  <a:avLst/>
                  <a:gdLst>
                    <a:gd name="connsiteX0" fmla="*/ 42298 w 42298"/>
                    <a:gd name="connsiteY0" fmla="*/ 21137 h 42298"/>
                    <a:gd name="connsiteX1" fmla="*/ 21149 w 42298"/>
                    <a:gd name="connsiteY1" fmla="*/ 42298 h 42298"/>
                    <a:gd name="connsiteX2" fmla="*/ 0 w 42298"/>
                    <a:gd name="connsiteY2" fmla="*/ 21137 h 42298"/>
                    <a:gd name="connsiteX3" fmla="*/ 21149 w 42298"/>
                    <a:gd name="connsiteY3" fmla="*/ 0 h 42298"/>
                    <a:gd name="connsiteX4" fmla="*/ 42298 w 42298"/>
                    <a:gd name="connsiteY4" fmla="*/ 21137 h 422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42298" h="42298">
                      <a:moveTo>
                        <a:pt x="42298" y="21137"/>
                      </a:moveTo>
                      <a:cubicBezTo>
                        <a:pt x="42298" y="32820"/>
                        <a:pt x="32820" y="42298"/>
                        <a:pt x="21149" y="42298"/>
                      </a:cubicBezTo>
                      <a:cubicBezTo>
                        <a:pt x="9479" y="42298"/>
                        <a:pt x="0" y="32832"/>
                        <a:pt x="0" y="21137"/>
                      </a:cubicBezTo>
                      <a:cubicBezTo>
                        <a:pt x="0" y="9443"/>
                        <a:pt x="9479" y="0"/>
                        <a:pt x="21149" y="0"/>
                      </a:cubicBezTo>
                      <a:cubicBezTo>
                        <a:pt x="32820" y="0"/>
                        <a:pt x="42298" y="9467"/>
                        <a:pt x="42298" y="21137"/>
                      </a:cubicBezTo>
                      <a:close/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grpSp>
          <p:nvGrpSpPr>
            <p:cNvPr id="1506" name="Gráfico 14">
              <a:extLst>
                <a:ext uri="{FF2B5EF4-FFF2-40B4-BE49-F238E27FC236}">
                  <a16:creationId xmlns:a16="http://schemas.microsoft.com/office/drawing/2014/main" id="{93142FED-33A4-DF08-1827-9A15693F4931}"/>
                </a:ext>
              </a:extLst>
            </p:cNvPr>
            <p:cNvGrpSpPr/>
            <p:nvPr/>
          </p:nvGrpSpPr>
          <p:grpSpPr>
            <a:xfrm>
              <a:off x="3261975" y="5133446"/>
              <a:ext cx="1184" cy="148399"/>
              <a:chOff x="3261975" y="5133446"/>
              <a:chExt cx="1184" cy="148399"/>
            </a:xfrm>
          </p:grpSpPr>
          <p:sp>
            <p:nvSpPr>
              <p:cNvPr id="1507" name="Forma livre: Forma 1506">
                <a:extLst>
                  <a:ext uri="{FF2B5EF4-FFF2-40B4-BE49-F238E27FC236}">
                    <a16:creationId xmlns:a16="http://schemas.microsoft.com/office/drawing/2014/main" id="{F1986C1A-7270-CEE5-276C-48E323F7899A}"/>
                  </a:ext>
                </a:extLst>
              </p:cNvPr>
              <p:cNvSpPr/>
              <p:nvPr/>
            </p:nvSpPr>
            <p:spPr>
              <a:xfrm>
                <a:off x="3261975" y="5220708"/>
                <a:ext cx="1184" cy="61137"/>
              </a:xfrm>
              <a:custGeom>
                <a:avLst/>
                <a:gdLst>
                  <a:gd name="connsiteX0" fmla="*/ 0 w 1184"/>
                  <a:gd name="connsiteY0" fmla="*/ 61137 h 61137"/>
                  <a:gd name="connsiteX1" fmla="*/ 0 w 1184"/>
                  <a:gd name="connsiteY1" fmla="*/ 0 h 611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84" h="61137">
                    <a:moveTo>
                      <a:pt x="0" y="61137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508" name="Forma livre: Forma 1507">
                <a:extLst>
                  <a:ext uri="{FF2B5EF4-FFF2-40B4-BE49-F238E27FC236}">
                    <a16:creationId xmlns:a16="http://schemas.microsoft.com/office/drawing/2014/main" id="{65E39DBF-70AB-20D7-FDF5-703F1D9539BD}"/>
                  </a:ext>
                </a:extLst>
              </p:cNvPr>
              <p:cNvSpPr/>
              <p:nvPr/>
            </p:nvSpPr>
            <p:spPr>
              <a:xfrm>
                <a:off x="3261975" y="5166680"/>
                <a:ext cx="1184" cy="30461"/>
              </a:xfrm>
              <a:custGeom>
                <a:avLst/>
                <a:gdLst>
                  <a:gd name="connsiteX0" fmla="*/ 0 w 1184"/>
                  <a:gd name="connsiteY0" fmla="*/ 30462 h 30461"/>
                  <a:gd name="connsiteX1" fmla="*/ 0 w 1184"/>
                  <a:gd name="connsiteY1" fmla="*/ 0 h 304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84" h="30461">
                    <a:moveTo>
                      <a:pt x="0" y="30462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509" name="Forma livre: Forma 1508">
                <a:extLst>
                  <a:ext uri="{FF2B5EF4-FFF2-40B4-BE49-F238E27FC236}">
                    <a16:creationId xmlns:a16="http://schemas.microsoft.com/office/drawing/2014/main" id="{53DBD4E9-B973-24D9-648F-438BF80152D7}"/>
                  </a:ext>
                </a:extLst>
              </p:cNvPr>
              <p:cNvSpPr/>
              <p:nvPr/>
            </p:nvSpPr>
            <p:spPr>
              <a:xfrm>
                <a:off x="3261975" y="5133446"/>
                <a:ext cx="1184" cy="9680"/>
              </a:xfrm>
              <a:custGeom>
                <a:avLst/>
                <a:gdLst>
                  <a:gd name="connsiteX0" fmla="*/ 0 w 1184"/>
                  <a:gd name="connsiteY0" fmla="*/ 9680 h 9680"/>
                  <a:gd name="connsiteX1" fmla="*/ 0 w 1184"/>
                  <a:gd name="connsiteY1" fmla="*/ 0 h 96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84" h="9680">
                    <a:moveTo>
                      <a:pt x="0" y="9680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510" name="Gráfico 14">
            <a:extLst>
              <a:ext uri="{FF2B5EF4-FFF2-40B4-BE49-F238E27FC236}">
                <a16:creationId xmlns:a16="http://schemas.microsoft.com/office/drawing/2014/main" id="{0F9E4297-C4F5-4EB4-4A03-5A7DD484DE46}"/>
              </a:ext>
            </a:extLst>
          </p:cNvPr>
          <p:cNvGrpSpPr/>
          <p:nvPr/>
        </p:nvGrpSpPr>
        <p:grpSpPr>
          <a:xfrm>
            <a:off x="2563947" y="5133452"/>
            <a:ext cx="261623" cy="347953"/>
            <a:chOff x="2563947" y="5133452"/>
            <a:chExt cx="261623" cy="347953"/>
          </a:xfrm>
          <a:noFill/>
        </p:grpSpPr>
        <p:grpSp>
          <p:nvGrpSpPr>
            <p:cNvPr id="1511" name="Gráfico 14">
              <a:extLst>
                <a:ext uri="{FF2B5EF4-FFF2-40B4-BE49-F238E27FC236}">
                  <a16:creationId xmlns:a16="http://schemas.microsoft.com/office/drawing/2014/main" id="{DFF21783-5788-02F7-726E-65F5B8C748E2}"/>
                </a:ext>
              </a:extLst>
            </p:cNvPr>
            <p:cNvGrpSpPr/>
            <p:nvPr/>
          </p:nvGrpSpPr>
          <p:grpSpPr>
            <a:xfrm>
              <a:off x="2598661" y="5133452"/>
              <a:ext cx="119490" cy="152469"/>
              <a:chOff x="2598661" y="5133452"/>
              <a:chExt cx="119490" cy="152469"/>
            </a:xfrm>
            <a:noFill/>
          </p:grpSpPr>
          <p:sp>
            <p:nvSpPr>
              <p:cNvPr id="1512" name="Forma livre: Forma 1511">
                <a:extLst>
                  <a:ext uri="{FF2B5EF4-FFF2-40B4-BE49-F238E27FC236}">
                    <a16:creationId xmlns:a16="http://schemas.microsoft.com/office/drawing/2014/main" id="{5B4797CC-9C45-4C96-C5B7-8D0787B1C84E}"/>
                  </a:ext>
                </a:extLst>
              </p:cNvPr>
              <p:cNvSpPr/>
              <p:nvPr/>
            </p:nvSpPr>
            <p:spPr>
              <a:xfrm>
                <a:off x="2632062" y="5267699"/>
                <a:ext cx="1184" cy="18222"/>
              </a:xfrm>
              <a:custGeom>
                <a:avLst/>
                <a:gdLst>
                  <a:gd name="connsiteX0" fmla="*/ 0 w 1184"/>
                  <a:gd name="connsiteY0" fmla="*/ 0 h 18222"/>
                  <a:gd name="connsiteX1" fmla="*/ 0 w 1184"/>
                  <a:gd name="connsiteY1" fmla="*/ 18223 h 182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84" h="18222">
                    <a:moveTo>
                      <a:pt x="0" y="0"/>
                    </a:moveTo>
                    <a:lnTo>
                      <a:pt x="0" y="18223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513" name="Forma livre: Forma 1512">
                <a:extLst>
                  <a:ext uri="{FF2B5EF4-FFF2-40B4-BE49-F238E27FC236}">
                    <a16:creationId xmlns:a16="http://schemas.microsoft.com/office/drawing/2014/main" id="{7D432355-9B34-6E27-3D66-4AC8A9BB7D07}"/>
                  </a:ext>
                </a:extLst>
              </p:cNvPr>
              <p:cNvSpPr/>
              <p:nvPr/>
            </p:nvSpPr>
            <p:spPr>
              <a:xfrm>
                <a:off x="2598661" y="5133452"/>
                <a:ext cx="119490" cy="110443"/>
              </a:xfrm>
              <a:custGeom>
                <a:avLst/>
                <a:gdLst>
                  <a:gd name="connsiteX0" fmla="*/ 88093 w 119490"/>
                  <a:gd name="connsiteY0" fmla="*/ 104768 h 110443"/>
                  <a:gd name="connsiteX1" fmla="*/ 88093 w 119490"/>
                  <a:gd name="connsiteY1" fmla="*/ 66854 h 110443"/>
                  <a:gd name="connsiteX2" fmla="*/ 113555 w 119490"/>
                  <a:gd name="connsiteY2" fmla="*/ 66854 h 110443"/>
                  <a:gd name="connsiteX3" fmla="*/ 118769 w 119490"/>
                  <a:gd name="connsiteY3" fmla="*/ 62968 h 110443"/>
                  <a:gd name="connsiteX4" fmla="*/ 117738 w 119490"/>
                  <a:gd name="connsiteY4" fmla="*/ 54117 h 110443"/>
                  <a:gd name="connsiteX5" fmla="*/ 66257 w 119490"/>
                  <a:gd name="connsiteY5" fmla="*/ 2684 h 110443"/>
                  <a:gd name="connsiteX6" fmla="*/ 53248 w 119490"/>
                  <a:gd name="connsiteY6" fmla="*/ 2684 h 110443"/>
                  <a:gd name="connsiteX7" fmla="*/ 2004 w 119490"/>
                  <a:gd name="connsiteY7" fmla="*/ 54117 h 110443"/>
                  <a:gd name="connsiteX8" fmla="*/ 630 w 119490"/>
                  <a:gd name="connsiteY8" fmla="*/ 62885 h 110443"/>
                  <a:gd name="connsiteX9" fmla="*/ 6897 w 119490"/>
                  <a:gd name="connsiteY9" fmla="*/ 66866 h 110443"/>
                  <a:gd name="connsiteX10" fmla="*/ 33390 w 119490"/>
                  <a:gd name="connsiteY10" fmla="*/ 66866 h 110443"/>
                  <a:gd name="connsiteX11" fmla="*/ 33390 w 119490"/>
                  <a:gd name="connsiteY11" fmla="*/ 110444 h 1104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19490" h="110443">
                    <a:moveTo>
                      <a:pt x="88093" y="104768"/>
                    </a:moveTo>
                    <a:lnTo>
                      <a:pt x="88093" y="66854"/>
                    </a:lnTo>
                    <a:lnTo>
                      <a:pt x="113555" y="66854"/>
                    </a:lnTo>
                    <a:cubicBezTo>
                      <a:pt x="116683" y="66854"/>
                      <a:pt x="118164" y="64413"/>
                      <a:pt x="118769" y="62968"/>
                    </a:cubicBezTo>
                    <a:cubicBezTo>
                      <a:pt x="120036" y="59875"/>
                      <a:pt x="119598" y="55989"/>
                      <a:pt x="117738" y="54117"/>
                    </a:cubicBezTo>
                    <a:lnTo>
                      <a:pt x="66257" y="2684"/>
                    </a:lnTo>
                    <a:cubicBezTo>
                      <a:pt x="62655" y="-895"/>
                      <a:pt x="56814" y="-895"/>
                      <a:pt x="53248" y="2684"/>
                    </a:cubicBezTo>
                    <a:lnTo>
                      <a:pt x="2004" y="54117"/>
                    </a:lnTo>
                    <a:cubicBezTo>
                      <a:pt x="14" y="56107"/>
                      <a:pt x="-591" y="59946"/>
                      <a:pt x="630" y="62885"/>
                    </a:cubicBezTo>
                    <a:cubicBezTo>
                      <a:pt x="1708" y="65456"/>
                      <a:pt x="3935" y="66866"/>
                      <a:pt x="6897" y="66866"/>
                    </a:cubicBezTo>
                    <a:lnTo>
                      <a:pt x="33390" y="66866"/>
                    </a:lnTo>
                    <a:cubicBezTo>
                      <a:pt x="33390" y="66866"/>
                      <a:pt x="33390" y="110444"/>
                      <a:pt x="33390" y="110444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514" name="Gráfico 14">
              <a:extLst>
                <a:ext uri="{FF2B5EF4-FFF2-40B4-BE49-F238E27FC236}">
                  <a16:creationId xmlns:a16="http://schemas.microsoft.com/office/drawing/2014/main" id="{A4EFF792-0A3E-D0B1-9155-4558EE35EEB3}"/>
                </a:ext>
              </a:extLst>
            </p:cNvPr>
            <p:cNvGrpSpPr/>
            <p:nvPr/>
          </p:nvGrpSpPr>
          <p:grpSpPr>
            <a:xfrm>
              <a:off x="2665031" y="5217800"/>
              <a:ext cx="160539" cy="206295"/>
              <a:chOff x="2665031" y="5217800"/>
              <a:chExt cx="160539" cy="206295"/>
            </a:xfrm>
            <a:noFill/>
          </p:grpSpPr>
          <p:sp>
            <p:nvSpPr>
              <p:cNvPr id="1515" name="Forma livre: Forma 1514">
                <a:extLst>
                  <a:ext uri="{FF2B5EF4-FFF2-40B4-BE49-F238E27FC236}">
                    <a16:creationId xmlns:a16="http://schemas.microsoft.com/office/drawing/2014/main" id="{4CA5820D-B183-040B-63A6-B0F8476C489E}"/>
                  </a:ext>
                </a:extLst>
              </p:cNvPr>
              <p:cNvSpPr/>
              <p:nvPr/>
            </p:nvSpPr>
            <p:spPr>
              <a:xfrm>
                <a:off x="2783377" y="5384131"/>
                <a:ext cx="1184" cy="13566"/>
              </a:xfrm>
              <a:custGeom>
                <a:avLst/>
                <a:gdLst>
                  <a:gd name="connsiteX0" fmla="*/ 0 w 1184"/>
                  <a:gd name="connsiteY0" fmla="*/ 0 h 13566"/>
                  <a:gd name="connsiteX1" fmla="*/ 0 w 1184"/>
                  <a:gd name="connsiteY1" fmla="*/ 13566 h 135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84" h="13566">
                    <a:moveTo>
                      <a:pt x="0" y="0"/>
                    </a:moveTo>
                    <a:lnTo>
                      <a:pt x="0" y="13566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516" name="Forma livre: Forma 1515">
                <a:extLst>
                  <a:ext uri="{FF2B5EF4-FFF2-40B4-BE49-F238E27FC236}">
                    <a16:creationId xmlns:a16="http://schemas.microsoft.com/office/drawing/2014/main" id="{821F90BA-C025-BE95-D2A4-B85D1693450D}"/>
                  </a:ext>
                </a:extLst>
              </p:cNvPr>
              <p:cNvSpPr/>
              <p:nvPr/>
            </p:nvSpPr>
            <p:spPr>
              <a:xfrm>
                <a:off x="2709906" y="5411714"/>
                <a:ext cx="1184" cy="12381"/>
              </a:xfrm>
              <a:custGeom>
                <a:avLst/>
                <a:gdLst>
                  <a:gd name="connsiteX0" fmla="*/ 0 w 1184"/>
                  <a:gd name="connsiteY0" fmla="*/ 0 h 12381"/>
                  <a:gd name="connsiteX1" fmla="*/ 0 w 1184"/>
                  <a:gd name="connsiteY1" fmla="*/ 12381 h 123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84" h="12381">
                    <a:moveTo>
                      <a:pt x="0" y="0"/>
                    </a:moveTo>
                    <a:lnTo>
                      <a:pt x="0" y="12381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517" name="Forma livre: Forma 1516">
                <a:extLst>
                  <a:ext uri="{FF2B5EF4-FFF2-40B4-BE49-F238E27FC236}">
                    <a16:creationId xmlns:a16="http://schemas.microsoft.com/office/drawing/2014/main" id="{A2E32C3C-EB86-EA30-246B-B2D31664A225}"/>
                  </a:ext>
                </a:extLst>
              </p:cNvPr>
              <p:cNvSpPr/>
              <p:nvPr/>
            </p:nvSpPr>
            <p:spPr>
              <a:xfrm>
                <a:off x="2709906" y="5365968"/>
                <a:ext cx="1184" cy="22203"/>
              </a:xfrm>
              <a:custGeom>
                <a:avLst/>
                <a:gdLst>
                  <a:gd name="connsiteX0" fmla="*/ 0 w 1184"/>
                  <a:gd name="connsiteY0" fmla="*/ 0 h 22203"/>
                  <a:gd name="connsiteX1" fmla="*/ 0 w 1184"/>
                  <a:gd name="connsiteY1" fmla="*/ 22204 h 222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84" h="22203">
                    <a:moveTo>
                      <a:pt x="0" y="0"/>
                    </a:moveTo>
                    <a:lnTo>
                      <a:pt x="0" y="22204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518" name="Forma livre: Forma 1517">
                <a:extLst>
                  <a:ext uri="{FF2B5EF4-FFF2-40B4-BE49-F238E27FC236}">
                    <a16:creationId xmlns:a16="http://schemas.microsoft.com/office/drawing/2014/main" id="{8A6706A6-EFB4-7D1E-D1DE-44B35A244598}"/>
                  </a:ext>
                </a:extLst>
              </p:cNvPr>
              <p:cNvSpPr/>
              <p:nvPr/>
            </p:nvSpPr>
            <p:spPr>
              <a:xfrm>
                <a:off x="2665031" y="5217800"/>
                <a:ext cx="160539" cy="143642"/>
              </a:xfrm>
              <a:custGeom>
                <a:avLst/>
                <a:gdLst>
                  <a:gd name="connsiteX0" fmla="*/ 118346 w 160539"/>
                  <a:gd name="connsiteY0" fmla="*/ 143642 h 143642"/>
                  <a:gd name="connsiteX1" fmla="*/ 118346 w 160539"/>
                  <a:gd name="connsiteY1" fmla="*/ 89839 h 143642"/>
                  <a:gd name="connsiteX2" fmla="*/ 152552 w 160539"/>
                  <a:gd name="connsiteY2" fmla="*/ 89839 h 143642"/>
                  <a:gd name="connsiteX3" fmla="*/ 159566 w 160539"/>
                  <a:gd name="connsiteY3" fmla="*/ 84614 h 143642"/>
                  <a:gd name="connsiteX4" fmla="*/ 158180 w 160539"/>
                  <a:gd name="connsiteY4" fmla="*/ 72719 h 143642"/>
                  <a:gd name="connsiteX5" fmla="*/ 89010 w 160539"/>
                  <a:gd name="connsiteY5" fmla="*/ 3608 h 143642"/>
                  <a:gd name="connsiteX6" fmla="*/ 71545 w 160539"/>
                  <a:gd name="connsiteY6" fmla="*/ 3608 h 143642"/>
                  <a:gd name="connsiteX7" fmla="*/ 2695 w 160539"/>
                  <a:gd name="connsiteY7" fmla="*/ 72719 h 143642"/>
                  <a:gd name="connsiteX8" fmla="*/ 847 w 160539"/>
                  <a:gd name="connsiteY8" fmla="*/ 84496 h 143642"/>
                  <a:gd name="connsiteX9" fmla="*/ 9271 w 160539"/>
                  <a:gd name="connsiteY9" fmla="*/ 89851 h 143642"/>
                  <a:gd name="connsiteX10" fmla="*/ 44863 w 160539"/>
                  <a:gd name="connsiteY10" fmla="*/ 89851 h 143642"/>
                  <a:gd name="connsiteX11" fmla="*/ 44863 w 160539"/>
                  <a:gd name="connsiteY11" fmla="*/ 126356 h 1436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60539" h="143642">
                    <a:moveTo>
                      <a:pt x="118346" y="143642"/>
                    </a:moveTo>
                    <a:lnTo>
                      <a:pt x="118346" y="89839"/>
                    </a:lnTo>
                    <a:lnTo>
                      <a:pt x="152552" y="89839"/>
                    </a:lnTo>
                    <a:cubicBezTo>
                      <a:pt x="156758" y="89839"/>
                      <a:pt x="158748" y="86557"/>
                      <a:pt x="159566" y="84614"/>
                    </a:cubicBezTo>
                    <a:cubicBezTo>
                      <a:pt x="161272" y="80467"/>
                      <a:pt x="160692" y="75231"/>
                      <a:pt x="158180" y="72719"/>
                    </a:cubicBezTo>
                    <a:lnTo>
                      <a:pt x="89010" y="3608"/>
                    </a:lnTo>
                    <a:cubicBezTo>
                      <a:pt x="84175" y="-1203"/>
                      <a:pt x="76320" y="-1203"/>
                      <a:pt x="71545" y="3608"/>
                    </a:cubicBezTo>
                    <a:lnTo>
                      <a:pt x="2695" y="72719"/>
                    </a:lnTo>
                    <a:cubicBezTo>
                      <a:pt x="29" y="75396"/>
                      <a:pt x="-800" y="80550"/>
                      <a:pt x="847" y="84496"/>
                    </a:cubicBezTo>
                    <a:cubicBezTo>
                      <a:pt x="2292" y="87944"/>
                      <a:pt x="5290" y="89839"/>
                      <a:pt x="9271" y="89851"/>
                    </a:cubicBezTo>
                    <a:lnTo>
                      <a:pt x="44863" y="89851"/>
                    </a:lnTo>
                    <a:cubicBezTo>
                      <a:pt x="44863" y="89851"/>
                      <a:pt x="44863" y="126356"/>
                      <a:pt x="44863" y="126356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519" name="Gráfico 14">
              <a:extLst>
                <a:ext uri="{FF2B5EF4-FFF2-40B4-BE49-F238E27FC236}">
                  <a16:creationId xmlns:a16="http://schemas.microsoft.com/office/drawing/2014/main" id="{44B806CF-F52D-68CC-2AE1-C22578E19A87}"/>
                </a:ext>
              </a:extLst>
            </p:cNvPr>
            <p:cNvGrpSpPr/>
            <p:nvPr/>
          </p:nvGrpSpPr>
          <p:grpSpPr>
            <a:xfrm>
              <a:off x="2563947" y="5322710"/>
              <a:ext cx="115852" cy="121657"/>
              <a:chOff x="2563947" y="5322710"/>
              <a:chExt cx="115852" cy="121657"/>
            </a:xfrm>
            <a:noFill/>
          </p:grpSpPr>
          <p:sp>
            <p:nvSpPr>
              <p:cNvPr id="1520" name="Forma livre: Forma 1519">
                <a:extLst>
                  <a:ext uri="{FF2B5EF4-FFF2-40B4-BE49-F238E27FC236}">
                    <a16:creationId xmlns:a16="http://schemas.microsoft.com/office/drawing/2014/main" id="{19FCAA28-0FEC-F1AF-79E3-77870EE633F3}"/>
                  </a:ext>
                </a:extLst>
              </p:cNvPr>
              <p:cNvSpPr/>
              <p:nvPr/>
            </p:nvSpPr>
            <p:spPr>
              <a:xfrm>
                <a:off x="2584148" y="5328776"/>
                <a:ext cx="75449" cy="109513"/>
              </a:xfrm>
              <a:custGeom>
                <a:avLst/>
                <a:gdLst>
                  <a:gd name="connsiteX0" fmla="*/ 0 w 75449"/>
                  <a:gd name="connsiteY0" fmla="*/ 109513 h 109513"/>
                  <a:gd name="connsiteX1" fmla="*/ 75450 w 75449"/>
                  <a:gd name="connsiteY1" fmla="*/ 0 h 1095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75449" h="109513">
                    <a:moveTo>
                      <a:pt x="0" y="109513"/>
                    </a:moveTo>
                    <a:lnTo>
                      <a:pt x="7545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1521" name="Gráfico 14">
                <a:extLst>
                  <a:ext uri="{FF2B5EF4-FFF2-40B4-BE49-F238E27FC236}">
                    <a16:creationId xmlns:a16="http://schemas.microsoft.com/office/drawing/2014/main" id="{06C2355A-3049-A46E-E256-B14CF5CE0AA8}"/>
                  </a:ext>
                </a:extLst>
              </p:cNvPr>
              <p:cNvGrpSpPr/>
              <p:nvPr/>
            </p:nvGrpSpPr>
            <p:grpSpPr>
              <a:xfrm>
                <a:off x="2563947" y="5322710"/>
                <a:ext cx="115852" cy="121657"/>
                <a:chOff x="2563947" y="5322710"/>
                <a:chExt cx="115852" cy="121657"/>
              </a:xfrm>
              <a:noFill/>
            </p:grpSpPr>
            <p:sp>
              <p:nvSpPr>
                <p:cNvPr id="1522" name="Forma livre: Forma 1521">
                  <a:extLst>
                    <a:ext uri="{FF2B5EF4-FFF2-40B4-BE49-F238E27FC236}">
                      <a16:creationId xmlns:a16="http://schemas.microsoft.com/office/drawing/2014/main" id="{3CB74616-1341-77D6-E9AC-BAD7A844A02D}"/>
                    </a:ext>
                  </a:extLst>
                </p:cNvPr>
                <p:cNvSpPr/>
                <p:nvPr/>
              </p:nvSpPr>
              <p:spPr>
                <a:xfrm>
                  <a:off x="2637513" y="5402046"/>
                  <a:ext cx="42286" cy="42321"/>
                </a:xfrm>
                <a:custGeom>
                  <a:avLst/>
                  <a:gdLst>
                    <a:gd name="connsiteX0" fmla="*/ 0 w 42286"/>
                    <a:gd name="connsiteY0" fmla="*/ 21161 h 42321"/>
                    <a:gd name="connsiteX1" fmla="*/ 21137 w 42286"/>
                    <a:gd name="connsiteY1" fmla="*/ 0 h 42321"/>
                    <a:gd name="connsiteX2" fmla="*/ 42286 w 42286"/>
                    <a:gd name="connsiteY2" fmla="*/ 21161 h 42321"/>
                    <a:gd name="connsiteX3" fmla="*/ 21137 w 42286"/>
                    <a:gd name="connsiteY3" fmla="*/ 42322 h 42321"/>
                    <a:gd name="connsiteX4" fmla="*/ 0 w 42286"/>
                    <a:gd name="connsiteY4" fmla="*/ 21161 h 4232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42286" h="42321">
                      <a:moveTo>
                        <a:pt x="0" y="21161"/>
                      </a:moveTo>
                      <a:cubicBezTo>
                        <a:pt x="0" y="9479"/>
                        <a:pt x="9467" y="0"/>
                        <a:pt x="21137" y="0"/>
                      </a:cubicBezTo>
                      <a:cubicBezTo>
                        <a:pt x="32808" y="0"/>
                        <a:pt x="42286" y="9479"/>
                        <a:pt x="42286" y="21161"/>
                      </a:cubicBezTo>
                      <a:cubicBezTo>
                        <a:pt x="42286" y="32843"/>
                        <a:pt x="32820" y="42322"/>
                        <a:pt x="21137" y="42322"/>
                      </a:cubicBezTo>
                      <a:cubicBezTo>
                        <a:pt x="9455" y="42322"/>
                        <a:pt x="0" y="32843"/>
                        <a:pt x="0" y="21161"/>
                      </a:cubicBezTo>
                      <a:close/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523" name="Forma livre: Forma 1522">
                  <a:extLst>
                    <a:ext uri="{FF2B5EF4-FFF2-40B4-BE49-F238E27FC236}">
                      <a16:creationId xmlns:a16="http://schemas.microsoft.com/office/drawing/2014/main" id="{FC56787D-D9E5-F444-3C51-6BDE48A4C852}"/>
                    </a:ext>
                  </a:extLst>
                </p:cNvPr>
                <p:cNvSpPr/>
                <p:nvPr/>
              </p:nvSpPr>
              <p:spPr>
                <a:xfrm>
                  <a:off x="2563947" y="5322710"/>
                  <a:ext cx="42298" cy="42298"/>
                </a:xfrm>
                <a:custGeom>
                  <a:avLst/>
                  <a:gdLst>
                    <a:gd name="connsiteX0" fmla="*/ 0 w 42298"/>
                    <a:gd name="connsiteY0" fmla="*/ 21161 h 42298"/>
                    <a:gd name="connsiteX1" fmla="*/ 21149 w 42298"/>
                    <a:gd name="connsiteY1" fmla="*/ 0 h 42298"/>
                    <a:gd name="connsiteX2" fmla="*/ 42298 w 42298"/>
                    <a:gd name="connsiteY2" fmla="*/ 21161 h 42298"/>
                    <a:gd name="connsiteX3" fmla="*/ 21149 w 42298"/>
                    <a:gd name="connsiteY3" fmla="*/ 42298 h 42298"/>
                    <a:gd name="connsiteX4" fmla="*/ 0 w 42298"/>
                    <a:gd name="connsiteY4" fmla="*/ 21161 h 422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42298" h="42298">
                      <a:moveTo>
                        <a:pt x="0" y="21161"/>
                      </a:moveTo>
                      <a:cubicBezTo>
                        <a:pt x="0" y="9479"/>
                        <a:pt x="9479" y="0"/>
                        <a:pt x="21149" y="0"/>
                      </a:cubicBezTo>
                      <a:cubicBezTo>
                        <a:pt x="32820" y="0"/>
                        <a:pt x="42298" y="9479"/>
                        <a:pt x="42298" y="21161"/>
                      </a:cubicBezTo>
                      <a:cubicBezTo>
                        <a:pt x="42298" y="32843"/>
                        <a:pt x="32820" y="42298"/>
                        <a:pt x="21149" y="42298"/>
                      </a:cubicBezTo>
                      <a:cubicBezTo>
                        <a:pt x="9479" y="42298"/>
                        <a:pt x="0" y="32832"/>
                        <a:pt x="0" y="21161"/>
                      </a:cubicBezTo>
                      <a:close/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grpSp>
          <p:nvGrpSpPr>
            <p:cNvPr id="1524" name="Gráfico 14">
              <a:extLst>
                <a:ext uri="{FF2B5EF4-FFF2-40B4-BE49-F238E27FC236}">
                  <a16:creationId xmlns:a16="http://schemas.microsoft.com/office/drawing/2014/main" id="{B0FAE7FB-B7A2-6C29-8AAA-941AA0BFD89C}"/>
                </a:ext>
              </a:extLst>
            </p:cNvPr>
            <p:cNvGrpSpPr/>
            <p:nvPr/>
          </p:nvGrpSpPr>
          <p:grpSpPr>
            <a:xfrm>
              <a:off x="2745296" y="5332994"/>
              <a:ext cx="1184" cy="148411"/>
              <a:chOff x="2745296" y="5332994"/>
              <a:chExt cx="1184" cy="148411"/>
            </a:xfrm>
          </p:grpSpPr>
          <p:sp>
            <p:nvSpPr>
              <p:cNvPr id="1525" name="Forma livre: Forma 1524">
                <a:extLst>
                  <a:ext uri="{FF2B5EF4-FFF2-40B4-BE49-F238E27FC236}">
                    <a16:creationId xmlns:a16="http://schemas.microsoft.com/office/drawing/2014/main" id="{0DC5D2BD-EB6C-3F5D-0476-D2317743D781}"/>
                  </a:ext>
                </a:extLst>
              </p:cNvPr>
              <p:cNvSpPr/>
              <p:nvPr/>
            </p:nvSpPr>
            <p:spPr>
              <a:xfrm>
                <a:off x="2745296" y="5332994"/>
                <a:ext cx="1184" cy="61148"/>
              </a:xfrm>
              <a:custGeom>
                <a:avLst/>
                <a:gdLst>
                  <a:gd name="connsiteX0" fmla="*/ 0 w 1184"/>
                  <a:gd name="connsiteY0" fmla="*/ 0 h 61148"/>
                  <a:gd name="connsiteX1" fmla="*/ 0 w 1184"/>
                  <a:gd name="connsiteY1" fmla="*/ 61149 h 611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84" h="61148">
                    <a:moveTo>
                      <a:pt x="0" y="0"/>
                    </a:moveTo>
                    <a:lnTo>
                      <a:pt x="0" y="61149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526" name="Forma livre: Forma 1525">
                <a:extLst>
                  <a:ext uri="{FF2B5EF4-FFF2-40B4-BE49-F238E27FC236}">
                    <a16:creationId xmlns:a16="http://schemas.microsoft.com/office/drawing/2014/main" id="{018BF275-D265-AD99-C8B0-A71BE340B40D}"/>
                  </a:ext>
                </a:extLst>
              </p:cNvPr>
              <p:cNvSpPr/>
              <p:nvPr/>
            </p:nvSpPr>
            <p:spPr>
              <a:xfrm>
                <a:off x="2745296" y="5417698"/>
                <a:ext cx="1184" cy="30461"/>
              </a:xfrm>
              <a:custGeom>
                <a:avLst/>
                <a:gdLst>
                  <a:gd name="connsiteX0" fmla="*/ 0 w 1184"/>
                  <a:gd name="connsiteY0" fmla="*/ 0 h 30461"/>
                  <a:gd name="connsiteX1" fmla="*/ 0 w 1184"/>
                  <a:gd name="connsiteY1" fmla="*/ 30462 h 304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84" h="30461">
                    <a:moveTo>
                      <a:pt x="0" y="0"/>
                    </a:moveTo>
                    <a:lnTo>
                      <a:pt x="0" y="30462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527" name="Forma livre: Forma 1526">
                <a:extLst>
                  <a:ext uri="{FF2B5EF4-FFF2-40B4-BE49-F238E27FC236}">
                    <a16:creationId xmlns:a16="http://schemas.microsoft.com/office/drawing/2014/main" id="{D06ADB91-A5D6-3CA1-7990-79447888BE8B}"/>
                  </a:ext>
                </a:extLst>
              </p:cNvPr>
              <p:cNvSpPr/>
              <p:nvPr/>
            </p:nvSpPr>
            <p:spPr>
              <a:xfrm>
                <a:off x="2745296" y="5471714"/>
                <a:ext cx="1184" cy="9691"/>
              </a:xfrm>
              <a:custGeom>
                <a:avLst/>
                <a:gdLst>
                  <a:gd name="connsiteX0" fmla="*/ 0 w 1184"/>
                  <a:gd name="connsiteY0" fmla="*/ 0 h 9691"/>
                  <a:gd name="connsiteX1" fmla="*/ 0 w 1184"/>
                  <a:gd name="connsiteY1" fmla="*/ 9692 h 96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84" h="9691">
                    <a:moveTo>
                      <a:pt x="0" y="0"/>
                    </a:moveTo>
                    <a:lnTo>
                      <a:pt x="0" y="9692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529" name="Gráfico 15">
            <a:extLst>
              <a:ext uri="{FF2B5EF4-FFF2-40B4-BE49-F238E27FC236}">
                <a16:creationId xmlns:a16="http://schemas.microsoft.com/office/drawing/2014/main" id="{9974AF1B-17CB-3348-83C5-51F62DF2560D}"/>
              </a:ext>
            </a:extLst>
          </p:cNvPr>
          <p:cNvGrpSpPr/>
          <p:nvPr/>
        </p:nvGrpSpPr>
        <p:grpSpPr>
          <a:xfrm>
            <a:off x="5036242" y="4099679"/>
            <a:ext cx="250325" cy="344127"/>
            <a:chOff x="5036242" y="4099679"/>
            <a:chExt cx="250325" cy="344127"/>
          </a:xfrm>
          <a:noFill/>
        </p:grpSpPr>
        <p:sp>
          <p:nvSpPr>
            <p:cNvPr id="1530" name="Forma livre: Forma 1529">
              <a:extLst>
                <a:ext uri="{FF2B5EF4-FFF2-40B4-BE49-F238E27FC236}">
                  <a16:creationId xmlns:a16="http://schemas.microsoft.com/office/drawing/2014/main" id="{E782977D-EC71-F5BA-8CAE-7F88B4232C6F}"/>
                </a:ext>
              </a:extLst>
            </p:cNvPr>
            <p:cNvSpPr/>
            <p:nvPr/>
          </p:nvSpPr>
          <p:spPr>
            <a:xfrm>
              <a:off x="5102402" y="4286006"/>
              <a:ext cx="157786" cy="157800"/>
            </a:xfrm>
            <a:custGeom>
              <a:avLst/>
              <a:gdLst>
                <a:gd name="connsiteX0" fmla="*/ 37271 w 157786"/>
                <a:gd name="connsiteY0" fmla="*/ 11853 h 157800"/>
                <a:gd name="connsiteX1" fmla="*/ 68860 w 157786"/>
                <a:gd name="connsiteY1" fmla="*/ 649 h 157800"/>
                <a:gd name="connsiteX2" fmla="*/ 157139 w 157786"/>
                <a:gd name="connsiteY2" fmla="*/ 68874 h 157800"/>
                <a:gd name="connsiteX3" fmla="*/ 88915 w 157786"/>
                <a:gd name="connsiteY3" fmla="*/ 157153 h 157800"/>
                <a:gd name="connsiteX4" fmla="*/ 647 w 157786"/>
                <a:gd name="connsiteY4" fmla="*/ 88929 h 157800"/>
                <a:gd name="connsiteX5" fmla="*/ 17251 w 157786"/>
                <a:gd name="connsiteY5" fmla="*/ 29686 h 157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57786" h="157800">
                  <a:moveTo>
                    <a:pt x="37271" y="11853"/>
                  </a:moveTo>
                  <a:cubicBezTo>
                    <a:pt x="46583" y="6062"/>
                    <a:pt x="57267" y="2127"/>
                    <a:pt x="68860" y="649"/>
                  </a:cubicBezTo>
                  <a:cubicBezTo>
                    <a:pt x="112066" y="-4893"/>
                    <a:pt x="151597" y="25656"/>
                    <a:pt x="157139" y="68874"/>
                  </a:cubicBezTo>
                  <a:cubicBezTo>
                    <a:pt x="162670" y="112092"/>
                    <a:pt x="132121" y="151611"/>
                    <a:pt x="88915" y="157153"/>
                  </a:cubicBezTo>
                  <a:cubicBezTo>
                    <a:pt x="45709" y="162684"/>
                    <a:pt x="6190" y="132147"/>
                    <a:pt x="647" y="88929"/>
                  </a:cubicBezTo>
                  <a:cubicBezTo>
                    <a:pt x="-2177" y="66877"/>
                    <a:pt x="4405" y="45794"/>
                    <a:pt x="17251" y="29686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31" name="Forma livre: Forma 1530">
              <a:extLst>
                <a:ext uri="{FF2B5EF4-FFF2-40B4-BE49-F238E27FC236}">
                  <a16:creationId xmlns:a16="http://schemas.microsoft.com/office/drawing/2014/main" id="{EF82A0C0-18AB-C23B-2F22-24CB405D35EA}"/>
                </a:ext>
              </a:extLst>
            </p:cNvPr>
            <p:cNvSpPr/>
            <p:nvPr/>
          </p:nvSpPr>
          <p:spPr>
            <a:xfrm>
              <a:off x="5154315" y="4325761"/>
              <a:ext cx="53936" cy="78269"/>
            </a:xfrm>
            <a:custGeom>
              <a:avLst/>
              <a:gdLst>
                <a:gd name="connsiteX0" fmla="*/ 53937 w 53936"/>
                <a:gd name="connsiteY0" fmla="*/ 0 h 78269"/>
                <a:gd name="connsiteX1" fmla="*/ 0 w 53936"/>
                <a:gd name="connsiteY1" fmla="*/ 78270 h 782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3936" h="78269">
                  <a:moveTo>
                    <a:pt x="53937" y="0"/>
                  </a:moveTo>
                  <a:lnTo>
                    <a:pt x="0" y="7827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32" name="Forma livre: Forma 1531">
              <a:extLst>
                <a:ext uri="{FF2B5EF4-FFF2-40B4-BE49-F238E27FC236}">
                  <a16:creationId xmlns:a16="http://schemas.microsoft.com/office/drawing/2014/main" id="{B09CF0EE-3D37-17C7-0288-4BE159A04397}"/>
                </a:ext>
              </a:extLst>
            </p:cNvPr>
            <p:cNvSpPr/>
            <p:nvPr/>
          </p:nvSpPr>
          <p:spPr>
            <a:xfrm>
              <a:off x="5139873" y="4321424"/>
              <a:ext cx="30230" cy="30241"/>
            </a:xfrm>
            <a:custGeom>
              <a:avLst/>
              <a:gdLst>
                <a:gd name="connsiteX0" fmla="*/ 30230 w 30230"/>
                <a:gd name="connsiteY0" fmla="*/ 15115 h 30241"/>
                <a:gd name="connsiteX1" fmla="*/ 15115 w 30230"/>
                <a:gd name="connsiteY1" fmla="*/ 30242 h 30241"/>
                <a:gd name="connsiteX2" fmla="*/ 0 w 30230"/>
                <a:gd name="connsiteY2" fmla="*/ 15115 h 30241"/>
                <a:gd name="connsiteX3" fmla="*/ 15115 w 30230"/>
                <a:gd name="connsiteY3" fmla="*/ 0 h 30241"/>
                <a:gd name="connsiteX4" fmla="*/ 30230 w 30230"/>
                <a:gd name="connsiteY4" fmla="*/ 15115 h 302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0230" h="30241">
                  <a:moveTo>
                    <a:pt x="30230" y="15115"/>
                  </a:moveTo>
                  <a:cubicBezTo>
                    <a:pt x="30230" y="23459"/>
                    <a:pt x="23458" y="30242"/>
                    <a:pt x="15115" y="30242"/>
                  </a:cubicBezTo>
                  <a:cubicBezTo>
                    <a:pt x="6772" y="30242"/>
                    <a:pt x="0" y="23470"/>
                    <a:pt x="0" y="15115"/>
                  </a:cubicBezTo>
                  <a:cubicBezTo>
                    <a:pt x="0" y="6760"/>
                    <a:pt x="6760" y="0"/>
                    <a:pt x="15115" y="0"/>
                  </a:cubicBezTo>
                  <a:cubicBezTo>
                    <a:pt x="23470" y="0"/>
                    <a:pt x="30230" y="6772"/>
                    <a:pt x="30230" y="15115"/>
                  </a:cubicBez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33" name="Forma livre: Forma 1532">
              <a:extLst>
                <a:ext uri="{FF2B5EF4-FFF2-40B4-BE49-F238E27FC236}">
                  <a16:creationId xmlns:a16="http://schemas.microsoft.com/office/drawing/2014/main" id="{F179F3DA-3097-AD0F-B964-DAA45C82A4D9}"/>
                </a:ext>
              </a:extLst>
            </p:cNvPr>
            <p:cNvSpPr/>
            <p:nvPr/>
          </p:nvSpPr>
          <p:spPr>
            <a:xfrm>
              <a:off x="5192463" y="4378137"/>
              <a:ext cx="30230" cy="30230"/>
            </a:xfrm>
            <a:custGeom>
              <a:avLst/>
              <a:gdLst>
                <a:gd name="connsiteX0" fmla="*/ 30230 w 30230"/>
                <a:gd name="connsiteY0" fmla="*/ 15103 h 30230"/>
                <a:gd name="connsiteX1" fmla="*/ 15115 w 30230"/>
                <a:gd name="connsiteY1" fmla="*/ 30230 h 30230"/>
                <a:gd name="connsiteX2" fmla="*/ 0 w 30230"/>
                <a:gd name="connsiteY2" fmla="*/ 15103 h 30230"/>
                <a:gd name="connsiteX3" fmla="*/ 15115 w 30230"/>
                <a:gd name="connsiteY3" fmla="*/ 0 h 30230"/>
                <a:gd name="connsiteX4" fmla="*/ 30230 w 30230"/>
                <a:gd name="connsiteY4" fmla="*/ 15103 h 302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0230" h="30230">
                  <a:moveTo>
                    <a:pt x="30230" y="15103"/>
                  </a:moveTo>
                  <a:cubicBezTo>
                    <a:pt x="30230" y="23459"/>
                    <a:pt x="23458" y="30230"/>
                    <a:pt x="15115" y="30230"/>
                  </a:cubicBezTo>
                  <a:cubicBezTo>
                    <a:pt x="6772" y="30230"/>
                    <a:pt x="0" y="23459"/>
                    <a:pt x="0" y="15103"/>
                  </a:cubicBezTo>
                  <a:cubicBezTo>
                    <a:pt x="0" y="6748"/>
                    <a:pt x="6772" y="0"/>
                    <a:pt x="15115" y="0"/>
                  </a:cubicBezTo>
                  <a:cubicBezTo>
                    <a:pt x="23458" y="0"/>
                    <a:pt x="30230" y="6772"/>
                    <a:pt x="30230" y="15103"/>
                  </a:cubicBez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34" name="Forma livre: Forma 1533">
              <a:extLst>
                <a:ext uri="{FF2B5EF4-FFF2-40B4-BE49-F238E27FC236}">
                  <a16:creationId xmlns:a16="http://schemas.microsoft.com/office/drawing/2014/main" id="{86C93B8E-8E65-85C6-06F4-442790CB8D57}"/>
                </a:ext>
              </a:extLst>
            </p:cNvPr>
            <p:cNvSpPr/>
            <p:nvPr/>
          </p:nvSpPr>
          <p:spPr>
            <a:xfrm>
              <a:off x="5036254" y="4241688"/>
              <a:ext cx="127632" cy="29544"/>
            </a:xfrm>
            <a:custGeom>
              <a:avLst/>
              <a:gdLst>
                <a:gd name="connsiteX0" fmla="*/ 127633 w 127632"/>
                <a:gd name="connsiteY0" fmla="*/ 0 h 29544"/>
                <a:gd name="connsiteX1" fmla="*/ 63816 w 127632"/>
                <a:gd name="connsiteY1" fmla="*/ 29545 h 29544"/>
                <a:gd name="connsiteX2" fmla="*/ 0 w 127632"/>
                <a:gd name="connsiteY2" fmla="*/ 0 h 295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7632" h="29544">
                  <a:moveTo>
                    <a:pt x="127633" y="0"/>
                  </a:moveTo>
                  <a:cubicBezTo>
                    <a:pt x="127633" y="16309"/>
                    <a:pt x="99057" y="29545"/>
                    <a:pt x="63816" y="29545"/>
                  </a:cubicBezTo>
                  <a:cubicBezTo>
                    <a:pt x="28576" y="29545"/>
                    <a:pt x="0" y="16309"/>
                    <a:pt x="0" y="0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35" name="Forma livre: Forma 1534">
              <a:extLst>
                <a:ext uri="{FF2B5EF4-FFF2-40B4-BE49-F238E27FC236}">
                  <a16:creationId xmlns:a16="http://schemas.microsoft.com/office/drawing/2014/main" id="{E1138FD6-DED7-C56B-E0B8-D9F4A384E8E3}"/>
                </a:ext>
              </a:extLst>
            </p:cNvPr>
            <p:cNvSpPr/>
            <p:nvPr/>
          </p:nvSpPr>
          <p:spPr>
            <a:xfrm>
              <a:off x="5036242" y="4278324"/>
              <a:ext cx="63816" cy="29544"/>
            </a:xfrm>
            <a:custGeom>
              <a:avLst/>
              <a:gdLst>
                <a:gd name="connsiteX0" fmla="*/ 0 w 63816"/>
                <a:gd name="connsiteY0" fmla="*/ 0 h 29544"/>
                <a:gd name="connsiteX1" fmla="*/ 60827 w 63816"/>
                <a:gd name="connsiteY1" fmla="*/ 29509 h 29544"/>
                <a:gd name="connsiteX2" fmla="*/ 63816 w 63816"/>
                <a:gd name="connsiteY2" fmla="*/ 29545 h 295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3816" h="29544">
                  <a:moveTo>
                    <a:pt x="0" y="0"/>
                  </a:moveTo>
                  <a:cubicBezTo>
                    <a:pt x="0" y="15848"/>
                    <a:pt x="26968" y="28788"/>
                    <a:pt x="60827" y="29509"/>
                  </a:cubicBezTo>
                  <a:cubicBezTo>
                    <a:pt x="61819" y="29533"/>
                    <a:pt x="62812" y="29545"/>
                    <a:pt x="63816" y="29545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36" name="Forma livre: Forma 1535">
              <a:extLst>
                <a:ext uri="{FF2B5EF4-FFF2-40B4-BE49-F238E27FC236}">
                  <a16:creationId xmlns:a16="http://schemas.microsoft.com/office/drawing/2014/main" id="{12F27CAF-06E0-BD5E-1BD0-616DC9E23A65}"/>
                </a:ext>
              </a:extLst>
            </p:cNvPr>
            <p:cNvSpPr/>
            <p:nvPr/>
          </p:nvSpPr>
          <p:spPr>
            <a:xfrm>
              <a:off x="5036313" y="4314959"/>
              <a:ext cx="49540" cy="28823"/>
            </a:xfrm>
            <a:custGeom>
              <a:avLst/>
              <a:gdLst>
                <a:gd name="connsiteX0" fmla="*/ 49540 w 49540"/>
                <a:gd name="connsiteY0" fmla="*/ 28824 h 28823"/>
                <a:gd name="connsiteX1" fmla="*/ 0 w 49540"/>
                <a:gd name="connsiteY1" fmla="*/ 0 h 288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9540" h="28823">
                  <a:moveTo>
                    <a:pt x="49540" y="28824"/>
                  </a:moveTo>
                  <a:cubicBezTo>
                    <a:pt x="21130" y="25846"/>
                    <a:pt x="0" y="14075"/>
                    <a:pt x="0" y="0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37" name="Forma livre: Forma 1536">
              <a:extLst>
                <a:ext uri="{FF2B5EF4-FFF2-40B4-BE49-F238E27FC236}">
                  <a16:creationId xmlns:a16="http://schemas.microsoft.com/office/drawing/2014/main" id="{ABCA7931-12D2-D0EA-EEEC-A72CC6EA48E4}"/>
                </a:ext>
              </a:extLst>
            </p:cNvPr>
            <p:cNvSpPr/>
            <p:nvPr/>
          </p:nvSpPr>
          <p:spPr>
            <a:xfrm>
              <a:off x="5036254" y="4233168"/>
              <a:ext cx="63816" cy="148267"/>
            </a:xfrm>
            <a:custGeom>
              <a:avLst/>
              <a:gdLst>
                <a:gd name="connsiteX0" fmla="*/ 63816 w 63816"/>
                <a:gd name="connsiteY0" fmla="*/ 148267 h 148267"/>
                <a:gd name="connsiteX1" fmla="*/ 50959 w 63816"/>
                <a:gd name="connsiteY1" fmla="*/ 147664 h 148267"/>
                <a:gd name="connsiteX2" fmla="*/ 0 w 63816"/>
                <a:gd name="connsiteY2" fmla="*/ 118722 h 148267"/>
                <a:gd name="connsiteX3" fmla="*/ 0 w 63816"/>
                <a:gd name="connsiteY3" fmla="*/ 0 h 1482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3816" h="148267">
                  <a:moveTo>
                    <a:pt x="63816" y="148267"/>
                  </a:moveTo>
                  <a:cubicBezTo>
                    <a:pt x="59408" y="148267"/>
                    <a:pt x="55107" y="148054"/>
                    <a:pt x="50959" y="147664"/>
                  </a:cubicBezTo>
                  <a:cubicBezTo>
                    <a:pt x="21875" y="144911"/>
                    <a:pt x="0" y="132998"/>
                    <a:pt x="0" y="118722"/>
                  </a:cubicBezTo>
                  <a:lnTo>
                    <a:pt x="0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38" name="Forma livre: Forma 1537">
              <a:extLst>
                <a:ext uri="{FF2B5EF4-FFF2-40B4-BE49-F238E27FC236}">
                  <a16:creationId xmlns:a16="http://schemas.microsoft.com/office/drawing/2014/main" id="{8D3297A7-73C8-9BD8-F06A-F00A94EF02D3}"/>
                </a:ext>
              </a:extLst>
            </p:cNvPr>
            <p:cNvSpPr/>
            <p:nvPr/>
          </p:nvSpPr>
          <p:spPr>
            <a:xfrm>
              <a:off x="5163887" y="4205195"/>
              <a:ext cx="1181" cy="65754"/>
            </a:xfrm>
            <a:custGeom>
              <a:avLst/>
              <a:gdLst>
                <a:gd name="connsiteX0" fmla="*/ 0 w 1181"/>
                <a:gd name="connsiteY0" fmla="*/ 0 h 65754"/>
                <a:gd name="connsiteX1" fmla="*/ 0 w 1181"/>
                <a:gd name="connsiteY1" fmla="*/ 65755 h 657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81" h="65754">
                  <a:moveTo>
                    <a:pt x="0" y="0"/>
                  </a:moveTo>
                  <a:lnTo>
                    <a:pt x="0" y="65755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39" name="Forma livre: Forma 1538">
              <a:extLst>
                <a:ext uri="{FF2B5EF4-FFF2-40B4-BE49-F238E27FC236}">
                  <a16:creationId xmlns:a16="http://schemas.microsoft.com/office/drawing/2014/main" id="{A1807D6C-AF35-56E3-9967-B5BCBAD176E1}"/>
                </a:ext>
              </a:extLst>
            </p:cNvPr>
            <p:cNvSpPr/>
            <p:nvPr/>
          </p:nvSpPr>
          <p:spPr>
            <a:xfrm>
              <a:off x="5036254" y="4175709"/>
              <a:ext cx="127632" cy="59089"/>
            </a:xfrm>
            <a:custGeom>
              <a:avLst/>
              <a:gdLst>
                <a:gd name="connsiteX0" fmla="*/ 127633 w 127632"/>
                <a:gd name="connsiteY0" fmla="*/ 29545 h 59089"/>
                <a:gd name="connsiteX1" fmla="*/ 63816 w 127632"/>
                <a:gd name="connsiteY1" fmla="*/ 59089 h 59089"/>
                <a:gd name="connsiteX2" fmla="*/ 0 w 127632"/>
                <a:gd name="connsiteY2" fmla="*/ 29545 h 59089"/>
                <a:gd name="connsiteX3" fmla="*/ 63816 w 127632"/>
                <a:gd name="connsiteY3" fmla="*/ 0 h 59089"/>
                <a:gd name="connsiteX4" fmla="*/ 127633 w 127632"/>
                <a:gd name="connsiteY4" fmla="*/ 29545 h 590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7632" h="59089">
                  <a:moveTo>
                    <a:pt x="127633" y="29545"/>
                  </a:moveTo>
                  <a:cubicBezTo>
                    <a:pt x="127633" y="45862"/>
                    <a:pt x="99061" y="59089"/>
                    <a:pt x="63816" y="59089"/>
                  </a:cubicBezTo>
                  <a:cubicBezTo>
                    <a:pt x="28572" y="59089"/>
                    <a:pt x="0" y="45862"/>
                    <a:pt x="0" y="29545"/>
                  </a:cubicBezTo>
                  <a:cubicBezTo>
                    <a:pt x="0" y="13228"/>
                    <a:pt x="28572" y="0"/>
                    <a:pt x="63816" y="0"/>
                  </a:cubicBezTo>
                  <a:cubicBezTo>
                    <a:pt x="99061" y="0"/>
                    <a:pt x="127633" y="13228"/>
                    <a:pt x="127633" y="29545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540" name="Gráfico 15">
              <a:extLst>
                <a:ext uri="{FF2B5EF4-FFF2-40B4-BE49-F238E27FC236}">
                  <a16:creationId xmlns:a16="http://schemas.microsoft.com/office/drawing/2014/main" id="{4374EDB2-8AD4-F2A0-3001-FA2224575F32}"/>
                </a:ext>
              </a:extLst>
            </p:cNvPr>
            <p:cNvGrpSpPr/>
            <p:nvPr/>
          </p:nvGrpSpPr>
          <p:grpSpPr>
            <a:xfrm>
              <a:off x="5167383" y="4099679"/>
              <a:ext cx="119183" cy="186101"/>
              <a:chOff x="5167383" y="4099679"/>
              <a:chExt cx="119183" cy="186101"/>
            </a:xfrm>
            <a:noFill/>
          </p:grpSpPr>
          <p:sp>
            <p:nvSpPr>
              <p:cNvPr id="1541" name="Forma livre: Forma 1540">
                <a:extLst>
                  <a:ext uri="{FF2B5EF4-FFF2-40B4-BE49-F238E27FC236}">
                    <a16:creationId xmlns:a16="http://schemas.microsoft.com/office/drawing/2014/main" id="{62BA59CA-4CF1-C841-D001-8DBDBEC02A4F}"/>
                  </a:ext>
                </a:extLst>
              </p:cNvPr>
              <p:cNvSpPr/>
              <p:nvPr/>
            </p:nvSpPr>
            <p:spPr>
              <a:xfrm>
                <a:off x="5255251" y="4220298"/>
                <a:ext cx="1181" cy="31778"/>
              </a:xfrm>
              <a:custGeom>
                <a:avLst/>
                <a:gdLst>
                  <a:gd name="connsiteX0" fmla="*/ 0 w 1181"/>
                  <a:gd name="connsiteY0" fmla="*/ 0 h 31778"/>
                  <a:gd name="connsiteX1" fmla="*/ 0 w 1181"/>
                  <a:gd name="connsiteY1" fmla="*/ 31778 h 317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81" h="31778">
                    <a:moveTo>
                      <a:pt x="0" y="0"/>
                    </a:moveTo>
                    <a:lnTo>
                      <a:pt x="0" y="31778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542" name="Forma livre: Forma 1541">
                <a:extLst>
                  <a:ext uri="{FF2B5EF4-FFF2-40B4-BE49-F238E27FC236}">
                    <a16:creationId xmlns:a16="http://schemas.microsoft.com/office/drawing/2014/main" id="{7E20CEA1-AA2B-08F9-72DF-83EF70660354}"/>
                  </a:ext>
                </a:extLst>
              </p:cNvPr>
              <p:cNvSpPr/>
              <p:nvPr/>
            </p:nvSpPr>
            <p:spPr>
              <a:xfrm>
                <a:off x="5255251" y="4275712"/>
                <a:ext cx="1181" cy="10068"/>
              </a:xfrm>
              <a:custGeom>
                <a:avLst/>
                <a:gdLst>
                  <a:gd name="connsiteX0" fmla="*/ 0 w 1181"/>
                  <a:gd name="connsiteY0" fmla="*/ 0 h 10068"/>
                  <a:gd name="connsiteX1" fmla="*/ 0 w 1181"/>
                  <a:gd name="connsiteY1" fmla="*/ 10069 h 100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81" h="10068">
                    <a:moveTo>
                      <a:pt x="0" y="0"/>
                    </a:moveTo>
                    <a:lnTo>
                      <a:pt x="0" y="10069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543" name="Forma livre: Forma 1542">
                <a:extLst>
                  <a:ext uri="{FF2B5EF4-FFF2-40B4-BE49-F238E27FC236}">
                    <a16:creationId xmlns:a16="http://schemas.microsoft.com/office/drawing/2014/main" id="{EEC438E6-6EEF-CD84-9DFD-35A66BD548E9}"/>
                  </a:ext>
                </a:extLst>
              </p:cNvPr>
              <p:cNvSpPr/>
              <p:nvPr/>
            </p:nvSpPr>
            <p:spPr>
              <a:xfrm>
                <a:off x="5200700" y="4241145"/>
                <a:ext cx="1181" cy="18175"/>
              </a:xfrm>
              <a:custGeom>
                <a:avLst/>
                <a:gdLst>
                  <a:gd name="connsiteX0" fmla="*/ 0 w 1181"/>
                  <a:gd name="connsiteY0" fmla="*/ 0 h 18175"/>
                  <a:gd name="connsiteX1" fmla="*/ 0 w 1181"/>
                  <a:gd name="connsiteY1" fmla="*/ 18176 h 181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81" h="18175">
                    <a:moveTo>
                      <a:pt x="0" y="0"/>
                    </a:moveTo>
                    <a:lnTo>
                      <a:pt x="0" y="18176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544" name="Forma livre: Forma 1543">
                <a:extLst>
                  <a:ext uri="{FF2B5EF4-FFF2-40B4-BE49-F238E27FC236}">
                    <a16:creationId xmlns:a16="http://schemas.microsoft.com/office/drawing/2014/main" id="{61C2D6A3-D109-B44D-5A38-49AC2A454FF1}"/>
                  </a:ext>
                </a:extLst>
              </p:cNvPr>
              <p:cNvSpPr/>
              <p:nvPr/>
            </p:nvSpPr>
            <p:spPr>
              <a:xfrm>
                <a:off x="5167383" y="4099679"/>
                <a:ext cx="119183" cy="117735"/>
              </a:xfrm>
              <a:custGeom>
                <a:avLst/>
                <a:gdLst>
                  <a:gd name="connsiteX0" fmla="*/ 87867 w 119183"/>
                  <a:gd name="connsiteY0" fmla="*/ 97031 h 117735"/>
                  <a:gd name="connsiteX1" fmla="*/ 87867 w 119183"/>
                  <a:gd name="connsiteY1" fmla="*/ 66682 h 117735"/>
                  <a:gd name="connsiteX2" fmla="*/ 113264 w 119183"/>
                  <a:gd name="connsiteY2" fmla="*/ 66682 h 117735"/>
                  <a:gd name="connsiteX3" fmla="*/ 118464 w 119183"/>
                  <a:gd name="connsiteY3" fmla="*/ 62806 h 117735"/>
                  <a:gd name="connsiteX4" fmla="*/ 117436 w 119183"/>
                  <a:gd name="connsiteY4" fmla="*/ 53978 h 117735"/>
                  <a:gd name="connsiteX5" fmla="*/ 66087 w 119183"/>
                  <a:gd name="connsiteY5" fmla="*/ 2677 h 117735"/>
                  <a:gd name="connsiteX6" fmla="*/ 53111 w 119183"/>
                  <a:gd name="connsiteY6" fmla="*/ 2677 h 117735"/>
                  <a:gd name="connsiteX7" fmla="*/ 1999 w 119183"/>
                  <a:gd name="connsiteY7" fmla="*/ 53978 h 117735"/>
                  <a:gd name="connsiteX8" fmla="*/ 628 w 119183"/>
                  <a:gd name="connsiteY8" fmla="*/ 62723 h 117735"/>
                  <a:gd name="connsiteX9" fmla="*/ 6880 w 119183"/>
                  <a:gd name="connsiteY9" fmla="*/ 66694 h 117735"/>
                  <a:gd name="connsiteX10" fmla="*/ 33304 w 119183"/>
                  <a:gd name="connsiteY10" fmla="*/ 66694 h 117735"/>
                  <a:gd name="connsiteX11" fmla="*/ 33304 w 119183"/>
                  <a:gd name="connsiteY11" fmla="*/ 117736 h 1177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19183" h="117735">
                    <a:moveTo>
                      <a:pt x="87867" y="97031"/>
                    </a:moveTo>
                    <a:lnTo>
                      <a:pt x="87867" y="66682"/>
                    </a:lnTo>
                    <a:lnTo>
                      <a:pt x="113264" y="66682"/>
                    </a:lnTo>
                    <a:cubicBezTo>
                      <a:pt x="116384" y="66682"/>
                      <a:pt x="117861" y="64248"/>
                      <a:pt x="118464" y="62806"/>
                    </a:cubicBezTo>
                    <a:cubicBezTo>
                      <a:pt x="119728" y="59722"/>
                      <a:pt x="119291" y="55845"/>
                      <a:pt x="117436" y="53978"/>
                    </a:cubicBezTo>
                    <a:lnTo>
                      <a:pt x="66087" y="2677"/>
                    </a:lnTo>
                    <a:cubicBezTo>
                      <a:pt x="62495" y="-892"/>
                      <a:pt x="56668" y="-892"/>
                      <a:pt x="53111" y="2677"/>
                    </a:cubicBezTo>
                    <a:lnTo>
                      <a:pt x="1999" y="53978"/>
                    </a:lnTo>
                    <a:cubicBezTo>
                      <a:pt x="13" y="55964"/>
                      <a:pt x="-589" y="59793"/>
                      <a:pt x="628" y="62723"/>
                    </a:cubicBezTo>
                    <a:cubicBezTo>
                      <a:pt x="1703" y="65288"/>
                      <a:pt x="3925" y="66694"/>
                      <a:pt x="6880" y="66694"/>
                    </a:cubicBezTo>
                    <a:lnTo>
                      <a:pt x="33304" y="66694"/>
                    </a:lnTo>
                    <a:cubicBezTo>
                      <a:pt x="33304" y="66694"/>
                      <a:pt x="33304" y="117736"/>
                      <a:pt x="33304" y="117736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545" name="Gráfico 15">
            <a:extLst>
              <a:ext uri="{FF2B5EF4-FFF2-40B4-BE49-F238E27FC236}">
                <a16:creationId xmlns:a16="http://schemas.microsoft.com/office/drawing/2014/main" id="{374CC72A-6B4E-8058-8B31-4081F98F2918}"/>
              </a:ext>
            </a:extLst>
          </p:cNvPr>
          <p:cNvGrpSpPr/>
          <p:nvPr/>
        </p:nvGrpSpPr>
        <p:grpSpPr>
          <a:xfrm>
            <a:off x="4407142" y="4102497"/>
            <a:ext cx="273242" cy="338460"/>
            <a:chOff x="4407142" y="4102497"/>
            <a:chExt cx="273242" cy="338460"/>
          </a:xfrm>
          <a:noFill/>
        </p:grpSpPr>
        <p:sp>
          <p:nvSpPr>
            <p:cNvPr id="1546" name="Forma livre: Forma 1545">
              <a:extLst>
                <a:ext uri="{FF2B5EF4-FFF2-40B4-BE49-F238E27FC236}">
                  <a16:creationId xmlns:a16="http://schemas.microsoft.com/office/drawing/2014/main" id="{6F044D6D-7DD7-D73A-15C0-1FD54A27F4A3}"/>
                </a:ext>
              </a:extLst>
            </p:cNvPr>
            <p:cNvSpPr/>
            <p:nvPr/>
          </p:nvSpPr>
          <p:spPr>
            <a:xfrm>
              <a:off x="4473301" y="4283158"/>
              <a:ext cx="157786" cy="157800"/>
            </a:xfrm>
            <a:custGeom>
              <a:avLst/>
              <a:gdLst>
                <a:gd name="connsiteX0" fmla="*/ 37271 w 157786"/>
                <a:gd name="connsiteY0" fmla="*/ 11853 h 157800"/>
                <a:gd name="connsiteX1" fmla="*/ 68860 w 157786"/>
                <a:gd name="connsiteY1" fmla="*/ 649 h 157800"/>
                <a:gd name="connsiteX2" fmla="*/ 157139 w 157786"/>
                <a:gd name="connsiteY2" fmla="*/ 68874 h 157800"/>
                <a:gd name="connsiteX3" fmla="*/ 88915 w 157786"/>
                <a:gd name="connsiteY3" fmla="*/ 157154 h 157800"/>
                <a:gd name="connsiteX4" fmla="*/ 647 w 157786"/>
                <a:gd name="connsiteY4" fmla="*/ 88929 h 157800"/>
                <a:gd name="connsiteX5" fmla="*/ 17251 w 157786"/>
                <a:gd name="connsiteY5" fmla="*/ 29686 h 157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57786" h="157800">
                  <a:moveTo>
                    <a:pt x="37271" y="11853"/>
                  </a:moveTo>
                  <a:cubicBezTo>
                    <a:pt x="46583" y="6062"/>
                    <a:pt x="57266" y="2127"/>
                    <a:pt x="68860" y="649"/>
                  </a:cubicBezTo>
                  <a:cubicBezTo>
                    <a:pt x="112066" y="-4893"/>
                    <a:pt x="151597" y="25656"/>
                    <a:pt x="157139" y="68874"/>
                  </a:cubicBezTo>
                  <a:cubicBezTo>
                    <a:pt x="162670" y="112092"/>
                    <a:pt x="132121" y="151611"/>
                    <a:pt x="88915" y="157154"/>
                  </a:cubicBezTo>
                  <a:cubicBezTo>
                    <a:pt x="45709" y="162684"/>
                    <a:pt x="6190" y="132147"/>
                    <a:pt x="647" y="88929"/>
                  </a:cubicBezTo>
                  <a:cubicBezTo>
                    <a:pt x="-2177" y="66877"/>
                    <a:pt x="4405" y="45794"/>
                    <a:pt x="17251" y="29686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47" name="Forma livre: Forma 1546">
              <a:extLst>
                <a:ext uri="{FF2B5EF4-FFF2-40B4-BE49-F238E27FC236}">
                  <a16:creationId xmlns:a16="http://schemas.microsoft.com/office/drawing/2014/main" id="{FF567D76-C3DA-D28C-A2AE-C2283B3EB41C}"/>
                </a:ext>
              </a:extLst>
            </p:cNvPr>
            <p:cNvSpPr/>
            <p:nvPr/>
          </p:nvSpPr>
          <p:spPr>
            <a:xfrm>
              <a:off x="4525214" y="4322913"/>
              <a:ext cx="53936" cy="78269"/>
            </a:xfrm>
            <a:custGeom>
              <a:avLst/>
              <a:gdLst>
                <a:gd name="connsiteX0" fmla="*/ 53937 w 53936"/>
                <a:gd name="connsiteY0" fmla="*/ 0 h 78269"/>
                <a:gd name="connsiteX1" fmla="*/ 0 w 53936"/>
                <a:gd name="connsiteY1" fmla="*/ 78270 h 782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3936" h="78269">
                  <a:moveTo>
                    <a:pt x="53937" y="0"/>
                  </a:moveTo>
                  <a:lnTo>
                    <a:pt x="0" y="7827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48" name="Forma livre: Forma 1547">
              <a:extLst>
                <a:ext uri="{FF2B5EF4-FFF2-40B4-BE49-F238E27FC236}">
                  <a16:creationId xmlns:a16="http://schemas.microsoft.com/office/drawing/2014/main" id="{13F19B72-AEC0-EF02-A177-CB7E5974C2A3}"/>
                </a:ext>
              </a:extLst>
            </p:cNvPr>
            <p:cNvSpPr/>
            <p:nvPr/>
          </p:nvSpPr>
          <p:spPr>
            <a:xfrm>
              <a:off x="4510773" y="4318587"/>
              <a:ext cx="30230" cy="30241"/>
            </a:xfrm>
            <a:custGeom>
              <a:avLst/>
              <a:gdLst>
                <a:gd name="connsiteX0" fmla="*/ 30230 w 30230"/>
                <a:gd name="connsiteY0" fmla="*/ 15115 h 30241"/>
                <a:gd name="connsiteX1" fmla="*/ 15115 w 30230"/>
                <a:gd name="connsiteY1" fmla="*/ 30242 h 30241"/>
                <a:gd name="connsiteX2" fmla="*/ 0 w 30230"/>
                <a:gd name="connsiteY2" fmla="*/ 15115 h 30241"/>
                <a:gd name="connsiteX3" fmla="*/ 15115 w 30230"/>
                <a:gd name="connsiteY3" fmla="*/ 0 h 30241"/>
                <a:gd name="connsiteX4" fmla="*/ 30230 w 30230"/>
                <a:gd name="connsiteY4" fmla="*/ 15115 h 302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0230" h="30241">
                  <a:moveTo>
                    <a:pt x="30230" y="15115"/>
                  </a:moveTo>
                  <a:cubicBezTo>
                    <a:pt x="30230" y="23458"/>
                    <a:pt x="23458" y="30242"/>
                    <a:pt x="15115" y="30242"/>
                  </a:cubicBezTo>
                  <a:cubicBezTo>
                    <a:pt x="6772" y="30242"/>
                    <a:pt x="0" y="23470"/>
                    <a:pt x="0" y="15115"/>
                  </a:cubicBezTo>
                  <a:cubicBezTo>
                    <a:pt x="0" y="6760"/>
                    <a:pt x="6760" y="0"/>
                    <a:pt x="15115" y="0"/>
                  </a:cubicBezTo>
                  <a:cubicBezTo>
                    <a:pt x="23470" y="0"/>
                    <a:pt x="30230" y="6772"/>
                    <a:pt x="30230" y="15115"/>
                  </a:cubicBez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49" name="Forma livre: Forma 1548">
              <a:extLst>
                <a:ext uri="{FF2B5EF4-FFF2-40B4-BE49-F238E27FC236}">
                  <a16:creationId xmlns:a16="http://schemas.microsoft.com/office/drawing/2014/main" id="{D3EB4690-112A-06EC-597E-1C785D056C6E}"/>
                </a:ext>
              </a:extLst>
            </p:cNvPr>
            <p:cNvSpPr/>
            <p:nvPr/>
          </p:nvSpPr>
          <p:spPr>
            <a:xfrm>
              <a:off x="4563362" y="4375289"/>
              <a:ext cx="30230" cy="30230"/>
            </a:xfrm>
            <a:custGeom>
              <a:avLst/>
              <a:gdLst>
                <a:gd name="connsiteX0" fmla="*/ 30230 w 30230"/>
                <a:gd name="connsiteY0" fmla="*/ 15103 h 30230"/>
                <a:gd name="connsiteX1" fmla="*/ 15115 w 30230"/>
                <a:gd name="connsiteY1" fmla="*/ 30230 h 30230"/>
                <a:gd name="connsiteX2" fmla="*/ 0 w 30230"/>
                <a:gd name="connsiteY2" fmla="*/ 15103 h 30230"/>
                <a:gd name="connsiteX3" fmla="*/ 15115 w 30230"/>
                <a:gd name="connsiteY3" fmla="*/ 0 h 30230"/>
                <a:gd name="connsiteX4" fmla="*/ 30230 w 30230"/>
                <a:gd name="connsiteY4" fmla="*/ 15103 h 302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0230" h="30230">
                  <a:moveTo>
                    <a:pt x="30230" y="15103"/>
                  </a:moveTo>
                  <a:cubicBezTo>
                    <a:pt x="30230" y="23458"/>
                    <a:pt x="23458" y="30230"/>
                    <a:pt x="15115" y="30230"/>
                  </a:cubicBezTo>
                  <a:cubicBezTo>
                    <a:pt x="6772" y="30230"/>
                    <a:pt x="0" y="23458"/>
                    <a:pt x="0" y="15103"/>
                  </a:cubicBezTo>
                  <a:cubicBezTo>
                    <a:pt x="0" y="6748"/>
                    <a:pt x="6772" y="0"/>
                    <a:pt x="15115" y="0"/>
                  </a:cubicBezTo>
                  <a:cubicBezTo>
                    <a:pt x="23458" y="0"/>
                    <a:pt x="30230" y="6772"/>
                    <a:pt x="30230" y="15103"/>
                  </a:cubicBez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50" name="Forma livre: Forma 1549">
              <a:extLst>
                <a:ext uri="{FF2B5EF4-FFF2-40B4-BE49-F238E27FC236}">
                  <a16:creationId xmlns:a16="http://schemas.microsoft.com/office/drawing/2014/main" id="{A6417609-36BB-DA0E-CC33-46F81074A436}"/>
                </a:ext>
              </a:extLst>
            </p:cNvPr>
            <p:cNvSpPr/>
            <p:nvPr/>
          </p:nvSpPr>
          <p:spPr>
            <a:xfrm>
              <a:off x="4407154" y="4238852"/>
              <a:ext cx="127632" cy="29544"/>
            </a:xfrm>
            <a:custGeom>
              <a:avLst/>
              <a:gdLst>
                <a:gd name="connsiteX0" fmla="*/ 127633 w 127632"/>
                <a:gd name="connsiteY0" fmla="*/ 0 h 29544"/>
                <a:gd name="connsiteX1" fmla="*/ 63816 w 127632"/>
                <a:gd name="connsiteY1" fmla="*/ 29545 h 29544"/>
                <a:gd name="connsiteX2" fmla="*/ 0 w 127632"/>
                <a:gd name="connsiteY2" fmla="*/ 0 h 295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7632" h="29544">
                  <a:moveTo>
                    <a:pt x="127633" y="0"/>
                  </a:moveTo>
                  <a:cubicBezTo>
                    <a:pt x="127633" y="16309"/>
                    <a:pt x="99057" y="29545"/>
                    <a:pt x="63816" y="29545"/>
                  </a:cubicBezTo>
                  <a:cubicBezTo>
                    <a:pt x="28576" y="29545"/>
                    <a:pt x="0" y="16309"/>
                    <a:pt x="0" y="0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51" name="Forma livre: Forma 1550">
              <a:extLst>
                <a:ext uri="{FF2B5EF4-FFF2-40B4-BE49-F238E27FC236}">
                  <a16:creationId xmlns:a16="http://schemas.microsoft.com/office/drawing/2014/main" id="{F5D526AD-1A96-7AE2-72F0-AEBC0E09AEAF}"/>
                </a:ext>
              </a:extLst>
            </p:cNvPr>
            <p:cNvSpPr/>
            <p:nvPr/>
          </p:nvSpPr>
          <p:spPr>
            <a:xfrm>
              <a:off x="4407142" y="4275487"/>
              <a:ext cx="63816" cy="29544"/>
            </a:xfrm>
            <a:custGeom>
              <a:avLst/>
              <a:gdLst>
                <a:gd name="connsiteX0" fmla="*/ 0 w 63816"/>
                <a:gd name="connsiteY0" fmla="*/ 0 h 29544"/>
                <a:gd name="connsiteX1" fmla="*/ 60827 w 63816"/>
                <a:gd name="connsiteY1" fmla="*/ 29509 h 29544"/>
                <a:gd name="connsiteX2" fmla="*/ 63816 w 63816"/>
                <a:gd name="connsiteY2" fmla="*/ 29545 h 295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3816" h="29544">
                  <a:moveTo>
                    <a:pt x="0" y="0"/>
                  </a:moveTo>
                  <a:cubicBezTo>
                    <a:pt x="0" y="15848"/>
                    <a:pt x="26968" y="28788"/>
                    <a:pt x="60827" y="29509"/>
                  </a:cubicBezTo>
                  <a:cubicBezTo>
                    <a:pt x="61819" y="29533"/>
                    <a:pt x="62812" y="29545"/>
                    <a:pt x="63816" y="29545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52" name="Forma livre: Forma 1551">
              <a:extLst>
                <a:ext uri="{FF2B5EF4-FFF2-40B4-BE49-F238E27FC236}">
                  <a16:creationId xmlns:a16="http://schemas.microsoft.com/office/drawing/2014/main" id="{6142FDCC-D348-15E0-7866-CFA419FFFA31}"/>
                </a:ext>
              </a:extLst>
            </p:cNvPr>
            <p:cNvSpPr/>
            <p:nvPr/>
          </p:nvSpPr>
          <p:spPr>
            <a:xfrm>
              <a:off x="4407213" y="4312111"/>
              <a:ext cx="49540" cy="28823"/>
            </a:xfrm>
            <a:custGeom>
              <a:avLst/>
              <a:gdLst>
                <a:gd name="connsiteX0" fmla="*/ 49540 w 49540"/>
                <a:gd name="connsiteY0" fmla="*/ 28824 h 28823"/>
                <a:gd name="connsiteX1" fmla="*/ 0 w 49540"/>
                <a:gd name="connsiteY1" fmla="*/ 0 h 288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9540" h="28823">
                  <a:moveTo>
                    <a:pt x="49540" y="28824"/>
                  </a:moveTo>
                  <a:cubicBezTo>
                    <a:pt x="21130" y="25846"/>
                    <a:pt x="0" y="14075"/>
                    <a:pt x="0" y="0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53" name="Forma livre: Forma 1552">
              <a:extLst>
                <a:ext uri="{FF2B5EF4-FFF2-40B4-BE49-F238E27FC236}">
                  <a16:creationId xmlns:a16="http://schemas.microsoft.com/office/drawing/2014/main" id="{992B2E82-FFCA-3191-0EDC-218B892DBA4B}"/>
                </a:ext>
              </a:extLst>
            </p:cNvPr>
            <p:cNvSpPr/>
            <p:nvPr/>
          </p:nvSpPr>
          <p:spPr>
            <a:xfrm>
              <a:off x="4407154" y="4230320"/>
              <a:ext cx="63816" cy="148266"/>
            </a:xfrm>
            <a:custGeom>
              <a:avLst/>
              <a:gdLst>
                <a:gd name="connsiteX0" fmla="*/ 63816 w 63816"/>
                <a:gd name="connsiteY0" fmla="*/ 148267 h 148266"/>
                <a:gd name="connsiteX1" fmla="*/ 50959 w 63816"/>
                <a:gd name="connsiteY1" fmla="*/ 147664 h 148266"/>
                <a:gd name="connsiteX2" fmla="*/ 0 w 63816"/>
                <a:gd name="connsiteY2" fmla="*/ 118722 h 148266"/>
                <a:gd name="connsiteX3" fmla="*/ 0 w 63816"/>
                <a:gd name="connsiteY3" fmla="*/ 0 h 1482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3816" h="148266">
                  <a:moveTo>
                    <a:pt x="63816" y="148267"/>
                  </a:moveTo>
                  <a:cubicBezTo>
                    <a:pt x="59408" y="148267"/>
                    <a:pt x="55107" y="148054"/>
                    <a:pt x="50959" y="147664"/>
                  </a:cubicBezTo>
                  <a:cubicBezTo>
                    <a:pt x="21875" y="144911"/>
                    <a:pt x="0" y="132998"/>
                    <a:pt x="0" y="118722"/>
                  </a:cubicBezTo>
                  <a:lnTo>
                    <a:pt x="0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54" name="Forma livre: Forma 1553">
              <a:extLst>
                <a:ext uri="{FF2B5EF4-FFF2-40B4-BE49-F238E27FC236}">
                  <a16:creationId xmlns:a16="http://schemas.microsoft.com/office/drawing/2014/main" id="{797979E3-9425-D3FA-0BD8-F222F01FB3A1}"/>
                </a:ext>
              </a:extLst>
            </p:cNvPr>
            <p:cNvSpPr/>
            <p:nvPr/>
          </p:nvSpPr>
          <p:spPr>
            <a:xfrm>
              <a:off x="4534787" y="4202358"/>
              <a:ext cx="1181" cy="65742"/>
            </a:xfrm>
            <a:custGeom>
              <a:avLst/>
              <a:gdLst>
                <a:gd name="connsiteX0" fmla="*/ 0 w 1181"/>
                <a:gd name="connsiteY0" fmla="*/ 0 h 65742"/>
                <a:gd name="connsiteX1" fmla="*/ 0 w 1181"/>
                <a:gd name="connsiteY1" fmla="*/ 65743 h 657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81" h="65742">
                  <a:moveTo>
                    <a:pt x="0" y="0"/>
                  </a:moveTo>
                  <a:lnTo>
                    <a:pt x="0" y="65743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55" name="Forma livre: Forma 1554">
              <a:extLst>
                <a:ext uri="{FF2B5EF4-FFF2-40B4-BE49-F238E27FC236}">
                  <a16:creationId xmlns:a16="http://schemas.microsoft.com/office/drawing/2014/main" id="{2A5182EF-6CF0-95F3-623C-280D87784D8B}"/>
                </a:ext>
              </a:extLst>
            </p:cNvPr>
            <p:cNvSpPr/>
            <p:nvPr/>
          </p:nvSpPr>
          <p:spPr>
            <a:xfrm>
              <a:off x="4407154" y="4172861"/>
              <a:ext cx="127632" cy="59089"/>
            </a:xfrm>
            <a:custGeom>
              <a:avLst/>
              <a:gdLst>
                <a:gd name="connsiteX0" fmla="*/ 127633 w 127632"/>
                <a:gd name="connsiteY0" fmla="*/ 29545 h 59089"/>
                <a:gd name="connsiteX1" fmla="*/ 63816 w 127632"/>
                <a:gd name="connsiteY1" fmla="*/ 59089 h 59089"/>
                <a:gd name="connsiteX2" fmla="*/ 0 w 127632"/>
                <a:gd name="connsiteY2" fmla="*/ 29545 h 59089"/>
                <a:gd name="connsiteX3" fmla="*/ 63816 w 127632"/>
                <a:gd name="connsiteY3" fmla="*/ 0 h 59089"/>
                <a:gd name="connsiteX4" fmla="*/ 127633 w 127632"/>
                <a:gd name="connsiteY4" fmla="*/ 29545 h 590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7632" h="59089">
                  <a:moveTo>
                    <a:pt x="127633" y="29545"/>
                  </a:moveTo>
                  <a:cubicBezTo>
                    <a:pt x="127633" y="45862"/>
                    <a:pt x="99061" y="59089"/>
                    <a:pt x="63816" y="59089"/>
                  </a:cubicBezTo>
                  <a:cubicBezTo>
                    <a:pt x="28572" y="59089"/>
                    <a:pt x="0" y="45862"/>
                    <a:pt x="0" y="29545"/>
                  </a:cubicBezTo>
                  <a:cubicBezTo>
                    <a:pt x="0" y="13228"/>
                    <a:pt x="28572" y="0"/>
                    <a:pt x="63816" y="0"/>
                  </a:cubicBezTo>
                  <a:cubicBezTo>
                    <a:pt x="99061" y="0"/>
                    <a:pt x="127633" y="13228"/>
                    <a:pt x="127633" y="29545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556" name="Gráfico 15">
              <a:extLst>
                <a:ext uri="{FF2B5EF4-FFF2-40B4-BE49-F238E27FC236}">
                  <a16:creationId xmlns:a16="http://schemas.microsoft.com/office/drawing/2014/main" id="{FC952549-BBA9-D6AD-C5E0-3B64D005D9A5}"/>
                </a:ext>
              </a:extLst>
            </p:cNvPr>
            <p:cNvGrpSpPr/>
            <p:nvPr/>
          </p:nvGrpSpPr>
          <p:grpSpPr>
            <a:xfrm>
              <a:off x="4561201" y="4102497"/>
              <a:ext cx="119183" cy="175713"/>
              <a:chOff x="4561201" y="4102497"/>
              <a:chExt cx="119183" cy="175713"/>
            </a:xfrm>
            <a:noFill/>
          </p:grpSpPr>
          <p:sp>
            <p:nvSpPr>
              <p:cNvPr id="1557" name="Forma livre: Forma 1556">
                <a:extLst>
                  <a:ext uri="{FF2B5EF4-FFF2-40B4-BE49-F238E27FC236}">
                    <a16:creationId xmlns:a16="http://schemas.microsoft.com/office/drawing/2014/main" id="{DD4E2457-42DC-BA45-4A79-D0867B83CBD7}"/>
                  </a:ext>
                </a:extLst>
              </p:cNvPr>
              <p:cNvSpPr/>
              <p:nvPr/>
            </p:nvSpPr>
            <p:spPr>
              <a:xfrm>
                <a:off x="4592517" y="4136214"/>
                <a:ext cx="1181" cy="25160"/>
              </a:xfrm>
              <a:custGeom>
                <a:avLst/>
                <a:gdLst>
                  <a:gd name="connsiteX0" fmla="*/ 0 w 1181"/>
                  <a:gd name="connsiteY0" fmla="*/ 25160 h 25160"/>
                  <a:gd name="connsiteX1" fmla="*/ 0 w 1181"/>
                  <a:gd name="connsiteY1" fmla="*/ 0 h 251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81" h="25160">
                    <a:moveTo>
                      <a:pt x="0" y="25160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558" name="Forma livre: Forma 1557">
                <a:extLst>
                  <a:ext uri="{FF2B5EF4-FFF2-40B4-BE49-F238E27FC236}">
                    <a16:creationId xmlns:a16="http://schemas.microsoft.com/office/drawing/2014/main" id="{1848EFB8-F92A-F8A3-9170-0D481DE4CB56}"/>
                  </a:ext>
                </a:extLst>
              </p:cNvPr>
              <p:cNvSpPr/>
              <p:nvPr/>
            </p:nvSpPr>
            <p:spPr>
              <a:xfrm>
                <a:off x="4592517" y="4102497"/>
                <a:ext cx="1181" cy="10080"/>
              </a:xfrm>
              <a:custGeom>
                <a:avLst/>
                <a:gdLst>
                  <a:gd name="connsiteX0" fmla="*/ 0 w 1181"/>
                  <a:gd name="connsiteY0" fmla="*/ 10081 h 10080"/>
                  <a:gd name="connsiteX1" fmla="*/ 0 w 1181"/>
                  <a:gd name="connsiteY1" fmla="*/ 0 h 100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81" h="10080">
                    <a:moveTo>
                      <a:pt x="0" y="10081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559" name="Forma livre: Forma 1558">
                <a:extLst>
                  <a:ext uri="{FF2B5EF4-FFF2-40B4-BE49-F238E27FC236}">
                    <a16:creationId xmlns:a16="http://schemas.microsoft.com/office/drawing/2014/main" id="{BC6AACB7-D42A-8A11-2008-54B8184D13F0}"/>
                  </a:ext>
                </a:extLst>
              </p:cNvPr>
              <p:cNvSpPr/>
              <p:nvPr/>
            </p:nvSpPr>
            <p:spPr>
              <a:xfrm>
                <a:off x="4647068" y="4126133"/>
                <a:ext cx="1181" cy="18164"/>
              </a:xfrm>
              <a:custGeom>
                <a:avLst/>
                <a:gdLst>
                  <a:gd name="connsiteX0" fmla="*/ 0 w 1181"/>
                  <a:gd name="connsiteY0" fmla="*/ 18164 h 18164"/>
                  <a:gd name="connsiteX1" fmla="*/ 0 w 1181"/>
                  <a:gd name="connsiteY1" fmla="*/ 0 h 181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81" h="18164">
                    <a:moveTo>
                      <a:pt x="0" y="18164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560" name="Forma livre: Forma 1559">
                <a:extLst>
                  <a:ext uri="{FF2B5EF4-FFF2-40B4-BE49-F238E27FC236}">
                    <a16:creationId xmlns:a16="http://schemas.microsoft.com/office/drawing/2014/main" id="{C26FF6C2-CDAE-9F72-1E5A-E849A184141C}"/>
                  </a:ext>
                </a:extLst>
              </p:cNvPr>
              <p:cNvSpPr/>
              <p:nvPr/>
            </p:nvSpPr>
            <p:spPr>
              <a:xfrm>
                <a:off x="4561201" y="4168039"/>
                <a:ext cx="119183" cy="110172"/>
              </a:xfrm>
              <a:custGeom>
                <a:avLst/>
                <a:gdLst>
                  <a:gd name="connsiteX0" fmla="*/ 31316 w 119183"/>
                  <a:gd name="connsiteY0" fmla="*/ 16923 h 110172"/>
                  <a:gd name="connsiteX1" fmla="*/ 31316 w 119183"/>
                  <a:gd name="connsiteY1" fmla="*/ 43490 h 110172"/>
                  <a:gd name="connsiteX2" fmla="*/ 5920 w 119183"/>
                  <a:gd name="connsiteY2" fmla="*/ 43490 h 110172"/>
                  <a:gd name="connsiteX3" fmla="*/ 720 w 119183"/>
                  <a:gd name="connsiteY3" fmla="*/ 47366 h 110172"/>
                  <a:gd name="connsiteX4" fmla="*/ 1748 w 119183"/>
                  <a:gd name="connsiteY4" fmla="*/ 56194 h 110172"/>
                  <a:gd name="connsiteX5" fmla="*/ 53097 w 119183"/>
                  <a:gd name="connsiteY5" fmla="*/ 107495 h 110172"/>
                  <a:gd name="connsiteX6" fmla="*/ 66073 w 119183"/>
                  <a:gd name="connsiteY6" fmla="*/ 107495 h 110172"/>
                  <a:gd name="connsiteX7" fmla="*/ 117185 w 119183"/>
                  <a:gd name="connsiteY7" fmla="*/ 56194 h 110172"/>
                  <a:gd name="connsiteX8" fmla="*/ 118556 w 119183"/>
                  <a:gd name="connsiteY8" fmla="*/ 47449 h 110172"/>
                  <a:gd name="connsiteX9" fmla="*/ 112304 w 119183"/>
                  <a:gd name="connsiteY9" fmla="*/ 43466 h 110172"/>
                  <a:gd name="connsiteX10" fmla="*/ 85879 w 119183"/>
                  <a:gd name="connsiteY10" fmla="*/ 43466 h 110172"/>
                  <a:gd name="connsiteX11" fmla="*/ 85879 w 119183"/>
                  <a:gd name="connsiteY11" fmla="*/ 0 h 1101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19183" h="110172">
                    <a:moveTo>
                      <a:pt x="31316" y="16923"/>
                    </a:moveTo>
                    <a:lnTo>
                      <a:pt x="31316" y="43490"/>
                    </a:lnTo>
                    <a:lnTo>
                      <a:pt x="5920" y="43490"/>
                    </a:lnTo>
                    <a:cubicBezTo>
                      <a:pt x="2800" y="43490"/>
                      <a:pt x="1323" y="45924"/>
                      <a:pt x="720" y="47366"/>
                    </a:cubicBezTo>
                    <a:cubicBezTo>
                      <a:pt x="-545" y="50450"/>
                      <a:pt x="-107" y="54327"/>
                      <a:pt x="1748" y="56194"/>
                    </a:cubicBezTo>
                    <a:lnTo>
                      <a:pt x="53097" y="107495"/>
                    </a:lnTo>
                    <a:cubicBezTo>
                      <a:pt x="56689" y="111064"/>
                      <a:pt x="62516" y="111064"/>
                      <a:pt x="66073" y="107495"/>
                    </a:cubicBezTo>
                    <a:lnTo>
                      <a:pt x="117185" y="56194"/>
                    </a:lnTo>
                    <a:cubicBezTo>
                      <a:pt x="119170" y="54197"/>
                      <a:pt x="119773" y="50380"/>
                      <a:pt x="118556" y="47449"/>
                    </a:cubicBezTo>
                    <a:cubicBezTo>
                      <a:pt x="117480" y="44884"/>
                      <a:pt x="115259" y="43478"/>
                      <a:pt x="112304" y="43466"/>
                    </a:cubicBezTo>
                    <a:lnTo>
                      <a:pt x="85879" y="43466"/>
                    </a:lnTo>
                    <a:cubicBezTo>
                      <a:pt x="85879" y="43466"/>
                      <a:pt x="85879" y="0"/>
                      <a:pt x="85879" y="0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561" name="Gráfico 15">
            <a:extLst>
              <a:ext uri="{FF2B5EF4-FFF2-40B4-BE49-F238E27FC236}">
                <a16:creationId xmlns:a16="http://schemas.microsoft.com/office/drawing/2014/main" id="{0CE11636-0C50-7A8E-656D-4BCCBEFD887A}"/>
              </a:ext>
            </a:extLst>
          </p:cNvPr>
          <p:cNvGrpSpPr/>
          <p:nvPr/>
        </p:nvGrpSpPr>
        <p:grpSpPr>
          <a:xfrm>
            <a:off x="5610909" y="4128840"/>
            <a:ext cx="336360" cy="285744"/>
            <a:chOff x="5610909" y="4128840"/>
            <a:chExt cx="336360" cy="285744"/>
          </a:xfrm>
        </p:grpSpPr>
        <p:grpSp>
          <p:nvGrpSpPr>
            <p:cNvPr id="1562" name="Gráfico 15">
              <a:extLst>
                <a:ext uri="{FF2B5EF4-FFF2-40B4-BE49-F238E27FC236}">
                  <a16:creationId xmlns:a16="http://schemas.microsoft.com/office/drawing/2014/main" id="{268EF7EC-47CA-4536-6C00-3C8C15D3F07F}"/>
                </a:ext>
              </a:extLst>
            </p:cNvPr>
            <p:cNvGrpSpPr/>
            <p:nvPr/>
          </p:nvGrpSpPr>
          <p:grpSpPr>
            <a:xfrm>
              <a:off x="5789501" y="4128840"/>
              <a:ext cx="157768" cy="157768"/>
              <a:chOff x="5789501" y="4128840"/>
              <a:chExt cx="157768" cy="157768"/>
            </a:xfrm>
            <a:noFill/>
          </p:grpSpPr>
          <p:sp>
            <p:nvSpPr>
              <p:cNvPr id="1563" name="Forma livre: Forma 1562">
                <a:extLst>
                  <a:ext uri="{FF2B5EF4-FFF2-40B4-BE49-F238E27FC236}">
                    <a16:creationId xmlns:a16="http://schemas.microsoft.com/office/drawing/2014/main" id="{D947D7FA-C122-49A4-B0EB-64A34A9BBF16}"/>
                  </a:ext>
                </a:extLst>
              </p:cNvPr>
              <p:cNvSpPr/>
              <p:nvPr/>
            </p:nvSpPr>
            <p:spPr>
              <a:xfrm>
                <a:off x="5789501" y="4128840"/>
                <a:ext cx="157768" cy="157768"/>
              </a:xfrm>
              <a:custGeom>
                <a:avLst/>
                <a:gdLst>
                  <a:gd name="connsiteX0" fmla="*/ 46125 w 157768"/>
                  <a:gd name="connsiteY0" fmla="*/ 7103 h 157768"/>
                  <a:gd name="connsiteX1" fmla="*/ 78884 w 157768"/>
                  <a:gd name="connsiteY1" fmla="*/ 0 h 157768"/>
                  <a:gd name="connsiteX2" fmla="*/ 157768 w 157768"/>
                  <a:gd name="connsiteY2" fmla="*/ 78884 h 157768"/>
                  <a:gd name="connsiteX3" fmla="*/ 78884 w 157768"/>
                  <a:gd name="connsiteY3" fmla="*/ 157769 h 157768"/>
                  <a:gd name="connsiteX4" fmla="*/ 0 w 157768"/>
                  <a:gd name="connsiteY4" fmla="*/ 78884 h 157768"/>
                  <a:gd name="connsiteX5" fmla="*/ 23990 w 157768"/>
                  <a:gd name="connsiteY5" fmla="*/ 22241 h 1577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57768" h="157768">
                    <a:moveTo>
                      <a:pt x="46125" y="7103"/>
                    </a:moveTo>
                    <a:cubicBezTo>
                      <a:pt x="56111" y="2541"/>
                      <a:pt x="67196" y="0"/>
                      <a:pt x="78884" y="0"/>
                    </a:cubicBezTo>
                    <a:cubicBezTo>
                      <a:pt x="122445" y="0"/>
                      <a:pt x="157768" y="35324"/>
                      <a:pt x="157768" y="78884"/>
                    </a:cubicBezTo>
                    <a:cubicBezTo>
                      <a:pt x="157768" y="122445"/>
                      <a:pt x="122445" y="157769"/>
                      <a:pt x="78884" y="157769"/>
                    </a:cubicBezTo>
                    <a:cubicBezTo>
                      <a:pt x="35324" y="157769"/>
                      <a:pt x="0" y="122457"/>
                      <a:pt x="0" y="78884"/>
                    </a:cubicBezTo>
                    <a:cubicBezTo>
                      <a:pt x="0" y="56655"/>
                      <a:pt x="9194" y="36576"/>
                      <a:pt x="23990" y="22241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564" name="Forma livre: Forma 1563">
                <a:extLst>
                  <a:ext uri="{FF2B5EF4-FFF2-40B4-BE49-F238E27FC236}">
                    <a16:creationId xmlns:a16="http://schemas.microsoft.com/office/drawing/2014/main" id="{F191B525-4EE1-6614-F77E-00EFE2CAD1D0}"/>
                  </a:ext>
                </a:extLst>
              </p:cNvPr>
              <p:cNvSpPr/>
              <p:nvPr/>
            </p:nvSpPr>
            <p:spPr>
              <a:xfrm>
                <a:off x="5841417" y="4168595"/>
                <a:ext cx="53936" cy="78269"/>
              </a:xfrm>
              <a:custGeom>
                <a:avLst/>
                <a:gdLst>
                  <a:gd name="connsiteX0" fmla="*/ 53937 w 53936"/>
                  <a:gd name="connsiteY0" fmla="*/ 0 h 78269"/>
                  <a:gd name="connsiteX1" fmla="*/ 0 w 53936"/>
                  <a:gd name="connsiteY1" fmla="*/ 78270 h 782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3936" h="78269">
                    <a:moveTo>
                      <a:pt x="53937" y="0"/>
                    </a:moveTo>
                    <a:lnTo>
                      <a:pt x="0" y="7827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1565" name="Gráfico 15">
                <a:extLst>
                  <a:ext uri="{FF2B5EF4-FFF2-40B4-BE49-F238E27FC236}">
                    <a16:creationId xmlns:a16="http://schemas.microsoft.com/office/drawing/2014/main" id="{388F9585-840D-1375-4BF1-6FC1B91AF959}"/>
                  </a:ext>
                </a:extLst>
              </p:cNvPr>
              <p:cNvGrpSpPr/>
              <p:nvPr/>
            </p:nvGrpSpPr>
            <p:grpSpPr>
              <a:xfrm>
                <a:off x="5826987" y="4164270"/>
                <a:ext cx="82796" cy="86932"/>
                <a:chOff x="5826987" y="4164270"/>
                <a:chExt cx="82796" cy="86932"/>
              </a:xfrm>
              <a:noFill/>
            </p:grpSpPr>
            <p:sp>
              <p:nvSpPr>
                <p:cNvPr id="1566" name="Forma livre: Forma 1565">
                  <a:extLst>
                    <a:ext uri="{FF2B5EF4-FFF2-40B4-BE49-F238E27FC236}">
                      <a16:creationId xmlns:a16="http://schemas.microsoft.com/office/drawing/2014/main" id="{B24DBA81-D085-A644-93DA-55A567FCD138}"/>
                    </a:ext>
                  </a:extLst>
                </p:cNvPr>
                <p:cNvSpPr/>
                <p:nvPr/>
              </p:nvSpPr>
              <p:spPr>
                <a:xfrm>
                  <a:off x="5826987" y="4164270"/>
                  <a:ext cx="30218" cy="30241"/>
                </a:xfrm>
                <a:custGeom>
                  <a:avLst/>
                  <a:gdLst>
                    <a:gd name="connsiteX0" fmla="*/ 30218 w 30218"/>
                    <a:gd name="connsiteY0" fmla="*/ 15115 h 30241"/>
                    <a:gd name="connsiteX1" fmla="*/ 15115 w 30218"/>
                    <a:gd name="connsiteY1" fmla="*/ 30242 h 30241"/>
                    <a:gd name="connsiteX2" fmla="*/ 0 w 30218"/>
                    <a:gd name="connsiteY2" fmla="*/ 15115 h 30241"/>
                    <a:gd name="connsiteX3" fmla="*/ 15115 w 30218"/>
                    <a:gd name="connsiteY3" fmla="*/ 0 h 30241"/>
                    <a:gd name="connsiteX4" fmla="*/ 30218 w 30218"/>
                    <a:gd name="connsiteY4" fmla="*/ 15115 h 3024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0218" h="30241">
                      <a:moveTo>
                        <a:pt x="30218" y="15115"/>
                      </a:moveTo>
                      <a:cubicBezTo>
                        <a:pt x="30218" y="23458"/>
                        <a:pt x="23447" y="30242"/>
                        <a:pt x="15115" y="30242"/>
                      </a:cubicBezTo>
                      <a:cubicBezTo>
                        <a:pt x="6783" y="30242"/>
                        <a:pt x="0" y="23470"/>
                        <a:pt x="0" y="15115"/>
                      </a:cubicBezTo>
                      <a:cubicBezTo>
                        <a:pt x="0" y="6760"/>
                        <a:pt x="6760" y="0"/>
                        <a:pt x="15115" y="0"/>
                      </a:cubicBezTo>
                      <a:cubicBezTo>
                        <a:pt x="23470" y="0"/>
                        <a:pt x="30218" y="6772"/>
                        <a:pt x="30218" y="15115"/>
                      </a:cubicBezTo>
                      <a:close/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567" name="Forma livre: Forma 1566">
                  <a:extLst>
                    <a:ext uri="{FF2B5EF4-FFF2-40B4-BE49-F238E27FC236}">
                      <a16:creationId xmlns:a16="http://schemas.microsoft.com/office/drawing/2014/main" id="{5D997397-6FC6-ECC2-5AA4-D8D2135201F3}"/>
                    </a:ext>
                  </a:extLst>
                </p:cNvPr>
                <p:cNvSpPr/>
                <p:nvPr/>
              </p:nvSpPr>
              <p:spPr>
                <a:xfrm>
                  <a:off x="5879553" y="4220972"/>
                  <a:ext cx="30230" cy="30230"/>
                </a:xfrm>
                <a:custGeom>
                  <a:avLst/>
                  <a:gdLst>
                    <a:gd name="connsiteX0" fmla="*/ 30230 w 30230"/>
                    <a:gd name="connsiteY0" fmla="*/ 15115 h 30230"/>
                    <a:gd name="connsiteX1" fmla="*/ 15115 w 30230"/>
                    <a:gd name="connsiteY1" fmla="*/ 30230 h 30230"/>
                    <a:gd name="connsiteX2" fmla="*/ 0 w 30230"/>
                    <a:gd name="connsiteY2" fmla="*/ 15115 h 30230"/>
                    <a:gd name="connsiteX3" fmla="*/ 15115 w 30230"/>
                    <a:gd name="connsiteY3" fmla="*/ 0 h 30230"/>
                    <a:gd name="connsiteX4" fmla="*/ 30230 w 30230"/>
                    <a:gd name="connsiteY4" fmla="*/ 15115 h 3023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0230" h="30230">
                      <a:moveTo>
                        <a:pt x="30230" y="15115"/>
                      </a:moveTo>
                      <a:cubicBezTo>
                        <a:pt x="30230" y="23459"/>
                        <a:pt x="23458" y="30230"/>
                        <a:pt x="15115" y="30230"/>
                      </a:cubicBezTo>
                      <a:cubicBezTo>
                        <a:pt x="6772" y="30230"/>
                        <a:pt x="0" y="23459"/>
                        <a:pt x="0" y="15115"/>
                      </a:cubicBezTo>
                      <a:cubicBezTo>
                        <a:pt x="0" y="6772"/>
                        <a:pt x="6772" y="0"/>
                        <a:pt x="15115" y="0"/>
                      </a:cubicBezTo>
                      <a:cubicBezTo>
                        <a:pt x="23458" y="0"/>
                        <a:pt x="30230" y="6772"/>
                        <a:pt x="30230" y="15115"/>
                      </a:cubicBezTo>
                      <a:close/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grpSp>
          <p:nvGrpSpPr>
            <p:cNvPr id="1568" name="Gráfico 15">
              <a:extLst>
                <a:ext uri="{FF2B5EF4-FFF2-40B4-BE49-F238E27FC236}">
                  <a16:creationId xmlns:a16="http://schemas.microsoft.com/office/drawing/2014/main" id="{F4ECD5B5-4CEF-DA9D-D378-A561A03869BB}"/>
                </a:ext>
              </a:extLst>
            </p:cNvPr>
            <p:cNvGrpSpPr/>
            <p:nvPr/>
          </p:nvGrpSpPr>
          <p:grpSpPr>
            <a:xfrm>
              <a:off x="5610909" y="4143281"/>
              <a:ext cx="279836" cy="271302"/>
              <a:chOff x="5610909" y="4143281"/>
              <a:chExt cx="279836" cy="271302"/>
            </a:xfrm>
          </p:grpSpPr>
          <p:sp>
            <p:nvSpPr>
              <p:cNvPr id="1569" name="Forma livre: Forma 1568">
                <a:extLst>
                  <a:ext uri="{FF2B5EF4-FFF2-40B4-BE49-F238E27FC236}">
                    <a16:creationId xmlns:a16="http://schemas.microsoft.com/office/drawing/2014/main" id="{A58FC15C-EB49-3F30-ABC1-C7E35097FCF6}"/>
                  </a:ext>
                </a:extLst>
              </p:cNvPr>
              <p:cNvSpPr/>
              <p:nvPr/>
            </p:nvSpPr>
            <p:spPr>
              <a:xfrm>
                <a:off x="5610909" y="4143281"/>
                <a:ext cx="279836" cy="271302"/>
              </a:xfrm>
              <a:custGeom>
                <a:avLst/>
                <a:gdLst>
                  <a:gd name="connsiteX0" fmla="*/ 161953 w 279836"/>
                  <a:gd name="connsiteY0" fmla="*/ 26637 h 271302"/>
                  <a:gd name="connsiteX1" fmla="*/ 149142 w 279836"/>
                  <a:gd name="connsiteY1" fmla="*/ 26637 h 271302"/>
                  <a:gd name="connsiteX2" fmla="*/ 129454 w 279836"/>
                  <a:gd name="connsiteY2" fmla="*/ 28233 h 271302"/>
                  <a:gd name="connsiteX3" fmla="*/ 88399 w 279836"/>
                  <a:gd name="connsiteY3" fmla="*/ 0 h 271302"/>
                  <a:gd name="connsiteX4" fmla="*/ 88399 w 279836"/>
                  <a:gd name="connsiteY4" fmla="*/ 41847 h 271302"/>
                  <a:gd name="connsiteX5" fmla="*/ 45854 w 279836"/>
                  <a:gd name="connsiteY5" fmla="*/ 83115 h 271302"/>
                  <a:gd name="connsiteX6" fmla="*/ 43869 w 279836"/>
                  <a:gd name="connsiteY6" fmla="*/ 84770 h 271302"/>
                  <a:gd name="connsiteX7" fmla="*/ 5177 w 279836"/>
                  <a:gd name="connsiteY7" fmla="*/ 85124 h 271302"/>
                  <a:gd name="connsiteX8" fmla="*/ 16593 w 279836"/>
                  <a:gd name="connsiteY8" fmla="*/ 174314 h 271302"/>
                  <a:gd name="connsiteX9" fmla="*/ 41399 w 279836"/>
                  <a:gd name="connsiteY9" fmla="*/ 174314 h 271302"/>
                  <a:gd name="connsiteX10" fmla="*/ 97321 w 279836"/>
                  <a:gd name="connsiteY10" fmla="*/ 227742 h 271302"/>
                  <a:gd name="connsiteX11" fmla="*/ 97971 w 279836"/>
                  <a:gd name="connsiteY11" fmla="*/ 228061 h 271302"/>
                  <a:gd name="connsiteX12" fmla="*/ 97971 w 279836"/>
                  <a:gd name="connsiteY12" fmla="*/ 261683 h 271302"/>
                  <a:gd name="connsiteX13" fmla="*/ 107366 w 279836"/>
                  <a:gd name="connsiteY13" fmla="*/ 271303 h 271302"/>
                  <a:gd name="connsiteX14" fmla="*/ 127917 w 279836"/>
                  <a:gd name="connsiteY14" fmla="*/ 271303 h 271302"/>
                  <a:gd name="connsiteX15" fmla="*/ 137313 w 279836"/>
                  <a:gd name="connsiteY15" fmla="*/ 261683 h 271302"/>
                  <a:gd name="connsiteX16" fmla="*/ 137313 w 279836"/>
                  <a:gd name="connsiteY16" fmla="*/ 238166 h 271302"/>
                  <a:gd name="connsiteX17" fmla="*/ 149131 w 279836"/>
                  <a:gd name="connsiteY17" fmla="*/ 238697 h 271302"/>
                  <a:gd name="connsiteX18" fmla="*/ 167259 w 279836"/>
                  <a:gd name="connsiteY18" fmla="*/ 238697 h 271302"/>
                  <a:gd name="connsiteX19" fmla="*/ 179231 w 279836"/>
                  <a:gd name="connsiteY19" fmla="*/ 238166 h 271302"/>
                  <a:gd name="connsiteX20" fmla="*/ 179231 w 279836"/>
                  <a:gd name="connsiteY20" fmla="*/ 261683 h 271302"/>
                  <a:gd name="connsiteX21" fmla="*/ 188626 w 279836"/>
                  <a:gd name="connsiteY21" fmla="*/ 271303 h 271302"/>
                  <a:gd name="connsiteX22" fmla="*/ 209189 w 279836"/>
                  <a:gd name="connsiteY22" fmla="*/ 271303 h 271302"/>
                  <a:gd name="connsiteX23" fmla="*/ 218584 w 279836"/>
                  <a:gd name="connsiteY23" fmla="*/ 261683 h 271302"/>
                  <a:gd name="connsiteX24" fmla="*/ 218584 w 279836"/>
                  <a:gd name="connsiteY24" fmla="*/ 227849 h 271302"/>
                  <a:gd name="connsiteX25" fmla="*/ 279836 w 279836"/>
                  <a:gd name="connsiteY25" fmla="*/ 162649 h 2713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</a:cxnLst>
                <a:rect l="l" t="t" r="r" b="b"/>
                <a:pathLst>
                  <a:path w="279836" h="271302">
                    <a:moveTo>
                      <a:pt x="161953" y="26637"/>
                    </a:moveTo>
                    <a:lnTo>
                      <a:pt x="149142" y="26637"/>
                    </a:lnTo>
                    <a:cubicBezTo>
                      <a:pt x="142465" y="26637"/>
                      <a:pt x="135788" y="27276"/>
                      <a:pt x="129454" y="28233"/>
                    </a:cubicBezTo>
                    <a:cubicBezTo>
                      <a:pt x="129454" y="28233"/>
                      <a:pt x="110746" y="0"/>
                      <a:pt x="88399" y="0"/>
                    </a:cubicBezTo>
                    <a:lnTo>
                      <a:pt x="88399" y="41847"/>
                    </a:lnTo>
                    <a:cubicBezTo>
                      <a:pt x="70459" y="51774"/>
                      <a:pt x="55793" y="66121"/>
                      <a:pt x="45854" y="83115"/>
                    </a:cubicBezTo>
                    <a:cubicBezTo>
                      <a:pt x="45854" y="83115"/>
                      <a:pt x="45157" y="84001"/>
                      <a:pt x="43869" y="84770"/>
                    </a:cubicBezTo>
                    <a:cubicBezTo>
                      <a:pt x="42817" y="85396"/>
                      <a:pt x="25149" y="92014"/>
                      <a:pt x="5177" y="85124"/>
                    </a:cubicBezTo>
                    <a:cubicBezTo>
                      <a:pt x="-11226" y="79487"/>
                      <a:pt x="16593" y="174314"/>
                      <a:pt x="16593" y="174314"/>
                    </a:cubicBezTo>
                    <a:lnTo>
                      <a:pt x="41399" y="174314"/>
                    </a:lnTo>
                    <a:cubicBezTo>
                      <a:pt x="52520" y="197358"/>
                      <a:pt x="72468" y="216622"/>
                      <a:pt x="97321" y="227742"/>
                    </a:cubicBezTo>
                    <a:cubicBezTo>
                      <a:pt x="97439" y="227789"/>
                      <a:pt x="97971" y="228061"/>
                      <a:pt x="97971" y="228061"/>
                    </a:cubicBezTo>
                    <a:lnTo>
                      <a:pt x="97971" y="261683"/>
                    </a:lnTo>
                    <a:cubicBezTo>
                      <a:pt x="97971" y="266848"/>
                      <a:pt x="102202" y="271303"/>
                      <a:pt x="107366" y="271303"/>
                    </a:cubicBezTo>
                    <a:lnTo>
                      <a:pt x="127917" y="271303"/>
                    </a:lnTo>
                    <a:cubicBezTo>
                      <a:pt x="133094" y="271303"/>
                      <a:pt x="137313" y="266848"/>
                      <a:pt x="137313" y="261683"/>
                    </a:cubicBezTo>
                    <a:lnTo>
                      <a:pt x="137313" y="238166"/>
                    </a:lnTo>
                    <a:cubicBezTo>
                      <a:pt x="141130" y="238508"/>
                      <a:pt x="145195" y="238697"/>
                      <a:pt x="149131" y="238697"/>
                    </a:cubicBezTo>
                    <a:lnTo>
                      <a:pt x="167259" y="238697"/>
                    </a:lnTo>
                    <a:cubicBezTo>
                      <a:pt x="171194" y="238697"/>
                      <a:pt x="175402" y="238520"/>
                      <a:pt x="179231" y="238166"/>
                    </a:cubicBezTo>
                    <a:lnTo>
                      <a:pt x="179231" y="261683"/>
                    </a:lnTo>
                    <a:cubicBezTo>
                      <a:pt x="179231" y="266848"/>
                      <a:pt x="183461" y="271303"/>
                      <a:pt x="188626" y="271303"/>
                    </a:cubicBezTo>
                    <a:lnTo>
                      <a:pt x="209189" y="271303"/>
                    </a:lnTo>
                    <a:cubicBezTo>
                      <a:pt x="214353" y="271303"/>
                      <a:pt x="218584" y="266848"/>
                      <a:pt x="218584" y="261683"/>
                    </a:cubicBezTo>
                    <a:lnTo>
                      <a:pt x="218584" y="227849"/>
                    </a:lnTo>
                    <a:cubicBezTo>
                      <a:pt x="247774" y="214861"/>
                      <a:pt x="270358" y="191225"/>
                      <a:pt x="279836" y="162649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570" name="Forma livre: Forma 1569">
                <a:extLst>
                  <a:ext uri="{FF2B5EF4-FFF2-40B4-BE49-F238E27FC236}">
                    <a16:creationId xmlns:a16="http://schemas.microsoft.com/office/drawing/2014/main" id="{275855C5-CCBC-8FBE-A1FE-D58592B399C8}"/>
                  </a:ext>
                </a:extLst>
              </p:cNvPr>
              <p:cNvSpPr/>
              <p:nvPr/>
            </p:nvSpPr>
            <p:spPr>
              <a:xfrm>
                <a:off x="5700040" y="4223312"/>
                <a:ext cx="7303" cy="7315"/>
              </a:xfrm>
              <a:custGeom>
                <a:avLst/>
                <a:gdLst>
                  <a:gd name="connsiteX0" fmla="*/ 7303 w 7303"/>
                  <a:gd name="connsiteY0" fmla="*/ 3664 h 7315"/>
                  <a:gd name="connsiteX1" fmla="*/ 3652 w 7303"/>
                  <a:gd name="connsiteY1" fmla="*/ 7315 h 7315"/>
                  <a:gd name="connsiteX2" fmla="*/ 0 w 7303"/>
                  <a:gd name="connsiteY2" fmla="*/ 3664 h 7315"/>
                  <a:gd name="connsiteX3" fmla="*/ 3652 w 7303"/>
                  <a:gd name="connsiteY3" fmla="*/ 0 h 7315"/>
                  <a:gd name="connsiteX4" fmla="*/ 7303 w 7303"/>
                  <a:gd name="connsiteY4" fmla="*/ 3664 h 73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303" h="7315">
                    <a:moveTo>
                      <a:pt x="7303" y="3664"/>
                    </a:moveTo>
                    <a:cubicBezTo>
                      <a:pt x="7303" y="5684"/>
                      <a:pt x="5672" y="7315"/>
                      <a:pt x="3652" y="7315"/>
                    </a:cubicBezTo>
                    <a:cubicBezTo>
                      <a:pt x="1631" y="7315"/>
                      <a:pt x="0" y="5684"/>
                      <a:pt x="0" y="3664"/>
                    </a:cubicBezTo>
                    <a:cubicBezTo>
                      <a:pt x="0" y="1643"/>
                      <a:pt x="1631" y="0"/>
                      <a:pt x="3652" y="0"/>
                    </a:cubicBezTo>
                    <a:cubicBezTo>
                      <a:pt x="5672" y="0"/>
                      <a:pt x="7303" y="1631"/>
                      <a:pt x="7303" y="3664"/>
                    </a:cubicBezTo>
                    <a:close/>
                  </a:path>
                </a:pathLst>
              </a:custGeom>
              <a:solidFill>
                <a:srgbClr val="394552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571" name="Gráfico 15">
            <a:extLst>
              <a:ext uri="{FF2B5EF4-FFF2-40B4-BE49-F238E27FC236}">
                <a16:creationId xmlns:a16="http://schemas.microsoft.com/office/drawing/2014/main" id="{D1625A3A-9049-81AA-F8F1-693B11E3C546}"/>
              </a:ext>
            </a:extLst>
          </p:cNvPr>
          <p:cNvGrpSpPr/>
          <p:nvPr/>
        </p:nvGrpSpPr>
        <p:grpSpPr>
          <a:xfrm>
            <a:off x="5033470" y="3618163"/>
            <a:ext cx="255881" cy="255226"/>
            <a:chOff x="5033470" y="3618163"/>
            <a:chExt cx="255881" cy="255226"/>
          </a:xfrm>
          <a:noFill/>
        </p:grpSpPr>
        <p:grpSp>
          <p:nvGrpSpPr>
            <p:cNvPr id="1572" name="Gráfico 15">
              <a:extLst>
                <a:ext uri="{FF2B5EF4-FFF2-40B4-BE49-F238E27FC236}">
                  <a16:creationId xmlns:a16="http://schemas.microsoft.com/office/drawing/2014/main" id="{D02B6129-CFBD-507B-2922-2147CA3781FE}"/>
                </a:ext>
              </a:extLst>
            </p:cNvPr>
            <p:cNvGrpSpPr/>
            <p:nvPr/>
          </p:nvGrpSpPr>
          <p:grpSpPr>
            <a:xfrm>
              <a:off x="5090900" y="3672764"/>
              <a:ext cx="104316" cy="109492"/>
              <a:chOff x="5090900" y="3672764"/>
              <a:chExt cx="104316" cy="109492"/>
            </a:xfrm>
            <a:noFill/>
          </p:grpSpPr>
          <p:sp>
            <p:nvSpPr>
              <p:cNvPr id="1573" name="Forma livre: Forma 1572">
                <a:extLst>
                  <a:ext uri="{FF2B5EF4-FFF2-40B4-BE49-F238E27FC236}">
                    <a16:creationId xmlns:a16="http://schemas.microsoft.com/office/drawing/2014/main" id="{83A840EB-CA1E-9C6E-AB2C-D6DC40D6A831}"/>
                  </a:ext>
                </a:extLst>
              </p:cNvPr>
              <p:cNvSpPr/>
              <p:nvPr/>
            </p:nvSpPr>
            <p:spPr>
              <a:xfrm>
                <a:off x="5109088" y="3678212"/>
                <a:ext cx="67940" cy="98596"/>
              </a:xfrm>
              <a:custGeom>
                <a:avLst/>
                <a:gdLst>
                  <a:gd name="connsiteX0" fmla="*/ 67941 w 67940"/>
                  <a:gd name="connsiteY0" fmla="*/ 0 h 98596"/>
                  <a:gd name="connsiteX1" fmla="*/ 0 w 67940"/>
                  <a:gd name="connsiteY1" fmla="*/ 98596 h 985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7940" h="98596">
                    <a:moveTo>
                      <a:pt x="67941" y="0"/>
                    </a:moveTo>
                    <a:lnTo>
                      <a:pt x="0" y="98596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1574" name="Gráfico 15">
                <a:extLst>
                  <a:ext uri="{FF2B5EF4-FFF2-40B4-BE49-F238E27FC236}">
                    <a16:creationId xmlns:a16="http://schemas.microsoft.com/office/drawing/2014/main" id="{252C9F9B-8792-E95B-FCEB-28FEE47B6624}"/>
                  </a:ext>
                </a:extLst>
              </p:cNvPr>
              <p:cNvGrpSpPr/>
              <p:nvPr/>
            </p:nvGrpSpPr>
            <p:grpSpPr>
              <a:xfrm>
                <a:off x="5090900" y="3672764"/>
                <a:ext cx="104316" cy="109492"/>
                <a:chOff x="5090900" y="3672764"/>
                <a:chExt cx="104316" cy="109492"/>
              </a:xfrm>
              <a:noFill/>
            </p:grpSpPr>
            <p:sp>
              <p:nvSpPr>
                <p:cNvPr id="1575" name="Forma livre: Forma 1574">
                  <a:extLst>
                    <a:ext uri="{FF2B5EF4-FFF2-40B4-BE49-F238E27FC236}">
                      <a16:creationId xmlns:a16="http://schemas.microsoft.com/office/drawing/2014/main" id="{11AF3020-6DF5-D311-351D-438E0D9AB8DF}"/>
                    </a:ext>
                  </a:extLst>
                </p:cNvPr>
                <p:cNvSpPr/>
                <p:nvPr/>
              </p:nvSpPr>
              <p:spPr>
                <a:xfrm>
                  <a:off x="5090900" y="3672764"/>
                  <a:ext cx="38077" cy="38088"/>
                </a:xfrm>
                <a:custGeom>
                  <a:avLst/>
                  <a:gdLst>
                    <a:gd name="connsiteX0" fmla="*/ 38077 w 38077"/>
                    <a:gd name="connsiteY0" fmla="*/ 19039 h 38088"/>
                    <a:gd name="connsiteX1" fmla="*/ 19039 w 38077"/>
                    <a:gd name="connsiteY1" fmla="*/ 38089 h 38088"/>
                    <a:gd name="connsiteX2" fmla="*/ 0 w 38077"/>
                    <a:gd name="connsiteY2" fmla="*/ 19039 h 38088"/>
                    <a:gd name="connsiteX3" fmla="*/ 19039 w 38077"/>
                    <a:gd name="connsiteY3" fmla="*/ 0 h 38088"/>
                    <a:gd name="connsiteX4" fmla="*/ 38077 w 38077"/>
                    <a:gd name="connsiteY4" fmla="*/ 19039 h 3808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8077" h="38088">
                      <a:moveTo>
                        <a:pt x="38077" y="19039"/>
                      </a:moveTo>
                      <a:cubicBezTo>
                        <a:pt x="38077" y="29556"/>
                        <a:pt x="29556" y="38089"/>
                        <a:pt x="19039" y="38089"/>
                      </a:cubicBezTo>
                      <a:cubicBezTo>
                        <a:pt x="8521" y="38089"/>
                        <a:pt x="0" y="29556"/>
                        <a:pt x="0" y="19039"/>
                      </a:cubicBezTo>
                      <a:cubicBezTo>
                        <a:pt x="0" y="8521"/>
                        <a:pt x="8521" y="0"/>
                        <a:pt x="19039" y="0"/>
                      </a:cubicBezTo>
                      <a:cubicBezTo>
                        <a:pt x="29556" y="0"/>
                        <a:pt x="38077" y="8533"/>
                        <a:pt x="38077" y="19039"/>
                      </a:cubicBezTo>
                      <a:close/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576" name="Forma livre: Forma 1575">
                  <a:extLst>
                    <a:ext uri="{FF2B5EF4-FFF2-40B4-BE49-F238E27FC236}">
                      <a16:creationId xmlns:a16="http://schemas.microsoft.com/office/drawing/2014/main" id="{4B5FE68A-E0D3-C8A1-E38B-6D3013827F8D}"/>
                    </a:ext>
                  </a:extLst>
                </p:cNvPr>
                <p:cNvSpPr/>
                <p:nvPr/>
              </p:nvSpPr>
              <p:spPr>
                <a:xfrm>
                  <a:off x="5157127" y="3744191"/>
                  <a:ext cx="38088" cy="38065"/>
                </a:xfrm>
                <a:custGeom>
                  <a:avLst/>
                  <a:gdLst>
                    <a:gd name="connsiteX0" fmla="*/ 38089 w 38088"/>
                    <a:gd name="connsiteY0" fmla="*/ 19027 h 38065"/>
                    <a:gd name="connsiteX1" fmla="*/ 19039 w 38088"/>
                    <a:gd name="connsiteY1" fmla="*/ 38065 h 38065"/>
                    <a:gd name="connsiteX2" fmla="*/ 0 w 38088"/>
                    <a:gd name="connsiteY2" fmla="*/ 19027 h 38065"/>
                    <a:gd name="connsiteX3" fmla="*/ 19039 w 38088"/>
                    <a:gd name="connsiteY3" fmla="*/ 0 h 38065"/>
                    <a:gd name="connsiteX4" fmla="*/ 38089 w 38088"/>
                    <a:gd name="connsiteY4" fmla="*/ 19027 h 3806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8088" h="38065">
                      <a:moveTo>
                        <a:pt x="38089" y="19027"/>
                      </a:moveTo>
                      <a:cubicBezTo>
                        <a:pt x="38089" y="29545"/>
                        <a:pt x="29556" y="38065"/>
                        <a:pt x="19039" y="38065"/>
                      </a:cubicBezTo>
                      <a:cubicBezTo>
                        <a:pt x="8521" y="38065"/>
                        <a:pt x="0" y="29545"/>
                        <a:pt x="0" y="19027"/>
                      </a:cubicBezTo>
                      <a:cubicBezTo>
                        <a:pt x="0" y="8509"/>
                        <a:pt x="8532" y="0"/>
                        <a:pt x="19039" y="0"/>
                      </a:cubicBezTo>
                      <a:cubicBezTo>
                        <a:pt x="29545" y="0"/>
                        <a:pt x="38089" y="8521"/>
                        <a:pt x="38089" y="19027"/>
                      </a:cubicBezTo>
                      <a:close/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grpSp>
          <p:nvGrpSpPr>
            <p:cNvPr id="1577" name="Gráfico 15">
              <a:extLst>
                <a:ext uri="{FF2B5EF4-FFF2-40B4-BE49-F238E27FC236}">
                  <a16:creationId xmlns:a16="http://schemas.microsoft.com/office/drawing/2014/main" id="{F1FD44A4-3457-E0C1-F1F3-3CA9C0FE2C3A}"/>
                </a:ext>
              </a:extLst>
            </p:cNvPr>
            <p:cNvGrpSpPr/>
            <p:nvPr/>
          </p:nvGrpSpPr>
          <p:grpSpPr>
            <a:xfrm>
              <a:off x="5033470" y="3618163"/>
              <a:ext cx="255881" cy="255226"/>
              <a:chOff x="5033470" y="3618163"/>
              <a:chExt cx="255881" cy="255226"/>
            </a:xfrm>
            <a:noFill/>
          </p:grpSpPr>
          <p:sp>
            <p:nvSpPr>
              <p:cNvPr id="1578" name="Forma livre: Forma 1577">
                <a:extLst>
                  <a:ext uri="{FF2B5EF4-FFF2-40B4-BE49-F238E27FC236}">
                    <a16:creationId xmlns:a16="http://schemas.microsoft.com/office/drawing/2014/main" id="{889DFEA2-C407-D6F0-420B-6A3E62B90D3C}"/>
                  </a:ext>
                </a:extLst>
              </p:cNvPr>
              <p:cNvSpPr/>
              <p:nvPr/>
            </p:nvSpPr>
            <p:spPr>
              <a:xfrm>
                <a:off x="5033470" y="3618163"/>
                <a:ext cx="219039" cy="219026"/>
              </a:xfrm>
              <a:custGeom>
                <a:avLst/>
                <a:gdLst>
                  <a:gd name="connsiteX0" fmla="*/ 186954 w 219039"/>
                  <a:gd name="connsiteY0" fmla="*/ 32065 h 219026"/>
                  <a:gd name="connsiteX1" fmla="*/ 186954 w 219039"/>
                  <a:gd name="connsiteY1" fmla="*/ 186950 h 219026"/>
                  <a:gd name="connsiteX2" fmla="*/ 32081 w 219039"/>
                  <a:gd name="connsiteY2" fmla="*/ 186950 h 219026"/>
                  <a:gd name="connsiteX3" fmla="*/ 32081 w 219039"/>
                  <a:gd name="connsiteY3" fmla="*/ 32077 h 219026"/>
                  <a:gd name="connsiteX4" fmla="*/ 186954 w 219039"/>
                  <a:gd name="connsiteY4" fmla="*/ 32077 h 2190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19039" h="219026">
                    <a:moveTo>
                      <a:pt x="186954" y="32065"/>
                    </a:moveTo>
                    <a:cubicBezTo>
                      <a:pt x="229735" y="74834"/>
                      <a:pt x="229735" y="144181"/>
                      <a:pt x="186954" y="186950"/>
                    </a:cubicBezTo>
                    <a:cubicBezTo>
                      <a:pt x="144185" y="229719"/>
                      <a:pt x="74850" y="229719"/>
                      <a:pt x="32081" y="186950"/>
                    </a:cubicBezTo>
                    <a:cubicBezTo>
                      <a:pt x="-10688" y="144193"/>
                      <a:pt x="-10700" y="74846"/>
                      <a:pt x="32081" y="32077"/>
                    </a:cubicBezTo>
                    <a:cubicBezTo>
                      <a:pt x="74850" y="-10692"/>
                      <a:pt x="144197" y="-10692"/>
                      <a:pt x="186954" y="32077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579" name="Forma livre: Forma 1578">
                <a:extLst>
                  <a:ext uri="{FF2B5EF4-FFF2-40B4-BE49-F238E27FC236}">
                    <a16:creationId xmlns:a16="http://schemas.microsoft.com/office/drawing/2014/main" id="{2E1853C9-791F-A49B-D8E6-B3791839FF4B}"/>
                  </a:ext>
                </a:extLst>
              </p:cNvPr>
              <p:cNvSpPr/>
              <p:nvPr/>
            </p:nvSpPr>
            <p:spPr>
              <a:xfrm>
                <a:off x="5224938" y="3793330"/>
                <a:ext cx="64413" cy="80058"/>
              </a:xfrm>
              <a:custGeom>
                <a:avLst/>
                <a:gdLst>
                  <a:gd name="connsiteX0" fmla="*/ 5661 w 64413"/>
                  <a:gd name="connsiteY0" fmla="*/ 0 h 80058"/>
                  <a:gd name="connsiteX1" fmla="*/ 60590 w 64413"/>
                  <a:gd name="connsiteY1" fmla="*/ 54929 h 80058"/>
                  <a:gd name="connsiteX2" fmla="*/ 59775 w 64413"/>
                  <a:gd name="connsiteY2" fmla="*/ 75410 h 80058"/>
                  <a:gd name="connsiteX3" fmla="*/ 39294 w 64413"/>
                  <a:gd name="connsiteY3" fmla="*/ 76237 h 80058"/>
                  <a:gd name="connsiteX4" fmla="*/ 0 w 64413"/>
                  <a:gd name="connsiteY4" fmla="*/ 36943 h 800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4413" h="80058">
                    <a:moveTo>
                      <a:pt x="5661" y="0"/>
                    </a:moveTo>
                    <a:lnTo>
                      <a:pt x="60590" y="54929"/>
                    </a:lnTo>
                    <a:cubicBezTo>
                      <a:pt x="65991" y="60330"/>
                      <a:pt x="65625" y="69548"/>
                      <a:pt x="59775" y="75410"/>
                    </a:cubicBezTo>
                    <a:cubicBezTo>
                      <a:pt x="53913" y="81271"/>
                      <a:pt x="44695" y="81638"/>
                      <a:pt x="39294" y="76237"/>
                    </a:cubicBezTo>
                    <a:lnTo>
                      <a:pt x="0" y="36943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580" name="Gráfico 15">
            <a:extLst>
              <a:ext uri="{FF2B5EF4-FFF2-40B4-BE49-F238E27FC236}">
                <a16:creationId xmlns:a16="http://schemas.microsoft.com/office/drawing/2014/main" id="{A6808075-F96B-15C4-0CA7-4CD7B739BA52}"/>
              </a:ext>
            </a:extLst>
          </p:cNvPr>
          <p:cNvGrpSpPr/>
          <p:nvPr/>
        </p:nvGrpSpPr>
        <p:grpSpPr>
          <a:xfrm>
            <a:off x="4378176" y="3580159"/>
            <a:ext cx="331160" cy="331160"/>
            <a:chOff x="4378176" y="3580159"/>
            <a:chExt cx="331160" cy="331160"/>
          </a:xfrm>
          <a:noFill/>
        </p:grpSpPr>
        <p:grpSp>
          <p:nvGrpSpPr>
            <p:cNvPr id="1581" name="Gráfico 15">
              <a:extLst>
                <a:ext uri="{FF2B5EF4-FFF2-40B4-BE49-F238E27FC236}">
                  <a16:creationId xmlns:a16="http://schemas.microsoft.com/office/drawing/2014/main" id="{CDEC43EC-546B-C355-BC36-ADBD8A276714}"/>
                </a:ext>
              </a:extLst>
            </p:cNvPr>
            <p:cNvGrpSpPr/>
            <p:nvPr/>
          </p:nvGrpSpPr>
          <p:grpSpPr>
            <a:xfrm>
              <a:off x="4493850" y="3693351"/>
              <a:ext cx="99813" cy="104777"/>
              <a:chOff x="4493850" y="3693351"/>
              <a:chExt cx="99813" cy="104777"/>
            </a:xfrm>
            <a:noFill/>
          </p:grpSpPr>
          <p:sp>
            <p:nvSpPr>
              <p:cNvPr id="1582" name="Forma livre: Forma 1581">
                <a:extLst>
                  <a:ext uri="{FF2B5EF4-FFF2-40B4-BE49-F238E27FC236}">
                    <a16:creationId xmlns:a16="http://schemas.microsoft.com/office/drawing/2014/main" id="{1F69C246-AC9F-E39A-EF55-C21426FB612C}"/>
                  </a:ext>
                </a:extLst>
              </p:cNvPr>
              <p:cNvSpPr/>
              <p:nvPr/>
            </p:nvSpPr>
            <p:spPr>
              <a:xfrm>
                <a:off x="4511257" y="3698574"/>
                <a:ext cx="64998" cy="94330"/>
              </a:xfrm>
              <a:custGeom>
                <a:avLst/>
                <a:gdLst>
                  <a:gd name="connsiteX0" fmla="*/ 64998 w 64998"/>
                  <a:gd name="connsiteY0" fmla="*/ 0 h 94330"/>
                  <a:gd name="connsiteX1" fmla="*/ 0 w 64998"/>
                  <a:gd name="connsiteY1" fmla="*/ 94330 h 943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4998" h="94330">
                    <a:moveTo>
                      <a:pt x="64998" y="0"/>
                    </a:moveTo>
                    <a:lnTo>
                      <a:pt x="0" y="9433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1583" name="Gráfico 15">
                <a:extLst>
                  <a:ext uri="{FF2B5EF4-FFF2-40B4-BE49-F238E27FC236}">
                    <a16:creationId xmlns:a16="http://schemas.microsoft.com/office/drawing/2014/main" id="{669B5C03-483E-EA11-817C-18B9958B7721}"/>
                  </a:ext>
                </a:extLst>
              </p:cNvPr>
              <p:cNvGrpSpPr/>
              <p:nvPr/>
            </p:nvGrpSpPr>
            <p:grpSpPr>
              <a:xfrm>
                <a:off x="4493850" y="3693351"/>
                <a:ext cx="99813" cy="104777"/>
                <a:chOff x="4493850" y="3693351"/>
                <a:chExt cx="99813" cy="104777"/>
              </a:xfrm>
              <a:noFill/>
            </p:grpSpPr>
            <p:sp>
              <p:nvSpPr>
                <p:cNvPr id="1584" name="Forma livre: Forma 1583">
                  <a:extLst>
                    <a:ext uri="{FF2B5EF4-FFF2-40B4-BE49-F238E27FC236}">
                      <a16:creationId xmlns:a16="http://schemas.microsoft.com/office/drawing/2014/main" id="{C6C471B4-9B31-329E-9E9A-251E834855C5}"/>
                    </a:ext>
                  </a:extLst>
                </p:cNvPr>
                <p:cNvSpPr/>
                <p:nvPr/>
              </p:nvSpPr>
              <p:spPr>
                <a:xfrm>
                  <a:off x="4493850" y="3693351"/>
                  <a:ext cx="36434" cy="36446"/>
                </a:xfrm>
                <a:custGeom>
                  <a:avLst/>
                  <a:gdLst>
                    <a:gd name="connsiteX0" fmla="*/ 36434 w 36434"/>
                    <a:gd name="connsiteY0" fmla="*/ 18223 h 36446"/>
                    <a:gd name="connsiteX1" fmla="*/ 18223 w 36434"/>
                    <a:gd name="connsiteY1" fmla="*/ 36446 h 36446"/>
                    <a:gd name="connsiteX2" fmla="*/ 0 w 36434"/>
                    <a:gd name="connsiteY2" fmla="*/ 18223 h 36446"/>
                    <a:gd name="connsiteX3" fmla="*/ 18223 w 36434"/>
                    <a:gd name="connsiteY3" fmla="*/ 0 h 36446"/>
                    <a:gd name="connsiteX4" fmla="*/ 36434 w 36434"/>
                    <a:gd name="connsiteY4" fmla="*/ 18223 h 364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6434" h="36446">
                      <a:moveTo>
                        <a:pt x="36434" y="18223"/>
                      </a:moveTo>
                      <a:cubicBezTo>
                        <a:pt x="36434" y="28280"/>
                        <a:pt x="28280" y="36446"/>
                        <a:pt x="18223" y="36446"/>
                      </a:cubicBezTo>
                      <a:cubicBezTo>
                        <a:pt x="8166" y="36446"/>
                        <a:pt x="0" y="28280"/>
                        <a:pt x="0" y="18223"/>
                      </a:cubicBezTo>
                      <a:cubicBezTo>
                        <a:pt x="0" y="8166"/>
                        <a:pt x="8154" y="0"/>
                        <a:pt x="18223" y="0"/>
                      </a:cubicBezTo>
                      <a:cubicBezTo>
                        <a:pt x="28292" y="0"/>
                        <a:pt x="36434" y="8166"/>
                        <a:pt x="36434" y="18223"/>
                      </a:cubicBezTo>
                      <a:close/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585" name="Forma livre: Forma 1584">
                  <a:extLst>
                    <a:ext uri="{FF2B5EF4-FFF2-40B4-BE49-F238E27FC236}">
                      <a16:creationId xmlns:a16="http://schemas.microsoft.com/office/drawing/2014/main" id="{7C757CCC-B8EA-351C-2BF0-87A176A1D262}"/>
                    </a:ext>
                  </a:extLst>
                </p:cNvPr>
                <p:cNvSpPr/>
                <p:nvPr/>
              </p:nvSpPr>
              <p:spPr>
                <a:xfrm>
                  <a:off x="4557229" y="3761694"/>
                  <a:ext cx="36434" cy="36434"/>
                </a:xfrm>
                <a:custGeom>
                  <a:avLst/>
                  <a:gdLst>
                    <a:gd name="connsiteX0" fmla="*/ 36434 w 36434"/>
                    <a:gd name="connsiteY0" fmla="*/ 18211 h 36434"/>
                    <a:gd name="connsiteX1" fmla="*/ 18211 w 36434"/>
                    <a:gd name="connsiteY1" fmla="*/ 36434 h 36434"/>
                    <a:gd name="connsiteX2" fmla="*/ 0 w 36434"/>
                    <a:gd name="connsiteY2" fmla="*/ 18211 h 36434"/>
                    <a:gd name="connsiteX3" fmla="*/ 18211 w 36434"/>
                    <a:gd name="connsiteY3" fmla="*/ 0 h 36434"/>
                    <a:gd name="connsiteX4" fmla="*/ 36434 w 36434"/>
                    <a:gd name="connsiteY4" fmla="*/ 18211 h 3643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6434" h="36434">
                      <a:moveTo>
                        <a:pt x="36434" y="18211"/>
                      </a:moveTo>
                      <a:cubicBezTo>
                        <a:pt x="36434" y="28280"/>
                        <a:pt x="28268" y="36434"/>
                        <a:pt x="18211" y="36434"/>
                      </a:cubicBezTo>
                      <a:cubicBezTo>
                        <a:pt x="8154" y="36434"/>
                        <a:pt x="0" y="28280"/>
                        <a:pt x="0" y="18211"/>
                      </a:cubicBezTo>
                      <a:cubicBezTo>
                        <a:pt x="0" y="8143"/>
                        <a:pt x="8166" y="0"/>
                        <a:pt x="18211" y="0"/>
                      </a:cubicBezTo>
                      <a:cubicBezTo>
                        <a:pt x="28257" y="0"/>
                        <a:pt x="36434" y="8154"/>
                        <a:pt x="36434" y="18211"/>
                      </a:cubicBezTo>
                      <a:close/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grpSp>
          <p:nvGrpSpPr>
            <p:cNvPr id="1586" name="Gráfico 15">
              <a:extLst>
                <a:ext uri="{FF2B5EF4-FFF2-40B4-BE49-F238E27FC236}">
                  <a16:creationId xmlns:a16="http://schemas.microsoft.com/office/drawing/2014/main" id="{17BF7EAE-0114-8833-28EA-1F03C7700418}"/>
                </a:ext>
              </a:extLst>
            </p:cNvPr>
            <p:cNvGrpSpPr/>
            <p:nvPr/>
          </p:nvGrpSpPr>
          <p:grpSpPr>
            <a:xfrm>
              <a:off x="4378176" y="3580159"/>
              <a:ext cx="331160" cy="331160"/>
              <a:chOff x="4378176" y="3580159"/>
              <a:chExt cx="331160" cy="331160"/>
            </a:xfrm>
            <a:noFill/>
          </p:grpSpPr>
          <p:sp>
            <p:nvSpPr>
              <p:cNvPr id="1587" name="Forma livre: Forma 1586">
                <a:extLst>
                  <a:ext uri="{FF2B5EF4-FFF2-40B4-BE49-F238E27FC236}">
                    <a16:creationId xmlns:a16="http://schemas.microsoft.com/office/drawing/2014/main" id="{41B2B603-5C81-78E6-21F9-9325B2D0EBD8}"/>
                  </a:ext>
                </a:extLst>
              </p:cNvPr>
              <p:cNvSpPr/>
              <p:nvPr/>
            </p:nvSpPr>
            <p:spPr>
              <a:xfrm>
                <a:off x="4428024" y="3661821"/>
                <a:ext cx="32640" cy="60271"/>
              </a:xfrm>
              <a:custGeom>
                <a:avLst/>
                <a:gdLst>
                  <a:gd name="connsiteX0" fmla="*/ 0 w 32640"/>
                  <a:gd name="connsiteY0" fmla="*/ 60271 h 60271"/>
                  <a:gd name="connsiteX1" fmla="*/ 32641 w 32640"/>
                  <a:gd name="connsiteY1" fmla="*/ 0 h 602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2640" h="60271">
                    <a:moveTo>
                      <a:pt x="0" y="60271"/>
                    </a:moveTo>
                    <a:cubicBezTo>
                      <a:pt x="4739" y="36943"/>
                      <a:pt x="16356" y="16120"/>
                      <a:pt x="32641" y="0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588" name="Forma livre: Forma 1587">
                <a:extLst>
                  <a:ext uri="{FF2B5EF4-FFF2-40B4-BE49-F238E27FC236}">
                    <a16:creationId xmlns:a16="http://schemas.microsoft.com/office/drawing/2014/main" id="{7B88CB41-9B44-A051-DA63-DA424C602573}"/>
                  </a:ext>
                </a:extLst>
              </p:cNvPr>
              <p:cNvSpPr/>
              <p:nvPr/>
            </p:nvSpPr>
            <p:spPr>
              <a:xfrm>
                <a:off x="4425649" y="3745751"/>
                <a:ext cx="34496" cy="83386"/>
              </a:xfrm>
              <a:custGeom>
                <a:avLst/>
                <a:gdLst>
                  <a:gd name="connsiteX0" fmla="*/ 34496 w 34496"/>
                  <a:gd name="connsiteY0" fmla="*/ 83387 h 83386"/>
                  <a:gd name="connsiteX1" fmla="*/ 0 w 34496"/>
                  <a:gd name="connsiteY1" fmla="*/ 0 h 833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4496" h="83386">
                    <a:moveTo>
                      <a:pt x="34496" y="83387"/>
                    </a:moveTo>
                    <a:cubicBezTo>
                      <a:pt x="13177" y="62032"/>
                      <a:pt x="0" y="32558"/>
                      <a:pt x="0" y="0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589" name="Forma livre: Forma 1588">
                <a:extLst>
                  <a:ext uri="{FF2B5EF4-FFF2-40B4-BE49-F238E27FC236}">
                    <a16:creationId xmlns:a16="http://schemas.microsoft.com/office/drawing/2014/main" id="{740A7CFF-CF63-710E-9AE8-4A3A6440DE45}"/>
                  </a:ext>
                </a:extLst>
              </p:cNvPr>
              <p:cNvSpPr/>
              <p:nvPr/>
            </p:nvSpPr>
            <p:spPr>
              <a:xfrm>
                <a:off x="4478770" y="3844360"/>
                <a:ext cx="64962" cy="19452"/>
              </a:xfrm>
              <a:custGeom>
                <a:avLst/>
                <a:gdLst>
                  <a:gd name="connsiteX0" fmla="*/ 64963 w 64962"/>
                  <a:gd name="connsiteY0" fmla="*/ 19452 h 19452"/>
                  <a:gd name="connsiteX1" fmla="*/ 0 w 64962"/>
                  <a:gd name="connsiteY1" fmla="*/ 0 h 194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4962" h="19452">
                    <a:moveTo>
                      <a:pt x="64963" y="19452"/>
                    </a:moveTo>
                    <a:cubicBezTo>
                      <a:pt x="40961" y="19452"/>
                      <a:pt x="18637" y="12291"/>
                      <a:pt x="0" y="0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590" name="Forma livre: Forma 1589">
                <a:extLst>
                  <a:ext uri="{FF2B5EF4-FFF2-40B4-BE49-F238E27FC236}">
                    <a16:creationId xmlns:a16="http://schemas.microsoft.com/office/drawing/2014/main" id="{6D5FBC0B-6F74-12FC-37CB-F0B475DB3D27}"/>
                  </a:ext>
                </a:extLst>
              </p:cNvPr>
              <p:cNvSpPr/>
              <p:nvPr/>
            </p:nvSpPr>
            <p:spPr>
              <a:xfrm>
                <a:off x="4567534" y="3829304"/>
                <a:ext cx="59656" cy="32109"/>
              </a:xfrm>
              <a:custGeom>
                <a:avLst/>
                <a:gdLst>
                  <a:gd name="connsiteX0" fmla="*/ 59657 w 59656"/>
                  <a:gd name="connsiteY0" fmla="*/ 0 h 32109"/>
                  <a:gd name="connsiteX1" fmla="*/ 0 w 59656"/>
                  <a:gd name="connsiteY1" fmla="*/ 32109 h 321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9656" h="32109">
                    <a:moveTo>
                      <a:pt x="59657" y="0"/>
                    </a:moveTo>
                    <a:cubicBezTo>
                      <a:pt x="43632" y="15990"/>
                      <a:pt x="23045" y="27394"/>
                      <a:pt x="0" y="32109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591" name="Forma livre: Forma 1590">
                <a:extLst>
                  <a:ext uri="{FF2B5EF4-FFF2-40B4-BE49-F238E27FC236}">
                    <a16:creationId xmlns:a16="http://schemas.microsoft.com/office/drawing/2014/main" id="{8A36B53F-E49D-53B2-1DA4-68047FB2140B}"/>
                  </a:ext>
                </a:extLst>
              </p:cNvPr>
              <p:cNvSpPr/>
              <p:nvPr/>
            </p:nvSpPr>
            <p:spPr>
              <a:xfrm>
                <a:off x="4642436" y="3769635"/>
                <a:ext cx="17005" cy="41008"/>
              </a:xfrm>
              <a:custGeom>
                <a:avLst/>
                <a:gdLst>
                  <a:gd name="connsiteX0" fmla="*/ 17006 w 17005"/>
                  <a:gd name="connsiteY0" fmla="*/ 0 h 41008"/>
                  <a:gd name="connsiteX1" fmla="*/ 0 w 17005"/>
                  <a:gd name="connsiteY1" fmla="*/ 41008 h 410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7005" h="41008">
                    <a:moveTo>
                      <a:pt x="17006" y="0"/>
                    </a:moveTo>
                    <a:cubicBezTo>
                      <a:pt x="13945" y="14879"/>
                      <a:pt x="8083" y="28753"/>
                      <a:pt x="0" y="41008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592" name="Forma livre: Forma 1591">
                <a:extLst>
                  <a:ext uri="{FF2B5EF4-FFF2-40B4-BE49-F238E27FC236}">
                    <a16:creationId xmlns:a16="http://schemas.microsoft.com/office/drawing/2014/main" id="{5ADDBA02-EEF1-4994-617A-4F7A4DA1232D}"/>
                  </a:ext>
                </a:extLst>
              </p:cNvPr>
              <p:cNvSpPr/>
              <p:nvPr/>
            </p:nvSpPr>
            <p:spPr>
              <a:xfrm>
                <a:off x="4642660" y="3681202"/>
                <a:ext cx="19192" cy="64549"/>
              </a:xfrm>
              <a:custGeom>
                <a:avLst/>
                <a:gdLst>
                  <a:gd name="connsiteX0" fmla="*/ 0 w 19192"/>
                  <a:gd name="connsiteY0" fmla="*/ 0 h 64549"/>
                  <a:gd name="connsiteX1" fmla="*/ 19192 w 19192"/>
                  <a:gd name="connsiteY1" fmla="*/ 64549 h 645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9192" h="64549">
                    <a:moveTo>
                      <a:pt x="0" y="0"/>
                    </a:moveTo>
                    <a:cubicBezTo>
                      <a:pt x="12137" y="18554"/>
                      <a:pt x="19192" y="40724"/>
                      <a:pt x="19192" y="64549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593" name="Forma livre: Forma 1592">
                <a:extLst>
                  <a:ext uri="{FF2B5EF4-FFF2-40B4-BE49-F238E27FC236}">
                    <a16:creationId xmlns:a16="http://schemas.microsoft.com/office/drawing/2014/main" id="{888E3A57-3B1D-5DE6-5833-47E88042FE19}"/>
                  </a:ext>
                </a:extLst>
              </p:cNvPr>
              <p:cNvSpPr/>
              <p:nvPr/>
            </p:nvSpPr>
            <p:spPr>
              <a:xfrm>
                <a:off x="4567546" y="3630066"/>
                <a:ext cx="59632" cy="32097"/>
              </a:xfrm>
              <a:custGeom>
                <a:avLst/>
                <a:gdLst>
                  <a:gd name="connsiteX0" fmla="*/ 0 w 59632"/>
                  <a:gd name="connsiteY0" fmla="*/ 0 h 32097"/>
                  <a:gd name="connsiteX1" fmla="*/ 59633 w 59632"/>
                  <a:gd name="connsiteY1" fmla="*/ 32097 h 320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9632" h="32097">
                    <a:moveTo>
                      <a:pt x="0" y="0"/>
                    </a:moveTo>
                    <a:cubicBezTo>
                      <a:pt x="23033" y="4704"/>
                      <a:pt x="43620" y="16120"/>
                      <a:pt x="59633" y="32097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594" name="Forma livre: Forma 1593">
                <a:extLst>
                  <a:ext uri="{FF2B5EF4-FFF2-40B4-BE49-F238E27FC236}">
                    <a16:creationId xmlns:a16="http://schemas.microsoft.com/office/drawing/2014/main" id="{E3D137F6-7A3B-A613-EA48-467663A15B49}"/>
                  </a:ext>
                </a:extLst>
              </p:cNvPr>
              <p:cNvSpPr/>
              <p:nvPr/>
            </p:nvSpPr>
            <p:spPr>
              <a:xfrm>
                <a:off x="4478676" y="3627679"/>
                <a:ext cx="65057" cy="19523"/>
              </a:xfrm>
              <a:custGeom>
                <a:avLst/>
                <a:gdLst>
                  <a:gd name="connsiteX0" fmla="*/ 0 w 65057"/>
                  <a:gd name="connsiteY0" fmla="*/ 19523 h 19523"/>
                  <a:gd name="connsiteX1" fmla="*/ 65057 w 65057"/>
                  <a:gd name="connsiteY1" fmla="*/ 0 h 195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5057" h="19523">
                    <a:moveTo>
                      <a:pt x="0" y="19523"/>
                    </a:moveTo>
                    <a:cubicBezTo>
                      <a:pt x="18660" y="7185"/>
                      <a:pt x="41020" y="0"/>
                      <a:pt x="65057" y="0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1595" name="Gráfico 15">
                <a:extLst>
                  <a:ext uri="{FF2B5EF4-FFF2-40B4-BE49-F238E27FC236}">
                    <a16:creationId xmlns:a16="http://schemas.microsoft.com/office/drawing/2014/main" id="{2652D4BB-A5B7-246A-AB87-DB099F94ABFB}"/>
                  </a:ext>
                </a:extLst>
              </p:cNvPr>
              <p:cNvGrpSpPr/>
              <p:nvPr/>
            </p:nvGrpSpPr>
            <p:grpSpPr>
              <a:xfrm>
                <a:off x="4522201" y="3580159"/>
                <a:ext cx="43111" cy="331160"/>
                <a:chOff x="4522201" y="3580159"/>
                <a:chExt cx="43111" cy="331160"/>
              </a:xfrm>
              <a:noFill/>
            </p:grpSpPr>
            <p:grpSp>
              <p:nvGrpSpPr>
                <p:cNvPr id="1596" name="Gráfico 15">
                  <a:extLst>
                    <a:ext uri="{FF2B5EF4-FFF2-40B4-BE49-F238E27FC236}">
                      <a16:creationId xmlns:a16="http://schemas.microsoft.com/office/drawing/2014/main" id="{0CAFB526-EEB8-1483-7E68-533BEAB3616A}"/>
                    </a:ext>
                  </a:extLst>
                </p:cNvPr>
                <p:cNvGrpSpPr/>
                <p:nvPr/>
              </p:nvGrpSpPr>
              <p:grpSpPr>
                <a:xfrm>
                  <a:off x="4522201" y="3843343"/>
                  <a:ext cx="43111" cy="67976"/>
                  <a:chOff x="4522201" y="3843343"/>
                  <a:chExt cx="43111" cy="67976"/>
                </a:xfrm>
                <a:noFill/>
              </p:grpSpPr>
              <p:sp>
                <p:nvSpPr>
                  <p:cNvPr id="1597" name="Forma livre: Forma 1596">
                    <a:extLst>
                      <a:ext uri="{FF2B5EF4-FFF2-40B4-BE49-F238E27FC236}">
                        <a16:creationId xmlns:a16="http://schemas.microsoft.com/office/drawing/2014/main" id="{A99FFB95-4A97-CBDF-A1D7-2630AE61036B}"/>
                      </a:ext>
                    </a:extLst>
                  </p:cNvPr>
                  <p:cNvSpPr/>
                  <p:nvPr/>
                </p:nvSpPr>
                <p:spPr>
                  <a:xfrm>
                    <a:off x="4543697" y="3843343"/>
                    <a:ext cx="1181" cy="67645"/>
                  </a:xfrm>
                  <a:custGeom>
                    <a:avLst/>
                    <a:gdLst>
                      <a:gd name="connsiteX0" fmla="*/ 0 w 1181"/>
                      <a:gd name="connsiteY0" fmla="*/ 67645 h 67645"/>
                      <a:gd name="connsiteX1" fmla="*/ 0 w 1181"/>
                      <a:gd name="connsiteY1" fmla="*/ 0 h 6764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181" h="67645">
                        <a:moveTo>
                          <a:pt x="0" y="67645"/>
                        </a:moveTo>
                        <a:lnTo>
                          <a:pt x="0" y="0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1598" name="Forma livre: Forma 1597">
                    <a:extLst>
                      <a:ext uri="{FF2B5EF4-FFF2-40B4-BE49-F238E27FC236}">
                        <a16:creationId xmlns:a16="http://schemas.microsoft.com/office/drawing/2014/main" id="{B69ECBA8-27F8-0723-DE71-B9A801182EEC}"/>
                      </a:ext>
                    </a:extLst>
                  </p:cNvPr>
                  <p:cNvSpPr/>
                  <p:nvPr/>
                </p:nvSpPr>
                <p:spPr>
                  <a:xfrm>
                    <a:off x="4522201" y="3889729"/>
                    <a:ext cx="43111" cy="21591"/>
                  </a:xfrm>
                  <a:custGeom>
                    <a:avLst/>
                    <a:gdLst>
                      <a:gd name="connsiteX0" fmla="*/ 0 w 43111"/>
                      <a:gd name="connsiteY0" fmla="*/ 0 h 21591"/>
                      <a:gd name="connsiteX1" fmla="*/ 21591 w 43111"/>
                      <a:gd name="connsiteY1" fmla="*/ 21591 h 21591"/>
                      <a:gd name="connsiteX2" fmla="*/ 43112 w 43111"/>
                      <a:gd name="connsiteY2" fmla="*/ 83 h 2159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</a:cxnLst>
                    <a:rect l="l" t="t" r="r" b="b"/>
                    <a:pathLst>
                      <a:path w="43111" h="21591">
                        <a:moveTo>
                          <a:pt x="0" y="0"/>
                        </a:moveTo>
                        <a:lnTo>
                          <a:pt x="21591" y="21591"/>
                        </a:lnTo>
                        <a:lnTo>
                          <a:pt x="43112" y="83"/>
                        </a:lnTo>
                      </a:path>
                    </a:pathLst>
                  </a:custGeom>
                  <a:noFill/>
                  <a:ln w="6350" cap="rnd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  <p:grpSp>
              <p:nvGrpSpPr>
                <p:cNvPr id="1599" name="Gráfico 15">
                  <a:extLst>
                    <a:ext uri="{FF2B5EF4-FFF2-40B4-BE49-F238E27FC236}">
                      <a16:creationId xmlns:a16="http://schemas.microsoft.com/office/drawing/2014/main" id="{462C4432-928C-C59C-2EC9-9EB6D5F6102D}"/>
                    </a:ext>
                  </a:extLst>
                </p:cNvPr>
                <p:cNvGrpSpPr/>
                <p:nvPr/>
              </p:nvGrpSpPr>
              <p:grpSpPr>
                <a:xfrm>
                  <a:off x="4522201" y="3580159"/>
                  <a:ext cx="43111" cy="67976"/>
                  <a:chOff x="4522201" y="3580159"/>
                  <a:chExt cx="43111" cy="67976"/>
                </a:xfrm>
                <a:noFill/>
              </p:grpSpPr>
              <p:sp>
                <p:nvSpPr>
                  <p:cNvPr id="1600" name="Forma livre: Forma 1599">
                    <a:extLst>
                      <a:ext uri="{FF2B5EF4-FFF2-40B4-BE49-F238E27FC236}">
                        <a16:creationId xmlns:a16="http://schemas.microsoft.com/office/drawing/2014/main" id="{680FFB8E-AC34-8AA6-7F94-36FFE7B107C4}"/>
                      </a:ext>
                    </a:extLst>
                  </p:cNvPr>
                  <p:cNvSpPr/>
                  <p:nvPr/>
                </p:nvSpPr>
                <p:spPr>
                  <a:xfrm>
                    <a:off x="4543816" y="3580490"/>
                    <a:ext cx="1181" cy="67645"/>
                  </a:xfrm>
                  <a:custGeom>
                    <a:avLst/>
                    <a:gdLst>
                      <a:gd name="connsiteX0" fmla="*/ 0 w 1181"/>
                      <a:gd name="connsiteY0" fmla="*/ 0 h 67645"/>
                      <a:gd name="connsiteX1" fmla="*/ 0 w 1181"/>
                      <a:gd name="connsiteY1" fmla="*/ 67645 h 6764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181" h="67645">
                        <a:moveTo>
                          <a:pt x="0" y="0"/>
                        </a:moveTo>
                        <a:lnTo>
                          <a:pt x="0" y="67645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1601" name="Forma livre: Forma 1600">
                    <a:extLst>
                      <a:ext uri="{FF2B5EF4-FFF2-40B4-BE49-F238E27FC236}">
                        <a16:creationId xmlns:a16="http://schemas.microsoft.com/office/drawing/2014/main" id="{718A24D6-4041-C9F6-68C2-5C9D6EBBA2CC}"/>
                      </a:ext>
                    </a:extLst>
                  </p:cNvPr>
                  <p:cNvSpPr/>
                  <p:nvPr/>
                </p:nvSpPr>
                <p:spPr>
                  <a:xfrm>
                    <a:off x="4522201" y="3580159"/>
                    <a:ext cx="43111" cy="21603"/>
                  </a:xfrm>
                  <a:custGeom>
                    <a:avLst/>
                    <a:gdLst>
                      <a:gd name="connsiteX0" fmla="*/ 43112 w 43111"/>
                      <a:gd name="connsiteY0" fmla="*/ 21603 h 21603"/>
                      <a:gd name="connsiteX1" fmla="*/ 21509 w 43111"/>
                      <a:gd name="connsiteY1" fmla="*/ 0 h 21603"/>
                      <a:gd name="connsiteX2" fmla="*/ 0 w 43111"/>
                      <a:gd name="connsiteY2" fmla="*/ 21509 h 2160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</a:cxnLst>
                    <a:rect l="l" t="t" r="r" b="b"/>
                    <a:pathLst>
                      <a:path w="43111" h="21603">
                        <a:moveTo>
                          <a:pt x="43112" y="21603"/>
                        </a:moveTo>
                        <a:lnTo>
                          <a:pt x="21509" y="0"/>
                        </a:lnTo>
                        <a:lnTo>
                          <a:pt x="0" y="21509"/>
                        </a:lnTo>
                      </a:path>
                    </a:pathLst>
                  </a:custGeom>
                  <a:noFill/>
                  <a:ln w="6350" cap="rnd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</p:grpSp>
          <p:grpSp>
            <p:nvGrpSpPr>
              <p:cNvPr id="1602" name="Gráfico 15">
                <a:extLst>
                  <a:ext uri="{FF2B5EF4-FFF2-40B4-BE49-F238E27FC236}">
                    <a16:creationId xmlns:a16="http://schemas.microsoft.com/office/drawing/2014/main" id="{4A73C42E-D46E-987A-916F-8D91F2739084}"/>
                  </a:ext>
                </a:extLst>
              </p:cNvPr>
              <p:cNvGrpSpPr/>
              <p:nvPr/>
            </p:nvGrpSpPr>
            <p:grpSpPr>
              <a:xfrm>
                <a:off x="4378176" y="3724184"/>
                <a:ext cx="331160" cy="43111"/>
                <a:chOff x="4378176" y="3724184"/>
                <a:chExt cx="331160" cy="43111"/>
              </a:xfrm>
              <a:noFill/>
            </p:grpSpPr>
            <p:grpSp>
              <p:nvGrpSpPr>
                <p:cNvPr id="1603" name="Gráfico 15">
                  <a:extLst>
                    <a:ext uri="{FF2B5EF4-FFF2-40B4-BE49-F238E27FC236}">
                      <a16:creationId xmlns:a16="http://schemas.microsoft.com/office/drawing/2014/main" id="{D0D1FBFE-C382-D3CA-1801-CA7BEF71BE96}"/>
                    </a:ext>
                  </a:extLst>
                </p:cNvPr>
                <p:cNvGrpSpPr/>
                <p:nvPr/>
              </p:nvGrpSpPr>
              <p:grpSpPr>
                <a:xfrm>
                  <a:off x="4378176" y="3724184"/>
                  <a:ext cx="67976" cy="43111"/>
                  <a:chOff x="4378176" y="3724184"/>
                  <a:chExt cx="67976" cy="43111"/>
                </a:xfrm>
                <a:noFill/>
              </p:grpSpPr>
              <p:sp>
                <p:nvSpPr>
                  <p:cNvPr id="1604" name="Forma livre: Forma 1603">
                    <a:extLst>
                      <a:ext uri="{FF2B5EF4-FFF2-40B4-BE49-F238E27FC236}">
                        <a16:creationId xmlns:a16="http://schemas.microsoft.com/office/drawing/2014/main" id="{92403DFD-5653-FF21-AAAE-25419BFB6FE7}"/>
                      </a:ext>
                    </a:extLst>
                  </p:cNvPr>
                  <p:cNvSpPr/>
                  <p:nvPr/>
                </p:nvSpPr>
                <p:spPr>
                  <a:xfrm>
                    <a:off x="4378507" y="3745681"/>
                    <a:ext cx="67645" cy="1181"/>
                  </a:xfrm>
                  <a:custGeom>
                    <a:avLst/>
                    <a:gdLst>
                      <a:gd name="connsiteX0" fmla="*/ 0 w 67645"/>
                      <a:gd name="connsiteY0" fmla="*/ 0 h 1181"/>
                      <a:gd name="connsiteX1" fmla="*/ 67645 w 67645"/>
                      <a:gd name="connsiteY1" fmla="*/ 0 h 118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67645" h="1181">
                        <a:moveTo>
                          <a:pt x="0" y="0"/>
                        </a:moveTo>
                        <a:lnTo>
                          <a:pt x="67645" y="0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1605" name="Forma livre: Forma 1604">
                    <a:extLst>
                      <a:ext uri="{FF2B5EF4-FFF2-40B4-BE49-F238E27FC236}">
                        <a16:creationId xmlns:a16="http://schemas.microsoft.com/office/drawing/2014/main" id="{E2532D0D-6C9E-E230-1324-A9A5E5E0EBBD}"/>
                      </a:ext>
                    </a:extLst>
                  </p:cNvPr>
                  <p:cNvSpPr/>
                  <p:nvPr/>
                </p:nvSpPr>
                <p:spPr>
                  <a:xfrm>
                    <a:off x="4378176" y="3724184"/>
                    <a:ext cx="21591" cy="43111"/>
                  </a:xfrm>
                  <a:custGeom>
                    <a:avLst/>
                    <a:gdLst>
                      <a:gd name="connsiteX0" fmla="*/ 21591 w 21591"/>
                      <a:gd name="connsiteY0" fmla="*/ 0 h 43111"/>
                      <a:gd name="connsiteX1" fmla="*/ 0 w 21591"/>
                      <a:gd name="connsiteY1" fmla="*/ 21591 h 43111"/>
                      <a:gd name="connsiteX2" fmla="*/ 21509 w 21591"/>
                      <a:gd name="connsiteY2" fmla="*/ 43112 h 4311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</a:cxnLst>
                    <a:rect l="l" t="t" r="r" b="b"/>
                    <a:pathLst>
                      <a:path w="21591" h="43111">
                        <a:moveTo>
                          <a:pt x="21591" y="0"/>
                        </a:moveTo>
                        <a:lnTo>
                          <a:pt x="0" y="21591"/>
                        </a:lnTo>
                        <a:lnTo>
                          <a:pt x="21509" y="43112"/>
                        </a:lnTo>
                      </a:path>
                    </a:pathLst>
                  </a:custGeom>
                  <a:noFill/>
                  <a:ln w="6350" cap="rnd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  <p:grpSp>
              <p:nvGrpSpPr>
                <p:cNvPr id="1606" name="Gráfico 15">
                  <a:extLst>
                    <a:ext uri="{FF2B5EF4-FFF2-40B4-BE49-F238E27FC236}">
                      <a16:creationId xmlns:a16="http://schemas.microsoft.com/office/drawing/2014/main" id="{48D645D3-ED8C-68C9-0166-AB01AC6B57F1}"/>
                    </a:ext>
                  </a:extLst>
                </p:cNvPr>
                <p:cNvGrpSpPr/>
                <p:nvPr/>
              </p:nvGrpSpPr>
              <p:grpSpPr>
                <a:xfrm>
                  <a:off x="4641360" y="3724184"/>
                  <a:ext cx="67976" cy="43111"/>
                  <a:chOff x="4641360" y="3724184"/>
                  <a:chExt cx="67976" cy="43111"/>
                </a:xfrm>
                <a:noFill/>
              </p:grpSpPr>
              <p:sp>
                <p:nvSpPr>
                  <p:cNvPr id="1607" name="Forma livre: Forma 1606">
                    <a:extLst>
                      <a:ext uri="{FF2B5EF4-FFF2-40B4-BE49-F238E27FC236}">
                        <a16:creationId xmlns:a16="http://schemas.microsoft.com/office/drawing/2014/main" id="{63E9FAF6-F3B0-8844-1169-9769CEB24010}"/>
                      </a:ext>
                    </a:extLst>
                  </p:cNvPr>
                  <p:cNvSpPr/>
                  <p:nvPr/>
                </p:nvSpPr>
                <p:spPr>
                  <a:xfrm>
                    <a:off x="4641360" y="3745799"/>
                    <a:ext cx="67645" cy="1181"/>
                  </a:xfrm>
                  <a:custGeom>
                    <a:avLst/>
                    <a:gdLst>
                      <a:gd name="connsiteX0" fmla="*/ 67645 w 67645"/>
                      <a:gd name="connsiteY0" fmla="*/ 0 h 1181"/>
                      <a:gd name="connsiteX1" fmla="*/ 0 w 67645"/>
                      <a:gd name="connsiteY1" fmla="*/ 0 h 118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67645" h="1181">
                        <a:moveTo>
                          <a:pt x="67645" y="0"/>
                        </a:moveTo>
                        <a:lnTo>
                          <a:pt x="0" y="0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1608" name="Forma livre: Forma 1607">
                    <a:extLst>
                      <a:ext uri="{FF2B5EF4-FFF2-40B4-BE49-F238E27FC236}">
                        <a16:creationId xmlns:a16="http://schemas.microsoft.com/office/drawing/2014/main" id="{8A65DB73-4BFF-8263-56B7-62BA575279FC}"/>
                      </a:ext>
                    </a:extLst>
                  </p:cNvPr>
                  <p:cNvSpPr/>
                  <p:nvPr/>
                </p:nvSpPr>
                <p:spPr>
                  <a:xfrm>
                    <a:off x="4687734" y="3724184"/>
                    <a:ext cx="21603" cy="43111"/>
                  </a:xfrm>
                  <a:custGeom>
                    <a:avLst/>
                    <a:gdLst>
                      <a:gd name="connsiteX0" fmla="*/ 0 w 21603"/>
                      <a:gd name="connsiteY0" fmla="*/ 43112 h 43111"/>
                      <a:gd name="connsiteX1" fmla="*/ 21603 w 21603"/>
                      <a:gd name="connsiteY1" fmla="*/ 21509 h 43111"/>
                      <a:gd name="connsiteX2" fmla="*/ 95 w 21603"/>
                      <a:gd name="connsiteY2" fmla="*/ 0 h 4311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</a:cxnLst>
                    <a:rect l="l" t="t" r="r" b="b"/>
                    <a:pathLst>
                      <a:path w="21603" h="43111">
                        <a:moveTo>
                          <a:pt x="0" y="43112"/>
                        </a:moveTo>
                        <a:lnTo>
                          <a:pt x="21603" y="21509"/>
                        </a:lnTo>
                        <a:lnTo>
                          <a:pt x="95" y="0"/>
                        </a:lnTo>
                      </a:path>
                    </a:pathLst>
                  </a:custGeom>
                  <a:noFill/>
                  <a:ln w="6350" cap="rnd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</p:grpSp>
          <p:grpSp>
            <p:nvGrpSpPr>
              <p:cNvPr id="1609" name="Gráfico 15">
                <a:extLst>
                  <a:ext uri="{FF2B5EF4-FFF2-40B4-BE49-F238E27FC236}">
                    <a16:creationId xmlns:a16="http://schemas.microsoft.com/office/drawing/2014/main" id="{A4E0FFE6-3D05-6B67-078D-F085C5561DAB}"/>
                  </a:ext>
                </a:extLst>
              </p:cNvPr>
              <p:cNvGrpSpPr/>
              <p:nvPr/>
            </p:nvGrpSpPr>
            <p:grpSpPr>
              <a:xfrm>
                <a:off x="4426701" y="3628625"/>
                <a:ext cx="234100" cy="234230"/>
                <a:chOff x="4426701" y="3628625"/>
                <a:chExt cx="234100" cy="234230"/>
              </a:xfrm>
              <a:noFill/>
            </p:grpSpPr>
            <p:grpSp>
              <p:nvGrpSpPr>
                <p:cNvPr id="1610" name="Gráfico 15">
                  <a:extLst>
                    <a:ext uri="{FF2B5EF4-FFF2-40B4-BE49-F238E27FC236}">
                      <a16:creationId xmlns:a16="http://schemas.microsoft.com/office/drawing/2014/main" id="{9F8745CD-6481-5151-B0A4-AC42C4A951E2}"/>
                    </a:ext>
                  </a:extLst>
                </p:cNvPr>
                <p:cNvGrpSpPr/>
                <p:nvPr/>
              </p:nvGrpSpPr>
              <p:grpSpPr>
                <a:xfrm>
                  <a:off x="4426701" y="3814721"/>
                  <a:ext cx="47992" cy="48134"/>
                  <a:chOff x="4426701" y="3814721"/>
                  <a:chExt cx="47992" cy="48134"/>
                </a:xfrm>
                <a:noFill/>
              </p:grpSpPr>
              <p:sp>
                <p:nvSpPr>
                  <p:cNvPr id="1611" name="Forma livre: Forma 1610">
                    <a:extLst>
                      <a:ext uri="{FF2B5EF4-FFF2-40B4-BE49-F238E27FC236}">
                        <a16:creationId xmlns:a16="http://schemas.microsoft.com/office/drawing/2014/main" id="{893AE0E5-5002-E2A5-C454-D20E7AF12B9C}"/>
                      </a:ext>
                    </a:extLst>
                  </p:cNvPr>
                  <p:cNvSpPr/>
                  <p:nvPr/>
                </p:nvSpPr>
                <p:spPr>
                  <a:xfrm>
                    <a:off x="4426866" y="3814721"/>
                    <a:ext cx="47826" cy="47826"/>
                  </a:xfrm>
                  <a:custGeom>
                    <a:avLst/>
                    <a:gdLst>
                      <a:gd name="connsiteX0" fmla="*/ 0 w 47826"/>
                      <a:gd name="connsiteY0" fmla="*/ 47827 h 47826"/>
                      <a:gd name="connsiteX1" fmla="*/ 47827 w 47826"/>
                      <a:gd name="connsiteY1" fmla="*/ 0 h 4782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47826" h="47826">
                        <a:moveTo>
                          <a:pt x="0" y="47827"/>
                        </a:moveTo>
                        <a:lnTo>
                          <a:pt x="47827" y="0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1612" name="Forma livre: Forma 1611">
                    <a:extLst>
                      <a:ext uri="{FF2B5EF4-FFF2-40B4-BE49-F238E27FC236}">
                        <a16:creationId xmlns:a16="http://schemas.microsoft.com/office/drawing/2014/main" id="{C35E6F63-AA93-2CAD-D627-755742EF90F1}"/>
                      </a:ext>
                    </a:extLst>
                  </p:cNvPr>
                  <p:cNvSpPr/>
                  <p:nvPr/>
                </p:nvSpPr>
                <p:spPr>
                  <a:xfrm>
                    <a:off x="4426701" y="3832317"/>
                    <a:ext cx="30419" cy="30537"/>
                  </a:xfrm>
                  <a:custGeom>
                    <a:avLst/>
                    <a:gdLst>
                      <a:gd name="connsiteX0" fmla="*/ 0 w 30419"/>
                      <a:gd name="connsiteY0" fmla="*/ 0 h 30537"/>
                      <a:gd name="connsiteX1" fmla="*/ 0 w 30419"/>
                      <a:gd name="connsiteY1" fmla="*/ 30537 h 30537"/>
                      <a:gd name="connsiteX2" fmla="*/ 30419 w 30419"/>
                      <a:gd name="connsiteY2" fmla="*/ 30537 h 3053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</a:cxnLst>
                    <a:rect l="l" t="t" r="r" b="b"/>
                    <a:pathLst>
                      <a:path w="30419" h="30537">
                        <a:moveTo>
                          <a:pt x="0" y="0"/>
                        </a:moveTo>
                        <a:lnTo>
                          <a:pt x="0" y="30537"/>
                        </a:lnTo>
                        <a:lnTo>
                          <a:pt x="30419" y="30537"/>
                        </a:lnTo>
                      </a:path>
                    </a:pathLst>
                  </a:custGeom>
                  <a:noFill/>
                  <a:ln w="6350" cap="rnd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  <p:grpSp>
              <p:nvGrpSpPr>
                <p:cNvPr id="1613" name="Gráfico 15">
                  <a:extLst>
                    <a:ext uri="{FF2B5EF4-FFF2-40B4-BE49-F238E27FC236}">
                      <a16:creationId xmlns:a16="http://schemas.microsoft.com/office/drawing/2014/main" id="{9E9C412D-9F3B-B933-EE72-644C682D0C1E}"/>
                    </a:ext>
                  </a:extLst>
                </p:cNvPr>
                <p:cNvGrpSpPr/>
                <p:nvPr/>
              </p:nvGrpSpPr>
              <p:grpSpPr>
                <a:xfrm>
                  <a:off x="4612820" y="3628625"/>
                  <a:ext cx="47980" cy="48134"/>
                  <a:chOff x="4612820" y="3628625"/>
                  <a:chExt cx="47980" cy="48134"/>
                </a:xfrm>
                <a:noFill/>
              </p:grpSpPr>
              <p:sp>
                <p:nvSpPr>
                  <p:cNvPr id="1614" name="Forma livre: Forma 1613">
                    <a:extLst>
                      <a:ext uri="{FF2B5EF4-FFF2-40B4-BE49-F238E27FC236}">
                        <a16:creationId xmlns:a16="http://schemas.microsoft.com/office/drawing/2014/main" id="{8169F492-133C-6650-A932-0FD735777BBA}"/>
                      </a:ext>
                    </a:extLst>
                  </p:cNvPr>
                  <p:cNvSpPr/>
                  <p:nvPr/>
                </p:nvSpPr>
                <p:spPr>
                  <a:xfrm>
                    <a:off x="4612820" y="3628932"/>
                    <a:ext cx="47826" cy="47826"/>
                  </a:xfrm>
                  <a:custGeom>
                    <a:avLst/>
                    <a:gdLst>
                      <a:gd name="connsiteX0" fmla="*/ 47827 w 47826"/>
                      <a:gd name="connsiteY0" fmla="*/ 0 h 47826"/>
                      <a:gd name="connsiteX1" fmla="*/ 0 w 47826"/>
                      <a:gd name="connsiteY1" fmla="*/ 47827 h 4782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47826" h="47826">
                        <a:moveTo>
                          <a:pt x="47827" y="0"/>
                        </a:moveTo>
                        <a:lnTo>
                          <a:pt x="0" y="47827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1615" name="Forma livre: Forma 1614">
                    <a:extLst>
                      <a:ext uri="{FF2B5EF4-FFF2-40B4-BE49-F238E27FC236}">
                        <a16:creationId xmlns:a16="http://schemas.microsoft.com/office/drawing/2014/main" id="{8A4626F6-E191-5EAF-D244-50F949A53E1A}"/>
                      </a:ext>
                    </a:extLst>
                  </p:cNvPr>
                  <p:cNvSpPr/>
                  <p:nvPr/>
                </p:nvSpPr>
                <p:spPr>
                  <a:xfrm>
                    <a:off x="4630381" y="3628625"/>
                    <a:ext cx="30419" cy="30549"/>
                  </a:xfrm>
                  <a:custGeom>
                    <a:avLst/>
                    <a:gdLst>
                      <a:gd name="connsiteX0" fmla="*/ 30419 w 30419"/>
                      <a:gd name="connsiteY0" fmla="*/ 30549 h 30549"/>
                      <a:gd name="connsiteX1" fmla="*/ 30419 w 30419"/>
                      <a:gd name="connsiteY1" fmla="*/ 0 h 30549"/>
                      <a:gd name="connsiteX2" fmla="*/ 0 w 30419"/>
                      <a:gd name="connsiteY2" fmla="*/ 0 h 305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</a:cxnLst>
                    <a:rect l="l" t="t" r="r" b="b"/>
                    <a:pathLst>
                      <a:path w="30419" h="30549">
                        <a:moveTo>
                          <a:pt x="30419" y="30549"/>
                        </a:moveTo>
                        <a:lnTo>
                          <a:pt x="30419" y="0"/>
                        </a:lnTo>
                        <a:lnTo>
                          <a:pt x="0" y="0"/>
                        </a:lnTo>
                      </a:path>
                    </a:pathLst>
                  </a:custGeom>
                  <a:noFill/>
                  <a:ln w="6350" cap="rnd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</p:grpSp>
          <p:grpSp>
            <p:nvGrpSpPr>
              <p:cNvPr id="1616" name="Gráfico 15">
                <a:extLst>
                  <a:ext uri="{FF2B5EF4-FFF2-40B4-BE49-F238E27FC236}">
                    <a16:creationId xmlns:a16="http://schemas.microsoft.com/office/drawing/2014/main" id="{5F47C56E-8D3F-9D19-2B44-A20671053D8A}"/>
                  </a:ext>
                </a:extLst>
              </p:cNvPr>
              <p:cNvGrpSpPr/>
              <p:nvPr/>
            </p:nvGrpSpPr>
            <p:grpSpPr>
              <a:xfrm>
                <a:off x="4426641" y="3628684"/>
                <a:ext cx="234230" cy="234112"/>
                <a:chOff x="4426641" y="3628684"/>
                <a:chExt cx="234230" cy="234112"/>
              </a:xfrm>
              <a:noFill/>
            </p:grpSpPr>
            <p:grpSp>
              <p:nvGrpSpPr>
                <p:cNvPr id="1617" name="Gráfico 15">
                  <a:extLst>
                    <a:ext uri="{FF2B5EF4-FFF2-40B4-BE49-F238E27FC236}">
                      <a16:creationId xmlns:a16="http://schemas.microsoft.com/office/drawing/2014/main" id="{42542E3D-A1B2-94B1-1646-82E6C567424A}"/>
                    </a:ext>
                  </a:extLst>
                </p:cNvPr>
                <p:cNvGrpSpPr/>
                <p:nvPr/>
              </p:nvGrpSpPr>
              <p:grpSpPr>
                <a:xfrm>
                  <a:off x="4612737" y="3814791"/>
                  <a:ext cx="48134" cy="48004"/>
                  <a:chOff x="4612737" y="3814791"/>
                  <a:chExt cx="48134" cy="48004"/>
                </a:xfrm>
                <a:noFill/>
              </p:grpSpPr>
              <p:sp>
                <p:nvSpPr>
                  <p:cNvPr id="1618" name="Forma livre: Forma 1617">
                    <a:extLst>
                      <a:ext uri="{FF2B5EF4-FFF2-40B4-BE49-F238E27FC236}">
                        <a16:creationId xmlns:a16="http://schemas.microsoft.com/office/drawing/2014/main" id="{5954ED70-046F-F8C4-FA81-22E2D4BE5251}"/>
                      </a:ext>
                    </a:extLst>
                  </p:cNvPr>
                  <p:cNvSpPr/>
                  <p:nvPr/>
                </p:nvSpPr>
                <p:spPr>
                  <a:xfrm>
                    <a:off x="4612737" y="3814791"/>
                    <a:ext cx="47826" cy="47838"/>
                  </a:xfrm>
                  <a:custGeom>
                    <a:avLst/>
                    <a:gdLst>
                      <a:gd name="connsiteX0" fmla="*/ 47827 w 47826"/>
                      <a:gd name="connsiteY0" fmla="*/ 47839 h 47838"/>
                      <a:gd name="connsiteX1" fmla="*/ 0 w 47826"/>
                      <a:gd name="connsiteY1" fmla="*/ 0 h 4783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47826" h="47838">
                        <a:moveTo>
                          <a:pt x="47827" y="47839"/>
                        </a:moveTo>
                        <a:lnTo>
                          <a:pt x="0" y="0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1619" name="Forma livre: Forma 1618">
                    <a:extLst>
                      <a:ext uri="{FF2B5EF4-FFF2-40B4-BE49-F238E27FC236}">
                        <a16:creationId xmlns:a16="http://schemas.microsoft.com/office/drawing/2014/main" id="{D6F06C42-E557-1202-06D0-FCDB195AE548}"/>
                      </a:ext>
                    </a:extLst>
                  </p:cNvPr>
                  <p:cNvSpPr/>
                  <p:nvPr/>
                </p:nvSpPr>
                <p:spPr>
                  <a:xfrm>
                    <a:off x="4630322" y="3832376"/>
                    <a:ext cx="30549" cy="30419"/>
                  </a:xfrm>
                  <a:custGeom>
                    <a:avLst/>
                    <a:gdLst>
                      <a:gd name="connsiteX0" fmla="*/ 0 w 30549"/>
                      <a:gd name="connsiteY0" fmla="*/ 30419 h 30419"/>
                      <a:gd name="connsiteX1" fmla="*/ 30549 w 30549"/>
                      <a:gd name="connsiteY1" fmla="*/ 30419 h 30419"/>
                      <a:gd name="connsiteX2" fmla="*/ 30549 w 30549"/>
                      <a:gd name="connsiteY2" fmla="*/ 0 h 3041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</a:cxnLst>
                    <a:rect l="l" t="t" r="r" b="b"/>
                    <a:pathLst>
                      <a:path w="30549" h="30419">
                        <a:moveTo>
                          <a:pt x="0" y="30419"/>
                        </a:moveTo>
                        <a:lnTo>
                          <a:pt x="30549" y="30419"/>
                        </a:lnTo>
                        <a:lnTo>
                          <a:pt x="30549" y="0"/>
                        </a:lnTo>
                      </a:path>
                    </a:pathLst>
                  </a:custGeom>
                  <a:noFill/>
                  <a:ln w="6350" cap="rnd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  <p:grpSp>
              <p:nvGrpSpPr>
                <p:cNvPr id="1620" name="Gráfico 15">
                  <a:extLst>
                    <a:ext uri="{FF2B5EF4-FFF2-40B4-BE49-F238E27FC236}">
                      <a16:creationId xmlns:a16="http://schemas.microsoft.com/office/drawing/2014/main" id="{4CFED1E9-6770-00D9-91FD-A0092B9A65C8}"/>
                    </a:ext>
                  </a:extLst>
                </p:cNvPr>
                <p:cNvGrpSpPr/>
                <p:nvPr/>
              </p:nvGrpSpPr>
              <p:grpSpPr>
                <a:xfrm>
                  <a:off x="4426641" y="3628684"/>
                  <a:ext cx="48134" cy="47992"/>
                  <a:chOff x="4426641" y="3628684"/>
                  <a:chExt cx="48134" cy="47992"/>
                </a:xfrm>
                <a:noFill/>
              </p:grpSpPr>
              <p:sp>
                <p:nvSpPr>
                  <p:cNvPr id="1621" name="Forma livre: Forma 1620">
                    <a:extLst>
                      <a:ext uri="{FF2B5EF4-FFF2-40B4-BE49-F238E27FC236}">
                        <a16:creationId xmlns:a16="http://schemas.microsoft.com/office/drawing/2014/main" id="{DCC5B2B3-257F-1468-450B-B1601D3EA193}"/>
                      </a:ext>
                    </a:extLst>
                  </p:cNvPr>
                  <p:cNvSpPr/>
                  <p:nvPr/>
                </p:nvSpPr>
                <p:spPr>
                  <a:xfrm>
                    <a:off x="4426949" y="3628849"/>
                    <a:ext cx="47826" cy="47826"/>
                  </a:xfrm>
                  <a:custGeom>
                    <a:avLst/>
                    <a:gdLst>
                      <a:gd name="connsiteX0" fmla="*/ 0 w 47826"/>
                      <a:gd name="connsiteY0" fmla="*/ 0 h 47826"/>
                      <a:gd name="connsiteX1" fmla="*/ 47827 w 47826"/>
                      <a:gd name="connsiteY1" fmla="*/ 47827 h 4782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47826" h="47826">
                        <a:moveTo>
                          <a:pt x="0" y="0"/>
                        </a:moveTo>
                        <a:lnTo>
                          <a:pt x="47827" y="47827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1622" name="Forma livre: Forma 1621">
                    <a:extLst>
                      <a:ext uri="{FF2B5EF4-FFF2-40B4-BE49-F238E27FC236}">
                        <a16:creationId xmlns:a16="http://schemas.microsoft.com/office/drawing/2014/main" id="{05F0DC86-4E0C-1CDE-930F-D15DB9EB3CDD}"/>
                      </a:ext>
                    </a:extLst>
                  </p:cNvPr>
                  <p:cNvSpPr/>
                  <p:nvPr/>
                </p:nvSpPr>
                <p:spPr>
                  <a:xfrm>
                    <a:off x="4426641" y="3628684"/>
                    <a:ext cx="30549" cy="30419"/>
                  </a:xfrm>
                  <a:custGeom>
                    <a:avLst/>
                    <a:gdLst>
                      <a:gd name="connsiteX0" fmla="*/ 30549 w 30549"/>
                      <a:gd name="connsiteY0" fmla="*/ 12 h 30419"/>
                      <a:gd name="connsiteX1" fmla="*/ 0 w 30549"/>
                      <a:gd name="connsiteY1" fmla="*/ 0 h 30419"/>
                      <a:gd name="connsiteX2" fmla="*/ 0 w 30549"/>
                      <a:gd name="connsiteY2" fmla="*/ 30419 h 3041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</a:cxnLst>
                    <a:rect l="l" t="t" r="r" b="b"/>
                    <a:pathLst>
                      <a:path w="30549" h="30419">
                        <a:moveTo>
                          <a:pt x="30549" y="12"/>
                        </a:moveTo>
                        <a:lnTo>
                          <a:pt x="0" y="0"/>
                        </a:lnTo>
                        <a:lnTo>
                          <a:pt x="0" y="30419"/>
                        </a:lnTo>
                      </a:path>
                    </a:pathLst>
                  </a:custGeom>
                  <a:noFill/>
                  <a:ln w="6350" cap="rnd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</p:grpSp>
        </p:grpSp>
      </p:grpSp>
      <p:grpSp>
        <p:nvGrpSpPr>
          <p:cNvPr id="1623" name="Gráfico 15">
            <a:extLst>
              <a:ext uri="{FF2B5EF4-FFF2-40B4-BE49-F238E27FC236}">
                <a16:creationId xmlns:a16="http://schemas.microsoft.com/office/drawing/2014/main" id="{1532B69B-F036-3276-8F7E-203B60FBAD6B}"/>
              </a:ext>
            </a:extLst>
          </p:cNvPr>
          <p:cNvGrpSpPr/>
          <p:nvPr/>
        </p:nvGrpSpPr>
        <p:grpSpPr>
          <a:xfrm>
            <a:off x="5607872" y="3635916"/>
            <a:ext cx="342422" cy="219694"/>
            <a:chOff x="5607872" y="3635916"/>
            <a:chExt cx="342422" cy="219694"/>
          </a:xfrm>
          <a:noFill/>
        </p:grpSpPr>
        <p:grpSp>
          <p:nvGrpSpPr>
            <p:cNvPr id="1624" name="Gráfico 15">
              <a:extLst>
                <a:ext uri="{FF2B5EF4-FFF2-40B4-BE49-F238E27FC236}">
                  <a16:creationId xmlns:a16="http://schemas.microsoft.com/office/drawing/2014/main" id="{6571DFC8-3061-96FE-22BA-63A889383903}"/>
                </a:ext>
              </a:extLst>
            </p:cNvPr>
            <p:cNvGrpSpPr/>
            <p:nvPr/>
          </p:nvGrpSpPr>
          <p:grpSpPr>
            <a:xfrm>
              <a:off x="5729443" y="3678980"/>
              <a:ext cx="99329" cy="104257"/>
              <a:chOff x="5729443" y="3678980"/>
              <a:chExt cx="99329" cy="104257"/>
            </a:xfrm>
            <a:noFill/>
          </p:grpSpPr>
          <p:sp>
            <p:nvSpPr>
              <p:cNvPr id="1625" name="Forma livre: Forma 1624">
                <a:extLst>
                  <a:ext uri="{FF2B5EF4-FFF2-40B4-BE49-F238E27FC236}">
                    <a16:creationId xmlns:a16="http://schemas.microsoft.com/office/drawing/2014/main" id="{17ECDBA4-4E4A-FDE4-050F-87D42C44C6B6}"/>
                  </a:ext>
                </a:extLst>
              </p:cNvPr>
              <p:cNvSpPr/>
              <p:nvPr/>
            </p:nvSpPr>
            <p:spPr>
              <a:xfrm>
                <a:off x="5746768" y="3684169"/>
                <a:ext cx="64679" cy="93869"/>
              </a:xfrm>
              <a:custGeom>
                <a:avLst/>
                <a:gdLst>
                  <a:gd name="connsiteX0" fmla="*/ 64679 w 64679"/>
                  <a:gd name="connsiteY0" fmla="*/ 0 h 93869"/>
                  <a:gd name="connsiteX1" fmla="*/ 0 w 64679"/>
                  <a:gd name="connsiteY1" fmla="*/ 93869 h 938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4679" h="93869">
                    <a:moveTo>
                      <a:pt x="64679" y="0"/>
                    </a:moveTo>
                    <a:lnTo>
                      <a:pt x="0" y="93869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626" name="Forma livre: Forma 1625">
                <a:extLst>
                  <a:ext uri="{FF2B5EF4-FFF2-40B4-BE49-F238E27FC236}">
                    <a16:creationId xmlns:a16="http://schemas.microsoft.com/office/drawing/2014/main" id="{E620D605-DAFA-8866-E89C-37A7364EEB3C}"/>
                  </a:ext>
                </a:extLst>
              </p:cNvPr>
              <p:cNvSpPr/>
              <p:nvPr/>
            </p:nvSpPr>
            <p:spPr>
              <a:xfrm>
                <a:off x="5729443" y="3678980"/>
                <a:ext cx="36257" cy="36269"/>
              </a:xfrm>
              <a:custGeom>
                <a:avLst/>
                <a:gdLst>
                  <a:gd name="connsiteX0" fmla="*/ 36257 w 36257"/>
                  <a:gd name="connsiteY0" fmla="*/ 18129 h 36269"/>
                  <a:gd name="connsiteX1" fmla="*/ 18129 w 36257"/>
                  <a:gd name="connsiteY1" fmla="*/ 36269 h 36269"/>
                  <a:gd name="connsiteX2" fmla="*/ 0 w 36257"/>
                  <a:gd name="connsiteY2" fmla="*/ 18129 h 36269"/>
                  <a:gd name="connsiteX3" fmla="*/ 18129 w 36257"/>
                  <a:gd name="connsiteY3" fmla="*/ 0 h 36269"/>
                  <a:gd name="connsiteX4" fmla="*/ 36257 w 36257"/>
                  <a:gd name="connsiteY4" fmla="*/ 18129 h 362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6257" h="36269">
                    <a:moveTo>
                      <a:pt x="36257" y="18129"/>
                    </a:moveTo>
                    <a:cubicBezTo>
                      <a:pt x="36257" y="28138"/>
                      <a:pt x="28138" y="36269"/>
                      <a:pt x="18129" y="36269"/>
                    </a:cubicBezTo>
                    <a:cubicBezTo>
                      <a:pt x="8119" y="36269"/>
                      <a:pt x="0" y="28138"/>
                      <a:pt x="0" y="18129"/>
                    </a:cubicBezTo>
                    <a:cubicBezTo>
                      <a:pt x="0" y="8119"/>
                      <a:pt x="8107" y="0"/>
                      <a:pt x="18129" y="0"/>
                    </a:cubicBezTo>
                    <a:cubicBezTo>
                      <a:pt x="28150" y="0"/>
                      <a:pt x="36257" y="8119"/>
                      <a:pt x="36257" y="18129"/>
                    </a:cubicBezTo>
                    <a:close/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627" name="Forma livre: Forma 1626">
                <a:extLst>
                  <a:ext uri="{FF2B5EF4-FFF2-40B4-BE49-F238E27FC236}">
                    <a16:creationId xmlns:a16="http://schemas.microsoft.com/office/drawing/2014/main" id="{B7BAADFA-EF63-8E2A-32B9-A158F33AABE5}"/>
                  </a:ext>
                </a:extLst>
              </p:cNvPr>
              <p:cNvSpPr/>
              <p:nvPr/>
            </p:nvSpPr>
            <p:spPr>
              <a:xfrm>
                <a:off x="5792503" y="3746992"/>
                <a:ext cx="36268" cy="36245"/>
              </a:xfrm>
              <a:custGeom>
                <a:avLst/>
                <a:gdLst>
                  <a:gd name="connsiteX0" fmla="*/ 36269 w 36268"/>
                  <a:gd name="connsiteY0" fmla="*/ 18117 h 36245"/>
                  <a:gd name="connsiteX1" fmla="*/ 18129 w 36268"/>
                  <a:gd name="connsiteY1" fmla="*/ 36245 h 36245"/>
                  <a:gd name="connsiteX2" fmla="*/ 0 w 36268"/>
                  <a:gd name="connsiteY2" fmla="*/ 18117 h 36245"/>
                  <a:gd name="connsiteX3" fmla="*/ 18129 w 36268"/>
                  <a:gd name="connsiteY3" fmla="*/ 0 h 36245"/>
                  <a:gd name="connsiteX4" fmla="*/ 36269 w 36268"/>
                  <a:gd name="connsiteY4" fmla="*/ 18117 h 362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6268" h="36245">
                    <a:moveTo>
                      <a:pt x="36269" y="18117"/>
                    </a:moveTo>
                    <a:cubicBezTo>
                      <a:pt x="36269" y="28127"/>
                      <a:pt x="28138" y="36245"/>
                      <a:pt x="18129" y="36245"/>
                    </a:cubicBezTo>
                    <a:cubicBezTo>
                      <a:pt x="8119" y="36245"/>
                      <a:pt x="0" y="28127"/>
                      <a:pt x="0" y="18117"/>
                    </a:cubicBezTo>
                    <a:cubicBezTo>
                      <a:pt x="0" y="8107"/>
                      <a:pt x="8131" y="0"/>
                      <a:pt x="18129" y="0"/>
                    </a:cubicBezTo>
                    <a:cubicBezTo>
                      <a:pt x="28126" y="0"/>
                      <a:pt x="36269" y="8119"/>
                      <a:pt x="36269" y="18117"/>
                    </a:cubicBezTo>
                    <a:close/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628" name="Gráfico 15">
              <a:extLst>
                <a:ext uri="{FF2B5EF4-FFF2-40B4-BE49-F238E27FC236}">
                  <a16:creationId xmlns:a16="http://schemas.microsoft.com/office/drawing/2014/main" id="{74C09AEF-0DBF-24C3-BC6B-74562DCAC327}"/>
                </a:ext>
              </a:extLst>
            </p:cNvPr>
            <p:cNvGrpSpPr/>
            <p:nvPr/>
          </p:nvGrpSpPr>
          <p:grpSpPr>
            <a:xfrm>
              <a:off x="5607872" y="3635916"/>
              <a:ext cx="342422" cy="219694"/>
              <a:chOff x="5607872" y="3635916"/>
              <a:chExt cx="342422" cy="219694"/>
            </a:xfrm>
            <a:noFill/>
          </p:grpSpPr>
          <p:sp>
            <p:nvSpPr>
              <p:cNvPr id="1629" name="Forma livre: Forma 1628">
                <a:extLst>
                  <a:ext uri="{FF2B5EF4-FFF2-40B4-BE49-F238E27FC236}">
                    <a16:creationId xmlns:a16="http://schemas.microsoft.com/office/drawing/2014/main" id="{B8442638-384D-11F9-BD15-B5AC26183502}"/>
                  </a:ext>
                </a:extLst>
              </p:cNvPr>
              <p:cNvSpPr/>
              <p:nvPr/>
            </p:nvSpPr>
            <p:spPr>
              <a:xfrm>
                <a:off x="5640265" y="3635916"/>
                <a:ext cx="277672" cy="169952"/>
              </a:xfrm>
              <a:custGeom>
                <a:avLst/>
                <a:gdLst>
                  <a:gd name="connsiteX0" fmla="*/ 0 w 277672"/>
                  <a:gd name="connsiteY0" fmla="*/ 169953 h 169952"/>
                  <a:gd name="connsiteX1" fmla="*/ 0 w 277672"/>
                  <a:gd name="connsiteY1" fmla="*/ 20268 h 169952"/>
                  <a:gd name="connsiteX2" fmla="*/ 20256 w 277672"/>
                  <a:gd name="connsiteY2" fmla="*/ 0 h 169952"/>
                  <a:gd name="connsiteX3" fmla="*/ 257393 w 277672"/>
                  <a:gd name="connsiteY3" fmla="*/ 0 h 169952"/>
                  <a:gd name="connsiteX4" fmla="*/ 277673 w 277672"/>
                  <a:gd name="connsiteY4" fmla="*/ 20268 h 169952"/>
                  <a:gd name="connsiteX5" fmla="*/ 277673 w 277672"/>
                  <a:gd name="connsiteY5" fmla="*/ 169953 h 1699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77672" h="169952">
                    <a:moveTo>
                      <a:pt x="0" y="169953"/>
                    </a:moveTo>
                    <a:lnTo>
                      <a:pt x="0" y="20268"/>
                    </a:lnTo>
                    <a:cubicBezTo>
                      <a:pt x="0" y="9123"/>
                      <a:pt x="9124" y="0"/>
                      <a:pt x="20256" y="0"/>
                    </a:cubicBezTo>
                    <a:lnTo>
                      <a:pt x="257393" y="0"/>
                    </a:lnTo>
                    <a:cubicBezTo>
                      <a:pt x="268549" y="0"/>
                      <a:pt x="277673" y="9112"/>
                      <a:pt x="277673" y="20268"/>
                    </a:cubicBezTo>
                    <a:lnTo>
                      <a:pt x="277673" y="169953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630" name="Forma livre: Forma 1629">
                <a:extLst>
                  <a:ext uri="{FF2B5EF4-FFF2-40B4-BE49-F238E27FC236}">
                    <a16:creationId xmlns:a16="http://schemas.microsoft.com/office/drawing/2014/main" id="{317D093B-D332-490E-FF1E-5E1B4E1D28EE}"/>
                  </a:ext>
                </a:extLst>
              </p:cNvPr>
              <p:cNvSpPr/>
              <p:nvPr/>
            </p:nvSpPr>
            <p:spPr>
              <a:xfrm>
                <a:off x="5607872" y="3828205"/>
                <a:ext cx="342422" cy="27405"/>
              </a:xfrm>
              <a:custGeom>
                <a:avLst/>
                <a:gdLst>
                  <a:gd name="connsiteX0" fmla="*/ 316896 w 342422"/>
                  <a:gd name="connsiteY0" fmla="*/ 27406 h 27405"/>
                  <a:gd name="connsiteX1" fmla="*/ 342423 w 342422"/>
                  <a:gd name="connsiteY1" fmla="*/ 0 h 27405"/>
                  <a:gd name="connsiteX2" fmla="*/ 0 w 342422"/>
                  <a:gd name="connsiteY2" fmla="*/ 0 h 27405"/>
                  <a:gd name="connsiteX3" fmla="*/ 25586 w 342422"/>
                  <a:gd name="connsiteY3" fmla="*/ 27406 h 27405"/>
                  <a:gd name="connsiteX4" fmla="*/ 316896 w 342422"/>
                  <a:gd name="connsiteY4" fmla="*/ 27406 h 274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42422" h="27405">
                    <a:moveTo>
                      <a:pt x="316896" y="27406"/>
                    </a:moveTo>
                    <a:cubicBezTo>
                      <a:pt x="336514" y="27406"/>
                      <a:pt x="342423" y="0"/>
                      <a:pt x="342423" y="0"/>
                    </a:cubicBezTo>
                    <a:lnTo>
                      <a:pt x="0" y="0"/>
                    </a:lnTo>
                    <a:cubicBezTo>
                      <a:pt x="0" y="0"/>
                      <a:pt x="5933" y="27406"/>
                      <a:pt x="25586" y="27406"/>
                    </a:cubicBezTo>
                    <a:lnTo>
                      <a:pt x="316896" y="27406"/>
                    </a:ln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631" name="Gráfico 15">
            <a:extLst>
              <a:ext uri="{FF2B5EF4-FFF2-40B4-BE49-F238E27FC236}">
                <a16:creationId xmlns:a16="http://schemas.microsoft.com/office/drawing/2014/main" id="{B9EAD3CF-00A3-A6DC-A208-1C9543C58492}"/>
              </a:ext>
            </a:extLst>
          </p:cNvPr>
          <p:cNvGrpSpPr/>
          <p:nvPr/>
        </p:nvGrpSpPr>
        <p:grpSpPr>
          <a:xfrm>
            <a:off x="5042340" y="5717339"/>
            <a:ext cx="238129" cy="264720"/>
            <a:chOff x="5042340" y="5717339"/>
            <a:chExt cx="238129" cy="264720"/>
          </a:xfrm>
          <a:noFill/>
        </p:grpSpPr>
        <p:grpSp>
          <p:nvGrpSpPr>
            <p:cNvPr id="1632" name="Gráfico 15">
              <a:extLst>
                <a:ext uri="{FF2B5EF4-FFF2-40B4-BE49-F238E27FC236}">
                  <a16:creationId xmlns:a16="http://schemas.microsoft.com/office/drawing/2014/main" id="{64F4FECF-C7C5-7694-631F-3CB0FA59E977}"/>
                </a:ext>
              </a:extLst>
            </p:cNvPr>
            <p:cNvGrpSpPr/>
            <p:nvPr/>
          </p:nvGrpSpPr>
          <p:grpSpPr>
            <a:xfrm>
              <a:off x="5221180" y="5797936"/>
              <a:ext cx="59290" cy="184110"/>
              <a:chOff x="5221180" y="5797936"/>
              <a:chExt cx="59290" cy="184110"/>
            </a:xfrm>
            <a:noFill/>
          </p:grpSpPr>
          <p:sp>
            <p:nvSpPr>
              <p:cNvPr id="1633" name="Forma livre: Forma 1632">
                <a:extLst>
                  <a:ext uri="{FF2B5EF4-FFF2-40B4-BE49-F238E27FC236}">
                    <a16:creationId xmlns:a16="http://schemas.microsoft.com/office/drawing/2014/main" id="{4AF9339F-1E5C-1A50-9588-3E6E0295CC13}"/>
                  </a:ext>
                </a:extLst>
              </p:cNvPr>
              <p:cNvSpPr/>
              <p:nvPr/>
            </p:nvSpPr>
            <p:spPr>
              <a:xfrm>
                <a:off x="5221180" y="5797936"/>
                <a:ext cx="59278" cy="184110"/>
              </a:xfrm>
              <a:custGeom>
                <a:avLst/>
                <a:gdLst>
                  <a:gd name="connsiteX0" fmla="*/ 59278 w 59278"/>
                  <a:gd name="connsiteY0" fmla="*/ 127042 h 184110"/>
                  <a:gd name="connsiteX1" fmla="*/ 28706 w 59278"/>
                  <a:gd name="connsiteY1" fmla="*/ 184111 h 184110"/>
                  <a:gd name="connsiteX2" fmla="*/ 0 w 59278"/>
                  <a:gd name="connsiteY2" fmla="*/ 125009 h 184110"/>
                  <a:gd name="connsiteX3" fmla="*/ 0 w 59278"/>
                  <a:gd name="connsiteY3" fmla="*/ 11416 h 184110"/>
                  <a:gd name="connsiteX4" fmla="*/ 15706 w 59278"/>
                  <a:gd name="connsiteY4" fmla="*/ 0 h 184110"/>
                  <a:gd name="connsiteX5" fmla="*/ 43549 w 59278"/>
                  <a:gd name="connsiteY5" fmla="*/ 0 h 184110"/>
                  <a:gd name="connsiteX6" fmla="*/ 59267 w 59278"/>
                  <a:gd name="connsiteY6" fmla="*/ 11416 h 184110"/>
                  <a:gd name="connsiteX7" fmla="*/ 59267 w 59278"/>
                  <a:gd name="connsiteY7" fmla="*/ 127030 h 1841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59278" h="184110">
                    <a:moveTo>
                      <a:pt x="59278" y="127042"/>
                    </a:moveTo>
                    <a:lnTo>
                      <a:pt x="28706" y="184111"/>
                    </a:lnTo>
                    <a:lnTo>
                      <a:pt x="0" y="125009"/>
                    </a:lnTo>
                    <a:lnTo>
                      <a:pt x="0" y="11416"/>
                    </a:lnTo>
                    <a:cubicBezTo>
                      <a:pt x="0" y="5153"/>
                      <a:pt x="7079" y="24"/>
                      <a:pt x="15706" y="0"/>
                    </a:cubicBezTo>
                    <a:lnTo>
                      <a:pt x="43549" y="0"/>
                    </a:lnTo>
                    <a:cubicBezTo>
                      <a:pt x="52188" y="0"/>
                      <a:pt x="59267" y="5141"/>
                      <a:pt x="59267" y="11416"/>
                    </a:cubicBezTo>
                    <a:lnTo>
                      <a:pt x="59267" y="127030"/>
                    </a:ln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634" name="Forma livre: Forma 1633">
                <a:extLst>
                  <a:ext uri="{FF2B5EF4-FFF2-40B4-BE49-F238E27FC236}">
                    <a16:creationId xmlns:a16="http://schemas.microsoft.com/office/drawing/2014/main" id="{ED8D7D9F-6966-BB02-0833-63E4D0F3A36C}"/>
                  </a:ext>
                </a:extLst>
              </p:cNvPr>
              <p:cNvSpPr/>
              <p:nvPr/>
            </p:nvSpPr>
            <p:spPr>
              <a:xfrm>
                <a:off x="5221416" y="5919968"/>
                <a:ext cx="59053" cy="11"/>
              </a:xfrm>
              <a:custGeom>
                <a:avLst/>
                <a:gdLst>
                  <a:gd name="connsiteX0" fmla="*/ 59054 w 59053"/>
                  <a:gd name="connsiteY0" fmla="*/ 12 h 11"/>
                  <a:gd name="connsiteX1" fmla="*/ 0 w 59053"/>
                  <a:gd name="connsiteY1" fmla="*/ 0 h 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9053" h="11">
                    <a:moveTo>
                      <a:pt x="59054" y="12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635" name="Forma livre: Forma 1634">
                <a:extLst>
                  <a:ext uri="{FF2B5EF4-FFF2-40B4-BE49-F238E27FC236}">
                    <a16:creationId xmlns:a16="http://schemas.microsoft.com/office/drawing/2014/main" id="{57430AF1-14BB-C0F2-5F47-AB81A48B5600}"/>
                  </a:ext>
                </a:extLst>
              </p:cNvPr>
              <p:cNvSpPr/>
              <p:nvPr/>
            </p:nvSpPr>
            <p:spPr>
              <a:xfrm>
                <a:off x="5234664" y="5947409"/>
                <a:ext cx="32180" cy="200"/>
              </a:xfrm>
              <a:custGeom>
                <a:avLst/>
                <a:gdLst>
                  <a:gd name="connsiteX0" fmla="*/ 32180 w 32180"/>
                  <a:gd name="connsiteY0" fmla="*/ 201 h 200"/>
                  <a:gd name="connsiteX1" fmla="*/ 0 w 32180"/>
                  <a:gd name="connsiteY1" fmla="*/ 0 h 2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2180" h="200">
                    <a:moveTo>
                      <a:pt x="32180" y="201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636" name="Forma livre: Forma 1635">
                <a:extLst>
                  <a:ext uri="{FF2B5EF4-FFF2-40B4-BE49-F238E27FC236}">
                    <a16:creationId xmlns:a16="http://schemas.microsoft.com/office/drawing/2014/main" id="{524CBC19-7C70-1801-A187-9DDD56435E0D}"/>
                  </a:ext>
                </a:extLst>
              </p:cNvPr>
              <p:cNvSpPr/>
              <p:nvPr/>
            </p:nvSpPr>
            <p:spPr>
              <a:xfrm>
                <a:off x="5251552" y="5855170"/>
                <a:ext cx="1181" cy="64301"/>
              </a:xfrm>
              <a:custGeom>
                <a:avLst/>
                <a:gdLst>
                  <a:gd name="connsiteX0" fmla="*/ 0 w 1181"/>
                  <a:gd name="connsiteY0" fmla="*/ 64301 h 64301"/>
                  <a:gd name="connsiteX1" fmla="*/ 0 w 1181"/>
                  <a:gd name="connsiteY1" fmla="*/ 0 h 643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81" h="64301">
                    <a:moveTo>
                      <a:pt x="0" y="64301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637" name="Forma livre: Forma 1636">
                <a:extLst>
                  <a:ext uri="{FF2B5EF4-FFF2-40B4-BE49-F238E27FC236}">
                    <a16:creationId xmlns:a16="http://schemas.microsoft.com/office/drawing/2014/main" id="{170E08BA-FE55-D881-E50D-D3E5D26A3093}"/>
                  </a:ext>
                </a:extLst>
              </p:cNvPr>
              <p:cNvSpPr/>
              <p:nvPr/>
            </p:nvSpPr>
            <p:spPr>
              <a:xfrm>
                <a:off x="5222492" y="5833756"/>
                <a:ext cx="56654" cy="1181"/>
              </a:xfrm>
              <a:custGeom>
                <a:avLst/>
                <a:gdLst>
                  <a:gd name="connsiteX0" fmla="*/ 0 w 56654"/>
                  <a:gd name="connsiteY0" fmla="*/ 0 h 1181"/>
                  <a:gd name="connsiteX1" fmla="*/ 56655 w 56654"/>
                  <a:gd name="connsiteY1" fmla="*/ 0 h 11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6654" h="1181">
                    <a:moveTo>
                      <a:pt x="0" y="0"/>
                    </a:moveTo>
                    <a:lnTo>
                      <a:pt x="56655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638" name="Gráfico 15">
              <a:extLst>
                <a:ext uri="{FF2B5EF4-FFF2-40B4-BE49-F238E27FC236}">
                  <a16:creationId xmlns:a16="http://schemas.microsoft.com/office/drawing/2014/main" id="{F92614D2-3FF9-8B86-7392-906C7799B8B6}"/>
                </a:ext>
              </a:extLst>
            </p:cNvPr>
            <p:cNvGrpSpPr/>
            <p:nvPr/>
          </p:nvGrpSpPr>
          <p:grpSpPr>
            <a:xfrm>
              <a:off x="5042340" y="5717339"/>
              <a:ext cx="204508" cy="264720"/>
              <a:chOff x="5042340" y="5717339"/>
              <a:chExt cx="204508" cy="264720"/>
            </a:xfrm>
            <a:noFill/>
          </p:grpSpPr>
          <p:grpSp>
            <p:nvGrpSpPr>
              <p:cNvPr id="1639" name="Gráfico 15">
                <a:extLst>
                  <a:ext uri="{FF2B5EF4-FFF2-40B4-BE49-F238E27FC236}">
                    <a16:creationId xmlns:a16="http://schemas.microsoft.com/office/drawing/2014/main" id="{FBD01BA0-1EB6-B947-25A2-38D8FD7AFEFB}"/>
                  </a:ext>
                </a:extLst>
              </p:cNvPr>
              <p:cNvGrpSpPr/>
              <p:nvPr/>
            </p:nvGrpSpPr>
            <p:grpSpPr>
              <a:xfrm>
                <a:off x="5042340" y="5717339"/>
                <a:ext cx="204508" cy="264720"/>
                <a:chOff x="5042340" y="5717339"/>
                <a:chExt cx="204508" cy="264720"/>
              </a:xfrm>
              <a:noFill/>
            </p:grpSpPr>
            <p:sp>
              <p:nvSpPr>
                <p:cNvPr id="1640" name="Forma livre: Forma 1639">
                  <a:extLst>
                    <a:ext uri="{FF2B5EF4-FFF2-40B4-BE49-F238E27FC236}">
                      <a16:creationId xmlns:a16="http://schemas.microsoft.com/office/drawing/2014/main" id="{A2506BFE-A73C-B372-6739-A1D486CE0F1F}"/>
                    </a:ext>
                  </a:extLst>
                </p:cNvPr>
                <p:cNvSpPr/>
                <p:nvPr/>
              </p:nvSpPr>
              <p:spPr>
                <a:xfrm>
                  <a:off x="5042340" y="5717339"/>
                  <a:ext cx="204508" cy="264720"/>
                </a:xfrm>
                <a:custGeom>
                  <a:avLst/>
                  <a:gdLst>
                    <a:gd name="connsiteX0" fmla="*/ 182740 w 204508"/>
                    <a:gd name="connsiteY0" fmla="*/ 264720 h 264720"/>
                    <a:gd name="connsiteX1" fmla="*/ 0 w 204508"/>
                    <a:gd name="connsiteY1" fmla="*/ 264720 h 264720"/>
                    <a:gd name="connsiteX2" fmla="*/ 0 w 204508"/>
                    <a:gd name="connsiteY2" fmla="*/ 52826 h 264720"/>
                    <a:gd name="connsiteX3" fmla="*/ 52838 w 204508"/>
                    <a:gd name="connsiteY3" fmla="*/ 0 h 264720"/>
                    <a:gd name="connsiteX4" fmla="*/ 204508 w 204508"/>
                    <a:gd name="connsiteY4" fmla="*/ 0 h 264720"/>
                    <a:gd name="connsiteX5" fmla="*/ 204508 w 204508"/>
                    <a:gd name="connsiteY5" fmla="*/ 58770 h 26472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204508" h="264720">
                      <a:moveTo>
                        <a:pt x="182740" y="264720"/>
                      </a:moveTo>
                      <a:lnTo>
                        <a:pt x="0" y="264720"/>
                      </a:lnTo>
                      <a:lnTo>
                        <a:pt x="0" y="52826"/>
                      </a:lnTo>
                      <a:lnTo>
                        <a:pt x="52838" y="0"/>
                      </a:lnTo>
                      <a:lnTo>
                        <a:pt x="204508" y="0"/>
                      </a:lnTo>
                      <a:lnTo>
                        <a:pt x="204508" y="58770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641" name="Forma livre: Forma 1640">
                  <a:extLst>
                    <a:ext uri="{FF2B5EF4-FFF2-40B4-BE49-F238E27FC236}">
                      <a16:creationId xmlns:a16="http://schemas.microsoft.com/office/drawing/2014/main" id="{D1D95B5D-9E2D-2E29-D3A9-04D7A9A77135}"/>
                    </a:ext>
                  </a:extLst>
                </p:cNvPr>
                <p:cNvSpPr/>
                <p:nvPr/>
              </p:nvSpPr>
              <p:spPr>
                <a:xfrm>
                  <a:off x="5068139" y="5742877"/>
                  <a:ext cx="36127" cy="36091"/>
                </a:xfrm>
                <a:custGeom>
                  <a:avLst/>
                  <a:gdLst>
                    <a:gd name="connsiteX0" fmla="*/ 36127 w 36127"/>
                    <a:gd name="connsiteY0" fmla="*/ 0 h 36091"/>
                    <a:gd name="connsiteX1" fmla="*/ 36127 w 36127"/>
                    <a:gd name="connsiteY1" fmla="*/ 36092 h 36091"/>
                    <a:gd name="connsiteX2" fmla="*/ 0 w 36127"/>
                    <a:gd name="connsiteY2" fmla="*/ 36092 h 3609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36127" h="36091">
                      <a:moveTo>
                        <a:pt x="36127" y="0"/>
                      </a:moveTo>
                      <a:lnTo>
                        <a:pt x="36127" y="36092"/>
                      </a:lnTo>
                      <a:lnTo>
                        <a:pt x="0" y="36092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1642" name="Gráfico 15">
                <a:extLst>
                  <a:ext uri="{FF2B5EF4-FFF2-40B4-BE49-F238E27FC236}">
                    <a16:creationId xmlns:a16="http://schemas.microsoft.com/office/drawing/2014/main" id="{155AA982-08D3-B48A-4CBD-EADDD0BF3A30}"/>
                  </a:ext>
                </a:extLst>
              </p:cNvPr>
              <p:cNvGrpSpPr/>
              <p:nvPr/>
            </p:nvGrpSpPr>
            <p:grpSpPr>
              <a:xfrm>
                <a:off x="5090912" y="5822506"/>
                <a:ext cx="102650" cy="107991"/>
                <a:chOff x="5090912" y="5822506"/>
                <a:chExt cx="102650" cy="107991"/>
              </a:xfrm>
              <a:noFill/>
            </p:grpSpPr>
            <p:sp>
              <p:nvSpPr>
                <p:cNvPr id="1643" name="Forma livre: Forma 1642">
                  <a:extLst>
                    <a:ext uri="{FF2B5EF4-FFF2-40B4-BE49-F238E27FC236}">
                      <a16:creationId xmlns:a16="http://schemas.microsoft.com/office/drawing/2014/main" id="{1486AE2C-D22F-914B-D8B5-AFD5DB8874BB}"/>
                    </a:ext>
                  </a:extLst>
                </p:cNvPr>
                <p:cNvSpPr/>
                <p:nvPr/>
              </p:nvSpPr>
              <p:spPr>
                <a:xfrm>
                  <a:off x="5107409" y="5825968"/>
                  <a:ext cx="69666" cy="101090"/>
                </a:xfrm>
                <a:custGeom>
                  <a:avLst/>
                  <a:gdLst>
                    <a:gd name="connsiteX0" fmla="*/ 69666 w 69666"/>
                    <a:gd name="connsiteY0" fmla="*/ 0 h 101090"/>
                    <a:gd name="connsiteX1" fmla="*/ 0 w 69666"/>
                    <a:gd name="connsiteY1" fmla="*/ 101090 h 1010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69666" h="101090">
                      <a:moveTo>
                        <a:pt x="69666" y="0"/>
                      </a:moveTo>
                      <a:lnTo>
                        <a:pt x="0" y="10109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grpSp>
              <p:nvGrpSpPr>
                <p:cNvPr id="1644" name="Gráfico 15">
                  <a:extLst>
                    <a:ext uri="{FF2B5EF4-FFF2-40B4-BE49-F238E27FC236}">
                      <a16:creationId xmlns:a16="http://schemas.microsoft.com/office/drawing/2014/main" id="{CB03EBC0-E017-6D9B-4587-FD7B8F50A219}"/>
                    </a:ext>
                  </a:extLst>
                </p:cNvPr>
                <p:cNvGrpSpPr/>
                <p:nvPr/>
              </p:nvGrpSpPr>
              <p:grpSpPr>
                <a:xfrm>
                  <a:off x="5090912" y="5822506"/>
                  <a:ext cx="102650" cy="107991"/>
                  <a:chOff x="5090912" y="5822506"/>
                  <a:chExt cx="102650" cy="107991"/>
                </a:xfrm>
                <a:noFill/>
              </p:grpSpPr>
              <p:sp>
                <p:nvSpPr>
                  <p:cNvPr id="1645" name="Forma livre: Forma 1644">
                    <a:extLst>
                      <a:ext uri="{FF2B5EF4-FFF2-40B4-BE49-F238E27FC236}">
                        <a16:creationId xmlns:a16="http://schemas.microsoft.com/office/drawing/2014/main" id="{83026BA5-EE49-41AF-D1AE-C492C5E7E580}"/>
                      </a:ext>
                    </a:extLst>
                  </p:cNvPr>
                  <p:cNvSpPr/>
                  <p:nvPr/>
                </p:nvSpPr>
                <p:spPr>
                  <a:xfrm>
                    <a:off x="5090912" y="5822506"/>
                    <a:ext cx="37167" cy="37202"/>
                  </a:xfrm>
                  <a:custGeom>
                    <a:avLst/>
                    <a:gdLst>
                      <a:gd name="connsiteX0" fmla="*/ 37167 w 37167"/>
                      <a:gd name="connsiteY0" fmla="*/ 18601 h 37202"/>
                      <a:gd name="connsiteX1" fmla="*/ 18590 w 37167"/>
                      <a:gd name="connsiteY1" fmla="*/ 37203 h 37202"/>
                      <a:gd name="connsiteX2" fmla="*/ 0 w 37167"/>
                      <a:gd name="connsiteY2" fmla="*/ 18601 h 37202"/>
                      <a:gd name="connsiteX3" fmla="*/ 18590 w 37167"/>
                      <a:gd name="connsiteY3" fmla="*/ 0 h 37202"/>
                      <a:gd name="connsiteX4" fmla="*/ 37167 w 37167"/>
                      <a:gd name="connsiteY4" fmla="*/ 18601 h 3720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37167" h="37202">
                        <a:moveTo>
                          <a:pt x="37167" y="18601"/>
                        </a:moveTo>
                        <a:cubicBezTo>
                          <a:pt x="37167" y="28871"/>
                          <a:pt x="28847" y="37203"/>
                          <a:pt x="18590" y="37203"/>
                        </a:cubicBezTo>
                        <a:cubicBezTo>
                          <a:pt x="8332" y="37203"/>
                          <a:pt x="0" y="28871"/>
                          <a:pt x="0" y="18601"/>
                        </a:cubicBezTo>
                        <a:cubicBezTo>
                          <a:pt x="0" y="8332"/>
                          <a:pt x="8320" y="0"/>
                          <a:pt x="18590" y="0"/>
                        </a:cubicBezTo>
                        <a:cubicBezTo>
                          <a:pt x="28859" y="0"/>
                          <a:pt x="37167" y="8332"/>
                          <a:pt x="37167" y="18601"/>
                        </a:cubicBezTo>
                        <a:close/>
                      </a:path>
                    </a:pathLst>
                  </a:custGeom>
                  <a:noFill/>
                  <a:ln w="6350" cap="rnd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1646" name="Forma livre: Forma 1645">
                    <a:extLst>
                      <a:ext uri="{FF2B5EF4-FFF2-40B4-BE49-F238E27FC236}">
                        <a16:creationId xmlns:a16="http://schemas.microsoft.com/office/drawing/2014/main" id="{7B10ABA6-35F5-D0EE-326D-99D639AF2769}"/>
                      </a:ext>
                    </a:extLst>
                  </p:cNvPr>
                  <p:cNvSpPr/>
                  <p:nvPr/>
                </p:nvSpPr>
                <p:spPr>
                  <a:xfrm>
                    <a:off x="5156371" y="5893307"/>
                    <a:ext cx="37190" cy="37190"/>
                  </a:xfrm>
                  <a:custGeom>
                    <a:avLst/>
                    <a:gdLst>
                      <a:gd name="connsiteX0" fmla="*/ 37191 w 37190"/>
                      <a:gd name="connsiteY0" fmla="*/ 18590 h 37190"/>
                      <a:gd name="connsiteX1" fmla="*/ 18589 w 37190"/>
                      <a:gd name="connsiteY1" fmla="*/ 37191 h 37190"/>
                      <a:gd name="connsiteX2" fmla="*/ 0 w 37190"/>
                      <a:gd name="connsiteY2" fmla="*/ 18590 h 37190"/>
                      <a:gd name="connsiteX3" fmla="*/ 18589 w 37190"/>
                      <a:gd name="connsiteY3" fmla="*/ 0 h 37190"/>
                      <a:gd name="connsiteX4" fmla="*/ 37191 w 37190"/>
                      <a:gd name="connsiteY4" fmla="*/ 18590 h 3719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37190" h="37190">
                        <a:moveTo>
                          <a:pt x="37191" y="18590"/>
                        </a:moveTo>
                        <a:cubicBezTo>
                          <a:pt x="37191" y="28859"/>
                          <a:pt x="28859" y="37191"/>
                          <a:pt x="18589" y="37191"/>
                        </a:cubicBezTo>
                        <a:cubicBezTo>
                          <a:pt x="8320" y="37191"/>
                          <a:pt x="0" y="28859"/>
                          <a:pt x="0" y="18590"/>
                        </a:cubicBezTo>
                        <a:cubicBezTo>
                          <a:pt x="0" y="8320"/>
                          <a:pt x="8332" y="0"/>
                          <a:pt x="18589" y="0"/>
                        </a:cubicBezTo>
                        <a:cubicBezTo>
                          <a:pt x="28847" y="0"/>
                          <a:pt x="37191" y="8332"/>
                          <a:pt x="37191" y="18590"/>
                        </a:cubicBezTo>
                        <a:close/>
                      </a:path>
                    </a:pathLst>
                  </a:custGeom>
                  <a:noFill/>
                  <a:ln w="6350" cap="rnd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</p:grpSp>
        </p:grpSp>
      </p:grpSp>
      <p:grpSp>
        <p:nvGrpSpPr>
          <p:cNvPr id="1647" name="Gráfico 15">
            <a:extLst>
              <a:ext uri="{FF2B5EF4-FFF2-40B4-BE49-F238E27FC236}">
                <a16:creationId xmlns:a16="http://schemas.microsoft.com/office/drawing/2014/main" id="{77BA47B7-156E-7A82-CE98-31CF6B622224}"/>
              </a:ext>
            </a:extLst>
          </p:cNvPr>
          <p:cNvGrpSpPr/>
          <p:nvPr/>
        </p:nvGrpSpPr>
        <p:grpSpPr>
          <a:xfrm>
            <a:off x="4401765" y="5689608"/>
            <a:ext cx="283983" cy="320151"/>
            <a:chOff x="4401765" y="5689608"/>
            <a:chExt cx="283983" cy="320151"/>
          </a:xfrm>
          <a:noFill/>
        </p:grpSpPr>
        <p:sp>
          <p:nvSpPr>
            <p:cNvPr id="1648" name="Forma livre: Forma 1647">
              <a:extLst>
                <a:ext uri="{FF2B5EF4-FFF2-40B4-BE49-F238E27FC236}">
                  <a16:creationId xmlns:a16="http://schemas.microsoft.com/office/drawing/2014/main" id="{80508745-5601-E80A-EEF1-CA71D37FF2F4}"/>
                </a:ext>
              </a:extLst>
            </p:cNvPr>
            <p:cNvSpPr/>
            <p:nvPr/>
          </p:nvSpPr>
          <p:spPr>
            <a:xfrm>
              <a:off x="4456992" y="5689608"/>
              <a:ext cx="157848" cy="104064"/>
            </a:xfrm>
            <a:custGeom>
              <a:avLst/>
              <a:gdLst>
                <a:gd name="connsiteX0" fmla="*/ 157849 w 157848"/>
                <a:gd name="connsiteY0" fmla="*/ 102136 h 104064"/>
                <a:gd name="connsiteX1" fmla="*/ 63850 w 157848"/>
                <a:gd name="connsiteY1" fmla="*/ 79221 h 104064"/>
                <a:gd name="connsiteX2" fmla="*/ 1546 w 157848"/>
                <a:gd name="connsiteY2" fmla="*/ 6458 h 104064"/>
                <a:gd name="connsiteX3" fmla="*/ 82888 w 157848"/>
                <a:gd name="connsiteY3" fmla="*/ 21325 h 1040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7848" h="104064">
                  <a:moveTo>
                    <a:pt x="157849" y="102136"/>
                  </a:moveTo>
                  <a:cubicBezTo>
                    <a:pt x="140607" y="106473"/>
                    <a:pt x="106808" y="105315"/>
                    <a:pt x="63850" y="79221"/>
                  </a:cubicBezTo>
                  <a:cubicBezTo>
                    <a:pt x="20892" y="53127"/>
                    <a:pt x="-7022" y="20545"/>
                    <a:pt x="1546" y="6458"/>
                  </a:cubicBezTo>
                  <a:cubicBezTo>
                    <a:pt x="9310" y="-6317"/>
                    <a:pt x="44374" y="490"/>
                    <a:pt x="82888" y="21325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49" name="Forma livre: Forma 1648">
              <a:extLst>
                <a:ext uri="{FF2B5EF4-FFF2-40B4-BE49-F238E27FC236}">
                  <a16:creationId xmlns:a16="http://schemas.microsoft.com/office/drawing/2014/main" id="{EC4585B1-8948-8C6D-0943-F4BB81BEC1AC}"/>
                </a:ext>
              </a:extLst>
            </p:cNvPr>
            <p:cNvSpPr/>
            <p:nvPr/>
          </p:nvSpPr>
          <p:spPr>
            <a:xfrm>
              <a:off x="4603744" y="5768955"/>
              <a:ext cx="39078" cy="45793"/>
            </a:xfrm>
            <a:custGeom>
              <a:avLst/>
              <a:gdLst>
                <a:gd name="connsiteX0" fmla="*/ 0 w 39078"/>
                <a:gd name="connsiteY0" fmla="*/ 6705 h 45793"/>
                <a:gd name="connsiteX1" fmla="*/ 32369 w 39078"/>
                <a:gd name="connsiteY1" fmla="*/ 6705 h 45793"/>
                <a:gd name="connsiteX2" fmla="*/ 32369 w 39078"/>
                <a:gd name="connsiteY2" fmla="*/ 39086 h 45793"/>
                <a:gd name="connsiteX3" fmla="*/ 2446 w 39078"/>
                <a:gd name="connsiteY3" fmla="*/ 41213 h 457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078" h="45793">
                  <a:moveTo>
                    <a:pt x="0" y="6705"/>
                  </a:moveTo>
                  <a:cubicBezTo>
                    <a:pt x="8934" y="-2229"/>
                    <a:pt x="23423" y="-2241"/>
                    <a:pt x="32369" y="6705"/>
                  </a:cubicBezTo>
                  <a:cubicBezTo>
                    <a:pt x="41315" y="15663"/>
                    <a:pt x="41315" y="30140"/>
                    <a:pt x="32369" y="39086"/>
                  </a:cubicBezTo>
                  <a:cubicBezTo>
                    <a:pt x="24215" y="47252"/>
                    <a:pt x="11416" y="47961"/>
                    <a:pt x="2446" y="41213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50" name="Forma livre: Forma 1649">
              <a:extLst>
                <a:ext uri="{FF2B5EF4-FFF2-40B4-BE49-F238E27FC236}">
                  <a16:creationId xmlns:a16="http://schemas.microsoft.com/office/drawing/2014/main" id="{98D15D27-5621-2030-9BEB-9EE68DF864A2}"/>
                </a:ext>
              </a:extLst>
            </p:cNvPr>
            <p:cNvSpPr/>
            <p:nvPr/>
          </p:nvSpPr>
          <p:spPr>
            <a:xfrm>
              <a:off x="4401765" y="5725788"/>
              <a:ext cx="283983" cy="283971"/>
            </a:xfrm>
            <a:custGeom>
              <a:avLst/>
              <a:gdLst>
                <a:gd name="connsiteX0" fmla="*/ 114574 w 283983"/>
                <a:gd name="connsiteY0" fmla="*/ 41197 h 283971"/>
                <a:gd name="connsiteX1" fmla="*/ 0 w 283983"/>
                <a:gd name="connsiteY1" fmla="*/ 155760 h 283971"/>
                <a:gd name="connsiteX2" fmla="*/ 128212 w 283983"/>
                <a:gd name="connsiteY2" fmla="*/ 283972 h 283971"/>
                <a:gd name="connsiteX3" fmla="*/ 283983 w 283983"/>
                <a:gd name="connsiteY3" fmla="*/ 128200 h 283971"/>
                <a:gd name="connsiteX4" fmla="*/ 282683 w 283983"/>
                <a:gd name="connsiteY4" fmla="*/ 50758 h 283971"/>
                <a:gd name="connsiteX5" fmla="*/ 233237 w 283983"/>
                <a:gd name="connsiteY5" fmla="*/ 1312 h 283971"/>
                <a:gd name="connsiteX6" fmla="*/ 155783 w 283983"/>
                <a:gd name="connsiteY6" fmla="*/ 0 h 283971"/>
                <a:gd name="connsiteX7" fmla="*/ 131013 w 283983"/>
                <a:gd name="connsiteY7" fmla="*/ 24759 h 2839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3983" h="283971">
                  <a:moveTo>
                    <a:pt x="114574" y="41197"/>
                  </a:moveTo>
                  <a:lnTo>
                    <a:pt x="0" y="155760"/>
                  </a:lnTo>
                  <a:lnTo>
                    <a:pt x="128212" y="283972"/>
                  </a:lnTo>
                  <a:lnTo>
                    <a:pt x="283983" y="128200"/>
                  </a:lnTo>
                  <a:lnTo>
                    <a:pt x="282683" y="50758"/>
                  </a:lnTo>
                  <a:lnTo>
                    <a:pt x="233237" y="1312"/>
                  </a:lnTo>
                  <a:lnTo>
                    <a:pt x="155783" y="0"/>
                  </a:lnTo>
                  <a:lnTo>
                    <a:pt x="131013" y="24759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651" name="Gráfico 15">
              <a:extLst>
                <a:ext uri="{FF2B5EF4-FFF2-40B4-BE49-F238E27FC236}">
                  <a16:creationId xmlns:a16="http://schemas.microsoft.com/office/drawing/2014/main" id="{6A583B6C-9895-7DCD-5A18-5B375DE8F0AC}"/>
                </a:ext>
              </a:extLst>
            </p:cNvPr>
            <p:cNvGrpSpPr/>
            <p:nvPr/>
          </p:nvGrpSpPr>
          <p:grpSpPr>
            <a:xfrm>
              <a:off x="4477777" y="5819636"/>
              <a:ext cx="112411" cy="115813"/>
              <a:chOff x="4477777" y="5819636"/>
              <a:chExt cx="112411" cy="115813"/>
            </a:xfrm>
            <a:noFill/>
          </p:grpSpPr>
          <p:sp>
            <p:nvSpPr>
              <p:cNvPr id="1652" name="Forma livre: Forma 1651">
                <a:extLst>
                  <a:ext uri="{FF2B5EF4-FFF2-40B4-BE49-F238E27FC236}">
                    <a16:creationId xmlns:a16="http://schemas.microsoft.com/office/drawing/2014/main" id="{9E7F8AA7-C972-3ECD-FF7D-F514DC163017}"/>
                  </a:ext>
                </a:extLst>
              </p:cNvPr>
              <p:cNvSpPr/>
              <p:nvPr/>
            </p:nvSpPr>
            <p:spPr>
              <a:xfrm>
                <a:off x="4477777" y="5867213"/>
                <a:ext cx="112411" cy="20669"/>
              </a:xfrm>
              <a:custGeom>
                <a:avLst/>
                <a:gdLst>
                  <a:gd name="connsiteX0" fmla="*/ 112412 w 112411"/>
                  <a:gd name="connsiteY0" fmla="*/ 0 h 20669"/>
                  <a:gd name="connsiteX1" fmla="*/ 0 w 112411"/>
                  <a:gd name="connsiteY1" fmla="*/ 20669 h 206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2411" h="20669">
                    <a:moveTo>
                      <a:pt x="112412" y="0"/>
                    </a:moveTo>
                    <a:lnTo>
                      <a:pt x="0" y="20669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1653" name="Gráfico 15">
                <a:extLst>
                  <a:ext uri="{FF2B5EF4-FFF2-40B4-BE49-F238E27FC236}">
                    <a16:creationId xmlns:a16="http://schemas.microsoft.com/office/drawing/2014/main" id="{8E3B1918-6A8B-53D1-33D2-D2F3A9DC0B1D}"/>
                  </a:ext>
                </a:extLst>
              </p:cNvPr>
              <p:cNvGrpSpPr/>
              <p:nvPr/>
            </p:nvGrpSpPr>
            <p:grpSpPr>
              <a:xfrm>
                <a:off x="4517076" y="5819636"/>
                <a:ext cx="33769" cy="115813"/>
                <a:chOff x="4517076" y="5819636"/>
                <a:chExt cx="33769" cy="115813"/>
              </a:xfrm>
              <a:noFill/>
            </p:grpSpPr>
            <p:sp>
              <p:nvSpPr>
                <p:cNvPr id="1654" name="Forma livre: Forma 1653">
                  <a:extLst>
                    <a:ext uri="{FF2B5EF4-FFF2-40B4-BE49-F238E27FC236}">
                      <a16:creationId xmlns:a16="http://schemas.microsoft.com/office/drawing/2014/main" id="{0B5DBBAD-F498-FC4C-09A7-E24E1F7F65E5}"/>
                    </a:ext>
                  </a:extLst>
                </p:cNvPr>
                <p:cNvSpPr/>
                <p:nvPr/>
              </p:nvSpPr>
              <p:spPr>
                <a:xfrm>
                  <a:off x="4518980" y="5819636"/>
                  <a:ext cx="31865" cy="31874"/>
                </a:xfrm>
                <a:custGeom>
                  <a:avLst/>
                  <a:gdLst>
                    <a:gd name="connsiteX0" fmla="*/ 27211 w 31865"/>
                    <a:gd name="connsiteY0" fmla="*/ 27203 h 31874"/>
                    <a:gd name="connsiteX1" fmla="*/ 4662 w 31865"/>
                    <a:gd name="connsiteY1" fmla="*/ 27203 h 31874"/>
                    <a:gd name="connsiteX2" fmla="*/ 4662 w 31865"/>
                    <a:gd name="connsiteY2" fmla="*/ 4666 h 31874"/>
                    <a:gd name="connsiteX3" fmla="*/ 27199 w 31865"/>
                    <a:gd name="connsiteY3" fmla="*/ 4666 h 31874"/>
                    <a:gd name="connsiteX4" fmla="*/ 27199 w 31865"/>
                    <a:gd name="connsiteY4" fmla="*/ 27215 h 318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1865" h="31874">
                      <a:moveTo>
                        <a:pt x="27211" y="27203"/>
                      </a:moveTo>
                      <a:cubicBezTo>
                        <a:pt x="20983" y="33431"/>
                        <a:pt x="10890" y="33431"/>
                        <a:pt x="4662" y="27203"/>
                      </a:cubicBezTo>
                      <a:cubicBezTo>
                        <a:pt x="-1554" y="20987"/>
                        <a:pt x="-1554" y="10883"/>
                        <a:pt x="4662" y="4666"/>
                      </a:cubicBezTo>
                      <a:cubicBezTo>
                        <a:pt x="10890" y="-1550"/>
                        <a:pt x="20983" y="-1561"/>
                        <a:pt x="27199" y="4666"/>
                      </a:cubicBezTo>
                      <a:cubicBezTo>
                        <a:pt x="33427" y="10895"/>
                        <a:pt x="33415" y="20987"/>
                        <a:pt x="27199" y="27215"/>
                      </a:cubicBezTo>
                      <a:close/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655" name="Forma livre: Forma 1654">
                  <a:extLst>
                    <a:ext uri="{FF2B5EF4-FFF2-40B4-BE49-F238E27FC236}">
                      <a16:creationId xmlns:a16="http://schemas.microsoft.com/office/drawing/2014/main" id="{FBDB122C-3A2C-A6D8-1649-0CEDD95AFFBE}"/>
                    </a:ext>
                  </a:extLst>
                </p:cNvPr>
                <p:cNvSpPr/>
                <p:nvPr/>
              </p:nvSpPr>
              <p:spPr>
                <a:xfrm>
                  <a:off x="4517076" y="5903542"/>
                  <a:ext cx="31903" cy="31906"/>
                </a:xfrm>
                <a:custGeom>
                  <a:avLst/>
                  <a:gdLst>
                    <a:gd name="connsiteX0" fmla="*/ 27236 w 31903"/>
                    <a:gd name="connsiteY0" fmla="*/ 27239 h 31906"/>
                    <a:gd name="connsiteX1" fmla="*/ 4675 w 31903"/>
                    <a:gd name="connsiteY1" fmla="*/ 27215 h 31906"/>
                    <a:gd name="connsiteX2" fmla="*/ 4675 w 31903"/>
                    <a:gd name="connsiteY2" fmla="*/ 4666 h 31906"/>
                    <a:gd name="connsiteX3" fmla="*/ 27212 w 31903"/>
                    <a:gd name="connsiteY3" fmla="*/ 4666 h 31906"/>
                    <a:gd name="connsiteX4" fmla="*/ 27236 w 31903"/>
                    <a:gd name="connsiteY4" fmla="*/ 27227 h 3190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1903" h="31906">
                      <a:moveTo>
                        <a:pt x="27236" y="27239"/>
                      </a:moveTo>
                      <a:cubicBezTo>
                        <a:pt x="21008" y="33467"/>
                        <a:pt x="10915" y="33467"/>
                        <a:pt x="4675" y="27215"/>
                      </a:cubicBezTo>
                      <a:cubicBezTo>
                        <a:pt x="-1564" y="20987"/>
                        <a:pt x="-1553" y="10883"/>
                        <a:pt x="4675" y="4666"/>
                      </a:cubicBezTo>
                      <a:cubicBezTo>
                        <a:pt x="10892" y="-1561"/>
                        <a:pt x="20984" y="-1550"/>
                        <a:pt x="27212" y="4666"/>
                      </a:cubicBezTo>
                      <a:cubicBezTo>
                        <a:pt x="33464" y="10918"/>
                        <a:pt x="33464" y="20999"/>
                        <a:pt x="27236" y="27227"/>
                      </a:cubicBezTo>
                      <a:close/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</p:grpSp>
      <p:grpSp>
        <p:nvGrpSpPr>
          <p:cNvPr id="1656" name="Gráfico 15">
            <a:extLst>
              <a:ext uri="{FF2B5EF4-FFF2-40B4-BE49-F238E27FC236}">
                <a16:creationId xmlns:a16="http://schemas.microsoft.com/office/drawing/2014/main" id="{49C3C472-E8D1-3561-C32E-8BCCF5AAC0B0}"/>
              </a:ext>
            </a:extLst>
          </p:cNvPr>
          <p:cNvGrpSpPr/>
          <p:nvPr/>
        </p:nvGrpSpPr>
        <p:grpSpPr>
          <a:xfrm>
            <a:off x="5664550" y="5703937"/>
            <a:ext cx="229090" cy="291523"/>
            <a:chOff x="5664550" y="5703937"/>
            <a:chExt cx="229090" cy="291523"/>
          </a:xfrm>
          <a:noFill/>
        </p:grpSpPr>
        <p:grpSp>
          <p:nvGrpSpPr>
            <p:cNvPr id="1657" name="Gráfico 15">
              <a:extLst>
                <a:ext uri="{FF2B5EF4-FFF2-40B4-BE49-F238E27FC236}">
                  <a16:creationId xmlns:a16="http://schemas.microsoft.com/office/drawing/2014/main" id="{AF0838B7-CFF3-D621-CB61-18F299BBD64C}"/>
                </a:ext>
              </a:extLst>
            </p:cNvPr>
            <p:cNvGrpSpPr/>
            <p:nvPr/>
          </p:nvGrpSpPr>
          <p:grpSpPr>
            <a:xfrm>
              <a:off x="5664550" y="5703937"/>
              <a:ext cx="229090" cy="291523"/>
              <a:chOff x="5664550" y="5703937"/>
              <a:chExt cx="229090" cy="291523"/>
            </a:xfrm>
            <a:noFill/>
          </p:grpSpPr>
          <p:sp>
            <p:nvSpPr>
              <p:cNvPr id="1658" name="Forma livre: Forma 1657">
                <a:extLst>
                  <a:ext uri="{FF2B5EF4-FFF2-40B4-BE49-F238E27FC236}">
                    <a16:creationId xmlns:a16="http://schemas.microsoft.com/office/drawing/2014/main" id="{39BF487D-C73F-5F96-B87F-0FE0D19A51E9}"/>
                  </a:ext>
                </a:extLst>
              </p:cNvPr>
              <p:cNvSpPr/>
              <p:nvPr/>
            </p:nvSpPr>
            <p:spPr>
              <a:xfrm>
                <a:off x="5664550" y="5703937"/>
                <a:ext cx="229090" cy="291523"/>
              </a:xfrm>
              <a:custGeom>
                <a:avLst/>
                <a:gdLst>
                  <a:gd name="connsiteX0" fmla="*/ 228995 w 229090"/>
                  <a:gd name="connsiteY0" fmla="*/ 174125 h 291523"/>
                  <a:gd name="connsiteX1" fmla="*/ 228995 w 229090"/>
                  <a:gd name="connsiteY1" fmla="*/ 49505 h 291523"/>
                  <a:gd name="connsiteX2" fmla="*/ 114539 w 229090"/>
                  <a:gd name="connsiteY2" fmla="*/ 0 h 291523"/>
                  <a:gd name="connsiteX3" fmla="*/ 95 w 229090"/>
                  <a:gd name="connsiteY3" fmla="*/ 49505 h 291523"/>
                  <a:gd name="connsiteX4" fmla="*/ 95 w 229090"/>
                  <a:gd name="connsiteY4" fmla="*/ 174125 h 291523"/>
                  <a:gd name="connsiteX5" fmla="*/ 114539 w 229090"/>
                  <a:gd name="connsiteY5" fmla="*/ 291523 h 291523"/>
                  <a:gd name="connsiteX6" fmla="*/ 228995 w 229090"/>
                  <a:gd name="connsiteY6" fmla="*/ 174125 h 2915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29090" h="291523">
                    <a:moveTo>
                      <a:pt x="228995" y="174125"/>
                    </a:moveTo>
                    <a:lnTo>
                      <a:pt x="228995" y="49505"/>
                    </a:lnTo>
                    <a:cubicBezTo>
                      <a:pt x="134452" y="49505"/>
                      <a:pt x="114539" y="0"/>
                      <a:pt x="114539" y="0"/>
                    </a:cubicBezTo>
                    <a:cubicBezTo>
                      <a:pt x="114539" y="0"/>
                      <a:pt x="94638" y="49505"/>
                      <a:pt x="95" y="49505"/>
                    </a:cubicBezTo>
                    <a:lnTo>
                      <a:pt x="95" y="174125"/>
                    </a:lnTo>
                    <a:cubicBezTo>
                      <a:pt x="95" y="174125"/>
                      <a:pt x="-7563" y="234006"/>
                      <a:pt x="114539" y="291523"/>
                    </a:cubicBezTo>
                    <a:cubicBezTo>
                      <a:pt x="236665" y="234006"/>
                      <a:pt x="228995" y="174125"/>
                      <a:pt x="228995" y="174125"/>
                    </a:cubicBezTo>
                    <a:close/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659" name="Forma livre: Forma 1658">
                <a:extLst>
                  <a:ext uri="{FF2B5EF4-FFF2-40B4-BE49-F238E27FC236}">
                    <a16:creationId xmlns:a16="http://schemas.microsoft.com/office/drawing/2014/main" id="{FB50DEA3-2687-E9B3-C384-06F6AB963989}"/>
                  </a:ext>
                </a:extLst>
              </p:cNvPr>
              <p:cNvSpPr/>
              <p:nvPr/>
            </p:nvSpPr>
            <p:spPr>
              <a:xfrm>
                <a:off x="5693091" y="5747840"/>
                <a:ext cx="172091" cy="216030"/>
              </a:xfrm>
              <a:custGeom>
                <a:avLst/>
                <a:gdLst>
                  <a:gd name="connsiteX0" fmla="*/ 35454 w 172091"/>
                  <a:gd name="connsiteY0" fmla="*/ 25728 h 216030"/>
                  <a:gd name="connsiteX1" fmla="*/ 0 w 172091"/>
                  <a:gd name="connsiteY1" fmla="*/ 32523 h 216030"/>
                  <a:gd name="connsiteX2" fmla="*/ 0 w 172091"/>
                  <a:gd name="connsiteY2" fmla="*/ 131285 h 216030"/>
                  <a:gd name="connsiteX3" fmla="*/ 85999 w 172091"/>
                  <a:gd name="connsiteY3" fmla="*/ 216031 h 216030"/>
                  <a:gd name="connsiteX4" fmla="*/ 172092 w 172091"/>
                  <a:gd name="connsiteY4" fmla="*/ 133566 h 216030"/>
                  <a:gd name="connsiteX5" fmla="*/ 172092 w 172091"/>
                  <a:gd name="connsiteY5" fmla="*/ 32523 h 216030"/>
                  <a:gd name="connsiteX6" fmla="*/ 85999 w 172091"/>
                  <a:gd name="connsiteY6" fmla="*/ 0 h 216030"/>
                  <a:gd name="connsiteX7" fmla="*/ 61240 w 172091"/>
                  <a:gd name="connsiteY7" fmla="*/ 15836 h 2160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72091" h="216030">
                    <a:moveTo>
                      <a:pt x="35454" y="25728"/>
                    </a:moveTo>
                    <a:cubicBezTo>
                      <a:pt x="25007" y="28765"/>
                      <a:pt x="13283" y="31128"/>
                      <a:pt x="0" y="32523"/>
                    </a:cubicBezTo>
                    <a:lnTo>
                      <a:pt x="0" y="131285"/>
                    </a:lnTo>
                    <a:cubicBezTo>
                      <a:pt x="496" y="136898"/>
                      <a:pt x="6724" y="175555"/>
                      <a:pt x="85999" y="216031"/>
                    </a:cubicBezTo>
                    <a:cubicBezTo>
                      <a:pt x="163276" y="176583"/>
                      <a:pt x="171276" y="140562"/>
                      <a:pt x="172092" y="133566"/>
                    </a:cubicBezTo>
                    <a:lnTo>
                      <a:pt x="172092" y="32523"/>
                    </a:lnTo>
                    <a:cubicBezTo>
                      <a:pt x="130091" y="28091"/>
                      <a:pt x="103040" y="14040"/>
                      <a:pt x="85999" y="0"/>
                    </a:cubicBezTo>
                    <a:cubicBezTo>
                      <a:pt x="79369" y="5460"/>
                      <a:pt x="71203" y="10932"/>
                      <a:pt x="61240" y="15836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660" name="Gráfico 15">
              <a:extLst>
                <a:ext uri="{FF2B5EF4-FFF2-40B4-BE49-F238E27FC236}">
                  <a16:creationId xmlns:a16="http://schemas.microsoft.com/office/drawing/2014/main" id="{484F8D90-6A58-AB31-898A-25D3F9378C93}"/>
                </a:ext>
              </a:extLst>
            </p:cNvPr>
            <p:cNvGrpSpPr/>
            <p:nvPr/>
          </p:nvGrpSpPr>
          <p:grpSpPr>
            <a:xfrm>
              <a:off x="5737500" y="5806269"/>
              <a:ext cx="82999" cy="86896"/>
              <a:chOff x="5737500" y="5806269"/>
              <a:chExt cx="82999" cy="86896"/>
            </a:xfrm>
            <a:noFill/>
          </p:grpSpPr>
          <p:sp>
            <p:nvSpPr>
              <p:cNvPr id="1661" name="Forma livre: Forma 1660">
                <a:extLst>
                  <a:ext uri="{FF2B5EF4-FFF2-40B4-BE49-F238E27FC236}">
                    <a16:creationId xmlns:a16="http://schemas.microsoft.com/office/drawing/2014/main" id="{AA7D37E5-F797-4C9B-DE64-D9E43D03E654}"/>
                  </a:ext>
                </a:extLst>
              </p:cNvPr>
              <p:cNvSpPr/>
              <p:nvPr/>
            </p:nvSpPr>
            <p:spPr>
              <a:xfrm>
                <a:off x="5752133" y="5810558"/>
                <a:ext cx="53924" cy="78269"/>
              </a:xfrm>
              <a:custGeom>
                <a:avLst/>
                <a:gdLst>
                  <a:gd name="connsiteX0" fmla="*/ 53925 w 53924"/>
                  <a:gd name="connsiteY0" fmla="*/ 0 h 78269"/>
                  <a:gd name="connsiteX1" fmla="*/ 0 w 53924"/>
                  <a:gd name="connsiteY1" fmla="*/ 78270 h 782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3924" h="78269">
                    <a:moveTo>
                      <a:pt x="53925" y="0"/>
                    </a:moveTo>
                    <a:lnTo>
                      <a:pt x="0" y="7827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1662" name="Gráfico 15">
                <a:extLst>
                  <a:ext uri="{FF2B5EF4-FFF2-40B4-BE49-F238E27FC236}">
                    <a16:creationId xmlns:a16="http://schemas.microsoft.com/office/drawing/2014/main" id="{1EF691A0-67B9-5E62-E780-6E44C5403E2A}"/>
                  </a:ext>
                </a:extLst>
              </p:cNvPr>
              <p:cNvGrpSpPr/>
              <p:nvPr/>
            </p:nvGrpSpPr>
            <p:grpSpPr>
              <a:xfrm>
                <a:off x="5737500" y="5806269"/>
                <a:ext cx="82999" cy="86896"/>
                <a:chOff x="5737500" y="5806269"/>
                <a:chExt cx="82999" cy="86896"/>
              </a:xfrm>
              <a:noFill/>
            </p:grpSpPr>
            <p:sp>
              <p:nvSpPr>
                <p:cNvPr id="1663" name="Forma livre: Forma 1662">
                  <a:extLst>
                    <a:ext uri="{FF2B5EF4-FFF2-40B4-BE49-F238E27FC236}">
                      <a16:creationId xmlns:a16="http://schemas.microsoft.com/office/drawing/2014/main" id="{E8CB765A-1961-7234-5B8D-7AE1280C7B53}"/>
                    </a:ext>
                  </a:extLst>
                </p:cNvPr>
                <p:cNvSpPr/>
                <p:nvPr/>
              </p:nvSpPr>
              <p:spPr>
                <a:xfrm rot="-10800">
                  <a:off x="5737547" y="5806316"/>
                  <a:ext cx="30230" cy="30230"/>
                </a:xfrm>
                <a:custGeom>
                  <a:avLst/>
                  <a:gdLst>
                    <a:gd name="connsiteX0" fmla="*/ 30230 w 30230"/>
                    <a:gd name="connsiteY0" fmla="*/ 15115 h 30230"/>
                    <a:gd name="connsiteX1" fmla="*/ 15115 w 30230"/>
                    <a:gd name="connsiteY1" fmla="*/ 30230 h 30230"/>
                    <a:gd name="connsiteX2" fmla="*/ 0 w 30230"/>
                    <a:gd name="connsiteY2" fmla="*/ 15115 h 30230"/>
                    <a:gd name="connsiteX3" fmla="*/ 15115 w 30230"/>
                    <a:gd name="connsiteY3" fmla="*/ 0 h 30230"/>
                    <a:gd name="connsiteX4" fmla="*/ 30230 w 30230"/>
                    <a:gd name="connsiteY4" fmla="*/ 15115 h 3023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0230" h="30230">
                      <a:moveTo>
                        <a:pt x="30230" y="15115"/>
                      </a:moveTo>
                      <a:cubicBezTo>
                        <a:pt x="30230" y="23463"/>
                        <a:pt x="23463" y="30230"/>
                        <a:pt x="15115" y="30230"/>
                      </a:cubicBezTo>
                      <a:cubicBezTo>
                        <a:pt x="6767" y="30230"/>
                        <a:pt x="0" y="23463"/>
                        <a:pt x="0" y="15115"/>
                      </a:cubicBezTo>
                      <a:cubicBezTo>
                        <a:pt x="0" y="6767"/>
                        <a:pt x="6767" y="0"/>
                        <a:pt x="15115" y="0"/>
                      </a:cubicBezTo>
                      <a:cubicBezTo>
                        <a:pt x="23463" y="0"/>
                        <a:pt x="30230" y="6767"/>
                        <a:pt x="30230" y="15115"/>
                      </a:cubicBezTo>
                      <a:close/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664" name="Forma livre: Forma 1663">
                  <a:extLst>
                    <a:ext uri="{FF2B5EF4-FFF2-40B4-BE49-F238E27FC236}">
                      <a16:creationId xmlns:a16="http://schemas.microsoft.com/office/drawing/2014/main" id="{9D462431-C58B-25FF-8313-44DAA3959E1D}"/>
                    </a:ext>
                  </a:extLst>
                </p:cNvPr>
                <p:cNvSpPr/>
                <p:nvPr/>
              </p:nvSpPr>
              <p:spPr>
                <a:xfrm>
                  <a:off x="5790257" y="5862935"/>
                  <a:ext cx="30241" cy="30230"/>
                </a:xfrm>
                <a:custGeom>
                  <a:avLst/>
                  <a:gdLst>
                    <a:gd name="connsiteX0" fmla="*/ 30242 w 30241"/>
                    <a:gd name="connsiteY0" fmla="*/ 15115 h 30230"/>
                    <a:gd name="connsiteX1" fmla="*/ 15115 w 30241"/>
                    <a:gd name="connsiteY1" fmla="*/ 30230 h 30230"/>
                    <a:gd name="connsiteX2" fmla="*/ 0 w 30241"/>
                    <a:gd name="connsiteY2" fmla="*/ 15115 h 30230"/>
                    <a:gd name="connsiteX3" fmla="*/ 15115 w 30241"/>
                    <a:gd name="connsiteY3" fmla="*/ 0 h 30230"/>
                    <a:gd name="connsiteX4" fmla="*/ 30242 w 30241"/>
                    <a:gd name="connsiteY4" fmla="*/ 15115 h 3023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0241" h="30230">
                      <a:moveTo>
                        <a:pt x="30242" y="15115"/>
                      </a:moveTo>
                      <a:cubicBezTo>
                        <a:pt x="30242" y="23458"/>
                        <a:pt x="23470" y="30230"/>
                        <a:pt x="15115" y="30230"/>
                      </a:cubicBezTo>
                      <a:cubicBezTo>
                        <a:pt x="6760" y="30230"/>
                        <a:pt x="0" y="23458"/>
                        <a:pt x="0" y="15115"/>
                      </a:cubicBezTo>
                      <a:cubicBezTo>
                        <a:pt x="0" y="6772"/>
                        <a:pt x="6772" y="0"/>
                        <a:pt x="15115" y="0"/>
                      </a:cubicBezTo>
                      <a:cubicBezTo>
                        <a:pt x="23458" y="0"/>
                        <a:pt x="30242" y="6772"/>
                        <a:pt x="30242" y="15115"/>
                      </a:cubicBezTo>
                      <a:close/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</p:grpSp>
      <p:grpSp>
        <p:nvGrpSpPr>
          <p:cNvPr id="1665" name="Gráfico 15">
            <a:extLst>
              <a:ext uri="{FF2B5EF4-FFF2-40B4-BE49-F238E27FC236}">
                <a16:creationId xmlns:a16="http://schemas.microsoft.com/office/drawing/2014/main" id="{B5393185-DD18-DBBE-54CC-D128BB699FF0}"/>
              </a:ext>
            </a:extLst>
          </p:cNvPr>
          <p:cNvGrpSpPr/>
          <p:nvPr/>
        </p:nvGrpSpPr>
        <p:grpSpPr>
          <a:xfrm>
            <a:off x="5023302" y="4645198"/>
            <a:ext cx="276207" cy="305019"/>
            <a:chOff x="5023302" y="4645198"/>
            <a:chExt cx="276207" cy="305019"/>
          </a:xfrm>
          <a:noFill/>
        </p:grpSpPr>
        <p:grpSp>
          <p:nvGrpSpPr>
            <p:cNvPr id="1666" name="Gráfico 15">
              <a:extLst>
                <a:ext uri="{FF2B5EF4-FFF2-40B4-BE49-F238E27FC236}">
                  <a16:creationId xmlns:a16="http://schemas.microsoft.com/office/drawing/2014/main" id="{0F93A5A5-95B7-8717-3E1C-59D9BDC4A0C5}"/>
                </a:ext>
              </a:extLst>
            </p:cNvPr>
            <p:cNvGrpSpPr/>
            <p:nvPr/>
          </p:nvGrpSpPr>
          <p:grpSpPr>
            <a:xfrm>
              <a:off x="5082521" y="4645198"/>
              <a:ext cx="157768" cy="157768"/>
              <a:chOff x="5082521" y="4645198"/>
              <a:chExt cx="157768" cy="157768"/>
            </a:xfrm>
            <a:noFill/>
          </p:grpSpPr>
          <p:sp>
            <p:nvSpPr>
              <p:cNvPr id="1667" name="Forma livre: Forma 1666">
                <a:extLst>
                  <a:ext uri="{FF2B5EF4-FFF2-40B4-BE49-F238E27FC236}">
                    <a16:creationId xmlns:a16="http://schemas.microsoft.com/office/drawing/2014/main" id="{EB082B46-703B-B56A-4B2E-B50DC82B2D8B}"/>
                  </a:ext>
                </a:extLst>
              </p:cNvPr>
              <p:cNvSpPr/>
              <p:nvPr/>
            </p:nvSpPr>
            <p:spPr>
              <a:xfrm>
                <a:off x="5082521" y="4645198"/>
                <a:ext cx="157768" cy="157768"/>
              </a:xfrm>
              <a:custGeom>
                <a:avLst/>
                <a:gdLst>
                  <a:gd name="connsiteX0" fmla="*/ 46137 w 157768"/>
                  <a:gd name="connsiteY0" fmla="*/ 7102 h 157768"/>
                  <a:gd name="connsiteX1" fmla="*/ 78884 w 157768"/>
                  <a:gd name="connsiteY1" fmla="*/ 0 h 157768"/>
                  <a:gd name="connsiteX2" fmla="*/ 157768 w 157768"/>
                  <a:gd name="connsiteY2" fmla="*/ 78884 h 157768"/>
                  <a:gd name="connsiteX3" fmla="*/ 78884 w 157768"/>
                  <a:gd name="connsiteY3" fmla="*/ 157769 h 157768"/>
                  <a:gd name="connsiteX4" fmla="*/ 0 w 157768"/>
                  <a:gd name="connsiteY4" fmla="*/ 78884 h 157768"/>
                  <a:gd name="connsiteX5" fmla="*/ 23990 w 157768"/>
                  <a:gd name="connsiteY5" fmla="*/ 22241 h 1577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57768" h="157768">
                    <a:moveTo>
                      <a:pt x="46137" y="7102"/>
                    </a:moveTo>
                    <a:cubicBezTo>
                      <a:pt x="56123" y="2541"/>
                      <a:pt x="67208" y="0"/>
                      <a:pt x="78884" y="0"/>
                    </a:cubicBezTo>
                    <a:cubicBezTo>
                      <a:pt x="122445" y="0"/>
                      <a:pt x="157768" y="35324"/>
                      <a:pt x="157768" y="78884"/>
                    </a:cubicBezTo>
                    <a:cubicBezTo>
                      <a:pt x="157768" y="122445"/>
                      <a:pt x="122445" y="157769"/>
                      <a:pt x="78884" y="157769"/>
                    </a:cubicBezTo>
                    <a:cubicBezTo>
                      <a:pt x="35324" y="157769"/>
                      <a:pt x="0" y="122457"/>
                      <a:pt x="0" y="78884"/>
                    </a:cubicBezTo>
                    <a:cubicBezTo>
                      <a:pt x="0" y="56655"/>
                      <a:pt x="9206" y="36576"/>
                      <a:pt x="23990" y="22241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668" name="Forma livre: Forma 1667">
                <a:extLst>
                  <a:ext uri="{FF2B5EF4-FFF2-40B4-BE49-F238E27FC236}">
                    <a16:creationId xmlns:a16="http://schemas.microsoft.com/office/drawing/2014/main" id="{8486C7E4-A5C6-7707-036E-6D8A408D29E5}"/>
                  </a:ext>
                </a:extLst>
              </p:cNvPr>
              <p:cNvSpPr/>
              <p:nvPr/>
            </p:nvSpPr>
            <p:spPr>
              <a:xfrm>
                <a:off x="5134437" y="4684953"/>
                <a:ext cx="53936" cy="78269"/>
              </a:xfrm>
              <a:custGeom>
                <a:avLst/>
                <a:gdLst>
                  <a:gd name="connsiteX0" fmla="*/ 53937 w 53936"/>
                  <a:gd name="connsiteY0" fmla="*/ 0 h 78269"/>
                  <a:gd name="connsiteX1" fmla="*/ 0 w 53936"/>
                  <a:gd name="connsiteY1" fmla="*/ 78270 h 782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3936" h="78269">
                    <a:moveTo>
                      <a:pt x="53937" y="0"/>
                    </a:moveTo>
                    <a:lnTo>
                      <a:pt x="0" y="7827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1669" name="Gráfico 15">
                <a:extLst>
                  <a:ext uri="{FF2B5EF4-FFF2-40B4-BE49-F238E27FC236}">
                    <a16:creationId xmlns:a16="http://schemas.microsoft.com/office/drawing/2014/main" id="{363B5E40-B16B-DCA5-BB83-07637FA5799A}"/>
                  </a:ext>
                </a:extLst>
              </p:cNvPr>
              <p:cNvGrpSpPr/>
              <p:nvPr/>
            </p:nvGrpSpPr>
            <p:grpSpPr>
              <a:xfrm>
                <a:off x="5119996" y="4680628"/>
                <a:ext cx="82819" cy="86932"/>
                <a:chOff x="5119996" y="4680628"/>
                <a:chExt cx="82819" cy="86932"/>
              </a:xfrm>
              <a:noFill/>
            </p:grpSpPr>
            <p:sp>
              <p:nvSpPr>
                <p:cNvPr id="1670" name="Forma livre: Forma 1669">
                  <a:extLst>
                    <a:ext uri="{FF2B5EF4-FFF2-40B4-BE49-F238E27FC236}">
                      <a16:creationId xmlns:a16="http://schemas.microsoft.com/office/drawing/2014/main" id="{1475F224-0AEF-B643-1F60-861F47CD53BD}"/>
                    </a:ext>
                  </a:extLst>
                </p:cNvPr>
                <p:cNvSpPr/>
                <p:nvPr/>
              </p:nvSpPr>
              <p:spPr>
                <a:xfrm>
                  <a:off x="5119996" y="4680628"/>
                  <a:ext cx="30230" cy="30241"/>
                </a:xfrm>
                <a:custGeom>
                  <a:avLst/>
                  <a:gdLst>
                    <a:gd name="connsiteX0" fmla="*/ 30230 w 30230"/>
                    <a:gd name="connsiteY0" fmla="*/ 15115 h 30241"/>
                    <a:gd name="connsiteX1" fmla="*/ 15115 w 30230"/>
                    <a:gd name="connsiteY1" fmla="*/ 30242 h 30241"/>
                    <a:gd name="connsiteX2" fmla="*/ 0 w 30230"/>
                    <a:gd name="connsiteY2" fmla="*/ 15115 h 30241"/>
                    <a:gd name="connsiteX3" fmla="*/ 15115 w 30230"/>
                    <a:gd name="connsiteY3" fmla="*/ 0 h 30241"/>
                    <a:gd name="connsiteX4" fmla="*/ 30230 w 30230"/>
                    <a:gd name="connsiteY4" fmla="*/ 15115 h 3024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0230" h="30241">
                      <a:moveTo>
                        <a:pt x="30230" y="15115"/>
                      </a:moveTo>
                      <a:cubicBezTo>
                        <a:pt x="30230" y="23458"/>
                        <a:pt x="23458" y="30242"/>
                        <a:pt x="15115" y="30242"/>
                      </a:cubicBezTo>
                      <a:cubicBezTo>
                        <a:pt x="6772" y="30242"/>
                        <a:pt x="0" y="23470"/>
                        <a:pt x="0" y="15115"/>
                      </a:cubicBezTo>
                      <a:cubicBezTo>
                        <a:pt x="0" y="6760"/>
                        <a:pt x="6760" y="0"/>
                        <a:pt x="15115" y="0"/>
                      </a:cubicBezTo>
                      <a:cubicBezTo>
                        <a:pt x="23470" y="0"/>
                        <a:pt x="30230" y="6772"/>
                        <a:pt x="30230" y="15115"/>
                      </a:cubicBezTo>
                      <a:close/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671" name="Forma livre: Forma 1670">
                  <a:extLst>
                    <a:ext uri="{FF2B5EF4-FFF2-40B4-BE49-F238E27FC236}">
                      <a16:creationId xmlns:a16="http://schemas.microsoft.com/office/drawing/2014/main" id="{9DF6C362-2559-7BB5-25D2-837968DDD6B0}"/>
                    </a:ext>
                  </a:extLst>
                </p:cNvPr>
                <p:cNvSpPr/>
                <p:nvPr/>
              </p:nvSpPr>
              <p:spPr>
                <a:xfrm>
                  <a:off x="5172585" y="4737330"/>
                  <a:ext cx="30230" cy="30230"/>
                </a:xfrm>
                <a:custGeom>
                  <a:avLst/>
                  <a:gdLst>
                    <a:gd name="connsiteX0" fmla="*/ 30230 w 30230"/>
                    <a:gd name="connsiteY0" fmla="*/ 15115 h 30230"/>
                    <a:gd name="connsiteX1" fmla="*/ 15115 w 30230"/>
                    <a:gd name="connsiteY1" fmla="*/ 30230 h 30230"/>
                    <a:gd name="connsiteX2" fmla="*/ 0 w 30230"/>
                    <a:gd name="connsiteY2" fmla="*/ 15115 h 30230"/>
                    <a:gd name="connsiteX3" fmla="*/ 15115 w 30230"/>
                    <a:gd name="connsiteY3" fmla="*/ 0 h 30230"/>
                    <a:gd name="connsiteX4" fmla="*/ 30230 w 30230"/>
                    <a:gd name="connsiteY4" fmla="*/ 15115 h 3023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0230" h="30230">
                      <a:moveTo>
                        <a:pt x="30230" y="15115"/>
                      </a:moveTo>
                      <a:cubicBezTo>
                        <a:pt x="30230" y="23459"/>
                        <a:pt x="23458" y="30230"/>
                        <a:pt x="15115" y="30230"/>
                      </a:cubicBezTo>
                      <a:cubicBezTo>
                        <a:pt x="6772" y="30230"/>
                        <a:pt x="0" y="23459"/>
                        <a:pt x="0" y="15115"/>
                      </a:cubicBezTo>
                      <a:cubicBezTo>
                        <a:pt x="0" y="6772"/>
                        <a:pt x="6772" y="0"/>
                        <a:pt x="15115" y="0"/>
                      </a:cubicBezTo>
                      <a:cubicBezTo>
                        <a:pt x="23458" y="0"/>
                        <a:pt x="30230" y="6772"/>
                        <a:pt x="30230" y="15115"/>
                      </a:cubicBezTo>
                      <a:close/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grpSp>
          <p:nvGrpSpPr>
            <p:cNvPr id="1672" name="Gráfico 15">
              <a:extLst>
                <a:ext uri="{FF2B5EF4-FFF2-40B4-BE49-F238E27FC236}">
                  <a16:creationId xmlns:a16="http://schemas.microsoft.com/office/drawing/2014/main" id="{08BCA217-0CB9-A44D-D144-1BB5BB24DFCC}"/>
                </a:ext>
              </a:extLst>
            </p:cNvPr>
            <p:cNvGrpSpPr/>
            <p:nvPr/>
          </p:nvGrpSpPr>
          <p:grpSpPr>
            <a:xfrm>
              <a:off x="5023302" y="4708719"/>
              <a:ext cx="276207" cy="241498"/>
              <a:chOff x="5023302" y="4708719"/>
              <a:chExt cx="276207" cy="241498"/>
            </a:xfrm>
            <a:noFill/>
          </p:grpSpPr>
          <p:grpSp>
            <p:nvGrpSpPr>
              <p:cNvPr id="1673" name="Gráfico 15">
                <a:extLst>
                  <a:ext uri="{FF2B5EF4-FFF2-40B4-BE49-F238E27FC236}">
                    <a16:creationId xmlns:a16="http://schemas.microsoft.com/office/drawing/2014/main" id="{96008ACC-8D52-6F7F-6826-6D2B204EDA4A}"/>
                  </a:ext>
                </a:extLst>
              </p:cNvPr>
              <p:cNvGrpSpPr/>
              <p:nvPr/>
            </p:nvGrpSpPr>
            <p:grpSpPr>
              <a:xfrm>
                <a:off x="5175433" y="4708719"/>
                <a:ext cx="124075" cy="241498"/>
                <a:chOff x="5175433" y="4708719"/>
                <a:chExt cx="124075" cy="241498"/>
              </a:xfrm>
              <a:noFill/>
            </p:grpSpPr>
            <p:sp>
              <p:nvSpPr>
                <p:cNvPr id="1674" name="Forma livre: Forma 1673">
                  <a:extLst>
                    <a:ext uri="{FF2B5EF4-FFF2-40B4-BE49-F238E27FC236}">
                      <a16:creationId xmlns:a16="http://schemas.microsoft.com/office/drawing/2014/main" id="{3433181B-F1C3-D6C0-C485-16B5C84D7E4C}"/>
                    </a:ext>
                  </a:extLst>
                </p:cNvPr>
                <p:cNvSpPr/>
                <p:nvPr/>
              </p:nvSpPr>
              <p:spPr>
                <a:xfrm>
                  <a:off x="5240423" y="4708719"/>
                  <a:ext cx="59085" cy="240895"/>
                </a:xfrm>
                <a:custGeom>
                  <a:avLst/>
                  <a:gdLst>
                    <a:gd name="connsiteX0" fmla="*/ 26598 w 59085"/>
                    <a:gd name="connsiteY0" fmla="*/ 79972 h 240895"/>
                    <a:gd name="connsiteX1" fmla="*/ 26598 w 59085"/>
                    <a:gd name="connsiteY1" fmla="*/ 18625 h 240895"/>
                    <a:gd name="connsiteX2" fmla="*/ 42328 w 59085"/>
                    <a:gd name="connsiteY2" fmla="*/ 0 h 240895"/>
                    <a:gd name="connsiteX3" fmla="*/ 59086 w 59085"/>
                    <a:gd name="connsiteY3" fmla="*/ 18424 h 240895"/>
                    <a:gd name="connsiteX4" fmla="*/ 59086 w 59085"/>
                    <a:gd name="connsiteY4" fmla="*/ 137489 h 240895"/>
                    <a:gd name="connsiteX5" fmla="*/ 4487 w 59085"/>
                    <a:gd name="connsiteY5" fmla="*/ 208775 h 240895"/>
                    <a:gd name="connsiteX6" fmla="*/ 327 w 59085"/>
                    <a:gd name="connsiteY6" fmla="*/ 240896 h 24089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59085" h="240895">
                      <a:moveTo>
                        <a:pt x="26598" y="79972"/>
                      </a:moveTo>
                      <a:lnTo>
                        <a:pt x="26598" y="18625"/>
                      </a:lnTo>
                      <a:cubicBezTo>
                        <a:pt x="26539" y="8438"/>
                        <a:pt x="33157" y="59"/>
                        <a:pt x="42328" y="0"/>
                      </a:cubicBezTo>
                      <a:cubicBezTo>
                        <a:pt x="51475" y="-47"/>
                        <a:pt x="59015" y="8237"/>
                        <a:pt x="59086" y="18424"/>
                      </a:cubicBezTo>
                      <a:lnTo>
                        <a:pt x="59086" y="137489"/>
                      </a:lnTo>
                      <a:lnTo>
                        <a:pt x="4487" y="208775"/>
                      </a:lnTo>
                      <a:cubicBezTo>
                        <a:pt x="4487" y="208775"/>
                        <a:pt x="-1434" y="215676"/>
                        <a:pt x="327" y="240896"/>
                      </a:cubicBez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675" name="Forma livre: Forma 1674">
                  <a:extLst>
                    <a:ext uri="{FF2B5EF4-FFF2-40B4-BE49-F238E27FC236}">
                      <a16:creationId xmlns:a16="http://schemas.microsoft.com/office/drawing/2014/main" id="{94A2DE5A-3FDC-669D-CB66-CE3A4741E86D}"/>
                    </a:ext>
                  </a:extLst>
                </p:cNvPr>
                <p:cNvSpPr/>
                <p:nvPr/>
              </p:nvSpPr>
              <p:spPr>
                <a:xfrm>
                  <a:off x="5175433" y="4805420"/>
                  <a:ext cx="103200" cy="144797"/>
                </a:xfrm>
                <a:custGeom>
                  <a:avLst/>
                  <a:gdLst>
                    <a:gd name="connsiteX0" fmla="*/ 0 w 103200"/>
                    <a:gd name="connsiteY0" fmla="*/ 144797 h 144797"/>
                    <a:gd name="connsiteX1" fmla="*/ 59 w 103200"/>
                    <a:gd name="connsiteY1" fmla="*/ 89478 h 144797"/>
                    <a:gd name="connsiteX2" fmla="*/ 25125 w 103200"/>
                    <a:gd name="connsiteY2" fmla="*/ 53433 h 144797"/>
                    <a:gd name="connsiteX3" fmla="*/ 49387 w 103200"/>
                    <a:gd name="connsiteY3" fmla="*/ 32598 h 144797"/>
                    <a:gd name="connsiteX4" fmla="*/ 70777 w 103200"/>
                    <a:gd name="connsiteY4" fmla="*/ 9412 h 144797"/>
                    <a:gd name="connsiteX5" fmla="*/ 99069 w 103200"/>
                    <a:gd name="connsiteY5" fmla="*/ 3325 h 144797"/>
                    <a:gd name="connsiteX6" fmla="*/ 95299 w 103200"/>
                    <a:gd name="connsiteY6" fmla="*/ 31984 h 144797"/>
                    <a:gd name="connsiteX7" fmla="*/ 65223 w 103200"/>
                    <a:gd name="connsiteY7" fmla="*/ 64566 h 14479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03200" h="144797">
                      <a:moveTo>
                        <a:pt x="0" y="144797"/>
                      </a:moveTo>
                      <a:lnTo>
                        <a:pt x="59" y="89478"/>
                      </a:lnTo>
                      <a:cubicBezTo>
                        <a:pt x="59" y="67981"/>
                        <a:pt x="25125" y="53433"/>
                        <a:pt x="25125" y="53433"/>
                      </a:cubicBezTo>
                      <a:cubicBezTo>
                        <a:pt x="36470" y="45834"/>
                        <a:pt x="49387" y="32598"/>
                        <a:pt x="49387" y="32598"/>
                      </a:cubicBezTo>
                      <a:lnTo>
                        <a:pt x="70777" y="9412"/>
                      </a:lnTo>
                      <a:cubicBezTo>
                        <a:pt x="79593" y="-149"/>
                        <a:pt x="92321" y="-2879"/>
                        <a:pt x="99069" y="3325"/>
                      </a:cubicBezTo>
                      <a:cubicBezTo>
                        <a:pt x="105817" y="9530"/>
                        <a:pt x="104115" y="22423"/>
                        <a:pt x="95299" y="31984"/>
                      </a:cubicBezTo>
                      <a:lnTo>
                        <a:pt x="65223" y="64566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1676" name="Gráfico 15">
                <a:extLst>
                  <a:ext uri="{FF2B5EF4-FFF2-40B4-BE49-F238E27FC236}">
                    <a16:creationId xmlns:a16="http://schemas.microsoft.com/office/drawing/2014/main" id="{31B56A92-1772-D616-2D29-4548ED36025A}"/>
                  </a:ext>
                </a:extLst>
              </p:cNvPr>
              <p:cNvGrpSpPr/>
              <p:nvPr/>
            </p:nvGrpSpPr>
            <p:grpSpPr>
              <a:xfrm>
                <a:off x="5023302" y="4708719"/>
                <a:ext cx="124075" cy="241498"/>
                <a:chOff x="5023302" y="4708719"/>
                <a:chExt cx="124075" cy="241498"/>
              </a:xfrm>
              <a:noFill/>
            </p:grpSpPr>
            <p:sp>
              <p:nvSpPr>
                <p:cNvPr id="1677" name="Forma livre: Forma 1676">
                  <a:extLst>
                    <a:ext uri="{FF2B5EF4-FFF2-40B4-BE49-F238E27FC236}">
                      <a16:creationId xmlns:a16="http://schemas.microsoft.com/office/drawing/2014/main" id="{418B04C6-7682-C94B-0485-AA959832ED04}"/>
                    </a:ext>
                  </a:extLst>
                </p:cNvPr>
                <p:cNvSpPr/>
                <p:nvPr/>
              </p:nvSpPr>
              <p:spPr>
                <a:xfrm>
                  <a:off x="5023302" y="4708719"/>
                  <a:ext cx="59085" cy="240895"/>
                </a:xfrm>
                <a:custGeom>
                  <a:avLst/>
                  <a:gdLst>
                    <a:gd name="connsiteX0" fmla="*/ 32499 w 59085"/>
                    <a:gd name="connsiteY0" fmla="*/ 79972 h 240895"/>
                    <a:gd name="connsiteX1" fmla="*/ 32499 w 59085"/>
                    <a:gd name="connsiteY1" fmla="*/ 18625 h 240895"/>
                    <a:gd name="connsiteX2" fmla="*/ 16758 w 59085"/>
                    <a:gd name="connsiteY2" fmla="*/ 0 h 240895"/>
                    <a:gd name="connsiteX3" fmla="*/ 0 w 59085"/>
                    <a:gd name="connsiteY3" fmla="*/ 18424 h 240895"/>
                    <a:gd name="connsiteX4" fmla="*/ 0 w 59085"/>
                    <a:gd name="connsiteY4" fmla="*/ 137489 h 240895"/>
                    <a:gd name="connsiteX5" fmla="*/ 54599 w 59085"/>
                    <a:gd name="connsiteY5" fmla="*/ 208775 h 240895"/>
                    <a:gd name="connsiteX6" fmla="*/ 58758 w 59085"/>
                    <a:gd name="connsiteY6" fmla="*/ 240896 h 24089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59085" h="240895">
                      <a:moveTo>
                        <a:pt x="32499" y="79972"/>
                      </a:moveTo>
                      <a:lnTo>
                        <a:pt x="32499" y="18625"/>
                      </a:lnTo>
                      <a:cubicBezTo>
                        <a:pt x="32558" y="8438"/>
                        <a:pt x="25928" y="59"/>
                        <a:pt x="16758" y="0"/>
                      </a:cubicBezTo>
                      <a:cubicBezTo>
                        <a:pt x="7611" y="-47"/>
                        <a:pt x="71" y="8237"/>
                        <a:pt x="0" y="18424"/>
                      </a:cubicBezTo>
                      <a:lnTo>
                        <a:pt x="0" y="137489"/>
                      </a:lnTo>
                      <a:cubicBezTo>
                        <a:pt x="0" y="137489"/>
                        <a:pt x="54599" y="208775"/>
                        <a:pt x="54599" y="208775"/>
                      </a:cubicBezTo>
                      <a:cubicBezTo>
                        <a:pt x="54599" y="208775"/>
                        <a:pt x="60519" y="215676"/>
                        <a:pt x="58758" y="240896"/>
                      </a:cubicBez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678" name="Forma livre: Forma 1677">
                  <a:extLst>
                    <a:ext uri="{FF2B5EF4-FFF2-40B4-BE49-F238E27FC236}">
                      <a16:creationId xmlns:a16="http://schemas.microsoft.com/office/drawing/2014/main" id="{AB2454E5-EBDA-E346-46C8-66C2455CFCC6}"/>
                    </a:ext>
                  </a:extLst>
                </p:cNvPr>
                <p:cNvSpPr/>
                <p:nvPr/>
              </p:nvSpPr>
              <p:spPr>
                <a:xfrm>
                  <a:off x="5044183" y="4805420"/>
                  <a:ext cx="103194" cy="144797"/>
                </a:xfrm>
                <a:custGeom>
                  <a:avLst/>
                  <a:gdLst>
                    <a:gd name="connsiteX0" fmla="*/ 103194 w 103194"/>
                    <a:gd name="connsiteY0" fmla="*/ 144797 h 144797"/>
                    <a:gd name="connsiteX1" fmla="*/ 103135 w 103194"/>
                    <a:gd name="connsiteY1" fmla="*/ 89478 h 144797"/>
                    <a:gd name="connsiteX2" fmla="*/ 78070 w 103194"/>
                    <a:gd name="connsiteY2" fmla="*/ 53433 h 144797"/>
                    <a:gd name="connsiteX3" fmla="*/ 53819 w 103194"/>
                    <a:gd name="connsiteY3" fmla="*/ 32598 h 144797"/>
                    <a:gd name="connsiteX4" fmla="*/ 32417 w 103194"/>
                    <a:gd name="connsiteY4" fmla="*/ 9412 h 144797"/>
                    <a:gd name="connsiteX5" fmla="*/ 4125 w 103194"/>
                    <a:gd name="connsiteY5" fmla="*/ 3325 h 144797"/>
                    <a:gd name="connsiteX6" fmla="*/ 7907 w 103194"/>
                    <a:gd name="connsiteY6" fmla="*/ 31984 h 144797"/>
                    <a:gd name="connsiteX7" fmla="*/ 37983 w 103194"/>
                    <a:gd name="connsiteY7" fmla="*/ 64566 h 14479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03194" h="144797">
                      <a:moveTo>
                        <a:pt x="103194" y="144797"/>
                      </a:moveTo>
                      <a:lnTo>
                        <a:pt x="103135" y="89478"/>
                      </a:lnTo>
                      <a:cubicBezTo>
                        <a:pt x="103135" y="67981"/>
                        <a:pt x="78070" y="53433"/>
                        <a:pt x="78070" y="53433"/>
                      </a:cubicBezTo>
                      <a:cubicBezTo>
                        <a:pt x="66724" y="45834"/>
                        <a:pt x="53819" y="32598"/>
                        <a:pt x="53819" y="32598"/>
                      </a:cubicBezTo>
                      <a:lnTo>
                        <a:pt x="32417" y="9412"/>
                      </a:lnTo>
                      <a:cubicBezTo>
                        <a:pt x="23613" y="-149"/>
                        <a:pt x="10873" y="-2879"/>
                        <a:pt x="4125" y="3325"/>
                      </a:cubicBezTo>
                      <a:cubicBezTo>
                        <a:pt x="-2611" y="9530"/>
                        <a:pt x="-921" y="22423"/>
                        <a:pt x="7907" y="31984"/>
                      </a:cubicBezTo>
                      <a:lnTo>
                        <a:pt x="37983" y="64566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</p:grpSp>
      <p:grpSp>
        <p:nvGrpSpPr>
          <p:cNvPr id="1679" name="Gráfico 15">
            <a:extLst>
              <a:ext uri="{FF2B5EF4-FFF2-40B4-BE49-F238E27FC236}">
                <a16:creationId xmlns:a16="http://schemas.microsoft.com/office/drawing/2014/main" id="{F4DB3C91-A716-52EA-B01F-21A48D9D81E8}"/>
              </a:ext>
            </a:extLst>
          </p:cNvPr>
          <p:cNvGrpSpPr/>
          <p:nvPr/>
        </p:nvGrpSpPr>
        <p:grpSpPr>
          <a:xfrm>
            <a:off x="4391129" y="4665123"/>
            <a:ext cx="305243" cy="265169"/>
            <a:chOff x="4391129" y="4665123"/>
            <a:chExt cx="305243" cy="265169"/>
          </a:xfrm>
          <a:noFill/>
        </p:grpSpPr>
        <p:grpSp>
          <p:nvGrpSpPr>
            <p:cNvPr id="1680" name="Gráfico 15">
              <a:extLst>
                <a:ext uri="{FF2B5EF4-FFF2-40B4-BE49-F238E27FC236}">
                  <a16:creationId xmlns:a16="http://schemas.microsoft.com/office/drawing/2014/main" id="{09C7253E-6FBF-7EC6-2BDB-D9D80DE73F58}"/>
                </a:ext>
              </a:extLst>
            </p:cNvPr>
            <p:cNvGrpSpPr/>
            <p:nvPr/>
          </p:nvGrpSpPr>
          <p:grpSpPr>
            <a:xfrm>
              <a:off x="4538604" y="4772523"/>
              <a:ext cx="157768" cy="157768"/>
              <a:chOff x="4538604" y="4772523"/>
              <a:chExt cx="157768" cy="157768"/>
            </a:xfrm>
            <a:noFill/>
          </p:grpSpPr>
          <p:sp>
            <p:nvSpPr>
              <p:cNvPr id="1681" name="Forma livre: Forma 1680">
                <a:extLst>
                  <a:ext uri="{FF2B5EF4-FFF2-40B4-BE49-F238E27FC236}">
                    <a16:creationId xmlns:a16="http://schemas.microsoft.com/office/drawing/2014/main" id="{6DEA6948-46CF-F96D-2509-8E9D17972544}"/>
                  </a:ext>
                </a:extLst>
              </p:cNvPr>
              <p:cNvSpPr/>
              <p:nvPr/>
            </p:nvSpPr>
            <p:spPr>
              <a:xfrm>
                <a:off x="4538604" y="4772523"/>
                <a:ext cx="157768" cy="157768"/>
              </a:xfrm>
              <a:custGeom>
                <a:avLst/>
                <a:gdLst>
                  <a:gd name="connsiteX0" fmla="*/ 46137 w 157768"/>
                  <a:gd name="connsiteY0" fmla="*/ 7103 h 157768"/>
                  <a:gd name="connsiteX1" fmla="*/ 78884 w 157768"/>
                  <a:gd name="connsiteY1" fmla="*/ 0 h 157768"/>
                  <a:gd name="connsiteX2" fmla="*/ 157768 w 157768"/>
                  <a:gd name="connsiteY2" fmla="*/ 78884 h 157768"/>
                  <a:gd name="connsiteX3" fmla="*/ 78884 w 157768"/>
                  <a:gd name="connsiteY3" fmla="*/ 157769 h 157768"/>
                  <a:gd name="connsiteX4" fmla="*/ 0 w 157768"/>
                  <a:gd name="connsiteY4" fmla="*/ 78884 h 157768"/>
                  <a:gd name="connsiteX5" fmla="*/ 23990 w 157768"/>
                  <a:gd name="connsiteY5" fmla="*/ 22241 h 1577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57768" h="157768">
                    <a:moveTo>
                      <a:pt x="46137" y="7103"/>
                    </a:moveTo>
                    <a:cubicBezTo>
                      <a:pt x="56123" y="2541"/>
                      <a:pt x="67208" y="0"/>
                      <a:pt x="78884" y="0"/>
                    </a:cubicBezTo>
                    <a:cubicBezTo>
                      <a:pt x="122445" y="0"/>
                      <a:pt x="157768" y="35312"/>
                      <a:pt x="157768" y="78884"/>
                    </a:cubicBezTo>
                    <a:cubicBezTo>
                      <a:pt x="157768" y="122457"/>
                      <a:pt x="122445" y="157769"/>
                      <a:pt x="78884" y="157769"/>
                    </a:cubicBezTo>
                    <a:cubicBezTo>
                      <a:pt x="35324" y="157769"/>
                      <a:pt x="0" y="122445"/>
                      <a:pt x="0" y="78884"/>
                    </a:cubicBezTo>
                    <a:cubicBezTo>
                      <a:pt x="0" y="56655"/>
                      <a:pt x="9206" y="36576"/>
                      <a:pt x="23990" y="22241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682" name="Forma livre: Forma 1681">
                <a:extLst>
                  <a:ext uri="{FF2B5EF4-FFF2-40B4-BE49-F238E27FC236}">
                    <a16:creationId xmlns:a16="http://schemas.microsoft.com/office/drawing/2014/main" id="{032CF718-CFBA-0958-FFCC-F77FC6120B4F}"/>
                  </a:ext>
                </a:extLst>
              </p:cNvPr>
              <p:cNvSpPr/>
              <p:nvPr/>
            </p:nvSpPr>
            <p:spPr>
              <a:xfrm>
                <a:off x="4590520" y="4812279"/>
                <a:ext cx="53936" cy="78269"/>
              </a:xfrm>
              <a:custGeom>
                <a:avLst/>
                <a:gdLst>
                  <a:gd name="connsiteX0" fmla="*/ 53937 w 53936"/>
                  <a:gd name="connsiteY0" fmla="*/ 0 h 78269"/>
                  <a:gd name="connsiteX1" fmla="*/ 0 w 53936"/>
                  <a:gd name="connsiteY1" fmla="*/ 78270 h 782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3936" h="78269">
                    <a:moveTo>
                      <a:pt x="53937" y="0"/>
                    </a:moveTo>
                    <a:lnTo>
                      <a:pt x="0" y="7827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1683" name="Gráfico 15">
                <a:extLst>
                  <a:ext uri="{FF2B5EF4-FFF2-40B4-BE49-F238E27FC236}">
                    <a16:creationId xmlns:a16="http://schemas.microsoft.com/office/drawing/2014/main" id="{845EB2F2-C6A5-1D58-953F-0FA02996A10B}"/>
                  </a:ext>
                </a:extLst>
              </p:cNvPr>
              <p:cNvGrpSpPr/>
              <p:nvPr/>
            </p:nvGrpSpPr>
            <p:grpSpPr>
              <a:xfrm>
                <a:off x="4576078" y="4807942"/>
                <a:ext cx="82819" cy="86932"/>
                <a:chOff x="4576078" y="4807942"/>
                <a:chExt cx="82819" cy="86932"/>
              </a:xfrm>
              <a:noFill/>
            </p:grpSpPr>
            <p:sp>
              <p:nvSpPr>
                <p:cNvPr id="1684" name="Forma livre: Forma 1683">
                  <a:extLst>
                    <a:ext uri="{FF2B5EF4-FFF2-40B4-BE49-F238E27FC236}">
                      <a16:creationId xmlns:a16="http://schemas.microsoft.com/office/drawing/2014/main" id="{87C07A6D-4042-0B27-0CF5-AA3E5C41929F}"/>
                    </a:ext>
                  </a:extLst>
                </p:cNvPr>
                <p:cNvSpPr/>
                <p:nvPr/>
              </p:nvSpPr>
              <p:spPr>
                <a:xfrm>
                  <a:off x="4576078" y="4807942"/>
                  <a:ext cx="30230" cy="30241"/>
                </a:xfrm>
                <a:custGeom>
                  <a:avLst/>
                  <a:gdLst>
                    <a:gd name="connsiteX0" fmla="*/ 30230 w 30230"/>
                    <a:gd name="connsiteY0" fmla="*/ 15115 h 30241"/>
                    <a:gd name="connsiteX1" fmla="*/ 15115 w 30230"/>
                    <a:gd name="connsiteY1" fmla="*/ 30242 h 30241"/>
                    <a:gd name="connsiteX2" fmla="*/ 0 w 30230"/>
                    <a:gd name="connsiteY2" fmla="*/ 15115 h 30241"/>
                    <a:gd name="connsiteX3" fmla="*/ 15115 w 30230"/>
                    <a:gd name="connsiteY3" fmla="*/ 0 h 30241"/>
                    <a:gd name="connsiteX4" fmla="*/ 30230 w 30230"/>
                    <a:gd name="connsiteY4" fmla="*/ 15115 h 3024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0230" h="30241">
                      <a:moveTo>
                        <a:pt x="30230" y="15115"/>
                      </a:moveTo>
                      <a:cubicBezTo>
                        <a:pt x="30230" y="23470"/>
                        <a:pt x="23458" y="30242"/>
                        <a:pt x="15115" y="30242"/>
                      </a:cubicBezTo>
                      <a:cubicBezTo>
                        <a:pt x="6772" y="30242"/>
                        <a:pt x="0" y="23470"/>
                        <a:pt x="0" y="15115"/>
                      </a:cubicBezTo>
                      <a:cubicBezTo>
                        <a:pt x="0" y="6760"/>
                        <a:pt x="6760" y="0"/>
                        <a:pt x="15115" y="0"/>
                      </a:cubicBezTo>
                      <a:cubicBezTo>
                        <a:pt x="23470" y="0"/>
                        <a:pt x="30230" y="6772"/>
                        <a:pt x="30230" y="15115"/>
                      </a:cubicBezTo>
                      <a:close/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685" name="Forma livre: Forma 1684">
                  <a:extLst>
                    <a:ext uri="{FF2B5EF4-FFF2-40B4-BE49-F238E27FC236}">
                      <a16:creationId xmlns:a16="http://schemas.microsoft.com/office/drawing/2014/main" id="{32FB7F52-D4BF-0BD1-1F4B-57D40727E52F}"/>
                    </a:ext>
                  </a:extLst>
                </p:cNvPr>
                <p:cNvSpPr/>
                <p:nvPr/>
              </p:nvSpPr>
              <p:spPr>
                <a:xfrm>
                  <a:off x="4628668" y="4864644"/>
                  <a:ext cx="30230" cy="30230"/>
                </a:xfrm>
                <a:custGeom>
                  <a:avLst/>
                  <a:gdLst>
                    <a:gd name="connsiteX0" fmla="*/ 30230 w 30230"/>
                    <a:gd name="connsiteY0" fmla="*/ 15115 h 30230"/>
                    <a:gd name="connsiteX1" fmla="*/ 15115 w 30230"/>
                    <a:gd name="connsiteY1" fmla="*/ 30230 h 30230"/>
                    <a:gd name="connsiteX2" fmla="*/ 0 w 30230"/>
                    <a:gd name="connsiteY2" fmla="*/ 15115 h 30230"/>
                    <a:gd name="connsiteX3" fmla="*/ 15115 w 30230"/>
                    <a:gd name="connsiteY3" fmla="*/ 0 h 30230"/>
                    <a:gd name="connsiteX4" fmla="*/ 30230 w 30230"/>
                    <a:gd name="connsiteY4" fmla="*/ 15115 h 3023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0230" h="30230">
                      <a:moveTo>
                        <a:pt x="30230" y="15115"/>
                      </a:moveTo>
                      <a:cubicBezTo>
                        <a:pt x="30230" y="23458"/>
                        <a:pt x="23458" y="30230"/>
                        <a:pt x="15115" y="30230"/>
                      </a:cubicBezTo>
                      <a:cubicBezTo>
                        <a:pt x="6772" y="30230"/>
                        <a:pt x="0" y="23458"/>
                        <a:pt x="0" y="15115"/>
                      </a:cubicBezTo>
                      <a:cubicBezTo>
                        <a:pt x="0" y="6772"/>
                        <a:pt x="6772" y="0"/>
                        <a:pt x="15115" y="0"/>
                      </a:cubicBezTo>
                      <a:cubicBezTo>
                        <a:pt x="23458" y="0"/>
                        <a:pt x="30230" y="6772"/>
                        <a:pt x="30230" y="15115"/>
                      </a:cubicBezTo>
                      <a:close/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sp>
          <p:nvSpPr>
            <p:cNvPr id="1686" name="Forma livre: Forma 1685">
              <a:extLst>
                <a:ext uri="{FF2B5EF4-FFF2-40B4-BE49-F238E27FC236}">
                  <a16:creationId xmlns:a16="http://schemas.microsoft.com/office/drawing/2014/main" id="{985A6C29-D654-FAED-5A61-072B607A092C}"/>
                </a:ext>
              </a:extLst>
            </p:cNvPr>
            <p:cNvSpPr/>
            <p:nvPr/>
          </p:nvSpPr>
          <p:spPr>
            <a:xfrm>
              <a:off x="4391129" y="4665123"/>
              <a:ext cx="263916" cy="163346"/>
            </a:xfrm>
            <a:custGeom>
              <a:avLst/>
              <a:gdLst>
                <a:gd name="connsiteX0" fmla="*/ 126404 w 263916"/>
                <a:gd name="connsiteY0" fmla="*/ 163347 h 163346"/>
                <a:gd name="connsiteX1" fmla="*/ 27796 w 263916"/>
                <a:gd name="connsiteY1" fmla="*/ 163347 h 163346"/>
                <a:gd name="connsiteX2" fmla="*/ 0 w 263916"/>
                <a:gd name="connsiteY2" fmla="*/ 135149 h 163346"/>
                <a:gd name="connsiteX3" fmla="*/ 0 w 263916"/>
                <a:gd name="connsiteY3" fmla="*/ 27784 h 163346"/>
                <a:gd name="connsiteX4" fmla="*/ 27796 w 263916"/>
                <a:gd name="connsiteY4" fmla="*/ 0 h 163346"/>
                <a:gd name="connsiteX5" fmla="*/ 236133 w 263916"/>
                <a:gd name="connsiteY5" fmla="*/ 0 h 163346"/>
                <a:gd name="connsiteX6" fmla="*/ 263917 w 263916"/>
                <a:gd name="connsiteY6" fmla="*/ 27784 h 163346"/>
                <a:gd name="connsiteX7" fmla="*/ 263917 w 263916"/>
                <a:gd name="connsiteY7" fmla="*/ 91069 h 1633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63916" h="163346">
                  <a:moveTo>
                    <a:pt x="126404" y="163347"/>
                  </a:moveTo>
                  <a:lnTo>
                    <a:pt x="27796" y="163347"/>
                  </a:lnTo>
                  <a:cubicBezTo>
                    <a:pt x="12503" y="163347"/>
                    <a:pt x="0" y="150430"/>
                    <a:pt x="0" y="135149"/>
                  </a:cubicBezTo>
                  <a:lnTo>
                    <a:pt x="0" y="27784"/>
                  </a:lnTo>
                  <a:cubicBezTo>
                    <a:pt x="0" y="12503"/>
                    <a:pt x="12503" y="0"/>
                    <a:pt x="27796" y="0"/>
                  </a:cubicBezTo>
                  <a:lnTo>
                    <a:pt x="236133" y="0"/>
                  </a:lnTo>
                  <a:cubicBezTo>
                    <a:pt x="251413" y="0"/>
                    <a:pt x="263917" y="12503"/>
                    <a:pt x="263917" y="27784"/>
                  </a:cubicBezTo>
                  <a:lnTo>
                    <a:pt x="263917" y="91069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87" name="Forma livre: Forma 1686">
              <a:extLst>
                <a:ext uri="{FF2B5EF4-FFF2-40B4-BE49-F238E27FC236}">
                  <a16:creationId xmlns:a16="http://schemas.microsoft.com/office/drawing/2014/main" id="{59925723-4AB4-9D75-3BB5-5F6C5BA902D4}"/>
                </a:ext>
              </a:extLst>
            </p:cNvPr>
            <p:cNvSpPr/>
            <p:nvPr/>
          </p:nvSpPr>
          <p:spPr>
            <a:xfrm>
              <a:off x="4392358" y="4705303"/>
              <a:ext cx="261470" cy="1181"/>
            </a:xfrm>
            <a:custGeom>
              <a:avLst/>
              <a:gdLst>
                <a:gd name="connsiteX0" fmla="*/ 0 w 261470"/>
                <a:gd name="connsiteY0" fmla="*/ 0 h 1181"/>
                <a:gd name="connsiteX1" fmla="*/ 261470 w 261470"/>
                <a:gd name="connsiteY1" fmla="*/ 0 h 11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61470" h="1181">
                  <a:moveTo>
                    <a:pt x="0" y="0"/>
                  </a:moveTo>
                  <a:lnTo>
                    <a:pt x="26147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88" name="Forma livre: Forma 1687">
              <a:extLst>
                <a:ext uri="{FF2B5EF4-FFF2-40B4-BE49-F238E27FC236}">
                  <a16:creationId xmlns:a16="http://schemas.microsoft.com/office/drawing/2014/main" id="{293BDFB3-4359-C944-EA07-23BDD18546E8}"/>
                </a:ext>
              </a:extLst>
            </p:cNvPr>
            <p:cNvSpPr/>
            <p:nvPr/>
          </p:nvSpPr>
          <p:spPr>
            <a:xfrm>
              <a:off x="4392358" y="4732000"/>
              <a:ext cx="261470" cy="1181"/>
            </a:xfrm>
            <a:custGeom>
              <a:avLst/>
              <a:gdLst>
                <a:gd name="connsiteX0" fmla="*/ 0 w 261470"/>
                <a:gd name="connsiteY0" fmla="*/ 0 h 1181"/>
                <a:gd name="connsiteX1" fmla="*/ 261470 w 261470"/>
                <a:gd name="connsiteY1" fmla="*/ 0 h 11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61470" h="1181">
                  <a:moveTo>
                    <a:pt x="0" y="0"/>
                  </a:moveTo>
                  <a:lnTo>
                    <a:pt x="26147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689" name="Gráfico 15">
            <a:extLst>
              <a:ext uri="{FF2B5EF4-FFF2-40B4-BE49-F238E27FC236}">
                <a16:creationId xmlns:a16="http://schemas.microsoft.com/office/drawing/2014/main" id="{DF972718-F37F-415A-DE10-4C8430C81CAE}"/>
              </a:ext>
            </a:extLst>
          </p:cNvPr>
          <p:cNvGrpSpPr/>
          <p:nvPr/>
        </p:nvGrpSpPr>
        <p:grpSpPr>
          <a:xfrm>
            <a:off x="5587605" y="4666494"/>
            <a:ext cx="382936" cy="262434"/>
            <a:chOff x="5587605" y="4666494"/>
            <a:chExt cx="382936" cy="262434"/>
          </a:xfrm>
          <a:noFill/>
        </p:grpSpPr>
        <p:sp>
          <p:nvSpPr>
            <p:cNvPr id="1690" name="Forma livre: Forma 1689">
              <a:extLst>
                <a:ext uri="{FF2B5EF4-FFF2-40B4-BE49-F238E27FC236}">
                  <a16:creationId xmlns:a16="http://schemas.microsoft.com/office/drawing/2014/main" id="{AE3A04D7-FDEC-66E1-B150-EDE8462AE4EC}"/>
                </a:ext>
              </a:extLst>
            </p:cNvPr>
            <p:cNvSpPr/>
            <p:nvPr/>
          </p:nvSpPr>
          <p:spPr>
            <a:xfrm>
              <a:off x="5812725" y="4771126"/>
              <a:ext cx="157815" cy="157802"/>
            </a:xfrm>
            <a:custGeom>
              <a:avLst/>
              <a:gdLst>
                <a:gd name="connsiteX0" fmla="*/ 27699 w 157815"/>
                <a:gd name="connsiteY0" fmla="*/ 18876 h 157802"/>
                <a:gd name="connsiteX1" fmla="*/ 57244 w 157815"/>
                <a:gd name="connsiteY1" fmla="*/ 3052 h 157802"/>
                <a:gd name="connsiteX2" fmla="*/ 154765 w 157815"/>
                <a:gd name="connsiteY2" fmla="*/ 57225 h 157802"/>
                <a:gd name="connsiteX3" fmla="*/ 100568 w 157815"/>
                <a:gd name="connsiteY3" fmla="*/ 154746 h 157802"/>
                <a:gd name="connsiteX4" fmla="*/ 3047 w 157815"/>
                <a:gd name="connsiteY4" fmla="*/ 100561 h 157802"/>
                <a:gd name="connsiteX5" fmla="*/ 10563 w 157815"/>
                <a:gd name="connsiteY5" fmla="*/ 39498 h 157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57815" h="157802">
                  <a:moveTo>
                    <a:pt x="27699" y="18876"/>
                  </a:moveTo>
                  <a:cubicBezTo>
                    <a:pt x="36043" y="11750"/>
                    <a:pt x="46005" y="6255"/>
                    <a:pt x="57244" y="3052"/>
                  </a:cubicBezTo>
                  <a:cubicBezTo>
                    <a:pt x="99138" y="-8908"/>
                    <a:pt x="142805" y="15343"/>
                    <a:pt x="154765" y="57225"/>
                  </a:cubicBezTo>
                  <a:cubicBezTo>
                    <a:pt x="166724" y="99120"/>
                    <a:pt x="142462" y="142775"/>
                    <a:pt x="100568" y="154746"/>
                  </a:cubicBezTo>
                  <a:cubicBezTo>
                    <a:pt x="58686" y="166718"/>
                    <a:pt x="15018" y="142456"/>
                    <a:pt x="3047" y="100561"/>
                  </a:cubicBezTo>
                  <a:cubicBezTo>
                    <a:pt x="-3051" y="79183"/>
                    <a:pt x="282" y="57343"/>
                    <a:pt x="10563" y="39498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91" name="Forma livre: Forma 1690">
              <a:extLst>
                <a:ext uri="{FF2B5EF4-FFF2-40B4-BE49-F238E27FC236}">
                  <a16:creationId xmlns:a16="http://schemas.microsoft.com/office/drawing/2014/main" id="{2523ECDE-CCE4-72A6-44CF-F97DC86FB7B7}"/>
                </a:ext>
              </a:extLst>
            </p:cNvPr>
            <p:cNvSpPr/>
            <p:nvPr/>
          </p:nvSpPr>
          <p:spPr>
            <a:xfrm>
              <a:off x="5864675" y="4810896"/>
              <a:ext cx="53936" cy="78269"/>
            </a:xfrm>
            <a:custGeom>
              <a:avLst/>
              <a:gdLst>
                <a:gd name="connsiteX0" fmla="*/ 53937 w 53936"/>
                <a:gd name="connsiteY0" fmla="*/ 0 h 78269"/>
                <a:gd name="connsiteX1" fmla="*/ 0 w 53936"/>
                <a:gd name="connsiteY1" fmla="*/ 78270 h 782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3936" h="78269">
                  <a:moveTo>
                    <a:pt x="53937" y="0"/>
                  </a:moveTo>
                  <a:lnTo>
                    <a:pt x="0" y="7827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92" name="Forma livre: Forma 1691">
              <a:extLst>
                <a:ext uri="{FF2B5EF4-FFF2-40B4-BE49-F238E27FC236}">
                  <a16:creationId xmlns:a16="http://schemas.microsoft.com/office/drawing/2014/main" id="{A7B9AAD1-1EF2-5979-AF53-85EDA136A395}"/>
                </a:ext>
              </a:extLst>
            </p:cNvPr>
            <p:cNvSpPr/>
            <p:nvPr/>
          </p:nvSpPr>
          <p:spPr>
            <a:xfrm>
              <a:off x="5850245" y="4806559"/>
              <a:ext cx="30218" cy="30230"/>
            </a:xfrm>
            <a:custGeom>
              <a:avLst/>
              <a:gdLst>
                <a:gd name="connsiteX0" fmla="*/ 30218 w 30218"/>
                <a:gd name="connsiteY0" fmla="*/ 15115 h 30230"/>
                <a:gd name="connsiteX1" fmla="*/ 15115 w 30218"/>
                <a:gd name="connsiteY1" fmla="*/ 30230 h 30230"/>
                <a:gd name="connsiteX2" fmla="*/ 0 w 30218"/>
                <a:gd name="connsiteY2" fmla="*/ 15115 h 30230"/>
                <a:gd name="connsiteX3" fmla="*/ 15115 w 30218"/>
                <a:gd name="connsiteY3" fmla="*/ 0 h 30230"/>
                <a:gd name="connsiteX4" fmla="*/ 30218 w 30218"/>
                <a:gd name="connsiteY4" fmla="*/ 15115 h 302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0218" h="30230">
                  <a:moveTo>
                    <a:pt x="30218" y="15115"/>
                  </a:moveTo>
                  <a:cubicBezTo>
                    <a:pt x="30218" y="23458"/>
                    <a:pt x="23447" y="30230"/>
                    <a:pt x="15115" y="30230"/>
                  </a:cubicBezTo>
                  <a:cubicBezTo>
                    <a:pt x="6783" y="30230"/>
                    <a:pt x="0" y="23458"/>
                    <a:pt x="0" y="15115"/>
                  </a:cubicBezTo>
                  <a:cubicBezTo>
                    <a:pt x="0" y="6772"/>
                    <a:pt x="6760" y="0"/>
                    <a:pt x="15115" y="0"/>
                  </a:cubicBezTo>
                  <a:cubicBezTo>
                    <a:pt x="23470" y="0"/>
                    <a:pt x="30218" y="6772"/>
                    <a:pt x="30218" y="15115"/>
                  </a:cubicBez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93" name="Forma livre: Forma 1692">
              <a:extLst>
                <a:ext uri="{FF2B5EF4-FFF2-40B4-BE49-F238E27FC236}">
                  <a16:creationId xmlns:a16="http://schemas.microsoft.com/office/drawing/2014/main" id="{3E4A548B-A902-D42F-475C-B60A9656A6E4}"/>
                </a:ext>
              </a:extLst>
            </p:cNvPr>
            <p:cNvSpPr/>
            <p:nvPr/>
          </p:nvSpPr>
          <p:spPr>
            <a:xfrm>
              <a:off x="5902811" y="4863261"/>
              <a:ext cx="30230" cy="30230"/>
            </a:xfrm>
            <a:custGeom>
              <a:avLst/>
              <a:gdLst>
                <a:gd name="connsiteX0" fmla="*/ 30230 w 30230"/>
                <a:gd name="connsiteY0" fmla="*/ 15115 h 30230"/>
                <a:gd name="connsiteX1" fmla="*/ 15115 w 30230"/>
                <a:gd name="connsiteY1" fmla="*/ 30230 h 30230"/>
                <a:gd name="connsiteX2" fmla="*/ 0 w 30230"/>
                <a:gd name="connsiteY2" fmla="*/ 15115 h 30230"/>
                <a:gd name="connsiteX3" fmla="*/ 15115 w 30230"/>
                <a:gd name="connsiteY3" fmla="*/ 0 h 30230"/>
                <a:gd name="connsiteX4" fmla="*/ 30230 w 30230"/>
                <a:gd name="connsiteY4" fmla="*/ 15115 h 302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0230" h="30230">
                  <a:moveTo>
                    <a:pt x="30230" y="15115"/>
                  </a:moveTo>
                  <a:cubicBezTo>
                    <a:pt x="30230" y="23470"/>
                    <a:pt x="23458" y="30230"/>
                    <a:pt x="15115" y="30230"/>
                  </a:cubicBezTo>
                  <a:cubicBezTo>
                    <a:pt x="6772" y="30230"/>
                    <a:pt x="0" y="23458"/>
                    <a:pt x="0" y="15115"/>
                  </a:cubicBezTo>
                  <a:cubicBezTo>
                    <a:pt x="0" y="6772"/>
                    <a:pt x="6772" y="0"/>
                    <a:pt x="15115" y="0"/>
                  </a:cubicBezTo>
                  <a:cubicBezTo>
                    <a:pt x="23458" y="0"/>
                    <a:pt x="30230" y="6772"/>
                    <a:pt x="30230" y="15115"/>
                  </a:cubicBez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694" name="Gráfico 15">
              <a:extLst>
                <a:ext uri="{FF2B5EF4-FFF2-40B4-BE49-F238E27FC236}">
                  <a16:creationId xmlns:a16="http://schemas.microsoft.com/office/drawing/2014/main" id="{04249ECB-3A52-2015-2636-A9EE42A7A291}"/>
                </a:ext>
              </a:extLst>
            </p:cNvPr>
            <p:cNvGrpSpPr/>
            <p:nvPr/>
          </p:nvGrpSpPr>
          <p:grpSpPr>
            <a:xfrm>
              <a:off x="5587605" y="4666494"/>
              <a:ext cx="274127" cy="234490"/>
              <a:chOff x="5587605" y="4666494"/>
              <a:chExt cx="274127" cy="234490"/>
            </a:xfrm>
            <a:noFill/>
          </p:grpSpPr>
          <p:grpSp>
            <p:nvGrpSpPr>
              <p:cNvPr id="1695" name="Gráfico 15">
                <a:extLst>
                  <a:ext uri="{FF2B5EF4-FFF2-40B4-BE49-F238E27FC236}">
                    <a16:creationId xmlns:a16="http://schemas.microsoft.com/office/drawing/2014/main" id="{4184F2E1-00F9-C112-73E8-F378CBD2A3E8}"/>
                  </a:ext>
                </a:extLst>
              </p:cNvPr>
              <p:cNvGrpSpPr/>
              <p:nvPr/>
            </p:nvGrpSpPr>
            <p:grpSpPr>
              <a:xfrm>
                <a:off x="5678283" y="4740792"/>
                <a:ext cx="156976" cy="110461"/>
                <a:chOff x="5678283" y="4740792"/>
                <a:chExt cx="156976" cy="110461"/>
              </a:xfrm>
            </p:grpSpPr>
            <p:grpSp>
              <p:nvGrpSpPr>
                <p:cNvPr id="1696" name="Gráfico 15">
                  <a:extLst>
                    <a:ext uri="{FF2B5EF4-FFF2-40B4-BE49-F238E27FC236}">
                      <a16:creationId xmlns:a16="http://schemas.microsoft.com/office/drawing/2014/main" id="{B0DD60F2-73C0-8118-E352-D565095E2178}"/>
                    </a:ext>
                  </a:extLst>
                </p:cNvPr>
                <p:cNvGrpSpPr/>
                <p:nvPr/>
              </p:nvGrpSpPr>
              <p:grpSpPr>
                <a:xfrm>
                  <a:off x="5678283" y="4740792"/>
                  <a:ext cx="104647" cy="110461"/>
                  <a:chOff x="5678283" y="4740792"/>
                  <a:chExt cx="104647" cy="110461"/>
                </a:xfrm>
              </p:grpSpPr>
              <p:sp>
                <p:nvSpPr>
                  <p:cNvPr id="1697" name="Forma livre: Forma 1696">
                    <a:extLst>
                      <a:ext uri="{FF2B5EF4-FFF2-40B4-BE49-F238E27FC236}">
                        <a16:creationId xmlns:a16="http://schemas.microsoft.com/office/drawing/2014/main" id="{129E8441-1896-519C-F5F3-260573A3BB42}"/>
                      </a:ext>
                    </a:extLst>
                  </p:cNvPr>
                  <p:cNvSpPr/>
                  <p:nvPr/>
                </p:nvSpPr>
                <p:spPr>
                  <a:xfrm>
                    <a:off x="5678283" y="4740792"/>
                    <a:ext cx="1181" cy="110461"/>
                  </a:xfrm>
                  <a:custGeom>
                    <a:avLst/>
                    <a:gdLst>
                      <a:gd name="connsiteX0" fmla="*/ 0 w 1181"/>
                      <a:gd name="connsiteY0" fmla="*/ 0 h 110461"/>
                      <a:gd name="connsiteX1" fmla="*/ 0 w 1181"/>
                      <a:gd name="connsiteY1" fmla="*/ 110462 h 11046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181" h="110461">
                        <a:moveTo>
                          <a:pt x="0" y="0"/>
                        </a:moveTo>
                        <a:lnTo>
                          <a:pt x="0" y="110462"/>
                        </a:lnTo>
                      </a:path>
                    </a:pathLst>
                  </a:custGeom>
                  <a:ln w="6350" cap="flat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1698" name="Forma livre: Forma 1697">
                    <a:extLst>
                      <a:ext uri="{FF2B5EF4-FFF2-40B4-BE49-F238E27FC236}">
                        <a16:creationId xmlns:a16="http://schemas.microsoft.com/office/drawing/2014/main" id="{D6BED82F-986A-E3C8-D123-2A44957559A1}"/>
                      </a:ext>
                    </a:extLst>
                  </p:cNvPr>
                  <p:cNvSpPr/>
                  <p:nvPr/>
                </p:nvSpPr>
                <p:spPr>
                  <a:xfrm>
                    <a:off x="5730601" y="4740792"/>
                    <a:ext cx="1181" cy="110461"/>
                  </a:xfrm>
                  <a:custGeom>
                    <a:avLst/>
                    <a:gdLst>
                      <a:gd name="connsiteX0" fmla="*/ 0 w 1181"/>
                      <a:gd name="connsiteY0" fmla="*/ 0 h 110461"/>
                      <a:gd name="connsiteX1" fmla="*/ 0 w 1181"/>
                      <a:gd name="connsiteY1" fmla="*/ 110462 h 11046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181" h="110461">
                        <a:moveTo>
                          <a:pt x="0" y="0"/>
                        </a:moveTo>
                        <a:lnTo>
                          <a:pt x="0" y="110462"/>
                        </a:lnTo>
                      </a:path>
                    </a:pathLst>
                  </a:custGeom>
                  <a:ln w="6350" cap="flat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1699" name="Forma livre: Forma 1698">
                    <a:extLst>
                      <a:ext uri="{FF2B5EF4-FFF2-40B4-BE49-F238E27FC236}">
                        <a16:creationId xmlns:a16="http://schemas.microsoft.com/office/drawing/2014/main" id="{CE1645D9-1C3C-1797-DFA8-A898FCB8BEA3}"/>
                      </a:ext>
                    </a:extLst>
                  </p:cNvPr>
                  <p:cNvSpPr/>
                  <p:nvPr/>
                </p:nvSpPr>
                <p:spPr>
                  <a:xfrm>
                    <a:off x="5782930" y="4740792"/>
                    <a:ext cx="1181" cy="110461"/>
                  </a:xfrm>
                  <a:custGeom>
                    <a:avLst/>
                    <a:gdLst>
                      <a:gd name="connsiteX0" fmla="*/ 0 w 1181"/>
                      <a:gd name="connsiteY0" fmla="*/ 0 h 110461"/>
                      <a:gd name="connsiteX1" fmla="*/ 0 w 1181"/>
                      <a:gd name="connsiteY1" fmla="*/ 110462 h 11046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181" h="110461">
                        <a:moveTo>
                          <a:pt x="0" y="0"/>
                        </a:moveTo>
                        <a:lnTo>
                          <a:pt x="0" y="110462"/>
                        </a:lnTo>
                      </a:path>
                    </a:pathLst>
                  </a:custGeom>
                  <a:ln w="6350" cap="flat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  <p:sp>
              <p:nvSpPr>
                <p:cNvPr id="1700" name="Forma livre: Forma 1699">
                  <a:extLst>
                    <a:ext uri="{FF2B5EF4-FFF2-40B4-BE49-F238E27FC236}">
                      <a16:creationId xmlns:a16="http://schemas.microsoft.com/office/drawing/2014/main" id="{0C3B6DA6-285E-1287-BE76-3E078B2DD9F0}"/>
                    </a:ext>
                  </a:extLst>
                </p:cNvPr>
                <p:cNvSpPr/>
                <p:nvPr/>
              </p:nvSpPr>
              <p:spPr>
                <a:xfrm>
                  <a:off x="5835260" y="4740792"/>
                  <a:ext cx="1181" cy="26353"/>
                </a:xfrm>
                <a:custGeom>
                  <a:avLst/>
                  <a:gdLst>
                    <a:gd name="connsiteX0" fmla="*/ 0 w 1181"/>
                    <a:gd name="connsiteY0" fmla="*/ 0 h 26353"/>
                    <a:gd name="connsiteX1" fmla="*/ 0 w 1181"/>
                    <a:gd name="connsiteY1" fmla="*/ 26354 h 2635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181" h="26353">
                      <a:moveTo>
                        <a:pt x="0" y="0"/>
                      </a:moveTo>
                      <a:lnTo>
                        <a:pt x="0" y="26354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1701" name="Forma livre: Forma 1700">
                <a:extLst>
                  <a:ext uri="{FF2B5EF4-FFF2-40B4-BE49-F238E27FC236}">
                    <a16:creationId xmlns:a16="http://schemas.microsoft.com/office/drawing/2014/main" id="{CCB62B4B-C49D-108B-4F1A-577506BA6B63}"/>
                  </a:ext>
                </a:extLst>
              </p:cNvPr>
              <p:cNvSpPr/>
              <p:nvPr/>
            </p:nvSpPr>
            <p:spPr>
              <a:xfrm>
                <a:off x="5587605" y="4900984"/>
                <a:ext cx="213229" cy="1181"/>
              </a:xfrm>
              <a:custGeom>
                <a:avLst/>
                <a:gdLst>
                  <a:gd name="connsiteX0" fmla="*/ 213230 w 213229"/>
                  <a:gd name="connsiteY0" fmla="*/ 0 h 1181"/>
                  <a:gd name="connsiteX1" fmla="*/ 0 w 213229"/>
                  <a:gd name="connsiteY1" fmla="*/ 0 h 11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13229" h="1181">
                    <a:moveTo>
                      <a:pt x="213230" y="0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702" name="Forma livre: Forma 1701">
                <a:extLst>
                  <a:ext uri="{FF2B5EF4-FFF2-40B4-BE49-F238E27FC236}">
                    <a16:creationId xmlns:a16="http://schemas.microsoft.com/office/drawing/2014/main" id="{45B9A3CC-C5EF-F10F-8E36-8CA2FE34D284}"/>
                  </a:ext>
                </a:extLst>
              </p:cNvPr>
              <p:cNvSpPr/>
              <p:nvPr/>
            </p:nvSpPr>
            <p:spPr>
              <a:xfrm>
                <a:off x="5651929" y="4666494"/>
                <a:ext cx="209802" cy="72585"/>
              </a:xfrm>
              <a:custGeom>
                <a:avLst/>
                <a:gdLst>
                  <a:gd name="connsiteX0" fmla="*/ 0 w 209802"/>
                  <a:gd name="connsiteY0" fmla="*/ 72585 h 72585"/>
                  <a:gd name="connsiteX1" fmla="*/ 209803 w 209802"/>
                  <a:gd name="connsiteY1" fmla="*/ 72585 h 72585"/>
                  <a:gd name="connsiteX2" fmla="*/ 209803 w 209802"/>
                  <a:gd name="connsiteY2" fmla="*/ 49907 h 72585"/>
                  <a:gd name="connsiteX3" fmla="*/ 104931 w 209802"/>
                  <a:gd name="connsiteY3" fmla="*/ 0 h 72585"/>
                  <a:gd name="connsiteX4" fmla="*/ 0 w 209802"/>
                  <a:gd name="connsiteY4" fmla="*/ 49824 h 72585"/>
                  <a:gd name="connsiteX5" fmla="*/ 0 w 209802"/>
                  <a:gd name="connsiteY5" fmla="*/ 72585 h 725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09802" h="72585">
                    <a:moveTo>
                      <a:pt x="0" y="72585"/>
                    </a:moveTo>
                    <a:lnTo>
                      <a:pt x="209803" y="72585"/>
                    </a:lnTo>
                    <a:lnTo>
                      <a:pt x="209803" y="49907"/>
                    </a:lnTo>
                    <a:lnTo>
                      <a:pt x="104931" y="0"/>
                    </a:lnTo>
                    <a:lnTo>
                      <a:pt x="0" y="49824"/>
                    </a:lnTo>
                    <a:lnTo>
                      <a:pt x="0" y="72585"/>
                    </a:lnTo>
                    <a:close/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703" name="Forma livre: Forma 1702">
                <a:extLst>
                  <a:ext uri="{FF2B5EF4-FFF2-40B4-BE49-F238E27FC236}">
                    <a16:creationId xmlns:a16="http://schemas.microsoft.com/office/drawing/2014/main" id="{315AF74E-EE5A-DBE8-89E8-0425CE03A76F}"/>
                  </a:ext>
                </a:extLst>
              </p:cNvPr>
              <p:cNvSpPr/>
              <p:nvPr/>
            </p:nvSpPr>
            <p:spPr>
              <a:xfrm>
                <a:off x="5605190" y="4871971"/>
                <a:ext cx="184358" cy="1181"/>
              </a:xfrm>
              <a:custGeom>
                <a:avLst/>
                <a:gdLst>
                  <a:gd name="connsiteX0" fmla="*/ 184359 w 184358"/>
                  <a:gd name="connsiteY0" fmla="*/ 0 h 1181"/>
                  <a:gd name="connsiteX1" fmla="*/ 0 w 184358"/>
                  <a:gd name="connsiteY1" fmla="*/ 0 h 11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84358" h="1181">
                    <a:moveTo>
                      <a:pt x="184359" y="0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1704" name="Gráfico 15">
                <a:extLst>
                  <a:ext uri="{FF2B5EF4-FFF2-40B4-BE49-F238E27FC236}">
                    <a16:creationId xmlns:a16="http://schemas.microsoft.com/office/drawing/2014/main" id="{2D6EE43C-0203-79E4-0075-309471195791}"/>
                  </a:ext>
                </a:extLst>
              </p:cNvPr>
              <p:cNvGrpSpPr/>
              <p:nvPr/>
            </p:nvGrpSpPr>
            <p:grpSpPr>
              <a:xfrm>
                <a:off x="5610496" y="4781009"/>
                <a:ext cx="46077" cy="70245"/>
                <a:chOff x="5610496" y="4781009"/>
                <a:chExt cx="46077" cy="70245"/>
              </a:xfrm>
              <a:noFill/>
            </p:grpSpPr>
            <p:sp>
              <p:nvSpPr>
                <p:cNvPr id="1705" name="Forma livre: Forma 1704">
                  <a:extLst>
                    <a:ext uri="{FF2B5EF4-FFF2-40B4-BE49-F238E27FC236}">
                      <a16:creationId xmlns:a16="http://schemas.microsoft.com/office/drawing/2014/main" id="{0C173E62-6C92-2827-C23D-297C650F3DF1}"/>
                    </a:ext>
                  </a:extLst>
                </p:cNvPr>
                <p:cNvSpPr/>
                <p:nvPr/>
              </p:nvSpPr>
              <p:spPr>
                <a:xfrm>
                  <a:off x="5629794" y="4810152"/>
                  <a:ext cx="1181" cy="41102"/>
                </a:xfrm>
                <a:custGeom>
                  <a:avLst/>
                  <a:gdLst>
                    <a:gd name="connsiteX0" fmla="*/ 0 w 1181"/>
                    <a:gd name="connsiteY0" fmla="*/ 0 h 41102"/>
                    <a:gd name="connsiteX1" fmla="*/ 0 w 1181"/>
                    <a:gd name="connsiteY1" fmla="*/ 41102 h 4110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181" h="41102">
                      <a:moveTo>
                        <a:pt x="0" y="0"/>
                      </a:moveTo>
                      <a:lnTo>
                        <a:pt x="0" y="41102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706" name="Forma livre: Forma 1705">
                  <a:extLst>
                    <a:ext uri="{FF2B5EF4-FFF2-40B4-BE49-F238E27FC236}">
                      <a16:creationId xmlns:a16="http://schemas.microsoft.com/office/drawing/2014/main" id="{256E5901-AAA2-6847-4DED-3513AC15F619}"/>
                    </a:ext>
                  </a:extLst>
                </p:cNvPr>
                <p:cNvSpPr/>
                <p:nvPr/>
              </p:nvSpPr>
              <p:spPr>
                <a:xfrm>
                  <a:off x="5610496" y="4781009"/>
                  <a:ext cx="46077" cy="26779"/>
                </a:xfrm>
                <a:custGeom>
                  <a:avLst/>
                  <a:gdLst>
                    <a:gd name="connsiteX0" fmla="*/ 46078 w 46077"/>
                    <a:gd name="connsiteY0" fmla="*/ 0 h 26779"/>
                    <a:gd name="connsiteX1" fmla="*/ 0 w 46077"/>
                    <a:gd name="connsiteY1" fmla="*/ 0 h 26779"/>
                    <a:gd name="connsiteX2" fmla="*/ 0 w 46077"/>
                    <a:gd name="connsiteY2" fmla="*/ 26779 h 26779"/>
                    <a:gd name="connsiteX3" fmla="*/ 46078 w 46077"/>
                    <a:gd name="connsiteY3" fmla="*/ 26779 h 2677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6077" h="26779">
                      <a:moveTo>
                        <a:pt x="46078" y="0"/>
                      </a:moveTo>
                      <a:lnTo>
                        <a:pt x="0" y="0"/>
                      </a:lnTo>
                      <a:lnTo>
                        <a:pt x="0" y="26779"/>
                      </a:lnTo>
                      <a:lnTo>
                        <a:pt x="46078" y="26779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</p:grpSp>
      <p:grpSp>
        <p:nvGrpSpPr>
          <p:cNvPr id="1707" name="Gráfico 15">
            <a:extLst>
              <a:ext uri="{FF2B5EF4-FFF2-40B4-BE49-F238E27FC236}">
                <a16:creationId xmlns:a16="http://schemas.microsoft.com/office/drawing/2014/main" id="{A8EF1A6D-6EF7-F100-8400-A5CD9543D8CF}"/>
              </a:ext>
            </a:extLst>
          </p:cNvPr>
          <p:cNvGrpSpPr/>
          <p:nvPr/>
        </p:nvGrpSpPr>
        <p:grpSpPr>
          <a:xfrm>
            <a:off x="4983251" y="5199214"/>
            <a:ext cx="356302" cy="248978"/>
            <a:chOff x="4983251" y="5199214"/>
            <a:chExt cx="356302" cy="248978"/>
          </a:xfrm>
          <a:noFill/>
        </p:grpSpPr>
        <p:grpSp>
          <p:nvGrpSpPr>
            <p:cNvPr id="1708" name="Gráfico 15">
              <a:extLst>
                <a:ext uri="{FF2B5EF4-FFF2-40B4-BE49-F238E27FC236}">
                  <a16:creationId xmlns:a16="http://schemas.microsoft.com/office/drawing/2014/main" id="{DC07033F-3E6D-E56B-364C-4C7070AA91BB}"/>
                </a:ext>
              </a:extLst>
            </p:cNvPr>
            <p:cNvGrpSpPr/>
            <p:nvPr/>
          </p:nvGrpSpPr>
          <p:grpSpPr>
            <a:xfrm>
              <a:off x="5155804" y="5261452"/>
              <a:ext cx="118556" cy="124489"/>
              <a:chOff x="5155804" y="5261452"/>
              <a:chExt cx="118556" cy="124489"/>
            </a:xfrm>
            <a:noFill/>
          </p:grpSpPr>
          <p:sp>
            <p:nvSpPr>
              <p:cNvPr id="1709" name="Forma livre: Forma 1708">
                <a:extLst>
                  <a:ext uri="{FF2B5EF4-FFF2-40B4-BE49-F238E27FC236}">
                    <a16:creationId xmlns:a16="http://schemas.microsoft.com/office/drawing/2014/main" id="{E4886EEB-DB48-513E-6BE6-8CC5B24197CC}"/>
                  </a:ext>
                </a:extLst>
              </p:cNvPr>
              <p:cNvSpPr/>
              <p:nvPr/>
            </p:nvSpPr>
            <p:spPr>
              <a:xfrm>
                <a:off x="5176473" y="5267669"/>
                <a:ext cx="77217" cy="112057"/>
              </a:xfrm>
              <a:custGeom>
                <a:avLst/>
                <a:gdLst>
                  <a:gd name="connsiteX0" fmla="*/ 77218 w 77217"/>
                  <a:gd name="connsiteY0" fmla="*/ 0 h 112057"/>
                  <a:gd name="connsiteX1" fmla="*/ 0 w 77217"/>
                  <a:gd name="connsiteY1" fmla="*/ 112057 h 1120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77217" h="112057">
                    <a:moveTo>
                      <a:pt x="77218" y="0"/>
                    </a:moveTo>
                    <a:lnTo>
                      <a:pt x="0" y="112057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1710" name="Gráfico 15">
                <a:extLst>
                  <a:ext uri="{FF2B5EF4-FFF2-40B4-BE49-F238E27FC236}">
                    <a16:creationId xmlns:a16="http://schemas.microsoft.com/office/drawing/2014/main" id="{6C547661-6BDF-2A9D-CA8F-EBF83DD5446E}"/>
                  </a:ext>
                </a:extLst>
              </p:cNvPr>
              <p:cNvGrpSpPr/>
              <p:nvPr/>
            </p:nvGrpSpPr>
            <p:grpSpPr>
              <a:xfrm>
                <a:off x="5155804" y="5261452"/>
                <a:ext cx="118556" cy="124489"/>
                <a:chOff x="5155804" y="5261452"/>
                <a:chExt cx="118556" cy="124489"/>
              </a:xfrm>
              <a:noFill/>
            </p:grpSpPr>
            <p:sp>
              <p:nvSpPr>
                <p:cNvPr id="1711" name="Forma livre: Forma 1710">
                  <a:extLst>
                    <a:ext uri="{FF2B5EF4-FFF2-40B4-BE49-F238E27FC236}">
                      <a16:creationId xmlns:a16="http://schemas.microsoft.com/office/drawing/2014/main" id="{1F2E7BE3-0C8F-A09F-756F-07D20F29E6AA}"/>
                    </a:ext>
                  </a:extLst>
                </p:cNvPr>
                <p:cNvSpPr/>
                <p:nvPr/>
              </p:nvSpPr>
              <p:spPr>
                <a:xfrm>
                  <a:off x="5155804" y="5261452"/>
                  <a:ext cx="43265" cy="43300"/>
                </a:xfrm>
                <a:custGeom>
                  <a:avLst/>
                  <a:gdLst>
                    <a:gd name="connsiteX0" fmla="*/ 43265 w 43265"/>
                    <a:gd name="connsiteY0" fmla="*/ 21650 h 43300"/>
                    <a:gd name="connsiteX1" fmla="*/ 21639 w 43265"/>
                    <a:gd name="connsiteY1" fmla="*/ 43301 h 43300"/>
                    <a:gd name="connsiteX2" fmla="*/ 0 w 43265"/>
                    <a:gd name="connsiteY2" fmla="*/ 21650 h 43300"/>
                    <a:gd name="connsiteX3" fmla="*/ 21639 w 43265"/>
                    <a:gd name="connsiteY3" fmla="*/ 0 h 43300"/>
                    <a:gd name="connsiteX4" fmla="*/ 43265 w 43265"/>
                    <a:gd name="connsiteY4" fmla="*/ 21650 h 433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43265" h="43300">
                      <a:moveTo>
                        <a:pt x="43265" y="21650"/>
                      </a:moveTo>
                      <a:cubicBezTo>
                        <a:pt x="43265" y="33598"/>
                        <a:pt x="33575" y="43301"/>
                        <a:pt x="21639" y="43301"/>
                      </a:cubicBezTo>
                      <a:cubicBezTo>
                        <a:pt x="9702" y="43301"/>
                        <a:pt x="0" y="33598"/>
                        <a:pt x="0" y="21650"/>
                      </a:cubicBezTo>
                      <a:cubicBezTo>
                        <a:pt x="0" y="9702"/>
                        <a:pt x="9691" y="0"/>
                        <a:pt x="21639" y="0"/>
                      </a:cubicBezTo>
                      <a:cubicBezTo>
                        <a:pt x="33586" y="0"/>
                        <a:pt x="43265" y="9691"/>
                        <a:pt x="43265" y="21650"/>
                      </a:cubicBezTo>
                      <a:close/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712" name="Forma livre: Forma 1711">
                  <a:extLst>
                    <a:ext uri="{FF2B5EF4-FFF2-40B4-BE49-F238E27FC236}">
                      <a16:creationId xmlns:a16="http://schemas.microsoft.com/office/drawing/2014/main" id="{47B6DC76-4915-5568-E115-D8A359D7A7C8}"/>
                    </a:ext>
                  </a:extLst>
                </p:cNvPr>
                <p:cNvSpPr/>
                <p:nvPr/>
              </p:nvSpPr>
              <p:spPr>
                <a:xfrm>
                  <a:off x="5231072" y="5342665"/>
                  <a:ext cx="43288" cy="43277"/>
                </a:xfrm>
                <a:custGeom>
                  <a:avLst/>
                  <a:gdLst>
                    <a:gd name="connsiteX0" fmla="*/ 43289 w 43288"/>
                    <a:gd name="connsiteY0" fmla="*/ 21627 h 43277"/>
                    <a:gd name="connsiteX1" fmla="*/ 21639 w 43288"/>
                    <a:gd name="connsiteY1" fmla="*/ 43277 h 43277"/>
                    <a:gd name="connsiteX2" fmla="*/ 0 w 43288"/>
                    <a:gd name="connsiteY2" fmla="*/ 21627 h 43277"/>
                    <a:gd name="connsiteX3" fmla="*/ 21639 w 43288"/>
                    <a:gd name="connsiteY3" fmla="*/ 0 h 43277"/>
                    <a:gd name="connsiteX4" fmla="*/ 43289 w 43288"/>
                    <a:gd name="connsiteY4" fmla="*/ 21627 h 4327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43288" h="43277">
                      <a:moveTo>
                        <a:pt x="43289" y="21627"/>
                      </a:moveTo>
                      <a:cubicBezTo>
                        <a:pt x="43289" y="33586"/>
                        <a:pt x="33586" y="43277"/>
                        <a:pt x="21639" y="43277"/>
                      </a:cubicBezTo>
                      <a:cubicBezTo>
                        <a:pt x="9691" y="43277"/>
                        <a:pt x="0" y="33586"/>
                        <a:pt x="0" y="21627"/>
                      </a:cubicBezTo>
                      <a:cubicBezTo>
                        <a:pt x="0" y="9667"/>
                        <a:pt x="9702" y="0"/>
                        <a:pt x="21639" y="0"/>
                      </a:cubicBezTo>
                      <a:cubicBezTo>
                        <a:pt x="33575" y="0"/>
                        <a:pt x="43289" y="9691"/>
                        <a:pt x="43289" y="21627"/>
                      </a:cubicBezTo>
                      <a:close/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grpSp>
          <p:nvGrpSpPr>
            <p:cNvPr id="1713" name="Gráfico 15">
              <a:extLst>
                <a:ext uri="{FF2B5EF4-FFF2-40B4-BE49-F238E27FC236}">
                  <a16:creationId xmlns:a16="http://schemas.microsoft.com/office/drawing/2014/main" id="{29A20FCA-F4C7-B27D-D2CB-F03974EE9A72}"/>
                </a:ext>
              </a:extLst>
            </p:cNvPr>
            <p:cNvGrpSpPr/>
            <p:nvPr/>
          </p:nvGrpSpPr>
          <p:grpSpPr>
            <a:xfrm>
              <a:off x="5090599" y="5199214"/>
              <a:ext cx="248954" cy="248978"/>
              <a:chOff x="5090599" y="5199214"/>
              <a:chExt cx="248954" cy="248978"/>
            </a:xfrm>
            <a:noFill/>
          </p:grpSpPr>
          <p:sp>
            <p:nvSpPr>
              <p:cNvPr id="1714" name="Forma livre: Forma 1713">
                <a:extLst>
                  <a:ext uri="{FF2B5EF4-FFF2-40B4-BE49-F238E27FC236}">
                    <a16:creationId xmlns:a16="http://schemas.microsoft.com/office/drawing/2014/main" id="{DDD39156-6E8B-6580-8CA8-F90A16608BC8}"/>
                  </a:ext>
                </a:extLst>
              </p:cNvPr>
              <p:cNvSpPr/>
              <p:nvPr/>
            </p:nvSpPr>
            <p:spPr>
              <a:xfrm>
                <a:off x="5095261" y="5199214"/>
                <a:ext cx="244292" cy="248978"/>
              </a:xfrm>
              <a:custGeom>
                <a:avLst/>
                <a:gdLst>
                  <a:gd name="connsiteX0" fmla="*/ 1501 w 244292"/>
                  <a:gd name="connsiteY0" fmla="*/ 85697 h 248978"/>
                  <a:gd name="connsiteX1" fmla="*/ 31790 w 244292"/>
                  <a:gd name="connsiteY1" fmla="*/ 36464 h 248978"/>
                  <a:gd name="connsiteX2" fmla="*/ 207829 w 244292"/>
                  <a:gd name="connsiteY2" fmla="*/ 36464 h 248978"/>
                  <a:gd name="connsiteX3" fmla="*/ 207829 w 244292"/>
                  <a:gd name="connsiteY3" fmla="*/ 212515 h 248978"/>
                  <a:gd name="connsiteX4" fmla="*/ 31790 w 244292"/>
                  <a:gd name="connsiteY4" fmla="*/ 212515 h 248978"/>
                  <a:gd name="connsiteX5" fmla="*/ 0 w 244292"/>
                  <a:gd name="connsiteY5" fmla="*/ 158342 h 2489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44292" h="248978">
                    <a:moveTo>
                      <a:pt x="1501" y="85697"/>
                    </a:moveTo>
                    <a:cubicBezTo>
                      <a:pt x="7386" y="67699"/>
                      <a:pt x="17479" y="50775"/>
                      <a:pt x="31790" y="36464"/>
                    </a:cubicBezTo>
                    <a:cubicBezTo>
                      <a:pt x="80397" y="-12155"/>
                      <a:pt x="159234" y="-12155"/>
                      <a:pt x="207829" y="36464"/>
                    </a:cubicBezTo>
                    <a:cubicBezTo>
                      <a:pt x="256448" y="85083"/>
                      <a:pt x="256448" y="163908"/>
                      <a:pt x="207829" y="212515"/>
                    </a:cubicBezTo>
                    <a:cubicBezTo>
                      <a:pt x="159210" y="261134"/>
                      <a:pt x="80397" y="261134"/>
                      <a:pt x="31790" y="212515"/>
                    </a:cubicBezTo>
                    <a:cubicBezTo>
                      <a:pt x="16179" y="196903"/>
                      <a:pt x="5578" y="178184"/>
                      <a:pt x="0" y="158342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715" name="Forma livre: Forma 1714">
                <a:extLst>
                  <a:ext uri="{FF2B5EF4-FFF2-40B4-BE49-F238E27FC236}">
                    <a16:creationId xmlns:a16="http://schemas.microsoft.com/office/drawing/2014/main" id="{E56B6EDB-697A-7021-3D7A-BC7C8CDC600C}"/>
                  </a:ext>
                </a:extLst>
              </p:cNvPr>
              <p:cNvSpPr/>
              <p:nvPr/>
            </p:nvSpPr>
            <p:spPr>
              <a:xfrm>
                <a:off x="5090599" y="5306148"/>
                <a:ext cx="1234" cy="30360"/>
              </a:xfrm>
              <a:custGeom>
                <a:avLst/>
                <a:gdLst>
                  <a:gd name="connsiteX0" fmla="*/ 655 w 1234"/>
                  <a:gd name="connsiteY0" fmla="*/ 30360 h 30360"/>
                  <a:gd name="connsiteX1" fmla="*/ 1235 w 1234"/>
                  <a:gd name="connsiteY1" fmla="*/ 0 h 303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34" h="30360">
                    <a:moveTo>
                      <a:pt x="655" y="30360"/>
                    </a:moveTo>
                    <a:cubicBezTo>
                      <a:pt x="-385" y="20268"/>
                      <a:pt x="-184" y="10057"/>
                      <a:pt x="1235" y="0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716" name="Forma livre: Forma 1715">
              <a:extLst>
                <a:ext uri="{FF2B5EF4-FFF2-40B4-BE49-F238E27FC236}">
                  <a16:creationId xmlns:a16="http://schemas.microsoft.com/office/drawing/2014/main" id="{96B6557E-AC83-E5D9-EFBF-00D8AB785F83}"/>
                </a:ext>
              </a:extLst>
            </p:cNvPr>
            <p:cNvSpPr/>
            <p:nvPr/>
          </p:nvSpPr>
          <p:spPr>
            <a:xfrm>
              <a:off x="5040473" y="5356752"/>
              <a:ext cx="90737" cy="1181"/>
            </a:xfrm>
            <a:custGeom>
              <a:avLst/>
              <a:gdLst>
                <a:gd name="connsiteX0" fmla="*/ 90738 w 90737"/>
                <a:gd name="connsiteY0" fmla="*/ 0 h 1181"/>
                <a:gd name="connsiteX1" fmla="*/ 0 w 90737"/>
                <a:gd name="connsiteY1" fmla="*/ 0 h 11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0737" h="1181">
                  <a:moveTo>
                    <a:pt x="90738" y="0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17" name="Forma livre: Forma 1716">
              <a:extLst>
                <a:ext uri="{FF2B5EF4-FFF2-40B4-BE49-F238E27FC236}">
                  <a16:creationId xmlns:a16="http://schemas.microsoft.com/office/drawing/2014/main" id="{61B562A0-D66F-CAE2-CFD8-04AFF4E9C803}"/>
                </a:ext>
              </a:extLst>
            </p:cNvPr>
            <p:cNvSpPr/>
            <p:nvPr/>
          </p:nvSpPr>
          <p:spPr>
            <a:xfrm>
              <a:off x="5050802" y="5390799"/>
              <a:ext cx="31695" cy="1181"/>
            </a:xfrm>
            <a:custGeom>
              <a:avLst/>
              <a:gdLst>
                <a:gd name="connsiteX0" fmla="*/ 31695 w 31695"/>
                <a:gd name="connsiteY0" fmla="*/ 0 h 1181"/>
                <a:gd name="connsiteX1" fmla="*/ 0 w 31695"/>
                <a:gd name="connsiteY1" fmla="*/ 0 h 11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1695" h="1181">
                  <a:moveTo>
                    <a:pt x="31695" y="0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18" name="Forma livre: Forma 1717">
              <a:extLst>
                <a:ext uri="{FF2B5EF4-FFF2-40B4-BE49-F238E27FC236}">
                  <a16:creationId xmlns:a16="http://schemas.microsoft.com/office/drawing/2014/main" id="{4FAB4AE1-BD7B-C4FB-4B15-A96D812C8F78}"/>
                </a:ext>
              </a:extLst>
            </p:cNvPr>
            <p:cNvSpPr/>
            <p:nvPr/>
          </p:nvSpPr>
          <p:spPr>
            <a:xfrm>
              <a:off x="5019284" y="5256595"/>
              <a:ext cx="58888" cy="1181"/>
            </a:xfrm>
            <a:custGeom>
              <a:avLst/>
              <a:gdLst>
                <a:gd name="connsiteX0" fmla="*/ 58888 w 58888"/>
                <a:gd name="connsiteY0" fmla="*/ 0 h 1181"/>
                <a:gd name="connsiteX1" fmla="*/ 0 w 58888"/>
                <a:gd name="connsiteY1" fmla="*/ 0 h 11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8888" h="1181">
                  <a:moveTo>
                    <a:pt x="58888" y="0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19" name="Forma livre: Forma 1718">
              <a:extLst>
                <a:ext uri="{FF2B5EF4-FFF2-40B4-BE49-F238E27FC236}">
                  <a16:creationId xmlns:a16="http://schemas.microsoft.com/office/drawing/2014/main" id="{FC6CCA6C-3E18-91E8-BB99-A9D185BFD85E}"/>
                </a:ext>
              </a:extLst>
            </p:cNvPr>
            <p:cNvSpPr/>
            <p:nvPr/>
          </p:nvSpPr>
          <p:spPr>
            <a:xfrm>
              <a:off x="5066295" y="5305769"/>
              <a:ext cx="58392" cy="1181"/>
            </a:xfrm>
            <a:custGeom>
              <a:avLst/>
              <a:gdLst>
                <a:gd name="connsiteX0" fmla="*/ 58392 w 58392"/>
                <a:gd name="connsiteY0" fmla="*/ 0 h 1181"/>
                <a:gd name="connsiteX1" fmla="*/ 0 w 58392"/>
                <a:gd name="connsiteY1" fmla="*/ 0 h 11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8392" h="1181">
                  <a:moveTo>
                    <a:pt x="58392" y="0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20" name="Forma livre: Forma 1719">
              <a:extLst>
                <a:ext uri="{FF2B5EF4-FFF2-40B4-BE49-F238E27FC236}">
                  <a16:creationId xmlns:a16="http://schemas.microsoft.com/office/drawing/2014/main" id="{4E33F586-1C0C-3AD2-2333-8255CB8A19E7}"/>
                </a:ext>
              </a:extLst>
            </p:cNvPr>
            <p:cNvSpPr/>
            <p:nvPr/>
          </p:nvSpPr>
          <p:spPr>
            <a:xfrm>
              <a:off x="5004842" y="5390799"/>
              <a:ext cx="22323" cy="1181"/>
            </a:xfrm>
            <a:custGeom>
              <a:avLst/>
              <a:gdLst>
                <a:gd name="connsiteX0" fmla="*/ 22324 w 22323"/>
                <a:gd name="connsiteY0" fmla="*/ 0 h 1181"/>
                <a:gd name="connsiteX1" fmla="*/ 0 w 22323"/>
                <a:gd name="connsiteY1" fmla="*/ 0 h 11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2323" h="1181">
                  <a:moveTo>
                    <a:pt x="22324" y="0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21" name="Forma livre: Forma 1720">
              <a:extLst>
                <a:ext uri="{FF2B5EF4-FFF2-40B4-BE49-F238E27FC236}">
                  <a16:creationId xmlns:a16="http://schemas.microsoft.com/office/drawing/2014/main" id="{9EE882E5-03E8-7352-FF20-1AF793C6694F}"/>
                </a:ext>
              </a:extLst>
            </p:cNvPr>
            <p:cNvSpPr/>
            <p:nvPr/>
          </p:nvSpPr>
          <p:spPr>
            <a:xfrm>
              <a:off x="5020324" y="5305769"/>
              <a:ext cx="22335" cy="1181"/>
            </a:xfrm>
            <a:custGeom>
              <a:avLst/>
              <a:gdLst>
                <a:gd name="connsiteX0" fmla="*/ 22336 w 22335"/>
                <a:gd name="connsiteY0" fmla="*/ 0 h 1181"/>
                <a:gd name="connsiteX1" fmla="*/ 0 w 22335"/>
                <a:gd name="connsiteY1" fmla="*/ 0 h 11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2335" h="1181">
                  <a:moveTo>
                    <a:pt x="22336" y="0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22" name="Forma livre: Forma 1721">
              <a:extLst>
                <a:ext uri="{FF2B5EF4-FFF2-40B4-BE49-F238E27FC236}">
                  <a16:creationId xmlns:a16="http://schemas.microsoft.com/office/drawing/2014/main" id="{F2679595-3A84-CE7F-D220-CD13EA1F80D5}"/>
                </a:ext>
              </a:extLst>
            </p:cNvPr>
            <p:cNvSpPr/>
            <p:nvPr/>
          </p:nvSpPr>
          <p:spPr>
            <a:xfrm>
              <a:off x="4983251" y="5305769"/>
              <a:ext cx="13436" cy="1181"/>
            </a:xfrm>
            <a:custGeom>
              <a:avLst/>
              <a:gdLst>
                <a:gd name="connsiteX0" fmla="*/ 13437 w 13436"/>
                <a:gd name="connsiteY0" fmla="*/ 0 h 1181"/>
                <a:gd name="connsiteX1" fmla="*/ 0 w 13436"/>
                <a:gd name="connsiteY1" fmla="*/ 0 h 11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3436" h="1181">
                  <a:moveTo>
                    <a:pt x="13437" y="0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723" name="Gráfico 15">
            <a:extLst>
              <a:ext uri="{FF2B5EF4-FFF2-40B4-BE49-F238E27FC236}">
                <a16:creationId xmlns:a16="http://schemas.microsoft.com/office/drawing/2014/main" id="{E8C5D0EC-ED9D-F7DF-7FE6-3ED9341ADE99}"/>
              </a:ext>
            </a:extLst>
          </p:cNvPr>
          <p:cNvGrpSpPr/>
          <p:nvPr/>
        </p:nvGrpSpPr>
        <p:grpSpPr>
          <a:xfrm>
            <a:off x="4394272" y="5177746"/>
            <a:ext cx="298966" cy="291899"/>
            <a:chOff x="4394272" y="5177746"/>
            <a:chExt cx="298966" cy="291899"/>
          </a:xfrm>
          <a:noFill/>
        </p:grpSpPr>
        <p:grpSp>
          <p:nvGrpSpPr>
            <p:cNvPr id="1724" name="Gráfico 15">
              <a:extLst>
                <a:ext uri="{FF2B5EF4-FFF2-40B4-BE49-F238E27FC236}">
                  <a16:creationId xmlns:a16="http://schemas.microsoft.com/office/drawing/2014/main" id="{62655810-605E-7C19-D8A0-2A4A05740264}"/>
                </a:ext>
              </a:extLst>
            </p:cNvPr>
            <p:cNvGrpSpPr/>
            <p:nvPr/>
          </p:nvGrpSpPr>
          <p:grpSpPr>
            <a:xfrm>
              <a:off x="4535451" y="5311874"/>
              <a:ext cx="157787" cy="157771"/>
              <a:chOff x="4535451" y="5311874"/>
              <a:chExt cx="157787" cy="157771"/>
            </a:xfrm>
            <a:noFill/>
          </p:grpSpPr>
          <p:sp>
            <p:nvSpPr>
              <p:cNvPr id="1725" name="Forma livre: Forma 1724">
                <a:extLst>
                  <a:ext uri="{FF2B5EF4-FFF2-40B4-BE49-F238E27FC236}">
                    <a16:creationId xmlns:a16="http://schemas.microsoft.com/office/drawing/2014/main" id="{16C7C0D1-1F7D-2992-E7AD-B5A8C3DE7558}"/>
                  </a:ext>
                </a:extLst>
              </p:cNvPr>
              <p:cNvSpPr/>
              <p:nvPr/>
            </p:nvSpPr>
            <p:spPr>
              <a:xfrm>
                <a:off x="4535451" y="5311874"/>
                <a:ext cx="157787" cy="157771"/>
              </a:xfrm>
              <a:custGeom>
                <a:avLst/>
                <a:gdLst>
                  <a:gd name="connsiteX0" fmla="*/ 54419 w 157787"/>
                  <a:gd name="connsiteY0" fmla="*/ 3881 h 157771"/>
                  <a:gd name="connsiteX1" fmla="*/ 87757 w 157787"/>
                  <a:gd name="connsiteY1" fmla="*/ 501 h 157771"/>
                  <a:gd name="connsiteX2" fmla="*/ 157282 w 157787"/>
                  <a:gd name="connsiteY2" fmla="*/ 87752 h 157771"/>
                  <a:gd name="connsiteX3" fmla="*/ 70030 w 157787"/>
                  <a:gd name="connsiteY3" fmla="*/ 157265 h 157771"/>
                  <a:gd name="connsiteX4" fmla="*/ 506 w 157787"/>
                  <a:gd name="connsiteY4" fmla="*/ 70014 h 157771"/>
                  <a:gd name="connsiteX5" fmla="*/ 30712 w 157787"/>
                  <a:gd name="connsiteY5" fmla="*/ 16420 h 1577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57787" h="157771">
                    <a:moveTo>
                      <a:pt x="54419" y="3881"/>
                    </a:moveTo>
                    <a:cubicBezTo>
                      <a:pt x="64842" y="466"/>
                      <a:pt x="76152" y="-799"/>
                      <a:pt x="87757" y="501"/>
                    </a:cubicBezTo>
                    <a:cubicBezTo>
                      <a:pt x="131046" y="5394"/>
                      <a:pt x="162174" y="44464"/>
                      <a:pt x="157282" y="87752"/>
                    </a:cubicBezTo>
                    <a:cubicBezTo>
                      <a:pt x="152389" y="131041"/>
                      <a:pt x="113319" y="162158"/>
                      <a:pt x="70030" y="157265"/>
                    </a:cubicBezTo>
                    <a:cubicBezTo>
                      <a:pt x="26753" y="152373"/>
                      <a:pt x="-4387" y="113303"/>
                      <a:pt x="506" y="70014"/>
                    </a:cubicBezTo>
                    <a:cubicBezTo>
                      <a:pt x="3000" y="47926"/>
                      <a:pt x="14404" y="29006"/>
                      <a:pt x="30712" y="16420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726" name="Forma livre: Forma 1725">
                <a:extLst>
                  <a:ext uri="{FF2B5EF4-FFF2-40B4-BE49-F238E27FC236}">
                    <a16:creationId xmlns:a16="http://schemas.microsoft.com/office/drawing/2014/main" id="{08407249-4297-C99D-6CE7-FC26C1B6CA5B}"/>
                  </a:ext>
                </a:extLst>
              </p:cNvPr>
              <p:cNvSpPr/>
              <p:nvPr/>
            </p:nvSpPr>
            <p:spPr>
              <a:xfrm>
                <a:off x="4587388" y="5351623"/>
                <a:ext cx="53924" cy="78281"/>
              </a:xfrm>
              <a:custGeom>
                <a:avLst/>
                <a:gdLst>
                  <a:gd name="connsiteX0" fmla="*/ 53925 w 53924"/>
                  <a:gd name="connsiteY0" fmla="*/ 0 h 78281"/>
                  <a:gd name="connsiteX1" fmla="*/ 0 w 53924"/>
                  <a:gd name="connsiteY1" fmla="*/ 78282 h 782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3924" h="78281">
                    <a:moveTo>
                      <a:pt x="53925" y="0"/>
                    </a:moveTo>
                    <a:lnTo>
                      <a:pt x="0" y="78282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1727" name="Gráfico 15">
                <a:extLst>
                  <a:ext uri="{FF2B5EF4-FFF2-40B4-BE49-F238E27FC236}">
                    <a16:creationId xmlns:a16="http://schemas.microsoft.com/office/drawing/2014/main" id="{62BD1066-57F1-23E6-8E73-6A1F2AB818B2}"/>
                  </a:ext>
                </a:extLst>
              </p:cNvPr>
              <p:cNvGrpSpPr/>
              <p:nvPr/>
            </p:nvGrpSpPr>
            <p:grpSpPr>
              <a:xfrm>
                <a:off x="4572935" y="5347297"/>
                <a:ext cx="82819" cy="86932"/>
                <a:chOff x="4572935" y="5347297"/>
                <a:chExt cx="82819" cy="86932"/>
              </a:xfrm>
              <a:noFill/>
            </p:grpSpPr>
            <p:sp>
              <p:nvSpPr>
                <p:cNvPr id="1728" name="Forma livre: Forma 1727">
                  <a:extLst>
                    <a:ext uri="{FF2B5EF4-FFF2-40B4-BE49-F238E27FC236}">
                      <a16:creationId xmlns:a16="http://schemas.microsoft.com/office/drawing/2014/main" id="{B4C1ED61-2596-AD6B-752D-32E3FB75CE05}"/>
                    </a:ext>
                  </a:extLst>
                </p:cNvPr>
                <p:cNvSpPr/>
                <p:nvPr/>
              </p:nvSpPr>
              <p:spPr>
                <a:xfrm>
                  <a:off x="4572935" y="5347297"/>
                  <a:ext cx="30230" cy="30230"/>
                </a:xfrm>
                <a:custGeom>
                  <a:avLst/>
                  <a:gdLst>
                    <a:gd name="connsiteX0" fmla="*/ 30230 w 30230"/>
                    <a:gd name="connsiteY0" fmla="*/ 15115 h 30230"/>
                    <a:gd name="connsiteX1" fmla="*/ 15115 w 30230"/>
                    <a:gd name="connsiteY1" fmla="*/ 30230 h 30230"/>
                    <a:gd name="connsiteX2" fmla="*/ 0 w 30230"/>
                    <a:gd name="connsiteY2" fmla="*/ 15115 h 30230"/>
                    <a:gd name="connsiteX3" fmla="*/ 15115 w 30230"/>
                    <a:gd name="connsiteY3" fmla="*/ 0 h 30230"/>
                    <a:gd name="connsiteX4" fmla="*/ 30230 w 30230"/>
                    <a:gd name="connsiteY4" fmla="*/ 15115 h 3023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0230" h="30230">
                      <a:moveTo>
                        <a:pt x="30230" y="15115"/>
                      </a:moveTo>
                      <a:cubicBezTo>
                        <a:pt x="30230" y="23458"/>
                        <a:pt x="23458" y="30230"/>
                        <a:pt x="15115" y="30230"/>
                      </a:cubicBezTo>
                      <a:cubicBezTo>
                        <a:pt x="6772" y="30230"/>
                        <a:pt x="0" y="23458"/>
                        <a:pt x="0" y="15115"/>
                      </a:cubicBezTo>
                      <a:cubicBezTo>
                        <a:pt x="0" y="6772"/>
                        <a:pt x="6760" y="0"/>
                        <a:pt x="15115" y="0"/>
                      </a:cubicBezTo>
                      <a:cubicBezTo>
                        <a:pt x="23470" y="0"/>
                        <a:pt x="30230" y="6772"/>
                        <a:pt x="30230" y="15115"/>
                      </a:cubicBezTo>
                      <a:close/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729" name="Forma livre: Forma 1728">
                  <a:extLst>
                    <a:ext uri="{FF2B5EF4-FFF2-40B4-BE49-F238E27FC236}">
                      <a16:creationId xmlns:a16="http://schemas.microsoft.com/office/drawing/2014/main" id="{D19C722F-498E-84C2-4E7F-9276E73B2C4E}"/>
                    </a:ext>
                  </a:extLst>
                </p:cNvPr>
                <p:cNvSpPr/>
                <p:nvPr/>
              </p:nvSpPr>
              <p:spPr>
                <a:xfrm>
                  <a:off x="4625524" y="5404000"/>
                  <a:ext cx="30230" cy="30230"/>
                </a:xfrm>
                <a:custGeom>
                  <a:avLst/>
                  <a:gdLst>
                    <a:gd name="connsiteX0" fmla="*/ 30230 w 30230"/>
                    <a:gd name="connsiteY0" fmla="*/ 15115 h 30230"/>
                    <a:gd name="connsiteX1" fmla="*/ 15115 w 30230"/>
                    <a:gd name="connsiteY1" fmla="*/ 30230 h 30230"/>
                    <a:gd name="connsiteX2" fmla="*/ 0 w 30230"/>
                    <a:gd name="connsiteY2" fmla="*/ 15115 h 30230"/>
                    <a:gd name="connsiteX3" fmla="*/ 15115 w 30230"/>
                    <a:gd name="connsiteY3" fmla="*/ 0 h 30230"/>
                    <a:gd name="connsiteX4" fmla="*/ 30230 w 30230"/>
                    <a:gd name="connsiteY4" fmla="*/ 15115 h 3023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0230" h="30230">
                      <a:moveTo>
                        <a:pt x="30230" y="15115"/>
                      </a:moveTo>
                      <a:cubicBezTo>
                        <a:pt x="30230" y="23458"/>
                        <a:pt x="23458" y="30230"/>
                        <a:pt x="15115" y="30230"/>
                      </a:cubicBezTo>
                      <a:cubicBezTo>
                        <a:pt x="6772" y="30230"/>
                        <a:pt x="0" y="23458"/>
                        <a:pt x="0" y="15115"/>
                      </a:cubicBezTo>
                      <a:cubicBezTo>
                        <a:pt x="0" y="6772"/>
                        <a:pt x="6772" y="0"/>
                        <a:pt x="15115" y="0"/>
                      </a:cubicBezTo>
                      <a:cubicBezTo>
                        <a:pt x="23458" y="0"/>
                        <a:pt x="30230" y="6772"/>
                        <a:pt x="30230" y="15115"/>
                      </a:cubicBezTo>
                      <a:close/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sp>
          <p:nvSpPr>
            <p:cNvPr id="1730" name="Forma livre: Forma 1729">
              <a:extLst>
                <a:ext uri="{FF2B5EF4-FFF2-40B4-BE49-F238E27FC236}">
                  <a16:creationId xmlns:a16="http://schemas.microsoft.com/office/drawing/2014/main" id="{AB797F37-E2D8-178B-66AA-09571C330CA4}"/>
                </a:ext>
              </a:extLst>
            </p:cNvPr>
            <p:cNvSpPr/>
            <p:nvPr/>
          </p:nvSpPr>
          <p:spPr>
            <a:xfrm>
              <a:off x="4496426" y="5177746"/>
              <a:ext cx="51076" cy="242526"/>
            </a:xfrm>
            <a:custGeom>
              <a:avLst/>
              <a:gdLst>
                <a:gd name="connsiteX0" fmla="*/ 0 w 51076"/>
                <a:gd name="connsiteY0" fmla="*/ 242526 h 242526"/>
                <a:gd name="connsiteX1" fmla="*/ 0 w 51076"/>
                <a:gd name="connsiteY1" fmla="*/ 0 h 242526"/>
                <a:gd name="connsiteX2" fmla="*/ 51077 w 51076"/>
                <a:gd name="connsiteY2" fmla="*/ 0 h 242526"/>
                <a:gd name="connsiteX3" fmla="*/ 51077 w 51076"/>
                <a:gd name="connsiteY3" fmla="*/ 138163 h 2425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1076" h="242526">
                  <a:moveTo>
                    <a:pt x="0" y="242526"/>
                  </a:moveTo>
                  <a:lnTo>
                    <a:pt x="0" y="0"/>
                  </a:lnTo>
                  <a:lnTo>
                    <a:pt x="51077" y="0"/>
                  </a:lnTo>
                  <a:lnTo>
                    <a:pt x="51077" y="138163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31" name="Forma livre: Forma 1730">
              <a:extLst>
                <a:ext uri="{FF2B5EF4-FFF2-40B4-BE49-F238E27FC236}">
                  <a16:creationId xmlns:a16="http://schemas.microsoft.com/office/drawing/2014/main" id="{5EB2574A-DB27-00DA-681D-16D8D713AA33}"/>
                </a:ext>
              </a:extLst>
            </p:cNvPr>
            <p:cNvSpPr/>
            <p:nvPr/>
          </p:nvSpPr>
          <p:spPr>
            <a:xfrm>
              <a:off x="4445349" y="5229745"/>
              <a:ext cx="30478" cy="190527"/>
            </a:xfrm>
            <a:custGeom>
              <a:avLst/>
              <a:gdLst>
                <a:gd name="connsiteX0" fmla="*/ 0 w 30478"/>
                <a:gd name="connsiteY0" fmla="*/ 190528 h 190527"/>
                <a:gd name="connsiteX1" fmla="*/ 0 w 30478"/>
                <a:gd name="connsiteY1" fmla="*/ 0 h 190527"/>
                <a:gd name="connsiteX2" fmla="*/ 30478 w 30478"/>
                <a:gd name="connsiteY2" fmla="*/ 0 h 1905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0478" h="190527">
                  <a:moveTo>
                    <a:pt x="0" y="190528"/>
                  </a:moveTo>
                  <a:lnTo>
                    <a:pt x="0" y="0"/>
                  </a:lnTo>
                  <a:lnTo>
                    <a:pt x="30478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32" name="Forma livre: Forma 1731">
              <a:extLst>
                <a:ext uri="{FF2B5EF4-FFF2-40B4-BE49-F238E27FC236}">
                  <a16:creationId xmlns:a16="http://schemas.microsoft.com/office/drawing/2014/main" id="{C14236B0-A031-C90C-8B34-50B38F96C96B}"/>
                </a:ext>
              </a:extLst>
            </p:cNvPr>
            <p:cNvSpPr/>
            <p:nvPr/>
          </p:nvSpPr>
          <p:spPr>
            <a:xfrm>
              <a:off x="4394272" y="5292770"/>
              <a:ext cx="124796" cy="127503"/>
            </a:xfrm>
            <a:custGeom>
              <a:avLst/>
              <a:gdLst>
                <a:gd name="connsiteX0" fmla="*/ 30490 w 124796"/>
                <a:gd name="connsiteY0" fmla="*/ 0 h 127503"/>
                <a:gd name="connsiteX1" fmla="*/ 0 w 124796"/>
                <a:gd name="connsiteY1" fmla="*/ 0 h 127503"/>
                <a:gd name="connsiteX2" fmla="*/ 0 w 124796"/>
                <a:gd name="connsiteY2" fmla="*/ 127503 h 127503"/>
                <a:gd name="connsiteX3" fmla="*/ 124797 w 124796"/>
                <a:gd name="connsiteY3" fmla="*/ 127503 h 127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4796" h="127503">
                  <a:moveTo>
                    <a:pt x="30490" y="0"/>
                  </a:moveTo>
                  <a:lnTo>
                    <a:pt x="0" y="0"/>
                  </a:lnTo>
                  <a:lnTo>
                    <a:pt x="0" y="127503"/>
                  </a:lnTo>
                  <a:lnTo>
                    <a:pt x="124797" y="127503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33" name="Forma livre: Forma 1732">
              <a:extLst>
                <a:ext uri="{FF2B5EF4-FFF2-40B4-BE49-F238E27FC236}">
                  <a16:creationId xmlns:a16="http://schemas.microsoft.com/office/drawing/2014/main" id="{D9C84C23-BC5E-D390-D610-7BCEC79221EA}"/>
                </a:ext>
              </a:extLst>
            </p:cNvPr>
            <p:cNvSpPr/>
            <p:nvPr/>
          </p:nvSpPr>
          <p:spPr>
            <a:xfrm>
              <a:off x="4568149" y="5252589"/>
              <a:ext cx="30419" cy="42284"/>
            </a:xfrm>
            <a:custGeom>
              <a:avLst/>
              <a:gdLst>
                <a:gd name="connsiteX0" fmla="*/ 0 w 30419"/>
                <a:gd name="connsiteY0" fmla="*/ 0 h 42284"/>
                <a:gd name="connsiteX1" fmla="*/ 30419 w 30419"/>
                <a:gd name="connsiteY1" fmla="*/ 0 h 42284"/>
                <a:gd name="connsiteX2" fmla="*/ 30419 w 30419"/>
                <a:gd name="connsiteY2" fmla="*/ 42284 h 422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0419" h="42284">
                  <a:moveTo>
                    <a:pt x="0" y="0"/>
                  </a:moveTo>
                  <a:lnTo>
                    <a:pt x="30419" y="0"/>
                  </a:lnTo>
                  <a:lnTo>
                    <a:pt x="30419" y="42284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734" name="Gráfico 15">
            <a:extLst>
              <a:ext uri="{FF2B5EF4-FFF2-40B4-BE49-F238E27FC236}">
                <a16:creationId xmlns:a16="http://schemas.microsoft.com/office/drawing/2014/main" id="{2EA9B79B-3294-86FD-672A-10A6564516B0}"/>
              </a:ext>
            </a:extLst>
          </p:cNvPr>
          <p:cNvGrpSpPr/>
          <p:nvPr/>
        </p:nvGrpSpPr>
        <p:grpSpPr>
          <a:xfrm>
            <a:off x="5652201" y="5156699"/>
            <a:ext cx="253800" cy="333996"/>
            <a:chOff x="5652201" y="5156699"/>
            <a:chExt cx="253800" cy="333996"/>
          </a:xfrm>
        </p:grpSpPr>
        <p:grpSp>
          <p:nvGrpSpPr>
            <p:cNvPr id="1735" name="Gráfico 15">
              <a:extLst>
                <a:ext uri="{FF2B5EF4-FFF2-40B4-BE49-F238E27FC236}">
                  <a16:creationId xmlns:a16="http://schemas.microsoft.com/office/drawing/2014/main" id="{5362B23F-3952-BD8E-DB42-D408E3EB87A0}"/>
                </a:ext>
              </a:extLst>
            </p:cNvPr>
            <p:cNvGrpSpPr/>
            <p:nvPr/>
          </p:nvGrpSpPr>
          <p:grpSpPr>
            <a:xfrm>
              <a:off x="5734241" y="5156699"/>
              <a:ext cx="157756" cy="128034"/>
              <a:chOff x="5734241" y="5156699"/>
              <a:chExt cx="157756" cy="128034"/>
            </a:xfrm>
            <a:noFill/>
          </p:grpSpPr>
          <p:grpSp>
            <p:nvGrpSpPr>
              <p:cNvPr id="1736" name="Gráfico 15">
                <a:extLst>
                  <a:ext uri="{FF2B5EF4-FFF2-40B4-BE49-F238E27FC236}">
                    <a16:creationId xmlns:a16="http://schemas.microsoft.com/office/drawing/2014/main" id="{2807FF43-EF34-1187-F6F2-9A95AE47D291}"/>
                  </a:ext>
                </a:extLst>
              </p:cNvPr>
              <p:cNvGrpSpPr/>
              <p:nvPr/>
            </p:nvGrpSpPr>
            <p:grpSpPr>
              <a:xfrm>
                <a:off x="5734241" y="5156699"/>
                <a:ext cx="157756" cy="128034"/>
                <a:chOff x="5734241" y="5156699"/>
                <a:chExt cx="157756" cy="128034"/>
              </a:xfrm>
              <a:noFill/>
            </p:grpSpPr>
            <p:sp>
              <p:nvSpPr>
                <p:cNvPr id="1737" name="Forma livre: Forma 1736">
                  <a:extLst>
                    <a:ext uri="{FF2B5EF4-FFF2-40B4-BE49-F238E27FC236}">
                      <a16:creationId xmlns:a16="http://schemas.microsoft.com/office/drawing/2014/main" id="{5B7A7517-DC4A-DF36-7275-23381B646768}"/>
                    </a:ext>
                  </a:extLst>
                </p:cNvPr>
                <p:cNvSpPr/>
                <p:nvPr/>
              </p:nvSpPr>
              <p:spPr>
                <a:xfrm>
                  <a:off x="5734241" y="5178928"/>
                  <a:ext cx="23990" cy="103418"/>
                </a:xfrm>
                <a:custGeom>
                  <a:avLst/>
                  <a:gdLst>
                    <a:gd name="connsiteX0" fmla="*/ 15351 w 23990"/>
                    <a:gd name="connsiteY0" fmla="*/ 103418 h 103418"/>
                    <a:gd name="connsiteX1" fmla="*/ 0 w 23990"/>
                    <a:gd name="connsiteY1" fmla="*/ 56655 h 103418"/>
                    <a:gd name="connsiteX2" fmla="*/ 23990 w 23990"/>
                    <a:gd name="connsiteY2" fmla="*/ 0 h 10341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23990" h="103418">
                      <a:moveTo>
                        <a:pt x="15351" y="103418"/>
                      </a:moveTo>
                      <a:cubicBezTo>
                        <a:pt x="5708" y="90336"/>
                        <a:pt x="0" y="74157"/>
                        <a:pt x="0" y="56655"/>
                      </a:cubicBezTo>
                      <a:cubicBezTo>
                        <a:pt x="0" y="34425"/>
                        <a:pt x="9206" y="14347"/>
                        <a:pt x="23990" y="0"/>
                      </a:cubicBez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738" name="Forma livre: Forma 1737">
                  <a:extLst>
                    <a:ext uri="{FF2B5EF4-FFF2-40B4-BE49-F238E27FC236}">
                      <a16:creationId xmlns:a16="http://schemas.microsoft.com/office/drawing/2014/main" id="{A707E676-0980-C702-C72B-FBF16332DB90}"/>
                    </a:ext>
                  </a:extLst>
                </p:cNvPr>
                <p:cNvSpPr/>
                <p:nvPr/>
              </p:nvSpPr>
              <p:spPr>
                <a:xfrm>
                  <a:off x="5780366" y="5156699"/>
                  <a:ext cx="111631" cy="128034"/>
                </a:xfrm>
                <a:custGeom>
                  <a:avLst/>
                  <a:gdLst>
                    <a:gd name="connsiteX0" fmla="*/ 0 w 111631"/>
                    <a:gd name="connsiteY0" fmla="*/ 7091 h 128034"/>
                    <a:gd name="connsiteX1" fmla="*/ 32747 w 111631"/>
                    <a:gd name="connsiteY1" fmla="*/ 0 h 128034"/>
                    <a:gd name="connsiteX2" fmla="*/ 111631 w 111631"/>
                    <a:gd name="connsiteY2" fmla="*/ 78884 h 128034"/>
                    <a:gd name="connsiteX3" fmla="*/ 94448 w 111631"/>
                    <a:gd name="connsiteY3" fmla="*/ 128035 h 12803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11631" h="128034">
                      <a:moveTo>
                        <a:pt x="0" y="7091"/>
                      </a:moveTo>
                      <a:cubicBezTo>
                        <a:pt x="9986" y="2529"/>
                        <a:pt x="21071" y="0"/>
                        <a:pt x="32747" y="0"/>
                      </a:cubicBezTo>
                      <a:cubicBezTo>
                        <a:pt x="76308" y="0"/>
                        <a:pt x="111631" y="35312"/>
                        <a:pt x="111631" y="78884"/>
                      </a:cubicBezTo>
                      <a:cubicBezTo>
                        <a:pt x="111631" y="97462"/>
                        <a:pt x="105203" y="114551"/>
                        <a:pt x="94448" y="128035"/>
                      </a:cubicBez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1739" name="Forma livre: Forma 1738">
                <a:extLst>
                  <a:ext uri="{FF2B5EF4-FFF2-40B4-BE49-F238E27FC236}">
                    <a16:creationId xmlns:a16="http://schemas.microsoft.com/office/drawing/2014/main" id="{41CFFD56-284C-FDCE-2A78-0E94B6E10A02}"/>
                  </a:ext>
                </a:extLst>
              </p:cNvPr>
              <p:cNvSpPr/>
              <p:nvPr/>
            </p:nvSpPr>
            <p:spPr>
              <a:xfrm>
                <a:off x="5786157" y="5196442"/>
                <a:ext cx="53936" cy="78269"/>
              </a:xfrm>
              <a:custGeom>
                <a:avLst/>
                <a:gdLst>
                  <a:gd name="connsiteX0" fmla="*/ 53937 w 53936"/>
                  <a:gd name="connsiteY0" fmla="*/ 0 h 78269"/>
                  <a:gd name="connsiteX1" fmla="*/ 0 w 53936"/>
                  <a:gd name="connsiteY1" fmla="*/ 78270 h 782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3936" h="78269">
                    <a:moveTo>
                      <a:pt x="53937" y="0"/>
                    </a:moveTo>
                    <a:lnTo>
                      <a:pt x="0" y="7827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1740" name="Gráfico 15">
                <a:extLst>
                  <a:ext uri="{FF2B5EF4-FFF2-40B4-BE49-F238E27FC236}">
                    <a16:creationId xmlns:a16="http://schemas.microsoft.com/office/drawing/2014/main" id="{504079EA-5DC9-1015-4C72-783B8B1C05E7}"/>
                  </a:ext>
                </a:extLst>
              </p:cNvPr>
              <p:cNvGrpSpPr/>
              <p:nvPr/>
            </p:nvGrpSpPr>
            <p:grpSpPr>
              <a:xfrm>
                <a:off x="5771715" y="5192105"/>
                <a:ext cx="82807" cy="86944"/>
                <a:chOff x="5771715" y="5192105"/>
                <a:chExt cx="82807" cy="86944"/>
              </a:xfrm>
              <a:noFill/>
            </p:grpSpPr>
            <p:sp>
              <p:nvSpPr>
                <p:cNvPr id="1741" name="Forma livre: Forma 1740">
                  <a:extLst>
                    <a:ext uri="{FF2B5EF4-FFF2-40B4-BE49-F238E27FC236}">
                      <a16:creationId xmlns:a16="http://schemas.microsoft.com/office/drawing/2014/main" id="{1BC22DD4-7262-FAF9-4D75-69780A9B9E33}"/>
                    </a:ext>
                  </a:extLst>
                </p:cNvPr>
                <p:cNvSpPr/>
                <p:nvPr/>
              </p:nvSpPr>
              <p:spPr>
                <a:xfrm>
                  <a:off x="5771715" y="5192105"/>
                  <a:ext cx="30230" cy="30241"/>
                </a:xfrm>
                <a:custGeom>
                  <a:avLst/>
                  <a:gdLst>
                    <a:gd name="connsiteX0" fmla="*/ 30230 w 30230"/>
                    <a:gd name="connsiteY0" fmla="*/ 15127 h 30241"/>
                    <a:gd name="connsiteX1" fmla="*/ 15115 w 30230"/>
                    <a:gd name="connsiteY1" fmla="*/ 30242 h 30241"/>
                    <a:gd name="connsiteX2" fmla="*/ 0 w 30230"/>
                    <a:gd name="connsiteY2" fmla="*/ 15127 h 30241"/>
                    <a:gd name="connsiteX3" fmla="*/ 15115 w 30230"/>
                    <a:gd name="connsiteY3" fmla="*/ 0 h 30241"/>
                    <a:gd name="connsiteX4" fmla="*/ 30230 w 30230"/>
                    <a:gd name="connsiteY4" fmla="*/ 15127 h 3024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0230" h="30241">
                      <a:moveTo>
                        <a:pt x="30230" y="15127"/>
                      </a:moveTo>
                      <a:cubicBezTo>
                        <a:pt x="30230" y="23470"/>
                        <a:pt x="23458" y="30242"/>
                        <a:pt x="15115" y="30242"/>
                      </a:cubicBezTo>
                      <a:cubicBezTo>
                        <a:pt x="6772" y="30242"/>
                        <a:pt x="0" y="23470"/>
                        <a:pt x="0" y="15127"/>
                      </a:cubicBezTo>
                      <a:cubicBezTo>
                        <a:pt x="0" y="6783"/>
                        <a:pt x="6760" y="0"/>
                        <a:pt x="15115" y="0"/>
                      </a:cubicBezTo>
                      <a:cubicBezTo>
                        <a:pt x="23470" y="0"/>
                        <a:pt x="30230" y="6772"/>
                        <a:pt x="30230" y="15127"/>
                      </a:cubicBezTo>
                      <a:close/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742" name="Forma livre: Forma 1741">
                  <a:extLst>
                    <a:ext uri="{FF2B5EF4-FFF2-40B4-BE49-F238E27FC236}">
                      <a16:creationId xmlns:a16="http://schemas.microsoft.com/office/drawing/2014/main" id="{1473AE2A-0FA4-414F-423F-89E3A246AA24}"/>
                    </a:ext>
                  </a:extLst>
                </p:cNvPr>
                <p:cNvSpPr/>
                <p:nvPr/>
              </p:nvSpPr>
              <p:spPr>
                <a:xfrm>
                  <a:off x="5824293" y="5248807"/>
                  <a:ext cx="30230" cy="30242"/>
                </a:xfrm>
                <a:custGeom>
                  <a:avLst/>
                  <a:gdLst>
                    <a:gd name="connsiteX0" fmla="*/ 30230 w 30230"/>
                    <a:gd name="connsiteY0" fmla="*/ 15115 h 30242"/>
                    <a:gd name="connsiteX1" fmla="*/ 15115 w 30230"/>
                    <a:gd name="connsiteY1" fmla="*/ 30242 h 30242"/>
                    <a:gd name="connsiteX2" fmla="*/ 0 w 30230"/>
                    <a:gd name="connsiteY2" fmla="*/ 15115 h 30242"/>
                    <a:gd name="connsiteX3" fmla="*/ 15115 w 30230"/>
                    <a:gd name="connsiteY3" fmla="*/ 0 h 30242"/>
                    <a:gd name="connsiteX4" fmla="*/ 30230 w 30230"/>
                    <a:gd name="connsiteY4" fmla="*/ 15115 h 3024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0230" h="30242">
                      <a:moveTo>
                        <a:pt x="30230" y="15115"/>
                      </a:moveTo>
                      <a:cubicBezTo>
                        <a:pt x="30230" y="23470"/>
                        <a:pt x="23458" y="30242"/>
                        <a:pt x="15115" y="30242"/>
                      </a:cubicBezTo>
                      <a:cubicBezTo>
                        <a:pt x="6772" y="30242"/>
                        <a:pt x="0" y="23470"/>
                        <a:pt x="0" y="15115"/>
                      </a:cubicBezTo>
                      <a:cubicBezTo>
                        <a:pt x="0" y="6760"/>
                        <a:pt x="6772" y="0"/>
                        <a:pt x="15115" y="0"/>
                      </a:cubicBezTo>
                      <a:cubicBezTo>
                        <a:pt x="23458" y="0"/>
                        <a:pt x="30230" y="6772"/>
                        <a:pt x="30230" y="15115"/>
                      </a:cubicBezTo>
                      <a:close/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grpSp>
          <p:nvGrpSpPr>
            <p:cNvPr id="1743" name="Gráfico 15">
              <a:extLst>
                <a:ext uri="{FF2B5EF4-FFF2-40B4-BE49-F238E27FC236}">
                  <a16:creationId xmlns:a16="http://schemas.microsoft.com/office/drawing/2014/main" id="{A50FED05-2085-ED08-3988-EFE35168BD92}"/>
                </a:ext>
              </a:extLst>
            </p:cNvPr>
            <p:cNvGrpSpPr/>
            <p:nvPr/>
          </p:nvGrpSpPr>
          <p:grpSpPr>
            <a:xfrm>
              <a:off x="5652201" y="5275610"/>
              <a:ext cx="253800" cy="215085"/>
              <a:chOff x="5652201" y="5275610"/>
              <a:chExt cx="253800" cy="215085"/>
            </a:xfrm>
          </p:grpSpPr>
          <p:sp>
            <p:nvSpPr>
              <p:cNvPr id="1744" name="Forma livre: Forma 1743">
                <a:extLst>
                  <a:ext uri="{FF2B5EF4-FFF2-40B4-BE49-F238E27FC236}">
                    <a16:creationId xmlns:a16="http://schemas.microsoft.com/office/drawing/2014/main" id="{CAA537EC-5D80-D937-602D-533DF268B928}"/>
                  </a:ext>
                </a:extLst>
              </p:cNvPr>
              <p:cNvSpPr/>
              <p:nvPr/>
            </p:nvSpPr>
            <p:spPr>
              <a:xfrm>
                <a:off x="5652201" y="5290489"/>
                <a:ext cx="234159" cy="200206"/>
              </a:xfrm>
              <a:custGeom>
                <a:avLst/>
                <a:gdLst>
                  <a:gd name="connsiteX0" fmla="*/ 234159 w 234159"/>
                  <a:gd name="connsiteY0" fmla="*/ 146400 h 200206"/>
                  <a:gd name="connsiteX1" fmla="*/ 234159 w 234159"/>
                  <a:gd name="connsiteY1" fmla="*/ 176878 h 200206"/>
                  <a:gd name="connsiteX2" fmla="*/ 210831 w 234159"/>
                  <a:gd name="connsiteY2" fmla="*/ 200207 h 200206"/>
                  <a:gd name="connsiteX3" fmla="*/ 23328 w 234159"/>
                  <a:gd name="connsiteY3" fmla="*/ 200207 h 200206"/>
                  <a:gd name="connsiteX4" fmla="*/ 0 w 234159"/>
                  <a:gd name="connsiteY4" fmla="*/ 176878 h 200206"/>
                  <a:gd name="connsiteX5" fmla="*/ 0 w 234159"/>
                  <a:gd name="connsiteY5" fmla="*/ 0 h 2002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34159" h="200206">
                    <a:moveTo>
                      <a:pt x="234159" y="146400"/>
                    </a:moveTo>
                    <a:lnTo>
                      <a:pt x="234159" y="176878"/>
                    </a:lnTo>
                    <a:cubicBezTo>
                      <a:pt x="234159" y="189712"/>
                      <a:pt x="223665" y="200207"/>
                      <a:pt x="210831" y="200207"/>
                    </a:cubicBezTo>
                    <a:lnTo>
                      <a:pt x="23328" y="200207"/>
                    </a:lnTo>
                    <a:cubicBezTo>
                      <a:pt x="10494" y="200207"/>
                      <a:pt x="0" y="189712"/>
                      <a:pt x="0" y="176878"/>
                    </a:cubicBezTo>
                    <a:lnTo>
                      <a:pt x="0" y="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745" name="Forma livre: Forma 1744">
                <a:extLst>
                  <a:ext uri="{FF2B5EF4-FFF2-40B4-BE49-F238E27FC236}">
                    <a16:creationId xmlns:a16="http://schemas.microsoft.com/office/drawing/2014/main" id="{F1CCE56A-E921-3D44-6968-54D3508C4D44}"/>
                  </a:ext>
                </a:extLst>
              </p:cNvPr>
              <p:cNvSpPr/>
              <p:nvPr/>
            </p:nvSpPr>
            <p:spPr>
              <a:xfrm>
                <a:off x="5810915" y="5394155"/>
                <a:ext cx="7256" cy="7268"/>
              </a:xfrm>
              <a:custGeom>
                <a:avLst/>
                <a:gdLst>
                  <a:gd name="connsiteX0" fmla="*/ 7256 w 7256"/>
                  <a:gd name="connsiteY0" fmla="*/ 3628 h 7268"/>
                  <a:gd name="connsiteX1" fmla="*/ 3628 w 7256"/>
                  <a:gd name="connsiteY1" fmla="*/ 7268 h 7268"/>
                  <a:gd name="connsiteX2" fmla="*/ 0 w 7256"/>
                  <a:gd name="connsiteY2" fmla="*/ 3628 h 7268"/>
                  <a:gd name="connsiteX3" fmla="*/ 3628 w 7256"/>
                  <a:gd name="connsiteY3" fmla="*/ 0 h 7268"/>
                  <a:gd name="connsiteX4" fmla="*/ 7256 w 7256"/>
                  <a:gd name="connsiteY4" fmla="*/ 3628 h 72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256" h="7268">
                    <a:moveTo>
                      <a:pt x="7256" y="3628"/>
                    </a:moveTo>
                    <a:cubicBezTo>
                      <a:pt x="7256" y="5637"/>
                      <a:pt x="5637" y="7268"/>
                      <a:pt x="3628" y="7268"/>
                    </a:cubicBezTo>
                    <a:cubicBezTo>
                      <a:pt x="1619" y="7268"/>
                      <a:pt x="0" y="5637"/>
                      <a:pt x="0" y="3628"/>
                    </a:cubicBezTo>
                    <a:cubicBezTo>
                      <a:pt x="0" y="1619"/>
                      <a:pt x="1631" y="0"/>
                      <a:pt x="3628" y="0"/>
                    </a:cubicBezTo>
                    <a:cubicBezTo>
                      <a:pt x="5625" y="0"/>
                      <a:pt x="7256" y="1619"/>
                      <a:pt x="7256" y="3628"/>
                    </a:cubicBezTo>
                    <a:close/>
                  </a:path>
                </a:pathLst>
              </a:custGeom>
              <a:solidFill>
                <a:srgbClr val="394552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746" name="Forma livre: Forma 1745">
                <a:extLst>
                  <a:ext uri="{FF2B5EF4-FFF2-40B4-BE49-F238E27FC236}">
                    <a16:creationId xmlns:a16="http://schemas.microsoft.com/office/drawing/2014/main" id="{6A56D9DA-C4DA-78A4-B397-56C51E97D0F5}"/>
                  </a:ext>
                </a:extLst>
              </p:cNvPr>
              <p:cNvSpPr/>
              <p:nvPr/>
            </p:nvSpPr>
            <p:spPr>
              <a:xfrm>
                <a:off x="5779739" y="5359683"/>
                <a:ext cx="126262" cy="76201"/>
              </a:xfrm>
              <a:custGeom>
                <a:avLst/>
                <a:gdLst>
                  <a:gd name="connsiteX0" fmla="*/ 23328 w 126262"/>
                  <a:gd name="connsiteY0" fmla="*/ 76202 h 76201"/>
                  <a:gd name="connsiteX1" fmla="*/ 0 w 126262"/>
                  <a:gd name="connsiteY1" fmla="*/ 52873 h 76201"/>
                  <a:gd name="connsiteX2" fmla="*/ 0 w 126262"/>
                  <a:gd name="connsiteY2" fmla="*/ 23328 h 76201"/>
                  <a:gd name="connsiteX3" fmla="*/ 23328 w 126262"/>
                  <a:gd name="connsiteY3" fmla="*/ 0 h 76201"/>
                  <a:gd name="connsiteX4" fmla="*/ 126262 w 126262"/>
                  <a:gd name="connsiteY4" fmla="*/ 0 h 76201"/>
                  <a:gd name="connsiteX5" fmla="*/ 126262 w 126262"/>
                  <a:gd name="connsiteY5" fmla="*/ 76202 h 76201"/>
                  <a:gd name="connsiteX6" fmla="*/ 23328 w 126262"/>
                  <a:gd name="connsiteY6" fmla="*/ 76202 h 762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26262" h="76201">
                    <a:moveTo>
                      <a:pt x="23328" y="76202"/>
                    </a:moveTo>
                    <a:cubicBezTo>
                      <a:pt x="10494" y="76202"/>
                      <a:pt x="0" y="65707"/>
                      <a:pt x="0" y="52873"/>
                    </a:cubicBezTo>
                    <a:lnTo>
                      <a:pt x="0" y="23328"/>
                    </a:lnTo>
                    <a:cubicBezTo>
                      <a:pt x="0" y="10494"/>
                      <a:pt x="10494" y="0"/>
                      <a:pt x="23328" y="0"/>
                    </a:cubicBezTo>
                    <a:lnTo>
                      <a:pt x="126262" y="0"/>
                    </a:lnTo>
                    <a:lnTo>
                      <a:pt x="126262" y="76202"/>
                    </a:lnTo>
                    <a:lnTo>
                      <a:pt x="23328" y="76202"/>
                    </a:lnTo>
                    <a:close/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747" name="Forma livre: Forma 1746">
                <a:extLst>
                  <a:ext uri="{FF2B5EF4-FFF2-40B4-BE49-F238E27FC236}">
                    <a16:creationId xmlns:a16="http://schemas.microsoft.com/office/drawing/2014/main" id="{48B78023-BFEB-23FB-EE48-6B402BF84035}"/>
                  </a:ext>
                </a:extLst>
              </p:cNvPr>
              <p:cNvSpPr/>
              <p:nvPr/>
            </p:nvSpPr>
            <p:spPr>
              <a:xfrm>
                <a:off x="5652201" y="5275610"/>
                <a:ext cx="234159" cy="65766"/>
              </a:xfrm>
              <a:custGeom>
                <a:avLst/>
                <a:gdLst>
                  <a:gd name="connsiteX0" fmla="*/ 70328 w 234159"/>
                  <a:gd name="connsiteY0" fmla="*/ 0 h 65766"/>
                  <a:gd name="connsiteX1" fmla="*/ 13721 w 234159"/>
                  <a:gd name="connsiteY1" fmla="*/ 0 h 65766"/>
                  <a:gd name="connsiteX2" fmla="*/ 0 w 234159"/>
                  <a:gd name="connsiteY2" fmla="*/ 14879 h 65766"/>
                  <a:gd name="connsiteX3" fmla="*/ 13721 w 234159"/>
                  <a:gd name="connsiteY3" fmla="*/ 29143 h 65766"/>
                  <a:gd name="connsiteX4" fmla="*/ 210831 w 234159"/>
                  <a:gd name="connsiteY4" fmla="*/ 29143 h 65766"/>
                  <a:gd name="connsiteX5" fmla="*/ 234159 w 234159"/>
                  <a:gd name="connsiteY5" fmla="*/ 52554 h 65766"/>
                  <a:gd name="connsiteX6" fmla="*/ 234159 w 234159"/>
                  <a:gd name="connsiteY6" fmla="*/ 65766 h 657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34159" h="65766">
                    <a:moveTo>
                      <a:pt x="70328" y="0"/>
                    </a:moveTo>
                    <a:lnTo>
                      <a:pt x="13721" y="0"/>
                    </a:lnTo>
                    <a:cubicBezTo>
                      <a:pt x="6015" y="0"/>
                      <a:pt x="0" y="6878"/>
                      <a:pt x="0" y="14879"/>
                    </a:cubicBezTo>
                    <a:cubicBezTo>
                      <a:pt x="0" y="22879"/>
                      <a:pt x="6015" y="29143"/>
                      <a:pt x="13721" y="29143"/>
                    </a:cubicBezTo>
                    <a:lnTo>
                      <a:pt x="210831" y="29143"/>
                    </a:lnTo>
                    <a:cubicBezTo>
                      <a:pt x="223665" y="29143"/>
                      <a:pt x="234159" y="39732"/>
                      <a:pt x="234159" y="52554"/>
                    </a:cubicBezTo>
                    <a:lnTo>
                      <a:pt x="234159" y="65766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749" name="Gráfico 17">
            <a:extLst>
              <a:ext uri="{FF2B5EF4-FFF2-40B4-BE49-F238E27FC236}">
                <a16:creationId xmlns:a16="http://schemas.microsoft.com/office/drawing/2014/main" id="{CAD0CBE0-D552-4FC8-9238-C99ECC88A898}"/>
              </a:ext>
            </a:extLst>
          </p:cNvPr>
          <p:cNvGrpSpPr/>
          <p:nvPr/>
        </p:nvGrpSpPr>
        <p:grpSpPr>
          <a:xfrm>
            <a:off x="6186731" y="3562679"/>
            <a:ext cx="299507" cy="299734"/>
            <a:chOff x="6186731" y="3562679"/>
            <a:chExt cx="299507" cy="299734"/>
          </a:xfrm>
          <a:noFill/>
        </p:grpSpPr>
        <p:grpSp>
          <p:nvGrpSpPr>
            <p:cNvPr id="1750" name="Gráfico 17">
              <a:extLst>
                <a:ext uri="{FF2B5EF4-FFF2-40B4-BE49-F238E27FC236}">
                  <a16:creationId xmlns:a16="http://schemas.microsoft.com/office/drawing/2014/main" id="{FC21861E-62DE-15C5-3E8A-8AB04A9B8CCF}"/>
                </a:ext>
              </a:extLst>
            </p:cNvPr>
            <p:cNvGrpSpPr/>
            <p:nvPr/>
          </p:nvGrpSpPr>
          <p:grpSpPr>
            <a:xfrm>
              <a:off x="6186731" y="3562679"/>
              <a:ext cx="299507" cy="299734"/>
              <a:chOff x="6186731" y="3562679"/>
              <a:chExt cx="299507" cy="299734"/>
            </a:xfrm>
            <a:noFill/>
          </p:grpSpPr>
          <p:sp>
            <p:nvSpPr>
              <p:cNvPr id="1751" name="Forma livre: Forma 1750">
                <a:extLst>
                  <a:ext uri="{FF2B5EF4-FFF2-40B4-BE49-F238E27FC236}">
                    <a16:creationId xmlns:a16="http://schemas.microsoft.com/office/drawing/2014/main" id="{7C2437F2-C13E-851E-85BE-3AD9B366905A}"/>
                  </a:ext>
                </a:extLst>
              </p:cNvPr>
              <p:cNvSpPr/>
              <p:nvPr/>
            </p:nvSpPr>
            <p:spPr>
              <a:xfrm>
                <a:off x="6247872" y="3623939"/>
                <a:ext cx="177190" cy="177201"/>
              </a:xfrm>
              <a:custGeom>
                <a:avLst/>
                <a:gdLst>
                  <a:gd name="connsiteX0" fmla="*/ 38158 w 177190"/>
                  <a:gd name="connsiteY0" fmla="*/ 15748 h 177201"/>
                  <a:gd name="connsiteX1" fmla="*/ 88589 w 177190"/>
                  <a:gd name="connsiteY1" fmla="*/ 0 h 177201"/>
                  <a:gd name="connsiteX2" fmla="*/ 177190 w 177190"/>
                  <a:gd name="connsiteY2" fmla="*/ 88601 h 177201"/>
                  <a:gd name="connsiteX3" fmla="*/ 88589 w 177190"/>
                  <a:gd name="connsiteY3" fmla="*/ 177202 h 177201"/>
                  <a:gd name="connsiteX4" fmla="*/ 0 w 177190"/>
                  <a:gd name="connsiteY4" fmla="*/ 88601 h 177201"/>
                  <a:gd name="connsiteX5" fmla="*/ 15127 w 177190"/>
                  <a:gd name="connsiteY5" fmla="*/ 39065 h 1772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77190" h="177201">
                    <a:moveTo>
                      <a:pt x="38158" y="15748"/>
                    </a:moveTo>
                    <a:cubicBezTo>
                      <a:pt x="52461" y="5814"/>
                      <a:pt x="69856" y="0"/>
                      <a:pt x="88589" y="0"/>
                    </a:cubicBezTo>
                    <a:cubicBezTo>
                      <a:pt x="137528" y="0"/>
                      <a:pt x="177190" y="39674"/>
                      <a:pt x="177190" y="88601"/>
                    </a:cubicBezTo>
                    <a:cubicBezTo>
                      <a:pt x="177190" y="137528"/>
                      <a:pt x="137528" y="177202"/>
                      <a:pt x="88589" y="177202"/>
                    </a:cubicBezTo>
                    <a:cubicBezTo>
                      <a:pt x="39650" y="177202"/>
                      <a:pt x="0" y="137540"/>
                      <a:pt x="0" y="88601"/>
                    </a:cubicBezTo>
                    <a:cubicBezTo>
                      <a:pt x="0" y="70250"/>
                      <a:pt x="5576" y="53201"/>
                      <a:pt x="15127" y="39065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752" name="Forma livre: Forma 1751">
                <a:extLst>
                  <a:ext uri="{FF2B5EF4-FFF2-40B4-BE49-F238E27FC236}">
                    <a16:creationId xmlns:a16="http://schemas.microsoft.com/office/drawing/2014/main" id="{DAF08AC4-EA77-5C5F-B9CE-2EE4B3DE8C96}"/>
                  </a:ext>
                </a:extLst>
              </p:cNvPr>
              <p:cNvSpPr/>
              <p:nvPr/>
            </p:nvSpPr>
            <p:spPr>
              <a:xfrm>
                <a:off x="6186731" y="3562679"/>
                <a:ext cx="299507" cy="299734"/>
              </a:xfrm>
              <a:custGeom>
                <a:avLst/>
                <a:gdLst>
                  <a:gd name="connsiteX0" fmla="*/ 299483 w 299507"/>
                  <a:gd name="connsiteY0" fmla="*/ 171352 h 299734"/>
                  <a:gd name="connsiteX1" fmla="*/ 299483 w 299507"/>
                  <a:gd name="connsiteY1" fmla="*/ 128502 h 299734"/>
                  <a:gd name="connsiteX2" fmla="*/ 268000 w 299507"/>
                  <a:gd name="connsiteY2" fmla="*/ 123237 h 299734"/>
                  <a:gd name="connsiteX3" fmla="*/ 252204 w 299507"/>
                  <a:gd name="connsiteY3" fmla="*/ 85103 h 299734"/>
                  <a:gd name="connsiteX4" fmla="*/ 270734 w 299507"/>
                  <a:gd name="connsiteY4" fmla="*/ 58980 h 299734"/>
                  <a:gd name="connsiteX5" fmla="*/ 240528 w 299507"/>
                  <a:gd name="connsiteY5" fmla="*/ 28774 h 299734"/>
                  <a:gd name="connsiteX6" fmla="*/ 214369 w 299507"/>
                  <a:gd name="connsiteY6" fmla="*/ 47315 h 299734"/>
                  <a:gd name="connsiteX7" fmla="*/ 176295 w 299507"/>
                  <a:gd name="connsiteY7" fmla="*/ 31579 h 299734"/>
                  <a:gd name="connsiteX8" fmla="*/ 171101 w 299507"/>
                  <a:gd name="connsiteY8" fmla="*/ 0 h 299734"/>
                  <a:gd name="connsiteX9" fmla="*/ 128371 w 299507"/>
                  <a:gd name="connsiteY9" fmla="*/ 0 h 299734"/>
                  <a:gd name="connsiteX10" fmla="*/ 123189 w 299507"/>
                  <a:gd name="connsiteY10" fmla="*/ 31579 h 299734"/>
                  <a:gd name="connsiteX11" fmla="*/ 85151 w 299507"/>
                  <a:gd name="connsiteY11" fmla="*/ 47327 h 299734"/>
                  <a:gd name="connsiteX12" fmla="*/ 58956 w 299507"/>
                  <a:gd name="connsiteY12" fmla="*/ 28750 h 299734"/>
                  <a:gd name="connsiteX13" fmla="*/ 28750 w 299507"/>
                  <a:gd name="connsiteY13" fmla="*/ 58956 h 299734"/>
                  <a:gd name="connsiteX14" fmla="*/ 47303 w 299507"/>
                  <a:gd name="connsiteY14" fmla="*/ 85115 h 299734"/>
                  <a:gd name="connsiteX15" fmla="*/ 31508 w 299507"/>
                  <a:gd name="connsiteY15" fmla="*/ 123034 h 299734"/>
                  <a:gd name="connsiteX16" fmla="*/ 0 w 299507"/>
                  <a:gd name="connsiteY16" fmla="*/ 128490 h 299734"/>
                  <a:gd name="connsiteX17" fmla="*/ 0 w 299507"/>
                  <a:gd name="connsiteY17" fmla="*/ 171340 h 299734"/>
                  <a:gd name="connsiteX18" fmla="*/ 31496 w 299507"/>
                  <a:gd name="connsiteY18" fmla="*/ 176509 h 299734"/>
                  <a:gd name="connsiteX19" fmla="*/ 47291 w 299507"/>
                  <a:gd name="connsiteY19" fmla="*/ 214608 h 299734"/>
                  <a:gd name="connsiteX20" fmla="*/ 28750 w 299507"/>
                  <a:gd name="connsiteY20" fmla="*/ 240754 h 299734"/>
                  <a:gd name="connsiteX21" fmla="*/ 58956 w 299507"/>
                  <a:gd name="connsiteY21" fmla="*/ 270961 h 299734"/>
                  <a:gd name="connsiteX22" fmla="*/ 85127 w 299507"/>
                  <a:gd name="connsiteY22" fmla="*/ 252407 h 299734"/>
                  <a:gd name="connsiteX23" fmla="*/ 123189 w 299507"/>
                  <a:gd name="connsiteY23" fmla="*/ 268131 h 299734"/>
                  <a:gd name="connsiteX24" fmla="*/ 128371 w 299507"/>
                  <a:gd name="connsiteY24" fmla="*/ 299734 h 299734"/>
                  <a:gd name="connsiteX25" fmla="*/ 171113 w 299507"/>
                  <a:gd name="connsiteY25" fmla="*/ 299734 h 299734"/>
                  <a:gd name="connsiteX26" fmla="*/ 176306 w 299507"/>
                  <a:gd name="connsiteY26" fmla="*/ 268131 h 299734"/>
                  <a:gd name="connsiteX27" fmla="*/ 214357 w 299507"/>
                  <a:gd name="connsiteY27" fmla="*/ 252419 h 299734"/>
                  <a:gd name="connsiteX28" fmla="*/ 240540 w 299507"/>
                  <a:gd name="connsiteY28" fmla="*/ 270973 h 299734"/>
                  <a:gd name="connsiteX29" fmla="*/ 270746 w 299507"/>
                  <a:gd name="connsiteY29" fmla="*/ 240766 h 299734"/>
                  <a:gd name="connsiteX30" fmla="*/ 252204 w 299507"/>
                  <a:gd name="connsiteY30" fmla="*/ 214631 h 299734"/>
                  <a:gd name="connsiteX31" fmla="*/ 267964 w 299507"/>
                  <a:gd name="connsiteY31" fmla="*/ 176724 h 299734"/>
                  <a:gd name="connsiteX32" fmla="*/ 299507 w 299507"/>
                  <a:gd name="connsiteY32" fmla="*/ 171364 h 2997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</a:cxnLst>
                <a:rect l="l" t="t" r="r" b="b"/>
                <a:pathLst>
                  <a:path w="299507" h="299734">
                    <a:moveTo>
                      <a:pt x="299483" y="171352"/>
                    </a:moveTo>
                    <a:lnTo>
                      <a:pt x="299483" y="128502"/>
                    </a:lnTo>
                    <a:lnTo>
                      <a:pt x="268000" y="123237"/>
                    </a:lnTo>
                    <a:cubicBezTo>
                      <a:pt x="264919" y="109495"/>
                      <a:pt x="259511" y="96636"/>
                      <a:pt x="252204" y="85103"/>
                    </a:cubicBezTo>
                    <a:lnTo>
                      <a:pt x="270734" y="58980"/>
                    </a:lnTo>
                    <a:lnTo>
                      <a:pt x="240528" y="28774"/>
                    </a:lnTo>
                    <a:lnTo>
                      <a:pt x="214369" y="47315"/>
                    </a:lnTo>
                    <a:cubicBezTo>
                      <a:pt x="202835" y="40032"/>
                      <a:pt x="190001" y="34648"/>
                      <a:pt x="176295" y="31579"/>
                    </a:cubicBezTo>
                    <a:lnTo>
                      <a:pt x="171101" y="0"/>
                    </a:lnTo>
                    <a:lnTo>
                      <a:pt x="128371" y="0"/>
                    </a:lnTo>
                    <a:lnTo>
                      <a:pt x="123189" y="31579"/>
                    </a:lnTo>
                    <a:cubicBezTo>
                      <a:pt x="109483" y="34648"/>
                      <a:pt x="96672" y="40056"/>
                      <a:pt x="85151" y="47327"/>
                    </a:cubicBezTo>
                    <a:lnTo>
                      <a:pt x="58956" y="28750"/>
                    </a:lnTo>
                    <a:lnTo>
                      <a:pt x="28750" y="58956"/>
                    </a:lnTo>
                    <a:lnTo>
                      <a:pt x="47303" y="85115"/>
                    </a:lnTo>
                    <a:cubicBezTo>
                      <a:pt x="40032" y="96600"/>
                      <a:pt x="34588" y="109363"/>
                      <a:pt x="31508" y="123034"/>
                    </a:cubicBezTo>
                    <a:lnTo>
                      <a:pt x="0" y="128490"/>
                    </a:lnTo>
                    <a:lnTo>
                      <a:pt x="0" y="171340"/>
                    </a:lnTo>
                    <a:lnTo>
                      <a:pt x="31496" y="176509"/>
                    </a:lnTo>
                    <a:cubicBezTo>
                      <a:pt x="34576" y="190240"/>
                      <a:pt x="39984" y="203074"/>
                      <a:pt x="47291" y="214608"/>
                    </a:cubicBezTo>
                    <a:lnTo>
                      <a:pt x="28750" y="240754"/>
                    </a:lnTo>
                    <a:lnTo>
                      <a:pt x="58956" y="270961"/>
                    </a:lnTo>
                    <a:lnTo>
                      <a:pt x="85127" y="252407"/>
                    </a:lnTo>
                    <a:cubicBezTo>
                      <a:pt x="96648" y="259678"/>
                      <a:pt x="109471" y="265063"/>
                      <a:pt x="123189" y="268131"/>
                    </a:cubicBezTo>
                    <a:lnTo>
                      <a:pt x="128371" y="299734"/>
                    </a:lnTo>
                    <a:lnTo>
                      <a:pt x="171113" y="299734"/>
                    </a:lnTo>
                    <a:lnTo>
                      <a:pt x="176306" y="268131"/>
                    </a:lnTo>
                    <a:cubicBezTo>
                      <a:pt x="190013" y="265063"/>
                      <a:pt x="202835" y="259690"/>
                      <a:pt x="214357" y="252419"/>
                    </a:cubicBezTo>
                    <a:lnTo>
                      <a:pt x="240540" y="270973"/>
                    </a:lnTo>
                    <a:lnTo>
                      <a:pt x="270746" y="240766"/>
                    </a:lnTo>
                    <a:lnTo>
                      <a:pt x="252204" y="214631"/>
                    </a:lnTo>
                    <a:cubicBezTo>
                      <a:pt x="259475" y="203158"/>
                      <a:pt x="264872" y="190371"/>
                      <a:pt x="267964" y="176724"/>
                    </a:cubicBezTo>
                    <a:lnTo>
                      <a:pt x="299507" y="171364"/>
                    </a:lnTo>
                    <a:close/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753" name="Forma livre: Forma 1752">
              <a:extLst>
                <a:ext uri="{FF2B5EF4-FFF2-40B4-BE49-F238E27FC236}">
                  <a16:creationId xmlns:a16="http://schemas.microsoft.com/office/drawing/2014/main" id="{23E8F429-83FF-7816-4868-1E8056457541}"/>
                </a:ext>
              </a:extLst>
            </p:cNvPr>
            <p:cNvSpPr/>
            <p:nvPr/>
          </p:nvSpPr>
          <p:spPr>
            <a:xfrm>
              <a:off x="6304476" y="3671613"/>
              <a:ext cx="80112" cy="48497"/>
            </a:xfrm>
            <a:custGeom>
              <a:avLst/>
              <a:gdLst>
                <a:gd name="connsiteX0" fmla="*/ 80112 w 80112"/>
                <a:gd name="connsiteY0" fmla="*/ 0 h 48497"/>
                <a:gd name="connsiteX1" fmla="*/ 31615 w 80112"/>
                <a:gd name="connsiteY1" fmla="*/ 48497 h 48497"/>
                <a:gd name="connsiteX2" fmla="*/ 0 w 80112"/>
                <a:gd name="connsiteY2" fmla="*/ 18673 h 484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80112" h="48497">
                  <a:moveTo>
                    <a:pt x="80112" y="0"/>
                  </a:moveTo>
                  <a:lnTo>
                    <a:pt x="31615" y="48497"/>
                  </a:lnTo>
                  <a:lnTo>
                    <a:pt x="0" y="18673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754" name="Gráfico 17">
            <a:extLst>
              <a:ext uri="{FF2B5EF4-FFF2-40B4-BE49-F238E27FC236}">
                <a16:creationId xmlns:a16="http://schemas.microsoft.com/office/drawing/2014/main" id="{F85B3D46-464A-AF8B-A75A-8B91F2712F6E}"/>
              </a:ext>
            </a:extLst>
          </p:cNvPr>
          <p:cNvGrpSpPr/>
          <p:nvPr/>
        </p:nvGrpSpPr>
        <p:grpSpPr>
          <a:xfrm>
            <a:off x="7435586" y="3565736"/>
            <a:ext cx="293704" cy="293633"/>
            <a:chOff x="7435586" y="3565736"/>
            <a:chExt cx="293704" cy="293633"/>
          </a:xfrm>
          <a:noFill/>
        </p:grpSpPr>
        <p:grpSp>
          <p:nvGrpSpPr>
            <p:cNvPr id="1755" name="Gráfico 17">
              <a:extLst>
                <a:ext uri="{FF2B5EF4-FFF2-40B4-BE49-F238E27FC236}">
                  <a16:creationId xmlns:a16="http://schemas.microsoft.com/office/drawing/2014/main" id="{1D264113-0684-0312-ED0D-C38E48EF8C30}"/>
                </a:ext>
              </a:extLst>
            </p:cNvPr>
            <p:cNvGrpSpPr/>
            <p:nvPr/>
          </p:nvGrpSpPr>
          <p:grpSpPr>
            <a:xfrm>
              <a:off x="7438009" y="3568828"/>
              <a:ext cx="286063" cy="286147"/>
              <a:chOff x="7438009" y="3568828"/>
              <a:chExt cx="286063" cy="286147"/>
            </a:xfrm>
            <a:noFill/>
          </p:grpSpPr>
          <p:sp>
            <p:nvSpPr>
              <p:cNvPr id="1756" name="Forma livre: Forma 1755">
                <a:extLst>
                  <a:ext uri="{FF2B5EF4-FFF2-40B4-BE49-F238E27FC236}">
                    <a16:creationId xmlns:a16="http://schemas.microsoft.com/office/drawing/2014/main" id="{35CCDD74-9F0C-FBB3-7C10-A2017BA1E518}"/>
                  </a:ext>
                </a:extLst>
              </p:cNvPr>
              <p:cNvSpPr/>
              <p:nvPr/>
            </p:nvSpPr>
            <p:spPr>
              <a:xfrm>
                <a:off x="7582438" y="3818620"/>
                <a:ext cx="1193" cy="36354"/>
              </a:xfrm>
              <a:custGeom>
                <a:avLst/>
                <a:gdLst>
                  <a:gd name="connsiteX0" fmla="*/ 0 w 1193"/>
                  <a:gd name="connsiteY0" fmla="*/ 0 h 36354"/>
                  <a:gd name="connsiteX1" fmla="*/ 0 w 1193"/>
                  <a:gd name="connsiteY1" fmla="*/ 36355 h 363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3" h="36354">
                    <a:moveTo>
                      <a:pt x="0" y="0"/>
                    </a:moveTo>
                    <a:lnTo>
                      <a:pt x="0" y="36355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1757" name="Gráfico 17">
                <a:extLst>
                  <a:ext uri="{FF2B5EF4-FFF2-40B4-BE49-F238E27FC236}">
                    <a16:creationId xmlns:a16="http://schemas.microsoft.com/office/drawing/2014/main" id="{2A9A3E5B-0246-C9D1-1423-F0D60AB2112A}"/>
                  </a:ext>
                </a:extLst>
              </p:cNvPr>
              <p:cNvGrpSpPr/>
              <p:nvPr/>
            </p:nvGrpSpPr>
            <p:grpSpPr>
              <a:xfrm>
                <a:off x="7438009" y="3568828"/>
                <a:ext cx="286063" cy="143712"/>
                <a:chOff x="7438009" y="3568828"/>
                <a:chExt cx="286063" cy="143712"/>
              </a:xfrm>
              <a:noFill/>
            </p:grpSpPr>
            <p:sp>
              <p:nvSpPr>
                <p:cNvPr id="1758" name="Forma livre: Forma 1757">
                  <a:extLst>
                    <a:ext uri="{FF2B5EF4-FFF2-40B4-BE49-F238E27FC236}">
                      <a16:creationId xmlns:a16="http://schemas.microsoft.com/office/drawing/2014/main" id="{5039A7DA-6906-47C3-8C7F-58AD1D528952}"/>
                    </a:ext>
                  </a:extLst>
                </p:cNvPr>
                <p:cNvSpPr/>
                <p:nvPr/>
              </p:nvSpPr>
              <p:spPr>
                <a:xfrm>
                  <a:off x="7687718" y="3712540"/>
                  <a:ext cx="36354" cy="1193"/>
                </a:xfrm>
                <a:custGeom>
                  <a:avLst/>
                  <a:gdLst>
                    <a:gd name="connsiteX0" fmla="*/ 36355 w 36354"/>
                    <a:gd name="connsiteY0" fmla="*/ 0 h 1193"/>
                    <a:gd name="connsiteX1" fmla="*/ 0 w 36354"/>
                    <a:gd name="connsiteY1" fmla="*/ 0 h 119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36354" h="1193">
                      <a:moveTo>
                        <a:pt x="36355" y="0"/>
                      </a:moveTo>
                      <a:lnTo>
                        <a:pt x="0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759" name="Forma livre: Forma 1758">
                  <a:extLst>
                    <a:ext uri="{FF2B5EF4-FFF2-40B4-BE49-F238E27FC236}">
                      <a16:creationId xmlns:a16="http://schemas.microsoft.com/office/drawing/2014/main" id="{0B159064-13C1-B31C-300E-4638AB742F1C}"/>
                    </a:ext>
                  </a:extLst>
                </p:cNvPr>
                <p:cNvSpPr/>
                <p:nvPr/>
              </p:nvSpPr>
              <p:spPr>
                <a:xfrm>
                  <a:off x="7438009" y="3568828"/>
                  <a:ext cx="114270" cy="117004"/>
                </a:xfrm>
                <a:custGeom>
                  <a:avLst/>
                  <a:gdLst>
                    <a:gd name="connsiteX0" fmla="*/ 0 w 114270"/>
                    <a:gd name="connsiteY0" fmla="*/ 117004 h 117004"/>
                    <a:gd name="connsiteX1" fmla="*/ 114270 w 114270"/>
                    <a:gd name="connsiteY1" fmla="*/ 0 h 11700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14270" h="117004">
                      <a:moveTo>
                        <a:pt x="0" y="117004"/>
                      </a:moveTo>
                      <a:cubicBezTo>
                        <a:pt x="10757" y="58478"/>
                        <a:pt x="56222" y="12094"/>
                        <a:pt x="114270" y="0"/>
                      </a:cubicBez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1760" name="Forma livre: Forma 1759">
                <a:extLst>
                  <a:ext uri="{FF2B5EF4-FFF2-40B4-BE49-F238E27FC236}">
                    <a16:creationId xmlns:a16="http://schemas.microsoft.com/office/drawing/2014/main" id="{EE4B6AD0-EAA8-D1D9-5203-712B9473B310}"/>
                  </a:ext>
                </a:extLst>
              </p:cNvPr>
              <p:cNvSpPr/>
              <p:nvPr/>
            </p:nvSpPr>
            <p:spPr>
              <a:xfrm>
                <a:off x="7533404" y="3650886"/>
                <a:ext cx="125099" cy="75730"/>
              </a:xfrm>
              <a:custGeom>
                <a:avLst/>
                <a:gdLst>
                  <a:gd name="connsiteX0" fmla="*/ 125099 w 125099"/>
                  <a:gd name="connsiteY0" fmla="*/ 0 h 75730"/>
                  <a:gd name="connsiteX1" fmla="*/ 49381 w 125099"/>
                  <a:gd name="connsiteY1" fmla="*/ 75730 h 75730"/>
                  <a:gd name="connsiteX2" fmla="*/ 0 w 125099"/>
                  <a:gd name="connsiteY2" fmla="*/ 29048 h 757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25099" h="75730">
                    <a:moveTo>
                      <a:pt x="125099" y="0"/>
                    </a:moveTo>
                    <a:lnTo>
                      <a:pt x="49381" y="75730"/>
                    </a:lnTo>
                    <a:lnTo>
                      <a:pt x="0" y="29048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761" name="Forma livre: Forma 1760">
              <a:extLst>
                <a:ext uri="{FF2B5EF4-FFF2-40B4-BE49-F238E27FC236}">
                  <a16:creationId xmlns:a16="http://schemas.microsoft.com/office/drawing/2014/main" id="{D642F992-99D8-DDEF-DC37-81933B61CAA0}"/>
                </a:ext>
              </a:extLst>
            </p:cNvPr>
            <p:cNvSpPr/>
            <p:nvPr/>
          </p:nvSpPr>
          <p:spPr>
            <a:xfrm>
              <a:off x="7435586" y="3565736"/>
              <a:ext cx="293704" cy="293633"/>
            </a:xfrm>
            <a:custGeom>
              <a:avLst/>
              <a:gdLst>
                <a:gd name="connsiteX0" fmla="*/ 39996 w 293704"/>
                <a:gd name="connsiteY0" fmla="*/ 146817 h 293633"/>
                <a:gd name="connsiteX1" fmla="*/ 0 w 293704"/>
                <a:gd name="connsiteY1" fmla="*/ 146817 h 293633"/>
                <a:gd name="connsiteX2" fmla="*/ 146829 w 293704"/>
                <a:gd name="connsiteY2" fmla="*/ 293633 h 293633"/>
                <a:gd name="connsiteX3" fmla="*/ 293705 w 293704"/>
                <a:gd name="connsiteY3" fmla="*/ 146817 h 293633"/>
                <a:gd name="connsiteX4" fmla="*/ 146840 w 293704"/>
                <a:gd name="connsiteY4" fmla="*/ 0 h 293633"/>
                <a:gd name="connsiteX5" fmla="*/ 146840 w 293704"/>
                <a:gd name="connsiteY5" fmla="*/ 40737 h 2936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93704" h="293633">
                  <a:moveTo>
                    <a:pt x="39996" y="146817"/>
                  </a:moveTo>
                  <a:lnTo>
                    <a:pt x="0" y="146817"/>
                  </a:lnTo>
                  <a:cubicBezTo>
                    <a:pt x="0" y="227896"/>
                    <a:pt x="65725" y="293633"/>
                    <a:pt x="146829" y="293633"/>
                  </a:cubicBezTo>
                  <a:cubicBezTo>
                    <a:pt x="227932" y="293633"/>
                    <a:pt x="293705" y="227908"/>
                    <a:pt x="293705" y="146817"/>
                  </a:cubicBezTo>
                  <a:cubicBezTo>
                    <a:pt x="293705" y="65725"/>
                    <a:pt x="227980" y="0"/>
                    <a:pt x="146840" y="0"/>
                  </a:cubicBezTo>
                  <a:lnTo>
                    <a:pt x="146840" y="40737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762" name="Gráfico 17">
            <a:extLst>
              <a:ext uri="{FF2B5EF4-FFF2-40B4-BE49-F238E27FC236}">
                <a16:creationId xmlns:a16="http://schemas.microsoft.com/office/drawing/2014/main" id="{A5952320-828E-2963-25E9-97509B576E99}"/>
              </a:ext>
            </a:extLst>
          </p:cNvPr>
          <p:cNvGrpSpPr/>
          <p:nvPr/>
        </p:nvGrpSpPr>
        <p:grpSpPr>
          <a:xfrm>
            <a:off x="6782713" y="3617277"/>
            <a:ext cx="353472" cy="190538"/>
            <a:chOff x="6782713" y="3617277"/>
            <a:chExt cx="353472" cy="190538"/>
          </a:xfrm>
          <a:noFill/>
        </p:grpSpPr>
        <p:sp>
          <p:nvSpPr>
            <p:cNvPr id="1763" name="Forma livre: Forma 1762">
              <a:extLst>
                <a:ext uri="{FF2B5EF4-FFF2-40B4-BE49-F238E27FC236}">
                  <a16:creationId xmlns:a16="http://schemas.microsoft.com/office/drawing/2014/main" id="{6C73D3AE-1CBA-0B09-D0E2-3906F51C2A2E}"/>
                </a:ext>
              </a:extLst>
            </p:cNvPr>
            <p:cNvSpPr/>
            <p:nvPr/>
          </p:nvSpPr>
          <p:spPr>
            <a:xfrm>
              <a:off x="7117525" y="3664724"/>
              <a:ext cx="18661" cy="59349"/>
            </a:xfrm>
            <a:custGeom>
              <a:avLst/>
              <a:gdLst>
                <a:gd name="connsiteX0" fmla="*/ 0 w 18661"/>
                <a:gd name="connsiteY0" fmla="*/ 0 h 59349"/>
                <a:gd name="connsiteX1" fmla="*/ 18661 w 18661"/>
                <a:gd name="connsiteY1" fmla="*/ 0 h 59349"/>
                <a:gd name="connsiteX2" fmla="*/ 18661 w 18661"/>
                <a:gd name="connsiteY2" fmla="*/ 59350 h 59349"/>
                <a:gd name="connsiteX3" fmla="*/ 203 w 18661"/>
                <a:gd name="connsiteY3" fmla="*/ 59350 h 593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661" h="59349">
                  <a:moveTo>
                    <a:pt x="0" y="0"/>
                  </a:moveTo>
                  <a:lnTo>
                    <a:pt x="18661" y="0"/>
                  </a:lnTo>
                  <a:lnTo>
                    <a:pt x="18661" y="59350"/>
                  </a:lnTo>
                  <a:lnTo>
                    <a:pt x="203" y="5935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64" name="Forma livre: Forma 1763">
              <a:extLst>
                <a:ext uri="{FF2B5EF4-FFF2-40B4-BE49-F238E27FC236}">
                  <a16:creationId xmlns:a16="http://schemas.microsoft.com/office/drawing/2014/main" id="{513CA943-BB31-2028-D410-1D179CDF5880}"/>
                </a:ext>
              </a:extLst>
            </p:cNvPr>
            <p:cNvSpPr/>
            <p:nvPr/>
          </p:nvSpPr>
          <p:spPr>
            <a:xfrm>
              <a:off x="6829694" y="3771054"/>
              <a:ext cx="222547" cy="36760"/>
            </a:xfrm>
            <a:custGeom>
              <a:avLst/>
              <a:gdLst>
                <a:gd name="connsiteX0" fmla="*/ 222547 w 222547"/>
                <a:gd name="connsiteY0" fmla="*/ 0 h 36760"/>
                <a:gd name="connsiteX1" fmla="*/ 222547 w 222547"/>
                <a:gd name="connsiteY1" fmla="*/ 36761 h 36760"/>
                <a:gd name="connsiteX2" fmla="*/ 0 w 222547"/>
                <a:gd name="connsiteY2" fmla="*/ 36761 h 36760"/>
                <a:gd name="connsiteX3" fmla="*/ 0 w 222547"/>
                <a:gd name="connsiteY3" fmla="*/ 18004 h 367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22547" h="36760">
                  <a:moveTo>
                    <a:pt x="222547" y="0"/>
                  </a:moveTo>
                  <a:lnTo>
                    <a:pt x="222547" y="36761"/>
                  </a:lnTo>
                  <a:lnTo>
                    <a:pt x="0" y="36761"/>
                  </a:lnTo>
                  <a:lnTo>
                    <a:pt x="0" y="18004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65" name="Forma livre: Forma 1764">
              <a:extLst>
                <a:ext uri="{FF2B5EF4-FFF2-40B4-BE49-F238E27FC236}">
                  <a16:creationId xmlns:a16="http://schemas.microsoft.com/office/drawing/2014/main" id="{4C4C9C5A-8797-F1B8-69AC-5CA5F5DBB050}"/>
                </a:ext>
              </a:extLst>
            </p:cNvPr>
            <p:cNvSpPr/>
            <p:nvPr/>
          </p:nvSpPr>
          <p:spPr>
            <a:xfrm>
              <a:off x="6782713" y="3617277"/>
              <a:ext cx="316508" cy="153323"/>
            </a:xfrm>
            <a:custGeom>
              <a:avLst/>
              <a:gdLst>
                <a:gd name="connsiteX0" fmla="*/ 34612 w 316508"/>
                <a:gd name="connsiteY0" fmla="*/ 0 h 153323"/>
                <a:gd name="connsiteX1" fmla="*/ 281885 w 316508"/>
                <a:gd name="connsiteY1" fmla="*/ 0 h 153323"/>
                <a:gd name="connsiteX2" fmla="*/ 316509 w 316508"/>
                <a:gd name="connsiteY2" fmla="*/ 34624 h 153323"/>
                <a:gd name="connsiteX3" fmla="*/ 316509 w 316508"/>
                <a:gd name="connsiteY3" fmla="*/ 118700 h 153323"/>
                <a:gd name="connsiteX4" fmla="*/ 281885 w 316508"/>
                <a:gd name="connsiteY4" fmla="*/ 153323 h 153323"/>
                <a:gd name="connsiteX5" fmla="*/ 34612 w 316508"/>
                <a:gd name="connsiteY5" fmla="*/ 153323 h 153323"/>
                <a:gd name="connsiteX6" fmla="*/ 0 w 316508"/>
                <a:gd name="connsiteY6" fmla="*/ 118712 h 153323"/>
                <a:gd name="connsiteX7" fmla="*/ 0 w 316508"/>
                <a:gd name="connsiteY7" fmla="*/ 34636 h 153323"/>
                <a:gd name="connsiteX8" fmla="*/ 34624 w 316508"/>
                <a:gd name="connsiteY8" fmla="*/ 12 h 1533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16508" h="153323">
                  <a:moveTo>
                    <a:pt x="34612" y="0"/>
                  </a:moveTo>
                  <a:lnTo>
                    <a:pt x="281885" y="0"/>
                  </a:lnTo>
                  <a:cubicBezTo>
                    <a:pt x="300988" y="0"/>
                    <a:pt x="316509" y="15509"/>
                    <a:pt x="316509" y="34624"/>
                  </a:cubicBezTo>
                  <a:lnTo>
                    <a:pt x="316509" y="118700"/>
                  </a:lnTo>
                  <a:cubicBezTo>
                    <a:pt x="316509" y="137803"/>
                    <a:pt x="301000" y="153323"/>
                    <a:pt x="281885" y="153323"/>
                  </a:cubicBezTo>
                  <a:lnTo>
                    <a:pt x="34612" y="153323"/>
                  </a:lnTo>
                  <a:cubicBezTo>
                    <a:pt x="15509" y="153323"/>
                    <a:pt x="0" y="137814"/>
                    <a:pt x="0" y="118712"/>
                  </a:cubicBezTo>
                  <a:lnTo>
                    <a:pt x="0" y="34636"/>
                  </a:lnTo>
                  <a:cubicBezTo>
                    <a:pt x="0" y="15533"/>
                    <a:pt x="15509" y="12"/>
                    <a:pt x="34624" y="12"/>
                  </a:cubicBez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766" name="Gráfico 17">
              <a:extLst>
                <a:ext uri="{FF2B5EF4-FFF2-40B4-BE49-F238E27FC236}">
                  <a16:creationId xmlns:a16="http://schemas.microsoft.com/office/drawing/2014/main" id="{5EA0A35E-6C74-5DE5-E398-B12E237B4B71}"/>
                </a:ext>
              </a:extLst>
            </p:cNvPr>
            <p:cNvGrpSpPr/>
            <p:nvPr/>
          </p:nvGrpSpPr>
          <p:grpSpPr>
            <a:xfrm>
              <a:off x="6824489" y="3655196"/>
              <a:ext cx="232946" cy="86439"/>
              <a:chOff x="6824489" y="3655196"/>
              <a:chExt cx="232946" cy="86439"/>
            </a:xfrm>
            <a:noFill/>
          </p:grpSpPr>
          <p:sp>
            <p:nvSpPr>
              <p:cNvPr id="1767" name="Forma livre: Forma 1766">
                <a:extLst>
                  <a:ext uri="{FF2B5EF4-FFF2-40B4-BE49-F238E27FC236}">
                    <a16:creationId xmlns:a16="http://schemas.microsoft.com/office/drawing/2014/main" id="{0E8FD74F-6294-667F-11F0-8D1244648B31}"/>
                  </a:ext>
                </a:extLst>
              </p:cNvPr>
              <p:cNvSpPr/>
              <p:nvPr/>
            </p:nvSpPr>
            <p:spPr>
              <a:xfrm>
                <a:off x="6824489" y="3655196"/>
                <a:ext cx="30492" cy="79133"/>
              </a:xfrm>
              <a:custGeom>
                <a:avLst/>
                <a:gdLst>
                  <a:gd name="connsiteX0" fmla="*/ 0 w 30492"/>
                  <a:gd name="connsiteY0" fmla="*/ 0 h 79133"/>
                  <a:gd name="connsiteX1" fmla="*/ 30493 w 30492"/>
                  <a:gd name="connsiteY1" fmla="*/ 0 h 79133"/>
                  <a:gd name="connsiteX2" fmla="*/ 30493 w 30492"/>
                  <a:gd name="connsiteY2" fmla="*/ 79133 h 79133"/>
                  <a:gd name="connsiteX3" fmla="*/ 0 w 30492"/>
                  <a:gd name="connsiteY3" fmla="*/ 79133 h 791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0492" h="79133">
                    <a:moveTo>
                      <a:pt x="0" y="0"/>
                    </a:moveTo>
                    <a:lnTo>
                      <a:pt x="30493" y="0"/>
                    </a:lnTo>
                    <a:lnTo>
                      <a:pt x="30493" y="79133"/>
                    </a:lnTo>
                    <a:lnTo>
                      <a:pt x="0" y="79133"/>
                    </a:lnTo>
                    <a:close/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768" name="Forma livre: Forma 1767">
                <a:extLst>
                  <a:ext uri="{FF2B5EF4-FFF2-40B4-BE49-F238E27FC236}">
                    <a16:creationId xmlns:a16="http://schemas.microsoft.com/office/drawing/2014/main" id="{4DD59AEE-7EA2-FA5B-EC02-F614CE1E9F17}"/>
                  </a:ext>
                </a:extLst>
              </p:cNvPr>
              <p:cNvSpPr/>
              <p:nvPr/>
            </p:nvSpPr>
            <p:spPr>
              <a:xfrm>
                <a:off x="6875469" y="3655196"/>
                <a:ext cx="37548" cy="86439"/>
              </a:xfrm>
              <a:custGeom>
                <a:avLst/>
                <a:gdLst>
                  <a:gd name="connsiteX0" fmla="*/ 0 w 37548"/>
                  <a:gd name="connsiteY0" fmla="*/ 0 h 86439"/>
                  <a:gd name="connsiteX1" fmla="*/ 37549 w 37548"/>
                  <a:gd name="connsiteY1" fmla="*/ 0 h 86439"/>
                  <a:gd name="connsiteX2" fmla="*/ 37549 w 37548"/>
                  <a:gd name="connsiteY2" fmla="*/ 86440 h 864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7548" h="86439">
                    <a:moveTo>
                      <a:pt x="0" y="0"/>
                    </a:moveTo>
                    <a:lnTo>
                      <a:pt x="37549" y="0"/>
                    </a:lnTo>
                    <a:lnTo>
                      <a:pt x="37549" y="8644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769" name="Forma livre: Forma 1768">
                <a:extLst>
                  <a:ext uri="{FF2B5EF4-FFF2-40B4-BE49-F238E27FC236}">
                    <a16:creationId xmlns:a16="http://schemas.microsoft.com/office/drawing/2014/main" id="{6FD8295E-D031-8659-A54F-034C151D8776}"/>
                  </a:ext>
                </a:extLst>
              </p:cNvPr>
              <p:cNvSpPr/>
              <p:nvPr/>
            </p:nvSpPr>
            <p:spPr>
              <a:xfrm>
                <a:off x="7026942" y="3655196"/>
                <a:ext cx="30492" cy="79133"/>
              </a:xfrm>
              <a:custGeom>
                <a:avLst/>
                <a:gdLst>
                  <a:gd name="connsiteX0" fmla="*/ 0 w 30492"/>
                  <a:gd name="connsiteY0" fmla="*/ 0 h 79133"/>
                  <a:gd name="connsiteX1" fmla="*/ 30493 w 30492"/>
                  <a:gd name="connsiteY1" fmla="*/ 0 h 79133"/>
                  <a:gd name="connsiteX2" fmla="*/ 30493 w 30492"/>
                  <a:gd name="connsiteY2" fmla="*/ 79133 h 79133"/>
                  <a:gd name="connsiteX3" fmla="*/ 0 w 30492"/>
                  <a:gd name="connsiteY3" fmla="*/ 79133 h 791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0492" h="79133">
                    <a:moveTo>
                      <a:pt x="0" y="0"/>
                    </a:moveTo>
                    <a:lnTo>
                      <a:pt x="30493" y="0"/>
                    </a:lnTo>
                    <a:lnTo>
                      <a:pt x="30493" y="79133"/>
                    </a:lnTo>
                    <a:lnTo>
                      <a:pt x="0" y="79133"/>
                    </a:lnTo>
                    <a:close/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1770" name="Gráfico 17">
                <a:extLst>
                  <a:ext uri="{FF2B5EF4-FFF2-40B4-BE49-F238E27FC236}">
                    <a16:creationId xmlns:a16="http://schemas.microsoft.com/office/drawing/2014/main" id="{1D2B4B23-EE7B-E69C-9D75-CF0683C4C953}"/>
                  </a:ext>
                </a:extLst>
              </p:cNvPr>
              <p:cNvGrpSpPr/>
              <p:nvPr/>
            </p:nvGrpSpPr>
            <p:grpSpPr>
              <a:xfrm>
                <a:off x="6961479" y="3655196"/>
                <a:ext cx="37918" cy="79133"/>
                <a:chOff x="6961479" y="3655196"/>
                <a:chExt cx="37918" cy="79133"/>
              </a:xfrm>
              <a:noFill/>
            </p:grpSpPr>
            <p:sp>
              <p:nvSpPr>
                <p:cNvPr id="1771" name="Forma livre: Forma 1770">
                  <a:extLst>
                    <a:ext uri="{FF2B5EF4-FFF2-40B4-BE49-F238E27FC236}">
                      <a16:creationId xmlns:a16="http://schemas.microsoft.com/office/drawing/2014/main" id="{D451E945-FD87-D2BF-E92A-7C6CABECA898}"/>
                    </a:ext>
                  </a:extLst>
                </p:cNvPr>
                <p:cNvSpPr/>
                <p:nvPr/>
              </p:nvSpPr>
              <p:spPr>
                <a:xfrm>
                  <a:off x="6961479" y="3655196"/>
                  <a:ext cx="37918" cy="79133"/>
                </a:xfrm>
                <a:custGeom>
                  <a:avLst/>
                  <a:gdLst>
                    <a:gd name="connsiteX0" fmla="*/ 0 w 37918"/>
                    <a:gd name="connsiteY0" fmla="*/ 0 h 79133"/>
                    <a:gd name="connsiteX1" fmla="*/ 37919 w 37918"/>
                    <a:gd name="connsiteY1" fmla="*/ 0 h 79133"/>
                    <a:gd name="connsiteX2" fmla="*/ 37919 w 37918"/>
                    <a:gd name="connsiteY2" fmla="*/ 79133 h 79133"/>
                    <a:gd name="connsiteX3" fmla="*/ 0 w 37918"/>
                    <a:gd name="connsiteY3" fmla="*/ 79133 h 791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37918" h="79133">
                      <a:moveTo>
                        <a:pt x="0" y="0"/>
                      </a:moveTo>
                      <a:lnTo>
                        <a:pt x="37919" y="0"/>
                      </a:lnTo>
                      <a:lnTo>
                        <a:pt x="37919" y="79133"/>
                      </a:lnTo>
                      <a:lnTo>
                        <a:pt x="0" y="79133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772" name="Forma livre: Forma 1771">
                  <a:extLst>
                    <a:ext uri="{FF2B5EF4-FFF2-40B4-BE49-F238E27FC236}">
                      <a16:creationId xmlns:a16="http://schemas.microsoft.com/office/drawing/2014/main" id="{BE609882-1410-4EB8-9443-86648340834E}"/>
                    </a:ext>
                  </a:extLst>
                </p:cNvPr>
                <p:cNvSpPr/>
                <p:nvPr/>
              </p:nvSpPr>
              <p:spPr>
                <a:xfrm>
                  <a:off x="6961479" y="3693736"/>
                  <a:ext cx="37632" cy="1193"/>
                </a:xfrm>
                <a:custGeom>
                  <a:avLst/>
                  <a:gdLst>
                    <a:gd name="connsiteX0" fmla="*/ 0 w 37632"/>
                    <a:gd name="connsiteY0" fmla="*/ 0 h 1193"/>
                    <a:gd name="connsiteX1" fmla="*/ 37632 w 37632"/>
                    <a:gd name="connsiteY1" fmla="*/ 0 h 119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37632" h="1193">
                      <a:moveTo>
                        <a:pt x="0" y="0"/>
                      </a:moveTo>
                      <a:lnTo>
                        <a:pt x="37632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1773" name="Gráfico 17">
                <a:extLst>
                  <a:ext uri="{FF2B5EF4-FFF2-40B4-BE49-F238E27FC236}">
                    <a16:creationId xmlns:a16="http://schemas.microsoft.com/office/drawing/2014/main" id="{90D141DE-E3FC-26F3-BA00-EBC33DE14647}"/>
                  </a:ext>
                </a:extLst>
              </p:cNvPr>
              <p:cNvGrpSpPr/>
              <p:nvPr/>
            </p:nvGrpSpPr>
            <p:grpSpPr>
              <a:xfrm>
                <a:off x="6940753" y="3662407"/>
                <a:ext cx="1193" cy="64233"/>
                <a:chOff x="6940753" y="3662407"/>
                <a:chExt cx="1193" cy="64233"/>
              </a:xfrm>
            </p:grpSpPr>
            <p:sp>
              <p:nvSpPr>
                <p:cNvPr id="1774" name="Forma livre: Forma 1773">
                  <a:extLst>
                    <a:ext uri="{FF2B5EF4-FFF2-40B4-BE49-F238E27FC236}">
                      <a16:creationId xmlns:a16="http://schemas.microsoft.com/office/drawing/2014/main" id="{54E4A9A6-B405-D19A-9608-FFAC8F2B1FB1}"/>
                    </a:ext>
                  </a:extLst>
                </p:cNvPr>
                <p:cNvSpPr/>
                <p:nvPr/>
              </p:nvSpPr>
              <p:spPr>
                <a:xfrm>
                  <a:off x="6940753" y="3662407"/>
                  <a:ext cx="1193" cy="24678"/>
                </a:xfrm>
                <a:custGeom>
                  <a:avLst/>
                  <a:gdLst>
                    <a:gd name="connsiteX0" fmla="*/ 0 w 1193"/>
                    <a:gd name="connsiteY0" fmla="*/ 0 h 24678"/>
                    <a:gd name="connsiteX1" fmla="*/ 0 w 1193"/>
                    <a:gd name="connsiteY1" fmla="*/ 24678 h 246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193" h="24678">
                      <a:moveTo>
                        <a:pt x="0" y="0"/>
                      </a:moveTo>
                      <a:lnTo>
                        <a:pt x="0" y="24678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775" name="Forma livre: Forma 1774">
                  <a:extLst>
                    <a:ext uri="{FF2B5EF4-FFF2-40B4-BE49-F238E27FC236}">
                      <a16:creationId xmlns:a16="http://schemas.microsoft.com/office/drawing/2014/main" id="{6D7575DE-BA3F-2BDF-908F-DCF110435D7B}"/>
                    </a:ext>
                  </a:extLst>
                </p:cNvPr>
                <p:cNvSpPr/>
                <p:nvPr/>
              </p:nvSpPr>
              <p:spPr>
                <a:xfrm>
                  <a:off x="6940753" y="3701962"/>
                  <a:ext cx="1193" cy="24678"/>
                </a:xfrm>
                <a:custGeom>
                  <a:avLst/>
                  <a:gdLst>
                    <a:gd name="connsiteX0" fmla="*/ 0 w 1193"/>
                    <a:gd name="connsiteY0" fmla="*/ 0 h 24678"/>
                    <a:gd name="connsiteX1" fmla="*/ 0 w 1193"/>
                    <a:gd name="connsiteY1" fmla="*/ 24678 h 246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193" h="24678">
                      <a:moveTo>
                        <a:pt x="0" y="0"/>
                      </a:moveTo>
                      <a:lnTo>
                        <a:pt x="0" y="24678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</p:grpSp>
      <p:grpSp>
        <p:nvGrpSpPr>
          <p:cNvPr id="1776" name="Gráfico 17">
            <a:extLst>
              <a:ext uri="{FF2B5EF4-FFF2-40B4-BE49-F238E27FC236}">
                <a16:creationId xmlns:a16="http://schemas.microsoft.com/office/drawing/2014/main" id="{D72D1267-0197-40D0-499B-7DEC4DD88A03}"/>
              </a:ext>
            </a:extLst>
          </p:cNvPr>
          <p:cNvGrpSpPr/>
          <p:nvPr/>
        </p:nvGrpSpPr>
        <p:grpSpPr>
          <a:xfrm>
            <a:off x="6234034" y="5726496"/>
            <a:ext cx="204853" cy="256681"/>
            <a:chOff x="6234034" y="5726496"/>
            <a:chExt cx="204853" cy="256681"/>
          </a:xfrm>
          <a:noFill/>
        </p:grpSpPr>
        <p:grpSp>
          <p:nvGrpSpPr>
            <p:cNvPr id="1777" name="Gráfico 17">
              <a:extLst>
                <a:ext uri="{FF2B5EF4-FFF2-40B4-BE49-F238E27FC236}">
                  <a16:creationId xmlns:a16="http://schemas.microsoft.com/office/drawing/2014/main" id="{F38FA255-CEB4-467D-63DA-59A4A47F92E3}"/>
                </a:ext>
              </a:extLst>
            </p:cNvPr>
            <p:cNvGrpSpPr/>
            <p:nvPr/>
          </p:nvGrpSpPr>
          <p:grpSpPr>
            <a:xfrm>
              <a:off x="6235180" y="5726496"/>
              <a:ext cx="201474" cy="256144"/>
              <a:chOff x="6235180" y="5726496"/>
              <a:chExt cx="201474" cy="256144"/>
            </a:xfrm>
            <a:noFill/>
          </p:grpSpPr>
          <p:grpSp>
            <p:nvGrpSpPr>
              <p:cNvPr id="1778" name="Gráfico 17">
                <a:extLst>
                  <a:ext uri="{FF2B5EF4-FFF2-40B4-BE49-F238E27FC236}">
                    <a16:creationId xmlns:a16="http://schemas.microsoft.com/office/drawing/2014/main" id="{B261446D-C7AA-8FDE-6753-EC994412BBEA}"/>
                  </a:ext>
                </a:extLst>
              </p:cNvPr>
              <p:cNvGrpSpPr/>
              <p:nvPr/>
            </p:nvGrpSpPr>
            <p:grpSpPr>
              <a:xfrm>
                <a:off x="6235180" y="5726496"/>
                <a:ext cx="201474" cy="256144"/>
                <a:chOff x="6235180" y="5726496"/>
                <a:chExt cx="201474" cy="256144"/>
              </a:xfrm>
              <a:noFill/>
            </p:grpSpPr>
            <p:sp>
              <p:nvSpPr>
                <p:cNvPr id="1779" name="Forma livre: Forma 1778">
                  <a:extLst>
                    <a:ext uri="{FF2B5EF4-FFF2-40B4-BE49-F238E27FC236}">
                      <a16:creationId xmlns:a16="http://schemas.microsoft.com/office/drawing/2014/main" id="{93DF6B9B-7977-013E-48A2-F6072D8B0C24}"/>
                    </a:ext>
                  </a:extLst>
                </p:cNvPr>
                <p:cNvSpPr/>
                <p:nvPr/>
              </p:nvSpPr>
              <p:spPr>
                <a:xfrm>
                  <a:off x="6287495" y="5916139"/>
                  <a:ext cx="96842" cy="65618"/>
                </a:xfrm>
                <a:custGeom>
                  <a:avLst/>
                  <a:gdLst>
                    <a:gd name="connsiteX0" fmla="*/ 3 w 96842"/>
                    <a:gd name="connsiteY0" fmla="*/ 65618 h 65618"/>
                    <a:gd name="connsiteX1" fmla="*/ 47784 w 96842"/>
                    <a:gd name="connsiteY1" fmla="*/ 0 h 65618"/>
                    <a:gd name="connsiteX2" fmla="*/ 96842 w 96842"/>
                    <a:gd name="connsiteY2" fmla="*/ 65618 h 6561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96842" h="65618">
                      <a:moveTo>
                        <a:pt x="3" y="65618"/>
                      </a:moveTo>
                      <a:cubicBezTo>
                        <a:pt x="-355" y="31090"/>
                        <a:pt x="30090" y="0"/>
                        <a:pt x="47784" y="0"/>
                      </a:cubicBezTo>
                      <a:cubicBezTo>
                        <a:pt x="65478" y="0"/>
                        <a:pt x="96484" y="31090"/>
                        <a:pt x="96842" y="65618"/>
                      </a:cubicBez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780" name="Forma livre: Forma 1779">
                  <a:extLst>
                    <a:ext uri="{FF2B5EF4-FFF2-40B4-BE49-F238E27FC236}">
                      <a16:creationId xmlns:a16="http://schemas.microsoft.com/office/drawing/2014/main" id="{FDD24A05-7EA7-3EAD-8F31-D74A13DEB6C3}"/>
                    </a:ext>
                  </a:extLst>
                </p:cNvPr>
                <p:cNvSpPr/>
                <p:nvPr/>
              </p:nvSpPr>
              <p:spPr>
                <a:xfrm>
                  <a:off x="6235180" y="5726496"/>
                  <a:ext cx="201474" cy="1193"/>
                </a:xfrm>
                <a:custGeom>
                  <a:avLst/>
                  <a:gdLst>
                    <a:gd name="connsiteX0" fmla="*/ 0 w 201474"/>
                    <a:gd name="connsiteY0" fmla="*/ 0 h 1193"/>
                    <a:gd name="connsiteX1" fmla="*/ 201474 w 201474"/>
                    <a:gd name="connsiteY1" fmla="*/ 0 h 119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01474" h="1193">
                      <a:moveTo>
                        <a:pt x="0" y="0"/>
                      </a:moveTo>
                      <a:lnTo>
                        <a:pt x="201474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781" name="Forma livre: Forma 1780">
                  <a:extLst>
                    <a:ext uri="{FF2B5EF4-FFF2-40B4-BE49-F238E27FC236}">
                      <a16:creationId xmlns:a16="http://schemas.microsoft.com/office/drawing/2014/main" id="{0A98E5E6-1EF9-6E95-C280-4F73E9CAA47B}"/>
                    </a:ext>
                  </a:extLst>
                </p:cNvPr>
                <p:cNvSpPr/>
                <p:nvPr/>
              </p:nvSpPr>
              <p:spPr>
                <a:xfrm>
                  <a:off x="6291044" y="5797510"/>
                  <a:ext cx="89782" cy="21657"/>
                </a:xfrm>
                <a:custGeom>
                  <a:avLst/>
                  <a:gdLst>
                    <a:gd name="connsiteX0" fmla="*/ 0 w 89782"/>
                    <a:gd name="connsiteY0" fmla="*/ 143 h 21657"/>
                    <a:gd name="connsiteX1" fmla="*/ 44521 w 89782"/>
                    <a:gd name="connsiteY1" fmla="*/ 21658 h 21657"/>
                    <a:gd name="connsiteX2" fmla="*/ 89783 w 89782"/>
                    <a:gd name="connsiteY2" fmla="*/ 0 h 2165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89782" h="21657">
                      <a:moveTo>
                        <a:pt x="0" y="143"/>
                      </a:moveTo>
                      <a:cubicBezTo>
                        <a:pt x="0" y="143"/>
                        <a:pt x="34791" y="21658"/>
                        <a:pt x="44521" y="21658"/>
                      </a:cubicBezTo>
                      <a:cubicBezTo>
                        <a:pt x="54252" y="21658"/>
                        <a:pt x="89783" y="0"/>
                        <a:pt x="89783" y="0"/>
                      </a:cubicBez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grpSp>
              <p:nvGrpSpPr>
                <p:cNvPr id="1782" name="Gráfico 17">
                  <a:extLst>
                    <a:ext uri="{FF2B5EF4-FFF2-40B4-BE49-F238E27FC236}">
                      <a16:creationId xmlns:a16="http://schemas.microsoft.com/office/drawing/2014/main" id="{FF74A87A-2E78-48CE-CB48-8735F2DCD7F8}"/>
                    </a:ext>
                  </a:extLst>
                </p:cNvPr>
                <p:cNvGrpSpPr/>
                <p:nvPr/>
              </p:nvGrpSpPr>
              <p:grpSpPr>
                <a:xfrm>
                  <a:off x="6256217" y="5730281"/>
                  <a:ext cx="159400" cy="252359"/>
                  <a:chOff x="6256217" y="5730281"/>
                  <a:chExt cx="159400" cy="252359"/>
                </a:xfrm>
                <a:noFill/>
              </p:grpSpPr>
              <p:sp>
                <p:nvSpPr>
                  <p:cNvPr id="1783" name="Forma livre: Forma 1782">
                    <a:extLst>
                      <a:ext uri="{FF2B5EF4-FFF2-40B4-BE49-F238E27FC236}">
                        <a16:creationId xmlns:a16="http://schemas.microsoft.com/office/drawing/2014/main" id="{4CF33C84-E986-610D-7862-53A0166FE4A6}"/>
                      </a:ext>
                    </a:extLst>
                  </p:cNvPr>
                  <p:cNvSpPr/>
                  <p:nvPr/>
                </p:nvSpPr>
                <p:spPr>
                  <a:xfrm>
                    <a:off x="6256217" y="5750064"/>
                    <a:ext cx="52866" cy="232564"/>
                  </a:xfrm>
                  <a:custGeom>
                    <a:avLst/>
                    <a:gdLst>
                      <a:gd name="connsiteX0" fmla="*/ 0 w 52866"/>
                      <a:gd name="connsiteY0" fmla="*/ 0 h 232564"/>
                      <a:gd name="connsiteX1" fmla="*/ 0 w 52866"/>
                      <a:gd name="connsiteY1" fmla="*/ 51088 h 232564"/>
                      <a:gd name="connsiteX2" fmla="*/ 52867 w 52866"/>
                      <a:gd name="connsiteY2" fmla="*/ 99991 h 232564"/>
                      <a:gd name="connsiteX3" fmla="*/ 52867 w 52866"/>
                      <a:gd name="connsiteY3" fmla="*/ 109662 h 232564"/>
                      <a:gd name="connsiteX4" fmla="*/ 0 w 52866"/>
                      <a:gd name="connsiteY4" fmla="*/ 158565 h 232564"/>
                      <a:gd name="connsiteX5" fmla="*/ 0 w 52866"/>
                      <a:gd name="connsiteY5" fmla="*/ 232564 h 23256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52866" h="232564">
                        <a:moveTo>
                          <a:pt x="0" y="0"/>
                        </a:moveTo>
                        <a:lnTo>
                          <a:pt x="0" y="51088"/>
                        </a:lnTo>
                        <a:cubicBezTo>
                          <a:pt x="0" y="80255"/>
                          <a:pt x="52867" y="88888"/>
                          <a:pt x="52867" y="99991"/>
                        </a:cubicBezTo>
                        <a:lnTo>
                          <a:pt x="52867" y="109662"/>
                        </a:lnTo>
                        <a:cubicBezTo>
                          <a:pt x="52867" y="120765"/>
                          <a:pt x="0" y="129397"/>
                          <a:pt x="0" y="158565"/>
                        </a:cubicBezTo>
                        <a:lnTo>
                          <a:pt x="0" y="232564"/>
                        </a:lnTo>
                      </a:path>
                    </a:pathLst>
                  </a:custGeom>
                  <a:noFill/>
                  <a:ln w="6350" cap="flat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1784" name="Forma livre: Forma 1783">
                    <a:extLst>
                      <a:ext uri="{FF2B5EF4-FFF2-40B4-BE49-F238E27FC236}">
                        <a16:creationId xmlns:a16="http://schemas.microsoft.com/office/drawing/2014/main" id="{603AB26C-1F2C-F981-60DD-F9088910D1A4}"/>
                      </a:ext>
                    </a:extLst>
                  </p:cNvPr>
                  <p:cNvSpPr/>
                  <p:nvPr/>
                </p:nvSpPr>
                <p:spPr>
                  <a:xfrm>
                    <a:off x="6362763" y="5730281"/>
                    <a:ext cx="52854" cy="252359"/>
                  </a:xfrm>
                  <a:custGeom>
                    <a:avLst/>
                    <a:gdLst>
                      <a:gd name="connsiteX0" fmla="*/ 52855 w 52854"/>
                      <a:gd name="connsiteY0" fmla="*/ 0 h 252359"/>
                      <a:gd name="connsiteX1" fmla="*/ 52855 w 52854"/>
                      <a:gd name="connsiteY1" fmla="*/ 70883 h 252359"/>
                      <a:gd name="connsiteX2" fmla="*/ 0 w 52854"/>
                      <a:gd name="connsiteY2" fmla="*/ 119786 h 252359"/>
                      <a:gd name="connsiteX3" fmla="*/ 0 w 52854"/>
                      <a:gd name="connsiteY3" fmla="*/ 129457 h 252359"/>
                      <a:gd name="connsiteX4" fmla="*/ 52855 w 52854"/>
                      <a:gd name="connsiteY4" fmla="*/ 178360 h 252359"/>
                      <a:gd name="connsiteX5" fmla="*/ 52855 w 52854"/>
                      <a:gd name="connsiteY5" fmla="*/ 252359 h 25235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52854" h="252359">
                        <a:moveTo>
                          <a:pt x="52855" y="0"/>
                        </a:moveTo>
                        <a:lnTo>
                          <a:pt x="52855" y="70883"/>
                        </a:lnTo>
                        <a:cubicBezTo>
                          <a:pt x="52855" y="100051"/>
                          <a:pt x="0" y="108683"/>
                          <a:pt x="0" y="119786"/>
                        </a:cubicBezTo>
                        <a:lnTo>
                          <a:pt x="0" y="129457"/>
                        </a:lnTo>
                        <a:cubicBezTo>
                          <a:pt x="0" y="140560"/>
                          <a:pt x="52855" y="149192"/>
                          <a:pt x="52855" y="178360"/>
                        </a:cubicBezTo>
                        <a:lnTo>
                          <a:pt x="52855" y="252359"/>
                        </a:lnTo>
                      </a:path>
                    </a:pathLst>
                  </a:custGeom>
                  <a:noFill/>
                  <a:ln w="6350" cap="rnd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</p:grpSp>
          <p:sp>
            <p:nvSpPr>
              <p:cNvPr id="1785" name="Forma livre: Forma 1784">
                <a:extLst>
                  <a:ext uri="{FF2B5EF4-FFF2-40B4-BE49-F238E27FC236}">
                    <a16:creationId xmlns:a16="http://schemas.microsoft.com/office/drawing/2014/main" id="{9DED4437-F01D-D0D2-B559-EA080DC06A13}"/>
                  </a:ext>
                </a:extLst>
              </p:cNvPr>
              <p:cNvSpPr/>
              <p:nvPr/>
            </p:nvSpPr>
            <p:spPr>
              <a:xfrm>
                <a:off x="6335924" y="5868931"/>
                <a:ext cx="1193" cy="13885"/>
              </a:xfrm>
              <a:custGeom>
                <a:avLst/>
                <a:gdLst>
                  <a:gd name="connsiteX0" fmla="*/ 0 w 1193"/>
                  <a:gd name="connsiteY0" fmla="*/ 0 h 13885"/>
                  <a:gd name="connsiteX1" fmla="*/ 0 w 1193"/>
                  <a:gd name="connsiteY1" fmla="*/ 13885 h 138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3" h="13885">
                    <a:moveTo>
                      <a:pt x="0" y="0"/>
                    </a:moveTo>
                    <a:lnTo>
                      <a:pt x="0" y="13885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786" name="Forma livre: Forma 1785">
              <a:extLst>
                <a:ext uri="{FF2B5EF4-FFF2-40B4-BE49-F238E27FC236}">
                  <a16:creationId xmlns:a16="http://schemas.microsoft.com/office/drawing/2014/main" id="{029BFDF4-FE05-C930-9B4F-061E41728F2C}"/>
                </a:ext>
              </a:extLst>
            </p:cNvPr>
            <p:cNvSpPr/>
            <p:nvPr/>
          </p:nvSpPr>
          <p:spPr>
            <a:xfrm>
              <a:off x="6234034" y="5983177"/>
              <a:ext cx="204853" cy="1193"/>
            </a:xfrm>
            <a:custGeom>
              <a:avLst/>
              <a:gdLst>
                <a:gd name="connsiteX0" fmla="*/ 0 w 204853"/>
                <a:gd name="connsiteY0" fmla="*/ 0 h 1193"/>
                <a:gd name="connsiteX1" fmla="*/ 204853 w 204853"/>
                <a:gd name="connsiteY1" fmla="*/ 0 h 11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04853" h="1193">
                  <a:moveTo>
                    <a:pt x="0" y="0"/>
                  </a:moveTo>
                  <a:lnTo>
                    <a:pt x="204853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787" name="Gráfico 17">
            <a:extLst>
              <a:ext uri="{FF2B5EF4-FFF2-40B4-BE49-F238E27FC236}">
                <a16:creationId xmlns:a16="http://schemas.microsoft.com/office/drawing/2014/main" id="{12EB003D-D06F-4693-72FC-E19B6463B415}"/>
              </a:ext>
            </a:extLst>
          </p:cNvPr>
          <p:cNvGrpSpPr/>
          <p:nvPr/>
        </p:nvGrpSpPr>
        <p:grpSpPr>
          <a:xfrm>
            <a:off x="7453339" y="5720395"/>
            <a:ext cx="258185" cy="268871"/>
            <a:chOff x="7453339" y="5720395"/>
            <a:chExt cx="258185" cy="268871"/>
          </a:xfrm>
          <a:noFill/>
        </p:grpSpPr>
        <p:grpSp>
          <p:nvGrpSpPr>
            <p:cNvPr id="1788" name="Gráfico 17">
              <a:extLst>
                <a:ext uri="{FF2B5EF4-FFF2-40B4-BE49-F238E27FC236}">
                  <a16:creationId xmlns:a16="http://schemas.microsoft.com/office/drawing/2014/main" id="{A93201FE-DDFE-908F-1A43-9F6E3EE044CD}"/>
                </a:ext>
              </a:extLst>
            </p:cNvPr>
            <p:cNvGrpSpPr/>
            <p:nvPr/>
          </p:nvGrpSpPr>
          <p:grpSpPr>
            <a:xfrm>
              <a:off x="7497156" y="5795696"/>
              <a:ext cx="214368" cy="143545"/>
              <a:chOff x="7497156" y="5795696"/>
              <a:chExt cx="214368" cy="143545"/>
            </a:xfrm>
            <a:noFill/>
          </p:grpSpPr>
          <p:grpSp>
            <p:nvGrpSpPr>
              <p:cNvPr id="1789" name="Gráfico 17">
                <a:extLst>
                  <a:ext uri="{FF2B5EF4-FFF2-40B4-BE49-F238E27FC236}">
                    <a16:creationId xmlns:a16="http://schemas.microsoft.com/office/drawing/2014/main" id="{0D72C808-A001-ECBD-EFC2-EB07B1D14CAE}"/>
                  </a:ext>
                </a:extLst>
              </p:cNvPr>
              <p:cNvGrpSpPr/>
              <p:nvPr/>
            </p:nvGrpSpPr>
            <p:grpSpPr>
              <a:xfrm>
                <a:off x="7599368" y="5795696"/>
                <a:ext cx="112156" cy="143545"/>
                <a:chOff x="7599368" y="5795696"/>
                <a:chExt cx="112156" cy="143545"/>
              </a:xfrm>
              <a:noFill/>
            </p:grpSpPr>
            <p:sp>
              <p:nvSpPr>
                <p:cNvPr id="1790" name="Forma livre: Forma 1789">
                  <a:extLst>
                    <a:ext uri="{FF2B5EF4-FFF2-40B4-BE49-F238E27FC236}">
                      <a16:creationId xmlns:a16="http://schemas.microsoft.com/office/drawing/2014/main" id="{5DB823AE-D865-E55E-A4E3-6EF003BB03D6}"/>
                    </a:ext>
                  </a:extLst>
                </p:cNvPr>
                <p:cNvSpPr/>
                <p:nvPr/>
              </p:nvSpPr>
              <p:spPr>
                <a:xfrm>
                  <a:off x="7599368" y="5827168"/>
                  <a:ext cx="112156" cy="112073"/>
                </a:xfrm>
                <a:custGeom>
                  <a:avLst/>
                  <a:gdLst>
                    <a:gd name="connsiteX0" fmla="*/ 112157 w 112156"/>
                    <a:gd name="connsiteY0" fmla="*/ 56031 h 112073"/>
                    <a:gd name="connsiteX1" fmla="*/ 56043 w 112156"/>
                    <a:gd name="connsiteY1" fmla="*/ 112073 h 112073"/>
                    <a:gd name="connsiteX2" fmla="*/ 0 w 112156"/>
                    <a:gd name="connsiteY2" fmla="*/ 56031 h 112073"/>
                    <a:gd name="connsiteX3" fmla="*/ 56043 w 112156"/>
                    <a:gd name="connsiteY3" fmla="*/ 0 h 112073"/>
                    <a:gd name="connsiteX4" fmla="*/ 112157 w 112156"/>
                    <a:gd name="connsiteY4" fmla="*/ 56031 h 11207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12156" h="112073">
                      <a:moveTo>
                        <a:pt x="112157" y="56031"/>
                      </a:moveTo>
                      <a:cubicBezTo>
                        <a:pt x="112157" y="86989"/>
                        <a:pt x="87061" y="112073"/>
                        <a:pt x="56043" y="112073"/>
                      </a:cubicBezTo>
                      <a:cubicBezTo>
                        <a:pt x="25025" y="112073"/>
                        <a:pt x="0" y="86989"/>
                        <a:pt x="0" y="56031"/>
                      </a:cubicBezTo>
                      <a:cubicBezTo>
                        <a:pt x="0" y="25072"/>
                        <a:pt x="25096" y="0"/>
                        <a:pt x="56043" y="0"/>
                      </a:cubicBezTo>
                      <a:cubicBezTo>
                        <a:pt x="86989" y="0"/>
                        <a:pt x="112157" y="25084"/>
                        <a:pt x="112157" y="56031"/>
                      </a:cubicBezTo>
                      <a:close/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791" name="Forma livre: Forma 1790">
                  <a:extLst>
                    <a:ext uri="{FF2B5EF4-FFF2-40B4-BE49-F238E27FC236}">
                      <a16:creationId xmlns:a16="http://schemas.microsoft.com/office/drawing/2014/main" id="{DA0248A3-6AF8-92DD-586B-573F51E23AEC}"/>
                    </a:ext>
                  </a:extLst>
                </p:cNvPr>
                <p:cNvSpPr/>
                <p:nvPr/>
              </p:nvSpPr>
              <p:spPr>
                <a:xfrm>
                  <a:off x="7636296" y="5850915"/>
                  <a:ext cx="51469" cy="64579"/>
                </a:xfrm>
                <a:custGeom>
                  <a:avLst/>
                  <a:gdLst>
                    <a:gd name="connsiteX0" fmla="*/ 19139 w 51469"/>
                    <a:gd name="connsiteY0" fmla="*/ 0 h 64579"/>
                    <a:gd name="connsiteX1" fmla="*/ 51470 w 51469"/>
                    <a:gd name="connsiteY1" fmla="*/ 32284 h 64579"/>
                    <a:gd name="connsiteX2" fmla="*/ 19139 w 51469"/>
                    <a:gd name="connsiteY2" fmla="*/ 64579 h 64579"/>
                    <a:gd name="connsiteX3" fmla="*/ 0 w 51469"/>
                    <a:gd name="connsiteY3" fmla="*/ 58299 h 6457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51469" h="64579">
                      <a:moveTo>
                        <a:pt x="19139" y="0"/>
                      </a:moveTo>
                      <a:cubicBezTo>
                        <a:pt x="37012" y="0"/>
                        <a:pt x="51470" y="14459"/>
                        <a:pt x="51470" y="32284"/>
                      </a:cubicBezTo>
                      <a:cubicBezTo>
                        <a:pt x="51470" y="50109"/>
                        <a:pt x="37012" y="64579"/>
                        <a:pt x="19139" y="64579"/>
                      </a:cubicBezTo>
                      <a:cubicBezTo>
                        <a:pt x="11963" y="64579"/>
                        <a:pt x="5349" y="62251"/>
                        <a:pt x="0" y="58299"/>
                      </a:cubicBez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792" name="Forma livre: Forma 1791">
                  <a:extLst>
                    <a:ext uri="{FF2B5EF4-FFF2-40B4-BE49-F238E27FC236}">
                      <a16:creationId xmlns:a16="http://schemas.microsoft.com/office/drawing/2014/main" id="{10B8A767-9796-5AA1-D7A5-20C3FA7D7C65}"/>
                    </a:ext>
                  </a:extLst>
                </p:cNvPr>
                <p:cNvSpPr/>
                <p:nvPr/>
              </p:nvSpPr>
              <p:spPr>
                <a:xfrm>
                  <a:off x="7640654" y="5795696"/>
                  <a:ext cx="29609" cy="16392"/>
                </a:xfrm>
                <a:custGeom>
                  <a:avLst/>
                  <a:gdLst>
                    <a:gd name="connsiteX0" fmla="*/ 29609 w 29609"/>
                    <a:gd name="connsiteY0" fmla="*/ 16393 h 16392"/>
                    <a:gd name="connsiteX1" fmla="*/ 29609 w 29609"/>
                    <a:gd name="connsiteY1" fmla="*/ 0 h 16392"/>
                    <a:gd name="connsiteX2" fmla="*/ 0 w 29609"/>
                    <a:gd name="connsiteY2" fmla="*/ 0 h 16392"/>
                    <a:gd name="connsiteX3" fmla="*/ 0 w 29609"/>
                    <a:gd name="connsiteY3" fmla="*/ 16393 h 163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29609" h="16392">
                      <a:moveTo>
                        <a:pt x="29609" y="16393"/>
                      </a:moveTo>
                      <a:lnTo>
                        <a:pt x="29609" y="0"/>
                      </a:lnTo>
                      <a:lnTo>
                        <a:pt x="0" y="0"/>
                      </a:lnTo>
                      <a:lnTo>
                        <a:pt x="0" y="16393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793" name="Forma livre: Forma 1792">
                  <a:extLst>
                    <a:ext uri="{FF2B5EF4-FFF2-40B4-BE49-F238E27FC236}">
                      <a16:creationId xmlns:a16="http://schemas.microsoft.com/office/drawing/2014/main" id="{078F1C37-DB88-F219-A605-EBBA424F25EE}"/>
                    </a:ext>
                  </a:extLst>
                </p:cNvPr>
                <p:cNvSpPr/>
                <p:nvPr/>
              </p:nvSpPr>
              <p:spPr>
                <a:xfrm>
                  <a:off x="7691754" y="5826033"/>
                  <a:ext cx="10148" cy="12106"/>
                </a:xfrm>
                <a:custGeom>
                  <a:avLst/>
                  <a:gdLst>
                    <a:gd name="connsiteX0" fmla="*/ 10148 w 10148"/>
                    <a:gd name="connsiteY0" fmla="*/ 0 h 12106"/>
                    <a:gd name="connsiteX1" fmla="*/ 0 w 10148"/>
                    <a:gd name="connsiteY1" fmla="*/ 12106 h 1210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0148" h="12106">
                      <a:moveTo>
                        <a:pt x="10148" y="0"/>
                      </a:moveTo>
                      <a:lnTo>
                        <a:pt x="0" y="12106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794" name="Forma livre: Forma 1793">
                  <a:extLst>
                    <a:ext uri="{FF2B5EF4-FFF2-40B4-BE49-F238E27FC236}">
                      <a16:creationId xmlns:a16="http://schemas.microsoft.com/office/drawing/2014/main" id="{76F6F561-D0DB-2B3A-045F-E110884EFEFE}"/>
                    </a:ext>
                  </a:extLst>
                </p:cNvPr>
                <p:cNvSpPr/>
                <p:nvPr/>
              </p:nvSpPr>
              <p:spPr>
                <a:xfrm>
                  <a:off x="7625419" y="5883306"/>
                  <a:ext cx="29943" cy="12834"/>
                </a:xfrm>
                <a:custGeom>
                  <a:avLst/>
                  <a:gdLst>
                    <a:gd name="connsiteX0" fmla="*/ 29944 w 29943"/>
                    <a:gd name="connsiteY0" fmla="*/ 0 h 12834"/>
                    <a:gd name="connsiteX1" fmla="*/ 0 w 29943"/>
                    <a:gd name="connsiteY1" fmla="*/ 12835 h 1283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9943" h="12834">
                      <a:moveTo>
                        <a:pt x="29944" y="0"/>
                      </a:moveTo>
                      <a:lnTo>
                        <a:pt x="0" y="12835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1795" name="Forma livre: Forma 1794">
                <a:extLst>
                  <a:ext uri="{FF2B5EF4-FFF2-40B4-BE49-F238E27FC236}">
                    <a16:creationId xmlns:a16="http://schemas.microsoft.com/office/drawing/2014/main" id="{13D7084B-9B3C-0211-94A5-38A418BA235B}"/>
                  </a:ext>
                </a:extLst>
              </p:cNvPr>
              <p:cNvSpPr/>
              <p:nvPr/>
            </p:nvSpPr>
            <p:spPr>
              <a:xfrm>
                <a:off x="7497156" y="5852717"/>
                <a:ext cx="85508" cy="1193"/>
              </a:xfrm>
              <a:custGeom>
                <a:avLst/>
                <a:gdLst>
                  <a:gd name="connsiteX0" fmla="*/ 0 w 85508"/>
                  <a:gd name="connsiteY0" fmla="*/ 0 h 1193"/>
                  <a:gd name="connsiteX1" fmla="*/ 85509 w 85508"/>
                  <a:gd name="connsiteY1" fmla="*/ 0 h 11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85508" h="1193">
                    <a:moveTo>
                      <a:pt x="0" y="0"/>
                    </a:moveTo>
                    <a:lnTo>
                      <a:pt x="85509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796" name="Forma livre: Forma 1795">
                <a:extLst>
                  <a:ext uri="{FF2B5EF4-FFF2-40B4-BE49-F238E27FC236}">
                    <a16:creationId xmlns:a16="http://schemas.microsoft.com/office/drawing/2014/main" id="{01C512D1-BF78-E7A1-886A-244D02E60547}"/>
                  </a:ext>
                </a:extLst>
              </p:cNvPr>
              <p:cNvSpPr/>
              <p:nvPr/>
            </p:nvSpPr>
            <p:spPr>
              <a:xfrm>
                <a:off x="7497156" y="5890875"/>
                <a:ext cx="82428" cy="1193"/>
              </a:xfrm>
              <a:custGeom>
                <a:avLst/>
                <a:gdLst>
                  <a:gd name="connsiteX0" fmla="*/ 0 w 82428"/>
                  <a:gd name="connsiteY0" fmla="*/ 0 h 1193"/>
                  <a:gd name="connsiteX1" fmla="*/ 82428 w 82428"/>
                  <a:gd name="connsiteY1" fmla="*/ 0 h 11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82428" h="1193">
                    <a:moveTo>
                      <a:pt x="0" y="0"/>
                    </a:moveTo>
                    <a:lnTo>
                      <a:pt x="82428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797" name="Forma livre: Forma 1796">
                <a:extLst>
                  <a:ext uri="{FF2B5EF4-FFF2-40B4-BE49-F238E27FC236}">
                    <a16:creationId xmlns:a16="http://schemas.microsoft.com/office/drawing/2014/main" id="{0797519A-5C50-DC41-4AB6-E8F286B13402}"/>
                  </a:ext>
                </a:extLst>
              </p:cNvPr>
              <p:cNvSpPr/>
              <p:nvPr/>
            </p:nvSpPr>
            <p:spPr>
              <a:xfrm>
                <a:off x="7497156" y="5929045"/>
                <a:ext cx="96516" cy="1193"/>
              </a:xfrm>
              <a:custGeom>
                <a:avLst/>
                <a:gdLst>
                  <a:gd name="connsiteX0" fmla="*/ 0 w 96516"/>
                  <a:gd name="connsiteY0" fmla="*/ 0 h 1193"/>
                  <a:gd name="connsiteX1" fmla="*/ 96517 w 96516"/>
                  <a:gd name="connsiteY1" fmla="*/ 0 h 11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6516" h="1193">
                    <a:moveTo>
                      <a:pt x="0" y="0"/>
                    </a:moveTo>
                    <a:lnTo>
                      <a:pt x="96517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798" name="Gráfico 17">
              <a:extLst>
                <a:ext uri="{FF2B5EF4-FFF2-40B4-BE49-F238E27FC236}">
                  <a16:creationId xmlns:a16="http://schemas.microsoft.com/office/drawing/2014/main" id="{343D4830-890B-0D46-C757-917FC1193314}"/>
                </a:ext>
              </a:extLst>
            </p:cNvPr>
            <p:cNvGrpSpPr/>
            <p:nvPr/>
          </p:nvGrpSpPr>
          <p:grpSpPr>
            <a:xfrm>
              <a:off x="7453339" y="5720395"/>
              <a:ext cx="202286" cy="268871"/>
              <a:chOff x="7453339" y="5720395"/>
              <a:chExt cx="202286" cy="268871"/>
            </a:xfrm>
            <a:noFill/>
          </p:grpSpPr>
          <p:sp>
            <p:nvSpPr>
              <p:cNvPr id="1799" name="Forma livre: Forma 1798">
                <a:extLst>
                  <a:ext uri="{FF2B5EF4-FFF2-40B4-BE49-F238E27FC236}">
                    <a16:creationId xmlns:a16="http://schemas.microsoft.com/office/drawing/2014/main" id="{0AD31049-431F-1815-B97C-A95F90A608C5}"/>
                  </a:ext>
                </a:extLst>
              </p:cNvPr>
              <p:cNvSpPr/>
              <p:nvPr/>
            </p:nvSpPr>
            <p:spPr>
              <a:xfrm>
                <a:off x="7453339" y="5720395"/>
                <a:ext cx="202286" cy="268871"/>
              </a:xfrm>
              <a:custGeom>
                <a:avLst/>
                <a:gdLst>
                  <a:gd name="connsiteX0" fmla="*/ 202286 w 202286"/>
                  <a:gd name="connsiteY0" fmla="*/ 241220 h 268871"/>
                  <a:gd name="connsiteX1" fmla="*/ 202286 w 202286"/>
                  <a:gd name="connsiteY1" fmla="*/ 268871 h 268871"/>
                  <a:gd name="connsiteX2" fmla="*/ 0 w 202286"/>
                  <a:gd name="connsiteY2" fmla="*/ 268871 h 268871"/>
                  <a:gd name="connsiteX3" fmla="*/ 0 w 202286"/>
                  <a:gd name="connsiteY3" fmla="*/ 53368 h 268871"/>
                  <a:gd name="connsiteX4" fmla="*/ 53380 w 202286"/>
                  <a:gd name="connsiteY4" fmla="*/ 0 h 268871"/>
                  <a:gd name="connsiteX5" fmla="*/ 202286 w 202286"/>
                  <a:gd name="connsiteY5" fmla="*/ 0 h 268871"/>
                  <a:gd name="connsiteX6" fmla="*/ 202286 w 202286"/>
                  <a:gd name="connsiteY6" fmla="*/ 53177 h 2688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02286" h="268871">
                    <a:moveTo>
                      <a:pt x="202286" y="241220"/>
                    </a:moveTo>
                    <a:lnTo>
                      <a:pt x="202286" y="268871"/>
                    </a:lnTo>
                    <a:lnTo>
                      <a:pt x="0" y="268871"/>
                    </a:lnTo>
                    <a:lnTo>
                      <a:pt x="0" y="53368"/>
                    </a:lnTo>
                    <a:lnTo>
                      <a:pt x="53380" y="0"/>
                    </a:lnTo>
                    <a:lnTo>
                      <a:pt x="202286" y="0"/>
                    </a:lnTo>
                    <a:lnTo>
                      <a:pt x="202286" y="53177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800" name="Forma livre: Forma 1799">
                <a:extLst>
                  <a:ext uri="{FF2B5EF4-FFF2-40B4-BE49-F238E27FC236}">
                    <a16:creationId xmlns:a16="http://schemas.microsoft.com/office/drawing/2014/main" id="{40809A6E-13C8-BF7F-447B-9CB00337309C}"/>
                  </a:ext>
                </a:extLst>
              </p:cNvPr>
              <p:cNvSpPr/>
              <p:nvPr/>
            </p:nvSpPr>
            <p:spPr>
              <a:xfrm>
                <a:off x="7478925" y="5746208"/>
                <a:ext cx="36498" cy="36450"/>
              </a:xfrm>
              <a:custGeom>
                <a:avLst/>
                <a:gdLst>
                  <a:gd name="connsiteX0" fmla="*/ 36498 w 36498"/>
                  <a:gd name="connsiteY0" fmla="*/ 0 h 36450"/>
                  <a:gd name="connsiteX1" fmla="*/ 36498 w 36498"/>
                  <a:gd name="connsiteY1" fmla="*/ 36450 h 36450"/>
                  <a:gd name="connsiteX2" fmla="*/ 0 w 36498"/>
                  <a:gd name="connsiteY2" fmla="*/ 36450 h 364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6498" h="36450">
                    <a:moveTo>
                      <a:pt x="36498" y="0"/>
                    </a:moveTo>
                    <a:lnTo>
                      <a:pt x="36498" y="36450"/>
                    </a:lnTo>
                    <a:lnTo>
                      <a:pt x="0" y="3645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801" name="Gráfico 17">
            <a:extLst>
              <a:ext uri="{FF2B5EF4-FFF2-40B4-BE49-F238E27FC236}">
                <a16:creationId xmlns:a16="http://schemas.microsoft.com/office/drawing/2014/main" id="{29868036-A2A0-94CF-643E-701C99E670E4}"/>
              </a:ext>
            </a:extLst>
          </p:cNvPr>
          <p:cNvGrpSpPr/>
          <p:nvPr/>
        </p:nvGrpSpPr>
        <p:grpSpPr>
          <a:xfrm>
            <a:off x="6821110" y="5717882"/>
            <a:ext cx="276668" cy="273906"/>
            <a:chOff x="6821110" y="5717882"/>
            <a:chExt cx="276668" cy="273906"/>
          </a:xfrm>
          <a:noFill/>
        </p:grpSpPr>
        <p:sp>
          <p:nvSpPr>
            <p:cNvPr id="1802" name="Forma livre: Forma 1801">
              <a:extLst>
                <a:ext uri="{FF2B5EF4-FFF2-40B4-BE49-F238E27FC236}">
                  <a16:creationId xmlns:a16="http://schemas.microsoft.com/office/drawing/2014/main" id="{0905DCD5-8D36-96C3-1B91-C34ABDD1D871}"/>
                </a:ext>
              </a:extLst>
            </p:cNvPr>
            <p:cNvSpPr/>
            <p:nvPr/>
          </p:nvSpPr>
          <p:spPr>
            <a:xfrm>
              <a:off x="6922295" y="5791505"/>
              <a:ext cx="37035" cy="90224"/>
            </a:xfrm>
            <a:custGeom>
              <a:avLst/>
              <a:gdLst>
                <a:gd name="connsiteX0" fmla="*/ 37035 w 37035"/>
                <a:gd name="connsiteY0" fmla="*/ 0 h 90224"/>
                <a:gd name="connsiteX1" fmla="*/ 37035 w 37035"/>
                <a:gd name="connsiteY1" fmla="*/ 65988 h 90224"/>
                <a:gd name="connsiteX2" fmla="*/ 0 w 37035"/>
                <a:gd name="connsiteY2" fmla="*/ 90225 h 902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7035" h="90224">
                  <a:moveTo>
                    <a:pt x="37035" y="0"/>
                  </a:moveTo>
                  <a:lnTo>
                    <a:pt x="37035" y="65988"/>
                  </a:lnTo>
                  <a:lnTo>
                    <a:pt x="0" y="90225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03" name="Forma livre: Forma 1802">
              <a:extLst>
                <a:ext uri="{FF2B5EF4-FFF2-40B4-BE49-F238E27FC236}">
                  <a16:creationId xmlns:a16="http://schemas.microsoft.com/office/drawing/2014/main" id="{D178DFED-927D-0E72-9E4B-7C739E16CBB4}"/>
                </a:ext>
              </a:extLst>
            </p:cNvPr>
            <p:cNvSpPr/>
            <p:nvPr/>
          </p:nvSpPr>
          <p:spPr>
            <a:xfrm>
              <a:off x="6841932" y="5739952"/>
              <a:ext cx="235023" cy="235023"/>
            </a:xfrm>
            <a:custGeom>
              <a:avLst/>
              <a:gdLst>
                <a:gd name="connsiteX0" fmla="*/ 117518 w 235023"/>
                <a:gd name="connsiteY0" fmla="*/ 0 h 235023"/>
                <a:gd name="connsiteX1" fmla="*/ 235024 w 235023"/>
                <a:gd name="connsiteY1" fmla="*/ 117518 h 235023"/>
                <a:gd name="connsiteX2" fmla="*/ 117518 w 235023"/>
                <a:gd name="connsiteY2" fmla="*/ 235024 h 235023"/>
                <a:gd name="connsiteX3" fmla="*/ 0 w 235023"/>
                <a:gd name="connsiteY3" fmla="*/ 117518 h 235023"/>
                <a:gd name="connsiteX4" fmla="*/ 117518 w 235023"/>
                <a:gd name="connsiteY4" fmla="*/ 0 h 2350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5023" h="235023">
                  <a:moveTo>
                    <a:pt x="117518" y="0"/>
                  </a:moveTo>
                  <a:cubicBezTo>
                    <a:pt x="182419" y="0"/>
                    <a:pt x="235024" y="52604"/>
                    <a:pt x="235024" y="117518"/>
                  </a:cubicBezTo>
                  <a:cubicBezTo>
                    <a:pt x="235024" y="182431"/>
                    <a:pt x="182419" y="235024"/>
                    <a:pt x="117518" y="235024"/>
                  </a:cubicBezTo>
                  <a:cubicBezTo>
                    <a:pt x="52616" y="235024"/>
                    <a:pt x="0" y="182419"/>
                    <a:pt x="0" y="117518"/>
                  </a:cubicBezTo>
                  <a:cubicBezTo>
                    <a:pt x="0" y="52616"/>
                    <a:pt x="52616" y="0"/>
                    <a:pt x="117518" y="0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804" name="Gráfico 17">
              <a:extLst>
                <a:ext uri="{FF2B5EF4-FFF2-40B4-BE49-F238E27FC236}">
                  <a16:creationId xmlns:a16="http://schemas.microsoft.com/office/drawing/2014/main" id="{37458D82-BA11-F596-6113-576E0A4C117A}"/>
                </a:ext>
              </a:extLst>
            </p:cNvPr>
            <p:cNvGrpSpPr/>
            <p:nvPr/>
          </p:nvGrpSpPr>
          <p:grpSpPr>
            <a:xfrm>
              <a:off x="6854418" y="5930788"/>
              <a:ext cx="210043" cy="61001"/>
              <a:chOff x="6854418" y="5930788"/>
              <a:chExt cx="210043" cy="61001"/>
            </a:xfrm>
            <a:noFill/>
          </p:grpSpPr>
          <p:sp>
            <p:nvSpPr>
              <p:cNvPr id="1805" name="Forma livre: Forma 1804">
                <a:extLst>
                  <a:ext uri="{FF2B5EF4-FFF2-40B4-BE49-F238E27FC236}">
                    <a16:creationId xmlns:a16="http://schemas.microsoft.com/office/drawing/2014/main" id="{13AD1D7B-E106-ECEA-82DB-5EE2F582DDC4}"/>
                  </a:ext>
                </a:extLst>
              </p:cNvPr>
              <p:cNvSpPr/>
              <p:nvPr/>
            </p:nvSpPr>
            <p:spPr>
              <a:xfrm>
                <a:off x="6854418" y="5959944"/>
                <a:ext cx="42230" cy="31845"/>
              </a:xfrm>
              <a:custGeom>
                <a:avLst/>
                <a:gdLst>
                  <a:gd name="connsiteX0" fmla="*/ 42231 w 42230"/>
                  <a:gd name="connsiteY0" fmla="*/ 12 h 31845"/>
                  <a:gd name="connsiteX1" fmla="*/ 22018 w 42230"/>
                  <a:gd name="connsiteY1" fmla="*/ 25896 h 31845"/>
                  <a:gd name="connsiteX2" fmla="*/ 5792 w 42230"/>
                  <a:gd name="connsiteY2" fmla="*/ 30779 h 31845"/>
                  <a:gd name="connsiteX3" fmla="*/ 754 w 42230"/>
                  <a:gd name="connsiteY3" fmla="*/ 14614 h 31845"/>
                  <a:gd name="connsiteX4" fmla="*/ 5494 w 42230"/>
                  <a:gd name="connsiteY4" fmla="*/ 0 h 318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2230" h="31845">
                    <a:moveTo>
                      <a:pt x="42231" y="12"/>
                    </a:moveTo>
                    <a:lnTo>
                      <a:pt x="22018" y="25896"/>
                    </a:lnTo>
                    <a:cubicBezTo>
                      <a:pt x="17911" y="31137"/>
                      <a:pt x="10616" y="33334"/>
                      <a:pt x="5792" y="30779"/>
                    </a:cubicBezTo>
                    <a:cubicBezTo>
                      <a:pt x="957" y="28212"/>
                      <a:pt x="-1288" y="20941"/>
                      <a:pt x="754" y="14614"/>
                    </a:cubicBezTo>
                    <a:lnTo>
                      <a:pt x="5494" y="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806" name="Forma livre: Forma 1805">
                <a:extLst>
                  <a:ext uri="{FF2B5EF4-FFF2-40B4-BE49-F238E27FC236}">
                    <a16:creationId xmlns:a16="http://schemas.microsoft.com/office/drawing/2014/main" id="{682F3933-0F9B-7645-9FF6-671CF428ED38}"/>
                  </a:ext>
                </a:extLst>
              </p:cNvPr>
              <p:cNvSpPr/>
              <p:nvPr/>
            </p:nvSpPr>
            <p:spPr>
              <a:xfrm>
                <a:off x="7035156" y="5930788"/>
                <a:ext cx="29305" cy="60989"/>
              </a:xfrm>
              <a:custGeom>
                <a:avLst/>
                <a:gdLst>
                  <a:gd name="connsiteX0" fmla="*/ 0 w 29305"/>
                  <a:gd name="connsiteY0" fmla="*/ 44593 h 60989"/>
                  <a:gd name="connsiteX1" fmla="*/ 7295 w 29305"/>
                  <a:gd name="connsiteY1" fmla="*/ 55040 h 60989"/>
                  <a:gd name="connsiteX2" fmla="*/ 23520 w 29305"/>
                  <a:gd name="connsiteY2" fmla="*/ 59923 h 60989"/>
                  <a:gd name="connsiteX3" fmla="*/ 28547 w 29305"/>
                  <a:gd name="connsiteY3" fmla="*/ 43745 h 60989"/>
                  <a:gd name="connsiteX4" fmla="*/ 14793 w 29305"/>
                  <a:gd name="connsiteY4" fmla="*/ 0 h 609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9305" h="60989">
                    <a:moveTo>
                      <a:pt x="0" y="44593"/>
                    </a:moveTo>
                    <a:lnTo>
                      <a:pt x="7295" y="55040"/>
                    </a:lnTo>
                    <a:cubicBezTo>
                      <a:pt x="11402" y="60281"/>
                      <a:pt x="18697" y="62478"/>
                      <a:pt x="23520" y="59923"/>
                    </a:cubicBezTo>
                    <a:cubicBezTo>
                      <a:pt x="28344" y="57356"/>
                      <a:pt x="30600" y="50085"/>
                      <a:pt x="28547" y="43745"/>
                    </a:cubicBezTo>
                    <a:lnTo>
                      <a:pt x="14793" y="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807" name="Gráfico 17">
              <a:extLst>
                <a:ext uri="{FF2B5EF4-FFF2-40B4-BE49-F238E27FC236}">
                  <a16:creationId xmlns:a16="http://schemas.microsoft.com/office/drawing/2014/main" id="{1D377983-471D-D703-AD90-75982CA8DC57}"/>
                </a:ext>
              </a:extLst>
            </p:cNvPr>
            <p:cNvGrpSpPr/>
            <p:nvPr/>
          </p:nvGrpSpPr>
          <p:grpSpPr>
            <a:xfrm>
              <a:off x="6821110" y="5717882"/>
              <a:ext cx="276668" cy="71664"/>
              <a:chOff x="6821110" y="5717882"/>
              <a:chExt cx="276668" cy="71664"/>
            </a:xfrm>
            <a:noFill/>
          </p:grpSpPr>
          <p:sp>
            <p:nvSpPr>
              <p:cNvPr id="1808" name="Forma livre: Forma 1807">
                <a:extLst>
                  <a:ext uri="{FF2B5EF4-FFF2-40B4-BE49-F238E27FC236}">
                    <a16:creationId xmlns:a16="http://schemas.microsoft.com/office/drawing/2014/main" id="{9D22E37C-BCE6-AE76-A46F-6D60CC539FB8}"/>
                  </a:ext>
                </a:extLst>
              </p:cNvPr>
              <p:cNvSpPr/>
              <p:nvPr/>
            </p:nvSpPr>
            <p:spPr>
              <a:xfrm>
                <a:off x="6821110" y="5717882"/>
                <a:ext cx="73712" cy="71664"/>
              </a:xfrm>
              <a:custGeom>
                <a:avLst/>
                <a:gdLst>
                  <a:gd name="connsiteX0" fmla="*/ 11462 w 73712"/>
                  <a:gd name="connsiteY0" fmla="*/ 71665 h 71664"/>
                  <a:gd name="connsiteX1" fmla="*/ 13527 w 73712"/>
                  <a:gd name="connsiteY1" fmla="*/ 11467 h 71664"/>
                  <a:gd name="connsiteX2" fmla="*/ 73713 w 73712"/>
                  <a:gd name="connsiteY2" fmla="*/ 13521 h 716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73712" h="71664">
                    <a:moveTo>
                      <a:pt x="11462" y="71665"/>
                    </a:moveTo>
                    <a:cubicBezTo>
                      <a:pt x="-4597" y="54460"/>
                      <a:pt x="-3665" y="27513"/>
                      <a:pt x="13527" y="11467"/>
                    </a:cubicBezTo>
                    <a:cubicBezTo>
                      <a:pt x="30708" y="-4591"/>
                      <a:pt x="57666" y="-3672"/>
                      <a:pt x="73713" y="13521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809" name="Forma livre: Forma 1808">
                <a:extLst>
                  <a:ext uri="{FF2B5EF4-FFF2-40B4-BE49-F238E27FC236}">
                    <a16:creationId xmlns:a16="http://schemas.microsoft.com/office/drawing/2014/main" id="{612AAB84-73E1-B6F3-5C4C-C2855B45F128}"/>
                  </a:ext>
                </a:extLst>
              </p:cNvPr>
              <p:cNvSpPr/>
              <p:nvPr/>
            </p:nvSpPr>
            <p:spPr>
              <a:xfrm>
                <a:off x="7024065" y="5717882"/>
                <a:ext cx="73714" cy="71664"/>
              </a:xfrm>
              <a:custGeom>
                <a:avLst/>
                <a:gdLst>
                  <a:gd name="connsiteX0" fmla="*/ 62251 w 73714"/>
                  <a:gd name="connsiteY0" fmla="*/ 71665 h 71664"/>
                  <a:gd name="connsiteX1" fmla="*/ 60198 w 73714"/>
                  <a:gd name="connsiteY1" fmla="*/ 11467 h 71664"/>
                  <a:gd name="connsiteX2" fmla="*/ 0 w 73714"/>
                  <a:gd name="connsiteY2" fmla="*/ 13521 h 716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73714" h="71664">
                    <a:moveTo>
                      <a:pt x="62251" y="71665"/>
                    </a:moveTo>
                    <a:cubicBezTo>
                      <a:pt x="78309" y="54460"/>
                      <a:pt x="77378" y="27513"/>
                      <a:pt x="60198" y="11467"/>
                    </a:cubicBezTo>
                    <a:cubicBezTo>
                      <a:pt x="43005" y="-4591"/>
                      <a:pt x="16058" y="-3672"/>
                      <a:pt x="0" y="13521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810" name="Gráfico 17">
            <a:extLst>
              <a:ext uri="{FF2B5EF4-FFF2-40B4-BE49-F238E27FC236}">
                <a16:creationId xmlns:a16="http://schemas.microsoft.com/office/drawing/2014/main" id="{DE21FA74-E8F9-9C91-2B45-0FF8B16FB460}"/>
              </a:ext>
            </a:extLst>
          </p:cNvPr>
          <p:cNvGrpSpPr/>
          <p:nvPr/>
        </p:nvGrpSpPr>
        <p:grpSpPr>
          <a:xfrm>
            <a:off x="6156477" y="5193499"/>
            <a:ext cx="359961" cy="251535"/>
            <a:chOff x="6156477" y="5193499"/>
            <a:chExt cx="359961" cy="251535"/>
          </a:xfrm>
          <a:noFill/>
        </p:grpSpPr>
        <p:grpSp>
          <p:nvGrpSpPr>
            <p:cNvPr id="1811" name="Gráfico 17">
              <a:extLst>
                <a:ext uri="{FF2B5EF4-FFF2-40B4-BE49-F238E27FC236}">
                  <a16:creationId xmlns:a16="http://schemas.microsoft.com/office/drawing/2014/main" id="{4D8BDC10-2DE5-2292-ABEE-FC3D6B35D1A9}"/>
                </a:ext>
              </a:extLst>
            </p:cNvPr>
            <p:cNvGrpSpPr/>
            <p:nvPr/>
          </p:nvGrpSpPr>
          <p:grpSpPr>
            <a:xfrm>
              <a:off x="6156477" y="5193499"/>
              <a:ext cx="359961" cy="251535"/>
              <a:chOff x="6156477" y="5193499"/>
              <a:chExt cx="359961" cy="251535"/>
            </a:xfrm>
            <a:noFill/>
          </p:grpSpPr>
          <p:grpSp>
            <p:nvGrpSpPr>
              <p:cNvPr id="1812" name="Gráfico 17">
                <a:extLst>
                  <a:ext uri="{FF2B5EF4-FFF2-40B4-BE49-F238E27FC236}">
                    <a16:creationId xmlns:a16="http://schemas.microsoft.com/office/drawing/2014/main" id="{62A586B2-F5C6-4C17-73D8-D4D42F7F0223}"/>
                  </a:ext>
                </a:extLst>
              </p:cNvPr>
              <p:cNvGrpSpPr/>
              <p:nvPr/>
            </p:nvGrpSpPr>
            <p:grpSpPr>
              <a:xfrm>
                <a:off x="6264927" y="5193499"/>
                <a:ext cx="251511" cy="251535"/>
                <a:chOff x="6264927" y="5193499"/>
                <a:chExt cx="251511" cy="251535"/>
              </a:xfrm>
              <a:noFill/>
            </p:grpSpPr>
            <p:sp>
              <p:nvSpPr>
                <p:cNvPr id="1813" name="Forma livre: Forma 1812">
                  <a:extLst>
                    <a:ext uri="{FF2B5EF4-FFF2-40B4-BE49-F238E27FC236}">
                      <a16:creationId xmlns:a16="http://schemas.microsoft.com/office/drawing/2014/main" id="{CE5E3809-8056-10FB-E212-C6AA83B871C4}"/>
                    </a:ext>
                  </a:extLst>
                </p:cNvPr>
                <p:cNvSpPr/>
                <p:nvPr/>
              </p:nvSpPr>
              <p:spPr>
                <a:xfrm>
                  <a:off x="6269637" y="5193499"/>
                  <a:ext cx="246801" cy="251535"/>
                </a:xfrm>
                <a:custGeom>
                  <a:avLst/>
                  <a:gdLst>
                    <a:gd name="connsiteX0" fmla="*/ 1516 w 246801"/>
                    <a:gd name="connsiteY0" fmla="*/ 86577 h 251535"/>
                    <a:gd name="connsiteX1" fmla="*/ 32117 w 246801"/>
                    <a:gd name="connsiteY1" fmla="*/ 36838 h 251535"/>
                    <a:gd name="connsiteX2" fmla="*/ 209963 w 246801"/>
                    <a:gd name="connsiteY2" fmla="*/ 36838 h 251535"/>
                    <a:gd name="connsiteX3" fmla="*/ 209963 w 246801"/>
                    <a:gd name="connsiteY3" fmla="*/ 214697 h 251535"/>
                    <a:gd name="connsiteX4" fmla="*/ 32117 w 246801"/>
                    <a:gd name="connsiteY4" fmla="*/ 214697 h 251535"/>
                    <a:gd name="connsiteX5" fmla="*/ 0 w 246801"/>
                    <a:gd name="connsiteY5" fmla="*/ 159968 h 25153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246801" h="251535">
                      <a:moveTo>
                        <a:pt x="1516" y="86577"/>
                      </a:moveTo>
                      <a:cubicBezTo>
                        <a:pt x="7462" y="68394"/>
                        <a:pt x="17658" y="51297"/>
                        <a:pt x="32117" y="36838"/>
                      </a:cubicBezTo>
                      <a:cubicBezTo>
                        <a:pt x="81223" y="-12279"/>
                        <a:pt x="160869" y="-12279"/>
                        <a:pt x="209963" y="36838"/>
                      </a:cubicBezTo>
                      <a:cubicBezTo>
                        <a:pt x="259081" y="85956"/>
                        <a:pt x="259081" y="165591"/>
                        <a:pt x="209963" y="214697"/>
                      </a:cubicBezTo>
                      <a:cubicBezTo>
                        <a:pt x="160845" y="263815"/>
                        <a:pt x="81223" y="263815"/>
                        <a:pt x="32117" y="214697"/>
                      </a:cubicBezTo>
                      <a:cubicBezTo>
                        <a:pt x="16345" y="198925"/>
                        <a:pt x="5635" y="180002"/>
                        <a:pt x="0" y="159968"/>
                      </a:cubicBez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814" name="Forma livre: Forma 1813">
                  <a:extLst>
                    <a:ext uri="{FF2B5EF4-FFF2-40B4-BE49-F238E27FC236}">
                      <a16:creationId xmlns:a16="http://schemas.microsoft.com/office/drawing/2014/main" id="{1F85D6D7-7D0D-CAE8-8BED-DB350BA36382}"/>
                    </a:ext>
                  </a:extLst>
                </p:cNvPr>
                <p:cNvSpPr/>
                <p:nvPr/>
              </p:nvSpPr>
              <p:spPr>
                <a:xfrm>
                  <a:off x="6264927" y="5301531"/>
                  <a:ext cx="1247" cy="30659"/>
                </a:xfrm>
                <a:custGeom>
                  <a:avLst/>
                  <a:gdLst>
                    <a:gd name="connsiteX0" fmla="*/ 662 w 1247"/>
                    <a:gd name="connsiteY0" fmla="*/ 30660 h 30659"/>
                    <a:gd name="connsiteX1" fmla="*/ 1247 w 1247"/>
                    <a:gd name="connsiteY1" fmla="*/ 0 h 3065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247" h="30659">
                      <a:moveTo>
                        <a:pt x="662" y="30660"/>
                      </a:moveTo>
                      <a:cubicBezTo>
                        <a:pt x="-388" y="20464"/>
                        <a:pt x="-186" y="10160"/>
                        <a:pt x="1247" y="0"/>
                      </a:cubicBez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1815" name="Forma livre: Forma 1814">
                <a:extLst>
                  <a:ext uri="{FF2B5EF4-FFF2-40B4-BE49-F238E27FC236}">
                    <a16:creationId xmlns:a16="http://schemas.microsoft.com/office/drawing/2014/main" id="{5ACCE963-D22F-682B-61FC-166B6E02C348}"/>
                  </a:ext>
                </a:extLst>
              </p:cNvPr>
              <p:cNvSpPr/>
              <p:nvPr/>
            </p:nvSpPr>
            <p:spPr>
              <a:xfrm>
                <a:off x="6214287" y="5352667"/>
                <a:ext cx="91669" cy="1193"/>
              </a:xfrm>
              <a:custGeom>
                <a:avLst/>
                <a:gdLst>
                  <a:gd name="connsiteX0" fmla="*/ 91669 w 91669"/>
                  <a:gd name="connsiteY0" fmla="*/ 0 h 1193"/>
                  <a:gd name="connsiteX1" fmla="*/ 0 w 91669"/>
                  <a:gd name="connsiteY1" fmla="*/ 0 h 11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1669" h="1193">
                    <a:moveTo>
                      <a:pt x="91669" y="0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816" name="Forma livre: Forma 1815">
                <a:extLst>
                  <a:ext uri="{FF2B5EF4-FFF2-40B4-BE49-F238E27FC236}">
                    <a16:creationId xmlns:a16="http://schemas.microsoft.com/office/drawing/2014/main" id="{A86C4F6B-D196-04C2-2159-7C7349616334}"/>
                  </a:ext>
                </a:extLst>
              </p:cNvPr>
              <p:cNvSpPr/>
              <p:nvPr/>
            </p:nvSpPr>
            <p:spPr>
              <a:xfrm>
                <a:off x="6224722" y="5387052"/>
                <a:ext cx="32020" cy="1193"/>
              </a:xfrm>
              <a:custGeom>
                <a:avLst/>
                <a:gdLst>
                  <a:gd name="connsiteX0" fmla="*/ 32021 w 32020"/>
                  <a:gd name="connsiteY0" fmla="*/ 0 h 1193"/>
                  <a:gd name="connsiteX1" fmla="*/ 0 w 32020"/>
                  <a:gd name="connsiteY1" fmla="*/ 0 h 11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2020" h="1193">
                    <a:moveTo>
                      <a:pt x="32021" y="0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817" name="Forma livre: Forma 1816">
                <a:extLst>
                  <a:ext uri="{FF2B5EF4-FFF2-40B4-BE49-F238E27FC236}">
                    <a16:creationId xmlns:a16="http://schemas.microsoft.com/office/drawing/2014/main" id="{1B34A4DD-1145-382B-B846-BDC3D25E25D4}"/>
                  </a:ext>
                </a:extLst>
              </p:cNvPr>
              <p:cNvSpPr/>
              <p:nvPr/>
            </p:nvSpPr>
            <p:spPr>
              <a:xfrm>
                <a:off x="6192880" y="5251470"/>
                <a:ext cx="59493" cy="1193"/>
              </a:xfrm>
              <a:custGeom>
                <a:avLst/>
                <a:gdLst>
                  <a:gd name="connsiteX0" fmla="*/ 59493 w 59493"/>
                  <a:gd name="connsiteY0" fmla="*/ 0 h 1193"/>
                  <a:gd name="connsiteX1" fmla="*/ 0 w 59493"/>
                  <a:gd name="connsiteY1" fmla="*/ 0 h 11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9493" h="1193">
                    <a:moveTo>
                      <a:pt x="59493" y="0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818" name="Forma livre: Forma 1817">
                <a:extLst>
                  <a:ext uri="{FF2B5EF4-FFF2-40B4-BE49-F238E27FC236}">
                    <a16:creationId xmlns:a16="http://schemas.microsoft.com/office/drawing/2014/main" id="{53C6E1D2-B2B8-0F03-8CDB-8E036EF0A1DF}"/>
                  </a:ext>
                </a:extLst>
              </p:cNvPr>
              <p:cNvSpPr/>
              <p:nvPr/>
            </p:nvSpPr>
            <p:spPr>
              <a:xfrm>
                <a:off x="6240374" y="5301149"/>
                <a:ext cx="58991" cy="1193"/>
              </a:xfrm>
              <a:custGeom>
                <a:avLst/>
                <a:gdLst>
                  <a:gd name="connsiteX0" fmla="*/ 58992 w 58991"/>
                  <a:gd name="connsiteY0" fmla="*/ 0 h 1193"/>
                  <a:gd name="connsiteX1" fmla="*/ 0 w 58991"/>
                  <a:gd name="connsiteY1" fmla="*/ 0 h 11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8991" h="1193">
                    <a:moveTo>
                      <a:pt x="58992" y="0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819" name="Forma livre: Forma 1818">
                <a:extLst>
                  <a:ext uri="{FF2B5EF4-FFF2-40B4-BE49-F238E27FC236}">
                    <a16:creationId xmlns:a16="http://schemas.microsoft.com/office/drawing/2014/main" id="{68D7E0D0-9377-4FD9-4DDA-C16A5561E32A}"/>
                  </a:ext>
                </a:extLst>
              </p:cNvPr>
              <p:cNvSpPr/>
              <p:nvPr/>
            </p:nvSpPr>
            <p:spPr>
              <a:xfrm>
                <a:off x="6178290" y="5387052"/>
                <a:ext cx="22553" cy="1193"/>
              </a:xfrm>
              <a:custGeom>
                <a:avLst/>
                <a:gdLst>
                  <a:gd name="connsiteX0" fmla="*/ 22553 w 22553"/>
                  <a:gd name="connsiteY0" fmla="*/ 0 h 1193"/>
                  <a:gd name="connsiteX1" fmla="*/ 0 w 22553"/>
                  <a:gd name="connsiteY1" fmla="*/ 0 h 11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2553" h="1193">
                    <a:moveTo>
                      <a:pt x="22553" y="0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820" name="Forma livre: Forma 1819">
                <a:extLst>
                  <a:ext uri="{FF2B5EF4-FFF2-40B4-BE49-F238E27FC236}">
                    <a16:creationId xmlns:a16="http://schemas.microsoft.com/office/drawing/2014/main" id="{8E97D1EF-55B3-620A-7C3D-360060BE3830}"/>
                  </a:ext>
                </a:extLst>
              </p:cNvPr>
              <p:cNvSpPr/>
              <p:nvPr/>
            </p:nvSpPr>
            <p:spPr>
              <a:xfrm>
                <a:off x="6193930" y="5301149"/>
                <a:ext cx="22565" cy="1193"/>
              </a:xfrm>
              <a:custGeom>
                <a:avLst/>
                <a:gdLst>
                  <a:gd name="connsiteX0" fmla="*/ 22565 w 22565"/>
                  <a:gd name="connsiteY0" fmla="*/ 0 h 1193"/>
                  <a:gd name="connsiteX1" fmla="*/ 0 w 22565"/>
                  <a:gd name="connsiteY1" fmla="*/ 0 h 11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2565" h="1193">
                    <a:moveTo>
                      <a:pt x="22565" y="0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821" name="Forma livre: Forma 1820">
                <a:extLst>
                  <a:ext uri="{FF2B5EF4-FFF2-40B4-BE49-F238E27FC236}">
                    <a16:creationId xmlns:a16="http://schemas.microsoft.com/office/drawing/2014/main" id="{003B1DBB-F2F9-769D-3970-693DC6082F88}"/>
                  </a:ext>
                </a:extLst>
              </p:cNvPr>
              <p:cNvSpPr/>
              <p:nvPr/>
            </p:nvSpPr>
            <p:spPr>
              <a:xfrm>
                <a:off x="6156477" y="5301149"/>
                <a:ext cx="13574" cy="1193"/>
              </a:xfrm>
              <a:custGeom>
                <a:avLst/>
                <a:gdLst>
                  <a:gd name="connsiteX0" fmla="*/ 13575 w 13574"/>
                  <a:gd name="connsiteY0" fmla="*/ 0 h 1193"/>
                  <a:gd name="connsiteX1" fmla="*/ 0 w 13574"/>
                  <a:gd name="connsiteY1" fmla="*/ 0 h 11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3574" h="1193">
                    <a:moveTo>
                      <a:pt x="13575" y="0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822" name="Gráfico 17">
              <a:extLst>
                <a:ext uri="{FF2B5EF4-FFF2-40B4-BE49-F238E27FC236}">
                  <a16:creationId xmlns:a16="http://schemas.microsoft.com/office/drawing/2014/main" id="{1D967C3D-E910-C6D5-E10A-7301A8CC5B5E}"/>
                </a:ext>
              </a:extLst>
            </p:cNvPr>
            <p:cNvGrpSpPr/>
            <p:nvPr/>
          </p:nvGrpSpPr>
          <p:grpSpPr>
            <a:xfrm>
              <a:off x="6348651" y="5197326"/>
              <a:ext cx="163161" cy="243739"/>
              <a:chOff x="6348651" y="5197326"/>
              <a:chExt cx="163161" cy="243739"/>
            </a:xfrm>
            <a:noFill/>
          </p:grpSpPr>
          <p:grpSp>
            <p:nvGrpSpPr>
              <p:cNvPr id="1823" name="Gráfico 17">
                <a:extLst>
                  <a:ext uri="{FF2B5EF4-FFF2-40B4-BE49-F238E27FC236}">
                    <a16:creationId xmlns:a16="http://schemas.microsoft.com/office/drawing/2014/main" id="{31E52572-6204-861D-3D84-6752470F40AC}"/>
                  </a:ext>
                </a:extLst>
              </p:cNvPr>
              <p:cNvGrpSpPr/>
              <p:nvPr/>
            </p:nvGrpSpPr>
            <p:grpSpPr>
              <a:xfrm>
                <a:off x="6390605" y="5197326"/>
                <a:ext cx="1193" cy="243739"/>
                <a:chOff x="6390605" y="5197326"/>
                <a:chExt cx="1193" cy="243739"/>
              </a:xfrm>
            </p:grpSpPr>
            <p:sp>
              <p:nvSpPr>
                <p:cNvPr id="1824" name="Forma livre: Forma 1823">
                  <a:extLst>
                    <a:ext uri="{FF2B5EF4-FFF2-40B4-BE49-F238E27FC236}">
                      <a16:creationId xmlns:a16="http://schemas.microsoft.com/office/drawing/2014/main" id="{5759BA15-DDD3-95E2-5650-A5708A2A555D}"/>
                    </a:ext>
                  </a:extLst>
                </p:cNvPr>
                <p:cNvSpPr/>
                <p:nvPr/>
              </p:nvSpPr>
              <p:spPr>
                <a:xfrm>
                  <a:off x="6390605" y="5197326"/>
                  <a:ext cx="1193" cy="31101"/>
                </a:xfrm>
                <a:custGeom>
                  <a:avLst/>
                  <a:gdLst>
                    <a:gd name="connsiteX0" fmla="*/ 0 w 1193"/>
                    <a:gd name="connsiteY0" fmla="*/ 0 h 31101"/>
                    <a:gd name="connsiteX1" fmla="*/ 0 w 1193"/>
                    <a:gd name="connsiteY1" fmla="*/ 31102 h 3110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193" h="31101">
                      <a:moveTo>
                        <a:pt x="0" y="0"/>
                      </a:moveTo>
                      <a:lnTo>
                        <a:pt x="0" y="31102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825" name="Forma livre: Forma 1824">
                  <a:extLst>
                    <a:ext uri="{FF2B5EF4-FFF2-40B4-BE49-F238E27FC236}">
                      <a16:creationId xmlns:a16="http://schemas.microsoft.com/office/drawing/2014/main" id="{897B08A0-284A-1CC1-A9BB-F767CEB0FFD7}"/>
                    </a:ext>
                  </a:extLst>
                </p:cNvPr>
                <p:cNvSpPr/>
                <p:nvPr/>
              </p:nvSpPr>
              <p:spPr>
                <a:xfrm>
                  <a:off x="6390605" y="5409963"/>
                  <a:ext cx="1193" cy="31101"/>
                </a:xfrm>
                <a:custGeom>
                  <a:avLst/>
                  <a:gdLst>
                    <a:gd name="connsiteX0" fmla="*/ 0 w 1193"/>
                    <a:gd name="connsiteY0" fmla="*/ 0 h 31101"/>
                    <a:gd name="connsiteX1" fmla="*/ 0 w 1193"/>
                    <a:gd name="connsiteY1" fmla="*/ 31102 h 3110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193" h="31101">
                      <a:moveTo>
                        <a:pt x="0" y="0"/>
                      </a:moveTo>
                      <a:lnTo>
                        <a:pt x="0" y="31102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1826" name="Forma livre: Forma 1825">
                <a:extLst>
                  <a:ext uri="{FF2B5EF4-FFF2-40B4-BE49-F238E27FC236}">
                    <a16:creationId xmlns:a16="http://schemas.microsoft.com/office/drawing/2014/main" id="{E1417D8C-AE9B-2C28-BD7E-D912456D6CE0}"/>
                  </a:ext>
                </a:extLst>
              </p:cNvPr>
              <p:cNvSpPr/>
              <p:nvPr/>
            </p:nvSpPr>
            <p:spPr>
              <a:xfrm>
                <a:off x="6480699" y="5319189"/>
                <a:ext cx="31113" cy="1193"/>
              </a:xfrm>
              <a:custGeom>
                <a:avLst/>
                <a:gdLst>
                  <a:gd name="connsiteX0" fmla="*/ 31114 w 31113"/>
                  <a:gd name="connsiteY0" fmla="*/ 0 h 1193"/>
                  <a:gd name="connsiteX1" fmla="*/ 0 w 31113"/>
                  <a:gd name="connsiteY1" fmla="*/ 0 h 11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1113" h="1193">
                    <a:moveTo>
                      <a:pt x="31114" y="0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827" name="Forma livre: Forma 1826">
                <a:extLst>
                  <a:ext uri="{FF2B5EF4-FFF2-40B4-BE49-F238E27FC236}">
                    <a16:creationId xmlns:a16="http://schemas.microsoft.com/office/drawing/2014/main" id="{EA41FC5C-4D99-DAEC-C371-3F1666951C6F}"/>
                  </a:ext>
                </a:extLst>
              </p:cNvPr>
              <p:cNvSpPr/>
              <p:nvPr/>
            </p:nvSpPr>
            <p:spPr>
              <a:xfrm>
                <a:off x="6348651" y="5266442"/>
                <a:ext cx="107059" cy="64782"/>
              </a:xfrm>
              <a:custGeom>
                <a:avLst/>
                <a:gdLst>
                  <a:gd name="connsiteX0" fmla="*/ 107059 w 107059"/>
                  <a:gd name="connsiteY0" fmla="*/ 0 h 64782"/>
                  <a:gd name="connsiteX1" fmla="*/ 42253 w 107059"/>
                  <a:gd name="connsiteY1" fmla="*/ 64782 h 64782"/>
                  <a:gd name="connsiteX2" fmla="*/ 0 w 107059"/>
                  <a:gd name="connsiteY2" fmla="*/ 24845 h 647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07059" h="64782">
                    <a:moveTo>
                      <a:pt x="107059" y="0"/>
                    </a:moveTo>
                    <a:lnTo>
                      <a:pt x="42253" y="64782"/>
                    </a:lnTo>
                    <a:lnTo>
                      <a:pt x="0" y="24845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828" name="Gráfico 17">
            <a:extLst>
              <a:ext uri="{FF2B5EF4-FFF2-40B4-BE49-F238E27FC236}">
                <a16:creationId xmlns:a16="http://schemas.microsoft.com/office/drawing/2014/main" id="{6A98A45B-0FB4-9B91-1309-0928842A42E6}"/>
              </a:ext>
            </a:extLst>
          </p:cNvPr>
          <p:cNvGrpSpPr/>
          <p:nvPr/>
        </p:nvGrpSpPr>
        <p:grpSpPr>
          <a:xfrm>
            <a:off x="7443561" y="5164254"/>
            <a:ext cx="277730" cy="310025"/>
            <a:chOff x="7443561" y="5164254"/>
            <a:chExt cx="277730" cy="310025"/>
          </a:xfrm>
          <a:noFill/>
        </p:grpSpPr>
        <p:grpSp>
          <p:nvGrpSpPr>
            <p:cNvPr id="1829" name="Gráfico 17">
              <a:extLst>
                <a:ext uri="{FF2B5EF4-FFF2-40B4-BE49-F238E27FC236}">
                  <a16:creationId xmlns:a16="http://schemas.microsoft.com/office/drawing/2014/main" id="{D66F7A3A-3051-CCBE-F1A8-8A03B92838AE}"/>
                </a:ext>
              </a:extLst>
            </p:cNvPr>
            <p:cNvGrpSpPr/>
            <p:nvPr/>
          </p:nvGrpSpPr>
          <p:grpSpPr>
            <a:xfrm>
              <a:off x="7443561" y="5164254"/>
              <a:ext cx="248479" cy="247070"/>
              <a:chOff x="7443561" y="5164254"/>
              <a:chExt cx="248479" cy="247070"/>
            </a:xfrm>
            <a:noFill/>
          </p:grpSpPr>
          <p:sp>
            <p:nvSpPr>
              <p:cNvPr id="1830" name="Forma livre: Forma 1829">
                <a:extLst>
                  <a:ext uri="{FF2B5EF4-FFF2-40B4-BE49-F238E27FC236}">
                    <a16:creationId xmlns:a16="http://schemas.microsoft.com/office/drawing/2014/main" id="{EDF8E749-0F62-EACB-B9FF-5058B1E89FBD}"/>
                  </a:ext>
                </a:extLst>
              </p:cNvPr>
              <p:cNvSpPr/>
              <p:nvPr/>
            </p:nvSpPr>
            <p:spPr>
              <a:xfrm>
                <a:off x="7458008" y="5175596"/>
                <a:ext cx="103548" cy="184460"/>
              </a:xfrm>
              <a:custGeom>
                <a:avLst/>
                <a:gdLst>
                  <a:gd name="connsiteX0" fmla="*/ 0 w 103548"/>
                  <a:gd name="connsiteY0" fmla="*/ 59601 h 184460"/>
                  <a:gd name="connsiteX1" fmla="*/ 34457 w 103548"/>
                  <a:gd name="connsiteY1" fmla="*/ 93496 h 184460"/>
                  <a:gd name="connsiteX2" fmla="*/ 28869 w 103548"/>
                  <a:gd name="connsiteY2" fmla="*/ 122807 h 184460"/>
                  <a:gd name="connsiteX3" fmla="*/ 49118 w 103548"/>
                  <a:gd name="connsiteY3" fmla="*/ 134663 h 184460"/>
                  <a:gd name="connsiteX4" fmla="*/ 63314 w 103548"/>
                  <a:gd name="connsiteY4" fmla="*/ 184461 h 184460"/>
                  <a:gd name="connsiteX5" fmla="*/ 103549 w 103548"/>
                  <a:gd name="connsiteY5" fmla="*/ 110939 h 184460"/>
                  <a:gd name="connsiteX6" fmla="*/ 61690 w 103548"/>
                  <a:gd name="connsiteY6" fmla="*/ 89305 h 184460"/>
                  <a:gd name="connsiteX7" fmla="*/ 34457 w 103548"/>
                  <a:gd name="connsiteY7" fmla="*/ 91407 h 184460"/>
                  <a:gd name="connsiteX8" fmla="*/ 31675 w 103548"/>
                  <a:gd name="connsiteY8" fmla="*/ 69069 h 184460"/>
                  <a:gd name="connsiteX9" fmla="*/ 66561 w 103548"/>
                  <a:gd name="connsiteY9" fmla="*/ 45345 h 184460"/>
                  <a:gd name="connsiteX10" fmla="*/ 65164 w 103548"/>
                  <a:gd name="connsiteY10" fmla="*/ 0 h 1844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103548" h="184460">
                    <a:moveTo>
                      <a:pt x="0" y="59601"/>
                    </a:moveTo>
                    <a:lnTo>
                      <a:pt x="34457" y="93496"/>
                    </a:lnTo>
                    <a:lnTo>
                      <a:pt x="28869" y="122807"/>
                    </a:lnTo>
                    <a:lnTo>
                      <a:pt x="49118" y="134663"/>
                    </a:lnTo>
                    <a:lnTo>
                      <a:pt x="63314" y="184461"/>
                    </a:lnTo>
                    <a:lnTo>
                      <a:pt x="103549" y="110939"/>
                    </a:lnTo>
                    <a:lnTo>
                      <a:pt x="61690" y="89305"/>
                    </a:lnTo>
                    <a:lnTo>
                      <a:pt x="34457" y="91407"/>
                    </a:lnTo>
                    <a:lnTo>
                      <a:pt x="31675" y="69069"/>
                    </a:lnTo>
                    <a:lnTo>
                      <a:pt x="66561" y="45345"/>
                    </a:lnTo>
                    <a:lnTo>
                      <a:pt x="65164" y="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831" name="Forma livre: Forma 1830">
                <a:extLst>
                  <a:ext uri="{FF2B5EF4-FFF2-40B4-BE49-F238E27FC236}">
                    <a16:creationId xmlns:a16="http://schemas.microsoft.com/office/drawing/2014/main" id="{4D67E3DC-F1A5-5847-BA06-98D3C95667F0}"/>
                  </a:ext>
                </a:extLst>
              </p:cNvPr>
              <p:cNvSpPr/>
              <p:nvPr/>
            </p:nvSpPr>
            <p:spPr>
              <a:xfrm>
                <a:off x="7604116" y="5177614"/>
                <a:ext cx="61419" cy="128680"/>
              </a:xfrm>
              <a:custGeom>
                <a:avLst/>
                <a:gdLst>
                  <a:gd name="connsiteX0" fmla="*/ 31941 w 61419"/>
                  <a:gd name="connsiteY0" fmla="*/ 128681 h 128680"/>
                  <a:gd name="connsiteX1" fmla="*/ 26819 w 61419"/>
                  <a:gd name="connsiteY1" fmla="*/ 105555 h 128680"/>
                  <a:gd name="connsiteX2" fmla="*/ 16754 w 61419"/>
                  <a:gd name="connsiteY2" fmla="*/ 105435 h 128680"/>
                  <a:gd name="connsiteX3" fmla="*/ 11871 w 61419"/>
                  <a:gd name="connsiteY3" fmla="*/ 68448 h 128680"/>
                  <a:gd name="connsiteX4" fmla="*/ 47462 w 61419"/>
                  <a:gd name="connsiteY4" fmla="*/ 64257 h 128680"/>
                  <a:gd name="connsiteX5" fmla="*/ 61419 w 61419"/>
                  <a:gd name="connsiteY5" fmla="*/ 37035 h 128680"/>
                  <a:gd name="connsiteX6" fmla="*/ 16062 w 61419"/>
                  <a:gd name="connsiteY6" fmla="*/ 41931 h 128680"/>
                  <a:gd name="connsiteX7" fmla="*/ 3597 w 61419"/>
                  <a:gd name="connsiteY7" fmla="*/ 34254 h 128680"/>
                  <a:gd name="connsiteX8" fmla="*/ 15775 w 61419"/>
                  <a:gd name="connsiteY8" fmla="*/ 0 h 1286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61419" h="128680">
                    <a:moveTo>
                      <a:pt x="31941" y="128681"/>
                    </a:moveTo>
                    <a:lnTo>
                      <a:pt x="26819" y="105555"/>
                    </a:lnTo>
                    <a:lnTo>
                      <a:pt x="16754" y="105435"/>
                    </a:lnTo>
                    <a:cubicBezTo>
                      <a:pt x="16754" y="105435"/>
                      <a:pt x="-17439" y="92875"/>
                      <a:pt x="11871" y="68448"/>
                    </a:cubicBezTo>
                    <a:lnTo>
                      <a:pt x="47462" y="64257"/>
                    </a:lnTo>
                    <a:lnTo>
                      <a:pt x="61419" y="37035"/>
                    </a:lnTo>
                    <a:lnTo>
                      <a:pt x="16062" y="41931"/>
                    </a:lnTo>
                    <a:lnTo>
                      <a:pt x="3597" y="34254"/>
                    </a:lnTo>
                    <a:lnTo>
                      <a:pt x="15775" y="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832" name="Forma livre: Forma 1831">
                <a:extLst>
                  <a:ext uri="{FF2B5EF4-FFF2-40B4-BE49-F238E27FC236}">
                    <a16:creationId xmlns:a16="http://schemas.microsoft.com/office/drawing/2014/main" id="{A0B23F6D-E130-59A2-52BD-4435D5AB53F3}"/>
                  </a:ext>
                </a:extLst>
              </p:cNvPr>
              <p:cNvSpPr/>
              <p:nvPr/>
            </p:nvSpPr>
            <p:spPr>
              <a:xfrm>
                <a:off x="7666263" y="5271027"/>
                <a:ext cx="24630" cy="36534"/>
              </a:xfrm>
              <a:custGeom>
                <a:avLst/>
                <a:gdLst>
                  <a:gd name="connsiteX0" fmla="*/ 24631 w 24630"/>
                  <a:gd name="connsiteY0" fmla="*/ 0 h 36534"/>
                  <a:gd name="connsiteX1" fmla="*/ 0 w 24630"/>
                  <a:gd name="connsiteY1" fmla="*/ 36534 h 365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4630" h="36534">
                    <a:moveTo>
                      <a:pt x="24631" y="0"/>
                    </a:moveTo>
                    <a:lnTo>
                      <a:pt x="0" y="36534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833" name="Forma livre: Forma 1832">
                <a:extLst>
                  <a:ext uri="{FF2B5EF4-FFF2-40B4-BE49-F238E27FC236}">
                    <a16:creationId xmlns:a16="http://schemas.microsoft.com/office/drawing/2014/main" id="{78BB0991-2DB7-F360-8961-3BEBBAA76A33}"/>
                  </a:ext>
                </a:extLst>
              </p:cNvPr>
              <p:cNvSpPr/>
              <p:nvPr/>
            </p:nvSpPr>
            <p:spPr>
              <a:xfrm>
                <a:off x="7443561" y="5164254"/>
                <a:ext cx="248479" cy="247070"/>
              </a:xfrm>
              <a:custGeom>
                <a:avLst/>
                <a:gdLst>
                  <a:gd name="connsiteX0" fmla="*/ 105578 w 248479"/>
                  <a:gd name="connsiteY0" fmla="*/ 247070 h 247070"/>
                  <a:gd name="connsiteX1" fmla="*/ 0 w 248479"/>
                  <a:gd name="connsiteY1" fmla="*/ 124228 h 247070"/>
                  <a:gd name="connsiteX2" fmla="*/ 124239 w 248479"/>
                  <a:gd name="connsiteY2" fmla="*/ 0 h 247070"/>
                  <a:gd name="connsiteX3" fmla="*/ 248479 w 248479"/>
                  <a:gd name="connsiteY3" fmla="*/ 124228 h 247070"/>
                  <a:gd name="connsiteX4" fmla="*/ 246079 w 248479"/>
                  <a:gd name="connsiteY4" fmla="*/ 148584 h 2470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48479" h="247070">
                    <a:moveTo>
                      <a:pt x="105578" y="247070"/>
                    </a:moveTo>
                    <a:cubicBezTo>
                      <a:pt x="45823" y="238068"/>
                      <a:pt x="0" y="186503"/>
                      <a:pt x="0" y="124228"/>
                    </a:cubicBezTo>
                    <a:cubicBezTo>
                      <a:pt x="0" y="55613"/>
                      <a:pt x="55625" y="0"/>
                      <a:pt x="124239" y="0"/>
                    </a:cubicBezTo>
                    <a:cubicBezTo>
                      <a:pt x="192854" y="0"/>
                      <a:pt x="248479" y="55613"/>
                      <a:pt x="248479" y="124228"/>
                    </a:cubicBezTo>
                    <a:cubicBezTo>
                      <a:pt x="248479" y="132561"/>
                      <a:pt x="247655" y="140704"/>
                      <a:pt x="246079" y="148584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834" name="Forma livre: Forma 1833">
              <a:extLst>
                <a:ext uri="{FF2B5EF4-FFF2-40B4-BE49-F238E27FC236}">
                  <a16:creationId xmlns:a16="http://schemas.microsoft.com/office/drawing/2014/main" id="{A7DE2DD0-40DD-2DB1-132B-B983F3F7477D}"/>
                </a:ext>
              </a:extLst>
            </p:cNvPr>
            <p:cNvSpPr/>
            <p:nvPr/>
          </p:nvSpPr>
          <p:spPr>
            <a:xfrm>
              <a:off x="7571394" y="5324383"/>
              <a:ext cx="149896" cy="149896"/>
            </a:xfrm>
            <a:custGeom>
              <a:avLst/>
              <a:gdLst>
                <a:gd name="connsiteX0" fmla="*/ 149897 w 149896"/>
                <a:gd name="connsiteY0" fmla="*/ 74942 h 149896"/>
                <a:gd name="connsiteX1" fmla="*/ 74943 w 149896"/>
                <a:gd name="connsiteY1" fmla="*/ 149897 h 149896"/>
                <a:gd name="connsiteX2" fmla="*/ 0 w 149896"/>
                <a:gd name="connsiteY2" fmla="*/ 74942 h 149896"/>
                <a:gd name="connsiteX3" fmla="*/ 74943 w 149896"/>
                <a:gd name="connsiteY3" fmla="*/ 0 h 149896"/>
                <a:gd name="connsiteX4" fmla="*/ 149897 w 149896"/>
                <a:gd name="connsiteY4" fmla="*/ 74942 h 1498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9896" h="149896">
                  <a:moveTo>
                    <a:pt x="149897" y="74942"/>
                  </a:moveTo>
                  <a:cubicBezTo>
                    <a:pt x="149897" y="116336"/>
                    <a:pt x="116336" y="149897"/>
                    <a:pt x="74943" y="149897"/>
                  </a:cubicBezTo>
                  <a:cubicBezTo>
                    <a:pt x="33549" y="149897"/>
                    <a:pt x="0" y="116336"/>
                    <a:pt x="0" y="74942"/>
                  </a:cubicBezTo>
                  <a:cubicBezTo>
                    <a:pt x="0" y="33549"/>
                    <a:pt x="33561" y="0"/>
                    <a:pt x="74943" y="0"/>
                  </a:cubicBezTo>
                  <a:cubicBezTo>
                    <a:pt x="116324" y="0"/>
                    <a:pt x="149897" y="33561"/>
                    <a:pt x="149897" y="74942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35" name="Forma livre: Forma 1834">
              <a:extLst>
                <a:ext uri="{FF2B5EF4-FFF2-40B4-BE49-F238E27FC236}">
                  <a16:creationId xmlns:a16="http://schemas.microsoft.com/office/drawing/2014/main" id="{DCB8FF26-22F3-7B54-E61E-5993D6892AD2}"/>
                </a:ext>
              </a:extLst>
            </p:cNvPr>
            <p:cNvSpPr/>
            <p:nvPr/>
          </p:nvSpPr>
          <p:spPr>
            <a:xfrm>
              <a:off x="7618471" y="5350816"/>
              <a:ext cx="28475" cy="69725"/>
            </a:xfrm>
            <a:custGeom>
              <a:avLst/>
              <a:gdLst>
                <a:gd name="connsiteX0" fmla="*/ 28475 w 28475"/>
                <a:gd name="connsiteY0" fmla="*/ 0 h 69725"/>
                <a:gd name="connsiteX1" fmla="*/ 28475 w 28475"/>
                <a:gd name="connsiteY1" fmla="*/ 50981 h 69725"/>
                <a:gd name="connsiteX2" fmla="*/ 0 w 28475"/>
                <a:gd name="connsiteY2" fmla="*/ 69725 h 697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8475" h="69725">
                  <a:moveTo>
                    <a:pt x="28475" y="0"/>
                  </a:moveTo>
                  <a:lnTo>
                    <a:pt x="28475" y="50981"/>
                  </a:lnTo>
                  <a:lnTo>
                    <a:pt x="0" y="69725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836" name="Gráfico 17">
            <a:extLst>
              <a:ext uri="{FF2B5EF4-FFF2-40B4-BE49-F238E27FC236}">
                <a16:creationId xmlns:a16="http://schemas.microsoft.com/office/drawing/2014/main" id="{8A0EB5D7-C402-8875-E914-40466AA69BF5}"/>
              </a:ext>
            </a:extLst>
          </p:cNvPr>
          <p:cNvGrpSpPr/>
          <p:nvPr/>
        </p:nvGrpSpPr>
        <p:grpSpPr>
          <a:xfrm>
            <a:off x="6812482" y="5168970"/>
            <a:ext cx="293927" cy="300569"/>
            <a:chOff x="6812482" y="5168970"/>
            <a:chExt cx="293927" cy="300569"/>
          </a:xfrm>
          <a:noFill/>
        </p:grpSpPr>
        <p:grpSp>
          <p:nvGrpSpPr>
            <p:cNvPr id="1837" name="Gráfico 17">
              <a:extLst>
                <a:ext uri="{FF2B5EF4-FFF2-40B4-BE49-F238E27FC236}">
                  <a16:creationId xmlns:a16="http://schemas.microsoft.com/office/drawing/2014/main" id="{468F3990-29C5-F93A-FE99-438C5014C55C}"/>
                </a:ext>
              </a:extLst>
            </p:cNvPr>
            <p:cNvGrpSpPr/>
            <p:nvPr/>
          </p:nvGrpSpPr>
          <p:grpSpPr>
            <a:xfrm>
              <a:off x="6812482" y="5204895"/>
              <a:ext cx="222685" cy="264644"/>
              <a:chOff x="6812482" y="5204895"/>
              <a:chExt cx="222685" cy="264644"/>
            </a:xfrm>
            <a:noFill/>
          </p:grpSpPr>
          <p:sp>
            <p:nvSpPr>
              <p:cNvPr id="1838" name="Forma livre: Forma 1837">
                <a:extLst>
                  <a:ext uri="{FF2B5EF4-FFF2-40B4-BE49-F238E27FC236}">
                    <a16:creationId xmlns:a16="http://schemas.microsoft.com/office/drawing/2014/main" id="{62F61538-12D2-54F5-5D26-63AAC9B52739}"/>
                  </a:ext>
                </a:extLst>
              </p:cNvPr>
              <p:cNvSpPr/>
              <p:nvPr/>
            </p:nvSpPr>
            <p:spPr>
              <a:xfrm>
                <a:off x="6812482" y="5204895"/>
                <a:ext cx="108917" cy="264238"/>
              </a:xfrm>
              <a:custGeom>
                <a:avLst/>
                <a:gdLst>
                  <a:gd name="connsiteX0" fmla="*/ 108917 w 108917"/>
                  <a:gd name="connsiteY0" fmla="*/ 0 h 264238"/>
                  <a:gd name="connsiteX1" fmla="*/ 65160 w 108917"/>
                  <a:gd name="connsiteY1" fmla="*/ 16178 h 264238"/>
                  <a:gd name="connsiteX2" fmla="*/ 31897 w 108917"/>
                  <a:gd name="connsiteY2" fmla="*/ 92827 h 264238"/>
                  <a:gd name="connsiteX3" fmla="*/ 28530 w 108917"/>
                  <a:gd name="connsiteY3" fmla="*/ 116790 h 264238"/>
                  <a:gd name="connsiteX4" fmla="*/ 593 w 108917"/>
                  <a:gd name="connsiteY4" fmla="*/ 149634 h 264238"/>
                  <a:gd name="connsiteX5" fmla="*/ 8043 w 108917"/>
                  <a:gd name="connsiteY5" fmla="*/ 160320 h 264238"/>
                  <a:gd name="connsiteX6" fmla="*/ 25068 w 108917"/>
                  <a:gd name="connsiteY6" fmla="*/ 163830 h 264238"/>
                  <a:gd name="connsiteX7" fmla="*/ 32888 w 108917"/>
                  <a:gd name="connsiteY7" fmla="*/ 188401 h 264238"/>
                  <a:gd name="connsiteX8" fmla="*/ 31109 w 108917"/>
                  <a:gd name="connsiteY8" fmla="*/ 212267 h 264238"/>
                  <a:gd name="connsiteX9" fmla="*/ 34560 w 108917"/>
                  <a:gd name="connsiteY9" fmla="*/ 235322 h 264238"/>
                  <a:gd name="connsiteX10" fmla="*/ 93145 w 108917"/>
                  <a:gd name="connsiteY10" fmla="*/ 233018 h 264238"/>
                  <a:gd name="connsiteX11" fmla="*/ 101885 w 108917"/>
                  <a:gd name="connsiteY11" fmla="*/ 264239 h 2642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08917" h="264238">
                    <a:moveTo>
                      <a:pt x="108917" y="0"/>
                    </a:moveTo>
                    <a:cubicBezTo>
                      <a:pt x="95127" y="2507"/>
                      <a:pt x="80418" y="7522"/>
                      <a:pt x="65160" y="16178"/>
                    </a:cubicBezTo>
                    <a:cubicBezTo>
                      <a:pt x="65160" y="16178"/>
                      <a:pt x="22979" y="34433"/>
                      <a:pt x="31897" y="92827"/>
                    </a:cubicBezTo>
                    <a:cubicBezTo>
                      <a:pt x="31897" y="92827"/>
                      <a:pt x="33700" y="109160"/>
                      <a:pt x="28530" y="116790"/>
                    </a:cubicBezTo>
                    <a:lnTo>
                      <a:pt x="593" y="149634"/>
                    </a:lnTo>
                    <a:cubicBezTo>
                      <a:pt x="593" y="149634"/>
                      <a:pt x="-3121" y="159401"/>
                      <a:pt x="8043" y="160320"/>
                    </a:cubicBezTo>
                    <a:lnTo>
                      <a:pt x="25068" y="163830"/>
                    </a:lnTo>
                    <a:cubicBezTo>
                      <a:pt x="25068" y="163830"/>
                      <a:pt x="32184" y="177715"/>
                      <a:pt x="32888" y="188401"/>
                    </a:cubicBezTo>
                    <a:cubicBezTo>
                      <a:pt x="33604" y="199087"/>
                      <a:pt x="31109" y="212267"/>
                      <a:pt x="31109" y="212267"/>
                    </a:cubicBezTo>
                    <a:cubicBezTo>
                      <a:pt x="31109" y="212267"/>
                      <a:pt x="25056" y="228290"/>
                      <a:pt x="34560" y="235322"/>
                    </a:cubicBezTo>
                    <a:cubicBezTo>
                      <a:pt x="36434" y="235788"/>
                      <a:pt x="43407" y="243715"/>
                      <a:pt x="93145" y="233018"/>
                    </a:cubicBezTo>
                    <a:cubicBezTo>
                      <a:pt x="93145" y="233018"/>
                      <a:pt x="98840" y="238247"/>
                      <a:pt x="101885" y="264239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839" name="Forma livre: Forma 1838">
                <a:extLst>
                  <a:ext uri="{FF2B5EF4-FFF2-40B4-BE49-F238E27FC236}">
                    <a16:creationId xmlns:a16="http://schemas.microsoft.com/office/drawing/2014/main" id="{9EEDFB1A-0DC7-F972-CF3F-18B3D648DB8F}"/>
                  </a:ext>
                </a:extLst>
              </p:cNvPr>
              <p:cNvSpPr/>
              <p:nvPr/>
            </p:nvSpPr>
            <p:spPr>
              <a:xfrm>
                <a:off x="7016512" y="5363615"/>
                <a:ext cx="18656" cy="105924"/>
              </a:xfrm>
              <a:custGeom>
                <a:avLst/>
                <a:gdLst>
                  <a:gd name="connsiteX0" fmla="*/ 5273 w 18656"/>
                  <a:gd name="connsiteY0" fmla="*/ 105925 h 105924"/>
                  <a:gd name="connsiteX1" fmla="*/ 234 w 18656"/>
                  <a:gd name="connsiteY1" fmla="*/ 48724 h 105924"/>
                  <a:gd name="connsiteX2" fmla="*/ 18656 w 18656"/>
                  <a:gd name="connsiteY2" fmla="*/ 0 h 1059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8656" h="105924">
                    <a:moveTo>
                      <a:pt x="5273" y="105925"/>
                    </a:moveTo>
                    <a:cubicBezTo>
                      <a:pt x="3064" y="93042"/>
                      <a:pt x="-1019" y="69140"/>
                      <a:pt x="234" y="48724"/>
                    </a:cubicBezTo>
                    <a:cubicBezTo>
                      <a:pt x="234" y="48724"/>
                      <a:pt x="6371" y="21097"/>
                      <a:pt x="18656" y="0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840" name="Forma livre: Forma 1839">
                <a:extLst>
                  <a:ext uri="{FF2B5EF4-FFF2-40B4-BE49-F238E27FC236}">
                    <a16:creationId xmlns:a16="http://schemas.microsoft.com/office/drawing/2014/main" id="{9B7554F3-36FD-ADB1-EADF-0B10376E9150}"/>
                  </a:ext>
                </a:extLst>
              </p:cNvPr>
              <p:cNvSpPr/>
              <p:nvPr/>
            </p:nvSpPr>
            <p:spPr>
              <a:xfrm>
                <a:off x="6847519" y="5394013"/>
                <a:ext cx="21371" cy="370"/>
              </a:xfrm>
              <a:custGeom>
                <a:avLst/>
                <a:gdLst>
                  <a:gd name="connsiteX0" fmla="*/ 0 w 21371"/>
                  <a:gd name="connsiteY0" fmla="*/ 0 h 370"/>
                  <a:gd name="connsiteX1" fmla="*/ 21371 w 21371"/>
                  <a:gd name="connsiteY1" fmla="*/ 370 h 3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1371" h="370">
                    <a:moveTo>
                      <a:pt x="0" y="0"/>
                    </a:moveTo>
                    <a:lnTo>
                      <a:pt x="21371" y="37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841" name="Gráfico 17">
              <a:extLst>
                <a:ext uri="{FF2B5EF4-FFF2-40B4-BE49-F238E27FC236}">
                  <a16:creationId xmlns:a16="http://schemas.microsoft.com/office/drawing/2014/main" id="{33C7B0E2-4BFD-287F-3D77-3340976C03F0}"/>
                </a:ext>
              </a:extLst>
            </p:cNvPr>
            <p:cNvGrpSpPr/>
            <p:nvPr/>
          </p:nvGrpSpPr>
          <p:grpSpPr>
            <a:xfrm>
              <a:off x="6937493" y="5171442"/>
              <a:ext cx="166564" cy="166480"/>
              <a:chOff x="6937493" y="5171442"/>
              <a:chExt cx="166564" cy="166480"/>
            </a:xfrm>
            <a:noFill/>
          </p:grpSpPr>
          <p:grpSp>
            <p:nvGrpSpPr>
              <p:cNvPr id="1842" name="Gráfico 17">
                <a:extLst>
                  <a:ext uri="{FF2B5EF4-FFF2-40B4-BE49-F238E27FC236}">
                    <a16:creationId xmlns:a16="http://schemas.microsoft.com/office/drawing/2014/main" id="{4731D513-C8AA-D47A-DB61-97A9E9C6D3D2}"/>
                  </a:ext>
                </a:extLst>
              </p:cNvPr>
              <p:cNvGrpSpPr/>
              <p:nvPr/>
            </p:nvGrpSpPr>
            <p:grpSpPr>
              <a:xfrm>
                <a:off x="7020936" y="5171442"/>
                <a:ext cx="1193" cy="166480"/>
                <a:chOff x="7020936" y="5171442"/>
                <a:chExt cx="1193" cy="166480"/>
              </a:xfrm>
            </p:grpSpPr>
            <p:sp>
              <p:nvSpPr>
                <p:cNvPr id="1843" name="Forma livre: Forma 1842">
                  <a:extLst>
                    <a:ext uri="{FF2B5EF4-FFF2-40B4-BE49-F238E27FC236}">
                      <a16:creationId xmlns:a16="http://schemas.microsoft.com/office/drawing/2014/main" id="{E7EFF4E9-4C34-73A0-FEA3-E49E67379D7C}"/>
                    </a:ext>
                  </a:extLst>
                </p:cNvPr>
                <p:cNvSpPr/>
                <p:nvPr/>
              </p:nvSpPr>
              <p:spPr>
                <a:xfrm>
                  <a:off x="7020936" y="5171442"/>
                  <a:ext cx="1193" cy="22457"/>
                </a:xfrm>
                <a:custGeom>
                  <a:avLst/>
                  <a:gdLst>
                    <a:gd name="connsiteX0" fmla="*/ 0 w 1193"/>
                    <a:gd name="connsiteY0" fmla="*/ 0 h 22457"/>
                    <a:gd name="connsiteX1" fmla="*/ 0 w 1193"/>
                    <a:gd name="connsiteY1" fmla="*/ 22458 h 2245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193" h="22457">
                      <a:moveTo>
                        <a:pt x="0" y="0"/>
                      </a:moveTo>
                      <a:lnTo>
                        <a:pt x="0" y="22458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844" name="Forma livre: Forma 1843">
                  <a:extLst>
                    <a:ext uri="{FF2B5EF4-FFF2-40B4-BE49-F238E27FC236}">
                      <a16:creationId xmlns:a16="http://schemas.microsoft.com/office/drawing/2014/main" id="{240DCA4F-485F-4C9B-0D81-6C5CB47D5048}"/>
                    </a:ext>
                  </a:extLst>
                </p:cNvPr>
                <p:cNvSpPr/>
                <p:nvPr/>
              </p:nvSpPr>
              <p:spPr>
                <a:xfrm>
                  <a:off x="7020936" y="5315464"/>
                  <a:ext cx="1193" cy="22457"/>
                </a:xfrm>
                <a:custGeom>
                  <a:avLst/>
                  <a:gdLst>
                    <a:gd name="connsiteX0" fmla="*/ 0 w 1193"/>
                    <a:gd name="connsiteY0" fmla="*/ 0 h 22457"/>
                    <a:gd name="connsiteX1" fmla="*/ 0 w 1193"/>
                    <a:gd name="connsiteY1" fmla="*/ 22458 h 2245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193" h="22457">
                      <a:moveTo>
                        <a:pt x="0" y="0"/>
                      </a:moveTo>
                      <a:lnTo>
                        <a:pt x="0" y="22458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1845" name="Gráfico 17">
                <a:extLst>
                  <a:ext uri="{FF2B5EF4-FFF2-40B4-BE49-F238E27FC236}">
                    <a16:creationId xmlns:a16="http://schemas.microsoft.com/office/drawing/2014/main" id="{BC29D401-5FF2-EC1F-AA48-9C572C7DC634}"/>
                  </a:ext>
                </a:extLst>
              </p:cNvPr>
              <p:cNvGrpSpPr/>
              <p:nvPr/>
            </p:nvGrpSpPr>
            <p:grpSpPr>
              <a:xfrm>
                <a:off x="6937493" y="5254742"/>
                <a:ext cx="166564" cy="1193"/>
                <a:chOff x="6937493" y="5254742"/>
                <a:chExt cx="166564" cy="1193"/>
              </a:xfrm>
            </p:grpSpPr>
            <p:sp>
              <p:nvSpPr>
                <p:cNvPr id="1846" name="Forma livre: Forma 1845">
                  <a:extLst>
                    <a:ext uri="{FF2B5EF4-FFF2-40B4-BE49-F238E27FC236}">
                      <a16:creationId xmlns:a16="http://schemas.microsoft.com/office/drawing/2014/main" id="{62A80F48-5CCA-18C8-C194-4A30CEEF2D22}"/>
                    </a:ext>
                  </a:extLst>
                </p:cNvPr>
                <p:cNvSpPr/>
                <p:nvPr/>
              </p:nvSpPr>
              <p:spPr>
                <a:xfrm>
                  <a:off x="7081588" y="5254742"/>
                  <a:ext cx="22469" cy="1193"/>
                </a:xfrm>
                <a:custGeom>
                  <a:avLst/>
                  <a:gdLst>
                    <a:gd name="connsiteX0" fmla="*/ 22470 w 22469"/>
                    <a:gd name="connsiteY0" fmla="*/ 0 h 1193"/>
                    <a:gd name="connsiteX1" fmla="*/ 0 w 22469"/>
                    <a:gd name="connsiteY1" fmla="*/ 0 h 119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2469" h="1193">
                      <a:moveTo>
                        <a:pt x="22470" y="0"/>
                      </a:moveTo>
                      <a:lnTo>
                        <a:pt x="0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847" name="Forma livre: Forma 1846">
                  <a:extLst>
                    <a:ext uri="{FF2B5EF4-FFF2-40B4-BE49-F238E27FC236}">
                      <a16:creationId xmlns:a16="http://schemas.microsoft.com/office/drawing/2014/main" id="{0C532AFB-9F8B-CEFD-AAF3-08259E3DB117}"/>
                    </a:ext>
                  </a:extLst>
                </p:cNvPr>
                <p:cNvSpPr/>
                <p:nvPr/>
              </p:nvSpPr>
              <p:spPr>
                <a:xfrm>
                  <a:off x="6937493" y="5254742"/>
                  <a:ext cx="22469" cy="1193"/>
                </a:xfrm>
                <a:custGeom>
                  <a:avLst/>
                  <a:gdLst>
                    <a:gd name="connsiteX0" fmla="*/ 22470 w 22469"/>
                    <a:gd name="connsiteY0" fmla="*/ 0 h 1193"/>
                    <a:gd name="connsiteX1" fmla="*/ 0 w 22469"/>
                    <a:gd name="connsiteY1" fmla="*/ 0 h 119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2469" h="1193">
                      <a:moveTo>
                        <a:pt x="22470" y="0"/>
                      </a:moveTo>
                      <a:lnTo>
                        <a:pt x="0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1848" name="Forma livre: Forma 1847">
                <a:extLst>
                  <a:ext uri="{FF2B5EF4-FFF2-40B4-BE49-F238E27FC236}">
                    <a16:creationId xmlns:a16="http://schemas.microsoft.com/office/drawing/2014/main" id="{84D42026-74BD-B922-5EE4-5BF0A109CFA6}"/>
                  </a:ext>
                </a:extLst>
              </p:cNvPr>
              <p:cNvSpPr/>
              <p:nvPr/>
            </p:nvSpPr>
            <p:spPr>
              <a:xfrm>
                <a:off x="6994969" y="5222530"/>
                <a:ext cx="65104" cy="39805"/>
              </a:xfrm>
              <a:custGeom>
                <a:avLst/>
                <a:gdLst>
                  <a:gd name="connsiteX0" fmla="*/ 0 w 65104"/>
                  <a:gd name="connsiteY0" fmla="*/ 14327 h 39805"/>
                  <a:gd name="connsiteX1" fmla="*/ 25908 w 65104"/>
                  <a:gd name="connsiteY1" fmla="*/ 39805 h 39805"/>
                  <a:gd name="connsiteX2" fmla="*/ 65105 w 65104"/>
                  <a:gd name="connsiteY2" fmla="*/ 0 h 398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65104" h="39805">
                    <a:moveTo>
                      <a:pt x="0" y="14327"/>
                    </a:moveTo>
                    <a:lnTo>
                      <a:pt x="25908" y="39805"/>
                    </a:lnTo>
                    <a:lnTo>
                      <a:pt x="65105" y="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849" name="Forma livre: Forma 1848">
              <a:extLst>
                <a:ext uri="{FF2B5EF4-FFF2-40B4-BE49-F238E27FC236}">
                  <a16:creationId xmlns:a16="http://schemas.microsoft.com/office/drawing/2014/main" id="{2DDE4F2D-5DA3-DADD-F811-CAB986DA909C}"/>
                </a:ext>
              </a:extLst>
            </p:cNvPr>
            <p:cNvSpPr/>
            <p:nvPr/>
          </p:nvSpPr>
          <p:spPr>
            <a:xfrm>
              <a:off x="6935082" y="5168970"/>
              <a:ext cx="171327" cy="171327"/>
            </a:xfrm>
            <a:custGeom>
              <a:avLst/>
              <a:gdLst>
                <a:gd name="connsiteX0" fmla="*/ 50097 w 171327"/>
                <a:gd name="connsiteY0" fmla="*/ 7713 h 171327"/>
                <a:gd name="connsiteX1" fmla="*/ 85664 w 171327"/>
                <a:gd name="connsiteY1" fmla="*/ 0 h 171327"/>
                <a:gd name="connsiteX2" fmla="*/ 171328 w 171327"/>
                <a:gd name="connsiteY2" fmla="*/ 85664 h 171327"/>
                <a:gd name="connsiteX3" fmla="*/ 85664 w 171327"/>
                <a:gd name="connsiteY3" fmla="*/ 171328 h 171327"/>
                <a:gd name="connsiteX4" fmla="*/ 0 w 171327"/>
                <a:gd name="connsiteY4" fmla="*/ 85664 h 171327"/>
                <a:gd name="connsiteX5" fmla="*/ 26051 w 171327"/>
                <a:gd name="connsiteY5" fmla="*/ 24141 h 171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71327" h="171327">
                  <a:moveTo>
                    <a:pt x="50097" y="7713"/>
                  </a:moveTo>
                  <a:cubicBezTo>
                    <a:pt x="60926" y="2770"/>
                    <a:pt x="72973" y="0"/>
                    <a:pt x="85664" y="0"/>
                  </a:cubicBezTo>
                  <a:cubicBezTo>
                    <a:pt x="132967" y="0"/>
                    <a:pt x="171328" y="38361"/>
                    <a:pt x="171328" y="85664"/>
                  </a:cubicBezTo>
                  <a:cubicBezTo>
                    <a:pt x="171328" y="132967"/>
                    <a:pt x="132967" y="171328"/>
                    <a:pt x="85664" y="171328"/>
                  </a:cubicBezTo>
                  <a:cubicBezTo>
                    <a:pt x="38361" y="171328"/>
                    <a:pt x="0" y="132979"/>
                    <a:pt x="0" y="85664"/>
                  </a:cubicBezTo>
                  <a:cubicBezTo>
                    <a:pt x="0" y="61523"/>
                    <a:pt x="9993" y="39722"/>
                    <a:pt x="26051" y="24141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850" name="Gráfico 17">
            <a:extLst>
              <a:ext uri="{FF2B5EF4-FFF2-40B4-BE49-F238E27FC236}">
                <a16:creationId xmlns:a16="http://schemas.microsoft.com/office/drawing/2014/main" id="{0D6751DA-6601-BB12-18BD-A9405E7A660B}"/>
              </a:ext>
            </a:extLst>
          </p:cNvPr>
          <p:cNvGrpSpPr/>
          <p:nvPr/>
        </p:nvGrpSpPr>
        <p:grpSpPr>
          <a:xfrm>
            <a:off x="6209750" y="4090799"/>
            <a:ext cx="253433" cy="314622"/>
            <a:chOff x="6209750" y="4090799"/>
            <a:chExt cx="253433" cy="314622"/>
          </a:xfrm>
          <a:noFill/>
        </p:grpSpPr>
        <p:sp>
          <p:nvSpPr>
            <p:cNvPr id="1851" name="Forma livre: Forma 1850">
              <a:extLst>
                <a:ext uri="{FF2B5EF4-FFF2-40B4-BE49-F238E27FC236}">
                  <a16:creationId xmlns:a16="http://schemas.microsoft.com/office/drawing/2014/main" id="{CED578BD-8F4D-C300-485C-BACE21D0E9A6}"/>
                </a:ext>
              </a:extLst>
            </p:cNvPr>
            <p:cNvSpPr/>
            <p:nvPr/>
          </p:nvSpPr>
          <p:spPr>
            <a:xfrm>
              <a:off x="6296417" y="4090799"/>
              <a:ext cx="80076" cy="41644"/>
            </a:xfrm>
            <a:custGeom>
              <a:avLst/>
              <a:gdLst>
                <a:gd name="connsiteX0" fmla="*/ 0 w 80076"/>
                <a:gd name="connsiteY0" fmla="*/ 41644 h 41644"/>
                <a:gd name="connsiteX1" fmla="*/ 0 w 80076"/>
                <a:gd name="connsiteY1" fmla="*/ 20380 h 41644"/>
                <a:gd name="connsiteX2" fmla="*/ 20380 w 80076"/>
                <a:gd name="connsiteY2" fmla="*/ 0 h 41644"/>
                <a:gd name="connsiteX3" fmla="*/ 59708 w 80076"/>
                <a:gd name="connsiteY3" fmla="*/ 0 h 41644"/>
                <a:gd name="connsiteX4" fmla="*/ 80076 w 80076"/>
                <a:gd name="connsiteY4" fmla="*/ 20380 h 41644"/>
                <a:gd name="connsiteX5" fmla="*/ 80076 w 80076"/>
                <a:gd name="connsiteY5" fmla="*/ 41644 h 416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80076" h="41644">
                  <a:moveTo>
                    <a:pt x="0" y="41644"/>
                  </a:moveTo>
                  <a:lnTo>
                    <a:pt x="0" y="20380"/>
                  </a:lnTo>
                  <a:cubicBezTo>
                    <a:pt x="0" y="9169"/>
                    <a:pt x="9169" y="0"/>
                    <a:pt x="20380" y="0"/>
                  </a:cubicBezTo>
                  <a:lnTo>
                    <a:pt x="59708" y="0"/>
                  </a:lnTo>
                  <a:cubicBezTo>
                    <a:pt x="70919" y="0"/>
                    <a:pt x="80076" y="9169"/>
                    <a:pt x="80076" y="20380"/>
                  </a:cubicBezTo>
                  <a:lnTo>
                    <a:pt x="80076" y="41644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52" name="Forma livre: Forma 1851">
              <a:extLst>
                <a:ext uri="{FF2B5EF4-FFF2-40B4-BE49-F238E27FC236}">
                  <a16:creationId xmlns:a16="http://schemas.microsoft.com/office/drawing/2014/main" id="{58857127-5FAC-A70C-A31C-8254652B17A4}"/>
                </a:ext>
              </a:extLst>
            </p:cNvPr>
            <p:cNvSpPr/>
            <p:nvPr/>
          </p:nvSpPr>
          <p:spPr>
            <a:xfrm>
              <a:off x="6422865" y="4145349"/>
              <a:ext cx="38145" cy="34790"/>
            </a:xfrm>
            <a:custGeom>
              <a:avLst/>
              <a:gdLst>
                <a:gd name="connsiteX0" fmla="*/ 0 w 38145"/>
                <a:gd name="connsiteY0" fmla="*/ 0 h 34790"/>
                <a:gd name="connsiteX1" fmla="*/ 38146 w 38145"/>
                <a:gd name="connsiteY1" fmla="*/ 34791 h 347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8145" h="34790">
                  <a:moveTo>
                    <a:pt x="0" y="0"/>
                  </a:moveTo>
                  <a:cubicBezTo>
                    <a:pt x="14530" y="9456"/>
                    <a:pt x="27412" y="21240"/>
                    <a:pt x="38146" y="34791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53" name="Forma livre: Forma 1852">
              <a:extLst>
                <a:ext uri="{FF2B5EF4-FFF2-40B4-BE49-F238E27FC236}">
                  <a16:creationId xmlns:a16="http://schemas.microsoft.com/office/drawing/2014/main" id="{6105B633-2D83-9D6F-EA66-496D686A1877}"/>
                </a:ext>
              </a:extLst>
            </p:cNvPr>
            <p:cNvSpPr/>
            <p:nvPr/>
          </p:nvSpPr>
          <p:spPr>
            <a:xfrm>
              <a:off x="6336473" y="4119035"/>
              <a:ext cx="1193" cy="33967"/>
            </a:xfrm>
            <a:custGeom>
              <a:avLst/>
              <a:gdLst>
                <a:gd name="connsiteX0" fmla="*/ 0 w 1193"/>
                <a:gd name="connsiteY0" fmla="*/ 0 h 33967"/>
                <a:gd name="connsiteX1" fmla="*/ 0 w 1193"/>
                <a:gd name="connsiteY1" fmla="*/ 33967 h 339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93" h="33967">
                  <a:moveTo>
                    <a:pt x="0" y="0"/>
                  </a:moveTo>
                  <a:lnTo>
                    <a:pt x="0" y="33967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54" name="Forma livre: Forma 1853">
              <a:extLst>
                <a:ext uri="{FF2B5EF4-FFF2-40B4-BE49-F238E27FC236}">
                  <a16:creationId xmlns:a16="http://schemas.microsoft.com/office/drawing/2014/main" id="{F9B8EF3E-F528-42B7-2F86-9B5953CAF3E7}"/>
                </a:ext>
              </a:extLst>
            </p:cNvPr>
            <p:cNvSpPr/>
            <p:nvPr/>
          </p:nvSpPr>
          <p:spPr>
            <a:xfrm>
              <a:off x="6247884" y="4190121"/>
              <a:ext cx="177178" cy="177178"/>
            </a:xfrm>
            <a:custGeom>
              <a:avLst/>
              <a:gdLst>
                <a:gd name="connsiteX0" fmla="*/ 88589 w 177178"/>
                <a:gd name="connsiteY0" fmla="*/ 0 h 177178"/>
                <a:gd name="connsiteX1" fmla="*/ 177178 w 177178"/>
                <a:gd name="connsiteY1" fmla="*/ 88589 h 177178"/>
                <a:gd name="connsiteX2" fmla="*/ 88589 w 177178"/>
                <a:gd name="connsiteY2" fmla="*/ 177178 h 177178"/>
                <a:gd name="connsiteX3" fmla="*/ 0 w 177178"/>
                <a:gd name="connsiteY3" fmla="*/ 88589 h 1771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7178" h="177178">
                  <a:moveTo>
                    <a:pt x="88589" y="0"/>
                  </a:moveTo>
                  <a:cubicBezTo>
                    <a:pt x="137504" y="0"/>
                    <a:pt x="177178" y="39650"/>
                    <a:pt x="177178" y="88589"/>
                  </a:cubicBezTo>
                  <a:cubicBezTo>
                    <a:pt x="177178" y="137528"/>
                    <a:pt x="137504" y="177178"/>
                    <a:pt x="88589" y="177178"/>
                  </a:cubicBezTo>
                  <a:cubicBezTo>
                    <a:pt x="39674" y="177178"/>
                    <a:pt x="0" y="137528"/>
                    <a:pt x="0" y="88589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55" name="Forma livre: Forma 1854">
              <a:extLst>
                <a:ext uri="{FF2B5EF4-FFF2-40B4-BE49-F238E27FC236}">
                  <a16:creationId xmlns:a16="http://schemas.microsoft.com/office/drawing/2014/main" id="{C4AA012E-D936-F019-EAE5-D9A26326B2F4}"/>
                </a:ext>
              </a:extLst>
            </p:cNvPr>
            <p:cNvSpPr/>
            <p:nvPr/>
          </p:nvSpPr>
          <p:spPr>
            <a:xfrm>
              <a:off x="6209750" y="4151987"/>
              <a:ext cx="253433" cy="253433"/>
            </a:xfrm>
            <a:custGeom>
              <a:avLst/>
              <a:gdLst>
                <a:gd name="connsiteX0" fmla="*/ 253434 w 253433"/>
                <a:gd name="connsiteY0" fmla="*/ 126723 h 253433"/>
                <a:gd name="connsiteX1" fmla="*/ 126723 w 253433"/>
                <a:gd name="connsiteY1" fmla="*/ 253434 h 253433"/>
                <a:gd name="connsiteX2" fmla="*/ 0 w 253433"/>
                <a:gd name="connsiteY2" fmla="*/ 126723 h 253433"/>
                <a:gd name="connsiteX3" fmla="*/ 126723 w 253433"/>
                <a:gd name="connsiteY3" fmla="*/ 0 h 253433"/>
                <a:gd name="connsiteX4" fmla="*/ 253434 w 253433"/>
                <a:gd name="connsiteY4" fmla="*/ 126723 h 2534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3433" h="253433">
                  <a:moveTo>
                    <a:pt x="253434" y="126723"/>
                  </a:moveTo>
                  <a:cubicBezTo>
                    <a:pt x="253434" y="196699"/>
                    <a:pt x="196687" y="253434"/>
                    <a:pt x="126723" y="253434"/>
                  </a:cubicBezTo>
                  <a:cubicBezTo>
                    <a:pt x="56759" y="253434"/>
                    <a:pt x="0" y="196699"/>
                    <a:pt x="0" y="126723"/>
                  </a:cubicBezTo>
                  <a:cubicBezTo>
                    <a:pt x="0" y="56747"/>
                    <a:pt x="56735" y="0"/>
                    <a:pt x="126723" y="0"/>
                  </a:cubicBezTo>
                  <a:cubicBezTo>
                    <a:pt x="196711" y="0"/>
                    <a:pt x="253434" y="56723"/>
                    <a:pt x="253434" y="126723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56" name="Forma livre: Forma 1855">
              <a:extLst>
                <a:ext uri="{FF2B5EF4-FFF2-40B4-BE49-F238E27FC236}">
                  <a16:creationId xmlns:a16="http://schemas.microsoft.com/office/drawing/2014/main" id="{4A2AC3A2-7824-E08A-0789-64FB55928278}"/>
                </a:ext>
              </a:extLst>
            </p:cNvPr>
            <p:cNvSpPr/>
            <p:nvPr/>
          </p:nvSpPr>
          <p:spPr>
            <a:xfrm rot="-1407001">
              <a:off x="6313117" y="4255290"/>
              <a:ext cx="46777" cy="46777"/>
            </a:xfrm>
            <a:custGeom>
              <a:avLst/>
              <a:gdLst>
                <a:gd name="connsiteX0" fmla="*/ 46778 w 46777"/>
                <a:gd name="connsiteY0" fmla="*/ 23389 h 46777"/>
                <a:gd name="connsiteX1" fmla="*/ 23389 w 46777"/>
                <a:gd name="connsiteY1" fmla="*/ 46778 h 46777"/>
                <a:gd name="connsiteX2" fmla="*/ 0 w 46777"/>
                <a:gd name="connsiteY2" fmla="*/ 23389 h 46777"/>
                <a:gd name="connsiteX3" fmla="*/ 23389 w 46777"/>
                <a:gd name="connsiteY3" fmla="*/ 0 h 46777"/>
                <a:gd name="connsiteX4" fmla="*/ 46778 w 46777"/>
                <a:gd name="connsiteY4" fmla="*/ 23389 h 467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6777" h="46777">
                  <a:moveTo>
                    <a:pt x="46778" y="23389"/>
                  </a:moveTo>
                  <a:cubicBezTo>
                    <a:pt x="46778" y="36306"/>
                    <a:pt x="36306" y="46778"/>
                    <a:pt x="23389" y="46778"/>
                  </a:cubicBezTo>
                  <a:cubicBezTo>
                    <a:pt x="10472" y="46778"/>
                    <a:pt x="0" y="36306"/>
                    <a:pt x="0" y="23389"/>
                  </a:cubicBezTo>
                  <a:cubicBezTo>
                    <a:pt x="0" y="10472"/>
                    <a:pt x="10472" y="0"/>
                    <a:pt x="23389" y="0"/>
                  </a:cubicBezTo>
                  <a:cubicBezTo>
                    <a:pt x="36306" y="0"/>
                    <a:pt x="46778" y="10472"/>
                    <a:pt x="46778" y="23389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57" name="Forma livre: Forma 1856">
              <a:extLst>
                <a:ext uri="{FF2B5EF4-FFF2-40B4-BE49-F238E27FC236}">
                  <a16:creationId xmlns:a16="http://schemas.microsoft.com/office/drawing/2014/main" id="{2DD5CA51-A2DF-4928-156C-075E15F1C974}"/>
                </a:ext>
              </a:extLst>
            </p:cNvPr>
            <p:cNvSpPr/>
            <p:nvPr/>
          </p:nvSpPr>
          <p:spPr>
            <a:xfrm>
              <a:off x="6358608" y="4287115"/>
              <a:ext cx="26982" cy="10052"/>
            </a:xfrm>
            <a:custGeom>
              <a:avLst/>
              <a:gdLst>
                <a:gd name="connsiteX0" fmla="*/ 0 w 26982"/>
                <a:gd name="connsiteY0" fmla="*/ 0 h 10052"/>
                <a:gd name="connsiteX1" fmla="*/ 26983 w 26982"/>
                <a:gd name="connsiteY1" fmla="*/ 10053 h 100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6982" h="10052">
                  <a:moveTo>
                    <a:pt x="0" y="0"/>
                  </a:moveTo>
                  <a:lnTo>
                    <a:pt x="26983" y="10053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58" name="Forma livre: Forma 1857">
              <a:extLst>
                <a:ext uri="{FF2B5EF4-FFF2-40B4-BE49-F238E27FC236}">
                  <a16:creationId xmlns:a16="http://schemas.microsoft.com/office/drawing/2014/main" id="{90D03DD7-340D-C639-B4C0-547844975437}"/>
                </a:ext>
              </a:extLst>
            </p:cNvPr>
            <p:cNvSpPr/>
            <p:nvPr/>
          </p:nvSpPr>
          <p:spPr>
            <a:xfrm>
              <a:off x="6248170" y="4245973"/>
              <a:ext cx="66119" cy="24630"/>
            </a:xfrm>
            <a:custGeom>
              <a:avLst/>
              <a:gdLst>
                <a:gd name="connsiteX0" fmla="*/ 0 w 66119"/>
                <a:gd name="connsiteY0" fmla="*/ 0 h 24630"/>
                <a:gd name="connsiteX1" fmla="*/ 66119 w 66119"/>
                <a:gd name="connsiteY1" fmla="*/ 24631 h 246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6119" h="24630">
                  <a:moveTo>
                    <a:pt x="0" y="0"/>
                  </a:moveTo>
                  <a:lnTo>
                    <a:pt x="66119" y="24631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859" name="Gráfico 17">
            <a:extLst>
              <a:ext uri="{FF2B5EF4-FFF2-40B4-BE49-F238E27FC236}">
                <a16:creationId xmlns:a16="http://schemas.microsoft.com/office/drawing/2014/main" id="{5AEB0C5C-C8A1-5D76-0A25-47C29D5A5E78}"/>
              </a:ext>
            </a:extLst>
          </p:cNvPr>
          <p:cNvGrpSpPr/>
          <p:nvPr/>
        </p:nvGrpSpPr>
        <p:grpSpPr>
          <a:xfrm>
            <a:off x="7467826" y="4097497"/>
            <a:ext cx="229190" cy="301250"/>
            <a:chOff x="7467826" y="4097497"/>
            <a:chExt cx="229190" cy="301250"/>
          </a:xfrm>
        </p:grpSpPr>
        <p:sp>
          <p:nvSpPr>
            <p:cNvPr id="1860" name="Forma livre: Forma 1859">
              <a:extLst>
                <a:ext uri="{FF2B5EF4-FFF2-40B4-BE49-F238E27FC236}">
                  <a16:creationId xmlns:a16="http://schemas.microsoft.com/office/drawing/2014/main" id="{EB814266-D5E9-BFFC-49AD-01C1601210D2}"/>
                </a:ext>
              </a:extLst>
            </p:cNvPr>
            <p:cNvSpPr/>
            <p:nvPr/>
          </p:nvSpPr>
          <p:spPr>
            <a:xfrm>
              <a:off x="7467826" y="4097497"/>
              <a:ext cx="229190" cy="301250"/>
            </a:xfrm>
            <a:custGeom>
              <a:avLst/>
              <a:gdLst>
                <a:gd name="connsiteX0" fmla="*/ 228883 w 229190"/>
                <a:gd name="connsiteY0" fmla="*/ 170373 h 301250"/>
                <a:gd name="connsiteX1" fmla="*/ 114600 w 229190"/>
                <a:gd name="connsiteY1" fmla="*/ 0 h 301250"/>
                <a:gd name="connsiteX2" fmla="*/ 318 w 229190"/>
                <a:gd name="connsiteY2" fmla="*/ 170373 h 301250"/>
                <a:gd name="connsiteX3" fmla="*/ 48063 w 229190"/>
                <a:gd name="connsiteY3" fmla="*/ 301250 h 301250"/>
                <a:gd name="connsiteX4" fmla="*/ 181126 w 229190"/>
                <a:gd name="connsiteY4" fmla="*/ 301250 h 301250"/>
                <a:gd name="connsiteX5" fmla="*/ 228871 w 229190"/>
                <a:gd name="connsiteY5" fmla="*/ 170373 h 301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29190" h="301250">
                  <a:moveTo>
                    <a:pt x="228883" y="170373"/>
                  </a:moveTo>
                  <a:cubicBezTo>
                    <a:pt x="223784" y="69653"/>
                    <a:pt x="166166" y="95"/>
                    <a:pt x="114600" y="0"/>
                  </a:cubicBezTo>
                  <a:cubicBezTo>
                    <a:pt x="63035" y="95"/>
                    <a:pt x="5416" y="69653"/>
                    <a:pt x="318" y="170373"/>
                  </a:cubicBezTo>
                  <a:cubicBezTo>
                    <a:pt x="-2607" y="224541"/>
                    <a:pt x="14752" y="273599"/>
                    <a:pt x="48063" y="301250"/>
                  </a:cubicBezTo>
                  <a:lnTo>
                    <a:pt x="181126" y="301250"/>
                  </a:lnTo>
                  <a:cubicBezTo>
                    <a:pt x="214448" y="273599"/>
                    <a:pt x="231808" y="224541"/>
                    <a:pt x="228871" y="170373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61" name="Forma livre: Forma 1860">
              <a:extLst>
                <a:ext uri="{FF2B5EF4-FFF2-40B4-BE49-F238E27FC236}">
                  <a16:creationId xmlns:a16="http://schemas.microsoft.com/office/drawing/2014/main" id="{69F77B09-AE74-DC6B-E12C-2095E2D5D9CD}"/>
                </a:ext>
              </a:extLst>
            </p:cNvPr>
            <p:cNvSpPr/>
            <p:nvPr/>
          </p:nvSpPr>
          <p:spPr>
            <a:xfrm>
              <a:off x="7490530" y="4274591"/>
              <a:ext cx="205497" cy="1193"/>
            </a:xfrm>
            <a:custGeom>
              <a:avLst/>
              <a:gdLst>
                <a:gd name="connsiteX0" fmla="*/ 0 w 205497"/>
                <a:gd name="connsiteY0" fmla="*/ 0 h 1193"/>
                <a:gd name="connsiteX1" fmla="*/ 205498 w 205497"/>
                <a:gd name="connsiteY1" fmla="*/ 0 h 11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05497" h="1193">
                  <a:moveTo>
                    <a:pt x="0" y="0"/>
                  </a:moveTo>
                  <a:lnTo>
                    <a:pt x="205498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862" name="Gráfico 17">
              <a:extLst>
                <a:ext uri="{FF2B5EF4-FFF2-40B4-BE49-F238E27FC236}">
                  <a16:creationId xmlns:a16="http://schemas.microsoft.com/office/drawing/2014/main" id="{650FA196-E01C-D214-1C64-D15F1A5BE708}"/>
                </a:ext>
              </a:extLst>
            </p:cNvPr>
            <p:cNvGrpSpPr/>
            <p:nvPr/>
          </p:nvGrpSpPr>
          <p:grpSpPr>
            <a:xfrm>
              <a:off x="7511101" y="4239967"/>
              <a:ext cx="142661" cy="33429"/>
              <a:chOff x="7511101" y="4239967"/>
              <a:chExt cx="142661" cy="33429"/>
            </a:xfrm>
          </p:grpSpPr>
          <p:sp>
            <p:nvSpPr>
              <p:cNvPr id="1863" name="Forma livre: Forma 1862">
                <a:extLst>
                  <a:ext uri="{FF2B5EF4-FFF2-40B4-BE49-F238E27FC236}">
                    <a16:creationId xmlns:a16="http://schemas.microsoft.com/office/drawing/2014/main" id="{F655599C-44D1-2D68-128F-E4F5771CA451}"/>
                  </a:ext>
                </a:extLst>
              </p:cNvPr>
              <p:cNvSpPr/>
              <p:nvPr/>
            </p:nvSpPr>
            <p:spPr>
              <a:xfrm>
                <a:off x="7511101" y="4239967"/>
                <a:ext cx="1193" cy="33429"/>
              </a:xfrm>
              <a:custGeom>
                <a:avLst/>
                <a:gdLst>
                  <a:gd name="connsiteX0" fmla="*/ 0 w 1193"/>
                  <a:gd name="connsiteY0" fmla="*/ 33430 h 33429"/>
                  <a:gd name="connsiteX1" fmla="*/ 0 w 1193"/>
                  <a:gd name="connsiteY1" fmla="*/ 0 h 334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3" h="33429">
                    <a:moveTo>
                      <a:pt x="0" y="33430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864" name="Forma livre: Forma 1863">
                <a:extLst>
                  <a:ext uri="{FF2B5EF4-FFF2-40B4-BE49-F238E27FC236}">
                    <a16:creationId xmlns:a16="http://schemas.microsoft.com/office/drawing/2014/main" id="{E7895420-C7F0-7505-33D3-13BBD099790B}"/>
                  </a:ext>
                </a:extLst>
              </p:cNvPr>
              <p:cNvSpPr/>
              <p:nvPr/>
            </p:nvSpPr>
            <p:spPr>
              <a:xfrm>
                <a:off x="7582438" y="4239967"/>
                <a:ext cx="1193" cy="33429"/>
              </a:xfrm>
              <a:custGeom>
                <a:avLst/>
                <a:gdLst>
                  <a:gd name="connsiteX0" fmla="*/ 0 w 1193"/>
                  <a:gd name="connsiteY0" fmla="*/ 33430 h 33429"/>
                  <a:gd name="connsiteX1" fmla="*/ 0 w 1193"/>
                  <a:gd name="connsiteY1" fmla="*/ 0 h 334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3" h="33429">
                    <a:moveTo>
                      <a:pt x="0" y="33430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865" name="Forma livre: Forma 1864">
                <a:extLst>
                  <a:ext uri="{FF2B5EF4-FFF2-40B4-BE49-F238E27FC236}">
                    <a16:creationId xmlns:a16="http://schemas.microsoft.com/office/drawing/2014/main" id="{573E977A-0244-7015-51C0-84C8E7013FD8}"/>
                  </a:ext>
                </a:extLst>
              </p:cNvPr>
              <p:cNvSpPr/>
              <p:nvPr/>
            </p:nvSpPr>
            <p:spPr>
              <a:xfrm>
                <a:off x="7546764" y="4239967"/>
                <a:ext cx="1193" cy="33429"/>
              </a:xfrm>
              <a:custGeom>
                <a:avLst/>
                <a:gdLst>
                  <a:gd name="connsiteX0" fmla="*/ 0 w 1193"/>
                  <a:gd name="connsiteY0" fmla="*/ 33430 h 33429"/>
                  <a:gd name="connsiteX1" fmla="*/ 0 w 1193"/>
                  <a:gd name="connsiteY1" fmla="*/ 0 h 334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3" h="33429">
                    <a:moveTo>
                      <a:pt x="0" y="33430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866" name="Forma livre: Forma 1865">
                <a:extLst>
                  <a:ext uri="{FF2B5EF4-FFF2-40B4-BE49-F238E27FC236}">
                    <a16:creationId xmlns:a16="http://schemas.microsoft.com/office/drawing/2014/main" id="{A2B6D4D4-921E-52FA-BD3E-65836F169508}"/>
                  </a:ext>
                </a:extLst>
              </p:cNvPr>
              <p:cNvSpPr/>
              <p:nvPr/>
            </p:nvSpPr>
            <p:spPr>
              <a:xfrm>
                <a:off x="7618089" y="4239967"/>
                <a:ext cx="1193" cy="33429"/>
              </a:xfrm>
              <a:custGeom>
                <a:avLst/>
                <a:gdLst>
                  <a:gd name="connsiteX0" fmla="*/ 0 w 1193"/>
                  <a:gd name="connsiteY0" fmla="*/ 33430 h 33429"/>
                  <a:gd name="connsiteX1" fmla="*/ 0 w 1193"/>
                  <a:gd name="connsiteY1" fmla="*/ 0 h 334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3" h="33429">
                    <a:moveTo>
                      <a:pt x="0" y="33430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867" name="Forma livre: Forma 1866">
                <a:extLst>
                  <a:ext uri="{FF2B5EF4-FFF2-40B4-BE49-F238E27FC236}">
                    <a16:creationId xmlns:a16="http://schemas.microsoft.com/office/drawing/2014/main" id="{BB7075DA-7B7B-9921-F912-56664F5A2E65}"/>
                  </a:ext>
                </a:extLst>
              </p:cNvPr>
              <p:cNvSpPr/>
              <p:nvPr/>
            </p:nvSpPr>
            <p:spPr>
              <a:xfrm>
                <a:off x="7653763" y="4239967"/>
                <a:ext cx="1193" cy="33429"/>
              </a:xfrm>
              <a:custGeom>
                <a:avLst/>
                <a:gdLst>
                  <a:gd name="connsiteX0" fmla="*/ 0 w 1193"/>
                  <a:gd name="connsiteY0" fmla="*/ 33430 h 33429"/>
                  <a:gd name="connsiteX1" fmla="*/ 0 w 1193"/>
                  <a:gd name="connsiteY1" fmla="*/ 0 h 334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3" h="33429">
                    <a:moveTo>
                      <a:pt x="0" y="33430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868" name="Forma livre: Forma 1867">
              <a:extLst>
                <a:ext uri="{FF2B5EF4-FFF2-40B4-BE49-F238E27FC236}">
                  <a16:creationId xmlns:a16="http://schemas.microsoft.com/office/drawing/2014/main" id="{0A35D341-84E6-BAC6-6D22-EC8BE92C36CF}"/>
                </a:ext>
              </a:extLst>
            </p:cNvPr>
            <p:cNvSpPr/>
            <p:nvPr/>
          </p:nvSpPr>
          <p:spPr>
            <a:xfrm>
              <a:off x="7575728" y="4311125"/>
              <a:ext cx="13419" cy="11593"/>
            </a:xfrm>
            <a:custGeom>
              <a:avLst/>
              <a:gdLst>
                <a:gd name="connsiteX0" fmla="*/ 0 w 13419"/>
                <a:gd name="connsiteY0" fmla="*/ 11593 h 11593"/>
                <a:gd name="connsiteX1" fmla="*/ 6710 w 13419"/>
                <a:gd name="connsiteY1" fmla="*/ 0 h 11593"/>
                <a:gd name="connsiteX2" fmla="*/ 13420 w 13419"/>
                <a:gd name="connsiteY2" fmla="*/ 11593 h 11593"/>
                <a:gd name="connsiteX3" fmla="*/ 0 w 13419"/>
                <a:gd name="connsiteY3" fmla="*/ 11593 h 115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419" h="11593">
                  <a:moveTo>
                    <a:pt x="0" y="11593"/>
                  </a:moveTo>
                  <a:lnTo>
                    <a:pt x="6710" y="0"/>
                  </a:lnTo>
                  <a:lnTo>
                    <a:pt x="13420" y="11593"/>
                  </a:lnTo>
                  <a:lnTo>
                    <a:pt x="0" y="11593"/>
                  </a:lnTo>
                  <a:close/>
                </a:path>
              </a:pathLst>
            </a:custGeom>
            <a:solidFill>
              <a:srgbClr val="394552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869" name="Gráfico 17">
            <a:extLst>
              <a:ext uri="{FF2B5EF4-FFF2-40B4-BE49-F238E27FC236}">
                <a16:creationId xmlns:a16="http://schemas.microsoft.com/office/drawing/2014/main" id="{00A86A85-83F7-E80D-9AE0-1DDF7BD9ACC1}"/>
              </a:ext>
            </a:extLst>
          </p:cNvPr>
          <p:cNvGrpSpPr/>
          <p:nvPr/>
        </p:nvGrpSpPr>
        <p:grpSpPr>
          <a:xfrm>
            <a:off x="6786355" y="4103836"/>
            <a:ext cx="346177" cy="288547"/>
            <a:chOff x="6786355" y="4103836"/>
            <a:chExt cx="346177" cy="288547"/>
          </a:xfrm>
          <a:noFill/>
        </p:grpSpPr>
        <p:sp>
          <p:nvSpPr>
            <p:cNvPr id="1870" name="Forma livre: Forma 1869">
              <a:extLst>
                <a:ext uri="{FF2B5EF4-FFF2-40B4-BE49-F238E27FC236}">
                  <a16:creationId xmlns:a16="http://schemas.microsoft.com/office/drawing/2014/main" id="{377039FE-3412-BE22-FE22-18BC770ED142}"/>
                </a:ext>
              </a:extLst>
            </p:cNvPr>
            <p:cNvSpPr/>
            <p:nvPr/>
          </p:nvSpPr>
          <p:spPr>
            <a:xfrm>
              <a:off x="6879242" y="4260455"/>
              <a:ext cx="39029" cy="33167"/>
            </a:xfrm>
            <a:custGeom>
              <a:avLst/>
              <a:gdLst>
                <a:gd name="connsiteX0" fmla="*/ 39029 w 39029"/>
                <a:gd name="connsiteY0" fmla="*/ 0 h 33167"/>
                <a:gd name="connsiteX1" fmla="*/ 0 w 39029"/>
                <a:gd name="connsiteY1" fmla="*/ 33167 h 331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9029" h="33167">
                  <a:moveTo>
                    <a:pt x="39029" y="0"/>
                  </a:moveTo>
                  <a:lnTo>
                    <a:pt x="0" y="33167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71" name="Forma livre: Forma 1870">
              <a:extLst>
                <a:ext uri="{FF2B5EF4-FFF2-40B4-BE49-F238E27FC236}">
                  <a16:creationId xmlns:a16="http://schemas.microsoft.com/office/drawing/2014/main" id="{C10CAE05-87EB-4762-D1FE-7A23DE5438E2}"/>
                </a:ext>
              </a:extLst>
            </p:cNvPr>
            <p:cNvSpPr/>
            <p:nvPr/>
          </p:nvSpPr>
          <p:spPr>
            <a:xfrm>
              <a:off x="6931261" y="4158816"/>
              <a:ext cx="1193" cy="73044"/>
            </a:xfrm>
            <a:custGeom>
              <a:avLst/>
              <a:gdLst>
                <a:gd name="connsiteX0" fmla="*/ 0 w 1193"/>
                <a:gd name="connsiteY0" fmla="*/ 0 h 73044"/>
                <a:gd name="connsiteX1" fmla="*/ 0 w 1193"/>
                <a:gd name="connsiteY1" fmla="*/ 73044 h 730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93" h="73044">
                  <a:moveTo>
                    <a:pt x="0" y="0"/>
                  </a:moveTo>
                  <a:lnTo>
                    <a:pt x="0" y="73044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72" name="Forma livre: Forma 1871">
              <a:extLst>
                <a:ext uri="{FF2B5EF4-FFF2-40B4-BE49-F238E27FC236}">
                  <a16:creationId xmlns:a16="http://schemas.microsoft.com/office/drawing/2014/main" id="{10AF0142-806D-8087-9E9B-647F25AAE85D}"/>
                </a:ext>
              </a:extLst>
            </p:cNvPr>
            <p:cNvSpPr/>
            <p:nvPr/>
          </p:nvSpPr>
          <p:spPr>
            <a:xfrm>
              <a:off x="6914283" y="4231884"/>
              <a:ext cx="33394" cy="33405"/>
            </a:xfrm>
            <a:custGeom>
              <a:avLst/>
              <a:gdLst>
                <a:gd name="connsiteX0" fmla="*/ 33394 w 33394"/>
                <a:gd name="connsiteY0" fmla="*/ 16703 h 33405"/>
                <a:gd name="connsiteX1" fmla="*/ 16703 w 33394"/>
                <a:gd name="connsiteY1" fmla="*/ 33406 h 33405"/>
                <a:gd name="connsiteX2" fmla="*/ 0 w 33394"/>
                <a:gd name="connsiteY2" fmla="*/ 16703 h 33405"/>
                <a:gd name="connsiteX3" fmla="*/ 16703 w 33394"/>
                <a:gd name="connsiteY3" fmla="*/ 0 h 33405"/>
                <a:gd name="connsiteX4" fmla="*/ 33394 w 33394"/>
                <a:gd name="connsiteY4" fmla="*/ 16703 h 334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394" h="33405">
                  <a:moveTo>
                    <a:pt x="33394" y="16703"/>
                  </a:moveTo>
                  <a:cubicBezTo>
                    <a:pt x="33394" y="25932"/>
                    <a:pt x="25920" y="33406"/>
                    <a:pt x="16703" y="33406"/>
                  </a:cubicBezTo>
                  <a:cubicBezTo>
                    <a:pt x="7486" y="33406"/>
                    <a:pt x="0" y="25920"/>
                    <a:pt x="0" y="16703"/>
                  </a:cubicBezTo>
                  <a:cubicBezTo>
                    <a:pt x="0" y="7486"/>
                    <a:pt x="7474" y="0"/>
                    <a:pt x="16703" y="0"/>
                  </a:cubicBezTo>
                  <a:cubicBezTo>
                    <a:pt x="25932" y="0"/>
                    <a:pt x="33394" y="7486"/>
                    <a:pt x="33394" y="16703"/>
                  </a:cubicBez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73" name="Forma livre: Forma 1872">
              <a:extLst>
                <a:ext uri="{FF2B5EF4-FFF2-40B4-BE49-F238E27FC236}">
                  <a16:creationId xmlns:a16="http://schemas.microsoft.com/office/drawing/2014/main" id="{1E913A2F-9985-4F31-AD0A-915E5EA2F034}"/>
                </a:ext>
              </a:extLst>
            </p:cNvPr>
            <p:cNvSpPr/>
            <p:nvPr/>
          </p:nvSpPr>
          <p:spPr>
            <a:xfrm>
              <a:off x="6871851" y="4379728"/>
              <a:ext cx="68232" cy="12655"/>
            </a:xfrm>
            <a:custGeom>
              <a:avLst/>
              <a:gdLst>
                <a:gd name="connsiteX0" fmla="*/ 68233 w 68232"/>
                <a:gd name="connsiteY0" fmla="*/ 12369 h 12655"/>
                <a:gd name="connsiteX1" fmla="*/ 59063 w 68232"/>
                <a:gd name="connsiteY1" fmla="*/ 12656 h 12655"/>
                <a:gd name="connsiteX2" fmla="*/ 0 w 68232"/>
                <a:gd name="connsiteY2" fmla="*/ 0 h 126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8232" h="12655">
                  <a:moveTo>
                    <a:pt x="68233" y="12369"/>
                  </a:moveTo>
                  <a:cubicBezTo>
                    <a:pt x="65200" y="12560"/>
                    <a:pt x="62132" y="12656"/>
                    <a:pt x="59063" y="12656"/>
                  </a:cubicBezTo>
                  <a:cubicBezTo>
                    <a:pt x="38492" y="12656"/>
                    <a:pt x="18613" y="8393"/>
                    <a:pt x="0" y="0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74" name="Forma livre: Forma 1873">
              <a:extLst>
                <a:ext uri="{FF2B5EF4-FFF2-40B4-BE49-F238E27FC236}">
                  <a16:creationId xmlns:a16="http://schemas.microsoft.com/office/drawing/2014/main" id="{58466225-0501-EEE3-6984-0B65A6FBF34D}"/>
                </a:ext>
              </a:extLst>
            </p:cNvPr>
            <p:cNvSpPr/>
            <p:nvPr/>
          </p:nvSpPr>
          <p:spPr>
            <a:xfrm>
              <a:off x="6958793" y="4375012"/>
              <a:ext cx="40736" cy="14673"/>
            </a:xfrm>
            <a:custGeom>
              <a:avLst/>
              <a:gdLst>
                <a:gd name="connsiteX0" fmla="*/ 40737 w 40736"/>
                <a:gd name="connsiteY0" fmla="*/ 0 h 14673"/>
                <a:gd name="connsiteX1" fmla="*/ 0 w 40736"/>
                <a:gd name="connsiteY1" fmla="*/ 14673 h 146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0736" h="14673">
                  <a:moveTo>
                    <a:pt x="40737" y="0"/>
                  </a:moveTo>
                  <a:cubicBezTo>
                    <a:pt x="27962" y="6949"/>
                    <a:pt x="14243" y="11880"/>
                    <a:pt x="0" y="14673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75" name="Forma livre: Forma 1874">
              <a:extLst>
                <a:ext uri="{FF2B5EF4-FFF2-40B4-BE49-F238E27FC236}">
                  <a16:creationId xmlns:a16="http://schemas.microsoft.com/office/drawing/2014/main" id="{ECAD8B0C-2702-EF8A-2CB7-89AEE0A2E61E}"/>
                </a:ext>
              </a:extLst>
            </p:cNvPr>
            <p:cNvSpPr/>
            <p:nvPr/>
          </p:nvSpPr>
          <p:spPr>
            <a:xfrm>
              <a:off x="7013522" y="4344961"/>
              <a:ext cx="24200" cy="21383"/>
            </a:xfrm>
            <a:custGeom>
              <a:avLst/>
              <a:gdLst>
                <a:gd name="connsiteX0" fmla="*/ 24201 w 24200"/>
                <a:gd name="connsiteY0" fmla="*/ 0 h 21383"/>
                <a:gd name="connsiteX1" fmla="*/ 0 w 24200"/>
                <a:gd name="connsiteY1" fmla="*/ 21383 h 213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4200" h="21383">
                  <a:moveTo>
                    <a:pt x="24201" y="0"/>
                  </a:moveTo>
                  <a:cubicBezTo>
                    <a:pt x="16942" y="8011"/>
                    <a:pt x="8799" y="15199"/>
                    <a:pt x="0" y="21383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876" name="Gráfico 17">
              <a:extLst>
                <a:ext uri="{FF2B5EF4-FFF2-40B4-BE49-F238E27FC236}">
                  <a16:creationId xmlns:a16="http://schemas.microsoft.com/office/drawing/2014/main" id="{09B47C94-AB93-CE73-D3C0-11EDEA112FA3}"/>
                </a:ext>
              </a:extLst>
            </p:cNvPr>
            <p:cNvGrpSpPr/>
            <p:nvPr/>
          </p:nvGrpSpPr>
          <p:grpSpPr>
            <a:xfrm>
              <a:off x="6985668" y="4230189"/>
              <a:ext cx="146864" cy="67170"/>
              <a:chOff x="6985668" y="4230189"/>
              <a:chExt cx="146864" cy="67170"/>
            </a:xfrm>
            <a:noFill/>
          </p:grpSpPr>
          <p:sp>
            <p:nvSpPr>
              <p:cNvPr id="1877" name="Forma livre: Forma 1876">
                <a:extLst>
                  <a:ext uri="{FF2B5EF4-FFF2-40B4-BE49-F238E27FC236}">
                    <a16:creationId xmlns:a16="http://schemas.microsoft.com/office/drawing/2014/main" id="{7C1730D8-7611-4C50-A903-38D4F92E7EDC}"/>
                  </a:ext>
                </a:extLst>
              </p:cNvPr>
              <p:cNvSpPr/>
              <p:nvPr/>
            </p:nvSpPr>
            <p:spPr>
              <a:xfrm>
                <a:off x="6985668" y="4230189"/>
                <a:ext cx="73426" cy="67170"/>
              </a:xfrm>
              <a:custGeom>
                <a:avLst/>
                <a:gdLst>
                  <a:gd name="connsiteX0" fmla="*/ 73426 w 73426"/>
                  <a:gd name="connsiteY0" fmla="*/ 33585 h 67170"/>
                  <a:gd name="connsiteX1" fmla="*/ 33585 w 73426"/>
                  <a:gd name="connsiteY1" fmla="*/ 67170 h 67170"/>
                  <a:gd name="connsiteX2" fmla="*/ 0 w 73426"/>
                  <a:gd name="connsiteY2" fmla="*/ 33585 h 67170"/>
                  <a:gd name="connsiteX3" fmla="*/ 33585 w 73426"/>
                  <a:gd name="connsiteY3" fmla="*/ 0 h 67170"/>
                  <a:gd name="connsiteX4" fmla="*/ 73426 w 73426"/>
                  <a:gd name="connsiteY4" fmla="*/ 33585 h 671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3426" h="67170">
                    <a:moveTo>
                      <a:pt x="73426" y="33585"/>
                    </a:moveTo>
                    <a:cubicBezTo>
                      <a:pt x="73426" y="33585"/>
                      <a:pt x="52127" y="67170"/>
                      <a:pt x="33585" y="67170"/>
                    </a:cubicBezTo>
                    <a:cubicBezTo>
                      <a:pt x="15043" y="67170"/>
                      <a:pt x="0" y="52139"/>
                      <a:pt x="0" y="33585"/>
                    </a:cubicBezTo>
                    <a:cubicBezTo>
                      <a:pt x="0" y="15031"/>
                      <a:pt x="15031" y="0"/>
                      <a:pt x="33585" y="0"/>
                    </a:cubicBezTo>
                    <a:cubicBezTo>
                      <a:pt x="52139" y="0"/>
                      <a:pt x="73426" y="33585"/>
                      <a:pt x="73426" y="33585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878" name="Forma livre: Forma 1877">
                <a:extLst>
                  <a:ext uri="{FF2B5EF4-FFF2-40B4-BE49-F238E27FC236}">
                    <a16:creationId xmlns:a16="http://schemas.microsoft.com/office/drawing/2014/main" id="{957DBFC4-434D-251C-30A1-2D733D8D41F4}"/>
                  </a:ext>
                </a:extLst>
              </p:cNvPr>
              <p:cNvSpPr/>
              <p:nvPr/>
            </p:nvSpPr>
            <p:spPr>
              <a:xfrm>
                <a:off x="7059094" y="4230189"/>
                <a:ext cx="73438" cy="67170"/>
              </a:xfrm>
              <a:custGeom>
                <a:avLst/>
                <a:gdLst>
                  <a:gd name="connsiteX0" fmla="*/ 0 w 73438"/>
                  <a:gd name="connsiteY0" fmla="*/ 33585 h 67170"/>
                  <a:gd name="connsiteX1" fmla="*/ 39853 w 73438"/>
                  <a:gd name="connsiteY1" fmla="*/ 0 h 67170"/>
                  <a:gd name="connsiteX2" fmla="*/ 73438 w 73438"/>
                  <a:gd name="connsiteY2" fmla="*/ 33585 h 67170"/>
                  <a:gd name="connsiteX3" fmla="*/ 39853 w 73438"/>
                  <a:gd name="connsiteY3" fmla="*/ 67170 h 67170"/>
                  <a:gd name="connsiteX4" fmla="*/ 0 w 73438"/>
                  <a:gd name="connsiteY4" fmla="*/ 33585 h 671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3438" h="67170">
                    <a:moveTo>
                      <a:pt x="0" y="33585"/>
                    </a:moveTo>
                    <a:cubicBezTo>
                      <a:pt x="0" y="33585"/>
                      <a:pt x="21300" y="0"/>
                      <a:pt x="39853" y="0"/>
                    </a:cubicBezTo>
                    <a:cubicBezTo>
                      <a:pt x="58407" y="0"/>
                      <a:pt x="73438" y="15031"/>
                      <a:pt x="73438" y="33585"/>
                    </a:cubicBezTo>
                    <a:cubicBezTo>
                      <a:pt x="73438" y="52139"/>
                      <a:pt x="58407" y="67170"/>
                      <a:pt x="39853" y="67170"/>
                    </a:cubicBezTo>
                    <a:cubicBezTo>
                      <a:pt x="21300" y="67170"/>
                      <a:pt x="0" y="33585"/>
                      <a:pt x="0" y="33585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879" name="Forma livre: Forma 1878">
              <a:extLst>
                <a:ext uri="{FF2B5EF4-FFF2-40B4-BE49-F238E27FC236}">
                  <a16:creationId xmlns:a16="http://schemas.microsoft.com/office/drawing/2014/main" id="{1C9706FE-9EE1-CC05-A1C2-F8BF2F713772}"/>
                </a:ext>
              </a:extLst>
            </p:cNvPr>
            <p:cNvSpPr/>
            <p:nvPr/>
          </p:nvSpPr>
          <p:spPr>
            <a:xfrm>
              <a:off x="6786355" y="4103836"/>
              <a:ext cx="279879" cy="268095"/>
            </a:xfrm>
            <a:custGeom>
              <a:avLst/>
              <a:gdLst>
                <a:gd name="connsiteX0" fmla="*/ 70429 w 279879"/>
                <a:gd name="connsiteY0" fmla="*/ 268095 h 268095"/>
                <a:gd name="connsiteX1" fmla="*/ 42229 w 279879"/>
                <a:gd name="connsiteY1" fmla="*/ 246115 h 268095"/>
                <a:gd name="connsiteX2" fmla="*/ 42229 w 279879"/>
                <a:gd name="connsiteY2" fmla="*/ 42229 h 268095"/>
                <a:gd name="connsiteX3" fmla="*/ 246115 w 279879"/>
                <a:gd name="connsiteY3" fmla="*/ 42229 h 268095"/>
                <a:gd name="connsiteX4" fmla="*/ 249960 w 279879"/>
                <a:gd name="connsiteY4" fmla="*/ 46073 h 268095"/>
                <a:gd name="connsiteX5" fmla="*/ 266543 w 279879"/>
                <a:gd name="connsiteY5" fmla="*/ 29478 h 268095"/>
                <a:gd name="connsiteX6" fmla="*/ 279879 w 279879"/>
                <a:gd name="connsiteY6" fmla="*/ 96732 h 268095"/>
                <a:gd name="connsiteX7" fmla="*/ 212602 w 279879"/>
                <a:gd name="connsiteY7" fmla="*/ 83419 h 268095"/>
                <a:gd name="connsiteX8" fmla="*/ 229376 w 279879"/>
                <a:gd name="connsiteY8" fmla="*/ 66645 h 268095"/>
                <a:gd name="connsiteX9" fmla="*/ 228003 w 279879"/>
                <a:gd name="connsiteY9" fmla="*/ 65272 h 268095"/>
                <a:gd name="connsiteX10" fmla="*/ 225568 w 279879"/>
                <a:gd name="connsiteY10" fmla="*/ 62776 h 268095"/>
                <a:gd name="connsiteX11" fmla="*/ 62776 w 279879"/>
                <a:gd name="connsiteY11" fmla="*/ 62776 h 268095"/>
                <a:gd name="connsiteX12" fmla="*/ 62776 w 279879"/>
                <a:gd name="connsiteY12" fmla="*/ 225568 h 268095"/>
                <a:gd name="connsiteX13" fmla="*/ 225580 w 279879"/>
                <a:gd name="connsiteY13" fmla="*/ 225568 h 2680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79879" h="268095">
                  <a:moveTo>
                    <a:pt x="70429" y="268095"/>
                  </a:moveTo>
                  <a:cubicBezTo>
                    <a:pt x="60365" y="262102"/>
                    <a:pt x="50885" y="254771"/>
                    <a:pt x="42229" y="246115"/>
                  </a:cubicBezTo>
                  <a:cubicBezTo>
                    <a:pt x="-14076" y="189810"/>
                    <a:pt x="-14076" y="98534"/>
                    <a:pt x="42229" y="42229"/>
                  </a:cubicBezTo>
                  <a:cubicBezTo>
                    <a:pt x="98534" y="-14076"/>
                    <a:pt x="189810" y="-14076"/>
                    <a:pt x="246115" y="42229"/>
                  </a:cubicBezTo>
                  <a:lnTo>
                    <a:pt x="249960" y="46073"/>
                  </a:lnTo>
                  <a:lnTo>
                    <a:pt x="266543" y="29478"/>
                  </a:lnTo>
                  <a:lnTo>
                    <a:pt x="279879" y="96732"/>
                  </a:lnTo>
                  <a:lnTo>
                    <a:pt x="212602" y="83419"/>
                  </a:lnTo>
                  <a:lnTo>
                    <a:pt x="229376" y="66645"/>
                  </a:lnTo>
                  <a:lnTo>
                    <a:pt x="228003" y="65272"/>
                  </a:lnTo>
                  <a:cubicBezTo>
                    <a:pt x="227203" y="64436"/>
                    <a:pt x="226392" y="63600"/>
                    <a:pt x="225568" y="62776"/>
                  </a:cubicBezTo>
                  <a:cubicBezTo>
                    <a:pt x="180605" y="17813"/>
                    <a:pt x="107728" y="17825"/>
                    <a:pt x="62776" y="62776"/>
                  </a:cubicBezTo>
                  <a:cubicBezTo>
                    <a:pt x="17825" y="107728"/>
                    <a:pt x="17813" y="180617"/>
                    <a:pt x="62776" y="225568"/>
                  </a:cubicBezTo>
                  <a:cubicBezTo>
                    <a:pt x="107728" y="270531"/>
                    <a:pt x="180617" y="270531"/>
                    <a:pt x="225580" y="225568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880" name="Gráfico 17">
            <a:extLst>
              <a:ext uri="{FF2B5EF4-FFF2-40B4-BE49-F238E27FC236}">
                <a16:creationId xmlns:a16="http://schemas.microsoft.com/office/drawing/2014/main" id="{BE504442-CD5B-59F8-E130-710AE1B598F8}"/>
              </a:ext>
            </a:extLst>
          </p:cNvPr>
          <p:cNvGrpSpPr/>
          <p:nvPr/>
        </p:nvGrpSpPr>
        <p:grpSpPr>
          <a:xfrm>
            <a:off x="6207016" y="4639836"/>
            <a:ext cx="258902" cy="258794"/>
            <a:chOff x="6207016" y="4639836"/>
            <a:chExt cx="258902" cy="258794"/>
          </a:xfrm>
          <a:noFill/>
        </p:grpSpPr>
        <p:sp>
          <p:nvSpPr>
            <p:cNvPr id="1881" name="Forma livre: Forma 1880">
              <a:extLst>
                <a:ext uri="{FF2B5EF4-FFF2-40B4-BE49-F238E27FC236}">
                  <a16:creationId xmlns:a16="http://schemas.microsoft.com/office/drawing/2014/main" id="{1D0A2EE6-0560-DF81-C4CE-4C528ECE10DB}"/>
                </a:ext>
              </a:extLst>
            </p:cNvPr>
            <p:cNvSpPr/>
            <p:nvPr/>
          </p:nvSpPr>
          <p:spPr>
            <a:xfrm>
              <a:off x="6229593" y="4716056"/>
              <a:ext cx="213735" cy="1193"/>
            </a:xfrm>
            <a:custGeom>
              <a:avLst/>
              <a:gdLst>
                <a:gd name="connsiteX0" fmla="*/ 0 w 213735"/>
                <a:gd name="connsiteY0" fmla="*/ 0 h 1193"/>
                <a:gd name="connsiteX1" fmla="*/ 213736 w 213735"/>
                <a:gd name="connsiteY1" fmla="*/ 0 h 11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13735" h="1193">
                  <a:moveTo>
                    <a:pt x="0" y="0"/>
                  </a:moveTo>
                  <a:lnTo>
                    <a:pt x="213736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882" name="Gráfico 17">
              <a:extLst>
                <a:ext uri="{FF2B5EF4-FFF2-40B4-BE49-F238E27FC236}">
                  <a16:creationId xmlns:a16="http://schemas.microsoft.com/office/drawing/2014/main" id="{271E864F-933F-8124-7CFB-C482D3265438}"/>
                </a:ext>
              </a:extLst>
            </p:cNvPr>
            <p:cNvGrpSpPr/>
            <p:nvPr/>
          </p:nvGrpSpPr>
          <p:grpSpPr>
            <a:xfrm>
              <a:off x="6207016" y="4639836"/>
              <a:ext cx="258902" cy="258794"/>
              <a:chOff x="6207016" y="4639836"/>
              <a:chExt cx="258902" cy="258794"/>
            </a:xfrm>
            <a:noFill/>
          </p:grpSpPr>
          <p:sp>
            <p:nvSpPr>
              <p:cNvPr id="1883" name="Forma livre: Forma 1882">
                <a:extLst>
                  <a:ext uri="{FF2B5EF4-FFF2-40B4-BE49-F238E27FC236}">
                    <a16:creationId xmlns:a16="http://schemas.microsoft.com/office/drawing/2014/main" id="{FD908DE9-7D0B-F997-1EA2-F16702F4B415}"/>
                  </a:ext>
                </a:extLst>
              </p:cNvPr>
              <p:cNvSpPr/>
              <p:nvPr/>
            </p:nvSpPr>
            <p:spPr>
              <a:xfrm>
                <a:off x="6207016" y="4663034"/>
                <a:ext cx="258902" cy="235596"/>
              </a:xfrm>
              <a:custGeom>
                <a:avLst/>
                <a:gdLst>
                  <a:gd name="connsiteX0" fmla="*/ 216422 w 258902"/>
                  <a:gd name="connsiteY0" fmla="*/ 0 h 235596"/>
                  <a:gd name="connsiteX1" fmla="*/ 243954 w 258902"/>
                  <a:gd name="connsiteY1" fmla="*/ 0 h 235596"/>
                  <a:gd name="connsiteX2" fmla="*/ 258902 w 258902"/>
                  <a:gd name="connsiteY2" fmla="*/ 14948 h 235596"/>
                  <a:gd name="connsiteX3" fmla="*/ 258902 w 258902"/>
                  <a:gd name="connsiteY3" fmla="*/ 220577 h 235596"/>
                  <a:gd name="connsiteX4" fmla="*/ 243954 w 258902"/>
                  <a:gd name="connsiteY4" fmla="*/ 235597 h 235596"/>
                  <a:gd name="connsiteX5" fmla="*/ 14948 w 258902"/>
                  <a:gd name="connsiteY5" fmla="*/ 235597 h 235596"/>
                  <a:gd name="connsiteX6" fmla="*/ 0 w 258902"/>
                  <a:gd name="connsiteY6" fmla="*/ 220577 h 235596"/>
                  <a:gd name="connsiteX7" fmla="*/ 0 w 258902"/>
                  <a:gd name="connsiteY7" fmla="*/ 14948 h 235596"/>
                  <a:gd name="connsiteX8" fmla="*/ 14948 w 258902"/>
                  <a:gd name="connsiteY8" fmla="*/ 0 h 235596"/>
                  <a:gd name="connsiteX9" fmla="*/ 56067 w 258902"/>
                  <a:gd name="connsiteY9" fmla="*/ 0 h 2355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58902" h="235596">
                    <a:moveTo>
                      <a:pt x="216422" y="0"/>
                    </a:moveTo>
                    <a:lnTo>
                      <a:pt x="243954" y="0"/>
                    </a:lnTo>
                    <a:cubicBezTo>
                      <a:pt x="252180" y="0"/>
                      <a:pt x="258902" y="6734"/>
                      <a:pt x="258902" y="14948"/>
                    </a:cubicBezTo>
                    <a:lnTo>
                      <a:pt x="258902" y="220577"/>
                    </a:lnTo>
                    <a:cubicBezTo>
                      <a:pt x="258902" y="228791"/>
                      <a:pt x="252180" y="235597"/>
                      <a:pt x="243954" y="235597"/>
                    </a:cubicBezTo>
                    <a:lnTo>
                      <a:pt x="14948" y="235597"/>
                    </a:lnTo>
                    <a:cubicBezTo>
                      <a:pt x="6734" y="235597"/>
                      <a:pt x="0" y="228791"/>
                      <a:pt x="0" y="220577"/>
                    </a:cubicBezTo>
                    <a:lnTo>
                      <a:pt x="0" y="14948"/>
                    </a:lnTo>
                    <a:cubicBezTo>
                      <a:pt x="0" y="6734"/>
                      <a:pt x="6734" y="0"/>
                      <a:pt x="14948" y="0"/>
                    </a:cubicBezTo>
                    <a:lnTo>
                      <a:pt x="56067" y="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884" name="Forma livre: Forma 1883">
                <a:extLst>
                  <a:ext uri="{FF2B5EF4-FFF2-40B4-BE49-F238E27FC236}">
                    <a16:creationId xmlns:a16="http://schemas.microsoft.com/office/drawing/2014/main" id="{9968654B-5F32-C5F8-9097-82425E87808F}"/>
                  </a:ext>
                </a:extLst>
              </p:cNvPr>
              <p:cNvSpPr/>
              <p:nvPr/>
            </p:nvSpPr>
            <p:spPr>
              <a:xfrm>
                <a:off x="6358035" y="4663034"/>
                <a:ext cx="35805" cy="1193"/>
              </a:xfrm>
              <a:custGeom>
                <a:avLst/>
                <a:gdLst>
                  <a:gd name="connsiteX0" fmla="*/ 0 w 35805"/>
                  <a:gd name="connsiteY0" fmla="*/ 0 h 1193"/>
                  <a:gd name="connsiteX1" fmla="*/ 35806 w 35805"/>
                  <a:gd name="connsiteY1" fmla="*/ 0 h 11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5805" h="1193">
                    <a:moveTo>
                      <a:pt x="0" y="0"/>
                    </a:moveTo>
                    <a:lnTo>
                      <a:pt x="35806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885" name="Forma livre: Forma 1884">
                <a:extLst>
                  <a:ext uri="{FF2B5EF4-FFF2-40B4-BE49-F238E27FC236}">
                    <a16:creationId xmlns:a16="http://schemas.microsoft.com/office/drawing/2014/main" id="{4F69B250-4409-C2BD-BD86-EF59346059FE}"/>
                  </a:ext>
                </a:extLst>
              </p:cNvPr>
              <p:cNvSpPr/>
              <p:nvPr/>
            </p:nvSpPr>
            <p:spPr>
              <a:xfrm>
                <a:off x="6292644" y="4663034"/>
                <a:ext cx="35805" cy="1193"/>
              </a:xfrm>
              <a:custGeom>
                <a:avLst/>
                <a:gdLst>
                  <a:gd name="connsiteX0" fmla="*/ 0 w 35805"/>
                  <a:gd name="connsiteY0" fmla="*/ 0 h 1193"/>
                  <a:gd name="connsiteX1" fmla="*/ 35806 w 35805"/>
                  <a:gd name="connsiteY1" fmla="*/ 0 h 11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5805" h="1193">
                    <a:moveTo>
                      <a:pt x="0" y="0"/>
                    </a:moveTo>
                    <a:lnTo>
                      <a:pt x="35806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886" name="Forma livre: Forma 1885">
                <a:extLst>
                  <a:ext uri="{FF2B5EF4-FFF2-40B4-BE49-F238E27FC236}">
                    <a16:creationId xmlns:a16="http://schemas.microsoft.com/office/drawing/2014/main" id="{EBCFB978-94A0-DD1B-821C-F05ABC586ED1}"/>
                  </a:ext>
                </a:extLst>
              </p:cNvPr>
              <p:cNvSpPr/>
              <p:nvPr/>
            </p:nvSpPr>
            <p:spPr>
              <a:xfrm>
                <a:off x="6264109" y="4639836"/>
                <a:ext cx="1193" cy="50825"/>
              </a:xfrm>
              <a:custGeom>
                <a:avLst/>
                <a:gdLst>
                  <a:gd name="connsiteX0" fmla="*/ 0 w 1193"/>
                  <a:gd name="connsiteY0" fmla="*/ 0 h 50825"/>
                  <a:gd name="connsiteX1" fmla="*/ 0 w 1193"/>
                  <a:gd name="connsiteY1" fmla="*/ 50825 h 508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3" h="50825">
                    <a:moveTo>
                      <a:pt x="0" y="0"/>
                    </a:moveTo>
                    <a:lnTo>
                      <a:pt x="0" y="50825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887" name="Forma livre: Forma 1886">
                <a:extLst>
                  <a:ext uri="{FF2B5EF4-FFF2-40B4-BE49-F238E27FC236}">
                    <a16:creationId xmlns:a16="http://schemas.microsoft.com/office/drawing/2014/main" id="{9E667DBC-AB7D-1CC9-5068-E5E2E70F5772}"/>
                  </a:ext>
                </a:extLst>
              </p:cNvPr>
              <p:cNvSpPr/>
              <p:nvPr/>
            </p:nvSpPr>
            <p:spPr>
              <a:xfrm>
                <a:off x="6394879" y="4639836"/>
                <a:ext cx="1193" cy="50825"/>
              </a:xfrm>
              <a:custGeom>
                <a:avLst/>
                <a:gdLst>
                  <a:gd name="connsiteX0" fmla="*/ 0 w 1193"/>
                  <a:gd name="connsiteY0" fmla="*/ 0 h 50825"/>
                  <a:gd name="connsiteX1" fmla="*/ 0 w 1193"/>
                  <a:gd name="connsiteY1" fmla="*/ 50825 h 508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3" h="50825">
                    <a:moveTo>
                      <a:pt x="0" y="0"/>
                    </a:moveTo>
                    <a:lnTo>
                      <a:pt x="0" y="50825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888" name="Forma livre: Forma 1887">
                <a:extLst>
                  <a:ext uri="{FF2B5EF4-FFF2-40B4-BE49-F238E27FC236}">
                    <a16:creationId xmlns:a16="http://schemas.microsoft.com/office/drawing/2014/main" id="{3FC70A48-E62E-4550-F5A8-FD41F94C41E1}"/>
                  </a:ext>
                </a:extLst>
              </p:cNvPr>
              <p:cNvSpPr/>
              <p:nvPr/>
            </p:nvSpPr>
            <p:spPr>
              <a:xfrm>
                <a:off x="6329488" y="4639836"/>
                <a:ext cx="1193" cy="50825"/>
              </a:xfrm>
              <a:custGeom>
                <a:avLst/>
                <a:gdLst>
                  <a:gd name="connsiteX0" fmla="*/ 0 w 1193"/>
                  <a:gd name="connsiteY0" fmla="*/ 0 h 50825"/>
                  <a:gd name="connsiteX1" fmla="*/ 0 w 1193"/>
                  <a:gd name="connsiteY1" fmla="*/ 50825 h 508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3" h="50825">
                    <a:moveTo>
                      <a:pt x="0" y="0"/>
                    </a:moveTo>
                    <a:lnTo>
                      <a:pt x="0" y="50825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889" name="Gráfico 17">
              <a:extLst>
                <a:ext uri="{FF2B5EF4-FFF2-40B4-BE49-F238E27FC236}">
                  <a16:creationId xmlns:a16="http://schemas.microsoft.com/office/drawing/2014/main" id="{491197D2-C442-18CC-0BFB-9DDFDA1C1F36}"/>
                </a:ext>
              </a:extLst>
            </p:cNvPr>
            <p:cNvGrpSpPr/>
            <p:nvPr/>
          </p:nvGrpSpPr>
          <p:grpSpPr>
            <a:xfrm>
              <a:off x="6248648" y="4744937"/>
              <a:ext cx="175625" cy="126269"/>
              <a:chOff x="6248648" y="4744937"/>
              <a:chExt cx="175625" cy="126269"/>
            </a:xfrm>
          </p:grpSpPr>
          <p:grpSp>
            <p:nvGrpSpPr>
              <p:cNvPr id="1890" name="Gráfico 17">
                <a:extLst>
                  <a:ext uri="{FF2B5EF4-FFF2-40B4-BE49-F238E27FC236}">
                    <a16:creationId xmlns:a16="http://schemas.microsoft.com/office/drawing/2014/main" id="{3E0541FC-F6A1-6F4E-09F1-78439511EE5D}"/>
                  </a:ext>
                </a:extLst>
              </p:cNvPr>
              <p:cNvGrpSpPr/>
              <p:nvPr/>
            </p:nvGrpSpPr>
            <p:grpSpPr>
              <a:xfrm>
                <a:off x="6248648" y="4783608"/>
                <a:ext cx="175625" cy="48926"/>
                <a:chOff x="6248648" y="4783608"/>
                <a:chExt cx="175625" cy="48926"/>
              </a:xfrm>
            </p:grpSpPr>
            <p:sp>
              <p:nvSpPr>
                <p:cNvPr id="1891" name="Forma livre: Forma 1890">
                  <a:extLst>
                    <a:ext uri="{FF2B5EF4-FFF2-40B4-BE49-F238E27FC236}">
                      <a16:creationId xmlns:a16="http://schemas.microsoft.com/office/drawing/2014/main" id="{9B1FCF2C-6042-0710-023E-9F7DBD3EB44A}"/>
                    </a:ext>
                  </a:extLst>
                </p:cNvPr>
                <p:cNvSpPr/>
                <p:nvPr/>
              </p:nvSpPr>
              <p:spPr>
                <a:xfrm>
                  <a:off x="6248648" y="4783608"/>
                  <a:ext cx="175625" cy="1193"/>
                </a:xfrm>
                <a:custGeom>
                  <a:avLst/>
                  <a:gdLst>
                    <a:gd name="connsiteX0" fmla="*/ 0 w 175625"/>
                    <a:gd name="connsiteY0" fmla="*/ 0 h 1193"/>
                    <a:gd name="connsiteX1" fmla="*/ 175626 w 175625"/>
                    <a:gd name="connsiteY1" fmla="*/ 0 h 119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75625" h="1193">
                      <a:moveTo>
                        <a:pt x="0" y="0"/>
                      </a:moveTo>
                      <a:lnTo>
                        <a:pt x="175626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892" name="Forma livre: Forma 1891">
                  <a:extLst>
                    <a:ext uri="{FF2B5EF4-FFF2-40B4-BE49-F238E27FC236}">
                      <a16:creationId xmlns:a16="http://schemas.microsoft.com/office/drawing/2014/main" id="{93A864A2-1A65-190A-F506-E85DB805980C}"/>
                    </a:ext>
                  </a:extLst>
                </p:cNvPr>
                <p:cNvSpPr/>
                <p:nvPr/>
              </p:nvSpPr>
              <p:spPr>
                <a:xfrm>
                  <a:off x="6248648" y="4832535"/>
                  <a:ext cx="175625" cy="1193"/>
                </a:xfrm>
                <a:custGeom>
                  <a:avLst/>
                  <a:gdLst>
                    <a:gd name="connsiteX0" fmla="*/ 0 w 175625"/>
                    <a:gd name="connsiteY0" fmla="*/ 0 h 1193"/>
                    <a:gd name="connsiteX1" fmla="*/ 175626 w 175625"/>
                    <a:gd name="connsiteY1" fmla="*/ 0 h 119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75625" h="1193">
                      <a:moveTo>
                        <a:pt x="0" y="0"/>
                      </a:moveTo>
                      <a:lnTo>
                        <a:pt x="175626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1893" name="Gráfico 17">
                <a:extLst>
                  <a:ext uri="{FF2B5EF4-FFF2-40B4-BE49-F238E27FC236}">
                    <a16:creationId xmlns:a16="http://schemas.microsoft.com/office/drawing/2014/main" id="{E6EA4218-4A34-5F3B-0DAE-E6F689691D9B}"/>
                  </a:ext>
                </a:extLst>
              </p:cNvPr>
              <p:cNvGrpSpPr/>
              <p:nvPr/>
            </p:nvGrpSpPr>
            <p:grpSpPr>
              <a:xfrm>
                <a:off x="6287522" y="4744937"/>
                <a:ext cx="97877" cy="126269"/>
                <a:chOff x="6287522" y="4744937"/>
                <a:chExt cx="97877" cy="126269"/>
              </a:xfrm>
            </p:grpSpPr>
            <p:sp>
              <p:nvSpPr>
                <p:cNvPr id="1894" name="Forma livre: Forma 1893">
                  <a:extLst>
                    <a:ext uri="{FF2B5EF4-FFF2-40B4-BE49-F238E27FC236}">
                      <a16:creationId xmlns:a16="http://schemas.microsoft.com/office/drawing/2014/main" id="{B821DB0B-00C1-1E33-288F-A3FD58876FD5}"/>
                    </a:ext>
                  </a:extLst>
                </p:cNvPr>
                <p:cNvSpPr/>
                <p:nvPr/>
              </p:nvSpPr>
              <p:spPr>
                <a:xfrm>
                  <a:off x="6336461" y="4744937"/>
                  <a:ext cx="1193" cy="126269"/>
                </a:xfrm>
                <a:custGeom>
                  <a:avLst/>
                  <a:gdLst>
                    <a:gd name="connsiteX0" fmla="*/ 0 w 1193"/>
                    <a:gd name="connsiteY0" fmla="*/ 126269 h 126269"/>
                    <a:gd name="connsiteX1" fmla="*/ 0 w 1193"/>
                    <a:gd name="connsiteY1" fmla="*/ 0 h 12626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193" h="126269">
                      <a:moveTo>
                        <a:pt x="0" y="126269"/>
                      </a:moveTo>
                      <a:lnTo>
                        <a:pt x="0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895" name="Forma livre: Forma 1894">
                  <a:extLst>
                    <a:ext uri="{FF2B5EF4-FFF2-40B4-BE49-F238E27FC236}">
                      <a16:creationId xmlns:a16="http://schemas.microsoft.com/office/drawing/2014/main" id="{1306C421-D2D3-3D85-9582-998254D25DD0}"/>
                    </a:ext>
                  </a:extLst>
                </p:cNvPr>
                <p:cNvSpPr/>
                <p:nvPr/>
              </p:nvSpPr>
              <p:spPr>
                <a:xfrm>
                  <a:off x="6287522" y="4744937"/>
                  <a:ext cx="1193" cy="126269"/>
                </a:xfrm>
                <a:custGeom>
                  <a:avLst/>
                  <a:gdLst>
                    <a:gd name="connsiteX0" fmla="*/ 0 w 1193"/>
                    <a:gd name="connsiteY0" fmla="*/ 126269 h 126269"/>
                    <a:gd name="connsiteX1" fmla="*/ 0 w 1193"/>
                    <a:gd name="connsiteY1" fmla="*/ 0 h 12626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193" h="126269">
                      <a:moveTo>
                        <a:pt x="0" y="126269"/>
                      </a:moveTo>
                      <a:lnTo>
                        <a:pt x="0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896" name="Forma livre: Forma 1895">
                  <a:extLst>
                    <a:ext uri="{FF2B5EF4-FFF2-40B4-BE49-F238E27FC236}">
                      <a16:creationId xmlns:a16="http://schemas.microsoft.com/office/drawing/2014/main" id="{A5D08B44-C146-458B-C095-FBFC079F2AF4}"/>
                    </a:ext>
                  </a:extLst>
                </p:cNvPr>
                <p:cNvSpPr/>
                <p:nvPr/>
              </p:nvSpPr>
              <p:spPr>
                <a:xfrm>
                  <a:off x="6385400" y="4744937"/>
                  <a:ext cx="1193" cy="126269"/>
                </a:xfrm>
                <a:custGeom>
                  <a:avLst/>
                  <a:gdLst>
                    <a:gd name="connsiteX0" fmla="*/ 0 w 1193"/>
                    <a:gd name="connsiteY0" fmla="*/ 126269 h 126269"/>
                    <a:gd name="connsiteX1" fmla="*/ 0 w 1193"/>
                    <a:gd name="connsiteY1" fmla="*/ 0 h 12626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193" h="126269">
                      <a:moveTo>
                        <a:pt x="0" y="126269"/>
                      </a:moveTo>
                      <a:lnTo>
                        <a:pt x="0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</p:grpSp>
      <p:grpSp>
        <p:nvGrpSpPr>
          <p:cNvPr id="1897" name="Gráfico 17">
            <a:extLst>
              <a:ext uri="{FF2B5EF4-FFF2-40B4-BE49-F238E27FC236}">
                <a16:creationId xmlns:a16="http://schemas.microsoft.com/office/drawing/2014/main" id="{A8B96A01-472B-9D7B-3AA9-33DDFADE90BA}"/>
              </a:ext>
            </a:extLst>
          </p:cNvPr>
          <p:cNvGrpSpPr/>
          <p:nvPr/>
        </p:nvGrpSpPr>
        <p:grpSpPr>
          <a:xfrm>
            <a:off x="7423491" y="4639836"/>
            <a:ext cx="317869" cy="311577"/>
            <a:chOff x="7423491" y="4639836"/>
            <a:chExt cx="317869" cy="311577"/>
          </a:xfrm>
          <a:noFill/>
        </p:grpSpPr>
        <p:grpSp>
          <p:nvGrpSpPr>
            <p:cNvPr id="1898" name="Gráfico 17">
              <a:extLst>
                <a:ext uri="{FF2B5EF4-FFF2-40B4-BE49-F238E27FC236}">
                  <a16:creationId xmlns:a16="http://schemas.microsoft.com/office/drawing/2014/main" id="{13413422-67A2-632E-0EA2-4C88CE911485}"/>
                </a:ext>
              </a:extLst>
            </p:cNvPr>
            <p:cNvGrpSpPr/>
            <p:nvPr/>
          </p:nvGrpSpPr>
          <p:grpSpPr>
            <a:xfrm>
              <a:off x="7423491" y="4639836"/>
              <a:ext cx="258902" cy="258806"/>
              <a:chOff x="7423491" y="4639836"/>
              <a:chExt cx="258902" cy="258806"/>
            </a:xfrm>
            <a:noFill/>
          </p:grpSpPr>
          <p:sp>
            <p:nvSpPr>
              <p:cNvPr id="1899" name="Forma livre: Forma 1898">
                <a:extLst>
                  <a:ext uri="{FF2B5EF4-FFF2-40B4-BE49-F238E27FC236}">
                    <a16:creationId xmlns:a16="http://schemas.microsoft.com/office/drawing/2014/main" id="{96B6E9B3-A469-E230-9367-67CF704C56B6}"/>
                  </a:ext>
                </a:extLst>
              </p:cNvPr>
              <p:cNvSpPr/>
              <p:nvPr/>
            </p:nvSpPr>
            <p:spPr>
              <a:xfrm>
                <a:off x="7446080" y="4716056"/>
                <a:ext cx="213735" cy="1193"/>
              </a:xfrm>
              <a:custGeom>
                <a:avLst/>
                <a:gdLst>
                  <a:gd name="connsiteX0" fmla="*/ 0 w 213735"/>
                  <a:gd name="connsiteY0" fmla="*/ 0 h 1193"/>
                  <a:gd name="connsiteX1" fmla="*/ 213736 w 213735"/>
                  <a:gd name="connsiteY1" fmla="*/ 0 h 11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13735" h="1193">
                    <a:moveTo>
                      <a:pt x="0" y="0"/>
                    </a:moveTo>
                    <a:lnTo>
                      <a:pt x="213736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1900" name="Gráfico 17">
                <a:extLst>
                  <a:ext uri="{FF2B5EF4-FFF2-40B4-BE49-F238E27FC236}">
                    <a16:creationId xmlns:a16="http://schemas.microsoft.com/office/drawing/2014/main" id="{D6ED1A0B-E1E4-5DED-D483-6C062BA60E44}"/>
                  </a:ext>
                </a:extLst>
              </p:cNvPr>
              <p:cNvGrpSpPr/>
              <p:nvPr/>
            </p:nvGrpSpPr>
            <p:grpSpPr>
              <a:xfrm>
                <a:off x="7423491" y="4639836"/>
                <a:ext cx="258902" cy="258806"/>
                <a:chOff x="7423491" y="4639836"/>
                <a:chExt cx="258902" cy="258806"/>
              </a:xfrm>
              <a:noFill/>
            </p:grpSpPr>
            <p:sp>
              <p:nvSpPr>
                <p:cNvPr id="1901" name="Forma livre: Forma 1900">
                  <a:extLst>
                    <a:ext uri="{FF2B5EF4-FFF2-40B4-BE49-F238E27FC236}">
                      <a16:creationId xmlns:a16="http://schemas.microsoft.com/office/drawing/2014/main" id="{7A13F210-1B1C-916B-D69B-8DC8AABD30DE}"/>
                    </a:ext>
                  </a:extLst>
                </p:cNvPr>
                <p:cNvSpPr/>
                <p:nvPr/>
              </p:nvSpPr>
              <p:spPr>
                <a:xfrm>
                  <a:off x="7423491" y="4663046"/>
                  <a:ext cx="149968" cy="235596"/>
                </a:xfrm>
                <a:custGeom>
                  <a:avLst/>
                  <a:gdLst>
                    <a:gd name="connsiteX0" fmla="*/ 149969 w 149968"/>
                    <a:gd name="connsiteY0" fmla="*/ 235597 h 235596"/>
                    <a:gd name="connsiteX1" fmla="*/ 14948 w 149968"/>
                    <a:gd name="connsiteY1" fmla="*/ 235597 h 235596"/>
                    <a:gd name="connsiteX2" fmla="*/ 0 w 149968"/>
                    <a:gd name="connsiteY2" fmla="*/ 220577 h 235596"/>
                    <a:gd name="connsiteX3" fmla="*/ 0 w 149968"/>
                    <a:gd name="connsiteY3" fmla="*/ 14948 h 235596"/>
                    <a:gd name="connsiteX4" fmla="*/ 14948 w 149968"/>
                    <a:gd name="connsiteY4" fmla="*/ 0 h 235596"/>
                    <a:gd name="connsiteX5" fmla="*/ 56067 w 149968"/>
                    <a:gd name="connsiteY5" fmla="*/ 0 h 23559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149968" h="235596">
                      <a:moveTo>
                        <a:pt x="149969" y="235597"/>
                      </a:moveTo>
                      <a:lnTo>
                        <a:pt x="14948" y="235597"/>
                      </a:lnTo>
                      <a:cubicBezTo>
                        <a:pt x="6734" y="235597"/>
                        <a:pt x="0" y="228791"/>
                        <a:pt x="0" y="220577"/>
                      </a:cubicBezTo>
                      <a:lnTo>
                        <a:pt x="0" y="14948"/>
                      </a:lnTo>
                      <a:cubicBezTo>
                        <a:pt x="0" y="6734"/>
                        <a:pt x="6734" y="0"/>
                        <a:pt x="14948" y="0"/>
                      </a:cubicBezTo>
                      <a:lnTo>
                        <a:pt x="56067" y="0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902" name="Forma livre: Forma 1901">
                  <a:extLst>
                    <a:ext uri="{FF2B5EF4-FFF2-40B4-BE49-F238E27FC236}">
                      <a16:creationId xmlns:a16="http://schemas.microsoft.com/office/drawing/2014/main" id="{6A5082B0-8848-D92F-4139-BC8CB86FDE69}"/>
                    </a:ext>
                  </a:extLst>
                </p:cNvPr>
                <p:cNvSpPr/>
                <p:nvPr/>
              </p:nvSpPr>
              <p:spPr>
                <a:xfrm>
                  <a:off x="7639914" y="4663034"/>
                  <a:ext cx="42479" cy="106223"/>
                </a:xfrm>
                <a:custGeom>
                  <a:avLst/>
                  <a:gdLst>
                    <a:gd name="connsiteX0" fmla="*/ 0 w 42479"/>
                    <a:gd name="connsiteY0" fmla="*/ 0 h 106223"/>
                    <a:gd name="connsiteX1" fmla="*/ 27532 w 42479"/>
                    <a:gd name="connsiteY1" fmla="*/ 0 h 106223"/>
                    <a:gd name="connsiteX2" fmla="*/ 42480 w 42479"/>
                    <a:gd name="connsiteY2" fmla="*/ 14948 h 106223"/>
                    <a:gd name="connsiteX3" fmla="*/ 42480 w 42479"/>
                    <a:gd name="connsiteY3" fmla="*/ 106223 h 10622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2479" h="106223">
                      <a:moveTo>
                        <a:pt x="0" y="0"/>
                      </a:moveTo>
                      <a:lnTo>
                        <a:pt x="27532" y="0"/>
                      </a:lnTo>
                      <a:cubicBezTo>
                        <a:pt x="35758" y="0"/>
                        <a:pt x="42480" y="6734"/>
                        <a:pt x="42480" y="14948"/>
                      </a:cubicBezTo>
                      <a:lnTo>
                        <a:pt x="42480" y="106223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903" name="Forma livre: Forma 1902">
                  <a:extLst>
                    <a:ext uri="{FF2B5EF4-FFF2-40B4-BE49-F238E27FC236}">
                      <a16:creationId xmlns:a16="http://schemas.microsoft.com/office/drawing/2014/main" id="{62146341-1A2F-9473-53D5-3EAE91CBCFA5}"/>
                    </a:ext>
                  </a:extLst>
                </p:cNvPr>
                <p:cNvSpPr/>
                <p:nvPr/>
              </p:nvSpPr>
              <p:spPr>
                <a:xfrm>
                  <a:off x="7574522" y="4663034"/>
                  <a:ext cx="35805" cy="1193"/>
                </a:xfrm>
                <a:custGeom>
                  <a:avLst/>
                  <a:gdLst>
                    <a:gd name="connsiteX0" fmla="*/ 0 w 35805"/>
                    <a:gd name="connsiteY0" fmla="*/ 0 h 1193"/>
                    <a:gd name="connsiteX1" fmla="*/ 35806 w 35805"/>
                    <a:gd name="connsiteY1" fmla="*/ 0 h 119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35805" h="1193">
                      <a:moveTo>
                        <a:pt x="0" y="0"/>
                      </a:moveTo>
                      <a:lnTo>
                        <a:pt x="35806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904" name="Forma livre: Forma 1903">
                  <a:extLst>
                    <a:ext uri="{FF2B5EF4-FFF2-40B4-BE49-F238E27FC236}">
                      <a16:creationId xmlns:a16="http://schemas.microsoft.com/office/drawing/2014/main" id="{2AFC73BA-783E-DCD7-8295-FA283BC9BF33}"/>
                    </a:ext>
                  </a:extLst>
                </p:cNvPr>
                <p:cNvSpPr/>
                <p:nvPr/>
              </p:nvSpPr>
              <p:spPr>
                <a:xfrm>
                  <a:off x="7509131" y="4663034"/>
                  <a:ext cx="35805" cy="1193"/>
                </a:xfrm>
                <a:custGeom>
                  <a:avLst/>
                  <a:gdLst>
                    <a:gd name="connsiteX0" fmla="*/ 0 w 35805"/>
                    <a:gd name="connsiteY0" fmla="*/ 0 h 1193"/>
                    <a:gd name="connsiteX1" fmla="*/ 35806 w 35805"/>
                    <a:gd name="connsiteY1" fmla="*/ 0 h 119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35805" h="1193">
                      <a:moveTo>
                        <a:pt x="0" y="0"/>
                      </a:moveTo>
                      <a:lnTo>
                        <a:pt x="35806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905" name="Forma livre: Forma 1904">
                  <a:extLst>
                    <a:ext uri="{FF2B5EF4-FFF2-40B4-BE49-F238E27FC236}">
                      <a16:creationId xmlns:a16="http://schemas.microsoft.com/office/drawing/2014/main" id="{5E0D0ECF-1F2A-1B3E-626D-B5E964323551}"/>
                    </a:ext>
                  </a:extLst>
                </p:cNvPr>
                <p:cNvSpPr/>
                <p:nvPr/>
              </p:nvSpPr>
              <p:spPr>
                <a:xfrm>
                  <a:off x="7480597" y="4639836"/>
                  <a:ext cx="1193" cy="50825"/>
                </a:xfrm>
                <a:custGeom>
                  <a:avLst/>
                  <a:gdLst>
                    <a:gd name="connsiteX0" fmla="*/ 0 w 1193"/>
                    <a:gd name="connsiteY0" fmla="*/ 0 h 50825"/>
                    <a:gd name="connsiteX1" fmla="*/ 0 w 1193"/>
                    <a:gd name="connsiteY1" fmla="*/ 50825 h 5082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193" h="50825">
                      <a:moveTo>
                        <a:pt x="0" y="0"/>
                      </a:moveTo>
                      <a:lnTo>
                        <a:pt x="0" y="50825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906" name="Forma livre: Forma 1905">
                  <a:extLst>
                    <a:ext uri="{FF2B5EF4-FFF2-40B4-BE49-F238E27FC236}">
                      <a16:creationId xmlns:a16="http://schemas.microsoft.com/office/drawing/2014/main" id="{1BC3F586-31E3-A90A-80FD-D531716374E0}"/>
                    </a:ext>
                  </a:extLst>
                </p:cNvPr>
                <p:cNvSpPr/>
                <p:nvPr/>
              </p:nvSpPr>
              <p:spPr>
                <a:xfrm>
                  <a:off x="7611367" y="4639836"/>
                  <a:ext cx="1193" cy="50825"/>
                </a:xfrm>
                <a:custGeom>
                  <a:avLst/>
                  <a:gdLst>
                    <a:gd name="connsiteX0" fmla="*/ 0 w 1193"/>
                    <a:gd name="connsiteY0" fmla="*/ 0 h 50825"/>
                    <a:gd name="connsiteX1" fmla="*/ 0 w 1193"/>
                    <a:gd name="connsiteY1" fmla="*/ 50825 h 5082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193" h="50825">
                      <a:moveTo>
                        <a:pt x="0" y="0"/>
                      </a:moveTo>
                      <a:lnTo>
                        <a:pt x="0" y="50825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907" name="Forma livre: Forma 1906">
                  <a:extLst>
                    <a:ext uri="{FF2B5EF4-FFF2-40B4-BE49-F238E27FC236}">
                      <a16:creationId xmlns:a16="http://schemas.microsoft.com/office/drawing/2014/main" id="{D0378931-BB64-903B-E56C-CE976D65B119}"/>
                    </a:ext>
                  </a:extLst>
                </p:cNvPr>
                <p:cNvSpPr/>
                <p:nvPr/>
              </p:nvSpPr>
              <p:spPr>
                <a:xfrm>
                  <a:off x="7545976" y="4639836"/>
                  <a:ext cx="1193" cy="50825"/>
                </a:xfrm>
                <a:custGeom>
                  <a:avLst/>
                  <a:gdLst>
                    <a:gd name="connsiteX0" fmla="*/ 0 w 1193"/>
                    <a:gd name="connsiteY0" fmla="*/ 0 h 50825"/>
                    <a:gd name="connsiteX1" fmla="*/ 0 w 1193"/>
                    <a:gd name="connsiteY1" fmla="*/ 50825 h 5082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193" h="50825">
                      <a:moveTo>
                        <a:pt x="0" y="0"/>
                      </a:moveTo>
                      <a:lnTo>
                        <a:pt x="0" y="50825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1908" name="Gráfico 17">
                <a:extLst>
                  <a:ext uri="{FF2B5EF4-FFF2-40B4-BE49-F238E27FC236}">
                    <a16:creationId xmlns:a16="http://schemas.microsoft.com/office/drawing/2014/main" id="{C1D5E66A-DF17-821A-8353-F6419B8BE917}"/>
                  </a:ext>
                </a:extLst>
              </p:cNvPr>
              <p:cNvGrpSpPr/>
              <p:nvPr/>
            </p:nvGrpSpPr>
            <p:grpSpPr>
              <a:xfrm>
                <a:off x="7465135" y="4744937"/>
                <a:ext cx="158875" cy="126269"/>
                <a:chOff x="7465135" y="4744937"/>
                <a:chExt cx="158875" cy="126269"/>
              </a:xfrm>
            </p:grpSpPr>
            <p:grpSp>
              <p:nvGrpSpPr>
                <p:cNvPr id="1909" name="Gráfico 17">
                  <a:extLst>
                    <a:ext uri="{FF2B5EF4-FFF2-40B4-BE49-F238E27FC236}">
                      <a16:creationId xmlns:a16="http://schemas.microsoft.com/office/drawing/2014/main" id="{DE76413E-3926-BC8E-95F1-CB2C40F938FC}"/>
                    </a:ext>
                  </a:extLst>
                </p:cNvPr>
                <p:cNvGrpSpPr/>
                <p:nvPr/>
              </p:nvGrpSpPr>
              <p:grpSpPr>
                <a:xfrm>
                  <a:off x="7465135" y="4783608"/>
                  <a:ext cx="158875" cy="48926"/>
                  <a:chOff x="7465135" y="4783608"/>
                  <a:chExt cx="158875" cy="48926"/>
                </a:xfrm>
              </p:grpSpPr>
              <p:sp>
                <p:nvSpPr>
                  <p:cNvPr id="1910" name="Forma livre: Forma 1909">
                    <a:extLst>
                      <a:ext uri="{FF2B5EF4-FFF2-40B4-BE49-F238E27FC236}">
                        <a16:creationId xmlns:a16="http://schemas.microsoft.com/office/drawing/2014/main" id="{17B14D68-FD89-B3B8-081A-79CB2183A3AE}"/>
                      </a:ext>
                    </a:extLst>
                  </p:cNvPr>
                  <p:cNvSpPr/>
                  <p:nvPr/>
                </p:nvSpPr>
                <p:spPr>
                  <a:xfrm>
                    <a:off x="7465135" y="4783608"/>
                    <a:ext cx="158875" cy="1193"/>
                  </a:xfrm>
                  <a:custGeom>
                    <a:avLst/>
                    <a:gdLst>
                      <a:gd name="connsiteX0" fmla="*/ 0 w 158875"/>
                      <a:gd name="connsiteY0" fmla="*/ 0 h 1193"/>
                      <a:gd name="connsiteX1" fmla="*/ 158875 w 158875"/>
                      <a:gd name="connsiteY1" fmla="*/ 0 h 119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58875" h="1193">
                        <a:moveTo>
                          <a:pt x="0" y="0"/>
                        </a:moveTo>
                        <a:lnTo>
                          <a:pt x="158875" y="0"/>
                        </a:lnTo>
                      </a:path>
                    </a:pathLst>
                  </a:custGeom>
                  <a:ln w="6350" cap="flat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1911" name="Forma livre: Forma 1910">
                    <a:extLst>
                      <a:ext uri="{FF2B5EF4-FFF2-40B4-BE49-F238E27FC236}">
                        <a16:creationId xmlns:a16="http://schemas.microsoft.com/office/drawing/2014/main" id="{7F5EAE57-2929-2AB6-DFF2-71D7895D68F1}"/>
                      </a:ext>
                    </a:extLst>
                  </p:cNvPr>
                  <p:cNvSpPr/>
                  <p:nvPr/>
                </p:nvSpPr>
                <p:spPr>
                  <a:xfrm>
                    <a:off x="7465135" y="4832535"/>
                    <a:ext cx="134280" cy="1193"/>
                  </a:xfrm>
                  <a:custGeom>
                    <a:avLst/>
                    <a:gdLst>
                      <a:gd name="connsiteX0" fmla="*/ 0 w 134280"/>
                      <a:gd name="connsiteY0" fmla="*/ 0 h 1193"/>
                      <a:gd name="connsiteX1" fmla="*/ 134280 w 134280"/>
                      <a:gd name="connsiteY1" fmla="*/ 0 h 119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34280" h="1193">
                        <a:moveTo>
                          <a:pt x="0" y="0"/>
                        </a:moveTo>
                        <a:lnTo>
                          <a:pt x="134280" y="0"/>
                        </a:lnTo>
                      </a:path>
                    </a:pathLst>
                  </a:custGeom>
                  <a:ln w="6350" cap="flat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  <p:grpSp>
              <p:nvGrpSpPr>
                <p:cNvPr id="1912" name="Gráfico 17">
                  <a:extLst>
                    <a:ext uri="{FF2B5EF4-FFF2-40B4-BE49-F238E27FC236}">
                      <a16:creationId xmlns:a16="http://schemas.microsoft.com/office/drawing/2014/main" id="{A7CEDD74-5F51-943D-43DA-0D84EBCB0586}"/>
                    </a:ext>
                  </a:extLst>
                </p:cNvPr>
                <p:cNvGrpSpPr/>
                <p:nvPr/>
              </p:nvGrpSpPr>
              <p:grpSpPr>
                <a:xfrm>
                  <a:off x="7504009" y="4744937"/>
                  <a:ext cx="97865" cy="126269"/>
                  <a:chOff x="7504009" y="4744937"/>
                  <a:chExt cx="97865" cy="126269"/>
                </a:xfrm>
              </p:grpSpPr>
              <p:sp>
                <p:nvSpPr>
                  <p:cNvPr id="1913" name="Forma livre: Forma 1912">
                    <a:extLst>
                      <a:ext uri="{FF2B5EF4-FFF2-40B4-BE49-F238E27FC236}">
                        <a16:creationId xmlns:a16="http://schemas.microsoft.com/office/drawing/2014/main" id="{E9BA6357-F1E5-CB6B-75FC-C5C747B80615}"/>
                      </a:ext>
                    </a:extLst>
                  </p:cNvPr>
                  <p:cNvSpPr/>
                  <p:nvPr/>
                </p:nvSpPr>
                <p:spPr>
                  <a:xfrm>
                    <a:off x="7552948" y="4744937"/>
                    <a:ext cx="1193" cy="126269"/>
                  </a:xfrm>
                  <a:custGeom>
                    <a:avLst/>
                    <a:gdLst>
                      <a:gd name="connsiteX0" fmla="*/ 0 w 1193"/>
                      <a:gd name="connsiteY0" fmla="*/ 126269 h 126269"/>
                      <a:gd name="connsiteX1" fmla="*/ 0 w 1193"/>
                      <a:gd name="connsiteY1" fmla="*/ 0 h 12626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193" h="126269">
                        <a:moveTo>
                          <a:pt x="0" y="126269"/>
                        </a:moveTo>
                        <a:lnTo>
                          <a:pt x="0" y="0"/>
                        </a:lnTo>
                      </a:path>
                    </a:pathLst>
                  </a:custGeom>
                  <a:ln w="6350" cap="flat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1914" name="Forma livre: Forma 1913">
                    <a:extLst>
                      <a:ext uri="{FF2B5EF4-FFF2-40B4-BE49-F238E27FC236}">
                        <a16:creationId xmlns:a16="http://schemas.microsoft.com/office/drawing/2014/main" id="{9AA1602C-EDBE-EA7D-E8D3-7BAE350BFD01}"/>
                      </a:ext>
                    </a:extLst>
                  </p:cNvPr>
                  <p:cNvSpPr/>
                  <p:nvPr/>
                </p:nvSpPr>
                <p:spPr>
                  <a:xfrm>
                    <a:off x="7504009" y="4744937"/>
                    <a:ext cx="1193" cy="126269"/>
                  </a:xfrm>
                  <a:custGeom>
                    <a:avLst/>
                    <a:gdLst>
                      <a:gd name="connsiteX0" fmla="*/ 0 w 1193"/>
                      <a:gd name="connsiteY0" fmla="*/ 126269 h 126269"/>
                      <a:gd name="connsiteX1" fmla="*/ 0 w 1193"/>
                      <a:gd name="connsiteY1" fmla="*/ 0 h 12626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193" h="126269">
                        <a:moveTo>
                          <a:pt x="0" y="126269"/>
                        </a:moveTo>
                        <a:lnTo>
                          <a:pt x="0" y="0"/>
                        </a:lnTo>
                      </a:path>
                    </a:pathLst>
                  </a:custGeom>
                  <a:ln w="6350" cap="flat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1915" name="Forma livre: Forma 1914">
                    <a:extLst>
                      <a:ext uri="{FF2B5EF4-FFF2-40B4-BE49-F238E27FC236}">
                        <a16:creationId xmlns:a16="http://schemas.microsoft.com/office/drawing/2014/main" id="{48406BFC-D59E-07C9-5241-661F38D9074E}"/>
                      </a:ext>
                    </a:extLst>
                  </p:cNvPr>
                  <p:cNvSpPr/>
                  <p:nvPr/>
                </p:nvSpPr>
                <p:spPr>
                  <a:xfrm>
                    <a:off x="7601875" y="4744937"/>
                    <a:ext cx="1193" cy="60746"/>
                  </a:xfrm>
                  <a:custGeom>
                    <a:avLst/>
                    <a:gdLst>
                      <a:gd name="connsiteX0" fmla="*/ 0 w 1193"/>
                      <a:gd name="connsiteY0" fmla="*/ 60747 h 60746"/>
                      <a:gd name="connsiteX1" fmla="*/ 0 w 1193"/>
                      <a:gd name="connsiteY1" fmla="*/ 0 h 6074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193" h="60746">
                        <a:moveTo>
                          <a:pt x="0" y="60747"/>
                        </a:moveTo>
                        <a:lnTo>
                          <a:pt x="0" y="0"/>
                        </a:lnTo>
                      </a:path>
                    </a:pathLst>
                  </a:custGeom>
                  <a:ln w="6350" cap="flat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</p:grpSp>
        </p:grpSp>
        <p:sp>
          <p:nvSpPr>
            <p:cNvPr id="1916" name="Forma livre: Forma 1915">
              <a:extLst>
                <a:ext uri="{FF2B5EF4-FFF2-40B4-BE49-F238E27FC236}">
                  <a16:creationId xmlns:a16="http://schemas.microsoft.com/office/drawing/2014/main" id="{5CCF0CAA-FC15-4853-3B1B-5251FA14A20D}"/>
                </a:ext>
              </a:extLst>
            </p:cNvPr>
            <p:cNvSpPr/>
            <p:nvPr/>
          </p:nvSpPr>
          <p:spPr>
            <a:xfrm>
              <a:off x="7597040" y="4790592"/>
              <a:ext cx="144321" cy="132597"/>
            </a:xfrm>
            <a:custGeom>
              <a:avLst/>
              <a:gdLst>
                <a:gd name="connsiteX0" fmla="*/ 122401 w 144321"/>
                <a:gd name="connsiteY0" fmla="*/ 83718 h 132597"/>
                <a:gd name="connsiteX1" fmla="*/ 122401 w 144321"/>
                <a:gd name="connsiteY1" fmla="*/ 53953 h 132597"/>
                <a:gd name="connsiteX2" fmla="*/ 72161 w 144321"/>
                <a:gd name="connsiteY2" fmla="*/ 0 h 132597"/>
                <a:gd name="connsiteX3" fmla="*/ 21932 w 144321"/>
                <a:gd name="connsiteY3" fmla="*/ 53953 h 132597"/>
                <a:gd name="connsiteX4" fmla="*/ 21932 w 144321"/>
                <a:gd name="connsiteY4" fmla="*/ 83718 h 132597"/>
                <a:gd name="connsiteX5" fmla="*/ 0 w 144321"/>
                <a:gd name="connsiteY5" fmla="*/ 106188 h 132597"/>
                <a:gd name="connsiteX6" fmla="*/ 0 w 144321"/>
                <a:gd name="connsiteY6" fmla="*/ 132597 h 132597"/>
                <a:gd name="connsiteX7" fmla="*/ 144321 w 144321"/>
                <a:gd name="connsiteY7" fmla="*/ 132597 h 132597"/>
                <a:gd name="connsiteX8" fmla="*/ 144321 w 144321"/>
                <a:gd name="connsiteY8" fmla="*/ 106188 h 132597"/>
                <a:gd name="connsiteX9" fmla="*/ 122401 w 144321"/>
                <a:gd name="connsiteY9" fmla="*/ 83718 h 1325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44321" h="132597">
                  <a:moveTo>
                    <a:pt x="122401" y="83718"/>
                  </a:moveTo>
                  <a:lnTo>
                    <a:pt x="122401" y="53953"/>
                  </a:lnTo>
                  <a:cubicBezTo>
                    <a:pt x="122401" y="24284"/>
                    <a:pt x="99800" y="0"/>
                    <a:pt x="72161" y="0"/>
                  </a:cubicBezTo>
                  <a:cubicBezTo>
                    <a:pt x="44521" y="0"/>
                    <a:pt x="21932" y="24284"/>
                    <a:pt x="21932" y="53953"/>
                  </a:cubicBezTo>
                  <a:lnTo>
                    <a:pt x="21932" y="83718"/>
                  </a:lnTo>
                  <a:cubicBezTo>
                    <a:pt x="21932" y="83718"/>
                    <a:pt x="24165" y="106188"/>
                    <a:pt x="0" y="106188"/>
                  </a:cubicBezTo>
                  <a:lnTo>
                    <a:pt x="0" y="132597"/>
                  </a:lnTo>
                  <a:lnTo>
                    <a:pt x="144321" y="132597"/>
                  </a:lnTo>
                  <a:lnTo>
                    <a:pt x="144321" y="106188"/>
                  </a:lnTo>
                  <a:cubicBezTo>
                    <a:pt x="120156" y="106188"/>
                    <a:pt x="122401" y="83718"/>
                    <a:pt x="122401" y="83718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17" name="Forma livre: Forma 1916">
              <a:extLst>
                <a:ext uri="{FF2B5EF4-FFF2-40B4-BE49-F238E27FC236}">
                  <a16:creationId xmlns:a16="http://schemas.microsoft.com/office/drawing/2014/main" id="{6FFE985C-9D66-6DE2-C11B-3E3155737BB4}"/>
                </a:ext>
              </a:extLst>
            </p:cNvPr>
            <p:cNvSpPr/>
            <p:nvPr/>
          </p:nvSpPr>
          <p:spPr>
            <a:xfrm>
              <a:off x="7649202" y="4944059"/>
              <a:ext cx="40008" cy="7354"/>
            </a:xfrm>
            <a:custGeom>
              <a:avLst/>
              <a:gdLst>
                <a:gd name="connsiteX0" fmla="*/ 0 w 40008"/>
                <a:gd name="connsiteY0" fmla="*/ 0 h 7354"/>
                <a:gd name="connsiteX1" fmla="*/ 19974 w 40008"/>
                <a:gd name="connsiteY1" fmla="*/ 7355 h 7354"/>
                <a:gd name="connsiteX2" fmla="*/ 20034 w 40008"/>
                <a:gd name="connsiteY2" fmla="*/ 7355 h 7354"/>
                <a:gd name="connsiteX3" fmla="*/ 40008 w 40008"/>
                <a:gd name="connsiteY3" fmla="*/ 0 h 73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0008" h="7354">
                  <a:moveTo>
                    <a:pt x="0" y="0"/>
                  </a:moveTo>
                  <a:cubicBezTo>
                    <a:pt x="5385" y="4585"/>
                    <a:pt x="12357" y="7355"/>
                    <a:pt x="19974" y="7355"/>
                  </a:cubicBezTo>
                  <a:lnTo>
                    <a:pt x="20034" y="7355"/>
                  </a:lnTo>
                  <a:cubicBezTo>
                    <a:pt x="27663" y="7355"/>
                    <a:pt x="34636" y="4585"/>
                    <a:pt x="40008" y="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918" name="Gráfico 17">
            <a:extLst>
              <a:ext uri="{FF2B5EF4-FFF2-40B4-BE49-F238E27FC236}">
                <a16:creationId xmlns:a16="http://schemas.microsoft.com/office/drawing/2014/main" id="{F21F4752-087F-356E-6E0B-6C20C7711AB1}"/>
              </a:ext>
            </a:extLst>
          </p:cNvPr>
          <p:cNvGrpSpPr/>
          <p:nvPr/>
        </p:nvGrpSpPr>
        <p:grpSpPr>
          <a:xfrm>
            <a:off x="6799583" y="4639836"/>
            <a:ext cx="349077" cy="328310"/>
            <a:chOff x="6799583" y="4639836"/>
            <a:chExt cx="349077" cy="328310"/>
          </a:xfrm>
          <a:noFill/>
        </p:grpSpPr>
        <p:sp>
          <p:nvSpPr>
            <p:cNvPr id="1919" name="Forma livre: Forma 1918">
              <a:extLst>
                <a:ext uri="{FF2B5EF4-FFF2-40B4-BE49-F238E27FC236}">
                  <a16:creationId xmlns:a16="http://schemas.microsoft.com/office/drawing/2014/main" id="{DC82DCB9-3965-86DB-5DEA-780979FA758C}"/>
                </a:ext>
              </a:extLst>
            </p:cNvPr>
            <p:cNvSpPr/>
            <p:nvPr/>
          </p:nvSpPr>
          <p:spPr>
            <a:xfrm>
              <a:off x="6822160" y="4716056"/>
              <a:ext cx="213735" cy="1193"/>
            </a:xfrm>
            <a:custGeom>
              <a:avLst/>
              <a:gdLst>
                <a:gd name="connsiteX0" fmla="*/ 0 w 213735"/>
                <a:gd name="connsiteY0" fmla="*/ 0 h 1193"/>
                <a:gd name="connsiteX1" fmla="*/ 213736 w 213735"/>
                <a:gd name="connsiteY1" fmla="*/ 0 h 11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13735" h="1193">
                  <a:moveTo>
                    <a:pt x="0" y="0"/>
                  </a:moveTo>
                  <a:lnTo>
                    <a:pt x="213736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20" name="Forma livre: Forma 1919">
              <a:extLst>
                <a:ext uri="{FF2B5EF4-FFF2-40B4-BE49-F238E27FC236}">
                  <a16:creationId xmlns:a16="http://schemas.microsoft.com/office/drawing/2014/main" id="{40DCFBC3-90B0-128D-970F-1CEEF00BB343}"/>
                </a:ext>
              </a:extLst>
            </p:cNvPr>
            <p:cNvSpPr/>
            <p:nvPr/>
          </p:nvSpPr>
          <p:spPr>
            <a:xfrm>
              <a:off x="6799583" y="4663046"/>
              <a:ext cx="159424" cy="235596"/>
            </a:xfrm>
            <a:custGeom>
              <a:avLst/>
              <a:gdLst>
                <a:gd name="connsiteX0" fmla="*/ 159424 w 159424"/>
                <a:gd name="connsiteY0" fmla="*/ 235597 h 235596"/>
                <a:gd name="connsiteX1" fmla="*/ 14948 w 159424"/>
                <a:gd name="connsiteY1" fmla="*/ 235597 h 235596"/>
                <a:gd name="connsiteX2" fmla="*/ 0 w 159424"/>
                <a:gd name="connsiteY2" fmla="*/ 220577 h 235596"/>
                <a:gd name="connsiteX3" fmla="*/ 0 w 159424"/>
                <a:gd name="connsiteY3" fmla="*/ 14948 h 235596"/>
                <a:gd name="connsiteX4" fmla="*/ 14948 w 159424"/>
                <a:gd name="connsiteY4" fmla="*/ 0 h 235596"/>
                <a:gd name="connsiteX5" fmla="*/ 56067 w 159424"/>
                <a:gd name="connsiteY5" fmla="*/ 0 h 2355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59424" h="235596">
                  <a:moveTo>
                    <a:pt x="159424" y="235597"/>
                  </a:moveTo>
                  <a:lnTo>
                    <a:pt x="14948" y="235597"/>
                  </a:lnTo>
                  <a:cubicBezTo>
                    <a:pt x="6734" y="235597"/>
                    <a:pt x="0" y="228791"/>
                    <a:pt x="0" y="220577"/>
                  </a:cubicBezTo>
                  <a:lnTo>
                    <a:pt x="0" y="14948"/>
                  </a:lnTo>
                  <a:cubicBezTo>
                    <a:pt x="0" y="6734"/>
                    <a:pt x="6734" y="0"/>
                    <a:pt x="14948" y="0"/>
                  </a:cubicBezTo>
                  <a:lnTo>
                    <a:pt x="56067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21" name="Forma livre: Forma 1920">
              <a:extLst>
                <a:ext uri="{FF2B5EF4-FFF2-40B4-BE49-F238E27FC236}">
                  <a16:creationId xmlns:a16="http://schemas.microsoft.com/office/drawing/2014/main" id="{E07B7E7E-ADDC-C45C-4116-C3EE8914D297}"/>
                </a:ext>
              </a:extLst>
            </p:cNvPr>
            <p:cNvSpPr/>
            <p:nvPr/>
          </p:nvSpPr>
          <p:spPr>
            <a:xfrm>
              <a:off x="7016006" y="4663034"/>
              <a:ext cx="42479" cy="111786"/>
            </a:xfrm>
            <a:custGeom>
              <a:avLst/>
              <a:gdLst>
                <a:gd name="connsiteX0" fmla="*/ 0 w 42479"/>
                <a:gd name="connsiteY0" fmla="*/ 0 h 111786"/>
                <a:gd name="connsiteX1" fmla="*/ 27532 w 42479"/>
                <a:gd name="connsiteY1" fmla="*/ 0 h 111786"/>
                <a:gd name="connsiteX2" fmla="*/ 42480 w 42479"/>
                <a:gd name="connsiteY2" fmla="*/ 14948 h 111786"/>
                <a:gd name="connsiteX3" fmla="*/ 42480 w 42479"/>
                <a:gd name="connsiteY3" fmla="*/ 111787 h 1117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2479" h="111786">
                  <a:moveTo>
                    <a:pt x="0" y="0"/>
                  </a:moveTo>
                  <a:lnTo>
                    <a:pt x="27532" y="0"/>
                  </a:lnTo>
                  <a:cubicBezTo>
                    <a:pt x="35758" y="0"/>
                    <a:pt x="42480" y="6734"/>
                    <a:pt x="42480" y="14948"/>
                  </a:cubicBezTo>
                  <a:lnTo>
                    <a:pt x="42480" y="111787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22" name="Forma livre: Forma 1921">
              <a:extLst>
                <a:ext uri="{FF2B5EF4-FFF2-40B4-BE49-F238E27FC236}">
                  <a16:creationId xmlns:a16="http://schemas.microsoft.com/office/drawing/2014/main" id="{5011BF5D-8992-4F07-7770-E132770B5B85}"/>
                </a:ext>
              </a:extLst>
            </p:cNvPr>
            <p:cNvSpPr/>
            <p:nvPr/>
          </p:nvSpPr>
          <p:spPr>
            <a:xfrm>
              <a:off x="6950603" y="4663034"/>
              <a:ext cx="35805" cy="1193"/>
            </a:xfrm>
            <a:custGeom>
              <a:avLst/>
              <a:gdLst>
                <a:gd name="connsiteX0" fmla="*/ 0 w 35805"/>
                <a:gd name="connsiteY0" fmla="*/ 0 h 1193"/>
                <a:gd name="connsiteX1" fmla="*/ 35806 w 35805"/>
                <a:gd name="connsiteY1" fmla="*/ 0 h 11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5805" h="1193">
                  <a:moveTo>
                    <a:pt x="0" y="0"/>
                  </a:moveTo>
                  <a:lnTo>
                    <a:pt x="35806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23" name="Forma livre: Forma 1922">
              <a:extLst>
                <a:ext uri="{FF2B5EF4-FFF2-40B4-BE49-F238E27FC236}">
                  <a16:creationId xmlns:a16="http://schemas.microsoft.com/office/drawing/2014/main" id="{66989162-9231-E964-60B4-1FA2CDD133D2}"/>
                </a:ext>
              </a:extLst>
            </p:cNvPr>
            <p:cNvSpPr/>
            <p:nvPr/>
          </p:nvSpPr>
          <p:spPr>
            <a:xfrm>
              <a:off x="6885211" y="4663034"/>
              <a:ext cx="35817" cy="1193"/>
            </a:xfrm>
            <a:custGeom>
              <a:avLst/>
              <a:gdLst>
                <a:gd name="connsiteX0" fmla="*/ 0 w 35817"/>
                <a:gd name="connsiteY0" fmla="*/ 0 h 1193"/>
                <a:gd name="connsiteX1" fmla="*/ 35818 w 35817"/>
                <a:gd name="connsiteY1" fmla="*/ 0 h 11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5817" h="1193">
                  <a:moveTo>
                    <a:pt x="0" y="0"/>
                  </a:moveTo>
                  <a:lnTo>
                    <a:pt x="35818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24" name="Forma livre: Forma 1923">
              <a:extLst>
                <a:ext uri="{FF2B5EF4-FFF2-40B4-BE49-F238E27FC236}">
                  <a16:creationId xmlns:a16="http://schemas.microsoft.com/office/drawing/2014/main" id="{3305B176-56B8-B0A1-45D3-10CE83D2B9F6}"/>
                </a:ext>
              </a:extLst>
            </p:cNvPr>
            <p:cNvSpPr/>
            <p:nvPr/>
          </p:nvSpPr>
          <p:spPr>
            <a:xfrm>
              <a:off x="6856677" y="4639836"/>
              <a:ext cx="1193" cy="50825"/>
            </a:xfrm>
            <a:custGeom>
              <a:avLst/>
              <a:gdLst>
                <a:gd name="connsiteX0" fmla="*/ 0 w 1193"/>
                <a:gd name="connsiteY0" fmla="*/ 0 h 50825"/>
                <a:gd name="connsiteX1" fmla="*/ 0 w 1193"/>
                <a:gd name="connsiteY1" fmla="*/ 50825 h 508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93" h="50825">
                  <a:moveTo>
                    <a:pt x="0" y="0"/>
                  </a:moveTo>
                  <a:lnTo>
                    <a:pt x="0" y="50825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25" name="Forma livre: Forma 1924">
              <a:extLst>
                <a:ext uri="{FF2B5EF4-FFF2-40B4-BE49-F238E27FC236}">
                  <a16:creationId xmlns:a16="http://schemas.microsoft.com/office/drawing/2014/main" id="{2627472C-E051-793C-964B-39A26DB9CA46}"/>
                </a:ext>
              </a:extLst>
            </p:cNvPr>
            <p:cNvSpPr/>
            <p:nvPr/>
          </p:nvSpPr>
          <p:spPr>
            <a:xfrm>
              <a:off x="6987447" y="4639836"/>
              <a:ext cx="1193" cy="50825"/>
            </a:xfrm>
            <a:custGeom>
              <a:avLst/>
              <a:gdLst>
                <a:gd name="connsiteX0" fmla="*/ 0 w 1193"/>
                <a:gd name="connsiteY0" fmla="*/ 0 h 50825"/>
                <a:gd name="connsiteX1" fmla="*/ 0 w 1193"/>
                <a:gd name="connsiteY1" fmla="*/ 50825 h 508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93" h="50825">
                  <a:moveTo>
                    <a:pt x="0" y="0"/>
                  </a:moveTo>
                  <a:lnTo>
                    <a:pt x="0" y="50825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26" name="Forma livre: Forma 1925">
              <a:extLst>
                <a:ext uri="{FF2B5EF4-FFF2-40B4-BE49-F238E27FC236}">
                  <a16:creationId xmlns:a16="http://schemas.microsoft.com/office/drawing/2014/main" id="{8DD81869-CE08-1505-040D-C7464EAF4CA5}"/>
                </a:ext>
              </a:extLst>
            </p:cNvPr>
            <p:cNvSpPr/>
            <p:nvPr/>
          </p:nvSpPr>
          <p:spPr>
            <a:xfrm>
              <a:off x="6922056" y="4639836"/>
              <a:ext cx="1193" cy="50825"/>
            </a:xfrm>
            <a:custGeom>
              <a:avLst/>
              <a:gdLst>
                <a:gd name="connsiteX0" fmla="*/ 0 w 1193"/>
                <a:gd name="connsiteY0" fmla="*/ 0 h 50825"/>
                <a:gd name="connsiteX1" fmla="*/ 0 w 1193"/>
                <a:gd name="connsiteY1" fmla="*/ 50825 h 508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93" h="50825">
                  <a:moveTo>
                    <a:pt x="0" y="0"/>
                  </a:moveTo>
                  <a:lnTo>
                    <a:pt x="0" y="50825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27" name="Forma livre: Forma 1926">
              <a:extLst>
                <a:ext uri="{FF2B5EF4-FFF2-40B4-BE49-F238E27FC236}">
                  <a16:creationId xmlns:a16="http://schemas.microsoft.com/office/drawing/2014/main" id="{D5E1A576-7F40-F69A-BDBC-BADA78C184B7}"/>
                </a:ext>
              </a:extLst>
            </p:cNvPr>
            <p:cNvSpPr/>
            <p:nvPr/>
          </p:nvSpPr>
          <p:spPr>
            <a:xfrm>
              <a:off x="6841215" y="4783608"/>
              <a:ext cx="160785" cy="1193"/>
            </a:xfrm>
            <a:custGeom>
              <a:avLst/>
              <a:gdLst>
                <a:gd name="connsiteX0" fmla="*/ 0 w 160785"/>
                <a:gd name="connsiteY0" fmla="*/ 0 h 1193"/>
                <a:gd name="connsiteX1" fmla="*/ 160786 w 160785"/>
                <a:gd name="connsiteY1" fmla="*/ 0 h 11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60785" h="1193">
                  <a:moveTo>
                    <a:pt x="0" y="0"/>
                  </a:moveTo>
                  <a:lnTo>
                    <a:pt x="160786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28" name="Forma livre: Forma 1927">
              <a:extLst>
                <a:ext uri="{FF2B5EF4-FFF2-40B4-BE49-F238E27FC236}">
                  <a16:creationId xmlns:a16="http://schemas.microsoft.com/office/drawing/2014/main" id="{047DC244-3AA0-C4BA-5975-EE5377F19CF0}"/>
                </a:ext>
              </a:extLst>
            </p:cNvPr>
            <p:cNvSpPr/>
            <p:nvPr/>
          </p:nvSpPr>
          <p:spPr>
            <a:xfrm>
              <a:off x="6841215" y="4832535"/>
              <a:ext cx="120980" cy="1193"/>
            </a:xfrm>
            <a:custGeom>
              <a:avLst/>
              <a:gdLst>
                <a:gd name="connsiteX0" fmla="*/ 0 w 120980"/>
                <a:gd name="connsiteY0" fmla="*/ 0 h 1193"/>
                <a:gd name="connsiteX1" fmla="*/ 120980 w 120980"/>
                <a:gd name="connsiteY1" fmla="*/ 0 h 11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980" h="1193">
                  <a:moveTo>
                    <a:pt x="0" y="0"/>
                  </a:moveTo>
                  <a:lnTo>
                    <a:pt x="12098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29" name="Forma livre: Forma 1928">
              <a:extLst>
                <a:ext uri="{FF2B5EF4-FFF2-40B4-BE49-F238E27FC236}">
                  <a16:creationId xmlns:a16="http://schemas.microsoft.com/office/drawing/2014/main" id="{7F74C986-1A2D-296F-1FA0-1A4A9CEF69E3}"/>
                </a:ext>
              </a:extLst>
            </p:cNvPr>
            <p:cNvSpPr/>
            <p:nvPr/>
          </p:nvSpPr>
          <p:spPr>
            <a:xfrm>
              <a:off x="6929028" y="4744937"/>
              <a:ext cx="1193" cy="126269"/>
            </a:xfrm>
            <a:custGeom>
              <a:avLst/>
              <a:gdLst>
                <a:gd name="connsiteX0" fmla="*/ 0 w 1193"/>
                <a:gd name="connsiteY0" fmla="*/ 126269 h 126269"/>
                <a:gd name="connsiteX1" fmla="*/ 0 w 1193"/>
                <a:gd name="connsiteY1" fmla="*/ 0 h 1262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93" h="126269">
                  <a:moveTo>
                    <a:pt x="0" y="126269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30" name="Forma livre: Forma 1929">
              <a:extLst>
                <a:ext uri="{FF2B5EF4-FFF2-40B4-BE49-F238E27FC236}">
                  <a16:creationId xmlns:a16="http://schemas.microsoft.com/office/drawing/2014/main" id="{7DFDD388-A1B1-28A4-A91E-BEEE69118A81}"/>
                </a:ext>
              </a:extLst>
            </p:cNvPr>
            <p:cNvSpPr/>
            <p:nvPr/>
          </p:nvSpPr>
          <p:spPr>
            <a:xfrm>
              <a:off x="6880089" y="4744937"/>
              <a:ext cx="1193" cy="126269"/>
            </a:xfrm>
            <a:custGeom>
              <a:avLst/>
              <a:gdLst>
                <a:gd name="connsiteX0" fmla="*/ 0 w 1193"/>
                <a:gd name="connsiteY0" fmla="*/ 126269 h 126269"/>
                <a:gd name="connsiteX1" fmla="*/ 0 w 1193"/>
                <a:gd name="connsiteY1" fmla="*/ 0 h 1262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93" h="126269">
                  <a:moveTo>
                    <a:pt x="0" y="126269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31" name="Forma livre: Forma 1930">
              <a:extLst>
                <a:ext uri="{FF2B5EF4-FFF2-40B4-BE49-F238E27FC236}">
                  <a16:creationId xmlns:a16="http://schemas.microsoft.com/office/drawing/2014/main" id="{95415FBB-0687-47F9-9118-E39D018C49C9}"/>
                </a:ext>
              </a:extLst>
            </p:cNvPr>
            <p:cNvSpPr/>
            <p:nvPr/>
          </p:nvSpPr>
          <p:spPr>
            <a:xfrm>
              <a:off x="6977967" y="4744937"/>
              <a:ext cx="1193" cy="60746"/>
            </a:xfrm>
            <a:custGeom>
              <a:avLst/>
              <a:gdLst>
                <a:gd name="connsiteX0" fmla="*/ 0 w 1193"/>
                <a:gd name="connsiteY0" fmla="*/ 60747 h 60746"/>
                <a:gd name="connsiteX1" fmla="*/ 0 w 1193"/>
                <a:gd name="connsiteY1" fmla="*/ 0 h 607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93" h="60746">
                  <a:moveTo>
                    <a:pt x="0" y="60747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32" name="Forma livre: Forma 1931">
              <a:extLst>
                <a:ext uri="{FF2B5EF4-FFF2-40B4-BE49-F238E27FC236}">
                  <a16:creationId xmlns:a16="http://schemas.microsoft.com/office/drawing/2014/main" id="{E52DE235-AE9B-91E3-F7AA-A29E11D04E91}"/>
                </a:ext>
              </a:extLst>
            </p:cNvPr>
            <p:cNvSpPr/>
            <p:nvPr/>
          </p:nvSpPr>
          <p:spPr>
            <a:xfrm rot="-2700000">
              <a:off x="6977620" y="4797105"/>
              <a:ext cx="141694" cy="141694"/>
            </a:xfrm>
            <a:custGeom>
              <a:avLst/>
              <a:gdLst>
                <a:gd name="connsiteX0" fmla="*/ 141695 w 141694"/>
                <a:gd name="connsiteY0" fmla="*/ 70847 h 141694"/>
                <a:gd name="connsiteX1" fmla="*/ 70847 w 141694"/>
                <a:gd name="connsiteY1" fmla="*/ 141695 h 141694"/>
                <a:gd name="connsiteX2" fmla="*/ 0 w 141694"/>
                <a:gd name="connsiteY2" fmla="*/ 70847 h 141694"/>
                <a:gd name="connsiteX3" fmla="*/ 70847 w 141694"/>
                <a:gd name="connsiteY3" fmla="*/ 0 h 141694"/>
                <a:gd name="connsiteX4" fmla="*/ 141695 w 141694"/>
                <a:gd name="connsiteY4" fmla="*/ 70847 h 1416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1694" h="141694">
                  <a:moveTo>
                    <a:pt x="141695" y="70847"/>
                  </a:moveTo>
                  <a:cubicBezTo>
                    <a:pt x="141695" y="109975"/>
                    <a:pt x="109975" y="141695"/>
                    <a:pt x="70847" y="141695"/>
                  </a:cubicBezTo>
                  <a:cubicBezTo>
                    <a:pt x="31719" y="141695"/>
                    <a:pt x="0" y="109975"/>
                    <a:pt x="0" y="70847"/>
                  </a:cubicBezTo>
                  <a:cubicBezTo>
                    <a:pt x="0" y="31719"/>
                    <a:pt x="31719" y="0"/>
                    <a:pt x="70847" y="0"/>
                  </a:cubicBezTo>
                  <a:cubicBezTo>
                    <a:pt x="109975" y="0"/>
                    <a:pt x="141695" y="31719"/>
                    <a:pt x="141695" y="70847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33" name="Forma livre: Forma 1932">
              <a:extLst>
                <a:ext uri="{FF2B5EF4-FFF2-40B4-BE49-F238E27FC236}">
                  <a16:creationId xmlns:a16="http://schemas.microsoft.com/office/drawing/2014/main" id="{33233E98-3A15-3486-0C49-2DF8E7065DC8}"/>
                </a:ext>
              </a:extLst>
            </p:cNvPr>
            <p:cNvSpPr/>
            <p:nvPr/>
          </p:nvSpPr>
          <p:spPr>
            <a:xfrm>
              <a:off x="7022130" y="4822088"/>
              <a:ext cx="26911" cy="65916"/>
            </a:xfrm>
            <a:custGeom>
              <a:avLst/>
              <a:gdLst>
                <a:gd name="connsiteX0" fmla="*/ 26911 w 26911"/>
                <a:gd name="connsiteY0" fmla="*/ 0 h 65916"/>
                <a:gd name="connsiteX1" fmla="*/ 26911 w 26911"/>
                <a:gd name="connsiteY1" fmla="*/ 48187 h 65916"/>
                <a:gd name="connsiteX2" fmla="*/ 0 w 26911"/>
                <a:gd name="connsiteY2" fmla="*/ 65917 h 659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6911" h="65916">
                  <a:moveTo>
                    <a:pt x="26911" y="0"/>
                  </a:moveTo>
                  <a:lnTo>
                    <a:pt x="26911" y="48187"/>
                  </a:lnTo>
                  <a:lnTo>
                    <a:pt x="0" y="65917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935" name="Gráfico 18">
            <a:extLst>
              <a:ext uri="{FF2B5EF4-FFF2-40B4-BE49-F238E27FC236}">
                <a16:creationId xmlns:a16="http://schemas.microsoft.com/office/drawing/2014/main" id="{D32BD14B-3058-9AC6-3DC6-0C1D0EBFC179}"/>
              </a:ext>
            </a:extLst>
          </p:cNvPr>
          <p:cNvGrpSpPr/>
          <p:nvPr/>
        </p:nvGrpSpPr>
        <p:grpSpPr>
          <a:xfrm>
            <a:off x="8049690" y="5690482"/>
            <a:ext cx="218791" cy="301487"/>
            <a:chOff x="8049690" y="5690482"/>
            <a:chExt cx="218791" cy="301487"/>
          </a:xfrm>
          <a:noFill/>
        </p:grpSpPr>
        <p:sp>
          <p:nvSpPr>
            <p:cNvPr id="1936" name="Forma livre: Forma 1935">
              <a:extLst>
                <a:ext uri="{FF2B5EF4-FFF2-40B4-BE49-F238E27FC236}">
                  <a16:creationId xmlns:a16="http://schemas.microsoft.com/office/drawing/2014/main" id="{DA917D27-FA85-73F3-4D0C-D6BA7DAF4941}"/>
                </a:ext>
              </a:extLst>
            </p:cNvPr>
            <p:cNvSpPr/>
            <p:nvPr/>
          </p:nvSpPr>
          <p:spPr>
            <a:xfrm>
              <a:off x="8108043" y="5690482"/>
              <a:ext cx="102062" cy="57991"/>
            </a:xfrm>
            <a:custGeom>
              <a:avLst/>
              <a:gdLst>
                <a:gd name="connsiteX0" fmla="*/ 48976 w 102062"/>
                <a:gd name="connsiteY0" fmla="*/ 57992 h 57991"/>
                <a:gd name="connsiteX1" fmla="*/ 102063 w 102062"/>
                <a:gd name="connsiteY1" fmla="*/ 57992 h 57991"/>
                <a:gd name="connsiteX2" fmla="*/ 102063 w 102062"/>
                <a:gd name="connsiteY2" fmla="*/ 25005 h 57991"/>
                <a:gd name="connsiteX3" fmla="*/ 76493 w 102062"/>
                <a:gd name="connsiteY3" fmla="*/ 25005 h 57991"/>
                <a:gd name="connsiteX4" fmla="*/ 51019 w 102062"/>
                <a:gd name="connsiteY4" fmla="*/ 0 h 57991"/>
                <a:gd name="connsiteX5" fmla="*/ 25546 w 102062"/>
                <a:gd name="connsiteY5" fmla="*/ 25005 h 57991"/>
                <a:gd name="connsiteX6" fmla="*/ 0 w 102062"/>
                <a:gd name="connsiteY6" fmla="*/ 25005 h 57991"/>
                <a:gd name="connsiteX7" fmla="*/ 0 w 102062"/>
                <a:gd name="connsiteY7" fmla="*/ 57992 h 57991"/>
                <a:gd name="connsiteX8" fmla="*/ 26231 w 102062"/>
                <a:gd name="connsiteY8" fmla="*/ 57992 h 579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02062" h="57991">
                  <a:moveTo>
                    <a:pt x="48976" y="57992"/>
                  </a:moveTo>
                  <a:lnTo>
                    <a:pt x="102063" y="57992"/>
                  </a:lnTo>
                  <a:lnTo>
                    <a:pt x="102063" y="25005"/>
                  </a:lnTo>
                  <a:lnTo>
                    <a:pt x="76493" y="25005"/>
                  </a:lnTo>
                  <a:cubicBezTo>
                    <a:pt x="76204" y="11156"/>
                    <a:pt x="64940" y="0"/>
                    <a:pt x="51019" y="0"/>
                  </a:cubicBezTo>
                  <a:cubicBezTo>
                    <a:pt x="37098" y="0"/>
                    <a:pt x="25834" y="11144"/>
                    <a:pt x="25546" y="25005"/>
                  </a:cubicBezTo>
                  <a:lnTo>
                    <a:pt x="0" y="25005"/>
                  </a:lnTo>
                  <a:lnTo>
                    <a:pt x="0" y="57992"/>
                  </a:lnTo>
                  <a:lnTo>
                    <a:pt x="26231" y="57992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37" name="Forma livre: Forma 1936">
              <a:extLst>
                <a:ext uri="{FF2B5EF4-FFF2-40B4-BE49-F238E27FC236}">
                  <a16:creationId xmlns:a16="http://schemas.microsoft.com/office/drawing/2014/main" id="{678BED0D-71F3-4E12-06B1-F881FA71756C}"/>
                </a:ext>
              </a:extLst>
            </p:cNvPr>
            <p:cNvSpPr/>
            <p:nvPr/>
          </p:nvSpPr>
          <p:spPr>
            <a:xfrm>
              <a:off x="8083591" y="5790165"/>
              <a:ext cx="64122" cy="64122"/>
            </a:xfrm>
            <a:custGeom>
              <a:avLst/>
              <a:gdLst>
                <a:gd name="connsiteX0" fmla="*/ 64123 w 64122"/>
                <a:gd name="connsiteY0" fmla="*/ 41078 h 64122"/>
                <a:gd name="connsiteX1" fmla="*/ 64123 w 64122"/>
                <a:gd name="connsiteY1" fmla="*/ 64123 h 64122"/>
                <a:gd name="connsiteX2" fmla="*/ 0 w 64122"/>
                <a:gd name="connsiteY2" fmla="*/ 64123 h 64122"/>
                <a:gd name="connsiteX3" fmla="*/ 0 w 64122"/>
                <a:gd name="connsiteY3" fmla="*/ 0 h 64122"/>
                <a:gd name="connsiteX4" fmla="*/ 41330 w 64122"/>
                <a:gd name="connsiteY4" fmla="*/ 0 h 641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4122" h="64122">
                  <a:moveTo>
                    <a:pt x="64123" y="41078"/>
                  </a:moveTo>
                  <a:lnTo>
                    <a:pt x="64123" y="64123"/>
                  </a:lnTo>
                  <a:lnTo>
                    <a:pt x="0" y="64123"/>
                  </a:lnTo>
                  <a:lnTo>
                    <a:pt x="0" y="0"/>
                  </a:lnTo>
                  <a:lnTo>
                    <a:pt x="41330" y="0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38" name="Forma livre: Forma 1937">
              <a:extLst>
                <a:ext uri="{FF2B5EF4-FFF2-40B4-BE49-F238E27FC236}">
                  <a16:creationId xmlns:a16="http://schemas.microsoft.com/office/drawing/2014/main" id="{E1898061-1E3E-4686-91D9-6F3255B256BA}"/>
                </a:ext>
              </a:extLst>
            </p:cNvPr>
            <p:cNvSpPr/>
            <p:nvPr/>
          </p:nvSpPr>
          <p:spPr>
            <a:xfrm>
              <a:off x="8103991" y="5783469"/>
              <a:ext cx="54253" cy="48013"/>
            </a:xfrm>
            <a:custGeom>
              <a:avLst/>
              <a:gdLst>
                <a:gd name="connsiteX0" fmla="*/ 0 w 54253"/>
                <a:gd name="connsiteY0" fmla="*/ 29200 h 48013"/>
                <a:gd name="connsiteX1" fmla="*/ 17095 w 54253"/>
                <a:gd name="connsiteY1" fmla="*/ 48014 h 48013"/>
                <a:gd name="connsiteX2" fmla="*/ 54253 w 54253"/>
                <a:gd name="connsiteY2" fmla="*/ 0 h 480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54253" h="48013">
                  <a:moveTo>
                    <a:pt x="0" y="29200"/>
                  </a:moveTo>
                  <a:lnTo>
                    <a:pt x="17095" y="48014"/>
                  </a:lnTo>
                  <a:lnTo>
                    <a:pt x="54253" y="0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39" name="Forma livre: Forma 1938">
              <a:extLst>
                <a:ext uri="{FF2B5EF4-FFF2-40B4-BE49-F238E27FC236}">
                  <a16:creationId xmlns:a16="http://schemas.microsoft.com/office/drawing/2014/main" id="{645F968F-A498-E795-B9B9-53C7EC6899A0}"/>
                </a:ext>
              </a:extLst>
            </p:cNvPr>
            <p:cNvSpPr/>
            <p:nvPr/>
          </p:nvSpPr>
          <p:spPr>
            <a:xfrm>
              <a:off x="8180424" y="5807873"/>
              <a:ext cx="61862" cy="1202"/>
            </a:xfrm>
            <a:custGeom>
              <a:avLst/>
              <a:gdLst>
                <a:gd name="connsiteX0" fmla="*/ 0 w 61862"/>
                <a:gd name="connsiteY0" fmla="*/ 0 h 1202"/>
                <a:gd name="connsiteX1" fmla="*/ 61863 w 61862"/>
                <a:gd name="connsiteY1" fmla="*/ 0 h 12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1862" h="1202">
                  <a:moveTo>
                    <a:pt x="0" y="0"/>
                  </a:moveTo>
                  <a:lnTo>
                    <a:pt x="61863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40" name="Forma livre: Forma 1939">
              <a:extLst>
                <a:ext uri="{FF2B5EF4-FFF2-40B4-BE49-F238E27FC236}">
                  <a16:creationId xmlns:a16="http://schemas.microsoft.com/office/drawing/2014/main" id="{333EFC96-D748-0C1B-C36D-0CC8772FB1E0}"/>
                </a:ext>
              </a:extLst>
            </p:cNvPr>
            <p:cNvSpPr/>
            <p:nvPr/>
          </p:nvSpPr>
          <p:spPr>
            <a:xfrm>
              <a:off x="8180424" y="5836580"/>
              <a:ext cx="39827" cy="1202"/>
            </a:xfrm>
            <a:custGeom>
              <a:avLst/>
              <a:gdLst>
                <a:gd name="connsiteX0" fmla="*/ 0 w 39827"/>
                <a:gd name="connsiteY0" fmla="*/ 0 h 1202"/>
                <a:gd name="connsiteX1" fmla="*/ 39827 w 39827"/>
                <a:gd name="connsiteY1" fmla="*/ 0 h 12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9827" h="1202">
                  <a:moveTo>
                    <a:pt x="0" y="0"/>
                  </a:moveTo>
                  <a:lnTo>
                    <a:pt x="39827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41" name="Forma livre: Forma 1940">
              <a:extLst>
                <a:ext uri="{FF2B5EF4-FFF2-40B4-BE49-F238E27FC236}">
                  <a16:creationId xmlns:a16="http://schemas.microsoft.com/office/drawing/2014/main" id="{4E2398FA-B96B-A7E8-B58E-D2B501559E8B}"/>
                </a:ext>
              </a:extLst>
            </p:cNvPr>
            <p:cNvSpPr/>
            <p:nvPr/>
          </p:nvSpPr>
          <p:spPr>
            <a:xfrm>
              <a:off x="8083591" y="5894223"/>
              <a:ext cx="64122" cy="64122"/>
            </a:xfrm>
            <a:custGeom>
              <a:avLst/>
              <a:gdLst>
                <a:gd name="connsiteX0" fmla="*/ 64123 w 64122"/>
                <a:gd name="connsiteY0" fmla="*/ 41066 h 64122"/>
                <a:gd name="connsiteX1" fmla="*/ 64123 w 64122"/>
                <a:gd name="connsiteY1" fmla="*/ 64123 h 64122"/>
                <a:gd name="connsiteX2" fmla="*/ 0 w 64122"/>
                <a:gd name="connsiteY2" fmla="*/ 64123 h 64122"/>
                <a:gd name="connsiteX3" fmla="*/ 0 w 64122"/>
                <a:gd name="connsiteY3" fmla="*/ 0 h 64122"/>
                <a:gd name="connsiteX4" fmla="*/ 41330 w 64122"/>
                <a:gd name="connsiteY4" fmla="*/ 0 h 641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4122" h="64122">
                  <a:moveTo>
                    <a:pt x="64123" y="41066"/>
                  </a:moveTo>
                  <a:lnTo>
                    <a:pt x="64123" y="64123"/>
                  </a:lnTo>
                  <a:lnTo>
                    <a:pt x="0" y="64123"/>
                  </a:lnTo>
                  <a:lnTo>
                    <a:pt x="0" y="0"/>
                  </a:lnTo>
                  <a:lnTo>
                    <a:pt x="41330" y="0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42" name="Forma livre: Forma 1941">
              <a:extLst>
                <a:ext uri="{FF2B5EF4-FFF2-40B4-BE49-F238E27FC236}">
                  <a16:creationId xmlns:a16="http://schemas.microsoft.com/office/drawing/2014/main" id="{333345C1-0F05-C35E-E737-7DD8A76E1F89}"/>
                </a:ext>
              </a:extLst>
            </p:cNvPr>
            <p:cNvSpPr/>
            <p:nvPr/>
          </p:nvSpPr>
          <p:spPr>
            <a:xfrm>
              <a:off x="8103991" y="5887515"/>
              <a:ext cx="54253" cy="48014"/>
            </a:xfrm>
            <a:custGeom>
              <a:avLst/>
              <a:gdLst>
                <a:gd name="connsiteX0" fmla="*/ 0 w 54253"/>
                <a:gd name="connsiteY0" fmla="*/ 29200 h 48014"/>
                <a:gd name="connsiteX1" fmla="*/ 17095 w 54253"/>
                <a:gd name="connsiteY1" fmla="*/ 48014 h 48014"/>
                <a:gd name="connsiteX2" fmla="*/ 54253 w 54253"/>
                <a:gd name="connsiteY2" fmla="*/ 0 h 480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54253" h="48014">
                  <a:moveTo>
                    <a:pt x="0" y="29200"/>
                  </a:moveTo>
                  <a:lnTo>
                    <a:pt x="17095" y="48014"/>
                  </a:lnTo>
                  <a:lnTo>
                    <a:pt x="54253" y="0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43" name="Forma livre: Forma 1942">
              <a:extLst>
                <a:ext uri="{FF2B5EF4-FFF2-40B4-BE49-F238E27FC236}">
                  <a16:creationId xmlns:a16="http://schemas.microsoft.com/office/drawing/2014/main" id="{32394E5A-7F4C-B201-ACBB-AF8AA7F692B0}"/>
                </a:ext>
              </a:extLst>
            </p:cNvPr>
            <p:cNvSpPr/>
            <p:nvPr/>
          </p:nvSpPr>
          <p:spPr>
            <a:xfrm>
              <a:off x="8180424" y="5911931"/>
              <a:ext cx="61862" cy="1202"/>
            </a:xfrm>
            <a:custGeom>
              <a:avLst/>
              <a:gdLst>
                <a:gd name="connsiteX0" fmla="*/ 0 w 61862"/>
                <a:gd name="connsiteY0" fmla="*/ 0 h 1202"/>
                <a:gd name="connsiteX1" fmla="*/ 61863 w 61862"/>
                <a:gd name="connsiteY1" fmla="*/ 0 h 12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1862" h="1202">
                  <a:moveTo>
                    <a:pt x="0" y="0"/>
                  </a:moveTo>
                  <a:lnTo>
                    <a:pt x="61863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44" name="Forma livre: Forma 1943">
              <a:extLst>
                <a:ext uri="{FF2B5EF4-FFF2-40B4-BE49-F238E27FC236}">
                  <a16:creationId xmlns:a16="http://schemas.microsoft.com/office/drawing/2014/main" id="{727F309C-A192-E6C7-6F81-28FCDEAABED3}"/>
                </a:ext>
              </a:extLst>
            </p:cNvPr>
            <p:cNvSpPr/>
            <p:nvPr/>
          </p:nvSpPr>
          <p:spPr>
            <a:xfrm>
              <a:off x="8180424" y="5940626"/>
              <a:ext cx="39827" cy="1202"/>
            </a:xfrm>
            <a:custGeom>
              <a:avLst/>
              <a:gdLst>
                <a:gd name="connsiteX0" fmla="*/ 0 w 39827"/>
                <a:gd name="connsiteY0" fmla="*/ 0 h 1202"/>
                <a:gd name="connsiteX1" fmla="*/ 39827 w 39827"/>
                <a:gd name="connsiteY1" fmla="*/ 0 h 12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9827" h="1202">
                  <a:moveTo>
                    <a:pt x="0" y="0"/>
                  </a:moveTo>
                  <a:lnTo>
                    <a:pt x="39827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45" name="Forma livre: Forma 1944">
              <a:extLst>
                <a:ext uri="{FF2B5EF4-FFF2-40B4-BE49-F238E27FC236}">
                  <a16:creationId xmlns:a16="http://schemas.microsoft.com/office/drawing/2014/main" id="{CF19D39D-3F85-F462-6042-0C78399823F8}"/>
                </a:ext>
              </a:extLst>
            </p:cNvPr>
            <p:cNvSpPr/>
            <p:nvPr/>
          </p:nvSpPr>
          <p:spPr>
            <a:xfrm>
              <a:off x="8049690" y="5731103"/>
              <a:ext cx="218791" cy="260867"/>
            </a:xfrm>
            <a:custGeom>
              <a:avLst/>
              <a:gdLst>
                <a:gd name="connsiteX0" fmla="*/ 37183 w 218791"/>
                <a:gd name="connsiteY0" fmla="*/ 0 h 260867"/>
                <a:gd name="connsiteX1" fmla="*/ 0 w 218791"/>
                <a:gd name="connsiteY1" fmla="*/ 0 h 260867"/>
                <a:gd name="connsiteX2" fmla="*/ 0 w 218791"/>
                <a:gd name="connsiteY2" fmla="*/ 260867 h 260867"/>
                <a:gd name="connsiteX3" fmla="*/ 218792 w 218791"/>
                <a:gd name="connsiteY3" fmla="*/ 260867 h 260867"/>
                <a:gd name="connsiteX4" fmla="*/ 218792 w 218791"/>
                <a:gd name="connsiteY4" fmla="*/ 0 h 260867"/>
                <a:gd name="connsiteX5" fmla="*/ 182198 w 218791"/>
                <a:gd name="connsiteY5" fmla="*/ 0 h 2608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18791" h="260867">
                  <a:moveTo>
                    <a:pt x="37183" y="0"/>
                  </a:moveTo>
                  <a:lnTo>
                    <a:pt x="0" y="0"/>
                  </a:lnTo>
                  <a:lnTo>
                    <a:pt x="0" y="260867"/>
                  </a:lnTo>
                  <a:lnTo>
                    <a:pt x="218792" y="260867"/>
                  </a:lnTo>
                  <a:lnTo>
                    <a:pt x="218792" y="0"/>
                  </a:lnTo>
                  <a:lnTo>
                    <a:pt x="182198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946" name="Gráfico 18">
            <a:extLst>
              <a:ext uri="{FF2B5EF4-FFF2-40B4-BE49-F238E27FC236}">
                <a16:creationId xmlns:a16="http://schemas.microsoft.com/office/drawing/2014/main" id="{91E0BC90-3158-0AB9-94F2-9AF4E64DA6FF}"/>
              </a:ext>
            </a:extLst>
          </p:cNvPr>
          <p:cNvGrpSpPr/>
          <p:nvPr/>
        </p:nvGrpSpPr>
        <p:grpSpPr>
          <a:xfrm>
            <a:off x="9293221" y="5721258"/>
            <a:ext cx="268022" cy="270724"/>
            <a:chOff x="9293221" y="5721258"/>
            <a:chExt cx="268022" cy="270724"/>
          </a:xfrm>
          <a:noFill/>
        </p:grpSpPr>
        <p:grpSp>
          <p:nvGrpSpPr>
            <p:cNvPr id="1947" name="Gráfico 18">
              <a:extLst>
                <a:ext uri="{FF2B5EF4-FFF2-40B4-BE49-F238E27FC236}">
                  <a16:creationId xmlns:a16="http://schemas.microsoft.com/office/drawing/2014/main" id="{298A10EB-27BC-8C23-5F8C-5FB3A07D53C6}"/>
                </a:ext>
              </a:extLst>
            </p:cNvPr>
            <p:cNvGrpSpPr/>
            <p:nvPr/>
          </p:nvGrpSpPr>
          <p:grpSpPr>
            <a:xfrm>
              <a:off x="9293221" y="5721258"/>
              <a:ext cx="203320" cy="270712"/>
              <a:chOff x="9293221" y="5721258"/>
              <a:chExt cx="203320" cy="270712"/>
            </a:xfrm>
            <a:noFill/>
          </p:grpSpPr>
          <p:sp>
            <p:nvSpPr>
              <p:cNvPr id="1948" name="Forma livre: Forma 1947">
                <a:extLst>
                  <a:ext uri="{FF2B5EF4-FFF2-40B4-BE49-F238E27FC236}">
                    <a16:creationId xmlns:a16="http://schemas.microsoft.com/office/drawing/2014/main" id="{1D5095CE-BB55-128D-5641-B19F932734E3}"/>
                  </a:ext>
                </a:extLst>
              </p:cNvPr>
              <p:cNvSpPr/>
              <p:nvPr/>
            </p:nvSpPr>
            <p:spPr>
              <a:xfrm>
                <a:off x="9319091" y="5747332"/>
                <a:ext cx="35908" cy="35884"/>
              </a:xfrm>
              <a:custGeom>
                <a:avLst/>
                <a:gdLst>
                  <a:gd name="connsiteX0" fmla="*/ 35908 w 35908"/>
                  <a:gd name="connsiteY0" fmla="*/ 0 h 35884"/>
                  <a:gd name="connsiteX1" fmla="*/ 35908 w 35908"/>
                  <a:gd name="connsiteY1" fmla="*/ 35884 h 35884"/>
                  <a:gd name="connsiteX2" fmla="*/ 0 w 35908"/>
                  <a:gd name="connsiteY2" fmla="*/ 35884 h 358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5908" h="35884">
                    <a:moveTo>
                      <a:pt x="35908" y="0"/>
                    </a:moveTo>
                    <a:lnTo>
                      <a:pt x="35908" y="35884"/>
                    </a:lnTo>
                    <a:lnTo>
                      <a:pt x="0" y="35884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949" name="Forma livre: Forma 1948">
                <a:extLst>
                  <a:ext uri="{FF2B5EF4-FFF2-40B4-BE49-F238E27FC236}">
                    <a16:creationId xmlns:a16="http://schemas.microsoft.com/office/drawing/2014/main" id="{0B6B616C-D8BB-DB36-8BF0-02ACEB336013}"/>
                  </a:ext>
                </a:extLst>
              </p:cNvPr>
              <p:cNvSpPr/>
              <p:nvPr/>
            </p:nvSpPr>
            <p:spPr>
              <a:xfrm>
                <a:off x="9293221" y="5721258"/>
                <a:ext cx="203320" cy="270712"/>
              </a:xfrm>
              <a:custGeom>
                <a:avLst/>
                <a:gdLst>
                  <a:gd name="connsiteX0" fmla="*/ 59879 w 203320"/>
                  <a:gd name="connsiteY0" fmla="*/ 270713 h 270712"/>
                  <a:gd name="connsiteX1" fmla="*/ 0 w 203320"/>
                  <a:gd name="connsiteY1" fmla="*/ 270713 h 270712"/>
                  <a:gd name="connsiteX2" fmla="*/ 0 w 203320"/>
                  <a:gd name="connsiteY2" fmla="*/ 52522 h 270712"/>
                  <a:gd name="connsiteX3" fmla="*/ 52534 w 203320"/>
                  <a:gd name="connsiteY3" fmla="*/ 0 h 270712"/>
                  <a:gd name="connsiteX4" fmla="*/ 203320 w 203320"/>
                  <a:gd name="connsiteY4" fmla="*/ 0 h 270712"/>
                  <a:gd name="connsiteX5" fmla="*/ 203320 w 203320"/>
                  <a:gd name="connsiteY5" fmla="*/ 74630 h 2707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03320" h="270712">
                    <a:moveTo>
                      <a:pt x="59879" y="270713"/>
                    </a:moveTo>
                    <a:lnTo>
                      <a:pt x="0" y="270713"/>
                    </a:lnTo>
                    <a:lnTo>
                      <a:pt x="0" y="52522"/>
                    </a:lnTo>
                    <a:lnTo>
                      <a:pt x="52534" y="0"/>
                    </a:lnTo>
                    <a:lnTo>
                      <a:pt x="203320" y="0"/>
                    </a:lnTo>
                    <a:lnTo>
                      <a:pt x="203320" y="7463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950" name="Gráfico 18">
              <a:extLst>
                <a:ext uri="{FF2B5EF4-FFF2-40B4-BE49-F238E27FC236}">
                  <a16:creationId xmlns:a16="http://schemas.microsoft.com/office/drawing/2014/main" id="{538D59EB-C4F4-94D8-00B8-A44620D91FCD}"/>
                </a:ext>
              </a:extLst>
            </p:cNvPr>
            <p:cNvGrpSpPr/>
            <p:nvPr/>
          </p:nvGrpSpPr>
          <p:grpSpPr>
            <a:xfrm>
              <a:off x="9377215" y="5818566"/>
              <a:ext cx="184027" cy="173416"/>
              <a:chOff x="9377215" y="5818566"/>
              <a:chExt cx="184027" cy="173416"/>
            </a:xfrm>
            <a:noFill/>
          </p:grpSpPr>
          <p:sp>
            <p:nvSpPr>
              <p:cNvPr id="1951" name="Forma livre: Forma 1950">
                <a:extLst>
                  <a:ext uri="{FF2B5EF4-FFF2-40B4-BE49-F238E27FC236}">
                    <a16:creationId xmlns:a16="http://schemas.microsoft.com/office/drawing/2014/main" id="{63A867EA-8EC6-7BFC-E549-A66EC219B6E5}"/>
                  </a:ext>
                </a:extLst>
              </p:cNvPr>
              <p:cNvSpPr/>
              <p:nvPr/>
            </p:nvSpPr>
            <p:spPr>
              <a:xfrm>
                <a:off x="9434065" y="5818566"/>
                <a:ext cx="127178" cy="165903"/>
              </a:xfrm>
              <a:custGeom>
                <a:avLst/>
                <a:gdLst>
                  <a:gd name="connsiteX0" fmla="*/ 1166 w 127178"/>
                  <a:gd name="connsiteY0" fmla="*/ 70092 h 165903"/>
                  <a:gd name="connsiteX1" fmla="*/ 47774 w 127178"/>
                  <a:gd name="connsiteY1" fmla="*/ 10850 h 165903"/>
                  <a:gd name="connsiteX2" fmla="*/ 60552 w 127178"/>
                  <a:gd name="connsiteY2" fmla="*/ 30 h 165903"/>
                  <a:gd name="connsiteX3" fmla="*/ 75075 w 127178"/>
                  <a:gd name="connsiteY3" fmla="*/ 13554 h 165903"/>
                  <a:gd name="connsiteX4" fmla="*/ 69100 w 127178"/>
                  <a:gd name="connsiteY4" fmla="*/ 60775 h 165903"/>
                  <a:gd name="connsiteX5" fmla="*/ 112918 w 127178"/>
                  <a:gd name="connsiteY5" fmla="*/ 60775 h 165903"/>
                  <a:gd name="connsiteX6" fmla="*/ 125397 w 127178"/>
                  <a:gd name="connsiteY6" fmla="*/ 66942 h 165903"/>
                  <a:gd name="connsiteX7" fmla="*/ 126467 w 127178"/>
                  <a:gd name="connsiteY7" fmla="*/ 81620 h 165903"/>
                  <a:gd name="connsiteX8" fmla="*/ 112545 w 127178"/>
                  <a:gd name="connsiteY8" fmla="*/ 152800 h 165903"/>
                  <a:gd name="connsiteX9" fmla="*/ 95776 w 127178"/>
                  <a:gd name="connsiteY9" fmla="*/ 165903 h 165903"/>
                  <a:gd name="connsiteX10" fmla="*/ 0 w 127178"/>
                  <a:gd name="connsiteY10" fmla="*/ 165903 h 1659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127178" h="165903">
                    <a:moveTo>
                      <a:pt x="1166" y="70092"/>
                    </a:moveTo>
                    <a:cubicBezTo>
                      <a:pt x="11012" y="67146"/>
                      <a:pt x="47774" y="53442"/>
                      <a:pt x="47774" y="10850"/>
                    </a:cubicBezTo>
                    <a:cubicBezTo>
                      <a:pt x="47774" y="10850"/>
                      <a:pt x="48615" y="30"/>
                      <a:pt x="60552" y="30"/>
                    </a:cubicBezTo>
                    <a:cubicBezTo>
                      <a:pt x="60552" y="30"/>
                      <a:pt x="73656" y="-1292"/>
                      <a:pt x="75075" y="13554"/>
                    </a:cubicBezTo>
                    <a:cubicBezTo>
                      <a:pt x="75075" y="13554"/>
                      <a:pt x="78440" y="42082"/>
                      <a:pt x="69100" y="60775"/>
                    </a:cubicBezTo>
                    <a:lnTo>
                      <a:pt x="112918" y="60775"/>
                    </a:lnTo>
                    <a:cubicBezTo>
                      <a:pt x="114721" y="60775"/>
                      <a:pt x="121598" y="60462"/>
                      <a:pt x="125397" y="66942"/>
                    </a:cubicBezTo>
                    <a:cubicBezTo>
                      <a:pt x="127981" y="71354"/>
                      <a:pt x="127200" y="77305"/>
                      <a:pt x="126467" y="81620"/>
                    </a:cubicBezTo>
                    <a:cubicBezTo>
                      <a:pt x="125745" y="85936"/>
                      <a:pt x="112545" y="152800"/>
                      <a:pt x="112545" y="152800"/>
                    </a:cubicBezTo>
                    <a:cubicBezTo>
                      <a:pt x="111103" y="158955"/>
                      <a:pt x="105765" y="165903"/>
                      <a:pt x="95776" y="165903"/>
                    </a:cubicBezTo>
                    <a:lnTo>
                      <a:pt x="0" y="165903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952" name="Forma livre: Forma 1951">
                <a:extLst>
                  <a:ext uri="{FF2B5EF4-FFF2-40B4-BE49-F238E27FC236}">
                    <a16:creationId xmlns:a16="http://schemas.microsoft.com/office/drawing/2014/main" id="{8D49F44E-9542-4312-55B1-F1125AE30163}"/>
                  </a:ext>
                </a:extLst>
              </p:cNvPr>
              <p:cNvSpPr/>
              <p:nvPr/>
            </p:nvSpPr>
            <p:spPr>
              <a:xfrm>
                <a:off x="9377215" y="5885592"/>
                <a:ext cx="37771" cy="106390"/>
              </a:xfrm>
              <a:custGeom>
                <a:avLst/>
                <a:gdLst>
                  <a:gd name="connsiteX0" fmla="*/ 0 w 37771"/>
                  <a:gd name="connsiteY0" fmla="*/ 0 h 106390"/>
                  <a:gd name="connsiteX1" fmla="*/ 37772 w 37771"/>
                  <a:gd name="connsiteY1" fmla="*/ 0 h 106390"/>
                  <a:gd name="connsiteX2" fmla="*/ 37772 w 37771"/>
                  <a:gd name="connsiteY2" fmla="*/ 106391 h 106390"/>
                  <a:gd name="connsiteX3" fmla="*/ 0 w 37771"/>
                  <a:gd name="connsiteY3" fmla="*/ 106391 h 1063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7771" h="106390">
                    <a:moveTo>
                      <a:pt x="0" y="0"/>
                    </a:moveTo>
                    <a:lnTo>
                      <a:pt x="37772" y="0"/>
                    </a:lnTo>
                    <a:lnTo>
                      <a:pt x="37772" y="106391"/>
                    </a:lnTo>
                    <a:lnTo>
                      <a:pt x="0" y="106391"/>
                    </a:lnTo>
                    <a:close/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953" name="Gráfico 18">
            <a:extLst>
              <a:ext uri="{FF2B5EF4-FFF2-40B4-BE49-F238E27FC236}">
                <a16:creationId xmlns:a16="http://schemas.microsoft.com/office/drawing/2014/main" id="{D8504228-24AE-EC3C-8FB1-F542C12BA8C5}"/>
              </a:ext>
            </a:extLst>
          </p:cNvPr>
          <p:cNvGrpSpPr/>
          <p:nvPr/>
        </p:nvGrpSpPr>
        <p:grpSpPr>
          <a:xfrm>
            <a:off x="8670710" y="5721258"/>
            <a:ext cx="306988" cy="270712"/>
            <a:chOff x="8670710" y="5721258"/>
            <a:chExt cx="306988" cy="270712"/>
          </a:xfrm>
          <a:noFill/>
        </p:grpSpPr>
        <p:sp>
          <p:nvSpPr>
            <p:cNvPr id="1954" name="Forma livre: Forma 1953">
              <a:extLst>
                <a:ext uri="{FF2B5EF4-FFF2-40B4-BE49-F238E27FC236}">
                  <a16:creationId xmlns:a16="http://schemas.microsoft.com/office/drawing/2014/main" id="{31E6572B-A5C5-DEBD-F8DF-F8E2984BF732}"/>
                </a:ext>
              </a:extLst>
            </p:cNvPr>
            <p:cNvSpPr/>
            <p:nvPr/>
          </p:nvSpPr>
          <p:spPr>
            <a:xfrm>
              <a:off x="8715009" y="5850837"/>
              <a:ext cx="115094" cy="1202"/>
            </a:xfrm>
            <a:custGeom>
              <a:avLst/>
              <a:gdLst>
                <a:gd name="connsiteX0" fmla="*/ 0 w 115094"/>
                <a:gd name="connsiteY0" fmla="*/ 0 h 1202"/>
                <a:gd name="connsiteX1" fmla="*/ 115094 w 115094"/>
                <a:gd name="connsiteY1" fmla="*/ 0 h 12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5094" h="1202">
                  <a:moveTo>
                    <a:pt x="0" y="0"/>
                  </a:moveTo>
                  <a:lnTo>
                    <a:pt x="115094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55" name="Forma livre: Forma 1954">
              <a:extLst>
                <a:ext uri="{FF2B5EF4-FFF2-40B4-BE49-F238E27FC236}">
                  <a16:creationId xmlns:a16="http://schemas.microsoft.com/office/drawing/2014/main" id="{B61FD3D7-BCB9-DA88-84E6-4D3419A5820E}"/>
                </a:ext>
              </a:extLst>
            </p:cNvPr>
            <p:cNvSpPr/>
            <p:nvPr/>
          </p:nvSpPr>
          <p:spPr>
            <a:xfrm>
              <a:off x="8715623" y="5886746"/>
              <a:ext cx="98828" cy="1202"/>
            </a:xfrm>
            <a:custGeom>
              <a:avLst/>
              <a:gdLst>
                <a:gd name="connsiteX0" fmla="*/ 0 w 98828"/>
                <a:gd name="connsiteY0" fmla="*/ 0 h 1202"/>
                <a:gd name="connsiteX1" fmla="*/ 98829 w 98828"/>
                <a:gd name="connsiteY1" fmla="*/ 0 h 12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8828" h="1202">
                  <a:moveTo>
                    <a:pt x="0" y="0"/>
                  </a:moveTo>
                  <a:lnTo>
                    <a:pt x="98829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956" name="Gráfico 18">
              <a:extLst>
                <a:ext uri="{FF2B5EF4-FFF2-40B4-BE49-F238E27FC236}">
                  <a16:creationId xmlns:a16="http://schemas.microsoft.com/office/drawing/2014/main" id="{6BB52F2D-5FC3-813C-B303-EFB66A56D6B3}"/>
                </a:ext>
              </a:extLst>
            </p:cNvPr>
            <p:cNvGrpSpPr/>
            <p:nvPr/>
          </p:nvGrpSpPr>
          <p:grpSpPr>
            <a:xfrm>
              <a:off x="8814752" y="5778997"/>
              <a:ext cx="162946" cy="170308"/>
              <a:chOff x="8814752" y="5778997"/>
              <a:chExt cx="162946" cy="170308"/>
            </a:xfrm>
            <a:noFill/>
          </p:grpSpPr>
          <p:sp>
            <p:nvSpPr>
              <p:cNvPr id="1957" name="Forma livre: Forma 1956">
                <a:extLst>
                  <a:ext uri="{FF2B5EF4-FFF2-40B4-BE49-F238E27FC236}">
                    <a16:creationId xmlns:a16="http://schemas.microsoft.com/office/drawing/2014/main" id="{509AAE55-FBB8-DEC9-70DE-3E7D3C3B12F4}"/>
                  </a:ext>
                </a:extLst>
              </p:cNvPr>
              <p:cNvSpPr/>
              <p:nvPr/>
            </p:nvSpPr>
            <p:spPr>
              <a:xfrm>
                <a:off x="8814752" y="5936335"/>
                <a:ext cx="12971" cy="12971"/>
              </a:xfrm>
              <a:custGeom>
                <a:avLst/>
                <a:gdLst>
                  <a:gd name="connsiteX0" fmla="*/ 12971 w 12971"/>
                  <a:gd name="connsiteY0" fmla="*/ 0 h 12971"/>
                  <a:gd name="connsiteX1" fmla="*/ 0 w 12971"/>
                  <a:gd name="connsiteY1" fmla="*/ 12971 h 129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971" h="12971">
                    <a:moveTo>
                      <a:pt x="12971" y="0"/>
                    </a:moveTo>
                    <a:lnTo>
                      <a:pt x="0" y="12971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958" name="Forma livre: Forma 1957">
                <a:extLst>
                  <a:ext uri="{FF2B5EF4-FFF2-40B4-BE49-F238E27FC236}">
                    <a16:creationId xmlns:a16="http://schemas.microsoft.com/office/drawing/2014/main" id="{C23BEE7F-0F41-80DC-9701-DC4C8290FC55}"/>
                  </a:ext>
                </a:extLst>
              </p:cNvPr>
              <p:cNvSpPr/>
              <p:nvPr/>
            </p:nvSpPr>
            <p:spPr>
              <a:xfrm>
                <a:off x="8840478" y="5786434"/>
                <a:ext cx="137220" cy="137181"/>
              </a:xfrm>
              <a:custGeom>
                <a:avLst/>
                <a:gdLst>
                  <a:gd name="connsiteX0" fmla="*/ 12 w 137220"/>
                  <a:gd name="connsiteY0" fmla="*/ 111961 h 137181"/>
                  <a:gd name="connsiteX1" fmla="*/ 117282 w 137220"/>
                  <a:gd name="connsiteY1" fmla="*/ 858 h 137181"/>
                  <a:gd name="connsiteX2" fmla="*/ 131552 w 137220"/>
                  <a:gd name="connsiteY2" fmla="*/ 3851 h 137181"/>
                  <a:gd name="connsiteX3" fmla="*/ 133355 w 137220"/>
                  <a:gd name="connsiteY3" fmla="*/ 5666 h 137181"/>
                  <a:gd name="connsiteX4" fmla="*/ 136360 w 137220"/>
                  <a:gd name="connsiteY4" fmla="*/ 19912 h 137181"/>
                  <a:gd name="connsiteX5" fmla="*/ 25233 w 137220"/>
                  <a:gd name="connsiteY5" fmla="*/ 137182 h 137181"/>
                  <a:gd name="connsiteX6" fmla="*/ 0 w 137220"/>
                  <a:gd name="connsiteY6" fmla="*/ 111949 h 1371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37220" h="137181">
                    <a:moveTo>
                      <a:pt x="12" y="111961"/>
                    </a:moveTo>
                    <a:cubicBezTo>
                      <a:pt x="27686" y="63971"/>
                      <a:pt x="67753" y="25947"/>
                      <a:pt x="117282" y="858"/>
                    </a:cubicBezTo>
                    <a:cubicBezTo>
                      <a:pt x="121574" y="-1054"/>
                      <a:pt x="128053" y="353"/>
                      <a:pt x="131552" y="3851"/>
                    </a:cubicBezTo>
                    <a:cubicBezTo>
                      <a:pt x="132153" y="4452"/>
                      <a:pt x="132754" y="5065"/>
                      <a:pt x="133355" y="5666"/>
                    </a:cubicBezTo>
                    <a:cubicBezTo>
                      <a:pt x="136853" y="9165"/>
                      <a:pt x="138284" y="15632"/>
                      <a:pt x="136360" y="19912"/>
                    </a:cubicBezTo>
                    <a:cubicBezTo>
                      <a:pt x="111331" y="69200"/>
                      <a:pt x="73019" y="109556"/>
                      <a:pt x="25233" y="137182"/>
                    </a:cubicBezTo>
                    <a:lnTo>
                      <a:pt x="0" y="111949"/>
                    </a:ln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959" name="Forma livre: Forma 1958">
                <a:extLst>
                  <a:ext uri="{FF2B5EF4-FFF2-40B4-BE49-F238E27FC236}">
                    <a16:creationId xmlns:a16="http://schemas.microsoft.com/office/drawing/2014/main" id="{0199C6ED-B610-EDED-A295-33343CBD5FA6}"/>
                  </a:ext>
                </a:extLst>
              </p:cNvPr>
              <p:cNvSpPr/>
              <p:nvPr/>
            </p:nvSpPr>
            <p:spPr>
              <a:xfrm>
                <a:off x="8824057" y="5915597"/>
                <a:ext cx="40933" cy="24367"/>
              </a:xfrm>
              <a:custGeom>
                <a:avLst/>
                <a:gdLst>
                  <a:gd name="connsiteX0" fmla="*/ 4616 w 40933"/>
                  <a:gd name="connsiteY0" fmla="*/ 0 h 24367"/>
                  <a:gd name="connsiteX1" fmla="*/ 0 w 40933"/>
                  <a:gd name="connsiteY1" fmla="*/ 14678 h 24367"/>
                  <a:gd name="connsiteX2" fmla="*/ 9689 w 40933"/>
                  <a:gd name="connsiteY2" fmla="*/ 24368 h 24367"/>
                  <a:gd name="connsiteX3" fmla="*/ 40933 w 40933"/>
                  <a:gd name="connsiteY3" fmla="*/ 8403 h 243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0933" h="24367">
                    <a:moveTo>
                      <a:pt x="4616" y="0"/>
                    </a:moveTo>
                    <a:lnTo>
                      <a:pt x="0" y="14678"/>
                    </a:lnTo>
                    <a:lnTo>
                      <a:pt x="9689" y="24368"/>
                    </a:lnTo>
                    <a:lnTo>
                      <a:pt x="40933" y="8403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960" name="Forma livre: Forma 1959">
                <a:extLst>
                  <a:ext uri="{FF2B5EF4-FFF2-40B4-BE49-F238E27FC236}">
                    <a16:creationId xmlns:a16="http://schemas.microsoft.com/office/drawing/2014/main" id="{511EECF3-4BEB-2FAC-2E06-F87C2CCDF1E2}"/>
                  </a:ext>
                </a:extLst>
              </p:cNvPr>
              <p:cNvSpPr/>
              <p:nvPr/>
            </p:nvSpPr>
            <p:spPr>
              <a:xfrm>
                <a:off x="8922898" y="5778997"/>
                <a:ext cx="15784" cy="17827"/>
              </a:xfrm>
              <a:custGeom>
                <a:avLst/>
                <a:gdLst>
                  <a:gd name="connsiteX0" fmla="*/ 15784 w 15784"/>
                  <a:gd name="connsiteY0" fmla="*/ 17828 h 17827"/>
                  <a:gd name="connsiteX1" fmla="*/ 0 w 15784"/>
                  <a:gd name="connsiteY1" fmla="*/ 0 h 178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5784" h="17827">
                    <a:moveTo>
                      <a:pt x="15784" y="17828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961" name="Forma livre: Forma 1960">
                <a:extLst>
                  <a:ext uri="{FF2B5EF4-FFF2-40B4-BE49-F238E27FC236}">
                    <a16:creationId xmlns:a16="http://schemas.microsoft.com/office/drawing/2014/main" id="{62B1E488-2994-6A38-E08B-27AD536456A2}"/>
                  </a:ext>
                </a:extLst>
              </p:cNvPr>
              <p:cNvSpPr/>
              <p:nvPr/>
            </p:nvSpPr>
            <p:spPr>
              <a:xfrm>
                <a:off x="8870484" y="5779189"/>
                <a:ext cx="52233" cy="41522"/>
              </a:xfrm>
              <a:custGeom>
                <a:avLst/>
                <a:gdLst>
                  <a:gd name="connsiteX0" fmla="*/ 0 w 52233"/>
                  <a:gd name="connsiteY0" fmla="*/ 41522 h 41522"/>
                  <a:gd name="connsiteX1" fmla="*/ 52233 w 52233"/>
                  <a:gd name="connsiteY1" fmla="*/ 0 h 415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2233" h="41522">
                    <a:moveTo>
                      <a:pt x="0" y="41522"/>
                    </a:moveTo>
                    <a:cubicBezTo>
                      <a:pt x="22757" y="18249"/>
                      <a:pt x="52233" y="0"/>
                      <a:pt x="52233" y="0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962" name="Forma livre: Forma 1961">
                <a:extLst>
                  <a:ext uri="{FF2B5EF4-FFF2-40B4-BE49-F238E27FC236}">
                    <a16:creationId xmlns:a16="http://schemas.microsoft.com/office/drawing/2014/main" id="{B4358D0D-5902-3135-F853-D8A583E1AE43}"/>
                  </a:ext>
                </a:extLst>
              </p:cNvPr>
              <p:cNvSpPr/>
              <p:nvPr/>
            </p:nvSpPr>
            <p:spPr>
              <a:xfrm>
                <a:off x="8917007" y="5836652"/>
                <a:ext cx="23850" cy="23850"/>
              </a:xfrm>
              <a:custGeom>
                <a:avLst/>
                <a:gdLst>
                  <a:gd name="connsiteX0" fmla="*/ 0 w 23850"/>
                  <a:gd name="connsiteY0" fmla="*/ 0 h 23850"/>
                  <a:gd name="connsiteX1" fmla="*/ 23851 w 23850"/>
                  <a:gd name="connsiteY1" fmla="*/ 23851 h 238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3850" h="23850">
                    <a:moveTo>
                      <a:pt x="0" y="0"/>
                    </a:moveTo>
                    <a:lnTo>
                      <a:pt x="23851" y="23851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963" name="Forma livre: Forma 1962">
              <a:extLst>
                <a:ext uri="{FF2B5EF4-FFF2-40B4-BE49-F238E27FC236}">
                  <a16:creationId xmlns:a16="http://schemas.microsoft.com/office/drawing/2014/main" id="{44EB669E-EFCD-F7A8-78E8-175A70725EEA}"/>
                </a:ext>
              </a:extLst>
            </p:cNvPr>
            <p:cNvSpPr/>
            <p:nvPr/>
          </p:nvSpPr>
          <p:spPr>
            <a:xfrm>
              <a:off x="8714865" y="5927799"/>
              <a:ext cx="76541" cy="25080"/>
            </a:xfrm>
            <a:custGeom>
              <a:avLst/>
              <a:gdLst>
                <a:gd name="connsiteX0" fmla="*/ 0 w 76541"/>
                <a:gd name="connsiteY0" fmla="*/ 18802 h 25080"/>
                <a:gd name="connsiteX1" fmla="*/ 20076 w 76541"/>
                <a:gd name="connsiteY1" fmla="*/ 108 h 25080"/>
                <a:gd name="connsiteX2" fmla="*/ 25726 w 76541"/>
                <a:gd name="connsiteY2" fmla="*/ 22288 h 25080"/>
                <a:gd name="connsiteX3" fmla="*/ 50094 w 76541"/>
                <a:gd name="connsiteY3" fmla="*/ 14053 h 25080"/>
                <a:gd name="connsiteX4" fmla="*/ 76541 w 76541"/>
                <a:gd name="connsiteY4" fmla="*/ 23670 h 250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541" h="25080">
                  <a:moveTo>
                    <a:pt x="0" y="18802"/>
                  </a:moveTo>
                  <a:cubicBezTo>
                    <a:pt x="0" y="18802"/>
                    <a:pt x="14173" y="2020"/>
                    <a:pt x="20076" y="108"/>
                  </a:cubicBezTo>
                  <a:cubicBezTo>
                    <a:pt x="25991" y="-1803"/>
                    <a:pt x="25726" y="22288"/>
                    <a:pt x="25726" y="22288"/>
                  </a:cubicBezTo>
                  <a:cubicBezTo>
                    <a:pt x="25726" y="22288"/>
                    <a:pt x="40476" y="3234"/>
                    <a:pt x="50094" y="14053"/>
                  </a:cubicBezTo>
                  <a:cubicBezTo>
                    <a:pt x="61430" y="26808"/>
                    <a:pt x="58509" y="26075"/>
                    <a:pt x="76541" y="2367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964" name="Gráfico 18">
              <a:extLst>
                <a:ext uri="{FF2B5EF4-FFF2-40B4-BE49-F238E27FC236}">
                  <a16:creationId xmlns:a16="http://schemas.microsoft.com/office/drawing/2014/main" id="{236FF1E9-877A-2C4B-722A-4F096CFF9387}"/>
                </a:ext>
              </a:extLst>
            </p:cNvPr>
            <p:cNvGrpSpPr/>
            <p:nvPr/>
          </p:nvGrpSpPr>
          <p:grpSpPr>
            <a:xfrm>
              <a:off x="8670710" y="5721258"/>
              <a:ext cx="203680" cy="270712"/>
              <a:chOff x="8670710" y="5721258"/>
              <a:chExt cx="203680" cy="270712"/>
            </a:xfrm>
            <a:noFill/>
          </p:grpSpPr>
          <p:sp>
            <p:nvSpPr>
              <p:cNvPr id="1965" name="Forma livre: Forma 1964">
                <a:extLst>
                  <a:ext uri="{FF2B5EF4-FFF2-40B4-BE49-F238E27FC236}">
                    <a16:creationId xmlns:a16="http://schemas.microsoft.com/office/drawing/2014/main" id="{CEE2D2AC-F93A-B641-8B7F-BA7882D1F5A6}"/>
                  </a:ext>
                </a:extLst>
              </p:cNvPr>
              <p:cNvSpPr/>
              <p:nvPr/>
            </p:nvSpPr>
            <p:spPr>
              <a:xfrm>
                <a:off x="8670710" y="5721258"/>
                <a:ext cx="203680" cy="270712"/>
              </a:xfrm>
              <a:custGeom>
                <a:avLst/>
                <a:gdLst>
                  <a:gd name="connsiteX0" fmla="*/ 203681 w 203680"/>
                  <a:gd name="connsiteY0" fmla="*/ 228577 h 270712"/>
                  <a:gd name="connsiteX1" fmla="*/ 203681 w 203680"/>
                  <a:gd name="connsiteY1" fmla="*/ 270713 h 270712"/>
                  <a:gd name="connsiteX2" fmla="*/ 0 w 203680"/>
                  <a:gd name="connsiteY2" fmla="*/ 270713 h 270712"/>
                  <a:gd name="connsiteX3" fmla="*/ 0 w 203680"/>
                  <a:gd name="connsiteY3" fmla="*/ 53736 h 270712"/>
                  <a:gd name="connsiteX4" fmla="*/ 53748 w 203680"/>
                  <a:gd name="connsiteY4" fmla="*/ 0 h 270712"/>
                  <a:gd name="connsiteX5" fmla="*/ 203681 w 203680"/>
                  <a:gd name="connsiteY5" fmla="*/ 0 h 270712"/>
                  <a:gd name="connsiteX6" fmla="*/ 203681 w 203680"/>
                  <a:gd name="connsiteY6" fmla="*/ 60348 h 2707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03680" h="270712">
                    <a:moveTo>
                      <a:pt x="203681" y="228577"/>
                    </a:moveTo>
                    <a:lnTo>
                      <a:pt x="203681" y="270713"/>
                    </a:lnTo>
                    <a:lnTo>
                      <a:pt x="0" y="270713"/>
                    </a:lnTo>
                    <a:lnTo>
                      <a:pt x="0" y="53736"/>
                    </a:lnTo>
                    <a:lnTo>
                      <a:pt x="53748" y="0"/>
                    </a:lnTo>
                    <a:lnTo>
                      <a:pt x="203681" y="0"/>
                    </a:lnTo>
                    <a:lnTo>
                      <a:pt x="203681" y="60348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966" name="Forma livre: Forma 1965">
                <a:extLst>
                  <a:ext uri="{FF2B5EF4-FFF2-40B4-BE49-F238E27FC236}">
                    <a16:creationId xmlns:a16="http://schemas.microsoft.com/office/drawing/2014/main" id="{B38CA5AF-F585-7EA1-355B-06504EDCF218}"/>
                  </a:ext>
                </a:extLst>
              </p:cNvPr>
              <p:cNvSpPr/>
              <p:nvPr/>
            </p:nvSpPr>
            <p:spPr>
              <a:xfrm>
                <a:off x="8696472" y="5747236"/>
                <a:ext cx="36749" cy="36713"/>
              </a:xfrm>
              <a:custGeom>
                <a:avLst/>
                <a:gdLst>
                  <a:gd name="connsiteX0" fmla="*/ 36750 w 36749"/>
                  <a:gd name="connsiteY0" fmla="*/ 0 h 36713"/>
                  <a:gd name="connsiteX1" fmla="*/ 36750 w 36749"/>
                  <a:gd name="connsiteY1" fmla="*/ 36714 h 36713"/>
                  <a:gd name="connsiteX2" fmla="*/ 0 w 36749"/>
                  <a:gd name="connsiteY2" fmla="*/ 36714 h 367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6749" h="36713">
                    <a:moveTo>
                      <a:pt x="36750" y="0"/>
                    </a:moveTo>
                    <a:lnTo>
                      <a:pt x="36750" y="36714"/>
                    </a:lnTo>
                    <a:lnTo>
                      <a:pt x="0" y="36714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967" name="Gráfico 18">
            <a:extLst>
              <a:ext uri="{FF2B5EF4-FFF2-40B4-BE49-F238E27FC236}">
                <a16:creationId xmlns:a16="http://schemas.microsoft.com/office/drawing/2014/main" id="{F984C4F7-C6B0-6362-3E6F-6680144BF905}"/>
              </a:ext>
            </a:extLst>
          </p:cNvPr>
          <p:cNvGrpSpPr/>
          <p:nvPr/>
        </p:nvGrpSpPr>
        <p:grpSpPr>
          <a:xfrm>
            <a:off x="8049690" y="4635846"/>
            <a:ext cx="269787" cy="270724"/>
            <a:chOff x="8049690" y="4635846"/>
            <a:chExt cx="269787" cy="270724"/>
          </a:xfrm>
          <a:noFill/>
        </p:grpSpPr>
        <p:grpSp>
          <p:nvGrpSpPr>
            <p:cNvPr id="1968" name="Gráfico 18">
              <a:extLst>
                <a:ext uri="{FF2B5EF4-FFF2-40B4-BE49-F238E27FC236}">
                  <a16:creationId xmlns:a16="http://schemas.microsoft.com/office/drawing/2014/main" id="{AFB15B6A-D76C-B34D-7806-3B62BCCDB242}"/>
                </a:ext>
              </a:extLst>
            </p:cNvPr>
            <p:cNvGrpSpPr/>
            <p:nvPr/>
          </p:nvGrpSpPr>
          <p:grpSpPr>
            <a:xfrm>
              <a:off x="8049690" y="4635846"/>
              <a:ext cx="203320" cy="270724"/>
              <a:chOff x="8049690" y="4635846"/>
              <a:chExt cx="203320" cy="270724"/>
            </a:xfrm>
            <a:noFill/>
          </p:grpSpPr>
          <p:grpSp>
            <p:nvGrpSpPr>
              <p:cNvPr id="1969" name="Gráfico 18">
                <a:extLst>
                  <a:ext uri="{FF2B5EF4-FFF2-40B4-BE49-F238E27FC236}">
                    <a16:creationId xmlns:a16="http://schemas.microsoft.com/office/drawing/2014/main" id="{58F277BA-AE4D-A4F7-0C85-1539421F0D65}"/>
                  </a:ext>
                </a:extLst>
              </p:cNvPr>
              <p:cNvGrpSpPr/>
              <p:nvPr/>
            </p:nvGrpSpPr>
            <p:grpSpPr>
              <a:xfrm>
                <a:off x="8092222" y="4769261"/>
                <a:ext cx="100656" cy="76853"/>
                <a:chOff x="8092222" y="4769261"/>
                <a:chExt cx="100656" cy="76853"/>
              </a:xfrm>
            </p:grpSpPr>
            <p:sp>
              <p:nvSpPr>
                <p:cNvPr id="1970" name="Forma livre: Forma 1969">
                  <a:extLst>
                    <a:ext uri="{FF2B5EF4-FFF2-40B4-BE49-F238E27FC236}">
                      <a16:creationId xmlns:a16="http://schemas.microsoft.com/office/drawing/2014/main" id="{56523143-6367-5D0F-5F32-1A8842331CAC}"/>
                    </a:ext>
                  </a:extLst>
                </p:cNvPr>
                <p:cNvSpPr/>
                <p:nvPr/>
              </p:nvSpPr>
              <p:spPr>
                <a:xfrm>
                  <a:off x="8092222" y="4769261"/>
                  <a:ext cx="100656" cy="1202"/>
                </a:xfrm>
                <a:custGeom>
                  <a:avLst/>
                  <a:gdLst>
                    <a:gd name="connsiteX0" fmla="*/ 0 w 100656"/>
                    <a:gd name="connsiteY0" fmla="*/ 0 h 1202"/>
                    <a:gd name="connsiteX1" fmla="*/ 100656 w 100656"/>
                    <a:gd name="connsiteY1" fmla="*/ 0 h 120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00656" h="1202">
                      <a:moveTo>
                        <a:pt x="0" y="0"/>
                      </a:moveTo>
                      <a:lnTo>
                        <a:pt x="100656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971" name="Forma livre: Forma 1970">
                  <a:extLst>
                    <a:ext uri="{FF2B5EF4-FFF2-40B4-BE49-F238E27FC236}">
                      <a16:creationId xmlns:a16="http://schemas.microsoft.com/office/drawing/2014/main" id="{6BEA9A73-2CF1-0F4D-BB13-640B2B2B6E07}"/>
                    </a:ext>
                  </a:extLst>
                </p:cNvPr>
                <p:cNvSpPr/>
                <p:nvPr/>
              </p:nvSpPr>
              <p:spPr>
                <a:xfrm>
                  <a:off x="8092222" y="4807694"/>
                  <a:ext cx="77094" cy="1202"/>
                </a:xfrm>
                <a:custGeom>
                  <a:avLst/>
                  <a:gdLst>
                    <a:gd name="connsiteX0" fmla="*/ 0 w 77094"/>
                    <a:gd name="connsiteY0" fmla="*/ 0 h 1202"/>
                    <a:gd name="connsiteX1" fmla="*/ 77094 w 77094"/>
                    <a:gd name="connsiteY1" fmla="*/ 0 h 120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77094" h="1202">
                      <a:moveTo>
                        <a:pt x="0" y="0"/>
                      </a:moveTo>
                      <a:lnTo>
                        <a:pt x="77094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972" name="Forma livre: Forma 1971">
                  <a:extLst>
                    <a:ext uri="{FF2B5EF4-FFF2-40B4-BE49-F238E27FC236}">
                      <a16:creationId xmlns:a16="http://schemas.microsoft.com/office/drawing/2014/main" id="{11D3F1B9-82BC-157A-29E9-7E2C66B8818C}"/>
                    </a:ext>
                  </a:extLst>
                </p:cNvPr>
                <p:cNvSpPr/>
                <p:nvPr/>
              </p:nvSpPr>
              <p:spPr>
                <a:xfrm>
                  <a:off x="8092222" y="4846114"/>
                  <a:ext cx="71924" cy="1202"/>
                </a:xfrm>
                <a:custGeom>
                  <a:avLst/>
                  <a:gdLst>
                    <a:gd name="connsiteX0" fmla="*/ 0 w 71924"/>
                    <a:gd name="connsiteY0" fmla="*/ 0 h 1202"/>
                    <a:gd name="connsiteX1" fmla="*/ 71925 w 71924"/>
                    <a:gd name="connsiteY1" fmla="*/ 0 h 120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71924" h="1202">
                      <a:moveTo>
                        <a:pt x="0" y="0"/>
                      </a:moveTo>
                      <a:lnTo>
                        <a:pt x="71925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1973" name="Gráfico 18">
                <a:extLst>
                  <a:ext uri="{FF2B5EF4-FFF2-40B4-BE49-F238E27FC236}">
                    <a16:creationId xmlns:a16="http://schemas.microsoft.com/office/drawing/2014/main" id="{A79C6640-378A-5C83-2EB5-80A006196585}"/>
                  </a:ext>
                </a:extLst>
              </p:cNvPr>
              <p:cNvGrpSpPr/>
              <p:nvPr/>
            </p:nvGrpSpPr>
            <p:grpSpPr>
              <a:xfrm>
                <a:off x="8049690" y="4635846"/>
                <a:ext cx="203320" cy="270724"/>
                <a:chOff x="8049690" y="4635846"/>
                <a:chExt cx="203320" cy="270724"/>
              </a:xfrm>
              <a:noFill/>
            </p:grpSpPr>
            <p:sp>
              <p:nvSpPr>
                <p:cNvPr id="1974" name="Forma livre: Forma 1973">
                  <a:extLst>
                    <a:ext uri="{FF2B5EF4-FFF2-40B4-BE49-F238E27FC236}">
                      <a16:creationId xmlns:a16="http://schemas.microsoft.com/office/drawing/2014/main" id="{7F94A049-B6D4-EB49-C677-46C1EB024DED}"/>
                    </a:ext>
                  </a:extLst>
                </p:cNvPr>
                <p:cNvSpPr/>
                <p:nvPr/>
              </p:nvSpPr>
              <p:spPr>
                <a:xfrm>
                  <a:off x="8075549" y="4661921"/>
                  <a:ext cx="35920" cy="35884"/>
                </a:xfrm>
                <a:custGeom>
                  <a:avLst/>
                  <a:gdLst>
                    <a:gd name="connsiteX0" fmla="*/ 35920 w 35920"/>
                    <a:gd name="connsiteY0" fmla="*/ 0 h 35884"/>
                    <a:gd name="connsiteX1" fmla="*/ 35920 w 35920"/>
                    <a:gd name="connsiteY1" fmla="*/ 35884 h 35884"/>
                    <a:gd name="connsiteX2" fmla="*/ 0 w 35920"/>
                    <a:gd name="connsiteY2" fmla="*/ 35884 h 3588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35920" h="35884">
                      <a:moveTo>
                        <a:pt x="35920" y="0"/>
                      </a:moveTo>
                      <a:lnTo>
                        <a:pt x="35920" y="35884"/>
                      </a:lnTo>
                      <a:lnTo>
                        <a:pt x="0" y="35884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975" name="Forma livre: Forma 1974">
                  <a:extLst>
                    <a:ext uri="{FF2B5EF4-FFF2-40B4-BE49-F238E27FC236}">
                      <a16:creationId xmlns:a16="http://schemas.microsoft.com/office/drawing/2014/main" id="{BE24FEC6-E6E9-4251-A095-9BB691E27C8E}"/>
                    </a:ext>
                  </a:extLst>
                </p:cNvPr>
                <p:cNvSpPr/>
                <p:nvPr/>
              </p:nvSpPr>
              <p:spPr>
                <a:xfrm>
                  <a:off x="8049690" y="4635846"/>
                  <a:ext cx="203320" cy="270724"/>
                </a:xfrm>
                <a:custGeom>
                  <a:avLst/>
                  <a:gdLst>
                    <a:gd name="connsiteX0" fmla="*/ 203320 w 203320"/>
                    <a:gd name="connsiteY0" fmla="*/ 113423 h 270724"/>
                    <a:gd name="connsiteX1" fmla="*/ 203320 w 203320"/>
                    <a:gd name="connsiteY1" fmla="*/ 0 h 270724"/>
                    <a:gd name="connsiteX2" fmla="*/ 52534 w 203320"/>
                    <a:gd name="connsiteY2" fmla="*/ 0 h 270724"/>
                    <a:gd name="connsiteX3" fmla="*/ 0 w 203320"/>
                    <a:gd name="connsiteY3" fmla="*/ 52522 h 270724"/>
                    <a:gd name="connsiteX4" fmla="*/ 0 w 203320"/>
                    <a:gd name="connsiteY4" fmla="*/ 270725 h 270724"/>
                    <a:gd name="connsiteX5" fmla="*/ 141746 w 203320"/>
                    <a:gd name="connsiteY5" fmla="*/ 270725 h 27072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203320" h="270724">
                      <a:moveTo>
                        <a:pt x="203320" y="113423"/>
                      </a:moveTo>
                      <a:lnTo>
                        <a:pt x="203320" y="0"/>
                      </a:lnTo>
                      <a:lnTo>
                        <a:pt x="52534" y="0"/>
                      </a:lnTo>
                      <a:lnTo>
                        <a:pt x="0" y="52522"/>
                      </a:lnTo>
                      <a:lnTo>
                        <a:pt x="0" y="270725"/>
                      </a:lnTo>
                      <a:lnTo>
                        <a:pt x="141746" y="270725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sp>
          <p:nvSpPr>
            <p:cNvPr id="1976" name="Forma livre: Forma 1975">
              <a:extLst>
                <a:ext uri="{FF2B5EF4-FFF2-40B4-BE49-F238E27FC236}">
                  <a16:creationId xmlns:a16="http://schemas.microsoft.com/office/drawing/2014/main" id="{5DF15950-7592-214E-5818-7E1914191264}"/>
                </a:ext>
              </a:extLst>
            </p:cNvPr>
            <p:cNvSpPr/>
            <p:nvPr/>
          </p:nvSpPr>
          <p:spPr>
            <a:xfrm>
              <a:off x="8187289" y="4774382"/>
              <a:ext cx="132188" cy="132188"/>
            </a:xfrm>
            <a:custGeom>
              <a:avLst/>
              <a:gdLst>
                <a:gd name="connsiteX0" fmla="*/ 132189 w 132188"/>
                <a:gd name="connsiteY0" fmla="*/ 66094 h 132188"/>
                <a:gd name="connsiteX1" fmla="*/ 66094 w 132188"/>
                <a:gd name="connsiteY1" fmla="*/ 132189 h 132188"/>
                <a:gd name="connsiteX2" fmla="*/ 0 w 132188"/>
                <a:gd name="connsiteY2" fmla="*/ 66094 h 132188"/>
                <a:gd name="connsiteX3" fmla="*/ 66094 w 132188"/>
                <a:gd name="connsiteY3" fmla="*/ 0 h 132188"/>
                <a:gd name="connsiteX4" fmla="*/ 132189 w 132188"/>
                <a:gd name="connsiteY4" fmla="*/ 66094 h 1321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2188" h="132188">
                  <a:moveTo>
                    <a:pt x="132189" y="66094"/>
                  </a:moveTo>
                  <a:cubicBezTo>
                    <a:pt x="132189" y="102604"/>
                    <a:pt x="102592" y="132189"/>
                    <a:pt x="66094" y="132189"/>
                  </a:cubicBezTo>
                  <a:cubicBezTo>
                    <a:pt x="29597" y="132189"/>
                    <a:pt x="0" y="102592"/>
                    <a:pt x="0" y="66094"/>
                  </a:cubicBezTo>
                  <a:cubicBezTo>
                    <a:pt x="0" y="29597"/>
                    <a:pt x="29597" y="0"/>
                    <a:pt x="66094" y="0"/>
                  </a:cubicBezTo>
                  <a:cubicBezTo>
                    <a:pt x="102592" y="0"/>
                    <a:pt x="132189" y="29585"/>
                    <a:pt x="132189" y="66094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977" name="Gráfico 18">
              <a:extLst>
                <a:ext uri="{FF2B5EF4-FFF2-40B4-BE49-F238E27FC236}">
                  <a16:creationId xmlns:a16="http://schemas.microsoft.com/office/drawing/2014/main" id="{378675FD-19E7-2049-FB92-484346431427}"/>
                </a:ext>
              </a:extLst>
            </p:cNvPr>
            <p:cNvGrpSpPr/>
            <p:nvPr/>
          </p:nvGrpSpPr>
          <p:grpSpPr>
            <a:xfrm>
              <a:off x="8228727" y="4815844"/>
              <a:ext cx="49300" cy="49300"/>
              <a:chOff x="8228727" y="4815844"/>
              <a:chExt cx="49300" cy="49300"/>
            </a:xfrm>
          </p:grpSpPr>
          <p:sp>
            <p:nvSpPr>
              <p:cNvPr id="1978" name="Forma livre: Forma 1977">
                <a:extLst>
                  <a:ext uri="{FF2B5EF4-FFF2-40B4-BE49-F238E27FC236}">
                    <a16:creationId xmlns:a16="http://schemas.microsoft.com/office/drawing/2014/main" id="{6E4DE8A3-A5A5-C21B-897B-2096C72642DD}"/>
                  </a:ext>
                </a:extLst>
              </p:cNvPr>
              <p:cNvSpPr/>
              <p:nvPr/>
            </p:nvSpPr>
            <p:spPr>
              <a:xfrm>
                <a:off x="8228727" y="4815844"/>
                <a:ext cx="49300" cy="49300"/>
              </a:xfrm>
              <a:custGeom>
                <a:avLst/>
                <a:gdLst>
                  <a:gd name="connsiteX0" fmla="*/ 49300 w 49300"/>
                  <a:gd name="connsiteY0" fmla="*/ 0 h 49300"/>
                  <a:gd name="connsiteX1" fmla="*/ 0 w 49300"/>
                  <a:gd name="connsiteY1" fmla="*/ 49300 h 493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9300" h="49300">
                    <a:moveTo>
                      <a:pt x="49300" y="0"/>
                    </a:moveTo>
                    <a:lnTo>
                      <a:pt x="0" y="4930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979" name="Forma livre: Forma 1978">
                <a:extLst>
                  <a:ext uri="{FF2B5EF4-FFF2-40B4-BE49-F238E27FC236}">
                    <a16:creationId xmlns:a16="http://schemas.microsoft.com/office/drawing/2014/main" id="{2E176808-3DEA-A820-7B5C-C347E661DAA0}"/>
                  </a:ext>
                </a:extLst>
              </p:cNvPr>
              <p:cNvSpPr/>
              <p:nvPr/>
            </p:nvSpPr>
            <p:spPr>
              <a:xfrm>
                <a:off x="8228727" y="4815844"/>
                <a:ext cx="49300" cy="49300"/>
              </a:xfrm>
              <a:custGeom>
                <a:avLst/>
                <a:gdLst>
                  <a:gd name="connsiteX0" fmla="*/ 49300 w 49300"/>
                  <a:gd name="connsiteY0" fmla="*/ 49300 h 49300"/>
                  <a:gd name="connsiteX1" fmla="*/ 0 w 49300"/>
                  <a:gd name="connsiteY1" fmla="*/ 0 h 493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9300" h="49300">
                    <a:moveTo>
                      <a:pt x="49300" y="49300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980" name="Gráfico 18">
            <a:extLst>
              <a:ext uri="{FF2B5EF4-FFF2-40B4-BE49-F238E27FC236}">
                <a16:creationId xmlns:a16="http://schemas.microsoft.com/office/drawing/2014/main" id="{57067BB1-1E62-F8E3-BCAF-1C983BEF2BD7}"/>
              </a:ext>
            </a:extLst>
          </p:cNvPr>
          <p:cNvGrpSpPr/>
          <p:nvPr/>
        </p:nvGrpSpPr>
        <p:grpSpPr>
          <a:xfrm>
            <a:off x="9293221" y="4635846"/>
            <a:ext cx="269786" cy="270724"/>
            <a:chOff x="9293221" y="4635846"/>
            <a:chExt cx="269786" cy="270724"/>
          </a:xfrm>
          <a:noFill/>
        </p:grpSpPr>
        <p:grpSp>
          <p:nvGrpSpPr>
            <p:cNvPr id="1981" name="Gráfico 18">
              <a:extLst>
                <a:ext uri="{FF2B5EF4-FFF2-40B4-BE49-F238E27FC236}">
                  <a16:creationId xmlns:a16="http://schemas.microsoft.com/office/drawing/2014/main" id="{7D36DB2A-8F88-366A-B028-B626DFDA9CF2}"/>
                </a:ext>
              </a:extLst>
            </p:cNvPr>
            <p:cNvGrpSpPr/>
            <p:nvPr/>
          </p:nvGrpSpPr>
          <p:grpSpPr>
            <a:xfrm>
              <a:off x="9293221" y="4635846"/>
              <a:ext cx="203320" cy="270724"/>
              <a:chOff x="9293221" y="4635846"/>
              <a:chExt cx="203320" cy="270724"/>
            </a:xfrm>
            <a:noFill/>
          </p:grpSpPr>
          <p:grpSp>
            <p:nvGrpSpPr>
              <p:cNvPr id="1982" name="Gráfico 18">
                <a:extLst>
                  <a:ext uri="{FF2B5EF4-FFF2-40B4-BE49-F238E27FC236}">
                    <a16:creationId xmlns:a16="http://schemas.microsoft.com/office/drawing/2014/main" id="{35EF606B-662D-DFBA-A310-193DE40E0473}"/>
                  </a:ext>
                </a:extLst>
              </p:cNvPr>
              <p:cNvGrpSpPr/>
              <p:nvPr/>
            </p:nvGrpSpPr>
            <p:grpSpPr>
              <a:xfrm>
                <a:off x="9335753" y="4769261"/>
                <a:ext cx="100656" cy="76853"/>
                <a:chOff x="9335753" y="4769261"/>
                <a:chExt cx="100656" cy="76853"/>
              </a:xfrm>
            </p:grpSpPr>
            <p:sp>
              <p:nvSpPr>
                <p:cNvPr id="1983" name="Forma livre: Forma 1982">
                  <a:extLst>
                    <a:ext uri="{FF2B5EF4-FFF2-40B4-BE49-F238E27FC236}">
                      <a16:creationId xmlns:a16="http://schemas.microsoft.com/office/drawing/2014/main" id="{F5FDDAE3-33CC-B13A-0244-6E2345ADD82F}"/>
                    </a:ext>
                  </a:extLst>
                </p:cNvPr>
                <p:cNvSpPr/>
                <p:nvPr/>
              </p:nvSpPr>
              <p:spPr>
                <a:xfrm>
                  <a:off x="9335753" y="4769261"/>
                  <a:ext cx="100656" cy="1202"/>
                </a:xfrm>
                <a:custGeom>
                  <a:avLst/>
                  <a:gdLst>
                    <a:gd name="connsiteX0" fmla="*/ 0 w 100656"/>
                    <a:gd name="connsiteY0" fmla="*/ 0 h 1202"/>
                    <a:gd name="connsiteX1" fmla="*/ 100656 w 100656"/>
                    <a:gd name="connsiteY1" fmla="*/ 0 h 120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00656" h="1202">
                      <a:moveTo>
                        <a:pt x="0" y="0"/>
                      </a:moveTo>
                      <a:lnTo>
                        <a:pt x="100656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984" name="Forma livre: Forma 1983">
                  <a:extLst>
                    <a:ext uri="{FF2B5EF4-FFF2-40B4-BE49-F238E27FC236}">
                      <a16:creationId xmlns:a16="http://schemas.microsoft.com/office/drawing/2014/main" id="{903DD53F-4247-BC49-5FEC-7CC92836ED7D}"/>
                    </a:ext>
                  </a:extLst>
                </p:cNvPr>
                <p:cNvSpPr/>
                <p:nvPr/>
              </p:nvSpPr>
              <p:spPr>
                <a:xfrm>
                  <a:off x="9335753" y="4807694"/>
                  <a:ext cx="77094" cy="1202"/>
                </a:xfrm>
                <a:custGeom>
                  <a:avLst/>
                  <a:gdLst>
                    <a:gd name="connsiteX0" fmla="*/ 0 w 77094"/>
                    <a:gd name="connsiteY0" fmla="*/ 0 h 1202"/>
                    <a:gd name="connsiteX1" fmla="*/ 77094 w 77094"/>
                    <a:gd name="connsiteY1" fmla="*/ 0 h 120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77094" h="1202">
                      <a:moveTo>
                        <a:pt x="0" y="0"/>
                      </a:moveTo>
                      <a:lnTo>
                        <a:pt x="77094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985" name="Forma livre: Forma 1984">
                  <a:extLst>
                    <a:ext uri="{FF2B5EF4-FFF2-40B4-BE49-F238E27FC236}">
                      <a16:creationId xmlns:a16="http://schemas.microsoft.com/office/drawing/2014/main" id="{EBCCA047-742F-D3BF-8CEB-5914FD753727}"/>
                    </a:ext>
                  </a:extLst>
                </p:cNvPr>
                <p:cNvSpPr/>
                <p:nvPr/>
              </p:nvSpPr>
              <p:spPr>
                <a:xfrm>
                  <a:off x="9335753" y="4846114"/>
                  <a:ext cx="71924" cy="1202"/>
                </a:xfrm>
                <a:custGeom>
                  <a:avLst/>
                  <a:gdLst>
                    <a:gd name="connsiteX0" fmla="*/ 0 w 71924"/>
                    <a:gd name="connsiteY0" fmla="*/ 0 h 1202"/>
                    <a:gd name="connsiteX1" fmla="*/ 71925 w 71924"/>
                    <a:gd name="connsiteY1" fmla="*/ 0 h 120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71924" h="1202">
                      <a:moveTo>
                        <a:pt x="0" y="0"/>
                      </a:moveTo>
                      <a:lnTo>
                        <a:pt x="71925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1986" name="Gráfico 18">
                <a:extLst>
                  <a:ext uri="{FF2B5EF4-FFF2-40B4-BE49-F238E27FC236}">
                    <a16:creationId xmlns:a16="http://schemas.microsoft.com/office/drawing/2014/main" id="{8F6E29FE-43AE-9D19-6360-BE86E071DFBE}"/>
                  </a:ext>
                </a:extLst>
              </p:cNvPr>
              <p:cNvGrpSpPr/>
              <p:nvPr/>
            </p:nvGrpSpPr>
            <p:grpSpPr>
              <a:xfrm>
                <a:off x="9293221" y="4635846"/>
                <a:ext cx="203320" cy="270724"/>
                <a:chOff x="9293221" y="4635846"/>
                <a:chExt cx="203320" cy="270724"/>
              </a:xfrm>
              <a:noFill/>
            </p:grpSpPr>
            <p:sp>
              <p:nvSpPr>
                <p:cNvPr id="1987" name="Forma livre: Forma 1986">
                  <a:extLst>
                    <a:ext uri="{FF2B5EF4-FFF2-40B4-BE49-F238E27FC236}">
                      <a16:creationId xmlns:a16="http://schemas.microsoft.com/office/drawing/2014/main" id="{75DD31E6-2FAC-3984-4022-C2245BFE9C53}"/>
                    </a:ext>
                  </a:extLst>
                </p:cNvPr>
                <p:cNvSpPr/>
                <p:nvPr/>
              </p:nvSpPr>
              <p:spPr>
                <a:xfrm>
                  <a:off x="9319079" y="4661921"/>
                  <a:ext cx="35920" cy="35884"/>
                </a:xfrm>
                <a:custGeom>
                  <a:avLst/>
                  <a:gdLst>
                    <a:gd name="connsiteX0" fmla="*/ 35920 w 35920"/>
                    <a:gd name="connsiteY0" fmla="*/ 0 h 35884"/>
                    <a:gd name="connsiteX1" fmla="*/ 35920 w 35920"/>
                    <a:gd name="connsiteY1" fmla="*/ 35884 h 35884"/>
                    <a:gd name="connsiteX2" fmla="*/ 0 w 35920"/>
                    <a:gd name="connsiteY2" fmla="*/ 35884 h 3588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35920" h="35884">
                      <a:moveTo>
                        <a:pt x="35920" y="0"/>
                      </a:moveTo>
                      <a:lnTo>
                        <a:pt x="35920" y="35884"/>
                      </a:lnTo>
                      <a:lnTo>
                        <a:pt x="0" y="35884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988" name="Forma livre: Forma 1987">
                  <a:extLst>
                    <a:ext uri="{FF2B5EF4-FFF2-40B4-BE49-F238E27FC236}">
                      <a16:creationId xmlns:a16="http://schemas.microsoft.com/office/drawing/2014/main" id="{EC182705-02B6-E0C8-80C0-8E350AE81B37}"/>
                    </a:ext>
                  </a:extLst>
                </p:cNvPr>
                <p:cNvSpPr/>
                <p:nvPr/>
              </p:nvSpPr>
              <p:spPr>
                <a:xfrm>
                  <a:off x="9293221" y="4635846"/>
                  <a:ext cx="203320" cy="270724"/>
                </a:xfrm>
                <a:custGeom>
                  <a:avLst/>
                  <a:gdLst>
                    <a:gd name="connsiteX0" fmla="*/ 203320 w 203320"/>
                    <a:gd name="connsiteY0" fmla="*/ 113423 h 270724"/>
                    <a:gd name="connsiteX1" fmla="*/ 203320 w 203320"/>
                    <a:gd name="connsiteY1" fmla="*/ 0 h 270724"/>
                    <a:gd name="connsiteX2" fmla="*/ 52534 w 203320"/>
                    <a:gd name="connsiteY2" fmla="*/ 0 h 270724"/>
                    <a:gd name="connsiteX3" fmla="*/ 0 w 203320"/>
                    <a:gd name="connsiteY3" fmla="*/ 52522 h 270724"/>
                    <a:gd name="connsiteX4" fmla="*/ 0 w 203320"/>
                    <a:gd name="connsiteY4" fmla="*/ 270725 h 270724"/>
                    <a:gd name="connsiteX5" fmla="*/ 141746 w 203320"/>
                    <a:gd name="connsiteY5" fmla="*/ 270725 h 27072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203320" h="270724">
                      <a:moveTo>
                        <a:pt x="203320" y="113423"/>
                      </a:moveTo>
                      <a:lnTo>
                        <a:pt x="203320" y="0"/>
                      </a:lnTo>
                      <a:lnTo>
                        <a:pt x="52534" y="0"/>
                      </a:lnTo>
                      <a:lnTo>
                        <a:pt x="0" y="52522"/>
                      </a:lnTo>
                      <a:lnTo>
                        <a:pt x="0" y="270725"/>
                      </a:lnTo>
                      <a:lnTo>
                        <a:pt x="141746" y="270725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grpSp>
          <p:nvGrpSpPr>
            <p:cNvPr id="1989" name="Gráfico 18">
              <a:extLst>
                <a:ext uri="{FF2B5EF4-FFF2-40B4-BE49-F238E27FC236}">
                  <a16:creationId xmlns:a16="http://schemas.microsoft.com/office/drawing/2014/main" id="{35F21F66-487D-EF91-405F-083BE413DF8D}"/>
                </a:ext>
              </a:extLst>
            </p:cNvPr>
            <p:cNvGrpSpPr/>
            <p:nvPr/>
          </p:nvGrpSpPr>
          <p:grpSpPr>
            <a:xfrm>
              <a:off x="9430819" y="4774382"/>
              <a:ext cx="132188" cy="132188"/>
              <a:chOff x="9430819" y="4774382"/>
              <a:chExt cx="132188" cy="132188"/>
            </a:xfrm>
            <a:noFill/>
          </p:grpSpPr>
          <p:sp>
            <p:nvSpPr>
              <p:cNvPr id="1990" name="Forma livre: Forma 1989">
                <a:extLst>
                  <a:ext uri="{FF2B5EF4-FFF2-40B4-BE49-F238E27FC236}">
                    <a16:creationId xmlns:a16="http://schemas.microsoft.com/office/drawing/2014/main" id="{FDB01727-F017-7AE0-4543-4CE1D0E75529}"/>
                  </a:ext>
                </a:extLst>
              </p:cNvPr>
              <p:cNvSpPr/>
              <p:nvPr/>
            </p:nvSpPr>
            <p:spPr>
              <a:xfrm>
                <a:off x="9430819" y="4774382"/>
                <a:ext cx="132188" cy="132188"/>
              </a:xfrm>
              <a:custGeom>
                <a:avLst/>
                <a:gdLst>
                  <a:gd name="connsiteX0" fmla="*/ 132189 w 132188"/>
                  <a:gd name="connsiteY0" fmla="*/ 66094 h 132188"/>
                  <a:gd name="connsiteX1" fmla="*/ 66094 w 132188"/>
                  <a:gd name="connsiteY1" fmla="*/ 132189 h 132188"/>
                  <a:gd name="connsiteX2" fmla="*/ 0 w 132188"/>
                  <a:gd name="connsiteY2" fmla="*/ 66094 h 132188"/>
                  <a:gd name="connsiteX3" fmla="*/ 66094 w 132188"/>
                  <a:gd name="connsiteY3" fmla="*/ 0 h 132188"/>
                  <a:gd name="connsiteX4" fmla="*/ 132189 w 132188"/>
                  <a:gd name="connsiteY4" fmla="*/ 66094 h 1321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32188" h="132188">
                    <a:moveTo>
                      <a:pt x="132189" y="66094"/>
                    </a:moveTo>
                    <a:cubicBezTo>
                      <a:pt x="132189" y="102604"/>
                      <a:pt x="102592" y="132189"/>
                      <a:pt x="66094" y="132189"/>
                    </a:cubicBezTo>
                    <a:cubicBezTo>
                      <a:pt x="29597" y="132189"/>
                      <a:pt x="0" y="102592"/>
                      <a:pt x="0" y="66094"/>
                    </a:cubicBezTo>
                    <a:cubicBezTo>
                      <a:pt x="0" y="29597"/>
                      <a:pt x="29597" y="0"/>
                      <a:pt x="66094" y="0"/>
                    </a:cubicBezTo>
                    <a:cubicBezTo>
                      <a:pt x="102592" y="0"/>
                      <a:pt x="132189" y="29585"/>
                      <a:pt x="132189" y="66094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991" name="Forma livre: Forma 1990">
                <a:extLst>
                  <a:ext uri="{FF2B5EF4-FFF2-40B4-BE49-F238E27FC236}">
                    <a16:creationId xmlns:a16="http://schemas.microsoft.com/office/drawing/2014/main" id="{D94472F0-7A81-F8D4-3999-EB94A55258BB}"/>
                  </a:ext>
                </a:extLst>
              </p:cNvPr>
              <p:cNvSpPr/>
              <p:nvPr/>
            </p:nvSpPr>
            <p:spPr>
              <a:xfrm>
                <a:off x="9462051" y="4840476"/>
                <a:ext cx="69724" cy="1202"/>
              </a:xfrm>
              <a:custGeom>
                <a:avLst/>
                <a:gdLst>
                  <a:gd name="connsiteX0" fmla="*/ 69725 w 69724"/>
                  <a:gd name="connsiteY0" fmla="*/ 0 h 1202"/>
                  <a:gd name="connsiteX1" fmla="*/ 0 w 69724"/>
                  <a:gd name="connsiteY1" fmla="*/ 0 h 12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9724" h="1202">
                    <a:moveTo>
                      <a:pt x="69725" y="0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992" name="Gráfico 18">
            <a:extLst>
              <a:ext uri="{FF2B5EF4-FFF2-40B4-BE49-F238E27FC236}">
                <a16:creationId xmlns:a16="http://schemas.microsoft.com/office/drawing/2014/main" id="{1F68E617-2B29-6AE0-48B8-235EAA503550}"/>
              </a:ext>
            </a:extLst>
          </p:cNvPr>
          <p:cNvGrpSpPr/>
          <p:nvPr/>
        </p:nvGrpSpPr>
        <p:grpSpPr>
          <a:xfrm>
            <a:off x="8670710" y="4635846"/>
            <a:ext cx="269799" cy="270724"/>
            <a:chOff x="8670710" y="4635846"/>
            <a:chExt cx="269799" cy="270724"/>
          </a:xfrm>
          <a:noFill/>
        </p:grpSpPr>
        <p:grpSp>
          <p:nvGrpSpPr>
            <p:cNvPr id="1993" name="Gráfico 18">
              <a:extLst>
                <a:ext uri="{FF2B5EF4-FFF2-40B4-BE49-F238E27FC236}">
                  <a16:creationId xmlns:a16="http://schemas.microsoft.com/office/drawing/2014/main" id="{565BFB41-25DC-7151-9F41-7BB1A8D5D337}"/>
                </a:ext>
              </a:extLst>
            </p:cNvPr>
            <p:cNvGrpSpPr/>
            <p:nvPr/>
          </p:nvGrpSpPr>
          <p:grpSpPr>
            <a:xfrm>
              <a:off x="8670710" y="4635846"/>
              <a:ext cx="203331" cy="270724"/>
              <a:chOff x="8670710" y="4635846"/>
              <a:chExt cx="203331" cy="270724"/>
            </a:xfrm>
            <a:noFill/>
          </p:grpSpPr>
          <p:grpSp>
            <p:nvGrpSpPr>
              <p:cNvPr id="1994" name="Gráfico 18">
                <a:extLst>
                  <a:ext uri="{FF2B5EF4-FFF2-40B4-BE49-F238E27FC236}">
                    <a16:creationId xmlns:a16="http://schemas.microsoft.com/office/drawing/2014/main" id="{83778C21-B810-0174-8715-0533FA4AB952}"/>
                  </a:ext>
                </a:extLst>
              </p:cNvPr>
              <p:cNvGrpSpPr/>
              <p:nvPr/>
            </p:nvGrpSpPr>
            <p:grpSpPr>
              <a:xfrm>
                <a:off x="8713242" y="4769261"/>
                <a:ext cx="100656" cy="76853"/>
                <a:chOff x="8713242" y="4769261"/>
                <a:chExt cx="100656" cy="76853"/>
              </a:xfrm>
            </p:grpSpPr>
            <p:sp>
              <p:nvSpPr>
                <p:cNvPr id="1995" name="Forma livre: Forma 1994">
                  <a:extLst>
                    <a:ext uri="{FF2B5EF4-FFF2-40B4-BE49-F238E27FC236}">
                      <a16:creationId xmlns:a16="http://schemas.microsoft.com/office/drawing/2014/main" id="{41A812FC-2250-C256-D3AF-D35DB88A5AAE}"/>
                    </a:ext>
                  </a:extLst>
                </p:cNvPr>
                <p:cNvSpPr/>
                <p:nvPr/>
              </p:nvSpPr>
              <p:spPr>
                <a:xfrm>
                  <a:off x="8713242" y="4769261"/>
                  <a:ext cx="100656" cy="1202"/>
                </a:xfrm>
                <a:custGeom>
                  <a:avLst/>
                  <a:gdLst>
                    <a:gd name="connsiteX0" fmla="*/ 0 w 100656"/>
                    <a:gd name="connsiteY0" fmla="*/ 0 h 1202"/>
                    <a:gd name="connsiteX1" fmla="*/ 100656 w 100656"/>
                    <a:gd name="connsiteY1" fmla="*/ 0 h 120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00656" h="1202">
                      <a:moveTo>
                        <a:pt x="0" y="0"/>
                      </a:moveTo>
                      <a:lnTo>
                        <a:pt x="100656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996" name="Forma livre: Forma 1995">
                  <a:extLst>
                    <a:ext uri="{FF2B5EF4-FFF2-40B4-BE49-F238E27FC236}">
                      <a16:creationId xmlns:a16="http://schemas.microsoft.com/office/drawing/2014/main" id="{2A16F1C4-2585-368C-72BD-94D2A39EC72F}"/>
                    </a:ext>
                  </a:extLst>
                </p:cNvPr>
                <p:cNvSpPr/>
                <p:nvPr/>
              </p:nvSpPr>
              <p:spPr>
                <a:xfrm>
                  <a:off x="8713242" y="4807694"/>
                  <a:ext cx="77094" cy="1202"/>
                </a:xfrm>
                <a:custGeom>
                  <a:avLst/>
                  <a:gdLst>
                    <a:gd name="connsiteX0" fmla="*/ 0 w 77094"/>
                    <a:gd name="connsiteY0" fmla="*/ 0 h 1202"/>
                    <a:gd name="connsiteX1" fmla="*/ 77094 w 77094"/>
                    <a:gd name="connsiteY1" fmla="*/ 0 h 120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77094" h="1202">
                      <a:moveTo>
                        <a:pt x="0" y="0"/>
                      </a:moveTo>
                      <a:lnTo>
                        <a:pt x="77094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997" name="Forma livre: Forma 1996">
                  <a:extLst>
                    <a:ext uri="{FF2B5EF4-FFF2-40B4-BE49-F238E27FC236}">
                      <a16:creationId xmlns:a16="http://schemas.microsoft.com/office/drawing/2014/main" id="{FA8E6F7B-DF94-B4FB-D646-3B1686B2B8C8}"/>
                    </a:ext>
                  </a:extLst>
                </p:cNvPr>
                <p:cNvSpPr/>
                <p:nvPr/>
              </p:nvSpPr>
              <p:spPr>
                <a:xfrm>
                  <a:off x="8713242" y="4846114"/>
                  <a:ext cx="71924" cy="1202"/>
                </a:xfrm>
                <a:custGeom>
                  <a:avLst/>
                  <a:gdLst>
                    <a:gd name="connsiteX0" fmla="*/ 0 w 71924"/>
                    <a:gd name="connsiteY0" fmla="*/ 0 h 1202"/>
                    <a:gd name="connsiteX1" fmla="*/ 71925 w 71924"/>
                    <a:gd name="connsiteY1" fmla="*/ 0 h 120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71924" h="1202">
                      <a:moveTo>
                        <a:pt x="0" y="0"/>
                      </a:moveTo>
                      <a:lnTo>
                        <a:pt x="71925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1998" name="Gráfico 18">
                <a:extLst>
                  <a:ext uri="{FF2B5EF4-FFF2-40B4-BE49-F238E27FC236}">
                    <a16:creationId xmlns:a16="http://schemas.microsoft.com/office/drawing/2014/main" id="{1623DF52-B116-20F2-36C5-FAC075E7DD68}"/>
                  </a:ext>
                </a:extLst>
              </p:cNvPr>
              <p:cNvGrpSpPr/>
              <p:nvPr/>
            </p:nvGrpSpPr>
            <p:grpSpPr>
              <a:xfrm>
                <a:off x="8670710" y="4635846"/>
                <a:ext cx="203331" cy="270724"/>
                <a:chOff x="8670710" y="4635846"/>
                <a:chExt cx="203331" cy="270724"/>
              </a:xfrm>
              <a:noFill/>
            </p:grpSpPr>
            <p:sp>
              <p:nvSpPr>
                <p:cNvPr id="1999" name="Forma livre: Forma 1998">
                  <a:extLst>
                    <a:ext uri="{FF2B5EF4-FFF2-40B4-BE49-F238E27FC236}">
                      <a16:creationId xmlns:a16="http://schemas.microsoft.com/office/drawing/2014/main" id="{79E4F528-93AD-B200-C3D6-B4F997F1F0C3}"/>
                    </a:ext>
                  </a:extLst>
                </p:cNvPr>
                <p:cNvSpPr/>
                <p:nvPr/>
              </p:nvSpPr>
              <p:spPr>
                <a:xfrm>
                  <a:off x="8696580" y="4661921"/>
                  <a:ext cx="35908" cy="35884"/>
                </a:xfrm>
                <a:custGeom>
                  <a:avLst/>
                  <a:gdLst>
                    <a:gd name="connsiteX0" fmla="*/ 35908 w 35908"/>
                    <a:gd name="connsiteY0" fmla="*/ 0 h 35884"/>
                    <a:gd name="connsiteX1" fmla="*/ 35908 w 35908"/>
                    <a:gd name="connsiteY1" fmla="*/ 35884 h 35884"/>
                    <a:gd name="connsiteX2" fmla="*/ 0 w 35908"/>
                    <a:gd name="connsiteY2" fmla="*/ 35884 h 3588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35908" h="35884">
                      <a:moveTo>
                        <a:pt x="35908" y="0"/>
                      </a:moveTo>
                      <a:lnTo>
                        <a:pt x="35908" y="35884"/>
                      </a:lnTo>
                      <a:lnTo>
                        <a:pt x="0" y="35884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000" name="Forma livre: Forma 1999">
                  <a:extLst>
                    <a:ext uri="{FF2B5EF4-FFF2-40B4-BE49-F238E27FC236}">
                      <a16:creationId xmlns:a16="http://schemas.microsoft.com/office/drawing/2014/main" id="{E302A081-1AC7-5521-B26F-3AE601C73E37}"/>
                    </a:ext>
                  </a:extLst>
                </p:cNvPr>
                <p:cNvSpPr/>
                <p:nvPr/>
              </p:nvSpPr>
              <p:spPr>
                <a:xfrm>
                  <a:off x="8670710" y="4635846"/>
                  <a:ext cx="203331" cy="270724"/>
                </a:xfrm>
                <a:custGeom>
                  <a:avLst/>
                  <a:gdLst>
                    <a:gd name="connsiteX0" fmla="*/ 203332 w 203331"/>
                    <a:gd name="connsiteY0" fmla="*/ 113423 h 270724"/>
                    <a:gd name="connsiteX1" fmla="*/ 203332 w 203331"/>
                    <a:gd name="connsiteY1" fmla="*/ 0 h 270724"/>
                    <a:gd name="connsiteX2" fmla="*/ 52546 w 203331"/>
                    <a:gd name="connsiteY2" fmla="*/ 0 h 270724"/>
                    <a:gd name="connsiteX3" fmla="*/ 0 w 203331"/>
                    <a:gd name="connsiteY3" fmla="*/ 52522 h 270724"/>
                    <a:gd name="connsiteX4" fmla="*/ 0 w 203331"/>
                    <a:gd name="connsiteY4" fmla="*/ 270725 h 270724"/>
                    <a:gd name="connsiteX5" fmla="*/ 141758 w 203331"/>
                    <a:gd name="connsiteY5" fmla="*/ 270725 h 27072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203331" h="270724">
                      <a:moveTo>
                        <a:pt x="203332" y="113423"/>
                      </a:moveTo>
                      <a:lnTo>
                        <a:pt x="203332" y="0"/>
                      </a:lnTo>
                      <a:lnTo>
                        <a:pt x="52546" y="0"/>
                      </a:lnTo>
                      <a:lnTo>
                        <a:pt x="0" y="52522"/>
                      </a:lnTo>
                      <a:lnTo>
                        <a:pt x="0" y="270725"/>
                      </a:lnTo>
                      <a:lnTo>
                        <a:pt x="141758" y="270725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grpSp>
          <p:nvGrpSpPr>
            <p:cNvPr id="2001" name="Gráfico 18">
              <a:extLst>
                <a:ext uri="{FF2B5EF4-FFF2-40B4-BE49-F238E27FC236}">
                  <a16:creationId xmlns:a16="http://schemas.microsoft.com/office/drawing/2014/main" id="{C721EB31-7CAE-9C99-5364-86D6088216D0}"/>
                </a:ext>
              </a:extLst>
            </p:cNvPr>
            <p:cNvGrpSpPr/>
            <p:nvPr/>
          </p:nvGrpSpPr>
          <p:grpSpPr>
            <a:xfrm>
              <a:off x="8808320" y="4774382"/>
              <a:ext cx="132188" cy="132188"/>
              <a:chOff x="8808320" y="4774382"/>
              <a:chExt cx="132188" cy="132188"/>
            </a:xfrm>
            <a:noFill/>
          </p:grpSpPr>
          <p:sp>
            <p:nvSpPr>
              <p:cNvPr id="2002" name="Forma livre: Forma 2001">
                <a:extLst>
                  <a:ext uri="{FF2B5EF4-FFF2-40B4-BE49-F238E27FC236}">
                    <a16:creationId xmlns:a16="http://schemas.microsoft.com/office/drawing/2014/main" id="{D9C0DF2C-CF14-471D-1413-4B1A8C446590}"/>
                  </a:ext>
                </a:extLst>
              </p:cNvPr>
              <p:cNvSpPr/>
              <p:nvPr/>
            </p:nvSpPr>
            <p:spPr>
              <a:xfrm>
                <a:off x="8808320" y="4774382"/>
                <a:ext cx="132188" cy="132188"/>
              </a:xfrm>
              <a:custGeom>
                <a:avLst/>
                <a:gdLst>
                  <a:gd name="connsiteX0" fmla="*/ 132189 w 132188"/>
                  <a:gd name="connsiteY0" fmla="*/ 66094 h 132188"/>
                  <a:gd name="connsiteX1" fmla="*/ 66094 w 132188"/>
                  <a:gd name="connsiteY1" fmla="*/ 132189 h 132188"/>
                  <a:gd name="connsiteX2" fmla="*/ 0 w 132188"/>
                  <a:gd name="connsiteY2" fmla="*/ 66094 h 132188"/>
                  <a:gd name="connsiteX3" fmla="*/ 66094 w 132188"/>
                  <a:gd name="connsiteY3" fmla="*/ 0 h 132188"/>
                  <a:gd name="connsiteX4" fmla="*/ 132189 w 132188"/>
                  <a:gd name="connsiteY4" fmla="*/ 66094 h 1321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32188" h="132188">
                    <a:moveTo>
                      <a:pt x="132189" y="66094"/>
                    </a:moveTo>
                    <a:cubicBezTo>
                      <a:pt x="132189" y="102604"/>
                      <a:pt x="102592" y="132189"/>
                      <a:pt x="66094" y="132189"/>
                    </a:cubicBezTo>
                    <a:cubicBezTo>
                      <a:pt x="29597" y="132189"/>
                      <a:pt x="0" y="102592"/>
                      <a:pt x="0" y="66094"/>
                    </a:cubicBezTo>
                    <a:cubicBezTo>
                      <a:pt x="0" y="29597"/>
                      <a:pt x="29597" y="0"/>
                      <a:pt x="66094" y="0"/>
                    </a:cubicBezTo>
                    <a:cubicBezTo>
                      <a:pt x="102592" y="0"/>
                      <a:pt x="132189" y="29585"/>
                      <a:pt x="132189" y="66094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003" name="Forma livre: Forma 2002">
                <a:extLst>
                  <a:ext uri="{FF2B5EF4-FFF2-40B4-BE49-F238E27FC236}">
                    <a16:creationId xmlns:a16="http://schemas.microsoft.com/office/drawing/2014/main" id="{CDB14EA1-F491-1FD1-66B9-5BB43DA38098}"/>
                  </a:ext>
                </a:extLst>
              </p:cNvPr>
              <p:cNvSpPr/>
              <p:nvPr/>
            </p:nvSpPr>
            <p:spPr>
              <a:xfrm>
                <a:off x="8874415" y="4805614"/>
                <a:ext cx="1202" cy="69724"/>
              </a:xfrm>
              <a:custGeom>
                <a:avLst/>
                <a:gdLst>
                  <a:gd name="connsiteX0" fmla="*/ 0 w 1202"/>
                  <a:gd name="connsiteY0" fmla="*/ 0 h 69724"/>
                  <a:gd name="connsiteX1" fmla="*/ 0 w 1202"/>
                  <a:gd name="connsiteY1" fmla="*/ 69725 h 697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02" h="69724">
                    <a:moveTo>
                      <a:pt x="0" y="0"/>
                    </a:moveTo>
                    <a:lnTo>
                      <a:pt x="0" y="69725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004" name="Forma livre: Forma 2003">
                <a:extLst>
                  <a:ext uri="{FF2B5EF4-FFF2-40B4-BE49-F238E27FC236}">
                    <a16:creationId xmlns:a16="http://schemas.microsoft.com/office/drawing/2014/main" id="{4CA1A158-6069-8F6E-B17D-68E535873912}"/>
                  </a:ext>
                </a:extLst>
              </p:cNvPr>
              <p:cNvSpPr/>
              <p:nvPr/>
            </p:nvSpPr>
            <p:spPr>
              <a:xfrm>
                <a:off x="8839552" y="4840476"/>
                <a:ext cx="69724" cy="1202"/>
              </a:xfrm>
              <a:custGeom>
                <a:avLst/>
                <a:gdLst>
                  <a:gd name="connsiteX0" fmla="*/ 69725 w 69724"/>
                  <a:gd name="connsiteY0" fmla="*/ 0 h 1202"/>
                  <a:gd name="connsiteX1" fmla="*/ 0 w 69724"/>
                  <a:gd name="connsiteY1" fmla="*/ 0 h 12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9724" h="1202">
                    <a:moveTo>
                      <a:pt x="69725" y="0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2005" name="Gráfico 18">
            <a:extLst>
              <a:ext uri="{FF2B5EF4-FFF2-40B4-BE49-F238E27FC236}">
                <a16:creationId xmlns:a16="http://schemas.microsoft.com/office/drawing/2014/main" id="{138D1605-B57D-C452-75F3-F580C9754750}"/>
              </a:ext>
            </a:extLst>
          </p:cNvPr>
          <p:cNvGrpSpPr/>
          <p:nvPr/>
        </p:nvGrpSpPr>
        <p:grpSpPr>
          <a:xfrm>
            <a:off x="8049690" y="4100852"/>
            <a:ext cx="310323" cy="270712"/>
            <a:chOff x="8049690" y="4100852"/>
            <a:chExt cx="310323" cy="270712"/>
          </a:xfrm>
          <a:noFill/>
        </p:grpSpPr>
        <p:grpSp>
          <p:nvGrpSpPr>
            <p:cNvPr id="2006" name="Gráfico 18">
              <a:extLst>
                <a:ext uri="{FF2B5EF4-FFF2-40B4-BE49-F238E27FC236}">
                  <a16:creationId xmlns:a16="http://schemas.microsoft.com/office/drawing/2014/main" id="{9C141344-03DA-DF58-A7A4-BFC76121D96C}"/>
                </a:ext>
              </a:extLst>
            </p:cNvPr>
            <p:cNvGrpSpPr/>
            <p:nvPr/>
          </p:nvGrpSpPr>
          <p:grpSpPr>
            <a:xfrm>
              <a:off x="8049690" y="4100852"/>
              <a:ext cx="203320" cy="270712"/>
              <a:chOff x="8049690" y="4100852"/>
              <a:chExt cx="203320" cy="270712"/>
            </a:xfrm>
            <a:noFill/>
          </p:grpSpPr>
          <p:sp>
            <p:nvSpPr>
              <p:cNvPr id="2007" name="Forma livre: Forma 2006">
                <a:extLst>
                  <a:ext uri="{FF2B5EF4-FFF2-40B4-BE49-F238E27FC236}">
                    <a16:creationId xmlns:a16="http://schemas.microsoft.com/office/drawing/2014/main" id="{FBCFB38C-ECD0-05DF-E8A1-76CB3AC0F994}"/>
                  </a:ext>
                </a:extLst>
              </p:cNvPr>
              <p:cNvSpPr/>
              <p:nvPr/>
            </p:nvSpPr>
            <p:spPr>
              <a:xfrm>
                <a:off x="8076234" y="4126927"/>
                <a:ext cx="35920" cy="35872"/>
              </a:xfrm>
              <a:custGeom>
                <a:avLst/>
                <a:gdLst>
                  <a:gd name="connsiteX0" fmla="*/ 35920 w 35920"/>
                  <a:gd name="connsiteY0" fmla="*/ 0 h 35872"/>
                  <a:gd name="connsiteX1" fmla="*/ 35920 w 35920"/>
                  <a:gd name="connsiteY1" fmla="*/ 35872 h 35872"/>
                  <a:gd name="connsiteX2" fmla="*/ 0 w 35920"/>
                  <a:gd name="connsiteY2" fmla="*/ 35872 h 358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5920" h="35872">
                    <a:moveTo>
                      <a:pt x="35920" y="0"/>
                    </a:moveTo>
                    <a:lnTo>
                      <a:pt x="35920" y="35872"/>
                    </a:lnTo>
                    <a:lnTo>
                      <a:pt x="0" y="35872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008" name="Forma livre: Forma 2007">
                <a:extLst>
                  <a:ext uri="{FF2B5EF4-FFF2-40B4-BE49-F238E27FC236}">
                    <a16:creationId xmlns:a16="http://schemas.microsoft.com/office/drawing/2014/main" id="{458A6533-D141-53EF-C2EE-3596D39207CC}"/>
                  </a:ext>
                </a:extLst>
              </p:cNvPr>
              <p:cNvSpPr/>
              <p:nvPr/>
            </p:nvSpPr>
            <p:spPr>
              <a:xfrm>
                <a:off x="8049690" y="4100852"/>
                <a:ext cx="203320" cy="270712"/>
              </a:xfrm>
              <a:custGeom>
                <a:avLst/>
                <a:gdLst>
                  <a:gd name="connsiteX0" fmla="*/ 118652 w 203320"/>
                  <a:gd name="connsiteY0" fmla="*/ 270713 h 270712"/>
                  <a:gd name="connsiteX1" fmla="*/ 0 w 203320"/>
                  <a:gd name="connsiteY1" fmla="*/ 270713 h 270712"/>
                  <a:gd name="connsiteX2" fmla="*/ 0 w 203320"/>
                  <a:gd name="connsiteY2" fmla="*/ 52522 h 270712"/>
                  <a:gd name="connsiteX3" fmla="*/ 52534 w 203320"/>
                  <a:gd name="connsiteY3" fmla="*/ 0 h 270712"/>
                  <a:gd name="connsiteX4" fmla="*/ 203320 w 203320"/>
                  <a:gd name="connsiteY4" fmla="*/ 0 h 270712"/>
                  <a:gd name="connsiteX5" fmla="*/ 203320 w 203320"/>
                  <a:gd name="connsiteY5" fmla="*/ 79138 h 2707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03320" h="270712">
                    <a:moveTo>
                      <a:pt x="118652" y="270713"/>
                    </a:moveTo>
                    <a:lnTo>
                      <a:pt x="0" y="270713"/>
                    </a:lnTo>
                    <a:lnTo>
                      <a:pt x="0" y="52522"/>
                    </a:lnTo>
                    <a:lnTo>
                      <a:pt x="52534" y="0"/>
                    </a:lnTo>
                    <a:lnTo>
                      <a:pt x="203320" y="0"/>
                    </a:lnTo>
                    <a:lnTo>
                      <a:pt x="203320" y="79138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2009" name="Gráfico 18">
              <a:extLst>
                <a:ext uri="{FF2B5EF4-FFF2-40B4-BE49-F238E27FC236}">
                  <a16:creationId xmlns:a16="http://schemas.microsoft.com/office/drawing/2014/main" id="{7CE47AA3-68E1-4FCE-651B-12B60FE97184}"/>
                </a:ext>
              </a:extLst>
            </p:cNvPr>
            <p:cNvGrpSpPr/>
            <p:nvPr/>
          </p:nvGrpSpPr>
          <p:grpSpPr>
            <a:xfrm>
              <a:off x="8145562" y="4203347"/>
              <a:ext cx="214451" cy="168217"/>
              <a:chOff x="8145562" y="4203347"/>
              <a:chExt cx="214451" cy="168217"/>
            </a:xfrm>
            <a:noFill/>
          </p:grpSpPr>
          <p:sp>
            <p:nvSpPr>
              <p:cNvPr id="2010" name="Forma livre: Forma 2009">
                <a:extLst>
                  <a:ext uri="{FF2B5EF4-FFF2-40B4-BE49-F238E27FC236}">
                    <a16:creationId xmlns:a16="http://schemas.microsoft.com/office/drawing/2014/main" id="{9205C1F5-34D7-8490-A900-9B2F6FCC4A23}"/>
                  </a:ext>
                </a:extLst>
              </p:cNvPr>
              <p:cNvSpPr/>
              <p:nvPr/>
            </p:nvSpPr>
            <p:spPr>
              <a:xfrm>
                <a:off x="8195932" y="4340068"/>
                <a:ext cx="113687" cy="31496"/>
              </a:xfrm>
              <a:custGeom>
                <a:avLst/>
                <a:gdLst>
                  <a:gd name="connsiteX0" fmla="*/ 56910 w 113687"/>
                  <a:gd name="connsiteY0" fmla="*/ 0 h 31496"/>
                  <a:gd name="connsiteX1" fmla="*/ 0 w 113687"/>
                  <a:gd name="connsiteY1" fmla="*/ 31496 h 31496"/>
                  <a:gd name="connsiteX2" fmla="*/ 113688 w 113687"/>
                  <a:gd name="connsiteY2" fmla="*/ 31292 h 31496"/>
                  <a:gd name="connsiteX3" fmla="*/ 56910 w 113687"/>
                  <a:gd name="connsiteY3" fmla="*/ 0 h 314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3687" h="31496">
                    <a:moveTo>
                      <a:pt x="56910" y="0"/>
                    </a:moveTo>
                    <a:cubicBezTo>
                      <a:pt x="32927" y="0"/>
                      <a:pt x="11877" y="12575"/>
                      <a:pt x="0" y="31496"/>
                    </a:cubicBezTo>
                    <a:lnTo>
                      <a:pt x="113688" y="31292"/>
                    </a:lnTo>
                    <a:cubicBezTo>
                      <a:pt x="101786" y="12490"/>
                      <a:pt x="80809" y="0"/>
                      <a:pt x="56910" y="0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011" name="Forma livre: Forma 2010">
                <a:extLst>
                  <a:ext uri="{FF2B5EF4-FFF2-40B4-BE49-F238E27FC236}">
                    <a16:creationId xmlns:a16="http://schemas.microsoft.com/office/drawing/2014/main" id="{83BF6B13-CC2B-531C-5D22-AC3696FB5505}"/>
                  </a:ext>
                </a:extLst>
              </p:cNvPr>
              <p:cNvSpPr/>
              <p:nvPr/>
            </p:nvSpPr>
            <p:spPr>
              <a:xfrm>
                <a:off x="8252794" y="4203756"/>
                <a:ext cx="1202" cy="116548"/>
              </a:xfrm>
              <a:custGeom>
                <a:avLst/>
                <a:gdLst>
                  <a:gd name="connsiteX0" fmla="*/ 0 w 1202"/>
                  <a:gd name="connsiteY0" fmla="*/ 116549 h 116548"/>
                  <a:gd name="connsiteX1" fmla="*/ 0 w 1202"/>
                  <a:gd name="connsiteY1" fmla="*/ 0 h 11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02" h="116548">
                    <a:moveTo>
                      <a:pt x="0" y="116549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2012" name="Gráfico 18">
                <a:extLst>
                  <a:ext uri="{FF2B5EF4-FFF2-40B4-BE49-F238E27FC236}">
                    <a16:creationId xmlns:a16="http://schemas.microsoft.com/office/drawing/2014/main" id="{5F2AE730-C251-5245-17A3-815D857375C6}"/>
                  </a:ext>
                </a:extLst>
              </p:cNvPr>
              <p:cNvGrpSpPr/>
              <p:nvPr/>
            </p:nvGrpSpPr>
            <p:grpSpPr>
              <a:xfrm>
                <a:off x="8145562" y="4219468"/>
                <a:ext cx="214451" cy="90546"/>
                <a:chOff x="8145562" y="4219468"/>
                <a:chExt cx="214451" cy="90546"/>
              </a:xfrm>
              <a:noFill/>
            </p:grpSpPr>
            <p:grpSp>
              <p:nvGrpSpPr>
                <p:cNvPr id="2013" name="Gráfico 18">
                  <a:extLst>
                    <a:ext uri="{FF2B5EF4-FFF2-40B4-BE49-F238E27FC236}">
                      <a16:creationId xmlns:a16="http://schemas.microsoft.com/office/drawing/2014/main" id="{B5CED859-FFA9-C23C-A746-C425B6487594}"/>
                    </a:ext>
                  </a:extLst>
                </p:cNvPr>
                <p:cNvGrpSpPr/>
                <p:nvPr/>
              </p:nvGrpSpPr>
              <p:grpSpPr>
                <a:xfrm>
                  <a:off x="8145562" y="4219468"/>
                  <a:ext cx="68883" cy="90546"/>
                  <a:chOff x="8145562" y="4219468"/>
                  <a:chExt cx="68883" cy="90546"/>
                </a:xfrm>
                <a:noFill/>
              </p:grpSpPr>
              <p:sp>
                <p:nvSpPr>
                  <p:cNvPr id="2014" name="Forma livre: Forma 2013">
                    <a:extLst>
                      <a:ext uri="{FF2B5EF4-FFF2-40B4-BE49-F238E27FC236}">
                        <a16:creationId xmlns:a16="http://schemas.microsoft.com/office/drawing/2014/main" id="{6CDF6E95-791A-BCB9-DAB9-88A6A6D5C65D}"/>
                      </a:ext>
                    </a:extLst>
                  </p:cNvPr>
                  <p:cNvSpPr/>
                  <p:nvPr/>
                </p:nvSpPr>
                <p:spPr>
                  <a:xfrm>
                    <a:off x="8145562" y="4219468"/>
                    <a:ext cx="68883" cy="90546"/>
                  </a:xfrm>
                  <a:custGeom>
                    <a:avLst/>
                    <a:gdLst>
                      <a:gd name="connsiteX0" fmla="*/ 68883 w 68883"/>
                      <a:gd name="connsiteY0" fmla="*/ 65794 h 90546"/>
                      <a:gd name="connsiteX1" fmla="*/ 34442 w 68883"/>
                      <a:gd name="connsiteY1" fmla="*/ 90546 h 90546"/>
                      <a:gd name="connsiteX2" fmla="*/ 0 w 68883"/>
                      <a:gd name="connsiteY2" fmla="*/ 65794 h 90546"/>
                      <a:gd name="connsiteX3" fmla="*/ 34442 w 68883"/>
                      <a:gd name="connsiteY3" fmla="*/ 0 h 90546"/>
                      <a:gd name="connsiteX4" fmla="*/ 68883 w 68883"/>
                      <a:gd name="connsiteY4" fmla="*/ 65794 h 9054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68883" h="90546">
                        <a:moveTo>
                          <a:pt x="68883" y="65794"/>
                        </a:moveTo>
                        <a:cubicBezTo>
                          <a:pt x="68883" y="79462"/>
                          <a:pt x="53472" y="90546"/>
                          <a:pt x="34442" y="90546"/>
                        </a:cubicBezTo>
                        <a:cubicBezTo>
                          <a:pt x="15412" y="90546"/>
                          <a:pt x="0" y="79474"/>
                          <a:pt x="0" y="65794"/>
                        </a:cubicBezTo>
                        <a:cubicBezTo>
                          <a:pt x="0" y="52113"/>
                          <a:pt x="34442" y="0"/>
                          <a:pt x="34442" y="0"/>
                        </a:cubicBezTo>
                        <a:cubicBezTo>
                          <a:pt x="34442" y="0"/>
                          <a:pt x="68883" y="52125"/>
                          <a:pt x="68883" y="65794"/>
                        </a:cubicBezTo>
                        <a:close/>
                      </a:path>
                    </a:pathLst>
                  </a:custGeom>
                  <a:noFill/>
                  <a:ln w="6350" cap="rnd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2015" name="Forma livre: Forma 2014">
                    <a:extLst>
                      <a:ext uri="{FF2B5EF4-FFF2-40B4-BE49-F238E27FC236}">
                        <a16:creationId xmlns:a16="http://schemas.microsoft.com/office/drawing/2014/main" id="{ECBB1F57-A731-0D89-525A-CD3F82ACEADC}"/>
                      </a:ext>
                    </a:extLst>
                  </p:cNvPr>
                  <p:cNvSpPr/>
                  <p:nvPr/>
                </p:nvSpPr>
                <p:spPr>
                  <a:xfrm>
                    <a:off x="8148832" y="4276258"/>
                    <a:ext cx="62343" cy="1202"/>
                  </a:xfrm>
                  <a:custGeom>
                    <a:avLst/>
                    <a:gdLst>
                      <a:gd name="connsiteX0" fmla="*/ 0 w 62343"/>
                      <a:gd name="connsiteY0" fmla="*/ 0 h 1202"/>
                      <a:gd name="connsiteX1" fmla="*/ 62344 w 62343"/>
                      <a:gd name="connsiteY1" fmla="*/ 0 h 120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62343" h="1202">
                        <a:moveTo>
                          <a:pt x="0" y="0"/>
                        </a:moveTo>
                        <a:lnTo>
                          <a:pt x="62344" y="0"/>
                        </a:lnTo>
                      </a:path>
                    </a:pathLst>
                  </a:custGeom>
                  <a:ln w="6350" cap="flat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  <p:grpSp>
              <p:nvGrpSpPr>
                <p:cNvPr id="2016" name="Gráfico 18">
                  <a:extLst>
                    <a:ext uri="{FF2B5EF4-FFF2-40B4-BE49-F238E27FC236}">
                      <a16:creationId xmlns:a16="http://schemas.microsoft.com/office/drawing/2014/main" id="{27DA1114-DD48-4A65-7870-E96B3C2148BB}"/>
                    </a:ext>
                  </a:extLst>
                </p:cNvPr>
                <p:cNvGrpSpPr/>
                <p:nvPr/>
              </p:nvGrpSpPr>
              <p:grpSpPr>
                <a:xfrm>
                  <a:off x="8291119" y="4219468"/>
                  <a:ext cx="68895" cy="90546"/>
                  <a:chOff x="8291119" y="4219468"/>
                  <a:chExt cx="68895" cy="90546"/>
                </a:xfrm>
                <a:noFill/>
              </p:grpSpPr>
              <p:sp>
                <p:nvSpPr>
                  <p:cNvPr id="2017" name="Forma livre: Forma 2016">
                    <a:extLst>
                      <a:ext uri="{FF2B5EF4-FFF2-40B4-BE49-F238E27FC236}">
                        <a16:creationId xmlns:a16="http://schemas.microsoft.com/office/drawing/2014/main" id="{2CE75666-BAF8-E786-02AB-DE9A9906F99B}"/>
                      </a:ext>
                    </a:extLst>
                  </p:cNvPr>
                  <p:cNvSpPr/>
                  <p:nvPr/>
                </p:nvSpPr>
                <p:spPr>
                  <a:xfrm>
                    <a:off x="8291119" y="4219468"/>
                    <a:ext cx="68895" cy="90546"/>
                  </a:xfrm>
                  <a:custGeom>
                    <a:avLst/>
                    <a:gdLst>
                      <a:gd name="connsiteX0" fmla="*/ 68895 w 68895"/>
                      <a:gd name="connsiteY0" fmla="*/ 65794 h 90546"/>
                      <a:gd name="connsiteX1" fmla="*/ 34442 w 68895"/>
                      <a:gd name="connsiteY1" fmla="*/ 90546 h 90546"/>
                      <a:gd name="connsiteX2" fmla="*/ 0 w 68895"/>
                      <a:gd name="connsiteY2" fmla="*/ 65794 h 90546"/>
                      <a:gd name="connsiteX3" fmla="*/ 34442 w 68895"/>
                      <a:gd name="connsiteY3" fmla="*/ 0 h 90546"/>
                      <a:gd name="connsiteX4" fmla="*/ 68895 w 68895"/>
                      <a:gd name="connsiteY4" fmla="*/ 65794 h 9054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68895" h="90546">
                        <a:moveTo>
                          <a:pt x="68895" y="65794"/>
                        </a:moveTo>
                        <a:cubicBezTo>
                          <a:pt x="68895" y="79462"/>
                          <a:pt x="53472" y="90546"/>
                          <a:pt x="34442" y="90546"/>
                        </a:cubicBezTo>
                        <a:cubicBezTo>
                          <a:pt x="15412" y="90546"/>
                          <a:pt x="0" y="79474"/>
                          <a:pt x="0" y="65794"/>
                        </a:cubicBezTo>
                        <a:cubicBezTo>
                          <a:pt x="0" y="52113"/>
                          <a:pt x="34442" y="0"/>
                          <a:pt x="34442" y="0"/>
                        </a:cubicBezTo>
                        <a:cubicBezTo>
                          <a:pt x="34442" y="0"/>
                          <a:pt x="68895" y="52125"/>
                          <a:pt x="68895" y="65794"/>
                        </a:cubicBezTo>
                        <a:close/>
                      </a:path>
                    </a:pathLst>
                  </a:custGeom>
                  <a:noFill/>
                  <a:ln w="6350" cap="rnd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2018" name="Forma livre: Forma 2017">
                    <a:extLst>
                      <a:ext uri="{FF2B5EF4-FFF2-40B4-BE49-F238E27FC236}">
                        <a16:creationId xmlns:a16="http://schemas.microsoft.com/office/drawing/2014/main" id="{BB5A1474-3D6F-E28A-DD80-7012247CDFD1}"/>
                      </a:ext>
                    </a:extLst>
                  </p:cNvPr>
                  <p:cNvSpPr/>
                  <p:nvPr/>
                </p:nvSpPr>
                <p:spPr>
                  <a:xfrm>
                    <a:off x="8294400" y="4276258"/>
                    <a:ext cx="62331" cy="1202"/>
                  </a:xfrm>
                  <a:custGeom>
                    <a:avLst/>
                    <a:gdLst>
                      <a:gd name="connsiteX0" fmla="*/ 0 w 62331"/>
                      <a:gd name="connsiteY0" fmla="*/ 0 h 1202"/>
                      <a:gd name="connsiteX1" fmla="*/ 62332 w 62331"/>
                      <a:gd name="connsiteY1" fmla="*/ 0 h 120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62331" h="1202">
                        <a:moveTo>
                          <a:pt x="0" y="0"/>
                        </a:moveTo>
                        <a:lnTo>
                          <a:pt x="62332" y="0"/>
                        </a:lnTo>
                      </a:path>
                    </a:pathLst>
                  </a:custGeom>
                  <a:ln w="6350" cap="flat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</p:grpSp>
          <p:sp>
            <p:nvSpPr>
              <p:cNvPr id="2019" name="Forma livre: Forma 2018">
                <a:extLst>
                  <a:ext uri="{FF2B5EF4-FFF2-40B4-BE49-F238E27FC236}">
                    <a16:creationId xmlns:a16="http://schemas.microsoft.com/office/drawing/2014/main" id="{A7D34266-136C-B571-A1B0-6860B8102272}"/>
                  </a:ext>
                </a:extLst>
              </p:cNvPr>
              <p:cNvSpPr/>
              <p:nvPr/>
            </p:nvSpPr>
            <p:spPr>
              <a:xfrm>
                <a:off x="8157319" y="4203347"/>
                <a:ext cx="190937" cy="14384"/>
              </a:xfrm>
              <a:custGeom>
                <a:avLst/>
                <a:gdLst>
                  <a:gd name="connsiteX0" fmla="*/ 0 w 190937"/>
                  <a:gd name="connsiteY0" fmla="*/ 5109 h 14384"/>
                  <a:gd name="connsiteX1" fmla="*/ 30871 w 190937"/>
                  <a:gd name="connsiteY1" fmla="*/ 11829 h 14384"/>
                  <a:gd name="connsiteX2" fmla="*/ 95475 w 190937"/>
                  <a:gd name="connsiteY2" fmla="*/ 0 h 14384"/>
                  <a:gd name="connsiteX3" fmla="*/ 160067 w 190937"/>
                  <a:gd name="connsiteY3" fmla="*/ 11829 h 14384"/>
                  <a:gd name="connsiteX4" fmla="*/ 190938 w 190937"/>
                  <a:gd name="connsiteY4" fmla="*/ 5109 h 143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90937" h="14384">
                    <a:moveTo>
                      <a:pt x="0" y="5109"/>
                    </a:moveTo>
                    <a:cubicBezTo>
                      <a:pt x="481" y="6035"/>
                      <a:pt x="7910" y="19992"/>
                      <a:pt x="30871" y="11829"/>
                    </a:cubicBezTo>
                    <a:cubicBezTo>
                      <a:pt x="47533" y="4989"/>
                      <a:pt x="68390" y="0"/>
                      <a:pt x="95475" y="0"/>
                    </a:cubicBezTo>
                    <a:cubicBezTo>
                      <a:pt x="122559" y="0"/>
                      <a:pt x="143405" y="4989"/>
                      <a:pt x="160067" y="11829"/>
                    </a:cubicBezTo>
                    <a:cubicBezTo>
                      <a:pt x="183040" y="20004"/>
                      <a:pt x="190469" y="6035"/>
                      <a:pt x="190938" y="5109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2020" name="Gráfico 18">
            <a:extLst>
              <a:ext uri="{FF2B5EF4-FFF2-40B4-BE49-F238E27FC236}">
                <a16:creationId xmlns:a16="http://schemas.microsoft.com/office/drawing/2014/main" id="{E4FE771A-8E8F-173B-8312-A2389AACFC41}"/>
              </a:ext>
            </a:extLst>
          </p:cNvPr>
          <p:cNvGrpSpPr/>
          <p:nvPr/>
        </p:nvGrpSpPr>
        <p:grpSpPr>
          <a:xfrm>
            <a:off x="9293221" y="4100852"/>
            <a:ext cx="265579" cy="270712"/>
            <a:chOff x="9293221" y="4100852"/>
            <a:chExt cx="265579" cy="270712"/>
          </a:xfrm>
          <a:noFill/>
        </p:grpSpPr>
        <p:grpSp>
          <p:nvGrpSpPr>
            <p:cNvPr id="2021" name="Gráfico 18">
              <a:extLst>
                <a:ext uri="{FF2B5EF4-FFF2-40B4-BE49-F238E27FC236}">
                  <a16:creationId xmlns:a16="http://schemas.microsoft.com/office/drawing/2014/main" id="{88CA5672-96ED-B0F2-EC1D-372C4EF28AFB}"/>
                </a:ext>
              </a:extLst>
            </p:cNvPr>
            <p:cNvGrpSpPr/>
            <p:nvPr/>
          </p:nvGrpSpPr>
          <p:grpSpPr>
            <a:xfrm>
              <a:off x="9431684" y="4194848"/>
              <a:ext cx="127115" cy="176716"/>
              <a:chOff x="9431684" y="4194848"/>
              <a:chExt cx="127115" cy="176716"/>
            </a:xfrm>
            <a:noFill/>
          </p:grpSpPr>
          <p:sp>
            <p:nvSpPr>
              <p:cNvPr id="2022" name="Forma livre: Forma 2021">
                <a:extLst>
                  <a:ext uri="{FF2B5EF4-FFF2-40B4-BE49-F238E27FC236}">
                    <a16:creationId xmlns:a16="http://schemas.microsoft.com/office/drawing/2014/main" id="{B88754FA-F6D4-06F6-012B-3C9DF682874E}"/>
                  </a:ext>
                </a:extLst>
              </p:cNvPr>
              <p:cNvSpPr/>
              <p:nvPr/>
            </p:nvSpPr>
            <p:spPr>
              <a:xfrm>
                <a:off x="9431684" y="4194848"/>
                <a:ext cx="127115" cy="176716"/>
              </a:xfrm>
              <a:custGeom>
                <a:avLst/>
                <a:gdLst>
                  <a:gd name="connsiteX0" fmla="*/ 9918 w 127115"/>
                  <a:gd name="connsiteY0" fmla="*/ 176716 h 176716"/>
                  <a:gd name="connsiteX1" fmla="*/ 0 w 127115"/>
                  <a:gd name="connsiteY1" fmla="*/ 166666 h 176716"/>
                  <a:gd name="connsiteX2" fmla="*/ 0 w 127115"/>
                  <a:gd name="connsiteY2" fmla="*/ 9930 h 176716"/>
                  <a:gd name="connsiteX3" fmla="*/ 9918 w 127115"/>
                  <a:gd name="connsiteY3" fmla="*/ 0 h 176716"/>
                  <a:gd name="connsiteX4" fmla="*/ 117198 w 127115"/>
                  <a:gd name="connsiteY4" fmla="*/ 0 h 176716"/>
                  <a:gd name="connsiteX5" fmla="*/ 127116 w 127115"/>
                  <a:gd name="connsiteY5" fmla="*/ 9930 h 176716"/>
                  <a:gd name="connsiteX6" fmla="*/ 127116 w 127115"/>
                  <a:gd name="connsiteY6" fmla="*/ 166666 h 176716"/>
                  <a:gd name="connsiteX7" fmla="*/ 117198 w 127115"/>
                  <a:gd name="connsiteY7" fmla="*/ 176716 h 176716"/>
                  <a:gd name="connsiteX8" fmla="*/ 9918 w 127115"/>
                  <a:gd name="connsiteY8" fmla="*/ 176716 h 1767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27115" h="176716">
                    <a:moveTo>
                      <a:pt x="9918" y="176716"/>
                    </a:moveTo>
                    <a:cubicBezTo>
                      <a:pt x="4460" y="176716"/>
                      <a:pt x="0" y="172124"/>
                      <a:pt x="0" y="166666"/>
                    </a:cubicBezTo>
                    <a:lnTo>
                      <a:pt x="0" y="9930"/>
                    </a:lnTo>
                    <a:cubicBezTo>
                      <a:pt x="0" y="4472"/>
                      <a:pt x="4460" y="0"/>
                      <a:pt x="9918" y="0"/>
                    </a:cubicBezTo>
                    <a:lnTo>
                      <a:pt x="117198" y="0"/>
                    </a:lnTo>
                    <a:cubicBezTo>
                      <a:pt x="122656" y="0"/>
                      <a:pt x="127116" y="4472"/>
                      <a:pt x="127116" y="9930"/>
                    </a:cubicBezTo>
                    <a:lnTo>
                      <a:pt x="127116" y="166666"/>
                    </a:lnTo>
                    <a:cubicBezTo>
                      <a:pt x="127116" y="172124"/>
                      <a:pt x="122656" y="176716"/>
                      <a:pt x="117198" y="176716"/>
                    </a:cubicBezTo>
                    <a:lnTo>
                      <a:pt x="9918" y="176716"/>
                    </a:ln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023" name="Forma livre: Forma 2022">
                <a:extLst>
                  <a:ext uri="{FF2B5EF4-FFF2-40B4-BE49-F238E27FC236}">
                    <a16:creationId xmlns:a16="http://schemas.microsoft.com/office/drawing/2014/main" id="{B668235F-6C78-BC6C-B5C6-3A2F1091EF7A}"/>
                  </a:ext>
                </a:extLst>
              </p:cNvPr>
              <p:cNvSpPr/>
              <p:nvPr/>
            </p:nvSpPr>
            <p:spPr>
              <a:xfrm>
                <a:off x="9452710" y="4253068"/>
                <a:ext cx="105837" cy="1202"/>
              </a:xfrm>
              <a:custGeom>
                <a:avLst/>
                <a:gdLst>
                  <a:gd name="connsiteX0" fmla="*/ 0 w 105837"/>
                  <a:gd name="connsiteY0" fmla="*/ 0 h 1202"/>
                  <a:gd name="connsiteX1" fmla="*/ 105837 w 105837"/>
                  <a:gd name="connsiteY1" fmla="*/ 0 h 12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05837" h="1202">
                    <a:moveTo>
                      <a:pt x="0" y="0"/>
                    </a:moveTo>
                    <a:lnTo>
                      <a:pt x="105837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024" name="Forma livre: Forma 2023">
                <a:extLst>
                  <a:ext uri="{FF2B5EF4-FFF2-40B4-BE49-F238E27FC236}">
                    <a16:creationId xmlns:a16="http://schemas.microsoft.com/office/drawing/2014/main" id="{54C33613-7DC7-F049-C54A-DA09496D3F1C}"/>
                  </a:ext>
                </a:extLst>
              </p:cNvPr>
              <p:cNvSpPr/>
              <p:nvPr/>
            </p:nvSpPr>
            <p:spPr>
              <a:xfrm>
                <a:off x="9474133" y="4253682"/>
                <a:ext cx="1202" cy="117089"/>
              </a:xfrm>
              <a:custGeom>
                <a:avLst/>
                <a:gdLst>
                  <a:gd name="connsiteX0" fmla="*/ 0 w 1202"/>
                  <a:gd name="connsiteY0" fmla="*/ 0 h 117089"/>
                  <a:gd name="connsiteX1" fmla="*/ 0 w 1202"/>
                  <a:gd name="connsiteY1" fmla="*/ 117090 h 1170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02" h="117089">
                    <a:moveTo>
                      <a:pt x="0" y="0"/>
                    </a:moveTo>
                    <a:lnTo>
                      <a:pt x="0" y="11709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025" name="Forma livre: Forma 2024">
                <a:extLst>
                  <a:ext uri="{FF2B5EF4-FFF2-40B4-BE49-F238E27FC236}">
                    <a16:creationId xmlns:a16="http://schemas.microsoft.com/office/drawing/2014/main" id="{0CCACED1-A113-237C-EAE6-F13F24E5189A}"/>
                  </a:ext>
                </a:extLst>
              </p:cNvPr>
              <p:cNvSpPr/>
              <p:nvPr/>
            </p:nvSpPr>
            <p:spPr>
              <a:xfrm>
                <a:off x="9516581" y="4253561"/>
                <a:ext cx="1202" cy="117053"/>
              </a:xfrm>
              <a:custGeom>
                <a:avLst/>
                <a:gdLst>
                  <a:gd name="connsiteX0" fmla="*/ 0 w 1202"/>
                  <a:gd name="connsiteY0" fmla="*/ 0 h 117053"/>
                  <a:gd name="connsiteX1" fmla="*/ 0 w 1202"/>
                  <a:gd name="connsiteY1" fmla="*/ 117054 h 1170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02" h="117053">
                    <a:moveTo>
                      <a:pt x="0" y="0"/>
                    </a:moveTo>
                    <a:lnTo>
                      <a:pt x="0" y="117054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026" name="Forma livre: Forma 2025">
                <a:extLst>
                  <a:ext uri="{FF2B5EF4-FFF2-40B4-BE49-F238E27FC236}">
                    <a16:creationId xmlns:a16="http://schemas.microsoft.com/office/drawing/2014/main" id="{22C6F8A5-73F9-6606-B006-396D6F7C2380}"/>
                  </a:ext>
                </a:extLst>
              </p:cNvPr>
              <p:cNvSpPr/>
              <p:nvPr/>
            </p:nvSpPr>
            <p:spPr>
              <a:xfrm>
                <a:off x="9452710" y="4292439"/>
                <a:ext cx="105837" cy="1202"/>
              </a:xfrm>
              <a:custGeom>
                <a:avLst/>
                <a:gdLst>
                  <a:gd name="connsiteX0" fmla="*/ 0 w 105837"/>
                  <a:gd name="connsiteY0" fmla="*/ 0 h 1202"/>
                  <a:gd name="connsiteX1" fmla="*/ 105837 w 105837"/>
                  <a:gd name="connsiteY1" fmla="*/ 0 h 12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05837" h="1202">
                    <a:moveTo>
                      <a:pt x="0" y="0"/>
                    </a:moveTo>
                    <a:lnTo>
                      <a:pt x="105837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027" name="Forma livre: Forma 2026">
                <a:extLst>
                  <a:ext uri="{FF2B5EF4-FFF2-40B4-BE49-F238E27FC236}">
                    <a16:creationId xmlns:a16="http://schemas.microsoft.com/office/drawing/2014/main" id="{68F3339D-644A-5455-37A5-CBF7994F0B71}"/>
                  </a:ext>
                </a:extLst>
              </p:cNvPr>
              <p:cNvSpPr/>
              <p:nvPr/>
            </p:nvSpPr>
            <p:spPr>
              <a:xfrm>
                <a:off x="9452710" y="4331809"/>
                <a:ext cx="63088" cy="1202"/>
              </a:xfrm>
              <a:custGeom>
                <a:avLst/>
                <a:gdLst>
                  <a:gd name="connsiteX0" fmla="*/ 0 w 63088"/>
                  <a:gd name="connsiteY0" fmla="*/ 0 h 1202"/>
                  <a:gd name="connsiteX1" fmla="*/ 63089 w 63088"/>
                  <a:gd name="connsiteY1" fmla="*/ 0 h 12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3088" h="1202">
                    <a:moveTo>
                      <a:pt x="0" y="0"/>
                    </a:moveTo>
                    <a:lnTo>
                      <a:pt x="63089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2028" name="Gráfico 18">
              <a:extLst>
                <a:ext uri="{FF2B5EF4-FFF2-40B4-BE49-F238E27FC236}">
                  <a16:creationId xmlns:a16="http://schemas.microsoft.com/office/drawing/2014/main" id="{655C5055-BF46-EEA5-7C3E-FFEBC6171B12}"/>
                </a:ext>
              </a:extLst>
            </p:cNvPr>
            <p:cNvGrpSpPr/>
            <p:nvPr/>
          </p:nvGrpSpPr>
          <p:grpSpPr>
            <a:xfrm>
              <a:off x="9293221" y="4100852"/>
              <a:ext cx="203320" cy="270712"/>
              <a:chOff x="9293221" y="4100852"/>
              <a:chExt cx="203320" cy="270712"/>
            </a:xfrm>
            <a:noFill/>
          </p:grpSpPr>
          <p:sp>
            <p:nvSpPr>
              <p:cNvPr id="2029" name="Forma livre: Forma 2028">
                <a:extLst>
                  <a:ext uri="{FF2B5EF4-FFF2-40B4-BE49-F238E27FC236}">
                    <a16:creationId xmlns:a16="http://schemas.microsoft.com/office/drawing/2014/main" id="{D907921D-36E3-53BF-0B8B-0E8CEC137468}"/>
                  </a:ext>
                </a:extLst>
              </p:cNvPr>
              <p:cNvSpPr/>
              <p:nvPr/>
            </p:nvSpPr>
            <p:spPr>
              <a:xfrm>
                <a:off x="9319079" y="4126927"/>
                <a:ext cx="35920" cy="35872"/>
              </a:xfrm>
              <a:custGeom>
                <a:avLst/>
                <a:gdLst>
                  <a:gd name="connsiteX0" fmla="*/ 35920 w 35920"/>
                  <a:gd name="connsiteY0" fmla="*/ 0 h 35872"/>
                  <a:gd name="connsiteX1" fmla="*/ 35920 w 35920"/>
                  <a:gd name="connsiteY1" fmla="*/ 35872 h 35872"/>
                  <a:gd name="connsiteX2" fmla="*/ 0 w 35920"/>
                  <a:gd name="connsiteY2" fmla="*/ 35872 h 358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5920" h="35872">
                    <a:moveTo>
                      <a:pt x="35920" y="0"/>
                    </a:moveTo>
                    <a:lnTo>
                      <a:pt x="35920" y="35872"/>
                    </a:lnTo>
                    <a:lnTo>
                      <a:pt x="0" y="35872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030" name="Forma livre: Forma 2029">
                <a:extLst>
                  <a:ext uri="{FF2B5EF4-FFF2-40B4-BE49-F238E27FC236}">
                    <a16:creationId xmlns:a16="http://schemas.microsoft.com/office/drawing/2014/main" id="{74A9EB7B-9159-5C29-D086-74AA2149AC54}"/>
                  </a:ext>
                </a:extLst>
              </p:cNvPr>
              <p:cNvSpPr/>
              <p:nvPr/>
            </p:nvSpPr>
            <p:spPr>
              <a:xfrm>
                <a:off x="9293221" y="4100852"/>
                <a:ext cx="203320" cy="270712"/>
              </a:xfrm>
              <a:custGeom>
                <a:avLst/>
                <a:gdLst>
                  <a:gd name="connsiteX0" fmla="*/ 111884 w 203320"/>
                  <a:gd name="connsiteY0" fmla="*/ 270713 h 270712"/>
                  <a:gd name="connsiteX1" fmla="*/ 0 w 203320"/>
                  <a:gd name="connsiteY1" fmla="*/ 270713 h 270712"/>
                  <a:gd name="connsiteX2" fmla="*/ 0 w 203320"/>
                  <a:gd name="connsiteY2" fmla="*/ 52522 h 270712"/>
                  <a:gd name="connsiteX3" fmla="*/ 52534 w 203320"/>
                  <a:gd name="connsiteY3" fmla="*/ 0 h 270712"/>
                  <a:gd name="connsiteX4" fmla="*/ 203320 w 203320"/>
                  <a:gd name="connsiteY4" fmla="*/ 0 h 270712"/>
                  <a:gd name="connsiteX5" fmla="*/ 203320 w 203320"/>
                  <a:gd name="connsiteY5" fmla="*/ 69160 h 2707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03320" h="270712">
                    <a:moveTo>
                      <a:pt x="111884" y="270713"/>
                    </a:moveTo>
                    <a:lnTo>
                      <a:pt x="0" y="270713"/>
                    </a:lnTo>
                    <a:lnTo>
                      <a:pt x="0" y="52522"/>
                    </a:lnTo>
                    <a:lnTo>
                      <a:pt x="52534" y="0"/>
                    </a:lnTo>
                    <a:lnTo>
                      <a:pt x="203320" y="0"/>
                    </a:lnTo>
                    <a:lnTo>
                      <a:pt x="203320" y="6916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2031" name="Gráfico 18">
            <a:extLst>
              <a:ext uri="{FF2B5EF4-FFF2-40B4-BE49-F238E27FC236}">
                <a16:creationId xmlns:a16="http://schemas.microsoft.com/office/drawing/2014/main" id="{AC56E427-D8AF-3F01-C2D6-61B7F7934643}"/>
              </a:ext>
            </a:extLst>
          </p:cNvPr>
          <p:cNvGrpSpPr/>
          <p:nvPr/>
        </p:nvGrpSpPr>
        <p:grpSpPr>
          <a:xfrm>
            <a:off x="8670710" y="4100852"/>
            <a:ext cx="282481" cy="270712"/>
            <a:chOff x="8670710" y="4100852"/>
            <a:chExt cx="282481" cy="270712"/>
          </a:xfrm>
          <a:noFill/>
        </p:grpSpPr>
        <p:grpSp>
          <p:nvGrpSpPr>
            <p:cNvPr id="2032" name="Gráfico 18">
              <a:extLst>
                <a:ext uri="{FF2B5EF4-FFF2-40B4-BE49-F238E27FC236}">
                  <a16:creationId xmlns:a16="http://schemas.microsoft.com/office/drawing/2014/main" id="{FF5D4400-AE48-C5A6-CC46-421E057B0B46}"/>
                </a:ext>
              </a:extLst>
            </p:cNvPr>
            <p:cNvGrpSpPr/>
            <p:nvPr/>
          </p:nvGrpSpPr>
          <p:grpSpPr>
            <a:xfrm>
              <a:off x="8670710" y="4100852"/>
              <a:ext cx="203680" cy="270712"/>
              <a:chOff x="8670710" y="4100852"/>
              <a:chExt cx="203680" cy="270712"/>
            </a:xfrm>
            <a:noFill/>
          </p:grpSpPr>
          <p:sp>
            <p:nvSpPr>
              <p:cNvPr id="2033" name="Forma livre: Forma 2032">
                <a:extLst>
                  <a:ext uri="{FF2B5EF4-FFF2-40B4-BE49-F238E27FC236}">
                    <a16:creationId xmlns:a16="http://schemas.microsoft.com/office/drawing/2014/main" id="{5F08A351-7DBB-E4CD-3C19-07F1E0D8521B}"/>
                  </a:ext>
                </a:extLst>
              </p:cNvPr>
              <p:cNvSpPr/>
              <p:nvPr/>
            </p:nvSpPr>
            <p:spPr>
              <a:xfrm>
                <a:off x="8670710" y="4100852"/>
                <a:ext cx="203680" cy="270712"/>
              </a:xfrm>
              <a:custGeom>
                <a:avLst/>
                <a:gdLst>
                  <a:gd name="connsiteX0" fmla="*/ 129640 w 203680"/>
                  <a:gd name="connsiteY0" fmla="*/ 270713 h 270712"/>
                  <a:gd name="connsiteX1" fmla="*/ 0 w 203680"/>
                  <a:gd name="connsiteY1" fmla="*/ 270713 h 270712"/>
                  <a:gd name="connsiteX2" fmla="*/ 0 w 203680"/>
                  <a:gd name="connsiteY2" fmla="*/ 53736 h 270712"/>
                  <a:gd name="connsiteX3" fmla="*/ 53748 w 203680"/>
                  <a:gd name="connsiteY3" fmla="*/ 0 h 270712"/>
                  <a:gd name="connsiteX4" fmla="*/ 203681 w 203680"/>
                  <a:gd name="connsiteY4" fmla="*/ 0 h 270712"/>
                  <a:gd name="connsiteX5" fmla="*/ 203681 w 203680"/>
                  <a:gd name="connsiteY5" fmla="*/ 87974 h 2707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03680" h="270712">
                    <a:moveTo>
                      <a:pt x="129640" y="270713"/>
                    </a:moveTo>
                    <a:lnTo>
                      <a:pt x="0" y="270713"/>
                    </a:lnTo>
                    <a:lnTo>
                      <a:pt x="0" y="53736"/>
                    </a:lnTo>
                    <a:lnTo>
                      <a:pt x="53748" y="0"/>
                    </a:lnTo>
                    <a:lnTo>
                      <a:pt x="203681" y="0"/>
                    </a:lnTo>
                    <a:lnTo>
                      <a:pt x="203681" y="87974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034" name="Forma livre: Forma 2033">
                <a:extLst>
                  <a:ext uri="{FF2B5EF4-FFF2-40B4-BE49-F238E27FC236}">
                    <a16:creationId xmlns:a16="http://schemas.microsoft.com/office/drawing/2014/main" id="{D8B715F9-2D6E-FCCE-D224-A4FB70ED156F}"/>
                  </a:ext>
                </a:extLst>
              </p:cNvPr>
              <p:cNvSpPr/>
              <p:nvPr/>
            </p:nvSpPr>
            <p:spPr>
              <a:xfrm>
                <a:off x="8696472" y="4126830"/>
                <a:ext cx="36749" cy="36701"/>
              </a:xfrm>
              <a:custGeom>
                <a:avLst/>
                <a:gdLst>
                  <a:gd name="connsiteX0" fmla="*/ 36750 w 36749"/>
                  <a:gd name="connsiteY0" fmla="*/ 0 h 36701"/>
                  <a:gd name="connsiteX1" fmla="*/ 36750 w 36749"/>
                  <a:gd name="connsiteY1" fmla="*/ 36702 h 36701"/>
                  <a:gd name="connsiteX2" fmla="*/ 0 w 36749"/>
                  <a:gd name="connsiteY2" fmla="*/ 36702 h 367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6749" h="36701">
                    <a:moveTo>
                      <a:pt x="36750" y="0"/>
                    </a:moveTo>
                    <a:lnTo>
                      <a:pt x="36750" y="36702"/>
                    </a:lnTo>
                    <a:lnTo>
                      <a:pt x="0" y="36702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2035" name="Gráfico 18">
              <a:extLst>
                <a:ext uri="{FF2B5EF4-FFF2-40B4-BE49-F238E27FC236}">
                  <a16:creationId xmlns:a16="http://schemas.microsoft.com/office/drawing/2014/main" id="{390E402F-1BFC-0DD3-5C84-B80B49386864}"/>
                </a:ext>
              </a:extLst>
            </p:cNvPr>
            <p:cNvGrpSpPr/>
            <p:nvPr/>
          </p:nvGrpSpPr>
          <p:grpSpPr>
            <a:xfrm>
              <a:off x="8793955" y="4212352"/>
              <a:ext cx="159237" cy="159213"/>
              <a:chOff x="8793955" y="4212352"/>
              <a:chExt cx="159237" cy="159213"/>
            </a:xfrm>
            <a:noFill/>
          </p:grpSpPr>
          <p:sp>
            <p:nvSpPr>
              <p:cNvPr id="2036" name="Forma livre: Forma 2035">
                <a:extLst>
                  <a:ext uri="{FF2B5EF4-FFF2-40B4-BE49-F238E27FC236}">
                    <a16:creationId xmlns:a16="http://schemas.microsoft.com/office/drawing/2014/main" id="{490302A7-E57D-59EA-915C-1B18DBFBFBF1}"/>
                  </a:ext>
                </a:extLst>
              </p:cNvPr>
              <p:cNvSpPr/>
              <p:nvPr/>
            </p:nvSpPr>
            <p:spPr>
              <a:xfrm>
                <a:off x="8793955" y="4212352"/>
                <a:ext cx="159237" cy="159213"/>
              </a:xfrm>
              <a:custGeom>
                <a:avLst/>
                <a:gdLst>
                  <a:gd name="connsiteX0" fmla="*/ 64736 w 159237"/>
                  <a:gd name="connsiteY0" fmla="*/ 21326 h 159213"/>
                  <a:gd name="connsiteX1" fmla="*/ 49024 w 159237"/>
                  <a:gd name="connsiteY1" fmla="*/ 27818 h 159213"/>
                  <a:gd name="connsiteX2" fmla="*/ 31352 w 159237"/>
                  <a:gd name="connsiteY2" fmla="*/ 15279 h 159213"/>
                  <a:gd name="connsiteX3" fmla="*/ 15291 w 159237"/>
                  <a:gd name="connsiteY3" fmla="*/ 31340 h 159213"/>
                  <a:gd name="connsiteX4" fmla="*/ 27830 w 159237"/>
                  <a:gd name="connsiteY4" fmla="*/ 49012 h 159213"/>
                  <a:gd name="connsiteX5" fmla="*/ 21362 w 159237"/>
                  <a:gd name="connsiteY5" fmla="*/ 64604 h 159213"/>
                  <a:gd name="connsiteX6" fmla="*/ 0 w 159237"/>
                  <a:gd name="connsiteY6" fmla="*/ 68234 h 159213"/>
                  <a:gd name="connsiteX7" fmla="*/ 0 w 159237"/>
                  <a:gd name="connsiteY7" fmla="*/ 90943 h 159213"/>
                  <a:gd name="connsiteX8" fmla="*/ 21374 w 159237"/>
                  <a:gd name="connsiteY8" fmla="*/ 94585 h 159213"/>
                  <a:gd name="connsiteX9" fmla="*/ 27902 w 159237"/>
                  <a:gd name="connsiteY9" fmla="*/ 110285 h 159213"/>
                  <a:gd name="connsiteX10" fmla="*/ 15303 w 159237"/>
                  <a:gd name="connsiteY10" fmla="*/ 127861 h 159213"/>
                  <a:gd name="connsiteX11" fmla="*/ 31364 w 159237"/>
                  <a:gd name="connsiteY11" fmla="*/ 143922 h 159213"/>
                  <a:gd name="connsiteX12" fmla="*/ 48928 w 159237"/>
                  <a:gd name="connsiteY12" fmla="*/ 131311 h 159213"/>
                  <a:gd name="connsiteX13" fmla="*/ 64628 w 159237"/>
                  <a:gd name="connsiteY13" fmla="*/ 137827 h 159213"/>
                  <a:gd name="connsiteX14" fmla="*/ 68270 w 159237"/>
                  <a:gd name="connsiteY14" fmla="*/ 159213 h 159213"/>
                  <a:gd name="connsiteX15" fmla="*/ 90991 w 159237"/>
                  <a:gd name="connsiteY15" fmla="*/ 159213 h 159213"/>
                  <a:gd name="connsiteX16" fmla="*/ 94633 w 159237"/>
                  <a:gd name="connsiteY16" fmla="*/ 137851 h 159213"/>
                  <a:gd name="connsiteX17" fmla="*/ 110334 w 159237"/>
                  <a:gd name="connsiteY17" fmla="*/ 131323 h 159213"/>
                  <a:gd name="connsiteX18" fmla="*/ 127897 w 159237"/>
                  <a:gd name="connsiteY18" fmla="*/ 143934 h 159213"/>
                  <a:gd name="connsiteX19" fmla="*/ 143958 w 159237"/>
                  <a:gd name="connsiteY19" fmla="*/ 127873 h 159213"/>
                  <a:gd name="connsiteX20" fmla="*/ 131347 w 159237"/>
                  <a:gd name="connsiteY20" fmla="*/ 110298 h 159213"/>
                  <a:gd name="connsiteX21" fmla="*/ 137899 w 159237"/>
                  <a:gd name="connsiteY21" fmla="*/ 94465 h 159213"/>
                  <a:gd name="connsiteX22" fmla="*/ 159237 w 159237"/>
                  <a:gd name="connsiteY22" fmla="*/ 90955 h 159213"/>
                  <a:gd name="connsiteX23" fmla="*/ 159237 w 159237"/>
                  <a:gd name="connsiteY23" fmla="*/ 68246 h 159213"/>
                  <a:gd name="connsiteX24" fmla="*/ 137899 w 159237"/>
                  <a:gd name="connsiteY24" fmla="*/ 64748 h 159213"/>
                  <a:gd name="connsiteX25" fmla="*/ 131407 w 159237"/>
                  <a:gd name="connsiteY25" fmla="*/ 49024 h 159213"/>
                  <a:gd name="connsiteX26" fmla="*/ 143946 w 159237"/>
                  <a:gd name="connsiteY26" fmla="*/ 31352 h 159213"/>
                  <a:gd name="connsiteX27" fmla="*/ 127885 w 159237"/>
                  <a:gd name="connsiteY27" fmla="*/ 15291 h 159213"/>
                  <a:gd name="connsiteX28" fmla="*/ 110201 w 159237"/>
                  <a:gd name="connsiteY28" fmla="*/ 27830 h 159213"/>
                  <a:gd name="connsiteX29" fmla="*/ 94477 w 159237"/>
                  <a:gd name="connsiteY29" fmla="*/ 21338 h 159213"/>
                  <a:gd name="connsiteX30" fmla="*/ 90967 w 159237"/>
                  <a:gd name="connsiteY30" fmla="*/ 0 h 159213"/>
                  <a:gd name="connsiteX31" fmla="*/ 68246 w 159237"/>
                  <a:gd name="connsiteY31" fmla="*/ 0 h 1592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</a:cxnLst>
                <a:rect l="l" t="t" r="r" b="b"/>
                <a:pathLst>
                  <a:path w="159237" h="159213">
                    <a:moveTo>
                      <a:pt x="64736" y="21326"/>
                    </a:moveTo>
                    <a:cubicBezTo>
                      <a:pt x="59146" y="22757"/>
                      <a:pt x="53868" y="24957"/>
                      <a:pt x="49024" y="27818"/>
                    </a:cubicBezTo>
                    <a:lnTo>
                      <a:pt x="31352" y="15279"/>
                    </a:lnTo>
                    <a:lnTo>
                      <a:pt x="15291" y="31340"/>
                    </a:lnTo>
                    <a:lnTo>
                      <a:pt x="27830" y="49012"/>
                    </a:lnTo>
                    <a:cubicBezTo>
                      <a:pt x="24981" y="53820"/>
                      <a:pt x="22793" y="59062"/>
                      <a:pt x="21362" y="64604"/>
                    </a:cubicBezTo>
                    <a:lnTo>
                      <a:pt x="0" y="68234"/>
                    </a:lnTo>
                    <a:lnTo>
                      <a:pt x="0" y="90943"/>
                    </a:lnTo>
                    <a:lnTo>
                      <a:pt x="21374" y="94585"/>
                    </a:lnTo>
                    <a:cubicBezTo>
                      <a:pt x="22805" y="100187"/>
                      <a:pt x="25029" y="105453"/>
                      <a:pt x="27902" y="110285"/>
                    </a:cubicBezTo>
                    <a:lnTo>
                      <a:pt x="15303" y="127861"/>
                    </a:lnTo>
                    <a:lnTo>
                      <a:pt x="31364" y="143922"/>
                    </a:lnTo>
                    <a:lnTo>
                      <a:pt x="48928" y="131311"/>
                    </a:lnTo>
                    <a:cubicBezTo>
                      <a:pt x="53772" y="134184"/>
                      <a:pt x="59026" y="136396"/>
                      <a:pt x="64628" y="137827"/>
                    </a:cubicBezTo>
                    <a:lnTo>
                      <a:pt x="68270" y="159213"/>
                    </a:lnTo>
                    <a:lnTo>
                      <a:pt x="90991" y="159213"/>
                    </a:lnTo>
                    <a:lnTo>
                      <a:pt x="94633" y="137851"/>
                    </a:lnTo>
                    <a:cubicBezTo>
                      <a:pt x="100223" y="136408"/>
                      <a:pt x="105501" y="134196"/>
                      <a:pt x="110334" y="131323"/>
                    </a:cubicBezTo>
                    <a:lnTo>
                      <a:pt x="127897" y="143934"/>
                    </a:lnTo>
                    <a:lnTo>
                      <a:pt x="143958" y="127873"/>
                    </a:lnTo>
                    <a:lnTo>
                      <a:pt x="131347" y="110298"/>
                    </a:lnTo>
                    <a:cubicBezTo>
                      <a:pt x="134256" y="105429"/>
                      <a:pt x="136468" y="100103"/>
                      <a:pt x="137899" y="94465"/>
                    </a:cubicBezTo>
                    <a:lnTo>
                      <a:pt x="159237" y="90955"/>
                    </a:lnTo>
                    <a:lnTo>
                      <a:pt x="159237" y="68246"/>
                    </a:lnTo>
                    <a:lnTo>
                      <a:pt x="137899" y="64748"/>
                    </a:lnTo>
                    <a:cubicBezTo>
                      <a:pt x="136480" y="59146"/>
                      <a:pt x="134280" y="53868"/>
                      <a:pt x="131407" y="49024"/>
                    </a:cubicBezTo>
                    <a:lnTo>
                      <a:pt x="143946" y="31352"/>
                    </a:lnTo>
                    <a:lnTo>
                      <a:pt x="127885" y="15291"/>
                    </a:lnTo>
                    <a:lnTo>
                      <a:pt x="110201" y="27830"/>
                    </a:lnTo>
                    <a:cubicBezTo>
                      <a:pt x="105357" y="24957"/>
                      <a:pt x="100079" y="22769"/>
                      <a:pt x="94477" y="21338"/>
                    </a:cubicBezTo>
                    <a:lnTo>
                      <a:pt x="90967" y="0"/>
                    </a:lnTo>
                    <a:lnTo>
                      <a:pt x="68246" y="0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037" name="Forma livre: Forma 2036">
                <a:extLst>
                  <a:ext uri="{FF2B5EF4-FFF2-40B4-BE49-F238E27FC236}">
                    <a16:creationId xmlns:a16="http://schemas.microsoft.com/office/drawing/2014/main" id="{11E46B1E-E002-F2D4-28C8-46BC695D50BF}"/>
                  </a:ext>
                </a:extLst>
              </p:cNvPr>
              <p:cNvSpPr/>
              <p:nvPr/>
            </p:nvSpPr>
            <p:spPr>
              <a:xfrm>
                <a:off x="8850300" y="4268684"/>
                <a:ext cx="46535" cy="46535"/>
              </a:xfrm>
              <a:custGeom>
                <a:avLst/>
                <a:gdLst>
                  <a:gd name="connsiteX0" fmla="*/ 17239 w 46535"/>
                  <a:gd name="connsiteY0" fmla="*/ 793 h 46535"/>
                  <a:gd name="connsiteX1" fmla="*/ 23262 w 46535"/>
                  <a:gd name="connsiteY1" fmla="*/ 0 h 46535"/>
                  <a:gd name="connsiteX2" fmla="*/ 46535 w 46535"/>
                  <a:gd name="connsiteY2" fmla="*/ 23262 h 46535"/>
                  <a:gd name="connsiteX3" fmla="*/ 23262 w 46535"/>
                  <a:gd name="connsiteY3" fmla="*/ 46535 h 46535"/>
                  <a:gd name="connsiteX4" fmla="*/ 0 w 46535"/>
                  <a:gd name="connsiteY4" fmla="*/ 23262 h 46535"/>
                  <a:gd name="connsiteX5" fmla="*/ 878 w 46535"/>
                  <a:gd name="connsiteY5" fmla="*/ 16878 h 465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46535" h="46535">
                    <a:moveTo>
                      <a:pt x="17239" y="793"/>
                    </a:moveTo>
                    <a:cubicBezTo>
                      <a:pt x="19162" y="276"/>
                      <a:pt x="21182" y="0"/>
                      <a:pt x="23262" y="0"/>
                    </a:cubicBezTo>
                    <a:cubicBezTo>
                      <a:pt x="36113" y="0"/>
                      <a:pt x="46535" y="10411"/>
                      <a:pt x="46535" y="23262"/>
                    </a:cubicBezTo>
                    <a:cubicBezTo>
                      <a:pt x="46535" y="36113"/>
                      <a:pt x="36125" y="46535"/>
                      <a:pt x="23262" y="46535"/>
                    </a:cubicBezTo>
                    <a:cubicBezTo>
                      <a:pt x="10399" y="46535"/>
                      <a:pt x="0" y="36125"/>
                      <a:pt x="0" y="23262"/>
                    </a:cubicBezTo>
                    <a:cubicBezTo>
                      <a:pt x="0" y="21050"/>
                      <a:pt x="313" y="18910"/>
                      <a:pt x="878" y="16878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2038" name="Gráfico 18">
            <a:extLst>
              <a:ext uri="{FF2B5EF4-FFF2-40B4-BE49-F238E27FC236}">
                <a16:creationId xmlns:a16="http://schemas.microsoft.com/office/drawing/2014/main" id="{7EA35776-882C-A85C-224F-7D0BCF8B6706}"/>
              </a:ext>
            </a:extLst>
          </p:cNvPr>
          <p:cNvGrpSpPr/>
          <p:nvPr/>
        </p:nvGrpSpPr>
        <p:grpSpPr>
          <a:xfrm>
            <a:off x="8049690" y="5170876"/>
            <a:ext cx="274139" cy="270712"/>
            <a:chOff x="8049690" y="5170876"/>
            <a:chExt cx="274139" cy="270712"/>
          </a:xfrm>
          <a:noFill/>
        </p:grpSpPr>
        <p:grpSp>
          <p:nvGrpSpPr>
            <p:cNvPr id="2039" name="Gráfico 18">
              <a:extLst>
                <a:ext uri="{FF2B5EF4-FFF2-40B4-BE49-F238E27FC236}">
                  <a16:creationId xmlns:a16="http://schemas.microsoft.com/office/drawing/2014/main" id="{B9C60A47-F6F5-A61A-2AD7-5F204A4A3E5C}"/>
                </a:ext>
              </a:extLst>
            </p:cNvPr>
            <p:cNvGrpSpPr/>
            <p:nvPr/>
          </p:nvGrpSpPr>
          <p:grpSpPr>
            <a:xfrm>
              <a:off x="8049690" y="5170876"/>
              <a:ext cx="203320" cy="270712"/>
              <a:chOff x="8049690" y="5170876"/>
              <a:chExt cx="203320" cy="270712"/>
            </a:xfrm>
            <a:noFill/>
          </p:grpSpPr>
          <p:sp>
            <p:nvSpPr>
              <p:cNvPr id="2040" name="Forma livre: Forma 2039">
                <a:extLst>
                  <a:ext uri="{FF2B5EF4-FFF2-40B4-BE49-F238E27FC236}">
                    <a16:creationId xmlns:a16="http://schemas.microsoft.com/office/drawing/2014/main" id="{E0C7B141-FDC8-C109-1E21-7A495B5132E1}"/>
                  </a:ext>
                </a:extLst>
              </p:cNvPr>
              <p:cNvSpPr/>
              <p:nvPr/>
            </p:nvSpPr>
            <p:spPr>
              <a:xfrm>
                <a:off x="8075549" y="5196951"/>
                <a:ext cx="35920" cy="35872"/>
              </a:xfrm>
              <a:custGeom>
                <a:avLst/>
                <a:gdLst>
                  <a:gd name="connsiteX0" fmla="*/ 35920 w 35920"/>
                  <a:gd name="connsiteY0" fmla="*/ 0 h 35872"/>
                  <a:gd name="connsiteX1" fmla="*/ 35920 w 35920"/>
                  <a:gd name="connsiteY1" fmla="*/ 35872 h 35872"/>
                  <a:gd name="connsiteX2" fmla="*/ 0 w 35920"/>
                  <a:gd name="connsiteY2" fmla="*/ 35872 h 358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5920" h="35872">
                    <a:moveTo>
                      <a:pt x="35920" y="0"/>
                    </a:moveTo>
                    <a:lnTo>
                      <a:pt x="35920" y="35872"/>
                    </a:lnTo>
                    <a:lnTo>
                      <a:pt x="0" y="35872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041" name="Forma livre: Forma 2040">
                <a:extLst>
                  <a:ext uri="{FF2B5EF4-FFF2-40B4-BE49-F238E27FC236}">
                    <a16:creationId xmlns:a16="http://schemas.microsoft.com/office/drawing/2014/main" id="{58C64C95-1015-4320-C39C-B7B3FDB77437}"/>
                  </a:ext>
                </a:extLst>
              </p:cNvPr>
              <p:cNvSpPr/>
              <p:nvPr/>
            </p:nvSpPr>
            <p:spPr>
              <a:xfrm>
                <a:off x="8049690" y="5170876"/>
                <a:ext cx="203320" cy="270712"/>
              </a:xfrm>
              <a:custGeom>
                <a:avLst/>
                <a:gdLst>
                  <a:gd name="connsiteX0" fmla="*/ 148310 w 203320"/>
                  <a:gd name="connsiteY0" fmla="*/ 270713 h 270712"/>
                  <a:gd name="connsiteX1" fmla="*/ 0 w 203320"/>
                  <a:gd name="connsiteY1" fmla="*/ 270713 h 270712"/>
                  <a:gd name="connsiteX2" fmla="*/ 0 w 203320"/>
                  <a:gd name="connsiteY2" fmla="*/ 52522 h 270712"/>
                  <a:gd name="connsiteX3" fmla="*/ 52534 w 203320"/>
                  <a:gd name="connsiteY3" fmla="*/ 0 h 270712"/>
                  <a:gd name="connsiteX4" fmla="*/ 203320 w 203320"/>
                  <a:gd name="connsiteY4" fmla="*/ 0 h 270712"/>
                  <a:gd name="connsiteX5" fmla="*/ 203320 w 203320"/>
                  <a:gd name="connsiteY5" fmla="*/ 67453 h 2707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03320" h="270712">
                    <a:moveTo>
                      <a:pt x="148310" y="270713"/>
                    </a:moveTo>
                    <a:lnTo>
                      <a:pt x="0" y="270713"/>
                    </a:lnTo>
                    <a:lnTo>
                      <a:pt x="0" y="52522"/>
                    </a:lnTo>
                    <a:lnTo>
                      <a:pt x="52534" y="0"/>
                    </a:lnTo>
                    <a:lnTo>
                      <a:pt x="203320" y="0"/>
                    </a:lnTo>
                    <a:lnTo>
                      <a:pt x="203320" y="67453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2042" name="Gráfico 18">
              <a:extLst>
                <a:ext uri="{FF2B5EF4-FFF2-40B4-BE49-F238E27FC236}">
                  <a16:creationId xmlns:a16="http://schemas.microsoft.com/office/drawing/2014/main" id="{5696A6E1-7F06-0612-8581-CB82DA0F08E8}"/>
                </a:ext>
              </a:extLst>
            </p:cNvPr>
            <p:cNvGrpSpPr/>
            <p:nvPr/>
          </p:nvGrpSpPr>
          <p:grpSpPr>
            <a:xfrm>
              <a:off x="8182037" y="5263502"/>
              <a:ext cx="141792" cy="178086"/>
              <a:chOff x="8182037" y="5263502"/>
              <a:chExt cx="141792" cy="178086"/>
            </a:xfrm>
            <a:noFill/>
          </p:grpSpPr>
          <p:sp>
            <p:nvSpPr>
              <p:cNvPr id="2043" name="Forma livre: Forma 2042">
                <a:extLst>
                  <a:ext uri="{FF2B5EF4-FFF2-40B4-BE49-F238E27FC236}">
                    <a16:creationId xmlns:a16="http://schemas.microsoft.com/office/drawing/2014/main" id="{30441E81-3A87-DFBE-0D1F-4DD674F35370}"/>
                  </a:ext>
                </a:extLst>
              </p:cNvPr>
              <p:cNvSpPr/>
              <p:nvPr/>
            </p:nvSpPr>
            <p:spPr>
              <a:xfrm>
                <a:off x="8182037" y="5263502"/>
                <a:ext cx="141792" cy="178086"/>
              </a:xfrm>
              <a:custGeom>
                <a:avLst/>
                <a:gdLst>
                  <a:gd name="connsiteX0" fmla="*/ 141744 w 141792"/>
                  <a:gd name="connsiteY0" fmla="*/ 84728 h 178086"/>
                  <a:gd name="connsiteX1" fmla="*/ 141720 w 141792"/>
                  <a:gd name="connsiteY1" fmla="*/ 29537 h 178086"/>
                  <a:gd name="connsiteX2" fmla="*/ 71153 w 141792"/>
                  <a:gd name="connsiteY2" fmla="*/ 0 h 178086"/>
                  <a:gd name="connsiteX3" fmla="*/ 46 w 141792"/>
                  <a:gd name="connsiteY3" fmla="*/ 28984 h 178086"/>
                  <a:gd name="connsiteX4" fmla="*/ 70 w 141792"/>
                  <a:gd name="connsiteY4" fmla="*/ 84187 h 178086"/>
                  <a:gd name="connsiteX5" fmla="*/ 70468 w 141792"/>
                  <a:gd name="connsiteY5" fmla="*/ 178087 h 178086"/>
                  <a:gd name="connsiteX6" fmla="*/ 141744 w 141792"/>
                  <a:gd name="connsiteY6" fmla="*/ 84728 h 1780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41792" h="178086">
                    <a:moveTo>
                      <a:pt x="141744" y="84728"/>
                    </a:moveTo>
                    <a:lnTo>
                      <a:pt x="141720" y="29537"/>
                    </a:lnTo>
                    <a:cubicBezTo>
                      <a:pt x="83211" y="29308"/>
                      <a:pt x="71153" y="0"/>
                      <a:pt x="71153" y="0"/>
                    </a:cubicBezTo>
                    <a:cubicBezTo>
                      <a:pt x="71153" y="0"/>
                      <a:pt x="58555" y="29212"/>
                      <a:pt x="46" y="28984"/>
                    </a:cubicBezTo>
                    <a:lnTo>
                      <a:pt x="70" y="84187"/>
                    </a:lnTo>
                    <a:cubicBezTo>
                      <a:pt x="70" y="84187"/>
                      <a:pt x="-4967" y="143802"/>
                      <a:pt x="70468" y="178087"/>
                    </a:cubicBezTo>
                    <a:cubicBezTo>
                      <a:pt x="146167" y="144379"/>
                      <a:pt x="141744" y="84728"/>
                      <a:pt x="141744" y="84728"/>
                    </a:cubicBezTo>
                    <a:close/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044" name="Forma livre: Forma 2043">
                <a:extLst>
                  <a:ext uri="{FF2B5EF4-FFF2-40B4-BE49-F238E27FC236}">
                    <a16:creationId xmlns:a16="http://schemas.microsoft.com/office/drawing/2014/main" id="{92D5D0D3-4170-0D3E-1AA3-421FA6C9F736}"/>
                  </a:ext>
                </a:extLst>
              </p:cNvPr>
              <p:cNvSpPr/>
              <p:nvPr/>
            </p:nvSpPr>
            <p:spPr>
              <a:xfrm>
                <a:off x="8221237" y="5328009"/>
                <a:ext cx="63401" cy="52329"/>
              </a:xfrm>
              <a:custGeom>
                <a:avLst/>
                <a:gdLst>
                  <a:gd name="connsiteX0" fmla="*/ 0 w 63401"/>
                  <a:gd name="connsiteY0" fmla="*/ 26760 h 52329"/>
                  <a:gd name="connsiteX1" fmla="*/ 25377 w 63401"/>
                  <a:gd name="connsiteY1" fmla="*/ 52330 h 52329"/>
                  <a:gd name="connsiteX2" fmla="*/ 63402 w 63401"/>
                  <a:gd name="connsiteY2" fmla="*/ 0 h 523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63401" h="52329">
                    <a:moveTo>
                      <a:pt x="0" y="26760"/>
                    </a:moveTo>
                    <a:lnTo>
                      <a:pt x="25377" y="52330"/>
                    </a:lnTo>
                    <a:lnTo>
                      <a:pt x="63402" y="0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2045" name="Gráfico 18">
            <a:extLst>
              <a:ext uri="{FF2B5EF4-FFF2-40B4-BE49-F238E27FC236}">
                <a16:creationId xmlns:a16="http://schemas.microsoft.com/office/drawing/2014/main" id="{DC2CBDEA-56BD-5348-A24C-0A1B444B2288}"/>
              </a:ext>
            </a:extLst>
          </p:cNvPr>
          <p:cNvGrpSpPr/>
          <p:nvPr/>
        </p:nvGrpSpPr>
        <p:grpSpPr>
          <a:xfrm>
            <a:off x="9293221" y="5170864"/>
            <a:ext cx="269798" cy="270724"/>
            <a:chOff x="9293221" y="5170864"/>
            <a:chExt cx="269798" cy="270724"/>
          </a:xfrm>
        </p:grpSpPr>
        <p:sp>
          <p:nvSpPr>
            <p:cNvPr id="2046" name="Forma livre: Forma 2045">
              <a:extLst>
                <a:ext uri="{FF2B5EF4-FFF2-40B4-BE49-F238E27FC236}">
                  <a16:creationId xmlns:a16="http://schemas.microsoft.com/office/drawing/2014/main" id="{1EB3B27D-EE9A-4FA5-8D56-7697E3B71C7D}"/>
                </a:ext>
              </a:extLst>
            </p:cNvPr>
            <p:cNvSpPr/>
            <p:nvPr/>
          </p:nvSpPr>
          <p:spPr>
            <a:xfrm>
              <a:off x="9465802" y="5350598"/>
              <a:ext cx="61321" cy="44527"/>
            </a:xfrm>
            <a:custGeom>
              <a:avLst/>
              <a:gdLst>
                <a:gd name="connsiteX0" fmla="*/ 0 w 61321"/>
                <a:gd name="connsiteY0" fmla="*/ 22685 h 44527"/>
                <a:gd name="connsiteX1" fmla="*/ 26880 w 61321"/>
                <a:gd name="connsiteY1" fmla="*/ 44528 h 44527"/>
                <a:gd name="connsiteX2" fmla="*/ 61322 w 61321"/>
                <a:gd name="connsiteY2" fmla="*/ 0 h 445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1321" h="44527">
                  <a:moveTo>
                    <a:pt x="0" y="22685"/>
                  </a:moveTo>
                  <a:lnTo>
                    <a:pt x="26880" y="44528"/>
                  </a:lnTo>
                  <a:lnTo>
                    <a:pt x="61322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2047" name="Gráfico 18">
              <a:extLst>
                <a:ext uri="{FF2B5EF4-FFF2-40B4-BE49-F238E27FC236}">
                  <a16:creationId xmlns:a16="http://schemas.microsoft.com/office/drawing/2014/main" id="{BE818EA6-B745-762C-9323-E7784DE27AF8}"/>
                </a:ext>
              </a:extLst>
            </p:cNvPr>
            <p:cNvGrpSpPr/>
            <p:nvPr/>
          </p:nvGrpSpPr>
          <p:grpSpPr>
            <a:xfrm>
              <a:off x="9319091" y="5196927"/>
              <a:ext cx="243928" cy="244662"/>
              <a:chOff x="9319091" y="5196927"/>
              <a:chExt cx="243928" cy="244662"/>
            </a:xfrm>
            <a:noFill/>
          </p:grpSpPr>
          <p:sp>
            <p:nvSpPr>
              <p:cNvPr id="2048" name="Forma livre: Forma 2047">
                <a:extLst>
                  <a:ext uri="{FF2B5EF4-FFF2-40B4-BE49-F238E27FC236}">
                    <a16:creationId xmlns:a16="http://schemas.microsoft.com/office/drawing/2014/main" id="{CBB3A7F8-95C2-C331-A533-8FF52B6C4D56}"/>
                  </a:ext>
                </a:extLst>
              </p:cNvPr>
              <p:cNvSpPr/>
              <p:nvPr/>
            </p:nvSpPr>
            <p:spPr>
              <a:xfrm>
                <a:off x="9319091" y="5196927"/>
                <a:ext cx="35908" cy="35884"/>
              </a:xfrm>
              <a:custGeom>
                <a:avLst/>
                <a:gdLst>
                  <a:gd name="connsiteX0" fmla="*/ 35908 w 35908"/>
                  <a:gd name="connsiteY0" fmla="*/ 0 h 35884"/>
                  <a:gd name="connsiteX1" fmla="*/ 35908 w 35908"/>
                  <a:gd name="connsiteY1" fmla="*/ 35884 h 35884"/>
                  <a:gd name="connsiteX2" fmla="*/ 0 w 35908"/>
                  <a:gd name="connsiteY2" fmla="*/ 35884 h 358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5908" h="35884">
                    <a:moveTo>
                      <a:pt x="35908" y="0"/>
                    </a:moveTo>
                    <a:lnTo>
                      <a:pt x="35908" y="35884"/>
                    </a:lnTo>
                    <a:lnTo>
                      <a:pt x="0" y="35884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049" name="Forma livre: Forma 2048">
                <a:extLst>
                  <a:ext uri="{FF2B5EF4-FFF2-40B4-BE49-F238E27FC236}">
                    <a16:creationId xmlns:a16="http://schemas.microsoft.com/office/drawing/2014/main" id="{D4F56DA3-1F60-7F0D-221A-F97902AA3D82}"/>
                  </a:ext>
                </a:extLst>
              </p:cNvPr>
              <p:cNvSpPr/>
              <p:nvPr/>
            </p:nvSpPr>
            <p:spPr>
              <a:xfrm>
                <a:off x="9430831" y="5309400"/>
                <a:ext cx="132188" cy="132188"/>
              </a:xfrm>
              <a:custGeom>
                <a:avLst/>
                <a:gdLst>
                  <a:gd name="connsiteX0" fmla="*/ 132189 w 132188"/>
                  <a:gd name="connsiteY0" fmla="*/ 66094 h 132188"/>
                  <a:gd name="connsiteX1" fmla="*/ 66094 w 132188"/>
                  <a:gd name="connsiteY1" fmla="*/ 132189 h 132188"/>
                  <a:gd name="connsiteX2" fmla="*/ 0 w 132188"/>
                  <a:gd name="connsiteY2" fmla="*/ 66094 h 132188"/>
                  <a:gd name="connsiteX3" fmla="*/ 66094 w 132188"/>
                  <a:gd name="connsiteY3" fmla="*/ 0 h 132188"/>
                  <a:gd name="connsiteX4" fmla="*/ 132189 w 132188"/>
                  <a:gd name="connsiteY4" fmla="*/ 66094 h 1321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32188" h="132188">
                    <a:moveTo>
                      <a:pt x="132189" y="66094"/>
                    </a:moveTo>
                    <a:cubicBezTo>
                      <a:pt x="132189" y="102597"/>
                      <a:pt x="102597" y="132189"/>
                      <a:pt x="66094" y="132189"/>
                    </a:cubicBezTo>
                    <a:cubicBezTo>
                      <a:pt x="29591" y="132189"/>
                      <a:pt x="0" y="102597"/>
                      <a:pt x="0" y="66094"/>
                    </a:cubicBezTo>
                    <a:cubicBezTo>
                      <a:pt x="0" y="29591"/>
                      <a:pt x="29591" y="0"/>
                      <a:pt x="66094" y="0"/>
                    </a:cubicBezTo>
                    <a:cubicBezTo>
                      <a:pt x="102597" y="0"/>
                      <a:pt x="132189" y="29591"/>
                      <a:pt x="132189" y="66094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2050" name="Gráfico 18">
              <a:extLst>
                <a:ext uri="{FF2B5EF4-FFF2-40B4-BE49-F238E27FC236}">
                  <a16:creationId xmlns:a16="http://schemas.microsoft.com/office/drawing/2014/main" id="{1EE2784B-05B3-5EBC-03E9-523A223B466C}"/>
                </a:ext>
              </a:extLst>
            </p:cNvPr>
            <p:cNvGrpSpPr/>
            <p:nvPr/>
          </p:nvGrpSpPr>
          <p:grpSpPr>
            <a:xfrm>
              <a:off x="9333276" y="5379245"/>
              <a:ext cx="74401" cy="4111"/>
              <a:chOff x="9333276" y="5379245"/>
              <a:chExt cx="74401" cy="4111"/>
            </a:xfrm>
            <a:solidFill>
              <a:srgbClr val="394553"/>
            </a:solidFill>
          </p:grpSpPr>
          <p:sp>
            <p:nvSpPr>
              <p:cNvPr id="2051" name="Forma livre: Forma 2050">
                <a:extLst>
                  <a:ext uri="{FF2B5EF4-FFF2-40B4-BE49-F238E27FC236}">
                    <a16:creationId xmlns:a16="http://schemas.microsoft.com/office/drawing/2014/main" id="{AEED3AC9-4FCA-6B50-9B63-C61E6D844746}"/>
                  </a:ext>
                </a:extLst>
              </p:cNvPr>
              <p:cNvSpPr/>
              <p:nvPr/>
            </p:nvSpPr>
            <p:spPr>
              <a:xfrm>
                <a:off x="9333276" y="5379245"/>
                <a:ext cx="4111" cy="4111"/>
              </a:xfrm>
              <a:custGeom>
                <a:avLst/>
                <a:gdLst>
                  <a:gd name="connsiteX0" fmla="*/ 0 w 4111"/>
                  <a:gd name="connsiteY0" fmla="*/ 0 h 4111"/>
                  <a:gd name="connsiteX1" fmla="*/ 4111 w 4111"/>
                  <a:gd name="connsiteY1" fmla="*/ 0 h 4111"/>
                  <a:gd name="connsiteX2" fmla="*/ 4111 w 4111"/>
                  <a:gd name="connsiteY2" fmla="*/ 4111 h 4111"/>
                  <a:gd name="connsiteX3" fmla="*/ 0 w 4111"/>
                  <a:gd name="connsiteY3" fmla="*/ 4111 h 41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11" h="4111">
                    <a:moveTo>
                      <a:pt x="0" y="0"/>
                    </a:moveTo>
                    <a:lnTo>
                      <a:pt x="4111" y="0"/>
                    </a:lnTo>
                    <a:lnTo>
                      <a:pt x="4111" y="4111"/>
                    </a:lnTo>
                    <a:lnTo>
                      <a:pt x="0" y="4111"/>
                    </a:ln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052" name="Forma livre: Forma 2051">
                <a:extLst>
                  <a:ext uri="{FF2B5EF4-FFF2-40B4-BE49-F238E27FC236}">
                    <a16:creationId xmlns:a16="http://schemas.microsoft.com/office/drawing/2014/main" id="{257833BC-8DAE-F22A-1DD9-D8464BEBE71E}"/>
                  </a:ext>
                </a:extLst>
              </p:cNvPr>
              <p:cNvSpPr/>
              <p:nvPr/>
            </p:nvSpPr>
            <p:spPr>
              <a:xfrm>
                <a:off x="9360950" y="5381313"/>
                <a:ext cx="46727" cy="1202"/>
              </a:xfrm>
              <a:custGeom>
                <a:avLst/>
                <a:gdLst>
                  <a:gd name="connsiteX0" fmla="*/ 0 w 46727"/>
                  <a:gd name="connsiteY0" fmla="*/ 0 h 1202"/>
                  <a:gd name="connsiteX1" fmla="*/ 46728 w 46727"/>
                  <a:gd name="connsiteY1" fmla="*/ 0 h 12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6727" h="1202">
                    <a:moveTo>
                      <a:pt x="0" y="0"/>
                    </a:moveTo>
                    <a:lnTo>
                      <a:pt x="46728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2053" name="Gráfico 18">
              <a:extLst>
                <a:ext uri="{FF2B5EF4-FFF2-40B4-BE49-F238E27FC236}">
                  <a16:creationId xmlns:a16="http://schemas.microsoft.com/office/drawing/2014/main" id="{E5FBE74F-5071-3C0B-B34D-FF76A4112423}"/>
                </a:ext>
              </a:extLst>
            </p:cNvPr>
            <p:cNvGrpSpPr/>
            <p:nvPr/>
          </p:nvGrpSpPr>
          <p:grpSpPr>
            <a:xfrm>
              <a:off x="9333276" y="5340824"/>
              <a:ext cx="79570" cy="4111"/>
              <a:chOff x="9333276" y="5340824"/>
              <a:chExt cx="79570" cy="4111"/>
            </a:xfrm>
            <a:solidFill>
              <a:srgbClr val="394553"/>
            </a:solidFill>
          </p:grpSpPr>
          <p:sp>
            <p:nvSpPr>
              <p:cNvPr id="2054" name="Forma livre: Forma 2053">
                <a:extLst>
                  <a:ext uri="{FF2B5EF4-FFF2-40B4-BE49-F238E27FC236}">
                    <a16:creationId xmlns:a16="http://schemas.microsoft.com/office/drawing/2014/main" id="{158898C8-5014-FF72-F84D-3BA2A4D5AE73}"/>
                  </a:ext>
                </a:extLst>
              </p:cNvPr>
              <p:cNvSpPr/>
              <p:nvPr/>
            </p:nvSpPr>
            <p:spPr>
              <a:xfrm>
                <a:off x="9333276" y="5340824"/>
                <a:ext cx="4111" cy="4111"/>
              </a:xfrm>
              <a:custGeom>
                <a:avLst/>
                <a:gdLst>
                  <a:gd name="connsiteX0" fmla="*/ 0 w 4111"/>
                  <a:gd name="connsiteY0" fmla="*/ 0 h 4111"/>
                  <a:gd name="connsiteX1" fmla="*/ 4111 w 4111"/>
                  <a:gd name="connsiteY1" fmla="*/ 0 h 4111"/>
                  <a:gd name="connsiteX2" fmla="*/ 4111 w 4111"/>
                  <a:gd name="connsiteY2" fmla="*/ 4111 h 4111"/>
                  <a:gd name="connsiteX3" fmla="*/ 0 w 4111"/>
                  <a:gd name="connsiteY3" fmla="*/ 4111 h 41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11" h="4111">
                    <a:moveTo>
                      <a:pt x="0" y="0"/>
                    </a:moveTo>
                    <a:lnTo>
                      <a:pt x="4111" y="0"/>
                    </a:lnTo>
                    <a:lnTo>
                      <a:pt x="4111" y="4111"/>
                    </a:lnTo>
                    <a:lnTo>
                      <a:pt x="0" y="4111"/>
                    </a:ln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055" name="Forma livre: Forma 2054">
                <a:extLst>
                  <a:ext uri="{FF2B5EF4-FFF2-40B4-BE49-F238E27FC236}">
                    <a16:creationId xmlns:a16="http://schemas.microsoft.com/office/drawing/2014/main" id="{B6DA66B3-C416-7706-ABDF-96BE98FE68C5}"/>
                  </a:ext>
                </a:extLst>
              </p:cNvPr>
              <p:cNvSpPr/>
              <p:nvPr/>
            </p:nvSpPr>
            <p:spPr>
              <a:xfrm>
                <a:off x="9360950" y="5342880"/>
                <a:ext cx="51896" cy="1202"/>
              </a:xfrm>
              <a:custGeom>
                <a:avLst/>
                <a:gdLst>
                  <a:gd name="connsiteX0" fmla="*/ 0 w 51896"/>
                  <a:gd name="connsiteY0" fmla="*/ 0 h 1202"/>
                  <a:gd name="connsiteX1" fmla="*/ 51897 w 51896"/>
                  <a:gd name="connsiteY1" fmla="*/ 0 h 12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1896" h="1202">
                    <a:moveTo>
                      <a:pt x="0" y="0"/>
                    </a:moveTo>
                    <a:lnTo>
                      <a:pt x="51897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2056" name="Forma livre: Forma 2055">
              <a:extLst>
                <a:ext uri="{FF2B5EF4-FFF2-40B4-BE49-F238E27FC236}">
                  <a16:creationId xmlns:a16="http://schemas.microsoft.com/office/drawing/2014/main" id="{18E8F84F-C1AA-BA47-C597-FA4C10AD72CC}"/>
                </a:ext>
              </a:extLst>
            </p:cNvPr>
            <p:cNvSpPr/>
            <p:nvPr/>
          </p:nvSpPr>
          <p:spPr>
            <a:xfrm>
              <a:off x="9293221" y="5170864"/>
              <a:ext cx="203332" cy="270700"/>
            </a:xfrm>
            <a:custGeom>
              <a:avLst/>
              <a:gdLst>
                <a:gd name="connsiteX0" fmla="*/ 203332 w 203332"/>
                <a:gd name="connsiteY0" fmla="*/ 115455 h 270700"/>
                <a:gd name="connsiteX1" fmla="*/ 203332 w 203332"/>
                <a:gd name="connsiteY1" fmla="*/ 0 h 270700"/>
                <a:gd name="connsiteX2" fmla="*/ 52546 w 203332"/>
                <a:gd name="connsiteY2" fmla="*/ 0 h 270700"/>
                <a:gd name="connsiteX3" fmla="*/ 0 w 203332"/>
                <a:gd name="connsiteY3" fmla="*/ 52510 h 270700"/>
                <a:gd name="connsiteX4" fmla="*/ 0 w 203332"/>
                <a:gd name="connsiteY4" fmla="*/ 270701 h 270700"/>
                <a:gd name="connsiteX5" fmla="*/ 141758 w 203332"/>
                <a:gd name="connsiteY5" fmla="*/ 270701 h 2707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3332" h="270700">
                  <a:moveTo>
                    <a:pt x="203332" y="115455"/>
                  </a:moveTo>
                  <a:lnTo>
                    <a:pt x="203332" y="0"/>
                  </a:lnTo>
                  <a:lnTo>
                    <a:pt x="52546" y="0"/>
                  </a:lnTo>
                  <a:lnTo>
                    <a:pt x="0" y="52510"/>
                  </a:lnTo>
                  <a:lnTo>
                    <a:pt x="0" y="270701"/>
                  </a:lnTo>
                  <a:lnTo>
                    <a:pt x="141758" y="270701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2057" name="Gráfico 18">
              <a:extLst>
                <a:ext uri="{FF2B5EF4-FFF2-40B4-BE49-F238E27FC236}">
                  <a16:creationId xmlns:a16="http://schemas.microsoft.com/office/drawing/2014/main" id="{6FF270D4-A802-CDD7-FA04-5ED1ACB333F2}"/>
                </a:ext>
              </a:extLst>
            </p:cNvPr>
            <p:cNvGrpSpPr/>
            <p:nvPr/>
          </p:nvGrpSpPr>
          <p:grpSpPr>
            <a:xfrm>
              <a:off x="9333276" y="5302403"/>
              <a:ext cx="103132" cy="4111"/>
              <a:chOff x="9333276" y="5302403"/>
              <a:chExt cx="103132" cy="4111"/>
            </a:xfrm>
            <a:solidFill>
              <a:srgbClr val="394553"/>
            </a:solidFill>
          </p:grpSpPr>
          <p:sp>
            <p:nvSpPr>
              <p:cNvPr id="2058" name="Forma livre: Forma 2057">
                <a:extLst>
                  <a:ext uri="{FF2B5EF4-FFF2-40B4-BE49-F238E27FC236}">
                    <a16:creationId xmlns:a16="http://schemas.microsoft.com/office/drawing/2014/main" id="{B619DC8C-5FD7-F11D-37CF-0366BE5CC961}"/>
                  </a:ext>
                </a:extLst>
              </p:cNvPr>
              <p:cNvSpPr/>
              <p:nvPr/>
            </p:nvSpPr>
            <p:spPr>
              <a:xfrm>
                <a:off x="9333276" y="5302403"/>
                <a:ext cx="4111" cy="4111"/>
              </a:xfrm>
              <a:custGeom>
                <a:avLst/>
                <a:gdLst>
                  <a:gd name="connsiteX0" fmla="*/ 0 w 4111"/>
                  <a:gd name="connsiteY0" fmla="*/ 0 h 4111"/>
                  <a:gd name="connsiteX1" fmla="*/ 4111 w 4111"/>
                  <a:gd name="connsiteY1" fmla="*/ 0 h 4111"/>
                  <a:gd name="connsiteX2" fmla="*/ 4111 w 4111"/>
                  <a:gd name="connsiteY2" fmla="*/ 4111 h 4111"/>
                  <a:gd name="connsiteX3" fmla="*/ 0 w 4111"/>
                  <a:gd name="connsiteY3" fmla="*/ 4111 h 41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11" h="4111">
                    <a:moveTo>
                      <a:pt x="0" y="0"/>
                    </a:moveTo>
                    <a:lnTo>
                      <a:pt x="4111" y="0"/>
                    </a:lnTo>
                    <a:lnTo>
                      <a:pt x="4111" y="4111"/>
                    </a:lnTo>
                    <a:lnTo>
                      <a:pt x="0" y="4111"/>
                    </a:ln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059" name="Forma livre: Forma 2058">
                <a:extLst>
                  <a:ext uri="{FF2B5EF4-FFF2-40B4-BE49-F238E27FC236}">
                    <a16:creationId xmlns:a16="http://schemas.microsoft.com/office/drawing/2014/main" id="{BE95929D-B20B-5D61-5098-AA4092D8502D}"/>
                  </a:ext>
                </a:extLst>
              </p:cNvPr>
              <p:cNvSpPr/>
              <p:nvPr/>
            </p:nvSpPr>
            <p:spPr>
              <a:xfrm>
                <a:off x="9360950" y="5304459"/>
                <a:ext cx="75459" cy="1202"/>
              </a:xfrm>
              <a:custGeom>
                <a:avLst/>
                <a:gdLst>
                  <a:gd name="connsiteX0" fmla="*/ 0 w 75459"/>
                  <a:gd name="connsiteY0" fmla="*/ 0 h 1202"/>
                  <a:gd name="connsiteX1" fmla="*/ 75459 w 75459"/>
                  <a:gd name="connsiteY1" fmla="*/ 0 h 12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75459" h="1202">
                    <a:moveTo>
                      <a:pt x="0" y="0"/>
                    </a:moveTo>
                    <a:lnTo>
                      <a:pt x="75459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2060" name="Gráfico 18">
            <a:extLst>
              <a:ext uri="{FF2B5EF4-FFF2-40B4-BE49-F238E27FC236}">
                <a16:creationId xmlns:a16="http://schemas.microsoft.com/office/drawing/2014/main" id="{F29BB062-DE01-3F11-5E50-8318BE25375A}"/>
              </a:ext>
            </a:extLst>
          </p:cNvPr>
          <p:cNvGrpSpPr/>
          <p:nvPr/>
        </p:nvGrpSpPr>
        <p:grpSpPr>
          <a:xfrm>
            <a:off x="8670710" y="5170876"/>
            <a:ext cx="291814" cy="270712"/>
            <a:chOff x="8670710" y="5170876"/>
            <a:chExt cx="291814" cy="270712"/>
          </a:xfrm>
          <a:noFill/>
        </p:grpSpPr>
        <p:grpSp>
          <p:nvGrpSpPr>
            <p:cNvPr id="2061" name="Gráfico 18">
              <a:extLst>
                <a:ext uri="{FF2B5EF4-FFF2-40B4-BE49-F238E27FC236}">
                  <a16:creationId xmlns:a16="http://schemas.microsoft.com/office/drawing/2014/main" id="{5179C7B9-6156-955F-BCEE-CD820DDDC72B}"/>
                </a:ext>
              </a:extLst>
            </p:cNvPr>
            <p:cNvGrpSpPr/>
            <p:nvPr/>
          </p:nvGrpSpPr>
          <p:grpSpPr>
            <a:xfrm>
              <a:off x="8670710" y="5170876"/>
              <a:ext cx="203331" cy="270712"/>
              <a:chOff x="8670710" y="5170876"/>
              <a:chExt cx="203331" cy="270712"/>
            </a:xfrm>
            <a:noFill/>
          </p:grpSpPr>
          <p:sp>
            <p:nvSpPr>
              <p:cNvPr id="2062" name="Forma livre: Forma 2061">
                <a:extLst>
                  <a:ext uri="{FF2B5EF4-FFF2-40B4-BE49-F238E27FC236}">
                    <a16:creationId xmlns:a16="http://schemas.microsoft.com/office/drawing/2014/main" id="{7E8D1086-1E05-F621-9916-2061DE7C1277}"/>
                  </a:ext>
                </a:extLst>
              </p:cNvPr>
              <p:cNvSpPr/>
              <p:nvPr/>
            </p:nvSpPr>
            <p:spPr>
              <a:xfrm>
                <a:off x="8696580" y="5196951"/>
                <a:ext cx="35908" cy="35872"/>
              </a:xfrm>
              <a:custGeom>
                <a:avLst/>
                <a:gdLst>
                  <a:gd name="connsiteX0" fmla="*/ 35908 w 35908"/>
                  <a:gd name="connsiteY0" fmla="*/ 0 h 35872"/>
                  <a:gd name="connsiteX1" fmla="*/ 35908 w 35908"/>
                  <a:gd name="connsiteY1" fmla="*/ 35872 h 35872"/>
                  <a:gd name="connsiteX2" fmla="*/ 0 w 35908"/>
                  <a:gd name="connsiteY2" fmla="*/ 35872 h 358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5908" h="35872">
                    <a:moveTo>
                      <a:pt x="35908" y="0"/>
                    </a:moveTo>
                    <a:lnTo>
                      <a:pt x="35908" y="35872"/>
                    </a:lnTo>
                    <a:lnTo>
                      <a:pt x="0" y="35872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063" name="Forma livre: Forma 2062">
                <a:extLst>
                  <a:ext uri="{FF2B5EF4-FFF2-40B4-BE49-F238E27FC236}">
                    <a16:creationId xmlns:a16="http://schemas.microsoft.com/office/drawing/2014/main" id="{E9131DAF-7752-2982-A1D2-C2A0CD53BC69}"/>
                  </a:ext>
                </a:extLst>
              </p:cNvPr>
              <p:cNvSpPr/>
              <p:nvPr/>
            </p:nvSpPr>
            <p:spPr>
              <a:xfrm>
                <a:off x="8670710" y="5170876"/>
                <a:ext cx="203331" cy="270712"/>
              </a:xfrm>
              <a:custGeom>
                <a:avLst/>
                <a:gdLst>
                  <a:gd name="connsiteX0" fmla="*/ 161161 w 203331"/>
                  <a:gd name="connsiteY0" fmla="*/ 270713 h 270712"/>
                  <a:gd name="connsiteX1" fmla="*/ 0 w 203331"/>
                  <a:gd name="connsiteY1" fmla="*/ 270713 h 270712"/>
                  <a:gd name="connsiteX2" fmla="*/ 0 w 203331"/>
                  <a:gd name="connsiteY2" fmla="*/ 52522 h 270712"/>
                  <a:gd name="connsiteX3" fmla="*/ 52534 w 203331"/>
                  <a:gd name="connsiteY3" fmla="*/ 0 h 270712"/>
                  <a:gd name="connsiteX4" fmla="*/ 203332 w 203331"/>
                  <a:gd name="connsiteY4" fmla="*/ 0 h 270712"/>
                  <a:gd name="connsiteX5" fmla="*/ 203332 w 203331"/>
                  <a:gd name="connsiteY5" fmla="*/ 98733 h 2707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03331" h="270712">
                    <a:moveTo>
                      <a:pt x="161161" y="270713"/>
                    </a:moveTo>
                    <a:lnTo>
                      <a:pt x="0" y="270713"/>
                    </a:lnTo>
                    <a:lnTo>
                      <a:pt x="0" y="52522"/>
                    </a:lnTo>
                    <a:lnTo>
                      <a:pt x="52534" y="0"/>
                    </a:lnTo>
                    <a:lnTo>
                      <a:pt x="203332" y="0"/>
                    </a:lnTo>
                    <a:lnTo>
                      <a:pt x="203332" y="98733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2064" name="Gráfico 18">
              <a:extLst>
                <a:ext uri="{FF2B5EF4-FFF2-40B4-BE49-F238E27FC236}">
                  <a16:creationId xmlns:a16="http://schemas.microsoft.com/office/drawing/2014/main" id="{D6A7ADE5-E7F2-3BE1-DE7F-681EACB26953}"/>
                </a:ext>
              </a:extLst>
            </p:cNvPr>
            <p:cNvGrpSpPr/>
            <p:nvPr/>
          </p:nvGrpSpPr>
          <p:grpSpPr>
            <a:xfrm>
              <a:off x="8781346" y="5285775"/>
              <a:ext cx="181178" cy="155813"/>
              <a:chOff x="8781346" y="5285775"/>
              <a:chExt cx="181178" cy="155813"/>
            </a:xfrm>
            <a:noFill/>
          </p:grpSpPr>
          <p:sp>
            <p:nvSpPr>
              <p:cNvPr id="2065" name="Forma livre: Forma 2064">
                <a:extLst>
                  <a:ext uri="{FF2B5EF4-FFF2-40B4-BE49-F238E27FC236}">
                    <a16:creationId xmlns:a16="http://schemas.microsoft.com/office/drawing/2014/main" id="{93C1D63B-38DB-7C16-935F-7F4F848381B0}"/>
                  </a:ext>
                </a:extLst>
              </p:cNvPr>
              <p:cNvSpPr/>
              <p:nvPr/>
            </p:nvSpPr>
            <p:spPr>
              <a:xfrm>
                <a:off x="8781346" y="5285775"/>
                <a:ext cx="181178" cy="155813"/>
              </a:xfrm>
              <a:custGeom>
                <a:avLst/>
                <a:gdLst>
                  <a:gd name="connsiteX0" fmla="*/ 15013 w 181178"/>
                  <a:gd name="connsiteY0" fmla="*/ 11639 h 155813"/>
                  <a:gd name="connsiteX1" fmla="*/ 13282 w 181178"/>
                  <a:gd name="connsiteY1" fmla="*/ 13286 h 155813"/>
                  <a:gd name="connsiteX2" fmla="*/ 13943 w 181178"/>
                  <a:gd name="connsiteY2" fmla="*/ 79272 h 155813"/>
                  <a:gd name="connsiteX3" fmla="*/ 90592 w 181178"/>
                  <a:gd name="connsiteY3" fmla="*/ 155813 h 155813"/>
                  <a:gd name="connsiteX4" fmla="*/ 167241 w 181178"/>
                  <a:gd name="connsiteY4" fmla="*/ 79272 h 155813"/>
                  <a:gd name="connsiteX5" fmla="*/ 167890 w 181178"/>
                  <a:gd name="connsiteY5" fmla="*/ 13286 h 155813"/>
                  <a:gd name="connsiteX6" fmla="*/ 101904 w 181178"/>
                  <a:gd name="connsiteY6" fmla="*/ 13947 h 155813"/>
                  <a:gd name="connsiteX7" fmla="*/ 90592 w 181178"/>
                  <a:gd name="connsiteY7" fmla="*/ 25224 h 155813"/>
                  <a:gd name="connsiteX8" fmla="*/ 79280 w 181178"/>
                  <a:gd name="connsiteY8" fmla="*/ 13947 h 155813"/>
                  <a:gd name="connsiteX9" fmla="*/ 39897 w 181178"/>
                  <a:gd name="connsiteY9" fmla="*/ 363 h 1558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81178" h="155813">
                    <a:moveTo>
                      <a:pt x="15013" y="11639"/>
                    </a:moveTo>
                    <a:cubicBezTo>
                      <a:pt x="14424" y="12168"/>
                      <a:pt x="13847" y="12721"/>
                      <a:pt x="13282" y="13286"/>
                    </a:cubicBezTo>
                    <a:cubicBezTo>
                      <a:pt x="-4679" y="31258"/>
                      <a:pt x="-4390" y="60964"/>
                      <a:pt x="13943" y="79272"/>
                    </a:cubicBezTo>
                    <a:lnTo>
                      <a:pt x="90592" y="155813"/>
                    </a:lnTo>
                    <a:lnTo>
                      <a:pt x="167241" y="79272"/>
                    </a:lnTo>
                    <a:cubicBezTo>
                      <a:pt x="185562" y="60952"/>
                      <a:pt x="185863" y="31258"/>
                      <a:pt x="167890" y="13286"/>
                    </a:cubicBezTo>
                    <a:cubicBezTo>
                      <a:pt x="149918" y="-4686"/>
                      <a:pt x="120225" y="-4385"/>
                      <a:pt x="101904" y="13947"/>
                    </a:cubicBezTo>
                    <a:lnTo>
                      <a:pt x="90592" y="25224"/>
                    </a:lnTo>
                    <a:lnTo>
                      <a:pt x="79280" y="13947"/>
                    </a:lnTo>
                    <a:cubicBezTo>
                      <a:pt x="68521" y="3176"/>
                      <a:pt x="53830" y="-1356"/>
                      <a:pt x="39897" y="363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066" name="Forma livre: Forma 2065">
                <a:extLst>
                  <a:ext uri="{FF2B5EF4-FFF2-40B4-BE49-F238E27FC236}">
                    <a16:creationId xmlns:a16="http://schemas.microsoft.com/office/drawing/2014/main" id="{C45D91C0-EFFA-8831-DCED-FBC394A0E594}"/>
                  </a:ext>
                </a:extLst>
              </p:cNvPr>
              <p:cNvSpPr/>
              <p:nvPr/>
            </p:nvSpPr>
            <p:spPr>
              <a:xfrm>
                <a:off x="8809810" y="5318548"/>
                <a:ext cx="10544" cy="31352"/>
              </a:xfrm>
              <a:custGeom>
                <a:avLst/>
                <a:gdLst>
                  <a:gd name="connsiteX0" fmla="*/ 5543 w 10544"/>
                  <a:gd name="connsiteY0" fmla="*/ 0 h 31352"/>
                  <a:gd name="connsiteX1" fmla="*/ 4918 w 10544"/>
                  <a:gd name="connsiteY1" fmla="*/ 589 h 31352"/>
                  <a:gd name="connsiteX2" fmla="*/ 5580 w 10544"/>
                  <a:gd name="connsiteY2" fmla="*/ 26399 h 31352"/>
                  <a:gd name="connsiteX3" fmla="*/ 10544 w 10544"/>
                  <a:gd name="connsiteY3" fmla="*/ 31352 h 313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0544" h="31352">
                    <a:moveTo>
                      <a:pt x="5543" y="0"/>
                    </a:moveTo>
                    <a:lnTo>
                      <a:pt x="4918" y="589"/>
                    </a:lnTo>
                    <a:cubicBezTo>
                      <a:pt x="-1886" y="7405"/>
                      <a:pt x="-1597" y="19234"/>
                      <a:pt x="5580" y="26399"/>
                    </a:cubicBezTo>
                    <a:lnTo>
                      <a:pt x="10544" y="31352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2067" name="Gráfico 18">
            <a:extLst>
              <a:ext uri="{FF2B5EF4-FFF2-40B4-BE49-F238E27FC236}">
                <a16:creationId xmlns:a16="http://schemas.microsoft.com/office/drawing/2014/main" id="{D4C34E83-0BEE-8958-54E1-75F85EB84506}"/>
              </a:ext>
            </a:extLst>
          </p:cNvPr>
          <p:cNvGrpSpPr/>
          <p:nvPr/>
        </p:nvGrpSpPr>
        <p:grpSpPr>
          <a:xfrm>
            <a:off x="8049690" y="3562720"/>
            <a:ext cx="208032" cy="276975"/>
            <a:chOff x="8049690" y="3562720"/>
            <a:chExt cx="208032" cy="276975"/>
          </a:xfrm>
          <a:noFill/>
        </p:grpSpPr>
        <p:sp>
          <p:nvSpPr>
            <p:cNvPr id="2068" name="Forma livre: Forma 2067">
              <a:extLst>
                <a:ext uri="{FF2B5EF4-FFF2-40B4-BE49-F238E27FC236}">
                  <a16:creationId xmlns:a16="http://schemas.microsoft.com/office/drawing/2014/main" id="{6D436DD7-9711-FCD8-3B23-21F2EDC10AAB}"/>
                </a:ext>
              </a:extLst>
            </p:cNvPr>
            <p:cNvSpPr/>
            <p:nvPr/>
          </p:nvSpPr>
          <p:spPr>
            <a:xfrm>
              <a:off x="8095673" y="3699790"/>
              <a:ext cx="116067" cy="1202"/>
            </a:xfrm>
            <a:custGeom>
              <a:avLst/>
              <a:gdLst>
                <a:gd name="connsiteX0" fmla="*/ 0 w 116067"/>
                <a:gd name="connsiteY0" fmla="*/ 0 h 1202"/>
                <a:gd name="connsiteX1" fmla="*/ 116068 w 116067"/>
                <a:gd name="connsiteY1" fmla="*/ 0 h 12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6067" h="1202">
                  <a:moveTo>
                    <a:pt x="0" y="0"/>
                  </a:moveTo>
                  <a:lnTo>
                    <a:pt x="116068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69" name="Forma livre: Forma 2068">
              <a:extLst>
                <a:ext uri="{FF2B5EF4-FFF2-40B4-BE49-F238E27FC236}">
                  <a16:creationId xmlns:a16="http://schemas.microsoft.com/office/drawing/2014/main" id="{14D904D9-CE62-42FF-D425-FCEB5A3A364A}"/>
                </a:ext>
              </a:extLst>
            </p:cNvPr>
            <p:cNvSpPr/>
            <p:nvPr/>
          </p:nvSpPr>
          <p:spPr>
            <a:xfrm>
              <a:off x="8095673" y="3740471"/>
              <a:ext cx="116067" cy="1202"/>
            </a:xfrm>
            <a:custGeom>
              <a:avLst/>
              <a:gdLst>
                <a:gd name="connsiteX0" fmla="*/ 0 w 116067"/>
                <a:gd name="connsiteY0" fmla="*/ 0 h 1202"/>
                <a:gd name="connsiteX1" fmla="*/ 116068 w 116067"/>
                <a:gd name="connsiteY1" fmla="*/ 0 h 12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6067" h="1202">
                  <a:moveTo>
                    <a:pt x="0" y="0"/>
                  </a:moveTo>
                  <a:lnTo>
                    <a:pt x="116068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70" name="Forma livre: Forma 2069">
              <a:extLst>
                <a:ext uri="{FF2B5EF4-FFF2-40B4-BE49-F238E27FC236}">
                  <a16:creationId xmlns:a16="http://schemas.microsoft.com/office/drawing/2014/main" id="{66DB04D7-FA58-ABDE-8DFB-84632D83EDC2}"/>
                </a:ext>
              </a:extLst>
            </p:cNvPr>
            <p:cNvSpPr/>
            <p:nvPr/>
          </p:nvSpPr>
          <p:spPr>
            <a:xfrm>
              <a:off x="8095673" y="3781163"/>
              <a:ext cx="116067" cy="1202"/>
            </a:xfrm>
            <a:custGeom>
              <a:avLst/>
              <a:gdLst>
                <a:gd name="connsiteX0" fmla="*/ 0 w 116067"/>
                <a:gd name="connsiteY0" fmla="*/ 0 h 1202"/>
                <a:gd name="connsiteX1" fmla="*/ 116068 w 116067"/>
                <a:gd name="connsiteY1" fmla="*/ 0 h 12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6067" h="1202">
                  <a:moveTo>
                    <a:pt x="0" y="0"/>
                  </a:moveTo>
                  <a:lnTo>
                    <a:pt x="116068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71" name="Forma livre: Forma 2070">
              <a:extLst>
                <a:ext uri="{FF2B5EF4-FFF2-40B4-BE49-F238E27FC236}">
                  <a16:creationId xmlns:a16="http://schemas.microsoft.com/office/drawing/2014/main" id="{48C9BC3A-3B83-E947-8E15-D57B97A665C4}"/>
                </a:ext>
              </a:extLst>
            </p:cNvPr>
            <p:cNvSpPr/>
            <p:nvPr/>
          </p:nvSpPr>
          <p:spPr>
            <a:xfrm>
              <a:off x="8049690" y="3562720"/>
              <a:ext cx="208032" cy="276975"/>
            </a:xfrm>
            <a:custGeom>
              <a:avLst/>
              <a:gdLst>
                <a:gd name="connsiteX0" fmla="*/ 0 w 208032"/>
                <a:gd name="connsiteY0" fmla="*/ 276976 h 276975"/>
                <a:gd name="connsiteX1" fmla="*/ 0 w 208032"/>
                <a:gd name="connsiteY1" fmla="*/ 53736 h 276975"/>
                <a:gd name="connsiteX2" fmla="*/ 53748 w 208032"/>
                <a:gd name="connsiteY2" fmla="*/ 0 h 276975"/>
                <a:gd name="connsiteX3" fmla="*/ 208032 w 208032"/>
                <a:gd name="connsiteY3" fmla="*/ 0 h 276975"/>
                <a:gd name="connsiteX4" fmla="*/ 208032 w 208032"/>
                <a:gd name="connsiteY4" fmla="*/ 276976 h 276975"/>
                <a:gd name="connsiteX5" fmla="*/ 0 w 208032"/>
                <a:gd name="connsiteY5" fmla="*/ 276976 h 276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8032" h="276975">
                  <a:moveTo>
                    <a:pt x="0" y="276976"/>
                  </a:moveTo>
                  <a:lnTo>
                    <a:pt x="0" y="53736"/>
                  </a:lnTo>
                  <a:lnTo>
                    <a:pt x="53748" y="0"/>
                  </a:lnTo>
                  <a:lnTo>
                    <a:pt x="208032" y="0"/>
                  </a:lnTo>
                  <a:lnTo>
                    <a:pt x="208032" y="276976"/>
                  </a:lnTo>
                  <a:lnTo>
                    <a:pt x="0" y="276976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72" name="Forma livre: Forma 2071">
              <a:extLst>
                <a:ext uri="{FF2B5EF4-FFF2-40B4-BE49-F238E27FC236}">
                  <a16:creationId xmlns:a16="http://schemas.microsoft.com/office/drawing/2014/main" id="{AC3384F9-B0E0-1A18-5FBF-3AD6E39AD275}"/>
                </a:ext>
              </a:extLst>
            </p:cNvPr>
            <p:cNvSpPr/>
            <p:nvPr/>
          </p:nvSpPr>
          <p:spPr>
            <a:xfrm>
              <a:off x="8075452" y="3588699"/>
              <a:ext cx="36749" cy="36713"/>
            </a:xfrm>
            <a:custGeom>
              <a:avLst/>
              <a:gdLst>
                <a:gd name="connsiteX0" fmla="*/ 36750 w 36749"/>
                <a:gd name="connsiteY0" fmla="*/ 0 h 36713"/>
                <a:gd name="connsiteX1" fmla="*/ 36750 w 36749"/>
                <a:gd name="connsiteY1" fmla="*/ 36714 h 36713"/>
                <a:gd name="connsiteX2" fmla="*/ 0 w 36749"/>
                <a:gd name="connsiteY2" fmla="*/ 36714 h 367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6749" h="36713">
                  <a:moveTo>
                    <a:pt x="36750" y="0"/>
                  </a:moveTo>
                  <a:lnTo>
                    <a:pt x="36750" y="36714"/>
                  </a:lnTo>
                  <a:lnTo>
                    <a:pt x="0" y="36714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2073" name="Gráfico 18">
            <a:extLst>
              <a:ext uri="{FF2B5EF4-FFF2-40B4-BE49-F238E27FC236}">
                <a16:creationId xmlns:a16="http://schemas.microsoft.com/office/drawing/2014/main" id="{80E31114-AE16-CBE4-5817-25BC364C9A50}"/>
              </a:ext>
            </a:extLst>
          </p:cNvPr>
          <p:cNvGrpSpPr/>
          <p:nvPr/>
        </p:nvGrpSpPr>
        <p:grpSpPr>
          <a:xfrm>
            <a:off x="9293221" y="3563538"/>
            <a:ext cx="276269" cy="276158"/>
            <a:chOff x="9293221" y="3563538"/>
            <a:chExt cx="276269" cy="276158"/>
          </a:xfrm>
          <a:noFill/>
        </p:grpSpPr>
        <p:grpSp>
          <p:nvGrpSpPr>
            <p:cNvPr id="2074" name="Gráfico 18">
              <a:extLst>
                <a:ext uri="{FF2B5EF4-FFF2-40B4-BE49-F238E27FC236}">
                  <a16:creationId xmlns:a16="http://schemas.microsoft.com/office/drawing/2014/main" id="{ADAB594D-D9C5-F1DB-CCF5-7EB704D3CCB4}"/>
                </a:ext>
              </a:extLst>
            </p:cNvPr>
            <p:cNvGrpSpPr/>
            <p:nvPr/>
          </p:nvGrpSpPr>
          <p:grpSpPr>
            <a:xfrm>
              <a:off x="9293221" y="3563538"/>
              <a:ext cx="203320" cy="270712"/>
              <a:chOff x="9293221" y="3563538"/>
              <a:chExt cx="203320" cy="270712"/>
            </a:xfrm>
            <a:noFill/>
          </p:grpSpPr>
          <p:sp>
            <p:nvSpPr>
              <p:cNvPr id="2075" name="Forma livre: Forma 2074">
                <a:extLst>
                  <a:ext uri="{FF2B5EF4-FFF2-40B4-BE49-F238E27FC236}">
                    <a16:creationId xmlns:a16="http://schemas.microsoft.com/office/drawing/2014/main" id="{79226998-9FFC-ABF4-F3C1-4F58C28AEC8E}"/>
                  </a:ext>
                </a:extLst>
              </p:cNvPr>
              <p:cNvSpPr/>
              <p:nvPr/>
            </p:nvSpPr>
            <p:spPr>
              <a:xfrm>
                <a:off x="9319079" y="3589612"/>
                <a:ext cx="35920" cy="35872"/>
              </a:xfrm>
              <a:custGeom>
                <a:avLst/>
                <a:gdLst>
                  <a:gd name="connsiteX0" fmla="*/ 35920 w 35920"/>
                  <a:gd name="connsiteY0" fmla="*/ 0 h 35872"/>
                  <a:gd name="connsiteX1" fmla="*/ 35920 w 35920"/>
                  <a:gd name="connsiteY1" fmla="*/ 35872 h 35872"/>
                  <a:gd name="connsiteX2" fmla="*/ 0 w 35920"/>
                  <a:gd name="connsiteY2" fmla="*/ 35872 h 358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5920" h="35872">
                    <a:moveTo>
                      <a:pt x="35920" y="0"/>
                    </a:moveTo>
                    <a:lnTo>
                      <a:pt x="35920" y="35872"/>
                    </a:lnTo>
                    <a:lnTo>
                      <a:pt x="0" y="35872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076" name="Forma livre: Forma 2075">
                <a:extLst>
                  <a:ext uri="{FF2B5EF4-FFF2-40B4-BE49-F238E27FC236}">
                    <a16:creationId xmlns:a16="http://schemas.microsoft.com/office/drawing/2014/main" id="{231D061B-E4CB-69F9-FC9A-666E91341EA8}"/>
                  </a:ext>
                </a:extLst>
              </p:cNvPr>
              <p:cNvSpPr/>
              <p:nvPr/>
            </p:nvSpPr>
            <p:spPr>
              <a:xfrm>
                <a:off x="9293221" y="3563538"/>
                <a:ext cx="203320" cy="270712"/>
              </a:xfrm>
              <a:custGeom>
                <a:avLst/>
                <a:gdLst>
                  <a:gd name="connsiteX0" fmla="*/ 56309 w 203320"/>
                  <a:gd name="connsiteY0" fmla="*/ 270713 h 270712"/>
                  <a:gd name="connsiteX1" fmla="*/ 0 w 203320"/>
                  <a:gd name="connsiteY1" fmla="*/ 270713 h 270712"/>
                  <a:gd name="connsiteX2" fmla="*/ 0 w 203320"/>
                  <a:gd name="connsiteY2" fmla="*/ 52522 h 270712"/>
                  <a:gd name="connsiteX3" fmla="*/ 52534 w 203320"/>
                  <a:gd name="connsiteY3" fmla="*/ 0 h 270712"/>
                  <a:gd name="connsiteX4" fmla="*/ 203320 w 203320"/>
                  <a:gd name="connsiteY4" fmla="*/ 0 h 270712"/>
                  <a:gd name="connsiteX5" fmla="*/ 203320 w 203320"/>
                  <a:gd name="connsiteY5" fmla="*/ 59687 h 2707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03320" h="270712">
                    <a:moveTo>
                      <a:pt x="56309" y="270713"/>
                    </a:moveTo>
                    <a:lnTo>
                      <a:pt x="0" y="270713"/>
                    </a:lnTo>
                    <a:lnTo>
                      <a:pt x="0" y="52522"/>
                    </a:lnTo>
                    <a:lnTo>
                      <a:pt x="52534" y="0"/>
                    </a:lnTo>
                    <a:lnTo>
                      <a:pt x="203320" y="0"/>
                    </a:lnTo>
                    <a:lnTo>
                      <a:pt x="203320" y="59687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2077" name="Forma livre: Forma 2076">
              <a:extLst>
                <a:ext uri="{FF2B5EF4-FFF2-40B4-BE49-F238E27FC236}">
                  <a16:creationId xmlns:a16="http://schemas.microsoft.com/office/drawing/2014/main" id="{935544A9-8F88-9F43-6E64-FED482FD305B}"/>
                </a:ext>
              </a:extLst>
            </p:cNvPr>
            <p:cNvSpPr/>
            <p:nvPr/>
          </p:nvSpPr>
          <p:spPr>
            <a:xfrm>
              <a:off x="9380845" y="3791610"/>
              <a:ext cx="70361" cy="1202"/>
            </a:xfrm>
            <a:custGeom>
              <a:avLst/>
              <a:gdLst>
                <a:gd name="connsiteX0" fmla="*/ 70362 w 70361"/>
                <a:gd name="connsiteY0" fmla="*/ 0 h 1202"/>
                <a:gd name="connsiteX1" fmla="*/ 0 w 70361"/>
                <a:gd name="connsiteY1" fmla="*/ 0 h 12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0361" h="1202">
                  <a:moveTo>
                    <a:pt x="70362" y="0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78" name="Forma livre: Forma 2077">
              <a:extLst>
                <a:ext uri="{FF2B5EF4-FFF2-40B4-BE49-F238E27FC236}">
                  <a16:creationId xmlns:a16="http://schemas.microsoft.com/office/drawing/2014/main" id="{EB1EE79B-C93E-A46F-C6AE-4DE6B408281C}"/>
                </a:ext>
              </a:extLst>
            </p:cNvPr>
            <p:cNvSpPr/>
            <p:nvPr/>
          </p:nvSpPr>
          <p:spPr>
            <a:xfrm>
              <a:off x="9478665" y="3721248"/>
              <a:ext cx="90825" cy="91220"/>
            </a:xfrm>
            <a:custGeom>
              <a:avLst/>
              <a:gdLst>
                <a:gd name="connsiteX0" fmla="*/ 15544 w 90825"/>
                <a:gd name="connsiteY0" fmla="*/ 0 h 91220"/>
                <a:gd name="connsiteX1" fmla="*/ 85569 w 90825"/>
                <a:gd name="connsiteY1" fmla="*/ 61646 h 91220"/>
                <a:gd name="connsiteX2" fmla="*/ 86266 w 90825"/>
                <a:gd name="connsiteY2" fmla="*/ 83958 h 91220"/>
                <a:gd name="connsiteX3" fmla="*/ 83550 w 90825"/>
                <a:gd name="connsiteY3" fmla="*/ 86663 h 91220"/>
                <a:gd name="connsiteX4" fmla="*/ 61238 w 90825"/>
                <a:gd name="connsiteY4" fmla="*/ 85954 h 91220"/>
                <a:gd name="connsiteX5" fmla="*/ 0 w 90825"/>
                <a:gd name="connsiteY5" fmla="*/ 16445 h 912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0825" h="91220">
                  <a:moveTo>
                    <a:pt x="15544" y="0"/>
                  </a:moveTo>
                  <a:lnTo>
                    <a:pt x="85569" y="61646"/>
                  </a:lnTo>
                  <a:cubicBezTo>
                    <a:pt x="92289" y="67573"/>
                    <a:pt x="92614" y="77623"/>
                    <a:pt x="86266" y="83958"/>
                  </a:cubicBezTo>
                  <a:lnTo>
                    <a:pt x="83550" y="86663"/>
                  </a:lnTo>
                  <a:cubicBezTo>
                    <a:pt x="77214" y="93011"/>
                    <a:pt x="67176" y="92686"/>
                    <a:pt x="61238" y="85954"/>
                  </a:cubicBezTo>
                  <a:lnTo>
                    <a:pt x="0" y="16445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79" name="Forma livre: Forma 2078">
              <a:extLst>
                <a:ext uri="{FF2B5EF4-FFF2-40B4-BE49-F238E27FC236}">
                  <a16:creationId xmlns:a16="http://schemas.microsoft.com/office/drawing/2014/main" id="{B3D223EF-8D06-E708-E190-5F63171675D8}"/>
                </a:ext>
              </a:extLst>
            </p:cNvPr>
            <p:cNvSpPr/>
            <p:nvPr/>
          </p:nvSpPr>
          <p:spPr>
            <a:xfrm>
              <a:off x="9420348" y="3664615"/>
              <a:ext cx="74208" cy="74208"/>
            </a:xfrm>
            <a:custGeom>
              <a:avLst/>
              <a:gdLst>
                <a:gd name="connsiteX0" fmla="*/ 74209 w 74208"/>
                <a:gd name="connsiteY0" fmla="*/ 31256 h 74208"/>
                <a:gd name="connsiteX1" fmla="*/ 31244 w 74208"/>
                <a:gd name="connsiteY1" fmla="*/ 74209 h 74208"/>
                <a:gd name="connsiteX2" fmla="*/ 0 w 74208"/>
                <a:gd name="connsiteY2" fmla="*/ 42953 h 74208"/>
                <a:gd name="connsiteX3" fmla="*/ 42953 w 74208"/>
                <a:gd name="connsiteY3" fmla="*/ 0 h 74208"/>
                <a:gd name="connsiteX4" fmla="*/ 74209 w 74208"/>
                <a:gd name="connsiteY4" fmla="*/ 31256 h 742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4208" h="74208">
                  <a:moveTo>
                    <a:pt x="74209" y="31256"/>
                  </a:moveTo>
                  <a:lnTo>
                    <a:pt x="31244" y="74209"/>
                  </a:lnTo>
                  <a:lnTo>
                    <a:pt x="0" y="42953"/>
                  </a:lnTo>
                  <a:lnTo>
                    <a:pt x="42953" y="0"/>
                  </a:lnTo>
                  <a:lnTo>
                    <a:pt x="74209" y="31256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80" name="Forma livre: Forma 2079">
              <a:extLst>
                <a:ext uri="{FF2B5EF4-FFF2-40B4-BE49-F238E27FC236}">
                  <a16:creationId xmlns:a16="http://schemas.microsoft.com/office/drawing/2014/main" id="{66A0954B-7EE2-CA81-6D2E-A9BC0EC39F10}"/>
                </a:ext>
              </a:extLst>
            </p:cNvPr>
            <p:cNvSpPr/>
            <p:nvPr/>
          </p:nvSpPr>
          <p:spPr>
            <a:xfrm>
              <a:off x="9463614" y="3640139"/>
              <a:ext cx="55299" cy="55299"/>
            </a:xfrm>
            <a:custGeom>
              <a:avLst/>
              <a:gdLst>
                <a:gd name="connsiteX0" fmla="*/ 0 w 55299"/>
                <a:gd name="connsiteY0" fmla="*/ 24728 h 55299"/>
                <a:gd name="connsiteX1" fmla="*/ 1839 w 55299"/>
                <a:gd name="connsiteY1" fmla="*/ 11937 h 55299"/>
                <a:gd name="connsiteX2" fmla="*/ 13777 w 55299"/>
                <a:gd name="connsiteY2" fmla="*/ 0 h 55299"/>
                <a:gd name="connsiteX3" fmla="*/ 55299 w 55299"/>
                <a:gd name="connsiteY3" fmla="*/ 41522 h 55299"/>
                <a:gd name="connsiteX4" fmla="*/ 43350 w 55299"/>
                <a:gd name="connsiteY4" fmla="*/ 53472 h 55299"/>
                <a:gd name="connsiteX5" fmla="*/ 30571 w 55299"/>
                <a:gd name="connsiteY5" fmla="*/ 55299 h 552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5299" h="55299">
                  <a:moveTo>
                    <a:pt x="0" y="24728"/>
                  </a:moveTo>
                  <a:lnTo>
                    <a:pt x="1839" y="11937"/>
                  </a:lnTo>
                  <a:lnTo>
                    <a:pt x="13777" y="0"/>
                  </a:lnTo>
                  <a:lnTo>
                    <a:pt x="55299" y="41522"/>
                  </a:lnTo>
                  <a:lnTo>
                    <a:pt x="43350" y="53472"/>
                  </a:lnTo>
                  <a:lnTo>
                    <a:pt x="30571" y="55299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81" name="Forma livre: Forma 2080">
              <a:extLst>
                <a:ext uri="{FF2B5EF4-FFF2-40B4-BE49-F238E27FC236}">
                  <a16:creationId xmlns:a16="http://schemas.microsoft.com/office/drawing/2014/main" id="{237C0D67-4B28-1748-9AB7-6FF5328550EE}"/>
                </a:ext>
              </a:extLst>
            </p:cNvPr>
            <p:cNvSpPr/>
            <p:nvPr/>
          </p:nvSpPr>
          <p:spPr>
            <a:xfrm>
              <a:off x="9372839" y="3816591"/>
              <a:ext cx="86374" cy="23105"/>
            </a:xfrm>
            <a:custGeom>
              <a:avLst/>
              <a:gdLst>
                <a:gd name="connsiteX0" fmla="*/ 0 w 86374"/>
                <a:gd name="connsiteY0" fmla="*/ 23105 h 23105"/>
                <a:gd name="connsiteX1" fmla="*/ 0 w 86374"/>
                <a:gd name="connsiteY1" fmla="*/ 0 h 23105"/>
                <a:gd name="connsiteX2" fmla="*/ 86375 w 86374"/>
                <a:gd name="connsiteY2" fmla="*/ 0 h 23105"/>
                <a:gd name="connsiteX3" fmla="*/ 86375 w 86374"/>
                <a:gd name="connsiteY3" fmla="*/ 23105 h 231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6374" h="23105">
                  <a:moveTo>
                    <a:pt x="0" y="23105"/>
                  </a:moveTo>
                  <a:lnTo>
                    <a:pt x="0" y="0"/>
                  </a:lnTo>
                  <a:lnTo>
                    <a:pt x="86375" y="0"/>
                  </a:lnTo>
                  <a:lnTo>
                    <a:pt x="86375" y="23105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82" name="Forma livre: Forma 2081">
              <a:extLst>
                <a:ext uri="{FF2B5EF4-FFF2-40B4-BE49-F238E27FC236}">
                  <a16:creationId xmlns:a16="http://schemas.microsoft.com/office/drawing/2014/main" id="{07072EC8-D389-F05B-63C3-9E590922AE68}"/>
                </a:ext>
              </a:extLst>
            </p:cNvPr>
            <p:cNvSpPr/>
            <p:nvPr/>
          </p:nvSpPr>
          <p:spPr>
            <a:xfrm>
              <a:off x="9395824" y="3707940"/>
              <a:ext cx="55286" cy="55286"/>
            </a:xfrm>
            <a:custGeom>
              <a:avLst/>
              <a:gdLst>
                <a:gd name="connsiteX0" fmla="*/ 24716 w 55286"/>
                <a:gd name="connsiteY0" fmla="*/ 0 h 55286"/>
                <a:gd name="connsiteX1" fmla="*/ 11937 w 55286"/>
                <a:gd name="connsiteY1" fmla="*/ 1815 h 55286"/>
                <a:gd name="connsiteX2" fmla="*/ 0 w 55286"/>
                <a:gd name="connsiteY2" fmla="*/ 13765 h 55286"/>
                <a:gd name="connsiteX3" fmla="*/ 41522 w 55286"/>
                <a:gd name="connsiteY3" fmla="*/ 55287 h 55286"/>
                <a:gd name="connsiteX4" fmla="*/ 53472 w 55286"/>
                <a:gd name="connsiteY4" fmla="*/ 43350 h 55286"/>
                <a:gd name="connsiteX5" fmla="*/ 55287 w 55286"/>
                <a:gd name="connsiteY5" fmla="*/ 30559 h 55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5286" h="55286">
                  <a:moveTo>
                    <a:pt x="24716" y="0"/>
                  </a:moveTo>
                  <a:lnTo>
                    <a:pt x="11937" y="1815"/>
                  </a:lnTo>
                  <a:lnTo>
                    <a:pt x="0" y="13765"/>
                  </a:lnTo>
                  <a:lnTo>
                    <a:pt x="41522" y="55287"/>
                  </a:lnTo>
                  <a:lnTo>
                    <a:pt x="53472" y="43350"/>
                  </a:lnTo>
                  <a:lnTo>
                    <a:pt x="55287" y="30559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2083" name="Gráfico 18">
            <a:extLst>
              <a:ext uri="{FF2B5EF4-FFF2-40B4-BE49-F238E27FC236}">
                <a16:creationId xmlns:a16="http://schemas.microsoft.com/office/drawing/2014/main" id="{BFC27BBA-B883-2DCF-C565-300818A1AD0F}"/>
              </a:ext>
            </a:extLst>
          </p:cNvPr>
          <p:cNvGrpSpPr/>
          <p:nvPr/>
        </p:nvGrpSpPr>
        <p:grpSpPr>
          <a:xfrm>
            <a:off x="8670710" y="3562720"/>
            <a:ext cx="208032" cy="276975"/>
            <a:chOff x="8670710" y="3562720"/>
            <a:chExt cx="208032" cy="276975"/>
          </a:xfrm>
          <a:noFill/>
        </p:grpSpPr>
        <p:grpSp>
          <p:nvGrpSpPr>
            <p:cNvPr id="2084" name="Gráfico 18">
              <a:extLst>
                <a:ext uri="{FF2B5EF4-FFF2-40B4-BE49-F238E27FC236}">
                  <a16:creationId xmlns:a16="http://schemas.microsoft.com/office/drawing/2014/main" id="{C57118A0-FB96-E987-58B8-CA465F52AC53}"/>
                </a:ext>
              </a:extLst>
            </p:cNvPr>
            <p:cNvGrpSpPr/>
            <p:nvPr/>
          </p:nvGrpSpPr>
          <p:grpSpPr>
            <a:xfrm>
              <a:off x="8703421" y="3602704"/>
              <a:ext cx="142611" cy="193967"/>
              <a:chOff x="8703421" y="3602704"/>
              <a:chExt cx="142611" cy="193967"/>
            </a:xfrm>
            <a:noFill/>
          </p:grpSpPr>
          <p:grpSp>
            <p:nvGrpSpPr>
              <p:cNvPr id="2085" name="Gráfico 18">
                <a:extLst>
                  <a:ext uri="{FF2B5EF4-FFF2-40B4-BE49-F238E27FC236}">
                    <a16:creationId xmlns:a16="http://schemas.microsoft.com/office/drawing/2014/main" id="{46185124-8F6E-791B-386E-AC1E1DF97BAA}"/>
                  </a:ext>
                </a:extLst>
              </p:cNvPr>
              <p:cNvGrpSpPr/>
              <p:nvPr/>
            </p:nvGrpSpPr>
            <p:grpSpPr>
              <a:xfrm>
                <a:off x="8749800" y="3602704"/>
                <a:ext cx="91267" cy="116188"/>
                <a:chOff x="8749800" y="3602704"/>
                <a:chExt cx="91267" cy="116188"/>
              </a:xfrm>
              <a:noFill/>
            </p:grpSpPr>
            <p:sp>
              <p:nvSpPr>
                <p:cNvPr id="2086" name="Forma livre: Forma 2085">
                  <a:extLst>
                    <a:ext uri="{FF2B5EF4-FFF2-40B4-BE49-F238E27FC236}">
                      <a16:creationId xmlns:a16="http://schemas.microsoft.com/office/drawing/2014/main" id="{6924C756-77F7-FC66-E5E8-B9E00940CB4B}"/>
                    </a:ext>
                  </a:extLst>
                </p:cNvPr>
                <p:cNvSpPr/>
                <p:nvPr/>
              </p:nvSpPr>
              <p:spPr>
                <a:xfrm>
                  <a:off x="8749800" y="3671695"/>
                  <a:ext cx="91267" cy="47196"/>
                </a:xfrm>
                <a:custGeom>
                  <a:avLst/>
                  <a:gdLst>
                    <a:gd name="connsiteX0" fmla="*/ 0 w 91267"/>
                    <a:gd name="connsiteY0" fmla="*/ 47197 h 47196"/>
                    <a:gd name="connsiteX1" fmla="*/ 0 w 91267"/>
                    <a:gd name="connsiteY1" fmla="*/ 22336 h 47196"/>
                    <a:gd name="connsiteX2" fmla="*/ 26988 w 91267"/>
                    <a:gd name="connsiteY2" fmla="*/ 0 h 47196"/>
                    <a:gd name="connsiteX3" fmla="*/ 45646 w 91267"/>
                    <a:gd name="connsiteY3" fmla="*/ 20557 h 47196"/>
                    <a:gd name="connsiteX4" fmla="*/ 62969 w 91267"/>
                    <a:gd name="connsiteY4" fmla="*/ 0 h 47196"/>
                    <a:gd name="connsiteX5" fmla="*/ 91267 w 91267"/>
                    <a:gd name="connsiteY5" fmla="*/ 22336 h 47196"/>
                    <a:gd name="connsiteX6" fmla="*/ 91267 w 91267"/>
                    <a:gd name="connsiteY6" fmla="*/ 47197 h 4719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91267" h="47196">
                      <a:moveTo>
                        <a:pt x="0" y="47197"/>
                      </a:moveTo>
                      <a:lnTo>
                        <a:pt x="0" y="22336"/>
                      </a:lnTo>
                      <a:cubicBezTo>
                        <a:pt x="0" y="6023"/>
                        <a:pt x="11805" y="0"/>
                        <a:pt x="26988" y="0"/>
                      </a:cubicBezTo>
                      <a:lnTo>
                        <a:pt x="45646" y="20557"/>
                      </a:lnTo>
                      <a:lnTo>
                        <a:pt x="62969" y="0"/>
                      </a:lnTo>
                      <a:cubicBezTo>
                        <a:pt x="78152" y="0"/>
                        <a:pt x="91267" y="6023"/>
                        <a:pt x="91267" y="22336"/>
                      </a:cubicBezTo>
                      <a:lnTo>
                        <a:pt x="91267" y="47197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087" name="Forma livre: Forma 2086">
                  <a:extLst>
                    <a:ext uri="{FF2B5EF4-FFF2-40B4-BE49-F238E27FC236}">
                      <a16:creationId xmlns:a16="http://schemas.microsoft.com/office/drawing/2014/main" id="{2EDB3E36-2E55-8E64-87F9-A159259FA1D1}"/>
                    </a:ext>
                  </a:extLst>
                </p:cNvPr>
                <p:cNvSpPr/>
                <p:nvPr/>
              </p:nvSpPr>
              <p:spPr>
                <a:xfrm>
                  <a:off x="8774336" y="3602704"/>
                  <a:ext cx="42219" cy="50814"/>
                </a:xfrm>
                <a:custGeom>
                  <a:avLst/>
                  <a:gdLst>
                    <a:gd name="connsiteX0" fmla="*/ 42220 w 42219"/>
                    <a:gd name="connsiteY0" fmla="*/ 29381 h 50814"/>
                    <a:gd name="connsiteX1" fmla="*/ 21098 w 42219"/>
                    <a:gd name="connsiteY1" fmla="*/ 50815 h 50814"/>
                    <a:gd name="connsiteX2" fmla="*/ 0 w 42219"/>
                    <a:gd name="connsiteY2" fmla="*/ 29381 h 50814"/>
                    <a:gd name="connsiteX3" fmla="*/ 0 w 42219"/>
                    <a:gd name="connsiteY3" fmla="*/ 21434 h 50814"/>
                    <a:gd name="connsiteX4" fmla="*/ 21098 w 42219"/>
                    <a:gd name="connsiteY4" fmla="*/ 0 h 50814"/>
                    <a:gd name="connsiteX5" fmla="*/ 42220 w 42219"/>
                    <a:gd name="connsiteY5" fmla="*/ 21434 h 50814"/>
                    <a:gd name="connsiteX6" fmla="*/ 42220 w 42219"/>
                    <a:gd name="connsiteY6" fmla="*/ 29381 h 5081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42219" h="50814">
                      <a:moveTo>
                        <a:pt x="42220" y="29381"/>
                      </a:moveTo>
                      <a:cubicBezTo>
                        <a:pt x="42220" y="41174"/>
                        <a:pt x="32711" y="50815"/>
                        <a:pt x="21098" y="50815"/>
                      </a:cubicBezTo>
                      <a:cubicBezTo>
                        <a:pt x="9485" y="50815"/>
                        <a:pt x="0" y="41174"/>
                        <a:pt x="0" y="29381"/>
                      </a:cubicBezTo>
                      <a:lnTo>
                        <a:pt x="0" y="21434"/>
                      </a:lnTo>
                      <a:cubicBezTo>
                        <a:pt x="0" y="9641"/>
                        <a:pt x="9509" y="0"/>
                        <a:pt x="21098" y="0"/>
                      </a:cubicBezTo>
                      <a:cubicBezTo>
                        <a:pt x="32687" y="0"/>
                        <a:pt x="42220" y="9641"/>
                        <a:pt x="42220" y="21434"/>
                      </a:cubicBezTo>
                      <a:lnTo>
                        <a:pt x="42220" y="29381"/>
                      </a:lnTo>
                      <a:close/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2088" name="Gráfico 18">
                <a:extLst>
                  <a:ext uri="{FF2B5EF4-FFF2-40B4-BE49-F238E27FC236}">
                    <a16:creationId xmlns:a16="http://schemas.microsoft.com/office/drawing/2014/main" id="{2AC6D282-F684-7730-630D-234D3458B2BB}"/>
                  </a:ext>
                </a:extLst>
              </p:cNvPr>
              <p:cNvGrpSpPr/>
              <p:nvPr/>
            </p:nvGrpSpPr>
            <p:grpSpPr>
              <a:xfrm>
                <a:off x="8703421" y="3755990"/>
                <a:ext cx="142611" cy="40680"/>
                <a:chOff x="8703421" y="3755990"/>
                <a:chExt cx="142611" cy="40680"/>
              </a:xfrm>
            </p:grpSpPr>
            <p:sp>
              <p:nvSpPr>
                <p:cNvPr id="2089" name="Forma livre: Forma 2088">
                  <a:extLst>
                    <a:ext uri="{FF2B5EF4-FFF2-40B4-BE49-F238E27FC236}">
                      <a16:creationId xmlns:a16="http://schemas.microsoft.com/office/drawing/2014/main" id="{3C4B21CA-D579-E69D-1C7F-9252E69671F0}"/>
                    </a:ext>
                  </a:extLst>
                </p:cNvPr>
                <p:cNvSpPr/>
                <p:nvPr/>
              </p:nvSpPr>
              <p:spPr>
                <a:xfrm>
                  <a:off x="8703421" y="3755990"/>
                  <a:ext cx="142611" cy="1202"/>
                </a:xfrm>
                <a:custGeom>
                  <a:avLst/>
                  <a:gdLst>
                    <a:gd name="connsiteX0" fmla="*/ 0 w 142611"/>
                    <a:gd name="connsiteY0" fmla="*/ 0 h 1202"/>
                    <a:gd name="connsiteX1" fmla="*/ 142611 w 142611"/>
                    <a:gd name="connsiteY1" fmla="*/ 0 h 120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42611" h="1202">
                      <a:moveTo>
                        <a:pt x="0" y="0"/>
                      </a:moveTo>
                      <a:lnTo>
                        <a:pt x="142611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090" name="Forma livre: Forma 2089">
                  <a:extLst>
                    <a:ext uri="{FF2B5EF4-FFF2-40B4-BE49-F238E27FC236}">
                      <a16:creationId xmlns:a16="http://schemas.microsoft.com/office/drawing/2014/main" id="{7F338A3B-AA23-7174-A3DA-B4F90F820BA0}"/>
                    </a:ext>
                  </a:extLst>
                </p:cNvPr>
                <p:cNvSpPr/>
                <p:nvPr/>
              </p:nvSpPr>
              <p:spPr>
                <a:xfrm>
                  <a:off x="8703421" y="3796671"/>
                  <a:ext cx="142611" cy="1202"/>
                </a:xfrm>
                <a:custGeom>
                  <a:avLst/>
                  <a:gdLst>
                    <a:gd name="connsiteX0" fmla="*/ 0 w 142611"/>
                    <a:gd name="connsiteY0" fmla="*/ 0 h 1202"/>
                    <a:gd name="connsiteX1" fmla="*/ 142611 w 142611"/>
                    <a:gd name="connsiteY1" fmla="*/ 0 h 120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42611" h="1202">
                      <a:moveTo>
                        <a:pt x="0" y="0"/>
                      </a:moveTo>
                      <a:lnTo>
                        <a:pt x="142611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grpSp>
          <p:nvGrpSpPr>
            <p:cNvPr id="2091" name="Gráfico 18">
              <a:extLst>
                <a:ext uri="{FF2B5EF4-FFF2-40B4-BE49-F238E27FC236}">
                  <a16:creationId xmlns:a16="http://schemas.microsoft.com/office/drawing/2014/main" id="{AEB27C48-A7AC-ABAA-7BC1-05208167AFE2}"/>
                </a:ext>
              </a:extLst>
            </p:cNvPr>
            <p:cNvGrpSpPr/>
            <p:nvPr/>
          </p:nvGrpSpPr>
          <p:grpSpPr>
            <a:xfrm>
              <a:off x="8670710" y="3562720"/>
              <a:ext cx="208032" cy="276975"/>
              <a:chOff x="8670710" y="3562720"/>
              <a:chExt cx="208032" cy="276975"/>
            </a:xfrm>
            <a:noFill/>
          </p:grpSpPr>
          <p:sp>
            <p:nvSpPr>
              <p:cNvPr id="2092" name="Forma livre: Forma 2091">
                <a:extLst>
                  <a:ext uri="{FF2B5EF4-FFF2-40B4-BE49-F238E27FC236}">
                    <a16:creationId xmlns:a16="http://schemas.microsoft.com/office/drawing/2014/main" id="{11606B2B-A475-7303-4278-2019245BF6B1}"/>
                  </a:ext>
                </a:extLst>
              </p:cNvPr>
              <p:cNvSpPr/>
              <p:nvPr/>
            </p:nvSpPr>
            <p:spPr>
              <a:xfrm>
                <a:off x="8670710" y="3562720"/>
                <a:ext cx="208032" cy="276975"/>
              </a:xfrm>
              <a:custGeom>
                <a:avLst/>
                <a:gdLst>
                  <a:gd name="connsiteX0" fmla="*/ 0 w 208032"/>
                  <a:gd name="connsiteY0" fmla="*/ 276976 h 276975"/>
                  <a:gd name="connsiteX1" fmla="*/ 0 w 208032"/>
                  <a:gd name="connsiteY1" fmla="*/ 53736 h 276975"/>
                  <a:gd name="connsiteX2" fmla="*/ 53748 w 208032"/>
                  <a:gd name="connsiteY2" fmla="*/ 0 h 276975"/>
                  <a:gd name="connsiteX3" fmla="*/ 208032 w 208032"/>
                  <a:gd name="connsiteY3" fmla="*/ 0 h 276975"/>
                  <a:gd name="connsiteX4" fmla="*/ 208032 w 208032"/>
                  <a:gd name="connsiteY4" fmla="*/ 276976 h 276975"/>
                  <a:gd name="connsiteX5" fmla="*/ 0 w 208032"/>
                  <a:gd name="connsiteY5" fmla="*/ 276976 h 2769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08032" h="276975">
                    <a:moveTo>
                      <a:pt x="0" y="276976"/>
                    </a:moveTo>
                    <a:lnTo>
                      <a:pt x="0" y="53736"/>
                    </a:lnTo>
                    <a:lnTo>
                      <a:pt x="53748" y="0"/>
                    </a:lnTo>
                    <a:lnTo>
                      <a:pt x="208032" y="0"/>
                    </a:lnTo>
                    <a:lnTo>
                      <a:pt x="208032" y="276976"/>
                    </a:lnTo>
                    <a:lnTo>
                      <a:pt x="0" y="276976"/>
                    </a:ln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093" name="Forma livre: Forma 2092">
                <a:extLst>
                  <a:ext uri="{FF2B5EF4-FFF2-40B4-BE49-F238E27FC236}">
                    <a16:creationId xmlns:a16="http://schemas.microsoft.com/office/drawing/2014/main" id="{BEA0C541-C19D-050E-5FC1-783811FE6D14}"/>
                  </a:ext>
                </a:extLst>
              </p:cNvPr>
              <p:cNvSpPr/>
              <p:nvPr/>
            </p:nvSpPr>
            <p:spPr>
              <a:xfrm>
                <a:off x="8696472" y="3588699"/>
                <a:ext cx="36749" cy="36713"/>
              </a:xfrm>
              <a:custGeom>
                <a:avLst/>
                <a:gdLst>
                  <a:gd name="connsiteX0" fmla="*/ 36750 w 36749"/>
                  <a:gd name="connsiteY0" fmla="*/ 0 h 36713"/>
                  <a:gd name="connsiteX1" fmla="*/ 36750 w 36749"/>
                  <a:gd name="connsiteY1" fmla="*/ 36714 h 36713"/>
                  <a:gd name="connsiteX2" fmla="*/ 0 w 36749"/>
                  <a:gd name="connsiteY2" fmla="*/ 36714 h 367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6749" h="36713">
                    <a:moveTo>
                      <a:pt x="36750" y="0"/>
                    </a:moveTo>
                    <a:lnTo>
                      <a:pt x="36750" y="36714"/>
                    </a:lnTo>
                    <a:lnTo>
                      <a:pt x="0" y="36714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2095" name="Gráfico 19">
            <a:extLst>
              <a:ext uri="{FF2B5EF4-FFF2-40B4-BE49-F238E27FC236}">
                <a16:creationId xmlns:a16="http://schemas.microsoft.com/office/drawing/2014/main" id="{C14E57B1-307D-6645-AD6E-8BC6C3A786E3}"/>
              </a:ext>
            </a:extLst>
          </p:cNvPr>
          <p:cNvGrpSpPr/>
          <p:nvPr/>
        </p:nvGrpSpPr>
        <p:grpSpPr>
          <a:xfrm>
            <a:off x="10521181" y="3562738"/>
            <a:ext cx="306264" cy="291637"/>
            <a:chOff x="10521181" y="3562738"/>
            <a:chExt cx="306264" cy="291637"/>
          </a:xfrm>
        </p:grpSpPr>
        <p:grpSp>
          <p:nvGrpSpPr>
            <p:cNvPr id="2096" name="Gráfico 19">
              <a:extLst>
                <a:ext uri="{FF2B5EF4-FFF2-40B4-BE49-F238E27FC236}">
                  <a16:creationId xmlns:a16="http://schemas.microsoft.com/office/drawing/2014/main" id="{ABDF46BB-E42B-EB35-E67F-3493C902C56D}"/>
                </a:ext>
              </a:extLst>
            </p:cNvPr>
            <p:cNvGrpSpPr/>
            <p:nvPr/>
          </p:nvGrpSpPr>
          <p:grpSpPr>
            <a:xfrm>
              <a:off x="10521181" y="3562738"/>
              <a:ext cx="306264" cy="291637"/>
              <a:chOff x="10521181" y="3562738"/>
              <a:chExt cx="306264" cy="291637"/>
            </a:xfrm>
          </p:grpSpPr>
          <p:sp>
            <p:nvSpPr>
              <p:cNvPr id="2097" name="Forma livre: Forma 2096">
                <a:extLst>
                  <a:ext uri="{FF2B5EF4-FFF2-40B4-BE49-F238E27FC236}">
                    <a16:creationId xmlns:a16="http://schemas.microsoft.com/office/drawing/2014/main" id="{A9D7656B-0DD3-DFC7-BE11-459F4DD09EA8}"/>
                  </a:ext>
                </a:extLst>
              </p:cNvPr>
              <p:cNvSpPr/>
              <p:nvPr/>
            </p:nvSpPr>
            <p:spPr>
              <a:xfrm>
                <a:off x="10521181" y="3649756"/>
                <a:ext cx="287190" cy="179158"/>
              </a:xfrm>
              <a:custGeom>
                <a:avLst/>
                <a:gdLst>
                  <a:gd name="connsiteX0" fmla="*/ 279566 w 287190"/>
                  <a:gd name="connsiteY0" fmla="*/ 68638 h 179158"/>
                  <a:gd name="connsiteX1" fmla="*/ 210529 w 287190"/>
                  <a:gd name="connsiteY1" fmla="*/ 0 h 179158"/>
                  <a:gd name="connsiteX2" fmla="*/ 76674 w 287190"/>
                  <a:gd name="connsiteY2" fmla="*/ 0 h 179158"/>
                  <a:gd name="connsiteX3" fmla="*/ 7637 w 287190"/>
                  <a:gd name="connsiteY3" fmla="*/ 68638 h 179158"/>
                  <a:gd name="connsiteX4" fmla="*/ 0 w 287190"/>
                  <a:gd name="connsiteY4" fmla="*/ 179159 h 179158"/>
                  <a:gd name="connsiteX5" fmla="*/ 287191 w 287190"/>
                  <a:gd name="connsiteY5" fmla="*/ 179159 h 179158"/>
                  <a:gd name="connsiteX6" fmla="*/ 279554 w 287190"/>
                  <a:gd name="connsiteY6" fmla="*/ 68638 h 1791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87190" h="179158">
                    <a:moveTo>
                      <a:pt x="279566" y="68638"/>
                    </a:moveTo>
                    <a:cubicBezTo>
                      <a:pt x="275131" y="26754"/>
                      <a:pt x="248280" y="0"/>
                      <a:pt x="210529" y="0"/>
                    </a:cubicBezTo>
                    <a:lnTo>
                      <a:pt x="76674" y="0"/>
                    </a:lnTo>
                    <a:cubicBezTo>
                      <a:pt x="38923" y="0"/>
                      <a:pt x="12072" y="26754"/>
                      <a:pt x="7637" y="68638"/>
                    </a:cubicBezTo>
                    <a:lnTo>
                      <a:pt x="0" y="179159"/>
                    </a:lnTo>
                    <a:lnTo>
                      <a:pt x="287191" y="179159"/>
                    </a:lnTo>
                    <a:lnTo>
                      <a:pt x="279554" y="68638"/>
                    </a:lnTo>
                    <a:close/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098" name="Forma livre: Forma 2097">
                <a:extLst>
                  <a:ext uri="{FF2B5EF4-FFF2-40B4-BE49-F238E27FC236}">
                    <a16:creationId xmlns:a16="http://schemas.microsoft.com/office/drawing/2014/main" id="{5F3F2C32-F7D5-BD29-37FA-A1A28E9176B6}"/>
                  </a:ext>
                </a:extLst>
              </p:cNvPr>
              <p:cNvSpPr/>
              <p:nvPr/>
            </p:nvSpPr>
            <p:spPr>
              <a:xfrm>
                <a:off x="10792843" y="3681344"/>
                <a:ext cx="34601" cy="41605"/>
              </a:xfrm>
              <a:custGeom>
                <a:avLst/>
                <a:gdLst>
                  <a:gd name="connsiteX0" fmla="*/ 0 w 34601"/>
                  <a:gd name="connsiteY0" fmla="*/ 4471 h 41605"/>
                  <a:gd name="connsiteX1" fmla="*/ 15975 w 34601"/>
                  <a:gd name="connsiteY1" fmla="*/ 375 h 41605"/>
                  <a:gd name="connsiteX2" fmla="*/ 30718 w 34601"/>
                  <a:gd name="connsiteY2" fmla="*/ 9100 h 41605"/>
                  <a:gd name="connsiteX3" fmla="*/ 34222 w 34601"/>
                  <a:gd name="connsiteY3" fmla="*/ 22779 h 41605"/>
                  <a:gd name="connsiteX4" fmla="*/ 25497 w 34601"/>
                  <a:gd name="connsiteY4" fmla="*/ 37509 h 41605"/>
                  <a:gd name="connsiteX5" fmla="*/ 9510 w 34601"/>
                  <a:gd name="connsiteY5" fmla="*/ 41606 h 416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34601" h="41605">
                    <a:moveTo>
                      <a:pt x="0" y="4471"/>
                    </a:moveTo>
                    <a:lnTo>
                      <a:pt x="15975" y="375"/>
                    </a:lnTo>
                    <a:cubicBezTo>
                      <a:pt x="22428" y="-1269"/>
                      <a:pt x="29062" y="2647"/>
                      <a:pt x="30718" y="9100"/>
                    </a:cubicBezTo>
                    <a:lnTo>
                      <a:pt x="34222" y="22779"/>
                    </a:lnTo>
                    <a:cubicBezTo>
                      <a:pt x="35878" y="29232"/>
                      <a:pt x="31962" y="35866"/>
                      <a:pt x="25497" y="37509"/>
                    </a:cubicBezTo>
                    <a:lnTo>
                      <a:pt x="9510" y="41606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099" name="Forma livre: Forma 2098">
                <a:extLst>
                  <a:ext uri="{FF2B5EF4-FFF2-40B4-BE49-F238E27FC236}">
                    <a16:creationId xmlns:a16="http://schemas.microsoft.com/office/drawing/2014/main" id="{82E1ABD4-FDCE-F111-C218-FD50B0FEF5B6}"/>
                  </a:ext>
                </a:extLst>
              </p:cNvPr>
              <p:cNvSpPr/>
              <p:nvPr/>
            </p:nvSpPr>
            <p:spPr>
              <a:xfrm>
                <a:off x="10595232" y="3562738"/>
                <a:ext cx="139087" cy="65870"/>
              </a:xfrm>
              <a:custGeom>
                <a:avLst/>
                <a:gdLst>
                  <a:gd name="connsiteX0" fmla="*/ 132224 w 139087"/>
                  <a:gd name="connsiteY0" fmla="*/ 65870 h 65870"/>
                  <a:gd name="connsiteX1" fmla="*/ 132224 w 139087"/>
                  <a:gd name="connsiteY1" fmla="*/ 44421 h 65870"/>
                  <a:gd name="connsiteX2" fmla="*/ 139088 w 139087"/>
                  <a:gd name="connsiteY2" fmla="*/ 31044 h 65870"/>
                  <a:gd name="connsiteX3" fmla="*/ 69544 w 139087"/>
                  <a:gd name="connsiteY3" fmla="*/ 0 h 65870"/>
                  <a:gd name="connsiteX4" fmla="*/ 0 w 139087"/>
                  <a:gd name="connsiteY4" fmla="*/ 31044 h 65870"/>
                  <a:gd name="connsiteX5" fmla="*/ 6864 w 139087"/>
                  <a:gd name="connsiteY5" fmla="*/ 44421 h 65870"/>
                  <a:gd name="connsiteX6" fmla="*/ 6864 w 139087"/>
                  <a:gd name="connsiteY6" fmla="*/ 65870 h 658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39087" h="65870">
                    <a:moveTo>
                      <a:pt x="132224" y="65870"/>
                    </a:moveTo>
                    <a:lnTo>
                      <a:pt x="132224" y="44421"/>
                    </a:lnTo>
                    <a:cubicBezTo>
                      <a:pt x="136574" y="40373"/>
                      <a:pt x="139088" y="35854"/>
                      <a:pt x="139088" y="31044"/>
                    </a:cubicBezTo>
                    <a:cubicBezTo>
                      <a:pt x="139088" y="13885"/>
                      <a:pt x="107947" y="0"/>
                      <a:pt x="69544" y="0"/>
                    </a:cubicBezTo>
                    <a:cubicBezTo>
                      <a:pt x="31141" y="0"/>
                      <a:pt x="0" y="13885"/>
                      <a:pt x="0" y="31044"/>
                    </a:cubicBezTo>
                    <a:cubicBezTo>
                      <a:pt x="0" y="35854"/>
                      <a:pt x="2513" y="40361"/>
                      <a:pt x="6864" y="44421"/>
                    </a:cubicBezTo>
                    <a:lnTo>
                      <a:pt x="6864" y="6587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2100" name="Gráfico 19">
                <a:extLst>
                  <a:ext uri="{FF2B5EF4-FFF2-40B4-BE49-F238E27FC236}">
                    <a16:creationId xmlns:a16="http://schemas.microsoft.com/office/drawing/2014/main" id="{2E621B16-66EB-E06A-032C-8E6BEBDE9206}"/>
                  </a:ext>
                </a:extLst>
              </p:cNvPr>
              <p:cNvGrpSpPr/>
              <p:nvPr/>
            </p:nvGrpSpPr>
            <p:grpSpPr>
              <a:xfrm>
                <a:off x="10555934" y="3830123"/>
                <a:ext cx="217707" cy="24252"/>
                <a:chOff x="10555934" y="3830123"/>
                <a:chExt cx="217707" cy="24252"/>
              </a:xfrm>
            </p:grpSpPr>
            <p:sp>
              <p:nvSpPr>
                <p:cNvPr id="2101" name="Forma livre: Forma 2100">
                  <a:extLst>
                    <a:ext uri="{FF2B5EF4-FFF2-40B4-BE49-F238E27FC236}">
                      <a16:creationId xmlns:a16="http://schemas.microsoft.com/office/drawing/2014/main" id="{5AB5D522-5005-D3A9-1149-AA0F28EF0B32}"/>
                    </a:ext>
                  </a:extLst>
                </p:cNvPr>
                <p:cNvSpPr/>
                <p:nvPr/>
              </p:nvSpPr>
              <p:spPr>
                <a:xfrm>
                  <a:off x="10555934" y="3830123"/>
                  <a:ext cx="1208" cy="24252"/>
                </a:xfrm>
                <a:custGeom>
                  <a:avLst/>
                  <a:gdLst>
                    <a:gd name="connsiteX0" fmla="*/ 0 w 1208"/>
                    <a:gd name="connsiteY0" fmla="*/ 0 h 24252"/>
                    <a:gd name="connsiteX1" fmla="*/ 0 w 1208"/>
                    <a:gd name="connsiteY1" fmla="*/ 24253 h 2425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208" h="24252">
                      <a:moveTo>
                        <a:pt x="0" y="0"/>
                      </a:moveTo>
                      <a:lnTo>
                        <a:pt x="0" y="24253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102" name="Forma livre: Forma 2101">
                  <a:extLst>
                    <a:ext uri="{FF2B5EF4-FFF2-40B4-BE49-F238E27FC236}">
                      <a16:creationId xmlns:a16="http://schemas.microsoft.com/office/drawing/2014/main" id="{7B215E41-99FC-D966-C230-4FCAC13C9FA6}"/>
                    </a:ext>
                  </a:extLst>
                </p:cNvPr>
                <p:cNvSpPr/>
                <p:nvPr/>
              </p:nvSpPr>
              <p:spPr>
                <a:xfrm>
                  <a:off x="10773642" y="3830123"/>
                  <a:ext cx="1208" cy="24252"/>
                </a:xfrm>
                <a:custGeom>
                  <a:avLst/>
                  <a:gdLst>
                    <a:gd name="connsiteX0" fmla="*/ 0 w 1208"/>
                    <a:gd name="connsiteY0" fmla="*/ 0 h 24252"/>
                    <a:gd name="connsiteX1" fmla="*/ 0 w 1208"/>
                    <a:gd name="connsiteY1" fmla="*/ 24253 h 2425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208" h="24252">
                      <a:moveTo>
                        <a:pt x="0" y="0"/>
                      </a:moveTo>
                      <a:lnTo>
                        <a:pt x="0" y="24253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2103" name="Forma livre: Forma 2102">
                <a:extLst>
                  <a:ext uri="{FF2B5EF4-FFF2-40B4-BE49-F238E27FC236}">
                    <a16:creationId xmlns:a16="http://schemas.microsoft.com/office/drawing/2014/main" id="{E4BF7E55-E386-1323-82BD-A6F6797D616B}"/>
                  </a:ext>
                </a:extLst>
              </p:cNvPr>
              <p:cNvSpPr/>
              <p:nvPr/>
            </p:nvSpPr>
            <p:spPr>
              <a:xfrm>
                <a:off x="10729825" y="3704606"/>
                <a:ext cx="6066" cy="6066"/>
              </a:xfrm>
              <a:custGeom>
                <a:avLst/>
                <a:gdLst>
                  <a:gd name="connsiteX0" fmla="*/ 6066 w 6066"/>
                  <a:gd name="connsiteY0" fmla="*/ 3033 h 6066"/>
                  <a:gd name="connsiteX1" fmla="*/ 3045 w 6066"/>
                  <a:gd name="connsiteY1" fmla="*/ 6066 h 6066"/>
                  <a:gd name="connsiteX2" fmla="*/ 0 w 6066"/>
                  <a:gd name="connsiteY2" fmla="*/ 3033 h 6066"/>
                  <a:gd name="connsiteX3" fmla="*/ 3045 w 6066"/>
                  <a:gd name="connsiteY3" fmla="*/ 0 h 6066"/>
                  <a:gd name="connsiteX4" fmla="*/ 6066 w 6066"/>
                  <a:gd name="connsiteY4" fmla="*/ 3033 h 60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066" h="6066">
                    <a:moveTo>
                      <a:pt x="6066" y="3033"/>
                    </a:moveTo>
                    <a:cubicBezTo>
                      <a:pt x="6066" y="4713"/>
                      <a:pt x="4713" y="6066"/>
                      <a:pt x="3045" y="6066"/>
                    </a:cubicBezTo>
                    <a:cubicBezTo>
                      <a:pt x="1378" y="6066"/>
                      <a:pt x="0" y="4713"/>
                      <a:pt x="0" y="3033"/>
                    </a:cubicBezTo>
                    <a:cubicBezTo>
                      <a:pt x="0" y="1353"/>
                      <a:pt x="1353" y="0"/>
                      <a:pt x="3045" y="0"/>
                    </a:cubicBezTo>
                    <a:cubicBezTo>
                      <a:pt x="4737" y="0"/>
                      <a:pt x="6066" y="1353"/>
                      <a:pt x="6066" y="3033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104" name="Forma livre: Forma 2103">
                <a:extLst>
                  <a:ext uri="{FF2B5EF4-FFF2-40B4-BE49-F238E27FC236}">
                    <a16:creationId xmlns:a16="http://schemas.microsoft.com/office/drawing/2014/main" id="{F64BD6D6-08A8-6FC9-DF39-DA2490290B41}"/>
                  </a:ext>
                </a:extLst>
              </p:cNvPr>
              <p:cNvSpPr/>
              <p:nvPr/>
            </p:nvSpPr>
            <p:spPr>
              <a:xfrm>
                <a:off x="10696485" y="3715385"/>
                <a:ext cx="6054" cy="6054"/>
              </a:xfrm>
              <a:custGeom>
                <a:avLst/>
                <a:gdLst>
                  <a:gd name="connsiteX0" fmla="*/ 6054 w 6054"/>
                  <a:gd name="connsiteY0" fmla="*/ 3033 h 6054"/>
                  <a:gd name="connsiteX1" fmla="*/ 3021 w 6054"/>
                  <a:gd name="connsiteY1" fmla="*/ 6054 h 6054"/>
                  <a:gd name="connsiteX2" fmla="*/ 0 w 6054"/>
                  <a:gd name="connsiteY2" fmla="*/ 3033 h 6054"/>
                  <a:gd name="connsiteX3" fmla="*/ 3021 w 6054"/>
                  <a:gd name="connsiteY3" fmla="*/ 0 h 6054"/>
                  <a:gd name="connsiteX4" fmla="*/ 6054 w 6054"/>
                  <a:gd name="connsiteY4" fmla="*/ 3033 h 60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054" h="6054">
                    <a:moveTo>
                      <a:pt x="6054" y="3033"/>
                    </a:moveTo>
                    <a:cubicBezTo>
                      <a:pt x="6054" y="4713"/>
                      <a:pt x="4713" y="6054"/>
                      <a:pt x="3021" y="6054"/>
                    </a:cubicBezTo>
                    <a:cubicBezTo>
                      <a:pt x="1329" y="6054"/>
                      <a:pt x="0" y="4713"/>
                      <a:pt x="0" y="3033"/>
                    </a:cubicBezTo>
                    <a:cubicBezTo>
                      <a:pt x="0" y="1353"/>
                      <a:pt x="1353" y="0"/>
                      <a:pt x="3021" y="0"/>
                    </a:cubicBezTo>
                    <a:cubicBezTo>
                      <a:pt x="4689" y="0"/>
                      <a:pt x="6054" y="1353"/>
                      <a:pt x="6054" y="3033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105" name="Forma livre: Forma 2104">
                <a:extLst>
                  <a:ext uri="{FF2B5EF4-FFF2-40B4-BE49-F238E27FC236}">
                    <a16:creationId xmlns:a16="http://schemas.microsoft.com/office/drawing/2014/main" id="{439A6ECE-60AF-F92C-0C7C-5711953258D6}"/>
                  </a:ext>
                </a:extLst>
              </p:cNvPr>
              <p:cNvSpPr/>
              <p:nvPr/>
            </p:nvSpPr>
            <p:spPr>
              <a:xfrm>
                <a:off x="10676195" y="3741619"/>
                <a:ext cx="6066" cy="6066"/>
              </a:xfrm>
              <a:custGeom>
                <a:avLst/>
                <a:gdLst>
                  <a:gd name="connsiteX0" fmla="*/ 6066 w 6066"/>
                  <a:gd name="connsiteY0" fmla="*/ 3033 h 6066"/>
                  <a:gd name="connsiteX1" fmla="*/ 3033 w 6066"/>
                  <a:gd name="connsiteY1" fmla="*/ 6066 h 6066"/>
                  <a:gd name="connsiteX2" fmla="*/ 0 w 6066"/>
                  <a:gd name="connsiteY2" fmla="*/ 3033 h 6066"/>
                  <a:gd name="connsiteX3" fmla="*/ 3033 w 6066"/>
                  <a:gd name="connsiteY3" fmla="*/ 0 h 6066"/>
                  <a:gd name="connsiteX4" fmla="*/ 6066 w 6066"/>
                  <a:gd name="connsiteY4" fmla="*/ 3033 h 60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066" h="6066">
                    <a:moveTo>
                      <a:pt x="6066" y="3033"/>
                    </a:moveTo>
                    <a:cubicBezTo>
                      <a:pt x="6066" y="4713"/>
                      <a:pt x="4713" y="6066"/>
                      <a:pt x="3033" y="6066"/>
                    </a:cubicBezTo>
                    <a:cubicBezTo>
                      <a:pt x="1353" y="6066"/>
                      <a:pt x="0" y="4713"/>
                      <a:pt x="0" y="3033"/>
                    </a:cubicBezTo>
                    <a:cubicBezTo>
                      <a:pt x="0" y="1353"/>
                      <a:pt x="1353" y="0"/>
                      <a:pt x="3033" y="0"/>
                    </a:cubicBezTo>
                    <a:cubicBezTo>
                      <a:pt x="4713" y="0"/>
                      <a:pt x="6066" y="1353"/>
                      <a:pt x="6066" y="3033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106" name="Forma livre: Forma 2105">
                <a:extLst>
                  <a:ext uri="{FF2B5EF4-FFF2-40B4-BE49-F238E27FC236}">
                    <a16:creationId xmlns:a16="http://schemas.microsoft.com/office/drawing/2014/main" id="{8B837EFC-419D-3510-DAE7-88521F7000F5}"/>
                  </a:ext>
                </a:extLst>
              </p:cNvPr>
              <p:cNvSpPr/>
              <p:nvPr/>
            </p:nvSpPr>
            <p:spPr>
              <a:xfrm>
                <a:off x="10674842" y="3775455"/>
                <a:ext cx="6066" cy="6066"/>
              </a:xfrm>
              <a:custGeom>
                <a:avLst/>
                <a:gdLst>
                  <a:gd name="connsiteX0" fmla="*/ 6066 w 6066"/>
                  <a:gd name="connsiteY0" fmla="*/ 3045 h 6066"/>
                  <a:gd name="connsiteX1" fmla="*/ 3033 w 6066"/>
                  <a:gd name="connsiteY1" fmla="*/ 6066 h 6066"/>
                  <a:gd name="connsiteX2" fmla="*/ 0 w 6066"/>
                  <a:gd name="connsiteY2" fmla="*/ 3045 h 6066"/>
                  <a:gd name="connsiteX3" fmla="*/ 3033 w 6066"/>
                  <a:gd name="connsiteY3" fmla="*/ 0 h 6066"/>
                  <a:gd name="connsiteX4" fmla="*/ 6066 w 6066"/>
                  <a:gd name="connsiteY4" fmla="*/ 3045 h 60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066" h="6066">
                    <a:moveTo>
                      <a:pt x="6066" y="3045"/>
                    </a:moveTo>
                    <a:cubicBezTo>
                      <a:pt x="6066" y="4725"/>
                      <a:pt x="4713" y="6066"/>
                      <a:pt x="3033" y="6066"/>
                    </a:cubicBezTo>
                    <a:cubicBezTo>
                      <a:pt x="1353" y="6066"/>
                      <a:pt x="0" y="4725"/>
                      <a:pt x="0" y="3045"/>
                    </a:cubicBezTo>
                    <a:cubicBezTo>
                      <a:pt x="0" y="1365"/>
                      <a:pt x="1353" y="0"/>
                      <a:pt x="3033" y="0"/>
                    </a:cubicBezTo>
                    <a:cubicBezTo>
                      <a:pt x="4713" y="0"/>
                      <a:pt x="6066" y="1353"/>
                      <a:pt x="6066" y="3045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2107" name="Forma livre: Forma 2106">
              <a:extLst>
                <a:ext uri="{FF2B5EF4-FFF2-40B4-BE49-F238E27FC236}">
                  <a16:creationId xmlns:a16="http://schemas.microsoft.com/office/drawing/2014/main" id="{91072B43-293A-26E7-76F2-E2518F151EBC}"/>
                </a:ext>
              </a:extLst>
            </p:cNvPr>
            <p:cNvSpPr/>
            <p:nvPr/>
          </p:nvSpPr>
          <p:spPr>
            <a:xfrm>
              <a:off x="10702576" y="3733210"/>
              <a:ext cx="61904" cy="61898"/>
            </a:xfrm>
            <a:custGeom>
              <a:avLst/>
              <a:gdLst>
                <a:gd name="connsiteX0" fmla="*/ 52722 w 61904"/>
                <a:gd name="connsiteY0" fmla="*/ 8941 h 61898"/>
                <a:gd name="connsiteX1" fmla="*/ 52951 w 61904"/>
                <a:gd name="connsiteY1" fmla="*/ 52710 h 61898"/>
                <a:gd name="connsiteX2" fmla="*/ 9183 w 61904"/>
                <a:gd name="connsiteY2" fmla="*/ 52951 h 61898"/>
                <a:gd name="connsiteX3" fmla="*/ 8953 w 61904"/>
                <a:gd name="connsiteY3" fmla="*/ 9183 h 61898"/>
                <a:gd name="connsiteX4" fmla="*/ 52722 w 61904"/>
                <a:gd name="connsiteY4" fmla="*/ 8953 h 61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1904" h="61898">
                  <a:moveTo>
                    <a:pt x="52722" y="8941"/>
                  </a:moveTo>
                  <a:cubicBezTo>
                    <a:pt x="64878" y="20977"/>
                    <a:pt x="64975" y="40565"/>
                    <a:pt x="52951" y="52710"/>
                  </a:cubicBezTo>
                  <a:cubicBezTo>
                    <a:pt x="40928" y="64866"/>
                    <a:pt x="21327" y="64975"/>
                    <a:pt x="9183" y="52951"/>
                  </a:cubicBezTo>
                  <a:cubicBezTo>
                    <a:pt x="-2974" y="40928"/>
                    <a:pt x="-3070" y="21327"/>
                    <a:pt x="8953" y="9183"/>
                  </a:cubicBezTo>
                  <a:cubicBezTo>
                    <a:pt x="20977" y="-2974"/>
                    <a:pt x="40577" y="-3070"/>
                    <a:pt x="52722" y="8953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08" name="Forma livre: Forma 2107">
              <a:extLst>
                <a:ext uri="{FF2B5EF4-FFF2-40B4-BE49-F238E27FC236}">
                  <a16:creationId xmlns:a16="http://schemas.microsoft.com/office/drawing/2014/main" id="{4B7A8184-D90D-8FAF-3E42-1F314684DDB4}"/>
                </a:ext>
              </a:extLst>
            </p:cNvPr>
            <p:cNvSpPr/>
            <p:nvPr/>
          </p:nvSpPr>
          <p:spPr>
            <a:xfrm>
              <a:off x="10711529" y="3742393"/>
              <a:ext cx="43998" cy="43526"/>
            </a:xfrm>
            <a:custGeom>
              <a:avLst/>
              <a:gdLst>
                <a:gd name="connsiteX0" fmla="*/ 0 w 43998"/>
                <a:gd name="connsiteY0" fmla="*/ 0 h 43526"/>
                <a:gd name="connsiteX1" fmla="*/ 43998 w 43998"/>
                <a:gd name="connsiteY1" fmla="*/ 43527 h 435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3998" h="43526">
                  <a:moveTo>
                    <a:pt x="0" y="0"/>
                  </a:moveTo>
                  <a:lnTo>
                    <a:pt x="43998" y="43527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2109" name="Gráfico 19">
              <a:extLst>
                <a:ext uri="{FF2B5EF4-FFF2-40B4-BE49-F238E27FC236}">
                  <a16:creationId xmlns:a16="http://schemas.microsoft.com/office/drawing/2014/main" id="{56370976-DAC9-B7E3-4925-E1A56E6BD9F4}"/>
                </a:ext>
              </a:extLst>
            </p:cNvPr>
            <p:cNvGrpSpPr/>
            <p:nvPr/>
          </p:nvGrpSpPr>
          <p:grpSpPr>
            <a:xfrm>
              <a:off x="10630215" y="3591281"/>
              <a:ext cx="36989" cy="5933"/>
              <a:chOff x="10630215" y="3591281"/>
              <a:chExt cx="36989" cy="5933"/>
            </a:xfrm>
            <a:solidFill>
              <a:srgbClr val="394553"/>
            </a:solidFill>
          </p:grpSpPr>
          <p:sp>
            <p:nvSpPr>
              <p:cNvPr id="2110" name="Forma livre: Forma 2109">
                <a:extLst>
                  <a:ext uri="{FF2B5EF4-FFF2-40B4-BE49-F238E27FC236}">
                    <a16:creationId xmlns:a16="http://schemas.microsoft.com/office/drawing/2014/main" id="{55055323-BC93-3C83-0CEC-3DC22A7E537D}"/>
                  </a:ext>
                </a:extLst>
              </p:cNvPr>
              <p:cNvSpPr/>
              <p:nvPr/>
            </p:nvSpPr>
            <p:spPr>
              <a:xfrm>
                <a:off x="10630215" y="3591281"/>
                <a:ext cx="5933" cy="5933"/>
              </a:xfrm>
              <a:custGeom>
                <a:avLst/>
                <a:gdLst>
                  <a:gd name="connsiteX0" fmla="*/ 5933 w 5933"/>
                  <a:gd name="connsiteY0" fmla="*/ 2973 h 5933"/>
                  <a:gd name="connsiteX1" fmla="*/ 2973 w 5933"/>
                  <a:gd name="connsiteY1" fmla="*/ 5933 h 5933"/>
                  <a:gd name="connsiteX2" fmla="*/ 0 w 5933"/>
                  <a:gd name="connsiteY2" fmla="*/ 2973 h 5933"/>
                  <a:gd name="connsiteX3" fmla="*/ 2973 w 5933"/>
                  <a:gd name="connsiteY3" fmla="*/ 0 h 5933"/>
                  <a:gd name="connsiteX4" fmla="*/ 5933 w 5933"/>
                  <a:gd name="connsiteY4" fmla="*/ 2973 h 59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933" h="5933">
                    <a:moveTo>
                      <a:pt x="5933" y="2973"/>
                    </a:moveTo>
                    <a:cubicBezTo>
                      <a:pt x="5933" y="4616"/>
                      <a:pt x="4616" y="5933"/>
                      <a:pt x="2973" y="5933"/>
                    </a:cubicBezTo>
                    <a:cubicBezTo>
                      <a:pt x="1329" y="5933"/>
                      <a:pt x="0" y="4616"/>
                      <a:pt x="0" y="2973"/>
                    </a:cubicBezTo>
                    <a:cubicBezTo>
                      <a:pt x="0" y="1329"/>
                      <a:pt x="1341" y="0"/>
                      <a:pt x="2973" y="0"/>
                    </a:cubicBezTo>
                    <a:cubicBezTo>
                      <a:pt x="4604" y="0"/>
                      <a:pt x="5933" y="1329"/>
                      <a:pt x="5933" y="2973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111" name="Forma livre: Forma 2110">
                <a:extLst>
                  <a:ext uri="{FF2B5EF4-FFF2-40B4-BE49-F238E27FC236}">
                    <a16:creationId xmlns:a16="http://schemas.microsoft.com/office/drawing/2014/main" id="{053DAE4B-F427-3318-0F4B-3D2E690D0D16}"/>
                  </a:ext>
                </a:extLst>
              </p:cNvPr>
              <p:cNvSpPr/>
              <p:nvPr/>
            </p:nvSpPr>
            <p:spPr>
              <a:xfrm>
                <a:off x="10661271" y="3591281"/>
                <a:ext cx="5933" cy="5933"/>
              </a:xfrm>
              <a:custGeom>
                <a:avLst/>
                <a:gdLst>
                  <a:gd name="connsiteX0" fmla="*/ 5933 w 5933"/>
                  <a:gd name="connsiteY0" fmla="*/ 2973 h 5933"/>
                  <a:gd name="connsiteX1" fmla="*/ 2973 w 5933"/>
                  <a:gd name="connsiteY1" fmla="*/ 5933 h 5933"/>
                  <a:gd name="connsiteX2" fmla="*/ 0 w 5933"/>
                  <a:gd name="connsiteY2" fmla="*/ 2973 h 5933"/>
                  <a:gd name="connsiteX3" fmla="*/ 2973 w 5933"/>
                  <a:gd name="connsiteY3" fmla="*/ 0 h 5933"/>
                  <a:gd name="connsiteX4" fmla="*/ 5933 w 5933"/>
                  <a:gd name="connsiteY4" fmla="*/ 2973 h 59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933" h="5933">
                    <a:moveTo>
                      <a:pt x="5933" y="2973"/>
                    </a:moveTo>
                    <a:cubicBezTo>
                      <a:pt x="5933" y="4616"/>
                      <a:pt x="4616" y="5933"/>
                      <a:pt x="2973" y="5933"/>
                    </a:cubicBezTo>
                    <a:cubicBezTo>
                      <a:pt x="1329" y="5933"/>
                      <a:pt x="0" y="4616"/>
                      <a:pt x="0" y="2973"/>
                    </a:cubicBezTo>
                    <a:cubicBezTo>
                      <a:pt x="0" y="1329"/>
                      <a:pt x="1341" y="0"/>
                      <a:pt x="2973" y="0"/>
                    </a:cubicBezTo>
                    <a:cubicBezTo>
                      <a:pt x="4604" y="0"/>
                      <a:pt x="5933" y="1329"/>
                      <a:pt x="5933" y="2973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2112" name="Forma livre: Forma 2111">
              <a:extLst>
                <a:ext uri="{FF2B5EF4-FFF2-40B4-BE49-F238E27FC236}">
                  <a16:creationId xmlns:a16="http://schemas.microsoft.com/office/drawing/2014/main" id="{5B211116-3FE0-9307-A0D3-F9211355833B}"/>
                </a:ext>
              </a:extLst>
            </p:cNvPr>
            <p:cNvSpPr/>
            <p:nvPr/>
          </p:nvSpPr>
          <p:spPr>
            <a:xfrm>
              <a:off x="10645743" y="3611945"/>
              <a:ext cx="5933" cy="5945"/>
            </a:xfrm>
            <a:custGeom>
              <a:avLst/>
              <a:gdLst>
                <a:gd name="connsiteX0" fmla="*/ 5933 w 5933"/>
                <a:gd name="connsiteY0" fmla="*/ 2973 h 5945"/>
                <a:gd name="connsiteX1" fmla="*/ 2973 w 5933"/>
                <a:gd name="connsiteY1" fmla="*/ 5945 h 5945"/>
                <a:gd name="connsiteX2" fmla="*/ 0 w 5933"/>
                <a:gd name="connsiteY2" fmla="*/ 2973 h 5945"/>
                <a:gd name="connsiteX3" fmla="*/ 2973 w 5933"/>
                <a:gd name="connsiteY3" fmla="*/ 0 h 5945"/>
                <a:gd name="connsiteX4" fmla="*/ 5933 w 5933"/>
                <a:gd name="connsiteY4" fmla="*/ 2973 h 59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933" h="5945">
                  <a:moveTo>
                    <a:pt x="5933" y="2973"/>
                  </a:moveTo>
                  <a:cubicBezTo>
                    <a:pt x="5933" y="4616"/>
                    <a:pt x="4616" y="5945"/>
                    <a:pt x="2973" y="5945"/>
                  </a:cubicBezTo>
                  <a:cubicBezTo>
                    <a:pt x="1329" y="5945"/>
                    <a:pt x="0" y="4628"/>
                    <a:pt x="0" y="2973"/>
                  </a:cubicBezTo>
                  <a:cubicBezTo>
                    <a:pt x="0" y="1317"/>
                    <a:pt x="1329" y="0"/>
                    <a:pt x="2973" y="0"/>
                  </a:cubicBezTo>
                  <a:cubicBezTo>
                    <a:pt x="4616" y="0"/>
                    <a:pt x="5933" y="1329"/>
                    <a:pt x="5933" y="2973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2113" name="Gráfico 19">
            <a:extLst>
              <a:ext uri="{FF2B5EF4-FFF2-40B4-BE49-F238E27FC236}">
                <a16:creationId xmlns:a16="http://schemas.microsoft.com/office/drawing/2014/main" id="{8A054F0D-F395-D047-5265-F98B1F25D1D8}"/>
              </a:ext>
            </a:extLst>
          </p:cNvPr>
          <p:cNvGrpSpPr/>
          <p:nvPr/>
        </p:nvGrpSpPr>
        <p:grpSpPr>
          <a:xfrm>
            <a:off x="9902390" y="3567246"/>
            <a:ext cx="286730" cy="282650"/>
            <a:chOff x="9902390" y="3567246"/>
            <a:chExt cx="286730" cy="282650"/>
          </a:xfrm>
        </p:grpSpPr>
        <p:sp>
          <p:nvSpPr>
            <p:cNvPr id="2114" name="Forma livre: Forma 2113">
              <a:extLst>
                <a:ext uri="{FF2B5EF4-FFF2-40B4-BE49-F238E27FC236}">
                  <a16:creationId xmlns:a16="http://schemas.microsoft.com/office/drawing/2014/main" id="{4F25ECAB-2DE3-746A-EF73-7AC79785583C}"/>
                </a:ext>
              </a:extLst>
            </p:cNvPr>
            <p:cNvSpPr/>
            <p:nvPr/>
          </p:nvSpPr>
          <p:spPr>
            <a:xfrm>
              <a:off x="10084014" y="3685477"/>
              <a:ext cx="71574" cy="69314"/>
            </a:xfrm>
            <a:custGeom>
              <a:avLst/>
              <a:gdLst>
                <a:gd name="connsiteX0" fmla="*/ 59260 w 71574"/>
                <a:gd name="connsiteY0" fmla="*/ 0 h 69314"/>
                <a:gd name="connsiteX1" fmla="*/ 71574 w 71574"/>
                <a:gd name="connsiteY1" fmla="*/ 22549 h 69314"/>
                <a:gd name="connsiteX2" fmla="*/ 0 w 71574"/>
                <a:gd name="connsiteY2" fmla="*/ 69314 h 693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71574" h="69314">
                  <a:moveTo>
                    <a:pt x="59260" y="0"/>
                  </a:moveTo>
                  <a:cubicBezTo>
                    <a:pt x="67139" y="6803"/>
                    <a:pt x="71574" y="14453"/>
                    <a:pt x="71574" y="22549"/>
                  </a:cubicBezTo>
                  <a:cubicBezTo>
                    <a:pt x="71574" y="43430"/>
                    <a:pt x="42161" y="61375"/>
                    <a:pt x="0" y="69314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15" name="Forma livre: Forma 2114">
              <a:extLst>
                <a:ext uri="{FF2B5EF4-FFF2-40B4-BE49-F238E27FC236}">
                  <a16:creationId xmlns:a16="http://schemas.microsoft.com/office/drawing/2014/main" id="{42A36DFC-4627-2951-308E-F38636B55B26}"/>
                </a:ext>
              </a:extLst>
            </p:cNvPr>
            <p:cNvSpPr/>
            <p:nvPr/>
          </p:nvSpPr>
          <p:spPr>
            <a:xfrm>
              <a:off x="9915284" y="3704823"/>
              <a:ext cx="111910" cy="54209"/>
            </a:xfrm>
            <a:custGeom>
              <a:avLst/>
              <a:gdLst>
                <a:gd name="connsiteX0" fmla="*/ 111911 w 111910"/>
                <a:gd name="connsiteY0" fmla="*/ 54209 h 54209"/>
                <a:gd name="connsiteX1" fmla="*/ 0 w 111910"/>
                <a:gd name="connsiteY1" fmla="*/ 3214 h 54209"/>
                <a:gd name="connsiteX2" fmla="*/ 230 w 111910"/>
                <a:gd name="connsiteY2" fmla="*/ 0 h 542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11910" h="54209">
                  <a:moveTo>
                    <a:pt x="111911" y="54209"/>
                  </a:moveTo>
                  <a:cubicBezTo>
                    <a:pt x="49400" y="52409"/>
                    <a:pt x="0" y="30271"/>
                    <a:pt x="0" y="3214"/>
                  </a:cubicBezTo>
                  <a:cubicBezTo>
                    <a:pt x="0" y="2139"/>
                    <a:pt x="73" y="1063"/>
                    <a:pt x="230" y="0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16" name="Forma livre: Forma 2115">
              <a:extLst>
                <a:ext uri="{FF2B5EF4-FFF2-40B4-BE49-F238E27FC236}">
                  <a16:creationId xmlns:a16="http://schemas.microsoft.com/office/drawing/2014/main" id="{1A77A48D-DEF2-FA22-2379-C46777819340}"/>
                </a:ext>
              </a:extLst>
            </p:cNvPr>
            <p:cNvSpPr/>
            <p:nvPr/>
          </p:nvSpPr>
          <p:spPr>
            <a:xfrm>
              <a:off x="10083990" y="3673888"/>
              <a:ext cx="58704" cy="50257"/>
            </a:xfrm>
            <a:custGeom>
              <a:avLst/>
              <a:gdLst>
                <a:gd name="connsiteX0" fmla="*/ 57798 w 58704"/>
                <a:gd name="connsiteY0" fmla="*/ 0 h 50257"/>
                <a:gd name="connsiteX1" fmla="*/ 58705 w 58704"/>
                <a:gd name="connsiteY1" fmla="*/ 6320 h 50257"/>
                <a:gd name="connsiteX2" fmla="*/ 0 w 58704"/>
                <a:gd name="connsiteY2" fmla="*/ 50258 h 502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58704" h="50257">
                  <a:moveTo>
                    <a:pt x="57798" y="0"/>
                  </a:moveTo>
                  <a:cubicBezTo>
                    <a:pt x="58390" y="2066"/>
                    <a:pt x="58705" y="4181"/>
                    <a:pt x="58705" y="6320"/>
                  </a:cubicBezTo>
                  <a:cubicBezTo>
                    <a:pt x="58705" y="25002"/>
                    <a:pt x="35153" y="41340"/>
                    <a:pt x="0" y="50258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17" name="Forma livre: Forma 2116">
              <a:extLst>
                <a:ext uri="{FF2B5EF4-FFF2-40B4-BE49-F238E27FC236}">
                  <a16:creationId xmlns:a16="http://schemas.microsoft.com/office/drawing/2014/main" id="{7DB6A605-B10E-71DD-3062-85ACCBAD24D7}"/>
                </a:ext>
              </a:extLst>
            </p:cNvPr>
            <p:cNvSpPr/>
            <p:nvPr/>
          </p:nvSpPr>
          <p:spPr>
            <a:xfrm>
              <a:off x="9902390" y="3680196"/>
              <a:ext cx="122593" cy="51103"/>
            </a:xfrm>
            <a:custGeom>
              <a:avLst/>
              <a:gdLst>
                <a:gd name="connsiteX0" fmla="*/ 122593 w 122593"/>
                <a:gd name="connsiteY0" fmla="*/ 51104 h 51103"/>
                <a:gd name="connsiteX1" fmla="*/ 120152 w 122593"/>
                <a:gd name="connsiteY1" fmla="*/ 51104 h 51103"/>
                <a:gd name="connsiteX2" fmla="*/ 0 w 122593"/>
                <a:gd name="connsiteY2" fmla="*/ 0 h 511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2593" h="51103">
                  <a:moveTo>
                    <a:pt x="122593" y="51104"/>
                  </a:moveTo>
                  <a:cubicBezTo>
                    <a:pt x="121784" y="51104"/>
                    <a:pt x="120974" y="51104"/>
                    <a:pt x="120152" y="51104"/>
                  </a:cubicBezTo>
                  <a:cubicBezTo>
                    <a:pt x="53798" y="51104"/>
                    <a:pt x="0" y="28228"/>
                    <a:pt x="0" y="0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18" name="Forma livre: Forma 2117">
              <a:extLst>
                <a:ext uri="{FF2B5EF4-FFF2-40B4-BE49-F238E27FC236}">
                  <a16:creationId xmlns:a16="http://schemas.microsoft.com/office/drawing/2014/main" id="{6E432BAD-308C-82BD-B14C-9A1003C81582}"/>
                </a:ext>
              </a:extLst>
            </p:cNvPr>
            <p:cNvSpPr/>
            <p:nvPr/>
          </p:nvSpPr>
          <p:spPr>
            <a:xfrm>
              <a:off x="10084606" y="3629588"/>
              <a:ext cx="70450" cy="65568"/>
            </a:xfrm>
            <a:custGeom>
              <a:avLst/>
              <a:gdLst>
                <a:gd name="connsiteX0" fmla="*/ 61834 w 70450"/>
                <a:gd name="connsiteY0" fmla="*/ 0 h 65568"/>
                <a:gd name="connsiteX1" fmla="*/ 70450 w 70450"/>
                <a:gd name="connsiteY1" fmla="*/ 19032 h 65568"/>
                <a:gd name="connsiteX2" fmla="*/ 0 w 70450"/>
                <a:gd name="connsiteY2" fmla="*/ 65568 h 655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70450" h="65568">
                  <a:moveTo>
                    <a:pt x="61834" y="0"/>
                  </a:moveTo>
                  <a:cubicBezTo>
                    <a:pt x="67393" y="5885"/>
                    <a:pt x="70450" y="12302"/>
                    <a:pt x="70450" y="19032"/>
                  </a:cubicBezTo>
                  <a:cubicBezTo>
                    <a:pt x="70450" y="39708"/>
                    <a:pt x="41545" y="57532"/>
                    <a:pt x="0" y="65568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19" name="Forma livre: Forma 2118">
              <a:extLst>
                <a:ext uri="{FF2B5EF4-FFF2-40B4-BE49-F238E27FC236}">
                  <a16:creationId xmlns:a16="http://schemas.microsoft.com/office/drawing/2014/main" id="{867DD73D-DC9F-079F-8552-BE6EFFAA1CF3}"/>
                </a:ext>
              </a:extLst>
            </p:cNvPr>
            <p:cNvSpPr/>
            <p:nvPr/>
          </p:nvSpPr>
          <p:spPr>
            <a:xfrm>
              <a:off x="9914752" y="3639412"/>
              <a:ext cx="107874" cy="60033"/>
            </a:xfrm>
            <a:custGeom>
              <a:avLst/>
              <a:gdLst>
                <a:gd name="connsiteX0" fmla="*/ 107875 w 107874"/>
                <a:gd name="connsiteY0" fmla="*/ 60034 h 60033"/>
                <a:gd name="connsiteX1" fmla="*/ 0 w 107874"/>
                <a:gd name="connsiteY1" fmla="*/ 9208 h 60033"/>
                <a:gd name="connsiteX2" fmla="*/ 1946 w 107874"/>
                <a:gd name="connsiteY2" fmla="*/ 0 h 60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07874" h="60033">
                  <a:moveTo>
                    <a:pt x="107875" y="60034"/>
                  </a:moveTo>
                  <a:cubicBezTo>
                    <a:pt x="47273" y="57424"/>
                    <a:pt x="0" y="35660"/>
                    <a:pt x="0" y="9208"/>
                  </a:cubicBezTo>
                  <a:cubicBezTo>
                    <a:pt x="0" y="6054"/>
                    <a:pt x="665" y="2985"/>
                    <a:pt x="1946" y="0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20" name="Forma livre: Forma 2119">
              <a:extLst>
                <a:ext uri="{FF2B5EF4-FFF2-40B4-BE49-F238E27FC236}">
                  <a16:creationId xmlns:a16="http://schemas.microsoft.com/office/drawing/2014/main" id="{696902FB-8A3E-A289-B45B-08FAEEAA8DE2}"/>
                </a:ext>
              </a:extLst>
            </p:cNvPr>
            <p:cNvSpPr/>
            <p:nvPr/>
          </p:nvSpPr>
          <p:spPr>
            <a:xfrm>
              <a:off x="9907876" y="3567246"/>
              <a:ext cx="240316" cy="102001"/>
            </a:xfrm>
            <a:custGeom>
              <a:avLst/>
              <a:gdLst>
                <a:gd name="connsiteX0" fmla="*/ 110654 w 240316"/>
                <a:gd name="connsiteY0" fmla="*/ 102002 h 102001"/>
                <a:gd name="connsiteX1" fmla="*/ 0 w 240316"/>
                <a:gd name="connsiteY1" fmla="*/ 51092 h 102001"/>
                <a:gd name="connsiteX2" fmla="*/ 120152 w 240316"/>
                <a:gd name="connsiteY2" fmla="*/ 0 h 102001"/>
                <a:gd name="connsiteX3" fmla="*/ 240316 w 240316"/>
                <a:gd name="connsiteY3" fmla="*/ 51092 h 102001"/>
                <a:gd name="connsiteX4" fmla="*/ 176718 w 240316"/>
                <a:gd name="connsiteY4" fmla="*/ 96189 h 1020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0316" h="102001">
                  <a:moveTo>
                    <a:pt x="110654" y="102002"/>
                  </a:moveTo>
                  <a:cubicBezTo>
                    <a:pt x="49182" y="99754"/>
                    <a:pt x="0" y="77810"/>
                    <a:pt x="0" y="51092"/>
                  </a:cubicBezTo>
                  <a:cubicBezTo>
                    <a:pt x="0" y="22875"/>
                    <a:pt x="53798" y="0"/>
                    <a:pt x="120152" y="0"/>
                  </a:cubicBezTo>
                  <a:cubicBezTo>
                    <a:pt x="186506" y="0"/>
                    <a:pt x="240316" y="22875"/>
                    <a:pt x="240316" y="51092"/>
                  </a:cubicBezTo>
                  <a:cubicBezTo>
                    <a:pt x="240316" y="70619"/>
                    <a:pt x="214565" y="87586"/>
                    <a:pt x="176718" y="96189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21" name="Forma livre: Forma 2120">
              <a:extLst>
                <a:ext uri="{FF2B5EF4-FFF2-40B4-BE49-F238E27FC236}">
                  <a16:creationId xmlns:a16="http://schemas.microsoft.com/office/drawing/2014/main" id="{A8CB4151-082A-CD93-90C4-C69BBAE05936}"/>
                </a:ext>
              </a:extLst>
            </p:cNvPr>
            <p:cNvSpPr/>
            <p:nvPr/>
          </p:nvSpPr>
          <p:spPr>
            <a:xfrm>
              <a:off x="9902414" y="3595789"/>
              <a:ext cx="240292" cy="193236"/>
            </a:xfrm>
            <a:custGeom>
              <a:avLst/>
              <a:gdLst>
                <a:gd name="connsiteX0" fmla="*/ 239785 w 240292"/>
                <a:gd name="connsiteY0" fmla="*/ 137456 h 193236"/>
                <a:gd name="connsiteX1" fmla="*/ 240292 w 240292"/>
                <a:gd name="connsiteY1" fmla="*/ 142121 h 193236"/>
                <a:gd name="connsiteX2" fmla="*/ 180790 w 240292"/>
                <a:gd name="connsiteY2" fmla="*/ 186252 h 193236"/>
                <a:gd name="connsiteX3" fmla="*/ 180488 w 240292"/>
                <a:gd name="connsiteY3" fmla="*/ 186216 h 193236"/>
                <a:gd name="connsiteX4" fmla="*/ 181527 w 240292"/>
                <a:gd name="connsiteY4" fmla="*/ 67695 h 193236"/>
                <a:gd name="connsiteX5" fmla="*/ 199569 w 240292"/>
                <a:gd name="connsiteY5" fmla="*/ 36010 h 193236"/>
                <a:gd name="connsiteX6" fmla="*/ 199569 w 240292"/>
                <a:gd name="connsiteY6" fmla="*/ 11540 h 193236"/>
                <a:gd name="connsiteX7" fmla="*/ 150640 w 240292"/>
                <a:gd name="connsiteY7" fmla="*/ 314 h 193236"/>
                <a:gd name="connsiteX8" fmla="*/ 83102 w 240292"/>
                <a:gd name="connsiteY8" fmla="*/ 8845 h 193236"/>
                <a:gd name="connsiteX9" fmla="*/ 75900 w 240292"/>
                <a:gd name="connsiteY9" fmla="*/ 30355 h 193236"/>
                <a:gd name="connsiteX10" fmla="*/ 114110 w 240292"/>
                <a:gd name="connsiteY10" fmla="*/ 48384 h 193236"/>
                <a:gd name="connsiteX11" fmla="*/ 139028 w 240292"/>
                <a:gd name="connsiteY11" fmla="*/ 69000 h 193236"/>
                <a:gd name="connsiteX12" fmla="*/ 149855 w 240292"/>
                <a:gd name="connsiteY12" fmla="*/ 191629 h 193236"/>
                <a:gd name="connsiteX13" fmla="*/ 149299 w 240292"/>
                <a:gd name="connsiteY13" fmla="*/ 191726 h 193236"/>
                <a:gd name="connsiteX14" fmla="*/ 120152 w 240292"/>
                <a:gd name="connsiteY14" fmla="*/ 193237 h 193236"/>
                <a:gd name="connsiteX15" fmla="*/ 0 w 240292"/>
                <a:gd name="connsiteY15" fmla="*/ 142133 h 193236"/>
                <a:gd name="connsiteX16" fmla="*/ 12410 w 240292"/>
                <a:gd name="connsiteY16" fmla="*/ 119487 h 193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40292" h="193236">
                  <a:moveTo>
                    <a:pt x="239785" y="137456"/>
                  </a:moveTo>
                  <a:cubicBezTo>
                    <a:pt x="240123" y="138991"/>
                    <a:pt x="240292" y="140550"/>
                    <a:pt x="240292" y="142121"/>
                  </a:cubicBezTo>
                  <a:cubicBezTo>
                    <a:pt x="240292" y="160936"/>
                    <a:pt x="216378" y="177382"/>
                    <a:pt x="180790" y="186252"/>
                  </a:cubicBezTo>
                  <a:lnTo>
                    <a:pt x="180488" y="186216"/>
                  </a:lnTo>
                  <a:lnTo>
                    <a:pt x="181527" y="67695"/>
                  </a:lnTo>
                  <a:cubicBezTo>
                    <a:pt x="182808" y="48372"/>
                    <a:pt x="199569" y="36010"/>
                    <a:pt x="199569" y="36010"/>
                  </a:cubicBezTo>
                  <a:cubicBezTo>
                    <a:pt x="199569" y="36010"/>
                    <a:pt x="220281" y="22053"/>
                    <a:pt x="199569" y="11540"/>
                  </a:cubicBezTo>
                  <a:cubicBezTo>
                    <a:pt x="184863" y="3432"/>
                    <a:pt x="150640" y="314"/>
                    <a:pt x="150640" y="314"/>
                  </a:cubicBezTo>
                  <a:cubicBezTo>
                    <a:pt x="108624" y="-1958"/>
                    <a:pt x="83102" y="8845"/>
                    <a:pt x="83102" y="8845"/>
                  </a:cubicBezTo>
                  <a:cubicBezTo>
                    <a:pt x="83102" y="8845"/>
                    <a:pt x="65991" y="16652"/>
                    <a:pt x="75900" y="30355"/>
                  </a:cubicBezTo>
                  <a:cubicBezTo>
                    <a:pt x="75900" y="30355"/>
                    <a:pt x="81012" y="40965"/>
                    <a:pt x="114110" y="48384"/>
                  </a:cubicBezTo>
                  <a:cubicBezTo>
                    <a:pt x="114110" y="48384"/>
                    <a:pt x="135934" y="51176"/>
                    <a:pt x="139028" y="69000"/>
                  </a:cubicBezTo>
                  <a:lnTo>
                    <a:pt x="149855" y="191629"/>
                  </a:lnTo>
                  <a:lnTo>
                    <a:pt x="149299" y="191726"/>
                  </a:lnTo>
                  <a:cubicBezTo>
                    <a:pt x="139970" y="192717"/>
                    <a:pt x="130206" y="193237"/>
                    <a:pt x="120152" y="193237"/>
                  </a:cubicBezTo>
                  <a:cubicBezTo>
                    <a:pt x="53798" y="193237"/>
                    <a:pt x="0" y="170349"/>
                    <a:pt x="0" y="142133"/>
                  </a:cubicBezTo>
                  <a:cubicBezTo>
                    <a:pt x="0" y="134000"/>
                    <a:pt x="4471" y="126315"/>
                    <a:pt x="12410" y="119487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22" name="Forma livre: Forma 2121">
              <a:extLst>
                <a:ext uri="{FF2B5EF4-FFF2-40B4-BE49-F238E27FC236}">
                  <a16:creationId xmlns:a16="http://schemas.microsoft.com/office/drawing/2014/main" id="{BF5A0E99-3723-BF7A-A8B5-0F8F12F0B3C2}"/>
                </a:ext>
              </a:extLst>
            </p:cNvPr>
            <p:cNvSpPr/>
            <p:nvPr/>
          </p:nvSpPr>
          <p:spPr>
            <a:xfrm>
              <a:off x="10009939" y="3772857"/>
              <a:ext cx="179181" cy="77039"/>
            </a:xfrm>
            <a:custGeom>
              <a:avLst/>
              <a:gdLst>
                <a:gd name="connsiteX0" fmla="*/ 0 w 179181"/>
                <a:gd name="connsiteY0" fmla="*/ 38186 h 77039"/>
                <a:gd name="connsiteX1" fmla="*/ 34935 w 179181"/>
                <a:gd name="connsiteY1" fmla="*/ 50125 h 77039"/>
                <a:gd name="connsiteX2" fmla="*/ 60698 w 179181"/>
                <a:gd name="connsiteY2" fmla="*/ 63164 h 77039"/>
                <a:gd name="connsiteX3" fmla="*/ 165661 w 179181"/>
                <a:gd name="connsiteY3" fmla="*/ 57508 h 77039"/>
                <a:gd name="connsiteX4" fmla="*/ 177697 w 179181"/>
                <a:gd name="connsiteY4" fmla="*/ 26223 h 77039"/>
                <a:gd name="connsiteX5" fmla="*/ 102135 w 179181"/>
                <a:gd name="connsiteY5" fmla="*/ 0 h 770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79181" h="77039">
                  <a:moveTo>
                    <a:pt x="0" y="38186"/>
                  </a:moveTo>
                  <a:cubicBezTo>
                    <a:pt x="4580" y="43612"/>
                    <a:pt x="12386" y="46258"/>
                    <a:pt x="34935" y="50125"/>
                  </a:cubicBezTo>
                  <a:cubicBezTo>
                    <a:pt x="34935" y="50125"/>
                    <a:pt x="48626" y="52795"/>
                    <a:pt x="60698" y="63164"/>
                  </a:cubicBezTo>
                  <a:cubicBezTo>
                    <a:pt x="60698" y="63164"/>
                    <a:pt x="101241" y="97869"/>
                    <a:pt x="165661" y="57508"/>
                  </a:cubicBezTo>
                  <a:cubicBezTo>
                    <a:pt x="165661" y="57508"/>
                    <a:pt x="184512" y="47406"/>
                    <a:pt x="177697" y="26223"/>
                  </a:cubicBezTo>
                  <a:cubicBezTo>
                    <a:pt x="170313" y="3287"/>
                    <a:pt x="102135" y="0"/>
                    <a:pt x="102135" y="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23" name="Forma livre: Forma 2122">
              <a:extLst>
                <a:ext uri="{FF2B5EF4-FFF2-40B4-BE49-F238E27FC236}">
                  <a16:creationId xmlns:a16="http://schemas.microsoft.com/office/drawing/2014/main" id="{A6D8D428-2AD1-C5FD-4BB8-9623594D8317}"/>
                </a:ext>
              </a:extLst>
            </p:cNvPr>
            <p:cNvSpPr/>
            <p:nvPr/>
          </p:nvSpPr>
          <p:spPr>
            <a:xfrm>
              <a:off x="9989057" y="3784300"/>
              <a:ext cx="157" cy="145"/>
            </a:xfrm>
            <a:custGeom>
              <a:avLst/>
              <a:gdLst>
                <a:gd name="connsiteX0" fmla="*/ 0 w 157"/>
                <a:gd name="connsiteY0" fmla="*/ 145 h 145"/>
                <a:gd name="connsiteX1" fmla="*/ 157 w 157"/>
                <a:gd name="connsiteY1" fmla="*/ 0 h 145"/>
                <a:gd name="connsiteX2" fmla="*/ 0 w 157"/>
                <a:gd name="connsiteY2" fmla="*/ 145 h 1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57" h="145">
                  <a:moveTo>
                    <a:pt x="0" y="145"/>
                  </a:moveTo>
                  <a:cubicBezTo>
                    <a:pt x="97" y="48"/>
                    <a:pt x="157" y="0"/>
                    <a:pt x="157" y="0"/>
                  </a:cubicBezTo>
                  <a:cubicBezTo>
                    <a:pt x="157" y="0"/>
                    <a:pt x="97" y="60"/>
                    <a:pt x="0" y="145"/>
                  </a:cubicBezTo>
                  <a:close/>
                </a:path>
              </a:pathLst>
            </a:custGeom>
            <a:solidFill>
              <a:srgbClr val="006DC2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2124" name="Gráfico 19">
            <a:extLst>
              <a:ext uri="{FF2B5EF4-FFF2-40B4-BE49-F238E27FC236}">
                <a16:creationId xmlns:a16="http://schemas.microsoft.com/office/drawing/2014/main" id="{92BA87D6-A9FA-9323-DCC3-0682E5586425}"/>
              </a:ext>
            </a:extLst>
          </p:cNvPr>
          <p:cNvGrpSpPr/>
          <p:nvPr/>
        </p:nvGrpSpPr>
        <p:grpSpPr>
          <a:xfrm>
            <a:off x="11146581" y="3572473"/>
            <a:ext cx="312826" cy="272183"/>
            <a:chOff x="11146581" y="3572473"/>
            <a:chExt cx="312826" cy="272183"/>
          </a:xfrm>
          <a:noFill/>
        </p:grpSpPr>
        <p:sp>
          <p:nvSpPr>
            <p:cNvPr id="2125" name="Forma livre: Forma 2124">
              <a:extLst>
                <a:ext uri="{FF2B5EF4-FFF2-40B4-BE49-F238E27FC236}">
                  <a16:creationId xmlns:a16="http://schemas.microsoft.com/office/drawing/2014/main" id="{664C19C1-275D-30D9-0E66-88B4667EE08C}"/>
                </a:ext>
              </a:extLst>
            </p:cNvPr>
            <p:cNvSpPr/>
            <p:nvPr/>
          </p:nvSpPr>
          <p:spPr>
            <a:xfrm>
              <a:off x="11273911" y="3572473"/>
              <a:ext cx="126421" cy="122416"/>
            </a:xfrm>
            <a:custGeom>
              <a:avLst/>
              <a:gdLst>
                <a:gd name="connsiteX0" fmla="*/ 124587 w 126421"/>
                <a:gd name="connsiteY0" fmla="*/ 122417 h 122416"/>
                <a:gd name="connsiteX1" fmla="*/ 82268 w 126421"/>
                <a:gd name="connsiteY1" fmla="*/ 790 h 122416"/>
                <a:gd name="connsiteX2" fmla="*/ 0 w 126421"/>
                <a:gd name="connsiteY2" fmla="*/ 66069 h 1224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6421" h="122416">
                  <a:moveTo>
                    <a:pt x="124587" y="122417"/>
                  </a:moveTo>
                  <a:cubicBezTo>
                    <a:pt x="131910" y="75482"/>
                    <a:pt x="117204" y="8959"/>
                    <a:pt x="82268" y="790"/>
                  </a:cubicBezTo>
                  <a:cubicBezTo>
                    <a:pt x="54403" y="-5735"/>
                    <a:pt x="19685" y="29224"/>
                    <a:pt x="0" y="66069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26" name="Forma livre: Forma 2125">
              <a:extLst>
                <a:ext uri="{FF2B5EF4-FFF2-40B4-BE49-F238E27FC236}">
                  <a16:creationId xmlns:a16="http://schemas.microsoft.com/office/drawing/2014/main" id="{B2D19E56-CC91-674B-FB52-DECE96E0CCC3}"/>
                </a:ext>
              </a:extLst>
            </p:cNvPr>
            <p:cNvSpPr/>
            <p:nvPr/>
          </p:nvSpPr>
          <p:spPr>
            <a:xfrm>
              <a:off x="11309160" y="3603124"/>
              <a:ext cx="34113" cy="33001"/>
            </a:xfrm>
            <a:custGeom>
              <a:avLst/>
              <a:gdLst>
                <a:gd name="connsiteX0" fmla="*/ 34114 w 34113"/>
                <a:gd name="connsiteY0" fmla="*/ 0 h 33001"/>
                <a:gd name="connsiteX1" fmla="*/ 7722 w 34113"/>
                <a:gd name="connsiteY1" fmla="*/ 23020 h 33001"/>
                <a:gd name="connsiteX2" fmla="*/ 0 w 34113"/>
                <a:gd name="connsiteY2" fmla="*/ 33002 h 330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4113" h="33001">
                  <a:moveTo>
                    <a:pt x="34114" y="0"/>
                  </a:moveTo>
                  <a:cubicBezTo>
                    <a:pt x="27141" y="3263"/>
                    <a:pt x="17413" y="11262"/>
                    <a:pt x="7722" y="23020"/>
                  </a:cubicBezTo>
                  <a:lnTo>
                    <a:pt x="0" y="33002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27" name="Forma livre: Forma 2126">
              <a:extLst>
                <a:ext uri="{FF2B5EF4-FFF2-40B4-BE49-F238E27FC236}">
                  <a16:creationId xmlns:a16="http://schemas.microsoft.com/office/drawing/2014/main" id="{DACEFBF9-71A2-A84B-9058-99648E6F94E0}"/>
                </a:ext>
              </a:extLst>
            </p:cNvPr>
            <p:cNvSpPr/>
            <p:nvPr/>
          </p:nvSpPr>
          <p:spPr>
            <a:xfrm>
              <a:off x="11146581" y="3624814"/>
              <a:ext cx="132973" cy="195061"/>
            </a:xfrm>
            <a:custGeom>
              <a:avLst/>
              <a:gdLst>
                <a:gd name="connsiteX0" fmla="*/ 132973 w 132973"/>
                <a:gd name="connsiteY0" fmla="*/ 78800 h 195061"/>
                <a:gd name="connsiteX1" fmla="*/ 69290 w 132973"/>
                <a:gd name="connsiteY1" fmla="*/ 0 h 195061"/>
                <a:gd name="connsiteX2" fmla="*/ 0 w 132973"/>
                <a:gd name="connsiteY2" fmla="*/ 118074 h 195061"/>
                <a:gd name="connsiteX3" fmla="*/ 69290 w 132973"/>
                <a:gd name="connsiteY3" fmla="*/ 195062 h 195061"/>
                <a:gd name="connsiteX4" fmla="*/ 120635 w 132973"/>
                <a:gd name="connsiteY4" fmla="*/ 172005 h 1950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2973" h="195061">
                  <a:moveTo>
                    <a:pt x="132973" y="78800"/>
                  </a:moveTo>
                  <a:cubicBezTo>
                    <a:pt x="122388" y="38995"/>
                    <a:pt x="97869" y="0"/>
                    <a:pt x="69290" y="0"/>
                  </a:cubicBezTo>
                  <a:cubicBezTo>
                    <a:pt x="31020" y="0"/>
                    <a:pt x="0" y="69907"/>
                    <a:pt x="0" y="118074"/>
                  </a:cubicBezTo>
                  <a:cubicBezTo>
                    <a:pt x="0" y="166241"/>
                    <a:pt x="31020" y="195062"/>
                    <a:pt x="69290" y="195062"/>
                  </a:cubicBezTo>
                  <a:cubicBezTo>
                    <a:pt x="89652" y="195062"/>
                    <a:pt x="107959" y="186905"/>
                    <a:pt x="120635" y="172005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28" name="Forma livre: Forma 2127">
              <a:extLst>
                <a:ext uri="{FF2B5EF4-FFF2-40B4-BE49-F238E27FC236}">
                  <a16:creationId xmlns:a16="http://schemas.microsoft.com/office/drawing/2014/main" id="{2940EC60-9E1E-C5A5-FAD5-F291E3D8B797}"/>
                </a:ext>
              </a:extLst>
            </p:cNvPr>
            <p:cNvSpPr/>
            <p:nvPr/>
          </p:nvSpPr>
          <p:spPr>
            <a:xfrm>
              <a:off x="11181564" y="3662456"/>
              <a:ext cx="22089" cy="43285"/>
            </a:xfrm>
            <a:custGeom>
              <a:avLst/>
              <a:gdLst>
                <a:gd name="connsiteX0" fmla="*/ 0 w 22089"/>
                <a:gd name="connsiteY0" fmla="*/ 43285 h 43285"/>
                <a:gd name="connsiteX1" fmla="*/ 22090 w 22089"/>
                <a:gd name="connsiteY1" fmla="*/ 0 h 432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2089" h="43285">
                  <a:moveTo>
                    <a:pt x="0" y="43285"/>
                  </a:moveTo>
                  <a:cubicBezTo>
                    <a:pt x="5595" y="25111"/>
                    <a:pt x="14259" y="9256"/>
                    <a:pt x="22090" y="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29" name="Forma livre: Forma 2128">
              <a:extLst>
                <a:ext uri="{FF2B5EF4-FFF2-40B4-BE49-F238E27FC236}">
                  <a16:creationId xmlns:a16="http://schemas.microsoft.com/office/drawing/2014/main" id="{CE271709-F9F7-3C2F-8D8A-793184D5A67F}"/>
                </a:ext>
              </a:extLst>
            </p:cNvPr>
            <p:cNvSpPr/>
            <p:nvPr/>
          </p:nvSpPr>
          <p:spPr>
            <a:xfrm>
              <a:off x="11264376" y="3706084"/>
              <a:ext cx="195032" cy="138572"/>
            </a:xfrm>
            <a:custGeom>
              <a:avLst/>
              <a:gdLst>
                <a:gd name="connsiteX0" fmla="*/ 75672 w 195032"/>
                <a:gd name="connsiteY0" fmla="*/ 8 h 138572"/>
                <a:gd name="connsiteX1" fmla="*/ 13 w 195032"/>
                <a:gd name="connsiteY1" fmla="*/ 70736 h 138572"/>
                <a:gd name="connsiteX2" fmla="*/ 78294 w 195032"/>
                <a:gd name="connsiteY2" fmla="*/ 138552 h 138572"/>
                <a:gd name="connsiteX3" fmla="*/ 195026 w 195032"/>
                <a:gd name="connsiteY3" fmla="*/ 67063 h 138572"/>
                <a:gd name="connsiteX4" fmla="*/ 75672 w 195032"/>
                <a:gd name="connsiteY4" fmla="*/ 20 h 1385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5032" h="138572">
                  <a:moveTo>
                    <a:pt x="75672" y="8"/>
                  </a:moveTo>
                  <a:cubicBezTo>
                    <a:pt x="27505" y="927"/>
                    <a:pt x="-700" y="32490"/>
                    <a:pt x="13" y="70736"/>
                  </a:cubicBezTo>
                  <a:cubicBezTo>
                    <a:pt x="738" y="108995"/>
                    <a:pt x="30115" y="139471"/>
                    <a:pt x="78294" y="138552"/>
                  </a:cubicBezTo>
                  <a:cubicBezTo>
                    <a:pt x="126461" y="137658"/>
                    <a:pt x="195751" y="105321"/>
                    <a:pt x="195026" y="67063"/>
                  </a:cubicBezTo>
                  <a:cubicBezTo>
                    <a:pt x="194313" y="28805"/>
                    <a:pt x="123851" y="-886"/>
                    <a:pt x="75672" y="20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2130" name="Gráfico 19">
            <a:extLst>
              <a:ext uri="{FF2B5EF4-FFF2-40B4-BE49-F238E27FC236}">
                <a16:creationId xmlns:a16="http://schemas.microsoft.com/office/drawing/2014/main" id="{515C7D49-4B14-BD23-93A5-8FF8B0304E75}"/>
              </a:ext>
            </a:extLst>
          </p:cNvPr>
          <p:cNvGrpSpPr/>
          <p:nvPr/>
        </p:nvGrpSpPr>
        <p:grpSpPr>
          <a:xfrm>
            <a:off x="10530087" y="4647262"/>
            <a:ext cx="288459" cy="275771"/>
            <a:chOff x="10530087" y="4647262"/>
            <a:chExt cx="288459" cy="275771"/>
          </a:xfrm>
        </p:grpSpPr>
        <p:grpSp>
          <p:nvGrpSpPr>
            <p:cNvPr id="2131" name="Gráfico 19">
              <a:extLst>
                <a:ext uri="{FF2B5EF4-FFF2-40B4-BE49-F238E27FC236}">
                  <a16:creationId xmlns:a16="http://schemas.microsoft.com/office/drawing/2014/main" id="{55DC1D81-59CC-D60D-F4A2-20DCCD27EE77}"/>
                </a:ext>
              </a:extLst>
            </p:cNvPr>
            <p:cNvGrpSpPr/>
            <p:nvPr/>
          </p:nvGrpSpPr>
          <p:grpSpPr>
            <a:xfrm>
              <a:off x="10530087" y="4647262"/>
              <a:ext cx="288459" cy="275771"/>
              <a:chOff x="10530087" y="4647262"/>
              <a:chExt cx="288459" cy="275771"/>
            </a:xfrm>
          </p:grpSpPr>
          <p:grpSp>
            <p:nvGrpSpPr>
              <p:cNvPr id="2132" name="Gráfico 19">
                <a:extLst>
                  <a:ext uri="{FF2B5EF4-FFF2-40B4-BE49-F238E27FC236}">
                    <a16:creationId xmlns:a16="http://schemas.microsoft.com/office/drawing/2014/main" id="{A2771250-2F1F-0198-A48A-9CD24240B0B5}"/>
                  </a:ext>
                </a:extLst>
              </p:cNvPr>
              <p:cNvGrpSpPr/>
              <p:nvPr/>
            </p:nvGrpSpPr>
            <p:grpSpPr>
              <a:xfrm>
                <a:off x="10530087" y="4647262"/>
                <a:ext cx="288459" cy="185611"/>
                <a:chOff x="10530087" y="4647262"/>
                <a:chExt cx="288459" cy="185611"/>
              </a:xfrm>
              <a:noFill/>
            </p:grpSpPr>
            <p:sp>
              <p:nvSpPr>
                <p:cNvPr id="2133" name="Forma livre: Forma 2132">
                  <a:extLst>
                    <a:ext uri="{FF2B5EF4-FFF2-40B4-BE49-F238E27FC236}">
                      <a16:creationId xmlns:a16="http://schemas.microsoft.com/office/drawing/2014/main" id="{58D42BFD-FBD4-EBCA-1DAB-A4BF563F69C1}"/>
                    </a:ext>
                  </a:extLst>
                </p:cNvPr>
                <p:cNvSpPr/>
                <p:nvPr/>
              </p:nvSpPr>
              <p:spPr>
                <a:xfrm>
                  <a:off x="10569094" y="4647262"/>
                  <a:ext cx="214287" cy="101446"/>
                </a:xfrm>
                <a:custGeom>
                  <a:avLst/>
                  <a:gdLst>
                    <a:gd name="connsiteX0" fmla="*/ 0 w 214287"/>
                    <a:gd name="connsiteY0" fmla="*/ 79538 h 101446"/>
                    <a:gd name="connsiteX1" fmla="*/ 105228 w 214287"/>
                    <a:gd name="connsiteY1" fmla="*/ 0 h 101446"/>
                    <a:gd name="connsiteX2" fmla="*/ 214287 w 214287"/>
                    <a:gd name="connsiteY2" fmla="*/ 101446 h 1014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214287" h="101446">
                      <a:moveTo>
                        <a:pt x="0" y="79538"/>
                      </a:moveTo>
                      <a:cubicBezTo>
                        <a:pt x="12990" y="33642"/>
                        <a:pt x="55176" y="0"/>
                        <a:pt x="105228" y="0"/>
                      </a:cubicBezTo>
                      <a:cubicBezTo>
                        <a:pt x="162966" y="0"/>
                        <a:pt x="210239" y="44735"/>
                        <a:pt x="214287" y="101446"/>
                      </a:cubicBez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grpSp>
              <p:nvGrpSpPr>
                <p:cNvPr id="2134" name="Gráfico 19">
                  <a:extLst>
                    <a:ext uri="{FF2B5EF4-FFF2-40B4-BE49-F238E27FC236}">
                      <a16:creationId xmlns:a16="http://schemas.microsoft.com/office/drawing/2014/main" id="{94292945-3EED-AB65-50CC-966D88054BB8}"/>
                    </a:ext>
                  </a:extLst>
                </p:cNvPr>
                <p:cNvGrpSpPr/>
                <p:nvPr/>
              </p:nvGrpSpPr>
              <p:grpSpPr>
                <a:xfrm>
                  <a:off x="10530087" y="4748527"/>
                  <a:ext cx="288459" cy="84346"/>
                  <a:chOff x="10530087" y="4748527"/>
                  <a:chExt cx="288459" cy="84346"/>
                </a:xfrm>
                <a:noFill/>
              </p:grpSpPr>
              <p:sp>
                <p:nvSpPr>
                  <p:cNvPr id="2135" name="Forma livre: Forma 2134">
                    <a:extLst>
                      <a:ext uri="{FF2B5EF4-FFF2-40B4-BE49-F238E27FC236}">
                        <a16:creationId xmlns:a16="http://schemas.microsoft.com/office/drawing/2014/main" id="{69AC58B8-916A-4C2E-6AD2-7C7213AD522B}"/>
                      </a:ext>
                    </a:extLst>
                  </p:cNvPr>
                  <p:cNvSpPr/>
                  <p:nvPr/>
                </p:nvSpPr>
                <p:spPr>
                  <a:xfrm>
                    <a:off x="10530087" y="4748527"/>
                    <a:ext cx="54668" cy="73954"/>
                  </a:xfrm>
                  <a:custGeom>
                    <a:avLst/>
                    <a:gdLst>
                      <a:gd name="connsiteX0" fmla="*/ 54668 w 54668"/>
                      <a:gd name="connsiteY0" fmla="*/ 1849 h 73954"/>
                      <a:gd name="connsiteX1" fmla="*/ 42258 w 54668"/>
                      <a:gd name="connsiteY1" fmla="*/ 0 h 73954"/>
                      <a:gd name="connsiteX2" fmla="*/ 0 w 54668"/>
                      <a:gd name="connsiteY2" fmla="*/ 42258 h 73954"/>
                      <a:gd name="connsiteX3" fmla="*/ 14308 w 54668"/>
                      <a:gd name="connsiteY3" fmla="*/ 73955 h 7395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54668" h="73954">
                        <a:moveTo>
                          <a:pt x="54668" y="1849"/>
                        </a:moveTo>
                        <a:cubicBezTo>
                          <a:pt x="50741" y="653"/>
                          <a:pt x="46584" y="0"/>
                          <a:pt x="42258" y="0"/>
                        </a:cubicBezTo>
                        <a:cubicBezTo>
                          <a:pt x="18924" y="0"/>
                          <a:pt x="0" y="18924"/>
                          <a:pt x="0" y="42258"/>
                        </a:cubicBezTo>
                        <a:cubicBezTo>
                          <a:pt x="0" y="54886"/>
                          <a:pt x="5535" y="66209"/>
                          <a:pt x="14308" y="73955"/>
                        </a:cubicBezTo>
                      </a:path>
                    </a:pathLst>
                  </a:custGeom>
                  <a:noFill/>
                  <a:ln w="6350" cap="rnd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2136" name="Forma livre: Forma 2135">
                    <a:extLst>
                      <a:ext uri="{FF2B5EF4-FFF2-40B4-BE49-F238E27FC236}">
                        <a16:creationId xmlns:a16="http://schemas.microsoft.com/office/drawing/2014/main" id="{BCC77D3E-602E-06A5-7AB4-449850FEB9E1}"/>
                      </a:ext>
                    </a:extLst>
                  </p:cNvPr>
                  <p:cNvSpPr/>
                  <p:nvPr/>
                </p:nvSpPr>
                <p:spPr>
                  <a:xfrm>
                    <a:off x="10761292" y="4748527"/>
                    <a:ext cx="57254" cy="84346"/>
                  </a:xfrm>
                  <a:custGeom>
                    <a:avLst/>
                    <a:gdLst>
                      <a:gd name="connsiteX0" fmla="*/ 0 w 57254"/>
                      <a:gd name="connsiteY0" fmla="*/ 2743 h 84346"/>
                      <a:gd name="connsiteX1" fmla="*/ 14996 w 57254"/>
                      <a:gd name="connsiteY1" fmla="*/ 0 h 84346"/>
                      <a:gd name="connsiteX2" fmla="*/ 57254 w 57254"/>
                      <a:gd name="connsiteY2" fmla="*/ 42258 h 84346"/>
                      <a:gd name="connsiteX3" fmla="*/ 18791 w 57254"/>
                      <a:gd name="connsiteY3" fmla="*/ 84347 h 8434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57254" h="84346">
                        <a:moveTo>
                          <a:pt x="0" y="2743"/>
                        </a:moveTo>
                        <a:cubicBezTo>
                          <a:pt x="4664" y="979"/>
                          <a:pt x="9716" y="0"/>
                          <a:pt x="14996" y="0"/>
                        </a:cubicBezTo>
                        <a:cubicBezTo>
                          <a:pt x="38331" y="0"/>
                          <a:pt x="57254" y="18924"/>
                          <a:pt x="57254" y="42258"/>
                        </a:cubicBezTo>
                        <a:cubicBezTo>
                          <a:pt x="57254" y="64324"/>
                          <a:pt x="40349" y="82438"/>
                          <a:pt x="18791" y="84347"/>
                        </a:cubicBezTo>
                      </a:path>
                    </a:pathLst>
                  </a:custGeom>
                  <a:noFill/>
                  <a:ln w="6350" cap="rnd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</p:grpSp>
          <p:sp>
            <p:nvSpPr>
              <p:cNvPr id="2137" name="Forma livre: Forma 2136">
                <a:extLst>
                  <a:ext uri="{FF2B5EF4-FFF2-40B4-BE49-F238E27FC236}">
                    <a16:creationId xmlns:a16="http://schemas.microsoft.com/office/drawing/2014/main" id="{9B77C28D-46A4-6FE2-5E1B-6E9030492FF1}"/>
                  </a:ext>
                </a:extLst>
              </p:cNvPr>
              <p:cNvSpPr/>
              <p:nvPr/>
            </p:nvSpPr>
            <p:spPr>
              <a:xfrm>
                <a:off x="10673331" y="4851350"/>
                <a:ext cx="1208" cy="69749"/>
              </a:xfrm>
              <a:custGeom>
                <a:avLst/>
                <a:gdLst>
                  <a:gd name="connsiteX0" fmla="*/ 0 w 1208"/>
                  <a:gd name="connsiteY0" fmla="*/ 0 h 69749"/>
                  <a:gd name="connsiteX1" fmla="*/ 0 w 1208"/>
                  <a:gd name="connsiteY1" fmla="*/ 69749 h 697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08" h="69749">
                    <a:moveTo>
                      <a:pt x="0" y="0"/>
                    </a:moveTo>
                    <a:lnTo>
                      <a:pt x="0" y="69749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138" name="Forma livre: Forma 2137">
                <a:extLst>
                  <a:ext uri="{FF2B5EF4-FFF2-40B4-BE49-F238E27FC236}">
                    <a16:creationId xmlns:a16="http://schemas.microsoft.com/office/drawing/2014/main" id="{479743DF-B3CA-C0B0-2C38-2396AE33CA9B}"/>
                  </a:ext>
                </a:extLst>
              </p:cNvPr>
              <p:cNvSpPr/>
              <p:nvPr/>
            </p:nvSpPr>
            <p:spPr>
              <a:xfrm>
                <a:off x="10566544" y="4834989"/>
                <a:ext cx="213562" cy="88044"/>
              </a:xfrm>
              <a:custGeom>
                <a:avLst/>
                <a:gdLst>
                  <a:gd name="connsiteX0" fmla="*/ 213562 w 213562"/>
                  <a:gd name="connsiteY0" fmla="*/ 0 h 88044"/>
                  <a:gd name="connsiteX1" fmla="*/ 182724 w 213562"/>
                  <a:gd name="connsiteY1" fmla="*/ 88045 h 88044"/>
                  <a:gd name="connsiteX2" fmla="*/ 31503 w 213562"/>
                  <a:gd name="connsiteY2" fmla="*/ 88045 h 88044"/>
                  <a:gd name="connsiteX3" fmla="*/ 0 w 213562"/>
                  <a:gd name="connsiteY3" fmla="*/ 0 h 880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13562" h="88044">
                    <a:moveTo>
                      <a:pt x="213562" y="0"/>
                    </a:moveTo>
                    <a:lnTo>
                      <a:pt x="182724" y="88045"/>
                    </a:lnTo>
                    <a:lnTo>
                      <a:pt x="31503" y="88045"/>
                    </a:lnTo>
                    <a:lnTo>
                      <a:pt x="0" y="0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139" name="Forma livre: Forma 2138">
                <a:extLst>
                  <a:ext uri="{FF2B5EF4-FFF2-40B4-BE49-F238E27FC236}">
                    <a16:creationId xmlns:a16="http://schemas.microsoft.com/office/drawing/2014/main" id="{749443B5-391D-78A4-3705-B791F776F501}"/>
                  </a:ext>
                </a:extLst>
              </p:cNvPr>
              <p:cNvSpPr/>
              <p:nvPr/>
            </p:nvSpPr>
            <p:spPr>
              <a:xfrm>
                <a:off x="10617660" y="4854867"/>
                <a:ext cx="19636" cy="67006"/>
              </a:xfrm>
              <a:custGeom>
                <a:avLst/>
                <a:gdLst>
                  <a:gd name="connsiteX0" fmla="*/ 0 w 19636"/>
                  <a:gd name="connsiteY0" fmla="*/ 0 h 67006"/>
                  <a:gd name="connsiteX1" fmla="*/ 19637 w 19636"/>
                  <a:gd name="connsiteY1" fmla="*/ 67006 h 670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9636" h="67006">
                    <a:moveTo>
                      <a:pt x="0" y="0"/>
                    </a:moveTo>
                    <a:lnTo>
                      <a:pt x="19637" y="67006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140" name="Forma livre: Forma 2139">
                <a:extLst>
                  <a:ext uri="{FF2B5EF4-FFF2-40B4-BE49-F238E27FC236}">
                    <a16:creationId xmlns:a16="http://schemas.microsoft.com/office/drawing/2014/main" id="{591D2CBE-F9F9-F9DB-2ECA-E962D0461C68}"/>
                  </a:ext>
                </a:extLst>
              </p:cNvPr>
              <p:cNvSpPr/>
              <p:nvPr/>
            </p:nvSpPr>
            <p:spPr>
              <a:xfrm>
                <a:off x="10650734" y="4678536"/>
                <a:ext cx="7540" cy="7540"/>
              </a:xfrm>
              <a:custGeom>
                <a:avLst/>
                <a:gdLst>
                  <a:gd name="connsiteX0" fmla="*/ 7540 w 7540"/>
                  <a:gd name="connsiteY0" fmla="*/ 3770 h 7540"/>
                  <a:gd name="connsiteX1" fmla="*/ 3770 w 7540"/>
                  <a:gd name="connsiteY1" fmla="*/ 7541 h 7540"/>
                  <a:gd name="connsiteX2" fmla="*/ 0 w 7540"/>
                  <a:gd name="connsiteY2" fmla="*/ 3770 h 7540"/>
                  <a:gd name="connsiteX3" fmla="*/ 3770 w 7540"/>
                  <a:gd name="connsiteY3" fmla="*/ 0 h 7540"/>
                  <a:gd name="connsiteX4" fmla="*/ 7540 w 7540"/>
                  <a:gd name="connsiteY4" fmla="*/ 3770 h 75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540" h="7540">
                    <a:moveTo>
                      <a:pt x="7540" y="3770"/>
                    </a:moveTo>
                    <a:cubicBezTo>
                      <a:pt x="7540" y="5861"/>
                      <a:pt x="5861" y="7541"/>
                      <a:pt x="3770" y="7541"/>
                    </a:cubicBezTo>
                    <a:cubicBezTo>
                      <a:pt x="1680" y="7541"/>
                      <a:pt x="0" y="5861"/>
                      <a:pt x="0" y="3770"/>
                    </a:cubicBezTo>
                    <a:cubicBezTo>
                      <a:pt x="0" y="1680"/>
                      <a:pt x="1692" y="0"/>
                      <a:pt x="3770" y="0"/>
                    </a:cubicBezTo>
                    <a:cubicBezTo>
                      <a:pt x="5849" y="0"/>
                      <a:pt x="7540" y="1680"/>
                      <a:pt x="7540" y="3770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141" name="Forma livre: Forma 2140">
                <a:extLst>
                  <a:ext uri="{FF2B5EF4-FFF2-40B4-BE49-F238E27FC236}">
                    <a16:creationId xmlns:a16="http://schemas.microsoft.com/office/drawing/2014/main" id="{D10B45D6-3F10-E862-4A55-82A9B60245FE}"/>
                  </a:ext>
                </a:extLst>
              </p:cNvPr>
              <p:cNvSpPr/>
              <p:nvPr/>
            </p:nvSpPr>
            <p:spPr>
              <a:xfrm>
                <a:off x="10672667" y="4727863"/>
                <a:ext cx="7540" cy="7552"/>
              </a:xfrm>
              <a:custGeom>
                <a:avLst/>
                <a:gdLst>
                  <a:gd name="connsiteX0" fmla="*/ 7540 w 7540"/>
                  <a:gd name="connsiteY0" fmla="*/ 3782 h 7552"/>
                  <a:gd name="connsiteX1" fmla="*/ 3770 w 7540"/>
                  <a:gd name="connsiteY1" fmla="*/ 7553 h 7552"/>
                  <a:gd name="connsiteX2" fmla="*/ 0 w 7540"/>
                  <a:gd name="connsiteY2" fmla="*/ 3782 h 7552"/>
                  <a:gd name="connsiteX3" fmla="*/ 3770 w 7540"/>
                  <a:gd name="connsiteY3" fmla="*/ 0 h 7552"/>
                  <a:gd name="connsiteX4" fmla="*/ 7540 w 7540"/>
                  <a:gd name="connsiteY4" fmla="*/ 3782 h 75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540" h="7552">
                    <a:moveTo>
                      <a:pt x="7540" y="3782"/>
                    </a:moveTo>
                    <a:cubicBezTo>
                      <a:pt x="7540" y="5873"/>
                      <a:pt x="5861" y="7553"/>
                      <a:pt x="3770" y="7553"/>
                    </a:cubicBezTo>
                    <a:cubicBezTo>
                      <a:pt x="1680" y="7553"/>
                      <a:pt x="0" y="5873"/>
                      <a:pt x="0" y="3782"/>
                    </a:cubicBezTo>
                    <a:cubicBezTo>
                      <a:pt x="0" y="1692"/>
                      <a:pt x="1692" y="0"/>
                      <a:pt x="3770" y="0"/>
                    </a:cubicBezTo>
                    <a:cubicBezTo>
                      <a:pt x="5849" y="0"/>
                      <a:pt x="7540" y="1692"/>
                      <a:pt x="7540" y="3782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142" name="Forma livre: Forma 2141">
                <a:extLst>
                  <a:ext uri="{FF2B5EF4-FFF2-40B4-BE49-F238E27FC236}">
                    <a16:creationId xmlns:a16="http://schemas.microsoft.com/office/drawing/2014/main" id="{E3C91CE8-08FE-7DB3-66D1-4DD320E091A5}"/>
                  </a:ext>
                </a:extLst>
              </p:cNvPr>
              <p:cNvSpPr/>
              <p:nvPr/>
            </p:nvSpPr>
            <p:spPr>
              <a:xfrm>
                <a:off x="10718018" y="4706994"/>
                <a:ext cx="7540" cy="7540"/>
              </a:xfrm>
              <a:custGeom>
                <a:avLst/>
                <a:gdLst>
                  <a:gd name="connsiteX0" fmla="*/ 7540 w 7540"/>
                  <a:gd name="connsiteY0" fmla="*/ 3770 h 7540"/>
                  <a:gd name="connsiteX1" fmla="*/ 3770 w 7540"/>
                  <a:gd name="connsiteY1" fmla="*/ 7540 h 7540"/>
                  <a:gd name="connsiteX2" fmla="*/ 0 w 7540"/>
                  <a:gd name="connsiteY2" fmla="*/ 3770 h 7540"/>
                  <a:gd name="connsiteX3" fmla="*/ 3770 w 7540"/>
                  <a:gd name="connsiteY3" fmla="*/ 0 h 7540"/>
                  <a:gd name="connsiteX4" fmla="*/ 7540 w 7540"/>
                  <a:gd name="connsiteY4" fmla="*/ 3770 h 75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540" h="7540">
                    <a:moveTo>
                      <a:pt x="7540" y="3770"/>
                    </a:moveTo>
                    <a:cubicBezTo>
                      <a:pt x="7540" y="5861"/>
                      <a:pt x="5861" y="7540"/>
                      <a:pt x="3770" y="7540"/>
                    </a:cubicBezTo>
                    <a:cubicBezTo>
                      <a:pt x="1680" y="7540"/>
                      <a:pt x="0" y="5861"/>
                      <a:pt x="0" y="3770"/>
                    </a:cubicBezTo>
                    <a:cubicBezTo>
                      <a:pt x="0" y="1680"/>
                      <a:pt x="1692" y="0"/>
                      <a:pt x="3770" y="0"/>
                    </a:cubicBezTo>
                    <a:cubicBezTo>
                      <a:pt x="5849" y="0"/>
                      <a:pt x="7540" y="1680"/>
                      <a:pt x="7540" y="3770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143" name="Forma livre: Forma 2142">
                <a:extLst>
                  <a:ext uri="{FF2B5EF4-FFF2-40B4-BE49-F238E27FC236}">
                    <a16:creationId xmlns:a16="http://schemas.microsoft.com/office/drawing/2014/main" id="{AF6CD1E1-9371-608E-A872-E5B4928DB95B}"/>
                  </a:ext>
                </a:extLst>
              </p:cNvPr>
              <p:cNvSpPr/>
              <p:nvPr/>
            </p:nvSpPr>
            <p:spPr>
              <a:xfrm>
                <a:off x="10705221" y="4772719"/>
                <a:ext cx="7540" cy="7540"/>
              </a:xfrm>
              <a:custGeom>
                <a:avLst/>
                <a:gdLst>
                  <a:gd name="connsiteX0" fmla="*/ 7540 w 7540"/>
                  <a:gd name="connsiteY0" fmla="*/ 3770 h 7540"/>
                  <a:gd name="connsiteX1" fmla="*/ 3770 w 7540"/>
                  <a:gd name="connsiteY1" fmla="*/ 7541 h 7540"/>
                  <a:gd name="connsiteX2" fmla="*/ 0 w 7540"/>
                  <a:gd name="connsiteY2" fmla="*/ 3770 h 7540"/>
                  <a:gd name="connsiteX3" fmla="*/ 3770 w 7540"/>
                  <a:gd name="connsiteY3" fmla="*/ 0 h 7540"/>
                  <a:gd name="connsiteX4" fmla="*/ 7540 w 7540"/>
                  <a:gd name="connsiteY4" fmla="*/ 3770 h 75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540" h="7540">
                    <a:moveTo>
                      <a:pt x="7540" y="3770"/>
                    </a:moveTo>
                    <a:cubicBezTo>
                      <a:pt x="7540" y="5861"/>
                      <a:pt x="5861" y="7541"/>
                      <a:pt x="3770" y="7541"/>
                    </a:cubicBezTo>
                    <a:cubicBezTo>
                      <a:pt x="1680" y="7541"/>
                      <a:pt x="0" y="5861"/>
                      <a:pt x="0" y="3770"/>
                    </a:cubicBezTo>
                    <a:cubicBezTo>
                      <a:pt x="0" y="1680"/>
                      <a:pt x="1692" y="0"/>
                      <a:pt x="3770" y="0"/>
                    </a:cubicBezTo>
                    <a:cubicBezTo>
                      <a:pt x="5849" y="0"/>
                      <a:pt x="7540" y="1680"/>
                      <a:pt x="7540" y="3770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144" name="Forma livre: Forma 2143">
                <a:extLst>
                  <a:ext uri="{FF2B5EF4-FFF2-40B4-BE49-F238E27FC236}">
                    <a16:creationId xmlns:a16="http://schemas.microsoft.com/office/drawing/2014/main" id="{40FAF4F0-90F1-5452-A5B0-5849A3DBA82A}"/>
                  </a:ext>
                </a:extLst>
              </p:cNvPr>
              <p:cNvSpPr/>
              <p:nvPr/>
            </p:nvSpPr>
            <p:spPr>
              <a:xfrm>
                <a:off x="10772179" y="4782701"/>
                <a:ext cx="7528" cy="7540"/>
              </a:xfrm>
              <a:custGeom>
                <a:avLst/>
                <a:gdLst>
                  <a:gd name="connsiteX0" fmla="*/ 7528 w 7528"/>
                  <a:gd name="connsiteY0" fmla="*/ 3770 h 7540"/>
                  <a:gd name="connsiteX1" fmla="*/ 3770 w 7528"/>
                  <a:gd name="connsiteY1" fmla="*/ 7540 h 7540"/>
                  <a:gd name="connsiteX2" fmla="*/ 0 w 7528"/>
                  <a:gd name="connsiteY2" fmla="*/ 3770 h 7540"/>
                  <a:gd name="connsiteX3" fmla="*/ 3770 w 7528"/>
                  <a:gd name="connsiteY3" fmla="*/ 0 h 7540"/>
                  <a:gd name="connsiteX4" fmla="*/ 7528 w 7528"/>
                  <a:gd name="connsiteY4" fmla="*/ 3770 h 75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528" h="7540">
                    <a:moveTo>
                      <a:pt x="7528" y="3770"/>
                    </a:moveTo>
                    <a:cubicBezTo>
                      <a:pt x="7528" y="5861"/>
                      <a:pt x="5861" y="7540"/>
                      <a:pt x="3770" y="7540"/>
                    </a:cubicBezTo>
                    <a:cubicBezTo>
                      <a:pt x="1680" y="7540"/>
                      <a:pt x="0" y="5861"/>
                      <a:pt x="0" y="3770"/>
                    </a:cubicBezTo>
                    <a:cubicBezTo>
                      <a:pt x="0" y="1680"/>
                      <a:pt x="1692" y="0"/>
                      <a:pt x="3770" y="0"/>
                    </a:cubicBezTo>
                    <a:cubicBezTo>
                      <a:pt x="5849" y="0"/>
                      <a:pt x="7528" y="1680"/>
                      <a:pt x="7528" y="3770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145" name="Forma livre: Forma 2144">
                <a:extLst>
                  <a:ext uri="{FF2B5EF4-FFF2-40B4-BE49-F238E27FC236}">
                    <a16:creationId xmlns:a16="http://schemas.microsoft.com/office/drawing/2014/main" id="{9BAD4C87-9E12-AEA7-C2A1-C682E3502610}"/>
                  </a:ext>
                </a:extLst>
              </p:cNvPr>
              <p:cNvSpPr/>
              <p:nvPr/>
            </p:nvSpPr>
            <p:spPr>
              <a:xfrm>
                <a:off x="10640040" y="4762617"/>
                <a:ext cx="7540" cy="7552"/>
              </a:xfrm>
              <a:custGeom>
                <a:avLst/>
                <a:gdLst>
                  <a:gd name="connsiteX0" fmla="*/ 7540 w 7540"/>
                  <a:gd name="connsiteY0" fmla="*/ 3782 h 7552"/>
                  <a:gd name="connsiteX1" fmla="*/ 3770 w 7540"/>
                  <a:gd name="connsiteY1" fmla="*/ 7553 h 7552"/>
                  <a:gd name="connsiteX2" fmla="*/ 0 w 7540"/>
                  <a:gd name="connsiteY2" fmla="*/ 3782 h 7552"/>
                  <a:gd name="connsiteX3" fmla="*/ 3770 w 7540"/>
                  <a:gd name="connsiteY3" fmla="*/ 0 h 7552"/>
                  <a:gd name="connsiteX4" fmla="*/ 7540 w 7540"/>
                  <a:gd name="connsiteY4" fmla="*/ 3782 h 75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540" h="7552">
                    <a:moveTo>
                      <a:pt x="7540" y="3782"/>
                    </a:moveTo>
                    <a:cubicBezTo>
                      <a:pt x="7540" y="5861"/>
                      <a:pt x="5861" y="7553"/>
                      <a:pt x="3770" y="7553"/>
                    </a:cubicBezTo>
                    <a:cubicBezTo>
                      <a:pt x="1680" y="7553"/>
                      <a:pt x="0" y="5873"/>
                      <a:pt x="0" y="3782"/>
                    </a:cubicBezTo>
                    <a:cubicBezTo>
                      <a:pt x="0" y="1692"/>
                      <a:pt x="1692" y="0"/>
                      <a:pt x="3770" y="0"/>
                    </a:cubicBezTo>
                    <a:cubicBezTo>
                      <a:pt x="5849" y="0"/>
                      <a:pt x="7540" y="1680"/>
                      <a:pt x="7540" y="3782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146" name="Forma livre: Forma 2145">
                <a:extLst>
                  <a:ext uri="{FF2B5EF4-FFF2-40B4-BE49-F238E27FC236}">
                    <a16:creationId xmlns:a16="http://schemas.microsoft.com/office/drawing/2014/main" id="{D69F54B8-DAAD-5A40-9A2F-FB1AF96ADF25}"/>
                  </a:ext>
                </a:extLst>
              </p:cNvPr>
              <p:cNvSpPr/>
              <p:nvPr/>
            </p:nvSpPr>
            <p:spPr>
              <a:xfrm>
                <a:off x="10572623" y="4782604"/>
                <a:ext cx="7552" cy="7540"/>
              </a:xfrm>
              <a:custGeom>
                <a:avLst/>
                <a:gdLst>
                  <a:gd name="connsiteX0" fmla="*/ 7553 w 7552"/>
                  <a:gd name="connsiteY0" fmla="*/ 3770 h 7540"/>
                  <a:gd name="connsiteX1" fmla="*/ 3782 w 7552"/>
                  <a:gd name="connsiteY1" fmla="*/ 7541 h 7540"/>
                  <a:gd name="connsiteX2" fmla="*/ 0 w 7552"/>
                  <a:gd name="connsiteY2" fmla="*/ 3770 h 7540"/>
                  <a:gd name="connsiteX3" fmla="*/ 3782 w 7552"/>
                  <a:gd name="connsiteY3" fmla="*/ 0 h 7540"/>
                  <a:gd name="connsiteX4" fmla="*/ 7553 w 7552"/>
                  <a:gd name="connsiteY4" fmla="*/ 3770 h 75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552" h="7540">
                    <a:moveTo>
                      <a:pt x="7553" y="3770"/>
                    </a:moveTo>
                    <a:cubicBezTo>
                      <a:pt x="7553" y="5861"/>
                      <a:pt x="5873" y="7541"/>
                      <a:pt x="3782" y="7541"/>
                    </a:cubicBezTo>
                    <a:cubicBezTo>
                      <a:pt x="1692" y="7541"/>
                      <a:pt x="0" y="5861"/>
                      <a:pt x="0" y="3770"/>
                    </a:cubicBezTo>
                    <a:cubicBezTo>
                      <a:pt x="0" y="1680"/>
                      <a:pt x="1692" y="0"/>
                      <a:pt x="3782" y="0"/>
                    </a:cubicBezTo>
                    <a:cubicBezTo>
                      <a:pt x="5873" y="0"/>
                      <a:pt x="7553" y="1680"/>
                      <a:pt x="7553" y="3770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147" name="Forma livre: Forma 2146">
                <a:extLst>
                  <a:ext uri="{FF2B5EF4-FFF2-40B4-BE49-F238E27FC236}">
                    <a16:creationId xmlns:a16="http://schemas.microsoft.com/office/drawing/2014/main" id="{E29E2B31-6915-A37A-9B7D-340489F85036}"/>
                  </a:ext>
                </a:extLst>
              </p:cNvPr>
              <p:cNvSpPr/>
              <p:nvPr/>
            </p:nvSpPr>
            <p:spPr>
              <a:xfrm>
                <a:off x="10612174" y="4722111"/>
                <a:ext cx="7540" cy="7552"/>
              </a:xfrm>
              <a:custGeom>
                <a:avLst/>
                <a:gdLst>
                  <a:gd name="connsiteX0" fmla="*/ 7540 w 7540"/>
                  <a:gd name="connsiteY0" fmla="*/ 3782 h 7552"/>
                  <a:gd name="connsiteX1" fmla="*/ 3770 w 7540"/>
                  <a:gd name="connsiteY1" fmla="*/ 7553 h 7552"/>
                  <a:gd name="connsiteX2" fmla="*/ 0 w 7540"/>
                  <a:gd name="connsiteY2" fmla="*/ 3782 h 7552"/>
                  <a:gd name="connsiteX3" fmla="*/ 3770 w 7540"/>
                  <a:gd name="connsiteY3" fmla="*/ 0 h 7552"/>
                  <a:gd name="connsiteX4" fmla="*/ 7540 w 7540"/>
                  <a:gd name="connsiteY4" fmla="*/ 3782 h 75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540" h="7552">
                    <a:moveTo>
                      <a:pt x="7540" y="3782"/>
                    </a:moveTo>
                    <a:cubicBezTo>
                      <a:pt x="7540" y="5861"/>
                      <a:pt x="5861" y="7553"/>
                      <a:pt x="3770" y="7553"/>
                    </a:cubicBezTo>
                    <a:cubicBezTo>
                      <a:pt x="1680" y="7553"/>
                      <a:pt x="0" y="5873"/>
                      <a:pt x="0" y="3782"/>
                    </a:cubicBezTo>
                    <a:cubicBezTo>
                      <a:pt x="0" y="1692"/>
                      <a:pt x="1692" y="0"/>
                      <a:pt x="3770" y="0"/>
                    </a:cubicBezTo>
                    <a:cubicBezTo>
                      <a:pt x="5849" y="0"/>
                      <a:pt x="7540" y="1680"/>
                      <a:pt x="7540" y="3782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2148" name="Forma livre: Forma 2147">
              <a:extLst>
                <a:ext uri="{FF2B5EF4-FFF2-40B4-BE49-F238E27FC236}">
                  <a16:creationId xmlns:a16="http://schemas.microsoft.com/office/drawing/2014/main" id="{2A2B73A5-1C45-4734-F50F-78AC629AB0AB}"/>
                </a:ext>
              </a:extLst>
            </p:cNvPr>
            <p:cNvSpPr/>
            <p:nvPr/>
          </p:nvSpPr>
          <p:spPr>
            <a:xfrm>
              <a:off x="10566339" y="4803522"/>
              <a:ext cx="213477" cy="29352"/>
            </a:xfrm>
            <a:custGeom>
              <a:avLst/>
              <a:gdLst>
                <a:gd name="connsiteX0" fmla="*/ 0 w 213477"/>
                <a:gd name="connsiteY0" fmla="*/ 29352 h 29352"/>
                <a:gd name="connsiteX1" fmla="*/ 37159 w 213477"/>
                <a:gd name="connsiteY1" fmla="*/ 0 h 29352"/>
                <a:gd name="connsiteX2" fmla="*/ 71961 w 213477"/>
                <a:gd name="connsiteY2" fmla="*/ 28990 h 29352"/>
                <a:gd name="connsiteX3" fmla="*/ 106751 w 213477"/>
                <a:gd name="connsiteY3" fmla="*/ 0 h 29352"/>
                <a:gd name="connsiteX4" fmla="*/ 141505 w 213477"/>
                <a:gd name="connsiteY4" fmla="*/ 28990 h 29352"/>
                <a:gd name="connsiteX5" fmla="*/ 176307 w 213477"/>
                <a:gd name="connsiteY5" fmla="*/ 0 h 29352"/>
                <a:gd name="connsiteX6" fmla="*/ 213478 w 213477"/>
                <a:gd name="connsiteY6" fmla="*/ 29352 h 293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13477" h="29352">
                  <a:moveTo>
                    <a:pt x="0" y="29352"/>
                  </a:moveTo>
                  <a:lnTo>
                    <a:pt x="37159" y="0"/>
                  </a:lnTo>
                  <a:lnTo>
                    <a:pt x="71961" y="28990"/>
                  </a:lnTo>
                  <a:lnTo>
                    <a:pt x="106751" y="0"/>
                  </a:lnTo>
                  <a:lnTo>
                    <a:pt x="141505" y="28990"/>
                  </a:lnTo>
                  <a:lnTo>
                    <a:pt x="176307" y="0"/>
                  </a:lnTo>
                  <a:lnTo>
                    <a:pt x="213478" y="29352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49" name="Forma livre: Forma 2148">
              <a:extLst>
                <a:ext uri="{FF2B5EF4-FFF2-40B4-BE49-F238E27FC236}">
                  <a16:creationId xmlns:a16="http://schemas.microsoft.com/office/drawing/2014/main" id="{49556BFB-3C26-A52D-3AE7-307B669F57E0}"/>
                </a:ext>
              </a:extLst>
            </p:cNvPr>
            <p:cNvSpPr/>
            <p:nvPr/>
          </p:nvSpPr>
          <p:spPr>
            <a:xfrm>
              <a:off x="10711541" y="4854867"/>
              <a:ext cx="19624" cy="67006"/>
            </a:xfrm>
            <a:custGeom>
              <a:avLst/>
              <a:gdLst>
                <a:gd name="connsiteX0" fmla="*/ 19625 w 19624"/>
                <a:gd name="connsiteY0" fmla="*/ 0 h 67006"/>
                <a:gd name="connsiteX1" fmla="*/ 0 w 19624"/>
                <a:gd name="connsiteY1" fmla="*/ 67006 h 670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9624" h="67006">
                  <a:moveTo>
                    <a:pt x="19625" y="0"/>
                  </a:moveTo>
                  <a:lnTo>
                    <a:pt x="0" y="67006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2150" name="Gráfico 19">
            <a:extLst>
              <a:ext uri="{FF2B5EF4-FFF2-40B4-BE49-F238E27FC236}">
                <a16:creationId xmlns:a16="http://schemas.microsoft.com/office/drawing/2014/main" id="{88B313C4-5F2D-CC9D-2305-31EBFA5A7A5D}"/>
              </a:ext>
            </a:extLst>
          </p:cNvPr>
          <p:cNvGrpSpPr/>
          <p:nvPr/>
        </p:nvGrpSpPr>
        <p:grpSpPr>
          <a:xfrm>
            <a:off x="9878179" y="4649159"/>
            <a:ext cx="335167" cy="271964"/>
            <a:chOff x="9878179" y="4649159"/>
            <a:chExt cx="335167" cy="271964"/>
          </a:xfrm>
          <a:noFill/>
        </p:grpSpPr>
        <p:grpSp>
          <p:nvGrpSpPr>
            <p:cNvPr id="2151" name="Gráfico 19">
              <a:extLst>
                <a:ext uri="{FF2B5EF4-FFF2-40B4-BE49-F238E27FC236}">
                  <a16:creationId xmlns:a16="http://schemas.microsoft.com/office/drawing/2014/main" id="{B5541D44-0A93-F3BE-6796-4DF1DE5A7B5C}"/>
                </a:ext>
              </a:extLst>
            </p:cNvPr>
            <p:cNvGrpSpPr/>
            <p:nvPr/>
          </p:nvGrpSpPr>
          <p:grpSpPr>
            <a:xfrm>
              <a:off x="9878179" y="4649159"/>
              <a:ext cx="335167" cy="271964"/>
              <a:chOff x="9878179" y="4649159"/>
              <a:chExt cx="335167" cy="271964"/>
            </a:xfrm>
            <a:noFill/>
          </p:grpSpPr>
          <p:sp>
            <p:nvSpPr>
              <p:cNvPr id="2152" name="Forma livre: Forma 2151">
                <a:extLst>
                  <a:ext uri="{FF2B5EF4-FFF2-40B4-BE49-F238E27FC236}">
                    <a16:creationId xmlns:a16="http://schemas.microsoft.com/office/drawing/2014/main" id="{32A72CAF-96A5-4AA0-671D-DB781DE02C5B}"/>
                  </a:ext>
                </a:extLst>
              </p:cNvPr>
              <p:cNvSpPr/>
              <p:nvPr/>
            </p:nvSpPr>
            <p:spPr>
              <a:xfrm>
                <a:off x="9908336" y="4765420"/>
                <a:ext cx="299456" cy="114496"/>
              </a:xfrm>
              <a:custGeom>
                <a:avLst/>
                <a:gdLst>
                  <a:gd name="connsiteX0" fmla="*/ 299456 w 299456"/>
                  <a:gd name="connsiteY0" fmla="*/ 0 h 114496"/>
                  <a:gd name="connsiteX1" fmla="*/ 165504 w 299456"/>
                  <a:gd name="connsiteY1" fmla="*/ 101760 h 114496"/>
                  <a:gd name="connsiteX2" fmla="*/ 137747 w 299456"/>
                  <a:gd name="connsiteY2" fmla="*/ 114497 h 114496"/>
                  <a:gd name="connsiteX3" fmla="*/ 110968 w 299456"/>
                  <a:gd name="connsiteY3" fmla="*/ 102956 h 114496"/>
                  <a:gd name="connsiteX4" fmla="*/ 0 w 299456"/>
                  <a:gd name="connsiteY4" fmla="*/ 18307 h 1144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99456" h="114496">
                    <a:moveTo>
                      <a:pt x="299456" y="0"/>
                    </a:moveTo>
                    <a:lnTo>
                      <a:pt x="165504" y="101760"/>
                    </a:lnTo>
                    <a:cubicBezTo>
                      <a:pt x="165504" y="101760"/>
                      <a:pt x="150133" y="114497"/>
                      <a:pt x="137747" y="114497"/>
                    </a:cubicBezTo>
                    <a:cubicBezTo>
                      <a:pt x="125360" y="114497"/>
                      <a:pt x="110968" y="102956"/>
                      <a:pt x="110968" y="102956"/>
                    </a:cubicBezTo>
                    <a:lnTo>
                      <a:pt x="0" y="18307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153" name="Forma livre: Forma 2152">
                <a:extLst>
                  <a:ext uri="{FF2B5EF4-FFF2-40B4-BE49-F238E27FC236}">
                    <a16:creationId xmlns:a16="http://schemas.microsoft.com/office/drawing/2014/main" id="{F7F2E0D5-5B1F-047F-AB26-41AEFCCE2436}"/>
                  </a:ext>
                </a:extLst>
              </p:cNvPr>
              <p:cNvSpPr/>
              <p:nvPr/>
            </p:nvSpPr>
            <p:spPr>
              <a:xfrm>
                <a:off x="9878179" y="4649159"/>
                <a:ext cx="335167" cy="271964"/>
              </a:xfrm>
              <a:custGeom>
                <a:avLst/>
                <a:gdLst>
                  <a:gd name="connsiteX0" fmla="*/ 329613 w 335167"/>
                  <a:gd name="connsiteY0" fmla="*/ 116261 h 271964"/>
                  <a:gd name="connsiteX1" fmla="*/ 187866 w 335167"/>
                  <a:gd name="connsiteY1" fmla="*/ 8894 h 271964"/>
                  <a:gd name="connsiteX2" fmla="*/ 167903 w 335167"/>
                  <a:gd name="connsiteY2" fmla="*/ 0 h 271964"/>
                  <a:gd name="connsiteX3" fmla="*/ 147131 w 335167"/>
                  <a:gd name="connsiteY3" fmla="*/ 9293 h 271964"/>
                  <a:gd name="connsiteX4" fmla="*/ 6182 w 335167"/>
                  <a:gd name="connsiteY4" fmla="*/ 116261 h 271964"/>
                  <a:gd name="connsiteX5" fmla="*/ 6182 w 335167"/>
                  <a:gd name="connsiteY5" fmla="*/ 158447 h 271964"/>
                  <a:gd name="connsiteX6" fmla="*/ 141137 w 335167"/>
                  <a:gd name="connsiteY6" fmla="*/ 261403 h 271964"/>
                  <a:gd name="connsiteX7" fmla="*/ 167915 w 335167"/>
                  <a:gd name="connsiteY7" fmla="*/ 271965 h 271964"/>
                  <a:gd name="connsiteX8" fmla="*/ 195672 w 335167"/>
                  <a:gd name="connsiteY8" fmla="*/ 260678 h 271964"/>
                  <a:gd name="connsiteX9" fmla="*/ 329625 w 335167"/>
                  <a:gd name="connsiteY9" fmla="*/ 158447 h 271964"/>
                  <a:gd name="connsiteX10" fmla="*/ 329625 w 335167"/>
                  <a:gd name="connsiteY10" fmla="*/ 116261 h 2719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335167" h="271964">
                    <a:moveTo>
                      <a:pt x="329613" y="116261"/>
                    </a:moveTo>
                    <a:lnTo>
                      <a:pt x="187866" y="8894"/>
                    </a:lnTo>
                    <a:cubicBezTo>
                      <a:pt x="187866" y="8894"/>
                      <a:pt x="176676" y="0"/>
                      <a:pt x="167903" y="0"/>
                    </a:cubicBezTo>
                    <a:cubicBezTo>
                      <a:pt x="159130" y="0"/>
                      <a:pt x="147131" y="9293"/>
                      <a:pt x="147131" y="9293"/>
                    </a:cubicBezTo>
                    <a:lnTo>
                      <a:pt x="6182" y="116261"/>
                    </a:lnTo>
                    <a:cubicBezTo>
                      <a:pt x="-7727" y="141734"/>
                      <a:pt x="6182" y="158447"/>
                      <a:pt x="6182" y="158447"/>
                    </a:cubicBezTo>
                    <a:lnTo>
                      <a:pt x="141137" y="261403"/>
                    </a:lnTo>
                    <a:cubicBezTo>
                      <a:pt x="141137" y="261403"/>
                      <a:pt x="155517" y="271965"/>
                      <a:pt x="167915" y="271965"/>
                    </a:cubicBezTo>
                    <a:cubicBezTo>
                      <a:pt x="180314" y="271965"/>
                      <a:pt x="195672" y="260678"/>
                      <a:pt x="195672" y="260678"/>
                    </a:cubicBezTo>
                    <a:lnTo>
                      <a:pt x="329625" y="158447"/>
                    </a:lnTo>
                    <a:cubicBezTo>
                      <a:pt x="329625" y="158447"/>
                      <a:pt x="342095" y="138713"/>
                      <a:pt x="329625" y="116261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2154" name="Forma livre: Forma 2153">
              <a:extLst>
                <a:ext uri="{FF2B5EF4-FFF2-40B4-BE49-F238E27FC236}">
                  <a16:creationId xmlns:a16="http://schemas.microsoft.com/office/drawing/2014/main" id="{53C43961-AE48-3F8B-DC22-92EEEF3F0F10}"/>
                </a:ext>
              </a:extLst>
            </p:cNvPr>
            <p:cNvSpPr/>
            <p:nvPr/>
          </p:nvSpPr>
          <p:spPr>
            <a:xfrm>
              <a:off x="9948322" y="4675889"/>
              <a:ext cx="139232" cy="106110"/>
            </a:xfrm>
            <a:custGeom>
              <a:avLst/>
              <a:gdLst>
                <a:gd name="connsiteX0" fmla="*/ 0 w 139232"/>
                <a:gd name="connsiteY0" fmla="*/ 106110 h 106110"/>
                <a:gd name="connsiteX1" fmla="*/ 139233 w 139232"/>
                <a:gd name="connsiteY1" fmla="*/ 0 h 1061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39232" h="106110">
                  <a:moveTo>
                    <a:pt x="0" y="106110"/>
                  </a:moveTo>
                  <a:lnTo>
                    <a:pt x="139233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55" name="Forma livre: Forma 2154">
              <a:extLst>
                <a:ext uri="{FF2B5EF4-FFF2-40B4-BE49-F238E27FC236}">
                  <a16:creationId xmlns:a16="http://schemas.microsoft.com/office/drawing/2014/main" id="{8F8C40B4-18DF-A756-548C-E27D1C122702}"/>
                </a:ext>
              </a:extLst>
            </p:cNvPr>
            <p:cNvSpPr/>
            <p:nvPr/>
          </p:nvSpPr>
          <p:spPr>
            <a:xfrm>
              <a:off x="9989432" y="4705350"/>
              <a:ext cx="138350" cy="105409"/>
            </a:xfrm>
            <a:custGeom>
              <a:avLst/>
              <a:gdLst>
                <a:gd name="connsiteX0" fmla="*/ 0 w 138350"/>
                <a:gd name="connsiteY0" fmla="*/ 105410 h 105409"/>
                <a:gd name="connsiteX1" fmla="*/ 138351 w 138350"/>
                <a:gd name="connsiteY1" fmla="*/ 0 h 10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38350" h="105409">
                  <a:moveTo>
                    <a:pt x="0" y="105410"/>
                  </a:moveTo>
                  <a:lnTo>
                    <a:pt x="138351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56" name="Forma livre: Forma 2155">
              <a:extLst>
                <a:ext uri="{FF2B5EF4-FFF2-40B4-BE49-F238E27FC236}">
                  <a16:creationId xmlns:a16="http://schemas.microsoft.com/office/drawing/2014/main" id="{D29856EB-91F4-035E-3AA5-B8F658490108}"/>
                </a:ext>
              </a:extLst>
            </p:cNvPr>
            <p:cNvSpPr/>
            <p:nvPr/>
          </p:nvSpPr>
          <p:spPr>
            <a:xfrm>
              <a:off x="10027739" y="4735186"/>
              <a:ext cx="138169" cy="105276"/>
            </a:xfrm>
            <a:custGeom>
              <a:avLst/>
              <a:gdLst>
                <a:gd name="connsiteX0" fmla="*/ 0 w 138169"/>
                <a:gd name="connsiteY0" fmla="*/ 105277 h 105276"/>
                <a:gd name="connsiteX1" fmla="*/ 138170 w 138169"/>
                <a:gd name="connsiteY1" fmla="*/ 0 h 1052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38169" h="105276">
                  <a:moveTo>
                    <a:pt x="0" y="105277"/>
                  </a:moveTo>
                  <a:lnTo>
                    <a:pt x="13817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57" name="Forma livre: Forma 2156">
              <a:extLst>
                <a:ext uri="{FF2B5EF4-FFF2-40B4-BE49-F238E27FC236}">
                  <a16:creationId xmlns:a16="http://schemas.microsoft.com/office/drawing/2014/main" id="{438F6CF4-EBA2-FE7E-38C8-3DC0B316FEBC}"/>
                </a:ext>
              </a:extLst>
            </p:cNvPr>
            <p:cNvSpPr/>
            <p:nvPr/>
          </p:nvSpPr>
          <p:spPr>
            <a:xfrm>
              <a:off x="9949470" y="4747886"/>
              <a:ext cx="140187" cy="107101"/>
            </a:xfrm>
            <a:custGeom>
              <a:avLst/>
              <a:gdLst>
                <a:gd name="connsiteX0" fmla="*/ 140188 w 140187"/>
                <a:gd name="connsiteY0" fmla="*/ 107101 h 107101"/>
                <a:gd name="connsiteX1" fmla="*/ 0 w 140187"/>
                <a:gd name="connsiteY1" fmla="*/ 0 h 1071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40187" h="107101">
                  <a:moveTo>
                    <a:pt x="140188" y="107101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58" name="Forma livre: Forma 2157">
              <a:extLst>
                <a:ext uri="{FF2B5EF4-FFF2-40B4-BE49-F238E27FC236}">
                  <a16:creationId xmlns:a16="http://schemas.microsoft.com/office/drawing/2014/main" id="{D71E4CBA-686B-AACA-3665-62175B2601AF}"/>
                </a:ext>
              </a:extLst>
            </p:cNvPr>
            <p:cNvSpPr/>
            <p:nvPr/>
          </p:nvSpPr>
          <p:spPr>
            <a:xfrm>
              <a:off x="9987559" y="4718788"/>
              <a:ext cx="140115" cy="106738"/>
            </a:xfrm>
            <a:custGeom>
              <a:avLst/>
              <a:gdLst>
                <a:gd name="connsiteX0" fmla="*/ 140115 w 140115"/>
                <a:gd name="connsiteY0" fmla="*/ 106739 h 106738"/>
                <a:gd name="connsiteX1" fmla="*/ 0 w 140115"/>
                <a:gd name="connsiteY1" fmla="*/ 0 h 1067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40115" h="106738">
                  <a:moveTo>
                    <a:pt x="140115" y="106739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59" name="Forma livre: Forma 2158">
              <a:extLst>
                <a:ext uri="{FF2B5EF4-FFF2-40B4-BE49-F238E27FC236}">
                  <a16:creationId xmlns:a16="http://schemas.microsoft.com/office/drawing/2014/main" id="{A54EAA85-992C-2B54-7F9E-CC9F1559DFEE}"/>
                </a:ext>
              </a:extLst>
            </p:cNvPr>
            <p:cNvSpPr/>
            <p:nvPr/>
          </p:nvSpPr>
          <p:spPr>
            <a:xfrm>
              <a:off x="10028959" y="4690221"/>
              <a:ext cx="138084" cy="105179"/>
            </a:xfrm>
            <a:custGeom>
              <a:avLst/>
              <a:gdLst>
                <a:gd name="connsiteX0" fmla="*/ 138085 w 138084"/>
                <a:gd name="connsiteY0" fmla="*/ 105180 h 105179"/>
                <a:gd name="connsiteX1" fmla="*/ 0 w 138084"/>
                <a:gd name="connsiteY1" fmla="*/ 0 h 1051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38084" h="105179">
                  <a:moveTo>
                    <a:pt x="138085" y="105180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2160" name="Gráfico 19">
            <a:extLst>
              <a:ext uri="{FF2B5EF4-FFF2-40B4-BE49-F238E27FC236}">
                <a16:creationId xmlns:a16="http://schemas.microsoft.com/office/drawing/2014/main" id="{1A9B7D6D-C95A-A151-5F2E-658D7E695B51}"/>
              </a:ext>
            </a:extLst>
          </p:cNvPr>
          <p:cNvGrpSpPr/>
          <p:nvPr/>
        </p:nvGrpSpPr>
        <p:grpSpPr>
          <a:xfrm>
            <a:off x="11176235" y="4618429"/>
            <a:ext cx="253512" cy="333436"/>
            <a:chOff x="11176235" y="4618429"/>
            <a:chExt cx="253512" cy="333436"/>
          </a:xfrm>
          <a:noFill/>
        </p:grpSpPr>
        <p:sp>
          <p:nvSpPr>
            <p:cNvPr id="2161" name="Forma livre: Forma 2160">
              <a:extLst>
                <a:ext uri="{FF2B5EF4-FFF2-40B4-BE49-F238E27FC236}">
                  <a16:creationId xmlns:a16="http://schemas.microsoft.com/office/drawing/2014/main" id="{27221011-9F1B-CD23-1EF0-E42698BED96B}"/>
                </a:ext>
              </a:extLst>
            </p:cNvPr>
            <p:cNvSpPr/>
            <p:nvPr/>
          </p:nvSpPr>
          <p:spPr>
            <a:xfrm>
              <a:off x="11231858" y="4751210"/>
              <a:ext cx="6307" cy="161636"/>
            </a:xfrm>
            <a:custGeom>
              <a:avLst/>
              <a:gdLst>
                <a:gd name="connsiteX0" fmla="*/ 6308 w 6307"/>
                <a:gd name="connsiteY0" fmla="*/ 161637 h 161636"/>
                <a:gd name="connsiteX1" fmla="*/ 0 w 6307"/>
                <a:gd name="connsiteY1" fmla="*/ 0 h 1616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307" h="161636">
                  <a:moveTo>
                    <a:pt x="6308" y="161637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62" name="Forma livre: Forma 2161">
              <a:extLst>
                <a:ext uri="{FF2B5EF4-FFF2-40B4-BE49-F238E27FC236}">
                  <a16:creationId xmlns:a16="http://schemas.microsoft.com/office/drawing/2014/main" id="{883C0D90-04E6-D428-09AC-873A59C085F1}"/>
                </a:ext>
              </a:extLst>
            </p:cNvPr>
            <p:cNvSpPr/>
            <p:nvPr/>
          </p:nvSpPr>
          <p:spPr>
            <a:xfrm>
              <a:off x="11176235" y="4657787"/>
              <a:ext cx="58922" cy="198469"/>
            </a:xfrm>
            <a:custGeom>
              <a:avLst/>
              <a:gdLst>
                <a:gd name="connsiteX0" fmla="*/ 0 w 58922"/>
                <a:gd name="connsiteY0" fmla="*/ 0 h 198469"/>
                <a:gd name="connsiteX1" fmla="*/ 5269 w 58922"/>
                <a:gd name="connsiteY1" fmla="*/ 135294 h 198469"/>
                <a:gd name="connsiteX2" fmla="*/ 13957 w 58922"/>
                <a:gd name="connsiteY2" fmla="*/ 156090 h 198469"/>
                <a:gd name="connsiteX3" fmla="*/ 58922 w 58922"/>
                <a:gd name="connsiteY3" fmla="*/ 198469 h 1984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8922" h="198469">
                  <a:moveTo>
                    <a:pt x="0" y="0"/>
                  </a:moveTo>
                  <a:lnTo>
                    <a:pt x="5269" y="135294"/>
                  </a:lnTo>
                  <a:cubicBezTo>
                    <a:pt x="5269" y="135294"/>
                    <a:pt x="5486" y="148115"/>
                    <a:pt x="13957" y="156090"/>
                  </a:cubicBezTo>
                  <a:cubicBezTo>
                    <a:pt x="23987" y="165564"/>
                    <a:pt x="58922" y="198469"/>
                    <a:pt x="58922" y="198469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63" name="Forma livre: Forma 2162">
              <a:extLst>
                <a:ext uri="{FF2B5EF4-FFF2-40B4-BE49-F238E27FC236}">
                  <a16:creationId xmlns:a16="http://schemas.microsoft.com/office/drawing/2014/main" id="{E0C5D0B1-DA3E-8C02-4BE8-F144110C6943}"/>
                </a:ext>
              </a:extLst>
            </p:cNvPr>
            <p:cNvSpPr/>
            <p:nvPr/>
          </p:nvSpPr>
          <p:spPr>
            <a:xfrm>
              <a:off x="11234565" y="4749735"/>
              <a:ext cx="49133" cy="54970"/>
            </a:xfrm>
            <a:custGeom>
              <a:avLst/>
              <a:gdLst>
                <a:gd name="connsiteX0" fmla="*/ 0 w 49133"/>
                <a:gd name="connsiteY0" fmla="*/ 54971 h 54970"/>
                <a:gd name="connsiteX1" fmla="*/ 49134 w 49133"/>
                <a:gd name="connsiteY1" fmla="*/ 0 h 549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9133" h="54970">
                  <a:moveTo>
                    <a:pt x="0" y="54971"/>
                  </a:moveTo>
                  <a:lnTo>
                    <a:pt x="49134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64" name="Forma livre: Forma 2163">
              <a:extLst>
                <a:ext uri="{FF2B5EF4-FFF2-40B4-BE49-F238E27FC236}">
                  <a16:creationId xmlns:a16="http://schemas.microsoft.com/office/drawing/2014/main" id="{7EFAEA24-6E9B-ABCB-6C49-C818B41606E8}"/>
                </a:ext>
              </a:extLst>
            </p:cNvPr>
            <p:cNvSpPr/>
            <p:nvPr/>
          </p:nvSpPr>
          <p:spPr>
            <a:xfrm>
              <a:off x="11232704" y="4696759"/>
              <a:ext cx="49798" cy="54958"/>
            </a:xfrm>
            <a:custGeom>
              <a:avLst/>
              <a:gdLst>
                <a:gd name="connsiteX0" fmla="*/ 0 w 49798"/>
                <a:gd name="connsiteY0" fmla="*/ 54958 h 54958"/>
                <a:gd name="connsiteX1" fmla="*/ 49799 w 49798"/>
                <a:gd name="connsiteY1" fmla="*/ 0 h 549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9798" h="54958">
                  <a:moveTo>
                    <a:pt x="0" y="54958"/>
                  </a:moveTo>
                  <a:lnTo>
                    <a:pt x="49799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65" name="Forma livre: Forma 2164">
              <a:extLst>
                <a:ext uri="{FF2B5EF4-FFF2-40B4-BE49-F238E27FC236}">
                  <a16:creationId xmlns:a16="http://schemas.microsoft.com/office/drawing/2014/main" id="{38AE34AD-CDF9-14F9-7873-45C713E7F879}"/>
                </a:ext>
              </a:extLst>
            </p:cNvPr>
            <p:cNvSpPr/>
            <p:nvPr/>
          </p:nvSpPr>
          <p:spPr>
            <a:xfrm>
              <a:off x="11180380" y="4754750"/>
              <a:ext cx="52976" cy="49955"/>
            </a:xfrm>
            <a:custGeom>
              <a:avLst/>
              <a:gdLst>
                <a:gd name="connsiteX0" fmla="*/ 52977 w 52976"/>
                <a:gd name="connsiteY0" fmla="*/ 49956 h 49955"/>
                <a:gd name="connsiteX1" fmla="*/ 0 w 52976"/>
                <a:gd name="connsiteY1" fmla="*/ 0 h 49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2976" h="49955">
                  <a:moveTo>
                    <a:pt x="52977" y="49956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66" name="Forma livre: Forma 2165">
              <a:extLst>
                <a:ext uri="{FF2B5EF4-FFF2-40B4-BE49-F238E27FC236}">
                  <a16:creationId xmlns:a16="http://schemas.microsoft.com/office/drawing/2014/main" id="{A7739329-BE16-473E-FC8E-F452524B0C5D}"/>
                </a:ext>
              </a:extLst>
            </p:cNvPr>
            <p:cNvSpPr/>
            <p:nvPr/>
          </p:nvSpPr>
          <p:spPr>
            <a:xfrm>
              <a:off x="11178918" y="4702644"/>
              <a:ext cx="52058" cy="49097"/>
            </a:xfrm>
            <a:custGeom>
              <a:avLst/>
              <a:gdLst>
                <a:gd name="connsiteX0" fmla="*/ 52058 w 52058"/>
                <a:gd name="connsiteY0" fmla="*/ 49098 h 49097"/>
                <a:gd name="connsiteX1" fmla="*/ 0 w 52058"/>
                <a:gd name="connsiteY1" fmla="*/ 0 h 490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2058" h="49097">
                  <a:moveTo>
                    <a:pt x="52058" y="49098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67" name="Forma livre: Forma 2166">
              <a:extLst>
                <a:ext uri="{FF2B5EF4-FFF2-40B4-BE49-F238E27FC236}">
                  <a16:creationId xmlns:a16="http://schemas.microsoft.com/office/drawing/2014/main" id="{EAD4A36F-4752-0483-D0DE-31D6283A8DB6}"/>
                </a:ext>
              </a:extLst>
            </p:cNvPr>
            <p:cNvSpPr/>
            <p:nvPr/>
          </p:nvSpPr>
          <p:spPr>
            <a:xfrm>
              <a:off x="11208548" y="4619807"/>
              <a:ext cx="4446" cy="113747"/>
            </a:xfrm>
            <a:custGeom>
              <a:avLst/>
              <a:gdLst>
                <a:gd name="connsiteX0" fmla="*/ 4447 w 4446"/>
                <a:gd name="connsiteY0" fmla="*/ 113748 h 113747"/>
                <a:gd name="connsiteX1" fmla="*/ 0 w 4446"/>
                <a:gd name="connsiteY1" fmla="*/ 0 h 113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446" h="113747">
                  <a:moveTo>
                    <a:pt x="4447" y="113748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68" name="Forma livre: Forma 2167">
              <a:extLst>
                <a:ext uri="{FF2B5EF4-FFF2-40B4-BE49-F238E27FC236}">
                  <a16:creationId xmlns:a16="http://schemas.microsoft.com/office/drawing/2014/main" id="{223806C8-39CF-A55D-266D-2361B2C7E4B0}"/>
                </a:ext>
              </a:extLst>
            </p:cNvPr>
            <p:cNvSpPr/>
            <p:nvPr/>
          </p:nvSpPr>
          <p:spPr>
            <a:xfrm>
              <a:off x="11242710" y="4618429"/>
              <a:ext cx="4434" cy="114375"/>
            </a:xfrm>
            <a:custGeom>
              <a:avLst/>
              <a:gdLst>
                <a:gd name="connsiteX0" fmla="*/ 4435 w 4434"/>
                <a:gd name="connsiteY0" fmla="*/ 114376 h 114375"/>
                <a:gd name="connsiteX1" fmla="*/ 0 w 4434"/>
                <a:gd name="connsiteY1" fmla="*/ 0 h 1143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434" h="114375">
                  <a:moveTo>
                    <a:pt x="4435" y="114376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69" name="Forma livre: Forma 2168">
              <a:extLst>
                <a:ext uri="{FF2B5EF4-FFF2-40B4-BE49-F238E27FC236}">
                  <a16:creationId xmlns:a16="http://schemas.microsoft.com/office/drawing/2014/main" id="{21DA73C3-CE5B-2786-85C9-52541DF86ECC}"/>
                </a:ext>
              </a:extLst>
            </p:cNvPr>
            <p:cNvSpPr/>
            <p:nvPr/>
          </p:nvSpPr>
          <p:spPr>
            <a:xfrm>
              <a:off x="11236970" y="4838940"/>
              <a:ext cx="16313" cy="17328"/>
            </a:xfrm>
            <a:custGeom>
              <a:avLst/>
              <a:gdLst>
                <a:gd name="connsiteX0" fmla="*/ 16314 w 16313"/>
                <a:gd name="connsiteY0" fmla="*/ 0 h 17328"/>
                <a:gd name="connsiteX1" fmla="*/ 0 w 16313"/>
                <a:gd name="connsiteY1" fmla="*/ 17329 h 173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6313" h="17328">
                  <a:moveTo>
                    <a:pt x="16314" y="0"/>
                  </a:moveTo>
                  <a:cubicBezTo>
                    <a:pt x="6840" y="10356"/>
                    <a:pt x="0" y="17329"/>
                    <a:pt x="0" y="17329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70" name="Forma livre: Forma 2169">
              <a:extLst>
                <a:ext uri="{FF2B5EF4-FFF2-40B4-BE49-F238E27FC236}">
                  <a16:creationId xmlns:a16="http://schemas.microsoft.com/office/drawing/2014/main" id="{FB70E01D-2B45-1538-6923-142EF800DAF4}"/>
                </a:ext>
              </a:extLst>
            </p:cNvPr>
            <p:cNvSpPr/>
            <p:nvPr/>
          </p:nvSpPr>
          <p:spPr>
            <a:xfrm>
              <a:off x="11280763" y="4653534"/>
              <a:ext cx="3746" cy="95271"/>
            </a:xfrm>
            <a:custGeom>
              <a:avLst/>
              <a:gdLst>
                <a:gd name="connsiteX0" fmla="*/ 0 w 3746"/>
                <a:gd name="connsiteY0" fmla="*/ 0 h 95271"/>
                <a:gd name="connsiteX1" fmla="*/ 3746 w 3746"/>
                <a:gd name="connsiteY1" fmla="*/ 95271 h 952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746" h="95271">
                  <a:moveTo>
                    <a:pt x="0" y="0"/>
                  </a:moveTo>
                  <a:lnTo>
                    <a:pt x="3746" y="95271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71" name="Forma livre: Forma 2170">
              <a:extLst>
                <a:ext uri="{FF2B5EF4-FFF2-40B4-BE49-F238E27FC236}">
                  <a16:creationId xmlns:a16="http://schemas.microsoft.com/office/drawing/2014/main" id="{94DA3F55-EDC1-D976-9A84-B1473876DBC3}"/>
                </a:ext>
              </a:extLst>
            </p:cNvPr>
            <p:cNvSpPr/>
            <p:nvPr/>
          </p:nvSpPr>
          <p:spPr>
            <a:xfrm>
              <a:off x="11274322" y="4804899"/>
              <a:ext cx="67586" cy="146966"/>
            </a:xfrm>
            <a:custGeom>
              <a:avLst/>
              <a:gdLst>
                <a:gd name="connsiteX0" fmla="*/ 0 w 67586"/>
                <a:gd name="connsiteY0" fmla="*/ 146967 h 146966"/>
                <a:gd name="connsiteX1" fmla="*/ 67586 w 67586"/>
                <a:gd name="connsiteY1" fmla="*/ 0 h 1469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7586" h="146966">
                  <a:moveTo>
                    <a:pt x="0" y="146967"/>
                  </a:moveTo>
                  <a:lnTo>
                    <a:pt x="67586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72" name="Forma livre: Forma 2171">
              <a:extLst>
                <a:ext uri="{FF2B5EF4-FFF2-40B4-BE49-F238E27FC236}">
                  <a16:creationId xmlns:a16="http://schemas.microsoft.com/office/drawing/2014/main" id="{2979D87B-39A3-ED20-73F9-D71023B32182}"/>
                </a:ext>
              </a:extLst>
            </p:cNvPr>
            <p:cNvSpPr/>
            <p:nvPr/>
          </p:nvSpPr>
          <p:spPr>
            <a:xfrm>
              <a:off x="11274980" y="4696420"/>
              <a:ext cx="59653" cy="203641"/>
            </a:xfrm>
            <a:custGeom>
              <a:avLst/>
              <a:gdLst>
                <a:gd name="connsiteX0" fmla="*/ 59653 w 59653"/>
                <a:gd name="connsiteY0" fmla="*/ 0 h 203641"/>
                <a:gd name="connsiteX1" fmla="*/ 3076 w 59653"/>
                <a:gd name="connsiteY1" fmla="*/ 123016 h 203641"/>
                <a:gd name="connsiteX2" fmla="*/ 1396 w 59653"/>
                <a:gd name="connsiteY2" fmla="*/ 145493 h 203641"/>
                <a:gd name="connsiteX3" fmla="*/ 22289 w 59653"/>
                <a:gd name="connsiteY3" fmla="*/ 203641 h 203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9653" h="203641">
                  <a:moveTo>
                    <a:pt x="59653" y="0"/>
                  </a:moveTo>
                  <a:lnTo>
                    <a:pt x="3076" y="123016"/>
                  </a:lnTo>
                  <a:cubicBezTo>
                    <a:pt x="3076" y="123016"/>
                    <a:pt x="-2531" y="134544"/>
                    <a:pt x="1396" y="145493"/>
                  </a:cubicBezTo>
                  <a:cubicBezTo>
                    <a:pt x="6048" y="158483"/>
                    <a:pt x="22289" y="203641"/>
                    <a:pt x="22289" y="203641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73" name="Forma livre: Forma 2172">
              <a:extLst>
                <a:ext uri="{FF2B5EF4-FFF2-40B4-BE49-F238E27FC236}">
                  <a16:creationId xmlns:a16="http://schemas.microsoft.com/office/drawing/2014/main" id="{501912C7-C829-4F62-8F48-D4790BC479F4}"/>
                </a:ext>
              </a:extLst>
            </p:cNvPr>
            <p:cNvSpPr/>
            <p:nvPr/>
          </p:nvSpPr>
          <p:spPr>
            <a:xfrm>
              <a:off x="11320084" y="4826699"/>
              <a:ext cx="68903" cy="27116"/>
            </a:xfrm>
            <a:custGeom>
              <a:avLst/>
              <a:gdLst>
                <a:gd name="connsiteX0" fmla="*/ 0 w 68903"/>
                <a:gd name="connsiteY0" fmla="*/ 27117 h 27116"/>
                <a:gd name="connsiteX1" fmla="*/ 68904 w 68903"/>
                <a:gd name="connsiteY1" fmla="*/ 0 h 271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8903" h="27116">
                  <a:moveTo>
                    <a:pt x="0" y="27117"/>
                  </a:moveTo>
                  <a:lnTo>
                    <a:pt x="68904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74" name="Forma livre: Forma 2173">
              <a:extLst>
                <a:ext uri="{FF2B5EF4-FFF2-40B4-BE49-F238E27FC236}">
                  <a16:creationId xmlns:a16="http://schemas.microsoft.com/office/drawing/2014/main" id="{7D134B95-F20E-93B6-FBE2-C6736B98EDA4}"/>
                </a:ext>
              </a:extLst>
            </p:cNvPr>
            <p:cNvSpPr/>
            <p:nvPr/>
          </p:nvSpPr>
          <p:spPr>
            <a:xfrm>
              <a:off x="11342428" y="4779293"/>
              <a:ext cx="69302" cy="26440"/>
            </a:xfrm>
            <a:custGeom>
              <a:avLst/>
              <a:gdLst>
                <a:gd name="connsiteX0" fmla="*/ 0 w 69302"/>
                <a:gd name="connsiteY0" fmla="*/ 26440 h 26440"/>
                <a:gd name="connsiteX1" fmla="*/ 69302 w 69302"/>
                <a:gd name="connsiteY1" fmla="*/ 0 h 264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9302" h="26440">
                  <a:moveTo>
                    <a:pt x="0" y="26440"/>
                  </a:moveTo>
                  <a:lnTo>
                    <a:pt x="69302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75" name="Forma livre: Forma 2174">
              <a:extLst>
                <a:ext uri="{FF2B5EF4-FFF2-40B4-BE49-F238E27FC236}">
                  <a16:creationId xmlns:a16="http://schemas.microsoft.com/office/drawing/2014/main" id="{CA43E0ED-FFD3-4169-F1B6-78E23CF000AF}"/>
                </a:ext>
              </a:extLst>
            </p:cNvPr>
            <p:cNvSpPr/>
            <p:nvPr/>
          </p:nvSpPr>
          <p:spPr>
            <a:xfrm>
              <a:off x="11294406" y="4784743"/>
              <a:ext cx="24603" cy="68528"/>
            </a:xfrm>
            <a:custGeom>
              <a:avLst/>
              <a:gdLst>
                <a:gd name="connsiteX0" fmla="*/ 24603 w 24603"/>
                <a:gd name="connsiteY0" fmla="*/ 68529 h 68528"/>
                <a:gd name="connsiteX1" fmla="*/ 0 w 24603"/>
                <a:gd name="connsiteY1" fmla="*/ 0 h 685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4603" h="68528">
                  <a:moveTo>
                    <a:pt x="24603" y="68529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76" name="Forma livre: Forma 2175">
              <a:extLst>
                <a:ext uri="{FF2B5EF4-FFF2-40B4-BE49-F238E27FC236}">
                  <a16:creationId xmlns:a16="http://schemas.microsoft.com/office/drawing/2014/main" id="{F96E37D2-6993-07F9-CA8E-1573312C4507}"/>
                </a:ext>
              </a:extLst>
            </p:cNvPr>
            <p:cNvSpPr/>
            <p:nvPr/>
          </p:nvSpPr>
          <p:spPr>
            <a:xfrm>
              <a:off x="11316713" y="4737627"/>
              <a:ext cx="24168" cy="67356"/>
            </a:xfrm>
            <a:custGeom>
              <a:avLst/>
              <a:gdLst>
                <a:gd name="connsiteX0" fmla="*/ 24168 w 24168"/>
                <a:gd name="connsiteY0" fmla="*/ 67357 h 67356"/>
                <a:gd name="connsiteX1" fmla="*/ 0 w 24168"/>
                <a:gd name="connsiteY1" fmla="*/ 0 h 673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4168" h="67356">
                  <a:moveTo>
                    <a:pt x="24168" y="67357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77" name="Forma livre: Forma 2176">
              <a:extLst>
                <a:ext uri="{FF2B5EF4-FFF2-40B4-BE49-F238E27FC236}">
                  <a16:creationId xmlns:a16="http://schemas.microsoft.com/office/drawing/2014/main" id="{2F632735-75FD-8EA3-40DC-F0C4E0DE390B}"/>
                </a:ext>
              </a:extLst>
            </p:cNvPr>
            <p:cNvSpPr/>
            <p:nvPr/>
          </p:nvSpPr>
          <p:spPr>
            <a:xfrm>
              <a:off x="11333087" y="4677194"/>
              <a:ext cx="47563" cy="103415"/>
            </a:xfrm>
            <a:custGeom>
              <a:avLst/>
              <a:gdLst>
                <a:gd name="connsiteX0" fmla="*/ 0 w 47563"/>
                <a:gd name="connsiteY0" fmla="*/ 103416 h 103415"/>
                <a:gd name="connsiteX1" fmla="*/ 47563 w 47563"/>
                <a:gd name="connsiteY1" fmla="*/ 0 h 1034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7563" h="103415">
                  <a:moveTo>
                    <a:pt x="0" y="103416"/>
                  </a:moveTo>
                  <a:lnTo>
                    <a:pt x="47563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78" name="Forma livre: Forma 2177">
              <a:extLst>
                <a:ext uri="{FF2B5EF4-FFF2-40B4-BE49-F238E27FC236}">
                  <a16:creationId xmlns:a16="http://schemas.microsoft.com/office/drawing/2014/main" id="{D811C1AD-487B-6050-E71D-E94E0786A9D4}"/>
                </a:ext>
              </a:extLst>
            </p:cNvPr>
            <p:cNvSpPr/>
            <p:nvPr/>
          </p:nvSpPr>
          <p:spPr>
            <a:xfrm>
              <a:off x="11363877" y="4691429"/>
              <a:ext cx="47853" cy="103983"/>
            </a:xfrm>
            <a:custGeom>
              <a:avLst/>
              <a:gdLst>
                <a:gd name="connsiteX0" fmla="*/ 0 w 47853"/>
                <a:gd name="connsiteY0" fmla="*/ 103984 h 103983"/>
                <a:gd name="connsiteX1" fmla="*/ 47853 w 47853"/>
                <a:gd name="connsiteY1" fmla="*/ 0 h 1039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7853" h="103983">
                  <a:moveTo>
                    <a:pt x="0" y="103984"/>
                  </a:moveTo>
                  <a:lnTo>
                    <a:pt x="47853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79" name="Forma livre: Forma 2178">
              <a:extLst>
                <a:ext uri="{FF2B5EF4-FFF2-40B4-BE49-F238E27FC236}">
                  <a16:creationId xmlns:a16="http://schemas.microsoft.com/office/drawing/2014/main" id="{20562291-BDCE-0251-E239-44361C7AC4E6}"/>
                </a:ext>
              </a:extLst>
            </p:cNvPr>
            <p:cNvSpPr/>
            <p:nvPr/>
          </p:nvSpPr>
          <p:spPr>
            <a:xfrm>
              <a:off x="11298889" y="4739959"/>
              <a:ext cx="130858" cy="160911"/>
            </a:xfrm>
            <a:custGeom>
              <a:avLst/>
              <a:gdLst>
                <a:gd name="connsiteX0" fmla="*/ 130859 w 130858"/>
                <a:gd name="connsiteY0" fmla="*/ 0 h 160911"/>
                <a:gd name="connsiteX1" fmla="*/ 74281 w 130858"/>
                <a:gd name="connsiteY1" fmla="*/ 123016 h 160911"/>
                <a:gd name="connsiteX2" fmla="*/ 58318 w 130858"/>
                <a:gd name="connsiteY2" fmla="*/ 138943 h 160911"/>
                <a:gd name="connsiteX3" fmla="*/ 0 w 130858"/>
                <a:gd name="connsiteY3" fmla="*/ 160912 h 1609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0858" h="160911">
                  <a:moveTo>
                    <a:pt x="130859" y="0"/>
                  </a:moveTo>
                  <a:lnTo>
                    <a:pt x="74281" y="123016"/>
                  </a:lnTo>
                  <a:cubicBezTo>
                    <a:pt x="74281" y="123016"/>
                    <a:pt x="69194" y="134774"/>
                    <a:pt x="58318" y="138943"/>
                  </a:cubicBezTo>
                  <a:cubicBezTo>
                    <a:pt x="45424" y="143885"/>
                    <a:pt x="0" y="160912"/>
                    <a:pt x="0" y="160912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2180" name="Gráfico 19">
            <a:extLst>
              <a:ext uri="{FF2B5EF4-FFF2-40B4-BE49-F238E27FC236}">
                <a16:creationId xmlns:a16="http://schemas.microsoft.com/office/drawing/2014/main" id="{7E34DAD6-E4BE-CC69-6CDB-1157072502B4}"/>
              </a:ext>
            </a:extLst>
          </p:cNvPr>
          <p:cNvGrpSpPr/>
          <p:nvPr/>
        </p:nvGrpSpPr>
        <p:grpSpPr>
          <a:xfrm>
            <a:off x="10526908" y="4101460"/>
            <a:ext cx="294839" cy="290791"/>
            <a:chOff x="10526908" y="4101460"/>
            <a:chExt cx="294839" cy="290791"/>
          </a:xfrm>
          <a:noFill/>
        </p:grpSpPr>
        <p:sp>
          <p:nvSpPr>
            <p:cNvPr id="2181" name="Forma livre: Forma 2180">
              <a:extLst>
                <a:ext uri="{FF2B5EF4-FFF2-40B4-BE49-F238E27FC236}">
                  <a16:creationId xmlns:a16="http://schemas.microsoft.com/office/drawing/2014/main" id="{2BE61D5D-7BA5-ED6B-B1CA-7C7E22C9F02C}"/>
                </a:ext>
              </a:extLst>
            </p:cNvPr>
            <p:cNvSpPr/>
            <p:nvPr/>
          </p:nvSpPr>
          <p:spPr>
            <a:xfrm>
              <a:off x="10662468" y="4260051"/>
              <a:ext cx="48674" cy="60843"/>
            </a:xfrm>
            <a:custGeom>
              <a:avLst/>
              <a:gdLst>
                <a:gd name="connsiteX0" fmla="*/ 0 w 48674"/>
                <a:gd name="connsiteY0" fmla="*/ 9728 h 60843"/>
                <a:gd name="connsiteX1" fmla="*/ 9716 w 48674"/>
                <a:gd name="connsiteY1" fmla="*/ 0 h 60843"/>
                <a:gd name="connsiteX2" fmla="*/ 38959 w 48674"/>
                <a:gd name="connsiteY2" fmla="*/ 0 h 60843"/>
                <a:gd name="connsiteX3" fmla="*/ 48675 w 48674"/>
                <a:gd name="connsiteY3" fmla="*/ 9728 h 60843"/>
                <a:gd name="connsiteX4" fmla="*/ 48675 w 48674"/>
                <a:gd name="connsiteY4" fmla="*/ 60843 h 60843"/>
                <a:gd name="connsiteX5" fmla="*/ 0 w 48674"/>
                <a:gd name="connsiteY5" fmla="*/ 60843 h 60843"/>
                <a:gd name="connsiteX6" fmla="*/ 0 w 48674"/>
                <a:gd name="connsiteY6" fmla="*/ 9728 h 608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8674" h="60843">
                  <a:moveTo>
                    <a:pt x="0" y="9728"/>
                  </a:moveTo>
                  <a:cubicBezTo>
                    <a:pt x="0" y="4374"/>
                    <a:pt x="4362" y="0"/>
                    <a:pt x="9716" y="0"/>
                  </a:cubicBezTo>
                  <a:lnTo>
                    <a:pt x="38959" y="0"/>
                  </a:lnTo>
                  <a:cubicBezTo>
                    <a:pt x="44300" y="0"/>
                    <a:pt x="48675" y="4374"/>
                    <a:pt x="48675" y="9728"/>
                  </a:cubicBezTo>
                  <a:lnTo>
                    <a:pt x="48675" y="60843"/>
                  </a:lnTo>
                  <a:lnTo>
                    <a:pt x="0" y="60843"/>
                  </a:lnTo>
                  <a:lnTo>
                    <a:pt x="0" y="9728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82" name="Forma livre: Forma 2181">
              <a:extLst>
                <a:ext uri="{FF2B5EF4-FFF2-40B4-BE49-F238E27FC236}">
                  <a16:creationId xmlns:a16="http://schemas.microsoft.com/office/drawing/2014/main" id="{56D7CC80-ED49-6586-143E-86C2155365C1}"/>
                </a:ext>
              </a:extLst>
            </p:cNvPr>
            <p:cNvSpPr/>
            <p:nvPr/>
          </p:nvSpPr>
          <p:spPr>
            <a:xfrm>
              <a:off x="10754428" y="4232790"/>
              <a:ext cx="67319" cy="93603"/>
            </a:xfrm>
            <a:custGeom>
              <a:avLst/>
              <a:gdLst>
                <a:gd name="connsiteX0" fmla="*/ 12580 w 67319"/>
                <a:gd name="connsiteY0" fmla="*/ 423 h 93603"/>
                <a:gd name="connsiteX1" fmla="*/ 27407 w 67319"/>
                <a:gd name="connsiteY1" fmla="*/ 0 h 93603"/>
                <a:gd name="connsiteX2" fmla="*/ 67200 w 67319"/>
                <a:gd name="connsiteY2" fmla="*/ 39745 h 93603"/>
                <a:gd name="connsiteX3" fmla="*/ 0 w 67319"/>
                <a:gd name="connsiteY3" fmla="*/ 93603 h 936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7319" h="93603">
                  <a:moveTo>
                    <a:pt x="12580" y="423"/>
                  </a:moveTo>
                  <a:cubicBezTo>
                    <a:pt x="16700" y="73"/>
                    <a:pt x="22984" y="0"/>
                    <a:pt x="27407" y="0"/>
                  </a:cubicBezTo>
                  <a:cubicBezTo>
                    <a:pt x="50560" y="0"/>
                    <a:pt x="68988" y="18090"/>
                    <a:pt x="67200" y="39745"/>
                  </a:cubicBezTo>
                  <a:cubicBezTo>
                    <a:pt x="64976" y="66728"/>
                    <a:pt x="23008" y="90969"/>
                    <a:pt x="0" y="93603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83" name="Forma livre: Forma 2182">
              <a:extLst>
                <a:ext uri="{FF2B5EF4-FFF2-40B4-BE49-F238E27FC236}">
                  <a16:creationId xmlns:a16="http://schemas.microsoft.com/office/drawing/2014/main" id="{7ED981BC-5A0D-1F44-BC5E-8C489205BFE4}"/>
                </a:ext>
              </a:extLst>
            </p:cNvPr>
            <p:cNvSpPr/>
            <p:nvPr/>
          </p:nvSpPr>
          <p:spPr>
            <a:xfrm>
              <a:off x="10604694" y="4101460"/>
              <a:ext cx="96274" cy="83356"/>
            </a:xfrm>
            <a:custGeom>
              <a:avLst/>
              <a:gdLst>
                <a:gd name="connsiteX0" fmla="*/ 96274 w 96274"/>
                <a:gd name="connsiteY0" fmla="*/ 0 h 83356"/>
                <a:gd name="connsiteX1" fmla="*/ 18138 w 96274"/>
                <a:gd name="connsiteY1" fmla="*/ 0 h 83356"/>
                <a:gd name="connsiteX2" fmla="*/ 0 w 96274"/>
                <a:gd name="connsiteY2" fmla="*/ 18900 h 83356"/>
                <a:gd name="connsiteX3" fmla="*/ 18138 w 96274"/>
                <a:gd name="connsiteY3" fmla="*/ 37811 h 83356"/>
                <a:gd name="connsiteX4" fmla="*/ 53158 w 96274"/>
                <a:gd name="connsiteY4" fmla="*/ 37811 h 83356"/>
                <a:gd name="connsiteX5" fmla="*/ 67260 w 96274"/>
                <a:gd name="connsiteY5" fmla="*/ 52312 h 83356"/>
                <a:gd name="connsiteX6" fmla="*/ 53158 w 96274"/>
                <a:gd name="connsiteY6" fmla="*/ 66873 h 83356"/>
                <a:gd name="connsiteX7" fmla="*/ 37787 w 96274"/>
                <a:gd name="connsiteY7" fmla="*/ 66873 h 83356"/>
                <a:gd name="connsiteX8" fmla="*/ 23685 w 96274"/>
                <a:gd name="connsiteY8" fmla="*/ 80976 h 83356"/>
                <a:gd name="connsiteX9" fmla="*/ 23685 w 96274"/>
                <a:gd name="connsiteY9" fmla="*/ 83356 h 833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96274" h="83356">
                  <a:moveTo>
                    <a:pt x="96274" y="0"/>
                  </a:moveTo>
                  <a:lnTo>
                    <a:pt x="18138" y="0"/>
                  </a:lnTo>
                  <a:cubicBezTo>
                    <a:pt x="8145" y="0"/>
                    <a:pt x="0" y="8930"/>
                    <a:pt x="0" y="18900"/>
                  </a:cubicBezTo>
                  <a:cubicBezTo>
                    <a:pt x="0" y="28869"/>
                    <a:pt x="8157" y="37811"/>
                    <a:pt x="18138" y="37811"/>
                  </a:cubicBezTo>
                  <a:lnTo>
                    <a:pt x="53158" y="37811"/>
                  </a:lnTo>
                  <a:cubicBezTo>
                    <a:pt x="60916" y="37811"/>
                    <a:pt x="67260" y="44542"/>
                    <a:pt x="67260" y="52312"/>
                  </a:cubicBezTo>
                  <a:cubicBezTo>
                    <a:pt x="67260" y="60082"/>
                    <a:pt x="60904" y="66873"/>
                    <a:pt x="53158" y="66873"/>
                  </a:cubicBezTo>
                  <a:lnTo>
                    <a:pt x="37787" y="66873"/>
                  </a:lnTo>
                  <a:cubicBezTo>
                    <a:pt x="30029" y="66873"/>
                    <a:pt x="23685" y="73218"/>
                    <a:pt x="23685" y="80976"/>
                  </a:cubicBezTo>
                  <a:lnTo>
                    <a:pt x="23685" y="83356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84" name="Forma livre: Forma 2183">
              <a:extLst>
                <a:ext uri="{FF2B5EF4-FFF2-40B4-BE49-F238E27FC236}">
                  <a16:creationId xmlns:a16="http://schemas.microsoft.com/office/drawing/2014/main" id="{C4A70565-8C97-BA2C-CF17-D853FC369DBF}"/>
                </a:ext>
              </a:extLst>
            </p:cNvPr>
            <p:cNvSpPr/>
            <p:nvPr/>
          </p:nvSpPr>
          <p:spPr>
            <a:xfrm>
              <a:off x="10526908" y="4363056"/>
              <a:ext cx="252485" cy="29195"/>
            </a:xfrm>
            <a:custGeom>
              <a:avLst/>
              <a:gdLst>
                <a:gd name="connsiteX0" fmla="*/ 252473 w 252485"/>
                <a:gd name="connsiteY0" fmla="*/ 0 h 29195"/>
                <a:gd name="connsiteX1" fmla="*/ 209272 w 252485"/>
                <a:gd name="connsiteY1" fmla="*/ 29195 h 29195"/>
                <a:gd name="connsiteX2" fmla="*/ 43201 w 252485"/>
                <a:gd name="connsiteY2" fmla="*/ 29195 h 29195"/>
                <a:gd name="connsiteX3" fmla="*/ 0 w 252485"/>
                <a:gd name="connsiteY3" fmla="*/ 0 h 29195"/>
                <a:gd name="connsiteX4" fmla="*/ 252485 w 252485"/>
                <a:gd name="connsiteY4" fmla="*/ 0 h 291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2485" h="29195">
                  <a:moveTo>
                    <a:pt x="252473" y="0"/>
                  </a:moveTo>
                  <a:cubicBezTo>
                    <a:pt x="252473" y="0"/>
                    <a:pt x="230975" y="29195"/>
                    <a:pt x="209272" y="29195"/>
                  </a:cubicBezTo>
                  <a:lnTo>
                    <a:pt x="43201" y="29195"/>
                  </a:lnTo>
                  <a:cubicBezTo>
                    <a:pt x="21498" y="29195"/>
                    <a:pt x="0" y="0"/>
                    <a:pt x="0" y="0"/>
                  </a:cubicBezTo>
                  <a:lnTo>
                    <a:pt x="252485" y="0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85" name="Forma livre: Forma 2184">
              <a:extLst>
                <a:ext uri="{FF2B5EF4-FFF2-40B4-BE49-F238E27FC236}">
                  <a16:creationId xmlns:a16="http://schemas.microsoft.com/office/drawing/2014/main" id="{BA6D5BAF-2274-2480-59F8-2C00CFFDC37E}"/>
                </a:ext>
              </a:extLst>
            </p:cNvPr>
            <p:cNvSpPr/>
            <p:nvPr/>
          </p:nvSpPr>
          <p:spPr>
            <a:xfrm>
              <a:off x="10539585" y="4210917"/>
              <a:ext cx="123535" cy="129529"/>
            </a:xfrm>
            <a:custGeom>
              <a:avLst/>
              <a:gdLst>
                <a:gd name="connsiteX0" fmla="*/ 123536 w 123535"/>
                <a:gd name="connsiteY0" fmla="*/ 0 h 129529"/>
                <a:gd name="connsiteX1" fmla="*/ 0 w 123535"/>
                <a:gd name="connsiteY1" fmla="*/ 0 h 129529"/>
                <a:gd name="connsiteX2" fmla="*/ 0 w 123535"/>
                <a:gd name="connsiteY2" fmla="*/ 68650 h 129529"/>
                <a:gd name="connsiteX3" fmla="*/ 21582 w 123535"/>
                <a:gd name="connsiteY3" fmla="*/ 129529 h 1295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3535" h="129529">
                  <a:moveTo>
                    <a:pt x="123536" y="0"/>
                  </a:moveTo>
                  <a:lnTo>
                    <a:pt x="0" y="0"/>
                  </a:lnTo>
                  <a:lnTo>
                    <a:pt x="0" y="68650"/>
                  </a:lnTo>
                  <a:cubicBezTo>
                    <a:pt x="0" y="91646"/>
                    <a:pt x="8096" y="112829"/>
                    <a:pt x="21582" y="129529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86" name="Forma livre: Forma 2185">
              <a:extLst>
                <a:ext uri="{FF2B5EF4-FFF2-40B4-BE49-F238E27FC236}">
                  <a16:creationId xmlns:a16="http://schemas.microsoft.com/office/drawing/2014/main" id="{4329124C-0C44-23BC-6D7B-814F5ACA9DC8}"/>
                </a:ext>
              </a:extLst>
            </p:cNvPr>
            <p:cNvSpPr/>
            <p:nvPr/>
          </p:nvSpPr>
          <p:spPr>
            <a:xfrm>
              <a:off x="10687119" y="4210905"/>
              <a:ext cx="79561" cy="151353"/>
            </a:xfrm>
            <a:custGeom>
              <a:avLst/>
              <a:gdLst>
                <a:gd name="connsiteX0" fmla="*/ 33159 w 79561"/>
                <a:gd name="connsiteY0" fmla="*/ 151353 h 151353"/>
                <a:gd name="connsiteX1" fmla="*/ 79489 w 79561"/>
                <a:gd name="connsiteY1" fmla="*/ 68650 h 151353"/>
                <a:gd name="connsiteX2" fmla="*/ 79562 w 79561"/>
                <a:gd name="connsiteY2" fmla="*/ 0 h 151353"/>
                <a:gd name="connsiteX3" fmla="*/ 0 w 79561"/>
                <a:gd name="connsiteY3" fmla="*/ 0 h 151353"/>
                <a:gd name="connsiteX4" fmla="*/ 0 w 79561"/>
                <a:gd name="connsiteY4" fmla="*/ 48771 h 1513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9561" h="151353">
                  <a:moveTo>
                    <a:pt x="33159" y="151353"/>
                  </a:moveTo>
                  <a:cubicBezTo>
                    <a:pt x="60904" y="134194"/>
                    <a:pt x="79489" y="103488"/>
                    <a:pt x="79489" y="68650"/>
                  </a:cubicBezTo>
                  <a:lnTo>
                    <a:pt x="79562" y="0"/>
                  </a:lnTo>
                  <a:lnTo>
                    <a:pt x="0" y="0"/>
                  </a:lnTo>
                  <a:lnTo>
                    <a:pt x="0" y="48771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87" name="Forma livre: Forma 2186">
              <a:extLst>
                <a:ext uri="{FF2B5EF4-FFF2-40B4-BE49-F238E27FC236}">
                  <a16:creationId xmlns:a16="http://schemas.microsoft.com/office/drawing/2014/main" id="{308CC8FC-98A7-BC55-CAFD-1E5E30D2E213}"/>
                </a:ext>
              </a:extLst>
            </p:cNvPr>
            <p:cNvSpPr/>
            <p:nvPr/>
          </p:nvSpPr>
          <p:spPr>
            <a:xfrm>
              <a:off x="10567596" y="4239726"/>
              <a:ext cx="9195" cy="74740"/>
            </a:xfrm>
            <a:custGeom>
              <a:avLst/>
              <a:gdLst>
                <a:gd name="connsiteX0" fmla="*/ 0 w 9195"/>
                <a:gd name="connsiteY0" fmla="*/ 0 h 74740"/>
                <a:gd name="connsiteX1" fmla="*/ 0 w 9195"/>
                <a:gd name="connsiteY1" fmla="*/ 40494 h 74740"/>
                <a:gd name="connsiteX2" fmla="*/ 9196 w 9195"/>
                <a:gd name="connsiteY2" fmla="*/ 74740 h 747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195" h="74740">
                  <a:moveTo>
                    <a:pt x="0" y="0"/>
                  </a:moveTo>
                  <a:lnTo>
                    <a:pt x="0" y="40494"/>
                  </a:lnTo>
                  <a:cubicBezTo>
                    <a:pt x="0" y="52590"/>
                    <a:pt x="3202" y="64360"/>
                    <a:pt x="9196" y="7474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2188" name="Gráfico 19">
            <a:extLst>
              <a:ext uri="{FF2B5EF4-FFF2-40B4-BE49-F238E27FC236}">
                <a16:creationId xmlns:a16="http://schemas.microsoft.com/office/drawing/2014/main" id="{1DF33E03-0A06-7154-A293-95D49F936DE9}"/>
              </a:ext>
            </a:extLst>
          </p:cNvPr>
          <p:cNvGrpSpPr/>
          <p:nvPr/>
        </p:nvGrpSpPr>
        <p:grpSpPr>
          <a:xfrm>
            <a:off x="9906233" y="4103091"/>
            <a:ext cx="279021" cy="287529"/>
            <a:chOff x="9906233" y="4103091"/>
            <a:chExt cx="279021" cy="287529"/>
          </a:xfrm>
          <a:noFill/>
        </p:grpSpPr>
        <p:sp>
          <p:nvSpPr>
            <p:cNvPr id="2189" name="Forma livre: Forma 2188">
              <a:extLst>
                <a:ext uri="{FF2B5EF4-FFF2-40B4-BE49-F238E27FC236}">
                  <a16:creationId xmlns:a16="http://schemas.microsoft.com/office/drawing/2014/main" id="{75C232FF-87FA-0E7A-013F-C1CF252CEEDB}"/>
                </a:ext>
              </a:extLst>
            </p:cNvPr>
            <p:cNvSpPr/>
            <p:nvPr/>
          </p:nvSpPr>
          <p:spPr>
            <a:xfrm>
              <a:off x="9906233" y="4360506"/>
              <a:ext cx="271408" cy="30113"/>
            </a:xfrm>
            <a:custGeom>
              <a:avLst/>
              <a:gdLst>
                <a:gd name="connsiteX0" fmla="*/ 43962 w 271408"/>
                <a:gd name="connsiteY0" fmla="*/ 30114 h 30113"/>
                <a:gd name="connsiteX1" fmla="*/ 0 w 271408"/>
                <a:gd name="connsiteY1" fmla="*/ 0 h 30113"/>
                <a:gd name="connsiteX2" fmla="*/ 271409 w 271408"/>
                <a:gd name="connsiteY2" fmla="*/ 0 h 30113"/>
                <a:gd name="connsiteX3" fmla="*/ 230057 w 271408"/>
                <a:gd name="connsiteY3" fmla="*/ 30114 h 30113"/>
                <a:gd name="connsiteX4" fmla="*/ 43962 w 271408"/>
                <a:gd name="connsiteY4" fmla="*/ 30114 h 301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71408" h="30113">
                  <a:moveTo>
                    <a:pt x="43962" y="30114"/>
                  </a:moveTo>
                  <a:cubicBezTo>
                    <a:pt x="21884" y="30114"/>
                    <a:pt x="0" y="0"/>
                    <a:pt x="0" y="0"/>
                  </a:cubicBezTo>
                  <a:lnTo>
                    <a:pt x="271409" y="0"/>
                  </a:lnTo>
                  <a:cubicBezTo>
                    <a:pt x="271409" y="0"/>
                    <a:pt x="252135" y="30114"/>
                    <a:pt x="230057" y="30114"/>
                  </a:cubicBezTo>
                  <a:lnTo>
                    <a:pt x="43962" y="30114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90" name="Forma livre: Forma 2189">
              <a:extLst>
                <a:ext uri="{FF2B5EF4-FFF2-40B4-BE49-F238E27FC236}">
                  <a16:creationId xmlns:a16="http://schemas.microsoft.com/office/drawing/2014/main" id="{6A20442E-6F4A-0D74-66AF-C420E0128E7C}"/>
                </a:ext>
              </a:extLst>
            </p:cNvPr>
            <p:cNvSpPr/>
            <p:nvPr/>
          </p:nvSpPr>
          <p:spPr>
            <a:xfrm>
              <a:off x="10136991" y="4246215"/>
              <a:ext cx="48263" cy="73652"/>
            </a:xfrm>
            <a:custGeom>
              <a:avLst/>
              <a:gdLst>
                <a:gd name="connsiteX0" fmla="*/ 0 w 48263"/>
                <a:gd name="connsiteY0" fmla="*/ 0 h 73652"/>
                <a:gd name="connsiteX1" fmla="*/ 8906 w 48263"/>
                <a:gd name="connsiteY1" fmla="*/ 0 h 73652"/>
                <a:gd name="connsiteX2" fmla="*/ 48264 w 48263"/>
                <a:gd name="connsiteY2" fmla="*/ 36832 h 73652"/>
                <a:gd name="connsiteX3" fmla="*/ 8906 w 48263"/>
                <a:gd name="connsiteY3" fmla="*/ 73653 h 73652"/>
                <a:gd name="connsiteX4" fmla="*/ 0 w 48263"/>
                <a:gd name="connsiteY4" fmla="*/ 73653 h 736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8263" h="73652">
                  <a:moveTo>
                    <a:pt x="0" y="0"/>
                  </a:moveTo>
                  <a:lnTo>
                    <a:pt x="8906" y="0"/>
                  </a:lnTo>
                  <a:cubicBezTo>
                    <a:pt x="30645" y="0"/>
                    <a:pt x="48264" y="16483"/>
                    <a:pt x="48264" y="36832"/>
                  </a:cubicBezTo>
                  <a:cubicBezTo>
                    <a:pt x="48264" y="57182"/>
                    <a:pt x="30645" y="73653"/>
                    <a:pt x="8906" y="73653"/>
                  </a:cubicBezTo>
                  <a:lnTo>
                    <a:pt x="0" y="73653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91" name="Forma livre: Forma 2190">
              <a:extLst>
                <a:ext uri="{FF2B5EF4-FFF2-40B4-BE49-F238E27FC236}">
                  <a16:creationId xmlns:a16="http://schemas.microsoft.com/office/drawing/2014/main" id="{315FE307-B65C-745D-7F95-EABD293DE694}"/>
                </a:ext>
              </a:extLst>
            </p:cNvPr>
            <p:cNvSpPr/>
            <p:nvPr/>
          </p:nvSpPr>
          <p:spPr>
            <a:xfrm>
              <a:off x="10001576" y="4103091"/>
              <a:ext cx="97953" cy="84806"/>
            </a:xfrm>
            <a:custGeom>
              <a:avLst/>
              <a:gdLst>
                <a:gd name="connsiteX0" fmla="*/ 97954 w 97953"/>
                <a:gd name="connsiteY0" fmla="*/ 0 h 84806"/>
                <a:gd name="connsiteX1" fmla="*/ 18452 w 97953"/>
                <a:gd name="connsiteY1" fmla="*/ 0 h 84806"/>
                <a:gd name="connsiteX2" fmla="*/ 0 w 97953"/>
                <a:gd name="connsiteY2" fmla="*/ 19226 h 84806"/>
                <a:gd name="connsiteX3" fmla="*/ 18452 w 97953"/>
                <a:gd name="connsiteY3" fmla="*/ 38452 h 84806"/>
                <a:gd name="connsiteX4" fmla="*/ 54088 w 97953"/>
                <a:gd name="connsiteY4" fmla="*/ 38452 h 84806"/>
                <a:gd name="connsiteX5" fmla="*/ 68444 w 97953"/>
                <a:gd name="connsiteY5" fmla="*/ 53218 h 84806"/>
                <a:gd name="connsiteX6" fmla="*/ 54088 w 97953"/>
                <a:gd name="connsiteY6" fmla="*/ 68033 h 84806"/>
                <a:gd name="connsiteX7" fmla="*/ 38452 w 97953"/>
                <a:gd name="connsiteY7" fmla="*/ 68033 h 84806"/>
                <a:gd name="connsiteX8" fmla="*/ 24096 w 97953"/>
                <a:gd name="connsiteY8" fmla="*/ 82389 h 84806"/>
                <a:gd name="connsiteX9" fmla="*/ 24096 w 97953"/>
                <a:gd name="connsiteY9" fmla="*/ 84806 h 84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97953" h="84806">
                  <a:moveTo>
                    <a:pt x="97954" y="0"/>
                  </a:moveTo>
                  <a:lnTo>
                    <a:pt x="18452" y="0"/>
                  </a:lnTo>
                  <a:cubicBezTo>
                    <a:pt x="8314" y="0"/>
                    <a:pt x="0" y="9087"/>
                    <a:pt x="0" y="19226"/>
                  </a:cubicBezTo>
                  <a:cubicBezTo>
                    <a:pt x="0" y="29364"/>
                    <a:pt x="8302" y="38452"/>
                    <a:pt x="18452" y="38452"/>
                  </a:cubicBezTo>
                  <a:lnTo>
                    <a:pt x="54088" y="38452"/>
                  </a:lnTo>
                  <a:cubicBezTo>
                    <a:pt x="61991" y="38452"/>
                    <a:pt x="68444" y="45315"/>
                    <a:pt x="68444" y="53218"/>
                  </a:cubicBezTo>
                  <a:cubicBezTo>
                    <a:pt x="68444" y="61121"/>
                    <a:pt x="61979" y="68033"/>
                    <a:pt x="54088" y="68033"/>
                  </a:cubicBezTo>
                  <a:lnTo>
                    <a:pt x="38452" y="68033"/>
                  </a:lnTo>
                  <a:cubicBezTo>
                    <a:pt x="30561" y="68033"/>
                    <a:pt x="24096" y="74498"/>
                    <a:pt x="24096" y="82389"/>
                  </a:cubicBezTo>
                  <a:lnTo>
                    <a:pt x="24096" y="84806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2192" name="Gráfico 19">
              <a:extLst>
                <a:ext uri="{FF2B5EF4-FFF2-40B4-BE49-F238E27FC236}">
                  <a16:creationId xmlns:a16="http://schemas.microsoft.com/office/drawing/2014/main" id="{CA7D7EC7-18E7-8055-B30D-12C4857116A7}"/>
                </a:ext>
              </a:extLst>
            </p:cNvPr>
            <p:cNvGrpSpPr/>
            <p:nvPr/>
          </p:nvGrpSpPr>
          <p:grpSpPr>
            <a:xfrm>
              <a:off x="9946751" y="4216657"/>
              <a:ext cx="190252" cy="142954"/>
              <a:chOff x="9946751" y="4216657"/>
              <a:chExt cx="190252" cy="142954"/>
            </a:xfrm>
            <a:noFill/>
          </p:grpSpPr>
          <p:sp>
            <p:nvSpPr>
              <p:cNvPr id="2193" name="Forma livre: Forma 2192">
                <a:extLst>
                  <a:ext uri="{FF2B5EF4-FFF2-40B4-BE49-F238E27FC236}">
                    <a16:creationId xmlns:a16="http://schemas.microsoft.com/office/drawing/2014/main" id="{07332834-6B81-2918-A1BD-77694B6EA7C6}"/>
                  </a:ext>
                </a:extLst>
              </p:cNvPr>
              <p:cNvSpPr/>
              <p:nvPr/>
            </p:nvSpPr>
            <p:spPr>
              <a:xfrm>
                <a:off x="9946751" y="4216657"/>
                <a:ext cx="190252" cy="142954"/>
              </a:xfrm>
              <a:custGeom>
                <a:avLst/>
                <a:gdLst>
                  <a:gd name="connsiteX0" fmla="*/ 0 w 190252"/>
                  <a:gd name="connsiteY0" fmla="*/ 122194 h 142954"/>
                  <a:gd name="connsiteX1" fmla="*/ 0 w 190252"/>
                  <a:gd name="connsiteY1" fmla="*/ 0 h 142954"/>
                  <a:gd name="connsiteX2" fmla="*/ 190252 w 190252"/>
                  <a:gd name="connsiteY2" fmla="*/ 0 h 142954"/>
                  <a:gd name="connsiteX3" fmla="*/ 190252 w 190252"/>
                  <a:gd name="connsiteY3" fmla="*/ 142955 h 1429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90252" h="142954">
                    <a:moveTo>
                      <a:pt x="0" y="122194"/>
                    </a:moveTo>
                    <a:lnTo>
                      <a:pt x="0" y="0"/>
                    </a:lnTo>
                    <a:lnTo>
                      <a:pt x="190252" y="0"/>
                    </a:lnTo>
                    <a:lnTo>
                      <a:pt x="190252" y="142955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194" name="Forma livre: Forma 2193">
                <a:extLst>
                  <a:ext uri="{FF2B5EF4-FFF2-40B4-BE49-F238E27FC236}">
                    <a16:creationId xmlns:a16="http://schemas.microsoft.com/office/drawing/2014/main" id="{9842A7C2-C151-8435-4CB6-7A2D7465ABAB}"/>
                  </a:ext>
                </a:extLst>
              </p:cNvPr>
              <p:cNvSpPr/>
              <p:nvPr/>
            </p:nvSpPr>
            <p:spPr>
              <a:xfrm>
                <a:off x="9975390" y="4248209"/>
                <a:ext cx="1208" cy="51381"/>
              </a:xfrm>
              <a:custGeom>
                <a:avLst/>
                <a:gdLst>
                  <a:gd name="connsiteX0" fmla="*/ 0 w 1208"/>
                  <a:gd name="connsiteY0" fmla="*/ 0 h 51381"/>
                  <a:gd name="connsiteX1" fmla="*/ 0 w 1208"/>
                  <a:gd name="connsiteY1" fmla="*/ 51382 h 513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08" h="51381">
                    <a:moveTo>
                      <a:pt x="0" y="0"/>
                    </a:moveTo>
                    <a:lnTo>
                      <a:pt x="0" y="51382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2195" name="Gráfico 19">
            <a:extLst>
              <a:ext uri="{FF2B5EF4-FFF2-40B4-BE49-F238E27FC236}">
                <a16:creationId xmlns:a16="http://schemas.microsoft.com/office/drawing/2014/main" id="{49B960DB-D467-D7DD-9ED9-C49D67AF8AC4}"/>
              </a:ext>
            </a:extLst>
          </p:cNvPr>
          <p:cNvGrpSpPr/>
          <p:nvPr/>
        </p:nvGrpSpPr>
        <p:grpSpPr>
          <a:xfrm>
            <a:off x="11133264" y="4100904"/>
            <a:ext cx="339454" cy="291915"/>
            <a:chOff x="11133264" y="4100904"/>
            <a:chExt cx="339454" cy="291915"/>
          </a:xfrm>
          <a:noFill/>
        </p:grpSpPr>
        <p:grpSp>
          <p:nvGrpSpPr>
            <p:cNvPr id="2196" name="Gráfico 19">
              <a:extLst>
                <a:ext uri="{FF2B5EF4-FFF2-40B4-BE49-F238E27FC236}">
                  <a16:creationId xmlns:a16="http://schemas.microsoft.com/office/drawing/2014/main" id="{D7B4858A-5A4A-8CB6-8BAE-40BFEEB30145}"/>
                </a:ext>
              </a:extLst>
            </p:cNvPr>
            <p:cNvGrpSpPr/>
            <p:nvPr/>
          </p:nvGrpSpPr>
          <p:grpSpPr>
            <a:xfrm>
              <a:off x="11133264" y="4100904"/>
              <a:ext cx="266164" cy="216281"/>
              <a:chOff x="11133264" y="4100904"/>
              <a:chExt cx="266164" cy="216281"/>
            </a:xfrm>
            <a:noFill/>
          </p:grpSpPr>
          <p:grpSp>
            <p:nvGrpSpPr>
              <p:cNvPr id="2197" name="Gráfico 19">
                <a:extLst>
                  <a:ext uri="{FF2B5EF4-FFF2-40B4-BE49-F238E27FC236}">
                    <a16:creationId xmlns:a16="http://schemas.microsoft.com/office/drawing/2014/main" id="{B4A88266-4534-EFD5-3AEA-4B2ED81D5B8A}"/>
                  </a:ext>
                </a:extLst>
              </p:cNvPr>
              <p:cNvGrpSpPr/>
              <p:nvPr/>
            </p:nvGrpSpPr>
            <p:grpSpPr>
              <a:xfrm>
                <a:off x="11164369" y="4105629"/>
                <a:ext cx="210420" cy="209586"/>
                <a:chOff x="11164369" y="4105629"/>
                <a:chExt cx="210420" cy="209586"/>
              </a:xfrm>
              <a:noFill/>
            </p:grpSpPr>
            <p:sp>
              <p:nvSpPr>
                <p:cNvPr id="2198" name="Forma livre: Forma 2197">
                  <a:extLst>
                    <a:ext uri="{FF2B5EF4-FFF2-40B4-BE49-F238E27FC236}">
                      <a16:creationId xmlns:a16="http://schemas.microsoft.com/office/drawing/2014/main" id="{D3DAAA0F-4F47-BFBE-8B30-3B270140C239}"/>
                    </a:ext>
                  </a:extLst>
                </p:cNvPr>
                <p:cNvSpPr/>
                <p:nvPr/>
              </p:nvSpPr>
              <p:spPr>
                <a:xfrm>
                  <a:off x="11164369" y="4161167"/>
                  <a:ext cx="150592" cy="154048"/>
                </a:xfrm>
                <a:custGeom>
                  <a:avLst/>
                  <a:gdLst>
                    <a:gd name="connsiteX0" fmla="*/ 150592 w 150592"/>
                    <a:gd name="connsiteY0" fmla="*/ 0 h 154048"/>
                    <a:gd name="connsiteX1" fmla="*/ 122593 w 150592"/>
                    <a:gd name="connsiteY1" fmla="*/ 15927 h 154048"/>
                    <a:gd name="connsiteX2" fmla="*/ 104793 w 150592"/>
                    <a:gd name="connsiteY2" fmla="*/ 49956 h 154048"/>
                    <a:gd name="connsiteX3" fmla="*/ 104745 w 150592"/>
                    <a:gd name="connsiteY3" fmla="*/ 50379 h 154048"/>
                    <a:gd name="connsiteX4" fmla="*/ 86655 w 150592"/>
                    <a:gd name="connsiteY4" fmla="*/ 85084 h 154048"/>
                    <a:gd name="connsiteX5" fmla="*/ 48723 w 150592"/>
                    <a:gd name="connsiteY5" fmla="*/ 103694 h 154048"/>
                    <a:gd name="connsiteX6" fmla="*/ 17740 w 150592"/>
                    <a:gd name="connsiteY6" fmla="*/ 120793 h 154048"/>
                    <a:gd name="connsiteX7" fmla="*/ 0 w 150592"/>
                    <a:gd name="connsiteY7" fmla="*/ 154048 h 1540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50592" h="154048">
                      <a:moveTo>
                        <a:pt x="150592" y="0"/>
                      </a:moveTo>
                      <a:cubicBezTo>
                        <a:pt x="141650" y="2828"/>
                        <a:pt x="130943" y="7589"/>
                        <a:pt x="122593" y="15927"/>
                      </a:cubicBezTo>
                      <a:cubicBezTo>
                        <a:pt x="111621" y="26911"/>
                        <a:pt x="107126" y="32518"/>
                        <a:pt x="104793" y="49956"/>
                      </a:cubicBezTo>
                      <a:lnTo>
                        <a:pt x="104745" y="50379"/>
                      </a:lnTo>
                      <a:cubicBezTo>
                        <a:pt x="103114" y="62789"/>
                        <a:pt x="97627" y="74112"/>
                        <a:pt x="86655" y="85084"/>
                      </a:cubicBezTo>
                      <a:cubicBezTo>
                        <a:pt x="75671" y="96069"/>
                        <a:pt x="56227" y="101301"/>
                        <a:pt x="48723" y="103694"/>
                      </a:cubicBezTo>
                      <a:cubicBezTo>
                        <a:pt x="40784" y="106219"/>
                        <a:pt x="27298" y="111234"/>
                        <a:pt x="17740" y="120793"/>
                      </a:cubicBezTo>
                      <a:cubicBezTo>
                        <a:pt x="7722" y="130798"/>
                        <a:pt x="1643" y="143209"/>
                        <a:pt x="0" y="154048"/>
                      </a:cubicBez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199" name="Forma livre: Forma 2198">
                  <a:extLst>
                    <a:ext uri="{FF2B5EF4-FFF2-40B4-BE49-F238E27FC236}">
                      <a16:creationId xmlns:a16="http://schemas.microsoft.com/office/drawing/2014/main" id="{6F8F1992-8649-3D12-E602-F59B8CEFFC78}"/>
                    </a:ext>
                  </a:extLst>
                </p:cNvPr>
                <p:cNvSpPr/>
                <p:nvPr/>
              </p:nvSpPr>
              <p:spPr>
                <a:xfrm>
                  <a:off x="11341002" y="4105629"/>
                  <a:ext cx="33787" cy="48856"/>
                </a:xfrm>
                <a:custGeom>
                  <a:avLst/>
                  <a:gdLst>
                    <a:gd name="connsiteX0" fmla="*/ 33787 w 33787"/>
                    <a:gd name="connsiteY0" fmla="*/ 0 h 48856"/>
                    <a:gd name="connsiteX1" fmla="*/ 14875 w 33787"/>
                    <a:gd name="connsiteY1" fmla="*/ 37859 h 48856"/>
                    <a:gd name="connsiteX2" fmla="*/ 0 w 33787"/>
                    <a:gd name="connsiteY2" fmla="*/ 48856 h 4885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33787" h="48856">
                      <a:moveTo>
                        <a:pt x="33787" y="0"/>
                      </a:moveTo>
                      <a:cubicBezTo>
                        <a:pt x="32941" y="11601"/>
                        <a:pt x="25860" y="26863"/>
                        <a:pt x="14875" y="37859"/>
                      </a:cubicBezTo>
                      <a:cubicBezTo>
                        <a:pt x="10042" y="42693"/>
                        <a:pt x="5003" y="46222"/>
                        <a:pt x="0" y="48856"/>
                      </a:cubicBez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2200" name="Forma livre: Forma 2199">
                <a:extLst>
                  <a:ext uri="{FF2B5EF4-FFF2-40B4-BE49-F238E27FC236}">
                    <a16:creationId xmlns:a16="http://schemas.microsoft.com/office/drawing/2014/main" id="{5AF19A4F-E873-D466-E412-F1FF49F0CB04}"/>
                  </a:ext>
                </a:extLst>
              </p:cNvPr>
              <p:cNvSpPr/>
              <p:nvPr/>
            </p:nvSpPr>
            <p:spPr>
              <a:xfrm>
                <a:off x="11133264" y="4100904"/>
                <a:ext cx="266164" cy="216281"/>
              </a:xfrm>
              <a:custGeom>
                <a:avLst/>
                <a:gdLst>
                  <a:gd name="connsiteX0" fmla="*/ 266164 w 266164"/>
                  <a:gd name="connsiteY0" fmla="*/ 4072 h 216281"/>
                  <a:gd name="connsiteX1" fmla="*/ 209949 w 266164"/>
                  <a:gd name="connsiteY1" fmla="*/ 0 h 216281"/>
                  <a:gd name="connsiteX2" fmla="*/ 200040 w 266164"/>
                  <a:gd name="connsiteY2" fmla="*/ 17897 h 216281"/>
                  <a:gd name="connsiteX3" fmla="*/ 178748 w 266164"/>
                  <a:gd name="connsiteY3" fmla="*/ 28325 h 216281"/>
                  <a:gd name="connsiteX4" fmla="*/ 131112 w 266164"/>
                  <a:gd name="connsiteY4" fmla="*/ 53605 h 216281"/>
                  <a:gd name="connsiteX5" fmla="*/ 105385 w 266164"/>
                  <a:gd name="connsiteY5" fmla="*/ 103210 h 216281"/>
                  <a:gd name="connsiteX6" fmla="*/ 94957 w 266164"/>
                  <a:gd name="connsiteY6" fmla="*/ 122980 h 216281"/>
                  <a:gd name="connsiteX7" fmla="*/ 73725 w 266164"/>
                  <a:gd name="connsiteY7" fmla="*/ 133276 h 216281"/>
                  <a:gd name="connsiteX8" fmla="*/ 27201 w 266164"/>
                  <a:gd name="connsiteY8" fmla="*/ 157589 h 216281"/>
                  <a:gd name="connsiteX9" fmla="*/ 0 w 266164"/>
                  <a:gd name="connsiteY9" fmla="*/ 212160 h 216281"/>
                  <a:gd name="connsiteX10" fmla="*/ 56215 w 266164"/>
                  <a:gd name="connsiteY10" fmla="*/ 216281 h 216281"/>
                  <a:gd name="connsiteX11" fmla="*/ 66124 w 266164"/>
                  <a:gd name="connsiteY11" fmla="*/ 198348 h 216281"/>
                  <a:gd name="connsiteX12" fmla="*/ 66136 w 266164"/>
                  <a:gd name="connsiteY12" fmla="*/ 198348 h 216281"/>
                  <a:gd name="connsiteX13" fmla="*/ 86256 w 266164"/>
                  <a:gd name="connsiteY13" fmla="*/ 188137 h 216281"/>
                  <a:gd name="connsiteX14" fmla="*/ 135064 w 266164"/>
                  <a:gd name="connsiteY14" fmla="*/ 162652 h 216281"/>
                  <a:gd name="connsiteX15" fmla="*/ 160719 w 266164"/>
                  <a:gd name="connsiteY15" fmla="*/ 113083 h 216281"/>
                  <a:gd name="connsiteX16" fmla="*/ 170978 w 266164"/>
                  <a:gd name="connsiteY16" fmla="*/ 93507 h 216281"/>
                  <a:gd name="connsiteX17" fmla="*/ 191219 w 266164"/>
                  <a:gd name="connsiteY17" fmla="*/ 83272 h 216281"/>
                  <a:gd name="connsiteX18" fmla="*/ 239906 w 266164"/>
                  <a:gd name="connsiteY18" fmla="*/ 57798 h 216281"/>
                  <a:gd name="connsiteX19" fmla="*/ 266164 w 266164"/>
                  <a:gd name="connsiteY19" fmla="*/ 4084 h 2162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266164" h="216281">
                    <a:moveTo>
                      <a:pt x="266164" y="4072"/>
                    </a:moveTo>
                    <a:lnTo>
                      <a:pt x="209949" y="0"/>
                    </a:lnTo>
                    <a:cubicBezTo>
                      <a:pt x="209659" y="3976"/>
                      <a:pt x="206904" y="11057"/>
                      <a:pt x="200040" y="17897"/>
                    </a:cubicBezTo>
                    <a:cubicBezTo>
                      <a:pt x="194518" y="23419"/>
                      <a:pt x="188210" y="26247"/>
                      <a:pt x="178748" y="28325"/>
                    </a:cubicBezTo>
                    <a:cubicBezTo>
                      <a:pt x="163860" y="31588"/>
                      <a:pt x="144719" y="39986"/>
                      <a:pt x="131112" y="53605"/>
                    </a:cubicBezTo>
                    <a:cubicBezTo>
                      <a:pt x="117252" y="67478"/>
                      <a:pt x="108153" y="87573"/>
                      <a:pt x="105385" y="103210"/>
                    </a:cubicBezTo>
                    <a:cubicBezTo>
                      <a:pt x="103706" y="112720"/>
                      <a:pt x="97676" y="120551"/>
                      <a:pt x="94957" y="122980"/>
                    </a:cubicBezTo>
                    <a:cubicBezTo>
                      <a:pt x="92238" y="125409"/>
                      <a:pt x="83380" y="130774"/>
                      <a:pt x="73725" y="133276"/>
                    </a:cubicBezTo>
                    <a:cubicBezTo>
                      <a:pt x="63780" y="135837"/>
                      <a:pt x="41569" y="144840"/>
                      <a:pt x="27201" y="157589"/>
                    </a:cubicBezTo>
                    <a:cubicBezTo>
                      <a:pt x="12833" y="170325"/>
                      <a:pt x="1366" y="193370"/>
                      <a:pt x="0" y="212160"/>
                    </a:cubicBezTo>
                    <a:lnTo>
                      <a:pt x="56215" y="216281"/>
                    </a:lnTo>
                    <a:cubicBezTo>
                      <a:pt x="57267" y="212003"/>
                      <a:pt x="59285" y="205200"/>
                      <a:pt x="66124" y="198348"/>
                    </a:cubicBezTo>
                    <a:lnTo>
                      <a:pt x="66136" y="198348"/>
                    </a:lnTo>
                    <a:cubicBezTo>
                      <a:pt x="71695" y="192790"/>
                      <a:pt x="77012" y="190566"/>
                      <a:pt x="86256" y="188137"/>
                    </a:cubicBezTo>
                    <a:cubicBezTo>
                      <a:pt x="104443" y="183316"/>
                      <a:pt x="124986" y="172960"/>
                      <a:pt x="135064" y="162652"/>
                    </a:cubicBezTo>
                    <a:cubicBezTo>
                      <a:pt x="145130" y="152356"/>
                      <a:pt x="158459" y="125602"/>
                      <a:pt x="160719" y="113083"/>
                    </a:cubicBezTo>
                    <a:cubicBezTo>
                      <a:pt x="162326" y="104213"/>
                      <a:pt x="167908" y="96371"/>
                      <a:pt x="170978" y="93507"/>
                    </a:cubicBezTo>
                    <a:cubicBezTo>
                      <a:pt x="174059" y="90655"/>
                      <a:pt x="183038" y="85592"/>
                      <a:pt x="191219" y="83272"/>
                    </a:cubicBezTo>
                    <a:cubicBezTo>
                      <a:pt x="197768" y="81193"/>
                      <a:pt x="222831" y="74873"/>
                      <a:pt x="239906" y="57798"/>
                    </a:cubicBezTo>
                    <a:cubicBezTo>
                      <a:pt x="255228" y="42439"/>
                      <a:pt x="264799" y="22863"/>
                      <a:pt x="266164" y="4084"/>
                    </a:cubicBezTo>
                    <a:close/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2201" name="Gráfico 19">
              <a:extLst>
                <a:ext uri="{FF2B5EF4-FFF2-40B4-BE49-F238E27FC236}">
                  <a16:creationId xmlns:a16="http://schemas.microsoft.com/office/drawing/2014/main" id="{9F94CCB4-9857-4B71-CADE-EB27213CD4EA}"/>
                </a:ext>
              </a:extLst>
            </p:cNvPr>
            <p:cNvGrpSpPr/>
            <p:nvPr/>
          </p:nvGrpSpPr>
          <p:grpSpPr>
            <a:xfrm>
              <a:off x="11206554" y="4176538"/>
              <a:ext cx="266164" cy="216281"/>
              <a:chOff x="11206554" y="4176538"/>
              <a:chExt cx="266164" cy="216281"/>
            </a:xfrm>
            <a:noFill/>
          </p:grpSpPr>
          <p:grpSp>
            <p:nvGrpSpPr>
              <p:cNvPr id="2202" name="Gráfico 19">
                <a:extLst>
                  <a:ext uri="{FF2B5EF4-FFF2-40B4-BE49-F238E27FC236}">
                    <a16:creationId xmlns:a16="http://schemas.microsoft.com/office/drawing/2014/main" id="{7182C103-DE56-4621-7666-D390E21BC611}"/>
                  </a:ext>
                </a:extLst>
              </p:cNvPr>
              <p:cNvGrpSpPr/>
              <p:nvPr/>
            </p:nvGrpSpPr>
            <p:grpSpPr>
              <a:xfrm>
                <a:off x="11237647" y="4181251"/>
                <a:ext cx="210432" cy="209598"/>
                <a:chOff x="11237647" y="4181251"/>
                <a:chExt cx="210432" cy="209598"/>
              </a:xfrm>
              <a:noFill/>
            </p:grpSpPr>
            <p:sp>
              <p:nvSpPr>
                <p:cNvPr id="2203" name="Forma livre: Forma 2202">
                  <a:extLst>
                    <a:ext uri="{FF2B5EF4-FFF2-40B4-BE49-F238E27FC236}">
                      <a16:creationId xmlns:a16="http://schemas.microsoft.com/office/drawing/2014/main" id="{72AE0FBB-27D5-94E1-60B9-50E47C8BC3A4}"/>
                    </a:ext>
                  </a:extLst>
                </p:cNvPr>
                <p:cNvSpPr/>
                <p:nvPr/>
              </p:nvSpPr>
              <p:spPr>
                <a:xfrm>
                  <a:off x="11237647" y="4236499"/>
                  <a:ext cx="151546" cy="154350"/>
                </a:xfrm>
                <a:custGeom>
                  <a:avLst/>
                  <a:gdLst>
                    <a:gd name="connsiteX0" fmla="*/ 151547 w 151546"/>
                    <a:gd name="connsiteY0" fmla="*/ 0 h 154350"/>
                    <a:gd name="connsiteX1" fmla="*/ 122605 w 151546"/>
                    <a:gd name="connsiteY1" fmla="*/ 16229 h 154350"/>
                    <a:gd name="connsiteX2" fmla="*/ 104805 w 151546"/>
                    <a:gd name="connsiteY2" fmla="*/ 50258 h 154350"/>
                    <a:gd name="connsiteX3" fmla="*/ 104757 w 151546"/>
                    <a:gd name="connsiteY3" fmla="*/ 50681 h 154350"/>
                    <a:gd name="connsiteX4" fmla="*/ 86667 w 151546"/>
                    <a:gd name="connsiteY4" fmla="*/ 85386 h 154350"/>
                    <a:gd name="connsiteX5" fmla="*/ 48723 w 151546"/>
                    <a:gd name="connsiteY5" fmla="*/ 103996 h 154350"/>
                    <a:gd name="connsiteX6" fmla="*/ 17739 w 151546"/>
                    <a:gd name="connsiteY6" fmla="*/ 121095 h 154350"/>
                    <a:gd name="connsiteX7" fmla="*/ 0 w 151546"/>
                    <a:gd name="connsiteY7" fmla="*/ 154350 h 1543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51546" h="154350">
                      <a:moveTo>
                        <a:pt x="151547" y="0"/>
                      </a:moveTo>
                      <a:cubicBezTo>
                        <a:pt x="142411" y="2791"/>
                        <a:pt x="131245" y="7589"/>
                        <a:pt x="122605" y="16229"/>
                      </a:cubicBezTo>
                      <a:cubicBezTo>
                        <a:pt x="111633" y="27213"/>
                        <a:pt x="107138" y="32820"/>
                        <a:pt x="104805" y="50258"/>
                      </a:cubicBezTo>
                      <a:lnTo>
                        <a:pt x="104757" y="50681"/>
                      </a:lnTo>
                      <a:cubicBezTo>
                        <a:pt x="103114" y="63091"/>
                        <a:pt x="97639" y="74414"/>
                        <a:pt x="86667" y="85386"/>
                      </a:cubicBezTo>
                      <a:cubicBezTo>
                        <a:pt x="75683" y="96371"/>
                        <a:pt x="56239" y="101615"/>
                        <a:pt x="48723" y="103996"/>
                      </a:cubicBezTo>
                      <a:cubicBezTo>
                        <a:pt x="40784" y="106521"/>
                        <a:pt x="27298" y="111536"/>
                        <a:pt x="17739" y="121095"/>
                      </a:cubicBezTo>
                      <a:cubicBezTo>
                        <a:pt x="7722" y="131100"/>
                        <a:pt x="1643" y="143523"/>
                        <a:pt x="0" y="154350"/>
                      </a:cubicBez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204" name="Forma livre: Forma 2203">
                  <a:extLst>
                    <a:ext uri="{FF2B5EF4-FFF2-40B4-BE49-F238E27FC236}">
                      <a16:creationId xmlns:a16="http://schemas.microsoft.com/office/drawing/2014/main" id="{0821FBFA-A153-19C5-D2E7-073F81CFC8E0}"/>
                    </a:ext>
                  </a:extLst>
                </p:cNvPr>
                <p:cNvSpPr/>
                <p:nvPr/>
              </p:nvSpPr>
              <p:spPr>
                <a:xfrm>
                  <a:off x="11414292" y="4181251"/>
                  <a:ext cx="33787" cy="48856"/>
                </a:xfrm>
                <a:custGeom>
                  <a:avLst/>
                  <a:gdLst>
                    <a:gd name="connsiteX0" fmla="*/ 33787 w 33787"/>
                    <a:gd name="connsiteY0" fmla="*/ 0 h 48856"/>
                    <a:gd name="connsiteX1" fmla="*/ 14876 w 33787"/>
                    <a:gd name="connsiteY1" fmla="*/ 37859 h 48856"/>
                    <a:gd name="connsiteX2" fmla="*/ 0 w 33787"/>
                    <a:gd name="connsiteY2" fmla="*/ 48856 h 4885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33787" h="48856">
                      <a:moveTo>
                        <a:pt x="33787" y="0"/>
                      </a:moveTo>
                      <a:cubicBezTo>
                        <a:pt x="32941" y="11613"/>
                        <a:pt x="25860" y="26863"/>
                        <a:pt x="14876" y="37859"/>
                      </a:cubicBezTo>
                      <a:cubicBezTo>
                        <a:pt x="10042" y="42693"/>
                        <a:pt x="4991" y="46210"/>
                        <a:pt x="0" y="48856"/>
                      </a:cubicBez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2205" name="Forma livre: Forma 2204">
                <a:extLst>
                  <a:ext uri="{FF2B5EF4-FFF2-40B4-BE49-F238E27FC236}">
                    <a16:creationId xmlns:a16="http://schemas.microsoft.com/office/drawing/2014/main" id="{EBB314CB-D3AC-3FA4-FCB8-5B32D0A7CA94}"/>
                  </a:ext>
                </a:extLst>
              </p:cNvPr>
              <p:cNvSpPr/>
              <p:nvPr/>
            </p:nvSpPr>
            <p:spPr>
              <a:xfrm>
                <a:off x="11206554" y="4176538"/>
                <a:ext cx="266164" cy="216281"/>
              </a:xfrm>
              <a:custGeom>
                <a:avLst/>
                <a:gdLst>
                  <a:gd name="connsiteX0" fmla="*/ 266164 w 266164"/>
                  <a:gd name="connsiteY0" fmla="*/ 4072 h 216281"/>
                  <a:gd name="connsiteX1" fmla="*/ 209949 w 266164"/>
                  <a:gd name="connsiteY1" fmla="*/ 0 h 216281"/>
                  <a:gd name="connsiteX2" fmla="*/ 200040 w 266164"/>
                  <a:gd name="connsiteY2" fmla="*/ 17909 h 216281"/>
                  <a:gd name="connsiteX3" fmla="*/ 178748 w 266164"/>
                  <a:gd name="connsiteY3" fmla="*/ 28337 h 216281"/>
                  <a:gd name="connsiteX4" fmla="*/ 131112 w 266164"/>
                  <a:gd name="connsiteY4" fmla="*/ 53617 h 216281"/>
                  <a:gd name="connsiteX5" fmla="*/ 105385 w 266164"/>
                  <a:gd name="connsiteY5" fmla="*/ 103234 h 216281"/>
                  <a:gd name="connsiteX6" fmla="*/ 94957 w 266164"/>
                  <a:gd name="connsiteY6" fmla="*/ 123004 h 216281"/>
                  <a:gd name="connsiteX7" fmla="*/ 73725 w 266164"/>
                  <a:gd name="connsiteY7" fmla="*/ 133300 h 216281"/>
                  <a:gd name="connsiteX8" fmla="*/ 27201 w 266164"/>
                  <a:gd name="connsiteY8" fmla="*/ 157601 h 216281"/>
                  <a:gd name="connsiteX9" fmla="*/ 0 w 266164"/>
                  <a:gd name="connsiteY9" fmla="*/ 212173 h 216281"/>
                  <a:gd name="connsiteX10" fmla="*/ 56215 w 266164"/>
                  <a:gd name="connsiteY10" fmla="*/ 216281 h 216281"/>
                  <a:gd name="connsiteX11" fmla="*/ 66124 w 266164"/>
                  <a:gd name="connsiteY11" fmla="*/ 198348 h 216281"/>
                  <a:gd name="connsiteX12" fmla="*/ 66124 w 266164"/>
                  <a:gd name="connsiteY12" fmla="*/ 198348 h 216281"/>
                  <a:gd name="connsiteX13" fmla="*/ 86244 w 266164"/>
                  <a:gd name="connsiteY13" fmla="*/ 188137 h 216281"/>
                  <a:gd name="connsiteX14" fmla="*/ 135052 w 266164"/>
                  <a:gd name="connsiteY14" fmla="*/ 162652 h 216281"/>
                  <a:gd name="connsiteX15" fmla="*/ 160706 w 266164"/>
                  <a:gd name="connsiteY15" fmla="*/ 113083 h 216281"/>
                  <a:gd name="connsiteX16" fmla="*/ 170966 w 266164"/>
                  <a:gd name="connsiteY16" fmla="*/ 93507 h 216281"/>
                  <a:gd name="connsiteX17" fmla="*/ 191207 w 266164"/>
                  <a:gd name="connsiteY17" fmla="*/ 83272 h 216281"/>
                  <a:gd name="connsiteX18" fmla="*/ 239894 w 266164"/>
                  <a:gd name="connsiteY18" fmla="*/ 57798 h 216281"/>
                  <a:gd name="connsiteX19" fmla="*/ 266152 w 266164"/>
                  <a:gd name="connsiteY19" fmla="*/ 4084 h 2162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266164" h="216281">
                    <a:moveTo>
                      <a:pt x="266164" y="4072"/>
                    </a:moveTo>
                    <a:lnTo>
                      <a:pt x="209949" y="0"/>
                    </a:lnTo>
                    <a:cubicBezTo>
                      <a:pt x="209647" y="3976"/>
                      <a:pt x="206892" y="11045"/>
                      <a:pt x="200040" y="17909"/>
                    </a:cubicBezTo>
                    <a:cubicBezTo>
                      <a:pt x="194518" y="23431"/>
                      <a:pt x="188210" y="26247"/>
                      <a:pt x="178748" y="28337"/>
                    </a:cubicBezTo>
                    <a:cubicBezTo>
                      <a:pt x="163860" y="31600"/>
                      <a:pt x="144719" y="39986"/>
                      <a:pt x="131112" y="53617"/>
                    </a:cubicBezTo>
                    <a:cubicBezTo>
                      <a:pt x="117240" y="67490"/>
                      <a:pt x="108165" y="87586"/>
                      <a:pt x="105385" y="103234"/>
                    </a:cubicBezTo>
                    <a:cubicBezTo>
                      <a:pt x="103706" y="112745"/>
                      <a:pt x="97676" y="120575"/>
                      <a:pt x="94957" y="123004"/>
                    </a:cubicBezTo>
                    <a:cubicBezTo>
                      <a:pt x="92238" y="125433"/>
                      <a:pt x="83380" y="130798"/>
                      <a:pt x="73725" y="133300"/>
                    </a:cubicBezTo>
                    <a:cubicBezTo>
                      <a:pt x="63780" y="135862"/>
                      <a:pt x="41569" y="144852"/>
                      <a:pt x="27201" y="157601"/>
                    </a:cubicBezTo>
                    <a:cubicBezTo>
                      <a:pt x="12833" y="170350"/>
                      <a:pt x="1366" y="193382"/>
                      <a:pt x="0" y="212173"/>
                    </a:cubicBezTo>
                    <a:lnTo>
                      <a:pt x="56215" y="216281"/>
                    </a:lnTo>
                    <a:cubicBezTo>
                      <a:pt x="57267" y="212003"/>
                      <a:pt x="59285" y="205200"/>
                      <a:pt x="66124" y="198348"/>
                    </a:cubicBezTo>
                    <a:lnTo>
                      <a:pt x="66124" y="198348"/>
                    </a:lnTo>
                    <a:cubicBezTo>
                      <a:pt x="71695" y="192790"/>
                      <a:pt x="77000" y="190554"/>
                      <a:pt x="86244" y="188137"/>
                    </a:cubicBezTo>
                    <a:cubicBezTo>
                      <a:pt x="104431" y="183316"/>
                      <a:pt x="124974" y="172960"/>
                      <a:pt x="135052" y="162652"/>
                    </a:cubicBezTo>
                    <a:cubicBezTo>
                      <a:pt x="145118" y="152356"/>
                      <a:pt x="158447" y="125602"/>
                      <a:pt x="160706" y="113083"/>
                    </a:cubicBezTo>
                    <a:cubicBezTo>
                      <a:pt x="162301" y="104213"/>
                      <a:pt x="167896" y="96359"/>
                      <a:pt x="170966" y="93507"/>
                    </a:cubicBezTo>
                    <a:cubicBezTo>
                      <a:pt x="174035" y="90655"/>
                      <a:pt x="183038" y="85592"/>
                      <a:pt x="191207" y="83272"/>
                    </a:cubicBezTo>
                    <a:cubicBezTo>
                      <a:pt x="197756" y="81193"/>
                      <a:pt x="222819" y="74873"/>
                      <a:pt x="239894" y="57798"/>
                    </a:cubicBezTo>
                    <a:cubicBezTo>
                      <a:pt x="255216" y="42439"/>
                      <a:pt x="264787" y="22863"/>
                      <a:pt x="266152" y="4084"/>
                    </a:cubicBezTo>
                    <a:close/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2206" name="Gráfico 19">
            <a:extLst>
              <a:ext uri="{FF2B5EF4-FFF2-40B4-BE49-F238E27FC236}">
                <a16:creationId xmlns:a16="http://schemas.microsoft.com/office/drawing/2014/main" id="{6FDE1757-59FD-0AE3-C1DF-4A2284A6798D}"/>
              </a:ext>
            </a:extLst>
          </p:cNvPr>
          <p:cNvGrpSpPr/>
          <p:nvPr/>
        </p:nvGrpSpPr>
        <p:grpSpPr>
          <a:xfrm>
            <a:off x="10494257" y="5233413"/>
            <a:ext cx="360118" cy="180053"/>
            <a:chOff x="10494257" y="5233413"/>
            <a:chExt cx="360118" cy="180053"/>
          </a:xfrm>
        </p:grpSpPr>
        <p:sp>
          <p:nvSpPr>
            <p:cNvPr id="2207" name="Forma livre: Forma 2206">
              <a:extLst>
                <a:ext uri="{FF2B5EF4-FFF2-40B4-BE49-F238E27FC236}">
                  <a16:creationId xmlns:a16="http://schemas.microsoft.com/office/drawing/2014/main" id="{4E95D971-2A7F-ADB8-75B5-AEB9B22F025A}"/>
                </a:ext>
              </a:extLst>
            </p:cNvPr>
            <p:cNvSpPr/>
            <p:nvPr/>
          </p:nvSpPr>
          <p:spPr>
            <a:xfrm>
              <a:off x="10670443" y="5324963"/>
              <a:ext cx="7733" cy="11576"/>
            </a:xfrm>
            <a:custGeom>
              <a:avLst/>
              <a:gdLst>
                <a:gd name="connsiteX0" fmla="*/ 3867 w 7733"/>
                <a:gd name="connsiteY0" fmla="*/ 11564 h 11576"/>
                <a:gd name="connsiteX1" fmla="*/ 0 w 7733"/>
                <a:gd name="connsiteY1" fmla="*/ 9123 h 11576"/>
                <a:gd name="connsiteX2" fmla="*/ 3855 w 7733"/>
                <a:gd name="connsiteY2" fmla="*/ 0 h 11576"/>
                <a:gd name="connsiteX3" fmla="*/ 7734 w 7733"/>
                <a:gd name="connsiteY3" fmla="*/ 9293 h 11576"/>
                <a:gd name="connsiteX4" fmla="*/ 3867 w 7733"/>
                <a:gd name="connsiteY4" fmla="*/ 11577 h 115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733" h="11576">
                  <a:moveTo>
                    <a:pt x="3867" y="11564"/>
                  </a:moveTo>
                  <a:cubicBezTo>
                    <a:pt x="1656" y="11564"/>
                    <a:pt x="0" y="10271"/>
                    <a:pt x="0" y="9123"/>
                  </a:cubicBezTo>
                  <a:cubicBezTo>
                    <a:pt x="145" y="7830"/>
                    <a:pt x="1704" y="4229"/>
                    <a:pt x="3855" y="0"/>
                  </a:cubicBezTo>
                  <a:cubicBezTo>
                    <a:pt x="6030" y="4254"/>
                    <a:pt x="7577" y="7903"/>
                    <a:pt x="7734" y="9293"/>
                  </a:cubicBezTo>
                  <a:cubicBezTo>
                    <a:pt x="7734" y="10284"/>
                    <a:pt x="6078" y="11577"/>
                    <a:pt x="3867" y="11577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2208" name="Gráfico 19">
              <a:extLst>
                <a:ext uri="{FF2B5EF4-FFF2-40B4-BE49-F238E27FC236}">
                  <a16:creationId xmlns:a16="http://schemas.microsoft.com/office/drawing/2014/main" id="{0FA1F533-FF3C-913F-55A9-6D77F16F6AF3}"/>
                </a:ext>
              </a:extLst>
            </p:cNvPr>
            <p:cNvGrpSpPr/>
            <p:nvPr/>
          </p:nvGrpSpPr>
          <p:grpSpPr>
            <a:xfrm>
              <a:off x="10583379" y="5275816"/>
              <a:ext cx="181862" cy="7975"/>
              <a:chOff x="10583379" y="5275816"/>
              <a:chExt cx="181862" cy="7975"/>
            </a:xfrm>
            <a:solidFill>
              <a:srgbClr val="394553"/>
            </a:solidFill>
          </p:grpSpPr>
          <p:sp>
            <p:nvSpPr>
              <p:cNvPr id="2209" name="Forma livre: Forma 2208">
                <a:extLst>
                  <a:ext uri="{FF2B5EF4-FFF2-40B4-BE49-F238E27FC236}">
                    <a16:creationId xmlns:a16="http://schemas.microsoft.com/office/drawing/2014/main" id="{70A78504-F3DB-4014-C9DB-BAD1BBF2CB64}"/>
                  </a:ext>
                </a:extLst>
              </p:cNvPr>
              <p:cNvSpPr/>
              <p:nvPr/>
            </p:nvSpPr>
            <p:spPr>
              <a:xfrm>
                <a:off x="10583379" y="5275816"/>
                <a:ext cx="10765" cy="7975"/>
              </a:xfrm>
              <a:custGeom>
                <a:avLst/>
                <a:gdLst>
                  <a:gd name="connsiteX0" fmla="*/ 3962 w 10765"/>
                  <a:gd name="connsiteY0" fmla="*/ 7975 h 7975"/>
                  <a:gd name="connsiteX1" fmla="*/ 663 w 10765"/>
                  <a:gd name="connsiteY1" fmla="*/ 5619 h 7975"/>
                  <a:gd name="connsiteX2" fmla="*/ 83 w 10765"/>
                  <a:gd name="connsiteY2" fmla="*/ 2393 h 7975"/>
                  <a:gd name="connsiteX3" fmla="*/ 917 w 10765"/>
                  <a:gd name="connsiteY3" fmla="*/ 1051 h 7975"/>
                  <a:gd name="connsiteX4" fmla="*/ 10765 w 10765"/>
                  <a:gd name="connsiteY4" fmla="*/ 0 h 7975"/>
                  <a:gd name="connsiteX5" fmla="*/ 4530 w 10765"/>
                  <a:gd name="connsiteY5" fmla="*/ 7879 h 7975"/>
                  <a:gd name="connsiteX6" fmla="*/ 3962 w 10765"/>
                  <a:gd name="connsiteY6" fmla="*/ 7963 h 7975"/>
                  <a:gd name="connsiteX7" fmla="*/ 3962 w 10765"/>
                  <a:gd name="connsiteY7" fmla="*/ 7963 h 79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0765" h="7975">
                    <a:moveTo>
                      <a:pt x="3962" y="7975"/>
                    </a:moveTo>
                    <a:cubicBezTo>
                      <a:pt x="3007" y="7975"/>
                      <a:pt x="1557" y="7238"/>
                      <a:pt x="663" y="5619"/>
                    </a:cubicBezTo>
                    <a:cubicBezTo>
                      <a:pt x="83" y="4568"/>
                      <a:pt x="-135" y="3396"/>
                      <a:pt x="83" y="2393"/>
                    </a:cubicBezTo>
                    <a:cubicBezTo>
                      <a:pt x="167" y="2018"/>
                      <a:pt x="385" y="1353"/>
                      <a:pt x="917" y="1051"/>
                    </a:cubicBezTo>
                    <a:cubicBezTo>
                      <a:pt x="1605" y="773"/>
                      <a:pt x="4602" y="205"/>
                      <a:pt x="10765" y="0"/>
                    </a:cubicBezTo>
                    <a:cubicBezTo>
                      <a:pt x="8094" y="3952"/>
                      <a:pt x="5678" y="7081"/>
                      <a:pt x="4530" y="7879"/>
                    </a:cubicBezTo>
                    <a:cubicBezTo>
                      <a:pt x="4469" y="7903"/>
                      <a:pt x="4240" y="7963"/>
                      <a:pt x="3962" y="7963"/>
                    </a:cubicBezTo>
                    <a:lnTo>
                      <a:pt x="3962" y="7963"/>
                    </a:ln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210" name="Forma livre: Forma 2209">
                <a:extLst>
                  <a:ext uri="{FF2B5EF4-FFF2-40B4-BE49-F238E27FC236}">
                    <a16:creationId xmlns:a16="http://schemas.microsoft.com/office/drawing/2014/main" id="{ADA9018A-4243-0652-77B4-335C6F2E0B57}"/>
                  </a:ext>
                </a:extLst>
              </p:cNvPr>
              <p:cNvSpPr/>
              <p:nvPr/>
            </p:nvSpPr>
            <p:spPr>
              <a:xfrm>
                <a:off x="10754464" y="5275816"/>
                <a:ext cx="10777" cy="7975"/>
              </a:xfrm>
              <a:custGeom>
                <a:avLst/>
                <a:gdLst>
                  <a:gd name="connsiteX0" fmla="*/ 6815 w 10777"/>
                  <a:gd name="connsiteY0" fmla="*/ 7975 h 7975"/>
                  <a:gd name="connsiteX1" fmla="*/ 10114 w 10777"/>
                  <a:gd name="connsiteY1" fmla="*/ 5619 h 7975"/>
                  <a:gd name="connsiteX2" fmla="*/ 10694 w 10777"/>
                  <a:gd name="connsiteY2" fmla="*/ 2393 h 7975"/>
                  <a:gd name="connsiteX3" fmla="*/ 9861 w 10777"/>
                  <a:gd name="connsiteY3" fmla="*/ 1051 h 7975"/>
                  <a:gd name="connsiteX4" fmla="*/ 0 w 10777"/>
                  <a:gd name="connsiteY4" fmla="*/ 0 h 7975"/>
                  <a:gd name="connsiteX5" fmla="*/ 6235 w 10777"/>
                  <a:gd name="connsiteY5" fmla="*/ 7879 h 7975"/>
                  <a:gd name="connsiteX6" fmla="*/ 6803 w 10777"/>
                  <a:gd name="connsiteY6" fmla="*/ 7963 h 7975"/>
                  <a:gd name="connsiteX7" fmla="*/ 6803 w 10777"/>
                  <a:gd name="connsiteY7" fmla="*/ 7963 h 79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0777" h="7975">
                    <a:moveTo>
                      <a:pt x="6815" y="7975"/>
                    </a:moveTo>
                    <a:cubicBezTo>
                      <a:pt x="7770" y="7975"/>
                      <a:pt x="9220" y="7238"/>
                      <a:pt x="10114" y="5619"/>
                    </a:cubicBezTo>
                    <a:cubicBezTo>
                      <a:pt x="10694" y="4568"/>
                      <a:pt x="10912" y="3396"/>
                      <a:pt x="10694" y="2393"/>
                    </a:cubicBezTo>
                    <a:cubicBezTo>
                      <a:pt x="10622" y="2018"/>
                      <a:pt x="10404" y="1353"/>
                      <a:pt x="9861" y="1051"/>
                    </a:cubicBezTo>
                    <a:cubicBezTo>
                      <a:pt x="9172" y="773"/>
                      <a:pt x="6175" y="205"/>
                      <a:pt x="0" y="0"/>
                    </a:cubicBezTo>
                    <a:cubicBezTo>
                      <a:pt x="2671" y="3952"/>
                      <a:pt x="5100" y="7081"/>
                      <a:pt x="6235" y="7879"/>
                    </a:cubicBezTo>
                    <a:cubicBezTo>
                      <a:pt x="6296" y="7903"/>
                      <a:pt x="6538" y="7963"/>
                      <a:pt x="6803" y="7963"/>
                    </a:cubicBezTo>
                    <a:lnTo>
                      <a:pt x="6803" y="7963"/>
                    </a:ln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2211" name="Gráfico 19">
              <a:extLst>
                <a:ext uri="{FF2B5EF4-FFF2-40B4-BE49-F238E27FC236}">
                  <a16:creationId xmlns:a16="http://schemas.microsoft.com/office/drawing/2014/main" id="{6397212C-140F-B228-3D98-8874CAC19937}"/>
                </a:ext>
              </a:extLst>
            </p:cNvPr>
            <p:cNvGrpSpPr/>
            <p:nvPr/>
          </p:nvGrpSpPr>
          <p:grpSpPr>
            <a:xfrm>
              <a:off x="10621176" y="5308214"/>
              <a:ext cx="106296" cy="10541"/>
              <a:chOff x="10621176" y="5308214"/>
              <a:chExt cx="106296" cy="10541"/>
            </a:xfrm>
            <a:solidFill>
              <a:srgbClr val="394553"/>
            </a:solidFill>
          </p:grpSpPr>
          <p:sp>
            <p:nvSpPr>
              <p:cNvPr id="2212" name="Forma livre: Forma 2211">
                <a:extLst>
                  <a:ext uri="{FF2B5EF4-FFF2-40B4-BE49-F238E27FC236}">
                    <a16:creationId xmlns:a16="http://schemas.microsoft.com/office/drawing/2014/main" id="{B874AE8C-509A-9056-A674-6E35A1FA0ABE}"/>
                  </a:ext>
                </a:extLst>
              </p:cNvPr>
              <p:cNvSpPr/>
              <p:nvPr/>
            </p:nvSpPr>
            <p:spPr>
              <a:xfrm>
                <a:off x="10621176" y="5308214"/>
                <a:ext cx="8434" cy="10541"/>
              </a:xfrm>
              <a:custGeom>
                <a:avLst/>
                <a:gdLst>
                  <a:gd name="connsiteX0" fmla="*/ 6139 w 8434"/>
                  <a:gd name="connsiteY0" fmla="*/ 10247 h 10541"/>
                  <a:gd name="connsiteX1" fmla="*/ 2127 w 8434"/>
                  <a:gd name="connsiteY1" fmla="*/ 9703 h 10541"/>
                  <a:gd name="connsiteX2" fmla="*/ 109 w 8434"/>
                  <a:gd name="connsiteY2" fmla="*/ 7117 h 10541"/>
                  <a:gd name="connsiteX3" fmla="*/ 218 w 8434"/>
                  <a:gd name="connsiteY3" fmla="*/ 5547 h 10541"/>
                  <a:gd name="connsiteX4" fmla="*/ 8435 w 8434"/>
                  <a:gd name="connsiteY4" fmla="*/ 0 h 10541"/>
                  <a:gd name="connsiteX5" fmla="*/ 6610 w 8434"/>
                  <a:gd name="connsiteY5" fmla="*/ 9897 h 10541"/>
                  <a:gd name="connsiteX6" fmla="*/ 6151 w 8434"/>
                  <a:gd name="connsiteY6" fmla="*/ 10235 h 10541"/>
                  <a:gd name="connsiteX7" fmla="*/ 6151 w 8434"/>
                  <a:gd name="connsiteY7" fmla="*/ 10235 h 105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8434" h="10541">
                    <a:moveTo>
                      <a:pt x="6139" y="10247"/>
                    </a:moveTo>
                    <a:cubicBezTo>
                      <a:pt x="5281" y="10694"/>
                      <a:pt x="3674" y="10719"/>
                      <a:pt x="2127" y="9703"/>
                    </a:cubicBezTo>
                    <a:cubicBezTo>
                      <a:pt x="1124" y="9051"/>
                      <a:pt x="375" y="8108"/>
                      <a:pt x="109" y="7117"/>
                    </a:cubicBezTo>
                    <a:cubicBezTo>
                      <a:pt x="12" y="6755"/>
                      <a:pt x="-121" y="6054"/>
                      <a:pt x="218" y="5547"/>
                    </a:cubicBezTo>
                    <a:cubicBezTo>
                      <a:pt x="689" y="4991"/>
                      <a:pt x="3082" y="3081"/>
                      <a:pt x="8435" y="0"/>
                    </a:cubicBezTo>
                    <a:cubicBezTo>
                      <a:pt x="7939" y="4749"/>
                      <a:pt x="7238" y="8640"/>
                      <a:pt x="6610" y="9897"/>
                    </a:cubicBezTo>
                    <a:cubicBezTo>
                      <a:pt x="6562" y="9957"/>
                      <a:pt x="6393" y="10102"/>
                      <a:pt x="6151" y="10235"/>
                    </a:cubicBezTo>
                    <a:lnTo>
                      <a:pt x="6151" y="10235"/>
                    </a:ln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213" name="Forma livre: Forma 2212">
                <a:extLst>
                  <a:ext uri="{FF2B5EF4-FFF2-40B4-BE49-F238E27FC236}">
                    <a16:creationId xmlns:a16="http://schemas.microsoft.com/office/drawing/2014/main" id="{C8F59547-5DA4-3FD6-523A-C49C303A89B0}"/>
                  </a:ext>
                </a:extLst>
              </p:cNvPr>
              <p:cNvSpPr/>
              <p:nvPr/>
            </p:nvSpPr>
            <p:spPr>
              <a:xfrm>
                <a:off x="10719033" y="5308214"/>
                <a:ext cx="8439" cy="10541"/>
              </a:xfrm>
              <a:custGeom>
                <a:avLst/>
                <a:gdLst>
                  <a:gd name="connsiteX0" fmla="*/ 2284 w 8439"/>
                  <a:gd name="connsiteY0" fmla="*/ 10247 h 10541"/>
                  <a:gd name="connsiteX1" fmla="*/ 6308 w 8439"/>
                  <a:gd name="connsiteY1" fmla="*/ 9703 h 10541"/>
                  <a:gd name="connsiteX2" fmla="*/ 8326 w 8439"/>
                  <a:gd name="connsiteY2" fmla="*/ 7117 h 10541"/>
                  <a:gd name="connsiteX3" fmla="*/ 8217 w 8439"/>
                  <a:gd name="connsiteY3" fmla="*/ 5547 h 10541"/>
                  <a:gd name="connsiteX4" fmla="*/ 0 w 8439"/>
                  <a:gd name="connsiteY4" fmla="*/ 0 h 10541"/>
                  <a:gd name="connsiteX5" fmla="*/ 1825 w 8439"/>
                  <a:gd name="connsiteY5" fmla="*/ 9897 h 10541"/>
                  <a:gd name="connsiteX6" fmla="*/ 2284 w 8439"/>
                  <a:gd name="connsiteY6" fmla="*/ 10235 h 10541"/>
                  <a:gd name="connsiteX7" fmla="*/ 2284 w 8439"/>
                  <a:gd name="connsiteY7" fmla="*/ 10235 h 105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8439" h="10541">
                    <a:moveTo>
                      <a:pt x="2284" y="10247"/>
                    </a:moveTo>
                    <a:cubicBezTo>
                      <a:pt x="3130" y="10694"/>
                      <a:pt x="4761" y="10719"/>
                      <a:pt x="6308" y="9703"/>
                    </a:cubicBezTo>
                    <a:cubicBezTo>
                      <a:pt x="7311" y="9051"/>
                      <a:pt x="8048" y="8108"/>
                      <a:pt x="8326" y="7117"/>
                    </a:cubicBezTo>
                    <a:cubicBezTo>
                      <a:pt x="8435" y="6755"/>
                      <a:pt x="8556" y="6054"/>
                      <a:pt x="8217" y="5547"/>
                    </a:cubicBezTo>
                    <a:cubicBezTo>
                      <a:pt x="7746" y="4991"/>
                      <a:pt x="5353" y="3081"/>
                      <a:pt x="0" y="0"/>
                    </a:cubicBezTo>
                    <a:cubicBezTo>
                      <a:pt x="495" y="4749"/>
                      <a:pt x="1196" y="8640"/>
                      <a:pt x="1825" y="9897"/>
                    </a:cubicBezTo>
                    <a:cubicBezTo>
                      <a:pt x="1861" y="9957"/>
                      <a:pt x="2042" y="10102"/>
                      <a:pt x="2284" y="10235"/>
                    </a:cubicBezTo>
                    <a:lnTo>
                      <a:pt x="2284" y="10235"/>
                    </a:ln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2214" name="Forma livre: Forma 2213">
              <a:extLst>
                <a:ext uri="{FF2B5EF4-FFF2-40B4-BE49-F238E27FC236}">
                  <a16:creationId xmlns:a16="http://schemas.microsoft.com/office/drawing/2014/main" id="{C3E632D8-6FDA-A42E-DFDD-8BBC8F5775FC}"/>
                </a:ext>
              </a:extLst>
            </p:cNvPr>
            <p:cNvSpPr/>
            <p:nvPr/>
          </p:nvSpPr>
          <p:spPr>
            <a:xfrm>
              <a:off x="10494257" y="5233413"/>
              <a:ext cx="360118" cy="180053"/>
            </a:xfrm>
            <a:custGeom>
              <a:avLst/>
              <a:gdLst>
                <a:gd name="connsiteX0" fmla="*/ 0 w 360118"/>
                <a:gd name="connsiteY0" fmla="*/ 0 h 180053"/>
                <a:gd name="connsiteX1" fmla="*/ 180053 w 360118"/>
                <a:gd name="connsiteY1" fmla="*/ 180053 h 180053"/>
                <a:gd name="connsiteX2" fmla="*/ 360118 w 360118"/>
                <a:gd name="connsiteY2" fmla="*/ 0 h 180053"/>
                <a:gd name="connsiteX3" fmla="*/ 0 w 360118"/>
                <a:gd name="connsiteY3" fmla="*/ 0 h 1800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118" h="180053">
                  <a:moveTo>
                    <a:pt x="0" y="0"/>
                  </a:moveTo>
                  <a:cubicBezTo>
                    <a:pt x="0" y="99440"/>
                    <a:pt x="80613" y="180053"/>
                    <a:pt x="180053" y="180053"/>
                  </a:cubicBezTo>
                  <a:cubicBezTo>
                    <a:pt x="279493" y="180053"/>
                    <a:pt x="360118" y="99440"/>
                    <a:pt x="360118" y="0"/>
                  </a:cubicBezTo>
                  <a:lnTo>
                    <a:pt x="0" y="0"/>
                  </a:ln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215" name="Forma livre: Forma 2214">
              <a:extLst>
                <a:ext uri="{FF2B5EF4-FFF2-40B4-BE49-F238E27FC236}">
                  <a16:creationId xmlns:a16="http://schemas.microsoft.com/office/drawing/2014/main" id="{F70D81CC-D210-A6EF-345B-813B8B2DDAE5}"/>
                </a:ext>
              </a:extLst>
            </p:cNvPr>
            <p:cNvSpPr/>
            <p:nvPr/>
          </p:nvSpPr>
          <p:spPr>
            <a:xfrm>
              <a:off x="10530667" y="5259745"/>
              <a:ext cx="287239" cy="119741"/>
            </a:xfrm>
            <a:custGeom>
              <a:avLst/>
              <a:gdLst>
                <a:gd name="connsiteX0" fmla="*/ 0 w 287239"/>
                <a:gd name="connsiteY0" fmla="*/ 0 h 119741"/>
                <a:gd name="connsiteX1" fmla="*/ 143644 w 287239"/>
                <a:gd name="connsiteY1" fmla="*/ 119741 h 119741"/>
                <a:gd name="connsiteX2" fmla="*/ 287239 w 287239"/>
                <a:gd name="connsiteY2" fmla="*/ 290 h 1197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87239" h="119741">
                  <a:moveTo>
                    <a:pt x="0" y="0"/>
                  </a:moveTo>
                  <a:cubicBezTo>
                    <a:pt x="12435" y="68009"/>
                    <a:pt x="72094" y="119741"/>
                    <a:pt x="143644" y="119741"/>
                  </a:cubicBezTo>
                  <a:cubicBezTo>
                    <a:pt x="215194" y="119741"/>
                    <a:pt x="274696" y="68166"/>
                    <a:pt x="287239" y="290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2216" name="Gráfico 19">
            <a:extLst>
              <a:ext uri="{FF2B5EF4-FFF2-40B4-BE49-F238E27FC236}">
                <a16:creationId xmlns:a16="http://schemas.microsoft.com/office/drawing/2014/main" id="{DB2E3969-97CD-92CC-CF4F-DD44DBCE5F9D}"/>
              </a:ext>
            </a:extLst>
          </p:cNvPr>
          <p:cNvGrpSpPr/>
          <p:nvPr/>
        </p:nvGrpSpPr>
        <p:grpSpPr>
          <a:xfrm>
            <a:off x="9945741" y="5147157"/>
            <a:ext cx="199995" cy="352553"/>
            <a:chOff x="9945741" y="5147157"/>
            <a:chExt cx="199995" cy="352553"/>
          </a:xfrm>
        </p:grpSpPr>
        <p:grpSp>
          <p:nvGrpSpPr>
            <p:cNvPr id="2217" name="Gráfico 19">
              <a:extLst>
                <a:ext uri="{FF2B5EF4-FFF2-40B4-BE49-F238E27FC236}">
                  <a16:creationId xmlns:a16="http://schemas.microsoft.com/office/drawing/2014/main" id="{17FC260A-1C35-A5B1-EC49-99B06FFC8F81}"/>
                </a:ext>
              </a:extLst>
            </p:cNvPr>
            <p:cNvGrpSpPr/>
            <p:nvPr/>
          </p:nvGrpSpPr>
          <p:grpSpPr>
            <a:xfrm>
              <a:off x="9945741" y="5147157"/>
              <a:ext cx="199995" cy="352553"/>
              <a:chOff x="9945741" y="5147157"/>
              <a:chExt cx="199995" cy="352553"/>
            </a:xfrm>
          </p:grpSpPr>
          <p:sp>
            <p:nvSpPr>
              <p:cNvPr id="2218" name="Forma livre: Forma 2217">
                <a:extLst>
                  <a:ext uri="{FF2B5EF4-FFF2-40B4-BE49-F238E27FC236}">
                    <a16:creationId xmlns:a16="http://schemas.microsoft.com/office/drawing/2014/main" id="{2A550480-E03A-BDB3-677C-79F84DFC8F12}"/>
                  </a:ext>
                </a:extLst>
              </p:cNvPr>
              <p:cNvSpPr/>
              <p:nvPr/>
            </p:nvSpPr>
            <p:spPr>
              <a:xfrm>
                <a:off x="9948600" y="5213608"/>
                <a:ext cx="40723" cy="54487"/>
              </a:xfrm>
              <a:custGeom>
                <a:avLst/>
                <a:gdLst>
                  <a:gd name="connsiteX0" fmla="*/ 40723 w 40723"/>
                  <a:gd name="connsiteY0" fmla="*/ 3770 h 54487"/>
                  <a:gd name="connsiteX1" fmla="*/ 26960 w 40723"/>
                  <a:gd name="connsiteY1" fmla="*/ 0 h 54487"/>
                  <a:gd name="connsiteX2" fmla="*/ 0 w 40723"/>
                  <a:gd name="connsiteY2" fmla="*/ 26947 h 54487"/>
                  <a:gd name="connsiteX3" fmla="*/ 22682 w 40723"/>
                  <a:gd name="connsiteY3" fmla="*/ 53557 h 54487"/>
                  <a:gd name="connsiteX4" fmla="*/ 28676 w 40723"/>
                  <a:gd name="connsiteY4" fmla="*/ 54487 h 544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0723" h="54487">
                    <a:moveTo>
                      <a:pt x="40723" y="3770"/>
                    </a:moveTo>
                    <a:cubicBezTo>
                      <a:pt x="36687" y="1378"/>
                      <a:pt x="31987" y="0"/>
                      <a:pt x="26960" y="0"/>
                    </a:cubicBezTo>
                    <a:cubicBezTo>
                      <a:pt x="12072" y="0"/>
                      <a:pt x="0" y="12060"/>
                      <a:pt x="0" y="26947"/>
                    </a:cubicBezTo>
                    <a:cubicBezTo>
                      <a:pt x="0" y="40373"/>
                      <a:pt x="9824" y="51502"/>
                      <a:pt x="22682" y="53557"/>
                    </a:cubicBezTo>
                    <a:lnTo>
                      <a:pt x="28676" y="54487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219" name="Forma livre: Forma 2218">
                <a:extLst>
                  <a:ext uri="{FF2B5EF4-FFF2-40B4-BE49-F238E27FC236}">
                    <a16:creationId xmlns:a16="http://schemas.microsoft.com/office/drawing/2014/main" id="{D731FD40-90B7-C4E5-D904-87F3947426AD}"/>
                  </a:ext>
                </a:extLst>
              </p:cNvPr>
              <p:cNvSpPr/>
              <p:nvPr/>
            </p:nvSpPr>
            <p:spPr>
              <a:xfrm>
                <a:off x="10010567" y="5147157"/>
                <a:ext cx="70365" cy="42753"/>
              </a:xfrm>
              <a:custGeom>
                <a:avLst/>
                <a:gdLst>
                  <a:gd name="connsiteX0" fmla="*/ 40687 w 70365"/>
                  <a:gd name="connsiteY0" fmla="*/ 42754 h 42753"/>
                  <a:gd name="connsiteX1" fmla="*/ 70366 w 70365"/>
                  <a:gd name="connsiteY1" fmla="*/ 42754 h 42753"/>
                  <a:gd name="connsiteX2" fmla="*/ 70366 w 70365"/>
                  <a:gd name="connsiteY2" fmla="*/ 12664 h 42753"/>
                  <a:gd name="connsiteX3" fmla="*/ 57702 w 70365"/>
                  <a:gd name="connsiteY3" fmla="*/ 0 h 42753"/>
                  <a:gd name="connsiteX4" fmla="*/ 12664 w 70365"/>
                  <a:gd name="connsiteY4" fmla="*/ 0 h 42753"/>
                  <a:gd name="connsiteX5" fmla="*/ 0 w 70365"/>
                  <a:gd name="connsiteY5" fmla="*/ 12664 h 42753"/>
                  <a:gd name="connsiteX6" fmla="*/ 0 w 70365"/>
                  <a:gd name="connsiteY6" fmla="*/ 42754 h 42753"/>
                  <a:gd name="connsiteX7" fmla="*/ 17884 w 70365"/>
                  <a:gd name="connsiteY7" fmla="*/ 42754 h 427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0365" h="42753">
                    <a:moveTo>
                      <a:pt x="40687" y="42754"/>
                    </a:moveTo>
                    <a:lnTo>
                      <a:pt x="70366" y="42754"/>
                    </a:lnTo>
                    <a:lnTo>
                      <a:pt x="70366" y="12664"/>
                    </a:lnTo>
                    <a:cubicBezTo>
                      <a:pt x="70366" y="5704"/>
                      <a:pt x="64662" y="0"/>
                      <a:pt x="57702" y="0"/>
                    </a:cubicBezTo>
                    <a:lnTo>
                      <a:pt x="12664" y="0"/>
                    </a:lnTo>
                    <a:cubicBezTo>
                      <a:pt x="5692" y="0"/>
                      <a:pt x="0" y="5704"/>
                      <a:pt x="0" y="12664"/>
                    </a:cubicBezTo>
                    <a:lnTo>
                      <a:pt x="0" y="42754"/>
                    </a:lnTo>
                    <a:lnTo>
                      <a:pt x="17884" y="42754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220" name="Forma livre: Forma 2219">
                <a:extLst>
                  <a:ext uri="{FF2B5EF4-FFF2-40B4-BE49-F238E27FC236}">
                    <a16:creationId xmlns:a16="http://schemas.microsoft.com/office/drawing/2014/main" id="{D184F2E7-9049-0D55-5286-2688C3FBCBA0}"/>
                  </a:ext>
                </a:extLst>
              </p:cNvPr>
              <p:cNvSpPr/>
              <p:nvPr/>
            </p:nvSpPr>
            <p:spPr>
              <a:xfrm>
                <a:off x="9945741" y="5190756"/>
                <a:ext cx="199995" cy="308954"/>
              </a:xfrm>
              <a:custGeom>
                <a:avLst/>
                <a:gdLst>
                  <a:gd name="connsiteX0" fmla="*/ 123434 w 199995"/>
                  <a:gd name="connsiteY0" fmla="*/ 12 h 308954"/>
                  <a:gd name="connsiteX1" fmla="*/ 126720 w 199995"/>
                  <a:gd name="connsiteY1" fmla="*/ 26259 h 308954"/>
                  <a:gd name="connsiteX2" fmla="*/ 140218 w 199995"/>
                  <a:gd name="connsiteY2" fmla="*/ 65991 h 308954"/>
                  <a:gd name="connsiteX3" fmla="*/ 197956 w 199995"/>
                  <a:gd name="connsiteY3" fmla="*/ 172476 h 308954"/>
                  <a:gd name="connsiteX4" fmla="*/ 169462 w 199995"/>
                  <a:gd name="connsiteY4" fmla="*/ 287952 h 308954"/>
                  <a:gd name="connsiteX5" fmla="*/ 101235 w 199995"/>
                  <a:gd name="connsiteY5" fmla="*/ 308954 h 308954"/>
                  <a:gd name="connsiteX6" fmla="*/ 98770 w 199995"/>
                  <a:gd name="connsiteY6" fmla="*/ 308954 h 308954"/>
                  <a:gd name="connsiteX7" fmla="*/ 30531 w 199995"/>
                  <a:gd name="connsiteY7" fmla="*/ 287952 h 308954"/>
                  <a:gd name="connsiteX8" fmla="*/ 2037 w 199995"/>
                  <a:gd name="connsiteY8" fmla="*/ 172476 h 308954"/>
                  <a:gd name="connsiteX9" fmla="*/ 59775 w 199995"/>
                  <a:gd name="connsiteY9" fmla="*/ 65991 h 308954"/>
                  <a:gd name="connsiteX10" fmla="*/ 73273 w 199995"/>
                  <a:gd name="connsiteY10" fmla="*/ 26259 h 308954"/>
                  <a:gd name="connsiteX11" fmla="*/ 76463 w 199995"/>
                  <a:gd name="connsiteY11" fmla="*/ 0 h 3089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99995" h="308954">
                    <a:moveTo>
                      <a:pt x="123434" y="12"/>
                    </a:moveTo>
                    <a:cubicBezTo>
                      <a:pt x="123434" y="12"/>
                      <a:pt x="122600" y="19890"/>
                      <a:pt x="126720" y="26259"/>
                    </a:cubicBezTo>
                    <a:cubicBezTo>
                      <a:pt x="126720" y="26259"/>
                      <a:pt x="149209" y="47249"/>
                      <a:pt x="140218" y="65991"/>
                    </a:cubicBezTo>
                    <a:cubicBezTo>
                      <a:pt x="140218" y="65991"/>
                      <a:pt x="212965" y="77991"/>
                      <a:pt x="197956" y="172476"/>
                    </a:cubicBezTo>
                    <a:cubicBezTo>
                      <a:pt x="197956" y="172476"/>
                      <a:pt x="184458" y="263216"/>
                      <a:pt x="169462" y="287952"/>
                    </a:cubicBezTo>
                    <a:cubicBezTo>
                      <a:pt x="169462" y="287952"/>
                      <a:pt x="158224" y="308954"/>
                      <a:pt x="101235" y="308954"/>
                    </a:cubicBezTo>
                    <a:lnTo>
                      <a:pt x="98770" y="308954"/>
                    </a:lnTo>
                    <a:cubicBezTo>
                      <a:pt x="41781" y="308954"/>
                      <a:pt x="30531" y="287952"/>
                      <a:pt x="30531" y="287952"/>
                    </a:cubicBezTo>
                    <a:cubicBezTo>
                      <a:pt x="15535" y="263204"/>
                      <a:pt x="2037" y="172476"/>
                      <a:pt x="2037" y="172476"/>
                    </a:cubicBezTo>
                    <a:cubicBezTo>
                      <a:pt x="-12960" y="77991"/>
                      <a:pt x="59775" y="65991"/>
                      <a:pt x="59775" y="65991"/>
                    </a:cubicBezTo>
                    <a:cubicBezTo>
                      <a:pt x="50772" y="47237"/>
                      <a:pt x="73273" y="26259"/>
                      <a:pt x="73273" y="26259"/>
                    </a:cubicBezTo>
                    <a:cubicBezTo>
                      <a:pt x="77393" y="19890"/>
                      <a:pt x="76463" y="0"/>
                      <a:pt x="76463" y="0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221" name="Forma livre: Forma 2220">
                <a:extLst>
                  <a:ext uri="{FF2B5EF4-FFF2-40B4-BE49-F238E27FC236}">
                    <a16:creationId xmlns:a16="http://schemas.microsoft.com/office/drawing/2014/main" id="{FA9C788E-BA04-07EF-4359-46A5591EE4C9}"/>
                  </a:ext>
                </a:extLst>
              </p:cNvPr>
              <p:cNvSpPr/>
              <p:nvPr/>
            </p:nvSpPr>
            <p:spPr>
              <a:xfrm>
                <a:off x="10035025" y="5239504"/>
                <a:ext cx="50463" cy="1208"/>
              </a:xfrm>
              <a:custGeom>
                <a:avLst/>
                <a:gdLst>
                  <a:gd name="connsiteX0" fmla="*/ 0 w 50463"/>
                  <a:gd name="connsiteY0" fmla="*/ 0 h 1208"/>
                  <a:gd name="connsiteX1" fmla="*/ 50463 w 50463"/>
                  <a:gd name="connsiteY1" fmla="*/ 0 h 12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0463" h="1208">
                    <a:moveTo>
                      <a:pt x="0" y="0"/>
                    </a:moveTo>
                    <a:lnTo>
                      <a:pt x="50463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222" name="Forma livre: Forma 2221">
                <a:extLst>
                  <a:ext uri="{FF2B5EF4-FFF2-40B4-BE49-F238E27FC236}">
                    <a16:creationId xmlns:a16="http://schemas.microsoft.com/office/drawing/2014/main" id="{EC4D1E7D-D63B-2C10-39D4-29BED6D27BBC}"/>
                  </a:ext>
                </a:extLst>
              </p:cNvPr>
              <p:cNvSpPr/>
              <p:nvPr/>
            </p:nvSpPr>
            <p:spPr>
              <a:xfrm>
                <a:off x="10028500" y="5403280"/>
                <a:ext cx="34500" cy="1208"/>
              </a:xfrm>
              <a:custGeom>
                <a:avLst/>
                <a:gdLst>
                  <a:gd name="connsiteX0" fmla="*/ 0 w 34500"/>
                  <a:gd name="connsiteY0" fmla="*/ 0 h 1208"/>
                  <a:gd name="connsiteX1" fmla="*/ 34500 w 34500"/>
                  <a:gd name="connsiteY1" fmla="*/ 0 h 12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4500" h="1208">
                    <a:moveTo>
                      <a:pt x="0" y="0"/>
                    </a:moveTo>
                    <a:lnTo>
                      <a:pt x="3450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223" name="Forma livre: Forma 2222">
                <a:extLst>
                  <a:ext uri="{FF2B5EF4-FFF2-40B4-BE49-F238E27FC236}">
                    <a16:creationId xmlns:a16="http://schemas.microsoft.com/office/drawing/2014/main" id="{F6AB102E-C5A7-BB32-9778-31A575BBB23F}"/>
                  </a:ext>
                </a:extLst>
              </p:cNvPr>
              <p:cNvSpPr/>
              <p:nvPr/>
            </p:nvSpPr>
            <p:spPr>
              <a:xfrm>
                <a:off x="10016331" y="5373831"/>
                <a:ext cx="58825" cy="1208"/>
              </a:xfrm>
              <a:custGeom>
                <a:avLst/>
                <a:gdLst>
                  <a:gd name="connsiteX0" fmla="*/ 0 w 58825"/>
                  <a:gd name="connsiteY0" fmla="*/ 0 h 1208"/>
                  <a:gd name="connsiteX1" fmla="*/ 58825 w 58825"/>
                  <a:gd name="connsiteY1" fmla="*/ 0 h 12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8825" h="1208">
                    <a:moveTo>
                      <a:pt x="0" y="0"/>
                    </a:moveTo>
                    <a:lnTo>
                      <a:pt x="58825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224" name="Forma livre: Forma 2223">
                <a:extLst>
                  <a:ext uri="{FF2B5EF4-FFF2-40B4-BE49-F238E27FC236}">
                    <a16:creationId xmlns:a16="http://schemas.microsoft.com/office/drawing/2014/main" id="{386473CA-759A-8E69-0A16-1448E4D5E806}"/>
                  </a:ext>
                </a:extLst>
              </p:cNvPr>
              <p:cNvSpPr/>
              <p:nvPr/>
            </p:nvSpPr>
            <p:spPr>
              <a:xfrm>
                <a:off x="10041961" y="5329132"/>
                <a:ext cx="7588" cy="7588"/>
              </a:xfrm>
              <a:custGeom>
                <a:avLst/>
                <a:gdLst>
                  <a:gd name="connsiteX0" fmla="*/ 7589 w 7588"/>
                  <a:gd name="connsiteY0" fmla="*/ 3794 h 7588"/>
                  <a:gd name="connsiteX1" fmla="*/ 3794 w 7588"/>
                  <a:gd name="connsiteY1" fmla="*/ 7589 h 7588"/>
                  <a:gd name="connsiteX2" fmla="*/ 0 w 7588"/>
                  <a:gd name="connsiteY2" fmla="*/ 3794 h 7588"/>
                  <a:gd name="connsiteX3" fmla="*/ 3794 w 7588"/>
                  <a:gd name="connsiteY3" fmla="*/ 0 h 7588"/>
                  <a:gd name="connsiteX4" fmla="*/ 7589 w 7588"/>
                  <a:gd name="connsiteY4" fmla="*/ 3794 h 75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588" h="7588">
                    <a:moveTo>
                      <a:pt x="7589" y="3794"/>
                    </a:moveTo>
                    <a:cubicBezTo>
                      <a:pt x="7589" y="5885"/>
                      <a:pt x="5897" y="7589"/>
                      <a:pt x="3794" y="7589"/>
                    </a:cubicBezTo>
                    <a:cubicBezTo>
                      <a:pt x="1692" y="7589"/>
                      <a:pt x="0" y="5885"/>
                      <a:pt x="0" y="3794"/>
                    </a:cubicBezTo>
                    <a:cubicBezTo>
                      <a:pt x="0" y="1704"/>
                      <a:pt x="1692" y="0"/>
                      <a:pt x="3794" y="0"/>
                    </a:cubicBezTo>
                    <a:cubicBezTo>
                      <a:pt x="5897" y="0"/>
                      <a:pt x="7589" y="1692"/>
                      <a:pt x="7589" y="3794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2225" name="Forma livre: Forma 2224">
              <a:extLst>
                <a:ext uri="{FF2B5EF4-FFF2-40B4-BE49-F238E27FC236}">
                  <a16:creationId xmlns:a16="http://schemas.microsoft.com/office/drawing/2014/main" id="{19AC2608-5DCC-C070-D370-056AC2089717}"/>
                </a:ext>
              </a:extLst>
            </p:cNvPr>
            <p:cNvSpPr/>
            <p:nvPr/>
          </p:nvSpPr>
          <p:spPr>
            <a:xfrm>
              <a:off x="9981902" y="5288819"/>
              <a:ext cx="127672" cy="176198"/>
            </a:xfrm>
            <a:custGeom>
              <a:avLst/>
              <a:gdLst>
                <a:gd name="connsiteX0" fmla="*/ 124553 w 127672"/>
                <a:gd name="connsiteY0" fmla="*/ 35334 h 176198"/>
                <a:gd name="connsiteX1" fmla="*/ 63842 w 127672"/>
                <a:gd name="connsiteY1" fmla="*/ 0 h 176198"/>
                <a:gd name="connsiteX2" fmla="*/ 3132 w 127672"/>
                <a:gd name="connsiteY2" fmla="*/ 35334 h 176198"/>
                <a:gd name="connsiteX3" fmla="*/ 14007 w 127672"/>
                <a:gd name="connsiteY3" fmla="*/ 143571 h 176198"/>
                <a:gd name="connsiteX4" fmla="*/ 63625 w 127672"/>
                <a:gd name="connsiteY4" fmla="*/ 176174 h 176198"/>
                <a:gd name="connsiteX5" fmla="*/ 63625 w 127672"/>
                <a:gd name="connsiteY5" fmla="*/ 176198 h 176198"/>
                <a:gd name="connsiteX6" fmla="*/ 63830 w 127672"/>
                <a:gd name="connsiteY6" fmla="*/ 176198 h 176198"/>
                <a:gd name="connsiteX7" fmla="*/ 64035 w 127672"/>
                <a:gd name="connsiteY7" fmla="*/ 176198 h 176198"/>
                <a:gd name="connsiteX8" fmla="*/ 64035 w 127672"/>
                <a:gd name="connsiteY8" fmla="*/ 176174 h 176198"/>
                <a:gd name="connsiteX9" fmla="*/ 113665 w 127672"/>
                <a:gd name="connsiteY9" fmla="*/ 143571 h 176198"/>
                <a:gd name="connsiteX10" fmla="*/ 124540 w 127672"/>
                <a:gd name="connsiteY10" fmla="*/ 35334 h 1761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27672" h="176198">
                  <a:moveTo>
                    <a:pt x="124553" y="35334"/>
                  </a:moveTo>
                  <a:cubicBezTo>
                    <a:pt x="115272" y="3565"/>
                    <a:pt x="72361" y="0"/>
                    <a:pt x="63842" y="0"/>
                  </a:cubicBezTo>
                  <a:cubicBezTo>
                    <a:pt x="55323" y="0"/>
                    <a:pt x="12424" y="3565"/>
                    <a:pt x="3132" y="35334"/>
                  </a:cubicBezTo>
                  <a:cubicBezTo>
                    <a:pt x="3132" y="35334"/>
                    <a:pt x="-8832" y="75586"/>
                    <a:pt x="14007" y="143571"/>
                  </a:cubicBezTo>
                  <a:cubicBezTo>
                    <a:pt x="14007" y="143571"/>
                    <a:pt x="26442" y="175920"/>
                    <a:pt x="63625" y="176174"/>
                  </a:cubicBezTo>
                  <a:lnTo>
                    <a:pt x="63625" y="176198"/>
                  </a:lnTo>
                  <a:cubicBezTo>
                    <a:pt x="63697" y="176198"/>
                    <a:pt x="63757" y="176198"/>
                    <a:pt x="63830" y="176198"/>
                  </a:cubicBezTo>
                  <a:cubicBezTo>
                    <a:pt x="63902" y="176198"/>
                    <a:pt x="63963" y="176198"/>
                    <a:pt x="64035" y="176198"/>
                  </a:cubicBezTo>
                  <a:lnTo>
                    <a:pt x="64035" y="176174"/>
                  </a:lnTo>
                  <a:cubicBezTo>
                    <a:pt x="101230" y="175920"/>
                    <a:pt x="113665" y="143571"/>
                    <a:pt x="113665" y="143571"/>
                  </a:cubicBezTo>
                  <a:cubicBezTo>
                    <a:pt x="136504" y="75586"/>
                    <a:pt x="124540" y="35334"/>
                    <a:pt x="124540" y="35334"/>
                  </a:cubicBez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2226" name="Gráfico 19">
            <a:extLst>
              <a:ext uri="{FF2B5EF4-FFF2-40B4-BE49-F238E27FC236}">
                <a16:creationId xmlns:a16="http://schemas.microsoft.com/office/drawing/2014/main" id="{3CF90E65-36EB-6394-81BD-52C746C93D6E}"/>
              </a:ext>
            </a:extLst>
          </p:cNvPr>
          <p:cNvGrpSpPr/>
          <p:nvPr/>
        </p:nvGrpSpPr>
        <p:grpSpPr>
          <a:xfrm>
            <a:off x="11150436" y="5185427"/>
            <a:ext cx="305123" cy="276012"/>
            <a:chOff x="11150436" y="5185427"/>
            <a:chExt cx="305123" cy="276012"/>
          </a:xfrm>
          <a:noFill/>
        </p:grpSpPr>
        <p:sp>
          <p:nvSpPr>
            <p:cNvPr id="2227" name="Forma livre: Forma 2226">
              <a:extLst>
                <a:ext uri="{FF2B5EF4-FFF2-40B4-BE49-F238E27FC236}">
                  <a16:creationId xmlns:a16="http://schemas.microsoft.com/office/drawing/2014/main" id="{3A45F749-22CD-9EBF-855E-8E48A0547602}"/>
                </a:ext>
              </a:extLst>
            </p:cNvPr>
            <p:cNvSpPr/>
            <p:nvPr/>
          </p:nvSpPr>
          <p:spPr>
            <a:xfrm>
              <a:off x="11280134" y="5305519"/>
              <a:ext cx="124284" cy="1208"/>
            </a:xfrm>
            <a:custGeom>
              <a:avLst/>
              <a:gdLst>
                <a:gd name="connsiteX0" fmla="*/ 124285 w 124284"/>
                <a:gd name="connsiteY0" fmla="*/ 0 h 1208"/>
                <a:gd name="connsiteX1" fmla="*/ 0 w 124284"/>
                <a:gd name="connsiteY1" fmla="*/ 0 h 12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4284" h="1208">
                  <a:moveTo>
                    <a:pt x="124285" y="0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228" name="Forma livre: Forma 2227">
              <a:extLst>
                <a:ext uri="{FF2B5EF4-FFF2-40B4-BE49-F238E27FC236}">
                  <a16:creationId xmlns:a16="http://schemas.microsoft.com/office/drawing/2014/main" id="{0A230EA6-D4C7-461A-319C-54A0B231A223}"/>
                </a:ext>
              </a:extLst>
            </p:cNvPr>
            <p:cNvSpPr/>
            <p:nvPr/>
          </p:nvSpPr>
          <p:spPr>
            <a:xfrm>
              <a:off x="11203195" y="5185427"/>
              <a:ext cx="201224" cy="153335"/>
            </a:xfrm>
            <a:custGeom>
              <a:avLst/>
              <a:gdLst>
                <a:gd name="connsiteX0" fmla="*/ 0 w 201224"/>
                <a:gd name="connsiteY0" fmla="*/ 91718 h 153335"/>
                <a:gd name="connsiteX1" fmla="*/ 0 w 201224"/>
                <a:gd name="connsiteY1" fmla="*/ 0 h 153335"/>
                <a:gd name="connsiteX2" fmla="*/ 201224 w 201224"/>
                <a:gd name="connsiteY2" fmla="*/ 0 h 153335"/>
                <a:gd name="connsiteX3" fmla="*/ 201224 w 201224"/>
                <a:gd name="connsiteY3" fmla="*/ 153335 h 1533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1224" h="153335">
                  <a:moveTo>
                    <a:pt x="0" y="91718"/>
                  </a:moveTo>
                  <a:lnTo>
                    <a:pt x="0" y="0"/>
                  </a:lnTo>
                  <a:lnTo>
                    <a:pt x="201224" y="0"/>
                  </a:lnTo>
                  <a:lnTo>
                    <a:pt x="201224" y="153335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229" name="Forma livre: Forma 2228">
              <a:extLst>
                <a:ext uri="{FF2B5EF4-FFF2-40B4-BE49-F238E27FC236}">
                  <a16:creationId xmlns:a16="http://schemas.microsoft.com/office/drawing/2014/main" id="{D894D6AF-F9E3-01D5-1516-E0BA6FDE19B9}"/>
                </a:ext>
              </a:extLst>
            </p:cNvPr>
            <p:cNvSpPr/>
            <p:nvPr/>
          </p:nvSpPr>
          <p:spPr>
            <a:xfrm>
              <a:off x="11206663" y="5245425"/>
              <a:ext cx="195448" cy="1208"/>
            </a:xfrm>
            <a:custGeom>
              <a:avLst/>
              <a:gdLst>
                <a:gd name="connsiteX0" fmla="*/ 0 w 195448"/>
                <a:gd name="connsiteY0" fmla="*/ 0 h 1208"/>
                <a:gd name="connsiteX1" fmla="*/ 195448 w 195448"/>
                <a:gd name="connsiteY1" fmla="*/ 0 h 12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95448" h="1208">
                  <a:moveTo>
                    <a:pt x="0" y="0"/>
                  </a:moveTo>
                  <a:lnTo>
                    <a:pt x="195448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230" name="Forma livre: Forma 2229">
              <a:extLst>
                <a:ext uri="{FF2B5EF4-FFF2-40B4-BE49-F238E27FC236}">
                  <a16:creationId xmlns:a16="http://schemas.microsoft.com/office/drawing/2014/main" id="{61F4E1D5-B5E7-17BF-E4C0-8EC7806A1404}"/>
                </a:ext>
              </a:extLst>
            </p:cNvPr>
            <p:cNvSpPr/>
            <p:nvPr/>
          </p:nvSpPr>
          <p:spPr>
            <a:xfrm>
              <a:off x="11253936" y="5185802"/>
              <a:ext cx="1208" cy="112116"/>
            </a:xfrm>
            <a:custGeom>
              <a:avLst/>
              <a:gdLst>
                <a:gd name="connsiteX0" fmla="*/ 0 w 1208"/>
                <a:gd name="connsiteY0" fmla="*/ 0 h 112116"/>
                <a:gd name="connsiteX1" fmla="*/ 0 w 1208"/>
                <a:gd name="connsiteY1" fmla="*/ 112116 h 1121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8" h="112116">
                  <a:moveTo>
                    <a:pt x="0" y="0"/>
                  </a:moveTo>
                  <a:lnTo>
                    <a:pt x="0" y="112116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231" name="Forma livre: Forma 2230">
              <a:extLst>
                <a:ext uri="{FF2B5EF4-FFF2-40B4-BE49-F238E27FC236}">
                  <a16:creationId xmlns:a16="http://schemas.microsoft.com/office/drawing/2014/main" id="{C50F1C89-EB60-198E-FA41-3B6AA83FC389}"/>
                </a:ext>
              </a:extLst>
            </p:cNvPr>
            <p:cNvSpPr/>
            <p:nvPr/>
          </p:nvSpPr>
          <p:spPr>
            <a:xfrm>
              <a:off x="11304254" y="5185802"/>
              <a:ext cx="1208" cy="139087"/>
            </a:xfrm>
            <a:custGeom>
              <a:avLst/>
              <a:gdLst>
                <a:gd name="connsiteX0" fmla="*/ 0 w 1208"/>
                <a:gd name="connsiteY0" fmla="*/ 0 h 139087"/>
                <a:gd name="connsiteX1" fmla="*/ 0 w 1208"/>
                <a:gd name="connsiteY1" fmla="*/ 139088 h 1390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8" h="139087">
                  <a:moveTo>
                    <a:pt x="0" y="0"/>
                  </a:moveTo>
                  <a:lnTo>
                    <a:pt x="0" y="139088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232" name="Forma livre: Forma 2231">
              <a:extLst>
                <a:ext uri="{FF2B5EF4-FFF2-40B4-BE49-F238E27FC236}">
                  <a16:creationId xmlns:a16="http://schemas.microsoft.com/office/drawing/2014/main" id="{4B921064-FF1E-AE67-36EE-65B69897839B}"/>
                </a:ext>
              </a:extLst>
            </p:cNvPr>
            <p:cNvSpPr/>
            <p:nvPr/>
          </p:nvSpPr>
          <p:spPr>
            <a:xfrm>
              <a:off x="11354548" y="5185802"/>
              <a:ext cx="1208" cy="154688"/>
            </a:xfrm>
            <a:custGeom>
              <a:avLst/>
              <a:gdLst>
                <a:gd name="connsiteX0" fmla="*/ 0 w 1208"/>
                <a:gd name="connsiteY0" fmla="*/ 0 h 154688"/>
                <a:gd name="connsiteX1" fmla="*/ 0 w 1208"/>
                <a:gd name="connsiteY1" fmla="*/ 154689 h 1546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8" h="154688">
                  <a:moveTo>
                    <a:pt x="0" y="0"/>
                  </a:moveTo>
                  <a:lnTo>
                    <a:pt x="0" y="154689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233" name="Forma livre: Forma 2232">
              <a:extLst>
                <a:ext uri="{FF2B5EF4-FFF2-40B4-BE49-F238E27FC236}">
                  <a16:creationId xmlns:a16="http://schemas.microsoft.com/office/drawing/2014/main" id="{BEA73497-8389-8BBB-3C9E-7AAA6566213A}"/>
                </a:ext>
              </a:extLst>
            </p:cNvPr>
            <p:cNvSpPr/>
            <p:nvPr/>
          </p:nvSpPr>
          <p:spPr>
            <a:xfrm>
              <a:off x="11150436" y="5296553"/>
              <a:ext cx="171437" cy="57073"/>
            </a:xfrm>
            <a:custGeom>
              <a:avLst/>
              <a:gdLst>
                <a:gd name="connsiteX0" fmla="*/ 171437 w 171437"/>
                <a:gd name="connsiteY0" fmla="*/ 57073 h 57073"/>
                <a:gd name="connsiteX1" fmla="*/ 39600 w 171437"/>
                <a:gd name="connsiteY1" fmla="*/ 0 h 57073"/>
                <a:gd name="connsiteX2" fmla="*/ 0 w 171437"/>
                <a:gd name="connsiteY2" fmla="*/ 48179 h 57073"/>
                <a:gd name="connsiteX3" fmla="*/ 171437 w 171437"/>
                <a:gd name="connsiteY3" fmla="*/ 57073 h 570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1437" h="57073">
                  <a:moveTo>
                    <a:pt x="171437" y="57073"/>
                  </a:moveTo>
                  <a:lnTo>
                    <a:pt x="39600" y="0"/>
                  </a:lnTo>
                  <a:lnTo>
                    <a:pt x="0" y="48179"/>
                  </a:lnTo>
                  <a:lnTo>
                    <a:pt x="171437" y="57073"/>
                  </a:ln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234" name="Forma livre: Forma 2233">
              <a:extLst>
                <a:ext uri="{FF2B5EF4-FFF2-40B4-BE49-F238E27FC236}">
                  <a16:creationId xmlns:a16="http://schemas.microsoft.com/office/drawing/2014/main" id="{BCD22802-C443-95AE-1DBE-4E14B216156B}"/>
                </a:ext>
              </a:extLst>
            </p:cNvPr>
            <p:cNvSpPr/>
            <p:nvPr/>
          </p:nvSpPr>
          <p:spPr>
            <a:xfrm>
              <a:off x="11322211" y="5354279"/>
              <a:ext cx="1208" cy="73048"/>
            </a:xfrm>
            <a:custGeom>
              <a:avLst/>
              <a:gdLst>
                <a:gd name="connsiteX0" fmla="*/ 0 w 1208"/>
                <a:gd name="connsiteY0" fmla="*/ 0 h 73048"/>
                <a:gd name="connsiteX1" fmla="*/ 0 w 1208"/>
                <a:gd name="connsiteY1" fmla="*/ 73048 h 73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8" h="73048">
                  <a:moveTo>
                    <a:pt x="0" y="0"/>
                  </a:moveTo>
                  <a:lnTo>
                    <a:pt x="0" y="73048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235" name="Forma livre: Forma 2234">
              <a:extLst>
                <a:ext uri="{FF2B5EF4-FFF2-40B4-BE49-F238E27FC236}">
                  <a16:creationId xmlns:a16="http://schemas.microsoft.com/office/drawing/2014/main" id="{F3A7F8CE-A21E-308A-2AAB-E0D3E8B178D6}"/>
                </a:ext>
              </a:extLst>
            </p:cNvPr>
            <p:cNvSpPr/>
            <p:nvPr/>
          </p:nvSpPr>
          <p:spPr>
            <a:xfrm>
              <a:off x="11322985" y="5328129"/>
              <a:ext cx="132574" cy="49532"/>
            </a:xfrm>
            <a:custGeom>
              <a:avLst/>
              <a:gdLst>
                <a:gd name="connsiteX0" fmla="*/ 0 w 132574"/>
                <a:gd name="connsiteY0" fmla="*/ 49533 h 49532"/>
                <a:gd name="connsiteX1" fmla="*/ 104105 w 132574"/>
                <a:gd name="connsiteY1" fmla="*/ 0 h 49532"/>
                <a:gd name="connsiteX2" fmla="*/ 132575 w 132574"/>
                <a:gd name="connsiteY2" fmla="*/ 42113 h 49532"/>
                <a:gd name="connsiteX3" fmla="*/ 32978 w 132574"/>
                <a:gd name="connsiteY3" fmla="*/ 33739 h 495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2574" h="49532">
                  <a:moveTo>
                    <a:pt x="0" y="49533"/>
                  </a:moveTo>
                  <a:lnTo>
                    <a:pt x="104105" y="0"/>
                  </a:lnTo>
                  <a:lnTo>
                    <a:pt x="132575" y="42113"/>
                  </a:lnTo>
                  <a:lnTo>
                    <a:pt x="32978" y="33739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236" name="Forma livre: Forma 2235">
              <a:extLst>
                <a:ext uri="{FF2B5EF4-FFF2-40B4-BE49-F238E27FC236}">
                  <a16:creationId xmlns:a16="http://schemas.microsoft.com/office/drawing/2014/main" id="{C6B8C2E7-519B-6B11-1150-B224377CCB2F}"/>
                </a:ext>
              </a:extLst>
            </p:cNvPr>
            <p:cNvSpPr/>
            <p:nvPr/>
          </p:nvSpPr>
          <p:spPr>
            <a:xfrm>
              <a:off x="11204210" y="5428294"/>
              <a:ext cx="199194" cy="1208"/>
            </a:xfrm>
            <a:custGeom>
              <a:avLst/>
              <a:gdLst>
                <a:gd name="connsiteX0" fmla="*/ 0 w 199194"/>
                <a:gd name="connsiteY0" fmla="*/ 0 h 1208"/>
                <a:gd name="connsiteX1" fmla="*/ 199194 w 199194"/>
                <a:gd name="connsiteY1" fmla="*/ 0 h 12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99194" h="1208">
                  <a:moveTo>
                    <a:pt x="0" y="0"/>
                  </a:moveTo>
                  <a:lnTo>
                    <a:pt x="199194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237" name="Forma livre: Forma 2236">
              <a:extLst>
                <a:ext uri="{FF2B5EF4-FFF2-40B4-BE49-F238E27FC236}">
                  <a16:creationId xmlns:a16="http://schemas.microsoft.com/office/drawing/2014/main" id="{1F86636C-8986-28ED-55AF-CF910C518446}"/>
                </a:ext>
              </a:extLst>
            </p:cNvPr>
            <p:cNvSpPr/>
            <p:nvPr/>
          </p:nvSpPr>
          <p:spPr>
            <a:xfrm>
              <a:off x="11196235" y="5367209"/>
              <a:ext cx="215145" cy="94231"/>
            </a:xfrm>
            <a:custGeom>
              <a:avLst/>
              <a:gdLst>
                <a:gd name="connsiteX0" fmla="*/ 208233 w 215145"/>
                <a:gd name="connsiteY0" fmla="*/ 0 h 94231"/>
                <a:gd name="connsiteX1" fmla="*/ 208233 w 215145"/>
                <a:gd name="connsiteY1" fmla="*/ 60529 h 94231"/>
                <a:gd name="connsiteX2" fmla="*/ 215145 w 215145"/>
                <a:gd name="connsiteY2" fmla="*/ 94232 h 94231"/>
                <a:gd name="connsiteX3" fmla="*/ 0 w 215145"/>
                <a:gd name="connsiteY3" fmla="*/ 94232 h 94231"/>
                <a:gd name="connsiteX4" fmla="*/ 6912 w 215145"/>
                <a:gd name="connsiteY4" fmla="*/ 60529 h 94231"/>
                <a:gd name="connsiteX5" fmla="*/ 6912 w 215145"/>
                <a:gd name="connsiteY5" fmla="*/ 2876 h 942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15145" h="94231">
                  <a:moveTo>
                    <a:pt x="208233" y="0"/>
                  </a:moveTo>
                  <a:lnTo>
                    <a:pt x="208233" y="60529"/>
                  </a:lnTo>
                  <a:lnTo>
                    <a:pt x="215145" y="94232"/>
                  </a:lnTo>
                  <a:lnTo>
                    <a:pt x="0" y="94232"/>
                  </a:lnTo>
                  <a:lnTo>
                    <a:pt x="6912" y="60529"/>
                  </a:lnTo>
                  <a:lnTo>
                    <a:pt x="6912" y="2876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2238" name="Gráfico 19">
            <a:extLst>
              <a:ext uri="{FF2B5EF4-FFF2-40B4-BE49-F238E27FC236}">
                <a16:creationId xmlns:a16="http://schemas.microsoft.com/office/drawing/2014/main" id="{4EF90E97-2BCF-3BCE-A27B-26707CDCBC23}"/>
              </a:ext>
            </a:extLst>
          </p:cNvPr>
          <p:cNvGrpSpPr/>
          <p:nvPr/>
        </p:nvGrpSpPr>
        <p:grpSpPr>
          <a:xfrm>
            <a:off x="10512328" y="5731459"/>
            <a:ext cx="323969" cy="260545"/>
            <a:chOff x="10512328" y="5731459"/>
            <a:chExt cx="323969" cy="260545"/>
          </a:xfrm>
          <a:noFill/>
        </p:grpSpPr>
        <p:sp>
          <p:nvSpPr>
            <p:cNvPr id="2239" name="Forma livre: Forma 2238">
              <a:extLst>
                <a:ext uri="{FF2B5EF4-FFF2-40B4-BE49-F238E27FC236}">
                  <a16:creationId xmlns:a16="http://schemas.microsoft.com/office/drawing/2014/main" id="{868A9574-27AB-96A3-ED11-4FFA7816174F}"/>
                </a:ext>
              </a:extLst>
            </p:cNvPr>
            <p:cNvSpPr/>
            <p:nvPr/>
          </p:nvSpPr>
          <p:spPr>
            <a:xfrm>
              <a:off x="10709487" y="5764848"/>
              <a:ext cx="49846" cy="25775"/>
            </a:xfrm>
            <a:custGeom>
              <a:avLst/>
              <a:gdLst>
                <a:gd name="connsiteX0" fmla="*/ 0 w 49846"/>
                <a:gd name="connsiteY0" fmla="*/ 16531 h 25775"/>
                <a:gd name="connsiteX1" fmla="*/ 24059 w 49846"/>
                <a:gd name="connsiteY1" fmla="*/ 0 h 25775"/>
                <a:gd name="connsiteX2" fmla="*/ 49847 w 49846"/>
                <a:gd name="connsiteY2" fmla="*/ 25775 h 2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9846" h="25775">
                  <a:moveTo>
                    <a:pt x="0" y="16531"/>
                  </a:moveTo>
                  <a:cubicBezTo>
                    <a:pt x="3710" y="6864"/>
                    <a:pt x="13099" y="0"/>
                    <a:pt x="24059" y="0"/>
                  </a:cubicBezTo>
                  <a:cubicBezTo>
                    <a:pt x="38307" y="0"/>
                    <a:pt x="49847" y="11540"/>
                    <a:pt x="49847" y="25775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240" name="Forma livre: Forma 2239">
              <a:extLst>
                <a:ext uri="{FF2B5EF4-FFF2-40B4-BE49-F238E27FC236}">
                  <a16:creationId xmlns:a16="http://schemas.microsoft.com/office/drawing/2014/main" id="{80559266-541D-4228-09EC-9520AAF56876}"/>
                </a:ext>
              </a:extLst>
            </p:cNvPr>
            <p:cNvSpPr/>
            <p:nvPr/>
          </p:nvSpPr>
          <p:spPr>
            <a:xfrm>
              <a:off x="10626638" y="5755084"/>
              <a:ext cx="48493" cy="34778"/>
            </a:xfrm>
            <a:custGeom>
              <a:avLst/>
              <a:gdLst>
                <a:gd name="connsiteX0" fmla="*/ 0 w 48493"/>
                <a:gd name="connsiteY0" fmla="*/ 13570 h 34778"/>
                <a:gd name="connsiteX1" fmla="*/ 22706 w 48493"/>
                <a:gd name="connsiteY1" fmla="*/ 0 h 34778"/>
                <a:gd name="connsiteX2" fmla="*/ 48493 w 48493"/>
                <a:gd name="connsiteY2" fmla="*/ 25775 h 34778"/>
                <a:gd name="connsiteX3" fmla="*/ 46874 w 48493"/>
                <a:gd name="connsiteY3" fmla="*/ 34778 h 347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8493" h="34778">
                  <a:moveTo>
                    <a:pt x="0" y="13570"/>
                  </a:moveTo>
                  <a:cubicBezTo>
                    <a:pt x="4350" y="5498"/>
                    <a:pt x="12894" y="0"/>
                    <a:pt x="22706" y="0"/>
                  </a:cubicBezTo>
                  <a:cubicBezTo>
                    <a:pt x="36953" y="0"/>
                    <a:pt x="48493" y="11540"/>
                    <a:pt x="48493" y="25775"/>
                  </a:cubicBezTo>
                  <a:cubicBezTo>
                    <a:pt x="48493" y="28942"/>
                    <a:pt x="47926" y="31974"/>
                    <a:pt x="46874" y="34778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241" name="Forma livre: Forma 2240">
              <a:extLst>
                <a:ext uri="{FF2B5EF4-FFF2-40B4-BE49-F238E27FC236}">
                  <a16:creationId xmlns:a16="http://schemas.microsoft.com/office/drawing/2014/main" id="{04E6F334-A6B9-AEF8-AB48-F69137F80700}"/>
                </a:ext>
              </a:extLst>
            </p:cNvPr>
            <p:cNvSpPr/>
            <p:nvPr/>
          </p:nvSpPr>
          <p:spPr>
            <a:xfrm>
              <a:off x="10664655" y="5790273"/>
              <a:ext cx="37134" cy="35128"/>
            </a:xfrm>
            <a:custGeom>
              <a:avLst/>
              <a:gdLst>
                <a:gd name="connsiteX0" fmla="*/ 0 w 37134"/>
                <a:gd name="connsiteY0" fmla="*/ 2622 h 35128"/>
                <a:gd name="connsiteX1" fmla="*/ 11347 w 37134"/>
                <a:gd name="connsiteY1" fmla="*/ 0 h 35128"/>
                <a:gd name="connsiteX2" fmla="*/ 37134 w 37134"/>
                <a:gd name="connsiteY2" fmla="*/ 25775 h 35128"/>
                <a:gd name="connsiteX3" fmla="*/ 35382 w 37134"/>
                <a:gd name="connsiteY3" fmla="*/ 35129 h 351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7134" h="35128">
                  <a:moveTo>
                    <a:pt x="0" y="2622"/>
                  </a:moveTo>
                  <a:cubicBezTo>
                    <a:pt x="3432" y="943"/>
                    <a:pt x="7275" y="0"/>
                    <a:pt x="11347" y="0"/>
                  </a:cubicBezTo>
                  <a:cubicBezTo>
                    <a:pt x="25594" y="0"/>
                    <a:pt x="37134" y="11540"/>
                    <a:pt x="37134" y="25775"/>
                  </a:cubicBezTo>
                  <a:cubicBezTo>
                    <a:pt x="37134" y="29074"/>
                    <a:pt x="36518" y="32228"/>
                    <a:pt x="35382" y="35129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242" name="Forma livre: Forma 2241">
              <a:extLst>
                <a:ext uri="{FF2B5EF4-FFF2-40B4-BE49-F238E27FC236}">
                  <a16:creationId xmlns:a16="http://schemas.microsoft.com/office/drawing/2014/main" id="{815A1EE6-89F9-F1D9-3BC4-1990FECEC784}"/>
                </a:ext>
              </a:extLst>
            </p:cNvPr>
            <p:cNvSpPr/>
            <p:nvPr/>
          </p:nvSpPr>
          <p:spPr>
            <a:xfrm>
              <a:off x="10608126" y="5790261"/>
              <a:ext cx="40880" cy="35805"/>
            </a:xfrm>
            <a:custGeom>
              <a:avLst/>
              <a:gdLst>
                <a:gd name="connsiteX0" fmla="*/ 0 w 40880"/>
                <a:gd name="connsiteY0" fmla="*/ 4894 h 35805"/>
                <a:gd name="connsiteX1" fmla="*/ 15105 w 40880"/>
                <a:gd name="connsiteY1" fmla="*/ 0 h 35805"/>
                <a:gd name="connsiteX2" fmla="*/ 40881 w 40880"/>
                <a:gd name="connsiteY2" fmla="*/ 25775 h 35805"/>
                <a:gd name="connsiteX3" fmla="*/ 38850 w 40880"/>
                <a:gd name="connsiteY3" fmla="*/ 35805 h 358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0880" h="35805">
                  <a:moveTo>
                    <a:pt x="0" y="4894"/>
                  </a:moveTo>
                  <a:cubicBezTo>
                    <a:pt x="4254" y="1813"/>
                    <a:pt x="9462" y="0"/>
                    <a:pt x="15105" y="0"/>
                  </a:cubicBezTo>
                  <a:cubicBezTo>
                    <a:pt x="29352" y="0"/>
                    <a:pt x="40881" y="11540"/>
                    <a:pt x="40881" y="25775"/>
                  </a:cubicBezTo>
                  <a:cubicBezTo>
                    <a:pt x="40881" y="29340"/>
                    <a:pt x="40155" y="32724"/>
                    <a:pt x="38850" y="35805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243" name="Forma livre: Forma 2242">
              <a:extLst>
                <a:ext uri="{FF2B5EF4-FFF2-40B4-BE49-F238E27FC236}">
                  <a16:creationId xmlns:a16="http://schemas.microsoft.com/office/drawing/2014/main" id="{50939DA1-5F9E-3507-E4A5-1FB82B7122BA}"/>
                </a:ext>
              </a:extLst>
            </p:cNvPr>
            <p:cNvSpPr/>
            <p:nvPr/>
          </p:nvSpPr>
          <p:spPr>
            <a:xfrm>
              <a:off x="10541881" y="5790273"/>
              <a:ext cx="48855" cy="36179"/>
            </a:xfrm>
            <a:custGeom>
              <a:avLst/>
              <a:gdLst>
                <a:gd name="connsiteX0" fmla="*/ 0 w 48855"/>
                <a:gd name="connsiteY0" fmla="*/ 14259 h 36179"/>
                <a:gd name="connsiteX1" fmla="*/ 23069 w 48855"/>
                <a:gd name="connsiteY1" fmla="*/ 0 h 36179"/>
                <a:gd name="connsiteX2" fmla="*/ 48856 w 48855"/>
                <a:gd name="connsiteY2" fmla="*/ 25775 h 36179"/>
                <a:gd name="connsiteX3" fmla="*/ 46681 w 48855"/>
                <a:gd name="connsiteY3" fmla="*/ 36180 h 361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8855" h="36179">
                  <a:moveTo>
                    <a:pt x="0" y="14259"/>
                  </a:moveTo>
                  <a:cubicBezTo>
                    <a:pt x="4229" y="5800"/>
                    <a:pt x="12966" y="0"/>
                    <a:pt x="23069" y="0"/>
                  </a:cubicBezTo>
                  <a:cubicBezTo>
                    <a:pt x="37316" y="0"/>
                    <a:pt x="48856" y="11540"/>
                    <a:pt x="48856" y="25775"/>
                  </a:cubicBezTo>
                  <a:cubicBezTo>
                    <a:pt x="48856" y="29473"/>
                    <a:pt x="48083" y="33002"/>
                    <a:pt x="46681" y="36180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244" name="Forma livre: Forma 2243">
              <a:extLst>
                <a:ext uri="{FF2B5EF4-FFF2-40B4-BE49-F238E27FC236}">
                  <a16:creationId xmlns:a16="http://schemas.microsoft.com/office/drawing/2014/main" id="{F86CCC72-30CA-DCCF-0FA5-70EDAC54C423}"/>
                </a:ext>
              </a:extLst>
            </p:cNvPr>
            <p:cNvSpPr/>
            <p:nvPr/>
          </p:nvSpPr>
          <p:spPr>
            <a:xfrm>
              <a:off x="10745872" y="5790273"/>
              <a:ext cx="48590" cy="35877"/>
            </a:xfrm>
            <a:custGeom>
              <a:avLst/>
              <a:gdLst>
                <a:gd name="connsiteX0" fmla="*/ 0 w 48590"/>
                <a:gd name="connsiteY0" fmla="*/ 13728 h 35877"/>
                <a:gd name="connsiteX1" fmla="*/ 22803 w 48590"/>
                <a:gd name="connsiteY1" fmla="*/ 0 h 35877"/>
                <a:gd name="connsiteX2" fmla="*/ 48590 w 48590"/>
                <a:gd name="connsiteY2" fmla="*/ 25775 h 35877"/>
                <a:gd name="connsiteX3" fmla="*/ 46536 w 48590"/>
                <a:gd name="connsiteY3" fmla="*/ 35878 h 358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8590" h="35877">
                  <a:moveTo>
                    <a:pt x="0" y="13728"/>
                  </a:moveTo>
                  <a:cubicBezTo>
                    <a:pt x="4326" y="5559"/>
                    <a:pt x="12918" y="0"/>
                    <a:pt x="22803" y="0"/>
                  </a:cubicBezTo>
                  <a:cubicBezTo>
                    <a:pt x="37050" y="0"/>
                    <a:pt x="48590" y="11540"/>
                    <a:pt x="48590" y="25775"/>
                  </a:cubicBezTo>
                  <a:cubicBezTo>
                    <a:pt x="48590" y="29364"/>
                    <a:pt x="47853" y="32772"/>
                    <a:pt x="46536" y="35878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2245" name="Gráfico 19">
              <a:extLst>
                <a:ext uri="{FF2B5EF4-FFF2-40B4-BE49-F238E27FC236}">
                  <a16:creationId xmlns:a16="http://schemas.microsoft.com/office/drawing/2014/main" id="{F9E74866-FCA5-2CC6-8C55-DA0EEB92B588}"/>
                </a:ext>
              </a:extLst>
            </p:cNvPr>
            <p:cNvGrpSpPr/>
            <p:nvPr/>
          </p:nvGrpSpPr>
          <p:grpSpPr>
            <a:xfrm>
              <a:off x="10512328" y="5826815"/>
              <a:ext cx="313121" cy="165189"/>
              <a:chOff x="10512328" y="5826815"/>
              <a:chExt cx="313121" cy="165189"/>
            </a:xfrm>
            <a:noFill/>
          </p:grpSpPr>
          <p:sp>
            <p:nvSpPr>
              <p:cNvPr id="2246" name="Forma livre: Forma 2245">
                <a:extLst>
                  <a:ext uri="{FF2B5EF4-FFF2-40B4-BE49-F238E27FC236}">
                    <a16:creationId xmlns:a16="http://schemas.microsoft.com/office/drawing/2014/main" id="{BE0CA19B-B366-F597-8649-8E50154A9B17}"/>
                  </a:ext>
                </a:extLst>
              </p:cNvPr>
              <p:cNvSpPr/>
              <p:nvPr/>
            </p:nvSpPr>
            <p:spPr>
              <a:xfrm>
                <a:off x="10512328" y="5826815"/>
                <a:ext cx="313121" cy="132912"/>
              </a:xfrm>
              <a:custGeom>
                <a:avLst/>
                <a:gdLst>
                  <a:gd name="connsiteX0" fmla="*/ 68028 w 313121"/>
                  <a:gd name="connsiteY0" fmla="*/ 132913 h 132912"/>
                  <a:gd name="connsiteX1" fmla="*/ 43 w 313121"/>
                  <a:gd name="connsiteY1" fmla="*/ 0 h 132912"/>
                  <a:gd name="connsiteX2" fmla="*/ 313082 w 313121"/>
                  <a:gd name="connsiteY2" fmla="*/ 0 h 132912"/>
                  <a:gd name="connsiteX3" fmla="*/ 245096 w 313121"/>
                  <a:gd name="connsiteY3" fmla="*/ 132913 h 1329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13121" h="132912">
                    <a:moveTo>
                      <a:pt x="68028" y="132913"/>
                    </a:moveTo>
                    <a:cubicBezTo>
                      <a:pt x="-3957" y="88226"/>
                      <a:pt x="31" y="0"/>
                      <a:pt x="43" y="0"/>
                    </a:cubicBezTo>
                    <a:lnTo>
                      <a:pt x="313082" y="0"/>
                    </a:lnTo>
                    <a:cubicBezTo>
                      <a:pt x="313082" y="0"/>
                      <a:pt x="317081" y="88226"/>
                      <a:pt x="245096" y="132913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247" name="Forma livre: Forma 2246">
                <a:extLst>
                  <a:ext uri="{FF2B5EF4-FFF2-40B4-BE49-F238E27FC236}">
                    <a16:creationId xmlns:a16="http://schemas.microsoft.com/office/drawing/2014/main" id="{0270F53F-0CFA-CCB7-4640-F009165A7BB9}"/>
                  </a:ext>
                </a:extLst>
              </p:cNvPr>
              <p:cNvSpPr/>
              <p:nvPr/>
            </p:nvSpPr>
            <p:spPr>
              <a:xfrm>
                <a:off x="10580332" y="5959825"/>
                <a:ext cx="177116" cy="32179"/>
              </a:xfrm>
              <a:custGeom>
                <a:avLst/>
                <a:gdLst>
                  <a:gd name="connsiteX0" fmla="*/ 0 w 177116"/>
                  <a:gd name="connsiteY0" fmla="*/ 0 h 32179"/>
                  <a:gd name="connsiteX1" fmla="*/ 0 w 177116"/>
                  <a:gd name="connsiteY1" fmla="*/ 32180 h 32179"/>
                  <a:gd name="connsiteX2" fmla="*/ 71103 w 177116"/>
                  <a:gd name="connsiteY2" fmla="*/ 32180 h 32179"/>
                  <a:gd name="connsiteX3" fmla="*/ 110376 w 177116"/>
                  <a:gd name="connsiteY3" fmla="*/ 32180 h 32179"/>
                  <a:gd name="connsiteX4" fmla="*/ 177117 w 177116"/>
                  <a:gd name="connsiteY4" fmla="*/ 32180 h 32179"/>
                  <a:gd name="connsiteX5" fmla="*/ 177117 w 177116"/>
                  <a:gd name="connsiteY5" fmla="*/ 0 h 321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77116" h="32179">
                    <a:moveTo>
                      <a:pt x="0" y="0"/>
                    </a:moveTo>
                    <a:lnTo>
                      <a:pt x="0" y="32180"/>
                    </a:lnTo>
                    <a:lnTo>
                      <a:pt x="71103" y="32180"/>
                    </a:lnTo>
                    <a:lnTo>
                      <a:pt x="110376" y="32180"/>
                    </a:lnTo>
                    <a:lnTo>
                      <a:pt x="177117" y="32180"/>
                    </a:lnTo>
                    <a:lnTo>
                      <a:pt x="177117" y="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2248" name="Forma livre: Forma 2247">
              <a:extLst>
                <a:ext uri="{FF2B5EF4-FFF2-40B4-BE49-F238E27FC236}">
                  <a16:creationId xmlns:a16="http://schemas.microsoft.com/office/drawing/2014/main" id="{3F67D10C-9906-816C-71D8-0D4EA830150E}"/>
                </a:ext>
              </a:extLst>
            </p:cNvPr>
            <p:cNvSpPr/>
            <p:nvPr/>
          </p:nvSpPr>
          <p:spPr>
            <a:xfrm>
              <a:off x="10775575" y="5731459"/>
              <a:ext cx="60722" cy="59296"/>
            </a:xfrm>
            <a:custGeom>
              <a:avLst/>
              <a:gdLst>
                <a:gd name="connsiteX0" fmla="*/ 0 w 60722"/>
                <a:gd name="connsiteY0" fmla="*/ 59297 h 59296"/>
                <a:gd name="connsiteX1" fmla="*/ 60723 w 60722"/>
                <a:gd name="connsiteY1" fmla="*/ 0 h 592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722" h="59296">
                  <a:moveTo>
                    <a:pt x="0" y="59297"/>
                  </a:moveTo>
                  <a:lnTo>
                    <a:pt x="60723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249" name="Forma livre: Forma 2248">
              <a:extLst>
                <a:ext uri="{FF2B5EF4-FFF2-40B4-BE49-F238E27FC236}">
                  <a16:creationId xmlns:a16="http://schemas.microsoft.com/office/drawing/2014/main" id="{281B7800-5182-5CEA-CFCF-626ADC609A26}"/>
                </a:ext>
              </a:extLst>
            </p:cNvPr>
            <p:cNvSpPr/>
            <p:nvPr/>
          </p:nvSpPr>
          <p:spPr>
            <a:xfrm>
              <a:off x="10549349" y="5863696"/>
              <a:ext cx="25521" cy="42113"/>
            </a:xfrm>
            <a:custGeom>
              <a:avLst/>
              <a:gdLst>
                <a:gd name="connsiteX0" fmla="*/ 0 w 25521"/>
                <a:gd name="connsiteY0" fmla="*/ 0 h 42113"/>
                <a:gd name="connsiteX1" fmla="*/ 25522 w 25521"/>
                <a:gd name="connsiteY1" fmla="*/ 42113 h 421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5521" h="42113">
                  <a:moveTo>
                    <a:pt x="0" y="0"/>
                  </a:moveTo>
                  <a:cubicBezTo>
                    <a:pt x="0" y="0"/>
                    <a:pt x="5100" y="22972"/>
                    <a:pt x="25522" y="42113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2250" name="Gráfico 19">
            <a:extLst>
              <a:ext uri="{FF2B5EF4-FFF2-40B4-BE49-F238E27FC236}">
                <a16:creationId xmlns:a16="http://schemas.microsoft.com/office/drawing/2014/main" id="{E2654CC1-32A1-FD5F-DF94-3DD6C98AC255}"/>
              </a:ext>
            </a:extLst>
          </p:cNvPr>
          <p:cNvGrpSpPr/>
          <p:nvPr/>
        </p:nvGrpSpPr>
        <p:grpSpPr>
          <a:xfrm>
            <a:off x="9925828" y="5713877"/>
            <a:ext cx="239843" cy="295697"/>
            <a:chOff x="9925828" y="5713877"/>
            <a:chExt cx="239843" cy="295697"/>
          </a:xfrm>
        </p:grpSpPr>
        <p:sp>
          <p:nvSpPr>
            <p:cNvPr id="2251" name="Forma livre: Forma 2250">
              <a:extLst>
                <a:ext uri="{FF2B5EF4-FFF2-40B4-BE49-F238E27FC236}">
                  <a16:creationId xmlns:a16="http://schemas.microsoft.com/office/drawing/2014/main" id="{4BFC960C-F154-3877-F24B-1AF2475C9D3E}"/>
                </a:ext>
              </a:extLst>
            </p:cNvPr>
            <p:cNvSpPr/>
            <p:nvPr/>
          </p:nvSpPr>
          <p:spPr>
            <a:xfrm>
              <a:off x="9925828" y="5747362"/>
              <a:ext cx="239843" cy="262212"/>
            </a:xfrm>
            <a:custGeom>
              <a:avLst/>
              <a:gdLst>
                <a:gd name="connsiteX0" fmla="*/ 193121 w 239843"/>
                <a:gd name="connsiteY0" fmla="*/ 0 h 262212"/>
                <a:gd name="connsiteX1" fmla="*/ 193121 w 239843"/>
                <a:gd name="connsiteY1" fmla="*/ 24797 h 262212"/>
                <a:gd name="connsiteX2" fmla="*/ 239838 w 239843"/>
                <a:gd name="connsiteY2" fmla="*/ 90462 h 262212"/>
                <a:gd name="connsiteX3" fmla="*/ 239838 w 239843"/>
                <a:gd name="connsiteY3" fmla="*/ 230601 h 262212"/>
                <a:gd name="connsiteX4" fmla="*/ 204468 w 239843"/>
                <a:gd name="connsiteY4" fmla="*/ 262213 h 262212"/>
                <a:gd name="connsiteX5" fmla="*/ 35363 w 239843"/>
                <a:gd name="connsiteY5" fmla="*/ 262213 h 262212"/>
                <a:gd name="connsiteX6" fmla="*/ 5 w 239843"/>
                <a:gd name="connsiteY6" fmla="*/ 230601 h 262212"/>
                <a:gd name="connsiteX7" fmla="*/ 5 w 239843"/>
                <a:gd name="connsiteY7" fmla="*/ 90462 h 262212"/>
                <a:gd name="connsiteX8" fmla="*/ 39714 w 239843"/>
                <a:gd name="connsiteY8" fmla="*/ 28676 h 2622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39843" h="262212">
                  <a:moveTo>
                    <a:pt x="193121" y="0"/>
                  </a:moveTo>
                  <a:lnTo>
                    <a:pt x="193121" y="24797"/>
                  </a:lnTo>
                  <a:cubicBezTo>
                    <a:pt x="193121" y="24797"/>
                    <a:pt x="239838" y="46270"/>
                    <a:pt x="239838" y="90462"/>
                  </a:cubicBezTo>
                  <a:lnTo>
                    <a:pt x="239838" y="230601"/>
                  </a:lnTo>
                  <a:cubicBezTo>
                    <a:pt x="239838" y="230601"/>
                    <a:pt x="241095" y="262213"/>
                    <a:pt x="204468" y="262213"/>
                  </a:cubicBezTo>
                  <a:lnTo>
                    <a:pt x="35363" y="262213"/>
                  </a:lnTo>
                  <a:cubicBezTo>
                    <a:pt x="-1252" y="262213"/>
                    <a:pt x="5" y="230601"/>
                    <a:pt x="5" y="230601"/>
                  </a:cubicBezTo>
                  <a:lnTo>
                    <a:pt x="5" y="90462"/>
                  </a:lnTo>
                  <a:cubicBezTo>
                    <a:pt x="5" y="57085"/>
                    <a:pt x="26675" y="36663"/>
                    <a:pt x="39714" y="28676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252" name="Forma livre: Forma 2251">
              <a:extLst>
                <a:ext uri="{FF2B5EF4-FFF2-40B4-BE49-F238E27FC236}">
                  <a16:creationId xmlns:a16="http://schemas.microsoft.com/office/drawing/2014/main" id="{599EBC2A-31E0-BC54-969B-44A04BF5AC0C}"/>
                </a:ext>
              </a:extLst>
            </p:cNvPr>
            <p:cNvSpPr/>
            <p:nvPr/>
          </p:nvSpPr>
          <p:spPr>
            <a:xfrm>
              <a:off x="9987088" y="5822682"/>
              <a:ext cx="177406" cy="145432"/>
            </a:xfrm>
            <a:custGeom>
              <a:avLst/>
              <a:gdLst>
                <a:gd name="connsiteX0" fmla="*/ 175232 w 177406"/>
                <a:gd name="connsiteY0" fmla="*/ 0 h 145432"/>
                <a:gd name="connsiteX1" fmla="*/ 0 w 177406"/>
                <a:gd name="connsiteY1" fmla="*/ 0 h 145432"/>
                <a:gd name="connsiteX2" fmla="*/ 0 w 177406"/>
                <a:gd name="connsiteY2" fmla="*/ 145432 h 145432"/>
                <a:gd name="connsiteX3" fmla="*/ 177407 w 177406"/>
                <a:gd name="connsiteY3" fmla="*/ 145432 h 1454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7406" h="145432">
                  <a:moveTo>
                    <a:pt x="175232" y="0"/>
                  </a:moveTo>
                  <a:lnTo>
                    <a:pt x="0" y="0"/>
                  </a:lnTo>
                  <a:lnTo>
                    <a:pt x="0" y="145432"/>
                  </a:lnTo>
                  <a:lnTo>
                    <a:pt x="177407" y="145432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253" name="Forma livre: Forma 2252">
              <a:extLst>
                <a:ext uri="{FF2B5EF4-FFF2-40B4-BE49-F238E27FC236}">
                  <a16:creationId xmlns:a16="http://schemas.microsoft.com/office/drawing/2014/main" id="{7ECC2768-8354-8E1E-9F3C-152166FBD9CF}"/>
                </a:ext>
              </a:extLst>
            </p:cNvPr>
            <p:cNvSpPr/>
            <p:nvPr/>
          </p:nvSpPr>
          <p:spPr>
            <a:xfrm>
              <a:off x="9963789" y="5713877"/>
              <a:ext cx="161854" cy="32469"/>
            </a:xfrm>
            <a:custGeom>
              <a:avLst/>
              <a:gdLst>
                <a:gd name="connsiteX0" fmla="*/ 60904 w 161854"/>
                <a:gd name="connsiteY0" fmla="*/ 32470 h 32469"/>
                <a:gd name="connsiteX1" fmla="*/ 161854 w 161854"/>
                <a:gd name="connsiteY1" fmla="*/ 32470 h 32469"/>
                <a:gd name="connsiteX2" fmla="*/ 161854 w 161854"/>
                <a:gd name="connsiteY2" fmla="*/ 13776 h 32469"/>
                <a:gd name="connsiteX3" fmla="*/ 148091 w 161854"/>
                <a:gd name="connsiteY3" fmla="*/ 0 h 32469"/>
                <a:gd name="connsiteX4" fmla="*/ 13788 w 161854"/>
                <a:gd name="connsiteY4" fmla="*/ 0 h 32469"/>
                <a:gd name="connsiteX5" fmla="*/ 0 w 161854"/>
                <a:gd name="connsiteY5" fmla="*/ 13776 h 32469"/>
                <a:gd name="connsiteX6" fmla="*/ 0 w 161854"/>
                <a:gd name="connsiteY6" fmla="*/ 32470 h 32469"/>
                <a:gd name="connsiteX7" fmla="*/ 34790 w 161854"/>
                <a:gd name="connsiteY7" fmla="*/ 32470 h 324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61854" h="32469">
                  <a:moveTo>
                    <a:pt x="60904" y="32470"/>
                  </a:moveTo>
                  <a:lnTo>
                    <a:pt x="161854" y="32470"/>
                  </a:lnTo>
                  <a:lnTo>
                    <a:pt x="161854" y="13776"/>
                  </a:lnTo>
                  <a:cubicBezTo>
                    <a:pt x="161854" y="6199"/>
                    <a:pt x="155655" y="0"/>
                    <a:pt x="148091" y="0"/>
                  </a:cubicBezTo>
                  <a:lnTo>
                    <a:pt x="13788" y="0"/>
                  </a:lnTo>
                  <a:cubicBezTo>
                    <a:pt x="6211" y="0"/>
                    <a:pt x="0" y="6187"/>
                    <a:pt x="0" y="13776"/>
                  </a:cubicBezTo>
                  <a:lnTo>
                    <a:pt x="0" y="32470"/>
                  </a:lnTo>
                  <a:lnTo>
                    <a:pt x="34790" y="3247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2254" name="Gráfico 19">
              <a:extLst>
                <a:ext uri="{FF2B5EF4-FFF2-40B4-BE49-F238E27FC236}">
                  <a16:creationId xmlns:a16="http://schemas.microsoft.com/office/drawing/2014/main" id="{B1FD7394-1BD0-ABAB-76E0-368123965EDC}"/>
                </a:ext>
              </a:extLst>
            </p:cNvPr>
            <p:cNvGrpSpPr/>
            <p:nvPr/>
          </p:nvGrpSpPr>
          <p:grpSpPr>
            <a:xfrm>
              <a:off x="10017491" y="5847030"/>
              <a:ext cx="116575" cy="94838"/>
              <a:chOff x="10017491" y="5847030"/>
              <a:chExt cx="116575" cy="94838"/>
            </a:xfrm>
          </p:grpSpPr>
          <p:sp>
            <p:nvSpPr>
              <p:cNvPr id="2255" name="Forma livre: Forma 2254">
                <a:extLst>
                  <a:ext uri="{FF2B5EF4-FFF2-40B4-BE49-F238E27FC236}">
                    <a16:creationId xmlns:a16="http://schemas.microsoft.com/office/drawing/2014/main" id="{3D9E660D-6A74-902F-71F4-B06E5D415A98}"/>
                  </a:ext>
                </a:extLst>
              </p:cNvPr>
              <p:cNvSpPr/>
              <p:nvPr/>
            </p:nvSpPr>
            <p:spPr>
              <a:xfrm>
                <a:off x="10032935" y="5888045"/>
                <a:ext cx="101131" cy="53822"/>
              </a:xfrm>
              <a:custGeom>
                <a:avLst/>
                <a:gdLst>
                  <a:gd name="connsiteX0" fmla="*/ 101132 w 101131"/>
                  <a:gd name="connsiteY0" fmla="*/ 26911 h 53822"/>
                  <a:gd name="connsiteX1" fmla="*/ 72323 w 101131"/>
                  <a:gd name="connsiteY1" fmla="*/ 53823 h 53822"/>
                  <a:gd name="connsiteX2" fmla="*/ 28808 w 101131"/>
                  <a:gd name="connsiteY2" fmla="*/ 53823 h 53822"/>
                  <a:gd name="connsiteX3" fmla="*/ 0 w 101131"/>
                  <a:gd name="connsiteY3" fmla="*/ 26911 h 53822"/>
                  <a:gd name="connsiteX4" fmla="*/ 28808 w 101131"/>
                  <a:gd name="connsiteY4" fmla="*/ 0 h 53822"/>
                  <a:gd name="connsiteX5" fmla="*/ 72323 w 101131"/>
                  <a:gd name="connsiteY5" fmla="*/ 0 h 53822"/>
                  <a:gd name="connsiteX6" fmla="*/ 101132 w 101131"/>
                  <a:gd name="connsiteY6" fmla="*/ 26911 h 538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01131" h="53822">
                    <a:moveTo>
                      <a:pt x="101132" y="26911"/>
                    </a:moveTo>
                    <a:cubicBezTo>
                      <a:pt x="101132" y="41714"/>
                      <a:pt x="88166" y="53823"/>
                      <a:pt x="72323" y="53823"/>
                    </a:cubicBezTo>
                    <a:lnTo>
                      <a:pt x="28808" y="53823"/>
                    </a:lnTo>
                    <a:cubicBezTo>
                      <a:pt x="12966" y="53823"/>
                      <a:pt x="0" y="41714"/>
                      <a:pt x="0" y="26911"/>
                    </a:cubicBezTo>
                    <a:cubicBezTo>
                      <a:pt x="0" y="12108"/>
                      <a:pt x="12966" y="0"/>
                      <a:pt x="28808" y="0"/>
                    </a:cubicBezTo>
                    <a:lnTo>
                      <a:pt x="72323" y="0"/>
                    </a:lnTo>
                    <a:cubicBezTo>
                      <a:pt x="88178" y="0"/>
                      <a:pt x="101132" y="12108"/>
                      <a:pt x="101132" y="26911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256" name="Forma livre: Forma 2255">
                <a:extLst>
                  <a:ext uri="{FF2B5EF4-FFF2-40B4-BE49-F238E27FC236}">
                    <a16:creationId xmlns:a16="http://schemas.microsoft.com/office/drawing/2014/main" id="{E20DE8B8-00FA-CBAA-3969-6BFD8ABF8A02}"/>
                  </a:ext>
                </a:extLst>
              </p:cNvPr>
              <p:cNvSpPr/>
              <p:nvPr/>
            </p:nvSpPr>
            <p:spPr>
              <a:xfrm>
                <a:off x="10058045" y="5888891"/>
                <a:ext cx="1208" cy="52324"/>
              </a:xfrm>
              <a:custGeom>
                <a:avLst/>
                <a:gdLst>
                  <a:gd name="connsiteX0" fmla="*/ 0 w 1208"/>
                  <a:gd name="connsiteY0" fmla="*/ 0 h 52324"/>
                  <a:gd name="connsiteX1" fmla="*/ 0 w 1208"/>
                  <a:gd name="connsiteY1" fmla="*/ 52324 h 523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08" h="52324">
                    <a:moveTo>
                      <a:pt x="0" y="0"/>
                    </a:moveTo>
                    <a:lnTo>
                      <a:pt x="0" y="52324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257" name="Forma livre: Forma 2256">
                <a:extLst>
                  <a:ext uri="{FF2B5EF4-FFF2-40B4-BE49-F238E27FC236}">
                    <a16:creationId xmlns:a16="http://schemas.microsoft.com/office/drawing/2014/main" id="{3A3BFE26-31BD-611F-96FE-4B6F000C13D3}"/>
                  </a:ext>
                </a:extLst>
              </p:cNvPr>
              <p:cNvSpPr/>
              <p:nvPr/>
            </p:nvSpPr>
            <p:spPr>
              <a:xfrm>
                <a:off x="10082939" y="5888529"/>
                <a:ext cx="1208" cy="52686"/>
              </a:xfrm>
              <a:custGeom>
                <a:avLst/>
                <a:gdLst>
                  <a:gd name="connsiteX0" fmla="*/ 0 w 1208"/>
                  <a:gd name="connsiteY0" fmla="*/ 0 h 52686"/>
                  <a:gd name="connsiteX1" fmla="*/ 0 w 1208"/>
                  <a:gd name="connsiteY1" fmla="*/ 52687 h 526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08" h="52686">
                    <a:moveTo>
                      <a:pt x="0" y="0"/>
                    </a:moveTo>
                    <a:lnTo>
                      <a:pt x="0" y="52687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258" name="Forma livre: Forma 2257">
                <a:extLst>
                  <a:ext uri="{FF2B5EF4-FFF2-40B4-BE49-F238E27FC236}">
                    <a16:creationId xmlns:a16="http://schemas.microsoft.com/office/drawing/2014/main" id="{DA4AF4F9-4A23-B61B-BBF9-263540135751}"/>
                  </a:ext>
                </a:extLst>
              </p:cNvPr>
              <p:cNvSpPr/>
              <p:nvPr/>
            </p:nvSpPr>
            <p:spPr>
              <a:xfrm>
                <a:off x="10017491" y="5914364"/>
                <a:ext cx="14851" cy="1208"/>
              </a:xfrm>
              <a:custGeom>
                <a:avLst/>
                <a:gdLst>
                  <a:gd name="connsiteX0" fmla="*/ 14851 w 14851"/>
                  <a:gd name="connsiteY0" fmla="*/ 0 h 1208"/>
                  <a:gd name="connsiteX1" fmla="*/ 0 w 14851"/>
                  <a:gd name="connsiteY1" fmla="*/ 0 h 12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4851" h="1208">
                    <a:moveTo>
                      <a:pt x="14851" y="0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259" name="Forma livre: Forma 2258">
                <a:extLst>
                  <a:ext uri="{FF2B5EF4-FFF2-40B4-BE49-F238E27FC236}">
                    <a16:creationId xmlns:a16="http://schemas.microsoft.com/office/drawing/2014/main" id="{817F4681-3E85-A694-EECF-12BCD541EEF7}"/>
                  </a:ext>
                </a:extLst>
              </p:cNvPr>
              <p:cNvSpPr/>
              <p:nvPr/>
            </p:nvSpPr>
            <p:spPr>
              <a:xfrm>
                <a:off x="10038223" y="5847030"/>
                <a:ext cx="45404" cy="39166"/>
              </a:xfrm>
              <a:custGeom>
                <a:avLst/>
                <a:gdLst>
                  <a:gd name="connsiteX0" fmla="*/ 26868 w 45404"/>
                  <a:gd name="connsiteY0" fmla="*/ 3543 h 39166"/>
                  <a:gd name="connsiteX1" fmla="*/ 45405 w 45404"/>
                  <a:gd name="connsiteY1" fmla="*/ 39167 h 39166"/>
                  <a:gd name="connsiteX2" fmla="*/ 6373 w 45404"/>
                  <a:gd name="connsiteY2" fmla="*/ 29693 h 39166"/>
                  <a:gd name="connsiteX3" fmla="*/ 3533 w 45404"/>
                  <a:gd name="connsiteY3" fmla="*/ 6370 h 39166"/>
                  <a:gd name="connsiteX4" fmla="*/ 26855 w 45404"/>
                  <a:gd name="connsiteY4" fmla="*/ 3543 h 391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5404" h="39166">
                    <a:moveTo>
                      <a:pt x="26868" y="3543"/>
                    </a:moveTo>
                    <a:cubicBezTo>
                      <a:pt x="34094" y="9198"/>
                      <a:pt x="45405" y="39167"/>
                      <a:pt x="45405" y="39167"/>
                    </a:cubicBezTo>
                    <a:cubicBezTo>
                      <a:pt x="45405" y="39167"/>
                      <a:pt x="13599" y="35360"/>
                      <a:pt x="6373" y="29693"/>
                    </a:cubicBezTo>
                    <a:cubicBezTo>
                      <a:pt x="-853" y="24037"/>
                      <a:pt x="-2122" y="13597"/>
                      <a:pt x="3533" y="6370"/>
                    </a:cubicBezTo>
                    <a:cubicBezTo>
                      <a:pt x="9188" y="-856"/>
                      <a:pt x="19629" y="-2125"/>
                      <a:pt x="26855" y="3543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260" name="Forma livre: Forma 2259">
                <a:extLst>
                  <a:ext uri="{FF2B5EF4-FFF2-40B4-BE49-F238E27FC236}">
                    <a16:creationId xmlns:a16="http://schemas.microsoft.com/office/drawing/2014/main" id="{7781E22C-035A-4841-238F-185EBF414C21}"/>
                  </a:ext>
                </a:extLst>
              </p:cNvPr>
              <p:cNvSpPr/>
              <p:nvPr/>
            </p:nvSpPr>
            <p:spPr>
              <a:xfrm>
                <a:off x="10106805" y="5911488"/>
                <a:ext cx="4833" cy="4833"/>
              </a:xfrm>
              <a:custGeom>
                <a:avLst/>
                <a:gdLst>
                  <a:gd name="connsiteX0" fmla="*/ 4834 w 4833"/>
                  <a:gd name="connsiteY0" fmla="*/ 2417 h 4833"/>
                  <a:gd name="connsiteX1" fmla="*/ 2417 w 4833"/>
                  <a:gd name="connsiteY1" fmla="*/ 4834 h 4833"/>
                  <a:gd name="connsiteX2" fmla="*/ 0 w 4833"/>
                  <a:gd name="connsiteY2" fmla="*/ 2417 h 4833"/>
                  <a:gd name="connsiteX3" fmla="*/ 2417 w 4833"/>
                  <a:gd name="connsiteY3" fmla="*/ 0 h 4833"/>
                  <a:gd name="connsiteX4" fmla="*/ 4834 w 4833"/>
                  <a:gd name="connsiteY4" fmla="*/ 2417 h 48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833" h="4833">
                    <a:moveTo>
                      <a:pt x="4834" y="2417"/>
                    </a:moveTo>
                    <a:cubicBezTo>
                      <a:pt x="4834" y="3752"/>
                      <a:pt x="3752" y="4834"/>
                      <a:pt x="2417" y="4834"/>
                    </a:cubicBezTo>
                    <a:cubicBezTo>
                      <a:pt x="1082" y="4834"/>
                      <a:pt x="0" y="3752"/>
                      <a:pt x="0" y="2417"/>
                    </a:cubicBezTo>
                    <a:cubicBezTo>
                      <a:pt x="0" y="1082"/>
                      <a:pt x="1082" y="0"/>
                      <a:pt x="2417" y="0"/>
                    </a:cubicBezTo>
                    <a:cubicBezTo>
                      <a:pt x="3752" y="0"/>
                      <a:pt x="4834" y="1082"/>
                      <a:pt x="4834" y="2417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2261" name="Forma livre: Forma 2260">
              <a:extLst>
                <a:ext uri="{FF2B5EF4-FFF2-40B4-BE49-F238E27FC236}">
                  <a16:creationId xmlns:a16="http://schemas.microsoft.com/office/drawing/2014/main" id="{6591304E-DE2A-BD84-83B2-E19E6327EF7A}"/>
                </a:ext>
              </a:extLst>
            </p:cNvPr>
            <p:cNvSpPr/>
            <p:nvPr/>
          </p:nvSpPr>
          <p:spPr>
            <a:xfrm>
              <a:off x="9949566" y="5848832"/>
              <a:ext cx="36469" cy="1208"/>
            </a:xfrm>
            <a:custGeom>
              <a:avLst/>
              <a:gdLst>
                <a:gd name="connsiteX0" fmla="*/ 0 w 36469"/>
                <a:gd name="connsiteY0" fmla="*/ 0 h 1208"/>
                <a:gd name="connsiteX1" fmla="*/ 36470 w 36469"/>
                <a:gd name="connsiteY1" fmla="*/ 0 h 12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6469" h="1208">
                  <a:moveTo>
                    <a:pt x="0" y="0"/>
                  </a:moveTo>
                  <a:lnTo>
                    <a:pt x="3647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2262" name="Gráfico 19">
            <a:extLst>
              <a:ext uri="{FF2B5EF4-FFF2-40B4-BE49-F238E27FC236}">
                <a16:creationId xmlns:a16="http://schemas.microsoft.com/office/drawing/2014/main" id="{A91B40B9-8822-A495-752D-B5A19468D79F}"/>
              </a:ext>
            </a:extLst>
          </p:cNvPr>
          <p:cNvGrpSpPr/>
          <p:nvPr/>
        </p:nvGrpSpPr>
        <p:grpSpPr>
          <a:xfrm>
            <a:off x="11148188" y="5734550"/>
            <a:ext cx="309606" cy="254372"/>
            <a:chOff x="11148188" y="5734550"/>
            <a:chExt cx="309606" cy="254372"/>
          </a:xfrm>
          <a:noFill/>
        </p:grpSpPr>
        <p:sp>
          <p:nvSpPr>
            <p:cNvPr id="2263" name="Forma livre: Forma 2262">
              <a:extLst>
                <a:ext uri="{FF2B5EF4-FFF2-40B4-BE49-F238E27FC236}">
                  <a16:creationId xmlns:a16="http://schemas.microsoft.com/office/drawing/2014/main" id="{492D2961-D8B4-1CD4-8CA6-14319C3F7FEE}"/>
                </a:ext>
              </a:extLst>
            </p:cNvPr>
            <p:cNvSpPr/>
            <p:nvPr/>
          </p:nvSpPr>
          <p:spPr>
            <a:xfrm>
              <a:off x="11250166" y="5734550"/>
              <a:ext cx="171828" cy="133628"/>
            </a:xfrm>
            <a:custGeom>
              <a:avLst/>
              <a:gdLst>
                <a:gd name="connsiteX0" fmla="*/ 0 w 171828"/>
                <a:gd name="connsiteY0" fmla="*/ 84350 h 133628"/>
                <a:gd name="connsiteX1" fmla="*/ 31394 w 171828"/>
                <a:gd name="connsiteY1" fmla="*/ 31989 h 133628"/>
                <a:gd name="connsiteX2" fmla="*/ 132768 w 171828"/>
                <a:gd name="connsiteY2" fmla="*/ 7024 h 133628"/>
                <a:gd name="connsiteX3" fmla="*/ 135269 w 171828"/>
                <a:gd name="connsiteY3" fmla="*/ 7978 h 133628"/>
                <a:gd name="connsiteX4" fmla="*/ 160235 w 171828"/>
                <a:gd name="connsiteY4" fmla="*/ 110270 h 133628"/>
                <a:gd name="connsiteX5" fmla="*/ 146036 w 171828"/>
                <a:gd name="connsiteY5" fmla="*/ 133629 h 1336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71828" h="133628">
                  <a:moveTo>
                    <a:pt x="0" y="84350"/>
                  </a:moveTo>
                  <a:lnTo>
                    <a:pt x="31394" y="31989"/>
                  </a:lnTo>
                  <a:cubicBezTo>
                    <a:pt x="52312" y="148"/>
                    <a:pt x="89205" y="-7405"/>
                    <a:pt x="132768" y="7024"/>
                  </a:cubicBezTo>
                  <a:lnTo>
                    <a:pt x="135269" y="7978"/>
                  </a:lnTo>
                  <a:cubicBezTo>
                    <a:pt x="174784" y="21670"/>
                    <a:pt x="180875" y="76314"/>
                    <a:pt x="160235" y="110270"/>
                  </a:cubicBezTo>
                  <a:lnTo>
                    <a:pt x="146036" y="133629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264" name="Forma livre: Forma 2263">
              <a:extLst>
                <a:ext uri="{FF2B5EF4-FFF2-40B4-BE49-F238E27FC236}">
                  <a16:creationId xmlns:a16="http://schemas.microsoft.com/office/drawing/2014/main" id="{1042B3CF-D5CC-54F5-A04C-363ECEAAD899}"/>
                </a:ext>
              </a:extLst>
            </p:cNvPr>
            <p:cNvSpPr/>
            <p:nvPr/>
          </p:nvSpPr>
          <p:spPr>
            <a:xfrm>
              <a:off x="11148188" y="5751712"/>
              <a:ext cx="309606" cy="237210"/>
            </a:xfrm>
            <a:custGeom>
              <a:avLst/>
              <a:gdLst>
                <a:gd name="connsiteX0" fmla="*/ 253754 w 309606"/>
                <a:gd name="connsiteY0" fmla="*/ 0 h 237210"/>
                <a:gd name="connsiteX1" fmla="*/ 309607 w 309606"/>
                <a:gd name="connsiteY1" fmla="*/ 159631 h 237210"/>
                <a:gd name="connsiteX2" fmla="*/ 309607 w 309606"/>
                <a:gd name="connsiteY2" fmla="*/ 237211 h 237210"/>
                <a:gd name="connsiteX3" fmla="*/ 140792 w 309606"/>
                <a:gd name="connsiteY3" fmla="*/ 237211 h 237210"/>
                <a:gd name="connsiteX4" fmla="*/ 108684 w 309606"/>
                <a:gd name="connsiteY4" fmla="*/ 212994 h 237210"/>
                <a:gd name="connsiteX5" fmla="*/ 76565 w 309606"/>
                <a:gd name="connsiteY5" fmla="*/ 237211 h 237210"/>
                <a:gd name="connsiteX6" fmla="*/ 0 w 309606"/>
                <a:gd name="connsiteY6" fmla="*/ 237211 h 237210"/>
                <a:gd name="connsiteX7" fmla="*/ 45557 w 309606"/>
                <a:gd name="connsiteY7" fmla="*/ 161468 h 237210"/>
                <a:gd name="connsiteX8" fmla="*/ 96201 w 309606"/>
                <a:gd name="connsiteY8" fmla="*/ 145976 h 237210"/>
                <a:gd name="connsiteX9" fmla="*/ 88347 w 309606"/>
                <a:gd name="connsiteY9" fmla="*/ 89894 h 2372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09606" h="237210">
                  <a:moveTo>
                    <a:pt x="253754" y="0"/>
                  </a:moveTo>
                  <a:cubicBezTo>
                    <a:pt x="253754" y="0"/>
                    <a:pt x="309607" y="27189"/>
                    <a:pt x="309607" y="159631"/>
                  </a:cubicBezTo>
                  <a:lnTo>
                    <a:pt x="309607" y="237211"/>
                  </a:lnTo>
                  <a:lnTo>
                    <a:pt x="140792" y="237211"/>
                  </a:lnTo>
                  <a:cubicBezTo>
                    <a:pt x="140792" y="223991"/>
                    <a:pt x="126412" y="212994"/>
                    <a:pt x="108684" y="212994"/>
                  </a:cubicBezTo>
                  <a:cubicBezTo>
                    <a:pt x="90957" y="212994"/>
                    <a:pt x="76565" y="223991"/>
                    <a:pt x="76565" y="237211"/>
                  </a:cubicBezTo>
                  <a:lnTo>
                    <a:pt x="0" y="237211"/>
                  </a:lnTo>
                  <a:lnTo>
                    <a:pt x="45557" y="161468"/>
                  </a:lnTo>
                  <a:cubicBezTo>
                    <a:pt x="60686" y="171763"/>
                    <a:pt x="83380" y="164839"/>
                    <a:pt x="96201" y="145976"/>
                  </a:cubicBezTo>
                  <a:cubicBezTo>
                    <a:pt x="109023" y="127113"/>
                    <a:pt x="103488" y="100189"/>
                    <a:pt x="88347" y="89894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265" name="Forma livre: Forma 2264">
              <a:extLst>
                <a:ext uri="{FF2B5EF4-FFF2-40B4-BE49-F238E27FC236}">
                  <a16:creationId xmlns:a16="http://schemas.microsoft.com/office/drawing/2014/main" id="{4DAC644D-F57E-29B1-72CE-EF72D5AA218F}"/>
                </a:ext>
              </a:extLst>
            </p:cNvPr>
            <p:cNvSpPr/>
            <p:nvPr/>
          </p:nvSpPr>
          <p:spPr>
            <a:xfrm>
              <a:off x="11323770" y="5936430"/>
              <a:ext cx="30379" cy="52481"/>
            </a:xfrm>
            <a:custGeom>
              <a:avLst/>
              <a:gdLst>
                <a:gd name="connsiteX0" fmla="*/ 30379 w 30379"/>
                <a:gd name="connsiteY0" fmla="*/ 0 h 52481"/>
                <a:gd name="connsiteX1" fmla="*/ 0 w 30379"/>
                <a:gd name="connsiteY1" fmla="*/ 52481 h 524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0379" h="52481">
                  <a:moveTo>
                    <a:pt x="30379" y="0"/>
                  </a:moveTo>
                  <a:lnTo>
                    <a:pt x="0" y="52481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266" name="Forma livre: Forma 2265">
              <a:extLst>
                <a:ext uri="{FF2B5EF4-FFF2-40B4-BE49-F238E27FC236}">
                  <a16:creationId xmlns:a16="http://schemas.microsoft.com/office/drawing/2014/main" id="{D2305656-92B2-C273-5489-D6E57FFC0925}"/>
                </a:ext>
              </a:extLst>
            </p:cNvPr>
            <p:cNvSpPr/>
            <p:nvPr/>
          </p:nvSpPr>
          <p:spPr>
            <a:xfrm>
              <a:off x="11297632" y="5790442"/>
              <a:ext cx="53508" cy="45375"/>
            </a:xfrm>
            <a:custGeom>
              <a:avLst/>
              <a:gdLst>
                <a:gd name="connsiteX0" fmla="*/ 22682 w 53508"/>
                <a:gd name="connsiteY0" fmla="*/ 254 h 45375"/>
                <a:gd name="connsiteX1" fmla="*/ 26766 w 53508"/>
                <a:gd name="connsiteY1" fmla="*/ 0 h 45375"/>
                <a:gd name="connsiteX2" fmla="*/ 53508 w 53508"/>
                <a:gd name="connsiteY2" fmla="*/ 22682 h 45375"/>
                <a:gd name="connsiteX3" fmla="*/ 26766 w 53508"/>
                <a:gd name="connsiteY3" fmla="*/ 45376 h 45375"/>
                <a:gd name="connsiteX4" fmla="*/ 0 w 53508"/>
                <a:gd name="connsiteY4" fmla="*/ 22682 h 45375"/>
                <a:gd name="connsiteX5" fmla="*/ 3673 w 53508"/>
                <a:gd name="connsiteY5" fmla="*/ 11202 h 453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3508" h="45375">
                  <a:moveTo>
                    <a:pt x="22682" y="254"/>
                  </a:moveTo>
                  <a:cubicBezTo>
                    <a:pt x="24011" y="85"/>
                    <a:pt x="25377" y="0"/>
                    <a:pt x="26766" y="0"/>
                  </a:cubicBezTo>
                  <a:cubicBezTo>
                    <a:pt x="41545" y="0"/>
                    <a:pt x="53508" y="10151"/>
                    <a:pt x="53508" y="22682"/>
                  </a:cubicBezTo>
                  <a:cubicBezTo>
                    <a:pt x="53508" y="35213"/>
                    <a:pt x="41533" y="45376"/>
                    <a:pt x="26766" y="45376"/>
                  </a:cubicBezTo>
                  <a:cubicBezTo>
                    <a:pt x="11999" y="45376"/>
                    <a:pt x="0" y="35225"/>
                    <a:pt x="0" y="22682"/>
                  </a:cubicBezTo>
                  <a:cubicBezTo>
                    <a:pt x="0" y="18501"/>
                    <a:pt x="1341" y="14573"/>
                    <a:pt x="3673" y="11202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267" name="Forma livre: Forma 2266">
              <a:extLst>
                <a:ext uri="{FF2B5EF4-FFF2-40B4-BE49-F238E27FC236}">
                  <a16:creationId xmlns:a16="http://schemas.microsoft.com/office/drawing/2014/main" id="{EF702459-4DBC-C85F-3EA3-4EB3BC0C0EB2}"/>
                </a:ext>
              </a:extLst>
            </p:cNvPr>
            <p:cNvSpPr/>
            <p:nvPr/>
          </p:nvSpPr>
          <p:spPr>
            <a:xfrm>
              <a:off x="11341336" y="5864507"/>
              <a:ext cx="64032" cy="72981"/>
            </a:xfrm>
            <a:custGeom>
              <a:avLst/>
              <a:gdLst>
                <a:gd name="connsiteX0" fmla="*/ 28052 w 64032"/>
                <a:gd name="connsiteY0" fmla="*/ 2536 h 72981"/>
                <a:gd name="connsiteX1" fmla="*/ 52026 w 64032"/>
                <a:gd name="connsiteY1" fmla="*/ 3249 h 72981"/>
                <a:gd name="connsiteX2" fmla="*/ 57005 w 64032"/>
                <a:gd name="connsiteY2" fmla="*/ 51537 h 72981"/>
                <a:gd name="connsiteX3" fmla="*/ 12016 w 64032"/>
                <a:gd name="connsiteY3" fmla="*/ 69723 h 72981"/>
                <a:gd name="connsiteX4" fmla="*/ 7013 w 64032"/>
                <a:gd name="connsiteY4" fmla="*/ 21448 h 729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4032" h="72981">
                  <a:moveTo>
                    <a:pt x="28052" y="2536"/>
                  </a:moveTo>
                  <a:cubicBezTo>
                    <a:pt x="36317" y="-944"/>
                    <a:pt x="44994" y="-969"/>
                    <a:pt x="52026" y="3249"/>
                  </a:cubicBezTo>
                  <a:cubicBezTo>
                    <a:pt x="65827" y="11563"/>
                    <a:pt x="68062" y="33169"/>
                    <a:pt x="57005" y="51537"/>
                  </a:cubicBezTo>
                  <a:cubicBezTo>
                    <a:pt x="45960" y="69893"/>
                    <a:pt x="25828" y="78037"/>
                    <a:pt x="12016" y="69723"/>
                  </a:cubicBezTo>
                  <a:cubicBezTo>
                    <a:pt x="-1784" y="61434"/>
                    <a:pt x="-4032" y="39815"/>
                    <a:pt x="7013" y="21448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268" name="Forma livre: Forma 2267">
              <a:extLst>
                <a:ext uri="{FF2B5EF4-FFF2-40B4-BE49-F238E27FC236}">
                  <a16:creationId xmlns:a16="http://schemas.microsoft.com/office/drawing/2014/main" id="{76F195BF-AD02-C016-8778-7DBD689A9203}"/>
                </a:ext>
              </a:extLst>
            </p:cNvPr>
            <p:cNvSpPr/>
            <p:nvPr/>
          </p:nvSpPr>
          <p:spPr>
            <a:xfrm>
              <a:off x="11268461" y="5905072"/>
              <a:ext cx="37074" cy="31418"/>
            </a:xfrm>
            <a:custGeom>
              <a:avLst/>
              <a:gdLst>
                <a:gd name="connsiteX0" fmla="*/ 37074 w 37074"/>
                <a:gd name="connsiteY0" fmla="*/ 15709 h 31418"/>
                <a:gd name="connsiteX1" fmla="*/ 18537 w 37074"/>
                <a:gd name="connsiteY1" fmla="*/ 31419 h 31418"/>
                <a:gd name="connsiteX2" fmla="*/ 0 w 37074"/>
                <a:gd name="connsiteY2" fmla="*/ 15709 h 31418"/>
                <a:gd name="connsiteX3" fmla="*/ 18537 w 37074"/>
                <a:gd name="connsiteY3" fmla="*/ 0 h 31418"/>
                <a:gd name="connsiteX4" fmla="*/ 37074 w 37074"/>
                <a:gd name="connsiteY4" fmla="*/ 15709 h 314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7074" h="31418">
                  <a:moveTo>
                    <a:pt x="37074" y="15709"/>
                  </a:moveTo>
                  <a:cubicBezTo>
                    <a:pt x="37074" y="24385"/>
                    <a:pt x="28775" y="31419"/>
                    <a:pt x="18537" y="31419"/>
                  </a:cubicBezTo>
                  <a:cubicBezTo>
                    <a:pt x="8299" y="31419"/>
                    <a:pt x="0" y="24385"/>
                    <a:pt x="0" y="15709"/>
                  </a:cubicBezTo>
                  <a:cubicBezTo>
                    <a:pt x="0" y="7033"/>
                    <a:pt x="8299" y="0"/>
                    <a:pt x="18537" y="0"/>
                  </a:cubicBezTo>
                  <a:cubicBezTo>
                    <a:pt x="28775" y="0"/>
                    <a:pt x="37074" y="7033"/>
                    <a:pt x="37074" y="15709"/>
                  </a:cubicBez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</p:spTree>
    <p:extLst>
      <p:ext uri="{BB962C8B-B14F-4D97-AF65-F5344CB8AC3E}">
        <p14:creationId xmlns:p14="http://schemas.microsoft.com/office/powerpoint/2010/main" val="20203247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ítulo 4">
            <a:extLst>
              <a:ext uri="{FF2B5EF4-FFF2-40B4-BE49-F238E27FC236}">
                <a16:creationId xmlns:a16="http://schemas.microsoft.com/office/drawing/2014/main" id="{ABD67D22-CC62-D1AE-163B-2229E2CA71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19200" y="3939777"/>
            <a:ext cx="7315200" cy="853282"/>
          </a:xfrm>
        </p:spPr>
        <p:txBody>
          <a:bodyPr>
            <a:normAutofit fontScale="90000"/>
          </a:bodyPr>
          <a:lstStyle/>
          <a:p>
            <a:r>
              <a:rPr lang="pt-PT" dirty="0"/>
              <a:t>Ejemplo de título de separador</a:t>
            </a:r>
          </a:p>
        </p:txBody>
      </p:sp>
      <p:sp>
        <p:nvSpPr>
          <p:cNvPr id="6" name="Marcador de Posição do Texto 5">
            <a:extLst>
              <a:ext uri="{FF2B5EF4-FFF2-40B4-BE49-F238E27FC236}">
                <a16:creationId xmlns:a16="http://schemas.microsoft.com/office/drawing/2014/main" id="{FAD04651-6A38-2650-60F8-65D58D86206A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1219200" y="4977216"/>
            <a:ext cx="7315200" cy="560515"/>
          </a:xfrm>
        </p:spPr>
        <p:txBody>
          <a:bodyPr/>
          <a:lstStyle/>
          <a:p>
            <a:r>
              <a:rPr lang="pt-PT" dirty="0"/>
              <a:t>Ejemplo de subtítulo</a:t>
            </a:r>
          </a:p>
        </p:txBody>
      </p:sp>
      <p:sp>
        <p:nvSpPr>
          <p:cNvPr id="7" name="Marcador de Posição do Texto 6">
            <a:extLst>
              <a:ext uri="{FF2B5EF4-FFF2-40B4-BE49-F238E27FC236}">
                <a16:creationId xmlns:a16="http://schemas.microsoft.com/office/drawing/2014/main" id="{802FC991-BE19-36A8-C687-0B8F452510D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pt-PT" dirty="0"/>
              <a:t>01</a:t>
            </a:r>
          </a:p>
        </p:txBody>
      </p:sp>
    </p:spTree>
    <p:extLst>
      <p:ext uri="{BB962C8B-B14F-4D97-AF65-F5344CB8AC3E}">
        <p14:creationId xmlns:p14="http://schemas.microsoft.com/office/powerpoint/2010/main" val="3141009726"/>
      </p:ext>
    </p:extLst>
  </p:cSld>
  <p:clrMapOvr>
    <a:masterClrMapping/>
  </p:clrMapOvr>
</p:sld>
</file>

<file path=ppt/slides/slide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áfico 2">
            <a:extLst>
              <a:ext uri="{FF2B5EF4-FFF2-40B4-BE49-F238E27FC236}">
                <a16:creationId xmlns:a16="http://schemas.microsoft.com/office/drawing/2014/main" id="{64B164F3-9D10-081A-E93E-31E635E68C2C}"/>
              </a:ext>
            </a:extLst>
          </p:cNvPr>
          <p:cNvGrpSpPr/>
          <p:nvPr/>
        </p:nvGrpSpPr>
        <p:grpSpPr>
          <a:xfrm>
            <a:off x="2040365" y="1498485"/>
            <a:ext cx="225106" cy="334769"/>
            <a:chOff x="2040365" y="1498485"/>
            <a:chExt cx="225106" cy="334769"/>
          </a:xfrm>
        </p:grpSpPr>
        <p:grpSp>
          <p:nvGrpSpPr>
            <p:cNvPr id="23" name="Gráfico 2">
              <a:extLst>
                <a:ext uri="{FF2B5EF4-FFF2-40B4-BE49-F238E27FC236}">
                  <a16:creationId xmlns:a16="http://schemas.microsoft.com/office/drawing/2014/main" id="{8C7FB40B-4BE6-4EDA-204D-D247620EC4F9}"/>
                </a:ext>
              </a:extLst>
            </p:cNvPr>
            <p:cNvGrpSpPr/>
            <p:nvPr/>
          </p:nvGrpSpPr>
          <p:grpSpPr>
            <a:xfrm>
              <a:off x="2068139" y="1498485"/>
              <a:ext cx="169552" cy="64743"/>
              <a:chOff x="2068139" y="1498485"/>
              <a:chExt cx="169552" cy="64743"/>
            </a:xfrm>
            <a:noFill/>
          </p:grpSpPr>
          <p:sp>
            <p:nvSpPr>
              <p:cNvPr id="24" name="Forma livre: Forma 23">
                <a:extLst>
                  <a:ext uri="{FF2B5EF4-FFF2-40B4-BE49-F238E27FC236}">
                    <a16:creationId xmlns:a16="http://schemas.microsoft.com/office/drawing/2014/main" id="{80FD80CC-FC30-5D4D-E8BE-62D3067A8FBA}"/>
                  </a:ext>
                </a:extLst>
              </p:cNvPr>
              <p:cNvSpPr/>
              <p:nvPr/>
            </p:nvSpPr>
            <p:spPr>
              <a:xfrm>
                <a:off x="2068139" y="1520281"/>
                <a:ext cx="57740" cy="42947"/>
              </a:xfrm>
              <a:custGeom>
                <a:avLst/>
                <a:gdLst>
                  <a:gd name="connsiteX0" fmla="*/ 17675 w 57740"/>
                  <a:gd name="connsiteY0" fmla="*/ 42948 h 42947"/>
                  <a:gd name="connsiteX1" fmla="*/ 0 w 57740"/>
                  <a:gd name="connsiteY1" fmla="*/ 0 h 42947"/>
                  <a:gd name="connsiteX2" fmla="*/ 57740 w 57740"/>
                  <a:gd name="connsiteY2" fmla="*/ 27715 h 429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57740" h="42947">
                    <a:moveTo>
                      <a:pt x="17675" y="42948"/>
                    </a:moveTo>
                    <a:lnTo>
                      <a:pt x="0" y="0"/>
                    </a:lnTo>
                    <a:lnTo>
                      <a:pt x="57740" y="27715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5" name="Forma livre: Forma 24">
                <a:extLst>
                  <a:ext uri="{FF2B5EF4-FFF2-40B4-BE49-F238E27FC236}">
                    <a16:creationId xmlns:a16="http://schemas.microsoft.com/office/drawing/2014/main" id="{67CCA217-43E4-8485-7391-998C462D27E6}"/>
                  </a:ext>
                </a:extLst>
              </p:cNvPr>
              <p:cNvSpPr/>
              <p:nvPr/>
            </p:nvSpPr>
            <p:spPr>
              <a:xfrm>
                <a:off x="2135503" y="1498485"/>
                <a:ext cx="102188" cy="64743"/>
              </a:xfrm>
              <a:custGeom>
                <a:avLst/>
                <a:gdLst>
                  <a:gd name="connsiteX0" fmla="*/ 84514 w 102188"/>
                  <a:gd name="connsiteY0" fmla="*/ 64743 h 64743"/>
                  <a:gd name="connsiteX1" fmla="*/ 102189 w 102188"/>
                  <a:gd name="connsiteY1" fmla="*/ 21796 h 64743"/>
                  <a:gd name="connsiteX2" fmla="*/ 46330 w 102188"/>
                  <a:gd name="connsiteY2" fmla="*/ 47581 h 64743"/>
                  <a:gd name="connsiteX3" fmla="*/ 17436 w 102188"/>
                  <a:gd name="connsiteY3" fmla="*/ 0 h 64743"/>
                  <a:gd name="connsiteX4" fmla="*/ 0 w 102188"/>
                  <a:gd name="connsiteY4" fmla="*/ 28787 h 647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02188" h="64743">
                    <a:moveTo>
                      <a:pt x="84514" y="64743"/>
                    </a:moveTo>
                    <a:lnTo>
                      <a:pt x="102189" y="21796"/>
                    </a:lnTo>
                    <a:lnTo>
                      <a:pt x="46330" y="47581"/>
                    </a:lnTo>
                    <a:lnTo>
                      <a:pt x="17436" y="0"/>
                    </a:lnTo>
                    <a:lnTo>
                      <a:pt x="0" y="28787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26" name="Forma livre: Forma 25">
              <a:extLst>
                <a:ext uri="{FF2B5EF4-FFF2-40B4-BE49-F238E27FC236}">
                  <a16:creationId xmlns:a16="http://schemas.microsoft.com/office/drawing/2014/main" id="{36F6B68B-15B8-7A26-2A82-762E823AFC6F}"/>
                </a:ext>
              </a:extLst>
            </p:cNvPr>
            <p:cNvSpPr/>
            <p:nvPr/>
          </p:nvSpPr>
          <p:spPr>
            <a:xfrm>
              <a:off x="2149533" y="1619635"/>
              <a:ext cx="6741" cy="10016"/>
            </a:xfrm>
            <a:custGeom>
              <a:avLst/>
              <a:gdLst>
                <a:gd name="connsiteX0" fmla="*/ 3383 w 6741"/>
                <a:gd name="connsiteY0" fmla="*/ 10016 h 10016"/>
                <a:gd name="connsiteX1" fmla="*/ 0 w 6741"/>
                <a:gd name="connsiteY1" fmla="*/ 1834 h 10016"/>
                <a:gd name="connsiteX2" fmla="*/ 3371 w 6741"/>
                <a:gd name="connsiteY2" fmla="*/ 0 h 10016"/>
                <a:gd name="connsiteX3" fmla="*/ 6741 w 6741"/>
                <a:gd name="connsiteY3" fmla="*/ 2025 h 10016"/>
                <a:gd name="connsiteX4" fmla="*/ 3383 w 6741"/>
                <a:gd name="connsiteY4" fmla="*/ 10016 h 100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741" h="10016">
                  <a:moveTo>
                    <a:pt x="3383" y="10016"/>
                  </a:moveTo>
                  <a:cubicBezTo>
                    <a:pt x="1489" y="6277"/>
                    <a:pt x="155" y="3109"/>
                    <a:pt x="0" y="1834"/>
                  </a:cubicBezTo>
                  <a:cubicBezTo>
                    <a:pt x="0" y="1203"/>
                    <a:pt x="1322" y="0"/>
                    <a:pt x="3371" y="0"/>
                  </a:cubicBezTo>
                  <a:cubicBezTo>
                    <a:pt x="5419" y="0"/>
                    <a:pt x="6741" y="1203"/>
                    <a:pt x="6741" y="2025"/>
                  </a:cubicBezTo>
                  <a:cubicBezTo>
                    <a:pt x="6598" y="3180"/>
                    <a:pt x="5264" y="6300"/>
                    <a:pt x="3383" y="10016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7" name="Forma livre: Forma 26">
              <a:extLst>
                <a:ext uri="{FF2B5EF4-FFF2-40B4-BE49-F238E27FC236}">
                  <a16:creationId xmlns:a16="http://schemas.microsoft.com/office/drawing/2014/main" id="{735F7B1A-5DD4-014F-2DAC-0FC27302291D}"/>
                </a:ext>
              </a:extLst>
            </p:cNvPr>
            <p:cNvSpPr/>
            <p:nvPr/>
          </p:nvSpPr>
          <p:spPr>
            <a:xfrm>
              <a:off x="2040365" y="1577533"/>
              <a:ext cx="225106" cy="255721"/>
            </a:xfrm>
            <a:custGeom>
              <a:avLst/>
              <a:gdLst>
                <a:gd name="connsiteX0" fmla="*/ 916 w 225106"/>
                <a:gd name="connsiteY0" fmla="*/ 62457 h 255721"/>
                <a:gd name="connsiteX1" fmla="*/ 3834 w 225106"/>
                <a:gd name="connsiteY1" fmla="*/ 102129 h 255721"/>
                <a:gd name="connsiteX2" fmla="*/ 44698 w 225106"/>
                <a:gd name="connsiteY2" fmla="*/ 205223 h 255721"/>
                <a:gd name="connsiteX3" fmla="*/ 111799 w 225106"/>
                <a:gd name="connsiteY3" fmla="*/ 255674 h 255721"/>
                <a:gd name="connsiteX4" fmla="*/ 111799 w 225106"/>
                <a:gd name="connsiteY4" fmla="*/ 255722 h 255721"/>
                <a:gd name="connsiteX5" fmla="*/ 112538 w 225106"/>
                <a:gd name="connsiteY5" fmla="*/ 255698 h 255721"/>
                <a:gd name="connsiteX6" fmla="*/ 113300 w 225106"/>
                <a:gd name="connsiteY6" fmla="*/ 255722 h 255721"/>
                <a:gd name="connsiteX7" fmla="*/ 113300 w 225106"/>
                <a:gd name="connsiteY7" fmla="*/ 255674 h 255721"/>
                <a:gd name="connsiteX8" fmla="*/ 180402 w 225106"/>
                <a:gd name="connsiteY8" fmla="*/ 205223 h 255721"/>
                <a:gd name="connsiteX9" fmla="*/ 221265 w 225106"/>
                <a:gd name="connsiteY9" fmla="*/ 102129 h 255721"/>
                <a:gd name="connsiteX10" fmla="*/ 113300 w 225106"/>
                <a:gd name="connsiteY10" fmla="*/ 24 h 255721"/>
                <a:gd name="connsiteX11" fmla="*/ 113300 w 225106"/>
                <a:gd name="connsiteY11" fmla="*/ 0 h 255721"/>
                <a:gd name="connsiteX12" fmla="*/ 112550 w 225106"/>
                <a:gd name="connsiteY12" fmla="*/ 0 h 255721"/>
                <a:gd name="connsiteX13" fmla="*/ 111799 w 225106"/>
                <a:gd name="connsiteY13" fmla="*/ 0 h 255721"/>
                <a:gd name="connsiteX14" fmla="*/ 111799 w 225106"/>
                <a:gd name="connsiteY14" fmla="*/ 24 h 255721"/>
                <a:gd name="connsiteX15" fmla="*/ 10945 w 225106"/>
                <a:gd name="connsiteY15" fmla="*/ 37100 h 2557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225106" h="255721">
                  <a:moveTo>
                    <a:pt x="916" y="62457"/>
                  </a:moveTo>
                  <a:cubicBezTo>
                    <a:pt x="-870" y="73712"/>
                    <a:pt x="-120" y="86848"/>
                    <a:pt x="3834" y="102129"/>
                  </a:cubicBezTo>
                  <a:cubicBezTo>
                    <a:pt x="18746" y="159655"/>
                    <a:pt x="35599" y="191574"/>
                    <a:pt x="44698" y="205223"/>
                  </a:cubicBezTo>
                  <a:cubicBezTo>
                    <a:pt x="66946" y="238548"/>
                    <a:pt x="82155" y="255115"/>
                    <a:pt x="111799" y="255674"/>
                  </a:cubicBezTo>
                  <a:lnTo>
                    <a:pt x="111799" y="255722"/>
                  </a:lnTo>
                  <a:cubicBezTo>
                    <a:pt x="112050" y="255722"/>
                    <a:pt x="112288" y="255698"/>
                    <a:pt x="112538" y="255698"/>
                  </a:cubicBezTo>
                  <a:cubicBezTo>
                    <a:pt x="112788" y="255698"/>
                    <a:pt x="113038" y="255722"/>
                    <a:pt x="113300" y="255722"/>
                  </a:cubicBezTo>
                  <a:lnTo>
                    <a:pt x="113300" y="255674"/>
                  </a:lnTo>
                  <a:cubicBezTo>
                    <a:pt x="142027" y="255103"/>
                    <a:pt x="158165" y="238536"/>
                    <a:pt x="180402" y="205223"/>
                  </a:cubicBezTo>
                  <a:cubicBezTo>
                    <a:pt x="189501" y="191574"/>
                    <a:pt x="206354" y="159655"/>
                    <a:pt x="221265" y="102129"/>
                  </a:cubicBezTo>
                  <a:cubicBezTo>
                    <a:pt x="242251" y="21176"/>
                    <a:pt x="173172" y="369"/>
                    <a:pt x="113300" y="24"/>
                  </a:cubicBezTo>
                  <a:lnTo>
                    <a:pt x="113300" y="0"/>
                  </a:lnTo>
                  <a:cubicBezTo>
                    <a:pt x="113050" y="0"/>
                    <a:pt x="112800" y="0"/>
                    <a:pt x="112550" y="0"/>
                  </a:cubicBezTo>
                  <a:cubicBezTo>
                    <a:pt x="112300" y="0"/>
                    <a:pt x="112050" y="0"/>
                    <a:pt x="111799" y="0"/>
                  </a:cubicBezTo>
                  <a:lnTo>
                    <a:pt x="111799" y="24"/>
                  </a:lnTo>
                  <a:cubicBezTo>
                    <a:pt x="73080" y="250"/>
                    <a:pt x="30513" y="9028"/>
                    <a:pt x="10945" y="3710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8" name="Forma livre: Forma 27">
              <a:extLst>
                <a:ext uri="{FF2B5EF4-FFF2-40B4-BE49-F238E27FC236}">
                  <a16:creationId xmlns:a16="http://schemas.microsoft.com/office/drawing/2014/main" id="{D23C958E-0BCC-D6D1-BA19-399324BD6416}"/>
                </a:ext>
              </a:extLst>
            </p:cNvPr>
            <p:cNvSpPr/>
            <p:nvPr/>
          </p:nvSpPr>
          <p:spPr>
            <a:xfrm>
              <a:off x="2102474" y="1619909"/>
              <a:ext cx="6672" cy="9944"/>
            </a:xfrm>
            <a:custGeom>
              <a:avLst/>
              <a:gdLst>
                <a:gd name="connsiteX0" fmla="*/ 4599 w 6672"/>
                <a:gd name="connsiteY0" fmla="*/ 9933 h 9944"/>
                <a:gd name="connsiteX1" fmla="*/ 2 w 6672"/>
                <a:gd name="connsiteY1" fmla="*/ 2394 h 9944"/>
                <a:gd name="connsiteX2" fmla="*/ 371 w 6672"/>
                <a:gd name="connsiteY2" fmla="*/ 1536 h 9944"/>
                <a:gd name="connsiteX3" fmla="*/ 3027 w 6672"/>
                <a:gd name="connsiteY3" fmla="*/ 60 h 9944"/>
                <a:gd name="connsiteX4" fmla="*/ 3801 w 6672"/>
                <a:gd name="connsiteY4" fmla="*/ 0 h 9944"/>
                <a:gd name="connsiteX5" fmla="*/ 6672 w 6672"/>
                <a:gd name="connsiteY5" fmla="*/ 1536 h 9944"/>
                <a:gd name="connsiteX6" fmla="*/ 4587 w 6672"/>
                <a:gd name="connsiteY6" fmla="*/ 9945 h 9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672" h="9944">
                  <a:moveTo>
                    <a:pt x="4599" y="9933"/>
                  </a:moveTo>
                  <a:cubicBezTo>
                    <a:pt x="2158" y="6527"/>
                    <a:pt x="347" y="3609"/>
                    <a:pt x="2" y="2394"/>
                  </a:cubicBezTo>
                  <a:cubicBezTo>
                    <a:pt x="-22" y="2180"/>
                    <a:pt x="192" y="1787"/>
                    <a:pt x="371" y="1536"/>
                  </a:cubicBezTo>
                  <a:cubicBezTo>
                    <a:pt x="919" y="786"/>
                    <a:pt x="1908" y="238"/>
                    <a:pt x="3027" y="60"/>
                  </a:cubicBezTo>
                  <a:cubicBezTo>
                    <a:pt x="3301" y="12"/>
                    <a:pt x="3551" y="0"/>
                    <a:pt x="3801" y="0"/>
                  </a:cubicBezTo>
                  <a:cubicBezTo>
                    <a:pt x="5373" y="0"/>
                    <a:pt x="6552" y="798"/>
                    <a:pt x="6672" y="1536"/>
                  </a:cubicBezTo>
                  <a:cubicBezTo>
                    <a:pt x="6707" y="2692"/>
                    <a:pt x="5874" y="5979"/>
                    <a:pt x="4587" y="9945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9" name="Forma livre: Forma 28">
              <a:extLst>
                <a:ext uri="{FF2B5EF4-FFF2-40B4-BE49-F238E27FC236}">
                  <a16:creationId xmlns:a16="http://schemas.microsoft.com/office/drawing/2014/main" id="{5D8F036D-B762-A17F-CA6F-F470FD2EF983}"/>
                </a:ext>
              </a:extLst>
            </p:cNvPr>
            <p:cNvSpPr/>
            <p:nvPr/>
          </p:nvSpPr>
          <p:spPr>
            <a:xfrm>
              <a:off x="2196683" y="1619909"/>
              <a:ext cx="6633" cy="9944"/>
            </a:xfrm>
            <a:custGeom>
              <a:avLst/>
              <a:gdLst>
                <a:gd name="connsiteX0" fmla="*/ 2062 w 6633"/>
                <a:gd name="connsiteY0" fmla="*/ 9933 h 9944"/>
                <a:gd name="connsiteX1" fmla="*/ 2 w 6633"/>
                <a:gd name="connsiteY1" fmla="*/ 1346 h 9944"/>
                <a:gd name="connsiteX2" fmla="*/ 2848 w 6633"/>
                <a:gd name="connsiteY2" fmla="*/ 0 h 9944"/>
                <a:gd name="connsiteX3" fmla="*/ 3623 w 6633"/>
                <a:gd name="connsiteY3" fmla="*/ 60 h 9944"/>
                <a:gd name="connsiteX4" fmla="*/ 6171 w 6633"/>
                <a:gd name="connsiteY4" fmla="*/ 1393 h 9944"/>
                <a:gd name="connsiteX5" fmla="*/ 6624 w 6633"/>
                <a:gd name="connsiteY5" fmla="*/ 2584 h 9944"/>
                <a:gd name="connsiteX6" fmla="*/ 2062 w 6633"/>
                <a:gd name="connsiteY6" fmla="*/ 9945 h 9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633" h="9944">
                  <a:moveTo>
                    <a:pt x="2062" y="9933"/>
                  </a:moveTo>
                  <a:cubicBezTo>
                    <a:pt x="788" y="5943"/>
                    <a:pt x="-46" y="2608"/>
                    <a:pt x="2" y="1346"/>
                  </a:cubicBezTo>
                  <a:cubicBezTo>
                    <a:pt x="97" y="786"/>
                    <a:pt x="1276" y="0"/>
                    <a:pt x="2848" y="0"/>
                  </a:cubicBezTo>
                  <a:cubicBezTo>
                    <a:pt x="3099" y="0"/>
                    <a:pt x="3361" y="24"/>
                    <a:pt x="3623" y="60"/>
                  </a:cubicBezTo>
                  <a:cubicBezTo>
                    <a:pt x="4671" y="226"/>
                    <a:pt x="5600" y="715"/>
                    <a:pt x="6171" y="1393"/>
                  </a:cubicBezTo>
                  <a:cubicBezTo>
                    <a:pt x="6362" y="1632"/>
                    <a:pt x="6695" y="2108"/>
                    <a:pt x="6624" y="2584"/>
                  </a:cubicBezTo>
                  <a:cubicBezTo>
                    <a:pt x="6302" y="3692"/>
                    <a:pt x="4504" y="6562"/>
                    <a:pt x="2062" y="9945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0" name="Forma livre: Forma 29">
              <a:extLst>
                <a:ext uri="{FF2B5EF4-FFF2-40B4-BE49-F238E27FC236}">
                  <a16:creationId xmlns:a16="http://schemas.microsoft.com/office/drawing/2014/main" id="{ABB9EA45-D62D-60FE-DC8F-31B75AEDCBA1}"/>
                </a:ext>
              </a:extLst>
            </p:cNvPr>
            <p:cNvSpPr/>
            <p:nvPr/>
          </p:nvSpPr>
          <p:spPr>
            <a:xfrm>
              <a:off x="2149533" y="1720692"/>
              <a:ext cx="6741" cy="10016"/>
            </a:xfrm>
            <a:custGeom>
              <a:avLst/>
              <a:gdLst>
                <a:gd name="connsiteX0" fmla="*/ 3383 w 6741"/>
                <a:gd name="connsiteY0" fmla="*/ 10005 h 10016"/>
                <a:gd name="connsiteX1" fmla="*/ 0 w 6741"/>
                <a:gd name="connsiteY1" fmla="*/ 1834 h 10016"/>
                <a:gd name="connsiteX2" fmla="*/ 3371 w 6741"/>
                <a:gd name="connsiteY2" fmla="*/ 0 h 10016"/>
                <a:gd name="connsiteX3" fmla="*/ 6741 w 6741"/>
                <a:gd name="connsiteY3" fmla="*/ 2025 h 10016"/>
                <a:gd name="connsiteX4" fmla="*/ 3383 w 6741"/>
                <a:gd name="connsiteY4" fmla="*/ 10016 h 100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741" h="10016">
                  <a:moveTo>
                    <a:pt x="3383" y="10005"/>
                  </a:moveTo>
                  <a:cubicBezTo>
                    <a:pt x="1489" y="6265"/>
                    <a:pt x="155" y="3097"/>
                    <a:pt x="0" y="1834"/>
                  </a:cubicBezTo>
                  <a:cubicBezTo>
                    <a:pt x="0" y="1191"/>
                    <a:pt x="1322" y="0"/>
                    <a:pt x="3371" y="0"/>
                  </a:cubicBezTo>
                  <a:cubicBezTo>
                    <a:pt x="5419" y="0"/>
                    <a:pt x="6741" y="1191"/>
                    <a:pt x="6741" y="2025"/>
                  </a:cubicBezTo>
                  <a:cubicBezTo>
                    <a:pt x="6598" y="3180"/>
                    <a:pt x="5264" y="6300"/>
                    <a:pt x="3383" y="10016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1" name="Forma livre: Forma 30">
              <a:extLst>
                <a:ext uri="{FF2B5EF4-FFF2-40B4-BE49-F238E27FC236}">
                  <a16:creationId xmlns:a16="http://schemas.microsoft.com/office/drawing/2014/main" id="{6EB67150-66EF-203C-FD67-9672DF0C3622}"/>
                </a:ext>
              </a:extLst>
            </p:cNvPr>
            <p:cNvSpPr/>
            <p:nvPr/>
          </p:nvSpPr>
          <p:spPr>
            <a:xfrm>
              <a:off x="2196683" y="1720978"/>
              <a:ext cx="6645" cy="9944"/>
            </a:xfrm>
            <a:custGeom>
              <a:avLst/>
              <a:gdLst>
                <a:gd name="connsiteX0" fmla="*/ 2062 w 6645"/>
                <a:gd name="connsiteY0" fmla="*/ 9933 h 9944"/>
                <a:gd name="connsiteX1" fmla="*/ 2 w 6645"/>
                <a:gd name="connsiteY1" fmla="*/ 1346 h 9944"/>
                <a:gd name="connsiteX2" fmla="*/ 2837 w 6645"/>
                <a:gd name="connsiteY2" fmla="*/ 0 h 9944"/>
                <a:gd name="connsiteX3" fmla="*/ 3623 w 6645"/>
                <a:gd name="connsiteY3" fmla="*/ 60 h 9944"/>
                <a:gd name="connsiteX4" fmla="*/ 6183 w 6645"/>
                <a:gd name="connsiteY4" fmla="*/ 1393 h 9944"/>
                <a:gd name="connsiteX5" fmla="*/ 6636 w 6645"/>
                <a:gd name="connsiteY5" fmla="*/ 2584 h 9944"/>
                <a:gd name="connsiteX6" fmla="*/ 2074 w 6645"/>
                <a:gd name="connsiteY6" fmla="*/ 9945 h 9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645" h="9944">
                  <a:moveTo>
                    <a:pt x="2062" y="9933"/>
                  </a:moveTo>
                  <a:cubicBezTo>
                    <a:pt x="788" y="5943"/>
                    <a:pt x="-46" y="2608"/>
                    <a:pt x="2" y="1346"/>
                  </a:cubicBezTo>
                  <a:cubicBezTo>
                    <a:pt x="97" y="786"/>
                    <a:pt x="1264" y="0"/>
                    <a:pt x="2837" y="0"/>
                  </a:cubicBezTo>
                  <a:cubicBezTo>
                    <a:pt x="3099" y="0"/>
                    <a:pt x="3361" y="24"/>
                    <a:pt x="3623" y="60"/>
                  </a:cubicBezTo>
                  <a:cubicBezTo>
                    <a:pt x="4683" y="226"/>
                    <a:pt x="5600" y="703"/>
                    <a:pt x="6183" y="1393"/>
                  </a:cubicBezTo>
                  <a:cubicBezTo>
                    <a:pt x="6374" y="1632"/>
                    <a:pt x="6707" y="2108"/>
                    <a:pt x="6636" y="2584"/>
                  </a:cubicBezTo>
                  <a:cubicBezTo>
                    <a:pt x="6314" y="3692"/>
                    <a:pt x="4516" y="6562"/>
                    <a:pt x="2074" y="9945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2" name="Forma livre: Forma 31">
              <a:extLst>
                <a:ext uri="{FF2B5EF4-FFF2-40B4-BE49-F238E27FC236}">
                  <a16:creationId xmlns:a16="http://schemas.microsoft.com/office/drawing/2014/main" id="{847CD225-7DFA-90EF-ECD3-512520BD7C22}"/>
                </a:ext>
              </a:extLst>
            </p:cNvPr>
            <p:cNvSpPr/>
            <p:nvPr/>
          </p:nvSpPr>
          <p:spPr>
            <a:xfrm>
              <a:off x="2102474" y="1720978"/>
              <a:ext cx="6672" cy="9944"/>
            </a:xfrm>
            <a:custGeom>
              <a:avLst/>
              <a:gdLst>
                <a:gd name="connsiteX0" fmla="*/ 4599 w 6672"/>
                <a:gd name="connsiteY0" fmla="*/ 9933 h 9944"/>
                <a:gd name="connsiteX1" fmla="*/ 2 w 6672"/>
                <a:gd name="connsiteY1" fmla="*/ 2394 h 9944"/>
                <a:gd name="connsiteX2" fmla="*/ 371 w 6672"/>
                <a:gd name="connsiteY2" fmla="*/ 1536 h 9944"/>
                <a:gd name="connsiteX3" fmla="*/ 3027 w 6672"/>
                <a:gd name="connsiteY3" fmla="*/ 60 h 9944"/>
                <a:gd name="connsiteX4" fmla="*/ 3813 w 6672"/>
                <a:gd name="connsiteY4" fmla="*/ 0 h 9944"/>
                <a:gd name="connsiteX5" fmla="*/ 6672 w 6672"/>
                <a:gd name="connsiteY5" fmla="*/ 1536 h 9944"/>
                <a:gd name="connsiteX6" fmla="*/ 4587 w 6672"/>
                <a:gd name="connsiteY6" fmla="*/ 9945 h 9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672" h="9944">
                  <a:moveTo>
                    <a:pt x="4599" y="9933"/>
                  </a:moveTo>
                  <a:cubicBezTo>
                    <a:pt x="2158" y="6527"/>
                    <a:pt x="347" y="3609"/>
                    <a:pt x="2" y="2394"/>
                  </a:cubicBezTo>
                  <a:cubicBezTo>
                    <a:pt x="-22" y="2180"/>
                    <a:pt x="192" y="1787"/>
                    <a:pt x="371" y="1536"/>
                  </a:cubicBezTo>
                  <a:cubicBezTo>
                    <a:pt x="919" y="786"/>
                    <a:pt x="1908" y="238"/>
                    <a:pt x="3027" y="60"/>
                  </a:cubicBezTo>
                  <a:cubicBezTo>
                    <a:pt x="3301" y="12"/>
                    <a:pt x="3563" y="0"/>
                    <a:pt x="3813" y="0"/>
                  </a:cubicBezTo>
                  <a:cubicBezTo>
                    <a:pt x="5373" y="0"/>
                    <a:pt x="6552" y="786"/>
                    <a:pt x="6672" y="1536"/>
                  </a:cubicBezTo>
                  <a:cubicBezTo>
                    <a:pt x="6707" y="2692"/>
                    <a:pt x="5874" y="5979"/>
                    <a:pt x="4587" y="9945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3" name="Forma livre: Forma 32">
              <a:extLst>
                <a:ext uri="{FF2B5EF4-FFF2-40B4-BE49-F238E27FC236}">
                  <a16:creationId xmlns:a16="http://schemas.microsoft.com/office/drawing/2014/main" id="{1756EA77-6C07-B619-C7DF-D931A25E5544}"/>
                </a:ext>
              </a:extLst>
            </p:cNvPr>
            <p:cNvSpPr/>
            <p:nvPr/>
          </p:nvSpPr>
          <p:spPr>
            <a:xfrm>
              <a:off x="2169241" y="1771370"/>
              <a:ext cx="6639" cy="9933"/>
            </a:xfrm>
            <a:custGeom>
              <a:avLst/>
              <a:gdLst>
                <a:gd name="connsiteX0" fmla="*/ 2063 w 6639"/>
                <a:gd name="connsiteY0" fmla="*/ 9933 h 9933"/>
                <a:gd name="connsiteX1" fmla="*/ 3 w 6639"/>
                <a:gd name="connsiteY1" fmla="*/ 1334 h 9933"/>
                <a:gd name="connsiteX2" fmla="*/ 2838 w 6639"/>
                <a:gd name="connsiteY2" fmla="*/ 0 h 9933"/>
                <a:gd name="connsiteX3" fmla="*/ 3612 w 6639"/>
                <a:gd name="connsiteY3" fmla="*/ 60 h 9933"/>
                <a:gd name="connsiteX4" fmla="*/ 6292 w 6639"/>
                <a:gd name="connsiteY4" fmla="*/ 1536 h 9933"/>
                <a:gd name="connsiteX5" fmla="*/ 6625 w 6639"/>
                <a:gd name="connsiteY5" fmla="*/ 2561 h 9933"/>
                <a:gd name="connsiteX6" fmla="*/ 2075 w 6639"/>
                <a:gd name="connsiteY6" fmla="*/ 9933 h 99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639" h="9933">
                  <a:moveTo>
                    <a:pt x="2063" y="9933"/>
                  </a:moveTo>
                  <a:cubicBezTo>
                    <a:pt x="777" y="5931"/>
                    <a:pt x="-57" y="2596"/>
                    <a:pt x="3" y="1334"/>
                  </a:cubicBezTo>
                  <a:cubicBezTo>
                    <a:pt x="98" y="786"/>
                    <a:pt x="1265" y="0"/>
                    <a:pt x="2838" y="0"/>
                  </a:cubicBezTo>
                  <a:cubicBezTo>
                    <a:pt x="3100" y="0"/>
                    <a:pt x="3350" y="24"/>
                    <a:pt x="3612" y="60"/>
                  </a:cubicBezTo>
                  <a:cubicBezTo>
                    <a:pt x="4755" y="238"/>
                    <a:pt x="5744" y="786"/>
                    <a:pt x="6292" y="1536"/>
                  </a:cubicBezTo>
                  <a:cubicBezTo>
                    <a:pt x="6482" y="1787"/>
                    <a:pt x="6696" y="2180"/>
                    <a:pt x="6625" y="2561"/>
                  </a:cubicBezTo>
                  <a:cubicBezTo>
                    <a:pt x="6303" y="3680"/>
                    <a:pt x="4505" y="6551"/>
                    <a:pt x="2075" y="9933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4" name="Forma livre: Forma 33">
              <a:extLst>
                <a:ext uri="{FF2B5EF4-FFF2-40B4-BE49-F238E27FC236}">
                  <a16:creationId xmlns:a16="http://schemas.microsoft.com/office/drawing/2014/main" id="{E43E6B1D-27D5-8682-81CE-F31A20B40CE2}"/>
                </a:ext>
              </a:extLst>
            </p:cNvPr>
            <p:cNvSpPr/>
            <p:nvPr/>
          </p:nvSpPr>
          <p:spPr>
            <a:xfrm>
              <a:off x="2129927" y="1771370"/>
              <a:ext cx="6672" cy="9944"/>
            </a:xfrm>
            <a:custGeom>
              <a:avLst/>
              <a:gdLst>
                <a:gd name="connsiteX0" fmla="*/ 4611 w 6672"/>
                <a:gd name="connsiteY0" fmla="*/ 9933 h 9944"/>
                <a:gd name="connsiteX1" fmla="*/ 2 w 6672"/>
                <a:gd name="connsiteY1" fmla="*/ 2382 h 9944"/>
                <a:gd name="connsiteX2" fmla="*/ 371 w 6672"/>
                <a:gd name="connsiteY2" fmla="*/ 1536 h 9944"/>
                <a:gd name="connsiteX3" fmla="*/ 3027 w 6672"/>
                <a:gd name="connsiteY3" fmla="*/ 60 h 9944"/>
                <a:gd name="connsiteX4" fmla="*/ 3813 w 6672"/>
                <a:gd name="connsiteY4" fmla="*/ 0 h 9944"/>
                <a:gd name="connsiteX5" fmla="*/ 6671 w 6672"/>
                <a:gd name="connsiteY5" fmla="*/ 1525 h 9944"/>
                <a:gd name="connsiteX6" fmla="*/ 4599 w 6672"/>
                <a:gd name="connsiteY6" fmla="*/ 9945 h 9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672" h="9944">
                  <a:moveTo>
                    <a:pt x="4611" y="9933"/>
                  </a:moveTo>
                  <a:cubicBezTo>
                    <a:pt x="2169" y="6527"/>
                    <a:pt x="347" y="3597"/>
                    <a:pt x="2" y="2382"/>
                  </a:cubicBezTo>
                  <a:cubicBezTo>
                    <a:pt x="-22" y="2180"/>
                    <a:pt x="192" y="1787"/>
                    <a:pt x="371" y="1536"/>
                  </a:cubicBezTo>
                  <a:cubicBezTo>
                    <a:pt x="919" y="786"/>
                    <a:pt x="1919" y="238"/>
                    <a:pt x="3027" y="60"/>
                  </a:cubicBezTo>
                  <a:cubicBezTo>
                    <a:pt x="3301" y="12"/>
                    <a:pt x="3563" y="0"/>
                    <a:pt x="3813" y="0"/>
                  </a:cubicBezTo>
                  <a:cubicBezTo>
                    <a:pt x="5373" y="0"/>
                    <a:pt x="6552" y="786"/>
                    <a:pt x="6671" y="1525"/>
                  </a:cubicBezTo>
                  <a:cubicBezTo>
                    <a:pt x="6707" y="2692"/>
                    <a:pt x="5885" y="5979"/>
                    <a:pt x="4599" y="9945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5" name="Forma livre: Forma 34">
              <a:extLst>
                <a:ext uri="{FF2B5EF4-FFF2-40B4-BE49-F238E27FC236}">
                  <a16:creationId xmlns:a16="http://schemas.microsoft.com/office/drawing/2014/main" id="{FC503C5C-BCF4-D3F7-22A3-1ACC02325465}"/>
                </a:ext>
              </a:extLst>
            </p:cNvPr>
            <p:cNvSpPr/>
            <p:nvPr/>
          </p:nvSpPr>
          <p:spPr>
            <a:xfrm>
              <a:off x="2221099" y="1670408"/>
              <a:ext cx="6626" cy="9932"/>
            </a:xfrm>
            <a:custGeom>
              <a:avLst/>
              <a:gdLst>
                <a:gd name="connsiteX0" fmla="*/ 2062 w 6626"/>
                <a:gd name="connsiteY0" fmla="*/ 9933 h 9932"/>
                <a:gd name="connsiteX1" fmla="*/ 2 w 6626"/>
                <a:gd name="connsiteY1" fmla="*/ 1334 h 9932"/>
                <a:gd name="connsiteX2" fmla="*/ 2837 w 6626"/>
                <a:gd name="connsiteY2" fmla="*/ 0 h 9932"/>
                <a:gd name="connsiteX3" fmla="*/ 3599 w 6626"/>
                <a:gd name="connsiteY3" fmla="*/ 60 h 9932"/>
                <a:gd name="connsiteX4" fmla="*/ 6278 w 6626"/>
                <a:gd name="connsiteY4" fmla="*/ 1536 h 9932"/>
                <a:gd name="connsiteX5" fmla="*/ 6612 w 6626"/>
                <a:gd name="connsiteY5" fmla="*/ 2561 h 9932"/>
                <a:gd name="connsiteX6" fmla="*/ 2062 w 6626"/>
                <a:gd name="connsiteY6" fmla="*/ 9933 h 99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626" h="9932">
                  <a:moveTo>
                    <a:pt x="2062" y="9933"/>
                  </a:moveTo>
                  <a:cubicBezTo>
                    <a:pt x="776" y="5943"/>
                    <a:pt x="-46" y="2596"/>
                    <a:pt x="2" y="1334"/>
                  </a:cubicBezTo>
                  <a:cubicBezTo>
                    <a:pt x="97" y="786"/>
                    <a:pt x="1276" y="0"/>
                    <a:pt x="2837" y="0"/>
                  </a:cubicBezTo>
                  <a:cubicBezTo>
                    <a:pt x="3087" y="0"/>
                    <a:pt x="3337" y="24"/>
                    <a:pt x="3599" y="60"/>
                  </a:cubicBezTo>
                  <a:cubicBezTo>
                    <a:pt x="4742" y="238"/>
                    <a:pt x="5743" y="786"/>
                    <a:pt x="6278" y="1536"/>
                  </a:cubicBezTo>
                  <a:cubicBezTo>
                    <a:pt x="6469" y="1787"/>
                    <a:pt x="6684" y="2179"/>
                    <a:pt x="6612" y="2561"/>
                  </a:cubicBezTo>
                  <a:cubicBezTo>
                    <a:pt x="6290" y="3680"/>
                    <a:pt x="4492" y="6551"/>
                    <a:pt x="2062" y="9933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6" name="Forma livre: Forma 35">
              <a:extLst>
                <a:ext uri="{FF2B5EF4-FFF2-40B4-BE49-F238E27FC236}">
                  <a16:creationId xmlns:a16="http://schemas.microsoft.com/office/drawing/2014/main" id="{409BC3DA-B25C-DB92-2BD2-20730813DD68}"/>
                </a:ext>
              </a:extLst>
            </p:cNvPr>
            <p:cNvSpPr/>
            <p:nvPr/>
          </p:nvSpPr>
          <p:spPr>
            <a:xfrm>
              <a:off x="2078070" y="1670408"/>
              <a:ext cx="6672" cy="9944"/>
            </a:xfrm>
            <a:custGeom>
              <a:avLst/>
              <a:gdLst>
                <a:gd name="connsiteX0" fmla="*/ 4599 w 6672"/>
                <a:gd name="connsiteY0" fmla="*/ 9933 h 9944"/>
                <a:gd name="connsiteX1" fmla="*/ 2 w 6672"/>
                <a:gd name="connsiteY1" fmla="*/ 2394 h 9944"/>
                <a:gd name="connsiteX2" fmla="*/ 371 w 6672"/>
                <a:gd name="connsiteY2" fmla="*/ 1536 h 9944"/>
                <a:gd name="connsiteX3" fmla="*/ 3027 w 6672"/>
                <a:gd name="connsiteY3" fmla="*/ 60 h 9944"/>
                <a:gd name="connsiteX4" fmla="*/ 3813 w 6672"/>
                <a:gd name="connsiteY4" fmla="*/ 0 h 9944"/>
                <a:gd name="connsiteX5" fmla="*/ 6672 w 6672"/>
                <a:gd name="connsiteY5" fmla="*/ 1524 h 9944"/>
                <a:gd name="connsiteX6" fmla="*/ 4599 w 6672"/>
                <a:gd name="connsiteY6" fmla="*/ 9945 h 9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672" h="9944">
                  <a:moveTo>
                    <a:pt x="4599" y="9933"/>
                  </a:moveTo>
                  <a:cubicBezTo>
                    <a:pt x="2158" y="6527"/>
                    <a:pt x="347" y="3621"/>
                    <a:pt x="2" y="2394"/>
                  </a:cubicBezTo>
                  <a:cubicBezTo>
                    <a:pt x="-22" y="2179"/>
                    <a:pt x="192" y="1787"/>
                    <a:pt x="371" y="1536"/>
                  </a:cubicBezTo>
                  <a:cubicBezTo>
                    <a:pt x="919" y="786"/>
                    <a:pt x="1908" y="238"/>
                    <a:pt x="3027" y="60"/>
                  </a:cubicBezTo>
                  <a:cubicBezTo>
                    <a:pt x="3301" y="12"/>
                    <a:pt x="3563" y="0"/>
                    <a:pt x="3813" y="0"/>
                  </a:cubicBezTo>
                  <a:cubicBezTo>
                    <a:pt x="5373" y="0"/>
                    <a:pt x="6552" y="786"/>
                    <a:pt x="6672" y="1524"/>
                  </a:cubicBezTo>
                  <a:cubicBezTo>
                    <a:pt x="6707" y="2692"/>
                    <a:pt x="5885" y="5979"/>
                    <a:pt x="4599" y="9945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7" name="Forma livre: Forma 36">
              <a:extLst>
                <a:ext uri="{FF2B5EF4-FFF2-40B4-BE49-F238E27FC236}">
                  <a16:creationId xmlns:a16="http://schemas.microsoft.com/office/drawing/2014/main" id="{28907139-9D65-E2B7-A995-5C0ABB007CCA}"/>
                </a:ext>
              </a:extLst>
            </p:cNvPr>
            <p:cNvSpPr/>
            <p:nvPr/>
          </p:nvSpPr>
          <p:spPr>
            <a:xfrm>
              <a:off x="2125689" y="1670205"/>
              <a:ext cx="6741" cy="10004"/>
            </a:xfrm>
            <a:custGeom>
              <a:avLst/>
              <a:gdLst>
                <a:gd name="connsiteX0" fmla="*/ 3382 w 6741"/>
                <a:gd name="connsiteY0" fmla="*/ 10005 h 10004"/>
                <a:gd name="connsiteX1" fmla="*/ 0 w 6741"/>
                <a:gd name="connsiteY1" fmla="*/ 1834 h 10004"/>
                <a:gd name="connsiteX2" fmla="*/ 3382 w 6741"/>
                <a:gd name="connsiteY2" fmla="*/ 0 h 10004"/>
                <a:gd name="connsiteX3" fmla="*/ 6741 w 6741"/>
                <a:gd name="connsiteY3" fmla="*/ 2025 h 10004"/>
                <a:gd name="connsiteX4" fmla="*/ 3382 w 6741"/>
                <a:gd name="connsiteY4" fmla="*/ 10005 h 100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741" h="10004">
                  <a:moveTo>
                    <a:pt x="3382" y="10005"/>
                  </a:moveTo>
                  <a:cubicBezTo>
                    <a:pt x="1489" y="6265"/>
                    <a:pt x="155" y="3097"/>
                    <a:pt x="0" y="1834"/>
                  </a:cubicBezTo>
                  <a:cubicBezTo>
                    <a:pt x="0" y="1191"/>
                    <a:pt x="1322" y="0"/>
                    <a:pt x="3382" y="0"/>
                  </a:cubicBezTo>
                  <a:cubicBezTo>
                    <a:pt x="5443" y="0"/>
                    <a:pt x="6741" y="1203"/>
                    <a:pt x="6741" y="2025"/>
                  </a:cubicBezTo>
                  <a:cubicBezTo>
                    <a:pt x="6598" y="3168"/>
                    <a:pt x="5264" y="6300"/>
                    <a:pt x="3382" y="10005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8" name="Forma livre: Forma 37">
              <a:extLst>
                <a:ext uri="{FF2B5EF4-FFF2-40B4-BE49-F238E27FC236}">
                  <a16:creationId xmlns:a16="http://schemas.microsoft.com/office/drawing/2014/main" id="{FAB70B7C-2937-3099-C33F-530DCD7010BF}"/>
                </a:ext>
              </a:extLst>
            </p:cNvPr>
            <p:cNvSpPr/>
            <p:nvPr/>
          </p:nvSpPr>
          <p:spPr>
            <a:xfrm>
              <a:off x="2173377" y="1670205"/>
              <a:ext cx="6729" cy="10004"/>
            </a:xfrm>
            <a:custGeom>
              <a:avLst/>
              <a:gdLst>
                <a:gd name="connsiteX0" fmla="*/ 3382 w 6729"/>
                <a:gd name="connsiteY0" fmla="*/ 10005 h 10004"/>
                <a:gd name="connsiteX1" fmla="*/ 0 w 6729"/>
                <a:gd name="connsiteY1" fmla="*/ 1834 h 10004"/>
                <a:gd name="connsiteX2" fmla="*/ 3371 w 6729"/>
                <a:gd name="connsiteY2" fmla="*/ 0 h 10004"/>
                <a:gd name="connsiteX3" fmla="*/ 6729 w 6729"/>
                <a:gd name="connsiteY3" fmla="*/ 2025 h 10004"/>
                <a:gd name="connsiteX4" fmla="*/ 3382 w 6729"/>
                <a:gd name="connsiteY4" fmla="*/ 10005 h 100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729" h="10004">
                  <a:moveTo>
                    <a:pt x="3382" y="10005"/>
                  </a:moveTo>
                  <a:cubicBezTo>
                    <a:pt x="1489" y="6265"/>
                    <a:pt x="155" y="3097"/>
                    <a:pt x="0" y="1834"/>
                  </a:cubicBezTo>
                  <a:cubicBezTo>
                    <a:pt x="0" y="1191"/>
                    <a:pt x="1322" y="0"/>
                    <a:pt x="3371" y="0"/>
                  </a:cubicBezTo>
                  <a:cubicBezTo>
                    <a:pt x="5419" y="0"/>
                    <a:pt x="6729" y="1203"/>
                    <a:pt x="6729" y="2025"/>
                  </a:cubicBezTo>
                  <a:cubicBezTo>
                    <a:pt x="6586" y="3168"/>
                    <a:pt x="5252" y="6289"/>
                    <a:pt x="3382" y="10005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39" name="Gráfico 2">
            <a:extLst>
              <a:ext uri="{FF2B5EF4-FFF2-40B4-BE49-F238E27FC236}">
                <a16:creationId xmlns:a16="http://schemas.microsoft.com/office/drawing/2014/main" id="{CF0A00E5-E45C-C97F-31E0-8B01C8D7BDEB}"/>
              </a:ext>
            </a:extLst>
          </p:cNvPr>
          <p:cNvGrpSpPr/>
          <p:nvPr/>
        </p:nvGrpSpPr>
        <p:grpSpPr>
          <a:xfrm>
            <a:off x="813318" y="1507382"/>
            <a:ext cx="200023" cy="316975"/>
            <a:chOff x="813318" y="1507382"/>
            <a:chExt cx="200023" cy="316975"/>
          </a:xfrm>
          <a:noFill/>
        </p:grpSpPr>
        <p:sp>
          <p:nvSpPr>
            <p:cNvPr id="40" name="Forma livre: Forma 39">
              <a:extLst>
                <a:ext uri="{FF2B5EF4-FFF2-40B4-BE49-F238E27FC236}">
                  <a16:creationId xmlns:a16="http://schemas.microsoft.com/office/drawing/2014/main" id="{32D91AE9-B2B7-83DD-CDB0-05DE87FF954B}"/>
                </a:ext>
              </a:extLst>
            </p:cNvPr>
            <p:cNvSpPr/>
            <p:nvPr/>
          </p:nvSpPr>
          <p:spPr>
            <a:xfrm>
              <a:off x="827904" y="1507382"/>
              <a:ext cx="170862" cy="137799"/>
            </a:xfrm>
            <a:custGeom>
              <a:avLst/>
              <a:gdLst>
                <a:gd name="connsiteX0" fmla="*/ 0 w 170862"/>
                <a:gd name="connsiteY0" fmla="*/ 137800 h 137799"/>
                <a:gd name="connsiteX1" fmla="*/ 85431 w 170862"/>
                <a:gd name="connsiteY1" fmla="*/ 0 h 137799"/>
                <a:gd name="connsiteX2" fmla="*/ 170862 w 170862"/>
                <a:gd name="connsiteY2" fmla="*/ 137800 h 1377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70862" h="137799">
                  <a:moveTo>
                    <a:pt x="0" y="137800"/>
                  </a:moveTo>
                  <a:cubicBezTo>
                    <a:pt x="0" y="76915"/>
                    <a:pt x="38255" y="0"/>
                    <a:pt x="85431" y="0"/>
                  </a:cubicBezTo>
                  <a:cubicBezTo>
                    <a:pt x="132607" y="0"/>
                    <a:pt x="170862" y="76904"/>
                    <a:pt x="170862" y="137800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1" name="Forma livre: Forma 40">
              <a:extLst>
                <a:ext uri="{FF2B5EF4-FFF2-40B4-BE49-F238E27FC236}">
                  <a16:creationId xmlns:a16="http://schemas.microsoft.com/office/drawing/2014/main" id="{AE02E83B-5FBC-0EFA-F1BF-891506CC7059}"/>
                </a:ext>
              </a:extLst>
            </p:cNvPr>
            <p:cNvSpPr/>
            <p:nvPr/>
          </p:nvSpPr>
          <p:spPr>
            <a:xfrm>
              <a:off x="813318" y="1669550"/>
              <a:ext cx="200023" cy="154807"/>
            </a:xfrm>
            <a:custGeom>
              <a:avLst/>
              <a:gdLst>
                <a:gd name="connsiteX0" fmla="*/ 165452 w 200023"/>
                <a:gd name="connsiteY0" fmla="*/ 154808 h 154807"/>
                <a:gd name="connsiteX1" fmla="*/ 129781 w 200023"/>
                <a:gd name="connsiteY1" fmla="*/ 121733 h 154807"/>
                <a:gd name="connsiteX2" fmla="*/ 129781 w 200023"/>
                <a:gd name="connsiteY2" fmla="*/ 104583 h 154807"/>
                <a:gd name="connsiteX3" fmla="*/ 198705 w 200023"/>
                <a:gd name="connsiteY3" fmla="*/ 0 h 154807"/>
                <a:gd name="connsiteX4" fmla="*/ 1319 w 200023"/>
                <a:gd name="connsiteY4" fmla="*/ 0 h 154807"/>
                <a:gd name="connsiteX5" fmla="*/ 70243 w 200023"/>
                <a:gd name="connsiteY5" fmla="*/ 104583 h 154807"/>
                <a:gd name="connsiteX6" fmla="*/ 70243 w 200023"/>
                <a:gd name="connsiteY6" fmla="*/ 121733 h 154807"/>
                <a:gd name="connsiteX7" fmla="*/ 34572 w 200023"/>
                <a:gd name="connsiteY7" fmla="*/ 154808 h 154807"/>
                <a:gd name="connsiteX8" fmla="*/ 165440 w 200023"/>
                <a:gd name="connsiteY8" fmla="*/ 154808 h 154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00023" h="154807">
                  <a:moveTo>
                    <a:pt x="165452" y="154808"/>
                  </a:moveTo>
                  <a:cubicBezTo>
                    <a:pt x="139571" y="146173"/>
                    <a:pt x="129781" y="121733"/>
                    <a:pt x="129781" y="121733"/>
                  </a:cubicBezTo>
                  <a:lnTo>
                    <a:pt x="129781" y="104583"/>
                  </a:lnTo>
                  <a:cubicBezTo>
                    <a:pt x="215427" y="74152"/>
                    <a:pt x="198705" y="0"/>
                    <a:pt x="198705" y="0"/>
                  </a:cubicBezTo>
                  <a:lnTo>
                    <a:pt x="1319" y="0"/>
                  </a:lnTo>
                  <a:cubicBezTo>
                    <a:pt x="1319" y="0"/>
                    <a:pt x="-15403" y="74152"/>
                    <a:pt x="70243" y="104583"/>
                  </a:cubicBezTo>
                  <a:lnTo>
                    <a:pt x="70243" y="121733"/>
                  </a:lnTo>
                  <a:cubicBezTo>
                    <a:pt x="70243" y="121733"/>
                    <a:pt x="60476" y="146173"/>
                    <a:pt x="34572" y="154808"/>
                  </a:cubicBezTo>
                  <a:lnTo>
                    <a:pt x="165440" y="154808"/>
                  </a:ln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2" name="Forma livre: Forma 41">
              <a:extLst>
                <a:ext uri="{FF2B5EF4-FFF2-40B4-BE49-F238E27FC236}">
                  <a16:creationId xmlns:a16="http://schemas.microsoft.com/office/drawing/2014/main" id="{58A38406-600B-3CCB-EB8C-4348967DD4D5}"/>
                </a:ext>
              </a:extLst>
            </p:cNvPr>
            <p:cNvSpPr/>
            <p:nvPr/>
          </p:nvSpPr>
          <p:spPr>
            <a:xfrm>
              <a:off x="873508" y="1544863"/>
              <a:ext cx="25713" cy="42435"/>
            </a:xfrm>
            <a:custGeom>
              <a:avLst/>
              <a:gdLst>
                <a:gd name="connsiteX0" fmla="*/ 25714 w 25713"/>
                <a:gd name="connsiteY0" fmla="*/ 0 h 42435"/>
                <a:gd name="connsiteX1" fmla="*/ 0 w 25713"/>
                <a:gd name="connsiteY1" fmla="*/ 42436 h 424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5713" h="42435">
                  <a:moveTo>
                    <a:pt x="25714" y="0"/>
                  </a:moveTo>
                  <a:cubicBezTo>
                    <a:pt x="25714" y="0"/>
                    <a:pt x="5145" y="18008"/>
                    <a:pt x="0" y="42436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3" name="Forma livre: Forma 42">
              <a:extLst>
                <a:ext uri="{FF2B5EF4-FFF2-40B4-BE49-F238E27FC236}">
                  <a16:creationId xmlns:a16="http://schemas.microsoft.com/office/drawing/2014/main" id="{FBA97569-4DE6-7C1F-EB40-4C75ABFBF24B}"/>
                </a:ext>
              </a:extLst>
            </p:cNvPr>
            <p:cNvSpPr/>
            <p:nvPr/>
          </p:nvSpPr>
          <p:spPr>
            <a:xfrm>
              <a:off x="842566" y="1701088"/>
              <a:ext cx="167765" cy="1191"/>
            </a:xfrm>
            <a:custGeom>
              <a:avLst/>
              <a:gdLst>
                <a:gd name="connsiteX0" fmla="*/ 0 w 167765"/>
                <a:gd name="connsiteY0" fmla="*/ 0 h 1191"/>
                <a:gd name="connsiteX1" fmla="*/ 167766 w 167765"/>
                <a:gd name="connsiteY1" fmla="*/ 0 h 11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67765" h="1191">
                  <a:moveTo>
                    <a:pt x="0" y="0"/>
                  </a:moveTo>
                  <a:lnTo>
                    <a:pt x="167766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44" name="Gráfico 2">
            <a:extLst>
              <a:ext uri="{FF2B5EF4-FFF2-40B4-BE49-F238E27FC236}">
                <a16:creationId xmlns:a16="http://schemas.microsoft.com/office/drawing/2014/main" id="{A21D36E0-A347-E55F-36B7-C18F9C28FD71}"/>
              </a:ext>
            </a:extLst>
          </p:cNvPr>
          <p:cNvGrpSpPr/>
          <p:nvPr/>
        </p:nvGrpSpPr>
        <p:grpSpPr>
          <a:xfrm>
            <a:off x="1376502" y="1501815"/>
            <a:ext cx="313241" cy="328128"/>
            <a:chOff x="1376502" y="1501815"/>
            <a:chExt cx="313241" cy="328128"/>
          </a:xfrm>
          <a:noFill/>
        </p:grpSpPr>
        <p:grpSp>
          <p:nvGrpSpPr>
            <p:cNvPr id="45" name="Gráfico 2">
              <a:extLst>
                <a:ext uri="{FF2B5EF4-FFF2-40B4-BE49-F238E27FC236}">
                  <a16:creationId xmlns:a16="http://schemas.microsoft.com/office/drawing/2014/main" id="{84E9CD50-98E7-B54C-74DA-B9736101E6A3}"/>
                </a:ext>
              </a:extLst>
            </p:cNvPr>
            <p:cNvGrpSpPr/>
            <p:nvPr/>
          </p:nvGrpSpPr>
          <p:grpSpPr>
            <a:xfrm>
              <a:off x="1376502" y="1501815"/>
              <a:ext cx="313241" cy="153812"/>
              <a:chOff x="1376502" y="1501815"/>
              <a:chExt cx="313241" cy="153812"/>
            </a:xfrm>
            <a:noFill/>
          </p:grpSpPr>
          <p:sp>
            <p:nvSpPr>
              <p:cNvPr id="46" name="Forma livre: Forma 45">
                <a:extLst>
                  <a:ext uri="{FF2B5EF4-FFF2-40B4-BE49-F238E27FC236}">
                    <a16:creationId xmlns:a16="http://schemas.microsoft.com/office/drawing/2014/main" id="{22477D29-41F3-C72C-75BF-291B8AD4C56D}"/>
                  </a:ext>
                </a:extLst>
              </p:cNvPr>
              <p:cNvSpPr/>
              <p:nvPr/>
            </p:nvSpPr>
            <p:spPr>
              <a:xfrm>
                <a:off x="1406481" y="1561811"/>
                <a:ext cx="33102" cy="93815"/>
              </a:xfrm>
              <a:custGeom>
                <a:avLst/>
                <a:gdLst>
                  <a:gd name="connsiteX0" fmla="*/ 33102 w 33102"/>
                  <a:gd name="connsiteY0" fmla="*/ 93816 h 93815"/>
                  <a:gd name="connsiteX1" fmla="*/ 1350 w 33102"/>
                  <a:gd name="connsiteY1" fmla="*/ 22498 h 93815"/>
                  <a:gd name="connsiteX2" fmla="*/ 9330 w 33102"/>
                  <a:gd name="connsiteY2" fmla="*/ 1727 h 93815"/>
                  <a:gd name="connsiteX3" fmla="*/ 13188 w 33102"/>
                  <a:gd name="connsiteY3" fmla="*/ 0 h 938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102" h="93815">
                    <a:moveTo>
                      <a:pt x="33102" y="93816"/>
                    </a:moveTo>
                    <a:lnTo>
                      <a:pt x="1350" y="22498"/>
                    </a:lnTo>
                    <a:cubicBezTo>
                      <a:pt x="-2164" y="14590"/>
                      <a:pt x="1421" y="5252"/>
                      <a:pt x="9330" y="1727"/>
                    </a:cubicBezTo>
                    <a:lnTo>
                      <a:pt x="13188" y="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7" name="Forma livre: Forma 46">
                <a:extLst>
                  <a:ext uri="{FF2B5EF4-FFF2-40B4-BE49-F238E27FC236}">
                    <a16:creationId xmlns:a16="http://schemas.microsoft.com/office/drawing/2014/main" id="{FD06E5A3-C6F4-5539-2685-0A5ABC204E34}"/>
                  </a:ext>
                </a:extLst>
              </p:cNvPr>
              <p:cNvSpPr/>
              <p:nvPr/>
            </p:nvSpPr>
            <p:spPr>
              <a:xfrm>
                <a:off x="1376502" y="1591908"/>
                <a:ext cx="20157" cy="63028"/>
              </a:xfrm>
              <a:custGeom>
                <a:avLst/>
                <a:gdLst>
                  <a:gd name="connsiteX0" fmla="*/ 20158 w 20157"/>
                  <a:gd name="connsiteY0" fmla="*/ 63028 h 63028"/>
                  <a:gd name="connsiteX1" fmla="*/ 1352 w 20157"/>
                  <a:gd name="connsiteY1" fmla="*/ 20771 h 63028"/>
                  <a:gd name="connsiteX2" fmla="*/ 9331 w 20157"/>
                  <a:gd name="connsiteY2" fmla="*/ 0 h 630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0157" h="63028">
                    <a:moveTo>
                      <a:pt x="20158" y="63028"/>
                    </a:moveTo>
                    <a:lnTo>
                      <a:pt x="1352" y="20771"/>
                    </a:lnTo>
                    <a:cubicBezTo>
                      <a:pt x="-2162" y="12863"/>
                      <a:pt x="1411" y="3525"/>
                      <a:pt x="9331" y="0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8" name="Forma livre: Forma 47">
                <a:extLst>
                  <a:ext uri="{FF2B5EF4-FFF2-40B4-BE49-F238E27FC236}">
                    <a16:creationId xmlns:a16="http://schemas.microsoft.com/office/drawing/2014/main" id="{699E006C-8012-115E-DA2B-376103A6B0B3}"/>
                  </a:ext>
                </a:extLst>
              </p:cNvPr>
              <p:cNvSpPr/>
              <p:nvPr/>
            </p:nvSpPr>
            <p:spPr>
              <a:xfrm>
                <a:off x="1527623" y="1501815"/>
                <a:ext cx="162120" cy="99966"/>
              </a:xfrm>
              <a:custGeom>
                <a:avLst/>
                <a:gdLst>
                  <a:gd name="connsiteX0" fmla="*/ 0 w 162120"/>
                  <a:gd name="connsiteY0" fmla="*/ 62164 h 99966"/>
                  <a:gd name="connsiteX1" fmla="*/ 136907 w 162120"/>
                  <a:gd name="connsiteY1" fmla="*/ 1232 h 99966"/>
                  <a:gd name="connsiteX2" fmla="*/ 155772 w 162120"/>
                  <a:gd name="connsiteY2" fmla="*/ 8485 h 99966"/>
                  <a:gd name="connsiteX3" fmla="*/ 160894 w 162120"/>
                  <a:gd name="connsiteY3" fmla="*/ 19990 h 99966"/>
                  <a:gd name="connsiteX4" fmla="*/ 153640 w 162120"/>
                  <a:gd name="connsiteY4" fmla="*/ 38856 h 99966"/>
                  <a:gd name="connsiteX5" fmla="*/ 16365 w 162120"/>
                  <a:gd name="connsiteY5" fmla="*/ 99967 h 999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62120" h="99966">
                    <a:moveTo>
                      <a:pt x="0" y="62164"/>
                    </a:moveTo>
                    <a:lnTo>
                      <a:pt x="136907" y="1232"/>
                    </a:lnTo>
                    <a:cubicBezTo>
                      <a:pt x="144088" y="-1972"/>
                      <a:pt x="152580" y="1292"/>
                      <a:pt x="155772" y="8485"/>
                    </a:cubicBezTo>
                    <a:lnTo>
                      <a:pt x="160894" y="19990"/>
                    </a:lnTo>
                    <a:cubicBezTo>
                      <a:pt x="164086" y="27172"/>
                      <a:pt x="160834" y="35664"/>
                      <a:pt x="153640" y="38856"/>
                    </a:cubicBezTo>
                    <a:lnTo>
                      <a:pt x="16365" y="99967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9" name="Forma livre: Forma 48">
                <a:extLst>
                  <a:ext uri="{FF2B5EF4-FFF2-40B4-BE49-F238E27FC236}">
                    <a16:creationId xmlns:a16="http://schemas.microsoft.com/office/drawing/2014/main" id="{DBA25493-A950-DFB8-C918-AA7ECD1C3FA9}"/>
                  </a:ext>
                </a:extLst>
              </p:cNvPr>
              <p:cNvSpPr/>
              <p:nvPr/>
            </p:nvSpPr>
            <p:spPr>
              <a:xfrm>
                <a:off x="1442295" y="1543149"/>
                <a:ext cx="41570" cy="111620"/>
              </a:xfrm>
              <a:custGeom>
                <a:avLst/>
                <a:gdLst>
                  <a:gd name="connsiteX0" fmla="*/ 39807 w 41570"/>
                  <a:gd name="connsiteY0" fmla="*/ 111621 h 111620"/>
                  <a:gd name="connsiteX1" fmla="*/ 1350 w 41570"/>
                  <a:gd name="connsiteY1" fmla="*/ 25213 h 111620"/>
                  <a:gd name="connsiteX2" fmla="*/ 9329 w 41570"/>
                  <a:gd name="connsiteY2" fmla="*/ 4442 h 111620"/>
                  <a:gd name="connsiteX3" fmla="*/ 16273 w 41570"/>
                  <a:gd name="connsiteY3" fmla="*/ 1357 h 111620"/>
                  <a:gd name="connsiteX4" fmla="*/ 37044 w 41570"/>
                  <a:gd name="connsiteY4" fmla="*/ 9325 h 111620"/>
                  <a:gd name="connsiteX5" fmla="*/ 41570 w 41570"/>
                  <a:gd name="connsiteY5" fmla="*/ 19508 h 1116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41570" h="111620">
                    <a:moveTo>
                      <a:pt x="39807" y="111621"/>
                    </a:moveTo>
                    <a:lnTo>
                      <a:pt x="1350" y="25213"/>
                    </a:lnTo>
                    <a:cubicBezTo>
                      <a:pt x="-2164" y="17316"/>
                      <a:pt x="1421" y="7967"/>
                      <a:pt x="9329" y="4442"/>
                    </a:cubicBezTo>
                    <a:lnTo>
                      <a:pt x="16273" y="1357"/>
                    </a:lnTo>
                    <a:cubicBezTo>
                      <a:pt x="24169" y="-2169"/>
                      <a:pt x="33519" y="1416"/>
                      <a:pt x="37044" y="9325"/>
                    </a:cubicBezTo>
                    <a:lnTo>
                      <a:pt x="41570" y="19508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50" name="Gráfico 2">
                <a:extLst>
                  <a:ext uri="{FF2B5EF4-FFF2-40B4-BE49-F238E27FC236}">
                    <a16:creationId xmlns:a16="http://schemas.microsoft.com/office/drawing/2014/main" id="{3C84A372-6068-D5D0-0003-451472A5D340}"/>
                  </a:ext>
                </a:extLst>
              </p:cNvPr>
              <p:cNvGrpSpPr/>
              <p:nvPr/>
            </p:nvGrpSpPr>
            <p:grpSpPr>
              <a:xfrm>
                <a:off x="1483361" y="1539903"/>
                <a:ext cx="70260" cy="106111"/>
                <a:chOff x="1483361" y="1539903"/>
                <a:chExt cx="70260" cy="106111"/>
              </a:xfrm>
              <a:noFill/>
            </p:grpSpPr>
            <p:sp>
              <p:nvSpPr>
                <p:cNvPr id="51" name="Forma livre: Forma 50">
                  <a:extLst>
                    <a:ext uri="{FF2B5EF4-FFF2-40B4-BE49-F238E27FC236}">
                      <a16:creationId xmlns:a16="http://schemas.microsoft.com/office/drawing/2014/main" id="{7ED2C123-3124-EC55-D2C0-4E413A973F57}"/>
                    </a:ext>
                  </a:extLst>
                </p:cNvPr>
                <p:cNvSpPr/>
                <p:nvPr/>
              </p:nvSpPr>
              <p:spPr>
                <a:xfrm>
                  <a:off x="1483361" y="1539903"/>
                  <a:ext cx="70260" cy="106111"/>
                </a:xfrm>
                <a:custGeom>
                  <a:avLst/>
                  <a:gdLst>
                    <a:gd name="connsiteX0" fmla="*/ 68904 w 70260"/>
                    <a:gd name="connsiteY0" fmla="*/ 80899 h 106111"/>
                    <a:gd name="connsiteX1" fmla="*/ 60924 w 70260"/>
                    <a:gd name="connsiteY1" fmla="*/ 101670 h 106111"/>
                    <a:gd name="connsiteX2" fmla="*/ 53980 w 70260"/>
                    <a:gd name="connsiteY2" fmla="*/ 104755 h 106111"/>
                    <a:gd name="connsiteX3" fmla="*/ 33209 w 70260"/>
                    <a:gd name="connsiteY3" fmla="*/ 96787 h 106111"/>
                    <a:gd name="connsiteX4" fmla="*/ 1350 w 70260"/>
                    <a:gd name="connsiteY4" fmla="*/ 25207 h 106111"/>
                    <a:gd name="connsiteX5" fmla="*/ 9330 w 70260"/>
                    <a:gd name="connsiteY5" fmla="*/ 4436 h 106111"/>
                    <a:gd name="connsiteX6" fmla="*/ 16273 w 70260"/>
                    <a:gd name="connsiteY6" fmla="*/ 1352 h 106111"/>
                    <a:gd name="connsiteX7" fmla="*/ 37056 w 70260"/>
                    <a:gd name="connsiteY7" fmla="*/ 9331 h 106111"/>
                    <a:gd name="connsiteX8" fmla="*/ 68904 w 70260"/>
                    <a:gd name="connsiteY8" fmla="*/ 80911 h 10611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70260" h="106111">
                      <a:moveTo>
                        <a:pt x="68904" y="80899"/>
                      </a:moveTo>
                      <a:cubicBezTo>
                        <a:pt x="72429" y="88807"/>
                        <a:pt x="68844" y="98145"/>
                        <a:pt x="60924" y="101670"/>
                      </a:cubicBezTo>
                      <a:lnTo>
                        <a:pt x="53980" y="104755"/>
                      </a:lnTo>
                      <a:cubicBezTo>
                        <a:pt x="46084" y="108280"/>
                        <a:pt x="36735" y="104696"/>
                        <a:pt x="33209" y="96787"/>
                      </a:cubicBezTo>
                      <a:lnTo>
                        <a:pt x="1350" y="25207"/>
                      </a:lnTo>
                      <a:cubicBezTo>
                        <a:pt x="-2164" y="17311"/>
                        <a:pt x="1421" y="7962"/>
                        <a:pt x="9330" y="4436"/>
                      </a:cubicBezTo>
                      <a:lnTo>
                        <a:pt x="16273" y="1352"/>
                      </a:lnTo>
                      <a:cubicBezTo>
                        <a:pt x="24181" y="-2162"/>
                        <a:pt x="33519" y="1411"/>
                        <a:pt x="37056" y="9331"/>
                      </a:cubicBezTo>
                      <a:lnTo>
                        <a:pt x="68904" y="80911"/>
                      </a:lnTo>
                      <a:close/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52" name="Forma livre: Forma 51">
                  <a:extLst>
                    <a:ext uri="{FF2B5EF4-FFF2-40B4-BE49-F238E27FC236}">
                      <a16:creationId xmlns:a16="http://schemas.microsoft.com/office/drawing/2014/main" id="{286763FE-31E9-CED2-D920-5AF5F7902E8D}"/>
                    </a:ext>
                  </a:extLst>
                </p:cNvPr>
                <p:cNvSpPr/>
                <p:nvPr/>
              </p:nvSpPr>
              <p:spPr>
                <a:xfrm>
                  <a:off x="1483361" y="1539903"/>
                  <a:ext cx="70260" cy="106111"/>
                </a:xfrm>
                <a:custGeom>
                  <a:avLst/>
                  <a:gdLst>
                    <a:gd name="connsiteX0" fmla="*/ 68904 w 70260"/>
                    <a:gd name="connsiteY0" fmla="*/ 80899 h 106111"/>
                    <a:gd name="connsiteX1" fmla="*/ 60924 w 70260"/>
                    <a:gd name="connsiteY1" fmla="*/ 101670 h 106111"/>
                    <a:gd name="connsiteX2" fmla="*/ 53980 w 70260"/>
                    <a:gd name="connsiteY2" fmla="*/ 104755 h 106111"/>
                    <a:gd name="connsiteX3" fmla="*/ 33209 w 70260"/>
                    <a:gd name="connsiteY3" fmla="*/ 96787 h 106111"/>
                    <a:gd name="connsiteX4" fmla="*/ 1350 w 70260"/>
                    <a:gd name="connsiteY4" fmla="*/ 25207 h 106111"/>
                    <a:gd name="connsiteX5" fmla="*/ 9330 w 70260"/>
                    <a:gd name="connsiteY5" fmla="*/ 4436 h 106111"/>
                    <a:gd name="connsiteX6" fmla="*/ 16273 w 70260"/>
                    <a:gd name="connsiteY6" fmla="*/ 1352 h 106111"/>
                    <a:gd name="connsiteX7" fmla="*/ 37056 w 70260"/>
                    <a:gd name="connsiteY7" fmla="*/ 9331 h 106111"/>
                    <a:gd name="connsiteX8" fmla="*/ 68904 w 70260"/>
                    <a:gd name="connsiteY8" fmla="*/ 80911 h 10611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70260" h="106111">
                      <a:moveTo>
                        <a:pt x="68904" y="80899"/>
                      </a:moveTo>
                      <a:cubicBezTo>
                        <a:pt x="72429" y="88807"/>
                        <a:pt x="68844" y="98145"/>
                        <a:pt x="60924" y="101670"/>
                      </a:cubicBezTo>
                      <a:lnTo>
                        <a:pt x="53980" y="104755"/>
                      </a:lnTo>
                      <a:cubicBezTo>
                        <a:pt x="46084" y="108280"/>
                        <a:pt x="36735" y="104696"/>
                        <a:pt x="33209" y="96787"/>
                      </a:cubicBezTo>
                      <a:lnTo>
                        <a:pt x="1350" y="25207"/>
                      </a:lnTo>
                      <a:cubicBezTo>
                        <a:pt x="-2164" y="17311"/>
                        <a:pt x="1421" y="7962"/>
                        <a:pt x="9330" y="4436"/>
                      </a:cubicBezTo>
                      <a:lnTo>
                        <a:pt x="16273" y="1352"/>
                      </a:lnTo>
                      <a:cubicBezTo>
                        <a:pt x="24181" y="-2162"/>
                        <a:pt x="33519" y="1411"/>
                        <a:pt x="37056" y="9331"/>
                      </a:cubicBezTo>
                      <a:lnTo>
                        <a:pt x="68904" y="80911"/>
                      </a:lnTo>
                      <a:close/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sp>
          <p:nvSpPr>
            <p:cNvPr id="53" name="Forma livre: Forma 52">
              <a:extLst>
                <a:ext uri="{FF2B5EF4-FFF2-40B4-BE49-F238E27FC236}">
                  <a16:creationId xmlns:a16="http://schemas.microsoft.com/office/drawing/2014/main" id="{4AA6A334-3F66-324E-8734-985BFD6AF4DA}"/>
                </a:ext>
              </a:extLst>
            </p:cNvPr>
            <p:cNvSpPr/>
            <p:nvPr/>
          </p:nvSpPr>
          <p:spPr>
            <a:xfrm>
              <a:off x="1385985" y="1641407"/>
              <a:ext cx="161423" cy="188536"/>
            </a:xfrm>
            <a:custGeom>
              <a:avLst/>
              <a:gdLst>
                <a:gd name="connsiteX0" fmla="*/ 108587 w 161423"/>
                <a:gd name="connsiteY0" fmla="*/ 8754 h 188536"/>
                <a:gd name="connsiteX1" fmla="*/ 40581 w 161423"/>
                <a:gd name="connsiteY1" fmla="*/ 10862 h 188536"/>
                <a:gd name="connsiteX2" fmla="*/ 1432 w 161423"/>
                <a:gd name="connsiteY2" fmla="*/ 26976 h 188536"/>
                <a:gd name="connsiteX3" fmla="*/ 384 w 161423"/>
                <a:gd name="connsiteY3" fmla="*/ 30823 h 188536"/>
                <a:gd name="connsiteX4" fmla="*/ 26324 w 161423"/>
                <a:gd name="connsiteY4" fmla="*/ 66661 h 188536"/>
                <a:gd name="connsiteX5" fmla="*/ 28242 w 161423"/>
                <a:gd name="connsiteY5" fmla="*/ 67280 h 188536"/>
                <a:gd name="connsiteX6" fmla="*/ 60506 w 161423"/>
                <a:gd name="connsiteY6" fmla="*/ 114111 h 188536"/>
                <a:gd name="connsiteX7" fmla="*/ 58648 w 161423"/>
                <a:gd name="connsiteY7" fmla="*/ 125461 h 188536"/>
                <a:gd name="connsiteX8" fmla="*/ 58375 w 161423"/>
                <a:gd name="connsiteY8" fmla="*/ 125985 h 188536"/>
                <a:gd name="connsiteX9" fmla="*/ 46226 w 161423"/>
                <a:gd name="connsiteY9" fmla="*/ 153545 h 188536"/>
                <a:gd name="connsiteX10" fmla="*/ 74155 w 161423"/>
                <a:gd name="connsiteY10" fmla="*/ 188537 h 188536"/>
                <a:gd name="connsiteX11" fmla="*/ 74596 w 161423"/>
                <a:gd name="connsiteY11" fmla="*/ 188537 h 188536"/>
                <a:gd name="connsiteX12" fmla="*/ 102525 w 161423"/>
                <a:gd name="connsiteY12" fmla="*/ 153545 h 188536"/>
                <a:gd name="connsiteX13" fmla="*/ 90746 w 161423"/>
                <a:gd name="connsiteY13" fmla="*/ 127402 h 188536"/>
                <a:gd name="connsiteX14" fmla="*/ 90163 w 161423"/>
                <a:gd name="connsiteY14" fmla="*/ 125723 h 188536"/>
                <a:gd name="connsiteX15" fmla="*/ 88102 w 161423"/>
                <a:gd name="connsiteY15" fmla="*/ 114825 h 188536"/>
                <a:gd name="connsiteX16" fmla="*/ 110755 w 161423"/>
                <a:gd name="connsiteY16" fmla="*/ 47474 h 188536"/>
                <a:gd name="connsiteX17" fmla="*/ 142877 w 161423"/>
                <a:gd name="connsiteY17" fmla="*/ 34730 h 188536"/>
                <a:gd name="connsiteX18" fmla="*/ 160289 w 161423"/>
                <a:gd name="connsiteY18" fmla="*/ 0 h 1885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61423" h="188536">
                  <a:moveTo>
                    <a:pt x="108587" y="8754"/>
                  </a:moveTo>
                  <a:cubicBezTo>
                    <a:pt x="108587" y="8754"/>
                    <a:pt x="84827" y="30073"/>
                    <a:pt x="40581" y="10862"/>
                  </a:cubicBezTo>
                  <a:cubicBezTo>
                    <a:pt x="40581" y="10862"/>
                    <a:pt x="11961" y="1191"/>
                    <a:pt x="1432" y="26976"/>
                  </a:cubicBezTo>
                  <a:lnTo>
                    <a:pt x="384" y="30823"/>
                  </a:lnTo>
                  <a:cubicBezTo>
                    <a:pt x="384" y="30823"/>
                    <a:pt x="-5214" y="59598"/>
                    <a:pt x="26324" y="66661"/>
                  </a:cubicBezTo>
                  <a:lnTo>
                    <a:pt x="28242" y="67280"/>
                  </a:lnTo>
                  <a:cubicBezTo>
                    <a:pt x="39616" y="71782"/>
                    <a:pt x="57839" y="83585"/>
                    <a:pt x="60506" y="114111"/>
                  </a:cubicBezTo>
                  <a:cubicBezTo>
                    <a:pt x="60697" y="116314"/>
                    <a:pt x="61030" y="118220"/>
                    <a:pt x="58648" y="125461"/>
                  </a:cubicBezTo>
                  <a:lnTo>
                    <a:pt x="58375" y="125985"/>
                  </a:lnTo>
                  <a:cubicBezTo>
                    <a:pt x="54778" y="136561"/>
                    <a:pt x="50383" y="142981"/>
                    <a:pt x="46226" y="153545"/>
                  </a:cubicBezTo>
                  <a:cubicBezTo>
                    <a:pt x="39783" y="169945"/>
                    <a:pt x="52300" y="188549"/>
                    <a:pt x="74155" y="188537"/>
                  </a:cubicBezTo>
                  <a:lnTo>
                    <a:pt x="74596" y="188537"/>
                  </a:lnTo>
                  <a:cubicBezTo>
                    <a:pt x="96439" y="188537"/>
                    <a:pt x="108957" y="169933"/>
                    <a:pt x="102525" y="153545"/>
                  </a:cubicBezTo>
                  <a:cubicBezTo>
                    <a:pt x="98369" y="142969"/>
                    <a:pt x="94343" y="137979"/>
                    <a:pt x="90746" y="127402"/>
                  </a:cubicBezTo>
                  <a:lnTo>
                    <a:pt x="90163" y="125723"/>
                  </a:lnTo>
                  <a:cubicBezTo>
                    <a:pt x="89007" y="122138"/>
                    <a:pt x="88066" y="116826"/>
                    <a:pt x="88102" y="114825"/>
                  </a:cubicBezTo>
                  <a:cubicBezTo>
                    <a:pt x="88924" y="56704"/>
                    <a:pt x="100167" y="51869"/>
                    <a:pt x="110755" y="47474"/>
                  </a:cubicBezTo>
                  <a:cubicBezTo>
                    <a:pt x="125452" y="41364"/>
                    <a:pt x="130764" y="39280"/>
                    <a:pt x="142877" y="34730"/>
                  </a:cubicBezTo>
                  <a:cubicBezTo>
                    <a:pt x="142877" y="34730"/>
                    <a:pt x="166840" y="26345"/>
                    <a:pt x="160289" y="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54" name="Gráfico 2">
            <a:extLst>
              <a:ext uri="{FF2B5EF4-FFF2-40B4-BE49-F238E27FC236}">
                <a16:creationId xmlns:a16="http://schemas.microsoft.com/office/drawing/2014/main" id="{7048E935-1BF4-669B-9E8D-B1A2676A817D}"/>
              </a:ext>
            </a:extLst>
          </p:cNvPr>
          <p:cNvGrpSpPr/>
          <p:nvPr/>
        </p:nvGrpSpPr>
        <p:grpSpPr>
          <a:xfrm>
            <a:off x="1999990" y="994473"/>
            <a:ext cx="305851" cy="286914"/>
            <a:chOff x="1999990" y="994473"/>
            <a:chExt cx="305851" cy="286914"/>
          </a:xfrm>
          <a:noFill/>
        </p:grpSpPr>
        <p:grpSp>
          <p:nvGrpSpPr>
            <p:cNvPr id="55" name="Gráfico 2">
              <a:extLst>
                <a:ext uri="{FF2B5EF4-FFF2-40B4-BE49-F238E27FC236}">
                  <a16:creationId xmlns:a16="http://schemas.microsoft.com/office/drawing/2014/main" id="{C4A6D6E0-5C6D-D6C9-885C-F665012E2289}"/>
                </a:ext>
              </a:extLst>
            </p:cNvPr>
            <p:cNvGrpSpPr/>
            <p:nvPr/>
          </p:nvGrpSpPr>
          <p:grpSpPr>
            <a:xfrm>
              <a:off x="1999990" y="994473"/>
              <a:ext cx="215989" cy="286914"/>
              <a:chOff x="1999990" y="994473"/>
              <a:chExt cx="215989" cy="286914"/>
            </a:xfrm>
            <a:noFill/>
          </p:grpSpPr>
          <p:sp>
            <p:nvSpPr>
              <p:cNvPr id="56" name="Forma livre: Forma 55">
                <a:extLst>
                  <a:ext uri="{FF2B5EF4-FFF2-40B4-BE49-F238E27FC236}">
                    <a16:creationId xmlns:a16="http://schemas.microsoft.com/office/drawing/2014/main" id="{86678D0A-FE1D-231E-ACC7-586422EE3542}"/>
                  </a:ext>
                </a:extLst>
              </p:cNvPr>
              <p:cNvSpPr/>
              <p:nvPr/>
            </p:nvSpPr>
            <p:spPr>
              <a:xfrm>
                <a:off x="1999990" y="994473"/>
                <a:ext cx="215989" cy="286914"/>
              </a:xfrm>
              <a:custGeom>
                <a:avLst/>
                <a:gdLst>
                  <a:gd name="connsiteX0" fmla="*/ 215990 w 215989"/>
                  <a:gd name="connsiteY0" fmla="*/ 120816 h 286914"/>
                  <a:gd name="connsiteX1" fmla="*/ 215990 w 215989"/>
                  <a:gd name="connsiteY1" fmla="*/ 0 h 286914"/>
                  <a:gd name="connsiteX2" fmla="*/ 0 w 215989"/>
                  <a:gd name="connsiteY2" fmla="*/ 0 h 286914"/>
                  <a:gd name="connsiteX3" fmla="*/ 0 w 215989"/>
                  <a:gd name="connsiteY3" fmla="*/ 286914 h 286914"/>
                  <a:gd name="connsiteX4" fmla="*/ 100200 w 215989"/>
                  <a:gd name="connsiteY4" fmla="*/ 286914 h 2869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15989" h="286914">
                    <a:moveTo>
                      <a:pt x="215990" y="120816"/>
                    </a:moveTo>
                    <a:lnTo>
                      <a:pt x="215990" y="0"/>
                    </a:lnTo>
                    <a:lnTo>
                      <a:pt x="0" y="0"/>
                    </a:lnTo>
                    <a:lnTo>
                      <a:pt x="0" y="286914"/>
                    </a:lnTo>
                    <a:lnTo>
                      <a:pt x="100200" y="286914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7" name="Forma livre: Forma 56">
                <a:extLst>
                  <a:ext uri="{FF2B5EF4-FFF2-40B4-BE49-F238E27FC236}">
                    <a16:creationId xmlns:a16="http://schemas.microsoft.com/office/drawing/2014/main" id="{5392D6B5-5854-BCAC-AA2A-CF4657E1BDBE}"/>
                  </a:ext>
                </a:extLst>
              </p:cNvPr>
              <p:cNvSpPr/>
              <p:nvPr/>
            </p:nvSpPr>
            <p:spPr>
              <a:xfrm>
                <a:off x="2000430" y="1051237"/>
                <a:ext cx="214000" cy="76855"/>
              </a:xfrm>
              <a:custGeom>
                <a:avLst/>
                <a:gdLst>
                  <a:gd name="connsiteX0" fmla="*/ 0 w 214000"/>
                  <a:gd name="connsiteY0" fmla="*/ 76856 h 76855"/>
                  <a:gd name="connsiteX1" fmla="*/ 214001 w 214000"/>
                  <a:gd name="connsiteY1" fmla="*/ 0 h 768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14000" h="76855">
                    <a:moveTo>
                      <a:pt x="0" y="76856"/>
                    </a:moveTo>
                    <a:lnTo>
                      <a:pt x="214001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8" name="Forma livre: Forma 57">
                <a:extLst>
                  <a:ext uri="{FF2B5EF4-FFF2-40B4-BE49-F238E27FC236}">
                    <a16:creationId xmlns:a16="http://schemas.microsoft.com/office/drawing/2014/main" id="{33182F53-22B4-119D-BD21-E34B19B9FF7D}"/>
                  </a:ext>
                </a:extLst>
              </p:cNvPr>
              <p:cNvSpPr/>
              <p:nvPr/>
            </p:nvSpPr>
            <p:spPr>
              <a:xfrm>
                <a:off x="2001681" y="1206676"/>
                <a:ext cx="57918" cy="19830"/>
              </a:xfrm>
              <a:custGeom>
                <a:avLst/>
                <a:gdLst>
                  <a:gd name="connsiteX0" fmla="*/ 0 w 57918"/>
                  <a:gd name="connsiteY0" fmla="*/ 19830 h 19830"/>
                  <a:gd name="connsiteX1" fmla="*/ 57919 w 57918"/>
                  <a:gd name="connsiteY1" fmla="*/ 0 h 198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7918" h="19830">
                    <a:moveTo>
                      <a:pt x="0" y="19830"/>
                    </a:moveTo>
                    <a:lnTo>
                      <a:pt x="57919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59" name="Gráfico 2">
              <a:extLst>
                <a:ext uri="{FF2B5EF4-FFF2-40B4-BE49-F238E27FC236}">
                  <a16:creationId xmlns:a16="http://schemas.microsoft.com/office/drawing/2014/main" id="{D1B322C3-7641-707C-D4F6-F2AA83AEADA6}"/>
                </a:ext>
              </a:extLst>
            </p:cNvPr>
            <p:cNvGrpSpPr/>
            <p:nvPr/>
          </p:nvGrpSpPr>
          <p:grpSpPr>
            <a:xfrm>
              <a:off x="2076283" y="1107846"/>
              <a:ext cx="229558" cy="173542"/>
              <a:chOff x="2076283" y="1107846"/>
              <a:chExt cx="229558" cy="173542"/>
            </a:xfrm>
            <a:noFill/>
          </p:grpSpPr>
          <p:sp>
            <p:nvSpPr>
              <p:cNvPr id="60" name="Forma livre: Forma 59">
                <a:extLst>
                  <a:ext uri="{FF2B5EF4-FFF2-40B4-BE49-F238E27FC236}">
                    <a16:creationId xmlns:a16="http://schemas.microsoft.com/office/drawing/2014/main" id="{D9AF6F84-180F-5EC0-5A6E-F114424EBEC1}"/>
                  </a:ext>
                </a:extLst>
              </p:cNvPr>
              <p:cNvSpPr/>
              <p:nvPr/>
            </p:nvSpPr>
            <p:spPr>
              <a:xfrm>
                <a:off x="2092519" y="1135882"/>
                <a:ext cx="37385" cy="29322"/>
              </a:xfrm>
              <a:custGeom>
                <a:avLst/>
                <a:gdLst>
                  <a:gd name="connsiteX0" fmla="*/ 3323 w 37385"/>
                  <a:gd name="connsiteY0" fmla="*/ 29323 h 29322"/>
                  <a:gd name="connsiteX1" fmla="*/ 0 w 37385"/>
                  <a:gd name="connsiteY1" fmla="*/ 18687 h 29322"/>
                  <a:gd name="connsiteX2" fmla="*/ 18687 w 37385"/>
                  <a:gd name="connsiteY2" fmla="*/ 0 h 29322"/>
                  <a:gd name="connsiteX3" fmla="*/ 37386 w 37385"/>
                  <a:gd name="connsiteY3" fmla="*/ 18687 h 29322"/>
                  <a:gd name="connsiteX4" fmla="*/ 34194 w 37385"/>
                  <a:gd name="connsiteY4" fmla="*/ 29132 h 293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7385" h="29322">
                    <a:moveTo>
                      <a:pt x="3323" y="29323"/>
                    </a:moveTo>
                    <a:cubicBezTo>
                      <a:pt x="1227" y="26298"/>
                      <a:pt x="0" y="22629"/>
                      <a:pt x="0" y="18687"/>
                    </a:cubicBezTo>
                    <a:cubicBezTo>
                      <a:pt x="0" y="8361"/>
                      <a:pt x="8361" y="0"/>
                      <a:pt x="18687" y="0"/>
                    </a:cubicBezTo>
                    <a:cubicBezTo>
                      <a:pt x="29013" y="0"/>
                      <a:pt x="37386" y="8361"/>
                      <a:pt x="37386" y="18687"/>
                    </a:cubicBezTo>
                    <a:cubicBezTo>
                      <a:pt x="37386" y="22558"/>
                      <a:pt x="36219" y="26155"/>
                      <a:pt x="34194" y="29132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61" name="Forma livre: Forma 60">
                <a:extLst>
                  <a:ext uri="{FF2B5EF4-FFF2-40B4-BE49-F238E27FC236}">
                    <a16:creationId xmlns:a16="http://schemas.microsoft.com/office/drawing/2014/main" id="{971D0CB4-A169-603D-DD8F-53E3368AC9D4}"/>
                  </a:ext>
                </a:extLst>
              </p:cNvPr>
              <p:cNvSpPr/>
              <p:nvPr/>
            </p:nvSpPr>
            <p:spPr>
              <a:xfrm>
                <a:off x="2154154" y="1110383"/>
                <a:ext cx="32038" cy="24761"/>
              </a:xfrm>
              <a:custGeom>
                <a:avLst/>
                <a:gdLst>
                  <a:gd name="connsiteX0" fmla="*/ 0 w 32038"/>
                  <a:gd name="connsiteY0" fmla="*/ 5598 h 24761"/>
                  <a:gd name="connsiteX1" fmla="*/ 13351 w 32038"/>
                  <a:gd name="connsiteY1" fmla="*/ 0 h 24761"/>
                  <a:gd name="connsiteX2" fmla="*/ 32038 w 32038"/>
                  <a:gd name="connsiteY2" fmla="*/ 18687 h 24761"/>
                  <a:gd name="connsiteX3" fmla="*/ 31026 w 32038"/>
                  <a:gd name="connsiteY3" fmla="*/ 24761 h 247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2038" h="24761">
                    <a:moveTo>
                      <a:pt x="0" y="5598"/>
                    </a:moveTo>
                    <a:cubicBezTo>
                      <a:pt x="3394" y="2144"/>
                      <a:pt x="8123" y="0"/>
                      <a:pt x="13351" y="0"/>
                    </a:cubicBezTo>
                    <a:cubicBezTo>
                      <a:pt x="23665" y="0"/>
                      <a:pt x="32038" y="8361"/>
                      <a:pt x="32038" y="18687"/>
                    </a:cubicBezTo>
                    <a:cubicBezTo>
                      <a:pt x="32038" y="20819"/>
                      <a:pt x="31681" y="22867"/>
                      <a:pt x="31026" y="24761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62" name="Forma livre: Forma 61">
                <a:extLst>
                  <a:ext uri="{FF2B5EF4-FFF2-40B4-BE49-F238E27FC236}">
                    <a16:creationId xmlns:a16="http://schemas.microsoft.com/office/drawing/2014/main" id="{7F078C42-E25C-6CAC-E427-108A29FE1853}"/>
                  </a:ext>
                </a:extLst>
              </p:cNvPr>
              <p:cNvSpPr/>
              <p:nvPr/>
            </p:nvSpPr>
            <p:spPr>
              <a:xfrm>
                <a:off x="2129893" y="1135882"/>
                <a:ext cx="37397" cy="29132"/>
              </a:xfrm>
              <a:custGeom>
                <a:avLst/>
                <a:gdLst>
                  <a:gd name="connsiteX0" fmla="*/ 3192 w 37397"/>
                  <a:gd name="connsiteY0" fmla="*/ 29132 h 29132"/>
                  <a:gd name="connsiteX1" fmla="*/ 0 w 37397"/>
                  <a:gd name="connsiteY1" fmla="*/ 18687 h 29132"/>
                  <a:gd name="connsiteX2" fmla="*/ 18699 w 37397"/>
                  <a:gd name="connsiteY2" fmla="*/ 0 h 29132"/>
                  <a:gd name="connsiteX3" fmla="*/ 37398 w 37397"/>
                  <a:gd name="connsiteY3" fmla="*/ 18687 h 29132"/>
                  <a:gd name="connsiteX4" fmla="*/ 34194 w 37397"/>
                  <a:gd name="connsiteY4" fmla="*/ 29132 h 291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7397" h="29132">
                    <a:moveTo>
                      <a:pt x="3192" y="29132"/>
                    </a:moveTo>
                    <a:cubicBezTo>
                      <a:pt x="1179" y="26155"/>
                      <a:pt x="0" y="22558"/>
                      <a:pt x="0" y="18687"/>
                    </a:cubicBezTo>
                    <a:cubicBezTo>
                      <a:pt x="0" y="8361"/>
                      <a:pt x="8373" y="0"/>
                      <a:pt x="18699" y="0"/>
                    </a:cubicBezTo>
                    <a:cubicBezTo>
                      <a:pt x="29025" y="0"/>
                      <a:pt x="37398" y="8361"/>
                      <a:pt x="37398" y="18687"/>
                    </a:cubicBezTo>
                    <a:cubicBezTo>
                      <a:pt x="37398" y="22558"/>
                      <a:pt x="36219" y="26155"/>
                      <a:pt x="34194" y="29132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63" name="Forma livre: Forma 62">
                <a:extLst>
                  <a:ext uri="{FF2B5EF4-FFF2-40B4-BE49-F238E27FC236}">
                    <a16:creationId xmlns:a16="http://schemas.microsoft.com/office/drawing/2014/main" id="{59E55813-3546-3E3C-3BD4-4750C8A8CCF0}"/>
                  </a:ext>
                </a:extLst>
              </p:cNvPr>
              <p:cNvSpPr/>
              <p:nvPr/>
            </p:nvSpPr>
            <p:spPr>
              <a:xfrm>
                <a:off x="2167100" y="1135882"/>
                <a:ext cx="37385" cy="29334"/>
              </a:xfrm>
              <a:custGeom>
                <a:avLst/>
                <a:gdLst>
                  <a:gd name="connsiteX0" fmla="*/ 3323 w 37385"/>
                  <a:gd name="connsiteY0" fmla="*/ 29335 h 29334"/>
                  <a:gd name="connsiteX1" fmla="*/ 0 w 37385"/>
                  <a:gd name="connsiteY1" fmla="*/ 18687 h 29334"/>
                  <a:gd name="connsiteX2" fmla="*/ 18687 w 37385"/>
                  <a:gd name="connsiteY2" fmla="*/ 0 h 29334"/>
                  <a:gd name="connsiteX3" fmla="*/ 37386 w 37385"/>
                  <a:gd name="connsiteY3" fmla="*/ 18687 h 29334"/>
                  <a:gd name="connsiteX4" fmla="*/ 34194 w 37385"/>
                  <a:gd name="connsiteY4" fmla="*/ 29132 h 293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7385" h="29334">
                    <a:moveTo>
                      <a:pt x="3323" y="29335"/>
                    </a:moveTo>
                    <a:cubicBezTo>
                      <a:pt x="1227" y="26309"/>
                      <a:pt x="0" y="22653"/>
                      <a:pt x="0" y="18687"/>
                    </a:cubicBezTo>
                    <a:cubicBezTo>
                      <a:pt x="0" y="8361"/>
                      <a:pt x="8373" y="0"/>
                      <a:pt x="18687" y="0"/>
                    </a:cubicBezTo>
                    <a:cubicBezTo>
                      <a:pt x="29001" y="0"/>
                      <a:pt x="37386" y="8361"/>
                      <a:pt x="37386" y="18687"/>
                    </a:cubicBezTo>
                    <a:cubicBezTo>
                      <a:pt x="37386" y="22558"/>
                      <a:pt x="36219" y="26155"/>
                      <a:pt x="34194" y="29132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64" name="Forma livre: Forma 63">
                <a:extLst>
                  <a:ext uri="{FF2B5EF4-FFF2-40B4-BE49-F238E27FC236}">
                    <a16:creationId xmlns:a16="http://schemas.microsoft.com/office/drawing/2014/main" id="{98B45578-9BC8-FBBF-533C-59D1033A50BF}"/>
                  </a:ext>
                </a:extLst>
              </p:cNvPr>
              <p:cNvSpPr/>
              <p:nvPr/>
            </p:nvSpPr>
            <p:spPr>
              <a:xfrm>
                <a:off x="2204367" y="1135882"/>
                <a:ext cx="37385" cy="29132"/>
              </a:xfrm>
              <a:custGeom>
                <a:avLst/>
                <a:gdLst>
                  <a:gd name="connsiteX0" fmla="*/ 3192 w 37385"/>
                  <a:gd name="connsiteY0" fmla="*/ 29132 h 29132"/>
                  <a:gd name="connsiteX1" fmla="*/ 0 w 37385"/>
                  <a:gd name="connsiteY1" fmla="*/ 18687 h 29132"/>
                  <a:gd name="connsiteX2" fmla="*/ 18687 w 37385"/>
                  <a:gd name="connsiteY2" fmla="*/ 0 h 29132"/>
                  <a:gd name="connsiteX3" fmla="*/ 37386 w 37385"/>
                  <a:gd name="connsiteY3" fmla="*/ 18687 h 29132"/>
                  <a:gd name="connsiteX4" fmla="*/ 34194 w 37385"/>
                  <a:gd name="connsiteY4" fmla="*/ 29132 h 291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7385" h="29132">
                    <a:moveTo>
                      <a:pt x="3192" y="29132"/>
                    </a:moveTo>
                    <a:cubicBezTo>
                      <a:pt x="1167" y="26155"/>
                      <a:pt x="0" y="22558"/>
                      <a:pt x="0" y="18687"/>
                    </a:cubicBezTo>
                    <a:cubicBezTo>
                      <a:pt x="0" y="8361"/>
                      <a:pt x="8361" y="0"/>
                      <a:pt x="18687" y="0"/>
                    </a:cubicBezTo>
                    <a:cubicBezTo>
                      <a:pt x="29013" y="0"/>
                      <a:pt x="37386" y="8361"/>
                      <a:pt x="37386" y="18687"/>
                    </a:cubicBezTo>
                    <a:cubicBezTo>
                      <a:pt x="37386" y="22558"/>
                      <a:pt x="36207" y="26155"/>
                      <a:pt x="34194" y="29132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65" name="Forma livre: Forma 64">
                <a:extLst>
                  <a:ext uri="{FF2B5EF4-FFF2-40B4-BE49-F238E27FC236}">
                    <a16:creationId xmlns:a16="http://schemas.microsoft.com/office/drawing/2014/main" id="{B067939D-A455-B4AE-53D2-F231D28C2F35}"/>
                  </a:ext>
                </a:extLst>
              </p:cNvPr>
              <p:cNvSpPr/>
              <p:nvPr/>
            </p:nvSpPr>
            <p:spPr>
              <a:xfrm>
                <a:off x="2076283" y="1166134"/>
                <a:ext cx="212566" cy="115254"/>
              </a:xfrm>
              <a:custGeom>
                <a:avLst/>
                <a:gdLst>
                  <a:gd name="connsiteX0" fmla="*/ 46178 w 212566"/>
                  <a:gd name="connsiteY0" fmla="*/ 115254 h 115254"/>
                  <a:gd name="connsiteX1" fmla="*/ 46178 w 212566"/>
                  <a:gd name="connsiteY1" fmla="*/ 90231 h 115254"/>
                  <a:gd name="connsiteX2" fmla="*/ 27 w 212566"/>
                  <a:gd name="connsiteY2" fmla="*/ 0 h 115254"/>
                  <a:gd name="connsiteX3" fmla="*/ 212539 w 212566"/>
                  <a:gd name="connsiteY3" fmla="*/ 0 h 115254"/>
                  <a:gd name="connsiteX4" fmla="*/ 166387 w 212566"/>
                  <a:gd name="connsiteY4" fmla="*/ 90231 h 115254"/>
                  <a:gd name="connsiteX5" fmla="*/ 166411 w 212566"/>
                  <a:gd name="connsiteY5" fmla="*/ 115254 h 115254"/>
                  <a:gd name="connsiteX6" fmla="*/ 46178 w 212566"/>
                  <a:gd name="connsiteY6" fmla="*/ 115254 h 1152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12566" h="115254">
                    <a:moveTo>
                      <a:pt x="46178" y="115254"/>
                    </a:moveTo>
                    <a:lnTo>
                      <a:pt x="46178" y="90231"/>
                    </a:lnTo>
                    <a:cubicBezTo>
                      <a:pt x="-2677" y="59896"/>
                      <a:pt x="27" y="0"/>
                      <a:pt x="27" y="0"/>
                    </a:cubicBezTo>
                    <a:lnTo>
                      <a:pt x="212539" y="0"/>
                    </a:lnTo>
                    <a:cubicBezTo>
                      <a:pt x="212539" y="0"/>
                      <a:pt x="215254" y="59896"/>
                      <a:pt x="166387" y="90231"/>
                    </a:cubicBezTo>
                    <a:lnTo>
                      <a:pt x="166411" y="115254"/>
                    </a:lnTo>
                    <a:lnTo>
                      <a:pt x="46178" y="115254"/>
                    </a:ln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66" name="Forma livre: Forma 65">
                <a:extLst>
                  <a:ext uri="{FF2B5EF4-FFF2-40B4-BE49-F238E27FC236}">
                    <a16:creationId xmlns:a16="http://schemas.microsoft.com/office/drawing/2014/main" id="{84742968-BF2C-1B7D-56FE-0A12D8B08213}"/>
                  </a:ext>
                </a:extLst>
              </p:cNvPr>
              <p:cNvSpPr/>
              <p:nvPr/>
            </p:nvSpPr>
            <p:spPr>
              <a:xfrm>
                <a:off x="2250685" y="1107846"/>
                <a:ext cx="55155" cy="57716"/>
              </a:xfrm>
              <a:custGeom>
                <a:avLst/>
                <a:gdLst>
                  <a:gd name="connsiteX0" fmla="*/ 0 w 55155"/>
                  <a:gd name="connsiteY0" fmla="*/ 57716 h 57716"/>
                  <a:gd name="connsiteX1" fmla="*/ 55156 w 55155"/>
                  <a:gd name="connsiteY1" fmla="*/ 0 h 577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5155" h="57716">
                    <a:moveTo>
                      <a:pt x="0" y="57716"/>
                    </a:moveTo>
                    <a:lnTo>
                      <a:pt x="55156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67" name="Gráfico 2">
            <a:extLst>
              <a:ext uri="{FF2B5EF4-FFF2-40B4-BE49-F238E27FC236}">
                <a16:creationId xmlns:a16="http://schemas.microsoft.com/office/drawing/2014/main" id="{249ADA59-A1BD-3DF2-6487-3932A148515C}"/>
              </a:ext>
            </a:extLst>
          </p:cNvPr>
          <p:cNvGrpSpPr/>
          <p:nvPr/>
        </p:nvGrpSpPr>
        <p:grpSpPr>
          <a:xfrm>
            <a:off x="737780" y="987030"/>
            <a:ext cx="351086" cy="301790"/>
            <a:chOff x="737780" y="987030"/>
            <a:chExt cx="351086" cy="301790"/>
          </a:xfrm>
          <a:noFill/>
        </p:grpSpPr>
        <p:sp>
          <p:nvSpPr>
            <p:cNvPr id="68" name="Forma livre: Forma 67">
              <a:extLst>
                <a:ext uri="{FF2B5EF4-FFF2-40B4-BE49-F238E27FC236}">
                  <a16:creationId xmlns:a16="http://schemas.microsoft.com/office/drawing/2014/main" id="{81CB5640-9B3B-5842-F9DF-3171AFF465BA}"/>
                </a:ext>
              </a:extLst>
            </p:cNvPr>
            <p:cNvSpPr/>
            <p:nvPr/>
          </p:nvSpPr>
          <p:spPr>
            <a:xfrm>
              <a:off x="737780" y="987030"/>
              <a:ext cx="243657" cy="230508"/>
            </a:xfrm>
            <a:custGeom>
              <a:avLst/>
              <a:gdLst>
                <a:gd name="connsiteX0" fmla="*/ 100224 w 243657"/>
                <a:gd name="connsiteY0" fmla="*/ 230508 h 230508"/>
                <a:gd name="connsiteX1" fmla="*/ 90612 w 243657"/>
                <a:gd name="connsiteY1" fmla="*/ 229341 h 230508"/>
                <a:gd name="connsiteX2" fmla="*/ 7480 w 243657"/>
                <a:gd name="connsiteY2" fmla="*/ 184190 h 230508"/>
                <a:gd name="connsiteX3" fmla="*/ 15591 w 243657"/>
                <a:gd name="connsiteY3" fmla="*/ 93209 h 230508"/>
                <a:gd name="connsiteX4" fmla="*/ 58038 w 243657"/>
                <a:gd name="connsiteY4" fmla="*/ 29763 h 230508"/>
                <a:gd name="connsiteX5" fmla="*/ 135180 w 243657"/>
                <a:gd name="connsiteY5" fmla="*/ 0 h 230508"/>
                <a:gd name="connsiteX6" fmla="*/ 207224 w 243657"/>
                <a:gd name="connsiteY6" fmla="*/ 22510 h 230508"/>
                <a:gd name="connsiteX7" fmla="*/ 222159 w 243657"/>
                <a:gd name="connsiteY7" fmla="*/ 54108 h 230508"/>
                <a:gd name="connsiteX8" fmla="*/ 243657 w 243657"/>
                <a:gd name="connsiteY8" fmla="*/ 101951 h 2305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43657" h="230508">
                  <a:moveTo>
                    <a:pt x="100224" y="230508"/>
                  </a:moveTo>
                  <a:cubicBezTo>
                    <a:pt x="97234" y="230115"/>
                    <a:pt x="94042" y="229722"/>
                    <a:pt x="90612" y="229341"/>
                  </a:cubicBezTo>
                  <a:cubicBezTo>
                    <a:pt x="48188" y="224672"/>
                    <a:pt x="20212" y="209487"/>
                    <a:pt x="7480" y="184190"/>
                  </a:cubicBezTo>
                  <a:cubicBezTo>
                    <a:pt x="-7598" y="154272"/>
                    <a:pt x="2716" y="118315"/>
                    <a:pt x="15591" y="93209"/>
                  </a:cubicBezTo>
                  <a:cubicBezTo>
                    <a:pt x="31276" y="62611"/>
                    <a:pt x="41686" y="46485"/>
                    <a:pt x="58038" y="29763"/>
                  </a:cubicBezTo>
                  <a:cubicBezTo>
                    <a:pt x="77201" y="10207"/>
                    <a:pt x="100331" y="0"/>
                    <a:pt x="135180" y="0"/>
                  </a:cubicBezTo>
                  <a:cubicBezTo>
                    <a:pt x="165396" y="0"/>
                    <a:pt x="196255" y="6693"/>
                    <a:pt x="207224" y="22510"/>
                  </a:cubicBezTo>
                  <a:cubicBezTo>
                    <a:pt x="214918" y="33587"/>
                    <a:pt x="218539" y="41435"/>
                    <a:pt x="222159" y="54108"/>
                  </a:cubicBezTo>
                  <a:cubicBezTo>
                    <a:pt x="227031" y="71139"/>
                    <a:pt x="229865" y="81382"/>
                    <a:pt x="243657" y="101951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9" name="Forma livre: Forma 68">
              <a:extLst>
                <a:ext uri="{FF2B5EF4-FFF2-40B4-BE49-F238E27FC236}">
                  <a16:creationId xmlns:a16="http://schemas.microsoft.com/office/drawing/2014/main" id="{9BC002FA-ED11-2AEC-6D32-7137448D9838}"/>
                </a:ext>
              </a:extLst>
            </p:cNvPr>
            <p:cNvSpPr/>
            <p:nvPr/>
          </p:nvSpPr>
          <p:spPr>
            <a:xfrm>
              <a:off x="811337" y="1042697"/>
              <a:ext cx="100938" cy="100950"/>
            </a:xfrm>
            <a:custGeom>
              <a:avLst/>
              <a:gdLst>
                <a:gd name="connsiteX0" fmla="*/ 100938 w 100938"/>
                <a:gd name="connsiteY0" fmla="*/ 50475 h 100950"/>
                <a:gd name="connsiteX1" fmla="*/ 50475 w 100938"/>
                <a:gd name="connsiteY1" fmla="*/ 100950 h 100950"/>
                <a:gd name="connsiteX2" fmla="*/ 0 w 100938"/>
                <a:gd name="connsiteY2" fmla="*/ 50475 h 100950"/>
                <a:gd name="connsiteX3" fmla="*/ 50475 w 100938"/>
                <a:gd name="connsiteY3" fmla="*/ 0 h 100950"/>
                <a:gd name="connsiteX4" fmla="*/ 100938 w 100938"/>
                <a:gd name="connsiteY4" fmla="*/ 50475 h 1009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0938" h="100950">
                  <a:moveTo>
                    <a:pt x="100938" y="50475"/>
                  </a:moveTo>
                  <a:cubicBezTo>
                    <a:pt x="100938" y="78345"/>
                    <a:pt x="78345" y="100950"/>
                    <a:pt x="50475" y="100950"/>
                  </a:cubicBezTo>
                  <a:cubicBezTo>
                    <a:pt x="22605" y="100950"/>
                    <a:pt x="0" y="78345"/>
                    <a:pt x="0" y="50475"/>
                  </a:cubicBezTo>
                  <a:cubicBezTo>
                    <a:pt x="0" y="22605"/>
                    <a:pt x="22593" y="0"/>
                    <a:pt x="50475" y="0"/>
                  </a:cubicBezTo>
                  <a:cubicBezTo>
                    <a:pt x="78357" y="0"/>
                    <a:pt x="100938" y="22605"/>
                    <a:pt x="100938" y="50475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70" name="Forma livre: Forma 69">
              <a:extLst>
                <a:ext uri="{FF2B5EF4-FFF2-40B4-BE49-F238E27FC236}">
                  <a16:creationId xmlns:a16="http://schemas.microsoft.com/office/drawing/2014/main" id="{81A2CA25-8614-3FB2-368A-EC9DE51B4600}"/>
                </a:ext>
              </a:extLst>
            </p:cNvPr>
            <p:cNvSpPr/>
            <p:nvPr/>
          </p:nvSpPr>
          <p:spPr>
            <a:xfrm>
              <a:off x="839481" y="1070758"/>
              <a:ext cx="15280" cy="20854"/>
            </a:xfrm>
            <a:custGeom>
              <a:avLst/>
              <a:gdLst>
                <a:gd name="connsiteX0" fmla="*/ 0 w 15280"/>
                <a:gd name="connsiteY0" fmla="*/ 20855 h 20854"/>
                <a:gd name="connsiteX1" fmla="*/ 15281 w 15280"/>
                <a:gd name="connsiteY1" fmla="*/ 0 h 208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280" h="20854">
                  <a:moveTo>
                    <a:pt x="0" y="20855"/>
                  </a:moveTo>
                  <a:cubicBezTo>
                    <a:pt x="1548" y="11743"/>
                    <a:pt x="7349" y="4109"/>
                    <a:pt x="15281" y="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71" name="Gráfico 2">
              <a:extLst>
                <a:ext uri="{FF2B5EF4-FFF2-40B4-BE49-F238E27FC236}">
                  <a16:creationId xmlns:a16="http://schemas.microsoft.com/office/drawing/2014/main" id="{887B2C44-AF51-14DC-8A14-95CAE78DD14A}"/>
                </a:ext>
              </a:extLst>
            </p:cNvPr>
            <p:cNvGrpSpPr/>
            <p:nvPr/>
          </p:nvGrpSpPr>
          <p:grpSpPr>
            <a:xfrm>
              <a:off x="827666" y="1076594"/>
              <a:ext cx="261200" cy="212226"/>
              <a:chOff x="827666" y="1076594"/>
              <a:chExt cx="261200" cy="212226"/>
            </a:xfrm>
            <a:noFill/>
          </p:grpSpPr>
          <p:sp>
            <p:nvSpPr>
              <p:cNvPr id="72" name="Forma livre: Forma 71">
                <a:extLst>
                  <a:ext uri="{FF2B5EF4-FFF2-40B4-BE49-F238E27FC236}">
                    <a16:creationId xmlns:a16="http://schemas.microsoft.com/office/drawing/2014/main" id="{FFC61561-056B-5A70-8F62-5EBB5A2281A8}"/>
                  </a:ext>
                </a:extLst>
              </p:cNvPr>
              <p:cNvSpPr/>
              <p:nvPr/>
            </p:nvSpPr>
            <p:spPr>
              <a:xfrm>
                <a:off x="827666" y="1076594"/>
                <a:ext cx="261200" cy="212226"/>
              </a:xfrm>
              <a:custGeom>
                <a:avLst/>
                <a:gdLst>
                  <a:gd name="connsiteX0" fmla="*/ 261200 w 261200"/>
                  <a:gd name="connsiteY0" fmla="*/ 4002 h 212226"/>
                  <a:gd name="connsiteX1" fmla="*/ 206033 w 261200"/>
                  <a:gd name="connsiteY1" fmla="*/ 0 h 212226"/>
                  <a:gd name="connsiteX2" fmla="*/ 196314 w 261200"/>
                  <a:gd name="connsiteY2" fmla="*/ 17579 h 212226"/>
                  <a:gd name="connsiteX3" fmla="*/ 175412 w 261200"/>
                  <a:gd name="connsiteY3" fmla="*/ 27739 h 212226"/>
                  <a:gd name="connsiteX4" fmla="*/ 175412 w 261200"/>
                  <a:gd name="connsiteY4" fmla="*/ 27798 h 212226"/>
                  <a:gd name="connsiteX5" fmla="*/ 128677 w 261200"/>
                  <a:gd name="connsiteY5" fmla="*/ 52619 h 212226"/>
                  <a:gd name="connsiteX6" fmla="*/ 103427 w 261200"/>
                  <a:gd name="connsiteY6" fmla="*/ 101307 h 212226"/>
                  <a:gd name="connsiteX7" fmla="*/ 103296 w 261200"/>
                  <a:gd name="connsiteY7" fmla="*/ 101284 h 212226"/>
                  <a:gd name="connsiteX8" fmla="*/ 93411 w 261200"/>
                  <a:gd name="connsiteY8" fmla="*/ 120483 h 212226"/>
                  <a:gd name="connsiteX9" fmla="*/ 93399 w 261200"/>
                  <a:gd name="connsiteY9" fmla="*/ 120506 h 212226"/>
                  <a:gd name="connsiteX10" fmla="*/ 72330 w 261200"/>
                  <a:gd name="connsiteY10" fmla="*/ 130690 h 212226"/>
                  <a:gd name="connsiteX11" fmla="*/ 72354 w 261200"/>
                  <a:gd name="connsiteY11" fmla="*/ 130797 h 212226"/>
                  <a:gd name="connsiteX12" fmla="*/ 25797 w 261200"/>
                  <a:gd name="connsiteY12" fmla="*/ 155498 h 212226"/>
                  <a:gd name="connsiteX13" fmla="*/ 25773 w 261200"/>
                  <a:gd name="connsiteY13" fmla="*/ 155522 h 212226"/>
                  <a:gd name="connsiteX14" fmla="*/ 0 w 261200"/>
                  <a:gd name="connsiteY14" fmla="*/ 208189 h 212226"/>
                  <a:gd name="connsiteX15" fmla="*/ 55168 w 261200"/>
                  <a:gd name="connsiteY15" fmla="*/ 212226 h 212226"/>
                  <a:gd name="connsiteX16" fmla="*/ 64886 w 261200"/>
                  <a:gd name="connsiteY16" fmla="*/ 194635 h 212226"/>
                  <a:gd name="connsiteX17" fmla="*/ 64886 w 261200"/>
                  <a:gd name="connsiteY17" fmla="*/ 194635 h 212226"/>
                  <a:gd name="connsiteX18" fmla="*/ 84633 w 261200"/>
                  <a:gd name="connsiteY18" fmla="*/ 184583 h 212226"/>
                  <a:gd name="connsiteX19" fmla="*/ 85145 w 261200"/>
                  <a:gd name="connsiteY19" fmla="*/ 184464 h 212226"/>
                  <a:gd name="connsiteX20" fmla="*/ 132488 w 261200"/>
                  <a:gd name="connsiteY20" fmla="*/ 159607 h 212226"/>
                  <a:gd name="connsiteX21" fmla="*/ 132524 w 261200"/>
                  <a:gd name="connsiteY21" fmla="*/ 159572 h 212226"/>
                  <a:gd name="connsiteX22" fmla="*/ 157702 w 261200"/>
                  <a:gd name="connsiteY22" fmla="*/ 110931 h 212226"/>
                  <a:gd name="connsiteX23" fmla="*/ 157749 w 261200"/>
                  <a:gd name="connsiteY23" fmla="*/ 110419 h 212226"/>
                  <a:gd name="connsiteX24" fmla="*/ 167778 w 261200"/>
                  <a:gd name="connsiteY24" fmla="*/ 91720 h 212226"/>
                  <a:gd name="connsiteX25" fmla="*/ 187644 w 261200"/>
                  <a:gd name="connsiteY25" fmla="*/ 81739 h 212226"/>
                  <a:gd name="connsiteX26" fmla="*/ 187644 w 261200"/>
                  <a:gd name="connsiteY26" fmla="*/ 81680 h 212226"/>
                  <a:gd name="connsiteX27" fmla="*/ 235427 w 261200"/>
                  <a:gd name="connsiteY27" fmla="*/ 56680 h 212226"/>
                  <a:gd name="connsiteX28" fmla="*/ 261189 w 261200"/>
                  <a:gd name="connsiteY28" fmla="*/ 4002 h 2122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</a:cxnLst>
                <a:rect l="l" t="t" r="r" b="b"/>
                <a:pathLst>
                  <a:path w="261200" h="212226">
                    <a:moveTo>
                      <a:pt x="261200" y="4002"/>
                    </a:moveTo>
                    <a:lnTo>
                      <a:pt x="206033" y="0"/>
                    </a:lnTo>
                    <a:cubicBezTo>
                      <a:pt x="205747" y="3907"/>
                      <a:pt x="203032" y="10850"/>
                      <a:pt x="196314" y="17579"/>
                    </a:cubicBezTo>
                    <a:cubicBezTo>
                      <a:pt x="190895" y="22998"/>
                      <a:pt x="185023" y="25857"/>
                      <a:pt x="175412" y="27739"/>
                    </a:cubicBezTo>
                    <a:lnTo>
                      <a:pt x="175412" y="27798"/>
                    </a:lnTo>
                    <a:cubicBezTo>
                      <a:pt x="157011" y="31335"/>
                      <a:pt x="142040" y="39244"/>
                      <a:pt x="128677" y="52619"/>
                    </a:cubicBezTo>
                    <a:cubicBezTo>
                      <a:pt x="115064" y="66232"/>
                      <a:pt x="106917" y="78214"/>
                      <a:pt x="103427" y="101307"/>
                    </a:cubicBezTo>
                    <a:lnTo>
                      <a:pt x="103296" y="101284"/>
                    </a:lnTo>
                    <a:cubicBezTo>
                      <a:pt x="102344" y="108501"/>
                      <a:pt x="99116" y="114778"/>
                      <a:pt x="93411" y="120483"/>
                    </a:cubicBezTo>
                    <a:cubicBezTo>
                      <a:pt x="93411" y="120483"/>
                      <a:pt x="93387" y="120483"/>
                      <a:pt x="93399" y="120506"/>
                    </a:cubicBezTo>
                    <a:cubicBezTo>
                      <a:pt x="88206" y="125699"/>
                      <a:pt x="81894" y="128748"/>
                      <a:pt x="72330" y="130690"/>
                    </a:cubicBezTo>
                    <a:lnTo>
                      <a:pt x="72354" y="130797"/>
                    </a:lnTo>
                    <a:cubicBezTo>
                      <a:pt x="54131" y="134572"/>
                      <a:pt x="38470" y="142838"/>
                      <a:pt x="25797" y="155498"/>
                    </a:cubicBezTo>
                    <a:cubicBezTo>
                      <a:pt x="25797" y="155498"/>
                      <a:pt x="25785" y="155522"/>
                      <a:pt x="25773" y="155522"/>
                    </a:cubicBezTo>
                    <a:cubicBezTo>
                      <a:pt x="10743" y="170553"/>
                      <a:pt x="1346" y="189752"/>
                      <a:pt x="0" y="208189"/>
                    </a:cubicBezTo>
                    <a:lnTo>
                      <a:pt x="55168" y="212226"/>
                    </a:lnTo>
                    <a:cubicBezTo>
                      <a:pt x="56192" y="208022"/>
                      <a:pt x="58169" y="201352"/>
                      <a:pt x="64886" y="194635"/>
                    </a:cubicBezTo>
                    <a:lnTo>
                      <a:pt x="64886" y="194635"/>
                    </a:lnTo>
                    <a:cubicBezTo>
                      <a:pt x="70341" y="189168"/>
                      <a:pt x="76058" y="186072"/>
                      <a:pt x="84633" y="184583"/>
                    </a:cubicBezTo>
                    <a:lnTo>
                      <a:pt x="85145" y="184464"/>
                    </a:lnTo>
                    <a:cubicBezTo>
                      <a:pt x="104452" y="180236"/>
                      <a:pt x="119970" y="172125"/>
                      <a:pt x="132488" y="159607"/>
                    </a:cubicBezTo>
                    <a:cubicBezTo>
                      <a:pt x="132512" y="159607"/>
                      <a:pt x="132524" y="159584"/>
                      <a:pt x="132524" y="159572"/>
                    </a:cubicBezTo>
                    <a:cubicBezTo>
                      <a:pt x="146137" y="145958"/>
                      <a:pt x="154772" y="129177"/>
                      <a:pt x="157702" y="110931"/>
                    </a:cubicBezTo>
                    <a:lnTo>
                      <a:pt x="157749" y="110419"/>
                    </a:lnTo>
                    <a:cubicBezTo>
                      <a:pt x="160191" y="100128"/>
                      <a:pt x="163168" y="97151"/>
                      <a:pt x="167778" y="91720"/>
                    </a:cubicBezTo>
                    <a:cubicBezTo>
                      <a:pt x="173209" y="85312"/>
                      <a:pt x="179092" y="83073"/>
                      <a:pt x="187644" y="81739"/>
                    </a:cubicBezTo>
                    <a:lnTo>
                      <a:pt x="187644" y="81680"/>
                    </a:lnTo>
                    <a:cubicBezTo>
                      <a:pt x="200423" y="79024"/>
                      <a:pt x="218658" y="73450"/>
                      <a:pt x="235427" y="56680"/>
                    </a:cubicBezTo>
                    <a:cubicBezTo>
                      <a:pt x="250469" y="41626"/>
                      <a:pt x="259855" y="22415"/>
                      <a:pt x="261189" y="4002"/>
                    </a:cubicBezTo>
                    <a:close/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3" name="Forma livre: Forma 72">
                <a:extLst>
                  <a:ext uri="{FF2B5EF4-FFF2-40B4-BE49-F238E27FC236}">
                    <a16:creationId xmlns:a16="http://schemas.microsoft.com/office/drawing/2014/main" id="{D6615C98-38E9-1895-CB7E-2BDFAC182325}"/>
                  </a:ext>
                </a:extLst>
              </p:cNvPr>
              <p:cNvSpPr/>
              <p:nvPr/>
            </p:nvSpPr>
            <p:spPr>
              <a:xfrm>
                <a:off x="858180" y="1139800"/>
                <a:ext cx="135834" cy="147089"/>
              </a:xfrm>
              <a:custGeom>
                <a:avLst/>
                <a:gdLst>
                  <a:gd name="connsiteX0" fmla="*/ 135835 w 135834"/>
                  <a:gd name="connsiteY0" fmla="*/ 0 h 147089"/>
                  <a:gd name="connsiteX1" fmla="*/ 120316 w 135834"/>
                  <a:gd name="connsiteY1" fmla="*/ 11553 h 147089"/>
                  <a:gd name="connsiteX2" fmla="*/ 102856 w 135834"/>
                  <a:gd name="connsiteY2" fmla="*/ 44949 h 147089"/>
                  <a:gd name="connsiteX3" fmla="*/ 102808 w 135834"/>
                  <a:gd name="connsiteY3" fmla="*/ 45366 h 147089"/>
                  <a:gd name="connsiteX4" fmla="*/ 85050 w 135834"/>
                  <a:gd name="connsiteY4" fmla="*/ 79417 h 147089"/>
                  <a:gd name="connsiteX5" fmla="*/ 49915 w 135834"/>
                  <a:gd name="connsiteY5" fmla="*/ 97175 h 147089"/>
                  <a:gd name="connsiteX6" fmla="*/ 47807 w 135834"/>
                  <a:gd name="connsiteY6" fmla="*/ 97687 h 147089"/>
                  <a:gd name="connsiteX7" fmla="*/ 17413 w 135834"/>
                  <a:gd name="connsiteY7" fmla="*/ 114480 h 147089"/>
                  <a:gd name="connsiteX8" fmla="*/ 0 w 135834"/>
                  <a:gd name="connsiteY8" fmla="*/ 147090 h 1470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35834" h="147089">
                    <a:moveTo>
                      <a:pt x="135835" y="0"/>
                    </a:moveTo>
                    <a:cubicBezTo>
                      <a:pt x="130463" y="2787"/>
                      <a:pt x="125354" y="6527"/>
                      <a:pt x="120316" y="11553"/>
                    </a:cubicBezTo>
                    <a:cubicBezTo>
                      <a:pt x="109549" y="22331"/>
                      <a:pt x="105142" y="27834"/>
                      <a:pt x="102856" y="44949"/>
                    </a:cubicBezTo>
                    <a:lnTo>
                      <a:pt x="102808" y="45366"/>
                    </a:lnTo>
                    <a:cubicBezTo>
                      <a:pt x="101200" y="57550"/>
                      <a:pt x="95829" y="68650"/>
                      <a:pt x="85050" y="79417"/>
                    </a:cubicBezTo>
                    <a:cubicBezTo>
                      <a:pt x="74271" y="90195"/>
                      <a:pt x="61802" y="94757"/>
                      <a:pt x="49915" y="97175"/>
                    </a:cubicBezTo>
                    <a:lnTo>
                      <a:pt x="47807" y="97687"/>
                    </a:lnTo>
                    <a:cubicBezTo>
                      <a:pt x="37219" y="100200"/>
                      <a:pt x="26786" y="105083"/>
                      <a:pt x="17413" y="114480"/>
                    </a:cubicBezTo>
                    <a:cubicBezTo>
                      <a:pt x="7587" y="124294"/>
                      <a:pt x="1620" y="136490"/>
                      <a:pt x="0" y="147090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4" name="Forma livre: Forma 73">
                <a:extLst>
                  <a:ext uri="{FF2B5EF4-FFF2-40B4-BE49-F238E27FC236}">
                    <a16:creationId xmlns:a16="http://schemas.microsoft.com/office/drawing/2014/main" id="{A0FD5E36-583C-7D99-AD1A-81F72F3C04E5}"/>
                  </a:ext>
                </a:extLst>
              </p:cNvPr>
              <p:cNvSpPr/>
              <p:nvPr/>
            </p:nvSpPr>
            <p:spPr>
              <a:xfrm>
                <a:off x="1018835" y="1079178"/>
                <a:ext cx="45853" cy="53369"/>
              </a:xfrm>
              <a:custGeom>
                <a:avLst/>
                <a:gdLst>
                  <a:gd name="connsiteX0" fmla="*/ 45854 w 45853"/>
                  <a:gd name="connsiteY0" fmla="*/ 0 h 53369"/>
                  <a:gd name="connsiteX1" fmla="*/ 27298 w 45853"/>
                  <a:gd name="connsiteY1" fmla="*/ 37160 h 53369"/>
                  <a:gd name="connsiteX2" fmla="*/ 0 w 45853"/>
                  <a:gd name="connsiteY2" fmla="*/ 53369 h 533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45853" h="53369">
                    <a:moveTo>
                      <a:pt x="45854" y="0"/>
                    </a:moveTo>
                    <a:cubicBezTo>
                      <a:pt x="45032" y="11374"/>
                      <a:pt x="38077" y="26369"/>
                      <a:pt x="27298" y="37160"/>
                    </a:cubicBezTo>
                    <a:cubicBezTo>
                      <a:pt x="18008" y="46438"/>
                      <a:pt x="10016" y="50761"/>
                      <a:pt x="0" y="53369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75" name="Gráfico 2">
            <a:extLst>
              <a:ext uri="{FF2B5EF4-FFF2-40B4-BE49-F238E27FC236}">
                <a16:creationId xmlns:a16="http://schemas.microsoft.com/office/drawing/2014/main" id="{EBC81D7E-858B-A53D-4FDC-C047B3885E73}"/>
              </a:ext>
            </a:extLst>
          </p:cNvPr>
          <p:cNvGrpSpPr/>
          <p:nvPr/>
        </p:nvGrpSpPr>
        <p:grpSpPr>
          <a:xfrm>
            <a:off x="1363835" y="1013756"/>
            <a:ext cx="338568" cy="248337"/>
            <a:chOff x="1363835" y="1013756"/>
            <a:chExt cx="338568" cy="248337"/>
          </a:xfrm>
        </p:grpSpPr>
        <p:sp>
          <p:nvSpPr>
            <p:cNvPr id="76" name="Forma livre: Forma 75">
              <a:extLst>
                <a:ext uri="{FF2B5EF4-FFF2-40B4-BE49-F238E27FC236}">
                  <a16:creationId xmlns:a16="http://schemas.microsoft.com/office/drawing/2014/main" id="{A780B710-EE06-C1F0-660E-D512FFE78C0C}"/>
                </a:ext>
              </a:extLst>
            </p:cNvPr>
            <p:cNvSpPr/>
            <p:nvPr/>
          </p:nvSpPr>
          <p:spPr>
            <a:xfrm>
              <a:off x="1363835" y="1059610"/>
              <a:ext cx="218216" cy="202483"/>
            </a:xfrm>
            <a:custGeom>
              <a:avLst/>
              <a:gdLst>
                <a:gd name="connsiteX0" fmla="*/ 16031 w 218216"/>
                <a:gd name="connsiteY0" fmla="*/ 202484 h 202483"/>
                <a:gd name="connsiteX1" fmla="*/ 202067 w 218216"/>
                <a:gd name="connsiteY1" fmla="*/ 202484 h 202483"/>
                <a:gd name="connsiteX2" fmla="*/ 202067 w 218216"/>
                <a:gd name="connsiteY2" fmla="*/ 72175 h 202483"/>
                <a:gd name="connsiteX3" fmla="*/ 218217 w 218216"/>
                <a:gd name="connsiteY3" fmla="*/ 41888 h 202483"/>
                <a:gd name="connsiteX4" fmla="*/ 166467 w 218216"/>
                <a:gd name="connsiteY4" fmla="*/ 0 h 202483"/>
                <a:gd name="connsiteX5" fmla="*/ 51749 w 218216"/>
                <a:gd name="connsiteY5" fmla="*/ 0 h 202483"/>
                <a:gd name="connsiteX6" fmla="*/ 0 w 218216"/>
                <a:gd name="connsiteY6" fmla="*/ 41888 h 202483"/>
                <a:gd name="connsiteX7" fmla="*/ 16019 w 218216"/>
                <a:gd name="connsiteY7" fmla="*/ 72175 h 202483"/>
                <a:gd name="connsiteX8" fmla="*/ 16019 w 218216"/>
                <a:gd name="connsiteY8" fmla="*/ 202484 h 202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8216" h="202483">
                  <a:moveTo>
                    <a:pt x="16031" y="202484"/>
                  </a:moveTo>
                  <a:lnTo>
                    <a:pt x="202067" y="202484"/>
                  </a:lnTo>
                  <a:lnTo>
                    <a:pt x="202067" y="72175"/>
                  </a:lnTo>
                  <a:cubicBezTo>
                    <a:pt x="211988" y="64529"/>
                    <a:pt x="218217" y="53762"/>
                    <a:pt x="218217" y="41888"/>
                  </a:cubicBezTo>
                  <a:cubicBezTo>
                    <a:pt x="218217" y="18830"/>
                    <a:pt x="194933" y="0"/>
                    <a:pt x="166467" y="0"/>
                  </a:cubicBezTo>
                  <a:lnTo>
                    <a:pt x="51749" y="0"/>
                  </a:lnTo>
                  <a:cubicBezTo>
                    <a:pt x="23296" y="0"/>
                    <a:pt x="0" y="18842"/>
                    <a:pt x="0" y="41888"/>
                  </a:cubicBezTo>
                  <a:cubicBezTo>
                    <a:pt x="0" y="53762"/>
                    <a:pt x="6110" y="64541"/>
                    <a:pt x="16019" y="72175"/>
                  </a:cubicBezTo>
                  <a:lnTo>
                    <a:pt x="16019" y="202484"/>
                  </a:ln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77" name="Forma livre: Forma 76">
              <a:extLst>
                <a:ext uri="{FF2B5EF4-FFF2-40B4-BE49-F238E27FC236}">
                  <a16:creationId xmlns:a16="http://schemas.microsoft.com/office/drawing/2014/main" id="{7003943C-F9AE-A0B9-28ED-8A4FE1535307}"/>
                </a:ext>
              </a:extLst>
            </p:cNvPr>
            <p:cNvSpPr/>
            <p:nvPr/>
          </p:nvSpPr>
          <p:spPr>
            <a:xfrm>
              <a:off x="1565902" y="1111645"/>
              <a:ext cx="120351" cy="150448"/>
            </a:xfrm>
            <a:custGeom>
              <a:avLst/>
              <a:gdLst>
                <a:gd name="connsiteX0" fmla="*/ 0 w 120351"/>
                <a:gd name="connsiteY0" fmla="*/ 150448 h 150448"/>
                <a:gd name="connsiteX1" fmla="*/ 120352 w 120351"/>
                <a:gd name="connsiteY1" fmla="*/ 99473 h 150448"/>
                <a:gd name="connsiteX2" fmla="*/ 120352 w 120351"/>
                <a:gd name="connsiteY2" fmla="*/ 0 h 1504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0351" h="150448">
                  <a:moveTo>
                    <a:pt x="0" y="150448"/>
                  </a:moveTo>
                  <a:lnTo>
                    <a:pt x="120352" y="99473"/>
                  </a:lnTo>
                  <a:lnTo>
                    <a:pt x="120352" y="0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78" name="Forma livre: Forma 77">
              <a:extLst>
                <a:ext uri="{FF2B5EF4-FFF2-40B4-BE49-F238E27FC236}">
                  <a16:creationId xmlns:a16="http://schemas.microsoft.com/office/drawing/2014/main" id="{826ECBBB-3893-134E-E440-4A9417C6CFF5}"/>
                </a:ext>
              </a:extLst>
            </p:cNvPr>
            <p:cNvSpPr/>
            <p:nvPr/>
          </p:nvSpPr>
          <p:spPr>
            <a:xfrm>
              <a:off x="1395695" y="1013756"/>
              <a:ext cx="306708" cy="103117"/>
            </a:xfrm>
            <a:custGeom>
              <a:avLst/>
              <a:gdLst>
                <a:gd name="connsiteX0" fmla="*/ 211214 w 306708"/>
                <a:gd name="connsiteY0" fmla="*/ 103118 h 103117"/>
                <a:gd name="connsiteX1" fmla="*/ 290368 w 306708"/>
                <a:gd name="connsiteY1" fmla="*/ 72294 h 103117"/>
                <a:gd name="connsiteX2" fmla="*/ 306709 w 306708"/>
                <a:gd name="connsiteY2" fmla="*/ 41900 h 103117"/>
                <a:gd name="connsiteX3" fmla="*/ 254960 w 306708"/>
                <a:gd name="connsiteY3" fmla="*/ 0 h 103117"/>
                <a:gd name="connsiteX4" fmla="*/ 142612 w 306708"/>
                <a:gd name="connsiteY4" fmla="*/ 0 h 103117"/>
                <a:gd name="connsiteX5" fmla="*/ 117505 w 306708"/>
                <a:gd name="connsiteY5" fmla="*/ 4204 h 103117"/>
                <a:gd name="connsiteX6" fmla="*/ 0 w 306708"/>
                <a:gd name="connsiteY6" fmla="*/ 48820 h 103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06708" h="103117">
                  <a:moveTo>
                    <a:pt x="211214" y="103118"/>
                  </a:moveTo>
                  <a:lnTo>
                    <a:pt x="290368" y="72294"/>
                  </a:lnTo>
                  <a:cubicBezTo>
                    <a:pt x="299277" y="67435"/>
                    <a:pt x="306709" y="53774"/>
                    <a:pt x="306709" y="41900"/>
                  </a:cubicBezTo>
                  <a:cubicBezTo>
                    <a:pt x="306709" y="18854"/>
                    <a:pt x="283425" y="0"/>
                    <a:pt x="254960" y="0"/>
                  </a:cubicBezTo>
                  <a:lnTo>
                    <a:pt x="142612" y="0"/>
                  </a:lnTo>
                  <a:cubicBezTo>
                    <a:pt x="135072" y="0"/>
                    <a:pt x="125497" y="1108"/>
                    <a:pt x="117505" y="4204"/>
                  </a:cubicBezTo>
                  <a:lnTo>
                    <a:pt x="0" y="48820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79" name="Forma livre: Forma 78">
              <a:extLst>
                <a:ext uri="{FF2B5EF4-FFF2-40B4-BE49-F238E27FC236}">
                  <a16:creationId xmlns:a16="http://schemas.microsoft.com/office/drawing/2014/main" id="{5D59214C-30C9-45AC-42F3-1F8BD77CD396}"/>
                </a:ext>
              </a:extLst>
            </p:cNvPr>
            <p:cNvSpPr/>
            <p:nvPr/>
          </p:nvSpPr>
          <p:spPr>
            <a:xfrm>
              <a:off x="1420873" y="1099521"/>
              <a:ext cx="7455" cy="7467"/>
            </a:xfrm>
            <a:custGeom>
              <a:avLst/>
              <a:gdLst>
                <a:gd name="connsiteX0" fmla="*/ 7456 w 7455"/>
                <a:gd name="connsiteY0" fmla="*/ 3740 h 7467"/>
                <a:gd name="connsiteX1" fmla="*/ 3728 w 7455"/>
                <a:gd name="connsiteY1" fmla="*/ 7468 h 7467"/>
                <a:gd name="connsiteX2" fmla="*/ 0 w 7455"/>
                <a:gd name="connsiteY2" fmla="*/ 3740 h 7467"/>
                <a:gd name="connsiteX3" fmla="*/ 3728 w 7455"/>
                <a:gd name="connsiteY3" fmla="*/ 0 h 7467"/>
                <a:gd name="connsiteX4" fmla="*/ 7456 w 7455"/>
                <a:gd name="connsiteY4" fmla="*/ 3740 h 74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455" h="7467">
                  <a:moveTo>
                    <a:pt x="7456" y="3740"/>
                  </a:moveTo>
                  <a:cubicBezTo>
                    <a:pt x="7456" y="5800"/>
                    <a:pt x="5800" y="7468"/>
                    <a:pt x="3728" y="7468"/>
                  </a:cubicBezTo>
                  <a:cubicBezTo>
                    <a:pt x="1655" y="7468"/>
                    <a:pt x="0" y="5800"/>
                    <a:pt x="0" y="3740"/>
                  </a:cubicBezTo>
                  <a:cubicBezTo>
                    <a:pt x="0" y="1679"/>
                    <a:pt x="1679" y="0"/>
                    <a:pt x="3728" y="0"/>
                  </a:cubicBezTo>
                  <a:cubicBezTo>
                    <a:pt x="5776" y="0"/>
                    <a:pt x="7456" y="1667"/>
                    <a:pt x="7456" y="3740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0" name="Forma livre: Forma 79">
              <a:extLst>
                <a:ext uri="{FF2B5EF4-FFF2-40B4-BE49-F238E27FC236}">
                  <a16:creationId xmlns:a16="http://schemas.microsoft.com/office/drawing/2014/main" id="{E22355EC-143C-A933-6B84-11883E20C6D4}"/>
                </a:ext>
              </a:extLst>
            </p:cNvPr>
            <p:cNvSpPr/>
            <p:nvPr/>
          </p:nvSpPr>
          <p:spPr>
            <a:xfrm>
              <a:off x="1518964" y="1098699"/>
              <a:ext cx="7467" cy="7455"/>
            </a:xfrm>
            <a:custGeom>
              <a:avLst/>
              <a:gdLst>
                <a:gd name="connsiteX0" fmla="*/ 7468 w 7467"/>
                <a:gd name="connsiteY0" fmla="*/ 3728 h 7455"/>
                <a:gd name="connsiteX1" fmla="*/ 3740 w 7467"/>
                <a:gd name="connsiteY1" fmla="*/ 7456 h 7455"/>
                <a:gd name="connsiteX2" fmla="*/ 0 w 7467"/>
                <a:gd name="connsiteY2" fmla="*/ 3728 h 7455"/>
                <a:gd name="connsiteX3" fmla="*/ 3740 w 7467"/>
                <a:gd name="connsiteY3" fmla="*/ 0 h 7455"/>
                <a:gd name="connsiteX4" fmla="*/ 7468 w 7467"/>
                <a:gd name="connsiteY4" fmla="*/ 3728 h 74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467" h="7455">
                  <a:moveTo>
                    <a:pt x="7468" y="3728"/>
                  </a:moveTo>
                  <a:cubicBezTo>
                    <a:pt x="7468" y="5788"/>
                    <a:pt x="5800" y="7456"/>
                    <a:pt x="3740" y="7456"/>
                  </a:cubicBezTo>
                  <a:cubicBezTo>
                    <a:pt x="1679" y="7456"/>
                    <a:pt x="0" y="5788"/>
                    <a:pt x="0" y="3728"/>
                  </a:cubicBezTo>
                  <a:cubicBezTo>
                    <a:pt x="0" y="1667"/>
                    <a:pt x="1679" y="0"/>
                    <a:pt x="3740" y="0"/>
                  </a:cubicBezTo>
                  <a:cubicBezTo>
                    <a:pt x="5800" y="0"/>
                    <a:pt x="7468" y="1656"/>
                    <a:pt x="7468" y="3728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1" name="Forma livre: Forma 80">
              <a:extLst>
                <a:ext uri="{FF2B5EF4-FFF2-40B4-BE49-F238E27FC236}">
                  <a16:creationId xmlns:a16="http://schemas.microsoft.com/office/drawing/2014/main" id="{733BB880-34FC-8080-63AE-DD67B6435DEF}"/>
                </a:ext>
              </a:extLst>
            </p:cNvPr>
            <p:cNvSpPr/>
            <p:nvPr/>
          </p:nvSpPr>
          <p:spPr>
            <a:xfrm>
              <a:off x="1513581" y="1147209"/>
              <a:ext cx="7467" cy="7455"/>
            </a:xfrm>
            <a:custGeom>
              <a:avLst/>
              <a:gdLst>
                <a:gd name="connsiteX0" fmla="*/ 7468 w 7467"/>
                <a:gd name="connsiteY0" fmla="*/ 3728 h 7455"/>
                <a:gd name="connsiteX1" fmla="*/ 3740 w 7467"/>
                <a:gd name="connsiteY1" fmla="*/ 7456 h 7455"/>
                <a:gd name="connsiteX2" fmla="*/ 0 w 7467"/>
                <a:gd name="connsiteY2" fmla="*/ 3728 h 7455"/>
                <a:gd name="connsiteX3" fmla="*/ 3740 w 7467"/>
                <a:gd name="connsiteY3" fmla="*/ 0 h 7455"/>
                <a:gd name="connsiteX4" fmla="*/ 7468 w 7467"/>
                <a:gd name="connsiteY4" fmla="*/ 3728 h 74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467" h="7455">
                  <a:moveTo>
                    <a:pt x="7468" y="3728"/>
                  </a:moveTo>
                  <a:cubicBezTo>
                    <a:pt x="7468" y="5788"/>
                    <a:pt x="5812" y="7456"/>
                    <a:pt x="3740" y="7456"/>
                  </a:cubicBezTo>
                  <a:cubicBezTo>
                    <a:pt x="1667" y="7456"/>
                    <a:pt x="0" y="5788"/>
                    <a:pt x="0" y="3728"/>
                  </a:cubicBezTo>
                  <a:cubicBezTo>
                    <a:pt x="0" y="1667"/>
                    <a:pt x="1679" y="0"/>
                    <a:pt x="3740" y="0"/>
                  </a:cubicBezTo>
                  <a:cubicBezTo>
                    <a:pt x="5800" y="0"/>
                    <a:pt x="7468" y="1656"/>
                    <a:pt x="7468" y="3728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2" name="Forma livre: Forma 81">
              <a:extLst>
                <a:ext uri="{FF2B5EF4-FFF2-40B4-BE49-F238E27FC236}">
                  <a16:creationId xmlns:a16="http://schemas.microsoft.com/office/drawing/2014/main" id="{8C1B6529-AA16-9C59-074C-0B54F4CCA959}"/>
                </a:ext>
              </a:extLst>
            </p:cNvPr>
            <p:cNvSpPr/>
            <p:nvPr/>
          </p:nvSpPr>
          <p:spPr>
            <a:xfrm>
              <a:off x="1472110" y="1166753"/>
              <a:ext cx="7467" cy="7467"/>
            </a:xfrm>
            <a:custGeom>
              <a:avLst/>
              <a:gdLst>
                <a:gd name="connsiteX0" fmla="*/ 7468 w 7467"/>
                <a:gd name="connsiteY0" fmla="*/ 3740 h 7467"/>
                <a:gd name="connsiteX1" fmla="*/ 3740 w 7467"/>
                <a:gd name="connsiteY1" fmla="*/ 7468 h 7467"/>
                <a:gd name="connsiteX2" fmla="*/ 0 w 7467"/>
                <a:gd name="connsiteY2" fmla="*/ 3740 h 7467"/>
                <a:gd name="connsiteX3" fmla="*/ 3740 w 7467"/>
                <a:gd name="connsiteY3" fmla="*/ 0 h 7467"/>
                <a:gd name="connsiteX4" fmla="*/ 7468 w 7467"/>
                <a:gd name="connsiteY4" fmla="*/ 3740 h 74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467" h="7467">
                  <a:moveTo>
                    <a:pt x="7468" y="3740"/>
                  </a:moveTo>
                  <a:cubicBezTo>
                    <a:pt x="7468" y="5800"/>
                    <a:pt x="5812" y="7468"/>
                    <a:pt x="3740" y="7468"/>
                  </a:cubicBezTo>
                  <a:cubicBezTo>
                    <a:pt x="1667" y="7468"/>
                    <a:pt x="0" y="5800"/>
                    <a:pt x="0" y="3740"/>
                  </a:cubicBezTo>
                  <a:cubicBezTo>
                    <a:pt x="0" y="1679"/>
                    <a:pt x="1679" y="0"/>
                    <a:pt x="3740" y="0"/>
                  </a:cubicBezTo>
                  <a:cubicBezTo>
                    <a:pt x="5800" y="0"/>
                    <a:pt x="7468" y="1667"/>
                    <a:pt x="7468" y="3740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3" name="Forma livre: Forma 82">
              <a:extLst>
                <a:ext uri="{FF2B5EF4-FFF2-40B4-BE49-F238E27FC236}">
                  <a16:creationId xmlns:a16="http://schemas.microsoft.com/office/drawing/2014/main" id="{A0752504-CC6A-A39F-7E2B-E4F155DBC110}"/>
                </a:ext>
              </a:extLst>
            </p:cNvPr>
            <p:cNvSpPr/>
            <p:nvPr/>
          </p:nvSpPr>
          <p:spPr>
            <a:xfrm>
              <a:off x="1466965" y="1115361"/>
              <a:ext cx="7455" cy="7467"/>
            </a:xfrm>
            <a:custGeom>
              <a:avLst/>
              <a:gdLst>
                <a:gd name="connsiteX0" fmla="*/ 7456 w 7455"/>
                <a:gd name="connsiteY0" fmla="*/ 3740 h 7467"/>
                <a:gd name="connsiteX1" fmla="*/ 3728 w 7455"/>
                <a:gd name="connsiteY1" fmla="*/ 7468 h 7467"/>
                <a:gd name="connsiteX2" fmla="*/ 0 w 7455"/>
                <a:gd name="connsiteY2" fmla="*/ 3740 h 7467"/>
                <a:gd name="connsiteX3" fmla="*/ 3728 w 7455"/>
                <a:gd name="connsiteY3" fmla="*/ 0 h 7467"/>
                <a:gd name="connsiteX4" fmla="*/ 7456 w 7455"/>
                <a:gd name="connsiteY4" fmla="*/ 3740 h 74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455" h="7467">
                  <a:moveTo>
                    <a:pt x="7456" y="3740"/>
                  </a:moveTo>
                  <a:cubicBezTo>
                    <a:pt x="7456" y="5800"/>
                    <a:pt x="5788" y="7468"/>
                    <a:pt x="3728" y="7468"/>
                  </a:cubicBezTo>
                  <a:cubicBezTo>
                    <a:pt x="1667" y="7468"/>
                    <a:pt x="0" y="5812"/>
                    <a:pt x="0" y="3740"/>
                  </a:cubicBezTo>
                  <a:cubicBezTo>
                    <a:pt x="0" y="1667"/>
                    <a:pt x="1679" y="0"/>
                    <a:pt x="3728" y="0"/>
                  </a:cubicBezTo>
                  <a:cubicBezTo>
                    <a:pt x="5776" y="0"/>
                    <a:pt x="7456" y="1667"/>
                    <a:pt x="7456" y="3740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4" name="Forma livre: Forma 83">
              <a:extLst>
                <a:ext uri="{FF2B5EF4-FFF2-40B4-BE49-F238E27FC236}">
                  <a16:creationId xmlns:a16="http://schemas.microsoft.com/office/drawing/2014/main" id="{0D42D8F9-87E0-D8F0-E388-A8801E8EDE74}"/>
                </a:ext>
              </a:extLst>
            </p:cNvPr>
            <p:cNvSpPr/>
            <p:nvPr/>
          </p:nvSpPr>
          <p:spPr>
            <a:xfrm>
              <a:off x="1421194" y="1154795"/>
              <a:ext cx="7443" cy="7467"/>
            </a:xfrm>
            <a:custGeom>
              <a:avLst/>
              <a:gdLst>
                <a:gd name="connsiteX0" fmla="*/ 7444 w 7443"/>
                <a:gd name="connsiteY0" fmla="*/ 3728 h 7467"/>
                <a:gd name="connsiteX1" fmla="*/ 3728 w 7443"/>
                <a:gd name="connsiteY1" fmla="*/ 7468 h 7467"/>
                <a:gd name="connsiteX2" fmla="*/ 0 w 7443"/>
                <a:gd name="connsiteY2" fmla="*/ 3728 h 7467"/>
                <a:gd name="connsiteX3" fmla="*/ 3728 w 7443"/>
                <a:gd name="connsiteY3" fmla="*/ 0 h 7467"/>
                <a:gd name="connsiteX4" fmla="*/ 7444 w 7443"/>
                <a:gd name="connsiteY4" fmla="*/ 3728 h 74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443" h="7467">
                  <a:moveTo>
                    <a:pt x="7444" y="3728"/>
                  </a:moveTo>
                  <a:cubicBezTo>
                    <a:pt x="7444" y="5788"/>
                    <a:pt x="5788" y="7468"/>
                    <a:pt x="3728" y="7468"/>
                  </a:cubicBezTo>
                  <a:cubicBezTo>
                    <a:pt x="1667" y="7468"/>
                    <a:pt x="0" y="5800"/>
                    <a:pt x="0" y="3728"/>
                  </a:cubicBezTo>
                  <a:cubicBezTo>
                    <a:pt x="0" y="1656"/>
                    <a:pt x="1679" y="0"/>
                    <a:pt x="3728" y="0"/>
                  </a:cubicBezTo>
                  <a:cubicBezTo>
                    <a:pt x="5776" y="0"/>
                    <a:pt x="7444" y="1656"/>
                    <a:pt x="7444" y="3728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5" name="Forma livre: Forma 84">
              <a:extLst>
                <a:ext uri="{FF2B5EF4-FFF2-40B4-BE49-F238E27FC236}">
                  <a16:creationId xmlns:a16="http://schemas.microsoft.com/office/drawing/2014/main" id="{1B8C3237-6C81-18CE-360C-EB2627AE40EF}"/>
                </a:ext>
              </a:extLst>
            </p:cNvPr>
            <p:cNvSpPr/>
            <p:nvPr/>
          </p:nvSpPr>
          <p:spPr>
            <a:xfrm>
              <a:off x="1424350" y="1209951"/>
              <a:ext cx="7455" cy="7467"/>
            </a:xfrm>
            <a:custGeom>
              <a:avLst/>
              <a:gdLst>
                <a:gd name="connsiteX0" fmla="*/ 7456 w 7455"/>
                <a:gd name="connsiteY0" fmla="*/ 3740 h 7467"/>
                <a:gd name="connsiteX1" fmla="*/ 3728 w 7455"/>
                <a:gd name="connsiteY1" fmla="*/ 7468 h 7467"/>
                <a:gd name="connsiteX2" fmla="*/ 0 w 7455"/>
                <a:gd name="connsiteY2" fmla="*/ 3740 h 7467"/>
                <a:gd name="connsiteX3" fmla="*/ 3728 w 7455"/>
                <a:gd name="connsiteY3" fmla="*/ 0 h 7467"/>
                <a:gd name="connsiteX4" fmla="*/ 7456 w 7455"/>
                <a:gd name="connsiteY4" fmla="*/ 3740 h 74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455" h="7467">
                  <a:moveTo>
                    <a:pt x="7456" y="3740"/>
                  </a:moveTo>
                  <a:cubicBezTo>
                    <a:pt x="7456" y="5800"/>
                    <a:pt x="5800" y="7468"/>
                    <a:pt x="3728" y="7468"/>
                  </a:cubicBezTo>
                  <a:cubicBezTo>
                    <a:pt x="1656" y="7468"/>
                    <a:pt x="0" y="5800"/>
                    <a:pt x="0" y="3740"/>
                  </a:cubicBezTo>
                  <a:cubicBezTo>
                    <a:pt x="0" y="1679"/>
                    <a:pt x="1679" y="0"/>
                    <a:pt x="3728" y="0"/>
                  </a:cubicBezTo>
                  <a:cubicBezTo>
                    <a:pt x="5776" y="0"/>
                    <a:pt x="7456" y="1667"/>
                    <a:pt x="7456" y="3740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6" name="Forma livre: Forma 85">
              <a:extLst>
                <a:ext uri="{FF2B5EF4-FFF2-40B4-BE49-F238E27FC236}">
                  <a16:creationId xmlns:a16="http://schemas.microsoft.com/office/drawing/2014/main" id="{C6758D54-0337-88AA-F38E-E044B6CF982C}"/>
                </a:ext>
              </a:extLst>
            </p:cNvPr>
            <p:cNvSpPr/>
            <p:nvPr/>
          </p:nvSpPr>
          <p:spPr>
            <a:xfrm>
              <a:off x="1475171" y="1218169"/>
              <a:ext cx="7455" cy="7467"/>
            </a:xfrm>
            <a:custGeom>
              <a:avLst/>
              <a:gdLst>
                <a:gd name="connsiteX0" fmla="*/ 7456 w 7455"/>
                <a:gd name="connsiteY0" fmla="*/ 3740 h 7467"/>
                <a:gd name="connsiteX1" fmla="*/ 3728 w 7455"/>
                <a:gd name="connsiteY1" fmla="*/ 7468 h 7467"/>
                <a:gd name="connsiteX2" fmla="*/ 0 w 7455"/>
                <a:gd name="connsiteY2" fmla="*/ 3740 h 7467"/>
                <a:gd name="connsiteX3" fmla="*/ 3728 w 7455"/>
                <a:gd name="connsiteY3" fmla="*/ 0 h 7467"/>
                <a:gd name="connsiteX4" fmla="*/ 7456 w 7455"/>
                <a:gd name="connsiteY4" fmla="*/ 3740 h 74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455" h="7467">
                  <a:moveTo>
                    <a:pt x="7456" y="3740"/>
                  </a:moveTo>
                  <a:cubicBezTo>
                    <a:pt x="7456" y="5800"/>
                    <a:pt x="5800" y="7468"/>
                    <a:pt x="3728" y="7468"/>
                  </a:cubicBezTo>
                  <a:cubicBezTo>
                    <a:pt x="1656" y="7468"/>
                    <a:pt x="0" y="5800"/>
                    <a:pt x="0" y="3740"/>
                  </a:cubicBezTo>
                  <a:cubicBezTo>
                    <a:pt x="0" y="1679"/>
                    <a:pt x="1679" y="0"/>
                    <a:pt x="3728" y="0"/>
                  </a:cubicBezTo>
                  <a:cubicBezTo>
                    <a:pt x="5776" y="0"/>
                    <a:pt x="7456" y="1667"/>
                    <a:pt x="7456" y="3740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7" name="Forma livre: Forma 86">
              <a:extLst>
                <a:ext uri="{FF2B5EF4-FFF2-40B4-BE49-F238E27FC236}">
                  <a16:creationId xmlns:a16="http://schemas.microsoft.com/office/drawing/2014/main" id="{32304DF0-CD0C-1930-D289-13F742764300}"/>
                </a:ext>
              </a:extLst>
            </p:cNvPr>
            <p:cNvSpPr/>
            <p:nvPr/>
          </p:nvSpPr>
          <p:spPr>
            <a:xfrm>
              <a:off x="1520417" y="1202424"/>
              <a:ext cx="7455" cy="7455"/>
            </a:xfrm>
            <a:custGeom>
              <a:avLst/>
              <a:gdLst>
                <a:gd name="connsiteX0" fmla="*/ 7456 w 7455"/>
                <a:gd name="connsiteY0" fmla="*/ 3728 h 7455"/>
                <a:gd name="connsiteX1" fmla="*/ 3728 w 7455"/>
                <a:gd name="connsiteY1" fmla="*/ 7456 h 7455"/>
                <a:gd name="connsiteX2" fmla="*/ 0 w 7455"/>
                <a:gd name="connsiteY2" fmla="*/ 3728 h 7455"/>
                <a:gd name="connsiteX3" fmla="*/ 3728 w 7455"/>
                <a:gd name="connsiteY3" fmla="*/ 0 h 7455"/>
                <a:gd name="connsiteX4" fmla="*/ 7456 w 7455"/>
                <a:gd name="connsiteY4" fmla="*/ 3728 h 74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455" h="7455">
                  <a:moveTo>
                    <a:pt x="7456" y="3728"/>
                  </a:moveTo>
                  <a:cubicBezTo>
                    <a:pt x="7456" y="5800"/>
                    <a:pt x="5800" y="7456"/>
                    <a:pt x="3728" y="7456"/>
                  </a:cubicBezTo>
                  <a:cubicBezTo>
                    <a:pt x="1656" y="7456"/>
                    <a:pt x="0" y="5800"/>
                    <a:pt x="0" y="3728"/>
                  </a:cubicBezTo>
                  <a:cubicBezTo>
                    <a:pt x="0" y="1656"/>
                    <a:pt x="1679" y="0"/>
                    <a:pt x="3728" y="0"/>
                  </a:cubicBezTo>
                  <a:cubicBezTo>
                    <a:pt x="5776" y="0"/>
                    <a:pt x="7456" y="1656"/>
                    <a:pt x="7456" y="3728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88" name="Gráfico 2">
            <a:extLst>
              <a:ext uri="{FF2B5EF4-FFF2-40B4-BE49-F238E27FC236}">
                <a16:creationId xmlns:a16="http://schemas.microsoft.com/office/drawing/2014/main" id="{03EC80DD-6C47-256B-B79A-B168CF93490C}"/>
              </a:ext>
            </a:extLst>
          </p:cNvPr>
          <p:cNvGrpSpPr/>
          <p:nvPr/>
        </p:nvGrpSpPr>
        <p:grpSpPr>
          <a:xfrm>
            <a:off x="2070426" y="2030688"/>
            <a:ext cx="164966" cy="326253"/>
            <a:chOff x="2070426" y="2030688"/>
            <a:chExt cx="164966" cy="326253"/>
          </a:xfrm>
          <a:noFill/>
        </p:grpSpPr>
        <p:sp>
          <p:nvSpPr>
            <p:cNvPr id="89" name="Forma livre: Forma 88">
              <a:extLst>
                <a:ext uri="{FF2B5EF4-FFF2-40B4-BE49-F238E27FC236}">
                  <a16:creationId xmlns:a16="http://schemas.microsoft.com/office/drawing/2014/main" id="{83B4864B-A151-DE53-23EB-539018A6C6B9}"/>
                </a:ext>
              </a:extLst>
            </p:cNvPr>
            <p:cNvSpPr/>
            <p:nvPr/>
          </p:nvSpPr>
          <p:spPr>
            <a:xfrm>
              <a:off x="2099189" y="2030688"/>
              <a:ext cx="107440" cy="30561"/>
            </a:xfrm>
            <a:custGeom>
              <a:avLst/>
              <a:gdLst>
                <a:gd name="connsiteX0" fmla="*/ 49748 w 107440"/>
                <a:gd name="connsiteY0" fmla="*/ 30561 h 30561"/>
                <a:gd name="connsiteX1" fmla="*/ 107441 w 107440"/>
                <a:gd name="connsiteY1" fmla="*/ 30561 h 30561"/>
                <a:gd name="connsiteX2" fmla="*/ 107441 w 107440"/>
                <a:gd name="connsiteY2" fmla="*/ 14995 h 30561"/>
                <a:gd name="connsiteX3" fmla="*/ 92446 w 107440"/>
                <a:gd name="connsiteY3" fmla="*/ 0 h 30561"/>
                <a:gd name="connsiteX4" fmla="*/ 14995 w 107440"/>
                <a:gd name="connsiteY4" fmla="*/ 0 h 30561"/>
                <a:gd name="connsiteX5" fmla="*/ 0 w 107440"/>
                <a:gd name="connsiteY5" fmla="*/ 14995 h 30561"/>
                <a:gd name="connsiteX6" fmla="*/ 0 w 107440"/>
                <a:gd name="connsiteY6" fmla="*/ 30561 h 30561"/>
                <a:gd name="connsiteX7" fmla="*/ 28346 w 107440"/>
                <a:gd name="connsiteY7" fmla="*/ 30561 h 305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07440" h="30561">
                  <a:moveTo>
                    <a:pt x="49748" y="30561"/>
                  </a:moveTo>
                  <a:lnTo>
                    <a:pt x="107441" y="30561"/>
                  </a:lnTo>
                  <a:lnTo>
                    <a:pt x="107441" y="14995"/>
                  </a:lnTo>
                  <a:cubicBezTo>
                    <a:pt x="107441" y="6753"/>
                    <a:pt x="100700" y="0"/>
                    <a:pt x="92446" y="0"/>
                  </a:cubicBezTo>
                  <a:lnTo>
                    <a:pt x="14995" y="0"/>
                  </a:lnTo>
                  <a:cubicBezTo>
                    <a:pt x="6753" y="0"/>
                    <a:pt x="0" y="6753"/>
                    <a:pt x="0" y="14995"/>
                  </a:cubicBezTo>
                  <a:lnTo>
                    <a:pt x="0" y="30561"/>
                  </a:lnTo>
                  <a:lnTo>
                    <a:pt x="28346" y="30561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90" name="Gráfico 2">
              <a:extLst>
                <a:ext uri="{FF2B5EF4-FFF2-40B4-BE49-F238E27FC236}">
                  <a16:creationId xmlns:a16="http://schemas.microsoft.com/office/drawing/2014/main" id="{2FEA4B56-9C3A-A3FD-2B27-5B747C6863F8}"/>
                </a:ext>
              </a:extLst>
            </p:cNvPr>
            <p:cNvGrpSpPr/>
            <p:nvPr/>
          </p:nvGrpSpPr>
          <p:grpSpPr>
            <a:xfrm>
              <a:off x="2070426" y="2082914"/>
              <a:ext cx="164966" cy="274027"/>
              <a:chOff x="2070426" y="2082914"/>
              <a:chExt cx="164966" cy="274027"/>
            </a:xfrm>
            <a:noFill/>
          </p:grpSpPr>
          <p:sp>
            <p:nvSpPr>
              <p:cNvPr id="91" name="Forma livre: Forma 90">
                <a:extLst>
                  <a:ext uri="{FF2B5EF4-FFF2-40B4-BE49-F238E27FC236}">
                    <a16:creationId xmlns:a16="http://schemas.microsoft.com/office/drawing/2014/main" id="{0E45A398-7F08-9120-8492-3A7F3DD3D661}"/>
                  </a:ext>
                </a:extLst>
              </p:cNvPr>
              <p:cNvSpPr/>
              <p:nvPr/>
            </p:nvSpPr>
            <p:spPr>
              <a:xfrm>
                <a:off x="2101606" y="2245642"/>
                <a:ext cx="1191" cy="64505"/>
              </a:xfrm>
              <a:custGeom>
                <a:avLst/>
                <a:gdLst>
                  <a:gd name="connsiteX0" fmla="*/ 0 w 1191"/>
                  <a:gd name="connsiteY0" fmla="*/ 0 h 64505"/>
                  <a:gd name="connsiteX1" fmla="*/ 0 w 1191"/>
                  <a:gd name="connsiteY1" fmla="*/ 64505 h 645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1" h="64505">
                    <a:moveTo>
                      <a:pt x="0" y="0"/>
                    </a:moveTo>
                    <a:lnTo>
                      <a:pt x="0" y="64505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2" name="Forma livre: Forma 91">
                <a:extLst>
                  <a:ext uri="{FF2B5EF4-FFF2-40B4-BE49-F238E27FC236}">
                    <a16:creationId xmlns:a16="http://schemas.microsoft.com/office/drawing/2014/main" id="{EBA09346-BFC3-B56D-FE41-B9B8CFF5163C}"/>
                  </a:ext>
                </a:extLst>
              </p:cNvPr>
              <p:cNvSpPr/>
              <p:nvPr/>
            </p:nvSpPr>
            <p:spPr>
              <a:xfrm>
                <a:off x="2070426" y="2082914"/>
                <a:ext cx="164966" cy="274027"/>
              </a:xfrm>
              <a:custGeom>
                <a:avLst/>
                <a:gdLst>
                  <a:gd name="connsiteX0" fmla="*/ 124234 w 164966"/>
                  <a:gd name="connsiteY0" fmla="*/ 0 h 274027"/>
                  <a:gd name="connsiteX1" fmla="*/ 124234 w 164966"/>
                  <a:gd name="connsiteY1" fmla="*/ 7789 h 274027"/>
                  <a:gd name="connsiteX2" fmla="*/ 133822 w 164966"/>
                  <a:gd name="connsiteY2" fmla="*/ 34670 h 274027"/>
                  <a:gd name="connsiteX3" fmla="*/ 164967 w 164966"/>
                  <a:gd name="connsiteY3" fmla="*/ 102832 h 274027"/>
                  <a:gd name="connsiteX4" fmla="*/ 164967 w 164966"/>
                  <a:gd name="connsiteY4" fmla="*/ 228186 h 274027"/>
                  <a:gd name="connsiteX5" fmla="*/ 119256 w 164966"/>
                  <a:gd name="connsiteY5" fmla="*/ 274028 h 274027"/>
                  <a:gd name="connsiteX6" fmla="*/ 45699 w 164966"/>
                  <a:gd name="connsiteY6" fmla="*/ 274028 h 274027"/>
                  <a:gd name="connsiteX7" fmla="*/ 0 w 164966"/>
                  <a:gd name="connsiteY7" fmla="*/ 228186 h 274027"/>
                  <a:gd name="connsiteX8" fmla="*/ 0 w 164966"/>
                  <a:gd name="connsiteY8" fmla="*/ 102832 h 274027"/>
                  <a:gd name="connsiteX9" fmla="*/ 31145 w 164966"/>
                  <a:gd name="connsiteY9" fmla="*/ 34670 h 274027"/>
                  <a:gd name="connsiteX10" fmla="*/ 40732 w 164966"/>
                  <a:gd name="connsiteY10" fmla="*/ 7789 h 274027"/>
                  <a:gd name="connsiteX11" fmla="*/ 40732 w 164966"/>
                  <a:gd name="connsiteY11" fmla="*/ 0 h 2740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64966" h="274027">
                    <a:moveTo>
                      <a:pt x="124234" y="0"/>
                    </a:moveTo>
                    <a:lnTo>
                      <a:pt x="124234" y="7789"/>
                    </a:lnTo>
                    <a:cubicBezTo>
                      <a:pt x="124234" y="7789"/>
                      <a:pt x="122769" y="22820"/>
                      <a:pt x="133822" y="34670"/>
                    </a:cubicBezTo>
                    <a:cubicBezTo>
                      <a:pt x="133822" y="34670"/>
                      <a:pt x="164967" y="61111"/>
                      <a:pt x="164967" y="102832"/>
                    </a:cubicBezTo>
                    <a:lnTo>
                      <a:pt x="164967" y="228186"/>
                    </a:lnTo>
                    <a:cubicBezTo>
                      <a:pt x="164967" y="253006"/>
                      <a:pt x="153998" y="274028"/>
                      <a:pt x="119256" y="274028"/>
                    </a:cubicBezTo>
                    <a:lnTo>
                      <a:pt x="45699" y="274028"/>
                    </a:lnTo>
                    <a:cubicBezTo>
                      <a:pt x="10969" y="274028"/>
                      <a:pt x="0" y="253006"/>
                      <a:pt x="0" y="228186"/>
                    </a:cubicBezTo>
                    <a:lnTo>
                      <a:pt x="0" y="102832"/>
                    </a:lnTo>
                    <a:cubicBezTo>
                      <a:pt x="0" y="61099"/>
                      <a:pt x="31145" y="34670"/>
                      <a:pt x="31145" y="34670"/>
                    </a:cubicBezTo>
                    <a:cubicBezTo>
                      <a:pt x="42185" y="22820"/>
                      <a:pt x="40732" y="7789"/>
                      <a:pt x="40732" y="7789"/>
                    </a:cubicBezTo>
                    <a:lnTo>
                      <a:pt x="40732" y="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93" name="Forma livre: Forma 92">
              <a:extLst>
                <a:ext uri="{FF2B5EF4-FFF2-40B4-BE49-F238E27FC236}">
                  <a16:creationId xmlns:a16="http://schemas.microsoft.com/office/drawing/2014/main" id="{0EBDEF6A-D3B6-63B9-D884-EC71994AE3B1}"/>
                </a:ext>
              </a:extLst>
            </p:cNvPr>
            <p:cNvSpPr/>
            <p:nvPr/>
          </p:nvSpPr>
          <p:spPr>
            <a:xfrm>
              <a:off x="2098486" y="2179839"/>
              <a:ext cx="134929" cy="1191"/>
            </a:xfrm>
            <a:custGeom>
              <a:avLst/>
              <a:gdLst>
                <a:gd name="connsiteX0" fmla="*/ 0 w 134929"/>
                <a:gd name="connsiteY0" fmla="*/ 0 h 1191"/>
                <a:gd name="connsiteX1" fmla="*/ 134930 w 134929"/>
                <a:gd name="connsiteY1" fmla="*/ 0 h 11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34929" h="1191">
                  <a:moveTo>
                    <a:pt x="0" y="0"/>
                  </a:moveTo>
                  <a:lnTo>
                    <a:pt x="13493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94" name="Gráfico 2">
            <a:extLst>
              <a:ext uri="{FF2B5EF4-FFF2-40B4-BE49-F238E27FC236}">
                <a16:creationId xmlns:a16="http://schemas.microsoft.com/office/drawing/2014/main" id="{8665201C-7683-1E5D-B2B6-0D71E3A7E1D3}"/>
              </a:ext>
            </a:extLst>
          </p:cNvPr>
          <p:cNvGrpSpPr/>
          <p:nvPr/>
        </p:nvGrpSpPr>
        <p:grpSpPr>
          <a:xfrm>
            <a:off x="752895" y="2042408"/>
            <a:ext cx="320881" cy="302826"/>
            <a:chOff x="752895" y="2042408"/>
            <a:chExt cx="320881" cy="302826"/>
          </a:xfrm>
        </p:grpSpPr>
        <p:grpSp>
          <p:nvGrpSpPr>
            <p:cNvPr id="95" name="Gráfico 2">
              <a:extLst>
                <a:ext uri="{FF2B5EF4-FFF2-40B4-BE49-F238E27FC236}">
                  <a16:creationId xmlns:a16="http://schemas.microsoft.com/office/drawing/2014/main" id="{47948D93-3EE4-5693-FF77-E2560A5F0FE9}"/>
                </a:ext>
              </a:extLst>
            </p:cNvPr>
            <p:cNvGrpSpPr/>
            <p:nvPr/>
          </p:nvGrpSpPr>
          <p:grpSpPr>
            <a:xfrm>
              <a:off x="752895" y="2042408"/>
              <a:ext cx="320881" cy="302826"/>
              <a:chOff x="752895" y="2042408"/>
              <a:chExt cx="320881" cy="302826"/>
            </a:xfrm>
          </p:grpSpPr>
          <p:sp>
            <p:nvSpPr>
              <p:cNvPr id="96" name="Forma livre: Forma 95">
                <a:extLst>
                  <a:ext uri="{FF2B5EF4-FFF2-40B4-BE49-F238E27FC236}">
                    <a16:creationId xmlns:a16="http://schemas.microsoft.com/office/drawing/2014/main" id="{84FD990D-F8F3-3769-B51C-010990D8EFF6}"/>
                  </a:ext>
                </a:extLst>
              </p:cNvPr>
              <p:cNvSpPr/>
              <p:nvPr/>
            </p:nvSpPr>
            <p:spPr>
              <a:xfrm>
                <a:off x="752895" y="2042408"/>
                <a:ext cx="247825" cy="228924"/>
              </a:xfrm>
              <a:custGeom>
                <a:avLst/>
                <a:gdLst>
                  <a:gd name="connsiteX0" fmla="*/ 51714 w 247825"/>
                  <a:gd name="connsiteY0" fmla="*/ 228924 h 228924"/>
                  <a:gd name="connsiteX1" fmla="*/ 0 w 247825"/>
                  <a:gd name="connsiteY1" fmla="*/ 124508 h 228924"/>
                  <a:gd name="connsiteX2" fmla="*/ 123913 w 247825"/>
                  <a:gd name="connsiteY2" fmla="*/ 0 h 228924"/>
                  <a:gd name="connsiteX3" fmla="*/ 247825 w 247825"/>
                  <a:gd name="connsiteY3" fmla="*/ 124508 h 228924"/>
                  <a:gd name="connsiteX4" fmla="*/ 245622 w 247825"/>
                  <a:gd name="connsiteY4" fmla="*/ 151985 h 2289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47825" h="228924">
                    <a:moveTo>
                      <a:pt x="51714" y="228924"/>
                    </a:moveTo>
                    <a:cubicBezTo>
                      <a:pt x="20819" y="208248"/>
                      <a:pt x="0" y="172708"/>
                      <a:pt x="0" y="124508"/>
                    </a:cubicBezTo>
                    <a:cubicBezTo>
                      <a:pt x="0" y="55751"/>
                      <a:pt x="55477" y="0"/>
                      <a:pt x="123913" y="0"/>
                    </a:cubicBezTo>
                    <a:cubicBezTo>
                      <a:pt x="192348" y="0"/>
                      <a:pt x="247825" y="55739"/>
                      <a:pt x="247825" y="124508"/>
                    </a:cubicBezTo>
                    <a:cubicBezTo>
                      <a:pt x="247825" y="134251"/>
                      <a:pt x="247063" y="143410"/>
                      <a:pt x="245622" y="151985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7" name="Forma livre: Forma 96">
                <a:extLst>
                  <a:ext uri="{FF2B5EF4-FFF2-40B4-BE49-F238E27FC236}">
                    <a16:creationId xmlns:a16="http://schemas.microsoft.com/office/drawing/2014/main" id="{C99F6E31-BE8D-06AD-8290-D45E8CA63A75}"/>
                  </a:ext>
                </a:extLst>
              </p:cNvPr>
              <p:cNvSpPr/>
              <p:nvPr/>
            </p:nvSpPr>
            <p:spPr>
              <a:xfrm>
                <a:off x="856834" y="2079091"/>
                <a:ext cx="38946" cy="12886"/>
              </a:xfrm>
              <a:custGeom>
                <a:avLst/>
                <a:gdLst>
                  <a:gd name="connsiteX0" fmla="*/ 0 w 38946"/>
                  <a:gd name="connsiteY0" fmla="*/ 12887 h 12886"/>
                  <a:gd name="connsiteX1" fmla="*/ 19473 w 38946"/>
                  <a:gd name="connsiteY1" fmla="*/ 0 h 12886"/>
                  <a:gd name="connsiteX2" fmla="*/ 38946 w 38946"/>
                  <a:gd name="connsiteY2" fmla="*/ 12887 h 128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8946" h="12886">
                    <a:moveTo>
                      <a:pt x="0" y="12887"/>
                    </a:moveTo>
                    <a:cubicBezTo>
                      <a:pt x="3656" y="5491"/>
                      <a:pt x="9933" y="0"/>
                      <a:pt x="19473" y="0"/>
                    </a:cubicBezTo>
                    <a:cubicBezTo>
                      <a:pt x="28227" y="0"/>
                      <a:pt x="37112" y="5824"/>
                      <a:pt x="38946" y="12887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8" name="Forma livre: Forma 97">
                <a:extLst>
                  <a:ext uri="{FF2B5EF4-FFF2-40B4-BE49-F238E27FC236}">
                    <a16:creationId xmlns:a16="http://schemas.microsoft.com/office/drawing/2014/main" id="{3212B424-4003-4976-E4D1-F999BD6108F9}"/>
                  </a:ext>
                </a:extLst>
              </p:cNvPr>
              <p:cNvSpPr/>
              <p:nvPr/>
            </p:nvSpPr>
            <p:spPr>
              <a:xfrm>
                <a:off x="856834" y="2069063"/>
                <a:ext cx="38957" cy="8551"/>
              </a:xfrm>
              <a:custGeom>
                <a:avLst/>
                <a:gdLst>
                  <a:gd name="connsiteX0" fmla="*/ 38958 w 38957"/>
                  <a:gd name="connsiteY0" fmla="*/ 0 h 8551"/>
                  <a:gd name="connsiteX1" fmla="*/ 19485 w 38957"/>
                  <a:gd name="connsiteY1" fmla="*/ 8551 h 8551"/>
                  <a:gd name="connsiteX2" fmla="*/ 0 w 38957"/>
                  <a:gd name="connsiteY2" fmla="*/ 0 h 85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8957" h="8551">
                    <a:moveTo>
                      <a:pt x="38958" y="0"/>
                    </a:moveTo>
                    <a:cubicBezTo>
                      <a:pt x="35302" y="4907"/>
                      <a:pt x="29025" y="8551"/>
                      <a:pt x="19485" y="8551"/>
                    </a:cubicBezTo>
                    <a:cubicBezTo>
                      <a:pt x="10719" y="8551"/>
                      <a:pt x="1822" y="4693"/>
                      <a:pt x="0" y="0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99" name="Gráfico 2">
                <a:extLst>
                  <a:ext uri="{FF2B5EF4-FFF2-40B4-BE49-F238E27FC236}">
                    <a16:creationId xmlns:a16="http://schemas.microsoft.com/office/drawing/2014/main" id="{EFC8BDD5-6198-87FB-8978-30CBD774B368}"/>
                  </a:ext>
                </a:extLst>
              </p:cNvPr>
              <p:cNvGrpSpPr/>
              <p:nvPr/>
            </p:nvGrpSpPr>
            <p:grpSpPr>
              <a:xfrm>
                <a:off x="816983" y="2216820"/>
                <a:ext cx="256793" cy="128414"/>
                <a:chOff x="816983" y="2216820"/>
                <a:chExt cx="256793" cy="128414"/>
              </a:xfrm>
              <a:noFill/>
            </p:grpSpPr>
            <p:sp>
              <p:nvSpPr>
                <p:cNvPr id="100" name="Forma livre: Forma 99">
                  <a:extLst>
                    <a:ext uri="{FF2B5EF4-FFF2-40B4-BE49-F238E27FC236}">
                      <a16:creationId xmlns:a16="http://schemas.microsoft.com/office/drawing/2014/main" id="{6078A250-FC35-9DCF-ED40-D212CDB4B7EB}"/>
                    </a:ext>
                  </a:extLst>
                </p:cNvPr>
                <p:cNvSpPr/>
                <p:nvPr/>
              </p:nvSpPr>
              <p:spPr>
                <a:xfrm>
                  <a:off x="816983" y="2216820"/>
                  <a:ext cx="256793" cy="128414"/>
                </a:xfrm>
                <a:custGeom>
                  <a:avLst/>
                  <a:gdLst>
                    <a:gd name="connsiteX0" fmla="*/ 256794 w 256793"/>
                    <a:gd name="connsiteY0" fmla="*/ 12 h 128414"/>
                    <a:gd name="connsiteX1" fmla="*/ 128379 w 256793"/>
                    <a:gd name="connsiteY1" fmla="*/ 128415 h 128414"/>
                    <a:gd name="connsiteX2" fmla="*/ 0 w 256793"/>
                    <a:gd name="connsiteY2" fmla="*/ 0 h 12841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256793" h="128414">
                      <a:moveTo>
                        <a:pt x="256794" y="12"/>
                      </a:moveTo>
                      <a:cubicBezTo>
                        <a:pt x="256794" y="70925"/>
                        <a:pt x="199304" y="128415"/>
                        <a:pt x="128379" y="128415"/>
                      </a:cubicBezTo>
                      <a:cubicBezTo>
                        <a:pt x="57454" y="128415"/>
                        <a:pt x="0" y="70925"/>
                        <a:pt x="0" y="0"/>
                      </a:cubicBez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01" name="Forma livre: Forma 100">
                  <a:extLst>
                    <a:ext uri="{FF2B5EF4-FFF2-40B4-BE49-F238E27FC236}">
                      <a16:creationId xmlns:a16="http://schemas.microsoft.com/office/drawing/2014/main" id="{C03749A7-18FF-B37C-D75E-83206FD6FC4E}"/>
                    </a:ext>
                  </a:extLst>
                </p:cNvPr>
                <p:cNvSpPr/>
                <p:nvPr/>
              </p:nvSpPr>
              <p:spPr>
                <a:xfrm>
                  <a:off x="816983" y="2216820"/>
                  <a:ext cx="256758" cy="18686"/>
                </a:xfrm>
                <a:custGeom>
                  <a:avLst/>
                  <a:gdLst>
                    <a:gd name="connsiteX0" fmla="*/ 0 w 256758"/>
                    <a:gd name="connsiteY0" fmla="*/ 0 h 18686"/>
                    <a:gd name="connsiteX1" fmla="*/ 109728 w 256758"/>
                    <a:gd name="connsiteY1" fmla="*/ 0 h 18686"/>
                    <a:gd name="connsiteX2" fmla="*/ 128379 w 256758"/>
                    <a:gd name="connsiteY2" fmla="*/ 18687 h 18686"/>
                    <a:gd name="connsiteX3" fmla="*/ 147066 w 256758"/>
                    <a:gd name="connsiteY3" fmla="*/ 0 h 18686"/>
                    <a:gd name="connsiteX4" fmla="*/ 256758 w 256758"/>
                    <a:gd name="connsiteY4" fmla="*/ 0 h 1868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256758" h="18686">
                      <a:moveTo>
                        <a:pt x="0" y="0"/>
                      </a:moveTo>
                      <a:lnTo>
                        <a:pt x="109728" y="0"/>
                      </a:lnTo>
                      <a:cubicBezTo>
                        <a:pt x="109728" y="10326"/>
                        <a:pt x="118077" y="18687"/>
                        <a:pt x="128379" y="18687"/>
                      </a:cubicBezTo>
                      <a:cubicBezTo>
                        <a:pt x="138681" y="18687"/>
                        <a:pt x="147066" y="10326"/>
                        <a:pt x="147066" y="0"/>
                      </a:cubicBezTo>
                      <a:lnTo>
                        <a:pt x="256758" y="0"/>
                      </a:ln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grpSp>
              <p:nvGrpSpPr>
                <p:cNvPr id="102" name="Gráfico 2">
                  <a:extLst>
                    <a:ext uri="{FF2B5EF4-FFF2-40B4-BE49-F238E27FC236}">
                      <a16:creationId xmlns:a16="http://schemas.microsoft.com/office/drawing/2014/main" id="{C2304A62-594E-CDCE-96F7-5F5BCDCA1171}"/>
                    </a:ext>
                  </a:extLst>
                </p:cNvPr>
                <p:cNvGrpSpPr/>
                <p:nvPr/>
              </p:nvGrpSpPr>
              <p:grpSpPr>
                <a:xfrm>
                  <a:off x="879023" y="2232970"/>
                  <a:ext cx="132630" cy="81846"/>
                  <a:chOff x="879023" y="2232970"/>
                  <a:chExt cx="132630" cy="81846"/>
                </a:xfrm>
              </p:grpSpPr>
              <p:sp>
                <p:nvSpPr>
                  <p:cNvPr id="103" name="Forma livre: Forma 102">
                    <a:extLst>
                      <a:ext uri="{FF2B5EF4-FFF2-40B4-BE49-F238E27FC236}">
                        <a16:creationId xmlns:a16="http://schemas.microsoft.com/office/drawing/2014/main" id="{0B74E033-75C0-CA3F-FB50-D713374E66F7}"/>
                      </a:ext>
                    </a:extLst>
                  </p:cNvPr>
                  <p:cNvSpPr/>
                  <p:nvPr/>
                </p:nvSpPr>
                <p:spPr>
                  <a:xfrm>
                    <a:off x="945362" y="2236042"/>
                    <a:ext cx="11" cy="78773"/>
                  </a:xfrm>
                  <a:custGeom>
                    <a:avLst/>
                    <a:gdLst>
                      <a:gd name="connsiteX0" fmla="*/ 0 w 11"/>
                      <a:gd name="connsiteY0" fmla="*/ 78773 h 78773"/>
                      <a:gd name="connsiteX1" fmla="*/ 12 w 11"/>
                      <a:gd name="connsiteY1" fmla="*/ 0 h 7877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1" h="78773">
                        <a:moveTo>
                          <a:pt x="0" y="78773"/>
                        </a:moveTo>
                        <a:lnTo>
                          <a:pt x="12" y="0"/>
                        </a:lnTo>
                      </a:path>
                    </a:pathLst>
                  </a:custGeom>
                  <a:ln w="6350" cap="flat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104" name="Forma livre: Forma 103">
                    <a:extLst>
                      <a:ext uri="{FF2B5EF4-FFF2-40B4-BE49-F238E27FC236}">
                        <a16:creationId xmlns:a16="http://schemas.microsoft.com/office/drawing/2014/main" id="{74C70B24-1153-14B5-6B5A-C2458D12C75C}"/>
                      </a:ext>
                    </a:extLst>
                  </p:cNvPr>
                  <p:cNvSpPr/>
                  <p:nvPr/>
                </p:nvSpPr>
                <p:spPr>
                  <a:xfrm>
                    <a:off x="879023" y="2232970"/>
                    <a:ext cx="56179" cy="56144"/>
                  </a:xfrm>
                  <a:custGeom>
                    <a:avLst/>
                    <a:gdLst>
                      <a:gd name="connsiteX0" fmla="*/ 56180 w 56179"/>
                      <a:gd name="connsiteY0" fmla="*/ 0 h 56144"/>
                      <a:gd name="connsiteX1" fmla="*/ 0 w 56179"/>
                      <a:gd name="connsiteY1" fmla="*/ 56144 h 5614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56179" h="56144">
                        <a:moveTo>
                          <a:pt x="56180" y="0"/>
                        </a:moveTo>
                        <a:lnTo>
                          <a:pt x="0" y="56144"/>
                        </a:lnTo>
                      </a:path>
                    </a:pathLst>
                  </a:custGeom>
                  <a:ln w="6350" cap="flat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105" name="Forma livre: Forma 104">
                    <a:extLst>
                      <a:ext uri="{FF2B5EF4-FFF2-40B4-BE49-F238E27FC236}">
                        <a16:creationId xmlns:a16="http://schemas.microsoft.com/office/drawing/2014/main" id="{0B23D14E-AAEF-76E3-1886-666D9BB73806}"/>
                      </a:ext>
                    </a:extLst>
                  </p:cNvPr>
                  <p:cNvSpPr/>
                  <p:nvPr/>
                </p:nvSpPr>
                <p:spPr>
                  <a:xfrm>
                    <a:off x="955724" y="2233136"/>
                    <a:ext cx="55929" cy="55929"/>
                  </a:xfrm>
                  <a:custGeom>
                    <a:avLst/>
                    <a:gdLst>
                      <a:gd name="connsiteX0" fmla="*/ 0 w 55929"/>
                      <a:gd name="connsiteY0" fmla="*/ 0 h 55929"/>
                      <a:gd name="connsiteX1" fmla="*/ 55930 w 55929"/>
                      <a:gd name="connsiteY1" fmla="*/ 55930 h 5592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55929" h="55929">
                        <a:moveTo>
                          <a:pt x="0" y="0"/>
                        </a:moveTo>
                        <a:lnTo>
                          <a:pt x="55930" y="55930"/>
                        </a:lnTo>
                      </a:path>
                    </a:pathLst>
                  </a:custGeom>
                  <a:ln w="6350" cap="flat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</p:grpSp>
          <p:sp>
            <p:nvSpPr>
              <p:cNvPr id="106" name="Forma livre: Forma 105">
                <a:extLst>
                  <a:ext uri="{FF2B5EF4-FFF2-40B4-BE49-F238E27FC236}">
                    <a16:creationId xmlns:a16="http://schemas.microsoft.com/office/drawing/2014/main" id="{C58311AE-69FA-D62A-68BD-E645246DF860}"/>
                  </a:ext>
                </a:extLst>
              </p:cNvPr>
              <p:cNvSpPr/>
              <p:nvPr/>
            </p:nvSpPr>
            <p:spPr>
              <a:xfrm>
                <a:off x="811135" y="2147550"/>
                <a:ext cx="7431" cy="7431"/>
              </a:xfrm>
              <a:custGeom>
                <a:avLst/>
                <a:gdLst>
                  <a:gd name="connsiteX0" fmla="*/ 7432 w 7431"/>
                  <a:gd name="connsiteY0" fmla="*/ 3716 h 7431"/>
                  <a:gd name="connsiteX1" fmla="*/ 3716 w 7431"/>
                  <a:gd name="connsiteY1" fmla="*/ 7432 h 7431"/>
                  <a:gd name="connsiteX2" fmla="*/ 0 w 7431"/>
                  <a:gd name="connsiteY2" fmla="*/ 3716 h 7431"/>
                  <a:gd name="connsiteX3" fmla="*/ 3716 w 7431"/>
                  <a:gd name="connsiteY3" fmla="*/ 0 h 7431"/>
                  <a:gd name="connsiteX4" fmla="*/ 7432 w 7431"/>
                  <a:gd name="connsiteY4" fmla="*/ 3716 h 74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431" h="7431">
                    <a:moveTo>
                      <a:pt x="7432" y="3716"/>
                    </a:moveTo>
                    <a:cubicBezTo>
                      <a:pt x="7432" y="5776"/>
                      <a:pt x="5776" y="7432"/>
                      <a:pt x="3716" y="7432"/>
                    </a:cubicBezTo>
                    <a:cubicBezTo>
                      <a:pt x="1656" y="7432"/>
                      <a:pt x="0" y="5776"/>
                      <a:pt x="0" y="3716"/>
                    </a:cubicBezTo>
                    <a:cubicBezTo>
                      <a:pt x="0" y="1655"/>
                      <a:pt x="1667" y="0"/>
                      <a:pt x="3716" y="0"/>
                    </a:cubicBezTo>
                    <a:cubicBezTo>
                      <a:pt x="5764" y="0"/>
                      <a:pt x="7432" y="1655"/>
                      <a:pt x="7432" y="3716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07" name="Forma livre: Forma 106">
                <a:extLst>
                  <a:ext uri="{FF2B5EF4-FFF2-40B4-BE49-F238E27FC236}">
                    <a16:creationId xmlns:a16="http://schemas.microsoft.com/office/drawing/2014/main" id="{0503D19F-78EB-92E4-D391-72B7D12DA428}"/>
                  </a:ext>
                </a:extLst>
              </p:cNvPr>
              <p:cNvSpPr/>
              <p:nvPr/>
            </p:nvSpPr>
            <p:spPr>
              <a:xfrm>
                <a:off x="813041" y="2115893"/>
                <a:ext cx="7419" cy="7431"/>
              </a:xfrm>
              <a:custGeom>
                <a:avLst/>
                <a:gdLst>
                  <a:gd name="connsiteX0" fmla="*/ 7420 w 7419"/>
                  <a:gd name="connsiteY0" fmla="*/ 3716 h 7431"/>
                  <a:gd name="connsiteX1" fmla="*/ 3716 w 7419"/>
                  <a:gd name="connsiteY1" fmla="*/ 7432 h 7431"/>
                  <a:gd name="connsiteX2" fmla="*/ 0 w 7419"/>
                  <a:gd name="connsiteY2" fmla="*/ 3716 h 7431"/>
                  <a:gd name="connsiteX3" fmla="*/ 3716 w 7419"/>
                  <a:gd name="connsiteY3" fmla="*/ 0 h 7431"/>
                  <a:gd name="connsiteX4" fmla="*/ 7420 w 7419"/>
                  <a:gd name="connsiteY4" fmla="*/ 3716 h 74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419" h="7431">
                    <a:moveTo>
                      <a:pt x="7420" y="3716"/>
                    </a:moveTo>
                    <a:cubicBezTo>
                      <a:pt x="7420" y="5764"/>
                      <a:pt x="5764" y="7432"/>
                      <a:pt x="3716" y="7432"/>
                    </a:cubicBezTo>
                    <a:cubicBezTo>
                      <a:pt x="1667" y="7432"/>
                      <a:pt x="0" y="5776"/>
                      <a:pt x="0" y="3716"/>
                    </a:cubicBezTo>
                    <a:cubicBezTo>
                      <a:pt x="0" y="1656"/>
                      <a:pt x="1667" y="0"/>
                      <a:pt x="3716" y="0"/>
                    </a:cubicBezTo>
                    <a:cubicBezTo>
                      <a:pt x="5764" y="0"/>
                      <a:pt x="7420" y="1656"/>
                      <a:pt x="7420" y="3716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08" name="Forma livre: Forma 107">
                <a:extLst>
                  <a:ext uri="{FF2B5EF4-FFF2-40B4-BE49-F238E27FC236}">
                    <a16:creationId xmlns:a16="http://schemas.microsoft.com/office/drawing/2014/main" id="{456C2E9A-ECD6-9921-EE58-3C7C3DE116D5}"/>
                  </a:ext>
                </a:extLst>
              </p:cNvPr>
              <p:cNvSpPr/>
              <p:nvPr/>
            </p:nvSpPr>
            <p:spPr>
              <a:xfrm>
                <a:off x="783039" y="2162676"/>
                <a:ext cx="7431" cy="7431"/>
              </a:xfrm>
              <a:custGeom>
                <a:avLst/>
                <a:gdLst>
                  <a:gd name="connsiteX0" fmla="*/ 7432 w 7431"/>
                  <a:gd name="connsiteY0" fmla="*/ 3716 h 7431"/>
                  <a:gd name="connsiteX1" fmla="*/ 3728 w 7431"/>
                  <a:gd name="connsiteY1" fmla="*/ 7432 h 7431"/>
                  <a:gd name="connsiteX2" fmla="*/ 0 w 7431"/>
                  <a:gd name="connsiteY2" fmla="*/ 3716 h 7431"/>
                  <a:gd name="connsiteX3" fmla="*/ 3728 w 7431"/>
                  <a:gd name="connsiteY3" fmla="*/ 0 h 7431"/>
                  <a:gd name="connsiteX4" fmla="*/ 7432 w 7431"/>
                  <a:gd name="connsiteY4" fmla="*/ 3716 h 74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431" h="7431">
                    <a:moveTo>
                      <a:pt x="7432" y="3716"/>
                    </a:moveTo>
                    <a:cubicBezTo>
                      <a:pt x="7432" y="5776"/>
                      <a:pt x="5788" y="7432"/>
                      <a:pt x="3728" y="7432"/>
                    </a:cubicBezTo>
                    <a:cubicBezTo>
                      <a:pt x="1667" y="7432"/>
                      <a:pt x="0" y="5776"/>
                      <a:pt x="0" y="3716"/>
                    </a:cubicBezTo>
                    <a:cubicBezTo>
                      <a:pt x="0" y="1656"/>
                      <a:pt x="1667" y="0"/>
                      <a:pt x="3728" y="0"/>
                    </a:cubicBezTo>
                    <a:cubicBezTo>
                      <a:pt x="5788" y="0"/>
                      <a:pt x="7432" y="1656"/>
                      <a:pt x="7432" y="3716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09" name="Forma livre: Forma 108">
                <a:extLst>
                  <a:ext uri="{FF2B5EF4-FFF2-40B4-BE49-F238E27FC236}">
                    <a16:creationId xmlns:a16="http://schemas.microsoft.com/office/drawing/2014/main" id="{2DBDCE5E-120D-B39B-BF41-DC4DAC7377D7}"/>
                  </a:ext>
                </a:extLst>
              </p:cNvPr>
              <p:cNvSpPr/>
              <p:nvPr/>
            </p:nvSpPr>
            <p:spPr>
              <a:xfrm>
                <a:off x="784957" y="2131019"/>
                <a:ext cx="7431" cy="7431"/>
              </a:xfrm>
              <a:custGeom>
                <a:avLst/>
                <a:gdLst>
                  <a:gd name="connsiteX0" fmla="*/ 7432 w 7431"/>
                  <a:gd name="connsiteY0" fmla="*/ 3716 h 7431"/>
                  <a:gd name="connsiteX1" fmla="*/ 3716 w 7431"/>
                  <a:gd name="connsiteY1" fmla="*/ 7432 h 7431"/>
                  <a:gd name="connsiteX2" fmla="*/ 0 w 7431"/>
                  <a:gd name="connsiteY2" fmla="*/ 3716 h 7431"/>
                  <a:gd name="connsiteX3" fmla="*/ 3716 w 7431"/>
                  <a:gd name="connsiteY3" fmla="*/ 0 h 7431"/>
                  <a:gd name="connsiteX4" fmla="*/ 7432 w 7431"/>
                  <a:gd name="connsiteY4" fmla="*/ 3716 h 74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431" h="7431">
                    <a:moveTo>
                      <a:pt x="7432" y="3716"/>
                    </a:moveTo>
                    <a:cubicBezTo>
                      <a:pt x="7432" y="5776"/>
                      <a:pt x="5764" y="7432"/>
                      <a:pt x="3716" y="7432"/>
                    </a:cubicBezTo>
                    <a:cubicBezTo>
                      <a:pt x="1667" y="7432"/>
                      <a:pt x="0" y="5776"/>
                      <a:pt x="0" y="3716"/>
                    </a:cubicBezTo>
                    <a:cubicBezTo>
                      <a:pt x="0" y="1655"/>
                      <a:pt x="1667" y="0"/>
                      <a:pt x="3716" y="0"/>
                    </a:cubicBezTo>
                    <a:cubicBezTo>
                      <a:pt x="5764" y="0"/>
                      <a:pt x="7432" y="1667"/>
                      <a:pt x="7432" y="3716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10" name="Forma livre: Forma 109">
              <a:extLst>
                <a:ext uri="{FF2B5EF4-FFF2-40B4-BE49-F238E27FC236}">
                  <a16:creationId xmlns:a16="http://schemas.microsoft.com/office/drawing/2014/main" id="{A097E6F8-B747-8B6B-A901-B1DB5F4499B5}"/>
                </a:ext>
              </a:extLst>
            </p:cNvPr>
            <p:cNvSpPr/>
            <p:nvPr/>
          </p:nvSpPr>
          <p:spPr>
            <a:xfrm>
              <a:off x="849521" y="2238472"/>
              <a:ext cx="191681" cy="76617"/>
            </a:xfrm>
            <a:custGeom>
              <a:avLst/>
              <a:gdLst>
                <a:gd name="connsiteX0" fmla="*/ 0 w 191681"/>
                <a:gd name="connsiteY0" fmla="*/ 0 h 76617"/>
                <a:gd name="connsiteX1" fmla="*/ 95841 w 191681"/>
                <a:gd name="connsiteY1" fmla="*/ 76618 h 76617"/>
                <a:gd name="connsiteX2" fmla="*/ 191681 w 191681"/>
                <a:gd name="connsiteY2" fmla="*/ 0 h 766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91681" h="76617">
                  <a:moveTo>
                    <a:pt x="0" y="0"/>
                  </a:moveTo>
                  <a:cubicBezTo>
                    <a:pt x="9862" y="43841"/>
                    <a:pt x="49010" y="76618"/>
                    <a:pt x="95841" y="76618"/>
                  </a:cubicBezTo>
                  <a:cubicBezTo>
                    <a:pt x="142671" y="76618"/>
                    <a:pt x="181820" y="43841"/>
                    <a:pt x="191681" y="0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11" name="Gráfico 2">
            <a:extLst>
              <a:ext uri="{FF2B5EF4-FFF2-40B4-BE49-F238E27FC236}">
                <a16:creationId xmlns:a16="http://schemas.microsoft.com/office/drawing/2014/main" id="{60B4D62C-88D1-2B0D-4465-5010FB29BD76}"/>
              </a:ext>
            </a:extLst>
          </p:cNvPr>
          <p:cNvGrpSpPr/>
          <p:nvPr/>
        </p:nvGrpSpPr>
        <p:grpSpPr>
          <a:xfrm>
            <a:off x="1363549" y="2072749"/>
            <a:ext cx="339163" cy="242161"/>
            <a:chOff x="1363549" y="2072749"/>
            <a:chExt cx="339163" cy="242161"/>
          </a:xfrm>
          <a:noFill/>
        </p:grpSpPr>
        <p:sp>
          <p:nvSpPr>
            <p:cNvPr id="112" name="Forma livre: Forma 111">
              <a:extLst>
                <a:ext uri="{FF2B5EF4-FFF2-40B4-BE49-F238E27FC236}">
                  <a16:creationId xmlns:a16="http://schemas.microsoft.com/office/drawing/2014/main" id="{58D0BE66-9DE7-7FFA-543B-E99627DC4255}"/>
                </a:ext>
              </a:extLst>
            </p:cNvPr>
            <p:cNvSpPr/>
            <p:nvPr/>
          </p:nvSpPr>
          <p:spPr>
            <a:xfrm>
              <a:off x="1363549" y="2238055"/>
              <a:ext cx="339163" cy="29405"/>
            </a:xfrm>
            <a:custGeom>
              <a:avLst/>
              <a:gdLst>
                <a:gd name="connsiteX0" fmla="*/ 94280 w 339163"/>
                <a:gd name="connsiteY0" fmla="*/ 29406 h 29405"/>
                <a:gd name="connsiteX1" fmla="*/ 339164 w 339163"/>
                <a:gd name="connsiteY1" fmla="*/ 29406 h 29405"/>
                <a:gd name="connsiteX2" fmla="*/ 339164 w 339163"/>
                <a:gd name="connsiteY2" fmla="*/ 14578 h 29405"/>
                <a:gd name="connsiteX3" fmla="*/ 324681 w 339163"/>
                <a:gd name="connsiteY3" fmla="*/ 0 h 29405"/>
                <a:gd name="connsiteX4" fmla="*/ 14506 w 339163"/>
                <a:gd name="connsiteY4" fmla="*/ 0 h 29405"/>
                <a:gd name="connsiteX5" fmla="*/ 0 w 339163"/>
                <a:gd name="connsiteY5" fmla="*/ 14578 h 29405"/>
                <a:gd name="connsiteX6" fmla="*/ 0 w 339163"/>
                <a:gd name="connsiteY6" fmla="*/ 29406 h 29405"/>
                <a:gd name="connsiteX7" fmla="*/ 59741 w 339163"/>
                <a:gd name="connsiteY7" fmla="*/ 29406 h 294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39163" h="29405">
                  <a:moveTo>
                    <a:pt x="94280" y="29406"/>
                  </a:moveTo>
                  <a:lnTo>
                    <a:pt x="339164" y="29406"/>
                  </a:lnTo>
                  <a:lnTo>
                    <a:pt x="339164" y="14578"/>
                  </a:lnTo>
                  <a:cubicBezTo>
                    <a:pt x="339164" y="6551"/>
                    <a:pt x="332649" y="0"/>
                    <a:pt x="324681" y="0"/>
                  </a:cubicBezTo>
                  <a:lnTo>
                    <a:pt x="14506" y="0"/>
                  </a:lnTo>
                  <a:cubicBezTo>
                    <a:pt x="6527" y="0"/>
                    <a:pt x="0" y="6551"/>
                    <a:pt x="0" y="14578"/>
                  </a:cubicBezTo>
                  <a:lnTo>
                    <a:pt x="0" y="29406"/>
                  </a:lnTo>
                  <a:lnTo>
                    <a:pt x="59741" y="29406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3" name="Forma livre: Forma 112">
              <a:extLst>
                <a:ext uri="{FF2B5EF4-FFF2-40B4-BE49-F238E27FC236}">
                  <a16:creationId xmlns:a16="http://schemas.microsoft.com/office/drawing/2014/main" id="{CC24F8E2-CF54-F4DF-87CB-7214410309B4}"/>
                </a:ext>
              </a:extLst>
            </p:cNvPr>
            <p:cNvSpPr/>
            <p:nvPr/>
          </p:nvSpPr>
          <p:spPr>
            <a:xfrm>
              <a:off x="1380581" y="2269260"/>
              <a:ext cx="305101" cy="45651"/>
            </a:xfrm>
            <a:custGeom>
              <a:avLst/>
              <a:gdLst>
                <a:gd name="connsiteX0" fmla="*/ 305101 w 305101"/>
                <a:gd name="connsiteY0" fmla="*/ 0 h 45651"/>
                <a:gd name="connsiteX1" fmla="*/ 299753 w 305101"/>
                <a:gd name="connsiteY1" fmla="*/ 31062 h 45651"/>
                <a:gd name="connsiteX2" fmla="*/ 285164 w 305101"/>
                <a:gd name="connsiteY2" fmla="*/ 45652 h 45651"/>
                <a:gd name="connsiteX3" fmla="*/ 19938 w 305101"/>
                <a:gd name="connsiteY3" fmla="*/ 45652 h 45651"/>
                <a:gd name="connsiteX4" fmla="*/ 5348 w 305101"/>
                <a:gd name="connsiteY4" fmla="*/ 31062 h 45651"/>
                <a:gd name="connsiteX5" fmla="*/ 0 w 305101"/>
                <a:gd name="connsiteY5" fmla="*/ 0 h 456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05101" h="45651">
                  <a:moveTo>
                    <a:pt x="305101" y="0"/>
                  </a:moveTo>
                  <a:lnTo>
                    <a:pt x="299753" y="31062"/>
                  </a:lnTo>
                  <a:cubicBezTo>
                    <a:pt x="298015" y="39303"/>
                    <a:pt x="293191" y="45652"/>
                    <a:pt x="285164" y="45652"/>
                  </a:cubicBezTo>
                  <a:lnTo>
                    <a:pt x="19938" y="45652"/>
                  </a:lnTo>
                  <a:cubicBezTo>
                    <a:pt x="11910" y="45652"/>
                    <a:pt x="7218" y="39303"/>
                    <a:pt x="5348" y="31062"/>
                  </a:cubicBezTo>
                  <a:lnTo>
                    <a:pt x="0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4" name="Forma livre: Forma 113">
              <a:extLst>
                <a:ext uri="{FF2B5EF4-FFF2-40B4-BE49-F238E27FC236}">
                  <a16:creationId xmlns:a16="http://schemas.microsoft.com/office/drawing/2014/main" id="{2D8A196A-6B8E-5300-92E6-983FF3D558A0}"/>
                </a:ext>
              </a:extLst>
            </p:cNvPr>
            <p:cNvSpPr/>
            <p:nvPr/>
          </p:nvSpPr>
          <p:spPr>
            <a:xfrm>
              <a:off x="1396374" y="2096742"/>
              <a:ext cx="198129" cy="116528"/>
            </a:xfrm>
            <a:custGeom>
              <a:avLst/>
              <a:gdLst>
                <a:gd name="connsiteX0" fmla="*/ 197672 w 198129"/>
                <a:gd name="connsiteY0" fmla="*/ 0 h 116528"/>
                <a:gd name="connsiteX1" fmla="*/ 151401 w 198129"/>
                <a:gd name="connsiteY1" fmla="*/ 50130 h 116528"/>
                <a:gd name="connsiteX2" fmla="*/ 16972 w 198129"/>
                <a:gd name="connsiteY2" fmla="*/ 50130 h 116528"/>
                <a:gd name="connsiteX3" fmla="*/ 0 w 198129"/>
                <a:gd name="connsiteY3" fmla="*/ 64720 h 116528"/>
                <a:gd name="connsiteX4" fmla="*/ 0 w 198129"/>
                <a:gd name="connsiteY4" fmla="*/ 116528 h 1165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8129" h="116528">
                  <a:moveTo>
                    <a:pt x="197672" y="0"/>
                  </a:moveTo>
                  <a:cubicBezTo>
                    <a:pt x="202305" y="27572"/>
                    <a:pt x="170684" y="50142"/>
                    <a:pt x="151401" y="50130"/>
                  </a:cubicBezTo>
                  <a:lnTo>
                    <a:pt x="16972" y="50130"/>
                  </a:lnTo>
                  <a:cubicBezTo>
                    <a:pt x="6562" y="50130"/>
                    <a:pt x="0" y="56692"/>
                    <a:pt x="0" y="64720"/>
                  </a:cubicBezTo>
                  <a:lnTo>
                    <a:pt x="0" y="116528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5" name="Forma livre: Forma 114">
              <a:extLst>
                <a:ext uri="{FF2B5EF4-FFF2-40B4-BE49-F238E27FC236}">
                  <a16:creationId xmlns:a16="http://schemas.microsoft.com/office/drawing/2014/main" id="{7D7E9110-1B6E-B67E-D5ED-050E6A3DF5F8}"/>
                </a:ext>
              </a:extLst>
            </p:cNvPr>
            <p:cNvSpPr/>
            <p:nvPr/>
          </p:nvSpPr>
          <p:spPr>
            <a:xfrm>
              <a:off x="1571309" y="2072749"/>
              <a:ext cx="98567" cy="164400"/>
            </a:xfrm>
            <a:custGeom>
              <a:avLst/>
              <a:gdLst>
                <a:gd name="connsiteX0" fmla="*/ 98568 w 98567"/>
                <a:gd name="connsiteY0" fmla="*/ 164401 h 164400"/>
                <a:gd name="connsiteX1" fmla="*/ 98568 w 98567"/>
                <a:gd name="connsiteY1" fmla="*/ 88724 h 164400"/>
                <a:gd name="connsiteX2" fmla="*/ 86360 w 98567"/>
                <a:gd name="connsiteY2" fmla="*/ 74146 h 164400"/>
                <a:gd name="connsiteX3" fmla="*/ 41566 w 98567"/>
                <a:gd name="connsiteY3" fmla="*/ 74146 h 164400"/>
                <a:gd name="connsiteX4" fmla="*/ 50403 w 98567"/>
                <a:gd name="connsiteY4" fmla="*/ 29852 h 164400"/>
                <a:gd name="connsiteX5" fmla="*/ 0 w 98567"/>
                <a:gd name="connsiteY5" fmla="*/ 946 h 16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8567" h="164400">
                  <a:moveTo>
                    <a:pt x="98568" y="164401"/>
                  </a:moveTo>
                  <a:lnTo>
                    <a:pt x="98568" y="88724"/>
                  </a:lnTo>
                  <a:cubicBezTo>
                    <a:pt x="98568" y="80696"/>
                    <a:pt x="92006" y="74146"/>
                    <a:pt x="86360" y="74146"/>
                  </a:cubicBezTo>
                  <a:lnTo>
                    <a:pt x="41566" y="74146"/>
                  </a:lnTo>
                  <a:cubicBezTo>
                    <a:pt x="58443" y="49004"/>
                    <a:pt x="50403" y="29852"/>
                    <a:pt x="50403" y="29852"/>
                  </a:cubicBezTo>
                  <a:cubicBezTo>
                    <a:pt x="38553" y="-8117"/>
                    <a:pt x="0" y="946"/>
                    <a:pt x="0" y="946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6" name="Forma livre: Forma 115">
              <a:extLst>
                <a:ext uri="{FF2B5EF4-FFF2-40B4-BE49-F238E27FC236}">
                  <a16:creationId xmlns:a16="http://schemas.microsoft.com/office/drawing/2014/main" id="{98AB8B42-92EA-0F17-0847-95963B1F766B}"/>
                </a:ext>
              </a:extLst>
            </p:cNvPr>
            <p:cNvSpPr/>
            <p:nvPr/>
          </p:nvSpPr>
          <p:spPr>
            <a:xfrm>
              <a:off x="1427888" y="2175837"/>
              <a:ext cx="55929" cy="1191"/>
            </a:xfrm>
            <a:custGeom>
              <a:avLst/>
              <a:gdLst>
                <a:gd name="connsiteX0" fmla="*/ 0 w 55929"/>
                <a:gd name="connsiteY0" fmla="*/ 0 h 1191"/>
                <a:gd name="connsiteX1" fmla="*/ 55930 w 55929"/>
                <a:gd name="connsiteY1" fmla="*/ 0 h 11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5929" h="1191">
                  <a:moveTo>
                    <a:pt x="0" y="0"/>
                  </a:moveTo>
                  <a:lnTo>
                    <a:pt x="5593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17" name="Gráfico 2">
            <a:extLst>
              <a:ext uri="{FF2B5EF4-FFF2-40B4-BE49-F238E27FC236}">
                <a16:creationId xmlns:a16="http://schemas.microsoft.com/office/drawing/2014/main" id="{C3C9A3C4-0F60-A098-EE75-66FB043F9839}"/>
              </a:ext>
            </a:extLst>
          </p:cNvPr>
          <p:cNvGrpSpPr/>
          <p:nvPr/>
        </p:nvGrpSpPr>
        <p:grpSpPr>
          <a:xfrm>
            <a:off x="1953837" y="2620286"/>
            <a:ext cx="398155" cy="202947"/>
            <a:chOff x="1953837" y="2620286"/>
            <a:chExt cx="398155" cy="202947"/>
          </a:xfrm>
        </p:grpSpPr>
        <p:sp>
          <p:nvSpPr>
            <p:cNvPr id="118" name="Forma livre: Forma 117">
              <a:extLst>
                <a:ext uri="{FF2B5EF4-FFF2-40B4-BE49-F238E27FC236}">
                  <a16:creationId xmlns:a16="http://schemas.microsoft.com/office/drawing/2014/main" id="{E87DA1BB-6611-251D-E200-1C5DFCBE67CF}"/>
                </a:ext>
              </a:extLst>
            </p:cNvPr>
            <p:cNvSpPr/>
            <p:nvPr/>
          </p:nvSpPr>
          <p:spPr>
            <a:xfrm>
              <a:off x="2038066" y="2620370"/>
              <a:ext cx="110073" cy="170621"/>
            </a:xfrm>
            <a:custGeom>
              <a:avLst/>
              <a:gdLst>
                <a:gd name="connsiteX0" fmla="*/ 0 w 110073"/>
                <a:gd name="connsiteY0" fmla="*/ 15650 h 170621"/>
                <a:gd name="connsiteX1" fmla="*/ 40292 w 110073"/>
                <a:gd name="connsiteY1" fmla="*/ 0 h 170621"/>
                <a:gd name="connsiteX2" fmla="*/ 110073 w 110073"/>
                <a:gd name="connsiteY2" fmla="*/ 85300 h 170621"/>
                <a:gd name="connsiteX3" fmla="*/ 40292 w 110073"/>
                <a:gd name="connsiteY3" fmla="*/ 170600 h 170621"/>
                <a:gd name="connsiteX4" fmla="*/ 37362 w 110073"/>
                <a:gd name="connsiteY4" fmla="*/ 170600 h 1706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0073" h="170621">
                  <a:moveTo>
                    <a:pt x="0" y="15650"/>
                  </a:moveTo>
                  <a:cubicBezTo>
                    <a:pt x="11338" y="5419"/>
                    <a:pt x="25369" y="0"/>
                    <a:pt x="40292" y="0"/>
                  </a:cubicBezTo>
                  <a:cubicBezTo>
                    <a:pt x="78833" y="0"/>
                    <a:pt x="110073" y="38196"/>
                    <a:pt x="110073" y="85300"/>
                  </a:cubicBezTo>
                  <a:cubicBezTo>
                    <a:pt x="110073" y="132405"/>
                    <a:pt x="78833" y="170600"/>
                    <a:pt x="40292" y="170600"/>
                  </a:cubicBezTo>
                  <a:cubicBezTo>
                    <a:pt x="39303" y="170600"/>
                    <a:pt x="38315" y="170648"/>
                    <a:pt x="37362" y="170600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9" name="Forma livre: Forma 118">
              <a:extLst>
                <a:ext uri="{FF2B5EF4-FFF2-40B4-BE49-F238E27FC236}">
                  <a16:creationId xmlns:a16="http://schemas.microsoft.com/office/drawing/2014/main" id="{1903EC34-AD4B-A1B9-5508-4CA247142160}"/>
                </a:ext>
              </a:extLst>
            </p:cNvPr>
            <p:cNvSpPr/>
            <p:nvPr/>
          </p:nvSpPr>
          <p:spPr>
            <a:xfrm>
              <a:off x="2102178" y="2706277"/>
              <a:ext cx="7360" cy="7384"/>
            </a:xfrm>
            <a:custGeom>
              <a:avLst/>
              <a:gdLst>
                <a:gd name="connsiteX0" fmla="*/ 7361 w 7360"/>
                <a:gd name="connsiteY0" fmla="*/ 3692 h 7384"/>
                <a:gd name="connsiteX1" fmla="*/ 3680 w 7360"/>
                <a:gd name="connsiteY1" fmla="*/ 7384 h 7384"/>
                <a:gd name="connsiteX2" fmla="*/ 0 w 7360"/>
                <a:gd name="connsiteY2" fmla="*/ 3692 h 7384"/>
                <a:gd name="connsiteX3" fmla="*/ 3680 w 7360"/>
                <a:gd name="connsiteY3" fmla="*/ 0 h 7384"/>
                <a:gd name="connsiteX4" fmla="*/ 7361 w 7360"/>
                <a:gd name="connsiteY4" fmla="*/ 3692 h 73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360" h="7384">
                  <a:moveTo>
                    <a:pt x="7361" y="3692"/>
                  </a:moveTo>
                  <a:cubicBezTo>
                    <a:pt x="7361" y="5729"/>
                    <a:pt x="5717" y="7384"/>
                    <a:pt x="3680" y="7384"/>
                  </a:cubicBezTo>
                  <a:cubicBezTo>
                    <a:pt x="1644" y="7384"/>
                    <a:pt x="0" y="5741"/>
                    <a:pt x="0" y="3692"/>
                  </a:cubicBezTo>
                  <a:cubicBezTo>
                    <a:pt x="0" y="1644"/>
                    <a:pt x="1644" y="0"/>
                    <a:pt x="3680" y="0"/>
                  </a:cubicBezTo>
                  <a:cubicBezTo>
                    <a:pt x="5717" y="0"/>
                    <a:pt x="7361" y="1644"/>
                    <a:pt x="7361" y="3692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0" name="Forma livre: Forma 119">
              <a:extLst>
                <a:ext uri="{FF2B5EF4-FFF2-40B4-BE49-F238E27FC236}">
                  <a16:creationId xmlns:a16="http://schemas.microsoft.com/office/drawing/2014/main" id="{94444F1F-FA22-7FED-E566-43B6ADAD3CF2}"/>
                </a:ext>
              </a:extLst>
            </p:cNvPr>
            <p:cNvSpPr/>
            <p:nvPr/>
          </p:nvSpPr>
          <p:spPr>
            <a:xfrm>
              <a:off x="2096616" y="2657267"/>
              <a:ext cx="7360" cy="7372"/>
            </a:xfrm>
            <a:custGeom>
              <a:avLst/>
              <a:gdLst>
                <a:gd name="connsiteX0" fmla="*/ 7360 w 7360"/>
                <a:gd name="connsiteY0" fmla="*/ 3692 h 7372"/>
                <a:gd name="connsiteX1" fmla="*/ 3680 w 7360"/>
                <a:gd name="connsiteY1" fmla="*/ 7372 h 7372"/>
                <a:gd name="connsiteX2" fmla="*/ 0 w 7360"/>
                <a:gd name="connsiteY2" fmla="*/ 3692 h 7372"/>
                <a:gd name="connsiteX3" fmla="*/ 3680 w 7360"/>
                <a:gd name="connsiteY3" fmla="*/ 0 h 7372"/>
                <a:gd name="connsiteX4" fmla="*/ 7360 w 7360"/>
                <a:gd name="connsiteY4" fmla="*/ 3692 h 73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360" h="7372">
                  <a:moveTo>
                    <a:pt x="7360" y="3692"/>
                  </a:moveTo>
                  <a:cubicBezTo>
                    <a:pt x="7360" y="5729"/>
                    <a:pt x="5717" y="7372"/>
                    <a:pt x="3680" y="7372"/>
                  </a:cubicBezTo>
                  <a:cubicBezTo>
                    <a:pt x="1644" y="7372"/>
                    <a:pt x="0" y="5729"/>
                    <a:pt x="0" y="3692"/>
                  </a:cubicBezTo>
                  <a:cubicBezTo>
                    <a:pt x="0" y="1656"/>
                    <a:pt x="1656" y="0"/>
                    <a:pt x="3680" y="0"/>
                  </a:cubicBezTo>
                  <a:cubicBezTo>
                    <a:pt x="5705" y="0"/>
                    <a:pt x="7360" y="1644"/>
                    <a:pt x="7360" y="3692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1" name="Forma livre: Forma 120">
              <a:extLst>
                <a:ext uri="{FF2B5EF4-FFF2-40B4-BE49-F238E27FC236}">
                  <a16:creationId xmlns:a16="http://schemas.microsoft.com/office/drawing/2014/main" id="{7E987BB7-0847-FB95-E1D2-B7BD3DB59604}"/>
                </a:ext>
              </a:extLst>
            </p:cNvPr>
            <p:cNvSpPr/>
            <p:nvPr/>
          </p:nvSpPr>
          <p:spPr>
            <a:xfrm>
              <a:off x="2076214" y="2620286"/>
              <a:ext cx="237487" cy="170671"/>
            </a:xfrm>
            <a:custGeom>
              <a:avLst/>
              <a:gdLst>
                <a:gd name="connsiteX0" fmla="*/ 643 w 237487"/>
                <a:gd name="connsiteY0" fmla="*/ 0 h 170671"/>
                <a:gd name="connsiteX1" fmla="*/ 158142 w 237487"/>
                <a:gd name="connsiteY1" fmla="*/ 0 h 170671"/>
                <a:gd name="connsiteX2" fmla="*/ 237487 w 237487"/>
                <a:gd name="connsiteY2" fmla="*/ 79202 h 170671"/>
                <a:gd name="connsiteX3" fmla="*/ 237487 w 237487"/>
                <a:gd name="connsiteY3" fmla="*/ 91529 h 170671"/>
                <a:gd name="connsiteX4" fmla="*/ 158142 w 237487"/>
                <a:gd name="connsiteY4" fmla="*/ 170672 h 170671"/>
                <a:gd name="connsiteX5" fmla="*/ 0 w 237487"/>
                <a:gd name="connsiteY5" fmla="*/ 170672 h 1706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37487" h="170671">
                  <a:moveTo>
                    <a:pt x="643" y="0"/>
                  </a:moveTo>
                  <a:lnTo>
                    <a:pt x="158142" y="0"/>
                  </a:lnTo>
                  <a:cubicBezTo>
                    <a:pt x="201852" y="0"/>
                    <a:pt x="237487" y="35647"/>
                    <a:pt x="237487" y="79202"/>
                  </a:cubicBezTo>
                  <a:lnTo>
                    <a:pt x="237487" y="91529"/>
                  </a:lnTo>
                  <a:cubicBezTo>
                    <a:pt x="237487" y="135096"/>
                    <a:pt x="201840" y="170672"/>
                    <a:pt x="158142" y="170672"/>
                  </a:cubicBezTo>
                  <a:lnTo>
                    <a:pt x="0" y="170672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22" name="Gráfico 2">
              <a:extLst>
                <a:ext uri="{FF2B5EF4-FFF2-40B4-BE49-F238E27FC236}">
                  <a16:creationId xmlns:a16="http://schemas.microsoft.com/office/drawing/2014/main" id="{73F8905F-F036-804D-C3E7-E93CD0B408FE}"/>
                </a:ext>
              </a:extLst>
            </p:cNvPr>
            <p:cNvGrpSpPr/>
            <p:nvPr/>
          </p:nvGrpSpPr>
          <p:grpSpPr>
            <a:xfrm>
              <a:off x="2315440" y="2682529"/>
              <a:ext cx="36552" cy="46258"/>
              <a:chOff x="2315440" y="2682529"/>
              <a:chExt cx="36552" cy="46258"/>
            </a:xfrm>
          </p:grpSpPr>
          <p:sp>
            <p:nvSpPr>
              <p:cNvPr id="123" name="Forma livre: Forma 122">
                <a:extLst>
                  <a:ext uri="{FF2B5EF4-FFF2-40B4-BE49-F238E27FC236}">
                    <a16:creationId xmlns:a16="http://schemas.microsoft.com/office/drawing/2014/main" id="{3147C927-66EF-15F0-3420-00320795DC2C}"/>
                  </a:ext>
                </a:extLst>
              </p:cNvPr>
              <p:cNvSpPr/>
              <p:nvPr/>
            </p:nvSpPr>
            <p:spPr>
              <a:xfrm>
                <a:off x="2315619" y="2682529"/>
                <a:ext cx="36373" cy="22486"/>
              </a:xfrm>
              <a:custGeom>
                <a:avLst/>
                <a:gdLst>
                  <a:gd name="connsiteX0" fmla="*/ 0 w 36373"/>
                  <a:gd name="connsiteY0" fmla="*/ 22486 h 22486"/>
                  <a:gd name="connsiteX1" fmla="*/ 36373 w 36373"/>
                  <a:gd name="connsiteY1" fmla="*/ 0 h 224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6373" h="22486">
                    <a:moveTo>
                      <a:pt x="0" y="22486"/>
                    </a:moveTo>
                    <a:lnTo>
                      <a:pt x="36373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4" name="Forma livre: Forma 123">
                <a:extLst>
                  <a:ext uri="{FF2B5EF4-FFF2-40B4-BE49-F238E27FC236}">
                    <a16:creationId xmlns:a16="http://schemas.microsoft.com/office/drawing/2014/main" id="{B28C4E56-6148-4007-360A-3C4B4F2E4BFF}"/>
                  </a:ext>
                </a:extLst>
              </p:cNvPr>
              <p:cNvSpPr/>
              <p:nvPr/>
            </p:nvSpPr>
            <p:spPr>
              <a:xfrm>
                <a:off x="2315440" y="2705539"/>
                <a:ext cx="36552" cy="23248"/>
              </a:xfrm>
              <a:custGeom>
                <a:avLst/>
                <a:gdLst>
                  <a:gd name="connsiteX0" fmla="*/ 36552 w 36552"/>
                  <a:gd name="connsiteY0" fmla="*/ 23249 h 23248"/>
                  <a:gd name="connsiteX1" fmla="*/ 0 w 36552"/>
                  <a:gd name="connsiteY1" fmla="*/ 0 h 232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6552" h="23248">
                    <a:moveTo>
                      <a:pt x="36552" y="23249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25" name="Forma livre: Forma 124">
              <a:extLst>
                <a:ext uri="{FF2B5EF4-FFF2-40B4-BE49-F238E27FC236}">
                  <a16:creationId xmlns:a16="http://schemas.microsoft.com/office/drawing/2014/main" id="{D79708EF-B9C0-36AC-C5DD-31E27C15C541}"/>
                </a:ext>
              </a:extLst>
            </p:cNvPr>
            <p:cNvSpPr/>
            <p:nvPr/>
          </p:nvSpPr>
          <p:spPr>
            <a:xfrm>
              <a:off x="1953837" y="2656929"/>
              <a:ext cx="144734" cy="166304"/>
            </a:xfrm>
            <a:custGeom>
              <a:avLst/>
              <a:gdLst>
                <a:gd name="connsiteX0" fmla="*/ 136634 w 144734"/>
                <a:gd name="connsiteY0" fmla="*/ 110352 h 166304"/>
                <a:gd name="connsiteX1" fmla="*/ 39138 w 144734"/>
                <a:gd name="connsiteY1" fmla="*/ 161708 h 166304"/>
                <a:gd name="connsiteX2" fmla="*/ 8100 w 144734"/>
                <a:gd name="connsiteY2" fmla="*/ 55958 h 166304"/>
                <a:gd name="connsiteX3" fmla="*/ 105608 w 144734"/>
                <a:gd name="connsiteY3" fmla="*/ 4590 h 166304"/>
                <a:gd name="connsiteX4" fmla="*/ 136634 w 144734"/>
                <a:gd name="connsiteY4" fmla="*/ 110340 h 1663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4734" h="166304">
                  <a:moveTo>
                    <a:pt x="136634" y="110352"/>
                  </a:moveTo>
                  <a:cubicBezTo>
                    <a:pt x="118280" y="153729"/>
                    <a:pt x="74630" y="176727"/>
                    <a:pt x="39138" y="161708"/>
                  </a:cubicBezTo>
                  <a:cubicBezTo>
                    <a:pt x="3634" y="146690"/>
                    <a:pt x="-10253" y="99347"/>
                    <a:pt x="8100" y="55958"/>
                  </a:cubicBezTo>
                  <a:cubicBezTo>
                    <a:pt x="26454" y="12582"/>
                    <a:pt x="70104" y="-10417"/>
                    <a:pt x="105608" y="4590"/>
                  </a:cubicBezTo>
                  <a:cubicBezTo>
                    <a:pt x="141100" y="19609"/>
                    <a:pt x="154987" y="66963"/>
                    <a:pt x="136634" y="110340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6" name="Forma livre: Forma 125">
              <a:extLst>
                <a:ext uri="{FF2B5EF4-FFF2-40B4-BE49-F238E27FC236}">
                  <a16:creationId xmlns:a16="http://schemas.microsoft.com/office/drawing/2014/main" id="{408E5439-BE88-19CD-5265-E1D025D8EDE2}"/>
                </a:ext>
              </a:extLst>
            </p:cNvPr>
            <p:cNvSpPr/>
            <p:nvPr/>
          </p:nvSpPr>
          <p:spPr>
            <a:xfrm>
              <a:off x="2035208" y="2692414"/>
              <a:ext cx="7372" cy="7372"/>
            </a:xfrm>
            <a:custGeom>
              <a:avLst/>
              <a:gdLst>
                <a:gd name="connsiteX0" fmla="*/ 7372 w 7372"/>
                <a:gd name="connsiteY0" fmla="*/ 3692 h 7372"/>
                <a:gd name="connsiteX1" fmla="*/ 3680 w 7372"/>
                <a:gd name="connsiteY1" fmla="*/ 7372 h 7372"/>
                <a:gd name="connsiteX2" fmla="*/ 0 w 7372"/>
                <a:gd name="connsiteY2" fmla="*/ 3692 h 7372"/>
                <a:gd name="connsiteX3" fmla="*/ 3680 w 7372"/>
                <a:gd name="connsiteY3" fmla="*/ 0 h 7372"/>
                <a:gd name="connsiteX4" fmla="*/ 7372 w 7372"/>
                <a:gd name="connsiteY4" fmla="*/ 3692 h 73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372" h="7372">
                  <a:moveTo>
                    <a:pt x="7372" y="3692"/>
                  </a:moveTo>
                  <a:cubicBezTo>
                    <a:pt x="7372" y="5729"/>
                    <a:pt x="5729" y="7372"/>
                    <a:pt x="3680" y="7372"/>
                  </a:cubicBezTo>
                  <a:cubicBezTo>
                    <a:pt x="1632" y="7372"/>
                    <a:pt x="0" y="5729"/>
                    <a:pt x="0" y="3692"/>
                  </a:cubicBezTo>
                  <a:cubicBezTo>
                    <a:pt x="0" y="1656"/>
                    <a:pt x="1656" y="0"/>
                    <a:pt x="3680" y="0"/>
                  </a:cubicBezTo>
                  <a:cubicBezTo>
                    <a:pt x="5705" y="0"/>
                    <a:pt x="7372" y="1644"/>
                    <a:pt x="7372" y="3692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7" name="Forma livre: Forma 126">
              <a:extLst>
                <a:ext uri="{FF2B5EF4-FFF2-40B4-BE49-F238E27FC236}">
                  <a16:creationId xmlns:a16="http://schemas.microsoft.com/office/drawing/2014/main" id="{EE076A03-D1C5-4693-09AC-3FC775C6F438}"/>
                </a:ext>
              </a:extLst>
            </p:cNvPr>
            <p:cNvSpPr/>
            <p:nvPr/>
          </p:nvSpPr>
          <p:spPr>
            <a:xfrm>
              <a:off x="1994165" y="2712399"/>
              <a:ext cx="7360" cy="7372"/>
            </a:xfrm>
            <a:custGeom>
              <a:avLst/>
              <a:gdLst>
                <a:gd name="connsiteX0" fmla="*/ 7361 w 7360"/>
                <a:gd name="connsiteY0" fmla="*/ 3692 h 7372"/>
                <a:gd name="connsiteX1" fmla="*/ 3680 w 7360"/>
                <a:gd name="connsiteY1" fmla="*/ 7372 h 7372"/>
                <a:gd name="connsiteX2" fmla="*/ 0 w 7360"/>
                <a:gd name="connsiteY2" fmla="*/ 3692 h 7372"/>
                <a:gd name="connsiteX3" fmla="*/ 3680 w 7360"/>
                <a:gd name="connsiteY3" fmla="*/ 0 h 7372"/>
                <a:gd name="connsiteX4" fmla="*/ 7361 w 7360"/>
                <a:gd name="connsiteY4" fmla="*/ 3692 h 73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360" h="7372">
                  <a:moveTo>
                    <a:pt x="7361" y="3692"/>
                  </a:moveTo>
                  <a:cubicBezTo>
                    <a:pt x="7361" y="5729"/>
                    <a:pt x="5717" y="7372"/>
                    <a:pt x="3680" y="7372"/>
                  </a:cubicBezTo>
                  <a:cubicBezTo>
                    <a:pt x="1644" y="7372"/>
                    <a:pt x="0" y="5729"/>
                    <a:pt x="0" y="3692"/>
                  </a:cubicBezTo>
                  <a:cubicBezTo>
                    <a:pt x="0" y="1656"/>
                    <a:pt x="1656" y="0"/>
                    <a:pt x="3680" y="0"/>
                  </a:cubicBezTo>
                  <a:cubicBezTo>
                    <a:pt x="5705" y="0"/>
                    <a:pt x="7361" y="1644"/>
                    <a:pt x="7361" y="3692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8" name="Forma livre: Forma 127">
              <a:extLst>
                <a:ext uri="{FF2B5EF4-FFF2-40B4-BE49-F238E27FC236}">
                  <a16:creationId xmlns:a16="http://schemas.microsoft.com/office/drawing/2014/main" id="{AA0E3832-B4A2-0A6E-CBA4-768BFE0C38F4}"/>
                </a:ext>
              </a:extLst>
            </p:cNvPr>
            <p:cNvSpPr/>
            <p:nvPr/>
          </p:nvSpPr>
          <p:spPr>
            <a:xfrm>
              <a:off x="2056110" y="2730288"/>
              <a:ext cx="7372" cy="7372"/>
            </a:xfrm>
            <a:custGeom>
              <a:avLst/>
              <a:gdLst>
                <a:gd name="connsiteX0" fmla="*/ 7372 w 7372"/>
                <a:gd name="connsiteY0" fmla="*/ 3692 h 7372"/>
                <a:gd name="connsiteX1" fmla="*/ 3692 w 7372"/>
                <a:gd name="connsiteY1" fmla="*/ 7372 h 7372"/>
                <a:gd name="connsiteX2" fmla="*/ 0 w 7372"/>
                <a:gd name="connsiteY2" fmla="*/ 3692 h 7372"/>
                <a:gd name="connsiteX3" fmla="*/ 3692 w 7372"/>
                <a:gd name="connsiteY3" fmla="*/ 0 h 7372"/>
                <a:gd name="connsiteX4" fmla="*/ 7372 w 7372"/>
                <a:gd name="connsiteY4" fmla="*/ 3692 h 73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372" h="7372">
                  <a:moveTo>
                    <a:pt x="7372" y="3692"/>
                  </a:moveTo>
                  <a:cubicBezTo>
                    <a:pt x="7372" y="5729"/>
                    <a:pt x="5741" y="7372"/>
                    <a:pt x="3692" y="7372"/>
                  </a:cubicBezTo>
                  <a:cubicBezTo>
                    <a:pt x="1644" y="7372"/>
                    <a:pt x="0" y="5729"/>
                    <a:pt x="0" y="3692"/>
                  </a:cubicBezTo>
                  <a:cubicBezTo>
                    <a:pt x="0" y="1655"/>
                    <a:pt x="1656" y="0"/>
                    <a:pt x="3692" y="0"/>
                  </a:cubicBezTo>
                  <a:cubicBezTo>
                    <a:pt x="5729" y="0"/>
                    <a:pt x="7372" y="1644"/>
                    <a:pt x="7372" y="3692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9" name="Forma livre: Forma 128">
              <a:extLst>
                <a:ext uri="{FF2B5EF4-FFF2-40B4-BE49-F238E27FC236}">
                  <a16:creationId xmlns:a16="http://schemas.microsoft.com/office/drawing/2014/main" id="{3B5CB069-9700-6C16-CE54-B667F9BC8E40}"/>
                </a:ext>
              </a:extLst>
            </p:cNvPr>
            <p:cNvSpPr/>
            <p:nvPr/>
          </p:nvSpPr>
          <p:spPr>
            <a:xfrm>
              <a:off x="2014341" y="2738744"/>
              <a:ext cx="7372" cy="7384"/>
            </a:xfrm>
            <a:custGeom>
              <a:avLst/>
              <a:gdLst>
                <a:gd name="connsiteX0" fmla="*/ 7372 w 7372"/>
                <a:gd name="connsiteY0" fmla="*/ 3692 h 7384"/>
                <a:gd name="connsiteX1" fmla="*/ 3692 w 7372"/>
                <a:gd name="connsiteY1" fmla="*/ 7384 h 7384"/>
                <a:gd name="connsiteX2" fmla="*/ 0 w 7372"/>
                <a:gd name="connsiteY2" fmla="*/ 3692 h 7384"/>
                <a:gd name="connsiteX3" fmla="*/ 3692 w 7372"/>
                <a:gd name="connsiteY3" fmla="*/ 0 h 7384"/>
                <a:gd name="connsiteX4" fmla="*/ 7372 w 7372"/>
                <a:gd name="connsiteY4" fmla="*/ 3692 h 73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372" h="7384">
                  <a:moveTo>
                    <a:pt x="7372" y="3692"/>
                  </a:moveTo>
                  <a:cubicBezTo>
                    <a:pt x="7372" y="5729"/>
                    <a:pt x="5729" y="7384"/>
                    <a:pt x="3692" y="7384"/>
                  </a:cubicBezTo>
                  <a:cubicBezTo>
                    <a:pt x="1656" y="7384"/>
                    <a:pt x="0" y="5741"/>
                    <a:pt x="0" y="3692"/>
                  </a:cubicBezTo>
                  <a:cubicBezTo>
                    <a:pt x="0" y="1644"/>
                    <a:pt x="1656" y="0"/>
                    <a:pt x="3692" y="0"/>
                  </a:cubicBezTo>
                  <a:cubicBezTo>
                    <a:pt x="5729" y="0"/>
                    <a:pt x="7372" y="1644"/>
                    <a:pt x="7372" y="3692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30" name="Forma livre: Forma 129">
              <a:extLst>
                <a:ext uri="{FF2B5EF4-FFF2-40B4-BE49-F238E27FC236}">
                  <a16:creationId xmlns:a16="http://schemas.microsoft.com/office/drawing/2014/main" id="{B82FA57F-4F2B-19C4-DE56-4BF43098074A}"/>
                </a:ext>
              </a:extLst>
            </p:cNvPr>
            <p:cNvSpPr/>
            <p:nvPr/>
          </p:nvSpPr>
          <p:spPr>
            <a:xfrm>
              <a:off x="2034743" y="2771295"/>
              <a:ext cx="7372" cy="7372"/>
            </a:xfrm>
            <a:custGeom>
              <a:avLst/>
              <a:gdLst>
                <a:gd name="connsiteX0" fmla="*/ 7372 w 7372"/>
                <a:gd name="connsiteY0" fmla="*/ 3692 h 7372"/>
                <a:gd name="connsiteX1" fmla="*/ 3692 w 7372"/>
                <a:gd name="connsiteY1" fmla="*/ 7372 h 7372"/>
                <a:gd name="connsiteX2" fmla="*/ 0 w 7372"/>
                <a:gd name="connsiteY2" fmla="*/ 3692 h 7372"/>
                <a:gd name="connsiteX3" fmla="*/ 3692 w 7372"/>
                <a:gd name="connsiteY3" fmla="*/ 0 h 7372"/>
                <a:gd name="connsiteX4" fmla="*/ 7372 w 7372"/>
                <a:gd name="connsiteY4" fmla="*/ 3692 h 73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372" h="7372">
                  <a:moveTo>
                    <a:pt x="7372" y="3692"/>
                  </a:moveTo>
                  <a:cubicBezTo>
                    <a:pt x="7372" y="5729"/>
                    <a:pt x="5729" y="7372"/>
                    <a:pt x="3692" y="7372"/>
                  </a:cubicBezTo>
                  <a:cubicBezTo>
                    <a:pt x="1656" y="7372"/>
                    <a:pt x="0" y="5729"/>
                    <a:pt x="0" y="3692"/>
                  </a:cubicBezTo>
                  <a:cubicBezTo>
                    <a:pt x="0" y="1656"/>
                    <a:pt x="1656" y="0"/>
                    <a:pt x="3692" y="0"/>
                  </a:cubicBezTo>
                  <a:cubicBezTo>
                    <a:pt x="5729" y="0"/>
                    <a:pt x="7372" y="1644"/>
                    <a:pt x="7372" y="3692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31" name="Forma livre: Forma 130">
              <a:extLst>
                <a:ext uri="{FF2B5EF4-FFF2-40B4-BE49-F238E27FC236}">
                  <a16:creationId xmlns:a16="http://schemas.microsoft.com/office/drawing/2014/main" id="{0332A800-11C3-EC84-ECF5-AC4F75F83D86}"/>
                </a:ext>
              </a:extLst>
            </p:cNvPr>
            <p:cNvSpPr/>
            <p:nvPr/>
          </p:nvSpPr>
          <p:spPr>
            <a:xfrm>
              <a:off x="1988782" y="2766995"/>
              <a:ext cx="7372" cy="7372"/>
            </a:xfrm>
            <a:custGeom>
              <a:avLst/>
              <a:gdLst>
                <a:gd name="connsiteX0" fmla="*/ 7372 w 7372"/>
                <a:gd name="connsiteY0" fmla="*/ 3692 h 7372"/>
                <a:gd name="connsiteX1" fmla="*/ 3680 w 7372"/>
                <a:gd name="connsiteY1" fmla="*/ 7372 h 7372"/>
                <a:gd name="connsiteX2" fmla="*/ 0 w 7372"/>
                <a:gd name="connsiteY2" fmla="*/ 3692 h 7372"/>
                <a:gd name="connsiteX3" fmla="*/ 3680 w 7372"/>
                <a:gd name="connsiteY3" fmla="*/ 0 h 7372"/>
                <a:gd name="connsiteX4" fmla="*/ 7372 w 7372"/>
                <a:gd name="connsiteY4" fmla="*/ 3692 h 73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372" h="7372">
                  <a:moveTo>
                    <a:pt x="7372" y="3692"/>
                  </a:moveTo>
                  <a:cubicBezTo>
                    <a:pt x="7372" y="5729"/>
                    <a:pt x="5717" y="7372"/>
                    <a:pt x="3680" y="7372"/>
                  </a:cubicBezTo>
                  <a:cubicBezTo>
                    <a:pt x="1644" y="7372"/>
                    <a:pt x="0" y="5729"/>
                    <a:pt x="0" y="3692"/>
                  </a:cubicBezTo>
                  <a:cubicBezTo>
                    <a:pt x="0" y="1656"/>
                    <a:pt x="1656" y="0"/>
                    <a:pt x="3680" y="0"/>
                  </a:cubicBezTo>
                  <a:cubicBezTo>
                    <a:pt x="5705" y="0"/>
                    <a:pt x="7372" y="1644"/>
                    <a:pt x="7372" y="3692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32" name="Gráfico 2">
            <a:extLst>
              <a:ext uri="{FF2B5EF4-FFF2-40B4-BE49-F238E27FC236}">
                <a16:creationId xmlns:a16="http://schemas.microsoft.com/office/drawing/2014/main" id="{9A0EBD07-0E2C-9B70-FED4-3D3433F00AD1}"/>
              </a:ext>
            </a:extLst>
          </p:cNvPr>
          <p:cNvGrpSpPr/>
          <p:nvPr/>
        </p:nvGrpSpPr>
        <p:grpSpPr>
          <a:xfrm>
            <a:off x="813434" y="2580078"/>
            <a:ext cx="199803" cy="283365"/>
            <a:chOff x="813434" y="2580078"/>
            <a:chExt cx="199803" cy="283365"/>
          </a:xfrm>
          <a:noFill/>
        </p:grpSpPr>
        <p:sp>
          <p:nvSpPr>
            <p:cNvPr id="133" name="Forma livre: Forma 132">
              <a:extLst>
                <a:ext uri="{FF2B5EF4-FFF2-40B4-BE49-F238E27FC236}">
                  <a16:creationId xmlns:a16="http://schemas.microsoft.com/office/drawing/2014/main" id="{3218DB79-7957-6883-B76E-62AFEFFCCF18}"/>
                </a:ext>
              </a:extLst>
            </p:cNvPr>
            <p:cNvSpPr/>
            <p:nvPr/>
          </p:nvSpPr>
          <p:spPr>
            <a:xfrm>
              <a:off x="831894" y="2669046"/>
              <a:ext cx="162882" cy="194396"/>
            </a:xfrm>
            <a:custGeom>
              <a:avLst/>
              <a:gdLst>
                <a:gd name="connsiteX0" fmla="*/ 162883 w 162882"/>
                <a:gd name="connsiteY0" fmla="*/ 0 h 194396"/>
                <a:gd name="connsiteX1" fmla="*/ 147054 w 162882"/>
                <a:gd name="connsiteY1" fmla="*/ 194397 h 194396"/>
                <a:gd name="connsiteX2" fmla="*/ 15829 w 162882"/>
                <a:gd name="connsiteY2" fmla="*/ 194397 h 194396"/>
                <a:gd name="connsiteX3" fmla="*/ 0 w 162882"/>
                <a:gd name="connsiteY3" fmla="*/ 0 h 194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62882" h="194396">
                  <a:moveTo>
                    <a:pt x="162883" y="0"/>
                  </a:moveTo>
                  <a:lnTo>
                    <a:pt x="147054" y="194397"/>
                  </a:lnTo>
                  <a:lnTo>
                    <a:pt x="15829" y="194397"/>
                  </a:lnTo>
                  <a:lnTo>
                    <a:pt x="0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34" name="Forma livre: Forma 133">
              <a:extLst>
                <a:ext uri="{FF2B5EF4-FFF2-40B4-BE49-F238E27FC236}">
                  <a16:creationId xmlns:a16="http://schemas.microsoft.com/office/drawing/2014/main" id="{4F5D1064-09C1-56FA-8976-5A6F103CEDD8}"/>
                </a:ext>
              </a:extLst>
            </p:cNvPr>
            <p:cNvSpPr/>
            <p:nvPr/>
          </p:nvSpPr>
          <p:spPr>
            <a:xfrm>
              <a:off x="840696" y="2773677"/>
              <a:ext cx="145041" cy="19199"/>
            </a:xfrm>
            <a:custGeom>
              <a:avLst/>
              <a:gdLst>
                <a:gd name="connsiteX0" fmla="*/ 145041 w 145041"/>
                <a:gd name="connsiteY0" fmla="*/ 95 h 19199"/>
                <a:gd name="connsiteX1" fmla="*/ 109120 w 145041"/>
                <a:gd name="connsiteY1" fmla="*/ 95 h 19199"/>
                <a:gd name="connsiteX2" fmla="*/ 73188 w 145041"/>
                <a:gd name="connsiteY2" fmla="*/ 19199 h 19199"/>
                <a:gd name="connsiteX3" fmla="*/ 37195 w 145041"/>
                <a:gd name="connsiteY3" fmla="*/ 0 h 19199"/>
                <a:gd name="connsiteX4" fmla="*/ 0 w 145041"/>
                <a:gd name="connsiteY4" fmla="*/ 0 h 191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5041" h="19199">
                  <a:moveTo>
                    <a:pt x="145041" y="95"/>
                  </a:moveTo>
                  <a:lnTo>
                    <a:pt x="109120" y="95"/>
                  </a:lnTo>
                  <a:cubicBezTo>
                    <a:pt x="101331" y="11612"/>
                    <a:pt x="88147" y="19199"/>
                    <a:pt x="73188" y="19199"/>
                  </a:cubicBezTo>
                  <a:cubicBezTo>
                    <a:pt x="58228" y="19199"/>
                    <a:pt x="44973" y="11577"/>
                    <a:pt x="37195" y="0"/>
                  </a:cubicBezTo>
                  <a:lnTo>
                    <a:pt x="0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35" name="Forma livre: Forma 134">
              <a:extLst>
                <a:ext uri="{FF2B5EF4-FFF2-40B4-BE49-F238E27FC236}">
                  <a16:creationId xmlns:a16="http://schemas.microsoft.com/office/drawing/2014/main" id="{45822C79-F11E-6A35-7540-2E09F8EC981C}"/>
                </a:ext>
              </a:extLst>
            </p:cNvPr>
            <p:cNvSpPr/>
            <p:nvPr/>
          </p:nvSpPr>
          <p:spPr>
            <a:xfrm>
              <a:off x="836575" y="2706301"/>
              <a:ext cx="153509" cy="19199"/>
            </a:xfrm>
            <a:custGeom>
              <a:avLst/>
              <a:gdLst>
                <a:gd name="connsiteX0" fmla="*/ 153509 w 153509"/>
                <a:gd name="connsiteY0" fmla="*/ 19104 h 19199"/>
                <a:gd name="connsiteX1" fmla="*/ 113229 w 153509"/>
                <a:gd name="connsiteY1" fmla="*/ 19104 h 19199"/>
                <a:gd name="connsiteX2" fmla="*/ 77297 w 153509"/>
                <a:gd name="connsiteY2" fmla="*/ 0 h 19199"/>
                <a:gd name="connsiteX3" fmla="*/ 41304 w 153509"/>
                <a:gd name="connsiteY3" fmla="*/ 19199 h 19199"/>
                <a:gd name="connsiteX4" fmla="*/ 0 w 153509"/>
                <a:gd name="connsiteY4" fmla="*/ 19199 h 191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3509" h="19199">
                  <a:moveTo>
                    <a:pt x="153509" y="19104"/>
                  </a:moveTo>
                  <a:lnTo>
                    <a:pt x="113229" y="19104"/>
                  </a:lnTo>
                  <a:cubicBezTo>
                    <a:pt x="105440" y="7575"/>
                    <a:pt x="92256" y="0"/>
                    <a:pt x="77297" y="0"/>
                  </a:cubicBezTo>
                  <a:cubicBezTo>
                    <a:pt x="62337" y="0"/>
                    <a:pt x="49082" y="7622"/>
                    <a:pt x="41304" y="19199"/>
                  </a:cubicBezTo>
                  <a:lnTo>
                    <a:pt x="0" y="19199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36" name="Gráfico 2">
              <a:extLst>
                <a:ext uri="{FF2B5EF4-FFF2-40B4-BE49-F238E27FC236}">
                  <a16:creationId xmlns:a16="http://schemas.microsoft.com/office/drawing/2014/main" id="{FD208B43-D3E1-8003-4DB6-E444A2C1E9BF}"/>
                </a:ext>
              </a:extLst>
            </p:cNvPr>
            <p:cNvGrpSpPr/>
            <p:nvPr/>
          </p:nvGrpSpPr>
          <p:grpSpPr>
            <a:xfrm>
              <a:off x="813434" y="2580078"/>
              <a:ext cx="199803" cy="65862"/>
              <a:chOff x="813434" y="2580078"/>
              <a:chExt cx="199803" cy="65862"/>
            </a:xfrm>
            <a:noFill/>
          </p:grpSpPr>
          <p:sp>
            <p:nvSpPr>
              <p:cNvPr id="137" name="Forma livre: Forma 136">
                <a:extLst>
                  <a:ext uri="{FF2B5EF4-FFF2-40B4-BE49-F238E27FC236}">
                    <a16:creationId xmlns:a16="http://schemas.microsoft.com/office/drawing/2014/main" id="{F1DF11DD-D9BF-F8BE-41D5-23F037BB4734}"/>
                  </a:ext>
                </a:extLst>
              </p:cNvPr>
              <p:cNvSpPr/>
              <p:nvPr/>
            </p:nvSpPr>
            <p:spPr>
              <a:xfrm>
                <a:off x="813434" y="2611794"/>
                <a:ext cx="199803" cy="34146"/>
              </a:xfrm>
              <a:custGeom>
                <a:avLst/>
                <a:gdLst>
                  <a:gd name="connsiteX0" fmla="*/ 82442 w 199803"/>
                  <a:gd name="connsiteY0" fmla="*/ 0 h 34146"/>
                  <a:gd name="connsiteX1" fmla="*/ 199804 w 199803"/>
                  <a:gd name="connsiteY1" fmla="*/ 0 h 34146"/>
                  <a:gd name="connsiteX2" fmla="*/ 199804 w 199803"/>
                  <a:gd name="connsiteY2" fmla="*/ 34146 h 34146"/>
                  <a:gd name="connsiteX3" fmla="*/ 0 w 199803"/>
                  <a:gd name="connsiteY3" fmla="*/ 34146 h 34146"/>
                  <a:gd name="connsiteX4" fmla="*/ 0 w 199803"/>
                  <a:gd name="connsiteY4" fmla="*/ 0 h 34146"/>
                  <a:gd name="connsiteX5" fmla="*/ 48712 w 199803"/>
                  <a:gd name="connsiteY5" fmla="*/ 0 h 341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99803" h="34146">
                    <a:moveTo>
                      <a:pt x="82442" y="0"/>
                    </a:moveTo>
                    <a:lnTo>
                      <a:pt x="199804" y="0"/>
                    </a:lnTo>
                    <a:lnTo>
                      <a:pt x="199804" y="34146"/>
                    </a:lnTo>
                    <a:lnTo>
                      <a:pt x="0" y="34146"/>
                    </a:lnTo>
                    <a:lnTo>
                      <a:pt x="0" y="0"/>
                    </a:lnTo>
                    <a:lnTo>
                      <a:pt x="48712" y="0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38" name="Forma livre: Forma 137">
                <a:extLst>
                  <a:ext uri="{FF2B5EF4-FFF2-40B4-BE49-F238E27FC236}">
                    <a16:creationId xmlns:a16="http://schemas.microsoft.com/office/drawing/2014/main" id="{61D6E62E-A8E0-297C-4A5E-875C7ED7E821}"/>
                  </a:ext>
                </a:extLst>
              </p:cNvPr>
              <p:cNvSpPr/>
              <p:nvPr/>
            </p:nvSpPr>
            <p:spPr>
              <a:xfrm>
                <a:off x="831144" y="2580078"/>
                <a:ext cx="164383" cy="29132"/>
              </a:xfrm>
              <a:custGeom>
                <a:avLst/>
                <a:gdLst>
                  <a:gd name="connsiteX0" fmla="*/ 0 w 164383"/>
                  <a:gd name="connsiteY0" fmla="*/ 29132 h 29132"/>
                  <a:gd name="connsiteX1" fmla="*/ 9945 w 164383"/>
                  <a:gd name="connsiteY1" fmla="*/ 0 h 29132"/>
                  <a:gd name="connsiteX2" fmla="*/ 154677 w 164383"/>
                  <a:gd name="connsiteY2" fmla="*/ 0 h 29132"/>
                  <a:gd name="connsiteX3" fmla="*/ 164383 w 164383"/>
                  <a:gd name="connsiteY3" fmla="*/ 29132 h 291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64383" h="29132">
                    <a:moveTo>
                      <a:pt x="0" y="29132"/>
                    </a:moveTo>
                    <a:lnTo>
                      <a:pt x="9945" y="0"/>
                    </a:lnTo>
                    <a:lnTo>
                      <a:pt x="154677" y="0"/>
                    </a:lnTo>
                    <a:lnTo>
                      <a:pt x="164383" y="29132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39" name="Gráfico 2">
            <a:extLst>
              <a:ext uri="{FF2B5EF4-FFF2-40B4-BE49-F238E27FC236}">
                <a16:creationId xmlns:a16="http://schemas.microsoft.com/office/drawing/2014/main" id="{1E1626B1-B4EE-41C6-3915-E05DD7E6B420}"/>
              </a:ext>
            </a:extLst>
          </p:cNvPr>
          <p:cNvGrpSpPr/>
          <p:nvPr/>
        </p:nvGrpSpPr>
        <p:grpSpPr>
          <a:xfrm>
            <a:off x="1456222" y="2531008"/>
            <a:ext cx="153818" cy="381523"/>
            <a:chOff x="1456222" y="2531008"/>
            <a:chExt cx="153818" cy="381523"/>
          </a:xfrm>
          <a:noFill/>
        </p:grpSpPr>
        <p:sp>
          <p:nvSpPr>
            <p:cNvPr id="140" name="Forma livre: Forma 139">
              <a:extLst>
                <a:ext uri="{FF2B5EF4-FFF2-40B4-BE49-F238E27FC236}">
                  <a16:creationId xmlns:a16="http://schemas.microsoft.com/office/drawing/2014/main" id="{092058C8-7BDD-156F-691B-01836250B4F4}"/>
                </a:ext>
              </a:extLst>
            </p:cNvPr>
            <p:cNvSpPr/>
            <p:nvPr/>
          </p:nvSpPr>
          <p:spPr>
            <a:xfrm>
              <a:off x="1497276" y="2531008"/>
              <a:ext cx="71686" cy="43055"/>
            </a:xfrm>
            <a:custGeom>
              <a:avLst/>
              <a:gdLst>
                <a:gd name="connsiteX0" fmla="*/ 17496 w 71686"/>
                <a:gd name="connsiteY0" fmla="*/ 43055 h 43055"/>
                <a:gd name="connsiteX1" fmla="*/ 0 w 71686"/>
                <a:gd name="connsiteY1" fmla="*/ 43055 h 43055"/>
                <a:gd name="connsiteX2" fmla="*/ 0 w 71686"/>
                <a:gd name="connsiteY2" fmla="*/ 13994 h 43055"/>
                <a:gd name="connsiteX3" fmla="*/ 13994 w 71686"/>
                <a:gd name="connsiteY3" fmla="*/ 0 h 43055"/>
                <a:gd name="connsiteX4" fmla="*/ 57693 w 71686"/>
                <a:gd name="connsiteY4" fmla="*/ 0 h 43055"/>
                <a:gd name="connsiteX5" fmla="*/ 71687 w 71686"/>
                <a:gd name="connsiteY5" fmla="*/ 13994 h 43055"/>
                <a:gd name="connsiteX6" fmla="*/ 71687 w 71686"/>
                <a:gd name="connsiteY6" fmla="*/ 43055 h 43055"/>
                <a:gd name="connsiteX7" fmla="*/ 34742 w 71686"/>
                <a:gd name="connsiteY7" fmla="*/ 43055 h 430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1686" h="43055">
                  <a:moveTo>
                    <a:pt x="17496" y="43055"/>
                  </a:moveTo>
                  <a:lnTo>
                    <a:pt x="0" y="43055"/>
                  </a:lnTo>
                  <a:lnTo>
                    <a:pt x="0" y="13994"/>
                  </a:lnTo>
                  <a:cubicBezTo>
                    <a:pt x="0" y="6300"/>
                    <a:pt x="6300" y="0"/>
                    <a:pt x="13994" y="0"/>
                  </a:cubicBezTo>
                  <a:lnTo>
                    <a:pt x="57693" y="0"/>
                  </a:lnTo>
                  <a:cubicBezTo>
                    <a:pt x="65386" y="0"/>
                    <a:pt x="71687" y="6300"/>
                    <a:pt x="71687" y="13994"/>
                  </a:cubicBezTo>
                  <a:lnTo>
                    <a:pt x="71687" y="43055"/>
                  </a:lnTo>
                  <a:lnTo>
                    <a:pt x="34742" y="43055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1" name="Forma livre: Forma 140">
              <a:extLst>
                <a:ext uri="{FF2B5EF4-FFF2-40B4-BE49-F238E27FC236}">
                  <a16:creationId xmlns:a16="http://schemas.microsoft.com/office/drawing/2014/main" id="{29023597-2EB6-2EE5-A07E-C971165BA3F7}"/>
                </a:ext>
              </a:extLst>
            </p:cNvPr>
            <p:cNvSpPr/>
            <p:nvPr/>
          </p:nvSpPr>
          <p:spPr>
            <a:xfrm>
              <a:off x="1520918" y="2822579"/>
              <a:ext cx="24415" cy="1191"/>
            </a:xfrm>
            <a:custGeom>
              <a:avLst/>
              <a:gdLst>
                <a:gd name="connsiteX0" fmla="*/ 0 w 24415"/>
                <a:gd name="connsiteY0" fmla="*/ 0 h 1191"/>
                <a:gd name="connsiteX1" fmla="*/ 24416 w 24415"/>
                <a:gd name="connsiteY1" fmla="*/ 0 h 11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4415" h="1191">
                  <a:moveTo>
                    <a:pt x="0" y="0"/>
                  </a:moveTo>
                  <a:lnTo>
                    <a:pt x="24416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2" name="Forma livre: Forma 141">
              <a:extLst>
                <a:ext uri="{FF2B5EF4-FFF2-40B4-BE49-F238E27FC236}">
                  <a16:creationId xmlns:a16="http://schemas.microsoft.com/office/drawing/2014/main" id="{AB3BA4A0-5A5B-AC4C-6F45-DCB900BA3970}"/>
                </a:ext>
              </a:extLst>
            </p:cNvPr>
            <p:cNvSpPr/>
            <p:nvPr/>
          </p:nvSpPr>
          <p:spPr>
            <a:xfrm>
              <a:off x="1515320" y="2793960"/>
              <a:ext cx="35611" cy="1191"/>
            </a:xfrm>
            <a:custGeom>
              <a:avLst/>
              <a:gdLst>
                <a:gd name="connsiteX0" fmla="*/ 0 w 35611"/>
                <a:gd name="connsiteY0" fmla="*/ 0 h 1191"/>
                <a:gd name="connsiteX1" fmla="*/ 35611 w 35611"/>
                <a:gd name="connsiteY1" fmla="*/ 0 h 11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5611" h="1191">
                  <a:moveTo>
                    <a:pt x="0" y="0"/>
                  </a:moveTo>
                  <a:lnTo>
                    <a:pt x="35611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3" name="Forma livre: Forma 142">
              <a:extLst>
                <a:ext uri="{FF2B5EF4-FFF2-40B4-BE49-F238E27FC236}">
                  <a16:creationId xmlns:a16="http://schemas.microsoft.com/office/drawing/2014/main" id="{C8E4A3F3-7895-FCAD-D310-D56083AABC01}"/>
                </a:ext>
              </a:extLst>
            </p:cNvPr>
            <p:cNvSpPr/>
            <p:nvPr/>
          </p:nvSpPr>
          <p:spPr>
            <a:xfrm>
              <a:off x="1456222" y="2596049"/>
              <a:ext cx="153818" cy="316482"/>
            </a:xfrm>
            <a:custGeom>
              <a:avLst/>
              <a:gdLst>
                <a:gd name="connsiteX0" fmla="*/ 101212 w 153818"/>
                <a:gd name="connsiteY0" fmla="*/ 0 h 316482"/>
                <a:gd name="connsiteX1" fmla="*/ 135394 w 153818"/>
                <a:gd name="connsiteY1" fmla="*/ 116540 h 316482"/>
                <a:gd name="connsiteX2" fmla="*/ 145887 w 153818"/>
                <a:gd name="connsiteY2" fmla="*/ 134477 h 316482"/>
                <a:gd name="connsiteX3" fmla="*/ 153819 w 153818"/>
                <a:gd name="connsiteY3" fmla="*/ 173483 h 316482"/>
                <a:gd name="connsiteX4" fmla="*/ 153819 w 153818"/>
                <a:gd name="connsiteY4" fmla="*/ 286986 h 316482"/>
                <a:gd name="connsiteX5" fmla="*/ 127938 w 153818"/>
                <a:gd name="connsiteY5" fmla="*/ 316428 h 316482"/>
                <a:gd name="connsiteX6" fmla="*/ 25869 w 153818"/>
                <a:gd name="connsiteY6" fmla="*/ 316428 h 316482"/>
                <a:gd name="connsiteX7" fmla="*/ 0 w 153818"/>
                <a:gd name="connsiteY7" fmla="*/ 286986 h 316482"/>
                <a:gd name="connsiteX8" fmla="*/ 0 w 153818"/>
                <a:gd name="connsiteY8" fmla="*/ 173483 h 316482"/>
                <a:gd name="connsiteX9" fmla="*/ 7920 w 153818"/>
                <a:gd name="connsiteY9" fmla="*/ 134477 h 316482"/>
                <a:gd name="connsiteX10" fmla="*/ 18425 w 153818"/>
                <a:gd name="connsiteY10" fmla="*/ 116540 h 316482"/>
                <a:gd name="connsiteX11" fmla="*/ 52607 w 153818"/>
                <a:gd name="connsiteY11" fmla="*/ 0 h 31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53818" h="316482">
                  <a:moveTo>
                    <a:pt x="101212" y="0"/>
                  </a:moveTo>
                  <a:cubicBezTo>
                    <a:pt x="102344" y="19818"/>
                    <a:pt x="108036" y="65827"/>
                    <a:pt x="135394" y="116540"/>
                  </a:cubicBezTo>
                  <a:cubicBezTo>
                    <a:pt x="138586" y="122472"/>
                    <a:pt x="141706" y="125723"/>
                    <a:pt x="145887" y="134477"/>
                  </a:cubicBezTo>
                  <a:cubicBezTo>
                    <a:pt x="145887" y="134477"/>
                    <a:pt x="153819" y="147328"/>
                    <a:pt x="153819" y="173483"/>
                  </a:cubicBezTo>
                  <a:lnTo>
                    <a:pt x="153819" y="286986"/>
                  </a:lnTo>
                  <a:cubicBezTo>
                    <a:pt x="153819" y="319108"/>
                    <a:pt x="127938" y="316428"/>
                    <a:pt x="127938" y="316428"/>
                  </a:cubicBezTo>
                  <a:lnTo>
                    <a:pt x="25869" y="316428"/>
                  </a:lnTo>
                  <a:cubicBezTo>
                    <a:pt x="25869" y="316428"/>
                    <a:pt x="0" y="319108"/>
                    <a:pt x="0" y="286986"/>
                  </a:cubicBezTo>
                  <a:lnTo>
                    <a:pt x="0" y="173483"/>
                  </a:lnTo>
                  <a:cubicBezTo>
                    <a:pt x="0" y="147328"/>
                    <a:pt x="7920" y="134477"/>
                    <a:pt x="7920" y="134477"/>
                  </a:cubicBezTo>
                  <a:cubicBezTo>
                    <a:pt x="12113" y="125723"/>
                    <a:pt x="15233" y="122472"/>
                    <a:pt x="18425" y="116540"/>
                  </a:cubicBezTo>
                  <a:cubicBezTo>
                    <a:pt x="45782" y="65815"/>
                    <a:pt x="51464" y="19818"/>
                    <a:pt x="52607" y="0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4" name="Forma livre: Forma 143">
              <a:extLst>
                <a:ext uri="{FF2B5EF4-FFF2-40B4-BE49-F238E27FC236}">
                  <a16:creationId xmlns:a16="http://schemas.microsoft.com/office/drawing/2014/main" id="{23B7D628-CC18-2BAF-434F-329D408B50AC}"/>
                </a:ext>
              </a:extLst>
            </p:cNvPr>
            <p:cNvSpPr/>
            <p:nvPr/>
          </p:nvSpPr>
          <p:spPr>
            <a:xfrm>
              <a:off x="1485711" y="2742567"/>
              <a:ext cx="94840" cy="129951"/>
            </a:xfrm>
            <a:custGeom>
              <a:avLst/>
              <a:gdLst>
                <a:gd name="connsiteX0" fmla="*/ 84669 w 94840"/>
                <a:gd name="connsiteY0" fmla="*/ 129951 h 129951"/>
                <a:gd name="connsiteX1" fmla="*/ 94840 w 94840"/>
                <a:gd name="connsiteY1" fmla="*/ 22582 h 129951"/>
                <a:gd name="connsiteX2" fmla="*/ 48498 w 94840"/>
                <a:gd name="connsiteY2" fmla="*/ 0 h 129951"/>
                <a:gd name="connsiteX3" fmla="*/ 46235 w 94840"/>
                <a:gd name="connsiteY3" fmla="*/ 0 h 129951"/>
                <a:gd name="connsiteX4" fmla="*/ 0 w 94840"/>
                <a:gd name="connsiteY4" fmla="*/ 22582 h 129951"/>
                <a:gd name="connsiteX5" fmla="*/ 10124 w 94840"/>
                <a:gd name="connsiteY5" fmla="*/ 129951 h 129951"/>
                <a:gd name="connsiteX6" fmla="*/ 84681 w 94840"/>
                <a:gd name="connsiteY6" fmla="*/ 129951 h 1299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94840" h="129951">
                  <a:moveTo>
                    <a:pt x="84669" y="129951"/>
                  </a:moveTo>
                  <a:lnTo>
                    <a:pt x="94840" y="22582"/>
                  </a:lnTo>
                  <a:cubicBezTo>
                    <a:pt x="77690" y="0"/>
                    <a:pt x="48498" y="0"/>
                    <a:pt x="48498" y="0"/>
                  </a:cubicBezTo>
                  <a:lnTo>
                    <a:pt x="46235" y="0"/>
                  </a:lnTo>
                  <a:cubicBezTo>
                    <a:pt x="46235" y="0"/>
                    <a:pt x="17055" y="0"/>
                    <a:pt x="0" y="22582"/>
                  </a:cubicBezTo>
                  <a:lnTo>
                    <a:pt x="10124" y="129951"/>
                  </a:lnTo>
                  <a:lnTo>
                    <a:pt x="84681" y="129951"/>
                  </a:ln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5" name="Forma livre: Forma 144">
              <a:extLst>
                <a:ext uri="{FF2B5EF4-FFF2-40B4-BE49-F238E27FC236}">
                  <a16:creationId xmlns:a16="http://schemas.microsoft.com/office/drawing/2014/main" id="{82A711A5-C143-767A-D3DD-CB8B24D4058A}"/>
                </a:ext>
              </a:extLst>
            </p:cNvPr>
            <p:cNvSpPr/>
            <p:nvPr/>
          </p:nvSpPr>
          <p:spPr>
            <a:xfrm>
              <a:off x="1521692" y="2650478"/>
              <a:ext cx="42411" cy="1191"/>
            </a:xfrm>
            <a:custGeom>
              <a:avLst/>
              <a:gdLst>
                <a:gd name="connsiteX0" fmla="*/ 0 w 42411"/>
                <a:gd name="connsiteY0" fmla="*/ 0 h 1191"/>
                <a:gd name="connsiteX1" fmla="*/ 42412 w 42411"/>
                <a:gd name="connsiteY1" fmla="*/ 0 h 11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2411" h="1191">
                  <a:moveTo>
                    <a:pt x="0" y="0"/>
                  </a:moveTo>
                  <a:lnTo>
                    <a:pt x="42412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46" name="Gráfico 2">
            <a:extLst>
              <a:ext uri="{FF2B5EF4-FFF2-40B4-BE49-F238E27FC236}">
                <a16:creationId xmlns:a16="http://schemas.microsoft.com/office/drawing/2014/main" id="{D61E3613-F29C-65C2-8BAB-66FCADF7CF19}"/>
              </a:ext>
            </a:extLst>
          </p:cNvPr>
          <p:cNvGrpSpPr/>
          <p:nvPr/>
        </p:nvGrpSpPr>
        <p:grpSpPr>
          <a:xfrm>
            <a:off x="2019439" y="3090867"/>
            <a:ext cx="266953" cy="317678"/>
            <a:chOff x="2019439" y="3090867"/>
            <a:chExt cx="266953" cy="317678"/>
          </a:xfrm>
          <a:noFill/>
        </p:grpSpPr>
        <p:sp>
          <p:nvSpPr>
            <p:cNvPr id="147" name="Forma livre: Forma 146">
              <a:extLst>
                <a:ext uri="{FF2B5EF4-FFF2-40B4-BE49-F238E27FC236}">
                  <a16:creationId xmlns:a16="http://schemas.microsoft.com/office/drawing/2014/main" id="{6FE8F44F-C903-D53B-79F5-5417D0A5AE1B}"/>
                </a:ext>
              </a:extLst>
            </p:cNvPr>
            <p:cNvSpPr/>
            <p:nvPr/>
          </p:nvSpPr>
          <p:spPr>
            <a:xfrm>
              <a:off x="2068556" y="3160302"/>
              <a:ext cx="147482" cy="115004"/>
            </a:xfrm>
            <a:custGeom>
              <a:avLst/>
              <a:gdLst>
                <a:gd name="connsiteX0" fmla="*/ 127557 w 147482"/>
                <a:gd name="connsiteY0" fmla="*/ 115004 h 115004"/>
                <a:gd name="connsiteX1" fmla="*/ 19938 w 147482"/>
                <a:gd name="connsiteY1" fmla="*/ 115004 h 115004"/>
                <a:gd name="connsiteX2" fmla="*/ 0 w 147482"/>
                <a:gd name="connsiteY2" fmla="*/ 0 h 115004"/>
                <a:gd name="connsiteX3" fmla="*/ 147483 w 147482"/>
                <a:gd name="connsiteY3" fmla="*/ 0 h 115004"/>
                <a:gd name="connsiteX4" fmla="*/ 127557 w 147482"/>
                <a:gd name="connsiteY4" fmla="*/ 115004 h 1150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7482" h="115004">
                  <a:moveTo>
                    <a:pt x="127557" y="115004"/>
                  </a:moveTo>
                  <a:lnTo>
                    <a:pt x="19938" y="115004"/>
                  </a:lnTo>
                  <a:lnTo>
                    <a:pt x="0" y="0"/>
                  </a:lnTo>
                  <a:lnTo>
                    <a:pt x="147483" y="0"/>
                  </a:lnTo>
                  <a:lnTo>
                    <a:pt x="127557" y="115004"/>
                  </a:ln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8" name="Forma livre: Forma 147">
              <a:extLst>
                <a:ext uri="{FF2B5EF4-FFF2-40B4-BE49-F238E27FC236}">
                  <a16:creationId xmlns:a16="http://schemas.microsoft.com/office/drawing/2014/main" id="{FF5EAFD0-B347-10FF-3F9E-B3F026C3EE91}"/>
                </a:ext>
              </a:extLst>
            </p:cNvPr>
            <p:cNvSpPr/>
            <p:nvPr/>
          </p:nvSpPr>
          <p:spPr>
            <a:xfrm>
              <a:off x="2116994" y="3182467"/>
              <a:ext cx="4263" cy="91719"/>
            </a:xfrm>
            <a:custGeom>
              <a:avLst/>
              <a:gdLst>
                <a:gd name="connsiteX0" fmla="*/ 0 w 4263"/>
                <a:gd name="connsiteY0" fmla="*/ 0 h 91719"/>
                <a:gd name="connsiteX1" fmla="*/ 4264 w 4263"/>
                <a:gd name="connsiteY1" fmla="*/ 91720 h 917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263" h="91719">
                  <a:moveTo>
                    <a:pt x="0" y="0"/>
                  </a:moveTo>
                  <a:lnTo>
                    <a:pt x="4264" y="9172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9" name="Forma livre: Forma 148">
              <a:extLst>
                <a:ext uri="{FF2B5EF4-FFF2-40B4-BE49-F238E27FC236}">
                  <a16:creationId xmlns:a16="http://schemas.microsoft.com/office/drawing/2014/main" id="{A22D0390-9DCC-8293-E9AF-8BB8AE8D82C6}"/>
                </a:ext>
              </a:extLst>
            </p:cNvPr>
            <p:cNvSpPr/>
            <p:nvPr/>
          </p:nvSpPr>
          <p:spPr>
            <a:xfrm>
              <a:off x="2163325" y="3182479"/>
              <a:ext cx="4287" cy="91707"/>
            </a:xfrm>
            <a:custGeom>
              <a:avLst/>
              <a:gdLst>
                <a:gd name="connsiteX0" fmla="*/ 4288 w 4287"/>
                <a:gd name="connsiteY0" fmla="*/ 0 h 91707"/>
                <a:gd name="connsiteX1" fmla="*/ 0 w 4287"/>
                <a:gd name="connsiteY1" fmla="*/ 91708 h 917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287" h="91707">
                  <a:moveTo>
                    <a:pt x="4288" y="0"/>
                  </a:moveTo>
                  <a:lnTo>
                    <a:pt x="0" y="91708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0" name="Forma livre: Forma 149">
              <a:extLst>
                <a:ext uri="{FF2B5EF4-FFF2-40B4-BE49-F238E27FC236}">
                  <a16:creationId xmlns:a16="http://schemas.microsoft.com/office/drawing/2014/main" id="{238B28D0-5ACA-ACA0-5AA4-4EB243212834}"/>
                </a:ext>
              </a:extLst>
            </p:cNvPr>
            <p:cNvSpPr/>
            <p:nvPr/>
          </p:nvSpPr>
          <p:spPr>
            <a:xfrm>
              <a:off x="2066067" y="3305939"/>
              <a:ext cx="152461" cy="102510"/>
            </a:xfrm>
            <a:custGeom>
              <a:avLst/>
              <a:gdLst>
                <a:gd name="connsiteX0" fmla="*/ 53310 w 152461"/>
                <a:gd name="connsiteY0" fmla="*/ 24225 h 102510"/>
                <a:gd name="connsiteX1" fmla="*/ 46211 w 152461"/>
                <a:gd name="connsiteY1" fmla="*/ 102510 h 102510"/>
                <a:gd name="connsiteX2" fmla="*/ 0 w 152461"/>
                <a:gd name="connsiteY2" fmla="*/ 102510 h 102510"/>
                <a:gd name="connsiteX3" fmla="*/ 19914 w 152461"/>
                <a:gd name="connsiteY3" fmla="*/ 0 h 102510"/>
                <a:gd name="connsiteX4" fmla="*/ 132536 w 152461"/>
                <a:gd name="connsiteY4" fmla="*/ 0 h 102510"/>
                <a:gd name="connsiteX5" fmla="*/ 152461 w 152461"/>
                <a:gd name="connsiteY5" fmla="*/ 102510 h 102510"/>
                <a:gd name="connsiteX6" fmla="*/ 127200 w 152461"/>
                <a:gd name="connsiteY6" fmla="*/ 102510 h 1025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52461" h="102510">
                  <a:moveTo>
                    <a:pt x="53310" y="24225"/>
                  </a:moveTo>
                  <a:lnTo>
                    <a:pt x="46211" y="102510"/>
                  </a:lnTo>
                  <a:lnTo>
                    <a:pt x="0" y="102510"/>
                  </a:lnTo>
                  <a:lnTo>
                    <a:pt x="19914" y="0"/>
                  </a:lnTo>
                  <a:lnTo>
                    <a:pt x="132536" y="0"/>
                  </a:lnTo>
                  <a:lnTo>
                    <a:pt x="152461" y="102510"/>
                  </a:lnTo>
                  <a:lnTo>
                    <a:pt x="127200" y="10251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1" name="Forma livre: Forma 150">
              <a:extLst>
                <a:ext uri="{FF2B5EF4-FFF2-40B4-BE49-F238E27FC236}">
                  <a16:creationId xmlns:a16="http://schemas.microsoft.com/office/drawing/2014/main" id="{EF354DEA-CA67-36D5-5092-A6572D28DA09}"/>
                </a:ext>
              </a:extLst>
            </p:cNvPr>
            <p:cNvSpPr/>
            <p:nvPr/>
          </p:nvSpPr>
          <p:spPr>
            <a:xfrm>
              <a:off x="2019439" y="3160267"/>
              <a:ext cx="58383" cy="61110"/>
            </a:xfrm>
            <a:custGeom>
              <a:avLst/>
              <a:gdLst>
                <a:gd name="connsiteX0" fmla="*/ 58383 w 58383"/>
                <a:gd name="connsiteY0" fmla="*/ 61111 h 61110"/>
                <a:gd name="connsiteX1" fmla="*/ 0 w 58383"/>
                <a:gd name="connsiteY1" fmla="*/ 0 h 61110"/>
                <a:gd name="connsiteX2" fmla="*/ 25166 w 58383"/>
                <a:gd name="connsiteY2" fmla="*/ 0 h 611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58383" h="61110">
                  <a:moveTo>
                    <a:pt x="58383" y="61111"/>
                  </a:moveTo>
                  <a:lnTo>
                    <a:pt x="0" y="0"/>
                  </a:lnTo>
                  <a:lnTo>
                    <a:pt x="25166" y="0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2" name="Forma livre: Forma 151">
              <a:extLst>
                <a:ext uri="{FF2B5EF4-FFF2-40B4-BE49-F238E27FC236}">
                  <a16:creationId xmlns:a16="http://schemas.microsoft.com/office/drawing/2014/main" id="{B8407CA0-BAEE-8AD4-3FDB-1EFE03C47636}"/>
                </a:ext>
              </a:extLst>
            </p:cNvPr>
            <p:cNvSpPr/>
            <p:nvPr/>
          </p:nvSpPr>
          <p:spPr>
            <a:xfrm>
              <a:off x="2068342" y="3125299"/>
              <a:ext cx="147911" cy="34860"/>
            </a:xfrm>
            <a:custGeom>
              <a:avLst/>
              <a:gdLst>
                <a:gd name="connsiteX0" fmla="*/ 0 w 147911"/>
                <a:gd name="connsiteY0" fmla="*/ 34861 h 34860"/>
                <a:gd name="connsiteX1" fmla="*/ 62421 w 147911"/>
                <a:gd name="connsiteY1" fmla="*/ 0 h 34860"/>
                <a:gd name="connsiteX2" fmla="*/ 86170 w 147911"/>
                <a:gd name="connsiteY2" fmla="*/ 0 h 34860"/>
                <a:gd name="connsiteX3" fmla="*/ 147912 w 147911"/>
                <a:gd name="connsiteY3" fmla="*/ 34766 h 348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7911" h="34860">
                  <a:moveTo>
                    <a:pt x="0" y="34861"/>
                  </a:moveTo>
                  <a:lnTo>
                    <a:pt x="62421" y="0"/>
                  </a:lnTo>
                  <a:lnTo>
                    <a:pt x="86170" y="0"/>
                  </a:lnTo>
                  <a:lnTo>
                    <a:pt x="147912" y="34766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3" name="Forma livre: Forma 152">
              <a:extLst>
                <a:ext uri="{FF2B5EF4-FFF2-40B4-BE49-F238E27FC236}">
                  <a16:creationId xmlns:a16="http://schemas.microsoft.com/office/drawing/2014/main" id="{4FA36D82-71CE-03AC-7DF8-CB2EA1D6431E}"/>
                </a:ext>
              </a:extLst>
            </p:cNvPr>
            <p:cNvSpPr/>
            <p:nvPr/>
          </p:nvSpPr>
          <p:spPr>
            <a:xfrm>
              <a:off x="2127928" y="3090867"/>
              <a:ext cx="28751" cy="33550"/>
            </a:xfrm>
            <a:custGeom>
              <a:avLst/>
              <a:gdLst>
                <a:gd name="connsiteX0" fmla="*/ 3490 w 28751"/>
                <a:gd name="connsiteY0" fmla="*/ 33551 h 33550"/>
                <a:gd name="connsiteX1" fmla="*/ 0 w 28751"/>
                <a:gd name="connsiteY1" fmla="*/ 0 h 33550"/>
                <a:gd name="connsiteX2" fmla="*/ 28751 w 28751"/>
                <a:gd name="connsiteY2" fmla="*/ 0 h 33550"/>
                <a:gd name="connsiteX3" fmla="*/ 25762 w 28751"/>
                <a:gd name="connsiteY3" fmla="*/ 33551 h 335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8751" h="33550">
                  <a:moveTo>
                    <a:pt x="3490" y="33551"/>
                  </a:moveTo>
                  <a:lnTo>
                    <a:pt x="0" y="0"/>
                  </a:lnTo>
                  <a:lnTo>
                    <a:pt x="28751" y="0"/>
                  </a:lnTo>
                  <a:lnTo>
                    <a:pt x="25762" y="33551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4" name="Forma livre: Forma 153">
              <a:extLst>
                <a:ext uri="{FF2B5EF4-FFF2-40B4-BE49-F238E27FC236}">
                  <a16:creationId xmlns:a16="http://schemas.microsoft.com/office/drawing/2014/main" id="{CF50820F-1E2A-A194-2983-FADC27E53DC4}"/>
                </a:ext>
              </a:extLst>
            </p:cNvPr>
            <p:cNvSpPr/>
            <p:nvPr/>
          </p:nvSpPr>
          <p:spPr>
            <a:xfrm>
              <a:off x="2212442" y="3144784"/>
              <a:ext cx="73949" cy="118338"/>
            </a:xfrm>
            <a:custGeom>
              <a:avLst/>
              <a:gdLst>
                <a:gd name="connsiteX0" fmla="*/ 30061 w 73949"/>
                <a:gd name="connsiteY0" fmla="*/ 6146 h 118338"/>
                <a:gd name="connsiteX1" fmla="*/ 68102 w 73949"/>
                <a:gd name="connsiteY1" fmla="*/ 0 h 118338"/>
                <a:gd name="connsiteX2" fmla="*/ 73950 w 73949"/>
                <a:gd name="connsiteY2" fmla="*/ 22915 h 118338"/>
                <a:gd name="connsiteX3" fmla="*/ 54370 w 73949"/>
                <a:gd name="connsiteY3" fmla="*/ 118339 h 118338"/>
                <a:gd name="connsiteX4" fmla="*/ 28537 w 73949"/>
                <a:gd name="connsiteY4" fmla="*/ 112086 h 118338"/>
                <a:gd name="connsiteX5" fmla="*/ 44198 w 73949"/>
                <a:gd name="connsiteY5" fmla="*/ 32634 h 118338"/>
                <a:gd name="connsiteX6" fmla="*/ 0 w 73949"/>
                <a:gd name="connsiteY6" fmla="*/ 41769 h 1183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3949" h="118338">
                  <a:moveTo>
                    <a:pt x="30061" y="6146"/>
                  </a:moveTo>
                  <a:lnTo>
                    <a:pt x="68102" y="0"/>
                  </a:lnTo>
                  <a:lnTo>
                    <a:pt x="73950" y="22915"/>
                  </a:lnTo>
                  <a:lnTo>
                    <a:pt x="54370" y="118339"/>
                  </a:lnTo>
                  <a:lnTo>
                    <a:pt x="28537" y="112086"/>
                  </a:lnTo>
                  <a:lnTo>
                    <a:pt x="44198" y="32634"/>
                  </a:lnTo>
                  <a:lnTo>
                    <a:pt x="0" y="41769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5" name="Forma livre: Forma 154">
              <a:extLst>
                <a:ext uri="{FF2B5EF4-FFF2-40B4-BE49-F238E27FC236}">
                  <a16:creationId xmlns:a16="http://schemas.microsoft.com/office/drawing/2014/main" id="{BC216DCA-6233-FE01-3151-DA2BAEC1F5D8}"/>
                </a:ext>
              </a:extLst>
            </p:cNvPr>
            <p:cNvSpPr/>
            <p:nvPr/>
          </p:nvSpPr>
          <p:spPr>
            <a:xfrm>
              <a:off x="2106049" y="3275997"/>
              <a:ext cx="1191" cy="28095"/>
            </a:xfrm>
            <a:custGeom>
              <a:avLst/>
              <a:gdLst>
                <a:gd name="connsiteX0" fmla="*/ 0 w 1191"/>
                <a:gd name="connsiteY0" fmla="*/ 0 h 28095"/>
                <a:gd name="connsiteX1" fmla="*/ 0 w 1191"/>
                <a:gd name="connsiteY1" fmla="*/ 28096 h 280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91" h="28095">
                  <a:moveTo>
                    <a:pt x="0" y="0"/>
                  </a:moveTo>
                  <a:lnTo>
                    <a:pt x="0" y="28096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6" name="Forma livre: Forma 155">
              <a:extLst>
                <a:ext uri="{FF2B5EF4-FFF2-40B4-BE49-F238E27FC236}">
                  <a16:creationId xmlns:a16="http://schemas.microsoft.com/office/drawing/2014/main" id="{034BA6C4-DC6F-E914-DE4C-1691F3D6E217}"/>
                </a:ext>
              </a:extLst>
            </p:cNvPr>
            <p:cNvSpPr/>
            <p:nvPr/>
          </p:nvSpPr>
          <p:spPr>
            <a:xfrm>
              <a:off x="2178546" y="3276867"/>
              <a:ext cx="1191" cy="28084"/>
            </a:xfrm>
            <a:custGeom>
              <a:avLst/>
              <a:gdLst>
                <a:gd name="connsiteX0" fmla="*/ 0 w 1191"/>
                <a:gd name="connsiteY0" fmla="*/ 0 h 28084"/>
                <a:gd name="connsiteX1" fmla="*/ 0 w 1191"/>
                <a:gd name="connsiteY1" fmla="*/ 28084 h 280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91" h="28084">
                  <a:moveTo>
                    <a:pt x="0" y="0"/>
                  </a:moveTo>
                  <a:lnTo>
                    <a:pt x="0" y="28084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7" name="Forma livre: Forma 156">
              <a:extLst>
                <a:ext uri="{FF2B5EF4-FFF2-40B4-BE49-F238E27FC236}">
                  <a16:creationId xmlns:a16="http://schemas.microsoft.com/office/drawing/2014/main" id="{8423086A-120E-86E6-0C80-3870EBCF2AF2}"/>
                </a:ext>
              </a:extLst>
            </p:cNvPr>
            <p:cNvSpPr/>
            <p:nvPr/>
          </p:nvSpPr>
          <p:spPr>
            <a:xfrm>
              <a:off x="2133121" y="3330188"/>
              <a:ext cx="38612" cy="78356"/>
            </a:xfrm>
            <a:custGeom>
              <a:avLst/>
              <a:gdLst>
                <a:gd name="connsiteX0" fmla="*/ 0 w 38612"/>
                <a:gd name="connsiteY0" fmla="*/ 78357 h 78356"/>
                <a:gd name="connsiteX1" fmla="*/ 38612 w 38612"/>
                <a:gd name="connsiteY1" fmla="*/ 78357 h 78356"/>
                <a:gd name="connsiteX2" fmla="*/ 31514 w 38612"/>
                <a:gd name="connsiteY2" fmla="*/ 0 h 783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8612" h="78356">
                  <a:moveTo>
                    <a:pt x="0" y="78357"/>
                  </a:moveTo>
                  <a:lnTo>
                    <a:pt x="38612" y="78357"/>
                  </a:lnTo>
                  <a:lnTo>
                    <a:pt x="31514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58" name="Gráfico 2">
            <a:extLst>
              <a:ext uri="{FF2B5EF4-FFF2-40B4-BE49-F238E27FC236}">
                <a16:creationId xmlns:a16="http://schemas.microsoft.com/office/drawing/2014/main" id="{64E8AAAE-28E4-427E-0430-08F70B1C8EFB}"/>
              </a:ext>
            </a:extLst>
          </p:cNvPr>
          <p:cNvGrpSpPr/>
          <p:nvPr/>
        </p:nvGrpSpPr>
        <p:grpSpPr>
          <a:xfrm>
            <a:off x="817281" y="3071739"/>
            <a:ext cx="192097" cy="355945"/>
            <a:chOff x="817281" y="3071739"/>
            <a:chExt cx="192097" cy="355945"/>
          </a:xfrm>
        </p:grpSpPr>
        <p:grpSp>
          <p:nvGrpSpPr>
            <p:cNvPr id="159" name="Gráfico 2">
              <a:extLst>
                <a:ext uri="{FF2B5EF4-FFF2-40B4-BE49-F238E27FC236}">
                  <a16:creationId xmlns:a16="http://schemas.microsoft.com/office/drawing/2014/main" id="{547306BE-6D93-00AC-4E23-B6A79A3DEFDC}"/>
                </a:ext>
              </a:extLst>
            </p:cNvPr>
            <p:cNvGrpSpPr/>
            <p:nvPr/>
          </p:nvGrpSpPr>
          <p:grpSpPr>
            <a:xfrm>
              <a:off x="817281" y="3071739"/>
              <a:ext cx="192097" cy="355945"/>
              <a:chOff x="817281" y="3071739"/>
              <a:chExt cx="192097" cy="355945"/>
            </a:xfrm>
            <a:noFill/>
          </p:grpSpPr>
          <p:grpSp>
            <p:nvGrpSpPr>
              <p:cNvPr id="160" name="Gráfico 2">
                <a:extLst>
                  <a:ext uri="{FF2B5EF4-FFF2-40B4-BE49-F238E27FC236}">
                    <a16:creationId xmlns:a16="http://schemas.microsoft.com/office/drawing/2014/main" id="{3319F6AD-4795-31DE-DD22-51F1B651C230}"/>
                  </a:ext>
                </a:extLst>
              </p:cNvPr>
              <p:cNvGrpSpPr/>
              <p:nvPr/>
            </p:nvGrpSpPr>
            <p:grpSpPr>
              <a:xfrm>
                <a:off x="848557" y="3071739"/>
                <a:ext cx="129522" cy="214679"/>
                <a:chOff x="848557" y="3071739"/>
                <a:chExt cx="129522" cy="214679"/>
              </a:xfrm>
              <a:noFill/>
            </p:grpSpPr>
            <p:sp>
              <p:nvSpPr>
                <p:cNvPr id="161" name="Forma livre: Forma 160">
                  <a:extLst>
                    <a:ext uri="{FF2B5EF4-FFF2-40B4-BE49-F238E27FC236}">
                      <a16:creationId xmlns:a16="http://schemas.microsoft.com/office/drawing/2014/main" id="{AB923651-9B35-3B9A-4524-A84C17E66345}"/>
                    </a:ext>
                  </a:extLst>
                </p:cNvPr>
                <p:cNvSpPr/>
                <p:nvPr/>
              </p:nvSpPr>
              <p:spPr>
                <a:xfrm>
                  <a:off x="848557" y="3150655"/>
                  <a:ext cx="129522" cy="34253"/>
                </a:xfrm>
                <a:custGeom>
                  <a:avLst/>
                  <a:gdLst>
                    <a:gd name="connsiteX0" fmla="*/ 115719 w 129522"/>
                    <a:gd name="connsiteY0" fmla="*/ 6086 h 34253"/>
                    <a:gd name="connsiteX1" fmla="*/ 63100 w 129522"/>
                    <a:gd name="connsiteY1" fmla="*/ 0 h 34253"/>
                    <a:gd name="connsiteX2" fmla="*/ 13816 w 129522"/>
                    <a:gd name="connsiteY2" fmla="*/ 6086 h 34253"/>
                    <a:gd name="connsiteX3" fmla="*/ 0 w 129522"/>
                    <a:gd name="connsiteY3" fmla="*/ 19902 h 34253"/>
                    <a:gd name="connsiteX4" fmla="*/ 0 w 129522"/>
                    <a:gd name="connsiteY4" fmla="*/ 34253 h 34253"/>
                    <a:gd name="connsiteX5" fmla="*/ 129522 w 129522"/>
                    <a:gd name="connsiteY5" fmla="*/ 34253 h 34253"/>
                    <a:gd name="connsiteX6" fmla="*/ 129522 w 129522"/>
                    <a:gd name="connsiteY6" fmla="*/ 19902 h 34253"/>
                    <a:gd name="connsiteX7" fmla="*/ 115707 w 129522"/>
                    <a:gd name="connsiteY7" fmla="*/ 6086 h 3425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29522" h="34253">
                      <a:moveTo>
                        <a:pt x="115719" y="6086"/>
                      </a:moveTo>
                      <a:cubicBezTo>
                        <a:pt x="115719" y="6086"/>
                        <a:pt x="87504" y="0"/>
                        <a:pt x="63100" y="0"/>
                      </a:cubicBezTo>
                      <a:cubicBezTo>
                        <a:pt x="38696" y="0"/>
                        <a:pt x="13816" y="6086"/>
                        <a:pt x="13816" y="6086"/>
                      </a:cubicBezTo>
                      <a:cubicBezTo>
                        <a:pt x="5645" y="7813"/>
                        <a:pt x="0" y="12291"/>
                        <a:pt x="0" y="19902"/>
                      </a:cubicBezTo>
                      <a:lnTo>
                        <a:pt x="0" y="34253"/>
                      </a:lnTo>
                      <a:lnTo>
                        <a:pt x="129522" y="34253"/>
                      </a:lnTo>
                      <a:lnTo>
                        <a:pt x="129522" y="19902"/>
                      </a:lnTo>
                      <a:cubicBezTo>
                        <a:pt x="129522" y="12303"/>
                        <a:pt x="124103" y="8325"/>
                        <a:pt x="115707" y="6086"/>
                      </a:cubicBezTo>
                      <a:close/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62" name="Forma livre: Forma 161">
                  <a:extLst>
                    <a:ext uri="{FF2B5EF4-FFF2-40B4-BE49-F238E27FC236}">
                      <a16:creationId xmlns:a16="http://schemas.microsoft.com/office/drawing/2014/main" id="{2160597A-E92C-A3D6-197D-28781CB813FD}"/>
                    </a:ext>
                  </a:extLst>
                </p:cNvPr>
                <p:cNvSpPr/>
                <p:nvPr/>
              </p:nvSpPr>
              <p:spPr>
                <a:xfrm>
                  <a:off x="895709" y="3071739"/>
                  <a:ext cx="35241" cy="79154"/>
                </a:xfrm>
                <a:custGeom>
                  <a:avLst/>
                  <a:gdLst>
                    <a:gd name="connsiteX0" fmla="*/ 0 w 35241"/>
                    <a:gd name="connsiteY0" fmla="*/ 79155 h 79154"/>
                    <a:gd name="connsiteX1" fmla="*/ 0 w 35241"/>
                    <a:gd name="connsiteY1" fmla="*/ 0 h 79154"/>
                    <a:gd name="connsiteX2" fmla="*/ 35242 w 35241"/>
                    <a:gd name="connsiteY2" fmla="*/ 32360 h 79154"/>
                    <a:gd name="connsiteX3" fmla="*/ 35242 w 35241"/>
                    <a:gd name="connsiteY3" fmla="*/ 79155 h 7915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35241" h="79154">
                      <a:moveTo>
                        <a:pt x="0" y="79155"/>
                      </a:moveTo>
                      <a:lnTo>
                        <a:pt x="0" y="0"/>
                      </a:lnTo>
                      <a:lnTo>
                        <a:pt x="35242" y="32360"/>
                      </a:lnTo>
                      <a:lnTo>
                        <a:pt x="35242" y="79155"/>
                      </a:ln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grpSp>
              <p:nvGrpSpPr>
                <p:cNvPr id="163" name="Gráfico 2">
                  <a:extLst>
                    <a:ext uri="{FF2B5EF4-FFF2-40B4-BE49-F238E27FC236}">
                      <a16:creationId xmlns:a16="http://schemas.microsoft.com/office/drawing/2014/main" id="{FCF1F6BB-0817-90A6-38B5-290897318C16}"/>
                    </a:ext>
                  </a:extLst>
                </p:cNvPr>
                <p:cNvGrpSpPr/>
                <p:nvPr/>
              </p:nvGrpSpPr>
              <p:grpSpPr>
                <a:xfrm>
                  <a:off x="895959" y="3207216"/>
                  <a:ext cx="34753" cy="79202"/>
                  <a:chOff x="895959" y="3207216"/>
                  <a:chExt cx="34753" cy="79202"/>
                </a:xfrm>
              </p:grpSpPr>
              <p:sp>
                <p:nvSpPr>
                  <p:cNvPr id="164" name="Forma livre: Forma 163">
                    <a:extLst>
                      <a:ext uri="{FF2B5EF4-FFF2-40B4-BE49-F238E27FC236}">
                        <a16:creationId xmlns:a16="http://schemas.microsoft.com/office/drawing/2014/main" id="{D92AB9AB-E258-B30B-EE53-62D96FC2C95E}"/>
                      </a:ext>
                    </a:extLst>
                  </p:cNvPr>
                  <p:cNvSpPr/>
                  <p:nvPr/>
                </p:nvSpPr>
                <p:spPr>
                  <a:xfrm>
                    <a:off x="895959" y="3207216"/>
                    <a:ext cx="1191" cy="79202"/>
                  </a:xfrm>
                  <a:custGeom>
                    <a:avLst/>
                    <a:gdLst>
                      <a:gd name="connsiteX0" fmla="*/ 0 w 1191"/>
                      <a:gd name="connsiteY0" fmla="*/ 79202 h 79202"/>
                      <a:gd name="connsiteX1" fmla="*/ 0 w 1191"/>
                      <a:gd name="connsiteY1" fmla="*/ 0 h 7920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191" h="79202">
                        <a:moveTo>
                          <a:pt x="0" y="79202"/>
                        </a:moveTo>
                        <a:lnTo>
                          <a:pt x="0" y="0"/>
                        </a:lnTo>
                      </a:path>
                    </a:pathLst>
                  </a:custGeom>
                  <a:ln w="6350" cap="flat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165" name="Forma livre: Forma 164">
                    <a:extLst>
                      <a:ext uri="{FF2B5EF4-FFF2-40B4-BE49-F238E27FC236}">
                        <a16:creationId xmlns:a16="http://schemas.microsoft.com/office/drawing/2014/main" id="{A426E971-92E9-1EA6-12C4-13CBE286817C}"/>
                      </a:ext>
                    </a:extLst>
                  </p:cNvPr>
                  <p:cNvSpPr/>
                  <p:nvPr/>
                </p:nvSpPr>
                <p:spPr>
                  <a:xfrm>
                    <a:off x="930712" y="3207216"/>
                    <a:ext cx="1191" cy="66196"/>
                  </a:xfrm>
                  <a:custGeom>
                    <a:avLst/>
                    <a:gdLst>
                      <a:gd name="connsiteX0" fmla="*/ 0 w 1191"/>
                      <a:gd name="connsiteY0" fmla="*/ 66196 h 66196"/>
                      <a:gd name="connsiteX1" fmla="*/ 0 w 1191"/>
                      <a:gd name="connsiteY1" fmla="*/ 0 h 6619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191" h="66196">
                        <a:moveTo>
                          <a:pt x="0" y="66196"/>
                        </a:moveTo>
                        <a:lnTo>
                          <a:pt x="0" y="0"/>
                        </a:lnTo>
                      </a:path>
                    </a:pathLst>
                  </a:custGeom>
                  <a:ln w="6350" cap="flat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</p:grpSp>
          <p:sp>
            <p:nvSpPr>
              <p:cNvPr id="166" name="Forma livre: Forma 165">
                <a:extLst>
                  <a:ext uri="{FF2B5EF4-FFF2-40B4-BE49-F238E27FC236}">
                    <a16:creationId xmlns:a16="http://schemas.microsoft.com/office/drawing/2014/main" id="{6E1D62F3-343B-8EEA-5AC5-4615C5F715F6}"/>
                  </a:ext>
                </a:extLst>
              </p:cNvPr>
              <p:cNvSpPr/>
              <p:nvPr/>
            </p:nvSpPr>
            <p:spPr>
              <a:xfrm>
                <a:off x="817281" y="3207216"/>
                <a:ext cx="192097" cy="220467"/>
              </a:xfrm>
              <a:custGeom>
                <a:avLst/>
                <a:gdLst>
                  <a:gd name="connsiteX0" fmla="*/ 149924 w 192097"/>
                  <a:gd name="connsiteY0" fmla="*/ 0 h 220467"/>
                  <a:gd name="connsiteX1" fmla="*/ 172231 w 192097"/>
                  <a:gd name="connsiteY1" fmla="*/ 96639 h 220467"/>
                  <a:gd name="connsiteX2" fmla="*/ 167658 w 192097"/>
                  <a:gd name="connsiteY2" fmla="*/ 207962 h 220467"/>
                  <a:gd name="connsiteX3" fmla="*/ 144266 w 192097"/>
                  <a:gd name="connsiteY3" fmla="*/ 220468 h 220467"/>
                  <a:gd name="connsiteX4" fmla="*/ 47818 w 192097"/>
                  <a:gd name="connsiteY4" fmla="*/ 220468 h 220467"/>
                  <a:gd name="connsiteX5" fmla="*/ 24439 w 192097"/>
                  <a:gd name="connsiteY5" fmla="*/ 207962 h 220467"/>
                  <a:gd name="connsiteX6" fmla="*/ 19865 w 192097"/>
                  <a:gd name="connsiteY6" fmla="*/ 96639 h 220467"/>
                  <a:gd name="connsiteX7" fmla="*/ 42173 w 192097"/>
                  <a:gd name="connsiteY7" fmla="*/ 0 h 2204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92097" h="220467">
                    <a:moveTo>
                      <a:pt x="149924" y="0"/>
                    </a:moveTo>
                    <a:cubicBezTo>
                      <a:pt x="150305" y="13280"/>
                      <a:pt x="152996" y="67626"/>
                      <a:pt x="172231" y="96639"/>
                    </a:cubicBezTo>
                    <a:cubicBezTo>
                      <a:pt x="187869" y="120232"/>
                      <a:pt x="209855" y="166789"/>
                      <a:pt x="167658" y="207962"/>
                    </a:cubicBezTo>
                    <a:cubicBezTo>
                      <a:pt x="162501" y="213000"/>
                      <a:pt x="153937" y="220468"/>
                      <a:pt x="144266" y="220468"/>
                    </a:cubicBezTo>
                    <a:lnTo>
                      <a:pt x="47818" y="220468"/>
                    </a:lnTo>
                    <a:cubicBezTo>
                      <a:pt x="38159" y="220468"/>
                      <a:pt x="29596" y="213000"/>
                      <a:pt x="24439" y="207962"/>
                    </a:cubicBezTo>
                    <a:cubicBezTo>
                      <a:pt x="-17747" y="166789"/>
                      <a:pt x="4215" y="120232"/>
                      <a:pt x="19865" y="96639"/>
                    </a:cubicBezTo>
                    <a:cubicBezTo>
                      <a:pt x="39100" y="67638"/>
                      <a:pt x="41792" y="13292"/>
                      <a:pt x="42173" y="0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67" name="Forma livre: Forma 166">
                <a:extLst>
                  <a:ext uri="{FF2B5EF4-FFF2-40B4-BE49-F238E27FC236}">
                    <a16:creationId xmlns:a16="http://schemas.microsoft.com/office/drawing/2014/main" id="{201E59D0-0984-6BD2-04A7-16A0FB43F1F1}"/>
                  </a:ext>
                </a:extLst>
              </p:cNvPr>
              <p:cNvSpPr/>
              <p:nvPr/>
            </p:nvSpPr>
            <p:spPr>
              <a:xfrm>
                <a:off x="870388" y="3270871"/>
                <a:ext cx="106059" cy="18220"/>
              </a:xfrm>
              <a:custGeom>
                <a:avLst/>
                <a:gdLst>
                  <a:gd name="connsiteX0" fmla="*/ 0 w 106059"/>
                  <a:gd name="connsiteY0" fmla="*/ 17465 h 18220"/>
                  <a:gd name="connsiteX1" fmla="*/ 43150 w 106059"/>
                  <a:gd name="connsiteY1" fmla="*/ 10271 h 18220"/>
                  <a:gd name="connsiteX2" fmla="*/ 106059 w 106059"/>
                  <a:gd name="connsiteY2" fmla="*/ 7079 h 182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06059" h="18220">
                    <a:moveTo>
                      <a:pt x="0" y="17465"/>
                    </a:moveTo>
                    <a:cubicBezTo>
                      <a:pt x="7694" y="18573"/>
                      <a:pt x="26274" y="19847"/>
                      <a:pt x="43150" y="10271"/>
                    </a:cubicBezTo>
                    <a:cubicBezTo>
                      <a:pt x="43150" y="10271"/>
                      <a:pt x="81656" y="-10536"/>
                      <a:pt x="106059" y="7079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68" name="Gráfico 2">
              <a:extLst>
                <a:ext uri="{FF2B5EF4-FFF2-40B4-BE49-F238E27FC236}">
                  <a16:creationId xmlns:a16="http://schemas.microsoft.com/office/drawing/2014/main" id="{50C640CC-F4F3-E370-2AE9-9CE53CD64C06}"/>
                </a:ext>
              </a:extLst>
            </p:cNvPr>
            <p:cNvGrpSpPr/>
            <p:nvPr/>
          </p:nvGrpSpPr>
          <p:grpSpPr>
            <a:xfrm>
              <a:off x="918171" y="3366014"/>
              <a:ext cx="41292" cy="28893"/>
              <a:chOff x="918171" y="3366014"/>
              <a:chExt cx="41292" cy="28893"/>
            </a:xfrm>
            <a:solidFill>
              <a:srgbClr val="394553"/>
            </a:solidFill>
          </p:grpSpPr>
          <p:sp>
            <p:nvSpPr>
              <p:cNvPr id="169" name="Forma livre: Forma 168">
                <a:extLst>
                  <a:ext uri="{FF2B5EF4-FFF2-40B4-BE49-F238E27FC236}">
                    <a16:creationId xmlns:a16="http://schemas.microsoft.com/office/drawing/2014/main" id="{1290400B-80E5-C57C-66EE-C26D89545742}"/>
                  </a:ext>
                </a:extLst>
              </p:cNvPr>
              <p:cNvSpPr/>
              <p:nvPr/>
            </p:nvSpPr>
            <p:spPr>
              <a:xfrm>
                <a:off x="953556" y="3389000"/>
                <a:ext cx="5907" cy="5907"/>
              </a:xfrm>
              <a:custGeom>
                <a:avLst/>
                <a:gdLst>
                  <a:gd name="connsiteX0" fmla="*/ 0 w 5907"/>
                  <a:gd name="connsiteY0" fmla="*/ 2954 h 5907"/>
                  <a:gd name="connsiteX1" fmla="*/ 2954 w 5907"/>
                  <a:gd name="connsiteY1" fmla="*/ 0 h 5907"/>
                  <a:gd name="connsiteX2" fmla="*/ 5907 w 5907"/>
                  <a:gd name="connsiteY2" fmla="*/ 2954 h 5907"/>
                  <a:gd name="connsiteX3" fmla="*/ 2954 w 5907"/>
                  <a:gd name="connsiteY3" fmla="*/ 5907 h 5907"/>
                  <a:gd name="connsiteX4" fmla="*/ 0 w 5907"/>
                  <a:gd name="connsiteY4" fmla="*/ 2954 h 59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907" h="5907">
                    <a:moveTo>
                      <a:pt x="0" y="2954"/>
                    </a:moveTo>
                    <a:cubicBezTo>
                      <a:pt x="0" y="1322"/>
                      <a:pt x="1310" y="0"/>
                      <a:pt x="2954" y="0"/>
                    </a:cubicBezTo>
                    <a:cubicBezTo>
                      <a:pt x="4597" y="0"/>
                      <a:pt x="5907" y="1322"/>
                      <a:pt x="5907" y="2954"/>
                    </a:cubicBezTo>
                    <a:cubicBezTo>
                      <a:pt x="5907" y="4585"/>
                      <a:pt x="4573" y="5907"/>
                      <a:pt x="2954" y="5907"/>
                    </a:cubicBezTo>
                    <a:cubicBezTo>
                      <a:pt x="1334" y="5907"/>
                      <a:pt x="0" y="4585"/>
                      <a:pt x="0" y="2954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70" name="Forma livre: Forma 169">
                <a:extLst>
                  <a:ext uri="{FF2B5EF4-FFF2-40B4-BE49-F238E27FC236}">
                    <a16:creationId xmlns:a16="http://schemas.microsoft.com/office/drawing/2014/main" id="{F3835C96-6BD6-8E85-E328-03C77B157571}"/>
                  </a:ext>
                </a:extLst>
              </p:cNvPr>
              <p:cNvSpPr/>
              <p:nvPr/>
            </p:nvSpPr>
            <p:spPr>
              <a:xfrm>
                <a:off x="918171" y="3389000"/>
                <a:ext cx="5895" cy="5907"/>
              </a:xfrm>
              <a:custGeom>
                <a:avLst/>
                <a:gdLst>
                  <a:gd name="connsiteX0" fmla="*/ 0 w 5895"/>
                  <a:gd name="connsiteY0" fmla="*/ 2954 h 5907"/>
                  <a:gd name="connsiteX1" fmla="*/ 2942 w 5895"/>
                  <a:gd name="connsiteY1" fmla="*/ 0 h 5907"/>
                  <a:gd name="connsiteX2" fmla="*/ 5895 w 5895"/>
                  <a:gd name="connsiteY2" fmla="*/ 2954 h 5907"/>
                  <a:gd name="connsiteX3" fmla="*/ 2942 w 5895"/>
                  <a:gd name="connsiteY3" fmla="*/ 5907 h 5907"/>
                  <a:gd name="connsiteX4" fmla="*/ 0 w 5895"/>
                  <a:gd name="connsiteY4" fmla="*/ 2954 h 59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895" h="5907">
                    <a:moveTo>
                      <a:pt x="0" y="2954"/>
                    </a:moveTo>
                    <a:cubicBezTo>
                      <a:pt x="0" y="1322"/>
                      <a:pt x="1310" y="0"/>
                      <a:pt x="2942" y="0"/>
                    </a:cubicBezTo>
                    <a:cubicBezTo>
                      <a:pt x="4573" y="0"/>
                      <a:pt x="5895" y="1322"/>
                      <a:pt x="5895" y="2954"/>
                    </a:cubicBezTo>
                    <a:cubicBezTo>
                      <a:pt x="5895" y="4585"/>
                      <a:pt x="4562" y="5907"/>
                      <a:pt x="2942" y="5907"/>
                    </a:cubicBezTo>
                    <a:cubicBezTo>
                      <a:pt x="1322" y="5907"/>
                      <a:pt x="0" y="4585"/>
                      <a:pt x="0" y="2954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71" name="Forma livre: Forma 170">
                <a:extLst>
                  <a:ext uri="{FF2B5EF4-FFF2-40B4-BE49-F238E27FC236}">
                    <a16:creationId xmlns:a16="http://schemas.microsoft.com/office/drawing/2014/main" id="{5AE92038-39B7-02C7-9591-296F129D5565}"/>
                  </a:ext>
                </a:extLst>
              </p:cNvPr>
              <p:cNvSpPr/>
              <p:nvPr/>
            </p:nvSpPr>
            <p:spPr>
              <a:xfrm>
                <a:off x="935869" y="3366014"/>
                <a:ext cx="5895" cy="5907"/>
              </a:xfrm>
              <a:custGeom>
                <a:avLst/>
                <a:gdLst>
                  <a:gd name="connsiteX0" fmla="*/ 0 w 5895"/>
                  <a:gd name="connsiteY0" fmla="*/ 2954 h 5907"/>
                  <a:gd name="connsiteX1" fmla="*/ 2942 w 5895"/>
                  <a:gd name="connsiteY1" fmla="*/ 0 h 5907"/>
                  <a:gd name="connsiteX2" fmla="*/ 5895 w 5895"/>
                  <a:gd name="connsiteY2" fmla="*/ 2954 h 5907"/>
                  <a:gd name="connsiteX3" fmla="*/ 2942 w 5895"/>
                  <a:gd name="connsiteY3" fmla="*/ 5908 h 5907"/>
                  <a:gd name="connsiteX4" fmla="*/ 0 w 5895"/>
                  <a:gd name="connsiteY4" fmla="*/ 2954 h 59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895" h="5907">
                    <a:moveTo>
                      <a:pt x="0" y="2954"/>
                    </a:moveTo>
                    <a:cubicBezTo>
                      <a:pt x="0" y="1310"/>
                      <a:pt x="1298" y="0"/>
                      <a:pt x="2942" y="0"/>
                    </a:cubicBezTo>
                    <a:cubicBezTo>
                      <a:pt x="4585" y="0"/>
                      <a:pt x="5895" y="1322"/>
                      <a:pt x="5895" y="2954"/>
                    </a:cubicBezTo>
                    <a:cubicBezTo>
                      <a:pt x="5895" y="4586"/>
                      <a:pt x="4573" y="5908"/>
                      <a:pt x="2942" y="5908"/>
                    </a:cubicBezTo>
                    <a:cubicBezTo>
                      <a:pt x="1310" y="5908"/>
                      <a:pt x="0" y="4586"/>
                      <a:pt x="0" y="2954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72" name="Gráfico 2">
            <a:extLst>
              <a:ext uri="{FF2B5EF4-FFF2-40B4-BE49-F238E27FC236}">
                <a16:creationId xmlns:a16="http://schemas.microsoft.com/office/drawing/2014/main" id="{2ACBA5D6-D700-C3CA-D4AC-921ED4695048}"/>
              </a:ext>
            </a:extLst>
          </p:cNvPr>
          <p:cNvGrpSpPr/>
          <p:nvPr/>
        </p:nvGrpSpPr>
        <p:grpSpPr>
          <a:xfrm>
            <a:off x="1345089" y="3142485"/>
            <a:ext cx="376073" cy="214441"/>
            <a:chOff x="1345089" y="3142485"/>
            <a:chExt cx="376073" cy="214441"/>
          </a:xfrm>
          <a:noFill/>
        </p:grpSpPr>
        <p:grpSp>
          <p:nvGrpSpPr>
            <p:cNvPr id="173" name="Gráfico 2">
              <a:extLst>
                <a:ext uri="{FF2B5EF4-FFF2-40B4-BE49-F238E27FC236}">
                  <a16:creationId xmlns:a16="http://schemas.microsoft.com/office/drawing/2014/main" id="{0FC8AFB3-91DA-4D6E-A974-DBE14F1AE20A}"/>
                </a:ext>
              </a:extLst>
            </p:cNvPr>
            <p:cNvGrpSpPr/>
            <p:nvPr/>
          </p:nvGrpSpPr>
          <p:grpSpPr>
            <a:xfrm>
              <a:off x="1345089" y="3142485"/>
              <a:ext cx="376073" cy="214441"/>
              <a:chOff x="1345089" y="3142485"/>
              <a:chExt cx="376073" cy="214441"/>
            </a:xfrm>
            <a:noFill/>
          </p:grpSpPr>
          <p:sp>
            <p:nvSpPr>
              <p:cNvPr id="174" name="Forma livre: Forma 173">
                <a:extLst>
                  <a:ext uri="{FF2B5EF4-FFF2-40B4-BE49-F238E27FC236}">
                    <a16:creationId xmlns:a16="http://schemas.microsoft.com/office/drawing/2014/main" id="{3F96AD95-7523-B958-0B54-B1EA7D32F9B3}"/>
                  </a:ext>
                </a:extLst>
              </p:cNvPr>
              <p:cNvSpPr/>
              <p:nvPr/>
            </p:nvSpPr>
            <p:spPr>
              <a:xfrm>
                <a:off x="1448576" y="3142485"/>
                <a:ext cx="84573" cy="124424"/>
              </a:xfrm>
              <a:custGeom>
                <a:avLst/>
                <a:gdLst>
                  <a:gd name="connsiteX0" fmla="*/ 0 w 84573"/>
                  <a:gd name="connsiteY0" fmla="*/ 124425 h 124424"/>
                  <a:gd name="connsiteX1" fmla="*/ 84574 w 84573"/>
                  <a:gd name="connsiteY1" fmla="*/ 0 h 124424"/>
                  <a:gd name="connsiteX2" fmla="*/ 37636 w 84573"/>
                  <a:gd name="connsiteY2" fmla="*/ 124425 h 1244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4573" h="124424">
                    <a:moveTo>
                      <a:pt x="0" y="124425"/>
                    </a:moveTo>
                    <a:cubicBezTo>
                      <a:pt x="15769" y="17579"/>
                      <a:pt x="84574" y="0"/>
                      <a:pt x="84574" y="0"/>
                    </a:cubicBezTo>
                    <a:cubicBezTo>
                      <a:pt x="84574" y="0"/>
                      <a:pt x="40256" y="44865"/>
                      <a:pt x="37636" y="124425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75" name="Forma livre: Forma 174">
                <a:extLst>
                  <a:ext uri="{FF2B5EF4-FFF2-40B4-BE49-F238E27FC236}">
                    <a16:creationId xmlns:a16="http://schemas.microsoft.com/office/drawing/2014/main" id="{404D2AEB-6EA6-0657-B0D6-D524DB301E47}"/>
                  </a:ext>
                </a:extLst>
              </p:cNvPr>
              <p:cNvSpPr/>
              <p:nvPr/>
            </p:nvSpPr>
            <p:spPr>
              <a:xfrm>
                <a:off x="1532923" y="3142485"/>
                <a:ext cx="84740" cy="124424"/>
              </a:xfrm>
              <a:custGeom>
                <a:avLst/>
                <a:gdLst>
                  <a:gd name="connsiteX0" fmla="*/ 84740 w 84740"/>
                  <a:gd name="connsiteY0" fmla="*/ 124425 h 124424"/>
                  <a:gd name="connsiteX1" fmla="*/ 0 w 84740"/>
                  <a:gd name="connsiteY1" fmla="*/ 0 h 124424"/>
                  <a:gd name="connsiteX2" fmla="*/ 47069 w 84740"/>
                  <a:gd name="connsiteY2" fmla="*/ 124425 h 1244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4740" h="124424">
                    <a:moveTo>
                      <a:pt x="84740" y="124425"/>
                    </a:moveTo>
                    <a:cubicBezTo>
                      <a:pt x="68960" y="17627"/>
                      <a:pt x="0" y="0"/>
                      <a:pt x="0" y="0"/>
                    </a:cubicBezTo>
                    <a:cubicBezTo>
                      <a:pt x="0" y="0"/>
                      <a:pt x="44437" y="44854"/>
                      <a:pt x="47069" y="124425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76" name="Forma livre: Forma 175">
                <a:extLst>
                  <a:ext uri="{FF2B5EF4-FFF2-40B4-BE49-F238E27FC236}">
                    <a16:creationId xmlns:a16="http://schemas.microsoft.com/office/drawing/2014/main" id="{503721A1-51C8-C2F7-6358-76C8A204BB76}"/>
                  </a:ext>
                </a:extLst>
              </p:cNvPr>
              <p:cNvSpPr/>
              <p:nvPr/>
            </p:nvSpPr>
            <p:spPr>
              <a:xfrm>
                <a:off x="1533149" y="3142485"/>
                <a:ext cx="1191" cy="124424"/>
              </a:xfrm>
              <a:custGeom>
                <a:avLst/>
                <a:gdLst>
                  <a:gd name="connsiteX0" fmla="*/ 0 w 1191"/>
                  <a:gd name="connsiteY0" fmla="*/ 0 h 124424"/>
                  <a:gd name="connsiteX1" fmla="*/ 0 w 1191"/>
                  <a:gd name="connsiteY1" fmla="*/ 124425 h 1244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1" h="124424">
                    <a:moveTo>
                      <a:pt x="0" y="0"/>
                    </a:moveTo>
                    <a:lnTo>
                      <a:pt x="0" y="124425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77" name="Forma livre: Forma 176">
                <a:extLst>
                  <a:ext uri="{FF2B5EF4-FFF2-40B4-BE49-F238E27FC236}">
                    <a16:creationId xmlns:a16="http://schemas.microsoft.com/office/drawing/2014/main" id="{B5F1044C-CCBE-5788-74B4-976BD3F1CF34}"/>
                  </a:ext>
                </a:extLst>
              </p:cNvPr>
              <p:cNvSpPr/>
              <p:nvPr/>
            </p:nvSpPr>
            <p:spPr>
              <a:xfrm>
                <a:off x="1345089" y="3289884"/>
                <a:ext cx="376073" cy="67041"/>
              </a:xfrm>
              <a:custGeom>
                <a:avLst/>
                <a:gdLst>
                  <a:gd name="connsiteX0" fmla="*/ 307304 w 376073"/>
                  <a:gd name="connsiteY0" fmla="*/ 67042 h 67041"/>
                  <a:gd name="connsiteX1" fmla="*/ 316916 w 376073"/>
                  <a:gd name="connsiteY1" fmla="*/ 50820 h 67041"/>
                  <a:gd name="connsiteX2" fmla="*/ 354123 w 376073"/>
                  <a:gd name="connsiteY2" fmla="*/ 32407 h 67041"/>
                  <a:gd name="connsiteX3" fmla="*/ 376073 w 376073"/>
                  <a:gd name="connsiteY3" fmla="*/ 0 h 67041"/>
                  <a:gd name="connsiteX4" fmla="*/ 0 w 376073"/>
                  <a:gd name="connsiteY4" fmla="*/ 0 h 67041"/>
                  <a:gd name="connsiteX5" fmla="*/ 21950 w 376073"/>
                  <a:gd name="connsiteY5" fmla="*/ 32407 h 67041"/>
                  <a:gd name="connsiteX6" fmla="*/ 59157 w 376073"/>
                  <a:gd name="connsiteY6" fmla="*/ 50820 h 67041"/>
                  <a:gd name="connsiteX7" fmla="*/ 68769 w 376073"/>
                  <a:gd name="connsiteY7" fmla="*/ 67042 h 67041"/>
                  <a:gd name="connsiteX8" fmla="*/ 307304 w 376073"/>
                  <a:gd name="connsiteY8" fmla="*/ 67042 h 670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76073" h="67041">
                    <a:moveTo>
                      <a:pt x="307304" y="67042"/>
                    </a:moveTo>
                    <a:lnTo>
                      <a:pt x="316916" y="50820"/>
                    </a:lnTo>
                    <a:cubicBezTo>
                      <a:pt x="326539" y="34146"/>
                      <a:pt x="354123" y="32407"/>
                      <a:pt x="354123" y="32407"/>
                    </a:cubicBezTo>
                    <a:lnTo>
                      <a:pt x="376073" y="0"/>
                    </a:lnTo>
                    <a:lnTo>
                      <a:pt x="0" y="0"/>
                    </a:lnTo>
                    <a:lnTo>
                      <a:pt x="21950" y="32407"/>
                    </a:lnTo>
                    <a:cubicBezTo>
                      <a:pt x="21950" y="32407"/>
                      <a:pt x="49534" y="34146"/>
                      <a:pt x="59157" y="50820"/>
                    </a:cubicBezTo>
                    <a:lnTo>
                      <a:pt x="68769" y="67042"/>
                    </a:lnTo>
                    <a:lnTo>
                      <a:pt x="307304" y="67042"/>
                    </a:lnTo>
                    <a:close/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78" name="Forma livre: Forma 177">
              <a:extLst>
                <a:ext uri="{FF2B5EF4-FFF2-40B4-BE49-F238E27FC236}">
                  <a16:creationId xmlns:a16="http://schemas.microsoft.com/office/drawing/2014/main" id="{2F438DCA-4A60-1E48-E671-BDADED769462}"/>
                </a:ext>
              </a:extLst>
            </p:cNvPr>
            <p:cNvSpPr/>
            <p:nvPr/>
          </p:nvSpPr>
          <p:spPr>
            <a:xfrm>
              <a:off x="1492893" y="3322292"/>
              <a:ext cx="206318" cy="1191"/>
            </a:xfrm>
            <a:custGeom>
              <a:avLst/>
              <a:gdLst>
                <a:gd name="connsiteX0" fmla="*/ 206319 w 206318"/>
                <a:gd name="connsiteY0" fmla="*/ 0 h 1191"/>
                <a:gd name="connsiteX1" fmla="*/ 0 w 206318"/>
                <a:gd name="connsiteY1" fmla="*/ 0 h 11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06318" h="1191">
                  <a:moveTo>
                    <a:pt x="206319" y="0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80" name="Gráfico 4">
            <a:extLst>
              <a:ext uri="{FF2B5EF4-FFF2-40B4-BE49-F238E27FC236}">
                <a16:creationId xmlns:a16="http://schemas.microsoft.com/office/drawing/2014/main" id="{A4B9BB07-5359-F008-1C27-93DDF5BE2432}"/>
              </a:ext>
            </a:extLst>
          </p:cNvPr>
          <p:cNvGrpSpPr/>
          <p:nvPr/>
        </p:nvGrpSpPr>
        <p:grpSpPr>
          <a:xfrm>
            <a:off x="2548535" y="1536030"/>
            <a:ext cx="353213" cy="275180"/>
            <a:chOff x="2548535" y="1536030"/>
            <a:chExt cx="353213" cy="275180"/>
          </a:xfrm>
          <a:noFill/>
        </p:grpSpPr>
        <p:sp>
          <p:nvSpPr>
            <p:cNvPr id="181" name="Forma livre: Forma 180">
              <a:extLst>
                <a:ext uri="{FF2B5EF4-FFF2-40B4-BE49-F238E27FC236}">
                  <a16:creationId xmlns:a16="http://schemas.microsoft.com/office/drawing/2014/main" id="{F129C9B4-3301-FE80-3133-12095447C62A}"/>
                </a:ext>
              </a:extLst>
            </p:cNvPr>
            <p:cNvSpPr/>
            <p:nvPr/>
          </p:nvSpPr>
          <p:spPr>
            <a:xfrm>
              <a:off x="2549344" y="1608313"/>
              <a:ext cx="214527" cy="135018"/>
            </a:xfrm>
            <a:custGeom>
              <a:avLst/>
              <a:gdLst>
                <a:gd name="connsiteX0" fmla="*/ 101294 w 214527"/>
                <a:gd name="connsiteY0" fmla="*/ 0 h 135018"/>
                <a:gd name="connsiteX1" fmla="*/ 0 w 214527"/>
                <a:gd name="connsiteY1" fmla="*/ 55593 h 135018"/>
                <a:gd name="connsiteX2" fmla="*/ 112805 w 214527"/>
                <a:gd name="connsiteY2" fmla="*/ 135019 h 135018"/>
                <a:gd name="connsiteX3" fmla="*/ 214528 w 214527"/>
                <a:gd name="connsiteY3" fmla="*/ 74604 h 1350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14527" h="135018">
                  <a:moveTo>
                    <a:pt x="101294" y="0"/>
                  </a:moveTo>
                  <a:lnTo>
                    <a:pt x="0" y="55593"/>
                  </a:lnTo>
                  <a:lnTo>
                    <a:pt x="112805" y="135019"/>
                  </a:lnTo>
                  <a:lnTo>
                    <a:pt x="214528" y="74604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2" name="Forma livre: Forma 181">
              <a:extLst>
                <a:ext uri="{FF2B5EF4-FFF2-40B4-BE49-F238E27FC236}">
                  <a16:creationId xmlns:a16="http://schemas.microsoft.com/office/drawing/2014/main" id="{D0E768BA-3027-5569-86A2-DCD1DAD9DB79}"/>
                </a:ext>
              </a:extLst>
            </p:cNvPr>
            <p:cNvSpPr/>
            <p:nvPr/>
          </p:nvSpPr>
          <p:spPr>
            <a:xfrm>
              <a:off x="2724374" y="1536030"/>
              <a:ext cx="177231" cy="117936"/>
            </a:xfrm>
            <a:custGeom>
              <a:avLst/>
              <a:gdLst>
                <a:gd name="connsiteX0" fmla="*/ 88271 w 177231"/>
                <a:gd name="connsiteY0" fmla="*/ 117936 h 117936"/>
                <a:gd name="connsiteX1" fmla="*/ 177232 w 177231"/>
                <a:gd name="connsiteY1" fmla="*/ 65105 h 117936"/>
                <a:gd name="connsiteX2" fmla="*/ 57974 w 177231"/>
                <a:gd name="connsiteY2" fmla="*/ 0 h 117936"/>
                <a:gd name="connsiteX3" fmla="*/ 0 w 177231"/>
                <a:gd name="connsiteY3" fmla="*/ 31820 h 1179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7231" h="117936">
                  <a:moveTo>
                    <a:pt x="88271" y="117936"/>
                  </a:moveTo>
                  <a:lnTo>
                    <a:pt x="177232" y="65105"/>
                  </a:lnTo>
                  <a:lnTo>
                    <a:pt x="57974" y="0"/>
                  </a:lnTo>
                  <a:lnTo>
                    <a:pt x="0" y="31820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3" name="Forma livre: Forma 182">
              <a:extLst>
                <a:ext uri="{FF2B5EF4-FFF2-40B4-BE49-F238E27FC236}">
                  <a16:creationId xmlns:a16="http://schemas.microsoft.com/office/drawing/2014/main" id="{980DCFCE-6DE9-07BF-2D4F-D35B29C2E2AA}"/>
                </a:ext>
              </a:extLst>
            </p:cNvPr>
            <p:cNvSpPr/>
            <p:nvPr/>
          </p:nvSpPr>
          <p:spPr>
            <a:xfrm>
              <a:off x="2812692" y="1634360"/>
              <a:ext cx="88508" cy="52557"/>
            </a:xfrm>
            <a:custGeom>
              <a:avLst/>
              <a:gdLst>
                <a:gd name="connsiteX0" fmla="*/ 0 w 88508"/>
                <a:gd name="connsiteY0" fmla="*/ 52558 h 52557"/>
                <a:gd name="connsiteX1" fmla="*/ 88509 w 88508"/>
                <a:gd name="connsiteY1" fmla="*/ 0 h 525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8508" h="52557">
                  <a:moveTo>
                    <a:pt x="0" y="52558"/>
                  </a:moveTo>
                  <a:lnTo>
                    <a:pt x="88509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4" name="Forma livre: Forma 183">
              <a:extLst>
                <a:ext uri="{FF2B5EF4-FFF2-40B4-BE49-F238E27FC236}">
                  <a16:creationId xmlns:a16="http://schemas.microsoft.com/office/drawing/2014/main" id="{8D1F8813-429C-7A50-B507-D99DB0CA92EA}"/>
                </a:ext>
              </a:extLst>
            </p:cNvPr>
            <p:cNvSpPr/>
            <p:nvPr/>
          </p:nvSpPr>
          <p:spPr>
            <a:xfrm>
              <a:off x="2548940" y="1697132"/>
              <a:ext cx="214896" cy="79425"/>
            </a:xfrm>
            <a:custGeom>
              <a:avLst/>
              <a:gdLst>
                <a:gd name="connsiteX0" fmla="*/ 0 w 214896"/>
                <a:gd name="connsiteY0" fmla="*/ 0 h 79425"/>
                <a:gd name="connsiteX1" fmla="*/ 112805 w 214896"/>
                <a:gd name="connsiteY1" fmla="*/ 79426 h 79425"/>
                <a:gd name="connsiteX2" fmla="*/ 214897 w 214896"/>
                <a:gd name="connsiteY2" fmla="*/ 18797 h 794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14896" h="79425">
                  <a:moveTo>
                    <a:pt x="0" y="0"/>
                  </a:moveTo>
                  <a:lnTo>
                    <a:pt x="112805" y="79426"/>
                  </a:lnTo>
                  <a:lnTo>
                    <a:pt x="214897" y="18797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5" name="Forma livre: Forma 184">
              <a:extLst>
                <a:ext uri="{FF2B5EF4-FFF2-40B4-BE49-F238E27FC236}">
                  <a16:creationId xmlns:a16="http://schemas.microsoft.com/office/drawing/2014/main" id="{90AE94EF-FC73-3050-55DE-A848E3412E43}"/>
                </a:ext>
              </a:extLst>
            </p:cNvPr>
            <p:cNvSpPr/>
            <p:nvPr/>
          </p:nvSpPr>
          <p:spPr>
            <a:xfrm>
              <a:off x="2812466" y="1669014"/>
              <a:ext cx="89282" cy="53009"/>
            </a:xfrm>
            <a:custGeom>
              <a:avLst/>
              <a:gdLst>
                <a:gd name="connsiteX0" fmla="*/ 0 w 89282"/>
                <a:gd name="connsiteY0" fmla="*/ 53010 h 53009"/>
                <a:gd name="connsiteX1" fmla="*/ 89282 w 89282"/>
                <a:gd name="connsiteY1" fmla="*/ 0 h 530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9282" h="53009">
                  <a:moveTo>
                    <a:pt x="0" y="53010"/>
                  </a:moveTo>
                  <a:lnTo>
                    <a:pt x="89282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6" name="Forma livre: Forma 185">
              <a:extLst>
                <a:ext uri="{FF2B5EF4-FFF2-40B4-BE49-F238E27FC236}">
                  <a16:creationId xmlns:a16="http://schemas.microsoft.com/office/drawing/2014/main" id="{4C316A92-7FAD-BE69-11FD-5B813CB58E5B}"/>
                </a:ext>
              </a:extLst>
            </p:cNvPr>
            <p:cNvSpPr/>
            <p:nvPr/>
          </p:nvSpPr>
          <p:spPr>
            <a:xfrm>
              <a:off x="2549475" y="1731785"/>
              <a:ext cx="214504" cy="79425"/>
            </a:xfrm>
            <a:custGeom>
              <a:avLst/>
              <a:gdLst>
                <a:gd name="connsiteX0" fmla="*/ 0 w 214504"/>
                <a:gd name="connsiteY0" fmla="*/ 0 h 79425"/>
                <a:gd name="connsiteX1" fmla="*/ 112805 w 214504"/>
                <a:gd name="connsiteY1" fmla="*/ 79426 h 79425"/>
                <a:gd name="connsiteX2" fmla="*/ 214504 w 214504"/>
                <a:gd name="connsiteY2" fmla="*/ 19035 h 794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14504" h="79425">
                  <a:moveTo>
                    <a:pt x="0" y="0"/>
                  </a:moveTo>
                  <a:lnTo>
                    <a:pt x="112805" y="79426"/>
                  </a:lnTo>
                  <a:lnTo>
                    <a:pt x="214504" y="19035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7" name="Forma livre: Forma 186">
              <a:extLst>
                <a:ext uri="{FF2B5EF4-FFF2-40B4-BE49-F238E27FC236}">
                  <a16:creationId xmlns:a16="http://schemas.microsoft.com/office/drawing/2014/main" id="{E14B5DC1-74C0-4752-8067-C52B0A38CE46}"/>
                </a:ext>
              </a:extLst>
            </p:cNvPr>
            <p:cNvSpPr/>
            <p:nvPr/>
          </p:nvSpPr>
          <p:spPr>
            <a:xfrm>
              <a:off x="2642162" y="1575993"/>
              <a:ext cx="170065" cy="189743"/>
            </a:xfrm>
            <a:custGeom>
              <a:avLst/>
              <a:gdLst>
                <a:gd name="connsiteX0" fmla="*/ 169946 w 170065"/>
                <a:gd name="connsiteY0" fmla="*/ 160066 h 189743"/>
                <a:gd name="connsiteX1" fmla="*/ 170065 w 170065"/>
                <a:gd name="connsiteY1" fmla="*/ 77640 h 189743"/>
                <a:gd name="connsiteX2" fmla="*/ 46677 w 170065"/>
                <a:gd name="connsiteY2" fmla="*/ 0 h 189743"/>
                <a:gd name="connsiteX3" fmla="*/ 0 w 170065"/>
                <a:gd name="connsiteY3" fmla="*/ 26023 h 189743"/>
                <a:gd name="connsiteX4" fmla="*/ 122186 w 170065"/>
                <a:gd name="connsiteY4" fmla="*/ 106234 h 189743"/>
                <a:gd name="connsiteX5" fmla="*/ 122186 w 170065"/>
                <a:gd name="connsiteY5" fmla="*/ 189743 h 189743"/>
                <a:gd name="connsiteX6" fmla="*/ 169946 w 170065"/>
                <a:gd name="connsiteY6" fmla="*/ 160066 h 1897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70065" h="189743">
                  <a:moveTo>
                    <a:pt x="169946" y="160066"/>
                  </a:moveTo>
                  <a:lnTo>
                    <a:pt x="170065" y="77640"/>
                  </a:lnTo>
                  <a:lnTo>
                    <a:pt x="46677" y="0"/>
                  </a:lnTo>
                  <a:lnTo>
                    <a:pt x="0" y="26023"/>
                  </a:lnTo>
                  <a:lnTo>
                    <a:pt x="122186" y="106234"/>
                  </a:lnTo>
                  <a:lnTo>
                    <a:pt x="122186" y="189743"/>
                  </a:lnTo>
                  <a:lnTo>
                    <a:pt x="169946" y="160066"/>
                  </a:ln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8" name="Forma livre: Forma 187">
              <a:extLst>
                <a:ext uri="{FF2B5EF4-FFF2-40B4-BE49-F238E27FC236}">
                  <a16:creationId xmlns:a16="http://schemas.microsoft.com/office/drawing/2014/main" id="{7E56BE66-FF99-017A-35DA-26B13E29A469}"/>
                </a:ext>
              </a:extLst>
            </p:cNvPr>
            <p:cNvSpPr/>
            <p:nvPr/>
          </p:nvSpPr>
          <p:spPr>
            <a:xfrm>
              <a:off x="2753099" y="1758546"/>
              <a:ext cx="10202" cy="6952"/>
            </a:xfrm>
            <a:custGeom>
              <a:avLst/>
              <a:gdLst>
                <a:gd name="connsiteX0" fmla="*/ 0 w 10202"/>
                <a:gd name="connsiteY0" fmla="*/ 0 h 6952"/>
                <a:gd name="connsiteX1" fmla="*/ 10202 w 10202"/>
                <a:gd name="connsiteY1" fmla="*/ 6952 h 69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202" h="6952">
                  <a:moveTo>
                    <a:pt x="0" y="0"/>
                  </a:moveTo>
                  <a:lnTo>
                    <a:pt x="10202" y="6952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9" name="Forma livre: Forma 188">
              <a:extLst>
                <a:ext uri="{FF2B5EF4-FFF2-40B4-BE49-F238E27FC236}">
                  <a16:creationId xmlns:a16="http://schemas.microsoft.com/office/drawing/2014/main" id="{2683E2A2-3E1B-D5C7-FD7D-0036788857C6}"/>
                </a:ext>
              </a:extLst>
            </p:cNvPr>
            <p:cNvSpPr/>
            <p:nvPr/>
          </p:nvSpPr>
          <p:spPr>
            <a:xfrm>
              <a:off x="2642162" y="1602397"/>
              <a:ext cx="1190" cy="10154"/>
            </a:xfrm>
            <a:custGeom>
              <a:avLst/>
              <a:gdLst>
                <a:gd name="connsiteX0" fmla="*/ 0 w 1190"/>
                <a:gd name="connsiteY0" fmla="*/ 0 h 10154"/>
                <a:gd name="connsiteX1" fmla="*/ 0 w 1190"/>
                <a:gd name="connsiteY1" fmla="*/ 10154 h 101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90" h="10154">
                  <a:moveTo>
                    <a:pt x="0" y="0"/>
                  </a:moveTo>
                  <a:lnTo>
                    <a:pt x="0" y="10154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0" name="Forma livre: Forma 189">
              <a:extLst>
                <a:ext uri="{FF2B5EF4-FFF2-40B4-BE49-F238E27FC236}">
                  <a16:creationId xmlns:a16="http://schemas.microsoft.com/office/drawing/2014/main" id="{8505377E-726A-F9FD-AD7C-3EFCAE2C82C1}"/>
                </a:ext>
              </a:extLst>
            </p:cNvPr>
            <p:cNvSpPr/>
            <p:nvPr/>
          </p:nvSpPr>
          <p:spPr>
            <a:xfrm>
              <a:off x="2549094" y="1683132"/>
              <a:ext cx="24439" cy="13904"/>
            </a:xfrm>
            <a:custGeom>
              <a:avLst/>
              <a:gdLst>
                <a:gd name="connsiteX0" fmla="*/ 0 w 24439"/>
                <a:gd name="connsiteY0" fmla="*/ 13904 h 13904"/>
                <a:gd name="connsiteX1" fmla="*/ 24440 w 24439"/>
                <a:gd name="connsiteY1" fmla="*/ 0 h 139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4439" h="13904">
                  <a:moveTo>
                    <a:pt x="0" y="13904"/>
                  </a:moveTo>
                  <a:lnTo>
                    <a:pt x="2444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1" name="Forma livre: Forma 190">
              <a:extLst>
                <a:ext uri="{FF2B5EF4-FFF2-40B4-BE49-F238E27FC236}">
                  <a16:creationId xmlns:a16="http://schemas.microsoft.com/office/drawing/2014/main" id="{9FC49AAD-47CE-A689-F392-407242B50972}"/>
                </a:ext>
              </a:extLst>
            </p:cNvPr>
            <p:cNvSpPr/>
            <p:nvPr/>
          </p:nvSpPr>
          <p:spPr>
            <a:xfrm>
              <a:off x="2548535" y="1718547"/>
              <a:ext cx="24451" cy="13892"/>
            </a:xfrm>
            <a:custGeom>
              <a:avLst/>
              <a:gdLst>
                <a:gd name="connsiteX0" fmla="*/ 0 w 24451"/>
                <a:gd name="connsiteY0" fmla="*/ 13892 h 13892"/>
                <a:gd name="connsiteX1" fmla="*/ 24451 w 24451"/>
                <a:gd name="connsiteY1" fmla="*/ 0 h 138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4451" h="13892">
                  <a:moveTo>
                    <a:pt x="0" y="13892"/>
                  </a:moveTo>
                  <a:lnTo>
                    <a:pt x="24451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92" name="Gráfico 4">
            <a:extLst>
              <a:ext uri="{FF2B5EF4-FFF2-40B4-BE49-F238E27FC236}">
                <a16:creationId xmlns:a16="http://schemas.microsoft.com/office/drawing/2014/main" id="{E1D28A2C-7747-F4AD-A116-3A53356F4FC7}"/>
              </a:ext>
            </a:extLst>
          </p:cNvPr>
          <p:cNvGrpSpPr/>
          <p:nvPr/>
        </p:nvGrpSpPr>
        <p:grpSpPr>
          <a:xfrm>
            <a:off x="2603128" y="3090902"/>
            <a:ext cx="244026" cy="336999"/>
            <a:chOff x="2603128" y="3090902"/>
            <a:chExt cx="244026" cy="336999"/>
          </a:xfrm>
          <a:noFill/>
        </p:grpSpPr>
        <p:grpSp>
          <p:nvGrpSpPr>
            <p:cNvPr id="193" name="Gráfico 4">
              <a:extLst>
                <a:ext uri="{FF2B5EF4-FFF2-40B4-BE49-F238E27FC236}">
                  <a16:creationId xmlns:a16="http://schemas.microsoft.com/office/drawing/2014/main" id="{7E6BB939-036A-70B4-4069-6DF9740BCCB4}"/>
                </a:ext>
              </a:extLst>
            </p:cNvPr>
            <p:cNvGrpSpPr/>
            <p:nvPr/>
          </p:nvGrpSpPr>
          <p:grpSpPr>
            <a:xfrm>
              <a:off x="2698613" y="3181458"/>
              <a:ext cx="53033" cy="136006"/>
              <a:chOff x="2698613" y="3181458"/>
              <a:chExt cx="53033" cy="136006"/>
            </a:xfrm>
            <a:noFill/>
          </p:grpSpPr>
          <p:sp>
            <p:nvSpPr>
              <p:cNvPr id="194" name="Forma livre: Forma 193">
                <a:extLst>
                  <a:ext uri="{FF2B5EF4-FFF2-40B4-BE49-F238E27FC236}">
                    <a16:creationId xmlns:a16="http://schemas.microsoft.com/office/drawing/2014/main" id="{3F621F01-401C-BF5C-45BF-3CD2F85BA4FA}"/>
                  </a:ext>
                </a:extLst>
              </p:cNvPr>
              <p:cNvSpPr/>
              <p:nvPr/>
            </p:nvSpPr>
            <p:spPr>
              <a:xfrm>
                <a:off x="2698613" y="3199029"/>
                <a:ext cx="53033" cy="100853"/>
              </a:xfrm>
              <a:custGeom>
                <a:avLst/>
                <a:gdLst>
                  <a:gd name="connsiteX0" fmla="*/ 131 w 53033"/>
                  <a:gd name="connsiteY0" fmla="*/ 76259 h 100853"/>
                  <a:gd name="connsiteX1" fmla="*/ 26570 w 53033"/>
                  <a:gd name="connsiteY1" fmla="*/ 100853 h 100853"/>
                  <a:gd name="connsiteX2" fmla="*/ 53034 w 53033"/>
                  <a:gd name="connsiteY2" fmla="*/ 76259 h 100853"/>
                  <a:gd name="connsiteX3" fmla="*/ 26511 w 53033"/>
                  <a:gd name="connsiteY3" fmla="*/ 50427 h 100853"/>
                  <a:gd name="connsiteX4" fmla="*/ 0 w 53033"/>
                  <a:gd name="connsiteY4" fmla="*/ 24606 h 100853"/>
                  <a:gd name="connsiteX5" fmla="*/ 26451 w 53033"/>
                  <a:gd name="connsiteY5" fmla="*/ 0 h 100853"/>
                  <a:gd name="connsiteX6" fmla="*/ 52915 w 53033"/>
                  <a:gd name="connsiteY6" fmla="*/ 24606 h 1008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53033" h="100853">
                    <a:moveTo>
                      <a:pt x="131" y="76259"/>
                    </a:moveTo>
                    <a:cubicBezTo>
                      <a:pt x="131" y="89842"/>
                      <a:pt x="11976" y="100853"/>
                      <a:pt x="26570" y="100853"/>
                    </a:cubicBezTo>
                    <a:cubicBezTo>
                      <a:pt x="41165" y="100853"/>
                      <a:pt x="53034" y="89842"/>
                      <a:pt x="53034" y="76259"/>
                    </a:cubicBezTo>
                    <a:cubicBezTo>
                      <a:pt x="53034" y="62676"/>
                      <a:pt x="38903" y="56724"/>
                      <a:pt x="26511" y="50427"/>
                    </a:cubicBezTo>
                    <a:cubicBezTo>
                      <a:pt x="14119" y="44141"/>
                      <a:pt x="0" y="38189"/>
                      <a:pt x="0" y="24606"/>
                    </a:cubicBezTo>
                    <a:cubicBezTo>
                      <a:pt x="0" y="11023"/>
                      <a:pt x="11833" y="0"/>
                      <a:pt x="26451" y="0"/>
                    </a:cubicBezTo>
                    <a:cubicBezTo>
                      <a:pt x="41070" y="0"/>
                      <a:pt x="52915" y="11000"/>
                      <a:pt x="52915" y="24606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95" name="Forma livre: Forma 194">
                <a:extLst>
                  <a:ext uri="{FF2B5EF4-FFF2-40B4-BE49-F238E27FC236}">
                    <a16:creationId xmlns:a16="http://schemas.microsoft.com/office/drawing/2014/main" id="{3FBAB154-E85F-5874-9FC8-6C828FECB733}"/>
                  </a:ext>
                </a:extLst>
              </p:cNvPr>
              <p:cNvSpPr/>
              <p:nvPr/>
            </p:nvSpPr>
            <p:spPr>
              <a:xfrm>
                <a:off x="2725076" y="3181458"/>
                <a:ext cx="1190" cy="17451"/>
              </a:xfrm>
              <a:custGeom>
                <a:avLst/>
                <a:gdLst>
                  <a:gd name="connsiteX0" fmla="*/ 0 w 1190"/>
                  <a:gd name="connsiteY0" fmla="*/ 17452 h 17451"/>
                  <a:gd name="connsiteX1" fmla="*/ 0 w 1190"/>
                  <a:gd name="connsiteY1" fmla="*/ 0 h 174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0" h="17451">
                    <a:moveTo>
                      <a:pt x="0" y="17452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96" name="Forma livre: Forma 195">
                <a:extLst>
                  <a:ext uri="{FF2B5EF4-FFF2-40B4-BE49-F238E27FC236}">
                    <a16:creationId xmlns:a16="http://schemas.microsoft.com/office/drawing/2014/main" id="{22DB4AAC-97E9-1FD0-6D4D-4D3FA88ED185}"/>
                  </a:ext>
                </a:extLst>
              </p:cNvPr>
              <p:cNvSpPr/>
              <p:nvPr/>
            </p:nvSpPr>
            <p:spPr>
              <a:xfrm>
                <a:off x="2725076" y="3300013"/>
                <a:ext cx="1190" cy="17451"/>
              </a:xfrm>
              <a:custGeom>
                <a:avLst/>
                <a:gdLst>
                  <a:gd name="connsiteX0" fmla="*/ 0 w 1190"/>
                  <a:gd name="connsiteY0" fmla="*/ 17452 h 17451"/>
                  <a:gd name="connsiteX1" fmla="*/ 0 w 1190"/>
                  <a:gd name="connsiteY1" fmla="*/ 0 h 174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0" h="17451">
                    <a:moveTo>
                      <a:pt x="0" y="17452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97" name="Gráfico 4">
              <a:extLst>
                <a:ext uri="{FF2B5EF4-FFF2-40B4-BE49-F238E27FC236}">
                  <a16:creationId xmlns:a16="http://schemas.microsoft.com/office/drawing/2014/main" id="{32D4D163-21CC-1303-CC7E-81640325D916}"/>
                </a:ext>
              </a:extLst>
            </p:cNvPr>
            <p:cNvGrpSpPr/>
            <p:nvPr/>
          </p:nvGrpSpPr>
          <p:grpSpPr>
            <a:xfrm>
              <a:off x="2603128" y="3090902"/>
              <a:ext cx="244026" cy="336999"/>
              <a:chOff x="2603128" y="3090902"/>
              <a:chExt cx="244026" cy="336999"/>
            </a:xfrm>
            <a:noFill/>
          </p:grpSpPr>
          <p:sp>
            <p:nvSpPr>
              <p:cNvPr id="198" name="Forma livre: Forma 197">
                <a:extLst>
                  <a:ext uri="{FF2B5EF4-FFF2-40B4-BE49-F238E27FC236}">
                    <a16:creationId xmlns:a16="http://schemas.microsoft.com/office/drawing/2014/main" id="{BB6254EA-7D3B-910B-CA9B-61C58C0E311B}"/>
                  </a:ext>
                </a:extLst>
              </p:cNvPr>
              <p:cNvSpPr/>
              <p:nvPr/>
            </p:nvSpPr>
            <p:spPr>
              <a:xfrm>
                <a:off x="2681304" y="3389486"/>
                <a:ext cx="88211" cy="1190"/>
              </a:xfrm>
              <a:custGeom>
                <a:avLst/>
                <a:gdLst>
                  <a:gd name="connsiteX0" fmla="*/ 0 w 88211"/>
                  <a:gd name="connsiteY0" fmla="*/ 0 h 1190"/>
                  <a:gd name="connsiteX1" fmla="*/ 88211 w 88211"/>
                  <a:gd name="connsiteY1" fmla="*/ 0 h 11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88211" h="1190">
                    <a:moveTo>
                      <a:pt x="0" y="0"/>
                    </a:moveTo>
                    <a:lnTo>
                      <a:pt x="88211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99" name="Forma livre: Forma 198">
                <a:extLst>
                  <a:ext uri="{FF2B5EF4-FFF2-40B4-BE49-F238E27FC236}">
                    <a16:creationId xmlns:a16="http://schemas.microsoft.com/office/drawing/2014/main" id="{1554D3D5-E467-0F93-BCF0-0A061FE604E1}"/>
                  </a:ext>
                </a:extLst>
              </p:cNvPr>
              <p:cNvSpPr/>
              <p:nvPr/>
            </p:nvSpPr>
            <p:spPr>
              <a:xfrm>
                <a:off x="2725148" y="3090902"/>
                <a:ext cx="1190" cy="22189"/>
              </a:xfrm>
              <a:custGeom>
                <a:avLst/>
                <a:gdLst>
                  <a:gd name="connsiteX0" fmla="*/ 0 w 1190"/>
                  <a:gd name="connsiteY0" fmla="*/ 22190 h 22189"/>
                  <a:gd name="connsiteX1" fmla="*/ 0 w 1190"/>
                  <a:gd name="connsiteY1" fmla="*/ 0 h 221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0" h="22189">
                    <a:moveTo>
                      <a:pt x="0" y="22190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200" name="Gráfico 4">
                <a:extLst>
                  <a:ext uri="{FF2B5EF4-FFF2-40B4-BE49-F238E27FC236}">
                    <a16:creationId xmlns:a16="http://schemas.microsoft.com/office/drawing/2014/main" id="{0CBB8452-BE56-940D-4134-3438D2641AB8}"/>
                  </a:ext>
                </a:extLst>
              </p:cNvPr>
              <p:cNvGrpSpPr/>
              <p:nvPr/>
            </p:nvGrpSpPr>
            <p:grpSpPr>
              <a:xfrm>
                <a:off x="2603128" y="3143198"/>
                <a:ext cx="244026" cy="18035"/>
                <a:chOff x="2603128" y="3143198"/>
                <a:chExt cx="244026" cy="18035"/>
              </a:xfrm>
            </p:grpSpPr>
            <p:sp>
              <p:nvSpPr>
                <p:cNvPr id="201" name="Forma livre: Forma 200">
                  <a:extLst>
                    <a:ext uri="{FF2B5EF4-FFF2-40B4-BE49-F238E27FC236}">
                      <a16:creationId xmlns:a16="http://schemas.microsoft.com/office/drawing/2014/main" id="{8C6C8F4A-F212-6A44-7144-4F4BFC6059CE}"/>
                    </a:ext>
                  </a:extLst>
                </p:cNvPr>
                <p:cNvSpPr/>
                <p:nvPr/>
              </p:nvSpPr>
              <p:spPr>
                <a:xfrm>
                  <a:off x="2829191" y="3143198"/>
                  <a:ext cx="17963" cy="18035"/>
                </a:xfrm>
                <a:custGeom>
                  <a:avLst/>
                  <a:gdLst>
                    <a:gd name="connsiteX0" fmla="*/ 0 w 17963"/>
                    <a:gd name="connsiteY0" fmla="*/ 18035 h 18035"/>
                    <a:gd name="connsiteX1" fmla="*/ 17964 w 17963"/>
                    <a:gd name="connsiteY1" fmla="*/ 0 h 1803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7963" h="18035">
                      <a:moveTo>
                        <a:pt x="0" y="18035"/>
                      </a:moveTo>
                      <a:lnTo>
                        <a:pt x="17964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02" name="Forma livre: Forma 201">
                  <a:extLst>
                    <a:ext uri="{FF2B5EF4-FFF2-40B4-BE49-F238E27FC236}">
                      <a16:creationId xmlns:a16="http://schemas.microsoft.com/office/drawing/2014/main" id="{F25B86DE-B6F1-AE46-93B6-C849E4B8A59E}"/>
                    </a:ext>
                  </a:extLst>
                </p:cNvPr>
                <p:cNvSpPr/>
                <p:nvPr/>
              </p:nvSpPr>
              <p:spPr>
                <a:xfrm>
                  <a:off x="2603128" y="3143198"/>
                  <a:ext cx="17951" cy="18035"/>
                </a:xfrm>
                <a:custGeom>
                  <a:avLst/>
                  <a:gdLst>
                    <a:gd name="connsiteX0" fmla="*/ 0 w 17951"/>
                    <a:gd name="connsiteY0" fmla="*/ 0 h 18035"/>
                    <a:gd name="connsiteX1" fmla="*/ 17952 w 17951"/>
                    <a:gd name="connsiteY1" fmla="*/ 18035 h 1803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7951" h="18035">
                      <a:moveTo>
                        <a:pt x="0" y="0"/>
                      </a:moveTo>
                      <a:lnTo>
                        <a:pt x="17952" y="18035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203" name="Forma livre: Forma 202">
                <a:extLst>
                  <a:ext uri="{FF2B5EF4-FFF2-40B4-BE49-F238E27FC236}">
                    <a16:creationId xmlns:a16="http://schemas.microsoft.com/office/drawing/2014/main" id="{0143BE54-BEFC-087D-C4A9-CC0CB175458D}"/>
                  </a:ext>
                </a:extLst>
              </p:cNvPr>
              <p:cNvSpPr/>
              <p:nvPr/>
            </p:nvSpPr>
            <p:spPr>
              <a:xfrm>
                <a:off x="2627627" y="3145983"/>
                <a:ext cx="195540" cy="214146"/>
              </a:xfrm>
              <a:custGeom>
                <a:avLst/>
                <a:gdLst>
                  <a:gd name="connsiteX0" fmla="*/ 97735 w 195540"/>
                  <a:gd name="connsiteY0" fmla="*/ 0 h 214146"/>
                  <a:gd name="connsiteX1" fmla="*/ 0 w 195540"/>
                  <a:gd name="connsiteY1" fmla="*/ 95830 h 214146"/>
                  <a:gd name="connsiteX2" fmla="*/ 17666 w 195540"/>
                  <a:gd name="connsiteY2" fmla="*/ 150840 h 214146"/>
                  <a:gd name="connsiteX3" fmla="*/ 29975 w 195540"/>
                  <a:gd name="connsiteY3" fmla="*/ 163018 h 214146"/>
                  <a:gd name="connsiteX4" fmla="*/ 60486 w 195540"/>
                  <a:gd name="connsiteY4" fmla="*/ 214147 h 214146"/>
                  <a:gd name="connsiteX5" fmla="*/ 134995 w 195540"/>
                  <a:gd name="connsiteY5" fmla="*/ 214147 h 214146"/>
                  <a:gd name="connsiteX6" fmla="*/ 165625 w 195540"/>
                  <a:gd name="connsiteY6" fmla="*/ 162946 h 214146"/>
                  <a:gd name="connsiteX7" fmla="*/ 177696 w 195540"/>
                  <a:gd name="connsiteY7" fmla="*/ 151066 h 214146"/>
                  <a:gd name="connsiteX8" fmla="*/ 195541 w 195540"/>
                  <a:gd name="connsiteY8" fmla="*/ 95842 h 214146"/>
                  <a:gd name="connsiteX9" fmla="*/ 97735 w 195540"/>
                  <a:gd name="connsiteY9" fmla="*/ 12 h 2141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95540" h="214146">
                    <a:moveTo>
                      <a:pt x="97735" y="0"/>
                    </a:moveTo>
                    <a:cubicBezTo>
                      <a:pt x="43844" y="0"/>
                      <a:pt x="0" y="42987"/>
                      <a:pt x="0" y="95830"/>
                    </a:cubicBezTo>
                    <a:cubicBezTo>
                      <a:pt x="0" y="117912"/>
                      <a:pt x="6035" y="136543"/>
                      <a:pt x="17666" y="150840"/>
                    </a:cubicBezTo>
                    <a:cubicBezTo>
                      <a:pt x="21761" y="155280"/>
                      <a:pt x="25940" y="159208"/>
                      <a:pt x="29975" y="163018"/>
                    </a:cubicBezTo>
                    <a:cubicBezTo>
                      <a:pt x="43617" y="175886"/>
                      <a:pt x="56546" y="188196"/>
                      <a:pt x="60486" y="214147"/>
                    </a:cubicBezTo>
                    <a:lnTo>
                      <a:pt x="134995" y="214147"/>
                    </a:lnTo>
                    <a:cubicBezTo>
                      <a:pt x="138935" y="188017"/>
                      <a:pt x="151935" y="175827"/>
                      <a:pt x="165625" y="162946"/>
                    </a:cubicBezTo>
                    <a:cubicBezTo>
                      <a:pt x="169637" y="159173"/>
                      <a:pt x="173803" y="155256"/>
                      <a:pt x="177696" y="151066"/>
                    </a:cubicBezTo>
                    <a:cubicBezTo>
                      <a:pt x="190195" y="136305"/>
                      <a:pt x="195541" y="119793"/>
                      <a:pt x="195541" y="95842"/>
                    </a:cubicBezTo>
                    <a:cubicBezTo>
                      <a:pt x="195541" y="42998"/>
                      <a:pt x="151673" y="12"/>
                      <a:pt x="97735" y="12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04" name="Forma livre: Forma 203">
                <a:extLst>
                  <a:ext uri="{FF2B5EF4-FFF2-40B4-BE49-F238E27FC236}">
                    <a16:creationId xmlns:a16="http://schemas.microsoft.com/office/drawing/2014/main" id="{2C2958F0-4CD6-3C6D-6A2A-772DEA754DEF}"/>
                  </a:ext>
                </a:extLst>
              </p:cNvPr>
              <p:cNvSpPr/>
              <p:nvPr/>
            </p:nvSpPr>
            <p:spPr>
              <a:xfrm>
                <a:off x="2692161" y="3416533"/>
                <a:ext cx="66497" cy="11368"/>
              </a:xfrm>
              <a:custGeom>
                <a:avLst/>
                <a:gdLst>
                  <a:gd name="connsiteX0" fmla="*/ 0 w 66497"/>
                  <a:gd name="connsiteY0" fmla="*/ 0 h 11368"/>
                  <a:gd name="connsiteX1" fmla="*/ 12928 w 66497"/>
                  <a:gd name="connsiteY1" fmla="*/ 0 h 11368"/>
                  <a:gd name="connsiteX2" fmla="*/ 33249 w 66497"/>
                  <a:gd name="connsiteY2" fmla="*/ 11369 h 11368"/>
                  <a:gd name="connsiteX3" fmla="*/ 53569 w 66497"/>
                  <a:gd name="connsiteY3" fmla="*/ 0 h 11368"/>
                  <a:gd name="connsiteX4" fmla="*/ 66498 w 66497"/>
                  <a:gd name="connsiteY4" fmla="*/ 0 h 113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6497" h="11368">
                    <a:moveTo>
                      <a:pt x="0" y="0"/>
                    </a:moveTo>
                    <a:lnTo>
                      <a:pt x="12928" y="0"/>
                    </a:lnTo>
                    <a:cubicBezTo>
                      <a:pt x="16178" y="4488"/>
                      <a:pt x="23261" y="11369"/>
                      <a:pt x="33249" y="11369"/>
                    </a:cubicBezTo>
                    <a:cubicBezTo>
                      <a:pt x="43237" y="11369"/>
                      <a:pt x="50296" y="4500"/>
                      <a:pt x="53569" y="0"/>
                    </a:cubicBezTo>
                    <a:lnTo>
                      <a:pt x="66498" y="0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205" name="Gráfico 4">
            <a:extLst>
              <a:ext uri="{FF2B5EF4-FFF2-40B4-BE49-F238E27FC236}">
                <a16:creationId xmlns:a16="http://schemas.microsoft.com/office/drawing/2014/main" id="{F8B0234D-70ED-50A4-5DBE-1D0F34A2C698}"/>
              </a:ext>
            </a:extLst>
          </p:cNvPr>
          <p:cNvGrpSpPr/>
          <p:nvPr/>
        </p:nvGrpSpPr>
        <p:grpSpPr>
          <a:xfrm>
            <a:off x="2563749" y="2573718"/>
            <a:ext cx="322776" cy="314202"/>
            <a:chOff x="2563749" y="2573718"/>
            <a:chExt cx="322776" cy="314202"/>
          </a:xfrm>
          <a:noFill/>
        </p:grpSpPr>
        <p:grpSp>
          <p:nvGrpSpPr>
            <p:cNvPr id="206" name="Gráfico 4">
              <a:extLst>
                <a:ext uri="{FF2B5EF4-FFF2-40B4-BE49-F238E27FC236}">
                  <a16:creationId xmlns:a16="http://schemas.microsoft.com/office/drawing/2014/main" id="{984BB82B-D415-1289-FAC0-BC84FA7254DD}"/>
                </a:ext>
              </a:extLst>
            </p:cNvPr>
            <p:cNvGrpSpPr/>
            <p:nvPr/>
          </p:nvGrpSpPr>
          <p:grpSpPr>
            <a:xfrm>
              <a:off x="2563749" y="2756293"/>
              <a:ext cx="322776" cy="131628"/>
              <a:chOff x="2563749" y="2756293"/>
              <a:chExt cx="322776" cy="131628"/>
            </a:xfrm>
            <a:noFill/>
          </p:grpSpPr>
          <p:sp>
            <p:nvSpPr>
              <p:cNvPr id="207" name="Forma livre: Forma 206">
                <a:extLst>
                  <a:ext uri="{FF2B5EF4-FFF2-40B4-BE49-F238E27FC236}">
                    <a16:creationId xmlns:a16="http://schemas.microsoft.com/office/drawing/2014/main" id="{09156E8A-07DC-C054-BC06-1573B5851B45}"/>
                  </a:ext>
                </a:extLst>
              </p:cNvPr>
              <p:cNvSpPr/>
              <p:nvPr/>
            </p:nvSpPr>
            <p:spPr>
              <a:xfrm>
                <a:off x="2603557" y="2756293"/>
                <a:ext cx="282967" cy="131628"/>
              </a:xfrm>
              <a:custGeom>
                <a:avLst/>
                <a:gdLst>
                  <a:gd name="connsiteX0" fmla="*/ 193136 w 282967"/>
                  <a:gd name="connsiteY0" fmla="*/ 32834 h 131628"/>
                  <a:gd name="connsiteX1" fmla="*/ 251015 w 282967"/>
                  <a:gd name="connsiteY1" fmla="*/ 3252 h 131628"/>
                  <a:gd name="connsiteX2" fmla="*/ 280740 w 282967"/>
                  <a:gd name="connsiteY2" fmla="*/ 9728 h 131628"/>
                  <a:gd name="connsiteX3" fmla="*/ 270216 w 282967"/>
                  <a:gd name="connsiteY3" fmla="*/ 38965 h 131628"/>
                  <a:gd name="connsiteX4" fmla="*/ 150114 w 282967"/>
                  <a:gd name="connsiteY4" fmla="*/ 103344 h 131628"/>
                  <a:gd name="connsiteX5" fmla="*/ 143757 w 282967"/>
                  <a:gd name="connsiteY5" fmla="*/ 104939 h 131628"/>
                  <a:gd name="connsiteX6" fmla="*/ 31749 w 282967"/>
                  <a:gd name="connsiteY6" fmla="*/ 107962 h 131628"/>
                  <a:gd name="connsiteX7" fmla="*/ 0 w 282967"/>
                  <a:gd name="connsiteY7" fmla="*/ 131628 h 1316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82967" h="131628">
                    <a:moveTo>
                      <a:pt x="193136" y="32834"/>
                    </a:moveTo>
                    <a:lnTo>
                      <a:pt x="251015" y="3252"/>
                    </a:lnTo>
                    <a:cubicBezTo>
                      <a:pt x="262205" y="-2760"/>
                      <a:pt x="275323" y="-343"/>
                      <a:pt x="280740" y="9728"/>
                    </a:cubicBezTo>
                    <a:cubicBezTo>
                      <a:pt x="286132" y="19799"/>
                      <a:pt x="281395" y="32965"/>
                      <a:pt x="270216" y="38965"/>
                    </a:cubicBezTo>
                    <a:lnTo>
                      <a:pt x="150114" y="103344"/>
                    </a:lnTo>
                    <a:lnTo>
                      <a:pt x="143757" y="104939"/>
                    </a:lnTo>
                    <a:lnTo>
                      <a:pt x="31749" y="107962"/>
                    </a:lnTo>
                    <a:cubicBezTo>
                      <a:pt x="31749" y="107962"/>
                      <a:pt x="17321" y="111998"/>
                      <a:pt x="0" y="131628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08" name="Forma livre: Forma 207">
                <a:extLst>
                  <a:ext uri="{FF2B5EF4-FFF2-40B4-BE49-F238E27FC236}">
                    <a16:creationId xmlns:a16="http://schemas.microsoft.com/office/drawing/2014/main" id="{DF61D131-97FB-D6BE-68BB-F60FD54CDD21}"/>
                  </a:ext>
                </a:extLst>
              </p:cNvPr>
              <p:cNvSpPr/>
              <p:nvPr/>
            </p:nvSpPr>
            <p:spPr>
              <a:xfrm>
                <a:off x="2563749" y="2772211"/>
                <a:ext cx="213587" cy="56819"/>
              </a:xfrm>
              <a:custGeom>
                <a:avLst/>
                <a:gdLst>
                  <a:gd name="connsiteX0" fmla="*/ 0 w 213587"/>
                  <a:gd name="connsiteY0" fmla="*/ 56819 h 56819"/>
                  <a:gd name="connsiteX1" fmla="*/ 50808 w 213587"/>
                  <a:gd name="connsiteY1" fmla="*/ 10048 h 56819"/>
                  <a:gd name="connsiteX2" fmla="*/ 105080 w 213587"/>
                  <a:gd name="connsiteY2" fmla="*/ 2548 h 56819"/>
                  <a:gd name="connsiteX3" fmla="*/ 145816 w 213587"/>
                  <a:gd name="connsiteY3" fmla="*/ 7143 h 56819"/>
                  <a:gd name="connsiteX4" fmla="*/ 189779 w 213587"/>
                  <a:gd name="connsiteY4" fmla="*/ 7143 h 56819"/>
                  <a:gd name="connsiteX5" fmla="*/ 213587 w 213587"/>
                  <a:gd name="connsiteY5" fmla="*/ 27928 h 56819"/>
                  <a:gd name="connsiteX6" fmla="*/ 189779 w 213587"/>
                  <a:gd name="connsiteY6" fmla="*/ 48713 h 56819"/>
                  <a:gd name="connsiteX7" fmla="*/ 128960 w 213587"/>
                  <a:gd name="connsiteY7" fmla="*/ 48713 h 568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13587" h="56819">
                    <a:moveTo>
                      <a:pt x="0" y="56819"/>
                    </a:moveTo>
                    <a:lnTo>
                      <a:pt x="50808" y="10048"/>
                    </a:lnTo>
                    <a:cubicBezTo>
                      <a:pt x="75640" y="-6702"/>
                      <a:pt x="105080" y="2548"/>
                      <a:pt x="105080" y="2548"/>
                    </a:cubicBezTo>
                    <a:cubicBezTo>
                      <a:pt x="119341" y="6298"/>
                      <a:pt x="145816" y="7143"/>
                      <a:pt x="145816" y="7143"/>
                    </a:cubicBezTo>
                    <a:lnTo>
                      <a:pt x="189779" y="7143"/>
                    </a:lnTo>
                    <a:cubicBezTo>
                      <a:pt x="202874" y="7143"/>
                      <a:pt x="213587" y="16500"/>
                      <a:pt x="213587" y="27928"/>
                    </a:cubicBezTo>
                    <a:cubicBezTo>
                      <a:pt x="213587" y="39356"/>
                      <a:pt x="202874" y="48713"/>
                      <a:pt x="189779" y="48713"/>
                    </a:cubicBezTo>
                    <a:lnTo>
                      <a:pt x="128960" y="48713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209" name="Gráfico 4">
              <a:extLst>
                <a:ext uri="{FF2B5EF4-FFF2-40B4-BE49-F238E27FC236}">
                  <a16:creationId xmlns:a16="http://schemas.microsoft.com/office/drawing/2014/main" id="{231C940C-F83B-DFA6-E246-E19CAD9EE95E}"/>
                </a:ext>
              </a:extLst>
            </p:cNvPr>
            <p:cNvGrpSpPr/>
            <p:nvPr/>
          </p:nvGrpSpPr>
          <p:grpSpPr>
            <a:xfrm>
              <a:off x="2712362" y="2614146"/>
              <a:ext cx="52736" cy="133352"/>
              <a:chOff x="2712362" y="2614146"/>
              <a:chExt cx="52736" cy="133352"/>
            </a:xfrm>
            <a:noFill/>
          </p:grpSpPr>
          <p:sp>
            <p:nvSpPr>
              <p:cNvPr id="210" name="Forma livre: Forma 209">
                <a:extLst>
                  <a:ext uri="{FF2B5EF4-FFF2-40B4-BE49-F238E27FC236}">
                    <a16:creationId xmlns:a16="http://schemas.microsoft.com/office/drawing/2014/main" id="{20685F9E-E5D2-E1FC-9143-ED2DFC389730}"/>
                  </a:ext>
                </a:extLst>
              </p:cNvPr>
              <p:cNvSpPr/>
              <p:nvPr/>
            </p:nvSpPr>
            <p:spPr>
              <a:xfrm>
                <a:off x="2712362" y="2630681"/>
                <a:ext cx="52736" cy="100282"/>
              </a:xfrm>
              <a:custGeom>
                <a:avLst/>
                <a:gdLst>
                  <a:gd name="connsiteX0" fmla="*/ 119 w 52736"/>
                  <a:gd name="connsiteY0" fmla="*/ 75819 h 100282"/>
                  <a:gd name="connsiteX1" fmla="*/ 26416 w 52736"/>
                  <a:gd name="connsiteY1" fmla="*/ 100282 h 100282"/>
                  <a:gd name="connsiteX2" fmla="*/ 52736 w 52736"/>
                  <a:gd name="connsiteY2" fmla="*/ 75819 h 100282"/>
                  <a:gd name="connsiteX3" fmla="*/ 26368 w 52736"/>
                  <a:gd name="connsiteY3" fmla="*/ 50129 h 100282"/>
                  <a:gd name="connsiteX4" fmla="*/ 0 w 52736"/>
                  <a:gd name="connsiteY4" fmla="*/ 24463 h 100282"/>
                  <a:gd name="connsiteX5" fmla="*/ 26309 w 52736"/>
                  <a:gd name="connsiteY5" fmla="*/ 0 h 100282"/>
                  <a:gd name="connsiteX6" fmla="*/ 52617 w 52736"/>
                  <a:gd name="connsiteY6" fmla="*/ 24463 h 1002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52736" h="100282">
                    <a:moveTo>
                      <a:pt x="119" y="75819"/>
                    </a:moveTo>
                    <a:cubicBezTo>
                      <a:pt x="119" y="89342"/>
                      <a:pt x="11904" y="100282"/>
                      <a:pt x="26416" y="100282"/>
                    </a:cubicBezTo>
                    <a:cubicBezTo>
                      <a:pt x="40927" y="100282"/>
                      <a:pt x="52736" y="89342"/>
                      <a:pt x="52736" y="75819"/>
                    </a:cubicBezTo>
                    <a:cubicBezTo>
                      <a:pt x="52736" y="62295"/>
                      <a:pt x="38689" y="56391"/>
                      <a:pt x="26368" y="50129"/>
                    </a:cubicBezTo>
                    <a:cubicBezTo>
                      <a:pt x="14035" y="43879"/>
                      <a:pt x="0" y="37963"/>
                      <a:pt x="0" y="24463"/>
                    </a:cubicBezTo>
                    <a:cubicBezTo>
                      <a:pt x="0" y="10964"/>
                      <a:pt x="11761" y="0"/>
                      <a:pt x="26309" y="0"/>
                    </a:cubicBezTo>
                    <a:cubicBezTo>
                      <a:pt x="40856" y="0"/>
                      <a:pt x="52617" y="10952"/>
                      <a:pt x="52617" y="24463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11" name="Forma livre: Forma 210">
                <a:extLst>
                  <a:ext uri="{FF2B5EF4-FFF2-40B4-BE49-F238E27FC236}">
                    <a16:creationId xmlns:a16="http://schemas.microsoft.com/office/drawing/2014/main" id="{992684D0-4C14-CFA5-4D51-D118C17B8B86}"/>
                  </a:ext>
                </a:extLst>
              </p:cNvPr>
              <p:cNvSpPr/>
              <p:nvPr/>
            </p:nvSpPr>
            <p:spPr>
              <a:xfrm>
                <a:off x="2738683" y="2614146"/>
                <a:ext cx="1190" cy="16404"/>
              </a:xfrm>
              <a:custGeom>
                <a:avLst/>
                <a:gdLst>
                  <a:gd name="connsiteX0" fmla="*/ 0 w 1190"/>
                  <a:gd name="connsiteY0" fmla="*/ 16404 h 16404"/>
                  <a:gd name="connsiteX1" fmla="*/ 0 w 1190"/>
                  <a:gd name="connsiteY1" fmla="*/ 0 h 164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0" h="16404">
                    <a:moveTo>
                      <a:pt x="0" y="16404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12" name="Forma livre: Forma 211">
                <a:extLst>
                  <a:ext uri="{FF2B5EF4-FFF2-40B4-BE49-F238E27FC236}">
                    <a16:creationId xmlns:a16="http://schemas.microsoft.com/office/drawing/2014/main" id="{377DC3FD-7031-7027-CC0D-5947B448B854}"/>
                  </a:ext>
                </a:extLst>
              </p:cNvPr>
              <p:cNvSpPr/>
              <p:nvPr/>
            </p:nvSpPr>
            <p:spPr>
              <a:xfrm>
                <a:off x="2738683" y="2731094"/>
                <a:ext cx="1190" cy="16404"/>
              </a:xfrm>
              <a:custGeom>
                <a:avLst/>
                <a:gdLst>
                  <a:gd name="connsiteX0" fmla="*/ 0 w 1190"/>
                  <a:gd name="connsiteY0" fmla="*/ 16404 h 16404"/>
                  <a:gd name="connsiteX1" fmla="*/ 0 w 1190"/>
                  <a:gd name="connsiteY1" fmla="*/ 0 h 164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0" h="16404">
                    <a:moveTo>
                      <a:pt x="0" y="16404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213" name="Gráfico 4">
              <a:extLst>
                <a:ext uri="{FF2B5EF4-FFF2-40B4-BE49-F238E27FC236}">
                  <a16:creationId xmlns:a16="http://schemas.microsoft.com/office/drawing/2014/main" id="{B005B81A-AD67-EBCB-261D-7AF82D802BC8}"/>
                </a:ext>
              </a:extLst>
            </p:cNvPr>
            <p:cNvGrpSpPr/>
            <p:nvPr/>
          </p:nvGrpSpPr>
          <p:grpSpPr>
            <a:xfrm>
              <a:off x="2628722" y="2573718"/>
              <a:ext cx="220027" cy="173350"/>
              <a:chOff x="2628722" y="2573718"/>
              <a:chExt cx="220027" cy="173350"/>
            </a:xfrm>
            <a:noFill/>
          </p:grpSpPr>
          <p:sp>
            <p:nvSpPr>
              <p:cNvPr id="214" name="Forma livre: Forma 213">
                <a:extLst>
                  <a:ext uri="{FF2B5EF4-FFF2-40B4-BE49-F238E27FC236}">
                    <a16:creationId xmlns:a16="http://schemas.microsoft.com/office/drawing/2014/main" id="{42D33480-3694-5F59-3EF1-42CCF9E669CD}"/>
                  </a:ext>
                </a:extLst>
              </p:cNvPr>
              <p:cNvSpPr/>
              <p:nvPr/>
            </p:nvSpPr>
            <p:spPr>
              <a:xfrm>
                <a:off x="2628722" y="2604717"/>
                <a:ext cx="33463" cy="142351"/>
              </a:xfrm>
              <a:custGeom>
                <a:avLst/>
                <a:gdLst>
                  <a:gd name="connsiteX0" fmla="*/ 20059 w 33463"/>
                  <a:gd name="connsiteY0" fmla="*/ 142352 h 142351"/>
                  <a:gd name="connsiteX1" fmla="*/ 0 w 33463"/>
                  <a:gd name="connsiteY1" fmla="*/ 79009 h 142351"/>
                  <a:gd name="connsiteX2" fmla="*/ 33463 w 33463"/>
                  <a:gd name="connsiteY2" fmla="*/ 0 h 1423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3463" h="142351">
                    <a:moveTo>
                      <a:pt x="20059" y="142352"/>
                    </a:moveTo>
                    <a:cubicBezTo>
                      <a:pt x="7416" y="124448"/>
                      <a:pt x="0" y="102591"/>
                      <a:pt x="0" y="79009"/>
                    </a:cubicBezTo>
                    <a:cubicBezTo>
                      <a:pt x="0" y="48010"/>
                      <a:pt x="12833" y="19999"/>
                      <a:pt x="33463" y="0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15" name="Forma livre: Forma 214">
                <a:extLst>
                  <a:ext uri="{FF2B5EF4-FFF2-40B4-BE49-F238E27FC236}">
                    <a16:creationId xmlns:a16="http://schemas.microsoft.com/office/drawing/2014/main" id="{E97B3E1A-6735-B30A-FD76-9AD6A2440DB9}"/>
                  </a:ext>
                </a:extLst>
              </p:cNvPr>
              <p:cNvSpPr/>
              <p:nvPr/>
            </p:nvSpPr>
            <p:spPr>
              <a:xfrm>
                <a:off x="2693053" y="2573718"/>
                <a:ext cx="155696" cy="167053"/>
              </a:xfrm>
              <a:custGeom>
                <a:avLst/>
                <a:gdLst>
                  <a:gd name="connsiteX0" fmla="*/ 0 w 155696"/>
                  <a:gd name="connsiteY0" fmla="*/ 9904 h 167053"/>
                  <a:gd name="connsiteX1" fmla="*/ 45677 w 155696"/>
                  <a:gd name="connsiteY1" fmla="*/ 0 h 167053"/>
                  <a:gd name="connsiteX2" fmla="*/ 155697 w 155696"/>
                  <a:gd name="connsiteY2" fmla="*/ 110008 h 167053"/>
                  <a:gd name="connsiteX3" fmla="*/ 139781 w 155696"/>
                  <a:gd name="connsiteY3" fmla="*/ 167053 h 1670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55696" h="167053">
                    <a:moveTo>
                      <a:pt x="0" y="9904"/>
                    </a:moveTo>
                    <a:cubicBezTo>
                      <a:pt x="13916" y="3547"/>
                      <a:pt x="29380" y="0"/>
                      <a:pt x="45677" y="0"/>
                    </a:cubicBezTo>
                    <a:cubicBezTo>
                      <a:pt x="106437" y="0"/>
                      <a:pt x="155697" y="49260"/>
                      <a:pt x="155697" y="110008"/>
                    </a:cubicBezTo>
                    <a:cubicBezTo>
                      <a:pt x="155697" y="130900"/>
                      <a:pt x="149876" y="150423"/>
                      <a:pt x="139781" y="167053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216" name="Gráfico 4">
            <a:extLst>
              <a:ext uri="{FF2B5EF4-FFF2-40B4-BE49-F238E27FC236}">
                <a16:creationId xmlns:a16="http://schemas.microsoft.com/office/drawing/2014/main" id="{4B1A37F7-F1E8-E49D-E261-25AFD2B8FD7B}"/>
              </a:ext>
            </a:extLst>
          </p:cNvPr>
          <p:cNvGrpSpPr/>
          <p:nvPr/>
        </p:nvGrpSpPr>
        <p:grpSpPr>
          <a:xfrm>
            <a:off x="2586697" y="2048238"/>
            <a:ext cx="276897" cy="307964"/>
            <a:chOff x="2586697" y="2048238"/>
            <a:chExt cx="276897" cy="307964"/>
          </a:xfrm>
          <a:noFill/>
        </p:grpSpPr>
        <p:grpSp>
          <p:nvGrpSpPr>
            <p:cNvPr id="217" name="Gráfico 4">
              <a:extLst>
                <a:ext uri="{FF2B5EF4-FFF2-40B4-BE49-F238E27FC236}">
                  <a16:creationId xmlns:a16="http://schemas.microsoft.com/office/drawing/2014/main" id="{3983490E-1059-0F78-CC62-E3CEBDDB330C}"/>
                </a:ext>
              </a:extLst>
            </p:cNvPr>
            <p:cNvGrpSpPr/>
            <p:nvPr/>
          </p:nvGrpSpPr>
          <p:grpSpPr>
            <a:xfrm>
              <a:off x="2658638" y="2077201"/>
              <a:ext cx="158541" cy="214075"/>
              <a:chOff x="2658638" y="2077201"/>
              <a:chExt cx="158541" cy="214075"/>
            </a:xfrm>
            <a:noFill/>
          </p:grpSpPr>
          <p:sp>
            <p:nvSpPr>
              <p:cNvPr id="218" name="Forma livre: Forma 217">
                <a:extLst>
                  <a:ext uri="{FF2B5EF4-FFF2-40B4-BE49-F238E27FC236}">
                    <a16:creationId xmlns:a16="http://schemas.microsoft.com/office/drawing/2014/main" id="{17E9FF78-9CC5-5408-6F52-A20ED7268C35}"/>
                  </a:ext>
                </a:extLst>
              </p:cNvPr>
              <p:cNvSpPr/>
              <p:nvPr/>
            </p:nvSpPr>
            <p:spPr>
              <a:xfrm>
                <a:off x="2723576" y="2077201"/>
                <a:ext cx="93603" cy="214075"/>
              </a:xfrm>
              <a:custGeom>
                <a:avLst/>
                <a:gdLst>
                  <a:gd name="connsiteX0" fmla="*/ 93604 w 93603"/>
                  <a:gd name="connsiteY0" fmla="*/ 0 h 214075"/>
                  <a:gd name="connsiteX1" fmla="*/ 93604 w 93603"/>
                  <a:gd name="connsiteY1" fmla="*/ 190053 h 214075"/>
                  <a:gd name="connsiteX2" fmla="*/ 69593 w 93603"/>
                  <a:gd name="connsiteY2" fmla="*/ 214075 h 214075"/>
                  <a:gd name="connsiteX3" fmla="*/ 0 w 93603"/>
                  <a:gd name="connsiteY3" fmla="*/ 214075 h 2140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3603" h="214075">
                    <a:moveTo>
                      <a:pt x="93604" y="0"/>
                    </a:moveTo>
                    <a:lnTo>
                      <a:pt x="93604" y="190053"/>
                    </a:lnTo>
                    <a:cubicBezTo>
                      <a:pt x="93604" y="203266"/>
                      <a:pt x="82795" y="214075"/>
                      <a:pt x="69593" y="214075"/>
                    </a:cubicBezTo>
                    <a:lnTo>
                      <a:pt x="0" y="214075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19" name="Forma livre: Forma 218">
                <a:extLst>
                  <a:ext uri="{FF2B5EF4-FFF2-40B4-BE49-F238E27FC236}">
                    <a16:creationId xmlns:a16="http://schemas.microsoft.com/office/drawing/2014/main" id="{6A7CD7D0-39BC-47BE-6998-8E4F2E9F4B97}"/>
                  </a:ext>
                </a:extLst>
              </p:cNvPr>
              <p:cNvSpPr/>
              <p:nvPr/>
            </p:nvSpPr>
            <p:spPr>
              <a:xfrm>
                <a:off x="2658638" y="2077201"/>
                <a:ext cx="1190" cy="143732"/>
              </a:xfrm>
              <a:custGeom>
                <a:avLst/>
                <a:gdLst>
                  <a:gd name="connsiteX0" fmla="*/ 0 w 1190"/>
                  <a:gd name="connsiteY0" fmla="*/ 143733 h 143732"/>
                  <a:gd name="connsiteX1" fmla="*/ 0 w 1190"/>
                  <a:gd name="connsiteY1" fmla="*/ 0 h 1437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0" h="143732">
                    <a:moveTo>
                      <a:pt x="0" y="143733"/>
                    </a:moveTo>
                    <a:lnTo>
                      <a:pt x="0" y="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20" name="Forma livre: Forma 219">
                <a:extLst>
                  <a:ext uri="{FF2B5EF4-FFF2-40B4-BE49-F238E27FC236}">
                    <a16:creationId xmlns:a16="http://schemas.microsoft.com/office/drawing/2014/main" id="{8BCB9129-3F0D-66CD-F760-BBDC0BF1C40A}"/>
                  </a:ext>
                </a:extLst>
              </p:cNvPr>
              <p:cNvSpPr/>
              <p:nvPr/>
            </p:nvSpPr>
            <p:spPr>
              <a:xfrm>
                <a:off x="2773931" y="2077201"/>
                <a:ext cx="1190" cy="213349"/>
              </a:xfrm>
              <a:custGeom>
                <a:avLst/>
                <a:gdLst>
                  <a:gd name="connsiteX0" fmla="*/ 0 w 1190"/>
                  <a:gd name="connsiteY0" fmla="*/ 0 h 213349"/>
                  <a:gd name="connsiteX1" fmla="*/ 0 w 1190"/>
                  <a:gd name="connsiteY1" fmla="*/ 213349 h 2133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0" h="213349">
                    <a:moveTo>
                      <a:pt x="0" y="0"/>
                    </a:moveTo>
                    <a:lnTo>
                      <a:pt x="0" y="213349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221" name="Forma livre: Forma 220">
              <a:extLst>
                <a:ext uri="{FF2B5EF4-FFF2-40B4-BE49-F238E27FC236}">
                  <a16:creationId xmlns:a16="http://schemas.microsoft.com/office/drawing/2014/main" id="{9E2EA805-BCB3-1344-A326-3BB20E9F0414}"/>
                </a:ext>
              </a:extLst>
            </p:cNvPr>
            <p:cNvSpPr/>
            <p:nvPr/>
          </p:nvSpPr>
          <p:spPr>
            <a:xfrm>
              <a:off x="2633234" y="2213494"/>
              <a:ext cx="95979" cy="142708"/>
            </a:xfrm>
            <a:custGeom>
              <a:avLst/>
              <a:gdLst>
                <a:gd name="connsiteX0" fmla="*/ 0 w 95979"/>
                <a:gd name="connsiteY0" fmla="*/ 68747 h 142708"/>
                <a:gd name="connsiteX1" fmla="*/ 55796 w 95979"/>
                <a:gd name="connsiteY1" fmla="*/ 8868 h 142708"/>
                <a:gd name="connsiteX2" fmla="*/ 88902 w 95979"/>
                <a:gd name="connsiteY2" fmla="*/ 4547 h 142708"/>
                <a:gd name="connsiteX3" fmla="*/ 90711 w 95979"/>
                <a:gd name="connsiteY3" fmla="*/ 38771 h 142708"/>
                <a:gd name="connsiteX4" fmla="*/ 20606 w 95979"/>
                <a:gd name="connsiteY4" fmla="*/ 142708 h 1427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5979" h="142708">
                  <a:moveTo>
                    <a:pt x="0" y="68747"/>
                  </a:moveTo>
                  <a:lnTo>
                    <a:pt x="55796" y="8868"/>
                  </a:lnTo>
                  <a:cubicBezTo>
                    <a:pt x="65331" y="-977"/>
                    <a:pt x="80223" y="-2929"/>
                    <a:pt x="88902" y="4547"/>
                  </a:cubicBezTo>
                  <a:cubicBezTo>
                    <a:pt x="97580" y="12011"/>
                    <a:pt x="98389" y="27415"/>
                    <a:pt x="90711" y="38771"/>
                  </a:cubicBezTo>
                  <a:lnTo>
                    <a:pt x="20606" y="142708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22" name="Forma livre: Forma 221">
              <a:extLst>
                <a:ext uri="{FF2B5EF4-FFF2-40B4-BE49-F238E27FC236}">
                  <a16:creationId xmlns:a16="http://schemas.microsoft.com/office/drawing/2014/main" id="{C8242457-CE7C-1F23-F1E2-AD462E68C2A0}"/>
                </a:ext>
              </a:extLst>
            </p:cNvPr>
            <p:cNvSpPr/>
            <p:nvPr/>
          </p:nvSpPr>
          <p:spPr>
            <a:xfrm>
              <a:off x="2586697" y="2177781"/>
              <a:ext cx="73917" cy="178207"/>
            </a:xfrm>
            <a:custGeom>
              <a:avLst/>
              <a:gdLst>
                <a:gd name="connsiteX0" fmla="*/ 73917 w 73917"/>
                <a:gd name="connsiteY0" fmla="*/ 0 h 178207"/>
                <a:gd name="connsiteX1" fmla="*/ 372 w 73917"/>
                <a:gd name="connsiteY1" fmla="*/ 70819 h 178207"/>
                <a:gd name="connsiteX2" fmla="*/ 2717 w 73917"/>
                <a:gd name="connsiteY2" fmla="*/ 178208 h 1782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73917" h="178207">
                  <a:moveTo>
                    <a:pt x="73917" y="0"/>
                  </a:moveTo>
                  <a:cubicBezTo>
                    <a:pt x="73917" y="0"/>
                    <a:pt x="2015" y="61224"/>
                    <a:pt x="372" y="70819"/>
                  </a:cubicBezTo>
                  <a:cubicBezTo>
                    <a:pt x="-973" y="78628"/>
                    <a:pt x="1682" y="150340"/>
                    <a:pt x="2717" y="178208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23" name="Forma livre: Forma 222">
              <a:extLst>
                <a:ext uri="{FF2B5EF4-FFF2-40B4-BE49-F238E27FC236}">
                  <a16:creationId xmlns:a16="http://schemas.microsoft.com/office/drawing/2014/main" id="{BAE70894-9DCF-610A-7C62-40C509D68A41}"/>
                </a:ext>
              </a:extLst>
            </p:cNvPr>
            <p:cNvSpPr/>
            <p:nvPr/>
          </p:nvSpPr>
          <p:spPr>
            <a:xfrm>
              <a:off x="2612235" y="2048238"/>
              <a:ext cx="251359" cy="54295"/>
            </a:xfrm>
            <a:custGeom>
              <a:avLst/>
              <a:gdLst>
                <a:gd name="connsiteX0" fmla="*/ 26856 w 251359"/>
                <a:gd name="connsiteY0" fmla="*/ 54296 h 54295"/>
                <a:gd name="connsiteX1" fmla="*/ 14880 w 251359"/>
                <a:gd name="connsiteY1" fmla="*/ 54296 h 54295"/>
                <a:gd name="connsiteX2" fmla="*/ 0 w 251359"/>
                <a:gd name="connsiteY2" fmla="*/ 39415 h 54295"/>
                <a:gd name="connsiteX3" fmla="*/ 0 w 251359"/>
                <a:gd name="connsiteY3" fmla="*/ 14880 h 54295"/>
                <a:gd name="connsiteX4" fmla="*/ 14880 w 251359"/>
                <a:gd name="connsiteY4" fmla="*/ 0 h 54295"/>
                <a:gd name="connsiteX5" fmla="*/ 236480 w 251359"/>
                <a:gd name="connsiteY5" fmla="*/ 0 h 54295"/>
                <a:gd name="connsiteX6" fmla="*/ 251360 w 251359"/>
                <a:gd name="connsiteY6" fmla="*/ 14880 h 54295"/>
                <a:gd name="connsiteX7" fmla="*/ 251360 w 251359"/>
                <a:gd name="connsiteY7" fmla="*/ 39415 h 54295"/>
                <a:gd name="connsiteX8" fmla="*/ 236480 w 251359"/>
                <a:gd name="connsiteY8" fmla="*/ 54296 h 54295"/>
                <a:gd name="connsiteX9" fmla="*/ 225956 w 251359"/>
                <a:gd name="connsiteY9" fmla="*/ 54296 h 542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51359" h="54295">
                  <a:moveTo>
                    <a:pt x="26856" y="54296"/>
                  </a:moveTo>
                  <a:lnTo>
                    <a:pt x="14880" y="54296"/>
                  </a:lnTo>
                  <a:cubicBezTo>
                    <a:pt x="6702" y="54296"/>
                    <a:pt x="0" y="47593"/>
                    <a:pt x="0" y="39415"/>
                  </a:cubicBezTo>
                  <a:lnTo>
                    <a:pt x="0" y="14880"/>
                  </a:lnTo>
                  <a:cubicBezTo>
                    <a:pt x="0" y="6690"/>
                    <a:pt x="6702" y="0"/>
                    <a:pt x="14880" y="0"/>
                  </a:cubicBezTo>
                  <a:lnTo>
                    <a:pt x="236480" y="0"/>
                  </a:lnTo>
                  <a:cubicBezTo>
                    <a:pt x="244658" y="0"/>
                    <a:pt x="251360" y="6690"/>
                    <a:pt x="251360" y="14880"/>
                  </a:cubicBezTo>
                  <a:lnTo>
                    <a:pt x="251360" y="39415"/>
                  </a:lnTo>
                  <a:cubicBezTo>
                    <a:pt x="251360" y="47593"/>
                    <a:pt x="244658" y="54296"/>
                    <a:pt x="236480" y="54296"/>
                  </a:cubicBezTo>
                  <a:lnTo>
                    <a:pt x="225956" y="54296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24" name="Forma livre: Forma 223">
              <a:extLst>
                <a:ext uri="{FF2B5EF4-FFF2-40B4-BE49-F238E27FC236}">
                  <a16:creationId xmlns:a16="http://schemas.microsoft.com/office/drawing/2014/main" id="{5C9122EF-D8EF-AA66-2755-CA40790ABE9C}"/>
                </a:ext>
              </a:extLst>
            </p:cNvPr>
            <p:cNvSpPr/>
            <p:nvPr/>
          </p:nvSpPr>
          <p:spPr>
            <a:xfrm>
              <a:off x="2638960" y="2075380"/>
              <a:ext cx="197909" cy="1190"/>
            </a:xfrm>
            <a:custGeom>
              <a:avLst/>
              <a:gdLst>
                <a:gd name="connsiteX0" fmla="*/ 0 w 197909"/>
                <a:gd name="connsiteY0" fmla="*/ 0 h 1190"/>
                <a:gd name="connsiteX1" fmla="*/ 197909 w 197909"/>
                <a:gd name="connsiteY1" fmla="*/ 0 h 11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97909" h="1190">
                  <a:moveTo>
                    <a:pt x="0" y="0"/>
                  </a:moveTo>
                  <a:lnTo>
                    <a:pt x="197909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225" name="Gráfico 4">
            <a:extLst>
              <a:ext uri="{FF2B5EF4-FFF2-40B4-BE49-F238E27FC236}">
                <a16:creationId xmlns:a16="http://schemas.microsoft.com/office/drawing/2014/main" id="{55045EAB-F936-3B00-737D-6A7E01018075}"/>
              </a:ext>
            </a:extLst>
          </p:cNvPr>
          <p:cNvGrpSpPr/>
          <p:nvPr/>
        </p:nvGrpSpPr>
        <p:grpSpPr>
          <a:xfrm>
            <a:off x="2618782" y="989622"/>
            <a:ext cx="212730" cy="310810"/>
            <a:chOff x="2618782" y="989622"/>
            <a:chExt cx="212730" cy="310810"/>
          </a:xfrm>
        </p:grpSpPr>
        <p:grpSp>
          <p:nvGrpSpPr>
            <p:cNvPr id="226" name="Gráfico 4">
              <a:extLst>
                <a:ext uri="{FF2B5EF4-FFF2-40B4-BE49-F238E27FC236}">
                  <a16:creationId xmlns:a16="http://schemas.microsoft.com/office/drawing/2014/main" id="{A578DAE7-26F0-D787-CC44-1432DDA6E7DD}"/>
                </a:ext>
              </a:extLst>
            </p:cNvPr>
            <p:cNvGrpSpPr/>
            <p:nvPr/>
          </p:nvGrpSpPr>
          <p:grpSpPr>
            <a:xfrm>
              <a:off x="2752301" y="1132212"/>
              <a:ext cx="45843" cy="105972"/>
              <a:chOff x="2752301" y="1132212"/>
              <a:chExt cx="45843" cy="105972"/>
            </a:xfrm>
            <a:noFill/>
          </p:grpSpPr>
          <p:sp>
            <p:nvSpPr>
              <p:cNvPr id="227" name="Forma livre: Forma 226">
                <a:extLst>
                  <a:ext uri="{FF2B5EF4-FFF2-40B4-BE49-F238E27FC236}">
                    <a16:creationId xmlns:a16="http://schemas.microsoft.com/office/drawing/2014/main" id="{B71D178F-07C9-A695-95B3-9DAAEBEEB38B}"/>
                  </a:ext>
                </a:extLst>
              </p:cNvPr>
              <p:cNvSpPr/>
              <p:nvPr/>
            </p:nvSpPr>
            <p:spPr>
              <a:xfrm>
                <a:off x="2752301" y="1148687"/>
                <a:ext cx="45843" cy="72187"/>
              </a:xfrm>
              <a:custGeom>
                <a:avLst/>
                <a:gdLst>
                  <a:gd name="connsiteX0" fmla="*/ 107 w 45843"/>
                  <a:gd name="connsiteY0" fmla="*/ 54569 h 72187"/>
                  <a:gd name="connsiteX1" fmla="*/ 22975 w 45843"/>
                  <a:gd name="connsiteY1" fmla="*/ 72188 h 72187"/>
                  <a:gd name="connsiteX2" fmla="*/ 45844 w 45843"/>
                  <a:gd name="connsiteY2" fmla="*/ 54569 h 72187"/>
                  <a:gd name="connsiteX3" fmla="*/ 22928 w 45843"/>
                  <a:gd name="connsiteY3" fmla="*/ 36094 h 72187"/>
                  <a:gd name="connsiteX4" fmla="*/ 0 w 45843"/>
                  <a:gd name="connsiteY4" fmla="*/ 17606 h 72187"/>
                  <a:gd name="connsiteX5" fmla="*/ 22880 w 45843"/>
                  <a:gd name="connsiteY5" fmla="*/ 0 h 72187"/>
                  <a:gd name="connsiteX6" fmla="*/ 45748 w 45843"/>
                  <a:gd name="connsiteY6" fmla="*/ 17606 h 721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5843" h="72187">
                    <a:moveTo>
                      <a:pt x="107" y="54569"/>
                    </a:moveTo>
                    <a:cubicBezTo>
                      <a:pt x="107" y="64295"/>
                      <a:pt x="10345" y="72188"/>
                      <a:pt x="22975" y="72188"/>
                    </a:cubicBezTo>
                    <a:cubicBezTo>
                      <a:pt x="35606" y="72188"/>
                      <a:pt x="45844" y="64307"/>
                      <a:pt x="45844" y="54569"/>
                    </a:cubicBezTo>
                    <a:cubicBezTo>
                      <a:pt x="45844" y="44832"/>
                      <a:pt x="33642" y="40594"/>
                      <a:pt x="22928" y="36094"/>
                    </a:cubicBezTo>
                    <a:cubicBezTo>
                      <a:pt x="12214" y="31582"/>
                      <a:pt x="0" y="27332"/>
                      <a:pt x="0" y="17606"/>
                    </a:cubicBezTo>
                    <a:cubicBezTo>
                      <a:pt x="0" y="7881"/>
                      <a:pt x="10238" y="0"/>
                      <a:pt x="22880" y="0"/>
                    </a:cubicBezTo>
                    <a:cubicBezTo>
                      <a:pt x="35523" y="0"/>
                      <a:pt x="45748" y="7881"/>
                      <a:pt x="45748" y="17606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28" name="Forma livre: Forma 227">
                <a:extLst>
                  <a:ext uri="{FF2B5EF4-FFF2-40B4-BE49-F238E27FC236}">
                    <a16:creationId xmlns:a16="http://schemas.microsoft.com/office/drawing/2014/main" id="{CC47782D-C1DA-54B2-E74A-156BDFF63CA1}"/>
                  </a:ext>
                </a:extLst>
              </p:cNvPr>
              <p:cNvSpPr/>
              <p:nvPr/>
            </p:nvSpPr>
            <p:spPr>
              <a:xfrm>
                <a:off x="2775193" y="1132212"/>
                <a:ext cx="1190" cy="16392"/>
              </a:xfrm>
              <a:custGeom>
                <a:avLst/>
                <a:gdLst>
                  <a:gd name="connsiteX0" fmla="*/ 0 w 1190"/>
                  <a:gd name="connsiteY0" fmla="*/ 16392 h 16392"/>
                  <a:gd name="connsiteX1" fmla="*/ 0 w 1190"/>
                  <a:gd name="connsiteY1" fmla="*/ 0 h 163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0" h="16392">
                    <a:moveTo>
                      <a:pt x="0" y="16392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29" name="Forma livre: Forma 228">
                <a:extLst>
                  <a:ext uri="{FF2B5EF4-FFF2-40B4-BE49-F238E27FC236}">
                    <a16:creationId xmlns:a16="http://schemas.microsoft.com/office/drawing/2014/main" id="{78E40EEA-CFA3-9510-E3BC-C58963EDF449}"/>
                  </a:ext>
                </a:extLst>
              </p:cNvPr>
              <p:cNvSpPr/>
              <p:nvPr/>
            </p:nvSpPr>
            <p:spPr>
              <a:xfrm>
                <a:off x="2775193" y="1220970"/>
                <a:ext cx="1190" cy="17213"/>
              </a:xfrm>
              <a:custGeom>
                <a:avLst/>
                <a:gdLst>
                  <a:gd name="connsiteX0" fmla="*/ 0 w 1190"/>
                  <a:gd name="connsiteY0" fmla="*/ 17214 h 17213"/>
                  <a:gd name="connsiteX1" fmla="*/ 0 w 1190"/>
                  <a:gd name="connsiteY1" fmla="*/ 0 h 172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0" h="17213">
                    <a:moveTo>
                      <a:pt x="0" y="17214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230" name="Forma livre: Forma 229">
              <a:extLst>
                <a:ext uri="{FF2B5EF4-FFF2-40B4-BE49-F238E27FC236}">
                  <a16:creationId xmlns:a16="http://schemas.microsoft.com/office/drawing/2014/main" id="{BB74E643-D5FC-FABA-703A-DD880DBB0248}"/>
                </a:ext>
              </a:extLst>
            </p:cNvPr>
            <p:cNvSpPr/>
            <p:nvPr/>
          </p:nvSpPr>
          <p:spPr>
            <a:xfrm>
              <a:off x="2618782" y="989622"/>
              <a:ext cx="212730" cy="310810"/>
            </a:xfrm>
            <a:custGeom>
              <a:avLst/>
              <a:gdLst>
                <a:gd name="connsiteX0" fmla="*/ 48 w 212730"/>
                <a:gd name="connsiteY0" fmla="*/ 277014 h 310810"/>
                <a:gd name="connsiteX1" fmla="*/ 0 w 212730"/>
                <a:gd name="connsiteY1" fmla="*/ 48 h 310810"/>
                <a:gd name="connsiteX2" fmla="*/ 21130 w 212730"/>
                <a:gd name="connsiteY2" fmla="*/ 15107 h 310810"/>
                <a:gd name="connsiteX3" fmla="*/ 42510 w 212730"/>
                <a:gd name="connsiteY3" fmla="*/ 36 h 310810"/>
                <a:gd name="connsiteX4" fmla="*/ 63676 w 212730"/>
                <a:gd name="connsiteY4" fmla="*/ 15118 h 310810"/>
                <a:gd name="connsiteX5" fmla="*/ 85045 w 212730"/>
                <a:gd name="connsiteY5" fmla="*/ 48 h 310810"/>
                <a:gd name="connsiteX6" fmla="*/ 106199 w 212730"/>
                <a:gd name="connsiteY6" fmla="*/ 15118 h 310810"/>
                <a:gd name="connsiteX7" fmla="*/ 127543 w 212730"/>
                <a:gd name="connsiteY7" fmla="*/ 48 h 310810"/>
                <a:gd name="connsiteX8" fmla="*/ 148697 w 212730"/>
                <a:gd name="connsiteY8" fmla="*/ 15118 h 310810"/>
                <a:gd name="connsiteX9" fmla="*/ 170196 w 212730"/>
                <a:gd name="connsiteY9" fmla="*/ 48 h 310810"/>
                <a:gd name="connsiteX10" fmla="*/ 191338 w 212730"/>
                <a:gd name="connsiteY10" fmla="*/ 15118 h 310810"/>
                <a:gd name="connsiteX11" fmla="*/ 212671 w 212730"/>
                <a:gd name="connsiteY11" fmla="*/ 0 h 310810"/>
                <a:gd name="connsiteX12" fmla="*/ 212730 w 212730"/>
                <a:gd name="connsiteY12" fmla="*/ 310762 h 310810"/>
                <a:gd name="connsiteX13" fmla="*/ 48 w 212730"/>
                <a:gd name="connsiteY13" fmla="*/ 310810 h 3108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12730" h="310810">
                  <a:moveTo>
                    <a:pt x="48" y="277014"/>
                  </a:moveTo>
                  <a:lnTo>
                    <a:pt x="0" y="48"/>
                  </a:lnTo>
                  <a:lnTo>
                    <a:pt x="21130" y="15107"/>
                  </a:lnTo>
                  <a:lnTo>
                    <a:pt x="42510" y="36"/>
                  </a:lnTo>
                  <a:lnTo>
                    <a:pt x="63676" y="15118"/>
                  </a:lnTo>
                  <a:lnTo>
                    <a:pt x="85045" y="48"/>
                  </a:lnTo>
                  <a:lnTo>
                    <a:pt x="106199" y="15118"/>
                  </a:lnTo>
                  <a:lnTo>
                    <a:pt x="127543" y="48"/>
                  </a:lnTo>
                  <a:lnTo>
                    <a:pt x="148697" y="15118"/>
                  </a:lnTo>
                  <a:lnTo>
                    <a:pt x="170196" y="48"/>
                  </a:lnTo>
                  <a:lnTo>
                    <a:pt x="191338" y="15118"/>
                  </a:lnTo>
                  <a:lnTo>
                    <a:pt x="212671" y="0"/>
                  </a:lnTo>
                  <a:lnTo>
                    <a:pt x="212730" y="310762"/>
                  </a:lnTo>
                  <a:lnTo>
                    <a:pt x="48" y="310810"/>
                  </a:lnTo>
                </a:path>
              </a:pathLst>
            </a:custGeom>
            <a:noFill/>
            <a:ln w="6350" cap="sq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31" name="Forma livre: Forma 230">
              <a:extLst>
                <a:ext uri="{FF2B5EF4-FFF2-40B4-BE49-F238E27FC236}">
                  <a16:creationId xmlns:a16="http://schemas.microsoft.com/office/drawing/2014/main" id="{E4E94814-CD51-F102-8086-1D04B7EC80C2}"/>
                </a:ext>
              </a:extLst>
            </p:cNvPr>
            <p:cNvSpPr/>
            <p:nvPr/>
          </p:nvSpPr>
          <p:spPr>
            <a:xfrm>
              <a:off x="2661257" y="1048953"/>
              <a:ext cx="127757" cy="1190"/>
            </a:xfrm>
            <a:custGeom>
              <a:avLst/>
              <a:gdLst>
                <a:gd name="connsiteX0" fmla="*/ 0 w 127757"/>
                <a:gd name="connsiteY0" fmla="*/ 0 h 1190"/>
                <a:gd name="connsiteX1" fmla="*/ 127757 w 127757"/>
                <a:gd name="connsiteY1" fmla="*/ 0 h 11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7757" h="1190">
                  <a:moveTo>
                    <a:pt x="0" y="0"/>
                  </a:moveTo>
                  <a:lnTo>
                    <a:pt x="127757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32" name="Forma livre: Forma 231">
              <a:extLst>
                <a:ext uri="{FF2B5EF4-FFF2-40B4-BE49-F238E27FC236}">
                  <a16:creationId xmlns:a16="http://schemas.microsoft.com/office/drawing/2014/main" id="{11F51486-AB14-DA87-C2D3-CA2FBCE29EE3}"/>
                </a:ext>
              </a:extLst>
            </p:cNvPr>
            <p:cNvSpPr/>
            <p:nvPr/>
          </p:nvSpPr>
          <p:spPr>
            <a:xfrm>
              <a:off x="2681768" y="1077273"/>
              <a:ext cx="86734" cy="1190"/>
            </a:xfrm>
            <a:custGeom>
              <a:avLst/>
              <a:gdLst>
                <a:gd name="connsiteX0" fmla="*/ 0 w 86734"/>
                <a:gd name="connsiteY0" fmla="*/ 0 h 1190"/>
                <a:gd name="connsiteX1" fmla="*/ 86735 w 86734"/>
                <a:gd name="connsiteY1" fmla="*/ 0 h 11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6734" h="1190">
                  <a:moveTo>
                    <a:pt x="0" y="0"/>
                  </a:moveTo>
                  <a:lnTo>
                    <a:pt x="86735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233" name="Gráfico 4">
              <a:extLst>
                <a:ext uri="{FF2B5EF4-FFF2-40B4-BE49-F238E27FC236}">
                  <a16:creationId xmlns:a16="http://schemas.microsoft.com/office/drawing/2014/main" id="{EA34351E-A07E-7090-C38B-D1C15DD50892}"/>
                </a:ext>
              </a:extLst>
            </p:cNvPr>
            <p:cNvGrpSpPr/>
            <p:nvPr/>
          </p:nvGrpSpPr>
          <p:grpSpPr>
            <a:xfrm>
              <a:off x="2655948" y="1145104"/>
              <a:ext cx="71473" cy="80175"/>
              <a:chOff x="2655948" y="1145104"/>
              <a:chExt cx="71473" cy="80175"/>
            </a:xfrm>
            <a:solidFill>
              <a:srgbClr val="394553"/>
            </a:solidFill>
          </p:grpSpPr>
          <p:grpSp>
            <p:nvGrpSpPr>
              <p:cNvPr id="234" name="Gráfico 4">
                <a:extLst>
                  <a:ext uri="{FF2B5EF4-FFF2-40B4-BE49-F238E27FC236}">
                    <a16:creationId xmlns:a16="http://schemas.microsoft.com/office/drawing/2014/main" id="{09651164-7E5F-7EA4-23AB-D4C180602FFE}"/>
                  </a:ext>
                </a:extLst>
              </p:cNvPr>
              <p:cNvGrpSpPr/>
              <p:nvPr/>
            </p:nvGrpSpPr>
            <p:grpSpPr>
              <a:xfrm>
                <a:off x="2655948" y="1145104"/>
                <a:ext cx="69890" cy="4071"/>
                <a:chOff x="2655948" y="1145104"/>
                <a:chExt cx="69890" cy="4071"/>
              </a:xfrm>
              <a:solidFill>
                <a:srgbClr val="394553"/>
              </a:solidFill>
            </p:grpSpPr>
            <p:sp>
              <p:nvSpPr>
                <p:cNvPr id="235" name="Forma livre: Forma 234">
                  <a:extLst>
                    <a:ext uri="{FF2B5EF4-FFF2-40B4-BE49-F238E27FC236}">
                      <a16:creationId xmlns:a16="http://schemas.microsoft.com/office/drawing/2014/main" id="{8A9D8031-6B18-FA70-DEF2-6B919741D6C2}"/>
                    </a:ext>
                  </a:extLst>
                </p:cNvPr>
                <p:cNvSpPr/>
                <p:nvPr/>
              </p:nvSpPr>
              <p:spPr>
                <a:xfrm>
                  <a:off x="2655948" y="1145104"/>
                  <a:ext cx="4071" cy="4071"/>
                </a:xfrm>
                <a:custGeom>
                  <a:avLst/>
                  <a:gdLst>
                    <a:gd name="connsiteX0" fmla="*/ 0 w 4071"/>
                    <a:gd name="connsiteY0" fmla="*/ 0 h 4071"/>
                    <a:gd name="connsiteX1" fmla="*/ 4071 w 4071"/>
                    <a:gd name="connsiteY1" fmla="*/ 0 h 4071"/>
                    <a:gd name="connsiteX2" fmla="*/ 4071 w 4071"/>
                    <a:gd name="connsiteY2" fmla="*/ 4071 h 4071"/>
                    <a:gd name="connsiteX3" fmla="*/ 0 w 4071"/>
                    <a:gd name="connsiteY3" fmla="*/ 4071 h 40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071" h="4071">
                      <a:moveTo>
                        <a:pt x="0" y="0"/>
                      </a:moveTo>
                      <a:lnTo>
                        <a:pt x="4071" y="0"/>
                      </a:lnTo>
                      <a:lnTo>
                        <a:pt x="4071" y="4071"/>
                      </a:lnTo>
                      <a:lnTo>
                        <a:pt x="0" y="4071"/>
                      </a:lnTo>
                      <a:close/>
                    </a:path>
                  </a:pathLst>
                </a:custGeom>
                <a:solidFill>
                  <a:srgbClr val="394553"/>
                </a:solidFill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36" name="Forma livre: Forma 235">
                  <a:extLst>
                    <a:ext uri="{FF2B5EF4-FFF2-40B4-BE49-F238E27FC236}">
                      <a16:creationId xmlns:a16="http://schemas.microsoft.com/office/drawing/2014/main" id="{B5521BF3-6EBD-13EC-F9EF-2FF6D86E9FA1}"/>
                    </a:ext>
                  </a:extLst>
                </p:cNvPr>
                <p:cNvSpPr/>
                <p:nvPr/>
              </p:nvSpPr>
              <p:spPr>
                <a:xfrm>
                  <a:off x="2682971" y="1147140"/>
                  <a:ext cx="42867" cy="1190"/>
                </a:xfrm>
                <a:custGeom>
                  <a:avLst/>
                  <a:gdLst>
                    <a:gd name="connsiteX0" fmla="*/ 0 w 42867"/>
                    <a:gd name="connsiteY0" fmla="*/ 0 h 1190"/>
                    <a:gd name="connsiteX1" fmla="*/ 42867 w 42867"/>
                    <a:gd name="connsiteY1" fmla="*/ 0 h 11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2867" h="1190">
                      <a:moveTo>
                        <a:pt x="0" y="0"/>
                      </a:moveTo>
                      <a:lnTo>
                        <a:pt x="42867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237" name="Gráfico 4">
                <a:extLst>
                  <a:ext uri="{FF2B5EF4-FFF2-40B4-BE49-F238E27FC236}">
                    <a16:creationId xmlns:a16="http://schemas.microsoft.com/office/drawing/2014/main" id="{8DFEA693-ADA0-C590-91A8-606F7CA0A20C}"/>
                  </a:ext>
                </a:extLst>
              </p:cNvPr>
              <p:cNvGrpSpPr/>
              <p:nvPr/>
            </p:nvGrpSpPr>
            <p:grpSpPr>
              <a:xfrm>
                <a:off x="2655948" y="1183162"/>
                <a:ext cx="71473" cy="4071"/>
                <a:chOff x="2655948" y="1183162"/>
                <a:chExt cx="71473" cy="4071"/>
              </a:xfrm>
              <a:solidFill>
                <a:srgbClr val="394553"/>
              </a:solidFill>
            </p:grpSpPr>
            <p:sp>
              <p:nvSpPr>
                <p:cNvPr id="238" name="Forma livre: Forma 237">
                  <a:extLst>
                    <a:ext uri="{FF2B5EF4-FFF2-40B4-BE49-F238E27FC236}">
                      <a16:creationId xmlns:a16="http://schemas.microsoft.com/office/drawing/2014/main" id="{495827EB-1D94-E97C-9C9A-8514CEBEF3FA}"/>
                    </a:ext>
                  </a:extLst>
                </p:cNvPr>
                <p:cNvSpPr/>
                <p:nvPr/>
              </p:nvSpPr>
              <p:spPr>
                <a:xfrm>
                  <a:off x="2655948" y="1183162"/>
                  <a:ext cx="4071" cy="4071"/>
                </a:xfrm>
                <a:custGeom>
                  <a:avLst/>
                  <a:gdLst>
                    <a:gd name="connsiteX0" fmla="*/ 0 w 4071"/>
                    <a:gd name="connsiteY0" fmla="*/ 0 h 4071"/>
                    <a:gd name="connsiteX1" fmla="*/ 4071 w 4071"/>
                    <a:gd name="connsiteY1" fmla="*/ 0 h 4071"/>
                    <a:gd name="connsiteX2" fmla="*/ 4071 w 4071"/>
                    <a:gd name="connsiteY2" fmla="*/ 4071 h 4071"/>
                    <a:gd name="connsiteX3" fmla="*/ 0 w 4071"/>
                    <a:gd name="connsiteY3" fmla="*/ 4071 h 40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071" h="4071">
                      <a:moveTo>
                        <a:pt x="0" y="0"/>
                      </a:moveTo>
                      <a:lnTo>
                        <a:pt x="4071" y="0"/>
                      </a:lnTo>
                      <a:lnTo>
                        <a:pt x="4071" y="4071"/>
                      </a:lnTo>
                      <a:lnTo>
                        <a:pt x="0" y="4071"/>
                      </a:lnTo>
                      <a:close/>
                    </a:path>
                  </a:pathLst>
                </a:custGeom>
                <a:solidFill>
                  <a:srgbClr val="394553"/>
                </a:solidFill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39" name="Forma livre: Forma 238">
                  <a:extLst>
                    <a:ext uri="{FF2B5EF4-FFF2-40B4-BE49-F238E27FC236}">
                      <a16:creationId xmlns:a16="http://schemas.microsoft.com/office/drawing/2014/main" id="{5D7F7D7C-ECD3-C1EB-88DE-D655B0B5E52D}"/>
                    </a:ext>
                  </a:extLst>
                </p:cNvPr>
                <p:cNvSpPr/>
                <p:nvPr/>
              </p:nvSpPr>
              <p:spPr>
                <a:xfrm>
                  <a:off x="2682971" y="1185198"/>
                  <a:ext cx="44450" cy="1190"/>
                </a:xfrm>
                <a:custGeom>
                  <a:avLst/>
                  <a:gdLst>
                    <a:gd name="connsiteX0" fmla="*/ 0 w 44450"/>
                    <a:gd name="connsiteY0" fmla="*/ 0 h 1190"/>
                    <a:gd name="connsiteX1" fmla="*/ 44451 w 44450"/>
                    <a:gd name="connsiteY1" fmla="*/ 0 h 11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4450" h="1190">
                      <a:moveTo>
                        <a:pt x="0" y="0"/>
                      </a:moveTo>
                      <a:lnTo>
                        <a:pt x="44451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240" name="Gráfico 4">
                <a:extLst>
                  <a:ext uri="{FF2B5EF4-FFF2-40B4-BE49-F238E27FC236}">
                    <a16:creationId xmlns:a16="http://schemas.microsoft.com/office/drawing/2014/main" id="{091F1A3B-7022-290B-A3CB-E09EAA677B41}"/>
                  </a:ext>
                </a:extLst>
              </p:cNvPr>
              <p:cNvGrpSpPr/>
              <p:nvPr/>
            </p:nvGrpSpPr>
            <p:grpSpPr>
              <a:xfrm>
                <a:off x="2655948" y="1221209"/>
                <a:ext cx="69890" cy="4071"/>
                <a:chOff x="2655948" y="1221209"/>
                <a:chExt cx="69890" cy="4071"/>
              </a:xfrm>
              <a:solidFill>
                <a:srgbClr val="394553"/>
              </a:solidFill>
            </p:grpSpPr>
            <p:sp>
              <p:nvSpPr>
                <p:cNvPr id="241" name="Forma livre: Forma 240">
                  <a:extLst>
                    <a:ext uri="{FF2B5EF4-FFF2-40B4-BE49-F238E27FC236}">
                      <a16:creationId xmlns:a16="http://schemas.microsoft.com/office/drawing/2014/main" id="{23DF0AE5-6374-40A3-7641-247075A669E2}"/>
                    </a:ext>
                  </a:extLst>
                </p:cNvPr>
                <p:cNvSpPr/>
                <p:nvPr/>
              </p:nvSpPr>
              <p:spPr>
                <a:xfrm>
                  <a:off x="2655948" y="1221209"/>
                  <a:ext cx="4071" cy="4071"/>
                </a:xfrm>
                <a:custGeom>
                  <a:avLst/>
                  <a:gdLst>
                    <a:gd name="connsiteX0" fmla="*/ 0 w 4071"/>
                    <a:gd name="connsiteY0" fmla="*/ 0 h 4071"/>
                    <a:gd name="connsiteX1" fmla="*/ 4071 w 4071"/>
                    <a:gd name="connsiteY1" fmla="*/ 0 h 4071"/>
                    <a:gd name="connsiteX2" fmla="*/ 4071 w 4071"/>
                    <a:gd name="connsiteY2" fmla="*/ 4071 h 4071"/>
                    <a:gd name="connsiteX3" fmla="*/ 0 w 4071"/>
                    <a:gd name="connsiteY3" fmla="*/ 4071 h 40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071" h="4071">
                      <a:moveTo>
                        <a:pt x="0" y="0"/>
                      </a:moveTo>
                      <a:lnTo>
                        <a:pt x="4071" y="0"/>
                      </a:lnTo>
                      <a:lnTo>
                        <a:pt x="4071" y="4071"/>
                      </a:lnTo>
                      <a:lnTo>
                        <a:pt x="0" y="4071"/>
                      </a:lnTo>
                      <a:close/>
                    </a:path>
                  </a:pathLst>
                </a:custGeom>
                <a:solidFill>
                  <a:srgbClr val="394553"/>
                </a:solidFill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42" name="Forma livre: Forma 241">
                  <a:extLst>
                    <a:ext uri="{FF2B5EF4-FFF2-40B4-BE49-F238E27FC236}">
                      <a16:creationId xmlns:a16="http://schemas.microsoft.com/office/drawing/2014/main" id="{CF74C87B-B8F7-BA41-E13C-A2BA52DB022D}"/>
                    </a:ext>
                  </a:extLst>
                </p:cNvPr>
                <p:cNvSpPr/>
                <p:nvPr/>
              </p:nvSpPr>
              <p:spPr>
                <a:xfrm>
                  <a:off x="2682971" y="1223244"/>
                  <a:ext cx="42867" cy="1190"/>
                </a:xfrm>
                <a:custGeom>
                  <a:avLst/>
                  <a:gdLst>
                    <a:gd name="connsiteX0" fmla="*/ 0 w 42867"/>
                    <a:gd name="connsiteY0" fmla="*/ 0 h 1190"/>
                    <a:gd name="connsiteX1" fmla="*/ 42867 w 42867"/>
                    <a:gd name="connsiteY1" fmla="*/ 0 h 11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2867" h="1190">
                      <a:moveTo>
                        <a:pt x="0" y="0"/>
                      </a:moveTo>
                      <a:lnTo>
                        <a:pt x="42867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</p:grpSp>
      <p:grpSp>
        <p:nvGrpSpPr>
          <p:cNvPr id="243" name="Gráfico 4">
            <a:extLst>
              <a:ext uri="{FF2B5EF4-FFF2-40B4-BE49-F238E27FC236}">
                <a16:creationId xmlns:a16="http://schemas.microsoft.com/office/drawing/2014/main" id="{6E72B567-E356-75AC-B616-AB5D5CB25127}"/>
              </a:ext>
            </a:extLst>
          </p:cNvPr>
          <p:cNvGrpSpPr/>
          <p:nvPr/>
        </p:nvGrpSpPr>
        <p:grpSpPr>
          <a:xfrm>
            <a:off x="3207237" y="1525424"/>
            <a:ext cx="317417" cy="296393"/>
            <a:chOff x="3207237" y="1525424"/>
            <a:chExt cx="317417" cy="296393"/>
          </a:xfrm>
        </p:grpSpPr>
        <p:grpSp>
          <p:nvGrpSpPr>
            <p:cNvPr id="244" name="Gráfico 4">
              <a:extLst>
                <a:ext uri="{FF2B5EF4-FFF2-40B4-BE49-F238E27FC236}">
                  <a16:creationId xmlns:a16="http://schemas.microsoft.com/office/drawing/2014/main" id="{8942C16C-FADB-80A9-035C-782CC70AAC70}"/>
                </a:ext>
              </a:extLst>
            </p:cNvPr>
            <p:cNvGrpSpPr/>
            <p:nvPr/>
          </p:nvGrpSpPr>
          <p:grpSpPr>
            <a:xfrm>
              <a:off x="3333256" y="1589374"/>
              <a:ext cx="191397" cy="169791"/>
              <a:chOff x="3333256" y="1589374"/>
              <a:chExt cx="191397" cy="169791"/>
            </a:xfrm>
          </p:grpSpPr>
          <p:sp>
            <p:nvSpPr>
              <p:cNvPr id="245" name="Forma livre: Forma 244">
                <a:extLst>
                  <a:ext uri="{FF2B5EF4-FFF2-40B4-BE49-F238E27FC236}">
                    <a16:creationId xmlns:a16="http://schemas.microsoft.com/office/drawing/2014/main" id="{0F85F3B8-82DA-75D6-7DE4-F62F0ED34008}"/>
                  </a:ext>
                </a:extLst>
              </p:cNvPr>
              <p:cNvSpPr/>
              <p:nvPr/>
            </p:nvSpPr>
            <p:spPr>
              <a:xfrm>
                <a:off x="3432467" y="1682037"/>
                <a:ext cx="7142" cy="7142"/>
              </a:xfrm>
              <a:custGeom>
                <a:avLst/>
                <a:gdLst>
                  <a:gd name="connsiteX0" fmla="*/ 7143 w 7142"/>
                  <a:gd name="connsiteY0" fmla="*/ 3571 h 7142"/>
                  <a:gd name="connsiteX1" fmla="*/ 3583 w 7142"/>
                  <a:gd name="connsiteY1" fmla="*/ 7143 h 7142"/>
                  <a:gd name="connsiteX2" fmla="*/ 0 w 7142"/>
                  <a:gd name="connsiteY2" fmla="*/ 3571 h 7142"/>
                  <a:gd name="connsiteX3" fmla="*/ 3583 w 7142"/>
                  <a:gd name="connsiteY3" fmla="*/ 0 h 7142"/>
                  <a:gd name="connsiteX4" fmla="*/ 7143 w 7142"/>
                  <a:gd name="connsiteY4" fmla="*/ 3571 h 71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142" h="7142">
                    <a:moveTo>
                      <a:pt x="7143" y="3571"/>
                    </a:moveTo>
                    <a:cubicBezTo>
                      <a:pt x="7143" y="5547"/>
                      <a:pt x="5547" y="7143"/>
                      <a:pt x="3583" y="7143"/>
                    </a:cubicBezTo>
                    <a:cubicBezTo>
                      <a:pt x="1619" y="7143"/>
                      <a:pt x="0" y="5547"/>
                      <a:pt x="0" y="3571"/>
                    </a:cubicBezTo>
                    <a:cubicBezTo>
                      <a:pt x="0" y="1595"/>
                      <a:pt x="1607" y="0"/>
                      <a:pt x="3583" y="0"/>
                    </a:cubicBezTo>
                    <a:cubicBezTo>
                      <a:pt x="5559" y="0"/>
                      <a:pt x="7143" y="1595"/>
                      <a:pt x="7143" y="3571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46" name="Forma livre: Forma 245">
                <a:extLst>
                  <a:ext uri="{FF2B5EF4-FFF2-40B4-BE49-F238E27FC236}">
                    <a16:creationId xmlns:a16="http://schemas.microsoft.com/office/drawing/2014/main" id="{E79FBB7E-FB29-C483-A216-398B229D21FC}"/>
                  </a:ext>
                </a:extLst>
              </p:cNvPr>
              <p:cNvSpPr/>
              <p:nvPr/>
            </p:nvSpPr>
            <p:spPr>
              <a:xfrm>
                <a:off x="3333256" y="1613039"/>
                <a:ext cx="167148" cy="146125"/>
              </a:xfrm>
              <a:custGeom>
                <a:avLst/>
                <a:gdLst>
                  <a:gd name="connsiteX0" fmla="*/ 0 w 167148"/>
                  <a:gd name="connsiteY0" fmla="*/ 0 h 146125"/>
                  <a:gd name="connsiteX1" fmla="*/ 167149 w 167148"/>
                  <a:gd name="connsiteY1" fmla="*/ 0 h 146125"/>
                  <a:gd name="connsiteX2" fmla="*/ 167149 w 167148"/>
                  <a:gd name="connsiteY2" fmla="*/ 146126 h 146125"/>
                  <a:gd name="connsiteX3" fmla="*/ 84628 w 167148"/>
                  <a:gd name="connsiteY3" fmla="*/ 146126 h 1461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67148" h="146125">
                    <a:moveTo>
                      <a:pt x="0" y="0"/>
                    </a:moveTo>
                    <a:lnTo>
                      <a:pt x="167149" y="0"/>
                    </a:lnTo>
                    <a:lnTo>
                      <a:pt x="167149" y="146126"/>
                    </a:lnTo>
                    <a:lnTo>
                      <a:pt x="84628" y="146126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47" name="Forma livre: Forma 246">
                <a:extLst>
                  <a:ext uri="{FF2B5EF4-FFF2-40B4-BE49-F238E27FC236}">
                    <a16:creationId xmlns:a16="http://schemas.microsoft.com/office/drawing/2014/main" id="{4D04AC42-9977-FB85-42BB-823EB4840502}"/>
                  </a:ext>
                </a:extLst>
              </p:cNvPr>
              <p:cNvSpPr/>
              <p:nvPr/>
            </p:nvSpPr>
            <p:spPr>
              <a:xfrm>
                <a:off x="3333256" y="1589374"/>
                <a:ext cx="191397" cy="151113"/>
              </a:xfrm>
              <a:custGeom>
                <a:avLst/>
                <a:gdLst>
                  <a:gd name="connsiteX0" fmla="*/ 0 w 191397"/>
                  <a:gd name="connsiteY0" fmla="*/ 0 h 151113"/>
                  <a:gd name="connsiteX1" fmla="*/ 191398 w 191397"/>
                  <a:gd name="connsiteY1" fmla="*/ 0 h 151113"/>
                  <a:gd name="connsiteX2" fmla="*/ 191398 w 191397"/>
                  <a:gd name="connsiteY2" fmla="*/ 151114 h 1511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91397" h="151113">
                    <a:moveTo>
                      <a:pt x="0" y="0"/>
                    </a:moveTo>
                    <a:lnTo>
                      <a:pt x="191398" y="0"/>
                    </a:lnTo>
                    <a:lnTo>
                      <a:pt x="191398" y="151114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48" name="Forma livre: Forma 247">
                <a:extLst>
                  <a:ext uri="{FF2B5EF4-FFF2-40B4-BE49-F238E27FC236}">
                    <a16:creationId xmlns:a16="http://schemas.microsoft.com/office/drawing/2014/main" id="{BA86D6FE-C875-7D92-D767-8D9BF7CE3B79}"/>
                  </a:ext>
                </a:extLst>
              </p:cNvPr>
              <p:cNvSpPr/>
              <p:nvPr/>
            </p:nvSpPr>
            <p:spPr>
              <a:xfrm>
                <a:off x="3333256" y="1640205"/>
                <a:ext cx="140102" cy="91782"/>
              </a:xfrm>
              <a:custGeom>
                <a:avLst/>
                <a:gdLst>
                  <a:gd name="connsiteX0" fmla="*/ 84628 w 140102"/>
                  <a:gd name="connsiteY0" fmla="*/ 91782 h 91782"/>
                  <a:gd name="connsiteX1" fmla="*/ 121662 w 140102"/>
                  <a:gd name="connsiteY1" fmla="*/ 91782 h 91782"/>
                  <a:gd name="connsiteX2" fmla="*/ 140102 w 140102"/>
                  <a:gd name="connsiteY2" fmla="*/ 73343 h 91782"/>
                  <a:gd name="connsiteX3" fmla="*/ 140102 w 140102"/>
                  <a:gd name="connsiteY3" fmla="*/ 18440 h 91782"/>
                  <a:gd name="connsiteX4" fmla="*/ 121662 w 140102"/>
                  <a:gd name="connsiteY4" fmla="*/ 0 h 91782"/>
                  <a:gd name="connsiteX5" fmla="*/ 0 w 140102"/>
                  <a:gd name="connsiteY5" fmla="*/ 0 h 917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40102" h="91782">
                    <a:moveTo>
                      <a:pt x="84628" y="91782"/>
                    </a:moveTo>
                    <a:lnTo>
                      <a:pt x="121662" y="91782"/>
                    </a:lnTo>
                    <a:cubicBezTo>
                      <a:pt x="121662" y="81604"/>
                      <a:pt x="129924" y="73343"/>
                      <a:pt x="140102" y="73343"/>
                    </a:cubicBezTo>
                    <a:lnTo>
                      <a:pt x="140102" y="18440"/>
                    </a:lnTo>
                    <a:cubicBezTo>
                      <a:pt x="129924" y="18440"/>
                      <a:pt x="121662" y="10190"/>
                      <a:pt x="121662" y="0"/>
                    </a:cubicBezTo>
                    <a:lnTo>
                      <a:pt x="0" y="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49" name="Forma livre: Forma 248">
                <a:extLst>
                  <a:ext uri="{FF2B5EF4-FFF2-40B4-BE49-F238E27FC236}">
                    <a16:creationId xmlns:a16="http://schemas.microsoft.com/office/drawing/2014/main" id="{59C23E01-FDFD-00B2-70FC-2BE3B6422228}"/>
                  </a:ext>
                </a:extLst>
              </p:cNvPr>
              <p:cNvSpPr/>
              <p:nvPr/>
            </p:nvSpPr>
            <p:spPr>
              <a:xfrm>
                <a:off x="3349006" y="1662300"/>
                <a:ext cx="45272" cy="39641"/>
              </a:xfrm>
              <a:custGeom>
                <a:avLst/>
                <a:gdLst>
                  <a:gd name="connsiteX0" fmla="*/ 1048 w 45272"/>
                  <a:gd name="connsiteY0" fmla="*/ 31689 h 39641"/>
                  <a:gd name="connsiteX1" fmla="*/ 0 w 45272"/>
                  <a:gd name="connsiteY1" fmla="*/ 24344 h 39641"/>
                  <a:gd name="connsiteX2" fmla="*/ 22630 w 45272"/>
                  <a:gd name="connsiteY2" fmla="*/ 0 h 39641"/>
                  <a:gd name="connsiteX3" fmla="*/ 45272 w 45272"/>
                  <a:gd name="connsiteY3" fmla="*/ 24344 h 39641"/>
                  <a:gd name="connsiteX4" fmla="*/ 40237 w 45272"/>
                  <a:gd name="connsiteY4" fmla="*/ 39641 h 396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5272" h="39641">
                    <a:moveTo>
                      <a:pt x="1048" y="31689"/>
                    </a:moveTo>
                    <a:cubicBezTo>
                      <a:pt x="369" y="29368"/>
                      <a:pt x="0" y="26904"/>
                      <a:pt x="0" y="24344"/>
                    </a:cubicBezTo>
                    <a:cubicBezTo>
                      <a:pt x="0" y="10892"/>
                      <a:pt x="10142" y="0"/>
                      <a:pt x="22630" y="0"/>
                    </a:cubicBezTo>
                    <a:cubicBezTo>
                      <a:pt x="35118" y="0"/>
                      <a:pt x="45272" y="10904"/>
                      <a:pt x="45272" y="24344"/>
                    </a:cubicBezTo>
                    <a:cubicBezTo>
                      <a:pt x="45272" y="30142"/>
                      <a:pt x="43379" y="35463"/>
                      <a:pt x="40237" y="39641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250" name="Forma livre: Forma 249">
              <a:extLst>
                <a:ext uri="{FF2B5EF4-FFF2-40B4-BE49-F238E27FC236}">
                  <a16:creationId xmlns:a16="http://schemas.microsoft.com/office/drawing/2014/main" id="{8B4643E5-5A4A-4D1E-7E05-DA37C5EE3A18}"/>
                </a:ext>
              </a:extLst>
            </p:cNvPr>
            <p:cNvSpPr/>
            <p:nvPr/>
          </p:nvSpPr>
          <p:spPr>
            <a:xfrm>
              <a:off x="3207237" y="1525424"/>
              <a:ext cx="106258" cy="49188"/>
            </a:xfrm>
            <a:custGeom>
              <a:avLst/>
              <a:gdLst>
                <a:gd name="connsiteX0" fmla="*/ 106258 w 106258"/>
                <a:gd name="connsiteY0" fmla="*/ 24594 h 49188"/>
                <a:gd name="connsiteX1" fmla="*/ 53129 w 106258"/>
                <a:gd name="connsiteY1" fmla="*/ 49189 h 49188"/>
                <a:gd name="connsiteX2" fmla="*/ 0 w 106258"/>
                <a:gd name="connsiteY2" fmla="*/ 24594 h 49188"/>
                <a:gd name="connsiteX3" fmla="*/ 53129 w 106258"/>
                <a:gd name="connsiteY3" fmla="*/ 0 h 49188"/>
                <a:gd name="connsiteX4" fmla="*/ 106258 w 106258"/>
                <a:gd name="connsiteY4" fmla="*/ 24594 h 491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6258" h="49188">
                  <a:moveTo>
                    <a:pt x="106258" y="24594"/>
                  </a:moveTo>
                  <a:cubicBezTo>
                    <a:pt x="106258" y="38177"/>
                    <a:pt x="82473" y="49189"/>
                    <a:pt x="53129" y="49189"/>
                  </a:cubicBezTo>
                  <a:cubicBezTo>
                    <a:pt x="23785" y="49189"/>
                    <a:pt x="0" y="38177"/>
                    <a:pt x="0" y="24594"/>
                  </a:cubicBezTo>
                  <a:cubicBezTo>
                    <a:pt x="0" y="11012"/>
                    <a:pt x="23785" y="0"/>
                    <a:pt x="53129" y="0"/>
                  </a:cubicBezTo>
                  <a:cubicBezTo>
                    <a:pt x="82473" y="0"/>
                    <a:pt x="106258" y="11012"/>
                    <a:pt x="106258" y="24594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51" name="Forma livre: Forma 250">
              <a:extLst>
                <a:ext uri="{FF2B5EF4-FFF2-40B4-BE49-F238E27FC236}">
                  <a16:creationId xmlns:a16="http://schemas.microsoft.com/office/drawing/2014/main" id="{CCE0B756-649B-896E-981C-ADAAE88F1703}"/>
                </a:ext>
              </a:extLst>
            </p:cNvPr>
            <p:cNvSpPr/>
            <p:nvPr/>
          </p:nvSpPr>
          <p:spPr>
            <a:xfrm>
              <a:off x="3207237" y="1611623"/>
              <a:ext cx="106258" cy="24594"/>
            </a:xfrm>
            <a:custGeom>
              <a:avLst/>
              <a:gdLst>
                <a:gd name="connsiteX0" fmla="*/ 0 w 106258"/>
                <a:gd name="connsiteY0" fmla="*/ 0 h 24594"/>
                <a:gd name="connsiteX1" fmla="*/ 53129 w 106258"/>
                <a:gd name="connsiteY1" fmla="*/ 24594 h 24594"/>
                <a:gd name="connsiteX2" fmla="*/ 106258 w 106258"/>
                <a:gd name="connsiteY2" fmla="*/ 0 h 245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06258" h="24594">
                  <a:moveTo>
                    <a:pt x="0" y="0"/>
                  </a:moveTo>
                  <a:cubicBezTo>
                    <a:pt x="0" y="13583"/>
                    <a:pt x="23785" y="24594"/>
                    <a:pt x="53129" y="24594"/>
                  </a:cubicBezTo>
                  <a:cubicBezTo>
                    <a:pt x="82473" y="24594"/>
                    <a:pt x="106258" y="13583"/>
                    <a:pt x="106258" y="0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52" name="Forma livre: Forma 251">
              <a:extLst>
                <a:ext uri="{FF2B5EF4-FFF2-40B4-BE49-F238E27FC236}">
                  <a16:creationId xmlns:a16="http://schemas.microsoft.com/office/drawing/2014/main" id="{B435792B-5B62-1DFC-D02F-EDF6142C128C}"/>
                </a:ext>
              </a:extLst>
            </p:cNvPr>
            <p:cNvSpPr/>
            <p:nvPr/>
          </p:nvSpPr>
          <p:spPr>
            <a:xfrm>
              <a:off x="3207237" y="1580922"/>
              <a:ext cx="106258" cy="24594"/>
            </a:xfrm>
            <a:custGeom>
              <a:avLst/>
              <a:gdLst>
                <a:gd name="connsiteX0" fmla="*/ 0 w 106258"/>
                <a:gd name="connsiteY0" fmla="*/ 0 h 24594"/>
                <a:gd name="connsiteX1" fmla="*/ 53129 w 106258"/>
                <a:gd name="connsiteY1" fmla="*/ 24594 h 24594"/>
                <a:gd name="connsiteX2" fmla="*/ 106258 w 106258"/>
                <a:gd name="connsiteY2" fmla="*/ 0 h 245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06258" h="24594">
                  <a:moveTo>
                    <a:pt x="0" y="0"/>
                  </a:moveTo>
                  <a:cubicBezTo>
                    <a:pt x="0" y="13583"/>
                    <a:pt x="23785" y="24594"/>
                    <a:pt x="53129" y="24594"/>
                  </a:cubicBezTo>
                  <a:cubicBezTo>
                    <a:pt x="82473" y="24594"/>
                    <a:pt x="106258" y="13571"/>
                    <a:pt x="106258" y="0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53" name="Forma livre: Forma 252">
              <a:extLst>
                <a:ext uri="{FF2B5EF4-FFF2-40B4-BE49-F238E27FC236}">
                  <a16:creationId xmlns:a16="http://schemas.microsoft.com/office/drawing/2014/main" id="{74720BCA-5397-1A17-889A-ED7DA10E1DE6}"/>
                </a:ext>
              </a:extLst>
            </p:cNvPr>
            <p:cNvSpPr/>
            <p:nvPr/>
          </p:nvSpPr>
          <p:spPr>
            <a:xfrm>
              <a:off x="3207237" y="1673037"/>
              <a:ext cx="106258" cy="24594"/>
            </a:xfrm>
            <a:custGeom>
              <a:avLst/>
              <a:gdLst>
                <a:gd name="connsiteX0" fmla="*/ 0 w 106258"/>
                <a:gd name="connsiteY0" fmla="*/ 0 h 24594"/>
                <a:gd name="connsiteX1" fmla="*/ 53129 w 106258"/>
                <a:gd name="connsiteY1" fmla="*/ 24594 h 24594"/>
                <a:gd name="connsiteX2" fmla="*/ 106258 w 106258"/>
                <a:gd name="connsiteY2" fmla="*/ 0 h 245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06258" h="24594">
                  <a:moveTo>
                    <a:pt x="0" y="0"/>
                  </a:moveTo>
                  <a:cubicBezTo>
                    <a:pt x="0" y="13583"/>
                    <a:pt x="23785" y="24594"/>
                    <a:pt x="53129" y="24594"/>
                  </a:cubicBezTo>
                  <a:cubicBezTo>
                    <a:pt x="82473" y="24594"/>
                    <a:pt x="106258" y="13583"/>
                    <a:pt x="106258" y="0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54" name="Forma livre: Forma 253">
              <a:extLst>
                <a:ext uri="{FF2B5EF4-FFF2-40B4-BE49-F238E27FC236}">
                  <a16:creationId xmlns:a16="http://schemas.microsoft.com/office/drawing/2014/main" id="{3A5FF3D7-2D65-643D-1287-D4C8188289CD}"/>
                </a:ext>
              </a:extLst>
            </p:cNvPr>
            <p:cNvSpPr/>
            <p:nvPr/>
          </p:nvSpPr>
          <p:spPr>
            <a:xfrm>
              <a:off x="3207237" y="1703750"/>
              <a:ext cx="67080" cy="24594"/>
            </a:xfrm>
            <a:custGeom>
              <a:avLst/>
              <a:gdLst>
                <a:gd name="connsiteX0" fmla="*/ 0 w 67080"/>
                <a:gd name="connsiteY0" fmla="*/ 0 h 24594"/>
                <a:gd name="connsiteX1" fmla="*/ 53129 w 67080"/>
                <a:gd name="connsiteY1" fmla="*/ 24594 h 24594"/>
                <a:gd name="connsiteX2" fmla="*/ 67081 w 67080"/>
                <a:gd name="connsiteY2" fmla="*/ 23737 h 245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7080" h="24594">
                  <a:moveTo>
                    <a:pt x="0" y="0"/>
                  </a:moveTo>
                  <a:cubicBezTo>
                    <a:pt x="0" y="13583"/>
                    <a:pt x="23785" y="24594"/>
                    <a:pt x="53129" y="24594"/>
                  </a:cubicBezTo>
                  <a:cubicBezTo>
                    <a:pt x="57950" y="24594"/>
                    <a:pt x="62629" y="24297"/>
                    <a:pt x="67081" y="23737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55" name="Forma livre: Forma 254">
              <a:extLst>
                <a:ext uri="{FF2B5EF4-FFF2-40B4-BE49-F238E27FC236}">
                  <a16:creationId xmlns:a16="http://schemas.microsoft.com/office/drawing/2014/main" id="{C0002401-E7ED-208C-EF85-37A337D66B8F}"/>
                </a:ext>
              </a:extLst>
            </p:cNvPr>
            <p:cNvSpPr/>
            <p:nvPr/>
          </p:nvSpPr>
          <p:spPr>
            <a:xfrm>
              <a:off x="3313495" y="1550018"/>
              <a:ext cx="1190" cy="150208"/>
            </a:xfrm>
            <a:custGeom>
              <a:avLst/>
              <a:gdLst>
                <a:gd name="connsiteX0" fmla="*/ 0 w 1190"/>
                <a:gd name="connsiteY0" fmla="*/ 150209 h 150208"/>
                <a:gd name="connsiteX1" fmla="*/ 0 w 1190"/>
                <a:gd name="connsiteY1" fmla="*/ 0 h 1502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90" h="150208">
                  <a:moveTo>
                    <a:pt x="0" y="150209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56" name="Forma livre: Forma 255">
              <a:extLst>
                <a:ext uri="{FF2B5EF4-FFF2-40B4-BE49-F238E27FC236}">
                  <a16:creationId xmlns:a16="http://schemas.microsoft.com/office/drawing/2014/main" id="{B32060FF-4125-DC41-C663-3597BB01A9B2}"/>
                </a:ext>
              </a:extLst>
            </p:cNvPr>
            <p:cNvSpPr/>
            <p:nvPr/>
          </p:nvSpPr>
          <p:spPr>
            <a:xfrm>
              <a:off x="3207237" y="1575993"/>
              <a:ext cx="66795" cy="213765"/>
            </a:xfrm>
            <a:custGeom>
              <a:avLst/>
              <a:gdLst>
                <a:gd name="connsiteX0" fmla="*/ 0 w 66795"/>
                <a:gd name="connsiteY0" fmla="*/ 0 h 213765"/>
                <a:gd name="connsiteX1" fmla="*/ 0 w 66795"/>
                <a:gd name="connsiteY1" fmla="*/ 189172 h 213765"/>
                <a:gd name="connsiteX2" fmla="*/ 53129 w 66795"/>
                <a:gd name="connsiteY2" fmla="*/ 213766 h 213765"/>
                <a:gd name="connsiteX3" fmla="*/ 66795 w 66795"/>
                <a:gd name="connsiteY3" fmla="*/ 212945 h 2137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6795" h="213765">
                  <a:moveTo>
                    <a:pt x="0" y="0"/>
                  </a:moveTo>
                  <a:lnTo>
                    <a:pt x="0" y="189172"/>
                  </a:lnTo>
                  <a:cubicBezTo>
                    <a:pt x="0" y="202754"/>
                    <a:pt x="23785" y="213766"/>
                    <a:pt x="53129" y="213766"/>
                  </a:cubicBezTo>
                  <a:cubicBezTo>
                    <a:pt x="57855" y="213766"/>
                    <a:pt x="62438" y="213492"/>
                    <a:pt x="66795" y="212945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57" name="Forma livre: Forma 256">
              <a:extLst>
                <a:ext uri="{FF2B5EF4-FFF2-40B4-BE49-F238E27FC236}">
                  <a16:creationId xmlns:a16="http://schemas.microsoft.com/office/drawing/2014/main" id="{D9F517B7-7966-B7FD-C98A-DE8D82019C90}"/>
                </a:ext>
              </a:extLst>
            </p:cNvPr>
            <p:cNvSpPr/>
            <p:nvPr/>
          </p:nvSpPr>
          <p:spPr>
            <a:xfrm>
              <a:off x="3207237" y="1642336"/>
              <a:ext cx="106258" cy="24594"/>
            </a:xfrm>
            <a:custGeom>
              <a:avLst/>
              <a:gdLst>
                <a:gd name="connsiteX0" fmla="*/ 106258 w 106258"/>
                <a:gd name="connsiteY0" fmla="*/ 0 h 24594"/>
                <a:gd name="connsiteX1" fmla="*/ 53129 w 106258"/>
                <a:gd name="connsiteY1" fmla="*/ 24594 h 24594"/>
                <a:gd name="connsiteX2" fmla="*/ 0 w 106258"/>
                <a:gd name="connsiteY2" fmla="*/ 0 h 245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06258" h="24594">
                  <a:moveTo>
                    <a:pt x="106258" y="0"/>
                  </a:moveTo>
                  <a:cubicBezTo>
                    <a:pt x="106258" y="13583"/>
                    <a:pt x="82473" y="24594"/>
                    <a:pt x="53129" y="24594"/>
                  </a:cubicBezTo>
                  <a:cubicBezTo>
                    <a:pt x="23785" y="24594"/>
                    <a:pt x="0" y="13583"/>
                    <a:pt x="0" y="0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58" name="Forma livre: Forma 257">
              <a:extLst>
                <a:ext uri="{FF2B5EF4-FFF2-40B4-BE49-F238E27FC236}">
                  <a16:creationId xmlns:a16="http://schemas.microsoft.com/office/drawing/2014/main" id="{EB370823-F4DF-F132-EBA9-9015EEA2809A}"/>
                </a:ext>
              </a:extLst>
            </p:cNvPr>
            <p:cNvSpPr/>
            <p:nvPr/>
          </p:nvSpPr>
          <p:spPr>
            <a:xfrm>
              <a:off x="3207237" y="1734452"/>
              <a:ext cx="65842" cy="24594"/>
            </a:xfrm>
            <a:custGeom>
              <a:avLst/>
              <a:gdLst>
                <a:gd name="connsiteX0" fmla="*/ 0 w 65842"/>
                <a:gd name="connsiteY0" fmla="*/ 0 h 24594"/>
                <a:gd name="connsiteX1" fmla="*/ 53129 w 65842"/>
                <a:gd name="connsiteY1" fmla="*/ 24594 h 24594"/>
                <a:gd name="connsiteX2" fmla="*/ 65843 w 65842"/>
                <a:gd name="connsiteY2" fmla="*/ 23892 h 245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5842" h="24594">
                  <a:moveTo>
                    <a:pt x="0" y="0"/>
                  </a:moveTo>
                  <a:cubicBezTo>
                    <a:pt x="0" y="13583"/>
                    <a:pt x="23785" y="24594"/>
                    <a:pt x="53129" y="24594"/>
                  </a:cubicBezTo>
                  <a:cubicBezTo>
                    <a:pt x="57510" y="24594"/>
                    <a:pt x="61772" y="24344"/>
                    <a:pt x="65843" y="23892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259" name="Gráfico 4">
              <a:extLst>
                <a:ext uri="{FF2B5EF4-FFF2-40B4-BE49-F238E27FC236}">
                  <a16:creationId xmlns:a16="http://schemas.microsoft.com/office/drawing/2014/main" id="{8AF9116A-F3C2-A54F-9BE8-C0E94A875C1A}"/>
                </a:ext>
              </a:extLst>
            </p:cNvPr>
            <p:cNvGrpSpPr/>
            <p:nvPr/>
          </p:nvGrpSpPr>
          <p:grpSpPr>
            <a:xfrm>
              <a:off x="3292198" y="1711095"/>
              <a:ext cx="106269" cy="110722"/>
              <a:chOff x="3292198" y="1711095"/>
              <a:chExt cx="106269" cy="110722"/>
            </a:xfrm>
            <a:noFill/>
          </p:grpSpPr>
          <p:sp>
            <p:nvSpPr>
              <p:cNvPr id="260" name="Forma livre: Forma 259">
                <a:extLst>
                  <a:ext uri="{FF2B5EF4-FFF2-40B4-BE49-F238E27FC236}">
                    <a16:creationId xmlns:a16="http://schemas.microsoft.com/office/drawing/2014/main" id="{D84BEC88-1EE9-FA1E-7CC1-CBFEA8D2543F}"/>
                  </a:ext>
                </a:extLst>
              </p:cNvPr>
              <p:cNvSpPr/>
              <p:nvPr/>
            </p:nvSpPr>
            <p:spPr>
              <a:xfrm>
                <a:off x="3292222" y="1711095"/>
                <a:ext cx="106246" cy="49188"/>
              </a:xfrm>
              <a:custGeom>
                <a:avLst/>
                <a:gdLst>
                  <a:gd name="connsiteX0" fmla="*/ 106246 w 106246"/>
                  <a:gd name="connsiteY0" fmla="*/ 24594 h 49188"/>
                  <a:gd name="connsiteX1" fmla="*/ 53117 w 106246"/>
                  <a:gd name="connsiteY1" fmla="*/ 49189 h 49188"/>
                  <a:gd name="connsiteX2" fmla="*/ 0 w 106246"/>
                  <a:gd name="connsiteY2" fmla="*/ 24594 h 49188"/>
                  <a:gd name="connsiteX3" fmla="*/ 53117 w 106246"/>
                  <a:gd name="connsiteY3" fmla="*/ 0 h 49188"/>
                  <a:gd name="connsiteX4" fmla="*/ 106246 w 106246"/>
                  <a:gd name="connsiteY4" fmla="*/ 24594 h 491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06246" h="49188">
                    <a:moveTo>
                      <a:pt x="106246" y="24594"/>
                    </a:moveTo>
                    <a:cubicBezTo>
                      <a:pt x="106246" y="38177"/>
                      <a:pt x="82461" y="49189"/>
                      <a:pt x="53117" y="49189"/>
                    </a:cubicBezTo>
                    <a:cubicBezTo>
                      <a:pt x="23773" y="49189"/>
                      <a:pt x="0" y="38177"/>
                      <a:pt x="0" y="24594"/>
                    </a:cubicBezTo>
                    <a:cubicBezTo>
                      <a:pt x="0" y="11012"/>
                      <a:pt x="23785" y="0"/>
                      <a:pt x="53117" y="0"/>
                    </a:cubicBezTo>
                    <a:cubicBezTo>
                      <a:pt x="82449" y="0"/>
                      <a:pt x="106246" y="11012"/>
                      <a:pt x="106246" y="24594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61" name="Forma livre: Forma 260">
                <a:extLst>
                  <a:ext uri="{FF2B5EF4-FFF2-40B4-BE49-F238E27FC236}">
                    <a16:creationId xmlns:a16="http://schemas.microsoft.com/office/drawing/2014/main" id="{2289B7F6-4BCD-8E41-578F-BB23F1E25AE6}"/>
                  </a:ext>
                </a:extLst>
              </p:cNvPr>
              <p:cNvSpPr/>
              <p:nvPr/>
            </p:nvSpPr>
            <p:spPr>
              <a:xfrm>
                <a:off x="3292198" y="1735606"/>
                <a:ext cx="106258" cy="86211"/>
              </a:xfrm>
              <a:custGeom>
                <a:avLst/>
                <a:gdLst>
                  <a:gd name="connsiteX0" fmla="*/ 0 w 106258"/>
                  <a:gd name="connsiteY0" fmla="*/ 26678 h 86211"/>
                  <a:gd name="connsiteX1" fmla="*/ 0 w 106258"/>
                  <a:gd name="connsiteY1" fmla="*/ 61617 h 86211"/>
                  <a:gd name="connsiteX2" fmla="*/ 53129 w 106258"/>
                  <a:gd name="connsiteY2" fmla="*/ 86211 h 86211"/>
                  <a:gd name="connsiteX3" fmla="*/ 106258 w 106258"/>
                  <a:gd name="connsiteY3" fmla="*/ 61617 h 86211"/>
                  <a:gd name="connsiteX4" fmla="*/ 106258 w 106258"/>
                  <a:gd name="connsiteY4" fmla="*/ 0 h 862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06258" h="86211">
                    <a:moveTo>
                      <a:pt x="0" y="26678"/>
                    </a:moveTo>
                    <a:lnTo>
                      <a:pt x="0" y="61617"/>
                    </a:lnTo>
                    <a:cubicBezTo>
                      <a:pt x="0" y="75200"/>
                      <a:pt x="23785" y="86211"/>
                      <a:pt x="53129" y="86211"/>
                    </a:cubicBezTo>
                    <a:cubicBezTo>
                      <a:pt x="82473" y="86211"/>
                      <a:pt x="106258" y="75188"/>
                      <a:pt x="106258" y="61617"/>
                    </a:cubicBezTo>
                    <a:lnTo>
                      <a:pt x="106258" y="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62" name="Forma livre: Forma 261">
                <a:extLst>
                  <a:ext uri="{FF2B5EF4-FFF2-40B4-BE49-F238E27FC236}">
                    <a16:creationId xmlns:a16="http://schemas.microsoft.com/office/drawing/2014/main" id="{10E6FE90-DF79-9B9D-8B05-443668B4D5E3}"/>
                  </a:ext>
                </a:extLst>
              </p:cNvPr>
              <p:cNvSpPr/>
              <p:nvPr/>
            </p:nvSpPr>
            <p:spPr>
              <a:xfrm>
                <a:off x="3292198" y="1766522"/>
                <a:ext cx="106258" cy="24594"/>
              </a:xfrm>
              <a:custGeom>
                <a:avLst/>
                <a:gdLst>
                  <a:gd name="connsiteX0" fmla="*/ 0 w 106258"/>
                  <a:gd name="connsiteY0" fmla="*/ 0 h 24594"/>
                  <a:gd name="connsiteX1" fmla="*/ 53129 w 106258"/>
                  <a:gd name="connsiteY1" fmla="*/ 24594 h 24594"/>
                  <a:gd name="connsiteX2" fmla="*/ 106258 w 106258"/>
                  <a:gd name="connsiteY2" fmla="*/ 0 h 245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06258" h="24594">
                    <a:moveTo>
                      <a:pt x="0" y="0"/>
                    </a:moveTo>
                    <a:cubicBezTo>
                      <a:pt x="0" y="13583"/>
                      <a:pt x="23785" y="24594"/>
                      <a:pt x="53129" y="24594"/>
                    </a:cubicBezTo>
                    <a:cubicBezTo>
                      <a:pt x="82473" y="24594"/>
                      <a:pt x="106258" y="13583"/>
                      <a:pt x="106258" y="0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263" name="Gráfico 4">
            <a:extLst>
              <a:ext uri="{FF2B5EF4-FFF2-40B4-BE49-F238E27FC236}">
                <a16:creationId xmlns:a16="http://schemas.microsoft.com/office/drawing/2014/main" id="{B322FC97-3CEB-C39C-040F-522923731504}"/>
              </a:ext>
            </a:extLst>
          </p:cNvPr>
          <p:cNvGrpSpPr/>
          <p:nvPr/>
        </p:nvGrpSpPr>
        <p:grpSpPr>
          <a:xfrm>
            <a:off x="3194297" y="3135174"/>
            <a:ext cx="343308" cy="248455"/>
            <a:chOff x="3194297" y="3135174"/>
            <a:chExt cx="343308" cy="248455"/>
          </a:xfrm>
        </p:grpSpPr>
        <p:grpSp>
          <p:nvGrpSpPr>
            <p:cNvPr id="264" name="Gráfico 4">
              <a:extLst>
                <a:ext uri="{FF2B5EF4-FFF2-40B4-BE49-F238E27FC236}">
                  <a16:creationId xmlns:a16="http://schemas.microsoft.com/office/drawing/2014/main" id="{71C3D163-9189-8F5B-0291-22EB70831C76}"/>
                </a:ext>
              </a:extLst>
            </p:cNvPr>
            <p:cNvGrpSpPr/>
            <p:nvPr/>
          </p:nvGrpSpPr>
          <p:grpSpPr>
            <a:xfrm>
              <a:off x="3344423" y="3233373"/>
              <a:ext cx="193183" cy="150244"/>
              <a:chOff x="3344423" y="3233373"/>
              <a:chExt cx="193183" cy="150244"/>
            </a:xfrm>
          </p:grpSpPr>
          <p:sp>
            <p:nvSpPr>
              <p:cNvPr id="265" name="Forma livre: Forma 264">
                <a:extLst>
                  <a:ext uri="{FF2B5EF4-FFF2-40B4-BE49-F238E27FC236}">
                    <a16:creationId xmlns:a16="http://schemas.microsoft.com/office/drawing/2014/main" id="{3D399D6F-10CB-8BD4-9B0A-1EE04DEBD43B}"/>
                  </a:ext>
                </a:extLst>
              </p:cNvPr>
              <p:cNvSpPr/>
              <p:nvPr/>
            </p:nvSpPr>
            <p:spPr>
              <a:xfrm>
                <a:off x="3467752" y="3304882"/>
                <a:ext cx="7225" cy="7237"/>
              </a:xfrm>
              <a:custGeom>
                <a:avLst/>
                <a:gdLst>
                  <a:gd name="connsiteX0" fmla="*/ 0 w 7225"/>
                  <a:gd name="connsiteY0" fmla="*/ 3619 h 7237"/>
                  <a:gd name="connsiteX1" fmla="*/ 3607 w 7225"/>
                  <a:gd name="connsiteY1" fmla="*/ 0 h 7237"/>
                  <a:gd name="connsiteX2" fmla="*/ 7226 w 7225"/>
                  <a:gd name="connsiteY2" fmla="*/ 3619 h 7237"/>
                  <a:gd name="connsiteX3" fmla="*/ 3607 w 7225"/>
                  <a:gd name="connsiteY3" fmla="*/ 7238 h 7237"/>
                  <a:gd name="connsiteX4" fmla="*/ 0 w 7225"/>
                  <a:gd name="connsiteY4" fmla="*/ 3619 h 72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225" h="7237">
                    <a:moveTo>
                      <a:pt x="0" y="3619"/>
                    </a:moveTo>
                    <a:cubicBezTo>
                      <a:pt x="0" y="1607"/>
                      <a:pt x="1607" y="0"/>
                      <a:pt x="3607" y="0"/>
                    </a:cubicBezTo>
                    <a:cubicBezTo>
                      <a:pt x="5607" y="0"/>
                      <a:pt x="7226" y="1607"/>
                      <a:pt x="7226" y="3619"/>
                    </a:cubicBezTo>
                    <a:cubicBezTo>
                      <a:pt x="7226" y="5631"/>
                      <a:pt x="5607" y="7238"/>
                      <a:pt x="3607" y="7238"/>
                    </a:cubicBezTo>
                    <a:cubicBezTo>
                      <a:pt x="1607" y="7238"/>
                      <a:pt x="0" y="5631"/>
                      <a:pt x="0" y="3619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66" name="Forma livre: Forma 265">
                <a:extLst>
                  <a:ext uri="{FF2B5EF4-FFF2-40B4-BE49-F238E27FC236}">
                    <a16:creationId xmlns:a16="http://schemas.microsoft.com/office/drawing/2014/main" id="{F1EDC69D-B9D2-6101-7FB6-5643BF224688}"/>
                  </a:ext>
                </a:extLst>
              </p:cNvPr>
              <p:cNvSpPr/>
              <p:nvPr/>
            </p:nvSpPr>
            <p:spPr>
              <a:xfrm>
                <a:off x="3344423" y="3233373"/>
                <a:ext cx="193183" cy="150244"/>
              </a:xfrm>
              <a:custGeom>
                <a:avLst/>
                <a:gdLst>
                  <a:gd name="connsiteX0" fmla="*/ 0 w 193183"/>
                  <a:gd name="connsiteY0" fmla="*/ 0 h 150244"/>
                  <a:gd name="connsiteX1" fmla="*/ 193183 w 193183"/>
                  <a:gd name="connsiteY1" fmla="*/ 0 h 150244"/>
                  <a:gd name="connsiteX2" fmla="*/ 193183 w 193183"/>
                  <a:gd name="connsiteY2" fmla="*/ 150244 h 150244"/>
                  <a:gd name="connsiteX3" fmla="*/ 42975 w 193183"/>
                  <a:gd name="connsiteY3" fmla="*/ 150244 h 1502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93183" h="150244">
                    <a:moveTo>
                      <a:pt x="0" y="0"/>
                    </a:moveTo>
                    <a:lnTo>
                      <a:pt x="193183" y="0"/>
                    </a:lnTo>
                    <a:lnTo>
                      <a:pt x="193183" y="150244"/>
                    </a:lnTo>
                    <a:lnTo>
                      <a:pt x="42975" y="150244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67" name="Forma livre: Forma 266">
                <a:extLst>
                  <a:ext uri="{FF2B5EF4-FFF2-40B4-BE49-F238E27FC236}">
                    <a16:creationId xmlns:a16="http://schemas.microsoft.com/office/drawing/2014/main" id="{F84768BD-07F9-D3A1-6DA2-4EF075ECAFDF}"/>
                  </a:ext>
                </a:extLst>
              </p:cNvPr>
              <p:cNvSpPr/>
              <p:nvPr/>
            </p:nvSpPr>
            <p:spPr>
              <a:xfrm>
                <a:off x="3350601" y="3261300"/>
                <a:ext cx="159184" cy="94377"/>
              </a:xfrm>
              <a:custGeom>
                <a:avLst/>
                <a:gdLst>
                  <a:gd name="connsiteX0" fmla="*/ 36796 w 159184"/>
                  <a:gd name="connsiteY0" fmla="*/ 94378 h 94377"/>
                  <a:gd name="connsiteX1" fmla="*/ 140221 w 159184"/>
                  <a:gd name="connsiteY1" fmla="*/ 94378 h 94377"/>
                  <a:gd name="connsiteX2" fmla="*/ 159185 w 159184"/>
                  <a:gd name="connsiteY2" fmla="*/ 75414 h 94377"/>
                  <a:gd name="connsiteX3" fmla="*/ 159185 w 159184"/>
                  <a:gd name="connsiteY3" fmla="*/ 18976 h 94377"/>
                  <a:gd name="connsiteX4" fmla="*/ 140221 w 159184"/>
                  <a:gd name="connsiteY4" fmla="*/ 0 h 94377"/>
                  <a:gd name="connsiteX5" fmla="*/ 0 w 159184"/>
                  <a:gd name="connsiteY5" fmla="*/ 0 h 943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59184" h="94377">
                    <a:moveTo>
                      <a:pt x="36796" y="94378"/>
                    </a:moveTo>
                    <a:lnTo>
                      <a:pt x="140221" y="94378"/>
                    </a:lnTo>
                    <a:cubicBezTo>
                      <a:pt x="140221" y="83902"/>
                      <a:pt x="148709" y="75414"/>
                      <a:pt x="159185" y="75414"/>
                    </a:cubicBezTo>
                    <a:lnTo>
                      <a:pt x="159185" y="18976"/>
                    </a:lnTo>
                    <a:cubicBezTo>
                      <a:pt x="148709" y="18976"/>
                      <a:pt x="140221" y="10476"/>
                      <a:pt x="140221" y="0"/>
                    </a:cubicBezTo>
                    <a:lnTo>
                      <a:pt x="0" y="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68" name="Forma livre: Forma 267">
                <a:extLst>
                  <a:ext uri="{FF2B5EF4-FFF2-40B4-BE49-F238E27FC236}">
                    <a16:creationId xmlns:a16="http://schemas.microsoft.com/office/drawing/2014/main" id="{64623FED-8B32-CC09-C3D6-15EB0B668FE8}"/>
                  </a:ext>
                </a:extLst>
              </p:cNvPr>
              <p:cNvSpPr/>
              <p:nvPr/>
            </p:nvSpPr>
            <p:spPr>
              <a:xfrm>
                <a:off x="3381933" y="3283466"/>
                <a:ext cx="46534" cy="50069"/>
              </a:xfrm>
              <a:custGeom>
                <a:avLst/>
                <a:gdLst>
                  <a:gd name="connsiteX0" fmla="*/ 0 w 46534"/>
                  <a:gd name="connsiteY0" fmla="*/ 25035 h 50069"/>
                  <a:gd name="connsiteX1" fmla="*/ 23273 w 46534"/>
                  <a:gd name="connsiteY1" fmla="*/ 0 h 50069"/>
                  <a:gd name="connsiteX2" fmla="*/ 46534 w 46534"/>
                  <a:gd name="connsiteY2" fmla="*/ 25035 h 50069"/>
                  <a:gd name="connsiteX3" fmla="*/ 23273 w 46534"/>
                  <a:gd name="connsiteY3" fmla="*/ 50070 h 50069"/>
                  <a:gd name="connsiteX4" fmla="*/ 0 w 46534"/>
                  <a:gd name="connsiteY4" fmla="*/ 25035 h 500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6534" h="50069">
                    <a:moveTo>
                      <a:pt x="0" y="25035"/>
                    </a:moveTo>
                    <a:cubicBezTo>
                      <a:pt x="0" y="11214"/>
                      <a:pt x="10428" y="0"/>
                      <a:pt x="23273" y="0"/>
                    </a:cubicBezTo>
                    <a:cubicBezTo>
                      <a:pt x="36118" y="0"/>
                      <a:pt x="46534" y="11214"/>
                      <a:pt x="46534" y="25035"/>
                    </a:cubicBezTo>
                    <a:cubicBezTo>
                      <a:pt x="46534" y="38856"/>
                      <a:pt x="36118" y="50070"/>
                      <a:pt x="23273" y="50070"/>
                    </a:cubicBezTo>
                    <a:cubicBezTo>
                      <a:pt x="10428" y="50070"/>
                      <a:pt x="0" y="38868"/>
                      <a:pt x="0" y="25035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269" name="Gráfico 4">
              <a:extLst>
                <a:ext uri="{FF2B5EF4-FFF2-40B4-BE49-F238E27FC236}">
                  <a16:creationId xmlns:a16="http://schemas.microsoft.com/office/drawing/2014/main" id="{FA528A72-B5BF-3BE7-5C15-89075E4B2C9C}"/>
                </a:ext>
              </a:extLst>
            </p:cNvPr>
            <p:cNvGrpSpPr/>
            <p:nvPr/>
          </p:nvGrpSpPr>
          <p:grpSpPr>
            <a:xfrm>
              <a:off x="3194297" y="3135174"/>
              <a:ext cx="169731" cy="248455"/>
              <a:chOff x="3194297" y="3135174"/>
              <a:chExt cx="169731" cy="248455"/>
            </a:xfrm>
            <a:noFill/>
          </p:grpSpPr>
          <p:grpSp>
            <p:nvGrpSpPr>
              <p:cNvPr id="270" name="Gráfico 4">
                <a:extLst>
                  <a:ext uri="{FF2B5EF4-FFF2-40B4-BE49-F238E27FC236}">
                    <a16:creationId xmlns:a16="http://schemas.microsoft.com/office/drawing/2014/main" id="{FD5C61BB-B345-0EFD-DD78-D0CE3EC49787}"/>
                  </a:ext>
                </a:extLst>
              </p:cNvPr>
              <p:cNvGrpSpPr/>
              <p:nvPr/>
            </p:nvGrpSpPr>
            <p:grpSpPr>
              <a:xfrm>
                <a:off x="3194297" y="3326131"/>
                <a:ext cx="169731" cy="57497"/>
                <a:chOff x="3194297" y="3326131"/>
                <a:chExt cx="169731" cy="57497"/>
              </a:xfrm>
              <a:noFill/>
            </p:grpSpPr>
            <p:sp>
              <p:nvSpPr>
                <p:cNvPr id="271" name="Forma livre: Forma 270">
                  <a:extLst>
                    <a:ext uri="{FF2B5EF4-FFF2-40B4-BE49-F238E27FC236}">
                      <a16:creationId xmlns:a16="http://schemas.microsoft.com/office/drawing/2014/main" id="{67162941-D962-5FDD-4BAF-B10FE32E7DC4}"/>
                    </a:ext>
                  </a:extLst>
                </p:cNvPr>
                <p:cNvSpPr/>
                <p:nvPr/>
              </p:nvSpPr>
              <p:spPr>
                <a:xfrm>
                  <a:off x="3280389" y="3326131"/>
                  <a:ext cx="67438" cy="24546"/>
                </a:xfrm>
                <a:custGeom>
                  <a:avLst/>
                  <a:gdLst>
                    <a:gd name="connsiteX0" fmla="*/ 67438 w 67438"/>
                    <a:gd name="connsiteY0" fmla="*/ 24547 h 24546"/>
                    <a:gd name="connsiteX1" fmla="*/ 67438 w 67438"/>
                    <a:gd name="connsiteY1" fmla="*/ 6785 h 24546"/>
                    <a:gd name="connsiteX2" fmla="*/ 60307 w 67438"/>
                    <a:gd name="connsiteY2" fmla="*/ 0 h 24546"/>
                    <a:gd name="connsiteX3" fmla="*/ 0 w 67438"/>
                    <a:gd name="connsiteY3" fmla="*/ 0 h 245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67438" h="24546">
                      <a:moveTo>
                        <a:pt x="67438" y="24547"/>
                      </a:moveTo>
                      <a:lnTo>
                        <a:pt x="67438" y="6785"/>
                      </a:lnTo>
                      <a:cubicBezTo>
                        <a:pt x="67438" y="3202"/>
                        <a:pt x="63807" y="0"/>
                        <a:pt x="60307" y="0"/>
                      </a:cubicBezTo>
                      <a:lnTo>
                        <a:pt x="0" y="0"/>
                      </a:ln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72" name="Forma livre: Forma 271">
                  <a:extLst>
                    <a:ext uri="{FF2B5EF4-FFF2-40B4-BE49-F238E27FC236}">
                      <a16:creationId xmlns:a16="http://schemas.microsoft.com/office/drawing/2014/main" id="{393A282F-BC8F-C35D-9BA9-9B10E623915D}"/>
                    </a:ext>
                  </a:extLst>
                </p:cNvPr>
                <p:cNvSpPr/>
                <p:nvPr/>
              </p:nvSpPr>
              <p:spPr>
                <a:xfrm>
                  <a:off x="3194297" y="3326143"/>
                  <a:ext cx="169731" cy="57485"/>
                </a:xfrm>
                <a:custGeom>
                  <a:avLst/>
                  <a:gdLst>
                    <a:gd name="connsiteX0" fmla="*/ 78342 w 169731"/>
                    <a:gd name="connsiteY0" fmla="*/ 26320 h 57485"/>
                    <a:gd name="connsiteX1" fmla="*/ 162601 w 169731"/>
                    <a:gd name="connsiteY1" fmla="*/ 26320 h 57485"/>
                    <a:gd name="connsiteX2" fmla="*/ 169732 w 169731"/>
                    <a:gd name="connsiteY2" fmla="*/ 33094 h 57485"/>
                    <a:gd name="connsiteX3" fmla="*/ 169732 w 169731"/>
                    <a:gd name="connsiteY3" fmla="*/ 57486 h 57485"/>
                    <a:gd name="connsiteX4" fmla="*/ 0 w 169731"/>
                    <a:gd name="connsiteY4" fmla="*/ 57486 h 57485"/>
                    <a:gd name="connsiteX5" fmla="*/ 0 w 169731"/>
                    <a:gd name="connsiteY5" fmla="*/ 33094 h 57485"/>
                    <a:gd name="connsiteX6" fmla="*/ 7143 w 169731"/>
                    <a:gd name="connsiteY6" fmla="*/ 26320 h 57485"/>
                    <a:gd name="connsiteX7" fmla="*/ 16202 w 169731"/>
                    <a:gd name="connsiteY7" fmla="*/ 26320 h 57485"/>
                    <a:gd name="connsiteX8" fmla="*/ 16202 w 169731"/>
                    <a:gd name="connsiteY8" fmla="*/ 6785 h 57485"/>
                    <a:gd name="connsiteX9" fmla="*/ 23344 w 169731"/>
                    <a:gd name="connsiteY9" fmla="*/ 0 h 57485"/>
                    <a:gd name="connsiteX10" fmla="*/ 49224 w 169731"/>
                    <a:gd name="connsiteY10" fmla="*/ 0 h 5748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169731" h="57485">
                      <a:moveTo>
                        <a:pt x="78342" y="26320"/>
                      </a:moveTo>
                      <a:lnTo>
                        <a:pt x="162601" y="26320"/>
                      </a:lnTo>
                      <a:cubicBezTo>
                        <a:pt x="166089" y="26320"/>
                        <a:pt x="169732" y="29535"/>
                        <a:pt x="169732" y="33094"/>
                      </a:cubicBezTo>
                      <a:lnTo>
                        <a:pt x="169732" y="57486"/>
                      </a:lnTo>
                      <a:lnTo>
                        <a:pt x="0" y="57486"/>
                      </a:lnTo>
                      <a:lnTo>
                        <a:pt x="0" y="33094"/>
                      </a:lnTo>
                      <a:cubicBezTo>
                        <a:pt x="0" y="29535"/>
                        <a:pt x="3643" y="26320"/>
                        <a:pt x="7143" y="26320"/>
                      </a:cubicBezTo>
                      <a:lnTo>
                        <a:pt x="16202" y="26320"/>
                      </a:lnTo>
                      <a:lnTo>
                        <a:pt x="16202" y="6785"/>
                      </a:lnTo>
                      <a:cubicBezTo>
                        <a:pt x="16202" y="3202"/>
                        <a:pt x="19833" y="0"/>
                        <a:pt x="23344" y="0"/>
                      </a:cubicBezTo>
                      <a:lnTo>
                        <a:pt x="49224" y="0"/>
                      </a:ln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273" name="Gráfico 4">
                <a:extLst>
                  <a:ext uri="{FF2B5EF4-FFF2-40B4-BE49-F238E27FC236}">
                    <a16:creationId xmlns:a16="http://schemas.microsoft.com/office/drawing/2014/main" id="{19C60D44-3C91-4AAF-E6AA-202764200665}"/>
                  </a:ext>
                </a:extLst>
              </p:cNvPr>
              <p:cNvGrpSpPr/>
              <p:nvPr/>
            </p:nvGrpSpPr>
            <p:grpSpPr>
              <a:xfrm>
                <a:off x="3215761" y="3135174"/>
                <a:ext cx="126804" cy="188826"/>
                <a:chOff x="3215761" y="3135174"/>
                <a:chExt cx="126804" cy="188826"/>
              </a:xfrm>
              <a:noFill/>
            </p:grpSpPr>
            <p:sp>
              <p:nvSpPr>
                <p:cNvPr id="274" name="Forma livre: Forma 273">
                  <a:extLst>
                    <a:ext uri="{FF2B5EF4-FFF2-40B4-BE49-F238E27FC236}">
                      <a16:creationId xmlns:a16="http://schemas.microsoft.com/office/drawing/2014/main" id="{A67578F7-C107-0B04-99D9-36DDECCEAF31}"/>
                    </a:ext>
                  </a:extLst>
                </p:cNvPr>
                <p:cNvSpPr/>
                <p:nvPr/>
              </p:nvSpPr>
              <p:spPr>
                <a:xfrm>
                  <a:off x="3266497" y="3135174"/>
                  <a:ext cx="76068" cy="188826"/>
                </a:xfrm>
                <a:custGeom>
                  <a:avLst/>
                  <a:gdLst>
                    <a:gd name="connsiteX0" fmla="*/ 0 w 76068"/>
                    <a:gd name="connsiteY0" fmla="*/ 24654 h 188826"/>
                    <a:gd name="connsiteX1" fmla="*/ 0 w 76068"/>
                    <a:gd name="connsiteY1" fmla="*/ 0 h 188826"/>
                    <a:gd name="connsiteX2" fmla="*/ 25332 w 76068"/>
                    <a:gd name="connsiteY2" fmla="*/ 0 h 188826"/>
                    <a:gd name="connsiteX3" fmla="*/ 25332 w 76068"/>
                    <a:gd name="connsiteY3" fmla="*/ 24654 h 188826"/>
                    <a:gd name="connsiteX4" fmla="*/ 50974 w 76068"/>
                    <a:gd name="connsiteY4" fmla="*/ 24654 h 188826"/>
                    <a:gd name="connsiteX5" fmla="*/ 50974 w 76068"/>
                    <a:gd name="connsiteY5" fmla="*/ 0 h 188826"/>
                    <a:gd name="connsiteX6" fmla="*/ 76069 w 76068"/>
                    <a:gd name="connsiteY6" fmla="*/ 0 h 188826"/>
                    <a:gd name="connsiteX7" fmla="*/ 76069 w 76068"/>
                    <a:gd name="connsiteY7" fmla="*/ 46379 h 188826"/>
                    <a:gd name="connsiteX8" fmla="*/ 51593 w 76068"/>
                    <a:gd name="connsiteY8" fmla="*/ 60081 h 188826"/>
                    <a:gd name="connsiteX9" fmla="*/ 66986 w 76068"/>
                    <a:gd name="connsiteY9" fmla="*/ 188826 h 18882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76068" h="188826">
                      <a:moveTo>
                        <a:pt x="0" y="24654"/>
                      </a:moveTo>
                      <a:lnTo>
                        <a:pt x="0" y="0"/>
                      </a:lnTo>
                      <a:lnTo>
                        <a:pt x="25332" y="0"/>
                      </a:lnTo>
                      <a:lnTo>
                        <a:pt x="25332" y="24654"/>
                      </a:lnTo>
                      <a:lnTo>
                        <a:pt x="50974" y="24654"/>
                      </a:lnTo>
                      <a:lnTo>
                        <a:pt x="50974" y="0"/>
                      </a:lnTo>
                      <a:lnTo>
                        <a:pt x="76069" y="0"/>
                      </a:lnTo>
                      <a:lnTo>
                        <a:pt x="76069" y="46379"/>
                      </a:lnTo>
                      <a:lnTo>
                        <a:pt x="51593" y="60081"/>
                      </a:lnTo>
                      <a:lnTo>
                        <a:pt x="66986" y="188826"/>
                      </a:lnTo>
                    </a:path>
                  </a:pathLst>
                </a:custGeom>
                <a:noFill/>
                <a:ln w="6350" cap="sq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75" name="Forma livre: Forma 274">
                  <a:extLst>
                    <a:ext uri="{FF2B5EF4-FFF2-40B4-BE49-F238E27FC236}">
                      <a16:creationId xmlns:a16="http://schemas.microsoft.com/office/drawing/2014/main" id="{E4AD525F-FFA2-9197-2076-2EAE743FB7BE}"/>
                    </a:ext>
                  </a:extLst>
                </p:cNvPr>
                <p:cNvSpPr/>
                <p:nvPr/>
              </p:nvSpPr>
              <p:spPr>
                <a:xfrm>
                  <a:off x="3215761" y="3135174"/>
                  <a:ext cx="25094" cy="188826"/>
                </a:xfrm>
                <a:custGeom>
                  <a:avLst/>
                  <a:gdLst>
                    <a:gd name="connsiteX0" fmla="*/ 9095 w 25094"/>
                    <a:gd name="connsiteY0" fmla="*/ 188826 h 188826"/>
                    <a:gd name="connsiteX1" fmla="*/ 24487 w 25094"/>
                    <a:gd name="connsiteY1" fmla="*/ 60081 h 188826"/>
                    <a:gd name="connsiteX2" fmla="*/ 0 w 25094"/>
                    <a:gd name="connsiteY2" fmla="*/ 46379 h 188826"/>
                    <a:gd name="connsiteX3" fmla="*/ 0 w 25094"/>
                    <a:gd name="connsiteY3" fmla="*/ 0 h 188826"/>
                    <a:gd name="connsiteX4" fmla="*/ 25094 w 25094"/>
                    <a:gd name="connsiteY4" fmla="*/ 0 h 188826"/>
                    <a:gd name="connsiteX5" fmla="*/ 25094 w 25094"/>
                    <a:gd name="connsiteY5" fmla="*/ 24654 h 18882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25094" h="188826">
                      <a:moveTo>
                        <a:pt x="9095" y="188826"/>
                      </a:moveTo>
                      <a:lnTo>
                        <a:pt x="24487" y="60081"/>
                      </a:lnTo>
                      <a:lnTo>
                        <a:pt x="0" y="46379"/>
                      </a:lnTo>
                      <a:lnTo>
                        <a:pt x="0" y="0"/>
                      </a:lnTo>
                      <a:lnTo>
                        <a:pt x="25094" y="0"/>
                      </a:lnTo>
                      <a:lnTo>
                        <a:pt x="25094" y="24654"/>
                      </a:lnTo>
                    </a:path>
                  </a:pathLst>
                </a:custGeom>
                <a:noFill/>
                <a:ln w="6350" cap="sq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276" name="Forma livre: Forma 275">
                <a:extLst>
                  <a:ext uri="{FF2B5EF4-FFF2-40B4-BE49-F238E27FC236}">
                    <a16:creationId xmlns:a16="http://schemas.microsoft.com/office/drawing/2014/main" id="{2E3D4387-B781-1A33-0093-487E41F49F4F}"/>
                  </a:ext>
                </a:extLst>
              </p:cNvPr>
              <p:cNvSpPr/>
              <p:nvPr/>
            </p:nvSpPr>
            <p:spPr>
              <a:xfrm>
                <a:off x="3263438" y="3198088"/>
                <a:ext cx="51545" cy="1190"/>
              </a:xfrm>
              <a:custGeom>
                <a:avLst/>
                <a:gdLst>
                  <a:gd name="connsiteX0" fmla="*/ 51546 w 51545"/>
                  <a:gd name="connsiteY0" fmla="*/ 0 h 1190"/>
                  <a:gd name="connsiteX1" fmla="*/ 0 w 51545"/>
                  <a:gd name="connsiteY1" fmla="*/ 0 h 11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1545" h="1190">
                    <a:moveTo>
                      <a:pt x="51546" y="0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277" name="Gráfico 4">
            <a:extLst>
              <a:ext uri="{FF2B5EF4-FFF2-40B4-BE49-F238E27FC236}">
                <a16:creationId xmlns:a16="http://schemas.microsoft.com/office/drawing/2014/main" id="{C81C09F9-CB63-60E4-6188-9A8A1E33DC32}"/>
              </a:ext>
            </a:extLst>
          </p:cNvPr>
          <p:cNvGrpSpPr/>
          <p:nvPr/>
        </p:nvGrpSpPr>
        <p:grpSpPr>
          <a:xfrm>
            <a:off x="3204559" y="2583766"/>
            <a:ext cx="322776" cy="294108"/>
            <a:chOff x="3204559" y="2583766"/>
            <a:chExt cx="322776" cy="294108"/>
          </a:xfrm>
        </p:grpSpPr>
        <p:grpSp>
          <p:nvGrpSpPr>
            <p:cNvPr id="278" name="Gráfico 4">
              <a:extLst>
                <a:ext uri="{FF2B5EF4-FFF2-40B4-BE49-F238E27FC236}">
                  <a16:creationId xmlns:a16="http://schemas.microsoft.com/office/drawing/2014/main" id="{45A82F1E-2655-A44F-23B2-01E8E1B7FCB9}"/>
                </a:ext>
              </a:extLst>
            </p:cNvPr>
            <p:cNvGrpSpPr/>
            <p:nvPr/>
          </p:nvGrpSpPr>
          <p:grpSpPr>
            <a:xfrm>
              <a:off x="3204559" y="2746246"/>
              <a:ext cx="322776" cy="131628"/>
              <a:chOff x="3204559" y="2746246"/>
              <a:chExt cx="322776" cy="131628"/>
            </a:xfrm>
            <a:noFill/>
          </p:grpSpPr>
          <p:sp>
            <p:nvSpPr>
              <p:cNvPr id="279" name="Forma livre: Forma 278">
                <a:extLst>
                  <a:ext uri="{FF2B5EF4-FFF2-40B4-BE49-F238E27FC236}">
                    <a16:creationId xmlns:a16="http://schemas.microsoft.com/office/drawing/2014/main" id="{EE18EF43-A7C7-8C73-1985-8B61FB288475}"/>
                  </a:ext>
                </a:extLst>
              </p:cNvPr>
              <p:cNvSpPr/>
              <p:nvPr/>
            </p:nvSpPr>
            <p:spPr>
              <a:xfrm>
                <a:off x="3244367" y="2746246"/>
                <a:ext cx="282967" cy="131628"/>
              </a:xfrm>
              <a:custGeom>
                <a:avLst/>
                <a:gdLst>
                  <a:gd name="connsiteX0" fmla="*/ 193136 w 282967"/>
                  <a:gd name="connsiteY0" fmla="*/ 32834 h 131628"/>
                  <a:gd name="connsiteX1" fmla="*/ 251015 w 282967"/>
                  <a:gd name="connsiteY1" fmla="*/ 3252 h 131628"/>
                  <a:gd name="connsiteX2" fmla="*/ 280740 w 282967"/>
                  <a:gd name="connsiteY2" fmla="*/ 9728 h 131628"/>
                  <a:gd name="connsiteX3" fmla="*/ 270216 w 282967"/>
                  <a:gd name="connsiteY3" fmla="*/ 38965 h 131628"/>
                  <a:gd name="connsiteX4" fmla="*/ 150114 w 282967"/>
                  <a:gd name="connsiteY4" fmla="*/ 103344 h 131628"/>
                  <a:gd name="connsiteX5" fmla="*/ 143757 w 282967"/>
                  <a:gd name="connsiteY5" fmla="*/ 104939 h 131628"/>
                  <a:gd name="connsiteX6" fmla="*/ 31749 w 282967"/>
                  <a:gd name="connsiteY6" fmla="*/ 107962 h 131628"/>
                  <a:gd name="connsiteX7" fmla="*/ 0 w 282967"/>
                  <a:gd name="connsiteY7" fmla="*/ 131628 h 1316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82967" h="131628">
                    <a:moveTo>
                      <a:pt x="193136" y="32834"/>
                    </a:moveTo>
                    <a:lnTo>
                      <a:pt x="251015" y="3252"/>
                    </a:lnTo>
                    <a:cubicBezTo>
                      <a:pt x="262205" y="-2760"/>
                      <a:pt x="275323" y="-343"/>
                      <a:pt x="280740" y="9728"/>
                    </a:cubicBezTo>
                    <a:cubicBezTo>
                      <a:pt x="286132" y="19799"/>
                      <a:pt x="281395" y="32965"/>
                      <a:pt x="270216" y="38965"/>
                    </a:cubicBezTo>
                    <a:lnTo>
                      <a:pt x="150114" y="103344"/>
                    </a:lnTo>
                    <a:lnTo>
                      <a:pt x="143757" y="104939"/>
                    </a:lnTo>
                    <a:lnTo>
                      <a:pt x="31749" y="107962"/>
                    </a:lnTo>
                    <a:cubicBezTo>
                      <a:pt x="31749" y="107962"/>
                      <a:pt x="17321" y="111998"/>
                      <a:pt x="0" y="131628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80" name="Forma livre: Forma 279">
                <a:extLst>
                  <a:ext uri="{FF2B5EF4-FFF2-40B4-BE49-F238E27FC236}">
                    <a16:creationId xmlns:a16="http://schemas.microsoft.com/office/drawing/2014/main" id="{FEF9125E-505E-1EEB-C5F2-7ABDC5EDAAF2}"/>
                  </a:ext>
                </a:extLst>
              </p:cNvPr>
              <p:cNvSpPr/>
              <p:nvPr/>
            </p:nvSpPr>
            <p:spPr>
              <a:xfrm>
                <a:off x="3204559" y="2762164"/>
                <a:ext cx="213587" cy="56819"/>
              </a:xfrm>
              <a:custGeom>
                <a:avLst/>
                <a:gdLst>
                  <a:gd name="connsiteX0" fmla="*/ 0 w 213587"/>
                  <a:gd name="connsiteY0" fmla="*/ 56820 h 56819"/>
                  <a:gd name="connsiteX1" fmla="*/ 50808 w 213587"/>
                  <a:gd name="connsiteY1" fmla="*/ 10047 h 56819"/>
                  <a:gd name="connsiteX2" fmla="*/ 105080 w 213587"/>
                  <a:gd name="connsiteY2" fmla="*/ 2548 h 56819"/>
                  <a:gd name="connsiteX3" fmla="*/ 145816 w 213587"/>
                  <a:gd name="connsiteY3" fmla="*/ 7143 h 56819"/>
                  <a:gd name="connsiteX4" fmla="*/ 189779 w 213587"/>
                  <a:gd name="connsiteY4" fmla="*/ 7143 h 56819"/>
                  <a:gd name="connsiteX5" fmla="*/ 213587 w 213587"/>
                  <a:gd name="connsiteY5" fmla="*/ 27928 h 56819"/>
                  <a:gd name="connsiteX6" fmla="*/ 189779 w 213587"/>
                  <a:gd name="connsiteY6" fmla="*/ 48713 h 56819"/>
                  <a:gd name="connsiteX7" fmla="*/ 128960 w 213587"/>
                  <a:gd name="connsiteY7" fmla="*/ 48713 h 568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13587" h="56819">
                    <a:moveTo>
                      <a:pt x="0" y="56820"/>
                    </a:moveTo>
                    <a:lnTo>
                      <a:pt x="50808" y="10047"/>
                    </a:lnTo>
                    <a:cubicBezTo>
                      <a:pt x="75640" y="-6702"/>
                      <a:pt x="105080" y="2548"/>
                      <a:pt x="105080" y="2548"/>
                    </a:cubicBezTo>
                    <a:cubicBezTo>
                      <a:pt x="119341" y="6297"/>
                      <a:pt x="145816" y="7143"/>
                      <a:pt x="145816" y="7143"/>
                    </a:cubicBezTo>
                    <a:lnTo>
                      <a:pt x="189779" y="7143"/>
                    </a:lnTo>
                    <a:cubicBezTo>
                      <a:pt x="202874" y="7143"/>
                      <a:pt x="213587" y="16500"/>
                      <a:pt x="213587" y="27928"/>
                    </a:cubicBezTo>
                    <a:cubicBezTo>
                      <a:pt x="213587" y="39356"/>
                      <a:pt x="202874" y="48713"/>
                      <a:pt x="189779" y="48713"/>
                    </a:cubicBezTo>
                    <a:lnTo>
                      <a:pt x="128960" y="48713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281" name="Gráfico 4">
              <a:extLst>
                <a:ext uri="{FF2B5EF4-FFF2-40B4-BE49-F238E27FC236}">
                  <a16:creationId xmlns:a16="http://schemas.microsoft.com/office/drawing/2014/main" id="{2D04EF32-5373-A6E6-6B8B-BA8C7EB3AE3E}"/>
                </a:ext>
              </a:extLst>
            </p:cNvPr>
            <p:cNvGrpSpPr/>
            <p:nvPr/>
          </p:nvGrpSpPr>
          <p:grpSpPr>
            <a:xfrm>
              <a:off x="3301555" y="2646823"/>
              <a:ext cx="129209" cy="7428"/>
              <a:chOff x="3301555" y="2646823"/>
              <a:chExt cx="129209" cy="7428"/>
            </a:xfrm>
            <a:solidFill>
              <a:srgbClr val="394553"/>
            </a:solidFill>
          </p:grpSpPr>
          <p:sp>
            <p:nvSpPr>
              <p:cNvPr id="282" name="Forma livre: Forma 281">
                <a:extLst>
                  <a:ext uri="{FF2B5EF4-FFF2-40B4-BE49-F238E27FC236}">
                    <a16:creationId xmlns:a16="http://schemas.microsoft.com/office/drawing/2014/main" id="{A7589EA2-B5A9-6AF9-A1E4-6C1D8FA2A25E}"/>
                  </a:ext>
                </a:extLst>
              </p:cNvPr>
              <p:cNvSpPr/>
              <p:nvPr/>
            </p:nvSpPr>
            <p:spPr>
              <a:xfrm>
                <a:off x="3301555" y="2646823"/>
                <a:ext cx="7416" cy="7428"/>
              </a:xfrm>
              <a:custGeom>
                <a:avLst/>
                <a:gdLst>
                  <a:gd name="connsiteX0" fmla="*/ 7416 w 7416"/>
                  <a:gd name="connsiteY0" fmla="*/ 3714 h 7428"/>
                  <a:gd name="connsiteX1" fmla="*/ 3714 w 7416"/>
                  <a:gd name="connsiteY1" fmla="*/ 7428 h 7428"/>
                  <a:gd name="connsiteX2" fmla="*/ 0 w 7416"/>
                  <a:gd name="connsiteY2" fmla="*/ 3714 h 7428"/>
                  <a:gd name="connsiteX3" fmla="*/ 3714 w 7416"/>
                  <a:gd name="connsiteY3" fmla="*/ 0 h 7428"/>
                  <a:gd name="connsiteX4" fmla="*/ 7416 w 7416"/>
                  <a:gd name="connsiteY4" fmla="*/ 3714 h 74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416" h="7428">
                    <a:moveTo>
                      <a:pt x="7416" y="3714"/>
                    </a:moveTo>
                    <a:cubicBezTo>
                      <a:pt x="7416" y="5774"/>
                      <a:pt x="5774" y="7428"/>
                      <a:pt x="3714" y="7428"/>
                    </a:cubicBezTo>
                    <a:cubicBezTo>
                      <a:pt x="1655" y="7428"/>
                      <a:pt x="0" y="5774"/>
                      <a:pt x="0" y="3714"/>
                    </a:cubicBezTo>
                    <a:cubicBezTo>
                      <a:pt x="0" y="1655"/>
                      <a:pt x="1667" y="0"/>
                      <a:pt x="3714" y="0"/>
                    </a:cubicBezTo>
                    <a:cubicBezTo>
                      <a:pt x="5762" y="0"/>
                      <a:pt x="7416" y="1655"/>
                      <a:pt x="7416" y="3714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83" name="Forma livre: Forma 282">
                <a:extLst>
                  <a:ext uri="{FF2B5EF4-FFF2-40B4-BE49-F238E27FC236}">
                    <a16:creationId xmlns:a16="http://schemas.microsoft.com/office/drawing/2014/main" id="{F2FA52D6-82AE-0312-3CB7-70F807F7356A}"/>
                  </a:ext>
                </a:extLst>
              </p:cNvPr>
              <p:cNvSpPr/>
              <p:nvPr/>
            </p:nvSpPr>
            <p:spPr>
              <a:xfrm>
                <a:off x="3423348" y="2646823"/>
                <a:ext cx="7416" cy="7428"/>
              </a:xfrm>
              <a:custGeom>
                <a:avLst/>
                <a:gdLst>
                  <a:gd name="connsiteX0" fmla="*/ 7416 w 7416"/>
                  <a:gd name="connsiteY0" fmla="*/ 3714 h 7428"/>
                  <a:gd name="connsiteX1" fmla="*/ 3714 w 7416"/>
                  <a:gd name="connsiteY1" fmla="*/ 7428 h 7428"/>
                  <a:gd name="connsiteX2" fmla="*/ 0 w 7416"/>
                  <a:gd name="connsiteY2" fmla="*/ 3714 h 7428"/>
                  <a:gd name="connsiteX3" fmla="*/ 3714 w 7416"/>
                  <a:gd name="connsiteY3" fmla="*/ 0 h 7428"/>
                  <a:gd name="connsiteX4" fmla="*/ 7416 w 7416"/>
                  <a:gd name="connsiteY4" fmla="*/ 3714 h 74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416" h="7428">
                    <a:moveTo>
                      <a:pt x="7416" y="3714"/>
                    </a:moveTo>
                    <a:cubicBezTo>
                      <a:pt x="7416" y="5774"/>
                      <a:pt x="5774" y="7428"/>
                      <a:pt x="3714" y="7428"/>
                    </a:cubicBezTo>
                    <a:cubicBezTo>
                      <a:pt x="1655" y="7428"/>
                      <a:pt x="0" y="5774"/>
                      <a:pt x="0" y="3714"/>
                    </a:cubicBezTo>
                    <a:cubicBezTo>
                      <a:pt x="0" y="1655"/>
                      <a:pt x="1667" y="0"/>
                      <a:pt x="3714" y="0"/>
                    </a:cubicBezTo>
                    <a:cubicBezTo>
                      <a:pt x="5762" y="0"/>
                      <a:pt x="7416" y="1655"/>
                      <a:pt x="7416" y="3714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284" name="Gráfico 4">
              <a:extLst>
                <a:ext uri="{FF2B5EF4-FFF2-40B4-BE49-F238E27FC236}">
                  <a16:creationId xmlns:a16="http://schemas.microsoft.com/office/drawing/2014/main" id="{B1468A22-7ADA-77A1-547C-A7816221E1D6}"/>
                </a:ext>
              </a:extLst>
            </p:cNvPr>
            <p:cNvGrpSpPr/>
            <p:nvPr/>
          </p:nvGrpSpPr>
          <p:grpSpPr>
            <a:xfrm>
              <a:off x="3248474" y="2583766"/>
              <a:ext cx="235360" cy="133542"/>
              <a:chOff x="3248474" y="2583766"/>
              <a:chExt cx="235360" cy="133542"/>
            </a:xfrm>
            <a:noFill/>
          </p:grpSpPr>
          <p:sp>
            <p:nvSpPr>
              <p:cNvPr id="285" name="Forma livre: Forma 284">
                <a:extLst>
                  <a:ext uri="{FF2B5EF4-FFF2-40B4-BE49-F238E27FC236}">
                    <a16:creationId xmlns:a16="http://schemas.microsoft.com/office/drawing/2014/main" id="{81E40E83-052D-7CE2-95C6-15E247B319BA}"/>
                  </a:ext>
                </a:extLst>
              </p:cNvPr>
              <p:cNvSpPr/>
              <p:nvPr/>
            </p:nvSpPr>
            <p:spPr>
              <a:xfrm>
                <a:off x="3248474" y="2583766"/>
                <a:ext cx="235360" cy="133542"/>
              </a:xfrm>
              <a:custGeom>
                <a:avLst/>
                <a:gdLst>
                  <a:gd name="connsiteX0" fmla="*/ 0 w 235360"/>
                  <a:gd name="connsiteY0" fmla="*/ 0 h 133542"/>
                  <a:gd name="connsiteX1" fmla="*/ 235361 w 235360"/>
                  <a:gd name="connsiteY1" fmla="*/ 0 h 133542"/>
                  <a:gd name="connsiteX2" fmla="*/ 235361 w 235360"/>
                  <a:gd name="connsiteY2" fmla="*/ 133543 h 133542"/>
                  <a:gd name="connsiteX3" fmla="*/ 0 w 235360"/>
                  <a:gd name="connsiteY3" fmla="*/ 133543 h 1335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35360" h="133542">
                    <a:moveTo>
                      <a:pt x="0" y="0"/>
                    </a:moveTo>
                    <a:lnTo>
                      <a:pt x="235361" y="0"/>
                    </a:lnTo>
                    <a:lnTo>
                      <a:pt x="235361" y="133543"/>
                    </a:lnTo>
                    <a:lnTo>
                      <a:pt x="0" y="133543"/>
                    </a:ln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86" name="Forma livre: Forma 285">
                <a:extLst>
                  <a:ext uri="{FF2B5EF4-FFF2-40B4-BE49-F238E27FC236}">
                    <a16:creationId xmlns:a16="http://schemas.microsoft.com/office/drawing/2014/main" id="{4FA83E1B-6039-5C3D-6C57-6BCA1A8BCF93}"/>
                  </a:ext>
                </a:extLst>
              </p:cNvPr>
              <p:cNvSpPr/>
              <p:nvPr/>
            </p:nvSpPr>
            <p:spPr>
              <a:xfrm>
                <a:off x="3399742" y="2609967"/>
                <a:ext cx="56807" cy="81139"/>
              </a:xfrm>
              <a:custGeom>
                <a:avLst/>
                <a:gdLst>
                  <a:gd name="connsiteX0" fmla="*/ 0 w 56807"/>
                  <a:gd name="connsiteY0" fmla="*/ 81140 h 81139"/>
                  <a:gd name="connsiteX1" fmla="*/ 37356 w 56807"/>
                  <a:gd name="connsiteY1" fmla="*/ 81140 h 81139"/>
                  <a:gd name="connsiteX2" fmla="*/ 56807 w 56807"/>
                  <a:gd name="connsiteY2" fmla="*/ 61688 h 81139"/>
                  <a:gd name="connsiteX3" fmla="*/ 56807 w 56807"/>
                  <a:gd name="connsiteY3" fmla="*/ 19452 h 81139"/>
                  <a:gd name="connsiteX4" fmla="*/ 37356 w 56807"/>
                  <a:gd name="connsiteY4" fmla="*/ 0 h 81139"/>
                  <a:gd name="connsiteX5" fmla="*/ 0 w 56807"/>
                  <a:gd name="connsiteY5" fmla="*/ 0 h 811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56807" h="81139">
                    <a:moveTo>
                      <a:pt x="0" y="81140"/>
                    </a:moveTo>
                    <a:lnTo>
                      <a:pt x="37356" y="81140"/>
                    </a:lnTo>
                    <a:cubicBezTo>
                      <a:pt x="37356" y="70402"/>
                      <a:pt x="46058" y="61688"/>
                      <a:pt x="56807" y="61688"/>
                    </a:cubicBezTo>
                    <a:lnTo>
                      <a:pt x="56807" y="19452"/>
                    </a:lnTo>
                    <a:cubicBezTo>
                      <a:pt x="46070" y="19452"/>
                      <a:pt x="37356" y="10750"/>
                      <a:pt x="37356" y="0"/>
                    </a:cubicBezTo>
                    <a:lnTo>
                      <a:pt x="0" y="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87" name="Forma livre: Forma 286">
                <a:extLst>
                  <a:ext uri="{FF2B5EF4-FFF2-40B4-BE49-F238E27FC236}">
                    <a16:creationId xmlns:a16="http://schemas.microsoft.com/office/drawing/2014/main" id="{EAF0319E-D96D-E060-4383-751ACA8C53E2}"/>
                  </a:ext>
                </a:extLst>
              </p:cNvPr>
              <p:cNvSpPr/>
              <p:nvPr/>
            </p:nvSpPr>
            <p:spPr>
              <a:xfrm>
                <a:off x="3275758" y="2609967"/>
                <a:ext cx="57569" cy="81139"/>
              </a:xfrm>
              <a:custGeom>
                <a:avLst/>
                <a:gdLst>
                  <a:gd name="connsiteX0" fmla="*/ 57569 w 57569"/>
                  <a:gd name="connsiteY0" fmla="*/ 0 h 81139"/>
                  <a:gd name="connsiteX1" fmla="*/ 19452 w 57569"/>
                  <a:gd name="connsiteY1" fmla="*/ 0 h 81139"/>
                  <a:gd name="connsiteX2" fmla="*/ 0 w 57569"/>
                  <a:gd name="connsiteY2" fmla="*/ 19452 h 81139"/>
                  <a:gd name="connsiteX3" fmla="*/ 0 w 57569"/>
                  <a:gd name="connsiteY3" fmla="*/ 61688 h 81139"/>
                  <a:gd name="connsiteX4" fmla="*/ 19452 w 57569"/>
                  <a:gd name="connsiteY4" fmla="*/ 81140 h 81139"/>
                  <a:gd name="connsiteX5" fmla="*/ 57569 w 57569"/>
                  <a:gd name="connsiteY5" fmla="*/ 81140 h 811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57569" h="81139">
                    <a:moveTo>
                      <a:pt x="57569" y="0"/>
                    </a:moveTo>
                    <a:lnTo>
                      <a:pt x="19452" y="0"/>
                    </a:lnTo>
                    <a:cubicBezTo>
                      <a:pt x="19452" y="10738"/>
                      <a:pt x="10738" y="19452"/>
                      <a:pt x="0" y="19452"/>
                    </a:cubicBezTo>
                    <a:lnTo>
                      <a:pt x="0" y="61688"/>
                    </a:lnTo>
                    <a:cubicBezTo>
                      <a:pt x="10738" y="61688"/>
                      <a:pt x="19452" y="70402"/>
                      <a:pt x="19452" y="81140"/>
                    </a:cubicBezTo>
                    <a:lnTo>
                      <a:pt x="57569" y="8114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288" name="Forma livre: Forma 287">
              <a:extLst>
                <a:ext uri="{FF2B5EF4-FFF2-40B4-BE49-F238E27FC236}">
                  <a16:creationId xmlns:a16="http://schemas.microsoft.com/office/drawing/2014/main" id="{D902C8AB-134F-A175-3E9D-6AA495E74B81}"/>
                </a:ext>
              </a:extLst>
            </p:cNvPr>
            <p:cNvSpPr/>
            <p:nvPr/>
          </p:nvSpPr>
          <p:spPr>
            <a:xfrm>
              <a:off x="3340030" y="2614038"/>
              <a:ext cx="52271" cy="73009"/>
            </a:xfrm>
            <a:custGeom>
              <a:avLst/>
              <a:gdLst>
                <a:gd name="connsiteX0" fmla="*/ 52272 w 52271"/>
                <a:gd name="connsiteY0" fmla="*/ 36499 h 73009"/>
                <a:gd name="connsiteX1" fmla="*/ 26130 w 52271"/>
                <a:gd name="connsiteY1" fmla="*/ 73009 h 73009"/>
                <a:gd name="connsiteX2" fmla="*/ 0 w 52271"/>
                <a:gd name="connsiteY2" fmla="*/ 36499 h 73009"/>
                <a:gd name="connsiteX3" fmla="*/ 26130 w 52271"/>
                <a:gd name="connsiteY3" fmla="*/ 0 h 73009"/>
                <a:gd name="connsiteX4" fmla="*/ 52272 w 52271"/>
                <a:gd name="connsiteY4" fmla="*/ 36499 h 730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2271" h="73009">
                  <a:moveTo>
                    <a:pt x="52272" y="36499"/>
                  </a:moveTo>
                  <a:cubicBezTo>
                    <a:pt x="52272" y="56665"/>
                    <a:pt x="40558" y="73009"/>
                    <a:pt x="26130" y="73009"/>
                  </a:cubicBezTo>
                  <a:cubicBezTo>
                    <a:pt x="11702" y="73009"/>
                    <a:pt x="0" y="56665"/>
                    <a:pt x="0" y="36499"/>
                  </a:cubicBezTo>
                  <a:cubicBezTo>
                    <a:pt x="0" y="16333"/>
                    <a:pt x="11702" y="0"/>
                    <a:pt x="26130" y="0"/>
                  </a:cubicBezTo>
                  <a:cubicBezTo>
                    <a:pt x="40558" y="0"/>
                    <a:pt x="52272" y="16345"/>
                    <a:pt x="52272" y="36499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289" name="Gráfico 4">
            <a:extLst>
              <a:ext uri="{FF2B5EF4-FFF2-40B4-BE49-F238E27FC236}">
                <a16:creationId xmlns:a16="http://schemas.microsoft.com/office/drawing/2014/main" id="{54BB3723-1EEE-C070-3E53-8C5BC14D10F7}"/>
              </a:ext>
            </a:extLst>
          </p:cNvPr>
          <p:cNvGrpSpPr/>
          <p:nvPr/>
        </p:nvGrpSpPr>
        <p:grpSpPr>
          <a:xfrm>
            <a:off x="3238450" y="2054059"/>
            <a:ext cx="254990" cy="296310"/>
            <a:chOff x="3238450" y="2054059"/>
            <a:chExt cx="254990" cy="296310"/>
          </a:xfrm>
          <a:noFill/>
        </p:grpSpPr>
        <p:grpSp>
          <p:nvGrpSpPr>
            <p:cNvPr id="290" name="Gráfico 4">
              <a:extLst>
                <a:ext uri="{FF2B5EF4-FFF2-40B4-BE49-F238E27FC236}">
                  <a16:creationId xmlns:a16="http://schemas.microsoft.com/office/drawing/2014/main" id="{6BAD6C5E-F224-322E-4BEE-DF4DC632C264}"/>
                </a:ext>
              </a:extLst>
            </p:cNvPr>
            <p:cNvGrpSpPr/>
            <p:nvPr/>
          </p:nvGrpSpPr>
          <p:grpSpPr>
            <a:xfrm>
              <a:off x="3295436" y="2103676"/>
              <a:ext cx="198004" cy="122554"/>
              <a:chOff x="3295436" y="2103676"/>
              <a:chExt cx="198004" cy="122554"/>
            </a:xfrm>
            <a:noFill/>
          </p:grpSpPr>
          <p:grpSp>
            <p:nvGrpSpPr>
              <p:cNvPr id="291" name="Gráfico 4">
                <a:extLst>
                  <a:ext uri="{FF2B5EF4-FFF2-40B4-BE49-F238E27FC236}">
                    <a16:creationId xmlns:a16="http://schemas.microsoft.com/office/drawing/2014/main" id="{F818B8E1-08C1-4F90-2B45-AD8C0D033C9B}"/>
                  </a:ext>
                </a:extLst>
              </p:cNvPr>
              <p:cNvGrpSpPr/>
              <p:nvPr/>
            </p:nvGrpSpPr>
            <p:grpSpPr>
              <a:xfrm>
                <a:off x="3295436" y="2103676"/>
                <a:ext cx="198004" cy="122554"/>
                <a:chOff x="3295436" y="2103676"/>
                <a:chExt cx="198004" cy="122554"/>
              </a:xfrm>
              <a:noFill/>
            </p:grpSpPr>
            <p:sp>
              <p:nvSpPr>
                <p:cNvPr id="292" name="Forma livre: Forma 291">
                  <a:extLst>
                    <a:ext uri="{FF2B5EF4-FFF2-40B4-BE49-F238E27FC236}">
                      <a16:creationId xmlns:a16="http://schemas.microsoft.com/office/drawing/2014/main" id="{B1C96382-58EB-BC01-A102-3C01F67386D8}"/>
                    </a:ext>
                  </a:extLst>
                </p:cNvPr>
                <p:cNvSpPr/>
                <p:nvPr/>
              </p:nvSpPr>
              <p:spPr>
                <a:xfrm>
                  <a:off x="3295436" y="2103676"/>
                  <a:ext cx="198004" cy="122554"/>
                </a:xfrm>
                <a:custGeom>
                  <a:avLst/>
                  <a:gdLst>
                    <a:gd name="connsiteX0" fmla="*/ 20844 w 198004"/>
                    <a:gd name="connsiteY0" fmla="*/ 122555 h 122554"/>
                    <a:gd name="connsiteX1" fmla="*/ 0 w 198004"/>
                    <a:gd name="connsiteY1" fmla="*/ 101401 h 122554"/>
                    <a:gd name="connsiteX2" fmla="*/ 0 w 198004"/>
                    <a:gd name="connsiteY2" fmla="*/ 20844 h 122554"/>
                    <a:gd name="connsiteX3" fmla="*/ 20844 w 198004"/>
                    <a:gd name="connsiteY3" fmla="*/ 0 h 122554"/>
                    <a:gd name="connsiteX4" fmla="*/ 177160 w 198004"/>
                    <a:gd name="connsiteY4" fmla="*/ 0 h 122554"/>
                    <a:gd name="connsiteX5" fmla="*/ 198005 w 198004"/>
                    <a:gd name="connsiteY5" fmla="*/ 20844 h 122554"/>
                    <a:gd name="connsiteX6" fmla="*/ 198005 w 198004"/>
                    <a:gd name="connsiteY6" fmla="*/ 101401 h 122554"/>
                    <a:gd name="connsiteX7" fmla="*/ 177160 w 198004"/>
                    <a:gd name="connsiteY7" fmla="*/ 122555 h 122554"/>
                    <a:gd name="connsiteX8" fmla="*/ 20844 w 198004"/>
                    <a:gd name="connsiteY8" fmla="*/ 122555 h 12255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198004" h="122554">
                      <a:moveTo>
                        <a:pt x="20844" y="122555"/>
                      </a:moveTo>
                      <a:cubicBezTo>
                        <a:pt x="9381" y="122555"/>
                        <a:pt x="0" y="112865"/>
                        <a:pt x="0" y="101401"/>
                      </a:cubicBezTo>
                      <a:lnTo>
                        <a:pt x="0" y="20844"/>
                      </a:lnTo>
                      <a:cubicBezTo>
                        <a:pt x="0" y="9392"/>
                        <a:pt x="9381" y="0"/>
                        <a:pt x="20844" y="0"/>
                      </a:cubicBezTo>
                      <a:lnTo>
                        <a:pt x="177160" y="0"/>
                      </a:lnTo>
                      <a:cubicBezTo>
                        <a:pt x="188624" y="0"/>
                        <a:pt x="198005" y="9381"/>
                        <a:pt x="198005" y="20844"/>
                      </a:cubicBezTo>
                      <a:lnTo>
                        <a:pt x="198005" y="101401"/>
                      </a:lnTo>
                      <a:cubicBezTo>
                        <a:pt x="198005" y="112865"/>
                        <a:pt x="188624" y="122555"/>
                        <a:pt x="177160" y="122555"/>
                      </a:cubicBezTo>
                      <a:lnTo>
                        <a:pt x="20844" y="122555"/>
                      </a:lnTo>
                      <a:close/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93" name="Forma livre: Forma 292">
                  <a:extLst>
                    <a:ext uri="{FF2B5EF4-FFF2-40B4-BE49-F238E27FC236}">
                      <a16:creationId xmlns:a16="http://schemas.microsoft.com/office/drawing/2014/main" id="{E99A3F04-45D7-B383-6E7B-BD0FB4517F80}"/>
                    </a:ext>
                  </a:extLst>
                </p:cNvPr>
                <p:cNvSpPr/>
                <p:nvPr/>
              </p:nvSpPr>
              <p:spPr>
                <a:xfrm>
                  <a:off x="3320697" y="2195316"/>
                  <a:ext cx="99889" cy="1190"/>
                </a:xfrm>
                <a:custGeom>
                  <a:avLst/>
                  <a:gdLst>
                    <a:gd name="connsiteX0" fmla="*/ 0 w 99889"/>
                    <a:gd name="connsiteY0" fmla="*/ 0 h 1190"/>
                    <a:gd name="connsiteX1" fmla="*/ 99889 w 99889"/>
                    <a:gd name="connsiteY1" fmla="*/ 0 h 11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99889" h="1190">
                      <a:moveTo>
                        <a:pt x="0" y="0"/>
                      </a:moveTo>
                      <a:lnTo>
                        <a:pt x="99889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94" name="Forma livre: Forma 293">
                  <a:extLst>
                    <a:ext uri="{FF2B5EF4-FFF2-40B4-BE49-F238E27FC236}">
                      <a16:creationId xmlns:a16="http://schemas.microsoft.com/office/drawing/2014/main" id="{21FCE723-CB78-95D0-FF8C-B93F05C4D474}"/>
                    </a:ext>
                  </a:extLst>
                </p:cNvPr>
                <p:cNvSpPr/>
                <p:nvPr/>
              </p:nvSpPr>
              <p:spPr>
                <a:xfrm>
                  <a:off x="3320697" y="2168662"/>
                  <a:ext cx="65985" cy="1190"/>
                </a:xfrm>
                <a:custGeom>
                  <a:avLst/>
                  <a:gdLst>
                    <a:gd name="connsiteX0" fmla="*/ 0 w 65985"/>
                    <a:gd name="connsiteY0" fmla="*/ 0 h 1190"/>
                    <a:gd name="connsiteX1" fmla="*/ 65986 w 65985"/>
                    <a:gd name="connsiteY1" fmla="*/ 0 h 11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65985" h="1190">
                      <a:moveTo>
                        <a:pt x="0" y="0"/>
                      </a:moveTo>
                      <a:lnTo>
                        <a:pt x="65986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295" name="Forma livre: Forma 294">
                <a:extLst>
                  <a:ext uri="{FF2B5EF4-FFF2-40B4-BE49-F238E27FC236}">
                    <a16:creationId xmlns:a16="http://schemas.microsoft.com/office/drawing/2014/main" id="{C8BD66D5-D890-DE7E-C388-B00E72953FE1}"/>
                  </a:ext>
                </a:extLst>
              </p:cNvPr>
              <p:cNvSpPr/>
              <p:nvPr/>
            </p:nvSpPr>
            <p:spPr>
              <a:xfrm rot="-22800">
                <a:off x="3422790" y="2128967"/>
                <a:ext cx="40189" cy="40189"/>
              </a:xfrm>
              <a:custGeom>
                <a:avLst/>
                <a:gdLst>
                  <a:gd name="connsiteX0" fmla="*/ 40189 w 40189"/>
                  <a:gd name="connsiteY0" fmla="*/ 20094 h 40189"/>
                  <a:gd name="connsiteX1" fmla="*/ 20095 w 40189"/>
                  <a:gd name="connsiteY1" fmla="*/ 40189 h 40189"/>
                  <a:gd name="connsiteX2" fmla="*/ 0 w 40189"/>
                  <a:gd name="connsiteY2" fmla="*/ 20094 h 40189"/>
                  <a:gd name="connsiteX3" fmla="*/ 20095 w 40189"/>
                  <a:gd name="connsiteY3" fmla="*/ 0 h 40189"/>
                  <a:gd name="connsiteX4" fmla="*/ 40189 w 40189"/>
                  <a:gd name="connsiteY4" fmla="*/ 20094 h 401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0189" h="40189">
                    <a:moveTo>
                      <a:pt x="40189" y="20094"/>
                    </a:moveTo>
                    <a:cubicBezTo>
                      <a:pt x="40189" y="31192"/>
                      <a:pt x="31192" y="40189"/>
                      <a:pt x="20095" y="40189"/>
                    </a:cubicBezTo>
                    <a:cubicBezTo>
                      <a:pt x="8997" y="40189"/>
                      <a:pt x="0" y="31192"/>
                      <a:pt x="0" y="20094"/>
                    </a:cubicBezTo>
                    <a:cubicBezTo>
                      <a:pt x="0" y="8997"/>
                      <a:pt x="8997" y="0"/>
                      <a:pt x="20095" y="0"/>
                    </a:cubicBezTo>
                    <a:cubicBezTo>
                      <a:pt x="31192" y="0"/>
                      <a:pt x="40189" y="8997"/>
                      <a:pt x="40189" y="20094"/>
                    </a:cubicBezTo>
                    <a:close/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296" name="Gráfico 4">
              <a:extLst>
                <a:ext uri="{FF2B5EF4-FFF2-40B4-BE49-F238E27FC236}">
                  <a16:creationId xmlns:a16="http://schemas.microsoft.com/office/drawing/2014/main" id="{0F96BDE3-94ED-F137-671A-8804F02F8E8E}"/>
                </a:ext>
              </a:extLst>
            </p:cNvPr>
            <p:cNvGrpSpPr/>
            <p:nvPr/>
          </p:nvGrpSpPr>
          <p:grpSpPr>
            <a:xfrm>
              <a:off x="3238450" y="2054059"/>
              <a:ext cx="163851" cy="296310"/>
              <a:chOff x="3238450" y="2054059"/>
              <a:chExt cx="163851" cy="296310"/>
            </a:xfrm>
            <a:noFill/>
          </p:grpSpPr>
          <p:sp>
            <p:nvSpPr>
              <p:cNvPr id="297" name="Forma livre: Forma 296">
                <a:extLst>
                  <a:ext uri="{FF2B5EF4-FFF2-40B4-BE49-F238E27FC236}">
                    <a16:creationId xmlns:a16="http://schemas.microsoft.com/office/drawing/2014/main" id="{E1B9D41A-2221-65CE-DF0C-39CD2BB830D9}"/>
                  </a:ext>
                </a:extLst>
              </p:cNvPr>
              <p:cNvSpPr/>
              <p:nvPr/>
            </p:nvSpPr>
            <p:spPr>
              <a:xfrm>
                <a:off x="3238450" y="2054059"/>
                <a:ext cx="163851" cy="296310"/>
              </a:xfrm>
              <a:custGeom>
                <a:avLst/>
                <a:gdLst>
                  <a:gd name="connsiteX0" fmla="*/ 163851 w 163851"/>
                  <a:gd name="connsiteY0" fmla="*/ 194802 h 296310"/>
                  <a:gd name="connsiteX1" fmla="*/ 163851 w 163851"/>
                  <a:gd name="connsiteY1" fmla="*/ 282478 h 296310"/>
                  <a:gd name="connsiteX2" fmla="*/ 150435 w 163851"/>
                  <a:gd name="connsiteY2" fmla="*/ 296311 h 296310"/>
                  <a:gd name="connsiteX3" fmla="*/ 13404 w 163851"/>
                  <a:gd name="connsiteY3" fmla="*/ 296311 h 296310"/>
                  <a:gd name="connsiteX4" fmla="*/ 0 w 163851"/>
                  <a:gd name="connsiteY4" fmla="*/ 282478 h 296310"/>
                  <a:gd name="connsiteX5" fmla="*/ 0 w 163851"/>
                  <a:gd name="connsiteY5" fmla="*/ 13416 h 296310"/>
                  <a:gd name="connsiteX6" fmla="*/ 13404 w 163851"/>
                  <a:gd name="connsiteY6" fmla="*/ 0 h 296310"/>
                  <a:gd name="connsiteX7" fmla="*/ 150435 w 163851"/>
                  <a:gd name="connsiteY7" fmla="*/ 0 h 296310"/>
                  <a:gd name="connsiteX8" fmla="*/ 163851 w 163851"/>
                  <a:gd name="connsiteY8" fmla="*/ 13416 h 296310"/>
                  <a:gd name="connsiteX9" fmla="*/ 163851 w 163851"/>
                  <a:gd name="connsiteY9" fmla="*/ 26975 h 2963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63851" h="296310">
                    <a:moveTo>
                      <a:pt x="163851" y="194802"/>
                    </a:moveTo>
                    <a:lnTo>
                      <a:pt x="163851" y="282478"/>
                    </a:lnTo>
                    <a:cubicBezTo>
                      <a:pt x="163851" y="289858"/>
                      <a:pt x="157816" y="296311"/>
                      <a:pt x="150435" y="296311"/>
                    </a:cubicBezTo>
                    <a:lnTo>
                      <a:pt x="13404" y="296311"/>
                    </a:lnTo>
                    <a:cubicBezTo>
                      <a:pt x="6024" y="296311"/>
                      <a:pt x="0" y="289846"/>
                      <a:pt x="0" y="282478"/>
                    </a:cubicBezTo>
                    <a:lnTo>
                      <a:pt x="0" y="13416"/>
                    </a:lnTo>
                    <a:cubicBezTo>
                      <a:pt x="0" y="6035"/>
                      <a:pt x="6036" y="0"/>
                      <a:pt x="13404" y="0"/>
                    </a:cubicBezTo>
                    <a:lnTo>
                      <a:pt x="150435" y="0"/>
                    </a:lnTo>
                    <a:cubicBezTo>
                      <a:pt x="157816" y="0"/>
                      <a:pt x="163851" y="6024"/>
                      <a:pt x="163851" y="13416"/>
                    </a:cubicBezTo>
                    <a:lnTo>
                      <a:pt x="163851" y="26975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98" name="Forma livre: Forma 297">
                <a:extLst>
                  <a:ext uri="{FF2B5EF4-FFF2-40B4-BE49-F238E27FC236}">
                    <a16:creationId xmlns:a16="http://schemas.microsoft.com/office/drawing/2014/main" id="{ED65CEA9-5D32-118E-A4A6-1EA81F1A9C3C}"/>
                  </a:ext>
                </a:extLst>
              </p:cNvPr>
              <p:cNvSpPr/>
              <p:nvPr/>
            </p:nvSpPr>
            <p:spPr>
              <a:xfrm>
                <a:off x="3258366" y="2291895"/>
                <a:ext cx="123971" cy="1190"/>
              </a:xfrm>
              <a:custGeom>
                <a:avLst/>
                <a:gdLst>
                  <a:gd name="connsiteX0" fmla="*/ 0 w 123971"/>
                  <a:gd name="connsiteY0" fmla="*/ 0 h 1190"/>
                  <a:gd name="connsiteX1" fmla="*/ 123972 w 123971"/>
                  <a:gd name="connsiteY1" fmla="*/ 0 h 11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3971" h="1190">
                    <a:moveTo>
                      <a:pt x="0" y="0"/>
                    </a:moveTo>
                    <a:lnTo>
                      <a:pt x="123972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99" name="Forma livre: Forma 298">
                <a:extLst>
                  <a:ext uri="{FF2B5EF4-FFF2-40B4-BE49-F238E27FC236}">
                    <a16:creationId xmlns:a16="http://schemas.microsoft.com/office/drawing/2014/main" id="{632C8F99-3978-42F6-DBFF-804F781AB831}"/>
                  </a:ext>
                </a:extLst>
              </p:cNvPr>
              <p:cNvSpPr/>
              <p:nvPr/>
            </p:nvSpPr>
            <p:spPr>
              <a:xfrm>
                <a:off x="3309233" y="2320299"/>
                <a:ext cx="22284" cy="1190"/>
              </a:xfrm>
              <a:custGeom>
                <a:avLst/>
                <a:gdLst>
                  <a:gd name="connsiteX0" fmla="*/ 0 w 22284"/>
                  <a:gd name="connsiteY0" fmla="*/ 0 h 1190"/>
                  <a:gd name="connsiteX1" fmla="*/ 22285 w 22284"/>
                  <a:gd name="connsiteY1" fmla="*/ 0 h 11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2284" h="1190">
                    <a:moveTo>
                      <a:pt x="0" y="0"/>
                    </a:moveTo>
                    <a:lnTo>
                      <a:pt x="22285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300" name="Gráfico 4">
            <a:extLst>
              <a:ext uri="{FF2B5EF4-FFF2-40B4-BE49-F238E27FC236}">
                <a16:creationId xmlns:a16="http://schemas.microsoft.com/office/drawing/2014/main" id="{B15D99DD-E193-40C2-39A4-FCC448777931}"/>
              </a:ext>
            </a:extLst>
          </p:cNvPr>
          <p:cNvGrpSpPr/>
          <p:nvPr/>
        </p:nvGrpSpPr>
        <p:grpSpPr>
          <a:xfrm>
            <a:off x="3206571" y="995919"/>
            <a:ext cx="318750" cy="298212"/>
            <a:chOff x="3206571" y="995919"/>
            <a:chExt cx="318750" cy="298212"/>
          </a:xfrm>
          <a:noFill/>
        </p:grpSpPr>
        <p:grpSp>
          <p:nvGrpSpPr>
            <p:cNvPr id="301" name="Gráfico 4">
              <a:extLst>
                <a:ext uri="{FF2B5EF4-FFF2-40B4-BE49-F238E27FC236}">
                  <a16:creationId xmlns:a16="http://schemas.microsoft.com/office/drawing/2014/main" id="{D7CD97D5-A5A7-0807-6065-E4B442178EFB}"/>
                </a:ext>
              </a:extLst>
            </p:cNvPr>
            <p:cNvGrpSpPr/>
            <p:nvPr/>
          </p:nvGrpSpPr>
          <p:grpSpPr>
            <a:xfrm>
              <a:off x="3206571" y="995919"/>
              <a:ext cx="258145" cy="258050"/>
              <a:chOff x="3206571" y="995919"/>
              <a:chExt cx="258145" cy="258050"/>
            </a:xfrm>
            <a:noFill/>
          </p:grpSpPr>
          <p:sp>
            <p:nvSpPr>
              <p:cNvPr id="302" name="Forma livre: Forma 301">
                <a:extLst>
                  <a:ext uri="{FF2B5EF4-FFF2-40B4-BE49-F238E27FC236}">
                    <a16:creationId xmlns:a16="http://schemas.microsoft.com/office/drawing/2014/main" id="{B87B9B82-F4A4-3417-85E5-D33682E76414}"/>
                  </a:ext>
                </a:extLst>
              </p:cNvPr>
              <p:cNvSpPr/>
              <p:nvPr/>
            </p:nvSpPr>
            <p:spPr>
              <a:xfrm>
                <a:off x="3229094" y="1071916"/>
                <a:ext cx="213111" cy="1190"/>
              </a:xfrm>
              <a:custGeom>
                <a:avLst/>
                <a:gdLst>
                  <a:gd name="connsiteX0" fmla="*/ 0 w 213111"/>
                  <a:gd name="connsiteY0" fmla="*/ 0 h 1190"/>
                  <a:gd name="connsiteX1" fmla="*/ 213111 w 213111"/>
                  <a:gd name="connsiteY1" fmla="*/ 0 h 11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13111" h="1190">
                    <a:moveTo>
                      <a:pt x="0" y="0"/>
                    </a:moveTo>
                    <a:lnTo>
                      <a:pt x="213111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03" name="Forma livre: Forma 302">
                <a:extLst>
                  <a:ext uri="{FF2B5EF4-FFF2-40B4-BE49-F238E27FC236}">
                    <a16:creationId xmlns:a16="http://schemas.microsoft.com/office/drawing/2014/main" id="{1F84C630-0629-0F6A-EB55-234FAE2716F2}"/>
                  </a:ext>
                </a:extLst>
              </p:cNvPr>
              <p:cNvSpPr/>
              <p:nvPr/>
            </p:nvSpPr>
            <p:spPr>
              <a:xfrm>
                <a:off x="3206571" y="1019049"/>
                <a:ext cx="158958" cy="234919"/>
              </a:xfrm>
              <a:custGeom>
                <a:avLst/>
                <a:gdLst>
                  <a:gd name="connsiteX0" fmla="*/ 158959 w 158958"/>
                  <a:gd name="connsiteY0" fmla="*/ 234920 h 234919"/>
                  <a:gd name="connsiteX1" fmla="*/ 14904 w 158958"/>
                  <a:gd name="connsiteY1" fmla="*/ 234920 h 234919"/>
                  <a:gd name="connsiteX2" fmla="*/ 0 w 158958"/>
                  <a:gd name="connsiteY2" fmla="*/ 219944 h 234919"/>
                  <a:gd name="connsiteX3" fmla="*/ 0 w 158958"/>
                  <a:gd name="connsiteY3" fmla="*/ 14904 h 234919"/>
                  <a:gd name="connsiteX4" fmla="*/ 14904 w 158958"/>
                  <a:gd name="connsiteY4" fmla="*/ 0 h 234919"/>
                  <a:gd name="connsiteX5" fmla="*/ 55903 w 158958"/>
                  <a:gd name="connsiteY5" fmla="*/ 0 h 2349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58958" h="234919">
                    <a:moveTo>
                      <a:pt x="158959" y="234920"/>
                    </a:moveTo>
                    <a:lnTo>
                      <a:pt x="14904" y="234920"/>
                    </a:lnTo>
                    <a:cubicBezTo>
                      <a:pt x="6714" y="234920"/>
                      <a:pt x="0" y="228134"/>
                      <a:pt x="0" y="219944"/>
                    </a:cubicBezTo>
                    <a:lnTo>
                      <a:pt x="0" y="14904"/>
                    </a:lnTo>
                    <a:cubicBezTo>
                      <a:pt x="0" y="6714"/>
                      <a:pt x="6714" y="0"/>
                      <a:pt x="14904" y="0"/>
                    </a:cubicBezTo>
                    <a:lnTo>
                      <a:pt x="55903" y="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04" name="Forma livre: Forma 303">
                <a:extLst>
                  <a:ext uri="{FF2B5EF4-FFF2-40B4-BE49-F238E27FC236}">
                    <a16:creationId xmlns:a16="http://schemas.microsoft.com/office/drawing/2014/main" id="{027BF1E1-7293-990F-5D0E-066CD8B5CAA4}"/>
                  </a:ext>
                </a:extLst>
              </p:cNvPr>
              <p:cNvSpPr/>
              <p:nvPr/>
            </p:nvSpPr>
            <p:spPr>
              <a:xfrm>
                <a:off x="3422360" y="1019049"/>
                <a:ext cx="42355" cy="111460"/>
              </a:xfrm>
              <a:custGeom>
                <a:avLst/>
                <a:gdLst>
                  <a:gd name="connsiteX0" fmla="*/ 0 w 42355"/>
                  <a:gd name="connsiteY0" fmla="*/ 0 h 111460"/>
                  <a:gd name="connsiteX1" fmla="*/ 27451 w 42355"/>
                  <a:gd name="connsiteY1" fmla="*/ 0 h 111460"/>
                  <a:gd name="connsiteX2" fmla="*/ 42356 w 42355"/>
                  <a:gd name="connsiteY2" fmla="*/ 14904 h 111460"/>
                  <a:gd name="connsiteX3" fmla="*/ 42356 w 42355"/>
                  <a:gd name="connsiteY3" fmla="*/ 111460 h 1114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2355" h="111460">
                    <a:moveTo>
                      <a:pt x="0" y="0"/>
                    </a:moveTo>
                    <a:lnTo>
                      <a:pt x="27451" y="0"/>
                    </a:lnTo>
                    <a:cubicBezTo>
                      <a:pt x="35653" y="0"/>
                      <a:pt x="42356" y="6702"/>
                      <a:pt x="42356" y="14904"/>
                    </a:cubicBezTo>
                    <a:lnTo>
                      <a:pt x="42356" y="11146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05" name="Forma livre: Forma 304">
                <a:extLst>
                  <a:ext uri="{FF2B5EF4-FFF2-40B4-BE49-F238E27FC236}">
                    <a16:creationId xmlns:a16="http://schemas.microsoft.com/office/drawing/2014/main" id="{C26AD5AE-E332-88A3-A69F-28F86331F747}"/>
                  </a:ext>
                </a:extLst>
              </p:cNvPr>
              <p:cNvSpPr/>
              <p:nvPr/>
            </p:nvSpPr>
            <p:spPr>
              <a:xfrm>
                <a:off x="3357148" y="1019049"/>
                <a:ext cx="35712" cy="1190"/>
              </a:xfrm>
              <a:custGeom>
                <a:avLst/>
                <a:gdLst>
                  <a:gd name="connsiteX0" fmla="*/ 0 w 35712"/>
                  <a:gd name="connsiteY0" fmla="*/ 0 h 1190"/>
                  <a:gd name="connsiteX1" fmla="*/ 35713 w 35712"/>
                  <a:gd name="connsiteY1" fmla="*/ 0 h 11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5712" h="1190">
                    <a:moveTo>
                      <a:pt x="0" y="0"/>
                    </a:moveTo>
                    <a:lnTo>
                      <a:pt x="35713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06" name="Forma livre: Forma 305">
                <a:extLst>
                  <a:ext uri="{FF2B5EF4-FFF2-40B4-BE49-F238E27FC236}">
                    <a16:creationId xmlns:a16="http://schemas.microsoft.com/office/drawing/2014/main" id="{7320488E-8669-E519-F413-69249DE2A095}"/>
                  </a:ext>
                </a:extLst>
              </p:cNvPr>
              <p:cNvSpPr/>
              <p:nvPr/>
            </p:nvSpPr>
            <p:spPr>
              <a:xfrm>
                <a:off x="3291960" y="1019049"/>
                <a:ext cx="35701" cy="1190"/>
              </a:xfrm>
              <a:custGeom>
                <a:avLst/>
                <a:gdLst>
                  <a:gd name="connsiteX0" fmla="*/ 0 w 35701"/>
                  <a:gd name="connsiteY0" fmla="*/ 0 h 1190"/>
                  <a:gd name="connsiteX1" fmla="*/ 35701 w 35701"/>
                  <a:gd name="connsiteY1" fmla="*/ 0 h 11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5701" h="1190">
                    <a:moveTo>
                      <a:pt x="0" y="0"/>
                    </a:moveTo>
                    <a:lnTo>
                      <a:pt x="35701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07" name="Forma livre: Forma 306">
                <a:extLst>
                  <a:ext uri="{FF2B5EF4-FFF2-40B4-BE49-F238E27FC236}">
                    <a16:creationId xmlns:a16="http://schemas.microsoft.com/office/drawing/2014/main" id="{FD759102-B7BC-0D9C-F133-8C71350CF4CD}"/>
                  </a:ext>
                </a:extLst>
              </p:cNvPr>
              <p:cNvSpPr/>
              <p:nvPr/>
            </p:nvSpPr>
            <p:spPr>
              <a:xfrm>
                <a:off x="3263497" y="995919"/>
                <a:ext cx="1190" cy="50676"/>
              </a:xfrm>
              <a:custGeom>
                <a:avLst/>
                <a:gdLst>
                  <a:gd name="connsiteX0" fmla="*/ 0 w 1190"/>
                  <a:gd name="connsiteY0" fmla="*/ 0 h 50676"/>
                  <a:gd name="connsiteX1" fmla="*/ 0 w 1190"/>
                  <a:gd name="connsiteY1" fmla="*/ 50677 h 506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0" h="50676">
                    <a:moveTo>
                      <a:pt x="0" y="0"/>
                    </a:moveTo>
                    <a:lnTo>
                      <a:pt x="0" y="50677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08" name="Forma livre: Forma 307">
                <a:extLst>
                  <a:ext uri="{FF2B5EF4-FFF2-40B4-BE49-F238E27FC236}">
                    <a16:creationId xmlns:a16="http://schemas.microsoft.com/office/drawing/2014/main" id="{52B40E49-2295-E775-53D8-770244AC1831}"/>
                  </a:ext>
                </a:extLst>
              </p:cNvPr>
              <p:cNvSpPr/>
              <p:nvPr/>
            </p:nvSpPr>
            <p:spPr>
              <a:xfrm>
                <a:off x="3393885" y="995919"/>
                <a:ext cx="1190" cy="50676"/>
              </a:xfrm>
              <a:custGeom>
                <a:avLst/>
                <a:gdLst>
                  <a:gd name="connsiteX0" fmla="*/ 0 w 1190"/>
                  <a:gd name="connsiteY0" fmla="*/ 0 h 50676"/>
                  <a:gd name="connsiteX1" fmla="*/ 0 w 1190"/>
                  <a:gd name="connsiteY1" fmla="*/ 50677 h 506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0" h="50676">
                    <a:moveTo>
                      <a:pt x="0" y="0"/>
                    </a:moveTo>
                    <a:lnTo>
                      <a:pt x="0" y="50677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09" name="Forma livre: Forma 308">
                <a:extLst>
                  <a:ext uri="{FF2B5EF4-FFF2-40B4-BE49-F238E27FC236}">
                    <a16:creationId xmlns:a16="http://schemas.microsoft.com/office/drawing/2014/main" id="{D1B59213-A28A-1FEF-5592-D0AC805AFB8F}"/>
                  </a:ext>
                </a:extLst>
              </p:cNvPr>
              <p:cNvSpPr/>
              <p:nvPr/>
            </p:nvSpPr>
            <p:spPr>
              <a:xfrm>
                <a:off x="3328697" y="995919"/>
                <a:ext cx="1190" cy="50676"/>
              </a:xfrm>
              <a:custGeom>
                <a:avLst/>
                <a:gdLst>
                  <a:gd name="connsiteX0" fmla="*/ 0 w 1190"/>
                  <a:gd name="connsiteY0" fmla="*/ 0 h 50676"/>
                  <a:gd name="connsiteX1" fmla="*/ 0 w 1190"/>
                  <a:gd name="connsiteY1" fmla="*/ 50677 h 506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0" h="50676">
                    <a:moveTo>
                      <a:pt x="0" y="0"/>
                    </a:moveTo>
                    <a:lnTo>
                      <a:pt x="0" y="50677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10" name="Forma livre: Forma 309">
                <a:extLst>
                  <a:ext uri="{FF2B5EF4-FFF2-40B4-BE49-F238E27FC236}">
                    <a16:creationId xmlns:a16="http://schemas.microsoft.com/office/drawing/2014/main" id="{9A116CA6-ECB0-1ED9-DF7B-3BA083AF44D1}"/>
                  </a:ext>
                </a:extLst>
              </p:cNvPr>
              <p:cNvSpPr/>
              <p:nvPr/>
            </p:nvSpPr>
            <p:spPr>
              <a:xfrm>
                <a:off x="3248093" y="1139271"/>
                <a:ext cx="160303" cy="1190"/>
              </a:xfrm>
              <a:custGeom>
                <a:avLst/>
                <a:gdLst>
                  <a:gd name="connsiteX0" fmla="*/ 0 w 160303"/>
                  <a:gd name="connsiteY0" fmla="*/ 0 h 1190"/>
                  <a:gd name="connsiteX1" fmla="*/ 160304 w 160303"/>
                  <a:gd name="connsiteY1" fmla="*/ 0 h 11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60303" h="1190">
                    <a:moveTo>
                      <a:pt x="0" y="0"/>
                    </a:moveTo>
                    <a:lnTo>
                      <a:pt x="160304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11" name="Forma livre: Forma 310">
                <a:extLst>
                  <a:ext uri="{FF2B5EF4-FFF2-40B4-BE49-F238E27FC236}">
                    <a16:creationId xmlns:a16="http://schemas.microsoft.com/office/drawing/2014/main" id="{EA2D14F7-89B2-C662-1D38-26E2DFC63E92}"/>
                  </a:ext>
                </a:extLst>
              </p:cNvPr>
              <p:cNvSpPr/>
              <p:nvPr/>
            </p:nvSpPr>
            <p:spPr>
              <a:xfrm>
                <a:off x="3248093" y="1188067"/>
                <a:ext cx="120626" cy="1190"/>
              </a:xfrm>
              <a:custGeom>
                <a:avLst/>
                <a:gdLst>
                  <a:gd name="connsiteX0" fmla="*/ 0 w 120626"/>
                  <a:gd name="connsiteY0" fmla="*/ 0 h 1190"/>
                  <a:gd name="connsiteX1" fmla="*/ 120627 w 120626"/>
                  <a:gd name="connsiteY1" fmla="*/ 0 h 11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0626" h="1190">
                    <a:moveTo>
                      <a:pt x="0" y="0"/>
                    </a:moveTo>
                    <a:lnTo>
                      <a:pt x="120627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12" name="Forma livre: Forma 311">
                <a:extLst>
                  <a:ext uri="{FF2B5EF4-FFF2-40B4-BE49-F238E27FC236}">
                    <a16:creationId xmlns:a16="http://schemas.microsoft.com/office/drawing/2014/main" id="{3E0281F9-E434-3F9A-AABD-F559E6428EA1}"/>
                  </a:ext>
                </a:extLst>
              </p:cNvPr>
              <p:cNvSpPr/>
              <p:nvPr/>
            </p:nvSpPr>
            <p:spPr>
              <a:xfrm>
                <a:off x="3335637" y="1100725"/>
                <a:ext cx="1190" cy="125888"/>
              </a:xfrm>
              <a:custGeom>
                <a:avLst/>
                <a:gdLst>
                  <a:gd name="connsiteX0" fmla="*/ 0 w 1190"/>
                  <a:gd name="connsiteY0" fmla="*/ 125888 h 125888"/>
                  <a:gd name="connsiteX1" fmla="*/ 0 w 1190"/>
                  <a:gd name="connsiteY1" fmla="*/ 0 h 1258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0" h="125888">
                    <a:moveTo>
                      <a:pt x="0" y="125888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13" name="Forma livre: Forma 312">
                <a:extLst>
                  <a:ext uri="{FF2B5EF4-FFF2-40B4-BE49-F238E27FC236}">
                    <a16:creationId xmlns:a16="http://schemas.microsoft.com/office/drawing/2014/main" id="{9ABF9B38-2588-C9D7-9957-4ADDB4B177F4}"/>
                  </a:ext>
                </a:extLst>
              </p:cNvPr>
              <p:cNvSpPr/>
              <p:nvPr/>
            </p:nvSpPr>
            <p:spPr>
              <a:xfrm>
                <a:off x="3286853" y="1100725"/>
                <a:ext cx="1190" cy="125888"/>
              </a:xfrm>
              <a:custGeom>
                <a:avLst/>
                <a:gdLst>
                  <a:gd name="connsiteX0" fmla="*/ 0 w 1190"/>
                  <a:gd name="connsiteY0" fmla="*/ 125888 h 125888"/>
                  <a:gd name="connsiteX1" fmla="*/ 0 w 1190"/>
                  <a:gd name="connsiteY1" fmla="*/ 0 h 1258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0" h="125888">
                    <a:moveTo>
                      <a:pt x="0" y="125888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14" name="Forma livre: Forma 313">
                <a:extLst>
                  <a:ext uri="{FF2B5EF4-FFF2-40B4-BE49-F238E27FC236}">
                    <a16:creationId xmlns:a16="http://schemas.microsoft.com/office/drawing/2014/main" id="{A54718BD-2DD0-6403-F8B4-E83471322CA4}"/>
                  </a:ext>
                </a:extLst>
              </p:cNvPr>
              <p:cNvSpPr/>
              <p:nvPr/>
            </p:nvSpPr>
            <p:spPr>
              <a:xfrm>
                <a:off x="3384433" y="1100725"/>
                <a:ext cx="1190" cy="60557"/>
              </a:xfrm>
              <a:custGeom>
                <a:avLst/>
                <a:gdLst>
                  <a:gd name="connsiteX0" fmla="*/ 0 w 1190"/>
                  <a:gd name="connsiteY0" fmla="*/ 60557 h 60557"/>
                  <a:gd name="connsiteX1" fmla="*/ 0 w 1190"/>
                  <a:gd name="connsiteY1" fmla="*/ 0 h 605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0" h="60557">
                    <a:moveTo>
                      <a:pt x="0" y="60557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315" name="Gráfico 4">
              <a:extLst>
                <a:ext uri="{FF2B5EF4-FFF2-40B4-BE49-F238E27FC236}">
                  <a16:creationId xmlns:a16="http://schemas.microsoft.com/office/drawing/2014/main" id="{BB8654DB-185C-9CE8-7D0A-9246B12182BE}"/>
                </a:ext>
              </a:extLst>
            </p:cNvPr>
            <p:cNvGrpSpPr/>
            <p:nvPr/>
          </p:nvGrpSpPr>
          <p:grpSpPr>
            <a:xfrm>
              <a:off x="3437050" y="1178079"/>
              <a:ext cx="35320" cy="91365"/>
              <a:chOff x="3437050" y="1178079"/>
              <a:chExt cx="35320" cy="91365"/>
            </a:xfrm>
            <a:noFill/>
          </p:grpSpPr>
          <p:sp>
            <p:nvSpPr>
              <p:cNvPr id="316" name="Forma livre: Forma 315">
                <a:extLst>
                  <a:ext uri="{FF2B5EF4-FFF2-40B4-BE49-F238E27FC236}">
                    <a16:creationId xmlns:a16="http://schemas.microsoft.com/office/drawing/2014/main" id="{10609142-962A-D3F3-8E4E-DA652A645CA5}"/>
                  </a:ext>
                </a:extLst>
              </p:cNvPr>
              <p:cNvSpPr/>
              <p:nvPr/>
            </p:nvSpPr>
            <p:spPr>
              <a:xfrm>
                <a:off x="3437050" y="1190162"/>
                <a:ext cx="35320" cy="67164"/>
              </a:xfrm>
              <a:custGeom>
                <a:avLst/>
                <a:gdLst>
                  <a:gd name="connsiteX0" fmla="*/ 71 w 35320"/>
                  <a:gd name="connsiteY0" fmla="*/ 50784 h 67164"/>
                  <a:gd name="connsiteX1" fmla="*/ 17690 w 35320"/>
                  <a:gd name="connsiteY1" fmla="*/ 67164 h 67164"/>
                  <a:gd name="connsiteX2" fmla="*/ 35320 w 35320"/>
                  <a:gd name="connsiteY2" fmla="*/ 50784 h 67164"/>
                  <a:gd name="connsiteX3" fmla="*/ 17642 w 35320"/>
                  <a:gd name="connsiteY3" fmla="*/ 33582 h 67164"/>
                  <a:gd name="connsiteX4" fmla="*/ 0 w 35320"/>
                  <a:gd name="connsiteY4" fmla="*/ 16380 h 67164"/>
                  <a:gd name="connsiteX5" fmla="*/ 17618 w 35320"/>
                  <a:gd name="connsiteY5" fmla="*/ 0 h 67164"/>
                  <a:gd name="connsiteX6" fmla="*/ 35237 w 35320"/>
                  <a:gd name="connsiteY6" fmla="*/ 16380 h 671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5320" h="67164">
                    <a:moveTo>
                      <a:pt x="71" y="50784"/>
                    </a:moveTo>
                    <a:cubicBezTo>
                      <a:pt x="71" y="59831"/>
                      <a:pt x="7964" y="67164"/>
                      <a:pt x="17690" y="67164"/>
                    </a:cubicBezTo>
                    <a:cubicBezTo>
                      <a:pt x="27416" y="67164"/>
                      <a:pt x="35320" y="59831"/>
                      <a:pt x="35320" y="50784"/>
                    </a:cubicBezTo>
                    <a:cubicBezTo>
                      <a:pt x="35320" y="41737"/>
                      <a:pt x="25916" y="37772"/>
                      <a:pt x="17642" y="33582"/>
                    </a:cubicBezTo>
                    <a:cubicBezTo>
                      <a:pt x="9393" y="29392"/>
                      <a:pt x="0" y="25440"/>
                      <a:pt x="0" y="16380"/>
                    </a:cubicBezTo>
                    <a:cubicBezTo>
                      <a:pt x="0" y="7321"/>
                      <a:pt x="7881" y="0"/>
                      <a:pt x="17618" y="0"/>
                    </a:cubicBezTo>
                    <a:cubicBezTo>
                      <a:pt x="27356" y="0"/>
                      <a:pt x="35237" y="7333"/>
                      <a:pt x="35237" y="16380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17" name="Forma livre: Forma 316">
                <a:extLst>
                  <a:ext uri="{FF2B5EF4-FFF2-40B4-BE49-F238E27FC236}">
                    <a16:creationId xmlns:a16="http://schemas.microsoft.com/office/drawing/2014/main" id="{EC5B48AB-4511-CAF7-6AEC-4EC13301752E}"/>
                  </a:ext>
                </a:extLst>
              </p:cNvPr>
              <p:cNvSpPr/>
              <p:nvPr/>
            </p:nvSpPr>
            <p:spPr>
              <a:xfrm>
                <a:off x="3454657" y="1178079"/>
                <a:ext cx="1190" cy="12011"/>
              </a:xfrm>
              <a:custGeom>
                <a:avLst/>
                <a:gdLst>
                  <a:gd name="connsiteX0" fmla="*/ 0 w 1190"/>
                  <a:gd name="connsiteY0" fmla="*/ 12011 h 12011"/>
                  <a:gd name="connsiteX1" fmla="*/ 0 w 1190"/>
                  <a:gd name="connsiteY1" fmla="*/ 0 h 120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0" h="12011">
                    <a:moveTo>
                      <a:pt x="0" y="12011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18" name="Forma livre: Forma 317">
                <a:extLst>
                  <a:ext uri="{FF2B5EF4-FFF2-40B4-BE49-F238E27FC236}">
                    <a16:creationId xmlns:a16="http://schemas.microsoft.com/office/drawing/2014/main" id="{F4253825-2C1E-BB6C-4F3C-0A652C728822}"/>
                  </a:ext>
                </a:extLst>
              </p:cNvPr>
              <p:cNvSpPr/>
              <p:nvPr/>
            </p:nvSpPr>
            <p:spPr>
              <a:xfrm>
                <a:off x="3454657" y="1257422"/>
                <a:ext cx="1190" cy="12023"/>
              </a:xfrm>
              <a:custGeom>
                <a:avLst/>
                <a:gdLst>
                  <a:gd name="connsiteX0" fmla="*/ 0 w 1190"/>
                  <a:gd name="connsiteY0" fmla="*/ 12023 h 12023"/>
                  <a:gd name="connsiteX1" fmla="*/ 0 w 1190"/>
                  <a:gd name="connsiteY1" fmla="*/ 0 h 120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0" h="12023">
                    <a:moveTo>
                      <a:pt x="0" y="12023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319" name="Forma livre: Forma 318">
              <a:extLst>
                <a:ext uri="{FF2B5EF4-FFF2-40B4-BE49-F238E27FC236}">
                  <a16:creationId xmlns:a16="http://schemas.microsoft.com/office/drawing/2014/main" id="{33377285-EAE2-159B-A8EC-B8AF0A3EFB51}"/>
                </a:ext>
              </a:extLst>
            </p:cNvPr>
            <p:cNvSpPr/>
            <p:nvPr/>
          </p:nvSpPr>
          <p:spPr>
            <a:xfrm>
              <a:off x="3384163" y="1152975"/>
              <a:ext cx="141157" cy="141157"/>
            </a:xfrm>
            <a:custGeom>
              <a:avLst/>
              <a:gdLst>
                <a:gd name="connsiteX0" fmla="*/ 26257 w 141157"/>
                <a:gd name="connsiteY0" fmla="*/ 15629 h 141157"/>
                <a:gd name="connsiteX1" fmla="*/ 51185 w 141157"/>
                <a:gd name="connsiteY1" fmla="*/ 2736 h 141157"/>
                <a:gd name="connsiteX2" fmla="*/ 138431 w 141157"/>
                <a:gd name="connsiteY2" fmla="*/ 51187 h 141157"/>
                <a:gd name="connsiteX3" fmla="*/ 89945 w 141157"/>
                <a:gd name="connsiteY3" fmla="*/ 138422 h 141157"/>
                <a:gd name="connsiteX4" fmla="*/ 2722 w 141157"/>
                <a:gd name="connsiteY4" fmla="*/ 89959 h 141157"/>
                <a:gd name="connsiteX5" fmla="*/ 8258 w 141157"/>
                <a:gd name="connsiteY5" fmla="*/ 37485 h 1411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41157" h="141157">
                  <a:moveTo>
                    <a:pt x="26257" y="15629"/>
                  </a:moveTo>
                  <a:cubicBezTo>
                    <a:pt x="33411" y="9867"/>
                    <a:pt x="41792" y="5415"/>
                    <a:pt x="51185" y="2736"/>
                  </a:cubicBezTo>
                  <a:cubicBezTo>
                    <a:pt x="88659" y="-7978"/>
                    <a:pt x="127729" y="13724"/>
                    <a:pt x="138431" y="51187"/>
                  </a:cubicBezTo>
                  <a:cubicBezTo>
                    <a:pt x="149121" y="88674"/>
                    <a:pt x="127420" y="127720"/>
                    <a:pt x="89945" y="138422"/>
                  </a:cubicBezTo>
                  <a:cubicBezTo>
                    <a:pt x="52482" y="149136"/>
                    <a:pt x="13424" y="127422"/>
                    <a:pt x="2722" y="89959"/>
                  </a:cubicBezTo>
                  <a:cubicBezTo>
                    <a:pt x="-2480" y="71674"/>
                    <a:pt x="-4" y="53044"/>
                    <a:pt x="8258" y="37485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320" name="Gráfico 4">
            <a:extLst>
              <a:ext uri="{FF2B5EF4-FFF2-40B4-BE49-F238E27FC236}">
                <a16:creationId xmlns:a16="http://schemas.microsoft.com/office/drawing/2014/main" id="{8EB613C7-B37B-B523-2C3D-27518B4F0680}"/>
              </a:ext>
            </a:extLst>
          </p:cNvPr>
          <p:cNvGrpSpPr/>
          <p:nvPr/>
        </p:nvGrpSpPr>
        <p:grpSpPr>
          <a:xfrm>
            <a:off x="3801239" y="1530709"/>
            <a:ext cx="331952" cy="285834"/>
            <a:chOff x="3801239" y="1530709"/>
            <a:chExt cx="331952" cy="285834"/>
          </a:xfrm>
          <a:noFill/>
        </p:grpSpPr>
        <p:grpSp>
          <p:nvGrpSpPr>
            <p:cNvPr id="321" name="Gráfico 4">
              <a:extLst>
                <a:ext uri="{FF2B5EF4-FFF2-40B4-BE49-F238E27FC236}">
                  <a16:creationId xmlns:a16="http://schemas.microsoft.com/office/drawing/2014/main" id="{7CDEBBA0-5C60-2F00-5491-D35DD5B41320}"/>
                </a:ext>
              </a:extLst>
            </p:cNvPr>
            <p:cNvGrpSpPr/>
            <p:nvPr/>
          </p:nvGrpSpPr>
          <p:grpSpPr>
            <a:xfrm>
              <a:off x="3940544" y="1606159"/>
              <a:ext cx="53367" cy="134935"/>
              <a:chOff x="3940544" y="1606159"/>
              <a:chExt cx="53367" cy="134935"/>
            </a:xfrm>
            <a:noFill/>
          </p:grpSpPr>
          <p:sp>
            <p:nvSpPr>
              <p:cNvPr id="322" name="Forma livre: Forma 321">
                <a:extLst>
                  <a:ext uri="{FF2B5EF4-FFF2-40B4-BE49-F238E27FC236}">
                    <a16:creationId xmlns:a16="http://schemas.microsoft.com/office/drawing/2014/main" id="{F9D43044-3426-AEBD-F809-84BC9B4FA8B1}"/>
                  </a:ext>
                </a:extLst>
              </p:cNvPr>
              <p:cNvSpPr/>
              <p:nvPr/>
            </p:nvSpPr>
            <p:spPr>
              <a:xfrm>
                <a:off x="3940544" y="1622872"/>
                <a:ext cx="53367" cy="101496"/>
              </a:xfrm>
              <a:custGeom>
                <a:avLst/>
                <a:gdLst>
                  <a:gd name="connsiteX0" fmla="*/ 107 w 53367"/>
                  <a:gd name="connsiteY0" fmla="*/ 76735 h 101496"/>
                  <a:gd name="connsiteX1" fmla="*/ 26725 w 53367"/>
                  <a:gd name="connsiteY1" fmla="*/ 101496 h 101496"/>
                  <a:gd name="connsiteX2" fmla="*/ 53367 w 53367"/>
                  <a:gd name="connsiteY2" fmla="*/ 76735 h 101496"/>
                  <a:gd name="connsiteX3" fmla="*/ 26678 w 53367"/>
                  <a:gd name="connsiteY3" fmla="*/ 50748 h 101496"/>
                  <a:gd name="connsiteX4" fmla="*/ 0 w 53367"/>
                  <a:gd name="connsiteY4" fmla="*/ 24761 h 101496"/>
                  <a:gd name="connsiteX5" fmla="*/ 26618 w 53367"/>
                  <a:gd name="connsiteY5" fmla="*/ 0 h 101496"/>
                  <a:gd name="connsiteX6" fmla="*/ 53236 w 53367"/>
                  <a:gd name="connsiteY6" fmla="*/ 24761 h 1014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53367" h="101496">
                    <a:moveTo>
                      <a:pt x="107" y="76735"/>
                    </a:moveTo>
                    <a:cubicBezTo>
                      <a:pt x="107" y="90413"/>
                      <a:pt x="12035" y="101496"/>
                      <a:pt x="26725" y="101496"/>
                    </a:cubicBezTo>
                    <a:cubicBezTo>
                      <a:pt x="41415" y="101496"/>
                      <a:pt x="53367" y="90425"/>
                      <a:pt x="53367" y="76735"/>
                    </a:cubicBezTo>
                    <a:cubicBezTo>
                      <a:pt x="53367" y="63045"/>
                      <a:pt x="39153" y="57081"/>
                      <a:pt x="26678" y="50748"/>
                    </a:cubicBezTo>
                    <a:cubicBezTo>
                      <a:pt x="14202" y="44427"/>
                      <a:pt x="0" y="38439"/>
                      <a:pt x="0" y="24761"/>
                    </a:cubicBezTo>
                    <a:cubicBezTo>
                      <a:pt x="0" y="11083"/>
                      <a:pt x="11904" y="0"/>
                      <a:pt x="26618" y="0"/>
                    </a:cubicBezTo>
                    <a:cubicBezTo>
                      <a:pt x="41332" y="0"/>
                      <a:pt x="53236" y="11071"/>
                      <a:pt x="53236" y="24761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23" name="Forma livre: Forma 322">
                <a:extLst>
                  <a:ext uri="{FF2B5EF4-FFF2-40B4-BE49-F238E27FC236}">
                    <a16:creationId xmlns:a16="http://schemas.microsoft.com/office/drawing/2014/main" id="{05E5F8C5-66E0-39E0-D91D-E5ABAE3D9FD4}"/>
                  </a:ext>
                </a:extLst>
              </p:cNvPr>
              <p:cNvSpPr/>
              <p:nvPr/>
            </p:nvSpPr>
            <p:spPr>
              <a:xfrm>
                <a:off x="3967162" y="1606159"/>
                <a:ext cx="1190" cy="16594"/>
              </a:xfrm>
              <a:custGeom>
                <a:avLst/>
                <a:gdLst>
                  <a:gd name="connsiteX0" fmla="*/ 0 w 1190"/>
                  <a:gd name="connsiteY0" fmla="*/ 16595 h 16594"/>
                  <a:gd name="connsiteX1" fmla="*/ 0 w 1190"/>
                  <a:gd name="connsiteY1" fmla="*/ 0 h 165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0" h="16594">
                    <a:moveTo>
                      <a:pt x="0" y="16595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24" name="Forma livre: Forma 323">
                <a:extLst>
                  <a:ext uri="{FF2B5EF4-FFF2-40B4-BE49-F238E27FC236}">
                    <a16:creationId xmlns:a16="http://schemas.microsoft.com/office/drawing/2014/main" id="{DBEBBEB5-08DB-6720-D3B9-2189535E1F9C}"/>
                  </a:ext>
                </a:extLst>
              </p:cNvPr>
              <p:cNvSpPr/>
              <p:nvPr/>
            </p:nvSpPr>
            <p:spPr>
              <a:xfrm>
                <a:off x="3967162" y="1724488"/>
                <a:ext cx="1190" cy="16606"/>
              </a:xfrm>
              <a:custGeom>
                <a:avLst/>
                <a:gdLst>
                  <a:gd name="connsiteX0" fmla="*/ 0 w 1190"/>
                  <a:gd name="connsiteY0" fmla="*/ 16607 h 16606"/>
                  <a:gd name="connsiteX1" fmla="*/ 0 w 1190"/>
                  <a:gd name="connsiteY1" fmla="*/ 0 h 166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0" h="16606">
                    <a:moveTo>
                      <a:pt x="0" y="16607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325" name="Gráfico 4">
              <a:extLst>
                <a:ext uri="{FF2B5EF4-FFF2-40B4-BE49-F238E27FC236}">
                  <a16:creationId xmlns:a16="http://schemas.microsoft.com/office/drawing/2014/main" id="{1A44E03B-497F-E56C-E427-32EC04546796}"/>
                </a:ext>
              </a:extLst>
            </p:cNvPr>
            <p:cNvGrpSpPr/>
            <p:nvPr/>
          </p:nvGrpSpPr>
          <p:grpSpPr>
            <a:xfrm>
              <a:off x="3801239" y="1530709"/>
              <a:ext cx="331952" cy="285834"/>
              <a:chOff x="3801239" y="1530709"/>
              <a:chExt cx="331952" cy="285834"/>
            </a:xfrm>
            <a:noFill/>
          </p:grpSpPr>
          <p:grpSp>
            <p:nvGrpSpPr>
              <p:cNvPr id="326" name="Gráfico 4">
                <a:extLst>
                  <a:ext uri="{FF2B5EF4-FFF2-40B4-BE49-F238E27FC236}">
                    <a16:creationId xmlns:a16="http://schemas.microsoft.com/office/drawing/2014/main" id="{6C5A4AB5-0A67-1357-57B1-841431C07298}"/>
                  </a:ext>
                </a:extLst>
              </p:cNvPr>
              <p:cNvGrpSpPr/>
              <p:nvPr/>
            </p:nvGrpSpPr>
            <p:grpSpPr>
              <a:xfrm>
                <a:off x="3801239" y="1530709"/>
                <a:ext cx="271966" cy="207837"/>
                <a:chOff x="3801239" y="1530709"/>
                <a:chExt cx="271966" cy="207837"/>
              </a:xfrm>
              <a:noFill/>
            </p:grpSpPr>
            <p:sp>
              <p:nvSpPr>
                <p:cNvPr id="327" name="Forma livre: Forma 326">
                  <a:extLst>
                    <a:ext uri="{FF2B5EF4-FFF2-40B4-BE49-F238E27FC236}">
                      <a16:creationId xmlns:a16="http://schemas.microsoft.com/office/drawing/2014/main" id="{268F71FA-9E0E-F6C2-0450-C3E469AAD47E}"/>
                    </a:ext>
                  </a:extLst>
                </p:cNvPr>
                <p:cNvSpPr/>
                <p:nvPr/>
              </p:nvSpPr>
              <p:spPr>
                <a:xfrm>
                  <a:off x="3801239" y="1551292"/>
                  <a:ext cx="252836" cy="187255"/>
                </a:xfrm>
                <a:custGeom>
                  <a:avLst/>
                  <a:gdLst>
                    <a:gd name="connsiteX0" fmla="*/ 92116 w 252836"/>
                    <a:gd name="connsiteY0" fmla="*/ 0 h 187255"/>
                    <a:gd name="connsiteX1" fmla="*/ 23118 w 252836"/>
                    <a:gd name="connsiteY1" fmla="*/ 122400 h 187255"/>
                    <a:gd name="connsiteX2" fmla="*/ 0 w 252836"/>
                    <a:gd name="connsiteY2" fmla="*/ 122400 h 187255"/>
                    <a:gd name="connsiteX3" fmla="*/ 41987 w 252836"/>
                    <a:gd name="connsiteY3" fmla="*/ 187255 h 187255"/>
                    <a:gd name="connsiteX4" fmla="*/ 84009 w 252836"/>
                    <a:gd name="connsiteY4" fmla="*/ 122400 h 187255"/>
                    <a:gd name="connsiteX5" fmla="*/ 60022 w 252836"/>
                    <a:gd name="connsiteY5" fmla="*/ 122400 h 187255"/>
                    <a:gd name="connsiteX6" fmla="*/ 165994 w 252836"/>
                    <a:gd name="connsiteY6" fmla="*/ 16309 h 187255"/>
                    <a:gd name="connsiteX7" fmla="*/ 252836 w 252836"/>
                    <a:gd name="connsiteY7" fmla="*/ 61545 h 18725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252836" h="187255">
                      <a:moveTo>
                        <a:pt x="92116" y="0"/>
                      </a:moveTo>
                      <a:cubicBezTo>
                        <a:pt x="50760" y="25059"/>
                        <a:pt x="23118" y="70533"/>
                        <a:pt x="23118" y="122400"/>
                      </a:cubicBezTo>
                      <a:lnTo>
                        <a:pt x="0" y="122400"/>
                      </a:lnTo>
                      <a:lnTo>
                        <a:pt x="41987" y="187255"/>
                      </a:lnTo>
                      <a:lnTo>
                        <a:pt x="84009" y="122400"/>
                      </a:lnTo>
                      <a:lnTo>
                        <a:pt x="60022" y="122400"/>
                      </a:lnTo>
                      <a:cubicBezTo>
                        <a:pt x="60022" y="63879"/>
                        <a:pt x="107472" y="16309"/>
                        <a:pt x="165994" y="16309"/>
                      </a:cubicBezTo>
                      <a:cubicBezTo>
                        <a:pt x="201921" y="16309"/>
                        <a:pt x="233670" y="34189"/>
                        <a:pt x="252836" y="61545"/>
                      </a:cubicBez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328" name="Forma livre: Forma 327">
                  <a:extLst>
                    <a:ext uri="{FF2B5EF4-FFF2-40B4-BE49-F238E27FC236}">
                      <a16:creationId xmlns:a16="http://schemas.microsoft.com/office/drawing/2014/main" id="{573677A1-F5EA-BDC9-6B42-3B514F76C25E}"/>
                    </a:ext>
                  </a:extLst>
                </p:cNvPr>
                <p:cNvSpPr/>
                <p:nvPr/>
              </p:nvSpPr>
              <p:spPr>
                <a:xfrm>
                  <a:off x="3908628" y="1530709"/>
                  <a:ext cx="67699" cy="12559"/>
                </a:xfrm>
                <a:custGeom>
                  <a:avLst/>
                  <a:gdLst>
                    <a:gd name="connsiteX0" fmla="*/ 67700 w 67699"/>
                    <a:gd name="connsiteY0" fmla="*/ 286 h 12559"/>
                    <a:gd name="connsiteX1" fmla="*/ 58605 w 67699"/>
                    <a:gd name="connsiteY1" fmla="*/ 0 h 12559"/>
                    <a:gd name="connsiteX2" fmla="*/ 0 w 67699"/>
                    <a:gd name="connsiteY2" fmla="*/ 12559 h 1255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67699" h="12559">
                      <a:moveTo>
                        <a:pt x="67700" y="286"/>
                      </a:moveTo>
                      <a:cubicBezTo>
                        <a:pt x="64688" y="95"/>
                        <a:pt x="61652" y="0"/>
                        <a:pt x="58605" y="0"/>
                      </a:cubicBezTo>
                      <a:cubicBezTo>
                        <a:pt x="37713" y="0"/>
                        <a:pt x="17880" y="4488"/>
                        <a:pt x="0" y="12559"/>
                      </a:cubicBez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329" name="Forma livre: Forma 328">
                  <a:extLst>
                    <a:ext uri="{FF2B5EF4-FFF2-40B4-BE49-F238E27FC236}">
                      <a16:creationId xmlns:a16="http://schemas.microsoft.com/office/drawing/2014/main" id="{1BA40E07-BA25-DBE2-ACF8-25E5EC4B30F1}"/>
                    </a:ext>
                  </a:extLst>
                </p:cNvPr>
                <p:cNvSpPr/>
                <p:nvPr/>
              </p:nvSpPr>
              <p:spPr>
                <a:xfrm>
                  <a:off x="3994887" y="1533388"/>
                  <a:ext cx="40438" cy="14559"/>
                </a:xfrm>
                <a:custGeom>
                  <a:avLst/>
                  <a:gdLst>
                    <a:gd name="connsiteX0" fmla="*/ 40439 w 40438"/>
                    <a:gd name="connsiteY0" fmla="*/ 14559 h 14559"/>
                    <a:gd name="connsiteX1" fmla="*/ 0 w 40438"/>
                    <a:gd name="connsiteY1" fmla="*/ 0 h 1455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0438" h="14559">
                      <a:moveTo>
                        <a:pt x="40439" y="14559"/>
                      </a:moveTo>
                      <a:cubicBezTo>
                        <a:pt x="27963" y="7785"/>
                        <a:pt x="14368" y="2809"/>
                        <a:pt x="0" y="0"/>
                      </a:cubicBez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330" name="Forma livre: Forma 329">
                  <a:extLst>
                    <a:ext uri="{FF2B5EF4-FFF2-40B4-BE49-F238E27FC236}">
                      <a16:creationId xmlns:a16="http://schemas.microsoft.com/office/drawing/2014/main" id="{2FBD413B-22D0-03E2-DCCE-0F2A810F6100}"/>
                    </a:ext>
                  </a:extLst>
                </p:cNvPr>
                <p:cNvSpPr/>
                <p:nvPr/>
              </p:nvSpPr>
              <p:spPr>
                <a:xfrm>
                  <a:off x="4049207" y="1556553"/>
                  <a:ext cx="23999" cy="21201"/>
                </a:xfrm>
                <a:custGeom>
                  <a:avLst/>
                  <a:gdLst>
                    <a:gd name="connsiteX0" fmla="*/ 23999 w 23999"/>
                    <a:gd name="connsiteY0" fmla="*/ 21202 h 21201"/>
                    <a:gd name="connsiteX1" fmla="*/ 0 w 23999"/>
                    <a:gd name="connsiteY1" fmla="*/ 0 h 2120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3999" h="21201">
                      <a:moveTo>
                        <a:pt x="23999" y="21202"/>
                      </a:moveTo>
                      <a:cubicBezTo>
                        <a:pt x="16821" y="13273"/>
                        <a:pt x="8773" y="6155"/>
                        <a:pt x="0" y="0"/>
                      </a:cubicBez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331" name="Gráfico 4">
                <a:extLst>
                  <a:ext uri="{FF2B5EF4-FFF2-40B4-BE49-F238E27FC236}">
                    <a16:creationId xmlns:a16="http://schemas.microsoft.com/office/drawing/2014/main" id="{918C4340-7192-DC68-4034-1899CD2D5E9D}"/>
                  </a:ext>
                </a:extLst>
              </p:cNvPr>
              <p:cNvGrpSpPr/>
              <p:nvPr/>
            </p:nvGrpSpPr>
            <p:grpSpPr>
              <a:xfrm>
                <a:off x="3861237" y="1608694"/>
                <a:ext cx="271954" cy="207849"/>
                <a:chOff x="3861237" y="1608694"/>
                <a:chExt cx="271954" cy="207849"/>
              </a:xfrm>
              <a:noFill/>
            </p:grpSpPr>
            <p:sp>
              <p:nvSpPr>
                <p:cNvPr id="332" name="Forma livre: Forma 331">
                  <a:extLst>
                    <a:ext uri="{FF2B5EF4-FFF2-40B4-BE49-F238E27FC236}">
                      <a16:creationId xmlns:a16="http://schemas.microsoft.com/office/drawing/2014/main" id="{A60BD620-F7B3-6E7B-B2A6-C06ECB34DC48}"/>
                    </a:ext>
                  </a:extLst>
                </p:cNvPr>
                <p:cNvSpPr/>
                <p:nvPr/>
              </p:nvSpPr>
              <p:spPr>
                <a:xfrm>
                  <a:off x="3880367" y="1608694"/>
                  <a:ext cx="252824" cy="187255"/>
                </a:xfrm>
                <a:custGeom>
                  <a:avLst/>
                  <a:gdLst>
                    <a:gd name="connsiteX0" fmla="*/ 160720 w 252824"/>
                    <a:gd name="connsiteY0" fmla="*/ 187255 h 187255"/>
                    <a:gd name="connsiteX1" fmla="*/ 229718 w 252824"/>
                    <a:gd name="connsiteY1" fmla="*/ 64855 h 187255"/>
                    <a:gd name="connsiteX2" fmla="*/ 252824 w 252824"/>
                    <a:gd name="connsiteY2" fmla="*/ 64855 h 187255"/>
                    <a:gd name="connsiteX3" fmla="*/ 210850 w 252824"/>
                    <a:gd name="connsiteY3" fmla="*/ 0 h 187255"/>
                    <a:gd name="connsiteX4" fmla="*/ 168827 w 252824"/>
                    <a:gd name="connsiteY4" fmla="*/ 64855 h 187255"/>
                    <a:gd name="connsiteX5" fmla="*/ 192815 w 252824"/>
                    <a:gd name="connsiteY5" fmla="*/ 64855 h 187255"/>
                    <a:gd name="connsiteX6" fmla="*/ 86842 w 252824"/>
                    <a:gd name="connsiteY6" fmla="*/ 170946 h 187255"/>
                    <a:gd name="connsiteX7" fmla="*/ 0 w 252824"/>
                    <a:gd name="connsiteY7" fmla="*/ 125710 h 18725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252824" h="187255">
                      <a:moveTo>
                        <a:pt x="160720" y="187255"/>
                      </a:moveTo>
                      <a:cubicBezTo>
                        <a:pt x="202064" y="162196"/>
                        <a:pt x="229718" y="116722"/>
                        <a:pt x="229718" y="64855"/>
                      </a:cubicBezTo>
                      <a:lnTo>
                        <a:pt x="252824" y="64855"/>
                      </a:lnTo>
                      <a:lnTo>
                        <a:pt x="210850" y="0"/>
                      </a:lnTo>
                      <a:lnTo>
                        <a:pt x="168827" y="64855"/>
                      </a:lnTo>
                      <a:lnTo>
                        <a:pt x="192815" y="64855"/>
                      </a:lnTo>
                      <a:cubicBezTo>
                        <a:pt x="192815" y="123376"/>
                        <a:pt x="145352" y="170946"/>
                        <a:pt x="86842" y="170946"/>
                      </a:cubicBezTo>
                      <a:cubicBezTo>
                        <a:pt x="50915" y="170946"/>
                        <a:pt x="19166" y="153066"/>
                        <a:pt x="0" y="125710"/>
                      </a:cubicBez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333" name="Forma livre: Forma 332">
                  <a:extLst>
                    <a:ext uri="{FF2B5EF4-FFF2-40B4-BE49-F238E27FC236}">
                      <a16:creationId xmlns:a16="http://schemas.microsoft.com/office/drawing/2014/main" id="{A1B9482E-9A3B-C75F-7FC5-D3745795E110}"/>
                    </a:ext>
                  </a:extLst>
                </p:cNvPr>
                <p:cNvSpPr/>
                <p:nvPr/>
              </p:nvSpPr>
              <p:spPr>
                <a:xfrm>
                  <a:off x="3958115" y="1803985"/>
                  <a:ext cx="67699" cy="12559"/>
                </a:xfrm>
                <a:custGeom>
                  <a:avLst/>
                  <a:gdLst>
                    <a:gd name="connsiteX0" fmla="*/ 0 w 67699"/>
                    <a:gd name="connsiteY0" fmla="*/ 12273 h 12559"/>
                    <a:gd name="connsiteX1" fmla="*/ 9095 w 67699"/>
                    <a:gd name="connsiteY1" fmla="*/ 12559 h 12559"/>
                    <a:gd name="connsiteX2" fmla="*/ 67700 w 67699"/>
                    <a:gd name="connsiteY2" fmla="*/ 0 h 1255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67699" h="12559">
                      <a:moveTo>
                        <a:pt x="0" y="12273"/>
                      </a:moveTo>
                      <a:cubicBezTo>
                        <a:pt x="3000" y="12464"/>
                        <a:pt x="6035" y="12559"/>
                        <a:pt x="9095" y="12559"/>
                      </a:cubicBezTo>
                      <a:cubicBezTo>
                        <a:pt x="29975" y="12559"/>
                        <a:pt x="49820" y="8071"/>
                        <a:pt x="67700" y="0"/>
                      </a:cubicBez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334" name="Forma livre: Forma 333">
                  <a:extLst>
                    <a:ext uri="{FF2B5EF4-FFF2-40B4-BE49-F238E27FC236}">
                      <a16:creationId xmlns:a16="http://schemas.microsoft.com/office/drawing/2014/main" id="{7F661BF2-1600-5172-C0FA-A678EB18AB95}"/>
                    </a:ext>
                  </a:extLst>
                </p:cNvPr>
                <p:cNvSpPr/>
                <p:nvPr/>
              </p:nvSpPr>
              <p:spPr>
                <a:xfrm>
                  <a:off x="3899105" y="1799306"/>
                  <a:ext cx="40450" cy="14558"/>
                </a:xfrm>
                <a:custGeom>
                  <a:avLst/>
                  <a:gdLst>
                    <a:gd name="connsiteX0" fmla="*/ 0 w 40450"/>
                    <a:gd name="connsiteY0" fmla="*/ 0 h 14558"/>
                    <a:gd name="connsiteX1" fmla="*/ 40451 w 40450"/>
                    <a:gd name="connsiteY1" fmla="*/ 14559 h 1455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0450" h="14558">
                      <a:moveTo>
                        <a:pt x="0" y="0"/>
                      </a:moveTo>
                      <a:cubicBezTo>
                        <a:pt x="12476" y="6774"/>
                        <a:pt x="26082" y="11750"/>
                        <a:pt x="40451" y="14559"/>
                      </a:cubicBez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335" name="Forma livre: Forma 334">
                  <a:extLst>
                    <a:ext uri="{FF2B5EF4-FFF2-40B4-BE49-F238E27FC236}">
                      <a16:creationId xmlns:a16="http://schemas.microsoft.com/office/drawing/2014/main" id="{7643038A-5AD4-8984-0B50-82A9A10A8C65}"/>
                    </a:ext>
                  </a:extLst>
                </p:cNvPr>
                <p:cNvSpPr/>
                <p:nvPr/>
              </p:nvSpPr>
              <p:spPr>
                <a:xfrm>
                  <a:off x="3861237" y="1769474"/>
                  <a:ext cx="23999" cy="21213"/>
                </a:xfrm>
                <a:custGeom>
                  <a:avLst/>
                  <a:gdLst>
                    <a:gd name="connsiteX0" fmla="*/ 0 w 23999"/>
                    <a:gd name="connsiteY0" fmla="*/ 0 h 21213"/>
                    <a:gd name="connsiteX1" fmla="*/ 23999 w 23999"/>
                    <a:gd name="connsiteY1" fmla="*/ 21213 h 2121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3999" h="21213">
                      <a:moveTo>
                        <a:pt x="0" y="0"/>
                      </a:moveTo>
                      <a:cubicBezTo>
                        <a:pt x="7166" y="7928"/>
                        <a:pt x="15226" y="15059"/>
                        <a:pt x="23999" y="21213"/>
                      </a:cubicBez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</p:grpSp>
      <p:grpSp>
        <p:nvGrpSpPr>
          <p:cNvPr id="336" name="Gráfico 4">
            <a:extLst>
              <a:ext uri="{FF2B5EF4-FFF2-40B4-BE49-F238E27FC236}">
                <a16:creationId xmlns:a16="http://schemas.microsoft.com/office/drawing/2014/main" id="{A8D91624-1B3E-1A8C-6C9C-5C5EA24D72D0}"/>
              </a:ext>
            </a:extLst>
          </p:cNvPr>
          <p:cNvGrpSpPr/>
          <p:nvPr/>
        </p:nvGrpSpPr>
        <p:grpSpPr>
          <a:xfrm>
            <a:off x="3835714" y="3125365"/>
            <a:ext cx="263002" cy="268073"/>
            <a:chOff x="3835714" y="3125365"/>
            <a:chExt cx="263002" cy="268073"/>
          </a:xfrm>
          <a:noFill/>
        </p:grpSpPr>
        <p:grpSp>
          <p:nvGrpSpPr>
            <p:cNvPr id="337" name="Gráfico 4">
              <a:extLst>
                <a:ext uri="{FF2B5EF4-FFF2-40B4-BE49-F238E27FC236}">
                  <a16:creationId xmlns:a16="http://schemas.microsoft.com/office/drawing/2014/main" id="{054C2D19-8CAB-588D-121B-390953F5907C}"/>
                </a:ext>
              </a:extLst>
            </p:cNvPr>
            <p:cNvGrpSpPr/>
            <p:nvPr/>
          </p:nvGrpSpPr>
          <p:grpSpPr>
            <a:xfrm>
              <a:off x="3882498" y="3238170"/>
              <a:ext cx="42534" cy="107555"/>
              <a:chOff x="3882498" y="3238170"/>
              <a:chExt cx="42534" cy="107555"/>
            </a:xfrm>
            <a:noFill/>
          </p:grpSpPr>
          <p:sp>
            <p:nvSpPr>
              <p:cNvPr id="338" name="Forma livre: Forma 337">
                <a:extLst>
                  <a:ext uri="{FF2B5EF4-FFF2-40B4-BE49-F238E27FC236}">
                    <a16:creationId xmlns:a16="http://schemas.microsoft.com/office/drawing/2014/main" id="{56193528-59FB-450E-259C-4970F41BFB16}"/>
                  </a:ext>
                </a:extLst>
              </p:cNvPr>
              <p:cNvSpPr/>
              <p:nvPr/>
            </p:nvSpPr>
            <p:spPr>
              <a:xfrm>
                <a:off x="3882498" y="3251503"/>
                <a:ext cx="42534" cy="80878"/>
              </a:xfrm>
              <a:custGeom>
                <a:avLst/>
                <a:gdLst>
                  <a:gd name="connsiteX0" fmla="*/ 95 w 42534"/>
                  <a:gd name="connsiteY0" fmla="*/ 61153 h 80878"/>
                  <a:gd name="connsiteX1" fmla="*/ 21309 w 42534"/>
                  <a:gd name="connsiteY1" fmla="*/ 80878 h 80878"/>
                  <a:gd name="connsiteX2" fmla="*/ 42534 w 42534"/>
                  <a:gd name="connsiteY2" fmla="*/ 61153 h 80878"/>
                  <a:gd name="connsiteX3" fmla="*/ 21261 w 42534"/>
                  <a:gd name="connsiteY3" fmla="*/ 40439 h 80878"/>
                  <a:gd name="connsiteX4" fmla="*/ 0 w 42534"/>
                  <a:gd name="connsiteY4" fmla="*/ 19737 h 80878"/>
                  <a:gd name="connsiteX5" fmla="*/ 21214 w 42534"/>
                  <a:gd name="connsiteY5" fmla="*/ 0 h 80878"/>
                  <a:gd name="connsiteX6" fmla="*/ 42439 w 42534"/>
                  <a:gd name="connsiteY6" fmla="*/ 19737 h 808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2534" h="80878">
                    <a:moveTo>
                      <a:pt x="95" y="61153"/>
                    </a:moveTo>
                    <a:cubicBezTo>
                      <a:pt x="95" y="72057"/>
                      <a:pt x="9595" y="80878"/>
                      <a:pt x="21309" y="80878"/>
                    </a:cubicBezTo>
                    <a:cubicBezTo>
                      <a:pt x="33023" y="80878"/>
                      <a:pt x="42534" y="72057"/>
                      <a:pt x="42534" y="61153"/>
                    </a:cubicBezTo>
                    <a:cubicBezTo>
                      <a:pt x="42534" y="50248"/>
                      <a:pt x="31201" y="45486"/>
                      <a:pt x="21261" y="40439"/>
                    </a:cubicBezTo>
                    <a:cubicBezTo>
                      <a:pt x="11321" y="35403"/>
                      <a:pt x="0" y="30630"/>
                      <a:pt x="0" y="19737"/>
                    </a:cubicBezTo>
                    <a:cubicBezTo>
                      <a:pt x="0" y="8845"/>
                      <a:pt x="9488" y="0"/>
                      <a:pt x="21214" y="0"/>
                    </a:cubicBezTo>
                    <a:cubicBezTo>
                      <a:pt x="32939" y="0"/>
                      <a:pt x="42439" y="8833"/>
                      <a:pt x="42439" y="19737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39" name="Forma livre: Forma 338">
                <a:extLst>
                  <a:ext uri="{FF2B5EF4-FFF2-40B4-BE49-F238E27FC236}">
                    <a16:creationId xmlns:a16="http://schemas.microsoft.com/office/drawing/2014/main" id="{43ABEA26-CBB5-8D06-C7DD-1DF509F98A09}"/>
                  </a:ext>
                </a:extLst>
              </p:cNvPr>
              <p:cNvSpPr/>
              <p:nvPr/>
            </p:nvSpPr>
            <p:spPr>
              <a:xfrm>
                <a:off x="3903724" y="3238170"/>
                <a:ext cx="1190" cy="13237"/>
              </a:xfrm>
              <a:custGeom>
                <a:avLst/>
                <a:gdLst>
                  <a:gd name="connsiteX0" fmla="*/ 0 w 1190"/>
                  <a:gd name="connsiteY0" fmla="*/ 13238 h 13237"/>
                  <a:gd name="connsiteX1" fmla="*/ 0 w 1190"/>
                  <a:gd name="connsiteY1" fmla="*/ 0 h 132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0" h="13237">
                    <a:moveTo>
                      <a:pt x="0" y="13238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40" name="Forma livre: Forma 339">
                <a:extLst>
                  <a:ext uri="{FF2B5EF4-FFF2-40B4-BE49-F238E27FC236}">
                    <a16:creationId xmlns:a16="http://schemas.microsoft.com/office/drawing/2014/main" id="{B1D1BE4B-EC43-6A33-36AE-C34D6B8D1E31}"/>
                  </a:ext>
                </a:extLst>
              </p:cNvPr>
              <p:cNvSpPr/>
              <p:nvPr/>
            </p:nvSpPr>
            <p:spPr>
              <a:xfrm>
                <a:off x="3903724" y="3332488"/>
                <a:ext cx="1190" cy="13237"/>
              </a:xfrm>
              <a:custGeom>
                <a:avLst/>
                <a:gdLst>
                  <a:gd name="connsiteX0" fmla="*/ 0 w 1190"/>
                  <a:gd name="connsiteY0" fmla="*/ 13238 h 13237"/>
                  <a:gd name="connsiteX1" fmla="*/ 0 w 1190"/>
                  <a:gd name="connsiteY1" fmla="*/ 0 h 132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0" h="13237">
                    <a:moveTo>
                      <a:pt x="0" y="13238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341" name="Gráfico 4">
              <a:extLst>
                <a:ext uri="{FF2B5EF4-FFF2-40B4-BE49-F238E27FC236}">
                  <a16:creationId xmlns:a16="http://schemas.microsoft.com/office/drawing/2014/main" id="{DA691E30-B870-6707-6490-247ED741C194}"/>
                </a:ext>
              </a:extLst>
            </p:cNvPr>
            <p:cNvGrpSpPr/>
            <p:nvPr/>
          </p:nvGrpSpPr>
          <p:grpSpPr>
            <a:xfrm>
              <a:off x="3835714" y="3125365"/>
              <a:ext cx="263002" cy="268073"/>
              <a:chOff x="3835714" y="3125365"/>
              <a:chExt cx="263002" cy="268073"/>
            </a:xfrm>
            <a:noFill/>
          </p:grpSpPr>
          <p:grpSp>
            <p:nvGrpSpPr>
              <p:cNvPr id="342" name="Gráfico 4">
                <a:extLst>
                  <a:ext uri="{FF2B5EF4-FFF2-40B4-BE49-F238E27FC236}">
                    <a16:creationId xmlns:a16="http://schemas.microsoft.com/office/drawing/2014/main" id="{DEF9F9F7-513C-2473-AB2A-F9F9E1528DDB}"/>
                  </a:ext>
                </a:extLst>
              </p:cNvPr>
              <p:cNvGrpSpPr/>
              <p:nvPr/>
            </p:nvGrpSpPr>
            <p:grpSpPr>
              <a:xfrm>
                <a:off x="3972828" y="3218445"/>
                <a:ext cx="125888" cy="174993"/>
                <a:chOff x="3972828" y="3218445"/>
                <a:chExt cx="125888" cy="174993"/>
              </a:xfrm>
              <a:noFill/>
            </p:grpSpPr>
            <p:sp>
              <p:nvSpPr>
                <p:cNvPr id="343" name="Forma livre: Forma 342">
                  <a:extLst>
                    <a:ext uri="{FF2B5EF4-FFF2-40B4-BE49-F238E27FC236}">
                      <a16:creationId xmlns:a16="http://schemas.microsoft.com/office/drawing/2014/main" id="{56B11A0B-9B62-AE72-FE9B-ACFE622A1D32}"/>
                    </a:ext>
                  </a:extLst>
                </p:cNvPr>
                <p:cNvSpPr/>
                <p:nvPr/>
              </p:nvSpPr>
              <p:spPr>
                <a:xfrm>
                  <a:off x="3972828" y="3218445"/>
                  <a:ext cx="125888" cy="174993"/>
                </a:xfrm>
                <a:custGeom>
                  <a:avLst/>
                  <a:gdLst>
                    <a:gd name="connsiteX0" fmla="*/ 9833 w 125888"/>
                    <a:gd name="connsiteY0" fmla="*/ 174994 h 174993"/>
                    <a:gd name="connsiteX1" fmla="*/ 0 w 125888"/>
                    <a:gd name="connsiteY1" fmla="*/ 165042 h 174993"/>
                    <a:gd name="connsiteX2" fmla="*/ 0 w 125888"/>
                    <a:gd name="connsiteY2" fmla="*/ 9833 h 174993"/>
                    <a:gd name="connsiteX3" fmla="*/ 9833 w 125888"/>
                    <a:gd name="connsiteY3" fmla="*/ 0 h 174993"/>
                    <a:gd name="connsiteX4" fmla="*/ 116055 w 125888"/>
                    <a:gd name="connsiteY4" fmla="*/ 0 h 174993"/>
                    <a:gd name="connsiteX5" fmla="*/ 125888 w 125888"/>
                    <a:gd name="connsiteY5" fmla="*/ 9833 h 174993"/>
                    <a:gd name="connsiteX6" fmla="*/ 125888 w 125888"/>
                    <a:gd name="connsiteY6" fmla="*/ 165042 h 174993"/>
                    <a:gd name="connsiteX7" fmla="*/ 116055 w 125888"/>
                    <a:gd name="connsiteY7" fmla="*/ 174994 h 174993"/>
                    <a:gd name="connsiteX8" fmla="*/ 9833 w 125888"/>
                    <a:gd name="connsiteY8" fmla="*/ 174994 h 17499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125888" h="174993">
                      <a:moveTo>
                        <a:pt x="9833" y="174994"/>
                      </a:moveTo>
                      <a:cubicBezTo>
                        <a:pt x="4416" y="174994"/>
                        <a:pt x="0" y="170446"/>
                        <a:pt x="0" y="165042"/>
                      </a:cubicBezTo>
                      <a:lnTo>
                        <a:pt x="0" y="9833"/>
                      </a:lnTo>
                      <a:cubicBezTo>
                        <a:pt x="0" y="4429"/>
                        <a:pt x="4416" y="0"/>
                        <a:pt x="9833" y="0"/>
                      </a:cubicBezTo>
                      <a:lnTo>
                        <a:pt x="116055" y="0"/>
                      </a:lnTo>
                      <a:cubicBezTo>
                        <a:pt x="121472" y="0"/>
                        <a:pt x="125888" y="4429"/>
                        <a:pt x="125888" y="9833"/>
                      </a:cubicBezTo>
                      <a:lnTo>
                        <a:pt x="125888" y="165042"/>
                      </a:lnTo>
                      <a:cubicBezTo>
                        <a:pt x="125888" y="170446"/>
                        <a:pt x="121472" y="174994"/>
                        <a:pt x="116055" y="174994"/>
                      </a:cubicBezTo>
                      <a:lnTo>
                        <a:pt x="9833" y="174994"/>
                      </a:lnTo>
                      <a:close/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344" name="Forma livre: Forma 343">
                  <a:extLst>
                    <a:ext uri="{FF2B5EF4-FFF2-40B4-BE49-F238E27FC236}">
                      <a16:creationId xmlns:a16="http://schemas.microsoft.com/office/drawing/2014/main" id="{6078E0B3-E64B-569E-9FC1-C1EA6187445D}"/>
                    </a:ext>
                  </a:extLst>
                </p:cNvPr>
                <p:cNvSpPr/>
                <p:nvPr/>
              </p:nvSpPr>
              <p:spPr>
                <a:xfrm>
                  <a:off x="3993649" y="3276097"/>
                  <a:ext cx="104805" cy="1190"/>
                </a:xfrm>
                <a:custGeom>
                  <a:avLst/>
                  <a:gdLst>
                    <a:gd name="connsiteX0" fmla="*/ 0 w 104805"/>
                    <a:gd name="connsiteY0" fmla="*/ 0 h 1190"/>
                    <a:gd name="connsiteX1" fmla="*/ 104806 w 104805"/>
                    <a:gd name="connsiteY1" fmla="*/ 0 h 11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04805" h="1190">
                      <a:moveTo>
                        <a:pt x="0" y="0"/>
                      </a:moveTo>
                      <a:lnTo>
                        <a:pt x="104806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345" name="Forma livre: Forma 344">
                  <a:extLst>
                    <a:ext uri="{FF2B5EF4-FFF2-40B4-BE49-F238E27FC236}">
                      <a16:creationId xmlns:a16="http://schemas.microsoft.com/office/drawing/2014/main" id="{2EB7B544-A5CC-5F7A-21FF-96D945B73722}"/>
                    </a:ext>
                  </a:extLst>
                </p:cNvPr>
                <p:cNvSpPr/>
                <p:nvPr/>
              </p:nvSpPr>
              <p:spPr>
                <a:xfrm>
                  <a:off x="4014863" y="3276693"/>
                  <a:ext cx="1190" cy="115960"/>
                </a:xfrm>
                <a:custGeom>
                  <a:avLst/>
                  <a:gdLst>
                    <a:gd name="connsiteX0" fmla="*/ 0 w 1190"/>
                    <a:gd name="connsiteY0" fmla="*/ 0 h 115960"/>
                    <a:gd name="connsiteX1" fmla="*/ 0 w 1190"/>
                    <a:gd name="connsiteY1" fmla="*/ 115960 h 11596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190" h="115960">
                      <a:moveTo>
                        <a:pt x="0" y="0"/>
                      </a:moveTo>
                      <a:lnTo>
                        <a:pt x="0" y="11596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346" name="Forma livre: Forma 345">
                  <a:extLst>
                    <a:ext uri="{FF2B5EF4-FFF2-40B4-BE49-F238E27FC236}">
                      <a16:creationId xmlns:a16="http://schemas.microsoft.com/office/drawing/2014/main" id="{EEEC3B6E-87BC-4570-290F-C843603AF072}"/>
                    </a:ext>
                  </a:extLst>
                </p:cNvPr>
                <p:cNvSpPr/>
                <p:nvPr/>
              </p:nvSpPr>
              <p:spPr>
                <a:xfrm>
                  <a:off x="4056897" y="3276574"/>
                  <a:ext cx="1190" cy="115924"/>
                </a:xfrm>
                <a:custGeom>
                  <a:avLst/>
                  <a:gdLst>
                    <a:gd name="connsiteX0" fmla="*/ 0 w 1190"/>
                    <a:gd name="connsiteY0" fmla="*/ 0 h 115924"/>
                    <a:gd name="connsiteX1" fmla="*/ 0 w 1190"/>
                    <a:gd name="connsiteY1" fmla="*/ 115924 h 11592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190" h="115924">
                      <a:moveTo>
                        <a:pt x="0" y="0"/>
                      </a:moveTo>
                      <a:lnTo>
                        <a:pt x="0" y="115924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347" name="Forma livre: Forma 346">
                  <a:extLst>
                    <a:ext uri="{FF2B5EF4-FFF2-40B4-BE49-F238E27FC236}">
                      <a16:creationId xmlns:a16="http://schemas.microsoft.com/office/drawing/2014/main" id="{159B3A36-905D-B31E-43E5-A6B8E7139C8D}"/>
                    </a:ext>
                  </a:extLst>
                </p:cNvPr>
                <p:cNvSpPr/>
                <p:nvPr/>
              </p:nvSpPr>
              <p:spPr>
                <a:xfrm>
                  <a:off x="3993649" y="3315084"/>
                  <a:ext cx="104805" cy="1190"/>
                </a:xfrm>
                <a:custGeom>
                  <a:avLst/>
                  <a:gdLst>
                    <a:gd name="connsiteX0" fmla="*/ 0 w 104805"/>
                    <a:gd name="connsiteY0" fmla="*/ 0 h 1190"/>
                    <a:gd name="connsiteX1" fmla="*/ 104806 w 104805"/>
                    <a:gd name="connsiteY1" fmla="*/ 0 h 11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04805" h="1190">
                      <a:moveTo>
                        <a:pt x="0" y="0"/>
                      </a:moveTo>
                      <a:lnTo>
                        <a:pt x="104806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348" name="Forma livre: Forma 347">
                  <a:extLst>
                    <a:ext uri="{FF2B5EF4-FFF2-40B4-BE49-F238E27FC236}">
                      <a16:creationId xmlns:a16="http://schemas.microsoft.com/office/drawing/2014/main" id="{18E1E9AF-253E-7F6F-125C-339BA40FD975}"/>
                    </a:ext>
                  </a:extLst>
                </p:cNvPr>
                <p:cNvSpPr/>
                <p:nvPr/>
              </p:nvSpPr>
              <p:spPr>
                <a:xfrm>
                  <a:off x="3993649" y="3354071"/>
                  <a:ext cx="62473" cy="1190"/>
                </a:xfrm>
                <a:custGeom>
                  <a:avLst/>
                  <a:gdLst>
                    <a:gd name="connsiteX0" fmla="*/ 0 w 62473"/>
                    <a:gd name="connsiteY0" fmla="*/ 0 h 1190"/>
                    <a:gd name="connsiteX1" fmla="*/ 62474 w 62473"/>
                    <a:gd name="connsiteY1" fmla="*/ 0 h 11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62473" h="1190">
                      <a:moveTo>
                        <a:pt x="0" y="0"/>
                      </a:moveTo>
                      <a:lnTo>
                        <a:pt x="62474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349" name="Gráfico 4">
                <a:extLst>
                  <a:ext uri="{FF2B5EF4-FFF2-40B4-BE49-F238E27FC236}">
                    <a16:creationId xmlns:a16="http://schemas.microsoft.com/office/drawing/2014/main" id="{1E67CC6B-22E9-CB74-3832-7DBFE2F29E4D}"/>
                  </a:ext>
                </a:extLst>
              </p:cNvPr>
              <p:cNvGrpSpPr/>
              <p:nvPr/>
            </p:nvGrpSpPr>
            <p:grpSpPr>
              <a:xfrm>
                <a:off x="3835714" y="3125365"/>
                <a:ext cx="201337" cy="268073"/>
                <a:chOff x="3835714" y="3125365"/>
                <a:chExt cx="201337" cy="268073"/>
              </a:xfrm>
              <a:noFill/>
            </p:grpSpPr>
            <p:sp>
              <p:nvSpPr>
                <p:cNvPr id="350" name="Forma livre: Forma 349">
                  <a:extLst>
                    <a:ext uri="{FF2B5EF4-FFF2-40B4-BE49-F238E27FC236}">
                      <a16:creationId xmlns:a16="http://schemas.microsoft.com/office/drawing/2014/main" id="{EB12ECDA-A2F5-9CC4-97E5-876E4CFC31C9}"/>
                    </a:ext>
                  </a:extLst>
                </p:cNvPr>
                <p:cNvSpPr/>
                <p:nvPr/>
              </p:nvSpPr>
              <p:spPr>
                <a:xfrm>
                  <a:off x="3861332" y="3151185"/>
                  <a:ext cx="35558" cy="35522"/>
                </a:xfrm>
                <a:custGeom>
                  <a:avLst/>
                  <a:gdLst>
                    <a:gd name="connsiteX0" fmla="*/ 35558 w 35558"/>
                    <a:gd name="connsiteY0" fmla="*/ 0 h 35522"/>
                    <a:gd name="connsiteX1" fmla="*/ 35558 w 35558"/>
                    <a:gd name="connsiteY1" fmla="*/ 35523 h 35522"/>
                    <a:gd name="connsiteX2" fmla="*/ 0 w 35558"/>
                    <a:gd name="connsiteY2" fmla="*/ 35523 h 355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35558" h="35522">
                      <a:moveTo>
                        <a:pt x="35558" y="0"/>
                      </a:moveTo>
                      <a:lnTo>
                        <a:pt x="35558" y="35523"/>
                      </a:lnTo>
                      <a:lnTo>
                        <a:pt x="0" y="35523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351" name="Forma livre: Forma 350">
                  <a:extLst>
                    <a:ext uri="{FF2B5EF4-FFF2-40B4-BE49-F238E27FC236}">
                      <a16:creationId xmlns:a16="http://schemas.microsoft.com/office/drawing/2014/main" id="{6D8BB15D-92D0-5D01-61B6-65AACBDBE68C}"/>
                    </a:ext>
                  </a:extLst>
                </p:cNvPr>
                <p:cNvSpPr/>
                <p:nvPr/>
              </p:nvSpPr>
              <p:spPr>
                <a:xfrm>
                  <a:off x="3835714" y="3125365"/>
                  <a:ext cx="201337" cy="268073"/>
                </a:xfrm>
                <a:custGeom>
                  <a:avLst/>
                  <a:gdLst>
                    <a:gd name="connsiteX0" fmla="*/ 110794 w 201337"/>
                    <a:gd name="connsiteY0" fmla="*/ 268073 h 268073"/>
                    <a:gd name="connsiteX1" fmla="*/ 0 w 201337"/>
                    <a:gd name="connsiteY1" fmla="*/ 268073 h 268073"/>
                    <a:gd name="connsiteX2" fmla="*/ 0 w 201337"/>
                    <a:gd name="connsiteY2" fmla="*/ 52010 h 268073"/>
                    <a:gd name="connsiteX3" fmla="*/ 52022 w 201337"/>
                    <a:gd name="connsiteY3" fmla="*/ 0 h 268073"/>
                    <a:gd name="connsiteX4" fmla="*/ 201338 w 201337"/>
                    <a:gd name="connsiteY4" fmla="*/ 0 h 268073"/>
                    <a:gd name="connsiteX5" fmla="*/ 201338 w 201337"/>
                    <a:gd name="connsiteY5" fmla="*/ 68474 h 26807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201337" h="268073">
                      <a:moveTo>
                        <a:pt x="110794" y="268073"/>
                      </a:moveTo>
                      <a:lnTo>
                        <a:pt x="0" y="268073"/>
                      </a:lnTo>
                      <a:lnTo>
                        <a:pt x="0" y="52010"/>
                      </a:lnTo>
                      <a:lnTo>
                        <a:pt x="52022" y="0"/>
                      </a:lnTo>
                      <a:lnTo>
                        <a:pt x="201338" y="0"/>
                      </a:lnTo>
                      <a:lnTo>
                        <a:pt x="201338" y="68474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</p:grpSp>
      <p:grpSp>
        <p:nvGrpSpPr>
          <p:cNvPr id="352" name="Gráfico 4">
            <a:extLst>
              <a:ext uri="{FF2B5EF4-FFF2-40B4-BE49-F238E27FC236}">
                <a16:creationId xmlns:a16="http://schemas.microsoft.com/office/drawing/2014/main" id="{2A5C3FC1-40AB-2C62-B2FB-FBDA62AC4CAB}"/>
              </a:ext>
            </a:extLst>
          </p:cNvPr>
          <p:cNvGrpSpPr/>
          <p:nvPr/>
        </p:nvGrpSpPr>
        <p:grpSpPr>
          <a:xfrm>
            <a:off x="3800430" y="2564028"/>
            <a:ext cx="333583" cy="333582"/>
            <a:chOff x="3800430" y="2564028"/>
            <a:chExt cx="333583" cy="333582"/>
          </a:xfrm>
          <a:noFill/>
        </p:grpSpPr>
        <p:grpSp>
          <p:nvGrpSpPr>
            <p:cNvPr id="353" name="Gráfico 4">
              <a:extLst>
                <a:ext uri="{FF2B5EF4-FFF2-40B4-BE49-F238E27FC236}">
                  <a16:creationId xmlns:a16="http://schemas.microsoft.com/office/drawing/2014/main" id="{79648AFB-B87C-9302-9C4A-8505A65918BB}"/>
                </a:ext>
              </a:extLst>
            </p:cNvPr>
            <p:cNvGrpSpPr/>
            <p:nvPr/>
          </p:nvGrpSpPr>
          <p:grpSpPr>
            <a:xfrm>
              <a:off x="3800430" y="2564028"/>
              <a:ext cx="333583" cy="333582"/>
              <a:chOff x="3800430" y="2564028"/>
              <a:chExt cx="333583" cy="333582"/>
            </a:xfrm>
            <a:noFill/>
          </p:grpSpPr>
          <p:sp>
            <p:nvSpPr>
              <p:cNvPr id="354" name="Forma livre: Forma 353">
                <a:extLst>
                  <a:ext uri="{FF2B5EF4-FFF2-40B4-BE49-F238E27FC236}">
                    <a16:creationId xmlns:a16="http://schemas.microsoft.com/office/drawing/2014/main" id="{50257345-CFA9-89F0-4667-EF26ABF58BC4}"/>
                  </a:ext>
                </a:extLst>
              </p:cNvPr>
              <p:cNvSpPr/>
              <p:nvPr/>
            </p:nvSpPr>
            <p:spPr>
              <a:xfrm>
                <a:off x="3850642" y="2646287"/>
                <a:ext cx="32879" cy="60712"/>
              </a:xfrm>
              <a:custGeom>
                <a:avLst/>
                <a:gdLst>
                  <a:gd name="connsiteX0" fmla="*/ 0 w 32879"/>
                  <a:gd name="connsiteY0" fmla="*/ 60712 h 60712"/>
                  <a:gd name="connsiteX1" fmla="*/ 32880 w 32879"/>
                  <a:gd name="connsiteY1" fmla="*/ 0 h 607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2879" h="60712">
                    <a:moveTo>
                      <a:pt x="0" y="60712"/>
                    </a:moveTo>
                    <a:cubicBezTo>
                      <a:pt x="4774" y="37225"/>
                      <a:pt x="16476" y="16238"/>
                      <a:pt x="32880" y="0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55" name="Forma livre: Forma 354">
                <a:extLst>
                  <a:ext uri="{FF2B5EF4-FFF2-40B4-BE49-F238E27FC236}">
                    <a16:creationId xmlns:a16="http://schemas.microsoft.com/office/drawing/2014/main" id="{02560EF2-B22A-A3C9-61BE-D651AA68A8C0}"/>
                  </a:ext>
                </a:extLst>
              </p:cNvPr>
              <p:cNvSpPr/>
              <p:nvPr/>
            </p:nvSpPr>
            <p:spPr>
              <a:xfrm>
                <a:off x="3848250" y="2730832"/>
                <a:ext cx="34748" cy="83996"/>
              </a:xfrm>
              <a:custGeom>
                <a:avLst/>
                <a:gdLst>
                  <a:gd name="connsiteX0" fmla="*/ 34749 w 34748"/>
                  <a:gd name="connsiteY0" fmla="*/ 83997 h 83996"/>
                  <a:gd name="connsiteX1" fmla="*/ 0 w 34748"/>
                  <a:gd name="connsiteY1" fmla="*/ 0 h 839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4748" h="83996">
                    <a:moveTo>
                      <a:pt x="34749" y="83997"/>
                    </a:moveTo>
                    <a:cubicBezTo>
                      <a:pt x="13273" y="62486"/>
                      <a:pt x="0" y="32785"/>
                      <a:pt x="0" y="0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56" name="Forma livre: Forma 355">
                <a:extLst>
                  <a:ext uri="{FF2B5EF4-FFF2-40B4-BE49-F238E27FC236}">
                    <a16:creationId xmlns:a16="http://schemas.microsoft.com/office/drawing/2014/main" id="{6F38ADA2-82B3-4B5B-26F7-AE4159C5A3EA}"/>
                  </a:ext>
                </a:extLst>
              </p:cNvPr>
              <p:cNvSpPr/>
              <p:nvPr/>
            </p:nvSpPr>
            <p:spPr>
              <a:xfrm>
                <a:off x="3901760" y="2830150"/>
                <a:ext cx="65438" cy="19594"/>
              </a:xfrm>
              <a:custGeom>
                <a:avLst/>
                <a:gdLst>
                  <a:gd name="connsiteX0" fmla="*/ 65438 w 65438"/>
                  <a:gd name="connsiteY0" fmla="*/ 19594 h 19594"/>
                  <a:gd name="connsiteX1" fmla="*/ 0 w 65438"/>
                  <a:gd name="connsiteY1" fmla="*/ 0 h 195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5438" h="19594">
                    <a:moveTo>
                      <a:pt x="65438" y="19594"/>
                    </a:moveTo>
                    <a:cubicBezTo>
                      <a:pt x="41260" y="19594"/>
                      <a:pt x="18773" y="12381"/>
                      <a:pt x="0" y="0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57" name="Forma livre: Forma 356">
                <a:extLst>
                  <a:ext uri="{FF2B5EF4-FFF2-40B4-BE49-F238E27FC236}">
                    <a16:creationId xmlns:a16="http://schemas.microsoft.com/office/drawing/2014/main" id="{9BC02E53-12C1-3AF1-1270-8C16C733FB88}"/>
                  </a:ext>
                </a:extLst>
              </p:cNvPr>
              <p:cNvSpPr/>
              <p:nvPr/>
            </p:nvSpPr>
            <p:spPr>
              <a:xfrm>
                <a:off x="3991173" y="2814983"/>
                <a:ext cx="60093" cy="32343"/>
              </a:xfrm>
              <a:custGeom>
                <a:avLst/>
                <a:gdLst>
                  <a:gd name="connsiteX0" fmla="*/ 60093 w 60093"/>
                  <a:gd name="connsiteY0" fmla="*/ 0 h 32343"/>
                  <a:gd name="connsiteX1" fmla="*/ 0 w 60093"/>
                  <a:gd name="connsiteY1" fmla="*/ 32344 h 323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0093" h="32343">
                    <a:moveTo>
                      <a:pt x="60093" y="0"/>
                    </a:moveTo>
                    <a:cubicBezTo>
                      <a:pt x="43951" y="16106"/>
                      <a:pt x="23213" y="27594"/>
                      <a:pt x="0" y="32344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58" name="Forma livre: Forma 357">
                <a:extLst>
                  <a:ext uri="{FF2B5EF4-FFF2-40B4-BE49-F238E27FC236}">
                    <a16:creationId xmlns:a16="http://schemas.microsoft.com/office/drawing/2014/main" id="{B978BC5F-9968-7083-5030-5EF193877A59}"/>
                  </a:ext>
                </a:extLst>
              </p:cNvPr>
              <p:cNvSpPr/>
              <p:nvPr/>
            </p:nvSpPr>
            <p:spPr>
              <a:xfrm>
                <a:off x="4066611" y="2754890"/>
                <a:ext cx="17130" cy="41307"/>
              </a:xfrm>
              <a:custGeom>
                <a:avLst/>
                <a:gdLst>
                  <a:gd name="connsiteX0" fmla="*/ 17130 w 17130"/>
                  <a:gd name="connsiteY0" fmla="*/ 0 h 41307"/>
                  <a:gd name="connsiteX1" fmla="*/ 0 w 17130"/>
                  <a:gd name="connsiteY1" fmla="*/ 41308 h 413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7130" h="41307">
                    <a:moveTo>
                      <a:pt x="17130" y="0"/>
                    </a:moveTo>
                    <a:cubicBezTo>
                      <a:pt x="14047" y="14988"/>
                      <a:pt x="8143" y="28951"/>
                      <a:pt x="0" y="41308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59" name="Forma livre: Forma 358">
                <a:extLst>
                  <a:ext uri="{FF2B5EF4-FFF2-40B4-BE49-F238E27FC236}">
                    <a16:creationId xmlns:a16="http://schemas.microsoft.com/office/drawing/2014/main" id="{379DE028-0848-7E86-D78D-4724FBC7BC66}"/>
                  </a:ext>
                </a:extLst>
              </p:cNvPr>
              <p:cNvSpPr/>
              <p:nvPr/>
            </p:nvSpPr>
            <p:spPr>
              <a:xfrm>
                <a:off x="4066849" y="2665810"/>
                <a:ext cx="19332" cy="65021"/>
              </a:xfrm>
              <a:custGeom>
                <a:avLst/>
                <a:gdLst>
                  <a:gd name="connsiteX0" fmla="*/ 0 w 19332"/>
                  <a:gd name="connsiteY0" fmla="*/ 0 h 65021"/>
                  <a:gd name="connsiteX1" fmla="*/ 19333 w 19332"/>
                  <a:gd name="connsiteY1" fmla="*/ 65021 h 650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9332" h="65021">
                    <a:moveTo>
                      <a:pt x="0" y="0"/>
                    </a:moveTo>
                    <a:cubicBezTo>
                      <a:pt x="12226" y="18690"/>
                      <a:pt x="19333" y="41022"/>
                      <a:pt x="19333" y="65021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60" name="Forma livre: Forma 359">
                <a:extLst>
                  <a:ext uri="{FF2B5EF4-FFF2-40B4-BE49-F238E27FC236}">
                    <a16:creationId xmlns:a16="http://schemas.microsoft.com/office/drawing/2014/main" id="{B1D7519A-3B60-7EC5-2CDF-B06550FD4A7B}"/>
                  </a:ext>
                </a:extLst>
              </p:cNvPr>
              <p:cNvSpPr/>
              <p:nvPr/>
            </p:nvSpPr>
            <p:spPr>
              <a:xfrm>
                <a:off x="3991185" y="2614300"/>
                <a:ext cx="60069" cy="32332"/>
              </a:xfrm>
              <a:custGeom>
                <a:avLst/>
                <a:gdLst>
                  <a:gd name="connsiteX0" fmla="*/ 0 w 60069"/>
                  <a:gd name="connsiteY0" fmla="*/ 0 h 32332"/>
                  <a:gd name="connsiteX1" fmla="*/ 60069 w 60069"/>
                  <a:gd name="connsiteY1" fmla="*/ 32332 h 323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0069" h="32332">
                    <a:moveTo>
                      <a:pt x="0" y="0"/>
                    </a:moveTo>
                    <a:cubicBezTo>
                      <a:pt x="23202" y="4738"/>
                      <a:pt x="43939" y="16238"/>
                      <a:pt x="60069" y="32332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61" name="Forma livre: Forma 360">
                <a:extLst>
                  <a:ext uri="{FF2B5EF4-FFF2-40B4-BE49-F238E27FC236}">
                    <a16:creationId xmlns:a16="http://schemas.microsoft.com/office/drawing/2014/main" id="{5A4E9C61-6C2A-931C-8E22-7561D9889BFD}"/>
                  </a:ext>
                </a:extLst>
              </p:cNvPr>
              <p:cNvSpPr/>
              <p:nvPr/>
            </p:nvSpPr>
            <p:spPr>
              <a:xfrm>
                <a:off x="3901664" y="2611896"/>
                <a:ext cx="65533" cy="19665"/>
              </a:xfrm>
              <a:custGeom>
                <a:avLst/>
                <a:gdLst>
                  <a:gd name="connsiteX0" fmla="*/ 0 w 65533"/>
                  <a:gd name="connsiteY0" fmla="*/ 19666 h 19665"/>
                  <a:gd name="connsiteX1" fmla="*/ 65533 w 65533"/>
                  <a:gd name="connsiteY1" fmla="*/ 0 h 196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5533" h="19665">
                    <a:moveTo>
                      <a:pt x="0" y="19666"/>
                    </a:moveTo>
                    <a:cubicBezTo>
                      <a:pt x="18797" y="7226"/>
                      <a:pt x="41320" y="0"/>
                      <a:pt x="65533" y="0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362" name="Gráfico 4">
                <a:extLst>
                  <a:ext uri="{FF2B5EF4-FFF2-40B4-BE49-F238E27FC236}">
                    <a16:creationId xmlns:a16="http://schemas.microsoft.com/office/drawing/2014/main" id="{FEF848EB-36EB-3A70-F819-507F139D0985}"/>
                  </a:ext>
                </a:extLst>
              </p:cNvPr>
              <p:cNvGrpSpPr/>
              <p:nvPr/>
            </p:nvGrpSpPr>
            <p:grpSpPr>
              <a:xfrm>
                <a:off x="3945508" y="2564028"/>
                <a:ext cx="43415" cy="333582"/>
                <a:chOff x="3945508" y="2564028"/>
                <a:chExt cx="43415" cy="333582"/>
              </a:xfrm>
              <a:noFill/>
            </p:grpSpPr>
            <p:grpSp>
              <p:nvGrpSpPr>
                <p:cNvPr id="363" name="Gráfico 4">
                  <a:extLst>
                    <a:ext uri="{FF2B5EF4-FFF2-40B4-BE49-F238E27FC236}">
                      <a16:creationId xmlns:a16="http://schemas.microsoft.com/office/drawing/2014/main" id="{381C7D4A-4E73-6A80-7654-65530319D545}"/>
                    </a:ext>
                  </a:extLst>
                </p:cNvPr>
                <p:cNvGrpSpPr/>
                <p:nvPr/>
              </p:nvGrpSpPr>
              <p:grpSpPr>
                <a:xfrm>
                  <a:off x="3945508" y="2829138"/>
                  <a:ext cx="43415" cy="68473"/>
                  <a:chOff x="3945508" y="2829138"/>
                  <a:chExt cx="43415" cy="68473"/>
                </a:xfrm>
                <a:noFill/>
              </p:grpSpPr>
              <p:sp>
                <p:nvSpPr>
                  <p:cNvPr id="364" name="Forma livre: Forma 363">
                    <a:extLst>
                      <a:ext uri="{FF2B5EF4-FFF2-40B4-BE49-F238E27FC236}">
                        <a16:creationId xmlns:a16="http://schemas.microsoft.com/office/drawing/2014/main" id="{BAA2A5D5-240B-5401-F7A4-B1DC545F5C6A}"/>
                      </a:ext>
                    </a:extLst>
                  </p:cNvPr>
                  <p:cNvSpPr/>
                  <p:nvPr/>
                </p:nvSpPr>
                <p:spPr>
                  <a:xfrm>
                    <a:off x="3967162" y="2829138"/>
                    <a:ext cx="1190" cy="68128"/>
                  </a:xfrm>
                  <a:custGeom>
                    <a:avLst/>
                    <a:gdLst>
                      <a:gd name="connsiteX0" fmla="*/ 0 w 1190"/>
                      <a:gd name="connsiteY0" fmla="*/ 68128 h 68128"/>
                      <a:gd name="connsiteX1" fmla="*/ 0 w 1190"/>
                      <a:gd name="connsiteY1" fmla="*/ 0 h 6812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190" h="68128">
                        <a:moveTo>
                          <a:pt x="0" y="68128"/>
                        </a:moveTo>
                        <a:lnTo>
                          <a:pt x="0" y="0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365" name="Forma livre: Forma 364">
                    <a:extLst>
                      <a:ext uri="{FF2B5EF4-FFF2-40B4-BE49-F238E27FC236}">
                        <a16:creationId xmlns:a16="http://schemas.microsoft.com/office/drawing/2014/main" id="{B3ED1F7A-4FB8-7E78-66A1-603B1AC52407}"/>
                      </a:ext>
                    </a:extLst>
                  </p:cNvPr>
                  <p:cNvSpPr/>
                  <p:nvPr/>
                </p:nvSpPr>
                <p:spPr>
                  <a:xfrm>
                    <a:off x="3945508" y="2875862"/>
                    <a:ext cx="43415" cy="21749"/>
                  </a:xfrm>
                  <a:custGeom>
                    <a:avLst/>
                    <a:gdLst>
                      <a:gd name="connsiteX0" fmla="*/ 0 w 43415"/>
                      <a:gd name="connsiteY0" fmla="*/ 0 h 21749"/>
                      <a:gd name="connsiteX1" fmla="*/ 21749 w 43415"/>
                      <a:gd name="connsiteY1" fmla="*/ 21749 h 21749"/>
                      <a:gd name="connsiteX2" fmla="*/ 43415 w 43415"/>
                      <a:gd name="connsiteY2" fmla="*/ 83 h 217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</a:cxnLst>
                    <a:rect l="l" t="t" r="r" b="b"/>
                    <a:pathLst>
                      <a:path w="43415" h="21749">
                        <a:moveTo>
                          <a:pt x="0" y="0"/>
                        </a:moveTo>
                        <a:lnTo>
                          <a:pt x="21749" y="21749"/>
                        </a:lnTo>
                        <a:lnTo>
                          <a:pt x="43415" y="83"/>
                        </a:lnTo>
                      </a:path>
                    </a:pathLst>
                  </a:custGeom>
                  <a:noFill/>
                  <a:ln w="6350" cap="rnd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  <p:grpSp>
              <p:nvGrpSpPr>
                <p:cNvPr id="366" name="Gráfico 4">
                  <a:extLst>
                    <a:ext uri="{FF2B5EF4-FFF2-40B4-BE49-F238E27FC236}">
                      <a16:creationId xmlns:a16="http://schemas.microsoft.com/office/drawing/2014/main" id="{9D2CBAAD-314D-EF2A-B202-011256A04F93}"/>
                    </a:ext>
                  </a:extLst>
                </p:cNvPr>
                <p:cNvGrpSpPr/>
                <p:nvPr/>
              </p:nvGrpSpPr>
              <p:grpSpPr>
                <a:xfrm>
                  <a:off x="3945508" y="2564028"/>
                  <a:ext cx="43415" cy="68461"/>
                  <a:chOff x="3945508" y="2564028"/>
                  <a:chExt cx="43415" cy="68461"/>
                </a:xfrm>
                <a:noFill/>
              </p:grpSpPr>
              <p:sp>
                <p:nvSpPr>
                  <p:cNvPr id="367" name="Forma livre: Forma 366">
                    <a:extLst>
                      <a:ext uri="{FF2B5EF4-FFF2-40B4-BE49-F238E27FC236}">
                        <a16:creationId xmlns:a16="http://schemas.microsoft.com/office/drawing/2014/main" id="{9D99ADA2-4E5F-B406-31F4-169413547852}"/>
                      </a:ext>
                    </a:extLst>
                  </p:cNvPr>
                  <p:cNvSpPr/>
                  <p:nvPr/>
                </p:nvSpPr>
                <p:spPr>
                  <a:xfrm>
                    <a:off x="3967269" y="2564362"/>
                    <a:ext cx="11" cy="68128"/>
                  </a:xfrm>
                  <a:custGeom>
                    <a:avLst/>
                    <a:gdLst>
                      <a:gd name="connsiteX0" fmla="*/ 12 w 11"/>
                      <a:gd name="connsiteY0" fmla="*/ 0 h 68128"/>
                      <a:gd name="connsiteX1" fmla="*/ 0 w 11"/>
                      <a:gd name="connsiteY1" fmla="*/ 68128 h 6812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1" h="68128">
                        <a:moveTo>
                          <a:pt x="12" y="0"/>
                        </a:moveTo>
                        <a:lnTo>
                          <a:pt x="0" y="68128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368" name="Forma livre: Forma 367">
                    <a:extLst>
                      <a:ext uri="{FF2B5EF4-FFF2-40B4-BE49-F238E27FC236}">
                        <a16:creationId xmlns:a16="http://schemas.microsoft.com/office/drawing/2014/main" id="{C0CB366C-E8FB-2F56-9042-028316E8BB12}"/>
                      </a:ext>
                    </a:extLst>
                  </p:cNvPr>
                  <p:cNvSpPr/>
                  <p:nvPr/>
                </p:nvSpPr>
                <p:spPr>
                  <a:xfrm>
                    <a:off x="3945508" y="2564028"/>
                    <a:ext cx="43415" cy="21761"/>
                  </a:xfrm>
                  <a:custGeom>
                    <a:avLst/>
                    <a:gdLst>
                      <a:gd name="connsiteX0" fmla="*/ 43415 w 43415"/>
                      <a:gd name="connsiteY0" fmla="*/ 21761 h 21761"/>
                      <a:gd name="connsiteX1" fmla="*/ 21666 w 43415"/>
                      <a:gd name="connsiteY1" fmla="*/ 0 h 21761"/>
                      <a:gd name="connsiteX2" fmla="*/ 0 w 43415"/>
                      <a:gd name="connsiteY2" fmla="*/ 21666 h 2176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</a:cxnLst>
                    <a:rect l="l" t="t" r="r" b="b"/>
                    <a:pathLst>
                      <a:path w="43415" h="21761">
                        <a:moveTo>
                          <a:pt x="43415" y="21761"/>
                        </a:moveTo>
                        <a:lnTo>
                          <a:pt x="21666" y="0"/>
                        </a:lnTo>
                        <a:lnTo>
                          <a:pt x="0" y="21666"/>
                        </a:lnTo>
                      </a:path>
                    </a:pathLst>
                  </a:custGeom>
                  <a:noFill/>
                  <a:ln w="6350" cap="rnd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</p:grpSp>
          <p:grpSp>
            <p:nvGrpSpPr>
              <p:cNvPr id="369" name="Gráfico 4">
                <a:extLst>
                  <a:ext uri="{FF2B5EF4-FFF2-40B4-BE49-F238E27FC236}">
                    <a16:creationId xmlns:a16="http://schemas.microsoft.com/office/drawing/2014/main" id="{BFC35F32-F235-B0B0-AC77-B31CA87700D4}"/>
                  </a:ext>
                </a:extLst>
              </p:cNvPr>
              <p:cNvGrpSpPr/>
              <p:nvPr/>
            </p:nvGrpSpPr>
            <p:grpSpPr>
              <a:xfrm>
                <a:off x="3800430" y="2709106"/>
                <a:ext cx="333583" cy="43426"/>
                <a:chOff x="3800430" y="2709106"/>
                <a:chExt cx="333583" cy="43426"/>
              </a:xfrm>
              <a:noFill/>
            </p:grpSpPr>
            <p:grpSp>
              <p:nvGrpSpPr>
                <p:cNvPr id="370" name="Gráfico 4">
                  <a:extLst>
                    <a:ext uri="{FF2B5EF4-FFF2-40B4-BE49-F238E27FC236}">
                      <a16:creationId xmlns:a16="http://schemas.microsoft.com/office/drawing/2014/main" id="{187284E2-4C68-E2AC-5DD9-31FE6EEB5A41}"/>
                    </a:ext>
                  </a:extLst>
                </p:cNvPr>
                <p:cNvGrpSpPr/>
                <p:nvPr/>
              </p:nvGrpSpPr>
              <p:grpSpPr>
                <a:xfrm>
                  <a:off x="3800430" y="2709106"/>
                  <a:ext cx="68461" cy="43426"/>
                  <a:chOff x="3800430" y="2709106"/>
                  <a:chExt cx="68461" cy="43426"/>
                </a:xfrm>
                <a:noFill/>
              </p:grpSpPr>
              <p:sp>
                <p:nvSpPr>
                  <p:cNvPr id="371" name="Forma livre: Forma 370">
                    <a:extLst>
                      <a:ext uri="{FF2B5EF4-FFF2-40B4-BE49-F238E27FC236}">
                        <a16:creationId xmlns:a16="http://schemas.microsoft.com/office/drawing/2014/main" id="{4F5765A0-C5EB-2EFC-A2D4-67C82E147B71}"/>
                      </a:ext>
                    </a:extLst>
                  </p:cNvPr>
                  <p:cNvSpPr/>
                  <p:nvPr/>
                </p:nvSpPr>
                <p:spPr>
                  <a:xfrm>
                    <a:off x="3800763" y="2730760"/>
                    <a:ext cx="68128" cy="1190"/>
                  </a:xfrm>
                  <a:custGeom>
                    <a:avLst/>
                    <a:gdLst>
                      <a:gd name="connsiteX0" fmla="*/ 0 w 68128"/>
                      <a:gd name="connsiteY0" fmla="*/ 0 h 1190"/>
                      <a:gd name="connsiteX1" fmla="*/ 68129 w 68128"/>
                      <a:gd name="connsiteY1" fmla="*/ 0 h 119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68128" h="1190">
                        <a:moveTo>
                          <a:pt x="0" y="0"/>
                        </a:moveTo>
                        <a:lnTo>
                          <a:pt x="68129" y="0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372" name="Forma livre: Forma 371">
                    <a:extLst>
                      <a:ext uri="{FF2B5EF4-FFF2-40B4-BE49-F238E27FC236}">
                        <a16:creationId xmlns:a16="http://schemas.microsoft.com/office/drawing/2014/main" id="{08B96D04-7B4B-BCC2-8978-B2CDDDA6176C}"/>
                      </a:ext>
                    </a:extLst>
                  </p:cNvPr>
                  <p:cNvSpPr/>
                  <p:nvPr/>
                </p:nvSpPr>
                <p:spPr>
                  <a:xfrm>
                    <a:off x="3800430" y="2709106"/>
                    <a:ext cx="21749" cy="43426"/>
                  </a:xfrm>
                  <a:custGeom>
                    <a:avLst/>
                    <a:gdLst>
                      <a:gd name="connsiteX0" fmla="*/ 21749 w 21749"/>
                      <a:gd name="connsiteY0" fmla="*/ 0 h 43426"/>
                      <a:gd name="connsiteX1" fmla="*/ 0 w 21749"/>
                      <a:gd name="connsiteY1" fmla="*/ 21749 h 43426"/>
                      <a:gd name="connsiteX2" fmla="*/ 21654 w 21749"/>
                      <a:gd name="connsiteY2" fmla="*/ 43427 h 4342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</a:cxnLst>
                    <a:rect l="l" t="t" r="r" b="b"/>
                    <a:pathLst>
                      <a:path w="21749" h="43426">
                        <a:moveTo>
                          <a:pt x="21749" y="0"/>
                        </a:moveTo>
                        <a:lnTo>
                          <a:pt x="0" y="21749"/>
                        </a:lnTo>
                        <a:lnTo>
                          <a:pt x="21654" y="43427"/>
                        </a:lnTo>
                      </a:path>
                    </a:pathLst>
                  </a:custGeom>
                  <a:noFill/>
                  <a:ln w="6350" cap="rnd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  <p:grpSp>
              <p:nvGrpSpPr>
                <p:cNvPr id="373" name="Gráfico 4">
                  <a:extLst>
                    <a:ext uri="{FF2B5EF4-FFF2-40B4-BE49-F238E27FC236}">
                      <a16:creationId xmlns:a16="http://schemas.microsoft.com/office/drawing/2014/main" id="{E361C952-8061-14B9-3534-3C23EF03E366}"/>
                    </a:ext>
                  </a:extLst>
                </p:cNvPr>
                <p:cNvGrpSpPr/>
                <p:nvPr/>
              </p:nvGrpSpPr>
              <p:grpSpPr>
                <a:xfrm>
                  <a:off x="4065539" y="2709106"/>
                  <a:ext cx="68473" cy="43426"/>
                  <a:chOff x="4065539" y="2709106"/>
                  <a:chExt cx="68473" cy="43426"/>
                </a:xfrm>
                <a:noFill/>
              </p:grpSpPr>
              <p:sp>
                <p:nvSpPr>
                  <p:cNvPr id="374" name="Forma livre: Forma 373">
                    <a:extLst>
                      <a:ext uri="{FF2B5EF4-FFF2-40B4-BE49-F238E27FC236}">
                        <a16:creationId xmlns:a16="http://schemas.microsoft.com/office/drawing/2014/main" id="{65A765B0-E22D-A766-E890-BFFEECB24350}"/>
                      </a:ext>
                    </a:extLst>
                  </p:cNvPr>
                  <p:cNvSpPr/>
                  <p:nvPr/>
                </p:nvSpPr>
                <p:spPr>
                  <a:xfrm>
                    <a:off x="4065539" y="2730867"/>
                    <a:ext cx="68128" cy="11"/>
                  </a:xfrm>
                  <a:custGeom>
                    <a:avLst/>
                    <a:gdLst>
                      <a:gd name="connsiteX0" fmla="*/ 68128 w 68128"/>
                      <a:gd name="connsiteY0" fmla="*/ 12 h 11"/>
                      <a:gd name="connsiteX1" fmla="*/ 0 w 68128"/>
                      <a:gd name="connsiteY1" fmla="*/ 0 h 1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68128" h="11">
                        <a:moveTo>
                          <a:pt x="68128" y="12"/>
                        </a:moveTo>
                        <a:lnTo>
                          <a:pt x="0" y="0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375" name="Forma livre: Forma 374">
                    <a:extLst>
                      <a:ext uri="{FF2B5EF4-FFF2-40B4-BE49-F238E27FC236}">
                        <a16:creationId xmlns:a16="http://schemas.microsoft.com/office/drawing/2014/main" id="{4A44029C-DB3E-906A-B50A-AEF6C64AA49A}"/>
                      </a:ext>
                    </a:extLst>
                  </p:cNvPr>
                  <p:cNvSpPr/>
                  <p:nvPr/>
                </p:nvSpPr>
                <p:spPr>
                  <a:xfrm>
                    <a:off x="4112240" y="2709106"/>
                    <a:ext cx="21773" cy="43426"/>
                  </a:xfrm>
                  <a:custGeom>
                    <a:avLst/>
                    <a:gdLst>
                      <a:gd name="connsiteX0" fmla="*/ 0 w 21773"/>
                      <a:gd name="connsiteY0" fmla="*/ 43427 h 43426"/>
                      <a:gd name="connsiteX1" fmla="*/ 21773 w 21773"/>
                      <a:gd name="connsiteY1" fmla="*/ 21666 h 43426"/>
                      <a:gd name="connsiteX2" fmla="*/ 95 w 21773"/>
                      <a:gd name="connsiteY2" fmla="*/ 0 h 4342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</a:cxnLst>
                    <a:rect l="l" t="t" r="r" b="b"/>
                    <a:pathLst>
                      <a:path w="21773" h="43426">
                        <a:moveTo>
                          <a:pt x="0" y="43427"/>
                        </a:moveTo>
                        <a:lnTo>
                          <a:pt x="21773" y="21666"/>
                        </a:lnTo>
                        <a:lnTo>
                          <a:pt x="95" y="0"/>
                        </a:lnTo>
                      </a:path>
                    </a:pathLst>
                  </a:custGeom>
                  <a:noFill/>
                  <a:ln w="6350" cap="rnd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</p:grpSp>
          <p:grpSp>
            <p:nvGrpSpPr>
              <p:cNvPr id="376" name="Gráfico 4">
                <a:extLst>
                  <a:ext uri="{FF2B5EF4-FFF2-40B4-BE49-F238E27FC236}">
                    <a16:creationId xmlns:a16="http://schemas.microsoft.com/office/drawing/2014/main" id="{2D7CD831-87C9-3AF0-21D4-D8CB20F6078A}"/>
                  </a:ext>
                </a:extLst>
              </p:cNvPr>
              <p:cNvGrpSpPr/>
              <p:nvPr/>
            </p:nvGrpSpPr>
            <p:grpSpPr>
              <a:xfrm>
                <a:off x="3849309" y="2612848"/>
                <a:ext cx="235812" cy="235955"/>
                <a:chOff x="3849309" y="2612848"/>
                <a:chExt cx="235812" cy="235955"/>
              </a:xfrm>
              <a:noFill/>
            </p:grpSpPr>
            <p:grpSp>
              <p:nvGrpSpPr>
                <p:cNvPr id="377" name="Gráfico 4">
                  <a:extLst>
                    <a:ext uri="{FF2B5EF4-FFF2-40B4-BE49-F238E27FC236}">
                      <a16:creationId xmlns:a16="http://schemas.microsoft.com/office/drawing/2014/main" id="{FF019187-8437-8491-E096-C48AFDD94ECC}"/>
                    </a:ext>
                  </a:extLst>
                </p:cNvPr>
                <p:cNvGrpSpPr/>
                <p:nvPr/>
              </p:nvGrpSpPr>
              <p:grpSpPr>
                <a:xfrm>
                  <a:off x="3849309" y="2800305"/>
                  <a:ext cx="48343" cy="48498"/>
                  <a:chOff x="3849309" y="2800305"/>
                  <a:chExt cx="48343" cy="48498"/>
                </a:xfrm>
                <a:noFill/>
              </p:grpSpPr>
              <p:sp>
                <p:nvSpPr>
                  <p:cNvPr id="378" name="Forma livre: Forma 377">
                    <a:extLst>
                      <a:ext uri="{FF2B5EF4-FFF2-40B4-BE49-F238E27FC236}">
                        <a16:creationId xmlns:a16="http://schemas.microsoft.com/office/drawing/2014/main" id="{74C47A78-E031-8BD6-66C5-9FB60F05021D}"/>
                      </a:ext>
                    </a:extLst>
                  </p:cNvPr>
                  <p:cNvSpPr/>
                  <p:nvPr/>
                </p:nvSpPr>
                <p:spPr>
                  <a:xfrm>
                    <a:off x="3849476" y="2800305"/>
                    <a:ext cx="48176" cy="48176"/>
                  </a:xfrm>
                  <a:custGeom>
                    <a:avLst/>
                    <a:gdLst>
                      <a:gd name="connsiteX0" fmla="*/ 0 w 48176"/>
                      <a:gd name="connsiteY0" fmla="*/ 48177 h 48176"/>
                      <a:gd name="connsiteX1" fmla="*/ 48177 w 48176"/>
                      <a:gd name="connsiteY1" fmla="*/ 0 h 4817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48176" h="48176">
                        <a:moveTo>
                          <a:pt x="0" y="48177"/>
                        </a:moveTo>
                        <a:lnTo>
                          <a:pt x="48177" y="0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379" name="Forma livre: Forma 378">
                    <a:extLst>
                      <a:ext uri="{FF2B5EF4-FFF2-40B4-BE49-F238E27FC236}">
                        <a16:creationId xmlns:a16="http://schemas.microsoft.com/office/drawing/2014/main" id="{49077A41-555B-BD95-308E-73DE21A96D5D}"/>
                      </a:ext>
                    </a:extLst>
                  </p:cNvPr>
                  <p:cNvSpPr/>
                  <p:nvPr/>
                </p:nvSpPr>
                <p:spPr>
                  <a:xfrm>
                    <a:off x="3849309" y="2818019"/>
                    <a:ext cx="30641" cy="30784"/>
                  </a:xfrm>
                  <a:custGeom>
                    <a:avLst/>
                    <a:gdLst>
                      <a:gd name="connsiteX0" fmla="*/ 0 w 30641"/>
                      <a:gd name="connsiteY0" fmla="*/ 0 h 30784"/>
                      <a:gd name="connsiteX1" fmla="*/ 0 w 30641"/>
                      <a:gd name="connsiteY1" fmla="*/ 30761 h 30784"/>
                      <a:gd name="connsiteX2" fmla="*/ 30642 w 30641"/>
                      <a:gd name="connsiteY2" fmla="*/ 30785 h 3078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</a:cxnLst>
                    <a:rect l="l" t="t" r="r" b="b"/>
                    <a:pathLst>
                      <a:path w="30641" h="30784">
                        <a:moveTo>
                          <a:pt x="0" y="0"/>
                        </a:moveTo>
                        <a:lnTo>
                          <a:pt x="0" y="30761"/>
                        </a:lnTo>
                        <a:lnTo>
                          <a:pt x="30642" y="30785"/>
                        </a:lnTo>
                      </a:path>
                    </a:pathLst>
                  </a:custGeom>
                  <a:noFill/>
                  <a:ln w="6350" cap="rnd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  <p:grpSp>
              <p:nvGrpSpPr>
                <p:cNvPr id="380" name="Gráfico 4">
                  <a:extLst>
                    <a:ext uri="{FF2B5EF4-FFF2-40B4-BE49-F238E27FC236}">
                      <a16:creationId xmlns:a16="http://schemas.microsoft.com/office/drawing/2014/main" id="{8722D92B-85EA-94A3-9D48-388C91543F3D}"/>
                    </a:ext>
                  </a:extLst>
                </p:cNvPr>
                <p:cNvGrpSpPr/>
                <p:nvPr/>
              </p:nvGrpSpPr>
              <p:grpSpPr>
                <a:xfrm>
                  <a:off x="4036778" y="2612848"/>
                  <a:ext cx="48343" cy="48486"/>
                  <a:chOff x="4036778" y="2612848"/>
                  <a:chExt cx="48343" cy="48486"/>
                </a:xfrm>
                <a:noFill/>
              </p:grpSpPr>
              <p:sp>
                <p:nvSpPr>
                  <p:cNvPr id="381" name="Forma livre: Forma 380">
                    <a:extLst>
                      <a:ext uri="{FF2B5EF4-FFF2-40B4-BE49-F238E27FC236}">
                        <a16:creationId xmlns:a16="http://schemas.microsoft.com/office/drawing/2014/main" id="{3A0798D8-B8C8-5184-10D8-4CD31E8FF175}"/>
                      </a:ext>
                    </a:extLst>
                  </p:cNvPr>
                  <p:cNvSpPr/>
                  <p:nvPr/>
                </p:nvSpPr>
                <p:spPr>
                  <a:xfrm>
                    <a:off x="4036778" y="2613157"/>
                    <a:ext cx="48188" cy="48176"/>
                  </a:xfrm>
                  <a:custGeom>
                    <a:avLst/>
                    <a:gdLst>
                      <a:gd name="connsiteX0" fmla="*/ 48189 w 48188"/>
                      <a:gd name="connsiteY0" fmla="*/ 0 h 48176"/>
                      <a:gd name="connsiteX1" fmla="*/ 0 w 48188"/>
                      <a:gd name="connsiteY1" fmla="*/ 48177 h 4817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48188" h="48176">
                        <a:moveTo>
                          <a:pt x="48189" y="0"/>
                        </a:moveTo>
                        <a:lnTo>
                          <a:pt x="0" y="48177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382" name="Forma livre: Forma 381">
                    <a:extLst>
                      <a:ext uri="{FF2B5EF4-FFF2-40B4-BE49-F238E27FC236}">
                        <a16:creationId xmlns:a16="http://schemas.microsoft.com/office/drawing/2014/main" id="{B19D420E-0CE4-BDDA-3A94-6BC28CCF10B9}"/>
                      </a:ext>
                    </a:extLst>
                  </p:cNvPr>
                  <p:cNvSpPr/>
                  <p:nvPr/>
                </p:nvSpPr>
                <p:spPr>
                  <a:xfrm>
                    <a:off x="4054480" y="2612848"/>
                    <a:ext cx="30641" cy="30772"/>
                  </a:xfrm>
                  <a:custGeom>
                    <a:avLst/>
                    <a:gdLst>
                      <a:gd name="connsiteX0" fmla="*/ 30642 w 30641"/>
                      <a:gd name="connsiteY0" fmla="*/ 30773 h 30772"/>
                      <a:gd name="connsiteX1" fmla="*/ 30642 w 30641"/>
                      <a:gd name="connsiteY1" fmla="*/ 0 h 30772"/>
                      <a:gd name="connsiteX2" fmla="*/ 0 w 30641"/>
                      <a:gd name="connsiteY2" fmla="*/ 0 h 3077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</a:cxnLst>
                    <a:rect l="l" t="t" r="r" b="b"/>
                    <a:pathLst>
                      <a:path w="30641" h="30772">
                        <a:moveTo>
                          <a:pt x="30642" y="30773"/>
                        </a:moveTo>
                        <a:lnTo>
                          <a:pt x="30642" y="0"/>
                        </a:lnTo>
                        <a:lnTo>
                          <a:pt x="0" y="0"/>
                        </a:lnTo>
                      </a:path>
                    </a:pathLst>
                  </a:custGeom>
                  <a:noFill/>
                  <a:ln w="6350" cap="rnd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</p:grpSp>
          <p:grpSp>
            <p:nvGrpSpPr>
              <p:cNvPr id="383" name="Gráfico 4">
                <a:extLst>
                  <a:ext uri="{FF2B5EF4-FFF2-40B4-BE49-F238E27FC236}">
                    <a16:creationId xmlns:a16="http://schemas.microsoft.com/office/drawing/2014/main" id="{1C242B08-D651-7D3D-3B69-A57591B57983}"/>
                  </a:ext>
                </a:extLst>
              </p:cNvPr>
              <p:cNvGrpSpPr/>
              <p:nvPr/>
            </p:nvGrpSpPr>
            <p:grpSpPr>
              <a:xfrm>
                <a:off x="3849238" y="2612908"/>
                <a:ext cx="235955" cy="235812"/>
                <a:chOff x="3849238" y="2612908"/>
                <a:chExt cx="235955" cy="235812"/>
              </a:xfrm>
              <a:noFill/>
            </p:grpSpPr>
            <p:grpSp>
              <p:nvGrpSpPr>
                <p:cNvPr id="384" name="Gráfico 4">
                  <a:extLst>
                    <a:ext uri="{FF2B5EF4-FFF2-40B4-BE49-F238E27FC236}">
                      <a16:creationId xmlns:a16="http://schemas.microsoft.com/office/drawing/2014/main" id="{2D6889C4-14BA-0E9B-D13E-B2D7BBBC66CC}"/>
                    </a:ext>
                  </a:extLst>
                </p:cNvPr>
                <p:cNvGrpSpPr/>
                <p:nvPr/>
              </p:nvGrpSpPr>
              <p:grpSpPr>
                <a:xfrm>
                  <a:off x="4036707" y="2800377"/>
                  <a:ext cx="48486" cy="48343"/>
                  <a:chOff x="4036707" y="2800377"/>
                  <a:chExt cx="48486" cy="48343"/>
                </a:xfrm>
                <a:noFill/>
              </p:grpSpPr>
              <p:sp>
                <p:nvSpPr>
                  <p:cNvPr id="385" name="Forma livre: Forma 384">
                    <a:extLst>
                      <a:ext uri="{FF2B5EF4-FFF2-40B4-BE49-F238E27FC236}">
                        <a16:creationId xmlns:a16="http://schemas.microsoft.com/office/drawing/2014/main" id="{51746DEF-0A46-8BE4-3689-7D265783C723}"/>
                      </a:ext>
                    </a:extLst>
                  </p:cNvPr>
                  <p:cNvSpPr/>
                  <p:nvPr/>
                </p:nvSpPr>
                <p:spPr>
                  <a:xfrm>
                    <a:off x="4036707" y="2800377"/>
                    <a:ext cx="48164" cy="48188"/>
                  </a:xfrm>
                  <a:custGeom>
                    <a:avLst/>
                    <a:gdLst>
                      <a:gd name="connsiteX0" fmla="*/ 48165 w 48164"/>
                      <a:gd name="connsiteY0" fmla="*/ 48189 h 48188"/>
                      <a:gd name="connsiteX1" fmla="*/ 0 w 48164"/>
                      <a:gd name="connsiteY1" fmla="*/ 0 h 4818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48164" h="48188">
                        <a:moveTo>
                          <a:pt x="48165" y="48189"/>
                        </a:moveTo>
                        <a:lnTo>
                          <a:pt x="0" y="0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386" name="Forma livre: Forma 385">
                    <a:extLst>
                      <a:ext uri="{FF2B5EF4-FFF2-40B4-BE49-F238E27FC236}">
                        <a16:creationId xmlns:a16="http://schemas.microsoft.com/office/drawing/2014/main" id="{9AB2F99A-6D28-57A7-D3E1-8ED3BB086E2D}"/>
                      </a:ext>
                    </a:extLst>
                  </p:cNvPr>
                  <p:cNvSpPr/>
                  <p:nvPr/>
                </p:nvSpPr>
                <p:spPr>
                  <a:xfrm>
                    <a:off x="4054421" y="2818079"/>
                    <a:ext cx="30772" cy="30641"/>
                  </a:xfrm>
                  <a:custGeom>
                    <a:avLst/>
                    <a:gdLst>
                      <a:gd name="connsiteX0" fmla="*/ 0 w 30772"/>
                      <a:gd name="connsiteY0" fmla="*/ 30642 h 30641"/>
                      <a:gd name="connsiteX1" fmla="*/ 30761 w 30772"/>
                      <a:gd name="connsiteY1" fmla="*/ 30642 h 30641"/>
                      <a:gd name="connsiteX2" fmla="*/ 30773 w 30772"/>
                      <a:gd name="connsiteY2" fmla="*/ 0 h 3064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</a:cxnLst>
                    <a:rect l="l" t="t" r="r" b="b"/>
                    <a:pathLst>
                      <a:path w="30772" h="30641">
                        <a:moveTo>
                          <a:pt x="0" y="30642"/>
                        </a:moveTo>
                        <a:lnTo>
                          <a:pt x="30761" y="30642"/>
                        </a:lnTo>
                        <a:lnTo>
                          <a:pt x="30773" y="0"/>
                        </a:lnTo>
                      </a:path>
                    </a:pathLst>
                  </a:custGeom>
                  <a:noFill/>
                  <a:ln w="6350" cap="rnd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  <p:grpSp>
              <p:nvGrpSpPr>
                <p:cNvPr id="387" name="Gráfico 4">
                  <a:extLst>
                    <a:ext uri="{FF2B5EF4-FFF2-40B4-BE49-F238E27FC236}">
                      <a16:creationId xmlns:a16="http://schemas.microsoft.com/office/drawing/2014/main" id="{A6BF9D05-9DF2-38AD-92BC-CA922852D982}"/>
                    </a:ext>
                  </a:extLst>
                </p:cNvPr>
                <p:cNvGrpSpPr/>
                <p:nvPr/>
              </p:nvGrpSpPr>
              <p:grpSpPr>
                <a:xfrm>
                  <a:off x="3849238" y="2612908"/>
                  <a:ext cx="48498" cy="48343"/>
                  <a:chOff x="3849238" y="2612908"/>
                  <a:chExt cx="48498" cy="48343"/>
                </a:xfrm>
                <a:noFill/>
              </p:grpSpPr>
              <p:sp>
                <p:nvSpPr>
                  <p:cNvPr id="388" name="Forma livre: Forma 387">
                    <a:extLst>
                      <a:ext uri="{FF2B5EF4-FFF2-40B4-BE49-F238E27FC236}">
                        <a16:creationId xmlns:a16="http://schemas.microsoft.com/office/drawing/2014/main" id="{469EA6A8-00BF-1C95-5C36-99DF66B461D9}"/>
                      </a:ext>
                    </a:extLst>
                  </p:cNvPr>
                  <p:cNvSpPr/>
                  <p:nvPr/>
                </p:nvSpPr>
                <p:spPr>
                  <a:xfrm>
                    <a:off x="3849559" y="2613074"/>
                    <a:ext cx="48176" cy="48176"/>
                  </a:xfrm>
                  <a:custGeom>
                    <a:avLst/>
                    <a:gdLst>
                      <a:gd name="connsiteX0" fmla="*/ 0 w 48176"/>
                      <a:gd name="connsiteY0" fmla="*/ 0 h 48176"/>
                      <a:gd name="connsiteX1" fmla="*/ 48177 w 48176"/>
                      <a:gd name="connsiteY1" fmla="*/ 48177 h 4817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48176" h="48176">
                        <a:moveTo>
                          <a:pt x="0" y="0"/>
                        </a:moveTo>
                        <a:lnTo>
                          <a:pt x="48177" y="48177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389" name="Forma livre: Forma 388">
                    <a:extLst>
                      <a:ext uri="{FF2B5EF4-FFF2-40B4-BE49-F238E27FC236}">
                        <a16:creationId xmlns:a16="http://schemas.microsoft.com/office/drawing/2014/main" id="{0735306E-69D5-BE7F-D1E4-EA88BBF9F180}"/>
                      </a:ext>
                    </a:extLst>
                  </p:cNvPr>
                  <p:cNvSpPr/>
                  <p:nvPr/>
                </p:nvSpPr>
                <p:spPr>
                  <a:xfrm>
                    <a:off x="3849238" y="2612908"/>
                    <a:ext cx="30784" cy="30641"/>
                  </a:xfrm>
                  <a:custGeom>
                    <a:avLst/>
                    <a:gdLst>
                      <a:gd name="connsiteX0" fmla="*/ 30785 w 30784"/>
                      <a:gd name="connsiteY0" fmla="*/ 0 h 30641"/>
                      <a:gd name="connsiteX1" fmla="*/ 0 w 30784"/>
                      <a:gd name="connsiteY1" fmla="*/ 0 h 30641"/>
                      <a:gd name="connsiteX2" fmla="*/ 12 w 30784"/>
                      <a:gd name="connsiteY2" fmla="*/ 30642 h 3064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</a:cxnLst>
                    <a:rect l="l" t="t" r="r" b="b"/>
                    <a:pathLst>
                      <a:path w="30784" h="30641">
                        <a:moveTo>
                          <a:pt x="30785" y="0"/>
                        </a:moveTo>
                        <a:lnTo>
                          <a:pt x="0" y="0"/>
                        </a:lnTo>
                        <a:lnTo>
                          <a:pt x="12" y="30642"/>
                        </a:lnTo>
                      </a:path>
                    </a:pathLst>
                  </a:custGeom>
                  <a:noFill/>
                  <a:ln w="6350" cap="rnd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</p:grpSp>
        </p:grpSp>
        <p:grpSp>
          <p:nvGrpSpPr>
            <p:cNvPr id="390" name="Gráfico 4">
              <a:extLst>
                <a:ext uri="{FF2B5EF4-FFF2-40B4-BE49-F238E27FC236}">
                  <a16:creationId xmlns:a16="http://schemas.microsoft.com/office/drawing/2014/main" id="{6E5FF437-48F7-5487-7BC2-C0E153CD2ED2}"/>
                </a:ext>
              </a:extLst>
            </p:cNvPr>
            <p:cNvGrpSpPr/>
            <p:nvPr/>
          </p:nvGrpSpPr>
          <p:grpSpPr>
            <a:xfrm>
              <a:off x="3940544" y="2663346"/>
              <a:ext cx="53367" cy="134935"/>
              <a:chOff x="3940544" y="2663346"/>
              <a:chExt cx="53367" cy="134935"/>
            </a:xfrm>
            <a:noFill/>
          </p:grpSpPr>
          <p:sp>
            <p:nvSpPr>
              <p:cNvPr id="391" name="Forma livre: Forma 390">
                <a:extLst>
                  <a:ext uri="{FF2B5EF4-FFF2-40B4-BE49-F238E27FC236}">
                    <a16:creationId xmlns:a16="http://schemas.microsoft.com/office/drawing/2014/main" id="{82F8251B-DBF8-6BF3-30DE-E13F5E848FA6}"/>
                  </a:ext>
                </a:extLst>
              </p:cNvPr>
              <p:cNvSpPr/>
              <p:nvPr/>
            </p:nvSpPr>
            <p:spPr>
              <a:xfrm>
                <a:off x="3940544" y="2680072"/>
                <a:ext cx="53367" cy="101484"/>
              </a:xfrm>
              <a:custGeom>
                <a:avLst/>
                <a:gdLst>
                  <a:gd name="connsiteX0" fmla="*/ 107 w 53367"/>
                  <a:gd name="connsiteY0" fmla="*/ 76723 h 101484"/>
                  <a:gd name="connsiteX1" fmla="*/ 26725 w 53367"/>
                  <a:gd name="connsiteY1" fmla="*/ 101484 h 101484"/>
                  <a:gd name="connsiteX2" fmla="*/ 53367 w 53367"/>
                  <a:gd name="connsiteY2" fmla="*/ 76723 h 101484"/>
                  <a:gd name="connsiteX3" fmla="*/ 26678 w 53367"/>
                  <a:gd name="connsiteY3" fmla="*/ 50736 h 101484"/>
                  <a:gd name="connsiteX4" fmla="*/ 0 w 53367"/>
                  <a:gd name="connsiteY4" fmla="*/ 24749 h 101484"/>
                  <a:gd name="connsiteX5" fmla="*/ 26618 w 53367"/>
                  <a:gd name="connsiteY5" fmla="*/ 0 h 101484"/>
                  <a:gd name="connsiteX6" fmla="*/ 53248 w 53367"/>
                  <a:gd name="connsiteY6" fmla="*/ 24749 h 1014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53367" h="101484">
                    <a:moveTo>
                      <a:pt x="107" y="76723"/>
                    </a:moveTo>
                    <a:cubicBezTo>
                      <a:pt x="107" y="90413"/>
                      <a:pt x="12035" y="101484"/>
                      <a:pt x="26725" y="101484"/>
                    </a:cubicBezTo>
                    <a:cubicBezTo>
                      <a:pt x="41415" y="101484"/>
                      <a:pt x="53367" y="90413"/>
                      <a:pt x="53367" y="76723"/>
                    </a:cubicBezTo>
                    <a:cubicBezTo>
                      <a:pt x="53367" y="63033"/>
                      <a:pt x="39153" y="57081"/>
                      <a:pt x="26678" y="50736"/>
                    </a:cubicBezTo>
                    <a:cubicBezTo>
                      <a:pt x="14202" y="44415"/>
                      <a:pt x="0" y="38427"/>
                      <a:pt x="0" y="24749"/>
                    </a:cubicBezTo>
                    <a:cubicBezTo>
                      <a:pt x="0" y="11071"/>
                      <a:pt x="11904" y="0"/>
                      <a:pt x="26618" y="0"/>
                    </a:cubicBezTo>
                    <a:cubicBezTo>
                      <a:pt x="41332" y="0"/>
                      <a:pt x="53248" y="11071"/>
                      <a:pt x="53248" y="24749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92" name="Forma livre: Forma 391">
                <a:extLst>
                  <a:ext uri="{FF2B5EF4-FFF2-40B4-BE49-F238E27FC236}">
                    <a16:creationId xmlns:a16="http://schemas.microsoft.com/office/drawing/2014/main" id="{71FADBA0-4519-F9C6-339C-1AA661AA985F}"/>
                  </a:ext>
                </a:extLst>
              </p:cNvPr>
              <p:cNvSpPr/>
              <p:nvPr/>
            </p:nvSpPr>
            <p:spPr>
              <a:xfrm>
                <a:off x="3967162" y="2663346"/>
                <a:ext cx="1190" cy="16606"/>
              </a:xfrm>
              <a:custGeom>
                <a:avLst/>
                <a:gdLst>
                  <a:gd name="connsiteX0" fmla="*/ 0 w 1190"/>
                  <a:gd name="connsiteY0" fmla="*/ 16607 h 16606"/>
                  <a:gd name="connsiteX1" fmla="*/ 0 w 1190"/>
                  <a:gd name="connsiteY1" fmla="*/ 0 h 166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0" h="16606">
                    <a:moveTo>
                      <a:pt x="0" y="16607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93" name="Forma livre: Forma 392">
                <a:extLst>
                  <a:ext uri="{FF2B5EF4-FFF2-40B4-BE49-F238E27FC236}">
                    <a16:creationId xmlns:a16="http://schemas.microsoft.com/office/drawing/2014/main" id="{422F20DC-24A9-E65A-8370-6CBA66646C68}"/>
                  </a:ext>
                </a:extLst>
              </p:cNvPr>
              <p:cNvSpPr/>
              <p:nvPr/>
            </p:nvSpPr>
            <p:spPr>
              <a:xfrm>
                <a:off x="3967162" y="2781687"/>
                <a:ext cx="1190" cy="16594"/>
              </a:xfrm>
              <a:custGeom>
                <a:avLst/>
                <a:gdLst>
                  <a:gd name="connsiteX0" fmla="*/ 0 w 1190"/>
                  <a:gd name="connsiteY0" fmla="*/ 16595 h 16594"/>
                  <a:gd name="connsiteX1" fmla="*/ 0 w 1190"/>
                  <a:gd name="connsiteY1" fmla="*/ 0 h 165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0" h="16594">
                    <a:moveTo>
                      <a:pt x="0" y="16595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394" name="Gráfico 4">
            <a:extLst>
              <a:ext uri="{FF2B5EF4-FFF2-40B4-BE49-F238E27FC236}">
                <a16:creationId xmlns:a16="http://schemas.microsoft.com/office/drawing/2014/main" id="{B9BB9448-348B-32D0-AE46-4E2B01E59A50}"/>
              </a:ext>
            </a:extLst>
          </p:cNvPr>
          <p:cNvGrpSpPr/>
          <p:nvPr/>
        </p:nvGrpSpPr>
        <p:grpSpPr>
          <a:xfrm>
            <a:off x="3802305" y="2043299"/>
            <a:ext cx="329826" cy="317843"/>
            <a:chOff x="3802305" y="2043299"/>
            <a:chExt cx="329826" cy="317843"/>
          </a:xfrm>
          <a:noFill/>
        </p:grpSpPr>
        <p:sp>
          <p:nvSpPr>
            <p:cNvPr id="395" name="Forma livre: Forma 394">
              <a:extLst>
                <a:ext uri="{FF2B5EF4-FFF2-40B4-BE49-F238E27FC236}">
                  <a16:creationId xmlns:a16="http://schemas.microsoft.com/office/drawing/2014/main" id="{D00791CF-EEB5-B31D-9FDA-E9DEC3F52A15}"/>
                </a:ext>
              </a:extLst>
            </p:cNvPr>
            <p:cNvSpPr/>
            <p:nvPr/>
          </p:nvSpPr>
          <p:spPr>
            <a:xfrm>
              <a:off x="3944199" y="2175235"/>
              <a:ext cx="187933" cy="185908"/>
            </a:xfrm>
            <a:custGeom>
              <a:avLst/>
              <a:gdLst>
                <a:gd name="connsiteX0" fmla="*/ 95973 w 187933"/>
                <a:gd name="connsiteY0" fmla="*/ 185908 h 185908"/>
                <a:gd name="connsiteX1" fmla="*/ 9976 w 187933"/>
                <a:gd name="connsiteY1" fmla="*/ 149886 h 185908"/>
                <a:gd name="connsiteX2" fmla="*/ 1297 w 187933"/>
                <a:gd name="connsiteY2" fmla="*/ 128410 h 185908"/>
                <a:gd name="connsiteX3" fmla="*/ 2285 w 187933"/>
                <a:gd name="connsiteY3" fmla="*/ 126089 h 185908"/>
                <a:gd name="connsiteX4" fmla="*/ 23749 w 187933"/>
                <a:gd name="connsiteY4" fmla="*/ 117411 h 185908"/>
                <a:gd name="connsiteX5" fmla="*/ 62748 w 187933"/>
                <a:gd name="connsiteY5" fmla="*/ 133672 h 185908"/>
                <a:gd name="connsiteX6" fmla="*/ 47927 w 187933"/>
                <a:gd name="connsiteY6" fmla="*/ 97590 h 185908"/>
                <a:gd name="connsiteX7" fmla="*/ 17344 w 187933"/>
                <a:gd name="connsiteY7" fmla="*/ 23105 h 185908"/>
                <a:gd name="connsiteX8" fmla="*/ 26273 w 187933"/>
                <a:gd name="connsiteY8" fmla="*/ 1736 h 185908"/>
                <a:gd name="connsiteX9" fmla="*/ 27534 w 187933"/>
                <a:gd name="connsiteY9" fmla="*/ 1224 h 185908"/>
                <a:gd name="connsiteX10" fmla="*/ 48903 w 187933"/>
                <a:gd name="connsiteY10" fmla="*/ 10141 h 185908"/>
                <a:gd name="connsiteX11" fmla="*/ 72271 w 187933"/>
                <a:gd name="connsiteY11" fmla="*/ 67032 h 185908"/>
                <a:gd name="connsiteX12" fmla="*/ 134281 w 187933"/>
                <a:gd name="connsiteY12" fmla="*/ 52782 h 185908"/>
                <a:gd name="connsiteX13" fmla="*/ 164958 w 187933"/>
                <a:gd name="connsiteY13" fmla="*/ 73638 h 185908"/>
                <a:gd name="connsiteX14" fmla="*/ 187934 w 187933"/>
                <a:gd name="connsiteY14" fmla="*/ 145326 h 1859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87933" h="185908">
                  <a:moveTo>
                    <a:pt x="95973" y="185908"/>
                  </a:moveTo>
                  <a:lnTo>
                    <a:pt x="9976" y="149886"/>
                  </a:lnTo>
                  <a:cubicBezTo>
                    <a:pt x="1678" y="146374"/>
                    <a:pt x="-2226" y="136708"/>
                    <a:pt x="1297" y="128410"/>
                  </a:cubicBezTo>
                  <a:lnTo>
                    <a:pt x="2285" y="126089"/>
                  </a:lnTo>
                  <a:cubicBezTo>
                    <a:pt x="5797" y="117815"/>
                    <a:pt x="15464" y="113887"/>
                    <a:pt x="23749" y="117411"/>
                  </a:cubicBezTo>
                  <a:lnTo>
                    <a:pt x="62748" y="133672"/>
                  </a:lnTo>
                  <a:lnTo>
                    <a:pt x="47927" y="97590"/>
                  </a:lnTo>
                  <a:lnTo>
                    <a:pt x="17344" y="23105"/>
                  </a:lnTo>
                  <a:cubicBezTo>
                    <a:pt x="13916" y="14784"/>
                    <a:pt x="17964" y="5153"/>
                    <a:pt x="26273" y="1736"/>
                  </a:cubicBezTo>
                  <a:lnTo>
                    <a:pt x="27534" y="1224"/>
                  </a:lnTo>
                  <a:cubicBezTo>
                    <a:pt x="35868" y="-2204"/>
                    <a:pt x="45486" y="1820"/>
                    <a:pt x="48903" y="10141"/>
                  </a:cubicBezTo>
                  <a:lnTo>
                    <a:pt x="72271" y="67032"/>
                  </a:lnTo>
                  <a:lnTo>
                    <a:pt x="134281" y="52782"/>
                  </a:lnTo>
                  <a:cubicBezTo>
                    <a:pt x="134281" y="52782"/>
                    <a:pt x="154756" y="48794"/>
                    <a:pt x="164958" y="73638"/>
                  </a:cubicBezTo>
                  <a:lnTo>
                    <a:pt x="187934" y="145326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396" name="Gráfico 4">
              <a:extLst>
                <a:ext uri="{FF2B5EF4-FFF2-40B4-BE49-F238E27FC236}">
                  <a16:creationId xmlns:a16="http://schemas.microsoft.com/office/drawing/2014/main" id="{B5F2294F-9F40-6B2E-5CC8-2C35D1A0DA54}"/>
                </a:ext>
              </a:extLst>
            </p:cNvPr>
            <p:cNvGrpSpPr/>
            <p:nvPr/>
          </p:nvGrpSpPr>
          <p:grpSpPr>
            <a:xfrm>
              <a:off x="3802305" y="2043299"/>
              <a:ext cx="205987" cy="205958"/>
              <a:chOff x="3802305" y="2043299"/>
              <a:chExt cx="205987" cy="205958"/>
            </a:xfrm>
            <a:noFill/>
          </p:grpSpPr>
          <p:grpSp>
            <p:nvGrpSpPr>
              <p:cNvPr id="397" name="Gráfico 4">
                <a:extLst>
                  <a:ext uri="{FF2B5EF4-FFF2-40B4-BE49-F238E27FC236}">
                    <a16:creationId xmlns:a16="http://schemas.microsoft.com/office/drawing/2014/main" id="{6211B4EB-2C2F-3A1F-6479-79DB4B84B69F}"/>
                  </a:ext>
                </a:extLst>
              </p:cNvPr>
              <p:cNvGrpSpPr/>
              <p:nvPr/>
            </p:nvGrpSpPr>
            <p:grpSpPr>
              <a:xfrm>
                <a:off x="3878498" y="2079641"/>
                <a:ext cx="52855" cy="134340"/>
                <a:chOff x="3878498" y="2079641"/>
                <a:chExt cx="52855" cy="134340"/>
              </a:xfrm>
              <a:noFill/>
            </p:grpSpPr>
            <p:sp>
              <p:nvSpPr>
                <p:cNvPr id="398" name="Forma livre: Forma 397">
                  <a:extLst>
                    <a:ext uri="{FF2B5EF4-FFF2-40B4-BE49-F238E27FC236}">
                      <a16:creationId xmlns:a16="http://schemas.microsoft.com/office/drawing/2014/main" id="{E169E85E-FD13-014A-BB68-75993448E142}"/>
                    </a:ext>
                  </a:extLst>
                </p:cNvPr>
                <p:cNvSpPr/>
                <p:nvPr/>
              </p:nvSpPr>
              <p:spPr>
                <a:xfrm>
                  <a:off x="3878498" y="2096534"/>
                  <a:ext cx="52855" cy="100531"/>
                </a:xfrm>
                <a:custGeom>
                  <a:avLst/>
                  <a:gdLst>
                    <a:gd name="connsiteX0" fmla="*/ 95 w 52855"/>
                    <a:gd name="connsiteY0" fmla="*/ 76021 h 100531"/>
                    <a:gd name="connsiteX1" fmla="*/ 26475 w 52855"/>
                    <a:gd name="connsiteY1" fmla="*/ 100532 h 100531"/>
                    <a:gd name="connsiteX2" fmla="*/ 52855 w 52855"/>
                    <a:gd name="connsiteY2" fmla="*/ 76021 h 100531"/>
                    <a:gd name="connsiteX3" fmla="*/ 26416 w 52855"/>
                    <a:gd name="connsiteY3" fmla="*/ 50272 h 100531"/>
                    <a:gd name="connsiteX4" fmla="*/ 0 w 52855"/>
                    <a:gd name="connsiteY4" fmla="*/ 24535 h 100531"/>
                    <a:gd name="connsiteX5" fmla="*/ 26356 w 52855"/>
                    <a:gd name="connsiteY5" fmla="*/ 0 h 100531"/>
                    <a:gd name="connsiteX6" fmla="*/ 52736 w 52855"/>
                    <a:gd name="connsiteY6" fmla="*/ 24535 h 10053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52855" h="100531">
                      <a:moveTo>
                        <a:pt x="95" y="76021"/>
                      </a:moveTo>
                      <a:cubicBezTo>
                        <a:pt x="95" y="89568"/>
                        <a:pt x="11916" y="100532"/>
                        <a:pt x="26475" y="100532"/>
                      </a:cubicBezTo>
                      <a:cubicBezTo>
                        <a:pt x="41034" y="100532"/>
                        <a:pt x="52855" y="89556"/>
                        <a:pt x="52855" y="76021"/>
                      </a:cubicBezTo>
                      <a:cubicBezTo>
                        <a:pt x="52855" y="62486"/>
                        <a:pt x="38772" y="56534"/>
                        <a:pt x="26416" y="50272"/>
                      </a:cubicBezTo>
                      <a:cubicBezTo>
                        <a:pt x="14059" y="44010"/>
                        <a:pt x="0" y="38082"/>
                        <a:pt x="0" y="24535"/>
                      </a:cubicBezTo>
                      <a:cubicBezTo>
                        <a:pt x="0" y="10988"/>
                        <a:pt x="11797" y="0"/>
                        <a:pt x="26356" y="0"/>
                      </a:cubicBezTo>
                      <a:cubicBezTo>
                        <a:pt x="40915" y="0"/>
                        <a:pt x="52736" y="10988"/>
                        <a:pt x="52736" y="24535"/>
                      </a:cubicBez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399" name="Forma livre: Forma 398">
                  <a:extLst>
                    <a:ext uri="{FF2B5EF4-FFF2-40B4-BE49-F238E27FC236}">
                      <a16:creationId xmlns:a16="http://schemas.microsoft.com/office/drawing/2014/main" id="{17499731-43F0-1EEE-BF12-080C5B712E88}"/>
                    </a:ext>
                  </a:extLst>
                </p:cNvPr>
                <p:cNvSpPr/>
                <p:nvPr/>
              </p:nvSpPr>
              <p:spPr>
                <a:xfrm>
                  <a:off x="3904843" y="2079641"/>
                  <a:ext cx="1190" cy="16785"/>
                </a:xfrm>
                <a:custGeom>
                  <a:avLst/>
                  <a:gdLst>
                    <a:gd name="connsiteX0" fmla="*/ 0 w 1190"/>
                    <a:gd name="connsiteY0" fmla="*/ 16785 h 16785"/>
                    <a:gd name="connsiteX1" fmla="*/ 0 w 1190"/>
                    <a:gd name="connsiteY1" fmla="*/ 0 h 1678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190" h="16785">
                      <a:moveTo>
                        <a:pt x="0" y="16785"/>
                      </a:moveTo>
                      <a:lnTo>
                        <a:pt x="0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400" name="Forma livre: Forma 399">
                  <a:extLst>
                    <a:ext uri="{FF2B5EF4-FFF2-40B4-BE49-F238E27FC236}">
                      <a16:creationId xmlns:a16="http://schemas.microsoft.com/office/drawing/2014/main" id="{00D547E1-0C18-55D5-2F0E-5B7BA97CA8A2}"/>
                    </a:ext>
                  </a:extLst>
                </p:cNvPr>
                <p:cNvSpPr/>
                <p:nvPr/>
              </p:nvSpPr>
              <p:spPr>
                <a:xfrm>
                  <a:off x="3904843" y="2197208"/>
                  <a:ext cx="1190" cy="16773"/>
                </a:xfrm>
                <a:custGeom>
                  <a:avLst/>
                  <a:gdLst>
                    <a:gd name="connsiteX0" fmla="*/ 0 w 1190"/>
                    <a:gd name="connsiteY0" fmla="*/ 16773 h 16773"/>
                    <a:gd name="connsiteX1" fmla="*/ 0 w 1190"/>
                    <a:gd name="connsiteY1" fmla="*/ 0 h 1677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190" h="16773">
                      <a:moveTo>
                        <a:pt x="0" y="16773"/>
                      </a:moveTo>
                      <a:lnTo>
                        <a:pt x="0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401" name="Forma livre: Forma 400">
                <a:extLst>
                  <a:ext uri="{FF2B5EF4-FFF2-40B4-BE49-F238E27FC236}">
                    <a16:creationId xmlns:a16="http://schemas.microsoft.com/office/drawing/2014/main" id="{225B3406-E263-0588-C347-A8ED3456A5F0}"/>
                  </a:ext>
                </a:extLst>
              </p:cNvPr>
              <p:cNvSpPr/>
              <p:nvPr/>
            </p:nvSpPr>
            <p:spPr>
              <a:xfrm>
                <a:off x="3802305" y="2094843"/>
                <a:ext cx="148571" cy="154414"/>
              </a:xfrm>
              <a:custGeom>
                <a:avLst/>
                <a:gdLst>
                  <a:gd name="connsiteX0" fmla="*/ 148571 w 148571"/>
                  <a:gd name="connsiteY0" fmla="*/ 143769 h 154414"/>
                  <a:gd name="connsiteX1" fmla="*/ 131251 w 148571"/>
                  <a:gd name="connsiteY1" fmla="*/ 150423 h 154414"/>
                  <a:gd name="connsiteX2" fmla="*/ 3981 w 148571"/>
                  <a:gd name="connsiteY2" fmla="*/ 79699 h 154414"/>
                  <a:gd name="connsiteX3" fmla="*/ 13790 w 148571"/>
                  <a:gd name="connsiteY3" fmla="*/ 0 h 1544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48571" h="154414">
                    <a:moveTo>
                      <a:pt x="148571" y="143769"/>
                    </a:moveTo>
                    <a:cubicBezTo>
                      <a:pt x="143107" y="146459"/>
                      <a:pt x="137322" y="148697"/>
                      <a:pt x="131251" y="150423"/>
                    </a:cubicBezTo>
                    <a:cubicBezTo>
                      <a:pt x="76586" y="166053"/>
                      <a:pt x="19588" y="134388"/>
                      <a:pt x="3981" y="79699"/>
                    </a:cubicBezTo>
                    <a:cubicBezTo>
                      <a:pt x="-3983" y="51796"/>
                      <a:pt x="362" y="23297"/>
                      <a:pt x="13790" y="0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02" name="Forma livre: Forma 401">
                <a:extLst>
                  <a:ext uri="{FF2B5EF4-FFF2-40B4-BE49-F238E27FC236}">
                    <a16:creationId xmlns:a16="http://schemas.microsoft.com/office/drawing/2014/main" id="{CC80D6E0-969D-3034-975B-2F572BAEB2E5}"/>
                  </a:ext>
                </a:extLst>
              </p:cNvPr>
              <p:cNvSpPr/>
              <p:nvPr/>
            </p:nvSpPr>
            <p:spPr>
              <a:xfrm>
                <a:off x="3838464" y="2043299"/>
                <a:ext cx="169828" cy="119922"/>
              </a:xfrm>
              <a:custGeom>
                <a:avLst/>
                <a:gdLst>
                  <a:gd name="connsiteX0" fmla="*/ 0 w 169828"/>
                  <a:gd name="connsiteY0" fmla="*/ 24640 h 119922"/>
                  <a:gd name="connsiteX1" fmla="*/ 38546 w 169828"/>
                  <a:gd name="connsiteY1" fmla="*/ 3986 h 119922"/>
                  <a:gd name="connsiteX2" fmla="*/ 165839 w 169828"/>
                  <a:gd name="connsiteY2" fmla="*/ 74710 h 119922"/>
                  <a:gd name="connsiteX3" fmla="*/ 168422 w 169828"/>
                  <a:gd name="connsiteY3" fmla="*/ 119922 h 1199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69828" h="119922">
                    <a:moveTo>
                      <a:pt x="0" y="24640"/>
                    </a:moveTo>
                    <a:cubicBezTo>
                      <a:pt x="10892" y="15343"/>
                      <a:pt x="23892" y="8176"/>
                      <a:pt x="38546" y="3986"/>
                    </a:cubicBezTo>
                    <a:cubicBezTo>
                      <a:pt x="93235" y="-11632"/>
                      <a:pt x="150233" y="20033"/>
                      <a:pt x="165839" y="74710"/>
                    </a:cubicBezTo>
                    <a:cubicBezTo>
                      <a:pt x="170184" y="89912"/>
                      <a:pt x="170875" y="105304"/>
                      <a:pt x="168422" y="119922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403" name="Gráfico 4">
            <a:extLst>
              <a:ext uri="{FF2B5EF4-FFF2-40B4-BE49-F238E27FC236}">
                <a16:creationId xmlns:a16="http://schemas.microsoft.com/office/drawing/2014/main" id="{1525D8A6-8740-6107-C416-13F944A98596}"/>
              </a:ext>
            </a:extLst>
          </p:cNvPr>
          <p:cNvGrpSpPr/>
          <p:nvPr/>
        </p:nvGrpSpPr>
        <p:grpSpPr>
          <a:xfrm>
            <a:off x="3854091" y="987027"/>
            <a:ext cx="226245" cy="316012"/>
            <a:chOff x="3854091" y="987027"/>
            <a:chExt cx="226245" cy="316012"/>
          </a:xfrm>
        </p:grpSpPr>
        <p:grpSp>
          <p:nvGrpSpPr>
            <p:cNvPr id="404" name="Gráfico 4">
              <a:extLst>
                <a:ext uri="{FF2B5EF4-FFF2-40B4-BE49-F238E27FC236}">
                  <a16:creationId xmlns:a16="http://schemas.microsoft.com/office/drawing/2014/main" id="{07730CA1-D086-3D31-2F9F-DECA82412C58}"/>
                </a:ext>
              </a:extLst>
            </p:cNvPr>
            <p:cNvGrpSpPr/>
            <p:nvPr/>
          </p:nvGrpSpPr>
          <p:grpSpPr>
            <a:xfrm>
              <a:off x="3930092" y="987027"/>
              <a:ext cx="150244" cy="264811"/>
              <a:chOff x="3930092" y="987027"/>
              <a:chExt cx="150244" cy="264811"/>
            </a:xfrm>
          </p:grpSpPr>
          <p:sp>
            <p:nvSpPr>
              <p:cNvPr id="405" name="Forma livre: Forma 404">
                <a:extLst>
                  <a:ext uri="{FF2B5EF4-FFF2-40B4-BE49-F238E27FC236}">
                    <a16:creationId xmlns:a16="http://schemas.microsoft.com/office/drawing/2014/main" id="{AB47B051-4A0B-77AF-BDC0-99395517EC12}"/>
                  </a:ext>
                </a:extLst>
              </p:cNvPr>
              <p:cNvSpPr/>
              <p:nvPr/>
            </p:nvSpPr>
            <p:spPr>
              <a:xfrm>
                <a:off x="4001589" y="1049643"/>
                <a:ext cx="7237" cy="7225"/>
              </a:xfrm>
              <a:custGeom>
                <a:avLst/>
                <a:gdLst>
                  <a:gd name="connsiteX0" fmla="*/ 3619 w 7237"/>
                  <a:gd name="connsiteY0" fmla="*/ 7226 h 7225"/>
                  <a:gd name="connsiteX1" fmla="*/ 0 w 7237"/>
                  <a:gd name="connsiteY1" fmla="*/ 3619 h 7225"/>
                  <a:gd name="connsiteX2" fmla="*/ 3619 w 7237"/>
                  <a:gd name="connsiteY2" fmla="*/ 0 h 7225"/>
                  <a:gd name="connsiteX3" fmla="*/ 7238 w 7237"/>
                  <a:gd name="connsiteY3" fmla="*/ 3619 h 7225"/>
                  <a:gd name="connsiteX4" fmla="*/ 3619 w 7237"/>
                  <a:gd name="connsiteY4" fmla="*/ 7226 h 72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237" h="7225">
                    <a:moveTo>
                      <a:pt x="3619" y="7226"/>
                    </a:moveTo>
                    <a:cubicBezTo>
                      <a:pt x="1619" y="7226"/>
                      <a:pt x="0" y="5631"/>
                      <a:pt x="0" y="3619"/>
                    </a:cubicBezTo>
                    <a:cubicBezTo>
                      <a:pt x="0" y="1607"/>
                      <a:pt x="1607" y="0"/>
                      <a:pt x="3619" y="0"/>
                    </a:cubicBezTo>
                    <a:cubicBezTo>
                      <a:pt x="5631" y="0"/>
                      <a:pt x="7238" y="1619"/>
                      <a:pt x="7238" y="3619"/>
                    </a:cubicBezTo>
                    <a:cubicBezTo>
                      <a:pt x="7238" y="5619"/>
                      <a:pt x="5631" y="7226"/>
                      <a:pt x="3619" y="7226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06" name="Forma livre: Forma 405">
                <a:extLst>
                  <a:ext uri="{FF2B5EF4-FFF2-40B4-BE49-F238E27FC236}">
                    <a16:creationId xmlns:a16="http://schemas.microsoft.com/office/drawing/2014/main" id="{ECBC8E67-8FA2-E683-2B2C-44BF9A3D1B64}"/>
                  </a:ext>
                </a:extLst>
              </p:cNvPr>
              <p:cNvSpPr/>
              <p:nvPr/>
            </p:nvSpPr>
            <p:spPr>
              <a:xfrm>
                <a:off x="3930092" y="987027"/>
                <a:ext cx="150244" cy="264811"/>
              </a:xfrm>
              <a:custGeom>
                <a:avLst/>
                <a:gdLst>
                  <a:gd name="connsiteX0" fmla="*/ 0 w 150244"/>
                  <a:gd name="connsiteY0" fmla="*/ 182243 h 264811"/>
                  <a:gd name="connsiteX1" fmla="*/ 0 w 150244"/>
                  <a:gd name="connsiteY1" fmla="*/ 0 h 264811"/>
                  <a:gd name="connsiteX2" fmla="*/ 150245 w 150244"/>
                  <a:gd name="connsiteY2" fmla="*/ 0 h 264811"/>
                  <a:gd name="connsiteX3" fmla="*/ 150245 w 150244"/>
                  <a:gd name="connsiteY3" fmla="*/ 264812 h 264811"/>
                  <a:gd name="connsiteX4" fmla="*/ 51582 w 150244"/>
                  <a:gd name="connsiteY4" fmla="*/ 264812 h 2648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50244" h="264811">
                    <a:moveTo>
                      <a:pt x="0" y="182243"/>
                    </a:moveTo>
                    <a:lnTo>
                      <a:pt x="0" y="0"/>
                    </a:lnTo>
                    <a:lnTo>
                      <a:pt x="150245" y="0"/>
                    </a:lnTo>
                    <a:lnTo>
                      <a:pt x="150245" y="264812"/>
                    </a:lnTo>
                    <a:lnTo>
                      <a:pt x="51582" y="264812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07" name="Forma livre: Forma 406">
                <a:extLst>
                  <a:ext uri="{FF2B5EF4-FFF2-40B4-BE49-F238E27FC236}">
                    <a16:creationId xmlns:a16="http://schemas.microsoft.com/office/drawing/2014/main" id="{CA7A2ED5-314A-460C-8C6C-7B01B3A4C864}"/>
                  </a:ext>
                </a:extLst>
              </p:cNvPr>
              <p:cNvSpPr/>
              <p:nvPr/>
            </p:nvSpPr>
            <p:spPr>
              <a:xfrm>
                <a:off x="3958019" y="1014835"/>
                <a:ext cx="94365" cy="209194"/>
              </a:xfrm>
              <a:custGeom>
                <a:avLst/>
                <a:gdLst>
                  <a:gd name="connsiteX0" fmla="*/ 41748 w 94365"/>
                  <a:gd name="connsiteY0" fmla="*/ 209195 h 209194"/>
                  <a:gd name="connsiteX1" fmla="*/ 75402 w 94365"/>
                  <a:gd name="connsiteY1" fmla="*/ 209195 h 209194"/>
                  <a:gd name="connsiteX2" fmla="*/ 94366 w 94365"/>
                  <a:gd name="connsiteY2" fmla="*/ 190231 h 209194"/>
                  <a:gd name="connsiteX3" fmla="*/ 94366 w 94365"/>
                  <a:gd name="connsiteY3" fmla="*/ 18964 h 209194"/>
                  <a:gd name="connsiteX4" fmla="*/ 75402 w 94365"/>
                  <a:gd name="connsiteY4" fmla="*/ 0 h 209194"/>
                  <a:gd name="connsiteX5" fmla="*/ 18964 w 94365"/>
                  <a:gd name="connsiteY5" fmla="*/ 0 h 209194"/>
                  <a:gd name="connsiteX6" fmla="*/ 0 w 94365"/>
                  <a:gd name="connsiteY6" fmla="*/ 18964 h 209194"/>
                  <a:gd name="connsiteX7" fmla="*/ 0 w 94365"/>
                  <a:gd name="connsiteY7" fmla="*/ 130507 h 2091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94365" h="209194">
                    <a:moveTo>
                      <a:pt x="41748" y="209195"/>
                    </a:moveTo>
                    <a:lnTo>
                      <a:pt x="75402" y="209195"/>
                    </a:lnTo>
                    <a:cubicBezTo>
                      <a:pt x="75402" y="198719"/>
                      <a:pt x="83902" y="190231"/>
                      <a:pt x="94366" y="190231"/>
                    </a:cubicBezTo>
                    <a:lnTo>
                      <a:pt x="94366" y="18964"/>
                    </a:lnTo>
                    <a:cubicBezTo>
                      <a:pt x="83890" y="18964"/>
                      <a:pt x="75402" y="10476"/>
                      <a:pt x="75402" y="0"/>
                    </a:cubicBezTo>
                    <a:lnTo>
                      <a:pt x="18964" y="0"/>
                    </a:lnTo>
                    <a:cubicBezTo>
                      <a:pt x="18964" y="10476"/>
                      <a:pt x="10476" y="18964"/>
                      <a:pt x="0" y="18964"/>
                    </a:cubicBezTo>
                    <a:lnTo>
                      <a:pt x="0" y="130507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08" name="Forma livre: Forma 407">
                <a:extLst>
                  <a:ext uri="{FF2B5EF4-FFF2-40B4-BE49-F238E27FC236}">
                    <a16:creationId xmlns:a16="http://schemas.microsoft.com/office/drawing/2014/main" id="{0F96D567-965D-C063-7E42-DCC8BC226D9E}"/>
                  </a:ext>
                </a:extLst>
              </p:cNvPr>
              <p:cNvSpPr/>
              <p:nvPr/>
            </p:nvSpPr>
            <p:spPr>
              <a:xfrm>
                <a:off x="3980173" y="1096166"/>
                <a:ext cx="50069" cy="46534"/>
              </a:xfrm>
              <a:custGeom>
                <a:avLst/>
                <a:gdLst>
                  <a:gd name="connsiteX0" fmla="*/ 25035 w 50069"/>
                  <a:gd name="connsiteY0" fmla="*/ 46534 h 46534"/>
                  <a:gd name="connsiteX1" fmla="*/ 0 w 50069"/>
                  <a:gd name="connsiteY1" fmla="*/ 23261 h 46534"/>
                  <a:gd name="connsiteX2" fmla="*/ 25035 w 50069"/>
                  <a:gd name="connsiteY2" fmla="*/ 0 h 46534"/>
                  <a:gd name="connsiteX3" fmla="*/ 50070 w 50069"/>
                  <a:gd name="connsiteY3" fmla="*/ 23261 h 46534"/>
                  <a:gd name="connsiteX4" fmla="*/ 25035 w 50069"/>
                  <a:gd name="connsiteY4" fmla="*/ 46534 h 465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0069" h="46534">
                    <a:moveTo>
                      <a:pt x="25035" y="46534"/>
                    </a:moveTo>
                    <a:cubicBezTo>
                      <a:pt x="11214" y="46534"/>
                      <a:pt x="0" y="36106"/>
                      <a:pt x="0" y="23261"/>
                    </a:cubicBezTo>
                    <a:cubicBezTo>
                      <a:pt x="0" y="10416"/>
                      <a:pt x="11214" y="0"/>
                      <a:pt x="25035" y="0"/>
                    </a:cubicBezTo>
                    <a:cubicBezTo>
                      <a:pt x="38856" y="0"/>
                      <a:pt x="50070" y="10416"/>
                      <a:pt x="50070" y="23261"/>
                    </a:cubicBezTo>
                    <a:cubicBezTo>
                      <a:pt x="50070" y="36106"/>
                      <a:pt x="38868" y="46534"/>
                      <a:pt x="25035" y="46534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409" name="Gráfico 4">
              <a:extLst>
                <a:ext uri="{FF2B5EF4-FFF2-40B4-BE49-F238E27FC236}">
                  <a16:creationId xmlns:a16="http://schemas.microsoft.com/office/drawing/2014/main" id="{3F68C824-0E36-12F5-1B4E-B73B7C0033B0}"/>
                </a:ext>
              </a:extLst>
            </p:cNvPr>
            <p:cNvGrpSpPr/>
            <p:nvPr/>
          </p:nvGrpSpPr>
          <p:grpSpPr>
            <a:xfrm>
              <a:off x="3854091" y="1124498"/>
              <a:ext cx="142388" cy="178541"/>
              <a:chOff x="3854091" y="1124498"/>
              <a:chExt cx="142388" cy="178541"/>
            </a:xfrm>
            <a:noFill/>
          </p:grpSpPr>
          <p:sp>
            <p:nvSpPr>
              <p:cNvPr id="410" name="Forma livre: Forma 409">
                <a:extLst>
                  <a:ext uri="{FF2B5EF4-FFF2-40B4-BE49-F238E27FC236}">
                    <a16:creationId xmlns:a16="http://schemas.microsoft.com/office/drawing/2014/main" id="{B366DA91-9A81-3F0B-7470-54E86243111A}"/>
                  </a:ext>
                </a:extLst>
              </p:cNvPr>
              <p:cNvSpPr/>
              <p:nvPr/>
            </p:nvSpPr>
            <p:spPr>
              <a:xfrm>
                <a:off x="3900581" y="1160455"/>
                <a:ext cx="95898" cy="142584"/>
              </a:xfrm>
              <a:custGeom>
                <a:avLst/>
                <a:gdLst>
                  <a:gd name="connsiteX0" fmla="*/ 0 w 95898"/>
                  <a:gd name="connsiteY0" fmla="*/ 68682 h 142584"/>
                  <a:gd name="connsiteX1" fmla="*/ 55760 w 95898"/>
                  <a:gd name="connsiteY1" fmla="*/ 8863 h 142584"/>
                  <a:gd name="connsiteX2" fmla="*/ 88830 w 95898"/>
                  <a:gd name="connsiteY2" fmla="*/ 4541 h 142584"/>
                  <a:gd name="connsiteX3" fmla="*/ 90640 w 95898"/>
                  <a:gd name="connsiteY3" fmla="*/ 38743 h 142584"/>
                  <a:gd name="connsiteX4" fmla="*/ 20594 w 95898"/>
                  <a:gd name="connsiteY4" fmla="*/ 142584 h 1425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95898" h="142584">
                    <a:moveTo>
                      <a:pt x="0" y="68682"/>
                    </a:moveTo>
                    <a:lnTo>
                      <a:pt x="55760" y="8863"/>
                    </a:lnTo>
                    <a:cubicBezTo>
                      <a:pt x="65283" y="-982"/>
                      <a:pt x="80164" y="-2923"/>
                      <a:pt x="88830" y="4541"/>
                    </a:cubicBezTo>
                    <a:cubicBezTo>
                      <a:pt x="97496" y="12005"/>
                      <a:pt x="98306" y="27398"/>
                      <a:pt x="90640" y="38743"/>
                    </a:cubicBezTo>
                    <a:lnTo>
                      <a:pt x="20594" y="142584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11" name="Forma livre: Forma 410">
                <a:extLst>
                  <a:ext uri="{FF2B5EF4-FFF2-40B4-BE49-F238E27FC236}">
                    <a16:creationId xmlns:a16="http://schemas.microsoft.com/office/drawing/2014/main" id="{2B95A05A-83BF-888A-949B-47946B1EC266}"/>
                  </a:ext>
                </a:extLst>
              </p:cNvPr>
              <p:cNvSpPr/>
              <p:nvPr/>
            </p:nvSpPr>
            <p:spPr>
              <a:xfrm>
                <a:off x="3854091" y="1124498"/>
                <a:ext cx="74262" cy="178302"/>
              </a:xfrm>
              <a:custGeom>
                <a:avLst/>
                <a:gdLst>
                  <a:gd name="connsiteX0" fmla="*/ 74263 w 74262"/>
                  <a:gd name="connsiteY0" fmla="*/ 0 h 178302"/>
                  <a:gd name="connsiteX1" fmla="*/ 372 w 74262"/>
                  <a:gd name="connsiteY1" fmla="*/ 71021 h 178302"/>
                  <a:gd name="connsiteX2" fmla="*/ 2706 w 74262"/>
                  <a:gd name="connsiteY2" fmla="*/ 178303 h 1783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74262" h="178302">
                    <a:moveTo>
                      <a:pt x="74263" y="0"/>
                    </a:moveTo>
                    <a:cubicBezTo>
                      <a:pt x="74263" y="0"/>
                      <a:pt x="2015" y="61426"/>
                      <a:pt x="372" y="71021"/>
                    </a:cubicBezTo>
                    <a:cubicBezTo>
                      <a:pt x="-973" y="78819"/>
                      <a:pt x="1682" y="150459"/>
                      <a:pt x="2706" y="178303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413" name="Gráfico 6">
            <a:extLst>
              <a:ext uri="{FF2B5EF4-FFF2-40B4-BE49-F238E27FC236}">
                <a16:creationId xmlns:a16="http://schemas.microsoft.com/office/drawing/2014/main" id="{48EBDE9A-401B-171E-529C-C0BFD4DE4CC1}"/>
              </a:ext>
            </a:extLst>
          </p:cNvPr>
          <p:cNvGrpSpPr/>
          <p:nvPr/>
        </p:nvGrpSpPr>
        <p:grpSpPr>
          <a:xfrm>
            <a:off x="5595401" y="1025639"/>
            <a:ext cx="258900" cy="256474"/>
            <a:chOff x="5595401" y="1025639"/>
            <a:chExt cx="258900" cy="256474"/>
          </a:xfrm>
          <a:noFill/>
        </p:grpSpPr>
        <p:sp>
          <p:nvSpPr>
            <p:cNvPr id="414" name="Forma livre: Forma 413">
              <a:extLst>
                <a:ext uri="{FF2B5EF4-FFF2-40B4-BE49-F238E27FC236}">
                  <a16:creationId xmlns:a16="http://schemas.microsoft.com/office/drawing/2014/main" id="{E7BD7EC8-2A06-87BB-E81C-72A453CECC18}"/>
                </a:ext>
              </a:extLst>
            </p:cNvPr>
            <p:cNvSpPr/>
            <p:nvPr/>
          </p:nvSpPr>
          <p:spPr>
            <a:xfrm>
              <a:off x="5691015" y="1100558"/>
              <a:ext cx="163286" cy="181555"/>
            </a:xfrm>
            <a:custGeom>
              <a:avLst/>
              <a:gdLst>
                <a:gd name="connsiteX0" fmla="*/ 65099 w 163286"/>
                <a:gd name="connsiteY0" fmla="*/ 181556 h 181555"/>
                <a:gd name="connsiteX1" fmla="*/ 4341 w 163286"/>
                <a:gd name="connsiteY1" fmla="*/ 120679 h 181555"/>
                <a:gd name="connsiteX2" fmla="*/ 4461 w 163286"/>
                <a:gd name="connsiteY2" fmla="*/ 99323 h 181555"/>
                <a:gd name="connsiteX3" fmla="*/ 6110 w 163286"/>
                <a:gd name="connsiteY3" fmla="*/ 97685 h 181555"/>
                <a:gd name="connsiteX4" fmla="*/ 27478 w 163286"/>
                <a:gd name="connsiteY4" fmla="*/ 97805 h 181555"/>
                <a:gd name="connsiteX5" fmla="*/ 55060 w 163286"/>
                <a:gd name="connsiteY5" fmla="*/ 125351 h 181555"/>
                <a:gd name="connsiteX6" fmla="*/ 55060 w 163286"/>
                <a:gd name="connsiteY6" fmla="*/ 15106 h 181555"/>
                <a:gd name="connsiteX7" fmla="*/ 70154 w 163286"/>
                <a:gd name="connsiteY7" fmla="*/ 0 h 181555"/>
                <a:gd name="connsiteX8" fmla="*/ 71409 w 163286"/>
                <a:gd name="connsiteY8" fmla="*/ 0 h 181555"/>
                <a:gd name="connsiteX9" fmla="*/ 86515 w 163286"/>
                <a:gd name="connsiteY9" fmla="*/ 15106 h 181555"/>
                <a:gd name="connsiteX10" fmla="*/ 86515 w 163286"/>
                <a:gd name="connsiteY10" fmla="*/ 71824 h 181555"/>
                <a:gd name="connsiteX11" fmla="*/ 144416 w 163286"/>
                <a:gd name="connsiteY11" fmla="*/ 81396 h 181555"/>
                <a:gd name="connsiteX12" fmla="*/ 163286 w 163286"/>
                <a:gd name="connsiteY12" fmla="*/ 109923 h 181555"/>
                <a:gd name="connsiteX13" fmla="*/ 157765 w 163286"/>
                <a:gd name="connsiteY13" fmla="*/ 179142 h 1815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63286" h="181555">
                  <a:moveTo>
                    <a:pt x="65099" y="181556"/>
                  </a:moveTo>
                  <a:lnTo>
                    <a:pt x="4341" y="120679"/>
                  </a:lnTo>
                  <a:cubicBezTo>
                    <a:pt x="-1491" y="114775"/>
                    <a:pt x="-1443" y="105166"/>
                    <a:pt x="4461" y="99323"/>
                  </a:cubicBezTo>
                  <a:lnTo>
                    <a:pt x="6110" y="97685"/>
                  </a:lnTo>
                  <a:cubicBezTo>
                    <a:pt x="12014" y="91841"/>
                    <a:pt x="21622" y="91889"/>
                    <a:pt x="27478" y="97805"/>
                  </a:cubicBezTo>
                  <a:lnTo>
                    <a:pt x="55060" y="125351"/>
                  </a:lnTo>
                  <a:lnTo>
                    <a:pt x="55060" y="15106"/>
                  </a:lnTo>
                  <a:cubicBezTo>
                    <a:pt x="55060" y="6800"/>
                    <a:pt x="61860" y="0"/>
                    <a:pt x="70154" y="0"/>
                  </a:cubicBezTo>
                  <a:lnTo>
                    <a:pt x="71409" y="0"/>
                  </a:lnTo>
                  <a:cubicBezTo>
                    <a:pt x="79715" y="0"/>
                    <a:pt x="86515" y="6800"/>
                    <a:pt x="86515" y="15106"/>
                  </a:cubicBezTo>
                  <a:lnTo>
                    <a:pt x="86515" y="71824"/>
                  </a:lnTo>
                  <a:lnTo>
                    <a:pt x="144416" y="81396"/>
                  </a:lnTo>
                  <a:cubicBezTo>
                    <a:pt x="144416" y="81396"/>
                    <a:pt x="163286" y="85173"/>
                    <a:pt x="163286" y="109923"/>
                  </a:cubicBezTo>
                  <a:lnTo>
                    <a:pt x="157765" y="179142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15" name="Forma livre: Forma 414">
              <a:extLst>
                <a:ext uri="{FF2B5EF4-FFF2-40B4-BE49-F238E27FC236}">
                  <a16:creationId xmlns:a16="http://schemas.microsoft.com/office/drawing/2014/main" id="{EDB108A3-D320-6F0F-A2D3-813E3E1DB5AA}"/>
                </a:ext>
              </a:extLst>
            </p:cNvPr>
            <p:cNvSpPr/>
            <p:nvPr/>
          </p:nvSpPr>
          <p:spPr>
            <a:xfrm>
              <a:off x="5740196" y="1025639"/>
              <a:ext cx="37501" cy="37501"/>
            </a:xfrm>
            <a:custGeom>
              <a:avLst/>
              <a:gdLst>
                <a:gd name="connsiteX0" fmla="*/ 0 w 37501"/>
                <a:gd name="connsiteY0" fmla="*/ 0 h 37501"/>
                <a:gd name="connsiteX1" fmla="*/ 37501 w 37501"/>
                <a:gd name="connsiteY1" fmla="*/ 0 h 37501"/>
                <a:gd name="connsiteX2" fmla="*/ 37501 w 37501"/>
                <a:gd name="connsiteY2" fmla="*/ 37501 h 37501"/>
                <a:gd name="connsiteX3" fmla="*/ 0 w 37501"/>
                <a:gd name="connsiteY3" fmla="*/ 37501 h 375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7501" h="37501">
                  <a:moveTo>
                    <a:pt x="0" y="0"/>
                  </a:moveTo>
                  <a:lnTo>
                    <a:pt x="37501" y="0"/>
                  </a:lnTo>
                  <a:lnTo>
                    <a:pt x="37501" y="37501"/>
                  </a:lnTo>
                  <a:lnTo>
                    <a:pt x="0" y="37501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16" name="Forma livre: Forma 415">
              <a:extLst>
                <a:ext uri="{FF2B5EF4-FFF2-40B4-BE49-F238E27FC236}">
                  <a16:creationId xmlns:a16="http://schemas.microsoft.com/office/drawing/2014/main" id="{C3E4C7D2-8BB9-2EDC-B2AA-ECA437655507}"/>
                </a:ext>
              </a:extLst>
            </p:cNvPr>
            <p:cNvSpPr/>
            <p:nvPr/>
          </p:nvSpPr>
          <p:spPr>
            <a:xfrm>
              <a:off x="5667798" y="1025639"/>
              <a:ext cx="37501" cy="37501"/>
            </a:xfrm>
            <a:custGeom>
              <a:avLst/>
              <a:gdLst>
                <a:gd name="connsiteX0" fmla="*/ 0 w 37501"/>
                <a:gd name="connsiteY0" fmla="*/ 0 h 37501"/>
                <a:gd name="connsiteX1" fmla="*/ 37501 w 37501"/>
                <a:gd name="connsiteY1" fmla="*/ 0 h 37501"/>
                <a:gd name="connsiteX2" fmla="*/ 37501 w 37501"/>
                <a:gd name="connsiteY2" fmla="*/ 37501 h 37501"/>
                <a:gd name="connsiteX3" fmla="*/ 0 w 37501"/>
                <a:gd name="connsiteY3" fmla="*/ 37501 h 375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7501" h="37501">
                  <a:moveTo>
                    <a:pt x="0" y="0"/>
                  </a:moveTo>
                  <a:lnTo>
                    <a:pt x="37501" y="0"/>
                  </a:lnTo>
                  <a:lnTo>
                    <a:pt x="37501" y="37501"/>
                  </a:lnTo>
                  <a:lnTo>
                    <a:pt x="0" y="37501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17" name="Forma livre: Forma 416">
              <a:extLst>
                <a:ext uri="{FF2B5EF4-FFF2-40B4-BE49-F238E27FC236}">
                  <a16:creationId xmlns:a16="http://schemas.microsoft.com/office/drawing/2014/main" id="{D2FADAA5-388E-1A34-E771-E3E5BFBBFAA9}"/>
                </a:ext>
              </a:extLst>
            </p:cNvPr>
            <p:cNvSpPr/>
            <p:nvPr/>
          </p:nvSpPr>
          <p:spPr>
            <a:xfrm>
              <a:off x="5667798" y="1097989"/>
              <a:ext cx="37501" cy="37501"/>
            </a:xfrm>
            <a:custGeom>
              <a:avLst/>
              <a:gdLst>
                <a:gd name="connsiteX0" fmla="*/ 0 w 37501"/>
                <a:gd name="connsiteY0" fmla="*/ 0 h 37501"/>
                <a:gd name="connsiteX1" fmla="*/ 37501 w 37501"/>
                <a:gd name="connsiteY1" fmla="*/ 0 h 37501"/>
                <a:gd name="connsiteX2" fmla="*/ 37501 w 37501"/>
                <a:gd name="connsiteY2" fmla="*/ 37501 h 37501"/>
                <a:gd name="connsiteX3" fmla="*/ 0 w 37501"/>
                <a:gd name="connsiteY3" fmla="*/ 37501 h 375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7501" h="37501">
                  <a:moveTo>
                    <a:pt x="0" y="0"/>
                  </a:moveTo>
                  <a:lnTo>
                    <a:pt x="37501" y="0"/>
                  </a:lnTo>
                  <a:lnTo>
                    <a:pt x="37501" y="37501"/>
                  </a:lnTo>
                  <a:lnTo>
                    <a:pt x="0" y="37501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18" name="Forma livre: Forma 417">
              <a:extLst>
                <a:ext uri="{FF2B5EF4-FFF2-40B4-BE49-F238E27FC236}">
                  <a16:creationId xmlns:a16="http://schemas.microsoft.com/office/drawing/2014/main" id="{EEB2EE5F-60E7-7DE8-979F-6A58AEF234F3}"/>
                </a:ext>
              </a:extLst>
            </p:cNvPr>
            <p:cNvSpPr/>
            <p:nvPr/>
          </p:nvSpPr>
          <p:spPr>
            <a:xfrm>
              <a:off x="5667798" y="1170565"/>
              <a:ext cx="37489" cy="37501"/>
            </a:xfrm>
            <a:custGeom>
              <a:avLst/>
              <a:gdLst>
                <a:gd name="connsiteX0" fmla="*/ 0 w 37489"/>
                <a:gd name="connsiteY0" fmla="*/ 37501 h 37501"/>
                <a:gd name="connsiteX1" fmla="*/ 0 w 37489"/>
                <a:gd name="connsiteY1" fmla="*/ 0 h 37501"/>
                <a:gd name="connsiteX2" fmla="*/ 37489 w 37489"/>
                <a:gd name="connsiteY2" fmla="*/ 0 h 375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7489" h="37501">
                  <a:moveTo>
                    <a:pt x="0" y="37501"/>
                  </a:moveTo>
                  <a:lnTo>
                    <a:pt x="0" y="0"/>
                  </a:lnTo>
                  <a:lnTo>
                    <a:pt x="37489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19" name="Forma livre: Forma 418">
              <a:extLst>
                <a:ext uri="{FF2B5EF4-FFF2-40B4-BE49-F238E27FC236}">
                  <a16:creationId xmlns:a16="http://schemas.microsoft.com/office/drawing/2014/main" id="{109B69D8-F5EC-716A-EC2E-C921225FAE3E}"/>
                </a:ext>
              </a:extLst>
            </p:cNvPr>
            <p:cNvSpPr/>
            <p:nvPr/>
          </p:nvSpPr>
          <p:spPr>
            <a:xfrm>
              <a:off x="5595401" y="1025639"/>
              <a:ext cx="37501" cy="37501"/>
            </a:xfrm>
            <a:custGeom>
              <a:avLst/>
              <a:gdLst>
                <a:gd name="connsiteX0" fmla="*/ 0 w 37501"/>
                <a:gd name="connsiteY0" fmla="*/ 0 h 37501"/>
                <a:gd name="connsiteX1" fmla="*/ 37501 w 37501"/>
                <a:gd name="connsiteY1" fmla="*/ 0 h 37501"/>
                <a:gd name="connsiteX2" fmla="*/ 37501 w 37501"/>
                <a:gd name="connsiteY2" fmla="*/ 37501 h 37501"/>
                <a:gd name="connsiteX3" fmla="*/ 0 w 37501"/>
                <a:gd name="connsiteY3" fmla="*/ 37501 h 375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7501" h="37501">
                  <a:moveTo>
                    <a:pt x="0" y="0"/>
                  </a:moveTo>
                  <a:lnTo>
                    <a:pt x="37501" y="0"/>
                  </a:lnTo>
                  <a:lnTo>
                    <a:pt x="37501" y="37501"/>
                  </a:lnTo>
                  <a:lnTo>
                    <a:pt x="0" y="37501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20" name="Forma livre: Forma 419">
              <a:extLst>
                <a:ext uri="{FF2B5EF4-FFF2-40B4-BE49-F238E27FC236}">
                  <a16:creationId xmlns:a16="http://schemas.microsoft.com/office/drawing/2014/main" id="{CB34BB74-AF67-20C0-46B6-D9DE4B3AA64F}"/>
                </a:ext>
              </a:extLst>
            </p:cNvPr>
            <p:cNvSpPr/>
            <p:nvPr/>
          </p:nvSpPr>
          <p:spPr>
            <a:xfrm>
              <a:off x="5595401" y="1098407"/>
              <a:ext cx="37501" cy="37501"/>
            </a:xfrm>
            <a:custGeom>
              <a:avLst/>
              <a:gdLst>
                <a:gd name="connsiteX0" fmla="*/ 0 w 37501"/>
                <a:gd name="connsiteY0" fmla="*/ 0 h 37501"/>
                <a:gd name="connsiteX1" fmla="*/ 37501 w 37501"/>
                <a:gd name="connsiteY1" fmla="*/ 0 h 37501"/>
                <a:gd name="connsiteX2" fmla="*/ 37501 w 37501"/>
                <a:gd name="connsiteY2" fmla="*/ 37501 h 37501"/>
                <a:gd name="connsiteX3" fmla="*/ 0 w 37501"/>
                <a:gd name="connsiteY3" fmla="*/ 37501 h 375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7501" h="37501">
                  <a:moveTo>
                    <a:pt x="0" y="0"/>
                  </a:moveTo>
                  <a:lnTo>
                    <a:pt x="37501" y="0"/>
                  </a:lnTo>
                  <a:lnTo>
                    <a:pt x="37501" y="37501"/>
                  </a:lnTo>
                  <a:lnTo>
                    <a:pt x="0" y="37501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21" name="Forma livre: Forma 420">
              <a:extLst>
                <a:ext uri="{FF2B5EF4-FFF2-40B4-BE49-F238E27FC236}">
                  <a16:creationId xmlns:a16="http://schemas.microsoft.com/office/drawing/2014/main" id="{DAEC7923-6148-6168-E654-B35B165A5D81}"/>
                </a:ext>
              </a:extLst>
            </p:cNvPr>
            <p:cNvSpPr/>
            <p:nvPr/>
          </p:nvSpPr>
          <p:spPr>
            <a:xfrm>
              <a:off x="5595401" y="1170984"/>
              <a:ext cx="37501" cy="37501"/>
            </a:xfrm>
            <a:custGeom>
              <a:avLst/>
              <a:gdLst>
                <a:gd name="connsiteX0" fmla="*/ 0 w 37501"/>
                <a:gd name="connsiteY0" fmla="*/ 0 h 37501"/>
                <a:gd name="connsiteX1" fmla="*/ 37501 w 37501"/>
                <a:gd name="connsiteY1" fmla="*/ 0 h 37501"/>
                <a:gd name="connsiteX2" fmla="*/ 37501 w 37501"/>
                <a:gd name="connsiteY2" fmla="*/ 37501 h 37501"/>
                <a:gd name="connsiteX3" fmla="*/ 0 w 37501"/>
                <a:gd name="connsiteY3" fmla="*/ 37501 h 375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7501" h="37501">
                  <a:moveTo>
                    <a:pt x="0" y="0"/>
                  </a:moveTo>
                  <a:lnTo>
                    <a:pt x="37501" y="0"/>
                  </a:lnTo>
                  <a:lnTo>
                    <a:pt x="37501" y="37501"/>
                  </a:lnTo>
                  <a:lnTo>
                    <a:pt x="0" y="37501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422" name="Gráfico 6">
            <a:extLst>
              <a:ext uri="{FF2B5EF4-FFF2-40B4-BE49-F238E27FC236}">
                <a16:creationId xmlns:a16="http://schemas.microsoft.com/office/drawing/2014/main" id="{85575756-9026-4331-156F-9F6429A179A9}"/>
              </a:ext>
            </a:extLst>
          </p:cNvPr>
          <p:cNvGrpSpPr/>
          <p:nvPr/>
        </p:nvGrpSpPr>
        <p:grpSpPr>
          <a:xfrm>
            <a:off x="5602141" y="1523339"/>
            <a:ext cx="245432" cy="315128"/>
            <a:chOff x="5602141" y="1523339"/>
            <a:chExt cx="245432" cy="315128"/>
          </a:xfrm>
        </p:grpSpPr>
        <p:sp>
          <p:nvSpPr>
            <p:cNvPr id="423" name="Forma livre: Forma 422">
              <a:extLst>
                <a:ext uri="{FF2B5EF4-FFF2-40B4-BE49-F238E27FC236}">
                  <a16:creationId xmlns:a16="http://schemas.microsoft.com/office/drawing/2014/main" id="{B6A630C4-534F-9C53-CA8A-5B42F844302A}"/>
                </a:ext>
              </a:extLst>
            </p:cNvPr>
            <p:cNvSpPr/>
            <p:nvPr/>
          </p:nvSpPr>
          <p:spPr>
            <a:xfrm>
              <a:off x="5721290" y="1589415"/>
              <a:ext cx="7134" cy="7146"/>
            </a:xfrm>
            <a:custGeom>
              <a:avLst/>
              <a:gdLst>
                <a:gd name="connsiteX0" fmla="*/ 3561 w 7134"/>
                <a:gd name="connsiteY0" fmla="*/ 7147 h 7146"/>
                <a:gd name="connsiteX1" fmla="*/ 0 w 7134"/>
                <a:gd name="connsiteY1" fmla="*/ 3585 h 7146"/>
                <a:gd name="connsiteX2" fmla="*/ 3561 w 7134"/>
                <a:gd name="connsiteY2" fmla="*/ 0 h 7146"/>
                <a:gd name="connsiteX3" fmla="*/ 7135 w 7134"/>
                <a:gd name="connsiteY3" fmla="*/ 3585 h 7146"/>
                <a:gd name="connsiteX4" fmla="*/ 3561 w 7134"/>
                <a:gd name="connsiteY4" fmla="*/ 7147 h 71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34" h="7146">
                  <a:moveTo>
                    <a:pt x="3561" y="7147"/>
                  </a:moveTo>
                  <a:cubicBezTo>
                    <a:pt x="1589" y="7147"/>
                    <a:pt x="0" y="5557"/>
                    <a:pt x="0" y="3585"/>
                  </a:cubicBezTo>
                  <a:cubicBezTo>
                    <a:pt x="0" y="1613"/>
                    <a:pt x="1589" y="0"/>
                    <a:pt x="3561" y="0"/>
                  </a:cubicBezTo>
                  <a:cubicBezTo>
                    <a:pt x="5533" y="0"/>
                    <a:pt x="7135" y="1613"/>
                    <a:pt x="7135" y="3585"/>
                  </a:cubicBezTo>
                  <a:cubicBezTo>
                    <a:pt x="7135" y="5557"/>
                    <a:pt x="5545" y="7147"/>
                    <a:pt x="3561" y="7147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24" name="Forma livre: Forma 423">
              <a:extLst>
                <a:ext uri="{FF2B5EF4-FFF2-40B4-BE49-F238E27FC236}">
                  <a16:creationId xmlns:a16="http://schemas.microsoft.com/office/drawing/2014/main" id="{04E965BD-A989-6788-3B48-0E11640AC6C8}"/>
                </a:ext>
              </a:extLst>
            </p:cNvPr>
            <p:cNvSpPr/>
            <p:nvPr/>
          </p:nvSpPr>
          <p:spPr>
            <a:xfrm>
              <a:off x="5650601" y="1523339"/>
              <a:ext cx="148523" cy="184961"/>
            </a:xfrm>
            <a:custGeom>
              <a:avLst/>
              <a:gdLst>
                <a:gd name="connsiteX0" fmla="*/ 0 w 148523"/>
                <a:gd name="connsiteY0" fmla="*/ 180157 h 184961"/>
                <a:gd name="connsiteX1" fmla="*/ 0 w 148523"/>
                <a:gd name="connsiteY1" fmla="*/ 0 h 184961"/>
                <a:gd name="connsiteX2" fmla="*/ 148524 w 148523"/>
                <a:gd name="connsiteY2" fmla="*/ 0 h 184961"/>
                <a:gd name="connsiteX3" fmla="*/ 148524 w 148523"/>
                <a:gd name="connsiteY3" fmla="*/ 184962 h 1849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8523" h="184961">
                  <a:moveTo>
                    <a:pt x="0" y="180157"/>
                  </a:moveTo>
                  <a:lnTo>
                    <a:pt x="0" y="0"/>
                  </a:lnTo>
                  <a:lnTo>
                    <a:pt x="148524" y="0"/>
                  </a:lnTo>
                  <a:lnTo>
                    <a:pt x="148524" y="184962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25" name="Forma livre: Forma 424">
              <a:extLst>
                <a:ext uri="{FF2B5EF4-FFF2-40B4-BE49-F238E27FC236}">
                  <a16:creationId xmlns:a16="http://schemas.microsoft.com/office/drawing/2014/main" id="{DAF97DB3-3F81-DEAD-40CF-918493FE4A43}"/>
                </a:ext>
              </a:extLst>
            </p:cNvPr>
            <p:cNvSpPr/>
            <p:nvPr/>
          </p:nvSpPr>
          <p:spPr>
            <a:xfrm>
              <a:off x="5721290" y="1707859"/>
              <a:ext cx="7134" cy="7146"/>
            </a:xfrm>
            <a:custGeom>
              <a:avLst/>
              <a:gdLst>
                <a:gd name="connsiteX0" fmla="*/ 3561 w 7134"/>
                <a:gd name="connsiteY0" fmla="*/ 7147 h 7146"/>
                <a:gd name="connsiteX1" fmla="*/ 0 w 7134"/>
                <a:gd name="connsiteY1" fmla="*/ 3585 h 7146"/>
                <a:gd name="connsiteX2" fmla="*/ 3561 w 7134"/>
                <a:gd name="connsiteY2" fmla="*/ 0 h 7146"/>
                <a:gd name="connsiteX3" fmla="*/ 7135 w 7134"/>
                <a:gd name="connsiteY3" fmla="*/ 3585 h 7146"/>
                <a:gd name="connsiteX4" fmla="*/ 3561 w 7134"/>
                <a:gd name="connsiteY4" fmla="*/ 7147 h 71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34" h="7146">
                  <a:moveTo>
                    <a:pt x="3561" y="7147"/>
                  </a:moveTo>
                  <a:cubicBezTo>
                    <a:pt x="1589" y="7147"/>
                    <a:pt x="0" y="5557"/>
                    <a:pt x="0" y="3585"/>
                  </a:cubicBezTo>
                  <a:cubicBezTo>
                    <a:pt x="0" y="1613"/>
                    <a:pt x="1589" y="0"/>
                    <a:pt x="3561" y="0"/>
                  </a:cubicBezTo>
                  <a:cubicBezTo>
                    <a:pt x="5533" y="0"/>
                    <a:pt x="7135" y="1601"/>
                    <a:pt x="7135" y="3585"/>
                  </a:cubicBezTo>
                  <a:cubicBezTo>
                    <a:pt x="7135" y="5569"/>
                    <a:pt x="5545" y="7147"/>
                    <a:pt x="3561" y="7147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26" name="Forma livre: Forma 425">
              <a:extLst>
                <a:ext uri="{FF2B5EF4-FFF2-40B4-BE49-F238E27FC236}">
                  <a16:creationId xmlns:a16="http://schemas.microsoft.com/office/drawing/2014/main" id="{BF6A7E0C-D786-AD77-A0D5-3BAB950116D9}"/>
                </a:ext>
              </a:extLst>
            </p:cNvPr>
            <p:cNvSpPr/>
            <p:nvPr/>
          </p:nvSpPr>
          <p:spPr>
            <a:xfrm>
              <a:off x="5678207" y="1550838"/>
              <a:ext cx="93287" cy="177002"/>
            </a:xfrm>
            <a:custGeom>
              <a:avLst/>
              <a:gdLst>
                <a:gd name="connsiteX0" fmla="*/ 93287 w 93287"/>
                <a:gd name="connsiteY0" fmla="*/ 177002 h 177002"/>
                <a:gd name="connsiteX1" fmla="*/ 93287 w 93287"/>
                <a:gd name="connsiteY1" fmla="*/ 18739 h 177002"/>
                <a:gd name="connsiteX2" fmla="*/ 74537 w 93287"/>
                <a:gd name="connsiteY2" fmla="*/ 0 h 177002"/>
                <a:gd name="connsiteX3" fmla="*/ 18751 w 93287"/>
                <a:gd name="connsiteY3" fmla="*/ 0 h 177002"/>
                <a:gd name="connsiteX4" fmla="*/ 0 w 93287"/>
                <a:gd name="connsiteY4" fmla="*/ 18739 h 177002"/>
                <a:gd name="connsiteX5" fmla="*/ 0 w 93287"/>
                <a:gd name="connsiteY5" fmla="*/ 175700 h 1770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3287" h="177002">
                  <a:moveTo>
                    <a:pt x="93287" y="177002"/>
                  </a:moveTo>
                  <a:lnTo>
                    <a:pt x="93287" y="18739"/>
                  </a:lnTo>
                  <a:cubicBezTo>
                    <a:pt x="82938" y="18739"/>
                    <a:pt x="74537" y="10349"/>
                    <a:pt x="74537" y="0"/>
                  </a:cubicBezTo>
                  <a:lnTo>
                    <a:pt x="18751" y="0"/>
                  </a:lnTo>
                  <a:cubicBezTo>
                    <a:pt x="18751" y="10349"/>
                    <a:pt x="10361" y="18739"/>
                    <a:pt x="0" y="18739"/>
                  </a:cubicBezTo>
                  <a:lnTo>
                    <a:pt x="0" y="17570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27" name="Forma livre: Forma 426">
              <a:extLst>
                <a:ext uri="{FF2B5EF4-FFF2-40B4-BE49-F238E27FC236}">
                  <a16:creationId xmlns:a16="http://schemas.microsoft.com/office/drawing/2014/main" id="{8EFDFC63-CB4A-5B25-8980-5E6FB5DA3945}"/>
                </a:ext>
              </a:extLst>
            </p:cNvPr>
            <p:cNvSpPr/>
            <p:nvPr/>
          </p:nvSpPr>
          <p:spPr>
            <a:xfrm>
              <a:off x="5641650" y="1740965"/>
              <a:ext cx="166425" cy="60814"/>
            </a:xfrm>
            <a:custGeom>
              <a:avLst/>
              <a:gdLst>
                <a:gd name="connsiteX0" fmla="*/ 166426 w 166425"/>
                <a:gd name="connsiteY0" fmla="*/ 60814 h 60814"/>
                <a:gd name="connsiteX1" fmla="*/ 90563 w 166425"/>
                <a:gd name="connsiteY1" fmla="*/ 1849 h 60814"/>
                <a:gd name="connsiteX2" fmla="*/ 77142 w 166425"/>
                <a:gd name="connsiteY2" fmla="*/ 2304 h 60814"/>
                <a:gd name="connsiteX3" fmla="*/ 0 w 166425"/>
                <a:gd name="connsiteY3" fmla="*/ 60802 h 608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66425" h="60814">
                  <a:moveTo>
                    <a:pt x="166426" y="60814"/>
                  </a:moveTo>
                  <a:cubicBezTo>
                    <a:pt x="166426" y="60814"/>
                    <a:pt x="93718" y="4479"/>
                    <a:pt x="90563" y="1849"/>
                  </a:cubicBezTo>
                  <a:cubicBezTo>
                    <a:pt x="87408" y="-756"/>
                    <a:pt x="80930" y="-612"/>
                    <a:pt x="77142" y="2304"/>
                  </a:cubicBezTo>
                  <a:cubicBezTo>
                    <a:pt x="72469" y="5913"/>
                    <a:pt x="0" y="60802"/>
                    <a:pt x="0" y="60802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428" name="Gráfico 6">
              <a:extLst>
                <a:ext uri="{FF2B5EF4-FFF2-40B4-BE49-F238E27FC236}">
                  <a16:creationId xmlns:a16="http://schemas.microsoft.com/office/drawing/2014/main" id="{D0F32FF9-0002-798C-28AD-9AF29B469121}"/>
                </a:ext>
              </a:extLst>
            </p:cNvPr>
            <p:cNvGrpSpPr/>
            <p:nvPr/>
          </p:nvGrpSpPr>
          <p:grpSpPr>
            <a:xfrm>
              <a:off x="5628301" y="1687339"/>
              <a:ext cx="193123" cy="62633"/>
              <a:chOff x="5628301" y="1687339"/>
              <a:chExt cx="193123" cy="62633"/>
            </a:xfrm>
          </p:grpSpPr>
          <p:sp>
            <p:nvSpPr>
              <p:cNvPr id="429" name="Forma livre: Forma 428">
                <a:extLst>
                  <a:ext uri="{FF2B5EF4-FFF2-40B4-BE49-F238E27FC236}">
                    <a16:creationId xmlns:a16="http://schemas.microsoft.com/office/drawing/2014/main" id="{11B708CF-26B3-17EE-4DE2-65544C17893B}"/>
                  </a:ext>
                </a:extLst>
              </p:cNvPr>
              <p:cNvSpPr/>
              <p:nvPr/>
            </p:nvSpPr>
            <p:spPr>
              <a:xfrm>
                <a:off x="5628301" y="1687339"/>
                <a:ext cx="78002" cy="62633"/>
              </a:xfrm>
              <a:custGeom>
                <a:avLst/>
                <a:gdLst>
                  <a:gd name="connsiteX0" fmla="*/ 78002 w 78002"/>
                  <a:gd name="connsiteY0" fmla="*/ 62634 h 62633"/>
                  <a:gd name="connsiteX1" fmla="*/ 0 w 78002"/>
                  <a:gd name="connsiteY1" fmla="*/ 0 h 626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78002" h="62633">
                    <a:moveTo>
                      <a:pt x="78002" y="62634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30" name="Forma livre: Forma 429">
                <a:extLst>
                  <a:ext uri="{FF2B5EF4-FFF2-40B4-BE49-F238E27FC236}">
                    <a16:creationId xmlns:a16="http://schemas.microsoft.com/office/drawing/2014/main" id="{7BE8D6D0-A1AA-61AC-5206-3577C47276AC}"/>
                  </a:ext>
                </a:extLst>
              </p:cNvPr>
              <p:cNvSpPr/>
              <p:nvPr/>
            </p:nvSpPr>
            <p:spPr>
              <a:xfrm>
                <a:off x="5743410" y="1687339"/>
                <a:ext cx="78014" cy="62633"/>
              </a:xfrm>
              <a:custGeom>
                <a:avLst/>
                <a:gdLst>
                  <a:gd name="connsiteX0" fmla="*/ 78014 w 78014"/>
                  <a:gd name="connsiteY0" fmla="*/ 0 h 62633"/>
                  <a:gd name="connsiteX1" fmla="*/ 0 w 78014"/>
                  <a:gd name="connsiteY1" fmla="*/ 62634 h 626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78014" h="62633">
                    <a:moveTo>
                      <a:pt x="78014" y="0"/>
                    </a:moveTo>
                    <a:lnTo>
                      <a:pt x="0" y="62634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431" name="Forma livre: Forma 430">
              <a:extLst>
                <a:ext uri="{FF2B5EF4-FFF2-40B4-BE49-F238E27FC236}">
                  <a16:creationId xmlns:a16="http://schemas.microsoft.com/office/drawing/2014/main" id="{AED087DF-1496-19D3-92A9-5FDBDFC42256}"/>
                </a:ext>
              </a:extLst>
            </p:cNvPr>
            <p:cNvSpPr/>
            <p:nvPr/>
          </p:nvSpPr>
          <p:spPr>
            <a:xfrm>
              <a:off x="5602141" y="1631171"/>
              <a:ext cx="245432" cy="207297"/>
            </a:xfrm>
            <a:custGeom>
              <a:avLst/>
              <a:gdLst>
                <a:gd name="connsiteX0" fmla="*/ 24559 w 245432"/>
                <a:gd name="connsiteY0" fmla="*/ 16982 h 207297"/>
                <a:gd name="connsiteX1" fmla="*/ 0 w 245432"/>
                <a:gd name="connsiteY1" fmla="*/ 35804 h 207297"/>
                <a:gd name="connsiteX2" fmla="*/ 0 w 245432"/>
                <a:gd name="connsiteY2" fmla="*/ 193506 h 207297"/>
                <a:gd name="connsiteX3" fmla="*/ 13994 w 245432"/>
                <a:gd name="connsiteY3" fmla="*/ 207297 h 207297"/>
                <a:gd name="connsiteX4" fmla="*/ 231426 w 245432"/>
                <a:gd name="connsiteY4" fmla="*/ 207297 h 207297"/>
                <a:gd name="connsiteX5" fmla="*/ 245432 w 245432"/>
                <a:gd name="connsiteY5" fmla="*/ 193506 h 207297"/>
                <a:gd name="connsiteX6" fmla="*/ 245432 w 245432"/>
                <a:gd name="connsiteY6" fmla="*/ 35804 h 207297"/>
                <a:gd name="connsiteX7" fmla="*/ 199362 w 245432"/>
                <a:gd name="connsiteY7" fmla="*/ 0 h 2072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45432" h="207297">
                  <a:moveTo>
                    <a:pt x="24559" y="16982"/>
                  </a:moveTo>
                  <a:lnTo>
                    <a:pt x="0" y="35804"/>
                  </a:lnTo>
                  <a:lnTo>
                    <a:pt x="0" y="193506"/>
                  </a:lnTo>
                  <a:cubicBezTo>
                    <a:pt x="0" y="201071"/>
                    <a:pt x="6310" y="207297"/>
                    <a:pt x="13994" y="207297"/>
                  </a:cubicBezTo>
                  <a:lnTo>
                    <a:pt x="231426" y="207297"/>
                  </a:lnTo>
                  <a:cubicBezTo>
                    <a:pt x="239122" y="207297"/>
                    <a:pt x="245432" y="201071"/>
                    <a:pt x="245432" y="193506"/>
                  </a:cubicBezTo>
                  <a:lnTo>
                    <a:pt x="245432" y="35804"/>
                  </a:lnTo>
                  <a:lnTo>
                    <a:pt x="199362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32" name="Forma livre: Forma 431">
              <a:extLst>
                <a:ext uri="{FF2B5EF4-FFF2-40B4-BE49-F238E27FC236}">
                  <a16:creationId xmlns:a16="http://schemas.microsoft.com/office/drawing/2014/main" id="{324F9083-BE99-B716-7A65-2BE3CF8753EC}"/>
                </a:ext>
              </a:extLst>
            </p:cNvPr>
            <p:cNvSpPr/>
            <p:nvPr/>
          </p:nvSpPr>
          <p:spPr>
            <a:xfrm>
              <a:off x="5700113" y="1629211"/>
              <a:ext cx="49488" cy="45998"/>
            </a:xfrm>
            <a:custGeom>
              <a:avLst/>
              <a:gdLst>
                <a:gd name="connsiteX0" fmla="*/ 24738 w 49488"/>
                <a:gd name="connsiteY0" fmla="*/ 45998 h 45998"/>
                <a:gd name="connsiteX1" fmla="*/ 0 w 49488"/>
                <a:gd name="connsiteY1" fmla="*/ 22993 h 45998"/>
                <a:gd name="connsiteX2" fmla="*/ 24738 w 49488"/>
                <a:gd name="connsiteY2" fmla="*/ 0 h 45998"/>
                <a:gd name="connsiteX3" fmla="*/ 49488 w 49488"/>
                <a:gd name="connsiteY3" fmla="*/ 22993 h 45998"/>
                <a:gd name="connsiteX4" fmla="*/ 24738 w 49488"/>
                <a:gd name="connsiteY4" fmla="*/ 45998 h 459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9488" h="45998">
                  <a:moveTo>
                    <a:pt x="24738" y="45998"/>
                  </a:moveTo>
                  <a:cubicBezTo>
                    <a:pt x="11078" y="45998"/>
                    <a:pt x="0" y="35685"/>
                    <a:pt x="0" y="22993"/>
                  </a:cubicBezTo>
                  <a:cubicBezTo>
                    <a:pt x="0" y="10302"/>
                    <a:pt x="11090" y="0"/>
                    <a:pt x="24738" y="0"/>
                  </a:cubicBezTo>
                  <a:cubicBezTo>
                    <a:pt x="38386" y="0"/>
                    <a:pt x="49488" y="10290"/>
                    <a:pt x="49488" y="22993"/>
                  </a:cubicBezTo>
                  <a:cubicBezTo>
                    <a:pt x="49488" y="35697"/>
                    <a:pt x="38410" y="45998"/>
                    <a:pt x="24738" y="45998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433" name="Gráfico 6">
            <a:extLst>
              <a:ext uri="{FF2B5EF4-FFF2-40B4-BE49-F238E27FC236}">
                <a16:creationId xmlns:a16="http://schemas.microsoft.com/office/drawing/2014/main" id="{EEA554C8-545E-8331-F4ED-C07BF1AC5F54}"/>
              </a:ext>
            </a:extLst>
          </p:cNvPr>
          <p:cNvGrpSpPr/>
          <p:nvPr/>
        </p:nvGrpSpPr>
        <p:grpSpPr>
          <a:xfrm>
            <a:off x="5574977" y="3111939"/>
            <a:ext cx="299796" cy="300023"/>
            <a:chOff x="5574977" y="3111939"/>
            <a:chExt cx="299796" cy="300023"/>
          </a:xfrm>
          <a:noFill/>
        </p:grpSpPr>
        <p:grpSp>
          <p:nvGrpSpPr>
            <p:cNvPr id="434" name="Gráfico 6">
              <a:extLst>
                <a:ext uri="{FF2B5EF4-FFF2-40B4-BE49-F238E27FC236}">
                  <a16:creationId xmlns:a16="http://schemas.microsoft.com/office/drawing/2014/main" id="{1659FC19-11AE-3AB1-A10D-1DF3D3FE16D1}"/>
                </a:ext>
              </a:extLst>
            </p:cNvPr>
            <p:cNvGrpSpPr/>
            <p:nvPr/>
          </p:nvGrpSpPr>
          <p:grpSpPr>
            <a:xfrm>
              <a:off x="5702169" y="3204593"/>
              <a:ext cx="45376" cy="114750"/>
              <a:chOff x="5702169" y="3204593"/>
              <a:chExt cx="45376" cy="114750"/>
            </a:xfrm>
            <a:noFill/>
          </p:grpSpPr>
          <p:sp>
            <p:nvSpPr>
              <p:cNvPr id="435" name="Forma livre: Forma 434">
                <a:extLst>
                  <a:ext uri="{FF2B5EF4-FFF2-40B4-BE49-F238E27FC236}">
                    <a16:creationId xmlns:a16="http://schemas.microsoft.com/office/drawing/2014/main" id="{DB7C3F5B-6147-F33F-3776-02579C4EAED9}"/>
                  </a:ext>
                </a:extLst>
              </p:cNvPr>
              <p:cNvSpPr/>
              <p:nvPr/>
            </p:nvSpPr>
            <p:spPr>
              <a:xfrm>
                <a:off x="5702169" y="3218814"/>
                <a:ext cx="45376" cy="86296"/>
              </a:xfrm>
              <a:custGeom>
                <a:avLst/>
                <a:gdLst>
                  <a:gd name="connsiteX0" fmla="*/ 96 w 45376"/>
                  <a:gd name="connsiteY0" fmla="*/ 65251 h 86296"/>
                  <a:gd name="connsiteX1" fmla="*/ 22730 w 45376"/>
                  <a:gd name="connsiteY1" fmla="*/ 86296 h 86296"/>
                  <a:gd name="connsiteX2" fmla="*/ 45377 w 45376"/>
                  <a:gd name="connsiteY2" fmla="*/ 65251 h 86296"/>
                  <a:gd name="connsiteX3" fmla="*/ 22682 w 45376"/>
                  <a:gd name="connsiteY3" fmla="*/ 43142 h 86296"/>
                  <a:gd name="connsiteX4" fmla="*/ 0 w 45376"/>
                  <a:gd name="connsiteY4" fmla="*/ 21057 h 86296"/>
                  <a:gd name="connsiteX5" fmla="*/ 22647 w 45376"/>
                  <a:gd name="connsiteY5" fmla="*/ 0 h 86296"/>
                  <a:gd name="connsiteX6" fmla="*/ 45293 w 45376"/>
                  <a:gd name="connsiteY6" fmla="*/ 21057 h 862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5376" h="86296">
                    <a:moveTo>
                      <a:pt x="96" y="65251"/>
                    </a:moveTo>
                    <a:cubicBezTo>
                      <a:pt x="96" y="76879"/>
                      <a:pt x="10230" y="86296"/>
                      <a:pt x="22730" y="86296"/>
                    </a:cubicBezTo>
                    <a:cubicBezTo>
                      <a:pt x="35231" y="86296"/>
                      <a:pt x="45377" y="76879"/>
                      <a:pt x="45377" y="65251"/>
                    </a:cubicBezTo>
                    <a:cubicBezTo>
                      <a:pt x="45377" y="53623"/>
                      <a:pt x="33295" y="48532"/>
                      <a:pt x="22682" y="43142"/>
                    </a:cubicBezTo>
                    <a:cubicBezTo>
                      <a:pt x="12070" y="37764"/>
                      <a:pt x="0" y="32673"/>
                      <a:pt x="0" y="21057"/>
                    </a:cubicBezTo>
                    <a:cubicBezTo>
                      <a:pt x="0" y="9441"/>
                      <a:pt x="10122" y="0"/>
                      <a:pt x="22647" y="0"/>
                    </a:cubicBezTo>
                    <a:cubicBezTo>
                      <a:pt x="35171" y="0"/>
                      <a:pt x="45293" y="9417"/>
                      <a:pt x="45293" y="21057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36" name="Forma livre: Forma 435">
                <a:extLst>
                  <a:ext uri="{FF2B5EF4-FFF2-40B4-BE49-F238E27FC236}">
                    <a16:creationId xmlns:a16="http://schemas.microsoft.com/office/drawing/2014/main" id="{15E16CD3-D008-71D2-8774-AEB3D5405714}"/>
                  </a:ext>
                </a:extLst>
              </p:cNvPr>
              <p:cNvSpPr/>
              <p:nvPr/>
            </p:nvSpPr>
            <p:spPr>
              <a:xfrm>
                <a:off x="5724815" y="3204593"/>
                <a:ext cx="1195" cy="14125"/>
              </a:xfrm>
              <a:custGeom>
                <a:avLst/>
                <a:gdLst>
                  <a:gd name="connsiteX0" fmla="*/ 0 w 1195"/>
                  <a:gd name="connsiteY0" fmla="*/ 14126 h 14125"/>
                  <a:gd name="connsiteX1" fmla="*/ 0 w 1195"/>
                  <a:gd name="connsiteY1" fmla="*/ 0 h 141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5" h="14125">
                    <a:moveTo>
                      <a:pt x="0" y="14126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37" name="Forma livre: Forma 436">
                <a:extLst>
                  <a:ext uri="{FF2B5EF4-FFF2-40B4-BE49-F238E27FC236}">
                    <a16:creationId xmlns:a16="http://schemas.microsoft.com/office/drawing/2014/main" id="{4E33245A-F585-E193-53A0-326FE97F2759}"/>
                  </a:ext>
                </a:extLst>
              </p:cNvPr>
              <p:cNvSpPr/>
              <p:nvPr/>
            </p:nvSpPr>
            <p:spPr>
              <a:xfrm>
                <a:off x="5724815" y="3305230"/>
                <a:ext cx="1195" cy="14113"/>
              </a:xfrm>
              <a:custGeom>
                <a:avLst/>
                <a:gdLst>
                  <a:gd name="connsiteX0" fmla="*/ 0 w 1195"/>
                  <a:gd name="connsiteY0" fmla="*/ 14114 h 14113"/>
                  <a:gd name="connsiteX1" fmla="*/ 0 w 1195"/>
                  <a:gd name="connsiteY1" fmla="*/ 0 h 141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5" h="14113">
                    <a:moveTo>
                      <a:pt x="0" y="14114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438" name="Gráfico 6">
              <a:extLst>
                <a:ext uri="{FF2B5EF4-FFF2-40B4-BE49-F238E27FC236}">
                  <a16:creationId xmlns:a16="http://schemas.microsoft.com/office/drawing/2014/main" id="{8088C50F-5249-07B5-5709-1EE2397344E5}"/>
                </a:ext>
              </a:extLst>
            </p:cNvPr>
            <p:cNvGrpSpPr/>
            <p:nvPr/>
          </p:nvGrpSpPr>
          <p:grpSpPr>
            <a:xfrm>
              <a:off x="5574977" y="3111939"/>
              <a:ext cx="299796" cy="300023"/>
              <a:chOff x="5574977" y="3111939"/>
              <a:chExt cx="299796" cy="300023"/>
            </a:xfrm>
            <a:noFill/>
          </p:grpSpPr>
          <p:sp>
            <p:nvSpPr>
              <p:cNvPr id="439" name="Forma livre: Forma 438">
                <a:extLst>
                  <a:ext uri="{FF2B5EF4-FFF2-40B4-BE49-F238E27FC236}">
                    <a16:creationId xmlns:a16="http://schemas.microsoft.com/office/drawing/2014/main" id="{9FABCD9A-57AE-CF4D-4C6F-F161191EC70E}"/>
                  </a:ext>
                </a:extLst>
              </p:cNvPr>
              <p:cNvSpPr/>
              <p:nvPr/>
            </p:nvSpPr>
            <p:spPr>
              <a:xfrm>
                <a:off x="5636176" y="3173270"/>
                <a:ext cx="177360" cy="177372"/>
              </a:xfrm>
              <a:custGeom>
                <a:avLst/>
                <a:gdLst>
                  <a:gd name="connsiteX0" fmla="*/ 38195 w 177360"/>
                  <a:gd name="connsiteY0" fmla="*/ 15763 h 177372"/>
                  <a:gd name="connsiteX1" fmla="*/ 88675 w 177360"/>
                  <a:gd name="connsiteY1" fmla="*/ 0 h 177372"/>
                  <a:gd name="connsiteX2" fmla="*/ 177361 w 177360"/>
                  <a:gd name="connsiteY2" fmla="*/ 88686 h 177372"/>
                  <a:gd name="connsiteX3" fmla="*/ 88675 w 177360"/>
                  <a:gd name="connsiteY3" fmla="*/ 177373 h 177372"/>
                  <a:gd name="connsiteX4" fmla="*/ 0 w 177360"/>
                  <a:gd name="connsiteY4" fmla="*/ 88686 h 177372"/>
                  <a:gd name="connsiteX5" fmla="*/ 15142 w 177360"/>
                  <a:gd name="connsiteY5" fmla="*/ 39103 h 1773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77360" h="177372">
                    <a:moveTo>
                      <a:pt x="38195" y="15763"/>
                    </a:moveTo>
                    <a:cubicBezTo>
                      <a:pt x="52512" y="5820"/>
                      <a:pt x="69924" y="0"/>
                      <a:pt x="88675" y="0"/>
                    </a:cubicBezTo>
                    <a:cubicBezTo>
                      <a:pt x="137661" y="0"/>
                      <a:pt x="177361" y="39712"/>
                      <a:pt x="177361" y="88686"/>
                    </a:cubicBezTo>
                    <a:cubicBezTo>
                      <a:pt x="177361" y="137661"/>
                      <a:pt x="137661" y="177373"/>
                      <a:pt x="88675" y="177373"/>
                    </a:cubicBezTo>
                    <a:cubicBezTo>
                      <a:pt x="39688" y="177373"/>
                      <a:pt x="0" y="137661"/>
                      <a:pt x="0" y="88686"/>
                    </a:cubicBezTo>
                    <a:cubicBezTo>
                      <a:pt x="0" y="70318"/>
                      <a:pt x="5581" y="53265"/>
                      <a:pt x="15142" y="39103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40" name="Forma livre: Forma 439">
                <a:extLst>
                  <a:ext uri="{FF2B5EF4-FFF2-40B4-BE49-F238E27FC236}">
                    <a16:creationId xmlns:a16="http://schemas.microsoft.com/office/drawing/2014/main" id="{3E9E4232-CE50-8E57-A8E0-3343FFF7EAC8}"/>
                  </a:ext>
                </a:extLst>
              </p:cNvPr>
              <p:cNvSpPr/>
              <p:nvPr/>
            </p:nvSpPr>
            <p:spPr>
              <a:xfrm>
                <a:off x="5574977" y="3111939"/>
                <a:ext cx="299796" cy="300023"/>
              </a:xfrm>
              <a:custGeom>
                <a:avLst/>
                <a:gdLst>
                  <a:gd name="connsiteX0" fmla="*/ 42126 w 299796"/>
                  <a:gd name="connsiteY0" fmla="*/ 77859 h 300023"/>
                  <a:gd name="connsiteX1" fmla="*/ 47349 w 299796"/>
                  <a:gd name="connsiteY1" fmla="*/ 85233 h 300023"/>
                  <a:gd name="connsiteX2" fmla="*/ 31538 w 299796"/>
                  <a:gd name="connsiteY2" fmla="*/ 123188 h 300023"/>
                  <a:gd name="connsiteX3" fmla="*/ 0 w 299796"/>
                  <a:gd name="connsiteY3" fmla="*/ 128650 h 300023"/>
                  <a:gd name="connsiteX4" fmla="*/ 0 w 299796"/>
                  <a:gd name="connsiteY4" fmla="*/ 171541 h 300023"/>
                  <a:gd name="connsiteX5" fmla="*/ 31526 w 299796"/>
                  <a:gd name="connsiteY5" fmla="*/ 176716 h 300023"/>
                  <a:gd name="connsiteX6" fmla="*/ 47337 w 299796"/>
                  <a:gd name="connsiteY6" fmla="*/ 214850 h 300023"/>
                  <a:gd name="connsiteX7" fmla="*/ 28777 w 299796"/>
                  <a:gd name="connsiteY7" fmla="*/ 241010 h 300023"/>
                  <a:gd name="connsiteX8" fmla="*/ 59013 w 299796"/>
                  <a:gd name="connsiteY8" fmla="*/ 271246 h 300023"/>
                  <a:gd name="connsiteX9" fmla="*/ 85209 w 299796"/>
                  <a:gd name="connsiteY9" fmla="*/ 252662 h 300023"/>
                  <a:gd name="connsiteX10" fmla="*/ 123308 w 299796"/>
                  <a:gd name="connsiteY10" fmla="*/ 268390 h 300023"/>
                  <a:gd name="connsiteX11" fmla="*/ 128494 w 299796"/>
                  <a:gd name="connsiteY11" fmla="*/ 300023 h 300023"/>
                  <a:gd name="connsiteX12" fmla="*/ 171278 w 299796"/>
                  <a:gd name="connsiteY12" fmla="*/ 300023 h 300023"/>
                  <a:gd name="connsiteX13" fmla="*/ 176477 w 299796"/>
                  <a:gd name="connsiteY13" fmla="*/ 268390 h 300023"/>
                  <a:gd name="connsiteX14" fmla="*/ 214564 w 299796"/>
                  <a:gd name="connsiteY14" fmla="*/ 252662 h 300023"/>
                  <a:gd name="connsiteX15" fmla="*/ 240771 w 299796"/>
                  <a:gd name="connsiteY15" fmla="*/ 271246 h 300023"/>
                  <a:gd name="connsiteX16" fmla="*/ 271007 w 299796"/>
                  <a:gd name="connsiteY16" fmla="*/ 241010 h 300023"/>
                  <a:gd name="connsiteX17" fmla="*/ 252447 w 299796"/>
                  <a:gd name="connsiteY17" fmla="*/ 214850 h 300023"/>
                  <a:gd name="connsiteX18" fmla="*/ 268222 w 299796"/>
                  <a:gd name="connsiteY18" fmla="*/ 176907 h 300023"/>
                  <a:gd name="connsiteX19" fmla="*/ 299796 w 299796"/>
                  <a:gd name="connsiteY19" fmla="*/ 171529 h 300023"/>
                  <a:gd name="connsiteX20" fmla="*/ 299796 w 299796"/>
                  <a:gd name="connsiteY20" fmla="*/ 128638 h 300023"/>
                  <a:gd name="connsiteX21" fmla="*/ 268282 w 299796"/>
                  <a:gd name="connsiteY21" fmla="*/ 123367 h 300023"/>
                  <a:gd name="connsiteX22" fmla="*/ 252471 w 299796"/>
                  <a:gd name="connsiteY22" fmla="*/ 85197 h 300023"/>
                  <a:gd name="connsiteX23" fmla="*/ 271019 w 299796"/>
                  <a:gd name="connsiteY23" fmla="*/ 59037 h 300023"/>
                  <a:gd name="connsiteX24" fmla="*/ 240783 w 299796"/>
                  <a:gd name="connsiteY24" fmla="*/ 28801 h 300023"/>
                  <a:gd name="connsiteX25" fmla="*/ 214599 w 299796"/>
                  <a:gd name="connsiteY25" fmla="*/ 47361 h 300023"/>
                  <a:gd name="connsiteX26" fmla="*/ 176477 w 299796"/>
                  <a:gd name="connsiteY26" fmla="*/ 31610 h 300023"/>
                  <a:gd name="connsiteX27" fmla="*/ 171278 w 299796"/>
                  <a:gd name="connsiteY27" fmla="*/ 0 h 300023"/>
                  <a:gd name="connsiteX28" fmla="*/ 128506 w 299796"/>
                  <a:gd name="connsiteY28" fmla="*/ 0 h 3000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</a:cxnLst>
                <a:rect l="l" t="t" r="r" b="b"/>
                <a:pathLst>
                  <a:path w="299796" h="300023">
                    <a:moveTo>
                      <a:pt x="42126" y="77859"/>
                    </a:moveTo>
                    <a:lnTo>
                      <a:pt x="47349" y="85233"/>
                    </a:lnTo>
                    <a:cubicBezTo>
                      <a:pt x="40071" y="96729"/>
                      <a:pt x="34621" y="109505"/>
                      <a:pt x="31538" y="123188"/>
                    </a:cubicBezTo>
                    <a:lnTo>
                      <a:pt x="0" y="128650"/>
                    </a:lnTo>
                    <a:lnTo>
                      <a:pt x="0" y="171541"/>
                    </a:lnTo>
                    <a:lnTo>
                      <a:pt x="31526" y="176716"/>
                    </a:lnTo>
                    <a:cubicBezTo>
                      <a:pt x="34609" y="190459"/>
                      <a:pt x="40023" y="203306"/>
                      <a:pt x="47337" y="214850"/>
                    </a:cubicBezTo>
                    <a:lnTo>
                      <a:pt x="28777" y="241010"/>
                    </a:lnTo>
                    <a:lnTo>
                      <a:pt x="59013" y="271246"/>
                    </a:lnTo>
                    <a:lnTo>
                      <a:pt x="85209" y="252662"/>
                    </a:lnTo>
                    <a:cubicBezTo>
                      <a:pt x="96741" y="259940"/>
                      <a:pt x="109576" y="265330"/>
                      <a:pt x="123308" y="268390"/>
                    </a:cubicBezTo>
                    <a:lnTo>
                      <a:pt x="128494" y="300023"/>
                    </a:lnTo>
                    <a:lnTo>
                      <a:pt x="171278" y="300023"/>
                    </a:lnTo>
                    <a:lnTo>
                      <a:pt x="176477" y="268390"/>
                    </a:lnTo>
                    <a:cubicBezTo>
                      <a:pt x="190196" y="265318"/>
                      <a:pt x="203031" y="259940"/>
                      <a:pt x="214564" y="252662"/>
                    </a:cubicBezTo>
                    <a:lnTo>
                      <a:pt x="240771" y="271246"/>
                    </a:lnTo>
                    <a:lnTo>
                      <a:pt x="271007" y="241010"/>
                    </a:lnTo>
                    <a:lnTo>
                      <a:pt x="252447" y="214850"/>
                    </a:lnTo>
                    <a:cubicBezTo>
                      <a:pt x="259725" y="203366"/>
                      <a:pt x="265127" y="190566"/>
                      <a:pt x="268222" y="176907"/>
                    </a:cubicBezTo>
                    <a:lnTo>
                      <a:pt x="299796" y="171529"/>
                    </a:lnTo>
                    <a:lnTo>
                      <a:pt x="299796" y="128638"/>
                    </a:lnTo>
                    <a:lnTo>
                      <a:pt x="268282" y="123367"/>
                    </a:lnTo>
                    <a:cubicBezTo>
                      <a:pt x="265187" y="109612"/>
                      <a:pt x="259785" y="96741"/>
                      <a:pt x="252471" y="85197"/>
                    </a:cubicBezTo>
                    <a:lnTo>
                      <a:pt x="271019" y="59037"/>
                    </a:lnTo>
                    <a:lnTo>
                      <a:pt x="240783" y="28801"/>
                    </a:lnTo>
                    <a:lnTo>
                      <a:pt x="214599" y="47361"/>
                    </a:lnTo>
                    <a:cubicBezTo>
                      <a:pt x="203055" y="40071"/>
                      <a:pt x="190208" y="34681"/>
                      <a:pt x="176477" y="31610"/>
                    </a:cubicBezTo>
                    <a:lnTo>
                      <a:pt x="171278" y="0"/>
                    </a:lnTo>
                    <a:lnTo>
                      <a:pt x="128506" y="0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41" name="Forma livre: Forma 440">
                <a:extLst>
                  <a:ext uri="{FF2B5EF4-FFF2-40B4-BE49-F238E27FC236}">
                    <a16:creationId xmlns:a16="http://schemas.microsoft.com/office/drawing/2014/main" id="{07E1C310-7D9C-2DE4-31BE-DE1D77801CC1}"/>
                  </a:ext>
                </a:extLst>
              </p:cNvPr>
              <p:cNvSpPr/>
              <p:nvPr/>
            </p:nvSpPr>
            <p:spPr>
              <a:xfrm>
                <a:off x="5603742" y="3135661"/>
                <a:ext cx="95833" cy="35326"/>
              </a:xfrm>
              <a:custGeom>
                <a:avLst/>
                <a:gdLst>
                  <a:gd name="connsiteX0" fmla="*/ 95833 w 95833"/>
                  <a:gd name="connsiteY0" fmla="*/ 0 h 35326"/>
                  <a:gd name="connsiteX1" fmla="*/ 94530 w 95833"/>
                  <a:gd name="connsiteY1" fmla="*/ 7911 h 35326"/>
                  <a:gd name="connsiteX2" fmla="*/ 56455 w 95833"/>
                  <a:gd name="connsiteY2" fmla="*/ 23686 h 35326"/>
                  <a:gd name="connsiteX3" fmla="*/ 30235 w 95833"/>
                  <a:gd name="connsiteY3" fmla="*/ 5091 h 35326"/>
                  <a:gd name="connsiteX4" fmla="*/ 0 w 95833"/>
                  <a:gd name="connsiteY4" fmla="*/ 35326 h 353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95833" h="35326">
                    <a:moveTo>
                      <a:pt x="95833" y="0"/>
                    </a:moveTo>
                    <a:lnTo>
                      <a:pt x="94530" y="7911"/>
                    </a:lnTo>
                    <a:cubicBezTo>
                      <a:pt x="80811" y="10983"/>
                      <a:pt x="67988" y="16396"/>
                      <a:pt x="56455" y="23686"/>
                    </a:cubicBezTo>
                    <a:lnTo>
                      <a:pt x="30235" y="5091"/>
                    </a:lnTo>
                    <a:lnTo>
                      <a:pt x="0" y="35326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442" name="Gráfico 6">
            <a:extLst>
              <a:ext uri="{FF2B5EF4-FFF2-40B4-BE49-F238E27FC236}">
                <a16:creationId xmlns:a16="http://schemas.microsoft.com/office/drawing/2014/main" id="{5AF25769-1189-9616-FB10-9B862869B7AA}"/>
              </a:ext>
            </a:extLst>
          </p:cNvPr>
          <p:cNvGrpSpPr/>
          <p:nvPr/>
        </p:nvGrpSpPr>
        <p:grpSpPr>
          <a:xfrm>
            <a:off x="5539172" y="2623596"/>
            <a:ext cx="371369" cy="222713"/>
            <a:chOff x="5539172" y="2623596"/>
            <a:chExt cx="371369" cy="222713"/>
          </a:xfrm>
        </p:grpSpPr>
        <p:sp>
          <p:nvSpPr>
            <p:cNvPr id="443" name="Forma livre: Forma 442">
              <a:extLst>
                <a:ext uri="{FF2B5EF4-FFF2-40B4-BE49-F238E27FC236}">
                  <a16:creationId xmlns:a16="http://schemas.microsoft.com/office/drawing/2014/main" id="{05D2F41C-78B1-6186-0C09-305BAE76206B}"/>
                </a:ext>
              </a:extLst>
            </p:cNvPr>
            <p:cNvSpPr/>
            <p:nvPr/>
          </p:nvSpPr>
          <p:spPr>
            <a:xfrm>
              <a:off x="5586521" y="2750704"/>
              <a:ext cx="53288" cy="1195"/>
            </a:xfrm>
            <a:custGeom>
              <a:avLst/>
              <a:gdLst>
                <a:gd name="connsiteX0" fmla="*/ 53288 w 53288"/>
                <a:gd name="connsiteY0" fmla="*/ 0 h 1195"/>
                <a:gd name="connsiteX1" fmla="*/ 0 w 53288"/>
                <a:gd name="connsiteY1" fmla="*/ 0 h 11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3288" h="1195">
                  <a:moveTo>
                    <a:pt x="53288" y="0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44" name="Forma livre: Forma 443">
              <a:extLst>
                <a:ext uri="{FF2B5EF4-FFF2-40B4-BE49-F238E27FC236}">
                  <a16:creationId xmlns:a16="http://schemas.microsoft.com/office/drawing/2014/main" id="{20C4C93B-2CBA-6AF0-594E-ECBB2A5E8083}"/>
                </a:ext>
              </a:extLst>
            </p:cNvPr>
            <p:cNvSpPr/>
            <p:nvPr/>
          </p:nvSpPr>
          <p:spPr>
            <a:xfrm>
              <a:off x="5577642" y="2788922"/>
              <a:ext cx="32051" cy="1195"/>
            </a:xfrm>
            <a:custGeom>
              <a:avLst/>
              <a:gdLst>
                <a:gd name="connsiteX0" fmla="*/ 32052 w 32051"/>
                <a:gd name="connsiteY0" fmla="*/ 0 h 1195"/>
                <a:gd name="connsiteX1" fmla="*/ 0 w 32051"/>
                <a:gd name="connsiteY1" fmla="*/ 0 h 11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2051" h="1195">
                  <a:moveTo>
                    <a:pt x="32052" y="0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45" name="Forma livre: Forma 444">
              <a:extLst>
                <a:ext uri="{FF2B5EF4-FFF2-40B4-BE49-F238E27FC236}">
                  <a16:creationId xmlns:a16="http://schemas.microsoft.com/office/drawing/2014/main" id="{FF0CA8D3-A7E2-DE46-C064-5D750D8511C8}"/>
                </a:ext>
              </a:extLst>
            </p:cNvPr>
            <p:cNvSpPr/>
            <p:nvPr/>
          </p:nvSpPr>
          <p:spPr>
            <a:xfrm>
              <a:off x="5584705" y="2695288"/>
              <a:ext cx="52009" cy="1195"/>
            </a:xfrm>
            <a:custGeom>
              <a:avLst/>
              <a:gdLst>
                <a:gd name="connsiteX0" fmla="*/ 52010 w 52009"/>
                <a:gd name="connsiteY0" fmla="*/ 0 h 1195"/>
                <a:gd name="connsiteX1" fmla="*/ 0 w 52009"/>
                <a:gd name="connsiteY1" fmla="*/ 0 h 11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2009" h="1195">
                  <a:moveTo>
                    <a:pt x="52010" y="0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46" name="Forma livre: Forma 445">
              <a:extLst>
                <a:ext uri="{FF2B5EF4-FFF2-40B4-BE49-F238E27FC236}">
                  <a16:creationId xmlns:a16="http://schemas.microsoft.com/office/drawing/2014/main" id="{907F6917-5529-45B2-4830-4BA2CF8445C1}"/>
                </a:ext>
              </a:extLst>
            </p:cNvPr>
            <p:cNvSpPr/>
            <p:nvPr/>
          </p:nvSpPr>
          <p:spPr>
            <a:xfrm>
              <a:off x="5728102" y="2846310"/>
              <a:ext cx="67270" cy="1195"/>
            </a:xfrm>
            <a:custGeom>
              <a:avLst/>
              <a:gdLst>
                <a:gd name="connsiteX0" fmla="*/ 67271 w 67270"/>
                <a:gd name="connsiteY0" fmla="*/ 0 h 1195"/>
                <a:gd name="connsiteX1" fmla="*/ 0 w 67270"/>
                <a:gd name="connsiteY1" fmla="*/ 0 h 11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7270" h="1195">
                  <a:moveTo>
                    <a:pt x="67271" y="0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47" name="Forma livre: Forma 446">
              <a:extLst>
                <a:ext uri="{FF2B5EF4-FFF2-40B4-BE49-F238E27FC236}">
                  <a16:creationId xmlns:a16="http://schemas.microsoft.com/office/drawing/2014/main" id="{19861F28-CE04-F311-1716-46D878A78BFB}"/>
                </a:ext>
              </a:extLst>
            </p:cNvPr>
            <p:cNvSpPr/>
            <p:nvPr/>
          </p:nvSpPr>
          <p:spPr>
            <a:xfrm>
              <a:off x="5682043" y="2846310"/>
              <a:ext cx="22574" cy="1195"/>
            </a:xfrm>
            <a:custGeom>
              <a:avLst/>
              <a:gdLst>
                <a:gd name="connsiteX0" fmla="*/ 22575 w 22574"/>
                <a:gd name="connsiteY0" fmla="*/ 0 h 1195"/>
                <a:gd name="connsiteX1" fmla="*/ 0 w 22574"/>
                <a:gd name="connsiteY1" fmla="*/ 0 h 11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2574" h="1195">
                  <a:moveTo>
                    <a:pt x="22575" y="0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48" name="Forma livre: Forma 447">
              <a:extLst>
                <a:ext uri="{FF2B5EF4-FFF2-40B4-BE49-F238E27FC236}">
                  <a16:creationId xmlns:a16="http://schemas.microsoft.com/office/drawing/2014/main" id="{9DF06B36-5BC3-BD38-D326-2F98B881FC66}"/>
                </a:ext>
              </a:extLst>
            </p:cNvPr>
            <p:cNvSpPr/>
            <p:nvPr/>
          </p:nvSpPr>
          <p:spPr>
            <a:xfrm>
              <a:off x="5539172" y="2750704"/>
              <a:ext cx="22574" cy="1195"/>
            </a:xfrm>
            <a:custGeom>
              <a:avLst/>
              <a:gdLst>
                <a:gd name="connsiteX0" fmla="*/ 22575 w 22574"/>
                <a:gd name="connsiteY0" fmla="*/ 0 h 1195"/>
                <a:gd name="connsiteX1" fmla="*/ 0 w 22574"/>
                <a:gd name="connsiteY1" fmla="*/ 0 h 11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2574" h="1195">
                  <a:moveTo>
                    <a:pt x="22575" y="0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49" name="Forma livre: Forma 448">
              <a:extLst>
                <a:ext uri="{FF2B5EF4-FFF2-40B4-BE49-F238E27FC236}">
                  <a16:creationId xmlns:a16="http://schemas.microsoft.com/office/drawing/2014/main" id="{EC37E2B0-0A5F-A759-665F-0A1DC3D2247F}"/>
                </a:ext>
              </a:extLst>
            </p:cNvPr>
            <p:cNvSpPr/>
            <p:nvPr/>
          </p:nvSpPr>
          <p:spPr>
            <a:xfrm>
              <a:off x="5693755" y="2623596"/>
              <a:ext cx="59060" cy="1195"/>
            </a:xfrm>
            <a:custGeom>
              <a:avLst/>
              <a:gdLst>
                <a:gd name="connsiteX0" fmla="*/ 59060 w 59060"/>
                <a:gd name="connsiteY0" fmla="*/ 0 h 1195"/>
                <a:gd name="connsiteX1" fmla="*/ 0 w 59060"/>
                <a:gd name="connsiteY1" fmla="*/ 0 h 11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9060" h="1195">
                  <a:moveTo>
                    <a:pt x="59060" y="0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50" name="Forma livre: Forma 449">
              <a:extLst>
                <a:ext uri="{FF2B5EF4-FFF2-40B4-BE49-F238E27FC236}">
                  <a16:creationId xmlns:a16="http://schemas.microsoft.com/office/drawing/2014/main" id="{740D7B49-2095-4BD2-D612-A6A9765C39F4}"/>
                </a:ext>
              </a:extLst>
            </p:cNvPr>
            <p:cNvSpPr/>
            <p:nvPr/>
          </p:nvSpPr>
          <p:spPr>
            <a:xfrm>
              <a:off x="5647279" y="2623596"/>
              <a:ext cx="22574" cy="1195"/>
            </a:xfrm>
            <a:custGeom>
              <a:avLst/>
              <a:gdLst>
                <a:gd name="connsiteX0" fmla="*/ 22575 w 22574"/>
                <a:gd name="connsiteY0" fmla="*/ 0 h 1195"/>
                <a:gd name="connsiteX1" fmla="*/ 0 w 22574"/>
                <a:gd name="connsiteY1" fmla="*/ 0 h 11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2574" h="1195">
                  <a:moveTo>
                    <a:pt x="22575" y="0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51" name="Forma livre: Forma 450">
              <a:extLst>
                <a:ext uri="{FF2B5EF4-FFF2-40B4-BE49-F238E27FC236}">
                  <a16:creationId xmlns:a16="http://schemas.microsoft.com/office/drawing/2014/main" id="{7D44E3C4-661D-7131-5449-62E6A3C396F4}"/>
                </a:ext>
              </a:extLst>
            </p:cNvPr>
            <p:cNvSpPr/>
            <p:nvPr/>
          </p:nvSpPr>
          <p:spPr>
            <a:xfrm>
              <a:off x="5609789" y="2623596"/>
              <a:ext cx="13587" cy="1195"/>
            </a:xfrm>
            <a:custGeom>
              <a:avLst/>
              <a:gdLst>
                <a:gd name="connsiteX0" fmla="*/ 13588 w 13587"/>
                <a:gd name="connsiteY0" fmla="*/ 0 h 1195"/>
                <a:gd name="connsiteX1" fmla="*/ 0 w 13587"/>
                <a:gd name="connsiteY1" fmla="*/ 0 h 11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3587" h="1195">
                  <a:moveTo>
                    <a:pt x="13588" y="0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452" name="Gráfico 6">
              <a:extLst>
                <a:ext uri="{FF2B5EF4-FFF2-40B4-BE49-F238E27FC236}">
                  <a16:creationId xmlns:a16="http://schemas.microsoft.com/office/drawing/2014/main" id="{4F80B32D-D55D-6057-2B90-89F434A5E581}"/>
                </a:ext>
              </a:extLst>
            </p:cNvPr>
            <p:cNvGrpSpPr/>
            <p:nvPr/>
          </p:nvGrpSpPr>
          <p:grpSpPr>
            <a:xfrm>
              <a:off x="5639654" y="2658599"/>
              <a:ext cx="270887" cy="153686"/>
              <a:chOff x="5639654" y="2658599"/>
              <a:chExt cx="270887" cy="153686"/>
            </a:xfrm>
          </p:grpSpPr>
          <p:grpSp>
            <p:nvGrpSpPr>
              <p:cNvPr id="453" name="Gráfico 6">
                <a:extLst>
                  <a:ext uri="{FF2B5EF4-FFF2-40B4-BE49-F238E27FC236}">
                    <a16:creationId xmlns:a16="http://schemas.microsoft.com/office/drawing/2014/main" id="{279DAE5C-E962-7B54-3684-99726B2AE5B2}"/>
                  </a:ext>
                </a:extLst>
              </p:cNvPr>
              <p:cNvGrpSpPr/>
              <p:nvPr/>
            </p:nvGrpSpPr>
            <p:grpSpPr>
              <a:xfrm>
                <a:off x="5703710" y="2731750"/>
                <a:ext cx="142775" cy="7397"/>
                <a:chOff x="5703710" y="2731750"/>
                <a:chExt cx="142775" cy="7397"/>
              </a:xfrm>
              <a:solidFill>
                <a:srgbClr val="394553"/>
              </a:solidFill>
            </p:grpSpPr>
            <p:sp>
              <p:nvSpPr>
                <p:cNvPr id="454" name="Forma livre: Forma 453">
                  <a:extLst>
                    <a:ext uri="{FF2B5EF4-FFF2-40B4-BE49-F238E27FC236}">
                      <a16:creationId xmlns:a16="http://schemas.microsoft.com/office/drawing/2014/main" id="{3D320839-F80E-3060-EA99-3F46BE541CD7}"/>
                    </a:ext>
                  </a:extLst>
                </p:cNvPr>
                <p:cNvSpPr/>
                <p:nvPr/>
              </p:nvSpPr>
              <p:spPr>
                <a:xfrm>
                  <a:off x="5703710" y="2731750"/>
                  <a:ext cx="7397" cy="7397"/>
                </a:xfrm>
                <a:custGeom>
                  <a:avLst/>
                  <a:gdLst>
                    <a:gd name="connsiteX0" fmla="*/ 7398 w 7397"/>
                    <a:gd name="connsiteY0" fmla="*/ 3693 h 7397"/>
                    <a:gd name="connsiteX1" fmla="*/ 3705 w 7397"/>
                    <a:gd name="connsiteY1" fmla="*/ 7397 h 7397"/>
                    <a:gd name="connsiteX2" fmla="*/ 0 w 7397"/>
                    <a:gd name="connsiteY2" fmla="*/ 3693 h 7397"/>
                    <a:gd name="connsiteX3" fmla="*/ 3705 w 7397"/>
                    <a:gd name="connsiteY3" fmla="*/ 0 h 7397"/>
                    <a:gd name="connsiteX4" fmla="*/ 7398 w 7397"/>
                    <a:gd name="connsiteY4" fmla="*/ 3693 h 739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7397" h="7397">
                      <a:moveTo>
                        <a:pt x="7398" y="3693"/>
                      </a:moveTo>
                      <a:cubicBezTo>
                        <a:pt x="7398" y="5748"/>
                        <a:pt x="5760" y="7397"/>
                        <a:pt x="3705" y="7397"/>
                      </a:cubicBezTo>
                      <a:cubicBezTo>
                        <a:pt x="1649" y="7397"/>
                        <a:pt x="0" y="5748"/>
                        <a:pt x="0" y="3693"/>
                      </a:cubicBezTo>
                      <a:cubicBezTo>
                        <a:pt x="0" y="1637"/>
                        <a:pt x="1661" y="0"/>
                        <a:pt x="3705" y="0"/>
                      </a:cubicBezTo>
                      <a:cubicBezTo>
                        <a:pt x="5748" y="0"/>
                        <a:pt x="7398" y="1649"/>
                        <a:pt x="7398" y="3693"/>
                      </a:cubicBezTo>
                      <a:close/>
                    </a:path>
                  </a:pathLst>
                </a:custGeom>
                <a:solidFill>
                  <a:srgbClr val="394553"/>
                </a:solidFill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455" name="Forma livre: Forma 454">
                  <a:extLst>
                    <a:ext uri="{FF2B5EF4-FFF2-40B4-BE49-F238E27FC236}">
                      <a16:creationId xmlns:a16="http://schemas.microsoft.com/office/drawing/2014/main" id="{98B87F12-8E6B-3788-2887-472D03B7E352}"/>
                    </a:ext>
                  </a:extLst>
                </p:cNvPr>
                <p:cNvSpPr/>
                <p:nvPr/>
              </p:nvSpPr>
              <p:spPr>
                <a:xfrm>
                  <a:off x="5839100" y="2731750"/>
                  <a:ext cx="7385" cy="7397"/>
                </a:xfrm>
                <a:custGeom>
                  <a:avLst/>
                  <a:gdLst>
                    <a:gd name="connsiteX0" fmla="*/ 7385 w 7385"/>
                    <a:gd name="connsiteY0" fmla="*/ 3693 h 7397"/>
                    <a:gd name="connsiteX1" fmla="*/ 3693 w 7385"/>
                    <a:gd name="connsiteY1" fmla="*/ 7397 h 7397"/>
                    <a:gd name="connsiteX2" fmla="*/ 0 w 7385"/>
                    <a:gd name="connsiteY2" fmla="*/ 3693 h 7397"/>
                    <a:gd name="connsiteX3" fmla="*/ 3693 w 7385"/>
                    <a:gd name="connsiteY3" fmla="*/ 0 h 7397"/>
                    <a:gd name="connsiteX4" fmla="*/ 7385 w 7385"/>
                    <a:gd name="connsiteY4" fmla="*/ 3693 h 739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7385" h="7397">
                      <a:moveTo>
                        <a:pt x="7385" y="3693"/>
                      </a:moveTo>
                      <a:cubicBezTo>
                        <a:pt x="7385" y="5748"/>
                        <a:pt x="5736" y="7397"/>
                        <a:pt x="3693" y="7397"/>
                      </a:cubicBezTo>
                      <a:cubicBezTo>
                        <a:pt x="1649" y="7397"/>
                        <a:pt x="0" y="5748"/>
                        <a:pt x="0" y="3693"/>
                      </a:cubicBezTo>
                      <a:cubicBezTo>
                        <a:pt x="0" y="1637"/>
                        <a:pt x="1661" y="0"/>
                        <a:pt x="3693" y="0"/>
                      </a:cubicBezTo>
                      <a:cubicBezTo>
                        <a:pt x="5724" y="0"/>
                        <a:pt x="7385" y="1649"/>
                        <a:pt x="7385" y="3693"/>
                      </a:cubicBezTo>
                      <a:close/>
                    </a:path>
                  </a:pathLst>
                </a:custGeom>
                <a:solidFill>
                  <a:srgbClr val="394553"/>
                </a:solidFill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456" name="Forma livre: Forma 455">
                <a:extLst>
                  <a:ext uri="{FF2B5EF4-FFF2-40B4-BE49-F238E27FC236}">
                    <a16:creationId xmlns:a16="http://schemas.microsoft.com/office/drawing/2014/main" id="{640AD20B-6065-85E2-4A21-7B5CBEAF62CF}"/>
                  </a:ext>
                </a:extLst>
              </p:cNvPr>
              <p:cNvSpPr/>
              <p:nvPr/>
            </p:nvSpPr>
            <p:spPr>
              <a:xfrm>
                <a:off x="5639654" y="2658599"/>
                <a:ext cx="270887" cy="153686"/>
              </a:xfrm>
              <a:custGeom>
                <a:avLst/>
                <a:gdLst>
                  <a:gd name="connsiteX0" fmla="*/ 0 w 270887"/>
                  <a:gd name="connsiteY0" fmla="*/ 69302 h 153686"/>
                  <a:gd name="connsiteX1" fmla="*/ 0 w 270887"/>
                  <a:gd name="connsiteY1" fmla="*/ 0 h 153686"/>
                  <a:gd name="connsiteX2" fmla="*/ 270887 w 270887"/>
                  <a:gd name="connsiteY2" fmla="*/ 0 h 153686"/>
                  <a:gd name="connsiteX3" fmla="*/ 270887 w 270887"/>
                  <a:gd name="connsiteY3" fmla="*/ 153687 h 153686"/>
                  <a:gd name="connsiteX4" fmla="*/ 0 w 270887"/>
                  <a:gd name="connsiteY4" fmla="*/ 153687 h 153686"/>
                  <a:gd name="connsiteX5" fmla="*/ 0 w 270887"/>
                  <a:gd name="connsiteY5" fmla="*/ 92260 h 1536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70887" h="153686">
                    <a:moveTo>
                      <a:pt x="0" y="69302"/>
                    </a:moveTo>
                    <a:lnTo>
                      <a:pt x="0" y="0"/>
                    </a:lnTo>
                    <a:lnTo>
                      <a:pt x="270887" y="0"/>
                    </a:lnTo>
                    <a:lnTo>
                      <a:pt x="270887" y="153687"/>
                    </a:lnTo>
                    <a:lnTo>
                      <a:pt x="0" y="153687"/>
                    </a:lnTo>
                    <a:lnTo>
                      <a:pt x="0" y="9226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57" name="Forma livre: Forma 456">
                <a:extLst>
                  <a:ext uri="{FF2B5EF4-FFF2-40B4-BE49-F238E27FC236}">
                    <a16:creationId xmlns:a16="http://schemas.microsoft.com/office/drawing/2014/main" id="{D95BD54C-9CD2-4FBA-DE69-7C94F84E55C1}"/>
                  </a:ext>
                </a:extLst>
              </p:cNvPr>
              <p:cNvSpPr/>
              <p:nvPr/>
            </p:nvSpPr>
            <p:spPr>
              <a:xfrm>
                <a:off x="5668121" y="2687185"/>
                <a:ext cx="213977" cy="96538"/>
              </a:xfrm>
              <a:custGeom>
                <a:avLst/>
                <a:gdLst>
                  <a:gd name="connsiteX0" fmla="*/ 213978 w 213977"/>
                  <a:gd name="connsiteY0" fmla="*/ 19396 h 96538"/>
                  <a:gd name="connsiteX1" fmla="*/ 194582 w 213977"/>
                  <a:gd name="connsiteY1" fmla="*/ 0 h 96538"/>
                  <a:gd name="connsiteX2" fmla="*/ 19396 w 213977"/>
                  <a:gd name="connsiteY2" fmla="*/ 0 h 96538"/>
                  <a:gd name="connsiteX3" fmla="*/ 0 w 213977"/>
                  <a:gd name="connsiteY3" fmla="*/ 19396 h 96538"/>
                  <a:gd name="connsiteX4" fmla="*/ 0 w 213977"/>
                  <a:gd name="connsiteY4" fmla="*/ 77130 h 96538"/>
                  <a:gd name="connsiteX5" fmla="*/ 19396 w 213977"/>
                  <a:gd name="connsiteY5" fmla="*/ 96538 h 96538"/>
                  <a:gd name="connsiteX6" fmla="*/ 194582 w 213977"/>
                  <a:gd name="connsiteY6" fmla="*/ 96538 h 96538"/>
                  <a:gd name="connsiteX7" fmla="*/ 213978 w 213977"/>
                  <a:gd name="connsiteY7" fmla="*/ 77130 h 96538"/>
                  <a:gd name="connsiteX8" fmla="*/ 213978 w 213977"/>
                  <a:gd name="connsiteY8" fmla="*/ 19396 h 965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13977" h="96538">
                    <a:moveTo>
                      <a:pt x="213978" y="19396"/>
                    </a:moveTo>
                    <a:cubicBezTo>
                      <a:pt x="203270" y="19396"/>
                      <a:pt x="194582" y="10708"/>
                      <a:pt x="194582" y="0"/>
                    </a:cubicBezTo>
                    <a:lnTo>
                      <a:pt x="19396" y="0"/>
                    </a:lnTo>
                    <a:cubicBezTo>
                      <a:pt x="19396" y="10708"/>
                      <a:pt x="10708" y="19396"/>
                      <a:pt x="0" y="19396"/>
                    </a:cubicBezTo>
                    <a:lnTo>
                      <a:pt x="0" y="77130"/>
                    </a:lnTo>
                    <a:cubicBezTo>
                      <a:pt x="10696" y="77130"/>
                      <a:pt x="19396" y="85818"/>
                      <a:pt x="19396" y="96538"/>
                    </a:cubicBezTo>
                    <a:lnTo>
                      <a:pt x="194582" y="96538"/>
                    </a:lnTo>
                    <a:cubicBezTo>
                      <a:pt x="194582" y="85830"/>
                      <a:pt x="203270" y="77130"/>
                      <a:pt x="213978" y="77130"/>
                    </a:cubicBezTo>
                    <a:lnTo>
                      <a:pt x="213978" y="19396"/>
                    </a:ln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58" name="Forma livre: Forma 457">
                <a:extLst>
                  <a:ext uri="{FF2B5EF4-FFF2-40B4-BE49-F238E27FC236}">
                    <a16:creationId xmlns:a16="http://schemas.microsoft.com/office/drawing/2014/main" id="{4F5FA7B7-FFA3-C93E-82D3-E8DA7F5E65C5}"/>
                  </a:ext>
                </a:extLst>
              </p:cNvPr>
              <p:cNvSpPr/>
              <p:nvPr/>
            </p:nvSpPr>
            <p:spPr>
              <a:xfrm>
                <a:off x="5751310" y="2709844"/>
                <a:ext cx="47599" cy="51209"/>
              </a:xfrm>
              <a:custGeom>
                <a:avLst/>
                <a:gdLst>
                  <a:gd name="connsiteX0" fmla="*/ 47600 w 47599"/>
                  <a:gd name="connsiteY0" fmla="*/ 25599 h 51209"/>
                  <a:gd name="connsiteX1" fmla="*/ 23794 w 47599"/>
                  <a:gd name="connsiteY1" fmla="*/ 51209 h 51209"/>
                  <a:gd name="connsiteX2" fmla="*/ 0 w 47599"/>
                  <a:gd name="connsiteY2" fmla="*/ 25599 h 51209"/>
                  <a:gd name="connsiteX3" fmla="*/ 23794 w 47599"/>
                  <a:gd name="connsiteY3" fmla="*/ 0 h 51209"/>
                  <a:gd name="connsiteX4" fmla="*/ 47600 w 47599"/>
                  <a:gd name="connsiteY4" fmla="*/ 25599 h 512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7599" h="51209">
                    <a:moveTo>
                      <a:pt x="47600" y="25599"/>
                    </a:moveTo>
                    <a:cubicBezTo>
                      <a:pt x="47600" y="39748"/>
                      <a:pt x="36940" y="51209"/>
                      <a:pt x="23794" y="51209"/>
                    </a:cubicBezTo>
                    <a:cubicBezTo>
                      <a:pt x="10648" y="51209"/>
                      <a:pt x="0" y="39736"/>
                      <a:pt x="0" y="25599"/>
                    </a:cubicBezTo>
                    <a:cubicBezTo>
                      <a:pt x="0" y="11461"/>
                      <a:pt x="10648" y="0"/>
                      <a:pt x="23794" y="0"/>
                    </a:cubicBezTo>
                    <a:cubicBezTo>
                      <a:pt x="36940" y="0"/>
                      <a:pt x="47600" y="11461"/>
                      <a:pt x="47600" y="25599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459" name="Gráfico 6">
            <a:extLst>
              <a:ext uri="{FF2B5EF4-FFF2-40B4-BE49-F238E27FC236}">
                <a16:creationId xmlns:a16="http://schemas.microsoft.com/office/drawing/2014/main" id="{80AE6071-A001-18F8-3A55-385F93ECA366}"/>
              </a:ext>
            </a:extLst>
          </p:cNvPr>
          <p:cNvGrpSpPr/>
          <p:nvPr/>
        </p:nvGrpSpPr>
        <p:grpSpPr>
          <a:xfrm>
            <a:off x="5563612" y="2074555"/>
            <a:ext cx="322516" cy="266736"/>
            <a:chOff x="5563612" y="2074555"/>
            <a:chExt cx="322516" cy="266736"/>
          </a:xfrm>
          <a:noFill/>
        </p:grpSpPr>
        <p:grpSp>
          <p:nvGrpSpPr>
            <p:cNvPr id="460" name="Gráfico 6">
              <a:extLst>
                <a:ext uri="{FF2B5EF4-FFF2-40B4-BE49-F238E27FC236}">
                  <a16:creationId xmlns:a16="http://schemas.microsoft.com/office/drawing/2014/main" id="{ACB85A2D-C387-C827-0698-6F71A7C18ABA}"/>
                </a:ext>
              </a:extLst>
            </p:cNvPr>
            <p:cNvGrpSpPr/>
            <p:nvPr/>
          </p:nvGrpSpPr>
          <p:grpSpPr>
            <a:xfrm>
              <a:off x="5563612" y="2074555"/>
              <a:ext cx="234031" cy="239409"/>
              <a:chOff x="5563612" y="2074555"/>
              <a:chExt cx="234031" cy="239409"/>
            </a:xfrm>
            <a:noFill/>
          </p:grpSpPr>
          <p:grpSp>
            <p:nvGrpSpPr>
              <p:cNvPr id="461" name="Gráfico 6">
                <a:extLst>
                  <a:ext uri="{FF2B5EF4-FFF2-40B4-BE49-F238E27FC236}">
                    <a16:creationId xmlns:a16="http://schemas.microsoft.com/office/drawing/2014/main" id="{308F1BFB-52BF-3713-52A4-7C645496A209}"/>
                  </a:ext>
                </a:extLst>
              </p:cNvPr>
              <p:cNvGrpSpPr/>
              <p:nvPr/>
            </p:nvGrpSpPr>
            <p:grpSpPr>
              <a:xfrm>
                <a:off x="5683334" y="2078140"/>
                <a:ext cx="1195" cy="232250"/>
                <a:chOff x="5683334" y="2078140"/>
                <a:chExt cx="1195" cy="232250"/>
              </a:xfrm>
            </p:grpSpPr>
            <p:sp>
              <p:nvSpPr>
                <p:cNvPr id="462" name="Forma livre: Forma 461">
                  <a:extLst>
                    <a:ext uri="{FF2B5EF4-FFF2-40B4-BE49-F238E27FC236}">
                      <a16:creationId xmlns:a16="http://schemas.microsoft.com/office/drawing/2014/main" id="{A7A93F31-9C4F-4069-BF2D-2E100CFBD5DF}"/>
                    </a:ext>
                  </a:extLst>
                </p:cNvPr>
                <p:cNvSpPr/>
                <p:nvPr/>
              </p:nvSpPr>
              <p:spPr>
                <a:xfrm>
                  <a:off x="5683334" y="2078140"/>
                  <a:ext cx="1195" cy="29637"/>
                </a:xfrm>
                <a:custGeom>
                  <a:avLst/>
                  <a:gdLst>
                    <a:gd name="connsiteX0" fmla="*/ 0 w 1195"/>
                    <a:gd name="connsiteY0" fmla="*/ 0 h 29637"/>
                    <a:gd name="connsiteX1" fmla="*/ 0 w 1195"/>
                    <a:gd name="connsiteY1" fmla="*/ 29638 h 2963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195" h="29637">
                      <a:moveTo>
                        <a:pt x="0" y="0"/>
                      </a:moveTo>
                      <a:lnTo>
                        <a:pt x="0" y="29638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463" name="Forma livre: Forma 462">
                  <a:extLst>
                    <a:ext uri="{FF2B5EF4-FFF2-40B4-BE49-F238E27FC236}">
                      <a16:creationId xmlns:a16="http://schemas.microsoft.com/office/drawing/2014/main" id="{4FD9F8E5-F308-3F7C-D324-3BF2FF6F41F9}"/>
                    </a:ext>
                  </a:extLst>
                </p:cNvPr>
                <p:cNvSpPr/>
                <p:nvPr/>
              </p:nvSpPr>
              <p:spPr>
                <a:xfrm>
                  <a:off x="5683334" y="2280753"/>
                  <a:ext cx="1195" cy="29637"/>
                </a:xfrm>
                <a:custGeom>
                  <a:avLst/>
                  <a:gdLst>
                    <a:gd name="connsiteX0" fmla="*/ 0 w 1195"/>
                    <a:gd name="connsiteY0" fmla="*/ 0 h 29637"/>
                    <a:gd name="connsiteX1" fmla="*/ 0 w 1195"/>
                    <a:gd name="connsiteY1" fmla="*/ 29638 h 2963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195" h="29637">
                      <a:moveTo>
                        <a:pt x="0" y="0"/>
                      </a:moveTo>
                      <a:lnTo>
                        <a:pt x="0" y="29638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464" name="Gráfico 6">
                <a:extLst>
                  <a:ext uri="{FF2B5EF4-FFF2-40B4-BE49-F238E27FC236}">
                    <a16:creationId xmlns:a16="http://schemas.microsoft.com/office/drawing/2014/main" id="{9681F6B7-DD7E-6A81-FBD8-F0D7E48C187F}"/>
                  </a:ext>
                </a:extLst>
              </p:cNvPr>
              <p:cNvGrpSpPr/>
              <p:nvPr/>
            </p:nvGrpSpPr>
            <p:grpSpPr>
              <a:xfrm>
                <a:off x="5563612" y="2074555"/>
                <a:ext cx="234031" cy="239409"/>
                <a:chOff x="5563612" y="2074555"/>
                <a:chExt cx="234031" cy="239409"/>
              </a:xfrm>
              <a:noFill/>
            </p:grpSpPr>
            <p:sp>
              <p:nvSpPr>
                <p:cNvPr id="465" name="Forma livre: Forma 464">
                  <a:extLst>
                    <a:ext uri="{FF2B5EF4-FFF2-40B4-BE49-F238E27FC236}">
                      <a16:creationId xmlns:a16="http://schemas.microsoft.com/office/drawing/2014/main" id="{74317719-66E9-451F-3652-2AD671958AB9}"/>
                    </a:ext>
                  </a:extLst>
                </p:cNvPr>
                <p:cNvSpPr/>
                <p:nvPr/>
              </p:nvSpPr>
              <p:spPr>
                <a:xfrm>
                  <a:off x="5566575" y="2194265"/>
                  <a:ext cx="29637" cy="1195"/>
                </a:xfrm>
                <a:custGeom>
                  <a:avLst/>
                  <a:gdLst>
                    <a:gd name="connsiteX0" fmla="*/ 29638 w 29637"/>
                    <a:gd name="connsiteY0" fmla="*/ 0 h 1195"/>
                    <a:gd name="connsiteX1" fmla="*/ 0 w 29637"/>
                    <a:gd name="connsiteY1" fmla="*/ 0 h 119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9637" h="1195">
                      <a:moveTo>
                        <a:pt x="29638" y="0"/>
                      </a:moveTo>
                      <a:lnTo>
                        <a:pt x="0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466" name="Forma livre: Forma 465">
                  <a:extLst>
                    <a:ext uri="{FF2B5EF4-FFF2-40B4-BE49-F238E27FC236}">
                      <a16:creationId xmlns:a16="http://schemas.microsoft.com/office/drawing/2014/main" id="{523FAE17-AC98-117C-EA53-410169E8C8AA}"/>
                    </a:ext>
                  </a:extLst>
                </p:cNvPr>
                <p:cNvSpPr/>
                <p:nvPr/>
              </p:nvSpPr>
              <p:spPr>
                <a:xfrm>
                  <a:off x="5563612" y="2074555"/>
                  <a:ext cx="234031" cy="239409"/>
                </a:xfrm>
                <a:custGeom>
                  <a:avLst/>
                  <a:gdLst>
                    <a:gd name="connsiteX0" fmla="*/ 149480 w 234031"/>
                    <a:gd name="connsiteY0" fmla="*/ 235680 h 239409"/>
                    <a:gd name="connsiteX1" fmla="*/ 119711 w 234031"/>
                    <a:gd name="connsiteY1" fmla="*/ 239409 h 239409"/>
                    <a:gd name="connsiteX2" fmla="*/ 0 w 234031"/>
                    <a:gd name="connsiteY2" fmla="*/ 119711 h 239409"/>
                    <a:gd name="connsiteX3" fmla="*/ 119711 w 234031"/>
                    <a:gd name="connsiteY3" fmla="*/ 0 h 239409"/>
                    <a:gd name="connsiteX4" fmla="*/ 234031 w 234031"/>
                    <a:gd name="connsiteY4" fmla="*/ 83966 h 23940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234031" h="239409">
                      <a:moveTo>
                        <a:pt x="149480" y="235680"/>
                      </a:moveTo>
                      <a:cubicBezTo>
                        <a:pt x="139967" y="238118"/>
                        <a:pt x="130000" y="239409"/>
                        <a:pt x="119711" y="239409"/>
                      </a:cubicBezTo>
                      <a:cubicBezTo>
                        <a:pt x="53599" y="239409"/>
                        <a:pt x="0" y="185810"/>
                        <a:pt x="0" y="119711"/>
                      </a:cubicBezTo>
                      <a:cubicBezTo>
                        <a:pt x="0" y="53611"/>
                        <a:pt x="53599" y="0"/>
                        <a:pt x="119711" y="0"/>
                      </a:cubicBezTo>
                      <a:cubicBezTo>
                        <a:pt x="173405" y="0"/>
                        <a:pt x="218830" y="35314"/>
                        <a:pt x="234031" y="83966"/>
                      </a:cubicBez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467" name="Forma livre: Forma 466">
                <a:extLst>
                  <a:ext uri="{FF2B5EF4-FFF2-40B4-BE49-F238E27FC236}">
                    <a16:creationId xmlns:a16="http://schemas.microsoft.com/office/drawing/2014/main" id="{30D5B518-9E94-BC1F-E3D4-31B09FC319C6}"/>
                  </a:ext>
                </a:extLst>
              </p:cNvPr>
              <p:cNvSpPr/>
              <p:nvPr/>
            </p:nvSpPr>
            <p:spPr>
              <a:xfrm>
                <a:off x="5643359" y="2143989"/>
                <a:ext cx="101999" cy="61749"/>
              </a:xfrm>
              <a:custGeom>
                <a:avLst/>
                <a:gdLst>
                  <a:gd name="connsiteX0" fmla="*/ 102000 w 101999"/>
                  <a:gd name="connsiteY0" fmla="*/ 0 h 61749"/>
                  <a:gd name="connsiteX1" fmla="*/ 40262 w 101999"/>
                  <a:gd name="connsiteY1" fmla="*/ 61749 h 61749"/>
                  <a:gd name="connsiteX2" fmla="*/ 0 w 101999"/>
                  <a:gd name="connsiteY2" fmla="*/ 23686 h 617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01999" h="61749">
                    <a:moveTo>
                      <a:pt x="102000" y="0"/>
                    </a:moveTo>
                    <a:lnTo>
                      <a:pt x="40262" y="61749"/>
                    </a:lnTo>
                    <a:lnTo>
                      <a:pt x="0" y="23686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468" name="Gráfico 6">
              <a:extLst>
                <a:ext uri="{FF2B5EF4-FFF2-40B4-BE49-F238E27FC236}">
                  <a16:creationId xmlns:a16="http://schemas.microsoft.com/office/drawing/2014/main" id="{B2C918C7-528D-0588-D151-1030E845DF45}"/>
                </a:ext>
              </a:extLst>
            </p:cNvPr>
            <p:cNvGrpSpPr/>
            <p:nvPr/>
          </p:nvGrpSpPr>
          <p:grpSpPr>
            <a:xfrm>
              <a:off x="5784581" y="2207172"/>
              <a:ext cx="42544" cy="107580"/>
              <a:chOff x="5784581" y="2207172"/>
              <a:chExt cx="42544" cy="107580"/>
            </a:xfrm>
            <a:noFill/>
          </p:grpSpPr>
          <p:sp>
            <p:nvSpPr>
              <p:cNvPr id="469" name="Forma livre: Forma 468">
                <a:extLst>
                  <a:ext uri="{FF2B5EF4-FFF2-40B4-BE49-F238E27FC236}">
                    <a16:creationId xmlns:a16="http://schemas.microsoft.com/office/drawing/2014/main" id="{066378AC-F9C5-C23B-E93F-612784EBF751}"/>
                  </a:ext>
                </a:extLst>
              </p:cNvPr>
              <p:cNvSpPr/>
              <p:nvPr/>
            </p:nvSpPr>
            <p:spPr>
              <a:xfrm>
                <a:off x="5784581" y="2220485"/>
                <a:ext cx="42544" cy="80918"/>
              </a:xfrm>
              <a:custGeom>
                <a:avLst/>
                <a:gdLst>
                  <a:gd name="connsiteX0" fmla="*/ 84 w 42544"/>
                  <a:gd name="connsiteY0" fmla="*/ 61188 h 80918"/>
                  <a:gd name="connsiteX1" fmla="*/ 21308 w 42544"/>
                  <a:gd name="connsiteY1" fmla="*/ 80919 h 80918"/>
                  <a:gd name="connsiteX2" fmla="*/ 42545 w 42544"/>
                  <a:gd name="connsiteY2" fmla="*/ 61188 h 80918"/>
                  <a:gd name="connsiteX3" fmla="*/ 21272 w 42544"/>
                  <a:gd name="connsiteY3" fmla="*/ 40465 h 80918"/>
                  <a:gd name="connsiteX4" fmla="*/ 0 w 42544"/>
                  <a:gd name="connsiteY4" fmla="*/ 19743 h 80918"/>
                  <a:gd name="connsiteX5" fmla="*/ 21236 w 42544"/>
                  <a:gd name="connsiteY5" fmla="*/ 0 h 80918"/>
                  <a:gd name="connsiteX6" fmla="*/ 42461 w 42544"/>
                  <a:gd name="connsiteY6" fmla="*/ 19743 h 809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2544" h="80918">
                    <a:moveTo>
                      <a:pt x="84" y="61188"/>
                    </a:moveTo>
                    <a:cubicBezTo>
                      <a:pt x="84" y="72087"/>
                      <a:pt x="9585" y="80919"/>
                      <a:pt x="21308" y="80919"/>
                    </a:cubicBezTo>
                    <a:cubicBezTo>
                      <a:pt x="33032" y="80919"/>
                      <a:pt x="42545" y="72099"/>
                      <a:pt x="42545" y="61188"/>
                    </a:cubicBezTo>
                    <a:cubicBezTo>
                      <a:pt x="42545" y="50277"/>
                      <a:pt x="31215" y="45508"/>
                      <a:pt x="21272" y="40465"/>
                    </a:cubicBezTo>
                    <a:cubicBezTo>
                      <a:pt x="11329" y="35422"/>
                      <a:pt x="0" y="30642"/>
                      <a:pt x="0" y="19743"/>
                    </a:cubicBezTo>
                    <a:cubicBezTo>
                      <a:pt x="0" y="8844"/>
                      <a:pt x="9501" y="0"/>
                      <a:pt x="21236" y="0"/>
                    </a:cubicBezTo>
                    <a:cubicBezTo>
                      <a:pt x="32972" y="0"/>
                      <a:pt x="42461" y="8832"/>
                      <a:pt x="42461" y="19743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70" name="Forma livre: Forma 469">
                <a:extLst>
                  <a:ext uri="{FF2B5EF4-FFF2-40B4-BE49-F238E27FC236}">
                    <a16:creationId xmlns:a16="http://schemas.microsoft.com/office/drawing/2014/main" id="{C0962125-3015-4AA5-3FA3-AD56388660F5}"/>
                  </a:ext>
                </a:extLst>
              </p:cNvPr>
              <p:cNvSpPr/>
              <p:nvPr/>
            </p:nvSpPr>
            <p:spPr>
              <a:xfrm>
                <a:off x="5805793" y="2207172"/>
                <a:ext cx="1195" cy="13241"/>
              </a:xfrm>
              <a:custGeom>
                <a:avLst/>
                <a:gdLst>
                  <a:gd name="connsiteX0" fmla="*/ 0 w 1195"/>
                  <a:gd name="connsiteY0" fmla="*/ 13241 h 13241"/>
                  <a:gd name="connsiteX1" fmla="*/ 0 w 1195"/>
                  <a:gd name="connsiteY1" fmla="*/ 0 h 132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5" h="13241">
                    <a:moveTo>
                      <a:pt x="0" y="13241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71" name="Forma livre: Forma 470">
                <a:extLst>
                  <a:ext uri="{FF2B5EF4-FFF2-40B4-BE49-F238E27FC236}">
                    <a16:creationId xmlns:a16="http://schemas.microsoft.com/office/drawing/2014/main" id="{F8AF4549-5CD2-2F39-0EF3-439063912C14}"/>
                  </a:ext>
                </a:extLst>
              </p:cNvPr>
              <p:cNvSpPr/>
              <p:nvPr/>
            </p:nvSpPr>
            <p:spPr>
              <a:xfrm>
                <a:off x="5805793" y="2301523"/>
                <a:ext cx="1195" cy="13229"/>
              </a:xfrm>
              <a:custGeom>
                <a:avLst/>
                <a:gdLst>
                  <a:gd name="connsiteX0" fmla="*/ 0 w 1195"/>
                  <a:gd name="connsiteY0" fmla="*/ 13229 h 13229"/>
                  <a:gd name="connsiteX1" fmla="*/ 0 w 1195"/>
                  <a:gd name="connsiteY1" fmla="*/ 0 h 132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5" h="13229">
                    <a:moveTo>
                      <a:pt x="0" y="13229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472" name="Forma livre: Forma 471">
              <a:extLst>
                <a:ext uri="{FF2B5EF4-FFF2-40B4-BE49-F238E27FC236}">
                  <a16:creationId xmlns:a16="http://schemas.microsoft.com/office/drawing/2014/main" id="{9863978C-AB1D-FDB0-A16D-0CC42D1508FF}"/>
                </a:ext>
              </a:extLst>
            </p:cNvPr>
            <p:cNvSpPr/>
            <p:nvPr/>
          </p:nvSpPr>
          <p:spPr>
            <a:xfrm>
              <a:off x="5725292" y="2180459"/>
              <a:ext cx="160836" cy="160831"/>
            </a:xfrm>
            <a:custGeom>
              <a:avLst/>
              <a:gdLst>
                <a:gd name="connsiteX0" fmla="*/ 28217 w 160836"/>
                <a:gd name="connsiteY0" fmla="*/ 19244 h 160831"/>
                <a:gd name="connsiteX1" fmla="*/ 58333 w 160836"/>
                <a:gd name="connsiteY1" fmla="*/ 3110 h 160831"/>
                <a:gd name="connsiteX2" fmla="*/ 157727 w 160836"/>
                <a:gd name="connsiteY2" fmla="*/ 58334 h 160831"/>
                <a:gd name="connsiteX3" fmla="*/ 102491 w 160836"/>
                <a:gd name="connsiteY3" fmla="*/ 157717 h 160831"/>
                <a:gd name="connsiteX4" fmla="*/ 3108 w 160836"/>
                <a:gd name="connsiteY4" fmla="*/ 102504 h 160831"/>
                <a:gd name="connsiteX5" fmla="*/ 10769 w 160836"/>
                <a:gd name="connsiteY5" fmla="*/ 40253 h 160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60836" h="160831">
                  <a:moveTo>
                    <a:pt x="28217" y="19244"/>
                  </a:moveTo>
                  <a:cubicBezTo>
                    <a:pt x="36726" y="11977"/>
                    <a:pt x="46872" y="6385"/>
                    <a:pt x="58333" y="3110"/>
                  </a:cubicBezTo>
                  <a:cubicBezTo>
                    <a:pt x="101033" y="-9080"/>
                    <a:pt x="145525" y="15646"/>
                    <a:pt x="157727" y="58334"/>
                  </a:cubicBezTo>
                  <a:cubicBezTo>
                    <a:pt x="169917" y="101034"/>
                    <a:pt x="145179" y="145539"/>
                    <a:pt x="102491" y="157717"/>
                  </a:cubicBezTo>
                  <a:cubicBezTo>
                    <a:pt x="59791" y="169918"/>
                    <a:pt x="15298" y="145192"/>
                    <a:pt x="3108" y="102504"/>
                  </a:cubicBezTo>
                  <a:cubicBezTo>
                    <a:pt x="-3106" y="80718"/>
                    <a:pt x="276" y="58454"/>
                    <a:pt x="10769" y="40253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473" name="Gráfico 6">
            <a:extLst>
              <a:ext uri="{FF2B5EF4-FFF2-40B4-BE49-F238E27FC236}">
                <a16:creationId xmlns:a16="http://schemas.microsoft.com/office/drawing/2014/main" id="{E30637F7-2DAC-0754-AE7D-CCB88A77875A}"/>
              </a:ext>
            </a:extLst>
          </p:cNvPr>
          <p:cNvGrpSpPr/>
          <p:nvPr/>
        </p:nvGrpSpPr>
        <p:grpSpPr>
          <a:xfrm>
            <a:off x="4923459" y="1027987"/>
            <a:ext cx="360189" cy="251778"/>
            <a:chOff x="4923459" y="1027987"/>
            <a:chExt cx="360189" cy="251778"/>
          </a:xfrm>
          <a:noFill/>
        </p:grpSpPr>
        <p:grpSp>
          <p:nvGrpSpPr>
            <p:cNvPr id="474" name="Gráfico 6">
              <a:extLst>
                <a:ext uri="{FF2B5EF4-FFF2-40B4-BE49-F238E27FC236}">
                  <a16:creationId xmlns:a16="http://schemas.microsoft.com/office/drawing/2014/main" id="{9BB83D01-56A1-75CC-8064-A09362BEF6AF}"/>
                </a:ext>
              </a:extLst>
            </p:cNvPr>
            <p:cNvGrpSpPr/>
            <p:nvPr/>
          </p:nvGrpSpPr>
          <p:grpSpPr>
            <a:xfrm>
              <a:off x="5127888" y="1077242"/>
              <a:ext cx="59753" cy="153268"/>
              <a:chOff x="5127888" y="1077242"/>
              <a:chExt cx="59753" cy="153268"/>
            </a:xfrm>
            <a:noFill/>
          </p:grpSpPr>
          <p:sp>
            <p:nvSpPr>
              <p:cNvPr id="475" name="Forma livre: Forma 474">
                <a:extLst>
                  <a:ext uri="{FF2B5EF4-FFF2-40B4-BE49-F238E27FC236}">
                    <a16:creationId xmlns:a16="http://schemas.microsoft.com/office/drawing/2014/main" id="{206B50CF-7FFE-8ACE-0359-24178ED1593A}"/>
                  </a:ext>
                </a:extLst>
              </p:cNvPr>
              <p:cNvSpPr/>
              <p:nvPr/>
            </p:nvSpPr>
            <p:spPr>
              <a:xfrm>
                <a:off x="5127888" y="1097044"/>
                <a:ext cx="59753" cy="113663"/>
              </a:xfrm>
              <a:custGeom>
                <a:avLst/>
                <a:gdLst>
                  <a:gd name="connsiteX0" fmla="*/ 119 w 59753"/>
                  <a:gd name="connsiteY0" fmla="*/ 85938 h 113663"/>
                  <a:gd name="connsiteX1" fmla="*/ 29925 w 59753"/>
                  <a:gd name="connsiteY1" fmla="*/ 113663 h 113663"/>
                  <a:gd name="connsiteX2" fmla="*/ 59754 w 59753"/>
                  <a:gd name="connsiteY2" fmla="*/ 85938 h 113663"/>
                  <a:gd name="connsiteX3" fmla="*/ 29877 w 59753"/>
                  <a:gd name="connsiteY3" fmla="*/ 56826 h 113663"/>
                  <a:gd name="connsiteX4" fmla="*/ 0 w 59753"/>
                  <a:gd name="connsiteY4" fmla="*/ 27738 h 113663"/>
                  <a:gd name="connsiteX5" fmla="*/ 29817 w 59753"/>
                  <a:gd name="connsiteY5" fmla="*/ 0 h 113663"/>
                  <a:gd name="connsiteX6" fmla="*/ 59634 w 59753"/>
                  <a:gd name="connsiteY6" fmla="*/ 27738 h 1136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59753" h="113663">
                    <a:moveTo>
                      <a:pt x="119" y="85938"/>
                    </a:moveTo>
                    <a:cubicBezTo>
                      <a:pt x="119" y="101259"/>
                      <a:pt x="13468" y="113663"/>
                      <a:pt x="29925" y="113663"/>
                    </a:cubicBezTo>
                    <a:cubicBezTo>
                      <a:pt x="46381" y="113663"/>
                      <a:pt x="59754" y="101259"/>
                      <a:pt x="59754" y="85938"/>
                    </a:cubicBezTo>
                    <a:cubicBezTo>
                      <a:pt x="59754" y="70617"/>
                      <a:pt x="43835" y="63924"/>
                      <a:pt x="29877" y="56826"/>
                    </a:cubicBezTo>
                    <a:cubicBezTo>
                      <a:pt x="15906" y="49739"/>
                      <a:pt x="0" y="43035"/>
                      <a:pt x="0" y="27738"/>
                    </a:cubicBezTo>
                    <a:cubicBezTo>
                      <a:pt x="0" y="12441"/>
                      <a:pt x="13337" y="0"/>
                      <a:pt x="29817" y="0"/>
                    </a:cubicBezTo>
                    <a:cubicBezTo>
                      <a:pt x="46297" y="0"/>
                      <a:pt x="59634" y="12405"/>
                      <a:pt x="59634" y="27738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76" name="Forma livre: Forma 475">
                <a:extLst>
                  <a:ext uri="{FF2B5EF4-FFF2-40B4-BE49-F238E27FC236}">
                    <a16:creationId xmlns:a16="http://schemas.microsoft.com/office/drawing/2014/main" id="{6DB3B90A-7F1F-1F06-AA58-01E2BB675447}"/>
                  </a:ext>
                </a:extLst>
              </p:cNvPr>
              <p:cNvSpPr/>
              <p:nvPr/>
            </p:nvSpPr>
            <p:spPr>
              <a:xfrm>
                <a:off x="5157693" y="1077242"/>
                <a:ext cx="1195" cy="19670"/>
              </a:xfrm>
              <a:custGeom>
                <a:avLst/>
                <a:gdLst>
                  <a:gd name="connsiteX0" fmla="*/ 0 w 1195"/>
                  <a:gd name="connsiteY0" fmla="*/ 19671 h 19670"/>
                  <a:gd name="connsiteX1" fmla="*/ 0 w 1195"/>
                  <a:gd name="connsiteY1" fmla="*/ 0 h 196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5" h="19670">
                    <a:moveTo>
                      <a:pt x="0" y="19671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77" name="Forma livre: Forma 476">
                <a:extLst>
                  <a:ext uri="{FF2B5EF4-FFF2-40B4-BE49-F238E27FC236}">
                    <a16:creationId xmlns:a16="http://schemas.microsoft.com/office/drawing/2014/main" id="{C5302922-AC51-4BFF-446B-4018BD6DCC01}"/>
                  </a:ext>
                </a:extLst>
              </p:cNvPr>
              <p:cNvSpPr/>
              <p:nvPr/>
            </p:nvSpPr>
            <p:spPr>
              <a:xfrm>
                <a:off x="5157693" y="1210839"/>
                <a:ext cx="1195" cy="19670"/>
              </a:xfrm>
              <a:custGeom>
                <a:avLst/>
                <a:gdLst>
                  <a:gd name="connsiteX0" fmla="*/ 0 w 1195"/>
                  <a:gd name="connsiteY0" fmla="*/ 19671 h 19670"/>
                  <a:gd name="connsiteX1" fmla="*/ 0 w 1195"/>
                  <a:gd name="connsiteY1" fmla="*/ 0 h 196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5" h="19670">
                    <a:moveTo>
                      <a:pt x="0" y="19671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478" name="Gráfico 6">
              <a:extLst>
                <a:ext uri="{FF2B5EF4-FFF2-40B4-BE49-F238E27FC236}">
                  <a16:creationId xmlns:a16="http://schemas.microsoft.com/office/drawing/2014/main" id="{03ADE100-673B-81C1-374E-71F28C715012}"/>
                </a:ext>
              </a:extLst>
            </p:cNvPr>
            <p:cNvGrpSpPr/>
            <p:nvPr/>
          </p:nvGrpSpPr>
          <p:grpSpPr>
            <a:xfrm>
              <a:off x="4923459" y="1085476"/>
              <a:ext cx="149623" cy="135712"/>
              <a:chOff x="4923459" y="1085476"/>
              <a:chExt cx="149623" cy="135712"/>
            </a:xfrm>
          </p:grpSpPr>
          <p:sp>
            <p:nvSpPr>
              <p:cNvPr id="479" name="Forma livre: Forma 478">
                <a:extLst>
                  <a:ext uri="{FF2B5EF4-FFF2-40B4-BE49-F238E27FC236}">
                    <a16:creationId xmlns:a16="http://schemas.microsoft.com/office/drawing/2014/main" id="{CD99C21A-D436-6069-3090-353F0989C197}"/>
                  </a:ext>
                </a:extLst>
              </p:cNvPr>
              <p:cNvSpPr/>
              <p:nvPr/>
            </p:nvSpPr>
            <p:spPr>
              <a:xfrm>
                <a:off x="4981324" y="1186759"/>
                <a:ext cx="91757" cy="1195"/>
              </a:xfrm>
              <a:custGeom>
                <a:avLst/>
                <a:gdLst>
                  <a:gd name="connsiteX0" fmla="*/ 91758 w 91757"/>
                  <a:gd name="connsiteY0" fmla="*/ 0 h 1195"/>
                  <a:gd name="connsiteX1" fmla="*/ 0 w 91757"/>
                  <a:gd name="connsiteY1" fmla="*/ 0 h 11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1757" h="1195">
                    <a:moveTo>
                      <a:pt x="91758" y="0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80" name="Forma livre: Forma 479">
                <a:extLst>
                  <a:ext uri="{FF2B5EF4-FFF2-40B4-BE49-F238E27FC236}">
                    <a16:creationId xmlns:a16="http://schemas.microsoft.com/office/drawing/2014/main" id="{358E5129-4299-1C38-F5F9-2DB179DD87B1}"/>
                  </a:ext>
                </a:extLst>
              </p:cNvPr>
              <p:cNvSpPr/>
              <p:nvPr/>
            </p:nvSpPr>
            <p:spPr>
              <a:xfrm>
                <a:off x="4991769" y="1221189"/>
                <a:ext cx="32051" cy="1195"/>
              </a:xfrm>
              <a:custGeom>
                <a:avLst/>
                <a:gdLst>
                  <a:gd name="connsiteX0" fmla="*/ 32052 w 32051"/>
                  <a:gd name="connsiteY0" fmla="*/ 0 h 1195"/>
                  <a:gd name="connsiteX1" fmla="*/ 0 w 32051"/>
                  <a:gd name="connsiteY1" fmla="*/ 0 h 11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2051" h="1195">
                    <a:moveTo>
                      <a:pt x="32052" y="0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81" name="Forma livre: Forma 480">
                <a:extLst>
                  <a:ext uri="{FF2B5EF4-FFF2-40B4-BE49-F238E27FC236}">
                    <a16:creationId xmlns:a16="http://schemas.microsoft.com/office/drawing/2014/main" id="{BC1D7A07-9C33-E894-208D-8C73436156C4}"/>
                  </a:ext>
                </a:extLst>
              </p:cNvPr>
              <p:cNvSpPr/>
              <p:nvPr/>
            </p:nvSpPr>
            <p:spPr>
              <a:xfrm>
                <a:off x="4959896" y="1085476"/>
                <a:ext cx="59550" cy="1195"/>
              </a:xfrm>
              <a:custGeom>
                <a:avLst/>
                <a:gdLst>
                  <a:gd name="connsiteX0" fmla="*/ 59551 w 59550"/>
                  <a:gd name="connsiteY0" fmla="*/ 0 h 1195"/>
                  <a:gd name="connsiteX1" fmla="*/ 0 w 59550"/>
                  <a:gd name="connsiteY1" fmla="*/ 0 h 11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9550" h="1195">
                    <a:moveTo>
                      <a:pt x="59551" y="0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82" name="Forma livre: Forma 481">
                <a:extLst>
                  <a:ext uri="{FF2B5EF4-FFF2-40B4-BE49-F238E27FC236}">
                    <a16:creationId xmlns:a16="http://schemas.microsoft.com/office/drawing/2014/main" id="{9784589E-52D7-2FD9-354F-C080197586D0}"/>
                  </a:ext>
                </a:extLst>
              </p:cNvPr>
              <p:cNvSpPr/>
              <p:nvPr/>
            </p:nvSpPr>
            <p:spPr>
              <a:xfrm>
                <a:off x="5007436" y="1135203"/>
                <a:ext cx="59048" cy="1195"/>
              </a:xfrm>
              <a:custGeom>
                <a:avLst/>
                <a:gdLst>
                  <a:gd name="connsiteX0" fmla="*/ 59049 w 59048"/>
                  <a:gd name="connsiteY0" fmla="*/ 0 h 1195"/>
                  <a:gd name="connsiteX1" fmla="*/ 0 w 59048"/>
                  <a:gd name="connsiteY1" fmla="*/ 0 h 11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9048" h="1195">
                    <a:moveTo>
                      <a:pt x="59049" y="0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83" name="Forma livre: Forma 482">
                <a:extLst>
                  <a:ext uri="{FF2B5EF4-FFF2-40B4-BE49-F238E27FC236}">
                    <a16:creationId xmlns:a16="http://schemas.microsoft.com/office/drawing/2014/main" id="{390DB1FC-9604-F575-5E2E-15F71395474F}"/>
                  </a:ext>
                </a:extLst>
              </p:cNvPr>
              <p:cNvSpPr/>
              <p:nvPr/>
            </p:nvSpPr>
            <p:spPr>
              <a:xfrm>
                <a:off x="4945281" y="1221189"/>
                <a:ext cx="22586" cy="1195"/>
              </a:xfrm>
              <a:custGeom>
                <a:avLst/>
                <a:gdLst>
                  <a:gd name="connsiteX0" fmla="*/ 22587 w 22586"/>
                  <a:gd name="connsiteY0" fmla="*/ 0 h 1195"/>
                  <a:gd name="connsiteX1" fmla="*/ 0 w 22586"/>
                  <a:gd name="connsiteY1" fmla="*/ 0 h 11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2586" h="1195">
                    <a:moveTo>
                      <a:pt x="22587" y="0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84" name="Forma livre: Forma 483">
                <a:extLst>
                  <a:ext uri="{FF2B5EF4-FFF2-40B4-BE49-F238E27FC236}">
                    <a16:creationId xmlns:a16="http://schemas.microsoft.com/office/drawing/2014/main" id="{83B04BF5-D0FC-4333-9219-5799E87FE9C8}"/>
                  </a:ext>
                </a:extLst>
              </p:cNvPr>
              <p:cNvSpPr/>
              <p:nvPr/>
            </p:nvSpPr>
            <p:spPr>
              <a:xfrm>
                <a:off x="4960948" y="1135203"/>
                <a:ext cx="22586" cy="1195"/>
              </a:xfrm>
              <a:custGeom>
                <a:avLst/>
                <a:gdLst>
                  <a:gd name="connsiteX0" fmla="*/ 22587 w 22586"/>
                  <a:gd name="connsiteY0" fmla="*/ 0 h 1195"/>
                  <a:gd name="connsiteX1" fmla="*/ 0 w 22586"/>
                  <a:gd name="connsiteY1" fmla="*/ 0 h 11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2586" h="1195">
                    <a:moveTo>
                      <a:pt x="22587" y="0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85" name="Forma livre: Forma 484">
                <a:extLst>
                  <a:ext uri="{FF2B5EF4-FFF2-40B4-BE49-F238E27FC236}">
                    <a16:creationId xmlns:a16="http://schemas.microsoft.com/office/drawing/2014/main" id="{60C86ADF-C578-D674-7944-0D8856D52262}"/>
                  </a:ext>
                </a:extLst>
              </p:cNvPr>
              <p:cNvSpPr/>
              <p:nvPr/>
            </p:nvSpPr>
            <p:spPr>
              <a:xfrm>
                <a:off x="4923459" y="1135203"/>
                <a:ext cx="13587" cy="1195"/>
              </a:xfrm>
              <a:custGeom>
                <a:avLst/>
                <a:gdLst>
                  <a:gd name="connsiteX0" fmla="*/ 13588 w 13587"/>
                  <a:gd name="connsiteY0" fmla="*/ 0 h 1195"/>
                  <a:gd name="connsiteX1" fmla="*/ 0 w 13587"/>
                  <a:gd name="connsiteY1" fmla="*/ 0 h 11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3587" h="1195">
                    <a:moveTo>
                      <a:pt x="13588" y="0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486" name="Gráfico 6">
              <a:extLst>
                <a:ext uri="{FF2B5EF4-FFF2-40B4-BE49-F238E27FC236}">
                  <a16:creationId xmlns:a16="http://schemas.microsoft.com/office/drawing/2014/main" id="{966F3F68-C6AA-C3B0-8015-080A44E8A29F}"/>
                </a:ext>
              </a:extLst>
            </p:cNvPr>
            <p:cNvGrpSpPr/>
            <p:nvPr/>
          </p:nvGrpSpPr>
          <p:grpSpPr>
            <a:xfrm>
              <a:off x="5031882" y="1027987"/>
              <a:ext cx="251765" cy="251778"/>
              <a:chOff x="5031882" y="1027987"/>
              <a:chExt cx="251765" cy="251778"/>
            </a:xfrm>
            <a:noFill/>
          </p:grpSpPr>
          <p:sp>
            <p:nvSpPr>
              <p:cNvPr id="487" name="Forma livre: Forma 486">
                <a:extLst>
                  <a:ext uri="{FF2B5EF4-FFF2-40B4-BE49-F238E27FC236}">
                    <a16:creationId xmlns:a16="http://schemas.microsoft.com/office/drawing/2014/main" id="{BE85A6CC-F8C6-8450-C7F8-3F53C48A4AC5}"/>
                  </a:ext>
                </a:extLst>
              </p:cNvPr>
              <p:cNvSpPr/>
              <p:nvPr/>
            </p:nvSpPr>
            <p:spPr>
              <a:xfrm>
                <a:off x="5036608" y="1027987"/>
                <a:ext cx="247039" cy="251778"/>
              </a:xfrm>
              <a:custGeom>
                <a:avLst/>
                <a:gdLst>
                  <a:gd name="connsiteX0" fmla="*/ 1518 w 247039"/>
                  <a:gd name="connsiteY0" fmla="*/ 86661 h 251778"/>
                  <a:gd name="connsiteX1" fmla="*/ 32147 w 247039"/>
                  <a:gd name="connsiteY1" fmla="*/ 36874 h 251778"/>
                  <a:gd name="connsiteX2" fmla="*/ 210166 w 247039"/>
                  <a:gd name="connsiteY2" fmla="*/ 36874 h 251778"/>
                  <a:gd name="connsiteX3" fmla="*/ 210166 w 247039"/>
                  <a:gd name="connsiteY3" fmla="*/ 214904 h 251778"/>
                  <a:gd name="connsiteX4" fmla="*/ 32147 w 247039"/>
                  <a:gd name="connsiteY4" fmla="*/ 214904 h 251778"/>
                  <a:gd name="connsiteX5" fmla="*/ 0 w 247039"/>
                  <a:gd name="connsiteY5" fmla="*/ 160122 h 2517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47039" h="251778">
                    <a:moveTo>
                      <a:pt x="1518" y="86661"/>
                    </a:moveTo>
                    <a:cubicBezTo>
                      <a:pt x="7469" y="68460"/>
                      <a:pt x="17675" y="51346"/>
                      <a:pt x="32147" y="36874"/>
                    </a:cubicBezTo>
                    <a:cubicBezTo>
                      <a:pt x="81301" y="-12291"/>
                      <a:pt x="161024" y="-12291"/>
                      <a:pt x="210166" y="36874"/>
                    </a:cubicBezTo>
                    <a:cubicBezTo>
                      <a:pt x="259331" y="86039"/>
                      <a:pt x="259331" y="165751"/>
                      <a:pt x="210166" y="214904"/>
                    </a:cubicBezTo>
                    <a:cubicBezTo>
                      <a:pt x="161000" y="264069"/>
                      <a:pt x="81301" y="264069"/>
                      <a:pt x="32147" y="214904"/>
                    </a:cubicBezTo>
                    <a:cubicBezTo>
                      <a:pt x="16361" y="199117"/>
                      <a:pt x="5641" y="180175"/>
                      <a:pt x="0" y="160122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88" name="Forma livre: Forma 487">
                <a:extLst>
                  <a:ext uri="{FF2B5EF4-FFF2-40B4-BE49-F238E27FC236}">
                    <a16:creationId xmlns:a16="http://schemas.microsoft.com/office/drawing/2014/main" id="{A3C1608F-2ECF-59C6-7FFB-17343E4B21DC}"/>
                  </a:ext>
                </a:extLst>
              </p:cNvPr>
              <p:cNvSpPr/>
              <p:nvPr/>
            </p:nvSpPr>
            <p:spPr>
              <a:xfrm>
                <a:off x="5031882" y="1136135"/>
                <a:ext cx="1248" cy="30689"/>
              </a:xfrm>
              <a:custGeom>
                <a:avLst/>
                <a:gdLst>
                  <a:gd name="connsiteX0" fmla="*/ 663 w 1248"/>
                  <a:gd name="connsiteY0" fmla="*/ 30689 h 30689"/>
                  <a:gd name="connsiteX1" fmla="*/ 1248 w 1248"/>
                  <a:gd name="connsiteY1" fmla="*/ 0 h 306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48" h="30689">
                    <a:moveTo>
                      <a:pt x="663" y="30689"/>
                    </a:moveTo>
                    <a:cubicBezTo>
                      <a:pt x="-389" y="20484"/>
                      <a:pt x="-186" y="10170"/>
                      <a:pt x="1248" y="0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489" name="Gráfico 6">
            <a:extLst>
              <a:ext uri="{FF2B5EF4-FFF2-40B4-BE49-F238E27FC236}">
                <a16:creationId xmlns:a16="http://schemas.microsoft.com/office/drawing/2014/main" id="{554360A2-87F6-BAE1-43E5-4EF98D4D005D}"/>
              </a:ext>
            </a:extLst>
          </p:cNvPr>
          <p:cNvGrpSpPr/>
          <p:nvPr/>
        </p:nvGrpSpPr>
        <p:grpSpPr>
          <a:xfrm>
            <a:off x="4989137" y="1505413"/>
            <a:ext cx="228861" cy="350963"/>
            <a:chOff x="4989137" y="1505413"/>
            <a:chExt cx="228861" cy="350963"/>
          </a:xfrm>
          <a:noFill/>
        </p:grpSpPr>
        <p:grpSp>
          <p:nvGrpSpPr>
            <p:cNvPr id="490" name="Gráfico 6">
              <a:extLst>
                <a:ext uri="{FF2B5EF4-FFF2-40B4-BE49-F238E27FC236}">
                  <a16:creationId xmlns:a16="http://schemas.microsoft.com/office/drawing/2014/main" id="{28BD4E49-EA7C-748B-5591-EAAD6E4DA53A}"/>
                </a:ext>
              </a:extLst>
            </p:cNvPr>
            <p:cNvGrpSpPr/>
            <p:nvPr/>
          </p:nvGrpSpPr>
          <p:grpSpPr>
            <a:xfrm>
              <a:off x="4989137" y="1505413"/>
              <a:ext cx="228861" cy="350963"/>
              <a:chOff x="4989137" y="1505413"/>
              <a:chExt cx="228861" cy="350963"/>
            </a:xfrm>
            <a:noFill/>
          </p:grpSpPr>
          <p:grpSp>
            <p:nvGrpSpPr>
              <p:cNvPr id="491" name="Gráfico 6">
                <a:extLst>
                  <a:ext uri="{FF2B5EF4-FFF2-40B4-BE49-F238E27FC236}">
                    <a16:creationId xmlns:a16="http://schemas.microsoft.com/office/drawing/2014/main" id="{25F38D5D-ED2E-24FC-53A9-78FC75AE9318}"/>
                  </a:ext>
                </a:extLst>
              </p:cNvPr>
              <p:cNvGrpSpPr/>
              <p:nvPr/>
            </p:nvGrpSpPr>
            <p:grpSpPr>
              <a:xfrm>
                <a:off x="5097474" y="1702588"/>
                <a:ext cx="120523" cy="153788"/>
                <a:chOff x="5097474" y="1702588"/>
                <a:chExt cx="120523" cy="153788"/>
              </a:xfrm>
              <a:noFill/>
            </p:grpSpPr>
            <p:sp>
              <p:nvSpPr>
                <p:cNvPr id="492" name="Forma livre: Forma 491">
                  <a:extLst>
                    <a:ext uri="{FF2B5EF4-FFF2-40B4-BE49-F238E27FC236}">
                      <a16:creationId xmlns:a16="http://schemas.microsoft.com/office/drawing/2014/main" id="{7A1E9BF4-88E4-A634-FB04-9A748CAB1AA4}"/>
                    </a:ext>
                  </a:extLst>
                </p:cNvPr>
                <p:cNvSpPr/>
                <p:nvPr/>
              </p:nvSpPr>
              <p:spPr>
                <a:xfrm>
                  <a:off x="5184307" y="1702588"/>
                  <a:ext cx="1195" cy="18380"/>
                </a:xfrm>
                <a:custGeom>
                  <a:avLst/>
                  <a:gdLst>
                    <a:gd name="connsiteX0" fmla="*/ 0 w 1195"/>
                    <a:gd name="connsiteY0" fmla="*/ 18380 h 18380"/>
                    <a:gd name="connsiteX1" fmla="*/ 0 w 1195"/>
                    <a:gd name="connsiteY1" fmla="*/ 0 h 183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195" h="18380">
                      <a:moveTo>
                        <a:pt x="0" y="18380"/>
                      </a:moveTo>
                      <a:lnTo>
                        <a:pt x="0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493" name="Forma livre: Forma 492">
                  <a:extLst>
                    <a:ext uri="{FF2B5EF4-FFF2-40B4-BE49-F238E27FC236}">
                      <a16:creationId xmlns:a16="http://schemas.microsoft.com/office/drawing/2014/main" id="{96EB3578-0D86-6226-2E81-3D012F9EB2B4}"/>
                    </a:ext>
                  </a:extLst>
                </p:cNvPr>
                <p:cNvSpPr/>
                <p:nvPr/>
              </p:nvSpPr>
              <p:spPr>
                <a:xfrm>
                  <a:off x="5097474" y="1744978"/>
                  <a:ext cx="120523" cy="111398"/>
                </a:xfrm>
                <a:custGeom>
                  <a:avLst/>
                  <a:gdLst>
                    <a:gd name="connsiteX0" fmla="*/ 31669 w 120523"/>
                    <a:gd name="connsiteY0" fmla="*/ 5724 h 111398"/>
                    <a:gd name="connsiteX1" fmla="*/ 31669 w 120523"/>
                    <a:gd name="connsiteY1" fmla="*/ 43967 h 111398"/>
                    <a:gd name="connsiteX2" fmla="*/ 5986 w 120523"/>
                    <a:gd name="connsiteY2" fmla="*/ 43967 h 111398"/>
                    <a:gd name="connsiteX3" fmla="*/ 728 w 120523"/>
                    <a:gd name="connsiteY3" fmla="*/ 47887 h 111398"/>
                    <a:gd name="connsiteX4" fmla="*/ 1768 w 120523"/>
                    <a:gd name="connsiteY4" fmla="*/ 56814 h 111398"/>
                    <a:gd name="connsiteX5" fmla="*/ 53694 w 120523"/>
                    <a:gd name="connsiteY5" fmla="*/ 108692 h 111398"/>
                    <a:gd name="connsiteX6" fmla="*/ 66816 w 120523"/>
                    <a:gd name="connsiteY6" fmla="*/ 108692 h 111398"/>
                    <a:gd name="connsiteX7" fmla="*/ 118503 w 120523"/>
                    <a:gd name="connsiteY7" fmla="*/ 56814 h 111398"/>
                    <a:gd name="connsiteX8" fmla="*/ 119889 w 120523"/>
                    <a:gd name="connsiteY8" fmla="*/ 47970 h 111398"/>
                    <a:gd name="connsiteX9" fmla="*/ 113567 w 120523"/>
                    <a:gd name="connsiteY9" fmla="*/ 43955 h 111398"/>
                    <a:gd name="connsiteX10" fmla="*/ 86845 w 120523"/>
                    <a:gd name="connsiteY10" fmla="*/ 43955 h 111398"/>
                    <a:gd name="connsiteX11" fmla="*/ 86845 w 120523"/>
                    <a:gd name="connsiteY11" fmla="*/ 0 h 1113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</a:cxnLst>
                  <a:rect l="l" t="t" r="r" b="b"/>
                  <a:pathLst>
                    <a:path w="120523" h="111398">
                      <a:moveTo>
                        <a:pt x="31669" y="5724"/>
                      </a:moveTo>
                      <a:lnTo>
                        <a:pt x="31669" y="43967"/>
                      </a:lnTo>
                      <a:lnTo>
                        <a:pt x="5986" y="43967"/>
                      </a:lnTo>
                      <a:cubicBezTo>
                        <a:pt x="2831" y="43967"/>
                        <a:pt x="1338" y="46429"/>
                        <a:pt x="728" y="47887"/>
                      </a:cubicBezTo>
                      <a:cubicBezTo>
                        <a:pt x="-551" y="51006"/>
                        <a:pt x="-108" y="54937"/>
                        <a:pt x="1768" y="56814"/>
                      </a:cubicBezTo>
                      <a:lnTo>
                        <a:pt x="53694" y="108692"/>
                      </a:lnTo>
                      <a:cubicBezTo>
                        <a:pt x="57327" y="112301"/>
                        <a:pt x="63218" y="112301"/>
                        <a:pt x="66816" y="108692"/>
                      </a:cubicBezTo>
                      <a:lnTo>
                        <a:pt x="118503" y="56814"/>
                      </a:lnTo>
                      <a:cubicBezTo>
                        <a:pt x="120510" y="54806"/>
                        <a:pt x="121120" y="50946"/>
                        <a:pt x="119889" y="47970"/>
                      </a:cubicBezTo>
                      <a:cubicBezTo>
                        <a:pt x="118801" y="45389"/>
                        <a:pt x="116555" y="43955"/>
                        <a:pt x="113567" y="43955"/>
                      </a:cubicBezTo>
                      <a:lnTo>
                        <a:pt x="86845" y="43955"/>
                      </a:lnTo>
                      <a:cubicBezTo>
                        <a:pt x="86845" y="43955"/>
                        <a:pt x="86845" y="0"/>
                        <a:pt x="86845" y="0"/>
                      </a:cubicBez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494" name="Gráfico 6">
                <a:extLst>
                  <a:ext uri="{FF2B5EF4-FFF2-40B4-BE49-F238E27FC236}">
                    <a16:creationId xmlns:a16="http://schemas.microsoft.com/office/drawing/2014/main" id="{8EAB08FF-7793-BDF4-4FD3-5123AA3BAE36}"/>
                  </a:ext>
                </a:extLst>
              </p:cNvPr>
              <p:cNvGrpSpPr/>
              <p:nvPr/>
            </p:nvGrpSpPr>
            <p:grpSpPr>
              <a:xfrm>
                <a:off x="4989137" y="1563219"/>
                <a:ext cx="161917" cy="208080"/>
                <a:chOff x="4989137" y="1563219"/>
                <a:chExt cx="161917" cy="208080"/>
              </a:xfrm>
              <a:noFill/>
            </p:grpSpPr>
            <p:sp>
              <p:nvSpPr>
                <p:cNvPr id="495" name="Forma livre: Forma 494">
                  <a:extLst>
                    <a:ext uri="{FF2B5EF4-FFF2-40B4-BE49-F238E27FC236}">
                      <a16:creationId xmlns:a16="http://schemas.microsoft.com/office/drawing/2014/main" id="{3893D44B-AA9C-D21E-1D38-59A1B35D6D61}"/>
                    </a:ext>
                  </a:extLst>
                </p:cNvPr>
                <p:cNvSpPr/>
                <p:nvPr/>
              </p:nvSpPr>
              <p:spPr>
                <a:xfrm>
                  <a:off x="5031684" y="1589845"/>
                  <a:ext cx="1195" cy="13671"/>
                </a:xfrm>
                <a:custGeom>
                  <a:avLst/>
                  <a:gdLst>
                    <a:gd name="connsiteX0" fmla="*/ 0 w 1195"/>
                    <a:gd name="connsiteY0" fmla="*/ 13672 h 13671"/>
                    <a:gd name="connsiteX1" fmla="*/ 0 w 1195"/>
                    <a:gd name="connsiteY1" fmla="*/ 0 h 136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195" h="13671">
                      <a:moveTo>
                        <a:pt x="0" y="13672"/>
                      </a:moveTo>
                      <a:lnTo>
                        <a:pt x="0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496" name="Forma livre: Forma 495">
                  <a:extLst>
                    <a:ext uri="{FF2B5EF4-FFF2-40B4-BE49-F238E27FC236}">
                      <a16:creationId xmlns:a16="http://schemas.microsoft.com/office/drawing/2014/main" id="{302E8738-8E4B-1897-792E-35B288F47EEF}"/>
                    </a:ext>
                  </a:extLst>
                </p:cNvPr>
                <p:cNvSpPr/>
                <p:nvPr/>
              </p:nvSpPr>
              <p:spPr>
                <a:xfrm>
                  <a:off x="5105791" y="1563219"/>
                  <a:ext cx="1195" cy="12488"/>
                </a:xfrm>
                <a:custGeom>
                  <a:avLst/>
                  <a:gdLst>
                    <a:gd name="connsiteX0" fmla="*/ 0 w 1195"/>
                    <a:gd name="connsiteY0" fmla="*/ 12489 h 12488"/>
                    <a:gd name="connsiteX1" fmla="*/ 0 w 1195"/>
                    <a:gd name="connsiteY1" fmla="*/ 0 h 1248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195" h="12488">
                      <a:moveTo>
                        <a:pt x="0" y="12489"/>
                      </a:moveTo>
                      <a:lnTo>
                        <a:pt x="0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497" name="Forma livre: Forma 496">
                  <a:extLst>
                    <a:ext uri="{FF2B5EF4-FFF2-40B4-BE49-F238E27FC236}">
                      <a16:creationId xmlns:a16="http://schemas.microsoft.com/office/drawing/2014/main" id="{E46A3315-F698-70B9-D6FD-DD7A59F5FA95}"/>
                    </a:ext>
                  </a:extLst>
                </p:cNvPr>
                <p:cNvSpPr/>
                <p:nvPr/>
              </p:nvSpPr>
              <p:spPr>
                <a:xfrm>
                  <a:off x="5105791" y="1599465"/>
                  <a:ext cx="1195" cy="22395"/>
                </a:xfrm>
                <a:custGeom>
                  <a:avLst/>
                  <a:gdLst>
                    <a:gd name="connsiteX0" fmla="*/ 0 w 1195"/>
                    <a:gd name="connsiteY0" fmla="*/ 22396 h 22395"/>
                    <a:gd name="connsiteX1" fmla="*/ 0 w 1195"/>
                    <a:gd name="connsiteY1" fmla="*/ 0 h 2239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195" h="22395">
                      <a:moveTo>
                        <a:pt x="0" y="22396"/>
                      </a:moveTo>
                      <a:lnTo>
                        <a:pt x="0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498" name="Forma livre: Forma 497">
                  <a:extLst>
                    <a:ext uri="{FF2B5EF4-FFF2-40B4-BE49-F238E27FC236}">
                      <a16:creationId xmlns:a16="http://schemas.microsoft.com/office/drawing/2014/main" id="{4AD05AA4-EBA8-5A38-9B74-4521C61DF073}"/>
                    </a:ext>
                  </a:extLst>
                </p:cNvPr>
                <p:cNvSpPr/>
                <p:nvPr/>
              </p:nvSpPr>
              <p:spPr>
                <a:xfrm>
                  <a:off x="4989137" y="1626414"/>
                  <a:ext cx="161917" cy="144884"/>
                </a:xfrm>
                <a:custGeom>
                  <a:avLst/>
                  <a:gdLst>
                    <a:gd name="connsiteX0" fmla="*/ 42548 w 161917"/>
                    <a:gd name="connsiteY0" fmla="*/ 0 h 144884"/>
                    <a:gd name="connsiteX1" fmla="*/ 42548 w 161917"/>
                    <a:gd name="connsiteY1" fmla="*/ 54268 h 144884"/>
                    <a:gd name="connsiteX2" fmla="*/ 8046 w 161917"/>
                    <a:gd name="connsiteY2" fmla="*/ 54268 h 144884"/>
                    <a:gd name="connsiteX3" fmla="*/ 983 w 161917"/>
                    <a:gd name="connsiteY3" fmla="*/ 59539 h 144884"/>
                    <a:gd name="connsiteX4" fmla="*/ 2369 w 161917"/>
                    <a:gd name="connsiteY4" fmla="*/ 71537 h 144884"/>
                    <a:gd name="connsiteX5" fmla="*/ 72126 w 161917"/>
                    <a:gd name="connsiteY5" fmla="*/ 141246 h 144884"/>
                    <a:gd name="connsiteX6" fmla="*/ 89753 w 161917"/>
                    <a:gd name="connsiteY6" fmla="*/ 141246 h 144884"/>
                    <a:gd name="connsiteX7" fmla="*/ 159199 w 161917"/>
                    <a:gd name="connsiteY7" fmla="*/ 71537 h 144884"/>
                    <a:gd name="connsiteX8" fmla="*/ 161063 w 161917"/>
                    <a:gd name="connsiteY8" fmla="*/ 59646 h 144884"/>
                    <a:gd name="connsiteX9" fmla="*/ 152566 w 161917"/>
                    <a:gd name="connsiteY9" fmla="*/ 54244 h 144884"/>
                    <a:gd name="connsiteX10" fmla="*/ 116666 w 161917"/>
                    <a:gd name="connsiteY10" fmla="*/ 54244 h 144884"/>
                    <a:gd name="connsiteX11" fmla="*/ 116666 w 161917"/>
                    <a:gd name="connsiteY11" fmla="*/ 17436 h 14488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</a:cxnLst>
                  <a:rect l="l" t="t" r="r" b="b"/>
                  <a:pathLst>
                    <a:path w="161917" h="144884">
                      <a:moveTo>
                        <a:pt x="42548" y="0"/>
                      </a:moveTo>
                      <a:lnTo>
                        <a:pt x="42548" y="54268"/>
                      </a:lnTo>
                      <a:lnTo>
                        <a:pt x="8046" y="54268"/>
                      </a:lnTo>
                      <a:cubicBezTo>
                        <a:pt x="3804" y="54268"/>
                        <a:pt x="1796" y="57579"/>
                        <a:pt x="983" y="59539"/>
                      </a:cubicBezTo>
                      <a:cubicBezTo>
                        <a:pt x="-738" y="63733"/>
                        <a:pt x="-152" y="69004"/>
                        <a:pt x="2369" y="71537"/>
                      </a:cubicBezTo>
                      <a:lnTo>
                        <a:pt x="72126" y="141246"/>
                      </a:lnTo>
                      <a:cubicBezTo>
                        <a:pt x="77002" y="146098"/>
                        <a:pt x="84925" y="146098"/>
                        <a:pt x="89753" y="141246"/>
                      </a:cubicBezTo>
                      <a:lnTo>
                        <a:pt x="159199" y="71537"/>
                      </a:lnTo>
                      <a:cubicBezTo>
                        <a:pt x="161888" y="68824"/>
                        <a:pt x="162724" y="63638"/>
                        <a:pt x="161063" y="59646"/>
                      </a:cubicBezTo>
                      <a:cubicBezTo>
                        <a:pt x="159605" y="56168"/>
                        <a:pt x="156582" y="54256"/>
                        <a:pt x="152566" y="54244"/>
                      </a:cubicBezTo>
                      <a:lnTo>
                        <a:pt x="116666" y="54244"/>
                      </a:lnTo>
                      <a:cubicBezTo>
                        <a:pt x="116666" y="54244"/>
                        <a:pt x="116666" y="17436"/>
                        <a:pt x="116666" y="17436"/>
                      </a:cubicBez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499" name="Gráfico 6">
                <a:extLst>
                  <a:ext uri="{FF2B5EF4-FFF2-40B4-BE49-F238E27FC236}">
                    <a16:creationId xmlns:a16="http://schemas.microsoft.com/office/drawing/2014/main" id="{63294C21-082D-B6B9-AF13-CB300A756617}"/>
                  </a:ext>
                </a:extLst>
              </p:cNvPr>
              <p:cNvGrpSpPr/>
              <p:nvPr/>
            </p:nvGrpSpPr>
            <p:grpSpPr>
              <a:xfrm>
                <a:off x="5070082" y="1505413"/>
                <a:ext cx="1195" cy="149694"/>
                <a:chOff x="5070082" y="1505413"/>
                <a:chExt cx="1195" cy="149694"/>
              </a:xfrm>
            </p:grpSpPr>
            <p:sp>
              <p:nvSpPr>
                <p:cNvPr id="500" name="Forma livre: Forma 499">
                  <a:extLst>
                    <a:ext uri="{FF2B5EF4-FFF2-40B4-BE49-F238E27FC236}">
                      <a16:creationId xmlns:a16="http://schemas.microsoft.com/office/drawing/2014/main" id="{1FBFF89B-8162-E49D-6817-19EBDC217A57}"/>
                    </a:ext>
                  </a:extLst>
                </p:cNvPr>
                <p:cNvSpPr/>
                <p:nvPr/>
              </p:nvSpPr>
              <p:spPr>
                <a:xfrm>
                  <a:off x="5070082" y="1593430"/>
                  <a:ext cx="1195" cy="61677"/>
                </a:xfrm>
                <a:custGeom>
                  <a:avLst/>
                  <a:gdLst>
                    <a:gd name="connsiteX0" fmla="*/ 0 w 1195"/>
                    <a:gd name="connsiteY0" fmla="*/ 61678 h 61677"/>
                    <a:gd name="connsiteX1" fmla="*/ 0 w 1195"/>
                    <a:gd name="connsiteY1" fmla="*/ 0 h 6167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195" h="61677">
                      <a:moveTo>
                        <a:pt x="0" y="61678"/>
                      </a:moveTo>
                      <a:lnTo>
                        <a:pt x="0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501" name="Forma livre: Forma 500">
                  <a:extLst>
                    <a:ext uri="{FF2B5EF4-FFF2-40B4-BE49-F238E27FC236}">
                      <a16:creationId xmlns:a16="http://schemas.microsoft.com/office/drawing/2014/main" id="{F487B47B-CA99-2BB1-4BF4-A29F1E508875}"/>
                    </a:ext>
                  </a:extLst>
                </p:cNvPr>
                <p:cNvSpPr/>
                <p:nvPr/>
              </p:nvSpPr>
              <p:spPr>
                <a:xfrm>
                  <a:off x="5070082" y="1538935"/>
                  <a:ext cx="1195" cy="30737"/>
                </a:xfrm>
                <a:custGeom>
                  <a:avLst/>
                  <a:gdLst>
                    <a:gd name="connsiteX0" fmla="*/ 0 w 1195"/>
                    <a:gd name="connsiteY0" fmla="*/ 30737 h 30737"/>
                    <a:gd name="connsiteX1" fmla="*/ 0 w 1195"/>
                    <a:gd name="connsiteY1" fmla="*/ 0 h 3073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195" h="30737">
                      <a:moveTo>
                        <a:pt x="0" y="30737"/>
                      </a:moveTo>
                      <a:lnTo>
                        <a:pt x="0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502" name="Forma livre: Forma 501">
                  <a:extLst>
                    <a:ext uri="{FF2B5EF4-FFF2-40B4-BE49-F238E27FC236}">
                      <a16:creationId xmlns:a16="http://schemas.microsoft.com/office/drawing/2014/main" id="{D6B058F4-9359-09A1-5CA6-F16DF23C4E78}"/>
                    </a:ext>
                  </a:extLst>
                </p:cNvPr>
                <p:cNvSpPr/>
                <p:nvPr/>
              </p:nvSpPr>
              <p:spPr>
                <a:xfrm>
                  <a:off x="5070082" y="1505413"/>
                  <a:ext cx="1195" cy="9775"/>
                </a:xfrm>
                <a:custGeom>
                  <a:avLst/>
                  <a:gdLst>
                    <a:gd name="connsiteX0" fmla="*/ 0 w 1195"/>
                    <a:gd name="connsiteY0" fmla="*/ 9776 h 9775"/>
                    <a:gd name="connsiteX1" fmla="*/ 0 w 1195"/>
                    <a:gd name="connsiteY1" fmla="*/ 0 h 97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195" h="9775">
                      <a:moveTo>
                        <a:pt x="0" y="9776"/>
                      </a:moveTo>
                      <a:lnTo>
                        <a:pt x="0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grpSp>
          <p:nvGrpSpPr>
            <p:cNvPr id="503" name="Gráfico 6">
              <a:extLst>
                <a:ext uri="{FF2B5EF4-FFF2-40B4-BE49-F238E27FC236}">
                  <a16:creationId xmlns:a16="http://schemas.microsoft.com/office/drawing/2014/main" id="{51682456-F2AD-A515-B44D-395043C3DC02}"/>
                </a:ext>
              </a:extLst>
            </p:cNvPr>
            <p:cNvGrpSpPr/>
            <p:nvPr/>
          </p:nvGrpSpPr>
          <p:grpSpPr>
            <a:xfrm>
              <a:off x="5153343" y="1516706"/>
              <a:ext cx="59753" cy="153268"/>
              <a:chOff x="5153343" y="1516706"/>
              <a:chExt cx="59753" cy="153268"/>
            </a:xfrm>
            <a:noFill/>
          </p:grpSpPr>
          <p:sp>
            <p:nvSpPr>
              <p:cNvPr id="504" name="Forma livre: Forma 503">
                <a:extLst>
                  <a:ext uri="{FF2B5EF4-FFF2-40B4-BE49-F238E27FC236}">
                    <a16:creationId xmlns:a16="http://schemas.microsoft.com/office/drawing/2014/main" id="{5BAA1EB7-A5DD-48B0-0AE1-82E56E32EFE0}"/>
                  </a:ext>
                </a:extLst>
              </p:cNvPr>
              <p:cNvSpPr/>
              <p:nvPr/>
            </p:nvSpPr>
            <p:spPr>
              <a:xfrm>
                <a:off x="5153343" y="1536521"/>
                <a:ext cx="59753" cy="113651"/>
              </a:xfrm>
              <a:custGeom>
                <a:avLst/>
                <a:gdLst>
                  <a:gd name="connsiteX0" fmla="*/ 119 w 59753"/>
                  <a:gd name="connsiteY0" fmla="*/ 85926 h 113651"/>
                  <a:gd name="connsiteX1" fmla="*/ 29925 w 59753"/>
                  <a:gd name="connsiteY1" fmla="*/ 113652 h 113651"/>
                  <a:gd name="connsiteX2" fmla="*/ 59754 w 59753"/>
                  <a:gd name="connsiteY2" fmla="*/ 85926 h 113651"/>
                  <a:gd name="connsiteX3" fmla="*/ 29877 w 59753"/>
                  <a:gd name="connsiteY3" fmla="*/ 56814 h 113651"/>
                  <a:gd name="connsiteX4" fmla="*/ 0 w 59753"/>
                  <a:gd name="connsiteY4" fmla="*/ 27726 h 113651"/>
                  <a:gd name="connsiteX5" fmla="*/ 29817 w 59753"/>
                  <a:gd name="connsiteY5" fmla="*/ 0 h 113651"/>
                  <a:gd name="connsiteX6" fmla="*/ 59634 w 59753"/>
                  <a:gd name="connsiteY6" fmla="*/ 27726 h 1136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59753" h="113651">
                    <a:moveTo>
                      <a:pt x="119" y="85926"/>
                    </a:moveTo>
                    <a:cubicBezTo>
                      <a:pt x="119" y="101235"/>
                      <a:pt x="13469" y="113652"/>
                      <a:pt x="29925" y="113652"/>
                    </a:cubicBezTo>
                    <a:cubicBezTo>
                      <a:pt x="46381" y="113652"/>
                      <a:pt x="59754" y="101247"/>
                      <a:pt x="59754" y="85926"/>
                    </a:cubicBezTo>
                    <a:cubicBezTo>
                      <a:pt x="59754" y="70605"/>
                      <a:pt x="43835" y="63913"/>
                      <a:pt x="29877" y="56814"/>
                    </a:cubicBezTo>
                    <a:cubicBezTo>
                      <a:pt x="15906" y="49739"/>
                      <a:pt x="0" y="43035"/>
                      <a:pt x="0" y="27726"/>
                    </a:cubicBezTo>
                    <a:cubicBezTo>
                      <a:pt x="0" y="12417"/>
                      <a:pt x="13337" y="0"/>
                      <a:pt x="29817" y="0"/>
                    </a:cubicBezTo>
                    <a:cubicBezTo>
                      <a:pt x="46297" y="0"/>
                      <a:pt x="59634" y="12405"/>
                      <a:pt x="59634" y="27726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05" name="Forma livre: Forma 504">
                <a:extLst>
                  <a:ext uri="{FF2B5EF4-FFF2-40B4-BE49-F238E27FC236}">
                    <a16:creationId xmlns:a16="http://schemas.microsoft.com/office/drawing/2014/main" id="{7FBBAB30-654D-EC38-B9B0-109C7F746911}"/>
                  </a:ext>
                </a:extLst>
              </p:cNvPr>
              <p:cNvSpPr/>
              <p:nvPr/>
            </p:nvSpPr>
            <p:spPr>
              <a:xfrm>
                <a:off x="5183148" y="1516706"/>
                <a:ext cx="1195" cy="19670"/>
              </a:xfrm>
              <a:custGeom>
                <a:avLst/>
                <a:gdLst>
                  <a:gd name="connsiteX0" fmla="*/ 0 w 1195"/>
                  <a:gd name="connsiteY0" fmla="*/ 19671 h 19670"/>
                  <a:gd name="connsiteX1" fmla="*/ 0 w 1195"/>
                  <a:gd name="connsiteY1" fmla="*/ 0 h 196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5" h="19670">
                    <a:moveTo>
                      <a:pt x="0" y="19671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06" name="Forma livre: Forma 505">
                <a:extLst>
                  <a:ext uri="{FF2B5EF4-FFF2-40B4-BE49-F238E27FC236}">
                    <a16:creationId xmlns:a16="http://schemas.microsoft.com/office/drawing/2014/main" id="{6E63C1C0-C4B8-F5CE-A17B-65D2385A8595}"/>
                  </a:ext>
                </a:extLst>
              </p:cNvPr>
              <p:cNvSpPr/>
              <p:nvPr/>
            </p:nvSpPr>
            <p:spPr>
              <a:xfrm>
                <a:off x="5183148" y="1650304"/>
                <a:ext cx="1195" cy="19670"/>
              </a:xfrm>
              <a:custGeom>
                <a:avLst/>
                <a:gdLst>
                  <a:gd name="connsiteX0" fmla="*/ 0 w 1195"/>
                  <a:gd name="connsiteY0" fmla="*/ 19671 h 19670"/>
                  <a:gd name="connsiteX1" fmla="*/ 0 w 1195"/>
                  <a:gd name="connsiteY1" fmla="*/ 0 h 196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5" h="19670">
                    <a:moveTo>
                      <a:pt x="0" y="19671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507" name="Gráfico 6">
            <a:extLst>
              <a:ext uri="{FF2B5EF4-FFF2-40B4-BE49-F238E27FC236}">
                <a16:creationId xmlns:a16="http://schemas.microsoft.com/office/drawing/2014/main" id="{C2E559D7-248F-4621-BFE3-6C089CF50DF1}"/>
              </a:ext>
            </a:extLst>
          </p:cNvPr>
          <p:cNvGrpSpPr/>
          <p:nvPr/>
        </p:nvGrpSpPr>
        <p:grpSpPr>
          <a:xfrm>
            <a:off x="4983488" y="3095805"/>
            <a:ext cx="240125" cy="332326"/>
            <a:chOff x="4983488" y="3095805"/>
            <a:chExt cx="240125" cy="332326"/>
          </a:xfrm>
          <a:noFill/>
        </p:grpSpPr>
        <p:sp>
          <p:nvSpPr>
            <p:cNvPr id="508" name="Forma livre: Forma 507">
              <a:extLst>
                <a:ext uri="{FF2B5EF4-FFF2-40B4-BE49-F238E27FC236}">
                  <a16:creationId xmlns:a16="http://schemas.microsoft.com/office/drawing/2014/main" id="{52A2D4EC-D088-2DC6-AB0A-FAE1396FD87A}"/>
                </a:ext>
              </a:extLst>
            </p:cNvPr>
            <p:cNvSpPr/>
            <p:nvPr/>
          </p:nvSpPr>
          <p:spPr>
            <a:xfrm>
              <a:off x="5032628" y="3277449"/>
              <a:ext cx="101330" cy="150681"/>
            </a:xfrm>
            <a:custGeom>
              <a:avLst/>
              <a:gdLst>
                <a:gd name="connsiteX0" fmla="*/ 0 w 101330"/>
                <a:gd name="connsiteY0" fmla="*/ 72584 h 150681"/>
                <a:gd name="connsiteX1" fmla="*/ 58905 w 101330"/>
                <a:gd name="connsiteY1" fmla="*/ 9364 h 150681"/>
                <a:gd name="connsiteX2" fmla="*/ 93861 w 101330"/>
                <a:gd name="connsiteY2" fmla="*/ 4799 h 150681"/>
                <a:gd name="connsiteX3" fmla="*/ 95773 w 101330"/>
                <a:gd name="connsiteY3" fmla="*/ 40938 h 150681"/>
                <a:gd name="connsiteX4" fmla="*/ 21750 w 101330"/>
                <a:gd name="connsiteY4" fmla="*/ 150682 h 1506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1330" h="150681">
                  <a:moveTo>
                    <a:pt x="0" y="72584"/>
                  </a:moveTo>
                  <a:lnTo>
                    <a:pt x="58905" y="9364"/>
                  </a:lnTo>
                  <a:cubicBezTo>
                    <a:pt x="68980" y="-1021"/>
                    <a:pt x="84695" y="-3100"/>
                    <a:pt x="93861" y="4799"/>
                  </a:cubicBezTo>
                  <a:cubicBezTo>
                    <a:pt x="103015" y="12687"/>
                    <a:pt x="103876" y="28940"/>
                    <a:pt x="95773" y="40938"/>
                  </a:cubicBezTo>
                  <a:lnTo>
                    <a:pt x="21750" y="150682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509" name="Forma livre: Forma 508">
              <a:extLst>
                <a:ext uri="{FF2B5EF4-FFF2-40B4-BE49-F238E27FC236}">
                  <a16:creationId xmlns:a16="http://schemas.microsoft.com/office/drawing/2014/main" id="{EF2D9E6A-1316-9096-7854-A7E491E8D1D8}"/>
                </a:ext>
              </a:extLst>
            </p:cNvPr>
            <p:cNvSpPr/>
            <p:nvPr/>
          </p:nvSpPr>
          <p:spPr>
            <a:xfrm>
              <a:off x="4983488" y="3238102"/>
              <a:ext cx="79937" cy="189801"/>
            </a:xfrm>
            <a:custGeom>
              <a:avLst/>
              <a:gdLst>
                <a:gd name="connsiteX0" fmla="*/ 79938 w 79937"/>
                <a:gd name="connsiteY0" fmla="*/ 0 h 189801"/>
                <a:gd name="connsiteX1" fmla="*/ 393 w 79937"/>
                <a:gd name="connsiteY1" fmla="*/ 76425 h 189801"/>
                <a:gd name="connsiteX2" fmla="*/ 2867 w 79937"/>
                <a:gd name="connsiteY2" fmla="*/ 189802 h 1898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79937" h="189801">
                  <a:moveTo>
                    <a:pt x="79938" y="0"/>
                  </a:moveTo>
                  <a:cubicBezTo>
                    <a:pt x="79938" y="0"/>
                    <a:pt x="2126" y="66279"/>
                    <a:pt x="393" y="76425"/>
                  </a:cubicBezTo>
                  <a:cubicBezTo>
                    <a:pt x="-1029" y="84671"/>
                    <a:pt x="1780" y="160379"/>
                    <a:pt x="2867" y="189802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510" name="Gráfico 6">
              <a:extLst>
                <a:ext uri="{FF2B5EF4-FFF2-40B4-BE49-F238E27FC236}">
                  <a16:creationId xmlns:a16="http://schemas.microsoft.com/office/drawing/2014/main" id="{D5E8071B-2D35-C1A8-75A3-6D1D798A681B}"/>
                </a:ext>
              </a:extLst>
            </p:cNvPr>
            <p:cNvGrpSpPr/>
            <p:nvPr/>
          </p:nvGrpSpPr>
          <p:grpSpPr>
            <a:xfrm>
              <a:off x="5126262" y="3174847"/>
              <a:ext cx="33055" cy="87455"/>
              <a:chOff x="5126262" y="3174847"/>
              <a:chExt cx="33055" cy="87455"/>
            </a:xfrm>
            <a:noFill/>
          </p:grpSpPr>
          <p:sp>
            <p:nvSpPr>
              <p:cNvPr id="511" name="Forma livre: Forma 510">
                <a:extLst>
                  <a:ext uri="{FF2B5EF4-FFF2-40B4-BE49-F238E27FC236}">
                    <a16:creationId xmlns:a16="http://schemas.microsoft.com/office/drawing/2014/main" id="{CCAC2C10-E943-46A6-48DD-9FA5124986E2}"/>
                  </a:ext>
                </a:extLst>
              </p:cNvPr>
              <p:cNvSpPr/>
              <p:nvPr/>
            </p:nvSpPr>
            <p:spPr>
              <a:xfrm>
                <a:off x="5126262" y="3187132"/>
                <a:ext cx="33055" cy="62860"/>
              </a:xfrm>
              <a:custGeom>
                <a:avLst/>
                <a:gdLst>
                  <a:gd name="connsiteX0" fmla="*/ 60 w 33055"/>
                  <a:gd name="connsiteY0" fmla="*/ 47528 h 62860"/>
                  <a:gd name="connsiteX1" fmla="*/ 16552 w 33055"/>
                  <a:gd name="connsiteY1" fmla="*/ 62861 h 62860"/>
                  <a:gd name="connsiteX2" fmla="*/ 33056 w 33055"/>
                  <a:gd name="connsiteY2" fmla="*/ 47528 h 62860"/>
                  <a:gd name="connsiteX3" fmla="*/ 16516 w 33055"/>
                  <a:gd name="connsiteY3" fmla="*/ 31430 h 62860"/>
                  <a:gd name="connsiteX4" fmla="*/ 0 w 33055"/>
                  <a:gd name="connsiteY4" fmla="*/ 15333 h 62860"/>
                  <a:gd name="connsiteX5" fmla="*/ 16492 w 33055"/>
                  <a:gd name="connsiteY5" fmla="*/ 0 h 62860"/>
                  <a:gd name="connsiteX6" fmla="*/ 32984 w 33055"/>
                  <a:gd name="connsiteY6" fmla="*/ 15333 h 628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3055" h="62860">
                    <a:moveTo>
                      <a:pt x="60" y="47528"/>
                    </a:moveTo>
                    <a:cubicBezTo>
                      <a:pt x="60" y="56001"/>
                      <a:pt x="7445" y="62861"/>
                      <a:pt x="16552" y="62861"/>
                    </a:cubicBezTo>
                    <a:cubicBezTo>
                      <a:pt x="25658" y="62861"/>
                      <a:pt x="33056" y="56001"/>
                      <a:pt x="33056" y="47528"/>
                    </a:cubicBezTo>
                    <a:cubicBezTo>
                      <a:pt x="33056" y="39055"/>
                      <a:pt x="24248" y="35338"/>
                      <a:pt x="16516" y="31430"/>
                    </a:cubicBezTo>
                    <a:cubicBezTo>
                      <a:pt x="8796" y="27511"/>
                      <a:pt x="0" y="23806"/>
                      <a:pt x="0" y="15333"/>
                    </a:cubicBezTo>
                    <a:cubicBezTo>
                      <a:pt x="0" y="6860"/>
                      <a:pt x="7374" y="0"/>
                      <a:pt x="16492" y="0"/>
                    </a:cubicBezTo>
                    <a:cubicBezTo>
                      <a:pt x="25610" y="0"/>
                      <a:pt x="32984" y="6860"/>
                      <a:pt x="32984" y="15333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12" name="Forma livre: Forma 511">
                <a:extLst>
                  <a:ext uri="{FF2B5EF4-FFF2-40B4-BE49-F238E27FC236}">
                    <a16:creationId xmlns:a16="http://schemas.microsoft.com/office/drawing/2014/main" id="{BF202E2D-F282-2508-82D0-8975552230C7}"/>
                  </a:ext>
                </a:extLst>
              </p:cNvPr>
              <p:cNvSpPr/>
              <p:nvPr/>
            </p:nvSpPr>
            <p:spPr>
              <a:xfrm>
                <a:off x="5142743" y="3174847"/>
                <a:ext cx="1195" cy="12201"/>
              </a:xfrm>
              <a:custGeom>
                <a:avLst/>
                <a:gdLst>
                  <a:gd name="connsiteX0" fmla="*/ 0 w 1195"/>
                  <a:gd name="connsiteY0" fmla="*/ 12202 h 12201"/>
                  <a:gd name="connsiteX1" fmla="*/ 0 w 1195"/>
                  <a:gd name="connsiteY1" fmla="*/ 0 h 122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5" h="12201">
                    <a:moveTo>
                      <a:pt x="0" y="12202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13" name="Forma livre: Forma 512">
                <a:extLst>
                  <a:ext uri="{FF2B5EF4-FFF2-40B4-BE49-F238E27FC236}">
                    <a16:creationId xmlns:a16="http://schemas.microsoft.com/office/drawing/2014/main" id="{34156EC0-AA26-8D13-1C42-07ECBF60028C}"/>
                  </a:ext>
                </a:extLst>
              </p:cNvPr>
              <p:cNvSpPr/>
              <p:nvPr/>
            </p:nvSpPr>
            <p:spPr>
              <a:xfrm>
                <a:off x="5142743" y="3250077"/>
                <a:ext cx="1195" cy="12225"/>
              </a:xfrm>
              <a:custGeom>
                <a:avLst/>
                <a:gdLst>
                  <a:gd name="connsiteX0" fmla="*/ 0 w 1195"/>
                  <a:gd name="connsiteY0" fmla="*/ 12226 h 12225"/>
                  <a:gd name="connsiteX1" fmla="*/ 0 w 1195"/>
                  <a:gd name="connsiteY1" fmla="*/ 0 h 122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5" h="12225">
                    <a:moveTo>
                      <a:pt x="0" y="12226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514" name="Gráfico 6">
              <a:extLst>
                <a:ext uri="{FF2B5EF4-FFF2-40B4-BE49-F238E27FC236}">
                  <a16:creationId xmlns:a16="http://schemas.microsoft.com/office/drawing/2014/main" id="{52AC2CB2-BBBF-FE72-FCB5-850EE9CBDFA2}"/>
                </a:ext>
              </a:extLst>
            </p:cNvPr>
            <p:cNvGrpSpPr/>
            <p:nvPr/>
          </p:nvGrpSpPr>
          <p:grpSpPr>
            <a:xfrm>
              <a:off x="5063198" y="3095805"/>
              <a:ext cx="160414" cy="290104"/>
              <a:chOff x="5063198" y="3095805"/>
              <a:chExt cx="160414" cy="290104"/>
            </a:xfrm>
            <a:noFill/>
          </p:grpSpPr>
          <p:sp>
            <p:nvSpPr>
              <p:cNvPr id="515" name="Forma livre: Forma 514">
                <a:extLst>
                  <a:ext uri="{FF2B5EF4-FFF2-40B4-BE49-F238E27FC236}">
                    <a16:creationId xmlns:a16="http://schemas.microsoft.com/office/drawing/2014/main" id="{8E655722-D035-11FD-471A-B811CE7D9F33}"/>
                  </a:ext>
                </a:extLst>
              </p:cNvPr>
              <p:cNvSpPr/>
              <p:nvPr/>
            </p:nvSpPr>
            <p:spPr>
              <a:xfrm>
                <a:off x="5063198" y="3095805"/>
                <a:ext cx="160414" cy="290104"/>
              </a:xfrm>
              <a:custGeom>
                <a:avLst/>
                <a:gdLst>
                  <a:gd name="connsiteX0" fmla="*/ 0 w 160414"/>
                  <a:gd name="connsiteY0" fmla="*/ 185547 h 290104"/>
                  <a:gd name="connsiteX1" fmla="*/ 0 w 160414"/>
                  <a:gd name="connsiteY1" fmla="*/ 13134 h 290104"/>
                  <a:gd name="connsiteX2" fmla="*/ 13122 w 160414"/>
                  <a:gd name="connsiteY2" fmla="*/ 0 h 290104"/>
                  <a:gd name="connsiteX3" fmla="*/ 147293 w 160414"/>
                  <a:gd name="connsiteY3" fmla="*/ 0 h 290104"/>
                  <a:gd name="connsiteX4" fmla="*/ 160415 w 160414"/>
                  <a:gd name="connsiteY4" fmla="*/ 13134 h 290104"/>
                  <a:gd name="connsiteX5" fmla="*/ 160415 w 160414"/>
                  <a:gd name="connsiteY5" fmla="*/ 276588 h 290104"/>
                  <a:gd name="connsiteX6" fmla="*/ 147293 w 160414"/>
                  <a:gd name="connsiteY6" fmla="*/ 290104 h 290104"/>
                  <a:gd name="connsiteX7" fmla="*/ 44935 w 160414"/>
                  <a:gd name="connsiteY7" fmla="*/ 290104 h 2901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60414" h="290104">
                    <a:moveTo>
                      <a:pt x="0" y="185547"/>
                    </a:moveTo>
                    <a:lnTo>
                      <a:pt x="0" y="13134"/>
                    </a:lnTo>
                    <a:cubicBezTo>
                      <a:pt x="0" y="5916"/>
                      <a:pt x="5904" y="0"/>
                      <a:pt x="13122" y="0"/>
                    </a:cubicBezTo>
                    <a:lnTo>
                      <a:pt x="147293" y="0"/>
                    </a:lnTo>
                    <a:cubicBezTo>
                      <a:pt x="154511" y="0"/>
                      <a:pt x="160415" y="5916"/>
                      <a:pt x="160415" y="13134"/>
                    </a:cubicBezTo>
                    <a:lnTo>
                      <a:pt x="160415" y="276588"/>
                    </a:lnTo>
                    <a:cubicBezTo>
                      <a:pt x="160415" y="283818"/>
                      <a:pt x="154499" y="290104"/>
                      <a:pt x="147293" y="290104"/>
                    </a:cubicBezTo>
                    <a:lnTo>
                      <a:pt x="44935" y="290104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16" name="Forma livre: Forma 515">
                <a:extLst>
                  <a:ext uri="{FF2B5EF4-FFF2-40B4-BE49-F238E27FC236}">
                    <a16:creationId xmlns:a16="http://schemas.microsoft.com/office/drawing/2014/main" id="{265EFF2A-75FB-2528-3536-9F96D8E3036F}"/>
                  </a:ext>
                </a:extLst>
              </p:cNvPr>
              <p:cNvSpPr/>
              <p:nvPr/>
            </p:nvSpPr>
            <p:spPr>
              <a:xfrm>
                <a:off x="5121040" y="3328820"/>
                <a:ext cx="82352" cy="1195"/>
              </a:xfrm>
              <a:custGeom>
                <a:avLst/>
                <a:gdLst>
                  <a:gd name="connsiteX0" fmla="*/ 0 w 82352"/>
                  <a:gd name="connsiteY0" fmla="*/ 0 h 1195"/>
                  <a:gd name="connsiteX1" fmla="*/ 82353 w 82352"/>
                  <a:gd name="connsiteY1" fmla="*/ 0 h 11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82352" h="1195">
                    <a:moveTo>
                      <a:pt x="0" y="0"/>
                    </a:moveTo>
                    <a:lnTo>
                      <a:pt x="82353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17" name="Forma livre: Forma 516">
                <a:extLst>
                  <a:ext uri="{FF2B5EF4-FFF2-40B4-BE49-F238E27FC236}">
                    <a16:creationId xmlns:a16="http://schemas.microsoft.com/office/drawing/2014/main" id="{3BA5101F-8BE3-DE52-2227-358CB3E26038}"/>
                  </a:ext>
                </a:extLst>
              </p:cNvPr>
              <p:cNvSpPr/>
              <p:nvPr/>
            </p:nvSpPr>
            <p:spPr>
              <a:xfrm>
                <a:off x="5132501" y="3356976"/>
                <a:ext cx="21810" cy="1195"/>
              </a:xfrm>
              <a:custGeom>
                <a:avLst/>
                <a:gdLst>
                  <a:gd name="connsiteX0" fmla="*/ 0 w 21810"/>
                  <a:gd name="connsiteY0" fmla="*/ 0 h 1195"/>
                  <a:gd name="connsiteX1" fmla="*/ 21810 w 21810"/>
                  <a:gd name="connsiteY1" fmla="*/ 0 h 11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1810" h="1195">
                    <a:moveTo>
                      <a:pt x="0" y="0"/>
                    </a:moveTo>
                    <a:lnTo>
                      <a:pt x="2181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518" name="Forma livre: Forma 517">
              <a:extLst>
                <a:ext uri="{FF2B5EF4-FFF2-40B4-BE49-F238E27FC236}">
                  <a16:creationId xmlns:a16="http://schemas.microsoft.com/office/drawing/2014/main" id="{B46D48AC-F0C3-2831-7DCF-B0B6F746F807}"/>
                </a:ext>
              </a:extLst>
            </p:cNvPr>
            <p:cNvSpPr/>
            <p:nvPr/>
          </p:nvSpPr>
          <p:spPr>
            <a:xfrm>
              <a:off x="5106281" y="3122312"/>
              <a:ext cx="74716" cy="13432"/>
            </a:xfrm>
            <a:custGeom>
              <a:avLst/>
              <a:gdLst>
                <a:gd name="connsiteX0" fmla="*/ 0 w 74716"/>
                <a:gd name="connsiteY0" fmla="*/ 13325 h 13432"/>
                <a:gd name="connsiteX1" fmla="*/ 37298 w 74716"/>
                <a:gd name="connsiteY1" fmla="*/ 0 h 13432"/>
                <a:gd name="connsiteX2" fmla="*/ 74716 w 74716"/>
                <a:gd name="connsiteY2" fmla="*/ 13433 h 134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74716" h="13432">
                  <a:moveTo>
                    <a:pt x="0" y="13325"/>
                  </a:moveTo>
                  <a:cubicBezTo>
                    <a:pt x="10158" y="4995"/>
                    <a:pt x="23137" y="0"/>
                    <a:pt x="37298" y="0"/>
                  </a:cubicBezTo>
                  <a:cubicBezTo>
                    <a:pt x="51460" y="0"/>
                    <a:pt x="64546" y="5043"/>
                    <a:pt x="74716" y="13433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519" name="Forma livre: Forma 518">
              <a:extLst>
                <a:ext uri="{FF2B5EF4-FFF2-40B4-BE49-F238E27FC236}">
                  <a16:creationId xmlns:a16="http://schemas.microsoft.com/office/drawing/2014/main" id="{0DC29900-A06F-8D12-186A-88E40F09E13A}"/>
                </a:ext>
              </a:extLst>
            </p:cNvPr>
            <p:cNvSpPr/>
            <p:nvPr/>
          </p:nvSpPr>
          <p:spPr>
            <a:xfrm>
              <a:off x="5121530" y="3146512"/>
              <a:ext cx="44086" cy="7911"/>
            </a:xfrm>
            <a:custGeom>
              <a:avLst/>
              <a:gdLst>
                <a:gd name="connsiteX0" fmla="*/ 0 w 44086"/>
                <a:gd name="connsiteY0" fmla="*/ 7911 h 7911"/>
                <a:gd name="connsiteX1" fmla="*/ 22049 w 44086"/>
                <a:gd name="connsiteY1" fmla="*/ 0 h 7911"/>
                <a:gd name="connsiteX2" fmla="*/ 44086 w 44086"/>
                <a:gd name="connsiteY2" fmla="*/ 7899 h 79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4086" h="7911">
                  <a:moveTo>
                    <a:pt x="0" y="7911"/>
                  </a:moveTo>
                  <a:cubicBezTo>
                    <a:pt x="5999" y="2964"/>
                    <a:pt x="13684" y="0"/>
                    <a:pt x="22049" y="0"/>
                  </a:cubicBezTo>
                  <a:cubicBezTo>
                    <a:pt x="30415" y="0"/>
                    <a:pt x="38099" y="2964"/>
                    <a:pt x="44086" y="7899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520" name="Gráfico 6">
            <a:extLst>
              <a:ext uri="{FF2B5EF4-FFF2-40B4-BE49-F238E27FC236}">
                <a16:creationId xmlns:a16="http://schemas.microsoft.com/office/drawing/2014/main" id="{D5E2AF41-74C3-7CF7-6349-F36AE79FD74F}"/>
              </a:ext>
            </a:extLst>
          </p:cNvPr>
          <p:cNvGrpSpPr/>
          <p:nvPr/>
        </p:nvGrpSpPr>
        <p:grpSpPr>
          <a:xfrm>
            <a:off x="4943345" y="2570295"/>
            <a:ext cx="320421" cy="329322"/>
            <a:chOff x="4943345" y="2570295"/>
            <a:chExt cx="320421" cy="329322"/>
          </a:xfrm>
          <a:noFill/>
        </p:grpSpPr>
        <p:sp>
          <p:nvSpPr>
            <p:cNvPr id="521" name="Forma livre: Forma 520">
              <a:extLst>
                <a:ext uri="{FF2B5EF4-FFF2-40B4-BE49-F238E27FC236}">
                  <a16:creationId xmlns:a16="http://schemas.microsoft.com/office/drawing/2014/main" id="{52F2027F-1CF9-B93F-1104-9D443C52FF55}"/>
                </a:ext>
              </a:extLst>
            </p:cNvPr>
            <p:cNvSpPr/>
            <p:nvPr/>
          </p:nvSpPr>
          <p:spPr>
            <a:xfrm>
              <a:off x="5095636" y="2731500"/>
              <a:ext cx="168130" cy="168117"/>
            </a:xfrm>
            <a:custGeom>
              <a:avLst/>
              <a:gdLst>
                <a:gd name="connsiteX0" fmla="*/ 39733 w 168130"/>
                <a:gd name="connsiteY0" fmla="*/ 12618 h 168117"/>
                <a:gd name="connsiteX1" fmla="*/ 73387 w 168130"/>
                <a:gd name="connsiteY1" fmla="*/ 692 h 168117"/>
                <a:gd name="connsiteX2" fmla="*/ 167439 w 168130"/>
                <a:gd name="connsiteY2" fmla="*/ 73376 h 168117"/>
                <a:gd name="connsiteX3" fmla="*/ 94742 w 168130"/>
                <a:gd name="connsiteY3" fmla="*/ 167428 h 168117"/>
                <a:gd name="connsiteX4" fmla="*/ 690 w 168130"/>
                <a:gd name="connsiteY4" fmla="*/ 94744 h 168117"/>
                <a:gd name="connsiteX5" fmla="*/ 18389 w 168130"/>
                <a:gd name="connsiteY5" fmla="*/ 31620 h 168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68130" h="168117">
                  <a:moveTo>
                    <a:pt x="39733" y="12618"/>
                  </a:moveTo>
                  <a:cubicBezTo>
                    <a:pt x="49652" y="6464"/>
                    <a:pt x="61029" y="2269"/>
                    <a:pt x="73387" y="692"/>
                  </a:cubicBezTo>
                  <a:cubicBezTo>
                    <a:pt x="119421" y="-5212"/>
                    <a:pt x="161535" y="27330"/>
                    <a:pt x="167439" y="73376"/>
                  </a:cubicBezTo>
                  <a:cubicBezTo>
                    <a:pt x="173343" y="119422"/>
                    <a:pt x="140789" y="161525"/>
                    <a:pt x="94742" y="167428"/>
                  </a:cubicBezTo>
                  <a:cubicBezTo>
                    <a:pt x="48708" y="173320"/>
                    <a:pt x="6594" y="140778"/>
                    <a:pt x="690" y="94744"/>
                  </a:cubicBezTo>
                  <a:cubicBezTo>
                    <a:pt x="-2321" y="71249"/>
                    <a:pt x="4694" y="48781"/>
                    <a:pt x="18389" y="3162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522" name="Forma livre: Forma 521">
              <a:extLst>
                <a:ext uri="{FF2B5EF4-FFF2-40B4-BE49-F238E27FC236}">
                  <a16:creationId xmlns:a16="http://schemas.microsoft.com/office/drawing/2014/main" id="{F0787906-ABCB-A1A6-AE59-52FA29D89F9B}"/>
                </a:ext>
              </a:extLst>
            </p:cNvPr>
            <p:cNvSpPr/>
            <p:nvPr/>
          </p:nvSpPr>
          <p:spPr>
            <a:xfrm>
              <a:off x="5059028" y="2816086"/>
              <a:ext cx="19718" cy="4158"/>
            </a:xfrm>
            <a:custGeom>
              <a:avLst/>
              <a:gdLst>
                <a:gd name="connsiteX0" fmla="*/ 19719 w 19718"/>
                <a:gd name="connsiteY0" fmla="*/ 4159 h 4158"/>
                <a:gd name="connsiteX1" fmla="*/ 0 w 19718"/>
                <a:gd name="connsiteY1" fmla="*/ 0 h 41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9718" h="4158">
                  <a:moveTo>
                    <a:pt x="19719" y="4159"/>
                  </a:moveTo>
                  <a:cubicBezTo>
                    <a:pt x="12178" y="3406"/>
                    <a:pt x="6131" y="1984"/>
                    <a:pt x="0" y="0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523" name="Forma livre: Forma 522">
              <a:extLst>
                <a:ext uri="{FF2B5EF4-FFF2-40B4-BE49-F238E27FC236}">
                  <a16:creationId xmlns:a16="http://schemas.microsoft.com/office/drawing/2014/main" id="{5B3679B9-09D7-CE80-7697-9974922E6938}"/>
                </a:ext>
              </a:extLst>
            </p:cNvPr>
            <p:cNvSpPr/>
            <p:nvPr/>
          </p:nvSpPr>
          <p:spPr>
            <a:xfrm>
              <a:off x="5057761" y="2782779"/>
              <a:ext cx="23124" cy="4278"/>
            </a:xfrm>
            <a:custGeom>
              <a:avLst/>
              <a:gdLst>
                <a:gd name="connsiteX0" fmla="*/ 23125 w 23124"/>
                <a:gd name="connsiteY0" fmla="*/ 4278 h 4278"/>
                <a:gd name="connsiteX1" fmla="*/ 0 w 23124"/>
                <a:gd name="connsiteY1" fmla="*/ 0 h 42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3124" h="4278">
                  <a:moveTo>
                    <a:pt x="23125" y="4278"/>
                  </a:moveTo>
                  <a:cubicBezTo>
                    <a:pt x="16074" y="3418"/>
                    <a:pt x="5724" y="1948"/>
                    <a:pt x="0" y="0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524" name="Forma livre: Forma 523">
              <a:extLst>
                <a:ext uri="{FF2B5EF4-FFF2-40B4-BE49-F238E27FC236}">
                  <a16:creationId xmlns:a16="http://schemas.microsoft.com/office/drawing/2014/main" id="{F69A972C-3D8A-BB76-815A-5431F649DB5D}"/>
                </a:ext>
              </a:extLst>
            </p:cNvPr>
            <p:cNvSpPr/>
            <p:nvPr/>
          </p:nvSpPr>
          <p:spPr>
            <a:xfrm>
              <a:off x="5058466" y="2750106"/>
              <a:ext cx="34107" cy="4899"/>
            </a:xfrm>
            <a:custGeom>
              <a:avLst/>
              <a:gdLst>
                <a:gd name="connsiteX0" fmla="*/ 34107 w 34107"/>
                <a:gd name="connsiteY0" fmla="*/ 4900 h 4899"/>
                <a:gd name="connsiteX1" fmla="*/ 0 w 34107"/>
                <a:gd name="connsiteY1" fmla="*/ 0 h 48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4107" h="4899">
                  <a:moveTo>
                    <a:pt x="34107" y="4900"/>
                  </a:moveTo>
                  <a:cubicBezTo>
                    <a:pt x="22850" y="4625"/>
                    <a:pt x="8628" y="2856"/>
                    <a:pt x="0" y="0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525" name="Gráfico 6">
              <a:extLst>
                <a:ext uri="{FF2B5EF4-FFF2-40B4-BE49-F238E27FC236}">
                  <a16:creationId xmlns:a16="http://schemas.microsoft.com/office/drawing/2014/main" id="{29C10939-82A1-3BC1-1FE8-9164F8CF4E58}"/>
                </a:ext>
              </a:extLst>
            </p:cNvPr>
            <p:cNvGrpSpPr/>
            <p:nvPr/>
          </p:nvGrpSpPr>
          <p:grpSpPr>
            <a:xfrm>
              <a:off x="5156438" y="2761077"/>
              <a:ext cx="46022" cy="106385"/>
              <a:chOff x="5156438" y="2761077"/>
              <a:chExt cx="46022" cy="106385"/>
            </a:xfrm>
            <a:noFill/>
          </p:grpSpPr>
          <p:sp>
            <p:nvSpPr>
              <p:cNvPr id="526" name="Forma livre: Forma 525">
                <a:extLst>
                  <a:ext uri="{FF2B5EF4-FFF2-40B4-BE49-F238E27FC236}">
                    <a16:creationId xmlns:a16="http://schemas.microsoft.com/office/drawing/2014/main" id="{4D8C879D-8D7C-FF16-6BAB-25C25C6D58DF}"/>
                  </a:ext>
                </a:extLst>
              </p:cNvPr>
              <p:cNvSpPr/>
              <p:nvPr/>
            </p:nvSpPr>
            <p:spPr>
              <a:xfrm>
                <a:off x="5156438" y="2777617"/>
                <a:ext cx="46022" cy="72469"/>
              </a:xfrm>
              <a:custGeom>
                <a:avLst/>
                <a:gdLst>
                  <a:gd name="connsiteX0" fmla="*/ 108 w 46022"/>
                  <a:gd name="connsiteY0" fmla="*/ 54782 h 72469"/>
                  <a:gd name="connsiteX1" fmla="*/ 23065 w 46022"/>
                  <a:gd name="connsiteY1" fmla="*/ 72469 h 72469"/>
                  <a:gd name="connsiteX2" fmla="*/ 46022 w 46022"/>
                  <a:gd name="connsiteY2" fmla="*/ 54782 h 72469"/>
                  <a:gd name="connsiteX3" fmla="*/ 23017 w 46022"/>
                  <a:gd name="connsiteY3" fmla="*/ 36235 h 72469"/>
                  <a:gd name="connsiteX4" fmla="*/ 0 w 46022"/>
                  <a:gd name="connsiteY4" fmla="*/ 17675 h 72469"/>
                  <a:gd name="connsiteX5" fmla="*/ 22969 w 46022"/>
                  <a:gd name="connsiteY5" fmla="*/ 0 h 72469"/>
                  <a:gd name="connsiteX6" fmla="*/ 45927 w 46022"/>
                  <a:gd name="connsiteY6" fmla="*/ 17675 h 724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6022" h="72469">
                    <a:moveTo>
                      <a:pt x="108" y="54782"/>
                    </a:moveTo>
                    <a:cubicBezTo>
                      <a:pt x="108" y="64546"/>
                      <a:pt x="10385" y="72469"/>
                      <a:pt x="23065" y="72469"/>
                    </a:cubicBezTo>
                    <a:cubicBezTo>
                      <a:pt x="35745" y="72469"/>
                      <a:pt x="46022" y="64546"/>
                      <a:pt x="46022" y="54782"/>
                    </a:cubicBezTo>
                    <a:cubicBezTo>
                      <a:pt x="46022" y="45018"/>
                      <a:pt x="33773" y="40752"/>
                      <a:pt x="23017" y="36235"/>
                    </a:cubicBezTo>
                    <a:cubicBezTo>
                      <a:pt x="12261" y="31705"/>
                      <a:pt x="0" y="27439"/>
                      <a:pt x="0" y="17675"/>
                    </a:cubicBezTo>
                    <a:cubicBezTo>
                      <a:pt x="0" y="7911"/>
                      <a:pt x="10278" y="0"/>
                      <a:pt x="22969" y="0"/>
                    </a:cubicBezTo>
                    <a:cubicBezTo>
                      <a:pt x="35661" y="0"/>
                      <a:pt x="45927" y="7911"/>
                      <a:pt x="45927" y="17675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27" name="Forma livre: Forma 526">
                <a:extLst>
                  <a:ext uri="{FF2B5EF4-FFF2-40B4-BE49-F238E27FC236}">
                    <a16:creationId xmlns:a16="http://schemas.microsoft.com/office/drawing/2014/main" id="{B8156EAE-7375-9B30-CF7D-E37D61E95C21}"/>
                  </a:ext>
                </a:extLst>
              </p:cNvPr>
              <p:cNvSpPr/>
              <p:nvPr/>
            </p:nvSpPr>
            <p:spPr>
              <a:xfrm>
                <a:off x="5179407" y="2761077"/>
                <a:ext cx="1195" cy="16456"/>
              </a:xfrm>
              <a:custGeom>
                <a:avLst/>
                <a:gdLst>
                  <a:gd name="connsiteX0" fmla="*/ 0 w 1195"/>
                  <a:gd name="connsiteY0" fmla="*/ 16456 h 16456"/>
                  <a:gd name="connsiteX1" fmla="*/ 0 w 1195"/>
                  <a:gd name="connsiteY1" fmla="*/ 0 h 164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5" h="16456">
                    <a:moveTo>
                      <a:pt x="0" y="16456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28" name="Forma livre: Forma 527">
                <a:extLst>
                  <a:ext uri="{FF2B5EF4-FFF2-40B4-BE49-F238E27FC236}">
                    <a16:creationId xmlns:a16="http://schemas.microsoft.com/office/drawing/2014/main" id="{393B3732-B6E0-B411-0F3E-609D303150FD}"/>
                  </a:ext>
                </a:extLst>
              </p:cNvPr>
              <p:cNvSpPr/>
              <p:nvPr/>
            </p:nvSpPr>
            <p:spPr>
              <a:xfrm>
                <a:off x="5179407" y="2850182"/>
                <a:ext cx="1195" cy="17280"/>
              </a:xfrm>
              <a:custGeom>
                <a:avLst/>
                <a:gdLst>
                  <a:gd name="connsiteX0" fmla="*/ 0 w 1195"/>
                  <a:gd name="connsiteY0" fmla="*/ 17281 h 17280"/>
                  <a:gd name="connsiteX1" fmla="*/ 0 w 1195"/>
                  <a:gd name="connsiteY1" fmla="*/ 0 h 172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5" h="17280">
                    <a:moveTo>
                      <a:pt x="0" y="17281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529" name="Gráfico 6">
              <a:extLst>
                <a:ext uri="{FF2B5EF4-FFF2-40B4-BE49-F238E27FC236}">
                  <a16:creationId xmlns:a16="http://schemas.microsoft.com/office/drawing/2014/main" id="{59B8BC44-B1DB-5AF3-C029-234989387DC2}"/>
                </a:ext>
              </a:extLst>
            </p:cNvPr>
            <p:cNvGrpSpPr/>
            <p:nvPr/>
          </p:nvGrpSpPr>
          <p:grpSpPr>
            <a:xfrm>
              <a:off x="4943345" y="2570295"/>
              <a:ext cx="205684" cy="287594"/>
              <a:chOff x="4943345" y="2570295"/>
              <a:chExt cx="205684" cy="287594"/>
            </a:xfrm>
            <a:noFill/>
          </p:grpSpPr>
          <p:sp>
            <p:nvSpPr>
              <p:cNvPr id="530" name="Forma livre: Forma 529">
                <a:extLst>
                  <a:ext uri="{FF2B5EF4-FFF2-40B4-BE49-F238E27FC236}">
                    <a16:creationId xmlns:a16="http://schemas.microsoft.com/office/drawing/2014/main" id="{185955CB-5A28-7B99-3B1A-AAFD566A6311}"/>
                  </a:ext>
                </a:extLst>
              </p:cNvPr>
              <p:cNvSpPr/>
              <p:nvPr/>
            </p:nvSpPr>
            <p:spPr>
              <a:xfrm>
                <a:off x="5034122" y="2570295"/>
                <a:ext cx="114906" cy="53204"/>
              </a:xfrm>
              <a:custGeom>
                <a:avLst/>
                <a:gdLst>
                  <a:gd name="connsiteX0" fmla="*/ 114906 w 114906"/>
                  <a:gd name="connsiteY0" fmla="*/ 26602 h 53204"/>
                  <a:gd name="connsiteX1" fmla="*/ 57459 w 114906"/>
                  <a:gd name="connsiteY1" fmla="*/ 53205 h 53204"/>
                  <a:gd name="connsiteX2" fmla="*/ 0 w 114906"/>
                  <a:gd name="connsiteY2" fmla="*/ 26602 h 53204"/>
                  <a:gd name="connsiteX3" fmla="*/ 57459 w 114906"/>
                  <a:gd name="connsiteY3" fmla="*/ 0 h 53204"/>
                  <a:gd name="connsiteX4" fmla="*/ 114906 w 114906"/>
                  <a:gd name="connsiteY4" fmla="*/ 26602 h 532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14906" h="53204">
                    <a:moveTo>
                      <a:pt x="114906" y="26602"/>
                    </a:moveTo>
                    <a:cubicBezTo>
                      <a:pt x="114906" y="41290"/>
                      <a:pt x="89188" y="53205"/>
                      <a:pt x="57459" y="53205"/>
                    </a:cubicBezTo>
                    <a:cubicBezTo>
                      <a:pt x="25730" y="53205"/>
                      <a:pt x="0" y="41302"/>
                      <a:pt x="0" y="26602"/>
                    </a:cubicBezTo>
                    <a:cubicBezTo>
                      <a:pt x="0" y="11903"/>
                      <a:pt x="25718" y="0"/>
                      <a:pt x="57459" y="0"/>
                    </a:cubicBezTo>
                    <a:cubicBezTo>
                      <a:pt x="89200" y="0"/>
                      <a:pt x="114906" y="11903"/>
                      <a:pt x="114906" y="26602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31" name="Forma livre: Forma 530">
                <a:extLst>
                  <a:ext uri="{FF2B5EF4-FFF2-40B4-BE49-F238E27FC236}">
                    <a16:creationId xmlns:a16="http://schemas.microsoft.com/office/drawing/2014/main" id="{CB86B3F0-65F0-9EEB-2062-9027429268A4}"/>
                  </a:ext>
                </a:extLst>
              </p:cNvPr>
              <p:cNvSpPr/>
              <p:nvPr/>
            </p:nvSpPr>
            <p:spPr>
              <a:xfrm>
                <a:off x="5034122" y="2629882"/>
                <a:ext cx="114906" cy="26602"/>
              </a:xfrm>
              <a:custGeom>
                <a:avLst/>
                <a:gdLst>
                  <a:gd name="connsiteX0" fmla="*/ 0 w 114906"/>
                  <a:gd name="connsiteY0" fmla="*/ 0 h 26602"/>
                  <a:gd name="connsiteX1" fmla="*/ 57459 w 114906"/>
                  <a:gd name="connsiteY1" fmla="*/ 26602 h 26602"/>
                  <a:gd name="connsiteX2" fmla="*/ 114906 w 114906"/>
                  <a:gd name="connsiteY2" fmla="*/ 0 h 266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14906" h="26602">
                    <a:moveTo>
                      <a:pt x="0" y="0"/>
                    </a:moveTo>
                    <a:cubicBezTo>
                      <a:pt x="0" y="14687"/>
                      <a:pt x="25718" y="26602"/>
                      <a:pt x="57459" y="26602"/>
                    </a:cubicBezTo>
                    <a:cubicBezTo>
                      <a:pt x="89200" y="26602"/>
                      <a:pt x="114906" y="14699"/>
                      <a:pt x="114906" y="0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32" name="Forma livre: Forma 531">
                <a:extLst>
                  <a:ext uri="{FF2B5EF4-FFF2-40B4-BE49-F238E27FC236}">
                    <a16:creationId xmlns:a16="http://schemas.microsoft.com/office/drawing/2014/main" id="{16AFFCB9-0FC5-8C8F-BED9-6BA47803248A}"/>
                  </a:ext>
                </a:extLst>
              </p:cNvPr>
              <p:cNvSpPr/>
              <p:nvPr/>
            </p:nvSpPr>
            <p:spPr>
              <a:xfrm>
                <a:off x="5034122" y="2662866"/>
                <a:ext cx="114906" cy="26602"/>
              </a:xfrm>
              <a:custGeom>
                <a:avLst/>
                <a:gdLst>
                  <a:gd name="connsiteX0" fmla="*/ 114906 w 114906"/>
                  <a:gd name="connsiteY0" fmla="*/ 0 h 26602"/>
                  <a:gd name="connsiteX1" fmla="*/ 57459 w 114906"/>
                  <a:gd name="connsiteY1" fmla="*/ 26602 h 26602"/>
                  <a:gd name="connsiteX2" fmla="*/ 0 w 114906"/>
                  <a:gd name="connsiteY2" fmla="*/ 0 h 266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14906" h="26602">
                    <a:moveTo>
                      <a:pt x="114906" y="0"/>
                    </a:moveTo>
                    <a:cubicBezTo>
                      <a:pt x="114906" y="14688"/>
                      <a:pt x="89188" y="26602"/>
                      <a:pt x="57459" y="26602"/>
                    </a:cubicBezTo>
                    <a:cubicBezTo>
                      <a:pt x="25730" y="26602"/>
                      <a:pt x="0" y="14688"/>
                      <a:pt x="0" y="0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33" name="Forma livre: Forma 532">
                <a:extLst>
                  <a:ext uri="{FF2B5EF4-FFF2-40B4-BE49-F238E27FC236}">
                    <a16:creationId xmlns:a16="http://schemas.microsoft.com/office/drawing/2014/main" id="{9E87D3D2-3F72-BB62-1EE3-702D8342FEB5}"/>
                  </a:ext>
                </a:extLst>
              </p:cNvPr>
              <p:cNvSpPr/>
              <p:nvPr/>
            </p:nvSpPr>
            <p:spPr>
              <a:xfrm>
                <a:off x="5079069" y="2695862"/>
                <a:ext cx="69959" cy="26590"/>
              </a:xfrm>
              <a:custGeom>
                <a:avLst/>
                <a:gdLst>
                  <a:gd name="connsiteX0" fmla="*/ 69960 w 69959"/>
                  <a:gd name="connsiteY0" fmla="*/ 0 h 26590"/>
                  <a:gd name="connsiteX1" fmla="*/ 12512 w 69959"/>
                  <a:gd name="connsiteY1" fmla="*/ 26590 h 26590"/>
                  <a:gd name="connsiteX2" fmla="*/ 0 w 69959"/>
                  <a:gd name="connsiteY2" fmla="*/ 25957 h 265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69959" h="26590">
                    <a:moveTo>
                      <a:pt x="69960" y="0"/>
                    </a:moveTo>
                    <a:cubicBezTo>
                      <a:pt x="69960" y="14688"/>
                      <a:pt x="44242" y="26590"/>
                      <a:pt x="12512" y="26590"/>
                    </a:cubicBezTo>
                    <a:cubicBezTo>
                      <a:pt x="8222" y="26590"/>
                      <a:pt x="4027" y="26363"/>
                      <a:pt x="0" y="25957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34" name="Forma livre: Forma 533">
                <a:extLst>
                  <a:ext uri="{FF2B5EF4-FFF2-40B4-BE49-F238E27FC236}">
                    <a16:creationId xmlns:a16="http://schemas.microsoft.com/office/drawing/2014/main" id="{17096EF1-4A3B-3473-B6D1-BA86D25CAB0B}"/>
                  </a:ext>
                </a:extLst>
              </p:cNvPr>
              <p:cNvSpPr/>
              <p:nvPr/>
            </p:nvSpPr>
            <p:spPr>
              <a:xfrm>
                <a:off x="5149029" y="2597949"/>
                <a:ext cx="1195" cy="136011"/>
              </a:xfrm>
              <a:custGeom>
                <a:avLst/>
                <a:gdLst>
                  <a:gd name="connsiteX0" fmla="*/ 0 w 1195"/>
                  <a:gd name="connsiteY0" fmla="*/ 136011 h 136011"/>
                  <a:gd name="connsiteX1" fmla="*/ 0 w 1195"/>
                  <a:gd name="connsiteY1" fmla="*/ 0 h 1360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5" h="136011">
                    <a:moveTo>
                      <a:pt x="0" y="136011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35" name="Forma livre: Forma 534">
                <a:extLst>
                  <a:ext uri="{FF2B5EF4-FFF2-40B4-BE49-F238E27FC236}">
                    <a16:creationId xmlns:a16="http://schemas.microsoft.com/office/drawing/2014/main" id="{325C094B-03B4-697E-D1EC-6F94D529408E}"/>
                  </a:ext>
                </a:extLst>
              </p:cNvPr>
              <p:cNvSpPr/>
              <p:nvPr/>
            </p:nvSpPr>
            <p:spPr>
              <a:xfrm>
                <a:off x="4943356" y="2705458"/>
                <a:ext cx="114918" cy="53204"/>
              </a:xfrm>
              <a:custGeom>
                <a:avLst/>
                <a:gdLst>
                  <a:gd name="connsiteX0" fmla="*/ 114918 w 114918"/>
                  <a:gd name="connsiteY0" fmla="*/ 26602 h 53204"/>
                  <a:gd name="connsiteX1" fmla="*/ 57459 w 114918"/>
                  <a:gd name="connsiteY1" fmla="*/ 53205 h 53204"/>
                  <a:gd name="connsiteX2" fmla="*/ 0 w 114918"/>
                  <a:gd name="connsiteY2" fmla="*/ 26602 h 53204"/>
                  <a:gd name="connsiteX3" fmla="*/ 57459 w 114918"/>
                  <a:gd name="connsiteY3" fmla="*/ 0 h 53204"/>
                  <a:gd name="connsiteX4" fmla="*/ 114918 w 114918"/>
                  <a:gd name="connsiteY4" fmla="*/ 26602 h 532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14918" h="53204">
                    <a:moveTo>
                      <a:pt x="114918" y="26602"/>
                    </a:moveTo>
                    <a:cubicBezTo>
                      <a:pt x="114918" y="41294"/>
                      <a:pt x="89193" y="53205"/>
                      <a:pt x="57459" y="53205"/>
                    </a:cubicBezTo>
                    <a:cubicBezTo>
                      <a:pt x="25725" y="53205"/>
                      <a:pt x="0" y="41294"/>
                      <a:pt x="0" y="26602"/>
                    </a:cubicBezTo>
                    <a:cubicBezTo>
                      <a:pt x="0" y="11910"/>
                      <a:pt x="25725" y="0"/>
                      <a:pt x="57459" y="0"/>
                    </a:cubicBezTo>
                    <a:cubicBezTo>
                      <a:pt x="89193" y="0"/>
                      <a:pt x="114918" y="11910"/>
                      <a:pt x="114918" y="26602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36" name="Forma livre: Forma 535">
                <a:extLst>
                  <a:ext uri="{FF2B5EF4-FFF2-40B4-BE49-F238E27FC236}">
                    <a16:creationId xmlns:a16="http://schemas.microsoft.com/office/drawing/2014/main" id="{A626B722-402E-4664-A0AD-30669BFEF3BF}"/>
                  </a:ext>
                </a:extLst>
              </p:cNvPr>
              <p:cNvSpPr/>
              <p:nvPr/>
            </p:nvSpPr>
            <p:spPr>
              <a:xfrm>
                <a:off x="4943356" y="2765045"/>
                <a:ext cx="114918" cy="26602"/>
              </a:xfrm>
              <a:custGeom>
                <a:avLst/>
                <a:gdLst>
                  <a:gd name="connsiteX0" fmla="*/ 0 w 114918"/>
                  <a:gd name="connsiteY0" fmla="*/ 0 h 26602"/>
                  <a:gd name="connsiteX1" fmla="*/ 57459 w 114918"/>
                  <a:gd name="connsiteY1" fmla="*/ 26602 h 26602"/>
                  <a:gd name="connsiteX2" fmla="*/ 114918 w 114918"/>
                  <a:gd name="connsiteY2" fmla="*/ 0 h 266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14918" h="26602">
                    <a:moveTo>
                      <a:pt x="0" y="0"/>
                    </a:moveTo>
                    <a:cubicBezTo>
                      <a:pt x="0" y="14688"/>
                      <a:pt x="25730" y="26602"/>
                      <a:pt x="57459" y="26602"/>
                    </a:cubicBezTo>
                    <a:cubicBezTo>
                      <a:pt x="89188" y="26602"/>
                      <a:pt x="114918" y="14688"/>
                      <a:pt x="114918" y="0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37" name="Forma livre: Forma 536">
                <a:extLst>
                  <a:ext uri="{FF2B5EF4-FFF2-40B4-BE49-F238E27FC236}">
                    <a16:creationId xmlns:a16="http://schemas.microsoft.com/office/drawing/2014/main" id="{06D988B4-BAA0-C38C-7AE6-227EA7622C0F}"/>
                  </a:ext>
                </a:extLst>
              </p:cNvPr>
              <p:cNvSpPr/>
              <p:nvPr/>
            </p:nvSpPr>
            <p:spPr>
              <a:xfrm>
                <a:off x="4943476" y="2798040"/>
                <a:ext cx="114786" cy="26590"/>
              </a:xfrm>
              <a:custGeom>
                <a:avLst/>
                <a:gdLst>
                  <a:gd name="connsiteX0" fmla="*/ 114787 w 114786"/>
                  <a:gd name="connsiteY0" fmla="*/ 0 h 26590"/>
                  <a:gd name="connsiteX1" fmla="*/ 57328 w 114786"/>
                  <a:gd name="connsiteY1" fmla="*/ 26590 h 26590"/>
                  <a:gd name="connsiteX2" fmla="*/ 0 w 114786"/>
                  <a:gd name="connsiteY2" fmla="*/ 0 h 265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14786" h="26590">
                    <a:moveTo>
                      <a:pt x="114787" y="0"/>
                    </a:moveTo>
                    <a:cubicBezTo>
                      <a:pt x="114787" y="14688"/>
                      <a:pt x="89057" y="26590"/>
                      <a:pt x="57328" y="26590"/>
                    </a:cubicBezTo>
                    <a:cubicBezTo>
                      <a:pt x="25598" y="26590"/>
                      <a:pt x="0" y="14676"/>
                      <a:pt x="0" y="0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38" name="Forma livre: Forma 537">
                <a:extLst>
                  <a:ext uri="{FF2B5EF4-FFF2-40B4-BE49-F238E27FC236}">
                    <a16:creationId xmlns:a16="http://schemas.microsoft.com/office/drawing/2014/main" id="{A825EA3D-9DAF-560C-96CF-8625A325E53C}"/>
                  </a:ext>
                </a:extLst>
              </p:cNvPr>
              <p:cNvSpPr/>
              <p:nvPr/>
            </p:nvSpPr>
            <p:spPr>
              <a:xfrm>
                <a:off x="5034122" y="2624599"/>
                <a:ext cx="1195" cy="66219"/>
              </a:xfrm>
              <a:custGeom>
                <a:avLst/>
                <a:gdLst>
                  <a:gd name="connsiteX0" fmla="*/ 0 w 1195"/>
                  <a:gd name="connsiteY0" fmla="*/ 0 h 66219"/>
                  <a:gd name="connsiteX1" fmla="*/ 0 w 1195"/>
                  <a:gd name="connsiteY1" fmla="*/ 66219 h 662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5" h="66219">
                    <a:moveTo>
                      <a:pt x="0" y="0"/>
                    </a:moveTo>
                    <a:lnTo>
                      <a:pt x="0" y="66219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39" name="Forma livre: Forma 538">
                <a:extLst>
                  <a:ext uri="{FF2B5EF4-FFF2-40B4-BE49-F238E27FC236}">
                    <a16:creationId xmlns:a16="http://schemas.microsoft.com/office/drawing/2014/main" id="{C35164D2-5EFA-B6FB-6151-066A9AD8F535}"/>
                  </a:ext>
                </a:extLst>
              </p:cNvPr>
              <p:cNvSpPr/>
              <p:nvPr/>
            </p:nvSpPr>
            <p:spPr>
              <a:xfrm>
                <a:off x="4943345" y="2732515"/>
                <a:ext cx="114918" cy="125375"/>
              </a:xfrm>
              <a:custGeom>
                <a:avLst/>
                <a:gdLst>
                  <a:gd name="connsiteX0" fmla="*/ 114918 w 114918"/>
                  <a:gd name="connsiteY0" fmla="*/ 0 h 125375"/>
                  <a:gd name="connsiteX1" fmla="*/ 114918 w 114918"/>
                  <a:gd name="connsiteY1" fmla="*/ 98773 h 125375"/>
                  <a:gd name="connsiteX2" fmla="*/ 57459 w 114918"/>
                  <a:gd name="connsiteY2" fmla="*/ 125375 h 125375"/>
                  <a:gd name="connsiteX3" fmla="*/ 0 w 114918"/>
                  <a:gd name="connsiteY3" fmla="*/ 98773 h 125375"/>
                  <a:gd name="connsiteX4" fmla="*/ 0 w 114918"/>
                  <a:gd name="connsiteY4" fmla="*/ 27690 h 1253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14918" h="125375">
                    <a:moveTo>
                      <a:pt x="114918" y="0"/>
                    </a:moveTo>
                    <a:lnTo>
                      <a:pt x="114918" y="98773"/>
                    </a:lnTo>
                    <a:cubicBezTo>
                      <a:pt x="114918" y="113460"/>
                      <a:pt x="89188" y="125375"/>
                      <a:pt x="57459" y="125375"/>
                    </a:cubicBezTo>
                    <a:cubicBezTo>
                      <a:pt x="25730" y="125375"/>
                      <a:pt x="0" y="113460"/>
                      <a:pt x="0" y="98773"/>
                    </a:cubicBezTo>
                    <a:lnTo>
                      <a:pt x="0" y="2769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540" name="Gráfico 6">
            <a:extLst>
              <a:ext uri="{FF2B5EF4-FFF2-40B4-BE49-F238E27FC236}">
                <a16:creationId xmlns:a16="http://schemas.microsoft.com/office/drawing/2014/main" id="{29FD9431-C5EB-6335-EA37-8191263DBE0A}"/>
              </a:ext>
            </a:extLst>
          </p:cNvPr>
          <p:cNvGrpSpPr/>
          <p:nvPr/>
        </p:nvGrpSpPr>
        <p:grpSpPr>
          <a:xfrm>
            <a:off x="4947348" y="2061588"/>
            <a:ext cx="312404" cy="292685"/>
            <a:chOff x="4947348" y="2061588"/>
            <a:chExt cx="312404" cy="292685"/>
          </a:xfrm>
          <a:noFill/>
        </p:grpSpPr>
        <p:grpSp>
          <p:nvGrpSpPr>
            <p:cNvPr id="541" name="Gráfico 6">
              <a:extLst>
                <a:ext uri="{FF2B5EF4-FFF2-40B4-BE49-F238E27FC236}">
                  <a16:creationId xmlns:a16="http://schemas.microsoft.com/office/drawing/2014/main" id="{D5B23DD8-90BC-3CB0-1186-6B71A07D41B2}"/>
                </a:ext>
              </a:extLst>
            </p:cNvPr>
            <p:cNvGrpSpPr/>
            <p:nvPr/>
          </p:nvGrpSpPr>
          <p:grpSpPr>
            <a:xfrm>
              <a:off x="4947348" y="2096006"/>
              <a:ext cx="312404" cy="179595"/>
              <a:chOff x="4947348" y="2096006"/>
              <a:chExt cx="312404" cy="179595"/>
            </a:xfrm>
            <a:noFill/>
          </p:grpSpPr>
          <p:grpSp>
            <p:nvGrpSpPr>
              <p:cNvPr id="542" name="Gráfico 6">
                <a:extLst>
                  <a:ext uri="{FF2B5EF4-FFF2-40B4-BE49-F238E27FC236}">
                    <a16:creationId xmlns:a16="http://schemas.microsoft.com/office/drawing/2014/main" id="{70C96A31-273D-E714-971B-AAB50E378723}"/>
                  </a:ext>
                </a:extLst>
              </p:cNvPr>
              <p:cNvGrpSpPr/>
              <p:nvPr/>
            </p:nvGrpSpPr>
            <p:grpSpPr>
              <a:xfrm>
                <a:off x="5168735" y="2096006"/>
                <a:ext cx="91016" cy="179595"/>
                <a:chOff x="5168735" y="2096006"/>
                <a:chExt cx="91016" cy="179595"/>
              </a:xfrm>
              <a:noFill/>
            </p:grpSpPr>
            <p:grpSp>
              <p:nvGrpSpPr>
                <p:cNvPr id="543" name="Gráfico 6">
                  <a:extLst>
                    <a:ext uri="{FF2B5EF4-FFF2-40B4-BE49-F238E27FC236}">
                      <a16:creationId xmlns:a16="http://schemas.microsoft.com/office/drawing/2014/main" id="{2A8CBB53-003B-5971-2DDA-6A8A721ED910}"/>
                    </a:ext>
                  </a:extLst>
                </p:cNvPr>
                <p:cNvGrpSpPr/>
                <p:nvPr/>
              </p:nvGrpSpPr>
              <p:grpSpPr>
                <a:xfrm>
                  <a:off x="5171185" y="2164353"/>
                  <a:ext cx="88566" cy="42891"/>
                  <a:chOff x="5171185" y="2164353"/>
                  <a:chExt cx="88566" cy="42891"/>
                </a:xfrm>
                <a:noFill/>
              </p:grpSpPr>
              <p:sp>
                <p:nvSpPr>
                  <p:cNvPr id="544" name="Forma livre: Forma 543">
                    <a:extLst>
                      <a:ext uri="{FF2B5EF4-FFF2-40B4-BE49-F238E27FC236}">
                        <a16:creationId xmlns:a16="http://schemas.microsoft.com/office/drawing/2014/main" id="{B4EB175C-B317-DB57-09DF-C8042125DAA6}"/>
                      </a:ext>
                    </a:extLst>
                  </p:cNvPr>
                  <p:cNvSpPr/>
                  <p:nvPr/>
                </p:nvSpPr>
                <p:spPr>
                  <a:xfrm>
                    <a:off x="5171185" y="2185852"/>
                    <a:ext cx="88244" cy="11"/>
                  </a:xfrm>
                  <a:custGeom>
                    <a:avLst/>
                    <a:gdLst>
                      <a:gd name="connsiteX0" fmla="*/ 88244 w 88244"/>
                      <a:gd name="connsiteY0" fmla="*/ 12 h 11"/>
                      <a:gd name="connsiteX1" fmla="*/ 0 w 88244"/>
                      <a:gd name="connsiteY1" fmla="*/ 0 h 1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88244" h="11">
                        <a:moveTo>
                          <a:pt x="88244" y="12"/>
                        </a:moveTo>
                        <a:lnTo>
                          <a:pt x="0" y="0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545" name="Forma livre: Forma 544">
                    <a:extLst>
                      <a:ext uri="{FF2B5EF4-FFF2-40B4-BE49-F238E27FC236}">
                        <a16:creationId xmlns:a16="http://schemas.microsoft.com/office/drawing/2014/main" id="{8CEE6678-3A0C-64C2-322B-01508B40DAA4}"/>
                      </a:ext>
                    </a:extLst>
                  </p:cNvPr>
                  <p:cNvSpPr/>
                  <p:nvPr/>
                </p:nvSpPr>
                <p:spPr>
                  <a:xfrm>
                    <a:off x="5238265" y="2164353"/>
                    <a:ext cx="21487" cy="42891"/>
                  </a:xfrm>
                  <a:custGeom>
                    <a:avLst/>
                    <a:gdLst>
                      <a:gd name="connsiteX0" fmla="*/ 0 w 21487"/>
                      <a:gd name="connsiteY0" fmla="*/ 42891 h 42891"/>
                      <a:gd name="connsiteX1" fmla="*/ 21487 w 21487"/>
                      <a:gd name="connsiteY1" fmla="*/ 21404 h 42891"/>
                      <a:gd name="connsiteX2" fmla="*/ 84 w 21487"/>
                      <a:gd name="connsiteY2" fmla="*/ 0 h 4289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</a:cxnLst>
                    <a:rect l="l" t="t" r="r" b="b"/>
                    <a:pathLst>
                      <a:path w="21487" h="42891">
                        <a:moveTo>
                          <a:pt x="0" y="42891"/>
                        </a:moveTo>
                        <a:lnTo>
                          <a:pt x="21487" y="21404"/>
                        </a:lnTo>
                        <a:lnTo>
                          <a:pt x="84" y="0"/>
                        </a:lnTo>
                      </a:path>
                    </a:pathLst>
                  </a:custGeom>
                  <a:noFill/>
                  <a:ln w="6350" cap="rnd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  <p:grpSp>
              <p:nvGrpSpPr>
                <p:cNvPr id="546" name="Gráfico 6">
                  <a:extLst>
                    <a:ext uri="{FF2B5EF4-FFF2-40B4-BE49-F238E27FC236}">
                      <a16:creationId xmlns:a16="http://schemas.microsoft.com/office/drawing/2014/main" id="{87B5CEF1-570D-8F3F-D502-460A42D669E4}"/>
                    </a:ext>
                  </a:extLst>
                </p:cNvPr>
                <p:cNvGrpSpPr/>
                <p:nvPr/>
              </p:nvGrpSpPr>
              <p:grpSpPr>
                <a:xfrm>
                  <a:off x="5168735" y="2096006"/>
                  <a:ext cx="67115" cy="46727"/>
                  <a:chOff x="5168735" y="2096006"/>
                  <a:chExt cx="67115" cy="46727"/>
                </a:xfrm>
                <a:noFill/>
              </p:grpSpPr>
              <p:sp>
                <p:nvSpPr>
                  <p:cNvPr id="547" name="Forma livre: Forma 546">
                    <a:extLst>
                      <a:ext uri="{FF2B5EF4-FFF2-40B4-BE49-F238E27FC236}">
                        <a16:creationId xmlns:a16="http://schemas.microsoft.com/office/drawing/2014/main" id="{CE78A4CB-E64B-63CB-ECDA-EB2BED7625DC}"/>
                      </a:ext>
                    </a:extLst>
                  </p:cNvPr>
                  <p:cNvSpPr/>
                  <p:nvPr/>
                </p:nvSpPr>
                <p:spPr>
                  <a:xfrm>
                    <a:off x="5168735" y="2104970"/>
                    <a:ext cx="65537" cy="37764"/>
                  </a:xfrm>
                  <a:custGeom>
                    <a:avLst/>
                    <a:gdLst>
                      <a:gd name="connsiteX0" fmla="*/ 65538 w 65537"/>
                      <a:gd name="connsiteY0" fmla="*/ 0 h 37764"/>
                      <a:gd name="connsiteX1" fmla="*/ 0 w 65537"/>
                      <a:gd name="connsiteY1" fmla="*/ 37764 h 3776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65537" h="37764">
                        <a:moveTo>
                          <a:pt x="65538" y="0"/>
                        </a:moveTo>
                        <a:lnTo>
                          <a:pt x="0" y="37764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548" name="Forma livre: Forma 547">
                    <a:extLst>
                      <a:ext uri="{FF2B5EF4-FFF2-40B4-BE49-F238E27FC236}">
                        <a16:creationId xmlns:a16="http://schemas.microsoft.com/office/drawing/2014/main" id="{B3B986CB-40E1-D454-E7AE-51354D77459C}"/>
                      </a:ext>
                    </a:extLst>
                  </p:cNvPr>
                  <p:cNvSpPr/>
                  <p:nvPr/>
                </p:nvSpPr>
                <p:spPr>
                  <a:xfrm>
                    <a:off x="5206631" y="2096006"/>
                    <a:ext cx="29219" cy="37262"/>
                  </a:xfrm>
                  <a:custGeom>
                    <a:avLst/>
                    <a:gdLst>
                      <a:gd name="connsiteX0" fmla="*/ 21248 w 29219"/>
                      <a:gd name="connsiteY0" fmla="*/ 37262 h 37262"/>
                      <a:gd name="connsiteX1" fmla="*/ 29220 w 29219"/>
                      <a:gd name="connsiteY1" fmla="*/ 7923 h 37262"/>
                      <a:gd name="connsiteX2" fmla="*/ 0 w 29219"/>
                      <a:gd name="connsiteY2" fmla="*/ 0 h 3726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</a:cxnLst>
                    <a:rect l="l" t="t" r="r" b="b"/>
                    <a:pathLst>
                      <a:path w="29219" h="37262">
                        <a:moveTo>
                          <a:pt x="21248" y="37262"/>
                        </a:moveTo>
                        <a:lnTo>
                          <a:pt x="29220" y="7923"/>
                        </a:lnTo>
                        <a:lnTo>
                          <a:pt x="0" y="0"/>
                        </a:lnTo>
                      </a:path>
                    </a:pathLst>
                  </a:custGeom>
                  <a:noFill/>
                  <a:ln w="6350" cap="rnd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  <p:grpSp>
              <p:nvGrpSpPr>
                <p:cNvPr id="549" name="Gráfico 6">
                  <a:extLst>
                    <a:ext uri="{FF2B5EF4-FFF2-40B4-BE49-F238E27FC236}">
                      <a16:creationId xmlns:a16="http://schemas.microsoft.com/office/drawing/2014/main" id="{543C608D-A18E-703A-3399-FE43157B66C3}"/>
                    </a:ext>
                  </a:extLst>
                </p:cNvPr>
                <p:cNvGrpSpPr/>
                <p:nvPr/>
              </p:nvGrpSpPr>
              <p:grpSpPr>
                <a:xfrm>
                  <a:off x="5168735" y="2228875"/>
                  <a:ext cx="67115" cy="46727"/>
                  <a:chOff x="5168735" y="2228875"/>
                  <a:chExt cx="67115" cy="46727"/>
                </a:xfrm>
                <a:noFill/>
              </p:grpSpPr>
              <p:sp>
                <p:nvSpPr>
                  <p:cNvPr id="550" name="Forma livre: Forma 549">
                    <a:extLst>
                      <a:ext uri="{FF2B5EF4-FFF2-40B4-BE49-F238E27FC236}">
                        <a16:creationId xmlns:a16="http://schemas.microsoft.com/office/drawing/2014/main" id="{5DD78FFE-CA4B-C99B-D1DE-0039503CFCE1}"/>
                      </a:ext>
                    </a:extLst>
                  </p:cNvPr>
                  <p:cNvSpPr/>
                  <p:nvPr/>
                </p:nvSpPr>
                <p:spPr>
                  <a:xfrm>
                    <a:off x="5168735" y="2228875"/>
                    <a:ext cx="65537" cy="37764"/>
                  </a:xfrm>
                  <a:custGeom>
                    <a:avLst/>
                    <a:gdLst>
                      <a:gd name="connsiteX0" fmla="*/ 65538 w 65537"/>
                      <a:gd name="connsiteY0" fmla="*/ 37764 h 37764"/>
                      <a:gd name="connsiteX1" fmla="*/ 0 w 65537"/>
                      <a:gd name="connsiteY1" fmla="*/ 0 h 3776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65537" h="37764">
                        <a:moveTo>
                          <a:pt x="65538" y="37764"/>
                        </a:moveTo>
                        <a:lnTo>
                          <a:pt x="0" y="0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551" name="Forma livre: Forma 550">
                    <a:extLst>
                      <a:ext uri="{FF2B5EF4-FFF2-40B4-BE49-F238E27FC236}">
                        <a16:creationId xmlns:a16="http://schemas.microsoft.com/office/drawing/2014/main" id="{3C662AD1-5828-8574-D0F7-6971787F42AB}"/>
                      </a:ext>
                    </a:extLst>
                  </p:cNvPr>
                  <p:cNvSpPr/>
                  <p:nvPr/>
                </p:nvSpPr>
                <p:spPr>
                  <a:xfrm>
                    <a:off x="5206631" y="2238340"/>
                    <a:ext cx="29219" cy="37262"/>
                  </a:xfrm>
                  <a:custGeom>
                    <a:avLst/>
                    <a:gdLst>
                      <a:gd name="connsiteX0" fmla="*/ 21248 w 29219"/>
                      <a:gd name="connsiteY0" fmla="*/ 0 h 37262"/>
                      <a:gd name="connsiteX1" fmla="*/ 29220 w 29219"/>
                      <a:gd name="connsiteY1" fmla="*/ 29339 h 37262"/>
                      <a:gd name="connsiteX2" fmla="*/ 0 w 29219"/>
                      <a:gd name="connsiteY2" fmla="*/ 37262 h 3726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</a:cxnLst>
                    <a:rect l="l" t="t" r="r" b="b"/>
                    <a:pathLst>
                      <a:path w="29219" h="37262">
                        <a:moveTo>
                          <a:pt x="21248" y="0"/>
                        </a:moveTo>
                        <a:lnTo>
                          <a:pt x="29220" y="29339"/>
                        </a:lnTo>
                        <a:lnTo>
                          <a:pt x="0" y="37262"/>
                        </a:lnTo>
                      </a:path>
                    </a:pathLst>
                  </a:custGeom>
                  <a:noFill/>
                  <a:ln w="6350" cap="rnd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</p:grpSp>
          <p:grpSp>
            <p:nvGrpSpPr>
              <p:cNvPr id="552" name="Gráfico 6">
                <a:extLst>
                  <a:ext uri="{FF2B5EF4-FFF2-40B4-BE49-F238E27FC236}">
                    <a16:creationId xmlns:a16="http://schemas.microsoft.com/office/drawing/2014/main" id="{4F47CA9A-50B1-2D75-246D-897F6295BBAF}"/>
                  </a:ext>
                </a:extLst>
              </p:cNvPr>
              <p:cNvGrpSpPr/>
              <p:nvPr/>
            </p:nvGrpSpPr>
            <p:grpSpPr>
              <a:xfrm>
                <a:off x="4947348" y="2096006"/>
                <a:ext cx="91028" cy="179595"/>
                <a:chOff x="4947348" y="2096006"/>
                <a:chExt cx="91028" cy="179595"/>
              </a:xfrm>
              <a:noFill/>
            </p:grpSpPr>
            <p:grpSp>
              <p:nvGrpSpPr>
                <p:cNvPr id="553" name="Gráfico 6">
                  <a:extLst>
                    <a:ext uri="{FF2B5EF4-FFF2-40B4-BE49-F238E27FC236}">
                      <a16:creationId xmlns:a16="http://schemas.microsoft.com/office/drawing/2014/main" id="{DAA71901-DC87-2150-C2BA-5425FEE78D21}"/>
                    </a:ext>
                  </a:extLst>
                </p:cNvPr>
                <p:cNvGrpSpPr/>
                <p:nvPr/>
              </p:nvGrpSpPr>
              <p:grpSpPr>
                <a:xfrm>
                  <a:off x="4947348" y="2164353"/>
                  <a:ext cx="88566" cy="42891"/>
                  <a:chOff x="4947348" y="2164353"/>
                  <a:chExt cx="88566" cy="42891"/>
                </a:xfrm>
                <a:noFill/>
              </p:grpSpPr>
              <p:sp>
                <p:nvSpPr>
                  <p:cNvPr id="554" name="Forma livre: Forma 553">
                    <a:extLst>
                      <a:ext uri="{FF2B5EF4-FFF2-40B4-BE49-F238E27FC236}">
                        <a16:creationId xmlns:a16="http://schemas.microsoft.com/office/drawing/2014/main" id="{AD861E2A-0F5F-DB7F-C8E5-6CA6283E001A}"/>
                      </a:ext>
                    </a:extLst>
                  </p:cNvPr>
                  <p:cNvSpPr/>
                  <p:nvPr/>
                </p:nvSpPr>
                <p:spPr>
                  <a:xfrm>
                    <a:off x="4947683" y="2185852"/>
                    <a:ext cx="88232" cy="11"/>
                  </a:xfrm>
                  <a:custGeom>
                    <a:avLst/>
                    <a:gdLst>
                      <a:gd name="connsiteX0" fmla="*/ 0 w 88232"/>
                      <a:gd name="connsiteY0" fmla="*/ 12 h 11"/>
                      <a:gd name="connsiteX1" fmla="*/ 88232 w 88232"/>
                      <a:gd name="connsiteY1" fmla="*/ 0 h 1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88232" h="11">
                        <a:moveTo>
                          <a:pt x="0" y="12"/>
                        </a:moveTo>
                        <a:lnTo>
                          <a:pt x="88232" y="0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555" name="Forma livre: Forma 554">
                    <a:extLst>
                      <a:ext uri="{FF2B5EF4-FFF2-40B4-BE49-F238E27FC236}">
                        <a16:creationId xmlns:a16="http://schemas.microsoft.com/office/drawing/2014/main" id="{431167CB-C834-6324-0F69-08DDA5FEC195}"/>
                      </a:ext>
                    </a:extLst>
                  </p:cNvPr>
                  <p:cNvSpPr/>
                  <p:nvPr/>
                </p:nvSpPr>
                <p:spPr>
                  <a:xfrm>
                    <a:off x="4947348" y="2164353"/>
                    <a:ext cx="21499" cy="42891"/>
                  </a:xfrm>
                  <a:custGeom>
                    <a:avLst/>
                    <a:gdLst>
                      <a:gd name="connsiteX0" fmla="*/ 21499 w 21499"/>
                      <a:gd name="connsiteY0" fmla="*/ 42891 h 42891"/>
                      <a:gd name="connsiteX1" fmla="*/ 0 w 21499"/>
                      <a:gd name="connsiteY1" fmla="*/ 21404 h 42891"/>
                      <a:gd name="connsiteX2" fmla="*/ 21404 w 21499"/>
                      <a:gd name="connsiteY2" fmla="*/ 0 h 4289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</a:cxnLst>
                    <a:rect l="l" t="t" r="r" b="b"/>
                    <a:pathLst>
                      <a:path w="21499" h="42891">
                        <a:moveTo>
                          <a:pt x="21499" y="42891"/>
                        </a:moveTo>
                        <a:lnTo>
                          <a:pt x="0" y="21404"/>
                        </a:lnTo>
                        <a:lnTo>
                          <a:pt x="21404" y="0"/>
                        </a:lnTo>
                      </a:path>
                    </a:pathLst>
                  </a:custGeom>
                  <a:noFill/>
                  <a:ln w="6350" cap="rnd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  <p:grpSp>
              <p:nvGrpSpPr>
                <p:cNvPr id="556" name="Gráfico 6">
                  <a:extLst>
                    <a:ext uri="{FF2B5EF4-FFF2-40B4-BE49-F238E27FC236}">
                      <a16:creationId xmlns:a16="http://schemas.microsoft.com/office/drawing/2014/main" id="{7EE79E00-0B1C-62B7-C806-C2BA15C148A5}"/>
                    </a:ext>
                  </a:extLst>
                </p:cNvPr>
                <p:cNvGrpSpPr/>
                <p:nvPr/>
              </p:nvGrpSpPr>
              <p:grpSpPr>
                <a:xfrm>
                  <a:off x="4971261" y="2096006"/>
                  <a:ext cx="67115" cy="46727"/>
                  <a:chOff x="4971261" y="2096006"/>
                  <a:chExt cx="67115" cy="46727"/>
                </a:xfrm>
                <a:noFill/>
              </p:grpSpPr>
              <p:sp>
                <p:nvSpPr>
                  <p:cNvPr id="557" name="Forma livre: Forma 556">
                    <a:extLst>
                      <a:ext uri="{FF2B5EF4-FFF2-40B4-BE49-F238E27FC236}">
                        <a16:creationId xmlns:a16="http://schemas.microsoft.com/office/drawing/2014/main" id="{397F29DC-3CB5-245F-3B91-9E137CD93CDD}"/>
                      </a:ext>
                    </a:extLst>
                  </p:cNvPr>
                  <p:cNvSpPr/>
                  <p:nvPr/>
                </p:nvSpPr>
                <p:spPr>
                  <a:xfrm>
                    <a:off x="4972839" y="2104970"/>
                    <a:ext cx="65537" cy="37764"/>
                  </a:xfrm>
                  <a:custGeom>
                    <a:avLst/>
                    <a:gdLst>
                      <a:gd name="connsiteX0" fmla="*/ 0 w 65537"/>
                      <a:gd name="connsiteY0" fmla="*/ 0 h 37764"/>
                      <a:gd name="connsiteX1" fmla="*/ 65538 w 65537"/>
                      <a:gd name="connsiteY1" fmla="*/ 37764 h 3776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65537" h="37764">
                        <a:moveTo>
                          <a:pt x="0" y="0"/>
                        </a:moveTo>
                        <a:lnTo>
                          <a:pt x="65538" y="37764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558" name="Forma livre: Forma 557">
                    <a:extLst>
                      <a:ext uri="{FF2B5EF4-FFF2-40B4-BE49-F238E27FC236}">
                        <a16:creationId xmlns:a16="http://schemas.microsoft.com/office/drawing/2014/main" id="{BAFE33DC-6A3B-DFE0-08CF-690F8596EC89}"/>
                      </a:ext>
                    </a:extLst>
                  </p:cNvPr>
                  <p:cNvSpPr/>
                  <p:nvPr/>
                </p:nvSpPr>
                <p:spPr>
                  <a:xfrm>
                    <a:off x="4971261" y="2096006"/>
                    <a:ext cx="29207" cy="37262"/>
                  </a:xfrm>
                  <a:custGeom>
                    <a:avLst/>
                    <a:gdLst>
                      <a:gd name="connsiteX0" fmla="*/ 7959 w 29207"/>
                      <a:gd name="connsiteY0" fmla="*/ 37262 h 37262"/>
                      <a:gd name="connsiteX1" fmla="*/ 0 w 29207"/>
                      <a:gd name="connsiteY1" fmla="*/ 7923 h 37262"/>
                      <a:gd name="connsiteX2" fmla="*/ 29208 w 29207"/>
                      <a:gd name="connsiteY2" fmla="*/ 0 h 3726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</a:cxnLst>
                    <a:rect l="l" t="t" r="r" b="b"/>
                    <a:pathLst>
                      <a:path w="29207" h="37262">
                        <a:moveTo>
                          <a:pt x="7959" y="37262"/>
                        </a:moveTo>
                        <a:lnTo>
                          <a:pt x="0" y="7923"/>
                        </a:lnTo>
                        <a:lnTo>
                          <a:pt x="29208" y="0"/>
                        </a:lnTo>
                      </a:path>
                    </a:pathLst>
                  </a:custGeom>
                  <a:noFill/>
                  <a:ln w="6350" cap="rnd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  <p:grpSp>
              <p:nvGrpSpPr>
                <p:cNvPr id="559" name="Gráfico 6">
                  <a:extLst>
                    <a:ext uri="{FF2B5EF4-FFF2-40B4-BE49-F238E27FC236}">
                      <a16:creationId xmlns:a16="http://schemas.microsoft.com/office/drawing/2014/main" id="{84F5FB6C-42FA-59E6-DF93-DD600118A29C}"/>
                    </a:ext>
                  </a:extLst>
                </p:cNvPr>
                <p:cNvGrpSpPr/>
                <p:nvPr/>
              </p:nvGrpSpPr>
              <p:grpSpPr>
                <a:xfrm>
                  <a:off x="4971261" y="2228875"/>
                  <a:ext cx="67115" cy="46727"/>
                  <a:chOff x="4971261" y="2228875"/>
                  <a:chExt cx="67115" cy="46727"/>
                </a:xfrm>
                <a:noFill/>
              </p:grpSpPr>
              <p:sp>
                <p:nvSpPr>
                  <p:cNvPr id="560" name="Forma livre: Forma 559">
                    <a:extLst>
                      <a:ext uri="{FF2B5EF4-FFF2-40B4-BE49-F238E27FC236}">
                        <a16:creationId xmlns:a16="http://schemas.microsoft.com/office/drawing/2014/main" id="{2D38B617-9332-CAB5-26F2-60BF0A95585B}"/>
                      </a:ext>
                    </a:extLst>
                  </p:cNvPr>
                  <p:cNvSpPr/>
                  <p:nvPr/>
                </p:nvSpPr>
                <p:spPr>
                  <a:xfrm>
                    <a:off x="4972839" y="2228875"/>
                    <a:ext cx="65537" cy="37764"/>
                  </a:xfrm>
                  <a:custGeom>
                    <a:avLst/>
                    <a:gdLst>
                      <a:gd name="connsiteX0" fmla="*/ 0 w 65537"/>
                      <a:gd name="connsiteY0" fmla="*/ 37764 h 37764"/>
                      <a:gd name="connsiteX1" fmla="*/ 65538 w 65537"/>
                      <a:gd name="connsiteY1" fmla="*/ 0 h 3776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65537" h="37764">
                        <a:moveTo>
                          <a:pt x="0" y="37764"/>
                        </a:moveTo>
                        <a:lnTo>
                          <a:pt x="65538" y="0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561" name="Forma livre: Forma 560">
                    <a:extLst>
                      <a:ext uri="{FF2B5EF4-FFF2-40B4-BE49-F238E27FC236}">
                        <a16:creationId xmlns:a16="http://schemas.microsoft.com/office/drawing/2014/main" id="{4E33C925-5377-521A-3450-FE9E8FEB66E7}"/>
                      </a:ext>
                    </a:extLst>
                  </p:cNvPr>
                  <p:cNvSpPr/>
                  <p:nvPr/>
                </p:nvSpPr>
                <p:spPr>
                  <a:xfrm>
                    <a:off x="4971261" y="2238340"/>
                    <a:ext cx="29207" cy="37262"/>
                  </a:xfrm>
                  <a:custGeom>
                    <a:avLst/>
                    <a:gdLst>
                      <a:gd name="connsiteX0" fmla="*/ 7959 w 29207"/>
                      <a:gd name="connsiteY0" fmla="*/ 0 h 37262"/>
                      <a:gd name="connsiteX1" fmla="*/ 0 w 29207"/>
                      <a:gd name="connsiteY1" fmla="*/ 29339 h 37262"/>
                      <a:gd name="connsiteX2" fmla="*/ 29208 w 29207"/>
                      <a:gd name="connsiteY2" fmla="*/ 37262 h 3726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</a:cxnLst>
                    <a:rect l="l" t="t" r="r" b="b"/>
                    <a:pathLst>
                      <a:path w="29207" h="37262">
                        <a:moveTo>
                          <a:pt x="7959" y="0"/>
                        </a:moveTo>
                        <a:lnTo>
                          <a:pt x="0" y="29339"/>
                        </a:lnTo>
                        <a:lnTo>
                          <a:pt x="29208" y="37262"/>
                        </a:lnTo>
                      </a:path>
                    </a:pathLst>
                  </a:custGeom>
                  <a:noFill/>
                  <a:ln w="6350" cap="rnd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</p:grpSp>
        </p:grpSp>
        <p:grpSp>
          <p:nvGrpSpPr>
            <p:cNvPr id="562" name="Gráfico 6">
              <a:extLst>
                <a:ext uri="{FF2B5EF4-FFF2-40B4-BE49-F238E27FC236}">
                  <a16:creationId xmlns:a16="http://schemas.microsoft.com/office/drawing/2014/main" id="{917BA238-4763-BFAC-0720-29294F0A2CA6}"/>
                </a:ext>
              </a:extLst>
            </p:cNvPr>
            <p:cNvGrpSpPr/>
            <p:nvPr/>
          </p:nvGrpSpPr>
          <p:grpSpPr>
            <a:xfrm>
              <a:off x="5022626" y="2061588"/>
              <a:ext cx="161848" cy="292685"/>
              <a:chOff x="5022626" y="2061588"/>
              <a:chExt cx="161848" cy="292685"/>
            </a:xfrm>
            <a:noFill/>
          </p:grpSpPr>
          <p:sp>
            <p:nvSpPr>
              <p:cNvPr id="563" name="Forma livre: Forma 562">
                <a:extLst>
                  <a:ext uri="{FF2B5EF4-FFF2-40B4-BE49-F238E27FC236}">
                    <a16:creationId xmlns:a16="http://schemas.microsoft.com/office/drawing/2014/main" id="{2E2388A4-2E3A-27EC-67F1-72DAFB348126}"/>
                  </a:ext>
                </a:extLst>
              </p:cNvPr>
              <p:cNvSpPr/>
              <p:nvPr/>
            </p:nvSpPr>
            <p:spPr>
              <a:xfrm>
                <a:off x="5022626" y="2061588"/>
                <a:ext cx="161848" cy="46368"/>
              </a:xfrm>
              <a:custGeom>
                <a:avLst/>
                <a:gdLst>
                  <a:gd name="connsiteX0" fmla="*/ 0 w 161848"/>
                  <a:gd name="connsiteY0" fmla="*/ 46369 h 46368"/>
                  <a:gd name="connsiteX1" fmla="*/ 0 w 161848"/>
                  <a:gd name="connsiteY1" fmla="*/ 13241 h 46368"/>
                  <a:gd name="connsiteX2" fmla="*/ 13241 w 161848"/>
                  <a:gd name="connsiteY2" fmla="*/ 0 h 46368"/>
                  <a:gd name="connsiteX3" fmla="*/ 148595 w 161848"/>
                  <a:gd name="connsiteY3" fmla="*/ 0 h 46368"/>
                  <a:gd name="connsiteX4" fmla="*/ 161849 w 161848"/>
                  <a:gd name="connsiteY4" fmla="*/ 13241 h 46368"/>
                  <a:gd name="connsiteX5" fmla="*/ 161849 w 161848"/>
                  <a:gd name="connsiteY5" fmla="*/ 46369 h 463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61848" h="46368">
                    <a:moveTo>
                      <a:pt x="0" y="46369"/>
                    </a:moveTo>
                    <a:lnTo>
                      <a:pt x="0" y="13241"/>
                    </a:lnTo>
                    <a:cubicBezTo>
                      <a:pt x="0" y="5951"/>
                      <a:pt x="5963" y="0"/>
                      <a:pt x="13241" y="0"/>
                    </a:cubicBezTo>
                    <a:lnTo>
                      <a:pt x="148595" y="0"/>
                    </a:lnTo>
                    <a:cubicBezTo>
                      <a:pt x="155885" y="0"/>
                      <a:pt x="161849" y="5951"/>
                      <a:pt x="161849" y="13241"/>
                    </a:cubicBezTo>
                    <a:lnTo>
                      <a:pt x="161849" y="46369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64" name="Forma livre: Forma 563">
                <a:extLst>
                  <a:ext uri="{FF2B5EF4-FFF2-40B4-BE49-F238E27FC236}">
                    <a16:creationId xmlns:a16="http://schemas.microsoft.com/office/drawing/2014/main" id="{EBE3D49B-6826-B363-4C74-AE789B53AD0A}"/>
                  </a:ext>
                </a:extLst>
              </p:cNvPr>
              <p:cNvSpPr/>
              <p:nvPr/>
            </p:nvSpPr>
            <p:spPr>
              <a:xfrm>
                <a:off x="5022626" y="2265719"/>
                <a:ext cx="161848" cy="88555"/>
              </a:xfrm>
              <a:custGeom>
                <a:avLst/>
                <a:gdLst>
                  <a:gd name="connsiteX0" fmla="*/ 161849 w 161848"/>
                  <a:gd name="connsiteY0" fmla="*/ 0 h 88555"/>
                  <a:gd name="connsiteX1" fmla="*/ 161849 w 161848"/>
                  <a:gd name="connsiteY1" fmla="*/ 74883 h 88555"/>
                  <a:gd name="connsiteX2" fmla="*/ 148595 w 161848"/>
                  <a:gd name="connsiteY2" fmla="*/ 88555 h 88555"/>
                  <a:gd name="connsiteX3" fmla="*/ 13241 w 161848"/>
                  <a:gd name="connsiteY3" fmla="*/ 88555 h 88555"/>
                  <a:gd name="connsiteX4" fmla="*/ 0 w 161848"/>
                  <a:gd name="connsiteY4" fmla="*/ 74883 h 88555"/>
                  <a:gd name="connsiteX5" fmla="*/ 0 w 161848"/>
                  <a:gd name="connsiteY5" fmla="*/ 0 h 885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61848" h="88555">
                    <a:moveTo>
                      <a:pt x="161849" y="0"/>
                    </a:moveTo>
                    <a:lnTo>
                      <a:pt x="161849" y="74883"/>
                    </a:lnTo>
                    <a:cubicBezTo>
                      <a:pt x="161849" y="82173"/>
                      <a:pt x="155885" y="88555"/>
                      <a:pt x="148595" y="88555"/>
                    </a:cubicBezTo>
                    <a:lnTo>
                      <a:pt x="13241" y="88555"/>
                    </a:lnTo>
                    <a:cubicBezTo>
                      <a:pt x="5951" y="88555"/>
                      <a:pt x="0" y="82173"/>
                      <a:pt x="0" y="74883"/>
                    </a:cubicBezTo>
                    <a:lnTo>
                      <a:pt x="0" y="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65" name="Forma livre: Forma 564">
                <a:extLst>
                  <a:ext uri="{FF2B5EF4-FFF2-40B4-BE49-F238E27FC236}">
                    <a16:creationId xmlns:a16="http://schemas.microsoft.com/office/drawing/2014/main" id="{4D2F45E9-4E11-15D7-8E7F-6EE15EA22B4E}"/>
                  </a:ext>
                </a:extLst>
              </p:cNvPr>
              <p:cNvSpPr/>
              <p:nvPr/>
            </p:nvSpPr>
            <p:spPr>
              <a:xfrm>
                <a:off x="5042309" y="2296504"/>
                <a:ext cx="122447" cy="1195"/>
              </a:xfrm>
              <a:custGeom>
                <a:avLst/>
                <a:gdLst>
                  <a:gd name="connsiteX0" fmla="*/ 0 w 122447"/>
                  <a:gd name="connsiteY0" fmla="*/ 0 h 1195"/>
                  <a:gd name="connsiteX1" fmla="*/ 122447 w 122447"/>
                  <a:gd name="connsiteY1" fmla="*/ 0 h 11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2447" h="1195">
                    <a:moveTo>
                      <a:pt x="0" y="0"/>
                    </a:moveTo>
                    <a:lnTo>
                      <a:pt x="122447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66" name="Forma livre: Forma 565">
                <a:extLst>
                  <a:ext uri="{FF2B5EF4-FFF2-40B4-BE49-F238E27FC236}">
                    <a16:creationId xmlns:a16="http://schemas.microsoft.com/office/drawing/2014/main" id="{285159A3-33A5-D1F7-4D63-AF1EC8FE2A87}"/>
                  </a:ext>
                </a:extLst>
              </p:cNvPr>
              <p:cNvSpPr/>
              <p:nvPr/>
            </p:nvSpPr>
            <p:spPr>
              <a:xfrm>
                <a:off x="5092549" y="2324564"/>
                <a:ext cx="22001" cy="1195"/>
              </a:xfrm>
              <a:custGeom>
                <a:avLst/>
                <a:gdLst>
                  <a:gd name="connsiteX0" fmla="*/ 0 w 22001"/>
                  <a:gd name="connsiteY0" fmla="*/ 0 h 1195"/>
                  <a:gd name="connsiteX1" fmla="*/ 22001 w 22001"/>
                  <a:gd name="connsiteY1" fmla="*/ 0 h 11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2001" h="1195">
                    <a:moveTo>
                      <a:pt x="0" y="0"/>
                    </a:moveTo>
                    <a:lnTo>
                      <a:pt x="22001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567" name="Gráfico 6">
              <a:extLst>
                <a:ext uri="{FF2B5EF4-FFF2-40B4-BE49-F238E27FC236}">
                  <a16:creationId xmlns:a16="http://schemas.microsoft.com/office/drawing/2014/main" id="{EA2C8B85-6047-6B74-2042-EC407048E940}"/>
                </a:ext>
              </a:extLst>
            </p:cNvPr>
            <p:cNvGrpSpPr/>
            <p:nvPr/>
          </p:nvGrpSpPr>
          <p:grpSpPr>
            <a:xfrm>
              <a:off x="5077623" y="2119920"/>
              <a:ext cx="51842" cy="131756"/>
              <a:chOff x="5077623" y="2119920"/>
              <a:chExt cx="51842" cy="131756"/>
            </a:xfrm>
            <a:noFill/>
          </p:grpSpPr>
          <p:sp>
            <p:nvSpPr>
              <p:cNvPr id="568" name="Forma livre: Forma 567">
                <a:extLst>
                  <a:ext uri="{FF2B5EF4-FFF2-40B4-BE49-F238E27FC236}">
                    <a16:creationId xmlns:a16="http://schemas.microsoft.com/office/drawing/2014/main" id="{BEFBDB42-B34E-E95B-F050-B5FC6D894523}"/>
                  </a:ext>
                </a:extLst>
              </p:cNvPr>
              <p:cNvSpPr/>
              <p:nvPr/>
            </p:nvSpPr>
            <p:spPr>
              <a:xfrm>
                <a:off x="5077623" y="2136508"/>
                <a:ext cx="51842" cy="98581"/>
              </a:xfrm>
              <a:custGeom>
                <a:avLst/>
                <a:gdLst>
                  <a:gd name="connsiteX0" fmla="*/ 108 w 51842"/>
                  <a:gd name="connsiteY0" fmla="*/ 74537 h 98581"/>
                  <a:gd name="connsiteX1" fmla="*/ 25981 w 51842"/>
                  <a:gd name="connsiteY1" fmla="*/ 98582 h 98581"/>
                  <a:gd name="connsiteX2" fmla="*/ 51842 w 51842"/>
                  <a:gd name="connsiteY2" fmla="*/ 74537 h 98581"/>
                  <a:gd name="connsiteX3" fmla="*/ 25909 w 51842"/>
                  <a:gd name="connsiteY3" fmla="*/ 49285 h 98581"/>
                  <a:gd name="connsiteX4" fmla="*/ 0 w 51842"/>
                  <a:gd name="connsiteY4" fmla="*/ 24045 h 98581"/>
                  <a:gd name="connsiteX5" fmla="*/ 25849 w 51842"/>
                  <a:gd name="connsiteY5" fmla="*/ 0 h 98581"/>
                  <a:gd name="connsiteX6" fmla="*/ 51723 w 51842"/>
                  <a:gd name="connsiteY6" fmla="*/ 24045 h 985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51842" h="98581">
                    <a:moveTo>
                      <a:pt x="108" y="74537"/>
                    </a:moveTo>
                    <a:cubicBezTo>
                      <a:pt x="108" y="87826"/>
                      <a:pt x="11700" y="98582"/>
                      <a:pt x="25981" y="98582"/>
                    </a:cubicBezTo>
                    <a:cubicBezTo>
                      <a:pt x="40262" y="98582"/>
                      <a:pt x="51842" y="87826"/>
                      <a:pt x="51842" y="74537"/>
                    </a:cubicBezTo>
                    <a:cubicBezTo>
                      <a:pt x="51842" y="61248"/>
                      <a:pt x="38027" y="55439"/>
                      <a:pt x="25909" y="49285"/>
                    </a:cubicBezTo>
                    <a:cubicBezTo>
                      <a:pt x="13803" y="43142"/>
                      <a:pt x="0" y="37322"/>
                      <a:pt x="0" y="24045"/>
                    </a:cubicBezTo>
                    <a:cubicBezTo>
                      <a:pt x="0" y="10768"/>
                      <a:pt x="11568" y="0"/>
                      <a:pt x="25849" y="0"/>
                    </a:cubicBezTo>
                    <a:cubicBezTo>
                      <a:pt x="40131" y="0"/>
                      <a:pt x="51723" y="10756"/>
                      <a:pt x="51723" y="24045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69" name="Forma livre: Forma 568">
                <a:extLst>
                  <a:ext uri="{FF2B5EF4-FFF2-40B4-BE49-F238E27FC236}">
                    <a16:creationId xmlns:a16="http://schemas.microsoft.com/office/drawing/2014/main" id="{731DB757-281D-B16E-336D-2B9F5AA1AE80}"/>
                  </a:ext>
                </a:extLst>
              </p:cNvPr>
              <p:cNvSpPr/>
              <p:nvPr/>
            </p:nvSpPr>
            <p:spPr>
              <a:xfrm>
                <a:off x="5103484" y="2119920"/>
                <a:ext cx="1195" cy="16456"/>
              </a:xfrm>
              <a:custGeom>
                <a:avLst/>
                <a:gdLst>
                  <a:gd name="connsiteX0" fmla="*/ 0 w 1195"/>
                  <a:gd name="connsiteY0" fmla="*/ 16456 h 16456"/>
                  <a:gd name="connsiteX1" fmla="*/ 0 w 1195"/>
                  <a:gd name="connsiteY1" fmla="*/ 0 h 164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5" h="16456">
                    <a:moveTo>
                      <a:pt x="0" y="16456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70" name="Forma livre: Forma 569">
                <a:extLst>
                  <a:ext uri="{FF2B5EF4-FFF2-40B4-BE49-F238E27FC236}">
                    <a16:creationId xmlns:a16="http://schemas.microsoft.com/office/drawing/2014/main" id="{625A50E2-B163-D39F-5778-4604EB0364EC}"/>
                  </a:ext>
                </a:extLst>
              </p:cNvPr>
              <p:cNvSpPr/>
              <p:nvPr/>
            </p:nvSpPr>
            <p:spPr>
              <a:xfrm>
                <a:off x="5103484" y="2235221"/>
                <a:ext cx="1195" cy="16456"/>
              </a:xfrm>
              <a:custGeom>
                <a:avLst/>
                <a:gdLst>
                  <a:gd name="connsiteX0" fmla="*/ 0 w 1195"/>
                  <a:gd name="connsiteY0" fmla="*/ 16456 h 16456"/>
                  <a:gd name="connsiteX1" fmla="*/ 0 w 1195"/>
                  <a:gd name="connsiteY1" fmla="*/ 0 h 164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5" h="16456">
                    <a:moveTo>
                      <a:pt x="0" y="16456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571" name="Gráfico 6">
            <a:extLst>
              <a:ext uri="{FF2B5EF4-FFF2-40B4-BE49-F238E27FC236}">
                <a16:creationId xmlns:a16="http://schemas.microsoft.com/office/drawing/2014/main" id="{BD462625-7F96-ABEE-975F-8C0286D5F478}"/>
              </a:ext>
            </a:extLst>
          </p:cNvPr>
          <p:cNvGrpSpPr/>
          <p:nvPr/>
        </p:nvGrpSpPr>
        <p:grpSpPr>
          <a:xfrm>
            <a:off x="4392320" y="987050"/>
            <a:ext cx="179834" cy="333652"/>
            <a:chOff x="4392320" y="987050"/>
            <a:chExt cx="179834" cy="333652"/>
          </a:xfrm>
          <a:noFill/>
        </p:grpSpPr>
        <p:sp>
          <p:nvSpPr>
            <p:cNvPr id="572" name="Forma livre: Forma 571">
              <a:extLst>
                <a:ext uri="{FF2B5EF4-FFF2-40B4-BE49-F238E27FC236}">
                  <a16:creationId xmlns:a16="http://schemas.microsoft.com/office/drawing/2014/main" id="{BF994E27-0554-636F-09E6-4B8271C46F97}"/>
                </a:ext>
              </a:extLst>
            </p:cNvPr>
            <p:cNvSpPr/>
            <p:nvPr/>
          </p:nvSpPr>
          <p:spPr>
            <a:xfrm>
              <a:off x="4392320" y="1023428"/>
              <a:ext cx="179834" cy="238692"/>
            </a:xfrm>
            <a:custGeom>
              <a:avLst/>
              <a:gdLst>
                <a:gd name="connsiteX0" fmla="*/ 19253 w 179834"/>
                <a:gd name="connsiteY0" fmla="*/ 0 h 238692"/>
                <a:gd name="connsiteX1" fmla="*/ 14341 w 179834"/>
                <a:gd name="connsiteY1" fmla="*/ 0 h 238692"/>
                <a:gd name="connsiteX2" fmla="*/ 0 w 179834"/>
                <a:gd name="connsiteY2" fmla="*/ 14341 h 238692"/>
                <a:gd name="connsiteX3" fmla="*/ 0 w 179834"/>
                <a:gd name="connsiteY3" fmla="*/ 224351 h 238692"/>
                <a:gd name="connsiteX4" fmla="*/ 14341 w 179834"/>
                <a:gd name="connsiteY4" fmla="*/ 238692 h 238692"/>
                <a:gd name="connsiteX5" fmla="*/ 165494 w 179834"/>
                <a:gd name="connsiteY5" fmla="*/ 238692 h 238692"/>
                <a:gd name="connsiteX6" fmla="*/ 179835 w 179834"/>
                <a:gd name="connsiteY6" fmla="*/ 224351 h 238692"/>
                <a:gd name="connsiteX7" fmla="*/ 179835 w 179834"/>
                <a:gd name="connsiteY7" fmla="*/ 14341 h 238692"/>
                <a:gd name="connsiteX8" fmla="*/ 165494 w 179834"/>
                <a:gd name="connsiteY8" fmla="*/ 0 h 238692"/>
                <a:gd name="connsiteX9" fmla="*/ 160331 w 179834"/>
                <a:gd name="connsiteY9" fmla="*/ 0 h 2386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79834" h="238692">
                  <a:moveTo>
                    <a:pt x="19253" y="0"/>
                  </a:moveTo>
                  <a:lnTo>
                    <a:pt x="14341" y="0"/>
                  </a:lnTo>
                  <a:cubicBezTo>
                    <a:pt x="6453" y="0"/>
                    <a:pt x="0" y="6453"/>
                    <a:pt x="0" y="14341"/>
                  </a:cubicBezTo>
                  <a:lnTo>
                    <a:pt x="0" y="224351"/>
                  </a:lnTo>
                  <a:cubicBezTo>
                    <a:pt x="0" y="232239"/>
                    <a:pt x="6453" y="238692"/>
                    <a:pt x="14341" y="238692"/>
                  </a:cubicBezTo>
                  <a:lnTo>
                    <a:pt x="165494" y="238692"/>
                  </a:lnTo>
                  <a:cubicBezTo>
                    <a:pt x="173381" y="238692"/>
                    <a:pt x="179835" y="232239"/>
                    <a:pt x="179835" y="224351"/>
                  </a:cubicBezTo>
                  <a:lnTo>
                    <a:pt x="179835" y="14341"/>
                  </a:lnTo>
                  <a:cubicBezTo>
                    <a:pt x="179835" y="6453"/>
                    <a:pt x="173381" y="0"/>
                    <a:pt x="165494" y="0"/>
                  </a:cubicBezTo>
                  <a:lnTo>
                    <a:pt x="160331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573" name="Forma livre: Forma 572">
              <a:extLst>
                <a:ext uri="{FF2B5EF4-FFF2-40B4-BE49-F238E27FC236}">
                  <a16:creationId xmlns:a16="http://schemas.microsoft.com/office/drawing/2014/main" id="{B2754A13-4E91-929D-9989-0F0D914B94EF}"/>
                </a:ext>
              </a:extLst>
            </p:cNvPr>
            <p:cNvSpPr/>
            <p:nvPr/>
          </p:nvSpPr>
          <p:spPr>
            <a:xfrm>
              <a:off x="4418994" y="1056555"/>
              <a:ext cx="126498" cy="1195"/>
            </a:xfrm>
            <a:custGeom>
              <a:avLst/>
              <a:gdLst>
                <a:gd name="connsiteX0" fmla="*/ 0 w 126498"/>
                <a:gd name="connsiteY0" fmla="*/ 0 h 1195"/>
                <a:gd name="connsiteX1" fmla="*/ 126499 w 126498"/>
                <a:gd name="connsiteY1" fmla="*/ 0 h 11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6498" h="1195">
                  <a:moveTo>
                    <a:pt x="0" y="0"/>
                  </a:moveTo>
                  <a:lnTo>
                    <a:pt x="126499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574" name="Forma livre: Forma 573">
              <a:extLst>
                <a:ext uri="{FF2B5EF4-FFF2-40B4-BE49-F238E27FC236}">
                  <a16:creationId xmlns:a16="http://schemas.microsoft.com/office/drawing/2014/main" id="{38983BC4-A326-62FA-D715-13D66EDD5A46}"/>
                </a:ext>
              </a:extLst>
            </p:cNvPr>
            <p:cNvSpPr/>
            <p:nvPr/>
          </p:nvSpPr>
          <p:spPr>
            <a:xfrm>
              <a:off x="4433789" y="987050"/>
              <a:ext cx="96896" cy="68872"/>
            </a:xfrm>
            <a:custGeom>
              <a:avLst/>
              <a:gdLst>
                <a:gd name="connsiteX0" fmla="*/ 96897 w 96896"/>
                <a:gd name="connsiteY0" fmla="*/ 68872 h 68872"/>
                <a:gd name="connsiteX1" fmla="*/ 96897 w 96896"/>
                <a:gd name="connsiteY1" fmla="*/ 0 h 68872"/>
                <a:gd name="connsiteX2" fmla="*/ 0 w 96896"/>
                <a:gd name="connsiteY2" fmla="*/ 0 h 68872"/>
                <a:gd name="connsiteX3" fmla="*/ 0 w 96896"/>
                <a:gd name="connsiteY3" fmla="*/ 68872 h 688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6896" h="68872">
                  <a:moveTo>
                    <a:pt x="96897" y="68872"/>
                  </a:moveTo>
                  <a:lnTo>
                    <a:pt x="96897" y="0"/>
                  </a:lnTo>
                  <a:lnTo>
                    <a:pt x="0" y="0"/>
                  </a:lnTo>
                  <a:lnTo>
                    <a:pt x="0" y="68872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575" name="Forma livre: Forma 574">
              <a:extLst>
                <a:ext uri="{FF2B5EF4-FFF2-40B4-BE49-F238E27FC236}">
                  <a16:creationId xmlns:a16="http://schemas.microsoft.com/office/drawing/2014/main" id="{0A104571-7D56-CD48-799A-2CF0E5CDF347}"/>
                </a:ext>
              </a:extLst>
            </p:cNvPr>
            <p:cNvSpPr/>
            <p:nvPr/>
          </p:nvSpPr>
          <p:spPr>
            <a:xfrm>
              <a:off x="4428459" y="1089659"/>
              <a:ext cx="107556" cy="36234"/>
            </a:xfrm>
            <a:custGeom>
              <a:avLst/>
              <a:gdLst>
                <a:gd name="connsiteX0" fmla="*/ 0 w 107556"/>
                <a:gd name="connsiteY0" fmla="*/ 0 h 36234"/>
                <a:gd name="connsiteX1" fmla="*/ 107557 w 107556"/>
                <a:gd name="connsiteY1" fmla="*/ 0 h 36234"/>
                <a:gd name="connsiteX2" fmla="*/ 107557 w 107556"/>
                <a:gd name="connsiteY2" fmla="*/ 36235 h 36234"/>
                <a:gd name="connsiteX3" fmla="*/ 0 w 107556"/>
                <a:gd name="connsiteY3" fmla="*/ 36235 h 362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7556" h="36234">
                  <a:moveTo>
                    <a:pt x="0" y="0"/>
                  </a:moveTo>
                  <a:lnTo>
                    <a:pt x="107557" y="0"/>
                  </a:lnTo>
                  <a:lnTo>
                    <a:pt x="107557" y="36235"/>
                  </a:lnTo>
                  <a:lnTo>
                    <a:pt x="0" y="36235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576" name="Gráfico 6">
              <a:extLst>
                <a:ext uri="{FF2B5EF4-FFF2-40B4-BE49-F238E27FC236}">
                  <a16:creationId xmlns:a16="http://schemas.microsoft.com/office/drawing/2014/main" id="{EF86EC70-0841-AA4D-DBB0-2763BCD8BEDD}"/>
                </a:ext>
              </a:extLst>
            </p:cNvPr>
            <p:cNvGrpSpPr/>
            <p:nvPr/>
          </p:nvGrpSpPr>
          <p:grpSpPr>
            <a:xfrm>
              <a:off x="4422328" y="1159499"/>
              <a:ext cx="119818" cy="66983"/>
              <a:chOff x="4422328" y="1159499"/>
              <a:chExt cx="119818" cy="66983"/>
            </a:xfrm>
          </p:grpSpPr>
          <p:grpSp>
            <p:nvGrpSpPr>
              <p:cNvPr id="577" name="Gráfico 6">
                <a:extLst>
                  <a:ext uri="{FF2B5EF4-FFF2-40B4-BE49-F238E27FC236}">
                    <a16:creationId xmlns:a16="http://schemas.microsoft.com/office/drawing/2014/main" id="{5BAA8637-0BD5-F53C-C6EE-5B150A4CB151}"/>
                  </a:ext>
                </a:extLst>
              </p:cNvPr>
              <p:cNvGrpSpPr/>
              <p:nvPr/>
            </p:nvGrpSpPr>
            <p:grpSpPr>
              <a:xfrm>
                <a:off x="4422328" y="1159499"/>
                <a:ext cx="28681" cy="66983"/>
                <a:chOff x="4422328" y="1159499"/>
                <a:chExt cx="28681" cy="66983"/>
              </a:xfrm>
            </p:grpSpPr>
            <p:sp>
              <p:nvSpPr>
                <p:cNvPr id="578" name="Forma livre: Forma 577">
                  <a:extLst>
                    <a:ext uri="{FF2B5EF4-FFF2-40B4-BE49-F238E27FC236}">
                      <a16:creationId xmlns:a16="http://schemas.microsoft.com/office/drawing/2014/main" id="{54731019-4670-E048-CD3A-A4D8572960E5}"/>
                    </a:ext>
                  </a:extLst>
                </p:cNvPr>
                <p:cNvSpPr/>
                <p:nvPr/>
              </p:nvSpPr>
              <p:spPr>
                <a:xfrm>
                  <a:off x="4422328" y="1159499"/>
                  <a:ext cx="28681" cy="1195"/>
                </a:xfrm>
                <a:custGeom>
                  <a:avLst/>
                  <a:gdLst>
                    <a:gd name="connsiteX0" fmla="*/ 0 w 28681"/>
                    <a:gd name="connsiteY0" fmla="*/ 0 h 1195"/>
                    <a:gd name="connsiteX1" fmla="*/ 28682 w 28681"/>
                    <a:gd name="connsiteY1" fmla="*/ 0 h 119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8681" h="1195">
                      <a:moveTo>
                        <a:pt x="0" y="0"/>
                      </a:moveTo>
                      <a:lnTo>
                        <a:pt x="28682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579" name="Forma livre: Forma 578">
                  <a:extLst>
                    <a:ext uri="{FF2B5EF4-FFF2-40B4-BE49-F238E27FC236}">
                      <a16:creationId xmlns:a16="http://schemas.microsoft.com/office/drawing/2014/main" id="{F791850F-A48F-C730-5D7F-1F8D65CDA527}"/>
                    </a:ext>
                  </a:extLst>
                </p:cNvPr>
                <p:cNvSpPr/>
                <p:nvPr/>
              </p:nvSpPr>
              <p:spPr>
                <a:xfrm>
                  <a:off x="4422328" y="1192997"/>
                  <a:ext cx="28681" cy="1195"/>
                </a:xfrm>
                <a:custGeom>
                  <a:avLst/>
                  <a:gdLst>
                    <a:gd name="connsiteX0" fmla="*/ 0 w 28681"/>
                    <a:gd name="connsiteY0" fmla="*/ 0 h 1195"/>
                    <a:gd name="connsiteX1" fmla="*/ 28682 w 28681"/>
                    <a:gd name="connsiteY1" fmla="*/ 0 h 119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8681" h="1195">
                      <a:moveTo>
                        <a:pt x="0" y="0"/>
                      </a:moveTo>
                      <a:lnTo>
                        <a:pt x="28682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580" name="Forma livre: Forma 579">
                  <a:extLst>
                    <a:ext uri="{FF2B5EF4-FFF2-40B4-BE49-F238E27FC236}">
                      <a16:creationId xmlns:a16="http://schemas.microsoft.com/office/drawing/2014/main" id="{D0758C40-EF18-5216-BDD0-1088B11BEE72}"/>
                    </a:ext>
                  </a:extLst>
                </p:cNvPr>
                <p:cNvSpPr/>
                <p:nvPr/>
              </p:nvSpPr>
              <p:spPr>
                <a:xfrm>
                  <a:off x="4422328" y="1226483"/>
                  <a:ext cx="28681" cy="1195"/>
                </a:xfrm>
                <a:custGeom>
                  <a:avLst/>
                  <a:gdLst>
                    <a:gd name="connsiteX0" fmla="*/ 0 w 28681"/>
                    <a:gd name="connsiteY0" fmla="*/ 0 h 1195"/>
                    <a:gd name="connsiteX1" fmla="*/ 28682 w 28681"/>
                    <a:gd name="connsiteY1" fmla="*/ 0 h 119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8681" h="1195">
                      <a:moveTo>
                        <a:pt x="0" y="0"/>
                      </a:moveTo>
                      <a:lnTo>
                        <a:pt x="28682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581" name="Gráfico 6">
                <a:extLst>
                  <a:ext uri="{FF2B5EF4-FFF2-40B4-BE49-F238E27FC236}">
                    <a16:creationId xmlns:a16="http://schemas.microsoft.com/office/drawing/2014/main" id="{E06D72D2-F611-240A-07B5-01DD030D45D3}"/>
                  </a:ext>
                </a:extLst>
              </p:cNvPr>
              <p:cNvGrpSpPr/>
              <p:nvPr/>
            </p:nvGrpSpPr>
            <p:grpSpPr>
              <a:xfrm>
                <a:off x="4467896" y="1159499"/>
                <a:ext cx="28681" cy="66983"/>
                <a:chOff x="4467896" y="1159499"/>
                <a:chExt cx="28681" cy="66983"/>
              </a:xfrm>
            </p:grpSpPr>
            <p:sp>
              <p:nvSpPr>
                <p:cNvPr id="582" name="Forma livre: Forma 581">
                  <a:extLst>
                    <a:ext uri="{FF2B5EF4-FFF2-40B4-BE49-F238E27FC236}">
                      <a16:creationId xmlns:a16="http://schemas.microsoft.com/office/drawing/2014/main" id="{20E394E2-176A-B276-7DDA-58D01F41239C}"/>
                    </a:ext>
                  </a:extLst>
                </p:cNvPr>
                <p:cNvSpPr/>
                <p:nvPr/>
              </p:nvSpPr>
              <p:spPr>
                <a:xfrm>
                  <a:off x="4467896" y="1159499"/>
                  <a:ext cx="28681" cy="1195"/>
                </a:xfrm>
                <a:custGeom>
                  <a:avLst/>
                  <a:gdLst>
                    <a:gd name="connsiteX0" fmla="*/ 0 w 28681"/>
                    <a:gd name="connsiteY0" fmla="*/ 0 h 1195"/>
                    <a:gd name="connsiteX1" fmla="*/ 28682 w 28681"/>
                    <a:gd name="connsiteY1" fmla="*/ 0 h 119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8681" h="1195">
                      <a:moveTo>
                        <a:pt x="0" y="0"/>
                      </a:moveTo>
                      <a:lnTo>
                        <a:pt x="28682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583" name="Forma livre: Forma 582">
                  <a:extLst>
                    <a:ext uri="{FF2B5EF4-FFF2-40B4-BE49-F238E27FC236}">
                      <a16:creationId xmlns:a16="http://schemas.microsoft.com/office/drawing/2014/main" id="{5ADC2196-BCBB-6DD8-3592-BBD47B4BC7E2}"/>
                    </a:ext>
                  </a:extLst>
                </p:cNvPr>
                <p:cNvSpPr/>
                <p:nvPr/>
              </p:nvSpPr>
              <p:spPr>
                <a:xfrm>
                  <a:off x="4467896" y="1192997"/>
                  <a:ext cx="28681" cy="1195"/>
                </a:xfrm>
                <a:custGeom>
                  <a:avLst/>
                  <a:gdLst>
                    <a:gd name="connsiteX0" fmla="*/ 0 w 28681"/>
                    <a:gd name="connsiteY0" fmla="*/ 0 h 1195"/>
                    <a:gd name="connsiteX1" fmla="*/ 28682 w 28681"/>
                    <a:gd name="connsiteY1" fmla="*/ 0 h 119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8681" h="1195">
                      <a:moveTo>
                        <a:pt x="0" y="0"/>
                      </a:moveTo>
                      <a:lnTo>
                        <a:pt x="28682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584" name="Forma livre: Forma 583">
                  <a:extLst>
                    <a:ext uri="{FF2B5EF4-FFF2-40B4-BE49-F238E27FC236}">
                      <a16:creationId xmlns:a16="http://schemas.microsoft.com/office/drawing/2014/main" id="{8B8D1EFD-9BE4-6FBB-90D0-AF07E8E861F9}"/>
                    </a:ext>
                  </a:extLst>
                </p:cNvPr>
                <p:cNvSpPr/>
                <p:nvPr/>
              </p:nvSpPr>
              <p:spPr>
                <a:xfrm>
                  <a:off x="4467896" y="1226483"/>
                  <a:ext cx="28681" cy="1195"/>
                </a:xfrm>
                <a:custGeom>
                  <a:avLst/>
                  <a:gdLst>
                    <a:gd name="connsiteX0" fmla="*/ 0 w 28681"/>
                    <a:gd name="connsiteY0" fmla="*/ 0 h 1195"/>
                    <a:gd name="connsiteX1" fmla="*/ 28682 w 28681"/>
                    <a:gd name="connsiteY1" fmla="*/ 0 h 119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8681" h="1195">
                      <a:moveTo>
                        <a:pt x="0" y="0"/>
                      </a:moveTo>
                      <a:lnTo>
                        <a:pt x="28682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585" name="Gráfico 6">
                <a:extLst>
                  <a:ext uri="{FF2B5EF4-FFF2-40B4-BE49-F238E27FC236}">
                    <a16:creationId xmlns:a16="http://schemas.microsoft.com/office/drawing/2014/main" id="{33AF919A-8140-CDAC-09EC-7AF214FDEE9F}"/>
                  </a:ext>
                </a:extLst>
              </p:cNvPr>
              <p:cNvGrpSpPr/>
              <p:nvPr/>
            </p:nvGrpSpPr>
            <p:grpSpPr>
              <a:xfrm>
                <a:off x="4513465" y="1159499"/>
                <a:ext cx="28681" cy="66983"/>
                <a:chOff x="4513465" y="1159499"/>
                <a:chExt cx="28681" cy="66983"/>
              </a:xfrm>
            </p:grpSpPr>
            <p:sp>
              <p:nvSpPr>
                <p:cNvPr id="586" name="Forma livre: Forma 585">
                  <a:extLst>
                    <a:ext uri="{FF2B5EF4-FFF2-40B4-BE49-F238E27FC236}">
                      <a16:creationId xmlns:a16="http://schemas.microsoft.com/office/drawing/2014/main" id="{1DC6F818-1CB0-D08B-D87C-A596886F42DC}"/>
                    </a:ext>
                  </a:extLst>
                </p:cNvPr>
                <p:cNvSpPr/>
                <p:nvPr/>
              </p:nvSpPr>
              <p:spPr>
                <a:xfrm>
                  <a:off x="4513465" y="1159499"/>
                  <a:ext cx="28681" cy="1195"/>
                </a:xfrm>
                <a:custGeom>
                  <a:avLst/>
                  <a:gdLst>
                    <a:gd name="connsiteX0" fmla="*/ 0 w 28681"/>
                    <a:gd name="connsiteY0" fmla="*/ 0 h 1195"/>
                    <a:gd name="connsiteX1" fmla="*/ 28682 w 28681"/>
                    <a:gd name="connsiteY1" fmla="*/ 0 h 119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8681" h="1195">
                      <a:moveTo>
                        <a:pt x="0" y="0"/>
                      </a:moveTo>
                      <a:lnTo>
                        <a:pt x="28682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587" name="Forma livre: Forma 586">
                  <a:extLst>
                    <a:ext uri="{FF2B5EF4-FFF2-40B4-BE49-F238E27FC236}">
                      <a16:creationId xmlns:a16="http://schemas.microsoft.com/office/drawing/2014/main" id="{C96CBA25-EE55-676A-79C2-1CAD6ECD3D6C}"/>
                    </a:ext>
                  </a:extLst>
                </p:cNvPr>
                <p:cNvSpPr/>
                <p:nvPr/>
              </p:nvSpPr>
              <p:spPr>
                <a:xfrm>
                  <a:off x="4513465" y="1192997"/>
                  <a:ext cx="28681" cy="1195"/>
                </a:xfrm>
                <a:custGeom>
                  <a:avLst/>
                  <a:gdLst>
                    <a:gd name="connsiteX0" fmla="*/ 0 w 28681"/>
                    <a:gd name="connsiteY0" fmla="*/ 0 h 1195"/>
                    <a:gd name="connsiteX1" fmla="*/ 28682 w 28681"/>
                    <a:gd name="connsiteY1" fmla="*/ 0 h 119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8681" h="1195">
                      <a:moveTo>
                        <a:pt x="0" y="0"/>
                      </a:moveTo>
                      <a:lnTo>
                        <a:pt x="28682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588" name="Forma livre: Forma 587">
                  <a:extLst>
                    <a:ext uri="{FF2B5EF4-FFF2-40B4-BE49-F238E27FC236}">
                      <a16:creationId xmlns:a16="http://schemas.microsoft.com/office/drawing/2014/main" id="{446677BE-0314-203B-6A14-74C350D09903}"/>
                    </a:ext>
                  </a:extLst>
                </p:cNvPr>
                <p:cNvSpPr/>
                <p:nvPr/>
              </p:nvSpPr>
              <p:spPr>
                <a:xfrm>
                  <a:off x="4513465" y="1226483"/>
                  <a:ext cx="28681" cy="1195"/>
                </a:xfrm>
                <a:custGeom>
                  <a:avLst/>
                  <a:gdLst>
                    <a:gd name="connsiteX0" fmla="*/ 0 w 28681"/>
                    <a:gd name="connsiteY0" fmla="*/ 0 h 1195"/>
                    <a:gd name="connsiteX1" fmla="*/ 28682 w 28681"/>
                    <a:gd name="connsiteY1" fmla="*/ 0 h 119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8681" h="1195">
                      <a:moveTo>
                        <a:pt x="0" y="0"/>
                      </a:moveTo>
                      <a:lnTo>
                        <a:pt x="28682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grpSp>
          <p:nvGrpSpPr>
            <p:cNvPr id="589" name="Gráfico 6">
              <a:extLst>
                <a:ext uri="{FF2B5EF4-FFF2-40B4-BE49-F238E27FC236}">
                  <a16:creationId xmlns:a16="http://schemas.microsoft.com/office/drawing/2014/main" id="{85BE6525-5160-89C2-C579-903396C248EA}"/>
                </a:ext>
              </a:extLst>
            </p:cNvPr>
            <p:cNvGrpSpPr/>
            <p:nvPr/>
          </p:nvGrpSpPr>
          <p:grpSpPr>
            <a:xfrm>
              <a:off x="4417703" y="1262741"/>
              <a:ext cx="129067" cy="57961"/>
              <a:chOff x="4417703" y="1262741"/>
              <a:chExt cx="129067" cy="57961"/>
            </a:xfrm>
            <a:noFill/>
          </p:grpSpPr>
          <p:sp>
            <p:nvSpPr>
              <p:cNvPr id="590" name="Forma livre: Forma 589">
                <a:extLst>
                  <a:ext uri="{FF2B5EF4-FFF2-40B4-BE49-F238E27FC236}">
                    <a16:creationId xmlns:a16="http://schemas.microsoft.com/office/drawing/2014/main" id="{957FAC03-1DED-387D-D192-3B3675399C7E}"/>
                  </a:ext>
                </a:extLst>
              </p:cNvPr>
              <p:cNvSpPr/>
              <p:nvPr/>
            </p:nvSpPr>
            <p:spPr>
              <a:xfrm>
                <a:off x="4451070" y="1263184"/>
                <a:ext cx="1195" cy="55845"/>
              </a:xfrm>
              <a:custGeom>
                <a:avLst/>
                <a:gdLst>
                  <a:gd name="connsiteX0" fmla="*/ 0 w 1195"/>
                  <a:gd name="connsiteY0" fmla="*/ 0 h 55845"/>
                  <a:gd name="connsiteX1" fmla="*/ 0 w 1195"/>
                  <a:gd name="connsiteY1" fmla="*/ 55846 h 558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5" h="55845">
                    <a:moveTo>
                      <a:pt x="0" y="0"/>
                    </a:moveTo>
                    <a:lnTo>
                      <a:pt x="0" y="55846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91" name="Forma livre: Forma 590">
                <a:extLst>
                  <a:ext uri="{FF2B5EF4-FFF2-40B4-BE49-F238E27FC236}">
                    <a16:creationId xmlns:a16="http://schemas.microsoft.com/office/drawing/2014/main" id="{8C975B69-9B4F-2E45-BE38-B2FB494E7346}"/>
                  </a:ext>
                </a:extLst>
              </p:cNvPr>
              <p:cNvSpPr/>
              <p:nvPr/>
            </p:nvSpPr>
            <p:spPr>
              <a:xfrm>
                <a:off x="4417703" y="1262741"/>
                <a:ext cx="129067" cy="57961"/>
              </a:xfrm>
              <a:custGeom>
                <a:avLst/>
                <a:gdLst>
                  <a:gd name="connsiteX0" fmla="*/ 129068 w 129067"/>
                  <a:gd name="connsiteY0" fmla="*/ 0 h 57961"/>
                  <a:gd name="connsiteX1" fmla="*/ 129068 w 129067"/>
                  <a:gd name="connsiteY1" fmla="*/ 43620 h 57961"/>
                  <a:gd name="connsiteX2" fmla="*/ 114727 w 129067"/>
                  <a:gd name="connsiteY2" fmla="*/ 57961 h 57961"/>
                  <a:gd name="connsiteX3" fmla="*/ 14341 w 129067"/>
                  <a:gd name="connsiteY3" fmla="*/ 57961 h 57961"/>
                  <a:gd name="connsiteX4" fmla="*/ 0 w 129067"/>
                  <a:gd name="connsiteY4" fmla="*/ 43620 h 57961"/>
                  <a:gd name="connsiteX5" fmla="*/ 0 w 129067"/>
                  <a:gd name="connsiteY5" fmla="*/ 20101 h 579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29067" h="57961">
                    <a:moveTo>
                      <a:pt x="129068" y="0"/>
                    </a:moveTo>
                    <a:lnTo>
                      <a:pt x="129068" y="43620"/>
                    </a:lnTo>
                    <a:cubicBezTo>
                      <a:pt x="129068" y="51508"/>
                      <a:pt x="122615" y="57961"/>
                      <a:pt x="114727" y="57961"/>
                    </a:cubicBezTo>
                    <a:lnTo>
                      <a:pt x="14341" y="57961"/>
                    </a:lnTo>
                    <a:cubicBezTo>
                      <a:pt x="6453" y="57961"/>
                      <a:pt x="0" y="51508"/>
                      <a:pt x="0" y="43620"/>
                    </a:cubicBezTo>
                    <a:lnTo>
                      <a:pt x="0" y="20101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592" name="Gráfico 6">
            <a:extLst>
              <a:ext uri="{FF2B5EF4-FFF2-40B4-BE49-F238E27FC236}">
                <a16:creationId xmlns:a16="http://schemas.microsoft.com/office/drawing/2014/main" id="{CBD06BED-F949-8744-EF33-19AFE1DE3360}"/>
              </a:ext>
            </a:extLst>
          </p:cNvPr>
          <p:cNvGrpSpPr/>
          <p:nvPr/>
        </p:nvGrpSpPr>
        <p:grpSpPr>
          <a:xfrm>
            <a:off x="4367802" y="1505431"/>
            <a:ext cx="228860" cy="350963"/>
            <a:chOff x="4367802" y="1505431"/>
            <a:chExt cx="228860" cy="350963"/>
          </a:xfrm>
          <a:noFill/>
        </p:grpSpPr>
        <p:grpSp>
          <p:nvGrpSpPr>
            <p:cNvPr id="593" name="Gráfico 6">
              <a:extLst>
                <a:ext uri="{FF2B5EF4-FFF2-40B4-BE49-F238E27FC236}">
                  <a16:creationId xmlns:a16="http://schemas.microsoft.com/office/drawing/2014/main" id="{3081C550-98CC-6F84-0EBA-1D5E1E99DC80}"/>
                </a:ext>
              </a:extLst>
            </p:cNvPr>
            <p:cNvGrpSpPr/>
            <p:nvPr/>
          </p:nvGrpSpPr>
          <p:grpSpPr>
            <a:xfrm>
              <a:off x="4367802" y="1505431"/>
              <a:ext cx="228860" cy="350963"/>
              <a:chOff x="4367802" y="1505431"/>
              <a:chExt cx="228860" cy="350963"/>
            </a:xfrm>
            <a:noFill/>
          </p:grpSpPr>
          <p:grpSp>
            <p:nvGrpSpPr>
              <p:cNvPr id="594" name="Gráfico 6">
                <a:extLst>
                  <a:ext uri="{FF2B5EF4-FFF2-40B4-BE49-F238E27FC236}">
                    <a16:creationId xmlns:a16="http://schemas.microsoft.com/office/drawing/2014/main" id="{55B773DE-F5C6-02F9-DAA5-AAA6899F825B}"/>
                  </a:ext>
                </a:extLst>
              </p:cNvPr>
              <p:cNvGrpSpPr/>
              <p:nvPr/>
            </p:nvGrpSpPr>
            <p:grpSpPr>
              <a:xfrm>
                <a:off x="4367802" y="1505431"/>
                <a:ext cx="120517" cy="153788"/>
                <a:chOff x="4367802" y="1505431"/>
                <a:chExt cx="120517" cy="153788"/>
              </a:xfrm>
              <a:noFill/>
            </p:grpSpPr>
            <p:sp>
              <p:nvSpPr>
                <p:cNvPr id="595" name="Forma livre: Forma 594">
                  <a:extLst>
                    <a:ext uri="{FF2B5EF4-FFF2-40B4-BE49-F238E27FC236}">
                      <a16:creationId xmlns:a16="http://schemas.microsoft.com/office/drawing/2014/main" id="{190C408A-2D93-C65B-8A51-F5B34846B09C}"/>
                    </a:ext>
                  </a:extLst>
                </p:cNvPr>
                <p:cNvSpPr/>
                <p:nvPr/>
              </p:nvSpPr>
              <p:spPr>
                <a:xfrm>
                  <a:off x="4401486" y="1640839"/>
                  <a:ext cx="1195" cy="18380"/>
                </a:xfrm>
                <a:custGeom>
                  <a:avLst/>
                  <a:gdLst>
                    <a:gd name="connsiteX0" fmla="*/ 0 w 1195"/>
                    <a:gd name="connsiteY0" fmla="*/ 0 h 18380"/>
                    <a:gd name="connsiteX1" fmla="*/ 0 w 1195"/>
                    <a:gd name="connsiteY1" fmla="*/ 18380 h 183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195" h="18380">
                      <a:moveTo>
                        <a:pt x="0" y="0"/>
                      </a:moveTo>
                      <a:lnTo>
                        <a:pt x="0" y="1838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596" name="Forma livre: Forma 595">
                  <a:extLst>
                    <a:ext uri="{FF2B5EF4-FFF2-40B4-BE49-F238E27FC236}">
                      <a16:creationId xmlns:a16="http://schemas.microsoft.com/office/drawing/2014/main" id="{EC3F24CA-68FF-3582-7111-DCDDEC9F84AD}"/>
                    </a:ext>
                  </a:extLst>
                </p:cNvPr>
                <p:cNvSpPr/>
                <p:nvPr/>
              </p:nvSpPr>
              <p:spPr>
                <a:xfrm>
                  <a:off x="4367802" y="1505431"/>
                  <a:ext cx="120517" cy="111398"/>
                </a:xfrm>
                <a:custGeom>
                  <a:avLst/>
                  <a:gdLst>
                    <a:gd name="connsiteX0" fmla="*/ 88849 w 120517"/>
                    <a:gd name="connsiteY0" fmla="*/ 105674 h 111398"/>
                    <a:gd name="connsiteX1" fmla="*/ 88849 w 120517"/>
                    <a:gd name="connsiteY1" fmla="*/ 67432 h 111398"/>
                    <a:gd name="connsiteX2" fmla="*/ 114531 w 120517"/>
                    <a:gd name="connsiteY2" fmla="*/ 67432 h 111398"/>
                    <a:gd name="connsiteX3" fmla="*/ 119789 w 120517"/>
                    <a:gd name="connsiteY3" fmla="*/ 63512 h 111398"/>
                    <a:gd name="connsiteX4" fmla="*/ 118750 w 120517"/>
                    <a:gd name="connsiteY4" fmla="*/ 54585 h 111398"/>
                    <a:gd name="connsiteX5" fmla="*/ 66824 w 120517"/>
                    <a:gd name="connsiteY5" fmla="*/ 2707 h 111398"/>
                    <a:gd name="connsiteX6" fmla="*/ 53702 w 120517"/>
                    <a:gd name="connsiteY6" fmla="*/ 2707 h 111398"/>
                    <a:gd name="connsiteX7" fmla="*/ 2027 w 120517"/>
                    <a:gd name="connsiteY7" fmla="*/ 54585 h 111398"/>
                    <a:gd name="connsiteX8" fmla="*/ 640 w 120517"/>
                    <a:gd name="connsiteY8" fmla="*/ 63429 h 111398"/>
                    <a:gd name="connsiteX9" fmla="*/ 6974 w 120517"/>
                    <a:gd name="connsiteY9" fmla="*/ 67444 h 111398"/>
                    <a:gd name="connsiteX10" fmla="*/ 33684 w 120517"/>
                    <a:gd name="connsiteY10" fmla="*/ 67444 h 111398"/>
                    <a:gd name="connsiteX11" fmla="*/ 33684 w 120517"/>
                    <a:gd name="connsiteY11" fmla="*/ 111399 h 1113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</a:cxnLst>
                  <a:rect l="l" t="t" r="r" b="b"/>
                  <a:pathLst>
                    <a:path w="120517" h="111398">
                      <a:moveTo>
                        <a:pt x="88849" y="105674"/>
                      </a:moveTo>
                      <a:lnTo>
                        <a:pt x="88849" y="67432"/>
                      </a:lnTo>
                      <a:lnTo>
                        <a:pt x="114531" y="67432"/>
                      </a:lnTo>
                      <a:cubicBezTo>
                        <a:pt x="117686" y="67432"/>
                        <a:pt x="119180" y="64970"/>
                        <a:pt x="119789" y="63512"/>
                      </a:cubicBezTo>
                      <a:cubicBezTo>
                        <a:pt x="121068" y="60393"/>
                        <a:pt x="120626" y="56461"/>
                        <a:pt x="118750" y="54585"/>
                      </a:cubicBezTo>
                      <a:lnTo>
                        <a:pt x="66824" y="2707"/>
                      </a:lnTo>
                      <a:cubicBezTo>
                        <a:pt x="63191" y="-902"/>
                        <a:pt x="57299" y="-902"/>
                        <a:pt x="53702" y="2707"/>
                      </a:cubicBezTo>
                      <a:lnTo>
                        <a:pt x="2027" y="54585"/>
                      </a:lnTo>
                      <a:cubicBezTo>
                        <a:pt x="19" y="56593"/>
                        <a:pt x="-602" y="60453"/>
                        <a:pt x="640" y="63429"/>
                      </a:cubicBezTo>
                      <a:cubicBezTo>
                        <a:pt x="1728" y="66010"/>
                        <a:pt x="3975" y="67444"/>
                        <a:pt x="6974" y="67444"/>
                      </a:cubicBezTo>
                      <a:lnTo>
                        <a:pt x="33684" y="67444"/>
                      </a:lnTo>
                      <a:cubicBezTo>
                        <a:pt x="33684" y="67444"/>
                        <a:pt x="33684" y="111399"/>
                        <a:pt x="33684" y="111399"/>
                      </a:cubicBez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597" name="Gráfico 6">
                <a:extLst>
                  <a:ext uri="{FF2B5EF4-FFF2-40B4-BE49-F238E27FC236}">
                    <a16:creationId xmlns:a16="http://schemas.microsoft.com/office/drawing/2014/main" id="{76F41B64-E442-E4FC-CB32-715832212403}"/>
                  </a:ext>
                </a:extLst>
              </p:cNvPr>
              <p:cNvGrpSpPr/>
              <p:nvPr/>
            </p:nvGrpSpPr>
            <p:grpSpPr>
              <a:xfrm>
                <a:off x="4434752" y="1590508"/>
                <a:ext cx="161911" cy="208080"/>
                <a:chOff x="4434752" y="1590508"/>
                <a:chExt cx="161911" cy="208080"/>
              </a:xfrm>
              <a:noFill/>
            </p:grpSpPr>
            <p:sp>
              <p:nvSpPr>
                <p:cNvPr id="598" name="Forma livre: Forma 597">
                  <a:extLst>
                    <a:ext uri="{FF2B5EF4-FFF2-40B4-BE49-F238E27FC236}">
                      <a16:creationId xmlns:a16="http://schemas.microsoft.com/office/drawing/2014/main" id="{A6F18539-8FA1-1E31-A6CE-46B85DD37AA8}"/>
                    </a:ext>
                  </a:extLst>
                </p:cNvPr>
                <p:cNvSpPr/>
                <p:nvPr/>
              </p:nvSpPr>
              <p:spPr>
                <a:xfrm>
                  <a:off x="4554109" y="1758279"/>
                  <a:ext cx="1195" cy="13683"/>
                </a:xfrm>
                <a:custGeom>
                  <a:avLst/>
                  <a:gdLst>
                    <a:gd name="connsiteX0" fmla="*/ 0 w 1195"/>
                    <a:gd name="connsiteY0" fmla="*/ 0 h 13683"/>
                    <a:gd name="connsiteX1" fmla="*/ 0 w 1195"/>
                    <a:gd name="connsiteY1" fmla="*/ 13684 h 1368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195" h="13683">
                      <a:moveTo>
                        <a:pt x="0" y="0"/>
                      </a:moveTo>
                      <a:lnTo>
                        <a:pt x="0" y="13684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599" name="Forma livre: Forma 598">
                  <a:extLst>
                    <a:ext uri="{FF2B5EF4-FFF2-40B4-BE49-F238E27FC236}">
                      <a16:creationId xmlns:a16="http://schemas.microsoft.com/office/drawing/2014/main" id="{389B7661-559C-FD8C-2281-FD3847B7AF3D}"/>
                    </a:ext>
                  </a:extLst>
                </p:cNvPr>
                <p:cNvSpPr/>
                <p:nvPr/>
              </p:nvSpPr>
              <p:spPr>
                <a:xfrm>
                  <a:off x="4480003" y="1786100"/>
                  <a:ext cx="1195" cy="12488"/>
                </a:xfrm>
                <a:custGeom>
                  <a:avLst/>
                  <a:gdLst>
                    <a:gd name="connsiteX0" fmla="*/ 0 w 1195"/>
                    <a:gd name="connsiteY0" fmla="*/ 0 h 12488"/>
                    <a:gd name="connsiteX1" fmla="*/ 0 w 1195"/>
                    <a:gd name="connsiteY1" fmla="*/ 12489 h 1248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195" h="12488">
                      <a:moveTo>
                        <a:pt x="0" y="0"/>
                      </a:moveTo>
                      <a:lnTo>
                        <a:pt x="0" y="12489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600" name="Forma livre: Forma 599">
                  <a:extLst>
                    <a:ext uri="{FF2B5EF4-FFF2-40B4-BE49-F238E27FC236}">
                      <a16:creationId xmlns:a16="http://schemas.microsoft.com/office/drawing/2014/main" id="{7386DF5B-E00E-98C3-92BA-54A3B0717D69}"/>
                    </a:ext>
                  </a:extLst>
                </p:cNvPr>
                <p:cNvSpPr/>
                <p:nvPr/>
              </p:nvSpPr>
              <p:spPr>
                <a:xfrm>
                  <a:off x="4480003" y="1739946"/>
                  <a:ext cx="1195" cy="22395"/>
                </a:xfrm>
                <a:custGeom>
                  <a:avLst/>
                  <a:gdLst>
                    <a:gd name="connsiteX0" fmla="*/ 0 w 1195"/>
                    <a:gd name="connsiteY0" fmla="*/ 0 h 22395"/>
                    <a:gd name="connsiteX1" fmla="*/ 0 w 1195"/>
                    <a:gd name="connsiteY1" fmla="*/ 22396 h 2239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195" h="22395">
                      <a:moveTo>
                        <a:pt x="0" y="0"/>
                      </a:moveTo>
                      <a:lnTo>
                        <a:pt x="0" y="22396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601" name="Forma livre: Forma 600">
                  <a:extLst>
                    <a:ext uri="{FF2B5EF4-FFF2-40B4-BE49-F238E27FC236}">
                      <a16:creationId xmlns:a16="http://schemas.microsoft.com/office/drawing/2014/main" id="{23EB641F-0357-C52A-CF37-8DF6A1E4CE3D}"/>
                    </a:ext>
                  </a:extLst>
                </p:cNvPr>
                <p:cNvSpPr/>
                <p:nvPr/>
              </p:nvSpPr>
              <p:spPr>
                <a:xfrm>
                  <a:off x="4434752" y="1590508"/>
                  <a:ext cx="161911" cy="144884"/>
                </a:xfrm>
                <a:custGeom>
                  <a:avLst/>
                  <a:gdLst>
                    <a:gd name="connsiteX0" fmla="*/ 119357 w 161911"/>
                    <a:gd name="connsiteY0" fmla="*/ 144885 h 144884"/>
                    <a:gd name="connsiteX1" fmla="*/ 119357 w 161911"/>
                    <a:gd name="connsiteY1" fmla="*/ 90616 h 144884"/>
                    <a:gd name="connsiteX2" fmla="*/ 153859 w 161911"/>
                    <a:gd name="connsiteY2" fmla="*/ 90616 h 144884"/>
                    <a:gd name="connsiteX3" fmla="*/ 160934 w 161911"/>
                    <a:gd name="connsiteY3" fmla="*/ 85346 h 144884"/>
                    <a:gd name="connsiteX4" fmla="*/ 159536 w 161911"/>
                    <a:gd name="connsiteY4" fmla="*/ 73348 h 144884"/>
                    <a:gd name="connsiteX5" fmla="*/ 89779 w 161911"/>
                    <a:gd name="connsiteY5" fmla="*/ 3639 h 144884"/>
                    <a:gd name="connsiteX6" fmla="*/ 72164 w 161911"/>
                    <a:gd name="connsiteY6" fmla="*/ 3639 h 144884"/>
                    <a:gd name="connsiteX7" fmla="*/ 2718 w 161911"/>
                    <a:gd name="connsiteY7" fmla="*/ 73348 h 144884"/>
                    <a:gd name="connsiteX8" fmla="*/ 854 w 161911"/>
                    <a:gd name="connsiteY8" fmla="*/ 85239 h 144884"/>
                    <a:gd name="connsiteX9" fmla="*/ 9363 w 161911"/>
                    <a:gd name="connsiteY9" fmla="*/ 90640 h 144884"/>
                    <a:gd name="connsiteX10" fmla="*/ 45263 w 161911"/>
                    <a:gd name="connsiteY10" fmla="*/ 90640 h 144884"/>
                    <a:gd name="connsiteX11" fmla="*/ 45263 w 161911"/>
                    <a:gd name="connsiteY11" fmla="*/ 127449 h 14488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</a:cxnLst>
                  <a:rect l="l" t="t" r="r" b="b"/>
                  <a:pathLst>
                    <a:path w="161911" h="144884">
                      <a:moveTo>
                        <a:pt x="119357" y="144885"/>
                      </a:moveTo>
                      <a:lnTo>
                        <a:pt x="119357" y="90616"/>
                      </a:lnTo>
                      <a:lnTo>
                        <a:pt x="153859" y="90616"/>
                      </a:lnTo>
                      <a:cubicBezTo>
                        <a:pt x="158102" y="90616"/>
                        <a:pt x="160110" y="87306"/>
                        <a:pt x="160934" y="85346"/>
                      </a:cubicBezTo>
                      <a:cubicBezTo>
                        <a:pt x="162643" y="81151"/>
                        <a:pt x="162069" y="75881"/>
                        <a:pt x="159536" y="73348"/>
                      </a:cubicBezTo>
                      <a:lnTo>
                        <a:pt x="89779" y="3639"/>
                      </a:lnTo>
                      <a:cubicBezTo>
                        <a:pt x="84904" y="-1213"/>
                        <a:pt x="76992" y="-1213"/>
                        <a:pt x="72164" y="3639"/>
                      </a:cubicBezTo>
                      <a:lnTo>
                        <a:pt x="2718" y="73348"/>
                      </a:lnTo>
                      <a:cubicBezTo>
                        <a:pt x="29" y="76060"/>
                        <a:pt x="-807" y="81247"/>
                        <a:pt x="854" y="85239"/>
                      </a:cubicBezTo>
                      <a:cubicBezTo>
                        <a:pt x="2312" y="88716"/>
                        <a:pt x="5336" y="90628"/>
                        <a:pt x="9363" y="90640"/>
                      </a:cubicBezTo>
                      <a:lnTo>
                        <a:pt x="45263" y="90640"/>
                      </a:lnTo>
                      <a:cubicBezTo>
                        <a:pt x="45263" y="90640"/>
                        <a:pt x="45263" y="127449"/>
                        <a:pt x="45263" y="127449"/>
                      </a:cubicBez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602" name="Gráfico 6">
                <a:extLst>
                  <a:ext uri="{FF2B5EF4-FFF2-40B4-BE49-F238E27FC236}">
                    <a16:creationId xmlns:a16="http://schemas.microsoft.com/office/drawing/2014/main" id="{BBADCB5E-7B17-B6AB-FF56-42F211E71E81}"/>
                  </a:ext>
                </a:extLst>
              </p:cNvPr>
              <p:cNvGrpSpPr/>
              <p:nvPr/>
            </p:nvGrpSpPr>
            <p:grpSpPr>
              <a:xfrm>
                <a:off x="4515711" y="1706699"/>
                <a:ext cx="1195" cy="149694"/>
                <a:chOff x="4515711" y="1706699"/>
                <a:chExt cx="1195" cy="149694"/>
              </a:xfrm>
            </p:grpSpPr>
            <p:sp>
              <p:nvSpPr>
                <p:cNvPr id="603" name="Forma livre: Forma 602">
                  <a:extLst>
                    <a:ext uri="{FF2B5EF4-FFF2-40B4-BE49-F238E27FC236}">
                      <a16:creationId xmlns:a16="http://schemas.microsoft.com/office/drawing/2014/main" id="{A631C478-C7F9-0DDE-2C6C-441D7DBA4DC2}"/>
                    </a:ext>
                  </a:extLst>
                </p:cNvPr>
                <p:cNvSpPr/>
                <p:nvPr/>
              </p:nvSpPr>
              <p:spPr>
                <a:xfrm>
                  <a:off x="4515711" y="1706699"/>
                  <a:ext cx="1195" cy="61677"/>
                </a:xfrm>
                <a:custGeom>
                  <a:avLst/>
                  <a:gdLst>
                    <a:gd name="connsiteX0" fmla="*/ 0 w 1195"/>
                    <a:gd name="connsiteY0" fmla="*/ 0 h 61677"/>
                    <a:gd name="connsiteX1" fmla="*/ 0 w 1195"/>
                    <a:gd name="connsiteY1" fmla="*/ 61678 h 6167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195" h="61677">
                      <a:moveTo>
                        <a:pt x="0" y="0"/>
                      </a:moveTo>
                      <a:lnTo>
                        <a:pt x="0" y="61678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604" name="Forma livre: Forma 603">
                  <a:extLst>
                    <a:ext uri="{FF2B5EF4-FFF2-40B4-BE49-F238E27FC236}">
                      <a16:creationId xmlns:a16="http://schemas.microsoft.com/office/drawing/2014/main" id="{E248E646-5715-1E74-70F0-B6E2D023B2C2}"/>
                    </a:ext>
                  </a:extLst>
                </p:cNvPr>
                <p:cNvSpPr/>
                <p:nvPr/>
              </p:nvSpPr>
              <p:spPr>
                <a:xfrm>
                  <a:off x="4515711" y="1792123"/>
                  <a:ext cx="1195" cy="30737"/>
                </a:xfrm>
                <a:custGeom>
                  <a:avLst/>
                  <a:gdLst>
                    <a:gd name="connsiteX0" fmla="*/ 0 w 1195"/>
                    <a:gd name="connsiteY0" fmla="*/ 0 h 30737"/>
                    <a:gd name="connsiteX1" fmla="*/ 0 w 1195"/>
                    <a:gd name="connsiteY1" fmla="*/ 30737 h 3073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195" h="30737">
                      <a:moveTo>
                        <a:pt x="0" y="0"/>
                      </a:moveTo>
                      <a:lnTo>
                        <a:pt x="0" y="30737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605" name="Forma livre: Forma 604">
                  <a:extLst>
                    <a:ext uri="{FF2B5EF4-FFF2-40B4-BE49-F238E27FC236}">
                      <a16:creationId xmlns:a16="http://schemas.microsoft.com/office/drawing/2014/main" id="{203CD969-D36B-DF3A-A70B-1230230C3A36}"/>
                    </a:ext>
                  </a:extLst>
                </p:cNvPr>
                <p:cNvSpPr/>
                <p:nvPr/>
              </p:nvSpPr>
              <p:spPr>
                <a:xfrm>
                  <a:off x="4515711" y="1846618"/>
                  <a:ext cx="1195" cy="9775"/>
                </a:xfrm>
                <a:custGeom>
                  <a:avLst/>
                  <a:gdLst>
                    <a:gd name="connsiteX0" fmla="*/ 0 w 1195"/>
                    <a:gd name="connsiteY0" fmla="*/ 0 h 9775"/>
                    <a:gd name="connsiteX1" fmla="*/ 0 w 1195"/>
                    <a:gd name="connsiteY1" fmla="*/ 9776 h 97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195" h="9775">
                      <a:moveTo>
                        <a:pt x="0" y="0"/>
                      </a:moveTo>
                      <a:lnTo>
                        <a:pt x="0" y="9776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grpSp>
          <p:nvGrpSpPr>
            <p:cNvPr id="606" name="Gráfico 6">
              <a:extLst>
                <a:ext uri="{FF2B5EF4-FFF2-40B4-BE49-F238E27FC236}">
                  <a16:creationId xmlns:a16="http://schemas.microsoft.com/office/drawing/2014/main" id="{7FF110E1-19FF-99C4-A021-40F9A1F99F9C}"/>
                </a:ext>
              </a:extLst>
            </p:cNvPr>
            <p:cNvGrpSpPr/>
            <p:nvPr/>
          </p:nvGrpSpPr>
          <p:grpSpPr>
            <a:xfrm>
              <a:off x="4371801" y="1691665"/>
              <a:ext cx="59753" cy="153268"/>
              <a:chOff x="4371801" y="1691665"/>
              <a:chExt cx="59753" cy="153268"/>
            </a:xfrm>
            <a:noFill/>
          </p:grpSpPr>
          <p:sp>
            <p:nvSpPr>
              <p:cNvPr id="607" name="Forma livre: Forma 606">
                <a:extLst>
                  <a:ext uri="{FF2B5EF4-FFF2-40B4-BE49-F238E27FC236}">
                    <a16:creationId xmlns:a16="http://schemas.microsoft.com/office/drawing/2014/main" id="{544AEA8E-F351-52EA-7BDF-8FE2E74E0C2B}"/>
                  </a:ext>
                </a:extLst>
              </p:cNvPr>
              <p:cNvSpPr/>
              <p:nvPr/>
            </p:nvSpPr>
            <p:spPr>
              <a:xfrm>
                <a:off x="4371801" y="1711480"/>
                <a:ext cx="59753" cy="113651"/>
              </a:xfrm>
              <a:custGeom>
                <a:avLst/>
                <a:gdLst>
                  <a:gd name="connsiteX0" fmla="*/ 120 w 59753"/>
                  <a:gd name="connsiteY0" fmla="*/ 85926 h 113651"/>
                  <a:gd name="connsiteX1" fmla="*/ 29925 w 59753"/>
                  <a:gd name="connsiteY1" fmla="*/ 113652 h 113651"/>
                  <a:gd name="connsiteX2" fmla="*/ 59754 w 59753"/>
                  <a:gd name="connsiteY2" fmla="*/ 85926 h 113651"/>
                  <a:gd name="connsiteX3" fmla="*/ 29877 w 59753"/>
                  <a:gd name="connsiteY3" fmla="*/ 56814 h 113651"/>
                  <a:gd name="connsiteX4" fmla="*/ 0 w 59753"/>
                  <a:gd name="connsiteY4" fmla="*/ 27726 h 113651"/>
                  <a:gd name="connsiteX5" fmla="*/ 29817 w 59753"/>
                  <a:gd name="connsiteY5" fmla="*/ 0 h 113651"/>
                  <a:gd name="connsiteX6" fmla="*/ 59634 w 59753"/>
                  <a:gd name="connsiteY6" fmla="*/ 27726 h 1136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59753" h="113651">
                    <a:moveTo>
                      <a:pt x="120" y="85926"/>
                    </a:moveTo>
                    <a:cubicBezTo>
                      <a:pt x="120" y="101235"/>
                      <a:pt x="13468" y="113652"/>
                      <a:pt x="29925" y="113652"/>
                    </a:cubicBezTo>
                    <a:cubicBezTo>
                      <a:pt x="46381" y="113652"/>
                      <a:pt x="59754" y="101247"/>
                      <a:pt x="59754" y="85926"/>
                    </a:cubicBezTo>
                    <a:cubicBezTo>
                      <a:pt x="59754" y="70605"/>
                      <a:pt x="43835" y="63913"/>
                      <a:pt x="29877" y="56814"/>
                    </a:cubicBezTo>
                    <a:cubicBezTo>
                      <a:pt x="15906" y="49739"/>
                      <a:pt x="0" y="43035"/>
                      <a:pt x="0" y="27726"/>
                    </a:cubicBezTo>
                    <a:cubicBezTo>
                      <a:pt x="0" y="12417"/>
                      <a:pt x="13337" y="0"/>
                      <a:pt x="29817" y="0"/>
                    </a:cubicBezTo>
                    <a:cubicBezTo>
                      <a:pt x="46297" y="0"/>
                      <a:pt x="59634" y="12405"/>
                      <a:pt x="59634" y="27726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608" name="Forma livre: Forma 607">
                <a:extLst>
                  <a:ext uri="{FF2B5EF4-FFF2-40B4-BE49-F238E27FC236}">
                    <a16:creationId xmlns:a16="http://schemas.microsoft.com/office/drawing/2014/main" id="{2E1BAA28-B420-195B-1092-65EAB188FB02}"/>
                  </a:ext>
                </a:extLst>
              </p:cNvPr>
              <p:cNvSpPr/>
              <p:nvPr/>
            </p:nvSpPr>
            <p:spPr>
              <a:xfrm>
                <a:off x="4401606" y="1691665"/>
                <a:ext cx="1195" cy="19658"/>
              </a:xfrm>
              <a:custGeom>
                <a:avLst/>
                <a:gdLst>
                  <a:gd name="connsiteX0" fmla="*/ 0 w 1195"/>
                  <a:gd name="connsiteY0" fmla="*/ 19659 h 19658"/>
                  <a:gd name="connsiteX1" fmla="*/ 0 w 1195"/>
                  <a:gd name="connsiteY1" fmla="*/ 0 h 196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5" h="19658">
                    <a:moveTo>
                      <a:pt x="0" y="19659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609" name="Forma livre: Forma 608">
                <a:extLst>
                  <a:ext uri="{FF2B5EF4-FFF2-40B4-BE49-F238E27FC236}">
                    <a16:creationId xmlns:a16="http://schemas.microsoft.com/office/drawing/2014/main" id="{43B07AA9-323D-C1BA-C773-58DAEBC8AE42}"/>
                  </a:ext>
                </a:extLst>
              </p:cNvPr>
              <p:cNvSpPr/>
              <p:nvPr/>
            </p:nvSpPr>
            <p:spPr>
              <a:xfrm>
                <a:off x="4401606" y="1825263"/>
                <a:ext cx="1195" cy="19670"/>
              </a:xfrm>
              <a:custGeom>
                <a:avLst/>
                <a:gdLst>
                  <a:gd name="connsiteX0" fmla="*/ 0 w 1195"/>
                  <a:gd name="connsiteY0" fmla="*/ 19671 h 19670"/>
                  <a:gd name="connsiteX1" fmla="*/ 0 w 1195"/>
                  <a:gd name="connsiteY1" fmla="*/ 0 h 196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5" h="19670">
                    <a:moveTo>
                      <a:pt x="0" y="19671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610" name="Gráfico 6">
            <a:extLst>
              <a:ext uri="{FF2B5EF4-FFF2-40B4-BE49-F238E27FC236}">
                <a16:creationId xmlns:a16="http://schemas.microsoft.com/office/drawing/2014/main" id="{A63D3346-83E7-E507-6807-B2E153A81F7C}"/>
              </a:ext>
            </a:extLst>
          </p:cNvPr>
          <p:cNvGrpSpPr/>
          <p:nvPr/>
        </p:nvGrpSpPr>
        <p:grpSpPr>
          <a:xfrm>
            <a:off x="4336447" y="3096737"/>
            <a:ext cx="291592" cy="330461"/>
            <a:chOff x="4336447" y="3096737"/>
            <a:chExt cx="291592" cy="330461"/>
          </a:xfrm>
          <a:noFill/>
        </p:grpSpPr>
        <p:grpSp>
          <p:nvGrpSpPr>
            <p:cNvPr id="611" name="Gráfico 6">
              <a:extLst>
                <a:ext uri="{FF2B5EF4-FFF2-40B4-BE49-F238E27FC236}">
                  <a16:creationId xmlns:a16="http://schemas.microsoft.com/office/drawing/2014/main" id="{510FF9F2-286E-9B13-A993-64C91712C47B}"/>
                </a:ext>
              </a:extLst>
            </p:cNvPr>
            <p:cNvGrpSpPr/>
            <p:nvPr/>
          </p:nvGrpSpPr>
          <p:grpSpPr>
            <a:xfrm>
              <a:off x="4460965" y="3208178"/>
              <a:ext cx="42544" cy="107580"/>
              <a:chOff x="4460965" y="3208178"/>
              <a:chExt cx="42544" cy="107580"/>
            </a:xfrm>
            <a:noFill/>
          </p:grpSpPr>
          <p:sp>
            <p:nvSpPr>
              <p:cNvPr id="612" name="Forma livre: Forma 611">
                <a:extLst>
                  <a:ext uri="{FF2B5EF4-FFF2-40B4-BE49-F238E27FC236}">
                    <a16:creationId xmlns:a16="http://schemas.microsoft.com/office/drawing/2014/main" id="{0045EE28-E086-937D-431D-534DEF609072}"/>
                  </a:ext>
                </a:extLst>
              </p:cNvPr>
              <p:cNvSpPr/>
              <p:nvPr/>
            </p:nvSpPr>
            <p:spPr>
              <a:xfrm>
                <a:off x="4460965" y="3221503"/>
                <a:ext cx="42544" cy="80918"/>
              </a:xfrm>
              <a:custGeom>
                <a:avLst/>
                <a:gdLst>
                  <a:gd name="connsiteX0" fmla="*/ 96 w 42544"/>
                  <a:gd name="connsiteY0" fmla="*/ 61188 h 80918"/>
                  <a:gd name="connsiteX1" fmla="*/ 21308 w 42544"/>
                  <a:gd name="connsiteY1" fmla="*/ 80919 h 80918"/>
                  <a:gd name="connsiteX2" fmla="*/ 42545 w 42544"/>
                  <a:gd name="connsiteY2" fmla="*/ 61188 h 80918"/>
                  <a:gd name="connsiteX3" fmla="*/ 21272 w 42544"/>
                  <a:gd name="connsiteY3" fmla="*/ 40465 h 80918"/>
                  <a:gd name="connsiteX4" fmla="*/ 0 w 42544"/>
                  <a:gd name="connsiteY4" fmla="*/ 19743 h 80918"/>
                  <a:gd name="connsiteX5" fmla="*/ 21225 w 42544"/>
                  <a:gd name="connsiteY5" fmla="*/ 0 h 80918"/>
                  <a:gd name="connsiteX6" fmla="*/ 42461 w 42544"/>
                  <a:gd name="connsiteY6" fmla="*/ 19743 h 809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2544" h="80918">
                    <a:moveTo>
                      <a:pt x="96" y="61188"/>
                    </a:moveTo>
                    <a:cubicBezTo>
                      <a:pt x="96" y="72087"/>
                      <a:pt x="9596" y="80919"/>
                      <a:pt x="21308" y="80919"/>
                    </a:cubicBezTo>
                    <a:cubicBezTo>
                      <a:pt x="33020" y="80919"/>
                      <a:pt x="42545" y="72099"/>
                      <a:pt x="42545" y="61188"/>
                    </a:cubicBezTo>
                    <a:cubicBezTo>
                      <a:pt x="42545" y="50277"/>
                      <a:pt x="31215" y="45508"/>
                      <a:pt x="21272" y="40465"/>
                    </a:cubicBezTo>
                    <a:cubicBezTo>
                      <a:pt x="11329" y="35422"/>
                      <a:pt x="0" y="30642"/>
                      <a:pt x="0" y="19743"/>
                    </a:cubicBezTo>
                    <a:cubicBezTo>
                      <a:pt x="0" y="8844"/>
                      <a:pt x="9489" y="0"/>
                      <a:pt x="21225" y="0"/>
                    </a:cubicBezTo>
                    <a:cubicBezTo>
                      <a:pt x="32960" y="0"/>
                      <a:pt x="42461" y="8832"/>
                      <a:pt x="42461" y="19743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613" name="Forma livre: Forma 612">
                <a:extLst>
                  <a:ext uri="{FF2B5EF4-FFF2-40B4-BE49-F238E27FC236}">
                    <a16:creationId xmlns:a16="http://schemas.microsoft.com/office/drawing/2014/main" id="{DC94E2A6-BE16-D712-6937-8BDCAFE5F6C5}"/>
                  </a:ext>
                </a:extLst>
              </p:cNvPr>
              <p:cNvSpPr/>
              <p:nvPr/>
            </p:nvSpPr>
            <p:spPr>
              <a:xfrm>
                <a:off x="4482190" y="3208178"/>
                <a:ext cx="1195" cy="13241"/>
              </a:xfrm>
              <a:custGeom>
                <a:avLst/>
                <a:gdLst>
                  <a:gd name="connsiteX0" fmla="*/ 0 w 1195"/>
                  <a:gd name="connsiteY0" fmla="*/ 13241 h 13241"/>
                  <a:gd name="connsiteX1" fmla="*/ 0 w 1195"/>
                  <a:gd name="connsiteY1" fmla="*/ 0 h 132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5" h="13241">
                    <a:moveTo>
                      <a:pt x="0" y="13241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614" name="Forma livre: Forma 613">
                <a:extLst>
                  <a:ext uri="{FF2B5EF4-FFF2-40B4-BE49-F238E27FC236}">
                    <a16:creationId xmlns:a16="http://schemas.microsoft.com/office/drawing/2014/main" id="{8096CED9-49DA-F492-00F2-983DAA01786D}"/>
                  </a:ext>
                </a:extLst>
              </p:cNvPr>
              <p:cNvSpPr/>
              <p:nvPr/>
            </p:nvSpPr>
            <p:spPr>
              <a:xfrm>
                <a:off x="4482190" y="3302529"/>
                <a:ext cx="1195" cy="13229"/>
              </a:xfrm>
              <a:custGeom>
                <a:avLst/>
                <a:gdLst>
                  <a:gd name="connsiteX0" fmla="*/ 0 w 1195"/>
                  <a:gd name="connsiteY0" fmla="*/ 13229 h 13229"/>
                  <a:gd name="connsiteX1" fmla="*/ 0 w 1195"/>
                  <a:gd name="connsiteY1" fmla="*/ 0 h 132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5" h="13229">
                    <a:moveTo>
                      <a:pt x="0" y="13229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615" name="Gráfico 6">
              <a:extLst>
                <a:ext uri="{FF2B5EF4-FFF2-40B4-BE49-F238E27FC236}">
                  <a16:creationId xmlns:a16="http://schemas.microsoft.com/office/drawing/2014/main" id="{8346D7FB-EB30-3018-E462-691867D411C4}"/>
                </a:ext>
              </a:extLst>
            </p:cNvPr>
            <p:cNvGrpSpPr/>
            <p:nvPr/>
          </p:nvGrpSpPr>
          <p:grpSpPr>
            <a:xfrm>
              <a:off x="4336447" y="3096737"/>
              <a:ext cx="291592" cy="330461"/>
              <a:chOff x="4336447" y="3096737"/>
              <a:chExt cx="291592" cy="330461"/>
            </a:xfrm>
            <a:noFill/>
          </p:grpSpPr>
          <p:grpSp>
            <p:nvGrpSpPr>
              <p:cNvPr id="616" name="Gráfico 6">
                <a:extLst>
                  <a:ext uri="{FF2B5EF4-FFF2-40B4-BE49-F238E27FC236}">
                    <a16:creationId xmlns:a16="http://schemas.microsoft.com/office/drawing/2014/main" id="{2E24AA5E-7ACD-A382-C481-0CEC17934254}"/>
                  </a:ext>
                </a:extLst>
              </p:cNvPr>
              <p:cNvGrpSpPr/>
              <p:nvPr/>
            </p:nvGrpSpPr>
            <p:grpSpPr>
              <a:xfrm>
                <a:off x="4396204" y="3140298"/>
                <a:ext cx="172078" cy="243340"/>
                <a:chOff x="4396204" y="3140298"/>
                <a:chExt cx="172078" cy="243340"/>
              </a:xfrm>
            </p:grpSpPr>
            <p:grpSp>
              <p:nvGrpSpPr>
                <p:cNvPr id="617" name="Gráfico 6">
                  <a:extLst>
                    <a:ext uri="{FF2B5EF4-FFF2-40B4-BE49-F238E27FC236}">
                      <a16:creationId xmlns:a16="http://schemas.microsoft.com/office/drawing/2014/main" id="{0E2B14B5-CD45-2483-D93F-4D435D69CE48}"/>
                    </a:ext>
                  </a:extLst>
                </p:cNvPr>
                <p:cNvGrpSpPr/>
                <p:nvPr/>
              </p:nvGrpSpPr>
              <p:grpSpPr>
                <a:xfrm>
                  <a:off x="4396204" y="3140298"/>
                  <a:ext cx="172078" cy="27654"/>
                  <a:chOff x="4396204" y="3140298"/>
                  <a:chExt cx="172078" cy="27654"/>
                </a:xfrm>
              </p:grpSpPr>
              <p:sp>
                <p:nvSpPr>
                  <p:cNvPr id="618" name="Forma livre: Forma 617">
                    <a:extLst>
                      <a:ext uri="{FF2B5EF4-FFF2-40B4-BE49-F238E27FC236}">
                        <a16:creationId xmlns:a16="http://schemas.microsoft.com/office/drawing/2014/main" id="{7853AB6E-0DD5-6309-45C2-933A2D43298C}"/>
                      </a:ext>
                    </a:extLst>
                  </p:cNvPr>
                  <p:cNvSpPr/>
                  <p:nvPr/>
                </p:nvSpPr>
                <p:spPr>
                  <a:xfrm>
                    <a:off x="4520456" y="3140298"/>
                    <a:ext cx="47826" cy="27654"/>
                  </a:xfrm>
                  <a:custGeom>
                    <a:avLst/>
                    <a:gdLst>
                      <a:gd name="connsiteX0" fmla="*/ 0 w 47826"/>
                      <a:gd name="connsiteY0" fmla="*/ 0 h 27654"/>
                      <a:gd name="connsiteX1" fmla="*/ 47827 w 47826"/>
                      <a:gd name="connsiteY1" fmla="*/ 27654 h 2765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47826" h="27654">
                        <a:moveTo>
                          <a:pt x="0" y="0"/>
                        </a:moveTo>
                        <a:lnTo>
                          <a:pt x="47827" y="27654"/>
                        </a:lnTo>
                      </a:path>
                    </a:pathLst>
                  </a:custGeom>
                  <a:ln w="6350" cap="flat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619" name="Forma livre: Forma 618">
                    <a:extLst>
                      <a:ext uri="{FF2B5EF4-FFF2-40B4-BE49-F238E27FC236}">
                        <a16:creationId xmlns:a16="http://schemas.microsoft.com/office/drawing/2014/main" id="{9F6D8E04-7BEB-3A28-9F51-99D801948797}"/>
                      </a:ext>
                    </a:extLst>
                  </p:cNvPr>
                  <p:cNvSpPr/>
                  <p:nvPr/>
                </p:nvSpPr>
                <p:spPr>
                  <a:xfrm>
                    <a:off x="4396204" y="3140298"/>
                    <a:ext cx="47814" cy="27654"/>
                  </a:xfrm>
                  <a:custGeom>
                    <a:avLst/>
                    <a:gdLst>
                      <a:gd name="connsiteX0" fmla="*/ 47815 w 47814"/>
                      <a:gd name="connsiteY0" fmla="*/ 0 h 27654"/>
                      <a:gd name="connsiteX1" fmla="*/ 0 w 47814"/>
                      <a:gd name="connsiteY1" fmla="*/ 27654 h 2765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47814" h="27654">
                        <a:moveTo>
                          <a:pt x="47815" y="0"/>
                        </a:moveTo>
                        <a:lnTo>
                          <a:pt x="0" y="27654"/>
                        </a:lnTo>
                      </a:path>
                    </a:pathLst>
                  </a:custGeom>
                  <a:ln w="6350" cap="flat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  <p:grpSp>
              <p:nvGrpSpPr>
                <p:cNvPr id="620" name="Gráfico 6">
                  <a:extLst>
                    <a:ext uri="{FF2B5EF4-FFF2-40B4-BE49-F238E27FC236}">
                      <a16:creationId xmlns:a16="http://schemas.microsoft.com/office/drawing/2014/main" id="{0CC002B3-0622-6CDC-FB44-A6FD1B7BBE81}"/>
                    </a:ext>
                  </a:extLst>
                </p:cNvPr>
                <p:cNvGrpSpPr/>
                <p:nvPr/>
              </p:nvGrpSpPr>
              <p:grpSpPr>
                <a:xfrm>
                  <a:off x="4396204" y="3355984"/>
                  <a:ext cx="172078" cy="27654"/>
                  <a:chOff x="4396204" y="3355984"/>
                  <a:chExt cx="172078" cy="27654"/>
                </a:xfrm>
              </p:grpSpPr>
              <p:sp>
                <p:nvSpPr>
                  <p:cNvPr id="621" name="Forma livre: Forma 620">
                    <a:extLst>
                      <a:ext uri="{FF2B5EF4-FFF2-40B4-BE49-F238E27FC236}">
                        <a16:creationId xmlns:a16="http://schemas.microsoft.com/office/drawing/2014/main" id="{B6FB8537-E6FF-5E15-65A4-8B7873DF379A}"/>
                      </a:ext>
                    </a:extLst>
                  </p:cNvPr>
                  <p:cNvSpPr/>
                  <p:nvPr/>
                </p:nvSpPr>
                <p:spPr>
                  <a:xfrm>
                    <a:off x="4520456" y="3355984"/>
                    <a:ext cx="47826" cy="27654"/>
                  </a:xfrm>
                  <a:custGeom>
                    <a:avLst/>
                    <a:gdLst>
                      <a:gd name="connsiteX0" fmla="*/ 0 w 47826"/>
                      <a:gd name="connsiteY0" fmla="*/ 27654 h 27654"/>
                      <a:gd name="connsiteX1" fmla="*/ 47827 w 47826"/>
                      <a:gd name="connsiteY1" fmla="*/ 0 h 2765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47826" h="27654">
                        <a:moveTo>
                          <a:pt x="0" y="27654"/>
                        </a:moveTo>
                        <a:lnTo>
                          <a:pt x="47827" y="0"/>
                        </a:lnTo>
                      </a:path>
                    </a:pathLst>
                  </a:custGeom>
                  <a:ln w="6350" cap="flat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622" name="Forma livre: Forma 621">
                    <a:extLst>
                      <a:ext uri="{FF2B5EF4-FFF2-40B4-BE49-F238E27FC236}">
                        <a16:creationId xmlns:a16="http://schemas.microsoft.com/office/drawing/2014/main" id="{E48ED759-E88E-7F30-5D2E-C8F8BD37AE75}"/>
                      </a:ext>
                    </a:extLst>
                  </p:cNvPr>
                  <p:cNvSpPr/>
                  <p:nvPr/>
                </p:nvSpPr>
                <p:spPr>
                  <a:xfrm>
                    <a:off x="4396204" y="3355984"/>
                    <a:ext cx="47814" cy="27654"/>
                  </a:xfrm>
                  <a:custGeom>
                    <a:avLst/>
                    <a:gdLst>
                      <a:gd name="connsiteX0" fmla="*/ 47815 w 47814"/>
                      <a:gd name="connsiteY0" fmla="*/ 27654 h 27654"/>
                      <a:gd name="connsiteX1" fmla="*/ 0 w 47814"/>
                      <a:gd name="connsiteY1" fmla="*/ 0 h 2765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47814" h="27654">
                        <a:moveTo>
                          <a:pt x="47815" y="27654"/>
                        </a:moveTo>
                        <a:lnTo>
                          <a:pt x="0" y="0"/>
                        </a:lnTo>
                      </a:path>
                    </a:pathLst>
                  </a:custGeom>
                  <a:ln w="6350" cap="flat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</p:grpSp>
          <p:grpSp>
            <p:nvGrpSpPr>
              <p:cNvPr id="623" name="Gráfico 6">
                <a:extLst>
                  <a:ext uri="{FF2B5EF4-FFF2-40B4-BE49-F238E27FC236}">
                    <a16:creationId xmlns:a16="http://schemas.microsoft.com/office/drawing/2014/main" id="{C63063A0-F2A7-98B5-EC7E-7C94C75510B6}"/>
                  </a:ext>
                </a:extLst>
              </p:cNvPr>
              <p:cNvGrpSpPr/>
              <p:nvPr/>
            </p:nvGrpSpPr>
            <p:grpSpPr>
              <a:xfrm>
                <a:off x="4461061" y="3096737"/>
                <a:ext cx="42365" cy="330461"/>
                <a:chOff x="4461061" y="3096737"/>
                <a:chExt cx="42365" cy="330461"/>
              </a:xfrm>
              <a:noFill/>
            </p:grpSpPr>
            <p:grpSp>
              <p:nvGrpSpPr>
                <p:cNvPr id="624" name="Gráfico 6">
                  <a:extLst>
                    <a:ext uri="{FF2B5EF4-FFF2-40B4-BE49-F238E27FC236}">
                      <a16:creationId xmlns:a16="http://schemas.microsoft.com/office/drawing/2014/main" id="{ED49D77E-F72F-2D83-8E6F-99487C0EE1E4}"/>
                    </a:ext>
                  </a:extLst>
                </p:cNvPr>
                <p:cNvGrpSpPr/>
                <p:nvPr/>
              </p:nvGrpSpPr>
              <p:grpSpPr>
                <a:xfrm>
                  <a:off x="4461061" y="3096737"/>
                  <a:ext cx="42365" cy="77046"/>
                  <a:chOff x="4461061" y="3096737"/>
                  <a:chExt cx="42365" cy="77046"/>
                </a:xfrm>
                <a:noFill/>
              </p:grpSpPr>
              <p:sp>
                <p:nvSpPr>
                  <p:cNvPr id="625" name="Forma livre: Forma 624">
                    <a:extLst>
                      <a:ext uri="{FF2B5EF4-FFF2-40B4-BE49-F238E27FC236}">
                        <a16:creationId xmlns:a16="http://schemas.microsoft.com/office/drawing/2014/main" id="{F35428A7-F257-D85F-5553-44A395638B65}"/>
                      </a:ext>
                    </a:extLst>
                  </p:cNvPr>
                  <p:cNvSpPr/>
                  <p:nvPr/>
                </p:nvSpPr>
                <p:spPr>
                  <a:xfrm>
                    <a:off x="4461061" y="3096737"/>
                    <a:ext cx="42365" cy="42353"/>
                  </a:xfrm>
                  <a:custGeom>
                    <a:avLst/>
                    <a:gdLst>
                      <a:gd name="connsiteX0" fmla="*/ 42365 w 42365"/>
                      <a:gd name="connsiteY0" fmla="*/ 21177 h 42353"/>
                      <a:gd name="connsiteX1" fmla="*/ 21177 w 42365"/>
                      <a:gd name="connsiteY1" fmla="*/ 42353 h 42353"/>
                      <a:gd name="connsiteX2" fmla="*/ 0 w 42365"/>
                      <a:gd name="connsiteY2" fmla="*/ 21177 h 42353"/>
                      <a:gd name="connsiteX3" fmla="*/ 21177 w 42365"/>
                      <a:gd name="connsiteY3" fmla="*/ 0 h 42353"/>
                      <a:gd name="connsiteX4" fmla="*/ 42365 w 42365"/>
                      <a:gd name="connsiteY4" fmla="*/ 21177 h 4235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42365" h="42353">
                        <a:moveTo>
                          <a:pt x="42365" y="21177"/>
                        </a:moveTo>
                        <a:cubicBezTo>
                          <a:pt x="42365" y="32876"/>
                          <a:pt x="32876" y="42353"/>
                          <a:pt x="21177" y="42353"/>
                        </a:cubicBezTo>
                        <a:cubicBezTo>
                          <a:pt x="9477" y="42353"/>
                          <a:pt x="0" y="32865"/>
                          <a:pt x="0" y="21177"/>
                        </a:cubicBezTo>
                        <a:cubicBezTo>
                          <a:pt x="0" y="9489"/>
                          <a:pt x="9489" y="0"/>
                          <a:pt x="21177" y="0"/>
                        </a:cubicBezTo>
                        <a:cubicBezTo>
                          <a:pt x="32865" y="0"/>
                          <a:pt x="42365" y="9477"/>
                          <a:pt x="42365" y="21177"/>
                        </a:cubicBezTo>
                        <a:close/>
                      </a:path>
                    </a:pathLst>
                  </a:custGeom>
                  <a:noFill/>
                  <a:ln w="6350" cap="flat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626" name="Forma livre: Forma 625">
                    <a:extLst>
                      <a:ext uri="{FF2B5EF4-FFF2-40B4-BE49-F238E27FC236}">
                        <a16:creationId xmlns:a16="http://schemas.microsoft.com/office/drawing/2014/main" id="{88A10D05-0368-6193-8D24-86A891046297}"/>
                      </a:ext>
                    </a:extLst>
                  </p:cNvPr>
                  <p:cNvSpPr/>
                  <p:nvPr/>
                </p:nvSpPr>
                <p:spPr>
                  <a:xfrm>
                    <a:off x="4482237" y="3141445"/>
                    <a:ext cx="1195" cy="32338"/>
                  </a:xfrm>
                  <a:custGeom>
                    <a:avLst/>
                    <a:gdLst>
                      <a:gd name="connsiteX0" fmla="*/ 0 w 1195"/>
                      <a:gd name="connsiteY0" fmla="*/ 0 h 32338"/>
                      <a:gd name="connsiteX1" fmla="*/ 0 w 1195"/>
                      <a:gd name="connsiteY1" fmla="*/ 32339 h 3233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195" h="32338">
                        <a:moveTo>
                          <a:pt x="0" y="0"/>
                        </a:moveTo>
                        <a:lnTo>
                          <a:pt x="0" y="32339"/>
                        </a:lnTo>
                      </a:path>
                    </a:pathLst>
                  </a:custGeom>
                  <a:ln w="6350" cap="flat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  <p:grpSp>
              <p:nvGrpSpPr>
                <p:cNvPr id="627" name="Gráfico 6">
                  <a:extLst>
                    <a:ext uri="{FF2B5EF4-FFF2-40B4-BE49-F238E27FC236}">
                      <a16:creationId xmlns:a16="http://schemas.microsoft.com/office/drawing/2014/main" id="{5D6955E0-D006-D21A-C8EB-551D05A053A2}"/>
                    </a:ext>
                  </a:extLst>
                </p:cNvPr>
                <p:cNvGrpSpPr/>
                <p:nvPr/>
              </p:nvGrpSpPr>
              <p:grpSpPr>
                <a:xfrm>
                  <a:off x="4461061" y="3350153"/>
                  <a:ext cx="42365" cy="77046"/>
                  <a:chOff x="4461061" y="3350153"/>
                  <a:chExt cx="42365" cy="77046"/>
                </a:xfrm>
                <a:noFill/>
              </p:grpSpPr>
              <p:sp>
                <p:nvSpPr>
                  <p:cNvPr id="628" name="Forma livre: Forma 627">
                    <a:extLst>
                      <a:ext uri="{FF2B5EF4-FFF2-40B4-BE49-F238E27FC236}">
                        <a16:creationId xmlns:a16="http://schemas.microsoft.com/office/drawing/2014/main" id="{AF10B36E-6019-39E3-0B42-126FA1368C35}"/>
                      </a:ext>
                    </a:extLst>
                  </p:cNvPr>
                  <p:cNvSpPr/>
                  <p:nvPr/>
                </p:nvSpPr>
                <p:spPr>
                  <a:xfrm>
                    <a:off x="4461061" y="3384846"/>
                    <a:ext cx="42365" cy="42353"/>
                  </a:xfrm>
                  <a:custGeom>
                    <a:avLst/>
                    <a:gdLst>
                      <a:gd name="connsiteX0" fmla="*/ 0 w 42365"/>
                      <a:gd name="connsiteY0" fmla="*/ 21177 h 42353"/>
                      <a:gd name="connsiteX1" fmla="*/ 21177 w 42365"/>
                      <a:gd name="connsiteY1" fmla="*/ 0 h 42353"/>
                      <a:gd name="connsiteX2" fmla="*/ 42365 w 42365"/>
                      <a:gd name="connsiteY2" fmla="*/ 21177 h 42353"/>
                      <a:gd name="connsiteX3" fmla="*/ 21177 w 42365"/>
                      <a:gd name="connsiteY3" fmla="*/ 42353 h 42353"/>
                      <a:gd name="connsiteX4" fmla="*/ 0 w 42365"/>
                      <a:gd name="connsiteY4" fmla="*/ 21177 h 4235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42365" h="42353">
                        <a:moveTo>
                          <a:pt x="0" y="21177"/>
                        </a:moveTo>
                        <a:cubicBezTo>
                          <a:pt x="0" y="9477"/>
                          <a:pt x="9489" y="0"/>
                          <a:pt x="21177" y="0"/>
                        </a:cubicBezTo>
                        <a:cubicBezTo>
                          <a:pt x="32865" y="0"/>
                          <a:pt x="42365" y="9477"/>
                          <a:pt x="42365" y="21177"/>
                        </a:cubicBezTo>
                        <a:cubicBezTo>
                          <a:pt x="42365" y="32876"/>
                          <a:pt x="32876" y="42353"/>
                          <a:pt x="21177" y="42353"/>
                        </a:cubicBezTo>
                        <a:cubicBezTo>
                          <a:pt x="9477" y="42353"/>
                          <a:pt x="0" y="32865"/>
                          <a:pt x="0" y="21177"/>
                        </a:cubicBezTo>
                        <a:close/>
                      </a:path>
                    </a:pathLst>
                  </a:custGeom>
                  <a:noFill/>
                  <a:ln w="6350" cap="flat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629" name="Forma livre: Forma 628">
                    <a:extLst>
                      <a:ext uri="{FF2B5EF4-FFF2-40B4-BE49-F238E27FC236}">
                        <a16:creationId xmlns:a16="http://schemas.microsoft.com/office/drawing/2014/main" id="{6A0BCEF1-C4BA-BD97-FA22-D633D4F9A473}"/>
                      </a:ext>
                    </a:extLst>
                  </p:cNvPr>
                  <p:cNvSpPr/>
                  <p:nvPr/>
                </p:nvSpPr>
                <p:spPr>
                  <a:xfrm>
                    <a:off x="4482237" y="3350153"/>
                    <a:ext cx="1195" cy="32338"/>
                  </a:xfrm>
                  <a:custGeom>
                    <a:avLst/>
                    <a:gdLst>
                      <a:gd name="connsiteX0" fmla="*/ 0 w 1195"/>
                      <a:gd name="connsiteY0" fmla="*/ 32339 h 32338"/>
                      <a:gd name="connsiteX1" fmla="*/ 0 w 1195"/>
                      <a:gd name="connsiteY1" fmla="*/ 0 h 3233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195" h="32338">
                        <a:moveTo>
                          <a:pt x="0" y="32339"/>
                        </a:moveTo>
                        <a:lnTo>
                          <a:pt x="0" y="0"/>
                        </a:lnTo>
                      </a:path>
                    </a:pathLst>
                  </a:custGeom>
                  <a:ln w="6350" cap="flat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</p:grpSp>
          <p:grpSp>
            <p:nvGrpSpPr>
              <p:cNvPr id="630" name="Gráfico 6">
                <a:extLst>
                  <a:ext uri="{FF2B5EF4-FFF2-40B4-BE49-F238E27FC236}">
                    <a16:creationId xmlns:a16="http://schemas.microsoft.com/office/drawing/2014/main" id="{9D3D37F1-D272-9CCD-7665-9668D6D678A8}"/>
                  </a:ext>
                </a:extLst>
              </p:cNvPr>
              <p:cNvGrpSpPr/>
              <p:nvPr/>
            </p:nvGrpSpPr>
            <p:grpSpPr>
              <a:xfrm>
                <a:off x="4336447" y="3168510"/>
                <a:ext cx="291592" cy="186919"/>
                <a:chOff x="4336447" y="3168510"/>
                <a:chExt cx="291592" cy="186919"/>
              </a:xfrm>
              <a:noFill/>
            </p:grpSpPr>
            <p:grpSp>
              <p:nvGrpSpPr>
                <p:cNvPr id="631" name="Gráfico 6">
                  <a:extLst>
                    <a:ext uri="{FF2B5EF4-FFF2-40B4-BE49-F238E27FC236}">
                      <a16:creationId xmlns:a16="http://schemas.microsoft.com/office/drawing/2014/main" id="{168E787F-C045-998D-1FDC-06305E5FDE60}"/>
                    </a:ext>
                  </a:extLst>
                </p:cNvPr>
                <p:cNvGrpSpPr/>
                <p:nvPr/>
              </p:nvGrpSpPr>
              <p:grpSpPr>
                <a:xfrm>
                  <a:off x="4336447" y="3168510"/>
                  <a:ext cx="291592" cy="49204"/>
                  <a:chOff x="4336447" y="3168510"/>
                  <a:chExt cx="291592" cy="49204"/>
                </a:xfrm>
                <a:noFill/>
              </p:grpSpPr>
              <p:grpSp>
                <p:nvGrpSpPr>
                  <p:cNvPr id="632" name="Gráfico 6">
                    <a:extLst>
                      <a:ext uri="{FF2B5EF4-FFF2-40B4-BE49-F238E27FC236}">
                        <a16:creationId xmlns:a16="http://schemas.microsoft.com/office/drawing/2014/main" id="{43FE84C4-A63D-D21C-0308-6408F3D03452}"/>
                      </a:ext>
                    </a:extLst>
                  </p:cNvPr>
                  <p:cNvGrpSpPr/>
                  <p:nvPr/>
                </p:nvGrpSpPr>
                <p:grpSpPr>
                  <a:xfrm>
                    <a:off x="4558531" y="3168510"/>
                    <a:ext cx="69508" cy="49204"/>
                    <a:chOff x="4558531" y="3168510"/>
                    <a:chExt cx="69508" cy="49204"/>
                  </a:xfrm>
                  <a:noFill/>
                </p:grpSpPr>
                <p:sp>
                  <p:nvSpPr>
                    <p:cNvPr id="633" name="Forma livre: Forma 632">
                      <a:extLst>
                        <a:ext uri="{FF2B5EF4-FFF2-40B4-BE49-F238E27FC236}">
                          <a16:creationId xmlns:a16="http://schemas.microsoft.com/office/drawing/2014/main" id="{82CAC5C5-E22B-1777-6775-BD82FA8F1112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4585668" y="3168510"/>
                      <a:ext cx="42371" cy="42362"/>
                    </a:xfrm>
                    <a:custGeom>
                      <a:avLst/>
                      <a:gdLst>
                        <a:gd name="connsiteX0" fmla="*/ 31804 w 42371"/>
                        <a:gd name="connsiteY0" fmla="*/ 39501 h 42362"/>
                        <a:gd name="connsiteX1" fmla="*/ 2859 w 42371"/>
                        <a:gd name="connsiteY1" fmla="*/ 31804 h 42362"/>
                        <a:gd name="connsiteX2" fmla="*/ 10567 w 42371"/>
                        <a:gd name="connsiteY2" fmla="*/ 2860 h 42362"/>
                        <a:gd name="connsiteX3" fmla="*/ 39512 w 42371"/>
                        <a:gd name="connsiteY3" fmla="*/ 10556 h 42362"/>
                        <a:gd name="connsiteX4" fmla="*/ 31804 w 42371"/>
                        <a:gd name="connsiteY4" fmla="*/ 39489 h 42362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42371" h="42362">
                          <a:moveTo>
                            <a:pt x="31804" y="39501"/>
                          </a:moveTo>
                          <a:cubicBezTo>
                            <a:pt x="21693" y="45368"/>
                            <a:pt x="8739" y="41926"/>
                            <a:pt x="2859" y="31804"/>
                          </a:cubicBezTo>
                          <a:cubicBezTo>
                            <a:pt x="-3009" y="21694"/>
                            <a:pt x="445" y="8739"/>
                            <a:pt x="10567" y="2860"/>
                          </a:cubicBezTo>
                          <a:cubicBezTo>
                            <a:pt x="20690" y="-3008"/>
                            <a:pt x="33644" y="446"/>
                            <a:pt x="39512" y="10556"/>
                          </a:cubicBezTo>
                          <a:cubicBezTo>
                            <a:pt x="45380" y="20678"/>
                            <a:pt x="41926" y="33621"/>
                            <a:pt x="31804" y="39489"/>
                          </a:cubicBezTo>
                          <a:close/>
                        </a:path>
                      </a:pathLst>
                    </a:custGeom>
                    <a:noFill/>
                    <a:ln w="6350" cap="flat">
                      <a:solidFill>
                        <a:schemeClr val="accent2"/>
                      </a:solidFill>
                      <a:prstDash val="solid"/>
                      <a:round/>
                    </a:ln>
                  </p:spPr>
                  <p:txBody>
                    <a:bodyPr rtlCol="0" anchor="ctr"/>
                    <a:lstStyle/>
                    <a:p>
                      <a:endParaRPr lang="pt-PT"/>
                    </a:p>
                  </p:txBody>
                </p:sp>
                <p:sp>
                  <p:nvSpPr>
                    <p:cNvPr id="634" name="Forma livre: Forma 633">
                      <a:extLst>
                        <a:ext uri="{FF2B5EF4-FFF2-40B4-BE49-F238E27FC236}">
                          <a16:creationId xmlns:a16="http://schemas.microsoft.com/office/drawing/2014/main" id="{90077894-6A45-03BC-BA43-14E7F26D9689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4558531" y="3201497"/>
                      <a:ext cx="27964" cy="16217"/>
                    </a:xfrm>
                    <a:custGeom>
                      <a:avLst/>
                      <a:gdLst>
                        <a:gd name="connsiteX0" fmla="*/ 27965 w 27964"/>
                        <a:gd name="connsiteY0" fmla="*/ 0 h 16217"/>
                        <a:gd name="connsiteX1" fmla="*/ 0 w 27964"/>
                        <a:gd name="connsiteY1" fmla="*/ 16217 h 1621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27964" h="16217">
                          <a:moveTo>
                            <a:pt x="27965" y="0"/>
                          </a:moveTo>
                          <a:lnTo>
                            <a:pt x="0" y="16217"/>
                          </a:lnTo>
                        </a:path>
                      </a:pathLst>
                    </a:custGeom>
                    <a:ln w="6350" cap="flat">
                      <a:solidFill>
                        <a:schemeClr val="accent2"/>
                      </a:solidFill>
                      <a:prstDash val="solid"/>
                      <a:round/>
                    </a:ln>
                  </p:spPr>
                  <p:txBody>
                    <a:bodyPr rtlCol="0" anchor="ctr"/>
                    <a:lstStyle/>
                    <a:p>
                      <a:endParaRPr lang="pt-PT"/>
                    </a:p>
                  </p:txBody>
                </p:sp>
              </p:grpSp>
              <p:grpSp>
                <p:nvGrpSpPr>
                  <p:cNvPr id="635" name="Gráfico 6">
                    <a:extLst>
                      <a:ext uri="{FF2B5EF4-FFF2-40B4-BE49-F238E27FC236}">
                        <a16:creationId xmlns:a16="http://schemas.microsoft.com/office/drawing/2014/main" id="{36D5173B-A629-8CF0-1113-4A2848AF0398}"/>
                      </a:ext>
                    </a:extLst>
                  </p:cNvPr>
                  <p:cNvGrpSpPr/>
                  <p:nvPr/>
                </p:nvGrpSpPr>
                <p:grpSpPr>
                  <a:xfrm>
                    <a:off x="4336447" y="3168510"/>
                    <a:ext cx="69508" cy="49204"/>
                    <a:chOff x="4336447" y="3168510"/>
                    <a:chExt cx="69508" cy="49204"/>
                  </a:xfrm>
                  <a:noFill/>
                </p:grpSpPr>
                <p:sp>
                  <p:nvSpPr>
                    <p:cNvPr id="636" name="Forma livre: Forma 635">
                      <a:extLst>
                        <a:ext uri="{FF2B5EF4-FFF2-40B4-BE49-F238E27FC236}">
                          <a16:creationId xmlns:a16="http://schemas.microsoft.com/office/drawing/2014/main" id="{F6A6AB39-5B7B-7CD8-D939-FC4276B8E048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4336447" y="3168510"/>
                      <a:ext cx="42371" cy="42362"/>
                    </a:xfrm>
                    <a:custGeom>
                      <a:avLst/>
                      <a:gdLst>
                        <a:gd name="connsiteX0" fmla="*/ 10556 w 42371"/>
                        <a:gd name="connsiteY0" fmla="*/ 39501 h 42362"/>
                        <a:gd name="connsiteX1" fmla="*/ 39512 w 42371"/>
                        <a:gd name="connsiteY1" fmla="*/ 31804 h 42362"/>
                        <a:gd name="connsiteX2" fmla="*/ 31804 w 42371"/>
                        <a:gd name="connsiteY2" fmla="*/ 2860 h 42362"/>
                        <a:gd name="connsiteX3" fmla="*/ 2860 w 42371"/>
                        <a:gd name="connsiteY3" fmla="*/ 10556 h 42362"/>
                        <a:gd name="connsiteX4" fmla="*/ 10556 w 42371"/>
                        <a:gd name="connsiteY4" fmla="*/ 39489 h 42362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42371" h="42362">
                          <a:moveTo>
                            <a:pt x="10556" y="39501"/>
                          </a:moveTo>
                          <a:cubicBezTo>
                            <a:pt x="20678" y="45368"/>
                            <a:pt x="33621" y="41926"/>
                            <a:pt x="39512" y="31804"/>
                          </a:cubicBezTo>
                          <a:cubicBezTo>
                            <a:pt x="45380" y="21694"/>
                            <a:pt x="41927" y="8739"/>
                            <a:pt x="31804" y="2860"/>
                          </a:cubicBezTo>
                          <a:cubicBezTo>
                            <a:pt x="21682" y="-3008"/>
                            <a:pt x="8739" y="446"/>
                            <a:pt x="2860" y="10556"/>
                          </a:cubicBezTo>
                          <a:cubicBezTo>
                            <a:pt x="-3008" y="20678"/>
                            <a:pt x="446" y="33621"/>
                            <a:pt x="10556" y="39489"/>
                          </a:cubicBezTo>
                          <a:close/>
                        </a:path>
                      </a:pathLst>
                    </a:custGeom>
                    <a:noFill/>
                    <a:ln w="6350" cap="flat">
                      <a:solidFill>
                        <a:schemeClr val="accent2"/>
                      </a:solidFill>
                      <a:prstDash val="solid"/>
                      <a:round/>
                    </a:ln>
                  </p:spPr>
                  <p:txBody>
                    <a:bodyPr rtlCol="0" anchor="ctr"/>
                    <a:lstStyle/>
                    <a:p>
                      <a:endParaRPr lang="pt-PT"/>
                    </a:p>
                  </p:txBody>
                </p:sp>
                <p:sp>
                  <p:nvSpPr>
                    <p:cNvPr id="637" name="Forma livre: Forma 636">
                      <a:extLst>
                        <a:ext uri="{FF2B5EF4-FFF2-40B4-BE49-F238E27FC236}">
                          <a16:creationId xmlns:a16="http://schemas.microsoft.com/office/drawing/2014/main" id="{E8FA613E-E2AE-093A-FEA5-11EF711725A4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4377979" y="3201497"/>
                      <a:ext cx="27976" cy="16217"/>
                    </a:xfrm>
                    <a:custGeom>
                      <a:avLst/>
                      <a:gdLst>
                        <a:gd name="connsiteX0" fmla="*/ 0 w 27976"/>
                        <a:gd name="connsiteY0" fmla="*/ 0 h 16217"/>
                        <a:gd name="connsiteX1" fmla="*/ 27977 w 27976"/>
                        <a:gd name="connsiteY1" fmla="*/ 16217 h 1621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27976" h="16217">
                          <a:moveTo>
                            <a:pt x="0" y="0"/>
                          </a:moveTo>
                          <a:lnTo>
                            <a:pt x="27977" y="16217"/>
                          </a:lnTo>
                        </a:path>
                      </a:pathLst>
                    </a:custGeom>
                    <a:ln w="6350" cap="flat">
                      <a:solidFill>
                        <a:schemeClr val="accent2"/>
                      </a:solidFill>
                      <a:prstDash val="solid"/>
                      <a:round/>
                    </a:ln>
                  </p:spPr>
                  <p:txBody>
                    <a:bodyPr rtlCol="0" anchor="ctr"/>
                    <a:lstStyle/>
                    <a:p>
                      <a:endParaRPr lang="pt-PT"/>
                    </a:p>
                  </p:txBody>
                </p:sp>
              </p:grpSp>
            </p:grpSp>
            <p:grpSp>
              <p:nvGrpSpPr>
                <p:cNvPr id="638" name="Gráfico 6">
                  <a:extLst>
                    <a:ext uri="{FF2B5EF4-FFF2-40B4-BE49-F238E27FC236}">
                      <a16:creationId xmlns:a16="http://schemas.microsoft.com/office/drawing/2014/main" id="{B3DD7361-D362-F849-4813-0CBEEA40DC45}"/>
                    </a:ext>
                  </a:extLst>
                </p:cNvPr>
                <p:cNvGrpSpPr/>
                <p:nvPr/>
              </p:nvGrpSpPr>
              <p:grpSpPr>
                <a:xfrm>
                  <a:off x="4336447" y="3306222"/>
                  <a:ext cx="291592" cy="49207"/>
                  <a:chOff x="4336447" y="3306222"/>
                  <a:chExt cx="291592" cy="49207"/>
                </a:xfrm>
                <a:noFill/>
              </p:grpSpPr>
              <p:grpSp>
                <p:nvGrpSpPr>
                  <p:cNvPr id="639" name="Gráfico 6">
                    <a:extLst>
                      <a:ext uri="{FF2B5EF4-FFF2-40B4-BE49-F238E27FC236}">
                        <a16:creationId xmlns:a16="http://schemas.microsoft.com/office/drawing/2014/main" id="{CB41DE47-5101-6549-8D28-2AC95C94B33E}"/>
                      </a:ext>
                    </a:extLst>
                  </p:cNvPr>
                  <p:cNvGrpSpPr/>
                  <p:nvPr/>
                </p:nvGrpSpPr>
                <p:grpSpPr>
                  <a:xfrm>
                    <a:off x="4336447" y="3306222"/>
                    <a:ext cx="69508" cy="49207"/>
                    <a:chOff x="4336447" y="3306222"/>
                    <a:chExt cx="69508" cy="49207"/>
                  </a:xfrm>
                  <a:noFill/>
                </p:grpSpPr>
                <p:sp>
                  <p:nvSpPr>
                    <p:cNvPr id="640" name="Forma livre: Forma 639">
                      <a:extLst>
                        <a:ext uri="{FF2B5EF4-FFF2-40B4-BE49-F238E27FC236}">
                          <a16:creationId xmlns:a16="http://schemas.microsoft.com/office/drawing/2014/main" id="{08BD8714-F46D-A7E2-C320-6C96D75CBCEF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4336447" y="3313066"/>
                      <a:ext cx="42371" cy="42363"/>
                    </a:xfrm>
                    <a:custGeom>
                      <a:avLst/>
                      <a:gdLst>
                        <a:gd name="connsiteX0" fmla="*/ 10556 w 42371"/>
                        <a:gd name="connsiteY0" fmla="*/ 2860 h 42363"/>
                        <a:gd name="connsiteX1" fmla="*/ 39512 w 42371"/>
                        <a:gd name="connsiteY1" fmla="*/ 10556 h 42363"/>
                        <a:gd name="connsiteX2" fmla="*/ 31804 w 42371"/>
                        <a:gd name="connsiteY2" fmla="*/ 39501 h 42363"/>
                        <a:gd name="connsiteX3" fmla="*/ 2860 w 42371"/>
                        <a:gd name="connsiteY3" fmla="*/ 31816 h 42363"/>
                        <a:gd name="connsiteX4" fmla="*/ 10556 w 42371"/>
                        <a:gd name="connsiteY4" fmla="*/ 2872 h 4236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42371" h="42363">
                          <a:moveTo>
                            <a:pt x="10556" y="2860"/>
                          </a:moveTo>
                          <a:cubicBezTo>
                            <a:pt x="20678" y="-3008"/>
                            <a:pt x="33633" y="445"/>
                            <a:pt x="39512" y="10556"/>
                          </a:cubicBezTo>
                          <a:cubicBezTo>
                            <a:pt x="45380" y="20678"/>
                            <a:pt x="41927" y="33633"/>
                            <a:pt x="31804" y="39501"/>
                          </a:cubicBezTo>
                          <a:cubicBezTo>
                            <a:pt x="21682" y="45368"/>
                            <a:pt x="8739" y="41927"/>
                            <a:pt x="2860" y="31816"/>
                          </a:cubicBezTo>
                          <a:cubicBezTo>
                            <a:pt x="-3008" y="21694"/>
                            <a:pt x="446" y="8727"/>
                            <a:pt x="10556" y="2872"/>
                          </a:cubicBezTo>
                          <a:close/>
                        </a:path>
                      </a:pathLst>
                    </a:custGeom>
                    <a:noFill/>
                    <a:ln w="6350" cap="flat">
                      <a:solidFill>
                        <a:schemeClr val="accent2"/>
                      </a:solidFill>
                      <a:prstDash val="solid"/>
                      <a:round/>
                    </a:ln>
                  </p:spPr>
                  <p:txBody>
                    <a:bodyPr rtlCol="0" anchor="ctr"/>
                    <a:lstStyle/>
                    <a:p>
                      <a:endParaRPr lang="pt-PT"/>
                    </a:p>
                  </p:txBody>
                </p:sp>
                <p:sp>
                  <p:nvSpPr>
                    <p:cNvPr id="641" name="Forma livre: Forma 640">
                      <a:extLst>
                        <a:ext uri="{FF2B5EF4-FFF2-40B4-BE49-F238E27FC236}">
                          <a16:creationId xmlns:a16="http://schemas.microsoft.com/office/drawing/2014/main" id="{AF232E1C-90E3-A8EF-3349-031294BCD90F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4377979" y="3306222"/>
                      <a:ext cx="27976" cy="16217"/>
                    </a:xfrm>
                    <a:custGeom>
                      <a:avLst/>
                      <a:gdLst>
                        <a:gd name="connsiteX0" fmla="*/ 0 w 27976"/>
                        <a:gd name="connsiteY0" fmla="*/ 16217 h 16217"/>
                        <a:gd name="connsiteX1" fmla="*/ 27977 w 27976"/>
                        <a:gd name="connsiteY1" fmla="*/ 0 h 1621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27976" h="16217">
                          <a:moveTo>
                            <a:pt x="0" y="16217"/>
                          </a:moveTo>
                          <a:lnTo>
                            <a:pt x="27977" y="0"/>
                          </a:lnTo>
                        </a:path>
                      </a:pathLst>
                    </a:custGeom>
                    <a:ln w="6350" cap="flat">
                      <a:solidFill>
                        <a:schemeClr val="accent2"/>
                      </a:solidFill>
                      <a:prstDash val="solid"/>
                      <a:round/>
                    </a:ln>
                  </p:spPr>
                  <p:txBody>
                    <a:bodyPr rtlCol="0" anchor="ctr"/>
                    <a:lstStyle/>
                    <a:p>
                      <a:endParaRPr lang="pt-PT"/>
                    </a:p>
                  </p:txBody>
                </p:sp>
              </p:grpSp>
              <p:grpSp>
                <p:nvGrpSpPr>
                  <p:cNvPr id="642" name="Gráfico 6">
                    <a:extLst>
                      <a:ext uri="{FF2B5EF4-FFF2-40B4-BE49-F238E27FC236}">
                        <a16:creationId xmlns:a16="http://schemas.microsoft.com/office/drawing/2014/main" id="{3169A990-468C-EBAB-D542-F22C7687992E}"/>
                      </a:ext>
                    </a:extLst>
                  </p:cNvPr>
                  <p:cNvGrpSpPr/>
                  <p:nvPr/>
                </p:nvGrpSpPr>
                <p:grpSpPr>
                  <a:xfrm>
                    <a:off x="4558531" y="3306222"/>
                    <a:ext cx="69508" cy="49207"/>
                    <a:chOff x="4558531" y="3306222"/>
                    <a:chExt cx="69508" cy="49207"/>
                  </a:xfrm>
                  <a:noFill/>
                </p:grpSpPr>
                <p:sp>
                  <p:nvSpPr>
                    <p:cNvPr id="643" name="Forma livre: Forma 642">
                      <a:extLst>
                        <a:ext uri="{FF2B5EF4-FFF2-40B4-BE49-F238E27FC236}">
                          <a16:creationId xmlns:a16="http://schemas.microsoft.com/office/drawing/2014/main" id="{224B98CC-796A-C9B5-8368-C25DF2DA1BAA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4585668" y="3313066"/>
                      <a:ext cx="42371" cy="42363"/>
                    </a:xfrm>
                    <a:custGeom>
                      <a:avLst/>
                      <a:gdLst>
                        <a:gd name="connsiteX0" fmla="*/ 31804 w 42371"/>
                        <a:gd name="connsiteY0" fmla="*/ 2860 h 42363"/>
                        <a:gd name="connsiteX1" fmla="*/ 2859 w 42371"/>
                        <a:gd name="connsiteY1" fmla="*/ 10556 h 42363"/>
                        <a:gd name="connsiteX2" fmla="*/ 10567 w 42371"/>
                        <a:gd name="connsiteY2" fmla="*/ 39501 h 42363"/>
                        <a:gd name="connsiteX3" fmla="*/ 39512 w 42371"/>
                        <a:gd name="connsiteY3" fmla="*/ 31816 h 42363"/>
                        <a:gd name="connsiteX4" fmla="*/ 31804 w 42371"/>
                        <a:gd name="connsiteY4" fmla="*/ 2872 h 4236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42371" h="42363">
                          <a:moveTo>
                            <a:pt x="31804" y="2860"/>
                          </a:moveTo>
                          <a:cubicBezTo>
                            <a:pt x="21693" y="-3008"/>
                            <a:pt x="8739" y="445"/>
                            <a:pt x="2859" y="10556"/>
                          </a:cubicBezTo>
                          <a:cubicBezTo>
                            <a:pt x="-3009" y="20678"/>
                            <a:pt x="445" y="33633"/>
                            <a:pt x="10567" y="39501"/>
                          </a:cubicBezTo>
                          <a:cubicBezTo>
                            <a:pt x="20690" y="45368"/>
                            <a:pt x="33632" y="41927"/>
                            <a:pt x="39512" y="31816"/>
                          </a:cubicBezTo>
                          <a:cubicBezTo>
                            <a:pt x="45380" y="21694"/>
                            <a:pt x="41926" y="8727"/>
                            <a:pt x="31804" y="2872"/>
                          </a:cubicBezTo>
                          <a:close/>
                        </a:path>
                      </a:pathLst>
                    </a:custGeom>
                    <a:noFill/>
                    <a:ln w="6350" cap="flat">
                      <a:solidFill>
                        <a:schemeClr val="accent2"/>
                      </a:solidFill>
                      <a:prstDash val="solid"/>
                      <a:round/>
                    </a:ln>
                  </p:spPr>
                  <p:txBody>
                    <a:bodyPr rtlCol="0" anchor="ctr"/>
                    <a:lstStyle/>
                    <a:p>
                      <a:endParaRPr lang="pt-PT"/>
                    </a:p>
                  </p:txBody>
                </p:sp>
                <p:sp>
                  <p:nvSpPr>
                    <p:cNvPr id="644" name="Forma livre: Forma 643">
                      <a:extLst>
                        <a:ext uri="{FF2B5EF4-FFF2-40B4-BE49-F238E27FC236}">
                          <a16:creationId xmlns:a16="http://schemas.microsoft.com/office/drawing/2014/main" id="{1BBE86F0-5B82-EE14-E711-031827A6EB1E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4558531" y="3306222"/>
                      <a:ext cx="27964" cy="16217"/>
                    </a:xfrm>
                    <a:custGeom>
                      <a:avLst/>
                      <a:gdLst>
                        <a:gd name="connsiteX0" fmla="*/ 27965 w 27964"/>
                        <a:gd name="connsiteY0" fmla="*/ 16217 h 16217"/>
                        <a:gd name="connsiteX1" fmla="*/ 0 w 27964"/>
                        <a:gd name="connsiteY1" fmla="*/ 0 h 1621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27964" h="16217">
                          <a:moveTo>
                            <a:pt x="27965" y="16217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6350" cap="flat">
                      <a:solidFill>
                        <a:schemeClr val="accent2"/>
                      </a:solidFill>
                      <a:prstDash val="solid"/>
                      <a:round/>
                    </a:ln>
                  </p:spPr>
                  <p:txBody>
                    <a:bodyPr rtlCol="0" anchor="ctr"/>
                    <a:lstStyle/>
                    <a:p>
                      <a:endParaRPr lang="pt-PT"/>
                    </a:p>
                  </p:txBody>
                </p:sp>
              </p:grpSp>
            </p:grpSp>
          </p:grpSp>
          <p:sp>
            <p:nvSpPr>
              <p:cNvPr id="645" name="Forma livre: Forma 644">
                <a:extLst>
                  <a:ext uri="{FF2B5EF4-FFF2-40B4-BE49-F238E27FC236}">
                    <a16:creationId xmlns:a16="http://schemas.microsoft.com/office/drawing/2014/main" id="{13CC3E4E-DBE7-35E3-E7E9-D6DAE09745CB}"/>
                  </a:ext>
                </a:extLst>
              </p:cNvPr>
              <p:cNvSpPr/>
              <p:nvPr/>
            </p:nvSpPr>
            <p:spPr>
              <a:xfrm>
                <a:off x="4394746" y="3174477"/>
                <a:ext cx="174982" cy="174970"/>
              </a:xfrm>
              <a:custGeom>
                <a:avLst/>
                <a:gdLst>
                  <a:gd name="connsiteX0" fmla="*/ 174983 w 174982"/>
                  <a:gd name="connsiteY0" fmla="*/ 87491 h 174970"/>
                  <a:gd name="connsiteX1" fmla="*/ 87479 w 174982"/>
                  <a:gd name="connsiteY1" fmla="*/ 174971 h 174970"/>
                  <a:gd name="connsiteX2" fmla="*/ 0 w 174982"/>
                  <a:gd name="connsiteY2" fmla="*/ 87491 h 174970"/>
                  <a:gd name="connsiteX3" fmla="*/ 87479 w 174982"/>
                  <a:gd name="connsiteY3" fmla="*/ 0 h 174970"/>
                  <a:gd name="connsiteX4" fmla="*/ 174983 w 174982"/>
                  <a:gd name="connsiteY4" fmla="*/ 87491 h 1749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4982" h="174970">
                    <a:moveTo>
                      <a:pt x="174983" y="87491"/>
                    </a:moveTo>
                    <a:cubicBezTo>
                      <a:pt x="174983" y="135808"/>
                      <a:pt x="135808" y="174971"/>
                      <a:pt x="87479" y="174971"/>
                    </a:cubicBezTo>
                    <a:cubicBezTo>
                      <a:pt x="39151" y="174971"/>
                      <a:pt x="0" y="135796"/>
                      <a:pt x="0" y="87491"/>
                    </a:cubicBezTo>
                    <a:cubicBezTo>
                      <a:pt x="0" y="39187"/>
                      <a:pt x="39163" y="0"/>
                      <a:pt x="87479" y="0"/>
                    </a:cubicBezTo>
                    <a:cubicBezTo>
                      <a:pt x="135796" y="0"/>
                      <a:pt x="174983" y="39175"/>
                      <a:pt x="174983" y="87491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646" name="Gráfico 6">
                <a:extLst>
                  <a:ext uri="{FF2B5EF4-FFF2-40B4-BE49-F238E27FC236}">
                    <a16:creationId xmlns:a16="http://schemas.microsoft.com/office/drawing/2014/main" id="{873DB0FD-6B69-C3E5-23EC-27E77845B63C}"/>
                  </a:ext>
                </a:extLst>
              </p:cNvPr>
              <p:cNvGrpSpPr/>
              <p:nvPr/>
            </p:nvGrpSpPr>
            <p:grpSpPr>
              <a:xfrm>
                <a:off x="4357866" y="3234314"/>
                <a:ext cx="248754" cy="55319"/>
                <a:chOff x="4357866" y="3234314"/>
                <a:chExt cx="248754" cy="55319"/>
              </a:xfrm>
            </p:grpSpPr>
            <p:sp>
              <p:nvSpPr>
                <p:cNvPr id="647" name="Forma livre: Forma 646">
                  <a:extLst>
                    <a:ext uri="{FF2B5EF4-FFF2-40B4-BE49-F238E27FC236}">
                      <a16:creationId xmlns:a16="http://schemas.microsoft.com/office/drawing/2014/main" id="{935D8CD9-AA44-9133-4A89-323EDDD895C6}"/>
                    </a:ext>
                  </a:extLst>
                </p:cNvPr>
                <p:cNvSpPr/>
                <p:nvPr/>
              </p:nvSpPr>
              <p:spPr>
                <a:xfrm>
                  <a:off x="4357866" y="3234314"/>
                  <a:ext cx="1195" cy="55319"/>
                </a:xfrm>
                <a:custGeom>
                  <a:avLst/>
                  <a:gdLst>
                    <a:gd name="connsiteX0" fmla="*/ 0 w 1195"/>
                    <a:gd name="connsiteY0" fmla="*/ 0 h 55319"/>
                    <a:gd name="connsiteX1" fmla="*/ 0 w 1195"/>
                    <a:gd name="connsiteY1" fmla="*/ 55320 h 5531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195" h="55319">
                      <a:moveTo>
                        <a:pt x="0" y="0"/>
                      </a:moveTo>
                      <a:lnTo>
                        <a:pt x="0" y="5532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648" name="Forma livre: Forma 647">
                  <a:extLst>
                    <a:ext uri="{FF2B5EF4-FFF2-40B4-BE49-F238E27FC236}">
                      <a16:creationId xmlns:a16="http://schemas.microsoft.com/office/drawing/2014/main" id="{6E40D5CD-CA3B-41C8-0710-7C9872D45481}"/>
                    </a:ext>
                  </a:extLst>
                </p:cNvPr>
                <p:cNvSpPr/>
                <p:nvPr/>
              </p:nvSpPr>
              <p:spPr>
                <a:xfrm>
                  <a:off x="4606621" y="3234314"/>
                  <a:ext cx="1195" cy="55319"/>
                </a:xfrm>
                <a:custGeom>
                  <a:avLst/>
                  <a:gdLst>
                    <a:gd name="connsiteX0" fmla="*/ 0 w 1195"/>
                    <a:gd name="connsiteY0" fmla="*/ 0 h 55319"/>
                    <a:gd name="connsiteX1" fmla="*/ 0 w 1195"/>
                    <a:gd name="connsiteY1" fmla="*/ 55320 h 5531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195" h="55319">
                      <a:moveTo>
                        <a:pt x="0" y="0"/>
                      </a:moveTo>
                      <a:lnTo>
                        <a:pt x="0" y="5532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</p:grpSp>
      <p:grpSp>
        <p:nvGrpSpPr>
          <p:cNvPr id="649" name="Gráfico 6">
            <a:extLst>
              <a:ext uri="{FF2B5EF4-FFF2-40B4-BE49-F238E27FC236}">
                <a16:creationId xmlns:a16="http://schemas.microsoft.com/office/drawing/2014/main" id="{8DD1E04F-74D7-54A1-C0BE-296D60646977}"/>
              </a:ext>
            </a:extLst>
          </p:cNvPr>
          <p:cNvGrpSpPr/>
          <p:nvPr/>
        </p:nvGrpSpPr>
        <p:grpSpPr>
          <a:xfrm>
            <a:off x="4345377" y="2558333"/>
            <a:ext cx="273731" cy="353266"/>
            <a:chOff x="4345377" y="2558333"/>
            <a:chExt cx="273731" cy="353266"/>
          </a:xfrm>
          <a:noFill/>
        </p:grpSpPr>
        <p:grpSp>
          <p:nvGrpSpPr>
            <p:cNvPr id="650" name="Gráfico 6">
              <a:extLst>
                <a:ext uri="{FF2B5EF4-FFF2-40B4-BE49-F238E27FC236}">
                  <a16:creationId xmlns:a16="http://schemas.microsoft.com/office/drawing/2014/main" id="{E446A29C-607B-F7B0-EDBB-1A9B622CB4E7}"/>
                </a:ext>
              </a:extLst>
            </p:cNvPr>
            <p:cNvGrpSpPr/>
            <p:nvPr/>
          </p:nvGrpSpPr>
          <p:grpSpPr>
            <a:xfrm>
              <a:off x="4415883" y="2778891"/>
              <a:ext cx="132709" cy="132708"/>
              <a:chOff x="4415883" y="2778891"/>
              <a:chExt cx="132709" cy="132708"/>
            </a:xfrm>
            <a:noFill/>
          </p:grpSpPr>
          <p:grpSp>
            <p:nvGrpSpPr>
              <p:cNvPr id="651" name="Gráfico 6">
                <a:extLst>
                  <a:ext uri="{FF2B5EF4-FFF2-40B4-BE49-F238E27FC236}">
                    <a16:creationId xmlns:a16="http://schemas.microsoft.com/office/drawing/2014/main" id="{A2B02260-0ED6-92CA-9A09-EAC347BEEF4A}"/>
                  </a:ext>
                </a:extLst>
              </p:cNvPr>
              <p:cNvGrpSpPr/>
              <p:nvPr/>
            </p:nvGrpSpPr>
            <p:grpSpPr>
              <a:xfrm>
                <a:off x="4465614" y="2802486"/>
                <a:ext cx="33211" cy="85901"/>
                <a:chOff x="4465614" y="2802486"/>
                <a:chExt cx="33211" cy="85901"/>
              </a:xfrm>
              <a:noFill/>
            </p:grpSpPr>
            <p:sp>
              <p:nvSpPr>
                <p:cNvPr id="652" name="Forma livre: Forma 651">
                  <a:extLst>
                    <a:ext uri="{FF2B5EF4-FFF2-40B4-BE49-F238E27FC236}">
                      <a16:creationId xmlns:a16="http://schemas.microsoft.com/office/drawing/2014/main" id="{9FF29446-9FD2-F731-B505-B0032ADB6C7B}"/>
                    </a:ext>
                  </a:extLst>
                </p:cNvPr>
                <p:cNvSpPr/>
                <p:nvPr/>
              </p:nvSpPr>
              <p:spPr>
                <a:xfrm>
                  <a:off x="4465614" y="2813851"/>
                  <a:ext cx="33211" cy="63147"/>
                </a:xfrm>
                <a:custGeom>
                  <a:avLst/>
                  <a:gdLst>
                    <a:gd name="connsiteX0" fmla="*/ 60 w 33211"/>
                    <a:gd name="connsiteY0" fmla="*/ 47743 h 63147"/>
                    <a:gd name="connsiteX1" fmla="*/ 16623 w 33211"/>
                    <a:gd name="connsiteY1" fmla="*/ 63148 h 63147"/>
                    <a:gd name="connsiteX2" fmla="*/ 33211 w 33211"/>
                    <a:gd name="connsiteY2" fmla="*/ 47743 h 63147"/>
                    <a:gd name="connsiteX3" fmla="*/ 16588 w 33211"/>
                    <a:gd name="connsiteY3" fmla="*/ 31574 h 63147"/>
                    <a:gd name="connsiteX4" fmla="*/ 0 w 33211"/>
                    <a:gd name="connsiteY4" fmla="*/ 15405 h 63147"/>
                    <a:gd name="connsiteX5" fmla="*/ 16564 w 33211"/>
                    <a:gd name="connsiteY5" fmla="*/ 0 h 63147"/>
                    <a:gd name="connsiteX6" fmla="*/ 33127 w 33211"/>
                    <a:gd name="connsiteY6" fmla="*/ 15405 h 6314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3211" h="63147">
                      <a:moveTo>
                        <a:pt x="60" y="47743"/>
                      </a:moveTo>
                      <a:cubicBezTo>
                        <a:pt x="60" y="56252"/>
                        <a:pt x="7481" y="63148"/>
                        <a:pt x="16623" y="63148"/>
                      </a:cubicBezTo>
                      <a:cubicBezTo>
                        <a:pt x="25766" y="63148"/>
                        <a:pt x="33211" y="56252"/>
                        <a:pt x="33211" y="47743"/>
                      </a:cubicBezTo>
                      <a:cubicBezTo>
                        <a:pt x="33211" y="39234"/>
                        <a:pt x="24368" y="35518"/>
                        <a:pt x="16588" y="31574"/>
                      </a:cubicBezTo>
                      <a:cubicBezTo>
                        <a:pt x="8844" y="27642"/>
                        <a:pt x="0" y="23925"/>
                        <a:pt x="0" y="15405"/>
                      </a:cubicBezTo>
                      <a:cubicBezTo>
                        <a:pt x="0" y="6884"/>
                        <a:pt x="7409" y="0"/>
                        <a:pt x="16564" y="0"/>
                      </a:cubicBezTo>
                      <a:cubicBezTo>
                        <a:pt x="25718" y="0"/>
                        <a:pt x="33127" y="6896"/>
                        <a:pt x="33127" y="15405"/>
                      </a:cubicBez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653" name="Forma livre: Forma 652">
                  <a:extLst>
                    <a:ext uri="{FF2B5EF4-FFF2-40B4-BE49-F238E27FC236}">
                      <a16:creationId xmlns:a16="http://schemas.microsoft.com/office/drawing/2014/main" id="{242909EE-2534-C82E-1FCE-4BCD4B3FAEB9}"/>
                    </a:ext>
                  </a:extLst>
                </p:cNvPr>
                <p:cNvSpPr/>
                <p:nvPr/>
              </p:nvSpPr>
              <p:spPr>
                <a:xfrm>
                  <a:off x="4482166" y="2802486"/>
                  <a:ext cx="1195" cy="11293"/>
                </a:xfrm>
                <a:custGeom>
                  <a:avLst/>
                  <a:gdLst>
                    <a:gd name="connsiteX0" fmla="*/ 0 w 1195"/>
                    <a:gd name="connsiteY0" fmla="*/ 11294 h 11293"/>
                    <a:gd name="connsiteX1" fmla="*/ 0 w 1195"/>
                    <a:gd name="connsiteY1" fmla="*/ 0 h 1129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195" h="11293">
                      <a:moveTo>
                        <a:pt x="0" y="11294"/>
                      </a:moveTo>
                      <a:lnTo>
                        <a:pt x="0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654" name="Forma livre: Forma 653">
                  <a:extLst>
                    <a:ext uri="{FF2B5EF4-FFF2-40B4-BE49-F238E27FC236}">
                      <a16:creationId xmlns:a16="http://schemas.microsoft.com/office/drawing/2014/main" id="{7BC144C9-8A9A-C0C6-C3F8-FD4706C41C1C}"/>
                    </a:ext>
                  </a:extLst>
                </p:cNvPr>
                <p:cNvSpPr/>
                <p:nvPr/>
              </p:nvSpPr>
              <p:spPr>
                <a:xfrm>
                  <a:off x="4482166" y="2877083"/>
                  <a:ext cx="1195" cy="11305"/>
                </a:xfrm>
                <a:custGeom>
                  <a:avLst/>
                  <a:gdLst>
                    <a:gd name="connsiteX0" fmla="*/ 0 w 1195"/>
                    <a:gd name="connsiteY0" fmla="*/ 11305 h 11305"/>
                    <a:gd name="connsiteX1" fmla="*/ 0 w 1195"/>
                    <a:gd name="connsiteY1" fmla="*/ 0 h 1130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195" h="11305">
                      <a:moveTo>
                        <a:pt x="0" y="11305"/>
                      </a:moveTo>
                      <a:lnTo>
                        <a:pt x="0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655" name="Forma livre: Forma 654">
                <a:extLst>
                  <a:ext uri="{FF2B5EF4-FFF2-40B4-BE49-F238E27FC236}">
                    <a16:creationId xmlns:a16="http://schemas.microsoft.com/office/drawing/2014/main" id="{ACC787C7-08B2-EDAD-D328-140D712E304D}"/>
                  </a:ext>
                </a:extLst>
              </p:cNvPr>
              <p:cNvSpPr/>
              <p:nvPr/>
            </p:nvSpPr>
            <p:spPr>
              <a:xfrm>
                <a:off x="4415883" y="2778891"/>
                <a:ext cx="132709" cy="132708"/>
              </a:xfrm>
              <a:custGeom>
                <a:avLst/>
                <a:gdLst>
                  <a:gd name="connsiteX0" fmla="*/ 24694 w 132709"/>
                  <a:gd name="connsiteY0" fmla="*/ 14692 h 132708"/>
                  <a:gd name="connsiteX1" fmla="*/ 48130 w 132709"/>
                  <a:gd name="connsiteY1" fmla="*/ 2574 h 132708"/>
                  <a:gd name="connsiteX2" fmla="*/ 130148 w 132709"/>
                  <a:gd name="connsiteY2" fmla="*/ 48118 h 132708"/>
                  <a:gd name="connsiteX3" fmla="*/ 84567 w 132709"/>
                  <a:gd name="connsiteY3" fmla="*/ 130136 h 132708"/>
                  <a:gd name="connsiteX4" fmla="*/ 2562 w 132709"/>
                  <a:gd name="connsiteY4" fmla="*/ 84579 h 132708"/>
                  <a:gd name="connsiteX5" fmla="*/ 7772 w 132709"/>
                  <a:gd name="connsiteY5" fmla="*/ 35247 h 1327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32709" h="132708">
                    <a:moveTo>
                      <a:pt x="24694" y="14692"/>
                    </a:moveTo>
                    <a:cubicBezTo>
                      <a:pt x="31411" y="9266"/>
                      <a:pt x="39298" y="5083"/>
                      <a:pt x="48130" y="2574"/>
                    </a:cubicBezTo>
                    <a:cubicBezTo>
                      <a:pt x="83360" y="-7501"/>
                      <a:pt x="120085" y="12899"/>
                      <a:pt x="130148" y="48118"/>
                    </a:cubicBezTo>
                    <a:cubicBezTo>
                      <a:pt x="140198" y="83360"/>
                      <a:pt x="119786" y="120073"/>
                      <a:pt x="84567" y="130136"/>
                    </a:cubicBezTo>
                    <a:cubicBezTo>
                      <a:pt x="49337" y="140210"/>
                      <a:pt x="12624" y="119798"/>
                      <a:pt x="2562" y="84579"/>
                    </a:cubicBezTo>
                    <a:cubicBezTo>
                      <a:pt x="-2338" y="67394"/>
                      <a:pt x="4" y="49874"/>
                      <a:pt x="7772" y="35247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656" name="Gráfico 6">
              <a:extLst>
                <a:ext uri="{FF2B5EF4-FFF2-40B4-BE49-F238E27FC236}">
                  <a16:creationId xmlns:a16="http://schemas.microsoft.com/office/drawing/2014/main" id="{5054385C-81AD-0B32-7CEC-B568E665ED91}"/>
                </a:ext>
              </a:extLst>
            </p:cNvPr>
            <p:cNvGrpSpPr/>
            <p:nvPr/>
          </p:nvGrpSpPr>
          <p:grpSpPr>
            <a:xfrm>
              <a:off x="4361451" y="2558345"/>
              <a:ext cx="257299" cy="208707"/>
              <a:chOff x="4361451" y="2558345"/>
              <a:chExt cx="257299" cy="208707"/>
            </a:xfrm>
            <a:noFill/>
          </p:grpSpPr>
          <p:sp>
            <p:nvSpPr>
              <p:cNvPr id="657" name="Forma livre: Forma 656">
                <a:extLst>
                  <a:ext uri="{FF2B5EF4-FFF2-40B4-BE49-F238E27FC236}">
                    <a16:creationId xmlns:a16="http://schemas.microsoft.com/office/drawing/2014/main" id="{58CB62E5-8A1C-24BD-EDE1-4CDC24920B50}"/>
                  </a:ext>
                </a:extLst>
              </p:cNvPr>
              <p:cNvSpPr/>
              <p:nvPr/>
            </p:nvSpPr>
            <p:spPr>
              <a:xfrm>
                <a:off x="4482393" y="2558345"/>
                <a:ext cx="54747" cy="121753"/>
              </a:xfrm>
              <a:custGeom>
                <a:avLst/>
                <a:gdLst>
                  <a:gd name="connsiteX0" fmla="*/ 51890 w 54747"/>
                  <a:gd name="connsiteY0" fmla="*/ 121754 h 121753"/>
                  <a:gd name="connsiteX1" fmla="*/ 0 w 54747"/>
                  <a:gd name="connsiteY1" fmla="*/ 0 h 1217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4747" h="121753">
                    <a:moveTo>
                      <a:pt x="51890" y="121754"/>
                    </a:moveTo>
                    <a:cubicBezTo>
                      <a:pt x="69494" y="40083"/>
                      <a:pt x="0" y="0"/>
                      <a:pt x="0" y="0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658" name="Forma livre: Forma 657">
                <a:extLst>
                  <a:ext uri="{FF2B5EF4-FFF2-40B4-BE49-F238E27FC236}">
                    <a16:creationId xmlns:a16="http://schemas.microsoft.com/office/drawing/2014/main" id="{9BD35BDA-DEC5-9A2D-172A-32ED64E2DC47}"/>
                  </a:ext>
                </a:extLst>
              </p:cNvPr>
              <p:cNvSpPr/>
              <p:nvPr/>
            </p:nvSpPr>
            <p:spPr>
              <a:xfrm>
                <a:off x="4501060" y="2686695"/>
                <a:ext cx="32111" cy="69768"/>
              </a:xfrm>
              <a:custGeom>
                <a:avLst/>
                <a:gdLst>
                  <a:gd name="connsiteX0" fmla="*/ 0 w 32111"/>
                  <a:gd name="connsiteY0" fmla="*/ 69768 h 69768"/>
                  <a:gd name="connsiteX1" fmla="*/ 32112 w 32111"/>
                  <a:gd name="connsiteY1" fmla="*/ 0 h 697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2111" h="69768">
                    <a:moveTo>
                      <a:pt x="0" y="69768"/>
                    </a:moveTo>
                    <a:lnTo>
                      <a:pt x="32112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659" name="Forma livre: Forma 658">
                <a:extLst>
                  <a:ext uri="{FF2B5EF4-FFF2-40B4-BE49-F238E27FC236}">
                    <a16:creationId xmlns:a16="http://schemas.microsoft.com/office/drawing/2014/main" id="{084EE816-6B76-876B-0440-9341410E90B9}"/>
                  </a:ext>
                </a:extLst>
              </p:cNvPr>
              <p:cNvSpPr/>
              <p:nvPr/>
            </p:nvSpPr>
            <p:spPr>
              <a:xfrm>
                <a:off x="4527841" y="2686110"/>
                <a:ext cx="90909" cy="80942"/>
              </a:xfrm>
              <a:custGeom>
                <a:avLst/>
                <a:gdLst>
                  <a:gd name="connsiteX0" fmla="*/ 0 w 90909"/>
                  <a:gd name="connsiteY0" fmla="*/ 80942 h 80942"/>
                  <a:gd name="connsiteX1" fmla="*/ 90909 w 90909"/>
                  <a:gd name="connsiteY1" fmla="*/ 0 h 809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0909" h="80942">
                    <a:moveTo>
                      <a:pt x="0" y="80942"/>
                    </a:moveTo>
                    <a:lnTo>
                      <a:pt x="90909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660" name="Forma livre: Forma 659">
                <a:extLst>
                  <a:ext uri="{FF2B5EF4-FFF2-40B4-BE49-F238E27FC236}">
                    <a16:creationId xmlns:a16="http://schemas.microsoft.com/office/drawing/2014/main" id="{1975E379-BC74-2607-D75F-22708C6E2167}"/>
                  </a:ext>
                </a:extLst>
              </p:cNvPr>
              <p:cNvSpPr/>
              <p:nvPr/>
            </p:nvSpPr>
            <p:spPr>
              <a:xfrm>
                <a:off x="4431052" y="2685441"/>
                <a:ext cx="32123" cy="71023"/>
              </a:xfrm>
              <a:custGeom>
                <a:avLst/>
                <a:gdLst>
                  <a:gd name="connsiteX0" fmla="*/ 32124 w 32123"/>
                  <a:gd name="connsiteY0" fmla="*/ 71023 h 71023"/>
                  <a:gd name="connsiteX1" fmla="*/ 0 w 32123"/>
                  <a:gd name="connsiteY1" fmla="*/ 0 h 710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2123" h="71023">
                    <a:moveTo>
                      <a:pt x="32124" y="71023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661" name="Forma livre: Forma 660">
                <a:extLst>
                  <a:ext uri="{FF2B5EF4-FFF2-40B4-BE49-F238E27FC236}">
                    <a16:creationId xmlns:a16="http://schemas.microsoft.com/office/drawing/2014/main" id="{BAF72EEE-285B-55E0-7A5D-919CDFF46F70}"/>
                  </a:ext>
                </a:extLst>
              </p:cNvPr>
              <p:cNvSpPr/>
              <p:nvPr/>
            </p:nvSpPr>
            <p:spPr>
              <a:xfrm>
                <a:off x="4361451" y="2701251"/>
                <a:ext cx="74943" cy="65800"/>
              </a:xfrm>
              <a:custGeom>
                <a:avLst/>
                <a:gdLst>
                  <a:gd name="connsiteX0" fmla="*/ 74943 w 74943"/>
                  <a:gd name="connsiteY0" fmla="*/ 65801 h 65800"/>
                  <a:gd name="connsiteX1" fmla="*/ 0 w 74943"/>
                  <a:gd name="connsiteY1" fmla="*/ 0 h 658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74943" h="65800">
                    <a:moveTo>
                      <a:pt x="74943" y="65801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662" name="Forma livre: Forma 661">
              <a:extLst>
                <a:ext uri="{FF2B5EF4-FFF2-40B4-BE49-F238E27FC236}">
                  <a16:creationId xmlns:a16="http://schemas.microsoft.com/office/drawing/2014/main" id="{F03D81F0-0961-DEA9-30AA-CA49423944B1}"/>
                </a:ext>
              </a:extLst>
            </p:cNvPr>
            <p:cNvSpPr/>
            <p:nvPr/>
          </p:nvSpPr>
          <p:spPr>
            <a:xfrm>
              <a:off x="4345377" y="2558333"/>
              <a:ext cx="273731" cy="127478"/>
            </a:xfrm>
            <a:custGeom>
              <a:avLst/>
              <a:gdLst>
                <a:gd name="connsiteX0" fmla="*/ 115253 w 273731"/>
                <a:gd name="connsiteY0" fmla="*/ 21368 h 127478"/>
                <a:gd name="connsiteX1" fmla="*/ 85675 w 273731"/>
                <a:gd name="connsiteY1" fmla="*/ 127108 h 127478"/>
                <a:gd name="connsiteX2" fmla="*/ 136860 w 273731"/>
                <a:gd name="connsiteY2" fmla="*/ 105644 h 127478"/>
                <a:gd name="connsiteX3" fmla="*/ 188152 w 273731"/>
                <a:gd name="connsiteY3" fmla="*/ 127478 h 127478"/>
                <a:gd name="connsiteX4" fmla="*/ 273732 w 273731"/>
                <a:gd name="connsiteY4" fmla="*/ 127478 h 127478"/>
                <a:gd name="connsiteX5" fmla="*/ 136728 w 273731"/>
                <a:gd name="connsiteY5" fmla="*/ 0 h 127478"/>
                <a:gd name="connsiteX6" fmla="*/ 136561 w 273731"/>
                <a:gd name="connsiteY6" fmla="*/ 0 h 127478"/>
                <a:gd name="connsiteX7" fmla="*/ 0 w 273731"/>
                <a:gd name="connsiteY7" fmla="*/ 127478 h 127478"/>
                <a:gd name="connsiteX8" fmla="*/ 59371 w 273731"/>
                <a:gd name="connsiteY8" fmla="*/ 108907 h 1274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73731" h="127478">
                  <a:moveTo>
                    <a:pt x="115253" y="21368"/>
                  </a:moveTo>
                  <a:cubicBezTo>
                    <a:pt x="96598" y="40310"/>
                    <a:pt x="73162" y="73772"/>
                    <a:pt x="85675" y="127108"/>
                  </a:cubicBezTo>
                  <a:cubicBezTo>
                    <a:pt x="85675" y="127108"/>
                    <a:pt x="95379" y="105656"/>
                    <a:pt x="136860" y="105644"/>
                  </a:cubicBezTo>
                  <a:cubicBezTo>
                    <a:pt x="178341" y="105644"/>
                    <a:pt x="188152" y="127478"/>
                    <a:pt x="188152" y="127478"/>
                  </a:cubicBezTo>
                  <a:cubicBezTo>
                    <a:pt x="228701" y="80727"/>
                    <a:pt x="273732" y="127478"/>
                    <a:pt x="273732" y="127478"/>
                  </a:cubicBezTo>
                  <a:cubicBezTo>
                    <a:pt x="273732" y="57065"/>
                    <a:pt x="212138" y="0"/>
                    <a:pt x="136728" y="0"/>
                  </a:cubicBezTo>
                  <a:lnTo>
                    <a:pt x="136561" y="0"/>
                  </a:lnTo>
                  <a:cubicBezTo>
                    <a:pt x="61140" y="0"/>
                    <a:pt x="0" y="57065"/>
                    <a:pt x="0" y="127478"/>
                  </a:cubicBezTo>
                  <a:cubicBezTo>
                    <a:pt x="0" y="127478"/>
                    <a:pt x="27797" y="98629"/>
                    <a:pt x="59371" y="108907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663" name="Gráfico 6">
            <a:extLst>
              <a:ext uri="{FF2B5EF4-FFF2-40B4-BE49-F238E27FC236}">
                <a16:creationId xmlns:a16="http://schemas.microsoft.com/office/drawing/2014/main" id="{63424AB6-235F-2E5E-94EE-E92BF9607F54}"/>
              </a:ext>
            </a:extLst>
          </p:cNvPr>
          <p:cNvGrpSpPr/>
          <p:nvPr/>
        </p:nvGrpSpPr>
        <p:grpSpPr>
          <a:xfrm>
            <a:off x="4331945" y="2057621"/>
            <a:ext cx="300584" cy="300608"/>
            <a:chOff x="4331945" y="2057621"/>
            <a:chExt cx="300584" cy="300608"/>
          </a:xfrm>
        </p:grpSpPr>
        <p:grpSp>
          <p:nvGrpSpPr>
            <p:cNvPr id="664" name="Gráfico 6">
              <a:extLst>
                <a:ext uri="{FF2B5EF4-FFF2-40B4-BE49-F238E27FC236}">
                  <a16:creationId xmlns:a16="http://schemas.microsoft.com/office/drawing/2014/main" id="{49AD942C-A81F-A598-EF2A-F0218773BB17}"/>
                </a:ext>
              </a:extLst>
            </p:cNvPr>
            <p:cNvGrpSpPr/>
            <p:nvPr/>
          </p:nvGrpSpPr>
          <p:grpSpPr>
            <a:xfrm>
              <a:off x="4331945" y="2057621"/>
              <a:ext cx="118479" cy="300608"/>
              <a:chOff x="4331945" y="2057621"/>
              <a:chExt cx="118479" cy="300608"/>
            </a:xfrm>
            <a:noFill/>
          </p:grpSpPr>
          <p:sp>
            <p:nvSpPr>
              <p:cNvPr id="665" name="Forma livre: Forma 664">
                <a:extLst>
                  <a:ext uri="{FF2B5EF4-FFF2-40B4-BE49-F238E27FC236}">
                    <a16:creationId xmlns:a16="http://schemas.microsoft.com/office/drawing/2014/main" id="{C548C6A4-5B43-8C4C-9A8E-B37610E27216}"/>
                  </a:ext>
                </a:extLst>
              </p:cNvPr>
              <p:cNvSpPr/>
              <p:nvPr/>
            </p:nvSpPr>
            <p:spPr>
              <a:xfrm>
                <a:off x="4365299" y="2057621"/>
                <a:ext cx="51746" cy="51770"/>
              </a:xfrm>
              <a:custGeom>
                <a:avLst/>
                <a:gdLst>
                  <a:gd name="connsiteX0" fmla="*/ 51747 w 51746"/>
                  <a:gd name="connsiteY0" fmla="*/ 25885 h 51770"/>
                  <a:gd name="connsiteX1" fmla="*/ 25885 w 51746"/>
                  <a:gd name="connsiteY1" fmla="*/ 51771 h 51770"/>
                  <a:gd name="connsiteX2" fmla="*/ 0 w 51746"/>
                  <a:gd name="connsiteY2" fmla="*/ 25885 h 51770"/>
                  <a:gd name="connsiteX3" fmla="*/ 25885 w 51746"/>
                  <a:gd name="connsiteY3" fmla="*/ 0 h 51770"/>
                  <a:gd name="connsiteX4" fmla="*/ 51747 w 51746"/>
                  <a:gd name="connsiteY4" fmla="*/ 25885 h 517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1746" h="51770">
                    <a:moveTo>
                      <a:pt x="51747" y="25885"/>
                    </a:moveTo>
                    <a:cubicBezTo>
                      <a:pt x="51747" y="40166"/>
                      <a:pt x="40166" y="51771"/>
                      <a:pt x="25885" y="51771"/>
                    </a:cubicBezTo>
                    <a:cubicBezTo>
                      <a:pt x="11604" y="51771"/>
                      <a:pt x="0" y="40178"/>
                      <a:pt x="0" y="25885"/>
                    </a:cubicBezTo>
                    <a:cubicBezTo>
                      <a:pt x="0" y="11592"/>
                      <a:pt x="11592" y="0"/>
                      <a:pt x="25885" y="0"/>
                    </a:cubicBezTo>
                    <a:cubicBezTo>
                      <a:pt x="40178" y="0"/>
                      <a:pt x="51747" y="11592"/>
                      <a:pt x="51747" y="25885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666" name="Forma livre: Forma 665">
                <a:extLst>
                  <a:ext uri="{FF2B5EF4-FFF2-40B4-BE49-F238E27FC236}">
                    <a16:creationId xmlns:a16="http://schemas.microsoft.com/office/drawing/2014/main" id="{B359F2E9-B5A0-E584-4EEE-99CE624E876D}"/>
                  </a:ext>
                </a:extLst>
              </p:cNvPr>
              <p:cNvSpPr/>
              <p:nvPr/>
            </p:nvSpPr>
            <p:spPr>
              <a:xfrm>
                <a:off x="4331945" y="2133388"/>
                <a:ext cx="118479" cy="123594"/>
              </a:xfrm>
              <a:custGeom>
                <a:avLst/>
                <a:gdLst>
                  <a:gd name="connsiteX0" fmla="*/ 25407 w 118479"/>
                  <a:gd name="connsiteY0" fmla="*/ 123595 h 123594"/>
                  <a:gd name="connsiteX1" fmla="*/ 0 w 118479"/>
                  <a:gd name="connsiteY1" fmla="*/ 89236 h 123594"/>
                  <a:gd name="connsiteX2" fmla="*/ 0 w 118479"/>
                  <a:gd name="connsiteY2" fmla="*/ 34370 h 123594"/>
                  <a:gd name="connsiteX3" fmla="*/ 34358 w 118479"/>
                  <a:gd name="connsiteY3" fmla="*/ 0 h 123594"/>
                  <a:gd name="connsiteX4" fmla="*/ 84109 w 118479"/>
                  <a:gd name="connsiteY4" fmla="*/ 0 h 123594"/>
                  <a:gd name="connsiteX5" fmla="*/ 118480 w 118479"/>
                  <a:gd name="connsiteY5" fmla="*/ 34370 h 123594"/>
                  <a:gd name="connsiteX6" fmla="*/ 118480 w 118479"/>
                  <a:gd name="connsiteY6" fmla="*/ 89236 h 123594"/>
                  <a:gd name="connsiteX7" fmla="*/ 93060 w 118479"/>
                  <a:gd name="connsiteY7" fmla="*/ 123595 h 1235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18479" h="123594">
                    <a:moveTo>
                      <a:pt x="25407" y="123595"/>
                    </a:moveTo>
                    <a:cubicBezTo>
                      <a:pt x="6501" y="123595"/>
                      <a:pt x="0" y="108130"/>
                      <a:pt x="0" y="89236"/>
                    </a:cubicBezTo>
                    <a:lnTo>
                      <a:pt x="0" y="34370"/>
                    </a:lnTo>
                    <a:cubicBezTo>
                      <a:pt x="0" y="15476"/>
                      <a:pt x="15464" y="0"/>
                      <a:pt x="34358" y="0"/>
                    </a:cubicBezTo>
                    <a:lnTo>
                      <a:pt x="84109" y="0"/>
                    </a:lnTo>
                    <a:cubicBezTo>
                      <a:pt x="103015" y="0"/>
                      <a:pt x="118480" y="15476"/>
                      <a:pt x="118480" y="34370"/>
                    </a:cubicBezTo>
                    <a:lnTo>
                      <a:pt x="118480" y="89236"/>
                    </a:lnTo>
                    <a:cubicBezTo>
                      <a:pt x="118480" y="108130"/>
                      <a:pt x="111966" y="123595"/>
                      <a:pt x="93060" y="123595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667" name="Gráfico 6">
                <a:extLst>
                  <a:ext uri="{FF2B5EF4-FFF2-40B4-BE49-F238E27FC236}">
                    <a16:creationId xmlns:a16="http://schemas.microsoft.com/office/drawing/2014/main" id="{013F9CC1-F02F-7473-6D93-0A979C02D25C}"/>
                  </a:ext>
                </a:extLst>
              </p:cNvPr>
              <p:cNvGrpSpPr/>
              <p:nvPr/>
            </p:nvGrpSpPr>
            <p:grpSpPr>
              <a:xfrm>
                <a:off x="4357053" y="2178156"/>
                <a:ext cx="68274" cy="180073"/>
                <a:chOff x="4357053" y="2178156"/>
                <a:chExt cx="68274" cy="180073"/>
              </a:xfrm>
            </p:grpSpPr>
            <p:sp>
              <p:nvSpPr>
                <p:cNvPr id="668" name="Forma livre: Forma 667">
                  <a:extLst>
                    <a:ext uri="{FF2B5EF4-FFF2-40B4-BE49-F238E27FC236}">
                      <a16:creationId xmlns:a16="http://schemas.microsoft.com/office/drawing/2014/main" id="{4F4AE526-B1BB-AD32-9650-F97FB65EB7C0}"/>
                    </a:ext>
                  </a:extLst>
                </p:cNvPr>
                <p:cNvSpPr/>
                <p:nvPr/>
              </p:nvSpPr>
              <p:spPr>
                <a:xfrm>
                  <a:off x="4425328" y="2178156"/>
                  <a:ext cx="1195" cy="180073"/>
                </a:xfrm>
                <a:custGeom>
                  <a:avLst/>
                  <a:gdLst>
                    <a:gd name="connsiteX0" fmla="*/ 0 w 1195"/>
                    <a:gd name="connsiteY0" fmla="*/ 0 h 180073"/>
                    <a:gd name="connsiteX1" fmla="*/ 0 w 1195"/>
                    <a:gd name="connsiteY1" fmla="*/ 180074 h 18007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195" h="180073">
                      <a:moveTo>
                        <a:pt x="0" y="0"/>
                      </a:moveTo>
                      <a:lnTo>
                        <a:pt x="0" y="180074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669" name="Forma livre: Forma 668">
                  <a:extLst>
                    <a:ext uri="{FF2B5EF4-FFF2-40B4-BE49-F238E27FC236}">
                      <a16:creationId xmlns:a16="http://schemas.microsoft.com/office/drawing/2014/main" id="{EB7AB2DD-5CD8-C1DA-D4E0-43CEA97668CE}"/>
                    </a:ext>
                  </a:extLst>
                </p:cNvPr>
                <p:cNvSpPr/>
                <p:nvPr/>
              </p:nvSpPr>
              <p:spPr>
                <a:xfrm>
                  <a:off x="4391173" y="2258489"/>
                  <a:ext cx="1195" cy="99740"/>
                </a:xfrm>
                <a:custGeom>
                  <a:avLst/>
                  <a:gdLst>
                    <a:gd name="connsiteX0" fmla="*/ 0 w 1195"/>
                    <a:gd name="connsiteY0" fmla="*/ 0 h 99740"/>
                    <a:gd name="connsiteX1" fmla="*/ 0 w 1195"/>
                    <a:gd name="connsiteY1" fmla="*/ 99741 h 9974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195" h="99740">
                      <a:moveTo>
                        <a:pt x="0" y="0"/>
                      </a:moveTo>
                      <a:lnTo>
                        <a:pt x="0" y="99741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670" name="Forma livre: Forma 669">
                  <a:extLst>
                    <a:ext uri="{FF2B5EF4-FFF2-40B4-BE49-F238E27FC236}">
                      <a16:creationId xmlns:a16="http://schemas.microsoft.com/office/drawing/2014/main" id="{7F7D147D-A376-A5F2-DA7D-AE974052DC52}"/>
                    </a:ext>
                  </a:extLst>
                </p:cNvPr>
                <p:cNvSpPr/>
                <p:nvPr/>
              </p:nvSpPr>
              <p:spPr>
                <a:xfrm>
                  <a:off x="4357053" y="2178156"/>
                  <a:ext cx="1195" cy="180073"/>
                </a:xfrm>
                <a:custGeom>
                  <a:avLst/>
                  <a:gdLst>
                    <a:gd name="connsiteX0" fmla="*/ 0 w 1195"/>
                    <a:gd name="connsiteY0" fmla="*/ 0 h 180073"/>
                    <a:gd name="connsiteX1" fmla="*/ 0 w 1195"/>
                    <a:gd name="connsiteY1" fmla="*/ 180074 h 18007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195" h="180073">
                      <a:moveTo>
                        <a:pt x="0" y="0"/>
                      </a:moveTo>
                      <a:lnTo>
                        <a:pt x="0" y="180074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grpSp>
          <p:nvGrpSpPr>
            <p:cNvPr id="671" name="Gráfico 6">
              <a:extLst>
                <a:ext uri="{FF2B5EF4-FFF2-40B4-BE49-F238E27FC236}">
                  <a16:creationId xmlns:a16="http://schemas.microsoft.com/office/drawing/2014/main" id="{E7C9B9F9-74EB-A165-19F2-79F093EB659B}"/>
                </a:ext>
              </a:extLst>
            </p:cNvPr>
            <p:cNvGrpSpPr/>
            <p:nvPr/>
          </p:nvGrpSpPr>
          <p:grpSpPr>
            <a:xfrm>
              <a:off x="4448345" y="2201651"/>
              <a:ext cx="184184" cy="150842"/>
              <a:chOff x="4448345" y="2201651"/>
              <a:chExt cx="184184" cy="150842"/>
            </a:xfrm>
          </p:grpSpPr>
          <p:sp>
            <p:nvSpPr>
              <p:cNvPr id="672" name="Forma livre: Forma 671">
                <a:extLst>
                  <a:ext uri="{FF2B5EF4-FFF2-40B4-BE49-F238E27FC236}">
                    <a16:creationId xmlns:a16="http://schemas.microsoft.com/office/drawing/2014/main" id="{F4955DC6-E9B0-9485-4F42-643822F9A814}"/>
                  </a:ext>
                </a:extLst>
              </p:cNvPr>
              <p:cNvSpPr/>
              <p:nvPr/>
            </p:nvSpPr>
            <p:spPr>
              <a:xfrm>
                <a:off x="4562415" y="2273451"/>
                <a:ext cx="7254" cy="7254"/>
              </a:xfrm>
              <a:custGeom>
                <a:avLst/>
                <a:gdLst>
                  <a:gd name="connsiteX0" fmla="*/ 0 w 7254"/>
                  <a:gd name="connsiteY0" fmla="*/ 3621 h 7254"/>
                  <a:gd name="connsiteX1" fmla="*/ 3621 w 7254"/>
                  <a:gd name="connsiteY1" fmla="*/ 0 h 7254"/>
                  <a:gd name="connsiteX2" fmla="*/ 7254 w 7254"/>
                  <a:gd name="connsiteY2" fmla="*/ 3621 h 7254"/>
                  <a:gd name="connsiteX3" fmla="*/ 3621 w 7254"/>
                  <a:gd name="connsiteY3" fmla="*/ 7254 h 7254"/>
                  <a:gd name="connsiteX4" fmla="*/ 0 w 7254"/>
                  <a:gd name="connsiteY4" fmla="*/ 3621 h 72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254" h="7254">
                    <a:moveTo>
                      <a:pt x="0" y="3621"/>
                    </a:moveTo>
                    <a:cubicBezTo>
                      <a:pt x="0" y="1613"/>
                      <a:pt x="1613" y="0"/>
                      <a:pt x="3621" y="0"/>
                    </a:cubicBezTo>
                    <a:cubicBezTo>
                      <a:pt x="5629" y="0"/>
                      <a:pt x="7254" y="1613"/>
                      <a:pt x="7254" y="3621"/>
                    </a:cubicBezTo>
                    <a:cubicBezTo>
                      <a:pt x="7254" y="5629"/>
                      <a:pt x="5629" y="7254"/>
                      <a:pt x="3621" y="7254"/>
                    </a:cubicBezTo>
                    <a:cubicBezTo>
                      <a:pt x="1613" y="7254"/>
                      <a:pt x="0" y="5641"/>
                      <a:pt x="0" y="3621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673" name="Forma livre: Forma 672">
                <a:extLst>
                  <a:ext uri="{FF2B5EF4-FFF2-40B4-BE49-F238E27FC236}">
                    <a16:creationId xmlns:a16="http://schemas.microsoft.com/office/drawing/2014/main" id="{4DADB4C6-411E-2887-9133-B9893FF818C8}"/>
                  </a:ext>
                </a:extLst>
              </p:cNvPr>
              <p:cNvSpPr/>
              <p:nvPr/>
            </p:nvSpPr>
            <p:spPr>
              <a:xfrm>
                <a:off x="4448345" y="2201651"/>
                <a:ext cx="184184" cy="150842"/>
              </a:xfrm>
              <a:custGeom>
                <a:avLst/>
                <a:gdLst>
                  <a:gd name="connsiteX0" fmla="*/ 23782 w 184184"/>
                  <a:gd name="connsiteY0" fmla="*/ 0 h 150842"/>
                  <a:gd name="connsiteX1" fmla="*/ 184185 w 184184"/>
                  <a:gd name="connsiteY1" fmla="*/ 0 h 150842"/>
                  <a:gd name="connsiteX2" fmla="*/ 184185 w 184184"/>
                  <a:gd name="connsiteY2" fmla="*/ 150842 h 150842"/>
                  <a:gd name="connsiteX3" fmla="*/ 0 w 184184"/>
                  <a:gd name="connsiteY3" fmla="*/ 150842 h 1508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84184" h="150842">
                    <a:moveTo>
                      <a:pt x="23782" y="0"/>
                    </a:moveTo>
                    <a:lnTo>
                      <a:pt x="184185" y="0"/>
                    </a:lnTo>
                    <a:lnTo>
                      <a:pt x="184185" y="150842"/>
                    </a:lnTo>
                    <a:lnTo>
                      <a:pt x="0" y="150842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674" name="Forma livre: Forma 673">
                <a:extLst>
                  <a:ext uri="{FF2B5EF4-FFF2-40B4-BE49-F238E27FC236}">
                    <a16:creationId xmlns:a16="http://schemas.microsoft.com/office/drawing/2014/main" id="{7622D4D9-DF51-0AD4-96D8-7A6A1DF1A397}"/>
                  </a:ext>
                </a:extLst>
              </p:cNvPr>
              <p:cNvSpPr/>
              <p:nvPr/>
            </p:nvSpPr>
            <p:spPr>
              <a:xfrm>
                <a:off x="4448345" y="2229711"/>
                <a:ext cx="156267" cy="94733"/>
              </a:xfrm>
              <a:custGeom>
                <a:avLst/>
                <a:gdLst>
                  <a:gd name="connsiteX0" fmla="*/ 0 w 156267"/>
                  <a:gd name="connsiteY0" fmla="*/ 94734 h 94733"/>
                  <a:gd name="connsiteX1" fmla="*/ 137230 w 156267"/>
                  <a:gd name="connsiteY1" fmla="*/ 94734 h 94733"/>
                  <a:gd name="connsiteX2" fmla="*/ 156268 w 156267"/>
                  <a:gd name="connsiteY2" fmla="*/ 75696 h 94733"/>
                  <a:gd name="connsiteX3" fmla="*/ 156268 w 156267"/>
                  <a:gd name="connsiteY3" fmla="*/ 19038 h 94733"/>
                  <a:gd name="connsiteX4" fmla="*/ 137230 w 156267"/>
                  <a:gd name="connsiteY4" fmla="*/ 0 h 94733"/>
                  <a:gd name="connsiteX5" fmla="*/ 23782 w 156267"/>
                  <a:gd name="connsiteY5" fmla="*/ 0 h 947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56267" h="94733">
                    <a:moveTo>
                      <a:pt x="0" y="94734"/>
                    </a:moveTo>
                    <a:lnTo>
                      <a:pt x="137230" y="94734"/>
                    </a:lnTo>
                    <a:cubicBezTo>
                      <a:pt x="137230" y="84217"/>
                      <a:pt x="145751" y="75696"/>
                      <a:pt x="156268" y="75696"/>
                    </a:cubicBezTo>
                    <a:lnTo>
                      <a:pt x="156268" y="19038"/>
                    </a:lnTo>
                    <a:cubicBezTo>
                      <a:pt x="145751" y="19038"/>
                      <a:pt x="137230" y="10505"/>
                      <a:pt x="137230" y="0"/>
                    </a:cubicBezTo>
                    <a:lnTo>
                      <a:pt x="23782" y="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675" name="Forma livre: Forma 674">
                <a:extLst>
                  <a:ext uri="{FF2B5EF4-FFF2-40B4-BE49-F238E27FC236}">
                    <a16:creationId xmlns:a16="http://schemas.microsoft.com/office/drawing/2014/main" id="{2E178417-E374-82BE-A33E-84E690E11C5A}"/>
                  </a:ext>
                </a:extLst>
              </p:cNvPr>
              <p:cNvSpPr/>
              <p:nvPr/>
            </p:nvSpPr>
            <p:spPr>
              <a:xfrm>
                <a:off x="4476250" y="2251940"/>
                <a:ext cx="46715" cy="50276"/>
              </a:xfrm>
              <a:custGeom>
                <a:avLst/>
                <a:gdLst>
                  <a:gd name="connsiteX0" fmla="*/ 0 w 46715"/>
                  <a:gd name="connsiteY0" fmla="*/ 25132 h 50276"/>
                  <a:gd name="connsiteX1" fmla="*/ 23364 w 46715"/>
                  <a:gd name="connsiteY1" fmla="*/ 0 h 50276"/>
                  <a:gd name="connsiteX2" fmla="*/ 46715 w 46715"/>
                  <a:gd name="connsiteY2" fmla="*/ 25132 h 50276"/>
                  <a:gd name="connsiteX3" fmla="*/ 23364 w 46715"/>
                  <a:gd name="connsiteY3" fmla="*/ 50277 h 50276"/>
                  <a:gd name="connsiteX4" fmla="*/ 0 w 46715"/>
                  <a:gd name="connsiteY4" fmla="*/ 25132 h 502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6715" h="50276">
                    <a:moveTo>
                      <a:pt x="0" y="25132"/>
                    </a:moveTo>
                    <a:cubicBezTo>
                      <a:pt x="0" y="11258"/>
                      <a:pt x="10469" y="0"/>
                      <a:pt x="23364" y="0"/>
                    </a:cubicBezTo>
                    <a:cubicBezTo>
                      <a:pt x="36259" y="0"/>
                      <a:pt x="46715" y="11246"/>
                      <a:pt x="46715" y="25132"/>
                    </a:cubicBezTo>
                    <a:cubicBezTo>
                      <a:pt x="46715" y="39019"/>
                      <a:pt x="36259" y="50277"/>
                      <a:pt x="23364" y="50277"/>
                    </a:cubicBezTo>
                    <a:cubicBezTo>
                      <a:pt x="10469" y="50277"/>
                      <a:pt x="0" y="39019"/>
                      <a:pt x="0" y="25132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677" name="Gráfico 9">
            <a:extLst>
              <a:ext uri="{FF2B5EF4-FFF2-40B4-BE49-F238E27FC236}">
                <a16:creationId xmlns:a16="http://schemas.microsoft.com/office/drawing/2014/main" id="{8A02C04A-8A64-1500-7CD2-B1615F963D6F}"/>
              </a:ext>
            </a:extLst>
          </p:cNvPr>
          <p:cNvGrpSpPr/>
          <p:nvPr/>
        </p:nvGrpSpPr>
        <p:grpSpPr>
          <a:xfrm>
            <a:off x="6725052" y="2614374"/>
            <a:ext cx="335659" cy="245257"/>
            <a:chOff x="6725052" y="2614374"/>
            <a:chExt cx="335659" cy="245257"/>
          </a:xfrm>
        </p:grpSpPr>
        <p:grpSp>
          <p:nvGrpSpPr>
            <p:cNvPr id="678" name="Gráfico 9">
              <a:extLst>
                <a:ext uri="{FF2B5EF4-FFF2-40B4-BE49-F238E27FC236}">
                  <a16:creationId xmlns:a16="http://schemas.microsoft.com/office/drawing/2014/main" id="{1C553027-FF50-18C6-AC12-3A662DD8316F}"/>
                </a:ext>
              </a:extLst>
            </p:cNvPr>
            <p:cNvGrpSpPr/>
            <p:nvPr/>
          </p:nvGrpSpPr>
          <p:grpSpPr>
            <a:xfrm>
              <a:off x="6845539" y="2726451"/>
              <a:ext cx="215171" cy="133180"/>
              <a:chOff x="6845539" y="2726451"/>
              <a:chExt cx="215171" cy="133180"/>
            </a:xfrm>
            <a:noFill/>
          </p:grpSpPr>
          <p:grpSp>
            <p:nvGrpSpPr>
              <p:cNvPr id="679" name="Gráfico 9">
                <a:extLst>
                  <a:ext uri="{FF2B5EF4-FFF2-40B4-BE49-F238E27FC236}">
                    <a16:creationId xmlns:a16="http://schemas.microsoft.com/office/drawing/2014/main" id="{AFFE3ECE-1B2A-A4C1-6F53-83027B8063FF}"/>
                  </a:ext>
                </a:extLst>
              </p:cNvPr>
              <p:cNvGrpSpPr/>
              <p:nvPr/>
            </p:nvGrpSpPr>
            <p:grpSpPr>
              <a:xfrm>
                <a:off x="6845539" y="2726451"/>
                <a:ext cx="215171" cy="133180"/>
                <a:chOff x="6845539" y="2726451"/>
                <a:chExt cx="215171" cy="133180"/>
              </a:xfrm>
              <a:noFill/>
            </p:grpSpPr>
            <p:sp>
              <p:nvSpPr>
                <p:cNvPr id="680" name="Forma livre: Forma 679">
                  <a:extLst>
                    <a:ext uri="{FF2B5EF4-FFF2-40B4-BE49-F238E27FC236}">
                      <a16:creationId xmlns:a16="http://schemas.microsoft.com/office/drawing/2014/main" id="{19C75BA3-99B9-11AE-D2B4-ADF30683F005}"/>
                    </a:ext>
                  </a:extLst>
                </p:cNvPr>
                <p:cNvSpPr/>
                <p:nvPr/>
              </p:nvSpPr>
              <p:spPr>
                <a:xfrm>
                  <a:off x="6845539" y="2726451"/>
                  <a:ext cx="215171" cy="133180"/>
                </a:xfrm>
                <a:custGeom>
                  <a:avLst/>
                  <a:gdLst>
                    <a:gd name="connsiteX0" fmla="*/ 22654 w 215171"/>
                    <a:gd name="connsiteY0" fmla="*/ 133181 h 133180"/>
                    <a:gd name="connsiteX1" fmla="*/ 0 w 215171"/>
                    <a:gd name="connsiteY1" fmla="*/ 110192 h 133180"/>
                    <a:gd name="connsiteX2" fmla="*/ 0 w 215171"/>
                    <a:gd name="connsiteY2" fmla="*/ 22654 h 133180"/>
                    <a:gd name="connsiteX3" fmla="*/ 22654 w 215171"/>
                    <a:gd name="connsiteY3" fmla="*/ 0 h 133180"/>
                    <a:gd name="connsiteX4" fmla="*/ 192518 w 215171"/>
                    <a:gd name="connsiteY4" fmla="*/ 0 h 133180"/>
                    <a:gd name="connsiteX5" fmla="*/ 215172 w 215171"/>
                    <a:gd name="connsiteY5" fmla="*/ 22654 h 133180"/>
                    <a:gd name="connsiteX6" fmla="*/ 215172 w 215171"/>
                    <a:gd name="connsiteY6" fmla="*/ 110192 h 133180"/>
                    <a:gd name="connsiteX7" fmla="*/ 192518 w 215171"/>
                    <a:gd name="connsiteY7" fmla="*/ 133181 h 133180"/>
                    <a:gd name="connsiteX8" fmla="*/ 22654 w 215171"/>
                    <a:gd name="connsiteY8" fmla="*/ 133181 h 1331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215171" h="133180">
                      <a:moveTo>
                        <a:pt x="22654" y="133181"/>
                      </a:moveTo>
                      <a:cubicBezTo>
                        <a:pt x="10200" y="133181"/>
                        <a:pt x="0" y="122659"/>
                        <a:pt x="0" y="110192"/>
                      </a:cubicBezTo>
                      <a:lnTo>
                        <a:pt x="0" y="22654"/>
                      </a:lnTo>
                      <a:cubicBezTo>
                        <a:pt x="0" y="10200"/>
                        <a:pt x="10200" y="0"/>
                        <a:pt x="22654" y="0"/>
                      </a:cubicBezTo>
                      <a:lnTo>
                        <a:pt x="192518" y="0"/>
                      </a:lnTo>
                      <a:cubicBezTo>
                        <a:pt x="204984" y="0"/>
                        <a:pt x="215172" y="10200"/>
                        <a:pt x="215172" y="22654"/>
                      </a:cubicBezTo>
                      <a:lnTo>
                        <a:pt x="215172" y="110192"/>
                      </a:lnTo>
                      <a:cubicBezTo>
                        <a:pt x="215172" y="122659"/>
                        <a:pt x="204984" y="133181"/>
                        <a:pt x="192518" y="133181"/>
                      </a:cubicBezTo>
                      <a:lnTo>
                        <a:pt x="22654" y="133181"/>
                      </a:lnTo>
                      <a:close/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681" name="Forma livre: Forma 680">
                  <a:extLst>
                    <a:ext uri="{FF2B5EF4-FFF2-40B4-BE49-F238E27FC236}">
                      <a16:creationId xmlns:a16="http://schemas.microsoft.com/office/drawing/2014/main" id="{EB6ECCF2-C0CF-94BF-9360-542FD4550854}"/>
                    </a:ext>
                  </a:extLst>
                </p:cNvPr>
                <p:cNvSpPr/>
                <p:nvPr/>
              </p:nvSpPr>
              <p:spPr>
                <a:xfrm>
                  <a:off x="6873001" y="2826026"/>
                  <a:ext cx="108546" cy="1192"/>
                </a:xfrm>
                <a:custGeom>
                  <a:avLst/>
                  <a:gdLst>
                    <a:gd name="connsiteX0" fmla="*/ 0 w 108546"/>
                    <a:gd name="connsiteY0" fmla="*/ 0 h 1192"/>
                    <a:gd name="connsiteX1" fmla="*/ 108546 w 108546"/>
                    <a:gd name="connsiteY1" fmla="*/ 0 h 11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08546" h="1192">
                      <a:moveTo>
                        <a:pt x="0" y="0"/>
                      </a:moveTo>
                      <a:lnTo>
                        <a:pt x="108546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682" name="Forma livre: Forma 681">
                  <a:extLst>
                    <a:ext uri="{FF2B5EF4-FFF2-40B4-BE49-F238E27FC236}">
                      <a16:creationId xmlns:a16="http://schemas.microsoft.com/office/drawing/2014/main" id="{75350054-1906-B2C2-E064-31A1B4CDA7D2}"/>
                    </a:ext>
                  </a:extLst>
                </p:cNvPr>
                <p:cNvSpPr/>
                <p:nvPr/>
              </p:nvSpPr>
              <p:spPr>
                <a:xfrm>
                  <a:off x="6873001" y="2797061"/>
                  <a:ext cx="71707" cy="1192"/>
                </a:xfrm>
                <a:custGeom>
                  <a:avLst/>
                  <a:gdLst>
                    <a:gd name="connsiteX0" fmla="*/ 0 w 71707"/>
                    <a:gd name="connsiteY0" fmla="*/ 0 h 1192"/>
                    <a:gd name="connsiteX1" fmla="*/ 71708 w 71707"/>
                    <a:gd name="connsiteY1" fmla="*/ 0 h 11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71707" h="1192">
                      <a:moveTo>
                        <a:pt x="0" y="0"/>
                      </a:moveTo>
                      <a:lnTo>
                        <a:pt x="71708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683" name="Forma livre: Forma 682">
                <a:extLst>
                  <a:ext uri="{FF2B5EF4-FFF2-40B4-BE49-F238E27FC236}">
                    <a16:creationId xmlns:a16="http://schemas.microsoft.com/office/drawing/2014/main" id="{4FD65231-3FCF-BCF8-E1FA-A1D4BB6FFEEE}"/>
                  </a:ext>
                </a:extLst>
              </p:cNvPr>
              <p:cNvSpPr/>
              <p:nvPr/>
            </p:nvSpPr>
            <p:spPr>
              <a:xfrm>
                <a:off x="6983861" y="2753972"/>
                <a:ext cx="43685" cy="43673"/>
              </a:xfrm>
              <a:custGeom>
                <a:avLst/>
                <a:gdLst>
                  <a:gd name="connsiteX0" fmla="*/ 43686 w 43685"/>
                  <a:gd name="connsiteY0" fmla="*/ 21831 h 43673"/>
                  <a:gd name="connsiteX1" fmla="*/ 21843 w 43685"/>
                  <a:gd name="connsiteY1" fmla="*/ 43674 h 43673"/>
                  <a:gd name="connsiteX2" fmla="*/ 0 w 43685"/>
                  <a:gd name="connsiteY2" fmla="*/ 21831 h 43673"/>
                  <a:gd name="connsiteX3" fmla="*/ 21843 w 43685"/>
                  <a:gd name="connsiteY3" fmla="*/ 0 h 43673"/>
                  <a:gd name="connsiteX4" fmla="*/ 43686 w 43685"/>
                  <a:gd name="connsiteY4" fmla="*/ 21831 h 436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3685" h="43673">
                    <a:moveTo>
                      <a:pt x="43686" y="21831"/>
                    </a:moveTo>
                    <a:cubicBezTo>
                      <a:pt x="43686" y="33892"/>
                      <a:pt x="33904" y="43674"/>
                      <a:pt x="21843" y="43674"/>
                    </a:cubicBezTo>
                    <a:cubicBezTo>
                      <a:pt x="9782" y="43674"/>
                      <a:pt x="0" y="33892"/>
                      <a:pt x="0" y="21831"/>
                    </a:cubicBezTo>
                    <a:cubicBezTo>
                      <a:pt x="0" y="9770"/>
                      <a:pt x="9782" y="0"/>
                      <a:pt x="21843" y="0"/>
                    </a:cubicBezTo>
                    <a:cubicBezTo>
                      <a:pt x="33904" y="0"/>
                      <a:pt x="43686" y="9782"/>
                      <a:pt x="43686" y="21831"/>
                    </a:cubicBezTo>
                    <a:close/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684" name="Gráfico 9">
              <a:extLst>
                <a:ext uri="{FF2B5EF4-FFF2-40B4-BE49-F238E27FC236}">
                  <a16:creationId xmlns:a16="http://schemas.microsoft.com/office/drawing/2014/main" id="{77B352E6-2C0D-8BF4-C842-62E2DE54B20A}"/>
                </a:ext>
              </a:extLst>
            </p:cNvPr>
            <p:cNvGrpSpPr/>
            <p:nvPr/>
          </p:nvGrpSpPr>
          <p:grpSpPr>
            <a:xfrm>
              <a:off x="6725052" y="2614374"/>
              <a:ext cx="293226" cy="166380"/>
              <a:chOff x="6725052" y="2614374"/>
              <a:chExt cx="293226" cy="166380"/>
            </a:xfrm>
          </p:grpSpPr>
          <p:grpSp>
            <p:nvGrpSpPr>
              <p:cNvPr id="685" name="Gráfico 9">
                <a:extLst>
                  <a:ext uri="{FF2B5EF4-FFF2-40B4-BE49-F238E27FC236}">
                    <a16:creationId xmlns:a16="http://schemas.microsoft.com/office/drawing/2014/main" id="{F7A6FF42-73BA-07E7-957D-4FEFB6BFBA95}"/>
                  </a:ext>
                </a:extLst>
              </p:cNvPr>
              <p:cNvGrpSpPr/>
              <p:nvPr/>
            </p:nvGrpSpPr>
            <p:grpSpPr>
              <a:xfrm>
                <a:off x="6794398" y="2693561"/>
                <a:ext cx="153699" cy="7157"/>
                <a:chOff x="6794398" y="2693561"/>
                <a:chExt cx="153699" cy="7157"/>
              </a:xfrm>
              <a:solidFill>
                <a:srgbClr val="394553"/>
              </a:solidFill>
            </p:grpSpPr>
            <p:sp>
              <p:nvSpPr>
                <p:cNvPr id="686" name="Forma livre: Forma 685">
                  <a:extLst>
                    <a:ext uri="{FF2B5EF4-FFF2-40B4-BE49-F238E27FC236}">
                      <a16:creationId xmlns:a16="http://schemas.microsoft.com/office/drawing/2014/main" id="{28FB3D20-1A53-D76C-E789-BAA9A0398B26}"/>
                    </a:ext>
                  </a:extLst>
                </p:cNvPr>
                <p:cNvSpPr/>
                <p:nvPr/>
              </p:nvSpPr>
              <p:spPr>
                <a:xfrm>
                  <a:off x="6794398" y="2693561"/>
                  <a:ext cx="7157" cy="7157"/>
                </a:xfrm>
                <a:custGeom>
                  <a:avLst/>
                  <a:gdLst>
                    <a:gd name="connsiteX0" fmla="*/ 7158 w 7157"/>
                    <a:gd name="connsiteY0" fmla="*/ 3579 h 7157"/>
                    <a:gd name="connsiteX1" fmla="*/ 3579 w 7157"/>
                    <a:gd name="connsiteY1" fmla="*/ 7158 h 7157"/>
                    <a:gd name="connsiteX2" fmla="*/ 0 w 7157"/>
                    <a:gd name="connsiteY2" fmla="*/ 3579 h 7157"/>
                    <a:gd name="connsiteX3" fmla="*/ 3579 w 7157"/>
                    <a:gd name="connsiteY3" fmla="*/ 0 h 7157"/>
                    <a:gd name="connsiteX4" fmla="*/ 7158 w 7157"/>
                    <a:gd name="connsiteY4" fmla="*/ 3579 h 715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7157" h="7157">
                      <a:moveTo>
                        <a:pt x="7158" y="3579"/>
                      </a:moveTo>
                      <a:cubicBezTo>
                        <a:pt x="7158" y="5559"/>
                        <a:pt x="5571" y="7158"/>
                        <a:pt x="3579" y="7158"/>
                      </a:cubicBezTo>
                      <a:cubicBezTo>
                        <a:pt x="1587" y="7158"/>
                        <a:pt x="0" y="5559"/>
                        <a:pt x="0" y="3579"/>
                      </a:cubicBezTo>
                      <a:cubicBezTo>
                        <a:pt x="0" y="1599"/>
                        <a:pt x="1610" y="0"/>
                        <a:pt x="3579" y="0"/>
                      </a:cubicBezTo>
                      <a:cubicBezTo>
                        <a:pt x="5547" y="0"/>
                        <a:pt x="7158" y="1599"/>
                        <a:pt x="7158" y="3579"/>
                      </a:cubicBezTo>
                      <a:close/>
                    </a:path>
                  </a:pathLst>
                </a:custGeom>
                <a:solidFill>
                  <a:srgbClr val="394553"/>
                </a:solidFill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687" name="Forma livre: Forma 686">
                  <a:extLst>
                    <a:ext uri="{FF2B5EF4-FFF2-40B4-BE49-F238E27FC236}">
                      <a16:creationId xmlns:a16="http://schemas.microsoft.com/office/drawing/2014/main" id="{17836E29-BB90-5A3E-654D-039EBEBAB5C9}"/>
                    </a:ext>
                  </a:extLst>
                </p:cNvPr>
                <p:cNvSpPr/>
                <p:nvPr/>
              </p:nvSpPr>
              <p:spPr>
                <a:xfrm>
                  <a:off x="6940939" y="2693561"/>
                  <a:ext cx="7157" cy="7157"/>
                </a:xfrm>
                <a:custGeom>
                  <a:avLst/>
                  <a:gdLst>
                    <a:gd name="connsiteX0" fmla="*/ 7158 w 7157"/>
                    <a:gd name="connsiteY0" fmla="*/ 3579 h 7157"/>
                    <a:gd name="connsiteX1" fmla="*/ 3579 w 7157"/>
                    <a:gd name="connsiteY1" fmla="*/ 7158 h 7157"/>
                    <a:gd name="connsiteX2" fmla="*/ 0 w 7157"/>
                    <a:gd name="connsiteY2" fmla="*/ 3579 h 7157"/>
                    <a:gd name="connsiteX3" fmla="*/ 3579 w 7157"/>
                    <a:gd name="connsiteY3" fmla="*/ 0 h 7157"/>
                    <a:gd name="connsiteX4" fmla="*/ 7158 w 7157"/>
                    <a:gd name="connsiteY4" fmla="*/ 3579 h 715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7157" h="7157">
                      <a:moveTo>
                        <a:pt x="7158" y="3579"/>
                      </a:moveTo>
                      <a:cubicBezTo>
                        <a:pt x="7158" y="5555"/>
                        <a:pt x="5555" y="7158"/>
                        <a:pt x="3579" y="7158"/>
                      </a:cubicBezTo>
                      <a:cubicBezTo>
                        <a:pt x="1602" y="7158"/>
                        <a:pt x="0" y="5555"/>
                        <a:pt x="0" y="3579"/>
                      </a:cubicBezTo>
                      <a:cubicBezTo>
                        <a:pt x="0" y="1602"/>
                        <a:pt x="1602" y="0"/>
                        <a:pt x="3579" y="0"/>
                      </a:cubicBezTo>
                      <a:cubicBezTo>
                        <a:pt x="5555" y="0"/>
                        <a:pt x="7158" y="1602"/>
                        <a:pt x="7158" y="3579"/>
                      </a:cubicBezTo>
                      <a:close/>
                    </a:path>
                  </a:pathLst>
                </a:custGeom>
                <a:solidFill>
                  <a:srgbClr val="394553"/>
                </a:solidFill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688" name="Forma livre: Forma 687">
                <a:extLst>
                  <a:ext uri="{FF2B5EF4-FFF2-40B4-BE49-F238E27FC236}">
                    <a16:creationId xmlns:a16="http://schemas.microsoft.com/office/drawing/2014/main" id="{1820B70A-28DB-21F4-DAF8-20063870FB43}"/>
                  </a:ext>
                </a:extLst>
              </p:cNvPr>
              <p:cNvSpPr/>
              <p:nvPr/>
            </p:nvSpPr>
            <p:spPr>
              <a:xfrm>
                <a:off x="6725052" y="2614374"/>
                <a:ext cx="293226" cy="166380"/>
              </a:xfrm>
              <a:custGeom>
                <a:avLst/>
                <a:gdLst>
                  <a:gd name="connsiteX0" fmla="*/ 99468 w 293226"/>
                  <a:gd name="connsiteY0" fmla="*/ 166380 h 166380"/>
                  <a:gd name="connsiteX1" fmla="*/ 0 w 293226"/>
                  <a:gd name="connsiteY1" fmla="*/ 166380 h 166380"/>
                  <a:gd name="connsiteX2" fmla="*/ 0 w 293226"/>
                  <a:gd name="connsiteY2" fmla="*/ 0 h 166380"/>
                  <a:gd name="connsiteX3" fmla="*/ 293226 w 293226"/>
                  <a:gd name="connsiteY3" fmla="*/ 0 h 166380"/>
                  <a:gd name="connsiteX4" fmla="*/ 293226 w 293226"/>
                  <a:gd name="connsiteY4" fmla="*/ 90294 h 1663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93226" h="166380">
                    <a:moveTo>
                      <a:pt x="99468" y="166380"/>
                    </a:moveTo>
                    <a:lnTo>
                      <a:pt x="0" y="166380"/>
                    </a:lnTo>
                    <a:lnTo>
                      <a:pt x="0" y="0"/>
                    </a:lnTo>
                    <a:lnTo>
                      <a:pt x="293226" y="0"/>
                    </a:lnTo>
                    <a:lnTo>
                      <a:pt x="293226" y="90294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689" name="Forma livre: Forma 688">
                <a:extLst>
                  <a:ext uri="{FF2B5EF4-FFF2-40B4-BE49-F238E27FC236}">
                    <a16:creationId xmlns:a16="http://schemas.microsoft.com/office/drawing/2014/main" id="{C0EA5665-34A8-85F5-84E4-27767E152F7A}"/>
                  </a:ext>
                </a:extLst>
              </p:cNvPr>
              <p:cNvSpPr/>
              <p:nvPr/>
            </p:nvSpPr>
            <p:spPr>
              <a:xfrm>
                <a:off x="6755854" y="2645330"/>
                <a:ext cx="231634" cy="104490"/>
              </a:xfrm>
              <a:custGeom>
                <a:avLst/>
                <a:gdLst>
                  <a:gd name="connsiteX0" fmla="*/ 231634 w 231634"/>
                  <a:gd name="connsiteY0" fmla="*/ 59337 h 104490"/>
                  <a:gd name="connsiteX1" fmla="*/ 231634 w 231634"/>
                  <a:gd name="connsiteY1" fmla="*/ 20996 h 104490"/>
                  <a:gd name="connsiteX2" fmla="*/ 210627 w 231634"/>
                  <a:gd name="connsiteY2" fmla="*/ 0 h 104490"/>
                  <a:gd name="connsiteX3" fmla="*/ 20984 w 231634"/>
                  <a:gd name="connsiteY3" fmla="*/ 0 h 104490"/>
                  <a:gd name="connsiteX4" fmla="*/ 0 w 231634"/>
                  <a:gd name="connsiteY4" fmla="*/ 20996 h 104490"/>
                  <a:gd name="connsiteX5" fmla="*/ 0 w 231634"/>
                  <a:gd name="connsiteY5" fmla="*/ 83494 h 104490"/>
                  <a:gd name="connsiteX6" fmla="*/ 20984 w 231634"/>
                  <a:gd name="connsiteY6" fmla="*/ 104490 h 104490"/>
                  <a:gd name="connsiteX7" fmla="*/ 68654 w 231634"/>
                  <a:gd name="connsiteY7" fmla="*/ 104490 h 1044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31634" h="104490">
                    <a:moveTo>
                      <a:pt x="231634" y="59337"/>
                    </a:moveTo>
                    <a:lnTo>
                      <a:pt x="231634" y="20996"/>
                    </a:lnTo>
                    <a:cubicBezTo>
                      <a:pt x="220039" y="20996"/>
                      <a:pt x="210627" y="11596"/>
                      <a:pt x="210627" y="0"/>
                    </a:cubicBezTo>
                    <a:lnTo>
                      <a:pt x="20984" y="0"/>
                    </a:lnTo>
                    <a:cubicBezTo>
                      <a:pt x="20984" y="11596"/>
                      <a:pt x="11584" y="20996"/>
                      <a:pt x="0" y="20996"/>
                    </a:cubicBezTo>
                    <a:lnTo>
                      <a:pt x="0" y="83494"/>
                    </a:lnTo>
                    <a:cubicBezTo>
                      <a:pt x="11584" y="83494"/>
                      <a:pt x="20984" y="92895"/>
                      <a:pt x="20984" y="104490"/>
                    </a:cubicBezTo>
                    <a:lnTo>
                      <a:pt x="68654" y="10449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690" name="Forma livre: Forma 689">
                <a:extLst>
                  <a:ext uri="{FF2B5EF4-FFF2-40B4-BE49-F238E27FC236}">
                    <a16:creationId xmlns:a16="http://schemas.microsoft.com/office/drawing/2014/main" id="{E522569C-CDD4-5A65-B396-DBBC9C19DE63}"/>
                  </a:ext>
                </a:extLst>
              </p:cNvPr>
              <p:cNvSpPr/>
              <p:nvPr/>
            </p:nvSpPr>
            <p:spPr>
              <a:xfrm>
                <a:off x="6845909" y="2669857"/>
                <a:ext cx="51535" cy="39951"/>
              </a:xfrm>
              <a:custGeom>
                <a:avLst/>
                <a:gdLst>
                  <a:gd name="connsiteX0" fmla="*/ 2636 w 51535"/>
                  <a:gd name="connsiteY0" fmla="*/ 39952 h 39951"/>
                  <a:gd name="connsiteX1" fmla="*/ 0 w 51535"/>
                  <a:gd name="connsiteY1" fmla="*/ 27712 h 39951"/>
                  <a:gd name="connsiteX2" fmla="*/ 25768 w 51535"/>
                  <a:gd name="connsiteY2" fmla="*/ 0 h 39951"/>
                  <a:gd name="connsiteX3" fmla="*/ 51535 w 51535"/>
                  <a:gd name="connsiteY3" fmla="*/ 27712 h 39951"/>
                  <a:gd name="connsiteX4" fmla="*/ 50617 w 51535"/>
                  <a:gd name="connsiteY4" fmla="*/ 35097 h 399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1535" h="39951">
                    <a:moveTo>
                      <a:pt x="2636" y="39952"/>
                    </a:moveTo>
                    <a:cubicBezTo>
                      <a:pt x="942" y="36266"/>
                      <a:pt x="0" y="32114"/>
                      <a:pt x="0" y="27712"/>
                    </a:cubicBezTo>
                    <a:cubicBezTo>
                      <a:pt x="0" y="12407"/>
                      <a:pt x="11536" y="0"/>
                      <a:pt x="25768" y="0"/>
                    </a:cubicBezTo>
                    <a:cubicBezTo>
                      <a:pt x="40000" y="0"/>
                      <a:pt x="51535" y="12419"/>
                      <a:pt x="51535" y="27712"/>
                    </a:cubicBezTo>
                    <a:cubicBezTo>
                      <a:pt x="51535" y="30265"/>
                      <a:pt x="51213" y="32746"/>
                      <a:pt x="50617" y="35097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691" name="Gráfico 9">
            <a:extLst>
              <a:ext uri="{FF2B5EF4-FFF2-40B4-BE49-F238E27FC236}">
                <a16:creationId xmlns:a16="http://schemas.microsoft.com/office/drawing/2014/main" id="{0B72310B-8A76-371F-B2EB-D4C4A08D09DB}"/>
              </a:ext>
            </a:extLst>
          </p:cNvPr>
          <p:cNvGrpSpPr/>
          <p:nvPr/>
        </p:nvGrpSpPr>
        <p:grpSpPr>
          <a:xfrm>
            <a:off x="7345586" y="2572919"/>
            <a:ext cx="328179" cy="328167"/>
            <a:chOff x="7345586" y="2572919"/>
            <a:chExt cx="328179" cy="328167"/>
          </a:xfrm>
          <a:noFill/>
        </p:grpSpPr>
        <p:grpSp>
          <p:nvGrpSpPr>
            <p:cNvPr id="692" name="Gráfico 9">
              <a:extLst>
                <a:ext uri="{FF2B5EF4-FFF2-40B4-BE49-F238E27FC236}">
                  <a16:creationId xmlns:a16="http://schemas.microsoft.com/office/drawing/2014/main" id="{645A2752-4503-FBD9-00F1-32DE803186BA}"/>
                </a:ext>
              </a:extLst>
            </p:cNvPr>
            <p:cNvGrpSpPr/>
            <p:nvPr/>
          </p:nvGrpSpPr>
          <p:grpSpPr>
            <a:xfrm>
              <a:off x="7345586" y="2572919"/>
              <a:ext cx="328179" cy="328167"/>
              <a:chOff x="7345586" y="2572919"/>
              <a:chExt cx="328179" cy="328167"/>
            </a:xfrm>
            <a:noFill/>
          </p:grpSpPr>
          <p:sp>
            <p:nvSpPr>
              <p:cNvPr id="693" name="Forma livre: Forma 692">
                <a:extLst>
                  <a:ext uri="{FF2B5EF4-FFF2-40B4-BE49-F238E27FC236}">
                    <a16:creationId xmlns:a16="http://schemas.microsoft.com/office/drawing/2014/main" id="{94B2E272-8C2C-CA38-FC19-49FE94FA8738}"/>
                  </a:ext>
                </a:extLst>
              </p:cNvPr>
              <p:cNvSpPr/>
              <p:nvPr/>
            </p:nvSpPr>
            <p:spPr>
              <a:xfrm>
                <a:off x="7377545" y="2604782"/>
                <a:ext cx="109655" cy="109238"/>
              </a:xfrm>
              <a:custGeom>
                <a:avLst/>
                <a:gdLst>
                  <a:gd name="connsiteX0" fmla="*/ 0 w 109655"/>
                  <a:gd name="connsiteY0" fmla="*/ 109238 h 109238"/>
                  <a:gd name="connsiteX1" fmla="*/ 109655 w 109655"/>
                  <a:gd name="connsiteY1" fmla="*/ 0 h 1092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09655" h="109238">
                    <a:moveTo>
                      <a:pt x="0" y="109238"/>
                    </a:moveTo>
                    <a:cubicBezTo>
                      <a:pt x="9639" y="53420"/>
                      <a:pt x="53778" y="9436"/>
                      <a:pt x="109655" y="0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694" name="Forma livre: Forma 693">
                <a:extLst>
                  <a:ext uri="{FF2B5EF4-FFF2-40B4-BE49-F238E27FC236}">
                    <a16:creationId xmlns:a16="http://schemas.microsoft.com/office/drawing/2014/main" id="{43AEF2BE-4CC1-5D57-6596-7E947342A5DD}"/>
                  </a:ext>
                </a:extLst>
              </p:cNvPr>
              <p:cNvSpPr/>
              <p:nvPr/>
            </p:nvSpPr>
            <p:spPr>
              <a:xfrm>
                <a:off x="7375589" y="2737008"/>
                <a:ext cx="111802" cy="132249"/>
              </a:xfrm>
              <a:custGeom>
                <a:avLst/>
                <a:gdLst>
                  <a:gd name="connsiteX0" fmla="*/ 111803 w 111802"/>
                  <a:gd name="connsiteY0" fmla="*/ 132250 h 132249"/>
                  <a:gd name="connsiteX1" fmla="*/ 0 w 111802"/>
                  <a:gd name="connsiteY1" fmla="*/ 0 h 1322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1802" h="132249">
                    <a:moveTo>
                      <a:pt x="111803" y="132250"/>
                    </a:moveTo>
                    <a:cubicBezTo>
                      <a:pt x="48350" y="121633"/>
                      <a:pt x="0" y="66459"/>
                      <a:pt x="0" y="0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695" name="Forma livre: Forma 694">
                <a:extLst>
                  <a:ext uri="{FF2B5EF4-FFF2-40B4-BE49-F238E27FC236}">
                    <a16:creationId xmlns:a16="http://schemas.microsoft.com/office/drawing/2014/main" id="{632D7C45-E2E1-083F-8BB4-86BA2615F858}"/>
                  </a:ext>
                </a:extLst>
              </p:cNvPr>
              <p:cNvSpPr/>
              <p:nvPr/>
            </p:nvSpPr>
            <p:spPr>
              <a:xfrm>
                <a:off x="7509676" y="2737008"/>
                <a:ext cx="134098" cy="134098"/>
              </a:xfrm>
              <a:custGeom>
                <a:avLst/>
                <a:gdLst>
                  <a:gd name="connsiteX0" fmla="*/ 134099 w 134098"/>
                  <a:gd name="connsiteY0" fmla="*/ 0 h 134098"/>
                  <a:gd name="connsiteX1" fmla="*/ 0 w 134098"/>
                  <a:gd name="connsiteY1" fmla="*/ 134099 h 1340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34098" h="134098">
                    <a:moveTo>
                      <a:pt x="134099" y="0"/>
                    </a:moveTo>
                    <a:cubicBezTo>
                      <a:pt x="134099" y="74058"/>
                      <a:pt x="74058" y="134099"/>
                      <a:pt x="0" y="134099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696" name="Forma livre: Forma 695">
                <a:extLst>
                  <a:ext uri="{FF2B5EF4-FFF2-40B4-BE49-F238E27FC236}">
                    <a16:creationId xmlns:a16="http://schemas.microsoft.com/office/drawing/2014/main" id="{64691DF7-2636-7162-E2C5-CC43B2F1A02E}"/>
                  </a:ext>
                </a:extLst>
              </p:cNvPr>
              <p:cNvSpPr/>
              <p:nvPr/>
            </p:nvSpPr>
            <p:spPr>
              <a:xfrm>
                <a:off x="7509676" y="2602909"/>
                <a:ext cx="132154" cy="111194"/>
              </a:xfrm>
              <a:custGeom>
                <a:avLst/>
                <a:gdLst>
                  <a:gd name="connsiteX0" fmla="*/ 0 w 132154"/>
                  <a:gd name="connsiteY0" fmla="*/ 0 h 111194"/>
                  <a:gd name="connsiteX1" fmla="*/ 132155 w 132154"/>
                  <a:gd name="connsiteY1" fmla="*/ 111194 h 1111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32154" h="111194">
                    <a:moveTo>
                      <a:pt x="0" y="0"/>
                    </a:moveTo>
                    <a:cubicBezTo>
                      <a:pt x="66256" y="0"/>
                      <a:pt x="121287" y="48052"/>
                      <a:pt x="132155" y="111194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697" name="Forma livre: Forma 696">
                <a:extLst>
                  <a:ext uri="{FF2B5EF4-FFF2-40B4-BE49-F238E27FC236}">
                    <a16:creationId xmlns:a16="http://schemas.microsoft.com/office/drawing/2014/main" id="{BD63DD5B-7FDF-FC58-1689-B7BDB8E6265D}"/>
                  </a:ext>
                </a:extLst>
              </p:cNvPr>
              <p:cNvSpPr/>
              <p:nvPr/>
            </p:nvSpPr>
            <p:spPr>
              <a:xfrm>
                <a:off x="7409397" y="2636634"/>
                <a:ext cx="77875" cy="77541"/>
              </a:xfrm>
              <a:custGeom>
                <a:avLst/>
                <a:gdLst>
                  <a:gd name="connsiteX0" fmla="*/ 0 w 77875"/>
                  <a:gd name="connsiteY0" fmla="*/ 77541 h 77541"/>
                  <a:gd name="connsiteX1" fmla="*/ 77876 w 77875"/>
                  <a:gd name="connsiteY1" fmla="*/ 0 h 775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77875" h="77541">
                    <a:moveTo>
                      <a:pt x="0" y="77541"/>
                    </a:moveTo>
                    <a:cubicBezTo>
                      <a:pt x="8756" y="38950"/>
                      <a:pt x="39212" y="8589"/>
                      <a:pt x="77876" y="0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698" name="Forma livre: Forma 697">
                <a:extLst>
                  <a:ext uri="{FF2B5EF4-FFF2-40B4-BE49-F238E27FC236}">
                    <a16:creationId xmlns:a16="http://schemas.microsoft.com/office/drawing/2014/main" id="{9A1187FA-B9A9-844E-84E3-FFF4CBE7A6FF}"/>
                  </a:ext>
                </a:extLst>
              </p:cNvPr>
              <p:cNvSpPr/>
              <p:nvPr/>
            </p:nvSpPr>
            <p:spPr>
              <a:xfrm>
                <a:off x="7406856" y="2737008"/>
                <a:ext cx="80344" cy="100362"/>
              </a:xfrm>
              <a:custGeom>
                <a:avLst/>
                <a:gdLst>
                  <a:gd name="connsiteX0" fmla="*/ 80345 w 80344"/>
                  <a:gd name="connsiteY0" fmla="*/ 100363 h 100362"/>
                  <a:gd name="connsiteX1" fmla="*/ 0 w 80344"/>
                  <a:gd name="connsiteY1" fmla="*/ 0 h 1003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80344" h="100362">
                    <a:moveTo>
                      <a:pt x="80345" y="100363"/>
                    </a:moveTo>
                    <a:cubicBezTo>
                      <a:pt x="34357" y="90103"/>
                      <a:pt x="0" y="49066"/>
                      <a:pt x="0" y="0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699" name="Forma livre: Forma 698">
                <a:extLst>
                  <a:ext uri="{FF2B5EF4-FFF2-40B4-BE49-F238E27FC236}">
                    <a16:creationId xmlns:a16="http://schemas.microsoft.com/office/drawing/2014/main" id="{B1801F6A-042A-4C64-B2B1-5DEAC0FA3DB1}"/>
                  </a:ext>
                </a:extLst>
              </p:cNvPr>
              <p:cNvSpPr/>
              <p:nvPr/>
            </p:nvSpPr>
            <p:spPr>
              <a:xfrm>
                <a:off x="7509676" y="2737008"/>
                <a:ext cx="102831" cy="102831"/>
              </a:xfrm>
              <a:custGeom>
                <a:avLst/>
                <a:gdLst>
                  <a:gd name="connsiteX0" fmla="*/ 102832 w 102831"/>
                  <a:gd name="connsiteY0" fmla="*/ 0 h 102831"/>
                  <a:gd name="connsiteX1" fmla="*/ 0 w 102831"/>
                  <a:gd name="connsiteY1" fmla="*/ 102832 h 1028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02831" h="102831">
                    <a:moveTo>
                      <a:pt x="102832" y="0"/>
                    </a:moveTo>
                    <a:cubicBezTo>
                      <a:pt x="102832" y="56784"/>
                      <a:pt x="56796" y="102832"/>
                      <a:pt x="0" y="102832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00" name="Forma livre: Forma 699">
                <a:extLst>
                  <a:ext uri="{FF2B5EF4-FFF2-40B4-BE49-F238E27FC236}">
                    <a16:creationId xmlns:a16="http://schemas.microsoft.com/office/drawing/2014/main" id="{A0FC0230-F5DE-39AF-327B-18FB673259B0}"/>
                  </a:ext>
                </a:extLst>
              </p:cNvPr>
              <p:cNvSpPr/>
              <p:nvPr/>
            </p:nvSpPr>
            <p:spPr>
              <a:xfrm>
                <a:off x="7509676" y="2634176"/>
                <a:ext cx="100255" cy="79903"/>
              </a:xfrm>
              <a:custGeom>
                <a:avLst/>
                <a:gdLst>
                  <a:gd name="connsiteX0" fmla="*/ 0 w 100255"/>
                  <a:gd name="connsiteY0" fmla="*/ 0 h 79903"/>
                  <a:gd name="connsiteX1" fmla="*/ 100255 w 100255"/>
                  <a:gd name="connsiteY1" fmla="*/ 79903 h 799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00255" h="79903">
                    <a:moveTo>
                      <a:pt x="0" y="0"/>
                    </a:moveTo>
                    <a:cubicBezTo>
                      <a:pt x="48911" y="0"/>
                      <a:pt x="89853" y="34154"/>
                      <a:pt x="100255" y="79903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701" name="Gráfico 9">
                <a:extLst>
                  <a:ext uri="{FF2B5EF4-FFF2-40B4-BE49-F238E27FC236}">
                    <a16:creationId xmlns:a16="http://schemas.microsoft.com/office/drawing/2014/main" id="{8642A737-ACAE-192E-6490-4D7128FFB5F3}"/>
                  </a:ext>
                </a:extLst>
              </p:cNvPr>
              <p:cNvGrpSpPr/>
              <p:nvPr/>
            </p:nvGrpSpPr>
            <p:grpSpPr>
              <a:xfrm>
                <a:off x="7509676" y="2572919"/>
                <a:ext cx="1192" cy="328167"/>
                <a:chOff x="7509676" y="2572919"/>
                <a:chExt cx="1192" cy="328167"/>
              </a:xfrm>
            </p:grpSpPr>
            <p:sp>
              <p:nvSpPr>
                <p:cNvPr id="702" name="Forma livre: Forma 701">
                  <a:extLst>
                    <a:ext uri="{FF2B5EF4-FFF2-40B4-BE49-F238E27FC236}">
                      <a16:creationId xmlns:a16="http://schemas.microsoft.com/office/drawing/2014/main" id="{85F378C2-D3CF-C08B-86ED-DB176B2B0C67}"/>
                    </a:ext>
                  </a:extLst>
                </p:cNvPr>
                <p:cNvSpPr/>
                <p:nvPr/>
              </p:nvSpPr>
              <p:spPr>
                <a:xfrm>
                  <a:off x="7509676" y="2825931"/>
                  <a:ext cx="1192" cy="75155"/>
                </a:xfrm>
                <a:custGeom>
                  <a:avLst/>
                  <a:gdLst>
                    <a:gd name="connsiteX0" fmla="*/ 0 w 1192"/>
                    <a:gd name="connsiteY0" fmla="*/ 0 h 75155"/>
                    <a:gd name="connsiteX1" fmla="*/ 0 w 1192"/>
                    <a:gd name="connsiteY1" fmla="*/ 75156 h 7515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192" h="75155">
                      <a:moveTo>
                        <a:pt x="0" y="0"/>
                      </a:moveTo>
                      <a:lnTo>
                        <a:pt x="0" y="75156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703" name="Forma livre: Forma 702">
                  <a:extLst>
                    <a:ext uri="{FF2B5EF4-FFF2-40B4-BE49-F238E27FC236}">
                      <a16:creationId xmlns:a16="http://schemas.microsoft.com/office/drawing/2014/main" id="{4045F231-8C0A-9F0B-0BEB-A1848D80AD6C}"/>
                    </a:ext>
                  </a:extLst>
                </p:cNvPr>
                <p:cNvSpPr/>
                <p:nvPr/>
              </p:nvSpPr>
              <p:spPr>
                <a:xfrm>
                  <a:off x="7509676" y="2572919"/>
                  <a:ext cx="1192" cy="75167"/>
                </a:xfrm>
                <a:custGeom>
                  <a:avLst/>
                  <a:gdLst>
                    <a:gd name="connsiteX0" fmla="*/ 0 w 1192"/>
                    <a:gd name="connsiteY0" fmla="*/ 0 h 75167"/>
                    <a:gd name="connsiteX1" fmla="*/ 0 w 1192"/>
                    <a:gd name="connsiteY1" fmla="*/ 75168 h 7516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192" h="75167">
                      <a:moveTo>
                        <a:pt x="0" y="0"/>
                      </a:moveTo>
                      <a:lnTo>
                        <a:pt x="0" y="75168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704" name="Gráfico 9">
                <a:extLst>
                  <a:ext uri="{FF2B5EF4-FFF2-40B4-BE49-F238E27FC236}">
                    <a16:creationId xmlns:a16="http://schemas.microsoft.com/office/drawing/2014/main" id="{50EB584E-1022-5A42-A610-3A6A160A8C5A}"/>
                  </a:ext>
                </a:extLst>
              </p:cNvPr>
              <p:cNvGrpSpPr/>
              <p:nvPr/>
            </p:nvGrpSpPr>
            <p:grpSpPr>
              <a:xfrm>
                <a:off x="7345586" y="2737008"/>
                <a:ext cx="328179" cy="1192"/>
                <a:chOff x="7345586" y="2737008"/>
                <a:chExt cx="328179" cy="1192"/>
              </a:xfrm>
            </p:grpSpPr>
            <p:sp>
              <p:nvSpPr>
                <p:cNvPr id="705" name="Forma livre: Forma 704">
                  <a:extLst>
                    <a:ext uri="{FF2B5EF4-FFF2-40B4-BE49-F238E27FC236}">
                      <a16:creationId xmlns:a16="http://schemas.microsoft.com/office/drawing/2014/main" id="{36D06210-83B6-615F-503F-50DC22CFF2B0}"/>
                    </a:ext>
                  </a:extLst>
                </p:cNvPr>
                <p:cNvSpPr/>
                <p:nvPr/>
              </p:nvSpPr>
              <p:spPr>
                <a:xfrm>
                  <a:off x="7345586" y="2737008"/>
                  <a:ext cx="75167" cy="1192"/>
                </a:xfrm>
                <a:custGeom>
                  <a:avLst/>
                  <a:gdLst>
                    <a:gd name="connsiteX0" fmla="*/ 75168 w 75167"/>
                    <a:gd name="connsiteY0" fmla="*/ 0 h 1192"/>
                    <a:gd name="connsiteX1" fmla="*/ 0 w 75167"/>
                    <a:gd name="connsiteY1" fmla="*/ 0 h 11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75167" h="1192">
                      <a:moveTo>
                        <a:pt x="75168" y="0"/>
                      </a:moveTo>
                      <a:lnTo>
                        <a:pt x="0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706" name="Forma livre: Forma 705">
                  <a:extLst>
                    <a:ext uri="{FF2B5EF4-FFF2-40B4-BE49-F238E27FC236}">
                      <a16:creationId xmlns:a16="http://schemas.microsoft.com/office/drawing/2014/main" id="{C70B72E1-B388-607A-A2F5-3B1595A152B8}"/>
                    </a:ext>
                  </a:extLst>
                </p:cNvPr>
                <p:cNvSpPr/>
                <p:nvPr/>
              </p:nvSpPr>
              <p:spPr>
                <a:xfrm>
                  <a:off x="7598598" y="2737008"/>
                  <a:ext cx="75167" cy="1192"/>
                </a:xfrm>
                <a:custGeom>
                  <a:avLst/>
                  <a:gdLst>
                    <a:gd name="connsiteX0" fmla="*/ 75167 w 75167"/>
                    <a:gd name="connsiteY0" fmla="*/ 0 h 1192"/>
                    <a:gd name="connsiteX1" fmla="*/ 0 w 75167"/>
                    <a:gd name="connsiteY1" fmla="*/ 0 h 11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75167" h="1192">
                      <a:moveTo>
                        <a:pt x="75167" y="0"/>
                      </a:moveTo>
                      <a:lnTo>
                        <a:pt x="0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grpSp>
          <p:nvGrpSpPr>
            <p:cNvPr id="707" name="Gráfico 9">
              <a:extLst>
                <a:ext uri="{FF2B5EF4-FFF2-40B4-BE49-F238E27FC236}">
                  <a16:creationId xmlns:a16="http://schemas.microsoft.com/office/drawing/2014/main" id="{76D50F7B-6360-4C7D-05FC-48C364525C7B}"/>
                </a:ext>
              </a:extLst>
            </p:cNvPr>
            <p:cNvGrpSpPr/>
            <p:nvPr/>
          </p:nvGrpSpPr>
          <p:grpSpPr>
            <a:xfrm>
              <a:off x="7485734" y="2676466"/>
              <a:ext cx="47884" cy="121072"/>
              <a:chOff x="7485734" y="2676466"/>
              <a:chExt cx="47884" cy="121072"/>
            </a:xfrm>
            <a:noFill/>
          </p:grpSpPr>
          <p:sp>
            <p:nvSpPr>
              <p:cNvPr id="708" name="Forma livre: Forma 707">
                <a:extLst>
                  <a:ext uri="{FF2B5EF4-FFF2-40B4-BE49-F238E27FC236}">
                    <a16:creationId xmlns:a16="http://schemas.microsoft.com/office/drawing/2014/main" id="{3A5C6E74-81D5-F46B-C254-31A958F12A38}"/>
                  </a:ext>
                </a:extLst>
              </p:cNvPr>
              <p:cNvSpPr/>
              <p:nvPr/>
            </p:nvSpPr>
            <p:spPr>
              <a:xfrm>
                <a:off x="7485734" y="2691462"/>
                <a:ext cx="47884" cy="91069"/>
              </a:xfrm>
              <a:custGeom>
                <a:avLst/>
                <a:gdLst>
                  <a:gd name="connsiteX0" fmla="*/ 96 w 47884"/>
                  <a:gd name="connsiteY0" fmla="*/ 68857 h 91069"/>
                  <a:gd name="connsiteX1" fmla="*/ 23978 w 47884"/>
                  <a:gd name="connsiteY1" fmla="*/ 91069 h 91069"/>
                  <a:gd name="connsiteX2" fmla="*/ 47885 w 47884"/>
                  <a:gd name="connsiteY2" fmla="*/ 68857 h 91069"/>
                  <a:gd name="connsiteX3" fmla="*/ 23943 w 47884"/>
                  <a:gd name="connsiteY3" fmla="*/ 45535 h 91069"/>
                  <a:gd name="connsiteX4" fmla="*/ 0 w 47884"/>
                  <a:gd name="connsiteY4" fmla="*/ 22213 h 91069"/>
                  <a:gd name="connsiteX5" fmla="*/ 23895 w 47884"/>
                  <a:gd name="connsiteY5" fmla="*/ 0 h 91069"/>
                  <a:gd name="connsiteX6" fmla="*/ 47789 w 47884"/>
                  <a:gd name="connsiteY6" fmla="*/ 22213 h 910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7884" h="91069">
                    <a:moveTo>
                      <a:pt x="96" y="68857"/>
                    </a:moveTo>
                    <a:cubicBezTo>
                      <a:pt x="96" y="81132"/>
                      <a:pt x="10796" y="91069"/>
                      <a:pt x="23978" y="91069"/>
                    </a:cubicBezTo>
                    <a:cubicBezTo>
                      <a:pt x="37160" y="91069"/>
                      <a:pt x="47885" y="81144"/>
                      <a:pt x="47885" y="68857"/>
                    </a:cubicBezTo>
                    <a:cubicBezTo>
                      <a:pt x="47885" y="56570"/>
                      <a:pt x="35132" y="51213"/>
                      <a:pt x="23943" y="45535"/>
                    </a:cubicBezTo>
                    <a:cubicBezTo>
                      <a:pt x="12753" y="39868"/>
                      <a:pt x="0" y="34476"/>
                      <a:pt x="0" y="22213"/>
                    </a:cubicBezTo>
                    <a:cubicBezTo>
                      <a:pt x="0" y="9949"/>
                      <a:pt x="10677" y="0"/>
                      <a:pt x="23895" y="0"/>
                    </a:cubicBezTo>
                    <a:cubicBezTo>
                      <a:pt x="37113" y="0"/>
                      <a:pt x="47789" y="9949"/>
                      <a:pt x="47789" y="22213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09" name="Forma livre: Forma 708">
                <a:extLst>
                  <a:ext uri="{FF2B5EF4-FFF2-40B4-BE49-F238E27FC236}">
                    <a16:creationId xmlns:a16="http://schemas.microsoft.com/office/drawing/2014/main" id="{7C1A3DDD-F95D-6CE3-F88B-3E6CB0CD3805}"/>
                  </a:ext>
                </a:extLst>
              </p:cNvPr>
              <p:cNvSpPr/>
              <p:nvPr/>
            </p:nvSpPr>
            <p:spPr>
              <a:xfrm>
                <a:off x="7509628" y="2676466"/>
                <a:ext cx="1192" cy="14899"/>
              </a:xfrm>
              <a:custGeom>
                <a:avLst/>
                <a:gdLst>
                  <a:gd name="connsiteX0" fmla="*/ 0 w 1192"/>
                  <a:gd name="connsiteY0" fmla="*/ 14900 h 14899"/>
                  <a:gd name="connsiteX1" fmla="*/ 0 w 1192"/>
                  <a:gd name="connsiteY1" fmla="*/ 0 h 148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2" h="14899">
                    <a:moveTo>
                      <a:pt x="0" y="14900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10" name="Forma livre: Forma 709">
                <a:extLst>
                  <a:ext uri="{FF2B5EF4-FFF2-40B4-BE49-F238E27FC236}">
                    <a16:creationId xmlns:a16="http://schemas.microsoft.com/office/drawing/2014/main" id="{4D3D4BAA-410B-56BC-CF0D-5F2342999C9B}"/>
                  </a:ext>
                </a:extLst>
              </p:cNvPr>
              <p:cNvSpPr/>
              <p:nvPr/>
            </p:nvSpPr>
            <p:spPr>
              <a:xfrm>
                <a:off x="7509628" y="2782650"/>
                <a:ext cx="1192" cy="14887"/>
              </a:xfrm>
              <a:custGeom>
                <a:avLst/>
                <a:gdLst>
                  <a:gd name="connsiteX0" fmla="*/ 0 w 1192"/>
                  <a:gd name="connsiteY0" fmla="*/ 14888 h 14887"/>
                  <a:gd name="connsiteX1" fmla="*/ 0 w 1192"/>
                  <a:gd name="connsiteY1" fmla="*/ 0 h 148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2" h="14887">
                    <a:moveTo>
                      <a:pt x="0" y="14888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711" name="Gráfico 9">
            <a:extLst>
              <a:ext uri="{FF2B5EF4-FFF2-40B4-BE49-F238E27FC236}">
                <a16:creationId xmlns:a16="http://schemas.microsoft.com/office/drawing/2014/main" id="{A25992A3-271D-0A76-7CB7-2BB7F751AFB3}"/>
              </a:ext>
            </a:extLst>
          </p:cNvPr>
          <p:cNvGrpSpPr/>
          <p:nvPr/>
        </p:nvGrpSpPr>
        <p:grpSpPr>
          <a:xfrm>
            <a:off x="6131776" y="2592733"/>
            <a:ext cx="288633" cy="288549"/>
            <a:chOff x="6131776" y="2592733"/>
            <a:chExt cx="288633" cy="288549"/>
          </a:xfrm>
          <a:noFill/>
        </p:grpSpPr>
        <p:grpSp>
          <p:nvGrpSpPr>
            <p:cNvPr id="712" name="Gráfico 9">
              <a:extLst>
                <a:ext uri="{FF2B5EF4-FFF2-40B4-BE49-F238E27FC236}">
                  <a16:creationId xmlns:a16="http://schemas.microsoft.com/office/drawing/2014/main" id="{BE457D44-8DE1-91EB-01FF-B342D44F333E}"/>
                </a:ext>
              </a:extLst>
            </p:cNvPr>
            <p:cNvGrpSpPr/>
            <p:nvPr/>
          </p:nvGrpSpPr>
          <p:grpSpPr>
            <a:xfrm>
              <a:off x="6236123" y="2673516"/>
              <a:ext cx="77887" cy="117126"/>
              <a:chOff x="6236123" y="2673516"/>
              <a:chExt cx="77887" cy="117126"/>
            </a:xfrm>
            <a:noFill/>
          </p:grpSpPr>
          <p:sp>
            <p:nvSpPr>
              <p:cNvPr id="713" name="Forma livre: Forma 712">
                <a:extLst>
                  <a:ext uri="{FF2B5EF4-FFF2-40B4-BE49-F238E27FC236}">
                    <a16:creationId xmlns:a16="http://schemas.microsoft.com/office/drawing/2014/main" id="{174963AB-BFD7-BB69-4EEE-8DDC3BA81BB4}"/>
                  </a:ext>
                </a:extLst>
              </p:cNvPr>
              <p:cNvSpPr/>
              <p:nvPr/>
            </p:nvSpPr>
            <p:spPr>
              <a:xfrm>
                <a:off x="6236493" y="2673516"/>
                <a:ext cx="77517" cy="117126"/>
              </a:xfrm>
              <a:custGeom>
                <a:avLst/>
                <a:gdLst>
                  <a:gd name="connsiteX0" fmla="*/ 66960 w 77517"/>
                  <a:gd name="connsiteY0" fmla="*/ 22705 h 117126"/>
                  <a:gd name="connsiteX1" fmla="*/ 29132 w 77517"/>
                  <a:gd name="connsiteY1" fmla="*/ 2902 h 117126"/>
                  <a:gd name="connsiteX2" fmla="*/ 26579 w 77517"/>
                  <a:gd name="connsiteY2" fmla="*/ 4429 h 117126"/>
                  <a:gd name="connsiteX3" fmla="*/ 16570 w 77517"/>
                  <a:gd name="connsiteY3" fmla="*/ 43474 h 117126"/>
                  <a:gd name="connsiteX4" fmla="*/ 18741 w 77517"/>
                  <a:gd name="connsiteY4" fmla="*/ 47280 h 117126"/>
                  <a:gd name="connsiteX5" fmla="*/ 0 w 77517"/>
                  <a:gd name="connsiteY5" fmla="*/ 117127 h 117126"/>
                  <a:gd name="connsiteX6" fmla="*/ 47658 w 77517"/>
                  <a:gd name="connsiteY6" fmla="*/ 113250 h 117126"/>
                  <a:gd name="connsiteX7" fmla="*/ 77518 w 77517"/>
                  <a:gd name="connsiteY7" fmla="*/ 109587 h 1171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7517" h="117126">
                    <a:moveTo>
                      <a:pt x="66960" y="22705"/>
                    </a:moveTo>
                    <a:cubicBezTo>
                      <a:pt x="66841" y="-1309"/>
                      <a:pt x="41002" y="-3086"/>
                      <a:pt x="29132" y="2902"/>
                    </a:cubicBezTo>
                    <a:lnTo>
                      <a:pt x="26579" y="4429"/>
                    </a:lnTo>
                    <a:cubicBezTo>
                      <a:pt x="13087" y="12398"/>
                      <a:pt x="8577" y="29982"/>
                      <a:pt x="16570" y="43474"/>
                    </a:cubicBezTo>
                    <a:lnTo>
                      <a:pt x="18741" y="47280"/>
                    </a:lnTo>
                    <a:cubicBezTo>
                      <a:pt x="36456" y="73954"/>
                      <a:pt x="0" y="117127"/>
                      <a:pt x="0" y="117127"/>
                    </a:cubicBezTo>
                    <a:cubicBezTo>
                      <a:pt x="22404" y="98052"/>
                      <a:pt x="47658" y="113250"/>
                      <a:pt x="47658" y="113250"/>
                    </a:cubicBezTo>
                    <a:cubicBezTo>
                      <a:pt x="68690" y="122817"/>
                      <a:pt x="77518" y="109587"/>
                      <a:pt x="77518" y="109587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14" name="Forma livre: Forma 713">
                <a:extLst>
                  <a:ext uri="{FF2B5EF4-FFF2-40B4-BE49-F238E27FC236}">
                    <a16:creationId xmlns:a16="http://schemas.microsoft.com/office/drawing/2014/main" id="{DA9193AA-5A50-FB4B-92D6-9EBE7530BCC0}"/>
                  </a:ext>
                </a:extLst>
              </p:cNvPr>
              <p:cNvSpPr/>
              <p:nvPr/>
            </p:nvSpPr>
            <p:spPr>
              <a:xfrm>
                <a:off x="6236123" y="2735982"/>
                <a:ext cx="48254" cy="1192"/>
              </a:xfrm>
              <a:custGeom>
                <a:avLst/>
                <a:gdLst>
                  <a:gd name="connsiteX0" fmla="*/ 0 w 48254"/>
                  <a:gd name="connsiteY0" fmla="*/ 0 h 1192"/>
                  <a:gd name="connsiteX1" fmla="*/ 48255 w 48254"/>
                  <a:gd name="connsiteY1" fmla="*/ 0 h 11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8254" h="1192">
                    <a:moveTo>
                      <a:pt x="0" y="0"/>
                    </a:moveTo>
                    <a:lnTo>
                      <a:pt x="48255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715" name="Gráfico 9">
              <a:extLst>
                <a:ext uri="{FF2B5EF4-FFF2-40B4-BE49-F238E27FC236}">
                  <a16:creationId xmlns:a16="http://schemas.microsoft.com/office/drawing/2014/main" id="{FF941F2F-0F24-DD86-0D52-4498D8FEC2E1}"/>
                </a:ext>
              </a:extLst>
            </p:cNvPr>
            <p:cNvGrpSpPr/>
            <p:nvPr/>
          </p:nvGrpSpPr>
          <p:grpSpPr>
            <a:xfrm>
              <a:off x="6131776" y="2592733"/>
              <a:ext cx="288633" cy="288549"/>
              <a:chOff x="6131776" y="2592733"/>
              <a:chExt cx="288633" cy="288549"/>
            </a:xfrm>
            <a:noFill/>
          </p:grpSpPr>
          <p:sp>
            <p:nvSpPr>
              <p:cNvPr id="716" name="Forma livre: Forma 715">
                <a:extLst>
                  <a:ext uri="{FF2B5EF4-FFF2-40B4-BE49-F238E27FC236}">
                    <a16:creationId xmlns:a16="http://schemas.microsoft.com/office/drawing/2014/main" id="{076F0501-BEF3-17C0-3E19-D4E078E1ABE7}"/>
                  </a:ext>
                </a:extLst>
              </p:cNvPr>
              <p:cNvSpPr/>
              <p:nvPr/>
            </p:nvSpPr>
            <p:spPr>
              <a:xfrm>
                <a:off x="6131776" y="2592733"/>
                <a:ext cx="288633" cy="288549"/>
              </a:xfrm>
              <a:custGeom>
                <a:avLst/>
                <a:gdLst>
                  <a:gd name="connsiteX0" fmla="*/ 288633 w 288633"/>
                  <a:gd name="connsiteY0" fmla="*/ 144287 h 288549"/>
                  <a:gd name="connsiteX1" fmla="*/ 144287 w 288633"/>
                  <a:gd name="connsiteY1" fmla="*/ 288550 h 288549"/>
                  <a:gd name="connsiteX2" fmla="*/ 0 w 288633"/>
                  <a:gd name="connsiteY2" fmla="*/ 144287 h 288549"/>
                  <a:gd name="connsiteX3" fmla="*/ 144287 w 288633"/>
                  <a:gd name="connsiteY3" fmla="*/ 0 h 288549"/>
                  <a:gd name="connsiteX4" fmla="*/ 288633 w 288633"/>
                  <a:gd name="connsiteY4" fmla="*/ 144287 h 2885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88633" h="288549">
                    <a:moveTo>
                      <a:pt x="288633" y="144287"/>
                    </a:moveTo>
                    <a:cubicBezTo>
                      <a:pt x="288633" y="223952"/>
                      <a:pt x="224035" y="288550"/>
                      <a:pt x="144287" y="288550"/>
                    </a:cubicBezTo>
                    <a:cubicBezTo>
                      <a:pt x="64538" y="288550"/>
                      <a:pt x="0" y="223964"/>
                      <a:pt x="0" y="144287"/>
                    </a:cubicBezTo>
                    <a:cubicBezTo>
                      <a:pt x="0" y="64610"/>
                      <a:pt x="64598" y="0"/>
                      <a:pt x="144287" y="0"/>
                    </a:cubicBezTo>
                    <a:cubicBezTo>
                      <a:pt x="223976" y="0"/>
                      <a:pt x="288633" y="64598"/>
                      <a:pt x="288633" y="144287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17" name="Forma livre: Forma 716">
                <a:extLst>
                  <a:ext uri="{FF2B5EF4-FFF2-40B4-BE49-F238E27FC236}">
                    <a16:creationId xmlns:a16="http://schemas.microsoft.com/office/drawing/2014/main" id="{3A2608BE-C5CB-90C9-457E-8CD8C071F30A}"/>
                  </a:ext>
                </a:extLst>
              </p:cNvPr>
              <p:cNvSpPr/>
              <p:nvPr/>
            </p:nvSpPr>
            <p:spPr>
              <a:xfrm>
                <a:off x="6167863" y="2628796"/>
                <a:ext cx="216471" cy="216412"/>
              </a:xfrm>
              <a:custGeom>
                <a:avLst/>
                <a:gdLst>
                  <a:gd name="connsiteX0" fmla="*/ 108212 w 216471"/>
                  <a:gd name="connsiteY0" fmla="*/ 0 h 216412"/>
                  <a:gd name="connsiteX1" fmla="*/ 216472 w 216471"/>
                  <a:gd name="connsiteY1" fmla="*/ 108224 h 216412"/>
                  <a:gd name="connsiteX2" fmla="*/ 108212 w 216471"/>
                  <a:gd name="connsiteY2" fmla="*/ 216412 h 216412"/>
                  <a:gd name="connsiteX3" fmla="*/ 0 w 216471"/>
                  <a:gd name="connsiteY3" fmla="*/ 108224 h 216412"/>
                  <a:gd name="connsiteX4" fmla="*/ 41586 w 216471"/>
                  <a:gd name="connsiteY4" fmla="*/ 22928 h 2164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16471" h="216412">
                    <a:moveTo>
                      <a:pt x="108212" y="0"/>
                    </a:moveTo>
                    <a:cubicBezTo>
                      <a:pt x="168014" y="0"/>
                      <a:pt x="216472" y="48446"/>
                      <a:pt x="216472" y="108224"/>
                    </a:cubicBezTo>
                    <a:cubicBezTo>
                      <a:pt x="216472" y="168003"/>
                      <a:pt x="168014" y="216412"/>
                      <a:pt x="108212" y="216412"/>
                    </a:cubicBezTo>
                    <a:cubicBezTo>
                      <a:pt x="48410" y="216412"/>
                      <a:pt x="0" y="167967"/>
                      <a:pt x="0" y="108224"/>
                    </a:cubicBezTo>
                    <a:cubicBezTo>
                      <a:pt x="0" y="73569"/>
                      <a:pt x="16272" y="42743"/>
                      <a:pt x="41586" y="22928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718" name="Gráfico 9">
            <a:extLst>
              <a:ext uri="{FF2B5EF4-FFF2-40B4-BE49-F238E27FC236}">
                <a16:creationId xmlns:a16="http://schemas.microsoft.com/office/drawing/2014/main" id="{3FB91338-0C86-AF99-5E10-A6803B465AB7}"/>
              </a:ext>
            </a:extLst>
          </p:cNvPr>
          <p:cNvGrpSpPr/>
          <p:nvPr/>
        </p:nvGrpSpPr>
        <p:grpSpPr>
          <a:xfrm>
            <a:off x="6748577" y="2061073"/>
            <a:ext cx="288621" cy="288549"/>
            <a:chOff x="6748577" y="2061073"/>
            <a:chExt cx="288621" cy="288549"/>
          </a:xfrm>
          <a:noFill/>
        </p:grpSpPr>
        <p:grpSp>
          <p:nvGrpSpPr>
            <p:cNvPr id="719" name="Gráfico 9">
              <a:extLst>
                <a:ext uri="{FF2B5EF4-FFF2-40B4-BE49-F238E27FC236}">
                  <a16:creationId xmlns:a16="http://schemas.microsoft.com/office/drawing/2014/main" id="{A1344D60-10EA-7432-F254-750E4897E5BD}"/>
                </a:ext>
              </a:extLst>
            </p:cNvPr>
            <p:cNvGrpSpPr/>
            <p:nvPr/>
          </p:nvGrpSpPr>
          <p:grpSpPr>
            <a:xfrm>
              <a:off x="6844764" y="2147085"/>
              <a:ext cx="96234" cy="122408"/>
              <a:chOff x="6844764" y="2147085"/>
              <a:chExt cx="96234" cy="122408"/>
            </a:xfrm>
          </p:grpSpPr>
          <p:sp>
            <p:nvSpPr>
              <p:cNvPr id="720" name="Forma livre: Forma 719">
                <a:extLst>
                  <a:ext uri="{FF2B5EF4-FFF2-40B4-BE49-F238E27FC236}">
                    <a16:creationId xmlns:a16="http://schemas.microsoft.com/office/drawing/2014/main" id="{573EDDD7-C3F3-314F-472F-F40247F82B59}"/>
                  </a:ext>
                </a:extLst>
              </p:cNvPr>
              <p:cNvSpPr/>
              <p:nvPr/>
            </p:nvSpPr>
            <p:spPr>
              <a:xfrm>
                <a:off x="6853270" y="2202187"/>
                <a:ext cx="79247" cy="1192"/>
              </a:xfrm>
              <a:custGeom>
                <a:avLst/>
                <a:gdLst>
                  <a:gd name="connsiteX0" fmla="*/ 0 w 79247"/>
                  <a:gd name="connsiteY0" fmla="*/ 0 h 1192"/>
                  <a:gd name="connsiteX1" fmla="*/ 79247 w 79247"/>
                  <a:gd name="connsiteY1" fmla="*/ 0 h 11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79247" h="1192">
                    <a:moveTo>
                      <a:pt x="0" y="0"/>
                    </a:moveTo>
                    <a:lnTo>
                      <a:pt x="79247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21" name="Forma livre: Forma 720">
                <a:extLst>
                  <a:ext uri="{FF2B5EF4-FFF2-40B4-BE49-F238E27FC236}">
                    <a16:creationId xmlns:a16="http://schemas.microsoft.com/office/drawing/2014/main" id="{931C68E8-AB47-A8E9-9C75-17773FC2CCF9}"/>
                  </a:ext>
                </a:extLst>
              </p:cNvPr>
              <p:cNvSpPr/>
              <p:nvPr/>
            </p:nvSpPr>
            <p:spPr>
              <a:xfrm>
                <a:off x="6853270" y="2226857"/>
                <a:ext cx="79247" cy="1192"/>
              </a:xfrm>
              <a:custGeom>
                <a:avLst/>
                <a:gdLst>
                  <a:gd name="connsiteX0" fmla="*/ 0 w 79247"/>
                  <a:gd name="connsiteY0" fmla="*/ 0 h 1192"/>
                  <a:gd name="connsiteX1" fmla="*/ 79247 w 79247"/>
                  <a:gd name="connsiteY1" fmla="*/ 0 h 11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79247" h="1192">
                    <a:moveTo>
                      <a:pt x="0" y="0"/>
                    </a:moveTo>
                    <a:lnTo>
                      <a:pt x="79247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722" name="Gráfico 9">
                <a:extLst>
                  <a:ext uri="{FF2B5EF4-FFF2-40B4-BE49-F238E27FC236}">
                    <a16:creationId xmlns:a16="http://schemas.microsoft.com/office/drawing/2014/main" id="{643510DA-921C-019F-59CE-1A84A55214D5}"/>
                  </a:ext>
                </a:extLst>
              </p:cNvPr>
              <p:cNvGrpSpPr/>
              <p:nvPr/>
            </p:nvGrpSpPr>
            <p:grpSpPr>
              <a:xfrm>
                <a:off x="6844764" y="2147085"/>
                <a:ext cx="96234" cy="51821"/>
                <a:chOff x="6844764" y="2147085"/>
                <a:chExt cx="96234" cy="51821"/>
              </a:xfrm>
            </p:grpSpPr>
            <p:sp>
              <p:nvSpPr>
                <p:cNvPr id="723" name="Forma livre: Forma 722">
                  <a:extLst>
                    <a:ext uri="{FF2B5EF4-FFF2-40B4-BE49-F238E27FC236}">
                      <a16:creationId xmlns:a16="http://schemas.microsoft.com/office/drawing/2014/main" id="{B3C55444-3EA7-341F-1702-9789D61DC7FF}"/>
                    </a:ext>
                  </a:extLst>
                </p:cNvPr>
                <p:cNvSpPr/>
                <p:nvPr/>
              </p:nvSpPr>
              <p:spPr>
                <a:xfrm>
                  <a:off x="6844764" y="2147085"/>
                  <a:ext cx="48135" cy="51821"/>
                </a:xfrm>
                <a:custGeom>
                  <a:avLst/>
                  <a:gdLst>
                    <a:gd name="connsiteX0" fmla="*/ 48135 w 48135"/>
                    <a:gd name="connsiteY0" fmla="*/ 51822 h 51821"/>
                    <a:gd name="connsiteX1" fmla="*/ 0 w 48135"/>
                    <a:gd name="connsiteY1" fmla="*/ 0 h 5182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8135" h="51821">
                      <a:moveTo>
                        <a:pt x="48135" y="51822"/>
                      </a:moveTo>
                      <a:lnTo>
                        <a:pt x="0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724" name="Forma livre: Forma 723">
                  <a:extLst>
                    <a:ext uri="{FF2B5EF4-FFF2-40B4-BE49-F238E27FC236}">
                      <a16:creationId xmlns:a16="http://schemas.microsoft.com/office/drawing/2014/main" id="{A244528C-68EB-CE76-8F84-257CE1497EE4}"/>
                    </a:ext>
                  </a:extLst>
                </p:cNvPr>
                <p:cNvSpPr/>
                <p:nvPr/>
              </p:nvSpPr>
              <p:spPr>
                <a:xfrm>
                  <a:off x="6892887" y="2147085"/>
                  <a:ext cx="48111" cy="51821"/>
                </a:xfrm>
                <a:custGeom>
                  <a:avLst/>
                  <a:gdLst>
                    <a:gd name="connsiteX0" fmla="*/ 0 w 48111"/>
                    <a:gd name="connsiteY0" fmla="*/ 51822 h 51821"/>
                    <a:gd name="connsiteX1" fmla="*/ 48112 w 48111"/>
                    <a:gd name="connsiteY1" fmla="*/ 0 h 5182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8111" h="51821">
                      <a:moveTo>
                        <a:pt x="0" y="51822"/>
                      </a:moveTo>
                      <a:lnTo>
                        <a:pt x="48112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725" name="Forma livre: Forma 724">
                <a:extLst>
                  <a:ext uri="{FF2B5EF4-FFF2-40B4-BE49-F238E27FC236}">
                    <a16:creationId xmlns:a16="http://schemas.microsoft.com/office/drawing/2014/main" id="{A8CCF046-C068-DE65-5EB1-168413CB27E6}"/>
                  </a:ext>
                </a:extLst>
              </p:cNvPr>
              <p:cNvSpPr/>
              <p:nvPr/>
            </p:nvSpPr>
            <p:spPr>
              <a:xfrm>
                <a:off x="6892887" y="2199097"/>
                <a:ext cx="1192" cy="70395"/>
              </a:xfrm>
              <a:custGeom>
                <a:avLst/>
                <a:gdLst>
                  <a:gd name="connsiteX0" fmla="*/ 0 w 1192"/>
                  <a:gd name="connsiteY0" fmla="*/ 70396 h 70395"/>
                  <a:gd name="connsiteX1" fmla="*/ 0 w 1192"/>
                  <a:gd name="connsiteY1" fmla="*/ 0 h 703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2" h="70395">
                    <a:moveTo>
                      <a:pt x="0" y="70396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726" name="Forma livre: Forma 725">
              <a:extLst>
                <a:ext uri="{FF2B5EF4-FFF2-40B4-BE49-F238E27FC236}">
                  <a16:creationId xmlns:a16="http://schemas.microsoft.com/office/drawing/2014/main" id="{5CA08738-A716-E2E3-910E-1E78AFF7C1C9}"/>
                </a:ext>
              </a:extLst>
            </p:cNvPr>
            <p:cNvSpPr/>
            <p:nvPr/>
          </p:nvSpPr>
          <p:spPr>
            <a:xfrm>
              <a:off x="6748577" y="2061073"/>
              <a:ext cx="288621" cy="288549"/>
            </a:xfrm>
            <a:custGeom>
              <a:avLst/>
              <a:gdLst>
                <a:gd name="connsiteX0" fmla="*/ 288621 w 288621"/>
                <a:gd name="connsiteY0" fmla="*/ 144275 h 288549"/>
                <a:gd name="connsiteX1" fmla="*/ 144275 w 288621"/>
                <a:gd name="connsiteY1" fmla="*/ 288550 h 288549"/>
                <a:gd name="connsiteX2" fmla="*/ 0 w 288621"/>
                <a:gd name="connsiteY2" fmla="*/ 144275 h 288549"/>
                <a:gd name="connsiteX3" fmla="*/ 144275 w 288621"/>
                <a:gd name="connsiteY3" fmla="*/ 0 h 288549"/>
                <a:gd name="connsiteX4" fmla="*/ 288621 w 288621"/>
                <a:gd name="connsiteY4" fmla="*/ 144275 h 2885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88621" h="288549">
                  <a:moveTo>
                    <a:pt x="288621" y="144275"/>
                  </a:moveTo>
                  <a:cubicBezTo>
                    <a:pt x="288621" y="223952"/>
                    <a:pt x="224023" y="288550"/>
                    <a:pt x="144275" y="288550"/>
                  </a:cubicBezTo>
                  <a:cubicBezTo>
                    <a:pt x="64526" y="288550"/>
                    <a:pt x="0" y="223952"/>
                    <a:pt x="0" y="144275"/>
                  </a:cubicBezTo>
                  <a:cubicBezTo>
                    <a:pt x="0" y="64598"/>
                    <a:pt x="64598" y="0"/>
                    <a:pt x="144275" y="0"/>
                  </a:cubicBezTo>
                  <a:cubicBezTo>
                    <a:pt x="223952" y="0"/>
                    <a:pt x="288621" y="64586"/>
                    <a:pt x="288621" y="144275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727" name="Forma livre: Forma 726">
              <a:extLst>
                <a:ext uri="{FF2B5EF4-FFF2-40B4-BE49-F238E27FC236}">
                  <a16:creationId xmlns:a16="http://schemas.microsoft.com/office/drawing/2014/main" id="{DD3DDB22-6749-DE6F-1A12-3681537AD43E}"/>
                </a:ext>
              </a:extLst>
            </p:cNvPr>
            <p:cNvSpPr/>
            <p:nvPr/>
          </p:nvSpPr>
          <p:spPr>
            <a:xfrm>
              <a:off x="6784663" y="2097136"/>
              <a:ext cx="216459" cy="216412"/>
            </a:xfrm>
            <a:custGeom>
              <a:avLst/>
              <a:gdLst>
                <a:gd name="connsiteX0" fmla="*/ 108200 w 216459"/>
                <a:gd name="connsiteY0" fmla="*/ 0 h 216412"/>
                <a:gd name="connsiteX1" fmla="*/ 216460 w 216459"/>
                <a:gd name="connsiteY1" fmla="*/ 108212 h 216412"/>
                <a:gd name="connsiteX2" fmla="*/ 108200 w 216459"/>
                <a:gd name="connsiteY2" fmla="*/ 216412 h 216412"/>
                <a:gd name="connsiteX3" fmla="*/ 0 w 216459"/>
                <a:gd name="connsiteY3" fmla="*/ 108212 h 216412"/>
                <a:gd name="connsiteX4" fmla="*/ 41586 w 216459"/>
                <a:gd name="connsiteY4" fmla="*/ 22940 h 2164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16459" h="216412">
                  <a:moveTo>
                    <a:pt x="108200" y="0"/>
                  </a:moveTo>
                  <a:cubicBezTo>
                    <a:pt x="168003" y="0"/>
                    <a:pt x="216460" y="48446"/>
                    <a:pt x="216460" y="108212"/>
                  </a:cubicBezTo>
                  <a:cubicBezTo>
                    <a:pt x="216460" y="167979"/>
                    <a:pt x="168003" y="216412"/>
                    <a:pt x="108200" y="216412"/>
                  </a:cubicBezTo>
                  <a:cubicBezTo>
                    <a:pt x="48398" y="216412"/>
                    <a:pt x="0" y="167967"/>
                    <a:pt x="0" y="108212"/>
                  </a:cubicBezTo>
                  <a:cubicBezTo>
                    <a:pt x="0" y="73569"/>
                    <a:pt x="16272" y="42731"/>
                    <a:pt x="41586" y="2294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728" name="Gráfico 9">
            <a:extLst>
              <a:ext uri="{FF2B5EF4-FFF2-40B4-BE49-F238E27FC236}">
                <a16:creationId xmlns:a16="http://schemas.microsoft.com/office/drawing/2014/main" id="{CBDBA7A9-0DE7-D483-3C23-EBBCC9FBBAB2}"/>
              </a:ext>
            </a:extLst>
          </p:cNvPr>
          <p:cNvGrpSpPr/>
          <p:nvPr/>
        </p:nvGrpSpPr>
        <p:grpSpPr>
          <a:xfrm>
            <a:off x="7365354" y="2061073"/>
            <a:ext cx="288633" cy="288549"/>
            <a:chOff x="7365354" y="2061073"/>
            <a:chExt cx="288633" cy="288549"/>
          </a:xfrm>
          <a:noFill/>
        </p:grpSpPr>
        <p:grpSp>
          <p:nvGrpSpPr>
            <p:cNvPr id="729" name="Gráfico 9">
              <a:extLst>
                <a:ext uri="{FF2B5EF4-FFF2-40B4-BE49-F238E27FC236}">
                  <a16:creationId xmlns:a16="http://schemas.microsoft.com/office/drawing/2014/main" id="{7080DDDB-AA4E-6DA8-6ED4-96CBA216078D}"/>
                </a:ext>
              </a:extLst>
            </p:cNvPr>
            <p:cNvGrpSpPr/>
            <p:nvPr/>
          </p:nvGrpSpPr>
          <p:grpSpPr>
            <a:xfrm>
              <a:off x="7444839" y="2145367"/>
              <a:ext cx="110681" cy="115226"/>
              <a:chOff x="7444839" y="2145367"/>
              <a:chExt cx="110681" cy="115226"/>
            </a:xfrm>
            <a:noFill/>
          </p:grpSpPr>
          <p:grpSp>
            <p:nvGrpSpPr>
              <p:cNvPr id="730" name="Gráfico 9">
                <a:extLst>
                  <a:ext uri="{FF2B5EF4-FFF2-40B4-BE49-F238E27FC236}">
                    <a16:creationId xmlns:a16="http://schemas.microsoft.com/office/drawing/2014/main" id="{B4E2726D-EE72-76A1-22E4-03A105481947}"/>
                  </a:ext>
                </a:extLst>
              </p:cNvPr>
              <p:cNvGrpSpPr/>
              <p:nvPr/>
            </p:nvGrpSpPr>
            <p:grpSpPr>
              <a:xfrm>
                <a:off x="7444839" y="2190329"/>
                <a:ext cx="80428" cy="25278"/>
                <a:chOff x="7444839" y="2190329"/>
                <a:chExt cx="80428" cy="25278"/>
              </a:xfrm>
            </p:grpSpPr>
            <p:sp>
              <p:nvSpPr>
                <p:cNvPr id="731" name="Forma livre: Forma 730">
                  <a:extLst>
                    <a:ext uri="{FF2B5EF4-FFF2-40B4-BE49-F238E27FC236}">
                      <a16:creationId xmlns:a16="http://schemas.microsoft.com/office/drawing/2014/main" id="{93465201-4725-7F76-59E9-63BBE35145AD}"/>
                    </a:ext>
                  </a:extLst>
                </p:cNvPr>
                <p:cNvSpPr/>
                <p:nvPr/>
              </p:nvSpPr>
              <p:spPr>
                <a:xfrm>
                  <a:off x="7444839" y="2190329"/>
                  <a:ext cx="80428" cy="1192"/>
                </a:xfrm>
                <a:custGeom>
                  <a:avLst/>
                  <a:gdLst>
                    <a:gd name="connsiteX0" fmla="*/ 0 w 80428"/>
                    <a:gd name="connsiteY0" fmla="*/ 0 h 1192"/>
                    <a:gd name="connsiteX1" fmla="*/ 80428 w 80428"/>
                    <a:gd name="connsiteY1" fmla="*/ 0 h 11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80428" h="1192">
                      <a:moveTo>
                        <a:pt x="0" y="0"/>
                      </a:moveTo>
                      <a:lnTo>
                        <a:pt x="80428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732" name="Forma livre: Forma 731">
                  <a:extLst>
                    <a:ext uri="{FF2B5EF4-FFF2-40B4-BE49-F238E27FC236}">
                      <a16:creationId xmlns:a16="http://schemas.microsoft.com/office/drawing/2014/main" id="{9FE156F9-74B5-36EB-59FC-DC4BA2FF84F9}"/>
                    </a:ext>
                  </a:extLst>
                </p:cNvPr>
                <p:cNvSpPr/>
                <p:nvPr/>
              </p:nvSpPr>
              <p:spPr>
                <a:xfrm>
                  <a:off x="7444839" y="2215608"/>
                  <a:ext cx="68940" cy="1192"/>
                </a:xfrm>
                <a:custGeom>
                  <a:avLst/>
                  <a:gdLst>
                    <a:gd name="connsiteX0" fmla="*/ 0 w 68940"/>
                    <a:gd name="connsiteY0" fmla="*/ 0 h 1192"/>
                    <a:gd name="connsiteX1" fmla="*/ 68940 w 68940"/>
                    <a:gd name="connsiteY1" fmla="*/ 0 h 11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68940" h="1192">
                      <a:moveTo>
                        <a:pt x="0" y="0"/>
                      </a:moveTo>
                      <a:lnTo>
                        <a:pt x="68940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733" name="Forma livre: Forma 732">
                <a:extLst>
                  <a:ext uri="{FF2B5EF4-FFF2-40B4-BE49-F238E27FC236}">
                    <a16:creationId xmlns:a16="http://schemas.microsoft.com/office/drawing/2014/main" id="{0C62DD4C-2C7C-476F-A65D-D9D9F5BDAAA1}"/>
                  </a:ext>
                </a:extLst>
              </p:cNvPr>
              <p:cNvSpPr/>
              <p:nvPr/>
            </p:nvSpPr>
            <p:spPr>
              <a:xfrm>
                <a:off x="7465549" y="2145367"/>
                <a:ext cx="89971" cy="115226"/>
              </a:xfrm>
              <a:custGeom>
                <a:avLst/>
                <a:gdLst>
                  <a:gd name="connsiteX0" fmla="*/ 89972 w 89971"/>
                  <a:gd name="connsiteY0" fmla="*/ 9949 h 115226"/>
                  <a:gd name="connsiteX1" fmla="*/ 57619 w 89971"/>
                  <a:gd name="connsiteY1" fmla="*/ 0 h 115226"/>
                  <a:gd name="connsiteX2" fmla="*/ 0 w 89971"/>
                  <a:gd name="connsiteY2" fmla="*/ 57607 h 115226"/>
                  <a:gd name="connsiteX3" fmla="*/ 57619 w 89971"/>
                  <a:gd name="connsiteY3" fmla="*/ 115227 h 115226"/>
                  <a:gd name="connsiteX4" fmla="*/ 89972 w 89971"/>
                  <a:gd name="connsiteY4" fmla="*/ 105266 h 1152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9971" h="115226">
                    <a:moveTo>
                      <a:pt x="89972" y="9949"/>
                    </a:moveTo>
                    <a:cubicBezTo>
                      <a:pt x="80750" y="3674"/>
                      <a:pt x="69620" y="0"/>
                      <a:pt x="57619" y="0"/>
                    </a:cubicBezTo>
                    <a:cubicBezTo>
                      <a:pt x="25791" y="0"/>
                      <a:pt x="0" y="25791"/>
                      <a:pt x="0" y="57607"/>
                    </a:cubicBezTo>
                    <a:cubicBezTo>
                      <a:pt x="0" y="89423"/>
                      <a:pt x="25791" y="115227"/>
                      <a:pt x="57619" y="115227"/>
                    </a:cubicBezTo>
                    <a:cubicBezTo>
                      <a:pt x="69620" y="115227"/>
                      <a:pt x="80750" y="111540"/>
                      <a:pt x="89972" y="105266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734" name="Gráfico 9">
              <a:extLst>
                <a:ext uri="{FF2B5EF4-FFF2-40B4-BE49-F238E27FC236}">
                  <a16:creationId xmlns:a16="http://schemas.microsoft.com/office/drawing/2014/main" id="{00B3C0AC-77FC-B1F2-0C51-9A20C9E91652}"/>
                </a:ext>
              </a:extLst>
            </p:cNvPr>
            <p:cNvGrpSpPr/>
            <p:nvPr/>
          </p:nvGrpSpPr>
          <p:grpSpPr>
            <a:xfrm>
              <a:off x="7365354" y="2061073"/>
              <a:ext cx="288633" cy="288549"/>
              <a:chOff x="7365354" y="2061073"/>
              <a:chExt cx="288633" cy="288549"/>
            </a:xfrm>
            <a:noFill/>
          </p:grpSpPr>
          <p:sp>
            <p:nvSpPr>
              <p:cNvPr id="735" name="Forma livre: Forma 734">
                <a:extLst>
                  <a:ext uri="{FF2B5EF4-FFF2-40B4-BE49-F238E27FC236}">
                    <a16:creationId xmlns:a16="http://schemas.microsoft.com/office/drawing/2014/main" id="{EFCE26B7-4023-814B-EA1D-F280F88CF0C6}"/>
                  </a:ext>
                </a:extLst>
              </p:cNvPr>
              <p:cNvSpPr/>
              <p:nvPr/>
            </p:nvSpPr>
            <p:spPr>
              <a:xfrm>
                <a:off x="7365354" y="2061073"/>
                <a:ext cx="288633" cy="288549"/>
              </a:xfrm>
              <a:custGeom>
                <a:avLst/>
                <a:gdLst>
                  <a:gd name="connsiteX0" fmla="*/ 288633 w 288633"/>
                  <a:gd name="connsiteY0" fmla="*/ 144275 h 288549"/>
                  <a:gd name="connsiteX1" fmla="*/ 144287 w 288633"/>
                  <a:gd name="connsiteY1" fmla="*/ 288550 h 288549"/>
                  <a:gd name="connsiteX2" fmla="*/ 0 w 288633"/>
                  <a:gd name="connsiteY2" fmla="*/ 144275 h 288549"/>
                  <a:gd name="connsiteX3" fmla="*/ 144287 w 288633"/>
                  <a:gd name="connsiteY3" fmla="*/ 0 h 288549"/>
                  <a:gd name="connsiteX4" fmla="*/ 288633 w 288633"/>
                  <a:gd name="connsiteY4" fmla="*/ 144275 h 2885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88633" h="288549">
                    <a:moveTo>
                      <a:pt x="288633" y="144275"/>
                    </a:moveTo>
                    <a:cubicBezTo>
                      <a:pt x="288633" y="223952"/>
                      <a:pt x="224035" y="288550"/>
                      <a:pt x="144287" y="288550"/>
                    </a:cubicBezTo>
                    <a:cubicBezTo>
                      <a:pt x="64538" y="288550"/>
                      <a:pt x="0" y="223952"/>
                      <a:pt x="0" y="144275"/>
                    </a:cubicBezTo>
                    <a:cubicBezTo>
                      <a:pt x="0" y="64598"/>
                      <a:pt x="64610" y="0"/>
                      <a:pt x="144287" y="0"/>
                    </a:cubicBezTo>
                    <a:cubicBezTo>
                      <a:pt x="223964" y="0"/>
                      <a:pt x="288633" y="64586"/>
                      <a:pt x="288633" y="144275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36" name="Forma livre: Forma 735">
                <a:extLst>
                  <a:ext uri="{FF2B5EF4-FFF2-40B4-BE49-F238E27FC236}">
                    <a16:creationId xmlns:a16="http://schemas.microsoft.com/office/drawing/2014/main" id="{5003480D-71AC-C7DA-82AA-70F1C4BBB4BD}"/>
                  </a:ext>
                </a:extLst>
              </p:cNvPr>
              <p:cNvSpPr/>
              <p:nvPr/>
            </p:nvSpPr>
            <p:spPr>
              <a:xfrm>
                <a:off x="7401452" y="2097136"/>
                <a:ext cx="216459" cy="216412"/>
              </a:xfrm>
              <a:custGeom>
                <a:avLst/>
                <a:gdLst>
                  <a:gd name="connsiteX0" fmla="*/ 108200 w 216459"/>
                  <a:gd name="connsiteY0" fmla="*/ 0 h 216412"/>
                  <a:gd name="connsiteX1" fmla="*/ 216460 w 216459"/>
                  <a:gd name="connsiteY1" fmla="*/ 108212 h 216412"/>
                  <a:gd name="connsiteX2" fmla="*/ 108200 w 216459"/>
                  <a:gd name="connsiteY2" fmla="*/ 216412 h 216412"/>
                  <a:gd name="connsiteX3" fmla="*/ 0 w 216459"/>
                  <a:gd name="connsiteY3" fmla="*/ 108212 h 216412"/>
                  <a:gd name="connsiteX4" fmla="*/ 41598 w 216459"/>
                  <a:gd name="connsiteY4" fmla="*/ 22940 h 2164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16459" h="216412">
                    <a:moveTo>
                      <a:pt x="108200" y="0"/>
                    </a:moveTo>
                    <a:cubicBezTo>
                      <a:pt x="168003" y="0"/>
                      <a:pt x="216460" y="48446"/>
                      <a:pt x="216460" y="108212"/>
                    </a:cubicBezTo>
                    <a:cubicBezTo>
                      <a:pt x="216460" y="167979"/>
                      <a:pt x="168003" y="216412"/>
                      <a:pt x="108200" y="216412"/>
                    </a:cubicBezTo>
                    <a:cubicBezTo>
                      <a:pt x="48398" y="216412"/>
                      <a:pt x="0" y="167967"/>
                      <a:pt x="0" y="108212"/>
                    </a:cubicBezTo>
                    <a:cubicBezTo>
                      <a:pt x="0" y="73569"/>
                      <a:pt x="16284" y="42731"/>
                      <a:pt x="41598" y="22940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737" name="Gráfico 9">
            <a:extLst>
              <a:ext uri="{FF2B5EF4-FFF2-40B4-BE49-F238E27FC236}">
                <a16:creationId xmlns:a16="http://schemas.microsoft.com/office/drawing/2014/main" id="{A127267D-386C-CDBB-75D0-4BE4070EA8C9}"/>
              </a:ext>
            </a:extLst>
          </p:cNvPr>
          <p:cNvGrpSpPr/>
          <p:nvPr/>
        </p:nvGrpSpPr>
        <p:grpSpPr>
          <a:xfrm>
            <a:off x="6131788" y="2061061"/>
            <a:ext cx="288621" cy="288561"/>
            <a:chOff x="6131788" y="2061061"/>
            <a:chExt cx="288621" cy="288561"/>
          </a:xfrm>
          <a:noFill/>
        </p:grpSpPr>
        <p:grpSp>
          <p:nvGrpSpPr>
            <p:cNvPr id="738" name="Gráfico 9">
              <a:extLst>
                <a:ext uri="{FF2B5EF4-FFF2-40B4-BE49-F238E27FC236}">
                  <a16:creationId xmlns:a16="http://schemas.microsoft.com/office/drawing/2014/main" id="{6A060EAE-6515-5D41-E5EC-2F756722ACC7}"/>
                </a:ext>
              </a:extLst>
            </p:cNvPr>
            <p:cNvGrpSpPr/>
            <p:nvPr/>
          </p:nvGrpSpPr>
          <p:grpSpPr>
            <a:xfrm>
              <a:off x="6247456" y="2133151"/>
              <a:ext cx="57285" cy="144394"/>
              <a:chOff x="6247456" y="2133151"/>
              <a:chExt cx="57285" cy="144394"/>
            </a:xfrm>
            <a:noFill/>
          </p:grpSpPr>
          <p:sp>
            <p:nvSpPr>
              <p:cNvPr id="739" name="Forma livre: Forma 738">
                <a:extLst>
                  <a:ext uri="{FF2B5EF4-FFF2-40B4-BE49-F238E27FC236}">
                    <a16:creationId xmlns:a16="http://schemas.microsoft.com/office/drawing/2014/main" id="{86880278-249E-83A8-3AD8-D6E62B6A9C9F}"/>
                  </a:ext>
                </a:extLst>
              </p:cNvPr>
              <p:cNvSpPr/>
              <p:nvPr/>
            </p:nvSpPr>
            <p:spPr>
              <a:xfrm>
                <a:off x="6247456" y="2150866"/>
                <a:ext cx="57285" cy="108939"/>
              </a:xfrm>
              <a:custGeom>
                <a:avLst/>
                <a:gdLst>
                  <a:gd name="connsiteX0" fmla="*/ 131 w 57285"/>
                  <a:gd name="connsiteY0" fmla="*/ 82373 h 108939"/>
                  <a:gd name="connsiteX1" fmla="*/ 28714 w 57285"/>
                  <a:gd name="connsiteY1" fmla="*/ 108940 h 108939"/>
                  <a:gd name="connsiteX2" fmla="*/ 57285 w 57285"/>
                  <a:gd name="connsiteY2" fmla="*/ 82373 h 108939"/>
                  <a:gd name="connsiteX3" fmla="*/ 28643 w 57285"/>
                  <a:gd name="connsiteY3" fmla="*/ 54470 h 108939"/>
                  <a:gd name="connsiteX4" fmla="*/ 0 w 57285"/>
                  <a:gd name="connsiteY4" fmla="*/ 26579 h 108939"/>
                  <a:gd name="connsiteX5" fmla="*/ 28583 w 57285"/>
                  <a:gd name="connsiteY5" fmla="*/ 0 h 108939"/>
                  <a:gd name="connsiteX6" fmla="*/ 57166 w 57285"/>
                  <a:gd name="connsiteY6" fmla="*/ 26579 h 1089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57285" h="108939">
                    <a:moveTo>
                      <a:pt x="131" y="82373"/>
                    </a:moveTo>
                    <a:cubicBezTo>
                      <a:pt x="131" y="97046"/>
                      <a:pt x="12932" y="108940"/>
                      <a:pt x="28714" y="108940"/>
                    </a:cubicBezTo>
                    <a:cubicBezTo>
                      <a:pt x="44497" y="108940"/>
                      <a:pt x="57285" y="97058"/>
                      <a:pt x="57285" y="82373"/>
                    </a:cubicBezTo>
                    <a:cubicBezTo>
                      <a:pt x="57285" y="67688"/>
                      <a:pt x="42027" y="61258"/>
                      <a:pt x="28643" y="54470"/>
                    </a:cubicBezTo>
                    <a:cubicBezTo>
                      <a:pt x="15258" y="47670"/>
                      <a:pt x="0" y="41240"/>
                      <a:pt x="0" y="26579"/>
                    </a:cubicBezTo>
                    <a:cubicBezTo>
                      <a:pt x="0" y="11918"/>
                      <a:pt x="12800" y="0"/>
                      <a:pt x="28583" y="0"/>
                    </a:cubicBezTo>
                    <a:cubicBezTo>
                      <a:pt x="44366" y="0"/>
                      <a:pt x="57166" y="11894"/>
                      <a:pt x="57166" y="26579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40" name="Forma livre: Forma 739">
                <a:extLst>
                  <a:ext uri="{FF2B5EF4-FFF2-40B4-BE49-F238E27FC236}">
                    <a16:creationId xmlns:a16="http://schemas.microsoft.com/office/drawing/2014/main" id="{79A7033D-D82D-8B65-BA73-0090AEF33E1E}"/>
                  </a:ext>
                </a:extLst>
              </p:cNvPr>
              <p:cNvSpPr/>
              <p:nvPr/>
            </p:nvSpPr>
            <p:spPr>
              <a:xfrm>
                <a:off x="6276039" y="2133151"/>
                <a:ext cx="1192" cy="17595"/>
              </a:xfrm>
              <a:custGeom>
                <a:avLst/>
                <a:gdLst>
                  <a:gd name="connsiteX0" fmla="*/ 0 w 1192"/>
                  <a:gd name="connsiteY0" fmla="*/ 17596 h 17595"/>
                  <a:gd name="connsiteX1" fmla="*/ 0 w 1192"/>
                  <a:gd name="connsiteY1" fmla="*/ 0 h 175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2" h="17595">
                    <a:moveTo>
                      <a:pt x="0" y="17596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41" name="Forma livre: Forma 740">
                <a:extLst>
                  <a:ext uri="{FF2B5EF4-FFF2-40B4-BE49-F238E27FC236}">
                    <a16:creationId xmlns:a16="http://schemas.microsoft.com/office/drawing/2014/main" id="{13560046-4BAE-9582-3183-50C1EA8B9BDC}"/>
                  </a:ext>
                </a:extLst>
              </p:cNvPr>
              <p:cNvSpPr/>
              <p:nvPr/>
            </p:nvSpPr>
            <p:spPr>
              <a:xfrm>
                <a:off x="6276039" y="2259949"/>
                <a:ext cx="1192" cy="17595"/>
              </a:xfrm>
              <a:custGeom>
                <a:avLst/>
                <a:gdLst>
                  <a:gd name="connsiteX0" fmla="*/ 0 w 1192"/>
                  <a:gd name="connsiteY0" fmla="*/ 17596 h 17595"/>
                  <a:gd name="connsiteX1" fmla="*/ 0 w 1192"/>
                  <a:gd name="connsiteY1" fmla="*/ 0 h 175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2" h="17595">
                    <a:moveTo>
                      <a:pt x="0" y="17596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742" name="Gráfico 9">
              <a:extLst>
                <a:ext uri="{FF2B5EF4-FFF2-40B4-BE49-F238E27FC236}">
                  <a16:creationId xmlns:a16="http://schemas.microsoft.com/office/drawing/2014/main" id="{8B5CFE54-805B-CBA9-40BF-B110B9EDE425}"/>
                </a:ext>
              </a:extLst>
            </p:cNvPr>
            <p:cNvGrpSpPr/>
            <p:nvPr/>
          </p:nvGrpSpPr>
          <p:grpSpPr>
            <a:xfrm>
              <a:off x="6131788" y="2061061"/>
              <a:ext cx="288621" cy="288561"/>
              <a:chOff x="6131788" y="2061061"/>
              <a:chExt cx="288621" cy="288561"/>
            </a:xfrm>
            <a:noFill/>
          </p:grpSpPr>
          <p:sp>
            <p:nvSpPr>
              <p:cNvPr id="743" name="Forma livre: Forma 742">
                <a:extLst>
                  <a:ext uri="{FF2B5EF4-FFF2-40B4-BE49-F238E27FC236}">
                    <a16:creationId xmlns:a16="http://schemas.microsoft.com/office/drawing/2014/main" id="{F5818C51-73F9-4BBB-C6DE-41D447D34D4B}"/>
                  </a:ext>
                </a:extLst>
              </p:cNvPr>
              <p:cNvSpPr/>
              <p:nvPr/>
            </p:nvSpPr>
            <p:spPr>
              <a:xfrm>
                <a:off x="6131788" y="2061061"/>
                <a:ext cx="288621" cy="288561"/>
              </a:xfrm>
              <a:custGeom>
                <a:avLst/>
                <a:gdLst>
                  <a:gd name="connsiteX0" fmla="*/ 288621 w 288621"/>
                  <a:gd name="connsiteY0" fmla="*/ 144287 h 288561"/>
                  <a:gd name="connsiteX1" fmla="*/ 144275 w 288621"/>
                  <a:gd name="connsiteY1" fmla="*/ 288562 h 288561"/>
                  <a:gd name="connsiteX2" fmla="*/ 0 w 288621"/>
                  <a:gd name="connsiteY2" fmla="*/ 144287 h 288561"/>
                  <a:gd name="connsiteX3" fmla="*/ 144275 w 288621"/>
                  <a:gd name="connsiteY3" fmla="*/ 0 h 288561"/>
                  <a:gd name="connsiteX4" fmla="*/ 288621 w 288621"/>
                  <a:gd name="connsiteY4" fmla="*/ 144287 h 2885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88621" h="288561">
                    <a:moveTo>
                      <a:pt x="288621" y="144287"/>
                    </a:moveTo>
                    <a:cubicBezTo>
                      <a:pt x="288621" y="223964"/>
                      <a:pt x="224023" y="288562"/>
                      <a:pt x="144275" y="288562"/>
                    </a:cubicBezTo>
                    <a:cubicBezTo>
                      <a:pt x="64526" y="288562"/>
                      <a:pt x="0" y="223964"/>
                      <a:pt x="0" y="144287"/>
                    </a:cubicBezTo>
                    <a:cubicBezTo>
                      <a:pt x="0" y="64610"/>
                      <a:pt x="64610" y="0"/>
                      <a:pt x="144275" y="0"/>
                    </a:cubicBezTo>
                    <a:cubicBezTo>
                      <a:pt x="223940" y="0"/>
                      <a:pt x="288621" y="64586"/>
                      <a:pt x="288621" y="144287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44" name="Forma livre: Forma 743">
                <a:extLst>
                  <a:ext uri="{FF2B5EF4-FFF2-40B4-BE49-F238E27FC236}">
                    <a16:creationId xmlns:a16="http://schemas.microsoft.com/office/drawing/2014/main" id="{040B7353-57CB-CC83-37E2-9A9E8AF9DD05}"/>
                  </a:ext>
                </a:extLst>
              </p:cNvPr>
              <p:cNvSpPr/>
              <p:nvPr/>
            </p:nvSpPr>
            <p:spPr>
              <a:xfrm>
                <a:off x="6167863" y="2097136"/>
                <a:ext cx="216471" cy="216412"/>
              </a:xfrm>
              <a:custGeom>
                <a:avLst/>
                <a:gdLst>
                  <a:gd name="connsiteX0" fmla="*/ 108212 w 216471"/>
                  <a:gd name="connsiteY0" fmla="*/ 0 h 216412"/>
                  <a:gd name="connsiteX1" fmla="*/ 216472 w 216471"/>
                  <a:gd name="connsiteY1" fmla="*/ 108212 h 216412"/>
                  <a:gd name="connsiteX2" fmla="*/ 108212 w 216471"/>
                  <a:gd name="connsiteY2" fmla="*/ 216412 h 216412"/>
                  <a:gd name="connsiteX3" fmla="*/ 0 w 216471"/>
                  <a:gd name="connsiteY3" fmla="*/ 108212 h 216412"/>
                  <a:gd name="connsiteX4" fmla="*/ 41586 w 216471"/>
                  <a:gd name="connsiteY4" fmla="*/ 22940 h 2164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16471" h="216412">
                    <a:moveTo>
                      <a:pt x="108212" y="0"/>
                    </a:moveTo>
                    <a:cubicBezTo>
                      <a:pt x="168014" y="0"/>
                      <a:pt x="216472" y="48446"/>
                      <a:pt x="216472" y="108212"/>
                    </a:cubicBezTo>
                    <a:cubicBezTo>
                      <a:pt x="216472" y="167979"/>
                      <a:pt x="168014" y="216412"/>
                      <a:pt x="108212" y="216412"/>
                    </a:cubicBezTo>
                    <a:cubicBezTo>
                      <a:pt x="48410" y="216412"/>
                      <a:pt x="0" y="167967"/>
                      <a:pt x="0" y="108212"/>
                    </a:cubicBezTo>
                    <a:cubicBezTo>
                      <a:pt x="0" y="73569"/>
                      <a:pt x="16272" y="42731"/>
                      <a:pt x="41586" y="22940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745" name="Gráfico 9">
            <a:extLst>
              <a:ext uri="{FF2B5EF4-FFF2-40B4-BE49-F238E27FC236}">
                <a16:creationId xmlns:a16="http://schemas.microsoft.com/office/drawing/2014/main" id="{B87367FE-F237-423D-83B9-D352CF8C3ECF}"/>
              </a:ext>
            </a:extLst>
          </p:cNvPr>
          <p:cNvGrpSpPr/>
          <p:nvPr/>
        </p:nvGrpSpPr>
        <p:grpSpPr>
          <a:xfrm>
            <a:off x="6758975" y="3135074"/>
            <a:ext cx="267830" cy="267139"/>
            <a:chOff x="6758975" y="3135074"/>
            <a:chExt cx="267830" cy="267139"/>
          </a:xfrm>
          <a:noFill/>
        </p:grpSpPr>
        <p:grpSp>
          <p:nvGrpSpPr>
            <p:cNvPr id="746" name="Gráfico 9">
              <a:extLst>
                <a:ext uri="{FF2B5EF4-FFF2-40B4-BE49-F238E27FC236}">
                  <a16:creationId xmlns:a16="http://schemas.microsoft.com/office/drawing/2014/main" id="{0E0F8F35-78A4-6632-3007-C81C8FD7A841}"/>
                </a:ext>
              </a:extLst>
            </p:cNvPr>
            <p:cNvGrpSpPr/>
            <p:nvPr/>
          </p:nvGrpSpPr>
          <p:grpSpPr>
            <a:xfrm>
              <a:off x="6758975" y="3135074"/>
              <a:ext cx="229261" cy="229270"/>
              <a:chOff x="6758975" y="3135074"/>
              <a:chExt cx="229261" cy="229270"/>
            </a:xfrm>
            <a:noFill/>
          </p:grpSpPr>
          <p:sp>
            <p:nvSpPr>
              <p:cNvPr id="747" name="Forma livre: Forma 746">
                <a:extLst>
                  <a:ext uri="{FF2B5EF4-FFF2-40B4-BE49-F238E27FC236}">
                    <a16:creationId xmlns:a16="http://schemas.microsoft.com/office/drawing/2014/main" id="{022A7A0A-347F-2373-2BBB-F604B5EB8205}"/>
                  </a:ext>
                </a:extLst>
              </p:cNvPr>
              <p:cNvSpPr/>
              <p:nvPr/>
            </p:nvSpPr>
            <p:spPr>
              <a:xfrm>
                <a:off x="6758975" y="3135074"/>
                <a:ext cx="229261" cy="229270"/>
              </a:xfrm>
              <a:custGeom>
                <a:avLst/>
                <a:gdLst>
                  <a:gd name="connsiteX0" fmla="*/ 195683 w 229261"/>
                  <a:gd name="connsiteY0" fmla="*/ 33578 h 229270"/>
                  <a:gd name="connsiteX1" fmla="*/ 195683 w 229261"/>
                  <a:gd name="connsiteY1" fmla="*/ 195688 h 229270"/>
                  <a:gd name="connsiteX2" fmla="*/ 33574 w 229261"/>
                  <a:gd name="connsiteY2" fmla="*/ 195688 h 229270"/>
                  <a:gd name="connsiteX3" fmla="*/ 33574 w 229261"/>
                  <a:gd name="connsiteY3" fmla="*/ 33578 h 229270"/>
                  <a:gd name="connsiteX4" fmla="*/ 195683 w 229261"/>
                  <a:gd name="connsiteY4" fmla="*/ 33578 h 2292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29261" h="229270">
                    <a:moveTo>
                      <a:pt x="195683" y="33578"/>
                    </a:moveTo>
                    <a:cubicBezTo>
                      <a:pt x="240455" y="78338"/>
                      <a:pt x="240455" y="150929"/>
                      <a:pt x="195683" y="195688"/>
                    </a:cubicBezTo>
                    <a:cubicBezTo>
                      <a:pt x="150912" y="240471"/>
                      <a:pt x="78345" y="240459"/>
                      <a:pt x="33574" y="195688"/>
                    </a:cubicBezTo>
                    <a:cubicBezTo>
                      <a:pt x="-11185" y="150929"/>
                      <a:pt x="-11197" y="78350"/>
                      <a:pt x="33574" y="33578"/>
                    </a:cubicBezTo>
                    <a:cubicBezTo>
                      <a:pt x="78357" y="-11193"/>
                      <a:pt x="150924" y="-11193"/>
                      <a:pt x="195683" y="33578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48" name="Forma livre: Forma 747">
                <a:extLst>
                  <a:ext uri="{FF2B5EF4-FFF2-40B4-BE49-F238E27FC236}">
                    <a16:creationId xmlns:a16="http://schemas.microsoft.com/office/drawing/2014/main" id="{CE05AF39-A179-A3FE-E386-2031E6D00621}"/>
                  </a:ext>
                </a:extLst>
              </p:cNvPr>
              <p:cNvSpPr/>
              <p:nvPr/>
            </p:nvSpPr>
            <p:spPr>
              <a:xfrm>
                <a:off x="6792966" y="3181488"/>
                <a:ext cx="29990" cy="41371"/>
              </a:xfrm>
              <a:custGeom>
                <a:avLst/>
                <a:gdLst>
                  <a:gd name="connsiteX0" fmla="*/ 0 w 29990"/>
                  <a:gd name="connsiteY0" fmla="*/ 41371 h 41371"/>
                  <a:gd name="connsiteX1" fmla="*/ 20578 w 29990"/>
                  <a:gd name="connsiteY1" fmla="*/ 8136 h 41371"/>
                  <a:gd name="connsiteX2" fmla="*/ 29991 w 29990"/>
                  <a:gd name="connsiteY2" fmla="*/ 0 h 413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9990" h="41371">
                    <a:moveTo>
                      <a:pt x="0" y="41371"/>
                    </a:moveTo>
                    <a:cubicBezTo>
                      <a:pt x="4116" y="28988"/>
                      <a:pt x="11083" y="17632"/>
                      <a:pt x="20578" y="8136"/>
                    </a:cubicBezTo>
                    <a:cubicBezTo>
                      <a:pt x="23537" y="5177"/>
                      <a:pt x="26686" y="2457"/>
                      <a:pt x="29991" y="0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749" name="Gráfico 9">
              <a:extLst>
                <a:ext uri="{FF2B5EF4-FFF2-40B4-BE49-F238E27FC236}">
                  <a16:creationId xmlns:a16="http://schemas.microsoft.com/office/drawing/2014/main" id="{D65A6EA0-32E4-086B-8438-82595F8910E4}"/>
                </a:ext>
              </a:extLst>
            </p:cNvPr>
            <p:cNvGrpSpPr/>
            <p:nvPr/>
          </p:nvGrpSpPr>
          <p:grpSpPr>
            <a:xfrm>
              <a:off x="6844251" y="3175476"/>
              <a:ext cx="58716" cy="148462"/>
              <a:chOff x="6844251" y="3175476"/>
              <a:chExt cx="58716" cy="148462"/>
            </a:xfrm>
            <a:noFill/>
          </p:grpSpPr>
          <p:sp>
            <p:nvSpPr>
              <p:cNvPr id="750" name="Forma livre: Forma 749">
                <a:extLst>
                  <a:ext uri="{FF2B5EF4-FFF2-40B4-BE49-F238E27FC236}">
                    <a16:creationId xmlns:a16="http://schemas.microsoft.com/office/drawing/2014/main" id="{52635137-11F4-BB8E-B665-6B7B09822036}"/>
                  </a:ext>
                </a:extLst>
              </p:cNvPr>
              <p:cNvSpPr/>
              <p:nvPr/>
            </p:nvSpPr>
            <p:spPr>
              <a:xfrm>
                <a:off x="6844251" y="3193871"/>
                <a:ext cx="58716" cy="111659"/>
              </a:xfrm>
              <a:custGeom>
                <a:avLst/>
                <a:gdLst>
                  <a:gd name="connsiteX0" fmla="*/ 131 w 58716"/>
                  <a:gd name="connsiteY0" fmla="*/ 84425 h 111659"/>
                  <a:gd name="connsiteX1" fmla="*/ 29418 w 58716"/>
                  <a:gd name="connsiteY1" fmla="*/ 111660 h 111659"/>
                  <a:gd name="connsiteX2" fmla="*/ 58717 w 58716"/>
                  <a:gd name="connsiteY2" fmla="*/ 84425 h 111659"/>
                  <a:gd name="connsiteX3" fmla="*/ 29347 w 58716"/>
                  <a:gd name="connsiteY3" fmla="*/ 55818 h 111659"/>
                  <a:gd name="connsiteX4" fmla="*/ 0 w 58716"/>
                  <a:gd name="connsiteY4" fmla="*/ 27235 h 111659"/>
                  <a:gd name="connsiteX5" fmla="*/ 29287 w 58716"/>
                  <a:gd name="connsiteY5" fmla="*/ 0 h 111659"/>
                  <a:gd name="connsiteX6" fmla="*/ 58574 w 58716"/>
                  <a:gd name="connsiteY6" fmla="*/ 27235 h 1116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58716" h="111659">
                    <a:moveTo>
                      <a:pt x="131" y="84425"/>
                    </a:moveTo>
                    <a:cubicBezTo>
                      <a:pt x="131" y="99480"/>
                      <a:pt x="13254" y="111660"/>
                      <a:pt x="29418" y="111660"/>
                    </a:cubicBezTo>
                    <a:cubicBezTo>
                      <a:pt x="45582" y="111660"/>
                      <a:pt x="58717" y="99480"/>
                      <a:pt x="58717" y="84425"/>
                    </a:cubicBezTo>
                    <a:cubicBezTo>
                      <a:pt x="58717" y="69370"/>
                      <a:pt x="43077" y="62797"/>
                      <a:pt x="29347" y="55818"/>
                    </a:cubicBezTo>
                    <a:cubicBezTo>
                      <a:pt x="15628" y="48863"/>
                      <a:pt x="0" y="42290"/>
                      <a:pt x="0" y="27235"/>
                    </a:cubicBezTo>
                    <a:cubicBezTo>
                      <a:pt x="0" y="12180"/>
                      <a:pt x="13099" y="0"/>
                      <a:pt x="29287" y="0"/>
                    </a:cubicBezTo>
                    <a:cubicBezTo>
                      <a:pt x="45475" y="0"/>
                      <a:pt x="58574" y="12192"/>
                      <a:pt x="58574" y="27235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51" name="Forma livre: Forma 750">
                <a:extLst>
                  <a:ext uri="{FF2B5EF4-FFF2-40B4-BE49-F238E27FC236}">
                    <a16:creationId xmlns:a16="http://schemas.microsoft.com/office/drawing/2014/main" id="{724D9953-239B-2471-D59E-7A5BD11C9FC9}"/>
                  </a:ext>
                </a:extLst>
              </p:cNvPr>
              <p:cNvSpPr/>
              <p:nvPr/>
            </p:nvSpPr>
            <p:spPr>
              <a:xfrm>
                <a:off x="6873550" y="3175476"/>
                <a:ext cx="1192" cy="18264"/>
              </a:xfrm>
              <a:custGeom>
                <a:avLst/>
                <a:gdLst>
                  <a:gd name="connsiteX0" fmla="*/ 0 w 1192"/>
                  <a:gd name="connsiteY0" fmla="*/ 18264 h 18264"/>
                  <a:gd name="connsiteX1" fmla="*/ 0 w 1192"/>
                  <a:gd name="connsiteY1" fmla="*/ 0 h 182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2" h="18264">
                    <a:moveTo>
                      <a:pt x="0" y="18264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52" name="Forma livre: Forma 751">
                <a:extLst>
                  <a:ext uri="{FF2B5EF4-FFF2-40B4-BE49-F238E27FC236}">
                    <a16:creationId xmlns:a16="http://schemas.microsoft.com/office/drawing/2014/main" id="{1C6D0CDC-C3B6-FC52-9A6C-45A7BF406D06}"/>
                  </a:ext>
                </a:extLst>
              </p:cNvPr>
              <p:cNvSpPr/>
              <p:nvPr/>
            </p:nvSpPr>
            <p:spPr>
              <a:xfrm>
                <a:off x="6873550" y="3305662"/>
                <a:ext cx="1192" cy="18275"/>
              </a:xfrm>
              <a:custGeom>
                <a:avLst/>
                <a:gdLst>
                  <a:gd name="connsiteX0" fmla="*/ 0 w 1192"/>
                  <a:gd name="connsiteY0" fmla="*/ 18276 h 18275"/>
                  <a:gd name="connsiteX1" fmla="*/ 0 w 1192"/>
                  <a:gd name="connsiteY1" fmla="*/ 0 h 182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2" h="18275">
                    <a:moveTo>
                      <a:pt x="0" y="18276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753" name="Forma livre: Forma 752">
              <a:extLst>
                <a:ext uri="{FF2B5EF4-FFF2-40B4-BE49-F238E27FC236}">
                  <a16:creationId xmlns:a16="http://schemas.microsoft.com/office/drawing/2014/main" id="{9C68387D-1BDD-530B-E34A-870029E292F1}"/>
                </a:ext>
              </a:extLst>
            </p:cNvPr>
            <p:cNvSpPr/>
            <p:nvPr/>
          </p:nvSpPr>
          <p:spPr>
            <a:xfrm>
              <a:off x="6959394" y="3318426"/>
              <a:ext cx="67410" cy="83786"/>
            </a:xfrm>
            <a:custGeom>
              <a:avLst/>
              <a:gdLst>
                <a:gd name="connsiteX0" fmla="*/ 5917 w 67410"/>
                <a:gd name="connsiteY0" fmla="*/ 0 h 83786"/>
                <a:gd name="connsiteX1" fmla="*/ 63417 w 67410"/>
                <a:gd name="connsiteY1" fmla="*/ 57500 h 83786"/>
                <a:gd name="connsiteX2" fmla="*/ 62558 w 67410"/>
                <a:gd name="connsiteY2" fmla="*/ 78925 h 83786"/>
                <a:gd name="connsiteX3" fmla="*/ 41133 w 67410"/>
                <a:gd name="connsiteY3" fmla="*/ 79784 h 83786"/>
                <a:gd name="connsiteX4" fmla="*/ 0 w 67410"/>
                <a:gd name="connsiteY4" fmla="*/ 38651 h 837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7410" h="83786">
                  <a:moveTo>
                    <a:pt x="5917" y="0"/>
                  </a:moveTo>
                  <a:lnTo>
                    <a:pt x="63417" y="57500"/>
                  </a:lnTo>
                  <a:cubicBezTo>
                    <a:pt x="69060" y="63166"/>
                    <a:pt x="68678" y="72805"/>
                    <a:pt x="62558" y="78925"/>
                  </a:cubicBezTo>
                  <a:cubicBezTo>
                    <a:pt x="56426" y="85057"/>
                    <a:pt x="46775" y="85439"/>
                    <a:pt x="41133" y="79784"/>
                  </a:cubicBezTo>
                  <a:lnTo>
                    <a:pt x="0" y="38651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754" name="Gráfico 9">
            <a:extLst>
              <a:ext uri="{FF2B5EF4-FFF2-40B4-BE49-F238E27FC236}">
                <a16:creationId xmlns:a16="http://schemas.microsoft.com/office/drawing/2014/main" id="{AB34CDE7-FD0C-601C-FCAE-CF1262137B39}"/>
              </a:ext>
            </a:extLst>
          </p:cNvPr>
          <p:cNvGrpSpPr/>
          <p:nvPr/>
        </p:nvGrpSpPr>
        <p:grpSpPr>
          <a:xfrm>
            <a:off x="7370579" y="3114421"/>
            <a:ext cx="298764" cy="329015"/>
            <a:chOff x="7370579" y="3114421"/>
            <a:chExt cx="298764" cy="329015"/>
          </a:xfrm>
        </p:grpSpPr>
        <p:grpSp>
          <p:nvGrpSpPr>
            <p:cNvPr id="755" name="Gráfico 9">
              <a:extLst>
                <a:ext uri="{FF2B5EF4-FFF2-40B4-BE49-F238E27FC236}">
                  <a16:creationId xmlns:a16="http://schemas.microsoft.com/office/drawing/2014/main" id="{D428D055-5EDC-3E35-EE16-51F4F8F2ABB0}"/>
                </a:ext>
              </a:extLst>
            </p:cNvPr>
            <p:cNvGrpSpPr/>
            <p:nvPr/>
          </p:nvGrpSpPr>
          <p:grpSpPr>
            <a:xfrm>
              <a:off x="7370579" y="3114421"/>
              <a:ext cx="229367" cy="276882"/>
              <a:chOff x="7370579" y="3114421"/>
              <a:chExt cx="229367" cy="276882"/>
            </a:xfrm>
          </p:grpSpPr>
          <p:sp>
            <p:nvSpPr>
              <p:cNvPr id="756" name="Forma livre: Forma 755">
                <a:extLst>
                  <a:ext uri="{FF2B5EF4-FFF2-40B4-BE49-F238E27FC236}">
                    <a16:creationId xmlns:a16="http://schemas.microsoft.com/office/drawing/2014/main" id="{B05424D5-1871-5121-534F-6B62E0ED13C8}"/>
                  </a:ext>
                </a:extLst>
              </p:cNvPr>
              <p:cNvSpPr/>
              <p:nvPr/>
            </p:nvSpPr>
            <p:spPr>
              <a:xfrm>
                <a:off x="7421171" y="3221106"/>
                <a:ext cx="127215" cy="128229"/>
              </a:xfrm>
              <a:custGeom>
                <a:avLst/>
                <a:gdLst>
                  <a:gd name="connsiteX0" fmla="*/ 74010 w 127215"/>
                  <a:gd name="connsiteY0" fmla="*/ 127478 h 128229"/>
                  <a:gd name="connsiteX1" fmla="*/ 64097 w 127215"/>
                  <a:gd name="connsiteY1" fmla="*/ 128230 h 128229"/>
                  <a:gd name="connsiteX2" fmla="*/ 0 w 127215"/>
                  <a:gd name="connsiteY2" fmla="*/ 64109 h 128229"/>
                  <a:gd name="connsiteX3" fmla="*/ 64097 w 127215"/>
                  <a:gd name="connsiteY3" fmla="*/ 0 h 128229"/>
                  <a:gd name="connsiteX4" fmla="*/ 127216 w 127215"/>
                  <a:gd name="connsiteY4" fmla="*/ 52812 h 1282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7215" h="128229">
                    <a:moveTo>
                      <a:pt x="74010" y="127478"/>
                    </a:moveTo>
                    <a:cubicBezTo>
                      <a:pt x="70790" y="127979"/>
                      <a:pt x="67473" y="128230"/>
                      <a:pt x="64097" y="128230"/>
                    </a:cubicBezTo>
                    <a:cubicBezTo>
                      <a:pt x="28678" y="128230"/>
                      <a:pt x="0" y="99528"/>
                      <a:pt x="0" y="64109"/>
                    </a:cubicBezTo>
                    <a:cubicBezTo>
                      <a:pt x="0" y="28690"/>
                      <a:pt x="28690" y="0"/>
                      <a:pt x="64097" y="0"/>
                    </a:cubicBezTo>
                    <a:cubicBezTo>
                      <a:pt x="95639" y="0"/>
                      <a:pt x="121871" y="22809"/>
                      <a:pt x="127216" y="52812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57" name="Forma livre: Forma 756">
                <a:extLst>
                  <a:ext uri="{FF2B5EF4-FFF2-40B4-BE49-F238E27FC236}">
                    <a16:creationId xmlns:a16="http://schemas.microsoft.com/office/drawing/2014/main" id="{AD954BA0-6A4D-F2E2-961B-D38F24E48DF9}"/>
                  </a:ext>
                </a:extLst>
              </p:cNvPr>
              <p:cNvSpPr/>
              <p:nvPr/>
            </p:nvSpPr>
            <p:spPr>
              <a:xfrm>
                <a:off x="7407548" y="3146917"/>
                <a:ext cx="35370" cy="1192"/>
              </a:xfrm>
              <a:custGeom>
                <a:avLst/>
                <a:gdLst>
                  <a:gd name="connsiteX0" fmla="*/ 0 w 35370"/>
                  <a:gd name="connsiteY0" fmla="*/ 0 h 1192"/>
                  <a:gd name="connsiteX1" fmla="*/ 35371 w 35370"/>
                  <a:gd name="connsiteY1" fmla="*/ 0 h 11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5370" h="1192">
                    <a:moveTo>
                      <a:pt x="0" y="0"/>
                    </a:moveTo>
                    <a:lnTo>
                      <a:pt x="35371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58" name="Forma livre: Forma 757">
                <a:extLst>
                  <a:ext uri="{FF2B5EF4-FFF2-40B4-BE49-F238E27FC236}">
                    <a16:creationId xmlns:a16="http://schemas.microsoft.com/office/drawing/2014/main" id="{F5995D17-BACA-1324-E622-AA8EC85189A0}"/>
                  </a:ext>
                </a:extLst>
              </p:cNvPr>
              <p:cNvSpPr/>
              <p:nvPr/>
            </p:nvSpPr>
            <p:spPr>
              <a:xfrm>
                <a:off x="7370579" y="3114421"/>
                <a:ext cx="229367" cy="154820"/>
              </a:xfrm>
              <a:custGeom>
                <a:avLst/>
                <a:gdLst>
                  <a:gd name="connsiteX0" fmla="*/ 229368 w 229367"/>
                  <a:gd name="connsiteY0" fmla="*/ 154820 h 154820"/>
                  <a:gd name="connsiteX1" fmla="*/ 229368 w 229367"/>
                  <a:gd name="connsiteY1" fmla="*/ 18729 h 154820"/>
                  <a:gd name="connsiteX2" fmla="*/ 210650 w 229367"/>
                  <a:gd name="connsiteY2" fmla="*/ 0 h 154820"/>
                  <a:gd name="connsiteX3" fmla="*/ 18729 w 229367"/>
                  <a:gd name="connsiteY3" fmla="*/ 0 h 154820"/>
                  <a:gd name="connsiteX4" fmla="*/ 0 w 229367"/>
                  <a:gd name="connsiteY4" fmla="*/ 18729 h 154820"/>
                  <a:gd name="connsiteX5" fmla="*/ 0 w 229367"/>
                  <a:gd name="connsiteY5" fmla="*/ 66447 h 154820"/>
                  <a:gd name="connsiteX6" fmla="*/ 226445 w 229367"/>
                  <a:gd name="connsiteY6" fmla="*/ 66447 h 1548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29367" h="154820">
                    <a:moveTo>
                      <a:pt x="229368" y="154820"/>
                    </a:moveTo>
                    <a:lnTo>
                      <a:pt x="229368" y="18729"/>
                    </a:lnTo>
                    <a:cubicBezTo>
                      <a:pt x="229368" y="8434"/>
                      <a:pt x="220957" y="0"/>
                      <a:pt x="210650" y="0"/>
                    </a:cubicBezTo>
                    <a:lnTo>
                      <a:pt x="18729" y="0"/>
                    </a:lnTo>
                    <a:cubicBezTo>
                      <a:pt x="8422" y="0"/>
                      <a:pt x="0" y="8422"/>
                      <a:pt x="0" y="18729"/>
                    </a:cubicBezTo>
                    <a:lnTo>
                      <a:pt x="0" y="66447"/>
                    </a:lnTo>
                    <a:lnTo>
                      <a:pt x="226445" y="66447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59" name="Forma livre: Forma 758">
                <a:extLst>
                  <a:ext uri="{FF2B5EF4-FFF2-40B4-BE49-F238E27FC236}">
                    <a16:creationId xmlns:a16="http://schemas.microsoft.com/office/drawing/2014/main" id="{19ADCED8-DE67-0D4B-5BC1-A64138F16C1A}"/>
                  </a:ext>
                </a:extLst>
              </p:cNvPr>
              <p:cNvSpPr/>
              <p:nvPr/>
            </p:nvSpPr>
            <p:spPr>
              <a:xfrm>
                <a:off x="7370590" y="3204679"/>
                <a:ext cx="132142" cy="186624"/>
              </a:xfrm>
              <a:custGeom>
                <a:avLst/>
                <a:gdLst>
                  <a:gd name="connsiteX0" fmla="*/ 0 w 132142"/>
                  <a:gd name="connsiteY0" fmla="*/ 0 h 186624"/>
                  <a:gd name="connsiteX1" fmla="*/ 0 w 132142"/>
                  <a:gd name="connsiteY1" fmla="*/ 167979 h 186624"/>
                  <a:gd name="connsiteX2" fmla="*/ 18729 w 132142"/>
                  <a:gd name="connsiteY2" fmla="*/ 186625 h 186624"/>
                  <a:gd name="connsiteX3" fmla="*/ 132143 w 132142"/>
                  <a:gd name="connsiteY3" fmla="*/ 186625 h 1866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32142" h="186624">
                    <a:moveTo>
                      <a:pt x="0" y="0"/>
                    </a:moveTo>
                    <a:lnTo>
                      <a:pt x="0" y="167979"/>
                    </a:lnTo>
                    <a:cubicBezTo>
                      <a:pt x="0" y="178262"/>
                      <a:pt x="8410" y="186625"/>
                      <a:pt x="18729" y="186625"/>
                    </a:cubicBezTo>
                    <a:lnTo>
                      <a:pt x="132143" y="186625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60" name="Forma livre: Forma 759">
                <a:extLst>
                  <a:ext uri="{FF2B5EF4-FFF2-40B4-BE49-F238E27FC236}">
                    <a16:creationId xmlns:a16="http://schemas.microsoft.com/office/drawing/2014/main" id="{372AEC35-FDC0-1E2C-F928-FE3D03C70670}"/>
                  </a:ext>
                </a:extLst>
              </p:cNvPr>
              <p:cNvSpPr/>
              <p:nvPr/>
            </p:nvSpPr>
            <p:spPr>
              <a:xfrm>
                <a:off x="7421159" y="3221118"/>
                <a:ext cx="126321" cy="128229"/>
              </a:xfrm>
              <a:custGeom>
                <a:avLst/>
                <a:gdLst>
                  <a:gd name="connsiteX0" fmla="*/ 126321 w 126321"/>
                  <a:gd name="connsiteY0" fmla="*/ 48613 h 128229"/>
                  <a:gd name="connsiteX1" fmla="*/ 64097 w 126321"/>
                  <a:gd name="connsiteY1" fmla="*/ 0 h 128229"/>
                  <a:gd name="connsiteX2" fmla="*/ 0 w 126321"/>
                  <a:gd name="connsiteY2" fmla="*/ 64109 h 128229"/>
                  <a:gd name="connsiteX3" fmla="*/ 64097 w 126321"/>
                  <a:gd name="connsiteY3" fmla="*/ 128230 h 128229"/>
                  <a:gd name="connsiteX4" fmla="*/ 75931 w 126321"/>
                  <a:gd name="connsiteY4" fmla="*/ 127144 h 1282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6321" h="128229">
                    <a:moveTo>
                      <a:pt x="126321" y="48613"/>
                    </a:moveTo>
                    <a:cubicBezTo>
                      <a:pt x="119402" y="20698"/>
                      <a:pt x="94159" y="0"/>
                      <a:pt x="64097" y="0"/>
                    </a:cubicBezTo>
                    <a:cubicBezTo>
                      <a:pt x="28678" y="0"/>
                      <a:pt x="0" y="28714"/>
                      <a:pt x="0" y="64109"/>
                    </a:cubicBezTo>
                    <a:cubicBezTo>
                      <a:pt x="0" y="99504"/>
                      <a:pt x="28690" y="128230"/>
                      <a:pt x="64097" y="128230"/>
                    </a:cubicBezTo>
                    <a:cubicBezTo>
                      <a:pt x="68141" y="128230"/>
                      <a:pt x="72102" y="127860"/>
                      <a:pt x="75931" y="127144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61" name="Forma livre: Forma 760">
                <a:extLst>
                  <a:ext uri="{FF2B5EF4-FFF2-40B4-BE49-F238E27FC236}">
                    <a16:creationId xmlns:a16="http://schemas.microsoft.com/office/drawing/2014/main" id="{D22AD521-9E9C-06B1-210F-865AE42D6D06}"/>
                  </a:ext>
                </a:extLst>
              </p:cNvPr>
              <p:cNvSpPr/>
              <p:nvPr/>
            </p:nvSpPr>
            <p:spPr>
              <a:xfrm>
                <a:off x="7551023" y="3143207"/>
                <a:ext cx="7157" cy="7157"/>
              </a:xfrm>
              <a:custGeom>
                <a:avLst/>
                <a:gdLst>
                  <a:gd name="connsiteX0" fmla="*/ 7158 w 7157"/>
                  <a:gd name="connsiteY0" fmla="*/ 3579 h 7157"/>
                  <a:gd name="connsiteX1" fmla="*/ 3579 w 7157"/>
                  <a:gd name="connsiteY1" fmla="*/ 7158 h 7157"/>
                  <a:gd name="connsiteX2" fmla="*/ 0 w 7157"/>
                  <a:gd name="connsiteY2" fmla="*/ 3579 h 7157"/>
                  <a:gd name="connsiteX3" fmla="*/ 3579 w 7157"/>
                  <a:gd name="connsiteY3" fmla="*/ 0 h 7157"/>
                  <a:gd name="connsiteX4" fmla="*/ 7158 w 7157"/>
                  <a:gd name="connsiteY4" fmla="*/ 3579 h 71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157" h="7157">
                    <a:moveTo>
                      <a:pt x="7158" y="3579"/>
                    </a:moveTo>
                    <a:cubicBezTo>
                      <a:pt x="7158" y="5559"/>
                      <a:pt x="5571" y="7158"/>
                      <a:pt x="3579" y="7158"/>
                    </a:cubicBezTo>
                    <a:cubicBezTo>
                      <a:pt x="1587" y="7158"/>
                      <a:pt x="0" y="5559"/>
                      <a:pt x="0" y="3579"/>
                    </a:cubicBezTo>
                    <a:cubicBezTo>
                      <a:pt x="0" y="1599"/>
                      <a:pt x="1599" y="0"/>
                      <a:pt x="3579" y="0"/>
                    </a:cubicBezTo>
                    <a:cubicBezTo>
                      <a:pt x="5559" y="0"/>
                      <a:pt x="7158" y="1599"/>
                      <a:pt x="7158" y="3579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62" name="Forma livre: Forma 761">
                <a:extLst>
                  <a:ext uri="{FF2B5EF4-FFF2-40B4-BE49-F238E27FC236}">
                    <a16:creationId xmlns:a16="http://schemas.microsoft.com/office/drawing/2014/main" id="{5307A3BF-9921-192D-1A45-531809E6324C}"/>
                  </a:ext>
                </a:extLst>
              </p:cNvPr>
              <p:cNvSpPr/>
              <p:nvPr/>
            </p:nvSpPr>
            <p:spPr>
              <a:xfrm>
                <a:off x="7517060" y="3143206"/>
                <a:ext cx="7157" cy="7157"/>
              </a:xfrm>
              <a:custGeom>
                <a:avLst/>
                <a:gdLst>
                  <a:gd name="connsiteX0" fmla="*/ 7158 w 7157"/>
                  <a:gd name="connsiteY0" fmla="*/ 3579 h 7157"/>
                  <a:gd name="connsiteX1" fmla="*/ 3579 w 7157"/>
                  <a:gd name="connsiteY1" fmla="*/ 7158 h 7157"/>
                  <a:gd name="connsiteX2" fmla="*/ 0 w 7157"/>
                  <a:gd name="connsiteY2" fmla="*/ 3579 h 7157"/>
                  <a:gd name="connsiteX3" fmla="*/ 3579 w 7157"/>
                  <a:gd name="connsiteY3" fmla="*/ 0 h 7157"/>
                  <a:gd name="connsiteX4" fmla="*/ 7158 w 7157"/>
                  <a:gd name="connsiteY4" fmla="*/ 3579 h 71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157" h="7157">
                    <a:moveTo>
                      <a:pt x="7158" y="3579"/>
                    </a:moveTo>
                    <a:cubicBezTo>
                      <a:pt x="7158" y="5555"/>
                      <a:pt x="5555" y="7158"/>
                      <a:pt x="3579" y="7158"/>
                    </a:cubicBezTo>
                    <a:cubicBezTo>
                      <a:pt x="1602" y="7158"/>
                      <a:pt x="0" y="5555"/>
                      <a:pt x="0" y="3579"/>
                    </a:cubicBezTo>
                    <a:cubicBezTo>
                      <a:pt x="0" y="1602"/>
                      <a:pt x="1602" y="0"/>
                      <a:pt x="3579" y="0"/>
                    </a:cubicBezTo>
                    <a:cubicBezTo>
                      <a:pt x="5555" y="0"/>
                      <a:pt x="7158" y="1602"/>
                      <a:pt x="7158" y="3579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63" name="Forma livre: Forma 762">
                <a:extLst>
                  <a:ext uri="{FF2B5EF4-FFF2-40B4-BE49-F238E27FC236}">
                    <a16:creationId xmlns:a16="http://schemas.microsoft.com/office/drawing/2014/main" id="{869A88C0-3B69-E730-7696-96AB2AE189BD}"/>
                  </a:ext>
                </a:extLst>
              </p:cNvPr>
              <p:cNvSpPr/>
              <p:nvPr/>
            </p:nvSpPr>
            <p:spPr>
              <a:xfrm>
                <a:off x="7440855" y="3277725"/>
                <a:ext cx="78352" cy="16640"/>
              </a:xfrm>
              <a:custGeom>
                <a:avLst/>
                <a:gdLst>
                  <a:gd name="connsiteX0" fmla="*/ 0 w 78352"/>
                  <a:gd name="connsiteY0" fmla="*/ 9041 h 16640"/>
                  <a:gd name="connsiteX1" fmla="*/ 49305 w 78352"/>
                  <a:gd name="connsiteY1" fmla="*/ 6989 h 16640"/>
                  <a:gd name="connsiteX2" fmla="*/ 78353 w 78352"/>
                  <a:gd name="connsiteY2" fmla="*/ 16640 h 166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78352" h="16640">
                    <a:moveTo>
                      <a:pt x="0" y="9041"/>
                    </a:moveTo>
                    <a:cubicBezTo>
                      <a:pt x="0" y="9041"/>
                      <a:pt x="22988" y="-9855"/>
                      <a:pt x="49305" y="6989"/>
                    </a:cubicBezTo>
                    <a:cubicBezTo>
                      <a:pt x="49305" y="6989"/>
                      <a:pt x="62141" y="15793"/>
                      <a:pt x="78353" y="16640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764" name="Gráfico 9">
              <a:extLst>
                <a:ext uri="{FF2B5EF4-FFF2-40B4-BE49-F238E27FC236}">
                  <a16:creationId xmlns:a16="http://schemas.microsoft.com/office/drawing/2014/main" id="{68A9FC5C-3E11-F9D7-19A3-3D9EE76F7F3F}"/>
                </a:ext>
              </a:extLst>
            </p:cNvPr>
            <p:cNvGrpSpPr/>
            <p:nvPr/>
          </p:nvGrpSpPr>
          <p:grpSpPr>
            <a:xfrm>
              <a:off x="7564790" y="3312223"/>
              <a:ext cx="33617" cy="86953"/>
              <a:chOff x="7564790" y="3312223"/>
              <a:chExt cx="33617" cy="86953"/>
            </a:xfrm>
            <a:noFill/>
          </p:grpSpPr>
          <p:sp>
            <p:nvSpPr>
              <p:cNvPr id="765" name="Forma livre: Forma 764">
                <a:extLst>
                  <a:ext uri="{FF2B5EF4-FFF2-40B4-BE49-F238E27FC236}">
                    <a16:creationId xmlns:a16="http://schemas.microsoft.com/office/drawing/2014/main" id="{8FA4E528-C40F-7F6E-50EC-D20CDD7220DA}"/>
                  </a:ext>
                </a:extLst>
              </p:cNvPr>
              <p:cNvSpPr/>
              <p:nvPr/>
            </p:nvSpPr>
            <p:spPr>
              <a:xfrm>
                <a:off x="7564790" y="3323723"/>
                <a:ext cx="33617" cy="63917"/>
              </a:xfrm>
              <a:custGeom>
                <a:avLst/>
                <a:gdLst>
                  <a:gd name="connsiteX0" fmla="*/ 72 w 33617"/>
                  <a:gd name="connsiteY0" fmla="*/ 48326 h 63917"/>
                  <a:gd name="connsiteX1" fmla="*/ 16832 w 33617"/>
                  <a:gd name="connsiteY1" fmla="*/ 63918 h 63917"/>
                  <a:gd name="connsiteX2" fmla="*/ 33617 w 33617"/>
                  <a:gd name="connsiteY2" fmla="*/ 48326 h 63917"/>
                  <a:gd name="connsiteX3" fmla="*/ 16797 w 33617"/>
                  <a:gd name="connsiteY3" fmla="*/ 31959 h 63917"/>
                  <a:gd name="connsiteX4" fmla="*/ 0 w 33617"/>
                  <a:gd name="connsiteY4" fmla="*/ 15592 h 63917"/>
                  <a:gd name="connsiteX5" fmla="*/ 16761 w 33617"/>
                  <a:gd name="connsiteY5" fmla="*/ 0 h 63917"/>
                  <a:gd name="connsiteX6" fmla="*/ 33522 w 33617"/>
                  <a:gd name="connsiteY6" fmla="*/ 15592 h 639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3617" h="63917">
                    <a:moveTo>
                      <a:pt x="72" y="48326"/>
                    </a:moveTo>
                    <a:cubicBezTo>
                      <a:pt x="72" y="56939"/>
                      <a:pt x="7587" y="63918"/>
                      <a:pt x="16832" y="63918"/>
                    </a:cubicBezTo>
                    <a:cubicBezTo>
                      <a:pt x="26078" y="63918"/>
                      <a:pt x="33617" y="56939"/>
                      <a:pt x="33617" y="48326"/>
                    </a:cubicBezTo>
                    <a:cubicBezTo>
                      <a:pt x="33617" y="39713"/>
                      <a:pt x="24658" y="35943"/>
                      <a:pt x="16797" y="31959"/>
                    </a:cubicBezTo>
                    <a:cubicBezTo>
                      <a:pt x="8947" y="27975"/>
                      <a:pt x="0" y="24205"/>
                      <a:pt x="0" y="15592"/>
                    </a:cubicBezTo>
                    <a:cubicBezTo>
                      <a:pt x="0" y="6979"/>
                      <a:pt x="7504" y="0"/>
                      <a:pt x="16761" y="0"/>
                    </a:cubicBezTo>
                    <a:cubicBezTo>
                      <a:pt x="26018" y="0"/>
                      <a:pt x="33522" y="6991"/>
                      <a:pt x="33522" y="15592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66" name="Forma livre: Forma 765">
                <a:extLst>
                  <a:ext uri="{FF2B5EF4-FFF2-40B4-BE49-F238E27FC236}">
                    <a16:creationId xmlns:a16="http://schemas.microsoft.com/office/drawing/2014/main" id="{DB9CA4B9-654E-C781-6C50-3C489CCC2106}"/>
                  </a:ext>
                </a:extLst>
              </p:cNvPr>
              <p:cNvSpPr/>
              <p:nvPr/>
            </p:nvSpPr>
            <p:spPr>
              <a:xfrm>
                <a:off x="7581563" y="3312223"/>
                <a:ext cx="1192" cy="11416"/>
              </a:xfrm>
              <a:custGeom>
                <a:avLst/>
                <a:gdLst>
                  <a:gd name="connsiteX0" fmla="*/ 0 w 1192"/>
                  <a:gd name="connsiteY0" fmla="*/ 11417 h 11416"/>
                  <a:gd name="connsiteX1" fmla="*/ 0 w 1192"/>
                  <a:gd name="connsiteY1" fmla="*/ 0 h 114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2" h="11416">
                    <a:moveTo>
                      <a:pt x="0" y="11417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67" name="Forma livre: Forma 766">
                <a:extLst>
                  <a:ext uri="{FF2B5EF4-FFF2-40B4-BE49-F238E27FC236}">
                    <a16:creationId xmlns:a16="http://schemas.microsoft.com/office/drawing/2014/main" id="{C9F3F151-3CA2-0E2E-AA96-6D9EF8D6164F}"/>
                  </a:ext>
                </a:extLst>
              </p:cNvPr>
              <p:cNvSpPr/>
              <p:nvPr/>
            </p:nvSpPr>
            <p:spPr>
              <a:xfrm>
                <a:off x="7581563" y="3387725"/>
                <a:ext cx="1192" cy="11452"/>
              </a:xfrm>
              <a:custGeom>
                <a:avLst/>
                <a:gdLst>
                  <a:gd name="connsiteX0" fmla="*/ 0 w 1192"/>
                  <a:gd name="connsiteY0" fmla="*/ 11452 h 11452"/>
                  <a:gd name="connsiteX1" fmla="*/ 0 w 1192"/>
                  <a:gd name="connsiteY1" fmla="*/ 0 h 114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2" h="11452">
                    <a:moveTo>
                      <a:pt x="0" y="11452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768" name="Forma livre: Forma 767">
              <a:extLst>
                <a:ext uri="{FF2B5EF4-FFF2-40B4-BE49-F238E27FC236}">
                  <a16:creationId xmlns:a16="http://schemas.microsoft.com/office/drawing/2014/main" id="{11F5D72D-B0DC-81EE-1D3A-59DDB947A9C3}"/>
                </a:ext>
              </a:extLst>
            </p:cNvPr>
            <p:cNvSpPr/>
            <p:nvPr/>
          </p:nvSpPr>
          <p:spPr>
            <a:xfrm rot="-1349998">
              <a:off x="7514427" y="3288521"/>
              <a:ext cx="134325" cy="134325"/>
            </a:xfrm>
            <a:custGeom>
              <a:avLst/>
              <a:gdLst>
                <a:gd name="connsiteX0" fmla="*/ 134326 w 134325"/>
                <a:gd name="connsiteY0" fmla="*/ 67163 h 134325"/>
                <a:gd name="connsiteX1" fmla="*/ 67163 w 134325"/>
                <a:gd name="connsiteY1" fmla="*/ 134326 h 134325"/>
                <a:gd name="connsiteX2" fmla="*/ 0 w 134325"/>
                <a:gd name="connsiteY2" fmla="*/ 67163 h 134325"/>
                <a:gd name="connsiteX3" fmla="*/ 67163 w 134325"/>
                <a:gd name="connsiteY3" fmla="*/ 0 h 134325"/>
                <a:gd name="connsiteX4" fmla="*/ 134326 w 134325"/>
                <a:gd name="connsiteY4" fmla="*/ 67163 h 1343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4325" h="134325">
                  <a:moveTo>
                    <a:pt x="134326" y="67163"/>
                  </a:moveTo>
                  <a:cubicBezTo>
                    <a:pt x="134326" y="104256"/>
                    <a:pt x="104256" y="134326"/>
                    <a:pt x="67163" y="134326"/>
                  </a:cubicBezTo>
                  <a:cubicBezTo>
                    <a:pt x="30070" y="134326"/>
                    <a:pt x="0" y="104256"/>
                    <a:pt x="0" y="67163"/>
                  </a:cubicBezTo>
                  <a:cubicBezTo>
                    <a:pt x="0" y="30070"/>
                    <a:pt x="30070" y="0"/>
                    <a:pt x="67163" y="0"/>
                  </a:cubicBezTo>
                  <a:cubicBezTo>
                    <a:pt x="104256" y="0"/>
                    <a:pt x="134326" y="30070"/>
                    <a:pt x="134326" y="67163"/>
                  </a:cubicBez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769" name="Gráfico 9">
            <a:extLst>
              <a:ext uri="{FF2B5EF4-FFF2-40B4-BE49-F238E27FC236}">
                <a16:creationId xmlns:a16="http://schemas.microsoft.com/office/drawing/2014/main" id="{7BE1A577-1403-CF99-B338-D20BAC874648}"/>
              </a:ext>
            </a:extLst>
          </p:cNvPr>
          <p:cNvGrpSpPr/>
          <p:nvPr/>
        </p:nvGrpSpPr>
        <p:grpSpPr>
          <a:xfrm>
            <a:off x="6163675" y="3127794"/>
            <a:ext cx="224822" cy="281702"/>
            <a:chOff x="6163675" y="3127794"/>
            <a:chExt cx="224822" cy="281702"/>
          </a:xfrm>
          <a:noFill/>
        </p:grpSpPr>
        <p:grpSp>
          <p:nvGrpSpPr>
            <p:cNvPr id="770" name="Gráfico 9">
              <a:extLst>
                <a:ext uri="{FF2B5EF4-FFF2-40B4-BE49-F238E27FC236}">
                  <a16:creationId xmlns:a16="http://schemas.microsoft.com/office/drawing/2014/main" id="{9834D10E-7D5B-800D-F59E-A8EEA70C30E0}"/>
                </a:ext>
              </a:extLst>
            </p:cNvPr>
            <p:cNvGrpSpPr/>
            <p:nvPr/>
          </p:nvGrpSpPr>
          <p:grpSpPr>
            <a:xfrm>
              <a:off x="6254804" y="3167912"/>
              <a:ext cx="42623" cy="107770"/>
              <a:chOff x="6254804" y="3167912"/>
              <a:chExt cx="42623" cy="107770"/>
            </a:xfrm>
            <a:noFill/>
          </p:grpSpPr>
          <p:sp>
            <p:nvSpPr>
              <p:cNvPr id="771" name="Forma livre: Forma 770">
                <a:extLst>
                  <a:ext uri="{FF2B5EF4-FFF2-40B4-BE49-F238E27FC236}">
                    <a16:creationId xmlns:a16="http://schemas.microsoft.com/office/drawing/2014/main" id="{DD41DE50-BDB3-EF92-FE93-CE6A8770FC85}"/>
                  </a:ext>
                </a:extLst>
              </p:cNvPr>
              <p:cNvSpPr/>
              <p:nvPr/>
            </p:nvSpPr>
            <p:spPr>
              <a:xfrm>
                <a:off x="6254804" y="3181261"/>
                <a:ext cx="42623" cy="81048"/>
              </a:xfrm>
              <a:custGeom>
                <a:avLst/>
                <a:gdLst>
                  <a:gd name="connsiteX0" fmla="*/ 95 w 42623"/>
                  <a:gd name="connsiteY0" fmla="*/ 61282 h 81048"/>
                  <a:gd name="connsiteX1" fmla="*/ 21354 w 42623"/>
                  <a:gd name="connsiteY1" fmla="*/ 81049 h 81048"/>
                  <a:gd name="connsiteX2" fmla="*/ 42624 w 42623"/>
                  <a:gd name="connsiteY2" fmla="*/ 61282 h 81048"/>
                  <a:gd name="connsiteX3" fmla="*/ 21306 w 42623"/>
                  <a:gd name="connsiteY3" fmla="*/ 40524 h 81048"/>
                  <a:gd name="connsiteX4" fmla="*/ 0 w 42623"/>
                  <a:gd name="connsiteY4" fmla="*/ 19767 h 81048"/>
                  <a:gd name="connsiteX5" fmla="*/ 21258 w 42623"/>
                  <a:gd name="connsiteY5" fmla="*/ 0 h 81048"/>
                  <a:gd name="connsiteX6" fmla="*/ 42517 w 42623"/>
                  <a:gd name="connsiteY6" fmla="*/ 19767 h 810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2623" h="81048">
                    <a:moveTo>
                      <a:pt x="95" y="61282"/>
                    </a:moveTo>
                    <a:cubicBezTo>
                      <a:pt x="95" y="72209"/>
                      <a:pt x="9615" y="81049"/>
                      <a:pt x="21354" y="81049"/>
                    </a:cubicBezTo>
                    <a:cubicBezTo>
                      <a:pt x="33092" y="81049"/>
                      <a:pt x="42624" y="72209"/>
                      <a:pt x="42624" y="61282"/>
                    </a:cubicBezTo>
                    <a:cubicBezTo>
                      <a:pt x="42624" y="50354"/>
                      <a:pt x="31267" y="45583"/>
                      <a:pt x="21306" y="40524"/>
                    </a:cubicBezTo>
                    <a:cubicBezTo>
                      <a:pt x="11345" y="35478"/>
                      <a:pt x="0" y="30683"/>
                      <a:pt x="0" y="19767"/>
                    </a:cubicBezTo>
                    <a:cubicBezTo>
                      <a:pt x="0" y="8852"/>
                      <a:pt x="9508" y="0"/>
                      <a:pt x="21258" y="0"/>
                    </a:cubicBezTo>
                    <a:cubicBezTo>
                      <a:pt x="33009" y="0"/>
                      <a:pt x="42517" y="8852"/>
                      <a:pt x="42517" y="19767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72" name="Forma livre: Forma 771">
                <a:extLst>
                  <a:ext uri="{FF2B5EF4-FFF2-40B4-BE49-F238E27FC236}">
                    <a16:creationId xmlns:a16="http://schemas.microsoft.com/office/drawing/2014/main" id="{908B8B10-EB3F-CBA4-E790-8C527D4E59AD}"/>
                  </a:ext>
                </a:extLst>
              </p:cNvPr>
              <p:cNvSpPr/>
              <p:nvPr/>
            </p:nvSpPr>
            <p:spPr>
              <a:xfrm>
                <a:off x="6276063" y="3167912"/>
                <a:ext cx="1192" cy="13265"/>
              </a:xfrm>
              <a:custGeom>
                <a:avLst/>
                <a:gdLst>
                  <a:gd name="connsiteX0" fmla="*/ 0 w 1192"/>
                  <a:gd name="connsiteY0" fmla="*/ 13266 h 13265"/>
                  <a:gd name="connsiteX1" fmla="*/ 0 w 1192"/>
                  <a:gd name="connsiteY1" fmla="*/ 0 h 132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2" h="13265">
                    <a:moveTo>
                      <a:pt x="0" y="13266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73" name="Forma livre: Forma 772">
                <a:extLst>
                  <a:ext uri="{FF2B5EF4-FFF2-40B4-BE49-F238E27FC236}">
                    <a16:creationId xmlns:a16="http://schemas.microsoft.com/office/drawing/2014/main" id="{8B317F62-EE7C-A6D3-85B3-08538D1C0576}"/>
                  </a:ext>
                </a:extLst>
              </p:cNvPr>
              <p:cNvSpPr/>
              <p:nvPr/>
            </p:nvSpPr>
            <p:spPr>
              <a:xfrm>
                <a:off x="6276063" y="3262418"/>
                <a:ext cx="1192" cy="13265"/>
              </a:xfrm>
              <a:custGeom>
                <a:avLst/>
                <a:gdLst>
                  <a:gd name="connsiteX0" fmla="*/ 0 w 1192"/>
                  <a:gd name="connsiteY0" fmla="*/ 13266 h 13265"/>
                  <a:gd name="connsiteX1" fmla="*/ 0 w 1192"/>
                  <a:gd name="connsiteY1" fmla="*/ 0 h 132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2" h="13265">
                    <a:moveTo>
                      <a:pt x="0" y="13266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774" name="Gráfico 9">
              <a:extLst>
                <a:ext uri="{FF2B5EF4-FFF2-40B4-BE49-F238E27FC236}">
                  <a16:creationId xmlns:a16="http://schemas.microsoft.com/office/drawing/2014/main" id="{DBC47094-5D0C-2B23-7079-5F2B0EB5EFF4}"/>
                </a:ext>
              </a:extLst>
            </p:cNvPr>
            <p:cNvGrpSpPr/>
            <p:nvPr/>
          </p:nvGrpSpPr>
          <p:grpSpPr>
            <a:xfrm>
              <a:off x="6163675" y="3127794"/>
              <a:ext cx="224822" cy="281702"/>
              <a:chOff x="6163675" y="3127794"/>
              <a:chExt cx="224822" cy="281702"/>
            </a:xfrm>
            <a:noFill/>
          </p:grpSpPr>
          <p:sp>
            <p:nvSpPr>
              <p:cNvPr id="775" name="Forma livre: Forma 774">
                <a:extLst>
                  <a:ext uri="{FF2B5EF4-FFF2-40B4-BE49-F238E27FC236}">
                    <a16:creationId xmlns:a16="http://schemas.microsoft.com/office/drawing/2014/main" id="{A15DE8F9-5C41-7FDA-2C54-B0BA5402E15C}"/>
                  </a:ext>
                </a:extLst>
              </p:cNvPr>
              <p:cNvSpPr/>
              <p:nvPr/>
            </p:nvSpPr>
            <p:spPr>
              <a:xfrm>
                <a:off x="6201766" y="3128760"/>
                <a:ext cx="27819" cy="50604"/>
              </a:xfrm>
              <a:custGeom>
                <a:avLst/>
                <a:gdLst>
                  <a:gd name="connsiteX0" fmla="*/ 27819 w 27819"/>
                  <a:gd name="connsiteY0" fmla="*/ 0 h 50604"/>
                  <a:gd name="connsiteX1" fmla="*/ 27819 w 27819"/>
                  <a:gd name="connsiteY1" fmla="*/ 50605 h 50604"/>
                  <a:gd name="connsiteX2" fmla="*/ 0 w 27819"/>
                  <a:gd name="connsiteY2" fmla="*/ 50605 h 506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7819" h="50604">
                    <a:moveTo>
                      <a:pt x="27819" y="0"/>
                    </a:moveTo>
                    <a:lnTo>
                      <a:pt x="27819" y="50605"/>
                    </a:lnTo>
                    <a:lnTo>
                      <a:pt x="0" y="50605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76" name="Forma livre: Forma 775">
                <a:extLst>
                  <a:ext uri="{FF2B5EF4-FFF2-40B4-BE49-F238E27FC236}">
                    <a16:creationId xmlns:a16="http://schemas.microsoft.com/office/drawing/2014/main" id="{1C801D96-DAE8-59F0-3245-0BA226A84867}"/>
                  </a:ext>
                </a:extLst>
              </p:cNvPr>
              <p:cNvSpPr/>
              <p:nvPr/>
            </p:nvSpPr>
            <p:spPr>
              <a:xfrm>
                <a:off x="6199881" y="3320180"/>
                <a:ext cx="152446" cy="55710"/>
              </a:xfrm>
              <a:custGeom>
                <a:avLst/>
                <a:gdLst>
                  <a:gd name="connsiteX0" fmla="*/ 152447 w 152446"/>
                  <a:gd name="connsiteY0" fmla="*/ 55710 h 55710"/>
                  <a:gd name="connsiteX1" fmla="*/ 82946 w 152446"/>
                  <a:gd name="connsiteY1" fmla="*/ 1694 h 55710"/>
                  <a:gd name="connsiteX2" fmla="*/ 70658 w 152446"/>
                  <a:gd name="connsiteY2" fmla="*/ 2111 h 55710"/>
                  <a:gd name="connsiteX3" fmla="*/ 0 w 152446"/>
                  <a:gd name="connsiteY3" fmla="*/ 55698 h 557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52446" h="55710">
                    <a:moveTo>
                      <a:pt x="152447" y="55710"/>
                    </a:moveTo>
                    <a:cubicBezTo>
                      <a:pt x="152447" y="55710"/>
                      <a:pt x="85844" y="4091"/>
                      <a:pt x="82946" y="1694"/>
                    </a:cubicBezTo>
                    <a:cubicBezTo>
                      <a:pt x="80059" y="-692"/>
                      <a:pt x="74130" y="-561"/>
                      <a:pt x="70658" y="2111"/>
                    </a:cubicBezTo>
                    <a:cubicBezTo>
                      <a:pt x="66376" y="5416"/>
                      <a:pt x="0" y="55698"/>
                      <a:pt x="0" y="55698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777" name="Gráfico 9">
                <a:extLst>
                  <a:ext uri="{FF2B5EF4-FFF2-40B4-BE49-F238E27FC236}">
                    <a16:creationId xmlns:a16="http://schemas.microsoft.com/office/drawing/2014/main" id="{04D7339D-2362-8EE4-1540-756A1A030B33}"/>
                  </a:ext>
                </a:extLst>
              </p:cNvPr>
              <p:cNvGrpSpPr/>
              <p:nvPr/>
            </p:nvGrpSpPr>
            <p:grpSpPr>
              <a:xfrm>
                <a:off x="6163818" y="3252409"/>
                <a:ext cx="224548" cy="76026"/>
                <a:chOff x="6163818" y="3252409"/>
                <a:chExt cx="224548" cy="76026"/>
              </a:xfrm>
            </p:grpSpPr>
            <p:sp>
              <p:nvSpPr>
                <p:cNvPr id="778" name="Forma livre: Forma 777">
                  <a:extLst>
                    <a:ext uri="{FF2B5EF4-FFF2-40B4-BE49-F238E27FC236}">
                      <a16:creationId xmlns:a16="http://schemas.microsoft.com/office/drawing/2014/main" id="{2AB1CE4F-DF78-12FA-8318-587DD2BCC653}"/>
                    </a:ext>
                  </a:extLst>
                </p:cNvPr>
                <p:cNvSpPr/>
                <p:nvPr/>
              </p:nvSpPr>
              <p:spPr>
                <a:xfrm>
                  <a:off x="6163818" y="3252409"/>
                  <a:ext cx="95507" cy="76026"/>
                </a:xfrm>
                <a:custGeom>
                  <a:avLst/>
                  <a:gdLst>
                    <a:gd name="connsiteX0" fmla="*/ 95507 w 95507"/>
                    <a:gd name="connsiteY0" fmla="*/ 76026 h 76026"/>
                    <a:gd name="connsiteX1" fmla="*/ 0 w 95507"/>
                    <a:gd name="connsiteY1" fmla="*/ 0 h 7602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95507" h="76026">
                      <a:moveTo>
                        <a:pt x="95507" y="76026"/>
                      </a:moveTo>
                      <a:lnTo>
                        <a:pt x="0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779" name="Forma livre: Forma 778">
                  <a:extLst>
                    <a:ext uri="{FF2B5EF4-FFF2-40B4-BE49-F238E27FC236}">
                      <a16:creationId xmlns:a16="http://schemas.microsoft.com/office/drawing/2014/main" id="{2ED04F6B-DF68-6EFE-B189-9B015FDB79F1}"/>
                    </a:ext>
                  </a:extLst>
                </p:cNvPr>
                <p:cNvSpPr/>
                <p:nvPr/>
              </p:nvSpPr>
              <p:spPr>
                <a:xfrm>
                  <a:off x="6293122" y="3252540"/>
                  <a:ext cx="95244" cy="75895"/>
                </a:xfrm>
                <a:custGeom>
                  <a:avLst/>
                  <a:gdLst>
                    <a:gd name="connsiteX0" fmla="*/ 0 w 95244"/>
                    <a:gd name="connsiteY0" fmla="*/ 75895 h 75895"/>
                    <a:gd name="connsiteX1" fmla="*/ 95245 w 95244"/>
                    <a:gd name="connsiteY1" fmla="*/ 0 h 7589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95244" h="75895">
                      <a:moveTo>
                        <a:pt x="0" y="75895"/>
                      </a:moveTo>
                      <a:lnTo>
                        <a:pt x="95245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780" name="Forma livre: Forma 779">
                <a:extLst>
                  <a:ext uri="{FF2B5EF4-FFF2-40B4-BE49-F238E27FC236}">
                    <a16:creationId xmlns:a16="http://schemas.microsoft.com/office/drawing/2014/main" id="{0A0BC7EA-F3EC-1E1F-2E73-23A2FDC49CA7}"/>
                  </a:ext>
                </a:extLst>
              </p:cNvPr>
              <p:cNvSpPr/>
              <p:nvPr/>
            </p:nvSpPr>
            <p:spPr>
              <a:xfrm>
                <a:off x="6179589" y="3127794"/>
                <a:ext cx="192815" cy="136580"/>
              </a:xfrm>
              <a:custGeom>
                <a:avLst/>
                <a:gdLst>
                  <a:gd name="connsiteX0" fmla="*/ 192816 w 192815"/>
                  <a:gd name="connsiteY0" fmla="*/ 136580 h 136580"/>
                  <a:gd name="connsiteX1" fmla="*/ 192816 w 192815"/>
                  <a:gd name="connsiteY1" fmla="*/ 0 h 136580"/>
                  <a:gd name="connsiteX2" fmla="*/ 43578 w 192815"/>
                  <a:gd name="connsiteY2" fmla="*/ 0 h 136580"/>
                  <a:gd name="connsiteX3" fmla="*/ 0 w 192815"/>
                  <a:gd name="connsiteY3" fmla="*/ 38150 h 136580"/>
                  <a:gd name="connsiteX4" fmla="*/ 0 w 192815"/>
                  <a:gd name="connsiteY4" fmla="*/ 107628 h 1365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92815" h="136580">
                    <a:moveTo>
                      <a:pt x="192816" y="136580"/>
                    </a:moveTo>
                    <a:lnTo>
                      <a:pt x="192816" y="0"/>
                    </a:lnTo>
                    <a:lnTo>
                      <a:pt x="43578" y="0"/>
                    </a:lnTo>
                    <a:lnTo>
                      <a:pt x="0" y="38150"/>
                    </a:lnTo>
                    <a:lnTo>
                      <a:pt x="0" y="107628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81" name="Forma livre: Forma 780">
                <a:extLst>
                  <a:ext uri="{FF2B5EF4-FFF2-40B4-BE49-F238E27FC236}">
                    <a16:creationId xmlns:a16="http://schemas.microsoft.com/office/drawing/2014/main" id="{9CA864F6-916B-973F-8E60-CECE8F6D6C34}"/>
                  </a:ext>
                </a:extLst>
              </p:cNvPr>
              <p:cNvSpPr/>
              <p:nvPr/>
            </p:nvSpPr>
            <p:spPr>
              <a:xfrm>
                <a:off x="6163675" y="3252409"/>
                <a:ext cx="224822" cy="157087"/>
              </a:xfrm>
              <a:custGeom>
                <a:avLst/>
                <a:gdLst>
                  <a:gd name="connsiteX0" fmla="*/ 0 w 224822"/>
                  <a:gd name="connsiteY0" fmla="*/ 0 h 157087"/>
                  <a:gd name="connsiteX1" fmla="*/ 0 w 224822"/>
                  <a:gd name="connsiteY1" fmla="*/ 144454 h 157087"/>
                  <a:gd name="connsiteX2" fmla="*/ 12824 w 224822"/>
                  <a:gd name="connsiteY2" fmla="*/ 157087 h 157087"/>
                  <a:gd name="connsiteX3" fmla="*/ 211998 w 224822"/>
                  <a:gd name="connsiteY3" fmla="*/ 157087 h 157087"/>
                  <a:gd name="connsiteX4" fmla="*/ 224823 w 224822"/>
                  <a:gd name="connsiteY4" fmla="*/ 144454 h 157087"/>
                  <a:gd name="connsiteX5" fmla="*/ 224823 w 224822"/>
                  <a:gd name="connsiteY5" fmla="*/ 0 h 157087"/>
                  <a:gd name="connsiteX6" fmla="*/ 208539 w 224822"/>
                  <a:gd name="connsiteY6" fmla="*/ 0 h 1570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24822" h="157087">
                    <a:moveTo>
                      <a:pt x="0" y="0"/>
                    </a:moveTo>
                    <a:lnTo>
                      <a:pt x="0" y="144454"/>
                    </a:lnTo>
                    <a:cubicBezTo>
                      <a:pt x="0" y="151373"/>
                      <a:pt x="5774" y="157087"/>
                      <a:pt x="12824" y="157087"/>
                    </a:cubicBezTo>
                    <a:lnTo>
                      <a:pt x="211998" y="157087"/>
                    </a:lnTo>
                    <a:cubicBezTo>
                      <a:pt x="219049" y="157087"/>
                      <a:pt x="224823" y="151373"/>
                      <a:pt x="224823" y="144454"/>
                    </a:cubicBezTo>
                    <a:lnTo>
                      <a:pt x="224823" y="0"/>
                    </a:lnTo>
                    <a:lnTo>
                      <a:pt x="208539" y="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782" name="Gráfico 9">
            <a:extLst>
              <a:ext uri="{FF2B5EF4-FFF2-40B4-BE49-F238E27FC236}">
                <a16:creationId xmlns:a16="http://schemas.microsoft.com/office/drawing/2014/main" id="{1D81FF88-FC3E-B90A-7D14-8AFBDBADB828}"/>
              </a:ext>
            </a:extLst>
          </p:cNvPr>
          <p:cNvGrpSpPr/>
          <p:nvPr/>
        </p:nvGrpSpPr>
        <p:grpSpPr>
          <a:xfrm>
            <a:off x="6738666" y="992289"/>
            <a:ext cx="308445" cy="299477"/>
            <a:chOff x="6738666" y="992289"/>
            <a:chExt cx="308445" cy="299477"/>
          </a:xfrm>
          <a:noFill/>
        </p:grpSpPr>
        <p:sp>
          <p:nvSpPr>
            <p:cNvPr id="783" name="Forma livre: Forma 782">
              <a:extLst>
                <a:ext uri="{FF2B5EF4-FFF2-40B4-BE49-F238E27FC236}">
                  <a16:creationId xmlns:a16="http://schemas.microsoft.com/office/drawing/2014/main" id="{364AAFB4-3126-BDEF-997B-4BF58E71EC4A}"/>
                </a:ext>
              </a:extLst>
            </p:cNvPr>
            <p:cNvSpPr/>
            <p:nvPr/>
          </p:nvSpPr>
          <p:spPr>
            <a:xfrm>
              <a:off x="6884012" y="992289"/>
              <a:ext cx="163099" cy="196645"/>
            </a:xfrm>
            <a:custGeom>
              <a:avLst/>
              <a:gdLst>
                <a:gd name="connsiteX0" fmla="*/ 41228 w 163099"/>
                <a:gd name="connsiteY0" fmla="*/ 153234 h 196645"/>
                <a:gd name="connsiteX1" fmla="*/ 0 w 163099"/>
                <a:gd name="connsiteY1" fmla="*/ 81550 h 196645"/>
                <a:gd name="connsiteX2" fmla="*/ 81550 w 163099"/>
                <a:gd name="connsiteY2" fmla="*/ 0 h 196645"/>
                <a:gd name="connsiteX3" fmla="*/ 163100 w 163099"/>
                <a:gd name="connsiteY3" fmla="*/ 81550 h 196645"/>
                <a:gd name="connsiteX4" fmla="*/ 127419 w 163099"/>
                <a:gd name="connsiteY4" fmla="*/ 148987 h 196645"/>
                <a:gd name="connsiteX5" fmla="*/ 64860 w 163099"/>
                <a:gd name="connsiteY5" fmla="*/ 196645 h 196645"/>
                <a:gd name="connsiteX6" fmla="*/ 64860 w 163099"/>
                <a:gd name="connsiteY6" fmla="*/ 161596 h 1966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63099" h="196645">
                  <a:moveTo>
                    <a:pt x="41228" y="153234"/>
                  </a:moveTo>
                  <a:cubicBezTo>
                    <a:pt x="17656" y="138942"/>
                    <a:pt x="0" y="111123"/>
                    <a:pt x="0" y="81550"/>
                  </a:cubicBezTo>
                  <a:cubicBezTo>
                    <a:pt x="0" y="36504"/>
                    <a:pt x="36516" y="0"/>
                    <a:pt x="81550" y="0"/>
                  </a:cubicBezTo>
                  <a:cubicBezTo>
                    <a:pt x="126583" y="0"/>
                    <a:pt x="163100" y="36504"/>
                    <a:pt x="163100" y="81550"/>
                  </a:cubicBezTo>
                  <a:cubicBezTo>
                    <a:pt x="163100" y="109584"/>
                    <a:pt x="148951" y="134314"/>
                    <a:pt x="127419" y="148987"/>
                  </a:cubicBezTo>
                  <a:lnTo>
                    <a:pt x="64860" y="196645"/>
                  </a:lnTo>
                  <a:lnTo>
                    <a:pt x="64860" y="161596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784" name="Gráfico 9">
              <a:extLst>
                <a:ext uri="{FF2B5EF4-FFF2-40B4-BE49-F238E27FC236}">
                  <a16:creationId xmlns:a16="http://schemas.microsoft.com/office/drawing/2014/main" id="{B10176FD-AF34-A9C1-8C1F-75774552C75E}"/>
                </a:ext>
              </a:extLst>
            </p:cNvPr>
            <p:cNvGrpSpPr/>
            <p:nvPr/>
          </p:nvGrpSpPr>
          <p:grpSpPr>
            <a:xfrm>
              <a:off x="6944244" y="1019596"/>
              <a:ext cx="42624" cy="107770"/>
              <a:chOff x="6944244" y="1019596"/>
              <a:chExt cx="42624" cy="107770"/>
            </a:xfrm>
            <a:noFill/>
          </p:grpSpPr>
          <p:sp>
            <p:nvSpPr>
              <p:cNvPr id="785" name="Forma livre: Forma 784">
                <a:extLst>
                  <a:ext uri="{FF2B5EF4-FFF2-40B4-BE49-F238E27FC236}">
                    <a16:creationId xmlns:a16="http://schemas.microsoft.com/office/drawing/2014/main" id="{F0FD99F4-058F-3B0A-95EF-0877170A0135}"/>
                  </a:ext>
                </a:extLst>
              </p:cNvPr>
              <p:cNvSpPr/>
              <p:nvPr/>
            </p:nvSpPr>
            <p:spPr>
              <a:xfrm>
                <a:off x="6944244" y="1032945"/>
                <a:ext cx="42624" cy="81048"/>
              </a:xfrm>
              <a:custGeom>
                <a:avLst/>
                <a:gdLst>
                  <a:gd name="connsiteX0" fmla="*/ 95 w 42624"/>
                  <a:gd name="connsiteY0" fmla="*/ 61282 h 81048"/>
                  <a:gd name="connsiteX1" fmla="*/ 21354 w 42624"/>
                  <a:gd name="connsiteY1" fmla="*/ 81049 h 81048"/>
                  <a:gd name="connsiteX2" fmla="*/ 42624 w 42624"/>
                  <a:gd name="connsiteY2" fmla="*/ 61282 h 81048"/>
                  <a:gd name="connsiteX3" fmla="*/ 21306 w 42624"/>
                  <a:gd name="connsiteY3" fmla="*/ 40524 h 81048"/>
                  <a:gd name="connsiteX4" fmla="*/ 0 w 42624"/>
                  <a:gd name="connsiteY4" fmla="*/ 19779 h 81048"/>
                  <a:gd name="connsiteX5" fmla="*/ 21258 w 42624"/>
                  <a:gd name="connsiteY5" fmla="*/ 0 h 81048"/>
                  <a:gd name="connsiteX6" fmla="*/ 42517 w 42624"/>
                  <a:gd name="connsiteY6" fmla="*/ 19779 h 810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2624" h="81048">
                    <a:moveTo>
                      <a:pt x="95" y="61282"/>
                    </a:moveTo>
                    <a:cubicBezTo>
                      <a:pt x="95" y="72209"/>
                      <a:pt x="9615" y="81049"/>
                      <a:pt x="21354" y="81049"/>
                    </a:cubicBezTo>
                    <a:cubicBezTo>
                      <a:pt x="33092" y="81049"/>
                      <a:pt x="42624" y="72209"/>
                      <a:pt x="42624" y="61282"/>
                    </a:cubicBezTo>
                    <a:cubicBezTo>
                      <a:pt x="42624" y="50354"/>
                      <a:pt x="31267" y="45582"/>
                      <a:pt x="21306" y="40524"/>
                    </a:cubicBezTo>
                    <a:cubicBezTo>
                      <a:pt x="11345" y="35478"/>
                      <a:pt x="0" y="30694"/>
                      <a:pt x="0" y="19779"/>
                    </a:cubicBezTo>
                    <a:cubicBezTo>
                      <a:pt x="0" y="8864"/>
                      <a:pt x="9508" y="0"/>
                      <a:pt x="21258" y="0"/>
                    </a:cubicBezTo>
                    <a:cubicBezTo>
                      <a:pt x="33009" y="0"/>
                      <a:pt x="42517" y="8852"/>
                      <a:pt x="42517" y="19779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86" name="Forma livre: Forma 785">
                <a:extLst>
                  <a:ext uri="{FF2B5EF4-FFF2-40B4-BE49-F238E27FC236}">
                    <a16:creationId xmlns:a16="http://schemas.microsoft.com/office/drawing/2014/main" id="{2D446876-BED0-26E8-E15C-3B30C3248F98}"/>
                  </a:ext>
                </a:extLst>
              </p:cNvPr>
              <p:cNvSpPr/>
              <p:nvPr/>
            </p:nvSpPr>
            <p:spPr>
              <a:xfrm>
                <a:off x="6965514" y="1019596"/>
                <a:ext cx="1192" cy="13253"/>
              </a:xfrm>
              <a:custGeom>
                <a:avLst/>
                <a:gdLst>
                  <a:gd name="connsiteX0" fmla="*/ 0 w 1192"/>
                  <a:gd name="connsiteY0" fmla="*/ 13254 h 13253"/>
                  <a:gd name="connsiteX1" fmla="*/ 0 w 1192"/>
                  <a:gd name="connsiteY1" fmla="*/ 0 h 132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2" h="13253">
                    <a:moveTo>
                      <a:pt x="0" y="13254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87" name="Forma livre: Forma 786">
                <a:extLst>
                  <a:ext uri="{FF2B5EF4-FFF2-40B4-BE49-F238E27FC236}">
                    <a16:creationId xmlns:a16="http://schemas.microsoft.com/office/drawing/2014/main" id="{11E111C9-4AAC-FCEF-F5C0-C310074596B8}"/>
                  </a:ext>
                </a:extLst>
              </p:cNvPr>
              <p:cNvSpPr/>
              <p:nvPr/>
            </p:nvSpPr>
            <p:spPr>
              <a:xfrm>
                <a:off x="6965514" y="1114101"/>
                <a:ext cx="1192" cy="13265"/>
              </a:xfrm>
              <a:custGeom>
                <a:avLst/>
                <a:gdLst>
                  <a:gd name="connsiteX0" fmla="*/ 0 w 1192"/>
                  <a:gd name="connsiteY0" fmla="*/ 13266 h 13265"/>
                  <a:gd name="connsiteX1" fmla="*/ 0 w 1192"/>
                  <a:gd name="connsiteY1" fmla="*/ 0 h 132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2" h="13265">
                    <a:moveTo>
                      <a:pt x="0" y="13266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788" name="Gráfico 9">
              <a:extLst>
                <a:ext uri="{FF2B5EF4-FFF2-40B4-BE49-F238E27FC236}">
                  <a16:creationId xmlns:a16="http://schemas.microsoft.com/office/drawing/2014/main" id="{6B3200A9-1AFC-4AF9-194B-B3007ACB6579}"/>
                </a:ext>
              </a:extLst>
            </p:cNvPr>
            <p:cNvGrpSpPr/>
            <p:nvPr/>
          </p:nvGrpSpPr>
          <p:grpSpPr>
            <a:xfrm>
              <a:off x="6738666" y="1013865"/>
              <a:ext cx="218406" cy="277901"/>
              <a:chOff x="6738666" y="1013865"/>
              <a:chExt cx="218406" cy="277901"/>
            </a:xfrm>
            <a:noFill/>
          </p:grpSpPr>
          <p:sp>
            <p:nvSpPr>
              <p:cNvPr id="789" name="Forma livre: Forma 788">
                <a:extLst>
                  <a:ext uri="{FF2B5EF4-FFF2-40B4-BE49-F238E27FC236}">
                    <a16:creationId xmlns:a16="http://schemas.microsoft.com/office/drawing/2014/main" id="{C1002ABA-E2D5-A214-2CA2-45542C1CAB9E}"/>
                  </a:ext>
                </a:extLst>
              </p:cNvPr>
              <p:cNvSpPr/>
              <p:nvPr/>
            </p:nvSpPr>
            <p:spPr>
              <a:xfrm>
                <a:off x="6886672" y="1237547"/>
                <a:ext cx="45021" cy="43924"/>
              </a:xfrm>
              <a:custGeom>
                <a:avLst/>
                <a:gdLst>
                  <a:gd name="connsiteX0" fmla="*/ 45022 w 45021"/>
                  <a:gd name="connsiteY0" fmla="*/ 43924 h 43924"/>
                  <a:gd name="connsiteX1" fmla="*/ 0 w 45021"/>
                  <a:gd name="connsiteY1" fmla="*/ 0 h 439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5021" h="43924">
                    <a:moveTo>
                      <a:pt x="45022" y="43924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90" name="Forma livre: Forma 789">
                <a:extLst>
                  <a:ext uri="{FF2B5EF4-FFF2-40B4-BE49-F238E27FC236}">
                    <a16:creationId xmlns:a16="http://schemas.microsoft.com/office/drawing/2014/main" id="{74774C94-4FF1-7856-5638-4159DC9D41AC}"/>
                  </a:ext>
                </a:extLst>
              </p:cNvPr>
              <p:cNvSpPr/>
              <p:nvPr/>
            </p:nvSpPr>
            <p:spPr>
              <a:xfrm>
                <a:off x="6738666" y="1013865"/>
                <a:ext cx="218406" cy="277901"/>
              </a:xfrm>
              <a:custGeom>
                <a:avLst/>
                <a:gdLst>
                  <a:gd name="connsiteX0" fmla="*/ 42908 w 218406"/>
                  <a:gd name="connsiteY0" fmla="*/ 72154 h 277901"/>
                  <a:gd name="connsiteX1" fmla="*/ 18249 w 218406"/>
                  <a:gd name="connsiteY1" fmla="*/ 14618 h 277901"/>
                  <a:gd name="connsiteX2" fmla="*/ 14014 w 218406"/>
                  <a:gd name="connsiteY2" fmla="*/ 17254 h 277901"/>
                  <a:gd name="connsiteX3" fmla="*/ 93 w 218406"/>
                  <a:gd name="connsiteY3" fmla="*/ 36807 h 277901"/>
                  <a:gd name="connsiteX4" fmla="*/ 54813 w 218406"/>
                  <a:gd name="connsiteY4" fmla="*/ 176119 h 277901"/>
                  <a:gd name="connsiteX5" fmla="*/ 165507 w 218406"/>
                  <a:gd name="connsiteY5" fmla="*/ 276887 h 277901"/>
                  <a:gd name="connsiteX6" fmla="*/ 188745 w 218406"/>
                  <a:gd name="connsiteY6" fmla="*/ 270839 h 277901"/>
                  <a:gd name="connsiteX7" fmla="*/ 193016 w 218406"/>
                  <a:gd name="connsiteY7" fmla="*/ 267594 h 277901"/>
                  <a:gd name="connsiteX8" fmla="*/ 217889 w 218406"/>
                  <a:gd name="connsiteY8" fmla="*/ 242661 h 277901"/>
                  <a:gd name="connsiteX9" fmla="*/ 213988 w 218406"/>
                  <a:gd name="connsiteY9" fmla="*/ 229790 h 277901"/>
                  <a:gd name="connsiteX10" fmla="*/ 174597 w 218406"/>
                  <a:gd name="connsiteY10" fmla="*/ 191579 h 277901"/>
                  <a:gd name="connsiteX11" fmla="*/ 155903 w 218406"/>
                  <a:gd name="connsiteY11" fmla="*/ 187022 h 277901"/>
                  <a:gd name="connsiteX12" fmla="*/ 126044 w 218406"/>
                  <a:gd name="connsiteY12" fmla="*/ 197007 h 277901"/>
                  <a:gd name="connsiteX13" fmla="*/ 90804 w 218406"/>
                  <a:gd name="connsiteY13" fmla="*/ 151306 h 277901"/>
                  <a:gd name="connsiteX14" fmla="*/ 60647 w 218406"/>
                  <a:gd name="connsiteY14" fmla="*/ 102109 h 277901"/>
                  <a:gd name="connsiteX15" fmla="*/ 80605 w 218406"/>
                  <a:gd name="connsiteY15" fmla="*/ 77784 h 277901"/>
                  <a:gd name="connsiteX16" fmla="*/ 83014 w 218406"/>
                  <a:gd name="connsiteY16" fmla="*/ 58697 h 277901"/>
                  <a:gd name="connsiteX17" fmla="*/ 61327 w 218406"/>
                  <a:gd name="connsiteY17" fmla="*/ 8271 h 277901"/>
                  <a:gd name="connsiteX18" fmla="*/ 50686 w 218406"/>
                  <a:gd name="connsiteY18" fmla="*/ 52 h 277901"/>
                  <a:gd name="connsiteX19" fmla="*/ 34008 w 218406"/>
                  <a:gd name="connsiteY19" fmla="*/ 5707 h 2779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218406" h="277901">
                    <a:moveTo>
                      <a:pt x="42908" y="72154"/>
                    </a:moveTo>
                    <a:lnTo>
                      <a:pt x="18249" y="14618"/>
                    </a:lnTo>
                    <a:cubicBezTo>
                      <a:pt x="15649" y="16216"/>
                      <a:pt x="14014" y="17254"/>
                      <a:pt x="14014" y="17254"/>
                    </a:cubicBezTo>
                    <a:cubicBezTo>
                      <a:pt x="-909" y="26297"/>
                      <a:pt x="93" y="36807"/>
                      <a:pt x="93" y="36807"/>
                    </a:cubicBezTo>
                    <a:cubicBezTo>
                      <a:pt x="-2520" y="99436"/>
                      <a:pt x="50853" y="170095"/>
                      <a:pt x="54813" y="176119"/>
                    </a:cubicBezTo>
                    <a:cubicBezTo>
                      <a:pt x="60313" y="183491"/>
                      <a:pt x="106062" y="257024"/>
                      <a:pt x="165507" y="276887"/>
                    </a:cubicBezTo>
                    <a:cubicBezTo>
                      <a:pt x="165507" y="276887"/>
                      <a:pt x="174967" y="281563"/>
                      <a:pt x="188745" y="270839"/>
                    </a:cubicBezTo>
                    <a:lnTo>
                      <a:pt x="193016" y="267594"/>
                    </a:lnTo>
                    <a:cubicBezTo>
                      <a:pt x="198480" y="262596"/>
                      <a:pt x="217149" y="245882"/>
                      <a:pt x="217889" y="242661"/>
                    </a:cubicBezTo>
                    <a:cubicBezTo>
                      <a:pt x="217889" y="242661"/>
                      <a:pt x="220502" y="236518"/>
                      <a:pt x="213988" y="229790"/>
                    </a:cubicBezTo>
                    <a:lnTo>
                      <a:pt x="174597" y="191579"/>
                    </a:lnTo>
                    <a:cubicBezTo>
                      <a:pt x="174597" y="191579"/>
                      <a:pt x="168072" y="183002"/>
                      <a:pt x="155903" y="187022"/>
                    </a:cubicBezTo>
                    <a:lnTo>
                      <a:pt x="126044" y="197007"/>
                    </a:lnTo>
                    <a:cubicBezTo>
                      <a:pt x="126044" y="197007"/>
                      <a:pt x="102853" y="170429"/>
                      <a:pt x="90804" y="151306"/>
                    </a:cubicBezTo>
                    <a:cubicBezTo>
                      <a:pt x="77241" y="133244"/>
                      <a:pt x="60647" y="102109"/>
                      <a:pt x="60647" y="102109"/>
                    </a:cubicBezTo>
                    <a:lnTo>
                      <a:pt x="80605" y="77784"/>
                    </a:lnTo>
                    <a:cubicBezTo>
                      <a:pt x="88693" y="67847"/>
                      <a:pt x="83014" y="58697"/>
                      <a:pt x="83014" y="58697"/>
                    </a:cubicBezTo>
                    <a:lnTo>
                      <a:pt x="61327" y="8271"/>
                    </a:lnTo>
                    <a:cubicBezTo>
                      <a:pt x="57366" y="-199"/>
                      <a:pt x="50686" y="52"/>
                      <a:pt x="50686" y="52"/>
                    </a:cubicBezTo>
                    <a:cubicBezTo>
                      <a:pt x="47345" y="-413"/>
                      <a:pt x="40725" y="2307"/>
                      <a:pt x="34008" y="5707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791" name="Gráfico 9">
            <a:extLst>
              <a:ext uri="{FF2B5EF4-FFF2-40B4-BE49-F238E27FC236}">
                <a16:creationId xmlns:a16="http://schemas.microsoft.com/office/drawing/2014/main" id="{6F93805E-A45E-85D2-9E9C-8A0A2238103A}"/>
              </a:ext>
            </a:extLst>
          </p:cNvPr>
          <p:cNvGrpSpPr/>
          <p:nvPr/>
        </p:nvGrpSpPr>
        <p:grpSpPr>
          <a:xfrm>
            <a:off x="7354065" y="992862"/>
            <a:ext cx="311206" cy="298343"/>
            <a:chOff x="7354065" y="992862"/>
            <a:chExt cx="311206" cy="298343"/>
          </a:xfrm>
          <a:noFill/>
        </p:grpSpPr>
        <p:grpSp>
          <p:nvGrpSpPr>
            <p:cNvPr id="792" name="Gráfico 9">
              <a:extLst>
                <a:ext uri="{FF2B5EF4-FFF2-40B4-BE49-F238E27FC236}">
                  <a16:creationId xmlns:a16="http://schemas.microsoft.com/office/drawing/2014/main" id="{52F6AB9B-8716-4F87-CF81-4BE5F3A016DA}"/>
                </a:ext>
              </a:extLst>
            </p:cNvPr>
            <p:cNvGrpSpPr/>
            <p:nvPr/>
          </p:nvGrpSpPr>
          <p:grpSpPr>
            <a:xfrm>
              <a:off x="7513505" y="1067397"/>
              <a:ext cx="42552" cy="107579"/>
              <a:chOff x="7513505" y="1067397"/>
              <a:chExt cx="42552" cy="107579"/>
            </a:xfrm>
            <a:noFill/>
          </p:grpSpPr>
          <p:sp>
            <p:nvSpPr>
              <p:cNvPr id="793" name="Forma livre: Forma 792">
                <a:extLst>
                  <a:ext uri="{FF2B5EF4-FFF2-40B4-BE49-F238E27FC236}">
                    <a16:creationId xmlns:a16="http://schemas.microsoft.com/office/drawing/2014/main" id="{7C48370E-87A9-66C9-C7AC-4E2761F16B82}"/>
                  </a:ext>
                </a:extLst>
              </p:cNvPr>
              <p:cNvSpPr/>
              <p:nvPr/>
            </p:nvSpPr>
            <p:spPr>
              <a:xfrm>
                <a:off x="7513505" y="1080734"/>
                <a:ext cx="42552" cy="80917"/>
              </a:xfrm>
              <a:custGeom>
                <a:avLst/>
                <a:gdLst>
                  <a:gd name="connsiteX0" fmla="*/ 95 w 42552"/>
                  <a:gd name="connsiteY0" fmla="*/ 61186 h 80917"/>
                  <a:gd name="connsiteX1" fmla="*/ 21318 w 42552"/>
                  <a:gd name="connsiteY1" fmla="*/ 80918 h 80917"/>
                  <a:gd name="connsiteX2" fmla="*/ 42552 w 42552"/>
                  <a:gd name="connsiteY2" fmla="*/ 61186 h 80917"/>
                  <a:gd name="connsiteX3" fmla="*/ 21270 w 42552"/>
                  <a:gd name="connsiteY3" fmla="*/ 40453 h 80917"/>
                  <a:gd name="connsiteX4" fmla="*/ 0 w 42552"/>
                  <a:gd name="connsiteY4" fmla="*/ 19743 h 80917"/>
                  <a:gd name="connsiteX5" fmla="*/ 21223 w 42552"/>
                  <a:gd name="connsiteY5" fmla="*/ 0 h 80917"/>
                  <a:gd name="connsiteX6" fmla="*/ 42445 w 42552"/>
                  <a:gd name="connsiteY6" fmla="*/ 19743 h 809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2552" h="80917">
                    <a:moveTo>
                      <a:pt x="95" y="61186"/>
                    </a:moveTo>
                    <a:cubicBezTo>
                      <a:pt x="95" y="72090"/>
                      <a:pt x="9591" y="80918"/>
                      <a:pt x="21318" y="80918"/>
                    </a:cubicBezTo>
                    <a:cubicBezTo>
                      <a:pt x="33045" y="80918"/>
                      <a:pt x="42552" y="72090"/>
                      <a:pt x="42552" y="61186"/>
                    </a:cubicBezTo>
                    <a:cubicBezTo>
                      <a:pt x="42552" y="50283"/>
                      <a:pt x="31219" y="45511"/>
                      <a:pt x="21270" y="40453"/>
                    </a:cubicBezTo>
                    <a:cubicBezTo>
                      <a:pt x="11321" y="35419"/>
                      <a:pt x="0" y="30635"/>
                      <a:pt x="0" y="19743"/>
                    </a:cubicBezTo>
                    <a:cubicBezTo>
                      <a:pt x="0" y="8852"/>
                      <a:pt x="9496" y="0"/>
                      <a:pt x="21223" y="0"/>
                    </a:cubicBezTo>
                    <a:cubicBezTo>
                      <a:pt x="32949" y="0"/>
                      <a:pt x="42445" y="8840"/>
                      <a:pt x="42445" y="19743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94" name="Forma livre: Forma 793">
                <a:extLst>
                  <a:ext uri="{FF2B5EF4-FFF2-40B4-BE49-F238E27FC236}">
                    <a16:creationId xmlns:a16="http://schemas.microsoft.com/office/drawing/2014/main" id="{2ED8CB3A-7AC4-99C1-DFC9-87E17E747A1F}"/>
                  </a:ext>
                </a:extLst>
              </p:cNvPr>
              <p:cNvSpPr/>
              <p:nvPr/>
            </p:nvSpPr>
            <p:spPr>
              <a:xfrm>
                <a:off x="7534728" y="1067397"/>
                <a:ext cx="1192" cy="13241"/>
              </a:xfrm>
              <a:custGeom>
                <a:avLst/>
                <a:gdLst>
                  <a:gd name="connsiteX0" fmla="*/ 0 w 1192"/>
                  <a:gd name="connsiteY0" fmla="*/ 13242 h 13241"/>
                  <a:gd name="connsiteX1" fmla="*/ 0 w 1192"/>
                  <a:gd name="connsiteY1" fmla="*/ 0 h 132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2" h="13241">
                    <a:moveTo>
                      <a:pt x="0" y="13242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95" name="Forma livre: Forma 794">
                <a:extLst>
                  <a:ext uri="{FF2B5EF4-FFF2-40B4-BE49-F238E27FC236}">
                    <a16:creationId xmlns:a16="http://schemas.microsoft.com/office/drawing/2014/main" id="{88009592-7E57-A5EA-F003-6FCD00CDDC36}"/>
                  </a:ext>
                </a:extLst>
              </p:cNvPr>
              <p:cNvSpPr/>
              <p:nvPr/>
            </p:nvSpPr>
            <p:spPr>
              <a:xfrm>
                <a:off x="7534728" y="1161747"/>
                <a:ext cx="1192" cy="13229"/>
              </a:xfrm>
              <a:custGeom>
                <a:avLst/>
                <a:gdLst>
                  <a:gd name="connsiteX0" fmla="*/ 0 w 1192"/>
                  <a:gd name="connsiteY0" fmla="*/ 13230 h 13229"/>
                  <a:gd name="connsiteX1" fmla="*/ 0 w 1192"/>
                  <a:gd name="connsiteY1" fmla="*/ 0 h 132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2" h="13229">
                    <a:moveTo>
                      <a:pt x="0" y="13230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796" name="Gráfico 9">
              <a:extLst>
                <a:ext uri="{FF2B5EF4-FFF2-40B4-BE49-F238E27FC236}">
                  <a16:creationId xmlns:a16="http://schemas.microsoft.com/office/drawing/2014/main" id="{2761F9EA-5CC9-777D-3EB7-DD9E5E684019}"/>
                </a:ext>
              </a:extLst>
            </p:cNvPr>
            <p:cNvGrpSpPr/>
            <p:nvPr/>
          </p:nvGrpSpPr>
          <p:grpSpPr>
            <a:xfrm>
              <a:off x="7354065" y="992862"/>
              <a:ext cx="311206" cy="298343"/>
              <a:chOff x="7354065" y="992862"/>
              <a:chExt cx="311206" cy="298343"/>
            </a:xfrm>
            <a:noFill/>
          </p:grpSpPr>
          <p:grpSp>
            <p:nvGrpSpPr>
              <p:cNvPr id="797" name="Gráfico 9">
                <a:extLst>
                  <a:ext uri="{FF2B5EF4-FFF2-40B4-BE49-F238E27FC236}">
                    <a16:creationId xmlns:a16="http://schemas.microsoft.com/office/drawing/2014/main" id="{2A58F04D-224B-6016-6A3D-4C6641DC81A1}"/>
                  </a:ext>
                </a:extLst>
              </p:cNvPr>
              <p:cNvGrpSpPr/>
              <p:nvPr/>
            </p:nvGrpSpPr>
            <p:grpSpPr>
              <a:xfrm>
                <a:off x="7354065" y="992862"/>
                <a:ext cx="292310" cy="298343"/>
                <a:chOff x="7354065" y="992862"/>
                <a:chExt cx="292310" cy="298343"/>
              </a:xfrm>
              <a:noFill/>
            </p:grpSpPr>
            <p:grpSp>
              <p:nvGrpSpPr>
                <p:cNvPr id="798" name="Gráfico 9">
                  <a:extLst>
                    <a:ext uri="{FF2B5EF4-FFF2-40B4-BE49-F238E27FC236}">
                      <a16:creationId xmlns:a16="http://schemas.microsoft.com/office/drawing/2014/main" id="{092EC97D-3D3B-8623-FE31-5AAC8D3C2E05}"/>
                    </a:ext>
                  </a:extLst>
                </p:cNvPr>
                <p:cNvGrpSpPr/>
                <p:nvPr/>
              </p:nvGrpSpPr>
              <p:grpSpPr>
                <a:xfrm>
                  <a:off x="7470190" y="1044946"/>
                  <a:ext cx="176186" cy="246259"/>
                  <a:chOff x="7470190" y="1044946"/>
                  <a:chExt cx="176186" cy="246259"/>
                </a:xfrm>
                <a:noFill/>
              </p:grpSpPr>
              <p:sp>
                <p:nvSpPr>
                  <p:cNvPr id="799" name="Forma livre: Forma 798">
                    <a:extLst>
                      <a:ext uri="{FF2B5EF4-FFF2-40B4-BE49-F238E27FC236}">
                        <a16:creationId xmlns:a16="http://schemas.microsoft.com/office/drawing/2014/main" id="{0EA19E81-F8D1-4819-0429-FDA12996F84E}"/>
                      </a:ext>
                    </a:extLst>
                  </p:cNvPr>
                  <p:cNvSpPr/>
                  <p:nvPr/>
                </p:nvSpPr>
                <p:spPr>
                  <a:xfrm>
                    <a:off x="7535623" y="1224866"/>
                    <a:ext cx="1192" cy="66339"/>
                  </a:xfrm>
                  <a:custGeom>
                    <a:avLst/>
                    <a:gdLst>
                      <a:gd name="connsiteX0" fmla="*/ 0 w 1192"/>
                      <a:gd name="connsiteY0" fmla="*/ 0 h 66339"/>
                      <a:gd name="connsiteX1" fmla="*/ 0 w 1192"/>
                      <a:gd name="connsiteY1" fmla="*/ 66340 h 6633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192" h="66339">
                        <a:moveTo>
                          <a:pt x="0" y="0"/>
                        </a:moveTo>
                        <a:lnTo>
                          <a:pt x="0" y="66340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800" name="Forma livre: Forma 799">
                    <a:extLst>
                      <a:ext uri="{FF2B5EF4-FFF2-40B4-BE49-F238E27FC236}">
                        <a16:creationId xmlns:a16="http://schemas.microsoft.com/office/drawing/2014/main" id="{6FB0C584-4258-6AF1-E6C8-34C84554EE2D}"/>
                      </a:ext>
                    </a:extLst>
                  </p:cNvPr>
                  <p:cNvSpPr/>
                  <p:nvPr/>
                </p:nvSpPr>
                <p:spPr>
                  <a:xfrm>
                    <a:off x="7488096" y="1249918"/>
                    <a:ext cx="47288" cy="41287"/>
                  </a:xfrm>
                  <a:custGeom>
                    <a:avLst/>
                    <a:gdLst>
                      <a:gd name="connsiteX0" fmla="*/ 47288 w 47288"/>
                      <a:gd name="connsiteY0" fmla="*/ 0 h 41287"/>
                      <a:gd name="connsiteX1" fmla="*/ 0 w 47288"/>
                      <a:gd name="connsiteY1" fmla="*/ 41288 h 41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47288" h="41287">
                        <a:moveTo>
                          <a:pt x="47288" y="0"/>
                        </a:moveTo>
                        <a:lnTo>
                          <a:pt x="0" y="41288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801" name="Forma livre: Forma 800">
                    <a:extLst>
                      <a:ext uri="{FF2B5EF4-FFF2-40B4-BE49-F238E27FC236}">
                        <a16:creationId xmlns:a16="http://schemas.microsoft.com/office/drawing/2014/main" id="{FCF3C911-4403-483C-755F-7ECDA570EAE6}"/>
                      </a:ext>
                    </a:extLst>
                  </p:cNvPr>
                  <p:cNvSpPr/>
                  <p:nvPr/>
                </p:nvSpPr>
                <p:spPr>
                  <a:xfrm>
                    <a:off x="7536100" y="1249918"/>
                    <a:ext cx="47359" cy="41287"/>
                  </a:xfrm>
                  <a:custGeom>
                    <a:avLst/>
                    <a:gdLst>
                      <a:gd name="connsiteX0" fmla="*/ 47360 w 47359"/>
                      <a:gd name="connsiteY0" fmla="*/ 41288 h 41287"/>
                      <a:gd name="connsiteX1" fmla="*/ 0 w 47359"/>
                      <a:gd name="connsiteY1" fmla="*/ 0 h 41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47359" h="41287">
                        <a:moveTo>
                          <a:pt x="47360" y="41288"/>
                        </a:moveTo>
                        <a:lnTo>
                          <a:pt x="0" y="0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802" name="Forma livre: Forma 801">
                    <a:extLst>
                      <a:ext uri="{FF2B5EF4-FFF2-40B4-BE49-F238E27FC236}">
                        <a16:creationId xmlns:a16="http://schemas.microsoft.com/office/drawing/2014/main" id="{60F4245A-D3C2-90AF-F8B4-54F4EDA9D52F}"/>
                      </a:ext>
                    </a:extLst>
                  </p:cNvPr>
                  <p:cNvSpPr/>
                  <p:nvPr/>
                </p:nvSpPr>
                <p:spPr>
                  <a:xfrm>
                    <a:off x="7470190" y="1044946"/>
                    <a:ext cx="176186" cy="155727"/>
                  </a:xfrm>
                  <a:custGeom>
                    <a:avLst/>
                    <a:gdLst>
                      <a:gd name="connsiteX0" fmla="*/ 0 w 176186"/>
                      <a:gd name="connsiteY0" fmla="*/ 155727 h 155727"/>
                      <a:gd name="connsiteX1" fmla="*/ 152482 w 176186"/>
                      <a:gd name="connsiteY1" fmla="*/ 155727 h 155727"/>
                      <a:gd name="connsiteX2" fmla="*/ 176186 w 176186"/>
                      <a:gd name="connsiteY2" fmla="*/ 132011 h 155727"/>
                      <a:gd name="connsiteX3" fmla="*/ 176186 w 176186"/>
                      <a:gd name="connsiteY3" fmla="*/ 0 h 15572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176186" h="155727">
                        <a:moveTo>
                          <a:pt x="0" y="155727"/>
                        </a:moveTo>
                        <a:lnTo>
                          <a:pt x="152482" y="155727"/>
                        </a:lnTo>
                        <a:cubicBezTo>
                          <a:pt x="165521" y="155727"/>
                          <a:pt x="176186" y="145050"/>
                          <a:pt x="176186" y="132011"/>
                        </a:cubicBezTo>
                        <a:lnTo>
                          <a:pt x="176186" y="0"/>
                        </a:lnTo>
                      </a:path>
                    </a:pathLst>
                  </a:custGeom>
                  <a:noFill/>
                  <a:ln w="6350" cap="rnd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  <p:grpSp>
              <p:nvGrpSpPr>
                <p:cNvPr id="803" name="Gráfico 9">
                  <a:extLst>
                    <a:ext uri="{FF2B5EF4-FFF2-40B4-BE49-F238E27FC236}">
                      <a16:creationId xmlns:a16="http://schemas.microsoft.com/office/drawing/2014/main" id="{2DF6A3A4-A5BE-7580-5142-0C364D8BDA6D}"/>
                    </a:ext>
                  </a:extLst>
                </p:cNvPr>
                <p:cNvGrpSpPr/>
                <p:nvPr/>
              </p:nvGrpSpPr>
              <p:grpSpPr>
                <a:xfrm>
                  <a:off x="7354065" y="992862"/>
                  <a:ext cx="102182" cy="298343"/>
                  <a:chOff x="7354065" y="992862"/>
                  <a:chExt cx="102182" cy="298343"/>
                </a:xfrm>
                <a:noFill/>
              </p:grpSpPr>
              <p:sp>
                <p:nvSpPr>
                  <p:cNvPr id="804" name="Forma livre: Forma 803">
                    <a:extLst>
                      <a:ext uri="{FF2B5EF4-FFF2-40B4-BE49-F238E27FC236}">
                        <a16:creationId xmlns:a16="http://schemas.microsoft.com/office/drawing/2014/main" id="{8F982B93-AC3B-F234-FC1F-643E6EA9E510}"/>
                      </a:ext>
                    </a:extLst>
                  </p:cNvPr>
                  <p:cNvSpPr/>
                  <p:nvPr/>
                </p:nvSpPr>
                <p:spPr>
                  <a:xfrm>
                    <a:off x="7379096" y="992862"/>
                    <a:ext cx="52119" cy="52119"/>
                  </a:xfrm>
                  <a:custGeom>
                    <a:avLst/>
                    <a:gdLst>
                      <a:gd name="connsiteX0" fmla="*/ 26066 w 52119"/>
                      <a:gd name="connsiteY0" fmla="*/ 0 h 52119"/>
                      <a:gd name="connsiteX1" fmla="*/ 52120 w 52119"/>
                      <a:gd name="connsiteY1" fmla="*/ 26054 h 52119"/>
                      <a:gd name="connsiteX2" fmla="*/ 26066 w 52119"/>
                      <a:gd name="connsiteY2" fmla="*/ 52120 h 52119"/>
                      <a:gd name="connsiteX3" fmla="*/ 0 w 52119"/>
                      <a:gd name="connsiteY3" fmla="*/ 26054 h 52119"/>
                      <a:gd name="connsiteX4" fmla="*/ 26066 w 52119"/>
                      <a:gd name="connsiteY4" fmla="*/ 0 h 5211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52119" h="52119">
                        <a:moveTo>
                          <a:pt x="26066" y="0"/>
                        </a:moveTo>
                        <a:cubicBezTo>
                          <a:pt x="40453" y="0"/>
                          <a:pt x="52120" y="11667"/>
                          <a:pt x="52120" y="26054"/>
                        </a:cubicBezTo>
                        <a:cubicBezTo>
                          <a:pt x="52120" y="40441"/>
                          <a:pt x="40453" y="52120"/>
                          <a:pt x="26066" y="52120"/>
                        </a:cubicBezTo>
                        <a:cubicBezTo>
                          <a:pt x="11679" y="52120"/>
                          <a:pt x="0" y="40453"/>
                          <a:pt x="0" y="26054"/>
                        </a:cubicBezTo>
                        <a:cubicBezTo>
                          <a:pt x="0" y="11655"/>
                          <a:pt x="11679" y="0"/>
                          <a:pt x="26066" y="0"/>
                        </a:cubicBezTo>
                        <a:close/>
                      </a:path>
                    </a:pathLst>
                  </a:custGeom>
                  <a:noFill/>
                  <a:ln w="6350" cap="flat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805" name="Forma livre: Forma 804">
                    <a:extLst>
                      <a:ext uri="{FF2B5EF4-FFF2-40B4-BE49-F238E27FC236}">
                        <a16:creationId xmlns:a16="http://schemas.microsoft.com/office/drawing/2014/main" id="{0EC7CDBF-6DB3-10A3-EAA8-82994135443B}"/>
                      </a:ext>
                    </a:extLst>
                  </p:cNvPr>
                  <p:cNvSpPr/>
                  <p:nvPr/>
                </p:nvSpPr>
                <p:spPr>
                  <a:xfrm>
                    <a:off x="7354065" y="1070344"/>
                    <a:ext cx="102182" cy="220862"/>
                  </a:xfrm>
                  <a:custGeom>
                    <a:avLst/>
                    <a:gdLst>
                      <a:gd name="connsiteX0" fmla="*/ 79656 w 102182"/>
                      <a:gd name="connsiteY0" fmla="*/ 220862 h 220862"/>
                      <a:gd name="connsiteX1" fmla="*/ 82126 w 102182"/>
                      <a:gd name="connsiteY1" fmla="*/ 117422 h 220862"/>
                      <a:gd name="connsiteX2" fmla="*/ 102119 w 102182"/>
                      <a:gd name="connsiteY2" fmla="*/ 95913 h 220862"/>
                      <a:gd name="connsiteX3" fmla="*/ 94294 w 102182"/>
                      <a:gd name="connsiteY3" fmla="*/ 18300 h 220862"/>
                      <a:gd name="connsiteX4" fmla="*/ 74061 w 102182"/>
                      <a:gd name="connsiteY4" fmla="*/ 0 h 220862"/>
                      <a:gd name="connsiteX5" fmla="*/ 28121 w 102182"/>
                      <a:gd name="connsiteY5" fmla="*/ 0 h 220862"/>
                      <a:gd name="connsiteX6" fmla="*/ 7889 w 102182"/>
                      <a:gd name="connsiteY6" fmla="*/ 18300 h 220862"/>
                      <a:gd name="connsiteX7" fmla="*/ 63 w 102182"/>
                      <a:gd name="connsiteY7" fmla="*/ 95913 h 220862"/>
                      <a:gd name="connsiteX8" fmla="*/ 20069 w 102182"/>
                      <a:gd name="connsiteY8" fmla="*/ 117422 h 220862"/>
                      <a:gd name="connsiteX9" fmla="*/ 22538 w 102182"/>
                      <a:gd name="connsiteY9" fmla="*/ 220862 h 22086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</a:cxnLst>
                    <a:rect l="l" t="t" r="r" b="b"/>
                    <a:pathLst>
                      <a:path w="102182" h="220862">
                        <a:moveTo>
                          <a:pt x="79656" y="220862"/>
                        </a:moveTo>
                        <a:lnTo>
                          <a:pt x="82126" y="117422"/>
                        </a:lnTo>
                        <a:cubicBezTo>
                          <a:pt x="91705" y="113974"/>
                          <a:pt x="103133" y="105981"/>
                          <a:pt x="102119" y="95913"/>
                        </a:cubicBezTo>
                        <a:lnTo>
                          <a:pt x="94294" y="18300"/>
                        </a:lnTo>
                        <a:cubicBezTo>
                          <a:pt x="93292" y="8243"/>
                          <a:pt x="84178" y="0"/>
                          <a:pt x="74061" y="0"/>
                        </a:cubicBezTo>
                        <a:lnTo>
                          <a:pt x="28121" y="0"/>
                        </a:lnTo>
                        <a:cubicBezTo>
                          <a:pt x="18017" y="0"/>
                          <a:pt x="8891" y="8243"/>
                          <a:pt x="7889" y="18300"/>
                        </a:cubicBezTo>
                        <a:lnTo>
                          <a:pt x="63" y="95913"/>
                        </a:lnTo>
                        <a:cubicBezTo>
                          <a:pt x="-951" y="105981"/>
                          <a:pt x="10489" y="113974"/>
                          <a:pt x="20069" y="117422"/>
                        </a:cubicBezTo>
                        <a:lnTo>
                          <a:pt x="22538" y="220862"/>
                        </a:lnTo>
                      </a:path>
                    </a:pathLst>
                  </a:custGeom>
                  <a:noFill/>
                  <a:ln w="6350" cap="rnd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</p:grpSp>
          <p:sp>
            <p:nvSpPr>
              <p:cNvPr id="806" name="Forma livre: Forma 805">
                <a:extLst>
                  <a:ext uri="{FF2B5EF4-FFF2-40B4-BE49-F238E27FC236}">
                    <a16:creationId xmlns:a16="http://schemas.microsoft.com/office/drawing/2014/main" id="{99832961-95C5-E7F3-B5E3-2EE60F4B7AEA}"/>
                  </a:ext>
                </a:extLst>
              </p:cNvPr>
              <p:cNvSpPr/>
              <p:nvPr/>
            </p:nvSpPr>
            <p:spPr>
              <a:xfrm>
                <a:off x="7456268" y="1017556"/>
                <a:ext cx="209004" cy="24252"/>
              </a:xfrm>
              <a:custGeom>
                <a:avLst/>
                <a:gdLst>
                  <a:gd name="connsiteX0" fmla="*/ 0 w 209004"/>
                  <a:gd name="connsiteY0" fmla="*/ 0 h 24252"/>
                  <a:gd name="connsiteX1" fmla="*/ 209004 w 209004"/>
                  <a:gd name="connsiteY1" fmla="*/ 0 h 24252"/>
                  <a:gd name="connsiteX2" fmla="*/ 209004 w 209004"/>
                  <a:gd name="connsiteY2" fmla="*/ 24253 h 24252"/>
                  <a:gd name="connsiteX3" fmla="*/ 65230 w 209004"/>
                  <a:gd name="connsiteY3" fmla="*/ 24253 h 242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09004" h="24252">
                    <a:moveTo>
                      <a:pt x="0" y="0"/>
                    </a:moveTo>
                    <a:lnTo>
                      <a:pt x="209004" y="0"/>
                    </a:lnTo>
                    <a:lnTo>
                      <a:pt x="209004" y="24253"/>
                    </a:lnTo>
                    <a:lnTo>
                      <a:pt x="65230" y="24253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807" name="Forma livre: Forma 806">
                <a:extLst>
                  <a:ext uri="{FF2B5EF4-FFF2-40B4-BE49-F238E27FC236}">
                    <a16:creationId xmlns:a16="http://schemas.microsoft.com/office/drawing/2014/main" id="{DA98577F-B935-27DD-7217-6FF7BC3C4C62}"/>
                  </a:ext>
                </a:extLst>
              </p:cNvPr>
              <p:cNvSpPr/>
              <p:nvPr/>
            </p:nvSpPr>
            <p:spPr>
              <a:xfrm>
                <a:off x="7456268" y="1041808"/>
                <a:ext cx="35001" cy="1192"/>
              </a:xfrm>
              <a:custGeom>
                <a:avLst/>
                <a:gdLst>
                  <a:gd name="connsiteX0" fmla="*/ 35001 w 35001"/>
                  <a:gd name="connsiteY0" fmla="*/ 0 h 1192"/>
                  <a:gd name="connsiteX1" fmla="*/ 0 w 35001"/>
                  <a:gd name="connsiteY1" fmla="*/ 0 h 11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5001" h="1192">
                    <a:moveTo>
                      <a:pt x="35001" y="0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808" name="Gráfico 9">
            <a:extLst>
              <a:ext uri="{FF2B5EF4-FFF2-40B4-BE49-F238E27FC236}">
                <a16:creationId xmlns:a16="http://schemas.microsoft.com/office/drawing/2014/main" id="{9A28E6AE-62A7-CA6D-2E09-65213B991DFA}"/>
              </a:ext>
            </a:extLst>
          </p:cNvPr>
          <p:cNvGrpSpPr/>
          <p:nvPr/>
        </p:nvGrpSpPr>
        <p:grpSpPr>
          <a:xfrm>
            <a:off x="6126718" y="987040"/>
            <a:ext cx="298749" cy="309975"/>
            <a:chOff x="6126718" y="987040"/>
            <a:chExt cx="298749" cy="309975"/>
          </a:xfrm>
          <a:noFill/>
        </p:grpSpPr>
        <p:grpSp>
          <p:nvGrpSpPr>
            <p:cNvPr id="809" name="Gráfico 9">
              <a:extLst>
                <a:ext uri="{FF2B5EF4-FFF2-40B4-BE49-F238E27FC236}">
                  <a16:creationId xmlns:a16="http://schemas.microsoft.com/office/drawing/2014/main" id="{D9FC2065-558E-C9C2-3A7D-CE94EC386544}"/>
                </a:ext>
              </a:extLst>
            </p:cNvPr>
            <p:cNvGrpSpPr/>
            <p:nvPr/>
          </p:nvGrpSpPr>
          <p:grpSpPr>
            <a:xfrm>
              <a:off x="6142250" y="994377"/>
              <a:ext cx="267685" cy="295612"/>
              <a:chOff x="6142250" y="994377"/>
              <a:chExt cx="267685" cy="295612"/>
            </a:xfrm>
            <a:noFill/>
          </p:grpSpPr>
          <p:grpSp>
            <p:nvGrpSpPr>
              <p:cNvPr id="810" name="Gráfico 9">
                <a:extLst>
                  <a:ext uri="{FF2B5EF4-FFF2-40B4-BE49-F238E27FC236}">
                    <a16:creationId xmlns:a16="http://schemas.microsoft.com/office/drawing/2014/main" id="{9B1CC230-FFBE-0BA5-D129-9D2A63141AD3}"/>
                  </a:ext>
                </a:extLst>
              </p:cNvPr>
              <p:cNvGrpSpPr/>
              <p:nvPr/>
            </p:nvGrpSpPr>
            <p:grpSpPr>
              <a:xfrm>
                <a:off x="6340756" y="994377"/>
                <a:ext cx="69178" cy="81991"/>
                <a:chOff x="6340756" y="994377"/>
                <a:chExt cx="69178" cy="81991"/>
              </a:xfrm>
              <a:noFill/>
            </p:grpSpPr>
            <p:grpSp>
              <p:nvGrpSpPr>
                <p:cNvPr id="811" name="Gráfico 9">
                  <a:extLst>
                    <a:ext uri="{FF2B5EF4-FFF2-40B4-BE49-F238E27FC236}">
                      <a16:creationId xmlns:a16="http://schemas.microsoft.com/office/drawing/2014/main" id="{7B50CC62-4C74-1F90-65A2-11F7C9AA6D9B}"/>
                    </a:ext>
                  </a:extLst>
                </p:cNvPr>
                <p:cNvGrpSpPr/>
                <p:nvPr/>
              </p:nvGrpSpPr>
              <p:grpSpPr>
                <a:xfrm>
                  <a:off x="6351851" y="1047427"/>
                  <a:ext cx="58084" cy="28940"/>
                  <a:chOff x="6351851" y="1047427"/>
                  <a:chExt cx="58084" cy="28940"/>
                </a:xfrm>
              </p:grpSpPr>
              <p:sp>
                <p:nvSpPr>
                  <p:cNvPr id="812" name="Forma livre: Forma 811">
                    <a:extLst>
                      <a:ext uri="{FF2B5EF4-FFF2-40B4-BE49-F238E27FC236}">
                        <a16:creationId xmlns:a16="http://schemas.microsoft.com/office/drawing/2014/main" id="{5740F68C-C4EF-047B-0032-97FA17AC710C}"/>
                      </a:ext>
                    </a:extLst>
                  </p:cNvPr>
                  <p:cNvSpPr/>
                  <p:nvPr/>
                </p:nvSpPr>
                <p:spPr>
                  <a:xfrm>
                    <a:off x="6381006" y="1047427"/>
                    <a:ext cx="28928" cy="28917"/>
                  </a:xfrm>
                  <a:custGeom>
                    <a:avLst/>
                    <a:gdLst>
                      <a:gd name="connsiteX0" fmla="*/ 28929 w 28928"/>
                      <a:gd name="connsiteY0" fmla="*/ 0 h 28917"/>
                      <a:gd name="connsiteX1" fmla="*/ 0 w 28928"/>
                      <a:gd name="connsiteY1" fmla="*/ 28917 h 2891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28928" h="28917">
                        <a:moveTo>
                          <a:pt x="28929" y="0"/>
                        </a:moveTo>
                        <a:lnTo>
                          <a:pt x="0" y="28917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813" name="Forma livre: Forma 812">
                    <a:extLst>
                      <a:ext uri="{FF2B5EF4-FFF2-40B4-BE49-F238E27FC236}">
                        <a16:creationId xmlns:a16="http://schemas.microsoft.com/office/drawing/2014/main" id="{ED214BCB-994C-2ABB-4E75-6A5FC1B8B695}"/>
                      </a:ext>
                    </a:extLst>
                  </p:cNvPr>
                  <p:cNvSpPr/>
                  <p:nvPr/>
                </p:nvSpPr>
                <p:spPr>
                  <a:xfrm>
                    <a:off x="6351851" y="1047451"/>
                    <a:ext cx="28917" cy="28917"/>
                  </a:xfrm>
                  <a:custGeom>
                    <a:avLst/>
                    <a:gdLst>
                      <a:gd name="connsiteX0" fmla="*/ 28917 w 28917"/>
                      <a:gd name="connsiteY0" fmla="*/ 28917 h 28917"/>
                      <a:gd name="connsiteX1" fmla="*/ 0 w 28917"/>
                      <a:gd name="connsiteY1" fmla="*/ 0 h 2891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28917" h="28917">
                        <a:moveTo>
                          <a:pt x="28917" y="28917"/>
                        </a:moveTo>
                        <a:lnTo>
                          <a:pt x="0" y="0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  <p:sp>
              <p:nvSpPr>
                <p:cNvPr id="814" name="Forma livre: Forma 813">
                  <a:extLst>
                    <a:ext uri="{FF2B5EF4-FFF2-40B4-BE49-F238E27FC236}">
                      <a16:creationId xmlns:a16="http://schemas.microsoft.com/office/drawing/2014/main" id="{CC8F2C22-12F1-F143-6926-15263B575CBC}"/>
                    </a:ext>
                  </a:extLst>
                </p:cNvPr>
                <p:cNvSpPr/>
                <p:nvPr/>
              </p:nvSpPr>
              <p:spPr>
                <a:xfrm>
                  <a:off x="6340756" y="994377"/>
                  <a:ext cx="40679" cy="77517"/>
                </a:xfrm>
                <a:custGeom>
                  <a:avLst/>
                  <a:gdLst>
                    <a:gd name="connsiteX0" fmla="*/ 0 w 40679"/>
                    <a:gd name="connsiteY0" fmla="*/ 0 h 77517"/>
                    <a:gd name="connsiteX1" fmla="*/ 40679 w 40679"/>
                    <a:gd name="connsiteY1" fmla="*/ 77518 h 7751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0679" h="77517">
                      <a:moveTo>
                        <a:pt x="0" y="0"/>
                      </a:moveTo>
                      <a:cubicBezTo>
                        <a:pt x="37578" y="15127"/>
                        <a:pt x="40679" y="44390"/>
                        <a:pt x="40679" y="77518"/>
                      </a:cubicBez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815" name="Gráfico 9">
                <a:extLst>
                  <a:ext uri="{FF2B5EF4-FFF2-40B4-BE49-F238E27FC236}">
                    <a16:creationId xmlns:a16="http://schemas.microsoft.com/office/drawing/2014/main" id="{56C20F20-47A2-2E11-B3C8-D868711BFAE6}"/>
                  </a:ext>
                </a:extLst>
              </p:cNvPr>
              <p:cNvGrpSpPr/>
              <p:nvPr/>
            </p:nvGrpSpPr>
            <p:grpSpPr>
              <a:xfrm>
                <a:off x="6142250" y="1207998"/>
                <a:ext cx="69190" cy="81991"/>
                <a:chOff x="6142250" y="1207998"/>
                <a:chExt cx="69190" cy="81991"/>
              </a:xfrm>
              <a:noFill/>
            </p:grpSpPr>
            <p:grpSp>
              <p:nvGrpSpPr>
                <p:cNvPr id="816" name="Gráfico 9">
                  <a:extLst>
                    <a:ext uri="{FF2B5EF4-FFF2-40B4-BE49-F238E27FC236}">
                      <a16:creationId xmlns:a16="http://schemas.microsoft.com/office/drawing/2014/main" id="{6858949C-5ED3-7963-BC3D-33BBBF61CB4C}"/>
                    </a:ext>
                  </a:extLst>
                </p:cNvPr>
                <p:cNvGrpSpPr/>
                <p:nvPr/>
              </p:nvGrpSpPr>
              <p:grpSpPr>
                <a:xfrm>
                  <a:off x="6142250" y="1207998"/>
                  <a:ext cx="58096" cy="28940"/>
                  <a:chOff x="6142250" y="1207998"/>
                  <a:chExt cx="58096" cy="28940"/>
                </a:xfrm>
              </p:grpSpPr>
              <p:sp>
                <p:nvSpPr>
                  <p:cNvPr id="817" name="Forma livre: Forma 816">
                    <a:extLst>
                      <a:ext uri="{FF2B5EF4-FFF2-40B4-BE49-F238E27FC236}">
                        <a16:creationId xmlns:a16="http://schemas.microsoft.com/office/drawing/2014/main" id="{9B4DA5FF-F1EB-1EA7-AE60-F004AC4B415E}"/>
                      </a:ext>
                    </a:extLst>
                  </p:cNvPr>
                  <p:cNvSpPr/>
                  <p:nvPr/>
                </p:nvSpPr>
                <p:spPr>
                  <a:xfrm>
                    <a:off x="6142250" y="1208022"/>
                    <a:ext cx="28940" cy="28917"/>
                  </a:xfrm>
                  <a:custGeom>
                    <a:avLst/>
                    <a:gdLst>
                      <a:gd name="connsiteX0" fmla="*/ 0 w 28940"/>
                      <a:gd name="connsiteY0" fmla="*/ 28917 h 28917"/>
                      <a:gd name="connsiteX1" fmla="*/ 28941 w 28940"/>
                      <a:gd name="connsiteY1" fmla="*/ 0 h 2891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28940" h="28917">
                        <a:moveTo>
                          <a:pt x="0" y="28917"/>
                        </a:moveTo>
                        <a:lnTo>
                          <a:pt x="28941" y="0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818" name="Forma livre: Forma 817">
                    <a:extLst>
                      <a:ext uri="{FF2B5EF4-FFF2-40B4-BE49-F238E27FC236}">
                        <a16:creationId xmlns:a16="http://schemas.microsoft.com/office/drawing/2014/main" id="{980980BE-8DA1-8575-CD7F-F44C559961D9}"/>
                      </a:ext>
                    </a:extLst>
                  </p:cNvPr>
                  <p:cNvSpPr/>
                  <p:nvPr/>
                </p:nvSpPr>
                <p:spPr>
                  <a:xfrm>
                    <a:off x="6171418" y="1207998"/>
                    <a:ext cx="28928" cy="28917"/>
                  </a:xfrm>
                  <a:custGeom>
                    <a:avLst/>
                    <a:gdLst>
                      <a:gd name="connsiteX0" fmla="*/ 0 w 28928"/>
                      <a:gd name="connsiteY0" fmla="*/ 0 h 28917"/>
                      <a:gd name="connsiteX1" fmla="*/ 28929 w 28928"/>
                      <a:gd name="connsiteY1" fmla="*/ 28917 h 2891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28928" h="28917">
                        <a:moveTo>
                          <a:pt x="0" y="0"/>
                        </a:moveTo>
                        <a:lnTo>
                          <a:pt x="28929" y="28917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  <p:sp>
              <p:nvSpPr>
                <p:cNvPr id="819" name="Forma livre: Forma 818">
                  <a:extLst>
                    <a:ext uri="{FF2B5EF4-FFF2-40B4-BE49-F238E27FC236}">
                      <a16:creationId xmlns:a16="http://schemas.microsoft.com/office/drawing/2014/main" id="{53D3D1C8-013E-F28B-52A5-18D9459BBAEF}"/>
                    </a:ext>
                  </a:extLst>
                </p:cNvPr>
                <p:cNvSpPr/>
                <p:nvPr/>
              </p:nvSpPr>
              <p:spPr>
                <a:xfrm>
                  <a:off x="6170761" y="1212471"/>
                  <a:ext cx="40679" cy="77517"/>
                </a:xfrm>
                <a:custGeom>
                  <a:avLst/>
                  <a:gdLst>
                    <a:gd name="connsiteX0" fmla="*/ 40679 w 40679"/>
                    <a:gd name="connsiteY0" fmla="*/ 77518 h 77517"/>
                    <a:gd name="connsiteX1" fmla="*/ 0 w 40679"/>
                    <a:gd name="connsiteY1" fmla="*/ 0 h 7751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0679" h="77517">
                      <a:moveTo>
                        <a:pt x="40679" y="77518"/>
                      </a:moveTo>
                      <a:cubicBezTo>
                        <a:pt x="3102" y="62379"/>
                        <a:pt x="0" y="33116"/>
                        <a:pt x="0" y="0"/>
                      </a:cubicBez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grpSp>
          <p:nvGrpSpPr>
            <p:cNvPr id="820" name="Gráfico 9">
              <a:extLst>
                <a:ext uri="{FF2B5EF4-FFF2-40B4-BE49-F238E27FC236}">
                  <a16:creationId xmlns:a16="http://schemas.microsoft.com/office/drawing/2014/main" id="{F713BE69-1327-D099-443D-EE0A3BBCC544}"/>
                </a:ext>
              </a:extLst>
            </p:cNvPr>
            <p:cNvGrpSpPr/>
            <p:nvPr/>
          </p:nvGrpSpPr>
          <p:grpSpPr>
            <a:xfrm>
              <a:off x="6126718" y="992814"/>
              <a:ext cx="298749" cy="298749"/>
              <a:chOff x="6126718" y="992814"/>
              <a:chExt cx="298749" cy="298749"/>
            </a:xfrm>
            <a:noFill/>
          </p:grpSpPr>
          <p:sp>
            <p:nvSpPr>
              <p:cNvPr id="821" name="Forma livre: Forma 820">
                <a:extLst>
                  <a:ext uri="{FF2B5EF4-FFF2-40B4-BE49-F238E27FC236}">
                    <a16:creationId xmlns:a16="http://schemas.microsoft.com/office/drawing/2014/main" id="{4E480D9F-1C4C-C643-C121-AEF41034B600}"/>
                  </a:ext>
                </a:extLst>
              </p:cNvPr>
              <p:cNvSpPr/>
              <p:nvPr/>
            </p:nvSpPr>
            <p:spPr>
              <a:xfrm>
                <a:off x="6232544" y="1098640"/>
                <a:ext cx="192923" cy="192923"/>
              </a:xfrm>
              <a:custGeom>
                <a:avLst/>
                <a:gdLst>
                  <a:gd name="connsiteX0" fmla="*/ 192923 w 192923"/>
                  <a:gd name="connsiteY0" fmla="*/ 96462 h 192923"/>
                  <a:gd name="connsiteX1" fmla="*/ 96462 w 192923"/>
                  <a:gd name="connsiteY1" fmla="*/ 192923 h 192923"/>
                  <a:gd name="connsiteX2" fmla="*/ 0 w 192923"/>
                  <a:gd name="connsiteY2" fmla="*/ 96462 h 192923"/>
                  <a:gd name="connsiteX3" fmla="*/ 96462 w 192923"/>
                  <a:gd name="connsiteY3" fmla="*/ 0 h 192923"/>
                  <a:gd name="connsiteX4" fmla="*/ 192923 w 192923"/>
                  <a:gd name="connsiteY4" fmla="*/ 96462 h 1929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92923" h="192923">
                    <a:moveTo>
                      <a:pt x="192923" y="96462"/>
                    </a:moveTo>
                    <a:cubicBezTo>
                      <a:pt x="192923" y="149727"/>
                      <a:pt x="149727" y="192923"/>
                      <a:pt x="96462" y="192923"/>
                    </a:cubicBezTo>
                    <a:cubicBezTo>
                      <a:pt x="43197" y="192923"/>
                      <a:pt x="0" y="149739"/>
                      <a:pt x="0" y="96462"/>
                    </a:cubicBezTo>
                    <a:cubicBezTo>
                      <a:pt x="0" y="43185"/>
                      <a:pt x="43185" y="0"/>
                      <a:pt x="96462" y="0"/>
                    </a:cubicBezTo>
                    <a:cubicBezTo>
                      <a:pt x="149739" y="0"/>
                      <a:pt x="192923" y="43197"/>
                      <a:pt x="192923" y="96462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822" name="Forma livre: Forma 821">
                <a:extLst>
                  <a:ext uri="{FF2B5EF4-FFF2-40B4-BE49-F238E27FC236}">
                    <a16:creationId xmlns:a16="http://schemas.microsoft.com/office/drawing/2014/main" id="{3393A595-7385-9AC7-D629-81248A90A1BE}"/>
                  </a:ext>
                </a:extLst>
              </p:cNvPr>
              <p:cNvSpPr/>
              <p:nvPr/>
            </p:nvSpPr>
            <p:spPr>
              <a:xfrm>
                <a:off x="6126718" y="992814"/>
                <a:ext cx="192338" cy="192028"/>
              </a:xfrm>
              <a:custGeom>
                <a:avLst/>
                <a:gdLst>
                  <a:gd name="connsiteX0" fmla="*/ 83303 w 192338"/>
                  <a:gd name="connsiteY0" fmla="*/ 192029 h 192028"/>
                  <a:gd name="connsiteX1" fmla="*/ 0 w 192338"/>
                  <a:gd name="connsiteY1" fmla="*/ 96462 h 192028"/>
                  <a:gd name="connsiteX2" fmla="*/ 96462 w 192338"/>
                  <a:gd name="connsiteY2" fmla="*/ 0 h 192028"/>
                  <a:gd name="connsiteX3" fmla="*/ 192339 w 192338"/>
                  <a:gd name="connsiteY3" fmla="*/ 85761 h 1920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92338" h="192028">
                    <a:moveTo>
                      <a:pt x="83303" y="192029"/>
                    </a:moveTo>
                    <a:cubicBezTo>
                      <a:pt x="36254" y="185610"/>
                      <a:pt x="0" y="145265"/>
                      <a:pt x="0" y="96462"/>
                    </a:cubicBezTo>
                    <a:cubicBezTo>
                      <a:pt x="12" y="43197"/>
                      <a:pt x="43197" y="0"/>
                      <a:pt x="96462" y="0"/>
                    </a:cubicBezTo>
                    <a:cubicBezTo>
                      <a:pt x="146112" y="0"/>
                      <a:pt x="187018" y="37530"/>
                      <a:pt x="192339" y="85761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823" name="Gráfico 9">
                <a:extLst>
                  <a:ext uri="{FF2B5EF4-FFF2-40B4-BE49-F238E27FC236}">
                    <a16:creationId xmlns:a16="http://schemas.microsoft.com/office/drawing/2014/main" id="{FB38CFC3-6793-4C05-1FFD-0A963FC4556F}"/>
                  </a:ext>
                </a:extLst>
              </p:cNvPr>
              <p:cNvGrpSpPr/>
              <p:nvPr/>
            </p:nvGrpSpPr>
            <p:grpSpPr>
              <a:xfrm>
                <a:off x="6178170" y="1039220"/>
                <a:ext cx="74046" cy="97392"/>
                <a:chOff x="6178170" y="1039220"/>
                <a:chExt cx="74046" cy="97392"/>
              </a:xfrm>
              <a:noFill/>
            </p:grpSpPr>
            <p:grpSp>
              <p:nvGrpSpPr>
                <p:cNvPr id="824" name="Gráfico 9">
                  <a:extLst>
                    <a:ext uri="{FF2B5EF4-FFF2-40B4-BE49-F238E27FC236}">
                      <a16:creationId xmlns:a16="http://schemas.microsoft.com/office/drawing/2014/main" id="{D80981F7-B9C6-1F90-8BF4-595B544389C1}"/>
                    </a:ext>
                  </a:extLst>
                </p:cNvPr>
                <p:cNvGrpSpPr/>
                <p:nvPr/>
              </p:nvGrpSpPr>
              <p:grpSpPr>
                <a:xfrm>
                  <a:off x="6178170" y="1077132"/>
                  <a:ext cx="46119" cy="22045"/>
                  <a:chOff x="6178170" y="1077132"/>
                  <a:chExt cx="46119" cy="22045"/>
                </a:xfrm>
              </p:grpSpPr>
              <p:sp>
                <p:nvSpPr>
                  <p:cNvPr id="825" name="Forma livre: Forma 824">
                    <a:extLst>
                      <a:ext uri="{FF2B5EF4-FFF2-40B4-BE49-F238E27FC236}">
                        <a16:creationId xmlns:a16="http://schemas.microsoft.com/office/drawing/2014/main" id="{55727E9F-4F29-5970-9CBC-83918323123B}"/>
                      </a:ext>
                    </a:extLst>
                  </p:cNvPr>
                  <p:cNvSpPr/>
                  <p:nvPr/>
                </p:nvSpPr>
                <p:spPr>
                  <a:xfrm>
                    <a:off x="6178170" y="1077132"/>
                    <a:ext cx="46119" cy="1192"/>
                  </a:xfrm>
                  <a:custGeom>
                    <a:avLst/>
                    <a:gdLst>
                      <a:gd name="connsiteX0" fmla="*/ 0 w 46119"/>
                      <a:gd name="connsiteY0" fmla="*/ 0 h 1192"/>
                      <a:gd name="connsiteX1" fmla="*/ 46119 w 46119"/>
                      <a:gd name="connsiteY1" fmla="*/ 0 h 119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46119" h="1192">
                        <a:moveTo>
                          <a:pt x="0" y="0"/>
                        </a:moveTo>
                        <a:lnTo>
                          <a:pt x="46119" y="0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826" name="Forma livre: Forma 825">
                    <a:extLst>
                      <a:ext uri="{FF2B5EF4-FFF2-40B4-BE49-F238E27FC236}">
                        <a16:creationId xmlns:a16="http://schemas.microsoft.com/office/drawing/2014/main" id="{4D999C46-CB79-5849-78C9-09CC38282C94}"/>
                      </a:ext>
                    </a:extLst>
                  </p:cNvPr>
                  <p:cNvSpPr/>
                  <p:nvPr/>
                </p:nvSpPr>
                <p:spPr>
                  <a:xfrm>
                    <a:off x="6178170" y="1099177"/>
                    <a:ext cx="46119" cy="1192"/>
                  </a:xfrm>
                  <a:custGeom>
                    <a:avLst/>
                    <a:gdLst>
                      <a:gd name="connsiteX0" fmla="*/ 0 w 46119"/>
                      <a:gd name="connsiteY0" fmla="*/ 0 h 1192"/>
                      <a:gd name="connsiteX1" fmla="*/ 46119 w 46119"/>
                      <a:gd name="connsiteY1" fmla="*/ 0 h 119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46119" h="1192">
                        <a:moveTo>
                          <a:pt x="0" y="0"/>
                        </a:moveTo>
                        <a:lnTo>
                          <a:pt x="46119" y="0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  <p:sp>
              <p:nvSpPr>
                <p:cNvPr id="827" name="Forma livre: Forma 826">
                  <a:extLst>
                    <a:ext uri="{FF2B5EF4-FFF2-40B4-BE49-F238E27FC236}">
                      <a16:creationId xmlns:a16="http://schemas.microsoft.com/office/drawing/2014/main" id="{05B8DDCA-8F6E-2E98-11D5-8BC0177BFD83}"/>
                    </a:ext>
                  </a:extLst>
                </p:cNvPr>
                <p:cNvSpPr/>
                <p:nvPr/>
              </p:nvSpPr>
              <p:spPr>
                <a:xfrm>
                  <a:off x="6192055" y="1039220"/>
                  <a:ext cx="60160" cy="97392"/>
                </a:xfrm>
                <a:custGeom>
                  <a:avLst/>
                  <a:gdLst>
                    <a:gd name="connsiteX0" fmla="*/ 29168 w 60160"/>
                    <a:gd name="connsiteY0" fmla="*/ 97392 h 97392"/>
                    <a:gd name="connsiteX1" fmla="*/ 0 w 60160"/>
                    <a:gd name="connsiteY1" fmla="*/ 55090 h 97392"/>
                    <a:gd name="connsiteX2" fmla="*/ 0 w 60160"/>
                    <a:gd name="connsiteY2" fmla="*/ 42779 h 97392"/>
                    <a:gd name="connsiteX3" fmla="*/ 34214 w 60160"/>
                    <a:gd name="connsiteY3" fmla="*/ 0 h 97392"/>
                    <a:gd name="connsiteX4" fmla="*/ 60160 w 60160"/>
                    <a:gd name="connsiteY4" fmla="*/ 14971 h 973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60160" h="97392">
                      <a:moveTo>
                        <a:pt x="29168" y="97392"/>
                      </a:moveTo>
                      <a:cubicBezTo>
                        <a:pt x="12717" y="94314"/>
                        <a:pt x="0" y="76468"/>
                        <a:pt x="0" y="55090"/>
                      </a:cubicBezTo>
                      <a:lnTo>
                        <a:pt x="0" y="42779"/>
                      </a:lnTo>
                      <a:cubicBezTo>
                        <a:pt x="0" y="19242"/>
                        <a:pt x="15401" y="0"/>
                        <a:pt x="34214" y="0"/>
                      </a:cubicBezTo>
                      <a:cubicBezTo>
                        <a:pt x="44568" y="0"/>
                        <a:pt x="53873" y="5822"/>
                        <a:pt x="60160" y="14971"/>
                      </a:cubicBez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828" name="Gráfico 9">
                <a:extLst>
                  <a:ext uri="{FF2B5EF4-FFF2-40B4-BE49-F238E27FC236}">
                    <a16:creationId xmlns:a16="http://schemas.microsoft.com/office/drawing/2014/main" id="{C28F0F88-F207-9465-546F-40B028C4DBA0}"/>
                  </a:ext>
                </a:extLst>
              </p:cNvPr>
              <p:cNvGrpSpPr/>
              <p:nvPr/>
            </p:nvGrpSpPr>
            <p:grpSpPr>
              <a:xfrm>
                <a:off x="6302964" y="1139296"/>
                <a:ext cx="51678" cy="112101"/>
                <a:chOff x="6302964" y="1139296"/>
                <a:chExt cx="51678" cy="112101"/>
              </a:xfrm>
              <a:noFill/>
            </p:grpSpPr>
            <p:sp>
              <p:nvSpPr>
                <p:cNvPr id="829" name="Forma livre: Forma 828">
                  <a:extLst>
                    <a:ext uri="{FF2B5EF4-FFF2-40B4-BE49-F238E27FC236}">
                      <a16:creationId xmlns:a16="http://schemas.microsoft.com/office/drawing/2014/main" id="{CEA4AD04-A1F0-3947-B93C-AA737CD65625}"/>
                    </a:ext>
                  </a:extLst>
                </p:cNvPr>
                <p:cNvSpPr/>
                <p:nvPr/>
              </p:nvSpPr>
              <p:spPr>
                <a:xfrm>
                  <a:off x="6302964" y="1153051"/>
                  <a:ext cx="51678" cy="84579"/>
                </a:xfrm>
                <a:custGeom>
                  <a:avLst/>
                  <a:gdLst>
                    <a:gd name="connsiteX0" fmla="*/ 107 w 51678"/>
                    <a:gd name="connsiteY0" fmla="*/ 63942 h 84579"/>
                    <a:gd name="connsiteX1" fmla="*/ 25899 w 51678"/>
                    <a:gd name="connsiteY1" fmla="*/ 84580 h 84579"/>
                    <a:gd name="connsiteX2" fmla="*/ 51678 w 51678"/>
                    <a:gd name="connsiteY2" fmla="*/ 63942 h 84579"/>
                    <a:gd name="connsiteX3" fmla="*/ 25839 w 51678"/>
                    <a:gd name="connsiteY3" fmla="*/ 42290 h 84579"/>
                    <a:gd name="connsiteX4" fmla="*/ 0 w 51678"/>
                    <a:gd name="connsiteY4" fmla="*/ 20638 h 84579"/>
                    <a:gd name="connsiteX5" fmla="*/ 25780 w 51678"/>
                    <a:gd name="connsiteY5" fmla="*/ 0 h 84579"/>
                    <a:gd name="connsiteX6" fmla="*/ 51571 w 51678"/>
                    <a:gd name="connsiteY6" fmla="*/ 20638 h 8457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51678" h="84579">
                      <a:moveTo>
                        <a:pt x="107" y="63942"/>
                      </a:moveTo>
                      <a:cubicBezTo>
                        <a:pt x="107" y="75335"/>
                        <a:pt x="11667" y="84580"/>
                        <a:pt x="25899" y="84580"/>
                      </a:cubicBezTo>
                      <a:cubicBezTo>
                        <a:pt x="40131" y="84580"/>
                        <a:pt x="51678" y="75346"/>
                        <a:pt x="51678" y="63942"/>
                      </a:cubicBezTo>
                      <a:cubicBezTo>
                        <a:pt x="51678" y="52537"/>
                        <a:pt x="37924" y="47563"/>
                        <a:pt x="25839" y="42290"/>
                      </a:cubicBezTo>
                      <a:cubicBezTo>
                        <a:pt x="13767" y="37005"/>
                        <a:pt x="0" y="32019"/>
                        <a:pt x="0" y="20638"/>
                      </a:cubicBezTo>
                      <a:cubicBezTo>
                        <a:pt x="0" y="9257"/>
                        <a:pt x="11560" y="0"/>
                        <a:pt x="25780" y="0"/>
                      </a:cubicBezTo>
                      <a:cubicBezTo>
                        <a:pt x="39999" y="0"/>
                        <a:pt x="51571" y="9233"/>
                        <a:pt x="51571" y="20638"/>
                      </a:cubicBez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830" name="Forma livre: Forma 829">
                  <a:extLst>
                    <a:ext uri="{FF2B5EF4-FFF2-40B4-BE49-F238E27FC236}">
                      <a16:creationId xmlns:a16="http://schemas.microsoft.com/office/drawing/2014/main" id="{943878CA-F525-F311-DC86-D71BDAA57C34}"/>
                    </a:ext>
                  </a:extLst>
                </p:cNvPr>
                <p:cNvSpPr/>
                <p:nvPr/>
              </p:nvSpPr>
              <p:spPr>
                <a:xfrm>
                  <a:off x="6328731" y="1139296"/>
                  <a:ext cx="1192" cy="13659"/>
                </a:xfrm>
                <a:custGeom>
                  <a:avLst/>
                  <a:gdLst>
                    <a:gd name="connsiteX0" fmla="*/ 0 w 1192"/>
                    <a:gd name="connsiteY0" fmla="*/ 13659 h 13659"/>
                    <a:gd name="connsiteX1" fmla="*/ 0 w 1192"/>
                    <a:gd name="connsiteY1" fmla="*/ 0 h 1365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192" h="13659">
                      <a:moveTo>
                        <a:pt x="0" y="13659"/>
                      </a:moveTo>
                      <a:lnTo>
                        <a:pt x="0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831" name="Forma livre: Forma 830">
                  <a:extLst>
                    <a:ext uri="{FF2B5EF4-FFF2-40B4-BE49-F238E27FC236}">
                      <a16:creationId xmlns:a16="http://schemas.microsoft.com/office/drawing/2014/main" id="{92E3E56A-F7E4-FF5C-54CF-D0ED71A42AAA}"/>
                    </a:ext>
                  </a:extLst>
                </p:cNvPr>
                <p:cNvSpPr/>
                <p:nvPr/>
              </p:nvSpPr>
              <p:spPr>
                <a:xfrm>
                  <a:off x="6328731" y="1237750"/>
                  <a:ext cx="1192" cy="13647"/>
                </a:xfrm>
                <a:custGeom>
                  <a:avLst/>
                  <a:gdLst>
                    <a:gd name="connsiteX0" fmla="*/ 0 w 1192"/>
                    <a:gd name="connsiteY0" fmla="*/ 13647 h 13647"/>
                    <a:gd name="connsiteX1" fmla="*/ 0 w 1192"/>
                    <a:gd name="connsiteY1" fmla="*/ 0 h 1364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192" h="13647">
                      <a:moveTo>
                        <a:pt x="0" y="13647"/>
                      </a:moveTo>
                      <a:lnTo>
                        <a:pt x="0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sp>
          <p:nvSpPr>
            <p:cNvPr id="832" name="Forma livre: Forma 831">
              <a:extLst>
                <a:ext uri="{FF2B5EF4-FFF2-40B4-BE49-F238E27FC236}">
                  <a16:creationId xmlns:a16="http://schemas.microsoft.com/office/drawing/2014/main" id="{F94AAD94-4B0D-21C7-068F-8214DBE535D0}"/>
                </a:ext>
              </a:extLst>
            </p:cNvPr>
            <p:cNvSpPr/>
            <p:nvPr/>
          </p:nvSpPr>
          <p:spPr>
            <a:xfrm>
              <a:off x="6231745" y="1295130"/>
              <a:ext cx="17297" cy="1885"/>
            </a:xfrm>
            <a:custGeom>
              <a:avLst/>
              <a:gdLst>
                <a:gd name="connsiteX0" fmla="*/ 0 w 17297"/>
                <a:gd name="connsiteY0" fmla="*/ 0 h 1885"/>
                <a:gd name="connsiteX1" fmla="*/ 17298 w 17297"/>
                <a:gd name="connsiteY1" fmla="*/ 1789 h 18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7297" h="1885">
                  <a:moveTo>
                    <a:pt x="0" y="0"/>
                  </a:moveTo>
                  <a:cubicBezTo>
                    <a:pt x="0" y="0"/>
                    <a:pt x="8541" y="2386"/>
                    <a:pt x="17298" y="1789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33" name="Forma livre: Forma 832">
              <a:extLst>
                <a:ext uri="{FF2B5EF4-FFF2-40B4-BE49-F238E27FC236}">
                  <a16:creationId xmlns:a16="http://schemas.microsoft.com/office/drawing/2014/main" id="{C70E6178-B020-23A1-6509-22F274FA5370}"/>
                </a:ext>
              </a:extLst>
            </p:cNvPr>
            <p:cNvSpPr/>
            <p:nvPr/>
          </p:nvSpPr>
          <p:spPr>
            <a:xfrm>
              <a:off x="6302522" y="987040"/>
              <a:ext cx="17297" cy="1885"/>
            </a:xfrm>
            <a:custGeom>
              <a:avLst/>
              <a:gdLst>
                <a:gd name="connsiteX0" fmla="*/ 17298 w 17297"/>
                <a:gd name="connsiteY0" fmla="*/ 1885 h 1885"/>
                <a:gd name="connsiteX1" fmla="*/ 0 w 17297"/>
                <a:gd name="connsiteY1" fmla="*/ 96 h 18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7297" h="1885">
                  <a:moveTo>
                    <a:pt x="17298" y="1885"/>
                  </a:moveTo>
                  <a:cubicBezTo>
                    <a:pt x="17298" y="1885"/>
                    <a:pt x="8756" y="-501"/>
                    <a:pt x="0" y="96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834" name="Gráfico 9">
            <a:extLst>
              <a:ext uri="{FF2B5EF4-FFF2-40B4-BE49-F238E27FC236}">
                <a16:creationId xmlns:a16="http://schemas.microsoft.com/office/drawing/2014/main" id="{2E25E32F-1EB2-69E0-8C66-EE25F66981E4}"/>
              </a:ext>
            </a:extLst>
          </p:cNvPr>
          <p:cNvGrpSpPr/>
          <p:nvPr/>
        </p:nvGrpSpPr>
        <p:grpSpPr>
          <a:xfrm>
            <a:off x="6748636" y="1510992"/>
            <a:ext cx="288501" cy="325390"/>
            <a:chOff x="6748636" y="1510992"/>
            <a:chExt cx="288501" cy="325390"/>
          </a:xfrm>
          <a:noFill/>
        </p:grpSpPr>
        <p:sp>
          <p:nvSpPr>
            <p:cNvPr id="835" name="Forma livre: Forma 834">
              <a:extLst>
                <a:ext uri="{FF2B5EF4-FFF2-40B4-BE49-F238E27FC236}">
                  <a16:creationId xmlns:a16="http://schemas.microsoft.com/office/drawing/2014/main" id="{F3F724A5-8DAE-2973-6E18-C1061AAA3219}"/>
                </a:ext>
              </a:extLst>
            </p:cNvPr>
            <p:cNvSpPr/>
            <p:nvPr/>
          </p:nvSpPr>
          <p:spPr>
            <a:xfrm>
              <a:off x="6804604" y="1510992"/>
              <a:ext cx="160372" cy="105726"/>
            </a:xfrm>
            <a:custGeom>
              <a:avLst/>
              <a:gdLst>
                <a:gd name="connsiteX0" fmla="*/ 160373 w 160372"/>
                <a:gd name="connsiteY0" fmla="*/ 103765 h 105726"/>
                <a:gd name="connsiteX1" fmla="*/ 64878 w 160372"/>
                <a:gd name="connsiteY1" fmla="*/ 80478 h 105726"/>
                <a:gd name="connsiteX2" fmla="*/ 1568 w 160372"/>
                <a:gd name="connsiteY2" fmla="*/ 6564 h 105726"/>
                <a:gd name="connsiteX3" fmla="*/ 84203 w 160372"/>
                <a:gd name="connsiteY3" fmla="*/ 21666 h 1057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60372" h="105726">
                  <a:moveTo>
                    <a:pt x="160373" y="103765"/>
                  </a:moveTo>
                  <a:cubicBezTo>
                    <a:pt x="142849" y="108179"/>
                    <a:pt x="108527" y="106986"/>
                    <a:pt x="64878" y="80478"/>
                  </a:cubicBezTo>
                  <a:cubicBezTo>
                    <a:pt x="21228" y="53971"/>
                    <a:pt x="-7129" y="20867"/>
                    <a:pt x="1568" y="6564"/>
                  </a:cubicBezTo>
                  <a:cubicBezTo>
                    <a:pt x="9453" y="-6416"/>
                    <a:pt x="45075" y="491"/>
                    <a:pt x="84203" y="21666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36" name="Forma livre: Forma 835">
              <a:extLst>
                <a:ext uri="{FF2B5EF4-FFF2-40B4-BE49-F238E27FC236}">
                  <a16:creationId xmlns:a16="http://schemas.microsoft.com/office/drawing/2014/main" id="{52AB92FD-1F47-2B88-8946-0C9D0616BF90}"/>
                </a:ext>
              </a:extLst>
            </p:cNvPr>
            <p:cNvSpPr/>
            <p:nvPr/>
          </p:nvSpPr>
          <p:spPr>
            <a:xfrm>
              <a:off x="6953704" y="1591600"/>
              <a:ext cx="39707" cy="46528"/>
            </a:xfrm>
            <a:custGeom>
              <a:avLst/>
              <a:gdLst>
                <a:gd name="connsiteX0" fmla="*/ 0 w 39707"/>
                <a:gd name="connsiteY0" fmla="*/ 6813 h 46528"/>
                <a:gd name="connsiteX1" fmla="*/ 1157 w 39707"/>
                <a:gd name="connsiteY1" fmla="*/ 5727 h 46528"/>
                <a:gd name="connsiteX2" fmla="*/ 32890 w 39707"/>
                <a:gd name="connsiteY2" fmla="*/ 6813 h 46528"/>
                <a:gd name="connsiteX3" fmla="*/ 32890 w 39707"/>
                <a:gd name="connsiteY3" fmla="*/ 39714 h 46528"/>
                <a:gd name="connsiteX4" fmla="*/ 4199 w 39707"/>
                <a:gd name="connsiteY4" fmla="*/ 43067 h 465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707" h="46528">
                  <a:moveTo>
                    <a:pt x="0" y="6813"/>
                  </a:moveTo>
                  <a:cubicBezTo>
                    <a:pt x="382" y="6443"/>
                    <a:pt x="764" y="6073"/>
                    <a:pt x="1157" y="5727"/>
                  </a:cubicBezTo>
                  <a:cubicBezTo>
                    <a:pt x="10295" y="-2253"/>
                    <a:pt x="24181" y="-1896"/>
                    <a:pt x="32890" y="6813"/>
                  </a:cubicBezTo>
                  <a:cubicBezTo>
                    <a:pt x="41980" y="15903"/>
                    <a:pt x="41980" y="30624"/>
                    <a:pt x="32890" y="39714"/>
                  </a:cubicBezTo>
                  <a:cubicBezTo>
                    <a:pt x="25112" y="47492"/>
                    <a:pt x="13182" y="48614"/>
                    <a:pt x="4199" y="43067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37" name="Forma livre: Forma 836">
              <a:extLst>
                <a:ext uri="{FF2B5EF4-FFF2-40B4-BE49-F238E27FC236}">
                  <a16:creationId xmlns:a16="http://schemas.microsoft.com/office/drawing/2014/main" id="{53923398-5497-E73F-B256-0DAE5CDE8768}"/>
                </a:ext>
              </a:extLst>
            </p:cNvPr>
            <p:cNvSpPr/>
            <p:nvPr/>
          </p:nvSpPr>
          <p:spPr>
            <a:xfrm>
              <a:off x="6748636" y="1547880"/>
              <a:ext cx="288501" cy="288501"/>
            </a:xfrm>
            <a:custGeom>
              <a:avLst/>
              <a:gdLst>
                <a:gd name="connsiteX0" fmla="*/ 116396 w 288501"/>
                <a:gd name="connsiteY0" fmla="*/ 41860 h 288501"/>
                <a:gd name="connsiteX1" fmla="*/ 0 w 288501"/>
                <a:gd name="connsiteY1" fmla="*/ 158244 h 288501"/>
                <a:gd name="connsiteX2" fmla="*/ 130246 w 288501"/>
                <a:gd name="connsiteY2" fmla="*/ 288502 h 288501"/>
                <a:gd name="connsiteX3" fmla="*/ 288502 w 288501"/>
                <a:gd name="connsiteY3" fmla="*/ 130246 h 288501"/>
                <a:gd name="connsiteX4" fmla="*/ 287178 w 288501"/>
                <a:gd name="connsiteY4" fmla="*/ 51559 h 288501"/>
                <a:gd name="connsiteX5" fmla="*/ 236955 w 288501"/>
                <a:gd name="connsiteY5" fmla="*/ 1324 h 288501"/>
                <a:gd name="connsiteX6" fmla="*/ 158256 w 288501"/>
                <a:gd name="connsiteY6" fmla="*/ 0 h 288501"/>
                <a:gd name="connsiteX7" fmla="*/ 133097 w 288501"/>
                <a:gd name="connsiteY7" fmla="*/ 25159 h 2885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8501" h="288501">
                  <a:moveTo>
                    <a:pt x="116396" y="41860"/>
                  </a:moveTo>
                  <a:lnTo>
                    <a:pt x="0" y="158244"/>
                  </a:lnTo>
                  <a:lnTo>
                    <a:pt x="130246" y="288502"/>
                  </a:lnTo>
                  <a:lnTo>
                    <a:pt x="288502" y="130246"/>
                  </a:lnTo>
                  <a:lnTo>
                    <a:pt x="287178" y="51559"/>
                  </a:lnTo>
                  <a:lnTo>
                    <a:pt x="236955" y="1324"/>
                  </a:lnTo>
                  <a:lnTo>
                    <a:pt x="158256" y="0"/>
                  </a:lnTo>
                  <a:lnTo>
                    <a:pt x="133097" y="25159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838" name="Gráfico 9">
              <a:extLst>
                <a:ext uri="{FF2B5EF4-FFF2-40B4-BE49-F238E27FC236}">
                  <a16:creationId xmlns:a16="http://schemas.microsoft.com/office/drawing/2014/main" id="{C21D1C2F-CCC4-EE24-6C10-0837D95FBF82}"/>
                </a:ext>
              </a:extLst>
            </p:cNvPr>
            <p:cNvGrpSpPr/>
            <p:nvPr/>
          </p:nvGrpSpPr>
          <p:grpSpPr>
            <a:xfrm>
              <a:off x="6844263" y="1663321"/>
              <a:ext cx="77970" cy="77970"/>
              <a:chOff x="6844263" y="1663321"/>
              <a:chExt cx="77970" cy="77970"/>
            </a:xfrm>
            <a:noFill/>
          </p:grpSpPr>
          <p:sp>
            <p:nvSpPr>
              <p:cNvPr id="839" name="Forma livre: Forma 838">
                <a:extLst>
                  <a:ext uri="{FF2B5EF4-FFF2-40B4-BE49-F238E27FC236}">
                    <a16:creationId xmlns:a16="http://schemas.microsoft.com/office/drawing/2014/main" id="{C854D283-7020-D51E-FAB7-76BE51339F2C}"/>
                  </a:ext>
                </a:extLst>
              </p:cNvPr>
              <p:cNvSpPr/>
              <p:nvPr/>
            </p:nvSpPr>
            <p:spPr>
              <a:xfrm>
                <a:off x="6846183" y="1665157"/>
                <a:ext cx="74198" cy="74346"/>
              </a:xfrm>
              <a:custGeom>
                <a:avLst/>
                <a:gdLst>
                  <a:gd name="connsiteX0" fmla="*/ 5799 w 74198"/>
                  <a:gd name="connsiteY0" fmla="*/ 36827 h 74346"/>
                  <a:gd name="connsiteX1" fmla="*/ 6908 w 74198"/>
                  <a:gd name="connsiteY1" fmla="*/ 67438 h 74346"/>
                  <a:gd name="connsiteX2" fmla="*/ 37507 w 74198"/>
                  <a:gd name="connsiteY2" fmla="*/ 68548 h 74346"/>
                  <a:gd name="connsiteX3" fmla="*/ 37102 w 74198"/>
                  <a:gd name="connsiteY3" fmla="*/ 37173 h 74346"/>
                  <a:gd name="connsiteX4" fmla="*/ 36684 w 74198"/>
                  <a:gd name="connsiteY4" fmla="*/ 5799 h 74346"/>
                  <a:gd name="connsiteX5" fmla="*/ 67295 w 74198"/>
                  <a:gd name="connsiteY5" fmla="*/ 6908 h 74346"/>
                  <a:gd name="connsiteX6" fmla="*/ 68404 w 74198"/>
                  <a:gd name="connsiteY6" fmla="*/ 37519 h 74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74198" h="74346">
                    <a:moveTo>
                      <a:pt x="5799" y="36827"/>
                    </a:moveTo>
                    <a:cubicBezTo>
                      <a:pt x="-2349" y="44975"/>
                      <a:pt x="-1848" y="58670"/>
                      <a:pt x="6908" y="67438"/>
                    </a:cubicBezTo>
                    <a:cubicBezTo>
                      <a:pt x="15664" y="76194"/>
                      <a:pt x="29359" y="76695"/>
                      <a:pt x="37507" y="68548"/>
                    </a:cubicBezTo>
                    <a:cubicBezTo>
                      <a:pt x="45655" y="60400"/>
                      <a:pt x="40764" y="48375"/>
                      <a:pt x="37102" y="37173"/>
                    </a:cubicBezTo>
                    <a:cubicBezTo>
                      <a:pt x="33439" y="25971"/>
                      <a:pt x="28536" y="13947"/>
                      <a:pt x="36684" y="5799"/>
                    </a:cubicBezTo>
                    <a:cubicBezTo>
                      <a:pt x="44832" y="-2349"/>
                      <a:pt x="58539" y="-1848"/>
                      <a:pt x="67295" y="6908"/>
                    </a:cubicBezTo>
                    <a:cubicBezTo>
                      <a:pt x="76051" y="15664"/>
                      <a:pt x="76540" y="29371"/>
                      <a:pt x="68404" y="37519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840" name="Forma livre: Forma 839">
                <a:extLst>
                  <a:ext uri="{FF2B5EF4-FFF2-40B4-BE49-F238E27FC236}">
                    <a16:creationId xmlns:a16="http://schemas.microsoft.com/office/drawing/2014/main" id="{22CAD140-1F9E-44EB-7471-CD8B2F4042C6}"/>
                  </a:ext>
                </a:extLst>
              </p:cNvPr>
              <p:cNvSpPr/>
              <p:nvPr/>
            </p:nvSpPr>
            <p:spPr>
              <a:xfrm>
                <a:off x="6913549" y="1663321"/>
                <a:ext cx="8684" cy="8684"/>
              </a:xfrm>
              <a:custGeom>
                <a:avLst/>
                <a:gdLst>
                  <a:gd name="connsiteX0" fmla="*/ 0 w 8684"/>
                  <a:gd name="connsiteY0" fmla="*/ 8685 h 8684"/>
                  <a:gd name="connsiteX1" fmla="*/ 8685 w 8684"/>
                  <a:gd name="connsiteY1" fmla="*/ 0 h 86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8684" h="8684">
                    <a:moveTo>
                      <a:pt x="0" y="8685"/>
                    </a:moveTo>
                    <a:lnTo>
                      <a:pt x="8685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841" name="Forma livre: Forma 840">
                <a:extLst>
                  <a:ext uri="{FF2B5EF4-FFF2-40B4-BE49-F238E27FC236}">
                    <a16:creationId xmlns:a16="http://schemas.microsoft.com/office/drawing/2014/main" id="{B0DF7904-56F0-F6E8-7C1C-23E61E1815F7}"/>
                  </a:ext>
                </a:extLst>
              </p:cNvPr>
              <p:cNvSpPr/>
              <p:nvPr/>
            </p:nvSpPr>
            <p:spPr>
              <a:xfrm>
                <a:off x="6844263" y="1732608"/>
                <a:ext cx="8684" cy="8684"/>
              </a:xfrm>
              <a:custGeom>
                <a:avLst/>
                <a:gdLst>
                  <a:gd name="connsiteX0" fmla="*/ 0 w 8684"/>
                  <a:gd name="connsiteY0" fmla="*/ 8685 h 8684"/>
                  <a:gd name="connsiteX1" fmla="*/ 8685 w 8684"/>
                  <a:gd name="connsiteY1" fmla="*/ 0 h 86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8684" h="8684">
                    <a:moveTo>
                      <a:pt x="0" y="8685"/>
                    </a:moveTo>
                    <a:lnTo>
                      <a:pt x="8685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842" name="Gráfico 9">
            <a:extLst>
              <a:ext uri="{FF2B5EF4-FFF2-40B4-BE49-F238E27FC236}">
                <a16:creationId xmlns:a16="http://schemas.microsoft.com/office/drawing/2014/main" id="{A1943EA2-FBC8-A4B3-23DA-DD322D3ED740}"/>
              </a:ext>
            </a:extLst>
          </p:cNvPr>
          <p:cNvGrpSpPr/>
          <p:nvPr/>
        </p:nvGrpSpPr>
        <p:grpSpPr>
          <a:xfrm>
            <a:off x="7368216" y="1508393"/>
            <a:ext cx="282917" cy="330599"/>
            <a:chOff x="7368216" y="1508393"/>
            <a:chExt cx="282917" cy="330599"/>
          </a:xfrm>
          <a:noFill/>
        </p:grpSpPr>
        <p:grpSp>
          <p:nvGrpSpPr>
            <p:cNvPr id="843" name="Gráfico 9">
              <a:extLst>
                <a:ext uri="{FF2B5EF4-FFF2-40B4-BE49-F238E27FC236}">
                  <a16:creationId xmlns:a16="http://schemas.microsoft.com/office/drawing/2014/main" id="{576CBB79-F1CA-4A22-5B5A-0D5B9DCCC332}"/>
                </a:ext>
              </a:extLst>
            </p:cNvPr>
            <p:cNvGrpSpPr/>
            <p:nvPr/>
          </p:nvGrpSpPr>
          <p:grpSpPr>
            <a:xfrm>
              <a:off x="7569144" y="1731176"/>
              <a:ext cx="32806" cy="84866"/>
              <a:chOff x="7569144" y="1731176"/>
              <a:chExt cx="32806" cy="84866"/>
            </a:xfrm>
            <a:noFill/>
          </p:grpSpPr>
          <p:sp>
            <p:nvSpPr>
              <p:cNvPr id="844" name="Forma livre: Forma 843">
                <a:extLst>
                  <a:ext uri="{FF2B5EF4-FFF2-40B4-BE49-F238E27FC236}">
                    <a16:creationId xmlns:a16="http://schemas.microsoft.com/office/drawing/2014/main" id="{9723C084-8992-95A0-1B3F-98B40C9B4227}"/>
                  </a:ext>
                </a:extLst>
              </p:cNvPr>
              <p:cNvSpPr/>
              <p:nvPr/>
            </p:nvSpPr>
            <p:spPr>
              <a:xfrm>
                <a:off x="7569144" y="1742426"/>
                <a:ext cx="32806" cy="62367"/>
              </a:xfrm>
              <a:custGeom>
                <a:avLst/>
                <a:gdLst>
                  <a:gd name="connsiteX0" fmla="*/ 72 w 32806"/>
                  <a:gd name="connsiteY0" fmla="*/ 47157 h 62367"/>
                  <a:gd name="connsiteX1" fmla="*/ 16427 w 32806"/>
                  <a:gd name="connsiteY1" fmla="*/ 62367 h 62367"/>
                  <a:gd name="connsiteX2" fmla="*/ 32806 w 32806"/>
                  <a:gd name="connsiteY2" fmla="*/ 47157 h 62367"/>
                  <a:gd name="connsiteX3" fmla="*/ 16403 w 32806"/>
                  <a:gd name="connsiteY3" fmla="*/ 31184 h 62367"/>
                  <a:gd name="connsiteX4" fmla="*/ 0 w 32806"/>
                  <a:gd name="connsiteY4" fmla="*/ 15210 h 62367"/>
                  <a:gd name="connsiteX5" fmla="*/ 16367 w 32806"/>
                  <a:gd name="connsiteY5" fmla="*/ 0 h 62367"/>
                  <a:gd name="connsiteX6" fmla="*/ 32734 w 32806"/>
                  <a:gd name="connsiteY6" fmla="*/ 15210 h 623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2806" h="62367">
                    <a:moveTo>
                      <a:pt x="72" y="47157"/>
                    </a:moveTo>
                    <a:cubicBezTo>
                      <a:pt x="72" y="55567"/>
                      <a:pt x="7408" y="62367"/>
                      <a:pt x="16427" y="62367"/>
                    </a:cubicBezTo>
                    <a:cubicBezTo>
                      <a:pt x="25445" y="62367"/>
                      <a:pt x="32806" y="55556"/>
                      <a:pt x="32806" y="47157"/>
                    </a:cubicBezTo>
                    <a:cubicBezTo>
                      <a:pt x="32806" y="38759"/>
                      <a:pt x="24074" y="35073"/>
                      <a:pt x="16403" y="31184"/>
                    </a:cubicBezTo>
                    <a:cubicBezTo>
                      <a:pt x="8732" y="27295"/>
                      <a:pt x="0" y="23620"/>
                      <a:pt x="0" y="15210"/>
                    </a:cubicBezTo>
                    <a:cubicBezTo>
                      <a:pt x="0" y="6800"/>
                      <a:pt x="7325" y="0"/>
                      <a:pt x="16367" y="0"/>
                    </a:cubicBezTo>
                    <a:cubicBezTo>
                      <a:pt x="25410" y="0"/>
                      <a:pt x="32734" y="6812"/>
                      <a:pt x="32734" y="15210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845" name="Forma livre: Forma 844">
                <a:extLst>
                  <a:ext uri="{FF2B5EF4-FFF2-40B4-BE49-F238E27FC236}">
                    <a16:creationId xmlns:a16="http://schemas.microsoft.com/office/drawing/2014/main" id="{AE4D6B29-0F79-D918-8A9E-6665383D87D2}"/>
                  </a:ext>
                </a:extLst>
              </p:cNvPr>
              <p:cNvSpPr/>
              <p:nvPr/>
            </p:nvSpPr>
            <p:spPr>
              <a:xfrm>
                <a:off x="7585500" y="1731176"/>
                <a:ext cx="1192" cy="11154"/>
              </a:xfrm>
              <a:custGeom>
                <a:avLst/>
                <a:gdLst>
                  <a:gd name="connsiteX0" fmla="*/ 0 w 1192"/>
                  <a:gd name="connsiteY0" fmla="*/ 11154 h 11154"/>
                  <a:gd name="connsiteX1" fmla="*/ 0 w 1192"/>
                  <a:gd name="connsiteY1" fmla="*/ 0 h 111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2" h="11154">
                    <a:moveTo>
                      <a:pt x="0" y="11154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846" name="Forma livre: Forma 845">
                <a:extLst>
                  <a:ext uri="{FF2B5EF4-FFF2-40B4-BE49-F238E27FC236}">
                    <a16:creationId xmlns:a16="http://schemas.microsoft.com/office/drawing/2014/main" id="{4110FC22-6C97-484D-9DE9-A458AE31466E}"/>
                  </a:ext>
                </a:extLst>
              </p:cNvPr>
              <p:cNvSpPr/>
              <p:nvPr/>
            </p:nvSpPr>
            <p:spPr>
              <a:xfrm>
                <a:off x="7585500" y="1804876"/>
                <a:ext cx="1192" cy="11165"/>
              </a:xfrm>
              <a:custGeom>
                <a:avLst/>
                <a:gdLst>
                  <a:gd name="connsiteX0" fmla="*/ 0 w 1192"/>
                  <a:gd name="connsiteY0" fmla="*/ 11166 h 11165"/>
                  <a:gd name="connsiteX1" fmla="*/ 0 w 1192"/>
                  <a:gd name="connsiteY1" fmla="*/ 0 h 111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2" h="11165">
                    <a:moveTo>
                      <a:pt x="0" y="11166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847" name="Forma livre: Forma 846">
              <a:extLst>
                <a:ext uri="{FF2B5EF4-FFF2-40B4-BE49-F238E27FC236}">
                  <a16:creationId xmlns:a16="http://schemas.microsoft.com/office/drawing/2014/main" id="{DEF26CC4-AA0D-07EE-E73B-556D9E95E11A}"/>
                </a:ext>
              </a:extLst>
            </p:cNvPr>
            <p:cNvSpPr/>
            <p:nvPr/>
          </p:nvSpPr>
          <p:spPr>
            <a:xfrm>
              <a:off x="7520024" y="1707866"/>
              <a:ext cx="131110" cy="131127"/>
            </a:xfrm>
            <a:custGeom>
              <a:avLst/>
              <a:gdLst>
                <a:gd name="connsiteX0" fmla="*/ 24391 w 131110"/>
                <a:gd name="connsiteY0" fmla="*/ 14518 h 131127"/>
                <a:gd name="connsiteX1" fmla="*/ 47546 w 131110"/>
                <a:gd name="connsiteY1" fmla="*/ 2541 h 131127"/>
                <a:gd name="connsiteX2" fmla="*/ 128571 w 131110"/>
                <a:gd name="connsiteY2" fmla="*/ 47551 h 131127"/>
                <a:gd name="connsiteX3" fmla="*/ 83549 w 131110"/>
                <a:gd name="connsiteY3" fmla="*/ 128588 h 131127"/>
                <a:gd name="connsiteX4" fmla="*/ 2536 w 131110"/>
                <a:gd name="connsiteY4" fmla="*/ 83566 h 131127"/>
                <a:gd name="connsiteX5" fmla="*/ 7666 w 131110"/>
                <a:gd name="connsiteY5" fmla="*/ 34822 h 1311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31110" h="131127">
                  <a:moveTo>
                    <a:pt x="24391" y="14518"/>
                  </a:moveTo>
                  <a:cubicBezTo>
                    <a:pt x="31036" y="9174"/>
                    <a:pt x="38837" y="5022"/>
                    <a:pt x="47546" y="2541"/>
                  </a:cubicBezTo>
                  <a:cubicBezTo>
                    <a:pt x="82356" y="-7408"/>
                    <a:pt x="118646" y="12741"/>
                    <a:pt x="128571" y="47551"/>
                  </a:cubicBezTo>
                  <a:cubicBezTo>
                    <a:pt x="138520" y="82373"/>
                    <a:pt x="118347" y="118639"/>
                    <a:pt x="83549" y="128588"/>
                  </a:cubicBezTo>
                  <a:cubicBezTo>
                    <a:pt x="48751" y="138537"/>
                    <a:pt x="12461" y="118364"/>
                    <a:pt x="2536" y="83566"/>
                  </a:cubicBezTo>
                  <a:cubicBezTo>
                    <a:pt x="-2307" y="66590"/>
                    <a:pt x="-5" y="49281"/>
                    <a:pt x="7666" y="34822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848" name="Gráfico 9">
              <a:extLst>
                <a:ext uri="{FF2B5EF4-FFF2-40B4-BE49-F238E27FC236}">
                  <a16:creationId xmlns:a16="http://schemas.microsoft.com/office/drawing/2014/main" id="{15B0CF39-C41C-B7DD-86D1-929DA8ECE3A6}"/>
                </a:ext>
              </a:extLst>
            </p:cNvPr>
            <p:cNvGrpSpPr/>
            <p:nvPr/>
          </p:nvGrpSpPr>
          <p:grpSpPr>
            <a:xfrm>
              <a:off x="7368216" y="1508393"/>
              <a:ext cx="235940" cy="292904"/>
              <a:chOff x="7368216" y="1508393"/>
              <a:chExt cx="235940" cy="292904"/>
            </a:xfrm>
            <a:noFill/>
          </p:grpSpPr>
          <p:sp>
            <p:nvSpPr>
              <p:cNvPr id="849" name="Forma livre: Forma 848">
                <a:extLst>
                  <a:ext uri="{FF2B5EF4-FFF2-40B4-BE49-F238E27FC236}">
                    <a16:creationId xmlns:a16="http://schemas.microsoft.com/office/drawing/2014/main" id="{A18AF357-36C6-D9FC-6D03-1954FE05524E}"/>
                  </a:ext>
                </a:extLst>
              </p:cNvPr>
              <p:cNvSpPr/>
              <p:nvPr/>
            </p:nvSpPr>
            <p:spPr>
              <a:xfrm>
                <a:off x="7448895" y="1508393"/>
                <a:ext cx="74571" cy="38770"/>
              </a:xfrm>
              <a:custGeom>
                <a:avLst/>
                <a:gdLst>
                  <a:gd name="connsiteX0" fmla="*/ 0 w 74571"/>
                  <a:gd name="connsiteY0" fmla="*/ 38771 h 38770"/>
                  <a:gd name="connsiteX1" fmla="*/ 0 w 74571"/>
                  <a:gd name="connsiteY1" fmla="*/ 18968 h 38770"/>
                  <a:gd name="connsiteX2" fmla="*/ 18968 w 74571"/>
                  <a:gd name="connsiteY2" fmla="*/ 0 h 38770"/>
                  <a:gd name="connsiteX3" fmla="*/ 55591 w 74571"/>
                  <a:gd name="connsiteY3" fmla="*/ 0 h 38770"/>
                  <a:gd name="connsiteX4" fmla="*/ 74571 w 74571"/>
                  <a:gd name="connsiteY4" fmla="*/ 18968 h 38770"/>
                  <a:gd name="connsiteX5" fmla="*/ 74571 w 74571"/>
                  <a:gd name="connsiteY5" fmla="*/ 38771 h 387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74571" h="38770">
                    <a:moveTo>
                      <a:pt x="0" y="38771"/>
                    </a:moveTo>
                    <a:lnTo>
                      <a:pt x="0" y="18968"/>
                    </a:lnTo>
                    <a:cubicBezTo>
                      <a:pt x="0" y="8530"/>
                      <a:pt x="8530" y="0"/>
                      <a:pt x="18968" y="0"/>
                    </a:cubicBezTo>
                    <a:lnTo>
                      <a:pt x="55591" y="0"/>
                    </a:lnTo>
                    <a:cubicBezTo>
                      <a:pt x="66041" y="0"/>
                      <a:pt x="74571" y="8530"/>
                      <a:pt x="74571" y="18968"/>
                    </a:cubicBezTo>
                    <a:lnTo>
                      <a:pt x="74571" y="38771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850" name="Forma livre: Forma 849">
                <a:extLst>
                  <a:ext uri="{FF2B5EF4-FFF2-40B4-BE49-F238E27FC236}">
                    <a16:creationId xmlns:a16="http://schemas.microsoft.com/office/drawing/2014/main" id="{110D9CE9-EBF6-5295-437F-6E5320CF2AC4}"/>
                  </a:ext>
                </a:extLst>
              </p:cNvPr>
              <p:cNvSpPr/>
              <p:nvPr/>
            </p:nvSpPr>
            <p:spPr>
              <a:xfrm>
                <a:off x="7566615" y="1559165"/>
                <a:ext cx="35502" cy="32388"/>
              </a:xfrm>
              <a:custGeom>
                <a:avLst/>
                <a:gdLst>
                  <a:gd name="connsiteX0" fmla="*/ 0 w 35502"/>
                  <a:gd name="connsiteY0" fmla="*/ 0 h 32388"/>
                  <a:gd name="connsiteX1" fmla="*/ 35502 w 35502"/>
                  <a:gd name="connsiteY1" fmla="*/ 32388 h 323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5502" h="32388">
                    <a:moveTo>
                      <a:pt x="0" y="0"/>
                    </a:moveTo>
                    <a:cubicBezTo>
                      <a:pt x="13528" y="8804"/>
                      <a:pt x="25517" y="19767"/>
                      <a:pt x="35502" y="32388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851" name="Forma livre: Forma 850">
                <a:extLst>
                  <a:ext uri="{FF2B5EF4-FFF2-40B4-BE49-F238E27FC236}">
                    <a16:creationId xmlns:a16="http://schemas.microsoft.com/office/drawing/2014/main" id="{42F252D7-8A5E-3E32-2B4B-601552EE630F}"/>
                  </a:ext>
                </a:extLst>
              </p:cNvPr>
              <p:cNvSpPr/>
              <p:nvPr/>
            </p:nvSpPr>
            <p:spPr>
              <a:xfrm>
                <a:off x="7486175" y="1534674"/>
                <a:ext cx="1192" cy="31624"/>
              </a:xfrm>
              <a:custGeom>
                <a:avLst/>
                <a:gdLst>
                  <a:gd name="connsiteX0" fmla="*/ 0 w 1192"/>
                  <a:gd name="connsiteY0" fmla="*/ 0 h 31624"/>
                  <a:gd name="connsiteX1" fmla="*/ 0 w 1192"/>
                  <a:gd name="connsiteY1" fmla="*/ 31625 h 316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2" h="31624">
                    <a:moveTo>
                      <a:pt x="0" y="0"/>
                    </a:moveTo>
                    <a:lnTo>
                      <a:pt x="0" y="31625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852" name="Forma livre: Forma 851">
                <a:extLst>
                  <a:ext uri="{FF2B5EF4-FFF2-40B4-BE49-F238E27FC236}">
                    <a16:creationId xmlns:a16="http://schemas.microsoft.com/office/drawing/2014/main" id="{BBF1573D-37F8-2B9D-3337-8310F43688B4}"/>
                  </a:ext>
                </a:extLst>
              </p:cNvPr>
              <p:cNvSpPr/>
              <p:nvPr/>
            </p:nvSpPr>
            <p:spPr>
              <a:xfrm>
                <a:off x="7403719" y="1683327"/>
                <a:ext cx="99145" cy="82468"/>
              </a:xfrm>
              <a:custGeom>
                <a:avLst/>
                <a:gdLst>
                  <a:gd name="connsiteX0" fmla="*/ 99146 w 99145"/>
                  <a:gd name="connsiteY0" fmla="*/ 80786 h 82468"/>
                  <a:gd name="connsiteX1" fmla="*/ 82468 w 99145"/>
                  <a:gd name="connsiteY1" fmla="*/ 82468 h 82468"/>
                  <a:gd name="connsiteX2" fmla="*/ 0 w 99145"/>
                  <a:gd name="connsiteY2" fmla="*/ 0 h 824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99145" h="82468">
                    <a:moveTo>
                      <a:pt x="99146" y="80786"/>
                    </a:moveTo>
                    <a:cubicBezTo>
                      <a:pt x="93754" y="81896"/>
                      <a:pt x="88171" y="82468"/>
                      <a:pt x="82468" y="82468"/>
                    </a:cubicBezTo>
                    <a:cubicBezTo>
                      <a:pt x="36910" y="82468"/>
                      <a:pt x="0" y="45547"/>
                      <a:pt x="0" y="0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853" name="Forma livre: Forma 852">
                <a:extLst>
                  <a:ext uri="{FF2B5EF4-FFF2-40B4-BE49-F238E27FC236}">
                    <a16:creationId xmlns:a16="http://schemas.microsoft.com/office/drawing/2014/main" id="{A6AE67B2-3CFC-DECC-D90E-8DB1CF059339}"/>
                  </a:ext>
                </a:extLst>
              </p:cNvPr>
              <p:cNvSpPr/>
              <p:nvPr/>
            </p:nvSpPr>
            <p:spPr>
              <a:xfrm>
                <a:off x="7486175" y="1600859"/>
                <a:ext cx="82468" cy="86047"/>
              </a:xfrm>
              <a:custGeom>
                <a:avLst/>
                <a:gdLst>
                  <a:gd name="connsiteX0" fmla="*/ 0 w 82468"/>
                  <a:gd name="connsiteY0" fmla="*/ 0 h 86047"/>
                  <a:gd name="connsiteX1" fmla="*/ 82468 w 82468"/>
                  <a:gd name="connsiteY1" fmla="*/ 82468 h 86047"/>
                  <a:gd name="connsiteX2" fmla="*/ 82385 w 82468"/>
                  <a:gd name="connsiteY2" fmla="*/ 86047 h 860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2468" h="86047">
                    <a:moveTo>
                      <a:pt x="0" y="0"/>
                    </a:moveTo>
                    <a:cubicBezTo>
                      <a:pt x="45535" y="0"/>
                      <a:pt x="82468" y="36922"/>
                      <a:pt x="82468" y="82468"/>
                    </a:cubicBezTo>
                    <a:cubicBezTo>
                      <a:pt x="82468" y="83673"/>
                      <a:pt x="82444" y="84866"/>
                      <a:pt x="82385" y="86047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854" name="Forma livre: Forma 853">
                <a:extLst>
                  <a:ext uri="{FF2B5EF4-FFF2-40B4-BE49-F238E27FC236}">
                    <a16:creationId xmlns:a16="http://schemas.microsoft.com/office/drawing/2014/main" id="{5F0A0780-A0AC-896E-1BEE-BCE48589EE20}"/>
                  </a:ext>
                </a:extLst>
              </p:cNvPr>
              <p:cNvSpPr/>
              <p:nvPr/>
            </p:nvSpPr>
            <p:spPr>
              <a:xfrm>
                <a:off x="7368216" y="1565357"/>
                <a:ext cx="235940" cy="235940"/>
              </a:xfrm>
              <a:custGeom>
                <a:avLst/>
                <a:gdLst>
                  <a:gd name="connsiteX0" fmla="*/ 136998 w 235940"/>
                  <a:gd name="connsiteY0" fmla="*/ 234414 h 235940"/>
                  <a:gd name="connsiteX1" fmla="*/ 117970 w 235940"/>
                  <a:gd name="connsiteY1" fmla="*/ 235941 h 235940"/>
                  <a:gd name="connsiteX2" fmla="*/ 0 w 235940"/>
                  <a:gd name="connsiteY2" fmla="*/ 117982 h 235940"/>
                  <a:gd name="connsiteX3" fmla="*/ 117970 w 235940"/>
                  <a:gd name="connsiteY3" fmla="*/ 0 h 235940"/>
                  <a:gd name="connsiteX4" fmla="*/ 235941 w 235940"/>
                  <a:gd name="connsiteY4" fmla="*/ 117982 h 235940"/>
                  <a:gd name="connsiteX5" fmla="*/ 235798 w 235940"/>
                  <a:gd name="connsiteY5" fmla="*/ 123864 h 2359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35940" h="235940">
                    <a:moveTo>
                      <a:pt x="136998" y="234414"/>
                    </a:moveTo>
                    <a:cubicBezTo>
                      <a:pt x="130795" y="235416"/>
                      <a:pt x="124448" y="235941"/>
                      <a:pt x="117970" y="235941"/>
                    </a:cubicBezTo>
                    <a:cubicBezTo>
                      <a:pt x="52812" y="235941"/>
                      <a:pt x="0" y="183129"/>
                      <a:pt x="0" y="117982"/>
                    </a:cubicBezTo>
                    <a:cubicBezTo>
                      <a:pt x="0" y="52836"/>
                      <a:pt x="52812" y="0"/>
                      <a:pt x="117970" y="0"/>
                    </a:cubicBezTo>
                    <a:cubicBezTo>
                      <a:pt x="183129" y="0"/>
                      <a:pt x="235941" y="52812"/>
                      <a:pt x="235941" y="117982"/>
                    </a:cubicBezTo>
                    <a:cubicBezTo>
                      <a:pt x="235941" y="119951"/>
                      <a:pt x="235893" y="121919"/>
                      <a:pt x="235798" y="123864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855" name="Forma livre: Forma 854">
                <a:extLst>
                  <a:ext uri="{FF2B5EF4-FFF2-40B4-BE49-F238E27FC236}">
                    <a16:creationId xmlns:a16="http://schemas.microsoft.com/office/drawing/2014/main" id="{AFE9FA92-5643-8874-FBE5-704852256350}"/>
                  </a:ext>
                </a:extLst>
              </p:cNvPr>
              <p:cNvSpPr/>
              <p:nvPr/>
            </p:nvSpPr>
            <p:spPr>
              <a:xfrm>
                <a:off x="7464404" y="1661556"/>
                <a:ext cx="43542" cy="43542"/>
              </a:xfrm>
              <a:custGeom>
                <a:avLst/>
                <a:gdLst>
                  <a:gd name="connsiteX0" fmla="*/ 43542 w 43542"/>
                  <a:gd name="connsiteY0" fmla="*/ 21771 h 43542"/>
                  <a:gd name="connsiteX1" fmla="*/ 21771 w 43542"/>
                  <a:gd name="connsiteY1" fmla="*/ 43543 h 43542"/>
                  <a:gd name="connsiteX2" fmla="*/ 0 w 43542"/>
                  <a:gd name="connsiteY2" fmla="*/ 21771 h 43542"/>
                  <a:gd name="connsiteX3" fmla="*/ 21771 w 43542"/>
                  <a:gd name="connsiteY3" fmla="*/ 0 h 43542"/>
                  <a:gd name="connsiteX4" fmla="*/ 43542 w 43542"/>
                  <a:gd name="connsiteY4" fmla="*/ 21771 h 435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3542" h="43542">
                    <a:moveTo>
                      <a:pt x="43542" y="21771"/>
                    </a:moveTo>
                    <a:cubicBezTo>
                      <a:pt x="43542" y="33795"/>
                      <a:pt x="33795" y="43543"/>
                      <a:pt x="21771" y="43543"/>
                    </a:cubicBezTo>
                    <a:cubicBezTo>
                      <a:pt x="9747" y="43543"/>
                      <a:pt x="0" y="33795"/>
                      <a:pt x="0" y="21771"/>
                    </a:cubicBezTo>
                    <a:cubicBezTo>
                      <a:pt x="0" y="9747"/>
                      <a:pt x="9747" y="0"/>
                      <a:pt x="21771" y="0"/>
                    </a:cubicBezTo>
                    <a:cubicBezTo>
                      <a:pt x="33795" y="0"/>
                      <a:pt x="43542" y="9747"/>
                      <a:pt x="43542" y="21771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856" name="Forma livre: Forma 855">
                <a:extLst>
                  <a:ext uri="{FF2B5EF4-FFF2-40B4-BE49-F238E27FC236}">
                    <a16:creationId xmlns:a16="http://schemas.microsoft.com/office/drawing/2014/main" id="{F82E3FAF-2C14-CF07-4E9A-C2BA6A9CB04A}"/>
                  </a:ext>
                </a:extLst>
              </p:cNvPr>
              <p:cNvSpPr/>
              <p:nvPr/>
            </p:nvSpPr>
            <p:spPr>
              <a:xfrm>
                <a:off x="7506789" y="1691153"/>
                <a:ext cx="21878" cy="8147"/>
              </a:xfrm>
              <a:custGeom>
                <a:avLst/>
                <a:gdLst>
                  <a:gd name="connsiteX0" fmla="*/ 0 w 21878"/>
                  <a:gd name="connsiteY0" fmla="*/ 0 h 8147"/>
                  <a:gd name="connsiteX1" fmla="*/ 21879 w 21878"/>
                  <a:gd name="connsiteY1" fmla="*/ 8148 h 81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1878" h="8147">
                    <a:moveTo>
                      <a:pt x="0" y="0"/>
                    </a:moveTo>
                    <a:lnTo>
                      <a:pt x="21879" y="8148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857" name="Forma livre: Forma 856">
                <a:extLst>
                  <a:ext uri="{FF2B5EF4-FFF2-40B4-BE49-F238E27FC236}">
                    <a16:creationId xmlns:a16="http://schemas.microsoft.com/office/drawing/2014/main" id="{FF7F6207-0CE9-DA81-7A1C-AF644E29F8A6}"/>
                  </a:ext>
                </a:extLst>
              </p:cNvPr>
              <p:cNvSpPr/>
              <p:nvPr/>
            </p:nvSpPr>
            <p:spPr>
              <a:xfrm>
                <a:off x="7411282" y="1655567"/>
                <a:ext cx="54255" cy="20208"/>
              </a:xfrm>
              <a:custGeom>
                <a:avLst/>
                <a:gdLst>
                  <a:gd name="connsiteX0" fmla="*/ 0 w 54255"/>
                  <a:gd name="connsiteY0" fmla="*/ 0 h 20208"/>
                  <a:gd name="connsiteX1" fmla="*/ 54255 w 54255"/>
                  <a:gd name="connsiteY1" fmla="*/ 20209 h 202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4255" h="20208">
                    <a:moveTo>
                      <a:pt x="0" y="0"/>
                    </a:moveTo>
                    <a:lnTo>
                      <a:pt x="54255" y="20209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858" name="Gráfico 9">
            <a:extLst>
              <a:ext uri="{FF2B5EF4-FFF2-40B4-BE49-F238E27FC236}">
                <a16:creationId xmlns:a16="http://schemas.microsoft.com/office/drawing/2014/main" id="{144103A6-E8CA-D824-C725-B433432C0496}"/>
              </a:ext>
            </a:extLst>
          </p:cNvPr>
          <p:cNvGrpSpPr/>
          <p:nvPr/>
        </p:nvGrpSpPr>
        <p:grpSpPr>
          <a:xfrm>
            <a:off x="6101964" y="1529544"/>
            <a:ext cx="348268" cy="288263"/>
            <a:chOff x="6101964" y="1529544"/>
            <a:chExt cx="348268" cy="288263"/>
          </a:xfrm>
          <a:noFill/>
        </p:grpSpPr>
        <p:grpSp>
          <p:nvGrpSpPr>
            <p:cNvPr id="859" name="Gráfico 9">
              <a:extLst>
                <a:ext uri="{FF2B5EF4-FFF2-40B4-BE49-F238E27FC236}">
                  <a16:creationId xmlns:a16="http://schemas.microsoft.com/office/drawing/2014/main" id="{95953010-0478-D619-A43E-0F819E0764D8}"/>
                </a:ext>
              </a:extLst>
            </p:cNvPr>
            <p:cNvGrpSpPr/>
            <p:nvPr/>
          </p:nvGrpSpPr>
          <p:grpSpPr>
            <a:xfrm>
              <a:off x="6363398" y="1703392"/>
              <a:ext cx="34762" cy="89936"/>
              <a:chOff x="6363398" y="1703392"/>
              <a:chExt cx="34762" cy="89936"/>
            </a:xfrm>
            <a:noFill/>
          </p:grpSpPr>
          <p:sp>
            <p:nvSpPr>
              <p:cNvPr id="860" name="Forma livre: Forma 859">
                <a:extLst>
                  <a:ext uri="{FF2B5EF4-FFF2-40B4-BE49-F238E27FC236}">
                    <a16:creationId xmlns:a16="http://schemas.microsoft.com/office/drawing/2014/main" id="{79B922A7-14BE-D93C-3894-A57D75A218EF}"/>
                  </a:ext>
                </a:extLst>
              </p:cNvPr>
              <p:cNvSpPr/>
              <p:nvPr/>
            </p:nvSpPr>
            <p:spPr>
              <a:xfrm>
                <a:off x="6363398" y="1715286"/>
                <a:ext cx="34762" cy="66124"/>
              </a:xfrm>
              <a:custGeom>
                <a:avLst/>
                <a:gdLst>
                  <a:gd name="connsiteX0" fmla="*/ 60 w 34762"/>
                  <a:gd name="connsiteY0" fmla="*/ 49996 h 66124"/>
                  <a:gd name="connsiteX1" fmla="*/ 17405 w 34762"/>
                  <a:gd name="connsiteY1" fmla="*/ 66125 h 66124"/>
                  <a:gd name="connsiteX2" fmla="*/ 34762 w 34762"/>
                  <a:gd name="connsiteY2" fmla="*/ 49996 h 66124"/>
                  <a:gd name="connsiteX3" fmla="*/ 17369 w 34762"/>
                  <a:gd name="connsiteY3" fmla="*/ 33056 h 66124"/>
                  <a:gd name="connsiteX4" fmla="*/ 0 w 34762"/>
                  <a:gd name="connsiteY4" fmla="*/ 16129 h 66124"/>
                  <a:gd name="connsiteX5" fmla="*/ 17345 w 34762"/>
                  <a:gd name="connsiteY5" fmla="*/ 0 h 66124"/>
                  <a:gd name="connsiteX6" fmla="*/ 34691 w 34762"/>
                  <a:gd name="connsiteY6" fmla="*/ 16129 h 661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4762" h="66124">
                    <a:moveTo>
                      <a:pt x="60" y="49996"/>
                    </a:moveTo>
                    <a:cubicBezTo>
                      <a:pt x="60" y="58908"/>
                      <a:pt x="7838" y="66125"/>
                      <a:pt x="17405" y="66125"/>
                    </a:cubicBezTo>
                    <a:cubicBezTo>
                      <a:pt x="26973" y="66125"/>
                      <a:pt x="34762" y="58908"/>
                      <a:pt x="34762" y="49996"/>
                    </a:cubicBezTo>
                    <a:cubicBezTo>
                      <a:pt x="34762" y="41085"/>
                      <a:pt x="25505" y="37196"/>
                      <a:pt x="17369" y="33056"/>
                    </a:cubicBezTo>
                    <a:cubicBezTo>
                      <a:pt x="9257" y="28941"/>
                      <a:pt x="0" y="25040"/>
                      <a:pt x="0" y="16129"/>
                    </a:cubicBezTo>
                    <a:cubicBezTo>
                      <a:pt x="0" y="7217"/>
                      <a:pt x="7754" y="0"/>
                      <a:pt x="17345" y="0"/>
                    </a:cubicBezTo>
                    <a:cubicBezTo>
                      <a:pt x="26937" y="0"/>
                      <a:pt x="34691" y="7229"/>
                      <a:pt x="34691" y="16129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861" name="Forma livre: Forma 860">
                <a:extLst>
                  <a:ext uri="{FF2B5EF4-FFF2-40B4-BE49-F238E27FC236}">
                    <a16:creationId xmlns:a16="http://schemas.microsoft.com/office/drawing/2014/main" id="{A6D97B30-7580-565C-536E-F801764B9255}"/>
                  </a:ext>
                </a:extLst>
              </p:cNvPr>
              <p:cNvSpPr/>
              <p:nvPr/>
            </p:nvSpPr>
            <p:spPr>
              <a:xfrm>
                <a:off x="6380732" y="1703392"/>
                <a:ext cx="1192" cy="11822"/>
              </a:xfrm>
              <a:custGeom>
                <a:avLst/>
                <a:gdLst>
                  <a:gd name="connsiteX0" fmla="*/ 0 w 1192"/>
                  <a:gd name="connsiteY0" fmla="*/ 11822 h 11822"/>
                  <a:gd name="connsiteX1" fmla="*/ 0 w 1192"/>
                  <a:gd name="connsiteY1" fmla="*/ 0 h 118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2" h="11822">
                    <a:moveTo>
                      <a:pt x="0" y="11822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862" name="Forma livre: Forma 861">
                <a:extLst>
                  <a:ext uri="{FF2B5EF4-FFF2-40B4-BE49-F238E27FC236}">
                    <a16:creationId xmlns:a16="http://schemas.microsoft.com/office/drawing/2014/main" id="{26C82279-C9AD-953E-1EA4-6D763F76D6C2}"/>
                  </a:ext>
                </a:extLst>
              </p:cNvPr>
              <p:cNvSpPr/>
              <p:nvPr/>
            </p:nvSpPr>
            <p:spPr>
              <a:xfrm>
                <a:off x="6380732" y="1781483"/>
                <a:ext cx="1192" cy="11845"/>
              </a:xfrm>
              <a:custGeom>
                <a:avLst/>
                <a:gdLst>
                  <a:gd name="connsiteX0" fmla="*/ 0 w 1192"/>
                  <a:gd name="connsiteY0" fmla="*/ 11846 h 11845"/>
                  <a:gd name="connsiteX1" fmla="*/ 0 w 1192"/>
                  <a:gd name="connsiteY1" fmla="*/ 0 h 118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2" h="11845">
                    <a:moveTo>
                      <a:pt x="0" y="11846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863" name="Forma livre: Forma 862">
              <a:extLst>
                <a:ext uri="{FF2B5EF4-FFF2-40B4-BE49-F238E27FC236}">
                  <a16:creationId xmlns:a16="http://schemas.microsoft.com/office/drawing/2014/main" id="{79BE525F-572C-9B6C-6C79-F26A04A5A7A5}"/>
                </a:ext>
              </a:extLst>
            </p:cNvPr>
            <p:cNvSpPr/>
            <p:nvPr/>
          </p:nvSpPr>
          <p:spPr>
            <a:xfrm>
              <a:off x="6311302" y="1678877"/>
              <a:ext cx="138930" cy="138930"/>
            </a:xfrm>
            <a:custGeom>
              <a:avLst/>
              <a:gdLst>
                <a:gd name="connsiteX0" fmla="*/ 138930 w 138930"/>
                <a:gd name="connsiteY0" fmla="*/ 69465 h 138930"/>
                <a:gd name="connsiteX1" fmla="*/ 69465 w 138930"/>
                <a:gd name="connsiteY1" fmla="*/ 138931 h 138930"/>
                <a:gd name="connsiteX2" fmla="*/ 0 w 138930"/>
                <a:gd name="connsiteY2" fmla="*/ 69465 h 138930"/>
                <a:gd name="connsiteX3" fmla="*/ 69465 w 138930"/>
                <a:gd name="connsiteY3" fmla="*/ 0 h 138930"/>
                <a:gd name="connsiteX4" fmla="*/ 138930 w 138930"/>
                <a:gd name="connsiteY4" fmla="*/ 69465 h 1389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8930" h="138930">
                  <a:moveTo>
                    <a:pt x="138930" y="69465"/>
                  </a:moveTo>
                  <a:cubicBezTo>
                    <a:pt x="138930" y="107830"/>
                    <a:pt x="107830" y="138931"/>
                    <a:pt x="69465" y="138931"/>
                  </a:cubicBezTo>
                  <a:cubicBezTo>
                    <a:pt x="31100" y="138931"/>
                    <a:pt x="0" y="107830"/>
                    <a:pt x="0" y="69465"/>
                  </a:cubicBezTo>
                  <a:cubicBezTo>
                    <a:pt x="0" y="31100"/>
                    <a:pt x="31100" y="0"/>
                    <a:pt x="69465" y="0"/>
                  </a:cubicBezTo>
                  <a:cubicBezTo>
                    <a:pt x="107830" y="0"/>
                    <a:pt x="138930" y="31100"/>
                    <a:pt x="138930" y="69465"/>
                  </a:cubicBez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864" name="Gráfico 9">
              <a:extLst>
                <a:ext uri="{FF2B5EF4-FFF2-40B4-BE49-F238E27FC236}">
                  <a16:creationId xmlns:a16="http://schemas.microsoft.com/office/drawing/2014/main" id="{70315DF8-B265-D10F-0172-CB11E817E007}"/>
                </a:ext>
              </a:extLst>
            </p:cNvPr>
            <p:cNvGrpSpPr/>
            <p:nvPr/>
          </p:nvGrpSpPr>
          <p:grpSpPr>
            <a:xfrm>
              <a:off x="6101964" y="1529544"/>
              <a:ext cx="276560" cy="249051"/>
              <a:chOff x="6101964" y="1529544"/>
              <a:chExt cx="276560" cy="249051"/>
            </a:xfrm>
            <a:noFill/>
          </p:grpSpPr>
          <p:sp>
            <p:nvSpPr>
              <p:cNvPr id="865" name="Forma livre: Forma 864">
                <a:extLst>
                  <a:ext uri="{FF2B5EF4-FFF2-40B4-BE49-F238E27FC236}">
                    <a16:creationId xmlns:a16="http://schemas.microsoft.com/office/drawing/2014/main" id="{59250211-B95E-AB36-2280-71F45509928A}"/>
                  </a:ext>
                </a:extLst>
              </p:cNvPr>
              <p:cNvSpPr/>
              <p:nvPr/>
            </p:nvSpPr>
            <p:spPr>
              <a:xfrm>
                <a:off x="6193547" y="1529544"/>
                <a:ext cx="93395" cy="34607"/>
              </a:xfrm>
              <a:custGeom>
                <a:avLst/>
                <a:gdLst>
                  <a:gd name="connsiteX0" fmla="*/ 0 w 93395"/>
                  <a:gd name="connsiteY0" fmla="*/ 34607 h 34607"/>
                  <a:gd name="connsiteX1" fmla="*/ 0 w 93395"/>
                  <a:gd name="connsiteY1" fmla="*/ 14697 h 34607"/>
                  <a:gd name="connsiteX2" fmla="*/ 14554 w 93395"/>
                  <a:gd name="connsiteY2" fmla="*/ 0 h 34607"/>
                  <a:gd name="connsiteX3" fmla="*/ 78842 w 93395"/>
                  <a:gd name="connsiteY3" fmla="*/ 0 h 34607"/>
                  <a:gd name="connsiteX4" fmla="*/ 93396 w 93395"/>
                  <a:gd name="connsiteY4" fmla="*/ 14697 h 34607"/>
                  <a:gd name="connsiteX5" fmla="*/ 93396 w 93395"/>
                  <a:gd name="connsiteY5" fmla="*/ 34607 h 346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93395" h="34607">
                    <a:moveTo>
                      <a:pt x="0" y="34607"/>
                    </a:moveTo>
                    <a:lnTo>
                      <a:pt x="0" y="14697"/>
                    </a:lnTo>
                    <a:cubicBezTo>
                      <a:pt x="0" y="6561"/>
                      <a:pt x="6537" y="0"/>
                      <a:pt x="14554" y="0"/>
                    </a:cubicBezTo>
                    <a:lnTo>
                      <a:pt x="78842" y="0"/>
                    </a:lnTo>
                    <a:cubicBezTo>
                      <a:pt x="86846" y="0"/>
                      <a:pt x="93396" y="6561"/>
                      <a:pt x="93396" y="14697"/>
                    </a:cubicBezTo>
                    <a:lnTo>
                      <a:pt x="93396" y="34607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866" name="Forma livre: Forma 865">
                <a:extLst>
                  <a:ext uri="{FF2B5EF4-FFF2-40B4-BE49-F238E27FC236}">
                    <a16:creationId xmlns:a16="http://schemas.microsoft.com/office/drawing/2014/main" id="{D2763571-3FCA-2E62-DC25-334811BD57CE}"/>
                  </a:ext>
                </a:extLst>
              </p:cNvPr>
              <p:cNvSpPr/>
              <p:nvPr/>
            </p:nvSpPr>
            <p:spPr>
              <a:xfrm>
                <a:off x="6101964" y="1585732"/>
                <a:ext cx="276560" cy="90663"/>
              </a:xfrm>
              <a:custGeom>
                <a:avLst/>
                <a:gdLst>
                  <a:gd name="connsiteX0" fmla="*/ 276561 w 276560"/>
                  <a:gd name="connsiteY0" fmla="*/ 30325 h 90663"/>
                  <a:gd name="connsiteX1" fmla="*/ 155262 w 276560"/>
                  <a:gd name="connsiteY1" fmla="*/ 90664 h 90663"/>
                  <a:gd name="connsiteX2" fmla="*/ 121299 w 276560"/>
                  <a:gd name="connsiteY2" fmla="*/ 90664 h 90663"/>
                  <a:gd name="connsiteX3" fmla="*/ 0 w 276560"/>
                  <a:gd name="connsiteY3" fmla="*/ 30325 h 90663"/>
                  <a:gd name="connsiteX4" fmla="*/ 0 w 276560"/>
                  <a:gd name="connsiteY4" fmla="*/ 0 h 90663"/>
                  <a:gd name="connsiteX5" fmla="*/ 276561 w 276560"/>
                  <a:gd name="connsiteY5" fmla="*/ 0 h 90663"/>
                  <a:gd name="connsiteX6" fmla="*/ 276561 w 276560"/>
                  <a:gd name="connsiteY6" fmla="*/ 30325 h 906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76560" h="90663">
                    <a:moveTo>
                      <a:pt x="276561" y="30325"/>
                    </a:moveTo>
                    <a:cubicBezTo>
                      <a:pt x="276561" y="66161"/>
                      <a:pt x="221983" y="90664"/>
                      <a:pt x="155262" y="90664"/>
                    </a:cubicBezTo>
                    <a:lnTo>
                      <a:pt x="121299" y="90664"/>
                    </a:lnTo>
                    <a:cubicBezTo>
                      <a:pt x="54577" y="90664"/>
                      <a:pt x="0" y="66161"/>
                      <a:pt x="0" y="30325"/>
                    </a:cubicBezTo>
                    <a:lnTo>
                      <a:pt x="0" y="0"/>
                    </a:lnTo>
                    <a:lnTo>
                      <a:pt x="276561" y="0"/>
                    </a:lnTo>
                    <a:lnTo>
                      <a:pt x="276561" y="30325"/>
                    </a:lnTo>
                    <a:close/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867" name="Forma livre: Forma 866">
                <a:extLst>
                  <a:ext uri="{FF2B5EF4-FFF2-40B4-BE49-F238E27FC236}">
                    <a16:creationId xmlns:a16="http://schemas.microsoft.com/office/drawing/2014/main" id="{9BE19D9C-89D5-58E8-4002-EB7F32937015}"/>
                  </a:ext>
                </a:extLst>
              </p:cNvPr>
              <p:cNvSpPr/>
              <p:nvPr/>
            </p:nvSpPr>
            <p:spPr>
              <a:xfrm>
                <a:off x="6101964" y="1670026"/>
                <a:ext cx="189571" cy="108570"/>
              </a:xfrm>
              <a:custGeom>
                <a:avLst/>
                <a:gdLst>
                  <a:gd name="connsiteX0" fmla="*/ 189571 w 189571"/>
                  <a:gd name="connsiteY0" fmla="*/ 108570 h 108570"/>
                  <a:gd name="connsiteX1" fmla="*/ 0 w 189571"/>
                  <a:gd name="connsiteY1" fmla="*/ 108570 h 108570"/>
                  <a:gd name="connsiteX2" fmla="*/ 0 w 189571"/>
                  <a:gd name="connsiteY2" fmla="*/ 0 h 1085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89571" h="108570">
                    <a:moveTo>
                      <a:pt x="189571" y="108570"/>
                    </a:moveTo>
                    <a:lnTo>
                      <a:pt x="0" y="108570"/>
                    </a:lnTo>
                    <a:lnTo>
                      <a:pt x="0" y="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868" name="Forma livre: Forma 867">
                <a:extLst>
                  <a:ext uri="{FF2B5EF4-FFF2-40B4-BE49-F238E27FC236}">
                    <a16:creationId xmlns:a16="http://schemas.microsoft.com/office/drawing/2014/main" id="{43101D83-39AC-F953-3011-BF047B3798D6}"/>
                  </a:ext>
                </a:extLst>
              </p:cNvPr>
              <p:cNvSpPr/>
              <p:nvPr/>
            </p:nvSpPr>
            <p:spPr>
              <a:xfrm>
                <a:off x="6132838" y="1721179"/>
                <a:ext cx="154140" cy="28857"/>
              </a:xfrm>
              <a:custGeom>
                <a:avLst/>
                <a:gdLst>
                  <a:gd name="connsiteX0" fmla="*/ 154141 w 154140"/>
                  <a:gd name="connsiteY0" fmla="*/ 28857 h 28857"/>
                  <a:gd name="connsiteX1" fmla="*/ 0 w 154140"/>
                  <a:gd name="connsiteY1" fmla="*/ 28857 h 28857"/>
                  <a:gd name="connsiteX2" fmla="*/ 0 w 154140"/>
                  <a:gd name="connsiteY2" fmla="*/ 0 h 288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54140" h="28857">
                    <a:moveTo>
                      <a:pt x="154141" y="28857"/>
                    </a:moveTo>
                    <a:lnTo>
                      <a:pt x="0" y="28857"/>
                    </a:lnTo>
                    <a:lnTo>
                      <a:pt x="0" y="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869" name="Forma livre: Forma 868">
                <a:extLst>
                  <a:ext uri="{FF2B5EF4-FFF2-40B4-BE49-F238E27FC236}">
                    <a16:creationId xmlns:a16="http://schemas.microsoft.com/office/drawing/2014/main" id="{BF9800CA-2E6E-F792-9844-664A296B0825}"/>
                  </a:ext>
                </a:extLst>
              </p:cNvPr>
              <p:cNvSpPr/>
              <p:nvPr/>
            </p:nvSpPr>
            <p:spPr>
              <a:xfrm>
                <a:off x="6222249" y="1640584"/>
                <a:ext cx="35991" cy="1192"/>
              </a:xfrm>
              <a:custGeom>
                <a:avLst/>
                <a:gdLst>
                  <a:gd name="connsiteX0" fmla="*/ 0 w 35991"/>
                  <a:gd name="connsiteY0" fmla="*/ 0 h 1192"/>
                  <a:gd name="connsiteX1" fmla="*/ 35991 w 35991"/>
                  <a:gd name="connsiteY1" fmla="*/ 0 h 11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5991" h="1192">
                    <a:moveTo>
                      <a:pt x="0" y="0"/>
                    </a:moveTo>
                    <a:lnTo>
                      <a:pt x="35991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871" name="Gráfico 10">
            <a:extLst>
              <a:ext uri="{FF2B5EF4-FFF2-40B4-BE49-F238E27FC236}">
                <a16:creationId xmlns:a16="http://schemas.microsoft.com/office/drawing/2014/main" id="{326660FD-4B11-ADAB-34EA-48927F339192}"/>
              </a:ext>
            </a:extLst>
          </p:cNvPr>
          <p:cNvGrpSpPr/>
          <p:nvPr/>
        </p:nvGrpSpPr>
        <p:grpSpPr>
          <a:xfrm>
            <a:off x="9160876" y="1523004"/>
            <a:ext cx="316720" cy="298070"/>
            <a:chOff x="9160876" y="1523004"/>
            <a:chExt cx="316720" cy="298070"/>
          </a:xfrm>
        </p:grpSpPr>
        <p:sp>
          <p:nvSpPr>
            <p:cNvPr id="872" name="Forma livre: Forma 871">
              <a:extLst>
                <a:ext uri="{FF2B5EF4-FFF2-40B4-BE49-F238E27FC236}">
                  <a16:creationId xmlns:a16="http://schemas.microsoft.com/office/drawing/2014/main" id="{F350EF44-F1C2-6076-FC66-D978FCBCABAD}"/>
                </a:ext>
              </a:extLst>
            </p:cNvPr>
            <p:cNvSpPr/>
            <p:nvPr/>
          </p:nvSpPr>
          <p:spPr>
            <a:xfrm>
              <a:off x="9251468" y="1626437"/>
              <a:ext cx="7453" cy="7465"/>
            </a:xfrm>
            <a:custGeom>
              <a:avLst/>
              <a:gdLst>
                <a:gd name="connsiteX0" fmla="*/ 7454 w 7453"/>
                <a:gd name="connsiteY0" fmla="*/ 3733 h 7465"/>
                <a:gd name="connsiteX1" fmla="*/ 3733 w 7453"/>
                <a:gd name="connsiteY1" fmla="*/ 7466 h 7465"/>
                <a:gd name="connsiteX2" fmla="*/ 0 w 7453"/>
                <a:gd name="connsiteY2" fmla="*/ 3733 h 7465"/>
                <a:gd name="connsiteX3" fmla="*/ 3733 w 7453"/>
                <a:gd name="connsiteY3" fmla="*/ 0 h 7465"/>
                <a:gd name="connsiteX4" fmla="*/ 7454 w 7453"/>
                <a:gd name="connsiteY4" fmla="*/ 3733 h 74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453" h="7465">
                  <a:moveTo>
                    <a:pt x="7454" y="3733"/>
                  </a:moveTo>
                  <a:cubicBezTo>
                    <a:pt x="7454" y="5803"/>
                    <a:pt x="5803" y="7466"/>
                    <a:pt x="3733" y="7466"/>
                  </a:cubicBezTo>
                  <a:cubicBezTo>
                    <a:pt x="1663" y="7466"/>
                    <a:pt x="0" y="5803"/>
                    <a:pt x="0" y="3733"/>
                  </a:cubicBezTo>
                  <a:cubicBezTo>
                    <a:pt x="0" y="1663"/>
                    <a:pt x="1675" y="0"/>
                    <a:pt x="3733" y="0"/>
                  </a:cubicBezTo>
                  <a:cubicBezTo>
                    <a:pt x="5791" y="0"/>
                    <a:pt x="7454" y="1663"/>
                    <a:pt x="7454" y="3733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873" name="Gráfico 10">
              <a:extLst>
                <a:ext uri="{FF2B5EF4-FFF2-40B4-BE49-F238E27FC236}">
                  <a16:creationId xmlns:a16="http://schemas.microsoft.com/office/drawing/2014/main" id="{B2F4B82C-6781-5639-FF61-079675F286AA}"/>
                </a:ext>
              </a:extLst>
            </p:cNvPr>
            <p:cNvGrpSpPr/>
            <p:nvPr/>
          </p:nvGrpSpPr>
          <p:grpSpPr>
            <a:xfrm>
              <a:off x="9160876" y="1523004"/>
              <a:ext cx="316720" cy="298070"/>
              <a:chOff x="9160876" y="1523004"/>
              <a:chExt cx="316720" cy="298070"/>
            </a:xfrm>
            <a:noFill/>
          </p:grpSpPr>
          <p:grpSp>
            <p:nvGrpSpPr>
              <p:cNvPr id="874" name="Gráfico 10">
                <a:extLst>
                  <a:ext uri="{FF2B5EF4-FFF2-40B4-BE49-F238E27FC236}">
                    <a16:creationId xmlns:a16="http://schemas.microsoft.com/office/drawing/2014/main" id="{0A496922-A873-04EB-58A0-70314B725D91}"/>
                  </a:ext>
                </a:extLst>
              </p:cNvPr>
              <p:cNvGrpSpPr/>
              <p:nvPr/>
            </p:nvGrpSpPr>
            <p:grpSpPr>
              <a:xfrm>
                <a:off x="9160876" y="1523004"/>
                <a:ext cx="316720" cy="298070"/>
                <a:chOff x="9160876" y="1523004"/>
                <a:chExt cx="316720" cy="298070"/>
              </a:xfrm>
              <a:noFill/>
            </p:grpSpPr>
            <p:grpSp>
              <p:nvGrpSpPr>
                <p:cNvPr id="875" name="Gráfico 10">
                  <a:extLst>
                    <a:ext uri="{FF2B5EF4-FFF2-40B4-BE49-F238E27FC236}">
                      <a16:creationId xmlns:a16="http://schemas.microsoft.com/office/drawing/2014/main" id="{0AA24CA0-2C2D-137B-0B1F-019A0FECB9EB}"/>
                    </a:ext>
                  </a:extLst>
                </p:cNvPr>
                <p:cNvGrpSpPr/>
                <p:nvPr/>
              </p:nvGrpSpPr>
              <p:grpSpPr>
                <a:xfrm>
                  <a:off x="9160876" y="1544863"/>
                  <a:ext cx="316720" cy="276211"/>
                  <a:chOff x="9160876" y="1544863"/>
                  <a:chExt cx="316720" cy="276211"/>
                </a:xfrm>
                <a:noFill/>
              </p:grpSpPr>
              <p:sp>
                <p:nvSpPr>
                  <p:cNvPr id="876" name="Forma livre: Forma 875">
                    <a:extLst>
                      <a:ext uri="{FF2B5EF4-FFF2-40B4-BE49-F238E27FC236}">
                        <a16:creationId xmlns:a16="http://schemas.microsoft.com/office/drawing/2014/main" id="{1B78F92A-AD59-B8C5-13E8-139378A810A1}"/>
                      </a:ext>
                    </a:extLst>
                  </p:cNvPr>
                  <p:cNvSpPr/>
                  <p:nvPr/>
                </p:nvSpPr>
                <p:spPr>
                  <a:xfrm>
                    <a:off x="9444455" y="1625623"/>
                    <a:ext cx="33141" cy="16080"/>
                  </a:xfrm>
                  <a:custGeom>
                    <a:avLst/>
                    <a:gdLst>
                      <a:gd name="connsiteX0" fmla="*/ 0 w 33141"/>
                      <a:gd name="connsiteY0" fmla="*/ 16080 h 16080"/>
                      <a:gd name="connsiteX1" fmla="*/ 33142 w 33141"/>
                      <a:gd name="connsiteY1" fmla="*/ 0 h 1608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33141" h="16080">
                        <a:moveTo>
                          <a:pt x="0" y="16080"/>
                        </a:moveTo>
                        <a:lnTo>
                          <a:pt x="33142" y="0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877" name="Forma livre: Forma 876">
                    <a:extLst>
                      <a:ext uri="{FF2B5EF4-FFF2-40B4-BE49-F238E27FC236}">
                        <a16:creationId xmlns:a16="http://schemas.microsoft.com/office/drawing/2014/main" id="{66AF6505-A275-C849-A930-1FFCD9A089F2}"/>
                      </a:ext>
                    </a:extLst>
                  </p:cNvPr>
                  <p:cNvSpPr/>
                  <p:nvPr/>
                </p:nvSpPr>
                <p:spPr>
                  <a:xfrm>
                    <a:off x="9160876" y="1544863"/>
                    <a:ext cx="290027" cy="276211"/>
                  </a:xfrm>
                  <a:custGeom>
                    <a:avLst/>
                    <a:gdLst>
                      <a:gd name="connsiteX0" fmla="*/ 244371 w 290027"/>
                      <a:gd name="connsiteY0" fmla="*/ 50430 h 276211"/>
                      <a:gd name="connsiteX1" fmla="*/ 290027 w 290027"/>
                      <a:gd name="connsiteY1" fmla="*/ 135174 h 276211"/>
                      <a:gd name="connsiteX2" fmla="*/ 222680 w 290027"/>
                      <a:gd name="connsiteY2" fmla="*/ 232170 h 276211"/>
                      <a:gd name="connsiteX3" fmla="*/ 222680 w 290027"/>
                      <a:gd name="connsiteY3" fmla="*/ 266640 h 276211"/>
                      <a:gd name="connsiteX4" fmla="*/ 213108 w 290027"/>
                      <a:gd name="connsiteY4" fmla="*/ 276211 h 276211"/>
                      <a:gd name="connsiteX5" fmla="*/ 192158 w 290027"/>
                      <a:gd name="connsiteY5" fmla="*/ 276211 h 276211"/>
                      <a:gd name="connsiteX6" fmla="*/ 182587 w 290027"/>
                      <a:gd name="connsiteY6" fmla="*/ 266640 h 276211"/>
                      <a:gd name="connsiteX7" fmla="*/ 182587 w 290027"/>
                      <a:gd name="connsiteY7" fmla="*/ 242687 h 276211"/>
                      <a:gd name="connsiteX8" fmla="*/ 170383 w 290027"/>
                      <a:gd name="connsiteY8" fmla="*/ 243225 h 276211"/>
                      <a:gd name="connsiteX9" fmla="*/ 151898 w 290027"/>
                      <a:gd name="connsiteY9" fmla="*/ 243225 h 276211"/>
                      <a:gd name="connsiteX10" fmla="*/ 139850 w 290027"/>
                      <a:gd name="connsiteY10" fmla="*/ 242687 h 276211"/>
                      <a:gd name="connsiteX11" fmla="*/ 139850 w 290027"/>
                      <a:gd name="connsiteY11" fmla="*/ 266640 h 276211"/>
                      <a:gd name="connsiteX12" fmla="*/ 130278 w 290027"/>
                      <a:gd name="connsiteY12" fmla="*/ 276211 h 276211"/>
                      <a:gd name="connsiteX13" fmla="*/ 109328 w 290027"/>
                      <a:gd name="connsiteY13" fmla="*/ 276211 h 276211"/>
                      <a:gd name="connsiteX14" fmla="*/ 99757 w 290027"/>
                      <a:gd name="connsiteY14" fmla="*/ 266640 h 276211"/>
                      <a:gd name="connsiteX15" fmla="*/ 99757 w 290027"/>
                      <a:gd name="connsiteY15" fmla="*/ 232385 h 276211"/>
                      <a:gd name="connsiteX16" fmla="*/ 99099 w 290027"/>
                      <a:gd name="connsiteY16" fmla="*/ 232062 h 276211"/>
                      <a:gd name="connsiteX17" fmla="*/ 42124 w 290027"/>
                      <a:gd name="connsiteY17" fmla="*/ 177612 h 276211"/>
                      <a:gd name="connsiteX18" fmla="*/ 16855 w 290027"/>
                      <a:gd name="connsiteY18" fmla="*/ 177612 h 276211"/>
                      <a:gd name="connsiteX19" fmla="*/ 5250 w 290027"/>
                      <a:gd name="connsiteY19" fmla="*/ 86730 h 276211"/>
                      <a:gd name="connsiteX20" fmla="*/ 44637 w 290027"/>
                      <a:gd name="connsiteY20" fmla="*/ 86359 h 276211"/>
                      <a:gd name="connsiteX21" fmla="*/ 46659 w 290027"/>
                      <a:gd name="connsiteY21" fmla="*/ 84684 h 276211"/>
                      <a:gd name="connsiteX22" fmla="*/ 90101 w 290027"/>
                      <a:gd name="connsiteY22" fmla="*/ 42785 h 276211"/>
                      <a:gd name="connsiteX23" fmla="*/ 90353 w 290027"/>
                      <a:gd name="connsiteY23" fmla="*/ 42498 h 276211"/>
                      <a:gd name="connsiteX24" fmla="*/ 89778 w 290027"/>
                      <a:gd name="connsiteY24" fmla="*/ 0 h 276211"/>
                      <a:gd name="connsiteX25" fmla="*/ 131546 w 290027"/>
                      <a:gd name="connsiteY25" fmla="*/ 28751 h 276211"/>
                      <a:gd name="connsiteX26" fmla="*/ 132133 w 290027"/>
                      <a:gd name="connsiteY26" fmla="*/ 28751 h 276211"/>
                      <a:gd name="connsiteX27" fmla="*/ 151898 w 290027"/>
                      <a:gd name="connsiteY27" fmla="*/ 27135 h 276211"/>
                      <a:gd name="connsiteX28" fmla="*/ 164951 w 290027"/>
                      <a:gd name="connsiteY28" fmla="*/ 27135 h 27621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  <a:cxn ang="0">
                        <a:pos x="connsiteX25" y="connsiteY25"/>
                      </a:cxn>
                      <a:cxn ang="0">
                        <a:pos x="connsiteX26" y="connsiteY26"/>
                      </a:cxn>
                      <a:cxn ang="0">
                        <a:pos x="connsiteX27" y="connsiteY27"/>
                      </a:cxn>
                      <a:cxn ang="0">
                        <a:pos x="connsiteX28" y="connsiteY28"/>
                      </a:cxn>
                    </a:cxnLst>
                    <a:rect l="l" t="t" r="r" b="b"/>
                    <a:pathLst>
                      <a:path w="290027" h="276211">
                        <a:moveTo>
                          <a:pt x="244371" y="50430"/>
                        </a:moveTo>
                        <a:cubicBezTo>
                          <a:pt x="272129" y="70243"/>
                          <a:pt x="290027" y="100920"/>
                          <a:pt x="290027" y="135174"/>
                        </a:cubicBezTo>
                        <a:cubicBezTo>
                          <a:pt x="290027" y="177600"/>
                          <a:pt x="262330" y="214523"/>
                          <a:pt x="222680" y="232170"/>
                        </a:cubicBezTo>
                        <a:lnTo>
                          <a:pt x="222680" y="266640"/>
                        </a:lnTo>
                        <a:cubicBezTo>
                          <a:pt x="222680" y="271916"/>
                          <a:pt x="218372" y="276211"/>
                          <a:pt x="213108" y="276211"/>
                        </a:cubicBezTo>
                        <a:lnTo>
                          <a:pt x="192158" y="276211"/>
                        </a:lnTo>
                        <a:cubicBezTo>
                          <a:pt x="186894" y="276211"/>
                          <a:pt x="182587" y="271916"/>
                          <a:pt x="182587" y="266640"/>
                        </a:cubicBezTo>
                        <a:lnTo>
                          <a:pt x="182587" y="242687"/>
                        </a:lnTo>
                        <a:cubicBezTo>
                          <a:pt x="178674" y="243046"/>
                          <a:pt x="174391" y="243225"/>
                          <a:pt x="170383" y="243225"/>
                        </a:cubicBezTo>
                        <a:lnTo>
                          <a:pt x="151898" y="243225"/>
                        </a:lnTo>
                        <a:cubicBezTo>
                          <a:pt x="147902" y="243225"/>
                          <a:pt x="143762" y="243046"/>
                          <a:pt x="139850" y="242687"/>
                        </a:cubicBezTo>
                        <a:lnTo>
                          <a:pt x="139850" y="266640"/>
                        </a:lnTo>
                        <a:cubicBezTo>
                          <a:pt x="139850" y="271916"/>
                          <a:pt x="135554" y="276211"/>
                          <a:pt x="130278" y="276211"/>
                        </a:cubicBezTo>
                        <a:lnTo>
                          <a:pt x="109328" y="276211"/>
                        </a:lnTo>
                        <a:cubicBezTo>
                          <a:pt x="104064" y="276211"/>
                          <a:pt x="99757" y="271916"/>
                          <a:pt x="99757" y="266640"/>
                        </a:cubicBezTo>
                        <a:lnTo>
                          <a:pt x="99757" y="232385"/>
                        </a:lnTo>
                        <a:cubicBezTo>
                          <a:pt x="99757" y="232385"/>
                          <a:pt x="99218" y="232110"/>
                          <a:pt x="99099" y="232062"/>
                        </a:cubicBezTo>
                        <a:cubicBezTo>
                          <a:pt x="73770" y="220720"/>
                          <a:pt x="53442" y="201098"/>
                          <a:pt x="42124" y="177612"/>
                        </a:cubicBezTo>
                        <a:lnTo>
                          <a:pt x="16855" y="177612"/>
                        </a:lnTo>
                        <a:cubicBezTo>
                          <a:pt x="16855" y="177612"/>
                          <a:pt x="-11393" y="80987"/>
                          <a:pt x="5250" y="86730"/>
                        </a:cubicBezTo>
                        <a:cubicBezTo>
                          <a:pt x="25577" y="93741"/>
                          <a:pt x="43572" y="87005"/>
                          <a:pt x="44637" y="86359"/>
                        </a:cubicBezTo>
                        <a:cubicBezTo>
                          <a:pt x="45953" y="85570"/>
                          <a:pt x="46659" y="84684"/>
                          <a:pt x="46659" y="84684"/>
                        </a:cubicBezTo>
                        <a:cubicBezTo>
                          <a:pt x="56792" y="67360"/>
                          <a:pt x="71820" y="52883"/>
                          <a:pt x="90101" y="42785"/>
                        </a:cubicBezTo>
                        <a:lnTo>
                          <a:pt x="90353" y="42498"/>
                        </a:lnTo>
                        <a:lnTo>
                          <a:pt x="89778" y="0"/>
                        </a:lnTo>
                        <a:cubicBezTo>
                          <a:pt x="112571" y="0"/>
                          <a:pt x="131546" y="28751"/>
                          <a:pt x="131546" y="28751"/>
                        </a:cubicBezTo>
                        <a:lnTo>
                          <a:pt x="132133" y="28751"/>
                        </a:lnTo>
                        <a:cubicBezTo>
                          <a:pt x="138593" y="27781"/>
                          <a:pt x="145102" y="27135"/>
                          <a:pt x="151898" y="27135"/>
                        </a:cubicBezTo>
                        <a:lnTo>
                          <a:pt x="164951" y="27135"/>
                        </a:lnTo>
                      </a:path>
                    </a:pathLst>
                  </a:custGeom>
                  <a:noFill/>
                  <a:ln w="6350" cap="flat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  <p:sp>
              <p:nvSpPr>
                <p:cNvPr id="878" name="Forma livre: Forma 877">
                  <a:extLst>
                    <a:ext uri="{FF2B5EF4-FFF2-40B4-BE49-F238E27FC236}">
                      <a16:creationId xmlns:a16="http://schemas.microsoft.com/office/drawing/2014/main" id="{383BA5C6-DA19-F88D-0796-C1BE177A54D5}"/>
                    </a:ext>
                  </a:extLst>
                </p:cNvPr>
                <p:cNvSpPr/>
                <p:nvPr/>
              </p:nvSpPr>
              <p:spPr>
                <a:xfrm>
                  <a:off x="9344599" y="1523004"/>
                  <a:ext cx="60623" cy="60623"/>
                </a:xfrm>
                <a:custGeom>
                  <a:avLst/>
                  <a:gdLst>
                    <a:gd name="connsiteX0" fmla="*/ 30318 w 60623"/>
                    <a:gd name="connsiteY0" fmla="*/ 0 h 60623"/>
                    <a:gd name="connsiteX1" fmla="*/ 60624 w 60623"/>
                    <a:gd name="connsiteY1" fmla="*/ 30306 h 60623"/>
                    <a:gd name="connsiteX2" fmla="*/ 30318 w 60623"/>
                    <a:gd name="connsiteY2" fmla="*/ 60624 h 60623"/>
                    <a:gd name="connsiteX3" fmla="*/ 0 w 60623"/>
                    <a:gd name="connsiteY3" fmla="*/ 30306 h 60623"/>
                    <a:gd name="connsiteX4" fmla="*/ 30318 w 60623"/>
                    <a:gd name="connsiteY4" fmla="*/ 0 h 6062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60623" h="60623">
                      <a:moveTo>
                        <a:pt x="30318" y="0"/>
                      </a:moveTo>
                      <a:cubicBezTo>
                        <a:pt x="47056" y="0"/>
                        <a:pt x="60624" y="13568"/>
                        <a:pt x="60624" y="30306"/>
                      </a:cubicBezTo>
                      <a:cubicBezTo>
                        <a:pt x="60624" y="47044"/>
                        <a:pt x="47056" y="60624"/>
                        <a:pt x="30318" y="60624"/>
                      </a:cubicBezTo>
                      <a:cubicBezTo>
                        <a:pt x="13580" y="60624"/>
                        <a:pt x="0" y="47056"/>
                        <a:pt x="0" y="30306"/>
                      </a:cubicBezTo>
                      <a:cubicBezTo>
                        <a:pt x="0" y="13556"/>
                        <a:pt x="13568" y="0"/>
                        <a:pt x="30318" y="0"/>
                      </a:cubicBezTo>
                      <a:close/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879" name="Forma livre: Forma 878">
                <a:extLst>
                  <a:ext uri="{FF2B5EF4-FFF2-40B4-BE49-F238E27FC236}">
                    <a16:creationId xmlns:a16="http://schemas.microsoft.com/office/drawing/2014/main" id="{6171AE25-B63A-252D-A5A5-6AB410B2A24D}"/>
                  </a:ext>
                </a:extLst>
              </p:cNvPr>
              <p:cNvSpPr/>
              <p:nvPr/>
            </p:nvSpPr>
            <p:spPr>
              <a:xfrm>
                <a:off x="9313528" y="1607212"/>
                <a:ext cx="50812" cy="5309"/>
              </a:xfrm>
              <a:custGeom>
                <a:avLst/>
                <a:gdLst>
                  <a:gd name="connsiteX0" fmla="*/ 0 w 50812"/>
                  <a:gd name="connsiteY0" fmla="*/ 2235 h 5309"/>
                  <a:gd name="connsiteX1" fmla="*/ 50813 w 50812"/>
                  <a:gd name="connsiteY1" fmla="*/ 5310 h 53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0812" h="5309">
                    <a:moveTo>
                      <a:pt x="0" y="2235"/>
                    </a:moveTo>
                    <a:cubicBezTo>
                      <a:pt x="0" y="2235"/>
                      <a:pt x="27877" y="-4453"/>
                      <a:pt x="50813" y="5310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880" name="Gráfico 10">
            <a:extLst>
              <a:ext uri="{FF2B5EF4-FFF2-40B4-BE49-F238E27FC236}">
                <a16:creationId xmlns:a16="http://schemas.microsoft.com/office/drawing/2014/main" id="{4398EAAE-2459-C59B-8B30-0865CC558E6B}"/>
              </a:ext>
            </a:extLst>
          </p:cNvPr>
          <p:cNvGrpSpPr/>
          <p:nvPr/>
        </p:nvGrpSpPr>
        <p:grpSpPr>
          <a:xfrm>
            <a:off x="8556585" y="1532492"/>
            <a:ext cx="282229" cy="279094"/>
            <a:chOff x="8556585" y="1532492"/>
            <a:chExt cx="282229" cy="279094"/>
          </a:xfrm>
          <a:noFill/>
        </p:grpSpPr>
        <p:sp>
          <p:nvSpPr>
            <p:cNvPr id="881" name="Forma livre: Forma 880">
              <a:extLst>
                <a:ext uri="{FF2B5EF4-FFF2-40B4-BE49-F238E27FC236}">
                  <a16:creationId xmlns:a16="http://schemas.microsoft.com/office/drawing/2014/main" id="{701016B1-C13E-8ED3-E4A1-1A9F03A44524}"/>
                </a:ext>
              </a:extLst>
            </p:cNvPr>
            <p:cNvSpPr/>
            <p:nvPr/>
          </p:nvSpPr>
          <p:spPr>
            <a:xfrm>
              <a:off x="8556585" y="1590855"/>
              <a:ext cx="282229" cy="220732"/>
            </a:xfrm>
            <a:custGeom>
              <a:avLst/>
              <a:gdLst>
                <a:gd name="connsiteX0" fmla="*/ 141097 w 282229"/>
                <a:gd name="connsiteY0" fmla="*/ 220732 h 220732"/>
                <a:gd name="connsiteX1" fmla="*/ 282229 w 282229"/>
                <a:gd name="connsiteY1" fmla="*/ 60959 h 220732"/>
                <a:gd name="connsiteX2" fmla="*/ 245439 w 282229"/>
                <a:gd name="connsiteY2" fmla="*/ 0 h 220732"/>
                <a:gd name="connsiteX3" fmla="*/ 36791 w 282229"/>
                <a:gd name="connsiteY3" fmla="*/ 0 h 220732"/>
                <a:gd name="connsiteX4" fmla="*/ 0 w 282229"/>
                <a:gd name="connsiteY4" fmla="*/ 60959 h 220732"/>
                <a:gd name="connsiteX5" fmla="*/ 141133 w 282229"/>
                <a:gd name="connsiteY5" fmla="*/ 220732 h 2207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82229" h="220732">
                  <a:moveTo>
                    <a:pt x="141097" y="220732"/>
                  </a:moveTo>
                  <a:lnTo>
                    <a:pt x="282229" y="60959"/>
                  </a:lnTo>
                  <a:lnTo>
                    <a:pt x="245439" y="0"/>
                  </a:lnTo>
                  <a:lnTo>
                    <a:pt x="36791" y="0"/>
                  </a:lnTo>
                  <a:lnTo>
                    <a:pt x="0" y="60959"/>
                  </a:lnTo>
                  <a:lnTo>
                    <a:pt x="141133" y="220732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82" name="Forma livre: Forma 881">
              <a:extLst>
                <a:ext uri="{FF2B5EF4-FFF2-40B4-BE49-F238E27FC236}">
                  <a16:creationId xmlns:a16="http://schemas.microsoft.com/office/drawing/2014/main" id="{70AE2A5A-DD6E-80C1-0BA5-940EC20CBB40}"/>
                </a:ext>
              </a:extLst>
            </p:cNvPr>
            <p:cNvSpPr/>
            <p:nvPr/>
          </p:nvSpPr>
          <p:spPr>
            <a:xfrm>
              <a:off x="8559432" y="1651813"/>
              <a:ext cx="77158" cy="1196"/>
            </a:xfrm>
            <a:custGeom>
              <a:avLst/>
              <a:gdLst>
                <a:gd name="connsiteX0" fmla="*/ 0 w 77158"/>
                <a:gd name="connsiteY0" fmla="*/ 0 h 1196"/>
                <a:gd name="connsiteX1" fmla="*/ 77159 w 77158"/>
                <a:gd name="connsiteY1" fmla="*/ 0 h 11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7158" h="1196">
                  <a:moveTo>
                    <a:pt x="0" y="0"/>
                  </a:moveTo>
                  <a:lnTo>
                    <a:pt x="77159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83" name="Forma livre: Forma 882">
              <a:extLst>
                <a:ext uri="{FF2B5EF4-FFF2-40B4-BE49-F238E27FC236}">
                  <a16:creationId xmlns:a16="http://schemas.microsoft.com/office/drawing/2014/main" id="{31C72C77-FA38-A544-E2EB-EE8724D4E059}"/>
                </a:ext>
              </a:extLst>
            </p:cNvPr>
            <p:cNvSpPr/>
            <p:nvPr/>
          </p:nvSpPr>
          <p:spPr>
            <a:xfrm>
              <a:off x="8672484" y="1651813"/>
              <a:ext cx="163482" cy="1196"/>
            </a:xfrm>
            <a:custGeom>
              <a:avLst/>
              <a:gdLst>
                <a:gd name="connsiteX0" fmla="*/ 0 w 163482"/>
                <a:gd name="connsiteY0" fmla="*/ 0 h 1196"/>
                <a:gd name="connsiteX1" fmla="*/ 163482 w 163482"/>
                <a:gd name="connsiteY1" fmla="*/ 0 h 11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63482" h="1196">
                  <a:moveTo>
                    <a:pt x="0" y="0"/>
                  </a:moveTo>
                  <a:lnTo>
                    <a:pt x="163482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884" name="Gráfico 10">
              <a:extLst>
                <a:ext uri="{FF2B5EF4-FFF2-40B4-BE49-F238E27FC236}">
                  <a16:creationId xmlns:a16="http://schemas.microsoft.com/office/drawing/2014/main" id="{5C9DA4BE-3F8A-DA4B-390D-4F2BAC69D377}"/>
                </a:ext>
              </a:extLst>
            </p:cNvPr>
            <p:cNvGrpSpPr/>
            <p:nvPr/>
          </p:nvGrpSpPr>
          <p:grpSpPr>
            <a:xfrm>
              <a:off x="8610712" y="1591907"/>
              <a:ext cx="191132" cy="217537"/>
              <a:chOff x="8610712" y="1591907"/>
              <a:chExt cx="191132" cy="217537"/>
            </a:xfrm>
          </p:grpSpPr>
          <p:grpSp>
            <p:nvGrpSpPr>
              <p:cNvPr id="885" name="Gráfico 10">
                <a:extLst>
                  <a:ext uri="{FF2B5EF4-FFF2-40B4-BE49-F238E27FC236}">
                    <a16:creationId xmlns:a16="http://schemas.microsoft.com/office/drawing/2014/main" id="{BC809142-0C00-E6C6-0619-40EDF74149A0}"/>
                  </a:ext>
                </a:extLst>
              </p:cNvPr>
              <p:cNvGrpSpPr/>
              <p:nvPr/>
            </p:nvGrpSpPr>
            <p:grpSpPr>
              <a:xfrm>
                <a:off x="8610712" y="1592015"/>
                <a:ext cx="86790" cy="217429"/>
                <a:chOff x="8610712" y="1592015"/>
                <a:chExt cx="86790" cy="217429"/>
              </a:xfrm>
            </p:grpSpPr>
            <p:sp>
              <p:nvSpPr>
                <p:cNvPr id="886" name="Forma livre: Forma 885">
                  <a:extLst>
                    <a:ext uri="{FF2B5EF4-FFF2-40B4-BE49-F238E27FC236}">
                      <a16:creationId xmlns:a16="http://schemas.microsoft.com/office/drawing/2014/main" id="{3BDEA318-4A58-E12F-89EC-FB9DB06B32EE}"/>
                    </a:ext>
                  </a:extLst>
                </p:cNvPr>
                <p:cNvSpPr/>
                <p:nvPr/>
              </p:nvSpPr>
              <p:spPr>
                <a:xfrm>
                  <a:off x="8635849" y="1651813"/>
                  <a:ext cx="61652" cy="157631"/>
                </a:xfrm>
                <a:custGeom>
                  <a:avLst/>
                  <a:gdLst>
                    <a:gd name="connsiteX0" fmla="*/ 0 w 61652"/>
                    <a:gd name="connsiteY0" fmla="*/ 0 h 157631"/>
                    <a:gd name="connsiteX1" fmla="*/ 61653 w 61652"/>
                    <a:gd name="connsiteY1" fmla="*/ 157632 h 15763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61652" h="157631">
                      <a:moveTo>
                        <a:pt x="0" y="0"/>
                      </a:moveTo>
                      <a:lnTo>
                        <a:pt x="61653" y="157632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887" name="Forma livre: Forma 886">
                  <a:extLst>
                    <a:ext uri="{FF2B5EF4-FFF2-40B4-BE49-F238E27FC236}">
                      <a16:creationId xmlns:a16="http://schemas.microsoft.com/office/drawing/2014/main" id="{BC9EB007-E4A1-43A6-5A72-22DC91431357}"/>
                    </a:ext>
                  </a:extLst>
                </p:cNvPr>
                <p:cNvSpPr/>
                <p:nvPr/>
              </p:nvSpPr>
              <p:spPr>
                <a:xfrm>
                  <a:off x="8610712" y="1616028"/>
                  <a:ext cx="24874" cy="34996"/>
                </a:xfrm>
                <a:custGeom>
                  <a:avLst/>
                  <a:gdLst>
                    <a:gd name="connsiteX0" fmla="*/ 24874 w 24874"/>
                    <a:gd name="connsiteY0" fmla="*/ 34996 h 34996"/>
                    <a:gd name="connsiteX1" fmla="*/ 0 w 24874"/>
                    <a:gd name="connsiteY1" fmla="*/ 0 h 3499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4874" h="34996">
                      <a:moveTo>
                        <a:pt x="24874" y="34996"/>
                      </a:moveTo>
                      <a:lnTo>
                        <a:pt x="0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888" name="Forma livre: Forma 887">
                  <a:extLst>
                    <a:ext uri="{FF2B5EF4-FFF2-40B4-BE49-F238E27FC236}">
                      <a16:creationId xmlns:a16="http://schemas.microsoft.com/office/drawing/2014/main" id="{4CA05F3F-FF6F-B0C1-3068-0BC7E424539D}"/>
                    </a:ext>
                  </a:extLst>
                </p:cNvPr>
                <p:cNvSpPr/>
                <p:nvPr/>
              </p:nvSpPr>
              <p:spPr>
                <a:xfrm>
                  <a:off x="8636759" y="1592015"/>
                  <a:ext cx="57429" cy="58625"/>
                </a:xfrm>
                <a:custGeom>
                  <a:avLst/>
                  <a:gdLst>
                    <a:gd name="connsiteX0" fmla="*/ 57429 w 57429"/>
                    <a:gd name="connsiteY0" fmla="*/ 0 h 58625"/>
                    <a:gd name="connsiteX1" fmla="*/ 0 w 57429"/>
                    <a:gd name="connsiteY1" fmla="*/ 58626 h 5862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57429" h="58625">
                      <a:moveTo>
                        <a:pt x="57429" y="0"/>
                      </a:moveTo>
                      <a:lnTo>
                        <a:pt x="0" y="58626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889" name="Gráfico 10">
                <a:extLst>
                  <a:ext uri="{FF2B5EF4-FFF2-40B4-BE49-F238E27FC236}">
                    <a16:creationId xmlns:a16="http://schemas.microsoft.com/office/drawing/2014/main" id="{9E488062-F4A4-175B-6E07-676357288B13}"/>
                  </a:ext>
                </a:extLst>
              </p:cNvPr>
              <p:cNvGrpSpPr/>
              <p:nvPr/>
            </p:nvGrpSpPr>
            <p:grpSpPr>
              <a:xfrm>
                <a:off x="8697885" y="1591907"/>
                <a:ext cx="103959" cy="217537"/>
                <a:chOff x="8697885" y="1591907"/>
                <a:chExt cx="103959" cy="217537"/>
              </a:xfrm>
            </p:grpSpPr>
            <p:sp>
              <p:nvSpPr>
                <p:cNvPr id="890" name="Forma livre: Forma 889">
                  <a:extLst>
                    <a:ext uri="{FF2B5EF4-FFF2-40B4-BE49-F238E27FC236}">
                      <a16:creationId xmlns:a16="http://schemas.microsoft.com/office/drawing/2014/main" id="{EEC65043-02BE-DE79-CD4D-2A6930E25C7D}"/>
                    </a:ext>
                  </a:extLst>
                </p:cNvPr>
                <p:cNvSpPr/>
                <p:nvPr/>
              </p:nvSpPr>
              <p:spPr>
                <a:xfrm>
                  <a:off x="8697885" y="1651813"/>
                  <a:ext cx="61664" cy="157631"/>
                </a:xfrm>
                <a:custGeom>
                  <a:avLst/>
                  <a:gdLst>
                    <a:gd name="connsiteX0" fmla="*/ 61665 w 61664"/>
                    <a:gd name="connsiteY0" fmla="*/ 0 h 157631"/>
                    <a:gd name="connsiteX1" fmla="*/ 0 w 61664"/>
                    <a:gd name="connsiteY1" fmla="*/ 157632 h 15763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61664" h="157631">
                      <a:moveTo>
                        <a:pt x="61665" y="0"/>
                      </a:moveTo>
                      <a:lnTo>
                        <a:pt x="0" y="157632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891" name="Forma livre: Forma 890">
                  <a:extLst>
                    <a:ext uri="{FF2B5EF4-FFF2-40B4-BE49-F238E27FC236}">
                      <a16:creationId xmlns:a16="http://schemas.microsoft.com/office/drawing/2014/main" id="{833C7FD8-0B90-D3BF-5ABD-4CCE3BF209BF}"/>
                    </a:ext>
                  </a:extLst>
                </p:cNvPr>
                <p:cNvSpPr/>
                <p:nvPr/>
              </p:nvSpPr>
              <p:spPr>
                <a:xfrm>
                  <a:off x="8759801" y="1591907"/>
                  <a:ext cx="42043" cy="59116"/>
                </a:xfrm>
                <a:custGeom>
                  <a:avLst/>
                  <a:gdLst>
                    <a:gd name="connsiteX0" fmla="*/ 0 w 42043"/>
                    <a:gd name="connsiteY0" fmla="*/ 59116 h 59116"/>
                    <a:gd name="connsiteX1" fmla="*/ 42043 w 42043"/>
                    <a:gd name="connsiteY1" fmla="*/ 0 h 5911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2043" h="59116">
                      <a:moveTo>
                        <a:pt x="0" y="59116"/>
                      </a:moveTo>
                      <a:lnTo>
                        <a:pt x="42043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892" name="Forma livre: Forma 891">
                  <a:extLst>
                    <a:ext uri="{FF2B5EF4-FFF2-40B4-BE49-F238E27FC236}">
                      <a16:creationId xmlns:a16="http://schemas.microsoft.com/office/drawing/2014/main" id="{E5B48308-C976-28E2-5AF7-9C43A8396D7A}"/>
                    </a:ext>
                  </a:extLst>
                </p:cNvPr>
                <p:cNvSpPr/>
                <p:nvPr/>
              </p:nvSpPr>
              <p:spPr>
                <a:xfrm>
                  <a:off x="8701211" y="1592015"/>
                  <a:ext cx="57417" cy="58625"/>
                </a:xfrm>
                <a:custGeom>
                  <a:avLst/>
                  <a:gdLst>
                    <a:gd name="connsiteX0" fmla="*/ 0 w 57417"/>
                    <a:gd name="connsiteY0" fmla="*/ 0 h 58625"/>
                    <a:gd name="connsiteX1" fmla="*/ 57417 w 57417"/>
                    <a:gd name="connsiteY1" fmla="*/ 58626 h 5862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57417" h="58625">
                      <a:moveTo>
                        <a:pt x="0" y="0"/>
                      </a:moveTo>
                      <a:lnTo>
                        <a:pt x="57417" y="58626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grpSp>
          <p:nvGrpSpPr>
            <p:cNvPr id="893" name="Gráfico 10">
              <a:extLst>
                <a:ext uri="{FF2B5EF4-FFF2-40B4-BE49-F238E27FC236}">
                  <a16:creationId xmlns:a16="http://schemas.microsoft.com/office/drawing/2014/main" id="{B743C716-DA17-A293-DAAB-177689EF7BEE}"/>
                </a:ext>
              </a:extLst>
            </p:cNvPr>
            <p:cNvGrpSpPr/>
            <p:nvPr/>
          </p:nvGrpSpPr>
          <p:grpSpPr>
            <a:xfrm>
              <a:off x="8613392" y="1532492"/>
              <a:ext cx="168614" cy="22170"/>
              <a:chOff x="8613392" y="1532492"/>
              <a:chExt cx="168614" cy="22170"/>
            </a:xfrm>
          </p:grpSpPr>
          <p:sp>
            <p:nvSpPr>
              <p:cNvPr id="894" name="Forma livre: Forma 893">
                <a:extLst>
                  <a:ext uri="{FF2B5EF4-FFF2-40B4-BE49-F238E27FC236}">
                    <a16:creationId xmlns:a16="http://schemas.microsoft.com/office/drawing/2014/main" id="{4D959EF3-CF81-F6D9-6884-013D0F9574B1}"/>
                  </a:ext>
                </a:extLst>
              </p:cNvPr>
              <p:cNvSpPr/>
              <p:nvPr/>
            </p:nvSpPr>
            <p:spPr>
              <a:xfrm>
                <a:off x="8697765" y="1532492"/>
                <a:ext cx="1196" cy="22170"/>
              </a:xfrm>
              <a:custGeom>
                <a:avLst/>
                <a:gdLst>
                  <a:gd name="connsiteX0" fmla="*/ 0 w 1196"/>
                  <a:gd name="connsiteY0" fmla="*/ 22170 h 22170"/>
                  <a:gd name="connsiteX1" fmla="*/ 0 w 1196"/>
                  <a:gd name="connsiteY1" fmla="*/ 0 h 221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6" h="22170">
                    <a:moveTo>
                      <a:pt x="0" y="22170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895" name="Forma livre: Forma 894">
                <a:extLst>
                  <a:ext uri="{FF2B5EF4-FFF2-40B4-BE49-F238E27FC236}">
                    <a16:creationId xmlns:a16="http://schemas.microsoft.com/office/drawing/2014/main" id="{0C49F144-94C2-F957-3BD9-D90B9CE158B1}"/>
                  </a:ext>
                </a:extLst>
              </p:cNvPr>
              <p:cNvSpPr/>
              <p:nvPr/>
            </p:nvSpPr>
            <p:spPr>
              <a:xfrm>
                <a:off x="8767004" y="1535316"/>
                <a:ext cx="15003" cy="19346"/>
              </a:xfrm>
              <a:custGeom>
                <a:avLst/>
                <a:gdLst>
                  <a:gd name="connsiteX0" fmla="*/ 0 w 15003"/>
                  <a:gd name="connsiteY0" fmla="*/ 19347 h 19346"/>
                  <a:gd name="connsiteX1" fmla="*/ 15003 w 15003"/>
                  <a:gd name="connsiteY1" fmla="*/ 0 h 19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5003" h="19346">
                    <a:moveTo>
                      <a:pt x="0" y="19347"/>
                    </a:moveTo>
                    <a:lnTo>
                      <a:pt x="15003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896" name="Forma livre: Forma 895">
                <a:extLst>
                  <a:ext uri="{FF2B5EF4-FFF2-40B4-BE49-F238E27FC236}">
                    <a16:creationId xmlns:a16="http://schemas.microsoft.com/office/drawing/2014/main" id="{F66DE8F6-1DAE-52B0-FB84-66C1DD20B290}"/>
                  </a:ext>
                </a:extLst>
              </p:cNvPr>
              <p:cNvSpPr/>
              <p:nvPr/>
            </p:nvSpPr>
            <p:spPr>
              <a:xfrm>
                <a:off x="8613392" y="1535316"/>
                <a:ext cx="14991" cy="19346"/>
              </a:xfrm>
              <a:custGeom>
                <a:avLst/>
                <a:gdLst>
                  <a:gd name="connsiteX0" fmla="*/ 14991 w 14991"/>
                  <a:gd name="connsiteY0" fmla="*/ 19347 h 19346"/>
                  <a:gd name="connsiteX1" fmla="*/ 0 w 14991"/>
                  <a:gd name="connsiteY1" fmla="*/ 0 h 19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4991" h="19346">
                    <a:moveTo>
                      <a:pt x="14991" y="19347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897" name="Gráfico 10">
            <a:extLst>
              <a:ext uri="{FF2B5EF4-FFF2-40B4-BE49-F238E27FC236}">
                <a16:creationId xmlns:a16="http://schemas.microsoft.com/office/drawing/2014/main" id="{FA378A61-C930-F15E-65D0-3AE7B11E3603}"/>
              </a:ext>
            </a:extLst>
          </p:cNvPr>
          <p:cNvGrpSpPr/>
          <p:nvPr/>
        </p:nvGrpSpPr>
        <p:grpSpPr>
          <a:xfrm>
            <a:off x="7935175" y="1539276"/>
            <a:ext cx="282002" cy="265526"/>
            <a:chOff x="7935175" y="1539276"/>
            <a:chExt cx="282002" cy="265526"/>
          </a:xfrm>
        </p:grpSpPr>
        <p:sp>
          <p:nvSpPr>
            <p:cNvPr id="898" name="Forma livre: Forma 897">
              <a:extLst>
                <a:ext uri="{FF2B5EF4-FFF2-40B4-BE49-F238E27FC236}">
                  <a16:creationId xmlns:a16="http://schemas.microsoft.com/office/drawing/2014/main" id="{C4BBB5A9-01E6-17FB-E2AB-873FDCD76D82}"/>
                </a:ext>
              </a:extLst>
            </p:cNvPr>
            <p:cNvSpPr/>
            <p:nvPr/>
          </p:nvSpPr>
          <p:spPr>
            <a:xfrm>
              <a:off x="7946728" y="1576736"/>
              <a:ext cx="258896" cy="20240"/>
            </a:xfrm>
            <a:custGeom>
              <a:avLst/>
              <a:gdLst>
                <a:gd name="connsiteX0" fmla="*/ 258856 w 258896"/>
                <a:gd name="connsiteY0" fmla="*/ 6939 h 20240"/>
                <a:gd name="connsiteX1" fmla="*/ 219481 w 258896"/>
                <a:gd name="connsiteY1" fmla="*/ 16870 h 20240"/>
                <a:gd name="connsiteX2" fmla="*/ 214552 w 258896"/>
                <a:gd name="connsiteY2" fmla="*/ 15207 h 20240"/>
                <a:gd name="connsiteX3" fmla="*/ 129604 w 258896"/>
                <a:gd name="connsiteY3" fmla="*/ 0 h 20240"/>
                <a:gd name="connsiteX4" fmla="*/ 129293 w 258896"/>
                <a:gd name="connsiteY4" fmla="*/ 0 h 20240"/>
                <a:gd name="connsiteX5" fmla="*/ 44345 w 258896"/>
                <a:gd name="connsiteY5" fmla="*/ 15207 h 20240"/>
                <a:gd name="connsiteX6" fmla="*/ 39416 w 258896"/>
                <a:gd name="connsiteY6" fmla="*/ 16870 h 20240"/>
                <a:gd name="connsiteX7" fmla="*/ 41 w 258896"/>
                <a:gd name="connsiteY7" fmla="*/ 6939 h 202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58896" h="20240">
                  <a:moveTo>
                    <a:pt x="258856" y="6939"/>
                  </a:moveTo>
                  <a:cubicBezTo>
                    <a:pt x="259502" y="5420"/>
                    <a:pt x="252766" y="28715"/>
                    <a:pt x="219481" y="16870"/>
                  </a:cubicBezTo>
                  <a:lnTo>
                    <a:pt x="214552" y="15207"/>
                  </a:lnTo>
                  <a:cubicBezTo>
                    <a:pt x="191975" y="5934"/>
                    <a:pt x="166323" y="0"/>
                    <a:pt x="129604" y="0"/>
                  </a:cubicBezTo>
                  <a:lnTo>
                    <a:pt x="129293" y="0"/>
                  </a:lnTo>
                  <a:cubicBezTo>
                    <a:pt x="92574" y="0"/>
                    <a:pt x="66934" y="5934"/>
                    <a:pt x="44345" y="15207"/>
                  </a:cubicBezTo>
                  <a:lnTo>
                    <a:pt x="39416" y="16870"/>
                  </a:lnTo>
                  <a:cubicBezTo>
                    <a:pt x="6131" y="28715"/>
                    <a:pt x="-605" y="5420"/>
                    <a:pt x="41" y="6939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99" name="Forma livre: Forma 898">
              <a:extLst>
                <a:ext uri="{FF2B5EF4-FFF2-40B4-BE49-F238E27FC236}">
                  <a16:creationId xmlns:a16="http://schemas.microsoft.com/office/drawing/2014/main" id="{3FE5C6F8-2588-3E4D-7C87-48231A276E4B}"/>
                </a:ext>
              </a:extLst>
            </p:cNvPr>
            <p:cNvSpPr/>
            <p:nvPr/>
          </p:nvSpPr>
          <p:spPr>
            <a:xfrm>
              <a:off x="8076176" y="1576736"/>
              <a:ext cx="1196" cy="162644"/>
            </a:xfrm>
            <a:custGeom>
              <a:avLst/>
              <a:gdLst>
                <a:gd name="connsiteX0" fmla="*/ 0 w 1196"/>
                <a:gd name="connsiteY0" fmla="*/ 162645 h 162644"/>
                <a:gd name="connsiteX1" fmla="*/ 0 w 1196"/>
                <a:gd name="connsiteY1" fmla="*/ 0 h 1626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96" h="162644">
                  <a:moveTo>
                    <a:pt x="0" y="162645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900" name="Gráfico 10">
              <a:extLst>
                <a:ext uri="{FF2B5EF4-FFF2-40B4-BE49-F238E27FC236}">
                  <a16:creationId xmlns:a16="http://schemas.microsoft.com/office/drawing/2014/main" id="{BCA59647-0599-56A3-E97F-3153193FEDC1}"/>
                </a:ext>
              </a:extLst>
            </p:cNvPr>
            <p:cNvGrpSpPr/>
            <p:nvPr/>
          </p:nvGrpSpPr>
          <p:grpSpPr>
            <a:xfrm>
              <a:off x="8133641" y="1597961"/>
              <a:ext cx="83535" cy="115265"/>
              <a:chOff x="8133641" y="1597961"/>
              <a:chExt cx="83535" cy="115265"/>
            </a:xfrm>
            <a:noFill/>
          </p:grpSpPr>
          <p:sp>
            <p:nvSpPr>
              <p:cNvPr id="901" name="Forma livre: Forma 900">
                <a:extLst>
                  <a:ext uri="{FF2B5EF4-FFF2-40B4-BE49-F238E27FC236}">
                    <a16:creationId xmlns:a16="http://schemas.microsoft.com/office/drawing/2014/main" id="{C9CEBA12-A15F-51E5-BAFF-E86D8E91048D}"/>
                  </a:ext>
                </a:extLst>
              </p:cNvPr>
              <p:cNvSpPr/>
              <p:nvPr/>
            </p:nvSpPr>
            <p:spPr>
              <a:xfrm>
                <a:off x="8133641" y="1597961"/>
                <a:ext cx="83535" cy="115265"/>
              </a:xfrm>
              <a:custGeom>
                <a:avLst/>
                <a:gdLst>
                  <a:gd name="connsiteX0" fmla="*/ 83536 w 83535"/>
                  <a:gd name="connsiteY0" fmla="*/ 85247 h 115265"/>
                  <a:gd name="connsiteX1" fmla="*/ 41768 w 83535"/>
                  <a:gd name="connsiteY1" fmla="*/ 115266 h 115265"/>
                  <a:gd name="connsiteX2" fmla="*/ 0 w 83535"/>
                  <a:gd name="connsiteY2" fmla="*/ 85247 h 115265"/>
                  <a:gd name="connsiteX3" fmla="*/ 41768 w 83535"/>
                  <a:gd name="connsiteY3" fmla="*/ 0 h 115265"/>
                  <a:gd name="connsiteX4" fmla="*/ 83536 w 83535"/>
                  <a:gd name="connsiteY4" fmla="*/ 85247 h 1152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3535" h="115265">
                    <a:moveTo>
                      <a:pt x="83536" y="85247"/>
                    </a:moveTo>
                    <a:cubicBezTo>
                      <a:pt x="83536" y="101829"/>
                      <a:pt x="64835" y="115266"/>
                      <a:pt x="41768" y="115266"/>
                    </a:cubicBezTo>
                    <a:cubicBezTo>
                      <a:pt x="18700" y="115266"/>
                      <a:pt x="0" y="101829"/>
                      <a:pt x="0" y="85247"/>
                    </a:cubicBezTo>
                    <a:cubicBezTo>
                      <a:pt x="0" y="68664"/>
                      <a:pt x="41768" y="0"/>
                      <a:pt x="41768" y="0"/>
                    </a:cubicBezTo>
                    <a:cubicBezTo>
                      <a:pt x="41768" y="0"/>
                      <a:pt x="83536" y="68676"/>
                      <a:pt x="83536" y="85247"/>
                    </a:cubicBezTo>
                    <a:close/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02" name="Forma livre: Forma 901">
                <a:extLst>
                  <a:ext uri="{FF2B5EF4-FFF2-40B4-BE49-F238E27FC236}">
                    <a16:creationId xmlns:a16="http://schemas.microsoft.com/office/drawing/2014/main" id="{3EEBDB05-8E2B-52F5-6588-2FE496890F05}"/>
                  </a:ext>
                </a:extLst>
              </p:cNvPr>
              <p:cNvSpPr/>
              <p:nvPr/>
            </p:nvSpPr>
            <p:spPr>
              <a:xfrm>
                <a:off x="8157702" y="1676245"/>
                <a:ext cx="55503" cy="1196"/>
              </a:xfrm>
              <a:custGeom>
                <a:avLst/>
                <a:gdLst>
                  <a:gd name="connsiteX0" fmla="*/ 0 w 55503"/>
                  <a:gd name="connsiteY0" fmla="*/ 0 h 1196"/>
                  <a:gd name="connsiteX1" fmla="*/ 55503 w 55503"/>
                  <a:gd name="connsiteY1" fmla="*/ 0 h 11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5503" h="1196">
                    <a:moveTo>
                      <a:pt x="0" y="0"/>
                    </a:moveTo>
                    <a:lnTo>
                      <a:pt x="55503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903" name="Gráfico 10">
              <a:extLst>
                <a:ext uri="{FF2B5EF4-FFF2-40B4-BE49-F238E27FC236}">
                  <a16:creationId xmlns:a16="http://schemas.microsoft.com/office/drawing/2014/main" id="{B06ED44A-7758-FC44-1C76-53D579769C73}"/>
                </a:ext>
              </a:extLst>
            </p:cNvPr>
            <p:cNvGrpSpPr/>
            <p:nvPr/>
          </p:nvGrpSpPr>
          <p:grpSpPr>
            <a:xfrm>
              <a:off x="7935175" y="1597961"/>
              <a:ext cx="83535" cy="115265"/>
              <a:chOff x="7935175" y="1597961"/>
              <a:chExt cx="83535" cy="115265"/>
            </a:xfrm>
            <a:noFill/>
          </p:grpSpPr>
          <p:sp>
            <p:nvSpPr>
              <p:cNvPr id="904" name="Forma livre: Forma 903">
                <a:extLst>
                  <a:ext uri="{FF2B5EF4-FFF2-40B4-BE49-F238E27FC236}">
                    <a16:creationId xmlns:a16="http://schemas.microsoft.com/office/drawing/2014/main" id="{5B822174-C38E-8111-9F29-5B3581B3FE07}"/>
                  </a:ext>
                </a:extLst>
              </p:cNvPr>
              <p:cNvSpPr/>
              <p:nvPr/>
            </p:nvSpPr>
            <p:spPr>
              <a:xfrm>
                <a:off x="7935175" y="1597961"/>
                <a:ext cx="83535" cy="115265"/>
              </a:xfrm>
              <a:custGeom>
                <a:avLst/>
                <a:gdLst>
                  <a:gd name="connsiteX0" fmla="*/ 83536 w 83535"/>
                  <a:gd name="connsiteY0" fmla="*/ 85247 h 115265"/>
                  <a:gd name="connsiteX1" fmla="*/ 41768 w 83535"/>
                  <a:gd name="connsiteY1" fmla="*/ 115266 h 115265"/>
                  <a:gd name="connsiteX2" fmla="*/ 0 w 83535"/>
                  <a:gd name="connsiteY2" fmla="*/ 85247 h 115265"/>
                  <a:gd name="connsiteX3" fmla="*/ 41768 w 83535"/>
                  <a:gd name="connsiteY3" fmla="*/ 0 h 115265"/>
                  <a:gd name="connsiteX4" fmla="*/ 83536 w 83535"/>
                  <a:gd name="connsiteY4" fmla="*/ 85247 h 1152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3535" h="115265">
                    <a:moveTo>
                      <a:pt x="83536" y="85247"/>
                    </a:moveTo>
                    <a:cubicBezTo>
                      <a:pt x="83536" y="101829"/>
                      <a:pt x="64835" y="115266"/>
                      <a:pt x="41768" y="115266"/>
                    </a:cubicBezTo>
                    <a:cubicBezTo>
                      <a:pt x="18700" y="115266"/>
                      <a:pt x="0" y="101829"/>
                      <a:pt x="0" y="85247"/>
                    </a:cubicBezTo>
                    <a:cubicBezTo>
                      <a:pt x="0" y="68664"/>
                      <a:pt x="41768" y="0"/>
                      <a:pt x="41768" y="0"/>
                    </a:cubicBezTo>
                    <a:cubicBezTo>
                      <a:pt x="41768" y="0"/>
                      <a:pt x="83536" y="68676"/>
                      <a:pt x="83536" y="85247"/>
                    </a:cubicBezTo>
                    <a:close/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05" name="Forma livre: Forma 904">
                <a:extLst>
                  <a:ext uri="{FF2B5EF4-FFF2-40B4-BE49-F238E27FC236}">
                    <a16:creationId xmlns:a16="http://schemas.microsoft.com/office/drawing/2014/main" id="{50311629-2805-A8AD-2C0A-0943D2E32552}"/>
                  </a:ext>
                </a:extLst>
              </p:cNvPr>
              <p:cNvSpPr/>
              <p:nvPr/>
            </p:nvSpPr>
            <p:spPr>
              <a:xfrm>
                <a:off x="7958614" y="1676245"/>
                <a:ext cx="56125" cy="1196"/>
              </a:xfrm>
              <a:custGeom>
                <a:avLst/>
                <a:gdLst>
                  <a:gd name="connsiteX0" fmla="*/ 0 w 56125"/>
                  <a:gd name="connsiteY0" fmla="*/ 0 h 1196"/>
                  <a:gd name="connsiteX1" fmla="*/ 56125 w 56125"/>
                  <a:gd name="connsiteY1" fmla="*/ 0 h 11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6125" h="1196">
                    <a:moveTo>
                      <a:pt x="0" y="0"/>
                    </a:moveTo>
                    <a:lnTo>
                      <a:pt x="56125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906" name="Forma livre: Forma 905">
              <a:extLst>
                <a:ext uri="{FF2B5EF4-FFF2-40B4-BE49-F238E27FC236}">
                  <a16:creationId xmlns:a16="http://schemas.microsoft.com/office/drawing/2014/main" id="{EB40AC30-AA08-C293-592C-BEAE64AFD3DC}"/>
                </a:ext>
              </a:extLst>
            </p:cNvPr>
            <p:cNvSpPr/>
            <p:nvPr/>
          </p:nvSpPr>
          <p:spPr>
            <a:xfrm>
              <a:off x="8072132" y="1539276"/>
              <a:ext cx="8052" cy="8064"/>
            </a:xfrm>
            <a:custGeom>
              <a:avLst/>
              <a:gdLst>
                <a:gd name="connsiteX0" fmla="*/ 8052 w 8052"/>
                <a:gd name="connsiteY0" fmla="*/ 4032 h 8064"/>
                <a:gd name="connsiteX1" fmla="*/ 4032 w 8052"/>
                <a:gd name="connsiteY1" fmla="*/ 8064 h 8064"/>
                <a:gd name="connsiteX2" fmla="*/ 0 w 8052"/>
                <a:gd name="connsiteY2" fmla="*/ 4032 h 8064"/>
                <a:gd name="connsiteX3" fmla="*/ 4032 w 8052"/>
                <a:gd name="connsiteY3" fmla="*/ 0 h 8064"/>
                <a:gd name="connsiteX4" fmla="*/ 8052 w 8052"/>
                <a:gd name="connsiteY4" fmla="*/ 4032 h 80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052" h="8064">
                  <a:moveTo>
                    <a:pt x="8052" y="4032"/>
                  </a:moveTo>
                  <a:cubicBezTo>
                    <a:pt x="8052" y="6269"/>
                    <a:pt x="6269" y="8064"/>
                    <a:pt x="4032" y="8064"/>
                  </a:cubicBezTo>
                  <a:cubicBezTo>
                    <a:pt x="1795" y="8064"/>
                    <a:pt x="0" y="6269"/>
                    <a:pt x="0" y="4032"/>
                  </a:cubicBezTo>
                  <a:cubicBezTo>
                    <a:pt x="0" y="1795"/>
                    <a:pt x="1807" y="0"/>
                    <a:pt x="4032" y="0"/>
                  </a:cubicBezTo>
                  <a:cubicBezTo>
                    <a:pt x="6257" y="0"/>
                    <a:pt x="8052" y="1795"/>
                    <a:pt x="8052" y="4032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07" name="Forma livre: Forma 906">
              <a:extLst>
                <a:ext uri="{FF2B5EF4-FFF2-40B4-BE49-F238E27FC236}">
                  <a16:creationId xmlns:a16="http://schemas.microsoft.com/office/drawing/2014/main" id="{39DCD356-CE18-BE9B-96CC-3870FB812C73}"/>
                </a:ext>
              </a:extLst>
            </p:cNvPr>
            <p:cNvSpPr/>
            <p:nvPr/>
          </p:nvSpPr>
          <p:spPr>
            <a:xfrm>
              <a:off x="7999113" y="1762102"/>
              <a:ext cx="154126" cy="42701"/>
            </a:xfrm>
            <a:custGeom>
              <a:avLst/>
              <a:gdLst>
                <a:gd name="connsiteX0" fmla="*/ 77147 w 154126"/>
                <a:gd name="connsiteY0" fmla="*/ 0 h 42701"/>
                <a:gd name="connsiteX1" fmla="*/ 0 w 154126"/>
                <a:gd name="connsiteY1" fmla="*/ 42701 h 42701"/>
                <a:gd name="connsiteX2" fmla="*/ 154126 w 154126"/>
                <a:gd name="connsiteY2" fmla="*/ 42426 h 42701"/>
                <a:gd name="connsiteX3" fmla="*/ 77147 w 154126"/>
                <a:gd name="connsiteY3" fmla="*/ 0 h 427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4126" h="42701">
                  <a:moveTo>
                    <a:pt x="77147" y="0"/>
                  </a:moveTo>
                  <a:cubicBezTo>
                    <a:pt x="44627" y="0"/>
                    <a:pt x="16092" y="17049"/>
                    <a:pt x="0" y="42701"/>
                  </a:cubicBezTo>
                  <a:lnTo>
                    <a:pt x="154126" y="42426"/>
                  </a:lnTo>
                  <a:cubicBezTo>
                    <a:pt x="137998" y="16930"/>
                    <a:pt x="109547" y="0"/>
                    <a:pt x="77147" y="0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908" name="Gráfico 10">
            <a:extLst>
              <a:ext uri="{FF2B5EF4-FFF2-40B4-BE49-F238E27FC236}">
                <a16:creationId xmlns:a16="http://schemas.microsoft.com/office/drawing/2014/main" id="{6DAF2D1D-C37D-D5DC-57CB-52214A858AEF}"/>
              </a:ext>
            </a:extLst>
          </p:cNvPr>
          <p:cNvGrpSpPr/>
          <p:nvPr/>
        </p:nvGrpSpPr>
        <p:grpSpPr>
          <a:xfrm>
            <a:off x="9171438" y="2079076"/>
            <a:ext cx="295581" cy="254723"/>
            <a:chOff x="9171438" y="2079076"/>
            <a:chExt cx="295581" cy="254723"/>
          </a:xfrm>
          <a:noFill/>
        </p:grpSpPr>
        <p:sp>
          <p:nvSpPr>
            <p:cNvPr id="909" name="Forma livre: Forma 908">
              <a:extLst>
                <a:ext uri="{FF2B5EF4-FFF2-40B4-BE49-F238E27FC236}">
                  <a16:creationId xmlns:a16="http://schemas.microsoft.com/office/drawing/2014/main" id="{81944594-A6A9-6742-6B3D-695BE0972B66}"/>
                </a:ext>
              </a:extLst>
            </p:cNvPr>
            <p:cNvSpPr/>
            <p:nvPr/>
          </p:nvSpPr>
          <p:spPr>
            <a:xfrm>
              <a:off x="9239563" y="2120269"/>
              <a:ext cx="199399" cy="143573"/>
            </a:xfrm>
            <a:custGeom>
              <a:avLst/>
              <a:gdLst>
                <a:gd name="connsiteX0" fmla="*/ 0 w 199399"/>
                <a:gd name="connsiteY0" fmla="*/ 0 h 143573"/>
                <a:gd name="connsiteX1" fmla="*/ 30138 w 199399"/>
                <a:gd name="connsiteY1" fmla="*/ 59332 h 143573"/>
                <a:gd name="connsiteX2" fmla="*/ 77362 w 199399"/>
                <a:gd name="connsiteY2" fmla="*/ 21536 h 143573"/>
                <a:gd name="connsiteX3" fmla="*/ 97139 w 199399"/>
                <a:gd name="connsiteY3" fmla="*/ 95225 h 143573"/>
                <a:gd name="connsiteX4" fmla="*/ 130640 w 199399"/>
                <a:gd name="connsiteY4" fmla="*/ 42581 h 143573"/>
                <a:gd name="connsiteX5" fmla="*/ 199399 w 199399"/>
                <a:gd name="connsiteY5" fmla="*/ 143573 h 1435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99399" h="143573">
                  <a:moveTo>
                    <a:pt x="0" y="0"/>
                  </a:moveTo>
                  <a:lnTo>
                    <a:pt x="30138" y="59332"/>
                  </a:lnTo>
                  <a:lnTo>
                    <a:pt x="77362" y="21536"/>
                  </a:lnTo>
                  <a:lnTo>
                    <a:pt x="97139" y="95225"/>
                  </a:lnTo>
                  <a:lnTo>
                    <a:pt x="130640" y="42581"/>
                  </a:lnTo>
                  <a:lnTo>
                    <a:pt x="199399" y="143573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910" name="Gráfico 10">
              <a:extLst>
                <a:ext uri="{FF2B5EF4-FFF2-40B4-BE49-F238E27FC236}">
                  <a16:creationId xmlns:a16="http://schemas.microsoft.com/office/drawing/2014/main" id="{DDCF9F17-C6D9-67CE-CF24-F16A627B6670}"/>
                </a:ext>
              </a:extLst>
            </p:cNvPr>
            <p:cNvGrpSpPr/>
            <p:nvPr/>
          </p:nvGrpSpPr>
          <p:grpSpPr>
            <a:xfrm>
              <a:off x="9171438" y="2079076"/>
              <a:ext cx="295581" cy="254723"/>
              <a:chOff x="9171438" y="2079076"/>
              <a:chExt cx="295581" cy="254723"/>
            </a:xfrm>
            <a:noFill/>
          </p:grpSpPr>
          <p:sp>
            <p:nvSpPr>
              <p:cNvPr id="911" name="Forma livre: Forma 910">
                <a:extLst>
                  <a:ext uri="{FF2B5EF4-FFF2-40B4-BE49-F238E27FC236}">
                    <a16:creationId xmlns:a16="http://schemas.microsoft.com/office/drawing/2014/main" id="{5D4E8FDA-8627-9D15-E4DE-CCBEEBE6F0CE}"/>
                  </a:ext>
                </a:extLst>
              </p:cNvPr>
              <p:cNvSpPr/>
              <p:nvPr/>
            </p:nvSpPr>
            <p:spPr>
              <a:xfrm>
                <a:off x="9201409" y="2079076"/>
                <a:ext cx="265610" cy="225254"/>
              </a:xfrm>
              <a:custGeom>
                <a:avLst/>
                <a:gdLst>
                  <a:gd name="connsiteX0" fmla="*/ 265611 w 265610"/>
                  <a:gd name="connsiteY0" fmla="*/ 225255 h 225254"/>
                  <a:gd name="connsiteX1" fmla="*/ 0 w 265610"/>
                  <a:gd name="connsiteY1" fmla="*/ 225255 h 225254"/>
                  <a:gd name="connsiteX2" fmla="*/ 0 w 265610"/>
                  <a:gd name="connsiteY2" fmla="*/ 0 h 2252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65610" h="225254">
                    <a:moveTo>
                      <a:pt x="265611" y="225255"/>
                    </a:moveTo>
                    <a:lnTo>
                      <a:pt x="0" y="225255"/>
                    </a:lnTo>
                    <a:lnTo>
                      <a:pt x="0" y="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12" name="Forma livre: Forma 911">
                <a:extLst>
                  <a:ext uri="{FF2B5EF4-FFF2-40B4-BE49-F238E27FC236}">
                    <a16:creationId xmlns:a16="http://schemas.microsoft.com/office/drawing/2014/main" id="{3A701B59-2E7B-A3DB-0312-F153B9E75C32}"/>
                  </a:ext>
                </a:extLst>
              </p:cNvPr>
              <p:cNvSpPr/>
              <p:nvPr/>
            </p:nvSpPr>
            <p:spPr>
              <a:xfrm>
                <a:off x="9171438" y="2138228"/>
                <a:ext cx="29719" cy="1196"/>
              </a:xfrm>
              <a:custGeom>
                <a:avLst/>
                <a:gdLst>
                  <a:gd name="connsiteX0" fmla="*/ 0 w 29719"/>
                  <a:gd name="connsiteY0" fmla="*/ 0 h 1196"/>
                  <a:gd name="connsiteX1" fmla="*/ 29720 w 29719"/>
                  <a:gd name="connsiteY1" fmla="*/ 0 h 11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9719" h="1196">
                    <a:moveTo>
                      <a:pt x="0" y="0"/>
                    </a:moveTo>
                    <a:lnTo>
                      <a:pt x="2972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13" name="Forma livre: Forma 912">
                <a:extLst>
                  <a:ext uri="{FF2B5EF4-FFF2-40B4-BE49-F238E27FC236}">
                    <a16:creationId xmlns:a16="http://schemas.microsoft.com/office/drawing/2014/main" id="{9DEA1840-573E-5F68-88AC-92E35AAEB1C5}"/>
                  </a:ext>
                </a:extLst>
              </p:cNvPr>
              <p:cNvSpPr/>
              <p:nvPr/>
            </p:nvSpPr>
            <p:spPr>
              <a:xfrm>
                <a:off x="9171438" y="2205672"/>
                <a:ext cx="29719" cy="1196"/>
              </a:xfrm>
              <a:custGeom>
                <a:avLst/>
                <a:gdLst>
                  <a:gd name="connsiteX0" fmla="*/ 0 w 29719"/>
                  <a:gd name="connsiteY0" fmla="*/ 0 h 1196"/>
                  <a:gd name="connsiteX1" fmla="*/ 29720 w 29719"/>
                  <a:gd name="connsiteY1" fmla="*/ 0 h 11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9719" h="1196">
                    <a:moveTo>
                      <a:pt x="0" y="0"/>
                    </a:moveTo>
                    <a:lnTo>
                      <a:pt x="2972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14" name="Forma livre: Forma 913">
                <a:extLst>
                  <a:ext uri="{FF2B5EF4-FFF2-40B4-BE49-F238E27FC236}">
                    <a16:creationId xmlns:a16="http://schemas.microsoft.com/office/drawing/2014/main" id="{D5286741-F4F7-3222-E6C6-58C4B72E07A5}"/>
                  </a:ext>
                </a:extLst>
              </p:cNvPr>
              <p:cNvSpPr/>
              <p:nvPr/>
            </p:nvSpPr>
            <p:spPr>
              <a:xfrm>
                <a:off x="9171438" y="2273127"/>
                <a:ext cx="29719" cy="1196"/>
              </a:xfrm>
              <a:custGeom>
                <a:avLst/>
                <a:gdLst>
                  <a:gd name="connsiteX0" fmla="*/ 0 w 29719"/>
                  <a:gd name="connsiteY0" fmla="*/ 0 h 1196"/>
                  <a:gd name="connsiteX1" fmla="*/ 29720 w 29719"/>
                  <a:gd name="connsiteY1" fmla="*/ 0 h 11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9719" h="1196">
                    <a:moveTo>
                      <a:pt x="0" y="0"/>
                    </a:moveTo>
                    <a:lnTo>
                      <a:pt x="2972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15" name="Forma livre: Forma 914">
                <a:extLst>
                  <a:ext uri="{FF2B5EF4-FFF2-40B4-BE49-F238E27FC236}">
                    <a16:creationId xmlns:a16="http://schemas.microsoft.com/office/drawing/2014/main" id="{68714505-5A68-C98C-8BC1-21B69E2A862D}"/>
                  </a:ext>
                </a:extLst>
              </p:cNvPr>
              <p:cNvSpPr/>
              <p:nvPr/>
            </p:nvSpPr>
            <p:spPr>
              <a:xfrm>
                <a:off x="9232768" y="2304079"/>
                <a:ext cx="1196" cy="29719"/>
              </a:xfrm>
              <a:custGeom>
                <a:avLst/>
                <a:gdLst>
                  <a:gd name="connsiteX0" fmla="*/ 0 w 1196"/>
                  <a:gd name="connsiteY0" fmla="*/ 29720 h 29719"/>
                  <a:gd name="connsiteX1" fmla="*/ 0 w 1196"/>
                  <a:gd name="connsiteY1" fmla="*/ 0 h 297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6" h="29719">
                    <a:moveTo>
                      <a:pt x="0" y="29720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16" name="Forma livre: Forma 915">
                <a:extLst>
                  <a:ext uri="{FF2B5EF4-FFF2-40B4-BE49-F238E27FC236}">
                    <a16:creationId xmlns:a16="http://schemas.microsoft.com/office/drawing/2014/main" id="{3AAF09CD-93C0-9667-6917-2345484A369F}"/>
                  </a:ext>
                </a:extLst>
              </p:cNvPr>
              <p:cNvSpPr/>
              <p:nvPr/>
            </p:nvSpPr>
            <p:spPr>
              <a:xfrm>
                <a:off x="9296897" y="2304079"/>
                <a:ext cx="1196" cy="29719"/>
              </a:xfrm>
              <a:custGeom>
                <a:avLst/>
                <a:gdLst>
                  <a:gd name="connsiteX0" fmla="*/ 0 w 1196"/>
                  <a:gd name="connsiteY0" fmla="*/ 29720 h 29719"/>
                  <a:gd name="connsiteX1" fmla="*/ 0 w 1196"/>
                  <a:gd name="connsiteY1" fmla="*/ 0 h 297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6" h="29719">
                    <a:moveTo>
                      <a:pt x="0" y="29720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17" name="Forma livre: Forma 916">
                <a:extLst>
                  <a:ext uri="{FF2B5EF4-FFF2-40B4-BE49-F238E27FC236}">
                    <a16:creationId xmlns:a16="http://schemas.microsoft.com/office/drawing/2014/main" id="{7F077A7D-C392-E60A-18B7-15BEC8A17AE9}"/>
                  </a:ext>
                </a:extLst>
              </p:cNvPr>
              <p:cNvSpPr/>
              <p:nvPr/>
            </p:nvSpPr>
            <p:spPr>
              <a:xfrm>
                <a:off x="9361015" y="2304079"/>
                <a:ext cx="1196" cy="29719"/>
              </a:xfrm>
              <a:custGeom>
                <a:avLst/>
                <a:gdLst>
                  <a:gd name="connsiteX0" fmla="*/ 0 w 1196"/>
                  <a:gd name="connsiteY0" fmla="*/ 29720 h 29719"/>
                  <a:gd name="connsiteX1" fmla="*/ 0 w 1196"/>
                  <a:gd name="connsiteY1" fmla="*/ 0 h 297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6" h="29719">
                    <a:moveTo>
                      <a:pt x="0" y="29720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18" name="Forma livre: Forma 917">
                <a:extLst>
                  <a:ext uri="{FF2B5EF4-FFF2-40B4-BE49-F238E27FC236}">
                    <a16:creationId xmlns:a16="http://schemas.microsoft.com/office/drawing/2014/main" id="{7DD4AAF3-A583-FCE4-3714-5A1FF8F00550}"/>
                  </a:ext>
                </a:extLst>
              </p:cNvPr>
              <p:cNvSpPr/>
              <p:nvPr/>
            </p:nvSpPr>
            <p:spPr>
              <a:xfrm>
                <a:off x="9425144" y="2304079"/>
                <a:ext cx="1196" cy="29719"/>
              </a:xfrm>
              <a:custGeom>
                <a:avLst/>
                <a:gdLst>
                  <a:gd name="connsiteX0" fmla="*/ 0 w 1196"/>
                  <a:gd name="connsiteY0" fmla="*/ 29720 h 29719"/>
                  <a:gd name="connsiteX1" fmla="*/ 0 w 1196"/>
                  <a:gd name="connsiteY1" fmla="*/ 0 h 297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6" h="29719">
                    <a:moveTo>
                      <a:pt x="0" y="29720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919" name="Gráfico 10">
            <a:extLst>
              <a:ext uri="{FF2B5EF4-FFF2-40B4-BE49-F238E27FC236}">
                <a16:creationId xmlns:a16="http://schemas.microsoft.com/office/drawing/2014/main" id="{1EB6FF80-809B-2DF3-A784-24431CB15F5F}"/>
              </a:ext>
            </a:extLst>
          </p:cNvPr>
          <p:cNvGrpSpPr/>
          <p:nvPr/>
        </p:nvGrpSpPr>
        <p:grpSpPr>
          <a:xfrm>
            <a:off x="8549909" y="2079076"/>
            <a:ext cx="295581" cy="254723"/>
            <a:chOff x="8549909" y="2079076"/>
            <a:chExt cx="295581" cy="254723"/>
          </a:xfrm>
          <a:noFill/>
        </p:grpSpPr>
        <p:sp>
          <p:nvSpPr>
            <p:cNvPr id="920" name="Forma livre: Forma 919">
              <a:extLst>
                <a:ext uri="{FF2B5EF4-FFF2-40B4-BE49-F238E27FC236}">
                  <a16:creationId xmlns:a16="http://schemas.microsoft.com/office/drawing/2014/main" id="{3D58FB37-D9D9-6EE9-DA62-23D87C1270CE}"/>
                </a:ext>
              </a:extLst>
            </p:cNvPr>
            <p:cNvSpPr/>
            <p:nvPr/>
          </p:nvSpPr>
          <p:spPr>
            <a:xfrm>
              <a:off x="8617627" y="2108736"/>
              <a:ext cx="205286" cy="151745"/>
            </a:xfrm>
            <a:custGeom>
              <a:avLst/>
              <a:gdLst>
                <a:gd name="connsiteX0" fmla="*/ 0 w 205286"/>
                <a:gd name="connsiteY0" fmla="*/ 151745 h 151745"/>
                <a:gd name="connsiteX1" fmla="*/ 43862 w 205286"/>
                <a:gd name="connsiteY1" fmla="*/ 82184 h 151745"/>
                <a:gd name="connsiteX2" fmla="*/ 77362 w 205286"/>
                <a:gd name="connsiteY2" fmla="*/ 130209 h 151745"/>
                <a:gd name="connsiteX3" fmla="*/ 121068 w 205286"/>
                <a:gd name="connsiteY3" fmla="*/ 88094 h 151745"/>
                <a:gd name="connsiteX4" fmla="*/ 154736 w 205286"/>
                <a:gd name="connsiteY4" fmla="*/ 119848 h 151745"/>
                <a:gd name="connsiteX5" fmla="*/ 205286 w 205286"/>
                <a:gd name="connsiteY5" fmla="*/ 0 h 1517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5286" h="151745">
                  <a:moveTo>
                    <a:pt x="0" y="151745"/>
                  </a:moveTo>
                  <a:lnTo>
                    <a:pt x="43862" y="82184"/>
                  </a:lnTo>
                  <a:lnTo>
                    <a:pt x="77362" y="130209"/>
                  </a:lnTo>
                  <a:lnTo>
                    <a:pt x="121068" y="88094"/>
                  </a:lnTo>
                  <a:lnTo>
                    <a:pt x="154736" y="119848"/>
                  </a:lnTo>
                  <a:lnTo>
                    <a:pt x="205286" y="0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921" name="Gráfico 10">
              <a:extLst>
                <a:ext uri="{FF2B5EF4-FFF2-40B4-BE49-F238E27FC236}">
                  <a16:creationId xmlns:a16="http://schemas.microsoft.com/office/drawing/2014/main" id="{81524577-0763-B38C-9F47-6B38D377C558}"/>
                </a:ext>
              </a:extLst>
            </p:cNvPr>
            <p:cNvGrpSpPr/>
            <p:nvPr/>
          </p:nvGrpSpPr>
          <p:grpSpPr>
            <a:xfrm>
              <a:off x="8549909" y="2079076"/>
              <a:ext cx="295581" cy="254723"/>
              <a:chOff x="8549909" y="2079076"/>
              <a:chExt cx="295581" cy="254723"/>
            </a:xfrm>
            <a:noFill/>
          </p:grpSpPr>
          <p:sp>
            <p:nvSpPr>
              <p:cNvPr id="922" name="Forma livre: Forma 921">
                <a:extLst>
                  <a:ext uri="{FF2B5EF4-FFF2-40B4-BE49-F238E27FC236}">
                    <a16:creationId xmlns:a16="http://schemas.microsoft.com/office/drawing/2014/main" id="{70DD52D7-70B5-63AE-B1A8-4DB89F743E87}"/>
                  </a:ext>
                </a:extLst>
              </p:cNvPr>
              <p:cNvSpPr/>
              <p:nvPr/>
            </p:nvSpPr>
            <p:spPr>
              <a:xfrm>
                <a:off x="8579892" y="2079076"/>
                <a:ext cx="265598" cy="225254"/>
              </a:xfrm>
              <a:custGeom>
                <a:avLst/>
                <a:gdLst>
                  <a:gd name="connsiteX0" fmla="*/ 265599 w 265598"/>
                  <a:gd name="connsiteY0" fmla="*/ 225255 h 225254"/>
                  <a:gd name="connsiteX1" fmla="*/ 0 w 265598"/>
                  <a:gd name="connsiteY1" fmla="*/ 225255 h 225254"/>
                  <a:gd name="connsiteX2" fmla="*/ 0 w 265598"/>
                  <a:gd name="connsiteY2" fmla="*/ 0 h 2252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65598" h="225254">
                    <a:moveTo>
                      <a:pt x="265599" y="225255"/>
                    </a:moveTo>
                    <a:lnTo>
                      <a:pt x="0" y="225255"/>
                    </a:lnTo>
                    <a:lnTo>
                      <a:pt x="0" y="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23" name="Forma livre: Forma 922">
                <a:extLst>
                  <a:ext uri="{FF2B5EF4-FFF2-40B4-BE49-F238E27FC236}">
                    <a16:creationId xmlns:a16="http://schemas.microsoft.com/office/drawing/2014/main" id="{1700818C-7124-68A1-6D68-A6FDCF446206}"/>
                  </a:ext>
                </a:extLst>
              </p:cNvPr>
              <p:cNvSpPr/>
              <p:nvPr/>
            </p:nvSpPr>
            <p:spPr>
              <a:xfrm>
                <a:off x="8549909" y="2138228"/>
                <a:ext cx="29719" cy="1196"/>
              </a:xfrm>
              <a:custGeom>
                <a:avLst/>
                <a:gdLst>
                  <a:gd name="connsiteX0" fmla="*/ 0 w 29719"/>
                  <a:gd name="connsiteY0" fmla="*/ 0 h 1196"/>
                  <a:gd name="connsiteX1" fmla="*/ 29720 w 29719"/>
                  <a:gd name="connsiteY1" fmla="*/ 0 h 11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9719" h="1196">
                    <a:moveTo>
                      <a:pt x="0" y="0"/>
                    </a:moveTo>
                    <a:lnTo>
                      <a:pt x="2972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24" name="Forma livre: Forma 923">
                <a:extLst>
                  <a:ext uri="{FF2B5EF4-FFF2-40B4-BE49-F238E27FC236}">
                    <a16:creationId xmlns:a16="http://schemas.microsoft.com/office/drawing/2014/main" id="{EEBDB9A5-0B79-9935-94FD-FCE1D1DD66BF}"/>
                  </a:ext>
                </a:extLst>
              </p:cNvPr>
              <p:cNvSpPr/>
              <p:nvPr/>
            </p:nvSpPr>
            <p:spPr>
              <a:xfrm>
                <a:off x="8549909" y="2205672"/>
                <a:ext cx="29719" cy="1196"/>
              </a:xfrm>
              <a:custGeom>
                <a:avLst/>
                <a:gdLst>
                  <a:gd name="connsiteX0" fmla="*/ 0 w 29719"/>
                  <a:gd name="connsiteY0" fmla="*/ 0 h 1196"/>
                  <a:gd name="connsiteX1" fmla="*/ 29720 w 29719"/>
                  <a:gd name="connsiteY1" fmla="*/ 0 h 11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9719" h="1196">
                    <a:moveTo>
                      <a:pt x="0" y="0"/>
                    </a:moveTo>
                    <a:lnTo>
                      <a:pt x="2972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25" name="Forma livre: Forma 924">
                <a:extLst>
                  <a:ext uri="{FF2B5EF4-FFF2-40B4-BE49-F238E27FC236}">
                    <a16:creationId xmlns:a16="http://schemas.microsoft.com/office/drawing/2014/main" id="{9D0FEE5F-3CED-0BD7-E766-54CC81FCF3DE}"/>
                  </a:ext>
                </a:extLst>
              </p:cNvPr>
              <p:cNvSpPr/>
              <p:nvPr/>
            </p:nvSpPr>
            <p:spPr>
              <a:xfrm>
                <a:off x="8549909" y="2273127"/>
                <a:ext cx="29719" cy="1196"/>
              </a:xfrm>
              <a:custGeom>
                <a:avLst/>
                <a:gdLst>
                  <a:gd name="connsiteX0" fmla="*/ 0 w 29719"/>
                  <a:gd name="connsiteY0" fmla="*/ 0 h 1196"/>
                  <a:gd name="connsiteX1" fmla="*/ 29720 w 29719"/>
                  <a:gd name="connsiteY1" fmla="*/ 0 h 11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9719" h="1196">
                    <a:moveTo>
                      <a:pt x="0" y="0"/>
                    </a:moveTo>
                    <a:lnTo>
                      <a:pt x="2972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26" name="Forma livre: Forma 925">
                <a:extLst>
                  <a:ext uri="{FF2B5EF4-FFF2-40B4-BE49-F238E27FC236}">
                    <a16:creationId xmlns:a16="http://schemas.microsoft.com/office/drawing/2014/main" id="{AAD5AC4C-2C27-BA28-90AC-4319281EDCD0}"/>
                  </a:ext>
                </a:extLst>
              </p:cNvPr>
              <p:cNvSpPr/>
              <p:nvPr/>
            </p:nvSpPr>
            <p:spPr>
              <a:xfrm>
                <a:off x="8611250" y="2304079"/>
                <a:ext cx="1196" cy="29719"/>
              </a:xfrm>
              <a:custGeom>
                <a:avLst/>
                <a:gdLst>
                  <a:gd name="connsiteX0" fmla="*/ 0 w 1196"/>
                  <a:gd name="connsiteY0" fmla="*/ 29720 h 29719"/>
                  <a:gd name="connsiteX1" fmla="*/ 0 w 1196"/>
                  <a:gd name="connsiteY1" fmla="*/ 0 h 297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6" h="29719">
                    <a:moveTo>
                      <a:pt x="0" y="29720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27" name="Forma livre: Forma 926">
                <a:extLst>
                  <a:ext uri="{FF2B5EF4-FFF2-40B4-BE49-F238E27FC236}">
                    <a16:creationId xmlns:a16="http://schemas.microsoft.com/office/drawing/2014/main" id="{A2EBBE03-6221-DB21-C923-4268B9250199}"/>
                  </a:ext>
                </a:extLst>
              </p:cNvPr>
              <p:cNvSpPr/>
              <p:nvPr/>
            </p:nvSpPr>
            <p:spPr>
              <a:xfrm>
                <a:off x="8675368" y="2304079"/>
                <a:ext cx="1196" cy="29719"/>
              </a:xfrm>
              <a:custGeom>
                <a:avLst/>
                <a:gdLst>
                  <a:gd name="connsiteX0" fmla="*/ 0 w 1196"/>
                  <a:gd name="connsiteY0" fmla="*/ 29720 h 29719"/>
                  <a:gd name="connsiteX1" fmla="*/ 0 w 1196"/>
                  <a:gd name="connsiteY1" fmla="*/ 0 h 297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6" h="29719">
                    <a:moveTo>
                      <a:pt x="0" y="29720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28" name="Forma livre: Forma 927">
                <a:extLst>
                  <a:ext uri="{FF2B5EF4-FFF2-40B4-BE49-F238E27FC236}">
                    <a16:creationId xmlns:a16="http://schemas.microsoft.com/office/drawing/2014/main" id="{662E401F-8AD3-F391-B68D-5B978265F5B5}"/>
                  </a:ext>
                </a:extLst>
              </p:cNvPr>
              <p:cNvSpPr/>
              <p:nvPr/>
            </p:nvSpPr>
            <p:spPr>
              <a:xfrm>
                <a:off x="8739485" y="2304079"/>
                <a:ext cx="1196" cy="29719"/>
              </a:xfrm>
              <a:custGeom>
                <a:avLst/>
                <a:gdLst>
                  <a:gd name="connsiteX0" fmla="*/ 0 w 1196"/>
                  <a:gd name="connsiteY0" fmla="*/ 29720 h 29719"/>
                  <a:gd name="connsiteX1" fmla="*/ 0 w 1196"/>
                  <a:gd name="connsiteY1" fmla="*/ 0 h 297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6" h="29719">
                    <a:moveTo>
                      <a:pt x="0" y="29720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29" name="Forma livre: Forma 928">
                <a:extLst>
                  <a:ext uri="{FF2B5EF4-FFF2-40B4-BE49-F238E27FC236}">
                    <a16:creationId xmlns:a16="http://schemas.microsoft.com/office/drawing/2014/main" id="{1EBC3DC4-1409-45E9-DE8A-075FD2EC7D44}"/>
                  </a:ext>
                </a:extLst>
              </p:cNvPr>
              <p:cNvSpPr/>
              <p:nvPr/>
            </p:nvSpPr>
            <p:spPr>
              <a:xfrm>
                <a:off x="8803615" y="2304079"/>
                <a:ext cx="1196" cy="29719"/>
              </a:xfrm>
              <a:custGeom>
                <a:avLst/>
                <a:gdLst>
                  <a:gd name="connsiteX0" fmla="*/ 0 w 1196"/>
                  <a:gd name="connsiteY0" fmla="*/ 29720 h 29719"/>
                  <a:gd name="connsiteX1" fmla="*/ 0 w 1196"/>
                  <a:gd name="connsiteY1" fmla="*/ 0 h 297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6" h="29719">
                    <a:moveTo>
                      <a:pt x="0" y="29720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930" name="Gráfico 10">
            <a:extLst>
              <a:ext uri="{FF2B5EF4-FFF2-40B4-BE49-F238E27FC236}">
                <a16:creationId xmlns:a16="http://schemas.microsoft.com/office/drawing/2014/main" id="{67EF627C-B8C0-6EFC-C346-6C534D02AE45}"/>
              </a:ext>
            </a:extLst>
          </p:cNvPr>
          <p:cNvGrpSpPr/>
          <p:nvPr/>
        </p:nvGrpSpPr>
        <p:grpSpPr>
          <a:xfrm>
            <a:off x="7938059" y="2069421"/>
            <a:ext cx="276235" cy="274045"/>
            <a:chOff x="7938059" y="2069421"/>
            <a:chExt cx="276235" cy="274045"/>
          </a:xfrm>
          <a:noFill/>
        </p:grpSpPr>
        <p:sp>
          <p:nvSpPr>
            <p:cNvPr id="931" name="Forma livre: Forma 930">
              <a:extLst>
                <a:ext uri="{FF2B5EF4-FFF2-40B4-BE49-F238E27FC236}">
                  <a16:creationId xmlns:a16="http://schemas.microsoft.com/office/drawing/2014/main" id="{674826AC-13AD-9304-EA20-DCA428C38572}"/>
                </a:ext>
              </a:extLst>
            </p:cNvPr>
            <p:cNvSpPr/>
            <p:nvPr/>
          </p:nvSpPr>
          <p:spPr>
            <a:xfrm>
              <a:off x="7980963" y="2092201"/>
              <a:ext cx="202091" cy="251265"/>
            </a:xfrm>
            <a:custGeom>
              <a:avLst/>
              <a:gdLst>
                <a:gd name="connsiteX0" fmla="*/ 0 w 202091"/>
                <a:gd name="connsiteY0" fmla="*/ 221869 h 251265"/>
                <a:gd name="connsiteX1" fmla="*/ 77398 w 202091"/>
                <a:gd name="connsiteY1" fmla="*/ 251206 h 251265"/>
                <a:gd name="connsiteX2" fmla="*/ 79588 w 202091"/>
                <a:gd name="connsiteY2" fmla="*/ 251265 h 251265"/>
                <a:gd name="connsiteX3" fmla="*/ 202092 w 202091"/>
                <a:gd name="connsiteY3" fmla="*/ 128761 h 251265"/>
                <a:gd name="connsiteX4" fmla="*/ 77398 w 202091"/>
                <a:gd name="connsiteY4" fmla="*/ 128761 h 251265"/>
                <a:gd name="connsiteX5" fmla="*/ 77398 w 202091"/>
                <a:gd name="connsiteY5" fmla="*/ 0 h 2512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2091" h="251265">
                  <a:moveTo>
                    <a:pt x="0" y="221869"/>
                  </a:moveTo>
                  <a:cubicBezTo>
                    <a:pt x="20902" y="239732"/>
                    <a:pt x="47882" y="250691"/>
                    <a:pt x="77398" y="251206"/>
                  </a:cubicBezTo>
                  <a:cubicBezTo>
                    <a:pt x="78128" y="251230"/>
                    <a:pt x="78858" y="251265"/>
                    <a:pt x="79588" y="251265"/>
                  </a:cubicBezTo>
                  <a:cubicBezTo>
                    <a:pt x="147246" y="251265"/>
                    <a:pt x="202092" y="196420"/>
                    <a:pt x="202092" y="128761"/>
                  </a:cubicBezTo>
                  <a:lnTo>
                    <a:pt x="77398" y="128761"/>
                  </a:lnTo>
                  <a:lnTo>
                    <a:pt x="77398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32" name="Forma livre: Forma 931">
              <a:extLst>
                <a:ext uri="{FF2B5EF4-FFF2-40B4-BE49-F238E27FC236}">
                  <a16:creationId xmlns:a16="http://schemas.microsoft.com/office/drawing/2014/main" id="{435D5ADE-34D2-A4CB-94E0-82D22E834185}"/>
                </a:ext>
              </a:extLst>
            </p:cNvPr>
            <p:cNvSpPr/>
            <p:nvPr/>
          </p:nvSpPr>
          <p:spPr>
            <a:xfrm>
              <a:off x="7938059" y="2101270"/>
              <a:ext cx="120302" cy="196252"/>
            </a:xfrm>
            <a:custGeom>
              <a:avLst/>
              <a:gdLst>
                <a:gd name="connsiteX0" fmla="*/ 96374 w 120302"/>
                <a:gd name="connsiteY0" fmla="*/ 0 h 196252"/>
                <a:gd name="connsiteX1" fmla="*/ 0 w 120302"/>
                <a:gd name="connsiteY1" fmla="*/ 119680 h 196252"/>
                <a:gd name="connsiteX2" fmla="*/ 26872 w 120302"/>
                <a:gd name="connsiteY2" fmla="*/ 196253 h 196252"/>
                <a:gd name="connsiteX3" fmla="*/ 120303 w 120302"/>
                <a:gd name="connsiteY3" fmla="*/ 119680 h 1962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0302" h="196252">
                  <a:moveTo>
                    <a:pt x="96374" y="0"/>
                  </a:moveTo>
                  <a:cubicBezTo>
                    <a:pt x="41265" y="11964"/>
                    <a:pt x="0" y="60995"/>
                    <a:pt x="0" y="119680"/>
                  </a:cubicBezTo>
                  <a:cubicBezTo>
                    <a:pt x="0" y="148658"/>
                    <a:pt x="10062" y="175279"/>
                    <a:pt x="26872" y="196253"/>
                  </a:cubicBezTo>
                  <a:lnTo>
                    <a:pt x="120303" y="11968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933" name="Gráfico 10">
              <a:extLst>
                <a:ext uri="{FF2B5EF4-FFF2-40B4-BE49-F238E27FC236}">
                  <a16:creationId xmlns:a16="http://schemas.microsoft.com/office/drawing/2014/main" id="{34C9EBCF-806C-7DF6-5571-2A5A494CD2A0}"/>
                </a:ext>
              </a:extLst>
            </p:cNvPr>
            <p:cNvGrpSpPr/>
            <p:nvPr/>
          </p:nvGrpSpPr>
          <p:grpSpPr>
            <a:xfrm>
              <a:off x="8098945" y="2069421"/>
              <a:ext cx="115349" cy="113303"/>
              <a:chOff x="8098945" y="2069421"/>
              <a:chExt cx="115349" cy="113303"/>
            </a:xfrm>
            <a:noFill/>
          </p:grpSpPr>
          <p:sp>
            <p:nvSpPr>
              <p:cNvPr id="934" name="Forma livre: Forma 933">
                <a:extLst>
                  <a:ext uri="{FF2B5EF4-FFF2-40B4-BE49-F238E27FC236}">
                    <a16:creationId xmlns:a16="http://schemas.microsoft.com/office/drawing/2014/main" id="{75078E44-6808-0BE5-2F03-E40A7856CA50}"/>
                  </a:ext>
                </a:extLst>
              </p:cNvPr>
              <p:cNvSpPr/>
              <p:nvPr/>
            </p:nvSpPr>
            <p:spPr>
              <a:xfrm>
                <a:off x="8099768" y="2069432"/>
                <a:ext cx="386" cy="1196"/>
              </a:xfrm>
              <a:custGeom>
                <a:avLst/>
                <a:gdLst>
                  <a:gd name="connsiteX0" fmla="*/ 193 w 386"/>
                  <a:gd name="connsiteY0" fmla="*/ 0 h 1196"/>
                  <a:gd name="connsiteX1" fmla="*/ 193 w 386"/>
                  <a:gd name="connsiteY1" fmla="*/ 0 h 1196"/>
                  <a:gd name="connsiteX2" fmla="*/ 193 w 386"/>
                  <a:gd name="connsiteY2" fmla="*/ 0 h 11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86" h="1196">
                    <a:moveTo>
                      <a:pt x="193" y="0"/>
                    </a:moveTo>
                    <a:cubicBezTo>
                      <a:pt x="863" y="0"/>
                      <a:pt x="-477" y="0"/>
                      <a:pt x="193" y="0"/>
                    </a:cubicBezTo>
                    <a:lnTo>
                      <a:pt x="193" y="0"/>
                    </a:ln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35" name="Forma livre: Forma 934">
                <a:extLst>
                  <a:ext uri="{FF2B5EF4-FFF2-40B4-BE49-F238E27FC236}">
                    <a16:creationId xmlns:a16="http://schemas.microsoft.com/office/drawing/2014/main" id="{57BF8376-C855-E8A1-AB22-130486589791}"/>
                  </a:ext>
                </a:extLst>
              </p:cNvPr>
              <p:cNvSpPr/>
              <p:nvPr/>
            </p:nvSpPr>
            <p:spPr>
              <a:xfrm>
                <a:off x="8098945" y="2069421"/>
                <a:ext cx="115349" cy="113303"/>
              </a:xfrm>
              <a:custGeom>
                <a:avLst/>
                <a:gdLst>
                  <a:gd name="connsiteX0" fmla="*/ 115349 w 115349"/>
                  <a:gd name="connsiteY0" fmla="*/ 113303 h 113303"/>
                  <a:gd name="connsiteX1" fmla="*/ 0 w 115349"/>
                  <a:gd name="connsiteY1" fmla="*/ 0 h 113303"/>
                  <a:gd name="connsiteX2" fmla="*/ 0 w 115349"/>
                  <a:gd name="connsiteY2" fmla="*/ 113303 h 113303"/>
                  <a:gd name="connsiteX3" fmla="*/ 115349 w 115349"/>
                  <a:gd name="connsiteY3" fmla="*/ 113303 h 1133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5349" h="113303">
                    <a:moveTo>
                      <a:pt x="115349" y="113303"/>
                    </a:moveTo>
                    <a:cubicBezTo>
                      <a:pt x="115349" y="50717"/>
                      <a:pt x="62598" y="0"/>
                      <a:pt x="0" y="0"/>
                    </a:cubicBezTo>
                    <a:lnTo>
                      <a:pt x="0" y="113303"/>
                    </a:lnTo>
                    <a:lnTo>
                      <a:pt x="115349" y="113303"/>
                    </a:ln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936" name="Forma livre: Forma 935">
              <a:extLst>
                <a:ext uri="{FF2B5EF4-FFF2-40B4-BE49-F238E27FC236}">
                  <a16:creationId xmlns:a16="http://schemas.microsoft.com/office/drawing/2014/main" id="{E37E44F7-13A2-BE82-2E92-FD46CC126D40}"/>
                </a:ext>
              </a:extLst>
            </p:cNvPr>
            <p:cNvSpPr/>
            <p:nvPr/>
          </p:nvSpPr>
          <p:spPr>
            <a:xfrm>
              <a:off x="7960899" y="2150456"/>
              <a:ext cx="96648" cy="1196"/>
            </a:xfrm>
            <a:custGeom>
              <a:avLst/>
              <a:gdLst>
                <a:gd name="connsiteX0" fmla="*/ 0 w 96648"/>
                <a:gd name="connsiteY0" fmla="*/ 0 h 1196"/>
                <a:gd name="connsiteX1" fmla="*/ 96649 w 96648"/>
                <a:gd name="connsiteY1" fmla="*/ 0 h 11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6648" h="1196">
                  <a:moveTo>
                    <a:pt x="0" y="0"/>
                  </a:moveTo>
                  <a:lnTo>
                    <a:pt x="96649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37" name="Forma livre: Forma 936">
              <a:extLst>
                <a:ext uri="{FF2B5EF4-FFF2-40B4-BE49-F238E27FC236}">
                  <a16:creationId xmlns:a16="http://schemas.microsoft.com/office/drawing/2014/main" id="{78C95876-1E63-2CE3-1997-B96B49AE2388}"/>
                </a:ext>
              </a:extLst>
            </p:cNvPr>
            <p:cNvSpPr/>
            <p:nvPr/>
          </p:nvSpPr>
          <p:spPr>
            <a:xfrm>
              <a:off x="7941457" y="2195490"/>
              <a:ext cx="116091" cy="1196"/>
            </a:xfrm>
            <a:custGeom>
              <a:avLst/>
              <a:gdLst>
                <a:gd name="connsiteX0" fmla="*/ 0 w 116091"/>
                <a:gd name="connsiteY0" fmla="*/ 0 h 1196"/>
                <a:gd name="connsiteX1" fmla="*/ 116091 w 116091"/>
                <a:gd name="connsiteY1" fmla="*/ 0 h 11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6091" h="1196">
                  <a:moveTo>
                    <a:pt x="0" y="0"/>
                  </a:moveTo>
                  <a:lnTo>
                    <a:pt x="116091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38" name="Forma livre: Forma 937">
              <a:extLst>
                <a:ext uri="{FF2B5EF4-FFF2-40B4-BE49-F238E27FC236}">
                  <a16:creationId xmlns:a16="http://schemas.microsoft.com/office/drawing/2014/main" id="{DD3A7E7C-A358-4C05-826A-BF67A877D6CF}"/>
                </a:ext>
              </a:extLst>
            </p:cNvPr>
            <p:cNvSpPr/>
            <p:nvPr/>
          </p:nvSpPr>
          <p:spPr>
            <a:xfrm>
              <a:off x="7940081" y="2240548"/>
              <a:ext cx="92413" cy="1196"/>
            </a:xfrm>
            <a:custGeom>
              <a:avLst/>
              <a:gdLst>
                <a:gd name="connsiteX0" fmla="*/ 0 w 92413"/>
                <a:gd name="connsiteY0" fmla="*/ 0 h 1196"/>
                <a:gd name="connsiteX1" fmla="*/ 92413 w 92413"/>
                <a:gd name="connsiteY1" fmla="*/ 0 h 11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2413" h="1196">
                  <a:moveTo>
                    <a:pt x="0" y="0"/>
                  </a:moveTo>
                  <a:lnTo>
                    <a:pt x="92413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939" name="Gráfico 10">
            <a:extLst>
              <a:ext uri="{FF2B5EF4-FFF2-40B4-BE49-F238E27FC236}">
                <a16:creationId xmlns:a16="http://schemas.microsoft.com/office/drawing/2014/main" id="{ECFE53BA-2970-D608-28C4-5934DF8E7827}"/>
              </a:ext>
            </a:extLst>
          </p:cNvPr>
          <p:cNvGrpSpPr/>
          <p:nvPr/>
        </p:nvGrpSpPr>
        <p:grpSpPr>
          <a:xfrm>
            <a:off x="9171897" y="987057"/>
            <a:ext cx="294668" cy="301157"/>
            <a:chOff x="9171897" y="987057"/>
            <a:chExt cx="294668" cy="301157"/>
          </a:xfrm>
          <a:noFill/>
        </p:grpSpPr>
        <p:grpSp>
          <p:nvGrpSpPr>
            <p:cNvPr id="940" name="Gráfico 10">
              <a:extLst>
                <a:ext uri="{FF2B5EF4-FFF2-40B4-BE49-F238E27FC236}">
                  <a16:creationId xmlns:a16="http://schemas.microsoft.com/office/drawing/2014/main" id="{989ED9BC-EAA7-57A6-A738-B69525983BC0}"/>
                </a:ext>
              </a:extLst>
            </p:cNvPr>
            <p:cNvGrpSpPr/>
            <p:nvPr/>
          </p:nvGrpSpPr>
          <p:grpSpPr>
            <a:xfrm>
              <a:off x="9171897" y="1023010"/>
              <a:ext cx="223168" cy="265203"/>
              <a:chOff x="9171897" y="1023010"/>
              <a:chExt cx="223168" cy="265203"/>
            </a:xfrm>
            <a:noFill/>
          </p:grpSpPr>
          <p:sp>
            <p:nvSpPr>
              <p:cNvPr id="941" name="Forma livre: Forma 940">
                <a:extLst>
                  <a:ext uri="{FF2B5EF4-FFF2-40B4-BE49-F238E27FC236}">
                    <a16:creationId xmlns:a16="http://schemas.microsoft.com/office/drawing/2014/main" id="{2E85BA81-6DE7-2FF6-1F7C-D5C98916A019}"/>
                  </a:ext>
                </a:extLst>
              </p:cNvPr>
              <p:cNvSpPr/>
              <p:nvPr/>
            </p:nvSpPr>
            <p:spPr>
              <a:xfrm>
                <a:off x="9171897" y="1023010"/>
                <a:ext cx="109147" cy="264809"/>
              </a:xfrm>
              <a:custGeom>
                <a:avLst/>
                <a:gdLst>
                  <a:gd name="connsiteX0" fmla="*/ 109147 w 109147"/>
                  <a:gd name="connsiteY0" fmla="*/ 0 h 264809"/>
                  <a:gd name="connsiteX1" fmla="*/ 65298 w 109147"/>
                  <a:gd name="connsiteY1" fmla="*/ 16212 h 264809"/>
                  <a:gd name="connsiteX2" fmla="*/ 31965 w 109147"/>
                  <a:gd name="connsiteY2" fmla="*/ 93024 h 264809"/>
                  <a:gd name="connsiteX3" fmla="*/ 28591 w 109147"/>
                  <a:gd name="connsiteY3" fmla="*/ 117036 h 264809"/>
                  <a:gd name="connsiteX4" fmla="*/ 594 w 109147"/>
                  <a:gd name="connsiteY4" fmla="*/ 149950 h 264809"/>
                  <a:gd name="connsiteX5" fmla="*/ 8060 w 109147"/>
                  <a:gd name="connsiteY5" fmla="*/ 160671 h 264809"/>
                  <a:gd name="connsiteX6" fmla="*/ 25121 w 109147"/>
                  <a:gd name="connsiteY6" fmla="*/ 164188 h 264809"/>
                  <a:gd name="connsiteX7" fmla="*/ 32958 w 109147"/>
                  <a:gd name="connsiteY7" fmla="*/ 188811 h 264809"/>
                  <a:gd name="connsiteX8" fmla="*/ 31175 w 109147"/>
                  <a:gd name="connsiteY8" fmla="*/ 212716 h 264809"/>
                  <a:gd name="connsiteX9" fmla="*/ 34633 w 109147"/>
                  <a:gd name="connsiteY9" fmla="*/ 235831 h 264809"/>
                  <a:gd name="connsiteX10" fmla="*/ 93342 w 109147"/>
                  <a:gd name="connsiteY10" fmla="*/ 233522 h 264809"/>
                  <a:gd name="connsiteX11" fmla="*/ 102100 w 109147"/>
                  <a:gd name="connsiteY11" fmla="*/ 264809 h 2648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09147" h="264809">
                    <a:moveTo>
                      <a:pt x="109147" y="0"/>
                    </a:moveTo>
                    <a:cubicBezTo>
                      <a:pt x="95328" y="2513"/>
                      <a:pt x="80576" y="7550"/>
                      <a:pt x="65298" y="16212"/>
                    </a:cubicBezTo>
                    <a:cubicBezTo>
                      <a:pt x="65298" y="16212"/>
                      <a:pt x="23027" y="34505"/>
                      <a:pt x="31965" y="93024"/>
                    </a:cubicBezTo>
                    <a:cubicBezTo>
                      <a:pt x="31965" y="93024"/>
                      <a:pt x="33771" y="109391"/>
                      <a:pt x="28591" y="117036"/>
                    </a:cubicBezTo>
                    <a:lnTo>
                      <a:pt x="594" y="149950"/>
                    </a:lnTo>
                    <a:cubicBezTo>
                      <a:pt x="594" y="149950"/>
                      <a:pt x="-3127" y="159737"/>
                      <a:pt x="8060" y="160671"/>
                    </a:cubicBezTo>
                    <a:lnTo>
                      <a:pt x="25121" y="164188"/>
                    </a:lnTo>
                    <a:cubicBezTo>
                      <a:pt x="25121" y="164188"/>
                      <a:pt x="32252" y="178103"/>
                      <a:pt x="32958" y="188811"/>
                    </a:cubicBezTo>
                    <a:cubicBezTo>
                      <a:pt x="33676" y="199519"/>
                      <a:pt x="31175" y="212716"/>
                      <a:pt x="31175" y="212716"/>
                    </a:cubicBezTo>
                    <a:cubicBezTo>
                      <a:pt x="31175" y="212716"/>
                      <a:pt x="25109" y="228772"/>
                      <a:pt x="34633" y="235831"/>
                    </a:cubicBezTo>
                    <a:cubicBezTo>
                      <a:pt x="36511" y="236298"/>
                      <a:pt x="43498" y="244230"/>
                      <a:pt x="93342" y="233522"/>
                    </a:cubicBezTo>
                    <a:cubicBezTo>
                      <a:pt x="93342" y="233522"/>
                      <a:pt x="99049" y="238763"/>
                      <a:pt x="102100" y="264809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42" name="Forma livre: Forma 941">
                <a:extLst>
                  <a:ext uri="{FF2B5EF4-FFF2-40B4-BE49-F238E27FC236}">
                    <a16:creationId xmlns:a16="http://schemas.microsoft.com/office/drawing/2014/main" id="{B603C27B-0B71-FFD9-BABC-BB54A18CC0C2}"/>
                  </a:ext>
                </a:extLst>
              </p:cNvPr>
              <p:cNvSpPr/>
              <p:nvPr/>
            </p:nvSpPr>
            <p:spPr>
              <a:xfrm>
                <a:off x="9376370" y="1182065"/>
                <a:ext cx="18695" cy="106148"/>
              </a:xfrm>
              <a:custGeom>
                <a:avLst/>
                <a:gdLst>
                  <a:gd name="connsiteX0" fmla="*/ 5284 w 18695"/>
                  <a:gd name="connsiteY0" fmla="*/ 106149 h 106148"/>
                  <a:gd name="connsiteX1" fmla="*/ 235 w 18695"/>
                  <a:gd name="connsiteY1" fmla="*/ 48827 h 106148"/>
                  <a:gd name="connsiteX2" fmla="*/ 18696 w 18695"/>
                  <a:gd name="connsiteY2" fmla="*/ 0 h 1061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8695" h="106148">
                    <a:moveTo>
                      <a:pt x="5284" y="106149"/>
                    </a:moveTo>
                    <a:cubicBezTo>
                      <a:pt x="3070" y="93239"/>
                      <a:pt x="-1022" y="69286"/>
                      <a:pt x="235" y="48827"/>
                    </a:cubicBezTo>
                    <a:cubicBezTo>
                      <a:pt x="235" y="48827"/>
                      <a:pt x="6384" y="21129"/>
                      <a:pt x="18696" y="0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43" name="Forma livre: Forma 942">
                <a:extLst>
                  <a:ext uri="{FF2B5EF4-FFF2-40B4-BE49-F238E27FC236}">
                    <a16:creationId xmlns:a16="http://schemas.microsoft.com/office/drawing/2014/main" id="{4CE24562-E65A-6769-0F4E-AB140EE3B12B}"/>
                  </a:ext>
                </a:extLst>
              </p:cNvPr>
              <p:cNvSpPr/>
              <p:nvPr/>
            </p:nvSpPr>
            <p:spPr>
              <a:xfrm>
                <a:off x="9207020" y="1212539"/>
                <a:ext cx="21416" cy="358"/>
              </a:xfrm>
              <a:custGeom>
                <a:avLst/>
                <a:gdLst>
                  <a:gd name="connsiteX0" fmla="*/ 0 w 21416"/>
                  <a:gd name="connsiteY0" fmla="*/ 0 h 358"/>
                  <a:gd name="connsiteX1" fmla="*/ 21416 w 21416"/>
                  <a:gd name="connsiteY1" fmla="*/ 359 h 3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1416" h="358">
                    <a:moveTo>
                      <a:pt x="0" y="0"/>
                    </a:moveTo>
                    <a:lnTo>
                      <a:pt x="21416" y="359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944" name="Gráfico 10">
              <a:extLst>
                <a:ext uri="{FF2B5EF4-FFF2-40B4-BE49-F238E27FC236}">
                  <a16:creationId xmlns:a16="http://schemas.microsoft.com/office/drawing/2014/main" id="{734605B8-EE60-64F3-BFC5-7178658397CB}"/>
                </a:ext>
              </a:extLst>
            </p:cNvPr>
            <p:cNvGrpSpPr/>
            <p:nvPr/>
          </p:nvGrpSpPr>
          <p:grpSpPr>
            <a:xfrm>
              <a:off x="9357150" y="1013151"/>
              <a:ext cx="47319" cy="119668"/>
              <a:chOff x="9357150" y="1013151"/>
              <a:chExt cx="47319" cy="119668"/>
            </a:xfrm>
            <a:noFill/>
          </p:grpSpPr>
          <p:sp>
            <p:nvSpPr>
              <p:cNvPr id="945" name="Forma livre: Forma 944">
                <a:extLst>
                  <a:ext uri="{FF2B5EF4-FFF2-40B4-BE49-F238E27FC236}">
                    <a16:creationId xmlns:a16="http://schemas.microsoft.com/office/drawing/2014/main" id="{C4F58E67-8975-7D10-6C51-F1C7F72A5992}"/>
                  </a:ext>
                </a:extLst>
              </p:cNvPr>
              <p:cNvSpPr/>
              <p:nvPr/>
            </p:nvSpPr>
            <p:spPr>
              <a:xfrm>
                <a:off x="9357150" y="1027975"/>
                <a:ext cx="47319" cy="90008"/>
              </a:xfrm>
              <a:custGeom>
                <a:avLst/>
                <a:gdLst>
                  <a:gd name="connsiteX0" fmla="*/ 96 w 47319"/>
                  <a:gd name="connsiteY0" fmla="*/ 68054 h 90008"/>
                  <a:gd name="connsiteX1" fmla="*/ 23702 w 47319"/>
                  <a:gd name="connsiteY1" fmla="*/ 90009 h 90008"/>
                  <a:gd name="connsiteX2" fmla="*/ 47319 w 47319"/>
                  <a:gd name="connsiteY2" fmla="*/ 68054 h 90008"/>
                  <a:gd name="connsiteX3" fmla="*/ 23654 w 47319"/>
                  <a:gd name="connsiteY3" fmla="*/ 44998 h 90008"/>
                  <a:gd name="connsiteX4" fmla="*/ 0 w 47319"/>
                  <a:gd name="connsiteY4" fmla="*/ 21955 h 90008"/>
                  <a:gd name="connsiteX5" fmla="*/ 23606 w 47319"/>
                  <a:gd name="connsiteY5" fmla="*/ 0 h 90008"/>
                  <a:gd name="connsiteX6" fmla="*/ 47212 w 47319"/>
                  <a:gd name="connsiteY6" fmla="*/ 21955 h 900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7319" h="90008">
                    <a:moveTo>
                      <a:pt x="96" y="68054"/>
                    </a:moveTo>
                    <a:cubicBezTo>
                      <a:pt x="96" y="80186"/>
                      <a:pt x="10672" y="90009"/>
                      <a:pt x="23702" y="90009"/>
                    </a:cubicBezTo>
                    <a:cubicBezTo>
                      <a:pt x="36731" y="90009"/>
                      <a:pt x="47319" y="80186"/>
                      <a:pt x="47319" y="68054"/>
                    </a:cubicBezTo>
                    <a:cubicBezTo>
                      <a:pt x="47319" y="55922"/>
                      <a:pt x="34709" y="50622"/>
                      <a:pt x="23654" y="44998"/>
                    </a:cubicBezTo>
                    <a:cubicBezTo>
                      <a:pt x="12587" y="39387"/>
                      <a:pt x="0" y="34087"/>
                      <a:pt x="0" y="21955"/>
                    </a:cubicBezTo>
                    <a:cubicBezTo>
                      <a:pt x="0" y="9823"/>
                      <a:pt x="10553" y="0"/>
                      <a:pt x="23606" y="0"/>
                    </a:cubicBezTo>
                    <a:cubicBezTo>
                      <a:pt x="36659" y="0"/>
                      <a:pt x="47212" y="9823"/>
                      <a:pt x="47212" y="21955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46" name="Forma livre: Forma 945">
                <a:extLst>
                  <a:ext uri="{FF2B5EF4-FFF2-40B4-BE49-F238E27FC236}">
                    <a16:creationId xmlns:a16="http://schemas.microsoft.com/office/drawing/2014/main" id="{9FB92075-AE83-456B-57FE-94104A895940}"/>
                  </a:ext>
                </a:extLst>
              </p:cNvPr>
              <p:cNvSpPr/>
              <p:nvPr/>
            </p:nvSpPr>
            <p:spPr>
              <a:xfrm>
                <a:off x="9380744" y="1013151"/>
                <a:ext cx="1196" cy="14728"/>
              </a:xfrm>
              <a:custGeom>
                <a:avLst/>
                <a:gdLst>
                  <a:gd name="connsiteX0" fmla="*/ 0 w 1196"/>
                  <a:gd name="connsiteY0" fmla="*/ 14728 h 14728"/>
                  <a:gd name="connsiteX1" fmla="*/ 0 w 1196"/>
                  <a:gd name="connsiteY1" fmla="*/ 0 h 147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6" h="14728">
                    <a:moveTo>
                      <a:pt x="0" y="14728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47" name="Forma livre: Forma 946">
                <a:extLst>
                  <a:ext uri="{FF2B5EF4-FFF2-40B4-BE49-F238E27FC236}">
                    <a16:creationId xmlns:a16="http://schemas.microsoft.com/office/drawing/2014/main" id="{D7512C04-4FAF-CDD2-2E4F-65F7F8B7435E}"/>
                  </a:ext>
                </a:extLst>
              </p:cNvPr>
              <p:cNvSpPr/>
              <p:nvPr/>
            </p:nvSpPr>
            <p:spPr>
              <a:xfrm>
                <a:off x="9380744" y="1118103"/>
                <a:ext cx="1196" cy="14716"/>
              </a:xfrm>
              <a:custGeom>
                <a:avLst/>
                <a:gdLst>
                  <a:gd name="connsiteX0" fmla="*/ 0 w 1196"/>
                  <a:gd name="connsiteY0" fmla="*/ 14716 h 14716"/>
                  <a:gd name="connsiteX1" fmla="*/ 0 w 1196"/>
                  <a:gd name="connsiteY1" fmla="*/ 0 h 147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6" h="14716">
                    <a:moveTo>
                      <a:pt x="0" y="14716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948" name="Forma livre: Forma 947">
              <a:extLst>
                <a:ext uri="{FF2B5EF4-FFF2-40B4-BE49-F238E27FC236}">
                  <a16:creationId xmlns:a16="http://schemas.microsoft.com/office/drawing/2014/main" id="{724F6ABA-404E-7C2A-258E-8D07573322A4}"/>
                </a:ext>
              </a:extLst>
            </p:cNvPr>
            <p:cNvSpPr/>
            <p:nvPr/>
          </p:nvSpPr>
          <p:spPr>
            <a:xfrm>
              <a:off x="9294875" y="987057"/>
              <a:ext cx="171689" cy="171689"/>
            </a:xfrm>
            <a:custGeom>
              <a:avLst/>
              <a:gdLst>
                <a:gd name="connsiteX0" fmla="*/ 50203 w 171689"/>
                <a:gd name="connsiteY0" fmla="*/ 7729 h 171689"/>
                <a:gd name="connsiteX1" fmla="*/ 85845 w 171689"/>
                <a:gd name="connsiteY1" fmla="*/ 0 h 171689"/>
                <a:gd name="connsiteX2" fmla="*/ 171690 w 171689"/>
                <a:gd name="connsiteY2" fmla="*/ 85845 h 171689"/>
                <a:gd name="connsiteX3" fmla="*/ 85845 w 171689"/>
                <a:gd name="connsiteY3" fmla="*/ 171690 h 171689"/>
                <a:gd name="connsiteX4" fmla="*/ 0 w 171689"/>
                <a:gd name="connsiteY4" fmla="*/ 85845 h 171689"/>
                <a:gd name="connsiteX5" fmla="*/ 26106 w 171689"/>
                <a:gd name="connsiteY5" fmla="*/ 24192 h 1716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71689" h="171689">
                  <a:moveTo>
                    <a:pt x="50203" y="7729"/>
                  </a:moveTo>
                  <a:cubicBezTo>
                    <a:pt x="61054" y="2764"/>
                    <a:pt x="73127" y="0"/>
                    <a:pt x="85845" y="0"/>
                  </a:cubicBezTo>
                  <a:cubicBezTo>
                    <a:pt x="133248" y="0"/>
                    <a:pt x="171690" y="38430"/>
                    <a:pt x="171690" y="85845"/>
                  </a:cubicBezTo>
                  <a:cubicBezTo>
                    <a:pt x="171690" y="133260"/>
                    <a:pt x="133248" y="171690"/>
                    <a:pt x="85845" y="171690"/>
                  </a:cubicBezTo>
                  <a:cubicBezTo>
                    <a:pt x="38442" y="171690"/>
                    <a:pt x="0" y="133260"/>
                    <a:pt x="0" y="85845"/>
                  </a:cubicBezTo>
                  <a:cubicBezTo>
                    <a:pt x="0" y="61653"/>
                    <a:pt x="10014" y="39794"/>
                    <a:pt x="26106" y="24192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949" name="Gráfico 10">
            <a:extLst>
              <a:ext uri="{FF2B5EF4-FFF2-40B4-BE49-F238E27FC236}">
                <a16:creationId xmlns:a16="http://schemas.microsoft.com/office/drawing/2014/main" id="{20CE1DC9-6F00-41BA-43F8-6D001F11E5A4}"/>
              </a:ext>
            </a:extLst>
          </p:cNvPr>
          <p:cNvGrpSpPr/>
          <p:nvPr/>
        </p:nvGrpSpPr>
        <p:grpSpPr>
          <a:xfrm>
            <a:off x="8550244" y="1022974"/>
            <a:ext cx="294887" cy="229334"/>
            <a:chOff x="8550244" y="1022974"/>
            <a:chExt cx="294887" cy="229334"/>
          </a:xfrm>
          <a:noFill/>
        </p:grpSpPr>
        <p:grpSp>
          <p:nvGrpSpPr>
            <p:cNvPr id="950" name="Gráfico 10">
              <a:extLst>
                <a:ext uri="{FF2B5EF4-FFF2-40B4-BE49-F238E27FC236}">
                  <a16:creationId xmlns:a16="http://schemas.microsoft.com/office/drawing/2014/main" id="{19514AD2-D015-0252-D095-82057DE9B203}"/>
                </a:ext>
              </a:extLst>
            </p:cNvPr>
            <p:cNvGrpSpPr/>
            <p:nvPr/>
          </p:nvGrpSpPr>
          <p:grpSpPr>
            <a:xfrm>
              <a:off x="8550244" y="1022974"/>
              <a:ext cx="294887" cy="229334"/>
              <a:chOff x="8550244" y="1022974"/>
              <a:chExt cx="294887" cy="229334"/>
            </a:xfrm>
            <a:noFill/>
          </p:grpSpPr>
          <p:sp>
            <p:nvSpPr>
              <p:cNvPr id="951" name="Forma livre: Forma 950">
                <a:extLst>
                  <a:ext uri="{FF2B5EF4-FFF2-40B4-BE49-F238E27FC236}">
                    <a16:creationId xmlns:a16="http://schemas.microsoft.com/office/drawing/2014/main" id="{FEF2D88C-B2E6-4A65-096D-39799810937B}"/>
                  </a:ext>
                </a:extLst>
              </p:cNvPr>
              <p:cNvSpPr/>
              <p:nvPr/>
            </p:nvSpPr>
            <p:spPr>
              <a:xfrm>
                <a:off x="8550244" y="1022974"/>
                <a:ext cx="237673" cy="146720"/>
              </a:xfrm>
              <a:custGeom>
                <a:avLst/>
                <a:gdLst>
                  <a:gd name="connsiteX0" fmla="*/ 35893 w 237673"/>
                  <a:gd name="connsiteY0" fmla="*/ 146720 h 146720"/>
                  <a:gd name="connsiteX1" fmla="*/ 25018 w 237673"/>
                  <a:gd name="connsiteY1" fmla="*/ 146720 h 146720"/>
                  <a:gd name="connsiteX2" fmla="*/ 0 w 237673"/>
                  <a:gd name="connsiteY2" fmla="*/ 121702 h 146720"/>
                  <a:gd name="connsiteX3" fmla="*/ 0 w 237673"/>
                  <a:gd name="connsiteY3" fmla="*/ 25018 h 146720"/>
                  <a:gd name="connsiteX4" fmla="*/ 25018 w 237673"/>
                  <a:gd name="connsiteY4" fmla="*/ 0 h 146720"/>
                  <a:gd name="connsiteX5" fmla="*/ 212644 w 237673"/>
                  <a:gd name="connsiteY5" fmla="*/ 0 h 146720"/>
                  <a:gd name="connsiteX6" fmla="*/ 237674 w 237673"/>
                  <a:gd name="connsiteY6" fmla="*/ 25018 h 146720"/>
                  <a:gd name="connsiteX7" fmla="*/ 237674 w 237673"/>
                  <a:gd name="connsiteY7" fmla="*/ 61940 h 1467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37673" h="146720">
                    <a:moveTo>
                      <a:pt x="35893" y="146720"/>
                    </a:moveTo>
                    <a:lnTo>
                      <a:pt x="25018" y="146720"/>
                    </a:lnTo>
                    <a:cubicBezTo>
                      <a:pt x="11259" y="146720"/>
                      <a:pt x="0" y="135461"/>
                      <a:pt x="0" y="121702"/>
                    </a:cubicBezTo>
                    <a:lnTo>
                      <a:pt x="0" y="25018"/>
                    </a:lnTo>
                    <a:cubicBezTo>
                      <a:pt x="0" y="11247"/>
                      <a:pt x="11259" y="0"/>
                      <a:pt x="25018" y="0"/>
                    </a:cubicBezTo>
                    <a:lnTo>
                      <a:pt x="212644" y="0"/>
                    </a:lnTo>
                    <a:cubicBezTo>
                      <a:pt x="226415" y="0"/>
                      <a:pt x="237674" y="11259"/>
                      <a:pt x="237674" y="25018"/>
                    </a:cubicBezTo>
                    <a:lnTo>
                      <a:pt x="237674" y="6194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52" name="Forma livre: Forma 951">
                <a:extLst>
                  <a:ext uri="{FF2B5EF4-FFF2-40B4-BE49-F238E27FC236}">
                    <a16:creationId xmlns:a16="http://schemas.microsoft.com/office/drawing/2014/main" id="{732A51E7-23C6-4963-7D6C-5756F6C3B219}"/>
                  </a:ext>
                </a:extLst>
              </p:cNvPr>
              <p:cNvSpPr/>
              <p:nvPr/>
            </p:nvSpPr>
            <p:spPr>
              <a:xfrm>
                <a:off x="8551943" y="1060782"/>
                <a:ext cx="234287" cy="1196"/>
              </a:xfrm>
              <a:custGeom>
                <a:avLst/>
                <a:gdLst>
                  <a:gd name="connsiteX0" fmla="*/ 0 w 234287"/>
                  <a:gd name="connsiteY0" fmla="*/ 0 h 1196"/>
                  <a:gd name="connsiteX1" fmla="*/ 234288 w 234287"/>
                  <a:gd name="connsiteY1" fmla="*/ 0 h 11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34287" h="1196">
                    <a:moveTo>
                      <a:pt x="0" y="0"/>
                    </a:moveTo>
                    <a:lnTo>
                      <a:pt x="234288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53" name="Forma livre: Forma 952">
                <a:extLst>
                  <a:ext uri="{FF2B5EF4-FFF2-40B4-BE49-F238E27FC236}">
                    <a16:creationId xmlns:a16="http://schemas.microsoft.com/office/drawing/2014/main" id="{01C89F96-B885-8E82-C56F-D283F9D38EDF}"/>
                  </a:ext>
                </a:extLst>
              </p:cNvPr>
              <p:cNvSpPr/>
              <p:nvPr/>
            </p:nvSpPr>
            <p:spPr>
              <a:xfrm>
                <a:off x="8607470" y="1105206"/>
                <a:ext cx="237661" cy="147102"/>
              </a:xfrm>
              <a:custGeom>
                <a:avLst/>
                <a:gdLst>
                  <a:gd name="connsiteX0" fmla="*/ 25018 w 237661"/>
                  <a:gd name="connsiteY0" fmla="*/ 147103 h 147102"/>
                  <a:gd name="connsiteX1" fmla="*/ 0 w 237661"/>
                  <a:gd name="connsiteY1" fmla="*/ 121702 h 147102"/>
                  <a:gd name="connsiteX2" fmla="*/ 0 w 237661"/>
                  <a:gd name="connsiteY2" fmla="*/ 25018 h 147102"/>
                  <a:gd name="connsiteX3" fmla="*/ 25018 w 237661"/>
                  <a:gd name="connsiteY3" fmla="*/ 0 h 147102"/>
                  <a:gd name="connsiteX4" fmla="*/ 212644 w 237661"/>
                  <a:gd name="connsiteY4" fmla="*/ 0 h 147102"/>
                  <a:gd name="connsiteX5" fmla="*/ 237662 w 237661"/>
                  <a:gd name="connsiteY5" fmla="*/ 25018 h 147102"/>
                  <a:gd name="connsiteX6" fmla="*/ 237662 w 237661"/>
                  <a:gd name="connsiteY6" fmla="*/ 121702 h 147102"/>
                  <a:gd name="connsiteX7" fmla="*/ 212644 w 237661"/>
                  <a:gd name="connsiteY7" fmla="*/ 147103 h 147102"/>
                  <a:gd name="connsiteX8" fmla="*/ 25018 w 237661"/>
                  <a:gd name="connsiteY8" fmla="*/ 147103 h 1471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37661" h="147102">
                    <a:moveTo>
                      <a:pt x="25018" y="147103"/>
                    </a:moveTo>
                    <a:cubicBezTo>
                      <a:pt x="11259" y="147103"/>
                      <a:pt x="0" y="135473"/>
                      <a:pt x="0" y="121702"/>
                    </a:cubicBezTo>
                    <a:lnTo>
                      <a:pt x="0" y="25018"/>
                    </a:lnTo>
                    <a:cubicBezTo>
                      <a:pt x="0" y="11259"/>
                      <a:pt x="11259" y="0"/>
                      <a:pt x="25018" y="0"/>
                    </a:cubicBezTo>
                    <a:lnTo>
                      <a:pt x="212644" y="0"/>
                    </a:lnTo>
                    <a:cubicBezTo>
                      <a:pt x="226415" y="0"/>
                      <a:pt x="237662" y="11259"/>
                      <a:pt x="237662" y="25018"/>
                    </a:cubicBezTo>
                    <a:lnTo>
                      <a:pt x="237662" y="121702"/>
                    </a:lnTo>
                    <a:cubicBezTo>
                      <a:pt x="237662" y="135473"/>
                      <a:pt x="226403" y="147103"/>
                      <a:pt x="212644" y="147103"/>
                    </a:cubicBezTo>
                    <a:lnTo>
                      <a:pt x="25018" y="147103"/>
                    </a:ln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54" name="Forma livre: Forma 953">
                <a:extLst>
                  <a:ext uri="{FF2B5EF4-FFF2-40B4-BE49-F238E27FC236}">
                    <a16:creationId xmlns:a16="http://schemas.microsoft.com/office/drawing/2014/main" id="{FC3146B7-0FB9-EB16-721D-3947F9906EA1}"/>
                  </a:ext>
                </a:extLst>
              </p:cNvPr>
              <p:cNvSpPr/>
              <p:nvPr/>
            </p:nvSpPr>
            <p:spPr>
              <a:xfrm>
                <a:off x="8637799" y="1215183"/>
                <a:ext cx="119895" cy="1196"/>
              </a:xfrm>
              <a:custGeom>
                <a:avLst/>
                <a:gdLst>
                  <a:gd name="connsiteX0" fmla="*/ 0 w 119895"/>
                  <a:gd name="connsiteY0" fmla="*/ 0 h 1196"/>
                  <a:gd name="connsiteX1" fmla="*/ 119896 w 119895"/>
                  <a:gd name="connsiteY1" fmla="*/ 0 h 11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895" h="1196">
                    <a:moveTo>
                      <a:pt x="0" y="0"/>
                    </a:moveTo>
                    <a:lnTo>
                      <a:pt x="119896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55" name="Forma livre: Forma 954">
                <a:extLst>
                  <a:ext uri="{FF2B5EF4-FFF2-40B4-BE49-F238E27FC236}">
                    <a16:creationId xmlns:a16="http://schemas.microsoft.com/office/drawing/2014/main" id="{11A199C8-C8E8-C021-F472-A0A1484A231E}"/>
                  </a:ext>
                </a:extLst>
              </p:cNvPr>
              <p:cNvSpPr/>
              <p:nvPr/>
            </p:nvSpPr>
            <p:spPr>
              <a:xfrm>
                <a:off x="8637799" y="1187772"/>
                <a:ext cx="79204" cy="1196"/>
              </a:xfrm>
              <a:custGeom>
                <a:avLst/>
                <a:gdLst>
                  <a:gd name="connsiteX0" fmla="*/ 0 w 79204"/>
                  <a:gd name="connsiteY0" fmla="*/ 0 h 1196"/>
                  <a:gd name="connsiteX1" fmla="*/ 79205 w 79204"/>
                  <a:gd name="connsiteY1" fmla="*/ 0 h 11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79204" h="1196">
                    <a:moveTo>
                      <a:pt x="0" y="0"/>
                    </a:moveTo>
                    <a:lnTo>
                      <a:pt x="79205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956" name="Forma livre: Forma 955">
              <a:extLst>
                <a:ext uri="{FF2B5EF4-FFF2-40B4-BE49-F238E27FC236}">
                  <a16:creationId xmlns:a16="http://schemas.microsoft.com/office/drawing/2014/main" id="{CD8DD390-01F8-C5D4-3999-EDB4A6DE7AE1}"/>
                </a:ext>
              </a:extLst>
            </p:cNvPr>
            <p:cNvSpPr/>
            <p:nvPr/>
          </p:nvSpPr>
          <p:spPr>
            <a:xfrm>
              <a:off x="8760268" y="1135595"/>
              <a:ext cx="48240" cy="48240"/>
            </a:xfrm>
            <a:custGeom>
              <a:avLst/>
              <a:gdLst>
                <a:gd name="connsiteX0" fmla="*/ 48241 w 48240"/>
                <a:gd name="connsiteY0" fmla="*/ 24120 h 48240"/>
                <a:gd name="connsiteX1" fmla="*/ 24120 w 48240"/>
                <a:gd name="connsiteY1" fmla="*/ 48241 h 48240"/>
                <a:gd name="connsiteX2" fmla="*/ 0 w 48240"/>
                <a:gd name="connsiteY2" fmla="*/ 24120 h 48240"/>
                <a:gd name="connsiteX3" fmla="*/ 24120 w 48240"/>
                <a:gd name="connsiteY3" fmla="*/ 0 h 48240"/>
                <a:gd name="connsiteX4" fmla="*/ 48241 w 48240"/>
                <a:gd name="connsiteY4" fmla="*/ 24120 h 482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8240" h="48240">
                  <a:moveTo>
                    <a:pt x="48241" y="24120"/>
                  </a:moveTo>
                  <a:cubicBezTo>
                    <a:pt x="48241" y="37449"/>
                    <a:pt x="37437" y="48241"/>
                    <a:pt x="24120" y="48241"/>
                  </a:cubicBezTo>
                  <a:cubicBezTo>
                    <a:pt x="10804" y="48241"/>
                    <a:pt x="0" y="37437"/>
                    <a:pt x="0" y="24120"/>
                  </a:cubicBezTo>
                  <a:cubicBezTo>
                    <a:pt x="0" y="10804"/>
                    <a:pt x="10804" y="0"/>
                    <a:pt x="24120" y="0"/>
                  </a:cubicBezTo>
                  <a:cubicBezTo>
                    <a:pt x="37437" y="0"/>
                    <a:pt x="48241" y="10792"/>
                    <a:pt x="48241" y="24120"/>
                  </a:cubicBez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957" name="Gráfico 10">
            <a:extLst>
              <a:ext uri="{FF2B5EF4-FFF2-40B4-BE49-F238E27FC236}">
                <a16:creationId xmlns:a16="http://schemas.microsoft.com/office/drawing/2014/main" id="{1C912417-348F-03A9-6F9A-16B9D0E52CC0}"/>
              </a:ext>
            </a:extLst>
          </p:cNvPr>
          <p:cNvGrpSpPr/>
          <p:nvPr/>
        </p:nvGrpSpPr>
        <p:grpSpPr>
          <a:xfrm>
            <a:off x="7961294" y="1003137"/>
            <a:ext cx="229765" cy="268996"/>
            <a:chOff x="7961294" y="1003137"/>
            <a:chExt cx="229765" cy="268996"/>
          </a:xfrm>
          <a:noFill/>
        </p:grpSpPr>
        <p:sp>
          <p:nvSpPr>
            <p:cNvPr id="958" name="Forma livre: Forma 957">
              <a:extLst>
                <a:ext uri="{FF2B5EF4-FFF2-40B4-BE49-F238E27FC236}">
                  <a16:creationId xmlns:a16="http://schemas.microsoft.com/office/drawing/2014/main" id="{041D4DC4-4DB9-3389-321C-3920A5D6CFC4}"/>
                </a:ext>
              </a:extLst>
            </p:cNvPr>
            <p:cNvSpPr/>
            <p:nvPr/>
          </p:nvSpPr>
          <p:spPr>
            <a:xfrm>
              <a:off x="8033080" y="1003137"/>
              <a:ext cx="157978" cy="240186"/>
            </a:xfrm>
            <a:custGeom>
              <a:avLst/>
              <a:gdLst>
                <a:gd name="connsiteX0" fmla="*/ 0 w 157978"/>
                <a:gd name="connsiteY0" fmla="*/ 135868 h 240186"/>
                <a:gd name="connsiteX1" fmla="*/ 0 w 157978"/>
                <a:gd name="connsiteY1" fmla="*/ 23929 h 240186"/>
                <a:gd name="connsiteX2" fmla="*/ 23929 w 157978"/>
                <a:gd name="connsiteY2" fmla="*/ 0 h 240186"/>
                <a:gd name="connsiteX3" fmla="*/ 134050 w 157978"/>
                <a:gd name="connsiteY3" fmla="*/ 0 h 240186"/>
                <a:gd name="connsiteX4" fmla="*/ 157979 w 157978"/>
                <a:gd name="connsiteY4" fmla="*/ 23929 h 240186"/>
                <a:gd name="connsiteX5" fmla="*/ 157979 w 157978"/>
                <a:gd name="connsiteY5" fmla="*/ 216257 h 240186"/>
                <a:gd name="connsiteX6" fmla="*/ 134050 w 157978"/>
                <a:gd name="connsiteY6" fmla="*/ 240186 h 240186"/>
                <a:gd name="connsiteX7" fmla="*/ 41720 w 157978"/>
                <a:gd name="connsiteY7" fmla="*/ 240186 h 2401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57978" h="240186">
                  <a:moveTo>
                    <a:pt x="0" y="135868"/>
                  </a:moveTo>
                  <a:lnTo>
                    <a:pt x="0" y="23929"/>
                  </a:lnTo>
                  <a:cubicBezTo>
                    <a:pt x="0" y="10768"/>
                    <a:pt x="10768" y="0"/>
                    <a:pt x="23929" y="0"/>
                  </a:cubicBezTo>
                  <a:lnTo>
                    <a:pt x="134050" y="0"/>
                  </a:lnTo>
                  <a:cubicBezTo>
                    <a:pt x="147211" y="0"/>
                    <a:pt x="157979" y="10768"/>
                    <a:pt x="157979" y="23929"/>
                  </a:cubicBezTo>
                  <a:lnTo>
                    <a:pt x="157979" y="216257"/>
                  </a:lnTo>
                  <a:cubicBezTo>
                    <a:pt x="157979" y="229418"/>
                    <a:pt x="147211" y="240186"/>
                    <a:pt x="134050" y="240186"/>
                  </a:cubicBezTo>
                  <a:lnTo>
                    <a:pt x="41720" y="240186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59" name="Forma livre: Forma 958">
              <a:extLst>
                <a:ext uri="{FF2B5EF4-FFF2-40B4-BE49-F238E27FC236}">
                  <a16:creationId xmlns:a16="http://schemas.microsoft.com/office/drawing/2014/main" id="{81650909-FE59-8CE5-6C47-CCCC8E8CF1E6}"/>
                </a:ext>
              </a:extLst>
            </p:cNvPr>
            <p:cNvSpPr/>
            <p:nvPr/>
          </p:nvSpPr>
          <p:spPr>
            <a:xfrm>
              <a:off x="8147963" y="1003352"/>
              <a:ext cx="1196" cy="239265"/>
            </a:xfrm>
            <a:custGeom>
              <a:avLst/>
              <a:gdLst>
                <a:gd name="connsiteX0" fmla="*/ 0 w 1196"/>
                <a:gd name="connsiteY0" fmla="*/ 0 h 239265"/>
                <a:gd name="connsiteX1" fmla="*/ 0 w 1196"/>
                <a:gd name="connsiteY1" fmla="*/ 239265 h 2392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96" h="239265">
                  <a:moveTo>
                    <a:pt x="0" y="0"/>
                  </a:moveTo>
                  <a:lnTo>
                    <a:pt x="0" y="239265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60" name="Forma livre: Forma 959">
              <a:extLst>
                <a:ext uri="{FF2B5EF4-FFF2-40B4-BE49-F238E27FC236}">
                  <a16:creationId xmlns:a16="http://schemas.microsoft.com/office/drawing/2014/main" id="{7BCF150B-70A2-18D6-4EA0-F04B2C9DB054}"/>
                </a:ext>
              </a:extLst>
            </p:cNvPr>
            <p:cNvSpPr/>
            <p:nvPr/>
          </p:nvSpPr>
          <p:spPr>
            <a:xfrm>
              <a:off x="8007668" y="1129939"/>
              <a:ext cx="95638" cy="142195"/>
            </a:xfrm>
            <a:custGeom>
              <a:avLst/>
              <a:gdLst>
                <a:gd name="connsiteX0" fmla="*/ 0 w 95638"/>
                <a:gd name="connsiteY0" fmla="*/ 68506 h 142195"/>
                <a:gd name="connsiteX1" fmla="*/ 55599 w 95638"/>
                <a:gd name="connsiteY1" fmla="*/ 8839 h 142195"/>
                <a:gd name="connsiteX2" fmla="*/ 88585 w 95638"/>
                <a:gd name="connsiteY2" fmla="*/ 4532 h 142195"/>
                <a:gd name="connsiteX3" fmla="*/ 90391 w 95638"/>
                <a:gd name="connsiteY3" fmla="*/ 38631 h 142195"/>
                <a:gd name="connsiteX4" fmla="*/ 20543 w 95638"/>
                <a:gd name="connsiteY4" fmla="*/ 142195 h 1421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5638" h="142195">
                  <a:moveTo>
                    <a:pt x="0" y="68506"/>
                  </a:moveTo>
                  <a:lnTo>
                    <a:pt x="55599" y="8839"/>
                  </a:lnTo>
                  <a:cubicBezTo>
                    <a:pt x="65099" y="-972"/>
                    <a:pt x="79934" y="-2922"/>
                    <a:pt x="88585" y="4532"/>
                  </a:cubicBezTo>
                  <a:cubicBezTo>
                    <a:pt x="97235" y="11974"/>
                    <a:pt x="98037" y="27324"/>
                    <a:pt x="90391" y="38631"/>
                  </a:cubicBezTo>
                  <a:lnTo>
                    <a:pt x="20543" y="142195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61" name="Forma livre: Forma 960">
              <a:extLst>
                <a:ext uri="{FF2B5EF4-FFF2-40B4-BE49-F238E27FC236}">
                  <a16:creationId xmlns:a16="http://schemas.microsoft.com/office/drawing/2014/main" id="{68D99866-09C0-3C9F-4451-C82ADE2F0174}"/>
                </a:ext>
              </a:extLst>
            </p:cNvPr>
            <p:cNvSpPr/>
            <p:nvPr/>
          </p:nvSpPr>
          <p:spPr>
            <a:xfrm>
              <a:off x="7961294" y="1094354"/>
              <a:ext cx="73653" cy="177564"/>
            </a:xfrm>
            <a:custGeom>
              <a:avLst/>
              <a:gdLst>
                <a:gd name="connsiteX0" fmla="*/ 73653 w 73653"/>
                <a:gd name="connsiteY0" fmla="*/ 0 h 177564"/>
                <a:gd name="connsiteX1" fmla="*/ 371 w 73653"/>
                <a:gd name="connsiteY1" fmla="*/ 70566 h 177564"/>
                <a:gd name="connsiteX2" fmla="*/ 2704 w 73653"/>
                <a:gd name="connsiteY2" fmla="*/ 177564 h 177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73653" h="177564">
                  <a:moveTo>
                    <a:pt x="73653" y="0"/>
                  </a:moveTo>
                  <a:cubicBezTo>
                    <a:pt x="73653" y="0"/>
                    <a:pt x="2010" y="60995"/>
                    <a:pt x="371" y="70566"/>
                  </a:cubicBezTo>
                  <a:cubicBezTo>
                    <a:pt x="-969" y="78343"/>
                    <a:pt x="1675" y="149795"/>
                    <a:pt x="2704" y="177564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962" name="Gráfico 10">
            <a:extLst>
              <a:ext uri="{FF2B5EF4-FFF2-40B4-BE49-F238E27FC236}">
                <a16:creationId xmlns:a16="http://schemas.microsoft.com/office/drawing/2014/main" id="{4B041B68-34CB-A3F4-60F4-146377E8B2D4}"/>
              </a:ext>
            </a:extLst>
          </p:cNvPr>
          <p:cNvGrpSpPr/>
          <p:nvPr/>
        </p:nvGrpSpPr>
        <p:grpSpPr>
          <a:xfrm>
            <a:off x="9236895" y="2591944"/>
            <a:ext cx="164678" cy="297783"/>
            <a:chOff x="9236895" y="2591944"/>
            <a:chExt cx="164678" cy="297783"/>
          </a:xfrm>
          <a:noFill/>
        </p:grpSpPr>
        <p:sp>
          <p:nvSpPr>
            <p:cNvPr id="963" name="Forma livre: Forma 962">
              <a:extLst>
                <a:ext uri="{FF2B5EF4-FFF2-40B4-BE49-F238E27FC236}">
                  <a16:creationId xmlns:a16="http://schemas.microsoft.com/office/drawing/2014/main" id="{E8B5ED69-464D-B8D2-7492-42F6FD495D16}"/>
                </a:ext>
              </a:extLst>
            </p:cNvPr>
            <p:cNvSpPr/>
            <p:nvPr/>
          </p:nvSpPr>
          <p:spPr>
            <a:xfrm>
              <a:off x="9266890" y="2648368"/>
              <a:ext cx="104676" cy="120134"/>
            </a:xfrm>
            <a:custGeom>
              <a:avLst/>
              <a:gdLst>
                <a:gd name="connsiteX0" fmla="*/ 0 w 104676"/>
                <a:gd name="connsiteY0" fmla="*/ 120135 h 120134"/>
                <a:gd name="connsiteX1" fmla="*/ 33261 w 104676"/>
                <a:gd name="connsiteY1" fmla="*/ 61521 h 120134"/>
                <a:gd name="connsiteX2" fmla="*/ 68700 w 104676"/>
                <a:gd name="connsiteY2" fmla="*/ 97714 h 120134"/>
                <a:gd name="connsiteX3" fmla="*/ 104677 w 104676"/>
                <a:gd name="connsiteY3" fmla="*/ 0 h 1201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4676" h="120134">
                  <a:moveTo>
                    <a:pt x="0" y="120135"/>
                  </a:moveTo>
                  <a:lnTo>
                    <a:pt x="33261" y="61521"/>
                  </a:lnTo>
                  <a:lnTo>
                    <a:pt x="68700" y="97714"/>
                  </a:lnTo>
                  <a:lnTo>
                    <a:pt x="104677" y="0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964" name="Gráfico 10">
              <a:extLst>
                <a:ext uri="{FF2B5EF4-FFF2-40B4-BE49-F238E27FC236}">
                  <a16:creationId xmlns:a16="http://schemas.microsoft.com/office/drawing/2014/main" id="{C4C70E8B-4BBD-CB7C-EF08-91320967E0BB}"/>
                </a:ext>
              </a:extLst>
            </p:cNvPr>
            <p:cNvGrpSpPr/>
            <p:nvPr/>
          </p:nvGrpSpPr>
          <p:grpSpPr>
            <a:xfrm>
              <a:off x="9236895" y="2591944"/>
              <a:ext cx="164678" cy="297783"/>
              <a:chOff x="9236895" y="2591944"/>
              <a:chExt cx="164678" cy="297783"/>
            </a:xfrm>
            <a:noFill/>
          </p:grpSpPr>
          <p:sp>
            <p:nvSpPr>
              <p:cNvPr id="965" name="Forma livre: Forma 964">
                <a:extLst>
                  <a:ext uri="{FF2B5EF4-FFF2-40B4-BE49-F238E27FC236}">
                    <a16:creationId xmlns:a16="http://schemas.microsoft.com/office/drawing/2014/main" id="{FFC74A76-EFEA-B146-D45D-F278EA88BC17}"/>
                  </a:ext>
                </a:extLst>
              </p:cNvPr>
              <p:cNvSpPr/>
              <p:nvPr/>
            </p:nvSpPr>
            <p:spPr>
              <a:xfrm>
                <a:off x="9236895" y="2591944"/>
                <a:ext cx="164678" cy="297783"/>
              </a:xfrm>
              <a:custGeom>
                <a:avLst/>
                <a:gdLst>
                  <a:gd name="connsiteX0" fmla="*/ 13484 w 164678"/>
                  <a:gd name="connsiteY0" fmla="*/ 297783 h 297783"/>
                  <a:gd name="connsiteX1" fmla="*/ 0 w 164678"/>
                  <a:gd name="connsiteY1" fmla="*/ 283904 h 297783"/>
                  <a:gd name="connsiteX2" fmla="*/ 0 w 164678"/>
                  <a:gd name="connsiteY2" fmla="*/ 13472 h 297783"/>
                  <a:gd name="connsiteX3" fmla="*/ 13484 w 164678"/>
                  <a:gd name="connsiteY3" fmla="*/ 0 h 297783"/>
                  <a:gd name="connsiteX4" fmla="*/ 151195 w 164678"/>
                  <a:gd name="connsiteY4" fmla="*/ 0 h 297783"/>
                  <a:gd name="connsiteX5" fmla="*/ 164679 w 164678"/>
                  <a:gd name="connsiteY5" fmla="*/ 13472 h 297783"/>
                  <a:gd name="connsiteX6" fmla="*/ 164679 w 164678"/>
                  <a:gd name="connsiteY6" fmla="*/ 283904 h 297783"/>
                  <a:gd name="connsiteX7" fmla="*/ 151195 w 164678"/>
                  <a:gd name="connsiteY7" fmla="*/ 297783 h 297783"/>
                  <a:gd name="connsiteX8" fmla="*/ 13484 w 164678"/>
                  <a:gd name="connsiteY8" fmla="*/ 297783 h 2977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64678" h="297783">
                    <a:moveTo>
                      <a:pt x="13484" y="297783"/>
                    </a:moveTo>
                    <a:cubicBezTo>
                      <a:pt x="6066" y="297783"/>
                      <a:pt x="0" y="291322"/>
                      <a:pt x="0" y="283904"/>
                    </a:cubicBezTo>
                    <a:lnTo>
                      <a:pt x="0" y="13472"/>
                    </a:lnTo>
                    <a:cubicBezTo>
                      <a:pt x="0" y="6066"/>
                      <a:pt x="6054" y="0"/>
                      <a:pt x="13484" y="0"/>
                    </a:cubicBezTo>
                    <a:lnTo>
                      <a:pt x="151195" y="0"/>
                    </a:lnTo>
                    <a:cubicBezTo>
                      <a:pt x="158613" y="0"/>
                      <a:pt x="164679" y="6066"/>
                      <a:pt x="164679" y="13472"/>
                    </a:cubicBezTo>
                    <a:lnTo>
                      <a:pt x="164679" y="283904"/>
                    </a:lnTo>
                    <a:cubicBezTo>
                      <a:pt x="164679" y="291322"/>
                      <a:pt x="158613" y="297783"/>
                      <a:pt x="151195" y="297783"/>
                    </a:cubicBezTo>
                    <a:lnTo>
                      <a:pt x="13484" y="297783"/>
                    </a:lnTo>
                    <a:close/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66" name="Forma livre: Forma 965">
                <a:extLst>
                  <a:ext uri="{FF2B5EF4-FFF2-40B4-BE49-F238E27FC236}">
                    <a16:creationId xmlns:a16="http://schemas.microsoft.com/office/drawing/2014/main" id="{7D0CE610-0A64-2062-536B-6CCD3B424D74}"/>
                  </a:ext>
                </a:extLst>
              </p:cNvPr>
              <p:cNvSpPr/>
              <p:nvPr/>
            </p:nvSpPr>
            <p:spPr>
              <a:xfrm>
                <a:off x="9257666" y="2831125"/>
                <a:ext cx="123126" cy="1196"/>
              </a:xfrm>
              <a:custGeom>
                <a:avLst/>
                <a:gdLst>
                  <a:gd name="connsiteX0" fmla="*/ 0 w 123126"/>
                  <a:gd name="connsiteY0" fmla="*/ 0 h 1196"/>
                  <a:gd name="connsiteX1" fmla="*/ 123126 w 123126"/>
                  <a:gd name="connsiteY1" fmla="*/ 0 h 11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3126" h="1196">
                    <a:moveTo>
                      <a:pt x="0" y="0"/>
                    </a:moveTo>
                    <a:lnTo>
                      <a:pt x="123126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67" name="Forma livre: Forma 966">
                <a:extLst>
                  <a:ext uri="{FF2B5EF4-FFF2-40B4-BE49-F238E27FC236}">
                    <a16:creationId xmlns:a16="http://schemas.microsoft.com/office/drawing/2014/main" id="{46C621EA-D419-1538-5CE9-07353F6512EB}"/>
                  </a:ext>
                </a:extLst>
              </p:cNvPr>
              <p:cNvSpPr/>
              <p:nvPr/>
            </p:nvSpPr>
            <p:spPr>
              <a:xfrm>
                <a:off x="9308036" y="2860019"/>
                <a:ext cx="22385" cy="1196"/>
              </a:xfrm>
              <a:custGeom>
                <a:avLst/>
                <a:gdLst>
                  <a:gd name="connsiteX0" fmla="*/ 0 w 22385"/>
                  <a:gd name="connsiteY0" fmla="*/ 0 h 1196"/>
                  <a:gd name="connsiteX1" fmla="*/ 22385 w 22385"/>
                  <a:gd name="connsiteY1" fmla="*/ 0 h 11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2385" h="1196">
                    <a:moveTo>
                      <a:pt x="0" y="0"/>
                    </a:moveTo>
                    <a:lnTo>
                      <a:pt x="22385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968" name="Gráfico 10">
            <a:extLst>
              <a:ext uri="{FF2B5EF4-FFF2-40B4-BE49-F238E27FC236}">
                <a16:creationId xmlns:a16="http://schemas.microsoft.com/office/drawing/2014/main" id="{94B844B1-8A0C-5E0B-71F6-0F8A250AA3DF}"/>
              </a:ext>
            </a:extLst>
          </p:cNvPr>
          <p:cNvGrpSpPr/>
          <p:nvPr/>
        </p:nvGrpSpPr>
        <p:grpSpPr>
          <a:xfrm>
            <a:off x="8583421" y="2591944"/>
            <a:ext cx="228547" cy="297795"/>
            <a:chOff x="8583421" y="2591944"/>
            <a:chExt cx="228547" cy="297795"/>
          </a:xfrm>
          <a:noFill/>
        </p:grpSpPr>
        <p:grpSp>
          <p:nvGrpSpPr>
            <p:cNvPr id="969" name="Gráfico 10">
              <a:extLst>
                <a:ext uri="{FF2B5EF4-FFF2-40B4-BE49-F238E27FC236}">
                  <a16:creationId xmlns:a16="http://schemas.microsoft.com/office/drawing/2014/main" id="{817C9A1F-38A6-B381-123B-469ABA27E63C}"/>
                </a:ext>
              </a:extLst>
            </p:cNvPr>
            <p:cNvGrpSpPr/>
            <p:nvPr/>
          </p:nvGrpSpPr>
          <p:grpSpPr>
            <a:xfrm>
              <a:off x="8583421" y="2591944"/>
              <a:ext cx="164678" cy="297795"/>
              <a:chOff x="8583421" y="2591944"/>
              <a:chExt cx="164678" cy="297795"/>
            </a:xfrm>
            <a:noFill/>
          </p:grpSpPr>
          <p:sp>
            <p:nvSpPr>
              <p:cNvPr id="970" name="Forma livre: Forma 969">
                <a:extLst>
                  <a:ext uri="{FF2B5EF4-FFF2-40B4-BE49-F238E27FC236}">
                    <a16:creationId xmlns:a16="http://schemas.microsoft.com/office/drawing/2014/main" id="{08909B2E-D33B-679D-8EB2-5F0FFE7C40EE}"/>
                  </a:ext>
                </a:extLst>
              </p:cNvPr>
              <p:cNvSpPr/>
              <p:nvPr/>
            </p:nvSpPr>
            <p:spPr>
              <a:xfrm>
                <a:off x="8583421" y="2591944"/>
                <a:ext cx="164678" cy="297795"/>
              </a:xfrm>
              <a:custGeom>
                <a:avLst/>
                <a:gdLst>
                  <a:gd name="connsiteX0" fmla="*/ 164679 w 164678"/>
                  <a:gd name="connsiteY0" fmla="*/ 218770 h 297795"/>
                  <a:gd name="connsiteX1" fmla="*/ 164679 w 164678"/>
                  <a:gd name="connsiteY1" fmla="*/ 283892 h 297795"/>
                  <a:gd name="connsiteX2" fmla="*/ 151195 w 164678"/>
                  <a:gd name="connsiteY2" fmla="*/ 297795 h 297795"/>
                  <a:gd name="connsiteX3" fmla="*/ 13472 w 164678"/>
                  <a:gd name="connsiteY3" fmla="*/ 297795 h 297795"/>
                  <a:gd name="connsiteX4" fmla="*/ 0 w 164678"/>
                  <a:gd name="connsiteY4" fmla="*/ 283892 h 297795"/>
                  <a:gd name="connsiteX5" fmla="*/ 0 w 164678"/>
                  <a:gd name="connsiteY5" fmla="*/ 13472 h 297795"/>
                  <a:gd name="connsiteX6" fmla="*/ 13472 w 164678"/>
                  <a:gd name="connsiteY6" fmla="*/ 0 h 297795"/>
                  <a:gd name="connsiteX7" fmla="*/ 151195 w 164678"/>
                  <a:gd name="connsiteY7" fmla="*/ 0 h 297795"/>
                  <a:gd name="connsiteX8" fmla="*/ 164679 w 164678"/>
                  <a:gd name="connsiteY8" fmla="*/ 13472 h 297795"/>
                  <a:gd name="connsiteX9" fmla="*/ 164679 w 164678"/>
                  <a:gd name="connsiteY9" fmla="*/ 25185 h 2977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64678" h="297795">
                    <a:moveTo>
                      <a:pt x="164679" y="218770"/>
                    </a:moveTo>
                    <a:lnTo>
                      <a:pt x="164679" y="283892"/>
                    </a:lnTo>
                    <a:cubicBezTo>
                      <a:pt x="164679" y="291310"/>
                      <a:pt x="158613" y="297795"/>
                      <a:pt x="151195" y="297795"/>
                    </a:cubicBezTo>
                    <a:lnTo>
                      <a:pt x="13472" y="297795"/>
                    </a:lnTo>
                    <a:cubicBezTo>
                      <a:pt x="6054" y="297795"/>
                      <a:pt x="0" y="291298"/>
                      <a:pt x="0" y="283892"/>
                    </a:cubicBezTo>
                    <a:lnTo>
                      <a:pt x="0" y="13472"/>
                    </a:lnTo>
                    <a:cubicBezTo>
                      <a:pt x="0" y="6054"/>
                      <a:pt x="6066" y="0"/>
                      <a:pt x="13472" y="0"/>
                    </a:cubicBezTo>
                    <a:lnTo>
                      <a:pt x="151195" y="0"/>
                    </a:lnTo>
                    <a:cubicBezTo>
                      <a:pt x="158613" y="0"/>
                      <a:pt x="164679" y="6054"/>
                      <a:pt x="164679" y="13472"/>
                    </a:cubicBezTo>
                    <a:lnTo>
                      <a:pt x="164679" y="25185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71" name="Forma livre: Forma 970">
                <a:extLst>
                  <a:ext uri="{FF2B5EF4-FFF2-40B4-BE49-F238E27FC236}">
                    <a16:creationId xmlns:a16="http://schemas.microsoft.com/office/drawing/2014/main" id="{A8203FF2-D353-8CF9-2BF5-9E5C2DBAD62A}"/>
                  </a:ext>
                </a:extLst>
              </p:cNvPr>
              <p:cNvSpPr/>
              <p:nvPr/>
            </p:nvSpPr>
            <p:spPr>
              <a:xfrm>
                <a:off x="8603438" y="2830970"/>
                <a:ext cx="124597" cy="1196"/>
              </a:xfrm>
              <a:custGeom>
                <a:avLst/>
                <a:gdLst>
                  <a:gd name="connsiteX0" fmla="*/ 0 w 124597"/>
                  <a:gd name="connsiteY0" fmla="*/ 0 h 1196"/>
                  <a:gd name="connsiteX1" fmla="*/ 124598 w 124597"/>
                  <a:gd name="connsiteY1" fmla="*/ 0 h 11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4597" h="1196">
                    <a:moveTo>
                      <a:pt x="0" y="0"/>
                    </a:moveTo>
                    <a:lnTo>
                      <a:pt x="124598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72" name="Forma livre: Forma 971">
                <a:extLst>
                  <a:ext uri="{FF2B5EF4-FFF2-40B4-BE49-F238E27FC236}">
                    <a16:creationId xmlns:a16="http://schemas.microsoft.com/office/drawing/2014/main" id="{A3F12DB5-3C34-3FED-5724-DAAD15577E1F}"/>
                  </a:ext>
                </a:extLst>
              </p:cNvPr>
              <p:cNvSpPr/>
              <p:nvPr/>
            </p:nvSpPr>
            <p:spPr>
              <a:xfrm>
                <a:off x="8654562" y="2859517"/>
                <a:ext cx="22397" cy="1196"/>
              </a:xfrm>
              <a:custGeom>
                <a:avLst/>
                <a:gdLst>
                  <a:gd name="connsiteX0" fmla="*/ 0 w 22397"/>
                  <a:gd name="connsiteY0" fmla="*/ 0 h 1196"/>
                  <a:gd name="connsiteX1" fmla="*/ 22397 w 22397"/>
                  <a:gd name="connsiteY1" fmla="*/ 0 h 11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2397" h="1196">
                    <a:moveTo>
                      <a:pt x="0" y="0"/>
                    </a:moveTo>
                    <a:lnTo>
                      <a:pt x="22397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973" name="Gráfico 10">
              <a:extLst>
                <a:ext uri="{FF2B5EF4-FFF2-40B4-BE49-F238E27FC236}">
                  <a16:creationId xmlns:a16="http://schemas.microsoft.com/office/drawing/2014/main" id="{5884EA4A-6BAA-E2A8-F326-88380E3162A7}"/>
                </a:ext>
              </a:extLst>
            </p:cNvPr>
            <p:cNvGrpSpPr/>
            <p:nvPr/>
          </p:nvGrpSpPr>
          <p:grpSpPr>
            <a:xfrm>
              <a:off x="8714803" y="2663467"/>
              <a:ext cx="39566" cy="100573"/>
              <a:chOff x="8714803" y="2663467"/>
              <a:chExt cx="39566" cy="100573"/>
            </a:xfrm>
            <a:noFill/>
          </p:grpSpPr>
          <p:sp>
            <p:nvSpPr>
              <p:cNvPr id="974" name="Forma livre: Forma 973">
                <a:extLst>
                  <a:ext uri="{FF2B5EF4-FFF2-40B4-BE49-F238E27FC236}">
                    <a16:creationId xmlns:a16="http://schemas.microsoft.com/office/drawing/2014/main" id="{44A62823-1CE9-4D7C-6D83-DFF61CDB1462}"/>
                  </a:ext>
                </a:extLst>
              </p:cNvPr>
              <p:cNvSpPr/>
              <p:nvPr/>
            </p:nvSpPr>
            <p:spPr>
              <a:xfrm>
                <a:off x="8714803" y="2676114"/>
                <a:ext cx="39566" cy="75256"/>
              </a:xfrm>
              <a:custGeom>
                <a:avLst/>
                <a:gdLst>
                  <a:gd name="connsiteX0" fmla="*/ 84 w 39566"/>
                  <a:gd name="connsiteY0" fmla="*/ 56903 h 75256"/>
                  <a:gd name="connsiteX1" fmla="*/ 19825 w 39566"/>
                  <a:gd name="connsiteY1" fmla="*/ 75256 h 75256"/>
                  <a:gd name="connsiteX2" fmla="*/ 39566 w 39566"/>
                  <a:gd name="connsiteY2" fmla="*/ 56903 h 75256"/>
                  <a:gd name="connsiteX3" fmla="*/ 19777 w 39566"/>
                  <a:gd name="connsiteY3" fmla="*/ 37628 h 75256"/>
                  <a:gd name="connsiteX4" fmla="*/ 0 w 39566"/>
                  <a:gd name="connsiteY4" fmla="*/ 18353 h 75256"/>
                  <a:gd name="connsiteX5" fmla="*/ 19729 w 39566"/>
                  <a:gd name="connsiteY5" fmla="*/ 0 h 75256"/>
                  <a:gd name="connsiteX6" fmla="*/ 39471 w 39566"/>
                  <a:gd name="connsiteY6" fmla="*/ 18353 h 752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9566" h="75256">
                    <a:moveTo>
                      <a:pt x="84" y="56903"/>
                    </a:moveTo>
                    <a:cubicBezTo>
                      <a:pt x="84" y="67049"/>
                      <a:pt x="8925" y="75256"/>
                      <a:pt x="19825" y="75256"/>
                    </a:cubicBezTo>
                    <a:cubicBezTo>
                      <a:pt x="30725" y="75256"/>
                      <a:pt x="39566" y="67049"/>
                      <a:pt x="39566" y="56903"/>
                    </a:cubicBezTo>
                    <a:cubicBezTo>
                      <a:pt x="39566" y="46757"/>
                      <a:pt x="29026" y="42330"/>
                      <a:pt x="19777" y="37628"/>
                    </a:cubicBezTo>
                    <a:cubicBezTo>
                      <a:pt x="10529" y="32926"/>
                      <a:pt x="0" y="28499"/>
                      <a:pt x="0" y="18353"/>
                    </a:cubicBezTo>
                    <a:cubicBezTo>
                      <a:pt x="0" y="8208"/>
                      <a:pt x="8830" y="0"/>
                      <a:pt x="19729" y="0"/>
                    </a:cubicBezTo>
                    <a:cubicBezTo>
                      <a:pt x="30629" y="0"/>
                      <a:pt x="39471" y="8220"/>
                      <a:pt x="39471" y="18353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75" name="Forma livre: Forma 974">
                <a:extLst>
                  <a:ext uri="{FF2B5EF4-FFF2-40B4-BE49-F238E27FC236}">
                    <a16:creationId xmlns:a16="http://schemas.microsoft.com/office/drawing/2014/main" id="{47CE1A8B-7E53-7F2D-2887-15863491538C}"/>
                  </a:ext>
                </a:extLst>
              </p:cNvPr>
              <p:cNvSpPr/>
              <p:nvPr/>
            </p:nvSpPr>
            <p:spPr>
              <a:xfrm>
                <a:off x="8734532" y="2663467"/>
                <a:ext cx="1196" cy="12562"/>
              </a:xfrm>
              <a:custGeom>
                <a:avLst/>
                <a:gdLst>
                  <a:gd name="connsiteX0" fmla="*/ 0 w 1196"/>
                  <a:gd name="connsiteY0" fmla="*/ 12563 h 12562"/>
                  <a:gd name="connsiteX1" fmla="*/ 0 w 1196"/>
                  <a:gd name="connsiteY1" fmla="*/ 0 h 125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6" h="12562">
                    <a:moveTo>
                      <a:pt x="0" y="12563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76" name="Forma livre: Forma 975">
                <a:extLst>
                  <a:ext uri="{FF2B5EF4-FFF2-40B4-BE49-F238E27FC236}">
                    <a16:creationId xmlns:a16="http://schemas.microsoft.com/office/drawing/2014/main" id="{0B2E1012-FA27-AF97-95B4-9B471A9525DD}"/>
                  </a:ext>
                </a:extLst>
              </p:cNvPr>
              <p:cNvSpPr/>
              <p:nvPr/>
            </p:nvSpPr>
            <p:spPr>
              <a:xfrm>
                <a:off x="8734532" y="2751478"/>
                <a:ext cx="1196" cy="12562"/>
              </a:xfrm>
              <a:custGeom>
                <a:avLst/>
                <a:gdLst>
                  <a:gd name="connsiteX0" fmla="*/ 0 w 1196"/>
                  <a:gd name="connsiteY0" fmla="*/ 12563 h 12562"/>
                  <a:gd name="connsiteX1" fmla="*/ 0 w 1196"/>
                  <a:gd name="connsiteY1" fmla="*/ 0 h 125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6" h="12562">
                    <a:moveTo>
                      <a:pt x="0" y="12563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977" name="Forma livre: Forma 976">
              <a:extLst>
                <a:ext uri="{FF2B5EF4-FFF2-40B4-BE49-F238E27FC236}">
                  <a16:creationId xmlns:a16="http://schemas.microsoft.com/office/drawing/2014/main" id="{0503A621-B6AD-9D77-55E7-C3B6A5774212}"/>
                </a:ext>
              </a:extLst>
            </p:cNvPr>
            <p:cNvSpPr/>
            <p:nvPr/>
          </p:nvSpPr>
          <p:spPr>
            <a:xfrm>
              <a:off x="8657779" y="2636268"/>
              <a:ext cx="154190" cy="154186"/>
            </a:xfrm>
            <a:custGeom>
              <a:avLst/>
              <a:gdLst>
                <a:gd name="connsiteX0" fmla="*/ 27065 w 154190"/>
                <a:gd name="connsiteY0" fmla="*/ 18441 h 154186"/>
                <a:gd name="connsiteX1" fmla="*/ 55923 w 154190"/>
                <a:gd name="connsiteY1" fmla="*/ 2983 h 154186"/>
                <a:gd name="connsiteX2" fmla="*/ 151208 w 154190"/>
                <a:gd name="connsiteY2" fmla="*/ 55926 h 154186"/>
                <a:gd name="connsiteX3" fmla="*/ 98253 w 154190"/>
                <a:gd name="connsiteY3" fmla="*/ 151199 h 154186"/>
                <a:gd name="connsiteX4" fmla="*/ 2980 w 154190"/>
                <a:gd name="connsiteY4" fmla="*/ 98256 h 154186"/>
                <a:gd name="connsiteX5" fmla="*/ 10326 w 154190"/>
                <a:gd name="connsiteY5" fmla="*/ 38589 h 1541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54190" h="154186">
                  <a:moveTo>
                    <a:pt x="27065" y="18441"/>
                  </a:moveTo>
                  <a:cubicBezTo>
                    <a:pt x="35213" y="11478"/>
                    <a:pt x="44952" y="6118"/>
                    <a:pt x="55923" y="2983"/>
                  </a:cubicBezTo>
                  <a:cubicBezTo>
                    <a:pt x="96853" y="-8706"/>
                    <a:pt x="139519" y="14995"/>
                    <a:pt x="151208" y="55926"/>
                  </a:cubicBezTo>
                  <a:cubicBezTo>
                    <a:pt x="162897" y="96856"/>
                    <a:pt x="139184" y="139521"/>
                    <a:pt x="98253" y="151199"/>
                  </a:cubicBezTo>
                  <a:cubicBezTo>
                    <a:pt x="57335" y="162900"/>
                    <a:pt x="14670" y="139186"/>
                    <a:pt x="2980" y="98256"/>
                  </a:cubicBezTo>
                  <a:cubicBezTo>
                    <a:pt x="-2978" y="77366"/>
                    <a:pt x="264" y="56033"/>
                    <a:pt x="10326" y="38589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978" name="Gráfico 10">
            <a:extLst>
              <a:ext uri="{FF2B5EF4-FFF2-40B4-BE49-F238E27FC236}">
                <a16:creationId xmlns:a16="http://schemas.microsoft.com/office/drawing/2014/main" id="{488BA798-06AE-2041-0557-3B3FB1D2A266}"/>
              </a:ext>
            </a:extLst>
          </p:cNvPr>
          <p:cNvGrpSpPr/>
          <p:nvPr/>
        </p:nvGrpSpPr>
        <p:grpSpPr>
          <a:xfrm>
            <a:off x="7924898" y="2648607"/>
            <a:ext cx="302545" cy="184455"/>
            <a:chOff x="7924898" y="2648607"/>
            <a:chExt cx="302545" cy="184455"/>
          </a:xfrm>
        </p:grpSpPr>
        <p:grpSp>
          <p:nvGrpSpPr>
            <p:cNvPr id="979" name="Gráfico 10">
              <a:extLst>
                <a:ext uri="{FF2B5EF4-FFF2-40B4-BE49-F238E27FC236}">
                  <a16:creationId xmlns:a16="http://schemas.microsoft.com/office/drawing/2014/main" id="{E596DB83-083B-A7F4-A827-513DC8EC458D}"/>
                </a:ext>
              </a:extLst>
            </p:cNvPr>
            <p:cNvGrpSpPr/>
            <p:nvPr/>
          </p:nvGrpSpPr>
          <p:grpSpPr>
            <a:xfrm>
              <a:off x="7989027" y="2752423"/>
              <a:ext cx="142939" cy="7417"/>
              <a:chOff x="7989027" y="2752423"/>
              <a:chExt cx="142939" cy="7417"/>
            </a:xfrm>
            <a:solidFill>
              <a:srgbClr val="394553"/>
            </a:solidFill>
          </p:grpSpPr>
          <p:sp>
            <p:nvSpPr>
              <p:cNvPr id="980" name="Forma livre: Forma 979">
                <a:extLst>
                  <a:ext uri="{FF2B5EF4-FFF2-40B4-BE49-F238E27FC236}">
                    <a16:creationId xmlns:a16="http://schemas.microsoft.com/office/drawing/2014/main" id="{B0C8DF59-634E-6BFF-D280-959E5EC2BF31}"/>
                  </a:ext>
                </a:extLst>
              </p:cNvPr>
              <p:cNvSpPr/>
              <p:nvPr/>
            </p:nvSpPr>
            <p:spPr>
              <a:xfrm>
                <a:off x="7989027" y="2752423"/>
                <a:ext cx="7405" cy="7417"/>
              </a:xfrm>
              <a:custGeom>
                <a:avLst/>
                <a:gdLst>
                  <a:gd name="connsiteX0" fmla="*/ 7406 w 7405"/>
                  <a:gd name="connsiteY0" fmla="*/ 3709 h 7417"/>
                  <a:gd name="connsiteX1" fmla="*/ 3709 w 7405"/>
                  <a:gd name="connsiteY1" fmla="*/ 7418 h 7417"/>
                  <a:gd name="connsiteX2" fmla="*/ 0 w 7405"/>
                  <a:gd name="connsiteY2" fmla="*/ 3709 h 7417"/>
                  <a:gd name="connsiteX3" fmla="*/ 3709 w 7405"/>
                  <a:gd name="connsiteY3" fmla="*/ 0 h 7417"/>
                  <a:gd name="connsiteX4" fmla="*/ 7406 w 7405"/>
                  <a:gd name="connsiteY4" fmla="*/ 3709 h 74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405" h="7417">
                    <a:moveTo>
                      <a:pt x="7406" y="3709"/>
                    </a:moveTo>
                    <a:cubicBezTo>
                      <a:pt x="7406" y="5767"/>
                      <a:pt x="5767" y="7418"/>
                      <a:pt x="3709" y="7418"/>
                    </a:cubicBezTo>
                    <a:cubicBezTo>
                      <a:pt x="1651" y="7418"/>
                      <a:pt x="0" y="5767"/>
                      <a:pt x="0" y="3709"/>
                    </a:cubicBezTo>
                    <a:cubicBezTo>
                      <a:pt x="0" y="1651"/>
                      <a:pt x="1663" y="0"/>
                      <a:pt x="3709" y="0"/>
                    </a:cubicBezTo>
                    <a:cubicBezTo>
                      <a:pt x="5755" y="0"/>
                      <a:pt x="7406" y="1663"/>
                      <a:pt x="7406" y="3709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81" name="Forma livre: Forma 980">
                <a:extLst>
                  <a:ext uri="{FF2B5EF4-FFF2-40B4-BE49-F238E27FC236}">
                    <a16:creationId xmlns:a16="http://schemas.microsoft.com/office/drawing/2014/main" id="{00F60041-4BAC-0D79-B826-77663375E9DA}"/>
                  </a:ext>
                </a:extLst>
              </p:cNvPr>
              <p:cNvSpPr/>
              <p:nvPr/>
            </p:nvSpPr>
            <p:spPr>
              <a:xfrm>
                <a:off x="8124560" y="2752423"/>
                <a:ext cx="7405" cy="7417"/>
              </a:xfrm>
              <a:custGeom>
                <a:avLst/>
                <a:gdLst>
                  <a:gd name="connsiteX0" fmla="*/ 7406 w 7405"/>
                  <a:gd name="connsiteY0" fmla="*/ 3709 h 7417"/>
                  <a:gd name="connsiteX1" fmla="*/ 3709 w 7405"/>
                  <a:gd name="connsiteY1" fmla="*/ 7418 h 7417"/>
                  <a:gd name="connsiteX2" fmla="*/ 0 w 7405"/>
                  <a:gd name="connsiteY2" fmla="*/ 3709 h 7417"/>
                  <a:gd name="connsiteX3" fmla="*/ 3709 w 7405"/>
                  <a:gd name="connsiteY3" fmla="*/ 0 h 7417"/>
                  <a:gd name="connsiteX4" fmla="*/ 7406 w 7405"/>
                  <a:gd name="connsiteY4" fmla="*/ 3709 h 74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405" h="7417">
                    <a:moveTo>
                      <a:pt x="7406" y="3709"/>
                    </a:moveTo>
                    <a:cubicBezTo>
                      <a:pt x="7406" y="5767"/>
                      <a:pt x="5767" y="7418"/>
                      <a:pt x="3709" y="7418"/>
                    </a:cubicBezTo>
                    <a:cubicBezTo>
                      <a:pt x="1651" y="7418"/>
                      <a:pt x="0" y="5767"/>
                      <a:pt x="0" y="3709"/>
                    </a:cubicBezTo>
                    <a:cubicBezTo>
                      <a:pt x="0" y="1651"/>
                      <a:pt x="1663" y="0"/>
                      <a:pt x="3709" y="0"/>
                    </a:cubicBezTo>
                    <a:cubicBezTo>
                      <a:pt x="5755" y="0"/>
                      <a:pt x="7406" y="1663"/>
                      <a:pt x="7406" y="3709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982" name="Forma livre: Forma 981">
              <a:extLst>
                <a:ext uri="{FF2B5EF4-FFF2-40B4-BE49-F238E27FC236}">
                  <a16:creationId xmlns:a16="http://schemas.microsoft.com/office/drawing/2014/main" id="{EDADB433-6AC5-3CB7-1E5F-C45D0F4C4017}"/>
                </a:ext>
              </a:extLst>
            </p:cNvPr>
            <p:cNvSpPr/>
            <p:nvPr/>
          </p:nvSpPr>
          <p:spPr>
            <a:xfrm>
              <a:off x="7924898" y="2679189"/>
              <a:ext cx="271198" cy="153874"/>
            </a:xfrm>
            <a:custGeom>
              <a:avLst/>
              <a:gdLst>
                <a:gd name="connsiteX0" fmla="*/ 0 w 271198"/>
                <a:gd name="connsiteY0" fmla="*/ 0 h 153874"/>
                <a:gd name="connsiteX1" fmla="*/ 271198 w 271198"/>
                <a:gd name="connsiteY1" fmla="*/ 0 h 153874"/>
                <a:gd name="connsiteX2" fmla="*/ 271198 w 271198"/>
                <a:gd name="connsiteY2" fmla="*/ 153875 h 153874"/>
                <a:gd name="connsiteX3" fmla="*/ 0 w 271198"/>
                <a:gd name="connsiteY3" fmla="*/ 153875 h 1538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71198" h="153874">
                  <a:moveTo>
                    <a:pt x="0" y="0"/>
                  </a:moveTo>
                  <a:lnTo>
                    <a:pt x="271198" y="0"/>
                  </a:lnTo>
                  <a:lnTo>
                    <a:pt x="271198" y="153875"/>
                  </a:lnTo>
                  <a:lnTo>
                    <a:pt x="0" y="153875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83" name="Forma livre: Forma 982">
              <a:extLst>
                <a:ext uri="{FF2B5EF4-FFF2-40B4-BE49-F238E27FC236}">
                  <a16:creationId xmlns:a16="http://schemas.microsoft.com/office/drawing/2014/main" id="{D917C648-9DF1-78A1-C16D-49CF18FFF7D9}"/>
                </a:ext>
              </a:extLst>
            </p:cNvPr>
            <p:cNvSpPr/>
            <p:nvPr/>
          </p:nvSpPr>
          <p:spPr>
            <a:xfrm>
              <a:off x="7953624" y="2648607"/>
              <a:ext cx="273818" cy="159079"/>
            </a:xfrm>
            <a:custGeom>
              <a:avLst/>
              <a:gdLst>
                <a:gd name="connsiteX0" fmla="*/ 0 w 273818"/>
                <a:gd name="connsiteY0" fmla="*/ 0 h 159079"/>
                <a:gd name="connsiteX1" fmla="*/ 273818 w 273818"/>
                <a:gd name="connsiteY1" fmla="*/ 0 h 159079"/>
                <a:gd name="connsiteX2" fmla="*/ 273818 w 273818"/>
                <a:gd name="connsiteY2" fmla="*/ 159079 h 1590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73818" h="159079">
                  <a:moveTo>
                    <a:pt x="0" y="0"/>
                  </a:moveTo>
                  <a:lnTo>
                    <a:pt x="273818" y="0"/>
                  </a:lnTo>
                  <a:lnTo>
                    <a:pt x="273818" y="159079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84" name="Forma livre: Forma 983">
              <a:extLst>
                <a:ext uri="{FF2B5EF4-FFF2-40B4-BE49-F238E27FC236}">
                  <a16:creationId xmlns:a16="http://schemas.microsoft.com/office/drawing/2014/main" id="{814B550D-9CD6-5E58-ACCB-50578EDF8B6A}"/>
                </a:ext>
              </a:extLst>
            </p:cNvPr>
            <p:cNvSpPr/>
            <p:nvPr/>
          </p:nvSpPr>
          <p:spPr>
            <a:xfrm>
              <a:off x="7953385" y="2707819"/>
              <a:ext cx="214235" cy="96636"/>
            </a:xfrm>
            <a:custGeom>
              <a:avLst/>
              <a:gdLst>
                <a:gd name="connsiteX0" fmla="*/ 214235 w 214235"/>
                <a:gd name="connsiteY0" fmla="*/ 19418 h 96636"/>
                <a:gd name="connsiteX1" fmla="*/ 194817 w 214235"/>
                <a:gd name="connsiteY1" fmla="*/ 0 h 96636"/>
                <a:gd name="connsiteX2" fmla="*/ 19418 w 214235"/>
                <a:gd name="connsiteY2" fmla="*/ 0 h 96636"/>
                <a:gd name="connsiteX3" fmla="*/ 0 w 214235"/>
                <a:gd name="connsiteY3" fmla="*/ 19418 h 96636"/>
                <a:gd name="connsiteX4" fmla="*/ 0 w 214235"/>
                <a:gd name="connsiteY4" fmla="*/ 77219 h 96636"/>
                <a:gd name="connsiteX5" fmla="*/ 19418 w 214235"/>
                <a:gd name="connsiteY5" fmla="*/ 96637 h 96636"/>
                <a:gd name="connsiteX6" fmla="*/ 194817 w 214235"/>
                <a:gd name="connsiteY6" fmla="*/ 96637 h 96636"/>
                <a:gd name="connsiteX7" fmla="*/ 214235 w 214235"/>
                <a:gd name="connsiteY7" fmla="*/ 77219 h 96636"/>
                <a:gd name="connsiteX8" fmla="*/ 214235 w 214235"/>
                <a:gd name="connsiteY8" fmla="*/ 19418 h 966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4235" h="96636">
                  <a:moveTo>
                    <a:pt x="214235" y="19418"/>
                  </a:moveTo>
                  <a:cubicBezTo>
                    <a:pt x="203515" y="19418"/>
                    <a:pt x="194817" y="10720"/>
                    <a:pt x="194817" y="0"/>
                  </a:cubicBezTo>
                  <a:lnTo>
                    <a:pt x="19418" y="0"/>
                  </a:lnTo>
                  <a:cubicBezTo>
                    <a:pt x="19418" y="10720"/>
                    <a:pt x="10720" y="19418"/>
                    <a:pt x="0" y="19418"/>
                  </a:cubicBezTo>
                  <a:lnTo>
                    <a:pt x="0" y="77219"/>
                  </a:lnTo>
                  <a:cubicBezTo>
                    <a:pt x="10720" y="77219"/>
                    <a:pt x="19418" y="85917"/>
                    <a:pt x="19418" y="96637"/>
                  </a:cubicBezTo>
                  <a:lnTo>
                    <a:pt x="194817" y="96637"/>
                  </a:lnTo>
                  <a:cubicBezTo>
                    <a:pt x="194817" y="85917"/>
                    <a:pt x="203515" y="77219"/>
                    <a:pt x="214235" y="77219"/>
                  </a:cubicBezTo>
                  <a:lnTo>
                    <a:pt x="214235" y="19418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85" name="Forma livre: Forma 984">
              <a:extLst>
                <a:ext uri="{FF2B5EF4-FFF2-40B4-BE49-F238E27FC236}">
                  <a16:creationId xmlns:a16="http://schemas.microsoft.com/office/drawing/2014/main" id="{55A2869B-867E-E6AF-006C-96E72C4B156D}"/>
                </a:ext>
              </a:extLst>
            </p:cNvPr>
            <p:cNvSpPr/>
            <p:nvPr/>
          </p:nvSpPr>
          <p:spPr>
            <a:xfrm>
              <a:off x="8036670" y="2730504"/>
              <a:ext cx="47654" cy="51267"/>
            </a:xfrm>
            <a:custGeom>
              <a:avLst/>
              <a:gdLst>
                <a:gd name="connsiteX0" fmla="*/ 47654 w 47654"/>
                <a:gd name="connsiteY0" fmla="*/ 25628 h 51267"/>
                <a:gd name="connsiteX1" fmla="*/ 23821 w 47654"/>
                <a:gd name="connsiteY1" fmla="*/ 51268 h 51267"/>
                <a:gd name="connsiteX2" fmla="*/ 0 w 47654"/>
                <a:gd name="connsiteY2" fmla="*/ 25628 h 51267"/>
                <a:gd name="connsiteX3" fmla="*/ 23821 w 47654"/>
                <a:gd name="connsiteY3" fmla="*/ 0 h 51267"/>
                <a:gd name="connsiteX4" fmla="*/ 47654 w 47654"/>
                <a:gd name="connsiteY4" fmla="*/ 25628 h 512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7654" h="51267">
                  <a:moveTo>
                    <a:pt x="47654" y="25628"/>
                  </a:moveTo>
                  <a:cubicBezTo>
                    <a:pt x="47654" y="39794"/>
                    <a:pt x="36982" y="51268"/>
                    <a:pt x="23821" y="51268"/>
                  </a:cubicBezTo>
                  <a:cubicBezTo>
                    <a:pt x="10660" y="51268"/>
                    <a:pt x="0" y="39782"/>
                    <a:pt x="0" y="25628"/>
                  </a:cubicBezTo>
                  <a:cubicBezTo>
                    <a:pt x="0" y="11474"/>
                    <a:pt x="10672" y="0"/>
                    <a:pt x="23821" y="0"/>
                  </a:cubicBezTo>
                  <a:cubicBezTo>
                    <a:pt x="36970" y="0"/>
                    <a:pt x="47654" y="11474"/>
                    <a:pt x="47654" y="25628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986" name="Gráfico 10">
            <a:extLst>
              <a:ext uri="{FF2B5EF4-FFF2-40B4-BE49-F238E27FC236}">
                <a16:creationId xmlns:a16="http://schemas.microsoft.com/office/drawing/2014/main" id="{7C78D788-1558-293A-3E77-EA691939EDCE}"/>
              </a:ext>
            </a:extLst>
          </p:cNvPr>
          <p:cNvGrpSpPr/>
          <p:nvPr/>
        </p:nvGrpSpPr>
        <p:grpSpPr>
          <a:xfrm>
            <a:off x="9176606" y="3128233"/>
            <a:ext cx="285252" cy="276766"/>
            <a:chOff x="9176606" y="3128233"/>
            <a:chExt cx="285252" cy="276766"/>
          </a:xfrm>
          <a:noFill/>
        </p:grpSpPr>
        <p:sp>
          <p:nvSpPr>
            <p:cNvPr id="987" name="Forma livre: Forma 986">
              <a:extLst>
                <a:ext uri="{FF2B5EF4-FFF2-40B4-BE49-F238E27FC236}">
                  <a16:creationId xmlns:a16="http://schemas.microsoft.com/office/drawing/2014/main" id="{FB0889C8-DF9C-B22C-3D96-CEC2315DBD6F}"/>
                </a:ext>
              </a:extLst>
            </p:cNvPr>
            <p:cNvSpPr/>
            <p:nvPr/>
          </p:nvSpPr>
          <p:spPr>
            <a:xfrm>
              <a:off x="9176606" y="3253865"/>
              <a:ext cx="266232" cy="151134"/>
            </a:xfrm>
            <a:custGeom>
              <a:avLst/>
              <a:gdLst>
                <a:gd name="connsiteX0" fmla="*/ 266233 w 266232"/>
                <a:gd name="connsiteY0" fmla="*/ 31682 h 151134"/>
                <a:gd name="connsiteX1" fmla="*/ 266233 w 266232"/>
                <a:gd name="connsiteY1" fmla="*/ 151135 h 151134"/>
                <a:gd name="connsiteX2" fmla="*/ 0 w 266232"/>
                <a:gd name="connsiteY2" fmla="*/ 151135 h 151134"/>
                <a:gd name="connsiteX3" fmla="*/ 0 w 266232"/>
                <a:gd name="connsiteY3" fmla="*/ 0 h 151134"/>
                <a:gd name="connsiteX4" fmla="*/ 165887 w 266232"/>
                <a:gd name="connsiteY4" fmla="*/ 0 h 1511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66232" h="151134">
                  <a:moveTo>
                    <a:pt x="266233" y="31682"/>
                  </a:moveTo>
                  <a:lnTo>
                    <a:pt x="266233" y="151135"/>
                  </a:lnTo>
                  <a:lnTo>
                    <a:pt x="0" y="151135"/>
                  </a:lnTo>
                  <a:lnTo>
                    <a:pt x="0" y="0"/>
                  </a:lnTo>
                  <a:lnTo>
                    <a:pt x="165887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88" name="Forma livre: Forma 987">
              <a:extLst>
                <a:ext uri="{FF2B5EF4-FFF2-40B4-BE49-F238E27FC236}">
                  <a16:creationId xmlns:a16="http://schemas.microsoft.com/office/drawing/2014/main" id="{F97C6534-AC1C-E10B-813A-3D83E683BE9A}"/>
                </a:ext>
              </a:extLst>
            </p:cNvPr>
            <p:cNvSpPr/>
            <p:nvPr/>
          </p:nvSpPr>
          <p:spPr>
            <a:xfrm>
              <a:off x="9214653" y="3294113"/>
              <a:ext cx="99855" cy="1196"/>
            </a:xfrm>
            <a:custGeom>
              <a:avLst/>
              <a:gdLst>
                <a:gd name="connsiteX0" fmla="*/ 0 w 99855"/>
                <a:gd name="connsiteY0" fmla="*/ 0 h 1196"/>
                <a:gd name="connsiteX1" fmla="*/ 99855 w 99855"/>
                <a:gd name="connsiteY1" fmla="*/ 0 h 11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9855" h="1196">
                  <a:moveTo>
                    <a:pt x="0" y="0"/>
                  </a:moveTo>
                  <a:lnTo>
                    <a:pt x="99855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89" name="Forma livre: Forma 988">
              <a:extLst>
                <a:ext uri="{FF2B5EF4-FFF2-40B4-BE49-F238E27FC236}">
                  <a16:creationId xmlns:a16="http://schemas.microsoft.com/office/drawing/2014/main" id="{F8BE02C4-39E9-EBA9-285B-8A21EA147652}"/>
                </a:ext>
              </a:extLst>
            </p:cNvPr>
            <p:cNvSpPr/>
            <p:nvPr/>
          </p:nvSpPr>
          <p:spPr>
            <a:xfrm>
              <a:off x="9214653" y="3327327"/>
              <a:ext cx="99855" cy="1196"/>
            </a:xfrm>
            <a:custGeom>
              <a:avLst/>
              <a:gdLst>
                <a:gd name="connsiteX0" fmla="*/ 0 w 99855"/>
                <a:gd name="connsiteY0" fmla="*/ 0 h 1196"/>
                <a:gd name="connsiteX1" fmla="*/ 99855 w 99855"/>
                <a:gd name="connsiteY1" fmla="*/ 0 h 11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9855" h="1196">
                  <a:moveTo>
                    <a:pt x="0" y="0"/>
                  </a:moveTo>
                  <a:lnTo>
                    <a:pt x="99855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90" name="Forma livre: Forma 989">
              <a:extLst>
                <a:ext uri="{FF2B5EF4-FFF2-40B4-BE49-F238E27FC236}">
                  <a16:creationId xmlns:a16="http://schemas.microsoft.com/office/drawing/2014/main" id="{B511EFB1-8E27-C6FA-A973-9BEA8BDC872C}"/>
                </a:ext>
              </a:extLst>
            </p:cNvPr>
            <p:cNvSpPr/>
            <p:nvPr/>
          </p:nvSpPr>
          <p:spPr>
            <a:xfrm>
              <a:off x="9329548" y="3367719"/>
              <a:ext cx="64057" cy="1196"/>
            </a:xfrm>
            <a:custGeom>
              <a:avLst/>
              <a:gdLst>
                <a:gd name="connsiteX0" fmla="*/ 0 w 64057"/>
                <a:gd name="connsiteY0" fmla="*/ 0 h 1196"/>
                <a:gd name="connsiteX1" fmla="*/ 64058 w 64057"/>
                <a:gd name="connsiteY1" fmla="*/ 0 h 11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4057" h="1196">
                  <a:moveTo>
                    <a:pt x="0" y="0"/>
                  </a:moveTo>
                  <a:lnTo>
                    <a:pt x="64058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91" name="Forma livre: Forma 990">
              <a:extLst>
                <a:ext uri="{FF2B5EF4-FFF2-40B4-BE49-F238E27FC236}">
                  <a16:creationId xmlns:a16="http://schemas.microsoft.com/office/drawing/2014/main" id="{BE697F1E-08A0-7DFC-C07B-8EE8FDB5CF99}"/>
                </a:ext>
              </a:extLst>
            </p:cNvPr>
            <p:cNvSpPr/>
            <p:nvPr/>
          </p:nvSpPr>
          <p:spPr>
            <a:xfrm>
              <a:off x="9360632" y="3324718"/>
              <a:ext cx="7202" cy="16666"/>
            </a:xfrm>
            <a:custGeom>
              <a:avLst/>
              <a:gdLst>
                <a:gd name="connsiteX0" fmla="*/ 7203 w 7202"/>
                <a:gd name="connsiteY0" fmla="*/ 0 h 16666"/>
                <a:gd name="connsiteX1" fmla="*/ 0 w 7202"/>
                <a:gd name="connsiteY1" fmla="*/ 16666 h 166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202" h="16666">
                  <a:moveTo>
                    <a:pt x="7203" y="0"/>
                  </a:moveTo>
                  <a:lnTo>
                    <a:pt x="0" y="16666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92" name="Forma livre: Forma 991">
              <a:extLst>
                <a:ext uri="{FF2B5EF4-FFF2-40B4-BE49-F238E27FC236}">
                  <a16:creationId xmlns:a16="http://schemas.microsoft.com/office/drawing/2014/main" id="{85205B19-6336-DA47-0922-147A1339152B}"/>
                </a:ext>
              </a:extLst>
            </p:cNvPr>
            <p:cNvSpPr/>
            <p:nvPr/>
          </p:nvSpPr>
          <p:spPr>
            <a:xfrm>
              <a:off x="9362331" y="3128233"/>
              <a:ext cx="99528" cy="176421"/>
            </a:xfrm>
            <a:custGeom>
              <a:avLst/>
              <a:gdLst>
                <a:gd name="connsiteX0" fmla="*/ 0 w 99528"/>
                <a:gd name="connsiteY0" fmla="*/ 161334 h 176421"/>
                <a:gd name="connsiteX1" fmla="*/ 73091 w 99528"/>
                <a:gd name="connsiteY1" fmla="*/ 3690 h 176421"/>
                <a:gd name="connsiteX2" fmla="*/ 88417 w 99528"/>
                <a:gd name="connsiteY2" fmla="*/ 1034 h 176421"/>
                <a:gd name="connsiteX3" fmla="*/ 90930 w 99528"/>
                <a:gd name="connsiteY3" fmla="*/ 2123 h 176421"/>
                <a:gd name="connsiteX4" fmla="*/ 99520 w 99528"/>
                <a:gd name="connsiteY4" fmla="*/ 15069 h 176421"/>
                <a:gd name="connsiteX5" fmla="*/ 34948 w 99528"/>
                <a:gd name="connsiteY5" fmla="*/ 176421 h 176421"/>
                <a:gd name="connsiteX6" fmla="*/ 0 w 99528"/>
                <a:gd name="connsiteY6" fmla="*/ 161334 h 1764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99528" h="176421">
                  <a:moveTo>
                    <a:pt x="0" y="161334"/>
                  </a:moveTo>
                  <a:cubicBezTo>
                    <a:pt x="8543" y="102852"/>
                    <a:pt x="33859" y="48067"/>
                    <a:pt x="73091" y="3690"/>
                  </a:cubicBezTo>
                  <a:cubicBezTo>
                    <a:pt x="76596" y="101"/>
                    <a:pt x="83572" y="-1047"/>
                    <a:pt x="88417" y="1034"/>
                  </a:cubicBezTo>
                  <a:cubicBezTo>
                    <a:pt x="89255" y="1393"/>
                    <a:pt x="90092" y="1764"/>
                    <a:pt x="90930" y="2123"/>
                  </a:cubicBezTo>
                  <a:cubicBezTo>
                    <a:pt x="95763" y="4205"/>
                    <a:pt x="99736" y="10056"/>
                    <a:pt x="99520" y="15069"/>
                  </a:cubicBezTo>
                  <a:cubicBezTo>
                    <a:pt x="94100" y="73790"/>
                    <a:pt x="71440" y="130202"/>
                    <a:pt x="34948" y="176421"/>
                  </a:cubicBezTo>
                  <a:lnTo>
                    <a:pt x="0" y="161334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93" name="Forma livre: Forma 992">
              <a:extLst>
                <a:ext uri="{FF2B5EF4-FFF2-40B4-BE49-F238E27FC236}">
                  <a16:creationId xmlns:a16="http://schemas.microsoft.com/office/drawing/2014/main" id="{78A9B569-4188-5AFF-A3AA-FC3B4DD324C5}"/>
                </a:ext>
              </a:extLst>
            </p:cNvPr>
            <p:cNvSpPr/>
            <p:nvPr/>
          </p:nvSpPr>
          <p:spPr>
            <a:xfrm>
              <a:off x="9360715" y="3293108"/>
              <a:ext cx="32615" cy="34601"/>
            </a:xfrm>
            <a:custGeom>
              <a:avLst/>
              <a:gdLst>
                <a:gd name="connsiteX0" fmla="*/ 3530 w 32615"/>
                <a:gd name="connsiteY0" fmla="*/ 0 h 34601"/>
                <a:gd name="connsiteX1" fmla="*/ 0 w 32615"/>
                <a:gd name="connsiteY1" fmla="*/ 28463 h 34601"/>
                <a:gd name="connsiteX2" fmla="*/ 14238 w 32615"/>
                <a:gd name="connsiteY2" fmla="*/ 34601 h 34601"/>
                <a:gd name="connsiteX3" fmla="*/ 32615 w 32615"/>
                <a:gd name="connsiteY3" fmla="*/ 12431 h 346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2615" h="34601">
                  <a:moveTo>
                    <a:pt x="3530" y="0"/>
                  </a:moveTo>
                  <a:lnTo>
                    <a:pt x="0" y="28463"/>
                  </a:lnTo>
                  <a:lnTo>
                    <a:pt x="14238" y="34601"/>
                  </a:lnTo>
                  <a:lnTo>
                    <a:pt x="32615" y="12431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94" name="Forma livre: Forma 993">
              <a:extLst>
                <a:ext uri="{FF2B5EF4-FFF2-40B4-BE49-F238E27FC236}">
                  <a16:creationId xmlns:a16="http://schemas.microsoft.com/office/drawing/2014/main" id="{9EC9BC7D-B6B8-50AA-A61A-63C15DC57B7B}"/>
                </a:ext>
              </a:extLst>
            </p:cNvPr>
            <p:cNvSpPr/>
            <p:nvPr/>
          </p:nvSpPr>
          <p:spPr>
            <a:xfrm>
              <a:off x="9361481" y="3137176"/>
              <a:ext cx="58769" cy="61868"/>
            </a:xfrm>
            <a:custGeom>
              <a:avLst/>
              <a:gdLst>
                <a:gd name="connsiteX0" fmla="*/ 58769 w 58769"/>
                <a:gd name="connsiteY0" fmla="*/ 11701 h 61868"/>
                <a:gd name="connsiteX1" fmla="*/ 35487 w 58769"/>
                <a:gd name="connsiteY1" fmla="*/ 0 h 61868"/>
                <a:gd name="connsiteX2" fmla="*/ 0 w 58769"/>
                <a:gd name="connsiteY2" fmla="*/ 61868 h 61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58769" h="61868">
                  <a:moveTo>
                    <a:pt x="58769" y="11701"/>
                  </a:moveTo>
                  <a:lnTo>
                    <a:pt x="35487" y="0"/>
                  </a:lnTo>
                  <a:cubicBezTo>
                    <a:pt x="35487" y="0"/>
                    <a:pt x="13388" y="29827"/>
                    <a:pt x="0" y="61868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95" name="Forma livre: Forma 994">
              <a:extLst>
                <a:ext uri="{FF2B5EF4-FFF2-40B4-BE49-F238E27FC236}">
                  <a16:creationId xmlns:a16="http://schemas.microsoft.com/office/drawing/2014/main" id="{6A61C8CD-367D-4D2F-C62A-EAAAEFD1E650}"/>
                </a:ext>
              </a:extLst>
            </p:cNvPr>
            <p:cNvSpPr/>
            <p:nvPr/>
          </p:nvSpPr>
          <p:spPr>
            <a:xfrm>
              <a:off x="9410655" y="3208400"/>
              <a:ext cx="29133" cy="12574"/>
            </a:xfrm>
            <a:custGeom>
              <a:avLst/>
              <a:gdLst>
                <a:gd name="connsiteX0" fmla="*/ 0 w 29133"/>
                <a:gd name="connsiteY0" fmla="*/ 0 h 12574"/>
                <a:gd name="connsiteX1" fmla="*/ 29133 w 29133"/>
                <a:gd name="connsiteY1" fmla="*/ 12575 h 125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9133" h="12574">
                  <a:moveTo>
                    <a:pt x="0" y="0"/>
                  </a:moveTo>
                  <a:lnTo>
                    <a:pt x="29133" y="12575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996" name="Gráfico 10">
            <a:extLst>
              <a:ext uri="{FF2B5EF4-FFF2-40B4-BE49-F238E27FC236}">
                <a16:creationId xmlns:a16="http://schemas.microsoft.com/office/drawing/2014/main" id="{50BC6145-C8A1-9BEE-0B52-5683A2382B84}"/>
              </a:ext>
            </a:extLst>
          </p:cNvPr>
          <p:cNvGrpSpPr/>
          <p:nvPr/>
        </p:nvGrpSpPr>
        <p:grpSpPr>
          <a:xfrm>
            <a:off x="8601595" y="3127173"/>
            <a:ext cx="192220" cy="296120"/>
            <a:chOff x="8601595" y="3127173"/>
            <a:chExt cx="192220" cy="296120"/>
          </a:xfrm>
          <a:noFill/>
        </p:grpSpPr>
        <p:sp>
          <p:nvSpPr>
            <p:cNvPr id="997" name="Forma livre: Forma 996">
              <a:extLst>
                <a:ext uri="{FF2B5EF4-FFF2-40B4-BE49-F238E27FC236}">
                  <a16:creationId xmlns:a16="http://schemas.microsoft.com/office/drawing/2014/main" id="{25C16EBA-3AB7-ED97-0EF3-EA3CAF9B8A3B}"/>
                </a:ext>
              </a:extLst>
            </p:cNvPr>
            <p:cNvSpPr/>
            <p:nvPr/>
          </p:nvSpPr>
          <p:spPr>
            <a:xfrm>
              <a:off x="8601595" y="3186361"/>
              <a:ext cx="192220" cy="236931"/>
            </a:xfrm>
            <a:custGeom>
              <a:avLst/>
              <a:gdLst>
                <a:gd name="connsiteX0" fmla="*/ 172982 w 192220"/>
                <a:gd name="connsiteY0" fmla="*/ 0 h 236931"/>
                <a:gd name="connsiteX1" fmla="*/ 177863 w 192220"/>
                <a:gd name="connsiteY1" fmla="*/ 0 h 236931"/>
                <a:gd name="connsiteX2" fmla="*/ 192221 w 192220"/>
                <a:gd name="connsiteY2" fmla="*/ 14357 h 236931"/>
                <a:gd name="connsiteX3" fmla="*/ 192221 w 192220"/>
                <a:gd name="connsiteY3" fmla="*/ 222575 h 236931"/>
                <a:gd name="connsiteX4" fmla="*/ 177863 w 192220"/>
                <a:gd name="connsiteY4" fmla="*/ 236932 h 236931"/>
                <a:gd name="connsiteX5" fmla="*/ 14357 w 192220"/>
                <a:gd name="connsiteY5" fmla="*/ 236932 h 236931"/>
                <a:gd name="connsiteX6" fmla="*/ 0 w 192220"/>
                <a:gd name="connsiteY6" fmla="*/ 222575 h 236931"/>
                <a:gd name="connsiteX7" fmla="*/ 0 w 192220"/>
                <a:gd name="connsiteY7" fmla="*/ 14357 h 236931"/>
                <a:gd name="connsiteX8" fmla="*/ 14357 w 192220"/>
                <a:gd name="connsiteY8" fmla="*/ 0 h 236931"/>
                <a:gd name="connsiteX9" fmla="*/ 18940 w 192220"/>
                <a:gd name="connsiteY9" fmla="*/ 0 h 2369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92220" h="236931">
                  <a:moveTo>
                    <a:pt x="172982" y="0"/>
                  </a:moveTo>
                  <a:lnTo>
                    <a:pt x="177863" y="0"/>
                  </a:lnTo>
                  <a:cubicBezTo>
                    <a:pt x="185760" y="0"/>
                    <a:pt x="192221" y="6461"/>
                    <a:pt x="192221" y="14357"/>
                  </a:cubicBezTo>
                  <a:lnTo>
                    <a:pt x="192221" y="222575"/>
                  </a:lnTo>
                  <a:cubicBezTo>
                    <a:pt x="192221" y="230471"/>
                    <a:pt x="185760" y="236932"/>
                    <a:pt x="177863" y="236932"/>
                  </a:cubicBezTo>
                  <a:lnTo>
                    <a:pt x="14357" y="236932"/>
                  </a:lnTo>
                  <a:cubicBezTo>
                    <a:pt x="6461" y="236932"/>
                    <a:pt x="0" y="230471"/>
                    <a:pt x="0" y="222575"/>
                  </a:cubicBezTo>
                  <a:lnTo>
                    <a:pt x="0" y="14357"/>
                  </a:lnTo>
                  <a:cubicBezTo>
                    <a:pt x="0" y="6461"/>
                    <a:pt x="6461" y="0"/>
                    <a:pt x="14357" y="0"/>
                  </a:cubicBezTo>
                  <a:lnTo>
                    <a:pt x="18940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98" name="Forma livre: Forma 997">
              <a:extLst>
                <a:ext uri="{FF2B5EF4-FFF2-40B4-BE49-F238E27FC236}">
                  <a16:creationId xmlns:a16="http://schemas.microsoft.com/office/drawing/2014/main" id="{7CD9B17B-94EC-BEA1-4C9D-B7BC7373165D}"/>
                </a:ext>
              </a:extLst>
            </p:cNvPr>
            <p:cNvSpPr/>
            <p:nvPr/>
          </p:nvSpPr>
          <p:spPr>
            <a:xfrm>
              <a:off x="8631722" y="3219527"/>
              <a:ext cx="131955" cy="1196"/>
            </a:xfrm>
            <a:custGeom>
              <a:avLst/>
              <a:gdLst>
                <a:gd name="connsiteX0" fmla="*/ 0 w 131955"/>
                <a:gd name="connsiteY0" fmla="*/ 0 h 1196"/>
                <a:gd name="connsiteX1" fmla="*/ 131956 w 131955"/>
                <a:gd name="connsiteY1" fmla="*/ 0 h 11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31955" h="1196">
                  <a:moveTo>
                    <a:pt x="0" y="0"/>
                  </a:moveTo>
                  <a:lnTo>
                    <a:pt x="131956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999" name="Gráfico 10">
              <a:extLst>
                <a:ext uri="{FF2B5EF4-FFF2-40B4-BE49-F238E27FC236}">
                  <a16:creationId xmlns:a16="http://schemas.microsoft.com/office/drawing/2014/main" id="{58D448DA-71D8-DC0B-0C5A-B62F0EE64E86}"/>
                </a:ext>
              </a:extLst>
            </p:cNvPr>
            <p:cNvGrpSpPr/>
            <p:nvPr/>
          </p:nvGrpSpPr>
          <p:grpSpPr>
            <a:xfrm>
              <a:off x="8643614" y="3127173"/>
              <a:ext cx="108170" cy="91719"/>
              <a:chOff x="8643614" y="3127173"/>
              <a:chExt cx="108170" cy="91719"/>
            </a:xfrm>
            <a:noFill/>
          </p:grpSpPr>
          <p:sp>
            <p:nvSpPr>
              <p:cNvPr id="1000" name="Forma livre: Forma 999">
                <a:extLst>
                  <a:ext uri="{FF2B5EF4-FFF2-40B4-BE49-F238E27FC236}">
                    <a16:creationId xmlns:a16="http://schemas.microsoft.com/office/drawing/2014/main" id="{6B64CC52-033B-8262-4883-7C94A699C2D7}"/>
                  </a:ext>
                </a:extLst>
              </p:cNvPr>
              <p:cNvSpPr/>
              <p:nvPr/>
            </p:nvSpPr>
            <p:spPr>
              <a:xfrm>
                <a:off x="8643614" y="3127173"/>
                <a:ext cx="108170" cy="91719"/>
              </a:xfrm>
              <a:custGeom>
                <a:avLst/>
                <a:gdLst>
                  <a:gd name="connsiteX0" fmla="*/ 108171 w 108170"/>
                  <a:gd name="connsiteY0" fmla="*/ 91720 h 91719"/>
                  <a:gd name="connsiteX1" fmla="*/ 108171 w 108170"/>
                  <a:gd name="connsiteY1" fmla="*/ 0 h 91719"/>
                  <a:gd name="connsiteX2" fmla="*/ 32244 w 108170"/>
                  <a:gd name="connsiteY2" fmla="*/ 0 h 91719"/>
                  <a:gd name="connsiteX3" fmla="*/ 0 w 108170"/>
                  <a:gd name="connsiteY3" fmla="*/ 29145 h 91719"/>
                  <a:gd name="connsiteX4" fmla="*/ 0 w 108170"/>
                  <a:gd name="connsiteY4" fmla="*/ 91720 h 917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08170" h="91719">
                    <a:moveTo>
                      <a:pt x="108171" y="91720"/>
                    </a:moveTo>
                    <a:lnTo>
                      <a:pt x="108171" y="0"/>
                    </a:lnTo>
                    <a:lnTo>
                      <a:pt x="32244" y="0"/>
                    </a:lnTo>
                    <a:lnTo>
                      <a:pt x="0" y="29145"/>
                    </a:lnTo>
                    <a:lnTo>
                      <a:pt x="0" y="9172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001" name="Forma livre: Forma 1000">
                <a:extLst>
                  <a:ext uri="{FF2B5EF4-FFF2-40B4-BE49-F238E27FC236}">
                    <a16:creationId xmlns:a16="http://schemas.microsoft.com/office/drawing/2014/main" id="{33FE3B93-6733-B9A9-A18C-DB83A1E00754}"/>
                  </a:ext>
                </a:extLst>
              </p:cNvPr>
              <p:cNvSpPr/>
              <p:nvPr/>
            </p:nvSpPr>
            <p:spPr>
              <a:xfrm>
                <a:off x="8663116" y="3148602"/>
                <a:ext cx="21619" cy="21272"/>
              </a:xfrm>
              <a:custGeom>
                <a:avLst/>
                <a:gdLst>
                  <a:gd name="connsiteX0" fmla="*/ 21620 w 21619"/>
                  <a:gd name="connsiteY0" fmla="*/ 0 h 21272"/>
                  <a:gd name="connsiteX1" fmla="*/ 21620 w 21619"/>
                  <a:gd name="connsiteY1" fmla="*/ 21273 h 21272"/>
                  <a:gd name="connsiteX2" fmla="*/ 0 w 21619"/>
                  <a:gd name="connsiteY2" fmla="*/ 21273 h 212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1619" h="21272">
                    <a:moveTo>
                      <a:pt x="21620" y="0"/>
                    </a:moveTo>
                    <a:lnTo>
                      <a:pt x="21620" y="21273"/>
                    </a:lnTo>
                    <a:lnTo>
                      <a:pt x="0" y="21273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002" name="Forma livre: Forma 1001">
              <a:extLst>
                <a:ext uri="{FF2B5EF4-FFF2-40B4-BE49-F238E27FC236}">
                  <a16:creationId xmlns:a16="http://schemas.microsoft.com/office/drawing/2014/main" id="{318E2E62-5AF0-A742-4887-FAB4ACB54C9D}"/>
                </a:ext>
              </a:extLst>
            </p:cNvPr>
            <p:cNvSpPr/>
            <p:nvPr/>
          </p:nvSpPr>
          <p:spPr>
            <a:xfrm>
              <a:off x="8643853" y="3253745"/>
              <a:ext cx="107680" cy="29911"/>
            </a:xfrm>
            <a:custGeom>
              <a:avLst/>
              <a:gdLst>
                <a:gd name="connsiteX0" fmla="*/ 0 w 107680"/>
                <a:gd name="connsiteY0" fmla="*/ 0 h 29911"/>
                <a:gd name="connsiteX1" fmla="*/ 107680 w 107680"/>
                <a:gd name="connsiteY1" fmla="*/ 0 h 29911"/>
                <a:gd name="connsiteX2" fmla="*/ 107680 w 107680"/>
                <a:gd name="connsiteY2" fmla="*/ 29911 h 29911"/>
                <a:gd name="connsiteX3" fmla="*/ 0 w 107680"/>
                <a:gd name="connsiteY3" fmla="*/ 29911 h 299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7680" h="29911">
                  <a:moveTo>
                    <a:pt x="0" y="0"/>
                  </a:moveTo>
                  <a:lnTo>
                    <a:pt x="107680" y="0"/>
                  </a:lnTo>
                  <a:lnTo>
                    <a:pt x="107680" y="29911"/>
                  </a:lnTo>
                  <a:lnTo>
                    <a:pt x="0" y="29911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003" name="Gráfico 10">
              <a:extLst>
                <a:ext uri="{FF2B5EF4-FFF2-40B4-BE49-F238E27FC236}">
                  <a16:creationId xmlns:a16="http://schemas.microsoft.com/office/drawing/2014/main" id="{EF0B0353-5EE6-B64F-4DE5-B01E7C6DAA40}"/>
                </a:ext>
              </a:extLst>
            </p:cNvPr>
            <p:cNvGrpSpPr/>
            <p:nvPr/>
          </p:nvGrpSpPr>
          <p:grpSpPr>
            <a:xfrm>
              <a:off x="8635478" y="3322601"/>
              <a:ext cx="124430" cy="1196"/>
              <a:chOff x="8635478" y="3322601"/>
              <a:chExt cx="124430" cy="1196"/>
            </a:xfrm>
          </p:grpSpPr>
          <p:sp>
            <p:nvSpPr>
              <p:cNvPr id="1004" name="Forma livre: Forma 1003">
                <a:extLst>
                  <a:ext uri="{FF2B5EF4-FFF2-40B4-BE49-F238E27FC236}">
                    <a16:creationId xmlns:a16="http://schemas.microsoft.com/office/drawing/2014/main" id="{9C32560B-6086-FFB5-1C29-792B8624EB56}"/>
                  </a:ext>
                </a:extLst>
              </p:cNvPr>
              <p:cNvSpPr/>
              <p:nvPr/>
            </p:nvSpPr>
            <p:spPr>
              <a:xfrm>
                <a:off x="8635478" y="3322601"/>
                <a:ext cx="28714" cy="1196"/>
              </a:xfrm>
              <a:custGeom>
                <a:avLst/>
                <a:gdLst>
                  <a:gd name="connsiteX0" fmla="*/ 0 w 28714"/>
                  <a:gd name="connsiteY0" fmla="*/ 0 h 1196"/>
                  <a:gd name="connsiteX1" fmla="*/ 28715 w 28714"/>
                  <a:gd name="connsiteY1" fmla="*/ 0 h 11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8714" h="1196">
                    <a:moveTo>
                      <a:pt x="0" y="0"/>
                    </a:moveTo>
                    <a:lnTo>
                      <a:pt x="28715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005" name="Forma livre: Forma 1004">
                <a:extLst>
                  <a:ext uri="{FF2B5EF4-FFF2-40B4-BE49-F238E27FC236}">
                    <a16:creationId xmlns:a16="http://schemas.microsoft.com/office/drawing/2014/main" id="{F229678E-B25A-CDEF-C9C5-3097AF45FF3D}"/>
                  </a:ext>
                </a:extLst>
              </p:cNvPr>
              <p:cNvSpPr/>
              <p:nvPr/>
            </p:nvSpPr>
            <p:spPr>
              <a:xfrm>
                <a:off x="8683336" y="3322601"/>
                <a:ext cx="28714" cy="1196"/>
              </a:xfrm>
              <a:custGeom>
                <a:avLst/>
                <a:gdLst>
                  <a:gd name="connsiteX0" fmla="*/ 0 w 28714"/>
                  <a:gd name="connsiteY0" fmla="*/ 0 h 1196"/>
                  <a:gd name="connsiteX1" fmla="*/ 28715 w 28714"/>
                  <a:gd name="connsiteY1" fmla="*/ 0 h 11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8714" h="1196">
                    <a:moveTo>
                      <a:pt x="0" y="0"/>
                    </a:moveTo>
                    <a:lnTo>
                      <a:pt x="28715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006" name="Forma livre: Forma 1005">
                <a:extLst>
                  <a:ext uri="{FF2B5EF4-FFF2-40B4-BE49-F238E27FC236}">
                    <a16:creationId xmlns:a16="http://schemas.microsoft.com/office/drawing/2014/main" id="{08B76067-E3E2-4D03-9191-0CA9489DA865}"/>
                  </a:ext>
                </a:extLst>
              </p:cNvPr>
              <p:cNvSpPr/>
              <p:nvPr/>
            </p:nvSpPr>
            <p:spPr>
              <a:xfrm>
                <a:off x="8731194" y="3322601"/>
                <a:ext cx="28714" cy="1196"/>
              </a:xfrm>
              <a:custGeom>
                <a:avLst/>
                <a:gdLst>
                  <a:gd name="connsiteX0" fmla="*/ 0 w 28714"/>
                  <a:gd name="connsiteY0" fmla="*/ 0 h 1196"/>
                  <a:gd name="connsiteX1" fmla="*/ 28715 w 28714"/>
                  <a:gd name="connsiteY1" fmla="*/ 0 h 11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8714" h="1196">
                    <a:moveTo>
                      <a:pt x="0" y="0"/>
                    </a:moveTo>
                    <a:lnTo>
                      <a:pt x="28715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007" name="Gráfico 10">
              <a:extLst>
                <a:ext uri="{FF2B5EF4-FFF2-40B4-BE49-F238E27FC236}">
                  <a16:creationId xmlns:a16="http://schemas.microsoft.com/office/drawing/2014/main" id="{DA80D72B-4A9B-64B5-391F-C2ABB6584C67}"/>
                </a:ext>
              </a:extLst>
            </p:cNvPr>
            <p:cNvGrpSpPr/>
            <p:nvPr/>
          </p:nvGrpSpPr>
          <p:grpSpPr>
            <a:xfrm>
              <a:off x="8635478" y="3356125"/>
              <a:ext cx="124430" cy="1196"/>
              <a:chOff x="8635478" y="3356125"/>
              <a:chExt cx="124430" cy="1196"/>
            </a:xfrm>
          </p:grpSpPr>
          <p:sp>
            <p:nvSpPr>
              <p:cNvPr id="1008" name="Forma livre: Forma 1007">
                <a:extLst>
                  <a:ext uri="{FF2B5EF4-FFF2-40B4-BE49-F238E27FC236}">
                    <a16:creationId xmlns:a16="http://schemas.microsoft.com/office/drawing/2014/main" id="{25543150-B4C7-EB9C-7369-B3DF63E8716E}"/>
                  </a:ext>
                </a:extLst>
              </p:cNvPr>
              <p:cNvSpPr/>
              <p:nvPr/>
            </p:nvSpPr>
            <p:spPr>
              <a:xfrm>
                <a:off x="8635478" y="3356125"/>
                <a:ext cx="28714" cy="1196"/>
              </a:xfrm>
              <a:custGeom>
                <a:avLst/>
                <a:gdLst>
                  <a:gd name="connsiteX0" fmla="*/ 0 w 28714"/>
                  <a:gd name="connsiteY0" fmla="*/ 0 h 1196"/>
                  <a:gd name="connsiteX1" fmla="*/ 28715 w 28714"/>
                  <a:gd name="connsiteY1" fmla="*/ 0 h 11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8714" h="1196">
                    <a:moveTo>
                      <a:pt x="0" y="0"/>
                    </a:moveTo>
                    <a:lnTo>
                      <a:pt x="28715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009" name="Forma livre: Forma 1008">
                <a:extLst>
                  <a:ext uri="{FF2B5EF4-FFF2-40B4-BE49-F238E27FC236}">
                    <a16:creationId xmlns:a16="http://schemas.microsoft.com/office/drawing/2014/main" id="{DFF96DA5-ECB1-0701-36E4-82F553048AE6}"/>
                  </a:ext>
                </a:extLst>
              </p:cNvPr>
              <p:cNvSpPr/>
              <p:nvPr/>
            </p:nvSpPr>
            <p:spPr>
              <a:xfrm>
                <a:off x="8683336" y="3356125"/>
                <a:ext cx="28714" cy="1196"/>
              </a:xfrm>
              <a:custGeom>
                <a:avLst/>
                <a:gdLst>
                  <a:gd name="connsiteX0" fmla="*/ 0 w 28714"/>
                  <a:gd name="connsiteY0" fmla="*/ 0 h 1196"/>
                  <a:gd name="connsiteX1" fmla="*/ 28715 w 28714"/>
                  <a:gd name="connsiteY1" fmla="*/ 0 h 11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8714" h="1196">
                    <a:moveTo>
                      <a:pt x="0" y="0"/>
                    </a:moveTo>
                    <a:lnTo>
                      <a:pt x="28715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010" name="Forma livre: Forma 1009">
                <a:extLst>
                  <a:ext uri="{FF2B5EF4-FFF2-40B4-BE49-F238E27FC236}">
                    <a16:creationId xmlns:a16="http://schemas.microsoft.com/office/drawing/2014/main" id="{D332B44C-7668-4845-E800-6491B58856DD}"/>
                  </a:ext>
                </a:extLst>
              </p:cNvPr>
              <p:cNvSpPr/>
              <p:nvPr/>
            </p:nvSpPr>
            <p:spPr>
              <a:xfrm>
                <a:off x="8731194" y="3356125"/>
                <a:ext cx="28714" cy="1196"/>
              </a:xfrm>
              <a:custGeom>
                <a:avLst/>
                <a:gdLst>
                  <a:gd name="connsiteX0" fmla="*/ 0 w 28714"/>
                  <a:gd name="connsiteY0" fmla="*/ 0 h 1196"/>
                  <a:gd name="connsiteX1" fmla="*/ 28715 w 28714"/>
                  <a:gd name="connsiteY1" fmla="*/ 0 h 11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8714" h="1196">
                    <a:moveTo>
                      <a:pt x="0" y="0"/>
                    </a:moveTo>
                    <a:lnTo>
                      <a:pt x="28715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011" name="Gráfico 10">
              <a:extLst>
                <a:ext uri="{FF2B5EF4-FFF2-40B4-BE49-F238E27FC236}">
                  <a16:creationId xmlns:a16="http://schemas.microsoft.com/office/drawing/2014/main" id="{6C906759-AA16-4D00-7610-26B1DBFA773D}"/>
                </a:ext>
              </a:extLst>
            </p:cNvPr>
            <p:cNvGrpSpPr/>
            <p:nvPr/>
          </p:nvGrpSpPr>
          <p:grpSpPr>
            <a:xfrm>
              <a:off x="8635478" y="3389661"/>
              <a:ext cx="124430" cy="1196"/>
              <a:chOff x="8635478" y="3389661"/>
              <a:chExt cx="124430" cy="1196"/>
            </a:xfrm>
          </p:grpSpPr>
          <p:sp>
            <p:nvSpPr>
              <p:cNvPr id="1012" name="Forma livre: Forma 1011">
                <a:extLst>
                  <a:ext uri="{FF2B5EF4-FFF2-40B4-BE49-F238E27FC236}">
                    <a16:creationId xmlns:a16="http://schemas.microsoft.com/office/drawing/2014/main" id="{588D2201-16FE-9F15-ADF2-CC3E5256D232}"/>
                  </a:ext>
                </a:extLst>
              </p:cNvPr>
              <p:cNvSpPr/>
              <p:nvPr/>
            </p:nvSpPr>
            <p:spPr>
              <a:xfrm>
                <a:off x="8635478" y="3389661"/>
                <a:ext cx="28714" cy="1196"/>
              </a:xfrm>
              <a:custGeom>
                <a:avLst/>
                <a:gdLst>
                  <a:gd name="connsiteX0" fmla="*/ 0 w 28714"/>
                  <a:gd name="connsiteY0" fmla="*/ 0 h 1196"/>
                  <a:gd name="connsiteX1" fmla="*/ 28715 w 28714"/>
                  <a:gd name="connsiteY1" fmla="*/ 0 h 11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8714" h="1196">
                    <a:moveTo>
                      <a:pt x="0" y="0"/>
                    </a:moveTo>
                    <a:lnTo>
                      <a:pt x="28715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013" name="Forma livre: Forma 1012">
                <a:extLst>
                  <a:ext uri="{FF2B5EF4-FFF2-40B4-BE49-F238E27FC236}">
                    <a16:creationId xmlns:a16="http://schemas.microsoft.com/office/drawing/2014/main" id="{606FA3B9-E937-34E0-E9BB-CBDCEA6B1AA8}"/>
                  </a:ext>
                </a:extLst>
              </p:cNvPr>
              <p:cNvSpPr/>
              <p:nvPr/>
            </p:nvSpPr>
            <p:spPr>
              <a:xfrm>
                <a:off x="8683336" y="3389661"/>
                <a:ext cx="28714" cy="1196"/>
              </a:xfrm>
              <a:custGeom>
                <a:avLst/>
                <a:gdLst>
                  <a:gd name="connsiteX0" fmla="*/ 0 w 28714"/>
                  <a:gd name="connsiteY0" fmla="*/ 0 h 1196"/>
                  <a:gd name="connsiteX1" fmla="*/ 28715 w 28714"/>
                  <a:gd name="connsiteY1" fmla="*/ 0 h 11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8714" h="1196">
                    <a:moveTo>
                      <a:pt x="0" y="0"/>
                    </a:moveTo>
                    <a:lnTo>
                      <a:pt x="28715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014" name="Forma livre: Forma 1013">
                <a:extLst>
                  <a:ext uri="{FF2B5EF4-FFF2-40B4-BE49-F238E27FC236}">
                    <a16:creationId xmlns:a16="http://schemas.microsoft.com/office/drawing/2014/main" id="{C4AD460D-DF5D-A972-EE30-B16B33DFD34D}"/>
                  </a:ext>
                </a:extLst>
              </p:cNvPr>
              <p:cNvSpPr/>
              <p:nvPr/>
            </p:nvSpPr>
            <p:spPr>
              <a:xfrm>
                <a:off x="8731194" y="3389661"/>
                <a:ext cx="28714" cy="1196"/>
              </a:xfrm>
              <a:custGeom>
                <a:avLst/>
                <a:gdLst>
                  <a:gd name="connsiteX0" fmla="*/ 0 w 28714"/>
                  <a:gd name="connsiteY0" fmla="*/ 0 h 1196"/>
                  <a:gd name="connsiteX1" fmla="*/ 28715 w 28714"/>
                  <a:gd name="connsiteY1" fmla="*/ 0 h 11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8714" h="1196">
                    <a:moveTo>
                      <a:pt x="0" y="0"/>
                    </a:moveTo>
                    <a:lnTo>
                      <a:pt x="28715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015" name="Gráfico 10">
            <a:extLst>
              <a:ext uri="{FF2B5EF4-FFF2-40B4-BE49-F238E27FC236}">
                <a16:creationId xmlns:a16="http://schemas.microsoft.com/office/drawing/2014/main" id="{966AFA84-124A-D7F7-6F13-9B2A89527910}"/>
              </a:ext>
            </a:extLst>
          </p:cNvPr>
          <p:cNvGrpSpPr/>
          <p:nvPr/>
        </p:nvGrpSpPr>
        <p:grpSpPr>
          <a:xfrm>
            <a:off x="7929624" y="3149367"/>
            <a:ext cx="293093" cy="251743"/>
            <a:chOff x="7929624" y="3149367"/>
            <a:chExt cx="293093" cy="251743"/>
          </a:xfrm>
          <a:noFill/>
        </p:grpSpPr>
        <p:grpSp>
          <p:nvGrpSpPr>
            <p:cNvPr id="1016" name="Gráfico 10">
              <a:extLst>
                <a:ext uri="{FF2B5EF4-FFF2-40B4-BE49-F238E27FC236}">
                  <a16:creationId xmlns:a16="http://schemas.microsoft.com/office/drawing/2014/main" id="{46E435BE-F096-CE02-84A1-7ED1874D3ED8}"/>
                </a:ext>
              </a:extLst>
            </p:cNvPr>
            <p:cNvGrpSpPr/>
            <p:nvPr/>
          </p:nvGrpSpPr>
          <p:grpSpPr>
            <a:xfrm>
              <a:off x="7944412" y="3149367"/>
              <a:ext cx="278305" cy="251743"/>
              <a:chOff x="7944412" y="3149367"/>
              <a:chExt cx="278305" cy="251743"/>
            </a:xfrm>
            <a:noFill/>
          </p:grpSpPr>
          <p:grpSp>
            <p:nvGrpSpPr>
              <p:cNvPr id="1017" name="Gráfico 10">
                <a:extLst>
                  <a:ext uri="{FF2B5EF4-FFF2-40B4-BE49-F238E27FC236}">
                    <a16:creationId xmlns:a16="http://schemas.microsoft.com/office/drawing/2014/main" id="{2F331B88-9D89-3402-8181-0B7EB5E491BD}"/>
                  </a:ext>
                </a:extLst>
              </p:cNvPr>
              <p:cNvGrpSpPr/>
              <p:nvPr/>
            </p:nvGrpSpPr>
            <p:grpSpPr>
              <a:xfrm>
                <a:off x="7983942" y="3368736"/>
                <a:ext cx="199243" cy="32375"/>
                <a:chOff x="7983942" y="3368736"/>
                <a:chExt cx="199243" cy="32375"/>
              </a:xfrm>
              <a:noFill/>
            </p:grpSpPr>
            <p:sp>
              <p:nvSpPr>
                <p:cNvPr id="1018" name="Forma livre: Forma 1017">
                  <a:extLst>
                    <a:ext uri="{FF2B5EF4-FFF2-40B4-BE49-F238E27FC236}">
                      <a16:creationId xmlns:a16="http://schemas.microsoft.com/office/drawing/2014/main" id="{E7EA2E9E-8E7D-14F1-4FF6-B4D546630D87}"/>
                    </a:ext>
                  </a:extLst>
                </p:cNvPr>
                <p:cNvSpPr/>
                <p:nvPr/>
              </p:nvSpPr>
              <p:spPr>
                <a:xfrm>
                  <a:off x="7983942" y="3368736"/>
                  <a:ext cx="43107" cy="32375"/>
                </a:xfrm>
                <a:custGeom>
                  <a:avLst/>
                  <a:gdLst>
                    <a:gd name="connsiteX0" fmla="*/ 43108 w 43107"/>
                    <a:gd name="connsiteY0" fmla="*/ 0 h 32375"/>
                    <a:gd name="connsiteX1" fmla="*/ 43108 w 43107"/>
                    <a:gd name="connsiteY1" fmla="*/ 32376 h 32375"/>
                    <a:gd name="connsiteX2" fmla="*/ 0 w 43107"/>
                    <a:gd name="connsiteY2" fmla="*/ 32376 h 32375"/>
                    <a:gd name="connsiteX3" fmla="*/ 0 w 43107"/>
                    <a:gd name="connsiteY3" fmla="*/ 17648 h 323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3107" h="32375">
                      <a:moveTo>
                        <a:pt x="43108" y="0"/>
                      </a:moveTo>
                      <a:lnTo>
                        <a:pt x="43108" y="32376"/>
                      </a:lnTo>
                      <a:lnTo>
                        <a:pt x="0" y="32376"/>
                      </a:lnTo>
                      <a:lnTo>
                        <a:pt x="0" y="17648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019" name="Forma livre: Forma 1018">
                  <a:extLst>
                    <a:ext uri="{FF2B5EF4-FFF2-40B4-BE49-F238E27FC236}">
                      <a16:creationId xmlns:a16="http://schemas.microsoft.com/office/drawing/2014/main" id="{9AB3C040-9B65-FDD0-90DB-DAAB1BAF4D86}"/>
                    </a:ext>
                  </a:extLst>
                </p:cNvPr>
                <p:cNvSpPr/>
                <p:nvPr/>
              </p:nvSpPr>
              <p:spPr>
                <a:xfrm>
                  <a:off x="8140078" y="3368736"/>
                  <a:ext cx="43107" cy="32375"/>
                </a:xfrm>
                <a:custGeom>
                  <a:avLst/>
                  <a:gdLst>
                    <a:gd name="connsiteX0" fmla="*/ 43108 w 43107"/>
                    <a:gd name="connsiteY0" fmla="*/ 0 h 32375"/>
                    <a:gd name="connsiteX1" fmla="*/ 43108 w 43107"/>
                    <a:gd name="connsiteY1" fmla="*/ 32376 h 32375"/>
                    <a:gd name="connsiteX2" fmla="*/ 0 w 43107"/>
                    <a:gd name="connsiteY2" fmla="*/ 32376 h 32375"/>
                    <a:gd name="connsiteX3" fmla="*/ 0 w 43107"/>
                    <a:gd name="connsiteY3" fmla="*/ 17648 h 323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3107" h="32375">
                      <a:moveTo>
                        <a:pt x="43108" y="0"/>
                      </a:moveTo>
                      <a:lnTo>
                        <a:pt x="43108" y="32376"/>
                      </a:lnTo>
                      <a:lnTo>
                        <a:pt x="0" y="32376"/>
                      </a:lnTo>
                      <a:lnTo>
                        <a:pt x="0" y="17648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1020" name="Forma livre: Forma 1019">
                <a:extLst>
                  <a:ext uri="{FF2B5EF4-FFF2-40B4-BE49-F238E27FC236}">
                    <a16:creationId xmlns:a16="http://schemas.microsoft.com/office/drawing/2014/main" id="{47F33354-6C3D-44E1-1B6D-CB80A207C61E}"/>
                  </a:ext>
                </a:extLst>
              </p:cNvPr>
              <p:cNvSpPr/>
              <p:nvPr/>
            </p:nvSpPr>
            <p:spPr>
              <a:xfrm>
                <a:off x="7944412" y="3149367"/>
                <a:ext cx="278305" cy="219595"/>
              </a:xfrm>
              <a:custGeom>
                <a:avLst/>
                <a:gdLst>
                  <a:gd name="connsiteX0" fmla="*/ 0 w 278305"/>
                  <a:gd name="connsiteY0" fmla="*/ 47331 h 219595"/>
                  <a:gd name="connsiteX1" fmla="*/ 0 w 278305"/>
                  <a:gd name="connsiteY1" fmla="*/ 23929 h 219595"/>
                  <a:gd name="connsiteX2" fmla="*/ 23929 w 278305"/>
                  <a:gd name="connsiteY2" fmla="*/ 0 h 219595"/>
                  <a:gd name="connsiteX3" fmla="*/ 254376 w 278305"/>
                  <a:gd name="connsiteY3" fmla="*/ 0 h 219595"/>
                  <a:gd name="connsiteX4" fmla="*/ 278305 w 278305"/>
                  <a:gd name="connsiteY4" fmla="*/ 23929 h 219595"/>
                  <a:gd name="connsiteX5" fmla="*/ 278305 w 278305"/>
                  <a:gd name="connsiteY5" fmla="*/ 195666 h 219595"/>
                  <a:gd name="connsiteX6" fmla="*/ 254376 w 278305"/>
                  <a:gd name="connsiteY6" fmla="*/ 219595 h 219595"/>
                  <a:gd name="connsiteX7" fmla="*/ 23929 w 278305"/>
                  <a:gd name="connsiteY7" fmla="*/ 219595 h 219595"/>
                  <a:gd name="connsiteX8" fmla="*/ 0 w 278305"/>
                  <a:gd name="connsiteY8" fmla="*/ 195666 h 219595"/>
                  <a:gd name="connsiteX9" fmla="*/ 0 w 278305"/>
                  <a:gd name="connsiteY9" fmla="*/ 151578 h 2195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78305" h="219595">
                    <a:moveTo>
                      <a:pt x="0" y="47331"/>
                    </a:moveTo>
                    <a:lnTo>
                      <a:pt x="0" y="23929"/>
                    </a:lnTo>
                    <a:cubicBezTo>
                      <a:pt x="0" y="10768"/>
                      <a:pt x="10768" y="0"/>
                      <a:pt x="23929" y="0"/>
                    </a:cubicBezTo>
                    <a:lnTo>
                      <a:pt x="254376" y="0"/>
                    </a:lnTo>
                    <a:cubicBezTo>
                      <a:pt x="267537" y="0"/>
                      <a:pt x="278305" y="10768"/>
                      <a:pt x="278305" y="23929"/>
                    </a:cubicBezTo>
                    <a:lnTo>
                      <a:pt x="278305" y="195666"/>
                    </a:lnTo>
                    <a:cubicBezTo>
                      <a:pt x="278305" y="208827"/>
                      <a:pt x="267537" y="219595"/>
                      <a:pt x="254376" y="219595"/>
                    </a:cubicBezTo>
                    <a:lnTo>
                      <a:pt x="23929" y="219595"/>
                    </a:lnTo>
                    <a:cubicBezTo>
                      <a:pt x="10768" y="219595"/>
                      <a:pt x="0" y="208827"/>
                      <a:pt x="0" y="195666"/>
                    </a:cubicBezTo>
                    <a:lnTo>
                      <a:pt x="0" y="151578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021" name="Forma livre: Forma 1020">
                <a:extLst>
                  <a:ext uri="{FF2B5EF4-FFF2-40B4-BE49-F238E27FC236}">
                    <a16:creationId xmlns:a16="http://schemas.microsoft.com/office/drawing/2014/main" id="{64EB0602-16C6-F805-CA19-1D9CFACF6541}"/>
                  </a:ext>
                </a:extLst>
              </p:cNvPr>
              <p:cNvSpPr/>
              <p:nvPr/>
            </p:nvSpPr>
            <p:spPr>
              <a:xfrm>
                <a:off x="7944412" y="3217194"/>
                <a:ext cx="1196" cy="62789"/>
              </a:xfrm>
              <a:custGeom>
                <a:avLst/>
                <a:gdLst>
                  <a:gd name="connsiteX0" fmla="*/ 0 w 1196"/>
                  <a:gd name="connsiteY0" fmla="*/ 62789 h 62789"/>
                  <a:gd name="connsiteX1" fmla="*/ 0 w 1196"/>
                  <a:gd name="connsiteY1" fmla="*/ 0 h 627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6" h="62789">
                    <a:moveTo>
                      <a:pt x="0" y="62789"/>
                    </a:moveTo>
                    <a:lnTo>
                      <a:pt x="0" y="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022" name="Forma livre: Forma 1021">
              <a:extLst>
                <a:ext uri="{FF2B5EF4-FFF2-40B4-BE49-F238E27FC236}">
                  <a16:creationId xmlns:a16="http://schemas.microsoft.com/office/drawing/2014/main" id="{2EC789D2-C216-1C61-D000-7472911C0E51}"/>
                </a:ext>
              </a:extLst>
            </p:cNvPr>
            <p:cNvSpPr/>
            <p:nvPr/>
          </p:nvSpPr>
          <p:spPr>
            <a:xfrm>
              <a:off x="8190461" y="3211307"/>
              <a:ext cx="1196" cy="95715"/>
            </a:xfrm>
            <a:custGeom>
              <a:avLst/>
              <a:gdLst>
                <a:gd name="connsiteX0" fmla="*/ 0 w 1196"/>
                <a:gd name="connsiteY0" fmla="*/ 0 h 95715"/>
                <a:gd name="connsiteX1" fmla="*/ 0 w 1196"/>
                <a:gd name="connsiteY1" fmla="*/ 95716 h 957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96" h="95715">
                  <a:moveTo>
                    <a:pt x="0" y="0"/>
                  </a:moveTo>
                  <a:lnTo>
                    <a:pt x="0" y="95716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023" name="Gráfico 10">
              <a:extLst>
                <a:ext uri="{FF2B5EF4-FFF2-40B4-BE49-F238E27FC236}">
                  <a16:creationId xmlns:a16="http://schemas.microsoft.com/office/drawing/2014/main" id="{751B4D44-ADE1-D47E-8572-7EB523BEDA5C}"/>
                </a:ext>
              </a:extLst>
            </p:cNvPr>
            <p:cNvGrpSpPr/>
            <p:nvPr/>
          </p:nvGrpSpPr>
          <p:grpSpPr>
            <a:xfrm>
              <a:off x="8012382" y="3187977"/>
              <a:ext cx="142376" cy="142376"/>
              <a:chOff x="8012382" y="3187977"/>
              <a:chExt cx="142376" cy="142376"/>
            </a:xfrm>
            <a:noFill/>
          </p:grpSpPr>
          <p:sp>
            <p:nvSpPr>
              <p:cNvPr id="1024" name="Forma livre: Forma 1023">
                <a:extLst>
                  <a:ext uri="{FF2B5EF4-FFF2-40B4-BE49-F238E27FC236}">
                    <a16:creationId xmlns:a16="http://schemas.microsoft.com/office/drawing/2014/main" id="{B523E95B-4A6B-B7F4-7758-613A11A9DABD}"/>
                  </a:ext>
                </a:extLst>
              </p:cNvPr>
              <p:cNvSpPr/>
              <p:nvPr/>
            </p:nvSpPr>
            <p:spPr>
              <a:xfrm>
                <a:off x="8035712" y="3211307"/>
                <a:ext cx="95715" cy="95715"/>
              </a:xfrm>
              <a:custGeom>
                <a:avLst/>
                <a:gdLst>
                  <a:gd name="connsiteX0" fmla="*/ 95716 w 95715"/>
                  <a:gd name="connsiteY0" fmla="*/ 47858 h 95715"/>
                  <a:gd name="connsiteX1" fmla="*/ 47858 w 95715"/>
                  <a:gd name="connsiteY1" fmla="*/ 95716 h 95715"/>
                  <a:gd name="connsiteX2" fmla="*/ 0 w 95715"/>
                  <a:gd name="connsiteY2" fmla="*/ 47858 h 95715"/>
                  <a:gd name="connsiteX3" fmla="*/ 47858 w 95715"/>
                  <a:gd name="connsiteY3" fmla="*/ 0 h 95715"/>
                  <a:gd name="connsiteX4" fmla="*/ 95716 w 95715"/>
                  <a:gd name="connsiteY4" fmla="*/ 47858 h 957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95715" h="95715">
                    <a:moveTo>
                      <a:pt x="95716" y="47858"/>
                    </a:moveTo>
                    <a:cubicBezTo>
                      <a:pt x="95716" y="74289"/>
                      <a:pt x="74289" y="95716"/>
                      <a:pt x="47858" y="95716"/>
                    </a:cubicBezTo>
                    <a:cubicBezTo>
                      <a:pt x="21427" y="95716"/>
                      <a:pt x="0" y="74289"/>
                      <a:pt x="0" y="47858"/>
                    </a:cubicBezTo>
                    <a:cubicBezTo>
                      <a:pt x="0" y="21427"/>
                      <a:pt x="21427" y="0"/>
                      <a:pt x="47858" y="0"/>
                    </a:cubicBezTo>
                    <a:cubicBezTo>
                      <a:pt x="74289" y="0"/>
                      <a:pt x="95716" y="21427"/>
                      <a:pt x="95716" y="47858"/>
                    </a:cubicBezTo>
                    <a:close/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025" name="Forma livre: Forma 1024">
                <a:extLst>
                  <a:ext uri="{FF2B5EF4-FFF2-40B4-BE49-F238E27FC236}">
                    <a16:creationId xmlns:a16="http://schemas.microsoft.com/office/drawing/2014/main" id="{C9731D67-B7E4-2C4F-7B77-2D9BC4251B58}"/>
                  </a:ext>
                </a:extLst>
              </p:cNvPr>
              <p:cNvSpPr/>
              <p:nvPr/>
            </p:nvSpPr>
            <p:spPr>
              <a:xfrm>
                <a:off x="8059641" y="3235236"/>
                <a:ext cx="47857" cy="47857"/>
              </a:xfrm>
              <a:custGeom>
                <a:avLst/>
                <a:gdLst>
                  <a:gd name="connsiteX0" fmla="*/ 23929 w 47857"/>
                  <a:gd name="connsiteY0" fmla="*/ 0 h 47857"/>
                  <a:gd name="connsiteX1" fmla="*/ 47858 w 47857"/>
                  <a:gd name="connsiteY1" fmla="*/ 23929 h 47857"/>
                  <a:gd name="connsiteX2" fmla="*/ 23929 w 47857"/>
                  <a:gd name="connsiteY2" fmla="*/ 47858 h 47857"/>
                  <a:gd name="connsiteX3" fmla="*/ 0 w 47857"/>
                  <a:gd name="connsiteY3" fmla="*/ 23929 h 478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7857" h="47857">
                    <a:moveTo>
                      <a:pt x="23929" y="0"/>
                    </a:moveTo>
                    <a:cubicBezTo>
                      <a:pt x="37150" y="0"/>
                      <a:pt x="47858" y="10708"/>
                      <a:pt x="47858" y="23929"/>
                    </a:cubicBezTo>
                    <a:cubicBezTo>
                      <a:pt x="47858" y="37150"/>
                      <a:pt x="37150" y="47858"/>
                      <a:pt x="23929" y="47858"/>
                    </a:cubicBezTo>
                    <a:cubicBezTo>
                      <a:pt x="10708" y="47858"/>
                      <a:pt x="0" y="37150"/>
                      <a:pt x="0" y="23929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1026" name="Gráfico 10">
                <a:extLst>
                  <a:ext uri="{FF2B5EF4-FFF2-40B4-BE49-F238E27FC236}">
                    <a16:creationId xmlns:a16="http://schemas.microsoft.com/office/drawing/2014/main" id="{0622A2E6-02CF-5057-8EC8-A7B09320CEB1}"/>
                  </a:ext>
                </a:extLst>
              </p:cNvPr>
              <p:cNvGrpSpPr/>
              <p:nvPr/>
            </p:nvGrpSpPr>
            <p:grpSpPr>
              <a:xfrm>
                <a:off x="8083570" y="3187977"/>
                <a:ext cx="1196" cy="142376"/>
                <a:chOff x="8083570" y="3187977"/>
                <a:chExt cx="1196" cy="142376"/>
              </a:xfrm>
            </p:grpSpPr>
            <p:sp>
              <p:nvSpPr>
                <p:cNvPr id="1027" name="Forma livre: Forma 1026">
                  <a:extLst>
                    <a:ext uri="{FF2B5EF4-FFF2-40B4-BE49-F238E27FC236}">
                      <a16:creationId xmlns:a16="http://schemas.microsoft.com/office/drawing/2014/main" id="{0D930E09-12E8-53E8-06D7-7E17DF6A3290}"/>
                    </a:ext>
                  </a:extLst>
                </p:cNvPr>
                <p:cNvSpPr/>
                <p:nvPr/>
              </p:nvSpPr>
              <p:spPr>
                <a:xfrm>
                  <a:off x="8083570" y="3187977"/>
                  <a:ext cx="1196" cy="22732"/>
                </a:xfrm>
                <a:custGeom>
                  <a:avLst/>
                  <a:gdLst>
                    <a:gd name="connsiteX0" fmla="*/ 0 w 1196"/>
                    <a:gd name="connsiteY0" fmla="*/ 22733 h 22732"/>
                    <a:gd name="connsiteX1" fmla="*/ 0 w 1196"/>
                    <a:gd name="connsiteY1" fmla="*/ 0 h 2273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196" h="22732">
                      <a:moveTo>
                        <a:pt x="0" y="22733"/>
                      </a:moveTo>
                      <a:lnTo>
                        <a:pt x="0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028" name="Forma livre: Forma 1027">
                  <a:extLst>
                    <a:ext uri="{FF2B5EF4-FFF2-40B4-BE49-F238E27FC236}">
                      <a16:creationId xmlns:a16="http://schemas.microsoft.com/office/drawing/2014/main" id="{44E4D764-C3DD-4B20-AE3E-E43DC403DA7C}"/>
                    </a:ext>
                  </a:extLst>
                </p:cNvPr>
                <p:cNvSpPr/>
                <p:nvPr/>
              </p:nvSpPr>
              <p:spPr>
                <a:xfrm>
                  <a:off x="8083570" y="3307621"/>
                  <a:ext cx="1196" cy="22732"/>
                </a:xfrm>
                <a:custGeom>
                  <a:avLst/>
                  <a:gdLst>
                    <a:gd name="connsiteX0" fmla="*/ 0 w 1196"/>
                    <a:gd name="connsiteY0" fmla="*/ 22733 h 22732"/>
                    <a:gd name="connsiteX1" fmla="*/ 0 w 1196"/>
                    <a:gd name="connsiteY1" fmla="*/ 0 h 2273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196" h="22732">
                      <a:moveTo>
                        <a:pt x="0" y="22733"/>
                      </a:moveTo>
                      <a:lnTo>
                        <a:pt x="0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1029" name="Gráfico 10">
                <a:extLst>
                  <a:ext uri="{FF2B5EF4-FFF2-40B4-BE49-F238E27FC236}">
                    <a16:creationId xmlns:a16="http://schemas.microsoft.com/office/drawing/2014/main" id="{DFD2E653-8C41-FE5C-E02F-8B630CA804E0}"/>
                  </a:ext>
                </a:extLst>
              </p:cNvPr>
              <p:cNvGrpSpPr/>
              <p:nvPr/>
            </p:nvGrpSpPr>
            <p:grpSpPr>
              <a:xfrm>
                <a:off x="8033224" y="3208831"/>
                <a:ext cx="100680" cy="100668"/>
                <a:chOff x="8033224" y="3208831"/>
                <a:chExt cx="100680" cy="100668"/>
              </a:xfrm>
            </p:grpSpPr>
            <p:sp>
              <p:nvSpPr>
                <p:cNvPr id="1030" name="Forma livre: Forma 1029">
                  <a:extLst>
                    <a:ext uri="{FF2B5EF4-FFF2-40B4-BE49-F238E27FC236}">
                      <a16:creationId xmlns:a16="http://schemas.microsoft.com/office/drawing/2014/main" id="{5FD8DED4-CE05-9251-A644-8DC6FDC616BF}"/>
                    </a:ext>
                  </a:extLst>
                </p:cNvPr>
                <p:cNvSpPr/>
                <p:nvPr/>
              </p:nvSpPr>
              <p:spPr>
                <a:xfrm>
                  <a:off x="8033224" y="3208831"/>
                  <a:ext cx="16068" cy="16068"/>
                </a:xfrm>
                <a:custGeom>
                  <a:avLst/>
                  <a:gdLst>
                    <a:gd name="connsiteX0" fmla="*/ 16068 w 16068"/>
                    <a:gd name="connsiteY0" fmla="*/ 16068 h 16068"/>
                    <a:gd name="connsiteX1" fmla="*/ 0 w 16068"/>
                    <a:gd name="connsiteY1" fmla="*/ 0 h 1606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6068" h="16068">
                      <a:moveTo>
                        <a:pt x="16068" y="16068"/>
                      </a:moveTo>
                      <a:lnTo>
                        <a:pt x="0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031" name="Forma livre: Forma 1030">
                  <a:extLst>
                    <a:ext uri="{FF2B5EF4-FFF2-40B4-BE49-F238E27FC236}">
                      <a16:creationId xmlns:a16="http://schemas.microsoft.com/office/drawing/2014/main" id="{9C5F9412-6B44-6F79-53E1-20421C509F87}"/>
                    </a:ext>
                  </a:extLst>
                </p:cNvPr>
                <p:cNvSpPr/>
                <p:nvPr/>
              </p:nvSpPr>
              <p:spPr>
                <a:xfrm>
                  <a:off x="8117824" y="3293431"/>
                  <a:ext cx="16080" cy="16068"/>
                </a:xfrm>
                <a:custGeom>
                  <a:avLst/>
                  <a:gdLst>
                    <a:gd name="connsiteX0" fmla="*/ 16080 w 16080"/>
                    <a:gd name="connsiteY0" fmla="*/ 16068 h 16068"/>
                    <a:gd name="connsiteX1" fmla="*/ 0 w 16080"/>
                    <a:gd name="connsiteY1" fmla="*/ 0 h 1606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6080" h="16068">
                      <a:moveTo>
                        <a:pt x="16080" y="16068"/>
                      </a:moveTo>
                      <a:lnTo>
                        <a:pt x="0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1032" name="Gráfico 10">
                <a:extLst>
                  <a:ext uri="{FF2B5EF4-FFF2-40B4-BE49-F238E27FC236}">
                    <a16:creationId xmlns:a16="http://schemas.microsoft.com/office/drawing/2014/main" id="{95127D44-6DBC-8F4D-B7B2-206613166F39}"/>
                  </a:ext>
                </a:extLst>
              </p:cNvPr>
              <p:cNvGrpSpPr/>
              <p:nvPr/>
            </p:nvGrpSpPr>
            <p:grpSpPr>
              <a:xfrm>
                <a:off x="8012382" y="3259165"/>
                <a:ext cx="142376" cy="1196"/>
                <a:chOff x="8012382" y="3259165"/>
                <a:chExt cx="142376" cy="1196"/>
              </a:xfrm>
            </p:grpSpPr>
            <p:sp>
              <p:nvSpPr>
                <p:cNvPr id="1033" name="Forma livre: Forma 1032">
                  <a:extLst>
                    <a:ext uri="{FF2B5EF4-FFF2-40B4-BE49-F238E27FC236}">
                      <a16:creationId xmlns:a16="http://schemas.microsoft.com/office/drawing/2014/main" id="{EB5BF502-572B-F78A-03AF-0B63730F83CE}"/>
                    </a:ext>
                  </a:extLst>
                </p:cNvPr>
                <p:cNvSpPr/>
                <p:nvPr/>
              </p:nvSpPr>
              <p:spPr>
                <a:xfrm>
                  <a:off x="8132026" y="3259165"/>
                  <a:ext cx="22732" cy="1196"/>
                </a:xfrm>
                <a:custGeom>
                  <a:avLst/>
                  <a:gdLst>
                    <a:gd name="connsiteX0" fmla="*/ 0 w 22732"/>
                    <a:gd name="connsiteY0" fmla="*/ 0 h 1196"/>
                    <a:gd name="connsiteX1" fmla="*/ 22732 w 22732"/>
                    <a:gd name="connsiteY1" fmla="*/ 0 h 119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2732" h="1196">
                      <a:moveTo>
                        <a:pt x="0" y="0"/>
                      </a:moveTo>
                      <a:lnTo>
                        <a:pt x="22732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034" name="Forma livre: Forma 1033">
                  <a:extLst>
                    <a:ext uri="{FF2B5EF4-FFF2-40B4-BE49-F238E27FC236}">
                      <a16:creationId xmlns:a16="http://schemas.microsoft.com/office/drawing/2014/main" id="{C28C10E9-B007-B247-EC54-FAF0E0E97002}"/>
                    </a:ext>
                  </a:extLst>
                </p:cNvPr>
                <p:cNvSpPr/>
                <p:nvPr/>
              </p:nvSpPr>
              <p:spPr>
                <a:xfrm>
                  <a:off x="8012382" y="3259165"/>
                  <a:ext cx="22732" cy="1196"/>
                </a:xfrm>
                <a:custGeom>
                  <a:avLst/>
                  <a:gdLst>
                    <a:gd name="connsiteX0" fmla="*/ 0 w 22732"/>
                    <a:gd name="connsiteY0" fmla="*/ 0 h 1196"/>
                    <a:gd name="connsiteX1" fmla="*/ 22732 w 22732"/>
                    <a:gd name="connsiteY1" fmla="*/ 0 h 119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2732" h="1196">
                      <a:moveTo>
                        <a:pt x="0" y="0"/>
                      </a:moveTo>
                      <a:lnTo>
                        <a:pt x="22732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1035" name="Gráfico 10">
                <a:extLst>
                  <a:ext uri="{FF2B5EF4-FFF2-40B4-BE49-F238E27FC236}">
                    <a16:creationId xmlns:a16="http://schemas.microsoft.com/office/drawing/2014/main" id="{E54D7CC6-8D47-19D0-1899-B75E2F88026F}"/>
                  </a:ext>
                </a:extLst>
              </p:cNvPr>
              <p:cNvGrpSpPr/>
              <p:nvPr/>
            </p:nvGrpSpPr>
            <p:grpSpPr>
              <a:xfrm>
                <a:off x="8033224" y="3208831"/>
                <a:ext cx="100680" cy="100668"/>
                <a:chOff x="8033224" y="3208831"/>
                <a:chExt cx="100680" cy="100668"/>
              </a:xfrm>
            </p:grpSpPr>
            <p:sp>
              <p:nvSpPr>
                <p:cNvPr id="1036" name="Forma livre: Forma 1035">
                  <a:extLst>
                    <a:ext uri="{FF2B5EF4-FFF2-40B4-BE49-F238E27FC236}">
                      <a16:creationId xmlns:a16="http://schemas.microsoft.com/office/drawing/2014/main" id="{A30B2E0D-4810-6C8D-8421-F4247BC6E201}"/>
                    </a:ext>
                  </a:extLst>
                </p:cNvPr>
                <p:cNvSpPr/>
                <p:nvPr/>
              </p:nvSpPr>
              <p:spPr>
                <a:xfrm>
                  <a:off x="8117824" y="3208831"/>
                  <a:ext cx="16080" cy="16068"/>
                </a:xfrm>
                <a:custGeom>
                  <a:avLst/>
                  <a:gdLst>
                    <a:gd name="connsiteX0" fmla="*/ 0 w 16080"/>
                    <a:gd name="connsiteY0" fmla="*/ 16068 h 16068"/>
                    <a:gd name="connsiteX1" fmla="*/ 16080 w 16080"/>
                    <a:gd name="connsiteY1" fmla="*/ 0 h 1606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6080" h="16068">
                      <a:moveTo>
                        <a:pt x="0" y="16068"/>
                      </a:moveTo>
                      <a:lnTo>
                        <a:pt x="16080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037" name="Forma livre: Forma 1036">
                  <a:extLst>
                    <a:ext uri="{FF2B5EF4-FFF2-40B4-BE49-F238E27FC236}">
                      <a16:creationId xmlns:a16="http://schemas.microsoft.com/office/drawing/2014/main" id="{EA30C236-7CC2-3C17-85C4-3491167FE9F0}"/>
                    </a:ext>
                  </a:extLst>
                </p:cNvPr>
                <p:cNvSpPr/>
                <p:nvPr/>
              </p:nvSpPr>
              <p:spPr>
                <a:xfrm>
                  <a:off x="8033224" y="3293431"/>
                  <a:ext cx="16080" cy="16068"/>
                </a:xfrm>
                <a:custGeom>
                  <a:avLst/>
                  <a:gdLst>
                    <a:gd name="connsiteX0" fmla="*/ 0 w 16080"/>
                    <a:gd name="connsiteY0" fmla="*/ 16068 h 16068"/>
                    <a:gd name="connsiteX1" fmla="*/ 16080 w 16080"/>
                    <a:gd name="connsiteY1" fmla="*/ 0 h 1606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6080" h="16068">
                      <a:moveTo>
                        <a:pt x="0" y="16068"/>
                      </a:moveTo>
                      <a:lnTo>
                        <a:pt x="16080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grpSp>
          <p:nvGrpSpPr>
            <p:cNvPr id="1038" name="Gráfico 10">
              <a:extLst>
                <a:ext uri="{FF2B5EF4-FFF2-40B4-BE49-F238E27FC236}">
                  <a16:creationId xmlns:a16="http://schemas.microsoft.com/office/drawing/2014/main" id="{4F8733FA-8DF5-4728-7500-012A6D769A7E}"/>
                </a:ext>
              </a:extLst>
            </p:cNvPr>
            <p:cNvGrpSpPr/>
            <p:nvPr/>
          </p:nvGrpSpPr>
          <p:grpSpPr>
            <a:xfrm>
              <a:off x="7929624" y="3217768"/>
              <a:ext cx="40679" cy="82793"/>
              <a:chOff x="7929624" y="3217768"/>
              <a:chExt cx="40679" cy="82793"/>
            </a:xfrm>
          </p:grpSpPr>
          <p:sp>
            <p:nvSpPr>
              <p:cNvPr id="1039" name="Forma livre: Forma 1038">
                <a:extLst>
                  <a:ext uri="{FF2B5EF4-FFF2-40B4-BE49-F238E27FC236}">
                    <a16:creationId xmlns:a16="http://schemas.microsoft.com/office/drawing/2014/main" id="{34919823-92EF-DB1C-73D3-65AFE0FE683D}"/>
                  </a:ext>
                </a:extLst>
              </p:cNvPr>
              <p:cNvSpPr/>
              <p:nvPr/>
            </p:nvSpPr>
            <p:spPr>
              <a:xfrm>
                <a:off x="7929624" y="3217768"/>
                <a:ext cx="40679" cy="1196"/>
              </a:xfrm>
              <a:custGeom>
                <a:avLst/>
                <a:gdLst>
                  <a:gd name="connsiteX0" fmla="*/ 0 w 40679"/>
                  <a:gd name="connsiteY0" fmla="*/ 0 h 1196"/>
                  <a:gd name="connsiteX1" fmla="*/ 40679 w 40679"/>
                  <a:gd name="connsiteY1" fmla="*/ 0 h 11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0679" h="1196">
                    <a:moveTo>
                      <a:pt x="0" y="0"/>
                    </a:moveTo>
                    <a:lnTo>
                      <a:pt x="40679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040" name="Forma livre: Forma 1039">
                <a:extLst>
                  <a:ext uri="{FF2B5EF4-FFF2-40B4-BE49-F238E27FC236}">
                    <a16:creationId xmlns:a16="http://schemas.microsoft.com/office/drawing/2014/main" id="{EDF527AA-F5D5-438D-ED99-D36A6EA0E922}"/>
                  </a:ext>
                </a:extLst>
              </p:cNvPr>
              <p:cNvSpPr/>
              <p:nvPr/>
            </p:nvSpPr>
            <p:spPr>
              <a:xfrm>
                <a:off x="7929624" y="3300562"/>
                <a:ext cx="40679" cy="1196"/>
              </a:xfrm>
              <a:custGeom>
                <a:avLst/>
                <a:gdLst>
                  <a:gd name="connsiteX0" fmla="*/ 0 w 40679"/>
                  <a:gd name="connsiteY0" fmla="*/ 0 h 1196"/>
                  <a:gd name="connsiteX1" fmla="*/ 40679 w 40679"/>
                  <a:gd name="connsiteY1" fmla="*/ 0 h 11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0679" h="1196">
                    <a:moveTo>
                      <a:pt x="0" y="0"/>
                    </a:moveTo>
                    <a:lnTo>
                      <a:pt x="40679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042" name="Gráfico 11">
            <a:extLst>
              <a:ext uri="{FF2B5EF4-FFF2-40B4-BE49-F238E27FC236}">
                <a16:creationId xmlns:a16="http://schemas.microsoft.com/office/drawing/2014/main" id="{7A9FBC87-98A4-A744-E7CD-94ACC6CE3D95}"/>
              </a:ext>
            </a:extLst>
          </p:cNvPr>
          <p:cNvGrpSpPr/>
          <p:nvPr/>
        </p:nvGrpSpPr>
        <p:grpSpPr>
          <a:xfrm>
            <a:off x="9728520" y="992144"/>
            <a:ext cx="368120" cy="276149"/>
            <a:chOff x="9728520" y="992144"/>
            <a:chExt cx="368120" cy="276149"/>
          </a:xfrm>
          <a:noFill/>
        </p:grpSpPr>
        <p:grpSp>
          <p:nvGrpSpPr>
            <p:cNvPr id="1043" name="Gráfico 11">
              <a:extLst>
                <a:ext uri="{FF2B5EF4-FFF2-40B4-BE49-F238E27FC236}">
                  <a16:creationId xmlns:a16="http://schemas.microsoft.com/office/drawing/2014/main" id="{C2417111-DB40-DF85-C1EA-4C2054EBC136}"/>
                </a:ext>
              </a:extLst>
            </p:cNvPr>
            <p:cNvGrpSpPr/>
            <p:nvPr/>
          </p:nvGrpSpPr>
          <p:grpSpPr>
            <a:xfrm>
              <a:off x="9934838" y="1106480"/>
              <a:ext cx="161801" cy="161813"/>
              <a:chOff x="9934838" y="1106480"/>
              <a:chExt cx="161801" cy="161813"/>
            </a:xfrm>
            <a:noFill/>
          </p:grpSpPr>
          <p:sp>
            <p:nvSpPr>
              <p:cNvPr id="1044" name="Forma livre: Forma 1043">
                <a:extLst>
                  <a:ext uri="{FF2B5EF4-FFF2-40B4-BE49-F238E27FC236}">
                    <a16:creationId xmlns:a16="http://schemas.microsoft.com/office/drawing/2014/main" id="{D84B572C-BB18-6A1D-DEBC-8F0E2CAEA5C9}"/>
                  </a:ext>
                </a:extLst>
              </p:cNvPr>
              <p:cNvSpPr/>
              <p:nvPr/>
            </p:nvSpPr>
            <p:spPr>
              <a:xfrm>
                <a:off x="9934838" y="1106480"/>
                <a:ext cx="161801" cy="161813"/>
              </a:xfrm>
              <a:custGeom>
                <a:avLst/>
                <a:gdLst>
                  <a:gd name="connsiteX0" fmla="*/ 52075 w 161801"/>
                  <a:gd name="connsiteY0" fmla="*/ 27345 h 161813"/>
                  <a:gd name="connsiteX1" fmla="*/ 38235 w 161801"/>
                  <a:gd name="connsiteY1" fmla="*/ 37555 h 161813"/>
                  <a:gd name="connsiteX2" fmla="*/ 17828 w 161801"/>
                  <a:gd name="connsiteY2" fmla="*/ 29566 h 161813"/>
                  <a:gd name="connsiteX3" fmla="*/ 5982 w 161801"/>
                  <a:gd name="connsiteY3" fmla="*/ 49245 h 161813"/>
                  <a:gd name="connsiteX4" fmla="*/ 22605 w 161801"/>
                  <a:gd name="connsiteY4" fmla="*/ 63539 h 161813"/>
                  <a:gd name="connsiteX5" fmla="*/ 20073 w 161801"/>
                  <a:gd name="connsiteY5" fmla="*/ 80423 h 161813"/>
                  <a:gd name="connsiteX6" fmla="*/ 0 w 161801"/>
                  <a:gd name="connsiteY6" fmla="*/ 89212 h 161813"/>
                  <a:gd name="connsiteX7" fmla="*/ 5541 w 161801"/>
                  <a:gd name="connsiteY7" fmla="*/ 111506 h 161813"/>
                  <a:gd name="connsiteX8" fmla="*/ 27393 w 161801"/>
                  <a:gd name="connsiteY8" fmla="*/ 109858 h 161813"/>
                  <a:gd name="connsiteX9" fmla="*/ 37626 w 161801"/>
                  <a:gd name="connsiteY9" fmla="*/ 123674 h 161813"/>
                  <a:gd name="connsiteX10" fmla="*/ 29542 w 161801"/>
                  <a:gd name="connsiteY10" fmla="*/ 143986 h 161813"/>
                  <a:gd name="connsiteX11" fmla="*/ 49233 w 161801"/>
                  <a:gd name="connsiteY11" fmla="*/ 155831 h 161813"/>
                  <a:gd name="connsiteX12" fmla="*/ 63395 w 161801"/>
                  <a:gd name="connsiteY12" fmla="*/ 139162 h 161813"/>
                  <a:gd name="connsiteX13" fmla="*/ 80388 w 161801"/>
                  <a:gd name="connsiteY13" fmla="*/ 141729 h 161813"/>
                  <a:gd name="connsiteX14" fmla="*/ 89176 w 161801"/>
                  <a:gd name="connsiteY14" fmla="*/ 161814 h 161813"/>
                  <a:gd name="connsiteX15" fmla="*/ 111470 w 161801"/>
                  <a:gd name="connsiteY15" fmla="*/ 156273 h 161813"/>
                  <a:gd name="connsiteX16" fmla="*/ 109822 w 161801"/>
                  <a:gd name="connsiteY16" fmla="*/ 134409 h 161813"/>
                  <a:gd name="connsiteX17" fmla="*/ 123638 w 161801"/>
                  <a:gd name="connsiteY17" fmla="*/ 124175 h 161813"/>
                  <a:gd name="connsiteX18" fmla="*/ 143962 w 161801"/>
                  <a:gd name="connsiteY18" fmla="*/ 132272 h 161813"/>
                  <a:gd name="connsiteX19" fmla="*/ 155808 w 161801"/>
                  <a:gd name="connsiteY19" fmla="*/ 112581 h 161813"/>
                  <a:gd name="connsiteX20" fmla="*/ 139150 w 161801"/>
                  <a:gd name="connsiteY20" fmla="*/ 98419 h 161813"/>
                  <a:gd name="connsiteX21" fmla="*/ 141717 w 161801"/>
                  <a:gd name="connsiteY21" fmla="*/ 81271 h 161813"/>
                  <a:gd name="connsiteX22" fmla="*/ 161802 w 161801"/>
                  <a:gd name="connsiteY22" fmla="*/ 72626 h 161813"/>
                  <a:gd name="connsiteX23" fmla="*/ 156261 w 161801"/>
                  <a:gd name="connsiteY23" fmla="*/ 50332 h 161813"/>
                  <a:gd name="connsiteX24" fmla="*/ 134469 w 161801"/>
                  <a:gd name="connsiteY24" fmla="*/ 52087 h 161813"/>
                  <a:gd name="connsiteX25" fmla="*/ 124271 w 161801"/>
                  <a:gd name="connsiteY25" fmla="*/ 38235 h 161813"/>
                  <a:gd name="connsiteX26" fmla="*/ 132260 w 161801"/>
                  <a:gd name="connsiteY26" fmla="*/ 17840 h 161813"/>
                  <a:gd name="connsiteX27" fmla="*/ 112581 w 161801"/>
                  <a:gd name="connsiteY27" fmla="*/ 6006 h 161813"/>
                  <a:gd name="connsiteX28" fmla="*/ 98287 w 161801"/>
                  <a:gd name="connsiteY28" fmla="*/ 22616 h 161813"/>
                  <a:gd name="connsiteX29" fmla="*/ 81271 w 161801"/>
                  <a:gd name="connsiteY29" fmla="*/ 20085 h 161813"/>
                  <a:gd name="connsiteX30" fmla="*/ 72626 w 161801"/>
                  <a:gd name="connsiteY30" fmla="*/ 0 h 161813"/>
                  <a:gd name="connsiteX31" fmla="*/ 50332 w 161801"/>
                  <a:gd name="connsiteY31" fmla="*/ 5541 h 1618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</a:cxnLst>
                <a:rect l="l" t="t" r="r" b="b"/>
                <a:pathLst>
                  <a:path w="161801" h="161813">
                    <a:moveTo>
                      <a:pt x="52075" y="27345"/>
                    </a:moveTo>
                    <a:cubicBezTo>
                      <a:pt x="46929" y="30115"/>
                      <a:pt x="42283" y="33554"/>
                      <a:pt x="38235" y="37555"/>
                    </a:cubicBezTo>
                    <a:lnTo>
                      <a:pt x="17828" y="29566"/>
                    </a:lnTo>
                    <a:lnTo>
                      <a:pt x="5982" y="49245"/>
                    </a:lnTo>
                    <a:lnTo>
                      <a:pt x="22605" y="63539"/>
                    </a:lnTo>
                    <a:cubicBezTo>
                      <a:pt x="20981" y="68948"/>
                      <a:pt x="20109" y="74632"/>
                      <a:pt x="20073" y="80423"/>
                    </a:cubicBezTo>
                    <a:lnTo>
                      <a:pt x="0" y="89212"/>
                    </a:lnTo>
                    <a:lnTo>
                      <a:pt x="5541" y="111506"/>
                    </a:lnTo>
                    <a:lnTo>
                      <a:pt x="27393" y="109858"/>
                    </a:lnTo>
                    <a:cubicBezTo>
                      <a:pt x="30163" y="114993"/>
                      <a:pt x="33614" y="119626"/>
                      <a:pt x="37626" y="123674"/>
                    </a:cubicBezTo>
                    <a:lnTo>
                      <a:pt x="29542" y="143986"/>
                    </a:lnTo>
                    <a:lnTo>
                      <a:pt x="49233" y="155831"/>
                    </a:lnTo>
                    <a:lnTo>
                      <a:pt x="63395" y="139162"/>
                    </a:lnTo>
                    <a:cubicBezTo>
                      <a:pt x="68840" y="140809"/>
                      <a:pt x="74560" y="141693"/>
                      <a:pt x="80388" y="141729"/>
                    </a:cubicBezTo>
                    <a:lnTo>
                      <a:pt x="89176" y="161814"/>
                    </a:lnTo>
                    <a:lnTo>
                      <a:pt x="111470" y="156273"/>
                    </a:lnTo>
                    <a:lnTo>
                      <a:pt x="109822" y="134409"/>
                    </a:lnTo>
                    <a:cubicBezTo>
                      <a:pt x="114957" y="131639"/>
                      <a:pt x="119590" y="128188"/>
                      <a:pt x="123638" y="124175"/>
                    </a:cubicBezTo>
                    <a:lnTo>
                      <a:pt x="143962" y="132272"/>
                    </a:lnTo>
                    <a:lnTo>
                      <a:pt x="155808" y="112581"/>
                    </a:lnTo>
                    <a:lnTo>
                      <a:pt x="139150" y="98419"/>
                    </a:lnTo>
                    <a:cubicBezTo>
                      <a:pt x="140809" y="92914"/>
                      <a:pt x="141681" y="87158"/>
                      <a:pt x="141717" y="81271"/>
                    </a:cubicBezTo>
                    <a:lnTo>
                      <a:pt x="161802" y="72626"/>
                    </a:lnTo>
                    <a:lnTo>
                      <a:pt x="156261" y="50332"/>
                    </a:lnTo>
                    <a:lnTo>
                      <a:pt x="134469" y="52087"/>
                    </a:lnTo>
                    <a:cubicBezTo>
                      <a:pt x="131710" y="46929"/>
                      <a:pt x="128271" y="42295"/>
                      <a:pt x="124271" y="38235"/>
                    </a:cubicBezTo>
                    <a:lnTo>
                      <a:pt x="132260" y="17840"/>
                    </a:lnTo>
                    <a:lnTo>
                      <a:pt x="112581" y="6006"/>
                    </a:lnTo>
                    <a:lnTo>
                      <a:pt x="98287" y="22616"/>
                    </a:lnTo>
                    <a:cubicBezTo>
                      <a:pt x="92830" y="20981"/>
                      <a:pt x="87110" y="20121"/>
                      <a:pt x="81271" y="20085"/>
                    </a:cubicBezTo>
                    <a:lnTo>
                      <a:pt x="72626" y="0"/>
                    </a:lnTo>
                    <a:lnTo>
                      <a:pt x="50332" y="5541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045" name="Forma livre: Forma 1044">
                <a:extLst>
                  <a:ext uri="{FF2B5EF4-FFF2-40B4-BE49-F238E27FC236}">
                    <a16:creationId xmlns:a16="http://schemas.microsoft.com/office/drawing/2014/main" id="{1D8BBE6A-63AC-D6E6-6182-575C888A2C5E}"/>
                  </a:ext>
                </a:extLst>
              </p:cNvPr>
              <p:cNvSpPr/>
              <p:nvPr/>
            </p:nvSpPr>
            <p:spPr>
              <a:xfrm>
                <a:off x="9992190" y="1163851"/>
                <a:ext cx="47055" cy="47071"/>
              </a:xfrm>
              <a:custGeom>
                <a:avLst/>
                <a:gdLst>
                  <a:gd name="connsiteX0" fmla="*/ 12134 w 47055"/>
                  <a:gd name="connsiteY0" fmla="*/ 2943 h 47071"/>
                  <a:gd name="connsiteX1" fmla="*/ 17853 w 47055"/>
                  <a:gd name="connsiteY1" fmla="*/ 698 h 47071"/>
                  <a:gd name="connsiteX2" fmla="*/ 46357 w 47055"/>
                  <a:gd name="connsiteY2" fmla="*/ 17858 h 47071"/>
                  <a:gd name="connsiteX3" fmla="*/ 29209 w 47055"/>
                  <a:gd name="connsiteY3" fmla="*/ 46373 h 47071"/>
                  <a:gd name="connsiteX4" fmla="*/ 694 w 47055"/>
                  <a:gd name="connsiteY4" fmla="*/ 29226 h 47071"/>
                  <a:gd name="connsiteX5" fmla="*/ 13 w 47055"/>
                  <a:gd name="connsiteY5" fmla="*/ 22742 h 470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47055" h="47071">
                    <a:moveTo>
                      <a:pt x="12134" y="2943"/>
                    </a:moveTo>
                    <a:cubicBezTo>
                      <a:pt x="13889" y="1964"/>
                      <a:pt x="15811" y="1212"/>
                      <a:pt x="17853" y="698"/>
                    </a:cubicBezTo>
                    <a:cubicBezTo>
                      <a:pt x="30463" y="-2430"/>
                      <a:pt x="43216" y="5248"/>
                      <a:pt x="46357" y="17858"/>
                    </a:cubicBezTo>
                    <a:cubicBezTo>
                      <a:pt x="49485" y="30467"/>
                      <a:pt x="41819" y="43232"/>
                      <a:pt x="29209" y="46373"/>
                    </a:cubicBezTo>
                    <a:cubicBezTo>
                      <a:pt x="16600" y="49502"/>
                      <a:pt x="3823" y="41823"/>
                      <a:pt x="694" y="29226"/>
                    </a:cubicBezTo>
                    <a:cubicBezTo>
                      <a:pt x="157" y="27052"/>
                      <a:pt x="-58" y="24867"/>
                      <a:pt x="13" y="22742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046" name="Gráfico 11">
              <a:extLst>
                <a:ext uri="{FF2B5EF4-FFF2-40B4-BE49-F238E27FC236}">
                  <a16:creationId xmlns:a16="http://schemas.microsoft.com/office/drawing/2014/main" id="{672A4154-A66A-2D09-B5C9-6A8943A68261}"/>
                </a:ext>
              </a:extLst>
            </p:cNvPr>
            <p:cNvGrpSpPr/>
            <p:nvPr/>
          </p:nvGrpSpPr>
          <p:grpSpPr>
            <a:xfrm>
              <a:off x="9728520" y="992144"/>
              <a:ext cx="217877" cy="217901"/>
              <a:chOff x="9728520" y="992144"/>
              <a:chExt cx="217877" cy="217901"/>
            </a:xfrm>
            <a:noFill/>
          </p:grpSpPr>
          <p:sp>
            <p:nvSpPr>
              <p:cNvPr id="1047" name="Forma livre: Forma 1046">
                <a:extLst>
                  <a:ext uri="{FF2B5EF4-FFF2-40B4-BE49-F238E27FC236}">
                    <a16:creationId xmlns:a16="http://schemas.microsoft.com/office/drawing/2014/main" id="{88A1BBFD-E574-D0BA-3DD5-2C1EC42A96BE}"/>
                  </a:ext>
                </a:extLst>
              </p:cNvPr>
              <p:cNvSpPr/>
              <p:nvPr/>
            </p:nvSpPr>
            <p:spPr>
              <a:xfrm>
                <a:off x="9728520" y="992144"/>
                <a:ext cx="217877" cy="217901"/>
              </a:xfrm>
              <a:custGeom>
                <a:avLst/>
                <a:gdLst>
                  <a:gd name="connsiteX0" fmla="*/ 38080 w 217877"/>
                  <a:gd name="connsiteY0" fmla="*/ 67097 h 217901"/>
                  <a:gd name="connsiteX1" fmla="*/ 29232 w 217877"/>
                  <a:gd name="connsiteY1" fmla="*/ 88436 h 217901"/>
                  <a:gd name="connsiteX2" fmla="*/ 0 w 217877"/>
                  <a:gd name="connsiteY2" fmla="*/ 93403 h 217901"/>
                  <a:gd name="connsiteX3" fmla="*/ 0 w 217877"/>
                  <a:gd name="connsiteY3" fmla="*/ 124486 h 217901"/>
                  <a:gd name="connsiteX4" fmla="*/ 29232 w 217877"/>
                  <a:gd name="connsiteY4" fmla="*/ 129465 h 217901"/>
                  <a:gd name="connsiteX5" fmla="*/ 38164 w 217877"/>
                  <a:gd name="connsiteY5" fmla="*/ 150947 h 217901"/>
                  <a:gd name="connsiteX6" fmla="*/ 20909 w 217877"/>
                  <a:gd name="connsiteY6" fmla="*/ 174985 h 217901"/>
                  <a:gd name="connsiteX7" fmla="*/ 42892 w 217877"/>
                  <a:gd name="connsiteY7" fmla="*/ 196968 h 217901"/>
                  <a:gd name="connsiteX8" fmla="*/ 66942 w 217877"/>
                  <a:gd name="connsiteY8" fmla="*/ 179714 h 217901"/>
                  <a:gd name="connsiteX9" fmla="*/ 88424 w 217877"/>
                  <a:gd name="connsiteY9" fmla="*/ 188645 h 217901"/>
                  <a:gd name="connsiteX10" fmla="*/ 93391 w 217877"/>
                  <a:gd name="connsiteY10" fmla="*/ 217901 h 217901"/>
                  <a:gd name="connsiteX11" fmla="*/ 124474 w 217877"/>
                  <a:gd name="connsiteY11" fmla="*/ 217901 h 217901"/>
                  <a:gd name="connsiteX12" fmla="*/ 129453 w 217877"/>
                  <a:gd name="connsiteY12" fmla="*/ 188657 h 217901"/>
                  <a:gd name="connsiteX13" fmla="*/ 150947 w 217877"/>
                  <a:gd name="connsiteY13" fmla="*/ 179725 h 217901"/>
                  <a:gd name="connsiteX14" fmla="*/ 174985 w 217877"/>
                  <a:gd name="connsiteY14" fmla="*/ 196980 h 217901"/>
                  <a:gd name="connsiteX15" fmla="*/ 196968 w 217877"/>
                  <a:gd name="connsiteY15" fmla="*/ 174997 h 217901"/>
                  <a:gd name="connsiteX16" fmla="*/ 179714 w 217877"/>
                  <a:gd name="connsiteY16" fmla="*/ 150971 h 217901"/>
                  <a:gd name="connsiteX17" fmla="*/ 188693 w 217877"/>
                  <a:gd name="connsiteY17" fmla="*/ 129286 h 217901"/>
                  <a:gd name="connsiteX18" fmla="*/ 217877 w 217877"/>
                  <a:gd name="connsiteY18" fmla="*/ 124486 h 217901"/>
                  <a:gd name="connsiteX19" fmla="*/ 217877 w 217877"/>
                  <a:gd name="connsiteY19" fmla="*/ 93403 h 217901"/>
                  <a:gd name="connsiteX20" fmla="*/ 188693 w 217877"/>
                  <a:gd name="connsiteY20" fmla="*/ 88615 h 217901"/>
                  <a:gd name="connsiteX21" fmla="*/ 179821 w 217877"/>
                  <a:gd name="connsiteY21" fmla="*/ 67097 h 217901"/>
                  <a:gd name="connsiteX22" fmla="*/ 196968 w 217877"/>
                  <a:gd name="connsiteY22" fmla="*/ 42916 h 217901"/>
                  <a:gd name="connsiteX23" fmla="*/ 174985 w 217877"/>
                  <a:gd name="connsiteY23" fmla="*/ 20933 h 217901"/>
                  <a:gd name="connsiteX24" fmla="*/ 150792 w 217877"/>
                  <a:gd name="connsiteY24" fmla="*/ 38092 h 217901"/>
                  <a:gd name="connsiteX25" fmla="*/ 129286 w 217877"/>
                  <a:gd name="connsiteY25" fmla="*/ 29208 h 217901"/>
                  <a:gd name="connsiteX26" fmla="*/ 124474 w 217877"/>
                  <a:gd name="connsiteY26" fmla="*/ 0 h 217901"/>
                  <a:gd name="connsiteX27" fmla="*/ 93391 w 217877"/>
                  <a:gd name="connsiteY27" fmla="*/ 0 h 217901"/>
                  <a:gd name="connsiteX28" fmla="*/ 91946 w 217877"/>
                  <a:gd name="connsiteY28" fmla="*/ 9804 h 2179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</a:cxnLst>
                <a:rect l="l" t="t" r="r" b="b"/>
                <a:pathLst>
                  <a:path w="217877" h="217901">
                    <a:moveTo>
                      <a:pt x="38080" y="67097"/>
                    </a:moveTo>
                    <a:cubicBezTo>
                      <a:pt x="34175" y="73677"/>
                      <a:pt x="31178" y="80841"/>
                      <a:pt x="29232" y="88436"/>
                    </a:cubicBezTo>
                    <a:lnTo>
                      <a:pt x="0" y="93403"/>
                    </a:lnTo>
                    <a:lnTo>
                      <a:pt x="0" y="124486"/>
                    </a:lnTo>
                    <a:lnTo>
                      <a:pt x="29232" y="129465"/>
                    </a:lnTo>
                    <a:cubicBezTo>
                      <a:pt x="31190" y="137120"/>
                      <a:pt x="34223" y="144332"/>
                      <a:pt x="38164" y="150947"/>
                    </a:cubicBezTo>
                    <a:lnTo>
                      <a:pt x="20909" y="174985"/>
                    </a:lnTo>
                    <a:lnTo>
                      <a:pt x="42892" y="196968"/>
                    </a:lnTo>
                    <a:lnTo>
                      <a:pt x="66942" y="179714"/>
                    </a:lnTo>
                    <a:cubicBezTo>
                      <a:pt x="73557" y="183654"/>
                      <a:pt x="80782" y="186675"/>
                      <a:pt x="88424" y="188645"/>
                    </a:cubicBezTo>
                    <a:lnTo>
                      <a:pt x="93391" y="217901"/>
                    </a:lnTo>
                    <a:lnTo>
                      <a:pt x="124474" y="217901"/>
                    </a:lnTo>
                    <a:lnTo>
                      <a:pt x="129453" y="188657"/>
                    </a:lnTo>
                    <a:cubicBezTo>
                      <a:pt x="137096" y="186687"/>
                      <a:pt x="144320" y="183666"/>
                      <a:pt x="150947" y="179725"/>
                    </a:cubicBezTo>
                    <a:lnTo>
                      <a:pt x="174985" y="196980"/>
                    </a:lnTo>
                    <a:lnTo>
                      <a:pt x="196968" y="174997"/>
                    </a:lnTo>
                    <a:lnTo>
                      <a:pt x="179714" y="150971"/>
                    </a:lnTo>
                    <a:cubicBezTo>
                      <a:pt x="183690" y="144284"/>
                      <a:pt x="186723" y="137012"/>
                      <a:pt x="188693" y="129286"/>
                    </a:cubicBezTo>
                    <a:lnTo>
                      <a:pt x="217877" y="124486"/>
                    </a:lnTo>
                    <a:lnTo>
                      <a:pt x="217877" y="93403"/>
                    </a:lnTo>
                    <a:lnTo>
                      <a:pt x="188693" y="88615"/>
                    </a:lnTo>
                    <a:cubicBezTo>
                      <a:pt x="186747" y="80961"/>
                      <a:pt x="183750" y="73724"/>
                      <a:pt x="179821" y="67097"/>
                    </a:cubicBezTo>
                    <a:lnTo>
                      <a:pt x="196968" y="42916"/>
                    </a:lnTo>
                    <a:lnTo>
                      <a:pt x="174985" y="20933"/>
                    </a:lnTo>
                    <a:lnTo>
                      <a:pt x="150792" y="38092"/>
                    </a:lnTo>
                    <a:cubicBezTo>
                      <a:pt x="144165" y="34163"/>
                      <a:pt x="136941" y="31166"/>
                      <a:pt x="129286" y="29208"/>
                    </a:cubicBezTo>
                    <a:lnTo>
                      <a:pt x="124474" y="0"/>
                    </a:lnTo>
                    <a:lnTo>
                      <a:pt x="93391" y="0"/>
                    </a:lnTo>
                    <a:lnTo>
                      <a:pt x="91946" y="9804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048" name="Forma livre: Forma 1047">
                <a:extLst>
                  <a:ext uri="{FF2B5EF4-FFF2-40B4-BE49-F238E27FC236}">
                    <a16:creationId xmlns:a16="http://schemas.microsoft.com/office/drawing/2014/main" id="{E10EBFA3-B77D-4B36-636D-6439C34DC62C}"/>
                  </a:ext>
                </a:extLst>
              </p:cNvPr>
              <p:cNvSpPr/>
              <p:nvPr/>
            </p:nvSpPr>
            <p:spPr>
              <a:xfrm>
                <a:off x="9749429" y="1013077"/>
                <a:ext cx="67682" cy="29315"/>
              </a:xfrm>
              <a:custGeom>
                <a:avLst/>
                <a:gdLst>
                  <a:gd name="connsiteX0" fmla="*/ 67682 w 67682"/>
                  <a:gd name="connsiteY0" fmla="*/ 8287 h 29315"/>
                  <a:gd name="connsiteX1" fmla="*/ 46176 w 67682"/>
                  <a:gd name="connsiteY1" fmla="*/ 17159 h 29315"/>
                  <a:gd name="connsiteX2" fmla="*/ 21984 w 67682"/>
                  <a:gd name="connsiteY2" fmla="*/ 0 h 29315"/>
                  <a:gd name="connsiteX3" fmla="*/ 0 w 67682"/>
                  <a:gd name="connsiteY3" fmla="*/ 21972 h 29315"/>
                  <a:gd name="connsiteX4" fmla="*/ 5254 w 67682"/>
                  <a:gd name="connsiteY4" fmla="*/ 29315 h 293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7682" h="29315">
                    <a:moveTo>
                      <a:pt x="67682" y="8287"/>
                    </a:moveTo>
                    <a:cubicBezTo>
                      <a:pt x="60028" y="10234"/>
                      <a:pt x="52804" y="13231"/>
                      <a:pt x="46176" y="17159"/>
                    </a:cubicBezTo>
                    <a:lnTo>
                      <a:pt x="21984" y="0"/>
                    </a:lnTo>
                    <a:lnTo>
                      <a:pt x="0" y="21972"/>
                    </a:lnTo>
                    <a:lnTo>
                      <a:pt x="5254" y="29315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049" name="Forma livre: Forma 1048">
              <a:extLst>
                <a:ext uri="{FF2B5EF4-FFF2-40B4-BE49-F238E27FC236}">
                  <a16:creationId xmlns:a16="http://schemas.microsoft.com/office/drawing/2014/main" id="{3DC2B8C4-CF66-AFE8-0B30-4BC387B89D47}"/>
                </a:ext>
              </a:extLst>
            </p:cNvPr>
            <p:cNvSpPr/>
            <p:nvPr/>
          </p:nvSpPr>
          <p:spPr>
            <a:xfrm>
              <a:off x="9790104" y="1053742"/>
              <a:ext cx="94721" cy="94718"/>
            </a:xfrm>
            <a:custGeom>
              <a:avLst/>
              <a:gdLst>
                <a:gd name="connsiteX0" fmla="*/ 21264 w 94721"/>
                <a:gd name="connsiteY0" fmla="*/ 7828 h 94718"/>
                <a:gd name="connsiteX1" fmla="*/ 43187 w 94721"/>
                <a:gd name="connsiteY1" fmla="*/ 185 h 94718"/>
                <a:gd name="connsiteX2" fmla="*/ 94534 w 94721"/>
                <a:gd name="connsiteY2" fmla="*/ 43185 h 94718"/>
                <a:gd name="connsiteX3" fmla="*/ 51522 w 94721"/>
                <a:gd name="connsiteY3" fmla="*/ 94532 h 94718"/>
                <a:gd name="connsiteX4" fmla="*/ 188 w 94721"/>
                <a:gd name="connsiteY4" fmla="*/ 51532 h 94718"/>
                <a:gd name="connsiteX5" fmla="*/ 5454 w 94721"/>
                <a:gd name="connsiteY5" fmla="*/ 25297 h 947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4721" h="94718">
                  <a:moveTo>
                    <a:pt x="21264" y="7828"/>
                  </a:moveTo>
                  <a:cubicBezTo>
                    <a:pt x="27616" y="3624"/>
                    <a:pt x="35068" y="902"/>
                    <a:pt x="43187" y="185"/>
                  </a:cubicBezTo>
                  <a:cubicBezTo>
                    <a:pt x="69243" y="-2107"/>
                    <a:pt x="92230" y="17142"/>
                    <a:pt x="94534" y="43185"/>
                  </a:cubicBezTo>
                  <a:cubicBezTo>
                    <a:pt x="96839" y="69229"/>
                    <a:pt x="77578" y="92227"/>
                    <a:pt x="51522" y="94532"/>
                  </a:cubicBezTo>
                  <a:cubicBezTo>
                    <a:pt x="25479" y="96837"/>
                    <a:pt x="2492" y="77576"/>
                    <a:pt x="188" y="51532"/>
                  </a:cubicBezTo>
                  <a:cubicBezTo>
                    <a:pt x="-648" y="42110"/>
                    <a:pt x="1346" y="33083"/>
                    <a:pt x="5454" y="25297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050" name="Gráfico 11">
            <a:extLst>
              <a:ext uri="{FF2B5EF4-FFF2-40B4-BE49-F238E27FC236}">
                <a16:creationId xmlns:a16="http://schemas.microsoft.com/office/drawing/2014/main" id="{F40AC75B-37C9-6BF1-0080-80ED9512B62D}"/>
              </a:ext>
            </a:extLst>
          </p:cNvPr>
          <p:cNvGrpSpPr/>
          <p:nvPr/>
        </p:nvGrpSpPr>
        <p:grpSpPr>
          <a:xfrm>
            <a:off x="9753781" y="2602477"/>
            <a:ext cx="317580" cy="259702"/>
            <a:chOff x="9753781" y="2602477"/>
            <a:chExt cx="317580" cy="259702"/>
          </a:xfrm>
          <a:noFill/>
        </p:grpSpPr>
        <p:sp>
          <p:nvSpPr>
            <p:cNvPr id="1051" name="Forma livre: Forma 1050">
              <a:extLst>
                <a:ext uri="{FF2B5EF4-FFF2-40B4-BE49-F238E27FC236}">
                  <a16:creationId xmlns:a16="http://schemas.microsoft.com/office/drawing/2014/main" id="{21DEA0B2-E13F-4188-E9C7-FE4EE4E5A24E}"/>
                </a:ext>
              </a:extLst>
            </p:cNvPr>
            <p:cNvSpPr/>
            <p:nvPr/>
          </p:nvSpPr>
          <p:spPr>
            <a:xfrm>
              <a:off x="9753781" y="2602477"/>
              <a:ext cx="145592" cy="145712"/>
            </a:xfrm>
            <a:custGeom>
              <a:avLst/>
              <a:gdLst>
                <a:gd name="connsiteX0" fmla="*/ 108766 w 145592"/>
                <a:gd name="connsiteY0" fmla="*/ 145712 h 145712"/>
                <a:gd name="connsiteX1" fmla="*/ 70232 w 145592"/>
                <a:gd name="connsiteY1" fmla="*/ 134571 h 145712"/>
                <a:gd name="connsiteX2" fmla="*/ 69707 w 145592"/>
                <a:gd name="connsiteY2" fmla="*/ 134571 h 145712"/>
                <a:gd name="connsiteX3" fmla="*/ 19721 w 145592"/>
                <a:gd name="connsiteY3" fmla="*/ 114904 h 145712"/>
                <a:gd name="connsiteX4" fmla="*/ 4926 w 145592"/>
                <a:gd name="connsiteY4" fmla="*/ 42040 h 145712"/>
                <a:gd name="connsiteX5" fmla="*/ 40296 w 145592"/>
                <a:gd name="connsiteY5" fmla="*/ 77397 h 145712"/>
                <a:gd name="connsiteX6" fmla="*/ 77122 w 145592"/>
                <a:gd name="connsiteY6" fmla="*/ 77397 h 145712"/>
                <a:gd name="connsiteX7" fmla="*/ 77385 w 145592"/>
                <a:gd name="connsiteY7" fmla="*/ 77135 h 145712"/>
                <a:gd name="connsiteX8" fmla="*/ 77385 w 145592"/>
                <a:gd name="connsiteY8" fmla="*/ 40284 h 145712"/>
                <a:gd name="connsiteX9" fmla="*/ 42015 w 145592"/>
                <a:gd name="connsiteY9" fmla="*/ 4915 h 145712"/>
                <a:gd name="connsiteX10" fmla="*/ 114880 w 145592"/>
                <a:gd name="connsiteY10" fmla="*/ 19734 h 145712"/>
                <a:gd name="connsiteX11" fmla="*/ 134547 w 145592"/>
                <a:gd name="connsiteY11" fmla="*/ 69707 h 145712"/>
                <a:gd name="connsiteX12" fmla="*/ 134547 w 145592"/>
                <a:gd name="connsiteY12" fmla="*/ 70233 h 145712"/>
                <a:gd name="connsiteX13" fmla="*/ 145593 w 145592"/>
                <a:gd name="connsiteY13" fmla="*/ 108874 h 1457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45592" h="145712">
                  <a:moveTo>
                    <a:pt x="108766" y="145712"/>
                  </a:moveTo>
                  <a:cubicBezTo>
                    <a:pt x="93935" y="131622"/>
                    <a:pt x="75749" y="134488"/>
                    <a:pt x="70232" y="134571"/>
                  </a:cubicBezTo>
                  <a:lnTo>
                    <a:pt x="69707" y="134571"/>
                  </a:lnTo>
                  <a:cubicBezTo>
                    <a:pt x="51688" y="135204"/>
                    <a:pt x="33478" y="128649"/>
                    <a:pt x="19721" y="114904"/>
                  </a:cubicBezTo>
                  <a:cubicBezTo>
                    <a:pt x="19" y="95202"/>
                    <a:pt x="-4937" y="66328"/>
                    <a:pt x="4926" y="42040"/>
                  </a:cubicBezTo>
                  <a:lnTo>
                    <a:pt x="40296" y="77397"/>
                  </a:lnTo>
                  <a:cubicBezTo>
                    <a:pt x="50422" y="87523"/>
                    <a:pt x="66996" y="87523"/>
                    <a:pt x="77122" y="77397"/>
                  </a:cubicBezTo>
                  <a:lnTo>
                    <a:pt x="77385" y="77135"/>
                  </a:lnTo>
                  <a:cubicBezTo>
                    <a:pt x="87523" y="66997"/>
                    <a:pt x="87523" y="50423"/>
                    <a:pt x="77385" y="40284"/>
                  </a:cubicBezTo>
                  <a:lnTo>
                    <a:pt x="42015" y="4915"/>
                  </a:lnTo>
                  <a:cubicBezTo>
                    <a:pt x="66316" y="-4937"/>
                    <a:pt x="95177" y="31"/>
                    <a:pt x="114880" y="19734"/>
                  </a:cubicBezTo>
                  <a:cubicBezTo>
                    <a:pt x="128624" y="33478"/>
                    <a:pt x="135180" y="51700"/>
                    <a:pt x="134547" y="69707"/>
                  </a:cubicBezTo>
                  <a:lnTo>
                    <a:pt x="134547" y="70233"/>
                  </a:lnTo>
                  <a:cubicBezTo>
                    <a:pt x="134463" y="75762"/>
                    <a:pt x="131502" y="94043"/>
                    <a:pt x="145593" y="108874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52" name="Forma livre: Forma 1051">
              <a:extLst>
                <a:ext uri="{FF2B5EF4-FFF2-40B4-BE49-F238E27FC236}">
                  <a16:creationId xmlns:a16="http://schemas.microsoft.com/office/drawing/2014/main" id="{E62594AB-B572-6662-289F-9B5625895B7B}"/>
                </a:ext>
              </a:extLst>
            </p:cNvPr>
            <p:cNvSpPr/>
            <p:nvPr/>
          </p:nvSpPr>
          <p:spPr>
            <a:xfrm>
              <a:off x="9935734" y="2783476"/>
              <a:ext cx="77670" cy="78533"/>
            </a:xfrm>
            <a:custGeom>
              <a:avLst/>
              <a:gdLst>
                <a:gd name="connsiteX0" fmla="*/ 0 w 77670"/>
                <a:gd name="connsiteY0" fmla="*/ 37758 h 78533"/>
                <a:gd name="connsiteX1" fmla="*/ 29411 w 77670"/>
                <a:gd name="connsiteY1" fmla="*/ 67169 h 78533"/>
                <a:gd name="connsiteX2" fmla="*/ 70094 w 77670"/>
                <a:gd name="connsiteY2" fmla="*/ 70906 h 78533"/>
                <a:gd name="connsiteX3" fmla="*/ 66249 w 77670"/>
                <a:gd name="connsiteY3" fmla="*/ 30330 h 78533"/>
                <a:gd name="connsiteX4" fmla="*/ 35919 w 77670"/>
                <a:gd name="connsiteY4" fmla="*/ 0 h 785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7670" h="78533">
                  <a:moveTo>
                    <a:pt x="0" y="37758"/>
                  </a:moveTo>
                  <a:lnTo>
                    <a:pt x="29411" y="67169"/>
                  </a:lnTo>
                  <a:cubicBezTo>
                    <a:pt x="41782" y="79552"/>
                    <a:pt x="57711" y="83289"/>
                    <a:pt x="70094" y="70906"/>
                  </a:cubicBezTo>
                  <a:cubicBezTo>
                    <a:pt x="82465" y="58523"/>
                    <a:pt x="78620" y="42701"/>
                    <a:pt x="66249" y="30330"/>
                  </a:cubicBezTo>
                  <a:lnTo>
                    <a:pt x="35919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53" name="Forma livre: Forma 1052">
              <a:extLst>
                <a:ext uri="{FF2B5EF4-FFF2-40B4-BE49-F238E27FC236}">
                  <a16:creationId xmlns:a16="http://schemas.microsoft.com/office/drawing/2014/main" id="{83BEDCEC-D33A-169C-340E-823AE9E0E925}"/>
                </a:ext>
              </a:extLst>
            </p:cNvPr>
            <p:cNvSpPr/>
            <p:nvPr/>
          </p:nvSpPr>
          <p:spPr>
            <a:xfrm>
              <a:off x="9973122" y="2611655"/>
              <a:ext cx="98239" cy="110801"/>
            </a:xfrm>
            <a:custGeom>
              <a:avLst/>
              <a:gdLst>
                <a:gd name="connsiteX0" fmla="*/ 0 w 98239"/>
                <a:gd name="connsiteY0" fmla="*/ 81367 h 110801"/>
                <a:gd name="connsiteX1" fmla="*/ 37674 w 98239"/>
                <a:gd name="connsiteY1" fmla="*/ 43680 h 110801"/>
                <a:gd name="connsiteX2" fmla="*/ 35799 w 98239"/>
                <a:gd name="connsiteY2" fmla="*/ 26712 h 110801"/>
                <a:gd name="connsiteX3" fmla="*/ 79635 w 98239"/>
                <a:gd name="connsiteY3" fmla="*/ 0 h 110801"/>
                <a:gd name="connsiteX4" fmla="*/ 98239 w 98239"/>
                <a:gd name="connsiteY4" fmla="*/ 18616 h 110801"/>
                <a:gd name="connsiteX5" fmla="*/ 71551 w 98239"/>
                <a:gd name="connsiteY5" fmla="*/ 62452 h 110801"/>
                <a:gd name="connsiteX6" fmla="*/ 54571 w 98239"/>
                <a:gd name="connsiteY6" fmla="*/ 60577 h 110801"/>
                <a:gd name="connsiteX7" fmla="*/ 4359 w 98239"/>
                <a:gd name="connsiteY7" fmla="*/ 110801 h 1108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8239" h="110801">
                  <a:moveTo>
                    <a:pt x="0" y="81367"/>
                  </a:moveTo>
                  <a:lnTo>
                    <a:pt x="37674" y="43680"/>
                  </a:lnTo>
                  <a:lnTo>
                    <a:pt x="35799" y="26712"/>
                  </a:lnTo>
                  <a:lnTo>
                    <a:pt x="79635" y="0"/>
                  </a:lnTo>
                  <a:lnTo>
                    <a:pt x="98239" y="18616"/>
                  </a:lnTo>
                  <a:lnTo>
                    <a:pt x="71551" y="62452"/>
                  </a:lnTo>
                  <a:lnTo>
                    <a:pt x="54571" y="60577"/>
                  </a:lnTo>
                  <a:lnTo>
                    <a:pt x="4359" y="110801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54" name="Forma livre: Forma 1053">
              <a:extLst>
                <a:ext uri="{FF2B5EF4-FFF2-40B4-BE49-F238E27FC236}">
                  <a16:creationId xmlns:a16="http://schemas.microsoft.com/office/drawing/2014/main" id="{9701B173-9187-4D7B-77D8-2D51C23C4FDB}"/>
                </a:ext>
              </a:extLst>
            </p:cNvPr>
            <p:cNvSpPr/>
            <p:nvPr/>
          </p:nvSpPr>
          <p:spPr>
            <a:xfrm>
              <a:off x="9855096" y="2736440"/>
              <a:ext cx="91504" cy="91492"/>
            </a:xfrm>
            <a:custGeom>
              <a:avLst/>
              <a:gdLst>
                <a:gd name="connsiteX0" fmla="*/ 91505 w 91504"/>
                <a:gd name="connsiteY0" fmla="*/ 0 h 91492"/>
                <a:gd name="connsiteX1" fmla="*/ 0 w 91504"/>
                <a:gd name="connsiteY1" fmla="*/ 91493 h 914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1504" h="91492">
                  <a:moveTo>
                    <a:pt x="91505" y="0"/>
                  </a:moveTo>
                  <a:lnTo>
                    <a:pt x="0" y="91493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55" name="Forma livre: Forma 1054">
              <a:extLst>
                <a:ext uri="{FF2B5EF4-FFF2-40B4-BE49-F238E27FC236}">
                  <a16:creationId xmlns:a16="http://schemas.microsoft.com/office/drawing/2014/main" id="{D8C9AC58-7BEF-229F-BDA6-A290FE4699BA}"/>
                </a:ext>
              </a:extLst>
            </p:cNvPr>
            <p:cNvSpPr/>
            <p:nvPr/>
          </p:nvSpPr>
          <p:spPr>
            <a:xfrm>
              <a:off x="9820873" y="2702205"/>
              <a:ext cx="159974" cy="159974"/>
            </a:xfrm>
            <a:custGeom>
              <a:avLst/>
              <a:gdLst>
                <a:gd name="connsiteX0" fmla="*/ 49818 w 159974"/>
                <a:gd name="connsiteY0" fmla="*/ 153706 h 159974"/>
                <a:gd name="connsiteX1" fmla="*/ 19416 w 159974"/>
                <a:gd name="connsiteY1" fmla="*/ 153706 h 159974"/>
                <a:gd name="connsiteX2" fmla="*/ 6269 w 159974"/>
                <a:gd name="connsiteY2" fmla="*/ 140547 h 159974"/>
                <a:gd name="connsiteX3" fmla="*/ 6269 w 159974"/>
                <a:gd name="connsiteY3" fmla="*/ 110157 h 159974"/>
                <a:gd name="connsiteX4" fmla="*/ 110157 w 159974"/>
                <a:gd name="connsiteY4" fmla="*/ 6269 h 159974"/>
                <a:gd name="connsiteX5" fmla="*/ 140547 w 159974"/>
                <a:gd name="connsiteY5" fmla="*/ 6269 h 159974"/>
                <a:gd name="connsiteX6" fmla="*/ 153706 w 159974"/>
                <a:gd name="connsiteY6" fmla="*/ 19416 h 159974"/>
                <a:gd name="connsiteX7" fmla="*/ 153706 w 159974"/>
                <a:gd name="connsiteY7" fmla="*/ 49818 h 159974"/>
                <a:gd name="connsiteX8" fmla="*/ 49830 w 159974"/>
                <a:gd name="connsiteY8" fmla="*/ 153706 h 1599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59974" h="159974">
                  <a:moveTo>
                    <a:pt x="49818" y="153706"/>
                  </a:moveTo>
                  <a:cubicBezTo>
                    <a:pt x="41460" y="162065"/>
                    <a:pt x="27775" y="162065"/>
                    <a:pt x="19416" y="153706"/>
                  </a:cubicBezTo>
                  <a:lnTo>
                    <a:pt x="6269" y="140547"/>
                  </a:lnTo>
                  <a:cubicBezTo>
                    <a:pt x="-2090" y="132188"/>
                    <a:pt x="-2090" y="118515"/>
                    <a:pt x="6269" y="110157"/>
                  </a:cubicBezTo>
                  <a:lnTo>
                    <a:pt x="110157" y="6269"/>
                  </a:lnTo>
                  <a:cubicBezTo>
                    <a:pt x="118515" y="-2090"/>
                    <a:pt x="132188" y="-2090"/>
                    <a:pt x="140547" y="6269"/>
                  </a:cubicBezTo>
                  <a:lnTo>
                    <a:pt x="153706" y="19416"/>
                  </a:lnTo>
                  <a:cubicBezTo>
                    <a:pt x="162065" y="27775"/>
                    <a:pt x="162065" y="41459"/>
                    <a:pt x="153706" y="49818"/>
                  </a:cubicBezTo>
                  <a:lnTo>
                    <a:pt x="49830" y="153706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056" name="Gráfico 11">
            <a:extLst>
              <a:ext uri="{FF2B5EF4-FFF2-40B4-BE49-F238E27FC236}">
                <a16:creationId xmlns:a16="http://schemas.microsoft.com/office/drawing/2014/main" id="{91F0E1B1-4A7A-70EB-3694-F0F87E17FFFE}"/>
              </a:ext>
            </a:extLst>
          </p:cNvPr>
          <p:cNvGrpSpPr/>
          <p:nvPr/>
        </p:nvGrpSpPr>
        <p:grpSpPr>
          <a:xfrm>
            <a:off x="9765418" y="2051116"/>
            <a:ext cx="294300" cy="294324"/>
            <a:chOff x="9765418" y="2051116"/>
            <a:chExt cx="294300" cy="294324"/>
          </a:xfrm>
          <a:noFill/>
        </p:grpSpPr>
        <p:grpSp>
          <p:nvGrpSpPr>
            <p:cNvPr id="1057" name="Gráfico 11">
              <a:extLst>
                <a:ext uri="{FF2B5EF4-FFF2-40B4-BE49-F238E27FC236}">
                  <a16:creationId xmlns:a16="http://schemas.microsoft.com/office/drawing/2014/main" id="{908F26CD-C7FB-317B-D600-C31AEFA600F0}"/>
                </a:ext>
              </a:extLst>
            </p:cNvPr>
            <p:cNvGrpSpPr/>
            <p:nvPr/>
          </p:nvGrpSpPr>
          <p:grpSpPr>
            <a:xfrm>
              <a:off x="9765418" y="2051116"/>
              <a:ext cx="294300" cy="294324"/>
              <a:chOff x="9765418" y="2051116"/>
              <a:chExt cx="294300" cy="294324"/>
            </a:xfrm>
            <a:noFill/>
          </p:grpSpPr>
          <p:sp>
            <p:nvSpPr>
              <p:cNvPr id="1058" name="Forma livre: Forma 1057">
                <a:extLst>
                  <a:ext uri="{FF2B5EF4-FFF2-40B4-BE49-F238E27FC236}">
                    <a16:creationId xmlns:a16="http://schemas.microsoft.com/office/drawing/2014/main" id="{4A11A4EE-E01B-26E0-12A3-58ECA02DED53}"/>
                  </a:ext>
                </a:extLst>
              </p:cNvPr>
              <p:cNvSpPr/>
              <p:nvPr/>
            </p:nvSpPr>
            <p:spPr>
              <a:xfrm>
                <a:off x="9765418" y="2051116"/>
                <a:ext cx="294300" cy="294324"/>
              </a:xfrm>
              <a:custGeom>
                <a:avLst/>
                <a:gdLst>
                  <a:gd name="connsiteX0" fmla="*/ 51430 w 294300"/>
                  <a:gd name="connsiteY0" fmla="*/ 90633 h 294324"/>
                  <a:gd name="connsiteX1" fmla="*/ 39489 w 294300"/>
                  <a:gd name="connsiteY1" fmla="*/ 119459 h 294324"/>
                  <a:gd name="connsiteX2" fmla="*/ 0 w 294300"/>
                  <a:gd name="connsiteY2" fmla="*/ 126170 h 294324"/>
                  <a:gd name="connsiteX3" fmla="*/ 0 w 294300"/>
                  <a:gd name="connsiteY3" fmla="*/ 168167 h 294324"/>
                  <a:gd name="connsiteX4" fmla="*/ 39489 w 294300"/>
                  <a:gd name="connsiteY4" fmla="*/ 174889 h 294324"/>
                  <a:gd name="connsiteX5" fmla="*/ 51562 w 294300"/>
                  <a:gd name="connsiteY5" fmla="*/ 203906 h 294324"/>
                  <a:gd name="connsiteX6" fmla="*/ 28253 w 294300"/>
                  <a:gd name="connsiteY6" fmla="*/ 236386 h 294324"/>
                  <a:gd name="connsiteX7" fmla="*/ 57938 w 294300"/>
                  <a:gd name="connsiteY7" fmla="*/ 266072 h 294324"/>
                  <a:gd name="connsiteX8" fmla="*/ 90418 w 294300"/>
                  <a:gd name="connsiteY8" fmla="*/ 242763 h 294324"/>
                  <a:gd name="connsiteX9" fmla="*/ 119447 w 294300"/>
                  <a:gd name="connsiteY9" fmla="*/ 254811 h 294324"/>
                  <a:gd name="connsiteX10" fmla="*/ 126158 w 294300"/>
                  <a:gd name="connsiteY10" fmla="*/ 294324 h 294324"/>
                  <a:gd name="connsiteX11" fmla="*/ 168143 w 294300"/>
                  <a:gd name="connsiteY11" fmla="*/ 294324 h 294324"/>
                  <a:gd name="connsiteX12" fmla="*/ 174877 w 294300"/>
                  <a:gd name="connsiteY12" fmla="*/ 254823 h 294324"/>
                  <a:gd name="connsiteX13" fmla="*/ 203906 w 294300"/>
                  <a:gd name="connsiteY13" fmla="*/ 242763 h 294324"/>
                  <a:gd name="connsiteX14" fmla="*/ 236362 w 294300"/>
                  <a:gd name="connsiteY14" fmla="*/ 266072 h 294324"/>
                  <a:gd name="connsiteX15" fmla="*/ 266048 w 294300"/>
                  <a:gd name="connsiteY15" fmla="*/ 236386 h 294324"/>
                  <a:gd name="connsiteX16" fmla="*/ 242751 w 294300"/>
                  <a:gd name="connsiteY16" fmla="*/ 203930 h 294324"/>
                  <a:gd name="connsiteX17" fmla="*/ 254871 w 294300"/>
                  <a:gd name="connsiteY17" fmla="*/ 174651 h 294324"/>
                  <a:gd name="connsiteX18" fmla="*/ 294300 w 294300"/>
                  <a:gd name="connsiteY18" fmla="*/ 168167 h 294324"/>
                  <a:gd name="connsiteX19" fmla="*/ 294300 w 294300"/>
                  <a:gd name="connsiteY19" fmla="*/ 126170 h 294324"/>
                  <a:gd name="connsiteX20" fmla="*/ 254871 w 294300"/>
                  <a:gd name="connsiteY20" fmla="*/ 119710 h 294324"/>
                  <a:gd name="connsiteX21" fmla="*/ 242882 w 294300"/>
                  <a:gd name="connsiteY21" fmla="*/ 90633 h 294324"/>
                  <a:gd name="connsiteX22" fmla="*/ 266048 w 294300"/>
                  <a:gd name="connsiteY22" fmla="*/ 57962 h 294324"/>
                  <a:gd name="connsiteX23" fmla="*/ 236362 w 294300"/>
                  <a:gd name="connsiteY23" fmla="*/ 28277 h 294324"/>
                  <a:gd name="connsiteX24" fmla="*/ 203691 w 294300"/>
                  <a:gd name="connsiteY24" fmla="*/ 51442 h 294324"/>
                  <a:gd name="connsiteX25" fmla="*/ 174639 w 294300"/>
                  <a:gd name="connsiteY25" fmla="*/ 39441 h 294324"/>
                  <a:gd name="connsiteX26" fmla="*/ 168143 w 294300"/>
                  <a:gd name="connsiteY26" fmla="*/ 0 h 294324"/>
                  <a:gd name="connsiteX27" fmla="*/ 126158 w 294300"/>
                  <a:gd name="connsiteY27" fmla="*/ 0 h 294324"/>
                  <a:gd name="connsiteX28" fmla="*/ 123555 w 294300"/>
                  <a:gd name="connsiteY28" fmla="*/ 17589 h 2943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</a:cxnLst>
                <a:rect l="l" t="t" r="r" b="b"/>
                <a:pathLst>
                  <a:path w="294300" h="294324">
                    <a:moveTo>
                      <a:pt x="51430" y="90633"/>
                    </a:moveTo>
                    <a:cubicBezTo>
                      <a:pt x="46164" y="99529"/>
                      <a:pt x="42116" y="109201"/>
                      <a:pt x="39489" y="119459"/>
                    </a:cubicBezTo>
                    <a:lnTo>
                      <a:pt x="0" y="126170"/>
                    </a:lnTo>
                    <a:lnTo>
                      <a:pt x="0" y="168167"/>
                    </a:lnTo>
                    <a:lnTo>
                      <a:pt x="39489" y="174889"/>
                    </a:lnTo>
                    <a:cubicBezTo>
                      <a:pt x="42140" y="185230"/>
                      <a:pt x="46224" y="194962"/>
                      <a:pt x="51562" y="203906"/>
                    </a:cubicBezTo>
                    <a:lnTo>
                      <a:pt x="28253" y="236386"/>
                    </a:lnTo>
                    <a:lnTo>
                      <a:pt x="57938" y="266072"/>
                    </a:lnTo>
                    <a:lnTo>
                      <a:pt x="90418" y="242763"/>
                    </a:lnTo>
                    <a:cubicBezTo>
                      <a:pt x="99362" y="248076"/>
                      <a:pt x="109106" y="252160"/>
                      <a:pt x="119447" y="254811"/>
                    </a:cubicBezTo>
                    <a:lnTo>
                      <a:pt x="126158" y="294324"/>
                    </a:lnTo>
                    <a:lnTo>
                      <a:pt x="168143" y="294324"/>
                    </a:lnTo>
                    <a:lnTo>
                      <a:pt x="174877" y="254823"/>
                    </a:lnTo>
                    <a:cubicBezTo>
                      <a:pt x="185206" y="252160"/>
                      <a:pt x="194950" y="248076"/>
                      <a:pt x="203906" y="242763"/>
                    </a:cubicBezTo>
                    <a:lnTo>
                      <a:pt x="236362" y="266072"/>
                    </a:lnTo>
                    <a:lnTo>
                      <a:pt x="266048" y="236386"/>
                    </a:lnTo>
                    <a:lnTo>
                      <a:pt x="242751" y="203930"/>
                    </a:lnTo>
                    <a:cubicBezTo>
                      <a:pt x="248112" y="194903"/>
                      <a:pt x="252220" y="185075"/>
                      <a:pt x="254871" y="174651"/>
                    </a:cubicBezTo>
                    <a:lnTo>
                      <a:pt x="294300" y="168167"/>
                    </a:lnTo>
                    <a:lnTo>
                      <a:pt x="294300" y="126170"/>
                    </a:lnTo>
                    <a:lnTo>
                      <a:pt x="254871" y="119710"/>
                    </a:lnTo>
                    <a:cubicBezTo>
                      <a:pt x="252244" y="109357"/>
                      <a:pt x="248184" y="99601"/>
                      <a:pt x="242882" y="90633"/>
                    </a:cubicBezTo>
                    <a:lnTo>
                      <a:pt x="266048" y="57962"/>
                    </a:lnTo>
                    <a:lnTo>
                      <a:pt x="236362" y="28277"/>
                    </a:lnTo>
                    <a:lnTo>
                      <a:pt x="203691" y="51442"/>
                    </a:lnTo>
                    <a:cubicBezTo>
                      <a:pt x="194735" y="46128"/>
                      <a:pt x="184980" y="42080"/>
                      <a:pt x="174639" y="39441"/>
                    </a:cubicBezTo>
                    <a:lnTo>
                      <a:pt x="168143" y="0"/>
                    </a:lnTo>
                    <a:lnTo>
                      <a:pt x="126158" y="0"/>
                    </a:lnTo>
                    <a:lnTo>
                      <a:pt x="123555" y="17589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059" name="Forma livre: Forma 1058">
                <a:extLst>
                  <a:ext uri="{FF2B5EF4-FFF2-40B4-BE49-F238E27FC236}">
                    <a16:creationId xmlns:a16="http://schemas.microsoft.com/office/drawing/2014/main" id="{47ACFA39-FDBD-4661-C8DE-07A12A0801A0}"/>
                  </a:ext>
                </a:extLst>
              </p:cNvPr>
              <p:cNvSpPr/>
              <p:nvPr/>
            </p:nvSpPr>
            <p:spPr>
              <a:xfrm>
                <a:off x="9793671" y="2079405"/>
                <a:ext cx="91421" cy="43644"/>
              </a:xfrm>
              <a:custGeom>
                <a:avLst/>
                <a:gdLst>
                  <a:gd name="connsiteX0" fmla="*/ 91421 w 91421"/>
                  <a:gd name="connsiteY0" fmla="*/ 11177 h 43644"/>
                  <a:gd name="connsiteX1" fmla="*/ 62368 w 91421"/>
                  <a:gd name="connsiteY1" fmla="*/ 23166 h 43644"/>
                  <a:gd name="connsiteX2" fmla="*/ 29686 w 91421"/>
                  <a:gd name="connsiteY2" fmla="*/ 0 h 43644"/>
                  <a:gd name="connsiteX3" fmla="*/ 0 w 91421"/>
                  <a:gd name="connsiteY3" fmla="*/ 29674 h 43644"/>
                  <a:gd name="connsiteX4" fmla="*/ 9995 w 91421"/>
                  <a:gd name="connsiteY4" fmla="*/ 43645 h 436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91421" h="43644">
                    <a:moveTo>
                      <a:pt x="91421" y="11177"/>
                    </a:moveTo>
                    <a:cubicBezTo>
                      <a:pt x="81080" y="13816"/>
                      <a:pt x="71336" y="17852"/>
                      <a:pt x="62368" y="23166"/>
                    </a:cubicBezTo>
                    <a:lnTo>
                      <a:pt x="29686" y="0"/>
                    </a:lnTo>
                    <a:lnTo>
                      <a:pt x="0" y="29674"/>
                    </a:lnTo>
                    <a:lnTo>
                      <a:pt x="9995" y="43645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060" name="Gráfico 11">
              <a:extLst>
                <a:ext uri="{FF2B5EF4-FFF2-40B4-BE49-F238E27FC236}">
                  <a16:creationId xmlns:a16="http://schemas.microsoft.com/office/drawing/2014/main" id="{0DFA2172-4E86-3F2C-82DB-DFE040A7AE90}"/>
                </a:ext>
              </a:extLst>
            </p:cNvPr>
            <p:cNvGrpSpPr/>
            <p:nvPr/>
          </p:nvGrpSpPr>
          <p:grpSpPr>
            <a:xfrm>
              <a:off x="9832587" y="2102797"/>
              <a:ext cx="159963" cy="190985"/>
              <a:chOff x="9832587" y="2102797"/>
              <a:chExt cx="159963" cy="190985"/>
            </a:xfrm>
            <a:noFill/>
          </p:grpSpPr>
          <p:grpSp>
            <p:nvGrpSpPr>
              <p:cNvPr id="1061" name="Gráfico 11">
                <a:extLst>
                  <a:ext uri="{FF2B5EF4-FFF2-40B4-BE49-F238E27FC236}">
                    <a16:creationId xmlns:a16="http://schemas.microsoft.com/office/drawing/2014/main" id="{FFDC78E0-0516-1944-A4CC-802AB6CE3AC4}"/>
                  </a:ext>
                </a:extLst>
              </p:cNvPr>
              <p:cNvGrpSpPr/>
              <p:nvPr/>
            </p:nvGrpSpPr>
            <p:grpSpPr>
              <a:xfrm>
                <a:off x="9876279" y="2139074"/>
                <a:ext cx="116270" cy="154708"/>
                <a:chOff x="9876279" y="2139074"/>
                <a:chExt cx="116270" cy="154708"/>
              </a:xfrm>
              <a:noFill/>
            </p:grpSpPr>
            <p:sp>
              <p:nvSpPr>
                <p:cNvPr id="1062" name="Forma livre: Forma 1061">
                  <a:extLst>
                    <a:ext uri="{FF2B5EF4-FFF2-40B4-BE49-F238E27FC236}">
                      <a16:creationId xmlns:a16="http://schemas.microsoft.com/office/drawing/2014/main" id="{C2F833E2-3182-3347-E9AC-49F7955076B3}"/>
                    </a:ext>
                  </a:extLst>
                </p:cNvPr>
                <p:cNvSpPr/>
                <p:nvPr/>
              </p:nvSpPr>
              <p:spPr>
                <a:xfrm>
                  <a:off x="9912568" y="2156198"/>
                  <a:ext cx="55167" cy="97260"/>
                </a:xfrm>
                <a:custGeom>
                  <a:avLst/>
                  <a:gdLst>
                    <a:gd name="connsiteX0" fmla="*/ 35525 w 55167"/>
                    <a:gd name="connsiteY0" fmla="*/ 0 h 97260"/>
                    <a:gd name="connsiteX1" fmla="*/ 55168 w 55167"/>
                    <a:gd name="connsiteY1" fmla="*/ 42164 h 97260"/>
                    <a:gd name="connsiteX2" fmla="*/ 0 w 55167"/>
                    <a:gd name="connsiteY2" fmla="*/ 97260 h 9726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55167" h="97260">
                      <a:moveTo>
                        <a:pt x="35525" y="0"/>
                      </a:moveTo>
                      <a:cubicBezTo>
                        <a:pt x="47908" y="10413"/>
                        <a:pt x="55168" y="25841"/>
                        <a:pt x="55168" y="42164"/>
                      </a:cubicBezTo>
                      <a:cubicBezTo>
                        <a:pt x="55168" y="72542"/>
                        <a:pt x="30414" y="97260"/>
                        <a:pt x="0" y="97260"/>
                      </a:cubicBez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063" name="Forma livre: Forma 1062">
                  <a:extLst>
                    <a:ext uri="{FF2B5EF4-FFF2-40B4-BE49-F238E27FC236}">
                      <a16:creationId xmlns:a16="http://schemas.microsoft.com/office/drawing/2014/main" id="{9022262A-7C3B-8264-9B9B-8A9B17B44E3E}"/>
                    </a:ext>
                  </a:extLst>
                </p:cNvPr>
                <p:cNvSpPr/>
                <p:nvPr/>
              </p:nvSpPr>
              <p:spPr>
                <a:xfrm>
                  <a:off x="9876279" y="2237385"/>
                  <a:ext cx="36289" cy="56397"/>
                </a:xfrm>
                <a:custGeom>
                  <a:avLst/>
                  <a:gdLst>
                    <a:gd name="connsiteX0" fmla="*/ 36289 w 36289"/>
                    <a:gd name="connsiteY0" fmla="*/ 56398 h 56397"/>
                    <a:gd name="connsiteX1" fmla="*/ 0 w 36289"/>
                    <a:gd name="connsiteY1" fmla="*/ 28217 h 56397"/>
                    <a:gd name="connsiteX2" fmla="*/ 36289 w 36289"/>
                    <a:gd name="connsiteY2" fmla="*/ 0 h 5639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36289" h="56397">
                      <a:moveTo>
                        <a:pt x="36289" y="56398"/>
                      </a:moveTo>
                      <a:lnTo>
                        <a:pt x="0" y="28217"/>
                      </a:lnTo>
                      <a:lnTo>
                        <a:pt x="36289" y="0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064" name="Forma livre: Forma 1063">
                  <a:extLst>
                    <a:ext uri="{FF2B5EF4-FFF2-40B4-BE49-F238E27FC236}">
                      <a16:creationId xmlns:a16="http://schemas.microsoft.com/office/drawing/2014/main" id="{2D29E698-E34C-43BB-7B15-4E41E85D00A5}"/>
                    </a:ext>
                  </a:extLst>
                </p:cNvPr>
                <p:cNvSpPr/>
                <p:nvPr/>
              </p:nvSpPr>
              <p:spPr>
                <a:xfrm>
                  <a:off x="9912568" y="2242210"/>
                  <a:ext cx="66870" cy="36074"/>
                </a:xfrm>
                <a:custGeom>
                  <a:avLst/>
                  <a:gdLst>
                    <a:gd name="connsiteX0" fmla="*/ 66870 w 66870"/>
                    <a:gd name="connsiteY0" fmla="*/ 0 h 36074"/>
                    <a:gd name="connsiteX1" fmla="*/ 0 w 66870"/>
                    <a:gd name="connsiteY1" fmla="*/ 36074 h 360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66870" h="36074">
                      <a:moveTo>
                        <a:pt x="66870" y="0"/>
                      </a:moveTo>
                      <a:cubicBezTo>
                        <a:pt x="52565" y="21733"/>
                        <a:pt x="27930" y="36074"/>
                        <a:pt x="0" y="36074"/>
                      </a:cubicBez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065" name="Forma livre: Forma 1064">
                  <a:extLst>
                    <a:ext uri="{FF2B5EF4-FFF2-40B4-BE49-F238E27FC236}">
                      <a16:creationId xmlns:a16="http://schemas.microsoft.com/office/drawing/2014/main" id="{A49D371B-DC1A-1BF0-AC60-4FA47D9C4B4E}"/>
                    </a:ext>
                  </a:extLst>
                </p:cNvPr>
                <p:cNvSpPr/>
                <p:nvPr/>
              </p:nvSpPr>
              <p:spPr>
                <a:xfrm>
                  <a:off x="9985528" y="2196201"/>
                  <a:ext cx="7021" cy="34939"/>
                </a:xfrm>
                <a:custGeom>
                  <a:avLst/>
                  <a:gdLst>
                    <a:gd name="connsiteX0" fmla="*/ 6997 w 7021"/>
                    <a:gd name="connsiteY0" fmla="*/ 0 h 34939"/>
                    <a:gd name="connsiteX1" fmla="*/ 7021 w 7021"/>
                    <a:gd name="connsiteY1" fmla="*/ 2161 h 34939"/>
                    <a:gd name="connsiteX2" fmla="*/ 0 w 7021"/>
                    <a:gd name="connsiteY2" fmla="*/ 34940 h 3493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7021" h="34939">
                      <a:moveTo>
                        <a:pt x="6997" y="0"/>
                      </a:moveTo>
                      <a:cubicBezTo>
                        <a:pt x="7021" y="717"/>
                        <a:pt x="7021" y="1445"/>
                        <a:pt x="7021" y="2161"/>
                      </a:cubicBezTo>
                      <a:cubicBezTo>
                        <a:pt x="7021" y="13840"/>
                        <a:pt x="4514" y="24933"/>
                        <a:pt x="0" y="34940"/>
                      </a:cubicBez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066" name="Forma livre: Forma 1065">
                  <a:extLst>
                    <a:ext uri="{FF2B5EF4-FFF2-40B4-BE49-F238E27FC236}">
                      <a16:creationId xmlns:a16="http://schemas.microsoft.com/office/drawing/2014/main" id="{C64DAC07-86F4-A614-4B36-53502FA9CA11}"/>
                    </a:ext>
                  </a:extLst>
                </p:cNvPr>
                <p:cNvSpPr/>
                <p:nvPr/>
              </p:nvSpPr>
              <p:spPr>
                <a:xfrm>
                  <a:off x="9984155" y="2162658"/>
                  <a:ext cx="6901" cy="20228"/>
                </a:xfrm>
                <a:custGeom>
                  <a:avLst/>
                  <a:gdLst>
                    <a:gd name="connsiteX0" fmla="*/ 0 w 6901"/>
                    <a:gd name="connsiteY0" fmla="*/ 0 h 20228"/>
                    <a:gd name="connsiteX1" fmla="*/ 6902 w 6901"/>
                    <a:gd name="connsiteY1" fmla="*/ 20228 h 2022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6901" h="20228">
                      <a:moveTo>
                        <a:pt x="0" y="0"/>
                      </a:moveTo>
                      <a:cubicBezTo>
                        <a:pt x="3152" y="6305"/>
                        <a:pt x="5505" y="13087"/>
                        <a:pt x="6902" y="20228"/>
                      </a:cubicBez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067" name="Forma livre: Forma 1066">
                  <a:extLst>
                    <a:ext uri="{FF2B5EF4-FFF2-40B4-BE49-F238E27FC236}">
                      <a16:creationId xmlns:a16="http://schemas.microsoft.com/office/drawing/2014/main" id="{306A8B2C-2DA0-2C60-5A07-638EC43DC232}"/>
                    </a:ext>
                  </a:extLst>
                </p:cNvPr>
                <p:cNvSpPr/>
                <p:nvPr/>
              </p:nvSpPr>
              <p:spPr>
                <a:xfrm>
                  <a:off x="9966220" y="2139074"/>
                  <a:ext cx="11869" cy="13421"/>
                </a:xfrm>
                <a:custGeom>
                  <a:avLst/>
                  <a:gdLst>
                    <a:gd name="connsiteX0" fmla="*/ 0 w 11869"/>
                    <a:gd name="connsiteY0" fmla="*/ 0 h 13421"/>
                    <a:gd name="connsiteX1" fmla="*/ 11869 w 11869"/>
                    <a:gd name="connsiteY1" fmla="*/ 13422 h 1342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1869" h="13421">
                      <a:moveTo>
                        <a:pt x="0" y="0"/>
                      </a:moveTo>
                      <a:cubicBezTo>
                        <a:pt x="4442" y="4012"/>
                        <a:pt x="8418" y="8502"/>
                        <a:pt x="11869" y="13422"/>
                      </a:cubicBez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1068" name="Gráfico 11">
                <a:extLst>
                  <a:ext uri="{FF2B5EF4-FFF2-40B4-BE49-F238E27FC236}">
                    <a16:creationId xmlns:a16="http://schemas.microsoft.com/office/drawing/2014/main" id="{0AE997B3-43AC-43D0-6B72-62E1778375EB}"/>
                  </a:ext>
                </a:extLst>
              </p:cNvPr>
              <p:cNvGrpSpPr/>
              <p:nvPr/>
            </p:nvGrpSpPr>
            <p:grpSpPr>
              <a:xfrm>
                <a:off x="9832587" y="2102797"/>
                <a:ext cx="116270" cy="154720"/>
                <a:chOff x="9832587" y="2102797"/>
                <a:chExt cx="116270" cy="154720"/>
              </a:xfrm>
              <a:noFill/>
            </p:grpSpPr>
            <p:sp>
              <p:nvSpPr>
                <p:cNvPr id="1069" name="Forma livre: Forma 1068">
                  <a:extLst>
                    <a:ext uri="{FF2B5EF4-FFF2-40B4-BE49-F238E27FC236}">
                      <a16:creationId xmlns:a16="http://schemas.microsoft.com/office/drawing/2014/main" id="{E23BA9A0-956E-F229-C490-86571691BF0A}"/>
                    </a:ext>
                  </a:extLst>
                </p:cNvPr>
                <p:cNvSpPr/>
                <p:nvPr/>
              </p:nvSpPr>
              <p:spPr>
                <a:xfrm>
                  <a:off x="9857412" y="2143134"/>
                  <a:ext cx="55167" cy="97260"/>
                </a:xfrm>
                <a:custGeom>
                  <a:avLst/>
                  <a:gdLst>
                    <a:gd name="connsiteX0" fmla="*/ 19643 w 55167"/>
                    <a:gd name="connsiteY0" fmla="*/ 97260 h 97260"/>
                    <a:gd name="connsiteX1" fmla="*/ 0 w 55167"/>
                    <a:gd name="connsiteY1" fmla="*/ 55096 h 97260"/>
                    <a:gd name="connsiteX2" fmla="*/ 55168 w 55167"/>
                    <a:gd name="connsiteY2" fmla="*/ 0 h 9726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55167" h="97260">
                      <a:moveTo>
                        <a:pt x="19643" y="97260"/>
                      </a:moveTo>
                      <a:cubicBezTo>
                        <a:pt x="7272" y="86836"/>
                        <a:pt x="0" y="71408"/>
                        <a:pt x="0" y="55096"/>
                      </a:cubicBezTo>
                      <a:cubicBezTo>
                        <a:pt x="0" y="24706"/>
                        <a:pt x="24754" y="0"/>
                        <a:pt x="55168" y="0"/>
                      </a:cubicBez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070" name="Forma livre: Forma 1069">
                  <a:extLst>
                    <a:ext uri="{FF2B5EF4-FFF2-40B4-BE49-F238E27FC236}">
                      <a16:creationId xmlns:a16="http://schemas.microsoft.com/office/drawing/2014/main" id="{F2095F1B-EFBA-CB55-799A-DBD6E850474A}"/>
                    </a:ext>
                  </a:extLst>
                </p:cNvPr>
                <p:cNvSpPr/>
                <p:nvPr/>
              </p:nvSpPr>
              <p:spPr>
                <a:xfrm>
                  <a:off x="9912580" y="2102797"/>
                  <a:ext cx="36277" cy="56397"/>
                </a:xfrm>
                <a:custGeom>
                  <a:avLst/>
                  <a:gdLst>
                    <a:gd name="connsiteX0" fmla="*/ 0 w 36277"/>
                    <a:gd name="connsiteY0" fmla="*/ 0 h 56397"/>
                    <a:gd name="connsiteX1" fmla="*/ 36277 w 36277"/>
                    <a:gd name="connsiteY1" fmla="*/ 28193 h 56397"/>
                    <a:gd name="connsiteX2" fmla="*/ 0 w 36277"/>
                    <a:gd name="connsiteY2" fmla="*/ 56398 h 5639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36277" h="56397">
                      <a:moveTo>
                        <a:pt x="0" y="0"/>
                      </a:moveTo>
                      <a:lnTo>
                        <a:pt x="36277" y="28193"/>
                      </a:lnTo>
                      <a:lnTo>
                        <a:pt x="0" y="56398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071" name="Forma livre: Forma 1070">
                  <a:extLst>
                    <a:ext uri="{FF2B5EF4-FFF2-40B4-BE49-F238E27FC236}">
                      <a16:creationId xmlns:a16="http://schemas.microsoft.com/office/drawing/2014/main" id="{9EFEE8D4-092E-A2D0-B654-560398F162B1}"/>
                    </a:ext>
                  </a:extLst>
                </p:cNvPr>
                <p:cNvSpPr/>
                <p:nvPr/>
              </p:nvSpPr>
              <p:spPr>
                <a:xfrm>
                  <a:off x="9845710" y="2118309"/>
                  <a:ext cx="66870" cy="36062"/>
                </a:xfrm>
                <a:custGeom>
                  <a:avLst/>
                  <a:gdLst>
                    <a:gd name="connsiteX0" fmla="*/ 0 w 66870"/>
                    <a:gd name="connsiteY0" fmla="*/ 36062 h 36062"/>
                    <a:gd name="connsiteX1" fmla="*/ 66870 w 66870"/>
                    <a:gd name="connsiteY1" fmla="*/ 0 h 3606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66870" h="36062">
                      <a:moveTo>
                        <a:pt x="0" y="36062"/>
                      </a:moveTo>
                      <a:cubicBezTo>
                        <a:pt x="14305" y="14329"/>
                        <a:pt x="38928" y="0"/>
                        <a:pt x="66870" y="0"/>
                      </a:cubicBez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072" name="Forma livre: Forma 1071">
                  <a:extLst>
                    <a:ext uri="{FF2B5EF4-FFF2-40B4-BE49-F238E27FC236}">
                      <a16:creationId xmlns:a16="http://schemas.microsoft.com/office/drawing/2014/main" id="{8E0F42D9-8650-D007-0818-2C45EDDB0F1E}"/>
                    </a:ext>
                  </a:extLst>
                </p:cNvPr>
                <p:cNvSpPr/>
                <p:nvPr/>
              </p:nvSpPr>
              <p:spPr>
                <a:xfrm>
                  <a:off x="9832587" y="2165440"/>
                  <a:ext cx="7021" cy="34951"/>
                </a:xfrm>
                <a:custGeom>
                  <a:avLst/>
                  <a:gdLst>
                    <a:gd name="connsiteX0" fmla="*/ 36 w 7021"/>
                    <a:gd name="connsiteY0" fmla="*/ 34952 h 34951"/>
                    <a:gd name="connsiteX1" fmla="*/ 0 w 7021"/>
                    <a:gd name="connsiteY1" fmla="*/ 32790 h 34951"/>
                    <a:gd name="connsiteX2" fmla="*/ 7021 w 7021"/>
                    <a:gd name="connsiteY2" fmla="*/ 0 h 3495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7021" h="34951">
                      <a:moveTo>
                        <a:pt x="36" y="34952"/>
                      </a:moveTo>
                      <a:cubicBezTo>
                        <a:pt x="12" y="34223"/>
                        <a:pt x="0" y="33507"/>
                        <a:pt x="0" y="32790"/>
                      </a:cubicBezTo>
                      <a:cubicBezTo>
                        <a:pt x="0" y="21100"/>
                        <a:pt x="2508" y="10007"/>
                        <a:pt x="7021" y="0"/>
                      </a:cubicBez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073" name="Forma livre: Forma 1072">
                  <a:extLst>
                    <a:ext uri="{FF2B5EF4-FFF2-40B4-BE49-F238E27FC236}">
                      <a16:creationId xmlns:a16="http://schemas.microsoft.com/office/drawing/2014/main" id="{09D37662-A6F5-C297-CFA5-2624A51A9433}"/>
                    </a:ext>
                  </a:extLst>
                </p:cNvPr>
                <p:cNvSpPr/>
                <p:nvPr/>
              </p:nvSpPr>
              <p:spPr>
                <a:xfrm>
                  <a:off x="9834091" y="2213706"/>
                  <a:ext cx="6901" cy="20228"/>
                </a:xfrm>
                <a:custGeom>
                  <a:avLst/>
                  <a:gdLst>
                    <a:gd name="connsiteX0" fmla="*/ 6902 w 6901"/>
                    <a:gd name="connsiteY0" fmla="*/ 20228 h 20228"/>
                    <a:gd name="connsiteX1" fmla="*/ 0 w 6901"/>
                    <a:gd name="connsiteY1" fmla="*/ 0 h 2022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6901" h="20228">
                      <a:moveTo>
                        <a:pt x="6902" y="20228"/>
                      </a:moveTo>
                      <a:cubicBezTo>
                        <a:pt x="3750" y="13911"/>
                        <a:pt x="1397" y="7129"/>
                        <a:pt x="0" y="0"/>
                      </a:cubicBez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074" name="Forma livre: Forma 1073">
                  <a:extLst>
                    <a:ext uri="{FF2B5EF4-FFF2-40B4-BE49-F238E27FC236}">
                      <a16:creationId xmlns:a16="http://schemas.microsoft.com/office/drawing/2014/main" id="{9A6CE4B2-29EC-DA9D-29DE-BD97986DD11D}"/>
                    </a:ext>
                  </a:extLst>
                </p:cNvPr>
                <p:cNvSpPr/>
                <p:nvPr/>
              </p:nvSpPr>
              <p:spPr>
                <a:xfrm>
                  <a:off x="9847047" y="2244084"/>
                  <a:ext cx="11869" cy="13433"/>
                </a:xfrm>
                <a:custGeom>
                  <a:avLst/>
                  <a:gdLst>
                    <a:gd name="connsiteX0" fmla="*/ 11869 w 11869"/>
                    <a:gd name="connsiteY0" fmla="*/ 13434 h 13433"/>
                    <a:gd name="connsiteX1" fmla="*/ 0 w 11869"/>
                    <a:gd name="connsiteY1" fmla="*/ 0 h 134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1869" h="13433">
                      <a:moveTo>
                        <a:pt x="11869" y="13434"/>
                      </a:moveTo>
                      <a:cubicBezTo>
                        <a:pt x="7427" y="9422"/>
                        <a:pt x="3439" y="4920"/>
                        <a:pt x="0" y="0"/>
                      </a:cubicBez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</p:grpSp>
      <p:grpSp>
        <p:nvGrpSpPr>
          <p:cNvPr id="1075" name="Gráfico 11">
            <a:extLst>
              <a:ext uri="{FF2B5EF4-FFF2-40B4-BE49-F238E27FC236}">
                <a16:creationId xmlns:a16="http://schemas.microsoft.com/office/drawing/2014/main" id="{E70246B9-96EA-85B7-D9F2-E8B5AADB7A17}"/>
              </a:ext>
            </a:extLst>
          </p:cNvPr>
          <p:cNvGrpSpPr/>
          <p:nvPr/>
        </p:nvGrpSpPr>
        <p:grpSpPr>
          <a:xfrm>
            <a:off x="9732723" y="3127260"/>
            <a:ext cx="359707" cy="278169"/>
            <a:chOff x="9732723" y="3127260"/>
            <a:chExt cx="359707" cy="278169"/>
          </a:xfrm>
          <a:noFill/>
        </p:grpSpPr>
        <p:sp>
          <p:nvSpPr>
            <p:cNvPr id="1076" name="Forma livre: Forma 1075">
              <a:extLst>
                <a:ext uri="{FF2B5EF4-FFF2-40B4-BE49-F238E27FC236}">
                  <a16:creationId xmlns:a16="http://schemas.microsoft.com/office/drawing/2014/main" id="{010D4EF8-45EF-097E-8748-13724FE4E9B4}"/>
                </a:ext>
              </a:extLst>
            </p:cNvPr>
            <p:cNvSpPr/>
            <p:nvPr/>
          </p:nvSpPr>
          <p:spPr>
            <a:xfrm>
              <a:off x="9888334" y="3159813"/>
              <a:ext cx="204097" cy="245616"/>
            </a:xfrm>
            <a:custGeom>
              <a:avLst/>
              <a:gdLst>
                <a:gd name="connsiteX0" fmla="*/ 7111 w 204097"/>
                <a:gd name="connsiteY0" fmla="*/ 205421 h 245616"/>
                <a:gd name="connsiteX1" fmla="*/ 8914 w 204097"/>
                <a:gd name="connsiteY1" fmla="*/ 241006 h 245616"/>
                <a:gd name="connsiteX2" fmla="*/ 43483 w 204097"/>
                <a:gd name="connsiteY2" fmla="*/ 232671 h 245616"/>
                <a:gd name="connsiteX3" fmla="*/ 119226 w 204097"/>
                <a:gd name="connsiteY3" fmla="*/ 131410 h 245616"/>
                <a:gd name="connsiteX4" fmla="*/ 151216 w 204097"/>
                <a:gd name="connsiteY4" fmla="*/ 117093 h 245616"/>
                <a:gd name="connsiteX5" fmla="*/ 151670 w 204097"/>
                <a:gd name="connsiteY5" fmla="*/ 117033 h 245616"/>
                <a:gd name="connsiteX6" fmla="*/ 192365 w 204097"/>
                <a:gd name="connsiteY6" fmla="*/ 93879 h 245616"/>
                <a:gd name="connsiteX7" fmla="*/ 196126 w 204097"/>
                <a:gd name="connsiteY7" fmla="*/ 29147 h 245616"/>
                <a:gd name="connsiteX8" fmla="*/ 169975 w 204097"/>
                <a:gd name="connsiteY8" fmla="*/ 64050 h 245616"/>
                <a:gd name="connsiteX9" fmla="*/ 138176 w 204097"/>
                <a:gd name="connsiteY9" fmla="*/ 68600 h 245616"/>
                <a:gd name="connsiteX10" fmla="*/ 137925 w 204097"/>
                <a:gd name="connsiteY10" fmla="*/ 68409 h 245616"/>
                <a:gd name="connsiteX11" fmla="*/ 133352 w 204097"/>
                <a:gd name="connsiteY11" fmla="*/ 36622 h 245616"/>
                <a:gd name="connsiteX12" fmla="*/ 159491 w 204097"/>
                <a:gd name="connsiteY12" fmla="*/ 1718 h 245616"/>
                <a:gd name="connsiteX13" fmla="*/ 98424 w 204097"/>
                <a:gd name="connsiteY13" fmla="*/ 23511 h 245616"/>
                <a:gd name="connsiteX14" fmla="*/ 87630 w 204097"/>
                <a:gd name="connsiteY14" fmla="*/ 69090 h 245616"/>
                <a:gd name="connsiteX15" fmla="*/ 87701 w 204097"/>
                <a:gd name="connsiteY15" fmla="*/ 69544 h 245616"/>
                <a:gd name="connsiteX16" fmla="*/ 82853 w 204097"/>
                <a:gd name="connsiteY16" fmla="*/ 104184 h 245616"/>
                <a:gd name="connsiteX17" fmla="*/ 7111 w 204097"/>
                <a:gd name="connsiteY17" fmla="*/ 205433 h 2456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204097" h="245616">
                  <a:moveTo>
                    <a:pt x="7111" y="205421"/>
                  </a:moveTo>
                  <a:cubicBezTo>
                    <a:pt x="-2036" y="217637"/>
                    <a:pt x="-3302" y="231859"/>
                    <a:pt x="8914" y="241006"/>
                  </a:cubicBezTo>
                  <a:cubicBezTo>
                    <a:pt x="21130" y="250129"/>
                    <a:pt x="34324" y="244863"/>
                    <a:pt x="43483" y="232671"/>
                  </a:cubicBezTo>
                  <a:lnTo>
                    <a:pt x="119226" y="131410"/>
                  </a:lnTo>
                  <a:cubicBezTo>
                    <a:pt x="130283" y="117415"/>
                    <a:pt x="146428" y="117702"/>
                    <a:pt x="151216" y="117093"/>
                  </a:cubicBezTo>
                  <a:lnTo>
                    <a:pt x="151670" y="117033"/>
                  </a:lnTo>
                  <a:cubicBezTo>
                    <a:pt x="167289" y="115350"/>
                    <a:pt x="182215" y="107433"/>
                    <a:pt x="192365" y="93879"/>
                  </a:cubicBezTo>
                  <a:cubicBezTo>
                    <a:pt x="206933" y="74427"/>
                    <a:pt x="207638" y="48909"/>
                    <a:pt x="196126" y="29147"/>
                  </a:cubicBezTo>
                  <a:lnTo>
                    <a:pt x="169975" y="64050"/>
                  </a:lnTo>
                  <a:cubicBezTo>
                    <a:pt x="162488" y="74057"/>
                    <a:pt x="148171" y="76111"/>
                    <a:pt x="138176" y="68600"/>
                  </a:cubicBezTo>
                  <a:lnTo>
                    <a:pt x="137925" y="68409"/>
                  </a:lnTo>
                  <a:cubicBezTo>
                    <a:pt x="127931" y="60922"/>
                    <a:pt x="125865" y="46617"/>
                    <a:pt x="133352" y="36622"/>
                  </a:cubicBezTo>
                  <a:lnTo>
                    <a:pt x="159491" y="1718"/>
                  </a:lnTo>
                  <a:cubicBezTo>
                    <a:pt x="137293" y="-3787"/>
                    <a:pt x="112992" y="4058"/>
                    <a:pt x="98424" y="23511"/>
                  </a:cubicBezTo>
                  <a:cubicBezTo>
                    <a:pt x="88274" y="37088"/>
                    <a:pt x="84859" y="53614"/>
                    <a:pt x="87630" y="69090"/>
                  </a:cubicBezTo>
                  <a:lnTo>
                    <a:pt x="87701" y="69544"/>
                  </a:lnTo>
                  <a:cubicBezTo>
                    <a:pt x="88442" y="74308"/>
                    <a:pt x="93170" y="89652"/>
                    <a:pt x="82853" y="104184"/>
                  </a:cubicBezTo>
                  <a:lnTo>
                    <a:pt x="7111" y="205433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077" name="Gráfico 11">
              <a:extLst>
                <a:ext uri="{FF2B5EF4-FFF2-40B4-BE49-F238E27FC236}">
                  <a16:creationId xmlns:a16="http://schemas.microsoft.com/office/drawing/2014/main" id="{03FC14AD-AAA6-349A-2532-66401D8E764A}"/>
                </a:ext>
              </a:extLst>
            </p:cNvPr>
            <p:cNvGrpSpPr/>
            <p:nvPr/>
          </p:nvGrpSpPr>
          <p:grpSpPr>
            <a:xfrm>
              <a:off x="9732723" y="3127260"/>
              <a:ext cx="235490" cy="275994"/>
              <a:chOff x="9732723" y="3127260"/>
              <a:chExt cx="235490" cy="275994"/>
            </a:xfrm>
            <a:noFill/>
          </p:grpSpPr>
          <p:sp>
            <p:nvSpPr>
              <p:cNvPr id="1078" name="Forma livre: Forma 1077">
                <a:extLst>
                  <a:ext uri="{FF2B5EF4-FFF2-40B4-BE49-F238E27FC236}">
                    <a16:creationId xmlns:a16="http://schemas.microsoft.com/office/drawing/2014/main" id="{05E27548-6136-3D5A-862F-AA5FE75A3A0F}"/>
                  </a:ext>
                </a:extLst>
              </p:cNvPr>
              <p:cNvSpPr/>
              <p:nvPr/>
            </p:nvSpPr>
            <p:spPr>
              <a:xfrm>
                <a:off x="9848576" y="3127260"/>
                <a:ext cx="119637" cy="48241"/>
              </a:xfrm>
              <a:custGeom>
                <a:avLst/>
                <a:gdLst>
                  <a:gd name="connsiteX0" fmla="*/ 119638 w 119637"/>
                  <a:gd name="connsiteY0" fmla="*/ 38880 h 48241"/>
                  <a:gd name="connsiteX1" fmla="*/ 105798 w 119637"/>
                  <a:gd name="connsiteY1" fmla="*/ 26521 h 48241"/>
                  <a:gd name="connsiteX2" fmla="*/ 75157 w 119637"/>
                  <a:gd name="connsiteY2" fmla="*/ 48242 h 48241"/>
                  <a:gd name="connsiteX3" fmla="*/ 47908 w 119637"/>
                  <a:gd name="connsiteY3" fmla="*/ 36993 h 48241"/>
                  <a:gd name="connsiteX4" fmla="*/ 41818 w 119637"/>
                  <a:gd name="connsiteY4" fmla="*/ 0 h 48241"/>
                  <a:gd name="connsiteX5" fmla="*/ 2448 w 119637"/>
                  <a:gd name="connsiteY5" fmla="*/ 0 h 48241"/>
                  <a:gd name="connsiteX6" fmla="*/ 0 w 119637"/>
                  <a:gd name="connsiteY6" fmla="*/ 16503 h 482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19637" h="48241">
                    <a:moveTo>
                      <a:pt x="119638" y="38880"/>
                    </a:moveTo>
                    <a:lnTo>
                      <a:pt x="105798" y="26521"/>
                    </a:lnTo>
                    <a:lnTo>
                      <a:pt x="75157" y="48242"/>
                    </a:lnTo>
                    <a:cubicBezTo>
                      <a:pt x="66763" y="43263"/>
                      <a:pt x="57604" y="39465"/>
                      <a:pt x="47908" y="36993"/>
                    </a:cubicBezTo>
                    <a:lnTo>
                      <a:pt x="41818" y="0"/>
                    </a:lnTo>
                    <a:lnTo>
                      <a:pt x="2448" y="0"/>
                    </a:lnTo>
                    <a:lnTo>
                      <a:pt x="0" y="16503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079" name="Forma livre: Forma 1078">
                <a:extLst>
                  <a:ext uri="{FF2B5EF4-FFF2-40B4-BE49-F238E27FC236}">
                    <a16:creationId xmlns:a16="http://schemas.microsoft.com/office/drawing/2014/main" id="{FA94BEC9-583E-A4A4-A660-ADCDAD3018F5}"/>
                  </a:ext>
                </a:extLst>
              </p:cNvPr>
              <p:cNvSpPr/>
              <p:nvPr/>
            </p:nvSpPr>
            <p:spPr>
              <a:xfrm>
                <a:off x="9732723" y="3212245"/>
                <a:ext cx="135758" cy="191009"/>
              </a:xfrm>
              <a:custGeom>
                <a:avLst/>
                <a:gdLst>
                  <a:gd name="connsiteX0" fmla="*/ 48230 w 135758"/>
                  <a:gd name="connsiteY0" fmla="*/ 0 h 191009"/>
                  <a:gd name="connsiteX1" fmla="*/ 37029 w 135758"/>
                  <a:gd name="connsiteY1" fmla="*/ 27035 h 191009"/>
                  <a:gd name="connsiteX2" fmla="*/ 0 w 135758"/>
                  <a:gd name="connsiteY2" fmla="*/ 33328 h 191009"/>
                  <a:gd name="connsiteX3" fmla="*/ 0 w 135758"/>
                  <a:gd name="connsiteY3" fmla="*/ 72697 h 191009"/>
                  <a:gd name="connsiteX4" fmla="*/ 37029 w 135758"/>
                  <a:gd name="connsiteY4" fmla="*/ 79014 h 191009"/>
                  <a:gd name="connsiteX5" fmla="*/ 48350 w 135758"/>
                  <a:gd name="connsiteY5" fmla="*/ 106228 h 191009"/>
                  <a:gd name="connsiteX6" fmla="*/ 26497 w 135758"/>
                  <a:gd name="connsiteY6" fmla="*/ 136678 h 191009"/>
                  <a:gd name="connsiteX7" fmla="*/ 54344 w 135758"/>
                  <a:gd name="connsiteY7" fmla="*/ 164513 h 191009"/>
                  <a:gd name="connsiteX8" fmla="*/ 84794 w 135758"/>
                  <a:gd name="connsiteY8" fmla="*/ 142660 h 191009"/>
                  <a:gd name="connsiteX9" fmla="*/ 112008 w 135758"/>
                  <a:gd name="connsiteY9" fmla="*/ 153957 h 191009"/>
                  <a:gd name="connsiteX10" fmla="*/ 118300 w 135758"/>
                  <a:gd name="connsiteY10" fmla="*/ 191010 h 191009"/>
                  <a:gd name="connsiteX11" fmla="*/ 135758 w 135758"/>
                  <a:gd name="connsiteY11" fmla="*/ 191010 h 1910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35758" h="191009">
                    <a:moveTo>
                      <a:pt x="48230" y="0"/>
                    </a:moveTo>
                    <a:cubicBezTo>
                      <a:pt x="43286" y="8335"/>
                      <a:pt x="39489" y="17410"/>
                      <a:pt x="37029" y="27035"/>
                    </a:cubicBezTo>
                    <a:lnTo>
                      <a:pt x="0" y="33328"/>
                    </a:lnTo>
                    <a:lnTo>
                      <a:pt x="0" y="72697"/>
                    </a:lnTo>
                    <a:lnTo>
                      <a:pt x="37029" y="79014"/>
                    </a:lnTo>
                    <a:cubicBezTo>
                      <a:pt x="39513" y="88710"/>
                      <a:pt x="43346" y="97845"/>
                      <a:pt x="48350" y="106228"/>
                    </a:cubicBezTo>
                    <a:lnTo>
                      <a:pt x="26497" y="136678"/>
                    </a:lnTo>
                    <a:lnTo>
                      <a:pt x="54344" y="164513"/>
                    </a:lnTo>
                    <a:lnTo>
                      <a:pt x="84794" y="142660"/>
                    </a:lnTo>
                    <a:cubicBezTo>
                      <a:pt x="93188" y="147652"/>
                      <a:pt x="102323" y="151473"/>
                      <a:pt x="112008" y="153957"/>
                    </a:cubicBezTo>
                    <a:lnTo>
                      <a:pt x="118300" y="191010"/>
                    </a:lnTo>
                    <a:lnTo>
                      <a:pt x="135758" y="191010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080" name="Forma livre: Forma 1079">
                <a:extLst>
                  <a:ext uri="{FF2B5EF4-FFF2-40B4-BE49-F238E27FC236}">
                    <a16:creationId xmlns:a16="http://schemas.microsoft.com/office/drawing/2014/main" id="{606BF2A9-8D84-5949-878B-EEE35DD00AC4}"/>
                  </a:ext>
                </a:extLst>
              </p:cNvPr>
              <p:cNvSpPr/>
              <p:nvPr/>
            </p:nvSpPr>
            <p:spPr>
              <a:xfrm>
                <a:off x="9759209" y="3153781"/>
                <a:ext cx="85737" cy="40922"/>
              </a:xfrm>
              <a:custGeom>
                <a:avLst/>
                <a:gdLst>
                  <a:gd name="connsiteX0" fmla="*/ 85737 w 85737"/>
                  <a:gd name="connsiteY0" fmla="*/ 10484 h 40922"/>
                  <a:gd name="connsiteX1" fmla="*/ 58488 w 85737"/>
                  <a:gd name="connsiteY1" fmla="*/ 21721 h 40922"/>
                  <a:gd name="connsiteX2" fmla="*/ 27847 w 85737"/>
                  <a:gd name="connsiteY2" fmla="*/ 0 h 40922"/>
                  <a:gd name="connsiteX3" fmla="*/ 0 w 85737"/>
                  <a:gd name="connsiteY3" fmla="*/ 27823 h 40922"/>
                  <a:gd name="connsiteX4" fmla="*/ 9362 w 85737"/>
                  <a:gd name="connsiteY4" fmla="*/ 40922 h 409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5737" h="40922">
                    <a:moveTo>
                      <a:pt x="85737" y="10484"/>
                    </a:moveTo>
                    <a:cubicBezTo>
                      <a:pt x="76041" y="12956"/>
                      <a:pt x="66894" y="16753"/>
                      <a:pt x="58488" y="21721"/>
                    </a:cubicBezTo>
                    <a:lnTo>
                      <a:pt x="27847" y="0"/>
                    </a:lnTo>
                    <a:lnTo>
                      <a:pt x="0" y="27823"/>
                    </a:lnTo>
                    <a:lnTo>
                      <a:pt x="9362" y="40922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081" name="Forma livre: Forma 1080">
              <a:extLst>
                <a:ext uri="{FF2B5EF4-FFF2-40B4-BE49-F238E27FC236}">
                  <a16:creationId xmlns:a16="http://schemas.microsoft.com/office/drawing/2014/main" id="{8B0D9BA0-4D1D-D381-D20B-7D143EB4A436}"/>
                </a:ext>
              </a:extLst>
            </p:cNvPr>
            <p:cNvSpPr/>
            <p:nvPr/>
          </p:nvSpPr>
          <p:spPr>
            <a:xfrm>
              <a:off x="9839202" y="3233763"/>
              <a:ext cx="63013" cy="63025"/>
            </a:xfrm>
            <a:custGeom>
              <a:avLst/>
              <a:gdLst>
                <a:gd name="connsiteX0" fmla="*/ 21028 w 63013"/>
                <a:gd name="connsiteY0" fmla="*/ 1791 h 63025"/>
                <a:gd name="connsiteX1" fmla="*/ 31501 w 63013"/>
                <a:gd name="connsiteY1" fmla="*/ 0 h 63025"/>
                <a:gd name="connsiteX2" fmla="*/ 63013 w 63013"/>
                <a:gd name="connsiteY2" fmla="*/ 31513 h 63025"/>
                <a:gd name="connsiteX3" fmla="*/ 31501 w 63013"/>
                <a:gd name="connsiteY3" fmla="*/ 63025 h 63025"/>
                <a:gd name="connsiteX4" fmla="*/ 0 w 63013"/>
                <a:gd name="connsiteY4" fmla="*/ 31513 h 63025"/>
                <a:gd name="connsiteX5" fmla="*/ 2782 w 63013"/>
                <a:gd name="connsiteY5" fmla="*/ 18545 h 63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3013" h="63025">
                  <a:moveTo>
                    <a:pt x="21028" y="1791"/>
                  </a:moveTo>
                  <a:cubicBezTo>
                    <a:pt x="24312" y="633"/>
                    <a:pt x="27835" y="0"/>
                    <a:pt x="31501" y="0"/>
                  </a:cubicBezTo>
                  <a:cubicBezTo>
                    <a:pt x="48899" y="0"/>
                    <a:pt x="63013" y="14103"/>
                    <a:pt x="63013" y="31513"/>
                  </a:cubicBezTo>
                  <a:cubicBezTo>
                    <a:pt x="63013" y="48923"/>
                    <a:pt x="48911" y="63025"/>
                    <a:pt x="31501" y="63025"/>
                  </a:cubicBezTo>
                  <a:cubicBezTo>
                    <a:pt x="14090" y="63025"/>
                    <a:pt x="0" y="48923"/>
                    <a:pt x="0" y="31513"/>
                  </a:cubicBezTo>
                  <a:cubicBezTo>
                    <a:pt x="0" y="26891"/>
                    <a:pt x="1003" y="22497"/>
                    <a:pt x="2782" y="18545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82" name="Forma livre: Forma 1081">
              <a:extLst>
                <a:ext uri="{FF2B5EF4-FFF2-40B4-BE49-F238E27FC236}">
                  <a16:creationId xmlns:a16="http://schemas.microsoft.com/office/drawing/2014/main" id="{A354A86E-9AA9-B92C-14D0-179601F54A49}"/>
                </a:ext>
              </a:extLst>
            </p:cNvPr>
            <p:cNvSpPr/>
            <p:nvPr/>
          </p:nvSpPr>
          <p:spPr>
            <a:xfrm>
              <a:off x="9835966" y="3193378"/>
              <a:ext cx="106502" cy="67347"/>
            </a:xfrm>
            <a:custGeom>
              <a:avLst/>
              <a:gdLst>
                <a:gd name="connsiteX0" fmla="*/ 0 w 106502"/>
                <a:gd name="connsiteY0" fmla="*/ 8944 h 67347"/>
                <a:gd name="connsiteX1" fmla="*/ 34749 w 106502"/>
                <a:gd name="connsiteY1" fmla="*/ 0 h 67347"/>
                <a:gd name="connsiteX2" fmla="*/ 106503 w 106502"/>
                <a:gd name="connsiteY2" fmla="*/ 67348 h 673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06502" h="67347">
                  <a:moveTo>
                    <a:pt x="0" y="8944"/>
                  </a:moveTo>
                  <a:cubicBezTo>
                    <a:pt x="10293" y="3248"/>
                    <a:pt x="22151" y="0"/>
                    <a:pt x="34749" y="0"/>
                  </a:cubicBezTo>
                  <a:cubicBezTo>
                    <a:pt x="72936" y="0"/>
                    <a:pt x="104162" y="29769"/>
                    <a:pt x="106503" y="67348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83" name="Forma livre: Forma 1082">
              <a:extLst>
                <a:ext uri="{FF2B5EF4-FFF2-40B4-BE49-F238E27FC236}">
                  <a16:creationId xmlns:a16="http://schemas.microsoft.com/office/drawing/2014/main" id="{CDD550A6-B7F3-21DD-F2F9-F0955BA55F75}"/>
                </a:ext>
              </a:extLst>
            </p:cNvPr>
            <p:cNvSpPr/>
            <p:nvPr/>
          </p:nvSpPr>
          <p:spPr>
            <a:xfrm>
              <a:off x="9798829" y="3219923"/>
              <a:ext cx="86740" cy="117249"/>
            </a:xfrm>
            <a:custGeom>
              <a:avLst/>
              <a:gdLst>
                <a:gd name="connsiteX0" fmla="*/ 86740 w 86740"/>
                <a:gd name="connsiteY0" fmla="*/ 115721 h 117249"/>
                <a:gd name="connsiteX1" fmla="*/ 71897 w 86740"/>
                <a:gd name="connsiteY1" fmla="*/ 117250 h 117249"/>
                <a:gd name="connsiteX2" fmla="*/ 0 w 86740"/>
                <a:gd name="connsiteY2" fmla="*/ 45352 h 117249"/>
                <a:gd name="connsiteX3" fmla="*/ 16109 w 86740"/>
                <a:gd name="connsiteY3" fmla="*/ 0 h 1172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6740" h="117249">
                  <a:moveTo>
                    <a:pt x="86740" y="115721"/>
                  </a:moveTo>
                  <a:cubicBezTo>
                    <a:pt x="81952" y="116724"/>
                    <a:pt x="76984" y="117250"/>
                    <a:pt x="71897" y="117250"/>
                  </a:cubicBezTo>
                  <a:cubicBezTo>
                    <a:pt x="32193" y="117250"/>
                    <a:pt x="0" y="85056"/>
                    <a:pt x="0" y="45352"/>
                  </a:cubicBezTo>
                  <a:cubicBezTo>
                    <a:pt x="0" y="28157"/>
                    <a:pt x="6030" y="12371"/>
                    <a:pt x="16109" y="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084" name="Gráfico 11">
            <a:extLst>
              <a:ext uri="{FF2B5EF4-FFF2-40B4-BE49-F238E27FC236}">
                <a16:creationId xmlns:a16="http://schemas.microsoft.com/office/drawing/2014/main" id="{E84A9E87-3A87-C23A-278A-018A5977E8BB}"/>
              </a:ext>
            </a:extLst>
          </p:cNvPr>
          <p:cNvGrpSpPr/>
          <p:nvPr/>
        </p:nvGrpSpPr>
        <p:grpSpPr>
          <a:xfrm>
            <a:off x="9780476" y="1500226"/>
            <a:ext cx="264196" cy="328069"/>
            <a:chOff x="9780476" y="1500226"/>
            <a:chExt cx="264196" cy="328069"/>
          </a:xfrm>
          <a:noFill/>
        </p:grpSpPr>
        <p:sp>
          <p:nvSpPr>
            <p:cNvPr id="1085" name="Forma livre: Forma 1084">
              <a:extLst>
                <a:ext uri="{FF2B5EF4-FFF2-40B4-BE49-F238E27FC236}">
                  <a16:creationId xmlns:a16="http://schemas.microsoft.com/office/drawing/2014/main" id="{ABFDC6AF-FE4F-9E71-15E7-681E5605F480}"/>
                </a:ext>
              </a:extLst>
            </p:cNvPr>
            <p:cNvSpPr/>
            <p:nvPr/>
          </p:nvSpPr>
          <p:spPr>
            <a:xfrm>
              <a:off x="9780476" y="1500226"/>
              <a:ext cx="156034" cy="259921"/>
            </a:xfrm>
            <a:custGeom>
              <a:avLst/>
              <a:gdLst>
                <a:gd name="connsiteX0" fmla="*/ 0 w 156034"/>
                <a:gd name="connsiteY0" fmla="*/ 0 h 259921"/>
                <a:gd name="connsiteX1" fmla="*/ 156034 w 156034"/>
                <a:gd name="connsiteY1" fmla="*/ 0 h 259921"/>
                <a:gd name="connsiteX2" fmla="*/ 156034 w 156034"/>
                <a:gd name="connsiteY2" fmla="*/ 259922 h 259921"/>
                <a:gd name="connsiteX3" fmla="*/ 0 w 156034"/>
                <a:gd name="connsiteY3" fmla="*/ 259922 h 2599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6034" h="259921">
                  <a:moveTo>
                    <a:pt x="0" y="0"/>
                  </a:moveTo>
                  <a:lnTo>
                    <a:pt x="156034" y="0"/>
                  </a:lnTo>
                  <a:lnTo>
                    <a:pt x="156034" y="259922"/>
                  </a:lnTo>
                  <a:lnTo>
                    <a:pt x="0" y="259922"/>
                  </a:ln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086" name="Gráfico 11">
              <a:extLst>
                <a:ext uri="{FF2B5EF4-FFF2-40B4-BE49-F238E27FC236}">
                  <a16:creationId xmlns:a16="http://schemas.microsoft.com/office/drawing/2014/main" id="{7467A405-EC6D-21F2-19F2-D68894928691}"/>
                </a:ext>
              </a:extLst>
            </p:cNvPr>
            <p:cNvGrpSpPr/>
            <p:nvPr/>
          </p:nvGrpSpPr>
          <p:grpSpPr>
            <a:xfrm>
              <a:off x="9806663" y="1526580"/>
              <a:ext cx="103660" cy="52540"/>
              <a:chOff x="9806663" y="1526580"/>
              <a:chExt cx="103660" cy="52540"/>
            </a:xfrm>
            <a:noFill/>
          </p:grpSpPr>
          <p:sp>
            <p:nvSpPr>
              <p:cNvPr id="1087" name="Forma livre: Forma 1086">
                <a:extLst>
                  <a:ext uri="{FF2B5EF4-FFF2-40B4-BE49-F238E27FC236}">
                    <a16:creationId xmlns:a16="http://schemas.microsoft.com/office/drawing/2014/main" id="{A6375AF5-2016-57BF-011D-C16FF2F09455}"/>
                  </a:ext>
                </a:extLst>
              </p:cNvPr>
              <p:cNvSpPr/>
              <p:nvPr/>
            </p:nvSpPr>
            <p:spPr>
              <a:xfrm>
                <a:off x="9806663" y="1526580"/>
                <a:ext cx="103660" cy="52540"/>
              </a:xfrm>
              <a:custGeom>
                <a:avLst/>
                <a:gdLst>
                  <a:gd name="connsiteX0" fmla="*/ 0 w 103660"/>
                  <a:gd name="connsiteY0" fmla="*/ 0 h 52540"/>
                  <a:gd name="connsiteX1" fmla="*/ 103661 w 103660"/>
                  <a:gd name="connsiteY1" fmla="*/ 0 h 52540"/>
                  <a:gd name="connsiteX2" fmla="*/ 103661 w 103660"/>
                  <a:gd name="connsiteY2" fmla="*/ 52541 h 52540"/>
                  <a:gd name="connsiteX3" fmla="*/ 0 w 103660"/>
                  <a:gd name="connsiteY3" fmla="*/ 52541 h 525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03660" h="52540">
                    <a:moveTo>
                      <a:pt x="0" y="0"/>
                    </a:moveTo>
                    <a:lnTo>
                      <a:pt x="103661" y="0"/>
                    </a:lnTo>
                    <a:lnTo>
                      <a:pt x="103661" y="52541"/>
                    </a:lnTo>
                    <a:lnTo>
                      <a:pt x="0" y="52541"/>
                    </a:ln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088" name="Forma livre: Forma 1087">
                <a:extLst>
                  <a:ext uri="{FF2B5EF4-FFF2-40B4-BE49-F238E27FC236}">
                    <a16:creationId xmlns:a16="http://schemas.microsoft.com/office/drawing/2014/main" id="{5FBDCA04-9736-308F-1101-9F20C3E21293}"/>
                  </a:ext>
                </a:extLst>
              </p:cNvPr>
              <p:cNvSpPr/>
              <p:nvPr/>
            </p:nvSpPr>
            <p:spPr>
              <a:xfrm>
                <a:off x="9864947" y="1543202"/>
                <a:ext cx="1194" cy="18902"/>
              </a:xfrm>
              <a:custGeom>
                <a:avLst/>
                <a:gdLst>
                  <a:gd name="connsiteX0" fmla="*/ 0 w 1194"/>
                  <a:gd name="connsiteY0" fmla="*/ 0 h 18902"/>
                  <a:gd name="connsiteX1" fmla="*/ 0 w 1194"/>
                  <a:gd name="connsiteY1" fmla="*/ 18903 h 189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4" h="18902">
                    <a:moveTo>
                      <a:pt x="0" y="0"/>
                    </a:moveTo>
                    <a:lnTo>
                      <a:pt x="0" y="18903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089" name="Forma livre: Forma 1088">
                <a:extLst>
                  <a:ext uri="{FF2B5EF4-FFF2-40B4-BE49-F238E27FC236}">
                    <a16:creationId xmlns:a16="http://schemas.microsoft.com/office/drawing/2014/main" id="{684C3280-569C-3DAE-4383-1832D06EFB66}"/>
                  </a:ext>
                </a:extLst>
              </p:cNvPr>
              <p:cNvSpPr/>
              <p:nvPr/>
            </p:nvSpPr>
            <p:spPr>
              <a:xfrm>
                <a:off x="9885641" y="1543202"/>
                <a:ext cx="1194" cy="18902"/>
              </a:xfrm>
              <a:custGeom>
                <a:avLst/>
                <a:gdLst>
                  <a:gd name="connsiteX0" fmla="*/ 0 w 1194"/>
                  <a:gd name="connsiteY0" fmla="*/ 0 h 18902"/>
                  <a:gd name="connsiteX1" fmla="*/ 0 w 1194"/>
                  <a:gd name="connsiteY1" fmla="*/ 18903 h 189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4" h="18902">
                    <a:moveTo>
                      <a:pt x="0" y="0"/>
                    </a:moveTo>
                    <a:lnTo>
                      <a:pt x="0" y="18903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090" name="Gráfico 11">
              <a:extLst>
                <a:ext uri="{FF2B5EF4-FFF2-40B4-BE49-F238E27FC236}">
                  <a16:creationId xmlns:a16="http://schemas.microsoft.com/office/drawing/2014/main" id="{69BB6956-6C0B-EC0F-6CA2-8E73451F3618}"/>
                </a:ext>
              </a:extLst>
            </p:cNvPr>
            <p:cNvGrpSpPr/>
            <p:nvPr/>
          </p:nvGrpSpPr>
          <p:grpSpPr>
            <a:xfrm>
              <a:off x="9810364" y="1610502"/>
              <a:ext cx="96245" cy="96245"/>
              <a:chOff x="9810364" y="1610502"/>
              <a:chExt cx="96245" cy="96245"/>
            </a:xfrm>
            <a:noFill/>
          </p:grpSpPr>
          <p:sp>
            <p:nvSpPr>
              <p:cNvPr id="1091" name="Forma livre: Forma 1090">
                <a:extLst>
                  <a:ext uri="{FF2B5EF4-FFF2-40B4-BE49-F238E27FC236}">
                    <a16:creationId xmlns:a16="http://schemas.microsoft.com/office/drawing/2014/main" id="{D6311FBC-6B4E-BB3E-ACE4-5170EB797B9E}"/>
                  </a:ext>
                </a:extLst>
              </p:cNvPr>
              <p:cNvSpPr/>
              <p:nvPr/>
            </p:nvSpPr>
            <p:spPr>
              <a:xfrm>
                <a:off x="9810364" y="1610502"/>
                <a:ext cx="96245" cy="96245"/>
              </a:xfrm>
              <a:custGeom>
                <a:avLst/>
                <a:gdLst>
                  <a:gd name="connsiteX0" fmla="*/ 20742 w 96245"/>
                  <a:gd name="connsiteY0" fmla="*/ 8550 h 96245"/>
                  <a:gd name="connsiteX1" fmla="*/ 48123 w 96245"/>
                  <a:gd name="connsiteY1" fmla="*/ 0 h 96245"/>
                  <a:gd name="connsiteX2" fmla="*/ 96245 w 96245"/>
                  <a:gd name="connsiteY2" fmla="*/ 48123 h 96245"/>
                  <a:gd name="connsiteX3" fmla="*/ 48123 w 96245"/>
                  <a:gd name="connsiteY3" fmla="*/ 96245 h 96245"/>
                  <a:gd name="connsiteX4" fmla="*/ 0 w 96245"/>
                  <a:gd name="connsiteY4" fmla="*/ 48123 h 96245"/>
                  <a:gd name="connsiteX5" fmla="*/ 4872 w 96245"/>
                  <a:gd name="connsiteY5" fmla="*/ 26987 h 962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96245" h="96245">
                    <a:moveTo>
                      <a:pt x="20742" y="8550"/>
                    </a:moveTo>
                    <a:cubicBezTo>
                      <a:pt x="28515" y="3152"/>
                      <a:pt x="37949" y="0"/>
                      <a:pt x="48123" y="0"/>
                    </a:cubicBezTo>
                    <a:cubicBezTo>
                      <a:pt x="74704" y="0"/>
                      <a:pt x="96245" y="21542"/>
                      <a:pt x="96245" y="48123"/>
                    </a:cubicBezTo>
                    <a:cubicBezTo>
                      <a:pt x="96245" y="74704"/>
                      <a:pt x="74704" y="96245"/>
                      <a:pt x="48123" y="96245"/>
                    </a:cubicBezTo>
                    <a:cubicBezTo>
                      <a:pt x="21542" y="96245"/>
                      <a:pt x="0" y="74704"/>
                      <a:pt x="0" y="48123"/>
                    </a:cubicBezTo>
                    <a:cubicBezTo>
                      <a:pt x="0" y="40540"/>
                      <a:pt x="1755" y="33351"/>
                      <a:pt x="4872" y="26987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092" name="Forma livre: Forma 1091">
                <a:extLst>
                  <a:ext uri="{FF2B5EF4-FFF2-40B4-BE49-F238E27FC236}">
                    <a16:creationId xmlns:a16="http://schemas.microsoft.com/office/drawing/2014/main" id="{26DE30FE-6C46-81A3-92B3-DB3ADF2AB697}"/>
                  </a:ext>
                </a:extLst>
              </p:cNvPr>
              <p:cNvSpPr/>
              <p:nvPr/>
            </p:nvSpPr>
            <p:spPr>
              <a:xfrm>
                <a:off x="9841137" y="1640390"/>
                <a:ext cx="34700" cy="36468"/>
              </a:xfrm>
              <a:custGeom>
                <a:avLst/>
                <a:gdLst>
                  <a:gd name="connsiteX0" fmla="*/ 34701 w 34700"/>
                  <a:gd name="connsiteY0" fmla="*/ 0 h 36468"/>
                  <a:gd name="connsiteX1" fmla="*/ 0 w 34700"/>
                  <a:gd name="connsiteY1" fmla="*/ 36468 h 364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4700" h="36468">
                    <a:moveTo>
                      <a:pt x="34701" y="0"/>
                    </a:moveTo>
                    <a:lnTo>
                      <a:pt x="0" y="36468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093" name="Gráfico 11">
              <a:extLst>
                <a:ext uri="{FF2B5EF4-FFF2-40B4-BE49-F238E27FC236}">
                  <a16:creationId xmlns:a16="http://schemas.microsoft.com/office/drawing/2014/main" id="{410A7BCE-BFF0-F8D7-B6D3-6E55A06D97DB}"/>
                </a:ext>
              </a:extLst>
            </p:cNvPr>
            <p:cNvGrpSpPr/>
            <p:nvPr/>
          </p:nvGrpSpPr>
          <p:grpSpPr>
            <a:xfrm>
              <a:off x="9965563" y="1555871"/>
              <a:ext cx="25876" cy="103493"/>
              <a:chOff x="9965563" y="1555871"/>
              <a:chExt cx="25876" cy="103493"/>
            </a:xfrm>
            <a:noFill/>
          </p:grpSpPr>
          <p:sp>
            <p:nvSpPr>
              <p:cNvPr id="1094" name="Forma livre: Forma 1093">
                <a:extLst>
                  <a:ext uri="{FF2B5EF4-FFF2-40B4-BE49-F238E27FC236}">
                    <a16:creationId xmlns:a16="http://schemas.microsoft.com/office/drawing/2014/main" id="{49C04ACE-2664-95DE-47A4-D8CD23176DD5}"/>
                  </a:ext>
                </a:extLst>
              </p:cNvPr>
              <p:cNvSpPr/>
              <p:nvPr/>
            </p:nvSpPr>
            <p:spPr>
              <a:xfrm>
                <a:off x="9965563" y="1590906"/>
                <a:ext cx="25876" cy="68458"/>
              </a:xfrm>
              <a:custGeom>
                <a:avLst/>
                <a:gdLst>
                  <a:gd name="connsiteX0" fmla="*/ 0 w 25876"/>
                  <a:gd name="connsiteY0" fmla="*/ 0 h 68458"/>
                  <a:gd name="connsiteX1" fmla="*/ 25876 w 25876"/>
                  <a:gd name="connsiteY1" fmla="*/ 0 h 68458"/>
                  <a:gd name="connsiteX2" fmla="*/ 25876 w 25876"/>
                  <a:gd name="connsiteY2" fmla="*/ 68458 h 68458"/>
                  <a:gd name="connsiteX3" fmla="*/ 0 w 25876"/>
                  <a:gd name="connsiteY3" fmla="*/ 68458 h 684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5876" h="68458">
                    <a:moveTo>
                      <a:pt x="0" y="0"/>
                    </a:moveTo>
                    <a:lnTo>
                      <a:pt x="25876" y="0"/>
                    </a:lnTo>
                    <a:lnTo>
                      <a:pt x="25876" y="68458"/>
                    </a:lnTo>
                    <a:lnTo>
                      <a:pt x="0" y="68458"/>
                    </a:lnTo>
                    <a:close/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095" name="Forma livre: Forma 1094">
                <a:extLst>
                  <a:ext uri="{FF2B5EF4-FFF2-40B4-BE49-F238E27FC236}">
                    <a16:creationId xmlns:a16="http://schemas.microsoft.com/office/drawing/2014/main" id="{B7AA3A37-7899-78C7-AA07-658999CB961A}"/>
                  </a:ext>
                </a:extLst>
              </p:cNvPr>
              <p:cNvSpPr/>
              <p:nvPr/>
            </p:nvSpPr>
            <p:spPr>
              <a:xfrm>
                <a:off x="9978053" y="1555871"/>
                <a:ext cx="1194" cy="33363"/>
              </a:xfrm>
              <a:custGeom>
                <a:avLst/>
                <a:gdLst>
                  <a:gd name="connsiteX0" fmla="*/ 0 w 1194"/>
                  <a:gd name="connsiteY0" fmla="*/ 33363 h 33363"/>
                  <a:gd name="connsiteX1" fmla="*/ 0 w 1194"/>
                  <a:gd name="connsiteY1" fmla="*/ 0 h 333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4" h="33363">
                    <a:moveTo>
                      <a:pt x="0" y="33363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096" name="Gráfico 11">
              <a:extLst>
                <a:ext uri="{FF2B5EF4-FFF2-40B4-BE49-F238E27FC236}">
                  <a16:creationId xmlns:a16="http://schemas.microsoft.com/office/drawing/2014/main" id="{B5E3F2A8-1421-6227-2748-82ADF1AB6067}"/>
                </a:ext>
              </a:extLst>
            </p:cNvPr>
            <p:cNvGrpSpPr/>
            <p:nvPr/>
          </p:nvGrpSpPr>
          <p:grpSpPr>
            <a:xfrm>
              <a:off x="10018796" y="1555871"/>
              <a:ext cx="25876" cy="103493"/>
              <a:chOff x="10018796" y="1555871"/>
              <a:chExt cx="25876" cy="103493"/>
            </a:xfrm>
            <a:noFill/>
          </p:grpSpPr>
          <p:sp>
            <p:nvSpPr>
              <p:cNvPr id="1097" name="Forma livre: Forma 1096">
                <a:extLst>
                  <a:ext uri="{FF2B5EF4-FFF2-40B4-BE49-F238E27FC236}">
                    <a16:creationId xmlns:a16="http://schemas.microsoft.com/office/drawing/2014/main" id="{475A07EC-DF95-9B65-37C2-42AD1DA5E2CA}"/>
                  </a:ext>
                </a:extLst>
              </p:cNvPr>
              <p:cNvSpPr/>
              <p:nvPr/>
            </p:nvSpPr>
            <p:spPr>
              <a:xfrm>
                <a:off x="10018796" y="1590906"/>
                <a:ext cx="25876" cy="68458"/>
              </a:xfrm>
              <a:custGeom>
                <a:avLst/>
                <a:gdLst>
                  <a:gd name="connsiteX0" fmla="*/ 0 w 25876"/>
                  <a:gd name="connsiteY0" fmla="*/ 0 h 68458"/>
                  <a:gd name="connsiteX1" fmla="*/ 25876 w 25876"/>
                  <a:gd name="connsiteY1" fmla="*/ 0 h 68458"/>
                  <a:gd name="connsiteX2" fmla="*/ 25876 w 25876"/>
                  <a:gd name="connsiteY2" fmla="*/ 68458 h 68458"/>
                  <a:gd name="connsiteX3" fmla="*/ 0 w 25876"/>
                  <a:gd name="connsiteY3" fmla="*/ 68458 h 684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5876" h="68458">
                    <a:moveTo>
                      <a:pt x="0" y="0"/>
                    </a:moveTo>
                    <a:lnTo>
                      <a:pt x="25876" y="0"/>
                    </a:lnTo>
                    <a:lnTo>
                      <a:pt x="25876" y="68458"/>
                    </a:lnTo>
                    <a:lnTo>
                      <a:pt x="0" y="68458"/>
                    </a:lnTo>
                    <a:close/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098" name="Forma livre: Forma 1097">
                <a:extLst>
                  <a:ext uri="{FF2B5EF4-FFF2-40B4-BE49-F238E27FC236}">
                    <a16:creationId xmlns:a16="http://schemas.microsoft.com/office/drawing/2014/main" id="{12800425-9B72-5678-58DF-9457782878B9}"/>
                  </a:ext>
                </a:extLst>
              </p:cNvPr>
              <p:cNvSpPr/>
              <p:nvPr/>
            </p:nvSpPr>
            <p:spPr>
              <a:xfrm>
                <a:off x="10031287" y="1555871"/>
                <a:ext cx="1194" cy="33363"/>
              </a:xfrm>
              <a:custGeom>
                <a:avLst/>
                <a:gdLst>
                  <a:gd name="connsiteX0" fmla="*/ 0 w 1194"/>
                  <a:gd name="connsiteY0" fmla="*/ 33363 h 33363"/>
                  <a:gd name="connsiteX1" fmla="*/ 0 w 1194"/>
                  <a:gd name="connsiteY1" fmla="*/ 0 h 333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4" h="33363">
                    <a:moveTo>
                      <a:pt x="0" y="33363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099" name="Gráfico 11">
              <a:extLst>
                <a:ext uri="{FF2B5EF4-FFF2-40B4-BE49-F238E27FC236}">
                  <a16:creationId xmlns:a16="http://schemas.microsoft.com/office/drawing/2014/main" id="{93B15A4D-80FD-CFC3-C1D0-2F0674D8634B}"/>
                </a:ext>
              </a:extLst>
            </p:cNvPr>
            <p:cNvGrpSpPr/>
            <p:nvPr/>
          </p:nvGrpSpPr>
          <p:grpSpPr>
            <a:xfrm>
              <a:off x="9818293" y="1736468"/>
              <a:ext cx="80387" cy="1194"/>
              <a:chOff x="9818293" y="1736468"/>
              <a:chExt cx="80387" cy="1194"/>
            </a:xfrm>
          </p:grpSpPr>
          <p:sp>
            <p:nvSpPr>
              <p:cNvPr id="1100" name="Forma livre: Forma 1099">
                <a:extLst>
                  <a:ext uri="{FF2B5EF4-FFF2-40B4-BE49-F238E27FC236}">
                    <a16:creationId xmlns:a16="http://schemas.microsoft.com/office/drawing/2014/main" id="{2DBE0FE6-CB37-323E-E40F-70DAA52D9A8A}"/>
                  </a:ext>
                </a:extLst>
              </p:cNvPr>
              <p:cNvSpPr/>
              <p:nvPr/>
            </p:nvSpPr>
            <p:spPr>
              <a:xfrm>
                <a:off x="9818293" y="1736468"/>
                <a:ext cx="10938" cy="1194"/>
              </a:xfrm>
              <a:custGeom>
                <a:avLst/>
                <a:gdLst>
                  <a:gd name="connsiteX0" fmla="*/ 0 w 10938"/>
                  <a:gd name="connsiteY0" fmla="*/ 0 h 1194"/>
                  <a:gd name="connsiteX1" fmla="*/ 10938 w 10938"/>
                  <a:gd name="connsiteY1" fmla="*/ 0 h 11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0938" h="1194">
                    <a:moveTo>
                      <a:pt x="0" y="0"/>
                    </a:moveTo>
                    <a:lnTo>
                      <a:pt x="10938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101" name="Forma livre: Forma 1100">
                <a:extLst>
                  <a:ext uri="{FF2B5EF4-FFF2-40B4-BE49-F238E27FC236}">
                    <a16:creationId xmlns:a16="http://schemas.microsoft.com/office/drawing/2014/main" id="{643EA7AE-81A3-C1A7-72A8-DD44CAA60300}"/>
                  </a:ext>
                </a:extLst>
              </p:cNvPr>
              <p:cNvSpPr/>
              <p:nvPr/>
            </p:nvSpPr>
            <p:spPr>
              <a:xfrm>
                <a:off x="9853018" y="1736468"/>
                <a:ext cx="10938" cy="1194"/>
              </a:xfrm>
              <a:custGeom>
                <a:avLst/>
                <a:gdLst>
                  <a:gd name="connsiteX0" fmla="*/ 0 w 10938"/>
                  <a:gd name="connsiteY0" fmla="*/ 0 h 1194"/>
                  <a:gd name="connsiteX1" fmla="*/ 10938 w 10938"/>
                  <a:gd name="connsiteY1" fmla="*/ 0 h 11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0938" h="1194">
                    <a:moveTo>
                      <a:pt x="0" y="0"/>
                    </a:moveTo>
                    <a:lnTo>
                      <a:pt x="10938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102" name="Forma livre: Forma 1101">
                <a:extLst>
                  <a:ext uri="{FF2B5EF4-FFF2-40B4-BE49-F238E27FC236}">
                    <a16:creationId xmlns:a16="http://schemas.microsoft.com/office/drawing/2014/main" id="{1DA7A2FA-6A66-4C4D-E49F-5B77FBE30D6D}"/>
                  </a:ext>
                </a:extLst>
              </p:cNvPr>
              <p:cNvSpPr/>
              <p:nvPr/>
            </p:nvSpPr>
            <p:spPr>
              <a:xfrm>
                <a:off x="9887755" y="1736468"/>
                <a:ext cx="10926" cy="1194"/>
              </a:xfrm>
              <a:custGeom>
                <a:avLst/>
                <a:gdLst>
                  <a:gd name="connsiteX0" fmla="*/ 0 w 10926"/>
                  <a:gd name="connsiteY0" fmla="*/ 0 h 1194"/>
                  <a:gd name="connsiteX1" fmla="*/ 10926 w 10926"/>
                  <a:gd name="connsiteY1" fmla="*/ 0 h 11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0926" h="1194">
                    <a:moveTo>
                      <a:pt x="0" y="0"/>
                    </a:moveTo>
                    <a:lnTo>
                      <a:pt x="10926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103" name="Forma livre: Forma 1102">
              <a:extLst>
                <a:ext uri="{FF2B5EF4-FFF2-40B4-BE49-F238E27FC236}">
                  <a16:creationId xmlns:a16="http://schemas.microsoft.com/office/drawing/2014/main" id="{3E1C5A92-7229-3BD8-5215-96A0DEB46954}"/>
                </a:ext>
              </a:extLst>
            </p:cNvPr>
            <p:cNvSpPr/>
            <p:nvPr/>
          </p:nvSpPr>
          <p:spPr>
            <a:xfrm>
              <a:off x="9839680" y="1660165"/>
              <a:ext cx="138994" cy="140272"/>
            </a:xfrm>
            <a:custGeom>
              <a:avLst/>
              <a:gdLst>
                <a:gd name="connsiteX0" fmla="*/ 138994 w 138994"/>
                <a:gd name="connsiteY0" fmla="*/ 0 h 140272"/>
                <a:gd name="connsiteX1" fmla="*/ 138994 w 138994"/>
                <a:gd name="connsiteY1" fmla="*/ 121166 h 140272"/>
                <a:gd name="connsiteX2" fmla="*/ 119889 w 138994"/>
                <a:gd name="connsiteY2" fmla="*/ 140272 h 140272"/>
                <a:gd name="connsiteX3" fmla="*/ 19106 w 138994"/>
                <a:gd name="connsiteY3" fmla="*/ 140272 h 140272"/>
                <a:gd name="connsiteX4" fmla="*/ 0 w 138994"/>
                <a:gd name="connsiteY4" fmla="*/ 121166 h 140272"/>
                <a:gd name="connsiteX5" fmla="*/ 0 w 138994"/>
                <a:gd name="connsiteY5" fmla="*/ 100305 h 1402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38994" h="140272">
                  <a:moveTo>
                    <a:pt x="138994" y="0"/>
                  </a:moveTo>
                  <a:lnTo>
                    <a:pt x="138994" y="121166"/>
                  </a:lnTo>
                  <a:cubicBezTo>
                    <a:pt x="138994" y="131674"/>
                    <a:pt x="130397" y="140272"/>
                    <a:pt x="119889" y="140272"/>
                  </a:cubicBezTo>
                  <a:lnTo>
                    <a:pt x="19106" y="140272"/>
                  </a:lnTo>
                  <a:cubicBezTo>
                    <a:pt x="8598" y="140272"/>
                    <a:pt x="0" y="131674"/>
                    <a:pt x="0" y="121166"/>
                  </a:cubicBezTo>
                  <a:lnTo>
                    <a:pt x="0" y="100305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04" name="Forma livre: Forma 1103">
              <a:extLst>
                <a:ext uri="{FF2B5EF4-FFF2-40B4-BE49-F238E27FC236}">
                  <a16:creationId xmlns:a16="http://schemas.microsoft.com/office/drawing/2014/main" id="{4DB6D44A-5BC1-4724-7A0F-EF9190BF673E}"/>
                </a:ext>
              </a:extLst>
            </p:cNvPr>
            <p:cNvSpPr/>
            <p:nvPr/>
          </p:nvSpPr>
          <p:spPr>
            <a:xfrm>
              <a:off x="9877891" y="1660165"/>
              <a:ext cx="153956" cy="168130"/>
            </a:xfrm>
            <a:custGeom>
              <a:avLst/>
              <a:gdLst>
                <a:gd name="connsiteX0" fmla="*/ 153957 w 153956"/>
                <a:gd name="connsiteY0" fmla="*/ 0 h 168130"/>
                <a:gd name="connsiteX1" fmla="*/ 153957 w 153956"/>
                <a:gd name="connsiteY1" fmla="*/ 149025 h 168130"/>
                <a:gd name="connsiteX2" fmla="*/ 134851 w 153956"/>
                <a:gd name="connsiteY2" fmla="*/ 168131 h 168130"/>
                <a:gd name="connsiteX3" fmla="*/ 19106 w 153956"/>
                <a:gd name="connsiteY3" fmla="*/ 168131 h 168130"/>
                <a:gd name="connsiteX4" fmla="*/ 0 w 153956"/>
                <a:gd name="connsiteY4" fmla="*/ 149025 h 168130"/>
                <a:gd name="connsiteX5" fmla="*/ 0 w 153956"/>
                <a:gd name="connsiteY5" fmla="*/ 141932 h 1681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53956" h="168130">
                  <a:moveTo>
                    <a:pt x="153957" y="0"/>
                  </a:moveTo>
                  <a:lnTo>
                    <a:pt x="153957" y="149025"/>
                  </a:lnTo>
                  <a:cubicBezTo>
                    <a:pt x="153957" y="159533"/>
                    <a:pt x="145359" y="168131"/>
                    <a:pt x="134851" y="168131"/>
                  </a:cubicBezTo>
                  <a:lnTo>
                    <a:pt x="19106" y="168131"/>
                  </a:lnTo>
                  <a:cubicBezTo>
                    <a:pt x="8598" y="168131"/>
                    <a:pt x="0" y="159533"/>
                    <a:pt x="0" y="149025"/>
                  </a:cubicBezTo>
                  <a:lnTo>
                    <a:pt x="0" y="141932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05" name="Forma livre: Forma 1104">
              <a:extLst>
                <a:ext uri="{FF2B5EF4-FFF2-40B4-BE49-F238E27FC236}">
                  <a16:creationId xmlns:a16="http://schemas.microsoft.com/office/drawing/2014/main" id="{89EA2613-2BFA-FED8-785F-1DA6F0F54D20}"/>
                </a:ext>
              </a:extLst>
            </p:cNvPr>
            <p:cNvSpPr/>
            <p:nvPr/>
          </p:nvSpPr>
          <p:spPr>
            <a:xfrm>
              <a:off x="9877891" y="1759204"/>
              <a:ext cx="1194" cy="23070"/>
            </a:xfrm>
            <a:custGeom>
              <a:avLst/>
              <a:gdLst>
                <a:gd name="connsiteX0" fmla="*/ 0 w 1194"/>
                <a:gd name="connsiteY0" fmla="*/ 23070 h 23070"/>
                <a:gd name="connsiteX1" fmla="*/ 0 w 1194"/>
                <a:gd name="connsiteY1" fmla="*/ 0 h 230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94" h="23070">
                  <a:moveTo>
                    <a:pt x="0" y="23070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106" name="Gráfico 11">
            <a:extLst>
              <a:ext uri="{FF2B5EF4-FFF2-40B4-BE49-F238E27FC236}">
                <a16:creationId xmlns:a16="http://schemas.microsoft.com/office/drawing/2014/main" id="{E7A758EE-40B0-CD14-6C2C-E7C189BBD8E2}"/>
              </a:ext>
            </a:extLst>
          </p:cNvPr>
          <p:cNvGrpSpPr/>
          <p:nvPr/>
        </p:nvGrpSpPr>
        <p:grpSpPr>
          <a:xfrm>
            <a:off x="11016105" y="1001959"/>
            <a:ext cx="279624" cy="256506"/>
            <a:chOff x="11016105" y="1001959"/>
            <a:chExt cx="279624" cy="256506"/>
          </a:xfrm>
          <a:noFill/>
        </p:grpSpPr>
        <p:grpSp>
          <p:nvGrpSpPr>
            <p:cNvPr id="1107" name="Gráfico 11">
              <a:extLst>
                <a:ext uri="{FF2B5EF4-FFF2-40B4-BE49-F238E27FC236}">
                  <a16:creationId xmlns:a16="http://schemas.microsoft.com/office/drawing/2014/main" id="{30C20351-9B24-9737-0332-21877408402E}"/>
                </a:ext>
              </a:extLst>
            </p:cNvPr>
            <p:cNvGrpSpPr/>
            <p:nvPr/>
          </p:nvGrpSpPr>
          <p:grpSpPr>
            <a:xfrm>
              <a:off x="11016105" y="1001959"/>
              <a:ext cx="184537" cy="256506"/>
              <a:chOff x="11016105" y="1001959"/>
              <a:chExt cx="184537" cy="256506"/>
            </a:xfrm>
            <a:noFill/>
          </p:grpSpPr>
          <p:sp>
            <p:nvSpPr>
              <p:cNvPr id="1108" name="Forma livre: Forma 1107">
                <a:extLst>
                  <a:ext uri="{FF2B5EF4-FFF2-40B4-BE49-F238E27FC236}">
                    <a16:creationId xmlns:a16="http://schemas.microsoft.com/office/drawing/2014/main" id="{00BF7DA4-FED6-013D-89C9-E11114678140}"/>
                  </a:ext>
                </a:extLst>
              </p:cNvPr>
              <p:cNvSpPr/>
              <p:nvPr/>
            </p:nvSpPr>
            <p:spPr>
              <a:xfrm>
                <a:off x="11016105" y="1001959"/>
                <a:ext cx="184537" cy="256506"/>
              </a:xfrm>
              <a:custGeom>
                <a:avLst/>
                <a:gdLst>
                  <a:gd name="connsiteX0" fmla="*/ 44182 w 184537"/>
                  <a:gd name="connsiteY0" fmla="*/ 256507 h 256506"/>
                  <a:gd name="connsiteX1" fmla="*/ 14413 w 184537"/>
                  <a:gd name="connsiteY1" fmla="*/ 256507 h 256506"/>
                  <a:gd name="connsiteX2" fmla="*/ 0 w 184537"/>
                  <a:gd name="connsiteY2" fmla="*/ 241927 h 256506"/>
                  <a:gd name="connsiteX3" fmla="*/ 0 w 184537"/>
                  <a:gd name="connsiteY3" fmla="*/ 14413 h 256506"/>
                  <a:gd name="connsiteX4" fmla="*/ 14413 w 184537"/>
                  <a:gd name="connsiteY4" fmla="*/ 0 h 256506"/>
                  <a:gd name="connsiteX5" fmla="*/ 170125 w 184537"/>
                  <a:gd name="connsiteY5" fmla="*/ 0 h 256506"/>
                  <a:gd name="connsiteX6" fmla="*/ 184538 w 184537"/>
                  <a:gd name="connsiteY6" fmla="*/ 14413 h 256506"/>
                  <a:gd name="connsiteX7" fmla="*/ 184538 w 184537"/>
                  <a:gd name="connsiteY7" fmla="*/ 110730 h 2565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84537" h="256506">
                    <a:moveTo>
                      <a:pt x="44182" y="256507"/>
                    </a:moveTo>
                    <a:lnTo>
                      <a:pt x="14413" y="256507"/>
                    </a:lnTo>
                    <a:cubicBezTo>
                      <a:pt x="6484" y="256507"/>
                      <a:pt x="0" y="249844"/>
                      <a:pt x="0" y="241927"/>
                    </a:cubicBezTo>
                    <a:lnTo>
                      <a:pt x="0" y="14413"/>
                    </a:lnTo>
                    <a:cubicBezTo>
                      <a:pt x="0" y="6484"/>
                      <a:pt x="6484" y="0"/>
                      <a:pt x="14413" y="0"/>
                    </a:cubicBezTo>
                    <a:lnTo>
                      <a:pt x="170125" y="0"/>
                    </a:lnTo>
                    <a:cubicBezTo>
                      <a:pt x="178054" y="0"/>
                      <a:pt x="184538" y="6484"/>
                      <a:pt x="184538" y="14413"/>
                    </a:cubicBezTo>
                    <a:lnTo>
                      <a:pt x="184538" y="11073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109" name="Forma livre: Forma 1108">
                <a:extLst>
                  <a:ext uri="{FF2B5EF4-FFF2-40B4-BE49-F238E27FC236}">
                    <a16:creationId xmlns:a16="http://schemas.microsoft.com/office/drawing/2014/main" id="{7E59C60B-9687-1BC9-C10D-7F970A8B275E}"/>
                  </a:ext>
                </a:extLst>
              </p:cNvPr>
              <p:cNvSpPr/>
              <p:nvPr/>
            </p:nvSpPr>
            <p:spPr>
              <a:xfrm>
                <a:off x="11039904" y="1086467"/>
                <a:ext cx="160357" cy="1194"/>
              </a:xfrm>
              <a:custGeom>
                <a:avLst/>
                <a:gdLst>
                  <a:gd name="connsiteX0" fmla="*/ 0 w 160357"/>
                  <a:gd name="connsiteY0" fmla="*/ 0 h 1194"/>
                  <a:gd name="connsiteX1" fmla="*/ 160357 w 160357"/>
                  <a:gd name="connsiteY1" fmla="*/ 0 h 11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60357" h="1194">
                    <a:moveTo>
                      <a:pt x="0" y="0"/>
                    </a:moveTo>
                    <a:lnTo>
                      <a:pt x="160357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110" name="Forma livre: Forma 1109">
                <a:extLst>
                  <a:ext uri="{FF2B5EF4-FFF2-40B4-BE49-F238E27FC236}">
                    <a16:creationId xmlns:a16="http://schemas.microsoft.com/office/drawing/2014/main" id="{B6F765D2-90C2-E71B-54D7-F3188AEF0A38}"/>
                  </a:ext>
                </a:extLst>
              </p:cNvPr>
              <p:cNvSpPr/>
              <p:nvPr/>
            </p:nvSpPr>
            <p:spPr>
              <a:xfrm>
                <a:off x="11077733" y="1087350"/>
                <a:ext cx="1194" cy="140713"/>
              </a:xfrm>
              <a:custGeom>
                <a:avLst/>
                <a:gdLst>
                  <a:gd name="connsiteX0" fmla="*/ 0 w 1194"/>
                  <a:gd name="connsiteY0" fmla="*/ 0 h 140713"/>
                  <a:gd name="connsiteX1" fmla="*/ 0 w 1194"/>
                  <a:gd name="connsiteY1" fmla="*/ 140714 h 1407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4" h="140713">
                    <a:moveTo>
                      <a:pt x="0" y="0"/>
                    </a:moveTo>
                    <a:lnTo>
                      <a:pt x="0" y="140714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111" name="Forma livre: Forma 1110">
                <a:extLst>
                  <a:ext uri="{FF2B5EF4-FFF2-40B4-BE49-F238E27FC236}">
                    <a16:creationId xmlns:a16="http://schemas.microsoft.com/office/drawing/2014/main" id="{CF7D9B6D-2E7B-4180-F5EB-BAD120233F72}"/>
                  </a:ext>
                </a:extLst>
              </p:cNvPr>
              <p:cNvSpPr/>
              <p:nvPr/>
            </p:nvSpPr>
            <p:spPr>
              <a:xfrm>
                <a:off x="11139337" y="1087183"/>
                <a:ext cx="1194" cy="81091"/>
              </a:xfrm>
              <a:custGeom>
                <a:avLst/>
                <a:gdLst>
                  <a:gd name="connsiteX0" fmla="*/ 0 w 1194"/>
                  <a:gd name="connsiteY0" fmla="*/ 0 h 81091"/>
                  <a:gd name="connsiteX1" fmla="*/ 0 w 1194"/>
                  <a:gd name="connsiteY1" fmla="*/ 81092 h 810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4" h="81091">
                    <a:moveTo>
                      <a:pt x="0" y="0"/>
                    </a:moveTo>
                    <a:lnTo>
                      <a:pt x="0" y="81092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112" name="Forma livre: Forma 1111">
                <a:extLst>
                  <a:ext uri="{FF2B5EF4-FFF2-40B4-BE49-F238E27FC236}">
                    <a16:creationId xmlns:a16="http://schemas.microsoft.com/office/drawing/2014/main" id="{AC8DD76F-F2DB-29AB-416A-E870929E05B1}"/>
                  </a:ext>
                </a:extLst>
              </p:cNvPr>
              <p:cNvSpPr/>
              <p:nvPr/>
            </p:nvSpPr>
            <p:spPr>
              <a:xfrm>
                <a:off x="11130895" y="1029711"/>
                <a:ext cx="1194" cy="30760"/>
              </a:xfrm>
              <a:custGeom>
                <a:avLst/>
                <a:gdLst>
                  <a:gd name="connsiteX0" fmla="*/ 0 w 1194"/>
                  <a:gd name="connsiteY0" fmla="*/ 0 h 30760"/>
                  <a:gd name="connsiteX1" fmla="*/ 0 w 1194"/>
                  <a:gd name="connsiteY1" fmla="*/ 30760 h 307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4" h="30760">
                    <a:moveTo>
                      <a:pt x="0" y="0"/>
                    </a:moveTo>
                    <a:lnTo>
                      <a:pt x="0" y="3076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113" name="Forma livre: Forma 1112">
                <a:extLst>
                  <a:ext uri="{FF2B5EF4-FFF2-40B4-BE49-F238E27FC236}">
                    <a16:creationId xmlns:a16="http://schemas.microsoft.com/office/drawing/2014/main" id="{1CC916E7-2669-649F-4CC7-7F1ABFDA00E7}"/>
                  </a:ext>
                </a:extLst>
              </p:cNvPr>
              <p:cNvSpPr/>
              <p:nvPr/>
            </p:nvSpPr>
            <p:spPr>
              <a:xfrm>
                <a:off x="11165178" y="1029711"/>
                <a:ext cx="1194" cy="30760"/>
              </a:xfrm>
              <a:custGeom>
                <a:avLst/>
                <a:gdLst>
                  <a:gd name="connsiteX0" fmla="*/ 0 w 1194"/>
                  <a:gd name="connsiteY0" fmla="*/ 0 h 30760"/>
                  <a:gd name="connsiteX1" fmla="*/ 0 w 1194"/>
                  <a:gd name="connsiteY1" fmla="*/ 30760 h 307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4" h="30760">
                    <a:moveTo>
                      <a:pt x="0" y="0"/>
                    </a:moveTo>
                    <a:lnTo>
                      <a:pt x="0" y="3076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114" name="Forma livre: Forma 1113">
                <a:extLst>
                  <a:ext uri="{FF2B5EF4-FFF2-40B4-BE49-F238E27FC236}">
                    <a16:creationId xmlns:a16="http://schemas.microsoft.com/office/drawing/2014/main" id="{DC48AA17-EF7F-8FFD-C929-779EE29B5FDD}"/>
                  </a:ext>
                </a:extLst>
              </p:cNvPr>
              <p:cNvSpPr/>
              <p:nvPr/>
            </p:nvSpPr>
            <p:spPr>
              <a:xfrm>
                <a:off x="11039904" y="1143617"/>
                <a:ext cx="127113" cy="1194"/>
              </a:xfrm>
              <a:custGeom>
                <a:avLst/>
                <a:gdLst>
                  <a:gd name="connsiteX0" fmla="*/ 0 w 127113"/>
                  <a:gd name="connsiteY0" fmla="*/ 0 h 1194"/>
                  <a:gd name="connsiteX1" fmla="*/ 127113 w 127113"/>
                  <a:gd name="connsiteY1" fmla="*/ 0 h 11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7113" h="1194">
                    <a:moveTo>
                      <a:pt x="0" y="0"/>
                    </a:moveTo>
                    <a:lnTo>
                      <a:pt x="127113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115" name="Forma livre: Forma 1114">
                <a:extLst>
                  <a:ext uri="{FF2B5EF4-FFF2-40B4-BE49-F238E27FC236}">
                    <a16:creationId xmlns:a16="http://schemas.microsoft.com/office/drawing/2014/main" id="{E5BC072F-8203-6656-DA01-4A9495BD6017}"/>
                  </a:ext>
                </a:extLst>
              </p:cNvPr>
              <p:cNvSpPr/>
              <p:nvPr/>
            </p:nvSpPr>
            <p:spPr>
              <a:xfrm>
                <a:off x="11039904" y="1200767"/>
                <a:ext cx="66332" cy="1194"/>
              </a:xfrm>
              <a:custGeom>
                <a:avLst/>
                <a:gdLst>
                  <a:gd name="connsiteX0" fmla="*/ 0 w 66332"/>
                  <a:gd name="connsiteY0" fmla="*/ 0 h 1194"/>
                  <a:gd name="connsiteX1" fmla="*/ 66333 w 66332"/>
                  <a:gd name="connsiteY1" fmla="*/ 0 h 11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6332" h="1194">
                    <a:moveTo>
                      <a:pt x="0" y="0"/>
                    </a:moveTo>
                    <a:lnTo>
                      <a:pt x="66333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116" name="Forma livre: Forma 1115">
              <a:extLst>
                <a:ext uri="{FF2B5EF4-FFF2-40B4-BE49-F238E27FC236}">
                  <a16:creationId xmlns:a16="http://schemas.microsoft.com/office/drawing/2014/main" id="{2053824E-1DDD-FC25-C316-C07E38CF3212}"/>
                </a:ext>
              </a:extLst>
            </p:cNvPr>
            <p:cNvSpPr/>
            <p:nvPr/>
          </p:nvSpPr>
          <p:spPr>
            <a:xfrm>
              <a:off x="11081280" y="1051873"/>
              <a:ext cx="214450" cy="206592"/>
            </a:xfrm>
            <a:custGeom>
              <a:avLst/>
              <a:gdLst>
                <a:gd name="connsiteX0" fmla="*/ 0 w 214450"/>
                <a:gd name="connsiteY0" fmla="*/ 206593 h 206592"/>
                <a:gd name="connsiteX1" fmla="*/ 214450 w 214450"/>
                <a:gd name="connsiteY1" fmla="*/ 206593 h 206592"/>
                <a:gd name="connsiteX2" fmla="*/ 214450 w 214450"/>
                <a:gd name="connsiteY2" fmla="*/ 0 h 206592"/>
                <a:gd name="connsiteX3" fmla="*/ 0 w 214450"/>
                <a:gd name="connsiteY3" fmla="*/ 206593 h 2065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14450" h="206592">
                  <a:moveTo>
                    <a:pt x="0" y="206593"/>
                  </a:moveTo>
                  <a:lnTo>
                    <a:pt x="214450" y="206593"/>
                  </a:lnTo>
                  <a:lnTo>
                    <a:pt x="214450" y="0"/>
                  </a:lnTo>
                  <a:lnTo>
                    <a:pt x="0" y="206593"/>
                  </a:ln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17" name="Forma livre: Forma 1116">
              <a:extLst>
                <a:ext uri="{FF2B5EF4-FFF2-40B4-BE49-F238E27FC236}">
                  <a16:creationId xmlns:a16="http://schemas.microsoft.com/office/drawing/2014/main" id="{1F339789-8A97-D517-9313-18E141762A30}"/>
                </a:ext>
              </a:extLst>
            </p:cNvPr>
            <p:cNvSpPr/>
            <p:nvPr/>
          </p:nvSpPr>
          <p:spPr>
            <a:xfrm>
              <a:off x="11178946" y="1144512"/>
              <a:ext cx="77390" cy="74572"/>
            </a:xfrm>
            <a:custGeom>
              <a:avLst/>
              <a:gdLst>
                <a:gd name="connsiteX0" fmla="*/ 0 w 77390"/>
                <a:gd name="connsiteY0" fmla="*/ 74572 h 74572"/>
                <a:gd name="connsiteX1" fmla="*/ 77390 w 77390"/>
                <a:gd name="connsiteY1" fmla="*/ 0 h 74572"/>
                <a:gd name="connsiteX2" fmla="*/ 77390 w 77390"/>
                <a:gd name="connsiteY2" fmla="*/ 74572 h 74572"/>
                <a:gd name="connsiteX3" fmla="*/ 0 w 77390"/>
                <a:gd name="connsiteY3" fmla="*/ 74572 h 745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7390" h="74572">
                  <a:moveTo>
                    <a:pt x="0" y="74572"/>
                  </a:moveTo>
                  <a:lnTo>
                    <a:pt x="77390" y="0"/>
                  </a:lnTo>
                  <a:lnTo>
                    <a:pt x="77390" y="74572"/>
                  </a:lnTo>
                  <a:lnTo>
                    <a:pt x="0" y="74572"/>
                  </a:ln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118" name="Gráfico 11">
              <a:extLst>
                <a:ext uri="{FF2B5EF4-FFF2-40B4-BE49-F238E27FC236}">
                  <a16:creationId xmlns:a16="http://schemas.microsoft.com/office/drawing/2014/main" id="{A4F4D652-991B-067C-9686-95A9F09FFA14}"/>
                </a:ext>
              </a:extLst>
            </p:cNvPr>
            <p:cNvGrpSpPr/>
            <p:nvPr/>
          </p:nvGrpSpPr>
          <p:grpSpPr>
            <a:xfrm>
              <a:off x="11128961" y="1237378"/>
              <a:ext cx="137513" cy="20359"/>
              <a:chOff x="11128961" y="1237378"/>
              <a:chExt cx="137513" cy="20359"/>
            </a:xfrm>
          </p:grpSpPr>
          <p:sp>
            <p:nvSpPr>
              <p:cNvPr id="1119" name="Forma livre: Forma 1118">
                <a:extLst>
                  <a:ext uri="{FF2B5EF4-FFF2-40B4-BE49-F238E27FC236}">
                    <a16:creationId xmlns:a16="http://schemas.microsoft.com/office/drawing/2014/main" id="{2C96A3DD-8D87-4256-C1CE-E21D44FA675D}"/>
                  </a:ext>
                </a:extLst>
              </p:cNvPr>
              <p:cNvSpPr/>
              <p:nvPr/>
            </p:nvSpPr>
            <p:spPr>
              <a:xfrm>
                <a:off x="11128961" y="1237378"/>
                <a:ext cx="1194" cy="20359"/>
              </a:xfrm>
              <a:custGeom>
                <a:avLst/>
                <a:gdLst>
                  <a:gd name="connsiteX0" fmla="*/ 0 w 1194"/>
                  <a:gd name="connsiteY0" fmla="*/ 0 h 20359"/>
                  <a:gd name="connsiteX1" fmla="*/ 0 w 1194"/>
                  <a:gd name="connsiteY1" fmla="*/ 20360 h 203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4" h="20359">
                    <a:moveTo>
                      <a:pt x="0" y="0"/>
                    </a:moveTo>
                    <a:lnTo>
                      <a:pt x="0" y="2036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120" name="Forma livre: Forma 1119">
                <a:extLst>
                  <a:ext uri="{FF2B5EF4-FFF2-40B4-BE49-F238E27FC236}">
                    <a16:creationId xmlns:a16="http://schemas.microsoft.com/office/drawing/2014/main" id="{B1C87A56-5C39-AFE6-F63A-91C8469387B9}"/>
                  </a:ext>
                </a:extLst>
              </p:cNvPr>
              <p:cNvSpPr/>
              <p:nvPr/>
            </p:nvSpPr>
            <p:spPr>
              <a:xfrm>
                <a:off x="11156473" y="1237378"/>
                <a:ext cx="1194" cy="20359"/>
              </a:xfrm>
              <a:custGeom>
                <a:avLst/>
                <a:gdLst>
                  <a:gd name="connsiteX0" fmla="*/ 0 w 1194"/>
                  <a:gd name="connsiteY0" fmla="*/ 0 h 20359"/>
                  <a:gd name="connsiteX1" fmla="*/ 0 w 1194"/>
                  <a:gd name="connsiteY1" fmla="*/ 20360 h 203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4" h="20359">
                    <a:moveTo>
                      <a:pt x="0" y="0"/>
                    </a:moveTo>
                    <a:lnTo>
                      <a:pt x="0" y="2036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121" name="Forma livre: Forma 1120">
                <a:extLst>
                  <a:ext uri="{FF2B5EF4-FFF2-40B4-BE49-F238E27FC236}">
                    <a16:creationId xmlns:a16="http://schemas.microsoft.com/office/drawing/2014/main" id="{40D1F920-9010-78C7-D58D-5C99DAC54F9C}"/>
                  </a:ext>
                </a:extLst>
              </p:cNvPr>
              <p:cNvSpPr/>
              <p:nvPr/>
            </p:nvSpPr>
            <p:spPr>
              <a:xfrm>
                <a:off x="11183973" y="1237378"/>
                <a:ext cx="1194" cy="20359"/>
              </a:xfrm>
              <a:custGeom>
                <a:avLst/>
                <a:gdLst>
                  <a:gd name="connsiteX0" fmla="*/ 0 w 1194"/>
                  <a:gd name="connsiteY0" fmla="*/ 0 h 20359"/>
                  <a:gd name="connsiteX1" fmla="*/ 0 w 1194"/>
                  <a:gd name="connsiteY1" fmla="*/ 20360 h 203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4" h="20359">
                    <a:moveTo>
                      <a:pt x="0" y="0"/>
                    </a:moveTo>
                    <a:lnTo>
                      <a:pt x="0" y="2036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122" name="Forma livre: Forma 1121">
                <a:extLst>
                  <a:ext uri="{FF2B5EF4-FFF2-40B4-BE49-F238E27FC236}">
                    <a16:creationId xmlns:a16="http://schemas.microsoft.com/office/drawing/2014/main" id="{696C9D4C-6254-39BB-EEDF-FAB35385FF91}"/>
                  </a:ext>
                </a:extLst>
              </p:cNvPr>
              <p:cNvSpPr/>
              <p:nvPr/>
            </p:nvSpPr>
            <p:spPr>
              <a:xfrm>
                <a:off x="11211486" y="1237378"/>
                <a:ext cx="1194" cy="20359"/>
              </a:xfrm>
              <a:custGeom>
                <a:avLst/>
                <a:gdLst>
                  <a:gd name="connsiteX0" fmla="*/ 0 w 1194"/>
                  <a:gd name="connsiteY0" fmla="*/ 0 h 20359"/>
                  <a:gd name="connsiteX1" fmla="*/ 0 w 1194"/>
                  <a:gd name="connsiteY1" fmla="*/ 20360 h 203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4" h="20359">
                    <a:moveTo>
                      <a:pt x="0" y="0"/>
                    </a:moveTo>
                    <a:lnTo>
                      <a:pt x="0" y="2036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123" name="Forma livre: Forma 1122">
                <a:extLst>
                  <a:ext uri="{FF2B5EF4-FFF2-40B4-BE49-F238E27FC236}">
                    <a16:creationId xmlns:a16="http://schemas.microsoft.com/office/drawing/2014/main" id="{76F4EE5B-C742-67E4-5718-19F86DA3190B}"/>
                  </a:ext>
                </a:extLst>
              </p:cNvPr>
              <p:cNvSpPr/>
              <p:nvPr/>
            </p:nvSpPr>
            <p:spPr>
              <a:xfrm>
                <a:off x="11238986" y="1237378"/>
                <a:ext cx="1194" cy="20359"/>
              </a:xfrm>
              <a:custGeom>
                <a:avLst/>
                <a:gdLst>
                  <a:gd name="connsiteX0" fmla="*/ 0 w 1194"/>
                  <a:gd name="connsiteY0" fmla="*/ 0 h 20359"/>
                  <a:gd name="connsiteX1" fmla="*/ 0 w 1194"/>
                  <a:gd name="connsiteY1" fmla="*/ 20360 h 203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4" h="20359">
                    <a:moveTo>
                      <a:pt x="0" y="0"/>
                    </a:moveTo>
                    <a:lnTo>
                      <a:pt x="0" y="2036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124" name="Forma livre: Forma 1123">
                <a:extLst>
                  <a:ext uri="{FF2B5EF4-FFF2-40B4-BE49-F238E27FC236}">
                    <a16:creationId xmlns:a16="http://schemas.microsoft.com/office/drawing/2014/main" id="{CFE5BA9D-134C-2C2D-0C8F-293E966EDF58}"/>
                  </a:ext>
                </a:extLst>
              </p:cNvPr>
              <p:cNvSpPr/>
              <p:nvPr/>
            </p:nvSpPr>
            <p:spPr>
              <a:xfrm>
                <a:off x="11266474" y="1237378"/>
                <a:ext cx="1194" cy="20359"/>
              </a:xfrm>
              <a:custGeom>
                <a:avLst/>
                <a:gdLst>
                  <a:gd name="connsiteX0" fmla="*/ 0 w 1194"/>
                  <a:gd name="connsiteY0" fmla="*/ 0 h 20359"/>
                  <a:gd name="connsiteX1" fmla="*/ 0 w 1194"/>
                  <a:gd name="connsiteY1" fmla="*/ 20360 h 203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4" h="20359">
                    <a:moveTo>
                      <a:pt x="0" y="0"/>
                    </a:moveTo>
                    <a:lnTo>
                      <a:pt x="0" y="2036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125" name="Gráfico 11">
            <a:extLst>
              <a:ext uri="{FF2B5EF4-FFF2-40B4-BE49-F238E27FC236}">
                <a16:creationId xmlns:a16="http://schemas.microsoft.com/office/drawing/2014/main" id="{AB3EE5B2-0260-A0FB-9AF3-0185D65189DB}"/>
              </a:ext>
            </a:extLst>
          </p:cNvPr>
          <p:cNvGrpSpPr/>
          <p:nvPr/>
        </p:nvGrpSpPr>
        <p:grpSpPr>
          <a:xfrm>
            <a:off x="10991853" y="2594329"/>
            <a:ext cx="328148" cy="276006"/>
            <a:chOff x="10991853" y="2594329"/>
            <a:chExt cx="328148" cy="276006"/>
          </a:xfrm>
          <a:noFill/>
        </p:grpSpPr>
        <p:grpSp>
          <p:nvGrpSpPr>
            <p:cNvPr id="1126" name="Gráfico 11">
              <a:extLst>
                <a:ext uri="{FF2B5EF4-FFF2-40B4-BE49-F238E27FC236}">
                  <a16:creationId xmlns:a16="http://schemas.microsoft.com/office/drawing/2014/main" id="{636A69E3-A266-5A79-A696-7B7D6C9AD9CD}"/>
                </a:ext>
              </a:extLst>
            </p:cNvPr>
            <p:cNvGrpSpPr/>
            <p:nvPr/>
          </p:nvGrpSpPr>
          <p:grpSpPr>
            <a:xfrm>
              <a:off x="10991853" y="2594329"/>
              <a:ext cx="236923" cy="276006"/>
              <a:chOff x="10991853" y="2594329"/>
              <a:chExt cx="236923" cy="276006"/>
            </a:xfrm>
            <a:noFill/>
          </p:grpSpPr>
          <p:grpSp>
            <p:nvGrpSpPr>
              <p:cNvPr id="1127" name="Gráfico 11">
                <a:extLst>
                  <a:ext uri="{FF2B5EF4-FFF2-40B4-BE49-F238E27FC236}">
                    <a16:creationId xmlns:a16="http://schemas.microsoft.com/office/drawing/2014/main" id="{DA74240A-9405-4052-5E08-733C49428CD1}"/>
                  </a:ext>
                </a:extLst>
              </p:cNvPr>
              <p:cNvGrpSpPr/>
              <p:nvPr/>
            </p:nvGrpSpPr>
            <p:grpSpPr>
              <a:xfrm>
                <a:off x="10991853" y="2594329"/>
                <a:ext cx="236923" cy="276006"/>
                <a:chOff x="10991853" y="2594329"/>
                <a:chExt cx="236923" cy="276006"/>
              </a:xfrm>
              <a:noFill/>
            </p:grpSpPr>
            <p:sp>
              <p:nvSpPr>
                <p:cNvPr id="1128" name="Forma livre: Forma 1127">
                  <a:extLst>
                    <a:ext uri="{FF2B5EF4-FFF2-40B4-BE49-F238E27FC236}">
                      <a16:creationId xmlns:a16="http://schemas.microsoft.com/office/drawing/2014/main" id="{1CBDBACA-A03E-C378-E76E-A4C1B169E6FB}"/>
                    </a:ext>
                  </a:extLst>
                </p:cNvPr>
                <p:cNvSpPr/>
                <p:nvPr/>
              </p:nvSpPr>
              <p:spPr>
                <a:xfrm>
                  <a:off x="11107705" y="2594329"/>
                  <a:ext cx="121070" cy="48242"/>
                </a:xfrm>
                <a:custGeom>
                  <a:avLst/>
                  <a:gdLst>
                    <a:gd name="connsiteX0" fmla="*/ 121071 w 121070"/>
                    <a:gd name="connsiteY0" fmla="*/ 40301 h 48242"/>
                    <a:gd name="connsiteX1" fmla="*/ 105798 w 121070"/>
                    <a:gd name="connsiteY1" fmla="*/ 26509 h 48242"/>
                    <a:gd name="connsiteX2" fmla="*/ 75157 w 121070"/>
                    <a:gd name="connsiteY2" fmla="*/ 48242 h 48242"/>
                    <a:gd name="connsiteX3" fmla="*/ 47908 w 121070"/>
                    <a:gd name="connsiteY3" fmla="*/ 36993 h 48242"/>
                    <a:gd name="connsiteX4" fmla="*/ 41818 w 121070"/>
                    <a:gd name="connsiteY4" fmla="*/ 0 h 48242"/>
                    <a:gd name="connsiteX5" fmla="*/ 2448 w 121070"/>
                    <a:gd name="connsiteY5" fmla="*/ 0 h 48242"/>
                    <a:gd name="connsiteX6" fmla="*/ 0 w 121070"/>
                    <a:gd name="connsiteY6" fmla="*/ 16503 h 4824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21070" h="48242">
                      <a:moveTo>
                        <a:pt x="121071" y="40301"/>
                      </a:moveTo>
                      <a:lnTo>
                        <a:pt x="105798" y="26509"/>
                      </a:lnTo>
                      <a:lnTo>
                        <a:pt x="75157" y="48242"/>
                      </a:lnTo>
                      <a:cubicBezTo>
                        <a:pt x="66763" y="43263"/>
                        <a:pt x="57604" y="39465"/>
                        <a:pt x="47908" y="36993"/>
                      </a:cubicBezTo>
                      <a:lnTo>
                        <a:pt x="41818" y="0"/>
                      </a:lnTo>
                      <a:lnTo>
                        <a:pt x="2448" y="0"/>
                      </a:lnTo>
                      <a:lnTo>
                        <a:pt x="0" y="16503"/>
                      </a:ln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129" name="Forma livre: Forma 1128">
                  <a:extLst>
                    <a:ext uri="{FF2B5EF4-FFF2-40B4-BE49-F238E27FC236}">
                      <a16:creationId xmlns:a16="http://schemas.microsoft.com/office/drawing/2014/main" id="{24304118-42FA-B4E9-1540-6265AEF5F5B2}"/>
                    </a:ext>
                  </a:extLst>
                </p:cNvPr>
                <p:cNvSpPr/>
                <p:nvPr/>
              </p:nvSpPr>
              <p:spPr>
                <a:xfrm>
                  <a:off x="10991853" y="2679302"/>
                  <a:ext cx="138636" cy="191033"/>
                </a:xfrm>
                <a:custGeom>
                  <a:avLst/>
                  <a:gdLst>
                    <a:gd name="connsiteX0" fmla="*/ 48230 w 138636"/>
                    <a:gd name="connsiteY0" fmla="*/ 0 h 191033"/>
                    <a:gd name="connsiteX1" fmla="*/ 37029 w 138636"/>
                    <a:gd name="connsiteY1" fmla="*/ 27035 h 191033"/>
                    <a:gd name="connsiteX2" fmla="*/ 0 w 138636"/>
                    <a:gd name="connsiteY2" fmla="*/ 33339 h 191033"/>
                    <a:gd name="connsiteX3" fmla="*/ 0 w 138636"/>
                    <a:gd name="connsiteY3" fmla="*/ 72709 h 191033"/>
                    <a:gd name="connsiteX4" fmla="*/ 37029 w 138636"/>
                    <a:gd name="connsiteY4" fmla="*/ 79026 h 191033"/>
                    <a:gd name="connsiteX5" fmla="*/ 48350 w 138636"/>
                    <a:gd name="connsiteY5" fmla="*/ 106252 h 191033"/>
                    <a:gd name="connsiteX6" fmla="*/ 26497 w 138636"/>
                    <a:gd name="connsiteY6" fmla="*/ 136702 h 191033"/>
                    <a:gd name="connsiteX7" fmla="*/ 54344 w 138636"/>
                    <a:gd name="connsiteY7" fmla="*/ 164536 h 191033"/>
                    <a:gd name="connsiteX8" fmla="*/ 84794 w 138636"/>
                    <a:gd name="connsiteY8" fmla="*/ 142684 h 191033"/>
                    <a:gd name="connsiteX9" fmla="*/ 112020 w 138636"/>
                    <a:gd name="connsiteY9" fmla="*/ 153980 h 191033"/>
                    <a:gd name="connsiteX10" fmla="*/ 118313 w 138636"/>
                    <a:gd name="connsiteY10" fmla="*/ 191034 h 191033"/>
                    <a:gd name="connsiteX11" fmla="*/ 138636 w 138636"/>
                    <a:gd name="connsiteY11" fmla="*/ 191034 h 1910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</a:cxnLst>
                  <a:rect l="l" t="t" r="r" b="b"/>
                  <a:pathLst>
                    <a:path w="138636" h="191033">
                      <a:moveTo>
                        <a:pt x="48230" y="0"/>
                      </a:moveTo>
                      <a:cubicBezTo>
                        <a:pt x="43286" y="8335"/>
                        <a:pt x="39489" y="17422"/>
                        <a:pt x="37029" y="27035"/>
                      </a:cubicBezTo>
                      <a:lnTo>
                        <a:pt x="0" y="33339"/>
                      </a:lnTo>
                      <a:lnTo>
                        <a:pt x="0" y="72709"/>
                      </a:lnTo>
                      <a:lnTo>
                        <a:pt x="37029" y="79026"/>
                      </a:lnTo>
                      <a:cubicBezTo>
                        <a:pt x="39513" y="88734"/>
                        <a:pt x="43346" y="97857"/>
                        <a:pt x="48350" y="106252"/>
                      </a:cubicBezTo>
                      <a:lnTo>
                        <a:pt x="26497" y="136702"/>
                      </a:lnTo>
                      <a:lnTo>
                        <a:pt x="54344" y="164536"/>
                      </a:lnTo>
                      <a:lnTo>
                        <a:pt x="84794" y="142684"/>
                      </a:lnTo>
                      <a:cubicBezTo>
                        <a:pt x="93188" y="147675"/>
                        <a:pt x="102323" y="151497"/>
                        <a:pt x="112020" y="153980"/>
                      </a:cubicBezTo>
                      <a:lnTo>
                        <a:pt x="118313" y="191034"/>
                      </a:lnTo>
                      <a:lnTo>
                        <a:pt x="138636" y="191034"/>
                      </a:ln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130" name="Forma livre: Forma 1129">
                  <a:extLst>
                    <a:ext uri="{FF2B5EF4-FFF2-40B4-BE49-F238E27FC236}">
                      <a16:creationId xmlns:a16="http://schemas.microsoft.com/office/drawing/2014/main" id="{FBD6FDCF-1105-4AEA-D080-B9B10940022B}"/>
                    </a:ext>
                  </a:extLst>
                </p:cNvPr>
                <p:cNvSpPr/>
                <p:nvPr/>
              </p:nvSpPr>
              <p:spPr>
                <a:xfrm>
                  <a:off x="11018338" y="2620826"/>
                  <a:ext cx="85737" cy="40934"/>
                </a:xfrm>
                <a:custGeom>
                  <a:avLst/>
                  <a:gdLst>
                    <a:gd name="connsiteX0" fmla="*/ 85737 w 85737"/>
                    <a:gd name="connsiteY0" fmla="*/ 10496 h 40934"/>
                    <a:gd name="connsiteX1" fmla="*/ 58487 w 85737"/>
                    <a:gd name="connsiteY1" fmla="*/ 21733 h 40934"/>
                    <a:gd name="connsiteX2" fmla="*/ 27847 w 85737"/>
                    <a:gd name="connsiteY2" fmla="*/ 0 h 40934"/>
                    <a:gd name="connsiteX3" fmla="*/ 0 w 85737"/>
                    <a:gd name="connsiteY3" fmla="*/ 27823 h 40934"/>
                    <a:gd name="connsiteX4" fmla="*/ 9362 w 85737"/>
                    <a:gd name="connsiteY4" fmla="*/ 40934 h 4093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85737" h="40934">
                      <a:moveTo>
                        <a:pt x="85737" y="10496"/>
                      </a:moveTo>
                      <a:cubicBezTo>
                        <a:pt x="76041" y="12968"/>
                        <a:pt x="66894" y="16765"/>
                        <a:pt x="58487" y="21733"/>
                      </a:cubicBezTo>
                      <a:lnTo>
                        <a:pt x="27847" y="0"/>
                      </a:lnTo>
                      <a:lnTo>
                        <a:pt x="0" y="27823"/>
                      </a:lnTo>
                      <a:lnTo>
                        <a:pt x="9362" y="40934"/>
                      </a:ln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1131" name="Forma livre: Forma 1130">
                <a:extLst>
                  <a:ext uri="{FF2B5EF4-FFF2-40B4-BE49-F238E27FC236}">
                    <a16:creationId xmlns:a16="http://schemas.microsoft.com/office/drawing/2014/main" id="{7CC24EEC-4104-8229-8F16-10A3C6330E7C}"/>
                  </a:ext>
                </a:extLst>
              </p:cNvPr>
              <p:cNvSpPr/>
              <p:nvPr/>
            </p:nvSpPr>
            <p:spPr>
              <a:xfrm>
                <a:off x="11060777" y="2690240"/>
                <a:ext cx="72972" cy="111147"/>
              </a:xfrm>
              <a:custGeom>
                <a:avLst/>
                <a:gdLst>
                  <a:gd name="connsiteX0" fmla="*/ 72972 w 72972"/>
                  <a:gd name="connsiteY0" fmla="*/ 111040 h 111147"/>
                  <a:gd name="connsiteX1" fmla="*/ 69067 w 72972"/>
                  <a:gd name="connsiteY1" fmla="*/ 111148 h 111147"/>
                  <a:gd name="connsiteX2" fmla="*/ 0 w 72972"/>
                  <a:gd name="connsiteY2" fmla="*/ 42080 h 111147"/>
                  <a:gd name="connsiteX3" fmla="*/ 14306 w 72972"/>
                  <a:gd name="connsiteY3" fmla="*/ 0 h 1111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2972" h="111147">
                    <a:moveTo>
                      <a:pt x="72972" y="111040"/>
                    </a:moveTo>
                    <a:cubicBezTo>
                      <a:pt x="71671" y="111112"/>
                      <a:pt x="70369" y="111148"/>
                      <a:pt x="69067" y="111148"/>
                    </a:cubicBezTo>
                    <a:cubicBezTo>
                      <a:pt x="30927" y="111148"/>
                      <a:pt x="0" y="80232"/>
                      <a:pt x="0" y="42080"/>
                    </a:cubicBezTo>
                    <a:cubicBezTo>
                      <a:pt x="0" y="26235"/>
                      <a:pt x="5338" y="11631"/>
                      <a:pt x="14306" y="0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132" name="Forma livre: Forma 1131">
                <a:extLst>
                  <a:ext uri="{FF2B5EF4-FFF2-40B4-BE49-F238E27FC236}">
                    <a16:creationId xmlns:a16="http://schemas.microsoft.com/office/drawing/2014/main" id="{1C79B02B-A9CB-AC82-0DAD-52B718306DD0}"/>
                  </a:ext>
                </a:extLst>
              </p:cNvPr>
              <p:cNvSpPr/>
              <p:nvPr/>
            </p:nvSpPr>
            <p:spPr>
              <a:xfrm>
                <a:off x="11097006" y="2663265"/>
                <a:ext cx="92567" cy="34390"/>
              </a:xfrm>
              <a:custGeom>
                <a:avLst/>
                <a:gdLst>
                  <a:gd name="connsiteX0" fmla="*/ 0 w 92567"/>
                  <a:gd name="connsiteY0" fmla="*/ 8275 h 34390"/>
                  <a:gd name="connsiteX1" fmla="*/ 32826 w 92567"/>
                  <a:gd name="connsiteY1" fmla="*/ 0 h 34390"/>
                  <a:gd name="connsiteX2" fmla="*/ 92567 w 92567"/>
                  <a:gd name="connsiteY2" fmla="*/ 34390 h 343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92567" h="34390">
                    <a:moveTo>
                      <a:pt x="0" y="8275"/>
                    </a:moveTo>
                    <a:cubicBezTo>
                      <a:pt x="9768" y="3009"/>
                      <a:pt x="20957" y="0"/>
                      <a:pt x="32826" y="0"/>
                    </a:cubicBezTo>
                    <a:cubicBezTo>
                      <a:pt x="58332" y="0"/>
                      <a:pt x="80614" y="13816"/>
                      <a:pt x="92567" y="34390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133" name="Forma livre: Forma 1132">
                <a:extLst>
                  <a:ext uri="{FF2B5EF4-FFF2-40B4-BE49-F238E27FC236}">
                    <a16:creationId xmlns:a16="http://schemas.microsoft.com/office/drawing/2014/main" id="{485841F8-DE96-68A7-5957-135A72DACBBA}"/>
                  </a:ext>
                </a:extLst>
              </p:cNvPr>
              <p:cNvSpPr/>
              <p:nvPr/>
            </p:nvSpPr>
            <p:spPr>
              <a:xfrm>
                <a:off x="11098332" y="2700819"/>
                <a:ext cx="63001" cy="63025"/>
              </a:xfrm>
              <a:custGeom>
                <a:avLst/>
                <a:gdLst>
                  <a:gd name="connsiteX0" fmla="*/ 21028 w 63001"/>
                  <a:gd name="connsiteY0" fmla="*/ 1791 h 63025"/>
                  <a:gd name="connsiteX1" fmla="*/ 31501 w 63001"/>
                  <a:gd name="connsiteY1" fmla="*/ 0 h 63025"/>
                  <a:gd name="connsiteX2" fmla="*/ 63001 w 63001"/>
                  <a:gd name="connsiteY2" fmla="*/ 31513 h 63025"/>
                  <a:gd name="connsiteX3" fmla="*/ 31501 w 63001"/>
                  <a:gd name="connsiteY3" fmla="*/ 63025 h 63025"/>
                  <a:gd name="connsiteX4" fmla="*/ 0 w 63001"/>
                  <a:gd name="connsiteY4" fmla="*/ 31513 h 63025"/>
                  <a:gd name="connsiteX5" fmla="*/ 2782 w 63001"/>
                  <a:gd name="connsiteY5" fmla="*/ 18545 h 630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63001" h="63025">
                    <a:moveTo>
                      <a:pt x="21028" y="1791"/>
                    </a:moveTo>
                    <a:cubicBezTo>
                      <a:pt x="24300" y="633"/>
                      <a:pt x="27835" y="0"/>
                      <a:pt x="31501" y="0"/>
                    </a:cubicBezTo>
                    <a:cubicBezTo>
                      <a:pt x="48899" y="0"/>
                      <a:pt x="63001" y="14114"/>
                      <a:pt x="63001" y="31513"/>
                    </a:cubicBezTo>
                    <a:cubicBezTo>
                      <a:pt x="63001" y="48911"/>
                      <a:pt x="48899" y="63025"/>
                      <a:pt x="31501" y="63025"/>
                    </a:cubicBezTo>
                    <a:cubicBezTo>
                      <a:pt x="14102" y="63025"/>
                      <a:pt x="0" y="48923"/>
                      <a:pt x="0" y="31513"/>
                    </a:cubicBezTo>
                    <a:cubicBezTo>
                      <a:pt x="0" y="26891"/>
                      <a:pt x="1003" y="22509"/>
                      <a:pt x="2782" y="18545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134" name="Gráfico 11">
              <a:extLst>
                <a:ext uri="{FF2B5EF4-FFF2-40B4-BE49-F238E27FC236}">
                  <a16:creationId xmlns:a16="http://schemas.microsoft.com/office/drawing/2014/main" id="{45A96A35-F75F-95E6-FDD5-D0068125C266}"/>
                </a:ext>
              </a:extLst>
            </p:cNvPr>
            <p:cNvGrpSpPr/>
            <p:nvPr/>
          </p:nvGrpSpPr>
          <p:grpSpPr>
            <a:xfrm>
              <a:off x="11153870" y="2617245"/>
              <a:ext cx="166131" cy="252457"/>
              <a:chOff x="11153870" y="2617245"/>
              <a:chExt cx="166131" cy="252457"/>
            </a:xfrm>
            <a:noFill/>
          </p:grpSpPr>
          <p:sp>
            <p:nvSpPr>
              <p:cNvPr id="1135" name="Forma livre: Forma 1134">
                <a:extLst>
                  <a:ext uri="{FF2B5EF4-FFF2-40B4-BE49-F238E27FC236}">
                    <a16:creationId xmlns:a16="http://schemas.microsoft.com/office/drawing/2014/main" id="{1D8DD0B4-380E-A684-F1E2-5F8C92BE829F}"/>
                  </a:ext>
                </a:extLst>
              </p:cNvPr>
              <p:cNvSpPr/>
              <p:nvPr/>
            </p:nvSpPr>
            <p:spPr>
              <a:xfrm>
                <a:off x="11153870" y="2617245"/>
                <a:ext cx="166131" cy="252457"/>
              </a:xfrm>
              <a:custGeom>
                <a:avLst/>
                <a:gdLst>
                  <a:gd name="connsiteX0" fmla="*/ 157217 w 166131"/>
                  <a:gd name="connsiteY0" fmla="*/ 16752 h 252457"/>
                  <a:gd name="connsiteX1" fmla="*/ 133585 w 166131"/>
                  <a:gd name="connsiteY1" fmla="*/ 2590 h 252457"/>
                  <a:gd name="connsiteX2" fmla="*/ 108401 w 166131"/>
                  <a:gd name="connsiteY2" fmla="*/ 8918 h 252457"/>
                  <a:gd name="connsiteX3" fmla="*/ 6854 w 166131"/>
                  <a:gd name="connsiteY3" fmla="*/ 178482 h 252457"/>
                  <a:gd name="connsiteX4" fmla="*/ 0 w 166131"/>
                  <a:gd name="connsiteY4" fmla="*/ 252457 h 252457"/>
                  <a:gd name="connsiteX5" fmla="*/ 61986 w 166131"/>
                  <a:gd name="connsiteY5" fmla="*/ 211499 h 252457"/>
                  <a:gd name="connsiteX6" fmla="*/ 163533 w 166131"/>
                  <a:gd name="connsiteY6" fmla="*/ 41959 h 252457"/>
                  <a:gd name="connsiteX7" fmla="*/ 157228 w 166131"/>
                  <a:gd name="connsiteY7" fmla="*/ 16776 h 2524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66131" h="252457">
                    <a:moveTo>
                      <a:pt x="157217" y="16752"/>
                    </a:moveTo>
                    <a:lnTo>
                      <a:pt x="133585" y="2590"/>
                    </a:lnTo>
                    <a:cubicBezTo>
                      <a:pt x="124916" y="-2593"/>
                      <a:pt x="113584" y="249"/>
                      <a:pt x="108401" y="8918"/>
                    </a:cubicBezTo>
                    <a:lnTo>
                      <a:pt x="6854" y="178482"/>
                    </a:lnTo>
                    <a:lnTo>
                      <a:pt x="0" y="252457"/>
                    </a:lnTo>
                    <a:lnTo>
                      <a:pt x="61986" y="211499"/>
                    </a:lnTo>
                    <a:lnTo>
                      <a:pt x="163533" y="41959"/>
                    </a:lnTo>
                    <a:cubicBezTo>
                      <a:pt x="168728" y="33278"/>
                      <a:pt x="165886" y="21958"/>
                      <a:pt x="157228" y="16776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136" name="Forma livre: Forma 1135">
                <a:extLst>
                  <a:ext uri="{FF2B5EF4-FFF2-40B4-BE49-F238E27FC236}">
                    <a16:creationId xmlns:a16="http://schemas.microsoft.com/office/drawing/2014/main" id="{5E88658F-58AA-2F6A-3289-CBBC80E063F4}"/>
                  </a:ext>
                </a:extLst>
              </p:cNvPr>
              <p:cNvSpPr/>
              <p:nvPr/>
            </p:nvSpPr>
            <p:spPr>
              <a:xfrm>
                <a:off x="11269328" y="2652673"/>
                <a:ext cx="35715" cy="21374"/>
              </a:xfrm>
              <a:custGeom>
                <a:avLst/>
                <a:gdLst>
                  <a:gd name="connsiteX0" fmla="*/ 0 w 35715"/>
                  <a:gd name="connsiteY0" fmla="*/ 0 h 21374"/>
                  <a:gd name="connsiteX1" fmla="*/ 35716 w 35715"/>
                  <a:gd name="connsiteY1" fmla="*/ 21375 h 213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5715" h="21374">
                    <a:moveTo>
                      <a:pt x="0" y="0"/>
                    </a:moveTo>
                    <a:lnTo>
                      <a:pt x="35716" y="21375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137" name="Forma livre: Forma 1136">
                <a:extLst>
                  <a:ext uri="{FF2B5EF4-FFF2-40B4-BE49-F238E27FC236}">
                    <a16:creationId xmlns:a16="http://schemas.microsoft.com/office/drawing/2014/main" id="{E36A1CBA-7F6F-E47F-CF2C-DFA4CBC5CD92}"/>
                  </a:ext>
                </a:extLst>
              </p:cNvPr>
              <p:cNvSpPr/>
              <p:nvPr/>
            </p:nvSpPr>
            <p:spPr>
              <a:xfrm>
                <a:off x="11165918" y="2792240"/>
                <a:ext cx="50534" cy="30258"/>
              </a:xfrm>
              <a:custGeom>
                <a:avLst/>
                <a:gdLst>
                  <a:gd name="connsiteX0" fmla="*/ 0 w 50534"/>
                  <a:gd name="connsiteY0" fmla="*/ 0 h 30258"/>
                  <a:gd name="connsiteX1" fmla="*/ 50535 w 50534"/>
                  <a:gd name="connsiteY1" fmla="*/ 30259 h 302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0534" h="30258">
                    <a:moveTo>
                      <a:pt x="0" y="0"/>
                    </a:moveTo>
                    <a:lnTo>
                      <a:pt x="50535" y="30259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138" name="Forma livre: Forma 1137">
                <a:extLst>
                  <a:ext uri="{FF2B5EF4-FFF2-40B4-BE49-F238E27FC236}">
                    <a16:creationId xmlns:a16="http://schemas.microsoft.com/office/drawing/2014/main" id="{094A1C15-2278-101A-DB28-3A908251A6CE}"/>
                  </a:ext>
                </a:extLst>
              </p:cNvPr>
              <p:cNvSpPr/>
              <p:nvPr/>
            </p:nvSpPr>
            <p:spPr>
              <a:xfrm>
                <a:off x="11159649" y="2825043"/>
                <a:ext cx="30855" cy="18484"/>
              </a:xfrm>
              <a:custGeom>
                <a:avLst/>
                <a:gdLst>
                  <a:gd name="connsiteX0" fmla="*/ 0 w 30855"/>
                  <a:gd name="connsiteY0" fmla="*/ 0 h 18484"/>
                  <a:gd name="connsiteX1" fmla="*/ 30856 w 30855"/>
                  <a:gd name="connsiteY1" fmla="*/ 18485 h 184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0855" h="18484">
                    <a:moveTo>
                      <a:pt x="0" y="0"/>
                    </a:moveTo>
                    <a:lnTo>
                      <a:pt x="30856" y="18485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139" name="Forma livre: Forma 1138">
                <a:extLst>
                  <a:ext uri="{FF2B5EF4-FFF2-40B4-BE49-F238E27FC236}">
                    <a16:creationId xmlns:a16="http://schemas.microsoft.com/office/drawing/2014/main" id="{BAC1BB61-4BAE-3886-2BFD-F938A088B77C}"/>
                  </a:ext>
                </a:extLst>
              </p:cNvPr>
              <p:cNvSpPr/>
              <p:nvPr/>
            </p:nvSpPr>
            <p:spPr>
              <a:xfrm>
                <a:off x="11191198" y="2688592"/>
                <a:ext cx="71133" cy="118790"/>
              </a:xfrm>
              <a:custGeom>
                <a:avLst/>
                <a:gdLst>
                  <a:gd name="connsiteX0" fmla="*/ 71133 w 71133"/>
                  <a:gd name="connsiteY0" fmla="*/ 0 h 118790"/>
                  <a:gd name="connsiteX1" fmla="*/ 0 w 71133"/>
                  <a:gd name="connsiteY1" fmla="*/ 118790 h 1187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71133" h="118790">
                    <a:moveTo>
                      <a:pt x="71133" y="0"/>
                    </a:moveTo>
                    <a:lnTo>
                      <a:pt x="0" y="11879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140" name="Gráfico 11">
            <a:extLst>
              <a:ext uri="{FF2B5EF4-FFF2-40B4-BE49-F238E27FC236}">
                <a16:creationId xmlns:a16="http://schemas.microsoft.com/office/drawing/2014/main" id="{713553E7-E05C-BCAD-5332-859EA5D4D3D8}"/>
              </a:ext>
            </a:extLst>
          </p:cNvPr>
          <p:cNvGrpSpPr/>
          <p:nvPr/>
        </p:nvGrpSpPr>
        <p:grpSpPr>
          <a:xfrm>
            <a:off x="11020786" y="2046519"/>
            <a:ext cx="270275" cy="303554"/>
            <a:chOff x="11020786" y="2046519"/>
            <a:chExt cx="270275" cy="303554"/>
          </a:xfrm>
          <a:noFill/>
        </p:grpSpPr>
        <p:grpSp>
          <p:nvGrpSpPr>
            <p:cNvPr id="1141" name="Gráfico 11">
              <a:extLst>
                <a:ext uri="{FF2B5EF4-FFF2-40B4-BE49-F238E27FC236}">
                  <a16:creationId xmlns:a16="http://schemas.microsoft.com/office/drawing/2014/main" id="{34548F93-1E0A-883E-B473-06FF20A33AC2}"/>
                </a:ext>
              </a:extLst>
            </p:cNvPr>
            <p:cNvGrpSpPr/>
            <p:nvPr/>
          </p:nvGrpSpPr>
          <p:grpSpPr>
            <a:xfrm>
              <a:off x="11082880" y="2116255"/>
              <a:ext cx="146087" cy="164070"/>
              <a:chOff x="11082880" y="2116255"/>
              <a:chExt cx="146087" cy="164070"/>
            </a:xfrm>
            <a:noFill/>
          </p:grpSpPr>
          <p:sp>
            <p:nvSpPr>
              <p:cNvPr id="1142" name="Forma livre: Forma 1141">
                <a:extLst>
                  <a:ext uri="{FF2B5EF4-FFF2-40B4-BE49-F238E27FC236}">
                    <a16:creationId xmlns:a16="http://schemas.microsoft.com/office/drawing/2014/main" id="{FD5ADAFF-BC5E-DBB6-3ACD-E9B7E3EDBBE4}"/>
                  </a:ext>
                </a:extLst>
              </p:cNvPr>
              <p:cNvSpPr/>
              <p:nvPr/>
            </p:nvSpPr>
            <p:spPr>
              <a:xfrm>
                <a:off x="11082880" y="2116255"/>
                <a:ext cx="146087" cy="164070"/>
              </a:xfrm>
              <a:custGeom>
                <a:avLst/>
                <a:gdLst>
                  <a:gd name="connsiteX0" fmla="*/ 72674 w 146087"/>
                  <a:gd name="connsiteY0" fmla="*/ 0 h 164070"/>
                  <a:gd name="connsiteX1" fmla="*/ 0 w 146087"/>
                  <a:gd name="connsiteY1" fmla="*/ 37567 h 164070"/>
                  <a:gd name="connsiteX2" fmla="*/ 0 w 146087"/>
                  <a:gd name="connsiteY2" fmla="*/ 122157 h 164070"/>
                  <a:gd name="connsiteX3" fmla="*/ 72674 w 146087"/>
                  <a:gd name="connsiteY3" fmla="*/ 164071 h 164070"/>
                  <a:gd name="connsiteX4" fmla="*/ 146088 w 146087"/>
                  <a:gd name="connsiteY4" fmla="*/ 122157 h 164070"/>
                  <a:gd name="connsiteX5" fmla="*/ 146088 w 146087"/>
                  <a:gd name="connsiteY5" fmla="*/ 37567 h 164070"/>
                  <a:gd name="connsiteX6" fmla="*/ 72674 w 146087"/>
                  <a:gd name="connsiteY6" fmla="*/ 0 h 1640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46087" h="164070">
                    <a:moveTo>
                      <a:pt x="72674" y="0"/>
                    </a:moveTo>
                    <a:lnTo>
                      <a:pt x="0" y="37567"/>
                    </a:lnTo>
                    <a:lnTo>
                      <a:pt x="0" y="122157"/>
                    </a:lnTo>
                    <a:lnTo>
                      <a:pt x="72674" y="164071"/>
                    </a:lnTo>
                    <a:lnTo>
                      <a:pt x="146088" y="122157"/>
                    </a:lnTo>
                    <a:lnTo>
                      <a:pt x="146088" y="37567"/>
                    </a:lnTo>
                    <a:lnTo>
                      <a:pt x="72674" y="0"/>
                    </a:ln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1143" name="Gráfico 11">
                <a:extLst>
                  <a:ext uri="{FF2B5EF4-FFF2-40B4-BE49-F238E27FC236}">
                    <a16:creationId xmlns:a16="http://schemas.microsoft.com/office/drawing/2014/main" id="{2A4C8E92-75F8-132F-BE24-00F16FD91CD5}"/>
                  </a:ext>
                </a:extLst>
              </p:cNvPr>
              <p:cNvGrpSpPr/>
              <p:nvPr/>
            </p:nvGrpSpPr>
            <p:grpSpPr>
              <a:xfrm>
                <a:off x="11109270" y="2168748"/>
                <a:ext cx="93295" cy="25673"/>
                <a:chOff x="11109270" y="2168748"/>
                <a:chExt cx="93295" cy="25673"/>
              </a:xfrm>
            </p:grpSpPr>
            <p:sp>
              <p:nvSpPr>
                <p:cNvPr id="1144" name="Forma livre: Forma 1143">
                  <a:extLst>
                    <a:ext uri="{FF2B5EF4-FFF2-40B4-BE49-F238E27FC236}">
                      <a16:creationId xmlns:a16="http://schemas.microsoft.com/office/drawing/2014/main" id="{56AD760D-E205-B18F-472A-3FBE95BED80B}"/>
                    </a:ext>
                  </a:extLst>
                </p:cNvPr>
                <p:cNvSpPr/>
                <p:nvPr/>
              </p:nvSpPr>
              <p:spPr>
                <a:xfrm>
                  <a:off x="11109270" y="2168748"/>
                  <a:ext cx="46653" cy="25673"/>
                </a:xfrm>
                <a:custGeom>
                  <a:avLst/>
                  <a:gdLst>
                    <a:gd name="connsiteX0" fmla="*/ 0 w 46653"/>
                    <a:gd name="connsiteY0" fmla="*/ 0 h 25673"/>
                    <a:gd name="connsiteX1" fmla="*/ 46654 w 46653"/>
                    <a:gd name="connsiteY1" fmla="*/ 25673 h 2567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6653" h="25673">
                      <a:moveTo>
                        <a:pt x="0" y="0"/>
                      </a:moveTo>
                      <a:lnTo>
                        <a:pt x="46654" y="25673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145" name="Forma livre: Forma 1144">
                  <a:extLst>
                    <a:ext uri="{FF2B5EF4-FFF2-40B4-BE49-F238E27FC236}">
                      <a16:creationId xmlns:a16="http://schemas.microsoft.com/office/drawing/2014/main" id="{83F23512-A13C-3439-6043-19FFB5A4BB2C}"/>
                    </a:ext>
                  </a:extLst>
                </p:cNvPr>
                <p:cNvSpPr/>
                <p:nvPr/>
              </p:nvSpPr>
              <p:spPr>
                <a:xfrm>
                  <a:off x="11155924" y="2168748"/>
                  <a:ext cx="46641" cy="25673"/>
                </a:xfrm>
                <a:custGeom>
                  <a:avLst/>
                  <a:gdLst>
                    <a:gd name="connsiteX0" fmla="*/ 46642 w 46641"/>
                    <a:gd name="connsiteY0" fmla="*/ 0 h 25673"/>
                    <a:gd name="connsiteX1" fmla="*/ 0 w 46641"/>
                    <a:gd name="connsiteY1" fmla="*/ 25673 h 2567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6641" h="25673">
                      <a:moveTo>
                        <a:pt x="46642" y="0"/>
                      </a:moveTo>
                      <a:lnTo>
                        <a:pt x="0" y="25673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1146" name="Forma livre: Forma 1145">
                <a:extLst>
                  <a:ext uri="{FF2B5EF4-FFF2-40B4-BE49-F238E27FC236}">
                    <a16:creationId xmlns:a16="http://schemas.microsoft.com/office/drawing/2014/main" id="{422D5DD5-E607-87B4-1494-55AB030C4848}"/>
                  </a:ext>
                </a:extLst>
              </p:cNvPr>
              <p:cNvSpPr/>
              <p:nvPr/>
            </p:nvSpPr>
            <p:spPr>
              <a:xfrm>
                <a:off x="11155924" y="2195186"/>
                <a:ext cx="1194" cy="54176"/>
              </a:xfrm>
              <a:custGeom>
                <a:avLst/>
                <a:gdLst>
                  <a:gd name="connsiteX0" fmla="*/ 0 w 1194"/>
                  <a:gd name="connsiteY0" fmla="*/ 0 h 54176"/>
                  <a:gd name="connsiteX1" fmla="*/ 0 w 1194"/>
                  <a:gd name="connsiteY1" fmla="*/ 54177 h 541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4" h="54176">
                    <a:moveTo>
                      <a:pt x="0" y="0"/>
                    </a:moveTo>
                    <a:lnTo>
                      <a:pt x="0" y="54177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147" name="Forma livre: Forma 1146">
              <a:extLst>
                <a:ext uri="{FF2B5EF4-FFF2-40B4-BE49-F238E27FC236}">
                  <a16:creationId xmlns:a16="http://schemas.microsoft.com/office/drawing/2014/main" id="{E4F02CE1-3F34-75C9-D5FD-EB9CDDE726B5}"/>
                </a:ext>
              </a:extLst>
            </p:cNvPr>
            <p:cNvSpPr/>
            <p:nvPr/>
          </p:nvSpPr>
          <p:spPr>
            <a:xfrm>
              <a:off x="11020786" y="2046519"/>
              <a:ext cx="270275" cy="303554"/>
            </a:xfrm>
            <a:custGeom>
              <a:avLst/>
              <a:gdLst>
                <a:gd name="connsiteX0" fmla="*/ 134457 w 270275"/>
                <a:gd name="connsiteY0" fmla="*/ 0 h 303554"/>
                <a:gd name="connsiteX1" fmla="*/ 0 w 270275"/>
                <a:gd name="connsiteY1" fmla="*/ 69485 h 303554"/>
                <a:gd name="connsiteX2" fmla="*/ 0 w 270275"/>
                <a:gd name="connsiteY2" fmla="*/ 225985 h 303554"/>
                <a:gd name="connsiteX3" fmla="*/ 135018 w 270275"/>
                <a:gd name="connsiteY3" fmla="*/ 303555 h 303554"/>
                <a:gd name="connsiteX4" fmla="*/ 270275 w 270275"/>
                <a:gd name="connsiteY4" fmla="*/ 225985 h 303554"/>
                <a:gd name="connsiteX5" fmla="*/ 270275 w 270275"/>
                <a:gd name="connsiteY5" fmla="*/ 69485 h 303554"/>
                <a:gd name="connsiteX6" fmla="*/ 134457 w 270275"/>
                <a:gd name="connsiteY6" fmla="*/ 0 h 3035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70275" h="303554">
                  <a:moveTo>
                    <a:pt x="134457" y="0"/>
                  </a:moveTo>
                  <a:lnTo>
                    <a:pt x="0" y="69485"/>
                  </a:lnTo>
                  <a:lnTo>
                    <a:pt x="0" y="225985"/>
                  </a:lnTo>
                  <a:lnTo>
                    <a:pt x="135018" y="303555"/>
                  </a:lnTo>
                  <a:lnTo>
                    <a:pt x="270275" y="225985"/>
                  </a:lnTo>
                  <a:lnTo>
                    <a:pt x="270275" y="69485"/>
                  </a:lnTo>
                  <a:lnTo>
                    <a:pt x="134457" y="0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148" name="Gráfico 11">
              <a:extLst>
                <a:ext uri="{FF2B5EF4-FFF2-40B4-BE49-F238E27FC236}">
                  <a16:creationId xmlns:a16="http://schemas.microsoft.com/office/drawing/2014/main" id="{756F5C73-F216-1CB1-F482-BE1E8CFEA104}"/>
                </a:ext>
              </a:extLst>
            </p:cNvPr>
            <p:cNvGrpSpPr/>
            <p:nvPr/>
          </p:nvGrpSpPr>
          <p:grpSpPr>
            <a:xfrm>
              <a:off x="11022661" y="2117055"/>
              <a:ext cx="266513" cy="21458"/>
              <a:chOff x="11022661" y="2117055"/>
              <a:chExt cx="266513" cy="21458"/>
            </a:xfrm>
          </p:grpSpPr>
          <p:sp>
            <p:nvSpPr>
              <p:cNvPr id="1149" name="Forma livre: Forma 1148">
                <a:extLst>
                  <a:ext uri="{FF2B5EF4-FFF2-40B4-BE49-F238E27FC236}">
                    <a16:creationId xmlns:a16="http://schemas.microsoft.com/office/drawing/2014/main" id="{5FED1DAE-54AE-7D14-410D-A606C21FEF58}"/>
                  </a:ext>
                </a:extLst>
              </p:cNvPr>
              <p:cNvSpPr/>
              <p:nvPr/>
            </p:nvSpPr>
            <p:spPr>
              <a:xfrm>
                <a:off x="11022661" y="2117055"/>
                <a:ext cx="37865" cy="21458"/>
              </a:xfrm>
              <a:custGeom>
                <a:avLst/>
                <a:gdLst>
                  <a:gd name="connsiteX0" fmla="*/ 0 w 37865"/>
                  <a:gd name="connsiteY0" fmla="*/ 0 h 21458"/>
                  <a:gd name="connsiteX1" fmla="*/ 37865 w 37865"/>
                  <a:gd name="connsiteY1" fmla="*/ 21458 h 214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7865" h="21458">
                    <a:moveTo>
                      <a:pt x="0" y="0"/>
                    </a:moveTo>
                    <a:lnTo>
                      <a:pt x="37865" y="21458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150" name="Forma livre: Forma 1149">
                <a:extLst>
                  <a:ext uri="{FF2B5EF4-FFF2-40B4-BE49-F238E27FC236}">
                    <a16:creationId xmlns:a16="http://schemas.microsoft.com/office/drawing/2014/main" id="{75ECBE97-6923-EBF3-74BD-92C8E76A0CA4}"/>
                  </a:ext>
                </a:extLst>
              </p:cNvPr>
              <p:cNvSpPr/>
              <p:nvPr/>
            </p:nvSpPr>
            <p:spPr>
              <a:xfrm>
                <a:off x="11251309" y="2117055"/>
                <a:ext cx="37865" cy="21458"/>
              </a:xfrm>
              <a:custGeom>
                <a:avLst/>
                <a:gdLst>
                  <a:gd name="connsiteX0" fmla="*/ 37865 w 37865"/>
                  <a:gd name="connsiteY0" fmla="*/ 0 h 21458"/>
                  <a:gd name="connsiteX1" fmla="*/ 0 w 37865"/>
                  <a:gd name="connsiteY1" fmla="*/ 21458 h 214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7865" h="21458">
                    <a:moveTo>
                      <a:pt x="37865" y="0"/>
                    </a:moveTo>
                    <a:lnTo>
                      <a:pt x="0" y="21458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151" name="Forma livre: Forma 1150">
              <a:extLst>
                <a:ext uri="{FF2B5EF4-FFF2-40B4-BE49-F238E27FC236}">
                  <a16:creationId xmlns:a16="http://schemas.microsoft.com/office/drawing/2014/main" id="{129A5BFA-68D0-1C35-50E4-D4BD642489C8}"/>
                </a:ext>
              </a:extLst>
            </p:cNvPr>
            <p:cNvSpPr/>
            <p:nvPr/>
          </p:nvSpPr>
          <p:spPr>
            <a:xfrm>
              <a:off x="11155924" y="2306644"/>
              <a:ext cx="1194" cy="42653"/>
            </a:xfrm>
            <a:custGeom>
              <a:avLst/>
              <a:gdLst>
                <a:gd name="connsiteX0" fmla="*/ 0 w 1194"/>
                <a:gd name="connsiteY0" fmla="*/ 0 h 42653"/>
                <a:gd name="connsiteX1" fmla="*/ 0 w 1194"/>
                <a:gd name="connsiteY1" fmla="*/ 42654 h 42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94" h="42653">
                  <a:moveTo>
                    <a:pt x="0" y="0"/>
                  </a:moveTo>
                  <a:lnTo>
                    <a:pt x="0" y="42654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152" name="Gráfico 11">
            <a:extLst>
              <a:ext uri="{FF2B5EF4-FFF2-40B4-BE49-F238E27FC236}">
                <a16:creationId xmlns:a16="http://schemas.microsoft.com/office/drawing/2014/main" id="{E24B82B0-1CA6-7776-3360-251B09B40E5B}"/>
              </a:ext>
            </a:extLst>
          </p:cNvPr>
          <p:cNvGrpSpPr/>
          <p:nvPr/>
        </p:nvGrpSpPr>
        <p:grpSpPr>
          <a:xfrm>
            <a:off x="11036465" y="3117743"/>
            <a:ext cx="238893" cy="297225"/>
            <a:chOff x="11036465" y="3117743"/>
            <a:chExt cx="238893" cy="297225"/>
          </a:xfrm>
          <a:noFill/>
        </p:grpSpPr>
        <p:grpSp>
          <p:nvGrpSpPr>
            <p:cNvPr id="1153" name="Gráfico 11">
              <a:extLst>
                <a:ext uri="{FF2B5EF4-FFF2-40B4-BE49-F238E27FC236}">
                  <a16:creationId xmlns:a16="http://schemas.microsoft.com/office/drawing/2014/main" id="{B5C856F0-9464-CA41-30E8-22B2FBC80F00}"/>
                </a:ext>
              </a:extLst>
            </p:cNvPr>
            <p:cNvGrpSpPr/>
            <p:nvPr/>
          </p:nvGrpSpPr>
          <p:grpSpPr>
            <a:xfrm>
              <a:off x="11036465" y="3117743"/>
              <a:ext cx="164357" cy="297225"/>
              <a:chOff x="11036465" y="3117743"/>
              <a:chExt cx="164357" cy="297225"/>
            </a:xfrm>
            <a:noFill/>
          </p:grpSpPr>
          <p:sp>
            <p:nvSpPr>
              <p:cNvPr id="1154" name="Forma livre: Forma 1153">
                <a:extLst>
                  <a:ext uri="{FF2B5EF4-FFF2-40B4-BE49-F238E27FC236}">
                    <a16:creationId xmlns:a16="http://schemas.microsoft.com/office/drawing/2014/main" id="{D2C9AE6A-641D-A59A-D2AB-5D5A79BF72DE}"/>
                  </a:ext>
                </a:extLst>
              </p:cNvPr>
              <p:cNvSpPr/>
              <p:nvPr/>
            </p:nvSpPr>
            <p:spPr>
              <a:xfrm>
                <a:off x="11036465" y="3117743"/>
                <a:ext cx="164357" cy="297225"/>
              </a:xfrm>
              <a:custGeom>
                <a:avLst/>
                <a:gdLst>
                  <a:gd name="connsiteX0" fmla="*/ 164357 w 164357"/>
                  <a:gd name="connsiteY0" fmla="*/ 218355 h 297225"/>
                  <a:gd name="connsiteX1" fmla="*/ 164357 w 164357"/>
                  <a:gd name="connsiteY1" fmla="*/ 283350 h 297225"/>
                  <a:gd name="connsiteX2" fmla="*/ 150900 w 164357"/>
                  <a:gd name="connsiteY2" fmla="*/ 297226 h 297225"/>
                  <a:gd name="connsiteX3" fmla="*/ 13446 w 164357"/>
                  <a:gd name="connsiteY3" fmla="*/ 297226 h 297225"/>
                  <a:gd name="connsiteX4" fmla="*/ 0 w 164357"/>
                  <a:gd name="connsiteY4" fmla="*/ 283350 h 297225"/>
                  <a:gd name="connsiteX5" fmla="*/ 0 w 164357"/>
                  <a:gd name="connsiteY5" fmla="*/ 13446 h 297225"/>
                  <a:gd name="connsiteX6" fmla="*/ 13446 w 164357"/>
                  <a:gd name="connsiteY6" fmla="*/ 0 h 297225"/>
                  <a:gd name="connsiteX7" fmla="*/ 150900 w 164357"/>
                  <a:gd name="connsiteY7" fmla="*/ 0 h 297225"/>
                  <a:gd name="connsiteX8" fmla="*/ 164357 w 164357"/>
                  <a:gd name="connsiteY8" fmla="*/ 13446 h 297225"/>
                  <a:gd name="connsiteX9" fmla="*/ 164357 w 164357"/>
                  <a:gd name="connsiteY9" fmla="*/ 25136 h 2972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64357" h="297225">
                    <a:moveTo>
                      <a:pt x="164357" y="218355"/>
                    </a:moveTo>
                    <a:lnTo>
                      <a:pt x="164357" y="283350"/>
                    </a:lnTo>
                    <a:cubicBezTo>
                      <a:pt x="164357" y="290754"/>
                      <a:pt x="158303" y="297226"/>
                      <a:pt x="150900" y="297226"/>
                    </a:cubicBezTo>
                    <a:lnTo>
                      <a:pt x="13446" y="297226"/>
                    </a:lnTo>
                    <a:cubicBezTo>
                      <a:pt x="6042" y="297226"/>
                      <a:pt x="0" y="290742"/>
                      <a:pt x="0" y="283350"/>
                    </a:cubicBezTo>
                    <a:lnTo>
                      <a:pt x="0" y="13446"/>
                    </a:lnTo>
                    <a:cubicBezTo>
                      <a:pt x="0" y="6042"/>
                      <a:pt x="6054" y="0"/>
                      <a:pt x="13446" y="0"/>
                    </a:cubicBezTo>
                    <a:lnTo>
                      <a:pt x="150900" y="0"/>
                    </a:lnTo>
                    <a:cubicBezTo>
                      <a:pt x="158303" y="0"/>
                      <a:pt x="164357" y="6042"/>
                      <a:pt x="164357" y="13446"/>
                    </a:cubicBezTo>
                    <a:lnTo>
                      <a:pt x="164357" y="25136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155" name="Forma livre: Forma 1154">
                <a:extLst>
                  <a:ext uri="{FF2B5EF4-FFF2-40B4-BE49-F238E27FC236}">
                    <a16:creationId xmlns:a16="http://schemas.microsoft.com/office/drawing/2014/main" id="{7AC605C3-7148-B539-5997-FDBFCBFEB566}"/>
                  </a:ext>
                </a:extLst>
              </p:cNvPr>
              <p:cNvSpPr/>
              <p:nvPr/>
            </p:nvSpPr>
            <p:spPr>
              <a:xfrm>
                <a:off x="11056454" y="3356302"/>
                <a:ext cx="124354" cy="1194"/>
              </a:xfrm>
              <a:custGeom>
                <a:avLst/>
                <a:gdLst>
                  <a:gd name="connsiteX0" fmla="*/ 0 w 124354"/>
                  <a:gd name="connsiteY0" fmla="*/ 0 h 1194"/>
                  <a:gd name="connsiteX1" fmla="*/ 124355 w 124354"/>
                  <a:gd name="connsiteY1" fmla="*/ 0 h 11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4354" h="1194">
                    <a:moveTo>
                      <a:pt x="0" y="0"/>
                    </a:moveTo>
                    <a:lnTo>
                      <a:pt x="124355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156" name="Forma livre: Forma 1155">
                <a:extLst>
                  <a:ext uri="{FF2B5EF4-FFF2-40B4-BE49-F238E27FC236}">
                    <a16:creationId xmlns:a16="http://schemas.microsoft.com/office/drawing/2014/main" id="{BC124424-6112-E197-DA17-AEE2B802AA0A}"/>
                  </a:ext>
                </a:extLst>
              </p:cNvPr>
              <p:cNvSpPr/>
              <p:nvPr/>
            </p:nvSpPr>
            <p:spPr>
              <a:xfrm>
                <a:off x="11107479" y="3384794"/>
                <a:ext cx="22341" cy="1194"/>
              </a:xfrm>
              <a:custGeom>
                <a:avLst/>
                <a:gdLst>
                  <a:gd name="connsiteX0" fmla="*/ 0 w 22341"/>
                  <a:gd name="connsiteY0" fmla="*/ 0 h 1194"/>
                  <a:gd name="connsiteX1" fmla="*/ 22342 w 22341"/>
                  <a:gd name="connsiteY1" fmla="*/ 0 h 11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2341" h="1194">
                    <a:moveTo>
                      <a:pt x="0" y="0"/>
                    </a:moveTo>
                    <a:lnTo>
                      <a:pt x="22342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157" name="Gráfico 11">
              <a:extLst>
                <a:ext uri="{FF2B5EF4-FFF2-40B4-BE49-F238E27FC236}">
                  <a16:creationId xmlns:a16="http://schemas.microsoft.com/office/drawing/2014/main" id="{948C7DA2-2928-6552-0AFA-7315F194498C}"/>
                </a:ext>
              </a:extLst>
            </p:cNvPr>
            <p:cNvGrpSpPr/>
            <p:nvPr/>
          </p:nvGrpSpPr>
          <p:grpSpPr>
            <a:xfrm>
              <a:off x="11125581" y="3164253"/>
              <a:ext cx="149777" cy="149765"/>
              <a:chOff x="11125581" y="3164253"/>
              <a:chExt cx="149777" cy="149765"/>
            </a:xfrm>
            <a:noFill/>
          </p:grpSpPr>
          <p:sp>
            <p:nvSpPr>
              <p:cNvPr id="1158" name="Forma livre: Forma 1157">
                <a:extLst>
                  <a:ext uri="{FF2B5EF4-FFF2-40B4-BE49-F238E27FC236}">
                    <a16:creationId xmlns:a16="http://schemas.microsoft.com/office/drawing/2014/main" id="{C73603EB-BB08-DB58-53A5-FF294393D1BC}"/>
                  </a:ext>
                </a:extLst>
              </p:cNvPr>
              <p:cNvSpPr/>
              <p:nvPr/>
            </p:nvSpPr>
            <p:spPr>
              <a:xfrm>
                <a:off x="11125581" y="3164253"/>
                <a:ext cx="149777" cy="149765"/>
              </a:xfrm>
              <a:custGeom>
                <a:avLst/>
                <a:gdLst>
                  <a:gd name="connsiteX0" fmla="*/ 60912 w 149777"/>
                  <a:gd name="connsiteY0" fmla="*/ 20061 h 149765"/>
                  <a:gd name="connsiteX1" fmla="*/ 46128 w 149777"/>
                  <a:gd name="connsiteY1" fmla="*/ 26175 h 149765"/>
                  <a:gd name="connsiteX2" fmla="*/ 29495 w 149777"/>
                  <a:gd name="connsiteY2" fmla="*/ 14377 h 149765"/>
                  <a:gd name="connsiteX3" fmla="*/ 14377 w 149777"/>
                  <a:gd name="connsiteY3" fmla="*/ 29471 h 149765"/>
                  <a:gd name="connsiteX4" fmla="*/ 26175 w 149777"/>
                  <a:gd name="connsiteY4" fmla="*/ 46105 h 149765"/>
                  <a:gd name="connsiteX5" fmla="*/ 20097 w 149777"/>
                  <a:gd name="connsiteY5" fmla="*/ 60780 h 149765"/>
                  <a:gd name="connsiteX6" fmla="*/ 0 w 149777"/>
                  <a:gd name="connsiteY6" fmla="*/ 64195 h 149765"/>
                  <a:gd name="connsiteX7" fmla="*/ 0 w 149777"/>
                  <a:gd name="connsiteY7" fmla="*/ 85558 h 149765"/>
                  <a:gd name="connsiteX8" fmla="*/ 20097 w 149777"/>
                  <a:gd name="connsiteY8" fmla="*/ 88985 h 149765"/>
                  <a:gd name="connsiteX9" fmla="*/ 26235 w 149777"/>
                  <a:gd name="connsiteY9" fmla="*/ 103744 h 149765"/>
                  <a:gd name="connsiteX10" fmla="*/ 14377 w 149777"/>
                  <a:gd name="connsiteY10" fmla="*/ 120271 h 149765"/>
                  <a:gd name="connsiteX11" fmla="*/ 29495 w 149777"/>
                  <a:gd name="connsiteY11" fmla="*/ 135376 h 149765"/>
                  <a:gd name="connsiteX12" fmla="*/ 46021 w 149777"/>
                  <a:gd name="connsiteY12" fmla="*/ 123519 h 149765"/>
                  <a:gd name="connsiteX13" fmla="*/ 60792 w 149777"/>
                  <a:gd name="connsiteY13" fmla="*/ 129656 h 149765"/>
                  <a:gd name="connsiteX14" fmla="*/ 64219 w 149777"/>
                  <a:gd name="connsiteY14" fmla="*/ 149765 h 149765"/>
                  <a:gd name="connsiteX15" fmla="*/ 85582 w 149777"/>
                  <a:gd name="connsiteY15" fmla="*/ 149765 h 149765"/>
                  <a:gd name="connsiteX16" fmla="*/ 88997 w 149777"/>
                  <a:gd name="connsiteY16" fmla="*/ 129668 h 149765"/>
                  <a:gd name="connsiteX17" fmla="*/ 103780 w 149777"/>
                  <a:gd name="connsiteY17" fmla="*/ 123531 h 149765"/>
                  <a:gd name="connsiteX18" fmla="*/ 120307 w 149777"/>
                  <a:gd name="connsiteY18" fmla="*/ 135388 h 149765"/>
                  <a:gd name="connsiteX19" fmla="*/ 135412 w 149777"/>
                  <a:gd name="connsiteY19" fmla="*/ 120283 h 149765"/>
                  <a:gd name="connsiteX20" fmla="*/ 123555 w 149777"/>
                  <a:gd name="connsiteY20" fmla="*/ 103768 h 149765"/>
                  <a:gd name="connsiteX21" fmla="*/ 129716 w 149777"/>
                  <a:gd name="connsiteY21" fmla="*/ 88866 h 149765"/>
                  <a:gd name="connsiteX22" fmla="*/ 149777 w 149777"/>
                  <a:gd name="connsiteY22" fmla="*/ 85570 h 149765"/>
                  <a:gd name="connsiteX23" fmla="*/ 149777 w 149777"/>
                  <a:gd name="connsiteY23" fmla="*/ 64207 h 149765"/>
                  <a:gd name="connsiteX24" fmla="*/ 129716 w 149777"/>
                  <a:gd name="connsiteY24" fmla="*/ 60900 h 149765"/>
                  <a:gd name="connsiteX25" fmla="*/ 123614 w 149777"/>
                  <a:gd name="connsiteY25" fmla="*/ 46105 h 149765"/>
                  <a:gd name="connsiteX26" fmla="*/ 135412 w 149777"/>
                  <a:gd name="connsiteY26" fmla="*/ 29483 h 149765"/>
                  <a:gd name="connsiteX27" fmla="*/ 120307 w 149777"/>
                  <a:gd name="connsiteY27" fmla="*/ 14377 h 149765"/>
                  <a:gd name="connsiteX28" fmla="*/ 103673 w 149777"/>
                  <a:gd name="connsiteY28" fmla="*/ 26175 h 149765"/>
                  <a:gd name="connsiteX29" fmla="*/ 88878 w 149777"/>
                  <a:gd name="connsiteY29" fmla="*/ 20061 h 149765"/>
                  <a:gd name="connsiteX30" fmla="*/ 85570 w 149777"/>
                  <a:gd name="connsiteY30" fmla="*/ 0 h 149765"/>
                  <a:gd name="connsiteX31" fmla="*/ 64207 w 149777"/>
                  <a:gd name="connsiteY31" fmla="*/ 0 h 1497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</a:cxnLst>
                <a:rect l="l" t="t" r="r" b="b"/>
                <a:pathLst>
                  <a:path w="149777" h="149765">
                    <a:moveTo>
                      <a:pt x="60912" y="20061"/>
                    </a:moveTo>
                    <a:cubicBezTo>
                      <a:pt x="55657" y="21398"/>
                      <a:pt x="50690" y="23476"/>
                      <a:pt x="46128" y="26175"/>
                    </a:cubicBezTo>
                    <a:lnTo>
                      <a:pt x="29495" y="14377"/>
                    </a:lnTo>
                    <a:lnTo>
                      <a:pt x="14377" y="29471"/>
                    </a:lnTo>
                    <a:lnTo>
                      <a:pt x="26175" y="46105"/>
                    </a:lnTo>
                    <a:cubicBezTo>
                      <a:pt x="23500" y="50642"/>
                      <a:pt x="21434" y="55562"/>
                      <a:pt x="20097" y="60780"/>
                    </a:cubicBezTo>
                    <a:lnTo>
                      <a:pt x="0" y="64195"/>
                    </a:lnTo>
                    <a:lnTo>
                      <a:pt x="0" y="85558"/>
                    </a:lnTo>
                    <a:lnTo>
                      <a:pt x="20097" y="88985"/>
                    </a:lnTo>
                    <a:cubicBezTo>
                      <a:pt x="21446" y="94251"/>
                      <a:pt x="23524" y="99195"/>
                      <a:pt x="26235" y="103744"/>
                    </a:cubicBezTo>
                    <a:lnTo>
                      <a:pt x="14377" y="120271"/>
                    </a:lnTo>
                    <a:lnTo>
                      <a:pt x="29495" y="135376"/>
                    </a:lnTo>
                    <a:lnTo>
                      <a:pt x="46021" y="123519"/>
                    </a:lnTo>
                    <a:cubicBezTo>
                      <a:pt x="50582" y="126229"/>
                      <a:pt x="55538" y="128307"/>
                      <a:pt x="60792" y="129656"/>
                    </a:cubicBezTo>
                    <a:lnTo>
                      <a:pt x="64219" y="149765"/>
                    </a:lnTo>
                    <a:lnTo>
                      <a:pt x="85582" y="149765"/>
                    </a:lnTo>
                    <a:lnTo>
                      <a:pt x="88997" y="129668"/>
                    </a:lnTo>
                    <a:cubicBezTo>
                      <a:pt x="94263" y="128307"/>
                      <a:pt x="99219" y="126229"/>
                      <a:pt x="103780" y="123531"/>
                    </a:cubicBezTo>
                    <a:lnTo>
                      <a:pt x="120307" y="135388"/>
                    </a:lnTo>
                    <a:lnTo>
                      <a:pt x="135412" y="120283"/>
                    </a:lnTo>
                    <a:lnTo>
                      <a:pt x="123555" y="103768"/>
                    </a:lnTo>
                    <a:cubicBezTo>
                      <a:pt x="126277" y="99171"/>
                      <a:pt x="128367" y="94179"/>
                      <a:pt x="129716" y="88866"/>
                    </a:cubicBezTo>
                    <a:lnTo>
                      <a:pt x="149777" y="85570"/>
                    </a:lnTo>
                    <a:lnTo>
                      <a:pt x="149777" y="64207"/>
                    </a:lnTo>
                    <a:lnTo>
                      <a:pt x="129716" y="60900"/>
                    </a:lnTo>
                    <a:cubicBezTo>
                      <a:pt x="128379" y="55634"/>
                      <a:pt x="126313" y="50690"/>
                      <a:pt x="123614" y="46105"/>
                    </a:cubicBezTo>
                    <a:lnTo>
                      <a:pt x="135412" y="29483"/>
                    </a:lnTo>
                    <a:lnTo>
                      <a:pt x="120307" y="14377"/>
                    </a:lnTo>
                    <a:lnTo>
                      <a:pt x="103673" y="26175"/>
                    </a:lnTo>
                    <a:cubicBezTo>
                      <a:pt x="99111" y="23476"/>
                      <a:pt x="94144" y="21398"/>
                      <a:pt x="88878" y="20061"/>
                    </a:cubicBezTo>
                    <a:lnTo>
                      <a:pt x="85570" y="0"/>
                    </a:lnTo>
                    <a:lnTo>
                      <a:pt x="64207" y="0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159" name="Forma livre: Forma 1158">
                <a:extLst>
                  <a:ext uri="{FF2B5EF4-FFF2-40B4-BE49-F238E27FC236}">
                    <a16:creationId xmlns:a16="http://schemas.microsoft.com/office/drawing/2014/main" id="{87899F33-F6CC-6E10-5CAF-F7749D2AE285}"/>
                  </a:ext>
                </a:extLst>
              </p:cNvPr>
              <p:cNvSpPr/>
              <p:nvPr/>
            </p:nvSpPr>
            <p:spPr>
              <a:xfrm>
                <a:off x="11178576" y="3217236"/>
                <a:ext cx="43776" cy="43764"/>
              </a:xfrm>
              <a:custGeom>
                <a:avLst/>
                <a:gdLst>
                  <a:gd name="connsiteX0" fmla="*/ 17912 w 43776"/>
                  <a:gd name="connsiteY0" fmla="*/ 370 h 43764"/>
                  <a:gd name="connsiteX1" fmla="*/ 21900 w 43776"/>
                  <a:gd name="connsiteY1" fmla="*/ 0 h 43764"/>
                  <a:gd name="connsiteX2" fmla="*/ 43776 w 43776"/>
                  <a:gd name="connsiteY2" fmla="*/ 21900 h 43764"/>
                  <a:gd name="connsiteX3" fmla="*/ 21900 w 43776"/>
                  <a:gd name="connsiteY3" fmla="*/ 43764 h 43764"/>
                  <a:gd name="connsiteX4" fmla="*/ 0 w 43776"/>
                  <a:gd name="connsiteY4" fmla="*/ 21900 h 43764"/>
                  <a:gd name="connsiteX5" fmla="*/ 334 w 43776"/>
                  <a:gd name="connsiteY5" fmla="*/ 18079 h 437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43776" h="43764">
                    <a:moveTo>
                      <a:pt x="17912" y="370"/>
                    </a:moveTo>
                    <a:cubicBezTo>
                      <a:pt x="19201" y="131"/>
                      <a:pt x="20539" y="12"/>
                      <a:pt x="21900" y="0"/>
                    </a:cubicBezTo>
                    <a:cubicBezTo>
                      <a:pt x="33984" y="0"/>
                      <a:pt x="43776" y="9792"/>
                      <a:pt x="43776" y="21900"/>
                    </a:cubicBezTo>
                    <a:cubicBezTo>
                      <a:pt x="43776" y="34008"/>
                      <a:pt x="33984" y="43764"/>
                      <a:pt x="21900" y="43764"/>
                    </a:cubicBezTo>
                    <a:cubicBezTo>
                      <a:pt x="9816" y="43764"/>
                      <a:pt x="0" y="33984"/>
                      <a:pt x="0" y="21900"/>
                    </a:cubicBezTo>
                    <a:cubicBezTo>
                      <a:pt x="0" y="20598"/>
                      <a:pt x="119" y="19321"/>
                      <a:pt x="334" y="18079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160" name="Gráfico 11">
            <a:extLst>
              <a:ext uri="{FF2B5EF4-FFF2-40B4-BE49-F238E27FC236}">
                <a16:creationId xmlns:a16="http://schemas.microsoft.com/office/drawing/2014/main" id="{38D8E407-49BD-D5E9-A832-880AFCCA9586}"/>
              </a:ext>
            </a:extLst>
          </p:cNvPr>
          <p:cNvGrpSpPr/>
          <p:nvPr/>
        </p:nvGrpSpPr>
        <p:grpSpPr>
          <a:xfrm>
            <a:off x="11019305" y="1480654"/>
            <a:ext cx="273248" cy="367224"/>
            <a:chOff x="11019305" y="1480654"/>
            <a:chExt cx="273248" cy="367224"/>
          </a:xfrm>
          <a:noFill/>
        </p:grpSpPr>
        <p:sp>
          <p:nvSpPr>
            <p:cNvPr id="1161" name="Forma livre: Forma 1160">
              <a:extLst>
                <a:ext uri="{FF2B5EF4-FFF2-40B4-BE49-F238E27FC236}">
                  <a16:creationId xmlns:a16="http://schemas.microsoft.com/office/drawing/2014/main" id="{615E4FE4-6956-6C68-0779-D1399FC4256E}"/>
                </a:ext>
              </a:extLst>
            </p:cNvPr>
            <p:cNvSpPr/>
            <p:nvPr/>
          </p:nvSpPr>
          <p:spPr>
            <a:xfrm>
              <a:off x="11098630" y="1638718"/>
              <a:ext cx="193924" cy="209160"/>
            </a:xfrm>
            <a:custGeom>
              <a:avLst/>
              <a:gdLst>
                <a:gd name="connsiteX0" fmla="*/ 193924 w 193924"/>
                <a:gd name="connsiteY0" fmla="*/ 188849 h 209160"/>
                <a:gd name="connsiteX1" fmla="*/ 187141 w 193924"/>
                <a:gd name="connsiteY1" fmla="*/ 108557 h 209160"/>
                <a:gd name="connsiteX2" fmla="*/ 160131 w 193924"/>
                <a:gd name="connsiteY2" fmla="*/ 79480 h 209160"/>
                <a:gd name="connsiteX3" fmla="*/ 92042 w 193924"/>
                <a:gd name="connsiteY3" fmla="*/ 79480 h 209160"/>
                <a:gd name="connsiteX4" fmla="*/ 81307 w 193924"/>
                <a:gd name="connsiteY4" fmla="*/ 14557 h 209160"/>
                <a:gd name="connsiteX5" fmla="*/ 60434 w 193924"/>
                <a:gd name="connsiteY5" fmla="*/ 239 h 209160"/>
                <a:gd name="connsiteX6" fmla="*/ 45281 w 193924"/>
                <a:gd name="connsiteY6" fmla="*/ 20515 h 209160"/>
                <a:gd name="connsiteX7" fmla="*/ 59336 w 193924"/>
                <a:gd name="connsiteY7" fmla="*/ 105524 h 209160"/>
                <a:gd name="connsiteX8" fmla="*/ 66154 w 193924"/>
                <a:gd name="connsiteY8" fmla="*/ 146721 h 209160"/>
                <a:gd name="connsiteX9" fmla="*/ 29364 w 193924"/>
                <a:gd name="connsiteY9" fmla="*/ 120414 h 209160"/>
                <a:gd name="connsiteX10" fmla="*/ 4884 w 193924"/>
                <a:gd name="connsiteY10" fmla="*/ 124331 h 209160"/>
                <a:gd name="connsiteX11" fmla="*/ 3320 w 193924"/>
                <a:gd name="connsiteY11" fmla="*/ 126504 h 209160"/>
                <a:gd name="connsiteX12" fmla="*/ 7225 w 193924"/>
                <a:gd name="connsiteY12" fmla="*/ 150984 h 209160"/>
                <a:gd name="connsiteX13" fmla="*/ 88281 w 193924"/>
                <a:gd name="connsiteY13" fmla="*/ 209161 h 2091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93924" h="209160">
                  <a:moveTo>
                    <a:pt x="193924" y="188849"/>
                  </a:moveTo>
                  <a:lnTo>
                    <a:pt x="187141" y="108557"/>
                  </a:lnTo>
                  <a:cubicBezTo>
                    <a:pt x="182449" y="80221"/>
                    <a:pt x="160131" y="79480"/>
                    <a:pt x="160131" y="79480"/>
                  </a:cubicBezTo>
                  <a:lnTo>
                    <a:pt x="92042" y="79480"/>
                  </a:lnTo>
                  <a:lnTo>
                    <a:pt x="81307" y="14557"/>
                  </a:lnTo>
                  <a:cubicBezTo>
                    <a:pt x="79719" y="5040"/>
                    <a:pt x="69951" y="-1337"/>
                    <a:pt x="60434" y="239"/>
                  </a:cubicBezTo>
                  <a:cubicBezTo>
                    <a:pt x="50929" y="1792"/>
                    <a:pt x="43705" y="10998"/>
                    <a:pt x="45281" y="20515"/>
                  </a:cubicBezTo>
                  <a:lnTo>
                    <a:pt x="59336" y="105524"/>
                  </a:lnTo>
                  <a:lnTo>
                    <a:pt x="66154" y="146721"/>
                  </a:lnTo>
                  <a:lnTo>
                    <a:pt x="29364" y="120414"/>
                  </a:lnTo>
                  <a:cubicBezTo>
                    <a:pt x="21554" y="114754"/>
                    <a:pt x="10544" y="116510"/>
                    <a:pt x="4884" y="124331"/>
                  </a:cubicBezTo>
                  <a:lnTo>
                    <a:pt x="3320" y="126504"/>
                  </a:lnTo>
                  <a:cubicBezTo>
                    <a:pt x="-2340" y="134326"/>
                    <a:pt x="-585" y="145336"/>
                    <a:pt x="7225" y="150984"/>
                  </a:cubicBezTo>
                  <a:lnTo>
                    <a:pt x="88281" y="209161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162" name="Gráfico 11">
              <a:extLst>
                <a:ext uri="{FF2B5EF4-FFF2-40B4-BE49-F238E27FC236}">
                  <a16:creationId xmlns:a16="http://schemas.microsoft.com/office/drawing/2014/main" id="{944A89AA-6EAE-5F98-8FB0-0C3531A36B01}"/>
                </a:ext>
              </a:extLst>
            </p:cNvPr>
            <p:cNvGrpSpPr/>
            <p:nvPr/>
          </p:nvGrpSpPr>
          <p:grpSpPr>
            <a:xfrm>
              <a:off x="11019305" y="1480654"/>
              <a:ext cx="216659" cy="216695"/>
              <a:chOff x="11019305" y="1480654"/>
              <a:chExt cx="216659" cy="216695"/>
            </a:xfrm>
            <a:noFill/>
          </p:grpSpPr>
          <p:grpSp>
            <p:nvGrpSpPr>
              <p:cNvPr id="1163" name="Gráfico 11">
                <a:extLst>
                  <a:ext uri="{FF2B5EF4-FFF2-40B4-BE49-F238E27FC236}">
                    <a16:creationId xmlns:a16="http://schemas.microsoft.com/office/drawing/2014/main" id="{B3831A8F-DAC2-1925-43C7-EC9F4FE14E6C}"/>
                  </a:ext>
                </a:extLst>
              </p:cNvPr>
              <p:cNvGrpSpPr/>
              <p:nvPr/>
            </p:nvGrpSpPr>
            <p:grpSpPr>
              <a:xfrm>
                <a:off x="11019305" y="1480654"/>
                <a:ext cx="216659" cy="216695"/>
                <a:chOff x="11019305" y="1480654"/>
                <a:chExt cx="216659" cy="216695"/>
              </a:xfrm>
              <a:noFill/>
            </p:grpSpPr>
            <p:sp>
              <p:nvSpPr>
                <p:cNvPr id="1164" name="Forma livre: Forma 1163">
                  <a:extLst>
                    <a:ext uri="{FF2B5EF4-FFF2-40B4-BE49-F238E27FC236}">
                      <a16:creationId xmlns:a16="http://schemas.microsoft.com/office/drawing/2014/main" id="{6B535261-3C55-7A94-56DD-C2B29155F769}"/>
                    </a:ext>
                  </a:extLst>
                </p:cNvPr>
                <p:cNvSpPr/>
                <p:nvPr/>
              </p:nvSpPr>
              <p:spPr>
                <a:xfrm>
                  <a:off x="11112171" y="1480654"/>
                  <a:ext cx="123793" cy="184215"/>
                </a:xfrm>
                <a:custGeom>
                  <a:avLst/>
                  <a:gdLst>
                    <a:gd name="connsiteX0" fmla="*/ 92806 w 123793"/>
                    <a:gd name="connsiteY0" fmla="*/ 184215 h 184215"/>
                    <a:gd name="connsiteX1" fmla="*/ 103004 w 123793"/>
                    <a:gd name="connsiteY1" fmla="*/ 174018 h 184215"/>
                    <a:gd name="connsiteX2" fmla="*/ 85845 w 123793"/>
                    <a:gd name="connsiteY2" fmla="*/ 150112 h 184215"/>
                    <a:gd name="connsiteX3" fmla="*/ 94765 w 123793"/>
                    <a:gd name="connsiteY3" fmla="*/ 128558 h 184215"/>
                    <a:gd name="connsiteX4" fmla="*/ 123793 w 123793"/>
                    <a:gd name="connsiteY4" fmla="*/ 123793 h 184215"/>
                    <a:gd name="connsiteX5" fmla="*/ 123793 w 123793"/>
                    <a:gd name="connsiteY5" fmla="*/ 92890 h 184215"/>
                    <a:gd name="connsiteX6" fmla="*/ 94765 w 123793"/>
                    <a:gd name="connsiteY6" fmla="*/ 88101 h 184215"/>
                    <a:gd name="connsiteX7" fmla="*/ 85940 w 123793"/>
                    <a:gd name="connsiteY7" fmla="*/ 66715 h 184215"/>
                    <a:gd name="connsiteX8" fmla="*/ 103004 w 123793"/>
                    <a:gd name="connsiteY8" fmla="*/ 42666 h 184215"/>
                    <a:gd name="connsiteX9" fmla="*/ 81140 w 123793"/>
                    <a:gd name="connsiteY9" fmla="*/ 20813 h 184215"/>
                    <a:gd name="connsiteX10" fmla="*/ 57090 w 123793"/>
                    <a:gd name="connsiteY10" fmla="*/ 37877 h 184215"/>
                    <a:gd name="connsiteX11" fmla="*/ 35692 w 123793"/>
                    <a:gd name="connsiteY11" fmla="*/ 29041 h 184215"/>
                    <a:gd name="connsiteX12" fmla="*/ 30916 w 123793"/>
                    <a:gd name="connsiteY12" fmla="*/ 0 h 184215"/>
                    <a:gd name="connsiteX13" fmla="*/ 0 w 123793"/>
                    <a:gd name="connsiteY13" fmla="*/ 0 h 18421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</a:cxnLst>
                  <a:rect l="l" t="t" r="r" b="b"/>
                  <a:pathLst>
                    <a:path w="123793" h="184215">
                      <a:moveTo>
                        <a:pt x="92806" y="184215"/>
                      </a:moveTo>
                      <a:lnTo>
                        <a:pt x="103004" y="174018"/>
                      </a:lnTo>
                      <a:lnTo>
                        <a:pt x="85845" y="150112"/>
                      </a:lnTo>
                      <a:cubicBezTo>
                        <a:pt x="89797" y="143484"/>
                        <a:pt x="92818" y="136236"/>
                        <a:pt x="94765" y="128558"/>
                      </a:cubicBezTo>
                      <a:lnTo>
                        <a:pt x="123793" y="123793"/>
                      </a:lnTo>
                      <a:lnTo>
                        <a:pt x="123793" y="92890"/>
                      </a:lnTo>
                      <a:lnTo>
                        <a:pt x="94765" y="88101"/>
                      </a:lnTo>
                      <a:cubicBezTo>
                        <a:pt x="92842" y="80483"/>
                        <a:pt x="89857" y="73318"/>
                        <a:pt x="85940" y="66715"/>
                      </a:cubicBezTo>
                      <a:lnTo>
                        <a:pt x="103004" y="42666"/>
                      </a:lnTo>
                      <a:lnTo>
                        <a:pt x="81140" y="20813"/>
                      </a:lnTo>
                      <a:lnTo>
                        <a:pt x="57090" y="37877"/>
                      </a:lnTo>
                      <a:cubicBezTo>
                        <a:pt x="50499" y="33972"/>
                        <a:pt x="43310" y="30987"/>
                        <a:pt x="35692" y="29041"/>
                      </a:cubicBezTo>
                      <a:lnTo>
                        <a:pt x="30916" y="0"/>
                      </a:lnTo>
                      <a:lnTo>
                        <a:pt x="0" y="0"/>
                      </a:ln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165" name="Forma livre: Forma 1164">
                  <a:extLst>
                    <a:ext uri="{FF2B5EF4-FFF2-40B4-BE49-F238E27FC236}">
                      <a16:creationId xmlns:a16="http://schemas.microsoft.com/office/drawing/2014/main" id="{CA362C33-C286-8C27-5AEF-2CF59E2AAF1D}"/>
                    </a:ext>
                  </a:extLst>
                </p:cNvPr>
                <p:cNvSpPr/>
                <p:nvPr/>
              </p:nvSpPr>
              <p:spPr>
                <a:xfrm>
                  <a:off x="11019305" y="1501468"/>
                  <a:ext cx="107517" cy="195881"/>
                </a:xfrm>
                <a:custGeom>
                  <a:avLst/>
                  <a:gdLst>
                    <a:gd name="connsiteX0" fmla="*/ 88101 w 107517"/>
                    <a:gd name="connsiteY0" fmla="*/ 8239 h 195881"/>
                    <a:gd name="connsiteX1" fmla="*/ 66715 w 107517"/>
                    <a:gd name="connsiteY1" fmla="*/ 17064 h 195881"/>
                    <a:gd name="connsiteX2" fmla="*/ 42654 w 107517"/>
                    <a:gd name="connsiteY2" fmla="*/ 0 h 195881"/>
                    <a:gd name="connsiteX3" fmla="*/ 20801 w 107517"/>
                    <a:gd name="connsiteY3" fmla="*/ 21852 h 195881"/>
                    <a:gd name="connsiteX4" fmla="*/ 37865 w 107517"/>
                    <a:gd name="connsiteY4" fmla="*/ 45914 h 195881"/>
                    <a:gd name="connsiteX5" fmla="*/ 29077 w 107517"/>
                    <a:gd name="connsiteY5" fmla="*/ 67133 h 195881"/>
                    <a:gd name="connsiteX6" fmla="*/ 0 w 107517"/>
                    <a:gd name="connsiteY6" fmla="*/ 72088 h 195881"/>
                    <a:gd name="connsiteX7" fmla="*/ 0 w 107517"/>
                    <a:gd name="connsiteY7" fmla="*/ 102992 h 195881"/>
                    <a:gd name="connsiteX8" fmla="*/ 29077 w 107517"/>
                    <a:gd name="connsiteY8" fmla="*/ 107936 h 195881"/>
                    <a:gd name="connsiteX9" fmla="*/ 37961 w 107517"/>
                    <a:gd name="connsiteY9" fmla="*/ 129310 h 195881"/>
                    <a:gd name="connsiteX10" fmla="*/ 20813 w 107517"/>
                    <a:gd name="connsiteY10" fmla="*/ 153216 h 195881"/>
                    <a:gd name="connsiteX11" fmla="*/ 42666 w 107517"/>
                    <a:gd name="connsiteY11" fmla="*/ 175068 h 195881"/>
                    <a:gd name="connsiteX12" fmla="*/ 66572 w 107517"/>
                    <a:gd name="connsiteY12" fmla="*/ 157909 h 195881"/>
                    <a:gd name="connsiteX13" fmla="*/ 87934 w 107517"/>
                    <a:gd name="connsiteY13" fmla="*/ 166781 h 195881"/>
                    <a:gd name="connsiteX14" fmla="*/ 92878 w 107517"/>
                    <a:gd name="connsiteY14" fmla="*/ 195882 h 195881"/>
                    <a:gd name="connsiteX15" fmla="*/ 107518 w 107517"/>
                    <a:gd name="connsiteY15" fmla="*/ 195882 h 19588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</a:cxnLst>
                  <a:rect l="l" t="t" r="r" b="b"/>
                  <a:pathLst>
                    <a:path w="107517" h="195881">
                      <a:moveTo>
                        <a:pt x="88101" y="8239"/>
                      </a:moveTo>
                      <a:cubicBezTo>
                        <a:pt x="80483" y="10174"/>
                        <a:pt x="73306" y="13159"/>
                        <a:pt x="66715" y="17064"/>
                      </a:cubicBezTo>
                      <a:lnTo>
                        <a:pt x="42654" y="0"/>
                      </a:lnTo>
                      <a:lnTo>
                        <a:pt x="20801" y="21852"/>
                      </a:lnTo>
                      <a:lnTo>
                        <a:pt x="37865" y="45914"/>
                      </a:lnTo>
                      <a:cubicBezTo>
                        <a:pt x="33984" y="52457"/>
                        <a:pt x="31011" y="59586"/>
                        <a:pt x="29077" y="67133"/>
                      </a:cubicBezTo>
                      <a:lnTo>
                        <a:pt x="0" y="72088"/>
                      </a:lnTo>
                      <a:lnTo>
                        <a:pt x="0" y="102992"/>
                      </a:lnTo>
                      <a:lnTo>
                        <a:pt x="29077" y="107936"/>
                      </a:lnTo>
                      <a:cubicBezTo>
                        <a:pt x="31035" y="115554"/>
                        <a:pt x="34044" y="122719"/>
                        <a:pt x="37961" y="129310"/>
                      </a:cubicBezTo>
                      <a:lnTo>
                        <a:pt x="20813" y="153216"/>
                      </a:lnTo>
                      <a:lnTo>
                        <a:pt x="42666" y="175068"/>
                      </a:lnTo>
                      <a:lnTo>
                        <a:pt x="66572" y="157909"/>
                      </a:lnTo>
                      <a:cubicBezTo>
                        <a:pt x="73151" y="161826"/>
                        <a:pt x="80328" y="164835"/>
                        <a:pt x="87934" y="166781"/>
                      </a:cubicBezTo>
                      <a:lnTo>
                        <a:pt x="92878" y="195882"/>
                      </a:lnTo>
                      <a:lnTo>
                        <a:pt x="107518" y="195882"/>
                      </a:ln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1166" name="Forma livre: Forma 1165">
                <a:extLst>
                  <a:ext uri="{FF2B5EF4-FFF2-40B4-BE49-F238E27FC236}">
                    <a16:creationId xmlns:a16="http://schemas.microsoft.com/office/drawing/2014/main" id="{98975348-52D1-08A0-504A-D4506D00AE3A}"/>
                  </a:ext>
                </a:extLst>
              </p:cNvPr>
              <p:cNvSpPr/>
              <p:nvPr/>
            </p:nvSpPr>
            <p:spPr>
              <a:xfrm>
                <a:off x="11095979" y="1557340"/>
                <a:ext cx="63323" cy="63335"/>
              </a:xfrm>
              <a:custGeom>
                <a:avLst/>
                <a:gdLst>
                  <a:gd name="connsiteX0" fmla="*/ 23464 w 63323"/>
                  <a:gd name="connsiteY0" fmla="*/ 1075 h 63335"/>
                  <a:gd name="connsiteX1" fmla="*/ 31668 w 63323"/>
                  <a:gd name="connsiteY1" fmla="*/ 0 h 63335"/>
                  <a:gd name="connsiteX2" fmla="*/ 63324 w 63323"/>
                  <a:gd name="connsiteY2" fmla="*/ 31668 h 63335"/>
                  <a:gd name="connsiteX3" fmla="*/ 31668 w 63323"/>
                  <a:gd name="connsiteY3" fmla="*/ 63336 h 63335"/>
                  <a:gd name="connsiteX4" fmla="*/ 0 w 63323"/>
                  <a:gd name="connsiteY4" fmla="*/ 31668 h 63335"/>
                  <a:gd name="connsiteX5" fmla="*/ 1206 w 63323"/>
                  <a:gd name="connsiteY5" fmla="*/ 22975 h 633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63323" h="63335">
                    <a:moveTo>
                      <a:pt x="23464" y="1075"/>
                    </a:moveTo>
                    <a:cubicBezTo>
                      <a:pt x="26079" y="370"/>
                      <a:pt x="28838" y="0"/>
                      <a:pt x="31668" y="0"/>
                    </a:cubicBezTo>
                    <a:cubicBezTo>
                      <a:pt x="49149" y="0"/>
                      <a:pt x="63324" y="14174"/>
                      <a:pt x="63324" y="31668"/>
                    </a:cubicBezTo>
                    <a:cubicBezTo>
                      <a:pt x="63324" y="49162"/>
                      <a:pt x="49149" y="63336"/>
                      <a:pt x="31668" y="63336"/>
                    </a:cubicBezTo>
                    <a:cubicBezTo>
                      <a:pt x="14186" y="63336"/>
                      <a:pt x="0" y="49150"/>
                      <a:pt x="0" y="31668"/>
                    </a:cubicBezTo>
                    <a:cubicBezTo>
                      <a:pt x="0" y="28659"/>
                      <a:pt x="418" y="25733"/>
                      <a:pt x="1206" y="22975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167" name="Gráfico 11">
            <a:extLst>
              <a:ext uri="{FF2B5EF4-FFF2-40B4-BE49-F238E27FC236}">
                <a16:creationId xmlns:a16="http://schemas.microsoft.com/office/drawing/2014/main" id="{92739BBB-EC2A-7E25-EA1E-7315D06CA52C}"/>
              </a:ext>
            </a:extLst>
          </p:cNvPr>
          <p:cNvGrpSpPr/>
          <p:nvPr/>
        </p:nvGrpSpPr>
        <p:grpSpPr>
          <a:xfrm>
            <a:off x="10386403" y="987045"/>
            <a:ext cx="295685" cy="286335"/>
            <a:chOff x="10386403" y="987045"/>
            <a:chExt cx="295685" cy="286335"/>
          </a:xfrm>
          <a:noFill/>
        </p:grpSpPr>
        <p:grpSp>
          <p:nvGrpSpPr>
            <p:cNvPr id="1168" name="Gráfico 11">
              <a:extLst>
                <a:ext uri="{FF2B5EF4-FFF2-40B4-BE49-F238E27FC236}">
                  <a16:creationId xmlns:a16="http://schemas.microsoft.com/office/drawing/2014/main" id="{F75B20FA-C31D-C09D-5302-259825678516}"/>
                </a:ext>
              </a:extLst>
            </p:cNvPr>
            <p:cNvGrpSpPr/>
            <p:nvPr/>
          </p:nvGrpSpPr>
          <p:grpSpPr>
            <a:xfrm>
              <a:off x="10386403" y="987045"/>
              <a:ext cx="170148" cy="286335"/>
              <a:chOff x="10386403" y="987045"/>
              <a:chExt cx="170148" cy="286335"/>
            </a:xfrm>
            <a:noFill/>
          </p:grpSpPr>
          <p:sp>
            <p:nvSpPr>
              <p:cNvPr id="1169" name="Forma livre: Forma 1168">
                <a:extLst>
                  <a:ext uri="{FF2B5EF4-FFF2-40B4-BE49-F238E27FC236}">
                    <a16:creationId xmlns:a16="http://schemas.microsoft.com/office/drawing/2014/main" id="{E507B537-CD57-208C-0267-F0DD2233BEBA}"/>
                  </a:ext>
                </a:extLst>
              </p:cNvPr>
              <p:cNvSpPr/>
              <p:nvPr/>
            </p:nvSpPr>
            <p:spPr>
              <a:xfrm>
                <a:off x="10506614" y="987045"/>
                <a:ext cx="49698" cy="38378"/>
              </a:xfrm>
              <a:custGeom>
                <a:avLst/>
                <a:gdLst>
                  <a:gd name="connsiteX0" fmla="*/ 49699 w 49698"/>
                  <a:gd name="connsiteY0" fmla="*/ 38379 h 38378"/>
                  <a:gd name="connsiteX1" fmla="*/ 43382 w 49698"/>
                  <a:gd name="connsiteY1" fmla="*/ 0 h 38378"/>
                  <a:gd name="connsiteX2" fmla="*/ 2532 w 49698"/>
                  <a:gd name="connsiteY2" fmla="*/ 0 h 38378"/>
                  <a:gd name="connsiteX3" fmla="*/ 0 w 49698"/>
                  <a:gd name="connsiteY3" fmla="*/ 17112 h 383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9698" h="38378">
                    <a:moveTo>
                      <a:pt x="49699" y="38379"/>
                    </a:moveTo>
                    <a:lnTo>
                      <a:pt x="43382" y="0"/>
                    </a:lnTo>
                    <a:lnTo>
                      <a:pt x="2532" y="0"/>
                    </a:lnTo>
                    <a:lnTo>
                      <a:pt x="0" y="17112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170" name="Forma livre: Forma 1169">
                <a:extLst>
                  <a:ext uri="{FF2B5EF4-FFF2-40B4-BE49-F238E27FC236}">
                    <a16:creationId xmlns:a16="http://schemas.microsoft.com/office/drawing/2014/main" id="{3C54A123-3427-FC5E-0625-55B0083C56B7}"/>
                  </a:ext>
                </a:extLst>
              </p:cNvPr>
              <p:cNvSpPr/>
              <p:nvPr/>
            </p:nvSpPr>
            <p:spPr>
              <a:xfrm>
                <a:off x="10386403" y="1075206"/>
                <a:ext cx="170148" cy="198174"/>
              </a:xfrm>
              <a:custGeom>
                <a:avLst/>
                <a:gdLst>
                  <a:gd name="connsiteX0" fmla="*/ 50045 w 170148"/>
                  <a:gd name="connsiteY0" fmla="*/ 0 h 198174"/>
                  <a:gd name="connsiteX1" fmla="*/ 38426 w 170148"/>
                  <a:gd name="connsiteY1" fmla="*/ 28050 h 198174"/>
                  <a:gd name="connsiteX2" fmla="*/ 0 w 170148"/>
                  <a:gd name="connsiteY2" fmla="*/ 34569 h 198174"/>
                  <a:gd name="connsiteX3" fmla="*/ 0 w 170148"/>
                  <a:gd name="connsiteY3" fmla="*/ 75420 h 198174"/>
                  <a:gd name="connsiteX4" fmla="*/ 38426 w 170148"/>
                  <a:gd name="connsiteY4" fmla="*/ 81964 h 198174"/>
                  <a:gd name="connsiteX5" fmla="*/ 50177 w 170148"/>
                  <a:gd name="connsiteY5" fmla="*/ 110204 h 198174"/>
                  <a:gd name="connsiteX6" fmla="*/ 27500 w 170148"/>
                  <a:gd name="connsiteY6" fmla="*/ 141801 h 198174"/>
                  <a:gd name="connsiteX7" fmla="*/ 56386 w 170148"/>
                  <a:gd name="connsiteY7" fmla="*/ 170686 h 198174"/>
                  <a:gd name="connsiteX8" fmla="*/ 87982 w 170148"/>
                  <a:gd name="connsiteY8" fmla="*/ 148010 h 198174"/>
                  <a:gd name="connsiteX9" fmla="*/ 116223 w 170148"/>
                  <a:gd name="connsiteY9" fmla="*/ 159736 h 198174"/>
                  <a:gd name="connsiteX10" fmla="*/ 122755 w 170148"/>
                  <a:gd name="connsiteY10" fmla="*/ 198174 h 198174"/>
                  <a:gd name="connsiteX11" fmla="*/ 163605 w 170148"/>
                  <a:gd name="connsiteY11" fmla="*/ 198174 h 198174"/>
                  <a:gd name="connsiteX12" fmla="*/ 170149 w 170148"/>
                  <a:gd name="connsiteY12" fmla="*/ 159748 h 198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70148" h="198174">
                    <a:moveTo>
                      <a:pt x="50045" y="0"/>
                    </a:moveTo>
                    <a:cubicBezTo>
                      <a:pt x="44922" y="8645"/>
                      <a:pt x="40982" y="18067"/>
                      <a:pt x="38426" y="28050"/>
                    </a:cubicBezTo>
                    <a:lnTo>
                      <a:pt x="0" y="34569"/>
                    </a:lnTo>
                    <a:lnTo>
                      <a:pt x="0" y="75420"/>
                    </a:lnTo>
                    <a:lnTo>
                      <a:pt x="38426" y="81964"/>
                    </a:lnTo>
                    <a:cubicBezTo>
                      <a:pt x="41006" y="92030"/>
                      <a:pt x="44982" y="101499"/>
                      <a:pt x="50177" y="110204"/>
                    </a:cubicBezTo>
                    <a:lnTo>
                      <a:pt x="27500" y="141801"/>
                    </a:lnTo>
                    <a:lnTo>
                      <a:pt x="56386" y="170686"/>
                    </a:lnTo>
                    <a:lnTo>
                      <a:pt x="87982" y="148010"/>
                    </a:lnTo>
                    <a:cubicBezTo>
                      <a:pt x="96687" y="153192"/>
                      <a:pt x="106168" y="157157"/>
                      <a:pt x="116223" y="159736"/>
                    </a:cubicBezTo>
                    <a:lnTo>
                      <a:pt x="122755" y="198174"/>
                    </a:lnTo>
                    <a:lnTo>
                      <a:pt x="163605" y="198174"/>
                    </a:lnTo>
                    <a:lnTo>
                      <a:pt x="170149" y="159748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171" name="Forma livre: Forma 1170">
                <a:extLst>
                  <a:ext uri="{FF2B5EF4-FFF2-40B4-BE49-F238E27FC236}">
                    <a16:creationId xmlns:a16="http://schemas.microsoft.com/office/drawing/2014/main" id="{87382583-C419-F52F-8277-F36F738CD17B}"/>
                  </a:ext>
                </a:extLst>
              </p:cNvPr>
              <p:cNvSpPr/>
              <p:nvPr/>
            </p:nvSpPr>
            <p:spPr>
              <a:xfrm>
                <a:off x="10413903" y="1014545"/>
                <a:ext cx="88937" cy="42462"/>
              </a:xfrm>
              <a:custGeom>
                <a:avLst/>
                <a:gdLst>
                  <a:gd name="connsiteX0" fmla="*/ 88937 w 88937"/>
                  <a:gd name="connsiteY0" fmla="*/ 10878 h 42462"/>
                  <a:gd name="connsiteX1" fmla="*/ 60673 w 88937"/>
                  <a:gd name="connsiteY1" fmla="*/ 22545 h 42462"/>
                  <a:gd name="connsiteX2" fmla="*/ 28886 w 88937"/>
                  <a:gd name="connsiteY2" fmla="*/ 0 h 42462"/>
                  <a:gd name="connsiteX3" fmla="*/ 0 w 88937"/>
                  <a:gd name="connsiteY3" fmla="*/ 28874 h 42462"/>
                  <a:gd name="connsiteX4" fmla="*/ 9720 w 88937"/>
                  <a:gd name="connsiteY4" fmla="*/ 42463 h 424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8937" h="42462">
                    <a:moveTo>
                      <a:pt x="88937" y="10878"/>
                    </a:moveTo>
                    <a:cubicBezTo>
                      <a:pt x="78883" y="13434"/>
                      <a:pt x="69390" y="17374"/>
                      <a:pt x="60673" y="22545"/>
                    </a:cubicBezTo>
                    <a:lnTo>
                      <a:pt x="28886" y="0"/>
                    </a:lnTo>
                    <a:lnTo>
                      <a:pt x="0" y="28874"/>
                    </a:lnTo>
                    <a:lnTo>
                      <a:pt x="9720" y="42463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172" name="Gráfico 11">
              <a:extLst>
                <a:ext uri="{FF2B5EF4-FFF2-40B4-BE49-F238E27FC236}">
                  <a16:creationId xmlns:a16="http://schemas.microsoft.com/office/drawing/2014/main" id="{4F20FB7D-3B8B-E241-E194-10886EB280D8}"/>
                </a:ext>
              </a:extLst>
            </p:cNvPr>
            <p:cNvGrpSpPr/>
            <p:nvPr/>
          </p:nvGrpSpPr>
          <p:grpSpPr>
            <a:xfrm>
              <a:off x="10531237" y="1111818"/>
              <a:ext cx="150851" cy="36790"/>
              <a:chOff x="10531237" y="1111818"/>
              <a:chExt cx="150851" cy="36790"/>
            </a:xfrm>
            <a:noFill/>
          </p:grpSpPr>
          <p:sp>
            <p:nvSpPr>
              <p:cNvPr id="1173" name="Forma livre: Forma 1172">
                <a:extLst>
                  <a:ext uri="{FF2B5EF4-FFF2-40B4-BE49-F238E27FC236}">
                    <a16:creationId xmlns:a16="http://schemas.microsoft.com/office/drawing/2014/main" id="{99255195-9963-F658-B3AF-97179F59B355}"/>
                  </a:ext>
                </a:extLst>
              </p:cNvPr>
              <p:cNvSpPr/>
              <p:nvPr/>
            </p:nvSpPr>
            <p:spPr>
              <a:xfrm>
                <a:off x="10645310" y="1111818"/>
                <a:ext cx="36778" cy="36790"/>
              </a:xfrm>
              <a:custGeom>
                <a:avLst/>
                <a:gdLst>
                  <a:gd name="connsiteX0" fmla="*/ 17255 w 36778"/>
                  <a:gd name="connsiteY0" fmla="*/ 36791 h 36790"/>
                  <a:gd name="connsiteX1" fmla="*/ 0 w 36778"/>
                  <a:gd name="connsiteY1" fmla="*/ 18401 h 36790"/>
                  <a:gd name="connsiteX2" fmla="*/ 18389 w 36778"/>
                  <a:gd name="connsiteY2" fmla="*/ 0 h 36790"/>
                  <a:gd name="connsiteX3" fmla="*/ 36779 w 36778"/>
                  <a:gd name="connsiteY3" fmla="*/ 18401 h 36790"/>
                  <a:gd name="connsiteX4" fmla="*/ 17255 w 36778"/>
                  <a:gd name="connsiteY4" fmla="*/ 36791 h 367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6778" h="36790">
                    <a:moveTo>
                      <a:pt x="17255" y="36791"/>
                    </a:moveTo>
                    <a:cubicBezTo>
                      <a:pt x="7093" y="36791"/>
                      <a:pt x="0" y="28563"/>
                      <a:pt x="0" y="18401"/>
                    </a:cubicBezTo>
                    <a:cubicBezTo>
                      <a:pt x="0" y="8239"/>
                      <a:pt x="8227" y="0"/>
                      <a:pt x="18389" y="0"/>
                    </a:cubicBezTo>
                    <a:cubicBezTo>
                      <a:pt x="28551" y="0"/>
                      <a:pt x="36779" y="8239"/>
                      <a:pt x="36779" y="18401"/>
                    </a:cubicBezTo>
                    <a:cubicBezTo>
                      <a:pt x="36779" y="28563"/>
                      <a:pt x="27417" y="36791"/>
                      <a:pt x="17255" y="36791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174" name="Forma livre: Forma 1173">
                <a:extLst>
                  <a:ext uri="{FF2B5EF4-FFF2-40B4-BE49-F238E27FC236}">
                    <a16:creationId xmlns:a16="http://schemas.microsoft.com/office/drawing/2014/main" id="{E4EF08E3-517A-8500-4930-4CFB6EEA287A}"/>
                  </a:ext>
                </a:extLst>
              </p:cNvPr>
              <p:cNvSpPr/>
              <p:nvPr/>
            </p:nvSpPr>
            <p:spPr>
              <a:xfrm>
                <a:off x="10531237" y="1130219"/>
                <a:ext cx="112091" cy="1194"/>
              </a:xfrm>
              <a:custGeom>
                <a:avLst/>
                <a:gdLst>
                  <a:gd name="connsiteX0" fmla="*/ 112091 w 112091"/>
                  <a:gd name="connsiteY0" fmla="*/ 0 h 1194"/>
                  <a:gd name="connsiteX1" fmla="*/ 0 w 112091"/>
                  <a:gd name="connsiteY1" fmla="*/ 0 h 11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2091" h="1194">
                    <a:moveTo>
                      <a:pt x="112091" y="0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175" name="Gráfico 11">
              <a:extLst>
                <a:ext uri="{FF2B5EF4-FFF2-40B4-BE49-F238E27FC236}">
                  <a16:creationId xmlns:a16="http://schemas.microsoft.com/office/drawing/2014/main" id="{B75379C4-56B0-53F1-C5D7-D5F064993027}"/>
                </a:ext>
              </a:extLst>
            </p:cNvPr>
            <p:cNvGrpSpPr/>
            <p:nvPr/>
          </p:nvGrpSpPr>
          <p:grpSpPr>
            <a:xfrm>
              <a:off x="10457703" y="1007417"/>
              <a:ext cx="160046" cy="245604"/>
              <a:chOff x="10457703" y="1007417"/>
              <a:chExt cx="160046" cy="245604"/>
            </a:xfrm>
            <a:noFill/>
          </p:grpSpPr>
          <p:sp>
            <p:nvSpPr>
              <p:cNvPr id="1176" name="Forma livre: Forma 1175">
                <a:extLst>
                  <a:ext uri="{FF2B5EF4-FFF2-40B4-BE49-F238E27FC236}">
                    <a16:creationId xmlns:a16="http://schemas.microsoft.com/office/drawing/2014/main" id="{518AF16E-4DF5-50C1-8423-3E3465229232}"/>
                  </a:ext>
                </a:extLst>
              </p:cNvPr>
              <p:cNvSpPr/>
              <p:nvPr/>
            </p:nvSpPr>
            <p:spPr>
              <a:xfrm>
                <a:off x="10580971" y="1007417"/>
                <a:ext cx="36778" cy="36790"/>
              </a:xfrm>
              <a:custGeom>
                <a:avLst/>
                <a:gdLst>
                  <a:gd name="connsiteX0" fmla="*/ 18389 w 36778"/>
                  <a:gd name="connsiteY0" fmla="*/ 36791 h 36790"/>
                  <a:gd name="connsiteX1" fmla="*/ 0 w 36778"/>
                  <a:gd name="connsiteY1" fmla="*/ 18389 h 36790"/>
                  <a:gd name="connsiteX2" fmla="*/ 18389 w 36778"/>
                  <a:gd name="connsiteY2" fmla="*/ 0 h 36790"/>
                  <a:gd name="connsiteX3" fmla="*/ 36779 w 36778"/>
                  <a:gd name="connsiteY3" fmla="*/ 18401 h 36790"/>
                  <a:gd name="connsiteX4" fmla="*/ 18389 w 36778"/>
                  <a:gd name="connsiteY4" fmla="*/ 36791 h 367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6778" h="36790">
                    <a:moveTo>
                      <a:pt x="18389" y="36791"/>
                    </a:moveTo>
                    <a:cubicBezTo>
                      <a:pt x="8227" y="36791"/>
                      <a:pt x="0" y="28563"/>
                      <a:pt x="0" y="18389"/>
                    </a:cubicBezTo>
                    <a:cubicBezTo>
                      <a:pt x="0" y="8215"/>
                      <a:pt x="8227" y="0"/>
                      <a:pt x="18389" y="0"/>
                    </a:cubicBezTo>
                    <a:cubicBezTo>
                      <a:pt x="28551" y="0"/>
                      <a:pt x="36791" y="8227"/>
                      <a:pt x="36779" y="18401"/>
                    </a:cubicBezTo>
                    <a:cubicBezTo>
                      <a:pt x="36779" y="28551"/>
                      <a:pt x="28551" y="36791"/>
                      <a:pt x="18389" y="36791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177" name="Forma livre: Forma 1176">
                <a:extLst>
                  <a:ext uri="{FF2B5EF4-FFF2-40B4-BE49-F238E27FC236}">
                    <a16:creationId xmlns:a16="http://schemas.microsoft.com/office/drawing/2014/main" id="{CB3D3720-8336-3CBA-2F54-9D045BD916D4}"/>
                  </a:ext>
                </a:extLst>
              </p:cNvPr>
              <p:cNvSpPr/>
              <p:nvPr/>
            </p:nvSpPr>
            <p:spPr>
              <a:xfrm>
                <a:off x="10580971" y="1216231"/>
                <a:ext cx="36778" cy="36790"/>
              </a:xfrm>
              <a:custGeom>
                <a:avLst/>
                <a:gdLst>
                  <a:gd name="connsiteX0" fmla="*/ 18389 w 36778"/>
                  <a:gd name="connsiteY0" fmla="*/ 0 h 36790"/>
                  <a:gd name="connsiteX1" fmla="*/ 0 w 36778"/>
                  <a:gd name="connsiteY1" fmla="*/ 18401 h 36790"/>
                  <a:gd name="connsiteX2" fmla="*/ 18389 w 36778"/>
                  <a:gd name="connsiteY2" fmla="*/ 36791 h 36790"/>
                  <a:gd name="connsiteX3" fmla="*/ 36779 w 36778"/>
                  <a:gd name="connsiteY3" fmla="*/ 18389 h 36790"/>
                  <a:gd name="connsiteX4" fmla="*/ 18389 w 36778"/>
                  <a:gd name="connsiteY4" fmla="*/ 0 h 367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6778" h="36790">
                    <a:moveTo>
                      <a:pt x="18389" y="0"/>
                    </a:moveTo>
                    <a:cubicBezTo>
                      <a:pt x="8227" y="0"/>
                      <a:pt x="0" y="8227"/>
                      <a:pt x="0" y="18401"/>
                    </a:cubicBezTo>
                    <a:cubicBezTo>
                      <a:pt x="0" y="28575"/>
                      <a:pt x="8227" y="36791"/>
                      <a:pt x="18389" y="36791"/>
                    </a:cubicBezTo>
                    <a:cubicBezTo>
                      <a:pt x="28551" y="36791"/>
                      <a:pt x="36791" y="28563"/>
                      <a:pt x="36779" y="18389"/>
                    </a:cubicBezTo>
                    <a:cubicBezTo>
                      <a:pt x="36779" y="8239"/>
                      <a:pt x="28551" y="0"/>
                      <a:pt x="18389" y="0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178" name="Forma livre: Forma 1177">
                <a:extLst>
                  <a:ext uri="{FF2B5EF4-FFF2-40B4-BE49-F238E27FC236}">
                    <a16:creationId xmlns:a16="http://schemas.microsoft.com/office/drawing/2014/main" id="{AAD0D76B-E559-9D77-9D6E-D91ED29293B4}"/>
                  </a:ext>
                </a:extLst>
              </p:cNvPr>
              <p:cNvSpPr/>
              <p:nvPr/>
            </p:nvSpPr>
            <p:spPr>
              <a:xfrm>
                <a:off x="10484487" y="1039359"/>
                <a:ext cx="102729" cy="34832"/>
              </a:xfrm>
              <a:custGeom>
                <a:avLst/>
                <a:gdLst>
                  <a:gd name="connsiteX0" fmla="*/ 0 w 102729"/>
                  <a:gd name="connsiteY0" fmla="*/ 34832 h 34832"/>
                  <a:gd name="connsiteX1" fmla="*/ 45090 w 102729"/>
                  <a:gd name="connsiteY1" fmla="*/ 18939 h 34832"/>
                  <a:gd name="connsiteX2" fmla="*/ 78214 w 102729"/>
                  <a:gd name="connsiteY2" fmla="*/ 18939 h 34832"/>
                  <a:gd name="connsiteX3" fmla="*/ 102729 w 102729"/>
                  <a:gd name="connsiteY3" fmla="*/ 0 h 348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02729" h="34832">
                    <a:moveTo>
                      <a:pt x="0" y="34832"/>
                    </a:moveTo>
                    <a:cubicBezTo>
                      <a:pt x="12323" y="24897"/>
                      <a:pt x="28014" y="18939"/>
                      <a:pt x="45090" y="18939"/>
                    </a:cubicBezTo>
                    <a:lnTo>
                      <a:pt x="78214" y="18939"/>
                    </a:lnTo>
                    <a:lnTo>
                      <a:pt x="102729" y="0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179" name="Forma livre: Forma 1178">
                <a:extLst>
                  <a:ext uri="{FF2B5EF4-FFF2-40B4-BE49-F238E27FC236}">
                    <a16:creationId xmlns:a16="http://schemas.microsoft.com/office/drawing/2014/main" id="{DAD1783E-EF46-CB14-7C62-2FB99FA371FD}"/>
                  </a:ext>
                </a:extLst>
              </p:cNvPr>
              <p:cNvSpPr/>
              <p:nvPr/>
            </p:nvSpPr>
            <p:spPr>
              <a:xfrm>
                <a:off x="10457703" y="1093118"/>
                <a:ext cx="129513" cy="127960"/>
              </a:xfrm>
              <a:custGeom>
                <a:avLst/>
                <a:gdLst>
                  <a:gd name="connsiteX0" fmla="*/ 129513 w 129513"/>
                  <a:gd name="connsiteY0" fmla="*/ 127961 h 127960"/>
                  <a:gd name="connsiteX1" fmla="*/ 104998 w 129513"/>
                  <a:gd name="connsiteY1" fmla="*/ 108927 h 127960"/>
                  <a:gd name="connsiteX2" fmla="*/ 71873 w 129513"/>
                  <a:gd name="connsiteY2" fmla="*/ 108927 h 127960"/>
                  <a:gd name="connsiteX3" fmla="*/ 0 w 129513"/>
                  <a:gd name="connsiteY3" fmla="*/ 37053 h 127960"/>
                  <a:gd name="connsiteX4" fmla="*/ 10281 w 129513"/>
                  <a:gd name="connsiteY4" fmla="*/ 0 h 1279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9513" h="127960">
                    <a:moveTo>
                      <a:pt x="129513" y="127961"/>
                    </a:moveTo>
                    <a:lnTo>
                      <a:pt x="104998" y="108927"/>
                    </a:lnTo>
                    <a:lnTo>
                      <a:pt x="71873" y="108927"/>
                    </a:lnTo>
                    <a:cubicBezTo>
                      <a:pt x="32181" y="108927"/>
                      <a:pt x="0" y="76745"/>
                      <a:pt x="0" y="37053"/>
                    </a:cubicBezTo>
                    <a:cubicBezTo>
                      <a:pt x="0" y="23500"/>
                      <a:pt x="3749" y="10831"/>
                      <a:pt x="10281" y="0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180" name="Gráfico 11">
              <a:extLst>
                <a:ext uri="{FF2B5EF4-FFF2-40B4-BE49-F238E27FC236}">
                  <a16:creationId xmlns:a16="http://schemas.microsoft.com/office/drawing/2014/main" id="{BE350A72-9E4E-AE1D-93B2-A86B1AE0D19D}"/>
                </a:ext>
              </a:extLst>
            </p:cNvPr>
            <p:cNvGrpSpPr/>
            <p:nvPr/>
          </p:nvGrpSpPr>
          <p:grpSpPr>
            <a:xfrm>
              <a:off x="10493515" y="1053903"/>
              <a:ext cx="163855" cy="152631"/>
              <a:chOff x="10493515" y="1053903"/>
              <a:chExt cx="163855" cy="152631"/>
            </a:xfrm>
            <a:noFill/>
          </p:grpSpPr>
          <p:sp>
            <p:nvSpPr>
              <p:cNvPr id="1181" name="Forma livre: Forma 1180">
                <a:extLst>
                  <a:ext uri="{FF2B5EF4-FFF2-40B4-BE49-F238E27FC236}">
                    <a16:creationId xmlns:a16="http://schemas.microsoft.com/office/drawing/2014/main" id="{CDF820A1-620B-AC3A-4C02-138CD110FE79}"/>
                  </a:ext>
                </a:extLst>
              </p:cNvPr>
              <p:cNvSpPr/>
              <p:nvPr/>
            </p:nvSpPr>
            <p:spPr>
              <a:xfrm>
                <a:off x="10620592" y="1053903"/>
                <a:ext cx="36778" cy="36790"/>
              </a:xfrm>
              <a:custGeom>
                <a:avLst/>
                <a:gdLst>
                  <a:gd name="connsiteX0" fmla="*/ 18389 w 36778"/>
                  <a:gd name="connsiteY0" fmla="*/ 36791 h 36790"/>
                  <a:gd name="connsiteX1" fmla="*/ 0 w 36778"/>
                  <a:gd name="connsiteY1" fmla="*/ 18389 h 36790"/>
                  <a:gd name="connsiteX2" fmla="*/ 18389 w 36778"/>
                  <a:gd name="connsiteY2" fmla="*/ 0 h 36790"/>
                  <a:gd name="connsiteX3" fmla="*/ 36779 w 36778"/>
                  <a:gd name="connsiteY3" fmla="*/ 18401 h 36790"/>
                  <a:gd name="connsiteX4" fmla="*/ 18389 w 36778"/>
                  <a:gd name="connsiteY4" fmla="*/ 36791 h 367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6778" h="36790">
                    <a:moveTo>
                      <a:pt x="18389" y="36791"/>
                    </a:moveTo>
                    <a:cubicBezTo>
                      <a:pt x="8227" y="36791"/>
                      <a:pt x="0" y="28563"/>
                      <a:pt x="0" y="18389"/>
                    </a:cubicBezTo>
                    <a:cubicBezTo>
                      <a:pt x="0" y="8215"/>
                      <a:pt x="8227" y="0"/>
                      <a:pt x="18389" y="0"/>
                    </a:cubicBezTo>
                    <a:cubicBezTo>
                      <a:pt x="28551" y="0"/>
                      <a:pt x="36791" y="8227"/>
                      <a:pt x="36779" y="18401"/>
                    </a:cubicBezTo>
                    <a:cubicBezTo>
                      <a:pt x="36779" y="28551"/>
                      <a:pt x="28551" y="36791"/>
                      <a:pt x="18389" y="36791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182" name="Forma livre: Forma 1181">
                <a:extLst>
                  <a:ext uri="{FF2B5EF4-FFF2-40B4-BE49-F238E27FC236}">
                    <a16:creationId xmlns:a16="http://schemas.microsoft.com/office/drawing/2014/main" id="{A994AB73-9D57-E852-57F9-B677C8B4A274}"/>
                  </a:ext>
                </a:extLst>
              </p:cNvPr>
              <p:cNvSpPr/>
              <p:nvPr/>
            </p:nvSpPr>
            <p:spPr>
              <a:xfrm>
                <a:off x="10620592" y="1169744"/>
                <a:ext cx="36778" cy="36790"/>
              </a:xfrm>
              <a:custGeom>
                <a:avLst/>
                <a:gdLst>
                  <a:gd name="connsiteX0" fmla="*/ 18389 w 36778"/>
                  <a:gd name="connsiteY0" fmla="*/ 0 h 36790"/>
                  <a:gd name="connsiteX1" fmla="*/ 0 w 36778"/>
                  <a:gd name="connsiteY1" fmla="*/ 18401 h 36790"/>
                  <a:gd name="connsiteX2" fmla="*/ 18389 w 36778"/>
                  <a:gd name="connsiteY2" fmla="*/ 36791 h 36790"/>
                  <a:gd name="connsiteX3" fmla="*/ 36779 w 36778"/>
                  <a:gd name="connsiteY3" fmla="*/ 18389 h 36790"/>
                  <a:gd name="connsiteX4" fmla="*/ 18389 w 36778"/>
                  <a:gd name="connsiteY4" fmla="*/ 0 h 367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6778" h="36790">
                    <a:moveTo>
                      <a:pt x="18389" y="0"/>
                    </a:moveTo>
                    <a:cubicBezTo>
                      <a:pt x="8227" y="0"/>
                      <a:pt x="0" y="8227"/>
                      <a:pt x="0" y="18401"/>
                    </a:cubicBezTo>
                    <a:cubicBezTo>
                      <a:pt x="0" y="28575"/>
                      <a:pt x="8227" y="36791"/>
                      <a:pt x="18389" y="36791"/>
                    </a:cubicBezTo>
                    <a:cubicBezTo>
                      <a:pt x="28551" y="36791"/>
                      <a:pt x="36791" y="28563"/>
                      <a:pt x="36779" y="18389"/>
                    </a:cubicBezTo>
                    <a:cubicBezTo>
                      <a:pt x="36779" y="8239"/>
                      <a:pt x="28551" y="0"/>
                      <a:pt x="18389" y="0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183" name="Forma livre: Forma 1182">
                <a:extLst>
                  <a:ext uri="{FF2B5EF4-FFF2-40B4-BE49-F238E27FC236}">
                    <a16:creationId xmlns:a16="http://schemas.microsoft.com/office/drawing/2014/main" id="{A54E97F9-5F78-0D7C-34F0-3C181CD7450C}"/>
                  </a:ext>
                </a:extLst>
              </p:cNvPr>
              <p:cNvSpPr/>
              <p:nvPr/>
            </p:nvSpPr>
            <p:spPr>
              <a:xfrm>
                <a:off x="10493515" y="1079565"/>
                <a:ext cx="126551" cy="101284"/>
              </a:xfrm>
              <a:custGeom>
                <a:avLst/>
                <a:gdLst>
                  <a:gd name="connsiteX0" fmla="*/ 126552 w 126551"/>
                  <a:gd name="connsiteY0" fmla="*/ 101284 h 101284"/>
                  <a:gd name="connsiteX1" fmla="*/ 94359 w 126551"/>
                  <a:gd name="connsiteY1" fmla="*/ 86645 h 101284"/>
                  <a:gd name="connsiteX2" fmla="*/ 36050 w 126551"/>
                  <a:gd name="connsiteY2" fmla="*/ 86645 h 101284"/>
                  <a:gd name="connsiteX3" fmla="*/ 0 w 126551"/>
                  <a:gd name="connsiteY3" fmla="*/ 50594 h 101284"/>
                  <a:gd name="connsiteX4" fmla="*/ 36050 w 126551"/>
                  <a:gd name="connsiteY4" fmla="*/ 14664 h 101284"/>
                  <a:gd name="connsiteX5" fmla="*/ 94359 w 126551"/>
                  <a:gd name="connsiteY5" fmla="*/ 14664 h 101284"/>
                  <a:gd name="connsiteX6" fmla="*/ 126552 w 126551"/>
                  <a:gd name="connsiteY6" fmla="*/ 0 h 1012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26551" h="101284">
                    <a:moveTo>
                      <a:pt x="126552" y="101284"/>
                    </a:moveTo>
                    <a:lnTo>
                      <a:pt x="94359" y="86645"/>
                    </a:lnTo>
                    <a:lnTo>
                      <a:pt x="36050" y="86645"/>
                    </a:lnTo>
                    <a:cubicBezTo>
                      <a:pt x="16144" y="86645"/>
                      <a:pt x="0" y="70500"/>
                      <a:pt x="0" y="50594"/>
                    </a:cubicBezTo>
                    <a:cubicBezTo>
                      <a:pt x="0" y="30689"/>
                      <a:pt x="16144" y="14664"/>
                      <a:pt x="36050" y="14664"/>
                    </a:cubicBezTo>
                    <a:lnTo>
                      <a:pt x="94359" y="14664"/>
                    </a:lnTo>
                    <a:lnTo>
                      <a:pt x="126552" y="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184" name="Gráfico 11">
            <a:extLst>
              <a:ext uri="{FF2B5EF4-FFF2-40B4-BE49-F238E27FC236}">
                <a16:creationId xmlns:a16="http://schemas.microsoft.com/office/drawing/2014/main" id="{73AD8CD6-3AC3-4D42-4C72-88EA10197637}"/>
              </a:ext>
            </a:extLst>
          </p:cNvPr>
          <p:cNvGrpSpPr/>
          <p:nvPr/>
        </p:nvGrpSpPr>
        <p:grpSpPr>
          <a:xfrm>
            <a:off x="10391896" y="2574899"/>
            <a:ext cx="284711" cy="314864"/>
            <a:chOff x="10391896" y="2574899"/>
            <a:chExt cx="284711" cy="314864"/>
          </a:xfrm>
        </p:grpSpPr>
        <p:sp>
          <p:nvSpPr>
            <p:cNvPr id="1185" name="Forma livre: Forma 1184">
              <a:extLst>
                <a:ext uri="{FF2B5EF4-FFF2-40B4-BE49-F238E27FC236}">
                  <a16:creationId xmlns:a16="http://schemas.microsoft.com/office/drawing/2014/main" id="{755C1BBF-6CF0-827B-8348-7ECC7F0A498A}"/>
                </a:ext>
              </a:extLst>
            </p:cNvPr>
            <p:cNvSpPr/>
            <p:nvPr/>
          </p:nvSpPr>
          <p:spPr>
            <a:xfrm>
              <a:off x="10391896" y="2862968"/>
              <a:ext cx="157132" cy="26795"/>
            </a:xfrm>
            <a:custGeom>
              <a:avLst/>
              <a:gdLst>
                <a:gd name="connsiteX0" fmla="*/ 64016 w 157132"/>
                <a:gd name="connsiteY0" fmla="*/ 0 h 26795"/>
                <a:gd name="connsiteX1" fmla="*/ 157133 w 157132"/>
                <a:gd name="connsiteY1" fmla="*/ 0 h 26795"/>
                <a:gd name="connsiteX2" fmla="*/ 157133 w 157132"/>
                <a:gd name="connsiteY2" fmla="*/ 26796 h 26795"/>
                <a:gd name="connsiteX3" fmla="*/ 0 w 157132"/>
                <a:gd name="connsiteY3" fmla="*/ 26796 h 26795"/>
                <a:gd name="connsiteX4" fmla="*/ 0 w 157132"/>
                <a:gd name="connsiteY4" fmla="*/ 0 h 26795"/>
                <a:gd name="connsiteX5" fmla="*/ 38689 w 157132"/>
                <a:gd name="connsiteY5" fmla="*/ 0 h 267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57132" h="26795">
                  <a:moveTo>
                    <a:pt x="64016" y="0"/>
                  </a:moveTo>
                  <a:lnTo>
                    <a:pt x="157133" y="0"/>
                  </a:lnTo>
                  <a:lnTo>
                    <a:pt x="157133" y="26796"/>
                  </a:lnTo>
                  <a:lnTo>
                    <a:pt x="0" y="26796"/>
                  </a:lnTo>
                  <a:lnTo>
                    <a:pt x="0" y="0"/>
                  </a:lnTo>
                  <a:lnTo>
                    <a:pt x="38689" y="0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86" name="Forma livre: Forma 1185">
              <a:extLst>
                <a:ext uri="{FF2B5EF4-FFF2-40B4-BE49-F238E27FC236}">
                  <a16:creationId xmlns:a16="http://schemas.microsoft.com/office/drawing/2014/main" id="{8BDA4780-72AC-8534-0679-83639CC1FF14}"/>
                </a:ext>
              </a:extLst>
            </p:cNvPr>
            <p:cNvSpPr/>
            <p:nvPr/>
          </p:nvSpPr>
          <p:spPr>
            <a:xfrm>
              <a:off x="10433260" y="2735055"/>
              <a:ext cx="11845" cy="82453"/>
            </a:xfrm>
            <a:custGeom>
              <a:avLst/>
              <a:gdLst>
                <a:gd name="connsiteX0" fmla="*/ 0 w 11845"/>
                <a:gd name="connsiteY0" fmla="*/ 82453 h 82453"/>
                <a:gd name="connsiteX1" fmla="*/ 11846 w 11845"/>
                <a:gd name="connsiteY1" fmla="*/ 0 h 82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845" h="82453">
                  <a:moveTo>
                    <a:pt x="0" y="82453"/>
                  </a:moveTo>
                  <a:lnTo>
                    <a:pt x="11846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87" name="Forma livre: Forma 1186">
              <a:extLst>
                <a:ext uri="{FF2B5EF4-FFF2-40B4-BE49-F238E27FC236}">
                  <a16:creationId xmlns:a16="http://schemas.microsoft.com/office/drawing/2014/main" id="{A11E13AA-9D52-D80D-7D11-AC2A46056B8D}"/>
                </a:ext>
              </a:extLst>
            </p:cNvPr>
            <p:cNvSpPr/>
            <p:nvPr/>
          </p:nvSpPr>
          <p:spPr>
            <a:xfrm>
              <a:off x="10491795" y="2714396"/>
              <a:ext cx="15857" cy="103111"/>
            </a:xfrm>
            <a:custGeom>
              <a:avLst/>
              <a:gdLst>
                <a:gd name="connsiteX0" fmla="*/ 0 w 15857"/>
                <a:gd name="connsiteY0" fmla="*/ 0 h 103111"/>
                <a:gd name="connsiteX1" fmla="*/ 15858 w 15857"/>
                <a:gd name="connsiteY1" fmla="*/ 103111 h 1031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857" h="103111">
                  <a:moveTo>
                    <a:pt x="0" y="0"/>
                  </a:moveTo>
                  <a:lnTo>
                    <a:pt x="15858" y="103111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188" name="Gráfico 11">
              <a:extLst>
                <a:ext uri="{FF2B5EF4-FFF2-40B4-BE49-F238E27FC236}">
                  <a16:creationId xmlns:a16="http://schemas.microsoft.com/office/drawing/2014/main" id="{8BC543FA-3D26-6DD9-5B50-2179D3B82387}"/>
                </a:ext>
              </a:extLst>
            </p:cNvPr>
            <p:cNvGrpSpPr/>
            <p:nvPr/>
          </p:nvGrpSpPr>
          <p:grpSpPr>
            <a:xfrm>
              <a:off x="10423695" y="2625674"/>
              <a:ext cx="93522" cy="93510"/>
              <a:chOff x="10423695" y="2625674"/>
              <a:chExt cx="93522" cy="93510"/>
            </a:xfrm>
            <a:noFill/>
          </p:grpSpPr>
          <p:sp>
            <p:nvSpPr>
              <p:cNvPr id="1189" name="Forma livre: Forma 1188">
                <a:extLst>
                  <a:ext uri="{FF2B5EF4-FFF2-40B4-BE49-F238E27FC236}">
                    <a16:creationId xmlns:a16="http://schemas.microsoft.com/office/drawing/2014/main" id="{AB2E5105-AECE-CEA0-3830-E8D91BEE5A6D}"/>
                  </a:ext>
                </a:extLst>
              </p:cNvPr>
              <p:cNvSpPr/>
              <p:nvPr/>
            </p:nvSpPr>
            <p:spPr>
              <a:xfrm>
                <a:off x="10423695" y="2625674"/>
                <a:ext cx="93522" cy="93510"/>
              </a:xfrm>
              <a:custGeom>
                <a:avLst/>
                <a:gdLst>
                  <a:gd name="connsiteX0" fmla="*/ 91935 w 93522"/>
                  <a:gd name="connsiteY0" fmla="*/ 34629 h 93510"/>
                  <a:gd name="connsiteX1" fmla="*/ 93523 w 93522"/>
                  <a:gd name="connsiteY1" fmla="*/ 46761 h 93510"/>
                  <a:gd name="connsiteX2" fmla="*/ 46761 w 93522"/>
                  <a:gd name="connsiteY2" fmla="*/ 93511 h 93510"/>
                  <a:gd name="connsiteX3" fmla="*/ 0 w 93522"/>
                  <a:gd name="connsiteY3" fmla="*/ 46761 h 93510"/>
                  <a:gd name="connsiteX4" fmla="*/ 46761 w 93522"/>
                  <a:gd name="connsiteY4" fmla="*/ 0 h 93510"/>
                  <a:gd name="connsiteX5" fmla="*/ 74250 w 93522"/>
                  <a:gd name="connsiteY5" fmla="*/ 8932 h 935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93522" h="93510">
                    <a:moveTo>
                      <a:pt x="91935" y="34629"/>
                    </a:moveTo>
                    <a:cubicBezTo>
                      <a:pt x="92973" y="38498"/>
                      <a:pt x="93523" y="42570"/>
                      <a:pt x="93523" y="46761"/>
                    </a:cubicBezTo>
                    <a:cubicBezTo>
                      <a:pt x="93523" y="72590"/>
                      <a:pt x="72590" y="93511"/>
                      <a:pt x="46761" y="93511"/>
                    </a:cubicBezTo>
                    <a:cubicBezTo>
                      <a:pt x="20933" y="93511"/>
                      <a:pt x="0" y="72590"/>
                      <a:pt x="0" y="46761"/>
                    </a:cubicBezTo>
                    <a:cubicBezTo>
                      <a:pt x="0" y="20933"/>
                      <a:pt x="20933" y="0"/>
                      <a:pt x="46761" y="0"/>
                    </a:cubicBezTo>
                    <a:cubicBezTo>
                      <a:pt x="57031" y="0"/>
                      <a:pt x="66536" y="3320"/>
                      <a:pt x="74250" y="8932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190" name="Forma livre: Forma 1189">
                <a:extLst>
                  <a:ext uri="{FF2B5EF4-FFF2-40B4-BE49-F238E27FC236}">
                    <a16:creationId xmlns:a16="http://schemas.microsoft.com/office/drawing/2014/main" id="{AB47DF7B-0483-7A9D-E958-E8C2BEF9485A}"/>
                  </a:ext>
                </a:extLst>
              </p:cNvPr>
              <p:cNvSpPr/>
              <p:nvPr/>
            </p:nvSpPr>
            <p:spPr>
              <a:xfrm>
                <a:off x="10450431" y="2652398"/>
                <a:ext cx="40062" cy="40062"/>
              </a:xfrm>
              <a:custGeom>
                <a:avLst/>
                <a:gdLst>
                  <a:gd name="connsiteX0" fmla="*/ 15631 w 40062"/>
                  <a:gd name="connsiteY0" fmla="*/ 478 h 40062"/>
                  <a:gd name="connsiteX1" fmla="*/ 20037 w 40062"/>
                  <a:gd name="connsiteY1" fmla="*/ 0 h 40062"/>
                  <a:gd name="connsiteX2" fmla="*/ 40062 w 40062"/>
                  <a:gd name="connsiteY2" fmla="*/ 20037 h 40062"/>
                  <a:gd name="connsiteX3" fmla="*/ 20037 w 40062"/>
                  <a:gd name="connsiteY3" fmla="*/ 40062 h 40062"/>
                  <a:gd name="connsiteX4" fmla="*/ 0 w 40062"/>
                  <a:gd name="connsiteY4" fmla="*/ 20037 h 40062"/>
                  <a:gd name="connsiteX5" fmla="*/ 382 w 40062"/>
                  <a:gd name="connsiteY5" fmla="*/ 16120 h 400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40062" h="40062">
                    <a:moveTo>
                      <a:pt x="15631" y="478"/>
                    </a:moveTo>
                    <a:cubicBezTo>
                      <a:pt x="17052" y="155"/>
                      <a:pt x="18521" y="0"/>
                      <a:pt x="20037" y="0"/>
                    </a:cubicBezTo>
                    <a:cubicBezTo>
                      <a:pt x="31107" y="0"/>
                      <a:pt x="40062" y="8968"/>
                      <a:pt x="40062" y="20037"/>
                    </a:cubicBezTo>
                    <a:cubicBezTo>
                      <a:pt x="40062" y="31106"/>
                      <a:pt x="31095" y="40062"/>
                      <a:pt x="20037" y="40062"/>
                    </a:cubicBezTo>
                    <a:cubicBezTo>
                      <a:pt x="8980" y="40062"/>
                      <a:pt x="0" y="31095"/>
                      <a:pt x="0" y="20037"/>
                    </a:cubicBezTo>
                    <a:cubicBezTo>
                      <a:pt x="0" y="18688"/>
                      <a:pt x="131" y="17374"/>
                      <a:pt x="382" y="16120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191" name="Forma livre: Forma 1190">
              <a:extLst>
                <a:ext uri="{FF2B5EF4-FFF2-40B4-BE49-F238E27FC236}">
                  <a16:creationId xmlns:a16="http://schemas.microsoft.com/office/drawing/2014/main" id="{191EB109-BBFE-B8AE-6376-E9456696421B}"/>
                </a:ext>
              </a:extLst>
            </p:cNvPr>
            <p:cNvSpPr/>
            <p:nvPr/>
          </p:nvSpPr>
          <p:spPr>
            <a:xfrm>
              <a:off x="10413892" y="2804468"/>
              <a:ext cx="116377" cy="59800"/>
            </a:xfrm>
            <a:custGeom>
              <a:avLst/>
              <a:gdLst>
                <a:gd name="connsiteX0" fmla="*/ 0 w 116377"/>
                <a:gd name="connsiteY0" fmla="*/ 40361 h 59800"/>
                <a:gd name="connsiteX1" fmla="*/ 56577 w 116377"/>
                <a:gd name="connsiteY1" fmla="*/ 0 h 59800"/>
                <a:gd name="connsiteX2" fmla="*/ 116378 w 116377"/>
                <a:gd name="connsiteY2" fmla="*/ 59801 h 59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16377" h="59800">
                  <a:moveTo>
                    <a:pt x="0" y="40361"/>
                  </a:moveTo>
                  <a:cubicBezTo>
                    <a:pt x="8072" y="16885"/>
                    <a:pt x="30354" y="0"/>
                    <a:pt x="56577" y="0"/>
                  </a:cubicBezTo>
                  <a:cubicBezTo>
                    <a:pt x="89606" y="0"/>
                    <a:pt x="116378" y="26772"/>
                    <a:pt x="116378" y="59801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92" name="Forma livre: Forma 1191">
              <a:extLst>
                <a:ext uri="{FF2B5EF4-FFF2-40B4-BE49-F238E27FC236}">
                  <a16:creationId xmlns:a16="http://schemas.microsoft.com/office/drawing/2014/main" id="{70C55AED-0664-275A-B15D-EE349FAED8DA}"/>
                </a:ext>
              </a:extLst>
            </p:cNvPr>
            <p:cNvSpPr/>
            <p:nvPr/>
          </p:nvSpPr>
          <p:spPr>
            <a:xfrm>
              <a:off x="10639292" y="2666763"/>
              <a:ext cx="1194" cy="41614"/>
            </a:xfrm>
            <a:custGeom>
              <a:avLst/>
              <a:gdLst>
                <a:gd name="connsiteX0" fmla="*/ 0 w 1194"/>
                <a:gd name="connsiteY0" fmla="*/ 0 h 41614"/>
                <a:gd name="connsiteX1" fmla="*/ 0 w 1194"/>
                <a:gd name="connsiteY1" fmla="*/ 41615 h 416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94" h="41614">
                  <a:moveTo>
                    <a:pt x="0" y="0"/>
                  </a:moveTo>
                  <a:lnTo>
                    <a:pt x="0" y="41615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93" name="Forma livre: Forma 1192">
              <a:extLst>
                <a:ext uri="{FF2B5EF4-FFF2-40B4-BE49-F238E27FC236}">
                  <a16:creationId xmlns:a16="http://schemas.microsoft.com/office/drawing/2014/main" id="{27EB0FE1-F1F7-02BC-42A8-6AF48CE88E9C}"/>
                </a:ext>
              </a:extLst>
            </p:cNvPr>
            <p:cNvSpPr/>
            <p:nvPr/>
          </p:nvSpPr>
          <p:spPr>
            <a:xfrm>
              <a:off x="10623637" y="2707924"/>
              <a:ext cx="31309" cy="31321"/>
            </a:xfrm>
            <a:custGeom>
              <a:avLst/>
              <a:gdLst>
                <a:gd name="connsiteX0" fmla="*/ 31310 w 31309"/>
                <a:gd name="connsiteY0" fmla="*/ 15667 h 31321"/>
                <a:gd name="connsiteX1" fmla="*/ 15655 w 31309"/>
                <a:gd name="connsiteY1" fmla="*/ 31321 h 31321"/>
                <a:gd name="connsiteX2" fmla="*/ 0 w 31309"/>
                <a:gd name="connsiteY2" fmla="*/ 15667 h 31321"/>
                <a:gd name="connsiteX3" fmla="*/ 15655 w 31309"/>
                <a:gd name="connsiteY3" fmla="*/ 0 h 31321"/>
                <a:gd name="connsiteX4" fmla="*/ 31310 w 31309"/>
                <a:gd name="connsiteY4" fmla="*/ 15667 h 313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1309" h="31321">
                  <a:moveTo>
                    <a:pt x="31310" y="15667"/>
                  </a:moveTo>
                  <a:cubicBezTo>
                    <a:pt x="31310" y="24300"/>
                    <a:pt x="24300" y="31321"/>
                    <a:pt x="15655" y="31321"/>
                  </a:cubicBezTo>
                  <a:cubicBezTo>
                    <a:pt x="7009" y="31321"/>
                    <a:pt x="0" y="24300"/>
                    <a:pt x="0" y="15667"/>
                  </a:cubicBezTo>
                  <a:cubicBezTo>
                    <a:pt x="0" y="7033"/>
                    <a:pt x="7009" y="0"/>
                    <a:pt x="15655" y="0"/>
                  </a:cubicBezTo>
                  <a:cubicBezTo>
                    <a:pt x="24300" y="0"/>
                    <a:pt x="31310" y="7009"/>
                    <a:pt x="31310" y="15667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194" name="Gráfico 11">
              <a:extLst>
                <a:ext uri="{FF2B5EF4-FFF2-40B4-BE49-F238E27FC236}">
                  <a16:creationId xmlns:a16="http://schemas.microsoft.com/office/drawing/2014/main" id="{904D1087-89DA-3D32-530C-3525DAE0E674}"/>
                </a:ext>
              </a:extLst>
            </p:cNvPr>
            <p:cNvGrpSpPr/>
            <p:nvPr/>
          </p:nvGrpSpPr>
          <p:grpSpPr>
            <a:xfrm>
              <a:off x="10601964" y="2732607"/>
              <a:ext cx="74643" cy="48600"/>
              <a:chOff x="10601964" y="2732607"/>
              <a:chExt cx="74643" cy="48600"/>
            </a:xfrm>
            <a:noFill/>
          </p:grpSpPr>
          <p:sp>
            <p:nvSpPr>
              <p:cNvPr id="1195" name="Forma livre: Forma 1194">
                <a:extLst>
                  <a:ext uri="{FF2B5EF4-FFF2-40B4-BE49-F238E27FC236}">
                    <a16:creationId xmlns:a16="http://schemas.microsoft.com/office/drawing/2014/main" id="{ED7D9F9F-1129-EE6F-BE90-46995885E443}"/>
                  </a:ext>
                </a:extLst>
              </p:cNvPr>
              <p:cNvSpPr/>
              <p:nvPr/>
            </p:nvSpPr>
            <p:spPr>
              <a:xfrm>
                <a:off x="10601964" y="2732607"/>
                <a:ext cx="22210" cy="48600"/>
              </a:xfrm>
              <a:custGeom>
                <a:avLst/>
                <a:gdLst>
                  <a:gd name="connsiteX0" fmla="*/ 0 w 22210"/>
                  <a:gd name="connsiteY0" fmla="*/ 48600 h 48600"/>
                  <a:gd name="connsiteX1" fmla="*/ 0 w 22210"/>
                  <a:gd name="connsiteY1" fmla="*/ 20539 h 48600"/>
                  <a:gd name="connsiteX2" fmla="*/ 22210 w 22210"/>
                  <a:gd name="connsiteY2" fmla="*/ 0 h 486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2210" h="48600">
                    <a:moveTo>
                      <a:pt x="0" y="48600"/>
                    </a:moveTo>
                    <a:lnTo>
                      <a:pt x="0" y="20539"/>
                    </a:lnTo>
                    <a:lnTo>
                      <a:pt x="22210" y="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196" name="Forma livre: Forma 1195">
                <a:extLst>
                  <a:ext uri="{FF2B5EF4-FFF2-40B4-BE49-F238E27FC236}">
                    <a16:creationId xmlns:a16="http://schemas.microsoft.com/office/drawing/2014/main" id="{FEF056F2-585C-93AC-241E-1E115A762CC1}"/>
                  </a:ext>
                </a:extLst>
              </p:cNvPr>
              <p:cNvSpPr/>
              <p:nvPr/>
            </p:nvSpPr>
            <p:spPr>
              <a:xfrm>
                <a:off x="10654397" y="2732607"/>
                <a:ext cx="22210" cy="48600"/>
              </a:xfrm>
              <a:custGeom>
                <a:avLst/>
                <a:gdLst>
                  <a:gd name="connsiteX0" fmla="*/ 22210 w 22210"/>
                  <a:gd name="connsiteY0" fmla="*/ 48600 h 48600"/>
                  <a:gd name="connsiteX1" fmla="*/ 22210 w 22210"/>
                  <a:gd name="connsiteY1" fmla="*/ 20539 h 48600"/>
                  <a:gd name="connsiteX2" fmla="*/ 0 w 22210"/>
                  <a:gd name="connsiteY2" fmla="*/ 0 h 486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2210" h="48600">
                    <a:moveTo>
                      <a:pt x="22210" y="48600"/>
                    </a:moveTo>
                    <a:lnTo>
                      <a:pt x="22210" y="20539"/>
                    </a:lnTo>
                    <a:lnTo>
                      <a:pt x="0" y="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197" name="Forma livre: Forma 1196">
              <a:extLst>
                <a:ext uri="{FF2B5EF4-FFF2-40B4-BE49-F238E27FC236}">
                  <a16:creationId xmlns:a16="http://schemas.microsoft.com/office/drawing/2014/main" id="{D8DF4155-5252-8A78-0C93-EDE4F10AC7EB}"/>
                </a:ext>
              </a:extLst>
            </p:cNvPr>
            <p:cNvSpPr/>
            <p:nvPr/>
          </p:nvSpPr>
          <p:spPr>
            <a:xfrm>
              <a:off x="10625512" y="2626152"/>
              <a:ext cx="27548" cy="41686"/>
            </a:xfrm>
            <a:custGeom>
              <a:avLst/>
              <a:gdLst>
                <a:gd name="connsiteX0" fmla="*/ 27548 w 27548"/>
                <a:gd name="connsiteY0" fmla="*/ 0 h 41686"/>
                <a:gd name="connsiteX1" fmla="*/ 27548 w 27548"/>
                <a:gd name="connsiteY1" fmla="*/ 41674 h 41686"/>
                <a:gd name="connsiteX2" fmla="*/ 0 w 27548"/>
                <a:gd name="connsiteY2" fmla="*/ 41686 h 41686"/>
                <a:gd name="connsiteX3" fmla="*/ 0 w 27548"/>
                <a:gd name="connsiteY3" fmla="*/ 18568 h 416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7548" h="41686">
                  <a:moveTo>
                    <a:pt x="27548" y="0"/>
                  </a:moveTo>
                  <a:lnTo>
                    <a:pt x="27548" y="41674"/>
                  </a:lnTo>
                  <a:lnTo>
                    <a:pt x="0" y="41686"/>
                  </a:lnTo>
                  <a:lnTo>
                    <a:pt x="0" y="18568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198" name="Gráfico 11">
              <a:extLst>
                <a:ext uri="{FF2B5EF4-FFF2-40B4-BE49-F238E27FC236}">
                  <a16:creationId xmlns:a16="http://schemas.microsoft.com/office/drawing/2014/main" id="{638663D7-6127-5E2B-D40F-66C5842677C0}"/>
                </a:ext>
              </a:extLst>
            </p:cNvPr>
            <p:cNvGrpSpPr/>
            <p:nvPr/>
          </p:nvGrpSpPr>
          <p:grpSpPr>
            <a:xfrm>
              <a:off x="10497945" y="2574899"/>
              <a:ext cx="166795" cy="102599"/>
              <a:chOff x="10497945" y="2574899"/>
              <a:chExt cx="166795" cy="102599"/>
            </a:xfrm>
          </p:grpSpPr>
          <p:sp>
            <p:nvSpPr>
              <p:cNvPr id="1199" name="Forma livre: Forma 1198">
                <a:extLst>
                  <a:ext uri="{FF2B5EF4-FFF2-40B4-BE49-F238E27FC236}">
                    <a16:creationId xmlns:a16="http://schemas.microsoft.com/office/drawing/2014/main" id="{7657B023-B37A-C80E-C031-F733E38AD90C}"/>
                  </a:ext>
                </a:extLst>
              </p:cNvPr>
              <p:cNvSpPr/>
              <p:nvPr/>
            </p:nvSpPr>
            <p:spPr>
              <a:xfrm>
                <a:off x="10497945" y="2574899"/>
                <a:ext cx="166795" cy="102599"/>
              </a:xfrm>
              <a:custGeom>
                <a:avLst/>
                <a:gdLst>
                  <a:gd name="connsiteX0" fmla="*/ 18974 w 166795"/>
                  <a:gd name="connsiteY0" fmla="*/ 102600 h 102599"/>
                  <a:gd name="connsiteX1" fmla="*/ 121238 w 166795"/>
                  <a:gd name="connsiteY1" fmla="*/ 46775 h 102599"/>
                  <a:gd name="connsiteX2" fmla="*/ 133000 w 166795"/>
                  <a:gd name="connsiteY2" fmla="*/ 53247 h 102599"/>
                  <a:gd name="connsiteX3" fmla="*/ 165934 w 166795"/>
                  <a:gd name="connsiteY3" fmla="*/ 33807 h 102599"/>
                  <a:gd name="connsiteX4" fmla="*/ 146494 w 166795"/>
                  <a:gd name="connsiteY4" fmla="*/ 861 h 102599"/>
                  <a:gd name="connsiteX5" fmla="*/ 113548 w 166795"/>
                  <a:gd name="connsiteY5" fmla="*/ 20313 h 102599"/>
                  <a:gd name="connsiteX6" fmla="*/ 112820 w 166795"/>
                  <a:gd name="connsiteY6" fmla="*/ 24708 h 102599"/>
                  <a:gd name="connsiteX7" fmla="*/ 0 w 166795"/>
                  <a:gd name="connsiteY7" fmla="*/ 59719 h 1025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66795" h="102599">
                    <a:moveTo>
                      <a:pt x="18974" y="102600"/>
                    </a:moveTo>
                    <a:lnTo>
                      <a:pt x="121238" y="46775"/>
                    </a:lnTo>
                    <a:cubicBezTo>
                      <a:pt x="124450" y="49796"/>
                      <a:pt x="128438" y="52065"/>
                      <a:pt x="133000" y="53247"/>
                    </a:cubicBezTo>
                    <a:cubicBezTo>
                      <a:pt x="147461" y="56973"/>
                      <a:pt x="162208" y="48268"/>
                      <a:pt x="165934" y="33807"/>
                    </a:cubicBezTo>
                    <a:cubicBezTo>
                      <a:pt x="169659" y="19334"/>
                      <a:pt x="160966" y="4587"/>
                      <a:pt x="146494" y="861"/>
                    </a:cubicBezTo>
                    <a:cubicBezTo>
                      <a:pt x="132021" y="-2864"/>
                      <a:pt x="117274" y="5841"/>
                      <a:pt x="113548" y="20313"/>
                    </a:cubicBezTo>
                    <a:cubicBezTo>
                      <a:pt x="113166" y="21770"/>
                      <a:pt x="112951" y="23239"/>
                      <a:pt x="112820" y="24708"/>
                    </a:cubicBezTo>
                    <a:lnTo>
                      <a:pt x="0" y="59719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00" name="Forma livre: Forma 1199">
                <a:extLst>
                  <a:ext uri="{FF2B5EF4-FFF2-40B4-BE49-F238E27FC236}">
                    <a16:creationId xmlns:a16="http://schemas.microsoft.com/office/drawing/2014/main" id="{B9FA0609-9A93-CDEB-5B78-3C7512A46AE2}"/>
                  </a:ext>
                </a:extLst>
              </p:cNvPr>
              <p:cNvSpPr/>
              <p:nvPr/>
            </p:nvSpPr>
            <p:spPr>
              <a:xfrm>
                <a:off x="10634109" y="2598365"/>
                <a:ext cx="7164" cy="7164"/>
              </a:xfrm>
              <a:custGeom>
                <a:avLst/>
                <a:gdLst>
                  <a:gd name="connsiteX0" fmla="*/ 7165 w 7164"/>
                  <a:gd name="connsiteY0" fmla="*/ 3582 h 7164"/>
                  <a:gd name="connsiteX1" fmla="*/ 3582 w 7164"/>
                  <a:gd name="connsiteY1" fmla="*/ 7165 h 7164"/>
                  <a:gd name="connsiteX2" fmla="*/ 0 w 7164"/>
                  <a:gd name="connsiteY2" fmla="*/ 3582 h 7164"/>
                  <a:gd name="connsiteX3" fmla="*/ 3582 w 7164"/>
                  <a:gd name="connsiteY3" fmla="*/ 0 h 7164"/>
                  <a:gd name="connsiteX4" fmla="*/ 7165 w 7164"/>
                  <a:gd name="connsiteY4" fmla="*/ 3582 h 71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164" h="7164">
                    <a:moveTo>
                      <a:pt x="7165" y="3582"/>
                    </a:moveTo>
                    <a:cubicBezTo>
                      <a:pt x="7165" y="5565"/>
                      <a:pt x="5576" y="7165"/>
                      <a:pt x="3582" y="7165"/>
                    </a:cubicBezTo>
                    <a:cubicBezTo>
                      <a:pt x="1588" y="7165"/>
                      <a:pt x="0" y="5565"/>
                      <a:pt x="0" y="3582"/>
                    </a:cubicBezTo>
                    <a:cubicBezTo>
                      <a:pt x="0" y="1600"/>
                      <a:pt x="1612" y="0"/>
                      <a:pt x="3582" y="0"/>
                    </a:cubicBezTo>
                    <a:cubicBezTo>
                      <a:pt x="5553" y="0"/>
                      <a:pt x="7165" y="1600"/>
                      <a:pt x="7165" y="3582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201" name="Gráfico 11">
            <a:extLst>
              <a:ext uri="{FF2B5EF4-FFF2-40B4-BE49-F238E27FC236}">
                <a16:creationId xmlns:a16="http://schemas.microsoft.com/office/drawing/2014/main" id="{2ADE197F-1383-FB68-132A-15AB39BFE652}"/>
              </a:ext>
            </a:extLst>
          </p:cNvPr>
          <p:cNvGrpSpPr/>
          <p:nvPr/>
        </p:nvGrpSpPr>
        <p:grpSpPr>
          <a:xfrm>
            <a:off x="10387024" y="2077220"/>
            <a:ext cx="294455" cy="242153"/>
            <a:chOff x="10387024" y="2077220"/>
            <a:chExt cx="294455" cy="242153"/>
          </a:xfrm>
          <a:noFill/>
        </p:grpSpPr>
        <p:grpSp>
          <p:nvGrpSpPr>
            <p:cNvPr id="1202" name="Gráfico 11">
              <a:extLst>
                <a:ext uri="{FF2B5EF4-FFF2-40B4-BE49-F238E27FC236}">
                  <a16:creationId xmlns:a16="http://schemas.microsoft.com/office/drawing/2014/main" id="{349A9985-1897-BEC1-BBA3-DECE11F88FCE}"/>
                </a:ext>
              </a:extLst>
            </p:cNvPr>
            <p:cNvGrpSpPr/>
            <p:nvPr/>
          </p:nvGrpSpPr>
          <p:grpSpPr>
            <a:xfrm>
              <a:off x="10430215" y="2108099"/>
              <a:ext cx="208061" cy="115936"/>
              <a:chOff x="10430215" y="2108099"/>
              <a:chExt cx="208061" cy="115936"/>
            </a:xfrm>
            <a:noFill/>
          </p:grpSpPr>
          <p:sp>
            <p:nvSpPr>
              <p:cNvPr id="1203" name="Forma livre: Forma 1202">
                <a:extLst>
                  <a:ext uri="{FF2B5EF4-FFF2-40B4-BE49-F238E27FC236}">
                    <a16:creationId xmlns:a16="http://schemas.microsoft.com/office/drawing/2014/main" id="{F5DD4D7A-C560-7C1F-3EEA-3FB4D7A36F4C}"/>
                  </a:ext>
                </a:extLst>
              </p:cNvPr>
              <p:cNvSpPr/>
              <p:nvPr/>
            </p:nvSpPr>
            <p:spPr>
              <a:xfrm>
                <a:off x="10430215" y="2108099"/>
                <a:ext cx="208061" cy="115936"/>
              </a:xfrm>
              <a:custGeom>
                <a:avLst/>
                <a:gdLst>
                  <a:gd name="connsiteX0" fmla="*/ 0 w 208061"/>
                  <a:gd name="connsiteY0" fmla="*/ 115936 h 115936"/>
                  <a:gd name="connsiteX1" fmla="*/ 0 w 208061"/>
                  <a:gd name="connsiteY1" fmla="*/ 89200 h 115936"/>
                  <a:gd name="connsiteX2" fmla="*/ 27882 w 208061"/>
                  <a:gd name="connsiteY2" fmla="*/ 84615 h 115936"/>
                  <a:gd name="connsiteX3" fmla="*/ 36361 w 208061"/>
                  <a:gd name="connsiteY3" fmla="*/ 64076 h 115936"/>
                  <a:gd name="connsiteX4" fmla="*/ 19977 w 208061"/>
                  <a:gd name="connsiteY4" fmla="*/ 40982 h 115936"/>
                  <a:gd name="connsiteX5" fmla="*/ 40958 w 208061"/>
                  <a:gd name="connsiteY5" fmla="*/ 19989 h 115936"/>
                  <a:gd name="connsiteX6" fmla="*/ 64052 w 208061"/>
                  <a:gd name="connsiteY6" fmla="*/ 36373 h 115936"/>
                  <a:gd name="connsiteX7" fmla="*/ 84424 w 208061"/>
                  <a:gd name="connsiteY7" fmla="*/ 27918 h 115936"/>
                  <a:gd name="connsiteX8" fmla="*/ 89176 w 208061"/>
                  <a:gd name="connsiteY8" fmla="*/ 0 h 115936"/>
                  <a:gd name="connsiteX9" fmla="*/ 118862 w 208061"/>
                  <a:gd name="connsiteY9" fmla="*/ 0 h 115936"/>
                  <a:gd name="connsiteX10" fmla="*/ 123602 w 208061"/>
                  <a:gd name="connsiteY10" fmla="*/ 27918 h 115936"/>
                  <a:gd name="connsiteX11" fmla="*/ 144129 w 208061"/>
                  <a:gd name="connsiteY11" fmla="*/ 36456 h 115936"/>
                  <a:gd name="connsiteX12" fmla="*/ 167080 w 208061"/>
                  <a:gd name="connsiteY12" fmla="*/ 19989 h 115936"/>
                  <a:gd name="connsiteX13" fmla="*/ 188072 w 208061"/>
                  <a:gd name="connsiteY13" fmla="*/ 40982 h 115936"/>
                  <a:gd name="connsiteX14" fmla="*/ 171606 w 208061"/>
                  <a:gd name="connsiteY14" fmla="*/ 63933 h 115936"/>
                  <a:gd name="connsiteX15" fmla="*/ 180132 w 208061"/>
                  <a:gd name="connsiteY15" fmla="*/ 84447 h 115936"/>
                  <a:gd name="connsiteX16" fmla="*/ 208062 w 208061"/>
                  <a:gd name="connsiteY16" fmla="*/ 89188 h 115936"/>
                  <a:gd name="connsiteX17" fmla="*/ 208062 w 208061"/>
                  <a:gd name="connsiteY17" fmla="*/ 115924 h 1159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208061" h="115936">
                    <a:moveTo>
                      <a:pt x="0" y="115936"/>
                    </a:moveTo>
                    <a:lnTo>
                      <a:pt x="0" y="89200"/>
                    </a:lnTo>
                    <a:lnTo>
                      <a:pt x="27882" y="84615"/>
                    </a:lnTo>
                    <a:cubicBezTo>
                      <a:pt x="29745" y="77307"/>
                      <a:pt x="32611" y="70417"/>
                      <a:pt x="36361" y="64076"/>
                    </a:cubicBezTo>
                    <a:lnTo>
                      <a:pt x="19977" y="40982"/>
                    </a:lnTo>
                    <a:lnTo>
                      <a:pt x="40958" y="19989"/>
                    </a:lnTo>
                    <a:lnTo>
                      <a:pt x="64052" y="36373"/>
                    </a:lnTo>
                    <a:cubicBezTo>
                      <a:pt x="70333" y="32647"/>
                      <a:pt x="77175" y="29793"/>
                      <a:pt x="84424" y="27918"/>
                    </a:cubicBezTo>
                    <a:lnTo>
                      <a:pt x="89176" y="0"/>
                    </a:lnTo>
                    <a:lnTo>
                      <a:pt x="118862" y="0"/>
                    </a:lnTo>
                    <a:lnTo>
                      <a:pt x="123602" y="27918"/>
                    </a:lnTo>
                    <a:cubicBezTo>
                      <a:pt x="130910" y="29793"/>
                      <a:pt x="137800" y="32695"/>
                      <a:pt x="144129" y="36456"/>
                    </a:cubicBezTo>
                    <a:lnTo>
                      <a:pt x="167080" y="19989"/>
                    </a:lnTo>
                    <a:lnTo>
                      <a:pt x="188072" y="40982"/>
                    </a:lnTo>
                    <a:lnTo>
                      <a:pt x="171606" y="63933"/>
                    </a:lnTo>
                    <a:cubicBezTo>
                      <a:pt x="175367" y="70250"/>
                      <a:pt x="178257" y="77139"/>
                      <a:pt x="180132" y="84447"/>
                    </a:cubicBezTo>
                    <a:lnTo>
                      <a:pt x="208062" y="89188"/>
                    </a:lnTo>
                    <a:lnTo>
                      <a:pt x="208062" y="115924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04" name="Forma livre: Forma 1203">
                <a:extLst>
                  <a:ext uri="{FF2B5EF4-FFF2-40B4-BE49-F238E27FC236}">
                    <a16:creationId xmlns:a16="http://schemas.microsoft.com/office/drawing/2014/main" id="{BBD618BB-F737-D250-A40A-077951A41D42}"/>
                  </a:ext>
                </a:extLst>
              </p:cNvPr>
              <p:cNvSpPr/>
              <p:nvPr/>
            </p:nvSpPr>
            <p:spPr>
              <a:xfrm>
                <a:off x="10483472" y="2185919"/>
                <a:ext cx="7296" cy="34820"/>
              </a:xfrm>
              <a:custGeom>
                <a:avLst/>
                <a:gdLst>
                  <a:gd name="connsiteX0" fmla="*/ 7296 w 7296"/>
                  <a:gd name="connsiteY0" fmla="*/ 0 h 34820"/>
                  <a:gd name="connsiteX1" fmla="*/ 0 w 7296"/>
                  <a:gd name="connsiteY1" fmla="*/ 26247 h 34820"/>
                  <a:gd name="connsiteX2" fmla="*/ 728 w 7296"/>
                  <a:gd name="connsiteY2" fmla="*/ 34820 h 348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7296" h="34820">
                    <a:moveTo>
                      <a:pt x="7296" y="0"/>
                    </a:moveTo>
                    <a:cubicBezTo>
                      <a:pt x="2663" y="7654"/>
                      <a:pt x="0" y="16646"/>
                      <a:pt x="0" y="26247"/>
                    </a:cubicBezTo>
                    <a:cubicBezTo>
                      <a:pt x="0" y="29172"/>
                      <a:pt x="251" y="32038"/>
                      <a:pt x="728" y="34820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05" name="Forma livre: Forma 1204">
                <a:extLst>
                  <a:ext uri="{FF2B5EF4-FFF2-40B4-BE49-F238E27FC236}">
                    <a16:creationId xmlns:a16="http://schemas.microsoft.com/office/drawing/2014/main" id="{39B8F266-7A17-77F1-130D-541D6429AC24}"/>
                  </a:ext>
                </a:extLst>
              </p:cNvPr>
              <p:cNvSpPr/>
              <p:nvPr/>
            </p:nvSpPr>
            <p:spPr>
              <a:xfrm>
                <a:off x="10508752" y="2161368"/>
                <a:ext cx="76279" cy="59490"/>
              </a:xfrm>
              <a:custGeom>
                <a:avLst/>
                <a:gdLst>
                  <a:gd name="connsiteX0" fmla="*/ 75539 w 76279"/>
                  <a:gd name="connsiteY0" fmla="*/ 59491 h 59490"/>
                  <a:gd name="connsiteX1" fmla="*/ 76280 w 76279"/>
                  <a:gd name="connsiteY1" fmla="*/ 50785 h 59490"/>
                  <a:gd name="connsiteX2" fmla="*/ 25506 w 76279"/>
                  <a:gd name="connsiteY2" fmla="*/ 0 h 59490"/>
                  <a:gd name="connsiteX3" fmla="*/ 0 w 76279"/>
                  <a:gd name="connsiteY3" fmla="*/ 6854 h 594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6279" h="59490">
                    <a:moveTo>
                      <a:pt x="75539" y="59491"/>
                    </a:moveTo>
                    <a:cubicBezTo>
                      <a:pt x="76029" y="56661"/>
                      <a:pt x="76280" y="53747"/>
                      <a:pt x="76280" y="50785"/>
                    </a:cubicBezTo>
                    <a:cubicBezTo>
                      <a:pt x="76280" y="22736"/>
                      <a:pt x="53544" y="0"/>
                      <a:pt x="25506" y="0"/>
                    </a:cubicBezTo>
                    <a:cubicBezTo>
                      <a:pt x="16204" y="0"/>
                      <a:pt x="7499" y="2496"/>
                      <a:pt x="0" y="6854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206" name="Gráfico 11">
              <a:extLst>
                <a:ext uri="{FF2B5EF4-FFF2-40B4-BE49-F238E27FC236}">
                  <a16:creationId xmlns:a16="http://schemas.microsoft.com/office/drawing/2014/main" id="{2A6D2D11-66F7-15F8-359D-01504D93D277}"/>
                </a:ext>
              </a:extLst>
            </p:cNvPr>
            <p:cNvGrpSpPr/>
            <p:nvPr/>
          </p:nvGrpSpPr>
          <p:grpSpPr>
            <a:xfrm>
              <a:off x="10387024" y="2077220"/>
              <a:ext cx="294455" cy="242153"/>
              <a:chOff x="10387024" y="2077220"/>
              <a:chExt cx="294455" cy="242153"/>
            </a:xfrm>
            <a:noFill/>
          </p:grpSpPr>
          <p:sp>
            <p:nvSpPr>
              <p:cNvPr id="1207" name="Forma livre: Forma 1206">
                <a:extLst>
                  <a:ext uri="{FF2B5EF4-FFF2-40B4-BE49-F238E27FC236}">
                    <a16:creationId xmlns:a16="http://schemas.microsoft.com/office/drawing/2014/main" id="{77FBD3A0-5F6E-CEEC-3F0E-DC10479190CF}"/>
                  </a:ext>
                </a:extLst>
              </p:cNvPr>
              <p:cNvSpPr/>
              <p:nvPr/>
            </p:nvSpPr>
            <p:spPr>
              <a:xfrm>
                <a:off x="10474373" y="2319373"/>
                <a:ext cx="119757" cy="1194"/>
              </a:xfrm>
              <a:custGeom>
                <a:avLst/>
                <a:gdLst>
                  <a:gd name="connsiteX0" fmla="*/ 0 w 119757"/>
                  <a:gd name="connsiteY0" fmla="*/ 0 h 1194"/>
                  <a:gd name="connsiteX1" fmla="*/ 119757 w 119757"/>
                  <a:gd name="connsiteY1" fmla="*/ 0 h 11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757" h="1194">
                    <a:moveTo>
                      <a:pt x="0" y="0"/>
                    </a:moveTo>
                    <a:lnTo>
                      <a:pt x="119757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1208" name="Gráfico 11">
                <a:extLst>
                  <a:ext uri="{FF2B5EF4-FFF2-40B4-BE49-F238E27FC236}">
                    <a16:creationId xmlns:a16="http://schemas.microsoft.com/office/drawing/2014/main" id="{592766BD-AE91-5299-C6F7-17D0CD9591C6}"/>
                  </a:ext>
                </a:extLst>
              </p:cNvPr>
              <p:cNvGrpSpPr/>
              <p:nvPr/>
            </p:nvGrpSpPr>
            <p:grpSpPr>
              <a:xfrm>
                <a:off x="10513445" y="2280803"/>
                <a:ext cx="41614" cy="37148"/>
                <a:chOff x="10513445" y="2280803"/>
                <a:chExt cx="41614" cy="37148"/>
              </a:xfrm>
            </p:grpSpPr>
            <p:sp>
              <p:nvSpPr>
                <p:cNvPr id="1209" name="Forma livre: Forma 1208">
                  <a:extLst>
                    <a:ext uri="{FF2B5EF4-FFF2-40B4-BE49-F238E27FC236}">
                      <a16:creationId xmlns:a16="http://schemas.microsoft.com/office/drawing/2014/main" id="{C7FE57CA-4238-C7EA-5C67-8FF66AE29908}"/>
                    </a:ext>
                  </a:extLst>
                </p:cNvPr>
                <p:cNvSpPr/>
                <p:nvPr/>
              </p:nvSpPr>
              <p:spPr>
                <a:xfrm>
                  <a:off x="10513445" y="2280803"/>
                  <a:ext cx="1194" cy="37148"/>
                </a:xfrm>
                <a:custGeom>
                  <a:avLst/>
                  <a:gdLst>
                    <a:gd name="connsiteX0" fmla="*/ 0 w 1194"/>
                    <a:gd name="connsiteY0" fmla="*/ 0 h 37148"/>
                    <a:gd name="connsiteX1" fmla="*/ 0 w 1194"/>
                    <a:gd name="connsiteY1" fmla="*/ 37149 h 371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194" h="37148">
                      <a:moveTo>
                        <a:pt x="0" y="0"/>
                      </a:moveTo>
                      <a:lnTo>
                        <a:pt x="0" y="37149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210" name="Forma livre: Forma 1209">
                  <a:extLst>
                    <a:ext uri="{FF2B5EF4-FFF2-40B4-BE49-F238E27FC236}">
                      <a16:creationId xmlns:a16="http://schemas.microsoft.com/office/drawing/2014/main" id="{CB090D7A-2683-1194-EF67-7DFE7C9230CA}"/>
                    </a:ext>
                  </a:extLst>
                </p:cNvPr>
                <p:cNvSpPr/>
                <p:nvPr/>
              </p:nvSpPr>
              <p:spPr>
                <a:xfrm>
                  <a:off x="10555059" y="2280803"/>
                  <a:ext cx="1194" cy="37148"/>
                </a:xfrm>
                <a:custGeom>
                  <a:avLst/>
                  <a:gdLst>
                    <a:gd name="connsiteX0" fmla="*/ 0 w 1194"/>
                    <a:gd name="connsiteY0" fmla="*/ 0 h 37148"/>
                    <a:gd name="connsiteX1" fmla="*/ 0 w 1194"/>
                    <a:gd name="connsiteY1" fmla="*/ 37149 h 371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194" h="37148">
                      <a:moveTo>
                        <a:pt x="0" y="0"/>
                      </a:moveTo>
                      <a:lnTo>
                        <a:pt x="0" y="37149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1211" name="Forma livre: Forma 1210">
                <a:extLst>
                  <a:ext uri="{FF2B5EF4-FFF2-40B4-BE49-F238E27FC236}">
                    <a16:creationId xmlns:a16="http://schemas.microsoft.com/office/drawing/2014/main" id="{D81154E2-35C2-B6B5-44FC-0856BBD0E3DC}"/>
                  </a:ext>
                </a:extLst>
              </p:cNvPr>
              <p:cNvSpPr/>
              <p:nvPr/>
            </p:nvSpPr>
            <p:spPr>
              <a:xfrm>
                <a:off x="10387024" y="2077220"/>
                <a:ext cx="294455" cy="202210"/>
              </a:xfrm>
              <a:custGeom>
                <a:avLst/>
                <a:gdLst>
                  <a:gd name="connsiteX0" fmla="*/ 0 w 294455"/>
                  <a:gd name="connsiteY0" fmla="*/ 24766 h 202210"/>
                  <a:gd name="connsiteX1" fmla="*/ 24766 w 294455"/>
                  <a:gd name="connsiteY1" fmla="*/ 0 h 202210"/>
                  <a:gd name="connsiteX2" fmla="*/ 269690 w 294455"/>
                  <a:gd name="connsiteY2" fmla="*/ 0 h 202210"/>
                  <a:gd name="connsiteX3" fmla="*/ 294456 w 294455"/>
                  <a:gd name="connsiteY3" fmla="*/ 24766 h 202210"/>
                  <a:gd name="connsiteX4" fmla="*/ 294456 w 294455"/>
                  <a:gd name="connsiteY4" fmla="*/ 177445 h 202210"/>
                  <a:gd name="connsiteX5" fmla="*/ 269690 w 294455"/>
                  <a:gd name="connsiteY5" fmla="*/ 202211 h 202210"/>
                  <a:gd name="connsiteX6" fmla="*/ 24766 w 294455"/>
                  <a:gd name="connsiteY6" fmla="*/ 202211 h 202210"/>
                  <a:gd name="connsiteX7" fmla="*/ 0 w 294455"/>
                  <a:gd name="connsiteY7" fmla="*/ 177445 h 202210"/>
                  <a:gd name="connsiteX8" fmla="*/ 0 w 294455"/>
                  <a:gd name="connsiteY8" fmla="*/ 24766 h 2022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94455" h="202210">
                    <a:moveTo>
                      <a:pt x="0" y="24766"/>
                    </a:moveTo>
                    <a:cubicBezTo>
                      <a:pt x="0" y="11141"/>
                      <a:pt x="11141" y="0"/>
                      <a:pt x="24766" y="0"/>
                    </a:cubicBezTo>
                    <a:lnTo>
                      <a:pt x="269690" y="0"/>
                    </a:lnTo>
                    <a:cubicBezTo>
                      <a:pt x="283315" y="0"/>
                      <a:pt x="294456" y="11153"/>
                      <a:pt x="294456" y="24766"/>
                    </a:cubicBezTo>
                    <a:lnTo>
                      <a:pt x="294456" y="177445"/>
                    </a:lnTo>
                    <a:cubicBezTo>
                      <a:pt x="294456" y="191069"/>
                      <a:pt x="283315" y="202211"/>
                      <a:pt x="269690" y="202211"/>
                    </a:cubicBezTo>
                    <a:lnTo>
                      <a:pt x="24766" y="202211"/>
                    </a:lnTo>
                    <a:cubicBezTo>
                      <a:pt x="11141" y="202211"/>
                      <a:pt x="0" y="191069"/>
                      <a:pt x="0" y="177445"/>
                    </a:cubicBezTo>
                    <a:lnTo>
                      <a:pt x="0" y="24766"/>
                    </a:ln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12" name="Forma livre: Forma 1211">
                <a:extLst>
                  <a:ext uri="{FF2B5EF4-FFF2-40B4-BE49-F238E27FC236}">
                    <a16:creationId xmlns:a16="http://schemas.microsoft.com/office/drawing/2014/main" id="{547E1C62-F7D3-A043-C6E5-0F2E87ABA2FA}"/>
                  </a:ext>
                </a:extLst>
              </p:cNvPr>
              <p:cNvSpPr/>
              <p:nvPr/>
            </p:nvSpPr>
            <p:spPr>
              <a:xfrm>
                <a:off x="10408542" y="2245434"/>
                <a:ext cx="251419" cy="1194"/>
              </a:xfrm>
              <a:custGeom>
                <a:avLst/>
                <a:gdLst>
                  <a:gd name="connsiteX0" fmla="*/ 0 w 251419"/>
                  <a:gd name="connsiteY0" fmla="*/ 0 h 1194"/>
                  <a:gd name="connsiteX1" fmla="*/ 251420 w 251419"/>
                  <a:gd name="connsiteY1" fmla="*/ 0 h 11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51419" h="1194">
                    <a:moveTo>
                      <a:pt x="0" y="0"/>
                    </a:moveTo>
                    <a:lnTo>
                      <a:pt x="25142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213" name="Gráfico 11">
            <a:extLst>
              <a:ext uri="{FF2B5EF4-FFF2-40B4-BE49-F238E27FC236}">
                <a16:creationId xmlns:a16="http://schemas.microsoft.com/office/drawing/2014/main" id="{F0ACCE30-0463-677A-FC8F-8412999AC17D}"/>
              </a:ext>
            </a:extLst>
          </p:cNvPr>
          <p:cNvGrpSpPr/>
          <p:nvPr/>
        </p:nvGrpSpPr>
        <p:grpSpPr>
          <a:xfrm>
            <a:off x="10385185" y="3109539"/>
            <a:ext cx="298133" cy="313632"/>
            <a:chOff x="10385185" y="3109539"/>
            <a:chExt cx="298133" cy="313632"/>
          </a:xfrm>
          <a:noFill/>
        </p:grpSpPr>
        <p:sp>
          <p:nvSpPr>
            <p:cNvPr id="1214" name="Forma livre: Forma 1213">
              <a:extLst>
                <a:ext uri="{FF2B5EF4-FFF2-40B4-BE49-F238E27FC236}">
                  <a16:creationId xmlns:a16="http://schemas.microsoft.com/office/drawing/2014/main" id="{18734F63-202F-4DDE-B07E-9A225F25846C}"/>
                </a:ext>
              </a:extLst>
            </p:cNvPr>
            <p:cNvSpPr/>
            <p:nvPr/>
          </p:nvSpPr>
          <p:spPr>
            <a:xfrm>
              <a:off x="10498255" y="3284142"/>
              <a:ext cx="163067" cy="138540"/>
            </a:xfrm>
            <a:custGeom>
              <a:avLst/>
              <a:gdLst>
                <a:gd name="connsiteX0" fmla="*/ 0 w 163067"/>
                <a:gd name="connsiteY0" fmla="*/ 26259 h 138540"/>
                <a:gd name="connsiteX1" fmla="*/ 42057 w 163067"/>
                <a:gd name="connsiteY1" fmla="*/ 84 h 138540"/>
                <a:gd name="connsiteX2" fmla="*/ 42057 w 163067"/>
                <a:gd name="connsiteY2" fmla="*/ 37471 h 138540"/>
                <a:gd name="connsiteX3" fmla="*/ 102419 w 163067"/>
                <a:gd name="connsiteY3" fmla="*/ 0 h 138540"/>
                <a:gd name="connsiteX4" fmla="*/ 102419 w 163067"/>
                <a:gd name="connsiteY4" fmla="*/ 37841 h 138540"/>
                <a:gd name="connsiteX5" fmla="*/ 163068 w 163067"/>
                <a:gd name="connsiteY5" fmla="*/ 322 h 138540"/>
                <a:gd name="connsiteX6" fmla="*/ 163068 w 163067"/>
                <a:gd name="connsiteY6" fmla="*/ 138541 h 1385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63067" h="138540">
                  <a:moveTo>
                    <a:pt x="0" y="26259"/>
                  </a:moveTo>
                  <a:lnTo>
                    <a:pt x="42057" y="84"/>
                  </a:lnTo>
                  <a:lnTo>
                    <a:pt x="42057" y="37471"/>
                  </a:lnTo>
                  <a:lnTo>
                    <a:pt x="102419" y="0"/>
                  </a:lnTo>
                  <a:lnTo>
                    <a:pt x="102419" y="37841"/>
                  </a:lnTo>
                  <a:lnTo>
                    <a:pt x="163068" y="322"/>
                  </a:lnTo>
                  <a:lnTo>
                    <a:pt x="163068" y="138541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15" name="Forma livre: Forma 1214">
              <a:extLst>
                <a:ext uri="{FF2B5EF4-FFF2-40B4-BE49-F238E27FC236}">
                  <a16:creationId xmlns:a16="http://schemas.microsoft.com/office/drawing/2014/main" id="{DDB9A4F1-28FF-BB22-8747-CB30869884D8}"/>
                </a:ext>
              </a:extLst>
            </p:cNvPr>
            <p:cNvSpPr/>
            <p:nvPr/>
          </p:nvSpPr>
          <p:spPr>
            <a:xfrm>
              <a:off x="10504620" y="3360111"/>
              <a:ext cx="26497" cy="1194"/>
            </a:xfrm>
            <a:custGeom>
              <a:avLst/>
              <a:gdLst>
                <a:gd name="connsiteX0" fmla="*/ 0 w 26497"/>
                <a:gd name="connsiteY0" fmla="*/ 0 h 1194"/>
                <a:gd name="connsiteX1" fmla="*/ 26497 w 26497"/>
                <a:gd name="connsiteY1" fmla="*/ 0 h 11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6497" h="1194">
                  <a:moveTo>
                    <a:pt x="0" y="0"/>
                  </a:moveTo>
                  <a:lnTo>
                    <a:pt x="26497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16" name="Forma livre: Forma 1215">
              <a:extLst>
                <a:ext uri="{FF2B5EF4-FFF2-40B4-BE49-F238E27FC236}">
                  <a16:creationId xmlns:a16="http://schemas.microsoft.com/office/drawing/2014/main" id="{75C3584C-BC9C-74B5-E7A5-3FB9E0E4CA2C}"/>
                </a:ext>
              </a:extLst>
            </p:cNvPr>
            <p:cNvSpPr/>
            <p:nvPr/>
          </p:nvSpPr>
          <p:spPr>
            <a:xfrm>
              <a:off x="10556755" y="3360111"/>
              <a:ext cx="26509" cy="1194"/>
            </a:xfrm>
            <a:custGeom>
              <a:avLst/>
              <a:gdLst>
                <a:gd name="connsiteX0" fmla="*/ 0 w 26509"/>
                <a:gd name="connsiteY0" fmla="*/ 0 h 1194"/>
                <a:gd name="connsiteX1" fmla="*/ 26509 w 26509"/>
                <a:gd name="connsiteY1" fmla="*/ 0 h 11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6509" h="1194">
                  <a:moveTo>
                    <a:pt x="0" y="0"/>
                  </a:moveTo>
                  <a:lnTo>
                    <a:pt x="26509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17" name="Forma livre: Forma 1216">
              <a:extLst>
                <a:ext uri="{FF2B5EF4-FFF2-40B4-BE49-F238E27FC236}">
                  <a16:creationId xmlns:a16="http://schemas.microsoft.com/office/drawing/2014/main" id="{7252A8E9-0B0A-6DCC-A9D2-8E1654CDE6EB}"/>
                </a:ext>
              </a:extLst>
            </p:cNvPr>
            <p:cNvSpPr/>
            <p:nvPr/>
          </p:nvSpPr>
          <p:spPr>
            <a:xfrm>
              <a:off x="10608902" y="3360111"/>
              <a:ext cx="26509" cy="1194"/>
            </a:xfrm>
            <a:custGeom>
              <a:avLst/>
              <a:gdLst>
                <a:gd name="connsiteX0" fmla="*/ 0 w 26509"/>
                <a:gd name="connsiteY0" fmla="*/ 0 h 1194"/>
                <a:gd name="connsiteX1" fmla="*/ 26509 w 26509"/>
                <a:gd name="connsiteY1" fmla="*/ 0 h 11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6509" h="1194">
                  <a:moveTo>
                    <a:pt x="0" y="0"/>
                  </a:moveTo>
                  <a:lnTo>
                    <a:pt x="26509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18" name="Forma livre: Forma 1217">
              <a:extLst>
                <a:ext uri="{FF2B5EF4-FFF2-40B4-BE49-F238E27FC236}">
                  <a16:creationId xmlns:a16="http://schemas.microsoft.com/office/drawing/2014/main" id="{0B65C9CB-C2BD-A8C4-0E6F-3BF999F9D19C}"/>
                </a:ext>
              </a:extLst>
            </p:cNvPr>
            <p:cNvSpPr/>
            <p:nvPr/>
          </p:nvSpPr>
          <p:spPr>
            <a:xfrm>
              <a:off x="10488810" y="3109539"/>
              <a:ext cx="75754" cy="71216"/>
            </a:xfrm>
            <a:custGeom>
              <a:avLst/>
              <a:gdLst>
                <a:gd name="connsiteX0" fmla="*/ 0 w 75754"/>
                <a:gd name="connsiteY0" fmla="*/ 28372 h 71216"/>
                <a:gd name="connsiteX1" fmla="*/ 37196 w 75754"/>
                <a:gd name="connsiteY1" fmla="*/ 0 h 71216"/>
                <a:gd name="connsiteX2" fmla="*/ 75754 w 75754"/>
                <a:gd name="connsiteY2" fmla="*/ 38570 h 71216"/>
                <a:gd name="connsiteX3" fmla="*/ 57723 w 75754"/>
                <a:gd name="connsiteY3" fmla="*/ 71217 h 712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5754" h="71216">
                  <a:moveTo>
                    <a:pt x="0" y="28372"/>
                  </a:moveTo>
                  <a:cubicBezTo>
                    <a:pt x="4466" y="12013"/>
                    <a:pt x="19428" y="0"/>
                    <a:pt x="37196" y="0"/>
                  </a:cubicBezTo>
                  <a:cubicBezTo>
                    <a:pt x="58499" y="0"/>
                    <a:pt x="75754" y="17279"/>
                    <a:pt x="75754" y="38570"/>
                  </a:cubicBezTo>
                  <a:cubicBezTo>
                    <a:pt x="75754" y="52314"/>
                    <a:pt x="68554" y="64386"/>
                    <a:pt x="57723" y="71217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19" name="Forma livre: Forma 1218">
              <a:extLst>
                <a:ext uri="{FF2B5EF4-FFF2-40B4-BE49-F238E27FC236}">
                  <a16:creationId xmlns:a16="http://schemas.microsoft.com/office/drawing/2014/main" id="{5EAD221D-A483-D240-B9C6-7D11F32729B2}"/>
                </a:ext>
              </a:extLst>
            </p:cNvPr>
            <p:cNvSpPr/>
            <p:nvPr/>
          </p:nvSpPr>
          <p:spPr>
            <a:xfrm>
              <a:off x="10444807" y="3139953"/>
              <a:ext cx="58606" cy="37972"/>
            </a:xfrm>
            <a:custGeom>
              <a:avLst/>
              <a:gdLst>
                <a:gd name="connsiteX0" fmla="*/ 0 w 58606"/>
                <a:gd name="connsiteY0" fmla="*/ 37973 h 37972"/>
                <a:gd name="connsiteX1" fmla="*/ 37961 w 58606"/>
                <a:gd name="connsiteY1" fmla="*/ 0 h 37972"/>
                <a:gd name="connsiteX2" fmla="*/ 58607 w 58606"/>
                <a:gd name="connsiteY2" fmla="*/ 6102 h 379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58606" h="37972">
                  <a:moveTo>
                    <a:pt x="0" y="37973"/>
                  </a:moveTo>
                  <a:cubicBezTo>
                    <a:pt x="0" y="17004"/>
                    <a:pt x="17004" y="0"/>
                    <a:pt x="37961" y="0"/>
                  </a:cubicBezTo>
                  <a:cubicBezTo>
                    <a:pt x="45567" y="0"/>
                    <a:pt x="52672" y="2245"/>
                    <a:pt x="58607" y="6102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20" name="Forma livre: Forma 1219">
              <a:extLst>
                <a:ext uri="{FF2B5EF4-FFF2-40B4-BE49-F238E27FC236}">
                  <a16:creationId xmlns:a16="http://schemas.microsoft.com/office/drawing/2014/main" id="{A7FC5F1F-2DF5-D0F2-8322-4E3999C24362}"/>
                </a:ext>
              </a:extLst>
            </p:cNvPr>
            <p:cNvSpPr/>
            <p:nvPr/>
          </p:nvSpPr>
          <p:spPr>
            <a:xfrm>
              <a:off x="10407300" y="3200733"/>
              <a:ext cx="74715" cy="221949"/>
            </a:xfrm>
            <a:custGeom>
              <a:avLst/>
              <a:gdLst>
                <a:gd name="connsiteX0" fmla="*/ 0 w 74715"/>
                <a:gd name="connsiteY0" fmla="*/ 221949 h 221949"/>
                <a:gd name="connsiteX1" fmla="*/ 12060 w 74715"/>
                <a:gd name="connsiteY1" fmla="*/ 0 h 221949"/>
                <a:gd name="connsiteX2" fmla="*/ 62655 w 74715"/>
                <a:gd name="connsiteY2" fmla="*/ 0 h 221949"/>
                <a:gd name="connsiteX3" fmla="*/ 74715 w 74715"/>
                <a:gd name="connsiteY3" fmla="*/ 221949 h 2219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4715" h="221949">
                  <a:moveTo>
                    <a:pt x="0" y="221949"/>
                  </a:moveTo>
                  <a:lnTo>
                    <a:pt x="12060" y="0"/>
                  </a:lnTo>
                  <a:lnTo>
                    <a:pt x="62655" y="0"/>
                  </a:lnTo>
                  <a:lnTo>
                    <a:pt x="74715" y="221949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21" name="Forma livre: Forma 1220">
              <a:extLst>
                <a:ext uri="{FF2B5EF4-FFF2-40B4-BE49-F238E27FC236}">
                  <a16:creationId xmlns:a16="http://schemas.microsoft.com/office/drawing/2014/main" id="{0DEEC34A-9A27-E8E6-5E07-A7E1AC1E8D66}"/>
                </a:ext>
              </a:extLst>
            </p:cNvPr>
            <p:cNvSpPr/>
            <p:nvPr/>
          </p:nvSpPr>
          <p:spPr>
            <a:xfrm>
              <a:off x="10385185" y="3423172"/>
              <a:ext cx="298133" cy="1194"/>
            </a:xfrm>
            <a:custGeom>
              <a:avLst/>
              <a:gdLst>
                <a:gd name="connsiteX0" fmla="*/ 0 w 298133"/>
                <a:gd name="connsiteY0" fmla="*/ 0 h 1194"/>
                <a:gd name="connsiteX1" fmla="*/ 298134 w 298133"/>
                <a:gd name="connsiteY1" fmla="*/ 0 h 11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98133" h="1194">
                  <a:moveTo>
                    <a:pt x="0" y="0"/>
                  </a:moveTo>
                  <a:lnTo>
                    <a:pt x="298134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22" name="Forma livre: Forma 1221">
              <a:extLst>
                <a:ext uri="{FF2B5EF4-FFF2-40B4-BE49-F238E27FC236}">
                  <a16:creationId xmlns:a16="http://schemas.microsoft.com/office/drawing/2014/main" id="{15A39BC4-84B8-4D5C-8675-908E0A4E9715}"/>
                </a:ext>
              </a:extLst>
            </p:cNvPr>
            <p:cNvSpPr/>
            <p:nvPr/>
          </p:nvSpPr>
          <p:spPr>
            <a:xfrm>
              <a:off x="10436687" y="3231601"/>
              <a:ext cx="33530" cy="1194"/>
            </a:xfrm>
            <a:custGeom>
              <a:avLst/>
              <a:gdLst>
                <a:gd name="connsiteX0" fmla="*/ 0 w 33530"/>
                <a:gd name="connsiteY0" fmla="*/ 0 h 1194"/>
                <a:gd name="connsiteX1" fmla="*/ 33531 w 33530"/>
                <a:gd name="connsiteY1" fmla="*/ 0 h 11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3530" h="1194">
                  <a:moveTo>
                    <a:pt x="0" y="0"/>
                  </a:moveTo>
                  <a:lnTo>
                    <a:pt x="33531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223" name="Gráfico 11">
            <a:extLst>
              <a:ext uri="{FF2B5EF4-FFF2-40B4-BE49-F238E27FC236}">
                <a16:creationId xmlns:a16="http://schemas.microsoft.com/office/drawing/2014/main" id="{CB8A0FEA-686E-C0BD-16F9-A9582BFC7D86}"/>
              </a:ext>
            </a:extLst>
          </p:cNvPr>
          <p:cNvGrpSpPr/>
          <p:nvPr/>
        </p:nvGrpSpPr>
        <p:grpSpPr>
          <a:xfrm>
            <a:off x="10380397" y="1551262"/>
            <a:ext cx="307686" cy="225997"/>
            <a:chOff x="10380397" y="1551262"/>
            <a:chExt cx="307686" cy="225997"/>
          </a:xfrm>
        </p:grpSpPr>
        <p:grpSp>
          <p:nvGrpSpPr>
            <p:cNvPr id="1224" name="Gráfico 11">
              <a:extLst>
                <a:ext uri="{FF2B5EF4-FFF2-40B4-BE49-F238E27FC236}">
                  <a16:creationId xmlns:a16="http://schemas.microsoft.com/office/drawing/2014/main" id="{390C674D-5048-D683-1E45-FA495497B7C1}"/>
                </a:ext>
              </a:extLst>
            </p:cNvPr>
            <p:cNvGrpSpPr/>
            <p:nvPr/>
          </p:nvGrpSpPr>
          <p:grpSpPr>
            <a:xfrm>
              <a:off x="10380397" y="1551262"/>
              <a:ext cx="307686" cy="225997"/>
              <a:chOff x="10380397" y="1551262"/>
              <a:chExt cx="307686" cy="225997"/>
            </a:xfrm>
          </p:grpSpPr>
          <p:sp>
            <p:nvSpPr>
              <p:cNvPr id="1225" name="Forma livre: Forma 1224">
                <a:extLst>
                  <a:ext uri="{FF2B5EF4-FFF2-40B4-BE49-F238E27FC236}">
                    <a16:creationId xmlns:a16="http://schemas.microsoft.com/office/drawing/2014/main" id="{D48761DA-E381-95B5-2652-41D1B0E00332}"/>
                  </a:ext>
                </a:extLst>
              </p:cNvPr>
              <p:cNvSpPr/>
              <p:nvPr/>
            </p:nvSpPr>
            <p:spPr>
              <a:xfrm>
                <a:off x="10401950" y="1607934"/>
                <a:ext cx="264590" cy="1194"/>
              </a:xfrm>
              <a:custGeom>
                <a:avLst/>
                <a:gdLst>
                  <a:gd name="connsiteX0" fmla="*/ 0 w 264590"/>
                  <a:gd name="connsiteY0" fmla="*/ 0 h 1194"/>
                  <a:gd name="connsiteX1" fmla="*/ 264591 w 264590"/>
                  <a:gd name="connsiteY1" fmla="*/ 0 h 11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64590" h="1194">
                    <a:moveTo>
                      <a:pt x="0" y="0"/>
                    </a:moveTo>
                    <a:lnTo>
                      <a:pt x="264591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1226" name="Gráfico 11">
                <a:extLst>
                  <a:ext uri="{FF2B5EF4-FFF2-40B4-BE49-F238E27FC236}">
                    <a16:creationId xmlns:a16="http://schemas.microsoft.com/office/drawing/2014/main" id="{AF02D0A9-42DD-F6FC-5DA3-F41C0C398FE6}"/>
                  </a:ext>
                </a:extLst>
              </p:cNvPr>
              <p:cNvGrpSpPr/>
              <p:nvPr/>
            </p:nvGrpSpPr>
            <p:grpSpPr>
              <a:xfrm>
                <a:off x="10416423" y="1576279"/>
                <a:ext cx="78632" cy="7451"/>
                <a:chOff x="10416423" y="1576279"/>
                <a:chExt cx="78632" cy="7451"/>
              </a:xfrm>
              <a:solidFill>
                <a:srgbClr val="3A4553"/>
              </a:solidFill>
            </p:grpSpPr>
            <p:sp>
              <p:nvSpPr>
                <p:cNvPr id="1227" name="Forma livre: Forma 1226">
                  <a:extLst>
                    <a:ext uri="{FF2B5EF4-FFF2-40B4-BE49-F238E27FC236}">
                      <a16:creationId xmlns:a16="http://schemas.microsoft.com/office/drawing/2014/main" id="{BB946097-43AB-C03A-8C59-4B04DC913952}"/>
                    </a:ext>
                  </a:extLst>
                </p:cNvPr>
                <p:cNvSpPr/>
                <p:nvPr/>
              </p:nvSpPr>
              <p:spPr>
                <a:xfrm>
                  <a:off x="10416423" y="1576279"/>
                  <a:ext cx="7439" cy="7451"/>
                </a:xfrm>
                <a:custGeom>
                  <a:avLst/>
                  <a:gdLst>
                    <a:gd name="connsiteX0" fmla="*/ 7439 w 7439"/>
                    <a:gd name="connsiteY0" fmla="*/ 3726 h 7451"/>
                    <a:gd name="connsiteX1" fmla="*/ 3726 w 7439"/>
                    <a:gd name="connsiteY1" fmla="*/ 7451 h 7451"/>
                    <a:gd name="connsiteX2" fmla="*/ 0 w 7439"/>
                    <a:gd name="connsiteY2" fmla="*/ 3726 h 7451"/>
                    <a:gd name="connsiteX3" fmla="*/ 3726 w 7439"/>
                    <a:gd name="connsiteY3" fmla="*/ 0 h 7451"/>
                    <a:gd name="connsiteX4" fmla="*/ 7439 w 7439"/>
                    <a:gd name="connsiteY4" fmla="*/ 3726 h 745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7439" h="7451">
                      <a:moveTo>
                        <a:pt x="7439" y="3726"/>
                      </a:moveTo>
                      <a:cubicBezTo>
                        <a:pt x="7439" y="5791"/>
                        <a:pt x="5791" y="7451"/>
                        <a:pt x="3726" y="7451"/>
                      </a:cubicBezTo>
                      <a:cubicBezTo>
                        <a:pt x="1660" y="7451"/>
                        <a:pt x="0" y="5791"/>
                        <a:pt x="0" y="3726"/>
                      </a:cubicBezTo>
                      <a:cubicBezTo>
                        <a:pt x="0" y="1660"/>
                        <a:pt x="1672" y="0"/>
                        <a:pt x="3726" y="0"/>
                      </a:cubicBezTo>
                      <a:cubicBezTo>
                        <a:pt x="5779" y="0"/>
                        <a:pt x="7439" y="1660"/>
                        <a:pt x="7439" y="3726"/>
                      </a:cubicBezTo>
                      <a:close/>
                    </a:path>
                  </a:pathLst>
                </a:custGeom>
                <a:solidFill>
                  <a:srgbClr val="3A4553"/>
                </a:solidFill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228" name="Forma livre: Forma 1227">
                  <a:extLst>
                    <a:ext uri="{FF2B5EF4-FFF2-40B4-BE49-F238E27FC236}">
                      <a16:creationId xmlns:a16="http://schemas.microsoft.com/office/drawing/2014/main" id="{95E9099C-4C34-2330-C2C0-FEF8487C9B3C}"/>
                    </a:ext>
                  </a:extLst>
                </p:cNvPr>
                <p:cNvSpPr/>
                <p:nvPr/>
              </p:nvSpPr>
              <p:spPr>
                <a:xfrm>
                  <a:off x="10452008" y="1576279"/>
                  <a:ext cx="7451" cy="7451"/>
                </a:xfrm>
                <a:custGeom>
                  <a:avLst/>
                  <a:gdLst>
                    <a:gd name="connsiteX0" fmla="*/ 7451 w 7451"/>
                    <a:gd name="connsiteY0" fmla="*/ 3726 h 7451"/>
                    <a:gd name="connsiteX1" fmla="*/ 3726 w 7451"/>
                    <a:gd name="connsiteY1" fmla="*/ 7451 h 7451"/>
                    <a:gd name="connsiteX2" fmla="*/ 0 w 7451"/>
                    <a:gd name="connsiteY2" fmla="*/ 3726 h 7451"/>
                    <a:gd name="connsiteX3" fmla="*/ 3726 w 7451"/>
                    <a:gd name="connsiteY3" fmla="*/ 0 h 7451"/>
                    <a:gd name="connsiteX4" fmla="*/ 7451 w 7451"/>
                    <a:gd name="connsiteY4" fmla="*/ 3726 h 745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7451" h="7451">
                      <a:moveTo>
                        <a:pt x="7451" y="3726"/>
                      </a:moveTo>
                      <a:cubicBezTo>
                        <a:pt x="7451" y="5783"/>
                        <a:pt x="5783" y="7451"/>
                        <a:pt x="3726" y="7451"/>
                      </a:cubicBezTo>
                      <a:cubicBezTo>
                        <a:pt x="1668" y="7451"/>
                        <a:pt x="0" y="5783"/>
                        <a:pt x="0" y="3726"/>
                      </a:cubicBezTo>
                      <a:cubicBezTo>
                        <a:pt x="0" y="1668"/>
                        <a:pt x="1668" y="0"/>
                        <a:pt x="3726" y="0"/>
                      </a:cubicBezTo>
                      <a:cubicBezTo>
                        <a:pt x="5783" y="0"/>
                        <a:pt x="7451" y="1668"/>
                        <a:pt x="7451" y="3726"/>
                      </a:cubicBezTo>
                      <a:close/>
                    </a:path>
                  </a:pathLst>
                </a:custGeom>
                <a:solidFill>
                  <a:srgbClr val="3A4553"/>
                </a:solidFill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229" name="Forma livre: Forma 1228">
                  <a:extLst>
                    <a:ext uri="{FF2B5EF4-FFF2-40B4-BE49-F238E27FC236}">
                      <a16:creationId xmlns:a16="http://schemas.microsoft.com/office/drawing/2014/main" id="{EDA93A33-E560-E6EA-60FC-A0947B136EB6}"/>
                    </a:ext>
                  </a:extLst>
                </p:cNvPr>
                <p:cNvSpPr/>
                <p:nvPr/>
              </p:nvSpPr>
              <p:spPr>
                <a:xfrm>
                  <a:off x="10487604" y="1576279"/>
                  <a:ext cx="7451" cy="7451"/>
                </a:xfrm>
                <a:custGeom>
                  <a:avLst/>
                  <a:gdLst>
                    <a:gd name="connsiteX0" fmla="*/ 7451 w 7451"/>
                    <a:gd name="connsiteY0" fmla="*/ 3726 h 7451"/>
                    <a:gd name="connsiteX1" fmla="*/ 3726 w 7451"/>
                    <a:gd name="connsiteY1" fmla="*/ 7451 h 7451"/>
                    <a:gd name="connsiteX2" fmla="*/ 0 w 7451"/>
                    <a:gd name="connsiteY2" fmla="*/ 3726 h 7451"/>
                    <a:gd name="connsiteX3" fmla="*/ 3726 w 7451"/>
                    <a:gd name="connsiteY3" fmla="*/ 0 h 7451"/>
                    <a:gd name="connsiteX4" fmla="*/ 7451 w 7451"/>
                    <a:gd name="connsiteY4" fmla="*/ 3726 h 745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7451" h="7451">
                      <a:moveTo>
                        <a:pt x="7451" y="3726"/>
                      </a:moveTo>
                      <a:cubicBezTo>
                        <a:pt x="7451" y="5783"/>
                        <a:pt x="5783" y="7451"/>
                        <a:pt x="3726" y="7451"/>
                      </a:cubicBezTo>
                      <a:cubicBezTo>
                        <a:pt x="1668" y="7451"/>
                        <a:pt x="0" y="5783"/>
                        <a:pt x="0" y="3726"/>
                      </a:cubicBezTo>
                      <a:cubicBezTo>
                        <a:pt x="0" y="1668"/>
                        <a:pt x="1668" y="0"/>
                        <a:pt x="3726" y="0"/>
                      </a:cubicBezTo>
                      <a:cubicBezTo>
                        <a:pt x="5783" y="0"/>
                        <a:pt x="7451" y="1668"/>
                        <a:pt x="7451" y="3726"/>
                      </a:cubicBezTo>
                      <a:close/>
                    </a:path>
                  </a:pathLst>
                </a:custGeom>
                <a:solidFill>
                  <a:srgbClr val="3A4553"/>
                </a:solidFill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1230" name="Forma livre: Forma 1229">
                <a:extLst>
                  <a:ext uri="{FF2B5EF4-FFF2-40B4-BE49-F238E27FC236}">
                    <a16:creationId xmlns:a16="http://schemas.microsoft.com/office/drawing/2014/main" id="{EE56981D-7F14-393C-DC7F-6CDE84565E48}"/>
                  </a:ext>
                </a:extLst>
              </p:cNvPr>
              <p:cNvSpPr/>
              <p:nvPr/>
            </p:nvSpPr>
            <p:spPr>
              <a:xfrm>
                <a:off x="10380397" y="1551262"/>
                <a:ext cx="307686" cy="225997"/>
              </a:xfrm>
              <a:custGeom>
                <a:avLst/>
                <a:gdLst>
                  <a:gd name="connsiteX0" fmla="*/ 307686 w 307686"/>
                  <a:gd name="connsiteY0" fmla="*/ 208921 h 225997"/>
                  <a:gd name="connsiteX1" fmla="*/ 290611 w 307686"/>
                  <a:gd name="connsiteY1" fmla="*/ 225997 h 225997"/>
                  <a:gd name="connsiteX2" fmla="*/ 17076 w 307686"/>
                  <a:gd name="connsiteY2" fmla="*/ 225997 h 225997"/>
                  <a:gd name="connsiteX3" fmla="*/ 0 w 307686"/>
                  <a:gd name="connsiteY3" fmla="*/ 208921 h 225997"/>
                  <a:gd name="connsiteX4" fmla="*/ 0 w 307686"/>
                  <a:gd name="connsiteY4" fmla="*/ 17076 h 225997"/>
                  <a:gd name="connsiteX5" fmla="*/ 17076 w 307686"/>
                  <a:gd name="connsiteY5" fmla="*/ 0 h 225997"/>
                  <a:gd name="connsiteX6" fmla="*/ 290611 w 307686"/>
                  <a:gd name="connsiteY6" fmla="*/ 0 h 225997"/>
                  <a:gd name="connsiteX7" fmla="*/ 307686 w 307686"/>
                  <a:gd name="connsiteY7" fmla="*/ 17076 h 225997"/>
                  <a:gd name="connsiteX8" fmla="*/ 307686 w 307686"/>
                  <a:gd name="connsiteY8" fmla="*/ 208921 h 2259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07686" h="225997">
                    <a:moveTo>
                      <a:pt x="307686" y="208921"/>
                    </a:moveTo>
                    <a:cubicBezTo>
                      <a:pt x="307686" y="218307"/>
                      <a:pt x="300008" y="225997"/>
                      <a:pt x="290611" y="225997"/>
                    </a:cubicBezTo>
                    <a:lnTo>
                      <a:pt x="17076" y="225997"/>
                    </a:lnTo>
                    <a:cubicBezTo>
                      <a:pt x="7678" y="225997"/>
                      <a:pt x="0" y="218307"/>
                      <a:pt x="0" y="208921"/>
                    </a:cubicBezTo>
                    <a:lnTo>
                      <a:pt x="0" y="17076"/>
                    </a:lnTo>
                    <a:cubicBezTo>
                      <a:pt x="0" y="7690"/>
                      <a:pt x="7666" y="0"/>
                      <a:pt x="17076" y="0"/>
                    </a:cubicBezTo>
                    <a:lnTo>
                      <a:pt x="290611" y="0"/>
                    </a:lnTo>
                    <a:cubicBezTo>
                      <a:pt x="299996" y="0"/>
                      <a:pt x="307686" y="7678"/>
                      <a:pt x="307686" y="17076"/>
                    </a:cubicBezTo>
                    <a:lnTo>
                      <a:pt x="307686" y="208921"/>
                    </a:ln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231" name="Gráfico 11">
              <a:extLst>
                <a:ext uri="{FF2B5EF4-FFF2-40B4-BE49-F238E27FC236}">
                  <a16:creationId xmlns:a16="http://schemas.microsoft.com/office/drawing/2014/main" id="{14F7FAD2-C295-3D41-3BBC-948EC7A25DBA}"/>
                </a:ext>
              </a:extLst>
            </p:cNvPr>
            <p:cNvGrpSpPr/>
            <p:nvPr/>
          </p:nvGrpSpPr>
          <p:grpSpPr>
            <a:xfrm>
              <a:off x="10454587" y="1676321"/>
              <a:ext cx="80017" cy="32014"/>
              <a:chOff x="10454587" y="1676321"/>
              <a:chExt cx="80017" cy="32014"/>
            </a:xfrm>
          </p:grpSpPr>
          <p:sp>
            <p:nvSpPr>
              <p:cNvPr id="1232" name="Forma livre: Forma 1231">
                <a:extLst>
                  <a:ext uri="{FF2B5EF4-FFF2-40B4-BE49-F238E27FC236}">
                    <a16:creationId xmlns:a16="http://schemas.microsoft.com/office/drawing/2014/main" id="{D42BFBCE-1851-34FC-1E5D-F88C070B5E53}"/>
                  </a:ext>
                </a:extLst>
              </p:cNvPr>
              <p:cNvSpPr/>
              <p:nvPr/>
            </p:nvSpPr>
            <p:spPr>
              <a:xfrm>
                <a:off x="10454587" y="1692334"/>
                <a:ext cx="79981" cy="1194"/>
              </a:xfrm>
              <a:custGeom>
                <a:avLst/>
                <a:gdLst>
                  <a:gd name="connsiteX0" fmla="*/ 79982 w 79981"/>
                  <a:gd name="connsiteY0" fmla="*/ 0 h 1194"/>
                  <a:gd name="connsiteX1" fmla="*/ 0 w 79981"/>
                  <a:gd name="connsiteY1" fmla="*/ 0 h 11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79981" h="1194">
                    <a:moveTo>
                      <a:pt x="79982" y="0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33" name="Forma livre: Forma 1232">
                <a:extLst>
                  <a:ext uri="{FF2B5EF4-FFF2-40B4-BE49-F238E27FC236}">
                    <a16:creationId xmlns:a16="http://schemas.microsoft.com/office/drawing/2014/main" id="{0B914C24-6AA6-81F0-F3A7-07894DAA82F5}"/>
                  </a:ext>
                </a:extLst>
              </p:cNvPr>
              <p:cNvSpPr/>
              <p:nvPr/>
            </p:nvSpPr>
            <p:spPr>
              <a:xfrm>
                <a:off x="10534604" y="1676321"/>
                <a:ext cx="1194" cy="32014"/>
              </a:xfrm>
              <a:custGeom>
                <a:avLst/>
                <a:gdLst>
                  <a:gd name="connsiteX0" fmla="*/ 0 w 1194"/>
                  <a:gd name="connsiteY0" fmla="*/ 32014 h 32014"/>
                  <a:gd name="connsiteX1" fmla="*/ 0 w 1194"/>
                  <a:gd name="connsiteY1" fmla="*/ 0 h 320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4" h="32014">
                    <a:moveTo>
                      <a:pt x="0" y="32014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234" name="Gráfico 11">
              <a:extLst>
                <a:ext uri="{FF2B5EF4-FFF2-40B4-BE49-F238E27FC236}">
                  <a16:creationId xmlns:a16="http://schemas.microsoft.com/office/drawing/2014/main" id="{EC23788D-678B-04B9-B0E3-A45F915CED1C}"/>
                </a:ext>
              </a:extLst>
            </p:cNvPr>
            <p:cNvGrpSpPr/>
            <p:nvPr/>
          </p:nvGrpSpPr>
          <p:grpSpPr>
            <a:xfrm>
              <a:off x="10534604" y="1640044"/>
              <a:ext cx="1194" cy="104580"/>
              <a:chOff x="10534604" y="1640044"/>
              <a:chExt cx="1194" cy="104580"/>
            </a:xfrm>
          </p:grpSpPr>
          <p:sp>
            <p:nvSpPr>
              <p:cNvPr id="1235" name="Forma livre: Forma 1234">
                <a:extLst>
                  <a:ext uri="{FF2B5EF4-FFF2-40B4-BE49-F238E27FC236}">
                    <a16:creationId xmlns:a16="http://schemas.microsoft.com/office/drawing/2014/main" id="{D3C165BB-7B47-9199-BECD-3F25DDD3C68E}"/>
                  </a:ext>
                </a:extLst>
              </p:cNvPr>
              <p:cNvSpPr/>
              <p:nvPr/>
            </p:nvSpPr>
            <p:spPr>
              <a:xfrm>
                <a:off x="10534604" y="1640044"/>
                <a:ext cx="1194" cy="18902"/>
              </a:xfrm>
              <a:custGeom>
                <a:avLst/>
                <a:gdLst>
                  <a:gd name="connsiteX0" fmla="*/ 0 w 1194"/>
                  <a:gd name="connsiteY0" fmla="*/ 18903 h 18902"/>
                  <a:gd name="connsiteX1" fmla="*/ 0 w 1194"/>
                  <a:gd name="connsiteY1" fmla="*/ 0 h 189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4" h="18902">
                    <a:moveTo>
                      <a:pt x="0" y="18903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36" name="Forma livre: Forma 1235">
                <a:extLst>
                  <a:ext uri="{FF2B5EF4-FFF2-40B4-BE49-F238E27FC236}">
                    <a16:creationId xmlns:a16="http://schemas.microsoft.com/office/drawing/2014/main" id="{E81D9650-197E-E3E6-809E-38FC82F71DF2}"/>
                  </a:ext>
                </a:extLst>
              </p:cNvPr>
              <p:cNvSpPr/>
              <p:nvPr/>
            </p:nvSpPr>
            <p:spPr>
              <a:xfrm>
                <a:off x="10534604" y="1725542"/>
                <a:ext cx="1194" cy="19081"/>
              </a:xfrm>
              <a:custGeom>
                <a:avLst/>
                <a:gdLst>
                  <a:gd name="connsiteX0" fmla="*/ 0 w 1194"/>
                  <a:gd name="connsiteY0" fmla="*/ 19082 h 19081"/>
                  <a:gd name="connsiteX1" fmla="*/ 0 w 1194"/>
                  <a:gd name="connsiteY1" fmla="*/ 0 h 190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4" h="19081">
                    <a:moveTo>
                      <a:pt x="0" y="19082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237" name="Forma livre: Forma 1236">
              <a:extLst>
                <a:ext uri="{FF2B5EF4-FFF2-40B4-BE49-F238E27FC236}">
                  <a16:creationId xmlns:a16="http://schemas.microsoft.com/office/drawing/2014/main" id="{3614DFD7-538A-0999-F667-44CAB8F32E47}"/>
                </a:ext>
              </a:extLst>
            </p:cNvPr>
            <p:cNvSpPr/>
            <p:nvPr/>
          </p:nvSpPr>
          <p:spPr>
            <a:xfrm>
              <a:off x="10453357" y="1639901"/>
              <a:ext cx="159700" cy="104854"/>
            </a:xfrm>
            <a:custGeom>
              <a:avLst/>
              <a:gdLst>
                <a:gd name="connsiteX0" fmla="*/ 159497 w 159700"/>
                <a:gd name="connsiteY0" fmla="*/ 52159 h 104854"/>
                <a:gd name="connsiteX1" fmla="*/ 159497 w 159700"/>
                <a:gd name="connsiteY1" fmla="*/ 104855 h 104854"/>
                <a:gd name="connsiteX2" fmla="*/ 0 w 159700"/>
                <a:gd name="connsiteY2" fmla="*/ 104855 h 104854"/>
                <a:gd name="connsiteX3" fmla="*/ 0 w 159700"/>
                <a:gd name="connsiteY3" fmla="*/ 0 h 104854"/>
                <a:gd name="connsiteX4" fmla="*/ 159700 w 159700"/>
                <a:gd name="connsiteY4" fmla="*/ 0 h 104854"/>
                <a:gd name="connsiteX5" fmla="*/ 159569 w 159700"/>
                <a:gd name="connsiteY5" fmla="*/ 25721 h 1048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59700" h="104854">
                  <a:moveTo>
                    <a:pt x="159497" y="52159"/>
                  </a:moveTo>
                  <a:lnTo>
                    <a:pt x="159497" y="104855"/>
                  </a:lnTo>
                  <a:lnTo>
                    <a:pt x="0" y="104855"/>
                  </a:lnTo>
                  <a:lnTo>
                    <a:pt x="0" y="0"/>
                  </a:lnTo>
                  <a:lnTo>
                    <a:pt x="159700" y="0"/>
                  </a:lnTo>
                  <a:lnTo>
                    <a:pt x="159569" y="25721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239" name="Gráfico 13">
            <a:extLst>
              <a:ext uri="{FF2B5EF4-FFF2-40B4-BE49-F238E27FC236}">
                <a16:creationId xmlns:a16="http://schemas.microsoft.com/office/drawing/2014/main" id="{7ADF8DB3-08EF-9834-31F0-AB460E3CC413}"/>
              </a:ext>
            </a:extLst>
          </p:cNvPr>
          <p:cNvGrpSpPr/>
          <p:nvPr/>
        </p:nvGrpSpPr>
        <p:grpSpPr>
          <a:xfrm>
            <a:off x="737712" y="3724240"/>
            <a:ext cx="342580" cy="219241"/>
            <a:chOff x="737712" y="3724240"/>
            <a:chExt cx="342580" cy="219241"/>
          </a:xfrm>
          <a:noFill/>
        </p:grpSpPr>
        <p:sp>
          <p:nvSpPr>
            <p:cNvPr id="1240" name="Forma livre: Forma 1239">
              <a:extLst>
                <a:ext uri="{FF2B5EF4-FFF2-40B4-BE49-F238E27FC236}">
                  <a16:creationId xmlns:a16="http://schemas.microsoft.com/office/drawing/2014/main" id="{5E8ACCF5-7B7E-195E-A02F-34D30DFA0805}"/>
                </a:ext>
              </a:extLst>
            </p:cNvPr>
            <p:cNvSpPr/>
            <p:nvPr/>
          </p:nvSpPr>
          <p:spPr>
            <a:xfrm>
              <a:off x="797931" y="3770546"/>
              <a:ext cx="222167" cy="124466"/>
            </a:xfrm>
            <a:custGeom>
              <a:avLst/>
              <a:gdLst>
                <a:gd name="connsiteX0" fmla="*/ 222168 w 222167"/>
                <a:gd name="connsiteY0" fmla="*/ 124467 h 124466"/>
                <a:gd name="connsiteX1" fmla="*/ 222168 w 222167"/>
                <a:gd name="connsiteY1" fmla="*/ 95233 h 124466"/>
                <a:gd name="connsiteX2" fmla="*/ 192405 w 222167"/>
                <a:gd name="connsiteY2" fmla="*/ 90345 h 124466"/>
                <a:gd name="connsiteX3" fmla="*/ 183358 w 222167"/>
                <a:gd name="connsiteY3" fmla="*/ 68408 h 124466"/>
                <a:gd name="connsiteX4" fmla="*/ 200841 w 222167"/>
                <a:gd name="connsiteY4" fmla="*/ 43745 h 124466"/>
                <a:gd name="connsiteX5" fmla="*/ 178434 w 222167"/>
                <a:gd name="connsiteY5" fmla="*/ 21338 h 124466"/>
                <a:gd name="connsiteX6" fmla="*/ 153771 w 222167"/>
                <a:gd name="connsiteY6" fmla="*/ 38834 h 124466"/>
                <a:gd name="connsiteX7" fmla="*/ 131834 w 222167"/>
                <a:gd name="connsiteY7" fmla="*/ 29774 h 124466"/>
                <a:gd name="connsiteX8" fmla="*/ 126934 w 222167"/>
                <a:gd name="connsiteY8" fmla="*/ 0 h 124466"/>
                <a:gd name="connsiteX9" fmla="*/ 95233 w 222167"/>
                <a:gd name="connsiteY9" fmla="*/ 0 h 124466"/>
                <a:gd name="connsiteX10" fmla="*/ 90333 w 222167"/>
                <a:gd name="connsiteY10" fmla="*/ 29774 h 124466"/>
                <a:gd name="connsiteX11" fmla="*/ 68408 w 222167"/>
                <a:gd name="connsiteY11" fmla="*/ 38822 h 124466"/>
                <a:gd name="connsiteX12" fmla="*/ 43745 w 222167"/>
                <a:gd name="connsiteY12" fmla="*/ 21326 h 124466"/>
                <a:gd name="connsiteX13" fmla="*/ 21338 w 222167"/>
                <a:gd name="connsiteY13" fmla="*/ 43733 h 124466"/>
                <a:gd name="connsiteX14" fmla="*/ 38822 w 222167"/>
                <a:gd name="connsiteY14" fmla="*/ 68396 h 124466"/>
                <a:gd name="connsiteX15" fmla="*/ 29810 w 222167"/>
                <a:gd name="connsiteY15" fmla="*/ 90157 h 124466"/>
                <a:gd name="connsiteX16" fmla="*/ 0 w 222167"/>
                <a:gd name="connsiteY16" fmla="*/ 95233 h 124466"/>
                <a:gd name="connsiteX17" fmla="*/ 0 w 222167"/>
                <a:gd name="connsiteY17" fmla="*/ 124467 h 1244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222167" h="124466">
                  <a:moveTo>
                    <a:pt x="222168" y="124467"/>
                  </a:moveTo>
                  <a:lnTo>
                    <a:pt x="222168" y="95233"/>
                  </a:lnTo>
                  <a:lnTo>
                    <a:pt x="192405" y="90345"/>
                  </a:lnTo>
                  <a:cubicBezTo>
                    <a:pt x="190419" y="82531"/>
                    <a:pt x="187364" y="75176"/>
                    <a:pt x="183358" y="68408"/>
                  </a:cubicBezTo>
                  <a:lnTo>
                    <a:pt x="200841" y="43745"/>
                  </a:lnTo>
                  <a:lnTo>
                    <a:pt x="178434" y="21338"/>
                  </a:lnTo>
                  <a:lnTo>
                    <a:pt x="153771" y="38834"/>
                  </a:lnTo>
                  <a:cubicBezTo>
                    <a:pt x="147015" y="34827"/>
                    <a:pt x="139648" y="31760"/>
                    <a:pt x="131834" y="29774"/>
                  </a:cubicBezTo>
                  <a:lnTo>
                    <a:pt x="126934" y="0"/>
                  </a:lnTo>
                  <a:lnTo>
                    <a:pt x="95233" y="0"/>
                  </a:lnTo>
                  <a:lnTo>
                    <a:pt x="90333" y="29774"/>
                  </a:lnTo>
                  <a:cubicBezTo>
                    <a:pt x="82531" y="31760"/>
                    <a:pt x="75164" y="34827"/>
                    <a:pt x="68408" y="38822"/>
                  </a:cubicBezTo>
                  <a:lnTo>
                    <a:pt x="43745" y="21326"/>
                  </a:lnTo>
                  <a:lnTo>
                    <a:pt x="21338" y="43733"/>
                  </a:lnTo>
                  <a:lnTo>
                    <a:pt x="38822" y="68396"/>
                  </a:lnTo>
                  <a:cubicBezTo>
                    <a:pt x="34850" y="75106"/>
                    <a:pt x="31795" y="82414"/>
                    <a:pt x="29810" y="90157"/>
                  </a:cubicBezTo>
                  <a:lnTo>
                    <a:pt x="0" y="95233"/>
                  </a:lnTo>
                  <a:lnTo>
                    <a:pt x="0" y="124467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41" name="Forma livre: Forma 1240">
              <a:extLst>
                <a:ext uri="{FF2B5EF4-FFF2-40B4-BE49-F238E27FC236}">
                  <a16:creationId xmlns:a16="http://schemas.microsoft.com/office/drawing/2014/main" id="{BB37F506-E73E-A3BB-F49A-265896B005D1}"/>
                </a:ext>
              </a:extLst>
            </p:cNvPr>
            <p:cNvSpPr/>
            <p:nvPr/>
          </p:nvSpPr>
          <p:spPr>
            <a:xfrm>
              <a:off x="770095" y="3724240"/>
              <a:ext cx="277850" cy="170773"/>
            </a:xfrm>
            <a:custGeom>
              <a:avLst/>
              <a:gdLst>
                <a:gd name="connsiteX0" fmla="*/ 0 w 277850"/>
                <a:gd name="connsiteY0" fmla="*/ 170773 h 170773"/>
                <a:gd name="connsiteX1" fmla="*/ 0 w 277850"/>
                <a:gd name="connsiteY1" fmla="*/ 20280 h 170773"/>
                <a:gd name="connsiteX2" fmla="*/ 20269 w 277850"/>
                <a:gd name="connsiteY2" fmla="*/ 0 h 170773"/>
                <a:gd name="connsiteX3" fmla="*/ 257558 w 277850"/>
                <a:gd name="connsiteY3" fmla="*/ 0 h 170773"/>
                <a:gd name="connsiteX4" fmla="*/ 277850 w 277850"/>
                <a:gd name="connsiteY4" fmla="*/ 20280 h 170773"/>
                <a:gd name="connsiteX5" fmla="*/ 277850 w 277850"/>
                <a:gd name="connsiteY5" fmla="*/ 170773 h 1707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77850" h="170773">
                  <a:moveTo>
                    <a:pt x="0" y="170773"/>
                  </a:moveTo>
                  <a:lnTo>
                    <a:pt x="0" y="20280"/>
                  </a:lnTo>
                  <a:cubicBezTo>
                    <a:pt x="0" y="9130"/>
                    <a:pt x="9130" y="0"/>
                    <a:pt x="20269" y="0"/>
                  </a:cubicBezTo>
                  <a:lnTo>
                    <a:pt x="257558" y="0"/>
                  </a:lnTo>
                  <a:cubicBezTo>
                    <a:pt x="268721" y="0"/>
                    <a:pt x="277850" y="9130"/>
                    <a:pt x="277850" y="20280"/>
                  </a:cubicBezTo>
                  <a:lnTo>
                    <a:pt x="277850" y="170773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42" name="Forma livre: Forma 1241">
              <a:extLst>
                <a:ext uri="{FF2B5EF4-FFF2-40B4-BE49-F238E27FC236}">
                  <a16:creationId xmlns:a16="http://schemas.microsoft.com/office/drawing/2014/main" id="{A4CF6B42-AF59-90B2-AF76-27A69950D797}"/>
                </a:ext>
              </a:extLst>
            </p:cNvPr>
            <p:cNvSpPr/>
            <p:nvPr/>
          </p:nvSpPr>
          <p:spPr>
            <a:xfrm>
              <a:off x="737712" y="3916645"/>
              <a:ext cx="342580" cy="26836"/>
            </a:xfrm>
            <a:custGeom>
              <a:avLst/>
              <a:gdLst>
                <a:gd name="connsiteX0" fmla="*/ 0 w 342580"/>
                <a:gd name="connsiteY0" fmla="*/ 0 h 26836"/>
                <a:gd name="connsiteX1" fmla="*/ 25533 w 342580"/>
                <a:gd name="connsiteY1" fmla="*/ 26837 h 26836"/>
                <a:gd name="connsiteX2" fmla="*/ 317036 w 342580"/>
                <a:gd name="connsiteY2" fmla="*/ 26837 h 26836"/>
                <a:gd name="connsiteX3" fmla="*/ 342581 w 342580"/>
                <a:gd name="connsiteY3" fmla="*/ 0 h 26836"/>
                <a:gd name="connsiteX4" fmla="*/ 0 w 342580"/>
                <a:gd name="connsiteY4" fmla="*/ 0 h 268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580" h="26836">
                  <a:moveTo>
                    <a:pt x="0" y="0"/>
                  </a:moveTo>
                  <a:cubicBezTo>
                    <a:pt x="0" y="0"/>
                    <a:pt x="5910" y="26837"/>
                    <a:pt x="25533" y="26837"/>
                  </a:cubicBezTo>
                  <a:lnTo>
                    <a:pt x="317036" y="26837"/>
                  </a:lnTo>
                  <a:cubicBezTo>
                    <a:pt x="336671" y="26837"/>
                    <a:pt x="342581" y="0"/>
                    <a:pt x="342581" y="0"/>
                  </a:cubicBezTo>
                  <a:lnTo>
                    <a:pt x="0" y="0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243" name="Gráfico 13">
              <a:extLst>
                <a:ext uri="{FF2B5EF4-FFF2-40B4-BE49-F238E27FC236}">
                  <a16:creationId xmlns:a16="http://schemas.microsoft.com/office/drawing/2014/main" id="{5A0841BF-066B-A760-9584-379028A35AA2}"/>
                </a:ext>
              </a:extLst>
            </p:cNvPr>
            <p:cNvGrpSpPr/>
            <p:nvPr/>
          </p:nvGrpSpPr>
          <p:grpSpPr>
            <a:xfrm>
              <a:off x="854812" y="3827404"/>
              <a:ext cx="108428" cy="62580"/>
              <a:chOff x="854812" y="3827404"/>
              <a:chExt cx="108428" cy="62580"/>
            </a:xfrm>
            <a:noFill/>
          </p:grpSpPr>
          <p:sp>
            <p:nvSpPr>
              <p:cNvPr id="1244" name="Forma livre: Forma 1243">
                <a:extLst>
                  <a:ext uri="{FF2B5EF4-FFF2-40B4-BE49-F238E27FC236}">
                    <a16:creationId xmlns:a16="http://schemas.microsoft.com/office/drawing/2014/main" id="{D13D81BB-7F18-29C8-C81E-1F25E3A13DD9}"/>
                  </a:ext>
                </a:extLst>
              </p:cNvPr>
              <p:cNvSpPr/>
              <p:nvPr/>
            </p:nvSpPr>
            <p:spPr>
              <a:xfrm>
                <a:off x="854812" y="3854147"/>
                <a:ext cx="7472" cy="35837"/>
              </a:xfrm>
              <a:custGeom>
                <a:avLst/>
                <a:gdLst>
                  <a:gd name="connsiteX0" fmla="*/ 634 w 7472"/>
                  <a:gd name="connsiteY0" fmla="*/ 35837 h 35837"/>
                  <a:gd name="connsiteX1" fmla="*/ 0 w 7472"/>
                  <a:gd name="connsiteY1" fmla="*/ 27483 h 35837"/>
                  <a:gd name="connsiteX2" fmla="*/ 7473 w 7472"/>
                  <a:gd name="connsiteY2" fmla="*/ 0 h 358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7472" h="35837">
                    <a:moveTo>
                      <a:pt x="634" y="35837"/>
                    </a:moveTo>
                    <a:cubicBezTo>
                      <a:pt x="211" y="33111"/>
                      <a:pt x="0" y="30327"/>
                      <a:pt x="0" y="27483"/>
                    </a:cubicBezTo>
                    <a:cubicBezTo>
                      <a:pt x="0" y="17449"/>
                      <a:pt x="2726" y="8072"/>
                      <a:pt x="7473" y="0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45" name="Forma livre: Forma 1244">
                <a:extLst>
                  <a:ext uri="{FF2B5EF4-FFF2-40B4-BE49-F238E27FC236}">
                    <a16:creationId xmlns:a16="http://schemas.microsoft.com/office/drawing/2014/main" id="{FC24842F-1332-2E08-A584-87EF94B46F5E}"/>
                  </a:ext>
                </a:extLst>
              </p:cNvPr>
              <p:cNvSpPr/>
              <p:nvPr/>
            </p:nvSpPr>
            <p:spPr>
              <a:xfrm>
                <a:off x="878712" y="3827404"/>
                <a:ext cx="84528" cy="62544"/>
              </a:xfrm>
              <a:custGeom>
                <a:avLst/>
                <a:gdLst>
                  <a:gd name="connsiteX0" fmla="*/ 0 w 84528"/>
                  <a:gd name="connsiteY0" fmla="*/ 9259 h 62544"/>
                  <a:gd name="connsiteX1" fmla="*/ 30315 w 84528"/>
                  <a:gd name="connsiteY1" fmla="*/ 0 h 62544"/>
                  <a:gd name="connsiteX2" fmla="*/ 84529 w 84528"/>
                  <a:gd name="connsiteY2" fmla="*/ 54214 h 62544"/>
                  <a:gd name="connsiteX3" fmla="*/ 83894 w 84528"/>
                  <a:gd name="connsiteY3" fmla="*/ 62545 h 625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4528" h="62544">
                    <a:moveTo>
                      <a:pt x="0" y="9259"/>
                    </a:moveTo>
                    <a:cubicBezTo>
                      <a:pt x="8660" y="3407"/>
                      <a:pt x="19082" y="0"/>
                      <a:pt x="30315" y="0"/>
                    </a:cubicBezTo>
                    <a:cubicBezTo>
                      <a:pt x="60254" y="0"/>
                      <a:pt x="84529" y="24275"/>
                      <a:pt x="84529" y="54214"/>
                    </a:cubicBezTo>
                    <a:cubicBezTo>
                      <a:pt x="84529" y="57046"/>
                      <a:pt x="84317" y="59819"/>
                      <a:pt x="83894" y="62545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246" name="Gráfico 13">
            <a:extLst>
              <a:ext uri="{FF2B5EF4-FFF2-40B4-BE49-F238E27FC236}">
                <a16:creationId xmlns:a16="http://schemas.microsoft.com/office/drawing/2014/main" id="{9102C6C1-40BC-BB5E-6FAF-2BB2778DB3F4}"/>
              </a:ext>
            </a:extLst>
          </p:cNvPr>
          <p:cNvGrpSpPr/>
          <p:nvPr/>
        </p:nvGrpSpPr>
        <p:grpSpPr>
          <a:xfrm>
            <a:off x="741121" y="4212050"/>
            <a:ext cx="335756" cy="290088"/>
            <a:chOff x="741121" y="4212050"/>
            <a:chExt cx="335756" cy="290088"/>
          </a:xfrm>
          <a:noFill/>
        </p:grpSpPr>
        <p:sp>
          <p:nvSpPr>
            <p:cNvPr id="1247" name="Forma livre: Forma 1246">
              <a:extLst>
                <a:ext uri="{FF2B5EF4-FFF2-40B4-BE49-F238E27FC236}">
                  <a16:creationId xmlns:a16="http://schemas.microsoft.com/office/drawing/2014/main" id="{FF21DA34-E822-C2A7-EC62-40C2441556F5}"/>
                </a:ext>
              </a:extLst>
            </p:cNvPr>
            <p:cNvSpPr/>
            <p:nvPr/>
          </p:nvSpPr>
          <p:spPr>
            <a:xfrm>
              <a:off x="741121" y="4349853"/>
              <a:ext cx="166036" cy="152284"/>
            </a:xfrm>
            <a:custGeom>
              <a:avLst/>
              <a:gdLst>
                <a:gd name="connsiteX0" fmla="*/ 121317 w 166036"/>
                <a:gd name="connsiteY0" fmla="*/ 0 h 152284"/>
                <a:gd name="connsiteX1" fmla="*/ 5486 w 166036"/>
                <a:gd name="connsiteY1" fmla="*/ 115748 h 152284"/>
                <a:gd name="connsiteX2" fmla="*/ 5486 w 166036"/>
                <a:gd name="connsiteY2" fmla="*/ 142339 h 152284"/>
                <a:gd name="connsiteX3" fmla="*/ 9939 w 166036"/>
                <a:gd name="connsiteY3" fmla="*/ 146804 h 152284"/>
                <a:gd name="connsiteX4" fmla="*/ 36529 w 166036"/>
                <a:gd name="connsiteY4" fmla="*/ 146804 h 152284"/>
                <a:gd name="connsiteX5" fmla="*/ 166037 w 166036"/>
                <a:gd name="connsiteY5" fmla="*/ 17296 h 1522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66036" h="152284">
                  <a:moveTo>
                    <a:pt x="121317" y="0"/>
                  </a:moveTo>
                  <a:lnTo>
                    <a:pt x="5486" y="115748"/>
                  </a:lnTo>
                  <a:cubicBezTo>
                    <a:pt x="-1834" y="123069"/>
                    <a:pt x="-1823" y="135030"/>
                    <a:pt x="5486" y="142339"/>
                  </a:cubicBezTo>
                  <a:lnTo>
                    <a:pt x="9939" y="146804"/>
                  </a:lnTo>
                  <a:cubicBezTo>
                    <a:pt x="17259" y="154112"/>
                    <a:pt x="29221" y="154112"/>
                    <a:pt x="36529" y="146804"/>
                  </a:cubicBezTo>
                  <a:lnTo>
                    <a:pt x="166037" y="17296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48" name="Forma livre: Forma 1247">
              <a:extLst>
                <a:ext uri="{FF2B5EF4-FFF2-40B4-BE49-F238E27FC236}">
                  <a16:creationId xmlns:a16="http://schemas.microsoft.com/office/drawing/2014/main" id="{D0FBE06D-B423-5590-6964-0FC1B049F4F7}"/>
                </a:ext>
              </a:extLst>
            </p:cNvPr>
            <p:cNvSpPr/>
            <p:nvPr/>
          </p:nvSpPr>
          <p:spPr>
            <a:xfrm>
              <a:off x="871232" y="4399344"/>
              <a:ext cx="63714" cy="63516"/>
            </a:xfrm>
            <a:custGeom>
              <a:avLst/>
              <a:gdLst>
                <a:gd name="connsiteX0" fmla="*/ 40709 w 63714"/>
                <a:gd name="connsiteY0" fmla="*/ 0 h 63516"/>
                <a:gd name="connsiteX1" fmla="*/ 4448 w 63714"/>
                <a:gd name="connsiteY1" fmla="*/ 37741 h 63516"/>
                <a:gd name="connsiteX2" fmla="*/ 4225 w 63714"/>
                <a:gd name="connsiteY2" fmla="*/ 59126 h 63516"/>
                <a:gd name="connsiteX3" fmla="*/ 4589 w 63714"/>
                <a:gd name="connsiteY3" fmla="*/ 59466 h 63516"/>
                <a:gd name="connsiteX4" fmla="*/ 25763 w 63714"/>
                <a:gd name="connsiteY4" fmla="*/ 59067 h 63516"/>
                <a:gd name="connsiteX5" fmla="*/ 63715 w 63714"/>
                <a:gd name="connsiteY5" fmla="*/ 23030 h 635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3714" h="63516">
                  <a:moveTo>
                    <a:pt x="40709" y="0"/>
                  </a:moveTo>
                  <a:lnTo>
                    <a:pt x="4448" y="37741"/>
                  </a:lnTo>
                  <a:cubicBezTo>
                    <a:pt x="4448" y="37741"/>
                    <a:pt x="-5410" y="48727"/>
                    <a:pt x="4225" y="59126"/>
                  </a:cubicBezTo>
                  <a:lnTo>
                    <a:pt x="4589" y="59466"/>
                  </a:lnTo>
                  <a:cubicBezTo>
                    <a:pt x="14918" y="68808"/>
                    <a:pt x="25763" y="59067"/>
                    <a:pt x="25763" y="59067"/>
                  </a:cubicBezTo>
                  <a:lnTo>
                    <a:pt x="63715" y="2303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49" name="Forma livre: Forma 1248">
              <a:extLst>
                <a:ext uri="{FF2B5EF4-FFF2-40B4-BE49-F238E27FC236}">
                  <a16:creationId xmlns:a16="http://schemas.microsoft.com/office/drawing/2014/main" id="{5E129465-6151-5214-89C0-520269C1AD8E}"/>
                </a:ext>
              </a:extLst>
            </p:cNvPr>
            <p:cNvSpPr/>
            <p:nvPr/>
          </p:nvSpPr>
          <p:spPr>
            <a:xfrm>
              <a:off x="954099" y="4212050"/>
              <a:ext cx="122779" cy="149188"/>
            </a:xfrm>
            <a:custGeom>
              <a:avLst/>
              <a:gdLst>
                <a:gd name="connsiteX0" fmla="*/ 45366 w 122779"/>
                <a:gd name="connsiteY0" fmla="*/ 149189 h 149188"/>
                <a:gd name="connsiteX1" fmla="*/ 92425 w 122779"/>
                <a:gd name="connsiteY1" fmla="*/ 104586 h 149188"/>
                <a:gd name="connsiteX2" fmla="*/ 122082 w 122779"/>
                <a:gd name="connsiteY2" fmla="*/ 58068 h 149188"/>
                <a:gd name="connsiteX3" fmla="*/ 6909 w 122779"/>
                <a:gd name="connsiteY3" fmla="*/ 0 h 149188"/>
                <a:gd name="connsiteX4" fmla="*/ 0 w 122779"/>
                <a:gd name="connsiteY4" fmla="*/ 5992 h 149188"/>
                <a:gd name="connsiteX5" fmla="*/ 67245 w 122779"/>
                <a:gd name="connsiteY5" fmla="*/ 73226 h 149188"/>
                <a:gd name="connsiteX6" fmla="*/ 19329 w 122779"/>
                <a:gd name="connsiteY6" fmla="*/ 123163 h 1491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22779" h="149188">
                  <a:moveTo>
                    <a:pt x="45366" y="149189"/>
                  </a:moveTo>
                  <a:lnTo>
                    <a:pt x="92425" y="104586"/>
                  </a:lnTo>
                  <a:cubicBezTo>
                    <a:pt x="92425" y="104586"/>
                    <a:pt x="128168" y="73531"/>
                    <a:pt x="122082" y="58068"/>
                  </a:cubicBezTo>
                  <a:cubicBezTo>
                    <a:pt x="122082" y="58068"/>
                    <a:pt x="112047" y="7461"/>
                    <a:pt x="6909" y="0"/>
                  </a:cubicBezTo>
                  <a:lnTo>
                    <a:pt x="0" y="5992"/>
                  </a:lnTo>
                  <a:lnTo>
                    <a:pt x="67245" y="73226"/>
                  </a:lnTo>
                  <a:lnTo>
                    <a:pt x="19329" y="123163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50" name="Forma livre: Forma 1249">
              <a:extLst>
                <a:ext uri="{FF2B5EF4-FFF2-40B4-BE49-F238E27FC236}">
                  <a16:creationId xmlns:a16="http://schemas.microsoft.com/office/drawing/2014/main" id="{717A8C6E-6F54-AB95-8152-F0E2A1E4E5F4}"/>
                </a:ext>
              </a:extLst>
            </p:cNvPr>
            <p:cNvSpPr/>
            <p:nvPr/>
          </p:nvSpPr>
          <p:spPr>
            <a:xfrm>
              <a:off x="767839" y="4465684"/>
              <a:ext cx="10104" cy="10104"/>
            </a:xfrm>
            <a:custGeom>
              <a:avLst/>
              <a:gdLst>
                <a:gd name="connsiteX0" fmla="*/ 0 w 10104"/>
                <a:gd name="connsiteY0" fmla="*/ 10105 h 10104"/>
                <a:gd name="connsiteX1" fmla="*/ 10105 w 10104"/>
                <a:gd name="connsiteY1" fmla="*/ 0 h 101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104" h="10104">
                  <a:moveTo>
                    <a:pt x="0" y="10105"/>
                  </a:moveTo>
                  <a:lnTo>
                    <a:pt x="10105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51" name="Forma livre: Forma 1250">
              <a:extLst>
                <a:ext uri="{FF2B5EF4-FFF2-40B4-BE49-F238E27FC236}">
                  <a16:creationId xmlns:a16="http://schemas.microsoft.com/office/drawing/2014/main" id="{6892C242-2EB2-4244-4760-E0A20A2DF4BE}"/>
                </a:ext>
              </a:extLst>
            </p:cNvPr>
            <p:cNvSpPr/>
            <p:nvPr/>
          </p:nvSpPr>
          <p:spPr>
            <a:xfrm>
              <a:off x="923714" y="4249485"/>
              <a:ext cx="66669" cy="66680"/>
            </a:xfrm>
            <a:custGeom>
              <a:avLst/>
              <a:gdLst>
                <a:gd name="connsiteX0" fmla="*/ 66669 w 66669"/>
                <a:gd name="connsiteY0" fmla="*/ 66681 h 66680"/>
                <a:gd name="connsiteX1" fmla="*/ 0 w 66669"/>
                <a:gd name="connsiteY1" fmla="*/ 0 h 666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6669" h="66680">
                  <a:moveTo>
                    <a:pt x="66669" y="66681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52" name="Forma livre: Forma 1251">
              <a:extLst>
                <a:ext uri="{FF2B5EF4-FFF2-40B4-BE49-F238E27FC236}">
                  <a16:creationId xmlns:a16="http://schemas.microsoft.com/office/drawing/2014/main" id="{39F1C0E9-B26B-4D6D-4AD6-AA211D703B1D}"/>
                </a:ext>
              </a:extLst>
            </p:cNvPr>
            <p:cNvSpPr/>
            <p:nvPr/>
          </p:nvSpPr>
          <p:spPr>
            <a:xfrm>
              <a:off x="866456" y="4300703"/>
              <a:ext cx="140458" cy="117358"/>
            </a:xfrm>
            <a:custGeom>
              <a:avLst/>
              <a:gdLst>
                <a:gd name="connsiteX0" fmla="*/ 140459 w 140458"/>
                <a:gd name="connsiteY0" fmla="*/ 69266 h 117358"/>
                <a:gd name="connsiteX1" fmla="*/ 84917 w 140458"/>
                <a:gd name="connsiteY1" fmla="*/ 13724 h 117358"/>
                <a:gd name="connsiteX2" fmla="*/ 61617 w 140458"/>
                <a:gd name="connsiteY2" fmla="*/ 18553 h 117358"/>
                <a:gd name="connsiteX3" fmla="*/ 43592 w 140458"/>
                <a:gd name="connsiteY3" fmla="*/ 18118 h 117358"/>
                <a:gd name="connsiteX4" fmla="*/ 25486 w 140458"/>
                <a:gd name="connsiteY4" fmla="*/ 0 h 117358"/>
                <a:gd name="connsiteX5" fmla="*/ 0 w 140458"/>
                <a:gd name="connsiteY5" fmla="*/ 25497 h 117358"/>
                <a:gd name="connsiteX6" fmla="*/ 91849 w 140458"/>
                <a:gd name="connsiteY6" fmla="*/ 117358 h 117358"/>
                <a:gd name="connsiteX7" fmla="*/ 140459 w 140458"/>
                <a:gd name="connsiteY7" fmla="*/ 69278 h 1173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40458" h="117358">
                  <a:moveTo>
                    <a:pt x="140459" y="69266"/>
                  </a:moveTo>
                  <a:lnTo>
                    <a:pt x="84917" y="13724"/>
                  </a:lnTo>
                  <a:cubicBezTo>
                    <a:pt x="84917" y="13724"/>
                    <a:pt x="75681" y="4488"/>
                    <a:pt x="61617" y="18553"/>
                  </a:cubicBezTo>
                  <a:cubicBezTo>
                    <a:pt x="61617" y="18553"/>
                    <a:pt x="52393" y="26907"/>
                    <a:pt x="43592" y="18118"/>
                  </a:cubicBezTo>
                  <a:lnTo>
                    <a:pt x="25486" y="0"/>
                  </a:lnTo>
                  <a:lnTo>
                    <a:pt x="0" y="25497"/>
                  </a:lnTo>
                  <a:lnTo>
                    <a:pt x="91849" y="117358"/>
                  </a:lnTo>
                  <a:cubicBezTo>
                    <a:pt x="91849" y="117358"/>
                    <a:pt x="122881" y="106184"/>
                    <a:pt x="140459" y="69278"/>
                  </a:cubicBez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53" name="Forma livre: Forma 1252">
              <a:extLst>
                <a:ext uri="{FF2B5EF4-FFF2-40B4-BE49-F238E27FC236}">
                  <a16:creationId xmlns:a16="http://schemas.microsoft.com/office/drawing/2014/main" id="{A84F7ED0-2B40-3E42-0B5B-DA1FAF570249}"/>
                </a:ext>
              </a:extLst>
            </p:cNvPr>
            <p:cNvSpPr/>
            <p:nvPr/>
          </p:nvSpPr>
          <p:spPr>
            <a:xfrm>
              <a:off x="945040" y="4359993"/>
              <a:ext cx="17601" cy="17601"/>
            </a:xfrm>
            <a:custGeom>
              <a:avLst/>
              <a:gdLst>
                <a:gd name="connsiteX0" fmla="*/ 17601 w 17601"/>
                <a:gd name="connsiteY0" fmla="*/ 17601 h 17601"/>
                <a:gd name="connsiteX1" fmla="*/ 0 w 17601"/>
                <a:gd name="connsiteY1" fmla="*/ 0 h 176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7601" h="17601">
                  <a:moveTo>
                    <a:pt x="17601" y="17601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54" name="Forma livre: Forma 1253">
              <a:extLst>
                <a:ext uri="{FF2B5EF4-FFF2-40B4-BE49-F238E27FC236}">
                  <a16:creationId xmlns:a16="http://schemas.microsoft.com/office/drawing/2014/main" id="{F4D7CB3B-F63C-6627-07D4-9AA1952F8B95}"/>
                </a:ext>
              </a:extLst>
            </p:cNvPr>
            <p:cNvSpPr/>
            <p:nvPr/>
          </p:nvSpPr>
          <p:spPr>
            <a:xfrm>
              <a:off x="916159" y="4269401"/>
              <a:ext cx="26543" cy="26543"/>
            </a:xfrm>
            <a:custGeom>
              <a:avLst/>
              <a:gdLst>
                <a:gd name="connsiteX0" fmla="*/ 0 w 26543"/>
                <a:gd name="connsiteY0" fmla="*/ 26543 h 26543"/>
                <a:gd name="connsiteX1" fmla="*/ 26543 w 26543"/>
                <a:gd name="connsiteY1" fmla="*/ 0 h 265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6543" h="26543">
                  <a:moveTo>
                    <a:pt x="0" y="26543"/>
                  </a:moveTo>
                  <a:lnTo>
                    <a:pt x="26543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255" name="Gráfico 13">
            <a:extLst>
              <a:ext uri="{FF2B5EF4-FFF2-40B4-BE49-F238E27FC236}">
                <a16:creationId xmlns:a16="http://schemas.microsoft.com/office/drawing/2014/main" id="{1E639819-6200-3061-CE21-5EE93A7D7FC9}"/>
              </a:ext>
            </a:extLst>
          </p:cNvPr>
          <p:cNvGrpSpPr/>
          <p:nvPr/>
        </p:nvGrpSpPr>
        <p:grpSpPr>
          <a:xfrm>
            <a:off x="759932" y="4735521"/>
            <a:ext cx="298154" cy="289588"/>
            <a:chOff x="759932" y="4735521"/>
            <a:chExt cx="298154" cy="289588"/>
          </a:xfrm>
          <a:noFill/>
        </p:grpSpPr>
        <p:grpSp>
          <p:nvGrpSpPr>
            <p:cNvPr id="1256" name="Gráfico 13">
              <a:extLst>
                <a:ext uri="{FF2B5EF4-FFF2-40B4-BE49-F238E27FC236}">
                  <a16:creationId xmlns:a16="http://schemas.microsoft.com/office/drawing/2014/main" id="{E47D28E0-BD74-82DF-F126-D3937D9C2723}"/>
                </a:ext>
              </a:extLst>
            </p:cNvPr>
            <p:cNvGrpSpPr/>
            <p:nvPr/>
          </p:nvGrpSpPr>
          <p:grpSpPr>
            <a:xfrm>
              <a:off x="966495" y="4743241"/>
              <a:ext cx="91590" cy="148742"/>
              <a:chOff x="966495" y="4743241"/>
              <a:chExt cx="91590" cy="148742"/>
            </a:xfrm>
            <a:noFill/>
          </p:grpSpPr>
          <p:sp>
            <p:nvSpPr>
              <p:cNvPr id="1257" name="Forma livre: Forma 1256">
                <a:extLst>
                  <a:ext uri="{FF2B5EF4-FFF2-40B4-BE49-F238E27FC236}">
                    <a16:creationId xmlns:a16="http://schemas.microsoft.com/office/drawing/2014/main" id="{DD2D13A4-0179-9279-6B36-272BFE7C97CA}"/>
                  </a:ext>
                </a:extLst>
              </p:cNvPr>
              <p:cNvSpPr/>
              <p:nvPr/>
            </p:nvSpPr>
            <p:spPr>
              <a:xfrm>
                <a:off x="966495" y="4743241"/>
                <a:ext cx="63766" cy="148742"/>
              </a:xfrm>
              <a:custGeom>
                <a:avLst/>
                <a:gdLst>
                  <a:gd name="connsiteX0" fmla="*/ 63755 w 63766"/>
                  <a:gd name="connsiteY0" fmla="*/ 0 h 148742"/>
                  <a:gd name="connsiteX1" fmla="*/ 60477 w 63766"/>
                  <a:gd name="connsiteY1" fmla="*/ 19940 h 148742"/>
                  <a:gd name="connsiteX2" fmla="*/ 45801 w 63766"/>
                  <a:gd name="connsiteY2" fmla="*/ 26003 h 148742"/>
                  <a:gd name="connsiteX3" fmla="*/ 29293 w 63766"/>
                  <a:gd name="connsiteY3" fmla="*/ 14288 h 148742"/>
                  <a:gd name="connsiteX4" fmla="*/ 14288 w 63766"/>
                  <a:gd name="connsiteY4" fmla="*/ 29293 h 148742"/>
                  <a:gd name="connsiteX5" fmla="*/ 26003 w 63766"/>
                  <a:gd name="connsiteY5" fmla="*/ 45801 h 148742"/>
                  <a:gd name="connsiteX6" fmla="*/ 19963 w 63766"/>
                  <a:gd name="connsiteY6" fmla="*/ 60371 h 148742"/>
                  <a:gd name="connsiteX7" fmla="*/ 0 w 63766"/>
                  <a:gd name="connsiteY7" fmla="*/ 63767 h 148742"/>
                  <a:gd name="connsiteX8" fmla="*/ 0 w 63766"/>
                  <a:gd name="connsiteY8" fmla="*/ 84987 h 148742"/>
                  <a:gd name="connsiteX9" fmla="*/ 19963 w 63766"/>
                  <a:gd name="connsiteY9" fmla="*/ 88383 h 148742"/>
                  <a:gd name="connsiteX10" fmla="*/ 26061 w 63766"/>
                  <a:gd name="connsiteY10" fmla="*/ 103047 h 148742"/>
                  <a:gd name="connsiteX11" fmla="*/ 14288 w 63766"/>
                  <a:gd name="connsiteY11" fmla="*/ 119450 h 148742"/>
                  <a:gd name="connsiteX12" fmla="*/ 29293 w 63766"/>
                  <a:gd name="connsiteY12" fmla="*/ 134454 h 148742"/>
                  <a:gd name="connsiteX13" fmla="*/ 45707 w 63766"/>
                  <a:gd name="connsiteY13" fmla="*/ 122681 h 148742"/>
                  <a:gd name="connsiteX14" fmla="*/ 60371 w 63766"/>
                  <a:gd name="connsiteY14" fmla="*/ 128779 h 148742"/>
                  <a:gd name="connsiteX15" fmla="*/ 63767 w 63766"/>
                  <a:gd name="connsiteY15" fmla="*/ 148742 h 1487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63766" h="148742">
                    <a:moveTo>
                      <a:pt x="63755" y="0"/>
                    </a:moveTo>
                    <a:lnTo>
                      <a:pt x="60477" y="19940"/>
                    </a:lnTo>
                    <a:cubicBezTo>
                      <a:pt x="55248" y="21256"/>
                      <a:pt x="50325" y="23324"/>
                      <a:pt x="45801" y="26003"/>
                    </a:cubicBezTo>
                    <a:lnTo>
                      <a:pt x="29293" y="14288"/>
                    </a:lnTo>
                    <a:lnTo>
                      <a:pt x="14288" y="29293"/>
                    </a:lnTo>
                    <a:lnTo>
                      <a:pt x="26003" y="45801"/>
                    </a:lnTo>
                    <a:cubicBezTo>
                      <a:pt x="23335" y="50301"/>
                      <a:pt x="21291" y="55189"/>
                      <a:pt x="19963" y="60371"/>
                    </a:cubicBezTo>
                    <a:lnTo>
                      <a:pt x="0" y="63767"/>
                    </a:lnTo>
                    <a:lnTo>
                      <a:pt x="0" y="84987"/>
                    </a:lnTo>
                    <a:lnTo>
                      <a:pt x="19963" y="88383"/>
                    </a:lnTo>
                    <a:cubicBezTo>
                      <a:pt x="21303" y="93612"/>
                      <a:pt x="23371" y="98523"/>
                      <a:pt x="26061" y="103047"/>
                    </a:cubicBezTo>
                    <a:lnTo>
                      <a:pt x="14288" y="119450"/>
                    </a:lnTo>
                    <a:lnTo>
                      <a:pt x="29293" y="134454"/>
                    </a:lnTo>
                    <a:lnTo>
                      <a:pt x="45707" y="122681"/>
                    </a:lnTo>
                    <a:cubicBezTo>
                      <a:pt x="50231" y="125360"/>
                      <a:pt x="55154" y="127440"/>
                      <a:pt x="60371" y="128779"/>
                    </a:cubicBezTo>
                    <a:lnTo>
                      <a:pt x="63767" y="148742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58" name="Forma livre: Forma 1257">
                <a:extLst>
                  <a:ext uri="{FF2B5EF4-FFF2-40B4-BE49-F238E27FC236}">
                    <a16:creationId xmlns:a16="http://schemas.microsoft.com/office/drawing/2014/main" id="{5C59CA02-2F87-18F7-5002-4DEB75FC4EA1}"/>
                  </a:ext>
                </a:extLst>
              </p:cNvPr>
              <p:cNvSpPr/>
              <p:nvPr/>
            </p:nvSpPr>
            <p:spPr>
              <a:xfrm>
                <a:off x="1019123" y="4813822"/>
                <a:ext cx="38962" cy="25520"/>
              </a:xfrm>
              <a:custGeom>
                <a:avLst/>
                <a:gdLst>
                  <a:gd name="connsiteX0" fmla="*/ 38963 w 38962"/>
                  <a:gd name="connsiteY0" fmla="*/ 17049 h 25520"/>
                  <a:gd name="connsiteX1" fmla="*/ 21749 w 38962"/>
                  <a:gd name="connsiteY1" fmla="*/ 25521 h 25520"/>
                  <a:gd name="connsiteX2" fmla="*/ 0 w 38962"/>
                  <a:gd name="connsiteY2" fmla="*/ 3795 h 25520"/>
                  <a:gd name="connsiteX3" fmla="*/ 329 w 38962"/>
                  <a:gd name="connsiteY3" fmla="*/ 0 h 255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8962" h="25520">
                    <a:moveTo>
                      <a:pt x="38963" y="17049"/>
                    </a:moveTo>
                    <a:cubicBezTo>
                      <a:pt x="34991" y="22196"/>
                      <a:pt x="28764" y="25521"/>
                      <a:pt x="21749" y="25521"/>
                    </a:cubicBezTo>
                    <a:cubicBezTo>
                      <a:pt x="9741" y="25521"/>
                      <a:pt x="0" y="15792"/>
                      <a:pt x="0" y="3795"/>
                    </a:cubicBezTo>
                    <a:cubicBezTo>
                      <a:pt x="0" y="2503"/>
                      <a:pt x="118" y="1234"/>
                      <a:pt x="329" y="0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59" name="Forma livre: Forma 1258">
                <a:extLst>
                  <a:ext uri="{FF2B5EF4-FFF2-40B4-BE49-F238E27FC236}">
                    <a16:creationId xmlns:a16="http://schemas.microsoft.com/office/drawing/2014/main" id="{A0923C0B-72B9-A8BD-FCC3-5AB34FA3919C}"/>
                  </a:ext>
                </a:extLst>
              </p:cNvPr>
              <p:cNvSpPr/>
              <p:nvPr/>
            </p:nvSpPr>
            <p:spPr>
              <a:xfrm>
                <a:off x="1036901" y="4795868"/>
                <a:ext cx="19328" cy="6368"/>
              </a:xfrm>
              <a:custGeom>
                <a:avLst/>
                <a:gdLst>
                  <a:gd name="connsiteX0" fmla="*/ 0 w 19328"/>
                  <a:gd name="connsiteY0" fmla="*/ 364 h 6368"/>
                  <a:gd name="connsiteX1" fmla="*/ 3960 w 19328"/>
                  <a:gd name="connsiteY1" fmla="*/ 0 h 6368"/>
                  <a:gd name="connsiteX2" fmla="*/ 19329 w 19328"/>
                  <a:gd name="connsiteY2" fmla="*/ 6368 h 63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9328" h="6368">
                    <a:moveTo>
                      <a:pt x="0" y="364"/>
                    </a:moveTo>
                    <a:cubicBezTo>
                      <a:pt x="1281" y="129"/>
                      <a:pt x="2608" y="12"/>
                      <a:pt x="3960" y="0"/>
                    </a:cubicBezTo>
                    <a:cubicBezTo>
                      <a:pt x="9964" y="0"/>
                      <a:pt x="15392" y="2432"/>
                      <a:pt x="19329" y="6368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260" name="Gráfico 13">
              <a:extLst>
                <a:ext uri="{FF2B5EF4-FFF2-40B4-BE49-F238E27FC236}">
                  <a16:creationId xmlns:a16="http://schemas.microsoft.com/office/drawing/2014/main" id="{A127423E-1357-2C2F-8F6A-4ED6A1DAE23E}"/>
                </a:ext>
              </a:extLst>
            </p:cNvPr>
            <p:cNvGrpSpPr/>
            <p:nvPr/>
          </p:nvGrpSpPr>
          <p:grpSpPr>
            <a:xfrm>
              <a:off x="759932" y="4741337"/>
              <a:ext cx="168529" cy="283772"/>
              <a:chOff x="759932" y="4741337"/>
              <a:chExt cx="168529" cy="283772"/>
            </a:xfrm>
            <a:noFill/>
          </p:grpSpPr>
          <p:grpSp>
            <p:nvGrpSpPr>
              <p:cNvPr id="1261" name="Gráfico 13">
                <a:extLst>
                  <a:ext uri="{FF2B5EF4-FFF2-40B4-BE49-F238E27FC236}">
                    <a16:creationId xmlns:a16="http://schemas.microsoft.com/office/drawing/2014/main" id="{92907F69-7F93-B786-FA0B-76112A0B276F}"/>
                  </a:ext>
                </a:extLst>
              </p:cNvPr>
              <p:cNvGrpSpPr/>
              <p:nvPr/>
            </p:nvGrpSpPr>
            <p:grpSpPr>
              <a:xfrm>
                <a:off x="783984" y="4741337"/>
                <a:ext cx="55541" cy="283772"/>
                <a:chOff x="783984" y="4741337"/>
                <a:chExt cx="55541" cy="283772"/>
              </a:xfrm>
              <a:noFill/>
            </p:grpSpPr>
            <p:sp>
              <p:nvSpPr>
                <p:cNvPr id="1262" name="Forma livre: Forma 1261">
                  <a:extLst>
                    <a:ext uri="{FF2B5EF4-FFF2-40B4-BE49-F238E27FC236}">
                      <a16:creationId xmlns:a16="http://schemas.microsoft.com/office/drawing/2014/main" id="{9D1A948D-2EBF-577B-B27D-183E5567AD50}"/>
                    </a:ext>
                  </a:extLst>
                </p:cNvPr>
                <p:cNvSpPr/>
                <p:nvPr/>
              </p:nvSpPr>
              <p:spPr>
                <a:xfrm>
                  <a:off x="791116" y="4741337"/>
                  <a:ext cx="48409" cy="48397"/>
                </a:xfrm>
                <a:custGeom>
                  <a:avLst/>
                  <a:gdLst>
                    <a:gd name="connsiteX0" fmla="*/ 0 w 48409"/>
                    <a:gd name="connsiteY0" fmla="*/ 24193 h 48397"/>
                    <a:gd name="connsiteX1" fmla="*/ 24205 w 48409"/>
                    <a:gd name="connsiteY1" fmla="*/ 48398 h 48397"/>
                    <a:gd name="connsiteX2" fmla="*/ 48410 w 48409"/>
                    <a:gd name="connsiteY2" fmla="*/ 24193 h 48397"/>
                    <a:gd name="connsiteX3" fmla="*/ 24205 w 48409"/>
                    <a:gd name="connsiteY3" fmla="*/ 0 h 48397"/>
                    <a:gd name="connsiteX4" fmla="*/ 0 w 48409"/>
                    <a:gd name="connsiteY4" fmla="*/ 24193 h 4839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48409" h="48397">
                      <a:moveTo>
                        <a:pt x="0" y="24193"/>
                      </a:moveTo>
                      <a:cubicBezTo>
                        <a:pt x="0" y="37564"/>
                        <a:pt x="10845" y="48398"/>
                        <a:pt x="24205" y="48398"/>
                      </a:cubicBezTo>
                      <a:cubicBezTo>
                        <a:pt x="37565" y="48398"/>
                        <a:pt x="48410" y="37564"/>
                        <a:pt x="48410" y="24193"/>
                      </a:cubicBezTo>
                      <a:cubicBezTo>
                        <a:pt x="48410" y="10822"/>
                        <a:pt x="37576" y="0"/>
                        <a:pt x="24205" y="0"/>
                      </a:cubicBezTo>
                      <a:cubicBezTo>
                        <a:pt x="10833" y="0"/>
                        <a:pt x="0" y="10833"/>
                        <a:pt x="0" y="24193"/>
                      </a:cubicBezTo>
                      <a:close/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grpSp>
              <p:nvGrpSpPr>
                <p:cNvPr id="1263" name="Gráfico 13">
                  <a:extLst>
                    <a:ext uri="{FF2B5EF4-FFF2-40B4-BE49-F238E27FC236}">
                      <a16:creationId xmlns:a16="http://schemas.microsoft.com/office/drawing/2014/main" id="{AC019442-6358-1814-2370-CBCE73C9F4B7}"/>
                    </a:ext>
                  </a:extLst>
                </p:cNvPr>
                <p:cNvGrpSpPr/>
                <p:nvPr/>
              </p:nvGrpSpPr>
              <p:grpSpPr>
                <a:xfrm>
                  <a:off x="783984" y="4855922"/>
                  <a:ext cx="31337" cy="169187"/>
                  <a:chOff x="783984" y="4855922"/>
                  <a:chExt cx="31337" cy="169187"/>
                </a:xfrm>
              </p:grpSpPr>
              <p:sp>
                <p:nvSpPr>
                  <p:cNvPr id="1264" name="Forma livre: Forma 1263">
                    <a:extLst>
                      <a:ext uri="{FF2B5EF4-FFF2-40B4-BE49-F238E27FC236}">
                        <a16:creationId xmlns:a16="http://schemas.microsoft.com/office/drawing/2014/main" id="{C1619E61-FD26-E5FA-CBBF-5E514049D033}"/>
                      </a:ext>
                    </a:extLst>
                  </p:cNvPr>
                  <p:cNvSpPr/>
                  <p:nvPr/>
                </p:nvSpPr>
                <p:spPr>
                  <a:xfrm>
                    <a:off x="783984" y="4855922"/>
                    <a:ext cx="1174" cy="169187"/>
                  </a:xfrm>
                  <a:custGeom>
                    <a:avLst/>
                    <a:gdLst>
                      <a:gd name="connsiteX0" fmla="*/ 0 w 1174"/>
                      <a:gd name="connsiteY0" fmla="*/ 0 h 169187"/>
                      <a:gd name="connsiteX1" fmla="*/ 0 w 1174"/>
                      <a:gd name="connsiteY1" fmla="*/ 169187 h 1691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174" h="169187">
                        <a:moveTo>
                          <a:pt x="0" y="0"/>
                        </a:moveTo>
                        <a:lnTo>
                          <a:pt x="0" y="169187"/>
                        </a:lnTo>
                      </a:path>
                    </a:pathLst>
                  </a:custGeom>
                  <a:ln w="6350" cap="flat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1265" name="Forma livre: Forma 1264">
                    <a:extLst>
                      <a:ext uri="{FF2B5EF4-FFF2-40B4-BE49-F238E27FC236}">
                        <a16:creationId xmlns:a16="http://schemas.microsoft.com/office/drawing/2014/main" id="{D71C07D6-9887-62FC-4429-34DD72368C92}"/>
                      </a:ext>
                    </a:extLst>
                  </p:cNvPr>
                  <p:cNvSpPr/>
                  <p:nvPr/>
                </p:nvSpPr>
                <p:spPr>
                  <a:xfrm>
                    <a:off x="815321" y="4930252"/>
                    <a:ext cx="1174" cy="94857"/>
                  </a:xfrm>
                  <a:custGeom>
                    <a:avLst/>
                    <a:gdLst>
                      <a:gd name="connsiteX0" fmla="*/ 0 w 1174"/>
                      <a:gd name="connsiteY0" fmla="*/ 0 h 94857"/>
                      <a:gd name="connsiteX1" fmla="*/ 0 w 1174"/>
                      <a:gd name="connsiteY1" fmla="*/ 94857 h 9485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174" h="94857">
                        <a:moveTo>
                          <a:pt x="0" y="0"/>
                        </a:moveTo>
                        <a:lnTo>
                          <a:pt x="0" y="94857"/>
                        </a:lnTo>
                      </a:path>
                    </a:pathLst>
                  </a:custGeom>
                  <a:ln w="6350" cap="flat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</p:grpSp>
          <p:sp>
            <p:nvSpPr>
              <p:cNvPr id="1266" name="Forma livre: Forma 1265">
                <a:extLst>
                  <a:ext uri="{FF2B5EF4-FFF2-40B4-BE49-F238E27FC236}">
                    <a16:creationId xmlns:a16="http://schemas.microsoft.com/office/drawing/2014/main" id="{7386AA04-DED1-1448-3E70-9D0209B06190}"/>
                  </a:ext>
                </a:extLst>
              </p:cNvPr>
              <p:cNvSpPr/>
              <p:nvPr/>
            </p:nvSpPr>
            <p:spPr>
              <a:xfrm>
                <a:off x="759932" y="4814069"/>
                <a:ext cx="168529" cy="211040"/>
              </a:xfrm>
              <a:custGeom>
                <a:avLst/>
                <a:gdLst>
                  <a:gd name="connsiteX0" fmla="*/ 86714 w 168529"/>
                  <a:gd name="connsiteY0" fmla="*/ 211040 h 211040"/>
                  <a:gd name="connsiteX1" fmla="*/ 86714 w 168529"/>
                  <a:gd name="connsiteY1" fmla="*/ 25580 h 211040"/>
                  <a:gd name="connsiteX2" fmla="*/ 136393 w 168529"/>
                  <a:gd name="connsiteY2" fmla="*/ 25580 h 211040"/>
                  <a:gd name="connsiteX3" fmla="*/ 168529 w 168529"/>
                  <a:gd name="connsiteY3" fmla="*/ 799 h 211040"/>
                  <a:gd name="connsiteX4" fmla="*/ 168529 w 168529"/>
                  <a:gd name="connsiteY4" fmla="*/ 0 h 211040"/>
                  <a:gd name="connsiteX5" fmla="*/ 32136 w 168529"/>
                  <a:gd name="connsiteY5" fmla="*/ 0 h 211040"/>
                  <a:gd name="connsiteX6" fmla="*/ 0 w 168529"/>
                  <a:gd name="connsiteY6" fmla="*/ 32124 h 211040"/>
                  <a:gd name="connsiteX7" fmla="*/ 0 w 168529"/>
                  <a:gd name="connsiteY7" fmla="*/ 86715 h 211040"/>
                  <a:gd name="connsiteX8" fmla="*/ 24769 w 168529"/>
                  <a:gd name="connsiteY8" fmla="*/ 118839 h 2110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68529" h="211040">
                    <a:moveTo>
                      <a:pt x="86714" y="211040"/>
                    </a:moveTo>
                    <a:lnTo>
                      <a:pt x="86714" y="25580"/>
                    </a:lnTo>
                    <a:lnTo>
                      <a:pt x="136393" y="25580"/>
                    </a:lnTo>
                    <a:cubicBezTo>
                      <a:pt x="154065" y="25580"/>
                      <a:pt x="168529" y="18483"/>
                      <a:pt x="168529" y="799"/>
                    </a:cubicBezTo>
                    <a:lnTo>
                      <a:pt x="168529" y="0"/>
                    </a:lnTo>
                    <a:cubicBezTo>
                      <a:pt x="168529" y="0"/>
                      <a:pt x="32136" y="0"/>
                      <a:pt x="32136" y="0"/>
                    </a:cubicBezTo>
                    <a:cubicBezTo>
                      <a:pt x="14452" y="0"/>
                      <a:pt x="0" y="14452"/>
                      <a:pt x="0" y="32124"/>
                    </a:cubicBezTo>
                    <a:lnTo>
                      <a:pt x="0" y="86715"/>
                    </a:lnTo>
                    <a:cubicBezTo>
                      <a:pt x="0" y="104386"/>
                      <a:pt x="7097" y="118839"/>
                      <a:pt x="24769" y="118839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267" name="Forma livre: Forma 1266">
              <a:extLst>
                <a:ext uri="{FF2B5EF4-FFF2-40B4-BE49-F238E27FC236}">
                  <a16:creationId xmlns:a16="http://schemas.microsoft.com/office/drawing/2014/main" id="{288FFEB7-4427-2F3A-F5A0-DC5CA82381C6}"/>
                </a:ext>
              </a:extLst>
            </p:cNvPr>
            <p:cNvSpPr/>
            <p:nvPr/>
          </p:nvSpPr>
          <p:spPr>
            <a:xfrm>
              <a:off x="887054" y="4735521"/>
              <a:ext cx="170855" cy="161972"/>
            </a:xfrm>
            <a:custGeom>
              <a:avLst/>
              <a:gdLst>
                <a:gd name="connsiteX0" fmla="*/ 0 w 170855"/>
                <a:gd name="connsiteY0" fmla="*/ 58667 h 161972"/>
                <a:gd name="connsiteX1" fmla="*/ 0 w 170855"/>
                <a:gd name="connsiteY1" fmla="*/ 0 h 161972"/>
                <a:gd name="connsiteX2" fmla="*/ 170856 w 170855"/>
                <a:gd name="connsiteY2" fmla="*/ 0 h 161972"/>
                <a:gd name="connsiteX3" fmla="*/ 170856 w 170855"/>
                <a:gd name="connsiteY3" fmla="*/ 161973 h 161972"/>
                <a:gd name="connsiteX4" fmla="*/ 0 w 170855"/>
                <a:gd name="connsiteY4" fmla="*/ 161973 h 161972"/>
                <a:gd name="connsiteX5" fmla="*/ 0 w 170855"/>
                <a:gd name="connsiteY5" fmla="*/ 129425 h 1619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70855" h="161972">
                  <a:moveTo>
                    <a:pt x="0" y="58667"/>
                  </a:moveTo>
                  <a:lnTo>
                    <a:pt x="0" y="0"/>
                  </a:lnTo>
                  <a:lnTo>
                    <a:pt x="170856" y="0"/>
                  </a:lnTo>
                  <a:lnTo>
                    <a:pt x="170856" y="161973"/>
                  </a:lnTo>
                  <a:lnTo>
                    <a:pt x="0" y="161973"/>
                  </a:lnTo>
                  <a:lnTo>
                    <a:pt x="0" y="129425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268" name="Gráfico 13">
            <a:extLst>
              <a:ext uri="{FF2B5EF4-FFF2-40B4-BE49-F238E27FC236}">
                <a16:creationId xmlns:a16="http://schemas.microsoft.com/office/drawing/2014/main" id="{24C878B5-C583-D889-D398-2D86F27250B1}"/>
              </a:ext>
            </a:extLst>
          </p:cNvPr>
          <p:cNvGrpSpPr/>
          <p:nvPr/>
        </p:nvGrpSpPr>
        <p:grpSpPr>
          <a:xfrm>
            <a:off x="749697" y="5769303"/>
            <a:ext cx="318601" cy="314898"/>
            <a:chOff x="749697" y="5769303"/>
            <a:chExt cx="318601" cy="314898"/>
          </a:xfrm>
          <a:noFill/>
        </p:grpSpPr>
        <p:grpSp>
          <p:nvGrpSpPr>
            <p:cNvPr id="1269" name="Gráfico 13">
              <a:extLst>
                <a:ext uri="{FF2B5EF4-FFF2-40B4-BE49-F238E27FC236}">
                  <a16:creationId xmlns:a16="http://schemas.microsoft.com/office/drawing/2014/main" id="{2E6E2FE2-8E78-4C89-826F-84204CE832EE}"/>
                </a:ext>
              </a:extLst>
            </p:cNvPr>
            <p:cNvGrpSpPr/>
            <p:nvPr/>
          </p:nvGrpSpPr>
          <p:grpSpPr>
            <a:xfrm>
              <a:off x="749697" y="5954279"/>
              <a:ext cx="318601" cy="129921"/>
              <a:chOff x="749697" y="5954279"/>
              <a:chExt cx="318601" cy="129921"/>
            </a:xfrm>
            <a:noFill/>
          </p:grpSpPr>
          <p:sp>
            <p:nvSpPr>
              <p:cNvPr id="1270" name="Forma livre: Forma 1269">
                <a:extLst>
                  <a:ext uri="{FF2B5EF4-FFF2-40B4-BE49-F238E27FC236}">
                    <a16:creationId xmlns:a16="http://schemas.microsoft.com/office/drawing/2014/main" id="{B04622E9-0624-7FDA-2E18-A1B9BD359C71}"/>
                  </a:ext>
                </a:extLst>
              </p:cNvPr>
              <p:cNvSpPr/>
              <p:nvPr/>
            </p:nvSpPr>
            <p:spPr>
              <a:xfrm>
                <a:off x="789001" y="5954279"/>
                <a:ext cx="279297" cy="129921"/>
              </a:xfrm>
              <a:custGeom>
                <a:avLst/>
                <a:gdLst>
                  <a:gd name="connsiteX0" fmla="*/ 190631 w 279297"/>
                  <a:gd name="connsiteY0" fmla="*/ 32409 h 129921"/>
                  <a:gd name="connsiteX1" fmla="*/ 247759 w 279297"/>
                  <a:gd name="connsiteY1" fmla="*/ 3210 h 129921"/>
                  <a:gd name="connsiteX2" fmla="*/ 277098 w 279297"/>
                  <a:gd name="connsiteY2" fmla="*/ 9591 h 129921"/>
                  <a:gd name="connsiteX3" fmla="*/ 266712 w 279297"/>
                  <a:gd name="connsiteY3" fmla="*/ 38460 h 129921"/>
                  <a:gd name="connsiteX4" fmla="*/ 148167 w 279297"/>
                  <a:gd name="connsiteY4" fmla="*/ 102004 h 129921"/>
                  <a:gd name="connsiteX5" fmla="*/ 141892 w 279297"/>
                  <a:gd name="connsiteY5" fmla="*/ 103578 h 129921"/>
                  <a:gd name="connsiteX6" fmla="*/ 31337 w 279297"/>
                  <a:gd name="connsiteY6" fmla="*/ 106563 h 129921"/>
                  <a:gd name="connsiteX7" fmla="*/ 0 w 279297"/>
                  <a:gd name="connsiteY7" fmla="*/ 129922 h 1299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79297" h="129921">
                    <a:moveTo>
                      <a:pt x="190631" y="32409"/>
                    </a:moveTo>
                    <a:lnTo>
                      <a:pt x="247759" y="3210"/>
                    </a:lnTo>
                    <a:cubicBezTo>
                      <a:pt x="258804" y="-2723"/>
                      <a:pt x="271752" y="-338"/>
                      <a:pt x="277098" y="9591"/>
                    </a:cubicBezTo>
                    <a:cubicBezTo>
                      <a:pt x="282421" y="19531"/>
                      <a:pt x="277745" y="32526"/>
                      <a:pt x="266712" y="38460"/>
                    </a:cubicBezTo>
                    <a:lnTo>
                      <a:pt x="148167" y="102004"/>
                    </a:lnTo>
                    <a:lnTo>
                      <a:pt x="141892" y="103578"/>
                    </a:lnTo>
                    <a:lnTo>
                      <a:pt x="31337" y="106563"/>
                    </a:lnTo>
                    <a:cubicBezTo>
                      <a:pt x="31337" y="106563"/>
                      <a:pt x="17096" y="110558"/>
                      <a:pt x="0" y="129922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71" name="Forma livre: Forma 1270">
                <a:extLst>
                  <a:ext uri="{FF2B5EF4-FFF2-40B4-BE49-F238E27FC236}">
                    <a16:creationId xmlns:a16="http://schemas.microsoft.com/office/drawing/2014/main" id="{9917F877-02DD-B7A3-0B49-F366A48190DB}"/>
                  </a:ext>
                </a:extLst>
              </p:cNvPr>
              <p:cNvSpPr/>
              <p:nvPr/>
            </p:nvSpPr>
            <p:spPr>
              <a:xfrm>
                <a:off x="749697" y="5969992"/>
                <a:ext cx="210828" cy="56082"/>
              </a:xfrm>
              <a:custGeom>
                <a:avLst/>
                <a:gdLst>
                  <a:gd name="connsiteX0" fmla="*/ 0 w 210828"/>
                  <a:gd name="connsiteY0" fmla="*/ 56083 h 56082"/>
                  <a:gd name="connsiteX1" fmla="*/ 50160 w 210828"/>
                  <a:gd name="connsiteY1" fmla="*/ 9917 h 56082"/>
                  <a:gd name="connsiteX2" fmla="*/ 103728 w 210828"/>
                  <a:gd name="connsiteY2" fmla="*/ 2515 h 56082"/>
                  <a:gd name="connsiteX3" fmla="*/ 143937 w 210828"/>
                  <a:gd name="connsiteY3" fmla="*/ 7050 h 56082"/>
                  <a:gd name="connsiteX4" fmla="*/ 187329 w 210828"/>
                  <a:gd name="connsiteY4" fmla="*/ 7050 h 56082"/>
                  <a:gd name="connsiteX5" fmla="*/ 210829 w 210828"/>
                  <a:gd name="connsiteY5" fmla="*/ 27554 h 56082"/>
                  <a:gd name="connsiteX6" fmla="*/ 187329 w 210828"/>
                  <a:gd name="connsiteY6" fmla="*/ 48069 h 56082"/>
                  <a:gd name="connsiteX7" fmla="*/ 127299 w 210828"/>
                  <a:gd name="connsiteY7" fmla="*/ 48069 h 560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10828" h="56082">
                    <a:moveTo>
                      <a:pt x="0" y="56083"/>
                    </a:moveTo>
                    <a:lnTo>
                      <a:pt x="50160" y="9917"/>
                    </a:lnTo>
                    <a:cubicBezTo>
                      <a:pt x="74671" y="-6615"/>
                      <a:pt x="103728" y="2515"/>
                      <a:pt x="103728" y="2515"/>
                    </a:cubicBezTo>
                    <a:cubicBezTo>
                      <a:pt x="117805" y="6216"/>
                      <a:pt x="143937" y="7050"/>
                      <a:pt x="143937" y="7050"/>
                    </a:cubicBezTo>
                    <a:lnTo>
                      <a:pt x="187329" y="7050"/>
                    </a:lnTo>
                    <a:cubicBezTo>
                      <a:pt x="200254" y="7050"/>
                      <a:pt x="210829" y="16274"/>
                      <a:pt x="210829" y="27554"/>
                    </a:cubicBezTo>
                    <a:cubicBezTo>
                      <a:pt x="210829" y="38834"/>
                      <a:pt x="200254" y="48069"/>
                      <a:pt x="187329" y="48069"/>
                    </a:cubicBezTo>
                    <a:lnTo>
                      <a:pt x="127299" y="48069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272" name="Gráfico 13">
              <a:extLst>
                <a:ext uri="{FF2B5EF4-FFF2-40B4-BE49-F238E27FC236}">
                  <a16:creationId xmlns:a16="http://schemas.microsoft.com/office/drawing/2014/main" id="{9883A9F9-41D7-1B34-94B2-6ADACE6C4224}"/>
                </a:ext>
              </a:extLst>
            </p:cNvPr>
            <p:cNvGrpSpPr/>
            <p:nvPr/>
          </p:nvGrpSpPr>
          <p:grpSpPr>
            <a:xfrm>
              <a:off x="832017" y="5769303"/>
              <a:ext cx="175602" cy="175602"/>
              <a:chOff x="832017" y="5769303"/>
              <a:chExt cx="175602" cy="175602"/>
            </a:xfrm>
            <a:noFill/>
          </p:grpSpPr>
          <p:sp>
            <p:nvSpPr>
              <p:cNvPr id="1273" name="Forma livre: Forma 1272">
                <a:extLst>
                  <a:ext uri="{FF2B5EF4-FFF2-40B4-BE49-F238E27FC236}">
                    <a16:creationId xmlns:a16="http://schemas.microsoft.com/office/drawing/2014/main" id="{43AAF6FF-936D-97FA-3039-3D658A381748}"/>
                  </a:ext>
                </a:extLst>
              </p:cNvPr>
              <p:cNvSpPr/>
              <p:nvPr/>
            </p:nvSpPr>
            <p:spPr>
              <a:xfrm>
                <a:off x="832017" y="5769303"/>
                <a:ext cx="175602" cy="175602"/>
              </a:xfrm>
              <a:custGeom>
                <a:avLst/>
                <a:gdLst>
                  <a:gd name="connsiteX0" fmla="*/ 71393 w 175602"/>
                  <a:gd name="connsiteY0" fmla="*/ 23547 h 175602"/>
                  <a:gd name="connsiteX1" fmla="*/ 54061 w 175602"/>
                  <a:gd name="connsiteY1" fmla="*/ 30703 h 175602"/>
                  <a:gd name="connsiteX2" fmla="*/ 34568 w 175602"/>
                  <a:gd name="connsiteY2" fmla="*/ 16873 h 175602"/>
                  <a:gd name="connsiteX3" fmla="*/ 16849 w 175602"/>
                  <a:gd name="connsiteY3" fmla="*/ 34580 h 175602"/>
                  <a:gd name="connsiteX4" fmla="*/ 30679 w 175602"/>
                  <a:gd name="connsiteY4" fmla="*/ 54073 h 175602"/>
                  <a:gd name="connsiteX5" fmla="*/ 23559 w 175602"/>
                  <a:gd name="connsiteY5" fmla="*/ 71275 h 175602"/>
                  <a:gd name="connsiteX6" fmla="*/ 0 w 175602"/>
                  <a:gd name="connsiteY6" fmla="*/ 75282 h 175602"/>
                  <a:gd name="connsiteX7" fmla="*/ 0 w 175602"/>
                  <a:gd name="connsiteY7" fmla="*/ 100333 h 175602"/>
                  <a:gd name="connsiteX8" fmla="*/ 23559 w 175602"/>
                  <a:gd name="connsiteY8" fmla="*/ 104339 h 175602"/>
                  <a:gd name="connsiteX9" fmla="*/ 30761 w 175602"/>
                  <a:gd name="connsiteY9" fmla="*/ 121659 h 175602"/>
                  <a:gd name="connsiteX10" fmla="*/ 16861 w 175602"/>
                  <a:gd name="connsiteY10" fmla="*/ 141023 h 175602"/>
                  <a:gd name="connsiteX11" fmla="*/ 34580 w 175602"/>
                  <a:gd name="connsiteY11" fmla="*/ 158742 h 175602"/>
                  <a:gd name="connsiteX12" fmla="*/ 53956 w 175602"/>
                  <a:gd name="connsiteY12" fmla="*/ 144830 h 175602"/>
                  <a:gd name="connsiteX13" fmla="*/ 71263 w 175602"/>
                  <a:gd name="connsiteY13" fmla="*/ 152021 h 175602"/>
                  <a:gd name="connsiteX14" fmla="*/ 75270 w 175602"/>
                  <a:gd name="connsiteY14" fmla="*/ 175603 h 175602"/>
                  <a:gd name="connsiteX15" fmla="*/ 100321 w 175602"/>
                  <a:gd name="connsiteY15" fmla="*/ 175603 h 175602"/>
                  <a:gd name="connsiteX16" fmla="*/ 104339 w 175602"/>
                  <a:gd name="connsiteY16" fmla="*/ 152032 h 175602"/>
                  <a:gd name="connsiteX17" fmla="*/ 121659 w 175602"/>
                  <a:gd name="connsiteY17" fmla="*/ 144841 h 175602"/>
                  <a:gd name="connsiteX18" fmla="*/ 141034 w 175602"/>
                  <a:gd name="connsiteY18" fmla="*/ 158753 h 175602"/>
                  <a:gd name="connsiteX19" fmla="*/ 158753 w 175602"/>
                  <a:gd name="connsiteY19" fmla="*/ 141034 h 175602"/>
                  <a:gd name="connsiteX20" fmla="*/ 144841 w 175602"/>
                  <a:gd name="connsiteY20" fmla="*/ 121671 h 175602"/>
                  <a:gd name="connsiteX21" fmla="*/ 152079 w 175602"/>
                  <a:gd name="connsiteY21" fmla="*/ 104198 h 175602"/>
                  <a:gd name="connsiteX22" fmla="*/ 175603 w 175602"/>
                  <a:gd name="connsiteY22" fmla="*/ 100333 h 175602"/>
                  <a:gd name="connsiteX23" fmla="*/ 175603 w 175602"/>
                  <a:gd name="connsiteY23" fmla="*/ 75282 h 175602"/>
                  <a:gd name="connsiteX24" fmla="*/ 152079 w 175602"/>
                  <a:gd name="connsiteY24" fmla="*/ 71404 h 175602"/>
                  <a:gd name="connsiteX25" fmla="*/ 144924 w 175602"/>
                  <a:gd name="connsiteY25" fmla="*/ 54061 h 175602"/>
                  <a:gd name="connsiteX26" fmla="*/ 158753 w 175602"/>
                  <a:gd name="connsiteY26" fmla="*/ 34580 h 175602"/>
                  <a:gd name="connsiteX27" fmla="*/ 141034 w 175602"/>
                  <a:gd name="connsiteY27" fmla="*/ 16861 h 175602"/>
                  <a:gd name="connsiteX28" fmla="*/ 121541 w 175602"/>
                  <a:gd name="connsiteY28" fmla="*/ 30691 h 175602"/>
                  <a:gd name="connsiteX29" fmla="*/ 104198 w 175602"/>
                  <a:gd name="connsiteY29" fmla="*/ 23535 h 175602"/>
                  <a:gd name="connsiteX30" fmla="*/ 100333 w 175602"/>
                  <a:gd name="connsiteY30" fmla="*/ 0 h 175602"/>
                  <a:gd name="connsiteX31" fmla="*/ 75282 w 175602"/>
                  <a:gd name="connsiteY31" fmla="*/ 0 h 1756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</a:cxnLst>
                <a:rect l="l" t="t" r="r" b="b"/>
                <a:pathLst>
                  <a:path w="175602" h="175602">
                    <a:moveTo>
                      <a:pt x="71393" y="23547"/>
                    </a:moveTo>
                    <a:cubicBezTo>
                      <a:pt x="65224" y="25121"/>
                      <a:pt x="59396" y="27542"/>
                      <a:pt x="54061" y="30703"/>
                    </a:cubicBezTo>
                    <a:lnTo>
                      <a:pt x="34568" y="16873"/>
                    </a:lnTo>
                    <a:lnTo>
                      <a:pt x="16849" y="34580"/>
                    </a:lnTo>
                    <a:lnTo>
                      <a:pt x="30679" y="54073"/>
                    </a:lnTo>
                    <a:cubicBezTo>
                      <a:pt x="27542" y="59384"/>
                      <a:pt x="25121" y="65153"/>
                      <a:pt x="23559" y="71275"/>
                    </a:cubicBezTo>
                    <a:lnTo>
                      <a:pt x="0" y="75282"/>
                    </a:lnTo>
                    <a:lnTo>
                      <a:pt x="0" y="100333"/>
                    </a:lnTo>
                    <a:lnTo>
                      <a:pt x="23559" y="104339"/>
                    </a:lnTo>
                    <a:cubicBezTo>
                      <a:pt x="25145" y="110508"/>
                      <a:pt x="27577" y="116324"/>
                      <a:pt x="30761" y="121659"/>
                    </a:cubicBezTo>
                    <a:lnTo>
                      <a:pt x="16861" y="141023"/>
                    </a:lnTo>
                    <a:lnTo>
                      <a:pt x="34580" y="158742"/>
                    </a:lnTo>
                    <a:lnTo>
                      <a:pt x="53956" y="144830"/>
                    </a:lnTo>
                    <a:cubicBezTo>
                      <a:pt x="59290" y="148014"/>
                      <a:pt x="65095" y="150446"/>
                      <a:pt x="71263" y="152021"/>
                    </a:cubicBezTo>
                    <a:lnTo>
                      <a:pt x="75270" y="175603"/>
                    </a:lnTo>
                    <a:lnTo>
                      <a:pt x="100321" y="175603"/>
                    </a:lnTo>
                    <a:lnTo>
                      <a:pt x="104339" y="152032"/>
                    </a:lnTo>
                    <a:cubicBezTo>
                      <a:pt x="110508" y="150446"/>
                      <a:pt x="116313" y="148014"/>
                      <a:pt x="121659" y="144841"/>
                    </a:cubicBezTo>
                    <a:lnTo>
                      <a:pt x="141034" y="158753"/>
                    </a:lnTo>
                    <a:lnTo>
                      <a:pt x="158753" y="141034"/>
                    </a:lnTo>
                    <a:lnTo>
                      <a:pt x="144841" y="121671"/>
                    </a:lnTo>
                    <a:cubicBezTo>
                      <a:pt x="148049" y="116289"/>
                      <a:pt x="150493" y="110426"/>
                      <a:pt x="152079" y="104198"/>
                    </a:cubicBezTo>
                    <a:lnTo>
                      <a:pt x="175603" y="100333"/>
                    </a:lnTo>
                    <a:lnTo>
                      <a:pt x="175603" y="75282"/>
                    </a:lnTo>
                    <a:lnTo>
                      <a:pt x="152079" y="71404"/>
                    </a:lnTo>
                    <a:cubicBezTo>
                      <a:pt x="150517" y="65236"/>
                      <a:pt x="148096" y="59419"/>
                      <a:pt x="144924" y="54061"/>
                    </a:cubicBezTo>
                    <a:lnTo>
                      <a:pt x="158753" y="34580"/>
                    </a:lnTo>
                    <a:lnTo>
                      <a:pt x="141034" y="16861"/>
                    </a:lnTo>
                    <a:lnTo>
                      <a:pt x="121541" y="30691"/>
                    </a:lnTo>
                    <a:cubicBezTo>
                      <a:pt x="116195" y="27518"/>
                      <a:pt x="110367" y="25110"/>
                      <a:pt x="104198" y="23535"/>
                    </a:cubicBezTo>
                    <a:lnTo>
                      <a:pt x="100333" y="0"/>
                    </a:lnTo>
                    <a:lnTo>
                      <a:pt x="75282" y="0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74" name="Forma livre: Forma 1273">
                <a:extLst>
                  <a:ext uri="{FF2B5EF4-FFF2-40B4-BE49-F238E27FC236}">
                    <a16:creationId xmlns:a16="http://schemas.microsoft.com/office/drawing/2014/main" id="{BC46D963-2432-01B1-CB92-4D6133A4F2F8}"/>
                  </a:ext>
                </a:extLst>
              </p:cNvPr>
              <p:cNvSpPr/>
              <p:nvPr/>
            </p:nvSpPr>
            <p:spPr>
              <a:xfrm>
                <a:off x="894151" y="5831448"/>
                <a:ext cx="51323" cy="51323"/>
              </a:xfrm>
              <a:custGeom>
                <a:avLst/>
                <a:gdLst>
                  <a:gd name="connsiteX0" fmla="*/ 19011 w 51323"/>
                  <a:gd name="connsiteY0" fmla="*/ 881 h 51323"/>
                  <a:gd name="connsiteX1" fmla="*/ 25662 w 51323"/>
                  <a:gd name="connsiteY1" fmla="*/ 0 h 51323"/>
                  <a:gd name="connsiteX2" fmla="*/ 51324 w 51323"/>
                  <a:gd name="connsiteY2" fmla="*/ 25662 h 51323"/>
                  <a:gd name="connsiteX3" fmla="*/ 25662 w 51323"/>
                  <a:gd name="connsiteY3" fmla="*/ 51324 h 51323"/>
                  <a:gd name="connsiteX4" fmla="*/ 0 w 51323"/>
                  <a:gd name="connsiteY4" fmla="*/ 25662 h 51323"/>
                  <a:gd name="connsiteX5" fmla="*/ 975 w 51323"/>
                  <a:gd name="connsiteY5" fmla="*/ 18624 h 513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51323" h="51323">
                    <a:moveTo>
                      <a:pt x="19011" y="881"/>
                    </a:moveTo>
                    <a:cubicBezTo>
                      <a:pt x="21126" y="317"/>
                      <a:pt x="23359" y="12"/>
                      <a:pt x="25662" y="0"/>
                    </a:cubicBezTo>
                    <a:cubicBezTo>
                      <a:pt x="39832" y="0"/>
                      <a:pt x="51324" y="11491"/>
                      <a:pt x="51324" y="25662"/>
                    </a:cubicBezTo>
                    <a:cubicBezTo>
                      <a:pt x="51324" y="39832"/>
                      <a:pt x="39832" y="51324"/>
                      <a:pt x="25662" y="51324"/>
                    </a:cubicBezTo>
                    <a:cubicBezTo>
                      <a:pt x="11491" y="51324"/>
                      <a:pt x="0" y="39832"/>
                      <a:pt x="0" y="25662"/>
                    </a:cubicBezTo>
                    <a:cubicBezTo>
                      <a:pt x="0" y="23218"/>
                      <a:pt x="341" y="20856"/>
                      <a:pt x="975" y="18624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275" name="Gráfico 13">
            <a:extLst>
              <a:ext uri="{FF2B5EF4-FFF2-40B4-BE49-F238E27FC236}">
                <a16:creationId xmlns:a16="http://schemas.microsoft.com/office/drawing/2014/main" id="{E69E4714-1207-0A8E-222D-106696D94D36}"/>
              </a:ext>
            </a:extLst>
          </p:cNvPr>
          <p:cNvGrpSpPr/>
          <p:nvPr/>
        </p:nvGrpSpPr>
        <p:grpSpPr>
          <a:xfrm>
            <a:off x="775994" y="5266324"/>
            <a:ext cx="266018" cy="274419"/>
            <a:chOff x="775994" y="5266324"/>
            <a:chExt cx="266018" cy="274419"/>
          </a:xfrm>
          <a:noFill/>
        </p:grpSpPr>
        <p:grpSp>
          <p:nvGrpSpPr>
            <p:cNvPr id="1276" name="Gráfico 13">
              <a:extLst>
                <a:ext uri="{FF2B5EF4-FFF2-40B4-BE49-F238E27FC236}">
                  <a16:creationId xmlns:a16="http://schemas.microsoft.com/office/drawing/2014/main" id="{913886E2-B72A-097E-8B35-71307B0AE541}"/>
                </a:ext>
              </a:extLst>
            </p:cNvPr>
            <p:cNvGrpSpPr/>
            <p:nvPr/>
          </p:nvGrpSpPr>
          <p:grpSpPr>
            <a:xfrm>
              <a:off x="839902" y="5297273"/>
              <a:ext cx="138190" cy="138190"/>
              <a:chOff x="839902" y="5297273"/>
              <a:chExt cx="138190" cy="138190"/>
            </a:xfrm>
            <a:noFill/>
          </p:grpSpPr>
          <p:sp>
            <p:nvSpPr>
              <p:cNvPr id="1277" name="Forma livre: Forma 1276">
                <a:extLst>
                  <a:ext uri="{FF2B5EF4-FFF2-40B4-BE49-F238E27FC236}">
                    <a16:creationId xmlns:a16="http://schemas.microsoft.com/office/drawing/2014/main" id="{1DEA3E21-3281-69D0-5301-BA721B07B397}"/>
                  </a:ext>
                </a:extLst>
              </p:cNvPr>
              <p:cNvSpPr/>
              <p:nvPr/>
            </p:nvSpPr>
            <p:spPr>
              <a:xfrm>
                <a:off x="839902" y="5297273"/>
                <a:ext cx="138190" cy="138190"/>
              </a:xfrm>
              <a:custGeom>
                <a:avLst/>
                <a:gdLst>
                  <a:gd name="connsiteX0" fmla="*/ 56188 w 138190"/>
                  <a:gd name="connsiteY0" fmla="*/ 18530 h 138190"/>
                  <a:gd name="connsiteX1" fmla="*/ 42546 w 138190"/>
                  <a:gd name="connsiteY1" fmla="*/ 24158 h 138190"/>
                  <a:gd name="connsiteX2" fmla="*/ 27201 w 138190"/>
                  <a:gd name="connsiteY2" fmla="*/ 13289 h 138190"/>
                  <a:gd name="connsiteX3" fmla="*/ 13266 w 138190"/>
                  <a:gd name="connsiteY3" fmla="*/ 27213 h 138190"/>
                  <a:gd name="connsiteX4" fmla="*/ 24146 w 138190"/>
                  <a:gd name="connsiteY4" fmla="*/ 42558 h 138190"/>
                  <a:gd name="connsiteX5" fmla="*/ 18541 w 138190"/>
                  <a:gd name="connsiteY5" fmla="*/ 56094 h 138190"/>
                  <a:gd name="connsiteX6" fmla="*/ 0 w 138190"/>
                  <a:gd name="connsiteY6" fmla="*/ 59243 h 138190"/>
                  <a:gd name="connsiteX7" fmla="*/ 0 w 138190"/>
                  <a:gd name="connsiteY7" fmla="*/ 78960 h 138190"/>
                  <a:gd name="connsiteX8" fmla="*/ 18541 w 138190"/>
                  <a:gd name="connsiteY8" fmla="*/ 82109 h 138190"/>
                  <a:gd name="connsiteX9" fmla="*/ 24205 w 138190"/>
                  <a:gd name="connsiteY9" fmla="*/ 95738 h 138190"/>
                  <a:gd name="connsiteX10" fmla="*/ 13266 w 138190"/>
                  <a:gd name="connsiteY10" fmla="*/ 110978 h 138190"/>
                  <a:gd name="connsiteX11" fmla="*/ 27201 w 138190"/>
                  <a:gd name="connsiteY11" fmla="*/ 124925 h 138190"/>
                  <a:gd name="connsiteX12" fmla="*/ 42452 w 138190"/>
                  <a:gd name="connsiteY12" fmla="*/ 113974 h 138190"/>
                  <a:gd name="connsiteX13" fmla="*/ 56071 w 138190"/>
                  <a:gd name="connsiteY13" fmla="*/ 119638 h 138190"/>
                  <a:gd name="connsiteX14" fmla="*/ 59231 w 138190"/>
                  <a:gd name="connsiteY14" fmla="*/ 138191 h 138190"/>
                  <a:gd name="connsiteX15" fmla="*/ 78948 w 138190"/>
                  <a:gd name="connsiteY15" fmla="*/ 138191 h 138190"/>
                  <a:gd name="connsiteX16" fmla="*/ 82108 w 138190"/>
                  <a:gd name="connsiteY16" fmla="*/ 119650 h 138190"/>
                  <a:gd name="connsiteX17" fmla="*/ 95750 w 138190"/>
                  <a:gd name="connsiteY17" fmla="*/ 113974 h 138190"/>
                  <a:gd name="connsiteX18" fmla="*/ 110990 w 138190"/>
                  <a:gd name="connsiteY18" fmla="*/ 124925 h 138190"/>
                  <a:gd name="connsiteX19" fmla="*/ 124925 w 138190"/>
                  <a:gd name="connsiteY19" fmla="*/ 110978 h 138190"/>
                  <a:gd name="connsiteX20" fmla="*/ 113986 w 138190"/>
                  <a:gd name="connsiteY20" fmla="*/ 95750 h 138190"/>
                  <a:gd name="connsiteX21" fmla="*/ 119685 w 138190"/>
                  <a:gd name="connsiteY21" fmla="*/ 82003 h 138190"/>
                  <a:gd name="connsiteX22" fmla="*/ 138191 w 138190"/>
                  <a:gd name="connsiteY22" fmla="*/ 78960 h 138190"/>
                  <a:gd name="connsiteX23" fmla="*/ 138191 w 138190"/>
                  <a:gd name="connsiteY23" fmla="*/ 59243 h 138190"/>
                  <a:gd name="connsiteX24" fmla="*/ 119685 w 138190"/>
                  <a:gd name="connsiteY24" fmla="*/ 56188 h 138190"/>
                  <a:gd name="connsiteX25" fmla="*/ 114057 w 138190"/>
                  <a:gd name="connsiteY25" fmla="*/ 42547 h 138190"/>
                  <a:gd name="connsiteX26" fmla="*/ 124937 w 138190"/>
                  <a:gd name="connsiteY26" fmla="*/ 27213 h 138190"/>
                  <a:gd name="connsiteX27" fmla="*/ 111002 w 138190"/>
                  <a:gd name="connsiteY27" fmla="*/ 13277 h 138190"/>
                  <a:gd name="connsiteX28" fmla="*/ 95656 w 138190"/>
                  <a:gd name="connsiteY28" fmla="*/ 24146 h 138190"/>
                  <a:gd name="connsiteX29" fmla="*/ 82014 w 138190"/>
                  <a:gd name="connsiteY29" fmla="*/ 18506 h 138190"/>
                  <a:gd name="connsiteX30" fmla="*/ 78971 w 138190"/>
                  <a:gd name="connsiteY30" fmla="*/ 0 h 138190"/>
                  <a:gd name="connsiteX31" fmla="*/ 59255 w 138190"/>
                  <a:gd name="connsiteY31" fmla="*/ 0 h 1381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</a:cxnLst>
                <a:rect l="l" t="t" r="r" b="b"/>
                <a:pathLst>
                  <a:path w="138190" h="138190">
                    <a:moveTo>
                      <a:pt x="56188" y="18530"/>
                    </a:moveTo>
                    <a:cubicBezTo>
                      <a:pt x="51335" y="19763"/>
                      <a:pt x="46753" y="21667"/>
                      <a:pt x="42546" y="24158"/>
                    </a:cubicBezTo>
                    <a:lnTo>
                      <a:pt x="27201" y="13289"/>
                    </a:lnTo>
                    <a:lnTo>
                      <a:pt x="13266" y="27213"/>
                    </a:lnTo>
                    <a:lnTo>
                      <a:pt x="24146" y="42558"/>
                    </a:lnTo>
                    <a:cubicBezTo>
                      <a:pt x="21667" y="46729"/>
                      <a:pt x="19775" y="51277"/>
                      <a:pt x="18541" y="56094"/>
                    </a:cubicBezTo>
                    <a:lnTo>
                      <a:pt x="0" y="59243"/>
                    </a:lnTo>
                    <a:lnTo>
                      <a:pt x="0" y="78960"/>
                    </a:lnTo>
                    <a:lnTo>
                      <a:pt x="18541" y="82109"/>
                    </a:lnTo>
                    <a:cubicBezTo>
                      <a:pt x="19787" y="86961"/>
                      <a:pt x="21702" y="91532"/>
                      <a:pt x="24205" y="95738"/>
                    </a:cubicBezTo>
                    <a:lnTo>
                      <a:pt x="13266" y="110978"/>
                    </a:lnTo>
                    <a:lnTo>
                      <a:pt x="27201" y="124925"/>
                    </a:lnTo>
                    <a:lnTo>
                      <a:pt x="42452" y="113974"/>
                    </a:lnTo>
                    <a:cubicBezTo>
                      <a:pt x="46659" y="116465"/>
                      <a:pt x="51230" y="118404"/>
                      <a:pt x="56071" y="119638"/>
                    </a:cubicBezTo>
                    <a:lnTo>
                      <a:pt x="59231" y="138191"/>
                    </a:lnTo>
                    <a:lnTo>
                      <a:pt x="78948" y="138191"/>
                    </a:lnTo>
                    <a:lnTo>
                      <a:pt x="82108" y="119650"/>
                    </a:lnTo>
                    <a:cubicBezTo>
                      <a:pt x="86961" y="118404"/>
                      <a:pt x="91532" y="116465"/>
                      <a:pt x="95750" y="113974"/>
                    </a:cubicBezTo>
                    <a:lnTo>
                      <a:pt x="110990" y="124925"/>
                    </a:lnTo>
                    <a:lnTo>
                      <a:pt x="124925" y="110978"/>
                    </a:lnTo>
                    <a:lnTo>
                      <a:pt x="113986" y="95750"/>
                    </a:lnTo>
                    <a:cubicBezTo>
                      <a:pt x="116500" y="91508"/>
                      <a:pt x="118439" y="86891"/>
                      <a:pt x="119685" y="82003"/>
                    </a:cubicBezTo>
                    <a:lnTo>
                      <a:pt x="138191" y="78960"/>
                    </a:lnTo>
                    <a:lnTo>
                      <a:pt x="138191" y="59243"/>
                    </a:lnTo>
                    <a:lnTo>
                      <a:pt x="119685" y="56188"/>
                    </a:lnTo>
                    <a:cubicBezTo>
                      <a:pt x="118451" y="51336"/>
                      <a:pt x="116548" y="46765"/>
                      <a:pt x="114057" y="42547"/>
                    </a:cubicBezTo>
                    <a:lnTo>
                      <a:pt x="124937" y="27213"/>
                    </a:lnTo>
                    <a:lnTo>
                      <a:pt x="111002" y="13277"/>
                    </a:lnTo>
                    <a:lnTo>
                      <a:pt x="95656" y="24146"/>
                    </a:lnTo>
                    <a:cubicBezTo>
                      <a:pt x="91450" y="21655"/>
                      <a:pt x="86867" y="19752"/>
                      <a:pt x="82014" y="18506"/>
                    </a:cubicBezTo>
                    <a:lnTo>
                      <a:pt x="78971" y="0"/>
                    </a:lnTo>
                    <a:lnTo>
                      <a:pt x="59255" y="0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78" name="Forma livre: Forma 1277">
                <a:extLst>
                  <a:ext uri="{FF2B5EF4-FFF2-40B4-BE49-F238E27FC236}">
                    <a16:creationId xmlns:a16="http://schemas.microsoft.com/office/drawing/2014/main" id="{EA7A6FE5-21CA-71C2-954C-1271784A61D6}"/>
                  </a:ext>
                </a:extLst>
              </p:cNvPr>
              <p:cNvSpPr/>
              <p:nvPr/>
            </p:nvSpPr>
            <p:spPr>
              <a:xfrm>
                <a:off x="888805" y="5346176"/>
                <a:ext cx="40396" cy="40384"/>
              </a:xfrm>
              <a:custGeom>
                <a:avLst/>
                <a:gdLst>
                  <a:gd name="connsiteX0" fmla="*/ 16520 w 40396"/>
                  <a:gd name="connsiteY0" fmla="*/ 341 h 40384"/>
                  <a:gd name="connsiteX1" fmla="*/ 20210 w 40396"/>
                  <a:gd name="connsiteY1" fmla="*/ 0 h 40384"/>
                  <a:gd name="connsiteX2" fmla="*/ 40396 w 40396"/>
                  <a:gd name="connsiteY2" fmla="*/ 20198 h 40384"/>
                  <a:gd name="connsiteX3" fmla="*/ 20210 w 40396"/>
                  <a:gd name="connsiteY3" fmla="*/ 40384 h 40384"/>
                  <a:gd name="connsiteX4" fmla="*/ 0 w 40396"/>
                  <a:gd name="connsiteY4" fmla="*/ 20198 h 40384"/>
                  <a:gd name="connsiteX5" fmla="*/ 306 w 40396"/>
                  <a:gd name="connsiteY5" fmla="*/ 16673 h 403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40396" h="40384">
                    <a:moveTo>
                      <a:pt x="16520" y="341"/>
                    </a:moveTo>
                    <a:cubicBezTo>
                      <a:pt x="17719" y="129"/>
                      <a:pt x="18941" y="0"/>
                      <a:pt x="20210" y="0"/>
                    </a:cubicBezTo>
                    <a:cubicBezTo>
                      <a:pt x="31361" y="0"/>
                      <a:pt x="40396" y="9036"/>
                      <a:pt x="40396" y="20198"/>
                    </a:cubicBezTo>
                    <a:cubicBezTo>
                      <a:pt x="40396" y="31361"/>
                      <a:pt x="31361" y="40384"/>
                      <a:pt x="20210" y="40384"/>
                    </a:cubicBezTo>
                    <a:cubicBezTo>
                      <a:pt x="9059" y="40384"/>
                      <a:pt x="0" y="31337"/>
                      <a:pt x="0" y="20198"/>
                    </a:cubicBezTo>
                    <a:cubicBezTo>
                      <a:pt x="0" y="19000"/>
                      <a:pt x="106" y="17825"/>
                      <a:pt x="306" y="16673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279" name="Forma livre: Forma 1278">
              <a:extLst>
                <a:ext uri="{FF2B5EF4-FFF2-40B4-BE49-F238E27FC236}">
                  <a16:creationId xmlns:a16="http://schemas.microsoft.com/office/drawing/2014/main" id="{8450773A-CB42-F5D6-4A26-13345505E2A1}"/>
                </a:ext>
              </a:extLst>
            </p:cNvPr>
            <p:cNvSpPr/>
            <p:nvPr/>
          </p:nvSpPr>
          <p:spPr>
            <a:xfrm>
              <a:off x="775994" y="5266324"/>
              <a:ext cx="266018" cy="274419"/>
            </a:xfrm>
            <a:custGeom>
              <a:avLst/>
              <a:gdLst>
                <a:gd name="connsiteX0" fmla="*/ 159999 w 266018"/>
                <a:gd name="connsiteY0" fmla="*/ 201065 h 274419"/>
                <a:gd name="connsiteX1" fmla="*/ 241155 w 266018"/>
                <a:gd name="connsiteY1" fmla="*/ 201065 h 274419"/>
                <a:gd name="connsiteX2" fmla="*/ 266018 w 266018"/>
                <a:gd name="connsiteY2" fmla="*/ 176202 h 274419"/>
                <a:gd name="connsiteX3" fmla="*/ 266018 w 266018"/>
                <a:gd name="connsiteY3" fmla="*/ 24863 h 274419"/>
                <a:gd name="connsiteX4" fmla="*/ 241155 w 266018"/>
                <a:gd name="connsiteY4" fmla="*/ 0 h 274419"/>
                <a:gd name="connsiteX5" fmla="*/ 24851 w 266018"/>
                <a:gd name="connsiteY5" fmla="*/ 0 h 274419"/>
                <a:gd name="connsiteX6" fmla="*/ 0 w 266018"/>
                <a:gd name="connsiteY6" fmla="*/ 24863 h 274419"/>
                <a:gd name="connsiteX7" fmla="*/ 0 w 266018"/>
                <a:gd name="connsiteY7" fmla="*/ 176202 h 274419"/>
                <a:gd name="connsiteX8" fmla="*/ 24851 w 266018"/>
                <a:gd name="connsiteY8" fmla="*/ 201065 h 274419"/>
                <a:gd name="connsiteX9" fmla="*/ 59396 w 266018"/>
                <a:gd name="connsiteY9" fmla="*/ 201065 h 274419"/>
                <a:gd name="connsiteX10" fmla="*/ 59396 w 266018"/>
                <a:gd name="connsiteY10" fmla="*/ 274420 h 274419"/>
                <a:gd name="connsiteX11" fmla="*/ 125278 w 266018"/>
                <a:gd name="connsiteY11" fmla="*/ 201065 h 2744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66018" h="274419">
                  <a:moveTo>
                    <a:pt x="159999" y="201065"/>
                  </a:moveTo>
                  <a:lnTo>
                    <a:pt x="241155" y="201065"/>
                  </a:lnTo>
                  <a:cubicBezTo>
                    <a:pt x="254832" y="201065"/>
                    <a:pt x="266018" y="189879"/>
                    <a:pt x="266018" y="176202"/>
                  </a:cubicBezTo>
                  <a:lnTo>
                    <a:pt x="266018" y="24863"/>
                  </a:lnTo>
                  <a:cubicBezTo>
                    <a:pt x="266018" y="11186"/>
                    <a:pt x="254832" y="0"/>
                    <a:pt x="241155" y="0"/>
                  </a:cubicBezTo>
                  <a:lnTo>
                    <a:pt x="24851" y="0"/>
                  </a:lnTo>
                  <a:cubicBezTo>
                    <a:pt x="11174" y="0"/>
                    <a:pt x="0" y="11186"/>
                    <a:pt x="0" y="24863"/>
                  </a:cubicBezTo>
                  <a:lnTo>
                    <a:pt x="0" y="176202"/>
                  </a:lnTo>
                  <a:cubicBezTo>
                    <a:pt x="0" y="189867"/>
                    <a:pt x="11186" y="201065"/>
                    <a:pt x="24851" y="201065"/>
                  </a:cubicBezTo>
                  <a:lnTo>
                    <a:pt x="59396" y="201065"/>
                  </a:lnTo>
                  <a:lnTo>
                    <a:pt x="59396" y="274420"/>
                  </a:lnTo>
                  <a:lnTo>
                    <a:pt x="125278" y="201065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280" name="Gráfico 13">
            <a:extLst>
              <a:ext uri="{FF2B5EF4-FFF2-40B4-BE49-F238E27FC236}">
                <a16:creationId xmlns:a16="http://schemas.microsoft.com/office/drawing/2014/main" id="{2117852E-7A3B-C2C4-F0C4-C1623B010A16}"/>
              </a:ext>
            </a:extLst>
          </p:cNvPr>
          <p:cNvGrpSpPr/>
          <p:nvPr/>
        </p:nvGrpSpPr>
        <p:grpSpPr>
          <a:xfrm>
            <a:off x="2000794" y="3683456"/>
            <a:ext cx="263268" cy="300821"/>
            <a:chOff x="2000794" y="3683456"/>
            <a:chExt cx="263268" cy="300821"/>
          </a:xfrm>
          <a:noFill/>
        </p:grpSpPr>
        <p:grpSp>
          <p:nvGrpSpPr>
            <p:cNvPr id="1281" name="Gráfico 13">
              <a:extLst>
                <a:ext uri="{FF2B5EF4-FFF2-40B4-BE49-F238E27FC236}">
                  <a16:creationId xmlns:a16="http://schemas.microsoft.com/office/drawing/2014/main" id="{CC5A7098-5A70-48D0-BB51-6331A260DF04}"/>
                </a:ext>
              </a:extLst>
            </p:cNvPr>
            <p:cNvGrpSpPr/>
            <p:nvPr/>
          </p:nvGrpSpPr>
          <p:grpSpPr>
            <a:xfrm>
              <a:off x="2059109" y="3683456"/>
              <a:ext cx="147062" cy="172007"/>
              <a:chOff x="2059109" y="3683456"/>
              <a:chExt cx="147062" cy="172007"/>
            </a:xfrm>
            <a:noFill/>
          </p:grpSpPr>
          <p:grpSp>
            <p:nvGrpSpPr>
              <p:cNvPr id="1282" name="Gráfico 13">
                <a:extLst>
                  <a:ext uri="{FF2B5EF4-FFF2-40B4-BE49-F238E27FC236}">
                    <a16:creationId xmlns:a16="http://schemas.microsoft.com/office/drawing/2014/main" id="{677F3FA5-750D-CE94-2F35-35ED91CD9B36}"/>
                  </a:ext>
                </a:extLst>
              </p:cNvPr>
              <p:cNvGrpSpPr/>
              <p:nvPr/>
            </p:nvGrpSpPr>
            <p:grpSpPr>
              <a:xfrm>
                <a:off x="2065900" y="3694477"/>
                <a:ext cx="133455" cy="76445"/>
                <a:chOff x="2065900" y="3694477"/>
                <a:chExt cx="133455" cy="76445"/>
              </a:xfrm>
              <a:noFill/>
            </p:grpSpPr>
            <p:sp>
              <p:nvSpPr>
                <p:cNvPr id="1283" name="Forma livre: Forma 1282">
                  <a:extLst>
                    <a:ext uri="{FF2B5EF4-FFF2-40B4-BE49-F238E27FC236}">
                      <a16:creationId xmlns:a16="http://schemas.microsoft.com/office/drawing/2014/main" id="{BD2C5632-7AF5-740B-8DDC-9BAAF83B4703}"/>
                    </a:ext>
                  </a:extLst>
                </p:cNvPr>
                <p:cNvSpPr/>
                <p:nvPr/>
              </p:nvSpPr>
              <p:spPr>
                <a:xfrm>
                  <a:off x="2065900" y="3694477"/>
                  <a:ext cx="51499" cy="76445"/>
                </a:xfrm>
                <a:custGeom>
                  <a:avLst/>
                  <a:gdLst>
                    <a:gd name="connsiteX0" fmla="*/ 51500 w 51499"/>
                    <a:gd name="connsiteY0" fmla="*/ 0 h 76445"/>
                    <a:gd name="connsiteX1" fmla="*/ 8425 w 51499"/>
                    <a:gd name="connsiteY1" fmla="*/ 60700 h 76445"/>
                    <a:gd name="connsiteX2" fmla="*/ 0 w 51499"/>
                    <a:gd name="connsiteY2" fmla="*/ 76445 h 7644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51499" h="76445">
                      <a:moveTo>
                        <a:pt x="51500" y="0"/>
                      </a:moveTo>
                      <a:cubicBezTo>
                        <a:pt x="34404" y="3971"/>
                        <a:pt x="8425" y="17155"/>
                        <a:pt x="8425" y="60700"/>
                      </a:cubicBezTo>
                      <a:cubicBezTo>
                        <a:pt x="8425" y="66446"/>
                        <a:pt x="7203" y="72932"/>
                        <a:pt x="0" y="76445"/>
                      </a:cubicBez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284" name="Forma livre: Forma 1283">
                  <a:extLst>
                    <a:ext uri="{FF2B5EF4-FFF2-40B4-BE49-F238E27FC236}">
                      <a16:creationId xmlns:a16="http://schemas.microsoft.com/office/drawing/2014/main" id="{241C1A80-9A22-57EE-07DE-34B2D91A3D5B}"/>
                    </a:ext>
                  </a:extLst>
                </p:cNvPr>
                <p:cNvSpPr/>
                <p:nvPr/>
              </p:nvSpPr>
              <p:spPr>
                <a:xfrm>
                  <a:off x="2147856" y="3694477"/>
                  <a:ext cx="51499" cy="76445"/>
                </a:xfrm>
                <a:custGeom>
                  <a:avLst/>
                  <a:gdLst>
                    <a:gd name="connsiteX0" fmla="*/ 0 w 51499"/>
                    <a:gd name="connsiteY0" fmla="*/ 0 h 76445"/>
                    <a:gd name="connsiteX1" fmla="*/ 43075 w 51499"/>
                    <a:gd name="connsiteY1" fmla="*/ 60700 h 76445"/>
                    <a:gd name="connsiteX2" fmla="*/ 51500 w 51499"/>
                    <a:gd name="connsiteY2" fmla="*/ 76445 h 7644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51499" h="76445">
                      <a:moveTo>
                        <a:pt x="0" y="0"/>
                      </a:moveTo>
                      <a:cubicBezTo>
                        <a:pt x="17096" y="3971"/>
                        <a:pt x="43075" y="17155"/>
                        <a:pt x="43075" y="60700"/>
                      </a:cubicBezTo>
                      <a:cubicBezTo>
                        <a:pt x="43075" y="66446"/>
                        <a:pt x="44297" y="72932"/>
                        <a:pt x="51500" y="76445"/>
                      </a:cubicBez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1285" name="Forma livre: Forma 1284">
                <a:extLst>
                  <a:ext uri="{FF2B5EF4-FFF2-40B4-BE49-F238E27FC236}">
                    <a16:creationId xmlns:a16="http://schemas.microsoft.com/office/drawing/2014/main" id="{FD22691D-56C8-CB4D-A599-6AED86B3BC8E}"/>
                  </a:ext>
                </a:extLst>
              </p:cNvPr>
              <p:cNvSpPr/>
              <p:nvPr/>
            </p:nvSpPr>
            <p:spPr>
              <a:xfrm>
                <a:off x="2114956" y="3683456"/>
                <a:ext cx="35343" cy="67667"/>
              </a:xfrm>
              <a:custGeom>
                <a:avLst/>
                <a:gdLst>
                  <a:gd name="connsiteX0" fmla="*/ 0 w 35343"/>
                  <a:gd name="connsiteY0" fmla="*/ 67668 h 67667"/>
                  <a:gd name="connsiteX1" fmla="*/ 3772 w 35343"/>
                  <a:gd name="connsiteY1" fmla="*/ 0 h 67667"/>
                  <a:gd name="connsiteX2" fmla="*/ 31584 w 35343"/>
                  <a:gd name="connsiteY2" fmla="*/ 0 h 67667"/>
                  <a:gd name="connsiteX3" fmla="*/ 35344 w 35343"/>
                  <a:gd name="connsiteY3" fmla="*/ 67668 h 676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5343" h="67667">
                    <a:moveTo>
                      <a:pt x="0" y="67668"/>
                    </a:moveTo>
                    <a:lnTo>
                      <a:pt x="3772" y="0"/>
                    </a:lnTo>
                    <a:lnTo>
                      <a:pt x="31584" y="0"/>
                    </a:lnTo>
                    <a:lnTo>
                      <a:pt x="35344" y="67668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86" name="Forma livre: Forma 1285">
                <a:extLst>
                  <a:ext uri="{FF2B5EF4-FFF2-40B4-BE49-F238E27FC236}">
                    <a16:creationId xmlns:a16="http://schemas.microsoft.com/office/drawing/2014/main" id="{DE0E6B44-6802-F33B-F31A-F9BBA0188A8C}"/>
                  </a:ext>
                </a:extLst>
              </p:cNvPr>
              <p:cNvSpPr/>
              <p:nvPr/>
            </p:nvSpPr>
            <p:spPr>
              <a:xfrm>
                <a:off x="2081246" y="3776327"/>
                <a:ext cx="104116" cy="79135"/>
              </a:xfrm>
              <a:custGeom>
                <a:avLst/>
                <a:gdLst>
                  <a:gd name="connsiteX0" fmla="*/ 103717 w 104116"/>
                  <a:gd name="connsiteY0" fmla="*/ 0 h 79135"/>
                  <a:gd name="connsiteX1" fmla="*/ 104116 w 104116"/>
                  <a:gd name="connsiteY1" fmla="*/ 7661 h 79135"/>
                  <a:gd name="connsiteX2" fmla="*/ 51383 w 104116"/>
                  <a:gd name="connsiteY2" fmla="*/ 79136 h 79135"/>
                  <a:gd name="connsiteX3" fmla="*/ 0 w 104116"/>
                  <a:gd name="connsiteY3" fmla="*/ 23453 h 791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04116" h="79135">
                    <a:moveTo>
                      <a:pt x="103717" y="0"/>
                    </a:moveTo>
                    <a:cubicBezTo>
                      <a:pt x="103987" y="2491"/>
                      <a:pt x="104116" y="5041"/>
                      <a:pt x="104116" y="7661"/>
                    </a:cubicBezTo>
                    <a:cubicBezTo>
                      <a:pt x="104116" y="43686"/>
                      <a:pt x="82120" y="79136"/>
                      <a:pt x="51383" y="79136"/>
                    </a:cubicBezTo>
                    <a:cubicBezTo>
                      <a:pt x="24499" y="79136"/>
                      <a:pt x="5135" y="53368"/>
                      <a:pt x="0" y="23453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87" name="Forma livre: Forma 1286">
                <a:extLst>
                  <a:ext uri="{FF2B5EF4-FFF2-40B4-BE49-F238E27FC236}">
                    <a16:creationId xmlns:a16="http://schemas.microsoft.com/office/drawing/2014/main" id="{F84BE131-D70C-0E56-4D74-DFE93B4A04BF}"/>
                  </a:ext>
                </a:extLst>
              </p:cNvPr>
              <p:cNvSpPr/>
              <p:nvPr/>
            </p:nvSpPr>
            <p:spPr>
              <a:xfrm>
                <a:off x="2059109" y="3769089"/>
                <a:ext cx="147062" cy="13324"/>
              </a:xfrm>
              <a:custGeom>
                <a:avLst/>
                <a:gdLst>
                  <a:gd name="connsiteX0" fmla="*/ 0 w 147062"/>
                  <a:gd name="connsiteY0" fmla="*/ 0 h 13324"/>
                  <a:gd name="connsiteX1" fmla="*/ 73531 w 147062"/>
                  <a:gd name="connsiteY1" fmla="*/ 13324 h 13324"/>
                  <a:gd name="connsiteX2" fmla="*/ 147062 w 147062"/>
                  <a:gd name="connsiteY2" fmla="*/ 0 h 133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47062" h="13324">
                    <a:moveTo>
                      <a:pt x="0" y="0"/>
                    </a:moveTo>
                    <a:cubicBezTo>
                      <a:pt x="19752" y="8460"/>
                      <a:pt x="45155" y="13324"/>
                      <a:pt x="73531" y="13324"/>
                    </a:cubicBezTo>
                    <a:cubicBezTo>
                      <a:pt x="101907" y="13324"/>
                      <a:pt x="127299" y="8472"/>
                      <a:pt x="147062" y="0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288" name="Gráfico 13">
              <a:extLst>
                <a:ext uri="{FF2B5EF4-FFF2-40B4-BE49-F238E27FC236}">
                  <a16:creationId xmlns:a16="http://schemas.microsoft.com/office/drawing/2014/main" id="{FDD270EF-9677-0D26-47F3-18FD65540709}"/>
                </a:ext>
              </a:extLst>
            </p:cNvPr>
            <p:cNvGrpSpPr/>
            <p:nvPr/>
          </p:nvGrpSpPr>
          <p:grpSpPr>
            <a:xfrm>
              <a:off x="2000794" y="3868141"/>
              <a:ext cx="263268" cy="116136"/>
              <a:chOff x="2000794" y="3868141"/>
              <a:chExt cx="263268" cy="116136"/>
            </a:xfrm>
            <a:noFill/>
          </p:grpSpPr>
          <p:grpSp>
            <p:nvGrpSpPr>
              <p:cNvPr id="1289" name="Gráfico 13">
                <a:extLst>
                  <a:ext uri="{FF2B5EF4-FFF2-40B4-BE49-F238E27FC236}">
                    <a16:creationId xmlns:a16="http://schemas.microsoft.com/office/drawing/2014/main" id="{3CC414C9-435E-4032-603E-7F35A7A55132}"/>
                  </a:ext>
                </a:extLst>
              </p:cNvPr>
              <p:cNvGrpSpPr/>
              <p:nvPr/>
            </p:nvGrpSpPr>
            <p:grpSpPr>
              <a:xfrm>
                <a:off x="2115415" y="3921039"/>
                <a:ext cx="34016" cy="63238"/>
                <a:chOff x="2115415" y="3921039"/>
                <a:chExt cx="34016" cy="63238"/>
              </a:xfrm>
            </p:grpSpPr>
            <p:sp>
              <p:nvSpPr>
                <p:cNvPr id="1290" name="Forma livre: Forma 1289">
                  <a:extLst>
                    <a:ext uri="{FF2B5EF4-FFF2-40B4-BE49-F238E27FC236}">
                      <a16:creationId xmlns:a16="http://schemas.microsoft.com/office/drawing/2014/main" id="{C2E73F9A-0EBD-8BCC-69D7-E233195D7292}"/>
                    </a:ext>
                  </a:extLst>
                </p:cNvPr>
                <p:cNvSpPr/>
                <p:nvPr/>
              </p:nvSpPr>
              <p:spPr>
                <a:xfrm>
                  <a:off x="2115415" y="3921039"/>
                  <a:ext cx="7978" cy="63238"/>
                </a:xfrm>
                <a:custGeom>
                  <a:avLst/>
                  <a:gdLst>
                    <a:gd name="connsiteX0" fmla="*/ 7978 w 7978"/>
                    <a:gd name="connsiteY0" fmla="*/ 0 h 63238"/>
                    <a:gd name="connsiteX1" fmla="*/ 0 w 7978"/>
                    <a:gd name="connsiteY1" fmla="*/ 63238 h 6323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7978" h="63238">
                      <a:moveTo>
                        <a:pt x="7978" y="0"/>
                      </a:moveTo>
                      <a:lnTo>
                        <a:pt x="0" y="63238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291" name="Forma livre: Forma 1290">
                  <a:extLst>
                    <a:ext uri="{FF2B5EF4-FFF2-40B4-BE49-F238E27FC236}">
                      <a16:creationId xmlns:a16="http://schemas.microsoft.com/office/drawing/2014/main" id="{D932699C-16C2-D48B-205C-3C758C429A90}"/>
                    </a:ext>
                  </a:extLst>
                </p:cNvPr>
                <p:cNvSpPr/>
                <p:nvPr/>
              </p:nvSpPr>
              <p:spPr>
                <a:xfrm>
                  <a:off x="2141464" y="3921039"/>
                  <a:ext cx="7966" cy="63238"/>
                </a:xfrm>
                <a:custGeom>
                  <a:avLst/>
                  <a:gdLst>
                    <a:gd name="connsiteX0" fmla="*/ 0 w 7966"/>
                    <a:gd name="connsiteY0" fmla="*/ 0 h 63238"/>
                    <a:gd name="connsiteX1" fmla="*/ 7966 w 7966"/>
                    <a:gd name="connsiteY1" fmla="*/ 63238 h 6323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7966" h="63238">
                      <a:moveTo>
                        <a:pt x="0" y="0"/>
                      </a:moveTo>
                      <a:lnTo>
                        <a:pt x="7966" y="63238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1292" name="Gráfico 13">
                <a:extLst>
                  <a:ext uri="{FF2B5EF4-FFF2-40B4-BE49-F238E27FC236}">
                    <a16:creationId xmlns:a16="http://schemas.microsoft.com/office/drawing/2014/main" id="{713041C0-286D-0784-42B7-4696C730F06A}"/>
                  </a:ext>
                </a:extLst>
              </p:cNvPr>
              <p:cNvGrpSpPr/>
              <p:nvPr/>
            </p:nvGrpSpPr>
            <p:grpSpPr>
              <a:xfrm>
                <a:off x="2000794" y="3868141"/>
                <a:ext cx="263268" cy="116136"/>
                <a:chOff x="2000794" y="3868141"/>
                <a:chExt cx="263268" cy="116136"/>
              </a:xfrm>
              <a:noFill/>
            </p:grpSpPr>
            <p:sp>
              <p:nvSpPr>
                <p:cNvPr id="1293" name="Forma livre: Forma 1292">
                  <a:extLst>
                    <a:ext uri="{FF2B5EF4-FFF2-40B4-BE49-F238E27FC236}">
                      <a16:creationId xmlns:a16="http://schemas.microsoft.com/office/drawing/2014/main" id="{3874F567-82C8-6BED-6831-2FE532262A92}"/>
                    </a:ext>
                  </a:extLst>
                </p:cNvPr>
                <p:cNvSpPr/>
                <p:nvPr/>
              </p:nvSpPr>
              <p:spPr>
                <a:xfrm>
                  <a:off x="2000794" y="3868141"/>
                  <a:ext cx="101942" cy="116136"/>
                </a:xfrm>
                <a:custGeom>
                  <a:avLst/>
                  <a:gdLst>
                    <a:gd name="connsiteX0" fmla="*/ 0 w 101942"/>
                    <a:gd name="connsiteY0" fmla="*/ 116136 h 116136"/>
                    <a:gd name="connsiteX1" fmla="*/ 4900 w 101942"/>
                    <a:gd name="connsiteY1" fmla="*/ 50889 h 116136"/>
                    <a:gd name="connsiteX2" fmla="*/ 31396 w 101942"/>
                    <a:gd name="connsiteY2" fmla="*/ 10845 h 116136"/>
                    <a:gd name="connsiteX3" fmla="*/ 80017 w 101942"/>
                    <a:gd name="connsiteY3" fmla="*/ 0 h 116136"/>
                    <a:gd name="connsiteX4" fmla="*/ 101942 w 101942"/>
                    <a:gd name="connsiteY4" fmla="*/ 44344 h 11613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01942" h="116136">
                      <a:moveTo>
                        <a:pt x="0" y="116136"/>
                      </a:moveTo>
                      <a:lnTo>
                        <a:pt x="4900" y="50889"/>
                      </a:lnTo>
                      <a:cubicBezTo>
                        <a:pt x="9741" y="14864"/>
                        <a:pt x="31396" y="10845"/>
                        <a:pt x="31396" y="10845"/>
                      </a:cubicBezTo>
                      <a:cubicBezTo>
                        <a:pt x="31396" y="10845"/>
                        <a:pt x="54978" y="4183"/>
                        <a:pt x="80017" y="0"/>
                      </a:cubicBezTo>
                      <a:lnTo>
                        <a:pt x="101942" y="44344"/>
                      </a:ln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294" name="Forma livre: Forma 1293">
                  <a:extLst>
                    <a:ext uri="{FF2B5EF4-FFF2-40B4-BE49-F238E27FC236}">
                      <a16:creationId xmlns:a16="http://schemas.microsoft.com/office/drawing/2014/main" id="{9D4B504D-3D80-C163-383E-2E9339AE5775}"/>
                    </a:ext>
                  </a:extLst>
                </p:cNvPr>
                <p:cNvSpPr/>
                <p:nvPr/>
              </p:nvSpPr>
              <p:spPr>
                <a:xfrm>
                  <a:off x="2162109" y="3868141"/>
                  <a:ext cx="101954" cy="116136"/>
                </a:xfrm>
                <a:custGeom>
                  <a:avLst/>
                  <a:gdLst>
                    <a:gd name="connsiteX0" fmla="*/ 101954 w 101954"/>
                    <a:gd name="connsiteY0" fmla="*/ 116136 h 116136"/>
                    <a:gd name="connsiteX1" fmla="*/ 97043 w 101954"/>
                    <a:gd name="connsiteY1" fmla="*/ 50889 h 116136"/>
                    <a:gd name="connsiteX2" fmla="*/ 70547 w 101954"/>
                    <a:gd name="connsiteY2" fmla="*/ 10845 h 116136"/>
                    <a:gd name="connsiteX3" fmla="*/ 21925 w 101954"/>
                    <a:gd name="connsiteY3" fmla="*/ 0 h 116136"/>
                    <a:gd name="connsiteX4" fmla="*/ 0 w 101954"/>
                    <a:gd name="connsiteY4" fmla="*/ 44344 h 11613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01954" h="116136">
                      <a:moveTo>
                        <a:pt x="101954" y="116136"/>
                      </a:moveTo>
                      <a:lnTo>
                        <a:pt x="97043" y="50889"/>
                      </a:lnTo>
                      <a:cubicBezTo>
                        <a:pt x="92202" y="14864"/>
                        <a:pt x="70547" y="10845"/>
                        <a:pt x="70547" y="10845"/>
                      </a:cubicBezTo>
                      <a:cubicBezTo>
                        <a:pt x="70547" y="10845"/>
                        <a:pt x="46976" y="4183"/>
                        <a:pt x="21925" y="0"/>
                      </a:cubicBezTo>
                      <a:lnTo>
                        <a:pt x="0" y="44344"/>
                      </a:ln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1295" name="Forma livre: Forma 1294">
                <a:extLst>
                  <a:ext uri="{FF2B5EF4-FFF2-40B4-BE49-F238E27FC236}">
                    <a16:creationId xmlns:a16="http://schemas.microsoft.com/office/drawing/2014/main" id="{54ADD2A9-751B-1D44-6EEF-2AD5FCD651AD}"/>
                  </a:ext>
                </a:extLst>
              </p:cNvPr>
              <p:cNvSpPr/>
              <p:nvPr/>
            </p:nvSpPr>
            <p:spPr>
              <a:xfrm>
                <a:off x="2109551" y="3878152"/>
                <a:ext cx="45742" cy="51805"/>
              </a:xfrm>
              <a:custGeom>
                <a:avLst/>
                <a:gdLst>
                  <a:gd name="connsiteX0" fmla="*/ 22948 w 45742"/>
                  <a:gd name="connsiteY0" fmla="*/ 51805 h 51805"/>
                  <a:gd name="connsiteX1" fmla="*/ 0 w 45742"/>
                  <a:gd name="connsiteY1" fmla="*/ 25897 h 51805"/>
                  <a:gd name="connsiteX2" fmla="*/ 22807 w 45742"/>
                  <a:gd name="connsiteY2" fmla="*/ 0 h 51805"/>
                  <a:gd name="connsiteX3" fmla="*/ 22948 w 45742"/>
                  <a:gd name="connsiteY3" fmla="*/ 0 h 51805"/>
                  <a:gd name="connsiteX4" fmla="*/ 45742 w 45742"/>
                  <a:gd name="connsiteY4" fmla="*/ 25897 h 51805"/>
                  <a:gd name="connsiteX5" fmla="*/ 22948 w 45742"/>
                  <a:gd name="connsiteY5" fmla="*/ 51805 h 518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45742" h="51805">
                    <a:moveTo>
                      <a:pt x="22948" y="51805"/>
                    </a:moveTo>
                    <a:lnTo>
                      <a:pt x="0" y="25897"/>
                    </a:lnTo>
                    <a:lnTo>
                      <a:pt x="22807" y="0"/>
                    </a:lnTo>
                    <a:lnTo>
                      <a:pt x="22948" y="0"/>
                    </a:lnTo>
                    <a:lnTo>
                      <a:pt x="45742" y="25897"/>
                    </a:lnTo>
                    <a:lnTo>
                      <a:pt x="22948" y="51805"/>
                    </a:lnTo>
                    <a:close/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296" name="Gráfico 13">
            <a:extLst>
              <a:ext uri="{FF2B5EF4-FFF2-40B4-BE49-F238E27FC236}">
                <a16:creationId xmlns:a16="http://schemas.microsoft.com/office/drawing/2014/main" id="{CBF0804F-AD8F-13FB-FACD-1665CDD4CB3B}"/>
              </a:ext>
            </a:extLst>
          </p:cNvPr>
          <p:cNvGrpSpPr/>
          <p:nvPr/>
        </p:nvGrpSpPr>
        <p:grpSpPr>
          <a:xfrm>
            <a:off x="2034740" y="4204965"/>
            <a:ext cx="195389" cy="304252"/>
            <a:chOff x="2034740" y="4204965"/>
            <a:chExt cx="195389" cy="304252"/>
          </a:xfrm>
          <a:noFill/>
        </p:grpSpPr>
        <p:sp>
          <p:nvSpPr>
            <p:cNvPr id="1297" name="Forma livre: Forma 1296">
              <a:extLst>
                <a:ext uri="{FF2B5EF4-FFF2-40B4-BE49-F238E27FC236}">
                  <a16:creationId xmlns:a16="http://schemas.microsoft.com/office/drawing/2014/main" id="{9D7C046C-DA95-2E60-38D4-927699F36BD0}"/>
                </a:ext>
              </a:extLst>
            </p:cNvPr>
            <p:cNvSpPr/>
            <p:nvPr/>
          </p:nvSpPr>
          <p:spPr>
            <a:xfrm>
              <a:off x="2081387" y="4337586"/>
              <a:ext cx="121435" cy="142326"/>
            </a:xfrm>
            <a:custGeom>
              <a:avLst/>
              <a:gdLst>
                <a:gd name="connsiteX0" fmla="*/ 22560 w 121435"/>
                <a:gd name="connsiteY0" fmla="*/ 0 h 142326"/>
                <a:gd name="connsiteX1" fmla="*/ 0 w 121435"/>
                <a:gd name="connsiteY1" fmla="*/ 56870 h 142326"/>
                <a:gd name="connsiteX2" fmla="*/ 88982 w 121435"/>
                <a:gd name="connsiteY2" fmla="*/ 142327 h 142326"/>
                <a:gd name="connsiteX3" fmla="*/ 121435 w 121435"/>
                <a:gd name="connsiteY3" fmla="*/ 136475 h 142326"/>
                <a:gd name="connsiteX4" fmla="*/ 121435 w 121435"/>
                <a:gd name="connsiteY4" fmla="*/ 93059 h 1423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1435" h="142326">
                  <a:moveTo>
                    <a:pt x="22560" y="0"/>
                  </a:moveTo>
                  <a:cubicBezTo>
                    <a:pt x="8530" y="15099"/>
                    <a:pt x="0" y="35027"/>
                    <a:pt x="0" y="56870"/>
                  </a:cubicBezTo>
                  <a:cubicBezTo>
                    <a:pt x="0" y="104069"/>
                    <a:pt x="39844" y="142327"/>
                    <a:pt x="88982" y="142327"/>
                  </a:cubicBezTo>
                  <a:cubicBezTo>
                    <a:pt x="100438" y="142327"/>
                    <a:pt x="111377" y="140247"/>
                    <a:pt x="121435" y="136475"/>
                  </a:cubicBezTo>
                  <a:lnTo>
                    <a:pt x="121435" y="93059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98" name="Forma livre: Forma 1297">
              <a:extLst>
                <a:ext uri="{FF2B5EF4-FFF2-40B4-BE49-F238E27FC236}">
                  <a16:creationId xmlns:a16="http://schemas.microsoft.com/office/drawing/2014/main" id="{3CF668D8-B61A-F058-8EDF-2515F63F4364}"/>
                </a:ext>
              </a:extLst>
            </p:cNvPr>
            <p:cNvSpPr/>
            <p:nvPr/>
          </p:nvSpPr>
          <p:spPr>
            <a:xfrm>
              <a:off x="2034740" y="4303911"/>
              <a:ext cx="192205" cy="205306"/>
            </a:xfrm>
            <a:custGeom>
              <a:avLst/>
              <a:gdLst>
                <a:gd name="connsiteX0" fmla="*/ 54308 w 192205"/>
                <a:gd name="connsiteY0" fmla="*/ 0 h 205306"/>
                <a:gd name="connsiteX1" fmla="*/ 0 w 192205"/>
                <a:gd name="connsiteY1" fmla="*/ 109063 h 205306"/>
                <a:gd name="connsiteX2" fmla="*/ 39879 w 192205"/>
                <a:gd name="connsiteY2" fmla="*/ 205307 h 205306"/>
                <a:gd name="connsiteX3" fmla="*/ 192205 w 192205"/>
                <a:gd name="connsiteY3" fmla="*/ 205307 h 2053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2205" h="205306">
                  <a:moveTo>
                    <a:pt x="54308" y="0"/>
                  </a:moveTo>
                  <a:cubicBezTo>
                    <a:pt x="21185" y="25685"/>
                    <a:pt x="0" y="64989"/>
                    <a:pt x="0" y="109063"/>
                  </a:cubicBezTo>
                  <a:cubicBezTo>
                    <a:pt x="0" y="146334"/>
                    <a:pt x="15157" y="180209"/>
                    <a:pt x="39879" y="205307"/>
                  </a:cubicBezTo>
                  <a:lnTo>
                    <a:pt x="192205" y="205307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99" name="Forma livre: Forma 1298">
              <a:extLst>
                <a:ext uri="{FF2B5EF4-FFF2-40B4-BE49-F238E27FC236}">
                  <a16:creationId xmlns:a16="http://schemas.microsoft.com/office/drawing/2014/main" id="{A5B4E923-9F93-1AF4-203A-732BBC75FFBE}"/>
                </a:ext>
              </a:extLst>
            </p:cNvPr>
            <p:cNvSpPr/>
            <p:nvPr/>
          </p:nvSpPr>
          <p:spPr>
            <a:xfrm rot="-1473000">
              <a:off x="2123386" y="4249519"/>
              <a:ext cx="46635" cy="132680"/>
            </a:xfrm>
            <a:custGeom>
              <a:avLst/>
              <a:gdLst>
                <a:gd name="connsiteX0" fmla="*/ 0 w 46635"/>
                <a:gd name="connsiteY0" fmla="*/ 0 h 132680"/>
                <a:gd name="connsiteX1" fmla="*/ 46635 w 46635"/>
                <a:gd name="connsiteY1" fmla="*/ 0 h 132680"/>
                <a:gd name="connsiteX2" fmla="*/ 46635 w 46635"/>
                <a:gd name="connsiteY2" fmla="*/ 132680 h 132680"/>
                <a:gd name="connsiteX3" fmla="*/ 0 w 46635"/>
                <a:gd name="connsiteY3" fmla="*/ 132680 h 1326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6635" h="132680">
                  <a:moveTo>
                    <a:pt x="0" y="0"/>
                  </a:moveTo>
                  <a:lnTo>
                    <a:pt x="46635" y="0"/>
                  </a:lnTo>
                  <a:lnTo>
                    <a:pt x="46635" y="132680"/>
                  </a:lnTo>
                  <a:lnTo>
                    <a:pt x="0" y="132680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300" name="Forma livre: Forma 1299">
              <a:extLst>
                <a:ext uri="{FF2B5EF4-FFF2-40B4-BE49-F238E27FC236}">
                  <a16:creationId xmlns:a16="http://schemas.microsoft.com/office/drawing/2014/main" id="{629598B2-D34D-E438-4E94-1B1EBA86C1CC}"/>
                </a:ext>
              </a:extLst>
            </p:cNvPr>
            <p:cNvSpPr/>
            <p:nvPr/>
          </p:nvSpPr>
          <p:spPr>
            <a:xfrm>
              <a:off x="2084583" y="4204965"/>
              <a:ext cx="39726" cy="37705"/>
            </a:xfrm>
            <a:custGeom>
              <a:avLst/>
              <a:gdLst>
                <a:gd name="connsiteX0" fmla="*/ 39726 w 39726"/>
                <a:gd name="connsiteY0" fmla="*/ 25086 h 37705"/>
                <a:gd name="connsiteX1" fmla="*/ 27624 w 39726"/>
                <a:gd name="connsiteY1" fmla="*/ 0 h 37705"/>
                <a:gd name="connsiteX2" fmla="*/ 0 w 39726"/>
                <a:gd name="connsiteY2" fmla="*/ 12631 h 37705"/>
                <a:gd name="connsiteX3" fmla="*/ 12102 w 39726"/>
                <a:gd name="connsiteY3" fmla="*/ 37706 h 377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726" h="37705">
                  <a:moveTo>
                    <a:pt x="39726" y="25086"/>
                  </a:moveTo>
                  <a:lnTo>
                    <a:pt x="27624" y="0"/>
                  </a:lnTo>
                  <a:lnTo>
                    <a:pt x="0" y="12631"/>
                  </a:lnTo>
                  <a:lnTo>
                    <a:pt x="12102" y="37706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301" name="Forma livre: Forma 1300">
              <a:extLst>
                <a:ext uri="{FF2B5EF4-FFF2-40B4-BE49-F238E27FC236}">
                  <a16:creationId xmlns:a16="http://schemas.microsoft.com/office/drawing/2014/main" id="{78A27AF5-AF9F-B2D1-6C8F-C7CEC9669C17}"/>
                </a:ext>
              </a:extLst>
            </p:cNvPr>
            <p:cNvSpPr/>
            <p:nvPr/>
          </p:nvSpPr>
          <p:spPr>
            <a:xfrm>
              <a:off x="2139843" y="4337645"/>
              <a:ext cx="42358" cy="19352"/>
            </a:xfrm>
            <a:custGeom>
              <a:avLst/>
              <a:gdLst>
                <a:gd name="connsiteX0" fmla="*/ 0 w 42358"/>
                <a:gd name="connsiteY0" fmla="*/ 19352 h 19352"/>
                <a:gd name="connsiteX1" fmla="*/ 42358 w 42358"/>
                <a:gd name="connsiteY1" fmla="*/ 0 h 193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2358" h="19352">
                  <a:moveTo>
                    <a:pt x="0" y="19352"/>
                  </a:moveTo>
                  <a:lnTo>
                    <a:pt x="42358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302" name="Forma livre: Forma 1301">
              <a:extLst>
                <a:ext uri="{FF2B5EF4-FFF2-40B4-BE49-F238E27FC236}">
                  <a16:creationId xmlns:a16="http://schemas.microsoft.com/office/drawing/2014/main" id="{B2E151B3-E162-6EB3-88CE-A8A56E13D520}"/>
                </a:ext>
              </a:extLst>
            </p:cNvPr>
            <p:cNvSpPr/>
            <p:nvPr/>
          </p:nvSpPr>
          <p:spPr>
            <a:xfrm>
              <a:off x="2131594" y="4429506"/>
              <a:ext cx="98534" cy="1174"/>
            </a:xfrm>
            <a:custGeom>
              <a:avLst/>
              <a:gdLst>
                <a:gd name="connsiteX0" fmla="*/ 0 w 98534"/>
                <a:gd name="connsiteY0" fmla="*/ 0 h 1174"/>
                <a:gd name="connsiteX1" fmla="*/ 98535 w 98534"/>
                <a:gd name="connsiteY1" fmla="*/ 0 h 1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8534" h="1174">
                  <a:moveTo>
                    <a:pt x="0" y="0"/>
                  </a:moveTo>
                  <a:lnTo>
                    <a:pt x="98535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303" name="Forma livre: Forma 1302">
              <a:extLst>
                <a:ext uri="{FF2B5EF4-FFF2-40B4-BE49-F238E27FC236}">
                  <a16:creationId xmlns:a16="http://schemas.microsoft.com/office/drawing/2014/main" id="{CF9C5BAC-A89C-7A91-9A16-D85177DF6A24}"/>
                </a:ext>
              </a:extLst>
            </p:cNvPr>
            <p:cNvSpPr/>
            <p:nvPr/>
          </p:nvSpPr>
          <p:spPr>
            <a:xfrm>
              <a:off x="2158455" y="4430540"/>
              <a:ext cx="1174" cy="47904"/>
            </a:xfrm>
            <a:custGeom>
              <a:avLst/>
              <a:gdLst>
                <a:gd name="connsiteX0" fmla="*/ 0 w 1174"/>
                <a:gd name="connsiteY0" fmla="*/ 0 h 47904"/>
                <a:gd name="connsiteX1" fmla="*/ 0 w 1174"/>
                <a:gd name="connsiteY1" fmla="*/ 47904 h 479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4" h="47904">
                  <a:moveTo>
                    <a:pt x="0" y="0"/>
                  </a:moveTo>
                  <a:lnTo>
                    <a:pt x="0" y="47904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304" name="Gráfico 13">
            <a:extLst>
              <a:ext uri="{FF2B5EF4-FFF2-40B4-BE49-F238E27FC236}">
                <a16:creationId xmlns:a16="http://schemas.microsoft.com/office/drawing/2014/main" id="{49D3E1F9-297D-998D-BD3B-2EF5A889C043}"/>
              </a:ext>
            </a:extLst>
          </p:cNvPr>
          <p:cNvGrpSpPr/>
          <p:nvPr/>
        </p:nvGrpSpPr>
        <p:grpSpPr>
          <a:xfrm>
            <a:off x="2009931" y="4719504"/>
            <a:ext cx="245011" cy="321608"/>
            <a:chOff x="2009931" y="4719504"/>
            <a:chExt cx="245011" cy="321608"/>
          </a:xfrm>
          <a:noFill/>
        </p:grpSpPr>
        <p:grpSp>
          <p:nvGrpSpPr>
            <p:cNvPr id="1305" name="Gráfico 13">
              <a:extLst>
                <a:ext uri="{FF2B5EF4-FFF2-40B4-BE49-F238E27FC236}">
                  <a16:creationId xmlns:a16="http://schemas.microsoft.com/office/drawing/2014/main" id="{D4BC3582-F786-F037-8634-C9AD9DBFB314}"/>
                </a:ext>
              </a:extLst>
            </p:cNvPr>
            <p:cNvGrpSpPr/>
            <p:nvPr/>
          </p:nvGrpSpPr>
          <p:grpSpPr>
            <a:xfrm>
              <a:off x="2009931" y="4719504"/>
              <a:ext cx="245011" cy="245004"/>
              <a:chOff x="2009931" y="4719504"/>
              <a:chExt cx="245011" cy="245004"/>
            </a:xfrm>
            <a:noFill/>
          </p:grpSpPr>
          <p:sp>
            <p:nvSpPr>
              <p:cNvPr id="1306" name="Forma livre: Forma 1305">
                <a:extLst>
                  <a:ext uri="{FF2B5EF4-FFF2-40B4-BE49-F238E27FC236}">
                    <a16:creationId xmlns:a16="http://schemas.microsoft.com/office/drawing/2014/main" id="{A2EECAF4-713F-6F32-7452-2482755995AF}"/>
                  </a:ext>
                </a:extLst>
              </p:cNvPr>
              <p:cNvSpPr/>
              <p:nvPr/>
            </p:nvSpPr>
            <p:spPr>
              <a:xfrm>
                <a:off x="2009931" y="4719504"/>
                <a:ext cx="129747" cy="104517"/>
              </a:xfrm>
              <a:custGeom>
                <a:avLst/>
                <a:gdLst>
                  <a:gd name="connsiteX0" fmla="*/ 129747 w 129747"/>
                  <a:gd name="connsiteY0" fmla="*/ 104517 h 104517"/>
                  <a:gd name="connsiteX1" fmla="*/ 105601 w 129747"/>
                  <a:gd name="connsiteY1" fmla="*/ 80371 h 104517"/>
                  <a:gd name="connsiteX2" fmla="*/ 98340 w 129747"/>
                  <a:gd name="connsiteY2" fmla="*/ 51126 h 104517"/>
                  <a:gd name="connsiteX3" fmla="*/ 83958 w 129747"/>
                  <a:gd name="connsiteY3" fmla="*/ 14407 h 104517"/>
                  <a:gd name="connsiteX4" fmla="*/ 30707 w 129747"/>
                  <a:gd name="connsiteY4" fmla="*/ 3597 h 104517"/>
                  <a:gd name="connsiteX5" fmla="*/ 56557 w 129747"/>
                  <a:gd name="connsiteY5" fmla="*/ 29459 h 104517"/>
                  <a:gd name="connsiteX6" fmla="*/ 56451 w 129747"/>
                  <a:gd name="connsiteY6" fmla="*/ 56460 h 104517"/>
                  <a:gd name="connsiteX7" fmla="*/ 29427 w 129747"/>
                  <a:gd name="connsiteY7" fmla="*/ 56566 h 104517"/>
                  <a:gd name="connsiteX8" fmla="*/ 3589 w 129747"/>
                  <a:gd name="connsiteY8" fmla="*/ 30704 h 104517"/>
                  <a:gd name="connsiteX9" fmla="*/ 14422 w 129747"/>
                  <a:gd name="connsiteY9" fmla="*/ 83967 h 104517"/>
                  <a:gd name="connsiteX10" fmla="*/ 51117 w 129747"/>
                  <a:gd name="connsiteY10" fmla="*/ 98337 h 104517"/>
                  <a:gd name="connsiteX11" fmla="*/ 73089 w 129747"/>
                  <a:gd name="connsiteY11" fmla="*/ 100675 h 1045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29747" h="104517">
                    <a:moveTo>
                      <a:pt x="129747" y="104517"/>
                    </a:moveTo>
                    <a:lnTo>
                      <a:pt x="105601" y="80371"/>
                    </a:lnTo>
                    <a:cubicBezTo>
                      <a:pt x="95308" y="69526"/>
                      <a:pt x="98269" y="55168"/>
                      <a:pt x="98340" y="51126"/>
                    </a:cubicBezTo>
                    <a:cubicBezTo>
                      <a:pt x="98810" y="37966"/>
                      <a:pt x="94016" y="24453"/>
                      <a:pt x="83958" y="14407"/>
                    </a:cubicBezTo>
                    <a:cubicBezTo>
                      <a:pt x="69564" y="14"/>
                      <a:pt x="48473" y="-3605"/>
                      <a:pt x="30707" y="3597"/>
                    </a:cubicBezTo>
                    <a:lnTo>
                      <a:pt x="56557" y="29459"/>
                    </a:lnTo>
                    <a:cubicBezTo>
                      <a:pt x="63960" y="36850"/>
                      <a:pt x="63854" y="49058"/>
                      <a:pt x="56451" y="56460"/>
                    </a:cubicBezTo>
                    <a:cubicBezTo>
                      <a:pt x="49049" y="63863"/>
                      <a:pt x="36829" y="63957"/>
                      <a:pt x="29427" y="56566"/>
                    </a:cubicBezTo>
                    <a:lnTo>
                      <a:pt x="3589" y="30704"/>
                    </a:lnTo>
                    <a:cubicBezTo>
                      <a:pt x="-3602" y="48470"/>
                      <a:pt x="17" y="69550"/>
                      <a:pt x="14422" y="83967"/>
                    </a:cubicBezTo>
                    <a:cubicBezTo>
                      <a:pt x="24456" y="94013"/>
                      <a:pt x="37969" y="98795"/>
                      <a:pt x="51117" y="98337"/>
                    </a:cubicBezTo>
                    <a:cubicBezTo>
                      <a:pt x="54289" y="98290"/>
                      <a:pt x="63866" y="96433"/>
                      <a:pt x="73089" y="100675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307" name="Forma livre: Forma 1306">
                <a:extLst>
                  <a:ext uri="{FF2B5EF4-FFF2-40B4-BE49-F238E27FC236}">
                    <a16:creationId xmlns:a16="http://schemas.microsoft.com/office/drawing/2014/main" id="{05A54921-A1CD-60F4-CDB8-9282E7EE54D9}"/>
                  </a:ext>
                </a:extLst>
              </p:cNvPr>
              <p:cNvSpPr/>
              <p:nvPr/>
            </p:nvSpPr>
            <p:spPr>
              <a:xfrm>
                <a:off x="2169264" y="4904085"/>
                <a:ext cx="85677" cy="60422"/>
              </a:xfrm>
              <a:custGeom>
                <a:avLst/>
                <a:gdLst>
                  <a:gd name="connsiteX0" fmla="*/ 0 w 85677"/>
                  <a:gd name="connsiteY0" fmla="*/ 0 h 60422"/>
                  <a:gd name="connsiteX1" fmla="*/ 52510 w 85677"/>
                  <a:gd name="connsiteY1" fmla="*/ 52499 h 60422"/>
                  <a:gd name="connsiteX2" fmla="*/ 79853 w 85677"/>
                  <a:gd name="connsiteY2" fmla="*/ 54602 h 60422"/>
                  <a:gd name="connsiteX3" fmla="*/ 77749 w 85677"/>
                  <a:gd name="connsiteY3" fmla="*/ 27260 h 60422"/>
                  <a:gd name="connsiteX4" fmla="*/ 66082 w 85677"/>
                  <a:gd name="connsiteY4" fmla="*/ 15592 h 604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5677" h="60422">
                    <a:moveTo>
                      <a:pt x="0" y="0"/>
                    </a:moveTo>
                    <a:lnTo>
                      <a:pt x="52510" y="52499"/>
                    </a:lnTo>
                    <a:cubicBezTo>
                      <a:pt x="61558" y="61534"/>
                      <a:pt x="70805" y="63649"/>
                      <a:pt x="79853" y="54602"/>
                    </a:cubicBezTo>
                    <a:cubicBezTo>
                      <a:pt x="88900" y="45566"/>
                      <a:pt x="86797" y="36319"/>
                      <a:pt x="77749" y="27260"/>
                    </a:cubicBezTo>
                    <a:lnTo>
                      <a:pt x="66082" y="15592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308" name="Gráfico 13">
              <a:extLst>
                <a:ext uri="{FF2B5EF4-FFF2-40B4-BE49-F238E27FC236}">
                  <a16:creationId xmlns:a16="http://schemas.microsoft.com/office/drawing/2014/main" id="{87C6AF68-4D54-3FC2-24B8-28A8C2591E95}"/>
                </a:ext>
              </a:extLst>
            </p:cNvPr>
            <p:cNvGrpSpPr/>
            <p:nvPr/>
          </p:nvGrpSpPr>
          <p:grpSpPr>
            <a:xfrm>
              <a:off x="2067874" y="4802416"/>
              <a:ext cx="186672" cy="197983"/>
              <a:chOff x="2067874" y="4802416"/>
              <a:chExt cx="186672" cy="197983"/>
            </a:xfrm>
            <a:noFill/>
          </p:grpSpPr>
          <p:sp>
            <p:nvSpPr>
              <p:cNvPr id="1309" name="Forma livre: Forma 1308">
                <a:extLst>
                  <a:ext uri="{FF2B5EF4-FFF2-40B4-BE49-F238E27FC236}">
                    <a16:creationId xmlns:a16="http://schemas.microsoft.com/office/drawing/2014/main" id="{7512FCB7-3F3E-089F-0214-3C75E9448D06}"/>
                  </a:ext>
                </a:extLst>
              </p:cNvPr>
              <p:cNvSpPr/>
              <p:nvPr/>
            </p:nvSpPr>
            <p:spPr>
              <a:xfrm>
                <a:off x="2205933" y="4874996"/>
                <a:ext cx="48614" cy="48636"/>
              </a:xfrm>
              <a:custGeom>
                <a:avLst/>
                <a:gdLst>
                  <a:gd name="connsiteX0" fmla="*/ 21224 w 48614"/>
                  <a:gd name="connsiteY0" fmla="*/ 4167 h 48636"/>
                  <a:gd name="connsiteX1" fmla="*/ 41857 w 48614"/>
                  <a:gd name="connsiteY1" fmla="*/ 4355 h 48636"/>
                  <a:gd name="connsiteX2" fmla="*/ 44289 w 48614"/>
                  <a:gd name="connsiteY2" fmla="*/ 6752 h 48636"/>
                  <a:gd name="connsiteX3" fmla="*/ 44453 w 48614"/>
                  <a:gd name="connsiteY3" fmla="*/ 27397 h 48636"/>
                  <a:gd name="connsiteX4" fmla="*/ 27381 w 48614"/>
                  <a:gd name="connsiteY4" fmla="*/ 44458 h 48636"/>
                  <a:gd name="connsiteX5" fmla="*/ 6736 w 48614"/>
                  <a:gd name="connsiteY5" fmla="*/ 44293 h 48636"/>
                  <a:gd name="connsiteX6" fmla="*/ 4339 w 48614"/>
                  <a:gd name="connsiteY6" fmla="*/ 41885 h 48636"/>
                  <a:gd name="connsiteX7" fmla="*/ 4175 w 48614"/>
                  <a:gd name="connsiteY7" fmla="*/ 21240 h 48636"/>
                  <a:gd name="connsiteX8" fmla="*/ 21236 w 48614"/>
                  <a:gd name="connsiteY8" fmla="*/ 4179 h 486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8614" h="48636">
                    <a:moveTo>
                      <a:pt x="21224" y="4167"/>
                    </a:moveTo>
                    <a:cubicBezTo>
                      <a:pt x="26852" y="-1461"/>
                      <a:pt x="36158" y="-1379"/>
                      <a:pt x="41857" y="4355"/>
                    </a:cubicBezTo>
                    <a:lnTo>
                      <a:pt x="44289" y="6752"/>
                    </a:lnTo>
                    <a:cubicBezTo>
                      <a:pt x="49988" y="12486"/>
                      <a:pt x="50070" y="21769"/>
                      <a:pt x="44453" y="27397"/>
                    </a:cubicBezTo>
                    <a:lnTo>
                      <a:pt x="27381" y="44458"/>
                    </a:lnTo>
                    <a:cubicBezTo>
                      <a:pt x="21752" y="50098"/>
                      <a:pt x="12458" y="50016"/>
                      <a:pt x="6736" y="44293"/>
                    </a:cubicBezTo>
                    <a:lnTo>
                      <a:pt x="4339" y="41885"/>
                    </a:lnTo>
                    <a:cubicBezTo>
                      <a:pt x="-1383" y="36162"/>
                      <a:pt x="-1454" y="26868"/>
                      <a:pt x="4175" y="21240"/>
                    </a:cubicBezTo>
                    <a:lnTo>
                      <a:pt x="21236" y="4179"/>
                    </a:ln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310" name="Forma livre: Forma 1309">
                <a:extLst>
                  <a:ext uri="{FF2B5EF4-FFF2-40B4-BE49-F238E27FC236}">
                    <a16:creationId xmlns:a16="http://schemas.microsoft.com/office/drawing/2014/main" id="{747B29DA-32F9-07C8-F60D-9D492FE6E109}"/>
                  </a:ext>
                </a:extLst>
              </p:cNvPr>
              <p:cNvSpPr/>
              <p:nvPr/>
            </p:nvSpPr>
            <p:spPr>
              <a:xfrm>
                <a:off x="2182703" y="4845456"/>
                <a:ext cx="54945" cy="54949"/>
              </a:xfrm>
              <a:custGeom>
                <a:avLst/>
                <a:gdLst>
                  <a:gd name="connsiteX0" fmla="*/ 27580 w 54945"/>
                  <a:gd name="connsiteY0" fmla="*/ 4169 h 54949"/>
                  <a:gd name="connsiteX1" fmla="*/ 48202 w 54945"/>
                  <a:gd name="connsiteY1" fmla="*/ 4345 h 54949"/>
                  <a:gd name="connsiteX2" fmla="*/ 50610 w 54945"/>
                  <a:gd name="connsiteY2" fmla="*/ 6754 h 54949"/>
                  <a:gd name="connsiteX3" fmla="*/ 50775 w 54945"/>
                  <a:gd name="connsiteY3" fmla="*/ 27375 h 54949"/>
                  <a:gd name="connsiteX4" fmla="*/ 27381 w 54945"/>
                  <a:gd name="connsiteY4" fmla="*/ 50769 h 54949"/>
                  <a:gd name="connsiteX5" fmla="*/ 6748 w 54945"/>
                  <a:gd name="connsiteY5" fmla="*/ 50616 h 54949"/>
                  <a:gd name="connsiteX6" fmla="*/ 4339 w 54945"/>
                  <a:gd name="connsiteY6" fmla="*/ 48208 h 54949"/>
                  <a:gd name="connsiteX7" fmla="*/ 4175 w 54945"/>
                  <a:gd name="connsiteY7" fmla="*/ 27563 h 54949"/>
                  <a:gd name="connsiteX8" fmla="*/ 27569 w 54945"/>
                  <a:gd name="connsiteY8" fmla="*/ 4169 h 549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54945" h="54949">
                    <a:moveTo>
                      <a:pt x="27580" y="4169"/>
                    </a:moveTo>
                    <a:cubicBezTo>
                      <a:pt x="33209" y="-1459"/>
                      <a:pt x="42491" y="-1377"/>
                      <a:pt x="48202" y="4345"/>
                    </a:cubicBezTo>
                    <a:lnTo>
                      <a:pt x="50610" y="6754"/>
                    </a:lnTo>
                    <a:cubicBezTo>
                      <a:pt x="56321" y="12476"/>
                      <a:pt x="56403" y="21758"/>
                      <a:pt x="50775" y="27375"/>
                    </a:cubicBezTo>
                    <a:lnTo>
                      <a:pt x="27381" y="50769"/>
                    </a:lnTo>
                    <a:cubicBezTo>
                      <a:pt x="21753" y="56409"/>
                      <a:pt x="12458" y="56327"/>
                      <a:pt x="6748" y="50616"/>
                    </a:cubicBezTo>
                    <a:lnTo>
                      <a:pt x="4339" y="48208"/>
                    </a:lnTo>
                    <a:cubicBezTo>
                      <a:pt x="-1383" y="42485"/>
                      <a:pt x="-1454" y="33191"/>
                      <a:pt x="4175" y="27563"/>
                    </a:cubicBezTo>
                    <a:lnTo>
                      <a:pt x="27569" y="4169"/>
                    </a:ln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311" name="Forma livre: Forma 1310">
                <a:extLst>
                  <a:ext uri="{FF2B5EF4-FFF2-40B4-BE49-F238E27FC236}">
                    <a16:creationId xmlns:a16="http://schemas.microsoft.com/office/drawing/2014/main" id="{BF9123B0-5EBE-94A5-B601-DC289DB7B8D2}"/>
                  </a:ext>
                </a:extLst>
              </p:cNvPr>
              <p:cNvSpPr/>
              <p:nvPr/>
            </p:nvSpPr>
            <p:spPr>
              <a:xfrm>
                <a:off x="2138386" y="4802416"/>
                <a:ext cx="49466" cy="48830"/>
              </a:xfrm>
              <a:custGeom>
                <a:avLst/>
                <a:gdLst>
                  <a:gd name="connsiteX0" fmla="*/ 0 w 49466"/>
                  <a:gd name="connsiteY0" fmla="*/ 26259 h 48830"/>
                  <a:gd name="connsiteX1" fmla="*/ 22078 w 49466"/>
                  <a:gd name="connsiteY1" fmla="*/ 4169 h 48830"/>
                  <a:gd name="connsiteX2" fmla="*/ 42723 w 49466"/>
                  <a:gd name="connsiteY2" fmla="*/ 4345 h 48830"/>
                  <a:gd name="connsiteX3" fmla="*/ 45132 w 49466"/>
                  <a:gd name="connsiteY3" fmla="*/ 6754 h 48830"/>
                  <a:gd name="connsiteX4" fmla="*/ 45296 w 49466"/>
                  <a:gd name="connsiteY4" fmla="*/ 27398 h 48830"/>
                  <a:gd name="connsiteX5" fmla="*/ 23841 w 49466"/>
                  <a:gd name="connsiteY5" fmla="*/ 48830 h 488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49466" h="48830">
                    <a:moveTo>
                      <a:pt x="0" y="26259"/>
                    </a:moveTo>
                    <a:lnTo>
                      <a:pt x="22078" y="4169"/>
                    </a:lnTo>
                    <a:cubicBezTo>
                      <a:pt x="27706" y="-1459"/>
                      <a:pt x="37012" y="-1377"/>
                      <a:pt x="42723" y="4345"/>
                    </a:cubicBezTo>
                    <a:lnTo>
                      <a:pt x="45132" y="6754"/>
                    </a:lnTo>
                    <a:cubicBezTo>
                      <a:pt x="50842" y="12476"/>
                      <a:pt x="50924" y="21758"/>
                      <a:pt x="45296" y="27398"/>
                    </a:cubicBezTo>
                    <a:lnTo>
                      <a:pt x="23841" y="4883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312" name="Forma livre: Forma 1311">
                <a:extLst>
                  <a:ext uri="{FF2B5EF4-FFF2-40B4-BE49-F238E27FC236}">
                    <a16:creationId xmlns:a16="http://schemas.microsoft.com/office/drawing/2014/main" id="{8DB463A0-73B1-2670-E563-6BE1118DF588}"/>
                  </a:ext>
                </a:extLst>
              </p:cNvPr>
              <p:cNvSpPr/>
              <p:nvPr/>
            </p:nvSpPr>
            <p:spPr>
              <a:xfrm>
                <a:off x="2163683" y="4816408"/>
                <a:ext cx="56618" cy="56621"/>
              </a:xfrm>
              <a:custGeom>
                <a:avLst/>
                <a:gdLst>
                  <a:gd name="connsiteX0" fmla="*/ 0 w 56618"/>
                  <a:gd name="connsiteY0" fmla="*/ 33416 h 56621"/>
                  <a:gd name="connsiteX1" fmla="*/ 29246 w 56618"/>
                  <a:gd name="connsiteY1" fmla="*/ 4182 h 56621"/>
                  <a:gd name="connsiteX2" fmla="*/ 49867 w 56618"/>
                  <a:gd name="connsiteY2" fmla="*/ 4358 h 56621"/>
                  <a:gd name="connsiteX3" fmla="*/ 52275 w 56618"/>
                  <a:gd name="connsiteY3" fmla="*/ 6744 h 56621"/>
                  <a:gd name="connsiteX4" fmla="*/ 52440 w 56618"/>
                  <a:gd name="connsiteY4" fmla="*/ 27388 h 56621"/>
                  <a:gd name="connsiteX5" fmla="*/ 23206 w 56618"/>
                  <a:gd name="connsiteY5" fmla="*/ 56622 h 566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56618" h="56621">
                    <a:moveTo>
                      <a:pt x="0" y="33416"/>
                    </a:moveTo>
                    <a:lnTo>
                      <a:pt x="29246" y="4182"/>
                    </a:lnTo>
                    <a:cubicBezTo>
                      <a:pt x="34874" y="-1458"/>
                      <a:pt x="44145" y="-1387"/>
                      <a:pt x="49867" y="4358"/>
                    </a:cubicBezTo>
                    <a:lnTo>
                      <a:pt x="52275" y="6744"/>
                    </a:lnTo>
                    <a:cubicBezTo>
                      <a:pt x="57998" y="12478"/>
                      <a:pt x="58080" y="21748"/>
                      <a:pt x="52440" y="27388"/>
                    </a:cubicBezTo>
                    <a:lnTo>
                      <a:pt x="23206" y="56622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313" name="Forma livre: Forma 1312">
                <a:extLst>
                  <a:ext uri="{FF2B5EF4-FFF2-40B4-BE49-F238E27FC236}">
                    <a16:creationId xmlns:a16="http://schemas.microsoft.com/office/drawing/2014/main" id="{75EBE8C7-D40E-F753-BA6A-1A4B95CAEB31}"/>
                  </a:ext>
                </a:extLst>
              </p:cNvPr>
              <p:cNvSpPr/>
              <p:nvPr/>
            </p:nvSpPr>
            <p:spPr>
              <a:xfrm>
                <a:off x="2129503" y="4865381"/>
                <a:ext cx="12578" cy="50665"/>
              </a:xfrm>
              <a:custGeom>
                <a:avLst/>
                <a:gdLst>
                  <a:gd name="connsiteX0" fmla="*/ 8284 w 12578"/>
                  <a:gd name="connsiteY0" fmla="*/ 50666 h 50665"/>
                  <a:gd name="connsiteX1" fmla="*/ 0 w 12578"/>
                  <a:gd name="connsiteY1" fmla="*/ 0 h 506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578" h="50665">
                    <a:moveTo>
                      <a:pt x="8284" y="50666"/>
                    </a:moveTo>
                    <a:cubicBezTo>
                      <a:pt x="8284" y="50666"/>
                      <a:pt x="22172" y="22172"/>
                      <a:pt x="0" y="0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314" name="Forma livre: Forma 1313">
                <a:extLst>
                  <a:ext uri="{FF2B5EF4-FFF2-40B4-BE49-F238E27FC236}">
                    <a16:creationId xmlns:a16="http://schemas.microsoft.com/office/drawing/2014/main" id="{067FED6D-EF58-D941-03C0-BA0EC77BA482}"/>
                  </a:ext>
                </a:extLst>
              </p:cNvPr>
              <p:cNvSpPr/>
              <p:nvPr/>
            </p:nvSpPr>
            <p:spPr>
              <a:xfrm>
                <a:off x="2117118" y="4943706"/>
                <a:ext cx="91238" cy="56693"/>
              </a:xfrm>
              <a:custGeom>
                <a:avLst/>
                <a:gdLst>
                  <a:gd name="connsiteX0" fmla="*/ 0 w 91238"/>
                  <a:gd name="connsiteY0" fmla="*/ 56693 h 56693"/>
                  <a:gd name="connsiteX1" fmla="*/ 15369 w 91238"/>
                  <a:gd name="connsiteY1" fmla="*/ 41324 h 56693"/>
                  <a:gd name="connsiteX2" fmla="*/ 41642 w 91238"/>
                  <a:gd name="connsiteY2" fmla="*/ 38058 h 56693"/>
                  <a:gd name="connsiteX3" fmla="*/ 91238 w 91238"/>
                  <a:gd name="connsiteY3" fmla="*/ 0 h 566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238" h="56693">
                    <a:moveTo>
                      <a:pt x="0" y="56693"/>
                    </a:moveTo>
                    <a:lnTo>
                      <a:pt x="15369" y="41324"/>
                    </a:lnTo>
                    <a:cubicBezTo>
                      <a:pt x="15369" y="41324"/>
                      <a:pt x="26931" y="44673"/>
                      <a:pt x="41642" y="38058"/>
                    </a:cubicBezTo>
                    <a:cubicBezTo>
                      <a:pt x="54108" y="32477"/>
                      <a:pt x="71451" y="18483"/>
                      <a:pt x="91238" y="0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315" name="Forma livre: Forma 1314">
                <a:extLst>
                  <a:ext uri="{FF2B5EF4-FFF2-40B4-BE49-F238E27FC236}">
                    <a16:creationId xmlns:a16="http://schemas.microsoft.com/office/drawing/2014/main" id="{5F73FC1A-62A0-808D-6FB9-9656F814BBC8}"/>
                  </a:ext>
                </a:extLst>
              </p:cNvPr>
              <p:cNvSpPr/>
              <p:nvPr/>
            </p:nvSpPr>
            <p:spPr>
              <a:xfrm>
                <a:off x="2067874" y="4819001"/>
                <a:ext cx="113915" cy="102121"/>
              </a:xfrm>
              <a:custGeom>
                <a:avLst/>
                <a:gdLst>
                  <a:gd name="connsiteX0" fmla="*/ 52687 w 113915"/>
                  <a:gd name="connsiteY0" fmla="*/ 37367 h 102121"/>
                  <a:gd name="connsiteX1" fmla="*/ 75152 w 113915"/>
                  <a:gd name="connsiteY1" fmla="*/ 59833 h 102121"/>
                  <a:gd name="connsiteX2" fmla="*/ 113915 w 113915"/>
                  <a:gd name="connsiteY2" fmla="*/ 55180 h 102121"/>
                  <a:gd name="connsiteX3" fmla="*/ 65588 w 113915"/>
                  <a:gd name="connsiteY3" fmla="*/ 6853 h 102121"/>
                  <a:gd name="connsiteX4" fmla="*/ 48034 w 113915"/>
                  <a:gd name="connsiteY4" fmla="*/ 38 h 102121"/>
                  <a:gd name="connsiteX5" fmla="*/ 14147 w 113915"/>
                  <a:gd name="connsiteY5" fmla="*/ 36404 h 102121"/>
                  <a:gd name="connsiteX6" fmla="*/ 4864 w 113915"/>
                  <a:gd name="connsiteY6" fmla="*/ 87493 h 102121"/>
                  <a:gd name="connsiteX7" fmla="*/ 0 w 113915"/>
                  <a:gd name="connsiteY7" fmla="*/ 102121 h 1021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13915" h="102121">
                    <a:moveTo>
                      <a:pt x="52687" y="37367"/>
                    </a:moveTo>
                    <a:lnTo>
                      <a:pt x="75152" y="59833"/>
                    </a:lnTo>
                    <a:cubicBezTo>
                      <a:pt x="92213" y="76871"/>
                      <a:pt x="113915" y="55180"/>
                      <a:pt x="113915" y="55180"/>
                    </a:cubicBezTo>
                    <a:cubicBezTo>
                      <a:pt x="113915" y="55180"/>
                      <a:pt x="70217" y="11482"/>
                      <a:pt x="65588" y="6853"/>
                    </a:cubicBezTo>
                    <a:cubicBezTo>
                      <a:pt x="57798" y="-926"/>
                      <a:pt x="48034" y="38"/>
                      <a:pt x="48034" y="38"/>
                    </a:cubicBezTo>
                    <a:cubicBezTo>
                      <a:pt x="23183" y="14173"/>
                      <a:pt x="14147" y="36404"/>
                      <a:pt x="14147" y="36404"/>
                    </a:cubicBezTo>
                    <a:cubicBezTo>
                      <a:pt x="9752" y="44688"/>
                      <a:pt x="4864" y="87493"/>
                      <a:pt x="4864" y="87493"/>
                    </a:cubicBezTo>
                    <a:cubicBezTo>
                      <a:pt x="4148" y="96517"/>
                      <a:pt x="0" y="102121"/>
                      <a:pt x="0" y="102121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316" name="Forma livre: Forma 1315">
              <a:extLst>
                <a:ext uri="{FF2B5EF4-FFF2-40B4-BE49-F238E27FC236}">
                  <a16:creationId xmlns:a16="http://schemas.microsoft.com/office/drawing/2014/main" id="{50C5FEFE-DA8E-641D-883C-DF863808E410}"/>
                </a:ext>
              </a:extLst>
            </p:cNvPr>
            <p:cNvSpPr/>
            <p:nvPr/>
          </p:nvSpPr>
          <p:spPr>
            <a:xfrm>
              <a:off x="2012344" y="4925000"/>
              <a:ext cx="116112" cy="116112"/>
            </a:xfrm>
            <a:custGeom>
              <a:avLst/>
              <a:gdLst>
                <a:gd name="connsiteX0" fmla="*/ 0 w 116112"/>
                <a:gd name="connsiteY0" fmla="*/ 27988 h 116112"/>
                <a:gd name="connsiteX1" fmla="*/ 27988 w 116112"/>
                <a:gd name="connsiteY1" fmla="*/ 0 h 116112"/>
                <a:gd name="connsiteX2" fmla="*/ 116113 w 116112"/>
                <a:gd name="connsiteY2" fmla="*/ 88124 h 116112"/>
                <a:gd name="connsiteX3" fmla="*/ 88124 w 116112"/>
                <a:gd name="connsiteY3" fmla="*/ 116113 h 1161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6112" h="116112">
                  <a:moveTo>
                    <a:pt x="0" y="27988"/>
                  </a:moveTo>
                  <a:lnTo>
                    <a:pt x="27988" y="0"/>
                  </a:lnTo>
                  <a:lnTo>
                    <a:pt x="116113" y="88124"/>
                  </a:lnTo>
                  <a:lnTo>
                    <a:pt x="88124" y="116113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317" name="Gráfico 13">
            <a:extLst>
              <a:ext uri="{FF2B5EF4-FFF2-40B4-BE49-F238E27FC236}">
                <a16:creationId xmlns:a16="http://schemas.microsoft.com/office/drawing/2014/main" id="{2281A88E-2036-9134-858B-037E5C8D8C13}"/>
              </a:ext>
            </a:extLst>
          </p:cNvPr>
          <p:cNvGrpSpPr/>
          <p:nvPr/>
        </p:nvGrpSpPr>
        <p:grpSpPr>
          <a:xfrm>
            <a:off x="1995483" y="5801039"/>
            <a:ext cx="273890" cy="251436"/>
            <a:chOff x="1995483" y="5801039"/>
            <a:chExt cx="273890" cy="251436"/>
          </a:xfrm>
        </p:grpSpPr>
        <p:sp>
          <p:nvSpPr>
            <p:cNvPr id="1318" name="Forma livre: Forma 1317">
              <a:extLst>
                <a:ext uri="{FF2B5EF4-FFF2-40B4-BE49-F238E27FC236}">
                  <a16:creationId xmlns:a16="http://schemas.microsoft.com/office/drawing/2014/main" id="{38A49FED-FE8C-EE54-8485-9CB315595DA9}"/>
                </a:ext>
              </a:extLst>
            </p:cNvPr>
            <p:cNvSpPr/>
            <p:nvPr/>
          </p:nvSpPr>
          <p:spPr>
            <a:xfrm>
              <a:off x="2081516" y="5955868"/>
              <a:ext cx="74106" cy="1174"/>
            </a:xfrm>
            <a:custGeom>
              <a:avLst/>
              <a:gdLst>
                <a:gd name="connsiteX0" fmla="*/ 0 w 74106"/>
                <a:gd name="connsiteY0" fmla="*/ 0 h 1174"/>
                <a:gd name="connsiteX1" fmla="*/ 74107 w 74106"/>
                <a:gd name="connsiteY1" fmla="*/ 0 h 1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4106" h="1174">
                  <a:moveTo>
                    <a:pt x="0" y="0"/>
                  </a:moveTo>
                  <a:lnTo>
                    <a:pt x="74107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319" name="Forma livre: Forma 1318">
              <a:extLst>
                <a:ext uri="{FF2B5EF4-FFF2-40B4-BE49-F238E27FC236}">
                  <a16:creationId xmlns:a16="http://schemas.microsoft.com/office/drawing/2014/main" id="{FA2E1CAF-AF1C-9723-B4AE-599FEA5E4C02}"/>
                </a:ext>
              </a:extLst>
            </p:cNvPr>
            <p:cNvSpPr/>
            <p:nvPr/>
          </p:nvSpPr>
          <p:spPr>
            <a:xfrm>
              <a:off x="2001499" y="5955868"/>
              <a:ext cx="55882" cy="1174"/>
            </a:xfrm>
            <a:custGeom>
              <a:avLst/>
              <a:gdLst>
                <a:gd name="connsiteX0" fmla="*/ 0 w 55882"/>
                <a:gd name="connsiteY0" fmla="*/ 0 h 1174"/>
                <a:gd name="connsiteX1" fmla="*/ 55883 w 55882"/>
                <a:gd name="connsiteY1" fmla="*/ 0 h 1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5882" h="1174">
                  <a:moveTo>
                    <a:pt x="0" y="0"/>
                  </a:moveTo>
                  <a:lnTo>
                    <a:pt x="55883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320" name="Forma livre: Forma 1319">
              <a:extLst>
                <a:ext uri="{FF2B5EF4-FFF2-40B4-BE49-F238E27FC236}">
                  <a16:creationId xmlns:a16="http://schemas.microsoft.com/office/drawing/2014/main" id="{90A35C35-FE7A-EC37-C010-3BBC37A111BA}"/>
                </a:ext>
              </a:extLst>
            </p:cNvPr>
            <p:cNvSpPr/>
            <p:nvPr/>
          </p:nvSpPr>
          <p:spPr>
            <a:xfrm>
              <a:off x="2078567" y="5940288"/>
              <a:ext cx="1174" cy="31818"/>
            </a:xfrm>
            <a:custGeom>
              <a:avLst/>
              <a:gdLst>
                <a:gd name="connsiteX0" fmla="*/ 0 w 1174"/>
                <a:gd name="connsiteY0" fmla="*/ 0 h 31818"/>
                <a:gd name="connsiteX1" fmla="*/ 0 w 1174"/>
                <a:gd name="connsiteY1" fmla="*/ 31819 h 31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4" h="31818">
                  <a:moveTo>
                    <a:pt x="0" y="0"/>
                  </a:moveTo>
                  <a:lnTo>
                    <a:pt x="0" y="31819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321" name="Forma livre: Forma 1320">
              <a:extLst>
                <a:ext uri="{FF2B5EF4-FFF2-40B4-BE49-F238E27FC236}">
                  <a16:creationId xmlns:a16="http://schemas.microsoft.com/office/drawing/2014/main" id="{4CA179A1-E12E-054F-D25F-EAD592B409EF}"/>
                </a:ext>
              </a:extLst>
            </p:cNvPr>
            <p:cNvSpPr/>
            <p:nvPr/>
          </p:nvSpPr>
          <p:spPr>
            <a:xfrm>
              <a:off x="2044469" y="5833552"/>
              <a:ext cx="68196" cy="68196"/>
            </a:xfrm>
            <a:custGeom>
              <a:avLst/>
              <a:gdLst>
                <a:gd name="connsiteX0" fmla="*/ 68197 w 68196"/>
                <a:gd name="connsiteY0" fmla="*/ 34098 h 68196"/>
                <a:gd name="connsiteX1" fmla="*/ 34098 w 68196"/>
                <a:gd name="connsiteY1" fmla="*/ 68197 h 68196"/>
                <a:gd name="connsiteX2" fmla="*/ 0 w 68196"/>
                <a:gd name="connsiteY2" fmla="*/ 34098 h 68196"/>
                <a:gd name="connsiteX3" fmla="*/ 34098 w 68196"/>
                <a:gd name="connsiteY3" fmla="*/ 0 h 68196"/>
                <a:gd name="connsiteX4" fmla="*/ 68197 w 68196"/>
                <a:gd name="connsiteY4" fmla="*/ 34098 h 681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8196" h="68196">
                  <a:moveTo>
                    <a:pt x="68197" y="34098"/>
                  </a:moveTo>
                  <a:cubicBezTo>
                    <a:pt x="68197" y="52922"/>
                    <a:pt x="52933" y="68197"/>
                    <a:pt x="34098" y="68197"/>
                  </a:cubicBezTo>
                  <a:cubicBezTo>
                    <a:pt x="15263" y="68197"/>
                    <a:pt x="0" y="52922"/>
                    <a:pt x="0" y="34098"/>
                  </a:cubicBezTo>
                  <a:cubicBezTo>
                    <a:pt x="0" y="15275"/>
                    <a:pt x="15275" y="0"/>
                    <a:pt x="34098" y="0"/>
                  </a:cubicBezTo>
                  <a:cubicBezTo>
                    <a:pt x="52922" y="0"/>
                    <a:pt x="68197" y="15263"/>
                    <a:pt x="68197" y="34098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322" name="Forma livre: Forma 1321">
              <a:extLst>
                <a:ext uri="{FF2B5EF4-FFF2-40B4-BE49-F238E27FC236}">
                  <a16:creationId xmlns:a16="http://schemas.microsoft.com/office/drawing/2014/main" id="{C9A27FCB-5A65-FA56-9F5D-348B53C38839}"/>
                </a:ext>
              </a:extLst>
            </p:cNvPr>
            <p:cNvSpPr/>
            <p:nvPr/>
          </p:nvSpPr>
          <p:spPr>
            <a:xfrm>
              <a:off x="2193904" y="5801897"/>
              <a:ext cx="75469" cy="249051"/>
            </a:xfrm>
            <a:custGeom>
              <a:avLst/>
              <a:gdLst>
                <a:gd name="connsiteX0" fmla="*/ 0 w 75469"/>
                <a:gd name="connsiteY0" fmla="*/ 0 h 249051"/>
                <a:gd name="connsiteX1" fmla="*/ 75470 w 75469"/>
                <a:gd name="connsiteY1" fmla="*/ 0 h 249051"/>
                <a:gd name="connsiteX2" fmla="*/ 75470 w 75469"/>
                <a:gd name="connsiteY2" fmla="*/ 249051 h 249051"/>
                <a:gd name="connsiteX3" fmla="*/ 0 w 75469"/>
                <a:gd name="connsiteY3" fmla="*/ 249051 h 2490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5469" h="249051">
                  <a:moveTo>
                    <a:pt x="0" y="0"/>
                  </a:moveTo>
                  <a:lnTo>
                    <a:pt x="75470" y="0"/>
                  </a:lnTo>
                  <a:lnTo>
                    <a:pt x="75470" y="249051"/>
                  </a:lnTo>
                  <a:lnTo>
                    <a:pt x="0" y="249051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323" name="Forma livre: Forma 1322">
              <a:extLst>
                <a:ext uri="{FF2B5EF4-FFF2-40B4-BE49-F238E27FC236}">
                  <a16:creationId xmlns:a16="http://schemas.microsoft.com/office/drawing/2014/main" id="{2308C65A-4D82-9547-9BE9-A3169B5BDF88}"/>
                </a:ext>
              </a:extLst>
            </p:cNvPr>
            <p:cNvSpPr/>
            <p:nvPr/>
          </p:nvSpPr>
          <p:spPr>
            <a:xfrm>
              <a:off x="2064173" y="5801039"/>
              <a:ext cx="28787" cy="34932"/>
            </a:xfrm>
            <a:custGeom>
              <a:avLst/>
              <a:gdLst>
                <a:gd name="connsiteX0" fmla="*/ 0 w 28787"/>
                <a:gd name="connsiteY0" fmla="*/ 34933 h 34932"/>
                <a:gd name="connsiteX1" fmla="*/ 0 w 28787"/>
                <a:gd name="connsiteY1" fmla="*/ 0 h 34932"/>
                <a:gd name="connsiteX2" fmla="*/ 28787 w 28787"/>
                <a:gd name="connsiteY2" fmla="*/ 0 h 34932"/>
                <a:gd name="connsiteX3" fmla="*/ 28787 w 28787"/>
                <a:gd name="connsiteY3" fmla="*/ 34933 h 349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8787" h="34932">
                  <a:moveTo>
                    <a:pt x="0" y="34933"/>
                  </a:moveTo>
                  <a:lnTo>
                    <a:pt x="0" y="0"/>
                  </a:lnTo>
                  <a:lnTo>
                    <a:pt x="28787" y="0"/>
                  </a:lnTo>
                  <a:lnTo>
                    <a:pt x="28787" y="34933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324" name="Gráfico 13">
              <a:extLst>
                <a:ext uri="{FF2B5EF4-FFF2-40B4-BE49-F238E27FC236}">
                  <a16:creationId xmlns:a16="http://schemas.microsoft.com/office/drawing/2014/main" id="{80BD6C81-9423-9714-F1AB-83884D1BBF44}"/>
                </a:ext>
              </a:extLst>
            </p:cNvPr>
            <p:cNvGrpSpPr/>
            <p:nvPr/>
          </p:nvGrpSpPr>
          <p:grpSpPr>
            <a:xfrm>
              <a:off x="2195244" y="5833058"/>
              <a:ext cx="41970" cy="186729"/>
              <a:chOff x="2195244" y="5833058"/>
              <a:chExt cx="41970" cy="186729"/>
            </a:xfrm>
          </p:grpSpPr>
          <p:sp>
            <p:nvSpPr>
              <p:cNvPr id="1325" name="Forma livre: Forma 1324">
                <a:extLst>
                  <a:ext uri="{FF2B5EF4-FFF2-40B4-BE49-F238E27FC236}">
                    <a16:creationId xmlns:a16="http://schemas.microsoft.com/office/drawing/2014/main" id="{B2C8A36F-C023-3ACB-5E77-8D815445CD31}"/>
                  </a:ext>
                </a:extLst>
              </p:cNvPr>
              <p:cNvSpPr/>
              <p:nvPr/>
            </p:nvSpPr>
            <p:spPr>
              <a:xfrm>
                <a:off x="2195244" y="5833058"/>
                <a:ext cx="25215" cy="1174"/>
              </a:xfrm>
              <a:custGeom>
                <a:avLst/>
                <a:gdLst>
                  <a:gd name="connsiteX0" fmla="*/ 0 w 25215"/>
                  <a:gd name="connsiteY0" fmla="*/ 0 h 1174"/>
                  <a:gd name="connsiteX1" fmla="*/ 25215 w 25215"/>
                  <a:gd name="connsiteY1" fmla="*/ 0 h 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5215" h="1174">
                    <a:moveTo>
                      <a:pt x="0" y="0"/>
                    </a:moveTo>
                    <a:lnTo>
                      <a:pt x="25215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326" name="Forma livre: Forma 1325">
                <a:extLst>
                  <a:ext uri="{FF2B5EF4-FFF2-40B4-BE49-F238E27FC236}">
                    <a16:creationId xmlns:a16="http://schemas.microsoft.com/office/drawing/2014/main" id="{798C3EB1-9CA3-2F0B-E7CA-354B84FF3AD5}"/>
                  </a:ext>
                </a:extLst>
              </p:cNvPr>
              <p:cNvSpPr/>
              <p:nvPr/>
            </p:nvSpPr>
            <p:spPr>
              <a:xfrm>
                <a:off x="2195244" y="5864184"/>
                <a:ext cx="41970" cy="1174"/>
              </a:xfrm>
              <a:custGeom>
                <a:avLst/>
                <a:gdLst>
                  <a:gd name="connsiteX0" fmla="*/ 0 w 41970"/>
                  <a:gd name="connsiteY0" fmla="*/ 0 h 1174"/>
                  <a:gd name="connsiteX1" fmla="*/ 41971 w 41970"/>
                  <a:gd name="connsiteY1" fmla="*/ 0 h 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1970" h="1174">
                    <a:moveTo>
                      <a:pt x="0" y="0"/>
                    </a:moveTo>
                    <a:lnTo>
                      <a:pt x="41971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327" name="Forma livre: Forma 1326">
                <a:extLst>
                  <a:ext uri="{FF2B5EF4-FFF2-40B4-BE49-F238E27FC236}">
                    <a16:creationId xmlns:a16="http://schemas.microsoft.com/office/drawing/2014/main" id="{1DBE128E-60CC-880E-B42D-F7DE27F4A9D2}"/>
                  </a:ext>
                </a:extLst>
              </p:cNvPr>
              <p:cNvSpPr/>
              <p:nvPr/>
            </p:nvSpPr>
            <p:spPr>
              <a:xfrm>
                <a:off x="2195244" y="5926423"/>
                <a:ext cx="41970" cy="1174"/>
              </a:xfrm>
              <a:custGeom>
                <a:avLst/>
                <a:gdLst>
                  <a:gd name="connsiteX0" fmla="*/ 0 w 41970"/>
                  <a:gd name="connsiteY0" fmla="*/ 0 h 1174"/>
                  <a:gd name="connsiteX1" fmla="*/ 41971 w 41970"/>
                  <a:gd name="connsiteY1" fmla="*/ 0 h 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1970" h="1174">
                    <a:moveTo>
                      <a:pt x="0" y="0"/>
                    </a:moveTo>
                    <a:lnTo>
                      <a:pt x="41971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328" name="Forma livre: Forma 1327">
                <a:extLst>
                  <a:ext uri="{FF2B5EF4-FFF2-40B4-BE49-F238E27FC236}">
                    <a16:creationId xmlns:a16="http://schemas.microsoft.com/office/drawing/2014/main" id="{6AD9F837-8A24-64C8-0937-D64ACF676087}"/>
                  </a:ext>
                </a:extLst>
              </p:cNvPr>
              <p:cNvSpPr/>
              <p:nvPr/>
            </p:nvSpPr>
            <p:spPr>
              <a:xfrm>
                <a:off x="2195244" y="5895297"/>
                <a:ext cx="25215" cy="1174"/>
              </a:xfrm>
              <a:custGeom>
                <a:avLst/>
                <a:gdLst>
                  <a:gd name="connsiteX0" fmla="*/ 0 w 25215"/>
                  <a:gd name="connsiteY0" fmla="*/ 0 h 1174"/>
                  <a:gd name="connsiteX1" fmla="*/ 25215 w 25215"/>
                  <a:gd name="connsiteY1" fmla="*/ 0 h 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5215" h="1174">
                    <a:moveTo>
                      <a:pt x="0" y="0"/>
                    </a:moveTo>
                    <a:lnTo>
                      <a:pt x="25215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329" name="Forma livre: Forma 1328">
                <a:extLst>
                  <a:ext uri="{FF2B5EF4-FFF2-40B4-BE49-F238E27FC236}">
                    <a16:creationId xmlns:a16="http://schemas.microsoft.com/office/drawing/2014/main" id="{CCA35D82-EB14-6D04-AF31-45E81CA69BB1}"/>
                  </a:ext>
                </a:extLst>
              </p:cNvPr>
              <p:cNvSpPr/>
              <p:nvPr/>
            </p:nvSpPr>
            <p:spPr>
              <a:xfrm>
                <a:off x="2195244" y="5957549"/>
                <a:ext cx="25215" cy="1174"/>
              </a:xfrm>
              <a:custGeom>
                <a:avLst/>
                <a:gdLst>
                  <a:gd name="connsiteX0" fmla="*/ 0 w 25215"/>
                  <a:gd name="connsiteY0" fmla="*/ 0 h 1174"/>
                  <a:gd name="connsiteX1" fmla="*/ 25215 w 25215"/>
                  <a:gd name="connsiteY1" fmla="*/ 0 h 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5215" h="1174">
                    <a:moveTo>
                      <a:pt x="0" y="0"/>
                    </a:moveTo>
                    <a:lnTo>
                      <a:pt x="25215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330" name="Forma livre: Forma 1329">
                <a:extLst>
                  <a:ext uri="{FF2B5EF4-FFF2-40B4-BE49-F238E27FC236}">
                    <a16:creationId xmlns:a16="http://schemas.microsoft.com/office/drawing/2014/main" id="{E2132FE8-7FA6-D07B-23DE-96F7F1ABE91C}"/>
                  </a:ext>
                </a:extLst>
              </p:cNvPr>
              <p:cNvSpPr/>
              <p:nvPr/>
            </p:nvSpPr>
            <p:spPr>
              <a:xfrm>
                <a:off x="2195244" y="6019788"/>
                <a:ext cx="25215" cy="1174"/>
              </a:xfrm>
              <a:custGeom>
                <a:avLst/>
                <a:gdLst>
                  <a:gd name="connsiteX0" fmla="*/ 0 w 25215"/>
                  <a:gd name="connsiteY0" fmla="*/ 0 h 1174"/>
                  <a:gd name="connsiteX1" fmla="*/ 25215 w 25215"/>
                  <a:gd name="connsiteY1" fmla="*/ 0 h 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5215" h="1174">
                    <a:moveTo>
                      <a:pt x="0" y="0"/>
                    </a:moveTo>
                    <a:lnTo>
                      <a:pt x="25215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331" name="Forma livre: Forma 1330">
                <a:extLst>
                  <a:ext uri="{FF2B5EF4-FFF2-40B4-BE49-F238E27FC236}">
                    <a16:creationId xmlns:a16="http://schemas.microsoft.com/office/drawing/2014/main" id="{67C54E76-750E-473E-E6E8-B4764AAE87FC}"/>
                  </a:ext>
                </a:extLst>
              </p:cNvPr>
              <p:cNvSpPr/>
              <p:nvPr/>
            </p:nvSpPr>
            <p:spPr>
              <a:xfrm>
                <a:off x="2195244" y="5988662"/>
                <a:ext cx="41970" cy="1174"/>
              </a:xfrm>
              <a:custGeom>
                <a:avLst/>
                <a:gdLst>
                  <a:gd name="connsiteX0" fmla="*/ 0 w 41970"/>
                  <a:gd name="connsiteY0" fmla="*/ 0 h 1174"/>
                  <a:gd name="connsiteX1" fmla="*/ 41971 w 41970"/>
                  <a:gd name="connsiteY1" fmla="*/ 0 h 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1970" h="1174">
                    <a:moveTo>
                      <a:pt x="0" y="0"/>
                    </a:moveTo>
                    <a:lnTo>
                      <a:pt x="41971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332" name="Forma livre: Forma 1331">
              <a:extLst>
                <a:ext uri="{FF2B5EF4-FFF2-40B4-BE49-F238E27FC236}">
                  <a16:creationId xmlns:a16="http://schemas.microsoft.com/office/drawing/2014/main" id="{6EFB808E-AC1E-BF7F-BF4A-90D361BC70CF}"/>
                </a:ext>
              </a:extLst>
            </p:cNvPr>
            <p:cNvSpPr/>
            <p:nvPr/>
          </p:nvSpPr>
          <p:spPr>
            <a:xfrm>
              <a:off x="2074901" y="5863984"/>
              <a:ext cx="7331" cy="7320"/>
            </a:xfrm>
            <a:custGeom>
              <a:avLst/>
              <a:gdLst>
                <a:gd name="connsiteX0" fmla="*/ 7332 w 7331"/>
                <a:gd name="connsiteY0" fmla="*/ 3666 h 7320"/>
                <a:gd name="connsiteX1" fmla="*/ 3666 w 7331"/>
                <a:gd name="connsiteY1" fmla="*/ 7320 h 7320"/>
                <a:gd name="connsiteX2" fmla="*/ 0 w 7331"/>
                <a:gd name="connsiteY2" fmla="*/ 3666 h 7320"/>
                <a:gd name="connsiteX3" fmla="*/ 3666 w 7331"/>
                <a:gd name="connsiteY3" fmla="*/ 0 h 7320"/>
                <a:gd name="connsiteX4" fmla="*/ 7332 w 7331"/>
                <a:gd name="connsiteY4" fmla="*/ 3666 h 73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331" h="7320">
                  <a:moveTo>
                    <a:pt x="7332" y="3666"/>
                  </a:moveTo>
                  <a:cubicBezTo>
                    <a:pt x="7332" y="5687"/>
                    <a:pt x="5699" y="7320"/>
                    <a:pt x="3666" y="7320"/>
                  </a:cubicBezTo>
                  <a:cubicBezTo>
                    <a:pt x="1633" y="7320"/>
                    <a:pt x="0" y="5687"/>
                    <a:pt x="0" y="3666"/>
                  </a:cubicBezTo>
                  <a:cubicBezTo>
                    <a:pt x="0" y="1645"/>
                    <a:pt x="1645" y="0"/>
                    <a:pt x="3666" y="0"/>
                  </a:cubicBezTo>
                  <a:cubicBezTo>
                    <a:pt x="5687" y="0"/>
                    <a:pt x="7332" y="1633"/>
                    <a:pt x="7332" y="3666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333" name="Gráfico 13">
              <a:extLst>
                <a:ext uri="{FF2B5EF4-FFF2-40B4-BE49-F238E27FC236}">
                  <a16:creationId xmlns:a16="http://schemas.microsoft.com/office/drawing/2014/main" id="{700D3ABD-7400-070B-A9E2-CEF07F1C041C}"/>
                </a:ext>
              </a:extLst>
            </p:cNvPr>
            <p:cNvGrpSpPr/>
            <p:nvPr/>
          </p:nvGrpSpPr>
          <p:grpSpPr>
            <a:xfrm>
              <a:off x="1995483" y="5896743"/>
              <a:ext cx="166167" cy="155733"/>
              <a:chOff x="1995483" y="5896743"/>
              <a:chExt cx="166167" cy="155733"/>
            </a:xfrm>
          </p:grpSpPr>
          <p:grpSp>
            <p:nvGrpSpPr>
              <p:cNvPr id="1334" name="Gráfico 13">
                <a:extLst>
                  <a:ext uri="{FF2B5EF4-FFF2-40B4-BE49-F238E27FC236}">
                    <a16:creationId xmlns:a16="http://schemas.microsoft.com/office/drawing/2014/main" id="{81BA72CF-DEC0-8361-4EEF-B819D9F0C610}"/>
                  </a:ext>
                </a:extLst>
              </p:cNvPr>
              <p:cNvGrpSpPr/>
              <p:nvPr/>
            </p:nvGrpSpPr>
            <p:grpSpPr>
              <a:xfrm>
                <a:off x="2097649" y="5896743"/>
                <a:ext cx="64001" cy="155733"/>
                <a:chOff x="2097649" y="5896743"/>
                <a:chExt cx="64001" cy="155733"/>
              </a:xfrm>
            </p:grpSpPr>
            <p:sp>
              <p:nvSpPr>
                <p:cNvPr id="1335" name="Forma livre: Forma 1334">
                  <a:extLst>
                    <a:ext uri="{FF2B5EF4-FFF2-40B4-BE49-F238E27FC236}">
                      <a16:creationId xmlns:a16="http://schemas.microsoft.com/office/drawing/2014/main" id="{42720237-FF74-AC5C-10EE-B10791AB66F8}"/>
                    </a:ext>
                  </a:extLst>
                </p:cNvPr>
                <p:cNvSpPr/>
                <p:nvPr/>
              </p:nvSpPr>
              <p:spPr>
                <a:xfrm>
                  <a:off x="2131112" y="5978217"/>
                  <a:ext cx="30538" cy="74259"/>
                </a:xfrm>
                <a:custGeom>
                  <a:avLst/>
                  <a:gdLst>
                    <a:gd name="connsiteX0" fmla="*/ 0 w 30538"/>
                    <a:gd name="connsiteY0" fmla="*/ 0 h 74259"/>
                    <a:gd name="connsiteX1" fmla="*/ 30538 w 30538"/>
                    <a:gd name="connsiteY1" fmla="*/ 74259 h 7425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30538" h="74259">
                      <a:moveTo>
                        <a:pt x="0" y="0"/>
                      </a:moveTo>
                      <a:lnTo>
                        <a:pt x="30538" y="74259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336" name="Forma livre: Forma 1335">
                  <a:extLst>
                    <a:ext uri="{FF2B5EF4-FFF2-40B4-BE49-F238E27FC236}">
                      <a16:creationId xmlns:a16="http://schemas.microsoft.com/office/drawing/2014/main" id="{69873A8B-52BF-3892-619A-E469FC5BC06A}"/>
                    </a:ext>
                  </a:extLst>
                </p:cNvPr>
                <p:cNvSpPr/>
                <p:nvPr/>
              </p:nvSpPr>
              <p:spPr>
                <a:xfrm>
                  <a:off x="2097649" y="5896743"/>
                  <a:ext cx="24040" cy="58573"/>
                </a:xfrm>
                <a:custGeom>
                  <a:avLst/>
                  <a:gdLst>
                    <a:gd name="connsiteX0" fmla="*/ 0 w 24040"/>
                    <a:gd name="connsiteY0" fmla="*/ 0 h 58573"/>
                    <a:gd name="connsiteX1" fmla="*/ 24040 w 24040"/>
                    <a:gd name="connsiteY1" fmla="*/ 58573 h 5857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4040" h="58573">
                      <a:moveTo>
                        <a:pt x="0" y="0"/>
                      </a:moveTo>
                      <a:lnTo>
                        <a:pt x="24040" y="58573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1337" name="Gráfico 13">
                <a:extLst>
                  <a:ext uri="{FF2B5EF4-FFF2-40B4-BE49-F238E27FC236}">
                    <a16:creationId xmlns:a16="http://schemas.microsoft.com/office/drawing/2014/main" id="{A3E99433-FCCD-9204-1846-BC5C1BE23CC0}"/>
                  </a:ext>
                </a:extLst>
              </p:cNvPr>
              <p:cNvGrpSpPr/>
              <p:nvPr/>
            </p:nvGrpSpPr>
            <p:grpSpPr>
              <a:xfrm>
                <a:off x="1995483" y="5896743"/>
                <a:ext cx="64001" cy="155733"/>
                <a:chOff x="1995483" y="5896743"/>
                <a:chExt cx="64001" cy="155733"/>
              </a:xfrm>
            </p:grpSpPr>
            <p:sp>
              <p:nvSpPr>
                <p:cNvPr id="1338" name="Forma livre: Forma 1337">
                  <a:extLst>
                    <a:ext uri="{FF2B5EF4-FFF2-40B4-BE49-F238E27FC236}">
                      <a16:creationId xmlns:a16="http://schemas.microsoft.com/office/drawing/2014/main" id="{200C248A-6818-0212-BD95-F12F6CA67F11}"/>
                    </a:ext>
                  </a:extLst>
                </p:cNvPr>
                <p:cNvSpPr/>
                <p:nvPr/>
              </p:nvSpPr>
              <p:spPr>
                <a:xfrm>
                  <a:off x="1995483" y="5978217"/>
                  <a:ext cx="30526" cy="74259"/>
                </a:xfrm>
                <a:custGeom>
                  <a:avLst/>
                  <a:gdLst>
                    <a:gd name="connsiteX0" fmla="*/ 30526 w 30526"/>
                    <a:gd name="connsiteY0" fmla="*/ 0 h 74259"/>
                    <a:gd name="connsiteX1" fmla="*/ 0 w 30526"/>
                    <a:gd name="connsiteY1" fmla="*/ 74259 h 7425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30526" h="74259">
                      <a:moveTo>
                        <a:pt x="30526" y="0"/>
                      </a:moveTo>
                      <a:lnTo>
                        <a:pt x="0" y="74259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339" name="Forma livre: Forma 1338">
                  <a:extLst>
                    <a:ext uri="{FF2B5EF4-FFF2-40B4-BE49-F238E27FC236}">
                      <a16:creationId xmlns:a16="http://schemas.microsoft.com/office/drawing/2014/main" id="{26731BFE-106C-8911-234B-42928A381EBC}"/>
                    </a:ext>
                  </a:extLst>
                </p:cNvPr>
                <p:cNvSpPr/>
                <p:nvPr/>
              </p:nvSpPr>
              <p:spPr>
                <a:xfrm>
                  <a:off x="2035433" y="5896743"/>
                  <a:ext cx="24052" cy="58573"/>
                </a:xfrm>
                <a:custGeom>
                  <a:avLst/>
                  <a:gdLst>
                    <a:gd name="connsiteX0" fmla="*/ 24052 w 24052"/>
                    <a:gd name="connsiteY0" fmla="*/ 0 h 58573"/>
                    <a:gd name="connsiteX1" fmla="*/ 0 w 24052"/>
                    <a:gd name="connsiteY1" fmla="*/ 58573 h 5857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4052" h="58573">
                      <a:moveTo>
                        <a:pt x="24052" y="0"/>
                      </a:moveTo>
                      <a:lnTo>
                        <a:pt x="0" y="58573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</p:grpSp>
      <p:grpSp>
        <p:nvGrpSpPr>
          <p:cNvPr id="1340" name="Gráfico 13">
            <a:extLst>
              <a:ext uri="{FF2B5EF4-FFF2-40B4-BE49-F238E27FC236}">
                <a16:creationId xmlns:a16="http://schemas.microsoft.com/office/drawing/2014/main" id="{59AE1DF5-9879-68E0-033F-820AE00F3B1E}"/>
              </a:ext>
            </a:extLst>
          </p:cNvPr>
          <p:cNvGrpSpPr/>
          <p:nvPr/>
        </p:nvGrpSpPr>
        <p:grpSpPr>
          <a:xfrm>
            <a:off x="1986323" y="5252283"/>
            <a:ext cx="292192" cy="302490"/>
            <a:chOff x="1986323" y="5252283"/>
            <a:chExt cx="292192" cy="302490"/>
          </a:xfrm>
          <a:noFill/>
        </p:grpSpPr>
        <p:grpSp>
          <p:nvGrpSpPr>
            <p:cNvPr id="1341" name="Gráfico 13">
              <a:extLst>
                <a:ext uri="{FF2B5EF4-FFF2-40B4-BE49-F238E27FC236}">
                  <a16:creationId xmlns:a16="http://schemas.microsoft.com/office/drawing/2014/main" id="{39C92197-42D3-9001-7A72-3DB37AF326BB}"/>
                </a:ext>
              </a:extLst>
            </p:cNvPr>
            <p:cNvGrpSpPr/>
            <p:nvPr/>
          </p:nvGrpSpPr>
          <p:grpSpPr>
            <a:xfrm>
              <a:off x="1986323" y="5294324"/>
              <a:ext cx="217040" cy="260448"/>
              <a:chOff x="1986323" y="5294324"/>
              <a:chExt cx="217040" cy="260448"/>
            </a:xfrm>
            <a:noFill/>
          </p:grpSpPr>
          <p:sp>
            <p:nvSpPr>
              <p:cNvPr id="1342" name="Forma livre: Forma 1341">
                <a:extLst>
                  <a:ext uri="{FF2B5EF4-FFF2-40B4-BE49-F238E27FC236}">
                    <a16:creationId xmlns:a16="http://schemas.microsoft.com/office/drawing/2014/main" id="{46E484FA-876E-7BAC-BD66-3659B9834057}"/>
                  </a:ext>
                </a:extLst>
              </p:cNvPr>
              <p:cNvSpPr/>
              <p:nvPr/>
            </p:nvSpPr>
            <p:spPr>
              <a:xfrm>
                <a:off x="1986323" y="5294324"/>
                <a:ext cx="107178" cy="260061"/>
              </a:xfrm>
              <a:custGeom>
                <a:avLst/>
                <a:gdLst>
                  <a:gd name="connsiteX0" fmla="*/ 107178 w 107178"/>
                  <a:gd name="connsiteY0" fmla="*/ 0 h 260061"/>
                  <a:gd name="connsiteX1" fmla="*/ 64115 w 107178"/>
                  <a:gd name="connsiteY1" fmla="*/ 15921 h 260061"/>
                  <a:gd name="connsiteX2" fmla="*/ 31380 w 107178"/>
                  <a:gd name="connsiteY2" fmla="*/ 91356 h 260061"/>
                  <a:gd name="connsiteX3" fmla="*/ 28078 w 107178"/>
                  <a:gd name="connsiteY3" fmla="*/ 114938 h 260061"/>
                  <a:gd name="connsiteX4" fmla="*/ 583 w 107178"/>
                  <a:gd name="connsiteY4" fmla="*/ 147262 h 260061"/>
                  <a:gd name="connsiteX5" fmla="*/ 7915 w 107178"/>
                  <a:gd name="connsiteY5" fmla="*/ 157790 h 260061"/>
                  <a:gd name="connsiteX6" fmla="*/ 24671 w 107178"/>
                  <a:gd name="connsiteY6" fmla="*/ 161244 h 260061"/>
                  <a:gd name="connsiteX7" fmla="*/ 32367 w 107178"/>
                  <a:gd name="connsiteY7" fmla="*/ 185426 h 260061"/>
                  <a:gd name="connsiteX8" fmla="*/ 30628 w 107178"/>
                  <a:gd name="connsiteY8" fmla="*/ 208902 h 260061"/>
                  <a:gd name="connsiteX9" fmla="*/ 34023 w 107178"/>
                  <a:gd name="connsiteY9" fmla="*/ 231603 h 260061"/>
                  <a:gd name="connsiteX10" fmla="*/ 91680 w 107178"/>
                  <a:gd name="connsiteY10" fmla="*/ 229335 h 260061"/>
                  <a:gd name="connsiteX11" fmla="*/ 100293 w 107178"/>
                  <a:gd name="connsiteY11" fmla="*/ 260061 h 2600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07178" h="260061">
                    <a:moveTo>
                      <a:pt x="107178" y="0"/>
                    </a:moveTo>
                    <a:cubicBezTo>
                      <a:pt x="93607" y="2468"/>
                      <a:pt x="79120" y="7414"/>
                      <a:pt x="64115" y="15921"/>
                    </a:cubicBezTo>
                    <a:cubicBezTo>
                      <a:pt x="64115" y="15921"/>
                      <a:pt x="22603" y="33887"/>
                      <a:pt x="31380" y="91356"/>
                    </a:cubicBezTo>
                    <a:cubicBezTo>
                      <a:pt x="31380" y="91356"/>
                      <a:pt x="33166" y="107430"/>
                      <a:pt x="28078" y="114938"/>
                    </a:cubicBezTo>
                    <a:lnTo>
                      <a:pt x="583" y="147262"/>
                    </a:lnTo>
                    <a:cubicBezTo>
                      <a:pt x="583" y="147262"/>
                      <a:pt x="-3071" y="156873"/>
                      <a:pt x="7915" y="157790"/>
                    </a:cubicBezTo>
                    <a:lnTo>
                      <a:pt x="24671" y="161244"/>
                    </a:lnTo>
                    <a:cubicBezTo>
                      <a:pt x="24671" y="161244"/>
                      <a:pt x="31673" y="174909"/>
                      <a:pt x="32367" y="185426"/>
                    </a:cubicBezTo>
                    <a:cubicBezTo>
                      <a:pt x="33072" y="195942"/>
                      <a:pt x="30628" y="208902"/>
                      <a:pt x="30628" y="208902"/>
                    </a:cubicBezTo>
                    <a:cubicBezTo>
                      <a:pt x="30628" y="208902"/>
                      <a:pt x="24671" y="224670"/>
                      <a:pt x="34023" y="231603"/>
                    </a:cubicBezTo>
                    <a:cubicBezTo>
                      <a:pt x="35856" y="232061"/>
                      <a:pt x="42730" y="239851"/>
                      <a:pt x="91680" y="229335"/>
                    </a:cubicBezTo>
                    <a:cubicBezTo>
                      <a:pt x="91680" y="229335"/>
                      <a:pt x="97285" y="234482"/>
                      <a:pt x="100293" y="260061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343" name="Forma livre: Forma 1342">
                <a:extLst>
                  <a:ext uri="{FF2B5EF4-FFF2-40B4-BE49-F238E27FC236}">
                    <a16:creationId xmlns:a16="http://schemas.microsoft.com/office/drawing/2014/main" id="{B680110F-53A8-2885-3A8E-B7C2DCD54614}"/>
                  </a:ext>
                </a:extLst>
              </p:cNvPr>
              <p:cNvSpPr/>
              <p:nvPr/>
            </p:nvSpPr>
            <p:spPr>
              <a:xfrm>
                <a:off x="2187118" y="5454323"/>
                <a:ext cx="16245" cy="100450"/>
              </a:xfrm>
              <a:custGeom>
                <a:avLst/>
                <a:gdLst>
                  <a:gd name="connsiteX0" fmla="*/ 5188 w 16245"/>
                  <a:gd name="connsiteY0" fmla="*/ 100450 h 100450"/>
                  <a:gd name="connsiteX1" fmla="*/ 230 w 16245"/>
                  <a:gd name="connsiteY1" fmla="*/ 44156 h 100450"/>
                  <a:gd name="connsiteX2" fmla="*/ 16245 w 16245"/>
                  <a:gd name="connsiteY2" fmla="*/ 0 h 1004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6245" h="100450">
                    <a:moveTo>
                      <a:pt x="5188" y="100450"/>
                    </a:moveTo>
                    <a:cubicBezTo>
                      <a:pt x="3026" y="87772"/>
                      <a:pt x="-1004" y="64249"/>
                      <a:pt x="230" y="44156"/>
                    </a:cubicBezTo>
                    <a:cubicBezTo>
                      <a:pt x="230" y="44156"/>
                      <a:pt x="5565" y="20116"/>
                      <a:pt x="16245" y="0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344" name="Forma livre: Forma 1343">
                <a:extLst>
                  <a:ext uri="{FF2B5EF4-FFF2-40B4-BE49-F238E27FC236}">
                    <a16:creationId xmlns:a16="http://schemas.microsoft.com/office/drawing/2014/main" id="{5D4FBCC3-D75D-69B6-025A-0A5A8F48E6F1}"/>
                  </a:ext>
                </a:extLst>
              </p:cNvPr>
              <p:cNvSpPr/>
              <p:nvPr/>
            </p:nvSpPr>
            <p:spPr>
              <a:xfrm>
                <a:off x="2020792" y="5480455"/>
                <a:ext cx="21032" cy="352"/>
              </a:xfrm>
              <a:custGeom>
                <a:avLst/>
                <a:gdLst>
                  <a:gd name="connsiteX0" fmla="*/ 0 w 21032"/>
                  <a:gd name="connsiteY0" fmla="*/ 0 h 352"/>
                  <a:gd name="connsiteX1" fmla="*/ 21032 w 21032"/>
                  <a:gd name="connsiteY1" fmla="*/ 353 h 3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1032" h="352">
                    <a:moveTo>
                      <a:pt x="0" y="0"/>
                    </a:moveTo>
                    <a:lnTo>
                      <a:pt x="21032" y="353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345" name="Gráfico 13">
              <a:extLst>
                <a:ext uri="{FF2B5EF4-FFF2-40B4-BE49-F238E27FC236}">
                  <a16:creationId xmlns:a16="http://schemas.microsoft.com/office/drawing/2014/main" id="{FFC15B4E-7FE0-764D-D812-F7FE0ABFF568}"/>
                </a:ext>
              </a:extLst>
            </p:cNvPr>
            <p:cNvGrpSpPr/>
            <p:nvPr/>
          </p:nvGrpSpPr>
          <p:grpSpPr>
            <a:xfrm>
              <a:off x="2102936" y="5252283"/>
              <a:ext cx="175579" cy="175614"/>
              <a:chOff x="2102936" y="5252283"/>
              <a:chExt cx="175579" cy="175614"/>
            </a:xfrm>
            <a:noFill/>
          </p:grpSpPr>
          <p:sp>
            <p:nvSpPr>
              <p:cNvPr id="1346" name="Forma livre: Forma 1345">
                <a:extLst>
                  <a:ext uri="{FF2B5EF4-FFF2-40B4-BE49-F238E27FC236}">
                    <a16:creationId xmlns:a16="http://schemas.microsoft.com/office/drawing/2014/main" id="{D5467954-BB0B-7930-3B7B-0F09F689A415}"/>
                  </a:ext>
                </a:extLst>
              </p:cNvPr>
              <p:cNvSpPr/>
              <p:nvPr/>
            </p:nvSpPr>
            <p:spPr>
              <a:xfrm>
                <a:off x="2102936" y="5252283"/>
                <a:ext cx="175579" cy="175614"/>
              </a:xfrm>
              <a:custGeom>
                <a:avLst/>
                <a:gdLst>
                  <a:gd name="connsiteX0" fmla="*/ 71404 w 175579"/>
                  <a:gd name="connsiteY0" fmla="*/ 23547 h 175614"/>
                  <a:gd name="connsiteX1" fmla="*/ 54061 w 175579"/>
                  <a:gd name="connsiteY1" fmla="*/ 30703 h 175614"/>
                  <a:gd name="connsiteX2" fmla="*/ 34568 w 175579"/>
                  <a:gd name="connsiteY2" fmla="*/ 16873 h 175614"/>
                  <a:gd name="connsiteX3" fmla="*/ 16849 w 175579"/>
                  <a:gd name="connsiteY3" fmla="*/ 34580 h 175614"/>
                  <a:gd name="connsiteX4" fmla="*/ 30679 w 175579"/>
                  <a:gd name="connsiteY4" fmla="*/ 54073 h 175614"/>
                  <a:gd name="connsiteX5" fmla="*/ 23559 w 175579"/>
                  <a:gd name="connsiteY5" fmla="*/ 71275 h 175614"/>
                  <a:gd name="connsiteX6" fmla="*/ 0 w 175579"/>
                  <a:gd name="connsiteY6" fmla="*/ 75282 h 175614"/>
                  <a:gd name="connsiteX7" fmla="*/ 0 w 175579"/>
                  <a:gd name="connsiteY7" fmla="*/ 100333 h 175614"/>
                  <a:gd name="connsiteX8" fmla="*/ 23559 w 175579"/>
                  <a:gd name="connsiteY8" fmla="*/ 104339 h 175614"/>
                  <a:gd name="connsiteX9" fmla="*/ 30761 w 175579"/>
                  <a:gd name="connsiteY9" fmla="*/ 121659 h 175614"/>
                  <a:gd name="connsiteX10" fmla="*/ 16849 w 175579"/>
                  <a:gd name="connsiteY10" fmla="*/ 141034 h 175614"/>
                  <a:gd name="connsiteX11" fmla="*/ 34568 w 175579"/>
                  <a:gd name="connsiteY11" fmla="*/ 158753 h 175614"/>
                  <a:gd name="connsiteX12" fmla="*/ 53944 w 175579"/>
                  <a:gd name="connsiteY12" fmla="*/ 144841 h 175614"/>
                  <a:gd name="connsiteX13" fmla="*/ 71252 w 175579"/>
                  <a:gd name="connsiteY13" fmla="*/ 152032 h 175614"/>
                  <a:gd name="connsiteX14" fmla="*/ 75258 w 175579"/>
                  <a:gd name="connsiteY14" fmla="*/ 175614 h 175614"/>
                  <a:gd name="connsiteX15" fmla="*/ 100321 w 175579"/>
                  <a:gd name="connsiteY15" fmla="*/ 175614 h 175614"/>
                  <a:gd name="connsiteX16" fmla="*/ 104327 w 175579"/>
                  <a:gd name="connsiteY16" fmla="*/ 152044 h 175614"/>
                  <a:gd name="connsiteX17" fmla="*/ 121647 w 175579"/>
                  <a:gd name="connsiteY17" fmla="*/ 144853 h 175614"/>
                  <a:gd name="connsiteX18" fmla="*/ 141011 w 175579"/>
                  <a:gd name="connsiteY18" fmla="*/ 158765 h 175614"/>
                  <a:gd name="connsiteX19" fmla="*/ 158730 w 175579"/>
                  <a:gd name="connsiteY19" fmla="*/ 141046 h 175614"/>
                  <a:gd name="connsiteX20" fmla="*/ 144818 w 175579"/>
                  <a:gd name="connsiteY20" fmla="*/ 121682 h 175614"/>
                  <a:gd name="connsiteX21" fmla="*/ 152056 w 175579"/>
                  <a:gd name="connsiteY21" fmla="*/ 104210 h 175614"/>
                  <a:gd name="connsiteX22" fmla="*/ 175579 w 175579"/>
                  <a:gd name="connsiteY22" fmla="*/ 100344 h 175614"/>
                  <a:gd name="connsiteX23" fmla="*/ 175579 w 175579"/>
                  <a:gd name="connsiteY23" fmla="*/ 75293 h 175614"/>
                  <a:gd name="connsiteX24" fmla="*/ 152056 w 175579"/>
                  <a:gd name="connsiteY24" fmla="*/ 71416 h 175614"/>
                  <a:gd name="connsiteX25" fmla="*/ 144900 w 175579"/>
                  <a:gd name="connsiteY25" fmla="*/ 54073 h 175614"/>
                  <a:gd name="connsiteX26" fmla="*/ 158730 w 175579"/>
                  <a:gd name="connsiteY26" fmla="*/ 34580 h 175614"/>
                  <a:gd name="connsiteX27" fmla="*/ 141011 w 175579"/>
                  <a:gd name="connsiteY27" fmla="*/ 16861 h 175614"/>
                  <a:gd name="connsiteX28" fmla="*/ 121518 w 175579"/>
                  <a:gd name="connsiteY28" fmla="*/ 30691 h 175614"/>
                  <a:gd name="connsiteX29" fmla="*/ 104175 w 175579"/>
                  <a:gd name="connsiteY29" fmla="*/ 23535 h 175614"/>
                  <a:gd name="connsiteX30" fmla="*/ 100309 w 175579"/>
                  <a:gd name="connsiteY30" fmla="*/ 0 h 175614"/>
                  <a:gd name="connsiteX31" fmla="*/ 75246 w 175579"/>
                  <a:gd name="connsiteY31" fmla="*/ 0 h 1756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</a:cxnLst>
                <a:rect l="l" t="t" r="r" b="b"/>
                <a:pathLst>
                  <a:path w="175579" h="175614">
                    <a:moveTo>
                      <a:pt x="71404" y="23547"/>
                    </a:moveTo>
                    <a:cubicBezTo>
                      <a:pt x="65224" y="25121"/>
                      <a:pt x="59408" y="27530"/>
                      <a:pt x="54061" y="30703"/>
                    </a:cubicBezTo>
                    <a:lnTo>
                      <a:pt x="34568" y="16873"/>
                    </a:lnTo>
                    <a:lnTo>
                      <a:pt x="16849" y="34580"/>
                    </a:lnTo>
                    <a:lnTo>
                      <a:pt x="30679" y="54073"/>
                    </a:lnTo>
                    <a:cubicBezTo>
                      <a:pt x="27542" y="59384"/>
                      <a:pt x="25121" y="65153"/>
                      <a:pt x="23559" y="71275"/>
                    </a:cubicBezTo>
                    <a:lnTo>
                      <a:pt x="0" y="75282"/>
                    </a:lnTo>
                    <a:lnTo>
                      <a:pt x="0" y="100333"/>
                    </a:lnTo>
                    <a:lnTo>
                      <a:pt x="23559" y="104339"/>
                    </a:lnTo>
                    <a:cubicBezTo>
                      <a:pt x="25145" y="110508"/>
                      <a:pt x="27577" y="116324"/>
                      <a:pt x="30761" y="121659"/>
                    </a:cubicBezTo>
                    <a:lnTo>
                      <a:pt x="16849" y="141034"/>
                    </a:lnTo>
                    <a:lnTo>
                      <a:pt x="34568" y="158753"/>
                    </a:lnTo>
                    <a:lnTo>
                      <a:pt x="53944" y="144841"/>
                    </a:lnTo>
                    <a:cubicBezTo>
                      <a:pt x="59278" y="148014"/>
                      <a:pt x="65083" y="150458"/>
                      <a:pt x="71252" y="152032"/>
                    </a:cubicBezTo>
                    <a:lnTo>
                      <a:pt x="75258" y="175614"/>
                    </a:lnTo>
                    <a:lnTo>
                      <a:pt x="100321" y="175614"/>
                    </a:lnTo>
                    <a:lnTo>
                      <a:pt x="104327" y="152044"/>
                    </a:lnTo>
                    <a:cubicBezTo>
                      <a:pt x="110496" y="150458"/>
                      <a:pt x="116312" y="148026"/>
                      <a:pt x="121647" y="144853"/>
                    </a:cubicBezTo>
                    <a:lnTo>
                      <a:pt x="141011" y="158765"/>
                    </a:lnTo>
                    <a:lnTo>
                      <a:pt x="158730" y="141046"/>
                    </a:lnTo>
                    <a:lnTo>
                      <a:pt x="144818" y="121682"/>
                    </a:lnTo>
                    <a:cubicBezTo>
                      <a:pt x="148026" y="116301"/>
                      <a:pt x="150469" y="110438"/>
                      <a:pt x="152056" y="104210"/>
                    </a:cubicBezTo>
                    <a:lnTo>
                      <a:pt x="175579" y="100344"/>
                    </a:lnTo>
                    <a:lnTo>
                      <a:pt x="175579" y="75293"/>
                    </a:lnTo>
                    <a:lnTo>
                      <a:pt x="152056" y="71416"/>
                    </a:lnTo>
                    <a:cubicBezTo>
                      <a:pt x="150493" y="65247"/>
                      <a:pt x="148073" y="59431"/>
                      <a:pt x="144900" y="54073"/>
                    </a:cubicBezTo>
                    <a:lnTo>
                      <a:pt x="158730" y="34580"/>
                    </a:lnTo>
                    <a:lnTo>
                      <a:pt x="141011" y="16861"/>
                    </a:lnTo>
                    <a:lnTo>
                      <a:pt x="121518" y="30691"/>
                    </a:lnTo>
                    <a:cubicBezTo>
                      <a:pt x="116171" y="27518"/>
                      <a:pt x="110344" y="25110"/>
                      <a:pt x="104175" y="23535"/>
                    </a:cubicBezTo>
                    <a:lnTo>
                      <a:pt x="100309" y="0"/>
                    </a:lnTo>
                    <a:lnTo>
                      <a:pt x="75246" y="0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347" name="Forma livre: Forma 1346">
                <a:extLst>
                  <a:ext uri="{FF2B5EF4-FFF2-40B4-BE49-F238E27FC236}">
                    <a16:creationId xmlns:a16="http://schemas.microsoft.com/office/drawing/2014/main" id="{139EE551-8750-7442-D41D-48F69E6A70C2}"/>
                  </a:ext>
                </a:extLst>
              </p:cNvPr>
              <p:cNvSpPr/>
              <p:nvPr/>
            </p:nvSpPr>
            <p:spPr>
              <a:xfrm>
                <a:off x="2165082" y="5314440"/>
                <a:ext cx="51323" cy="51323"/>
              </a:xfrm>
              <a:custGeom>
                <a:avLst/>
                <a:gdLst>
                  <a:gd name="connsiteX0" fmla="*/ 19011 w 51323"/>
                  <a:gd name="connsiteY0" fmla="*/ 869 h 51323"/>
                  <a:gd name="connsiteX1" fmla="*/ 25662 w 51323"/>
                  <a:gd name="connsiteY1" fmla="*/ 0 h 51323"/>
                  <a:gd name="connsiteX2" fmla="*/ 51324 w 51323"/>
                  <a:gd name="connsiteY2" fmla="*/ 25662 h 51323"/>
                  <a:gd name="connsiteX3" fmla="*/ 25662 w 51323"/>
                  <a:gd name="connsiteY3" fmla="*/ 51324 h 51323"/>
                  <a:gd name="connsiteX4" fmla="*/ 0 w 51323"/>
                  <a:gd name="connsiteY4" fmla="*/ 25662 h 51323"/>
                  <a:gd name="connsiteX5" fmla="*/ 987 w 51323"/>
                  <a:gd name="connsiteY5" fmla="*/ 18624 h 513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51323" h="51323">
                    <a:moveTo>
                      <a:pt x="19011" y="869"/>
                    </a:moveTo>
                    <a:cubicBezTo>
                      <a:pt x="21126" y="306"/>
                      <a:pt x="23359" y="0"/>
                      <a:pt x="25662" y="0"/>
                    </a:cubicBezTo>
                    <a:cubicBezTo>
                      <a:pt x="39832" y="0"/>
                      <a:pt x="51324" y="11491"/>
                      <a:pt x="51324" y="25662"/>
                    </a:cubicBezTo>
                    <a:cubicBezTo>
                      <a:pt x="51324" y="39832"/>
                      <a:pt x="39844" y="51324"/>
                      <a:pt x="25662" y="51324"/>
                    </a:cubicBezTo>
                    <a:cubicBezTo>
                      <a:pt x="11480" y="51324"/>
                      <a:pt x="0" y="39832"/>
                      <a:pt x="0" y="25662"/>
                    </a:cubicBezTo>
                    <a:cubicBezTo>
                      <a:pt x="0" y="23218"/>
                      <a:pt x="341" y="20856"/>
                      <a:pt x="987" y="18624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348" name="Gráfico 13">
            <a:extLst>
              <a:ext uri="{FF2B5EF4-FFF2-40B4-BE49-F238E27FC236}">
                <a16:creationId xmlns:a16="http://schemas.microsoft.com/office/drawing/2014/main" id="{7A538681-AEF8-4E2F-CE19-5906645988E3}"/>
              </a:ext>
            </a:extLst>
          </p:cNvPr>
          <p:cNvGrpSpPr/>
          <p:nvPr/>
        </p:nvGrpSpPr>
        <p:grpSpPr>
          <a:xfrm>
            <a:off x="1370375" y="3665243"/>
            <a:ext cx="241789" cy="337246"/>
            <a:chOff x="1370375" y="3665243"/>
            <a:chExt cx="241789" cy="337246"/>
          </a:xfrm>
          <a:noFill/>
        </p:grpSpPr>
        <p:grpSp>
          <p:nvGrpSpPr>
            <p:cNvPr id="1349" name="Gráfico 13">
              <a:extLst>
                <a:ext uri="{FF2B5EF4-FFF2-40B4-BE49-F238E27FC236}">
                  <a16:creationId xmlns:a16="http://schemas.microsoft.com/office/drawing/2014/main" id="{AB848E6E-5396-70A8-2B95-BDE7DFCC366E}"/>
                </a:ext>
              </a:extLst>
            </p:cNvPr>
            <p:cNvGrpSpPr/>
            <p:nvPr/>
          </p:nvGrpSpPr>
          <p:grpSpPr>
            <a:xfrm>
              <a:off x="1426387" y="3748762"/>
              <a:ext cx="129766" cy="129777"/>
              <a:chOff x="1426387" y="3748762"/>
              <a:chExt cx="129766" cy="129777"/>
            </a:xfrm>
            <a:noFill/>
          </p:grpSpPr>
          <p:sp>
            <p:nvSpPr>
              <p:cNvPr id="1350" name="Forma livre: Forma 1349">
                <a:extLst>
                  <a:ext uri="{FF2B5EF4-FFF2-40B4-BE49-F238E27FC236}">
                    <a16:creationId xmlns:a16="http://schemas.microsoft.com/office/drawing/2014/main" id="{06910B50-7048-4C48-3A78-EB996AE808A8}"/>
                  </a:ext>
                </a:extLst>
              </p:cNvPr>
              <p:cNvSpPr/>
              <p:nvPr/>
            </p:nvSpPr>
            <p:spPr>
              <a:xfrm>
                <a:off x="1426387" y="3748762"/>
                <a:ext cx="129766" cy="129777"/>
              </a:xfrm>
              <a:custGeom>
                <a:avLst/>
                <a:gdLst>
                  <a:gd name="connsiteX0" fmla="*/ 52757 w 129766"/>
                  <a:gd name="connsiteY0" fmla="*/ 17402 h 129777"/>
                  <a:gd name="connsiteX1" fmla="*/ 39950 w 129766"/>
                  <a:gd name="connsiteY1" fmla="*/ 22689 h 129777"/>
                  <a:gd name="connsiteX2" fmla="*/ 25544 w 129766"/>
                  <a:gd name="connsiteY2" fmla="*/ 12467 h 129777"/>
                  <a:gd name="connsiteX3" fmla="*/ 12455 w 129766"/>
                  <a:gd name="connsiteY3" fmla="*/ 25556 h 129777"/>
                  <a:gd name="connsiteX4" fmla="*/ 22677 w 129766"/>
                  <a:gd name="connsiteY4" fmla="*/ 39961 h 129777"/>
                  <a:gd name="connsiteX5" fmla="*/ 17413 w 129766"/>
                  <a:gd name="connsiteY5" fmla="*/ 52675 h 129777"/>
                  <a:gd name="connsiteX6" fmla="*/ 0 w 129766"/>
                  <a:gd name="connsiteY6" fmla="*/ 55636 h 129777"/>
                  <a:gd name="connsiteX7" fmla="*/ 0 w 129766"/>
                  <a:gd name="connsiteY7" fmla="*/ 74154 h 129777"/>
                  <a:gd name="connsiteX8" fmla="*/ 17413 w 129766"/>
                  <a:gd name="connsiteY8" fmla="*/ 77115 h 129777"/>
                  <a:gd name="connsiteX9" fmla="*/ 22736 w 129766"/>
                  <a:gd name="connsiteY9" fmla="*/ 89910 h 129777"/>
                  <a:gd name="connsiteX10" fmla="*/ 12455 w 129766"/>
                  <a:gd name="connsiteY10" fmla="*/ 104234 h 129777"/>
                  <a:gd name="connsiteX11" fmla="*/ 25544 w 129766"/>
                  <a:gd name="connsiteY11" fmla="*/ 117323 h 129777"/>
                  <a:gd name="connsiteX12" fmla="*/ 39867 w 129766"/>
                  <a:gd name="connsiteY12" fmla="*/ 107042 h 129777"/>
                  <a:gd name="connsiteX13" fmla="*/ 52663 w 129766"/>
                  <a:gd name="connsiteY13" fmla="*/ 112353 h 129777"/>
                  <a:gd name="connsiteX14" fmla="*/ 55624 w 129766"/>
                  <a:gd name="connsiteY14" fmla="*/ 129778 h 129777"/>
                  <a:gd name="connsiteX15" fmla="*/ 74142 w 129766"/>
                  <a:gd name="connsiteY15" fmla="*/ 129778 h 129777"/>
                  <a:gd name="connsiteX16" fmla="*/ 77103 w 129766"/>
                  <a:gd name="connsiteY16" fmla="*/ 112365 h 129777"/>
                  <a:gd name="connsiteX17" fmla="*/ 89899 w 129766"/>
                  <a:gd name="connsiteY17" fmla="*/ 107042 h 129777"/>
                  <a:gd name="connsiteX18" fmla="*/ 104222 w 129766"/>
                  <a:gd name="connsiteY18" fmla="*/ 117323 h 129777"/>
                  <a:gd name="connsiteX19" fmla="*/ 117311 w 129766"/>
                  <a:gd name="connsiteY19" fmla="*/ 104234 h 129777"/>
                  <a:gd name="connsiteX20" fmla="*/ 107030 w 129766"/>
                  <a:gd name="connsiteY20" fmla="*/ 89922 h 129777"/>
                  <a:gd name="connsiteX21" fmla="*/ 112376 w 129766"/>
                  <a:gd name="connsiteY21" fmla="*/ 77009 h 129777"/>
                  <a:gd name="connsiteX22" fmla="*/ 129766 w 129766"/>
                  <a:gd name="connsiteY22" fmla="*/ 74154 h 129777"/>
                  <a:gd name="connsiteX23" fmla="*/ 129766 w 129766"/>
                  <a:gd name="connsiteY23" fmla="*/ 55636 h 129777"/>
                  <a:gd name="connsiteX24" fmla="*/ 112376 w 129766"/>
                  <a:gd name="connsiteY24" fmla="*/ 52781 h 129777"/>
                  <a:gd name="connsiteX25" fmla="*/ 107089 w 129766"/>
                  <a:gd name="connsiteY25" fmla="*/ 39961 h 129777"/>
                  <a:gd name="connsiteX26" fmla="*/ 117311 w 129766"/>
                  <a:gd name="connsiteY26" fmla="*/ 25556 h 129777"/>
                  <a:gd name="connsiteX27" fmla="*/ 104222 w 129766"/>
                  <a:gd name="connsiteY27" fmla="*/ 12467 h 129777"/>
                  <a:gd name="connsiteX28" fmla="*/ 89805 w 129766"/>
                  <a:gd name="connsiteY28" fmla="*/ 22689 h 129777"/>
                  <a:gd name="connsiteX29" fmla="*/ 76986 w 129766"/>
                  <a:gd name="connsiteY29" fmla="*/ 17390 h 129777"/>
                  <a:gd name="connsiteX30" fmla="*/ 74130 w 129766"/>
                  <a:gd name="connsiteY30" fmla="*/ 0 h 129777"/>
                  <a:gd name="connsiteX31" fmla="*/ 55612 w 129766"/>
                  <a:gd name="connsiteY31" fmla="*/ 0 h 1297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</a:cxnLst>
                <a:rect l="l" t="t" r="r" b="b"/>
                <a:pathLst>
                  <a:path w="129766" h="129777">
                    <a:moveTo>
                      <a:pt x="52757" y="17402"/>
                    </a:moveTo>
                    <a:cubicBezTo>
                      <a:pt x="48198" y="18565"/>
                      <a:pt x="43898" y="20351"/>
                      <a:pt x="39950" y="22689"/>
                    </a:cubicBezTo>
                    <a:lnTo>
                      <a:pt x="25544" y="12467"/>
                    </a:lnTo>
                    <a:lnTo>
                      <a:pt x="12455" y="25556"/>
                    </a:lnTo>
                    <a:lnTo>
                      <a:pt x="22677" y="39961"/>
                    </a:lnTo>
                    <a:cubicBezTo>
                      <a:pt x="20351" y="43886"/>
                      <a:pt x="18565" y="48151"/>
                      <a:pt x="17413" y="52675"/>
                    </a:cubicBezTo>
                    <a:lnTo>
                      <a:pt x="0" y="55636"/>
                    </a:lnTo>
                    <a:lnTo>
                      <a:pt x="0" y="74154"/>
                    </a:lnTo>
                    <a:lnTo>
                      <a:pt x="17413" y="77115"/>
                    </a:lnTo>
                    <a:cubicBezTo>
                      <a:pt x="18588" y="81674"/>
                      <a:pt x="20386" y="85974"/>
                      <a:pt x="22736" y="89910"/>
                    </a:cubicBezTo>
                    <a:lnTo>
                      <a:pt x="12455" y="104234"/>
                    </a:lnTo>
                    <a:lnTo>
                      <a:pt x="25544" y="117323"/>
                    </a:lnTo>
                    <a:lnTo>
                      <a:pt x="39867" y="107042"/>
                    </a:lnTo>
                    <a:cubicBezTo>
                      <a:pt x="43816" y="109392"/>
                      <a:pt x="48104" y="111190"/>
                      <a:pt x="52663" y="112353"/>
                    </a:cubicBezTo>
                    <a:lnTo>
                      <a:pt x="55624" y="129778"/>
                    </a:lnTo>
                    <a:lnTo>
                      <a:pt x="74142" y="129778"/>
                    </a:lnTo>
                    <a:lnTo>
                      <a:pt x="77103" y="112365"/>
                    </a:lnTo>
                    <a:cubicBezTo>
                      <a:pt x="81662" y="111190"/>
                      <a:pt x="85962" y="109380"/>
                      <a:pt x="89899" y="107042"/>
                    </a:cubicBezTo>
                    <a:lnTo>
                      <a:pt x="104222" y="117323"/>
                    </a:lnTo>
                    <a:lnTo>
                      <a:pt x="117311" y="104234"/>
                    </a:lnTo>
                    <a:lnTo>
                      <a:pt x="107030" y="89922"/>
                    </a:lnTo>
                    <a:cubicBezTo>
                      <a:pt x="109404" y="85939"/>
                      <a:pt x="111201" y="81603"/>
                      <a:pt x="112376" y="77009"/>
                    </a:cubicBezTo>
                    <a:lnTo>
                      <a:pt x="129766" y="74154"/>
                    </a:lnTo>
                    <a:lnTo>
                      <a:pt x="129766" y="55636"/>
                    </a:lnTo>
                    <a:lnTo>
                      <a:pt x="112376" y="52781"/>
                    </a:lnTo>
                    <a:cubicBezTo>
                      <a:pt x="111225" y="48222"/>
                      <a:pt x="109427" y="43921"/>
                      <a:pt x="107089" y="39961"/>
                    </a:cubicBezTo>
                    <a:lnTo>
                      <a:pt x="117311" y="25556"/>
                    </a:lnTo>
                    <a:lnTo>
                      <a:pt x="104222" y="12467"/>
                    </a:lnTo>
                    <a:lnTo>
                      <a:pt x="89805" y="22689"/>
                    </a:lnTo>
                    <a:cubicBezTo>
                      <a:pt x="85857" y="20351"/>
                      <a:pt x="81556" y="18553"/>
                      <a:pt x="76986" y="17390"/>
                    </a:cubicBezTo>
                    <a:lnTo>
                      <a:pt x="74130" y="0"/>
                    </a:lnTo>
                    <a:lnTo>
                      <a:pt x="55612" y="0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351" name="Forma livre: Forma 1350">
                <a:extLst>
                  <a:ext uri="{FF2B5EF4-FFF2-40B4-BE49-F238E27FC236}">
                    <a16:creationId xmlns:a16="http://schemas.microsoft.com/office/drawing/2014/main" id="{4FA8C83D-D23F-2A70-C836-4897D9E17C04}"/>
                  </a:ext>
                </a:extLst>
              </p:cNvPr>
              <p:cNvSpPr/>
              <p:nvPr/>
            </p:nvSpPr>
            <p:spPr>
              <a:xfrm>
                <a:off x="1472306" y="3794692"/>
                <a:ext cx="37928" cy="37928"/>
              </a:xfrm>
              <a:custGeom>
                <a:avLst/>
                <a:gdLst>
                  <a:gd name="connsiteX0" fmla="*/ 15510 w 37928"/>
                  <a:gd name="connsiteY0" fmla="*/ 317 h 37928"/>
                  <a:gd name="connsiteX1" fmla="*/ 18964 w 37928"/>
                  <a:gd name="connsiteY1" fmla="*/ 0 h 37928"/>
                  <a:gd name="connsiteX2" fmla="*/ 37929 w 37928"/>
                  <a:gd name="connsiteY2" fmla="*/ 18964 h 37928"/>
                  <a:gd name="connsiteX3" fmla="*/ 18964 w 37928"/>
                  <a:gd name="connsiteY3" fmla="*/ 37929 h 37928"/>
                  <a:gd name="connsiteX4" fmla="*/ 0 w 37928"/>
                  <a:gd name="connsiteY4" fmla="*/ 18964 h 37928"/>
                  <a:gd name="connsiteX5" fmla="*/ 282 w 37928"/>
                  <a:gd name="connsiteY5" fmla="*/ 15651 h 379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37928" h="37928">
                    <a:moveTo>
                      <a:pt x="15510" y="317"/>
                    </a:moveTo>
                    <a:cubicBezTo>
                      <a:pt x="16626" y="106"/>
                      <a:pt x="17789" y="0"/>
                      <a:pt x="18964" y="0"/>
                    </a:cubicBezTo>
                    <a:cubicBezTo>
                      <a:pt x="29434" y="0"/>
                      <a:pt x="37929" y="8495"/>
                      <a:pt x="37929" y="18964"/>
                    </a:cubicBezTo>
                    <a:cubicBezTo>
                      <a:pt x="37929" y="29434"/>
                      <a:pt x="29434" y="37929"/>
                      <a:pt x="18964" y="37929"/>
                    </a:cubicBezTo>
                    <a:cubicBezTo>
                      <a:pt x="8495" y="37929"/>
                      <a:pt x="0" y="29434"/>
                      <a:pt x="0" y="18964"/>
                    </a:cubicBezTo>
                    <a:cubicBezTo>
                      <a:pt x="0" y="17836"/>
                      <a:pt x="94" y="16732"/>
                      <a:pt x="282" y="15651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352" name="Gráfico 13">
              <a:extLst>
                <a:ext uri="{FF2B5EF4-FFF2-40B4-BE49-F238E27FC236}">
                  <a16:creationId xmlns:a16="http://schemas.microsoft.com/office/drawing/2014/main" id="{851FA6B5-B384-C711-4970-BB018F2BB3AC}"/>
                </a:ext>
              </a:extLst>
            </p:cNvPr>
            <p:cNvGrpSpPr/>
            <p:nvPr/>
          </p:nvGrpSpPr>
          <p:grpSpPr>
            <a:xfrm>
              <a:off x="1370375" y="3665243"/>
              <a:ext cx="241789" cy="337246"/>
              <a:chOff x="1370375" y="3665243"/>
              <a:chExt cx="241789" cy="337246"/>
            </a:xfrm>
            <a:noFill/>
          </p:grpSpPr>
          <p:sp>
            <p:nvSpPr>
              <p:cNvPr id="1353" name="Forma livre: Forma 1352">
                <a:extLst>
                  <a:ext uri="{FF2B5EF4-FFF2-40B4-BE49-F238E27FC236}">
                    <a16:creationId xmlns:a16="http://schemas.microsoft.com/office/drawing/2014/main" id="{259E1B53-6610-8294-448D-47B020F2D3BB}"/>
                  </a:ext>
                </a:extLst>
              </p:cNvPr>
              <p:cNvSpPr/>
              <p:nvPr/>
            </p:nvSpPr>
            <p:spPr>
              <a:xfrm>
                <a:off x="1447149" y="3963833"/>
                <a:ext cx="88770" cy="1174"/>
              </a:xfrm>
              <a:custGeom>
                <a:avLst/>
                <a:gdLst>
                  <a:gd name="connsiteX0" fmla="*/ 0 w 88770"/>
                  <a:gd name="connsiteY0" fmla="*/ 0 h 1174"/>
                  <a:gd name="connsiteX1" fmla="*/ 88771 w 88770"/>
                  <a:gd name="connsiteY1" fmla="*/ 0 h 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88770" h="1174">
                    <a:moveTo>
                      <a:pt x="0" y="0"/>
                    </a:moveTo>
                    <a:lnTo>
                      <a:pt x="88771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354" name="Forma livre: Forma 1353">
                <a:extLst>
                  <a:ext uri="{FF2B5EF4-FFF2-40B4-BE49-F238E27FC236}">
                    <a16:creationId xmlns:a16="http://schemas.microsoft.com/office/drawing/2014/main" id="{203D0C87-668D-3404-B1EC-6EA29C9EAD69}"/>
                  </a:ext>
                </a:extLst>
              </p:cNvPr>
              <p:cNvSpPr/>
              <p:nvPr/>
            </p:nvSpPr>
            <p:spPr>
              <a:xfrm>
                <a:off x="1491270" y="3665243"/>
                <a:ext cx="1174" cy="22336"/>
              </a:xfrm>
              <a:custGeom>
                <a:avLst/>
                <a:gdLst>
                  <a:gd name="connsiteX0" fmla="*/ 0 w 1174"/>
                  <a:gd name="connsiteY0" fmla="*/ 22337 h 22336"/>
                  <a:gd name="connsiteX1" fmla="*/ 0 w 1174"/>
                  <a:gd name="connsiteY1" fmla="*/ 0 h 223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74" h="22336">
                    <a:moveTo>
                      <a:pt x="0" y="22337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1355" name="Gráfico 13">
                <a:extLst>
                  <a:ext uri="{FF2B5EF4-FFF2-40B4-BE49-F238E27FC236}">
                    <a16:creationId xmlns:a16="http://schemas.microsoft.com/office/drawing/2014/main" id="{9DEE0787-1CCF-40E6-2137-4EEDFC85F669}"/>
                  </a:ext>
                </a:extLst>
              </p:cNvPr>
              <p:cNvGrpSpPr/>
              <p:nvPr/>
            </p:nvGrpSpPr>
            <p:grpSpPr>
              <a:xfrm>
                <a:off x="1370375" y="3717871"/>
                <a:ext cx="241789" cy="18141"/>
                <a:chOff x="1370375" y="3717871"/>
                <a:chExt cx="241789" cy="18141"/>
              </a:xfrm>
            </p:grpSpPr>
            <p:sp>
              <p:nvSpPr>
                <p:cNvPr id="1356" name="Forma livre: Forma 1355">
                  <a:extLst>
                    <a:ext uri="{FF2B5EF4-FFF2-40B4-BE49-F238E27FC236}">
                      <a16:creationId xmlns:a16="http://schemas.microsoft.com/office/drawing/2014/main" id="{0DFA910E-3D87-28F8-F7ED-02F6C539EAB1}"/>
                    </a:ext>
                  </a:extLst>
                </p:cNvPr>
                <p:cNvSpPr/>
                <p:nvPr/>
              </p:nvSpPr>
              <p:spPr>
                <a:xfrm>
                  <a:off x="1594094" y="3717871"/>
                  <a:ext cx="18071" cy="18141"/>
                </a:xfrm>
                <a:custGeom>
                  <a:avLst/>
                  <a:gdLst>
                    <a:gd name="connsiteX0" fmla="*/ 0 w 18071"/>
                    <a:gd name="connsiteY0" fmla="*/ 18142 h 18141"/>
                    <a:gd name="connsiteX1" fmla="*/ 18071 w 18071"/>
                    <a:gd name="connsiteY1" fmla="*/ 0 h 1814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8071" h="18141">
                      <a:moveTo>
                        <a:pt x="0" y="18142"/>
                      </a:moveTo>
                      <a:lnTo>
                        <a:pt x="18071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357" name="Forma livre: Forma 1356">
                  <a:extLst>
                    <a:ext uri="{FF2B5EF4-FFF2-40B4-BE49-F238E27FC236}">
                      <a16:creationId xmlns:a16="http://schemas.microsoft.com/office/drawing/2014/main" id="{347B3EF0-AA31-3B47-25DF-CF3A8E8CF2FA}"/>
                    </a:ext>
                  </a:extLst>
                </p:cNvPr>
                <p:cNvSpPr/>
                <p:nvPr/>
              </p:nvSpPr>
              <p:spPr>
                <a:xfrm>
                  <a:off x="1370375" y="3717871"/>
                  <a:ext cx="18059" cy="18141"/>
                </a:xfrm>
                <a:custGeom>
                  <a:avLst/>
                  <a:gdLst>
                    <a:gd name="connsiteX0" fmla="*/ 0 w 18059"/>
                    <a:gd name="connsiteY0" fmla="*/ 0 h 18141"/>
                    <a:gd name="connsiteX1" fmla="*/ 18060 w 18059"/>
                    <a:gd name="connsiteY1" fmla="*/ 18142 h 1814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8059" h="18141">
                      <a:moveTo>
                        <a:pt x="0" y="0"/>
                      </a:moveTo>
                      <a:lnTo>
                        <a:pt x="18060" y="18142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1358" name="Forma livre: Forma 1357">
                <a:extLst>
                  <a:ext uri="{FF2B5EF4-FFF2-40B4-BE49-F238E27FC236}">
                    <a16:creationId xmlns:a16="http://schemas.microsoft.com/office/drawing/2014/main" id="{7DD38248-9021-E38C-2415-33029D52727A}"/>
                  </a:ext>
                </a:extLst>
              </p:cNvPr>
              <p:cNvSpPr/>
              <p:nvPr/>
            </p:nvSpPr>
            <p:spPr>
              <a:xfrm>
                <a:off x="1393159" y="3718776"/>
                <a:ext cx="196764" cy="215493"/>
              </a:xfrm>
              <a:custGeom>
                <a:avLst/>
                <a:gdLst>
                  <a:gd name="connsiteX0" fmla="*/ 60853 w 196764"/>
                  <a:gd name="connsiteY0" fmla="*/ 215494 h 215493"/>
                  <a:gd name="connsiteX1" fmla="*/ 135829 w 196764"/>
                  <a:gd name="connsiteY1" fmla="*/ 215494 h 215493"/>
                  <a:gd name="connsiteX2" fmla="*/ 166649 w 196764"/>
                  <a:gd name="connsiteY2" fmla="*/ 163970 h 215493"/>
                  <a:gd name="connsiteX3" fmla="*/ 178799 w 196764"/>
                  <a:gd name="connsiteY3" fmla="*/ 152009 h 215493"/>
                  <a:gd name="connsiteX4" fmla="*/ 196764 w 196764"/>
                  <a:gd name="connsiteY4" fmla="*/ 96432 h 215493"/>
                  <a:gd name="connsiteX5" fmla="*/ 98347 w 196764"/>
                  <a:gd name="connsiteY5" fmla="*/ 0 h 215493"/>
                  <a:gd name="connsiteX6" fmla="*/ 0 w 196764"/>
                  <a:gd name="connsiteY6" fmla="*/ 96432 h 215493"/>
                  <a:gd name="connsiteX7" fmla="*/ 17778 w 196764"/>
                  <a:gd name="connsiteY7" fmla="*/ 151797 h 215493"/>
                  <a:gd name="connsiteX8" fmla="*/ 30162 w 196764"/>
                  <a:gd name="connsiteY8" fmla="*/ 164052 h 215493"/>
                  <a:gd name="connsiteX9" fmla="*/ 53368 w 196764"/>
                  <a:gd name="connsiteY9" fmla="*/ 191806 h 2154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96764" h="215493">
                    <a:moveTo>
                      <a:pt x="60853" y="215494"/>
                    </a:moveTo>
                    <a:lnTo>
                      <a:pt x="135829" y="215494"/>
                    </a:lnTo>
                    <a:cubicBezTo>
                      <a:pt x="139789" y="189197"/>
                      <a:pt x="152878" y="176942"/>
                      <a:pt x="166649" y="163970"/>
                    </a:cubicBezTo>
                    <a:cubicBezTo>
                      <a:pt x="170691" y="160175"/>
                      <a:pt x="174874" y="156227"/>
                      <a:pt x="178799" y="152009"/>
                    </a:cubicBezTo>
                    <a:cubicBezTo>
                      <a:pt x="191383" y="137157"/>
                      <a:pt x="196764" y="120531"/>
                      <a:pt x="196764" y="96432"/>
                    </a:cubicBezTo>
                    <a:cubicBezTo>
                      <a:pt x="196764" y="43263"/>
                      <a:pt x="152620" y="0"/>
                      <a:pt x="98347" y="0"/>
                    </a:cubicBezTo>
                    <a:cubicBezTo>
                      <a:pt x="44074" y="0"/>
                      <a:pt x="0" y="43263"/>
                      <a:pt x="0" y="96432"/>
                    </a:cubicBezTo>
                    <a:cubicBezTo>
                      <a:pt x="0" y="118663"/>
                      <a:pt x="6075" y="137392"/>
                      <a:pt x="17778" y="151797"/>
                    </a:cubicBezTo>
                    <a:cubicBezTo>
                      <a:pt x="21902" y="156262"/>
                      <a:pt x="26097" y="160222"/>
                      <a:pt x="30162" y="164052"/>
                    </a:cubicBezTo>
                    <a:cubicBezTo>
                      <a:pt x="38916" y="172301"/>
                      <a:pt x="47364" y="180314"/>
                      <a:pt x="53368" y="191806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359" name="Forma livre: Forma 1358">
                <a:extLst>
                  <a:ext uri="{FF2B5EF4-FFF2-40B4-BE49-F238E27FC236}">
                    <a16:creationId xmlns:a16="http://schemas.microsoft.com/office/drawing/2014/main" id="{914B52C5-1D17-1E34-142B-E8408C3A2F7C}"/>
                  </a:ext>
                </a:extLst>
              </p:cNvPr>
              <p:cNvSpPr/>
              <p:nvPr/>
            </p:nvSpPr>
            <p:spPr>
              <a:xfrm>
                <a:off x="1458077" y="3991057"/>
                <a:ext cx="66904" cy="11432"/>
              </a:xfrm>
              <a:custGeom>
                <a:avLst/>
                <a:gdLst>
                  <a:gd name="connsiteX0" fmla="*/ 0 w 66904"/>
                  <a:gd name="connsiteY0" fmla="*/ 0 h 11432"/>
                  <a:gd name="connsiteX1" fmla="*/ 13007 w 66904"/>
                  <a:gd name="connsiteY1" fmla="*/ 0 h 11432"/>
                  <a:gd name="connsiteX2" fmla="*/ 33452 w 66904"/>
                  <a:gd name="connsiteY2" fmla="*/ 11433 h 11432"/>
                  <a:gd name="connsiteX3" fmla="*/ 53897 w 66904"/>
                  <a:gd name="connsiteY3" fmla="*/ 0 h 11432"/>
                  <a:gd name="connsiteX4" fmla="*/ 66904 w 66904"/>
                  <a:gd name="connsiteY4" fmla="*/ 0 h 114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6904" h="11432">
                    <a:moveTo>
                      <a:pt x="0" y="0"/>
                    </a:moveTo>
                    <a:lnTo>
                      <a:pt x="13007" y="0"/>
                    </a:lnTo>
                    <a:cubicBezTo>
                      <a:pt x="16285" y="4524"/>
                      <a:pt x="23406" y="11433"/>
                      <a:pt x="33452" y="11433"/>
                    </a:cubicBezTo>
                    <a:cubicBezTo>
                      <a:pt x="43498" y="11433"/>
                      <a:pt x="50607" y="4524"/>
                      <a:pt x="53897" y="0"/>
                    </a:cubicBezTo>
                    <a:lnTo>
                      <a:pt x="66904" y="0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360" name="Gráfico 13">
            <a:extLst>
              <a:ext uri="{FF2B5EF4-FFF2-40B4-BE49-F238E27FC236}">
                <a16:creationId xmlns:a16="http://schemas.microsoft.com/office/drawing/2014/main" id="{99F776BC-FB1C-F643-7D80-3BEE50928CD2}"/>
              </a:ext>
            </a:extLst>
          </p:cNvPr>
          <p:cNvGrpSpPr/>
          <p:nvPr/>
        </p:nvGrpSpPr>
        <p:grpSpPr>
          <a:xfrm>
            <a:off x="1337816" y="4237782"/>
            <a:ext cx="306908" cy="238617"/>
            <a:chOff x="1337816" y="4237782"/>
            <a:chExt cx="306908" cy="238617"/>
          </a:xfrm>
          <a:noFill/>
        </p:grpSpPr>
        <p:grpSp>
          <p:nvGrpSpPr>
            <p:cNvPr id="1361" name="Gráfico 13">
              <a:extLst>
                <a:ext uri="{FF2B5EF4-FFF2-40B4-BE49-F238E27FC236}">
                  <a16:creationId xmlns:a16="http://schemas.microsoft.com/office/drawing/2014/main" id="{17EA7DFC-995B-6D6A-27AD-219126C77E12}"/>
                </a:ext>
              </a:extLst>
            </p:cNvPr>
            <p:cNvGrpSpPr/>
            <p:nvPr/>
          </p:nvGrpSpPr>
          <p:grpSpPr>
            <a:xfrm>
              <a:off x="1337816" y="4237782"/>
              <a:ext cx="306908" cy="238617"/>
              <a:chOff x="1337816" y="4237782"/>
              <a:chExt cx="306908" cy="238617"/>
            </a:xfrm>
            <a:noFill/>
          </p:grpSpPr>
          <p:sp>
            <p:nvSpPr>
              <p:cNvPr id="1362" name="Forma livre: Forma 1361">
                <a:extLst>
                  <a:ext uri="{FF2B5EF4-FFF2-40B4-BE49-F238E27FC236}">
                    <a16:creationId xmlns:a16="http://schemas.microsoft.com/office/drawing/2014/main" id="{A5322006-2297-8A46-937D-D6EE36F5E941}"/>
                  </a:ext>
                </a:extLst>
              </p:cNvPr>
              <p:cNvSpPr/>
              <p:nvPr/>
            </p:nvSpPr>
            <p:spPr>
              <a:xfrm>
                <a:off x="1457854" y="4237782"/>
                <a:ext cx="66833" cy="93905"/>
              </a:xfrm>
              <a:custGeom>
                <a:avLst/>
                <a:gdLst>
                  <a:gd name="connsiteX0" fmla="*/ 0 w 66833"/>
                  <a:gd name="connsiteY0" fmla="*/ 93905 h 93905"/>
                  <a:gd name="connsiteX1" fmla="*/ 4700 w 66833"/>
                  <a:gd name="connsiteY1" fmla="*/ 0 h 93905"/>
                  <a:gd name="connsiteX2" fmla="*/ 62145 w 66833"/>
                  <a:gd name="connsiteY2" fmla="*/ 0 h 93905"/>
                  <a:gd name="connsiteX3" fmla="*/ 66834 w 66833"/>
                  <a:gd name="connsiteY3" fmla="*/ 93729 h 939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6833" h="93905">
                    <a:moveTo>
                      <a:pt x="0" y="93905"/>
                    </a:moveTo>
                    <a:lnTo>
                      <a:pt x="4700" y="0"/>
                    </a:lnTo>
                    <a:lnTo>
                      <a:pt x="62145" y="0"/>
                    </a:lnTo>
                    <a:lnTo>
                      <a:pt x="66834" y="93729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1363" name="Gráfico 13">
                <a:extLst>
                  <a:ext uri="{FF2B5EF4-FFF2-40B4-BE49-F238E27FC236}">
                    <a16:creationId xmlns:a16="http://schemas.microsoft.com/office/drawing/2014/main" id="{36B5B891-A0DF-58DF-E835-7BCDEF396D10}"/>
                  </a:ext>
                </a:extLst>
              </p:cNvPr>
              <p:cNvGrpSpPr/>
              <p:nvPr/>
            </p:nvGrpSpPr>
            <p:grpSpPr>
              <a:xfrm>
                <a:off x="1359671" y="4264184"/>
                <a:ext cx="263210" cy="125994"/>
                <a:chOff x="1359671" y="4264184"/>
                <a:chExt cx="263210" cy="125994"/>
              </a:xfrm>
              <a:noFill/>
            </p:grpSpPr>
            <p:sp>
              <p:nvSpPr>
                <p:cNvPr id="1364" name="Forma livre: Forma 1363">
                  <a:extLst>
                    <a:ext uri="{FF2B5EF4-FFF2-40B4-BE49-F238E27FC236}">
                      <a16:creationId xmlns:a16="http://schemas.microsoft.com/office/drawing/2014/main" id="{A10FE422-7BDD-B0FA-D973-A1DF07F18BB4}"/>
                    </a:ext>
                  </a:extLst>
                </p:cNvPr>
                <p:cNvSpPr/>
                <p:nvPr/>
              </p:nvSpPr>
              <p:spPr>
                <a:xfrm>
                  <a:off x="1359671" y="4264184"/>
                  <a:ext cx="76163" cy="125994"/>
                </a:xfrm>
                <a:custGeom>
                  <a:avLst/>
                  <a:gdLst>
                    <a:gd name="connsiteX0" fmla="*/ 0 w 76163"/>
                    <a:gd name="connsiteY0" fmla="*/ 125994 h 125994"/>
                    <a:gd name="connsiteX1" fmla="*/ 76163 w 76163"/>
                    <a:gd name="connsiteY1" fmla="*/ 0 h 125994"/>
                    <a:gd name="connsiteX2" fmla="*/ 76163 w 76163"/>
                    <a:gd name="connsiteY2" fmla="*/ 28247 h 12599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76163" h="125994">
                      <a:moveTo>
                        <a:pt x="0" y="125994"/>
                      </a:moveTo>
                      <a:cubicBezTo>
                        <a:pt x="0" y="53462"/>
                        <a:pt x="43992" y="11538"/>
                        <a:pt x="76163" y="0"/>
                      </a:cubicBezTo>
                      <a:lnTo>
                        <a:pt x="76163" y="28247"/>
                      </a:ln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365" name="Forma livre: Forma 1364">
                  <a:extLst>
                    <a:ext uri="{FF2B5EF4-FFF2-40B4-BE49-F238E27FC236}">
                      <a16:creationId xmlns:a16="http://schemas.microsoft.com/office/drawing/2014/main" id="{2120A7EB-6FA9-7FAA-0F27-400E6D715B43}"/>
                    </a:ext>
                  </a:extLst>
                </p:cNvPr>
                <p:cNvSpPr/>
                <p:nvPr/>
              </p:nvSpPr>
              <p:spPr>
                <a:xfrm>
                  <a:off x="1546718" y="4264184"/>
                  <a:ext cx="76163" cy="125994"/>
                </a:xfrm>
                <a:custGeom>
                  <a:avLst/>
                  <a:gdLst>
                    <a:gd name="connsiteX0" fmla="*/ 76163 w 76163"/>
                    <a:gd name="connsiteY0" fmla="*/ 125994 h 125994"/>
                    <a:gd name="connsiteX1" fmla="*/ 0 w 76163"/>
                    <a:gd name="connsiteY1" fmla="*/ 0 h 125994"/>
                    <a:gd name="connsiteX2" fmla="*/ 0 w 76163"/>
                    <a:gd name="connsiteY2" fmla="*/ 28247 h 12599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76163" h="125994">
                      <a:moveTo>
                        <a:pt x="76163" y="125994"/>
                      </a:moveTo>
                      <a:cubicBezTo>
                        <a:pt x="76163" y="53462"/>
                        <a:pt x="32171" y="11538"/>
                        <a:pt x="0" y="0"/>
                      </a:cubicBezTo>
                      <a:lnTo>
                        <a:pt x="0" y="28247"/>
                      </a:ln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1366" name="Gráfico 13">
                <a:extLst>
                  <a:ext uri="{FF2B5EF4-FFF2-40B4-BE49-F238E27FC236}">
                    <a16:creationId xmlns:a16="http://schemas.microsoft.com/office/drawing/2014/main" id="{3E5CB751-5F10-FC87-AA89-33E071E87EBB}"/>
                  </a:ext>
                </a:extLst>
              </p:cNvPr>
              <p:cNvGrpSpPr/>
              <p:nvPr/>
            </p:nvGrpSpPr>
            <p:grpSpPr>
              <a:xfrm>
                <a:off x="1337816" y="4394244"/>
                <a:ext cx="306908" cy="82155"/>
                <a:chOff x="1337816" y="4394244"/>
                <a:chExt cx="306908" cy="82155"/>
              </a:xfrm>
              <a:noFill/>
            </p:grpSpPr>
            <p:sp>
              <p:nvSpPr>
                <p:cNvPr id="1367" name="Forma livre: Forma 1366">
                  <a:extLst>
                    <a:ext uri="{FF2B5EF4-FFF2-40B4-BE49-F238E27FC236}">
                      <a16:creationId xmlns:a16="http://schemas.microsoft.com/office/drawing/2014/main" id="{7678AB6E-7E82-7801-BA98-4765790E299E}"/>
                    </a:ext>
                  </a:extLst>
                </p:cNvPr>
                <p:cNvSpPr/>
                <p:nvPr/>
              </p:nvSpPr>
              <p:spPr>
                <a:xfrm>
                  <a:off x="1337816" y="4394244"/>
                  <a:ext cx="153454" cy="82155"/>
                </a:xfrm>
                <a:custGeom>
                  <a:avLst/>
                  <a:gdLst>
                    <a:gd name="connsiteX0" fmla="*/ 153454 w 153454"/>
                    <a:gd name="connsiteY0" fmla="*/ 82155 h 82155"/>
                    <a:gd name="connsiteX1" fmla="*/ 0 w 153454"/>
                    <a:gd name="connsiteY1" fmla="*/ 16556 h 82155"/>
                    <a:gd name="connsiteX2" fmla="*/ 0 w 153454"/>
                    <a:gd name="connsiteY2" fmla="*/ 0 h 8215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53454" h="82155">
                      <a:moveTo>
                        <a:pt x="153454" y="82155"/>
                      </a:moveTo>
                      <a:cubicBezTo>
                        <a:pt x="34780" y="82155"/>
                        <a:pt x="0" y="30761"/>
                        <a:pt x="0" y="16556"/>
                      </a:cubicBezTo>
                      <a:lnTo>
                        <a:pt x="0" y="0"/>
                      </a:ln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368" name="Forma livre: Forma 1367">
                  <a:extLst>
                    <a:ext uri="{FF2B5EF4-FFF2-40B4-BE49-F238E27FC236}">
                      <a16:creationId xmlns:a16="http://schemas.microsoft.com/office/drawing/2014/main" id="{889BDB28-113D-E0A4-075B-4BC8F821EF33}"/>
                    </a:ext>
                  </a:extLst>
                </p:cNvPr>
                <p:cNvSpPr/>
                <p:nvPr/>
              </p:nvSpPr>
              <p:spPr>
                <a:xfrm>
                  <a:off x="1491270" y="4394244"/>
                  <a:ext cx="153453" cy="82155"/>
                </a:xfrm>
                <a:custGeom>
                  <a:avLst/>
                  <a:gdLst>
                    <a:gd name="connsiteX0" fmla="*/ 0 w 153453"/>
                    <a:gd name="connsiteY0" fmla="*/ 82155 h 82155"/>
                    <a:gd name="connsiteX1" fmla="*/ 153454 w 153453"/>
                    <a:gd name="connsiteY1" fmla="*/ 16556 h 82155"/>
                    <a:gd name="connsiteX2" fmla="*/ 153454 w 153453"/>
                    <a:gd name="connsiteY2" fmla="*/ 0 h 8215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53453" h="82155">
                      <a:moveTo>
                        <a:pt x="0" y="82155"/>
                      </a:moveTo>
                      <a:cubicBezTo>
                        <a:pt x="118674" y="82155"/>
                        <a:pt x="153454" y="30761"/>
                        <a:pt x="153454" y="16556"/>
                      </a:cubicBezTo>
                      <a:lnTo>
                        <a:pt x="153454" y="0"/>
                      </a:ln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sp>
          <p:nvSpPr>
            <p:cNvPr id="1369" name="Forma livre: Forma 1368">
              <a:extLst>
                <a:ext uri="{FF2B5EF4-FFF2-40B4-BE49-F238E27FC236}">
                  <a16:creationId xmlns:a16="http://schemas.microsoft.com/office/drawing/2014/main" id="{742929A3-B8B2-4707-1852-DE5140A172E7}"/>
                </a:ext>
              </a:extLst>
            </p:cNvPr>
            <p:cNvSpPr/>
            <p:nvPr/>
          </p:nvSpPr>
          <p:spPr>
            <a:xfrm>
              <a:off x="1376873" y="4407780"/>
              <a:ext cx="228806" cy="12478"/>
            </a:xfrm>
            <a:custGeom>
              <a:avLst/>
              <a:gdLst>
                <a:gd name="connsiteX0" fmla="*/ 228806 w 228806"/>
                <a:gd name="connsiteY0" fmla="*/ 0 h 12478"/>
                <a:gd name="connsiteX1" fmla="*/ 114397 w 228806"/>
                <a:gd name="connsiteY1" fmla="*/ 12478 h 12478"/>
                <a:gd name="connsiteX2" fmla="*/ 0 w 228806"/>
                <a:gd name="connsiteY2" fmla="*/ 0 h 124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28806" h="12478">
                  <a:moveTo>
                    <a:pt x="228806" y="0"/>
                  </a:moveTo>
                  <a:cubicBezTo>
                    <a:pt x="194837" y="7955"/>
                    <a:pt x="155851" y="12478"/>
                    <a:pt x="114397" y="12478"/>
                  </a:cubicBezTo>
                  <a:cubicBezTo>
                    <a:pt x="72944" y="12478"/>
                    <a:pt x="33969" y="7955"/>
                    <a:pt x="0" y="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370" name="Gráfico 13">
            <a:extLst>
              <a:ext uri="{FF2B5EF4-FFF2-40B4-BE49-F238E27FC236}">
                <a16:creationId xmlns:a16="http://schemas.microsoft.com/office/drawing/2014/main" id="{D4F9D548-BD84-8C8E-90C5-67B413E07B89}"/>
              </a:ext>
            </a:extLst>
          </p:cNvPr>
          <p:cNvGrpSpPr/>
          <p:nvPr/>
        </p:nvGrpSpPr>
        <p:grpSpPr>
          <a:xfrm>
            <a:off x="1350389" y="4739422"/>
            <a:ext cx="281763" cy="281775"/>
            <a:chOff x="1350389" y="4739422"/>
            <a:chExt cx="281763" cy="281775"/>
          </a:xfrm>
          <a:noFill/>
        </p:grpSpPr>
        <p:grpSp>
          <p:nvGrpSpPr>
            <p:cNvPr id="1371" name="Gráfico 13">
              <a:extLst>
                <a:ext uri="{FF2B5EF4-FFF2-40B4-BE49-F238E27FC236}">
                  <a16:creationId xmlns:a16="http://schemas.microsoft.com/office/drawing/2014/main" id="{1C5ED700-0245-2DD7-B04A-B11F98033762}"/>
                </a:ext>
              </a:extLst>
            </p:cNvPr>
            <p:cNvGrpSpPr/>
            <p:nvPr/>
          </p:nvGrpSpPr>
          <p:grpSpPr>
            <a:xfrm>
              <a:off x="1350389" y="4739422"/>
              <a:ext cx="281763" cy="281775"/>
              <a:chOff x="1350389" y="4739422"/>
              <a:chExt cx="281763" cy="281775"/>
            </a:xfrm>
            <a:noFill/>
          </p:grpSpPr>
          <p:sp>
            <p:nvSpPr>
              <p:cNvPr id="1372" name="Forma livre: Forma 1371">
                <a:extLst>
                  <a:ext uri="{FF2B5EF4-FFF2-40B4-BE49-F238E27FC236}">
                    <a16:creationId xmlns:a16="http://schemas.microsoft.com/office/drawing/2014/main" id="{0E134D79-C274-07D5-E28A-58FC524A9221}"/>
                  </a:ext>
                </a:extLst>
              </p:cNvPr>
              <p:cNvSpPr/>
              <p:nvPr/>
            </p:nvSpPr>
            <p:spPr>
              <a:xfrm>
                <a:off x="1350389" y="4739422"/>
                <a:ext cx="281763" cy="281775"/>
              </a:xfrm>
              <a:custGeom>
                <a:avLst/>
                <a:gdLst>
                  <a:gd name="connsiteX0" fmla="*/ 49244 w 281763"/>
                  <a:gd name="connsiteY0" fmla="*/ 86761 h 281775"/>
                  <a:gd name="connsiteX1" fmla="*/ 37811 w 281763"/>
                  <a:gd name="connsiteY1" fmla="*/ 114362 h 281775"/>
                  <a:gd name="connsiteX2" fmla="*/ 0 w 281763"/>
                  <a:gd name="connsiteY2" fmla="*/ 120777 h 281775"/>
                  <a:gd name="connsiteX3" fmla="*/ 0 w 281763"/>
                  <a:gd name="connsiteY3" fmla="*/ 160986 h 281775"/>
                  <a:gd name="connsiteX4" fmla="*/ 37811 w 281763"/>
                  <a:gd name="connsiteY4" fmla="*/ 167425 h 281775"/>
                  <a:gd name="connsiteX5" fmla="*/ 49373 w 281763"/>
                  <a:gd name="connsiteY5" fmla="*/ 195201 h 281775"/>
                  <a:gd name="connsiteX6" fmla="*/ 27060 w 281763"/>
                  <a:gd name="connsiteY6" fmla="*/ 226292 h 281775"/>
                  <a:gd name="connsiteX7" fmla="*/ 55483 w 281763"/>
                  <a:gd name="connsiteY7" fmla="*/ 254715 h 281775"/>
                  <a:gd name="connsiteX8" fmla="*/ 86573 w 281763"/>
                  <a:gd name="connsiteY8" fmla="*/ 232402 h 281775"/>
                  <a:gd name="connsiteX9" fmla="*/ 114362 w 281763"/>
                  <a:gd name="connsiteY9" fmla="*/ 243940 h 281775"/>
                  <a:gd name="connsiteX10" fmla="*/ 120789 w 281763"/>
                  <a:gd name="connsiteY10" fmla="*/ 281775 h 281775"/>
                  <a:gd name="connsiteX11" fmla="*/ 160986 w 281763"/>
                  <a:gd name="connsiteY11" fmla="*/ 281775 h 281775"/>
                  <a:gd name="connsiteX12" fmla="*/ 167425 w 281763"/>
                  <a:gd name="connsiteY12" fmla="*/ 243964 h 281775"/>
                  <a:gd name="connsiteX13" fmla="*/ 195213 w 281763"/>
                  <a:gd name="connsiteY13" fmla="*/ 232414 h 281775"/>
                  <a:gd name="connsiteX14" fmla="*/ 226292 w 281763"/>
                  <a:gd name="connsiteY14" fmla="*/ 254727 h 281775"/>
                  <a:gd name="connsiteX15" fmla="*/ 254715 w 281763"/>
                  <a:gd name="connsiteY15" fmla="*/ 226304 h 281775"/>
                  <a:gd name="connsiteX16" fmla="*/ 232413 w 281763"/>
                  <a:gd name="connsiteY16" fmla="*/ 195237 h 281775"/>
                  <a:gd name="connsiteX17" fmla="*/ 244022 w 281763"/>
                  <a:gd name="connsiteY17" fmla="*/ 167201 h 281775"/>
                  <a:gd name="connsiteX18" fmla="*/ 281763 w 281763"/>
                  <a:gd name="connsiteY18" fmla="*/ 160997 h 281775"/>
                  <a:gd name="connsiteX19" fmla="*/ 281763 w 281763"/>
                  <a:gd name="connsiteY19" fmla="*/ 120789 h 281775"/>
                  <a:gd name="connsiteX20" fmla="*/ 244022 w 281763"/>
                  <a:gd name="connsiteY20" fmla="*/ 114597 h 281775"/>
                  <a:gd name="connsiteX21" fmla="*/ 232543 w 281763"/>
                  <a:gd name="connsiteY21" fmla="*/ 86761 h 281775"/>
                  <a:gd name="connsiteX22" fmla="*/ 254727 w 281763"/>
                  <a:gd name="connsiteY22" fmla="*/ 55483 h 281775"/>
                  <a:gd name="connsiteX23" fmla="*/ 226304 w 281763"/>
                  <a:gd name="connsiteY23" fmla="*/ 27060 h 281775"/>
                  <a:gd name="connsiteX24" fmla="*/ 195025 w 281763"/>
                  <a:gd name="connsiteY24" fmla="*/ 49244 h 281775"/>
                  <a:gd name="connsiteX25" fmla="*/ 167201 w 281763"/>
                  <a:gd name="connsiteY25" fmla="*/ 37764 h 281775"/>
                  <a:gd name="connsiteX26" fmla="*/ 160986 w 281763"/>
                  <a:gd name="connsiteY26" fmla="*/ 0 h 281775"/>
                  <a:gd name="connsiteX27" fmla="*/ 120789 w 281763"/>
                  <a:gd name="connsiteY27" fmla="*/ 0 h 281775"/>
                  <a:gd name="connsiteX28" fmla="*/ 118298 w 281763"/>
                  <a:gd name="connsiteY28" fmla="*/ 16849 h 2817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</a:cxnLst>
                <a:rect l="l" t="t" r="r" b="b"/>
                <a:pathLst>
                  <a:path w="281763" h="281775">
                    <a:moveTo>
                      <a:pt x="49244" y="86761"/>
                    </a:moveTo>
                    <a:cubicBezTo>
                      <a:pt x="44203" y="95268"/>
                      <a:pt x="40326" y="104527"/>
                      <a:pt x="37811" y="114362"/>
                    </a:cubicBezTo>
                    <a:lnTo>
                      <a:pt x="0" y="120777"/>
                    </a:lnTo>
                    <a:lnTo>
                      <a:pt x="0" y="160986"/>
                    </a:lnTo>
                    <a:lnTo>
                      <a:pt x="37811" y="167425"/>
                    </a:lnTo>
                    <a:cubicBezTo>
                      <a:pt x="40349" y="177330"/>
                      <a:pt x="44262" y="186648"/>
                      <a:pt x="49373" y="195201"/>
                    </a:cubicBezTo>
                    <a:lnTo>
                      <a:pt x="27060" y="226292"/>
                    </a:lnTo>
                    <a:lnTo>
                      <a:pt x="55483" y="254715"/>
                    </a:lnTo>
                    <a:lnTo>
                      <a:pt x="86573" y="232402"/>
                    </a:lnTo>
                    <a:cubicBezTo>
                      <a:pt x="95139" y="237501"/>
                      <a:pt x="104469" y="241402"/>
                      <a:pt x="114362" y="243940"/>
                    </a:cubicBezTo>
                    <a:lnTo>
                      <a:pt x="120789" y="281775"/>
                    </a:lnTo>
                    <a:lnTo>
                      <a:pt x="160986" y="281775"/>
                    </a:lnTo>
                    <a:lnTo>
                      <a:pt x="167425" y="243964"/>
                    </a:lnTo>
                    <a:cubicBezTo>
                      <a:pt x="177318" y="241414"/>
                      <a:pt x="186648" y="237501"/>
                      <a:pt x="195213" y="232414"/>
                    </a:cubicBezTo>
                    <a:lnTo>
                      <a:pt x="226292" y="254727"/>
                    </a:lnTo>
                    <a:lnTo>
                      <a:pt x="254715" y="226304"/>
                    </a:lnTo>
                    <a:lnTo>
                      <a:pt x="232413" y="195237"/>
                    </a:lnTo>
                    <a:cubicBezTo>
                      <a:pt x="237548" y="186589"/>
                      <a:pt x="241473" y="177177"/>
                      <a:pt x="244022" y="167201"/>
                    </a:cubicBezTo>
                    <a:lnTo>
                      <a:pt x="281763" y="160997"/>
                    </a:lnTo>
                    <a:lnTo>
                      <a:pt x="281763" y="120789"/>
                    </a:lnTo>
                    <a:lnTo>
                      <a:pt x="244022" y="114597"/>
                    </a:lnTo>
                    <a:cubicBezTo>
                      <a:pt x="241508" y="104692"/>
                      <a:pt x="237619" y="95351"/>
                      <a:pt x="232543" y="86761"/>
                    </a:cubicBezTo>
                    <a:lnTo>
                      <a:pt x="254727" y="55483"/>
                    </a:lnTo>
                    <a:lnTo>
                      <a:pt x="226304" y="27060"/>
                    </a:lnTo>
                    <a:lnTo>
                      <a:pt x="195025" y="49244"/>
                    </a:lnTo>
                    <a:cubicBezTo>
                      <a:pt x="186448" y="44156"/>
                      <a:pt x="177107" y="40290"/>
                      <a:pt x="167201" y="37764"/>
                    </a:cubicBezTo>
                    <a:lnTo>
                      <a:pt x="160986" y="0"/>
                    </a:lnTo>
                    <a:lnTo>
                      <a:pt x="120789" y="0"/>
                    </a:lnTo>
                    <a:lnTo>
                      <a:pt x="118298" y="16849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373" name="Forma livre: Forma 1372">
                <a:extLst>
                  <a:ext uri="{FF2B5EF4-FFF2-40B4-BE49-F238E27FC236}">
                    <a16:creationId xmlns:a16="http://schemas.microsoft.com/office/drawing/2014/main" id="{2E4DA54E-1713-5844-28B4-617ABC591DFB}"/>
                  </a:ext>
                </a:extLst>
              </p:cNvPr>
              <p:cNvSpPr/>
              <p:nvPr/>
            </p:nvSpPr>
            <p:spPr>
              <a:xfrm>
                <a:off x="1377449" y="4766494"/>
                <a:ext cx="87513" cy="41782"/>
              </a:xfrm>
              <a:custGeom>
                <a:avLst/>
                <a:gdLst>
                  <a:gd name="connsiteX0" fmla="*/ 87513 w 87513"/>
                  <a:gd name="connsiteY0" fmla="*/ 10704 h 41782"/>
                  <a:gd name="connsiteX1" fmla="*/ 59701 w 87513"/>
                  <a:gd name="connsiteY1" fmla="*/ 22184 h 41782"/>
                  <a:gd name="connsiteX2" fmla="*/ 28423 w 87513"/>
                  <a:gd name="connsiteY2" fmla="*/ 0 h 41782"/>
                  <a:gd name="connsiteX3" fmla="*/ 0 w 87513"/>
                  <a:gd name="connsiteY3" fmla="*/ 28411 h 41782"/>
                  <a:gd name="connsiteX4" fmla="*/ 9564 w 87513"/>
                  <a:gd name="connsiteY4" fmla="*/ 41783 h 417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7513" h="41782">
                    <a:moveTo>
                      <a:pt x="87513" y="10704"/>
                    </a:moveTo>
                    <a:cubicBezTo>
                      <a:pt x="77620" y="13219"/>
                      <a:pt x="68279" y="17096"/>
                      <a:pt x="59701" y="22184"/>
                    </a:cubicBezTo>
                    <a:lnTo>
                      <a:pt x="28423" y="0"/>
                    </a:lnTo>
                    <a:lnTo>
                      <a:pt x="0" y="28411"/>
                    </a:lnTo>
                    <a:lnTo>
                      <a:pt x="9564" y="41783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374" name="Forma livre: Forma 1373">
              <a:extLst>
                <a:ext uri="{FF2B5EF4-FFF2-40B4-BE49-F238E27FC236}">
                  <a16:creationId xmlns:a16="http://schemas.microsoft.com/office/drawing/2014/main" id="{53E6A049-1163-5E49-70D5-3DDB6A4D7A27}"/>
                </a:ext>
              </a:extLst>
            </p:cNvPr>
            <p:cNvSpPr/>
            <p:nvPr/>
          </p:nvSpPr>
          <p:spPr>
            <a:xfrm>
              <a:off x="1420771" y="4809804"/>
              <a:ext cx="141010" cy="141010"/>
            </a:xfrm>
            <a:custGeom>
              <a:avLst/>
              <a:gdLst>
                <a:gd name="connsiteX0" fmla="*/ 36989 w 141010"/>
                <a:gd name="connsiteY0" fmla="*/ 8460 h 141010"/>
                <a:gd name="connsiteX1" fmla="*/ 70500 w 141010"/>
                <a:gd name="connsiteY1" fmla="*/ 0 h 141010"/>
                <a:gd name="connsiteX2" fmla="*/ 141011 w 141010"/>
                <a:gd name="connsiteY2" fmla="*/ 70511 h 141010"/>
                <a:gd name="connsiteX3" fmla="*/ 70500 w 141010"/>
                <a:gd name="connsiteY3" fmla="*/ 141011 h 141010"/>
                <a:gd name="connsiteX4" fmla="*/ 0 w 141010"/>
                <a:gd name="connsiteY4" fmla="*/ 70511 h 141010"/>
                <a:gd name="connsiteX5" fmla="*/ 14593 w 141010"/>
                <a:gd name="connsiteY5" fmla="*/ 27542 h 1410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41010" h="141010">
                  <a:moveTo>
                    <a:pt x="36989" y="8460"/>
                  </a:moveTo>
                  <a:cubicBezTo>
                    <a:pt x="46953" y="3067"/>
                    <a:pt x="58374" y="0"/>
                    <a:pt x="70500" y="0"/>
                  </a:cubicBezTo>
                  <a:cubicBezTo>
                    <a:pt x="109439" y="0"/>
                    <a:pt x="141011" y="31572"/>
                    <a:pt x="141011" y="70511"/>
                  </a:cubicBezTo>
                  <a:cubicBezTo>
                    <a:pt x="141011" y="109451"/>
                    <a:pt x="109439" y="141011"/>
                    <a:pt x="70500" y="141011"/>
                  </a:cubicBezTo>
                  <a:cubicBezTo>
                    <a:pt x="31560" y="141011"/>
                    <a:pt x="0" y="109439"/>
                    <a:pt x="0" y="70511"/>
                  </a:cubicBezTo>
                  <a:cubicBezTo>
                    <a:pt x="0" y="54332"/>
                    <a:pt x="5440" y="39433"/>
                    <a:pt x="14593" y="27542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375" name="Forma livre: Forma 1374">
              <a:extLst>
                <a:ext uri="{FF2B5EF4-FFF2-40B4-BE49-F238E27FC236}">
                  <a16:creationId xmlns:a16="http://schemas.microsoft.com/office/drawing/2014/main" id="{B845DB15-9BCA-2F16-0B91-93AED9D6CA39}"/>
                </a:ext>
              </a:extLst>
            </p:cNvPr>
            <p:cNvSpPr/>
            <p:nvPr/>
          </p:nvSpPr>
          <p:spPr>
            <a:xfrm>
              <a:off x="1454728" y="4843761"/>
              <a:ext cx="73061" cy="73072"/>
            </a:xfrm>
            <a:custGeom>
              <a:avLst/>
              <a:gdLst>
                <a:gd name="connsiteX0" fmla="*/ 24381 w 73061"/>
                <a:gd name="connsiteY0" fmla="*/ 2080 h 73072"/>
                <a:gd name="connsiteX1" fmla="*/ 36531 w 73061"/>
                <a:gd name="connsiteY1" fmla="*/ 0 h 73072"/>
                <a:gd name="connsiteX2" fmla="*/ 73061 w 73061"/>
                <a:gd name="connsiteY2" fmla="*/ 36542 h 73072"/>
                <a:gd name="connsiteX3" fmla="*/ 36531 w 73061"/>
                <a:gd name="connsiteY3" fmla="*/ 73073 h 73072"/>
                <a:gd name="connsiteX4" fmla="*/ 0 w 73061"/>
                <a:gd name="connsiteY4" fmla="*/ 36542 h 73072"/>
                <a:gd name="connsiteX5" fmla="*/ 4512 w 73061"/>
                <a:gd name="connsiteY5" fmla="*/ 18929 h 730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3061" h="73072">
                  <a:moveTo>
                    <a:pt x="24381" y="2080"/>
                  </a:moveTo>
                  <a:cubicBezTo>
                    <a:pt x="28188" y="740"/>
                    <a:pt x="32277" y="0"/>
                    <a:pt x="36531" y="0"/>
                  </a:cubicBezTo>
                  <a:cubicBezTo>
                    <a:pt x="56705" y="0"/>
                    <a:pt x="73061" y="16368"/>
                    <a:pt x="73061" y="36542"/>
                  </a:cubicBezTo>
                  <a:cubicBezTo>
                    <a:pt x="73061" y="56717"/>
                    <a:pt x="56705" y="73073"/>
                    <a:pt x="36531" y="73073"/>
                  </a:cubicBezTo>
                  <a:cubicBezTo>
                    <a:pt x="16356" y="73073"/>
                    <a:pt x="0" y="56705"/>
                    <a:pt x="0" y="36542"/>
                  </a:cubicBezTo>
                  <a:cubicBezTo>
                    <a:pt x="0" y="30162"/>
                    <a:pt x="1645" y="24158"/>
                    <a:pt x="4512" y="18929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376" name="Gráfico 13">
            <a:extLst>
              <a:ext uri="{FF2B5EF4-FFF2-40B4-BE49-F238E27FC236}">
                <a16:creationId xmlns:a16="http://schemas.microsoft.com/office/drawing/2014/main" id="{2314A1E8-8AD0-2931-C773-714F2CC5EC66}"/>
              </a:ext>
            </a:extLst>
          </p:cNvPr>
          <p:cNvGrpSpPr/>
          <p:nvPr/>
        </p:nvGrpSpPr>
        <p:grpSpPr>
          <a:xfrm>
            <a:off x="1348039" y="5795446"/>
            <a:ext cx="286474" cy="262610"/>
            <a:chOff x="1348039" y="5795446"/>
            <a:chExt cx="286474" cy="262610"/>
          </a:xfrm>
          <a:noFill/>
        </p:grpSpPr>
        <p:grpSp>
          <p:nvGrpSpPr>
            <p:cNvPr id="1377" name="Gráfico 13">
              <a:extLst>
                <a:ext uri="{FF2B5EF4-FFF2-40B4-BE49-F238E27FC236}">
                  <a16:creationId xmlns:a16="http://schemas.microsoft.com/office/drawing/2014/main" id="{1B8C6FE3-6FC0-DC49-1F19-34B180A90A81}"/>
                </a:ext>
              </a:extLst>
            </p:cNvPr>
            <p:cNvGrpSpPr/>
            <p:nvPr/>
          </p:nvGrpSpPr>
          <p:grpSpPr>
            <a:xfrm>
              <a:off x="1502539" y="5795446"/>
              <a:ext cx="131975" cy="262610"/>
              <a:chOff x="1502539" y="5795446"/>
              <a:chExt cx="131975" cy="262610"/>
            </a:xfrm>
            <a:noFill/>
          </p:grpSpPr>
          <p:sp>
            <p:nvSpPr>
              <p:cNvPr id="1378" name="Forma livre: Forma 1377">
                <a:extLst>
                  <a:ext uri="{FF2B5EF4-FFF2-40B4-BE49-F238E27FC236}">
                    <a16:creationId xmlns:a16="http://schemas.microsoft.com/office/drawing/2014/main" id="{CEF4E4EE-D8DC-6523-3EB0-8FB363DC2747}"/>
                  </a:ext>
                </a:extLst>
              </p:cNvPr>
              <p:cNvSpPr/>
              <p:nvPr/>
            </p:nvSpPr>
            <p:spPr>
              <a:xfrm>
                <a:off x="1502539" y="5795446"/>
                <a:ext cx="131975" cy="262610"/>
              </a:xfrm>
              <a:custGeom>
                <a:avLst/>
                <a:gdLst>
                  <a:gd name="connsiteX0" fmla="*/ 0 w 131975"/>
                  <a:gd name="connsiteY0" fmla="*/ 262611 h 262610"/>
                  <a:gd name="connsiteX1" fmla="*/ 19399 w 131975"/>
                  <a:gd name="connsiteY1" fmla="*/ 262611 h 262610"/>
                  <a:gd name="connsiteX2" fmla="*/ 25403 w 131975"/>
                  <a:gd name="connsiteY2" fmla="*/ 227373 h 262610"/>
                  <a:gd name="connsiteX3" fmla="*/ 51300 w 131975"/>
                  <a:gd name="connsiteY3" fmla="*/ 216610 h 262610"/>
                  <a:gd name="connsiteX4" fmla="*/ 80275 w 131975"/>
                  <a:gd name="connsiteY4" fmla="*/ 237396 h 262610"/>
                  <a:gd name="connsiteX5" fmla="*/ 106772 w 131975"/>
                  <a:gd name="connsiteY5" fmla="*/ 210911 h 262610"/>
                  <a:gd name="connsiteX6" fmla="*/ 85974 w 131975"/>
                  <a:gd name="connsiteY6" fmla="*/ 181936 h 262610"/>
                  <a:gd name="connsiteX7" fmla="*/ 96796 w 131975"/>
                  <a:gd name="connsiteY7" fmla="*/ 155816 h 262610"/>
                  <a:gd name="connsiteX8" fmla="*/ 131975 w 131975"/>
                  <a:gd name="connsiteY8" fmla="*/ 150035 h 262610"/>
                  <a:gd name="connsiteX9" fmla="*/ 131975 w 131975"/>
                  <a:gd name="connsiteY9" fmla="*/ 112576 h 262610"/>
                  <a:gd name="connsiteX10" fmla="*/ 96796 w 131975"/>
                  <a:gd name="connsiteY10" fmla="*/ 106795 h 262610"/>
                  <a:gd name="connsiteX11" fmla="*/ 86092 w 131975"/>
                  <a:gd name="connsiteY11" fmla="*/ 80863 h 262610"/>
                  <a:gd name="connsiteX12" fmla="*/ 106772 w 131975"/>
                  <a:gd name="connsiteY12" fmla="*/ 51711 h 262610"/>
                  <a:gd name="connsiteX13" fmla="*/ 80275 w 131975"/>
                  <a:gd name="connsiteY13" fmla="*/ 25215 h 262610"/>
                  <a:gd name="connsiteX14" fmla="*/ 51124 w 131975"/>
                  <a:gd name="connsiteY14" fmla="*/ 45895 h 262610"/>
                  <a:gd name="connsiteX15" fmla="*/ 25192 w 131975"/>
                  <a:gd name="connsiteY15" fmla="*/ 35191 h 262610"/>
                  <a:gd name="connsiteX16" fmla="*/ 19411 w 131975"/>
                  <a:gd name="connsiteY16" fmla="*/ 0 h 262610"/>
                  <a:gd name="connsiteX17" fmla="*/ 12 w 131975"/>
                  <a:gd name="connsiteY17" fmla="*/ 0 h 2626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131975" h="262610">
                    <a:moveTo>
                      <a:pt x="0" y="262611"/>
                    </a:moveTo>
                    <a:lnTo>
                      <a:pt x="19399" y="262611"/>
                    </a:lnTo>
                    <a:lnTo>
                      <a:pt x="25403" y="227373"/>
                    </a:lnTo>
                    <a:cubicBezTo>
                      <a:pt x="34627" y="224999"/>
                      <a:pt x="43322" y="221357"/>
                      <a:pt x="51300" y="216610"/>
                    </a:cubicBezTo>
                    <a:lnTo>
                      <a:pt x="80275" y="237396"/>
                    </a:lnTo>
                    <a:lnTo>
                      <a:pt x="106772" y="210911"/>
                    </a:lnTo>
                    <a:lnTo>
                      <a:pt x="85974" y="181936"/>
                    </a:lnTo>
                    <a:cubicBezTo>
                      <a:pt x="90768" y="173899"/>
                      <a:pt x="94434" y="165134"/>
                      <a:pt x="96796" y="155816"/>
                    </a:cubicBezTo>
                    <a:lnTo>
                      <a:pt x="131975" y="150035"/>
                    </a:lnTo>
                    <a:lnTo>
                      <a:pt x="131975" y="112576"/>
                    </a:lnTo>
                    <a:lnTo>
                      <a:pt x="96796" y="106795"/>
                    </a:lnTo>
                    <a:cubicBezTo>
                      <a:pt x="94446" y="97560"/>
                      <a:pt x="90827" y="88853"/>
                      <a:pt x="86092" y="80863"/>
                    </a:cubicBezTo>
                    <a:lnTo>
                      <a:pt x="106772" y="51711"/>
                    </a:lnTo>
                    <a:lnTo>
                      <a:pt x="80275" y="25215"/>
                    </a:lnTo>
                    <a:lnTo>
                      <a:pt x="51124" y="45895"/>
                    </a:lnTo>
                    <a:cubicBezTo>
                      <a:pt x="43134" y="41160"/>
                      <a:pt x="34427" y="37541"/>
                      <a:pt x="25192" y="35191"/>
                    </a:cubicBezTo>
                    <a:lnTo>
                      <a:pt x="19411" y="0"/>
                    </a:lnTo>
                    <a:lnTo>
                      <a:pt x="12" y="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379" name="Forma livre: Forma 1378">
                <a:extLst>
                  <a:ext uri="{FF2B5EF4-FFF2-40B4-BE49-F238E27FC236}">
                    <a16:creationId xmlns:a16="http://schemas.microsoft.com/office/drawing/2014/main" id="{C77F69F2-47AA-BDA4-9C5B-39B45B87B2B9}"/>
                  </a:ext>
                </a:extLst>
              </p:cNvPr>
              <p:cNvSpPr/>
              <p:nvPr/>
            </p:nvSpPr>
            <p:spPr>
              <a:xfrm>
                <a:off x="1502539" y="5882549"/>
                <a:ext cx="44872" cy="88406"/>
              </a:xfrm>
              <a:custGeom>
                <a:avLst/>
                <a:gdLst>
                  <a:gd name="connsiteX0" fmla="*/ 0 w 44872"/>
                  <a:gd name="connsiteY0" fmla="*/ 0 h 88406"/>
                  <a:gd name="connsiteX1" fmla="*/ 44873 w 44872"/>
                  <a:gd name="connsiteY1" fmla="*/ 44203 h 88406"/>
                  <a:gd name="connsiteX2" fmla="*/ 0 w 44872"/>
                  <a:gd name="connsiteY2" fmla="*/ 88406 h 884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44872" h="88406">
                    <a:moveTo>
                      <a:pt x="0" y="0"/>
                    </a:moveTo>
                    <a:cubicBezTo>
                      <a:pt x="24416" y="0"/>
                      <a:pt x="44873" y="19799"/>
                      <a:pt x="44873" y="44203"/>
                    </a:cubicBezTo>
                    <a:cubicBezTo>
                      <a:pt x="44873" y="68608"/>
                      <a:pt x="24416" y="88406"/>
                      <a:pt x="0" y="88406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380" name="Gráfico 13">
              <a:extLst>
                <a:ext uri="{FF2B5EF4-FFF2-40B4-BE49-F238E27FC236}">
                  <a16:creationId xmlns:a16="http://schemas.microsoft.com/office/drawing/2014/main" id="{FDD2776B-D58B-6551-F3E7-8C693AF0DB07}"/>
                </a:ext>
              </a:extLst>
            </p:cNvPr>
            <p:cNvGrpSpPr/>
            <p:nvPr/>
          </p:nvGrpSpPr>
          <p:grpSpPr>
            <a:xfrm>
              <a:off x="1348039" y="5795552"/>
              <a:ext cx="131199" cy="262399"/>
              <a:chOff x="1348039" y="5795552"/>
              <a:chExt cx="131199" cy="262399"/>
            </a:xfrm>
            <a:noFill/>
          </p:grpSpPr>
          <p:sp>
            <p:nvSpPr>
              <p:cNvPr id="1381" name="Forma livre: Forma 1380">
                <a:extLst>
                  <a:ext uri="{FF2B5EF4-FFF2-40B4-BE49-F238E27FC236}">
                    <a16:creationId xmlns:a16="http://schemas.microsoft.com/office/drawing/2014/main" id="{507567ED-A47F-0C2B-7902-5D4CD434AA49}"/>
                  </a:ext>
                </a:extLst>
              </p:cNvPr>
              <p:cNvSpPr/>
              <p:nvPr/>
            </p:nvSpPr>
            <p:spPr>
              <a:xfrm>
                <a:off x="1368484" y="5926670"/>
                <a:ext cx="110731" cy="1174"/>
              </a:xfrm>
              <a:custGeom>
                <a:avLst/>
                <a:gdLst>
                  <a:gd name="connsiteX0" fmla="*/ 0 w 110731"/>
                  <a:gd name="connsiteY0" fmla="*/ 0 h 1174"/>
                  <a:gd name="connsiteX1" fmla="*/ 110731 w 110731"/>
                  <a:gd name="connsiteY1" fmla="*/ 0 h 1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0731" h="1174">
                    <a:moveTo>
                      <a:pt x="0" y="0"/>
                    </a:moveTo>
                    <a:lnTo>
                      <a:pt x="110731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382" name="Forma livre: Forma 1381">
                <a:extLst>
                  <a:ext uri="{FF2B5EF4-FFF2-40B4-BE49-F238E27FC236}">
                    <a16:creationId xmlns:a16="http://schemas.microsoft.com/office/drawing/2014/main" id="{4080D70D-F336-ABBE-EC64-C4D3B9B90ACC}"/>
                  </a:ext>
                </a:extLst>
              </p:cNvPr>
              <p:cNvSpPr/>
              <p:nvPr/>
            </p:nvSpPr>
            <p:spPr>
              <a:xfrm>
                <a:off x="1406455" y="5796022"/>
                <a:ext cx="63842" cy="261200"/>
              </a:xfrm>
              <a:custGeom>
                <a:avLst/>
                <a:gdLst>
                  <a:gd name="connsiteX0" fmla="*/ 62867 w 63842"/>
                  <a:gd name="connsiteY0" fmla="*/ 261201 h 261200"/>
                  <a:gd name="connsiteX1" fmla="*/ 63842 w 63842"/>
                  <a:gd name="connsiteY1" fmla="*/ 0 h 2612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3842" h="261200">
                    <a:moveTo>
                      <a:pt x="62867" y="261201"/>
                    </a:moveTo>
                    <a:cubicBezTo>
                      <a:pt x="50494" y="250861"/>
                      <a:pt x="-72786" y="141587"/>
                      <a:pt x="63842" y="0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383" name="Forma livre: Forma 1382">
                <a:extLst>
                  <a:ext uri="{FF2B5EF4-FFF2-40B4-BE49-F238E27FC236}">
                    <a16:creationId xmlns:a16="http://schemas.microsoft.com/office/drawing/2014/main" id="{F1418DD8-87F2-F82E-B0AB-8270C25BE38A}"/>
                  </a:ext>
                </a:extLst>
              </p:cNvPr>
              <p:cNvSpPr/>
              <p:nvPr/>
            </p:nvSpPr>
            <p:spPr>
              <a:xfrm>
                <a:off x="1396977" y="5852540"/>
                <a:ext cx="81473" cy="19117"/>
              </a:xfrm>
              <a:custGeom>
                <a:avLst/>
                <a:gdLst>
                  <a:gd name="connsiteX0" fmla="*/ 0 w 81473"/>
                  <a:gd name="connsiteY0" fmla="*/ 0 h 19117"/>
                  <a:gd name="connsiteX1" fmla="*/ 81474 w 81473"/>
                  <a:gd name="connsiteY1" fmla="*/ 19117 h 191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81473" h="19117">
                    <a:moveTo>
                      <a:pt x="0" y="0"/>
                    </a:moveTo>
                    <a:cubicBezTo>
                      <a:pt x="21291" y="10352"/>
                      <a:pt x="49021" y="19199"/>
                      <a:pt x="81474" y="19117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384" name="Forma livre: Forma 1383">
                <a:extLst>
                  <a:ext uri="{FF2B5EF4-FFF2-40B4-BE49-F238E27FC236}">
                    <a16:creationId xmlns:a16="http://schemas.microsoft.com/office/drawing/2014/main" id="{CDD2A650-F005-D637-CD5F-E160EC9804F7}"/>
                  </a:ext>
                </a:extLst>
              </p:cNvPr>
              <p:cNvSpPr/>
              <p:nvPr/>
            </p:nvSpPr>
            <p:spPr>
              <a:xfrm>
                <a:off x="1397036" y="5981541"/>
                <a:ext cx="81415" cy="19094"/>
              </a:xfrm>
              <a:custGeom>
                <a:avLst/>
                <a:gdLst>
                  <a:gd name="connsiteX0" fmla="*/ 0 w 81415"/>
                  <a:gd name="connsiteY0" fmla="*/ 19094 h 19094"/>
                  <a:gd name="connsiteX1" fmla="*/ 81415 w 81415"/>
                  <a:gd name="connsiteY1" fmla="*/ 0 h 190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81415" h="19094">
                    <a:moveTo>
                      <a:pt x="0" y="19094"/>
                    </a:moveTo>
                    <a:cubicBezTo>
                      <a:pt x="21291" y="8766"/>
                      <a:pt x="48997" y="-70"/>
                      <a:pt x="81415" y="0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385" name="Forma livre: Forma 1384">
                <a:extLst>
                  <a:ext uri="{FF2B5EF4-FFF2-40B4-BE49-F238E27FC236}">
                    <a16:creationId xmlns:a16="http://schemas.microsoft.com/office/drawing/2014/main" id="{CF5A7CF2-EB96-9046-164A-B2036E1CBEBF}"/>
                  </a:ext>
                </a:extLst>
              </p:cNvPr>
              <p:cNvSpPr/>
              <p:nvPr/>
            </p:nvSpPr>
            <p:spPr>
              <a:xfrm>
                <a:off x="1348039" y="5795552"/>
                <a:ext cx="131199" cy="262399"/>
              </a:xfrm>
              <a:custGeom>
                <a:avLst/>
                <a:gdLst>
                  <a:gd name="connsiteX0" fmla="*/ 131200 w 131199"/>
                  <a:gd name="connsiteY0" fmla="*/ 262399 h 262399"/>
                  <a:gd name="connsiteX1" fmla="*/ 0 w 131199"/>
                  <a:gd name="connsiteY1" fmla="*/ 131200 h 262399"/>
                  <a:gd name="connsiteX2" fmla="*/ 131200 w 131199"/>
                  <a:gd name="connsiteY2" fmla="*/ 0 h 262399"/>
                  <a:gd name="connsiteX3" fmla="*/ 131200 w 131199"/>
                  <a:gd name="connsiteY3" fmla="*/ 262399 h 2623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31199" h="262399">
                    <a:moveTo>
                      <a:pt x="131200" y="262399"/>
                    </a:moveTo>
                    <a:cubicBezTo>
                      <a:pt x="58738" y="262399"/>
                      <a:pt x="0" y="203661"/>
                      <a:pt x="0" y="131200"/>
                    </a:cubicBezTo>
                    <a:cubicBezTo>
                      <a:pt x="0" y="58738"/>
                      <a:pt x="58738" y="0"/>
                      <a:pt x="131200" y="0"/>
                    </a:cubicBezTo>
                    <a:lnTo>
                      <a:pt x="131200" y="262399"/>
                    </a:ln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386" name="Gráfico 13">
            <a:extLst>
              <a:ext uri="{FF2B5EF4-FFF2-40B4-BE49-F238E27FC236}">
                <a16:creationId xmlns:a16="http://schemas.microsoft.com/office/drawing/2014/main" id="{FF9A46F6-DAEB-65B7-7C83-58C991903E35}"/>
              </a:ext>
            </a:extLst>
          </p:cNvPr>
          <p:cNvGrpSpPr/>
          <p:nvPr/>
        </p:nvGrpSpPr>
        <p:grpSpPr>
          <a:xfrm>
            <a:off x="1319980" y="5293901"/>
            <a:ext cx="342580" cy="219253"/>
            <a:chOff x="1319980" y="5293901"/>
            <a:chExt cx="342580" cy="219253"/>
          </a:xfrm>
          <a:noFill/>
        </p:grpSpPr>
        <p:grpSp>
          <p:nvGrpSpPr>
            <p:cNvPr id="1387" name="Gráfico 13">
              <a:extLst>
                <a:ext uri="{FF2B5EF4-FFF2-40B4-BE49-F238E27FC236}">
                  <a16:creationId xmlns:a16="http://schemas.microsoft.com/office/drawing/2014/main" id="{8ABD3639-AAA5-2738-CD7B-24BEB97277C8}"/>
                </a:ext>
              </a:extLst>
            </p:cNvPr>
            <p:cNvGrpSpPr/>
            <p:nvPr/>
          </p:nvGrpSpPr>
          <p:grpSpPr>
            <a:xfrm>
              <a:off x="1429160" y="5319410"/>
              <a:ext cx="124231" cy="139530"/>
              <a:chOff x="1429160" y="5319410"/>
              <a:chExt cx="124231" cy="139530"/>
            </a:xfrm>
            <a:noFill/>
          </p:grpSpPr>
          <p:sp>
            <p:nvSpPr>
              <p:cNvPr id="1388" name="Forma livre: Forma 1387">
                <a:extLst>
                  <a:ext uri="{FF2B5EF4-FFF2-40B4-BE49-F238E27FC236}">
                    <a16:creationId xmlns:a16="http://schemas.microsoft.com/office/drawing/2014/main" id="{92A72309-A4BA-637E-8E87-3E5FDCFDC195}"/>
                  </a:ext>
                </a:extLst>
              </p:cNvPr>
              <p:cNvSpPr/>
              <p:nvPr/>
            </p:nvSpPr>
            <p:spPr>
              <a:xfrm>
                <a:off x="1429160" y="5319410"/>
                <a:ext cx="124231" cy="139530"/>
              </a:xfrm>
              <a:custGeom>
                <a:avLst/>
                <a:gdLst>
                  <a:gd name="connsiteX0" fmla="*/ 61805 w 124231"/>
                  <a:gd name="connsiteY0" fmla="*/ 0 h 139530"/>
                  <a:gd name="connsiteX1" fmla="*/ 0 w 124231"/>
                  <a:gd name="connsiteY1" fmla="*/ 31948 h 139530"/>
                  <a:gd name="connsiteX2" fmla="*/ 0 w 124231"/>
                  <a:gd name="connsiteY2" fmla="*/ 103869 h 139530"/>
                  <a:gd name="connsiteX3" fmla="*/ 61805 w 124231"/>
                  <a:gd name="connsiteY3" fmla="*/ 139530 h 139530"/>
                  <a:gd name="connsiteX4" fmla="*/ 124232 w 124231"/>
                  <a:gd name="connsiteY4" fmla="*/ 103869 h 139530"/>
                  <a:gd name="connsiteX5" fmla="*/ 124232 w 124231"/>
                  <a:gd name="connsiteY5" fmla="*/ 31948 h 139530"/>
                  <a:gd name="connsiteX6" fmla="*/ 61805 w 124231"/>
                  <a:gd name="connsiteY6" fmla="*/ 0 h 1395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24231" h="139530">
                    <a:moveTo>
                      <a:pt x="61805" y="0"/>
                    </a:moveTo>
                    <a:lnTo>
                      <a:pt x="0" y="31948"/>
                    </a:lnTo>
                    <a:lnTo>
                      <a:pt x="0" y="103869"/>
                    </a:lnTo>
                    <a:lnTo>
                      <a:pt x="61805" y="139530"/>
                    </a:lnTo>
                    <a:lnTo>
                      <a:pt x="124232" y="103869"/>
                    </a:lnTo>
                    <a:lnTo>
                      <a:pt x="124232" y="31948"/>
                    </a:lnTo>
                    <a:lnTo>
                      <a:pt x="61805" y="0"/>
                    </a:ln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1389" name="Gráfico 13">
                <a:extLst>
                  <a:ext uri="{FF2B5EF4-FFF2-40B4-BE49-F238E27FC236}">
                    <a16:creationId xmlns:a16="http://schemas.microsoft.com/office/drawing/2014/main" id="{7AF1742B-7303-6D51-5046-D52269CEA09B}"/>
                  </a:ext>
                </a:extLst>
              </p:cNvPr>
              <p:cNvGrpSpPr/>
              <p:nvPr/>
            </p:nvGrpSpPr>
            <p:grpSpPr>
              <a:xfrm>
                <a:off x="1453013" y="5365470"/>
                <a:ext cx="76515" cy="20409"/>
                <a:chOff x="1453013" y="5365470"/>
                <a:chExt cx="76515" cy="20409"/>
              </a:xfrm>
            </p:grpSpPr>
            <p:sp>
              <p:nvSpPr>
                <p:cNvPr id="1390" name="Forma livre: Forma 1389">
                  <a:extLst>
                    <a:ext uri="{FF2B5EF4-FFF2-40B4-BE49-F238E27FC236}">
                      <a16:creationId xmlns:a16="http://schemas.microsoft.com/office/drawing/2014/main" id="{6E8760C6-1773-A4ED-1FDE-561DDCAE62C4}"/>
                    </a:ext>
                  </a:extLst>
                </p:cNvPr>
                <p:cNvSpPr/>
                <p:nvPr/>
              </p:nvSpPr>
              <p:spPr>
                <a:xfrm>
                  <a:off x="1453013" y="5365470"/>
                  <a:ext cx="38257" cy="20409"/>
                </a:xfrm>
                <a:custGeom>
                  <a:avLst/>
                  <a:gdLst>
                    <a:gd name="connsiteX0" fmla="*/ 0 w 38257"/>
                    <a:gd name="connsiteY0" fmla="*/ 0 h 20409"/>
                    <a:gd name="connsiteX1" fmla="*/ 38258 w 38257"/>
                    <a:gd name="connsiteY1" fmla="*/ 20410 h 2040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38257" h="20409">
                      <a:moveTo>
                        <a:pt x="0" y="0"/>
                      </a:moveTo>
                      <a:lnTo>
                        <a:pt x="38258" y="2041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391" name="Forma livre: Forma 1390">
                  <a:extLst>
                    <a:ext uri="{FF2B5EF4-FFF2-40B4-BE49-F238E27FC236}">
                      <a16:creationId xmlns:a16="http://schemas.microsoft.com/office/drawing/2014/main" id="{6D7A761A-69F0-3A51-3B33-80AA34DC5A77}"/>
                    </a:ext>
                  </a:extLst>
                </p:cNvPr>
                <p:cNvSpPr/>
                <p:nvPr/>
              </p:nvSpPr>
              <p:spPr>
                <a:xfrm>
                  <a:off x="1491270" y="5365470"/>
                  <a:ext cx="38257" cy="20409"/>
                </a:xfrm>
                <a:custGeom>
                  <a:avLst/>
                  <a:gdLst>
                    <a:gd name="connsiteX0" fmla="*/ 38258 w 38257"/>
                    <a:gd name="connsiteY0" fmla="*/ 0 h 20409"/>
                    <a:gd name="connsiteX1" fmla="*/ 0 w 38257"/>
                    <a:gd name="connsiteY1" fmla="*/ 20410 h 2040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38257" h="20409">
                      <a:moveTo>
                        <a:pt x="38258" y="0"/>
                      </a:moveTo>
                      <a:lnTo>
                        <a:pt x="0" y="2041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1392" name="Forma livre: Forma 1391">
                <a:extLst>
                  <a:ext uri="{FF2B5EF4-FFF2-40B4-BE49-F238E27FC236}">
                    <a16:creationId xmlns:a16="http://schemas.microsoft.com/office/drawing/2014/main" id="{F8F8B0A1-E276-84AB-E0E7-98B6CEF4E552}"/>
                  </a:ext>
                </a:extLst>
              </p:cNvPr>
              <p:cNvSpPr/>
              <p:nvPr/>
            </p:nvSpPr>
            <p:spPr>
              <a:xfrm>
                <a:off x="1491270" y="5386537"/>
                <a:ext cx="1174" cy="44661"/>
              </a:xfrm>
              <a:custGeom>
                <a:avLst/>
                <a:gdLst>
                  <a:gd name="connsiteX0" fmla="*/ 0 w 1174"/>
                  <a:gd name="connsiteY0" fmla="*/ 0 h 44661"/>
                  <a:gd name="connsiteX1" fmla="*/ 0 w 1174"/>
                  <a:gd name="connsiteY1" fmla="*/ 44661 h 446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74" h="44661">
                    <a:moveTo>
                      <a:pt x="0" y="0"/>
                    </a:moveTo>
                    <a:lnTo>
                      <a:pt x="0" y="44661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393" name="Forma livre: Forma 1392">
              <a:extLst>
                <a:ext uri="{FF2B5EF4-FFF2-40B4-BE49-F238E27FC236}">
                  <a16:creationId xmlns:a16="http://schemas.microsoft.com/office/drawing/2014/main" id="{A9ABEBB6-EE7D-D94F-43A4-631FB7EF57A7}"/>
                </a:ext>
              </a:extLst>
            </p:cNvPr>
            <p:cNvSpPr/>
            <p:nvPr/>
          </p:nvSpPr>
          <p:spPr>
            <a:xfrm>
              <a:off x="1352339" y="5293901"/>
              <a:ext cx="277850" cy="170785"/>
            </a:xfrm>
            <a:custGeom>
              <a:avLst/>
              <a:gdLst>
                <a:gd name="connsiteX0" fmla="*/ 0 w 277850"/>
                <a:gd name="connsiteY0" fmla="*/ 170785 h 170785"/>
                <a:gd name="connsiteX1" fmla="*/ 0 w 277850"/>
                <a:gd name="connsiteY1" fmla="*/ 20280 h 170785"/>
                <a:gd name="connsiteX2" fmla="*/ 20269 w 277850"/>
                <a:gd name="connsiteY2" fmla="*/ 0 h 170785"/>
                <a:gd name="connsiteX3" fmla="*/ 257558 w 277850"/>
                <a:gd name="connsiteY3" fmla="*/ 0 h 170785"/>
                <a:gd name="connsiteX4" fmla="*/ 277850 w 277850"/>
                <a:gd name="connsiteY4" fmla="*/ 20280 h 170785"/>
                <a:gd name="connsiteX5" fmla="*/ 277850 w 277850"/>
                <a:gd name="connsiteY5" fmla="*/ 170785 h 1707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77850" h="170785">
                  <a:moveTo>
                    <a:pt x="0" y="170785"/>
                  </a:moveTo>
                  <a:lnTo>
                    <a:pt x="0" y="20280"/>
                  </a:lnTo>
                  <a:cubicBezTo>
                    <a:pt x="0" y="9130"/>
                    <a:pt x="9130" y="0"/>
                    <a:pt x="20269" y="0"/>
                  </a:cubicBezTo>
                  <a:lnTo>
                    <a:pt x="257558" y="0"/>
                  </a:lnTo>
                  <a:cubicBezTo>
                    <a:pt x="268721" y="0"/>
                    <a:pt x="277850" y="9130"/>
                    <a:pt x="277850" y="20280"/>
                  </a:cubicBezTo>
                  <a:lnTo>
                    <a:pt x="277850" y="170785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394" name="Forma livre: Forma 1393">
              <a:extLst>
                <a:ext uri="{FF2B5EF4-FFF2-40B4-BE49-F238E27FC236}">
                  <a16:creationId xmlns:a16="http://schemas.microsoft.com/office/drawing/2014/main" id="{1FED2637-B9A1-9DEB-0F1A-A5239001A9A0}"/>
                </a:ext>
              </a:extLst>
            </p:cNvPr>
            <p:cNvSpPr/>
            <p:nvPr/>
          </p:nvSpPr>
          <p:spPr>
            <a:xfrm>
              <a:off x="1319980" y="5486318"/>
              <a:ext cx="342580" cy="26836"/>
            </a:xfrm>
            <a:custGeom>
              <a:avLst/>
              <a:gdLst>
                <a:gd name="connsiteX0" fmla="*/ 0 w 342580"/>
                <a:gd name="connsiteY0" fmla="*/ 0 h 26836"/>
                <a:gd name="connsiteX1" fmla="*/ 25533 w 342580"/>
                <a:gd name="connsiteY1" fmla="*/ 26837 h 26836"/>
                <a:gd name="connsiteX2" fmla="*/ 317036 w 342580"/>
                <a:gd name="connsiteY2" fmla="*/ 26837 h 26836"/>
                <a:gd name="connsiteX3" fmla="*/ 342581 w 342580"/>
                <a:gd name="connsiteY3" fmla="*/ 0 h 26836"/>
                <a:gd name="connsiteX4" fmla="*/ 0 w 342580"/>
                <a:gd name="connsiteY4" fmla="*/ 0 h 268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580" h="26836">
                  <a:moveTo>
                    <a:pt x="0" y="0"/>
                  </a:moveTo>
                  <a:cubicBezTo>
                    <a:pt x="0" y="0"/>
                    <a:pt x="5910" y="26837"/>
                    <a:pt x="25533" y="26837"/>
                  </a:cubicBezTo>
                  <a:lnTo>
                    <a:pt x="317036" y="26837"/>
                  </a:lnTo>
                  <a:cubicBezTo>
                    <a:pt x="336671" y="26837"/>
                    <a:pt x="342581" y="0"/>
                    <a:pt x="342581" y="0"/>
                  </a:cubicBezTo>
                  <a:lnTo>
                    <a:pt x="0" y="0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396" name="Gráfico 14">
            <a:extLst>
              <a:ext uri="{FF2B5EF4-FFF2-40B4-BE49-F238E27FC236}">
                <a16:creationId xmlns:a16="http://schemas.microsoft.com/office/drawing/2014/main" id="{84C31D50-C1FD-E629-2343-99FF31851109}"/>
              </a:ext>
            </a:extLst>
          </p:cNvPr>
          <p:cNvGrpSpPr/>
          <p:nvPr/>
        </p:nvGrpSpPr>
        <p:grpSpPr>
          <a:xfrm>
            <a:off x="3878786" y="4184048"/>
            <a:ext cx="160955" cy="338296"/>
            <a:chOff x="3878786" y="4184048"/>
            <a:chExt cx="160955" cy="338296"/>
          </a:xfrm>
        </p:grpSpPr>
        <p:grpSp>
          <p:nvGrpSpPr>
            <p:cNvPr id="1397" name="Gráfico 14">
              <a:extLst>
                <a:ext uri="{FF2B5EF4-FFF2-40B4-BE49-F238E27FC236}">
                  <a16:creationId xmlns:a16="http://schemas.microsoft.com/office/drawing/2014/main" id="{7DFA0185-2B86-EB42-CCFE-4D332AFC35E1}"/>
                </a:ext>
              </a:extLst>
            </p:cNvPr>
            <p:cNvGrpSpPr/>
            <p:nvPr/>
          </p:nvGrpSpPr>
          <p:grpSpPr>
            <a:xfrm>
              <a:off x="3878786" y="4184048"/>
              <a:ext cx="160955" cy="338296"/>
              <a:chOff x="3878786" y="4184048"/>
              <a:chExt cx="160955" cy="338296"/>
            </a:xfrm>
          </p:grpSpPr>
          <p:grpSp>
            <p:nvGrpSpPr>
              <p:cNvPr id="1398" name="Gráfico 14">
                <a:extLst>
                  <a:ext uri="{FF2B5EF4-FFF2-40B4-BE49-F238E27FC236}">
                    <a16:creationId xmlns:a16="http://schemas.microsoft.com/office/drawing/2014/main" id="{E6098639-94FA-B2D7-F7E0-BE34F319586E}"/>
                  </a:ext>
                </a:extLst>
              </p:cNvPr>
              <p:cNvGrpSpPr/>
              <p:nvPr/>
            </p:nvGrpSpPr>
            <p:grpSpPr>
              <a:xfrm>
                <a:off x="3879190" y="4364112"/>
                <a:ext cx="159078" cy="31666"/>
                <a:chOff x="3879190" y="4364112"/>
                <a:chExt cx="159078" cy="31666"/>
              </a:xfrm>
              <a:noFill/>
            </p:grpSpPr>
            <p:sp>
              <p:nvSpPr>
                <p:cNvPr id="1399" name="Forma livre: Forma 1398">
                  <a:extLst>
                    <a:ext uri="{FF2B5EF4-FFF2-40B4-BE49-F238E27FC236}">
                      <a16:creationId xmlns:a16="http://schemas.microsoft.com/office/drawing/2014/main" id="{18F61FCD-7193-ED6B-DE10-820D58E9B766}"/>
                    </a:ext>
                  </a:extLst>
                </p:cNvPr>
                <p:cNvSpPr/>
                <p:nvPr/>
              </p:nvSpPr>
              <p:spPr>
                <a:xfrm>
                  <a:off x="3879190" y="4391558"/>
                  <a:ext cx="29016" cy="4220"/>
                </a:xfrm>
                <a:custGeom>
                  <a:avLst/>
                  <a:gdLst>
                    <a:gd name="connsiteX0" fmla="*/ 29016 w 29016"/>
                    <a:gd name="connsiteY0" fmla="*/ 4171 h 4220"/>
                    <a:gd name="connsiteX1" fmla="*/ 0 w 29016"/>
                    <a:gd name="connsiteY1" fmla="*/ 0 h 422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9016" h="4220">
                      <a:moveTo>
                        <a:pt x="29016" y="4171"/>
                      </a:moveTo>
                      <a:cubicBezTo>
                        <a:pt x="20128" y="4480"/>
                        <a:pt x="10349" y="3386"/>
                        <a:pt x="0" y="0"/>
                      </a:cubicBez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400" name="Forma livre: Forma 1399">
                  <a:extLst>
                    <a:ext uri="{FF2B5EF4-FFF2-40B4-BE49-F238E27FC236}">
                      <a16:creationId xmlns:a16="http://schemas.microsoft.com/office/drawing/2014/main" id="{7CAEED13-A6D4-0444-F684-E9BB1E8AFDB9}"/>
                    </a:ext>
                  </a:extLst>
                </p:cNvPr>
                <p:cNvSpPr/>
                <p:nvPr/>
              </p:nvSpPr>
              <p:spPr>
                <a:xfrm>
                  <a:off x="3924853" y="4364112"/>
                  <a:ext cx="113414" cy="29394"/>
                </a:xfrm>
                <a:custGeom>
                  <a:avLst/>
                  <a:gdLst>
                    <a:gd name="connsiteX0" fmla="*/ 113415 w 113414"/>
                    <a:gd name="connsiteY0" fmla="*/ 11737 h 29394"/>
                    <a:gd name="connsiteX1" fmla="*/ 30668 w 113414"/>
                    <a:gd name="connsiteY1" fmla="*/ 15730 h 29394"/>
                    <a:gd name="connsiteX2" fmla="*/ 0 w 113414"/>
                    <a:gd name="connsiteY2" fmla="*/ 29394 h 2939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13414" h="29394">
                      <a:moveTo>
                        <a:pt x="113415" y="11737"/>
                      </a:moveTo>
                      <a:cubicBezTo>
                        <a:pt x="113415" y="11737"/>
                        <a:pt x="72778" y="-17160"/>
                        <a:pt x="30668" y="15730"/>
                      </a:cubicBezTo>
                      <a:cubicBezTo>
                        <a:pt x="30668" y="15730"/>
                        <a:pt x="18786" y="24986"/>
                        <a:pt x="0" y="29394"/>
                      </a:cubicBez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1401" name="Forma livre: Forma 1400">
                <a:extLst>
                  <a:ext uri="{FF2B5EF4-FFF2-40B4-BE49-F238E27FC236}">
                    <a16:creationId xmlns:a16="http://schemas.microsoft.com/office/drawing/2014/main" id="{DD88BB98-FDF5-28FA-2D39-C7AB9845491E}"/>
                  </a:ext>
                </a:extLst>
              </p:cNvPr>
              <p:cNvSpPr/>
              <p:nvPr/>
            </p:nvSpPr>
            <p:spPr>
              <a:xfrm>
                <a:off x="3896099" y="4255222"/>
                <a:ext cx="126616" cy="1188"/>
              </a:xfrm>
              <a:custGeom>
                <a:avLst/>
                <a:gdLst>
                  <a:gd name="connsiteX0" fmla="*/ 0 w 126616"/>
                  <a:gd name="connsiteY0" fmla="*/ 0 h 1188"/>
                  <a:gd name="connsiteX1" fmla="*/ 126616 w 126616"/>
                  <a:gd name="connsiteY1" fmla="*/ 0 h 11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6616" h="1188">
                    <a:moveTo>
                      <a:pt x="0" y="0"/>
                    </a:moveTo>
                    <a:lnTo>
                      <a:pt x="126616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402" name="Forma livre: Forma 1401">
                <a:extLst>
                  <a:ext uri="{FF2B5EF4-FFF2-40B4-BE49-F238E27FC236}">
                    <a16:creationId xmlns:a16="http://schemas.microsoft.com/office/drawing/2014/main" id="{4BF32CCA-5EFA-C217-98AF-1EE24983AE08}"/>
                  </a:ext>
                </a:extLst>
              </p:cNvPr>
              <p:cNvSpPr/>
              <p:nvPr/>
            </p:nvSpPr>
            <p:spPr>
              <a:xfrm>
                <a:off x="3941726" y="4184048"/>
                <a:ext cx="7355" cy="7355"/>
              </a:xfrm>
              <a:custGeom>
                <a:avLst/>
                <a:gdLst>
                  <a:gd name="connsiteX0" fmla="*/ 7355 w 7355"/>
                  <a:gd name="connsiteY0" fmla="*/ 3683 h 7355"/>
                  <a:gd name="connsiteX1" fmla="*/ 3684 w 7355"/>
                  <a:gd name="connsiteY1" fmla="*/ 7355 h 7355"/>
                  <a:gd name="connsiteX2" fmla="*/ 0 w 7355"/>
                  <a:gd name="connsiteY2" fmla="*/ 3683 h 7355"/>
                  <a:gd name="connsiteX3" fmla="*/ 3684 w 7355"/>
                  <a:gd name="connsiteY3" fmla="*/ 0 h 7355"/>
                  <a:gd name="connsiteX4" fmla="*/ 7355 w 7355"/>
                  <a:gd name="connsiteY4" fmla="*/ 3683 h 73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355" h="7355">
                    <a:moveTo>
                      <a:pt x="7355" y="3683"/>
                    </a:moveTo>
                    <a:cubicBezTo>
                      <a:pt x="7355" y="5715"/>
                      <a:pt x="5727" y="7355"/>
                      <a:pt x="3684" y="7355"/>
                    </a:cubicBezTo>
                    <a:cubicBezTo>
                      <a:pt x="1640" y="7355"/>
                      <a:pt x="0" y="5715"/>
                      <a:pt x="0" y="3683"/>
                    </a:cubicBezTo>
                    <a:cubicBezTo>
                      <a:pt x="0" y="1652"/>
                      <a:pt x="1652" y="0"/>
                      <a:pt x="3684" y="0"/>
                    </a:cubicBezTo>
                    <a:cubicBezTo>
                      <a:pt x="5715" y="0"/>
                      <a:pt x="7355" y="1640"/>
                      <a:pt x="7355" y="3683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403" name="Forma livre: Forma 1402">
                <a:extLst>
                  <a:ext uri="{FF2B5EF4-FFF2-40B4-BE49-F238E27FC236}">
                    <a16:creationId xmlns:a16="http://schemas.microsoft.com/office/drawing/2014/main" id="{4B9EB76A-D06F-C3EB-9722-ECE486C93197}"/>
                  </a:ext>
                </a:extLst>
              </p:cNvPr>
              <p:cNvSpPr/>
              <p:nvPr/>
            </p:nvSpPr>
            <p:spPr>
              <a:xfrm>
                <a:off x="3920481" y="4210011"/>
                <a:ext cx="7355" cy="7366"/>
              </a:xfrm>
              <a:custGeom>
                <a:avLst/>
                <a:gdLst>
                  <a:gd name="connsiteX0" fmla="*/ 7355 w 7355"/>
                  <a:gd name="connsiteY0" fmla="*/ 3683 h 7366"/>
                  <a:gd name="connsiteX1" fmla="*/ 3684 w 7355"/>
                  <a:gd name="connsiteY1" fmla="*/ 7367 h 7366"/>
                  <a:gd name="connsiteX2" fmla="*/ 0 w 7355"/>
                  <a:gd name="connsiteY2" fmla="*/ 3683 h 7366"/>
                  <a:gd name="connsiteX3" fmla="*/ 3684 w 7355"/>
                  <a:gd name="connsiteY3" fmla="*/ 0 h 7366"/>
                  <a:gd name="connsiteX4" fmla="*/ 7355 w 7355"/>
                  <a:gd name="connsiteY4" fmla="*/ 3683 h 73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355" h="7366">
                    <a:moveTo>
                      <a:pt x="7355" y="3683"/>
                    </a:moveTo>
                    <a:cubicBezTo>
                      <a:pt x="7355" y="5715"/>
                      <a:pt x="5715" y="7367"/>
                      <a:pt x="3684" y="7367"/>
                    </a:cubicBezTo>
                    <a:cubicBezTo>
                      <a:pt x="1652" y="7367"/>
                      <a:pt x="0" y="5727"/>
                      <a:pt x="0" y="3683"/>
                    </a:cubicBezTo>
                    <a:cubicBezTo>
                      <a:pt x="0" y="1640"/>
                      <a:pt x="1652" y="0"/>
                      <a:pt x="3684" y="0"/>
                    </a:cubicBezTo>
                    <a:cubicBezTo>
                      <a:pt x="5715" y="0"/>
                      <a:pt x="7355" y="1640"/>
                      <a:pt x="7355" y="3683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404" name="Forma livre: Forma 1403">
                <a:extLst>
                  <a:ext uri="{FF2B5EF4-FFF2-40B4-BE49-F238E27FC236}">
                    <a16:creationId xmlns:a16="http://schemas.microsoft.com/office/drawing/2014/main" id="{4C8D02EE-4856-C1F8-A94B-BC1B19E75029}"/>
                  </a:ext>
                </a:extLst>
              </p:cNvPr>
              <p:cNvSpPr/>
              <p:nvPr/>
            </p:nvSpPr>
            <p:spPr>
              <a:xfrm>
                <a:off x="3948939" y="4221822"/>
                <a:ext cx="7343" cy="7355"/>
              </a:xfrm>
              <a:custGeom>
                <a:avLst/>
                <a:gdLst>
                  <a:gd name="connsiteX0" fmla="*/ 7343 w 7343"/>
                  <a:gd name="connsiteY0" fmla="*/ 3672 h 7355"/>
                  <a:gd name="connsiteX1" fmla="*/ 3672 w 7343"/>
                  <a:gd name="connsiteY1" fmla="*/ 7355 h 7355"/>
                  <a:gd name="connsiteX2" fmla="*/ 0 w 7343"/>
                  <a:gd name="connsiteY2" fmla="*/ 3672 h 7355"/>
                  <a:gd name="connsiteX3" fmla="*/ 3672 w 7343"/>
                  <a:gd name="connsiteY3" fmla="*/ 0 h 7355"/>
                  <a:gd name="connsiteX4" fmla="*/ 7343 w 7343"/>
                  <a:gd name="connsiteY4" fmla="*/ 3672 h 73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343" h="7355">
                    <a:moveTo>
                      <a:pt x="7343" y="3672"/>
                    </a:moveTo>
                    <a:cubicBezTo>
                      <a:pt x="7343" y="5703"/>
                      <a:pt x="5703" y="7355"/>
                      <a:pt x="3672" y="7355"/>
                    </a:cubicBezTo>
                    <a:cubicBezTo>
                      <a:pt x="1640" y="7355"/>
                      <a:pt x="0" y="5703"/>
                      <a:pt x="0" y="3672"/>
                    </a:cubicBezTo>
                    <a:cubicBezTo>
                      <a:pt x="0" y="1640"/>
                      <a:pt x="1652" y="0"/>
                      <a:pt x="3672" y="0"/>
                    </a:cubicBezTo>
                    <a:cubicBezTo>
                      <a:pt x="5692" y="0"/>
                      <a:pt x="7343" y="1640"/>
                      <a:pt x="7343" y="3672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405" name="Forma livre: Forma 1404">
                <a:extLst>
                  <a:ext uri="{FF2B5EF4-FFF2-40B4-BE49-F238E27FC236}">
                    <a16:creationId xmlns:a16="http://schemas.microsoft.com/office/drawing/2014/main" id="{0B13626F-D892-6329-480D-5AFDBF6C1FF5}"/>
                  </a:ext>
                </a:extLst>
              </p:cNvPr>
              <p:cNvSpPr/>
              <p:nvPr/>
            </p:nvSpPr>
            <p:spPr>
              <a:xfrm>
                <a:off x="3878786" y="4255080"/>
                <a:ext cx="160955" cy="267265"/>
              </a:xfrm>
              <a:custGeom>
                <a:avLst/>
                <a:gdLst>
                  <a:gd name="connsiteX0" fmla="*/ 116742 w 160955"/>
                  <a:gd name="connsiteY0" fmla="*/ 0 h 267265"/>
                  <a:gd name="connsiteX1" fmla="*/ 160956 w 160955"/>
                  <a:gd name="connsiteY1" fmla="*/ 47006 h 267265"/>
                  <a:gd name="connsiteX2" fmla="*/ 160956 w 160955"/>
                  <a:gd name="connsiteY2" fmla="*/ 239021 h 267265"/>
                  <a:gd name="connsiteX3" fmla="*/ 132628 w 160955"/>
                  <a:gd name="connsiteY3" fmla="*/ 267265 h 267265"/>
                  <a:gd name="connsiteX4" fmla="*/ 28339 w 160955"/>
                  <a:gd name="connsiteY4" fmla="*/ 267265 h 267265"/>
                  <a:gd name="connsiteX5" fmla="*/ 0 w 160955"/>
                  <a:gd name="connsiteY5" fmla="*/ 239021 h 267265"/>
                  <a:gd name="connsiteX6" fmla="*/ 0 w 160955"/>
                  <a:gd name="connsiteY6" fmla="*/ 47006 h 267265"/>
                  <a:gd name="connsiteX7" fmla="*/ 44214 w 160955"/>
                  <a:gd name="connsiteY7" fmla="*/ 0 h 2672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60955" h="267265">
                    <a:moveTo>
                      <a:pt x="116742" y="0"/>
                    </a:moveTo>
                    <a:cubicBezTo>
                      <a:pt x="116742" y="0"/>
                      <a:pt x="160956" y="31309"/>
                      <a:pt x="160956" y="47006"/>
                    </a:cubicBezTo>
                    <a:lnTo>
                      <a:pt x="160956" y="239021"/>
                    </a:lnTo>
                    <a:cubicBezTo>
                      <a:pt x="160956" y="254599"/>
                      <a:pt x="148206" y="267265"/>
                      <a:pt x="132628" y="267265"/>
                    </a:cubicBezTo>
                    <a:lnTo>
                      <a:pt x="28339" y="267265"/>
                    </a:lnTo>
                    <a:cubicBezTo>
                      <a:pt x="12750" y="267265"/>
                      <a:pt x="0" y="254599"/>
                      <a:pt x="0" y="239021"/>
                    </a:cubicBezTo>
                    <a:lnTo>
                      <a:pt x="0" y="47006"/>
                    </a:lnTo>
                    <a:cubicBezTo>
                      <a:pt x="0" y="31309"/>
                      <a:pt x="44214" y="0"/>
                      <a:pt x="44214" y="0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406" name="Forma livre: Forma 1405">
                <a:extLst>
                  <a:ext uri="{FF2B5EF4-FFF2-40B4-BE49-F238E27FC236}">
                    <a16:creationId xmlns:a16="http://schemas.microsoft.com/office/drawing/2014/main" id="{1C5861F1-8380-72A2-0A12-C3623266DEC9}"/>
                  </a:ext>
                </a:extLst>
              </p:cNvPr>
              <p:cNvSpPr/>
              <p:nvPr/>
            </p:nvSpPr>
            <p:spPr>
              <a:xfrm>
                <a:off x="3973808" y="4222998"/>
                <a:ext cx="32533" cy="30311"/>
              </a:xfrm>
              <a:custGeom>
                <a:avLst/>
                <a:gdLst>
                  <a:gd name="connsiteX0" fmla="*/ 0 w 32533"/>
                  <a:gd name="connsiteY0" fmla="*/ 30311 h 30311"/>
                  <a:gd name="connsiteX1" fmla="*/ 32533 w 32533"/>
                  <a:gd name="connsiteY1" fmla="*/ 0 h 303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2533" h="30311">
                    <a:moveTo>
                      <a:pt x="0" y="30311"/>
                    </a:moveTo>
                    <a:lnTo>
                      <a:pt x="32533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1407" name="Gráfico 14">
                <a:extLst>
                  <a:ext uri="{FF2B5EF4-FFF2-40B4-BE49-F238E27FC236}">
                    <a16:creationId xmlns:a16="http://schemas.microsoft.com/office/drawing/2014/main" id="{E85E4F06-B833-C2EA-C84A-96349CA86E72}"/>
                  </a:ext>
                </a:extLst>
              </p:cNvPr>
              <p:cNvGrpSpPr/>
              <p:nvPr/>
            </p:nvGrpSpPr>
            <p:grpSpPr>
              <a:xfrm>
                <a:off x="3879190" y="4404048"/>
                <a:ext cx="159078" cy="31677"/>
                <a:chOff x="3879190" y="4404048"/>
                <a:chExt cx="159078" cy="31677"/>
              </a:xfrm>
              <a:noFill/>
            </p:grpSpPr>
            <p:sp>
              <p:nvSpPr>
                <p:cNvPr id="1408" name="Forma livre: Forma 1407">
                  <a:extLst>
                    <a:ext uri="{FF2B5EF4-FFF2-40B4-BE49-F238E27FC236}">
                      <a16:creationId xmlns:a16="http://schemas.microsoft.com/office/drawing/2014/main" id="{94C24632-1E1F-191F-615B-B416C6D11B32}"/>
                    </a:ext>
                  </a:extLst>
                </p:cNvPr>
                <p:cNvSpPr/>
                <p:nvPr/>
              </p:nvSpPr>
              <p:spPr>
                <a:xfrm>
                  <a:off x="3879190" y="4431506"/>
                  <a:ext cx="29016" cy="4220"/>
                </a:xfrm>
                <a:custGeom>
                  <a:avLst/>
                  <a:gdLst>
                    <a:gd name="connsiteX0" fmla="*/ 29016 w 29016"/>
                    <a:gd name="connsiteY0" fmla="*/ 4171 h 4220"/>
                    <a:gd name="connsiteX1" fmla="*/ 0 w 29016"/>
                    <a:gd name="connsiteY1" fmla="*/ 0 h 422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9016" h="4220">
                      <a:moveTo>
                        <a:pt x="29016" y="4171"/>
                      </a:moveTo>
                      <a:cubicBezTo>
                        <a:pt x="20128" y="4480"/>
                        <a:pt x="10349" y="3386"/>
                        <a:pt x="0" y="0"/>
                      </a:cubicBez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409" name="Forma livre: Forma 1408">
                  <a:extLst>
                    <a:ext uri="{FF2B5EF4-FFF2-40B4-BE49-F238E27FC236}">
                      <a16:creationId xmlns:a16="http://schemas.microsoft.com/office/drawing/2014/main" id="{9AD8A121-0490-77F8-6823-56FD59D5018E}"/>
                    </a:ext>
                  </a:extLst>
                </p:cNvPr>
                <p:cNvSpPr/>
                <p:nvPr/>
              </p:nvSpPr>
              <p:spPr>
                <a:xfrm>
                  <a:off x="3924853" y="4404048"/>
                  <a:ext cx="113414" cy="29382"/>
                </a:xfrm>
                <a:custGeom>
                  <a:avLst/>
                  <a:gdLst>
                    <a:gd name="connsiteX0" fmla="*/ 113415 w 113414"/>
                    <a:gd name="connsiteY0" fmla="*/ 11737 h 29382"/>
                    <a:gd name="connsiteX1" fmla="*/ 30668 w 113414"/>
                    <a:gd name="connsiteY1" fmla="*/ 15730 h 29382"/>
                    <a:gd name="connsiteX2" fmla="*/ 0 w 113414"/>
                    <a:gd name="connsiteY2" fmla="*/ 29382 h 2938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13414" h="29382">
                      <a:moveTo>
                        <a:pt x="113415" y="11737"/>
                      </a:moveTo>
                      <a:cubicBezTo>
                        <a:pt x="113415" y="11737"/>
                        <a:pt x="72778" y="-17160"/>
                        <a:pt x="30668" y="15730"/>
                      </a:cubicBezTo>
                      <a:cubicBezTo>
                        <a:pt x="30668" y="15730"/>
                        <a:pt x="18786" y="24974"/>
                        <a:pt x="0" y="29382"/>
                      </a:cubicBez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sp>
          <p:nvSpPr>
            <p:cNvPr id="1410" name="Forma livre: Forma 1409">
              <a:extLst>
                <a:ext uri="{FF2B5EF4-FFF2-40B4-BE49-F238E27FC236}">
                  <a16:creationId xmlns:a16="http://schemas.microsoft.com/office/drawing/2014/main" id="{B74FD49E-69C7-1751-230C-ECE656922394}"/>
                </a:ext>
              </a:extLst>
            </p:cNvPr>
            <p:cNvSpPr/>
            <p:nvPr/>
          </p:nvSpPr>
          <p:spPr>
            <a:xfrm>
              <a:off x="3939706" y="4296501"/>
              <a:ext cx="97885" cy="1188"/>
            </a:xfrm>
            <a:custGeom>
              <a:avLst/>
              <a:gdLst>
                <a:gd name="connsiteX0" fmla="*/ 0 w 97885"/>
                <a:gd name="connsiteY0" fmla="*/ 0 h 1188"/>
                <a:gd name="connsiteX1" fmla="*/ 97885 w 97885"/>
                <a:gd name="connsiteY1" fmla="*/ 0 h 11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7885" h="1188">
                  <a:moveTo>
                    <a:pt x="0" y="0"/>
                  </a:moveTo>
                  <a:lnTo>
                    <a:pt x="97885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11" name="Forma livre: Forma 1410">
              <a:extLst>
                <a:ext uri="{FF2B5EF4-FFF2-40B4-BE49-F238E27FC236}">
                  <a16:creationId xmlns:a16="http://schemas.microsoft.com/office/drawing/2014/main" id="{F814E6D9-7A73-FD91-56C7-4E02A24AA0EB}"/>
                </a:ext>
              </a:extLst>
            </p:cNvPr>
            <p:cNvSpPr/>
            <p:nvPr/>
          </p:nvSpPr>
          <p:spPr>
            <a:xfrm>
              <a:off x="3882161" y="4296501"/>
              <a:ext cx="31832" cy="1188"/>
            </a:xfrm>
            <a:custGeom>
              <a:avLst/>
              <a:gdLst>
                <a:gd name="connsiteX0" fmla="*/ 0 w 31832"/>
                <a:gd name="connsiteY0" fmla="*/ 0 h 1188"/>
                <a:gd name="connsiteX1" fmla="*/ 31832 w 31832"/>
                <a:gd name="connsiteY1" fmla="*/ 0 h 11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1832" h="1188">
                  <a:moveTo>
                    <a:pt x="0" y="0"/>
                  </a:moveTo>
                  <a:lnTo>
                    <a:pt x="31832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412" name="Gráfico 14">
            <a:extLst>
              <a:ext uri="{FF2B5EF4-FFF2-40B4-BE49-F238E27FC236}">
                <a16:creationId xmlns:a16="http://schemas.microsoft.com/office/drawing/2014/main" id="{94A50184-B46D-821A-CBB3-4ADC8D240A0F}"/>
              </a:ext>
            </a:extLst>
          </p:cNvPr>
          <p:cNvGrpSpPr/>
          <p:nvPr/>
        </p:nvGrpSpPr>
        <p:grpSpPr>
          <a:xfrm>
            <a:off x="2600078" y="3665310"/>
            <a:ext cx="244756" cy="325220"/>
            <a:chOff x="2600078" y="3665310"/>
            <a:chExt cx="244756" cy="325220"/>
          </a:xfrm>
          <a:noFill/>
        </p:grpSpPr>
        <p:sp>
          <p:nvSpPr>
            <p:cNvPr id="1413" name="Forma livre: Forma 1412">
              <a:extLst>
                <a:ext uri="{FF2B5EF4-FFF2-40B4-BE49-F238E27FC236}">
                  <a16:creationId xmlns:a16="http://schemas.microsoft.com/office/drawing/2014/main" id="{41505AF4-9D0E-59E1-BD09-F60DFE77B612}"/>
                </a:ext>
              </a:extLst>
            </p:cNvPr>
            <p:cNvSpPr/>
            <p:nvPr/>
          </p:nvSpPr>
          <p:spPr>
            <a:xfrm>
              <a:off x="2600078" y="3665310"/>
              <a:ext cx="159636" cy="278125"/>
            </a:xfrm>
            <a:custGeom>
              <a:avLst/>
              <a:gdLst>
                <a:gd name="connsiteX0" fmla="*/ 159637 w 159636"/>
                <a:gd name="connsiteY0" fmla="*/ 176485 h 278125"/>
                <a:gd name="connsiteX1" fmla="*/ 159637 w 159636"/>
                <a:gd name="connsiteY1" fmla="*/ 70841 h 278125"/>
                <a:gd name="connsiteX2" fmla="*/ 88795 w 159636"/>
                <a:gd name="connsiteY2" fmla="*/ 0 h 278125"/>
                <a:gd name="connsiteX3" fmla="*/ 70829 w 159636"/>
                <a:gd name="connsiteY3" fmla="*/ 0 h 278125"/>
                <a:gd name="connsiteX4" fmla="*/ 0 w 159636"/>
                <a:gd name="connsiteY4" fmla="*/ 70841 h 278125"/>
                <a:gd name="connsiteX5" fmla="*/ 0 w 159636"/>
                <a:gd name="connsiteY5" fmla="*/ 278125 h 278125"/>
                <a:gd name="connsiteX6" fmla="*/ 159625 w 159636"/>
                <a:gd name="connsiteY6" fmla="*/ 278125 h 2781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59636" h="278125">
                  <a:moveTo>
                    <a:pt x="159637" y="176485"/>
                  </a:moveTo>
                  <a:lnTo>
                    <a:pt x="159637" y="70841"/>
                  </a:lnTo>
                  <a:cubicBezTo>
                    <a:pt x="159637" y="31880"/>
                    <a:pt x="127757" y="12"/>
                    <a:pt x="88795" y="0"/>
                  </a:cubicBezTo>
                  <a:lnTo>
                    <a:pt x="70829" y="0"/>
                  </a:lnTo>
                  <a:cubicBezTo>
                    <a:pt x="31868" y="0"/>
                    <a:pt x="0" y="31880"/>
                    <a:pt x="0" y="70841"/>
                  </a:cubicBezTo>
                  <a:lnTo>
                    <a:pt x="0" y="278125"/>
                  </a:lnTo>
                  <a:cubicBezTo>
                    <a:pt x="0" y="278125"/>
                    <a:pt x="159625" y="278125"/>
                    <a:pt x="159625" y="278125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14" name="Forma livre: Forma 1413">
              <a:extLst>
                <a:ext uri="{FF2B5EF4-FFF2-40B4-BE49-F238E27FC236}">
                  <a16:creationId xmlns:a16="http://schemas.microsoft.com/office/drawing/2014/main" id="{87206E34-D74A-A7B0-CF96-735352B7FA94}"/>
                </a:ext>
              </a:extLst>
            </p:cNvPr>
            <p:cNvSpPr/>
            <p:nvPr/>
          </p:nvSpPr>
          <p:spPr>
            <a:xfrm>
              <a:off x="2760214" y="3773370"/>
              <a:ext cx="84620" cy="169566"/>
            </a:xfrm>
            <a:custGeom>
              <a:avLst/>
              <a:gdLst>
                <a:gd name="connsiteX0" fmla="*/ 0 w 84620"/>
                <a:gd name="connsiteY0" fmla="*/ 169566 h 169566"/>
                <a:gd name="connsiteX1" fmla="*/ 78731 w 84620"/>
                <a:gd name="connsiteY1" fmla="*/ 50507 h 169566"/>
                <a:gd name="connsiteX2" fmla="*/ 71008 w 84620"/>
                <a:gd name="connsiteY2" fmla="*/ 4523 h 169566"/>
                <a:gd name="connsiteX3" fmla="*/ 26010 w 84620"/>
                <a:gd name="connsiteY3" fmla="*/ 16726 h 169566"/>
                <a:gd name="connsiteX4" fmla="*/ 20342 w 84620"/>
                <a:gd name="connsiteY4" fmla="*/ 25055 h 1695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4620" h="169566">
                  <a:moveTo>
                    <a:pt x="0" y="169566"/>
                  </a:moveTo>
                  <a:lnTo>
                    <a:pt x="78731" y="50507"/>
                  </a:lnTo>
                  <a:cubicBezTo>
                    <a:pt x="88973" y="34490"/>
                    <a:pt x="85516" y="13803"/>
                    <a:pt x="71008" y="4523"/>
                  </a:cubicBezTo>
                  <a:cubicBezTo>
                    <a:pt x="56511" y="-4769"/>
                    <a:pt x="36252" y="721"/>
                    <a:pt x="26010" y="16726"/>
                  </a:cubicBezTo>
                  <a:lnTo>
                    <a:pt x="20342" y="25055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15" name="Forma livre: Forma 1414">
              <a:extLst>
                <a:ext uri="{FF2B5EF4-FFF2-40B4-BE49-F238E27FC236}">
                  <a16:creationId xmlns:a16="http://schemas.microsoft.com/office/drawing/2014/main" id="{3C4EC5DC-1D77-9B6C-4426-9835266C0E88}"/>
                </a:ext>
              </a:extLst>
            </p:cNvPr>
            <p:cNvSpPr/>
            <p:nvPr/>
          </p:nvSpPr>
          <p:spPr>
            <a:xfrm>
              <a:off x="2628334" y="3912993"/>
              <a:ext cx="150986" cy="1188"/>
            </a:xfrm>
            <a:custGeom>
              <a:avLst/>
              <a:gdLst>
                <a:gd name="connsiteX0" fmla="*/ 150986 w 150986"/>
                <a:gd name="connsiteY0" fmla="*/ 0 h 1188"/>
                <a:gd name="connsiteX1" fmla="*/ 0 w 150986"/>
                <a:gd name="connsiteY1" fmla="*/ 0 h 11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0986" h="1188">
                  <a:moveTo>
                    <a:pt x="150986" y="0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16" name="Forma livre: Forma 1415">
              <a:extLst>
                <a:ext uri="{FF2B5EF4-FFF2-40B4-BE49-F238E27FC236}">
                  <a16:creationId xmlns:a16="http://schemas.microsoft.com/office/drawing/2014/main" id="{7134DB04-A34A-5E82-2C5B-B8700FE62211}"/>
                </a:ext>
              </a:extLst>
            </p:cNvPr>
            <p:cNvSpPr/>
            <p:nvPr/>
          </p:nvSpPr>
          <p:spPr>
            <a:xfrm>
              <a:off x="2628334" y="3881220"/>
              <a:ext cx="171530" cy="1188"/>
            </a:xfrm>
            <a:custGeom>
              <a:avLst/>
              <a:gdLst>
                <a:gd name="connsiteX0" fmla="*/ 171531 w 171530"/>
                <a:gd name="connsiteY0" fmla="*/ 0 h 1188"/>
                <a:gd name="connsiteX1" fmla="*/ 0 w 171530"/>
                <a:gd name="connsiteY1" fmla="*/ 0 h 11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71530" h="1188">
                  <a:moveTo>
                    <a:pt x="171531" y="0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17" name="Forma livre: Forma 1416">
              <a:extLst>
                <a:ext uri="{FF2B5EF4-FFF2-40B4-BE49-F238E27FC236}">
                  <a16:creationId xmlns:a16="http://schemas.microsoft.com/office/drawing/2014/main" id="{1612E8B2-ED3B-836A-2A5C-8F454E66796A}"/>
                </a:ext>
              </a:extLst>
            </p:cNvPr>
            <p:cNvSpPr/>
            <p:nvPr/>
          </p:nvSpPr>
          <p:spPr>
            <a:xfrm>
              <a:off x="2759548" y="3943601"/>
              <a:ext cx="47182" cy="46929"/>
            </a:xfrm>
            <a:custGeom>
              <a:avLst/>
              <a:gdLst>
                <a:gd name="connsiteX0" fmla="*/ 250 w 47182"/>
                <a:gd name="connsiteY0" fmla="*/ 0 h 46929"/>
                <a:gd name="connsiteX1" fmla="*/ 9625 w 47182"/>
                <a:gd name="connsiteY1" fmla="*/ 34244 h 46929"/>
                <a:gd name="connsiteX2" fmla="*/ 43881 w 47182"/>
                <a:gd name="connsiteY2" fmla="*/ 43631 h 46929"/>
                <a:gd name="connsiteX3" fmla="*/ 34506 w 47182"/>
                <a:gd name="connsiteY3" fmla="*/ 9375 h 46929"/>
                <a:gd name="connsiteX4" fmla="*/ 24739 w 47182"/>
                <a:gd name="connsiteY4" fmla="*/ 3089 h 469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7182" h="46929">
                  <a:moveTo>
                    <a:pt x="250" y="0"/>
                  </a:moveTo>
                  <a:cubicBezTo>
                    <a:pt x="250" y="0"/>
                    <a:pt x="-2411" y="22196"/>
                    <a:pt x="9625" y="34244"/>
                  </a:cubicBezTo>
                  <a:cubicBezTo>
                    <a:pt x="21674" y="46293"/>
                    <a:pt x="37002" y="50499"/>
                    <a:pt x="43881" y="43631"/>
                  </a:cubicBezTo>
                  <a:cubicBezTo>
                    <a:pt x="50749" y="36763"/>
                    <a:pt x="46555" y="21423"/>
                    <a:pt x="34506" y="9375"/>
                  </a:cubicBezTo>
                  <a:cubicBezTo>
                    <a:pt x="31667" y="6547"/>
                    <a:pt x="28268" y="4515"/>
                    <a:pt x="24739" y="3089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418" name="Gráfico 14">
            <a:extLst>
              <a:ext uri="{FF2B5EF4-FFF2-40B4-BE49-F238E27FC236}">
                <a16:creationId xmlns:a16="http://schemas.microsoft.com/office/drawing/2014/main" id="{668ECF36-A4AC-DD6E-509D-5C85329A0A2E}"/>
              </a:ext>
            </a:extLst>
          </p:cNvPr>
          <p:cNvGrpSpPr/>
          <p:nvPr/>
        </p:nvGrpSpPr>
        <p:grpSpPr>
          <a:xfrm>
            <a:off x="2598522" y="4686532"/>
            <a:ext cx="247883" cy="381529"/>
            <a:chOff x="2598522" y="4686532"/>
            <a:chExt cx="247883" cy="381529"/>
          </a:xfrm>
        </p:grpSpPr>
        <p:sp>
          <p:nvSpPr>
            <p:cNvPr id="1419" name="Forma livre: Forma 1418">
              <a:extLst>
                <a:ext uri="{FF2B5EF4-FFF2-40B4-BE49-F238E27FC236}">
                  <a16:creationId xmlns:a16="http://schemas.microsoft.com/office/drawing/2014/main" id="{E2E7CE19-C811-5712-B427-A4F6A413FBE0}"/>
                </a:ext>
              </a:extLst>
            </p:cNvPr>
            <p:cNvSpPr/>
            <p:nvPr/>
          </p:nvSpPr>
          <p:spPr>
            <a:xfrm>
              <a:off x="2654605" y="4793975"/>
              <a:ext cx="169023" cy="84204"/>
            </a:xfrm>
            <a:custGeom>
              <a:avLst/>
              <a:gdLst>
                <a:gd name="connsiteX0" fmla="*/ 169023 w 169023"/>
                <a:gd name="connsiteY0" fmla="*/ 7101 h 84204"/>
                <a:gd name="connsiteX1" fmla="*/ 46150 w 169023"/>
                <a:gd name="connsiteY1" fmla="*/ 79 h 84204"/>
                <a:gd name="connsiteX2" fmla="*/ 0 w 169023"/>
                <a:gd name="connsiteY2" fmla="*/ 15846 h 84204"/>
                <a:gd name="connsiteX3" fmla="*/ 58341 w 169023"/>
                <a:gd name="connsiteY3" fmla="*/ 83764 h 84204"/>
                <a:gd name="connsiteX4" fmla="*/ 169023 w 169023"/>
                <a:gd name="connsiteY4" fmla="*/ 7101 h 842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9023" h="84204">
                  <a:moveTo>
                    <a:pt x="169023" y="7101"/>
                  </a:moveTo>
                  <a:cubicBezTo>
                    <a:pt x="169023" y="7101"/>
                    <a:pt x="106286" y="3263"/>
                    <a:pt x="46150" y="79"/>
                  </a:cubicBezTo>
                  <a:cubicBezTo>
                    <a:pt x="26307" y="-967"/>
                    <a:pt x="10266" y="8646"/>
                    <a:pt x="0" y="15846"/>
                  </a:cubicBezTo>
                  <a:cubicBezTo>
                    <a:pt x="0" y="15846"/>
                    <a:pt x="23824" y="75138"/>
                    <a:pt x="58341" y="83764"/>
                  </a:cubicBezTo>
                  <a:cubicBezTo>
                    <a:pt x="68988" y="86426"/>
                    <a:pt x="126367" y="78917"/>
                    <a:pt x="169023" y="7101"/>
                  </a:cubicBez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20" name="Forma livre: Forma 1419">
              <a:extLst>
                <a:ext uri="{FF2B5EF4-FFF2-40B4-BE49-F238E27FC236}">
                  <a16:creationId xmlns:a16="http://schemas.microsoft.com/office/drawing/2014/main" id="{76D52792-2285-A75D-77B5-A243E87FD78E}"/>
                </a:ext>
              </a:extLst>
            </p:cNvPr>
            <p:cNvSpPr/>
            <p:nvPr/>
          </p:nvSpPr>
          <p:spPr>
            <a:xfrm>
              <a:off x="2605497" y="4824662"/>
              <a:ext cx="107449" cy="107188"/>
            </a:xfrm>
            <a:custGeom>
              <a:avLst/>
              <a:gdLst>
                <a:gd name="connsiteX0" fmla="*/ 32069 w 107449"/>
                <a:gd name="connsiteY0" fmla="*/ 0 h 107188"/>
                <a:gd name="connsiteX1" fmla="*/ 772 w 107449"/>
                <a:gd name="connsiteY1" fmla="*/ 56476 h 107188"/>
                <a:gd name="connsiteX2" fmla="*/ 75546 w 107449"/>
                <a:gd name="connsiteY2" fmla="*/ 107189 h 107188"/>
                <a:gd name="connsiteX3" fmla="*/ 107450 w 107449"/>
                <a:gd name="connsiteY3" fmla="*/ 53066 h 1071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7449" h="107188">
                  <a:moveTo>
                    <a:pt x="32069" y="0"/>
                  </a:moveTo>
                  <a:cubicBezTo>
                    <a:pt x="17038" y="8294"/>
                    <a:pt x="-4338" y="25749"/>
                    <a:pt x="772" y="56476"/>
                  </a:cubicBezTo>
                  <a:cubicBezTo>
                    <a:pt x="772" y="56476"/>
                    <a:pt x="10230" y="105466"/>
                    <a:pt x="75546" y="107189"/>
                  </a:cubicBezTo>
                  <a:cubicBezTo>
                    <a:pt x="75546" y="107189"/>
                    <a:pt x="67918" y="76271"/>
                    <a:pt x="107450" y="53066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21" name="Forma livre: Forma 1420">
              <a:extLst>
                <a:ext uri="{FF2B5EF4-FFF2-40B4-BE49-F238E27FC236}">
                  <a16:creationId xmlns:a16="http://schemas.microsoft.com/office/drawing/2014/main" id="{273BBA04-98C9-0509-B08A-EBDCB68E81EE}"/>
                </a:ext>
              </a:extLst>
            </p:cNvPr>
            <p:cNvSpPr/>
            <p:nvPr/>
          </p:nvSpPr>
          <p:spPr>
            <a:xfrm>
              <a:off x="2598522" y="4913541"/>
              <a:ext cx="88985" cy="56374"/>
            </a:xfrm>
            <a:custGeom>
              <a:avLst/>
              <a:gdLst>
                <a:gd name="connsiteX0" fmla="*/ 0 w 88985"/>
                <a:gd name="connsiteY0" fmla="*/ 0 h 56374"/>
                <a:gd name="connsiteX1" fmla="*/ 15577 w 88985"/>
                <a:gd name="connsiteY1" fmla="*/ 48871 h 56374"/>
                <a:gd name="connsiteX2" fmla="*/ 88985 w 88985"/>
                <a:gd name="connsiteY2" fmla="*/ 47992 h 56374"/>
                <a:gd name="connsiteX3" fmla="*/ 78054 w 88985"/>
                <a:gd name="connsiteY3" fmla="*/ 18762 h 563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8985" h="56374">
                  <a:moveTo>
                    <a:pt x="0" y="0"/>
                  </a:moveTo>
                  <a:cubicBezTo>
                    <a:pt x="36" y="13439"/>
                    <a:pt x="3624" y="30240"/>
                    <a:pt x="15577" y="48871"/>
                  </a:cubicBezTo>
                  <a:cubicBezTo>
                    <a:pt x="15577" y="48871"/>
                    <a:pt x="47956" y="66326"/>
                    <a:pt x="88985" y="47992"/>
                  </a:cubicBezTo>
                  <a:cubicBezTo>
                    <a:pt x="88985" y="47992"/>
                    <a:pt x="78054" y="33603"/>
                    <a:pt x="78054" y="18762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22" name="Forma livre: Forma 1421">
              <a:extLst>
                <a:ext uri="{FF2B5EF4-FFF2-40B4-BE49-F238E27FC236}">
                  <a16:creationId xmlns:a16="http://schemas.microsoft.com/office/drawing/2014/main" id="{829EAB63-5B54-4311-6571-FD2BC8D1E4D3}"/>
                </a:ext>
              </a:extLst>
            </p:cNvPr>
            <p:cNvSpPr/>
            <p:nvPr/>
          </p:nvSpPr>
          <p:spPr>
            <a:xfrm>
              <a:off x="2621383" y="4964539"/>
              <a:ext cx="86216" cy="39341"/>
            </a:xfrm>
            <a:custGeom>
              <a:avLst/>
              <a:gdLst>
                <a:gd name="connsiteX0" fmla="*/ 60730 w 86216"/>
                <a:gd name="connsiteY0" fmla="*/ 0 h 39341"/>
                <a:gd name="connsiteX1" fmla="*/ 86217 w 86216"/>
                <a:gd name="connsiteY1" fmla="*/ 18821 h 39341"/>
                <a:gd name="connsiteX2" fmla="*/ 31143 w 86216"/>
                <a:gd name="connsiteY2" fmla="*/ 39342 h 39341"/>
                <a:gd name="connsiteX3" fmla="*/ 0 w 86216"/>
                <a:gd name="connsiteY3" fmla="*/ 1307 h 393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6216" h="39341">
                  <a:moveTo>
                    <a:pt x="60730" y="0"/>
                  </a:moveTo>
                  <a:cubicBezTo>
                    <a:pt x="60730" y="0"/>
                    <a:pt x="73111" y="12714"/>
                    <a:pt x="86217" y="18821"/>
                  </a:cubicBezTo>
                  <a:cubicBezTo>
                    <a:pt x="86217" y="18821"/>
                    <a:pt x="52091" y="35848"/>
                    <a:pt x="31143" y="39342"/>
                  </a:cubicBezTo>
                  <a:cubicBezTo>
                    <a:pt x="31143" y="39342"/>
                    <a:pt x="13094" y="29242"/>
                    <a:pt x="0" y="1307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23" name="Forma livre: Forma 1422">
              <a:extLst>
                <a:ext uri="{FF2B5EF4-FFF2-40B4-BE49-F238E27FC236}">
                  <a16:creationId xmlns:a16="http://schemas.microsoft.com/office/drawing/2014/main" id="{6FB1FEFE-809C-A9FB-430D-9AAA1B4556DC}"/>
                </a:ext>
              </a:extLst>
            </p:cNvPr>
            <p:cNvSpPr/>
            <p:nvPr/>
          </p:nvSpPr>
          <p:spPr>
            <a:xfrm>
              <a:off x="2658954" y="4986853"/>
              <a:ext cx="67847" cy="35361"/>
            </a:xfrm>
            <a:custGeom>
              <a:avLst/>
              <a:gdLst>
                <a:gd name="connsiteX0" fmla="*/ 42562 w 67847"/>
                <a:gd name="connsiteY0" fmla="*/ 0 h 35361"/>
                <a:gd name="connsiteX1" fmla="*/ 67847 w 67847"/>
                <a:gd name="connsiteY1" fmla="*/ 5240 h 35361"/>
                <a:gd name="connsiteX2" fmla="*/ 53945 w 67847"/>
                <a:gd name="connsiteY2" fmla="*/ 35361 h 35361"/>
                <a:gd name="connsiteX3" fmla="*/ 0 w 67847"/>
                <a:gd name="connsiteY3" fmla="*/ 16243 h 353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7847" h="35361">
                  <a:moveTo>
                    <a:pt x="42562" y="0"/>
                  </a:moveTo>
                  <a:cubicBezTo>
                    <a:pt x="42562" y="0"/>
                    <a:pt x="54646" y="5620"/>
                    <a:pt x="67847" y="5240"/>
                  </a:cubicBezTo>
                  <a:cubicBezTo>
                    <a:pt x="67847" y="5240"/>
                    <a:pt x="59589" y="28600"/>
                    <a:pt x="53945" y="35361"/>
                  </a:cubicBezTo>
                  <a:cubicBezTo>
                    <a:pt x="48515" y="35124"/>
                    <a:pt x="16825" y="33935"/>
                    <a:pt x="0" y="16243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24" name="Forma livre: Forma 1423">
              <a:extLst>
                <a:ext uri="{FF2B5EF4-FFF2-40B4-BE49-F238E27FC236}">
                  <a16:creationId xmlns:a16="http://schemas.microsoft.com/office/drawing/2014/main" id="{6F7CA4F2-E410-664F-DD05-BE2979ACA904}"/>
                </a:ext>
              </a:extLst>
            </p:cNvPr>
            <p:cNvSpPr/>
            <p:nvPr/>
          </p:nvSpPr>
          <p:spPr>
            <a:xfrm>
              <a:off x="2715977" y="4958752"/>
              <a:ext cx="81080" cy="109309"/>
            </a:xfrm>
            <a:custGeom>
              <a:avLst/>
              <a:gdLst>
                <a:gd name="connsiteX0" fmla="*/ 0 w 81080"/>
                <a:gd name="connsiteY0" fmla="*/ 59256 h 109309"/>
                <a:gd name="connsiteX1" fmla="*/ 72968 w 81080"/>
                <a:gd name="connsiteY1" fmla="*/ 109292 h 109309"/>
                <a:gd name="connsiteX2" fmla="*/ 51972 w 81080"/>
                <a:gd name="connsiteY2" fmla="*/ 53030 h 109309"/>
                <a:gd name="connsiteX3" fmla="*/ 51925 w 81080"/>
                <a:gd name="connsiteY3" fmla="*/ 53054 h 109309"/>
                <a:gd name="connsiteX4" fmla="*/ 80371 w 81080"/>
                <a:gd name="connsiteY4" fmla="*/ 0 h 109309"/>
                <a:gd name="connsiteX5" fmla="*/ 8615 w 81080"/>
                <a:gd name="connsiteY5" fmla="*/ 40102 h 1093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81080" h="109309">
                  <a:moveTo>
                    <a:pt x="0" y="59256"/>
                  </a:moveTo>
                  <a:cubicBezTo>
                    <a:pt x="0" y="59256"/>
                    <a:pt x="47529" y="78660"/>
                    <a:pt x="72968" y="109292"/>
                  </a:cubicBezTo>
                  <a:cubicBezTo>
                    <a:pt x="72707" y="110326"/>
                    <a:pt x="85670" y="66706"/>
                    <a:pt x="51972" y="53030"/>
                  </a:cubicBezTo>
                  <a:lnTo>
                    <a:pt x="51925" y="53054"/>
                  </a:lnTo>
                  <a:cubicBezTo>
                    <a:pt x="88189" y="40447"/>
                    <a:pt x="80371" y="0"/>
                    <a:pt x="80371" y="0"/>
                  </a:cubicBezTo>
                  <a:cubicBezTo>
                    <a:pt x="59411" y="24133"/>
                    <a:pt x="8615" y="40102"/>
                    <a:pt x="8615" y="40102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25" name="Forma livre: Forma 1424">
              <a:extLst>
                <a:ext uri="{FF2B5EF4-FFF2-40B4-BE49-F238E27FC236}">
                  <a16:creationId xmlns:a16="http://schemas.microsoft.com/office/drawing/2014/main" id="{3E5236C2-3060-F6E7-A65A-0F4147497C07}"/>
                </a:ext>
              </a:extLst>
            </p:cNvPr>
            <p:cNvSpPr/>
            <p:nvPr/>
          </p:nvSpPr>
          <p:spPr>
            <a:xfrm>
              <a:off x="2673973" y="4724365"/>
              <a:ext cx="165129" cy="76502"/>
            </a:xfrm>
            <a:custGeom>
              <a:avLst/>
              <a:gdLst>
                <a:gd name="connsiteX0" fmla="*/ 144202 w 165129"/>
                <a:gd name="connsiteY0" fmla="*/ 76390 h 76502"/>
                <a:gd name="connsiteX1" fmla="*/ 158472 w 165129"/>
                <a:gd name="connsiteY1" fmla="*/ 52234 h 76502"/>
                <a:gd name="connsiteX2" fmla="*/ 0 w 165129"/>
                <a:gd name="connsiteY2" fmla="*/ 0 h 765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5129" h="76502">
                  <a:moveTo>
                    <a:pt x="144202" y="76390"/>
                  </a:moveTo>
                  <a:cubicBezTo>
                    <a:pt x="144202" y="76390"/>
                    <a:pt x="179432" y="79563"/>
                    <a:pt x="158472" y="52234"/>
                  </a:cubicBezTo>
                  <a:cubicBezTo>
                    <a:pt x="158472" y="52234"/>
                    <a:pt x="135611" y="17277"/>
                    <a:pt x="0" y="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26" name="Forma livre: Forma 1425">
              <a:extLst>
                <a:ext uri="{FF2B5EF4-FFF2-40B4-BE49-F238E27FC236}">
                  <a16:creationId xmlns:a16="http://schemas.microsoft.com/office/drawing/2014/main" id="{65504D6F-333D-21B2-D5B5-F5795608AE71}"/>
                </a:ext>
              </a:extLst>
            </p:cNvPr>
            <p:cNvSpPr/>
            <p:nvPr/>
          </p:nvSpPr>
          <p:spPr>
            <a:xfrm>
              <a:off x="2693650" y="4686532"/>
              <a:ext cx="152754" cy="104907"/>
            </a:xfrm>
            <a:custGeom>
              <a:avLst/>
              <a:gdLst>
                <a:gd name="connsiteX0" fmla="*/ 145212 w 152754"/>
                <a:gd name="connsiteY0" fmla="*/ 104907 h 104907"/>
                <a:gd name="connsiteX1" fmla="*/ 149608 w 152754"/>
                <a:gd name="connsiteY1" fmla="*/ 77483 h 104907"/>
                <a:gd name="connsiteX2" fmla="*/ 0 w 152754"/>
                <a:gd name="connsiteY2" fmla="*/ 0 h 1049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52754" h="104907">
                  <a:moveTo>
                    <a:pt x="145212" y="104907"/>
                  </a:moveTo>
                  <a:cubicBezTo>
                    <a:pt x="152472" y="98146"/>
                    <a:pt x="155573" y="88617"/>
                    <a:pt x="149608" y="77483"/>
                  </a:cubicBezTo>
                  <a:cubicBezTo>
                    <a:pt x="149608" y="77483"/>
                    <a:pt x="137619" y="40970"/>
                    <a:pt x="0" y="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27" name="Forma livre: Forma 1426">
              <a:extLst>
                <a:ext uri="{FF2B5EF4-FFF2-40B4-BE49-F238E27FC236}">
                  <a16:creationId xmlns:a16="http://schemas.microsoft.com/office/drawing/2014/main" id="{91CE7334-2DEC-7335-1A50-79EE2DABE7AA}"/>
                </a:ext>
              </a:extLst>
            </p:cNvPr>
            <p:cNvSpPr/>
            <p:nvPr/>
          </p:nvSpPr>
          <p:spPr>
            <a:xfrm>
              <a:off x="2687852" y="4899842"/>
              <a:ext cx="37214" cy="8232"/>
            </a:xfrm>
            <a:custGeom>
              <a:avLst/>
              <a:gdLst>
                <a:gd name="connsiteX0" fmla="*/ 0 w 37214"/>
                <a:gd name="connsiteY0" fmla="*/ 1329 h 8232"/>
                <a:gd name="connsiteX1" fmla="*/ 37215 w 37214"/>
                <a:gd name="connsiteY1" fmla="*/ 8233 h 82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7214" h="8232">
                  <a:moveTo>
                    <a:pt x="0" y="1329"/>
                  </a:moveTo>
                  <a:cubicBezTo>
                    <a:pt x="0" y="1329"/>
                    <a:pt x="20758" y="-4493"/>
                    <a:pt x="37215" y="8233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28" name="Forma livre: Forma 1427">
              <a:extLst>
                <a:ext uri="{FF2B5EF4-FFF2-40B4-BE49-F238E27FC236}">
                  <a16:creationId xmlns:a16="http://schemas.microsoft.com/office/drawing/2014/main" id="{DFA636D7-26AD-D453-169F-CAAD6B214510}"/>
                </a:ext>
              </a:extLst>
            </p:cNvPr>
            <p:cNvSpPr/>
            <p:nvPr/>
          </p:nvSpPr>
          <p:spPr>
            <a:xfrm>
              <a:off x="2680722" y="4926480"/>
              <a:ext cx="35385" cy="5525"/>
            </a:xfrm>
            <a:custGeom>
              <a:avLst/>
              <a:gdLst>
                <a:gd name="connsiteX0" fmla="*/ 0 w 35385"/>
                <a:gd name="connsiteY0" fmla="*/ 5525 h 5525"/>
                <a:gd name="connsiteX1" fmla="*/ 35385 w 35385"/>
                <a:gd name="connsiteY1" fmla="*/ 4385 h 5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5385" h="5525">
                  <a:moveTo>
                    <a:pt x="0" y="5525"/>
                  </a:moveTo>
                  <a:cubicBezTo>
                    <a:pt x="0" y="5525"/>
                    <a:pt x="14211" y="-6107"/>
                    <a:pt x="35385" y="4385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29" name="Forma livre: Forma 1428">
              <a:extLst>
                <a:ext uri="{FF2B5EF4-FFF2-40B4-BE49-F238E27FC236}">
                  <a16:creationId xmlns:a16="http://schemas.microsoft.com/office/drawing/2014/main" id="{19F9084F-5D04-5845-E256-CD9A495EF72C}"/>
                </a:ext>
              </a:extLst>
            </p:cNvPr>
            <p:cNvSpPr/>
            <p:nvPr/>
          </p:nvSpPr>
          <p:spPr>
            <a:xfrm>
              <a:off x="2684418" y="4953015"/>
              <a:ext cx="29598" cy="4204"/>
            </a:xfrm>
            <a:custGeom>
              <a:avLst/>
              <a:gdLst>
                <a:gd name="connsiteX0" fmla="*/ 0 w 29598"/>
                <a:gd name="connsiteY0" fmla="*/ 2933 h 4204"/>
                <a:gd name="connsiteX1" fmla="*/ 29598 w 29598"/>
                <a:gd name="connsiteY1" fmla="*/ 4204 h 42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9598" h="4204">
                  <a:moveTo>
                    <a:pt x="0" y="2933"/>
                  </a:moveTo>
                  <a:cubicBezTo>
                    <a:pt x="0" y="2933"/>
                    <a:pt x="12726" y="-4446"/>
                    <a:pt x="29598" y="4204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30" name="Forma livre: Forma 1429">
              <a:extLst>
                <a:ext uri="{FF2B5EF4-FFF2-40B4-BE49-F238E27FC236}">
                  <a16:creationId xmlns:a16="http://schemas.microsoft.com/office/drawing/2014/main" id="{CD8A0AF8-53F9-105B-8093-5526B64E7D42}"/>
                </a:ext>
              </a:extLst>
            </p:cNvPr>
            <p:cNvSpPr/>
            <p:nvPr/>
          </p:nvSpPr>
          <p:spPr>
            <a:xfrm>
              <a:off x="2750839" y="4821989"/>
              <a:ext cx="7402" cy="7402"/>
            </a:xfrm>
            <a:custGeom>
              <a:avLst/>
              <a:gdLst>
                <a:gd name="connsiteX0" fmla="*/ 7403 w 7402"/>
                <a:gd name="connsiteY0" fmla="*/ 3707 h 7402"/>
                <a:gd name="connsiteX1" fmla="*/ 3707 w 7402"/>
                <a:gd name="connsiteY1" fmla="*/ 7403 h 7402"/>
                <a:gd name="connsiteX2" fmla="*/ 0 w 7402"/>
                <a:gd name="connsiteY2" fmla="*/ 3707 h 7402"/>
                <a:gd name="connsiteX3" fmla="*/ 3707 w 7402"/>
                <a:gd name="connsiteY3" fmla="*/ 0 h 7402"/>
                <a:gd name="connsiteX4" fmla="*/ 7403 w 7402"/>
                <a:gd name="connsiteY4" fmla="*/ 3707 h 74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402" h="7402">
                  <a:moveTo>
                    <a:pt x="7403" y="3707"/>
                  </a:moveTo>
                  <a:cubicBezTo>
                    <a:pt x="7403" y="5751"/>
                    <a:pt x="5751" y="7403"/>
                    <a:pt x="3707" y="7403"/>
                  </a:cubicBezTo>
                  <a:cubicBezTo>
                    <a:pt x="1663" y="7403"/>
                    <a:pt x="0" y="5751"/>
                    <a:pt x="0" y="3707"/>
                  </a:cubicBezTo>
                  <a:cubicBezTo>
                    <a:pt x="0" y="1663"/>
                    <a:pt x="1663" y="0"/>
                    <a:pt x="3707" y="0"/>
                  </a:cubicBezTo>
                  <a:cubicBezTo>
                    <a:pt x="5751" y="0"/>
                    <a:pt x="7403" y="1652"/>
                    <a:pt x="7403" y="3707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431" name="Gráfico 14">
            <a:extLst>
              <a:ext uri="{FF2B5EF4-FFF2-40B4-BE49-F238E27FC236}">
                <a16:creationId xmlns:a16="http://schemas.microsoft.com/office/drawing/2014/main" id="{DC7CB335-4AA1-E0D1-3E62-FEE936C5E25F}"/>
              </a:ext>
            </a:extLst>
          </p:cNvPr>
          <p:cNvGrpSpPr/>
          <p:nvPr/>
        </p:nvGrpSpPr>
        <p:grpSpPr>
          <a:xfrm>
            <a:off x="2527669" y="5813338"/>
            <a:ext cx="389582" cy="226655"/>
            <a:chOff x="2527669" y="5813338"/>
            <a:chExt cx="389582" cy="226655"/>
          </a:xfrm>
          <a:noFill/>
        </p:grpSpPr>
        <p:sp>
          <p:nvSpPr>
            <p:cNvPr id="1432" name="Forma livre: Forma 1431">
              <a:extLst>
                <a:ext uri="{FF2B5EF4-FFF2-40B4-BE49-F238E27FC236}">
                  <a16:creationId xmlns:a16="http://schemas.microsoft.com/office/drawing/2014/main" id="{89F5EEBB-ACDF-87BA-781B-2FA63B3D987A}"/>
                </a:ext>
              </a:extLst>
            </p:cNvPr>
            <p:cNvSpPr/>
            <p:nvPr/>
          </p:nvSpPr>
          <p:spPr>
            <a:xfrm>
              <a:off x="2708705" y="5926636"/>
              <a:ext cx="208546" cy="112820"/>
            </a:xfrm>
            <a:custGeom>
              <a:avLst/>
              <a:gdLst>
                <a:gd name="connsiteX0" fmla="*/ 206512 w 208546"/>
                <a:gd name="connsiteY0" fmla="*/ 0 h 112820"/>
                <a:gd name="connsiteX1" fmla="*/ 197208 w 208546"/>
                <a:gd name="connsiteY1" fmla="*/ 43168 h 112820"/>
                <a:gd name="connsiteX2" fmla="*/ 0 w 208546"/>
                <a:gd name="connsiteY2" fmla="*/ 112821 h 1128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08546" h="112820">
                  <a:moveTo>
                    <a:pt x="206512" y="0"/>
                  </a:moveTo>
                  <a:cubicBezTo>
                    <a:pt x="206512" y="0"/>
                    <a:pt x="215031" y="36799"/>
                    <a:pt x="197208" y="43168"/>
                  </a:cubicBezTo>
                  <a:lnTo>
                    <a:pt x="0" y="112821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33" name="Forma livre: Forma 1432">
              <a:extLst>
                <a:ext uri="{FF2B5EF4-FFF2-40B4-BE49-F238E27FC236}">
                  <a16:creationId xmlns:a16="http://schemas.microsoft.com/office/drawing/2014/main" id="{F2FFA7D6-D7BC-74FC-3047-F81A185DEDD0}"/>
                </a:ext>
              </a:extLst>
            </p:cNvPr>
            <p:cNvSpPr/>
            <p:nvPr/>
          </p:nvSpPr>
          <p:spPr>
            <a:xfrm>
              <a:off x="2588553" y="5813338"/>
              <a:ext cx="326540" cy="186253"/>
            </a:xfrm>
            <a:custGeom>
              <a:avLst/>
              <a:gdLst>
                <a:gd name="connsiteX0" fmla="*/ 0 w 326540"/>
                <a:gd name="connsiteY0" fmla="*/ 72803 h 186253"/>
                <a:gd name="connsiteX1" fmla="*/ 143714 w 326540"/>
                <a:gd name="connsiteY1" fmla="*/ 1249 h 186253"/>
                <a:gd name="connsiteX2" fmla="*/ 201652 w 326540"/>
                <a:gd name="connsiteY2" fmla="*/ 31822 h 186253"/>
                <a:gd name="connsiteX3" fmla="*/ 262774 w 326540"/>
                <a:gd name="connsiteY3" fmla="*/ 76380 h 186253"/>
                <a:gd name="connsiteX4" fmla="*/ 325143 w 326540"/>
                <a:gd name="connsiteY4" fmla="*/ 108319 h 186253"/>
                <a:gd name="connsiteX5" fmla="*/ 305656 w 326540"/>
                <a:gd name="connsiteY5" fmla="*/ 130218 h 186253"/>
                <a:gd name="connsiteX6" fmla="*/ 147291 w 326540"/>
                <a:gd name="connsiteY6" fmla="*/ 186254 h 1862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26540" h="186253">
                  <a:moveTo>
                    <a:pt x="0" y="72803"/>
                  </a:moveTo>
                  <a:lnTo>
                    <a:pt x="143714" y="1249"/>
                  </a:lnTo>
                  <a:cubicBezTo>
                    <a:pt x="168287" y="-7413"/>
                    <a:pt x="201652" y="31822"/>
                    <a:pt x="201652" y="31822"/>
                  </a:cubicBezTo>
                  <a:cubicBezTo>
                    <a:pt x="201652" y="31822"/>
                    <a:pt x="251319" y="35636"/>
                    <a:pt x="262774" y="76380"/>
                  </a:cubicBezTo>
                  <a:cubicBezTo>
                    <a:pt x="262774" y="76380"/>
                    <a:pt x="303755" y="68466"/>
                    <a:pt x="325143" y="108319"/>
                  </a:cubicBezTo>
                  <a:cubicBezTo>
                    <a:pt x="325143" y="108319"/>
                    <a:pt x="334316" y="121306"/>
                    <a:pt x="305656" y="130218"/>
                  </a:cubicBezTo>
                  <a:cubicBezTo>
                    <a:pt x="289877" y="134804"/>
                    <a:pt x="147291" y="186254"/>
                    <a:pt x="147291" y="186254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34" name="Forma livre: Forma 1433">
              <a:extLst>
                <a:ext uri="{FF2B5EF4-FFF2-40B4-BE49-F238E27FC236}">
                  <a16:creationId xmlns:a16="http://schemas.microsoft.com/office/drawing/2014/main" id="{C78F8042-8436-A021-DBDE-398A438A17B8}"/>
                </a:ext>
              </a:extLst>
            </p:cNvPr>
            <p:cNvSpPr/>
            <p:nvPr/>
          </p:nvSpPr>
          <p:spPr>
            <a:xfrm>
              <a:off x="2617402" y="5982601"/>
              <a:ext cx="31297" cy="20461"/>
            </a:xfrm>
            <a:custGeom>
              <a:avLst/>
              <a:gdLst>
                <a:gd name="connsiteX0" fmla="*/ 0 w 31297"/>
                <a:gd name="connsiteY0" fmla="*/ 0 h 20461"/>
                <a:gd name="connsiteX1" fmla="*/ 31298 w 31297"/>
                <a:gd name="connsiteY1" fmla="*/ 20461 h 204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1297" h="20461">
                  <a:moveTo>
                    <a:pt x="0" y="0"/>
                  </a:moveTo>
                  <a:lnTo>
                    <a:pt x="31298" y="20461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35" name="Forma livre: Forma 1434">
              <a:extLst>
                <a:ext uri="{FF2B5EF4-FFF2-40B4-BE49-F238E27FC236}">
                  <a16:creationId xmlns:a16="http://schemas.microsoft.com/office/drawing/2014/main" id="{507F7CE5-F094-A7B8-5FC4-E369C05D24B9}"/>
                </a:ext>
              </a:extLst>
            </p:cNvPr>
            <p:cNvSpPr/>
            <p:nvPr/>
          </p:nvSpPr>
          <p:spPr>
            <a:xfrm>
              <a:off x="2565406" y="5948618"/>
              <a:ext cx="29764" cy="19451"/>
            </a:xfrm>
            <a:custGeom>
              <a:avLst/>
              <a:gdLst>
                <a:gd name="connsiteX0" fmla="*/ 0 w 29764"/>
                <a:gd name="connsiteY0" fmla="*/ 0 h 19451"/>
                <a:gd name="connsiteX1" fmla="*/ 29765 w 29764"/>
                <a:gd name="connsiteY1" fmla="*/ 19451 h 194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9764" h="19451">
                  <a:moveTo>
                    <a:pt x="0" y="0"/>
                  </a:moveTo>
                  <a:lnTo>
                    <a:pt x="29765" y="19451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36" name="Forma livre: Forma 1435">
              <a:extLst>
                <a:ext uri="{FF2B5EF4-FFF2-40B4-BE49-F238E27FC236}">
                  <a16:creationId xmlns:a16="http://schemas.microsoft.com/office/drawing/2014/main" id="{243B64D4-2516-F779-9570-FAE5FFDE33FE}"/>
                </a:ext>
              </a:extLst>
            </p:cNvPr>
            <p:cNvSpPr/>
            <p:nvPr/>
          </p:nvSpPr>
          <p:spPr>
            <a:xfrm>
              <a:off x="2540727" y="5904190"/>
              <a:ext cx="173400" cy="135803"/>
            </a:xfrm>
            <a:custGeom>
              <a:avLst/>
              <a:gdLst>
                <a:gd name="connsiteX0" fmla="*/ 132747 w 173400"/>
                <a:gd name="connsiteY0" fmla="*/ 115067 h 135803"/>
                <a:gd name="connsiteX1" fmla="*/ 163914 w 173400"/>
                <a:gd name="connsiteY1" fmla="*/ 135765 h 135803"/>
                <a:gd name="connsiteX2" fmla="*/ 170913 w 173400"/>
                <a:gd name="connsiteY2" fmla="*/ 106096 h 135803"/>
                <a:gd name="connsiteX3" fmla="*/ 114888 w 173400"/>
                <a:gd name="connsiteY3" fmla="*/ 67895 h 135803"/>
                <a:gd name="connsiteX4" fmla="*/ 62049 w 173400"/>
                <a:gd name="connsiteY4" fmla="*/ 31618 h 135803"/>
                <a:gd name="connsiteX5" fmla="*/ 13451 w 173400"/>
                <a:gd name="connsiteY5" fmla="*/ 0 h 135803"/>
                <a:gd name="connsiteX6" fmla="*/ 0 w 173400"/>
                <a:gd name="connsiteY6" fmla="*/ 13130 h 135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73400" h="135803">
                  <a:moveTo>
                    <a:pt x="132747" y="115067"/>
                  </a:moveTo>
                  <a:lnTo>
                    <a:pt x="163914" y="135765"/>
                  </a:lnTo>
                  <a:cubicBezTo>
                    <a:pt x="179824" y="137037"/>
                    <a:pt x="170913" y="106096"/>
                    <a:pt x="170913" y="106096"/>
                  </a:cubicBezTo>
                  <a:cubicBezTo>
                    <a:pt x="154991" y="68536"/>
                    <a:pt x="114888" y="67895"/>
                    <a:pt x="114888" y="67895"/>
                  </a:cubicBezTo>
                  <a:cubicBezTo>
                    <a:pt x="102792" y="32890"/>
                    <a:pt x="62049" y="31618"/>
                    <a:pt x="62049" y="31618"/>
                  </a:cubicBezTo>
                  <a:cubicBezTo>
                    <a:pt x="49964" y="416"/>
                    <a:pt x="13451" y="0"/>
                    <a:pt x="13451" y="0"/>
                  </a:cubicBezTo>
                  <a:cubicBezTo>
                    <a:pt x="13451" y="0"/>
                    <a:pt x="3743" y="5192"/>
                    <a:pt x="0" y="13130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37" name="Forma livre: Forma 1436">
              <a:extLst>
                <a:ext uri="{FF2B5EF4-FFF2-40B4-BE49-F238E27FC236}">
                  <a16:creationId xmlns:a16="http://schemas.microsoft.com/office/drawing/2014/main" id="{70E966E0-77E2-0E75-C3A7-CC2D4D9295F8}"/>
                </a:ext>
              </a:extLst>
            </p:cNvPr>
            <p:cNvSpPr/>
            <p:nvPr/>
          </p:nvSpPr>
          <p:spPr>
            <a:xfrm>
              <a:off x="2693603" y="5903977"/>
              <a:ext cx="120520" cy="50712"/>
            </a:xfrm>
            <a:custGeom>
              <a:avLst/>
              <a:gdLst>
                <a:gd name="connsiteX0" fmla="*/ 0 w 120520"/>
                <a:gd name="connsiteY0" fmla="*/ 50713 h 50712"/>
                <a:gd name="connsiteX1" fmla="*/ 120521 w 120520"/>
                <a:gd name="connsiteY1" fmla="*/ 0 h 507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520" h="50712">
                  <a:moveTo>
                    <a:pt x="0" y="50713"/>
                  </a:moveTo>
                  <a:lnTo>
                    <a:pt x="120521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38" name="Forma livre: Forma 1437">
              <a:extLst>
                <a:ext uri="{FF2B5EF4-FFF2-40B4-BE49-F238E27FC236}">
                  <a16:creationId xmlns:a16="http://schemas.microsoft.com/office/drawing/2014/main" id="{AFF1E648-EC3B-ED97-AC66-E24698EF1DCF}"/>
                </a:ext>
              </a:extLst>
            </p:cNvPr>
            <p:cNvSpPr/>
            <p:nvPr/>
          </p:nvSpPr>
          <p:spPr>
            <a:xfrm>
              <a:off x="2640763" y="5864504"/>
              <a:ext cx="119629" cy="54182"/>
            </a:xfrm>
            <a:custGeom>
              <a:avLst/>
              <a:gdLst>
                <a:gd name="connsiteX0" fmla="*/ 0 w 119629"/>
                <a:gd name="connsiteY0" fmla="*/ 54183 h 54182"/>
                <a:gd name="connsiteX1" fmla="*/ 119629 w 119629"/>
                <a:gd name="connsiteY1" fmla="*/ 0 h 541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9629" h="54182">
                  <a:moveTo>
                    <a:pt x="0" y="54183"/>
                  </a:moveTo>
                  <a:lnTo>
                    <a:pt x="119629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39" name="Forma livre: Forma 1438">
              <a:extLst>
                <a:ext uri="{FF2B5EF4-FFF2-40B4-BE49-F238E27FC236}">
                  <a16:creationId xmlns:a16="http://schemas.microsoft.com/office/drawing/2014/main" id="{320A9614-DB61-E1AE-99D2-64F646EFD662}"/>
                </a:ext>
              </a:extLst>
            </p:cNvPr>
            <p:cNvSpPr/>
            <p:nvPr/>
          </p:nvSpPr>
          <p:spPr>
            <a:xfrm>
              <a:off x="2625696" y="5998701"/>
              <a:ext cx="59838" cy="35396"/>
            </a:xfrm>
            <a:custGeom>
              <a:avLst/>
              <a:gdLst>
                <a:gd name="connsiteX0" fmla="*/ 34755 w 59838"/>
                <a:gd name="connsiteY0" fmla="*/ 0 h 35396"/>
                <a:gd name="connsiteX1" fmla="*/ 59838 w 59838"/>
                <a:gd name="connsiteY1" fmla="*/ 13878 h 35396"/>
                <a:gd name="connsiteX2" fmla="*/ 17823 w 59838"/>
                <a:gd name="connsiteY2" fmla="*/ 35397 h 35396"/>
                <a:gd name="connsiteX3" fmla="*/ 0 w 59838"/>
                <a:gd name="connsiteY3" fmla="*/ 15031 h 35396"/>
                <a:gd name="connsiteX4" fmla="*/ 34755 w 59838"/>
                <a:gd name="connsiteY4" fmla="*/ 0 h 35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9838" h="35396">
                  <a:moveTo>
                    <a:pt x="34755" y="0"/>
                  </a:moveTo>
                  <a:cubicBezTo>
                    <a:pt x="34755" y="0"/>
                    <a:pt x="56012" y="4967"/>
                    <a:pt x="59838" y="13878"/>
                  </a:cubicBezTo>
                  <a:lnTo>
                    <a:pt x="17823" y="35397"/>
                  </a:lnTo>
                  <a:cubicBezTo>
                    <a:pt x="17823" y="35397"/>
                    <a:pt x="630" y="28398"/>
                    <a:pt x="0" y="15031"/>
                  </a:cubicBezTo>
                  <a:lnTo>
                    <a:pt x="34755" y="0"/>
                  </a:ln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40" name="Forma livre: Forma 1439">
              <a:extLst>
                <a:ext uri="{FF2B5EF4-FFF2-40B4-BE49-F238E27FC236}">
                  <a16:creationId xmlns:a16="http://schemas.microsoft.com/office/drawing/2014/main" id="{AEAA38DC-4658-4C53-1E0A-26679A730867}"/>
                </a:ext>
              </a:extLst>
            </p:cNvPr>
            <p:cNvSpPr/>
            <p:nvPr/>
          </p:nvSpPr>
          <p:spPr>
            <a:xfrm>
              <a:off x="2573498" y="5962793"/>
              <a:ext cx="55382" cy="33745"/>
            </a:xfrm>
            <a:custGeom>
              <a:avLst/>
              <a:gdLst>
                <a:gd name="connsiteX0" fmla="*/ 33615 w 55382"/>
                <a:gd name="connsiteY0" fmla="*/ 0 h 33745"/>
                <a:gd name="connsiteX1" fmla="*/ 55383 w 55382"/>
                <a:gd name="connsiteY1" fmla="*/ 12987 h 33745"/>
                <a:gd name="connsiteX2" fmla="*/ 17419 w 55382"/>
                <a:gd name="connsiteY2" fmla="*/ 33745 h 33745"/>
                <a:gd name="connsiteX3" fmla="*/ 0 w 55382"/>
                <a:gd name="connsiteY3" fmla="*/ 16326 h 33745"/>
                <a:gd name="connsiteX4" fmla="*/ 33615 w 55382"/>
                <a:gd name="connsiteY4" fmla="*/ 0 h 337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82" h="33745">
                  <a:moveTo>
                    <a:pt x="33615" y="0"/>
                  </a:moveTo>
                  <a:cubicBezTo>
                    <a:pt x="33615" y="0"/>
                    <a:pt x="51901" y="4860"/>
                    <a:pt x="55383" y="12987"/>
                  </a:cubicBezTo>
                  <a:lnTo>
                    <a:pt x="17419" y="33745"/>
                  </a:lnTo>
                  <a:cubicBezTo>
                    <a:pt x="17419" y="33745"/>
                    <a:pt x="570" y="28517"/>
                    <a:pt x="0" y="16326"/>
                  </a:cubicBezTo>
                  <a:lnTo>
                    <a:pt x="33615" y="0"/>
                  </a:ln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41" name="Forma livre: Forma 1440">
              <a:extLst>
                <a:ext uri="{FF2B5EF4-FFF2-40B4-BE49-F238E27FC236}">
                  <a16:creationId xmlns:a16="http://schemas.microsoft.com/office/drawing/2014/main" id="{D7902223-553B-4C51-D06E-C8311E6CD7BB}"/>
                </a:ext>
              </a:extLst>
            </p:cNvPr>
            <p:cNvSpPr/>
            <p:nvPr/>
          </p:nvSpPr>
          <p:spPr>
            <a:xfrm>
              <a:off x="2527669" y="5928929"/>
              <a:ext cx="48479" cy="29931"/>
            </a:xfrm>
            <a:custGeom>
              <a:avLst/>
              <a:gdLst>
                <a:gd name="connsiteX0" fmla="*/ 28862 w 48479"/>
                <a:gd name="connsiteY0" fmla="*/ 0 h 29931"/>
                <a:gd name="connsiteX1" fmla="*/ 41718 w 48479"/>
                <a:gd name="connsiteY1" fmla="*/ 6511 h 29931"/>
                <a:gd name="connsiteX2" fmla="*/ 48479 w 48479"/>
                <a:gd name="connsiteY2" fmla="*/ 13403 h 29931"/>
                <a:gd name="connsiteX3" fmla="*/ 17015 w 48479"/>
                <a:gd name="connsiteY3" fmla="*/ 29931 h 29931"/>
                <a:gd name="connsiteX4" fmla="*/ 0 w 48479"/>
                <a:gd name="connsiteY4" fmla="*/ 13950 h 29931"/>
                <a:gd name="connsiteX5" fmla="*/ 28862 w 48479"/>
                <a:gd name="connsiteY5" fmla="*/ 12 h 299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8479" h="29931">
                  <a:moveTo>
                    <a:pt x="28862" y="0"/>
                  </a:moveTo>
                  <a:cubicBezTo>
                    <a:pt x="28862" y="0"/>
                    <a:pt x="35955" y="2650"/>
                    <a:pt x="41718" y="6511"/>
                  </a:cubicBezTo>
                  <a:cubicBezTo>
                    <a:pt x="44748" y="8543"/>
                    <a:pt x="47410" y="10908"/>
                    <a:pt x="48479" y="13403"/>
                  </a:cubicBezTo>
                  <a:lnTo>
                    <a:pt x="17015" y="29931"/>
                  </a:lnTo>
                  <a:cubicBezTo>
                    <a:pt x="17015" y="29931"/>
                    <a:pt x="523" y="24774"/>
                    <a:pt x="0" y="13950"/>
                  </a:cubicBezTo>
                  <a:lnTo>
                    <a:pt x="28862" y="12"/>
                  </a:ln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442" name="Gráfico 14">
            <a:extLst>
              <a:ext uri="{FF2B5EF4-FFF2-40B4-BE49-F238E27FC236}">
                <a16:creationId xmlns:a16="http://schemas.microsoft.com/office/drawing/2014/main" id="{DC58913A-CE4F-BF1C-9AA1-51A86DB0966D}"/>
              </a:ext>
            </a:extLst>
          </p:cNvPr>
          <p:cNvGrpSpPr/>
          <p:nvPr/>
        </p:nvGrpSpPr>
        <p:grpSpPr>
          <a:xfrm>
            <a:off x="2576998" y="4186841"/>
            <a:ext cx="290933" cy="331541"/>
            <a:chOff x="2576998" y="4186841"/>
            <a:chExt cx="290933" cy="331541"/>
          </a:xfrm>
          <a:noFill/>
        </p:grpSpPr>
        <p:grpSp>
          <p:nvGrpSpPr>
            <p:cNvPr id="1443" name="Gráfico 14">
              <a:extLst>
                <a:ext uri="{FF2B5EF4-FFF2-40B4-BE49-F238E27FC236}">
                  <a16:creationId xmlns:a16="http://schemas.microsoft.com/office/drawing/2014/main" id="{D78CBE85-F3A5-D1E6-8661-D6C00F8323A9}"/>
                </a:ext>
              </a:extLst>
            </p:cNvPr>
            <p:cNvGrpSpPr/>
            <p:nvPr/>
          </p:nvGrpSpPr>
          <p:grpSpPr>
            <a:xfrm>
              <a:off x="2576998" y="4312959"/>
              <a:ext cx="290933" cy="205422"/>
              <a:chOff x="2576998" y="4312959"/>
              <a:chExt cx="290933" cy="205422"/>
            </a:xfrm>
            <a:noFill/>
          </p:grpSpPr>
          <p:sp>
            <p:nvSpPr>
              <p:cNvPr id="1444" name="Forma livre: Forma 1443">
                <a:extLst>
                  <a:ext uri="{FF2B5EF4-FFF2-40B4-BE49-F238E27FC236}">
                    <a16:creationId xmlns:a16="http://schemas.microsoft.com/office/drawing/2014/main" id="{6FE627D1-EDD5-09FD-7396-4311DC8334F9}"/>
                  </a:ext>
                </a:extLst>
              </p:cNvPr>
              <p:cNvSpPr/>
              <p:nvPr/>
            </p:nvSpPr>
            <p:spPr>
              <a:xfrm>
                <a:off x="2577003" y="4405662"/>
                <a:ext cx="290803" cy="112720"/>
              </a:xfrm>
              <a:custGeom>
                <a:avLst/>
                <a:gdLst>
                  <a:gd name="connsiteX0" fmla="*/ 0 w 290803"/>
                  <a:gd name="connsiteY0" fmla="*/ 34423 h 112720"/>
                  <a:gd name="connsiteX1" fmla="*/ 0 w 290803"/>
                  <a:gd name="connsiteY1" fmla="*/ 79123 h 112720"/>
                  <a:gd name="connsiteX2" fmla="*/ 97457 w 290803"/>
                  <a:gd name="connsiteY2" fmla="*/ 96115 h 112720"/>
                  <a:gd name="connsiteX3" fmla="*/ 172564 w 290803"/>
                  <a:gd name="connsiteY3" fmla="*/ 112025 h 112720"/>
                  <a:gd name="connsiteX4" fmla="*/ 290803 w 290803"/>
                  <a:gd name="connsiteY4" fmla="*/ 51759 h 112720"/>
                  <a:gd name="connsiteX5" fmla="*/ 290803 w 290803"/>
                  <a:gd name="connsiteY5" fmla="*/ 0 h 1127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90803" h="112720">
                    <a:moveTo>
                      <a:pt x="0" y="34423"/>
                    </a:moveTo>
                    <a:lnTo>
                      <a:pt x="0" y="79123"/>
                    </a:lnTo>
                    <a:cubicBezTo>
                      <a:pt x="0" y="79123"/>
                      <a:pt x="69118" y="84791"/>
                      <a:pt x="97457" y="96115"/>
                    </a:cubicBezTo>
                    <a:cubicBezTo>
                      <a:pt x="125784" y="107438"/>
                      <a:pt x="147956" y="110932"/>
                      <a:pt x="172564" y="112025"/>
                    </a:cubicBezTo>
                    <a:cubicBezTo>
                      <a:pt x="172564" y="112025"/>
                      <a:pt x="277222" y="123657"/>
                      <a:pt x="290803" y="51759"/>
                    </a:cubicBezTo>
                    <a:lnTo>
                      <a:pt x="290803" y="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445" name="Forma livre: Forma 1444">
                <a:extLst>
                  <a:ext uri="{FF2B5EF4-FFF2-40B4-BE49-F238E27FC236}">
                    <a16:creationId xmlns:a16="http://schemas.microsoft.com/office/drawing/2014/main" id="{53B222D3-C666-D3B0-04DC-19392BC00674}"/>
                  </a:ext>
                </a:extLst>
              </p:cNvPr>
              <p:cNvSpPr/>
              <p:nvPr/>
            </p:nvSpPr>
            <p:spPr>
              <a:xfrm>
                <a:off x="2576998" y="4312959"/>
                <a:ext cx="290933" cy="160652"/>
              </a:xfrm>
              <a:custGeom>
                <a:avLst/>
                <a:gdLst>
                  <a:gd name="connsiteX0" fmla="*/ 59772 w 290933"/>
                  <a:gd name="connsiteY0" fmla="*/ 20768 h 160652"/>
                  <a:gd name="connsiteX1" fmla="*/ 20704 w 290933"/>
                  <a:gd name="connsiteY1" fmla="*/ 58886 h 160652"/>
                  <a:gd name="connsiteX2" fmla="*/ 156374 w 290933"/>
                  <a:gd name="connsiteY2" fmla="*/ 69271 h 160652"/>
                  <a:gd name="connsiteX3" fmla="*/ 122379 w 290933"/>
                  <a:gd name="connsiteY3" fmla="*/ 88758 h 160652"/>
                  <a:gd name="connsiteX4" fmla="*/ 47023 w 290933"/>
                  <a:gd name="connsiteY4" fmla="*/ 91598 h 160652"/>
                  <a:gd name="connsiteX5" fmla="*/ 5 w 290933"/>
                  <a:gd name="connsiteY5" fmla="*/ 127054 h 160652"/>
                  <a:gd name="connsiteX6" fmla="*/ 97462 w 290933"/>
                  <a:gd name="connsiteY6" fmla="*/ 144045 h 160652"/>
                  <a:gd name="connsiteX7" fmla="*/ 172569 w 290933"/>
                  <a:gd name="connsiteY7" fmla="*/ 159956 h 160652"/>
                  <a:gd name="connsiteX8" fmla="*/ 289894 w 290933"/>
                  <a:gd name="connsiteY8" fmla="*/ 99689 h 160652"/>
                  <a:gd name="connsiteX9" fmla="*/ 201324 w 290933"/>
                  <a:gd name="connsiteY9" fmla="*/ 1091 h 160652"/>
                  <a:gd name="connsiteX10" fmla="*/ 140737 w 290933"/>
                  <a:gd name="connsiteY10" fmla="*/ 1626 h 160652"/>
                  <a:gd name="connsiteX11" fmla="*/ 252013 w 290933"/>
                  <a:gd name="connsiteY11" fmla="*/ 147598 h 1606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290933" h="160652">
                    <a:moveTo>
                      <a:pt x="59772" y="20768"/>
                    </a:moveTo>
                    <a:cubicBezTo>
                      <a:pt x="42317" y="28218"/>
                      <a:pt x="20704" y="41324"/>
                      <a:pt x="20704" y="58886"/>
                    </a:cubicBezTo>
                    <a:cubicBezTo>
                      <a:pt x="20704" y="58886"/>
                      <a:pt x="150718" y="31878"/>
                      <a:pt x="156374" y="69271"/>
                    </a:cubicBezTo>
                    <a:cubicBezTo>
                      <a:pt x="156374" y="69271"/>
                      <a:pt x="156374" y="87962"/>
                      <a:pt x="122379" y="88758"/>
                    </a:cubicBezTo>
                    <a:cubicBezTo>
                      <a:pt x="122379" y="88758"/>
                      <a:pt x="84986" y="85811"/>
                      <a:pt x="47023" y="91598"/>
                    </a:cubicBezTo>
                    <a:cubicBezTo>
                      <a:pt x="47023" y="91598"/>
                      <a:pt x="-565" y="95899"/>
                      <a:pt x="5" y="127054"/>
                    </a:cubicBezTo>
                    <a:cubicBezTo>
                      <a:pt x="5" y="127054"/>
                      <a:pt x="69123" y="132722"/>
                      <a:pt x="97462" y="144045"/>
                    </a:cubicBezTo>
                    <a:cubicBezTo>
                      <a:pt x="125789" y="155381"/>
                      <a:pt x="147961" y="158874"/>
                      <a:pt x="172569" y="159956"/>
                    </a:cubicBezTo>
                    <a:cubicBezTo>
                      <a:pt x="172569" y="159956"/>
                      <a:pt x="276312" y="171600"/>
                      <a:pt x="289894" y="99689"/>
                    </a:cubicBezTo>
                    <a:cubicBezTo>
                      <a:pt x="289894" y="99689"/>
                      <a:pt x="307123" y="14435"/>
                      <a:pt x="201324" y="1091"/>
                    </a:cubicBezTo>
                    <a:cubicBezTo>
                      <a:pt x="201324" y="1091"/>
                      <a:pt x="175017" y="-1689"/>
                      <a:pt x="140737" y="1626"/>
                    </a:cubicBezTo>
                    <a:lnTo>
                      <a:pt x="252013" y="147598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446" name="Forma livre: Forma 1445">
                <a:extLst>
                  <a:ext uri="{FF2B5EF4-FFF2-40B4-BE49-F238E27FC236}">
                    <a16:creationId xmlns:a16="http://schemas.microsoft.com/office/drawing/2014/main" id="{8B1A71BD-ECB5-CAC9-90A1-0B2AF8DD17A7}"/>
                  </a:ext>
                </a:extLst>
              </p:cNvPr>
              <p:cNvSpPr/>
              <p:nvPr/>
            </p:nvSpPr>
            <p:spPr>
              <a:xfrm>
                <a:off x="2724746" y="4420741"/>
                <a:ext cx="40399" cy="52744"/>
              </a:xfrm>
              <a:custGeom>
                <a:avLst/>
                <a:gdLst>
                  <a:gd name="connsiteX0" fmla="*/ 0 w 40399"/>
                  <a:gd name="connsiteY0" fmla="*/ 0 h 52744"/>
                  <a:gd name="connsiteX1" fmla="*/ 40399 w 40399"/>
                  <a:gd name="connsiteY1" fmla="*/ 52745 h 527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0399" h="52744">
                    <a:moveTo>
                      <a:pt x="0" y="0"/>
                    </a:moveTo>
                    <a:lnTo>
                      <a:pt x="40399" y="52745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447" name="Forma livre: Forma 1446">
                <a:extLst>
                  <a:ext uri="{FF2B5EF4-FFF2-40B4-BE49-F238E27FC236}">
                    <a16:creationId xmlns:a16="http://schemas.microsoft.com/office/drawing/2014/main" id="{A5D91DA2-CC37-8575-3C40-45A2DCFE9FDE}"/>
                  </a:ext>
                </a:extLst>
              </p:cNvPr>
              <p:cNvSpPr/>
              <p:nvPr/>
            </p:nvSpPr>
            <p:spPr>
              <a:xfrm>
                <a:off x="2654047" y="4423711"/>
                <a:ext cx="27471" cy="35979"/>
              </a:xfrm>
              <a:custGeom>
                <a:avLst/>
                <a:gdLst>
                  <a:gd name="connsiteX0" fmla="*/ 0 w 27471"/>
                  <a:gd name="connsiteY0" fmla="*/ 0 h 35979"/>
                  <a:gd name="connsiteX1" fmla="*/ 27471 w 27471"/>
                  <a:gd name="connsiteY1" fmla="*/ 35979 h 359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7471" h="35979">
                    <a:moveTo>
                      <a:pt x="0" y="0"/>
                    </a:moveTo>
                    <a:lnTo>
                      <a:pt x="27471" y="35979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448" name="Forma livre: Forma 1447">
                <a:extLst>
                  <a:ext uri="{FF2B5EF4-FFF2-40B4-BE49-F238E27FC236}">
                    <a16:creationId xmlns:a16="http://schemas.microsoft.com/office/drawing/2014/main" id="{2A6E18B7-2B57-704A-7ED6-99D1B2E79695}"/>
                  </a:ext>
                </a:extLst>
              </p:cNvPr>
              <p:cNvSpPr/>
              <p:nvPr/>
            </p:nvSpPr>
            <p:spPr>
              <a:xfrm>
                <a:off x="2784893" y="4315013"/>
                <a:ext cx="80061" cy="104408"/>
              </a:xfrm>
              <a:custGeom>
                <a:avLst/>
                <a:gdLst>
                  <a:gd name="connsiteX0" fmla="*/ 0 w 80061"/>
                  <a:gd name="connsiteY0" fmla="*/ 0 h 104408"/>
                  <a:gd name="connsiteX1" fmla="*/ 80062 w 80061"/>
                  <a:gd name="connsiteY1" fmla="*/ 104408 h 1044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80061" h="104408">
                    <a:moveTo>
                      <a:pt x="0" y="0"/>
                    </a:moveTo>
                    <a:lnTo>
                      <a:pt x="80062" y="104408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449" name="Forma livre: Forma 1448">
                <a:extLst>
                  <a:ext uri="{FF2B5EF4-FFF2-40B4-BE49-F238E27FC236}">
                    <a16:creationId xmlns:a16="http://schemas.microsoft.com/office/drawing/2014/main" id="{B15C28E6-186C-AC62-9745-2302D0D214EC}"/>
                  </a:ext>
                </a:extLst>
              </p:cNvPr>
              <p:cNvSpPr/>
              <p:nvPr/>
            </p:nvSpPr>
            <p:spPr>
              <a:xfrm>
                <a:off x="2597690" y="4371976"/>
                <a:ext cx="1188" cy="39722"/>
              </a:xfrm>
              <a:custGeom>
                <a:avLst/>
                <a:gdLst>
                  <a:gd name="connsiteX0" fmla="*/ 0 w 1188"/>
                  <a:gd name="connsiteY0" fmla="*/ 0 h 39722"/>
                  <a:gd name="connsiteX1" fmla="*/ 0 w 1188"/>
                  <a:gd name="connsiteY1" fmla="*/ 39722 h 397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88" h="39722">
                    <a:moveTo>
                      <a:pt x="0" y="0"/>
                    </a:moveTo>
                    <a:lnTo>
                      <a:pt x="0" y="39722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450" name="Forma livre: Forma 1449">
              <a:extLst>
                <a:ext uri="{FF2B5EF4-FFF2-40B4-BE49-F238E27FC236}">
                  <a16:creationId xmlns:a16="http://schemas.microsoft.com/office/drawing/2014/main" id="{4A501AA1-CD34-A96C-A920-D0A09DD2F9E4}"/>
                </a:ext>
              </a:extLst>
            </p:cNvPr>
            <p:cNvSpPr/>
            <p:nvPr/>
          </p:nvSpPr>
          <p:spPr>
            <a:xfrm>
              <a:off x="2665691" y="4186841"/>
              <a:ext cx="93631" cy="101473"/>
            </a:xfrm>
            <a:custGeom>
              <a:avLst/>
              <a:gdLst>
                <a:gd name="connsiteX0" fmla="*/ 93631 w 93631"/>
                <a:gd name="connsiteY0" fmla="*/ 0 h 101473"/>
                <a:gd name="connsiteX1" fmla="*/ 17633 w 93631"/>
                <a:gd name="connsiteY1" fmla="*/ 0 h 101473"/>
                <a:gd name="connsiteX2" fmla="*/ 0 w 93631"/>
                <a:gd name="connsiteY2" fmla="*/ 18394 h 101473"/>
                <a:gd name="connsiteX3" fmla="*/ 17633 w 93631"/>
                <a:gd name="connsiteY3" fmla="*/ 36763 h 101473"/>
                <a:gd name="connsiteX4" fmla="*/ 51687 w 93631"/>
                <a:gd name="connsiteY4" fmla="*/ 36763 h 101473"/>
                <a:gd name="connsiteX5" fmla="*/ 65399 w 93631"/>
                <a:gd name="connsiteY5" fmla="*/ 50879 h 101473"/>
                <a:gd name="connsiteX6" fmla="*/ 51687 w 93631"/>
                <a:gd name="connsiteY6" fmla="*/ 65055 h 101473"/>
                <a:gd name="connsiteX7" fmla="*/ 36728 w 93631"/>
                <a:gd name="connsiteY7" fmla="*/ 65055 h 101473"/>
                <a:gd name="connsiteX8" fmla="*/ 23016 w 93631"/>
                <a:gd name="connsiteY8" fmla="*/ 78755 h 101473"/>
                <a:gd name="connsiteX9" fmla="*/ 23016 w 93631"/>
                <a:gd name="connsiteY9" fmla="*/ 101473 h 1014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93631" h="101473">
                  <a:moveTo>
                    <a:pt x="93631" y="0"/>
                  </a:moveTo>
                  <a:lnTo>
                    <a:pt x="17633" y="0"/>
                  </a:lnTo>
                  <a:cubicBezTo>
                    <a:pt x="7925" y="0"/>
                    <a:pt x="0" y="8686"/>
                    <a:pt x="0" y="18394"/>
                  </a:cubicBezTo>
                  <a:cubicBezTo>
                    <a:pt x="0" y="28101"/>
                    <a:pt x="7937" y="36763"/>
                    <a:pt x="17633" y="36763"/>
                  </a:cubicBezTo>
                  <a:lnTo>
                    <a:pt x="51687" y="36763"/>
                  </a:lnTo>
                  <a:cubicBezTo>
                    <a:pt x="59221" y="36763"/>
                    <a:pt x="65399" y="43322"/>
                    <a:pt x="65399" y="50879"/>
                  </a:cubicBezTo>
                  <a:cubicBezTo>
                    <a:pt x="65399" y="58436"/>
                    <a:pt x="59221" y="65055"/>
                    <a:pt x="51687" y="65055"/>
                  </a:cubicBezTo>
                  <a:lnTo>
                    <a:pt x="36728" y="65055"/>
                  </a:lnTo>
                  <a:cubicBezTo>
                    <a:pt x="29183" y="65055"/>
                    <a:pt x="23016" y="71233"/>
                    <a:pt x="23016" y="78755"/>
                  </a:cubicBezTo>
                  <a:lnTo>
                    <a:pt x="23016" y="101473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51" name="Forma livre: Forma 1450">
              <a:extLst>
                <a:ext uri="{FF2B5EF4-FFF2-40B4-BE49-F238E27FC236}">
                  <a16:creationId xmlns:a16="http://schemas.microsoft.com/office/drawing/2014/main" id="{7604C544-B342-6E86-AC47-402E0FD08B9A}"/>
                </a:ext>
              </a:extLst>
            </p:cNvPr>
            <p:cNvSpPr/>
            <p:nvPr/>
          </p:nvSpPr>
          <p:spPr>
            <a:xfrm>
              <a:off x="2654677" y="4316962"/>
              <a:ext cx="44427" cy="45437"/>
            </a:xfrm>
            <a:custGeom>
              <a:avLst/>
              <a:gdLst>
                <a:gd name="connsiteX0" fmla="*/ 44427 w 44427"/>
                <a:gd name="connsiteY0" fmla="*/ 0 h 45437"/>
                <a:gd name="connsiteX1" fmla="*/ 5513 w 44427"/>
                <a:gd name="connsiteY1" fmla="*/ 9007 h 45437"/>
                <a:gd name="connsiteX2" fmla="*/ 0 w 44427"/>
                <a:gd name="connsiteY2" fmla="*/ 10539 h 45437"/>
                <a:gd name="connsiteX3" fmla="*/ 26842 w 44427"/>
                <a:gd name="connsiteY3" fmla="*/ 45437 h 454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4427" h="45437">
                  <a:moveTo>
                    <a:pt x="44427" y="0"/>
                  </a:moveTo>
                  <a:cubicBezTo>
                    <a:pt x="32106" y="2020"/>
                    <a:pt x="18976" y="4907"/>
                    <a:pt x="5513" y="9007"/>
                  </a:cubicBezTo>
                  <a:cubicBezTo>
                    <a:pt x="5513" y="9007"/>
                    <a:pt x="3481" y="9518"/>
                    <a:pt x="0" y="10539"/>
                  </a:cubicBezTo>
                  <a:lnTo>
                    <a:pt x="26842" y="45437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452" name="Gráfico 14">
            <a:extLst>
              <a:ext uri="{FF2B5EF4-FFF2-40B4-BE49-F238E27FC236}">
                <a16:creationId xmlns:a16="http://schemas.microsoft.com/office/drawing/2014/main" id="{2CAE6F72-5F2F-00DF-3D3E-EECE29DE0B8C}"/>
              </a:ext>
            </a:extLst>
          </p:cNvPr>
          <p:cNvGrpSpPr/>
          <p:nvPr/>
        </p:nvGrpSpPr>
        <p:grpSpPr>
          <a:xfrm>
            <a:off x="2567497" y="5247285"/>
            <a:ext cx="309933" cy="309400"/>
            <a:chOff x="2567497" y="5247285"/>
            <a:chExt cx="309933" cy="309400"/>
          </a:xfrm>
          <a:noFill/>
        </p:grpSpPr>
        <p:sp>
          <p:nvSpPr>
            <p:cNvPr id="1453" name="Forma livre: Forma 1452">
              <a:extLst>
                <a:ext uri="{FF2B5EF4-FFF2-40B4-BE49-F238E27FC236}">
                  <a16:creationId xmlns:a16="http://schemas.microsoft.com/office/drawing/2014/main" id="{3FD7157B-C1CD-857F-0FD5-D3CFAFFDC3B8}"/>
                </a:ext>
              </a:extLst>
            </p:cNvPr>
            <p:cNvSpPr/>
            <p:nvPr/>
          </p:nvSpPr>
          <p:spPr>
            <a:xfrm>
              <a:off x="2680330" y="5322239"/>
              <a:ext cx="84612" cy="1188"/>
            </a:xfrm>
            <a:custGeom>
              <a:avLst/>
              <a:gdLst>
                <a:gd name="connsiteX0" fmla="*/ 0 w 84612"/>
                <a:gd name="connsiteY0" fmla="*/ 0 h 1188"/>
                <a:gd name="connsiteX1" fmla="*/ 84613 w 84612"/>
                <a:gd name="connsiteY1" fmla="*/ 0 h 11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4612" h="1188">
                  <a:moveTo>
                    <a:pt x="0" y="0"/>
                  </a:moveTo>
                  <a:lnTo>
                    <a:pt x="84613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454" name="Gráfico 14">
              <a:extLst>
                <a:ext uri="{FF2B5EF4-FFF2-40B4-BE49-F238E27FC236}">
                  <a16:creationId xmlns:a16="http://schemas.microsoft.com/office/drawing/2014/main" id="{3040D19E-BD73-4B82-428C-E79CF1E504DA}"/>
                </a:ext>
              </a:extLst>
            </p:cNvPr>
            <p:cNvGrpSpPr/>
            <p:nvPr/>
          </p:nvGrpSpPr>
          <p:grpSpPr>
            <a:xfrm>
              <a:off x="2567497" y="5326457"/>
              <a:ext cx="309933" cy="141207"/>
              <a:chOff x="2567497" y="5326457"/>
              <a:chExt cx="309933" cy="141207"/>
            </a:xfrm>
            <a:noFill/>
          </p:grpSpPr>
          <p:sp>
            <p:nvSpPr>
              <p:cNvPr id="1455" name="Forma livre: Forma 1454">
                <a:extLst>
                  <a:ext uri="{FF2B5EF4-FFF2-40B4-BE49-F238E27FC236}">
                    <a16:creationId xmlns:a16="http://schemas.microsoft.com/office/drawing/2014/main" id="{A5A81BEB-B4E4-9E9B-4AD5-C03BF91DB5EF}"/>
                  </a:ext>
                </a:extLst>
              </p:cNvPr>
              <p:cNvSpPr/>
              <p:nvPr/>
            </p:nvSpPr>
            <p:spPr>
              <a:xfrm>
                <a:off x="2817795" y="5326457"/>
                <a:ext cx="59636" cy="141207"/>
              </a:xfrm>
              <a:custGeom>
                <a:avLst/>
                <a:gdLst>
                  <a:gd name="connsiteX0" fmla="*/ 59636 w 59636"/>
                  <a:gd name="connsiteY0" fmla="*/ 0 h 141207"/>
                  <a:gd name="connsiteX1" fmla="*/ 27329 w 59636"/>
                  <a:gd name="connsiteY1" fmla="*/ 52852 h 141207"/>
                  <a:gd name="connsiteX2" fmla="*/ 0 w 59636"/>
                  <a:gd name="connsiteY2" fmla="*/ 141207 h 1412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59636" h="141207">
                    <a:moveTo>
                      <a:pt x="59636" y="0"/>
                    </a:moveTo>
                    <a:cubicBezTo>
                      <a:pt x="59636" y="0"/>
                      <a:pt x="12025" y="17645"/>
                      <a:pt x="27329" y="52852"/>
                    </a:cubicBezTo>
                    <a:cubicBezTo>
                      <a:pt x="27329" y="52852"/>
                      <a:pt x="65162" y="118394"/>
                      <a:pt x="0" y="141207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456" name="Forma livre: Forma 1455">
                <a:extLst>
                  <a:ext uri="{FF2B5EF4-FFF2-40B4-BE49-F238E27FC236}">
                    <a16:creationId xmlns:a16="http://schemas.microsoft.com/office/drawing/2014/main" id="{FF9170CE-C6A2-A604-AB47-4D0DCE270A64}"/>
                  </a:ext>
                </a:extLst>
              </p:cNvPr>
              <p:cNvSpPr/>
              <p:nvPr/>
            </p:nvSpPr>
            <p:spPr>
              <a:xfrm>
                <a:off x="2567497" y="5326457"/>
                <a:ext cx="59636" cy="141207"/>
              </a:xfrm>
              <a:custGeom>
                <a:avLst/>
                <a:gdLst>
                  <a:gd name="connsiteX0" fmla="*/ 0 w 59636"/>
                  <a:gd name="connsiteY0" fmla="*/ 0 h 141207"/>
                  <a:gd name="connsiteX1" fmla="*/ 32308 w 59636"/>
                  <a:gd name="connsiteY1" fmla="*/ 52852 h 141207"/>
                  <a:gd name="connsiteX2" fmla="*/ 59636 w 59636"/>
                  <a:gd name="connsiteY2" fmla="*/ 141207 h 1412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59636" h="141207">
                    <a:moveTo>
                      <a:pt x="0" y="0"/>
                    </a:moveTo>
                    <a:cubicBezTo>
                      <a:pt x="0" y="0"/>
                      <a:pt x="47600" y="17645"/>
                      <a:pt x="32308" y="52852"/>
                    </a:cubicBezTo>
                    <a:cubicBezTo>
                      <a:pt x="32308" y="52852"/>
                      <a:pt x="-5525" y="118394"/>
                      <a:pt x="59636" y="141207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457" name="Forma livre: Forma 1456">
              <a:extLst>
                <a:ext uri="{FF2B5EF4-FFF2-40B4-BE49-F238E27FC236}">
                  <a16:creationId xmlns:a16="http://schemas.microsoft.com/office/drawing/2014/main" id="{EEA8CA44-A83A-AD7E-94A4-A9D0BAAE196F}"/>
                </a:ext>
              </a:extLst>
            </p:cNvPr>
            <p:cNvSpPr/>
            <p:nvPr/>
          </p:nvSpPr>
          <p:spPr>
            <a:xfrm>
              <a:off x="2684572" y="5427717"/>
              <a:ext cx="75772" cy="66706"/>
            </a:xfrm>
            <a:custGeom>
              <a:avLst/>
              <a:gdLst>
                <a:gd name="connsiteX0" fmla="*/ 0 w 75772"/>
                <a:gd name="connsiteY0" fmla="*/ 28315 h 66706"/>
                <a:gd name="connsiteX1" fmla="*/ 0 w 75772"/>
                <a:gd name="connsiteY1" fmla="*/ 38534 h 66706"/>
                <a:gd name="connsiteX2" fmla="*/ 28196 w 75772"/>
                <a:gd name="connsiteY2" fmla="*/ 66706 h 66706"/>
                <a:gd name="connsiteX3" fmla="*/ 47576 w 75772"/>
                <a:gd name="connsiteY3" fmla="*/ 66706 h 66706"/>
                <a:gd name="connsiteX4" fmla="*/ 75772 w 75772"/>
                <a:gd name="connsiteY4" fmla="*/ 38534 h 66706"/>
                <a:gd name="connsiteX5" fmla="*/ 75772 w 75772"/>
                <a:gd name="connsiteY5" fmla="*/ 0 h 66706"/>
                <a:gd name="connsiteX6" fmla="*/ 0 w 75772"/>
                <a:gd name="connsiteY6" fmla="*/ 0 h 667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5772" h="66706">
                  <a:moveTo>
                    <a:pt x="0" y="28315"/>
                  </a:moveTo>
                  <a:lnTo>
                    <a:pt x="0" y="38534"/>
                  </a:lnTo>
                  <a:cubicBezTo>
                    <a:pt x="0" y="54028"/>
                    <a:pt x="12678" y="66706"/>
                    <a:pt x="28196" y="66706"/>
                  </a:cubicBezTo>
                  <a:lnTo>
                    <a:pt x="47576" y="66706"/>
                  </a:lnTo>
                  <a:cubicBezTo>
                    <a:pt x="63082" y="66706"/>
                    <a:pt x="75772" y="54028"/>
                    <a:pt x="75772" y="38534"/>
                  </a:cubicBezTo>
                  <a:lnTo>
                    <a:pt x="75772" y="0"/>
                  </a:lnTo>
                  <a:lnTo>
                    <a:pt x="0" y="0"/>
                  </a:lnTo>
                </a:path>
              </a:pathLst>
            </a:custGeom>
            <a:noFill/>
            <a:ln w="6350" cap="sq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58" name="Forma livre: Forma 1457">
              <a:extLst>
                <a:ext uri="{FF2B5EF4-FFF2-40B4-BE49-F238E27FC236}">
                  <a16:creationId xmlns:a16="http://schemas.microsoft.com/office/drawing/2014/main" id="{6F53E106-BD08-6710-75A9-C97FDB9D1502}"/>
                </a:ext>
              </a:extLst>
            </p:cNvPr>
            <p:cNvSpPr/>
            <p:nvPr/>
          </p:nvSpPr>
          <p:spPr>
            <a:xfrm>
              <a:off x="2628298" y="5247285"/>
              <a:ext cx="188331" cy="309400"/>
            </a:xfrm>
            <a:custGeom>
              <a:avLst/>
              <a:gdLst>
                <a:gd name="connsiteX0" fmla="*/ 188320 w 188331"/>
                <a:gd name="connsiteY0" fmla="*/ 309401 h 309400"/>
                <a:gd name="connsiteX1" fmla="*/ 188320 w 188331"/>
                <a:gd name="connsiteY1" fmla="*/ 160612 h 309400"/>
                <a:gd name="connsiteX2" fmla="*/ 136633 w 188331"/>
                <a:gd name="connsiteY2" fmla="*/ 78388 h 309400"/>
                <a:gd name="connsiteX3" fmla="*/ 136633 w 188331"/>
                <a:gd name="connsiteY3" fmla="*/ 43145 h 309400"/>
                <a:gd name="connsiteX4" fmla="*/ 94154 w 188331"/>
                <a:gd name="connsiteY4" fmla="*/ 1 h 309400"/>
                <a:gd name="connsiteX5" fmla="*/ 51675 w 188331"/>
                <a:gd name="connsiteY5" fmla="*/ 43145 h 309400"/>
                <a:gd name="connsiteX6" fmla="*/ 51675 w 188331"/>
                <a:gd name="connsiteY6" fmla="*/ 78388 h 309400"/>
                <a:gd name="connsiteX7" fmla="*/ 0 w 188331"/>
                <a:gd name="connsiteY7" fmla="*/ 160612 h 309400"/>
                <a:gd name="connsiteX8" fmla="*/ 0 w 188331"/>
                <a:gd name="connsiteY8" fmla="*/ 309401 h 309400"/>
                <a:gd name="connsiteX9" fmla="*/ 188332 w 188331"/>
                <a:gd name="connsiteY9" fmla="*/ 309401 h 309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88331" h="309400">
                  <a:moveTo>
                    <a:pt x="188320" y="309401"/>
                  </a:moveTo>
                  <a:lnTo>
                    <a:pt x="188320" y="160612"/>
                  </a:lnTo>
                  <a:cubicBezTo>
                    <a:pt x="133306" y="138488"/>
                    <a:pt x="136633" y="78388"/>
                    <a:pt x="136633" y="78388"/>
                  </a:cubicBezTo>
                  <a:lnTo>
                    <a:pt x="136633" y="43145"/>
                  </a:lnTo>
                  <a:cubicBezTo>
                    <a:pt x="136633" y="2366"/>
                    <a:pt x="103042" y="-70"/>
                    <a:pt x="94154" y="1"/>
                  </a:cubicBezTo>
                  <a:cubicBezTo>
                    <a:pt x="85266" y="-58"/>
                    <a:pt x="51675" y="2366"/>
                    <a:pt x="51675" y="43145"/>
                  </a:cubicBezTo>
                  <a:lnTo>
                    <a:pt x="51675" y="78388"/>
                  </a:lnTo>
                  <a:cubicBezTo>
                    <a:pt x="51675" y="78388"/>
                    <a:pt x="55002" y="138476"/>
                    <a:pt x="0" y="160612"/>
                  </a:cubicBezTo>
                  <a:lnTo>
                    <a:pt x="0" y="309401"/>
                  </a:lnTo>
                  <a:lnTo>
                    <a:pt x="188332" y="309401"/>
                  </a:ln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459" name="Gráfico 14">
            <a:extLst>
              <a:ext uri="{FF2B5EF4-FFF2-40B4-BE49-F238E27FC236}">
                <a16:creationId xmlns:a16="http://schemas.microsoft.com/office/drawing/2014/main" id="{7B49C53A-93F4-721C-1622-9A0ED4A84FE5}"/>
              </a:ext>
            </a:extLst>
          </p:cNvPr>
          <p:cNvGrpSpPr/>
          <p:nvPr/>
        </p:nvGrpSpPr>
        <p:grpSpPr>
          <a:xfrm>
            <a:off x="3184810" y="3694765"/>
            <a:ext cx="311347" cy="266314"/>
            <a:chOff x="3184810" y="3694765"/>
            <a:chExt cx="311347" cy="266314"/>
          </a:xfrm>
        </p:grpSpPr>
        <p:sp>
          <p:nvSpPr>
            <p:cNvPr id="1460" name="Forma livre: Forma 1459">
              <a:extLst>
                <a:ext uri="{FF2B5EF4-FFF2-40B4-BE49-F238E27FC236}">
                  <a16:creationId xmlns:a16="http://schemas.microsoft.com/office/drawing/2014/main" id="{E9448C81-0DBA-FA46-7B05-8EB920F98D48}"/>
                </a:ext>
              </a:extLst>
            </p:cNvPr>
            <p:cNvSpPr/>
            <p:nvPr/>
          </p:nvSpPr>
          <p:spPr>
            <a:xfrm>
              <a:off x="3262472" y="3731160"/>
              <a:ext cx="6190" cy="6190"/>
            </a:xfrm>
            <a:custGeom>
              <a:avLst/>
              <a:gdLst>
                <a:gd name="connsiteX0" fmla="*/ 6191 w 6190"/>
                <a:gd name="connsiteY0" fmla="*/ 3089 h 6190"/>
                <a:gd name="connsiteX1" fmla="*/ 3101 w 6190"/>
                <a:gd name="connsiteY1" fmla="*/ 6191 h 6190"/>
                <a:gd name="connsiteX2" fmla="*/ 0 w 6190"/>
                <a:gd name="connsiteY2" fmla="*/ 3089 h 6190"/>
                <a:gd name="connsiteX3" fmla="*/ 3101 w 6190"/>
                <a:gd name="connsiteY3" fmla="*/ 0 h 6190"/>
                <a:gd name="connsiteX4" fmla="*/ 6191 w 6190"/>
                <a:gd name="connsiteY4" fmla="*/ 3089 h 61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190" h="6190">
                  <a:moveTo>
                    <a:pt x="6191" y="3089"/>
                  </a:moveTo>
                  <a:cubicBezTo>
                    <a:pt x="6191" y="4812"/>
                    <a:pt x="4824" y="6191"/>
                    <a:pt x="3101" y="6191"/>
                  </a:cubicBezTo>
                  <a:cubicBezTo>
                    <a:pt x="1378" y="6191"/>
                    <a:pt x="0" y="4812"/>
                    <a:pt x="0" y="3089"/>
                  </a:cubicBezTo>
                  <a:cubicBezTo>
                    <a:pt x="0" y="1366"/>
                    <a:pt x="1390" y="0"/>
                    <a:pt x="3101" y="0"/>
                  </a:cubicBezTo>
                  <a:cubicBezTo>
                    <a:pt x="4812" y="0"/>
                    <a:pt x="6191" y="1378"/>
                    <a:pt x="6191" y="3089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61" name="Forma livre: Forma 1460">
              <a:extLst>
                <a:ext uri="{FF2B5EF4-FFF2-40B4-BE49-F238E27FC236}">
                  <a16:creationId xmlns:a16="http://schemas.microsoft.com/office/drawing/2014/main" id="{490D3FF9-79B7-AA02-DB95-7CD13234EEE0}"/>
                </a:ext>
              </a:extLst>
            </p:cNvPr>
            <p:cNvSpPr/>
            <p:nvPr/>
          </p:nvSpPr>
          <p:spPr>
            <a:xfrm>
              <a:off x="3299603" y="3731160"/>
              <a:ext cx="6178" cy="6190"/>
            </a:xfrm>
            <a:custGeom>
              <a:avLst/>
              <a:gdLst>
                <a:gd name="connsiteX0" fmla="*/ 6179 w 6178"/>
                <a:gd name="connsiteY0" fmla="*/ 3089 h 6190"/>
                <a:gd name="connsiteX1" fmla="*/ 3089 w 6178"/>
                <a:gd name="connsiteY1" fmla="*/ 6191 h 6190"/>
                <a:gd name="connsiteX2" fmla="*/ 0 w 6178"/>
                <a:gd name="connsiteY2" fmla="*/ 3089 h 6190"/>
                <a:gd name="connsiteX3" fmla="*/ 3089 w 6178"/>
                <a:gd name="connsiteY3" fmla="*/ 0 h 6190"/>
                <a:gd name="connsiteX4" fmla="*/ 6179 w 6178"/>
                <a:gd name="connsiteY4" fmla="*/ 3089 h 61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178" h="6190">
                  <a:moveTo>
                    <a:pt x="6179" y="3089"/>
                  </a:moveTo>
                  <a:cubicBezTo>
                    <a:pt x="6179" y="4812"/>
                    <a:pt x="4800" y="6191"/>
                    <a:pt x="3089" y="6191"/>
                  </a:cubicBezTo>
                  <a:cubicBezTo>
                    <a:pt x="1378" y="6191"/>
                    <a:pt x="0" y="4812"/>
                    <a:pt x="0" y="3089"/>
                  </a:cubicBezTo>
                  <a:cubicBezTo>
                    <a:pt x="0" y="1366"/>
                    <a:pt x="1378" y="0"/>
                    <a:pt x="3089" y="0"/>
                  </a:cubicBezTo>
                  <a:cubicBezTo>
                    <a:pt x="4800" y="0"/>
                    <a:pt x="6179" y="1378"/>
                    <a:pt x="6179" y="3089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62" name="Forma livre: Forma 1461">
              <a:extLst>
                <a:ext uri="{FF2B5EF4-FFF2-40B4-BE49-F238E27FC236}">
                  <a16:creationId xmlns:a16="http://schemas.microsoft.com/office/drawing/2014/main" id="{EDA263CC-8521-C59E-CA14-1933238BD9BF}"/>
                </a:ext>
              </a:extLst>
            </p:cNvPr>
            <p:cNvSpPr/>
            <p:nvPr/>
          </p:nvSpPr>
          <p:spPr>
            <a:xfrm>
              <a:off x="3281044" y="3755281"/>
              <a:ext cx="6190" cy="6190"/>
            </a:xfrm>
            <a:custGeom>
              <a:avLst/>
              <a:gdLst>
                <a:gd name="connsiteX0" fmla="*/ 6191 w 6190"/>
                <a:gd name="connsiteY0" fmla="*/ 3101 h 6190"/>
                <a:gd name="connsiteX1" fmla="*/ 3101 w 6190"/>
                <a:gd name="connsiteY1" fmla="*/ 6191 h 6190"/>
                <a:gd name="connsiteX2" fmla="*/ 0 w 6190"/>
                <a:gd name="connsiteY2" fmla="*/ 3101 h 6190"/>
                <a:gd name="connsiteX3" fmla="*/ 3101 w 6190"/>
                <a:gd name="connsiteY3" fmla="*/ 0 h 6190"/>
                <a:gd name="connsiteX4" fmla="*/ 6191 w 6190"/>
                <a:gd name="connsiteY4" fmla="*/ 3101 h 61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190" h="6190">
                  <a:moveTo>
                    <a:pt x="6191" y="3101"/>
                  </a:moveTo>
                  <a:cubicBezTo>
                    <a:pt x="6191" y="4812"/>
                    <a:pt x="4812" y="6191"/>
                    <a:pt x="3101" y="6191"/>
                  </a:cubicBezTo>
                  <a:cubicBezTo>
                    <a:pt x="1390" y="6191"/>
                    <a:pt x="0" y="4812"/>
                    <a:pt x="0" y="3101"/>
                  </a:cubicBezTo>
                  <a:cubicBezTo>
                    <a:pt x="0" y="1390"/>
                    <a:pt x="1390" y="0"/>
                    <a:pt x="3101" y="0"/>
                  </a:cubicBezTo>
                  <a:cubicBezTo>
                    <a:pt x="4812" y="0"/>
                    <a:pt x="6191" y="1390"/>
                    <a:pt x="6191" y="3101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63" name="Forma livre: Forma 1462">
              <a:extLst>
                <a:ext uri="{FF2B5EF4-FFF2-40B4-BE49-F238E27FC236}">
                  <a16:creationId xmlns:a16="http://schemas.microsoft.com/office/drawing/2014/main" id="{A3C6A62E-28D7-6662-235E-853DC454CA84}"/>
                </a:ext>
              </a:extLst>
            </p:cNvPr>
            <p:cNvSpPr/>
            <p:nvPr/>
          </p:nvSpPr>
          <p:spPr>
            <a:xfrm>
              <a:off x="3207945" y="3902774"/>
              <a:ext cx="265078" cy="58305"/>
            </a:xfrm>
            <a:custGeom>
              <a:avLst/>
              <a:gdLst>
                <a:gd name="connsiteX0" fmla="*/ 265079 w 265078"/>
                <a:gd name="connsiteY0" fmla="*/ 0 h 58305"/>
                <a:gd name="connsiteX1" fmla="*/ 265079 w 265078"/>
                <a:gd name="connsiteY1" fmla="*/ 38237 h 58305"/>
                <a:gd name="connsiteX2" fmla="*/ 245330 w 265078"/>
                <a:gd name="connsiteY2" fmla="*/ 58306 h 58305"/>
                <a:gd name="connsiteX3" fmla="*/ 19760 w 265078"/>
                <a:gd name="connsiteY3" fmla="*/ 58306 h 58305"/>
                <a:gd name="connsiteX4" fmla="*/ 0 w 265078"/>
                <a:gd name="connsiteY4" fmla="*/ 38237 h 58305"/>
                <a:gd name="connsiteX5" fmla="*/ 0 w 265078"/>
                <a:gd name="connsiteY5" fmla="*/ 0 h 583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65078" h="58305">
                  <a:moveTo>
                    <a:pt x="265079" y="0"/>
                  </a:moveTo>
                  <a:lnTo>
                    <a:pt x="265079" y="38237"/>
                  </a:lnTo>
                  <a:cubicBezTo>
                    <a:pt x="265079" y="49097"/>
                    <a:pt x="256191" y="58306"/>
                    <a:pt x="245330" y="58306"/>
                  </a:cubicBezTo>
                  <a:lnTo>
                    <a:pt x="19760" y="58306"/>
                  </a:lnTo>
                  <a:cubicBezTo>
                    <a:pt x="8888" y="58306"/>
                    <a:pt x="0" y="49097"/>
                    <a:pt x="0" y="38237"/>
                  </a:cubicBezTo>
                  <a:lnTo>
                    <a:pt x="0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64" name="Forma livre: Forma 1463">
              <a:extLst>
                <a:ext uri="{FF2B5EF4-FFF2-40B4-BE49-F238E27FC236}">
                  <a16:creationId xmlns:a16="http://schemas.microsoft.com/office/drawing/2014/main" id="{5C44AEA8-87A8-6D97-EDA1-CC131D0C6330}"/>
                </a:ext>
              </a:extLst>
            </p:cNvPr>
            <p:cNvSpPr/>
            <p:nvPr/>
          </p:nvSpPr>
          <p:spPr>
            <a:xfrm>
              <a:off x="3184810" y="3847902"/>
              <a:ext cx="311347" cy="53374"/>
            </a:xfrm>
            <a:custGeom>
              <a:avLst/>
              <a:gdLst>
                <a:gd name="connsiteX0" fmla="*/ 259601 w 311347"/>
                <a:gd name="connsiteY0" fmla="*/ 0 h 53374"/>
                <a:gd name="connsiteX1" fmla="*/ 286074 w 311347"/>
                <a:gd name="connsiteY1" fmla="*/ 0 h 53374"/>
                <a:gd name="connsiteX2" fmla="*/ 311348 w 311347"/>
                <a:gd name="connsiteY2" fmla="*/ 25285 h 53374"/>
                <a:gd name="connsiteX3" fmla="*/ 311348 w 311347"/>
                <a:gd name="connsiteY3" fmla="*/ 28101 h 53374"/>
                <a:gd name="connsiteX4" fmla="*/ 286074 w 311347"/>
                <a:gd name="connsiteY4" fmla="*/ 53375 h 53374"/>
                <a:gd name="connsiteX5" fmla="*/ 25273 w 311347"/>
                <a:gd name="connsiteY5" fmla="*/ 53375 h 53374"/>
                <a:gd name="connsiteX6" fmla="*/ 0 w 311347"/>
                <a:gd name="connsiteY6" fmla="*/ 28101 h 53374"/>
                <a:gd name="connsiteX7" fmla="*/ 0 w 311347"/>
                <a:gd name="connsiteY7" fmla="*/ 25285 h 53374"/>
                <a:gd name="connsiteX8" fmla="*/ 25273 w 311347"/>
                <a:gd name="connsiteY8" fmla="*/ 0 h 53374"/>
                <a:gd name="connsiteX9" fmla="*/ 161597 w 311347"/>
                <a:gd name="connsiteY9" fmla="*/ 0 h 533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11347" h="53374">
                  <a:moveTo>
                    <a:pt x="259601" y="0"/>
                  </a:moveTo>
                  <a:lnTo>
                    <a:pt x="286074" y="0"/>
                  </a:lnTo>
                  <a:cubicBezTo>
                    <a:pt x="299976" y="0"/>
                    <a:pt x="311348" y="11383"/>
                    <a:pt x="311348" y="25285"/>
                  </a:cubicBezTo>
                  <a:lnTo>
                    <a:pt x="311348" y="28101"/>
                  </a:lnTo>
                  <a:cubicBezTo>
                    <a:pt x="311348" y="42003"/>
                    <a:pt x="299965" y="53375"/>
                    <a:pt x="286074" y="53375"/>
                  </a:cubicBezTo>
                  <a:lnTo>
                    <a:pt x="25273" y="53375"/>
                  </a:lnTo>
                  <a:cubicBezTo>
                    <a:pt x="11371" y="53375"/>
                    <a:pt x="0" y="42003"/>
                    <a:pt x="0" y="28101"/>
                  </a:cubicBezTo>
                  <a:lnTo>
                    <a:pt x="0" y="25285"/>
                  </a:lnTo>
                  <a:cubicBezTo>
                    <a:pt x="0" y="11383"/>
                    <a:pt x="11383" y="0"/>
                    <a:pt x="25273" y="0"/>
                  </a:cubicBezTo>
                  <a:lnTo>
                    <a:pt x="161597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65" name="Forma livre: Forma 1464">
              <a:extLst>
                <a:ext uri="{FF2B5EF4-FFF2-40B4-BE49-F238E27FC236}">
                  <a16:creationId xmlns:a16="http://schemas.microsoft.com/office/drawing/2014/main" id="{73D59AD3-51D5-7FC5-BFE7-851C3B1DAEEF}"/>
                </a:ext>
              </a:extLst>
            </p:cNvPr>
            <p:cNvSpPr/>
            <p:nvPr/>
          </p:nvSpPr>
          <p:spPr>
            <a:xfrm>
              <a:off x="3207588" y="3694765"/>
              <a:ext cx="265803" cy="93666"/>
            </a:xfrm>
            <a:custGeom>
              <a:avLst/>
              <a:gdLst>
                <a:gd name="connsiteX0" fmla="*/ 265792 w 265803"/>
                <a:gd name="connsiteY0" fmla="*/ 76390 h 93666"/>
                <a:gd name="connsiteX1" fmla="*/ 153232 w 265803"/>
                <a:gd name="connsiteY1" fmla="*/ 0 h 93666"/>
                <a:gd name="connsiteX2" fmla="*/ 112571 w 265803"/>
                <a:gd name="connsiteY2" fmla="*/ 0 h 93666"/>
                <a:gd name="connsiteX3" fmla="*/ 0 w 265803"/>
                <a:gd name="connsiteY3" fmla="*/ 76390 h 93666"/>
                <a:gd name="connsiteX4" fmla="*/ 0 w 265803"/>
                <a:gd name="connsiteY4" fmla="*/ 93667 h 93666"/>
                <a:gd name="connsiteX5" fmla="*/ 265803 w 265803"/>
                <a:gd name="connsiteY5" fmla="*/ 93667 h 93666"/>
                <a:gd name="connsiteX6" fmla="*/ 265803 w 265803"/>
                <a:gd name="connsiteY6" fmla="*/ 76390 h 936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65803" h="93666">
                  <a:moveTo>
                    <a:pt x="265792" y="76390"/>
                  </a:moveTo>
                  <a:cubicBezTo>
                    <a:pt x="265792" y="34375"/>
                    <a:pt x="215138" y="0"/>
                    <a:pt x="153232" y="0"/>
                  </a:cubicBezTo>
                  <a:lnTo>
                    <a:pt x="112571" y="0"/>
                  </a:lnTo>
                  <a:cubicBezTo>
                    <a:pt x="50642" y="0"/>
                    <a:pt x="0" y="34375"/>
                    <a:pt x="0" y="76390"/>
                  </a:cubicBezTo>
                  <a:lnTo>
                    <a:pt x="0" y="93667"/>
                  </a:lnTo>
                  <a:lnTo>
                    <a:pt x="265803" y="93667"/>
                  </a:lnTo>
                  <a:lnTo>
                    <a:pt x="265803" y="76390"/>
                  </a:ln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66" name="Forma livre: Forma 1465">
              <a:extLst>
                <a:ext uri="{FF2B5EF4-FFF2-40B4-BE49-F238E27FC236}">
                  <a16:creationId xmlns:a16="http://schemas.microsoft.com/office/drawing/2014/main" id="{D990EF2F-886E-FB25-B695-D63B9FBDEAAB}"/>
                </a:ext>
              </a:extLst>
            </p:cNvPr>
            <p:cNvSpPr/>
            <p:nvPr/>
          </p:nvSpPr>
          <p:spPr>
            <a:xfrm>
              <a:off x="3185345" y="3818756"/>
              <a:ext cx="310052" cy="53671"/>
            </a:xfrm>
            <a:custGeom>
              <a:avLst/>
              <a:gdLst>
                <a:gd name="connsiteX0" fmla="*/ 0 w 310052"/>
                <a:gd name="connsiteY0" fmla="*/ 0 h 53671"/>
                <a:gd name="connsiteX1" fmla="*/ 159803 w 310052"/>
                <a:gd name="connsiteY1" fmla="*/ 0 h 53671"/>
                <a:gd name="connsiteX2" fmla="*/ 223610 w 310052"/>
                <a:gd name="connsiteY2" fmla="*/ 53672 h 53671"/>
                <a:gd name="connsiteX3" fmla="*/ 244059 w 310052"/>
                <a:gd name="connsiteY3" fmla="*/ 0 h 53671"/>
                <a:gd name="connsiteX4" fmla="*/ 310053 w 310052"/>
                <a:gd name="connsiteY4" fmla="*/ 0 h 536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10052" h="53671">
                  <a:moveTo>
                    <a:pt x="0" y="0"/>
                  </a:moveTo>
                  <a:lnTo>
                    <a:pt x="159803" y="0"/>
                  </a:lnTo>
                  <a:lnTo>
                    <a:pt x="223610" y="53672"/>
                  </a:lnTo>
                  <a:lnTo>
                    <a:pt x="244059" y="0"/>
                  </a:lnTo>
                  <a:lnTo>
                    <a:pt x="310053" y="0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467" name="Gráfico 14">
            <a:extLst>
              <a:ext uri="{FF2B5EF4-FFF2-40B4-BE49-F238E27FC236}">
                <a16:creationId xmlns:a16="http://schemas.microsoft.com/office/drawing/2014/main" id="{8BF55584-7B8E-0791-3DA3-FBB896BB5A4B}"/>
              </a:ext>
            </a:extLst>
          </p:cNvPr>
          <p:cNvGrpSpPr/>
          <p:nvPr/>
        </p:nvGrpSpPr>
        <p:grpSpPr>
          <a:xfrm>
            <a:off x="3178905" y="4736128"/>
            <a:ext cx="323170" cy="282351"/>
            <a:chOff x="3178905" y="4736128"/>
            <a:chExt cx="323170" cy="282351"/>
          </a:xfrm>
        </p:grpSpPr>
        <p:grpSp>
          <p:nvGrpSpPr>
            <p:cNvPr id="1468" name="Gráfico 14">
              <a:extLst>
                <a:ext uri="{FF2B5EF4-FFF2-40B4-BE49-F238E27FC236}">
                  <a16:creationId xmlns:a16="http://schemas.microsoft.com/office/drawing/2014/main" id="{265C73BD-8771-E4BC-5C58-D43114095F2E}"/>
                </a:ext>
              </a:extLst>
            </p:cNvPr>
            <p:cNvGrpSpPr/>
            <p:nvPr/>
          </p:nvGrpSpPr>
          <p:grpSpPr>
            <a:xfrm>
              <a:off x="3277027" y="4966688"/>
              <a:ext cx="38586" cy="17092"/>
              <a:chOff x="3277027" y="4966688"/>
              <a:chExt cx="38586" cy="17092"/>
            </a:xfrm>
            <a:solidFill>
              <a:srgbClr val="394553"/>
            </a:solidFill>
          </p:grpSpPr>
          <p:sp>
            <p:nvSpPr>
              <p:cNvPr id="1469" name="Forma livre: Forma 1468">
                <a:extLst>
                  <a:ext uri="{FF2B5EF4-FFF2-40B4-BE49-F238E27FC236}">
                    <a16:creationId xmlns:a16="http://schemas.microsoft.com/office/drawing/2014/main" id="{DAEC8CF2-6AF4-B8D8-709E-D81D3332E938}"/>
                  </a:ext>
                </a:extLst>
              </p:cNvPr>
              <p:cNvSpPr/>
              <p:nvPr/>
            </p:nvSpPr>
            <p:spPr>
              <a:xfrm>
                <a:off x="3309828" y="4966688"/>
                <a:ext cx="5785" cy="5793"/>
              </a:xfrm>
              <a:custGeom>
                <a:avLst/>
                <a:gdLst>
                  <a:gd name="connsiteX0" fmla="*/ 161 w 5785"/>
                  <a:gd name="connsiteY0" fmla="*/ 3827 h 5793"/>
                  <a:gd name="connsiteX1" fmla="*/ 1943 w 5785"/>
                  <a:gd name="connsiteY1" fmla="*/ 156 h 5793"/>
                  <a:gd name="connsiteX2" fmla="*/ 5626 w 5785"/>
                  <a:gd name="connsiteY2" fmla="*/ 1950 h 5793"/>
                  <a:gd name="connsiteX3" fmla="*/ 3820 w 5785"/>
                  <a:gd name="connsiteY3" fmla="*/ 5633 h 5793"/>
                  <a:gd name="connsiteX4" fmla="*/ 149 w 5785"/>
                  <a:gd name="connsiteY4" fmla="*/ 3827 h 57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785" h="5793">
                    <a:moveTo>
                      <a:pt x="161" y="3827"/>
                    </a:moveTo>
                    <a:cubicBezTo>
                      <a:pt x="-362" y="2318"/>
                      <a:pt x="434" y="679"/>
                      <a:pt x="1943" y="156"/>
                    </a:cubicBezTo>
                    <a:cubicBezTo>
                      <a:pt x="3452" y="-355"/>
                      <a:pt x="5103" y="429"/>
                      <a:pt x="5626" y="1950"/>
                    </a:cubicBezTo>
                    <a:cubicBezTo>
                      <a:pt x="6149" y="3471"/>
                      <a:pt x="5341" y="5111"/>
                      <a:pt x="3820" y="5633"/>
                    </a:cubicBezTo>
                    <a:cubicBezTo>
                      <a:pt x="2299" y="6156"/>
                      <a:pt x="671" y="5360"/>
                      <a:pt x="149" y="3827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470" name="Forma livre: Forma 1469">
                <a:extLst>
                  <a:ext uri="{FF2B5EF4-FFF2-40B4-BE49-F238E27FC236}">
                    <a16:creationId xmlns:a16="http://schemas.microsoft.com/office/drawing/2014/main" id="{17BE5B09-7C4A-542C-1DD3-0EFD79A3FBFA}"/>
                  </a:ext>
                </a:extLst>
              </p:cNvPr>
              <p:cNvSpPr/>
              <p:nvPr/>
            </p:nvSpPr>
            <p:spPr>
              <a:xfrm>
                <a:off x="3277027" y="4977983"/>
                <a:ext cx="5790" cy="5797"/>
              </a:xfrm>
              <a:custGeom>
                <a:avLst/>
                <a:gdLst>
                  <a:gd name="connsiteX0" fmla="*/ 155 w 5790"/>
                  <a:gd name="connsiteY0" fmla="*/ 3832 h 5797"/>
                  <a:gd name="connsiteX1" fmla="*/ 1949 w 5790"/>
                  <a:gd name="connsiteY1" fmla="*/ 160 h 5797"/>
                  <a:gd name="connsiteX2" fmla="*/ 5632 w 5790"/>
                  <a:gd name="connsiteY2" fmla="*/ 1955 h 5797"/>
                  <a:gd name="connsiteX3" fmla="*/ 3826 w 5790"/>
                  <a:gd name="connsiteY3" fmla="*/ 5638 h 5797"/>
                  <a:gd name="connsiteX4" fmla="*/ 155 w 5790"/>
                  <a:gd name="connsiteY4" fmla="*/ 3844 h 57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790" h="5797">
                    <a:moveTo>
                      <a:pt x="155" y="3832"/>
                    </a:moveTo>
                    <a:cubicBezTo>
                      <a:pt x="-356" y="2323"/>
                      <a:pt x="440" y="671"/>
                      <a:pt x="1949" y="160"/>
                    </a:cubicBezTo>
                    <a:cubicBezTo>
                      <a:pt x="3458" y="-362"/>
                      <a:pt x="5109" y="434"/>
                      <a:pt x="5632" y="1955"/>
                    </a:cubicBezTo>
                    <a:cubicBezTo>
                      <a:pt x="6155" y="3464"/>
                      <a:pt x="5335" y="5115"/>
                      <a:pt x="3826" y="5638"/>
                    </a:cubicBezTo>
                    <a:cubicBezTo>
                      <a:pt x="2317" y="6161"/>
                      <a:pt x="677" y="5353"/>
                      <a:pt x="155" y="3844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471" name="Forma livre: Forma 1470">
              <a:extLst>
                <a:ext uri="{FF2B5EF4-FFF2-40B4-BE49-F238E27FC236}">
                  <a16:creationId xmlns:a16="http://schemas.microsoft.com/office/drawing/2014/main" id="{32CD03D0-D29D-536C-7B4E-D2B2DFF9503C}"/>
                </a:ext>
              </a:extLst>
            </p:cNvPr>
            <p:cNvSpPr/>
            <p:nvPr/>
          </p:nvSpPr>
          <p:spPr>
            <a:xfrm>
              <a:off x="3286088" y="4951035"/>
              <a:ext cx="5785" cy="5797"/>
            </a:xfrm>
            <a:custGeom>
              <a:avLst/>
              <a:gdLst>
                <a:gd name="connsiteX0" fmla="*/ 160 w 5785"/>
                <a:gd name="connsiteY0" fmla="*/ 3832 h 5797"/>
                <a:gd name="connsiteX1" fmla="*/ 1955 w 5785"/>
                <a:gd name="connsiteY1" fmla="*/ 160 h 5797"/>
                <a:gd name="connsiteX2" fmla="*/ 5626 w 5785"/>
                <a:gd name="connsiteY2" fmla="*/ 1955 h 5797"/>
                <a:gd name="connsiteX3" fmla="*/ 3832 w 5785"/>
                <a:gd name="connsiteY3" fmla="*/ 5638 h 5797"/>
                <a:gd name="connsiteX4" fmla="*/ 160 w 5785"/>
                <a:gd name="connsiteY4" fmla="*/ 3844 h 5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85" h="5797">
                  <a:moveTo>
                    <a:pt x="160" y="3832"/>
                  </a:moveTo>
                  <a:cubicBezTo>
                    <a:pt x="-362" y="2323"/>
                    <a:pt x="434" y="671"/>
                    <a:pt x="1955" y="160"/>
                  </a:cubicBezTo>
                  <a:cubicBezTo>
                    <a:pt x="3464" y="-362"/>
                    <a:pt x="5115" y="434"/>
                    <a:pt x="5626" y="1955"/>
                  </a:cubicBezTo>
                  <a:cubicBezTo>
                    <a:pt x="6149" y="3464"/>
                    <a:pt x="5341" y="5115"/>
                    <a:pt x="3832" y="5638"/>
                  </a:cubicBezTo>
                  <a:cubicBezTo>
                    <a:pt x="2323" y="6161"/>
                    <a:pt x="683" y="5353"/>
                    <a:pt x="160" y="3844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472" name="Gráfico 14">
              <a:extLst>
                <a:ext uri="{FF2B5EF4-FFF2-40B4-BE49-F238E27FC236}">
                  <a16:creationId xmlns:a16="http://schemas.microsoft.com/office/drawing/2014/main" id="{383B608B-E76B-D681-6FDF-A4E518D5AD1B}"/>
                </a:ext>
              </a:extLst>
            </p:cNvPr>
            <p:cNvGrpSpPr/>
            <p:nvPr/>
          </p:nvGrpSpPr>
          <p:grpSpPr>
            <a:xfrm>
              <a:off x="3178905" y="4736128"/>
              <a:ext cx="323170" cy="282351"/>
              <a:chOff x="3178905" y="4736128"/>
              <a:chExt cx="323170" cy="282351"/>
            </a:xfrm>
            <a:noFill/>
          </p:grpSpPr>
          <p:sp>
            <p:nvSpPr>
              <p:cNvPr id="1473" name="Forma livre: Forma 1472">
                <a:extLst>
                  <a:ext uri="{FF2B5EF4-FFF2-40B4-BE49-F238E27FC236}">
                    <a16:creationId xmlns:a16="http://schemas.microsoft.com/office/drawing/2014/main" id="{FF0B22D2-C390-7732-AF21-9CC706E575F8}"/>
                  </a:ext>
                </a:extLst>
              </p:cNvPr>
              <p:cNvSpPr/>
              <p:nvPr/>
            </p:nvSpPr>
            <p:spPr>
              <a:xfrm>
                <a:off x="3217700" y="4881150"/>
                <a:ext cx="41112" cy="28374"/>
              </a:xfrm>
              <a:custGeom>
                <a:avLst/>
                <a:gdLst>
                  <a:gd name="connsiteX0" fmla="*/ 0 w 41112"/>
                  <a:gd name="connsiteY0" fmla="*/ 28375 h 28374"/>
                  <a:gd name="connsiteX1" fmla="*/ 41112 w 41112"/>
                  <a:gd name="connsiteY1" fmla="*/ 0 h 283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1112" h="28374">
                    <a:moveTo>
                      <a:pt x="0" y="28375"/>
                    </a:moveTo>
                    <a:cubicBezTo>
                      <a:pt x="0" y="28375"/>
                      <a:pt x="9328" y="2662"/>
                      <a:pt x="41112" y="0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474" name="Forma livre: Forma 1473">
                <a:extLst>
                  <a:ext uri="{FF2B5EF4-FFF2-40B4-BE49-F238E27FC236}">
                    <a16:creationId xmlns:a16="http://schemas.microsoft.com/office/drawing/2014/main" id="{527193FB-8C52-C390-7C46-0B7E45D2CD90}"/>
                  </a:ext>
                </a:extLst>
              </p:cNvPr>
              <p:cNvSpPr/>
              <p:nvPr/>
            </p:nvSpPr>
            <p:spPr>
              <a:xfrm>
                <a:off x="3178905" y="4848094"/>
                <a:ext cx="323170" cy="170386"/>
              </a:xfrm>
              <a:custGeom>
                <a:avLst/>
                <a:gdLst>
                  <a:gd name="connsiteX0" fmla="*/ 219760 w 323170"/>
                  <a:gd name="connsiteY0" fmla="*/ 85730 h 170386"/>
                  <a:gd name="connsiteX1" fmla="*/ 219760 w 323170"/>
                  <a:gd name="connsiteY1" fmla="*/ 67812 h 170386"/>
                  <a:gd name="connsiteX2" fmla="*/ 119309 w 323170"/>
                  <a:gd name="connsiteY2" fmla="*/ 3672 h 170386"/>
                  <a:gd name="connsiteX3" fmla="*/ 0 w 323170"/>
                  <a:gd name="connsiteY3" fmla="*/ 85195 h 170386"/>
                  <a:gd name="connsiteX4" fmla="*/ 119309 w 323170"/>
                  <a:gd name="connsiteY4" fmla="*/ 166719 h 170386"/>
                  <a:gd name="connsiteX5" fmla="*/ 215898 w 323170"/>
                  <a:gd name="connsiteY5" fmla="*/ 107237 h 170386"/>
                  <a:gd name="connsiteX6" fmla="*/ 268180 w 323170"/>
                  <a:gd name="connsiteY6" fmla="*/ 107237 h 170386"/>
                  <a:gd name="connsiteX7" fmla="*/ 267942 w 323170"/>
                  <a:gd name="connsiteY7" fmla="*/ 113225 h 170386"/>
                  <a:gd name="connsiteX8" fmla="*/ 295544 w 323170"/>
                  <a:gd name="connsiteY8" fmla="*/ 140839 h 170386"/>
                  <a:gd name="connsiteX9" fmla="*/ 323170 w 323170"/>
                  <a:gd name="connsiteY9" fmla="*/ 113225 h 170386"/>
                  <a:gd name="connsiteX10" fmla="*/ 300464 w 323170"/>
                  <a:gd name="connsiteY10" fmla="*/ 86074 h 170386"/>
                  <a:gd name="connsiteX11" fmla="*/ 323170 w 323170"/>
                  <a:gd name="connsiteY11" fmla="*/ 58924 h 170386"/>
                  <a:gd name="connsiteX12" fmla="*/ 295544 w 323170"/>
                  <a:gd name="connsiteY12" fmla="*/ 31298 h 170386"/>
                  <a:gd name="connsiteX13" fmla="*/ 267942 w 323170"/>
                  <a:gd name="connsiteY13" fmla="*/ 58924 h 170386"/>
                  <a:gd name="connsiteX14" fmla="*/ 268192 w 323170"/>
                  <a:gd name="connsiteY14" fmla="*/ 64924 h 170386"/>
                  <a:gd name="connsiteX15" fmla="*/ 241089 w 323170"/>
                  <a:gd name="connsiteY15" fmla="*/ 64924 h 1703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323170" h="170386">
                    <a:moveTo>
                      <a:pt x="219760" y="85730"/>
                    </a:moveTo>
                    <a:lnTo>
                      <a:pt x="219760" y="67812"/>
                    </a:lnTo>
                    <a:cubicBezTo>
                      <a:pt x="197457" y="41944"/>
                      <a:pt x="165423" y="13819"/>
                      <a:pt x="119309" y="3672"/>
                    </a:cubicBezTo>
                    <a:cubicBezTo>
                      <a:pt x="55228" y="-10444"/>
                      <a:pt x="0" y="16017"/>
                      <a:pt x="0" y="85195"/>
                    </a:cubicBezTo>
                    <a:cubicBezTo>
                      <a:pt x="0" y="154373"/>
                      <a:pt x="55228" y="180823"/>
                      <a:pt x="119309" y="166719"/>
                    </a:cubicBezTo>
                    <a:cubicBezTo>
                      <a:pt x="162738" y="157153"/>
                      <a:pt x="193774" y="131809"/>
                      <a:pt x="215898" y="107237"/>
                    </a:cubicBezTo>
                    <a:lnTo>
                      <a:pt x="268180" y="107237"/>
                    </a:lnTo>
                    <a:cubicBezTo>
                      <a:pt x="268037" y="108401"/>
                      <a:pt x="267942" y="112025"/>
                      <a:pt x="267942" y="113225"/>
                    </a:cubicBezTo>
                    <a:cubicBezTo>
                      <a:pt x="267942" y="128482"/>
                      <a:pt x="280311" y="140839"/>
                      <a:pt x="295544" y="140839"/>
                    </a:cubicBezTo>
                    <a:cubicBezTo>
                      <a:pt x="310777" y="140839"/>
                      <a:pt x="323170" y="128470"/>
                      <a:pt x="323170" y="113225"/>
                    </a:cubicBezTo>
                    <a:cubicBezTo>
                      <a:pt x="323170" y="99668"/>
                      <a:pt x="313368" y="88380"/>
                      <a:pt x="300464" y="86074"/>
                    </a:cubicBezTo>
                    <a:cubicBezTo>
                      <a:pt x="313368" y="83757"/>
                      <a:pt x="323170" y="72493"/>
                      <a:pt x="323170" y="58924"/>
                    </a:cubicBezTo>
                    <a:cubicBezTo>
                      <a:pt x="323170" y="43667"/>
                      <a:pt x="310813" y="31298"/>
                      <a:pt x="295544" y="31298"/>
                    </a:cubicBezTo>
                    <a:cubicBezTo>
                      <a:pt x="280276" y="31298"/>
                      <a:pt x="267942" y="43655"/>
                      <a:pt x="267942" y="58924"/>
                    </a:cubicBezTo>
                    <a:cubicBezTo>
                      <a:pt x="267942" y="60136"/>
                      <a:pt x="268037" y="63736"/>
                      <a:pt x="268192" y="64924"/>
                    </a:cubicBezTo>
                    <a:lnTo>
                      <a:pt x="241089" y="64924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475" name="Forma livre: Forma 1474">
                <a:extLst>
                  <a:ext uri="{FF2B5EF4-FFF2-40B4-BE49-F238E27FC236}">
                    <a16:creationId xmlns:a16="http://schemas.microsoft.com/office/drawing/2014/main" id="{7C3C3E61-E989-B49E-A38D-99109B5B7332}"/>
                  </a:ext>
                </a:extLst>
              </p:cNvPr>
              <p:cNvSpPr/>
              <p:nvPr/>
            </p:nvSpPr>
            <p:spPr>
              <a:xfrm>
                <a:off x="3228049" y="4736128"/>
                <a:ext cx="93631" cy="84826"/>
              </a:xfrm>
              <a:custGeom>
                <a:avLst/>
                <a:gdLst>
                  <a:gd name="connsiteX0" fmla="*/ 93631 w 93631"/>
                  <a:gd name="connsiteY0" fmla="*/ 0 h 84826"/>
                  <a:gd name="connsiteX1" fmla="*/ 17633 w 93631"/>
                  <a:gd name="connsiteY1" fmla="*/ 0 h 84826"/>
                  <a:gd name="connsiteX2" fmla="*/ 0 w 93631"/>
                  <a:gd name="connsiteY2" fmla="*/ 18394 h 84826"/>
                  <a:gd name="connsiteX3" fmla="*/ 17633 w 93631"/>
                  <a:gd name="connsiteY3" fmla="*/ 36763 h 84826"/>
                  <a:gd name="connsiteX4" fmla="*/ 51699 w 93631"/>
                  <a:gd name="connsiteY4" fmla="*/ 36763 h 84826"/>
                  <a:gd name="connsiteX5" fmla="*/ 65411 w 93631"/>
                  <a:gd name="connsiteY5" fmla="*/ 50879 h 84826"/>
                  <a:gd name="connsiteX6" fmla="*/ 51699 w 93631"/>
                  <a:gd name="connsiteY6" fmla="*/ 65043 h 84826"/>
                  <a:gd name="connsiteX7" fmla="*/ 36751 w 93631"/>
                  <a:gd name="connsiteY7" fmla="*/ 65043 h 84826"/>
                  <a:gd name="connsiteX8" fmla="*/ 23039 w 93631"/>
                  <a:gd name="connsiteY8" fmla="*/ 78755 h 84826"/>
                  <a:gd name="connsiteX9" fmla="*/ 23039 w 93631"/>
                  <a:gd name="connsiteY9" fmla="*/ 84827 h 848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93631" h="84826">
                    <a:moveTo>
                      <a:pt x="93631" y="0"/>
                    </a:moveTo>
                    <a:lnTo>
                      <a:pt x="17633" y="0"/>
                    </a:lnTo>
                    <a:cubicBezTo>
                      <a:pt x="7937" y="0"/>
                      <a:pt x="0" y="8686"/>
                      <a:pt x="0" y="18394"/>
                    </a:cubicBezTo>
                    <a:cubicBezTo>
                      <a:pt x="0" y="28101"/>
                      <a:pt x="7937" y="36763"/>
                      <a:pt x="17633" y="36763"/>
                    </a:cubicBezTo>
                    <a:lnTo>
                      <a:pt x="51699" y="36763"/>
                    </a:lnTo>
                    <a:cubicBezTo>
                      <a:pt x="59232" y="36763"/>
                      <a:pt x="65411" y="43322"/>
                      <a:pt x="65411" y="50879"/>
                    </a:cubicBezTo>
                    <a:cubicBezTo>
                      <a:pt x="65411" y="58436"/>
                      <a:pt x="59232" y="65043"/>
                      <a:pt x="51699" y="65043"/>
                    </a:cubicBezTo>
                    <a:lnTo>
                      <a:pt x="36751" y="65043"/>
                    </a:lnTo>
                    <a:cubicBezTo>
                      <a:pt x="29194" y="65043"/>
                      <a:pt x="23039" y="71222"/>
                      <a:pt x="23039" y="78755"/>
                    </a:cubicBezTo>
                    <a:lnTo>
                      <a:pt x="23039" y="84827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476" name="Gráfico 14">
            <a:extLst>
              <a:ext uri="{FF2B5EF4-FFF2-40B4-BE49-F238E27FC236}">
                <a16:creationId xmlns:a16="http://schemas.microsoft.com/office/drawing/2014/main" id="{2C0C4058-7C2C-174F-B118-060EB44DE376}"/>
              </a:ext>
            </a:extLst>
          </p:cNvPr>
          <p:cNvGrpSpPr/>
          <p:nvPr/>
        </p:nvGrpSpPr>
        <p:grpSpPr>
          <a:xfrm>
            <a:off x="3196633" y="5784050"/>
            <a:ext cx="287690" cy="285242"/>
            <a:chOff x="3196633" y="5784050"/>
            <a:chExt cx="287690" cy="285242"/>
          </a:xfrm>
        </p:grpSpPr>
        <p:sp>
          <p:nvSpPr>
            <p:cNvPr id="1477" name="Forma livre: Forma 1476">
              <a:extLst>
                <a:ext uri="{FF2B5EF4-FFF2-40B4-BE49-F238E27FC236}">
                  <a16:creationId xmlns:a16="http://schemas.microsoft.com/office/drawing/2014/main" id="{22D1F827-299F-F58B-0D4C-C0D1D4D69983}"/>
                </a:ext>
              </a:extLst>
            </p:cNvPr>
            <p:cNvSpPr/>
            <p:nvPr/>
          </p:nvSpPr>
          <p:spPr>
            <a:xfrm>
              <a:off x="3367676" y="5928074"/>
              <a:ext cx="116646" cy="141219"/>
            </a:xfrm>
            <a:custGeom>
              <a:avLst/>
              <a:gdLst>
                <a:gd name="connsiteX0" fmla="*/ 14163 w 116646"/>
                <a:gd name="connsiteY0" fmla="*/ 12 h 141219"/>
                <a:gd name="connsiteX1" fmla="*/ 102483 w 116646"/>
                <a:gd name="connsiteY1" fmla="*/ 12 h 141219"/>
                <a:gd name="connsiteX2" fmla="*/ 116647 w 116646"/>
                <a:gd name="connsiteY2" fmla="*/ 14175 h 141219"/>
                <a:gd name="connsiteX3" fmla="*/ 116647 w 116646"/>
                <a:gd name="connsiteY3" fmla="*/ 127056 h 141219"/>
                <a:gd name="connsiteX4" fmla="*/ 102483 w 116646"/>
                <a:gd name="connsiteY4" fmla="*/ 141219 h 141219"/>
                <a:gd name="connsiteX5" fmla="*/ 14163 w 116646"/>
                <a:gd name="connsiteY5" fmla="*/ 141219 h 141219"/>
                <a:gd name="connsiteX6" fmla="*/ 0 w 116646"/>
                <a:gd name="connsiteY6" fmla="*/ 127056 h 141219"/>
                <a:gd name="connsiteX7" fmla="*/ 0 w 116646"/>
                <a:gd name="connsiteY7" fmla="*/ 14175 h 141219"/>
                <a:gd name="connsiteX8" fmla="*/ 14175 w 116646"/>
                <a:gd name="connsiteY8" fmla="*/ 0 h 1412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6646" h="141219">
                  <a:moveTo>
                    <a:pt x="14163" y="12"/>
                  </a:moveTo>
                  <a:lnTo>
                    <a:pt x="102483" y="12"/>
                  </a:lnTo>
                  <a:cubicBezTo>
                    <a:pt x="110302" y="12"/>
                    <a:pt x="116647" y="6357"/>
                    <a:pt x="116647" y="14175"/>
                  </a:cubicBezTo>
                  <a:lnTo>
                    <a:pt x="116647" y="127056"/>
                  </a:lnTo>
                  <a:cubicBezTo>
                    <a:pt x="116647" y="134874"/>
                    <a:pt x="110302" y="141219"/>
                    <a:pt x="102483" y="141219"/>
                  </a:cubicBezTo>
                  <a:lnTo>
                    <a:pt x="14163" y="141219"/>
                  </a:lnTo>
                  <a:cubicBezTo>
                    <a:pt x="6345" y="141219"/>
                    <a:pt x="0" y="134874"/>
                    <a:pt x="0" y="127056"/>
                  </a:cubicBezTo>
                  <a:lnTo>
                    <a:pt x="0" y="14175"/>
                  </a:lnTo>
                  <a:cubicBezTo>
                    <a:pt x="0" y="6357"/>
                    <a:pt x="6345" y="0"/>
                    <a:pt x="14175" y="0"/>
                  </a:cubicBez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478" name="Gráfico 14">
              <a:extLst>
                <a:ext uri="{FF2B5EF4-FFF2-40B4-BE49-F238E27FC236}">
                  <a16:creationId xmlns:a16="http://schemas.microsoft.com/office/drawing/2014/main" id="{79E5C44C-DB30-A308-EE06-C0161C807E78}"/>
                </a:ext>
              </a:extLst>
            </p:cNvPr>
            <p:cNvGrpSpPr/>
            <p:nvPr/>
          </p:nvGrpSpPr>
          <p:grpSpPr>
            <a:xfrm>
              <a:off x="3406460" y="5954595"/>
              <a:ext cx="39080" cy="89484"/>
              <a:chOff x="3406460" y="5954595"/>
              <a:chExt cx="39080" cy="89484"/>
            </a:xfrm>
          </p:grpSpPr>
          <p:sp>
            <p:nvSpPr>
              <p:cNvPr id="1479" name="Forma livre: Forma 1478">
                <a:extLst>
                  <a:ext uri="{FF2B5EF4-FFF2-40B4-BE49-F238E27FC236}">
                    <a16:creationId xmlns:a16="http://schemas.microsoft.com/office/drawing/2014/main" id="{C4B6B1B5-50CD-088F-C2CE-111558BB476F}"/>
                  </a:ext>
                </a:extLst>
              </p:cNvPr>
              <p:cNvSpPr/>
              <p:nvPr/>
            </p:nvSpPr>
            <p:spPr>
              <a:xfrm>
                <a:off x="3406460" y="5954595"/>
                <a:ext cx="1188" cy="89484"/>
              </a:xfrm>
              <a:custGeom>
                <a:avLst/>
                <a:gdLst>
                  <a:gd name="connsiteX0" fmla="*/ 0 w 1188"/>
                  <a:gd name="connsiteY0" fmla="*/ 0 h 89484"/>
                  <a:gd name="connsiteX1" fmla="*/ 0 w 1188"/>
                  <a:gd name="connsiteY1" fmla="*/ 89484 h 894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88" h="89484">
                    <a:moveTo>
                      <a:pt x="0" y="0"/>
                    </a:moveTo>
                    <a:lnTo>
                      <a:pt x="0" y="89484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480" name="Forma livre: Forma 1479">
                <a:extLst>
                  <a:ext uri="{FF2B5EF4-FFF2-40B4-BE49-F238E27FC236}">
                    <a16:creationId xmlns:a16="http://schemas.microsoft.com/office/drawing/2014/main" id="{DE2BDC66-74F5-AF87-6158-EE2E2E768C42}"/>
                  </a:ext>
                </a:extLst>
              </p:cNvPr>
              <p:cNvSpPr/>
              <p:nvPr/>
            </p:nvSpPr>
            <p:spPr>
              <a:xfrm>
                <a:off x="3445540" y="5954595"/>
                <a:ext cx="1188" cy="89484"/>
              </a:xfrm>
              <a:custGeom>
                <a:avLst/>
                <a:gdLst>
                  <a:gd name="connsiteX0" fmla="*/ 0 w 1188"/>
                  <a:gd name="connsiteY0" fmla="*/ 0 h 89484"/>
                  <a:gd name="connsiteX1" fmla="*/ 0 w 1188"/>
                  <a:gd name="connsiteY1" fmla="*/ 89484 h 894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88" h="89484">
                    <a:moveTo>
                      <a:pt x="0" y="0"/>
                    </a:moveTo>
                    <a:lnTo>
                      <a:pt x="0" y="89484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481" name="Forma livre: Forma 1480">
              <a:extLst>
                <a:ext uri="{FF2B5EF4-FFF2-40B4-BE49-F238E27FC236}">
                  <a16:creationId xmlns:a16="http://schemas.microsoft.com/office/drawing/2014/main" id="{1B22F0BC-62DC-1F38-6FAD-EC7B5846E501}"/>
                </a:ext>
              </a:extLst>
            </p:cNvPr>
            <p:cNvSpPr/>
            <p:nvPr/>
          </p:nvSpPr>
          <p:spPr>
            <a:xfrm>
              <a:off x="3371250" y="5864504"/>
              <a:ext cx="109510" cy="38438"/>
            </a:xfrm>
            <a:custGeom>
              <a:avLst/>
              <a:gdLst>
                <a:gd name="connsiteX0" fmla="*/ 54791 w 109510"/>
                <a:gd name="connsiteY0" fmla="*/ 0 h 38438"/>
                <a:gd name="connsiteX1" fmla="*/ 87087 w 109510"/>
                <a:gd name="connsiteY1" fmla="*/ 6072 h 38438"/>
                <a:gd name="connsiteX2" fmla="*/ 104221 w 109510"/>
                <a:gd name="connsiteY2" fmla="*/ 38439 h 38438"/>
                <a:gd name="connsiteX3" fmla="*/ 5290 w 109510"/>
                <a:gd name="connsiteY3" fmla="*/ 38439 h 38438"/>
                <a:gd name="connsiteX4" fmla="*/ 22424 w 109510"/>
                <a:gd name="connsiteY4" fmla="*/ 6072 h 38438"/>
                <a:gd name="connsiteX5" fmla="*/ 54720 w 109510"/>
                <a:gd name="connsiteY5" fmla="*/ 0 h 38438"/>
                <a:gd name="connsiteX6" fmla="*/ 54791 w 109510"/>
                <a:gd name="connsiteY6" fmla="*/ 0 h 384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9510" h="38438">
                  <a:moveTo>
                    <a:pt x="54791" y="0"/>
                  </a:moveTo>
                  <a:cubicBezTo>
                    <a:pt x="73909" y="0"/>
                    <a:pt x="87087" y="6072"/>
                    <a:pt x="87087" y="6072"/>
                  </a:cubicBezTo>
                  <a:cubicBezTo>
                    <a:pt x="123993" y="21245"/>
                    <a:pt x="104221" y="38439"/>
                    <a:pt x="104221" y="38439"/>
                  </a:cubicBezTo>
                  <a:lnTo>
                    <a:pt x="5290" y="38439"/>
                  </a:lnTo>
                  <a:cubicBezTo>
                    <a:pt x="5290" y="38439"/>
                    <a:pt x="-14482" y="21245"/>
                    <a:pt x="22424" y="6072"/>
                  </a:cubicBezTo>
                  <a:cubicBezTo>
                    <a:pt x="22424" y="6072"/>
                    <a:pt x="35601" y="0"/>
                    <a:pt x="54720" y="0"/>
                  </a:cubicBezTo>
                  <a:lnTo>
                    <a:pt x="54791" y="0"/>
                  </a:ln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482" name="Gráfico 14">
              <a:extLst>
                <a:ext uri="{FF2B5EF4-FFF2-40B4-BE49-F238E27FC236}">
                  <a16:creationId xmlns:a16="http://schemas.microsoft.com/office/drawing/2014/main" id="{50B4D990-EEF3-89D7-8B9D-5D2353764860}"/>
                </a:ext>
              </a:extLst>
            </p:cNvPr>
            <p:cNvGrpSpPr/>
            <p:nvPr/>
          </p:nvGrpSpPr>
          <p:grpSpPr>
            <a:xfrm>
              <a:off x="3379677" y="5903347"/>
              <a:ext cx="92656" cy="24607"/>
              <a:chOff x="3379677" y="5903347"/>
              <a:chExt cx="92656" cy="24607"/>
            </a:xfrm>
          </p:grpSpPr>
          <p:sp>
            <p:nvSpPr>
              <p:cNvPr id="1483" name="Forma livre: Forma 1482">
                <a:extLst>
                  <a:ext uri="{FF2B5EF4-FFF2-40B4-BE49-F238E27FC236}">
                    <a16:creationId xmlns:a16="http://schemas.microsoft.com/office/drawing/2014/main" id="{A717CD99-5545-6093-8687-63424760D94B}"/>
                  </a:ext>
                </a:extLst>
              </p:cNvPr>
              <p:cNvSpPr/>
              <p:nvPr/>
            </p:nvSpPr>
            <p:spPr>
              <a:xfrm>
                <a:off x="3379677" y="5903347"/>
                <a:ext cx="1188" cy="24607"/>
              </a:xfrm>
              <a:custGeom>
                <a:avLst/>
                <a:gdLst>
                  <a:gd name="connsiteX0" fmla="*/ 0 w 1188"/>
                  <a:gd name="connsiteY0" fmla="*/ 0 h 24607"/>
                  <a:gd name="connsiteX1" fmla="*/ 0 w 1188"/>
                  <a:gd name="connsiteY1" fmla="*/ 24608 h 246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88" h="24607">
                    <a:moveTo>
                      <a:pt x="0" y="0"/>
                    </a:moveTo>
                    <a:lnTo>
                      <a:pt x="0" y="24608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484" name="Forma livre: Forma 1483">
                <a:extLst>
                  <a:ext uri="{FF2B5EF4-FFF2-40B4-BE49-F238E27FC236}">
                    <a16:creationId xmlns:a16="http://schemas.microsoft.com/office/drawing/2014/main" id="{98E6B933-C0C2-6657-703C-D953B3D13912}"/>
                  </a:ext>
                </a:extLst>
              </p:cNvPr>
              <p:cNvSpPr/>
              <p:nvPr/>
            </p:nvSpPr>
            <p:spPr>
              <a:xfrm>
                <a:off x="3472334" y="5903347"/>
                <a:ext cx="1188" cy="24607"/>
              </a:xfrm>
              <a:custGeom>
                <a:avLst/>
                <a:gdLst>
                  <a:gd name="connsiteX0" fmla="*/ 0 w 1188"/>
                  <a:gd name="connsiteY0" fmla="*/ 0 h 24607"/>
                  <a:gd name="connsiteX1" fmla="*/ 0 w 1188"/>
                  <a:gd name="connsiteY1" fmla="*/ 24608 h 246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88" h="24607">
                    <a:moveTo>
                      <a:pt x="0" y="0"/>
                    </a:moveTo>
                    <a:lnTo>
                      <a:pt x="0" y="24608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485" name="Gráfico 14">
              <a:extLst>
                <a:ext uri="{FF2B5EF4-FFF2-40B4-BE49-F238E27FC236}">
                  <a16:creationId xmlns:a16="http://schemas.microsoft.com/office/drawing/2014/main" id="{E4AF4476-AF04-5EA9-505C-CD58CB03A4DC}"/>
                </a:ext>
              </a:extLst>
            </p:cNvPr>
            <p:cNvGrpSpPr/>
            <p:nvPr/>
          </p:nvGrpSpPr>
          <p:grpSpPr>
            <a:xfrm>
              <a:off x="3196633" y="5784050"/>
              <a:ext cx="138153" cy="285159"/>
              <a:chOff x="3196633" y="5784050"/>
              <a:chExt cx="138153" cy="285159"/>
            </a:xfrm>
            <a:noFill/>
          </p:grpSpPr>
          <p:sp>
            <p:nvSpPr>
              <p:cNvPr id="1486" name="Forma livre: Forma 1485">
                <a:extLst>
                  <a:ext uri="{FF2B5EF4-FFF2-40B4-BE49-F238E27FC236}">
                    <a16:creationId xmlns:a16="http://schemas.microsoft.com/office/drawing/2014/main" id="{06F5D1DB-37E8-4979-EB4B-A8BA280E1986}"/>
                  </a:ext>
                </a:extLst>
              </p:cNvPr>
              <p:cNvSpPr/>
              <p:nvPr/>
            </p:nvSpPr>
            <p:spPr>
              <a:xfrm>
                <a:off x="3211883" y="5808741"/>
                <a:ext cx="107623" cy="71779"/>
              </a:xfrm>
              <a:custGeom>
                <a:avLst/>
                <a:gdLst>
                  <a:gd name="connsiteX0" fmla="*/ 101492 w 107623"/>
                  <a:gd name="connsiteY0" fmla="*/ 24703 h 71779"/>
                  <a:gd name="connsiteX1" fmla="*/ 55485 w 107623"/>
                  <a:gd name="connsiteY1" fmla="*/ 0 h 71779"/>
                  <a:gd name="connsiteX2" fmla="*/ 52158 w 107623"/>
                  <a:gd name="connsiteY2" fmla="*/ 0 h 71779"/>
                  <a:gd name="connsiteX3" fmla="*/ 6150 w 107623"/>
                  <a:gd name="connsiteY3" fmla="*/ 24703 h 71779"/>
                  <a:gd name="connsiteX4" fmla="*/ 8289 w 107623"/>
                  <a:gd name="connsiteY4" fmla="*/ 71780 h 71779"/>
                  <a:gd name="connsiteX5" fmla="*/ 99330 w 107623"/>
                  <a:gd name="connsiteY5" fmla="*/ 71780 h 71779"/>
                  <a:gd name="connsiteX6" fmla="*/ 101469 w 107623"/>
                  <a:gd name="connsiteY6" fmla="*/ 24703 h 717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07623" h="71779">
                    <a:moveTo>
                      <a:pt x="101492" y="24703"/>
                    </a:moveTo>
                    <a:cubicBezTo>
                      <a:pt x="101492" y="24703"/>
                      <a:pt x="87507" y="0"/>
                      <a:pt x="55485" y="0"/>
                    </a:cubicBezTo>
                    <a:lnTo>
                      <a:pt x="52158" y="0"/>
                    </a:lnTo>
                    <a:cubicBezTo>
                      <a:pt x="20135" y="0"/>
                      <a:pt x="6150" y="24703"/>
                      <a:pt x="6150" y="24703"/>
                    </a:cubicBezTo>
                    <a:cubicBezTo>
                      <a:pt x="-7146" y="47184"/>
                      <a:pt x="4724" y="68168"/>
                      <a:pt x="8289" y="71780"/>
                    </a:cubicBezTo>
                    <a:lnTo>
                      <a:pt x="99330" y="71780"/>
                    </a:lnTo>
                    <a:cubicBezTo>
                      <a:pt x="102894" y="68168"/>
                      <a:pt x="114777" y="47184"/>
                      <a:pt x="101469" y="24703"/>
                    </a:cubicBezTo>
                    <a:close/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487" name="Forma livre: Forma 1486">
                <a:extLst>
                  <a:ext uri="{FF2B5EF4-FFF2-40B4-BE49-F238E27FC236}">
                    <a16:creationId xmlns:a16="http://schemas.microsoft.com/office/drawing/2014/main" id="{1F5E7F88-16A8-B171-3115-322C69FEE87D}"/>
                  </a:ext>
                </a:extLst>
              </p:cNvPr>
              <p:cNvSpPr/>
              <p:nvPr/>
            </p:nvSpPr>
            <p:spPr>
              <a:xfrm>
                <a:off x="3257267" y="5784050"/>
                <a:ext cx="16884" cy="1188"/>
              </a:xfrm>
              <a:custGeom>
                <a:avLst/>
                <a:gdLst>
                  <a:gd name="connsiteX0" fmla="*/ 0 w 16884"/>
                  <a:gd name="connsiteY0" fmla="*/ 0 h 1188"/>
                  <a:gd name="connsiteX1" fmla="*/ 16885 w 16884"/>
                  <a:gd name="connsiteY1" fmla="*/ 0 h 11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6884" h="1188">
                    <a:moveTo>
                      <a:pt x="0" y="0"/>
                    </a:moveTo>
                    <a:lnTo>
                      <a:pt x="16885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1488" name="Gráfico 14">
                <a:extLst>
                  <a:ext uri="{FF2B5EF4-FFF2-40B4-BE49-F238E27FC236}">
                    <a16:creationId xmlns:a16="http://schemas.microsoft.com/office/drawing/2014/main" id="{0711FC48-18CE-6785-8E42-F495E9F5EA23}"/>
                  </a:ext>
                </a:extLst>
              </p:cNvPr>
              <p:cNvGrpSpPr/>
              <p:nvPr/>
            </p:nvGrpSpPr>
            <p:grpSpPr>
              <a:xfrm>
                <a:off x="3199921" y="5901826"/>
                <a:ext cx="131589" cy="126806"/>
                <a:chOff x="3199921" y="5901826"/>
                <a:chExt cx="131589" cy="126806"/>
              </a:xfrm>
              <a:noFill/>
            </p:grpSpPr>
            <p:sp>
              <p:nvSpPr>
                <p:cNvPr id="1489" name="Forma livre: Forma 1488">
                  <a:extLst>
                    <a:ext uri="{FF2B5EF4-FFF2-40B4-BE49-F238E27FC236}">
                      <a16:creationId xmlns:a16="http://schemas.microsoft.com/office/drawing/2014/main" id="{B29B2A13-9F7A-5AD8-05BA-7E629884890F}"/>
                    </a:ext>
                  </a:extLst>
                </p:cNvPr>
                <p:cNvSpPr/>
                <p:nvPr/>
              </p:nvSpPr>
              <p:spPr>
                <a:xfrm>
                  <a:off x="3257992" y="5901826"/>
                  <a:ext cx="73517" cy="126806"/>
                </a:xfrm>
                <a:custGeom>
                  <a:avLst/>
                  <a:gdLst>
                    <a:gd name="connsiteX0" fmla="*/ 0 w 73517"/>
                    <a:gd name="connsiteY0" fmla="*/ 126806 h 126806"/>
                    <a:gd name="connsiteX1" fmla="*/ 62643 w 73517"/>
                    <a:gd name="connsiteY1" fmla="*/ 126806 h 126806"/>
                    <a:gd name="connsiteX2" fmla="*/ 73515 w 73517"/>
                    <a:gd name="connsiteY2" fmla="*/ 94974 h 126806"/>
                    <a:gd name="connsiteX3" fmla="*/ 48503 w 73517"/>
                    <a:gd name="connsiteY3" fmla="*/ 44047 h 126806"/>
                    <a:gd name="connsiteX4" fmla="*/ 39532 w 73517"/>
                    <a:gd name="connsiteY4" fmla="*/ 0 h 12680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73517" h="126806">
                      <a:moveTo>
                        <a:pt x="0" y="126806"/>
                      </a:moveTo>
                      <a:lnTo>
                        <a:pt x="62643" y="126806"/>
                      </a:lnTo>
                      <a:cubicBezTo>
                        <a:pt x="68988" y="118655"/>
                        <a:pt x="73337" y="108389"/>
                        <a:pt x="73515" y="94974"/>
                      </a:cubicBezTo>
                      <a:cubicBezTo>
                        <a:pt x="73752" y="77103"/>
                        <a:pt x="59922" y="60896"/>
                        <a:pt x="48503" y="44047"/>
                      </a:cubicBezTo>
                      <a:cubicBezTo>
                        <a:pt x="40506" y="32224"/>
                        <a:pt x="39449" y="11407"/>
                        <a:pt x="39532" y="0"/>
                      </a:cubicBez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490" name="Forma livre: Forma 1489">
                  <a:extLst>
                    <a:ext uri="{FF2B5EF4-FFF2-40B4-BE49-F238E27FC236}">
                      <a16:creationId xmlns:a16="http://schemas.microsoft.com/office/drawing/2014/main" id="{96EA0401-1CB6-950F-E6AF-CD8E967273C7}"/>
                    </a:ext>
                  </a:extLst>
                </p:cNvPr>
                <p:cNvSpPr/>
                <p:nvPr/>
              </p:nvSpPr>
              <p:spPr>
                <a:xfrm>
                  <a:off x="3199921" y="5902004"/>
                  <a:ext cx="33977" cy="126627"/>
                </a:xfrm>
                <a:custGeom>
                  <a:avLst/>
                  <a:gdLst>
                    <a:gd name="connsiteX0" fmla="*/ 33974 w 33977"/>
                    <a:gd name="connsiteY0" fmla="*/ 0 h 126627"/>
                    <a:gd name="connsiteX1" fmla="*/ 25003 w 33977"/>
                    <a:gd name="connsiteY1" fmla="*/ 43869 h 126627"/>
                    <a:gd name="connsiteX2" fmla="*/ 3 w 33977"/>
                    <a:gd name="connsiteY2" fmla="*/ 94796 h 126627"/>
                    <a:gd name="connsiteX3" fmla="*/ 10864 w 33977"/>
                    <a:gd name="connsiteY3" fmla="*/ 126628 h 126627"/>
                    <a:gd name="connsiteX4" fmla="*/ 32988 w 33977"/>
                    <a:gd name="connsiteY4" fmla="*/ 126628 h 12662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3977" h="126627">
                      <a:moveTo>
                        <a:pt x="33974" y="0"/>
                      </a:moveTo>
                      <a:cubicBezTo>
                        <a:pt x="34046" y="11443"/>
                        <a:pt x="32952" y="32117"/>
                        <a:pt x="25003" y="43869"/>
                      </a:cubicBezTo>
                      <a:cubicBezTo>
                        <a:pt x="13585" y="60718"/>
                        <a:pt x="-246" y="76925"/>
                        <a:pt x="3" y="94796"/>
                      </a:cubicBezTo>
                      <a:cubicBezTo>
                        <a:pt x="182" y="108199"/>
                        <a:pt x="4530" y="118477"/>
                        <a:pt x="10864" y="126628"/>
                      </a:cubicBezTo>
                      <a:lnTo>
                        <a:pt x="32988" y="126628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1491" name="Forma livre: Forma 1490">
                <a:extLst>
                  <a:ext uri="{FF2B5EF4-FFF2-40B4-BE49-F238E27FC236}">
                    <a16:creationId xmlns:a16="http://schemas.microsoft.com/office/drawing/2014/main" id="{571218DB-FA9B-58DB-1E31-B6E305A6D47D}"/>
                  </a:ext>
                </a:extLst>
              </p:cNvPr>
              <p:cNvSpPr/>
              <p:nvPr/>
            </p:nvSpPr>
            <p:spPr>
              <a:xfrm>
                <a:off x="3196633" y="6028751"/>
                <a:ext cx="138153" cy="40458"/>
              </a:xfrm>
              <a:custGeom>
                <a:avLst/>
                <a:gdLst>
                  <a:gd name="connsiteX0" fmla="*/ 122303 w 138153"/>
                  <a:gd name="connsiteY0" fmla="*/ 0 h 40458"/>
                  <a:gd name="connsiteX1" fmla="*/ 138154 w 138153"/>
                  <a:gd name="connsiteY1" fmla="*/ 40459 h 40458"/>
                  <a:gd name="connsiteX2" fmla="*/ 0 w 138153"/>
                  <a:gd name="connsiteY2" fmla="*/ 40459 h 40458"/>
                  <a:gd name="connsiteX3" fmla="*/ 15851 w 138153"/>
                  <a:gd name="connsiteY3" fmla="*/ 0 h 404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38153" h="40458">
                    <a:moveTo>
                      <a:pt x="122303" y="0"/>
                    </a:moveTo>
                    <a:cubicBezTo>
                      <a:pt x="122303" y="0"/>
                      <a:pt x="138154" y="17633"/>
                      <a:pt x="138154" y="40459"/>
                    </a:cubicBezTo>
                    <a:lnTo>
                      <a:pt x="0" y="40459"/>
                    </a:lnTo>
                    <a:cubicBezTo>
                      <a:pt x="0" y="17633"/>
                      <a:pt x="15851" y="0"/>
                      <a:pt x="15851" y="0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492" name="Gráfico 14">
              <a:extLst>
                <a:ext uri="{FF2B5EF4-FFF2-40B4-BE49-F238E27FC236}">
                  <a16:creationId xmlns:a16="http://schemas.microsoft.com/office/drawing/2014/main" id="{756EF092-A9D9-87B7-F70A-5C47D6AF68CC}"/>
                </a:ext>
              </a:extLst>
            </p:cNvPr>
            <p:cNvGrpSpPr/>
            <p:nvPr/>
          </p:nvGrpSpPr>
          <p:grpSpPr>
            <a:xfrm>
              <a:off x="3403798" y="5873392"/>
              <a:ext cx="44403" cy="7355"/>
              <a:chOff x="3403798" y="5873392"/>
              <a:chExt cx="44403" cy="7355"/>
            </a:xfrm>
            <a:solidFill>
              <a:srgbClr val="394553"/>
            </a:solidFill>
          </p:grpSpPr>
          <p:sp>
            <p:nvSpPr>
              <p:cNvPr id="1493" name="Forma livre: Forma 1492">
                <a:extLst>
                  <a:ext uri="{FF2B5EF4-FFF2-40B4-BE49-F238E27FC236}">
                    <a16:creationId xmlns:a16="http://schemas.microsoft.com/office/drawing/2014/main" id="{206D6EFF-6926-3F3A-AAE9-92423096C911}"/>
                  </a:ext>
                </a:extLst>
              </p:cNvPr>
              <p:cNvSpPr/>
              <p:nvPr/>
            </p:nvSpPr>
            <p:spPr>
              <a:xfrm>
                <a:off x="3440847" y="5873392"/>
                <a:ext cx="7354" cy="7355"/>
              </a:xfrm>
              <a:custGeom>
                <a:avLst/>
                <a:gdLst>
                  <a:gd name="connsiteX0" fmla="*/ 7355 w 7354"/>
                  <a:gd name="connsiteY0" fmla="*/ 3684 h 7355"/>
                  <a:gd name="connsiteX1" fmla="*/ 3683 w 7354"/>
                  <a:gd name="connsiteY1" fmla="*/ 7355 h 7355"/>
                  <a:gd name="connsiteX2" fmla="*/ 0 w 7354"/>
                  <a:gd name="connsiteY2" fmla="*/ 3684 h 7355"/>
                  <a:gd name="connsiteX3" fmla="*/ 3683 w 7354"/>
                  <a:gd name="connsiteY3" fmla="*/ 0 h 7355"/>
                  <a:gd name="connsiteX4" fmla="*/ 7355 w 7354"/>
                  <a:gd name="connsiteY4" fmla="*/ 3684 h 73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354" h="7355">
                    <a:moveTo>
                      <a:pt x="7355" y="3684"/>
                    </a:moveTo>
                    <a:cubicBezTo>
                      <a:pt x="7355" y="5715"/>
                      <a:pt x="5715" y="7355"/>
                      <a:pt x="3683" y="7355"/>
                    </a:cubicBezTo>
                    <a:cubicBezTo>
                      <a:pt x="1652" y="7355"/>
                      <a:pt x="0" y="5715"/>
                      <a:pt x="0" y="3684"/>
                    </a:cubicBezTo>
                    <a:cubicBezTo>
                      <a:pt x="0" y="1652"/>
                      <a:pt x="1652" y="0"/>
                      <a:pt x="3683" y="0"/>
                    </a:cubicBezTo>
                    <a:cubicBezTo>
                      <a:pt x="5715" y="0"/>
                      <a:pt x="7355" y="1640"/>
                      <a:pt x="7355" y="3684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494" name="Forma livre: Forma 1493">
                <a:extLst>
                  <a:ext uri="{FF2B5EF4-FFF2-40B4-BE49-F238E27FC236}">
                    <a16:creationId xmlns:a16="http://schemas.microsoft.com/office/drawing/2014/main" id="{54EB5070-10C5-199A-26EB-CCDAF37F299C}"/>
                  </a:ext>
                </a:extLst>
              </p:cNvPr>
              <p:cNvSpPr/>
              <p:nvPr/>
            </p:nvSpPr>
            <p:spPr>
              <a:xfrm>
                <a:off x="3403798" y="5873392"/>
                <a:ext cx="7366" cy="7355"/>
              </a:xfrm>
              <a:custGeom>
                <a:avLst/>
                <a:gdLst>
                  <a:gd name="connsiteX0" fmla="*/ 7367 w 7366"/>
                  <a:gd name="connsiteY0" fmla="*/ 3684 h 7355"/>
                  <a:gd name="connsiteX1" fmla="*/ 3684 w 7366"/>
                  <a:gd name="connsiteY1" fmla="*/ 7355 h 7355"/>
                  <a:gd name="connsiteX2" fmla="*/ 0 w 7366"/>
                  <a:gd name="connsiteY2" fmla="*/ 3684 h 7355"/>
                  <a:gd name="connsiteX3" fmla="*/ 3684 w 7366"/>
                  <a:gd name="connsiteY3" fmla="*/ 0 h 7355"/>
                  <a:gd name="connsiteX4" fmla="*/ 7367 w 7366"/>
                  <a:gd name="connsiteY4" fmla="*/ 3684 h 73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366" h="7355">
                    <a:moveTo>
                      <a:pt x="7367" y="3684"/>
                    </a:moveTo>
                    <a:cubicBezTo>
                      <a:pt x="7367" y="5715"/>
                      <a:pt x="5727" y="7355"/>
                      <a:pt x="3684" y="7355"/>
                    </a:cubicBezTo>
                    <a:cubicBezTo>
                      <a:pt x="1640" y="7355"/>
                      <a:pt x="0" y="5715"/>
                      <a:pt x="0" y="3684"/>
                    </a:cubicBezTo>
                    <a:cubicBezTo>
                      <a:pt x="0" y="1652"/>
                      <a:pt x="1652" y="0"/>
                      <a:pt x="3684" y="0"/>
                    </a:cubicBezTo>
                    <a:cubicBezTo>
                      <a:pt x="5715" y="0"/>
                      <a:pt x="7367" y="1640"/>
                      <a:pt x="7367" y="3684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495" name="Gráfico 14">
            <a:extLst>
              <a:ext uri="{FF2B5EF4-FFF2-40B4-BE49-F238E27FC236}">
                <a16:creationId xmlns:a16="http://schemas.microsoft.com/office/drawing/2014/main" id="{3030BC09-692D-8F50-5FE2-339CC9026E7D}"/>
              </a:ext>
            </a:extLst>
          </p:cNvPr>
          <p:cNvGrpSpPr/>
          <p:nvPr/>
        </p:nvGrpSpPr>
        <p:grpSpPr>
          <a:xfrm>
            <a:off x="3185036" y="4206542"/>
            <a:ext cx="310884" cy="292133"/>
            <a:chOff x="3185036" y="4206542"/>
            <a:chExt cx="310884" cy="292133"/>
          </a:xfrm>
        </p:grpSpPr>
        <p:sp>
          <p:nvSpPr>
            <p:cNvPr id="1496" name="Forma livre: Forma 1495">
              <a:extLst>
                <a:ext uri="{FF2B5EF4-FFF2-40B4-BE49-F238E27FC236}">
                  <a16:creationId xmlns:a16="http://schemas.microsoft.com/office/drawing/2014/main" id="{DC03D0E4-74D6-AC39-D22E-B4D4CD14CC78}"/>
                </a:ext>
              </a:extLst>
            </p:cNvPr>
            <p:cNvSpPr/>
            <p:nvPr/>
          </p:nvSpPr>
          <p:spPr>
            <a:xfrm>
              <a:off x="3227919" y="4237898"/>
              <a:ext cx="231048" cy="76782"/>
            </a:xfrm>
            <a:custGeom>
              <a:avLst/>
              <a:gdLst>
                <a:gd name="connsiteX0" fmla="*/ 0 w 231048"/>
                <a:gd name="connsiteY0" fmla="*/ 55490 h 76782"/>
                <a:gd name="connsiteX1" fmla="*/ 59232 w 231048"/>
                <a:gd name="connsiteY1" fmla="*/ 0 h 76782"/>
                <a:gd name="connsiteX2" fmla="*/ 171507 w 231048"/>
                <a:gd name="connsiteY2" fmla="*/ 0 h 76782"/>
                <a:gd name="connsiteX3" fmla="*/ 229587 w 231048"/>
                <a:gd name="connsiteY3" fmla="*/ 71162 h 76782"/>
                <a:gd name="connsiteX4" fmla="*/ 231048 w 231048"/>
                <a:gd name="connsiteY4" fmla="*/ 76782 h 767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1048" h="76782">
                  <a:moveTo>
                    <a:pt x="0" y="55490"/>
                  </a:moveTo>
                  <a:cubicBezTo>
                    <a:pt x="9731" y="22778"/>
                    <a:pt x="24002" y="0"/>
                    <a:pt x="59232" y="0"/>
                  </a:cubicBezTo>
                  <a:lnTo>
                    <a:pt x="171507" y="0"/>
                  </a:lnTo>
                  <a:cubicBezTo>
                    <a:pt x="212132" y="0"/>
                    <a:pt x="219309" y="30276"/>
                    <a:pt x="229587" y="71162"/>
                  </a:cubicBezTo>
                  <a:lnTo>
                    <a:pt x="231048" y="76782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497" name="Gráfico 14">
              <a:extLst>
                <a:ext uri="{FF2B5EF4-FFF2-40B4-BE49-F238E27FC236}">
                  <a16:creationId xmlns:a16="http://schemas.microsoft.com/office/drawing/2014/main" id="{4377CF9F-7CCA-97D6-44DD-D11FF5BE862E}"/>
                </a:ext>
              </a:extLst>
            </p:cNvPr>
            <p:cNvGrpSpPr/>
            <p:nvPr/>
          </p:nvGrpSpPr>
          <p:grpSpPr>
            <a:xfrm>
              <a:off x="3318163" y="4208347"/>
              <a:ext cx="44629" cy="29396"/>
              <a:chOff x="3318163" y="4208347"/>
              <a:chExt cx="44629" cy="29396"/>
            </a:xfrm>
          </p:grpSpPr>
          <p:sp>
            <p:nvSpPr>
              <p:cNvPr id="1498" name="Forma livre: Forma 1497">
                <a:extLst>
                  <a:ext uri="{FF2B5EF4-FFF2-40B4-BE49-F238E27FC236}">
                    <a16:creationId xmlns:a16="http://schemas.microsoft.com/office/drawing/2014/main" id="{D1B87AAB-AE42-2988-A919-4EEF738A7FAE}"/>
                  </a:ext>
                </a:extLst>
              </p:cNvPr>
              <p:cNvSpPr/>
              <p:nvPr/>
            </p:nvSpPr>
            <p:spPr>
              <a:xfrm>
                <a:off x="3318163" y="4208347"/>
                <a:ext cx="1188" cy="29396"/>
              </a:xfrm>
              <a:custGeom>
                <a:avLst/>
                <a:gdLst>
                  <a:gd name="connsiteX0" fmla="*/ 0 w 1188"/>
                  <a:gd name="connsiteY0" fmla="*/ 0 h 29396"/>
                  <a:gd name="connsiteX1" fmla="*/ 0 w 1188"/>
                  <a:gd name="connsiteY1" fmla="*/ 29396 h 293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88" h="29396">
                    <a:moveTo>
                      <a:pt x="0" y="0"/>
                    </a:moveTo>
                    <a:lnTo>
                      <a:pt x="0" y="29396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499" name="Forma livre: Forma 1498">
                <a:extLst>
                  <a:ext uri="{FF2B5EF4-FFF2-40B4-BE49-F238E27FC236}">
                    <a16:creationId xmlns:a16="http://schemas.microsoft.com/office/drawing/2014/main" id="{22FC9DAA-53B4-E82A-1B08-2D8938F9F942}"/>
                  </a:ext>
                </a:extLst>
              </p:cNvPr>
              <p:cNvSpPr/>
              <p:nvPr/>
            </p:nvSpPr>
            <p:spPr>
              <a:xfrm>
                <a:off x="3362793" y="4208466"/>
                <a:ext cx="1188" cy="29277"/>
              </a:xfrm>
              <a:custGeom>
                <a:avLst/>
                <a:gdLst>
                  <a:gd name="connsiteX0" fmla="*/ 0 w 1188"/>
                  <a:gd name="connsiteY0" fmla="*/ 0 h 29277"/>
                  <a:gd name="connsiteX1" fmla="*/ 0 w 1188"/>
                  <a:gd name="connsiteY1" fmla="*/ 29278 h 292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88" h="29277">
                    <a:moveTo>
                      <a:pt x="0" y="0"/>
                    </a:moveTo>
                    <a:lnTo>
                      <a:pt x="0" y="29278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500" name="Forma livre: Forma 1499">
              <a:extLst>
                <a:ext uri="{FF2B5EF4-FFF2-40B4-BE49-F238E27FC236}">
                  <a16:creationId xmlns:a16="http://schemas.microsoft.com/office/drawing/2014/main" id="{62EB8F03-3408-43CC-7462-CB30ED0DA865}"/>
                </a:ext>
              </a:extLst>
            </p:cNvPr>
            <p:cNvSpPr/>
            <p:nvPr/>
          </p:nvSpPr>
          <p:spPr>
            <a:xfrm>
              <a:off x="3304915" y="4206542"/>
              <a:ext cx="71126" cy="3622"/>
            </a:xfrm>
            <a:custGeom>
              <a:avLst/>
              <a:gdLst>
                <a:gd name="connsiteX0" fmla="*/ 0 w 71126"/>
                <a:gd name="connsiteY0" fmla="*/ 3623 h 3622"/>
                <a:gd name="connsiteX1" fmla="*/ 71126 w 71126"/>
                <a:gd name="connsiteY1" fmla="*/ 3623 h 36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1126" h="3622">
                  <a:moveTo>
                    <a:pt x="0" y="3623"/>
                  </a:moveTo>
                  <a:cubicBezTo>
                    <a:pt x="0" y="3623"/>
                    <a:pt x="29028" y="-4528"/>
                    <a:pt x="71126" y="3623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01" name="Forma livre: Forma 1500">
              <a:extLst>
                <a:ext uri="{FF2B5EF4-FFF2-40B4-BE49-F238E27FC236}">
                  <a16:creationId xmlns:a16="http://schemas.microsoft.com/office/drawing/2014/main" id="{294E5D08-1FAD-B63E-3DF8-AEA82F9FD4C4}"/>
                </a:ext>
              </a:extLst>
            </p:cNvPr>
            <p:cNvSpPr/>
            <p:nvPr/>
          </p:nvSpPr>
          <p:spPr>
            <a:xfrm>
              <a:off x="3256222" y="4458870"/>
              <a:ext cx="168524" cy="1188"/>
            </a:xfrm>
            <a:custGeom>
              <a:avLst/>
              <a:gdLst>
                <a:gd name="connsiteX0" fmla="*/ 0 w 168524"/>
                <a:gd name="connsiteY0" fmla="*/ 0 h 1188"/>
                <a:gd name="connsiteX1" fmla="*/ 168524 w 168524"/>
                <a:gd name="connsiteY1" fmla="*/ 0 h 11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68524" h="1188">
                  <a:moveTo>
                    <a:pt x="0" y="0"/>
                  </a:moveTo>
                  <a:lnTo>
                    <a:pt x="168524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02" name="Forma livre: Forma 1501">
              <a:extLst>
                <a:ext uri="{FF2B5EF4-FFF2-40B4-BE49-F238E27FC236}">
                  <a16:creationId xmlns:a16="http://schemas.microsoft.com/office/drawing/2014/main" id="{E59979D2-3F2A-1504-A9FC-DFC8F5A0A0D8}"/>
                </a:ext>
              </a:extLst>
            </p:cNvPr>
            <p:cNvSpPr/>
            <p:nvPr/>
          </p:nvSpPr>
          <p:spPr>
            <a:xfrm>
              <a:off x="3228905" y="4368923"/>
              <a:ext cx="223170" cy="129753"/>
            </a:xfrm>
            <a:custGeom>
              <a:avLst/>
              <a:gdLst>
                <a:gd name="connsiteX0" fmla="*/ 223170 w 223170"/>
                <a:gd name="connsiteY0" fmla="*/ 0 h 129753"/>
                <a:gd name="connsiteX1" fmla="*/ 223170 w 223170"/>
                <a:gd name="connsiteY1" fmla="*/ 129753 h 129753"/>
                <a:gd name="connsiteX2" fmla="*/ 196459 w 223170"/>
                <a:gd name="connsiteY2" fmla="*/ 129753 h 129753"/>
                <a:gd name="connsiteX3" fmla="*/ 196459 w 223170"/>
                <a:gd name="connsiteY3" fmla="*/ 69903 h 129753"/>
                <a:gd name="connsiteX4" fmla="*/ 168940 w 223170"/>
                <a:gd name="connsiteY4" fmla="*/ 44130 h 129753"/>
                <a:gd name="connsiteX5" fmla="*/ 54218 w 223170"/>
                <a:gd name="connsiteY5" fmla="*/ 44130 h 129753"/>
                <a:gd name="connsiteX6" fmla="*/ 26699 w 223170"/>
                <a:gd name="connsiteY6" fmla="*/ 69903 h 129753"/>
                <a:gd name="connsiteX7" fmla="*/ 26699 w 223170"/>
                <a:gd name="connsiteY7" fmla="*/ 129753 h 129753"/>
                <a:gd name="connsiteX8" fmla="*/ 0 w 223170"/>
                <a:gd name="connsiteY8" fmla="*/ 129753 h 129753"/>
                <a:gd name="connsiteX9" fmla="*/ 0 w 223170"/>
                <a:gd name="connsiteY9" fmla="*/ 20758 h 1297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23170" h="129753">
                  <a:moveTo>
                    <a:pt x="223170" y="0"/>
                  </a:moveTo>
                  <a:lnTo>
                    <a:pt x="223170" y="129753"/>
                  </a:lnTo>
                  <a:lnTo>
                    <a:pt x="196459" y="129753"/>
                  </a:lnTo>
                  <a:lnTo>
                    <a:pt x="196459" y="69903"/>
                  </a:lnTo>
                  <a:cubicBezTo>
                    <a:pt x="196459" y="69903"/>
                    <a:pt x="197802" y="44130"/>
                    <a:pt x="168940" y="44130"/>
                  </a:cubicBezTo>
                  <a:lnTo>
                    <a:pt x="54218" y="44130"/>
                  </a:lnTo>
                  <a:cubicBezTo>
                    <a:pt x="25345" y="44130"/>
                    <a:pt x="26699" y="69903"/>
                    <a:pt x="26699" y="69903"/>
                  </a:cubicBezTo>
                  <a:lnTo>
                    <a:pt x="26699" y="129753"/>
                  </a:lnTo>
                  <a:lnTo>
                    <a:pt x="0" y="129753"/>
                  </a:lnTo>
                  <a:lnTo>
                    <a:pt x="0" y="20758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503" name="Gráfico 14">
              <a:extLst>
                <a:ext uri="{FF2B5EF4-FFF2-40B4-BE49-F238E27FC236}">
                  <a16:creationId xmlns:a16="http://schemas.microsoft.com/office/drawing/2014/main" id="{0CB1746F-369E-18E4-3463-F9A1A43760CD}"/>
                </a:ext>
              </a:extLst>
            </p:cNvPr>
            <p:cNvGrpSpPr/>
            <p:nvPr/>
          </p:nvGrpSpPr>
          <p:grpSpPr>
            <a:xfrm>
              <a:off x="3185036" y="4314229"/>
              <a:ext cx="310884" cy="53956"/>
              <a:chOff x="3185036" y="4314229"/>
              <a:chExt cx="310884" cy="53956"/>
            </a:xfrm>
          </p:grpSpPr>
          <p:sp>
            <p:nvSpPr>
              <p:cNvPr id="1504" name="Forma livre: Forma 1503">
                <a:extLst>
                  <a:ext uri="{FF2B5EF4-FFF2-40B4-BE49-F238E27FC236}">
                    <a16:creationId xmlns:a16="http://schemas.microsoft.com/office/drawing/2014/main" id="{5E8CA29B-C659-8ECB-BC42-93DC8CE4D5AB}"/>
                  </a:ext>
                </a:extLst>
              </p:cNvPr>
              <p:cNvSpPr/>
              <p:nvPr/>
            </p:nvSpPr>
            <p:spPr>
              <a:xfrm>
                <a:off x="3185036" y="4314229"/>
                <a:ext cx="310884" cy="53956"/>
              </a:xfrm>
              <a:custGeom>
                <a:avLst/>
                <a:gdLst>
                  <a:gd name="connsiteX0" fmla="*/ 0 w 310884"/>
                  <a:gd name="connsiteY0" fmla="*/ 0 h 53956"/>
                  <a:gd name="connsiteX1" fmla="*/ 310884 w 310884"/>
                  <a:gd name="connsiteY1" fmla="*/ 0 h 53956"/>
                  <a:gd name="connsiteX2" fmla="*/ 310884 w 310884"/>
                  <a:gd name="connsiteY2" fmla="*/ 53957 h 53956"/>
                  <a:gd name="connsiteX3" fmla="*/ 0 w 310884"/>
                  <a:gd name="connsiteY3" fmla="*/ 53957 h 539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10884" h="53956">
                    <a:moveTo>
                      <a:pt x="0" y="0"/>
                    </a:moveTo>
                    <a:lnTo>
                      <a:pt x="310884" y="0"/>
                    </a:lnTo>
                    <a:lnTo>
                      <a:pt x="310884" y="53957"/>
                    </a:lnTo>
                    <a:lnTo>
                      <a:pt x="0" y="53957"/>
                    </a:lnTo>
                    <a:close/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1505" name="Gráfico 14">
                <a:extLst>
                  <a:ext uri="{FF2B5EF4-FFF2-40B4-BE49-F238E27FC236}">
                    <a16:creationId xmlns:a16="http://schemas.microsoft.com/office/drawing/2014/main" id="{7F3A9BB9-6A59-2F03-A282-421F17796A33}"/>
                  </a:ext>
                </a:extLst>
              </p:cNvPr>
              <p:cNvGrpSpPr/>
              <p:nvPr/>
            </p:nvGrpSpPr>
            <p:grpSpPr>
              <a:xfrm>
                <a:off x="3263125" y="4337637"/>
                <a:ext cx="154717" cy="7129"/>
                <a:chOff x="3263125" y="4337637"/>
                <a:chExt cx="154717" cy="7129"/>
              </a:xfrm>
              <a:solidFill>
                <a:srgbClr val="394553"/>
              </a:solidFill>
            </p:grpSpPr>
            <p:sp>
              <p:nvSpPr>
                <p:cNvPr id="1506" name="Forma livre: Forma 1505">
                  <a:extLst>
                    <a:ext uri="{FF2B5EF4-FFF2-40B4-BE49-F238E27FC236}">
                      <a16:creationId xmlns:a16="http://schemas.microsoft.com/office/drawing/2014/main" id="{A7ADB981-B512-E298-1A67-F8E9EBE0E415}"/>
                    </a:ext>
                  </a:extLst>
                </p:cNvPr>
                <p:cNvSpPr/>
                <p:nvPr/>
              </p:nvSpPr>
              <p:spPr>
                <a:xfrm>
                  <a:off x="3263125" y="4337637"/>
                  <a:ext cx="7129" cy="7129"/>
                </a:xfrm>
                <a:custGeom>
                  <a:avLst/>
                  <a:gdLst>
                    <a:gd name="connsiteX0" fmla="*/ 7129 w 7129"/>
                    <a:gd name="connsiteY0" fmla="*/ 3577 h 7129"/>
                    <a:gd name="connsiteX1" fmla="*/ 3565 w 7129"/>
                    <a:gd name="connsiteY1" fmla="*/ 7129 h 7129"/>
                    <a:gd name="connsiteX2" fmla="*/ 0 w 7129"/>
                    <a:gd name="connsiteY2" fmla="*/ 3577 h 7129"/>
                    <a:gd name="connsiteX3" fmla="*/ 3565 w 7129"/>
                    <a:gd name="connsiteY3" fmla="*/ 0 h 7129"/>
                    <a:gd name="connsiteX4" fmla="*/ 7129 w 7129"/>
                    <a:gd name="connsiteY4" fmla="*/ 3577 h 712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7129" h="7129">
                      <a:moveTo>
                        <a:pt x="7129" y="3577"/>
                      </a:moveTo>
                      <a:cubicBezTo>
                        <a:pt x="7129" y="5537"/>
                        <a:pt x="5549" y="7129"/>
                        <a:pt x="3565" y="7129"/>
                      </a:cubicBezTo>
                      <a:cubicBezTo>
                        <a:pt x="1580" y="7129"/>
                        <a:pt x="0" y="5537"/>
                        <a:pt x="0" y="3577"/>
                      </a:cubicBezTo>
                      <a:cubicBezTo>
                        <a:pt x="0" y="1616"/>
                        <a:pt x="1604" y="0"/>
                        <a:pt x="3565" y="0"/>
                      </a:cubicBezTo>
                      <a:cubicBezTo>
                        <a:pt x="5525" y="0"/>
                        <a:pt x="7129" y="1592"/>
                        <a:pt x="7129" y="3577"/>
                      </a:cubicBezTo>
                      <a:close/>
                    </a:path>
                  </a:pathLst>
                </a:custGeom>
                <a:solidFill>
                  <a:srgbClr val="394553"/>
                </a:solidFill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507" name="Forma livre: Forma 1506">
                  <a:extLst>
                    <a:ext uri="{FF2B5EF4-FFF2-40B4-BE49-F238E27FC236}">
                      <a16:creationId xmlns:a16="http://schemas.microsoft.com/office/drawing/2014/main" id="{B998370F-A1B4-E46E-9D7A-C8E0392C58D4}"/>
                    </a:ext>
                  </a:extLst>
                </p:cNvPr>
                <p:cNvSpPr/>
                <p:nvPr/>
              </p:nvSpPr>
              <p:spPr>
                <a:xfrm>
                  <a:off x="3410713" y="4337637"/>
                  <a:ext cx="7129" cy="7129"/>
                </a:xfrm>
                <a:custGeom>
                  <a:avLst/>
                  <a:gdLst>
                    <a:gd name="connsiteX0" fmla="*/ 7129 w 7129"/>
                    <a:gd name="connsiteY0" fmla="*/ 3577 h 7129"/>
                    <a:gd name="connsiteX1" fmla="*/ 3565 w 7129"/>
                    <a:gd name="connsiteY1" fmla="*/ 7129 h 7129"/>
                    <a:gd name="connsiteX2" fmla="*/ 0 w 7129"/>
                    <a:gd name="connsiteY2" fmla="*/ 3577 h 7129"/>
                    <a:gd name="connsiteX3" fmla="*/ 3565 w 7129"/>
                    <a:gd name="connsiteY3" fmla="*/ 0 h 7129"/>
                    <a:gd name="connsiteX4" fmla="*/ 7129 w 7129"/>
                    <a:gd name="connsiteY4" fmla="*/ 3577 h 712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7129" h="7129">
                      <a:moveTo>
                        <a:pt x="7129" y="3577"/>
                      </a:moveTo>
                      <a:cubicBezTo>
                        <a:pt x="7129" y="5537"/>
                        <a:pt x="5549" y="7129"/>
                        <a:pt x="3565" y="7129"/>
                      </a:cubicBezTo>
                      <a:cubicBezTo>
                        <a:pt x="1580" y="7129"/>
                        <a:pt x="0" y="5537"/>
                        <a:pt x="0" y="3577"/>
                      </a:cubicBezTo>
                      <a:cubicBezTo>
                        <a:pt x="0" y="1616"/>
                        <a:pt x="1604" y="0"/>
                        <a:pt x="3565" y="0"/>
                      </a:cubicBezTo>
                      <a:cubicBezTo>
                        <a:pt x="5525" y="0"/>
                        <a:pt x="7129" y="1592"/>
                        <a:pt x="7129" y="3577"/>
                      </a:cubicBezTo>
                      <a:close/>
                    </a:path>
                  </a:pathLst>
                </a:custGeom>
                <a:solidFill>
                  <a:srgbClr val="394553"/>
                </a:solidFill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508" name="Forma livre: Forma 1507">
                  <a:extLst>
                    <a:ext uri="{FF2B5EF4-FFF2-40B4-BE49-F238E27FC236}">
                      <a16:creationId xmlns:a16="http://schemas.microsoft.com/office/drawing/2014/main" id="{BF0A1AD0-D88D-D2EB-A3EF-18253A3B0A39}"/>
                    </a:ext>
                  </a:extLst>
                </p:cNvPr>
                <p:cNvSpPr/>
                <p:nvPr/>
              </p:nvSpPr>
              <p:spPr>
                <a:xfrm>
                  <a:off x="3336913" y="4337637"/>
                  <a:ext cx="7129" cy="7129"/>
                </a:xfrm>
                <a:custGeom>
                  <a:avLst/>
                  <a:gdLst>
                    <a:gd name="connsiteX0" fmla="*/ 7129 w 7129"/>
                    <a:gd name="connsiteY0" fmla="*/ 3577 h 7129"/>
                    <a:gd name="connsiteX1" fmla="*/ 3565 w 7129"/>
                    <a:gd name="connsiteY1" fmla="*/ 7129 h 7129"/>
                    <a:gd name="connsiteX2" fmla="*/ 0 w 7129"/>
                    <a:gd name="connsiteY2" fmla="*/ 3577 h 7129"/>
                    <a:gd name="connsiteX3" fmla="*/ 3565 w 7129"/>
                    <a:gd name="connsiteY3" fmla="*/ 0 h 7129"/>
                    <a:gd name="connsiteX4" fmla="*/ 7129 w 7129"/>
                    <a:gd name="connsiteY4" fmla="*/ 3577 h 712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7129" h="7129">
                      <a:moveTo>
                        <a:pt x="7129" y="3577"/>
                      </a:moveTo>
                      <a:cubicBezTo>
                        <a:pt x="7129" y="5537"/>
                        <a:pt x="5549" y="7129"/>
                        <a:pt x="3565" y="7129"/>
                      </a:cubicBezTo>
                      <a:cubicBezTo>
                        <a:pt x="1580" y="7129"/>
                        <a:pt x="0" y="5537"/>
                        <a:pt x="0" y="3577"/>
                      </a:cubicBezTo>
                      <a:cubicBezTo>
                        <a:pt x="0" y="1616"/>
                        <a:pt x="1604" y="0"/>
                        <a:pt x="3565" y="0"/>
                      </a:cubicBezTo>
                      <a:cubicBezTo>
                        <a:pt x="5525" y="0"/>
                        <a:pt x="7129" y="1592"/>
                        <a:pt x="7129" y="3577"/>
                      </a:cubicBezTo>
                      <a:close/>
                    </a:path>
                  </a:pathLst>
                </a:custGeom>
                <a:solidFill>
                  <a:srgbClr val="394553"/>
                </a:solidFill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</p:grpSp>
      <p:grpSp>
        <p:nvGrpSpPr>
          <p:cNvPr id="1509" name="Gráfico 14">
            <a:extLst>
              <a:ext uri="{FF2B5EF4-FFF2-40B4-BE49-F238E27FC236}">
                <a16:creationId xmlns:a16="http://schemas.microsoft.com/office/drawing/2014/main" id="{26B2DCCF-67D3-1439-7C67-630F23DB90DA}"/>
              </a:ext>
            </a:extLst>
          </p:cNvPr>
          <p:cNvGrpSpPr/>
          <p:nvPr/>
        </p:nvGrpSpPr>
        <p:grpSpPr>
          <a:xfrm>
            <a:off x="3161711" y="5273317"/>
            <a:ext cx="357557" cy="257346"/>
            <a:chOff x="3161711" y="5273317"/>
            <a:chExt cx="357557" cy="257346"/>
          </a:xfrm>
        </p:grpSpPr>
        <p:grpSp>
          <p:nvGrpSpPr>
            <p:cNvPr id="1510" name="Gráfico 14">
              <a:extLst>
                <a:ext uri="{FF2B5EF4-FFF2-40B4-BE49-F238E27FC236}">
                  <a16:creationId xmlns:a16="http://schemas.microsoft.com/office/drawing/2014/main" id="{A8B9AEBD-8A6B-A310-021E-BC71D19BAF74}"/>
                </a:ext>
              </a:extLst>
            </p:cNvPr>
            <p:cNvGrpSpPr/>
            <p:nvPr/>
          </p:nvGrpSpPr>
          <p:grpSpPr>
            <a:xfrm>
              <a:off x="3161711" y="5273317"/>
              <a:ext cx="357557" cy="257346"/>
              <a:chOff x="3161711" y="5273317"/>
              <a:chExt cx="357557" cy="257346"/>
            </a:xfrm>
          </p:grpSpPr>
          <p:sp>
            <p:nvSpPr>
              <p:cNvPr id="1511" name="Forma livre: Forma 1510">
                <a:extLst>
                  <a:ext uri="{FF2B5EF4-FFF2-40B4-BE49-F238E27FC236}">
                    <a16:creationId xmlns:a16="http://schemas.microsoft.com/office/drawing/2014/main" id="{B7F203A5-FBB9-CF0A-AE2C-78175838803F}"/>
                  </a:ext>
                </a:extLst>
              </p:cNvPr>
              <p:cNvSpPr/>
              <p:nvPr/>
            </p:nvSpPr>
            <p:spPr>
              <a:xfrm>
                <a:off x="3161711" y="5317299"/>
                <a:ext cx="357557" cy="170431"/>
              </a:xfrm>
              <a:custGeom>
                <a:avLst/>
                <a:gdLst>
                  <a:gd name="connsiteX0" fmla="*/ 357545 w 357557"/>
                  <a:gd name="connsiteY0" fmla="*/ 71278 h 170431"/>
                  <a:gd name="connsiteX1" fmla="*/ 72719 w 357557"/>
                  <a:gd name="connsiteY1" fmla="*/ 69924 h 170431"/>
                  <a:gd name="connsiteX2" fmla="*/ 72719 w 357557"/>
                  <a:gd name="connsiteY2" fmla="*/ 69876 h 170431"/>
                  <a:gd name="connsiteX3" fmla="*/ 0 w 357557"/>
                  <a:gd name="connsiteY3" fmla="*/ 20007 h 170431"/>
                  <a:gd name="connsiteX4" fmla="*/ 28707 w 357557"/>
                  <a:gd name="connsiteY4" fmla="*/ 83434 h 170431"/>
                  <a:gd name="connsiteX5" fmla="*/ 28707 w 357557"/>
                  <a:gd name="connsiteY5" fmla="*/ 86428 h 170431"/>
                  <a:gd name="connsiteX6" fmla="*/ 0 w 357557"/>
                  <a:gd name="connsiteY6" fmla="*/ 149855 h 170431"/>
                  <a:gd name="connsiteX7" fmla="*/ 72600 w 357557"/>
                  <a:gd name="connsiteY7" fmla="*/ 100366 h 170431"/>
                  <a:gd name="connsiteX8" fmla="*/ 355217 w 357557"/>
                  <a:gd name="connsiteY8" fmla="*/ 101791 h 170431"/>
                  <a:gd name="connsiteX9" fmla="*/ 336193 w 357557"/>
                  <a:gd name="connsiteY9" fmla="*/ 90432 h 170431"/>
                  <a:gd name="connsiteX10" fmla="*/ 357557 w 357557"/>
                  <a:gd name="connsiteY10" fmla="*/ 71278 h 1704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357557" h="170431">
                    <a:moveTo>
                      <a:pt x="357545" y="71278"/>
                    </a:moveTo>
                    <a:cubicBezTo>
                      <a:pt x="327270" y="34039"/>
                      <a:pt x="222921" y="-67814"/>
                      <a:pt x="72719" y="69924"/>
                    </a:cubicBezTo>
                    <a:lnTo>
                      <a:pt x="72719" y="69876"/>
                    </a:lnTo>
                    <a:cubicBezTo>
                      <a:pt x="72719" y="69876"/>
                      <a:pt x="53826" y="16192"/>
                      <a:pt x="0" y="20007"/>
                    </a:cubicBezTo>
                    <a:cubicBezTo>
                      <a:pt x="0" y="20007"/>
                      <a:pt x="28707" y="55166"/>
                      <a:pt x="28707" y="83434"/>
                    </a:cubicBezTo>
                    <a:lnTo>
                      <a:pt x="28707" y="86428"/>
                    </a:lnTo>
                    <a:cubicBezTo>
                      <a:pt x="28707" y="114707"/>
                      <a:pt x="0" y="149855"/>
                      <a:pt x="0" y="149855"/>
                    </a:cubicBezTo>
                    <a:cubicBezTo>
                      <a:pt x="53826" y="153681"/>
                      <a:pt x="72600" y="100366"/>
                      <a:pt x="72600" y="100366"/>
                    </a:cubicBezTo>
                    <a:cubicBezTo>
                      <a:pt x="219297" y="235109"/>
                      <a:pt x="322172" y="141026"/>
                      <a:pt x="355217" y="101791"/>
                    </a:cubicBezTo>
                    <a:lnTo>
                      <a:pt x="336193" y="90432"/>
                    </a:lnTo>
                    <a:lnTo>
                      <a:pt x="357557" y="71278"/>
                    </a:lnTo>
                    <a:close/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512" name="Forma livre: Forma 1511">
                <a:extLst>
                  <a:ext uri="{FF2B5EF4-FFF2-40B4-BE49-F238E27FC236}">
                    <a16:creationId xmlns:a16="http://schemas.microsoft.com/office/drawing/2014/main" id="{957E367B-315C-94B3-5300-3AA27D97D7A9}"/>
                  </a:ext>
                </a:extLst>
              </p:cNvPr>
              <p:cNvSpPr/>
              <p:nvPr/>
            </p:nvSpPr>
            <p:spPr>
              <a:xfrm>
                <a:off x="3425114" y="5352681"/>
                <a:ext cx="26890" cy="117371"/>
              </a:xfrm>
              <a:custGeom>
                <a:avLst/>
                <a:gdLst>
                  <a:gd name="connsiteX0" fmla="*/ 12881 w 26890"/>
                  <a:gd name="connsiteY0" fmla="*/ 0 h 117371"/>
                  <a:gd name="connsiteX1" fmla="*/ 26890 w 26890"/>
                  <a:gd name="connsiteY1" fmla="*/ 117372 h 1173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6890" h="117371">
                    <a:moveTo>
                      <a:pt x="12881" y="0"/>
                    </a:moveTo>
                    <a:cubicBezTo>
                      <a:pt x="-356" y="21364"/>
                      <a:pt x="-12891" y="62488"/>
                      <a:pt x="26890" y="117372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513" name="Forma livre: Forma 1512">
                <a:extLst>
                  <a:ext uri="{FF2B5EF4-FFF2-40B4-BE49-F238E27FC236}">
                    <a16:creationId xmlns:a16="http://schemas.microsoft.com/office/drawing/2014/main" id="{BAEC585C-CF6C-DD55-6EA5-B931F2A92ECD}"/>
                  </a:ext>
                </a:extLst>
              </p:cNvPr>
              <p:cNvSpPr/>
              <p:nvPr/>
            </p:nvSpPr>
            <p:spPr>
              <a:xfrm>
                <a:off x="3289516" y="5273317"/>
                <a:ext cx="138664" cy="71058"/>
              </a:xfrm>
              <a:custGeom>
                <a:avLst/>
                <a:gdLst>
                  <a:gd name="connsiteX0" fmla="*/ 138665 w 138664"/>
                  <a:gd name="connsiteY0" fmla="*/ 49373 h 71058"/>
                  <a:gd name="connsiteX1" fmla="*/ 115732 w 138664"/>
                  <a:gd name="connsiteY1" fmla="*/ 86 h 71058"/>
                  <a:gd name="connsiteX2" fmla="*/ 0 w 138664"/>
                  <a:gd name="connsiteY2" fmla="*/ 71058 h 710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38664" h="71058">
                    <a:moveTo>
                      <a:pt x="138665" y="49373"/>
                    </a:moveTo>
                    <a:cubicBezTo>
                      <a:pt x="138665" y="49373"/>
                      <a:pt x="134078" y="11255"/>
                      <a:pt x="115732" y="86"/>
                    </a:cubicBezTo>
                    <a:cubicBezTo>
                      <a:pt x="115732" y="86"/>
                      <a:pt x="25665" y="-5392"/>
                      <a:pt x="0" y="71058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514" name="Forma livre: Forma 1513">
                <a:extLst>
                  <a:ext uri="{FF2B5EF4-FFF2-40B4-BE49-F238E27FC236}">
                    <a16:creationId xmlns:a16="http://schemas.microsoft.com/office/drawing/2014/main" id="{59FB8B4A-6E73-1A9A-FA95-3D6368674210}"/>
                  </a:ext>
                </a:extLst>
              </p:cNvPr>
              <p:cNvSpPr/>
              <p:nvPr/>
            </p:nvSpPr>
            <p:spPr>
              <a:xfrm>
                <a:off x="3324639" y="5297738"/>
                <a:ext cx="8555" cy="27150"/>
              </a:xfrm>
              <a:custGeom>
                <a:avLst/>
                <a:gdLst>
                  <a:gd name="connsiteX0" fmla="*/ 0 w 8555"/>
                  <a:gd name="connsiteY0" fmla="*/ 0 h 27150"/>
                  <a:gd name="connsiteX1" fmla="*/ 8555 w 8555"/>
                  <a:gd name="connsiteY1" fmla="*/ 27151 h 27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8555" h="27150">
                    <a:moveTo>
                      <a:pt x="0" y="0"/>
                    </a:moveTo>
                    <a:cubicBezTo>
                      <a:pt x="0" y="0"/>
                      <a:pt x="7890" y="18096"/>
                      <a:pt x="8555" y="27151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515" name="Forma livre: Forma 1514">
                <a:extLst>
                  <a:ext uri="{FF2B5EF4-FFF2-40B4-BE49-F238E27FC236}">
                    <a16:creationId xmlns:a16="http://schemas.microsoft.com/office/drawing/2014/main" id="{5C983B3F-BE4F-8891-B3F6-440C368BD37A}"/>
                  </a:ext>
                </a:extLst>
              </p:cNvPr>
              <p:cNvSpPr/>
              <p:nvPr/>
            </p:nvSpPr>
            <p:spPr>
              <a:xfrm>
                <a:off x="3352681" y="5282683"/>
                <a:ext cx="11216" cy="35420"/>
              </a:xfrm>
              <a:custGeom>
                <a:avLst/>
                <a:gdLst>
                  <a:gd name="connsiteX0" fmla="*/ 0 w 11216"/>
                  <a:gd name="connsiteY0" fmla="*/ 0 h 35420"/>
                  <a:gd name="connsiteX1" fmla="*/ 11217 w 11216"/>
                  <a:gd name="connsiteY1" fmla="*/ 35421 h 354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216" h="35420">
                    <a:moveTo>
                      <a:pt x="0" y="0"/>
                    </a:moveTo>
                    <a:cubicBezTo>
                      <a:pt x="0" y="0"/>
                      <a:pt x="7997" y="22089"/>
                      <a:pt x="11217" y="35421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516" name="Forma livre: Forma 1515">
                <a:extLst>
                  <a:ext uri="{FF2B5EF4-FFF2-40B4-BE49-F238E27FC236}">
                    <a16:creationId xmlns:a16="http://schemas.microsoft.com/office/drawing/2014/main" id="{EF6A65A9-104C-F98E-D756-4E26B33A9D2A}"/>
                  </a:ext>
                </a:extLst>
              </p:cNvPr>
              <p:cNvSpPr/>
              <p:nvPr/>
            </p:nvSpPr>
            <p:spPr>
              <a:xfrm>
                <a:off x="3379832" y="5275601"/>
                <a:ext cx="15351" cy="41623"/>
              </a:xfrm>
              <a:custGeom>
                <a:avLst/>
                <a:gdLst>
                  <a:gd name="connsiteX0" fmla="*/ 0 w 15351"/>
                  <a:gd name="connsiteY0" fmla="*/ 0 h 41623"/>
                  <a:gd name="connsiteX1" fmla="*/ 15352 w 15351"/>
                  <a:gd name="connsiteY1" fmla="*/ 41623 h 416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5351" h="41623">
                    <a:moveTo>
                      <a:pt x="0" y="0"/>
                    </a:moveTo>
                    <a:cubicBezTo>
                      <a:pt x="0" y="0"/>
                      <a:pt x="10943" y="25321"/>
                      <a:pt x="15352" y="41623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517" name="Forma livre: Forma 1516">
                <a:extLst>
                  <a:ext uri="{FF2B5EF4-FFF2-40B4-BE49-F238E27FC236}">
                    <a16:creationId xmlns:a16="http://schemas.microsoft.com/office/drawing/2014/main" id="{FA253393-EEFD-7027-7719-4504A381A90D}"/>
                  </a:ext>
                </a:extLst>
              </p:cNvPr>
              <p:cNvSpPr/>
              <p:nvPr/>
            </p:nvSpPr>
            <p:spPr>
              <a:xfrm>
                <a:off x="3328679" y="5487650"/>
                <a:ext cx="75808" cy="43013"/>
              </a:xfrm>
              <a:custGeom>
                <a:avLst/>
                <a:gdLst>
                  <a:gd name="connsiteX0" fmla="*/ 16682 w 75808"/>
                  <a:gd name="connsiteY0" fmla="*/ 14306 h 43013"/>
                  <a:gd name="connsiteX1" fmla="*/ 0 w 75808"/>
                  <a:gd name="connsiteY1" fmla="*/ 43013 h 43013"/>
                  <a:gd name="connsiteX2" fmla="*/ 75808 w 75808"/>
                  <a:gd name="connsiteY2" fmla="*/ 0 h 430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75808" h="43013">
                    <a:moveTo>
                      <a:pt x="16682" y="14306"/>
                    </a:moveTo>
                    <a:cubicBezTo>
                      <a:pt x="14722" y="24465"/>
                      <a:pt x="10219" y="36561"/>
                      <a:pt x="0" y="43013"/>
                    </a:cubicBezTo>
                    <a:cubicBezTo>
                      <a:pt x="0" y="43013"/>
                      <a:pt x="45318" y="41635"/>
                      <a:pt x="75808" y="0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1518" name="Gráfico 14">
                <a:extLst>
                  <a:ext uri="{FF2B5EF4-FFF2-40B4-BE49-F238E27FC236}">
                    <a16:creationId xmlns:a16="http://schemas.microsoft.com/office/drawing/2014/main" id="{C3ED43A7-8A46-B9A4-55EC-F0DAD8D04895}"/>
                  </a:ext>
                </a:extLst>
              </p:cNvPr>
              <p:cNvGrpSpPr/>
              <p:nvPr/>
            </p:nvGrpSpPr>
            <p:grpSpPr>
              <a:xfrm>
                <a:off x="3384935" y="5352978"/>
                <a:ext cx="10070" cy="100107"/>
                <a:chOff x="3384935" y="5352978"/>
                <a:chExt cx="10070" cy="100107"/>
              </a:xfrm>
              <a:noFill/>
            </p:grpSpPr>
            <p:sp>
              <p:nvSpPr>
                <p:cNvPr id="1519" name="Forma livre: Forma 1518">
                  <a:extLst>
                    <a:ext uri="{FF2B5EF4-FFF2-40B4-BE49-F238E27FC236}">
                      <a16:creationId xmlns:a16="http://schemas.microsoft.com/office/drawing/2014/main" id="{475E6EAC-4CCB-37FA-8106-94C0424EACBB}"/>
                    </a:ext>
                  </a:extLst>
                </p:cNvPr>
                <p:cNvSpPr/>
                <p:nvPr/>
              </p:nvSpPr>
              <p:spPr>
                <a:xfrm>
                  <a:off x="3384935" y="5352978"/>
                  <a:ext cx="10070" cy="34838"/>
                </a:xfrm>
                <a:custGeom>
                  <a:avLst/>
                  <a:gdLst>
                    <a:gd name="connsiteX0" fmla="*/ 10070 w 10070"/>
                    <a:gd name="connsiteY0" fmla="*/ 0 h 34838"/>
                    <a:gd name="connsiteX1" fmla="*/ 5306 w 10070"/>
                    <a:gd name="connsiteY1" fmla="*/ 34839 h 3483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0070" h="34838">
                      <a:moveTo>
                        <a:pt x="10070" y="0"/>
                      </a:moveTo>
                      <a:cubicBezTo>
                        <a:pt x="10070" y="0"/>
                        <a:pt x="-8965" y="11656"/>
                        <a:pt x="5306" y="34839"/>
                      </a:cubicBez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520" name="Forma livre: Forma 1519">
                  <a:extLst>
                    <a:ext uri="{FF2B5EF4-FFF2-40B4-BE49-F238E27FC236}">
                      <a16:creationId xmlns:a16="http://schemas.microsoft.com/office/drawing/2014/main" id="{EC58CB50-F26C-1186-060A-D1CC9DB83F43}"/>
                    </a:ext>
                  </a:extLst>
                </p:cNvPr>
                <p:cNvSpPr/>
                <p:nvPr/>
              </p:nvSpPr>
              <p:spPr>
                <a:xfrm>
                  <a:off x="3384935" y="5418235"/>
                  <a:ext cx="10070" cy="34850"/>
                </a:xfrm>
                <a:custGeom>
                  <a:avLst/>
                  <a:gdLst>
                    <a:gd name="connsiteX0" fmla="*/ 10070 w 10070"/>
                    <a:gd name="connsiteY0" fmla="*/ 34850 h 34850"/>
                    <a:gd name="connsiteX1" fmla="*/ 5306 w 10070"/>
                    <a:gd name="connsiteY1" fmla="*/ 0 h 348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0070" h="34850">
                      <a:moveTo>
                        <a:pt x="10070" y="34850"/>
                      </a:moveTo>
                      <a:cubicBezTo>
                        <a:pt x="10070" y="34850"/>
                        <a:pt x="-8965" y="23182"/>
                        <a:pt x="5306" y="0"/>
                      </a:cubicBez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1521" name="Forma livre: Forma 1520">
                <a:extLst>
                  <a:ext uri="{FF2B5EF4-FFF2-40B4-BE49-F238E27FC236}">
                    <a16:creationId xmlns:a16="http://schemas.microsoft.com/office/drawing/2014/main" id="{C4D75A6E-F157-D02F-E0D6-CEC857449FDD}"/>
                  </a:ext>
                </a:extLst>
              </p:cNvPr>
              <p:cNvSpPr/>
              <p:nvPr/>
            </p:nvSpPr>
            <p:spPr>
              <a:xfrm>
                <a:off x="3348986" y="5385452"/>
                <a:ext cx="7747" cy="35159"/>
              </a:xfrm>
              <a:custGeom>
                <a:avLst/>
                <a:gdLst>
                  <a:gd name="connsiteX0" fmla="*/ 7747 w 7747"/>
                  <a:gd name="connsiteY0" fmla="*/ 35159 h 35159"/>
                  <a:gd name="connsiteX1" fmla="*/ 7605 w 7747"/>
                  <a:gd name="connsiteY1" fmla="*/ 0 h 351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7747" h="35159">
                    <a:moveTo>
                      <a:pt x="7747" y="35159"/>
                    </a:moveTo>
                    <a:cubicBezTo>
                      <a:pt x="7747" y="35159"/>
                      <a:pt x="-9589" y="21091"/>
                      <a:pt x="7605" y="0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522" name="Forma livre: Forma 1521">
                <a:extLst>
                  <a:ext uri="{FF2B5EF4-FFF2-40B4-BE49-F238E27FC236}">
                    <a16:creationId xmlns:a16="http://schemas.microsoft.com/office/drawing/2014/main" id="{DDF47BE3-2E96-72A3-5C9A-B7682A1A86B6}"/>
                  </a:ext>
                </a:extLst>
              </p:cNvPr>
              <p:cNvSpPr/>
              <p:nvPr/>
            </p:nvSpPr>
            <p:spPr>
              <a:xfrm>
                <a:off x="3463458" y="5379190"/>
                <a:ext cx="7355" cy="7366"/>
              </a:xfrm>
              <a:custGeom>
                <a:avLst/>
                <a:gdLst>
                  <a:gd name="connsiteX0" fmla="*/ 7355 w 7355"/>
                  <a:gd name="connsiteY0" fmla="*/ 3683 h 7366"/>
                  <a:gd name="connsiteX1" fmla="*/ 3683 w 7355"/>
                  <a:gd name="connsiteY1" fmla="*/ 7367 h 7366"/>
                  <a:gd name="connsiteX2" fmla="*/ 0 w 7355"/>
                  <a:gd name="connsiteY2" fmla="*/ 3683 h 7366"/>
                  <a:gd name="connsiteX3" fmla="*/ 3683 w 7355"/>
                  <a:gd name="connsiteY3" fmla="*/ 0 h 7366"/>
                  <a:gd name="connsiteX4" fmla="*/ 7355 w 7355"/>
                  <a:gd name="connsiteY4" fmla="*/ 3683 h 73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355" h="7366">
                    <a:moveTo>
                      <a:pt x="7355" y="3683"/>
                    </a:moveTo>
                    <a:cubicBezTo>
                      <a:pt x="7355" y="5727"/>
                      <a:pt x="5727" y="7367"/>
                      <a:pt x="3683" y="7367"/>
                    </a:cubicBezTo>
                    <a:cubicBezTo>
                      <a:pt x="1640" y="7367"/>
                      <a:pt x="0" y="5727"/>
                      <a:pt x="0" y="3683"/>
                    </a:cubicBezTo>
                    <a:cubicBezTo>
                      <a:pt x="0" y="1640"/>
                      <a:pt x="1652" y="0"/>
                      <a:pt x="3683" y="0"/>
                    </a:cubicBezTo>
                    <a:cubicBezTo>
                      <a:pt x="5715" y="0"/>
                      <a:pt x="7355" y="1652"/>
                      <a:pt x="7355" y="3683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523" name="Forma livre: Forma 1522">
              <a:extLst>
                <a:ext uri="{FF2B5EF4-FFF2-40B4-BE49-F238E27FC236}">
                  <a16:creationId xmlns:a16="http://schemas.microsoft.com/office/drawing/2014/main" id="{C99B08AE-A163-BC55-5BBC-C1F5FF2EE4FE}"/>
                </a:ext>
              </a:extLst>
            </p:cNvPr>
            <p:cNvSpPr/>
            <p:nvPr/>
          </p:nvSpPr>
          <p:spPr>
            <a:xfrm>
              <a:off x="3234418" y="5387175"/>
              <a:ext cx="1188" cy="12286"/>
            </a:xfrm>
            <a:custGeom>
              <a:avLst/>
              <a:gdLst>
                <a:gd name="connsiteX0" fmla="*/ 0 w 1188"/>
                <a:gd name="connsiteY0" fmla="*/ 0 h 12286"/>
                <a:gd name="connsiteX1" fmla="*/ 0 w 1188"/>
                <a:gd name="connsiteY1" fmla="*/ 12286 h 12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88" h="12286">
                  <a:moveTo>
                    <a:pt x="0" y="0"/>
                  </a:moveTo>
                  <a:lnTo>
                    <a:pt x="0" y="12286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524" name="Gráfico 14">
            <a:extLst>
              <a:ext uri="{FF2B5EF4-FFF2-40B4-BE49-F238E27FC236}">
                <a16:creationId xmlns:a16="http://schemas.microsoft.com/office/drawing/2014/main" id="{C958DBC8-E5D6-0229-C1FC-6411D51088C2}"/>
              </a:ext>
            </a:extLst>
          </p:cNvPr>
          <p:cNvGrpSpPr/>
          <p:nvPr/>
        </p:nvGrpSpPr>
        <p:grpSpPr>
          <a:xfrm>
            <a:off x="3838470" y="3675766"/>
            <a:ext cx="240058" cy="304301"/>
            <a:chOff x="3838470" y="3675766"/>
            <a:chExt cx="240058" cy="304301"/>
          </a:xfrm>
          <a:noFill/>
        </p:grpSpPr>
        <p:sp>
          <p:nvSpPr>
            <p:cNvPr id="1525" name="Forma livre: Forma 1524">
              <a:extLst>
                <a:ext uri="{FF2B5EF4-FFF2-40B4-BE49-F238E27FC236}">
                  <a16:creationId xmlns:a16="http://schemas.microsoft.com/office/drawing/2014/main" id="{42B5F003-9FD9-23AE-380A-3178DBBD7163}"/>
                </a:ext>
              </a:extLst>
            </p:cNvPr>
            <p:cNvSpPr/>
            <p:nvPr/>
          </p:nvSpPr>
          <p:spPr>
            <a:xfrm>
              <a:off x="3894043" y="3705851"/>
              <a:ext cx="1188" cy="52162"/>
            </a:xfrm>
            <a:custGeom>
              <a:avLst/>
              <a:gdLst>
                <a:gd name="connsiteX0" fmla="*/ 0 w 1188"/>
                <a:gd name="connsiteY0" fmla="*/ 0 h 52162"/>
                <a:gd name="connsiteX1" fmla="*/ 0 w 1188"/>
                <a:gd name="connsiteY1" fmla="*/ 52163 h 521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88" h="52162">
                  <a:moveTo>
                    <a:pt x="0" y="0"/>
                  </a:moveTo>
                  <a:lnTo>
                    <a:pt x="0" y="52163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26" name="Forma livre: Forma 1525">
              <a:extLst>
                <a:ext uri="{FF2B5EF4-FFF2-40B4-BE49-F238E27FC236}">
                  <a16:creationId xmlns:a16="http://schemas.microsoft.com/office/drawing/2014/main" id="{B429EE5B-40F9-7695-520E-5061573C7007}"/>
                </a:ext>
              </a:extLst>
            </p:cNvPr>
            <p:cNvSpPr/>
            <p:nvPr/>
          </p:nvSpPr>
          <p:spPr>
            <a:xfrm>
              <a:off x="3922156" y="3705851"/>
              <a:ext cx="1188" cy="52162"/>
            </a:xfrm>
            <a:custGeom>
              <a:avLst/>
              <a:gdLst>
                <a:gd name="connsiteX0" fmla="*/ 0 w 1188"/>
                <a:gd name="connsiteY0" fmla="*/ 0 h 52162"/>
                <a:gd name="connsiteX1" fmla="*/ 0 w 1188"/>
                <a:gd name="connsiteY1" fmla="*/ 52163 h 521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88" h="52162">
                  <a:moveTo>
                    <a:pt x="0" y="0"/>
                  </a:moveTo>
                  <a:lnTo>
                    <a:pt x="0" y="52163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27" name="Forma livre: Forma 1526">
              <a:extLst>
                <a:ext uri="{FF2B5EF4-FFF2-40B4-BE49-F238E27FC236}">
                  <a16:creationId xmlns:a16="http://schemas.microsoft.com/office/drawing/2014/main" id="{3A9F9480-EECF-0E13-DD81-94C01E00BD3B}"/>
                </a:ext>
              </a:extLst>
            </p:cNvPr>
            <p:cNvSpPr/>
            <p:nvPr/>
          </p:nvSpPr>
          <p:spPr>
            <a:xfrm>
              <a:off x="3865942" y="3705851"/>
              <a:ext cx="1188" cy="52162"/>
            </a:xfrm>
            <a:custGeom>
              <a:avLst/>
              <a:gdLst>
                <a:gd name="connsiteX0" fmla="*/ 0 w 1188"/>
                <a:gd name="connsiteY0" fmla="*/ 0 h 52162"/>
                <a:gd name="connsiteX1" fmla="*/ 0 w 1188"/>
                <a:gd name="connsiteY1" fmla="*/ 52163 h 521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88" h="52162">
                  <a:moveTo>
                    <a:pt x="0" y="0"/>
                  </a:moveTo>
                  <a:lnTo>
                    <a:pt x="0" y="52163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28" name="Forma livre: Forma 1527">
              <a:extLst>
                <a:ext uri="{FF2B5EF4-FFF2-40B4-BE49-F238E27FC236}">
                  <a16:creationId xmlns:a16="http://schemas.microsoft.com/office/drawing/2014/main" id="{21083564-6D2B-8453-51F0-178E46FE8C31}"/>
                </a:ext>
              </a:extLst>
            </p:cNvPr>
            <p:cNvSpPr/>
            <p:nvPr/>
          </p:nvSpPr>
          <p:spPr>
            <a:xfrm>
              <a:off x="3838470" y="3677311"/>
              <a:ext cx="111145" cy="174227"/>
            </a:xfrm>
            <a:custGeom>
              <a:avLst/>
              <a:gdLst>
                <a:gd name="connsiteX0" fmla="*/ 34850 w 111145"/>
                <a:gd name="connsiteY0" fmla="*/ 126782 h 174227"/>
                <a:gd name="connsiteX1" fmla="*/ 0 w 111145"/>
                <a:gd name="connsiteY1" fmla="*/ 84743 h 174227"/>
                <a:gd name="connsiteX2" fmla="*/ 0 w 111145"/>
                <a:gd name="connsiteY2" fmla="*/ 14259 h 174227"/>
                <a:gd name="connsiteX3" fmla="*/ 14259 w 111145"/>
                <a:gd name="connsiteY3" fmla="*/ 0 h 174227"/>
                <a:gd name="connsiteX4" fmla="*/ 96887 w 111145"/>
                <a:gd name="connsiteY4" fmla="*/ 0 h 174227"/>
                <a:gd name="connsiteX5" fmla="*/ 111145 w 111145"/>
                <a:gd name="connsiteY5" fmla="*/ 14259 h 174227"/>
                <a:gd name="connsiteX6" fmla="*/ 111145 w 111145"/>
                <a:gd name="connsiteY6" fmla="*/ 84743 h 174227"/>
                <a:gd name="connsiteX7" fmla="*/ 68358 w 111145"/>
                <a:gd name="connsiteY7" fmla="*/ 127519 h 174227"/>
                <a:gd name="connsiteX8" fmla="*/ 55561 w 111145"/>
                <a:gd name="connsiteY8" fmla="*/ 127519 h 174227"/>
                <a:gd name="connsiteX9" fmla="*/ 55561 w 111145"/>
                <a:gd name="connsiteY9" fmla="*/ 174228 h 1742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1145" h="174227">
                  <a:moveTo>
                    <a:pt x="34850" y="126782"/>
                  </a:moveTo>
                  <a:cubicBezTo>
                    <a:pt x="15078" y="123028"/>
                    <a:pt x="0" y="105561"/>
                    <a:pt x="0" y="84743"/>
                  </a:cubicBezTo>
                  <a:lnTo>
                    <a:pt x="0" y="14259"/>
                  </a:lnTo>
                  <a:cubicBezTo>
                    <a:pt x="0" y="6416"/>
                    <a:pt x="6416" y="0"/>
                    <a:pt x="14259" y="0"/>
                  </a:cubicBezTo>
                  <a:lnTo>
                    <a:pt x="96887" y="0"/>
                  </a:lnTo>
                  <a:cubicBezTo>
                    <a:pt x="104729" y="0"/>
                    <a:pt x="111145" y="6416"/>
                    <a:pt x="111145" y="14259"/>
                  </a:cubicBezTo>
                  <a:lnTo>
                    <a:pt x="111145" y="84743"/>
                  </a:lnTo>
                  <a:cubicBezTo>
                    <a:pt x="111145" y="108270"/>
                    <a:pt x="91896" y="127519"/>
                    <a:pt x="68358" y="127519"/>
                  </a:cubicBezTo>
                  <a:lnTo>
                    <a:pt x="55561" y="127519"/>
                  </a:lnTo>
                  <a:lnTo>
                    <a:pt x="55561" y="174228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29" name="Forma livre: Forma 1528">
              <a:extLst>
                <a:ext uri="{FF2B5EF4-FFF2-40B4-BE49-F238E27FC236}">
                  <a16:creationId xmlns:a16="http://schemas.microsoft.com/office/drawing/2014/main" id="{ED3E29BE-B875-D845-2B32-5BE94EFD05FE}"/>
                </a:ext>
              </a:extLst>
            </p:cNvPr>
            <p:cNvSpPr/>
            <p:nvPr/>
          </p:nvSpPr>
          <p:spPr>
            <a:xfrm>
              <a:off x="3870300" y="3870187"/>
              <a:ext cx="47463" cy="109880"/>
            </a:xfrm>
            <a:custGeom>
              <a:avLst/>
              <a:gdLst>
                <a:gd name="connsiteX0" fmla="*/ 47460 w 47463"/>
                <a:gd name="connsiteY0" fmla="*/ 94517 h 109880"/>
                <a:gd name="connsiteX1" fmla="*/ 47460 w 47463"/>
                <a:gd name="connsiteY1" fmla="*/ 61544 h 109880"/>
                <a:gd name="connsiteX2" fmla="*/ 40473 w 47463"/>
                <a:gd name="connsiteY2" fmla="*/ 6376 h 109880"/>
                <a:gd name="connsiteX3" fmla="*/ 33475 w 47463"/>
                <a:gd name="connsiteY3" fmla="*/ 31 h 109880"/>
                <a:gd name="connsiteX4" fmla="*/ 14012 w 47463"/>
                <a:gd name="connsiteY4" fmla="*/ 31 h 109880"/>
                <a:gd name="connsiteX5" fmla="*/ 7013 w 47463"/>
                <a:gd name="connsiteY5" fmla="*/ 6364 h 109880"/>
                <a:gd name="connsiteX6" fmla="*/ 26 w 47463"/>
                <a:gd name="connsiteY6" fmla="*/ 61533 h 109880"/>
                <a:gd name="connsiteX7" fmla="*/ 26 w 47463"/>
                <a:gd name="connsiteY7" fmla="*/ 94517 h 109880"/>
                <a:gd name="connsiteX8" fmla="*/ 3 w 47463"/>
                <a:gd name="connsiteY8" fmla="*/ 94696 h 109880"/>
                <a:gd name="connsiteX9" fmla="*/ 23696 w 47463"/>
                <a:gd name="connsiteY9" fmla="*/ 109881 h 109880"/>
                <a:gd name="connsiteX10" fmla="*/ 23755 w 47463"/>
                <a:gd name="connsiteY10" fmla="*/ 109881 h 109880"/>
                <a:gd name="connsiteX11" fmla="*/ 23779 w 47463"/>
                <a:gd name="connsiteY11" fmla="*/ 109881 h 109880"/>
                <a:gd name="connsiteX12" fmla="*/ 47460 w 47463"/>
                <a:gd name="connsiteY12" fmla="*/ 94696 h 109880"/>
                <a:gd name="connsiteX13" fmla="*/ 47460 w 47463"/>
                <a:gd name="connsiteY13" fmla="*/ 94505 h 1098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7463" h="109880">
                  <a:moveTo>
                    <a:pt x="47460" y="94517"/>
                  </a:moveTo>
                  <a:lnTo>
                    <a:pt x="47460" y="61544"/>
                  </a:lnTo>
                  <a:cubicBezTo>
                    <a:pt x="47460" y="42141"/>
                    <a:pt x="40473" y="6376"/>
                    <a:pt x="40473" y="6376"/>
                  </a:cubicBezTo>
                  <a:cubicBezTo>
                    <a:pt x="39166" y="-813"/>
                    <a:pt x="33475" y="31"/>
                    <a:pt x="33475" y="31"/>
                  </a:cubicBezTo>
                  <a:lnTo>
                    <a:pt x="14012" y="31"/>
                  </a:lnTo>
                  <a:cubicBezTo>
                    <a:pt x="14012" y="31"/>
                    <a:pt x="8320" y="-813"/>
                    <a:pt x="7013" y="6364"/>
                  </a:cubicBezTo>
                  <a:cubicBezTo>
                    <a:pt x="7013" y="6364"/>
                    <a:pt x="26" y="42141"/>
                    <a:pt x="26" y="61533"/>
                  </a:cubicBezTo>
                  <a:lnTo>
                    <a:pt x="26" y="94517"/>
                  </a:lnTo>
                  <a:cubicBezTo>
                    <a:pt x="26" y="94517"/>
                    <a:pt x="26" y="94577"/>
                    <a:pt x="3" y="94696"/>
                  </a:cubicBezTo>
                  <a:cubicBezTo>
                    <a:pt x="-45" y="96383"/>
                    <a:pt x="276" y="109845"/>
                    <a:pt x="23696" y="109881"/>
                  </a:cubicBezTo>
                  <a:cubicBezTo>
                    <a:pt x="23720" y="109881"/>
                    <a:pt x="23731" y="109881"/>
                    <a:pt x="23755" y="109881"/>
                  </a:cubicBezTo>
                  <a:cubicBezTo>
                    <a:pt x="23755" y="109881"/>
                    <a:pt x="23767" y="109881"/>
                    <a:pt x="23779" y="109881"/>
                  </a:cubicBezTo>
                  <a:cubicBezTo>
                    <a:pt x="47210" y="109833"/>
                    <a:pt x="47519" y="96383"/>
                    <a:pt x="47460" y="94696"/>
                  </a:cubicBezTo>
                  <a:lnTo>
                    <a:pt x="47460" y="94505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30" name="Forma livre: Forma 1529">
              <a:extLst>
                <a:ext uri="{FF2B5EF4-FFF2-40B4-BE49-F238E27FC236}">
                  <a16:creationId xmlns:a16="http://schemas.microsoft.com/office/drawing/2014/main" id="{7F65293A-13AB-7ACB-DB38-B253E91D5561}"/>
                </a:ext>
              </a:extLst>
            </p:cNvPr>
            <p:cNvSpPr/>
            <p:nvPr/>
          </p:nvSpPr>
          <p:spPr>
            <a:xfrm>
              <a:off x="4011233" y="3870187"/>
              <a:ext cx="47473" cy="109880"/>
            </a:xfrm>
            <a:custGeom>
              <a:avLst/>
              <a:gdLst>
                <a:gd name="connsiteX0" fmla="*/ 47473 w 47473"/>
                <a:gd name="connsiteY0" fmla="*/ 94517 h 109880"/>
                <a:gd name="connsiteX1" fmla="*/ 47473 w 47473"/>
                <a:gd name="connsiteY1" fmla="*/ 94315 h 109880"/>
                <a:gd name="connsiteX2" fmla="*/ 47449 w 47473"/>
                <a:gd name="connsiteY2" fmla="*/ 61544 h 109880"/>
                <a:gd name="connsiteX3" fmla="*/ 40463 w 47473"/>
                <a:gd name="connsiteY3" fmla="*/ 6376 h 109880"/>
                <a:gd name="connsiteX4" fmla="*/ 33464 w 47473"/>
                <a:gd name="connsiteY4" fmla="*/ 31 h 109880"/>
                <a:gd name="connsiteX5" fmla="*/ 14013 w 47473"/>
                <a:gd name="connsiteY5" fmla="*/ 31 h 109880"/>
                <a:gd name="connsiteX6" fmla="*/ 7014 w 47473"/>
                <a:gd name="connsiteY6" fmla="*/ 6364 h 109880"/>
                <a:gd name="connsiteX7" fmla="*/ 28 w 47473"/>
                <a:gd name="connsiteY7" fmla="*/ 61533 h 109880"/>
                <a:gd name="connsiteX8" fmla="*/ 28 w 47473"/>
                <a:gd name="connsiteY8" fmla="*/ 94315 h 109880"/>
                <a:gd name="connsiteX9" fmla="*/ 28 w 47473"/>
                <a:gd name="connsiteY9" fmla="*/ 94517 h 109880"/>
                <a:gd name="connsiteX10" fmla="*/ 4 w 47473"/>
                <a:gd name="connsiteY10" fmla="*/ 94696 h 109880"/>
                <a:gd name="connsiteX11" fmla="*/ 23697 w 47473"/>
                <a:gd name="connsiteY11" fmla="*/ 109881 h 109880"/>
                <a:gd name="connsiteX12" fmla="*/ 23744 w 47473"/>
                <a:gd name="connsiteY12" fmla="*/ 109881 h 109880"/>
                <a:gd name="connsiteX13" fmla="*/ 23768 w 47473"/>
                <a:gd name="connsiteY13" fmla="*/ 109881 h 109880"/>
                <a:gd name="connsiteX14" fmla="*/ 47461 w 47473"/>
                <a:gd name="connsiteY14" fmla="*/ 94696 h 109880"/>
                <a:gd name="connsiteX15" fmla="*/ 47461 w 47473"/>
                <a:gd name="connsiteY15" fmla="*/ 94505 h 1098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7473" h="109880">
                  <a:moveTo>
                    <a:pt x="47473" y="94517"/>
                  </a:moveTo>
                  <a:cubicBezTo>
                    <a:pt x="47473" y="94517"/>
                    <a:pt x="47449" y="94446"/>
                    <a:pt x="47473" y="94315"/>
                  </a:cubicBezTo>
                  <a:lnTo>
                    <a:pt x="47449" y="61544"/>
                  </a:lnTo>
                  <a:cubicBezTo>
                    <a:pt x="47473" y="42141"/>
                    <a:pt x="40463" y="6376"/>
                    <a:pt x="40463" y="6376"/>
                  </a:cubicBezTo>
                  <a:cubicBezTo>
                    <a:pt x="39156" y="-813"/>
                    <a:pt x="33464" y="31"/>
                    <a:pt x="33464" y="31"/>
                  </a:cubicBezTo>
                  <a:lnTo>
                    <a:pt x="14013" y="31"/>
                  </a:lnTo>
                  <a:cubicBezTo>
                    <a:pt x="14013" y="31"/>
                    <a:pt x="8321" y="-813"/>
                    <a:pt x="7014" y="6364"/>
                  </a:cubicBezTo>
                  <a:cubicBezTo>
                    <a:pt x="7014" y="6364"/>
                    <a:pt x="28" y="42141"/>
                    <a:pt x="28" y="61533"/>
                  </a:cubicBezTo>
                  <a:lnTo>
                    <a:pt x="28" y="94315"/>
                  </a:lnTo>
                  <a:cubicBezTo>
                    <a:pt x="28" y="94446"/>
                    <a:pt x="28" y="94517"/>
                    <a:pt x="28" y="94517"/>
                  </a:cubicBezTo>
                  <a:cubicBezTo>
                    <a:pt x="28" y="94517"/>
                    <a:pt x="28" y="94577"/>
                    <a:pt x="4" y="94696"/>
                  </a:cubicBezTo>
                  <a:cubicBezTo>
                    <a:pt x="-55" y="96383"/>
                    <a:pt x="277" y="109845"/>
                    <a:pt x="23697" y="109881"/>
                  </a:cubicBezTo>
                  <a:cubicBezTo>
                    <a:pt x="23721" y="109881"/>
                    <a:pt x="23721" y="109881"/>
                    <a:pt x="23744" y="109881"/>
                  </a:cubicBezTo>
                  <a:cubicBezTo>
                    <a:pt x="23744" y="109881"/>
                    <a:pt x="23756" y="109881"/>
                    <a:pt x="23768" y="109881"/>
                  </a:cubicBezTo>
                  <a:cubicBezTo>
                    <a:pt x="47200" y="109833"/>
                    <a:pt x="47521" y="96383"/>
                    <a:pt x="47461" y="94696"/>
                  </a:cubicBezTo>
                  <a:lnTo>
                    <a:pt x="47461" y="94505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31" name="Forma livre: Forma 1530">
              <a:extLst>
                <a:ext uri="{FF2B5EF4-FFF2-40B4-BE49-F238E27FC236}">
                  <a16:creationId xmlns:a16="http://schemas.microsoft.com/office/drawing/2014/main" id="{483363F8-B409-B67A-CF73-88CC5AA5E3B8}"/>
                </a:ext>
              </a:extLst>
            </p:cNvPr>
            <p:cNvSpPr/>
            <p:nvPr/>
          </p:nvSpPr>
          <p:spPr>
            <a:xfrm>
              <a:off x="3991419" y="3675766"/>
              <a:ext cx="87110" cy="175784"/>
            </a:xfrm>
            <a:custGeom>
              <a:avLst/>
              <a:gdLst>
                <a:gd name="connsiteX0" fmla="*/ 43559 w 87110"/>
                <a:gd name="connsiteY0" fmla="*/ 175784 h 175784"/>
                <a:gd name="connsiteX1" fmla="*/ 43559 w 87110"/>
                <a:gd name="connsiteY1" fmla="*/ 129076 h 175784"/>
                <a:gd name="connsiteX2" fmla="*/ 48763 w 87110"/>
                <a:gd name="connsiteY2" fmla="*/ 129076 h 175784"/>
                <a:gd name="connsiteX3" fmla="*/ 87083 w 87110"/>
                <a:gd name="connsiteY3" fmla="*/ 98432 h 175784"/>
                <a:gd name="connsiteX4" fmla="*/ 80227 w 87110"/>
                <a:gd name="connsiteY4" fmla="*/ 0 h 175784"/>
                <a:gd name="connsiteX5" fmla="*/ 58554 w 87110"/>
                <a:gd name="connsiteY5" fmla="*/ 75511 h 175784"/>
                <a:gd name="connsiteX6" fmla="*/ 47088 w 87110"/>
                <a:gd name="connsiteY6" fmla="*/ 87785 h 175784"/>
                <a:gd name="connsiteX7" fmla="*/ 40018 w 87110"/>
                <a:gd name="connsiteY7" fmla="*/ 87785 h 175784"/>
                <a:gd name="connsiteX8" fmla="*/ 28540 w 87110"/>
                <a:gd name="connsiteY8" fmla="*/ 75511 h 175784"/>
                <a:gd name="connsiteX9" fmla="*/ 6879 w 87110"/>
                <a:gd name="connsiteY9" fmla="*/ 0 h 175784"/>
                <a:gd name="connsiteX10" fmla="*/ 22 w 87110"/>
                <a:gd name="connsiteY10" fmla="*/ 98432 h 175784"/>
                <a:gd name="connsiteX11" fmla="*/ 23811 w 87110"/>
                <a:gd name="connsiteY11" fmla="*/ 124216 h 1757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87110" h="175784">
                  <a:moveTo>
                    <a:pt x="43559" y="175784"/>
                  </a:moveTo>
                  <a:lnTo>
                    <a:pt x="43559" y="129076"/>
                  </a:lnTo>
                  <a:lnTo>
                    <a:pt x="48763" y="129076"/>
                  </a:lnTo>
                  <a:cubicBezTo>
                    <a:pt x="54597" y="129076"/>
                    <a:pt x="88200" y="119237"/>
                    <a:pt x="87083" y="98432"/>
                  </a:cubicBezTo>
                  <a:lnTo>
                    <a:pt x="80227" y="0"/>
                  </a:lnTo>
                  <a:lnTo>
                    <a:pt x="58554" y="75511"/>
                  </a:lnTo>
                  <a:cubicBezTo>
                    <a:pt x="54775" y="86074"/>
                    <a:pt x="55263" y="87785"/>
                    <a:pt x="47088" y="87785"/>
                  </a:cubicBezTo>
                  <a:lnTo>
                    <a:pt x="40018" y="87785"/>
                  </a:lnTo>
                  <a:cubicBezTo>
                    <a:pt x="31843" y="87785"/>
                    <a:pt x="32318" y="86074"/>
                    <a:pt x="28540" y="75511"/>
                  </a:cubicBezTo>
                  <a:lnTo>
                    <a:pt x="6879" y="0"/>
                  </a:lnTo>
                  <a:lnTo>
                    <a:pt x="22" y="98432"/>
                  </a:lnTo>
                  <a:cubicBezTo>
                    <a:pt x="-607" y="110183"/>
                    <a:pt x="12107" y="119986"/>
                    <a:pt x="23811" y="124216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532" name="Gráfico 14">
            <a:extLst>
              <a:ext uri="{FF2B5EF4-FFF2-40B4-BE49-F238E27FC236}">
                <a16:creationId xmlns:a16="http://schemas.microsoft.com/office/drawing/2014/main" id="{4A94F170-8383-8283-53BC-463B8D881816}"/>
              </a:ext>
            </a:extLst>
          </p:cNvPr>
          <p:cNvGrpSpPr/>
          <p:nvPr/>
        </p:nvGrpSpPr>
        <p:grpSpPr>
          <a:xfrm>
            <a:off x="3813051" y="4731892"/>
            <a:ext cx="290900" cy="290818"/>
            <a:chOff x="3813051" y="4731892"/>
            <a:chExt cx="290900" cy="290818"/>
          </a:xfrm>
          <a:noFill/>
        </p:grpSpPr>
        <p:sp>
          <p:nvSpPr>
            <p:cNvPr id="1533" name="Forma livre: Forma 1532">
              <a:extLst>
                <a:ext uri="{FF2B5EF4-FFF2-40B4-BE49-F238E27FC236}">
                  <a16:creationId xmlns:a16="http://schemas.microsoft.com/office/drawing/2014/main" id="{72963F1C-C1B3-6FB6-9DEA-1A3699793706}"/>
                </a:ext>
              </a:extLst>
            </p:cNvPr>
            <p:cNvSpPr/>
            <p:nvPr/>
          </p:nvSpPr>
          <p:spPr>
            <a:xfrm>
              <a:off x="3813051" y="4731892"/>
              <a:ext cx="290900" cy="290818"/>
            </a:xfrm>
            <a:custGeom>
              <a:avLst/>
              <a:gdLst>
                <a:gd name="connsiteX0" fmla="*/ 155457 w 290900"/>
                <a:gd name="connsiteY0" fmla="*/ 281185 h 290818"/>
                <a:gd name="connsiteX1" fmla="*/ 108689 w 290900"/>
                <a:gd name="connsiteY1" fmla="*/ 281185 h 290818"/>
                <a:gd name="connsiteX2" fmla="*/ 9651 w 290900"/>
                <a:gd name="connsiteY2" fmla="*/ 182135 h 290818"/>
                <a:gd name="connsiteX3" fmla="*/ 9651 w 290900"/>
                <a:gd name="connsiteY3" fmla="*/ 135391 h 290818"/>
                <a:gd name="connsiteX4" fmla="*/ 135376 w 290900"/>
                <a:gd name="connsiteY4" fmla="*/ 9642 h 290818"/>
                <a:gd name="connsiteX5" fmla="*/ 182144 w 290900"/>
                <a:gd name="connsiteY5" fmla="*/ 9642 h 290818"/>
                <a:gd name="connsiteX6" fmla="*/ 281253 w 290900"/>
                <a:gd name="connsiteY6" fmla="*/ 108716 h 290818"/>
                <a:gd name="connsiteX7" fmla="*/ 281253 w 290900"/>
                <a:gd name="connsiteY7" fmla="*/ 155460 h 290818"/>
                <a:gd name="connsiteX8" fmla="*/ 155445 w 290900"/>
                <a:gd name="connsiteY8" fmla="*/ 281221 h 290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90900" h="290818">
                  <a:moveTo>
                    <a:pt x="155457" y="281185"/>
                  </a:moveTo>
                  <a:cubicBezTo>
                    <a:pt x="142589" y="294030"/>
                    <a:pt x="121557" y="294030"/>
                    <a:pt x="108689" y="281185"/>
                  </a:cubicBezTo>
                  <a:lnTo>
                    <a:pt x="9651" y="182135"/>
                  </a:lnTo>
                  <a:cubicBezTo>
                    <a:pt x="-3217" y="169291"/>
                    <a:pt x="-3217" y="148248"/>
                    <a:pt x="9651" y="135391"/>
                  </a:cubicBezTo>
                  <a:lnTo>
                    <a:pt x="135376" y="9642"/>
                  </a:lnTo>
                  <a:cubicBezTo>
                    <a:pt x="148233" y="-3202"/>
                    <a:pt x="169276" y="-3226"/>
                    <a:pt x="182144" y="9642"/>
                  </a:cubicBezTo>
                  <a:lnTo>
                    <a:pt x="281253" y="108716"/>
                  </a:lnTo>
                  <a:cubicBezTo>
                    <a:pt x="294110" y="121560"/>
                    <a:pt x="294122" y="142604"/>
                    <a:pt x="281253" y="155460"/>
                  </a:cubicBezTo>
                  <a:lnTo>
                    <a:pt x="155445" y="281221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34" name="Forma livre: Forma 1533">
              <a:extLst>
                <a:ext uri="{FF2B5EF4-FFF2-40B4-BE49-F238E27FC236}">
                  <a16:creationId xmlns:a16="http://schemas.microsoft.com/office/drawing/2014/main" id="{58FBD80B-C9AE-4910-A2A0-28DB666F99A5}"/>
                </a:ext>
              </a:extLst>
            </p:cNvPr>
            <p:cNvSpPr/>
            <p:nvPr/>
          </p:nvSpPr>
          <p:spPr>
            <a:xfrm>
              <a:off x="4028394" y="4742034"/>
              <a:ext cx="65360" cy="77245"/>
            </a:xfrm>
            <a:custGeom>
              <a:avLst/>
              <a:gdLst>
                <a:gd name="connsiteX0" fmla="*/ 0 w 65360"/>
                <a:gd name="connsiteY0" fmla="*/ 7866 h 77245"/>
                <a:gd name="connsiteX1" fmla="*/ 4052 w 65360"/>
                <a:gd name="connsiteY1" fmla="*/ 3814 h 77245"/>
                <a:gd name="connsiteX2" fmla="*/ 22528 w 65360"/>
                <a:gd name="connsiteY2" fmla="*/ 3814 h 77245"/>
                <a:gd name="connsiteX3" fmla="*/ 61538 w 65360"/>
                <a:gd name="connsiteY3" fmla="*/ 42835 h 77245"/>
                <a:gd name="connsiteX4" fmla="*/ 61538 w 65360"/>
                <a:gd name="connsiteY4" fmla="*/ 61312 h 77245"/>
                <a:gd name="connsiteX5" fmla="*/ 45604 w 65360"/>
                <a:gd name="connsiteY5" fmla="*/ 77246 h 772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5360" h="77245">
                  <a:moveTo>
                    <a:pt x="0" y="7866"/>
                  </a:moveTo>
                  <a:lnTo>
                    <a:pt x="4052" y="3814"/>
                  </a:lnTo>
                  <a:cubicBezTo>
                    <a:pt x="9125" y="-1271"/>
                    <a:pt x="17455" y="-1271"/>
                    <a:pt x="22528" y="3814"/>
                  </a:cubicBezTo>
                  <a:lnTo>
                    <a:pt x="61538" y="42835"/>
                  </a:lnTo>
                  <a:cubicBezTo>
                    <a:pt x="66635" y="47909"/>
                    <a:pt x="66635" y="56226"/>
                    <a:pt x="61538" y="61312"/>
                  </a:cubicBezTo>
                  <a:lnTo>
                    <a:pt x="45604" y="77246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35" name="Forma livre: Forma 1534">
              <a:extLst>
                <a:ext uri="{FF2B5EF4-FFF2-40B4-BE49-F238E27FC236}">
                  <a16:creationId xmlns:a16="http://schemas.microsoft.com/office/drawing/2014/main" id="{673E36BF-EC95-3706-CC03-BF19B37F97BF}"/>
                </a:ext>
              </a:extLst>
            </p:cNvPr>
            <p:cNvSpPr/>
            <p:nvPr/>
          </p:nvSpPr>
          <p:spPr>
            <a:xfrm>
              <a:off x="3822125" y="4934905"/>
              <a:ext cx="78785" cy="78757"/>
            </a:xfrm>
            <a:custGeom>
              <a:avLst/>
              <a:gdLst>
                <a:gd name="connsiteX0" fmla="*/ 78786 w 78785"/>
                <a:gd name="connsiteY0" fmla="*/ 57486 h 78757"/>
                <a:gd name="connsiteX1" fmla="*/ 61319 w 78785"/>
                <a:gd name="connsiteY1" fmla="*/ 74953 h 78757"/>
                <a:gd name="connsiteX2" fmla="*/ 42831 w 78785"/>
                <a:gd name="connsiteY2" fmla="*/ 74953 h 78757"/>
                <a:gd name="connsiteX3" fmla="*/ 3810 w 78785"/>
                <a:gd name="connsiteY3" fmla="*/ 35932 h 78757"/>
                <a:gd name="connsiteX4" fmla="*/ 3810 w 78785"/>
                <a:gd name="connsiteY4" fmla="*/ 17455 h 78757"/>
                <a:gd name="connsiteX5" fmla="*/ 21276 w 78785"/>
                <a:gd name="connsiteY5" fmla="*/ 0 h 787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8785" h="78757">
                  <a:moveTo>
                    <a:pt x="78786" y="57486"/>
                  </a:moveTo>
                  <a:lnTo>
                    <a:pt x="61319" y="74953"/>
                  </a:lnTo>
                  <a:cubicBezTo>
                    <a:pt x="56234" y="80026"/>
                    <a:pt x="47904" y="80026"/>
                    <a:pt x="42831" y="74953"/>
                  </a:cubicBezTo>
                  <a:lnTo>
                    <a:pt x="3810" y="35932"/>
                  </a:lnTo>
                  <a:cubicBezTo>
                    <a:pt x="-1276" y="30858"/>
                    <a:pt x="-1264" y="22540"/>
                    <a:pt x="3810" y="17455"/>
                  </a:cubicBezTo>
                  <a:lnTo>
                    <a:pt x="21276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36" name="Forma livre: Forma 1535">
              <a:extLst>
                <a:ext uri="{FF2B5EF4-FFF2-40B4-BE49-F238E27FC236}">
                  <a16:creationId xmlns:a16="http://schemas.microsoft.com/office/drawing/2014/main" id="{860A1016-854C-4CAC-EA50-BF47D5C7F44D}"/>
                </a:ext>
              </a:extLst>
            </p:cNvPr>
            <p:cNvSpPr/>
            <p:nvPr/>
          </p:nvSpPr>
          <p:spPr>
            <a:xfrm>
              <a:off x="3989433" y="4784441"/>
              <a:ext cx="103398" cy="103315"/>
            </a:xfrm>
            <a:custGeom>
              <a:avLst/>
              <a:gdLst>
                <a:gd name="connsiteX0" fmla="*/ 0 w 103398"/>
                <a:gd name="connsiteY0" fmla="*/ 0 h 103315"/>
                <a:gd name="connsiteX1" fmla="*/ 103398 w 103398"/>
                <a:gd name="connsiteY1" fmla="*/ 103315 h 1033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3398" h="103315">
                  <a:moveTo>
                    <a:pt x="0" y="0"/>
                  </a:moveTo>
                  <a:lnTo>
                    <a:pt x="103398" y="103315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537" name="Gráfico 14">
              <a:extLst>
                <a:ext uri="{FF2B5EF4-FFF2-40B4-BE49-F238E27FC236}">
                  <a16:creationId xmlns:a16="http://schemas.microsoft.com/office/drawing/2014/main" id="{47082AD8-3872-BD65-A4EE-F5E339B2B8AA}"/>
                </a:ext>
              </a:extLst>
            </p:cNvPr>
            <p:cNvGrpSpPr/>
            <p:nvPr/>
          </p:nvGrpSpPr>
          <p:grpSpPr>
            <a:xfrm>
              <a:off x="3826089" y="4744541"/>
              <a:ext cx="265197" cy="265126"/>
              <a:chOff x="3826089" y="4744541"/>
              <a:chExt cx="265197" cy="265126"/>
            </a:xfrm>
          </p:grpSpPr>
          <p:sp>
            <p:nvSpPr>
              <p:cNvPr id="1538" name="Forma livre: Forma 1537">
                <a:extLst>
                  <a:ext uri="{FF2B5EF4-FFF2-40B4-BE49-F238E27FC236}">
                    <a16:creationId xmlns:a16="http://schemas.microsoft.com/office/drawing/2014/main" id="{DBBCABDC-7E22-9826-D515-F1FA697D7D06}"/>
                  </a:ext>
                </a:extLst>
              </p:cNvPr>
              <p:cNvSpPr/>
              <p:nvPr/>
            </p:nvSpPr>
            <p:spPr>
              <a:xfrm>
                <a:off x="3826089" y="4744541"/>
                <a:ext cx="171019" cy="170972"/>
              </a:xfrm>
              <a:custGeom>
                <a:avLst/>
                <a:gdLst>
                  <a:gd name="connsiteX0" fmla="*/ 171020 w 171019"/>
                  <a:gd name="connsiteY0" fmla="*/ 0 h 170972"/>
                  <a:gd name="connsiteX1" fmla="*/ 0 w 171019"/>
                  <a:gd name="connsiteY1" fmla="*/ 170972 h 1709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71019" h="170972">
                    <a:moveTo>
                      <a:pt x="171020" y="0"/>
                    </a:moveTo>
                    <a:lnTo>
                      <a:pt x="0" y="170972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539" name="Forma livre: Forma 1538">
                <a:extLst>
                  <a:ext uri="{FF2B5EF4-FFF2-40B4-BE49-F238E27FC236}">
                    <a16:creationId xmlns:a16="http://schemas.microsoft.com/office/drawing/2014/main" id="{B1F11777-3FBB-A09D-2991-0EAE5C818C1A}"/>
                  </a:ext>
                </a:extLst>
              </p:cNvPr>
              <p:cNvSpPr/>
              <p:nvPr/>
            </p:nvSpPr>
            <p:spPr>
              <a:xfrm>
                <a:off x="3920243" y="4838695"/>
                <a:ext cx="171043" cy="170972"/>
              </a:xfrm>
              <a:custGeom>
                <a:avLst/>
                <a:gdLst>
                  <a:gd name="connsiteX0" fmla="*/ 171043 w 171043"/>
                  <a:gd name="connsiteY0" fmla="*/ 0 h 170972"/>
                  <a:gd name="connsiteX1" fmla="*/ 0 w 171043"/>
                  <a:gd name="connsiteY1" fmla="*/ 170972 h 1709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71043" h="170972">
                    <a:moveTo>
                      <a:pt x="171043" y="0"/>
                    </a:moveTo>
                    <a:lnTo>
                      <a:pt x="0" y="170972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540" name="Forma livre: Forma 1539">
              <a:extLst>
                <a:ext uri="{FF2B5EF4-FFF2-40B4-BE49-F238E27FC236}">
                  <a16:creationId xmlns:a16="http://schemas.microsoft.com/office/drawing/2014/main" id="{F6AAF91C-DAF6-D374-FEFD-2EB19A9933FC}"/>
                </a:ext>
              </a:extLst>
            </p:cNvPr>
            <p:cNvSpPr/>
            <p:nvPr/>
          </p:nvSpPr>
          <p:spPr>
            <a:xfrm>
              <a:off x="3964671" y="4809215"/>
              <a:ext cx="103398" cy="103315"/>
            </a:xfrm>
            <a:custGeom>
              <a:avLst/>
              <a:gdLst>
                <a:gd name="connsiteX0" fmla="*/ 0 w 103398"/>
                <a:gd name="connsiteY0" fmla="*/ 0 h 103315"/>
                <a:gd name="connsiteX1" fmla="*/ 103398 w 103398"/>
                <a:gd name="connsiteY1" fmla="*/ 103315 h 1033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3398" h="103315">
                  <a:moveTo>
                    <a:pt x="0" y="0"/>
                  </a:moveTo>
                  <a:lnTo>
                    <a:pt x="103398" y="103315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41" name="Forma livre: Forma 1540">
              <a:extLst>
                <a:ext uri="{FF2B5EF4-FFF2-40B4-BE49-F238E27FC236}">
                  <a16:creationId xmlns:a16="http://schemas.microsoft.com/office/drawing/2014/main" id="{3AC93730-87E6-8B7D-035D-8BC5744FDD77}"/>
                </a:ext>
              </a:extLst>
            </p:cNvPr>
            <p:cNvSpPr/>
            <p:nvPr/>
          </p:nvSpPr>
          <p:spPr>
            <a:xfrm>
              <a:off x="3939908" y="4833978"/>
              <a:ext cx="103386" cy="103338"/>
            </a:xfrm>
            <a:custGeom>
              <a:avLst/>
              <a:gdLst>
                <a:gd name="connsiteX0" fmla="*/ 0 w 103386"/>
                <a:gd name="connsiteY0" fmla="*/ 0 h 103338"/>
                <a:gd name="connsiteX1" fmla="*/ 103387 w 103386"/>
                <a:gd name="connsiteY1" fmla="*/ 103339 h 1033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3386" h="103338">
                  <a:moveTo>
                    <a:pt x="0" y="0"/>
                  </a:moveTo>
                  <a:lnTo>
                    <a:pt x="103387" y="103339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42" name="Forma livre: Forma 1541">
              <a:extLst>
                <a:ext uri="{FF2B5EF4-FFF2-40B4-BE49-F238E27FC236}">
                  <a16:creationId xmlns:a16="http://schemas.microsoft.com/office/drawing/2014/main" id="{76018E95-8A27-7B29-8F73-05BED2C3E2AC}"/>
                </a:ext>
              </a:extLst>
            </p:cNvPr>
            <p:cNvSpPr/>
            <p:nvPr/>
          </p:nvSpPr>
          <p:spPr>
            <a:xfrm>
              <a:off x="3915122" y="4858740"/>
              <a:ext cx="103410" cy="103327"/>
            </a:xfrm>
            <a:custGeom>
              <a:avLst/>
              <a:gdLst>
                <a:gd name="connsiteX0" fmla="*/ 0 w 103410"/>
                <a:gd name="connsiteY0" fmla="*/ 0 h 103327"/>
                <a:gd name="connsiteX1" fmla="*/ 103410 w 103410"/>
                <a:gd name="connsiteY1" fmla="*/ 103327 h 10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3410" h="103327">
                  <a:moveTo>
                    <a:pt x="0" y="0"/>
                  </a:moveTo>
                  <a:lnTo>
                    <a:pt x="103410" y="103327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43" name="Forma livre: Forma 1542">
              <a:extLst>
                <a:ext uri="{FF2B5EF4-FFF2-40B4-BE49-F238E27FC236}">
                  <a16:creationId xmlns:a16="http://schemas.microsoft.com/office/drawing/2014/main" id="{88583108-C38F-2EDC-42CE-62EDB25DB8D1}"/>
                </a:ext>
              </a:extLst>
            </p:cNvPr>
            <p:cNvSpPr/>
            <p:nvPr/>
          </p:nvSpPr>
          <p:spPr>
            <a:xfrm>
              <a:off x="3890383" y="4883514"/>
              <a:ext cx="103362" cy="103327"/>
            </a:xfrm>
            <a:custGeom>
              <a:avLst/>
              <a:gdLst>
                <a:gd name="connsiteX0" fmla="*/ 0 w 103362"/>
                <a:gd name="connsiteY0" fmla="*/ 0 h 103327"/>
                <a:gd name="connsiteX1" fmla="*/ 103363 w 103362"/>
                <a:gd name="connsiteY1" fmla="*/ 103327 h 10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3362" h="103327">
                  <a:moveTo>
                    <a:pt x="0" y="0"/>
                  </a:moveTo>
                  <a:lnTo>
                    <a:pt x="103363" y="103327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44" name="Forma livre: Forma 1543">
              <a:extLst>
                <a:ext uri="{FF2B5EF4-FFF2-40B4-BE49-F238E27FC236}">
                  <a16:creationId xmlns:a16="http://schemas.microsoft.com/office/drawing/2014/main" id="{0E0E0330-8353-31BD-8B34-087E37CFB55C}"/>
                </a:ext>
              </a:extLst>
            </p:cNvPr>
            <p:cNvSpPr/>
            <p:nvPr/>
          </p:nvSpPr>
          <p:spPr>
            <a:xfrm>
              <a:off x="3865645" y="4908289"/>
              <a:ext cx="103315" cy="103315"/>
            </a:xfrm>
            <a:custGeom>
              <a:avLst/>
              <a:gdLst>
                <a:gd name="connsiteX0" fmla="*/ 0 w 103315"/>
                <a:gd name="connsiteY0" fmla="*/ 0 h 103315"/>
                <a:gd name="connsiteX1" fmla="*/ 103315 w 103315"/>
                <a:gd name="connsiteY1" fmla="*/ 103315 h 1033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3315" h="103315">
                  <a:moveTo>
                    <a:pt x="0" y="0"/>
                  </a:moveTo>
                  <a:lnTo>
                    <a:pt x="103315" y="103315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45" name="Forma livre: Forma 1544">
              <a:extLst>
                <a:ext uri="{FF2B5EF4-FFF2-40B4-BE49-F238E27FC236}">
                  <a16:creationId xmlns:a16="http://schemas.microsoft.com/office/drawing/2014/main" id="{3F45817B-0792-F990-E360-2A5967BFACFC}"/>
                </a:ext>
              </a:extLst>
            </p:cNvPr>
            <p:cNvSpPr/>
            <p:nvPr/>
          </p:nvSpPr>
          <p:spPr>
            <a:xfrm>
              <a:off x="3947786" y="4742794"/>
              <a:ext cx="25106" cy="25035"/>
            </a:xfrm>
            <a:custGeom>
              <a:avLst/>
              <a:gdLst>
                <a:gd name="connsiteX0" fmla="*/ 0 w 25106"/>
                <a:gd name="connsiteY0" fmla="*/ 0 h 25035"/>
                <a:gd name="connsiteX1" fmla="*/ 25107 w 25106"/>
                <a:gd name="connsiteY1" fmla="*/ 25036 h 250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5106" h="25035">
                  <a:moveTo>
                    <a:pt x="0" y="0"/>
                  </a:moveTo>
                  <a:lnTo>
                    <a:pt x="25107" y="25036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46" name="Forma livre: Forma 1545">
              <a:extLst>
                <a:ext uri="{FF2B5EF4-FFF2-40B4-BE49-F238E27FC236}">
                  <a16:creationId xmlns:a16="http://schemas.microsoft.com/office/drawing/2014/main" id="{8D327728-5EAA-5533-A7E8-CB6019D5D615}"/>
                </a:ext>
              </a:extLst>
            </p:cNvPr>
            <p:cNvSpPr/>
            <p:nvPr/>
          </p:nvSpPr>
          <p:spPr>
            <a:xfrm>
              <a:off x="3923024" y="4767568"/>
              <a:ext cx="25106" cy="25035"/>
            </a:xfrm>
            <a:custGeom>
              <a:avLst/>
              <a:gdLst>
                <a:gd name="connsiteX0" fmla="*/ 0 w 25106"/>
                <a:gd name="connsiteY0" fmla="*/ 0 h 25035"/>
                <a:gd name="connsiteX1" fmla="*/ 25107 w 25106"/>
                <a:gd name="connsiteY1" fmla="*/ 25036 h 250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5106" h="25035">
                  <a:moveTo>
                    <a:pt x="0" y="0"/>
                  </a:moveTo>
                  <a:lnTo>
                    <a:pt x="25107" y="25036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47" name="Forma livre: Forma 1546">
              <a:extLst>
                <a:ext uri="{FF2B5EF4-FFF2-40B4-BE49-F238E27FC236}">
                  <a16:creationId xmlns:a16="http://schemas.microsoft.com/office/drawing/2014/main" id="{3DE0E5D1-BC92-C65B-E3F1-744FBC9C1160}"/>
                </a:ext>
              </a:extLst>
            </p:cNvPr>
            <p:cNvSpPr/>
            <p:nvPr/>
          </p:nvSpPr>
          <p:spPr>
            <a:xfrm>
              <a:off x="3898261" y="4792331"/>
              <a:ext cx="25095" cy="25023"/>
            </a:xfrm>
            <a:custGeom>
              <a:avLst/>
              <a:gdLst>
                <a:gd name="connsiteX0" fmla="*/ 0 w 25095"/>
                <a:gd name="connsiteY0" fmla="*/ 0 h 25023"/>
                <a:gd name="connsiteX1" fmla="*/ 25095 w 25095"/>
                <a:gd name="connsiteY1" fmla="*/ 25024 h 250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5095" h="25023">
                  <a:moveTo>
                    <a:pt x="0" y="0"/>
                  </a:moveTo>
                  <a:lnTo>
                    <a:pt x="25095" y="25024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48" name="Forma livre: Forma 1547">
              <a:extLst>
                <a:ext uri="{FF2B5EF4-FFF2-40B4-BE49-F238E27FC236}">
                  <a16:creationId xmlns:a16="http://schemas.microsoft.com/office/drawing/2014/main" id="{D241B504-46AB-AFCE-FE51-CDA9955B5C2D}"/>
                </a:ext>
              </a:extLst>
            </p:cNvPr>
            <p:cNvSpPr/>
            <p:nvPr/>
          </p:nvSpPr>
          <p:spPr>
            <a:xfrm>
              <a:off x="3873475" y="4817105"/>
              <a:ext cx="25118" cy="25035"/>
            </a:xfrm>
            <a:custGeom>
              <a:avLst/>
              <a:gdLst>
                <a:gd name="connsiteX0" fmla="*/ 0 w 25118"/>
                <a:gd name="connsiteY0" fmla="*/ 0 h 25035"/>
                <a:gd name="connsiteX1" fmla="*/ 25119 w 25118"/>
                <a:gd name="connsiteY1" fmla="*/ 25036 h 250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5118" h="25035">
                  <a:moveTo>
                    <a:pt x="0" y="0"/>
                  </a:moveTo>
                  <a:lnTo>
                    <a:pt x="25119" y="25036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49" name="Forma livre: Forma 1548">
              <a:extLst>
                <a:ext uri="{FF2B5EF4-FFF2-40B4-BE49-F238E27FC236}">
                  <a16:creationId xmlns:a16="http://schemas.microsoft.com/office/drawing/2014/main" id="{8152FCE2-ADDA-A468-5670-85440C3D3DC9}"/>
                </a:ext>
              </a:extLst>
            </p:cNvPr>
            <p:cNvSpPr/>
            <p:nvPr/>
          </p:nvSpPr>
          <p:spPr>
            <a:xfrm>
              <a:off x="3848737" y="4841879"/>
              <a:ext cx="25059" cy="25023"/>
            </a:xfrm>
            <a:custGeom>
              <a:avLst/>
              <a:gdLst>
                <a:gd name="connsiteX0" fmla="*/ 0 w 25059"/>
                <a:gd name="connsiteY0" fmla="*/ 0 h 25023"/>
                <a:gd name="connsiteX1" fmla="*/ 25059 w 25059"/>
                <a:gd name="connsiteY1" fmla="*/ 25024 h 250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5059" h="25023">
                  <a:moveTo>
                    <a:pt x="0" y="0"/>
                  </a:moveTo>
                  <a:lnTo>
                    <a:pt x="25059" y="25024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50" name="Forma livre: Forma 1549">
              <a:extLst>
                <a:ext uri="{FF2B5EF4-FFF2-40B4-BE49-F238E27FC236}">
                  <a16:creationId xmlns:a16="http://schemas.microsoft.com/office/drawing/2014/main" id="{02DA9426-9C34-8701-8E9F-0D8FA96BD591}"/>
                </a:ext>
              </a:extLst>
            </p:cNvPr>
            <p:cNvSpPr/>
            <p:nvPr/>
          </p:nvSpPr>
          <p:spPr>
            <a:xfrm>
              <a:off x="3823986" y="4866642"/>
              <a:ext cx="25035" cy="25035"/>
            </a:xfrm>
            <a:custGeom>
              <a:avLst/>
              <a:gdLst>
                <a:gd name="connsiteX0" fmla="*/ 0 w 25035"/>
                <a:gd name="connsiteY0" fmla="*/ 0 h 25035"/>
                <a:gd name="connsiteX1" fmla="*/ 25036 w 25035"/>
                <a:gd name="connsiteY1" fmla="*/ 25036 h 250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5035" h="25035">
                  <a:moveTo>
                    <a:pt x="0" y="0"/>
                  </a:moveTo>
                  <a:lnTo>
                    <a:pt x="25036" y="25036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551" name="Gráfico 14">
            <a:extLst>
              <a:ext uri="{FF2B5EF4-FFF2-40B4-BE49-F238E27FC236}">
                <a16:creationId xmlns:a16="http://schemas.microsoft.com/office/drawing/2014/main" id="{79914634-C7DE-CC29-AFD9-67C972004CCC}"/>
              </a:ext>
            </a:extLst>
          </p:cNvPr>
          <p:cNvGrpSpPr/>
          <p:nvPr/>
        </p:nvGrpSpPr>
        <p:grpSpPr>
          <a:xfrm>
            <a:off x="3811024" y="5771455"/>
            <a:ext cx="294951" cy="310449"/>
            <a:chOff x="3811024" y="5771455"/>
            <a:chExt cx="294951" cy="310449"/>
          </a:xfrm>
        </p:grpSpPr>
        <p:sp>
          <p:nvSpPr>
            <p:cNvPr id="1552" name="Forma livre: Forma 1551">
              <a:extLst>
                <a:ext uri="{FF2B5EF4-FFF2-40B4-BE49-F238E27FC236}">
                  <a16:creationId xmlns:a16="http://schemas.microsoft.com/office/drawing/2014/main" id="{0A99CA1D-BAC8-A964-B4AB-6F26B6872F36}"/>
                </a:ext>
              </a:extLst>
            </p:cNvPr>
            <p:cNvSpPr/>
            <p:nvPr/>
          </p:nvSpPr>
          <p:spPr>
            <a:xfrm>
              <a:off x="3917784" y="5771455"/>
              <a:ext cx="188192" cy="225998"/>
            </a:xfrm>
            <a:custGeom>
              <a:avLst/>
              <a:gdLst>
                <a:gd name="connsiteX0" fmla="*/ 0 w 188192"/>
                <a:gd name="connsiteY0" fmla="*/ 152483 h 225998"/>
                <a:gd name="connsiteX1" fmla="*/ 122600 w 188192"/>
                <a:gd name="connsiteY1" fmla="*/ 27982 h 225998"/>
                <a:gd name="connsiteX2" fmla="*/ 188189 w 188192"/>
                <a:gd name="connsiteY2" fmla="*/ 0 h 225998"/>
                <a:gd name="connsiteX3" fmla="*/ 64888 w 188192"/>
                <a:gd name="connsiteY3" fmla="*/ 225998 h 225998"/>
                <a:gd name="connsiteX4" fmla="*/ 0 w 188192"/>
                <a:gd name="connsiteY4" fmla="*/ 152483 h 2259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8192" h="225998">
                  <a:moveTo>
                    <a:pt x="0" y="152483"/>
                  </a:moveTo>
                  <a:lnTo>
                    <a:pt x="122600" y="27982"/>
                  </a:lnTo>
                  <a:cubicBezTo>
                    <a:pt x="122600" y="27982"/>
                    <a:pt x="146388" y="2578"/>
                    <a:pt x="188189" y="0"/>
                  </a:cubicBezTo>
                  <a:cubicBezTo>
                    <a:pt x="188189" y="0"/>
                    <a:pt x="190518" y="82486"/>
                    <a:pt x="64888" y="225998"/>
                  </a:cubicBezTo>
                  <a:lnTo>
                    <a:pt x="0" y="152483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53" name="Forma livre: Forma 1552">
              <a:extLst>
                <a:ext uri="{FF2B5EF4-FFF2-40B4-BE49-F238E27FC236}">
                  <a16:creationId xmlns:a16="http://schemas.microsoft.com/office/drawing/2014/main" id="{7848A916-BBBB-8EB1-267E-02366F2D92A2}"/>
                </a:ext>
              </a:extLst>
            </p:cNvPr>
            <p:cNvSpPr/>
            <p:nvPr/>
          </p:nvSpPr>
          <p:spPr>
            <a:xfrm>
              <a:off x="3811024" y="5940978"/>
              <a:ext cx="150770" cy="140926"/>
            </a:xfrm>
            <a:custGeom>
              <a:avLst/>
              <a:gdLst>
                <a:gd name="connsiteX0" fmla="*/ 90077 w 150770"/>
                <a:gd name="connsiteY0" fmla="*/ 0 h 140926"/>
                <a:gd name="connsiteX1" fmla="*/ 21576 w 150770"/>
                <a:gd name="connsiteY1" fmla="*/ 69534 h 140926"/>
                <a:gd name="connsiteX2" fmla="*/ 7187 w 150770"/>
                <a:gd name="connsiteY2" fmla="*/ 127876 h 140926"/>
                <a:gd name="connsiteX3" fmla="*/ 55892 w 150770"/>
                <a:gd name="connsiteY3" fmla="*/ 127971 h 140926"/>
                <a:gd name="connsiteX4" fmla="*/ 63306 w 150770"/>
                <a:gd name="connsiteY4" fmla="*/ 105371 h 140926"/>
                <a:gd name="connsiteX5" fmla="*/ 80583 w 150770"/>
                <a:gd name="connsiteY5" fmla="*/ 74798 h 140926"/>
                <a:gd name="connsiteX6" fmla="*/ 99915 w 150770"/>
                <a:gd name="connsiteY6" fmla="*/ 55644 h 140926"/>
                <a:gd name="connsiteX7" fmla="*/ 122230 w 150770"/>
                <a:gd name="connsiteY7" fmla="*/ 47861 h 140926"/>
                <a:gd name="connsiteX8" fmla="*/ 150771 w 150770"/>
                <a:gd name="connsiteY8" fmla="*/ 32985 h 1409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50770" h="140926">
                  <a:moveTo>
                    <a:pt x="90077" y="0"/>
                  </a:moveTo>
                  <a:lnTo>
                    <a:pt x="21576" y="69534"/>
                  </a:lnTo>
                  <a:cubicBezTo>
                    <a:pt x="21576" y="69534"/>
                    <a:pt x="-15104" y="99121"/>
                    <a:pt x="7187" y="127876"/>
                  </a:cubicBezTo>
                  <a:cubicBezTo>
                    <a:pt x="7187" y="127876"/>
                    <a:pt x="32757" y="157177"/>
                    <a:pt x="55892" y="127971"/>
                  </a:cubicBezTo>
                  <a:cubicBezTo>
                    <a:pt x="55892" y="127971"/>
                    <a:pt x="62047" y="121792"/>
                    <a:pt x="63306" y="105371"/>
                  </a:cubicBezTo>
                  <a:cubicBezTo>
                    <a:pt x="63306" y="105371"/>
                    <a:pt x="64150" y="91481"/>
                    <a:pt x="80583" y="74798"/>
                  </a:cubicBezTo>
                  <a:lnTo>
                    <a:pt x="99915" y="55644"/>
                  </a:lnTo>
                  <a:cubicBezTo>
                    <a:pt x="99915" y="55644"/>
                    <a:pt x="106807" y="48135"/>
                    <a:pt x="122230" y="47861"/>
                  </a:cubicBezTo>
                  <a:cubicBezTo>
                    <a:pt x="122230" y="47861"/>
                    <a:pt x="137700" y="48432"/>
                    <a:pt x="150771" y="32985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54" name="Forma livre: Forma 1553">
              <a:extLst>
                <a:ext uri="{FF2B5EF4-FFF2-40B4-BE49-F238E27FC236}">
                  <a16:creationId xmlns:a16="http://schemas.microsoft.com/office/drawing/2014/main" id="{8BC44B70-32FF-ECB4-8B25-7B183DF42409}"/>
                </a:ext>
              </a:extLst>
            </p:cNvPr>
            <p:cNvSpPr/>
            <p:nvPr/>
          </p:nvSpPr>
          <p:spPr>
            <a:xfrm>
              <a:off x="3840407" y="6039481"/>
              <a:ext cx="7414" cy="7414"/>
            </a:xfrm>
            <a:custGeom>
              <a:avLst/>
              <a:gdLst>
                <a:gd name="connsiteX0" fmla="*/ 7414 w 7414"/>
                <a:gd name="connsiteY0" fmla="*/ 3707 h 7414"/>
                <a:gd name="connsiteX1" fmla="*/ 3707 w 7414"/>
                <a:gd name="connsiteY1" fmla="*/ 7414 h 7414"/>
                <a:gd name="connsiteX2" fmla="*/ 0 w 7414"/>
                <a:gd name="connsiteY2" fmla="*/ 3707 h 7414"/>
                <a:gd name="connsiteX3" fmla="*/ 3707 w 7414"/>
                <a:gd name="connsiteY3" fmla="*/ 0 h 7414"/>
                <a:gd name="connsiteX4" fmla="*/ 7414 w 7414"/>
                <a:gd name="connsiteY4" fmla="*/ 3707 h 74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414" h="7414">
                  <a:moveTo>
                    <a:pt x="7414" y="3707"/>
                  </a:moveTo>
                  <a:cubicBezTo>
                    <a:pt x="7414" y="5763"/>
                    <a:pt x="5763" y="7414"/>
                    <a:pt x="3707" y="7414"/>
                  </a:cubicBezTo>
                  <a:cubicBezTo>
                    <a:pt x="1651" y="7414"/>
                    <a:pt x="0" y="5763"/>
                    <a:pt x="0" y="3707"/>
                  </a:cubicBezTo>
                  <a:cubicBezTo>
                    <a:pt x="0" y="1652"/>
                    <a:pt x="1663" y="0"/>
                    <a:pt x="3707" y="0"/>
                  </a:cubicBezTo>
                  <a:cubicBezTo>
                    <a:pt x="5751" y="0"/>
                    <a:pt x="7414" y="1652"/>
                    <a:pt x="7414" y="3707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555" name="Gráfico 14">
            <a:extLst>
              <a:ext uri="{FF2B5EF4-FFF2-40B4-BE49-F238E27FC236}">
                <a16:creationId xmlns:a16="http://schemas.microsoft.com/office/drawing/2014/main" id="{2A7E6817-952C-91D4-5A9D-6D79C7ED1140}"/>
              </a:ext>
            </a:extLst>
          </p:cNvPr>
          <p:cNvGrpSpPr/>
          <p:nvPr/>
        </p:nvGrpSpPr>
        <p:grpSpPr>
          <a:xfrm>
            <a:off x="3845291" y="5247654"/>
            <a:ext cx="226425" cy="308674"/>
            <a:chOff x="3845291" y="5247654"/>
            <a:chExt cx="226425" cy="308674"/>
          </a:xfrm>
          <a:noFill/>
        </p:grpSpPr>
        <p:grpSp>
          <p:nvGrpSpPr>
            <p:cNvPr id="1556" name="Gráfico 14">
              <a:extLst>
                <a:ext uri="{FF2B5EF4-FFF2-40B4-BE49-F238E27FC236}">
                  <a16:creationId xmlns:a16="http://schemas.microsoft.com/office/drawing/2014/main" id="{99DB1221-3DE8-C63C-E830-149E9CB789B9}"/>
                </a:ext>
              </a:extLst>
            </p:cNvPr>
            <p:cNvGrpSpPr/>
            <p:nvPr/>
          </p:nvGrpSpPr>
          <p:grpSpPr>
            <a:xfrm>
              <a:off x="3880887" y="5317510"/>
              <a:ext cx="158475" cy="189701"/>
              <a:chOff x="3880887" y="5317510"/>
              <a:chExt cx="158475" cy="189701"/>
            </a:xfrm>
            <a:noFill/>
          </p:grpSpPr>
          <p:grpSp>
            <p:nvGrpSpPr>
              <p:cNvPr id="1557" name="Gráfico 14">
                <a:extLst>
                  <a:ext uri="{FF2B5EF4-FFF2-40B4-BE49-F238E27FC236}">
                    <a16:creationId xmlns:a16="http://schemas.microsoft.com/office/drawing/2014/main" id="{7849EA7C-4AC6-D843-A84D-C06FA56D1F6F}"/>
                  </a:ext>
                </a:extLst>
              </p:cNvPr>
              <p:cNvGrpSpPr/>
              <p:nvPr/>
            </p:nvGrpSpPr>
            <p:grpSpPr>
              <a:xfrm>
                <a:off x="3880887" y="5317510"/>
                <a:ext cx="155421" cy="189701"/>
                <a:chOff x="3880887" y="5317510"/>
                <a:chExt cx="155421" cy="189701"/>
              </a:xfrm>
              <a:noFill/>
            </p:grpSpPr>
            <p:sp>
              <p:nvSpPr>
                <p:cNvPr id="1558" name="Forma livre: Forma 1557">
                  <a:extLst>
                    <a:ext uri="{FF2B5EF4-FFF2-40B4-BE49-F238E27FC236}">
                      <a16:creationId xmlns:a16="http://schemas.microsoft.com/office/drawing/2014/main" id="{371BADEB-9AD6-95FD-5D50-7F37C1472A28}"/>
                    </a:ext>
                  </a:extLst>
                </p:cNvPr>
                <p:cNvSpPr/>
                <p:nvPr/>
              </p:nvSpPr>
              <p:spPr>
                <a:xfrm>
                  <a:off x="3880887" y="5377063"/>
                  <a:ext cx="82333" cy="130148"/>
                </a:xfrm>
                <a:custGeom>
                  <a:avLst/>
                  <a:gdLst>
                    <a:gd name="connsiteX0" fmla="*/ 37955 w 82333"/>
                    <a:gd name="connsiteY0" fmla="*/ 89176 h 130148"/>
                    <a:gd name="connsiteX1" fmla="*/ 15450 w 82333"/>
                    <a:gd name="connsiteY1" fmla="*/ 44974 h 130148"/>
                    <a:gd name="connsiteX2" fmla="*/ 8843 w 82333"/>
                    <a:gd name="connsiteY2" fmla="*/ 73265 h 130148"/>
                    <a:gd name="connsiteX3" fmla="*/ 3437 w 82333"/>
                    <a:gd name="connsiteY3" fmla="*/ 109137 h 130148"/>
                    <a:gd name="connsiteX4" fmla="*/ 40319 w 82333"/>
                    <a:gd name="connsiteY4" fmla="*/ 130109 h 130148"/>
                    <a:gd name="connsiteX5" fmla="*/ 82287 w 82333"/>
                    <a:gd name="connsiteY5" fmla="*/ 90863 h 130148"/>
                    <a:gd name="connsiteX6" fmla="*/ 63263 w 82333"/>
                    <a:gd name="connsiteY6" fmla="*/ 49893 h 130148"/>
                    <a:gd name="connsiteX7" fmla="*/ 52522 w 82333"/>
                    <a:gd name="connsiteY7" fmla="*/ 0 h 130148"/>
                    <a:gd name="connsiteX8" fmla="*/ 32536 w 82333"/>
                    <a:gd name="connsiteY8" fmla="*/ 35896 h 1301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82333" h="130148">
                      <a:moveTo>
                        <a:pt x="37955" y="89176"/>
                      </a:moveTo>
                      <a:cubicBezTo>
                        <a:pt x="39285" y="61443"/>
                        <a:pt x="15450" y="44974"/>
                        <a:pt x="15450" y="44974"/>
                      </a:cubicBezTo>
                      <a:cubicBezTo>
                        <a:pt x="15450" y="44974"/>
                        <a:pt x="22389" y="56345"/>
                        <a:pt x="8843" y="73265"/>
                      </a:cubicBezTo>
                      <a:cubicBezTo>
                        <a:pt x="8843" y="73265"/>
                        <a:pt x="-6710" y="90185"/>
                        <a:pt x="3437" y="109137"/>
                      </a:cubicBezTo>
                      <a:cubicBezTo>
                        <a:pt x="3437" y="109137"/>
                        <a:pt x="13596" y="130109"/>
                        <a:pt x="40319" y="130109"/>
                      </a:cubicBezTo>
                      <a:cubicBezTo>
                        <a:pt x="40319" y="130109"/>
                        <a:pt x="82287" y="132914"/>
                        <a:pt x="82287" y="90863"/>
                      </a:cubicBezTo>
                      <a:cubicBezTo>
                        <a:pt x="82287" y="90863"/>
                        <a:pt x="84212" y="67776"/>
                        <a:pt x="63263" y="49893"/>
                      </a:cubicBezTo>
                      <a:cubicBezTo>
                        <a:pt x="54376" y="42312"/>
                        <a:pt x="46914" y="25642"/>
                        <a:pt x="52522" y="0"/>
                      </a:cubicBezTo>
                      <a:cubicBezTo>
                        <a:pt x="52522" y="0"/>
                        <a:pt x="38774" y="16397"/>
                        <a:pt x="32536" y="35896"/>
                      </a:cubicBez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559" name="Forma livre: Forma 1558">
                  <a:extLst>
                    <a:ext uri="{FF2B5EF4-FFF2-40B4-BE49-F238E27FC236}">
                      <a16:creationId xmlns:a16="http://schemas.microsoft.com/office/drawing/2014/main" id="{E5F5B1C9-D95F-4C6E-31D5-AB65080B70A0}"/>
                    </a:ext>
                  </a:extLst>
                </p:cNvPr>
                <p:cNvSpPr/>
                <p:nvPr/>
              </p:nvSpPr>
              <p:spPr>
                <a:xfrm>
                  <a:off x="3882684" y="5317510"/>
                  <a:ext cx="153624" cy="1188"/>
                </a:xfrm>
                <a:custGeom>
                  <a:avLst/>
                  <a:gdLst>
                    <a:gd name="connsiteX0" fmla="*/ 0 w 153624"/>
                    <a:gd name="connsiteY0" fmla="*/ 0 h 1188"/>
                    <a:gd name="connsiteX1" fmla="*/ 153624 w 153624"/>
                    <a:gd name="connsiteY1" fmla="*/ 0 h 118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53624" h="1188">
                      <a:moveTo>
                        <a:pt x="0" y="0"/>
                      </a:moveTo>
                      <a:lnTo>
                        <a:pt x="153624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custDash>
                    <a:ds d="1500000" sp="1104000"/>
                  </a:custDash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1560" name="Forma livre: Forma 1559">
                <a:extLst>
                  <a:ext uri="{FF2B5EF4-FFF2-40B4-BE49-F238E27FC236}">
                    <a16:creationId xmlns:a16="http://schemas.microsoft.com/office/drawing/2014/main" id="{E3997EB1-2617-9FB8-2150-AD29E0C5ADDE}"/>
                  </a:ext>
                </a:extLst>
              </p:cNvPr>
              <p:cNvSpPr/>
              <p:nvPr/>
            </p:nvSpPr>
            <p:spPr>
              <a:xfrm>
                <a:off x="3999343" y="5355794"/>
                <a:ext cx="40019" cy="1188"/>
              </a:xfrm>
              <a:custGeom>
                <a:avLst/>
                <a:gdLst>
                  <a:gd name="connsiteX0" fmla="*/ 0 w 40019"/>
                  <a:gd name="connsiteY0" fmla="*/ 0 h 1188"/>
                  <a:gd name="connsiteX1" fmla="*/ 40019 w 40019"/>
                  <a:gd name="connsiteY1" fmla="*/ 0 h 11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0019" h="1188">
                    <a:moveTo>
                      <a:pt x="0" y="0"/>
                    </a:moveTo>
                    <a:lnTo>
                      <a:pt x="40019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561" name="Forma livre: Forma 1560">
              <a:extLst>
                <a:ext uri="{FF2B5EF4-FFF2-40B4-BE49-F238E27FC236}">
                  <a16:creationId xmlns:a16="http://schemas.microsoft.com/office/drawing/2014/main" id="{E18A3A2F-E611-DFF1-0D6F-17B05BA9D2EC}"/>
                </a:ext>
              </a:extLst>
            </p:cNvPr>
            <p:cNvSpPr/>
            <p:nvPr/>
          </p:nvSpPr>
          <p:spPr>
            <a:xfrm>
              <a:off x="3845291" y="5247654"/>
              <a:ext cx="226425" cy="308674"/>
            </a:xfrm>
            <a:custGeom>
              <a:avLst/>
              <a:gdLst>
                <a:gd name="connsiteX0" fmla="*/ 153351 w 226425"/>
                <a:gd name="connsiteY0" fmla="*/ 307973 h 308674"/>
                <a:gd name="connsiteX1" fmla="*/ 153351 w 226425"/>
                <a:gd name="connsiteY1" fmla="*/ 106749 h 308674"/>
                <a:gd name="connsiteX2" fmla="*/ 189603 w 226425"/>
                <a:gd name="connsiteY2" fmla="*/ 70461 h 308674"/>
                <a:gd name="connsiteX3" fmla="*/ 189603 w 226425"/>
                <a:gd name="connsiteY3" fmla="*/ 0 h 308674"/>
                <a:gd name="connsiteX4" fmla="*/ 170093 w 226425"/>
                <a:gd name="connsiteY4" fmla="*/ 13070 h 308674"/>
                <a:gd name="connsiteX5" fmla="*/ 151117 w 226425"/>
                <a:gd name="connsiteY5" fmla="*/ 0 h 308674"/>
                <a:gd name="connsiteX6" fmla="*/ 131832 w 226425"/>
                <a:gd name="connsiteY6" fmla="*/ 13070 h 308674"/>
                <a:gd name="connsiteX7" fmla="*/ 112845 w 226425"/>
                <a:gd name="connsiteY7" fmla="*/ 0 h 308674"/>
                <a:gd name="connsiteX8" fmla="*/ 93679 w 226425"/>
                <a:gd name="connsiteY8" fmla="*/ 13070 h 308674"/>
                <a:gd name="connsiteX9" fmla="*/ 74703 w 226425"/>
                <a:gd name="connsiteY9" fmla="*/ 0 h 308674"/>
                <a:gd name="connsiteX10" fmla="*/ 55525 w 226425"/>
                <a:gd name="connsiteY10" fmla="*/ 13070 h 308674"/>
                <a:gd name="connsiteX11" fmla="*/ 36336 w 226425"/>
                <a:gd name="connsiteY11" fmla="*/ 0 h 308674"/>
                <a:gd name="connsiteX12" fmla="*/ 36336 w 226425"/>
                <a:gd name="connsiteY12" fmla="*/ 70461 h 308674"/>
                <a:gd name="connsiteX13" fmla="*/ 0 w 226425"/>
                <a:gd name="connsiteY13" fmla="*/ 106749 h 308674"/>
                <a:gd name="connsiteX14" fmla="*/ 0 w 226425"/>
                <a:gd name="connsiteY14" fmla="*/ 308674 h 308674"/>
                <a:gd name="connsiteX15" fmla="*/ 226426 w 226425"/>
                <a:gd name="connsiteY15" fmla="*/ 308674 h 308674"/>
                <a:gd name="connsiteX16" fmla="*/ 226426 w 226425"/>
                <a:gd name="connsiteY16" fmla="*/ 106797 h 308674"/>
                <a:gd name="connsiteX17" fmla="*/ 190126 w 226425"/>
                <a:gd name="connsiteY17" fmla="*/ 70509 h 3086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226425" h="308674">
                  <a:moveTo>
                    <a:pt x="153351" y="307973"/>
                  </a:moveTo>
                  <a:lnTo>
                    <a:pt x="153351" y="106749"/>
                  </a:lnTo>
                  <a:lnTo>
                    <a:pt x="189603" y="70461"/>
                  </a:lnTo>
                  <a:lnTo>
                    <a:pt x="189603" y="0"/>
                  </a:lnTo>
                  <a:lnTo>
                    <a:pt x="170093" y="13070"/>
                  </a:lnTo>
                  <a:lnTo>
                    <a:pt x="151117" y="0"/>
                  </a:lnTo>
                  <a:lnTo>
                    <a:pt x="131832" y="13070"/>
                  </a:lnTo>
                  <a:lnTo>
                    <a:pt x="112845" y="0"/>
                  </a:lnTo>
                  <a:lnTo>
                    <a:pt x="93679" y="13070"/>
                  </a:lnTo>
                  <a:lnTo>
                    <a:pt x="74703" y="0"/>
                  </a:lnTo>
                  <a:lnTo>
                    <a:pt x="55525" y="13070"/>
                  </a:lnTo>
                  <a:lnTo>
                    <a:pt x="36336" y="0"/>
                  </a:lnTo>
                  <a:lnTo>
                    <a:pt x="36336" y="70461"/>
                  </a:lnTo>
                  <a:lnTo>
                    <a:pt x="0" y="106749"/>
                  </a:lnTo>
                  <a:lnTo>
                    <a:pt x="0" y="308674"/>
                  </a:lnTo>
                  <a:lnTo>
                    <a:pt x="226426" y="308674"/>
                  </a:lnTo>
                  <a:lnTo>
                    <a:pt x="226426" y="106797"/>
                  </a:lnTo>
                  <a:lnTo>
                    <a:pt x="190126" y="70509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563" name="Gráfico 15">
            <a:extLst>
              <a:ext uri="{FF2B5EF4-FFF2-40B4-BE49-F238E27FC236}">
                <a16:creationId xmlns:a16="http://schemas.microsoft.com/office/drawing/2014/main" id="{2D3322AF-3345-081F-51B5-803DB2F2F3FA}"/>
              </a:ext>
            </a:extLst>
          </p:cNvPr>
          <p:cNvGrpSpPr/>
          <p:nvPr/>
        </p:nvGrpSpPr>
        <p:grpSpPr>
          <a:xfrm>
            <a:off x="5640705" y="5260081"/>
            <a:ext cx="265823" cy="303825"/>
            <a:chOff x="5640705" y="5260081"/>
            <a:chExt cx="265823" cy="303825"/>
          </a:xfrm>
          <a:noFill/>
        </p:grpSpPr>
        <p:sp>
          <p:nvSpPr>
            <p:cNvPr id="1564" name="Forma livre: Forma 1563">
              <a:extLst>
                <a:ext uri="{FF2B5EF4-FFF2-40B4-BE49-F238E27FC236}">
                  <a16:creationId xmlns:a16="http://schemas.microsoft.com/office/drawing/2014/main" id="{5956A2AD-39B9-6789-CD14-164821F744C6}"/>
                </a:ext>
              </a:extLst>
            </p:cNvPr>
            <p:cNvSpPr/>
            <p:nvPr/>
          </p:nvSpPr>
          <p:spPr>
            <a:xfrm>
              <a:off x="5668119" y="5286141"/>
              <a:ext cx="238409" cy="277765"/>
            </a:xfrm>
            <a:custGeom>
              <a:avLst/>
              <a:gdLst>
                <a:gd name="connsiteX0" fmla="*/ 75982 w 238409"/>
                <a:gd name="connsiteY0" fmla="*/ 12 h 277765"/>
                <a:gd name="connsiteX1" fmla="*/ 209934 w 238409"/>
                <a:gd name="connsiteY1" fmla="*/ 12 h 277765"/>
                <a:gd name="connsiteX2" fmla="*/ 238410 w 238409"/>
                <a:gd name="connsiteY2" fmla="*/ 28487 h 277765"/>
                <a:gd name="connsiteX3" fmla="*/ 238410 w 238409"/>
                <a:gd name="connsiteY3" fmla="*/ 249290 h 277765"/>
                <a:gd name="connsiteX4" fmla="*/ 209934 w 238409"/>
                <a:gd name="connsiteY4" fmla="*/ 277765 h 277765"/>
                <a:gd name="connsiteX5" fmla="*/ 28475 w 238409"/>
                <a:gd name="connsiteY5" fmla="*/ 277741 h 277765"/>
                <a:gd name="connsiteX6" fmla="*/ 0 w 238409"/>
                <a:gd name="connsiteY6" fmla="*/ 249266 h 277765"/>
                <a:gd name="connsiteX7" fmla="*/ 0 w 238409"/>
                <a:gd name="connsiteY7" fmla="*/ 75531 h 277765"/>
                <a:gd name="connsiteX8" fmla="*/ 75982 w 238409"/>
                <a:gd name="connsiteY8" fmla="*/ 0 h 2777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38409" h="277765">
                  <a:moveTo>
                    <a:pt x="75982" y="12"/>
                  </a:moveTo>
                  <a:lnTo>
                    <a:pt x="209934" y="12"/>
                  </a:lnTo>
                  <a:cubicBezTo>
                    <a:pt x="225596" y="12"/>
                    <a:pt x="238410" y="12826"/>
                    <a:pt x="238410" y="28487"/>
                  </a:cubicBezTo>
                  <a:lnTo>
                    <a:pt x="238410" y="249290"/>
                  </a:lnTo>
                  <a:cubicBezTo>
                    <a:pt x="238410" y="264951"/>
                    <a:pt x="225596" y="277765"/>
                    <a:pt x="209934" y="277765"/>
                  </a:cubicBezTo>
                  <a:lnTo>
                    <a:pt x="28475" y="277741"/>
                  </a:lnTo>
                  <a:cubicBezTo>
                    <a:pt x="12814" y="277741"/>
                    <a:pt x="0" y="264928"/>
                    <a:pt x="0" y="249266"/>
                  </a:cubicBezTo>
                  <a:lnTo>
                    <a:pt x="0" y="75531"/>
                  </a:lnTo>
                  <a:cubicBezTo>
                    <a:pt x="0" y="75531"/>
                    <a:pt x="75982" y="0"/>
                    <a:pt x="75982" y="0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65" name="Forma livre: Forma 1564">
              <a:extLst>
                <a:ext uri="{FF2B5EF4-FFF2-40B4-BE49-F238E27FC236}">
                  <a16:creationId xmlns:a16="http://schemas.microsoft.com/office/drawing/2014/main" id="{9FE2976D-1FFA-677E-A735-E041AB39BCC3}"/>
                </a:ext>
              </a:extLst>
            </p:cNvPr>
            <p:cNvSpPr/>
            <p:nvPr/>
          </p:nvSpPr>
          <p:spPr>
            <a:xfrm>
              <a:off x="5736305" y="5427332"/>
              <a:ext cx="102036" cy="71876"/>
            </a:xfrm>
            <a:custGeom>
              <a:avLst/>
              <a:gdLst>
                <a:gd name="connsiteX0" fmla="*/ 47708 w 102036"/>
                <a:gd name="connsiteY0" fmla="*/ 0 h 71876"/>
                <a:gd name="connsiteX1" fmla="*/ 102037 w 102036"/>
                <a:gd name="connsiteY1" fmla="*/ 0 h 71876"/>
                <a:gd name="connsiteX2" fmla="*/ 102037 w 102036"/>
                <a:gd name="connsiteY2" fmla="*/ 71877 h 71876"/>
                <a:gd name="connsiteX3" fmla="*/ 0 w 102036"/>
                <a:gd name="connsiteY3" fmla="*/ 71877 h 71876"/>
                <a:gd name="connsiteX4" fmla="*/ 0 w 102036"/>
                <a:gd name="connsiteY4" fmla="*/ 0 h 71876"/>
                <a:gd name="connsiteX5" fmla="*/ 20407 w 102036"/>
                <a:gd name="connsiteY5" fmla="*/ 0 h 718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02036" h="71876">
                  <a:moveTo>
                    <a:pt x="47708" y="0"/>
                  </a:moveTo>
                  <a:lnTo>
                    <a:pt x="102037" y="0"/>
                  </a:lnTo>
                  <a:lnTo>
                    <a:pt x="102037" y="71877"/>
                  </a:lnTo>
                  <a:lnTo>
                    <a:pt x="0" y="71877"/>
                  </a:lnTo>
                  <a:lnTo>
                    <a:pt x="0" y="0"/>
                  </a:lnTo>
                  <a:lnTo>
                    <a:pt x="20407" y="0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566" name="Gráfico 15">
              <a:extLst>
                <a:ext uri="{FF2B5EF4-FFF2-40B4-BE49-F238E27FC236}">
                  <a16:creationId xmlns:a16="http://schemas.microsoft.com/office/drawing/2014/main" id="{8C4EE57F-5823-B8AA-567A-8DC481368D17}"/>
                </a:ext>
              </a:extLst>
            </p:cNvPr>
            <p:cNvGrpSpPr/>
            <p:nvPr/>
          </p:nvGrpSpPr>
          <p:grpSpPr>
            <a:xfrm>
              <a:off x="5702989" y="5399497"/>
              <a:ext cx="168668" cy="127498"/>
              <a:chOff x="5702989" y="5399497"/>
              <a:chExt cx="168668" cy="127498"/>
            </a:xfrm>
          </p:grpSpPr>
          <p:grpSp>
            <p:nvGrpSpPr>
              <p:cNvPr id="1567" name="Gráfico 15">
                <a:extLst>
                  <a:ext uri="{FF2B5EF4-FFF2-40B4-BE49-F238E27FC236}">
                    <a16:creationId xmlns:a16="http://schemas.microsoft.com/office/drawing/2014/main" id="{06D1FF69-5D72-9BC4-B0A6-625521C06545}"/>
                  </a:ext>
                </a:extLst>
              </p:cNvPr>
              <p:cNvGrpSpPr/>
              <p:nvPr/>
            </p:nvGrpSpPr>
            <p:grpSpPr>
              <a:xfrm>
                <a:off x="5702989" y="5399497"/>
                <a:ext cx="33221" cy="127498"/>
                <a:chOff x="5702989" y="5399497"/>
                <a:chExt cx="33221" cy="127498"/>
              </a:xfrm>
            </p:grpSpPr>
            <p:sp>
              <p:nvSpPr>
                <p:cNvPr id="1568" name="Forma livre: Forma 1567">
                  <a:extLst>
                    <a:ext uri="{FF2B5EF4-FFF2-40B4-BE49-F238E27FC236}">
                      <a16:creationId xmlns:a16="http://schemas.microsoft.com/office/drawing/2014/main" id="{8925E4BA-5740-8367-3225-72C116BB3789}"/>
                    </a:ext>
                  </a:extLst>
                </p:cNvPr>
                <p:cNvSpPr/>
                <p:nvPr/>
              </p:nvSpPr>
              <p:spPr>
                <a:xfrm>
                  <a:off x="5702989" y="5499208"/>
                  <a:ext cx="33221" cy="27787"/>
                </a:xfrm>
                <a:custGeom>
                  <a:avLst/>
                  <a:gdLst>
                    <a:gd name="connsiteX0" fmla="*/ 33221 w 33221"/>
                    <a:gd name="connsiteY0" fmla="*/ 0 h 27787"/>
                    <a:gd name="connsiteX1" fmla="*/ 0 w 33221"/>
                    <a:gd name="connsiteY1" fmla="*/ 27787 h 277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33221" h="27787">
                      <a:moveTo>
                        <a:pt x="33221" y="0"/>
                      </a:moveTo>
                      <a:lnTo>
                        <a:pt x="0" y="27787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569" name="Forma livre: Forma 1568">
                  <a:extLst>
                    <a:ext uri="{FF2B5EF4-FFF2-40B4-BE49-F238E27FC236}">
                      <a16:creationId xmlns:a16="http://schemas.microsoft.com/office/drawing/2014/main" id="{7D562105-7FA8-EE47-2B5E-68FD8C400083}"/>
                    </a:ext>
                  </a:extLst>
                </p:cNvPr>
                <p:cNvSpPr/>
                <p:nvPr/>
              </p:nvSpPr>
              <p:spPr>
                <a:xfrm>
                  <a:off x="5702989" y="5399497"/>
                  <a:ext cx="33221" cy="27787"/>
                </a:xfrm>
                <a:custGeom>
                  <a:avLst/>
                  <a:gdLst>
                    <a:gd name="connsiteX0" fmla="*/ 0 w 33221"/>
                    <a:gd name="connsiteY0" fmla="*/ 0 h 27787"/>
                    <a:gd name="connsiteX1" fmla="*/ 33221 w 33221"/>
                    <a:gd name="connsiteY1" fmla="*/ 27787 h 277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33221" h="27787">
                      <a:moveTo>
                        <a:pt x="0" y="0"/>
                      </a:moveTo>
                      <a:lnTo>
                        <a:pt x="33221" y="27787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1570" name="Gráfico 15">
                <a:extLst>
                  <a:ext uri="{FF2B5EF4-FFF2-40B4-BE49-F238E27FC236}">
                    <a16:creationId xmlns:a16="http://schemas.microsoft.com/office/drawing/2014/main" id="{48246ECA-C914-0EC1-793C-0F816E60D7B6}"/>
                  </a:ext>
                </a:extLst>
              </p:cNvPr>
              <p:cNvGrpSpPr/>
              <p:nvPr/>
            </p:nvGrpSpPr>
            <p:grpSpPr>
              <a:xfrm>
                <a:off x="5838437" y="5399497"/>
                <a:ext cx="33221" cy="127498"/>
                <a:chOff x="5838437" y="5399497"/>
                <a:chExt cx="33221" cy="127498"/>
              </a:xfrm>
            </p:grpSpPr>
            <p:sp>
              <p:nvSpPr>
                <p:cNvPr id="1571" name="Forma livre: Forma 1570">
                  <a:extLst>
                    <a:ext uri="{FF2B5EF4-FFF2-40B4-BE49-F238E27FC236}">
                      <a16:creationId xmlns:a16="http://schemas.microsoft.com/office/drawing/2014/main" id="{6651DB5D-EC29-FFE3-ABE4-ADE456FEA3F3}"/>
                    </a:ext>
                  </a:extLst>
                </p:cNvPr>
                <p:cNvSpPr/>
                <p:nvPr/>
              </p:nvSpPr>
              <p:spPr>
                <a:xfrm>
                  <a:off x="5838437" y="5499208"/>
                  <a:ext cx="33221" cy="27787"/>
                </a:xfrm>
                <a:custGeom>
                  <a:avLst/>
                  <a:gdLst>
                    <a:gd name="connsiteX0" fmla="*/ 0 w 33221"/>
                    <a:gd name="connsiteY0" fmla="*/ 0 h 27787"/>
                    <a:gd name="connsiteX1" fmla="*/ 33221 w 33221"/>
                    <a:gd name="connsiteY1" fmla="*/ 27787 h 277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33221" h="27787">
                      <a:moveTo>
                        <a:pt x="0" y="0"/>
                      </a:moveTo>
                      <a:lnTo>
                        <a:pt x="33221" y="27787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572" name="Forma livre: Forma 1571">
                  <a:extLst>
                    <a:ext uri="{FF2B5EF4-FFF2-40B4-BE49-F238E27FC236}">
                      <a16:creationId xmlns:a16="http://schemas.microsoft.com/office/drawing/2014/main" id="{6B6DF514-2F61-B9D2-EC9D-F8F7EFE7C202}"/>
                    </a:ext>
                  </a:extLst>
                </p:cNvPr>
                <p:cNvSpPr/>
                <p:nvPr/>
              </p:nvSpPr>
              <p:spPr>
                <a:xfrm>
                  <a:off x="5838437" y="5399497"/>
                  <a:ext cx="33221" cy="27787"/>
                </a:xfrm>
                <a:custGeom>
                  <a:avLst/>
                  <a:gdLst>
                    <a:gd name="connsiteX0" fmla="*/ 33221 w 33221"/>
                    <a:gd name="connsiteY0" fmla="*/ 0 h 27787"/>
                    <a:gd name="connsiteX1" fmla="*/ 0 w 33221"/>
                    <a:gd name="connsiteY1" fmla="*/ 27787 h 277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33221" h="27787">
                      <a:moveTo>
                        <a:pt x="33221" y="0"/>
                      </a:moveTo>
                      <a:lnTo>
                        <a:pt x="0" y="27787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sp>
          <p:nvSpPr>
            <p:cNvPr id="1573" name="Forma livre: Forma 1572">
              <a:extLst>
                <a:ext uri="{FF2B5EF4-FFF2-40B4-BE49-F238E27FC236}">
                  <a16:creationId xmlns:a16="http://schemas.microsoft.com/office/drawing/2014/main" id="{575D51E8-2CF3-971C-456D-5373C41C99AB}"/>
                </a:ext>
              </a:extLst>
            </p:cNvPr>
            <p:cNvSpPr/>
            <p:nvPr/>
          </p:nvSpPr>
          <p:spPr>
            <a:xfrm>
              <a:off x="5742368" y="5314059"/>
              <a:ext cx="116428" cy="28475"/>
            </a:xfrm>
            <a:custGeom>
              <a:avLst/>
              <a:gdLst>
                <a:gd name="connsiteX0" fmla="*/ 29330 w 116428"/>
                <a:gd name="connsiteY0" fmla="*/ 0 h 28475"/>
                <a:gd name="connsiteX1" fmla="*/ 116429 w 116428"/>
                <a:gd name="connsiteY1" fmla="*/ 0 h 28475"/>
                <a:gd name="connsiteX2" fmla="*/ 116429 w 116428"/>
                <a:gd name="connsiteY2" fmla="*/ 28475 h 28475"/>
                <a:gd name="connsiteX3" fmla="*/ 0 w 116428"/>
                <a:gd name="connsiteY3" fmla="*/ 28475 h 28475"/>
                <a:gd name="connsiteX4" fmla="*/ 29330 w 116428"/>
                <a:gd name="connsiteY4" fmla="*/ 0 h 28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6428" h="28475">
                  <a:moveTo>
                    <a:pt x="29330" y="0"/>
                  </a:moveTo>
                  <a:lnTo>
                    <a:pt x="116429" y="0"/>
                  </a:lnTo>
                  <a:lnTo>
                    <a:pt x="116429" y="28475"/>
                  </a:lnTo>
                  <a:lnTo>
                    <a:pt x="0" y="28475"/>
                  </a:lnTo>
                  <a:lnTo>
                    <a:pt x="29330" y="0"/>
                  </a:ln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574" name="Gráfico 15">
              <a:extLst>
                <a:ext uri="{FF2B5EF4-FFF2-40B4-BE49-F238E27FC236}">
                  <a16:creationId xmlns:a16="http://schemas.microsoft.com/office/drawing/2014/main" id="{F89775FD-1B52-9029-F5AB-0645AF2E0FC4}"/>
                </a:ext>
              </a:extLst>
            </p:cNvPr>
            <p:cNvGrpSpPr/>
            <p:nvPr/>
          </p:nvGrpSpPr>
          <p:grpSpPr>
            <a:xfrm>
              <a:off x="5640705" y="5260081"/>
              <a:ext cx="71099" cy="71087"/>
              <a:chOff x="5640705" y="5260081"/>
              <a:chExt cx="71099" cy="71087"/>
            </a:xfrm>
            <a:noFill/>
          </p:grpSpPr>
          <p:sp>
            <p:nvSpPr>
              <p:cNvPr id="1575" name="Forma livre: Forma 1574">
                <a:extLst>
                  <a:ext uri="{FF2B5EF4-FFF2-40B4-BE49-F238E27FC236}">
                    <a16:creationId xmlns:a16="http://schemas.microsoft.com/office/drawing/2014/main" id="{5213959A-8465-9A17-2D88-2CB09E8F3661}"/>
                  </a:ext>
                </a:extLst>
              </p:cNvPr>
              <p:cNvSpPr/>
              <p:nvPr/>
            </p:nvSpPr>
            <p:spPr>
              <a:xfrm>
                <a:off x="5640705" y="5260081"/>
                <a:ext cx="66887" cy="66875"/>
              </a:xfrm>
              <a:custGeom>
                <a:avLst/>
                <a:gdLst>
                  <a:gd name="connsiteX0" fmla="*/ 13650 w 66887"/>
                  <a:gd name="connsiteY0" fmla="*/ 66876 h 66875"/>
                  <a:gd name="connsiteX1" fmla="*/ 2047 w 66887"/>
                  <a:gd name="connsiteY1" fmla="*/ 55272 h 66875"/>
                  <a:gd name="connsiteX2" fmla="*/ 2047 w 66887"/>
                  <a:gd name="connsiteY2" fmla="*/ 45377 h 66875"/>
                  <a:gd name="connsiteX3" fmla="*/ 45377 w 66887"/>
                  <a:gd name="connsiteY3" fmla="*/ 2047 h 66875"/>
                  <a:gd name="connsiteX4" fmla="*/ 55272 w 66887"/>
                  <a:gd name="connsiteY4" fmla="*/ 2047 h 66875"/>
                  <a:gd name="connsiteX5" fmla="*/ 66887 w 66887"/>
                  <a:gd name="connsiteY5" fmla="*/ 13650 h 66875"/>
                  <a:gd name="connsiteX6" fmla="*/ 13650 w 66887"/>
                  <a:gd name="connsiteY6" fmla="*/ 66876 h 668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6887" h="66875">
                    <a:moveTo>
                      <a:pt x="13650" y="66876"/>
                    </a:moveTo>
                    <a:lnTo>
                      <a:pt x="2047" y="55272"/>
                    </a:lnTo>
                    <a:cubicBezTo>
                      <a:pt x="-682" y="52555"/>
                      <a:pt x="-682" y="48094"/>
                      <a:pt x="2047" y="45377"/>
                    </a:cubicBezTo>
                    <a:lnTo>
                      <a:pt x="45377" y="2047"/>
                    </a:lnTo>
                    <a:cubicBezTo>
                      <a:pt x="48106" y="-682"/>
                      <a:pt x="52555" y="-682"/>
                      <a:pt x="55272" y="2047"/>
                    </a:cubicBezTo>
                    <a:lnTo>
                      <a:pt x="66887" y="13650"/>
                    </a:lnTo>
                    <a:lnTo>
                      <a:pt x="13650" y="66876"/>
                    </a:ln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1576" name="Gráfico 15">
                <a:extLst>
                  <a:ext uri="{FF2B5EF4-FFF2-40B4-BE49-F238E27FC236}">
                    <a16:creationId xmlns:a16="http://schemas.microsoft.com/office/drawing/2014/main" id="{27ADA082-F6FF-4FDB-6870-C1A033CC6D68}"/>
                  </a:ext>
                </a:extLst>
              </p:cNvPr>
              <p:cNvGrpSpPr/>
              <p:nvPr/>
            </p:nvGrpSpPr>
            <p:grpSpPr>
              <a:xfrm>
                <a:off x="5663088" y="5282463"/>
                <a:ext cx="48716" cy="48704"/>
                <a:chOff x="5663088" y="5282463"/>
                <a:chExt cx="48716" cy="48704"/>
              </a:xfrm>
            </p:grpSpPr>
            <p:sp>
              <p:nvSpPr>
                <p:cNvPr id="1577" name="Forma livre: Forma 1576">
                  <a:extLst>
                    <a:ext uri="{FF2B5EF4-FFF2-40B4-BE49-F238E27FC236}">
                      <a16:creationId xmlns:a16="http://schemas.microsoft.com/office/drawing/2014/main" id="{3B2D790F-4B08-7607-521B-0265D1D4873E}"/>
                    </a:ext>
                  </a:extLst>
                </p:cNvPr>
                <p:cNvSpPr/>
                <p:nvPr/>
              </p:nvSpPr>
              <p:spPr>
                <a:xfrm>
                  <a:off x="5663088" y="5319375"/>
                  <a:ext cx="11805" cy="11793"/>
                </a:xfrm>
                <a:custGeom>
                  <a:avLst/>
                  <a:gdLst>
                    <a:gd name="connsiteX0" fmla="*/ 0 w 11805"/>
                    <a:gd name="connsiteY0" fmla="*/ 0 h 11793"/>
                    <a:gd name="connsiteX1" fmla="*/ 11805 w 11805"/>
                    <a:gd name="connsiteY1" fmla="*/ 11794 h 1179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1805" h="11793">
                      <a:moveTo>
                        <a:pt x="0" y="0"/>
                      </a:moveTo>
                      <a:lnTo>
                        <a:pt x="11805" y="11794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578" name="Forma livre: Forma 1577">
                  <a:extLst>
                    <a:ext uri="{FF2B5EF4-FFF2-40B4-BE49-F238E27FC236}">
                      <a16:creationId xmlns:a16="http://schemas.microsoft.com/office/drawing/2014/main" id="{B140BB67-A648-7A87-B915-8C4505ECE404}"/>
                    </a:ext>
                  </a:extLst>
                </p:cNvPr>
                <p:cNvSpPr/>
                <p:nvPr/>
              </p:nvSpPr>
              <p:spPr>
                <a:xfrm>
                  <a:off x="5700011" y="5282463"/>
                  <a:ext cx="11793" cy="11793"/>
                </a:xfrm>
                <a:custGeom>
                  <a:avLst/>
                  <a:gdLst>
                    <a:gd name="connsiteX0" fmla="*/ 0 w 11793"/>
                    <a:gd name="connsiteY0" fmla="*/ 0 h 11793"/>
                    <a:gd name="connsiteX1" fmla="*/ 11794 w 11793"/>
                    <a:gd name="connsiteY1" fmla="*/ 11793 h 1179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1793" h="11793">
                      <a:moveTo>
                        <a:pt x="0" y="0"/>
                      </a:moveTo>
                      <a:lnTo>
                        <a:pt x="11794" y="11793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</p:grpSp>
      <p:grpSp>
        <p:nvGrpSpPr>
          <p:cNvPr id="1579" name="Gráfico 15">
            <a:extLst>
              <a:ext uri="{FF2B5EF4-FFF2-40B4-BE49-F238E27FC236}">
                <a16:creationId xmlns:a16="http://schemas.microsoft.com/office/drawing/2014/main" id="{200CE844-9DF9-C113-B53B-F3107C6C683B}"/>
              </a:ext>
            </a:extLst>
          </p:cNvPr>
          <p:cNvGrpSpPr/>
          <p:nvPr/>
        </p:nvGrpSpPr>
        <p:grpSpPr>
          <a:xfrm>
            <a:off x="5655260" y="3676003"/>
            <a:ext cx="236724" cy="315127"/>
            <a:chOff x="5655260" y="3676003"/>
            <a:chExt cx="236724" cy="315127"/>
          </a:xfrm>
          <a:noFill/>
        </p:grpSpPr>
        <p:sp>
          <p:nvSpPr>
            <p:cNvPr id="1580" name="Forma livre: Forma 1579">
              <a:extLst>
                <a:ext uri="{FF2B5EF4-FFF2-40B4-BE49-F238E27FC236}">
                  <a16:creationId xmlns:a16="http://schemas.microsoft.com/office/drawing/2014/main" id="{454625FA-2A07-346B-C79E-D1335D7FCFA9}"/>
                </a:ext>
              </a:extLst>
            </p:cNvPr>
            <p:cNvSpPr/>
            <p:nvPr/>
          </p:nvSpPr>
          <p:spPr>
            <a:xfrm>
              <a:off x="5655260" y="3676003"/>
              <a:ext cx="205387" cy="315127"/>
            </a:xfrm>
            <a:custGeom>
              <a:avLst/>
              <a:gdLst>
                <a:gd name="connsiteX0" fmla="*/ 205387 w 205387"/>
                <a:gd name="connsiteY0" fmla="*/ 149852 h 315127"/>
                <a:gd name="connsiteX1" fmla="*/ 186000 w 205387"/>
                <a:gd name="connsiteY1" fmla="*/ 171445 h 315127"/>
                <a:gd name="connsiteX2" fmla="*/ 171763 w 205387"/>
                <a:gd name="connsiteY2" fmla="*/ 130512 h 315127"/>
                <a:gd name="connsiteX3" fmla="*/ 92269 w 205387"/>
                <a:gd name="connsiteY3" fmla="*/ 0 h 315127"/>
                <a:gd name="connsiteX4" fmla="*/ 79218 w 205387"/>
                <a:gd name="connsiteY4" fmla="*/ 86613 h 315127"/>
                <a:gd name="connsiteX5" fmla="*/ 21 w 205387"/>
                <a:gd name="connsiteY5" fmla="*/ 207633 h 315127"/>
                <a:gd name="connsiteX6" fmla="*/ 93456 w 205387"/>
                <a:gd name="connsiteY6" fmla="*/ 315127 h 3151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5387" h="315127">
                  <a:moveTo>
                    <a:pt x="205387" y="149852"/>
                  </a:moveTo>
                  <a:cubicBezTo>
                    <a:pt x="198541" y="172917"/>
                    <a:pt x="186000" y="171445"/>
                    <a:pt x="186000" y="171445"/>
                  </a:cubicBezTo>
                  <a:cubicBezTo>
                    <a:pt x="159506" y="171445"/>
                    <a:pt x="171763" y="130512"/>
                    <a:pt x="171763" y="130512"/>
                  </a:cubicBezTo>
                  <a:cubicBezTo>
                    <a:pt x="191541" y="49049"/>
                    <a:pt x="92269" y="0"/>
                    <a:pt x="92269" y="0"/>
                  </a:cubicBezTo>
                  <a:cubicBezTo>
                    <a:pt x="92269" y="0"/>
                    <a:pt x="111834" y="53320"/>
                    <a:pt x="79218" y="86613"/>
                  </a:cubicBezTo>
                  <a:cubicBezTo>
                    <a:pt x="50742" y="115681"/>
                    <a:pt x="21" y="154835"/>
                    <a:pt x="21" y="207633"/>
                  </a:cubicBezTo>
                  <a:cubicBezTo>
                    <a:pt x="21" y="220684"/>
                    <a:pt x="-3835" y="283092"/>
                    <a:pt x="93456" y="315127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81" name="Forma livre: Forma 1580">
              <a:extLst>
                <a:ext uri="{FF2B5EF4-FFF2-40B4-BE49-F238E27FC236}">
                  <a16:creationId xmlns:a16="http://schemas.microsoft.com/office/drawing/2014/main" id="{06511376-18A3-E5D3-E598-2873F841F921}"/>
                </a:ext>
              </a:extLst>
            </p:cNvPr>
            <p:cNvSpPr/>
            <p:nvPr/>
          </p:nvSpPr>
          <p:spPr>
            <a:xfrm>
              <a:off x="5789056" y="3788125"/>
              <a:ext cx="102929" cy="203005"/>
            </a:xfrm>
            <a:custGeom>
              <a:avLst/>
              <a:gdLst>
                <a:gd name="connsiteX0" fmla="*/ 0 w 102929"/>
                <a:gd name="connsiteY0" fmla="*/ 203006 h 203005"/>
                <a:gd name="connsiteX1" fmla="*/ 75934 w 102929"/>
                <a:gd name="connsiteY1" fmla="*/ 0 h 2030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2929" h="203005">
                  <a:moveTo>
                    <a:pt x="0" y="203006"/>
                  </a:moveTo>
                  <a:cubicBezTo>
                    <a:pt x="172632" y="154360"/>
                    <a:pt x="75934" y="0"/>
                    <a:pt x="75934" y="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582" name="Gráfico 15">
              <a:extLst>
                <a:ext uri="{FF2B5EF4-FFF2-40B4-BE49-F238E27FC236}">
                  <a16:creationId xmlns:a16="http://schemas.microsoft.com/office/drawing/2014/main" id="{7BF9D620-25E0-8212-F19E-E491EC4EE4DA}"/>
                </a:ext>
              </a:extLst>
            </p:cNvPr>
            <p:cNvGrpSpPr/>
            <p:nvPr/>
          </p:nvGrpSpPr>
          <p:grpSpPr>
            <a:xfrm>
              <a:off x="5711885" y="3806728"/>
              <a:ext cx="120172" cy="184377"/>
              <a:chOff x="5711885" y="3806728"/>
              <a:chExt cx="120172" cy="184377"/>
            </a:xfrm>
            <a:noFill/>
          </p:grpSpPr>
          <p:sp>
            <p:nvSpPr>
              <p:cNvPr id="1583" name="Forma livre: Forma 1582">
                <a:extLst>
                  <a:ext uri="{FF2B5EF4-FFF2-40B4-BE49-F238E27FC236}">
                    <a16:creationId xmlns:a16="http://schemas.microsoft.com/office/drawing/2014/main" id="{13A11EE7-F56D-E5A3-8F46-E9F71C07EF85}"/>
                  </a:ext>
                </a:extLst>
              </p:cNvPr>
              <p:cNvSpPr/>
              <p:nvPr/>
            </p:nvSpPr>
            <p:spPr>
              <a:xfrm>
                <a:off x="5757235" y="3806728"/>
                <a:ext cx="74822" cy="184377"/>
              </a:xfrm>
              <a:custGeom>
                <a:avLst/>
                <a:gdLst>
                  <a:gd name="connsiteX0" fmla="*/ 0 w 74822"/>
                  <a:gd name="connsiteY0" fmla="*/ 43615 h 184377"/>
                  <a:gd name="connsiteX1" fmla="*/ 26150 w 74822"/>
                  <a:gd name="connsiteY1" fmla="*/ 0 h 184377"/>
                  <a:gd name="connsiteX2" fmla="*/ 46011 w 74822"/>
                  <a:gd name="connsiteY2" fmla="*/ 66205 h 184377"/>
                  <a:gd name="connsiteX3" fmla="*/ 74570 w 74822"/>
                  <a:gd name="connsiteY3" fmla="*/ 121946 h 184377"/>
                  <a:gd name="connsiteX4" fmla="*/ 31809 w 74822"/>
                  <a:gd name="connsiteY4" fmla="*/ 184378 h 1843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4822" h="184377">
                    <a:moveTo>
                      <a:pt x="0" y="43615"/>
                    </a:moveTo>
                    <a:cubicBezTo>
                      <a:pt x="7522" y="14499"/>
                      <a:pt x="26150" y="0"/>
                      <a:pt x="26150" y="0"/>
                    </a:cubicBezTo>
                    <a:cubicBezTo>
                      <a:pt x="16741" y="44481"/>
                      <a:pt x="46011" y="66205"/>
                      <a:pt x="46011" y="66205"/>
                    </a:cubicBezTo>
                    <a:cubicBezTo>
                      <a:pt x="72766" y="88736"/>
                      <a:pt x="75899" y="105098"/>
                      <a:pt x="74570" y="121946"/>
                    </a:cubicBezTo>
                    <a:cubicBezTo>
                      <a:pt x="73241" y="138805"/>
                      <a:pt x="67997" y="162310"/>
                      <a:pt x="31809" y="184378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584" name="Forma livre: Forma 1583">
                <a:extLst>
                  <a:ext uri="{FF2B5EF4-FFF2-40B4-BE49-F238E27FC236}">
                    <a16:creationId xmlns:a16="http://schemas.microsoft.com/office/drawing/2014/main" id="{48C4F5B9-94B6-9332-5F23-7900D06F73A6}"/>
                  </a:ext>
                </a:extLst>
              </p:cNvPr>
              <p:cNvSpPr/>
              <p:nvPr/>
            </p:nvSpPr>
            <p:spPr>
              <a:xfrm>
                <a:off x="5711885" y="3853653"/>
                <a:ext cx="54593" cy="98951"/>
              </a:xfrm>
              <a:custGeom>
                <a:avLst/>
                <a:gdLst>
                  <a:gd name="connsiteX0" fmla="*/ 54510 w 54593"/>
                  <a:gd name="connsiteY0" fmla="*/ 71319 h 98951"/>
                  <a:gd name="connsiteX1" fmla="*/ 17966 w 54593"/>
                  <a:gd name="connsiteY1" fmla="*/ 0 h 98951"/>
                  <a:gd name="connsiteX2" fmla="*/ 9222 w 54593"/>
                  <a:gd name="connsiteY2" fmla="*/ 48171 h 98951"/>
                  <a:gd name="connsiteX3" fmla="*/ 7917 w 54593"/>
                  <a:gd name="connsiteY3" fmla="*/ 98952 h 989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4593" h="98951">
                    <a:moveTo>
                      <a:pt x="54510" y="71319"/>
                    </a:moveTo>
                    <a:cubicBezTo>
                      <a:pt x="56622" y="30931"/>
                      <a:pt x="17966" y="0"/>
                      <a:pt x="17966" y="0"/>
                    </a:cubicBezTo>
                    <a:cubicBezTo>
                      <a:pt x="17966" y="0"/>
                      <a:pt x="30294" y="23540"/>
                      <a:pt x="9222" y="48171"/>
                    </a:cubicBezTo>
                    <a:cubicBezTo>
                      <a:pt x="9222" y="48171"/>
                      <a:pt x="-10628" y="67166"/>
                      <a:pt x="7917" y="98952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585" name="Gráfico 15">
            <a:extLst>
              <a:ext uri="{FF2B5EF4-FFF2-40B4-BE49-F238E27FC236}">
                <a16:creationId xmlns:a16="http://schemas.microsoft.com/office/drawing/2014/main" id="{2A0AE283-DD38-33BA-42CE-683D91A53AD8}"/>
              </a:ext>
            </a:extLst>
          </p:cNvPr>
          <p:cNvGrpSpPr/>
          <p:nvPr/>
        </p:nvGrpSpPr>
        <p:grpSpPr>
          <a:xfrm>
            <a:off x="5651544" y="4715579"/>
            <a:ext cx="244152" cy="340541"/>
            <a:chOff x="5651544" y="4715579"/>
            <a:chExt cx="244152" cy="340541"/>
          </a:xfrm>
          <a:noFill/>
        </p:grpSpPr>
        <p:grpSp>
          <p:nvGrpSpPr>
            <p:cNvPr id="1586" name="Gráfico 15">
              <a:extLst>
                <a:ext uri="{FF2B5EF4-FFF2-40B4-BE49-F238E27FC236}">
                  <a16:creationId xmlns:a16="http://schemas.microsoft.com/office/drawing/2014/main" id="{2169B4E6-5D3A-0132-0061-9228D2EB2DD1}"/>
                </a:ext>
              </a:extLst>
            </p:cNvPr>
            <p:cNvGrpSpPr/>
            <p:nvPr/>
          </p:nvGrpSpPr>
          <p:grpSpPr>
            <a:xfrm>
              <a:off x="5651544" y="4715579"/>
              <a:ext cx="244152" cy="340541"/>
              <a:chOff x="5651544" y="4715579"/>
              <a:chExt cx="244152" cy="340541"/>
            </a:xfrm>
            <a:noFill/>
          </p:grpSpPr>
          <p:sp>
            <p:nvSpPr>
              <p:cNvPr id="1587" name="Forma livre: Forma 1586">
                <a:extLst>
                  <a:ext uri="{FF2B5EF4-FFF2-40B4-BE49-F238E27FC236}">
                    <a16:creationId xmlns:a16="http://schemas.microsoft.com/office/drawing/2014/main" id="{7638017C-B3A7-EDC1-A7E5-84265B1E885B}"/>
                  </a:ext>
                </a:extLst>
              </p:cNvPr>
              <p:cNvSpPr/>
              <p:nvPr/>
            </p:nvSpPr>
            <p:spPr>
              <a:xfrm>
                <a:off x="5729068" y="5017097"/>
                <a:ext cx="89637" cy="1186"/>
              </a:xfrm>
              <a:custGeom>
                <a:avLst/>
                <a:gdLst>
                  <a:gd name="connsiteX0" fmla="*/ 0 w 89637"/>
                  <a:gd name="connsiteY0" fmla="*/ 0 h 1186"/>
                  <a:gd name="connsiteX1" fmla="*/ 89638 w 89637"/>
                  <a:gd name="connsiteY1" fmla="*/ 0 h 11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89637" h="1186">
                    <a:moveTo>
                      <a:pt x="0" y="0"/>
                    </a:moveTo>
                    <a:lnTo>
                      <a:pt x="89638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588" name="Forma livre: Forma 1587">
                <a:extLst>
                  <a:ext uri="{FF2B5EF4-FFF2-40B4-BE49-F238E27FC236}">
                    <a16:creationId xmlns:a16="http://schemas.microsoft.com/office/drawing/2014/main" id="{75D2AE9D-B1EC-D3D8-2228-A176891FA5C4}"/>
                  </a:ext>
                </a:extLst>
              </p:cNvPr>
              <p:cNvSpPr/>
              <p:nvPr/>
            </p:nvSpPr>
            <p:spPr>
              <a:xfrm>
                <a:off x="5773620" y="4715579"/>
                <a:ext cx="1186" cy="22554"/>
              </a:xfrm>
              <a:custGeom>
                <a:avLst/>
                <a:gdLst>
                  <a:gd name="connsiteX0" fmla="*/ 0 w 1186"/>
                  <a:gd name="connsiteY0" fmla="*/ 22555 h 22554"/>
                  <a:gd name="connsiteX1" fmla="*/ 0 w 1186"/>
                  <a:gd name="connsiteY1" fmla="*/ 0 h 225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86" h="22554">
                    <a:moveTo>
                      <a:pt x="0" y="22555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1589" name="Gráfico 15">
                <a:extLst>
                  <a:ext uri="{FF2B5EF4-FFF2-40B4-BE49-F238E27FC236}">
                    <a16:creationId xmlns:a16="http://schemas.microsoft.com/office/drawing/2014/main" id="{CDB34402-F8B4-4B44-60B5-FF821DD8D9DA}"/>
                  </a:ext>
                </a:extLst>
              </p:cNvPr>
              <p:cNvGrpSpPr/>
              <p:nvPr/>
            </p:nvGrpSpPr>
            <p:grpSpPr>
              <a:xfrm>
                <a:off x="5651544" y="4768721"/>
                <a:ext cx="244152" cy="18331"/>
                <a:chOff x="5651544" y="4768721"/>
                <a:chExt cx="244152" cy="18331"/>
              </a:xfrm>
            </p:grpSpPr>
            <p:sp>
              <p:nvSpPr>
                <p:cNvPr id="1590" name="Forma livre: Forma 1589">
                  <a:extLst>
                    <a:ext uri="{FF2B5EF4-FFF2-40B4-BE49-F238E27FC236}">
                      <a16:creationId xmlns:a16="http://schemas.microsoft.com/office/drawing/2014/main" id="{22886F87-B701-0EE3-2C4B-FF331F81C065}"/>
                    </a:ext>
                  </a:extLst>
                </p:cNvPr>
                <p:cNvSpPr/>
                <p:nvPr/>
              </p:nvSpPr>
              <p:spPr>
                <a:xfrm>
                  <a:off x="5877448" y="4768721"/>
                  <a:ext cx="18247" cy="18331"/>
                </a:xfrm>
                <a:custGeom>
                  <a:avLst/>
                  <a:gdLst>
                    <a:gd name="connsiteX0" fmla="*/ 0 w 18247"/>
                    <a:gd name="connsiteY0" fmla="*/ 18331 h 18331"/>
                    <a:gd name="connsiteX1" fmla="*/ 18248 w 18247"/>
                    <a:gd name="connsiteY1" fmla="*/ 0 h 1833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8247" h="18331">
                      <a:moveTo>
                        <a:pt x="0" y="18331"/>
                      </a:moveTo>
                      <a:lnTo>
                        <a:pt x="18248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591" name="Forma livre: Forma 1590">
                  <a:extLst>
                    <a:ext uri="{FF2B5EF4-FFF2-40B4-BE49-F238E27FC236}">
                      <a16:creationId xmlns:a16="http://schemas.microsoft.com/office/drawing/2014/main" id="{6A9F5B90-3242-7FF0-F415-F526737BD88F}"/>
                    </a:ext>
                  </a:extLst>
                </p:cNvPr>
                <p:cNvSpPr/>
                <p:nvPr/>
              </p:nvSpPr>
              <p:spPr>
                <a:xfrm>
                  <a:off x="5651544" y="4768721"/>
                  <a:ext cx="18236" cy="18331"/>
                </a:xfrm>
                <a:custGeom>
                  <a:avLst/>
                  <a:gdLst>
                    <a:gd name="connsiteX0" fmla="*/ 0 w 18236"/>
                    <a:gd name="connsiteY0" fmla="*/ 0 h 18331"/>
                    <a:gd name="connsiteX1" fmla="*/ 18236 w 18236"/>
                    <a:gd name="connsiteY1" fmla="*/ 18331 h 1833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8236" h="18331">
                      <a:moveTo>
                        <a:pt x="0" y="0"/>
                      </a:moveTo>
                      <a:lnTo>
                        <a:pt x="18236" y="18331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1592" name="Forma livre: Forma 1591">
                <a:extLst>
                  <a:ext uri="{FF2B5EF4-FFF2-40B4-BE49-F238E27FC236}">
                    <a16:creationId xmlns:a16="http://schemas.microsoft.com/office/drawing/2014/main" id="{1D1D4BBA-2333-20CC-1A12-0760BCD5F78C}"/>
                  </a:ext>
                </a:extLst>
              </p:cNvPr>
              <p:cNvSpPr/>
              <p:nvPr/>
            </p:nvSpPr>
            <p:spPr>
              <a:xfrm>
                <a:off x="5674526" y="4769658"/>
                <a:ext cx="198686" cy="217587"/>
              </a:xfrm>
              <a:custGeom>
                <a:avLst/>
                <a:gdLst>
                  <a:gd name="connsiteX0" fmla="*/ 61471 w 198686"/>
                  <a:gd name="connsiteY0" fmla="*/ 217587 h 217587"/>
                  <a:gd name="connsiteX1" fmla="*/ 137168 w 198686"/>
                  <a:gd name="connsiteY1" fmla="*/ 217587 h 217587"/>
                  <a:gd name="connsiteX2" fmla="*/ 168289 w 198686"/>
                  <a:gd name="connsiteY2" fmla="*/ 165560 h 217587"/>
                  <a:gd name="connsiteX3" fmla="*/ 180557 w 198686"/>
                  <a:gd name="connsiteY3" fmla="*/ 153494 h 217587"/>
                  <a:gd name="connsiteX4" fmla="*/ 198687 w 198686"/>
                  <a:gd name="connsiteY4" fmla="*/ 97374 h 217587"/>
                  <a:gd name="connsiteX5" fmla="*/ 99308 w 198686"/>
                  <a:gd name="connsiteY5" fmla="*/ 0 h 217587"/>
                  <a:gd name="connsiteX6" fmla="*/ 0 w 198686"/>
                  <a:gd name="connsiteY6" fmla="*/ 97374 h 217587"/>
                  <a:gd name="connsiteX7" fmla="*/ 17951 w 198686"/>
                  <a:gd name="connsiteY7" fmla="*/ 153280 h 217587"/>
                  <a:gd name="connsiteX8" fmla="*/ 30457 w 198686"/>
                  <a:gd name="connsiteY8" fmla="*/ 165644 h 217587"/>
                  <a:gd name="connsiteX9" fmla="*/ 53890 w 198686"/>
                  <a:gd name="connsiteY9" fmla="*/ 193668 h 2175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98686" h="217587">
                    <a:moveTo>
                      <a:pt x="61471" y="217587"/>
                    </a:moveTo>
                    <a:lnTo>
                      <a:pt x="137168" y="217587"/>
                    </a:lnTo>
                    <a:cubicBezTo>
                      <a:pt x="141178" y="191046"/>
                      <a:pt x="154384" y="178659"/>
                      <a:pt x="168289" y="165560"/>
                    </a:cubicBezTo>
                    <a:cubicBezTo>
                      <a:pt x="172371" y="161728"/>
                      <a:pt x="176595" y="157742"/>
                      <a:pt x="180557" y="153494"/>
                    </a:cubicBezTo>
                    <a:cubicBezTo>
                      <a:pt x="193253" y="138497"/>
                      <a:pt x="198687" y="121708"/>
                      <a:pt x="198687" y="97374"/>
                    </a:cubicBezTo>
                    <a:cubicBezTo>
                      <a:pt x="198687" y="43686"/>
                      <a:pt x="154111" y="0"/>
                      <a:pt x="99308" y="0"/>
                    </a:cubicBezTo>
                    <a:cubicBezTo>
                      <a:pt x="44505" y="0"/>
                      <a:pt x="0" y="43686"/>
                      <a:pt x="0" y="97374"/>
                    </a:cubicBezTo>
                    <a:cubicBezTo>
                      <a:pt x="0" y="119834"/>
                      <a:pt x="6134" y="138734"/>
                      <a:pt x="17951" y="153280"/>
                    </a:cubicBezTo>
                    <a:cubicBezTo>
                      <a:pt x="22116" y="157789"/>
                      <a:pt x="26364" y="161788"/>
                      <a:pt x="30457" y="165644"/>
                    </a:cubicBezTo>
                    <a:cubicBezTo>
                      <a:pt x="39296" y="173973"/>
                      <a:pt x="47815" y="182076"/>
                      <a:pt x="53890" y="193668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593" name="Forma livre: Forma 1592">
                <a:extLst>
                  <a:ext uri="{FF2B5EF4-FFF2-40B4-BE49-F238E27FC236}">
                    <a16:creationId xmlns:a16="http://schemas.microsoft.com/office/drawing/2014/main" id="{3315B8A4-3E2C-3452-57FF-7BD89665309F}"/>
                  </a:ext>
                </a:extLst>
              </p:cNvPr>
              <p:cNvSpPr/>
              <p:nvPr/>
            </p:nvSpPr>
            <p:spPr>
              <a:xfrm>
                <a:off x="5740114" y="5044576"/>
                <a:ext cx="67557" cy="11544"/>
              </a:xfrm>
              <a:custGeom>
                <a:avLst/>
                <a:gdLst>
                  <a:gd name="connsiteX0" fmla="*/ 0 w 67557"/>
                  <a:gd name="connsiteY0" fmla="*/ 0 h 11544"/>
                  <a:gd name="connsiteX1" fmla="*/ 13134 w 67557"/>
                  <a:gd name="connsiteY1" fmla="*/ 0 h 11544"/>
                  <a:gd name="connsiteX2" fmla="*/ 33779 w 67557"/>
                  <a:gd name="connsiteY2" fmla="*/ 11544 h 11544"/>
                  <a:gd name="connsiteX3" fmla="*/ 54435 w 67557"/>
                  <a:gd name="connsiteY3" fmla="*/ 0 h 11544"/>
                  <a:gd name="connsiteX4" fmla="*/ 67558 w 67557"/>
                  <a:gd name="connsiteY4" fmla="*/ 0 h 115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7557" h="11544">
                    <a:moveTo>
                      <a:pt x="0" y="0"/>
                    </a:moveTo>
                    <a:lnTo>
                      <a:pt x="13134" y="0"/>
                    </a:lnTo>
                    <a:cubicBezTo>
                      <a:pt x="16444" y="4568"/>
                      <a:pt x="23623" y="11544"/>
                      <a:pt x="33779" y="11544"/>
                    </a:cubicBezTo>
                    <a:cubicBezTo>
                      <a:pt x="43935" y="11544"/>
                      <a:pt x="51101" y="4568"/>
                      <a:pt x="54435" y="0"/>
                    </a:cubicBezTo>
                    <a:lnTo>
                      <a:pt x="67558" y="0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594" name="Gráfico 15">
              <a:extLst>
                <a:ext uri="{FF2B5EF4-FFF2-40B4-BE49-F238E27FC236}">
                  <a16:creationId xmlns:a16="http://schemas.microsoft.com/office/drawing/2014/main" id="{FCCBF477-F64F-F2F7-C8AA-A95497D944B6}"/>
                </a:ext>
              </a:extLst>
            </p:cNvPr>
            <p:cNvGrpSpPr/>
            <p:nvPr/>
          </p:nvGrpSpPr>
          <p:grpSpPr>
            <a:xfrm>
              <a:off x="5744397" y="4872537"/>
              <a:ext cx="58433" cy="111255"/>
              <a:chOff x="5744397" y="4872537"/>
              <a:chExt cx="58433" cy="111255"/>
            </a:xfrm>
          </p:grpSpPr>
          <p:sp>
            <p:nvSpPr>
              <p:cNvPr id="1595" name="Forma livre: Forma 1594">
                <a:extLst>
                  <a:ext uri="{FF2B5EF4-FFF2-40B4-BE49-F238E27FC236}">
                    <a16:creationId xmlns:a16="http://schemas.microsoft.com/office/drawing/2014/main" id="{13A4A154-5102-70F2-4CB7-635F6D7BE959}"/>
                  </a:ext>
                </a:extLst>
              </p:cNvPr>
              <p:cNvSpPr/>
              <p:nvPr/>
            </p:nvSpPr>
            <p:spPr>
              <a:xfrm>
                <a:off x="5773881" y="4901641"/>
                <a:ext cx="1186" cy="82151"/>
              </a:xfrm>
              <a:custGeom>
                <a:avLst/>
                <a:gdLst>
                  <a:gd name="connsiteX0" fmla="*/ 0 w 1186"/>
                  <a:gd name="connsiteY0" fmla="*/ 82151 h 82151"/>
                  <a:gd name="connsiteX1" fmla="*/ 0 w 1186"/>
                  <a:gd name="connsiteY1" fmla="*/ 0 h 821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86" h="82151">
                    <a:moveTo>
                      <a:pt x="0" y="82151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1596" name="Gráfico 15">
                <a:extLst>
                  <a:ext uri="{FF2B5EF4-FFF2-40B4-BE49-F238E27FC236}">
                    <a16:creationId xmlns:a16="http://schemas.microsoft.com/office/drawing/2014/main" id="{BB06DA0E-C934-90FF-6187-E4E54463B880}"/>
                  </a:ext>
                </a:extLst>
              </p:cNvPr>
              <p:cNvGrpSpPr/>
              <p:nvPr/>
            </p:nvGrpSpPr>
            <p:grpSpPr>
              <a:xfrm>
                <a:off x="5744397" y="4872537"/>
                <a:ext cx="58433" cy="29104"/>
                <a:chOff x="5744397" y="4872537"/>
                <a:chExt cx="58433" cy="29104"/>
              </a:xfrm>
            </p:grpSpPr>
            <p:sp>
              <p:nvSpPr>
                <p:cNvPr id="1597" name="Forma livre: Forma 1596">
                  <a:extLst>
                    <a:ext uri="{FF2B5EF4-FFF2-40B4-BE49-F238E27FC236}">
                      <a16:creationId xmlns:a16="http://schemas.microsoft.com/office/drawing/2014/main" id="{D4070B5A-0A7D-9F4F-9AE8-CAD8F14C863F}"/>
                    </a:ext>
                  </a:extLst>
                </p:cNvPr>
                <p:cNvSpPr/>
                <p:nvPr/>
              </p:nvSpPr>
              <p:spPr>
                <a:xfrm>
                  <a:off x="5773845" y="4872537"/>
                  <a:ext cx="28985" cy="29104"/>
                </a:xfrm>
                <a:custGeom>
                  <a:avLst/>
                  <a:gdLst>
                    <a:gd name="connsiteX0" fmla="*/ 0 w 28985"/>
                    <a:gd name="connsiteY0" fmla="*/ 29104 h 29104"/>
                    <a:gd name="connsiteX1" fmla="*/ 28985 w 28985"/>
                    <a:gd name="connsiteY1" fmla="*/ 0 h 2910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8985" h="29104">
                      <a:moveTo>
                        <a:pt x="0" y="29104"/>
                      </a:moveTo>
                      <a:lnTo>
                        <a:pt x="28985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598" name="Forma livre: Forma 1597">
                  <a:extLst>
                    <a:ext uri="{FF2B5EF4-FFF2-40B4-BE49-F238E27FC236}">
                      <a16:creationId xmlns:a16="http://schemas.microsoft.com/office/drawing/2014/main" id="{C779C24F-CDBE-76B4-0294-23F79C43D1A1}"/>
                    </a:ext>
                  </a:extLst>
                </p:cNvPr>
                <p:cNvSpPr/>
                <p:nvPr/>
              </p:nvSpPr>
              <p:spPr>
                <a:xfrm>
                  <a:off x="5744397" y="4872537"/>
                  <a:ext cx="28997" cy="29104"/>
                </a:xfrm>
                <a:custGeom>
                  <a:avLst/>
                  <a:gdLst>
                    <a:gd name="connsiteX0" fmla="*/ 28997 w 28997"/>
                    <a:gd name="connsiteY0" fmla="*/ 29104 h 29104"/>
                    <a:gd name="connsiteX1" fmla="*/ 0 w 28997"/>
                    <a:gd name="connsiteY1" fmla="*/ 0 h 2910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8997" h="29104">
                      <a:moveTo>
                        <a:pt x="28997" y="29104"/>
                      </a:moveTo>
                      <a:lnTo>
                        <a:pt x="0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</p:grpSp>
      <p:grpSp>
        <p:nvGrpSpPr>
          <p:cNvPr id="1599" name="Gráfico 15">
            <a:extLst>
              <a:ext uri="{FF2B5EF4-FFF2-40B4-BE49-F238E27FC236}">
                <a16:creationId xmlns:a16="http://schemas.microsoft.com/office/drawing/2014/main" id="{06A9B17B-D5ED-9FFD-1C03-2A9E6A89EB90}"/>
              </a:ext>
            </a:extLst>
          </p:cNvPr>
          <p:cNvGrpSpPr/>
          <p:nvPr/>
        </p:nvGrpSpPr>
        <p:grpSpPr>
          <a:xfrm>
            <a:off x="5636333" y="4222469"/>
            <a:ext cx="274573" cy="274490"/>
            <a:chOff x="5636333" y="4222469"/>
            <a:chExt cx="274573" cy="274490"/>
          </a:xfrm>
          <a:noFill/>
        </p:grpSpPr>
        <p:sp>
          <p:nvSpPr>
            <p:cNvPr id="1600" name="Forma livre: Forma 1599">
              <a:extLst>
                <a:ext uri="{FF2B5EF4-FFF2-40B4-BE49-F238E27FC236}">
                  <a16:creationId xmlns:a16="http://schemas.microsoft.com/office/drawing/2014/main" id="{B9D85248-DBD7-8C96-7BE6-D8198E1A27B7}"/>
                </a:ext>
              </a:extLst>
            </p:cNvPr>
            <p:cNvSpPr/>
            <p:nvPr/>
          </p:nvSpPr>
          <p:spPr>
            <a:xfrm>
              <a:off x="5636333" y="4222469"/>
              <a:ext cx="274573" cy="274490"/>
            </a:xfrm>
            <a:custGeom>
              <a:avLst/>
              <a:gdLst>
                <a:gd name="connsiteX0" fmla="*/ 274573 w 274573"/>
                <a:gd name="connsiteY0" fmla="*/ 137251 h 274490"/>
                <a:gd name="connsiteX1" fmla="*/ 137263 w 274573"/>
                <a:gd name="connsiteY1" fmla="*/ 274491 h 274490"/>
                <a:gd name="connsiteX2" fmla="*/ 0 w 274573"/>
                <a:gd name="connsiteY2" fmla="*/ 137251 h 274490"/>
                <a:gd name="connsiteX3" fmla="*/ 137263 w 274573"/>
                <a:gd name="connsiteY3" fmla="*/ 0 h 274490"/>
                <a:gd name="connsiteX4" fmla="*/ 274573 w 274573"/>
                <a:gd name="connsiteY4" fmla="*/ 137251 h 2744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74573" h="274490">
                  <a:moveTo>
                    <a:pt x="274573" y="137251"/>
                  </a:moveTo>
                  <a:cubicBezTo>
                    <a:pt x="274573" y="213055"/>
                    <a:pt x="213114" y="274491"/>
                    <a:pt x="137263" y="274491"/>
                  </a:cubicBezTo>
                  <a:cubicBezTo>
                    <a:pt x="61412" y="274491"/>
                    <a:pt x="0" y="213043"/>
                    <a:pt x="0" y="137251"/>
                  </a:cubicBezTo>
                  <a:cubicBezTo>
                    <a:pt x="0" y="61459"/>
                    <a:pt x="61459" y="0"/>
                    <a:pt x="137263" y="0"/>
                  </a:cubicBezTo>
                  <a:cubicBezTo>
                    <a:pt x="213067" y="0"/>
                    <a:pt x="274573" y="61447"/>
                    <a:pt x="274573" y="137251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01" name="Forma livre: Forma 1600">
              <a:extLst>
                <a:ext uri="{FF2B5EF4-FFF2-40B4-BE49-F238E27FC236}">
                  <a16:creationId xmlns:a16="http://schemas.microsoft.com/office/drawing/2014/main" id="{16F84616-41EC-1F14-C3A6-691FFE131D00}"/>
                </a:ext>
              </a:extLst>
            </p:cNvPr>
            <p:cNvSpPr/>
            <p:nvPr/>
          </p:nvSpPr>
          <p:spPr>
            <a:xfrm>
              <a:off x="5753818" y="4339929"/>
              <a:ext cx="39580" cy="39580"/>
            </a:xfrm>
            <a:custGeom>
              <a:avLst/>
              <a:gdLst>
                <a:gd name="connsiteX0" fmla="*/ 39581 w 39580"/>
                <a:gd name="connsiteY0" fmla="*/ 19790 h 39580"/>
                <a:gd name="connsiteX1" fmla="*/ 19790 w 39580"/>
                <a:gd name="connsiteY1" fmla="*/ 39581 h 39580"/>
                <a:gd name="connsiteX2" fmla="*/ 0 w 39580"/>
                <a:gd name="connsiteY2" fmla="*/ 19790 h 39580"/>
                <a:gd name="connsiteX3" fmla="*/ 19790 w 39580"/>
                <a:gd name="connsiteY3" fmla="*/ 0 h 39580"/>
                <a:gd name="connsiteX4" fmla="*/ 39581 w 39580"/>
                <a:gd name="connsiteY4" fmla="*/ 19790 h 395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580" h="39580">
                  <a:moveTo>
                    <a:pt x="39581" y="19790"/>
                  </a:moveTo>
                  <a:cubicBezTo>
                    <a:pt x="39581" y="30720"/>
                    <a:pt x="30720" y="39581"/>
                    <a:pt x="19790" y="39581"/>
                  </a:cubicBezTo>
                  <a:cubicBezTo>
                    <a:pt x="8860" y="39581"/>
                    <a:pt x="0" y="30720"/>
                    <a:pt x="0" y="19790"/>
                  </a:cubicBezTo>
                  <a:cubicBezTo>
                    <a:pt x="0" y="8860"/>
                    <a:pt x="8860" y="0"/>
                    <a:pt x="19790" y="0"/>
                  </a:cubicBezTo>
                  <a:cubicBezTo>
                    <a:pt x="30720" y="0"/>
                    <a:pt x="39581" y="8860"/>
                    <a:pt x="39581" y="19790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602" name="Gráfico 15">
              <a:extLst>
                <a:ext uri="{FF2B5EF4-FFF2-40B4-BE49-F238E27FC236}">
                  <a16:creationId xmlns:a16="http://schemas.microsoft.com/office/drawing/2014/main" id="{3734D0E6-1908-179D-44FF-48038C8FF0F1}"/>
                </a:ext>
              </a:extLst>
            </p:cNvPr>
            <p:cNvGrpSpPr/>
            <p:nvPr/>
          </p:nvGrpSpPr>
          <p:grpSpPr>
            <a:xfrm>
              <a:off x="5711105" y="4297204"/>
              <a:ext cx="125018" cy="62515"/>
              <a:chOff x="5711105" y="4297204"/>
              <a:chExt cx="125018" cy="62515"/>
            </a:xfrm>
            <a:noFill/>
          </p:grpSpPr>
          <p:sp>
            <p:nvSpPr>
              <p:cNvPr id="1603" name="Forma livre: Forma 1602">
                <a:extLst>
                  <a:ext uri="{FF2B5EF4-FFF2-40B4-BE49-F238E27FC236}">
                    <a16:creationId xmlns:a16="http://schemas.microsoft.com/office/drawing/2014/main" id="{4D116E81-BCEB-B023-6056-1E1495D98B4E}"/>
                  </a:ext>
                </a:extLst>
              </p:cNvPr>
              <p:cNvSpPr/>
              <p:nvPr/>
            </p:nvSpPr>
            <p:spPr>
              <a:xfrm>
                <a:off x="5832504" y="4338684"/>
                <a:ext cx="3618" cy="21036"/>
              </a:xfrm>
              <a:custGeom>
                <a:avLst/>
                <a:gdLst>
                  <a:gd name="connsiteX0" fmla="*/ 0 w 3618"/>
                  <a:gd name="connsiteY0" fmla="*/ 0 h 21036"/>
                  <a:gd name="connsiteX1" fmla="*/ 3619 w 3618"/>
                  <a:gd name="connsiteY1" fmla="*/ 21036 h 210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618" h="21036">
                    <a:moveTo>
                      <a:pt x="0" y="0"/>
                    </a:moveTo>
                    <a:cubicBezTo>
                      <a:pt x="2349" y="6573"/>
                      <a:pt x="3619" y="13656"/>
                      <a:pt x="3619" y="21036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604" name="Forma livre: Forma 1603">
                <a:extLst>
                  <a:ext uri="{FF2B5EF4-FFF2-40B4-BE49-F238E27FC236}">
                    <a16:creationId xmlns:a16="http://schemas.microsoft.com/office/drawing/2014/main" id="{1F8096EC-8C78-5D03-5EC9-0BC4E66AAB81}"/>
                  </a:ext>
                </a:extLst>
              </p:cNvPr>
              <p:cNvSpPr/>
              <p:nvPr/>
            </p:nvSpPr>
            <p:spPr>
              <a:xfrm>
                <a:off x="5711105" y="4297204"/>
                <a:ext cx="106746" cy="62515"/>
              </a:xfrm>
              <a:custGeom>
                <a:avLst/>
                <a:gdLst>
                  <a:gd name="connsiteX0" fmla="*/ 0 w 106746"/>
                  <a:gd name="connsiteY0" fmla="*/ 62515 h 62515"/>
                  <a:gd name="connsiteX1" fmla="*/ 62503 w 106746"/>
                  <a:gd name="connsiteY1" fmla="*/ 0 h 62515"/>
                  <a:gd name="connsiteX2" fmla="*/ 106747 w 106746"/>
                  <a:gd name="connsiteY2" fmla="*/ 18319 h 625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06746" h="62515">
                    <a:moveTo>
                      <a:pt x="0" y="62515"/>
                    </a:moveTo>
                    <a:cubicBezTo>
                      <a:pt x="0" y="27977"/>
                      <a:pt x="27989" y="0"/>
                      <a:pt x="62503" y="0"/>
                    </a:cubicBezTo>
                    <a:cubicBezTo>
                      <a:pt x="79624" y="0"/>
                      <a:pt x="95452" y="7178"/>
                      <a:pt x="106747" y="18319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605" name="Gráfico 15">
              <a:extLst>
                <a:ext uri="{FF2B5EF4-FFF2-40B4-BE49-F238E27FC236}">
                  <a16:creationId xmlns:a16="http://schemas.microsoft.com/office/drawing/2014/main" id="{874179E1-1C91-1DF8-F5EE-62B203FE9CC7}"/>
                </a:ext>
              </a:extLst>
            </p:cNvPr>
            <p:cNvGrpSpPr/>
            <p:nvPr/>
          </p:nvGrpSpPr>
          <p:grpSpPr>
            <a:xfrm>
              <a:off x="5667205" y="4359743"/>
              <a:ext cx="212817" cy="1186"/>
              <a:chOff x="5667205" y="4359743"/>
              <a:chExt cx="212817" cy="1186"/>
            </a:xfrm>
          </p:grpSpPr>
          <p:sp>
            <p:nvSpPr>
              <p:cNvPr id="1606" name="Forma livre: Forma 1605">
                <a:extLst>
                  <a:ext uri="{FF2B5EF4-FFF2-40B4-BE49-F238E27FC236}">
                    <a16:creationId xmlns:a16="http://schemas.microsoft.com/office/drawing/2014/main" id="{0C63FBAE-08E8-706A-DE28-BA3D3251BA5B}"/>
                  </a:ext>
                </a:extLst>
              </p:cNvPr>
              <p:cNvSpPr/>
              <p:nvPr/>
            </p:nvSpPr>
            <p:spPr>
              <a:xfrm>
                <a:off x="5836123" y="4359743"/>
                <a:ext cx="43899" cy="1186"/>
              </a:xfrm>
              <a:custGeom>
                <a:avLst/>
                <a:gdLst>
                  <a:gd name="connsiteX0" fmla="*/ 0 w 43899"/>
                  <a:gd name="connsiteY0" fmla="*/ 0 h 1186"/>
                  <a:gd name="connsiteX1" fmla="*/ 43900 w 43899"/>
                  <a:gd name="connsiteY1" fmla="*/ 0 h 11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3899" h="1186">
                    <a:moveTo>
                      <a:pt x="0" y="0"/>
                    </a:moveTo>
                    <a:lnTo>
                      <a:pt x="4390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607" name="Forma livre: Forma 1606">
                <a:extLst>
                  <a:ext uri="{FF2B5EF4-FFF2-40B4-BE49-F238E27FC236}">
                    <a16:creationId xmlns:a16="http://schemas.microsoft.com/office/drawing/2014/main" id="{AB12D881-FB04-16C2-CFD6-85AC842FBAEF}"/>
                  </a:ext>
                </a:extLst>
              </p:cNvPr>
              <p:cNvSpPr/>
              <p:nvPr/>
            </p:nvSpPr>
            <p:spPr>
              <a:xfrm>
                <a:off x="5667205" y="4359743"/>
                <a:ext cx="43899" cy="1186"/>
              </a:xfrm>
              <a:custGeom>
                <a:avLst/>
                <a:gdLst>
                  <a:gd name="connsiteX0" fmla="*/ 0 w 43899"/>
                  <a:gd name="connsiteY0" fmla="*/ 0 h 1186"/>
                  <a:gd name="connsiteX1" fmla="*/ 43900 w 43899"/>
                  <a:gd name="connsiteY1" fmla="*/ 0 h 11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3899" h="1186">
                    <a:moveTo>
                      <a:pt x="0" y="0"/>
                    </a:moveTo>
                    <a:lnTo>
                      <a:pt x="4390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608" name="Forma livre: Forma 1607">
              <a:extLst>
                <a:ext uri="{FF2B5EF4-FFF2-40B4-BE49-F238E27FC236}">
                  <a16:creationId xmlns:a16="http://schemas.microsoft.com/office/drawing/2014/main" id="{6587025F-A004-CB01-3394-5588A4ED4A5B}"/>
                </a:ext>
              </a:extLst>
            </p:cNvPr>
            <p:cNvSpPr/>
            <p:nvPr/>
          </p:nvSpPr>
          <p:spPr>
            <a:xfrm>
              <a:off x="5773608" y="4253329"/>
              <a:ext cx="1186" cy="42475"/>
            </a:xfrm>
            <a:custGeom>
              <a:avLst/>
              <a:gdLst>
                <a:gd name="connsiteX0" fmla="*/ 0 w 1186"/>
                <a:gd name="connsiteY0" fmla="*/ 0 h 42475"/>
                <a:gd name="connsiteX1" fmla="*/ 0 w 1186"/>
                <a:gd name="connsiteY1" fmla="*/ 42476 h 42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86" h="42475">
                  <a:moveTo>
                    <a:pt x="0" y="0"/>
                  </a:moveTo>
                  <a:lnTo>
                    <a:pt x="0" y="42476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09" name="Forma livre: Forma 1608">
              <a:extLst>
                <a:ext uri="{FF2B5EF4-FFF2-40B4-BE49-F238E27FC236}">
                  <a16:creationId xmlns:a16="http://schemas.microsoft.com/office/drawing/2014/main" id="{16545C02-A93F-22F9-E8B7-86925DE506A4}"/>
                </a:ext>
              </a:extLst>
            </p:cNvPr>
            <p:cNvSpPr/>
            <p:nvPr/>
          </p:nvSpPr>
          <p:spPr>
            <a:xfrm>
              <a:off x="5798085" y="4277189"/>
              <a:ext cx="9729" cy="23480"/>
            </a:xfrm>
            <a:custGeom>
              <a:avLst/>
              <a:gdLst>
                <a:gd name="connsiteX0" fmla="*/ 9729 w 9729"/>
                <a:gd name="connsiteY0" fmla="*/ 0 h 23480"/>
                <a:gd name="connsiteX1" fmla="*/ 0 w 9729"/>
                <a:gd name="connsiteY1" fmla="*/ 23480 h 234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729" h="23480">
                  <a:moveTo>
                    <a:pt x="9729" y="0"/>
                  </a:moveTo>
                  <a:lnTo>
                    <a:pt x="0" y="2348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10" name="Forma livre: Forma 1609">
              <a:extLst>
                <a:ext uri="{FF2B5EF4-FFF2-40B4-BE49-F238E27FC236}">
                  <a16:creationId xmlns:a16="http://schemas.microsoft.com/office/drawing/2014/main" id="{51B6BE7B-EC23-A206-BEE2-B9CDD1947034}"/>
                </a:ext>
              </a:extLst>
            </p:cNvPr>
            <p:cNvSpPr/>
            <p:nvPr/>
          </p:nvSpPr>
          <p:spPr>
            <a:xfrm>
              <a:off x="5691077" y="4325537"/>
              <a:ext cx="23480" cy="9740"/>
            </a:xfrm>
            <a:custGeom>
              <a:avLst/>
              <a:gdLst>
                <a:gd name="connsiteX0" fmla="*/ 0 w 23480"/>
                <a:gd name="connsiteY0" fmla="*/ 0 h 9740"/>
                <a:gd name="connsiteX1" fmla="*/ 23480 w 23480"/>
                <a:gd name="connsiteY1" fmla="*/ 9741 h 97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3480" h="9740">
                  <a:moveTo>
                    <a:pt x="0" y="0"/>
                  </a:moveTo>
                  <a:lnTo>
                    <a:pt x="23480" y="9741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11" name="Forma livre: Forma 1610">
              <a:extLst>
                <a:ext uri="{FF2B5EF4-FFF2-40B4-BE49-F238E27FC236}">
                  <a16:creationId xmlns:a16="http://schemas.microsoft.com/office/drawing/2014/main" id="{00A93B9D-0CE6-47E0-D218-00F702382750}"/>
                </a:ext>
              </a:extLst>
            </p:cNvPr>
            <p:cNvSpPr/>
            <p:nvPr/>
          </p:nvSpPr>
          <p:spPr>
            <a:xfrm>
              <a:off x="5739438" y="4277189"/>
              <a:ext cx="9717" cy="23480"/>
            </a:xfrm>
            <a:custGeom>
              <a:avLst/>
              <a:gdLst>
                <a:gd name="connsiteX0" fmla="*/ 0 w 9717"/>
                <a:gd name="connsiteY0" fmla="*/ 0 h 23480"/>
                <a:gd name="connsiteX1" fmla="*/ 9717 w 9717"/>
                <a:gd name="connsiteY1" fmla="*/ 23480 h 234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717" h="23480">
                  <a:moveTo>
                    <a:pt x="0" y="0"/>
                  </a:moveTo>
                  <a:lnTo>
                    <a:pt x="9717" y="2348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12" name="Forma livre: Forma 1611">
              <a:extLst>
                <a:ext uri="{FF2B5EF4-FFF2-40B4-BE49-F238E27FC236}">
                  <a16:creationId xmlns:a16="http://schemas.microsoft.com/office/drawing/2014/main" id="{DF69491E-AFE1-8CA4-5128-D6CCB2C578F0}"/>
                </a:ext>
              </a:extLst>
            </p:cNvPr>
            <p:cNvSpPr/>
            <p:nvPr/>
          </p:nvSpPr>
          <p:spPr>
            <a:xfrm>
              <a:off x="5817840" y="4284497"/>
              <a:ext cx="31014" cy="31026"/>
            </a:xfrm>
            <a:custGeom>
              <a:avLst/>
              <a:gdLst>
                <a:gd name="connsiteX0" fmla="*/ 0 w 31014"/>
                <a:gd name="connsiteY0" fmla="*/ 31026 h 31026"/>
                <a:gd name="connsiteX1" fmla="*/ 31014 w 31014"/>
                <a:gd name="connsiteY1" fmla="*/ 0 h 310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1014" h="31026">
                  <a:moveTo>
                    <a:pt x="0" y="31026"/>
                  </a:moveTo>
                  <a:lnTo>
                    <a:pt x="31014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13" name="Forma livre: Forma 1612">
              <a:extLst>
                <a:ext uri="{FF2B5EF4-FFF2-40B4-BE49-F238E27FC236}">
                  <a16:creationId xmlns:a16="http://schemas.microsoft.com/office/drawing/2014/main" id="{117765BD-42B9-74E3-4DA8-35D0C90F8CA7}"/>
                </a:ext>
              </a:extLst>
            </p:cNvPr>
            <p:cNvSpPr/>
            <p:nvPr/>
          </p:nvSpPr>
          <p:spPr>
            <a:xfrm>
              <a:off x="5698374" y="4284497"/>
              <a:ext cx="29614" cy="29614"/>
            </a:xfrm>
            <a:custGeom>
              <a:avLst/>
              <a:gdLst>
                <a:gd name="connsiteX0" fmla="*/ 0 w 29614"/>
                <a:gd name="connsiteY0" fmla="*/ 0 h 29614"/>
                <a:gd name="connsiteX1" fmla="*/ 29614 w 29614"/>
                <a:gd name="connsiteY1" fmla="*/ 29614 h 296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9614" h="29614">
                  <a:moveTo>
                    <a:pt x="0" y="0"/>
                  </a:moveTo>
                  <a:lnTo>
                    <a:pt x="29614" y="29614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14" name="Forma livre: Forma 1613">
              <a:extLst>
                <a:ext uri="{FF2B5EF4-FFF2-40B4-BE49-F238E27FC236}">
                  <a16:creationId xmlns:a16="http://schemas.microsoft.com/office/drawing/2014/main" id="{1F8D79C8-49FD-86A5-58E5-264C53DD0679}"/>
                </a:ext>
              </a:extLst>
            </p:cNvPr>
            <p:cNvSpPr/>
            <p:nvPr/>
          </p:nvSpPr>
          <p:spPr>
            <a:xfrm>
              <a:off x="5792651" y="4324244"/>
              <a:ext cx="74059" cy="28700"/>
            </a:xfrm>
            <a:custGeom>
              <a:avLst/>
              <a:gdLst>
                <a:gd name="connsiteX0" fmla="*/ 0 w 74059"/>
                <a:gd name="connsiteY0" fmla="*/ 28701 h 28700"/>
                <a:gd name="connsiteX1" fmla="*/ 74060 w 74059"/>
                <a:gd name="connsiteY1" fmla="*/ 0 h 287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4059" h="28700">
                  <a:moveTo>
                    <a:pt x="0" y="28701"/>
                  </a:moveTo>
                  <a:lnTo>
                    <a:pt x="7406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15" name="Forma livre: Forma 1614">
              <a:extLst>
                <a:ext uri="{FF2B5EF4-FFF2-40B4-BE49-F238E27FC236}">
                  <a16:creationId xmlns:a16="http://schemas.microsoft.com/office/drawing/2014/main" id="{268A7DF2-BA2E-3621-2D6C-CF4745CB2400}"/>
                </a:ext>
              </a:extLst>
            </p:cNvPr>
            <p:cNvSpPr/>
            <p:nvPr/>
          </p:nvSpPr>
          <p:spPr>
            <a:xfrm>
              <a:off x="5740387" y="4435654"/>
              <a:ext cx="66442" cy="1186"/>
            </a:xfrm>
            <a:custGeom>
              <a:avLst/>
              <a:gdLst>
                <a:gd name="connsiteX0" fmla="*/ 0 w 66442"/>
                <a:gd name="connsiteY0" fmla="*/ 0 h 1186"/>
                <a:gd name="connsiteX1" fmla="*/ 66442 w 66442"/>
                <a:gd name="connsiteY1" fmla="*/ 0 h 11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6442" h="1186">
                  <a:moveTo>
                    <a:pt x="0" y="0"/>
                  </a:moveTo>
                  <a:lnTo>
                    <a:pt x="66442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616" name="Gráfico 15">
            <a:extLst>
              <a:ext uri="{FF2B5EF4-FFF2-40B4-BE49-F238E27FC236}">
                <a16:creationId xmlns:a16="http://schemas.microsoft.com/office/drawing/2014/main" id="{544A0CDE-B873-3626-5EF4-1E7A25EA1915}"/>
              </a:ext>
            </a:extLst>
          </p:cNvPr>
          <p:cNvGrpSpPr/>
          <p:nvPr/>
        </p:nvGrpSpPr>
        <p:grpSpPr>
          <a:xfrm>
            <a:off x="4388639" y="5294435"/>
            <a:ext cx="302289" cy="235111"/>
            <a:chOff x="4388639" y="5294435"/>
            <a:chExt cx="302289" cy="235111"/>
          </a:xfrm>
          <a:noFill/>
        </p:grpSpPr>
        <p:sp>
          <p:nvSpPr>
            <p:cNvPr id="1617" name="Forma livre: Forma 1616">
              <a:extLst>
                <a:ext uri="{FF2B5EF4-FFF2-40B4-BE49-F238E27FC236}">
                  <a16:creationId xmlns:a16="http://schemas.microsoft.com/office/drawing/2014/main" id="{E9A6F0FE-8D13-4F67-3488-070DB1B1734C}"/>
                </a:ext>
              </a:extLst>
            </p:cNvPr>
            <p:cNvSpPr/>
            <p:nvPr/>
          </p:nvSpPr>
          <p:spPr>
            <a:xfrm>
              <a:off x="4388639" y="5505295"/>
              <a:ext cx="302289" cy="24251"/>
            </a:xfrm>
            <a:custGeom>
              <a:avLst/>
              <a:gdLst>
                <a:gd name="connsiteX0" fmla="*/ 77204 w 302289"/>
                <a:gd name="connsiteY0" fmla="*/ 0 h 24251"/>
                <a:gd name="connsiteX1" fmla="*/ 302289 w 302289"/>
                <a:gd name="connsiteY1" fmla="*/ 0 h 24251"/>
                <a:gd name="connsiteX2" fmla="*/ 302289 w 302289"/>
                <a:gd name="connsiteY2" fmla="*/ 24251 h 24251"/>
                <a:gd name="connsiteX3" fmla="*/ 0 w 302289"/>
                <a:gd name="connsiteY3" fmla="*/ 24251 h 24251"/>
                <a:gd name="connsiteX4" fmla="*/ 0 w 302289"/>
                <a:gd name="connsiteY4" fmla="*/ 0 h 24251"/>
                <a:gd name="connsiteX5" fmla="*/ 45466 w 302289"/>
                <a:gd name="connsiteY5" fmla="*/ 0 h 242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02289" h="24251">
                  <a:moveTo>
                    <a:pt x="77204" y="0"/>
                  </a:moveTo>
                  <a:lnTo>
                    <a:pt x="302289" y="0"/>
                  </a:lnTo>
                  <a:lnTo>
                    <a:pt x="302289" y="24251"/>
                  </a:lnTo>
                  <a:lnTo>
                    <a:pt x="0" y="24251"/>
                  </a:lnTo>
                  <a:lnTo>
                    <a:pt x="0" y="0"/>
                  </a:lnTo>
                  <a:lnTo>
                    <a:pt x="45466" y="0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618" name="Gráfico 15">
              <a:extLst>
                <a:ext uri="{FF2B5EF4-FFF2-40B4-BE49-F238E27FC236}">
                  <a16:creationId xmlns:a16="http://schemas.microsoft.com/office/drawing/2014/main" id="{4905D5CC-B54D-DB33-37F5-738CF0CC645C}"/>
                </a:ext>
              </a:extLst>
            </p:cNvPr>
            <p:cNvGrpSpPr/>
            <p:nvPr/>
          </p:nvGrpSpPr>
          <p:grpSpPr>
            <a:xfrm>
              <a:off x="4402532" y="5359572"/>
              <a:ext cx="274502" cy="141973"/>
              <a:chOff x="4402532" y="5359572"/>
              <a:chExt cx="274502" cy="141973"/>
            </a:xfrm>
          </p:grpSpPr>
          <p:sp>
            <p:nvSpPr>
              <p:cNvPr id="1619" name="Forma livre: Forma 1618">
                <a:extLst>
                  <a:ext uri="{FF2B5EF4-FFF2-40B4-BE49-F238E27FC236}">
                    <a16:creationId xmlns:a16="http://schemas.microsoft.com/office/drawing/2014/main" id="{995F1457-92C5-4729-24FD-1AE1DF501F30}"/>
                  </a:ext>
                </a:extLst>
              </p:cNvPr>
              <p:cNvSpPr/>
              <p:nvPr/>
            </p:nvSpPr>
            <p:spPr>
              <a:xfrm>
                <a:off x="4402532" y="5376717"/>
                <a:ext cx="1186" cy="124828"/>
              </a:xfrm>
              <a:custGeom>
                <a:avLst/>
                <a:gdLst>
                  <a:gd name="connsiteX0" fmla="*/ 0 w 1186"/>
                  <a:gd name="connsiteY0" fmla="*/ 124829 h 124828"/>
                  <a:gd name="connsiteX1" fmla="*/ 0 w 1186"/>
                  <a:gd name="connsiteY1" fmla="*/ 0 h 1248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86" h="124828">
                    <a:moveTo>
                      <a:pt x="0" y="124829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620" name="Forma livre: Forma 1619">
                <a:extLst>
                  <a:ext uri="{FF2B5EF4-FFF2-40B4-BE49-F238E27FC236}">
                    <a16:creationId xmlns:a16="http://schemas.microsoft.com/office/drawing/2014/main" id="{6519D326-F426-55CF-B7FA-44E550F65302}"/>
                  </a:ext>
                </a:extLst>
              </p:cNvPr>
              <p:cNvSpPr/>
              <p:nvPr/>
            </p:nvSpPr>
            <p:spPr>
              <a:xfrm>
                <a:off x="4677035" y="5359572"/>
                <a:ext cx="1186" cy="141973"/>
              </a:xfrm>
              <a:custGeom>
                <a:avLst/>
                <a:gdLst>
                  <a:gd name="connsiteX0" fmla="*/ 0 w 1186"/>
                  <a:gd name="connsiteY0" fmla="*/ 141973 h 141973"/>
                  <a:gd name="connsiteX1" fmla="*/ 0 w 1186"/>
                  <a:gd name="connsiteY1" fmla="*/ 0 h 1419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86" h="141973">
                    <a:moveTo>
                      <a:pt x="0" y="141973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621" name="Forma livre: Forma 1620">
              <a:extLst>
                <a:ext uri="{FF2B5EF4-FFF2-40B4-BE49-F238E27FC236}">
                  <a16:creationId xmlns:a16="http://schemas.microsoft.com/office/drawing/2014/main" id="{D3BA74B0-3C45-09E9-595A-6957C5C397D0}"/>
                </a:ext>
              </a:extLst>
            </p:cNvPr>
            <p:cNvSpPr/>
            <p:nvPr/>
          </p:nvSpPr>
          <p:spPr>
            <a:xfrm>
              <a:off x="4388639" y="5303713"/>
              <a:ext cx="302289" cy="53355"/>
            </a:xfrm>
            <a:custGeom>
              <a:avLst/>
              <a:gdLst>
                <a:gd name="connsiteX0" fmla="*/ 77204 w 302289"/>
                <a:gd name="connsiteY0" fmla="*/ 53356 h 53355"/>
                <a:gd name="connsiteX1" fmla="*/ 302289 w 302289"/>
                <a:gd name="connsiteY1" fmla="*/ 53356 h 53355"/>
                <a:gd name="connsiteX2" fmla="*/ 302289 w 302289"/>
                <a:gd name="connsiteY2" fmla="*/ 27680 h 53355"/>
                <a:gd name="connsiteX3" fmla="*/ 213660 w 302289"/>
                <a:gd name="connsiteY3" fmla="*/ 27680 h 53355"/>
                <a:gd name="connsiteX4" fmla="*/ 213660 w 302289"/>
                <a:gd name="connsiteY4" fmla="*/ 0 h 53355"/>
                <a:gd name="connsiteX5" fmla="*/ 88629 w 302289"/>
                <a:gd name="connsiteY5" fmla="*/ 0 h 53355"/>
                <a:gd name="connsiteX6" fmla="*/ 88629 w 302289"/>
                <a:gd name="connsiteY6" fmla="*/ 27680 h 53355"/>
                <a:gd name="connsiteX7" fmla="*/ 0 w 302289"/>
                <a:gd name="connsiteY7" fmla="*/ 27680 h 53355"/>
                <a:gd name="connsiteX8" fmla="*/ 0 w 302289"/>
                <a:gd name="connsiteY8" fmla="*/ 53356 h 53355"/>
                <a:gd name="connsiteX9" fmla="*/ 45466 w 302289"/>
                <a:gd name="connsiteY9" fmla="*/ 53356 h 533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02289" h="53355">
                  <a:moveTo>
                    <a:pt x="77204" y="53356"/>
                  </a:moveTo>
                  <a:lnTo>
                    <a:pt x="302289" y="53356"/>
                  </a:lnTo>
                  <a:lnTo>
                    <a:pt x="302289" y="27680"/>
                  </a:lnTo>
                  <a:lnTo>
                    <a:pt x="213660" y="27680"/>
                  </a:lnTo>
                  <a:lnTo>
                    <a:pt x="213660" y="0"/>
                  </a:lnTo>
                  <a:lnTo>
                    <a:pt x="88629" y="0"/>
                  </a:lnTo>
                  <a:lnTo>
                    <a:pt x="88629" y="27680"/>
                  </a:lnTo>
                  <a:lnTo>
                    <a:pt x="0" y="27680"/>
                  </a:lnTo>
                  <a:lnTo>
                    <a:pt x="0" y="53356"/>
                  </a:lnTo>
                  <a:lnTo>
                    <a:pt x="45466" y="53356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622" name="Gráfico 15">
              <a:extLst>
                <a:ext uri="{FF2B5EF4-FFF2-40B4-BE49-F238E27FC236}">
                  <a16:creationId xmlns:a16="http://schemas.microsoft.com/office/drawing/2014/main" id="{B0F6B534-4D40-3F78-66AF-B918DF18BCA8}"/>
                </a:ext>
              </a:extLst>
            </p:cNvPr>
            <p:cNvGrpSpPr/>
            <p:nvPr/>
          </p:nvGrpSpPr>
          <p:grpSpPr>
            <a:xfrm>
              <a:off x="4418443" y="5294435"/>
              <a:ext cx="242681" cy="34834"/>
              <a:chOff x="4418443" y="5294435"/>
              <a:chExt cx="242681" cy="34834"/>
            </a:xfrm>
            <a:noFill/>
          </p:grpSpPr>
          <p:sp>
            <p:nvSpPr>
              <p:cNvPr id="1623" name="Forma livre: Forma 1622">
                <a:extLst>
                  <a:ext uri="{FF2B5EF4-FFF2-40B4-BE49-F238E27FC236}">
                    <a16:creationId xmlns:a16="http://schemas.microsoft.com/office/drawing/2014/main" id="{E4E4B0FA-2DF0-6649-0DAC-6F0E00FC32FE}"/>
                  </a:ext>
                </a:extLst>
              </p:cNvPr>
              <p:cNvSpPr/>
              <p:nvPr/>
            </p:nvSpPr>
            <p:spPr>
              <a:xfrm>
                <a:off x="4418443" y="5294435"/>
                <a:ext cx="25615" cy="32877"/>
              </a:xfrm>
              <a:custGeom>
                <a:avLst/>
                <a:gdLst>
                  <a:gd name="connsiteX0" fmla="*/ 0 w 25615"/>
                  <a:gd name="connsiteY0" fmla="*/ 18746 h 32877"/>
                  <a:gd name="connsiteX1" fmla="*/ 0 w 25615"/>
                  <a:gd name="connsiteY1" fmla="*/ 0 h 32877"/>
                  <a:gd name="connsiteX2" fmla="*/ 25616 w 25615"/>
                  <a:gd name="connsiteY2" fmla="*/ 0 h 32877"/>
                  <a:gd name="connsiteX3" fmla="*/ 25616 w 25615"/>
                  <a:gd name="connsiteY3" fmla="*/ 32877 h 328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5615" h="32877">
                    <a:moveTo>
                      <a:pt x="0" y="18746"/>
                    </a:moveTo>
                    <a:lnTo>
                      <a:pt x="0" y="0"/>
                    </a:lnTo>
                    <a:lnTo>
                      <a:pt x="25616" y="0"/>
                    </a:lnTo>
                    <a:lnTo>
                      <a:pt x="25616" y="32877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624" name="Forma livre: Forma 1623">
                <a:extLst>
                  <a:ext uri="{FF2B5EF4-FFF2-40B4-BE49-F238E27FC236}">
                    <a16:creationId xmlns:a16="http://schemas.microsoft.com/office/drawing/2014/main" id="{068938D4-4ADC-7DD8-8A48-B5F7048A04CF}"/>
                  </a:ext>
                </a:extLst>
              </p:cNvPr>
              <p:cNvSpPr/>
              <p:nvPr/>
            </p:nvSpPr>
            <p:spPr>
              <a:xfrm>
                <a:off x="4635508" y="5294435"/>
                <a:ext cx="25615" cy="34834"/>
              </a:xfrm>
              <a:custGeom>
                <a:avLst/>
                <a:gdLst>
                  <a:gd name="connsiteX0" fmla="*/ 0 w 25615"/>
                  <a:gd name="connsiteY0" fmla="*/ 34835 h 34834"/>
                  <a:gd name="connsiteX1" fmla="*/ 0 w 25615"/>
                  <a:gd name="connsiteY1" fmla="*/ 0 h 34834"/>
                  <a:gd name="connsiteX2" fmla="*/ 25616 w 25615"/>
                  <a:gd name="connsiteY2" fmla="*/ 0 h 34834"/>
                  <a:gd name="connsiteX3" fmla="*/ 25616 w 25615"/>
                  <a:gd name="connsiteY3" fmla="*/ 34550 h 348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5615" h="34834">
                    <a:moveTo>
                      <a:pt x="0" y="34835"/>
                    </a:moveTo>
                    <a:lnTo>
                      <a:pt x="0" y="0"/>
                    </a:lnTo>
                    <a:lnTo>
                      <a:pt x="25616" y="0"/>
                    </a:lnTo>
                    <a:lnTo>
                      <a:pt x="25616" y="3455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625" name="Gráfico 15">
              <a:extLst>
                <a:ext uri="{FF2B5EF4-FFF2-40B4-BE49-F238E27FC236}">
                  <a16:creationId xmlns:a16="http://schemas.microsoft.com/office/drawing/2014/main" id="{D056A4C4-5CF0-F540-B938-D00A471B96ED}"/>
                </a:ext>
              </a:extLst>
            </p:cNvPr>
            <p:cNvGrpSpPr/>
            <p:nvPr/>
          </p:nvGrpSpPr>
          <p:grpSpPr>
            <a:xfrm>
              <a:off x="4433001" y="5410223"/>
              <a:ext cx="213565" cy="41218"/>
              <a:chOff x="4433001" y="5410223"/>
              <a:chExt cx="213565" cy="41218"/>
            </a:xfrm>
          </p:grpSpPr>
          <p:grpSp>
            <p:nvGrpSpPr>
              <p:cNvPr id="1626" name="Gráfico 15">
                <a:extLst>
                  <a:ext uri="{FF2B5EF4-FFF2-40B4-BE49-F238E27FC236}">
                    <a16:creationId xmlns:a16="http://schemas.microsoft.com/office/drawing/2014/main" id="{AACDA768-78A9-C8CC-9F0A-73678EC0DE4F}"/>
                  </a:ext>
                </a:extLst>
              </p:cNvPr>
              <p:cNvGrpSpPr/>
              <p:nvPr/>
            </p:nvGrpSpPr>
            <p:grpSpPr>
              <a:xfrm>
                <a:off x="4433001" y="5410223"/>
                <a:ext cx="41218" cy="41218"/>
                <a:chOff x="4433001" y="5410223"/>
                <a:chExt cx="41218" cy="41218"/>
              </a:xfrm>
            </p:grpSpPr>
            <p:sp>
              <p:nvSpPr>
                <p:cNvPr id="1627" name="Forma livre: Forma 1626">
                  <a:extLst>
                    <a:ext uri="{FF2B5EF4-FFF2-40B4-BE49-F238E27FC236}">
                      <a16:creationId xmlns:a16="http://schemas.microsoft.com/office/drawing/2014/main" id="{8548BE67-B8AA-F804-540E-EAF45745144C}"/>
                    </a:ext>
                  </a:extLst>
                </p:cNvPr>
                <p:cNvSpPr/>
                <p:nvPr/>
              </p:nvSpPr>
              <p:spPr>
                <a:xfrm>
                  <a:off x="4433001" y="5430832"/>
                  <a:ext cx="41218" cy="1186"/>
                </a:xfrm>
                <a:custGeom>
                  <a:avLst/>
                  <a:gdLst>
                    <a:gd name="connsiteX0" fmla="*/ 0 w 41218"/>
                    <a:gd name="connsiteY0" fmla="*/ 0 h 1186"/>
                    <a:gd name="connsiteX1" fmla="*/ 41218 w 41218"/>
                    <a:gd name="connsiteY1" fmla="*/ 0 h 118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1218" h="1186">
                      <a:moveTo>
                        <a:pt x="0" y="0"/>
                      </a:moveTo>
                      <a:lnTo>
                        <a:pt x="41218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628" name="Forma livre: Forma 1627">
                  <a:extLst>
                    <a:ext uri="{FF2B5EF4-FFF2-40B4-BE49-F238E27FC236}">
                      <a16:creationId xmlns:a16="http://schemas.microsoft.com/office/drawing/2014/main" id="{B9EE4BA3-0FF1-CD1F-773E-A362EE3515EE}"/>
                    </a:ext>
                  </a:extLst>
                </p:cNvPr>
                <p:cNvSpPr/>
                <p:nvPr/>
              </p:nvSpPr>
              <p:spPr>
                <a:xfrm>
                  <a:off x="4453610" y="5410223"/>
                  <a:ext cx="1186" cy="41218"/>
                </a:xfrm>
                <a:custGeom>
                  <a:avLst/>
                  <a:gdLst>
                    <a:gd name="connsiteX0" fmla="*/ 0 w 1186"/>
                    <a:gd name="connsiteY0" fmla="*/ 0 h 41218"/>
                    <a:gd name="connsiteX1" fmla="*/ 0 w 1186"/>
                    <a:gd name="connsiteY1" fmla="*/ 41218 h 4121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186" h="41218">
                      <a:moveTo>
                        <a:pt x="0" y="0"/>
                      </a:moveTo>
                      <a:lnTo>
                        <a:pt x="0" y="41218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1629" name="Forma livre: Forma 1628">
                <a:extLst>
                  <a:ext uri="{FF2B5EF4-FFF2-40B4-BE49-F238E27FC236}">
                    <a16:creationId xmlns:a16="http://schemas.microsoft.com/office/drawing/2014/main" id="{FF480DA9-5920-29CD-37DE-F7C2EC2EB5DB}"/>
                  </a:ext>
                </a:extLst>
              </p:cNvPr>
              <p:cNvSpPr/>
              <p:nvPr/>
            </p:nvSpPr>
            <p:spPr>
              <a:xfrm>
                <a:off x="4605348" y="5430832"/>
                <a:ext cx="41218" cy="1186"/>
              </a:xfrm>
              <a:custGeom>
                <a:avLst/>
                <a:gdLst>
                  <a:gd name="connsiteX0" fmla="*/ 0 w 41218"/>
                  <a:gd name="connsiteY0" fmla="*/ 0 h 1186"/>
                  <a:gd name="connsiteX1" fmla="*/ 41218 w 41218"/>
                  <a:gd name="connsiteY1" fmla="*/ 0 h 11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1218" h="1186">
                    <a:moveTo>
                      <a:pt x="0" y="0"/>
                    </a:moveTo>
                    <a:lnTo>
                      <a:pt x="41218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630" name="Forma livre: Forma 1629">
              <a:extLst>
                <a:ext uri="{FF2B5EF4-FFF2-40B4-BE49-F238E27FC236}">
                  <a16:creationId xmlns:a16="http://schemas.microsoft.com/office/drawing/2014/main" id="{5F836FE6-F494-6F37-CC33-62D3F2EB57AC}"/>
                </a:ext>
              </a:extLst>
            </p:cNvPr>
            <p:cNvSpPr/>
            <p:nvPr/>
          </p:nvSpPr>
          <p:spPr>
            <a:xfrm>
              <a:off x="4499859" y="5382341"/>
              <a:ext cx="79849" cy="96994"/>
            </a:xfrm>
            <a:custGeom>
              <a:avLst/>
              <a:gdLst>
                <a:gd name="connsiteX0" fmla="*/ 79850 w 79849"/>
                <a:gd name="connsiteY0" fmla="*/ 0 h 96994"/>
                <a:gd name="connsiteX1" fmla="*/ 50449 w 79849"/>
                <a:gd name="connsiteY1" fmla="*/ 65980 h 96994"/>
                <a:gd name="connsiteX2" fmla="*/ 32426 w 79849"/>
                <a:gd name="connsiteY2" fmla="*/ 32462 h 96994"/>
                <a:gd name="connsiteX3" fmla="*/ 0 w 79849"/>
                <a:gd name="connsiteY3" fmla="*/ 96994 h 969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9849" h="96994">
                  <a:moveTo>
                    <a:pt x="79850" y="0"/>
                  </a:moveTo>
                  <a:lnTo>
                    <a:pt x="50449" y="65980"/>
                  </a:lnTo>
                  <a:lnTo>
                    <a:pt x="32426" y="32462"/>
                  </a:lnTo>
                  <a:lnTo>
                    <a:pt x="0" y="96994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631" name="Gráfico 15">
            <a:extLst>
              <a:ext uri="{FF2B5EF4-FFF2-40B4-BE49-F238E27FC236}">
                <a16:creationId xmlns:a16="http://schemas.microsoft.com/office/drawing/2014/main" id="{066021DC-5EC6-B406-61CD-FAB2AD5A9DA9}"/>
              </a:ext>
            </a:extLst>
          </p:cNvPr>
          <p:cNvGrpSpPr/>
          <p:nvPr/>
        </p:nvGrpSpPr>
        <p:grpSpPr>
          <a:xfrm>
            <a:off x="4353484" y="3709178"/>
            <a:ext cx="372601" cy="248764"/>
            <a:chOff x="4353484" y="3709178"/>
            <a:chExt cx="372601" cy="248764"/>
          </a:xfrm>
          <a:noFill/>
        </p:grpSpPr>
        <p:sp>
          <p:nvSpPr>
            <p:cNvPr id="1632" name="Forma livre: Forma 1631">
              <a:extLst>
                <a:ext uri="{FF2B5EF4-FFF2-40B4-BE49-F238E27FC236}">
                  <a16:creationId xmlns:a16="http://schemas.microsoft.com/office/drawing/2014/main" id="{2B017477-C538-047E-0495-7C255E8D7F5C}"/>
                </a:ext>
              </a:extLst>
            </p:cNvPr>
            <p:cNvSpPr/>
            <p:nvPr/>
          </p:nvSpPr>
          <p:spPr>
            <a:xfrm>
              <a:off x="4680801" y="3774350"/>
              <a:ext cx="45284" cy="76171"/>
            </a:xfrm>
            <a:custGeom>
              <a:avLst/>
              <a:gdLst>
                <a:gd name="connsiteX0" fmla="*/ 37986 w 45284"/>
                <a:gd name="connsiteY0" fmla="*/ 26162 h 76171"/>
                <a:gd name="connsiteX1" fmla="*/ 22633 w 45284"/>
                <a:gd name="connsiteY1" fmla="*/ 0 h 76171"/>
                <a:gd name="connsiteX2" fmla="*/ 7315 w 45284"/>
                <a:gd name="connsiteY2" fmla="*/ 26162 h 76171"/>
                <a:gd name="connsiteX3" fmla="*/ 22645 w 45284"/>
                <a:gd name="connsiteY3" fmla="*/ 76172 h 76171"/>
                <a:gd name="connsiteX4" fmla="*/ 37986 w 45284"/>
                <a:gd name="connsiteY4" fmla="*/ 26162 h 761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5284" h="76171">
                  <a:moveTo>
                    <a:pt x="37986" y="26162"/>
                  </a:moveTo>
                  <a:cubicBezTo>
                    <a:pt x="25374" y="5541"/>
                    <a:pt x="22633" y="0"/>
                    <a:pt x="22633" y="0"/>
                  </a:cubicBezTo>
                  <a:cubicBezTo>
                    <a:pt x="22633" y="0"/>
                    <a:pt x="19916" y="5553"/>
                    <a:pt x="7315" y="26162"/>
                  </a:cubicBezTo>
                  <a:cubicBezTo>
                    <a:pt x="-6970" y="49500"/>
                    <a:pt x="470" y="76100"/>
                    <a:pt x="22645" y="76172"/>
                  </a:cubicBezTo>
                  <a:cubicBezTo>
                    <a:pt x="44808" y="76088"/>
                    <a:pt x="52247" y="49500"/>
                    <a:pt x="37986" y="26162"/>
                  </a:cubicBez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33" name="Forma livre: Forma 1632">
              <a:extLst>
                <a:ext uri="{FF2B5EF4-FFF2-40B4-BE49-F238E27FC236}">
                  <a16:creationId xmlns:a16="http://schemas.microsoft.com/office/drawing/2014/main" id="{5AEB2D01-447A-4707-B238-7507D1218EFD}"/>
                </a:ext>
              </a:extLst>
            </p:cNvPr>
            <p:cNvSpPr/>
            <p:nvPr/>
          </p:nvSpPr>
          <p:spPr>
            <a:xfrm>
              <a:off x="4607555" y="3709178"/>
              <a:ext cx="99545" cy="69193"/>
            </a:xfrm>
            <a:custGeom>
              <a:avLst/>
              <a:gdLst>
                <a:gd name="connsiteX0" fmla="*/ 0 w 99545"/>
                <a:gd name="connsiteY0" fmla="*/ 36162 h 69193"/>
                <a:gd name="connsiteX1" fmla="*/ 4022 w 99545"/>
                <a:gd name="connsiteY1" fmla="*/ 32140 h 69193"/>
                <a:gd name="connsiteX2" fmla="*/ 99545 w 99545"/>
                <a:gd name="connsiteY2" fmla="*/ 1398 h 69193"/>
                <a:gd name="connsiteX3" fmla="*/ 94977 w 99545"/>
                <a:gd name="connsiteY3" fmla="*/ 29767 h 69193"/>
                <a:gd name="connsiteX4" fmla="*/ 24335 w 99545"/>
                <a:gd name="connsiteY4" fmla="*/ 52452 h 69193"/>
                <a:gd name="connsiteX5" fmla="*/ 7582 w 99545"/>
                <a:gd name="connsiteY5" fmla="*/ 69194 h 691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9545" h="69193">
                  <a:moveTo>
                    <a:pt x="0" y="36162"/>
                  </a:moveTo>
                  <a:lnTo>
                    <a:pt x="4022" y="32140"/>
                  </a:lnTo>
                  <a:cubicBezTo>
                    <a:pt x="28867" y="7271"/>
                    <a:pt x="64580" y="-4214"/>
                    <a:pt x="99545" y="1398"/>
                  </a:cubicBezTo>
                  <a:lnTo>
                    <a:pt x="94977" y="29767"/>
                  </a:lnTo>
                  <a:cubicBezTo>
                    <a:pt x="69112" y="25614"/>
                    <a:pt x="42689" y="34086"/>
                    <a:pt x="24335" y="52452"/>
                  </a:cubicBezTo>
                  <a:lnTo>
                    <a:pt x="7582" y="69194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34" name="Forma livre: Forma 1633">
              <a:extLst>
                <a:ext uri="{FF2B5EF4-FFF2-40B4-BE49-F238E27FC236}">
                  <a16:creationId xmlns:a16="http://schemas.microsoft.com/office/drawing/2014/main" id="{85C857EF-EB92-7EB6-BB31-6EF09FCC7C12}"/>
                </a:ext>
              </a:extLst>
            </p:cNvPr>
            <p:cNvSpPr/>
            <p:nvPr/>
          </p:nvSpPr>
          <p:spPr>
            <a:xfrm>
              <a:off x="4353484" y="3899950"/>
              <a:ext cx="34894" cy="34894"/>
            </a:xfrm>
            <a:custGeom>
              <a:avLst/>
              <a:gdLst>
                <a:gd name="connsiteX0" fmla="*/ 34894 w 34894"/>
                <a:gd name="connsiteY0" fmla="*/ 0 h 34894"/>
                <a:gd name="connsiteX1" fmla="*/ 0 w 34894"/>
                <a:gd name="connsiteY1" fmla="*/ 34894 h 348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4894" h="34894">
                  <a:moveTo>
                    <a:pt x="34894" y="0"/>
                  </a:moveTo>
                  <a:lnTo>
                    <a:pt x="0" y="34894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35" name="Forma livre: Forma 1634">
              <a:extLst>
                <a:ext uri="{FF2B5EF4-FFF2-40B4-BE49-F238E27FC236}">
                  <a16:creationId xmlns:a16="http://schemas.microsoft.com/office/drawing/2014/main" id="{C5F5FB23-FE11-153A-55F4-C5938A934584}"/>
                </a:ext>
              </a:extLst>
            </p:cNvPr>
            <p:cNvSpPr/>
            <p:nvPr/>
          </p:nvSpPr>
          <p:spPr>
            <a:xfrm>
              <a:off x="4370877" y="3917355"/>
              <a:ext cx="34906" cy="34906"/>
            </a:xfrm>
            <a:custGeom>
              <a:avLst/>
              <a:gdLst>
                <a:gd name="connsiteX0" fmla="*/ 34906 w 34906"/>
                <a:gd name="connsiteY0" fmla="*/ 0 h 34906"/>
                <a:gd name="connsiteX1" fmla="*/ 0 w 34906"/>
                <a:gd name="connsiteY1" fmla="*/ 34906 h 349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4906" h="34906">
                  <a:moveTo>
                    <a:pt x="34906" y="0"/>
                  </a:moveTo>
                  <a:lnTo>
                    <a:pt x="0" y="34906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36" name="Forma livre: Forma 1635">
              <a:extLst>
                <a:ext uri="{FF2B5EF4-FFF2-40B4-BE49-F238E27FC236}">
                  <a16:creationId xmlns:a16="http://schemas.microsoft.com/office/drawing/2014/main" id="{D6774376-82E1-81DC-04E2-C76A5A104FBD}"/>
                </a:ext>
              </a:extLst>
            </p:cNvPr>
            <p:cNvSpPr/>
            <p:nvPr/>
          </p:nvSpPr>
          <p:spPr>
            <a:xfrm>
              <a:off x="4479488" y="3829402"/>
              <a:ext cx="67366" cy="88760"/>
            </a:xfrm>
            <a:custGeom>
              <a:avLst/>
              <a:gdLst>
                <a:gd name="connsiteX0" fmla="*/ 67367 w 67366"/>
                <a:gd name="connsiteY0" fmla="*/ 0 h 88760"/>
                <a:gd name="connsiteX1" fmla="*/ 4139 w 67366"/>
                <a:gd name="connsiteY1" fmla="*/ 63227 h 88760"/>
                <a:gd name="connsiteX2" fmla="*/ 4139 w 67366"/>
                <a:gd name="connsiteY2" fmla="*/ 88760 h 887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7366" h="88760">
                  <a:moveTo>
                    <a:pt x="67367" y="0"/>
                  </a:moveTo>
                  <a:cubicBezTo>
                    <a:pt x="67367" y="0"/>
                    <a:pt x="13441" y="53925"/>
                    <a:pt x="4139" y="63227"/>
                  </a:cubicBezTo>
                  <a:cubicBezTo>
                    <a:pt x="-5174" y="72529"/>
                    <a:pt x="4139" y="88760"/>
                    <a:pt x="4139" y="8876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37" name="Forma livre: Forma 1636">
              <a:extLst>
                <a:ext uri="{FF2B5EF4-FFF2-40B4-BE49-F238E27FC236}">
                  <a16:creationId xmlns:a16="http://schemas.microsoft.com/office/drawing/2014/main" id="{D8224358-8026-0C39-21B5-D96B2EA7C7D9}"/>
                </a:ext>
              </a:extLst>
            </p:cNvPr>
            <p:cNvSpPr/>
            <p:nvPr/>
          </p:nvSpPr>
          <p:spPr>
            <a:xfrm>
              <a:off x="4385257" y="3815032"/>
              <a:ext cx="179940" cy="105431"/>
            </a:xfrm>
            <a:custGeom>
              <a:avLst/>
              <a:gdLst>
                <a:gd name="connsiteX0" fmla="*/ 73205 w 179940"/>
                <a:gd name="connsiteY0" fmla="*/ 4949 h 105431"/>
                <a:gd name="connsiteX1" fmla="*/ 0 w 179940"/>
                <a:gd name="connsiteY1" fmla="*/ 78154 h 105431"/>
                <a:gd name="connsiteX2" fmla="*/ 27277 w 179940"/>
                <a:gd name="connsiteY2" fmla="*/ 105431 h 105431"/>
                <a:gd name="connsiteX3" fmla="*/ 126324 w 179940"/>
                <a:gd name="connsiteY3" fmla="*/ 6314 h 105431"/>
                <a:gd name="connsiteX4" fmla="*/ 156958 w 179940"/>
                <a:gd name="connsiteY4" fmla="*/ 6314 h 105431"/>
                <a:gd name="connsiteX5" fmla="*/ 179940 w 179940"/>
                <a:gd name="connsiteY5" fmla="*/ 29296 h 1054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79940" h="105431">
                  <a:moveTo>
                    <a:pt x="73205" y="4949"/>
                  </a:moveTo>
                  <a:lnTo>
                    <a:pt x="0" y="78154"/>
                  </a:lnTo>
                  <a:lnTo>
                    <a:pt x="27277" y="105431"/>
                  </a:lnTo>
                  <a:lnTo>
                    <a:pt x="126324" y="6314"/>
                  </a:lnTo>
                  <a:cubicBezTo>
                    <a:pt x="134748" y="-2110"/>
                    <a:pt x="148534" y="-2099"/>
                    <a:pt x="156958" y="6314"/>
                  </a:cubicBezTo>
                  <a:lnTo>
                    <a:pt x="179940" y="29296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38" name="Forma livre: Forma 1637">
              <a:extLst>
                <a:ext uri="{FF2B5EF4-FFF2-40B4-BE49-F238E27FC236}">
                  <a16:creationId xmlns:a16="http://schemas.microsoft.com/office/drawing/2014/main" id="{2EA9385E-AA2A-47DF-BB47-F0CEF00E738E}"/>
                </a:ext>
              </a:extLst>
            </p:cNvPr>
            <p:cNvSpPr/>
            <p:nvPr/>
          </p:nvSpPr>
          <p:spPr>
            <a:xfrm>
              <a:off x="4443893" y="3754977"/>
              <a:ext cx="174576" cy="202965"/>
            </a:xfrm>
            <a:custGeom>
              <a:avLst/>
              <a:gdLst>
                <a:gd name="connsiteX0" fmla="*/ 0 w 174576"/>
                <a:gd name="connsiteY0" fmla="*/ 160681 h 202965"/>
                <a:gd name="connsiteX1" fmla="*/ 35998 w 174576"/>
                <a:gd name="connsiteY1" fmla="*/ 196655 h 202965"/>
                <a:gd name="connsiteX2" fmla="*/ 66597 w 174576"/>
                <a:gd name="connsiteY2" fmla="*/ 196631 h 202965"/>
                <a:gd name="connsiteX3" fmla="*/ 116832 w 174576"/>
                <a:gd name="connsiteY3" fmla="*/ 146408 h 202965"/>
                <a:gd name="connsiteX4" fmla="*/ 122480 w 174576"/>
                <a:gd name="connsiteY4" fmla="*/ 88437 h 202965"/>
                <a:gd name="connsiteX5" fmla="*/ 171813 w 174576"/>
                <a:gd name="connsiteY5" fmla="*/ 39091 h 202965"/>
                <a:gd name="connsiteX6" fmla="*/ 171849 w 174576"/>
                <a:gd name="connsiteY6" fmla="*/ 25791 h 202965"/>
                <a:gd name="connsiteX7" fmla="*/ 148796 w 174576"/>
                <a:gd name="connsiteY7" fmla="*/ 2750 h 202965"/>
                <a:gd name="connsiteX8" fmla="*/ 135471 w 174576"/>
                <a:gd name="connsiteY8" fmla="*/ 2750 h 202965"/>
                <a:gd name="connsiteX9" fmla="*/ 129420 w 174576"/>
                <a:gd name="connsiteY9" fmla="*/ 8824 h 202965"/>
                <a:gd name="connsiteX10" fmla="*/ 60202 w 174576"/>
                <a:gd name="connsiteY10" fmla="*/ 1089 h 202965"/>
                <a:gd name="connsiteX11" fmla="*/ 19707 w 174576"/>
                <a:gd name="connsiteY11" fmla="*/ 41583 h 202965"/>
                <a:gd name="connsiteX12" fmla="*/ 55325 w 174576"/>
                <a:gd name="connsiteY12" fmla="*/ 77189 h 2029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74576" h="202965">
                  <a:moveTo>
                    <a:pt x="0" y="160681"/>
                  </a:moveTo>
                  <a:lnTo>
                    <a:pt x="35998" y="196655"/>
                  </a:lnTo>
                  <a:cubicBezTo>
                    <a:pt x="44410" y="205079"/>
                    <a:pt x="58185" y="205067"/>
                    <a:pt x="66597" y="196631"/>
                  </a:cubicBezTo>
                  <a:lnTo>
                    <a:pt x="116832" y="146408"/>
                  </a:lnTo>
                  <a:lnTo>
                    <a:pt x="122480" y="88437"/>
                  </a:lnTo>
                  <a:lnTo>
                    <a:pt x="171813" y="39091"/>
                  </a:lnTo>
                  <a:cubicBezTo>
                    <a:pt x="175479" y="35425"/>
                    <a:pt x="175503" y="29457"/>
                    <a:pt x="171849" y="25791"/>
                  </a:cubicBezTo>
                  <a:lnTo>
                    <a:pt x="148796" y="2750"/>
                  </a:lnTo>
                  <a:cubicBezTo>
                    <a:pt x="145129" y="-917"/>
                    <a:pt x="139126" y="-917"/>
                    <a:pt x="135471" y="2750"/>
                  </a:cubicBezTo>
                  <a:lnTo>
                    <a:pt x="129420" y="8824"/>
                  </a:lnTo>
                  <a:lnTo>
                    <a:pt x="60202" y="1089"/>
                  </a:lnTo>
                  <a:lnTo>
                    <a:pt x="19707" y="41583"/>
                  </a:lnTo>
                  <a:lnTo>
                    <a:pt x="55325" y="77189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639" name="Gráfico 15">
            <a:extLst>
              <a:ext uri="{FF2B5EF4-FFF2-40B4-BE49-F238E27FC236}">
                <a16:creationId xmlns:a16="http://schemas.microsoft.com/office/drawing/2014/main" id="{C022745D-EED4-A22D-EBDA-EEE960EC524F}"/>
              </a:ext>
            </a:extLst>
          </p:cNvPr>
          <p:cNvGrpSpPr/>
          <p:nvPr/>
        </p:nvGrpSpPr>
        <p:grpSpPr>
          <a:xfrm>
            <a:off x="4436738" y="4713336"/>
            <a:ext cx="206090" cy="345026"/>
            <a:chOff x="4436738" y="4713336"/>
            <a:chExt cx="206090" cy="345026"/>
          </a:xfrm>
          <a:noFill/>
        </p:grpSpPr>
        <p:sp>
          <p:nvSpPr>
            <p:cNvPr id="1640" name="Forma livre: Forma 1639">
              <a:extLst>
                <a:ext uri="{FF2B5EF4-FFF2-40B4-BE49-F238E27FC236}">
                  <a16:creationId xmlns:a16="http://schemas.microsoft.com/office/drawing/2014/main" id="{291CAAC8-9564-5BBA-306B-20B248A543F9}"/>
                </a:ext>
              </a:extLst>
            </p:cNvPr>
            <p:cNvSpPr/>
            <p:nvPr/>
          </p:nvSpPr>
          <p:spPr>
            <a:xfrm>
              <a:off x="4448947" y="4997959"/>
              <a:ext cx="181684" cy="60403"/>
            </a:xfrm>
            <a:custGeom>
              <a:avLst/>
              <a:gdLst>
                <a:gd name="connsiteX0" fmla="*/ 0 w 181684"/>
                <a:gd name="connsiteY0" fmla="*/ 26636 h 60403"/>
                <a:gd name="connsiteX1" fmla="*/ 0 w 181684"/>
                <a:gd name="connsiteY1" fmla="*/ 60403 h 60403"/>
                <a:gd name="connsiteX2" fmla="*/ 181685 w 181684"/>
                <a:gd name="connsiteY2" fmla="*/ 60403 h 60403"/>
                <a:gd name="connsiteX3" fmla="*/ 181685 w 181684"/>
                <a:gd name="connsiteY3" fmla="*/ 0 h 604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1684" h="60403">
                  <a:moveTo>
                    <a:pt x="0" y="26636"/>
                  </a:moveTo>
                  <a:lnTo>
                    <a:pt x="0" y="60403"/>
                  </a:lnTo>
                  <a:lnTo>
                    <a:pt x="181685" y="60403"/>
                  </a:lnTo>
                  <a:lnTo>
                    <a:pt x="181685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641" name="Gráfico 15">
              <a:extLst>
                <a:ext uri="{FF2B5EF4-FFF2-40B4-BE49-F238E27FC236}">
                  <a16:creationId xmlns:a16="http://schemas.microsoft.com/office/drawing/2014/main" id="{2B3B98A6-7C30-6CB9-1594-0FBAD95D5265}"/>
                </a:ext>
              </a:extLst>
            </p:cNvPr>
            <p:cNvGrpSpPr/>
            <p:nvPr/>
          </p:nvGrpSpPr>
          <p:grpSpPr>
            <a:xfrm>
              <a:off x="4436738" y="4798311"/>
              <a:ext cx="206090" cy="207644"/>
              <a:chOff x="4436738" y="4798311"/>
              <a:chExt cx="206090" cy="207644"/>
            </a:xfrm>
            <a:noFill/>
          </p:grpSpPr>
          <p:sp>
            <p:nvSpPr>
              <p:cNvPr id="1642" name="Forma livre: Forma 1641">
                <a:extLst>
                  <a:ext uri="{FF2B5EF4-FFF2-40B4-BE49-F238E27FC236}">
                    <a16:creationId xmlns:a16="http://schemas.microsoft.com/office/drawing/2014/main" id="{F398D41D-F1DA-82B7-9A72-B7A2836A5D6A}"/>
                  </a:ext>
                </a:extLst>
              </p:cNvPr>
              <p:cNvSpPr/>
              <p:nvPr/>
            </p:nvSpPr>
            <p:spPr>
              <a:xfrm>
                <a:off x="4436738" y="4798311"/>
                <a:ext cx="206090" cy="207644"/>
              </a:xfrm>
              <a:custGeom>
                <a:avLst/>
                <a:gdLst>
                  <a:gd name="connsiteX0" fmla="*/ 78699 w 206090"/>
                  <a:gd name="connsiteY0" fmla="*/ 207645 h 207644"/>
                  <a:gd name="connsiteX1" fmla="*/ 180652 w 206090"/>
                  <a:gd name="connsiteY1" fmla="*/ 207645 h 207644"/>
                  <a:gd name="connsiteX2" fmla="*/ 206090 w 206090"/>
                  <a:gd name="connsiteY2" fmla="*/ 182207 h 207644"/>
                  <a:gd name="connsiteX3" fmla="*/ 206090 w 206090"/>
                  <a:gd name="connsiteY3" fmla="*/ 76338 h 207644"/>
                  <a:gd name="connsiteX4" fmla="*/ 129764 w 206090"/>
                  <a:gd name="connsiteY4" fmla="*/ 0 h 207644"/>
                  <a:gd name="connsiteX5" fmla="*/ 76326 w 206090"/>
                  <a:gd name="connsiteY5" fmla="*/ 0 h 207644"/>
                  <a:gd name="connsiteX6" fmla="*/ 0 w 206090"/>
                  <a:gd name="connsiteY6" fmla="*/ 76338 h 207644"/>
                  <a:gd name="connsiteX7" fmla="*/ 0 w 206090"/>
                  <a:gd name="connsiteY7" fmla="*/ 182207 h 207644"/>
                  <a:gd name="connsiteX8" fmla="*/ 25450 w 206090"/>
                  <a:gd name="connsiteY8" fmla="*/ 207645 h 207644"/>
                  <a:gd name="connsiteX9" fmla="*/ 47162 w 206090"/>
                  <a:gd name="connsiteY9" fmla="*/ 207645 h 2076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06090" h="207644">
                    <a:moveTo>
                      <a:pt x="78699" y="207645"/>
                    </a:moveTo>
                    <a:lnTo>
                      <a:pt x="180652" y="207645"/>
                    </a:lnTo>
                    <a:cubicBezTo>
                      <a:pt x="194641" y="207645"/>
                      <a:pt x="206090" y="196195"/>
                      <a:pt x="206090" y="182207"/>
                    </a:cubicBezTo>
                    <a:lnTo>
                      <a:pt x="206090" y="76338"/>
                    </a:lnTo>
                    <a:cubicBezTo>
                      <a:pt x="206090" y="34360"/>
                      <a:pt x="171742" y="0"/>
                      <a:pt x="129764" y="0"/>
                    </a:cubicBezTo>
                    <a:lnTo>
                      <a:pt x="76326" y="0"/>
                    </a:lnTo>
                    <a:cubicBezTo>
                      <a:pt x="34348" y="0"/>
                      <a:pt x="0" y="34348"/>
                      <a:pt x="0" y="76338"/>
                    </a:cubicBezTo>
                    <a:lnTo>
                      <a:pt x="0" y="182207"/>
                    </a:lnTo>
                    <a:cubicBezTo>
                      <a:pt x="0" y="196195"/>
                      <a:pt x="11449" y="207645"/>
                      <a:pt x="25450" y="207645"/>
                    </a:cubicBezTo>
                    <a:lnTo>
                      <a:pt x="47162" y="207645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643" name="Forma livre: Forma 1642">
                <a:extLst>
                  <a:ext uri="{FF2B5EF4-FFF2-40B4-BE49-F238E27FC236}">
                    <a16:creationId xmlns:a16="http://schemas.microsoft.com/office/drawing/2014/main" id="{A39B637F-EAB9-A0CD-1359-C80555EE64C0}"/>
                  </a:ext>
                </a:extLst>
              </p:cNvPr>
              <p:cNvSpPr/>
              <p:nvPr/>
            </p:nvSpPr>
            <p:spPr>
              <a:xfrm>
                <a:off x="4467278" y="4831046"/>
                <a:ext cx="31773" cy="43614"/>
              </a:xfrm>
              <a:custGeom>
                <a:avLst/>
                <a:gdLst>
                  <a:gd name="connsiteX0" fmla="*/ 31774 w 31773"/>
                  <a:gd name="connsiteY0" fmla="*/ 0 h 43614"/>
                  <a:gd name="connsiteX1" fmla="*/ 0 w 31773"/>
                  <a:gd name="connsiteY1" fmla="*/ 43615 h 436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1773" h="43614">
                    <a:moveTo>
                      <a:pt x="31774" y="0"/>
                    </a:moveTo>
                    <a:cubicBezTo>
                      <a:pt x="13360" y="5944"/>
                      <a:pt x="0" y="23243"/>
                      <a:pt x="0" y="43615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644" name="Gráfico 15">
              <a:extLst>
                <a:ext uri="{FF2B5EF4-FFF2-40B4-BE49-F238E27FC236}">
                  <a16:creationId xmlns:a16="http://schemas.microsoft.com/office/drawing/2014/main" id="{64442395-EC93-7973-B299-B4ACE9F1B5A4}"/>
                </a:ext>
              </a:extLst>
            </p:cNvPr>
            <p:cNvGrpSpPr/>
            <p:nvPr/>
          </p:nvGrpSpPr>
          <p:grpSpPr>
            <a:xfrm>
              <a:off x="4474848" y="5032770"/>
              <a:ext cx="129871" cy="1186"/>
              <a:chOff x="4474848" y="5032770"/>
              <a:chExt cx="129871" cy="1186"/>
            </a:xfrm>
          </p:grpSpPr>
          <p:sp>
            <p:nvSpPr>
              <p:cNvPr id="1645" name="Forma livre: Forma 1644">
                <a:extLst>
                  <a:ext uri="{FF2B5EF4-FFF2-40B4-BE49-F238E27FC236}">
                    <a16:creationId xmlns:a16="http://schemas.microsoft.com/office/drawing/2014/main" id="{2642BBCB-6F5E-FD81-8435-D8C8391A22E9}"/>
                  </a:ext>
                </a:extLst>
              </p:cNvPr>
              <p:cNvSpPr/>
              <p:nvPr/>
            </p:nvSpPr>
            <p:spPr>
              <a:xfrm>
                <a:off x="4524763" y="5032770"/>
                <a:ext cx="30053" cy="1186"/>
              </a:xfrm>
              <a:custGeom>
                <a:avLst/>
                <a:gdLst>
                  <a:gd name="connsiteX0" fmla="*/ 0 w 30053"/>
                  <a:gd name="connsiteY0" fmla="*/ 0 h 1186"/>
                  <a:gd name="connsiteX1" fmla="*/ 30053 w 30053"/>
                  <a:gd name="connsiteY1" fmla="*/ 0 h 11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0053" h="1186">
                    <a:moveTo>
                      <a:pt x="0" y="0"/>
                    </a:moveTo>
                    <a:lnTo>
                      <a:pt x="30053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646" name="Forma livre: Forma 1645">
                <a:extLst>
                  <a:ext uri="{FF2B5EF4-FFF2-40B4-BE49-F238E27FC236}">
                    <a16:creationId xmlns:a16="http://schemas.microsoft.com/office/drawing/2014/main" id="{AC9D2809-9E2D-7A73-341E-3AE6219F6AA6}"/>
                  </a:ext>
                </a:extLst>
              </p:cNvPr>
              <p:cNvSpPr/>
              <p:nvPr/>
            </p:nvSpPr>
            <p:spPr>
              <a:xfrm>
                <a:off x="4474848" y="5032770"/>
                <a:ext cx="30053" cy="1186"/>
              </a:xfrm>
              <a:custGeom>
                <a:avLst/>
                <a:gdLst>
                  <a:gd name="connsiteX0" fmla="*/ 0 w 30053"/>
                  <a:gd name="connsiteY0" fmla="*/ 0 h 1186"/>
                  <a:gd name="connsiteX1" fmla="*/ 30053 w 30053"/>
                  <a:gd name="connsiteY1" fmla="*/ 0 h 11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0053" h="1186">
                    <a:moveTo>
                      <a:pt x="0" y="0"/>
                    </a:moveTo>
                    <a:lnTo>
                      <a:pt x="30053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647" name="Forma livre: Forma 1646">
                <a:extLst>
                  <a:ext uri="{FF2B5EF4-FFF2-40B4-BE49-F238E27FC236}">
                    <a16:creationId xmlns:a16="http://schemas.microsoft.com/office/drawing/2014/main" id="{1CE95BFD-C8A8-494C-2A09-D8F7DD6E0D60}"/>
                  </a:ext>
                </a:extLst>
              </p:cNvPr>
              <p:cNvSpPr/>
              <p:nvPr/>
            </p:nvSpPr>
            <p:spPr>
              <a:xfrm>
                <a:off x="4574666" y="5032770"/>
                <a:ext cx="30053" cy="1186"/>
              </a:xfrm>
              <a:custGeom>
                <a:avLst/>
                <a:gdLst>
                  <a:gd name="connsiteX0" fmla="*/ 0 w 30053"/>
                  <a:gd name="connsiteY0" fmla="*/ 0 h 1186"/>
                  <a:gd name="connsiteX1" fmla="*/ 30053 w 30053"/>
                  <a:gd name="connsiteY1" fmla="*/ 0 h 11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0053" h="1186">
                    <a:moveTo>
                      <a:pt x="0" y="0"/>
                    </a:moveTo>
                    <a:lnTo>
                      <a:pt x="30053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648" name="Forma livre: Forma 1647">
              <a:extLst>
                <a:ext uri="{FF2B5EF4-FFF2-40B4-BE49-F238E27FC236}">
                  <a16:creationId xmlns:a16="http://schemas.microsoft.com/office/drawing/2014/main" id="{577EDD95-4C38-2E49-2702-FB1F5A43D1F1}"/>
                </a:ext>
              </a:extLst>
            </p:cNvPr>
            <p:cNvSpPr/>
            <p:nvPr/>
          </p:nvSpPr>
          <p:spPr>
            <a:xfrm>
              <a:off x="4510489" y="4773300"/>
              <a:ext cx="58599" cy="24002"/>
            </a:xfrm>
            <a:custGeom>
              <a:avLst/>
              <a:gdLst>
                <a:gd name="connsiteX0" fmla="*/ 0 w 58599"/>
                <a:gd name="connsiteY0" fmla="*/ 0 h 24002"/>
                <a:gd name="connsiteX1" fmla="*/ 58600 w 58599"/>
                <a:gd name="connsiteY1" fmla="*/ 0 h 24002"/>
                <a:gd name="connsiteX2" fmla="*/ 58600 w 58599"/>
                <a:gd name="connsiteY2" fmla="*/ 24002 h 240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58599" h="24002">
                  <a:moveTo>
                    <a:pt x="0" y="0"/>
                  </a:moveTo>
                  <a:lnTo>
                    <a:pt x="58600" y="0"/>
                  </a:lnTo>
                  <a:lnTo>
                    <a:pt x="58600" y="24002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49" name="Forma livre: Forma 1648">
              <a:extLst>
                <a:ext uri="{FF2B5EF4-FFF2-40B4-BE49-F238E27FC236}">
                  <a16:creationId xmlns:a16="http://schemas.microsoft.com/office/drawing/2014/main" id="{6ADBB1F5-04DB-4C97-E18C-60B547491E52}"/>
                </a:ext>
              </a:extLst>
            </p:cNvPr>
            <p:cNvSpPr/>
            <p:nvPr/>
          </p:nvSpPr>
          <p:spPr>
            <a:xfrm>
              <a:off x="4463802" y="4713336"/>
              <a:ext cx="151963" cy="12683"/>
            </a:xfrm>
            <a:custGeom>
              <a:avLst/>
              <a:gdLst>
                <a:gd name="connsiteX0" fmla="*/ 151963 w 151963"/>
                <a:gd name="connsiteY0" fmla="*/ 12683 h 12683"/>
                <a:gd name="connsiteX1" fmla="*/ 75982 w 151963"/>
                <a:gd name="connsiteY1" fmla="*/ 0 h 12683"/>
                <a:gd name="connsiteX2" fmla="*/ 0 w 151963"/>
                <a:gd name="connsiteY2" fmla="*/ 12683 h 126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51963" h="12683">
                  <a:moveTo>
                    <a:pt x="151963" y="12683"/>
                  </a:moveTo>
                  <a:cubicBezTo>
                    <a:pt x="133122" y="4888"/>
                    <a:pt x="106047" y="0"/>
                    <a:pt x="75982" y="0"/>
                  </a:cubicBezTo>
                  <a:cubicBezTo>
                    <a:pt x="45916" y="0"/>
                    <a:pt x="18841" y="4888"/>
                    <a:pt x="0" y="12683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650" name="Gráfico 15">
              <a:extLst>
                <a:ext uri="{FF2B5EF4-FFF2-40B4-BE49-F238E27FC236}">
                  <a16:creationId xmlns:a16="http://schemas.microsoft.com/office/drawing/2014/main" id="{836CA319-7AFA-77F1-3C9B-C962AFC4BD69}"/>
                </a:ext>
              </a:extLst>
            </p:cNvPr>
            <p:cNvGrpSpPr/>
            <p:nvPr/>
          </p:nvGrpSpPr>
          <p:grpSpPr>
            <a:xfrm>
              <a:off x="4486096" y="4719067"/>
              <a:ext cx="107375" cy="33446"/>
              <a:chOff x="4486096" y="4719067"/>
              <a:chExt cx="107375" cy="33446"/>
            </a:xfrm>
          </p:grpSpPr>
          <p:sp>
            <p:nvSpPr>
              <p:cNvPr id="1651" name="Forma livre: Forma 1650">
                <a:extLst>
                  <a:ext uri="{FF2B5EF4-FFF2-40B4-BE49-F238E27FC236}">
                    <a16:creationId xmlns:a16="http://schemas.microsoft.com/office/drawing/2014/main" id="{72407970-0A5B-366B-63C4-EF930A817A1A}"/>
                  </a:ext>
                </a:extLst>
              </p:cNvPr>
              <p:cNvSpPr/>
              <p:nvPr/>
            </p:nvSpPr>
            <p:spPr>
              <a:xfrm>
                <a:off x="4486096" y="4719067"/>
                <a:ext cx="18129" cy="33446"/>
              </a:xfrm>
              <a:custGeom>
                <a:avLst/>
                <a:gdLst>
                  <a:gd name="connsiteX0" fmla="*/ 18129 w 18129"/>
                  <a:gd name="connsiteY0" fmla="*/ 33447 h 33446"/>
                  <a:gd name="connsiteX1" fmla="*/ 0 w 18129"/>
                  <a:gd name="connsiteY1" fmla="*/ 0 h 334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8129" h="33446">
                    <a:moveTo>
                      <a:pt x="18129" y="33447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652" name="Forma livre: Forma 1651">
                <a:extLst>
                  <a:ext uri="{FF2B5EF4-FFF2-40B4-BE49-F238E27FC236}">
                    <a16:creationId xmlns:a16="http://schemas.microsoft.com/office/drawing/2014/main" id="{1E49BF12-42CB-E3C2-5497-5D254EB7CBC1}"/>
                  </a:ext>
                </a:extLst>
              </p:cNvPr>
              <p:cNvSpPr/>
              <p:nvPr/>
            </p:nvSpPr>
            <p:spPr>
              <a:xfrm>
                <a:off x="4574951" y="4719067"/>
                <a:ext cx="18520" cy="33446"/>
              </a:xfrm>
              <a:custGeom>
                <a:avLst/>
                <a:gdLst>
                  <a:gd name="connsiteX0" fmla="*/ 0 w 18520"/>
                  <a:gd name="connsiteY0" fmla="*/ 33447 h 33446"/>
                  <a:gd name="connsiteX1" fmla="*/ 18521 w 18520"/>
                  <a:gd name="connsiteY1" fmla="*/ 0 h 334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8520" h="33446">
                    <a:moveTo>
                      <a:pt x="0" y="33447"/>
                    </a:moveTo>
                    <a:lnTo>
                      <a:pt x="18521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653" name="Forma livre: Forma 1652">
              <a:extLst>
                <a:ext uri="{FF2B5EF4-FFF2-40B4-BE49-F238E27FC236}">
                  <a16:creationId xmlns:a16="http://schemas.microsoft.com/office/drawing/2014/main" id="{9B2D5BBB-E3EE-DC46-63EF-DE0F7DDD10DA}"/>
                </a:ext>
              </a:extLst>
            </p:cNvPr>
            <p:cNvSpPr/>
            <p:nvPr/>
          </p:nvSpPr>
          <p:spPr>
            <a:xfrm>
              <a:off x="4458783" y="4909045"/>
              <a:ext cx="183571" cy="1186"/>
            </a:xfrm>
            <a:custGeom>
              <a:avLst/>
              <a:gdLst>
                <a:gd name="connsiteX0" fmla="*/ 0 w 183571"/>
                <a:gd name="connsiteY0" fmla="*/ 0 h 1186"/>
                <a:gd name="connsiteX1" fmla="*/ 183571 w 183571"/>
                <a:gd name="connsiteY1" fmla="*/ 0 h 11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3571" h="1186">
                  <a:moveTo>
                    <a:pt x="0" y="0"/>
                  </a:moveTo>
                  <a:lnTo>
                    <a:pt x="183571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54" name="Forma livre: Forma 1653">
              <a:extLst>
                <a:ext uri="{FF2B5EF4-FFF2-40B4-BE49-F238E27FC236}">
                  <a16:creationId xmlns:a16="http://schemas.microsoft.com/office/drawing/2014/main" id="{69EDE01F-1A6C-E6F7-17CB-7C96576C4B05}"/>
                </a:ext>
              </a:extLst>
            </p:cNvPr>
            <p:cNvSpPr/>
            <p:nvPr/>
          </p:nvSpPr>
          <p:spPr>
            <a:xfrm>
              <a:off x="4539784" y="4753795"/>
              <a:ext cx="1186" cy="16539"/>
            </a:xfrm>
            <a:custGeom>
              <a:avLst/>
              <a:gdLst>
                <a:gd name="connsiteX0" fmla="*/ 0 w 1186"/>
                <a:gd name="connsiteY0" fmla="*/ 16539 h 16539"/>
                <a:gd name="connsiteX1" fmla="*/ 0 w 1186"/>
                <a:gd name="connsiteY1" fmla="*/ 0 h 165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86" h="16539">
                  <a:moveTo>
                    <a:pt x="0" y="16539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55" name="Forma livre: Forma 1654">
              <a:extLst>
                <a:ext uri="{FF2B5EF4-FFF2-40B4-BE49-F238E27FC236}">
                  <a16:creationId xmlns:a16="http://schemas.microsoft.com/office/drawing/2014/main" id="{BAF6158A-7CB9-E800-E835-8CFD039BCC35}"/>
                </a:ext>
              </a:extLst>
            </p:cNvPr>
            <p:cNvSpPr/>
            <p:nvPr/>
          </p:nvSpPr>
          <p:spPr>
            <a:xfrm>
              <a:off x="4528215" y="4746154"/>
              <a:ext cx="23148" cy="1186"/>
            </a:xfrm>
            <a:custGeom>
              <a:avLst/>
              <a:gdLst>
                <a:gd name="connsiteX0" fmla="*/ 0 w 23148"/>
                <a:gd name="connsiteY0" fmla="*/ 0 h 1186"/>
                <a:gd name="connsiteX1" fmla="*/ 23148 w 23148"/>
                <a:gd name="connsiteY1" fmla="*/ 0 h 11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3148" h="1186">
                  <a:moveTo>
                    <a:pt x="0" y="0"/>
                  </a:moveTo>
                  <a:lnTo>
                    <a:pt x="23148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656" name="Gráfico 15">
            <a:extLst>
              <a:ext uri="{FF2B5EF4-FFF2-40B4-BE49-F238E27FC236}">
                <a16:creationId xmlns:a16="http://schemas.microsoft.com/office/drawing/2014/main" id="{6353114F-FE96-3A4A-5F70-A3F27CD84E8A}"/>
              </a:ext>
            </a:extLst>
          </p:cNvPr>
          <p:cNvGrpSpPr/>
          <p:nvPr/>
        </p:nvGrpSpPr>
        <p:grpSpPr>
          <a:xfrm>
            <a:off x="4468014" y="4212953"/>
            <a:ext cx="143527" cy="293533"/>
            <a:chOff x="4468014" y="4212953"/>
            <a:chExt cx="143527" cy="293533"/>
          </a:xfrm>
          <a:noFill/>
        </p:grpSpPr>
        <p:sp>
          <p:nvSpPr>
            <p:cNvPr id="1657" name="Forma livre: Forma 1656">
              <a:extLst>
                <a:ext uri="{FF2B5EF4-FFF2-40B4-BE49-F238E27FC236}">
                  <a16:creationId xmlns:a16="http://schemas.microsoft.com/office/drawing/2014/main" id="{7ECA2D9D-A9CE-4FFB-FB1D-FC5ED6010844}"/>
                </a:ext>
              </a:extLst>
            </p:cNvPr>
            <p:cNvSpPr/>
            <p:nvPr/>
          </p:nvSpPr>
          <p:spPr>
            <a:xfrm>
              <a:off x="4509718" y="4212953"/>
              <a:ext cx="60130" cy="31987"/>
            </a:xfrm>
            <a:custGeom>
              <a:avLst/>
              <a:gdLst>
                <a:gd name="connsiteX0" fmla="*/ 0 w 60130"/>
                <a:gd name="connsiteY0" fmla="*/ 10002 h 31987"/>
                <a:gd name="connsiteX1" fmla="*/ 10002 w 60130"/>
                <a:gd name="connsiteY1" fmla="*/ 0 h 31987"/>
                <a:gd name="connsiteX2" fmla="*/ 50128 w 60130"/>
                <a:gd name="connsiteY2" fmla="*/ 0 h 31987"/>
                <a:gd name="connsiteX3" fmla="*/ 60130 w 60130"/>
                <a:gd name="connsiteY3" fmla="*/ 10002 h 31987"/>
                <a:gd name="connsiteX4" fmla="*/ 60130 w 60130"/>
                <a:gd name="connsiteY4" fmla="*/ 31987 h 319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130" h="31987">
                  <a:moveTo>
                    <a:pt x="0" y="10002"/>
                  </a:moveTo>
                  <a:cubicBezTo>
                    <a:pt x="0" y="4497"/>
                    <a:pt x="4509" y="0"/>
                    <a:pt x="10002" y="0"/>
                  </a:cubicBezTo>
                  <a:lnTo>
                    <a:pt x="50128" y="0"/>
                  </a:lnTo>
                  <a:cubicBezTo>
                    <a:pt x="55622" y="0"/>
                    <a:pt x="60130" y="4497"/>
                    <a:pt x="60130" y="10002"/>
                  </a:cubicBezTo>
                  <a:lnTo>
                    <a:pt x="60130" y="31987"/>
                  </a:lnTo>
                </a:path>
              </a:pathLst>
            </a:custGeom>
            <a:noFill/>
            <a:ln w="6350" cap="sq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58" name="Forma livre: Forma 1657">
              <a:extLst>
                <a:ext uri="{FF2B5EF4-FFF2-40B4-BE49-F238E27FC236}">
                  <a16:creationId xmlns:a16="http://schemas.microsoft.com/office/drawing/2014/main" id="{94E70205-2A25-55C6-D5CC-E9A08F52790C}"/>
                </a:ext>
              </a:extLst>
            </p:cNvPr>
            <p:cNvSpPr/>
            <p:nvPr/>
          </p:nvSpPr>
          <p:spPr>
            <a:xfrm>
              <a:off x="4468014" y="4246673"/>
              <a:ext cx="143527" cy="259813"/>
            </a:xfrm>
            <a:custGeom>
              <a:avLst/>
              <a:gdLst>
                <a:gd name="connsiteX0" fmla="*/ 76112 w 143527"/>
                <a:gd name="connsiteY0" fmla="*/ 0 h 259813"/>
                <a:gd name="connsiteX1" fmla="*/ 118505 w 143527"/>
                <a:gd name="connsiteY1" fmla="*/ 0 h 259813"/>
                <a:gd name="connsiteX2" fmla="*/ 143528 w 143527"/>
                <a:gd name="connsiteY2" fmla="*/ 25023 h 259813"/>
                <a:gd name="connsiteX3" fmla="*/ 143528 w 143527"/>
                <a:gd name="connsiteY3" fmla="*/ 234791 h 259813"/>
                <a:gd name="connsiteX4" fmla="*/ 118505 w 143527"/>
                <a:gd name="connsiteY4" fmla="*/ 259814 h 259813"/>
                <a:gd name="connsiteX5" fmla="*/ 25023 w 143527"/>
                <a:gd name="connsiteY5" fmla="*/ 259814 h 259813"/>
                <a:gd name="connsiteX6" fmla="*/ 0 w 143527"/>
                <a:gd name="connsiteY6" fmla="*/ 234791 h 259813"/>
                <a:gd name="connsiteX7" fmla="*/ 0 w 143527"/>
                <a:gd name="connsiteY7" fmla="*/ 25023 h 259813"/>
                <a:gd name="connsiteX8" fmla="*/ 25023 w 143527"/>
                <a:gd name="connsiteY8" fmla="*/ 0 h 259813"/>
                <a:gd name="connsiteX9" fmla="*/ 41693 w 143527"/>
                <a:gd name="connsiteY9" fmla="*/ 0 h 2598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43527" h="259813">
                  <a:moveTo>
                    <a:pt x="76112" y="0"/>
                  </a:moveTo>
                  <a:lnTo>
                    <a:pt x="118505" y="0"/>
                  </a:lnTo>
                  <a:cubicBezTo>
                    <a:pt x="132268" y="0"/>
                    <a:pt x="143528" y="11260"/>
                    <a:pt x="143528" y="25023"/>
                  </a:cubicBezTo>
                  <a:lnTo>
                    <a:pt x="143528" y="234791"/>
                  </a:lnTo>
                  <a:cubicBezTo>
                    <a:pt x="143528" y="248566"/>
                    <a:pt x="132268" y="259814"/>
                    <a:pt x="118505" y="259814"/>
                  </a:cubicBezTo>
                  <a:lnTo>
                    <a:pt x="25023" y="259814"/>
                  </a:lnTo>
                  <a:cubicBezTo>
                    <a:pt x="11260" y="259814"/>
                    <a:pt x="0" y="248566"/>
                    <a:pt x="0" y="234791"/>
                  </a:cubicBezTo>
                  <a:lnTo>
                    <a:pt x="0" y="25023"/>
                  </a:lnTo>
                  <a:cubicBezTo>
                    <a:pt x="0" y="11271"/>
                    <a:pt x="11260" y="0"/>
                    <a:pt x="25023" y="0"/>
                  </a:cubicBezTo>
                  <a:lnTo>
                    <a:pt x="41693" y="0"/>
                  </a:lnTo>
                </a:path>
              </a:pathLst>
            </a:custGeom>
            <a:noFill/>
            <a:ln w="6350" cap="sq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59" name="Forma livre: Forma 1658">
              <a:extLst>
                <a:ext uri="{FF2B5EF4-FFF2-40B4-BE49-F238E27FC236}">
                  <a16:creationId xmlns:a16="http://schemas.microsoft.com/office/drawing/2014/main" id="{A67E2365-174F-2B04-1B88-8D3E02AC72F5}"/>
                </a:ext>
              </a:extLst>
            </p:cNvPr>
            <p:cNvSpPr/>
            <p:nvPr/>
          </p:nvSpPr>
          <p:spPr>
            <a:xfrm>
              <a:off x="4522841" y="4315998"/>
              <a:ext cx="33873" cy="123381"/>
            </a:xfrm>
            <a:custGeom>
              <a:avLst/>
              <a:gdLst>
                <a:gd name="connsiteX0" fmla="*/ 31050 w 33873"/>
                <a:gd name="connsiteY0" fmla="*/ 0 h 123381"/>
                <a:gd name="connsiteX1" fmla="*/ 0 w 33873"/>
                <a:gd name="connsiteY1" fmla="*/ 65126 h 123381"/>
                <a:gd name="connsiteX2" fmla="*/ 33874 w 33873"/>
                <a:gd name="connsiteY2" fmla="*/ 56915 h 123381"/>
                <a:gd name="connsiteX3" fmla="*/ 5541 w 33873"/>
                <a:gd name="connsiteY3" fmla="*/ 123381 h 1233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873" h="123381">
                  <a:moveTo>
                    <a:pt x="31050" y="0"/>
                  </a:moveTo>
                  <a:lnTo>
                    <a:pt x="0" y="65126"/>
                  </a:lnTo>
                  <a:lnTo>
                    <a:pt x="33874" y="56915"/>
                  </a:lnTo>
                  <a:lnTo>
                    <a:pt x="5541" y="123381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60" name="Forma livre: Forma 1659">
              <a:extLst>
                <a:ext uri="{FF2B5EF4-FFF2-40B4-BE49-F238E27FC236}">
                  <a16:creationId xmlns:a16="http://schemas.microsoft.com/office/drawing/2014/main" id="{DC79993A-16E7-14CF-856A-F1301E68E55F}"/>
                </a:ext>
              </a:extLst>
            </p:cNvPr>
            <p:cNvSpPr/>
            <p:nvPr/>
          </p:nvSpPr>
          <p:spPr>
            <a:xfrm>
              <a:off x="4489252" y="4469445"/>
              <a:ext cx="101051" cy="1186"/>
            </a:xfrm>
            <a:custGeom>
              <a:avLst/>
              <a:gdLst>
                <a:gd name="connsiteX0" fmla="*/ 0 w 101051"/>
                <a:gd name="connsiteY0" fmla="*/ 0 h 1186"/>
                <a:gd name="connsiteX1" fmla="*/ 101052 w 101051"/>
                <a:gd name="connsiteY1" fmla="*/ 0 h 11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1051" h="1186">
                  <a:moveTo>
                    <a:pt x="0" y="0"/>
                  </a:moveTo>
                  <a:lnTo>
                    <a:pt x="101052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61" name="Forma livre: Forma 1660">
              <a:extLst>
                <a:ext uri="{FF2B5EF4-FFF2-40B4-BE49-F238E27FC236}">
                  <a16:creationId xmlns:a16="http://schemas.microsoft.com/office/drawing/2014/main" id="{CE4C2F87-A4FC-4C9E-8512-136A10B45449}"/>
                </a:ext>
              </a:extLst>
            </p:cNvPr>
            <p:cNvSpPr/>
            <p:nvPr/>
          </p:nvSpPr>
          <p:spPr>
            <a:xfrm>
              <a:off x="4489252" y="4284165"/>
              <a:ext cx="101051" cy="1186"/>
            </a:xfrm>
            <a:custGeom>
              <a:avLst/>
              <a:gdLst>
                <a:gd name="connsiteX0" fmla="*/ 0 w 101051"/>
                <a:gd name="connsiteY0" fmla="*/ 0 h 1186"/>
                <a:gd name="connsiteX1" fmla="*/ 101052 w 101051"/>
                <a:gd name="connsiteY1" fmla="*/ 0 h 11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1051" h="1186">
                  <a:moveTo>
                    <a:pt x="0" y="0"/>
                  </a:moveTo>
                  <a:lnTo>
                    <a:pt x="101052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662" name="Gráfico 15">
            <a:extLst>
              <a:ext uri="{FF2B5EF4-FFF2-40B4-BE49-F238E27FC236}">
                <a16:creationId xmlns:a16="http://schemas.microsoft.com/office/drawing/2014/main" id="{07189DC7-09BD-6F91-40B3-8DA70311CE5F}"/>
              </a:ext>
            </a:extLst>
          </p:cNvPr>
          <p:cNvGrpSpPr/>
          <p:nvPr/>
        </p:nvGrpSpPr>
        <p:grpSpPr>
          <a:xfrm>
            <a:off x="5014930" y="5274585"/>
            <a:ext cx="283495" cy="274834"/>
            <a:chOff x="5014930" y="5274585"/>
            <a:chExt cx="283495" cy="274834"/>
          </a:xfrm>
          <a:noFill/>
        </p:grpSpPr>
        <p:grpSp>
          <p:nvGrpSpPr>
            <p:cNvPr id="1663" name="Gráfico 15">
              <a:extLst>
                <a:ext uri="{FF2B5EF4-FFF2-40B4-BE49-F238E27FC236}">
                  <a16:creationId xmlns:a16="http://schemas.microsoft.com/office/drawing/2014/main" id="{F083ED82-3A25-FF95-757A-6C3E19B8E81C}"/>
                </a:ext>
              </a:extLst>
            </p:cNvPr>
            <p:cNvGrpSpPr/>
            <p:nvPr/>
          </p:nvGrpSpPr>
          <p:grpSpPr>
            <a:xfrm>
              <a:off x="5014930" y="5274585"/>
              <a:ext cx="127628" cy="162712"/>
              <a:chOff x="5014930" y="5274585"/>
              <a:chExt cx="127628" cy="162712"/>
            </a:xfrm>
            <a:noFill/>
          </p:grpSpPr>
          <p:sp>
            <p:nvSpPr>
              <p:cNvPr id="1664" name="Forma livre: Forma 1663">
                <a:extLst>
                  <a:ext uri="{FF2B5EF4-FFF2-40B4-BE49-F238E27FC236}">
                    <a16:creationId xmlns:a16="http://schemas.microsoft.com/office/drawing/2014/main" id="{AC427480-DF2E-AB43-772C-BE1EEBEB34AB}"/>
                  </a:ext>
                </a:extLst>
              </p:cNvPr>
              <p:cNvSpPr/>
              <p:nvPr/>
            </p:nvSpPr>
            <p:spPr>
              <a:xfrm>
                <a:off x="5044770" y="5274585"/>
                <a:ext cx="1186" cy="46687"/>
              </a:xfrm>
              <a:custGeom>
                <a:avLst/>
                <a:gdLst>
                  <a:gd name="connsiteX0" fmla="*/ 0 w 1186"/>
                  <a:gd name="connsiteY0" fmla="*/ 46688 h 46687"/>
                  <a:gd name="connsiteX1" fmla="*/ 0 w 1186"/>
                  <a:gd name="connsiteY1" fmla="*/ 0 h 466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86" h="46687">
                    <a:moveTo>
                      <a:pt x="0" y="46688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665" name="Forma livre: Forma 1664">
                <a:extLst>
                  <a:ext uri="{FF2B5EF4-FFF2-40B4-BE49-F238E27FC236}">
                    <a16:creationId xmlns:a16="http://schemas.microsoft.com/office/drawing/2014/main" id="{CEEBAF75-D8B5-D3A2-6271-B8222721453C}"/>
                  </a:ext>
                </a:extLst>
              </p:cNvPr>
              <p:cNvSpPr/>
              <p:nvPr/>
            </p:nvSpPr>
            <p:spPr>
              <a:xfrm>
                <a:off x="5112743" y="5274585"/>
                <a:ext cx="1186" cy="46687"/>
              </a:xfrm>
              <a:custGeom>
                <a:avLst/>
                <a:gdLst>
                  <a:gd name="connsiteX0" fmla="*/ 0 w 1186"/>
                  <a:gd name="connsiteY0" fmla="*/ 46688 h 46687"/>
                  <a:gd name="connsiteX1" fmla="*/ 0 w 1186"/>
                  <a:gd name="connsiteY1" fmla="*/ 0 h 466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86" h="46687">
                    <a:moveTo>
                      <a:pt x="0" y="46688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666" name="Forma livre: Forma 1665">
                <a:extLst>
                  <a:ext uri="{FF2B5EF4-FFF2-40B4-BE49-F238E27FC236}">
                    <a16:creationId xmlns:a16="http://schemas.microsoft.com/office/drawing/2014/main" id="{57ECAFCA-5E20-FE53-E706-AF441E0DDC77}"/>
                  </a:ext>
                </a:extLst>
              </p:cNvPr>
              <p:cNvSpPr/>
              <p:nvPr/>
            </p:nvSpPr>
            <p:spPr>
              <a:xfrm>
                <a:off x="5014930" y="5323041"/>
                <a:ext cx="127628" cy="114257"/>
              </a:xfrm>
              <a:custGeom>
                <a:avLst/>
                <a:gdLst>
                  <a:gd name="connsiteX0" fmla="*/ 12 w 127628"/>
                  <a:gd name="connsiteY0" fmla="*/ 23753 h 114257"/>
                  <a:gd name="connsiteX1" fmla="*/ 12 w 127628"/>
                  <a:gd name="connsiteY1" fmla="*/ 38667 h 114257"/>
                  <a:gd name="connsiteX2" fmla="*/ 22045 w 127628"/>
                  <a:gd name="connsiteY2" fmla="*/ 50710 h 114257"/>
                  <a:gd name="connsiteX3" fmla="*/ 22045 w 127628"/>
                  <a:gd name="connsiteY3" fmla="*/ 86138 h 114257"/>
                  <a:gd name="connsiteX4" fmla="*/ 50164 w 127628"/>
                  <a:gd name="connsiteY4" fmla="*/ 114257 h 114257"/>
                  <a:gd name="connsiteX5" fmla="*/ 77738 w 127628"/>
                  <a:gd name="connsiteY5" fmla="*/ 114257 h 114257"/>
                  <a:gd name="connsiteX6" fmla="*/ 105869 w 127628"/>
                  <a:gd name="connsiteY6" fmla="*/ 86138 h 114257"/>
                  <a:gd name="connsiteX7" fmla="*/ 105869 w 127628"/>
                  <a:gd name="connsiteY7" fmla="*/ 50556 h 114257"/>
                  <a:gd name="connsiteX8" fmla="*/ 127629 w 127628"/>
                  <a:gd name="connsiteY8" fmla="*/ 38667 h 114257"/>
                  <a:gd name="connsiteX9" fmla="*/ 127629 w 127628"/>
                  <a:gd name="connsiteY9" fmla="*/ 0 h 114257"/>
                  <a:gd name="connsiteX10" fmla="*/ 0 w 127628"/>
                  <a:gd name="connsiteY10" fmla="*/ 0 h 1142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127628" h="114257">
                    <a:moveTo>
                      <a:pt x="12" y="23753"/>
                    </a:moveTo>
                    <a:lnTo>
                      <a:pt x="12" y="38667"/>
                    </a:lnTo>
                    <a:lnTo>
                      <a:pt x="22045" y="50710"/>
                    </a:lnTo>
                    <a:lnTo>
                      <a:pt x="22045" y="86138"/>
                    </a:lnTo>
                    <a:cubicBezTo>
                      <a:pt x="22045" y="101610"/>
                      <a:pt x="34704" y="114257"/>
                      <a:pt x="50164" y="114257"/>
                    </a:cubicBezTo>
                    <a:lnTo>
                      <a:pt x="77738" y="114257"/>
                    </a:lnTo>
                    <a:cubicBezTo>
                      <a:pt x="93209" y="114257"/>
                      <a:pt x="105869" y="101610"/>
                      <a:pt x="105869" y="86138"/>
                    </a:cubicBezTo>
                    <a:lnTo>
                      <a:pt x="105869" y="50556"/>
                    </a:lnTo>
                    <a:lnTo>
                      <a:pt x="127629" y="38667"/>
                    </a:lnTo>
                    <a:lnTo>
                      <a:pt x="127629" y="0"/>
                    </a:lnTo>
                    <a:lnTo>
                      <a:pt x="0" y="0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667" name="Forma livre: Forma 1666">
                <a:extLst>
                  <a:ext uri="{FF2B5EF4-FFF2-40B4-BE49-F238E27FC236}">
                    <a16:creationId xmlns:a16="http://schemas.microsoft.com/office/drawing/2014/main" id="{2CF1CC37-8D8F-68D4-1809-528AFA7B1ECD}"/>
                  </a:ext>
                </a:extLst>
              </p:cNvPr>
              <p:cNvSpPr/>
              <p:nvPr/>
            </p:nvSpPr>
            <p:spPr>
              <a:xfrm>
                <a:off x="5059340" y="5352299"/>
                <a:ext cx="82673" cy="1186"/>
              </a:xfrm>
              <a:custGeom>
                <a:avLst/>
                <a:gdLst>
                  <a:gd name="connsiteX0" fmla="*/ 82673 w 82673"/>
                  <a:gd name="connsiteY0" fmla="*/ 0 h 1186"/>
                  <a:gd name="connsiteX1" fmla="*/ 0 w 82673"/>
                  <a:gd name="connsiteY1" fmla="*/ 0 h 11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82673" h="1186">
                    <a:moveTo>
                      <a:pt x="82673" y="0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668" name="Forma livre: Forma 1667">
              <a:extLst>
                <a:ext uri="{FF2B5EF4-FFF2-40B4-BE49-F238E27FC236}">
                  <a16:creationId xmlns:a16="http://schemas.microsoft.com/office/drawing/2014/main" id="{9ACFC5E9-30A9-9876-6F31-4FD6D7F93FFD}"/>
                </a:ext>
              </a:extLst>
            </p:cNvPr>
            <p:cNvSpPr/>
            <p:nvPr/>
          </p:nvSpPr>
          <p:spPr>
            <a:xfrm>
              <a:off x="5078549" y="5285536"/>
              <a:ext cx="219876" cy="263883"/>
            </a:xfrm>
            <a:custGeom>
              <a:avLst/>
              <a:gdLst>
                <a:gd name="connsiteX0" fmla="*/ 219877 w 219876"/>
                <a:gd name="connsiteY0" fmla="*/ 163413 h 263883"/>
                <a:gd name="connsiteX1" fmla="*/ 219877 w 219876"/>
                <a:gd name="connsiteY1" fmla="*/ 56951 h 263883"/>
                <a:gd name="connsiteX2" fmla="*/ 164908 w 219876"/>
                <a:gd name="connsiteY2" fmla="*/ 0 h 263883"/>
                <a:gd name="connsiteX3" fmla="*/ 109939 w 219876"/>
                <a:gd name="connsiteY3" fmla="*/ 56951 h 263883"/>
                <a:gd name="connsiteX4" fmla="*/ 109939 w 219876"/>
                <a:gd name="connsiteY4" fmla="*/ 206933 h 263883"/>
                <a:gd name="connsiteX5" fmla="*/ 54969 w 219876"/>
                <a:gd name="connsiteY5" fmla="*/ 263883 h 263883"/>
                <a:gd name="connsiteX6" fmla="*/ 0 w 219876"/>
                <a:gd name="connsiteY6" fmla="*/ 206933 h 263883"/>
                <a:gd name="connsiteX7" fmla="*/ 0 w 219876"/>
                <a:gd name="connsiteY7" fmla="*/ 153138 h 2638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19876" h="263883">
                  <a:moveTo>
                    <a:pt x="219877" y="163413"/>
                  </a:moveTo>
                  <a:lnTo>
                    <a:pt x="219877" y="56951"/>
                  </a:lnTo>
                  <a:cubicBezTo>
                    <a:pt x="219877" y="25628"/>
                    <a:pt x="195139" y="0"/>
                    <a:pt x="164908" y="0"/>
                  </a:cubicBezTo>
                  <a:cubicBezTo>
                    <a:pt x="134676" y="0"/>
                    <a:pt x="109939" y="25628"/>
                    <a:pt x="109939" y="56951"/>
                  </a:cubicBezTo>
                  <a:lnTo>
                    <a:pt x="109939" y="206933"/>
                  </a:lnTo>
                  <a:cubicBezTo>
                    <a:pt x="109939" y="238256"/>
                    <a:pt x="85201" y="263883"/>
                    <a:pt x="54969" y="263883"/>
                  </a:cubicBezTo>
                  <a:cubicBezTo>
                    <a:pt x="24738" y="263883"/>
                    <a:pt x="0" y="238256"/>
                    <a:pt x="0" y="206933"/>
                  </a:cubicBezTo>
                  <a:lnTo>
                    <a:pt x="0" y="153138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669" name="Gráfico 15">
            <a:extLst>
              <a:ext uri="{FF2B5EF4-FFF2-40B4-BE49-F238E27FC236}">
                <a16:creationId xmlns:a16="http://schemas.microsoft.com/office/drawing/2014/main" id="{0B33AC2F-9402-808E-5229-DEAE960ABE2F}"/>
              </a:ext>
            </a:extLst>
          </p:cNvPr>
          <p:cNvGrpSpPr/>
          <p:nvPr/>
        </p:nvGrpSpPr>
        <p:grpSpPr>
          <a:xfrm>
            <a:off x="4987890" y="3665301"/>
            <a:ext cx="337575" cy="336531"/>
            <a:chOff x="4987890" y="3665301"/>
            <a:chExt cx="337575" cy="336531"/>
          </a:xfrm>
          <a:noFill/>
        </p:grpSpPr>
        <p:grpSp>
          <p:nvGrpSpPr>
            <p:cNvPr id="1670" name="Gráfico 15">
              <a:extLst>
                <a:ext uri="{FF2B5EF4-FFF2-40B4-BE49-F238E27FC236}">
                  <a16:creationId xmlns:a16="http://schemas.microsoft.com/office/drawing/2014/main" id="{BB41BFC4-5056-CA7F-694B-C3D2402FF9B6}"/>
                </a:ext>
              </a:extLst>
            </p:cNvPr>
            <p:cNvGrpSpPr/>
            <p:nvPr/>
          </p:nvGrpSpPr>
          <p:grpSpPr>
            <a:xfrm>
              <a:off x="4987890" y="3665301"/>
              <a:ext cx="238872" cy="268522"/>
              <a:chOff x="4987890" y="3665301"/>
              <a:chExt cx="238872" cy="268522"/>
            </a:xfrm>
            <a:noFill/>
          </p:grpSpPr>
          <p:sp>
            <p:nvSpPr>
              <p:cNvPr id="1671" name="Forma livre: Forma 1670">
                <a:extLst>
                  <a:ext uri="{FF2B5EF4-FFF2-40B4-BE49-F238E27FC236}">
                    <a16:creationId xmlns:a16="http://schemas.microsoft.com/office/drawing/2014/main" id="{DD793605-18A7-A1FA-F38D-388296BF00CB}"/>
                  </a:ext>
                </a:extLst>
              </p:cNvPr>
              <p:cNvSpPr/>
              <p:nvPr/>
            </p:nvSpPr>
            <p:spPr>
              <a:xfrm>
                <a:off x="5102811" y="3774421"/>
                <a:ext cx="123951" cy="159402"/>
              </a:xfrm>
              <a:custGeom>
                <a:avLst/>
                <a:gdLst>
                  <a:gd name="connsiteX0" fmla="*/ 2659 w 123951"/>
                  <a:gd name="connsiteY0" fmla="*/ 159403 h 159402"/>
                  <a:gd name="connsiteX1" fmla="*/ 63928 w 123951"/>
                  <a:gd name="connsiteY1" fmla="*/ 99415 h 159402"/>
                  <a:gd name="connsiteX2" fmla="*/ 63928 w 123951"/>
                  <a:gd name="connsiteY2" fmla="*/ 67688 h 159402"/>
                  <a:gd name="connsiteX3" fmla="*/ 123952 w 123951"/>
                  <a:gd name="connsiteY3" fmla="*/ 0 h 159402"/>
                  <a:gd name="connsiteX4" fmla="*/ 143 w 123951"/>
                  <a:gd name="connsiteY4" fmla="*/ 125671 h 1594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3951" h="159402">
                    <a:moveTo>
                      <a:pt x="2659" y="159403"/>
                    </a:moveTo>
                    <a:cubicBezTo>
                      <a:pt x="64070" y="157409"/>
                      <a:pt x="63928" y="99415"/>
                      <a:pt x="63928" y="99415"/>
                    </a:cubicBezTo>
                    <a:lnTo>
                      <a:pt x="63928" y="67688"/>
                    </a:lnTo>
                    <a:cubicBezTo>
                      <a:pt x="63928" y="32047"/>
                      <a:pt x="123952" y="0"/>
                      <a:pt x="123952" y="0"/>
                    </a:cubicBezTo>
                    <a:cubicBezTo>
                      <a:pt x="-9242" y="32830"/>
                      <a:pt x="143" y="125671"/>
                      <a:pt x="143" y="125671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672" name="Forma livre: Forma 1671">
                <a:extLst>
                  <a:ext uri="{FF2B5EF4-FFF2-40B4-BE49-F238E27FC236}">
                    <a16:creationId xmlns:a16="http://schemas.microsoft.com/office/drawing/2014/main" id="{6FBB3074-26FC-D402-3BDC-6FC20B0CB789}"/>
                  </a:ext>
                </a:extLst>
              </p:cNvPr>
              <p:cNvSpPr/>
              <p:nvPr/>
            </p:nvSpPr>
            <p:spPr>
              <a:xfrm>
                <a:off x="4987890" y="3774409"/>
                <a:ext cx="106901" cy="153600"/>
              </a:xfrm>
              <a:custGeom>
                <a:avLst/>
                <a:gdLst>
                  <a:gd name="connsiteX0" fmla="*/ 106901 w 106901"/>
                  <a:gd name="connsiteY0" fmla="*/ 64319 h 153600"/>
                  <a:gd name="connsiteX1" fmla="*/ 0 w 106901"/>
                  <a:gd name="connsiteY1" fmla="*/ 0 h 153600"/>
                  <a:gd name="connsiteX2" fmla="*/ 60024 w 106901"/>
                  <a:gd name="connsiteY2" fmla="*/ 67688 h 153600"/>
                  <a:gd name="connsiteX3" fmla="*/ 60024 w 106901"/>
                  <a:gd name="connsiteY3" fmla="*/ 99415 h 153600"/>
                  <a:gd name="connsiteX4" fmla="*/ 93731 w 106901"/>
                  <a:gd name="connsiteY4" fmla="*/ 153601 h 1536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06901" h="153600">
                    <a:moveTo>
                      <a:pt x="106901" y="64319"/>
                    </a:moveTo>
                    <a:cubicBezTo>
                      <a:pt x="90243" y="39949"/>
                      <a:pt x="58647" y="14451"/>
                      <a:pt x="0" y="0"/>
                    </a:cubicBezTo>
                    <a:cubicBezTo>
                      <a:pt x="0" y="0"/>
                      <a:pt x="60024" y="32059"/>
                      <a:pt x="60024" y="67688"/>
                    </a:cubicBezTo>
                    <a:lnTo>
                      <a:pt x="60024" y="99415"/>
                    </a:lnTo>
                    <a:cubicBezTo>
                      <a:pt x="60024" y="98916"/>
                      <a:pt x="59988" y="138283"/>
                      <a:pt x="93731" y="153601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673" name="Forma livre: Forma 1672">
                <a:extLst>
                  <a:ext uri="{FF2B5EF4-FFF2-40B4-BE49-F238E27FC236}">
                    <a16:creationId xmlns:a16="http://schemas.microsoft.com/office/drawing/2014/main" id="{938E3EE7-700C-442B-E9F7-21F546CCB5A7}"/>
                  </a:ext>
                </a:extLst>
              </p:cNvPr>
              <p:cNvSpPr/>
              <p:nvPr/>
            </p:nvSpPr>
            <p:spPr>
              <a:xfrm>
                <a:off x="5055151" y="3665301"/>
                <a:ext cx="106165" cy="135578"/>
              </a:xfrm>
              <a:custGeom>
                <a:avLst/>
                <a:gdLst>
                  <a:gd name="connsiteX0" fmla="*/ 0 w 106165"/>
                  <a:gd name="connsiteY0" fmla="*/ 109808 h 135578"/>
                  <a:gd name="connsiteX1" fmla="*/ 52478 w 106165"/>
                  <a:gd name="connsiteY1" fmla="*/ 0 h 135578"/>
                  <a:gd name="connsiteX2" fmla="*/ 106166 w 106165"/>
                  <a:gd name="connsiteY2" fmla="*/ 135578 h 1355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06165" h="135578">
                    <a:moveTo>
                      <a:pt x="0" y="109808"/>
                    </a:moveTo>
                    <a:cubicBezTo>
                      <a:pt x="4793" y="48052"/>
                      <a:pt x="26458" y="0"/>
                      <a:pt x="52478" y="0"/>
                    </a:cubicBezTo>
                    <a:cubicBezTo>
                      <a:pt x="82009" y="0"/>
                      <a:pt x="106166" y="61483"/>
                      <a:pt x="106166" y="135578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674" name="Forma livre: Forma 1673">
                <a:extLst>
                  <a:ext uri="{FF2B5EF4-FFF2-40B4-BE49-F238E27FC236}">
                    <a16:creationId xmlns:a16="http://schemas.microsoft.com/office/drawing/2014/main" id="{5C858C94-19EA-AE07-E781-F6EC2A64AE65}"/>
                  </a:ext>
                </a:extLst>
              </p:cNvPr>
              <p:cNvSpPr/>
              <p:nvPr/>
            </p:nvSpPr>
            <p:spPr>
              <a:xfrm>
                <a:off x="5123528" y="3697715"/>
                <a:ext cx="9966" cy="116084"/>
              </a:xfrm>
              <a:custGeom>
                <a:avLst/>
                <a:gdLst>
                  <a:gd name="connsiteX0" fmla="*/ 9966 w 9966"/>
                  <a:gd name="connsiteY0" fmla="*/ 116085 h 116084"/>
                  <a:gd name="connsiteX1" fmla="*/ 0 w 9966"/>
                  <a:gd name="connsiteY1" fmla="*/ 0 h 1160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966" h="116084">
                    <a:moveTo>
                      <a:pt x="9966" y="116085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675" name="Forma livre: Forma 1674">
                <a:extLst>
                  <a:ext uri="{FF2B5EF4-FFF2-40B4-BE49-F238E27FC236}">
                    <a16:creationId xmlns:a16="http://schemas.microsoft.com/office/drawing/2014/main" id="{0EBE517D-6A16-CCD5-964B-517339A4449C}"/>
                  </a:ext>
                </a:extLst>
              </p:cNvPr>
              <p:cNvSpPr/>
              <p:nvPr/>
            </p:nvSpPr>
            <p:spPr>
              <a:xfrm>
                <a:off x="5100866" y="3697834"/>
                <a:ext cx="40921" cy="116013"/>
              </a:xfrm>
              <a:custGeom>
                <a:avLst/>
                <a:gdLst>
                  <a:gd name="connsiteX0" fmla="*/ 40921 w 40921"/>
                  <a:gd name="connsiteY0" fmla="*/ 116013 h 116013"/>
                  <a:gd name="connsiteX1" fmla="*/ 0 w 40921"/>
                  <a:gd name="connsiteY1" fmla="*/ 116013 h 116013"/>
                  <a:gd name="connsiteX2" fmla="*/ 0 w 40921"/>
                  <a:gd name="connsiteY2" fmla="*/ 0 h 1160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40921" h="116013">
                    <a:moveTo>
                      <a:pt x="40921" y="116013"/>
                    </a:moveTo>
                    <a:lnTo>
                      <a:pt x="0" y="116013"/>
                    </a:lnTo>
                    <a:lnTo>
                      <a:pt x="0" y="0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676" name="Forma livre: Forma 1675">
                <a:extLst>
                  <a:ext uri="{FF2B5EF4-FFF2-40B4-BE49-F238E27FC236}">
                    <a16:creationId xmlns:a16="http://schemas.microsoft.com/office/drawing/2014/main" id="{FB8FF48C-03F0-8A63-E30C-2ACEAA58D388}"/>
                  </a:ext>
                </a:extLst>
              </p:cNvPr>
              <p:cNvSpPr/>
              <p:nvPr/>
            </p:nvSpPr>
            <p:spPr>
              <a:xfrm>
                <a:off x="5080518" y="3763398"/>
                <a:ext cx="78603" cy="1186"/>
              </a:xfrm>
              <a:custGeom>
                <a:avLst/>
                <a:gdLst>
                  <a:gd name="connsiteX0" fmla="*/ 78604 w 78603"/>
                  <a:gd name="connsiteY0" fmla="*/ 0 h 1186"/>
                  <a:gd name="connsiteX1" fmla="*/ 0 w 78603"/>
                  <a:gd name="connsiteY1" fmla="*/ 0 h 11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78603" h="1186">
                    <a:moveTo>
                      <a:pt x="78604" y="0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677" name="Forma livre: Forma 1676">
                <a:extLst>
                  <a:ext uri="{FF2B5EF4-FFF2-40B4-BE49-F238E27FC236}">
                    <a16:creationId xmlns:a16="http://schemas.microsoft.com/office/drawing/2014/main" id="{DDBA8867-2953-D0E4-C7FF-65E476924D13}"/>
                  </a:ext>
                </a:extLst>
              </p:cNvPr>
              <p:cNvSpPr/>
              <p:nvPr/>
            </p:nvSpPr>
            <p:spPr>
              <a:xfrm>
                <a:off x="5084718" y="3736738"/>
                <a:ext cx="69954" cy="1186"/>
              </a:xfrm>
              <a:custGeom>
                <a:avLst/>
                <a:gdLst>
                  <a:gd name="connsiteX0" fmla="*/ 69954 w 69954"/>
                  <a:gd name="connsiteY0" fmla="*/ 0 h 1186"/>
                  <a:gd name="connsiteX1" fmla="*/ 0 w 69954"/>
                  <a:gd name="connsiteY1" fmla="*/ 0 h 11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9954" h="1186">
                    <a:moveTo>
                      <a:pt x="69954" y="0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678" name="Forma livre: Forma 1677">
                <a:extLst>
                  <a:ext uri="{FF2B5EF4-FFF2-40B4-BE49-F238E27FC236}">
                    <a16:creationId xmlns:a16="http://schemas.microsoft.com/office/drawing/2014/main" id="{5F12D4CC-1CBA-0882-5294-A9BE49DC0722}"/>
                  </a:ext>
                </a:extLst>
              </p:cNvPr>
              <p:cNvSpPr/>
              <p:nvPr/>
            </p:nvSpPr>
            <p:spPr>
              <a:xfrm>
                <a:off x="5090651" y="3710090"/>
                <a:ext cx="56309" cy="1186"/>
              </a:xfrm>
              <a:custGeom>
                <a:avLst/>
                <a:gdLst>
                  <a:gd name="connsiteX0" fmla="*/ 56310 w 56309"/>
                  <a:gd name="connsiteY0" fmla="*/ 0 h 1186"/>
                  <a:gd name="connsiteX1" fmla="*/ 0 w 56309"/>
                  <a:gd name="connsiteY1" fmla="*/ 0 h 11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6309" h="1186">
                    <a:moveTo>
                      <a:pt x="56310" y="0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679" name="Forma livre: Forma 1678">
                <a:extLst>
                  <a:ext uri="{FF2B5EF4-FFF2-40B4-BE49-F238E27FC236}">
                    <a16:creationId xmlns:a16="http://schemas.microsoft.com/office/drawing/2014/main" id="{EE6D1353-39A9-6F8C-2175-5764AC3D8A8C}"/>
                  </a:ext>
                </a:extLst>
              </p:cNvPr>
              <p:cNvSpPr/>
              <p:nvPr/>
            </p:nvSpPr>
            <p:spPr>
              <a:xfrm>
                <a:off x="5078217" y="3790035"/>
                <a:ext cx="82566" cy="1186"/>
              </a:xfrm>
              <a:custGeom>
                <a:avLst/>
                <a:gdLst>
                  <a:gd name="connsiteX0" fmla="*/ 82567 w 82566"/>
                  <a:gd name="connsiteY0" fmla="*/ 0 h 1186"/>
                  <a:gd name="connsiteX1" fmla="*/ 0 w 82566"/>
                  <a:gd name="connsiteY1" fmla="*/ 0 h 11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82566" h="1186">
                    <a:moveTo>
                      <a:pt x="82567" y="0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680" name="Forma livre: Forma 1679">
              <a:extLst>
                <a:ext uri="{FF2B5EF4-FFF2-40B4-BE49-F238E27FC236}">
                  <a16:creationId xmlns:a16="http://schemas.microsoft.com/office/drawing/2014/main" id="{1DDCB5A2-0A75-77DB-2560-823F2870D241}"/>
                </a:ext>
              </a:extLst>
            </p:cNvPr>
            <p:cNvSpPr/>
            <p:nvPr/>
          </p:nvSpPr>
          <p:spPr>
            <a:xfrm>
              <a:off x="5240040" y="3813669"/>
              <a:ext cx="56950" cy="68020"/>
            </a:xfrm>
            <a:custGeom>
              <a:avLst/>
              <a:gdLst>
                <a:gd name="connsiteX0" fmla="*/ 56951 w 56950"/>
                <a:gd name="connsiteY0" fmla="*/ 0 h 68020"/>
                <a:gd name="connsiteX1" fmla="*/ 56951 w 56950"/>
                <a:gd name="connsiteY1" fmla="*/ 68020 h 68020"/>
                <a:gd name="connsiteX2" fmla="*/ 28475 w 56950"/>
                <a:gd name="connsiteY2" fmla="*/ 68020 h 68020"/>
                <a:gd name="connsiteX3" fmla="*/ 0 w 56950"/>
                <a:gd name="connsiteY3" fmla="*/ 39545 h 68020"/>
                <a:gd name="connsiteX4" fmla="*/ 0 w 56950"/>
                <a:gd name="connsiteY4" fmla="*/ 28475 h 68020"/>
                <a:gd name="connsiteX5" fmla="*/ 28475 w 56950"/>
                <a:gd name="connsiteY5" fmla="*/ 0 h 68020"/>
                <a:gd name="connsiteX6" fmla="*/ 56951 w 56950"/>
                <a:gd name="connsiteY6" fmla="*/ 0 h 680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6950" h="68020">
                  <a:moveTo>
                    <a:pt x="56951" y="0"/>
                  </a:moveTo>
                  <a:lnTo>
                    <a:pt x="56951" y="68020"/>
                  </a:lnTo>
                  <a:lnTo>
                    <a:pt x="28475" y="68020"/>
                  </a:lnTo>
                  <a:cubicBezTo>
                    <a:pt x="12814" y="68020"/>
                    <a:pt x="0" y="55207"/>
                    <a:pt x="0" y="39545"/>
                  </a:cubicBezTo>
                  <a:lnTo>
                    <a:pt x="0" y="28475"/>
                  </a:lnTo>
                  <a:cubicBezTo>
                    <a:pt x="0" y="12814"/>
                    <a:pt x="12814" y="0"/>
                    <a:pt x="28475" y="0"/>
                  </a:cubicBezTo>
                  <a:lnTo>
                    <a:pt x="56951" y="0"/>
                  </a:ln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681" name="Gráfico 15">
              <a:extLst>
                <a:ext uri="{FF2B5EF4-FFF2-40B4-BE49-F238E27FC236}">
                  <a16:creationId xmlns:a16="http://schemas.microsoft.com/office/drawing/2014/main" id="{36F7430E-6374-7DE4-315D-D0D28D726ADF}"/>
                </a:ext>
              </a:extLst>
            </p:cNvPr>
            <p:cNvGrpSpPr/>
            <p:nvPr/>
          </p:nvGrpSpPr>
          <p:grpSpPr>
            <a:xfrm>
              <a:off x="5300158" y="3829888"/>
              <a:ext cx="25307" cy="35582"/>
              <a:chOff x="5300158" y="3829888"/>
              <a:chExt cx="25307" cy="35582"/>
            </a:xfrm>
          </p:grpSpPr>
          <p:sp>
            <p:nvSpPr>
              <p:cNvPr id="1682" name="Forma livre: Forma 1681">
                <a:extLst>
                  <a:ext uri="{FF2B5EF4-FFF2-40B4-BE49-F238E27FC236}">
                    <a16:creationId xmlns:a16="http://schemas.microsoft.com/office/drawing/2014/main" id="{A9C68FA6-74FA-D769-24F1-847BCE235438}"/>
                  </a:ext>
                </a:extLst>
              </p:cNvPr>
              <p:cNvSpPr/>
              <p:nvPr/>
            </p:nvSpPr>
            <p:spPr>
              <a:xfrm>
                <a:off x="5300158" y="3829888"/>
                <a:ext cx="25307" cy="1186"/>
              </a:xfrm>
              <a:custGeom>
                <a:avLst/>
                <a:gdLst>
                  <a:gd name="connsiteX0" fmla="*/ 0 w 25307"/>
                  <a:gd name="connsiteY0" fmla="*/ 0 h 1186"/>
                  <a:gd name="connsiteX1" fmla="*/ 25307 w 25307"/>
                  <a:gd name="connsiteY1" fmla="*/ 0 h 11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5307" h="1186">
                    <a:moveTo>
                      <a:pt x="0" y="0"/>
                    </a:moveTo>
                    <a:lnTo>
                      <a:pt x="25307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683" name="Forma livre: Forma 1682">
                <a:extLst>
                  <a:ext uri="{FF2B5EF4-FFF2-40B4-BE49-F238E27FC236}">
                    <a16:creationId xmlns:a16="http://schemas.microsoft.com/office/drawing/2014/main" id="{AB3995BF-D68C-0234-55D2-81095A7F48CC}"/>
                  </a:ext>
                </a:extLst>
              </p:cNvPr>
              <p:cNvSpPr/>
              <p:nvPr/>
            </p:nvSpPr>
            <p:spPr>
              <a:xfrm>
                <a:off x="5300158" y="3865471"/>
                <a:ext cx="25307" cy="1186"/>
              </a:xfrm>
              <a:custGeom>
                <a:avLst/>
                <a:gdLst>
                  <a:gd name="connsiteX0" fmla="*/ 0 w 25307"/>
                  <a:gd name="connsiteY0" fmla="*/ 0 h 1186"/>
                  <a:gd name="connsiteX1" fmla="*/ 25307 w 25307"/>
                  <a:gd name="connsiteY1" fmla="*/ 0 h 11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5307" h="1186">
                    <a:moveTo>
                      <a:pt x="0" y="0"/>
                    </a:moveTo>
                    <a:lnTo>
                      <a:pt x="25307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684" name="Forma livre: Forma 1683">
              <a:extLst>
                <a:ext uri="{FF2B5EF4-FFF2-40B4-BE49-F238E27FC236}">
                  <a16:creationId xmlns:a16="http://schemas.microsoft.com/office/drawing/2014/main" id="{51970FBC-E233-09E2-B932-8DB0147A4583}"/>
                </a:ext>
              </a:extLst>
            </p:cNvPr>
            <p:cNvSpPr/>
            <p:nvPr/>
          </p:nvSpPr>
          <p:spPr>
            <a:xfrm>
              <a:off x="5105458" y="3847282"/>
              <a:ext cx="133490" cy="154549"/>
            </a:xfrm>
            <a:custGeom>
              <a:avLst/>
              <a:gdLst>
                <a:gd name="connsiteX0" fmla="*/ 133490 w 133490"/>
                <a:gd name="connsiteY0" fmla="*/ 0 h 154549"/>
                <a:gd name="connsiteX1" fmla="*/ 113795 w 133490"/>
                <a:gd name="connsiteY1" fmla="*/ 0 h 154549"/>
                <a:gd name="connsiteX2" fmla="*/ 94858 w 133490"/>
                <a:gd name="connsiteY2" fmla="*/ 18984 h 154549"/>
                <a:gd name="connsiteX3" fmla="*/ 94858 w 133490"/>
                <a:gd name="connsiteY3" fmla="*/ 116583 h 154549"/>
                <a:gd name="connsiteX4" fmla="*/ 56939 w 133490"/>
                <a:gd name="connsiteY4" fmla="*/ 154550 h 154549"/>
                <a:gd name="connsiteX5" fmla="*/ 37955 w 133490"/>
                <a:gd name="connsiteY5" fmla="*/ 154550 h 154549"/>
                <a:gd name="connsiteX6" fmla="*/ 0 w 133490"/>
                <a:gd name="connsiteY6" fmla="*/ 116583 h 154549"/>
                <a:gd name="connsiteX7" fmla="*/ 0 w 133490"/>
                <a:gd name="connsiteY7" fmla="*/ 86541 h 1545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33490" h="154549">
                  <a:moveTo>
                    <a:pt x="133490" y="0"/>
                  </a:moveTo>
                  <a:lnTo>
                    <a:pt x="113795" y="0"/>
                  </a:lnTo>
                  <a:cubicBezTo>
                    <a:pt x="103354" y="0"/>
                    <a:pt x="94858" y="8543"/>
                    <a:pt x="94858" y="18984"/>
                  </a:cubicBezTo>
                  <a:lnTo>
                    <a:pt x="94858" y="116583"/>
                  </a:lnTo>
                  <a:cubicBezTo>
                    <a:pt x="94858" y="137465"/>
                    <a:pt x="77821" y="154550"/>
                    <a:pt x="56939" y="154550"/>
                  </a:cubicBezTo>
                  <a:lnTo>
                    <a:pt x="37955" y="154550"/>
                  </a:lnTo>
                  <a:cubicBezTo>
                    <a:pt x="17073" y="154550"/>
                    <a:pt x="0" y="137465"/>
                    <a:pt x="0" y="116583"/>
                  </a:cubicBezTo>
                  <a:lnTo>
                    <a:pt x="0" y="86541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685" name="Gráfico 15">
            <a:extLst>
              <a:ext uri="{FF2B5EF4-FFF2-40B4-BE49-F238E27FC236}">
                <a16:creationId xmlns:a16="http://schemas.microsoft.com/office/drawing/2014/main" id="{2CBA3B9A-8B22-239D-D996-BAAC431DD069}"/>
              </a:ext>
            </a:extLst>
          </p:cNvPr>
          <p:cNvGrpSpPr/>
          <p:nvPr/>
        </p:nvGrpSpPr>
        <p:grpSpPr>
          <a:xfrm>
            <a:off x="5034614" y="4715579"/>
            <a:ext cx="244152" cy="340541"/>
            <a:chOff x="5034614" y="4715579"/>
            <a:chExt cx="244152" cy="340541"/>
          </a:xfrm>
          <a:noFill/>
        </p:grpSpPr>
        <p:grpSp>
          <p:nvGrpSpPr>
            <p:cNvPr id="1686" name="Gráfico 15">
              <a:extLst>
                <a:ext uri="{FF2B5EF4-FFF2-40B4-BE49-F238E27FC236}">
                  <a16:creationId xmlns:a16="http://schemas.microsoft.com/office/drawing/2014/main" id="{F45DA0F7-42C4-6933-2292-CF475D6E9B2D}"/>
                </a:ext>
              </a:extLst>
            </p:cNvPr>
            <p:cNvGrpSpPr/>
            <p:nvPr/>
          </p:nvGrpSpPr>
          <p:grpSpPr>
            <a:xfrm>
              <a:off x="5034614" y="4715579"/>
              <a:ext cx="244152" cy="340541"/>
              <a:chOff x="5034614" y="4715579"/>
              <a:chExt cx="244152" cy="340541"/>
            </a:xfrm>
            <a:noFill/>
          </p:grpSpPr>
          <p:grpSp>
            <p:nvGrpSpPr>
              <p:cNvPr id="1687" name="Gráfico 15">
                <a:extLst>
                  <a:ext uri="{FF2B5EF4-FFF2-40B4-BE49-F238E27FC236}">
                    <a16:creationId xmlns:a16="http://schemas.microsoft.com/office/drawing/2014/main" id="{C17C7A6E-0342-570D-527C-9DC53E7EBC0F}"/>
                  </a:ext>
                </a:extLst>
              </p:cNvPr>
              <p:cNvGrpSpPr/>
              <p:nvPr/>
            </p:nvGrpSpPr>
            <p:grpSpPr>
              <a:xfrm>
                <a:off x="5034614" y="4715579"/>
                <a:ext cx="244152" cy="340541"/>
                <a:chOff x="5034614" y="4715579"/>
                <a:chExt cx="244152" cy="340541"/>
              </a:xfrm>
              <a:noFill/>
            </p:grpSpPr>
            <p:sp>
              <p:nvSpPr>
                <p:cNvPr id="1688" name="Forma livre: Forma 1687">
                  <a:extLst>
                    <a:ext uri="{FF2B5EF4-FFF2-40B4-BE49-F238E27FC236}">
                      <a16:creationId xmlns:a16="http://schemas.microsoft.com/office/drawing/2014/main" id="{606B73C9-C076-D351-1F28-65152A07D182}"/>
                    </a:ext>
                  </a:extLst>
                </p:cNvPr>
                <p:cNvSpPr/>
                <p:nvPr/>
              </p:nvSpPr>
              <p:spPr>
                <a:xfrm>
                  <a:off x="5112138" y="5017097"/>
                  <a:ext cx="89626" cy="1186"/>
                </a:xfrm>
                <a:custGeom>
                  <a:avLst/>
                  <a:gdLst>
                    <a:gd name="connsiteX0" fmla="*/ 0 w 89626"/>
                    <a:gd name="connsiteY0" fmla="*/ 0 h 1186"/>
                    <a:gd name="connsiteX1" fmla="*/ 89626 w 89626"/>
                    <a:gd name="connsiteY1" fmla="*/ 0 h 118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89626" h="1186">
                      <a:moveTo>
                        <a:pt x="0" y="0"/>
                      </a:moveTo>
                      <a:lnTo>
                        <a:pt x="89626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689" name="Forma livre: Forma 1688">
                  <a:extLst>
                    <a:ext uri="{FF2B5EF4-FFF2-40B4-BE49-F238E27FC236}">
                      <a16:creationId xmlns:a16="http://schemas.microsoft.com/office/drawing/2014/main" id="{9CF88AA1-67A9-FD66-4B45-90D251CC7C0D}"/>
                    </a:ext>
                  </a:extLst>
                </p:cNvPr>
                <p:cNvSpPr/>
                <p:nvPr/>
              </p:nvSpPr>
              <p:spPr>
                <a:xfrm>
                  <a:off x="5156690" y="4715579"/>
                  <a:ext cx="1186" cy="22554"/>
                </a:xfrm>
                <a:custGeom>
                  <a:avLst/>
                  <a:gdLst>
                    <a:gd name="connsiteX0" fmla="*/ 0 w 1186"/>
                    <a:gd name="connsiteY0" fmla="*/ 22555 h 22554"/>
                    <a:gd name="connsiteX1" fmla="*/ 0 w 1186"/>
                    <a:gd name="connsiteY1" fmla="*/ 0 h 2255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186" h="22554">
                      <a:moveTo>
                        <a:pt x="0" y="22555"/>
                      </a:moveTo>
                      <a:lnTo>
                        <a:pt x="0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grpSp>
              <p:nvGrpSpPr>
                <p:cNvPr id="1690" name="Gráfico 15">
                  <a:extLst>
                    <a:ext uri="{FF2B5EF4-FFF2-40B4-BE49-F238E27FC236}">
                      <a16:creationId xmlns:a16="http://schemas.microsoft.com/office/drawing/2014/main" id="{27992D61-8050-9DE0-59BF-C06FEE5783E1}"/>
                    </a:ext>
                  </a:extLst>
                </p:cNvPr>
                <p:cNvGrpSpPr/>
                <p:nvPr/>
              </p:nvGrpSpPr>
              <p:grpSpPr>
                <a:xfrm>
                  <a:off x="5034614" y="4768721"/>
                  <a:ext cx="244152" cy="18331"/>
                  <a:chOff x="5034614" y="4768721"/>
                  <a:chExt cx="244152" cy="18331"/>
                </a:xfrm>
              </p:grpSpPr>
              <p:sp>
                <p:nvSpPr>
                  <p:cNvPr id="1691" name="Forma livre: Forma 1690">
                    <a:extLst>
                      <a:ext uri="{FF2B5EF4-FFF2-40B4-BE49-F238E27FC236}">
                        <a16:creationId xmlns:a16="http://schemas.microsoft.com/office/drawing/2014/main" id="{236CAFE7-E092-645B-5839-B8EA4D502710}"/>
                      </a:ext>
                    </a:extLst>
                  </p:cNvPr>
                  <p:cNvSpPr/>
                  <p:nvPr/>
                </p:nvSpPr>
                <p:spPr>
                  <a:xfrm>
                    <a:off x="5260506" y="4768721"/>
                    <a:ext cx="18259" cy="18331"/>
                  </a:xfrm>
                  <a:custGeom>
                    <a:avLst/>
                    <a:gdLst>
                      <a:gd name="connsiteX0" fmla="*/ 0 w 18259"/>
                      <a:gd name="connsiteY0" fmla="*/ 18331 h 18331"/>
                      <a:gd name="connsiteX1" fmla="*/ 18260 w 18259"/>
                      <a:gd name="connsiteY1" fmla="*/ 0 h 1833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8259" h="18331">
                        <a:moveTo>
                          <a:pt x="0" y="18331"/>
                        </a:moveTo>
                        <a:lnTo>
                          <a:pt x="18260" y="0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1692" name="Forma livre: Forma 1691">
                    <a:extLst>
                      <a:ext uri="{FF2B5EF4-FFF2-40B4-BE49-F238E27FC236}">
                        <a16:creationId xmlns:a16="http://schemas.microsoft.com/office/drawing/2014/main" id="{C52E051B-E9D1-8D65-1569-CF2BC6F4FDCA}"/>
                      </a:ext>
                    </a:extLst>
                  </p:cNvPr>
                  <p:cNvSpPr/>
                  <p:nvPr/>
                </p:nvSpPr>
                <p:spPr>
                  <a:xfrm>
                    <a:off x="5034614" y="4768721"/>
                    <a:ext cx="18236" cy="18331"/>
                  </a:xfrm>
                  <a:custGeom>
                    <a:avLst/>
                    <a:gdLst>
                      <a:gd name="connsiteX0" fmla="*/ 0 w 18236"/>
                      <a:gd name="connsiteY0" fmla="*/ 0 h 18331"/>
                      <a:gd name="connsiteX1" fmla="*/ 18236 w 18236"/>
                      <a:gd name="connsiteY1" fmla="*/ 18331 h 1833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8236" h="18331">
                        <a:moveTo>
                          <a:pt x="0" y="0"/>
                        </a:moveTo>
                        <a:lnTo>
                          <a:pt x="18236" y="18331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  <p:sp>
              <p:nvSpPr>
                <p:cNvPr id="1693" name="Forma livre: Forma 1692">
                  <a:extLst>
                    <a:ext uri="{FF2B5EF4-FFF2-40B4-BE49-F238E27FC236}">
                      <a16:creationId xmlns:a16="http://schemas.microsoft.com/office/drawing/2014/main" id="{6EC1CFD6-1280-7FF6-4A95-7F3CCD5B4580}"/>
                    </a:ext>
                  </a:extLst>
                </p:cNvPr>
                <p:cNvSpPr/>
                <p:nvPr/>
              </p:nvSpPr>
              <p:spPr>
                <a:xfrm>
                  <a:off x="5057596" y="4769658"/>
                  <a:ext cx="198686" cy="217587"/>
                </a:xfrm>
                <a:custGeom>
                  <a:avLst/>
                  <a:gdLst>
                    <a:gd name="connsiteX0" fmla="*/ 61459 w 198686"/>
                    <a:gd name="connsiteY0" fmla="*/ 217587 h 217587"/>
                    <a:gd name="connsiteX1" fmla="*/ 137168 w 198686"/>
                    <a:gd name="connsiteY1" fmla="*/ 217587 h 217587"/>
                    <a:gd name="connsiteX2" fmla="*/ 168289 w 198686"/>
                    <a:gd name="connsiteY2" fmla="*/ 165560 h 217587"/>
                    <a:gd name="connsiteX3" fmla="*/ 180557 w 198686"/>
                    <a:gd name="connsiteY3" fmla="*/ 153494 h 217587"/>
                    <a:gd name="connsiteX4" fmla="*/ 198687 w 198686"/>
                    <a:gd name="connsiteY4" fmla="*/ 97374 h 217587"/>
                    <a:gd name="connsiteX5" fmla="*/ 99308 w 198686"/>
                    <a:gd name="connsiteY5" fmla="*/ 0 h 217587"/>
                    <a:gd name="connsiteX6" fmla="*/ 0 w 198686"/>
                    <a:gd name="connsiteY6" fmla="*/ 97374 h 217587"/>
                    <a:gd name="connsiteX7" fmla="*/ 17951 w 198686"/>
                    <a:gd name="connsiteY7" fmla="*/ 153280 h 217587"/>
                    <a:gd name="connsiteX8" fmla="*/ 30457 w 198686"/>
                    <a:gd name="connsiteY8" fmla="*/ 165644 h 217587"/>
                    <a:gd name="connsiteX9" fmla="*/ 53890 w 198686"/>
                    <a:gd name="connsiteY9" fmla="*/ 193668 h 2175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198686" h="217587">
                      <a:moveTo>
                        <a:pt x="61459" y="217587"/>
                      </a:moveTo>
                      <a:lnTo>
                        <a:pt x="137168" y="217587"/>
                      </a:lnTo>
                      <a:cubicBezTo>
                        <a:pt x="141166" y="191046"/>
                        <a:pt x="154372" y="178659"/>
                        <a:pt x="168289" y="165560"/>
                      </a:cubicBezTo>
                      <a:cubicBezTo>
                        <a:pt x="172371" y="161728"/>
                        <a:pt x="176595" y="157742"/>
                        <a:pt x="180557" y="153494"/>
                      </a:cubicBezTo>
                      <a:cubicBezTo>
                        <a:pt x="193253" y="138497"/>
                        <a:pt x="198687" y="121708"/>
                        <a:pt x="198687" y="97374"/>
                      </a:cubicBezTo>
                      <a:cubicBezTo>
                        <a:pt x="198687" y="43686"/>
                        <a:pt x="154111" y="0"/>
                        <a:pt x="99308" y="0"/>
                      </a:cubicBezTo>
                      <a:cubicBezTo>
                        <a:pt x="44505" y="0"/>
                        <a:pt x="0" y="43686"/>
                        <a:pt x="0" y="97374"/>
                      </a:cubicBezTo>
                      <a:cubicBezTo>
                        <a:pt x="0" y="119834"/>
                        <a:pt x="6134" y="138734"/>
                        <a:pt x="17951" y="153280"/>
                      </a:cubicBezTo>
                      <a:cubicBezTo>
                        <a:pt x="22116" y="157789"/>
                        <a:pt x="26363" y="161788"/>
                        <a:pt x="30457" y="165644"/>
                      </a:cubicBezTo>
                      <a:cubicBezTo>
                        <a:pt x="39296" y="173973"/>
                        <a:pt x="47827" y="182076"/>
                        <a:pt x="53890" y="193668"/>
                      </a:cubicBez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694" name="Forma livre: Forma 1693">
                  <a:extLst>
                    <a:ext uri="{FF2B5EF4-FFF2-40B4-BE49-F238E27FC236}">
                      <a16:creationId xmlns:a16="http://schemas.microsoft.com/office/drawing/2014/main" id="{D15933F7-EFA9-8199-B271-F0BB0FA5C60F}"/>
                    </a:ext>
                  </a:extLst>
                </p:cNvPr>
                <p:cNvSpPr/>
                <p:nvPr/>
              </p:nvSpPr>
              <p:spPr>
                <a:xfrm>
                  <a:off x="5123172" y="5044576"/>
                  <a:ext cx="67545" cy="11544"/>
                </a:xfrm>
                <a:custGeom>
                  <a:avLst/>
                  <a:gdLst>
                    <a:gd name="connsiteX0" fmla="*/ 0 w 67545"/>
                    <a:gd name="connsiteY0" fmla="*/ 0 h 11544"/>
                    <a:gd name="connsiteX1" fmla="*/ 13134 w 67545"/>
                    <a:gd name="connsiteY1" fmla="*/ 0 h 11544"/>
                    <a:gd name="connsiteX2" fmla="*/ 33779 w 67545"/>
                    <a:gd name="connsiteY2" fmla="*/ 11544 h 11544"/>
                    <a:gd name="connsiteX3" fmla="*/ 54423 w 67545"/>
                    <a:gd name="connsiteY3" fmla="*/ 0 h 11544"/>
                    <a:gd name="connsiteX4" fmla="*/ 67546 w 67545"/>
                    <a:gd name="connsiteY4" fmla="*/ 0 h 1154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67545" h="11544">
                      <a:moveTo>
                        <a:pt x="0" y="0"/>
                      </a:moveTo>
                      <a:lnTo>
                        <a:pt x="13134" y="0"/>
                      </a:lnTo>
                      <a:cubicBezTo>
                        <a:pt x="16444" y="4568"/>
                        <a:pt x="23635" y="11544"/>
                        <a:pt x="33779" y="11544"/>
                      </a:cubicBezTo>
                      <a:cubicBezTo>
                        <a:pt x="43923" y="11544"/>
                        <a:pt x="51101" y="4568"/>
                        <a:pt x="54423" y="0"/>
                      </a:cubicBezTo>
                      <a:lnTo>
                        <a:pt x="67546" y="0"/>
                      </a:ln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1695" name="Forma livre: Forma 1694">
                <a:extLst>
                  <a:ext uri="{FF2B5EF4-FFF2-40B4-BE49-F238E27FC236}">
                    <a16:creationId xmlns:a16="http://schemas.microsoft.com/office/drawing/2014/main" id="{AE2407BD-BDA2-FEF1-452E-8C53F7596CA2}"/>
                  </a:ext>
                </a:extLst>
              </p:cNvPr>
              <p:cNvSpPr/>
              <p:nvPr/>
            </p:nvSpPr>
            <p:spPr>
              <a:xfrm>
                <a:off x="5156939" y="4874613"/>
                <a:ext cx="1186" cy="109179"/>
              </a:xfrm>
              <a:custGeom>
                <a:avLst/>
                <a:gdLst>
                  <a:gd name="connsiteX0" fmla="*/ 0 w 1186"/>
                  <a:gd name="connsiteY0" fmla="*/ 109179 h 109179"/>
                  <a:gd name="connsiteX1" fmla="*/ 0 w 1186"/>
                  <a:gd name="connsiteY1" fmla="*/ 0 h 1091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86" h="109179">
                    <a:moveTo>
                      <a:pt x="0" y="109179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696" name="Forma livre: Forma 1695">
              <a:extLst>
                <a:ext uri="{FF2B5EF4-FFF2-40B4-BE49-F238E27FC236}">
                  <a16:creationId xmlns:a16="http://schemas.microsoft.com/office/drawing/2014/main" id="{F5FC284A-1330-C638-23D3-45A5FCE341E9}"/>
                </a:ext>
              </a:extLst>
            </p:cNvPr>
            <p:cNvSpPr/>
            <p:nvPr/>
          </p:nvSpPr>
          <p:spPr>
            <a:xfrm>
              <a:off x="5117515" y="4815930"/>
              <a:ext cx="78380" cy="120664"/>
            </a:xfrm>
            <a:custGeom>
              <a:avLst/>
              <a:gdLst>
                <a:gd name="connsiteX0" fmla="*/ 34737 w 78380"/>
                <a:gd name="connsiteY0" fmla="*/ 120225 h 120664"/>
                <a:gd name="connsiteX1" fmla="*/ 39625 w 78380"/>
                <a:gd name="connsiteY1" fmla="*/ 120664 h 120664"/>
                <a:gd name="connsiteX2" fmla="*/ 76240 w 78380"/>
                <a:gd name="connsiteY2" fmla="*/ 56464 h 120664"/>
                <a:gd name="connsiteX3" fmla="*/ 38036 w 78380"/>
                <a:gd name="connsiteY3" fmla="*/ 0 h 120664"/>
                <a:gd name="connsiteX4" fmla="*/ 1670 w 78380"/>
                <a:gd name="connsiteY4" fmla="*/ 57247 h 120664"/>
                <a:gd name="connsiteX5" fmla="*/ 17545 w 78380"/>
                <a:gd name="connsiteY5" fmla="*/ 110567 h 1206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8380" h="120664">
                  <a:moveTo>
                    <a:pt x="34737" y="120225"/>
                  </a:moveTo>
                  <a:cubicBezTo>
                    <a:pt x="36647" y="120676"/>
                    <a:pt x="37715" y="120652"/>
                    <a:pt x="39625" y="120664"/>
                  </a:cubicBezTo>
                  <a:cubicBezTo>
                    <a:pt x="65360" y="120676"/>
                    <a:pt x="85067" y="85936"/>
                    <a:pt x="76240" y="56464"/>
                  </a:cubicBezTo>
                  <a:cubicBezTo>
                    <a:pt x="64838" y="18390"/>
                    <a:pt x="38036" y="0"/>
                    <a:pt x="38036" y="0"/>
                  </a:cubicBezTo>
                  <a:cubicBezTo>
                    <a:pt x="38036" y="0"/>
                    <a:pt x="11316" y="22318"/>
                    <a:pt x="1670" y="57247"/>
                  </a:cubicBezTo>
                  <a:cubicBezTo>
                    <a:pt x="-3740" y="76883"/>
                    <a:pt x="4636" y="98335"/>
                    <a:pt x="17545" y="110567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697" name="Gráfico 15">
            <a:extLst>
              <a:ext uri="{FF2B5EF4-FFF2-40B4-BE49-F238E27FC236}">
                <a16:creationId xmlns:a16="http://schemas.microsoft.com/office/drawing/2014/main" id="{575A70E6-A272-8A1A-7C3B-8B8BA9E0A575}"/>
              </a:ext>
            </a:extLst>
          </p:cNvPr>
          <p:cNvGrpSpPr/>
          <p:nvPr/>
        </p:nvGrpSpPr>
        <p:grpSpPr>
          <a:xfrm>
            <a:off x="5643962" y="5811334"/>
            <a:ext cx="259315" cy="259303"/>
            <a:chOff x="5643962" y="5811334"/>
            <a:chExt cx="259315" cy="259303"/>
          </a:xfrm>
          <a:noFill/>
        </p:grpSpPr>
        <p:sp>
          <p:nvSpPr>
            <p:cNvPr id="1698" name="Forma livre: Forma 1697">
              <a:extLst>
                <a:ext uri="{FF2B5EF4-FFF2-40B4-BE49-F238E27FC236}">
                  <a16:creationId xmlns:a16="http://schemas.microsoft.com/office/drawing/2014/main" id="{867511F9-2569-C374-3C3A-54DF09FF71AA}"/>
                </a:ext>
              </a:extLst>
            </p:cNvPr>
            <p:cNvSpPr/>
            <p:nvPr/>
          </p:nvSpPr>
          <p:spPr>
            <a:xfrm>
              <a:off x="5643962" y="5811334"/>
              <a:ext cx="259315" cy="259303"/>
            </a:xfrm>
            <a:custGeom>
              <a:avLst/>
              <a:gdLst>
                <a:gd name="connsiteX0" fmla="*/ 235586 w 259315"/>
                <a:gd name="connsiteY0" fmla="*/ 0 h 259303"/>
                <a:gd name="connsiteX1" fmla="*/ 259315 w 259315"/>
                <a:gd name="connsiteY1" fmla="*/ 23729 h 259303"/>
                <a:gd name="connsiteX2" fmla="*/ 259315 w 259315"/>
                <a:gd name="connsiteY2" fmla="*/ 235574 h 259303"/>
                <a:gd name="connsiteX3" fmla="*/ 235586 w 259315"/>
                <a:gd name="connsiteY3" fmla="*/ 259304 h 259303"/>
                <a:gd name="connsiteX4" fmla="*/ 23729 w 259315"/>
                <a:gd name="connsiteY4" fmla="*/ 259304 h 259303"/>
                <a:gd name="connsiteX5" fmla="*/ 0 w 259315"/>
                <a:gd name="connsiteY5" fmla="*/ 235574 h 259303"/>
                <a:gd name="connsiteX6" fmla="*/ 0 w 259315"/>
                <a:gd name="connsiteY6" fmla="*/ 23729 h 259303"/>
                <a:gd name="connsiteX7" fmla="*/ 23729 w 259315"/>
                <a:gd name="connsiteY7" fmla="*/ 0 h 2593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59315" h="259303">
                  <a:moveTo>
                    <a:pt x="235586" y="0"/>
                  </a:moveTo>
                  <a:cubicBezTo>
                    <a:pt x="248691" y="0"/>
                    <a:pt x="259315" y="10624"/>
                    <a:pt x="259315" y="23729"/>
                  </a:cubicBezTo>
                  <a:lnTo>
                    <a:pt x="259315" y="235574"/>
                  </a:lnTo>
                  <a:cubicBezTo>
                    <a:pt x="259315" y="248680"/>
                    <a:pt x="248691" y="259304"/>
                    <a:pt x="235586" y="259304"/>
                  </a:cubicBezTo>
                  <a:lnTo>
                    <a:pt x="23729" y="259304"/>
                  </a:lnTo>
                  <a:cubicBezTo>
                    <a:pt x="10624" y="259304"/>
                    <a:pt x="0" y="248680"/>
                    <a:pt x="0" y="235574"/>
                  </a:cubicBezTo>
                  <a:lnTo>
                    <a:pt x="0" y="23729"/>
                  </a:lnTo>
                  <a:cubicBezTo>
                    <a:pt x="0" y="10624"/>
                    <a:pt x="10624" y="0"/>
                    <a:pt x="23729" y="0"/>
                  </a:cubicBez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99" name="Forma livre: Forma 1698">
              <a:extLst>
                <a:ext uri="{FF2B5EF4-FFF2-40B4-BE49-F238E27FC236}">
                  <a16:creationId xmlns:a16="http://schemas.microsoft.com/office/drawing/2014/main" id="{6072F222-DD8B-BBA9-93DF-E111484330D8}"/>
                </a:ext>
              </a:extLst>
            </p:cNvPr>
            <p:cNvSpPr/>
            <p:nvPr/>
          </p:nvSpPr>
          <p:spPr>
            <a:xfrm>
              <a:off x="5684528" y="5851923"/>
              <a:ext cx="178184" cy="178125"/>
            </a:xfrm>
            <a:custGeom>
              <a:avLst/>
              <a:gdLst>
                <a:gd name="connsiteX0" fmla="*/ 40613 w 178184"/>
                <a:gd name="connsiteY0" fmla="*/ 14309 h 178125"/>
                <a:gd name="connsiteX1" fmla="*/ 89068 w 178184"/>
                <a:gd name="connsiteY1" fmla="*/ 0 h 178125"/>
                <a:gd name="connsiteX2" fmla="*/ 178184 w 178184"/>
                <a:gd name="connsiteY2" fmla="*/ 89069 h 178125"/>
                <a:gd name="connsiteX3" fmla="*/ 89068 w 178184"/>
                <a:gd name="connsiteY3" fmla="*/ 178125 h 178125"/>
                <a:gd name="connsiteX4" fmla="*/ 0 w 178184"/>
                <a:gd name="connsiteY4" fmla="*/ 89069 h 178125"/>
                <a:gd name="connsiteX5" fmla="*/ 20941 w 178184"/>
                <a:gd name="connsiteY5" fmla="*/ 31691 h 1781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78184" h="178125">
                  <a:moveTo>
                    <a:pt x="40613" y="14309"/>
                  </a:moveTo>
                  <a:cubicBezTo>
                    <a:pt x="54566" y="5256"/>
                    <a:pt x="71200" y="-12"/>
                    <a:pt x="89068" y="0"/>
                  </a:cubicBezTo>
                  <a:cubicBezTo>
                    <a:pt x="138295" y="0"/>
                    <a:pt x="178184" y="39877"/>
                    <a:pt x="178184" y="89069"/>
                  </a:cubicBezTo>
                  <a:cubicBezTo>
                    <a:pt x="178184" y="138260"/>
                    <a:pt x="138295" y="178125"/>
                    <a:pt x="89068" y="178125"/>
                  </a:cubicBezTo>
                  <a:cubicBezTo>
                    <a:pt x="39842" y="178125"/>
                    <a:pt x="0" y="138248"/>
                    <a:pt x="0" y="89069"/>
                  </a:cubicBezTo>
                  <a:cubicBezTo>
                    <a:pt x="0" y="67214"/>
                    <a:pt x="7878" y="47186"/>
                    <a:pt x="20941" y="31691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700" name="Gráfico 15">
              <a:extLst>
                <a:ext uri="{FF2B5EF4-FFF2-40B4-BE49-F238E27FC236}">
                  <a16:creationId xmlns:a16="http://schemas.microsoft.com/office/drawing/2014/main" id="{2418AFCA-5717-4989-B528-6AC297BAF27B}"/>
                </a:ext>
              </a:extLst>
            </p:cNvPr>
            <p:cNvGrpSpPr/>
            <p:nvPr/>
          </p:nvGrpSpPr>
          <p:grpSpPr>
            <a:xfrm>
              <a:off x="5710061" y="5926861"/>
              <a:ext cx="127118" cy="28226"/>
              <a:chOff x="5710061" y="5926861"/>
              <a:chExt cx="127118" cy="28226"/>
            </a:xfrm>
            <a:noFill/>
          </p:grpSpPr>
          <p:sp>
            <p:nvSpPr>
              <p:cNvPr id="1701" name="Forma livre: Forma 1700">
                <a:extLst>
                  <a:ext uri="{FF2B5EF4-FFF2-40B4-BE49-F238E27FC236}">
                    <a16:creationId xmlns:a16="http://schemas.microsoft.com/office/drawing/2014/main" id="{956368FD-8CD0-E0EB-E0C6-057BD97F68D8}"/>
                  </a:ext>
                </a:extLst>
              </p:cNvPr>
              <p:cNvSpPr/>
              <p:nvPr/>
            </p:nvSpPr>
            <p:spPr>
              <a:xfrm>
                <a:off x="5710061" y="5926861"/>
                <a:ext cx="28237" cy="28226"/>
              </a:xfrm>
              <a:custGeom>
                <a:avLst/>
                <a:gdLst>
                  <a:gd name="connsiteX0" fmla="*/ 28238 w 28237"/>
                  <a:gd name="connsiteY0" fmla="*/ 14119 h 28226"/>
                  <a:gd name="connsiteX1" fmla="*/ 14119 w 28237"/>
                  <a:gd name="connsiteY1" fmla="*/ 28226 h 28226"/>
                  <a:gd name="connsiteX2" fmla="*/ 0 w 28237"/>
                  <a:gd name="connsiteY2" fmla="*/ 14119 h 28226"/>
                  <a:gd name="connsiteX3" fmla="*/ 14119 w 28237"/>
                  <a:gd name="connsiteY3" fmla="*/ 0 h 28226"/>
                  <a:gd name="connsiteX4" fmla="*/ 28238 w 28237"/>
                  <a:gd name="connsiteY4" fmla="*/ 14119 h 282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8237" h="28226">
                    <a:moveTo>
                      <a:pt x="28238" y="14119"/>
                    </a:moveTo>
                    <a:cubicBezTo>
                      <a:pt x="28238" y="21914"/>
                      <a:pt x="21926" y="28226"/>
                      <a:pt x="14119" y="28226"/>
                    </a:cubicBezTo>
                    <a:cubicBezTo>
                      <a:pt x="6312" y="28226"/>
                      <a:pt x="0" y="21914"/>
                      <a:pt x="0" y="14119"/>
                    </a:cubicBezTo>
                    <a:cubicBezTo>
                      <a:pt x="0" y="6324"/>
                      <a:pt x="6324" y="0"/>
                      <a:pt x="14119" y="0"/>
                    </a:cubicBezTo>
                    <a:cubicBezTo>
                      <a:pt x="21914" y="0"/>
                      <a:pt x="28238" y="6324"/>
                      <a:pt x="28238" y="14119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702" name="Forma livre: Forma 1701">
                <a:extLst>
                  <a:ext uri="{FF2B5EF4-FFF2-40B4-BE49-F238E27FC236}">
                    <a16:creationId xmlns:a16="http://schemas.microsoft.com/office/drawing/2014/main" id="{0536E9A8-2AEA-27C3-E70C-BD87863AA86C}"/>
                  </a:ext>
                </a:extLst>
              </p:cNvPr>
              <p:cNvSpPr/>
              <p:nvPr/>
            </p:nvSpPr>
            <p:spPr>
              <a:xfrm>
                <a:off x="5808941" y="5926861"/>
                <a:ext cx="28238" cy="28226"/>
              </a:xfrm>
              <a:custGeom>
                <a:avLst/>
                <a:gdLst>
                  <a:gd name="connsiteX0" fmla="*/ 28238 w 28238"/>
                  <a:gd name="connsiteY0" fmla="*/ 14119 h 28226"/>
                  <a:gd name="connsiteX1" fmla="*/ 14107 w 28238"/>
                  <a:gd name="connsiteY1" fmla="*/ 28226 h 28226"/>
                  <a:gd name="connsiteX2" fmla="*/ 0 w 28238"/>
                  <a:gd name="connsiteY2" fmla="*/ 14119 h 28226"/>
                  <a:gd name="connsiteX3" fmla="*/ 14107 w 28238"/>
                  <a:gd name="connsiteY3" fmla="*/ 0 h 28226"/>
                  <a:gd name="connsiteX4" fmla="*/ 28238 w 28238"/>
                  <a:gd name="connsiteY4" fmla="*/ 14119 h 282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8238" h="28226">
                    <a:moveTo>
                      <a:pt x="28238" y="14119"/>
                    </a:moveTo>
                    <a:cubicBezTo>
                      <a:pt x="28238" y="21914"/>
                      <a:pt x="21914" y="28226"/>
                      <a:pt x="14107" y="28226"/>
                    </a:cubicBezTo>
                    <a:cubicBezTo>
                      <a:pt x="6300" y="28226"/>
                      <a:pt x="0" y="21914"/>
                      <a:pt x="0" y="14119"/>
                    </a:cubicBezTo>
                    <a:cubicBezTo>
                      <a:pt x="0" y="6324"/>
                      <a:pt x="6312" y="0"/>
                      <a:pt x="14107" y="0"/>
                    </a:cubicBezTo>
                    <a:cubicBezTo>
                      <a:pt x="21902" y="0"/>
                      <a:pt x="28238" y="6324"/>
                      <a:pt x="28238" y="14119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703" name="Gráfico 15">
              <a:extLst>
                <a:ext uri="{FF2B5EF4-FFF2-40B4-BE49-F238E27FC236}">
                  <a16:creationId xmlns:a16="http://schemas.microsoft.com/office/drawing/2014/main" id="{719B8338-5174-9919-C7CC-79536652FFBB}"/>
                </a:ext>
              </a:extLst>
            </p:cNvPr>
            <p:cNvGrpSpPr/>
            <p:nvPr/>
          </p:nvGrpSpPr>
          <p:grpSpPr>
            <a:xfrm>
              <a:off x="5773620" y="5852504"/>
              <a:ext cx="1186" cy="176950"/>
              <a:chOff x="5773620" y="5852504"/>
              <a:chExt cx="1186" cy="176950"/>
            </a:xfrm>
          </p:grpSpPr>
          <p:sp>
            <p:nvSpPr>
              <p:cNvPr id="1704" name="Forma livre: Forma 1703">
                <a:extLst>
                  <a:ext uri="{FF2B5EF4-FFF2-40B4-BE49-F238E27FC236}">
                    <a16:creationId xmlns:a16="http://schemas.microsoft.com/office/drawing/2014/main" id="{A380B02C-B8C0-FD0F-8812-A3B573F6A2BB}"/>
                  </a:ext>
                </a:extLst>
              </p:cNvPr>
              <p:cNvSpPr/>
              <p:nvPr/>
            </p:nvSpPr>
            <p:spPr>
              <a:xfrm>
                <a:off x="5773620" y="5852504"/>
                <a:ext cx="1186" cy="21759"/>
              </a:xfrm>
              <a:custGeom>
                <a:avLst/>
                <a:gdLst>
                  <a:gd name="connsiteX0" fmla="*/ 0 w 1186"/>
                  <a:gd name="connsiteY0" fmla="*/ 0 h 21759"/>
                  <a:gd name="connsiteX1" fmla="*/ 0 w 1186"/>
                  <a:gd name="connsiteY1" fmla="*/ 21760 h 217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86" h="21759">
                    <a:moveTo>
                      <a:pt x="0" y="0"/>
                    </a:moveTo>
                    <a:lnTo>
                      <a:pt x="0" y="2176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705" name="Forma livre: Forma 1704">
                <a:extLst>
                  <a:ext uri="{FF2B5EF4-FFF2-40B4-BE49-F238E27FC236}">
                    <a16:creationId xmlns:a16="http://schemas.microsoft.com/office/drawing/2014/main" id="{8B2E232D-D3E9-0848-9204-0BF3C8542A94}"/>
                  </a:ext>
                </a:extLst>
              </p:cNvPr>
              <p:cNvSpPr/>
              <p:nvPr/>
            </p:nvSpPr>
            <p:spPr>
              <a:xfrm>
                <a:off x="5773620" y="6007695"/>
                <a:ext cx="1186" cy="21759"/>
              </a:xfrm>
              <a:custGeom>
                <a:avLst/>
                <a:gdLst>
                  <a:gd name="connsiteX0" fmla="*/ 0 w 1186"/>
                  <a:gd name="connsiteY0" fmla="*/ 0 h 21759"/>
                  <a:gd name="connsiteX1" fmla="*/ 0 w 1186"/>
                  <a:gd name="connsiteY1" fmla="*/ 21760 h 217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86" h="21759">
                    <a:moveTo>
                      <a:pt x="0" y="0"/>
                    </a:moveTo>
                    <a:lnTo>
                      <a:pt x="0" y="2176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706" name="Forma livre: Forma 1705">
              <a:extLst>
                <a:ext uri="{FF2B5EF4-FFF2-40B4-BE49-F238E27FC236}">
                  <a16:creationId xmlns:a16="http://schemas.microsoft.com/office/drawing/2014/main" id="{D1BADE1B-BF61-A597-F64A-F22376F58DFD}"/>
                </a:ext>
              </a:extLst>
            </p:cNvPr>
            <p:cNvSpPr/>
            <p:nvPr/>
          </p:nvSpPr>
          <p:spPr>
            <a:xfrm>
              <a:off x="5770298" y="5937657"/>
              <a:ext cx="6644" cy="6644"/>
            </a:xfrm>
            <a:custGeom>
              <a:avLst/>
              <a:gdLst>
                <a:gd name="connsiteX0" fmla="*/ 6644 w 6644"/>
                <a:gd name="connsiteY0" fmla="*/ 3322 h 6644"/>
                <a:gd name="connsiteX1" fmla="*/ 3322 w 6644"/>
                <a:gd name="connsiteY1" fmla="*/ 6644 h 6644"/>
                <a:gd name="connsiteX2" fmla="*/ 0 w 6644"/>
                <a:gd name="connsiteY2" fmla="*/ 3322 h 6644"/>
                <a:gd name="connsiteX3" fmla="*/ 3322 w 6644"/>
                <a:gd name="connsiteY3" fmla="*/ 0 h 6644"/>
                <a:gd name="connsiteX4" fmla="*/ 6644 w 6644"/>
                <a:gd name="connsiteY4" fmla="*/ 3322 h 66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644" h="6644">
                  <a:moveTo>
                    <a:pt x="6644" y="3322"/>
                  </a:moveTo>
                  <a:cubicBezTo>
                    <a:pt x="6644" y="5161"/>
                    <a:pt x="5149" y="6644"/>
                    <a:pt x="3322" y="6644"/>
                  </a:cubicBezTo>
                  <a:cubicBezTo>
                    <a:pt x="1495" y="6644"/>
                    <a:pt x="0" y="5161"/>
                    <a:pt x="0" y="3322"/>
                  </a:cubicBezTo>
                  <a:cubicBezTo>
                    <a:pt x="0" y="1483"/>
                    <a:pt x="1483" y="0"/>
                    <a:pt x="3322" y="0"/>
                  </a:cubicBezTo>
                  <a:cubicBezTo>
                    <a:pt x="5161" y="0"/>
                    <a:pt x="6644" y="1483"/>
                    <a:pt x="6644" y="3322"/>
                  </a:cubicBez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707" name="Gráfico 15">
            <a:extLst>
              <a:ext uri="{FF2B5EF4-FFF2-40B4-BE49-F238E27FC236}">
                <a16:creationId xmlns:a16="http://schemas.microsoft.com/office/drawing/2014/main" id="{7E1D4C52-17B3-B583-6E00-ABB2C3FC5FAE}"/>
              </a:ext>
            </a:extLst>
          </p:cNvPr>
          <p:cNvGrpSpPr/>
          <p:nvPr/>
        </p:nvGrpSpPr>
        <p:grpSpPr>
          <a:xfrm>
            <a:off x="4406721" y="5762309"/>
            <a:ext cx="300272" cy="320359"/>
            <a:chOff x="4406721" y="5762309"/>
            <a:chExt cx="300272" cy="320359"/>
          </a:xfrm>
          <a:noFill/>
        </p:grpSpPr>
        <p:sp>
          <p:nvSpPr>
            <p:cNvPr id="1708" name="Forma livre: Forma 1707">
              <a:extLst>
                <a:ext uri="{FF2B5EF4-FFF2-40B4-BE49-F238E27FC236}">
                  <a16:creationId xmlns:a16="http://schemas.microsoft.com/office/drawing/2014/main" id="{214E07CC-542F-ACBE-B68B-B3DC5719CC3D}"/>
                </a:ext>
              </a:extLst>
            </p:cNvPr>
            <p:cNvSpPr/>
            <p:nvPr/>
          </p:nvSpPr>
          <p:spPr>
            <a:xfrm>
              <a:off x="4406721" y="5874703"/>
              <a:ext cx="228039" cy="153683"/>
            </a:xfrm>
            <a:custGeom>
              <a:avLst/>
              <a:gdLst>
                <a:gd name="connsiteX0" fmla="*/ 79636 w 228039"/>
                <a:gd name="connsiteY0" fmla="*/ 0 h 153683"/>
                <a:gd name="connsiteX1" fmla="*/ 215262 w 228039"/>
                <a:gd name="connsiteY1" fmla="*/ 0 h 153683"/>
                <a:gd name="connsiteX2" fmla="*/ 228040 w 228039"/>
                <a:gd name="connsiteY2" fmla="*/ 153684 h 153683"/>
                <a:gd name="connsiteX3" fmla="*/ 0 w 228039"/>
                <a:gd name="connsiteY3" fmla="*/ 153684 h 153683"/>
                <a:gd name="connsiteX4" fmla="*/ 12778 w 228039"/>
                <a:gd name="connsiteY4" fmla="*/ 0 h 153683"/>
                <a:gd name="connsiteX5" fmla="*/ 53237 w 228039"/>
                <a:gd name="connsiteY5" fmla="*/ 0 h 1536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28039" h="153683">
                  <a:moveTo>
                    <a:pt x="79636" y="0"/>
                  </a:moveTo>
                  <a:lnTo>
                    <a:pt x="215262" y="0"/>
                  </a:lnTo>
                  <a:lnTo>
                    <a:pt x="228040" y="153684"/>
                  </a:lnTo>
                  <a:lnTo>
                    <a:pt x="0" y="153684"/>
                  </a:lnTo>
                  <a:lnTo>
                    <a:pt x="12778" y="0"/>
                  </a:lnTo>
                  <a:lnTo>
                    <a:pt x="53237" y="0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709" name="Gráfico 15">
              <a:extLst>
                <a:ext uri="{FF2B5EF4-FFF2-40B4-BE49-F238E27FC236}">
                  <a16:creationId xmlns:a16="http://schemas.microsoft.com/office/drawing/2014/main" id="{BE06CFD7-F85F-8DEF-B22B-7C7239DC5B78}"/>
                </a:ext>
              </a:extLst>
            </p:cNvPr>
            <p:cNvGrpSpPr/>
            <p:nvPr/>
          </p:nvGrpSpPr>
          <p:grpSpPr>
            <a:xfrm>
              <a:off x="4498815" y="6028375"/>
              <a:ext cx="43852" cy="53450"/>
              <a:chOff x="4498815" y="6028375"/>
              <a:chExt cx="43852" cy="53450"/>
            </a:xfrm>
          </p:grpSpPr>
          <p:sp>
            <p:nvSpPr>
              <p:cNvPr id="1710" name="Forma livre: Forma 1709">
                <a:extLst>
                  <a:ext uri="{FF2B5EF4-FFF2-40B4-BE49-F238E27FC236}">
                    <a16:creationId xmlns:a16="http://schemas.microsoft.com/office/drawing/2014/main" id="{10B424D1-5EFD-8C62-93DE-CFC9D970E894}"/>
                  </a:ext>
                </a:extLst>
              </p:cNvPr>
              <p:cNvSpPr/>
              <p:nvPr/>
            </p:nvSpPr>
            <p:spPr>
              <a:xfrm>
                <a:off x="4498815" y="6047098"/>
                <a:ext cx="1186" cy="34728"/>
              </a:xfrm>
              <a:custGeom>
                <a:avLst/>
                <a:gdLst>
                  <a:gd name="connsiteX0" fmla="*/ 0 w 1186"/>
                  <a:gd name="connsiteY0" fmla="*/ 0 h 34728"/>
                  <a:gd name="connsiteX1" fmla="*/ 0 w 1186"/>
                  <a:gd name="connsiteY1" fmla="*/ 34728 h 347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86" h="34728">
                    <a:moveTo>
                      <a:pt x="0" y="0"/>
                    </a:moveTo>
                    <a:lnTo>
                      <a:pt x="0" y="34728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711" name="Forma livre: Forma 1710">
                <a:extLst>
                  <a:ext uri="{FF2B5EF4-FFF2-40B4-BE49-F238E27FC236}">
                    <a16:creationId xmlns:a16="http://schemas.microsoft.com/office/drawing/2014/main" id="{3D404CA8-E3FF-0820-BE0F-1856C00F484A}"/>
                  </a:ext>
                </a:extLst>
              </p:cNvPr>
              <p:cNvSpPr/>
              <p:nvPr/>
            </p:nvSpPr>
            <p:spPr>
              <a:xfrm>
                <a:off x="4542667" y="6028375"/>
                <a:ext cx="1186" cy="53450"/>
              </a:xfrm>
              <a:custGeom>
                <a:avLst/>
                <a:gdLst>
                  <a:gd name="connsiteX0" fmla="*/ 0 w 1186"/>
                  <a:gd name="connsiteY0" fmla="*/ 0 h 53450"/>
                  <a:gd name="connsiteX1" fmla="*/ 0 w 1186"/>
                  <a:gd name="connsiteY1" fmla="*/ 53451 h 534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86" h="53450">
                    <a:moveTo>
                      <a:pt x="0" y="0"/>
                    </a:moveTo>
                    <a:lnTo>
                      <a:pt x="0" y="53451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712" name="Forma livre: Forma 1711">
              <a:extLst>
                <a:ext uri="{FF2B5EF4-FFF2-40B4-BE49-F238E27FC236}">
                  <a16:creationId xmlns:a16="http://schemas.microsoft.com/office/drawing/2014/main" id="{BE129088-88DC-4F92-EC5E-20CF2810AD74}"/>
                </a:ext>
              </a:extLst>
            </p:cNvPr>
            <p:cNvSpPr/>
            <p:nvPr/>
          </p:nvSpPr>
          <p:spPr>
            <a:xfrm>
              <a:off x="4465819" y="6082668"/>
              <a:ext cx="109843" cy="1186"/>
            </a:xfrm>
            <a:custGeom>
              <a:avLst/>
              <a:gdLst>
                <a:gd name="connsiteX0" fmla="*/ 109844 w 109843"/>
                <a:gd name="connsiteY0" fmla="*/ 0 h 1186"/>
                <a:gd name="connsiteX1" fmla="*/ 0 w 109843"/>
                <a:gd name="connsiteY1" fmla="*/ 0 h 11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9843" h="1186">
                  <a:moveTo>
                    <a:pt x="109844" y="0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13" name="Forma livre: Forma 1712">
              <a:extLst>
                <a:ext uri="{FF2B5EF4-FFF2-40B4-BE49-F238E27FC236}">
                  <a16:creationId xmlns:a16="http://schemas.microsoft.com/office/drawing/2014/main" id="{00D1BC86-CE2B-5EF1-B350-7F2A21733986}"/>
                </a:ext>
              </a:extLst>
            </p:cNvPr>
            <p:cNvSpPr/>
            <p:nvPr/>
          </p:nvSpPr>
          <p:spPr>
            <a:xfrm>
              <a:off x="4443608" y="5907913"/>
              <a:ext cx="154277" cy="87276"/>
            </a:xfrm>
            <a:custGeom>
              <a:avLst/>
              <a:gdLst>
                <a:gd name="connsiteX0" fmla="*/ 0 w 154277"/>
                <a:gd name="connsiteY0" fmla="*/ 87277 h 87276"/>
                <a:gd name="connsiteX1" fmla="*/ 7048 w 154277"/>
                <a:gd name="connsiteY1" fmla="*/ 0 h 87276"/>
                <a:gd name="connsiteX2" fmla="*/ 147218 w 154277"/>
                <a:gd name="connsiteY2" fmla="*/ 0 h 87276"/>
                <a:gd name="connsiteX3" fmla="*/ 154277 w 154277"/>
                <a:gd name="connsiteY3" fmla="*/ 87277 h 87276"/>
                <a:gd name="connsiteX4" fmla="*/ 0 w 154277"/>
                <a:gd name="connsiteY4" fmla="*/ 87277 h 872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4277" h="87276">
                  <a:moveTo>
                    <a:pt x="0" y="87277"/>
                  </a:moveTo>
                  <a:lnTo>
                    <a:pt x="7048" y="0"/>
                  </a:lnTo>
                  <a:lnTo>
                    <a:pt x="147218" y="0"/>
                  </a:lnTo>
                  <a:lnTo>
                    <a:pt x="154277" y="87277"/>
                  </a:lnTo>
                  <a:lnTo>
                    <a:pt x="0" y="87277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14" name="Forma livre: Forma 1713">
              <a:extLst>
                <a:ext uri="{FF2B5EF4-FFF2-40B4-BE49-F238E27FC236}">
                  <a16:creationId xmlns:a16="http://schemas.microsoft.com/office/drawing/2014/main" id="{5ABD6677-1C53-F696-1208-55A2C5666178}"/>
                </a:ext>
              </a:extLst>
            </p:cNvPr>
            <p:cNvSpPr/>
            <p:nvPr/>
          </p:nvSpPr>
          <p:spPr>
            <a:xfrm>
              <a:off x="4522058" y="5951385"/>
              <a:ext cx="72101" cy="1186"/>
            </a:xfrm>
            <a:custGeom>
              <a:avLst/>
              <a:gdLst>
                <a:gd name="connsiteX0" fmla="*/ 0 w 72101"/>
                <a:gd name="connsiteY0" fmla="*/ 0 h 1186"/>
                <a:gd name="connsiteX1" fmla="*/ 72102 w 72101"/>
                <a:gd name="connsiteY1" fmla="*/ 0 h 11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2101" h="1186">
                  <a:moveTo>
                    <a:pt x="0" y="0"/>
                  </a:moveTo>
                  <a:lnTo>
                    <a:pt x="72102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15" name="Forma livre: Forma 1714">
              <a:extLst>
                <a:ext uri="{FF2B5EF4-FFF2-40B4-BE49-F238E27FC236}">
                  <a16:creationId xmlns:a16="http://schemas.microsoft.com/office/drawing/2014/main" id="{00E1AA34-7018-DBD4-FD1C-0FD4273CB350}"/>
                </a:ext>
              </a:extLst>
            </p:cNvPr>
            <p:cNvSpPr/>
            <p:nvPr/>
          </p:nvSpPr>
          <p:spPr>
            <a:xfrm>
              <a:off x="4447334" y="5951385"/>
              <a:ext cx="54909" cy="1186"/>
            </a:xfrm>
            <a:custGeom>
              <a:avLst/>
              <a:gdLst>
                <a:gd name="connsiteX0" fmla="*/ 0 w 54909"/>
                <a:gd name="connsiteY0" fmla="*/ 0 h 1186"/>
                <a:gd name="connsiteX1" fmla="*/ 54910 w 54909"/>
                <a:gd name="connsiteY1" fmla="*/ 0 h 11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4909" h="1186">
                  <a:moveTo>
                    <a:pt x="0" y="0"/>
                  </a:moveTo>
                  <a:lnTo>
                    <a:pt x="5491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16" name="Forma livre: Forma 1715">
              <a:extLst>
                <a:ext uri="{FF2B5EF4-FFF2-40B4-BE49-F238E27FC236}">
                  <a16:creationId xmlns:a16="http://schemas.microsoft.com/office/drawing/2014/main" id="{EEDB97B7-4559-30C6-B00B-09EDEDFB9DA4}"/>
                </a:ext>
              </a:extLst>
            </p:cNvPr>
            <p:cNvSpPr/>
            <p:nvPr/>
          </p:nvSpPr>
          <p:spPr>
            <a:xfrm>
              <a:off x="4520741" y="5907889"/>
              <a:ext cx="1186" cy="86636"/>
            </a:xfrm>
            <a:custGeom>
              <a:avLst/>
              <a:gdLst>
                <a:gd name="connsiteX0" fmla="*/ 0 w 1186"/>
                <a:gd name="connsiteY0" fmla="*/ 0 h 86636"/>
                <a:gd name="connsiteX1" fmla="*/ 0 w 1186"/>
                <a:gd name="connsiteY1" fmla="*/ 86636 h 866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86" h="86636">
                  <a:moveTo>
                    <a:pt x="0" y="0"/>
                  </a:moveTo>
                  <a:lnTo>
                    <a:pt x="0" y="86636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717" name="Gráfico 15">
              <a:extLst>
                <a:ext uri="{FF2B5EF4-FFF2-40B4-BE49-F238E27FC236}">
                  <a16:creationId xmlns:a16="http://schemas.microsoft.com/office/drawing/2014/main" id="{D72F44BC-5B56-E5D6-CFD3-F69166C0FF2C}"/>
                </a:ext>
              </a:extLst>
            </p:cNvPr>
            <p:cNvGrpSpPr/>
            <p:nvPr/>
          </p:nvGrpSpPr>
          <p:grpSpPr>
            <a:xfrm>
              <a:off x="4540068" y="5762309"/>
              <a:ext cx="166924" cy="150717"/>
              <a:chOff x="4540068" y="5762309"/>
              <a:chExt cx="166924" cy="150717"/>
            </a:xfrm>
          </p:grpSpPr>
          <p:grpSp>
            <p:nvGrpSpPr>
              <p:cNvPr id="1718" name="Gráfico 15">
                <a:extLst>
                  <a:ext uri="{FF2B5EF4-FFF2-40B4-BE49-F238E27FC236}">
                    <a16:creationId xmlns:a16="http://schemas.microsoft.com/office/drawing/2014/main" id="{80910D1A-07C8-A030-851D-E5C41DDA1259}"/>
                  </a:ext>
                </a:extLst>
              </p:cNvPr>
              <p:cNvGrpSpPr/>
              <p:nvPr/>
            </p:nvGrpSpPr>
            <p:grpSpPr>
              <a:xfrm>
                <a:off x="4540068" y="5834126"/>
                <a:ext cx="166924" cy="23290"/>
                <a:chOff x="4540068" y="5834126"/>
                <a:chExt cx="166924" cy="23290"/>
              </a:xfrm>
            </p:grpSpPr>
            <p:sp>
              <p:nvSpPr>
                <p:cNvPr id="1719" name="Forma livre: Forma 1718">
                  <a:extLst>
                    <a:ext uri="{FF2B5EF4-FFF2-40B4-BE49-F238E27FC236}">
                      <a16:creationId xmlns:a16="http://schemas.microsoft.com/office/drawing/2014/main" id="{A8B29D3E-08F8-2452-75ED-648549A43C59}"/>
                    </a:ext>
                  </a:extLst>
                </p:cNvPr>
                <p:cNvSpPr/>
                <p:nvPr/>
              </p:nvSpPr>
              <p:spPr>
                <a:xfrm>
                  <a:off x="4686313" y="5854533"/>
                  <a:ext cx="20680" cy="2883"/>
                </a:xfrm>
                <a:custGeom>
                  <a:avLst/>
                  <a:gdLst>
                    <a:gd name="connsiteX0" fmla="*/ 0 w 20680"/>
                    <a:gd name="connsiteY0" fmla="*/ 0 h 2883"/>
                    <a:gd name="connsiteX1" fmla="*/ 20680 w 20680"/>
                    <a:gd name="connsiteY1" fmla="*/ 2883 h 288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0680" h="2883">
                      <a:moveTo>
                        <a:pt x="0" y="0"/>
                      </a:moveTo>
                      <a:lnTo>
                        <a:pt x="20680" y="2883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720" name="Forma livre: Forma 1719">
                  <a:extLst>
                    <a:ext uri="{FF2B5EF4-FFF2-40B4-BE49-F238E27FC236}">
                      <a16:creationId xmlns:a16="http://schemas.microsoft.com/office/drawing/2014/main" id="{6C441590-B818-02CF-8E37-B631AB53C8B0}"/>
                    </a:ext>
                  </a:extLst>
                </p:cNvPr>
                <p:cNvSpPr/>
                <p:nvPr/>
              </p:nvSpPr>
              <p:spPr>
                <a:xfrm>
                  <a:off x="4540068" y="5834126"/>
                  <a:ext cx="20668" cy="2894"/>
                </a:xfrm>
                <a:custGeom>
                  <a:avLst/>
                  <a:gdLst>
                    <a:gd name="connsiteX0" fmla="*/ 0 w 20668"/>
                    <a:gd name="connsiteY0" fmla="*/ 0 h 2894"/>
                    <a:gd name="connsiteX1" fmla="*/ 20668 w 20668"/>
                    <a:gd name="connsiteY1" fmla="*/ 2895 h 289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0668" h="2894">
                      <a:moveTo>
                        <a:pt x="0" y="0"/>
                      </a:moveTo>
                      <a:lnTo>
                        <a:pt x="20668" y="2895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1721" name="Gráfico 15">
                <a:extLst>
                  <a:ext uri="{FF2B5EF4-FFF2-40B4-BE49-F238E27FC236}">
                    <a16:creationId xmlns:a16="http://schemas.microsoft.com/office/drawing/2014/main" id="{CDF1A1BD-4DC4-EBAE-0399-DB246F25538C}"/>
                  </a:ext>
                </a:extLst>
              </p:cNvPr>
              <p:cNvGrpSpPr/>
              <p:nvPr/>
            </p:nvGrpSpPr>
            <p:grpSpPr>
              <a:xfrm>
                <a:off x="4572732" y="5778528"/>
                <a:ext cx="101573" cy="134498"/>
                <a:chOff x="4572732" y="5778528"/>
                <a:chExt cx="101573" cy="134498"/>
              </a:xfrm>
            </p:grpSpPr>
            <p:sp>
              <p:nvSpPr>
                <p:cNvPr id="1722" name="Forma livre: Forma 1721">
                  <a:extLst>
                    <a:ext uri="{FF2B5EF4-FFF2-40B4-BE49-F238E27FC236}">
                      <a16:creationId xmlns:a16="http://schemas.microsoft.com/office/drawing/2014/main" id="{61AFD344-28B5-17A4-1151-CFE893E93344}"/>
                    </a:ext>
                  </a:extLst>
                </p:cNvPr>
                <p:cNvSpPr/>
                <p:nvPr/>
              </p:nvSpPr>
              <p:spPr>
                <a:xfrm>
                  <a:off x="4661729" y="5896368"/>
                  <a:ext cx="12576" cy="16658"/>
                </a:xfrm>
                <a:custGeom>
                  <a:avLst/>
                  <a:gdLst>
                    <a:gd name="connsiteX0" fmla="*/ 0 w 12576"/>
                    <a:gd name="connsiteY0" fmla="*/ 0 h 16658"/>
                    <a:gd name="connsiteX1" fmla="*/ 12577 w 12576"/>
                    <a:gd name="connsiteY1" fmla="*/ 16658 h 1665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2576" h="16658">
                      <a:moveTo>
                        <a:pt x="0" y="0"/>
                      </a:moveTo>
                      <a:lnTo>
                        <a:pt x="12577" y="16658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723" name="Forma livre: Forma 1722">
                  <a:extLst>
                    <a:ext uri="{FF2B5EF4-FFF2-40B4-BE49-F238E27FC236}">
                      <a16:creationId xmlns:a16="http://schemas.microsoft.com/office/drawing/2014/main" id="{E068BFD0-AAB5-3F0B-3BE5-F4BD4C8EBE30}"/>
                    </a:ext>
                  </a:extLst>
                </p:cNvPr>
                <p:cNvSpPr/>
                <p:nvPr/>
              </p:nvSpPr>
              <p:spPr>
                <a:xfrm>
                  <a:off x="4572732" y="5778528"/>
                  <a:ext cx="12588" cy="16658"/>
                </a:xfrm>
                <a:custGeom>
                  <a:avLst/>
                  <a:gdLst>
                    <a:gd name="connsiteX0" fmla="*/ 0 w 12588"/>
                    <a:gd name="connsiteY0" fmla="*/ 0 h 16658"/>
                    <a:gd name="connsiteX1" fmla="*/ 12588 w 12588"/>
                    <a:gd name="connsiteY1" fmla="*/ 16658 h 1665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2588" h="16658">
                      <a:moveTo>
                        <a:pt x="0" y="0"/>
                      </a:moveTo>
                      <a:lnTo>
                        <a:pt x="12588" y="16658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1724" name="Forma livre: Forma 1723">
                <a:extLst>
                  <a:ext uri="{FF2B5EF4-FFF2-40B4-BE49-F238E27FC236}">
                    <a16:creationId xmlns:a16="http://schemas.microsoft.com/office/drawing/2014/main" id="{246053D1-453C-A2A0-4FDD-782E98B47A78}"/>
                  </a:ext>
                </a:extLst>
              </p:cNvPr>
              <p:cNvSpPr/>
              <p:nvPr/>
            </p:nvSpPr>
            <p:spPr>
              <a:xfrm>
                <a:off x="4632281" y="5762309"/>
                <a:ext cx="2883" cy="20680"/>
              </a:xfrm>
              <a:custGeom>
                <a:avLst/>
                <a:gdLst>
                  <a:gd name="connsiteX0" fmla="*/ 2883 w 2883"/>
                  <a:gd name="connsiteY0" fmla="*/ 0 h 20680"/>
                  <a:gd name="connsiteX1" fmla="*/ 0 w 2883"/>
                  <a:gd name="connsiteY1" fmla="*/ 20680 h 206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883" h="20680">
                    <a:moveTo>
                      <a:pt x="2883" y="0"/>
                    </a:moveTo>
                    <a:lnTo>
                      <a:pt x="0" y="2068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725" name="Forma livre: Forma 1724">
                <a:extLst>
                  <a:ext uri="{FF2B5EF4-FFF2-40B4-BE49-F238E27FC236}">
                    <a16:creationId xmlns:a16="http://schemas.microsoft.com/office/drawing/2014/main" id="{B7FA34D6-9309-942C-BC0D-F559FFBF5672}"/>
                  </a:ext>
                </a:extLst>
              </p:cNvPr>
              <p:cNvSpPr/>
              <p:nvPr/>
            </p:nvSpPr>
            <p:spPr>
              <a:xfrm>
                <a:off x="4674128" y="5794996"/>
                <a:ext cx="16658" cy="12564"/>
              </a:xfrm>
              <a:custGeom>
                <a:avLst/>
                <a:gdLst>
                  <a:gd name="connsiteX0" fmla="*/ 16658 w 16658"/>
                  <a:gd name="connsiteY0" fmla="*/ 0 h 12564"/>
                  <a:gd name="connsiteX1" fmla="*/ 0 w 16658"/>
                  <a:gd name="connsiteY1" fmla="*/ 12565 h 125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6658" h="12564">
                    <a:moveTo>
                      <a:pt x="16658" y="0"/>
                    </a:moveTo>
                    <a:lnTo>
                      <a:pt x="0" y="12565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726" name="Forma livre: Forma 1725">
              <a:extLst>
                <a:ext uri="{FF2B5EF4-FFF2-40B4-BE49-F238E27FC236}">
                  <a16:creationId xmlns:a16="http://schemas.microsoft.com/office/drawing/2014/main" id="{0F411121-9EE9-FDEF-878C-5196F9791389}"/>
                </a:ext>
              </a:extLst>
            </p:cNvPr>
            <p:cNvSpPr/>
            <p:nvPr/>
          </p:nvSpPr>
          <p:spPr>
            <a:xfrm>
              <a:off x="4584715" y="5807051"/>
              <a:ext cx="77713" cy="71864"/>
            </a:xfrm>
            <a:custGeom>
              <a:avLst/>
              <a:gdLst>
                <a:gd name="connsiteX0" fmla="*/ 558 w 77713"/>
                <a:gd name="connsiteY0" fmla="*/ 45383 h 71864"/>
                <a:gd name="connsiteX1" fmla="*/ 0 w 77713"/>
                <a:gd name="connsiteY1" fmla="*/ 38857 h 71864"/>
                <a:gd name="connsiteX2" fmla="*/ 38857 w 77713"/>
                <a:gd name="connsiteY2" fmla="*/ 0 h 71864"/>
                <a:gd name="connsiteX3" fmla="*/ 77714 w 77713"/>
                <a:gd name="connsiteY3" fmla="*/ 38857 h 71864"/>
                <a:gd name="connsiteX4" fmla="*/ 59383 w 77713"/>
                <a:gd name="connsiteY4" fmla="*/ 71865 h 718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7713" h="71864">
                  <a:moveTo>
                    <a:pt x="558" y="45383"/>
                  </a:moveTo>
                  <a:cubicBezTo>
                    <a:pt x="202" y="43259"/>
                    <a:pt x="0" y="41088"/>
                    <a:pt x="0" y="38857"/>
                  </a:cubicBezTo>
                  <a:cubicBezTo>
                    <a:pt x="0" y="17394"/>
                    <a:pt x="17394" y="0"/>
                    <a:pt x="38857" y="0"/>
                  </a:cubicBezTo>
                  <a:cubicBezTo>
                    <a:pt x="60320" y="0"/>
                    <a:pt x="77714" y="17394"/>
                    <a:pt x="77714" y="38857"/>
                  </a:cubicBezTo>
                  <a:cubicBezTo>
                    <a:pt x="77714" y="52786"/>
                    <a:pt x="70393" y="64995"/>
                    <a:pt x="59383" y="71865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727" name="Gráfico 15">
            <a:extLst>
              <a:ext uri="{FF2B5EF4-FFF2-40B4-BE49-F238E27FC236}">
                <a16:creationId xmlns:a16="http://schemas.microsoft.com/office/drawing/2014/main" id="{413E217D-4BDE-CDAB-E27A-F01DCF198568}"/>
              </a:ext>
            </a:extLst>
          </p:cNvPr>
          <p:cNvGrpSpPr/>
          <p:nvPr/>
        </p:nvGrpSpPr>
        <p:grpSpPr>
          <a:xfrm>
            <a:off x="4980878" y="5830211"/>
            <a:ext cx="351622" cy="221550"/>
            <a:chOff x="4980878" y="5830211"/>
            <a:chExt cx="351622" cy="221550"/>
          </a:xfrm>
          <a:noFill/>
        </p:grpSpPr>
        <p:sp>
          <p:nvSpPr>
            <p:cNvPr id="1728" name="Forma livre: Forma 1727">
              <a:extLst>
                <a:ext uri="{FF2B5EF4-FFF2-40B4-BE49-F238E27FC236}">
                  <a16:creationId xmlns:a16="http://schemas.microsoft.com/office/drawing/2014/main" id="{74E0318C-2497-C1F4-7CDD-38B047F01293}"/>
                </a:ext>
              </a:extLst>
            </p:cNvPr>
            <p:cNvSpPr/>
            <p:nvPr/>
          </p:nvSpPr>
          <p:spPr>
            <a:xfrm>
              <a:off x="4980878" y="5922791"/>
              <a:ext cx="35451" cy="1186"/>
            </a:xfrm>
            <a:custGeom>
              <a:avLst/>
              <a:gdLst>
                <a:gd name="connsiteX0" fmla="*/ 35452 w 35451"/>
                <a:gd name="connsiteY0" fmla="*/ 0 h 1186"/>
                <a:gd name="connsiteX1" fmla="*/ 0 w 35451"/>
                <a:gd name="connsiteY1" fmla="*/ 0 h 11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5451" h="1186">
                  <a:moveTo>
                    <a:pt x="35452" y="0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29" name="Forma livre: Forma 1728">
              <a:extLst>
                <a:ext uri="{FF2B5EF4-FFF2-40B4-BE49-F238E27FC236}">
                  <a16:creationId xmlns:a16="http://schemas.microsoft.com/office/drawing/2014/main" id="{DA981732-41EB-89CA-A540-0D61986DFB35}"/>
                </a:ext>
              </a:extLst>
            </p:cNvPr>
            <p:cNvSpPr/>
            <p:nvPr/>
          </p:nvSpPr>
          <p:spPr>
            <a:xfrm>
              <a:off x="5053870" y="5841470"/>
              <a:ext cx="278631" cy="81320"/>
            </a:xfrm>
            <a:custGeom>
              <a:avLst/>
              <a:gdLst>
                <a:gd name="connsiteX0" fmla="*/ 197322 w 278631"/>
                <a:gd name="connsiteY0" fmla="*/ 40660 h 81320"/>
                <a:gd name="connsiteX1" fmla="*/ 237983 w 278631"/>
                <a:gd name="connsiteY1" fmla="*/ 0 h 81320"/>
                <a:gd name="connsiteX2" fmla="*/ 278631 w 278631"/>
                <a:gd name="connsiteY2" fmla="*/ 40660 h 81320"/>
                <a:gd name="connsiteX3" fmla="*/ 237983 w 278631"/>
                <a:gd name="connsiteY3" fmla="*/ 81321 h 81320"/>
                <a:gd name="connsiteX4" fmla="*/ 0 w 278631"/>
                <a:gd name="connsiteY4" fmla="*/ 81321 h 813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78631" h="81320">
                  <a:moveTo>
                    <a:pt x="197322" y="40660"/>
                  </a:moveTo>
                  <a:cubicBezTo>
                    <a:pt x="197322" y="18212"/>
                    <a:pt x="215523" y="0"/>
                    <a:pt x="237983" y="0"/>
                  </a:cubicBezTo>
                  <a:cubicBezTo>
                    <a:pt x="260443" y="0"/>
                    <a:pt x="278631" y="18200"/>
                    <a:pt x="278631" y="40660"/>
                  </a:cubicBezTo>
                  <a:cubicBezTo>
                    <a:pt x="278631" y="63120"/>
                    <a:pt x="260431" y="81321"/>
                    <a:pt x="237983" y="81321"/>
                  </a:cubicBezTo>
                  <a:lnTo>
                    <a:pt x="0" y="81321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30" name="Forma livre: Forma 1729">
              <a:extLst>
                <a:ext uri="{FF2B5EF4-FFF2-40B4-BE49-F238E27FC236}">
                  <a16:creationId xmlns:a16="http://schemas.microsoft.com/office/drawing/2014/main" id="{55B3B040-662C-6027-03D5-BEF85EEB6D45}"/>
                </a:ext>
              </a:extLst>
            </p:cNvPr>
            <p:cNvSpPr/>
            <p:nvPr/>
          </p:nvSpPr>
          <p:spPr>
            <a:xfrm>
              <a:off x="4980878" y="5963451"/>
              <a:ext cx="64876" cy="1186"/>
            </a:xfrm>
            <a:custGeom>
              <a:avLst/>
              <a:gdLst>
                <a:gd name="connsiteX0" fmla="*/ 64876 w 64876"/>
                <a:gd name="connsiteY0" fmla="*/ 0 h 1186"/>
                <a:gd name="connsiteX1" fmla="*/ 0 w 64876"/>
                <a:gd name="connsiteY1" fmla="*/ 0 h 11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4876" h="1186">
                  <a:moveTo>
                    <a:pt x="64876" y="0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31" name="Forma livre: Forma 1730">
              <a:extLst>
                <a:ext uri="{FF2B5EF4-FFF2-40B4-BE49-F238E27FC236}">
                  <a16:creationId xmlns:a16="http://schemas.microsoft.com/office/drawing/2014/main" id="{F6E55126-D365-1612-E933-97817BD0A2BC}"/>
                </a:ext>
              </a:extLst>
            </p:cNvPr>
            <p:cNvSpPr/>
            <p:nvPr/>
          </p:nvSpPr>
          <p:spPr>
            <a:xfrm>
              <a:off x="5088871" y="5963451"/>
              <a:ext cx="181945" cy="75708"/>
            </a:xfrm>
            <a:custGeom>
              <a:avLst/>
              <a:gdLst>
                <a:gd name="connsiteX0" fmla="*/ 106249 w 181945"/>
                <a:gd name="connsiteY0" fmla="*/ 37849 h 75708"/>
                <a:gd name="connsiteX1" fmla="*/ 144097 w 181945"/>
                <a:gd name="connsiteY1" fmla="*/ 75709 h 75708"/>
                <a:gd name="connsiteX2" fmla="*/ 181946 w 181945"/>
                <a:gd name="connsiteY2" fmla="*/ 37849 h 75708"/>
                <a:gd name="connsiteX3" fmla="*/ 144097 w 181945"/>
                <a:gd name="connsiteY3" fmla="*/ 0 h 75708"/>
                <a:gd name="connsiteX4" fmla="*/ 0 w 181945"/>
                <a:gd name="connsiteY4" fmla="*/ 0 h 757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1945" h="75708">
                  <a:moveTo>
                    <a:pt x="106249" y="37849"/>
                  </a:moveTo>
                  <a:cubicBezTo>
                    <a:pt x="106249" y="58754"/>
                    <a:pt x="123191" y="75709"/>
                    <a:pt x="144097" y="75709"/>
                  </a:cubicBezTo>
                  <a:cubicBezTo>
                    <a:pt x="165003" y="75709"/>
                    <a:pt x="181946" y="58766"/>
                    <a:pt x="181946" y="37849"/>
                  </a:cubicBezTo>
                  <a:cubicBezTo>
                    <a:pt x="181946" y="16931"/>
                    <a:pt x="165015" y="0"/>
                    <a:pt x="144097" y="0"/>
                  </a:cubicBezTo>
                  <a:lnTo>
                    <a:pt x="0" y="0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32" name="Forma livre: Forma 1731">
              <a:extLst>
                <a:ext uri="{FF2B5EF4-FFF2-40B4-BE49-F238E27FC236}">
                  <a16:creationId xmlns:a16="http://schemas.microsoft.com/office/drawing/2014/main" id="{A60A1C77-DAA0-9ADD-D380-822B76238828}"/>
                </a:ext>
              </a:extLst>
            </p:cNvPr>
            <p:cNvSpPr/>
            <p:nvPr/>
          </p:nvSpPr>
          <p:spPr>
            <a:xfrm>
              <a:off x="5022120" y="6004088"/>
              <a:ext cx="121352" cy="47672"/>
            </a:xfrm>
            <a:custGeom>
              <a:avLst/>
              <a:gdLst>
                <a:gd name="connsiteX0" fmla="*/ 73692 w 121352"/>
                <a:gd name="connsiteY0" fmla="*/ 23836 h 47672"/>
                <a:gd name="connsiteX1" fmla="*/ 97528 w 121352"/>
                <a:gd name="connsiteY1" fmla="*/ 47673 h 47672"/>
                <a:gd name="connsiteX2" fmla="*/ 121352 w 121352"/>
                <a:gd name="connsiteY2" fmla="*/ 23836 h 47672"/>
                <a:gd name="connsiteX3" fmla="*/ 97528 w 121352"/>
                <a:gd name="connsiteY3" fmla="*/ 0 h 47672"/>
                <a:gd name="connsiteX4" fmla="*/ 0 w 121352"/>
                <a:gd name="connsiteY4" fmla="*/ 0 h 476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1352" h="47672">
                  <a:moveTo>
                    <a:pt x="73692" y="23836"/>
                  </a:moveTo>
                  <a:cubicBezTo>
                    <a:pt x="73692" y="36994"/>
                    <a:pt x="84346" y="47673"/>
                    <a:pt x="97528" y="47673"/>
                  </a:cubicBezTo>
                  <a:cubicBezTo>
                    <a:pt x="110710" y="47673"/>
                    <a:pt x="121352" y="37006"/>
                    <a:pt x="121352" y="23836"/>
                  </a:cubicBezTo>
                  <a:cubicBezTo>
                    <a:pt x="121352" y="10666"/>
                    <a:pt x="110698" y="0"/>
                    <a:pt x="97528" y="0"/>
                  </a:cubicBezTo>
                  <a:lnTo>
                    <a:pt x="0" y="0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33" name="Forma livre: Forma 1732">
              <a:extLst>
                <a:ext uri="{FF2B5EF4-FFF2-40B4-BE49-F238E27FC236}">
                  <a16:creationId xmlns:a16="http://schemas.microsoft.com/office/drawing/2014/main" id="{42B90F5F-87F5-D2F8-8D9D-EAD87A54EC84}"/>
                </a:ext>
              </a:extLst>
            </p:cNvPr>
            <p:cNvSpPr/>
            <p:nvPr/>
          </p:nvSpPr>
          <p:spPr>
            <a:xfrm>
              <a:off x="5022108" y="5830211"/>
              <a:ext cx="178825" cy="51920"/>
            </a:xfrm>
            <a:custGeom>
              <a:avLst/>
              <a:gdLst>
                <a:gd name="connsiteX0" fmla="*/ 126905 w 178825"/>
                <a:gd name="connsiteY0" fmla="*/ 25960 h 51920"/>
                <a:gd name="connsiteX1" fmla="*/ 152865 w 178825"/>
                <a:gd name="connsiteY1" fmla="*/ 0 h 51920"/>
                <a:gd name="connsiteX2" fmla="*/ 178825 w 178825"/>
                <a:gd name="connsiteY2" fmla="*/ 25960 h 51920"/>
                <a:gd name="connsiteX3" fmla="*/ 152865 w 178825"/>
                <a:gd name="connsiteY3" fmla="*/ 51920 h 51920"/>
                <a:gd name="connsiteX4" fmla="*/ 0 w 178825"/>
                <a:gd name="connsiteY4" fmla="*/ 51920 h 519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8825" h="51920">
                  <a:moveTo>
                    <a:pt x="126905" y="25960"/>
                  </a:moveTo>
                  <a:cubicBezTo>
                    <a:pt x="126905" y="11627"/>
                    <a:pt x="138533" y="0"/>
                    <a:pt x="152865" y="0"/>
                  </a:cubicBezTo>
                  <a:cubicBezTo>
                    <a:pt x="167198" y="0"/>
                    <a:pt x="178825" y="11627"/>
                    <a:pt x="178825" y="25960"/>
                  </a:cubicBezTo>
                  <a:cubicBezTo>
                    <a:pt x="178825" y="40293"/>
                    <a:pt x="167198" y="51920"/>
                    <a:pt x="152865" y="51920"/>
                  </a:cubicBezTo>
                  <a:lnTo>
                    <a:pt x="0" y="51920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734" name="Gráfico 15">
            <a:extLst>
              <a:ext uri="{FF2B5EF4-FFF2-40B4-BE49-F238E27FC236}">
                <a16:creationId xmlns:a16="http://schemas.microsoft.com/office/drawing/2014/main" id="{4348C14F-E640-9E13-95D3-5D7A0678A02A}"/>
              </a:ext>
            </a:extLst>
          </p:cNvPr>
          <p:cNvGrpSpPr/>
          <p:nvPr/>
        </p:nvGrpSpPr>
        <p:grpSpPr>
          <a:xfrm>
            <a:off x="4998818" y="4202009"/>
            <a:ext cx="315732" cy="315416"/>
            <a:chOff x="4998818" y="4202009"/>
            <a:chExt cx="315732" cy="315416"/>
          </a:xfrm>
          <a:noFill/>
        </p:grpSpPr>
        <p:sp>
          <p:nvSpPr>
            <p:cNvPr id="1735" name="Forma livre: Forma 1734">
              <a:extLst>
                <a:ext uri="{FF2B5EF4-FFF2-40B4-BE49-F238E27FC236}">
                  <a16:creationId xmlns:a16="http://schemas.microsoft.com/office/drawing/2014/main" id="{4C77E0DF-8A56-DF77-12B3-6ED52989B5D9}"/>
                </a:ext>
              </a:extLst>
            </p:cNvPr>
            <p:cNvSpPr/>
            <p:nvPr/>
          </p:nvSpPr>
          <p:spPr>
            <a:xfrm>
              <a:off x="5094886" y="4411106"/>
              <a:ext cx="28748" cy="28736"/>
            </a:xfrm>
            <a:custGeom>
              <a:avLst/>
              <a:gdLst>
                <a:gd name="connsiteX0" fmla="*/ 28748 w 28748"/>
                <a:gd name="connsiteY0" fmla="*/ 14368 h 28736"/>
                <a:gd name="connsiteX1" fmla="*/ 14368 w 28748"/>
                <a:gd name="connsiteY1" fmla="*/ 28736 h 28736"/>
                <a:gd name="connsiteX2" fmla="*/ 0 w 28748"/>
                <a:gd name="connsiteY2" fmla="*/ 14368 h 28736"/>
                <a:gd name="connsiteX3" fmla="*/ 14368 w 28748"/>
                <a:gd name="connsiteY3" fmla="*/ 0 h 28736"/>
                <a:gd name="connsiteX4" fmla="*/ 28748 w 28748"/>
                <a:gd name="connsiteY4" fmla="*/ 14368 h 287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8748" h="28736">
                  <a:moveTo>
                    <a:pt x="28748" y="14368"/>
                  </a:moveTo>
                  <a:cubicBezTo>
                    <a:pt x="28748" y="22294"/>
                    <a:pt x="22318" y="28736"/>
                    <a:pt x="14368" y="28736"/>
                  </a:cubicBezTo>
                  <a:cubicBezTo>
                    <a:pt x="6419" y="28736"/>
                    <a:pt x="0" y="22294"/>
                    <a:pt x="0" y="14368"/>
                  </a:cubicBezTo>
                  <a:cubicBezTo>
                    <a:pt x="0" y="6443"/>
                    <a:pt x="6431" y="0"/>
                    <a:pt x="14368" y="0"/>
                  </a:cubicBezTo>
                  <a:cubicBezTo>
                    <a:pt x="22306" y="0"/>
                    <a:pt x="28748" y="6419"/>
                    <a:pt x="28748" y="14368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736" name="Gráfico 15">
              <a:extLst>
                <a:ext uri="{FF2B5EF4-FFF2-40B4-BE49-F238E27FC236}">
                  <a16:creationId xmlns:a16="http://schemas.microsoft.com/office/drawing/2014/main" id="{DDB243C8-DF81-FC3E-06A7-ECC9DF6E5B26}"/>
                </a:ext>
              </a:extLst>
            </p:cNvPr>
            <p:cNvGrpSpPr/>
            <p:nvPr/>
          </p:nvGrpSpPr>
          <p:grpSpPr>
            <a:xfrm>
              <a:off x="5062827" y="4378988"/>
              <a:ext cx="92879" cy="86470"/>
              <a:chOff x="5062827" y="4378988"/>
              <a:chExt cx="92879" cy="86470"/>
            </a:xfrm>
            <a:noFill/>
          </p:grpSpPr>
          <p:sp>
            <p:nvSpPr>
              <p:cNvPr id="1737" name="Forma livre: Forma 1736">
                <a:extLst>
                  <a:ext uri="{FF2B5EF4-FFF2-40B4-BE49-F238E27FC236}">
                    <a16:creationId xmlns:a16="http://schemas.microsoft.com/office/drawing/2014/main" id="{DB9B6C31-ADBC-1CF2-0CB6-8F98FBA8F807}"/>
                  </a:ext>
                </a:extLst>
              </p:cNvPr>
              <p:cNvSpPr/>
              <p:nvPr/>
            </p:nvSpPr>
            <p:spPr>
              <a:xfrm>
                <a:off x="5085703" y="4378988"/>
                <a:ext cx="46924" cy="21819"/>
              </a:xfrm>
              <a:custGeom>
                <a:avLst/>
                <a:gdLst>
                  <a:gd name="connsiteX0" fmla="*/ 9029 w 46924"/>
                  <a:gd name="connsiteY0" fmla="*/ 21819 h 21819"/>
                  <a:gd name="connsiteX1" fmla="*/ 0 w 46924"/>
                  <a:gd name="connsiteY1" fmla="*/ 6383 h 21819"/>
                  <a:gd name="connsiteX2" fmla="*/ 23528 w 46924"/>
                  <a:gd name="connsiteY2" fmla="*/ 0 h 21819"/>
                  <a:gd name="connsiteX3" fmla="*/ 46925 w 46924"/>
                  <a:gd name="connsiteY3" fmla="*/ 6288 h 21819"/>
                  <a:gd name="connsiteX4" fmla="*/ 37955 w 46924"/>
                  <a:gd name="connsiteY4" fmla="*/ 21677 h 218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6924" h="21819">
                    <a:moveTo>
                      <a:pt x="9029" y="21819"/>
                    </a:moveTo>
                    <a:lnTo>
                      <a:pt x="0" y="6383"/>
                    </a:lnTo>
                    <a:cubicBezTo>
                      <a:pt x="6905" y="2314"/>
                      <a:pt x="14950" y="0"/>
                      <a:pt x="23528" y="0"/>
                    </a:cubicBezTo>
                    <a:cubicBezTo>
                      <a:pt x="32106" y="0"/>
                      <a:pt x="40055" y="2290"/>
                      <a:pt x="46925" y="6288"/>
                    </a:cubicBezTo>
                    <a:lnTo>
                      <a:pt x="37955" y="21677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738" name="Forma livre: Forma 1737">
                <a:extLst>
                  <a:ext uri="{FF2B5EF4-FFF2-40B4-BE49-F238E27FC236}">
                    <a16:creationId xmlns:a16="http://schemas.microsoft.com/office/drawing/2014/main" id="{62ACFEED-A363-D44C-7974-B38C8FCA598B}"/>
                  </a:ext>
                </a:extLst>
              </p:cNvPr>
              <p:cNvSpPr/>
              <p:nvPr/>
            </p:nvSpPr>
            <p:spPr>
              <a:xfrm>
                <a:off x="5123848" y="4424679"/>
                <a:ext cx="31857" cy="40779"/>
              </a:xfrm>
              <a:custGeom>
                <a:avLst/>
                <a:gdLst>
                  <a:gd name="connsiteX0" fmla="*/ 14119 w 31857"/>
                  <a:gd name="connsiteY0" fmla="*/ 0 h 40779"/>
                  <a:gd name="connsiteX1" fmla="*/ 31845 w 31857"/>
                  <a:gd name="connsiteY1" fmla="*/ 0 h 40779"/>
                  <a:gd name="connsiteX2" fmla="*/ 25972 w 31857"/>
                  <a:gd name="connsiteY2" fmla="*/ 23409 h 40779"/>
                  <a:gd name="connsiteX3" fmla="*/ 9088 w 31857"/>
                  <a:gd name="connsiteY3" fmla="*/ 40779 h 40779"/>
                  <a:gd name="connsiteX4" fmla="*/ 0 w 31857"/>
                  <a:gd name="connsiteY4" fmla="*/ 25497 h 407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1857" h="40779">
                    <a:moveTo>
                      <a:pt x="14119" y="0"/>
                    </a:moveTo>
                    <a:lnTo>
                      <a:pt x="31845" y="0"/>
                    </a:lnTo>
                    <a:cubicBezTo>
                      <a:pt x="32035" y="8009"/>
                      <a:pt x="30148" y="15899"/>
                      <a:pt x="25972" y="23409"/>
                    </a:cubicBezTo>
                    <a:cubicBezTo>
                      <a:pt x="21819" y="30860"/>
                      <a:pt x="15922" y="36733"/>
                      <a:pt x="9088" y="40779"/>
                    </a:cubicBezTo>
                    <a:lnTo>
                      <a:pt x="0" y="25497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739" name="Forma livre: Forma 1738">
                <a:extLst>
                  <a:ext uri="{FF2B5EF4-FFF2-40B4-BE49-F238E27FC236}">
                    <a16:creationId xmlns:a16="http://schemas.microsoft.com/office/drawing/2014/main" id="{012FDFA0-E37E-5E73-2B1B-5748304B8D91}"/>
                  </a:ext>
                </a:extLst>
              </p:cNvPr>
              <p:cNvSpPr/>
              <p:nvPr/>
            </p:nvSpPr>
            <p:spPr>
              <a:xfrm>
                <a:off x="5062827" y="4424679"/>
                <a:ext cx="31834" cy="40779"/>
              </a:xfrm>
              <a:custGeom>
                <a:avLst/>
                <a:gdLst>
                  <a:gd name="connsiteX0" fmla="*/ 17715 w 31834"/>
                  <a:gd name="connsiteY0" fmla="*/ 0 h 40779"/>
                  <a:gd name="connsiteX1" fmla="*/ 13 w 31834"/>
                  <a:gd name="connsiteY1" fmla="*/ 0 h 40779"/>
                  <a:gd name="connsiteX2" fmla="*/ 5874 w 31834"/>
                  <a:gd name="connsiteY2" fmla="*/ 23409 h 40779"/>
                  <a:gd name="connsiteX3" fmla="*/ 22758 w 31834"/>
                  <a:gd name="connsiteY3" fmla="*/ 40779 h 40779"/>
                  <a:gd name="connsiteX4" fmla="*/ 31834 w 31834"/>
                  <a:gd name="connsiteY4" fmla="*/ 25497 h 407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1834" h="40779">
                    <a:moveTo>
                      <a:pt x="17715" y="0"/>
                    </a:moveTo>
                    <a:lnTo>
                      <a:pt x="13" y="0"/>
                    </a:lnTo>
                    <a:cubicBezTo>
                      <a:pt x="-177" y="8009"/>
                      <a:pt x="1698" y="15899"/>
                      <a:pt x="5874" y="23409"/>
                    </a:cubicBezTo>
                    <a:cubicBezTo>
                      <a:pt x="10027" y="30860"/>
                      <a:pt x="15924" y="36733"/>
                      <a:pt x="22758" y="40779"/>
                    </a:cubicBezTo>
                    <a:lnTo>
                      <a:pt x="31834" y="25497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740" name="Forma livre: Forma 1739">
              <a:extLst>
                <a:ext uri="{FF2B5EF4-FFF2-40B4-BE49-F238E27FC236}">
                  <a16:creationId xmlns:a16="http://schemas.microsoft.com/office/drawing/2014/main" id="{39387E58-7A68-FC8C-9240-4225B65557FF}"/>
                </a:ext>
              </a:extLst>
            </p:cNvPr>
            <p:cNvSpPr/>
            <p:nvPr/>
          </p:nvSpPr>
          <p:spPr>
            <a:xfrm>
              <a:off x="5064169" y="4331636"/>
              <a:ext cx="110258" cy="1186"/>
            </a:xfrm>
            <a:custGeom>
              <a:avLst/>
              <a:gdLst>
                <a:gd name="connsiteX0" fmla="*/ 110259 w 110258"/>
                <a:gd name="connsiteY0" fmla="*/ 0 h 1186"/>
                <a:gd name="connsiteX1" fmla="*/ 0 w 110258"/>
                <a:gd name="connsiteY1" fmla="*/ 0 h 11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0258" h="1186">
                  <a:moveTo>
                    <a:pt x="110259" y="0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41" name="Forma livre: Forma 1740">
              <a:extLst>
                <a:ext uri="{FF2B5EF4-FFF2-40B4-BE49-F238E27FC236}">
                  <a16:creationId xmlns:a16="http://schemas.microsoft.com/office/drawing/2014/main" id="{AC1C2F8D-1501-4804-A14B-16FE33E8B3A7}"/>
                </a:ext>
              </a:extLst>
            </p:cNvPr>
            <p:cNvSpPr/>
            <p:nvPr/>
          </p:nvSpPr>
          <p:spPr>
            <a:xfrm>
              <a:off x="5196235" y="4342267"/>
              <a:ext cx="118314" cy="175158"/>
            </a:xfrm>
            <a:custGeom>
              <a:avLst/>
              <a:gdLst>
                <a:gd name="connsiteX0" fmla="*/ 44433 w 118314"/>
                <a:gd name="connsiteY0" fmla="*/ 175159 h 175158"/>
                <a:gd name="connsiteX1" fmla="*/ 118315 w 118314"/>
                <a:gd name="connsiteY1" fmla="*/ 175159 h 175158"/>
                <a:gd name="connsiteX2" fmla="*/ 82175 w 118314"/>
                <a:gd name="connsiteY2" fmla="*/ 0 h 175158"/>
                <a:gd name="connsiteX3" fmla="*/ 0 w 118314"/>
                <a:gd name="connsiteY3" fmla="*/ 0 h 1751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8314" h="175158">
                  <a:moveTo>
                    <a:pt x="44433" y="175159"/>
                  </a:moveTo>
                  <a:lnTo>
                    <a:pt x="118315" y="175159"/>
                  </a:lnTo>
                  <a:cubicBezTo>
                    <a:pt x="66668" y="123524"/>
                    <a:pt x="82175" y="0"/>
                    <a:pt x="82175" y="0"/>
                  </a:cubicBezTo>
                  <a:lnTo>
                    <a:pt x="0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42" name="Forma livre: Forma 1741">
              <a:extLst>
                <a:ext uri="{FF2B5EF4-FFF2-40B4-BE49-F238E27FC236}">
                  <a16:creationId xmlns:a16="http://schemas.microsoft.com/office/drawing/2014/main" id="{06961199-EE4C-F064-C2F2-FD9C87D9620C}"/>
                </a:ext>
              </a:extLst>
            </p:cNvPr>
            <p:cNvSpPr/>
            <p:nvPr/>
          </p:nvSpPr>
          <p:spPr>
            <a:xfrm>
              <a:off x="4998818" y="4308998"/>
              <a:ext cx="221882" cy="208427"/>
            </a:xfrm>
            <a:custGeom>
              <a:avLst/>
              <a:gdLst>
                <a:gd name="connsiteX0" fmla="*/ 221882 w 221882"/>
                <a:gd name="connsiteY0" fmla="*/ 208428 h 208427"/>
                <a:gd name="connsiteX1" fmla="*/ 179003 w 221882"/>
                <a:gd name="connsiteY1" fmla="*/ 0 h 208427"/>
                <a:gd name="connsiteX2" fmla="*/ 43022 w 221882"/>
                <a:gd name="connsiteY2" fmla="*/ 0 h 208427"/>
                <a:gd name="connsiteX3" fmla="*/ 0 w 221882"/>
                <a:gd name="connsiteY3" fmla="*/ 208428 h 208427"/>
                <a:gd name="connsiteX4" fmla="*/ 221882 w 221882"/>
                <a:gd name="connsiteY4" fmla="*/ 208428 h 2084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21882" h="208427">
                  <a:moveTo>
                    <a:pt x="221882" y="208428"/>
                  </a:moveTo>
                  <a:cubicBezTo>
                    <a:pt x="160411" y="146968"/>
                    <a:pt x="179003" y="0"/>
                    <a:pt x="179003" y="0"/>
                  </a:cubicBezTo>
                  <a:lnTo>
                    <a:pt x="43022" y="0"/>
                  </a:lnTo>
                  <a:cubicBezTo>
                    <a:pt x="43022" y="0"/>
                    <a:pt x="61471" y="146968"/>
                    <a:pt x="0" y="208428"/>
                  </a:cubicBezTo>
                  <a:lnTo>
                    <a:pt x="221882" y="208428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43" name="Forma livre: Forma 1742">
              <a:extLst>
                <a:ext uri="{FF2B5EF4-FFF2-40B4-BE49-F238E27FC236}">
                  <a16:creationId xmlns:a16="http://schemas.microsoft.com/office/drawing/2014/main" id="{1DE63FD5-6DDE-A100-EA38-36B34FE6C518}"/>
                </a:ext>
              </a:extLst>
            </p:cNvPr>
            <p:cNvSpPr/>
            <p:nvPr/>
          </p:nvSpPr>
          <p:spPr>
            <a:xfrm>
              <a:off x="5197243" y="4365201"/>
              <a:ext cx="78307" cy="1186"/>
            </a:xfrm>
            <a:custGeom>
              <a:avLst/>
              <a:gdLst>
                <a:gd name="connsiteX0" fmla="*/ 78307 w 78307"/>
                <a:gd name="connsiteY0" fmla="*/ 0 h 1186"/>
                <a:gd name="connsiteX1" fmla="*/ 0 w 78307"/>
                <a:gd name="connsiteY1" fmla="*/ 0 h 11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8307" h="1186">
                  <a:moveTo>
                    <a:pt x="78307" y="0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44" name="Forma livre: Forma 1743">
              <a:extLst>
                <a:ext uri="{FF2B5EF4-FFF2-40B4-BE49-F238E27FC236}">
                  <a16:creationId xmlns:a16="http://schemas.microsoft.com/office/drawing/2014/main" id="{460F224B-0056-1C4E-1EAB-ED2D99DDFA25}"/>
                </a:ext>
              </a:extLst>
            </p:cNvPr>
            <p:cNvSpPr/>
            <p:nvPr/>
          </p:nvSpPr>
          <p:spPr>
            <a:xfrm>
              <a:off x="5117453" y="4202009"/>
              <a:ext cx="91279" cy="84849"/>
            </a:xfrm>
            <a:custGeom>
              <a:avLst/>
              <a:gdLst>
                <a:gd name="connsiteX0" fmla="*/ 0 w 91279"/>
                <a:gd name="connsiteY0" fmla="*/ 35243 h 84849"/>
                <a:gd name="connsiteX1" fmla="*/ 43757 w 91279"/>
                <a:gd name="connsiteY1" fmla="*/ 17 h 84849"/>
                <a:gd name="connsiteX2" fmla="*/ 91263 w 91279"/>
                <a:gd name="connsiteY2" fmla="*/ 45102 h 84849"/>
                <a:gd name="connsiteX3" fmla="*/ 70654 w 91279"/>
                <a:gd name="connsiteY3" fmla="*/ 84849 h 848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1279" h="84849">
                  <a:moveTo>
                    <a:pt x="0" y="35243"/>
                  </a:moveTo>
                  <a:cubicBezTo>
                    <a:pt x="4841" y="15464"/>
                    <a:pt x="22424" y="574"/>
                    <a:pt x="43757" y="17"/>
                  </a:cubicBezTo>
                  <a:cubicBezTo>
                    <a:pt x="69326" y="-660"/>
                    <a:pt x="90587" y="19534"/>
                    <a:pt x="91263" y="45102"/>
                  </a:cubicBezTo>
                  <a:cubicBezTo>
                    <a:pt x="91691" y="61594"/>
                    <a:pt x="83445" y="76307"/>
                    <a:pt x="70654" y="84849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45" name="Forma livre: Forma 1744">
              <a:extLst>
                <a:ext uri="{FF2B5EF4-FFF2-40B4-BE49-F238E27FC236}">
                  <a16:creationId xmlns:a16="http://schemas.microsoft.com/office/drawing/2014/main" id="{DE81C07A-5DE3-040A-72CB-2F4ED13428B8}"/>
                </a:ext>
              </a:extLst>
            </p:cNvPr>
            <p:cNvSpPr/>
            <p:nvPr/>
          </p:nvSpPr>
          <p:spPr>
            <a:xfrm>
              <a:off x="5230310" y="4243647"/>
              <a:ext cx="47577" cy="76088"/>
            </a:xfrm>
            <a:custGeom>
              <a:avLst/>
              <a:gdLst>
                <a:gd name="connsiteX0" fmla="*/ 0 w 47577"/>
                <a:gd name="connsiteY0" fmla="*/ 486 h 76088"/>
                <a:gd name="connsiteX1" fmla="*/ 6371 w 47577"/>
                <a:gd name="connsiteY1" fmla="*/ 0 h 76088"/>
                <a:gd name="connsiteX2" fmla="*/ 47578 w 47577"/>
                <a:gd name="connsiteY2" fmla="*/ 41206 h 76088"/>
                <a:gd name="connsiteX3" fmla="*/ 28309 w 47577"/>
                <a:gd name="connsiteY3" fmla="*/ 76089 h 760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7577" h="76088">
                  <a:moveTo>
                    <a:pt x="0" y="486"/>
                  </a:moveTo>
                  <a:cubicBezTo>
                    <a:pt x="2076" y="166"/>
                    <a:pt x="4200" y="0"/>
                    <a:pt x="6371" y="0"/>
                  </a:cubicBezTo>
                  <a:cubicBezTo>
                    <a:pt x="29116" y="0"/>
                    <a:pt x="47578" y="18450"/>
                    <a:pt x="47578" y="41206"/>
                  </a:cubicBezTo>
                  <a:cubicBezTo>
                    <a:pt x="47578" y="55895"/>
                    <a:pt x="39889" y="68792"/>
                    <a:pt x="28309" y="76089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46" name="Forma livre: Forma 1745">
              <a:extLst>
                <a:ext uri="{FF2B5EF4-FFF2-40B4-BE49-F238E27FC236}">
                  <a16:creationId xmlns:a16="http://schemas.microsoft.com/office/drawing/2014/main" id="{4A2F4C58-07A7-3688-DF1C-04A788E91625}"/>
                </a:ext>
              </a:extLst>
            </p:cNvPr>
            <p:cNvSpPr/>
            <p:nvPr/>
          </p:nvSpPr>
          <p:spPr>
            <a:xfrm>
              <a:off x="5065873" y="4239882"/>
              <a:ext cx="69365" cy="46786"/>
            </a:xfrm>
            <a:custGeom>
              <a:avLst/>
              <a:gdLst>
                <a:gd name="connsiteX0" fmla="*/ 16 w 69365"/>
                <a:gd name="connsiteY0" fmla="*/ 46786 h 46786"/>
                <a:gd name="connsiteX1" fmla="*/ 44390 w 69365"/>
                <a:gd name="connsiteY1" fmla="*/ 16 h 46786"/>
                <a:gd name="connsiteX2" fmla="*/ 69366 w 69365"/>
                <a:gd name="connsiteY2" fmla="*/ 6684 h 467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9365" h="46786">
                  <a:moveTo>
                    <a:pt x="16" y="46786"/>
                  </a:moveTo>
                  <a:cubicBezTo>
                    <a:pt x="-648" y="21621"/>
                    <a:pt x="19225" y="680"/>
                    <a:pt x="44390" y="16"/>
                  </a:cubicBezTo>
                  <a:cubicBezTo>
                    <a:pt x="53526" y="-222"/>
                    <a:pt x="62116" y="2246"/>
                    <a:pt x="69366" y="6684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748" name="Gráfico 17">
            <a:extLst>
              <a:ext uri="{FF2B5EF4-FFF2-40B4-BE49-F238E27FC236}">
                <a16:creationId xmlns:a16="http://schemas.microsoft.com/office/drawing/2014/main" id="{54C04B75-F99A-E955-9C8F-4FD2261F09D1}"/>
              </a:ext>
            </a:extLst>
          </p:cNvPr>
          <p:cNvGrpSpPr/>
          <p:nvPr/>
        </p:nvGrpSpPr>
        <p:grpSpPr>
          <a:xfrm>
            <a:off x="6793863" y="3665253"/>
            <a:ext cx="284661" cy="319535"/>
            <a:chOff x="6793863" y="3665253"/>
            <a:chExt cx="284661" cy="319535"/>
          </a:xfrm>
          <a:noFill/>
        </p:grpSpPr>
        <p:grpSp>
          <p:nvGrpSpPr>
            <p:cNvPr id="1749" name="Gráfico 17">
              <a:extLst>
                <a:ext uri="{FF2B5EF4-FFF2-40B4-BE49-F238E27FC236}">
                  <a16:creationId xmlns:a16="http://schemas.microsoft.com/office/drawing/2014/main" id="{90B367F2-E78F-C6B8-5603-BDA6993C9717}"/>
                </a:ext>
              </a:extLst>
            </p:cNvPr>
            <p:cNvGrpSpPr/>
            <p:nvPr/>
          </p:nvGrpSpPr>
          <p:grpSpPr>
            <a:xfrm>
              <a:off x="6793863" y="3723325"/>
              <a:ext cx="284661" cy="261463"/>
              <a:chOff x="6793863" y="3723325"/>
              <a:chExt cx="284661" cy="261463"/>
            </a:xfrm>
            <a:noFill/>
          </p:grpSpPr>
          <p:sp>
            <p:nvSpPr>
              <p:cNvPr id="1750" name="Forma livre: Forma 1749">
                <a:extLst>
                  <a:ext uri="{FF2B5EF4-FFF2-40B4-BE49-F238E27FC236}">
                    <a16:creationId xmlns:a16="http://schemas.microsoft.com/office/drawing/2014/main" id="{6E68A95B-9180-2E1E-793D-6521BF219C9D}"/>
                  </a:ext>
                </a:extLst>
              </p:cNvPr>
              <p:cNvSpPr/>
              <p:nvPr/>
            </p:nvSpPr>
            <p:spPr>
              <a:xfrm>
                <a:off x="6892423" y="3868987"/>
                <a:ext cx="28894" cy="26387"/>
              </a:xfrm>
              <a:custGeom>
                <a:avLst/>
                <a:gdLst>
                  <a:gd name="connsiteX0" fmla="*/ 28895 w 28894"/>
                  <a:gd name="connsiteY0" fmla="*/ 26388 h 26387"/>
                  <a:gd name="connsiteX1" fmla="*/ 0 w 28894"/>
                  <a:gd name="connsiteY1" fmla="*/ 0 h 263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8894" h="26387">
                    <a:moveTo>
                      <a:pt x="28895" y="26388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751" name="Forma livre: Forma 1750">
                <a:extLst>
                  <a:ext uri="{FF2B5EF4-FFF2-40B4-BE49-F238E27FC236}">
                    <a16:creationId xmlns:a16="http://schemas.microsoft.com/office/drawing/2014/main" id="{21CDD271-4D57-1A48-361D-C03E8398CFFA}"/>
                  </a:ext>
                </a:extLst>
              </p:cNvPr>
              <p:cNvSpPr/>
              <p:nvPr/>
            </p:nvSpPr>
            <p:spPr>
              <a:xfrm>
                <a:off x="6936441" y="3723502"/>
                <a:ext cx="84129" cy="261287"/>
              </a:xfrm>
              <a:custGeom>
                <a:avLst/>
                <a:gdLst>
                  <a:gd name="connsiteX0" fmla="*/ 45231 w 84129"/>
                  <a:gd name="connsiteY0" fmla="*/ 0 h 261287"/>
                  <a:gd name="connsiteX1" fmla="*/ 45231 w 84129"/>
                  <a:gd name="connsiteY1" fmla="*/ 144673 h 261287"/>
                  <a:gd name="connsiteX2" fmla="*/ 84130 w 84129"/>
                  <a:gd name="connsiteY2" fmla="*/ 261287 h 261287"/>
                  <a:gd name="connsiteX3" fmla="*/ 0 w 84129"/>
                  <a:gd name="connsiteY3" fmla="*/ 185255 h 261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4129" h="261287">
                    <a:moveTo>
                      <a:pt x="45231" y="0"/>
                    </a:moveTo>
                    <a:lnTo>
                      <a:pt x="45231" y="144673"/>
                    </a:lnTo>
                    <a:lnTo>
                      <a:pt x="84130" y="261287"/>
                    </a:lnTo>
                    <a:lnTo>
                      <a:pt x="0" y="185255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752" name="Forma livre: Forma 1751">
                <a:extLst>
                  <a:ext uri="{FF2B5EF4-FFF2-40B4-BE49-F238E27FC236}">
                    <a16:creationId xmlns:a16="http://schemas.microsoft.com/office/drawing/2014/main" id="{999ED887-0CB6-86A5-3212-0C13E4022818}"/>
                  </a:ext>
                </a:extLst>
              </p:cNvPr>
              <p:cNvSpPr/>
              <p:nvPr/>
            </p:nvSpPr>
            <p:spPr>
              <a:xfrm>
                <a:off x="6793863" y="3822108"/>
                <a:ext cx="284661" cy="40311"/>
              </a:xfrm>
              <a:custGeom>
                <a:avLst/>
                <a:gdLst>
                  <a:gd name="connsiteX0" fmla="*/ 72949 w 284661"/>
                  <a:gd name="connsiteY0" fmla="*/ 9216 h 40311"/>
                  <a:gd name="connsiteX1" fmla="*/ 0 w 284661"/>
                  <a:gd name="connsiteY1" fmla="*/ 40311 h 40311"/>
                  <a:gd name="connsiteX2" fmla="*/ 284662 w 284661"/>
                  <a:gd name="connsiteY2" fmla="*/ 40311 h 40311"/>
                  <a:gd name="connsiteX3" fmla="*/ 187550 w 284661"/>
                  <a:gd name="connsiteY3" fmla="*/ 0 h 40311"/>
                  <a:gd name="connsiteX4" fmla="*/ 97112 w 284661"/>
                  <a:gd name="connsiteY4" fmla="*/ 0 h 403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84661" h="40311">
                    <a:moveTo>
                      <a:pt x="72949" y="9216"/>
                    </a:moveTo>
                    <a:lnTo>
                      <a:pt x="0" y="40311"/>
                    </a:lnTo>
                    <a:lnTo>
                      <a:pt x="284662" y="40311"/>
                    </a:lnTo>
                    <a:lnTo>
                      <a:pt x="187550" y="0"/>
                    </a:lnTo>
                    <a:lnTo>
                      <a:pt x="97112" y="0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753" name="Forma livre: Forma 1752">
                <a:extLst>
                  <a:ext uri="{FF2B5EF4-FFF2-40B4-BE49-F238E27FC236}">
                    <a16:creationId xmlns:a16="http://schemas.microsoft.com/office/drawing/2014/main" id="{951998F9-BE10-6170-9ED3-902D9DAB408F}"/>
                  </a:ext>
                </a:extLst>
              </p:cNvPr>
              <p:cNvSpPr/>
              <p:nvPr/>
            </p:nvSpPr>
            <p:spPr>
              <a:xfrm>
                <a:off x="6816014" y="3723325"/>
                <a:ext cx="240360" cy="35450"/>
              </a:xfrm>
              <a:custGeom>
                <a:avLst/>
                <a:gdLst>
                  <a:gd name="connsiteX0" fmla="*/ 50410 w 240360"/>
                  <a:gd name="connsiteY0" fmla="*/ 11593 h 35450"/>
                  <a:gd name="connsiteX1" fmla="*/ 0 w 240360"/>
                  <a:gd name="connsiteY1" fmla="*/ 35450 h 35450"/>
                  <a:gd name="connsiteX2" fmla="*/ 240361 w 240360"/>
                  <a:gd name="connsiteY2" fmla="*/ 35450 h 35450"/>
                  <a:gd name="connsiteX3" fmla="*/ 165423 w 240360"/>
                  <a:gd name="connsiteY3" fmla="*/ 0 h 35450"/>
                  <a:gd name="connsiteX4" fmla="*/ 103044 w 240360"/>
                  <a:gd name="connsiteY4" fmla="*/ 0 h 354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40360" h="35450">
                    <a:moveTo>
                      <a:pt x="50410" y="11593"/>
                    </a:moveTo>
                    <a:lnTo>
                      <a:pt x="0" y="35450"/>
                    </a:lnTo>
                    <a:lnTo>
                      <a:pt x="240361" y="35450"/>
                    </a:lnTo>
                    <a:lnTo>
                      <a:pt x="165423" y="0"/>
                    </a:lnTo>
                    <a:lnTo>
                      <a:pt x="103044" y="0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1754" name="Gráfico 17">
                <a:extLst>
                  <a:ext uri="{FF2B5EF4-FFF2-40B4-BE49-F238E27FC236}">
                    <a16:creationId xmlns:a16="http://schemas.microsoft.com/office/drawing/2014/main" id="{32BC06BB-C8D2-B98E-DEB2-FC5110E4B6DF}"/>
                  </a:ext>
                </a:extLst>
              </p:cNvPr>
              <p:cNvGrpSpPr/>
              <p:nvPr/>
            </p:nvGrpSpPr>
            <p:grpSpPr>
              <a:xfrm>
                <a:off x="6890975" y="3758870"/>
                <a:ext cx="90438" cy="63238"/>
                <a:chOff x="6890975" y="3758870"/>
                <a:chExt cx="90438" cy="63238"/>
              </a:xfrm>
            </p:grpSpPr>
            <p:sp>
              <p:nvSpPr>
                <p:cNvPr id="1755" name="Forma livre: Forma 1754">
                  <a:extLst>
                    <a:ext uri="{FF2B5EF4-FFF2-40B4-BE49-F238E27FC236}">
                      <a16:creationId xmlns:a16="http://schemas.microsoft.com/office/drawing/2014/main" id="{60FDD700-0D07-4C7C-32E0-E2E9308D2D5F}"/>
                    </a:ext>
                  </a:extLst>
                </p:cNvPr>
                <p:cNvSpPr/>
                <p:nvPr/>
              </p:nvSpPr>
              <p:spPr>
                <a:xfrm>
                  <a:off x="6890975" y="3758870"/>
                  <a:ext cx="28929" cy="20232"/>
                </a:xfrm>
                <a:custGeom>
                  <a:avLst/>
                  <a:gdLst>
                    <a:gd name="connsiteX0" fmla="*/ 0 w 28929"/>
                    <a:gd name="connsiteY0" fmla="*/ 0 h 20232"/>
                    <a:gd name="connsiteX1" fmla="*/ 28930 w 28929"/>
                    <a:gd name="connsiteY1" fmla="*/ 20232 h 2023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8929" h="20232">
                      <a:moveTo>
                        <a:pt x="0" y="0"/>
                      </a:moveTo>
                      <a:lnTo>
                        <a:pt x="28930" y="20232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756" name="Forma livre: Forma 1755">
                  <a:extLst>
                    <a:ext uri="{FF2B5EF4-FFF2-40B4-BE49-F238E27FC236}">
                      <a16:creationId xmlns:a16="http://schemas.microsoft.com/office/drawing/2014/main" id="{1EDB837B-1FB3-3D14-7985-824F938254B0}"/>
                    </a:ext>
                  </a:extLst>
                </p:cNvPr>
                <p:cNvSpPr/>
                <p:nvPr/>
              </p:nvSpPr>
              <p:spPr>
                <a:xfrm>
                  <a:off x="6936300" y="3790554"/>
                  <a:ext cx="45113" cy="31554"/>
                </a:xfrm>
                <a:custGeom>
                  <a:avLst/>
                  <a:gdLst>
                    <a:gd name="connsiteX0" fmla="*/ 0 w 45113"/>
                    <a:gd name="connsiteY0" fmla="*/ 0 h 31554"/>
                    <a:gd name="connsiteX1" fmla="*/ 45113 w 45113"/>
                    <a:gd name="connsiteY1" fmla="*/ 31555 h 3155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5113" h="31554">
                      <a:moveTo>
                        <a:pt x="0" y="0"/>
                      </a:moveTo>
                      <a:lnTo>
                        <a:pt x="45113" y="31555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757" name="Forma livre: Forma 1756">
                  <a:extLst>
                    <a:ext uri="{FF2B5EF4-FFF2-40B4-BE49-F238E27FC236}">
                      <a16:creationId xmlns:a16="http://schemas.microsoft.com/office/drawing/2014/main" id="{F7E5E9C4-AFCE-97B4-CCF9-1978960CE35F}"/>
                    </a:ext>
                  </a:extLst>
                </p:cNvPr>
                <p:cNvSpPr/>
                <p:nvPr/>
              </p:nvSpPr>
              <p:spPr>
                <a:xfrm>
                  <a:off x="6890975" y="3758870"/>
                  <a:ext cx="90438" cy="63238"/>
                </a:xfrm>
                <a:custGeom>
                  <a:avLst/>
                  <a:gdLst>
                    <a:gd name="connsiteX0" fmla="*/ 90438 w 90438"/>
                    <a:gd name="connsiteY0" fmla="*/ 0 h 63238"/>
                    <a:gd name="connsiteX1" fmla="*/ 0 w 90438"/>
                    <a:gd name="connsiteY1" fmla="*/ 63239 h 6323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90438" h="63238">
                      <a:moveTo>
                        <a:pt x="90438" y="0"/>
                      </a:moveTo>
                      <a:lnTo>
                        <a:pt x="0" y="63239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1758" name="Gráfico 17">
                <a:extLst>
                  <a:ext uri="{FF2B5EF4-FFF2-40B4-BE49-F238E27FC236}">
                    <a16:creationId xmlns:a16="http://schemas.microsoft.com/office/drawing/2014/main" id="{02CBDA15-BB44-EDB0-22B4-F01A01BD4EE3}"/>
                  </a:ext>
                </a:extLst>
              </p:cNvPr>
              <p:cNvGrpSpPr/>
              <p:nvPr/>
            </p:nvGrpSpPr>
            <p:grpSpPr>
              <a:xfrm>
                <a:off x="6829113" y="3782456"/>
                <a:ext cx="214173" cy="14782"/>
                <a:chOff x="6829113" y="3782456"/>
                <a:chExt cx="214173" cy="14782"/>
              </a:xfrm>
            </p:grpSpPr>
            <p:sp>
              <p:nvSpPr>
                <p:cNvPr id="1759" name="Forma livre: Forma 1758">
                  <a:extLst>
                    <a:ext uri="{FF2B5EF4-FFF2-40B4-BE49-F238E27FC236}">
                      <a16:creationId xmlns:a16="http://schemas.microsoft.com/office/drawing/2014/main" id="{964307EE-7772-F864-20ED-570D435409E4}"/>
                    </a:ext>
                  </a:extLst>
                </p:cNvPr>
                <p:cNvSpPr/>
                <p:nvPr/>
              </p:nvSpPr>
              <p:spPr>
                <a:xfrm>
                  <a:off x="6829113" y="3782456"/>
                  <a:ext cx="1176" cy="14782"/>
                </a:xfrm>
                <a:custGeom>
                  <a:avLst/>
                  <a:gdLst>
                    <a:gd name="connsiteX0" fmla="*/ 0 w 1176"/>
                    <a:gd name="connsiteY0" fmla="*/ 0 h 14782"/>
                    <a:gd name="connsiteX1" fmla="*/ 0 w 1176"/>
                    <a:gd name="connsiteY1" fmla="*/ 14783 h 1478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176" h="14782">
                      <a:moveTo>
                        <a:pt x="0" y="0"/>
                      </a:moveTo>
                      <a:lnTo>
                        <a:pt x="0" y="14783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760" name="Forma livre: Forma 1759">
                  <a:extLst>
                    <a:ext uri="{FF2B5EF4-FFF2-40B4-BE49-F238E27FC236}">
                      <a16:creationId xmlns:a16="http://schemas.microsoft.com/office/drawing/2014/main" id="{16F40404-15D3-78A6-47D9-550A50BBC2D1}"/>
                    </a:ext>
                  </a:extLst>
                </p:cNvPr>
                <p:cNvSpPr/>
                <p:nvPr/>
              </p:nvSpPr>
              <p:spPr>
                <a:xfrm>
                  <a:off x="7043287" y="3782456"/>
                  <a:ext cx="1176" cy="14782"/>
                </a:xfrm>
                <a:custGeom>
                  <a:avLst/>
                  <a:gdLst>
                    <a:gd name="connsiteX0" fmla="*/ 0 w 1176"/>
                    <a:gd name="connsiteY0" fmla="*/ 0 h 14782"/>
                    <a:gd name="connsiteX1" fmla="*/ 0 w 1176"/>
                    <a:gd name="connsiteY1" fmla="*/ 14783 h 1478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176" h="14782">
                      <a:moveTo>
                        <a:pt x="0" y="0"/>
                      </a:moveTo>
                      <a:lnTo>
                        <a:pt x="0" y="14783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1761" name="Gráfico 17">
                <a:extLst>
                  <a:ext uri="{FF2B5EF4-FFF2-40B4-BE49-F238E27FC236}">
                    <a16:creationId xmlns:a16="http://schemas.microsoft.com/office/drawing/2014/main" id="{CB142480-0F2C-5F45-1A40-059DABF3E392}"/>
                  </a:ext>
                </a:extLst>
              </p:cNvPr>
              <p:cNvGrpSpPr/>
              <p:nvPr/>
            </p:nvGrpSpPr>
            <p:grpSpPr>
              <a:xfrm>
                <a:off x="6809011" y="3886029"/>
                <a:ext cx="254366" cy="14794"/>
                <a:chOff x="6809011" y="3886029"/>
                <a:chExt cx="254366" cy="14794"/>
              </a:xfrm>
            </p:grpSpPr>
            <p:sp>
              <p:nvSpPr>
                <p:cNvPr id="1762" name="Forma livre: Forma 1761">
                  <a:extLst>
                    <a:ext uri="{FF2B5EF4-FFF2-40B4-BE49-F238E27FC236}">
                      <a16:creationId xmlns:a16="http://schemas.microsoft.com/office/drawing/2014/main" id="{FACFA3F1-7A37-2533-3750-80E30B3DF3AD}"/>
                    </a:ext>
                  </a:extLst>
                </p:cNvPr>
                <p:cNvSpPr/>
                <p:nvPr/>
              </p:nvSpPr>
              <p:spPr>
                <a:xfrm>
                  <a:off x="7063378" y="3886029"/>
                  <a:ext cx="1176" cy="14794"/>
                </a:xfrm>
                <a:custGeom>
                  <a:avLst/>
                  <a:gdLst>
                    <a:gd name="connsiteX0" fmla="*/ 0 w 1176"/>
                    <a:gd name="connsiteY0" fmla="*/ 0 h 14794"/>
                    <a:gd name="connsiteX1" fmla="*/ 0 w 1176"/>
                    <a:gd name="connsiteY1" fmla="*/ 14795 h 1479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176" h="14794">
                      <a:moveTo>
                        <a:pt x="0" y="0"/>
                      </a:moveTo>
                      <a:lnTo>
                        <a:pt x="0" y="14795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763" name="Forma livre: Forma 1762">
                  <a:extLst>
                    <a:ext uri="{FF2B5EF4-FFF2-40B4-BE49-F238E27FC236}">
                      <a16:creationId xmlns:a16="http://schemas.microsoft.com/office/drawing/2014/main" id="{7B18D79B-99D4-E114-CB84-E55C848F7CB4}"/>
                    </a:ext>
                  </a:extLst>
                </p:cNvPr>
                <p:cNvSpPr/>
                <p:nvPr/>
              </p:nvSpPr>
              <p:spPr>
                <a:xfrm>
                  <a:off x="6809011" y="3886029"/>
                  <a:ext cx="1176" cy="14794"/>
                </a:xfrm>
                <a:custGeom>
                  <a:avLst/>
                  <a:gdLst>
                    <a:gd name="connsiteX0" fmla="*/ 0 w 1176"/>
                    <a:gd name="connsiteY0" fmla="*/ 0 h 14794"/>
                    <a:gd name="connsiteX1" fmla="*/ 0 w 1176"/>
                    <a:gd name="connsiteY1" fmla="*/ 14795 h 1479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176" h="14794">
                      <a:moveTo>
                        <a:pt x="0" y="0"/>
                      </a:moveTo>
                      <a:lnTo>
                        <a:pt x="0" y="14795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sp>
          <p:nvSpPr>
            <p:cNvPr id="1764" name="Forma livre: Forma 1763">
              <a:extLst>
                <a:ext uri="{FF2B5EF4-FFF2-40B4-BE49-F238E27FC236}">
                  <a16:creationId xmlns:a16="http://schemas.microsoft.com/office/drawing/2014/main" id="{E1CFA1D4-8974-5A0E-3DC6-B167BBAF4257}"/>
                </a:ext>
              </a:extLst>
            </p:cNvPr>
            <p:cNvSpPr/>
            <p:nvPr/>
          </p:nvSpPr>
          <p:spPr>
            <a:xfrm>
              <a:off x="6851817" y="3665253"/>
              <a:ext cx="129902" cy="319535"/>
            </a:xfrm>
            <a:custGeom>
              <a:avLst/>
              <a:gdLst>
                <a:gd name="connsiteX0" fmla="*/ 129902 w 129902"/>
                <a:gd name="connsiteY0" fmla="*/ 58248 h 319535"/>
                <a:gd name="connsiteX1" fmla="*/ 99042 w 129902"/>
                <a:gd name="connsiteY1" fmla="*/ 0 h 319535"/>
                <a:gd name="connsiteX2" fmla="*/ 69712 w 129902"/>
                <a:gd name="connsiteY2" fmla="*/ 0 h 319535"/>
                <a:gd name="connsiteX3" fmla="*/ 38852 w 129902"/>
                <a:gd name="connsiteY3" fmla="*/ 58248 h 319535"/>
                <a:gd name="connsiteX4" fmla="*/ 38946 w 129902"/>
                <a:gd name="connsiteY4" fmla="*/ 202921 h 319535"/>
                <a:gd name="connsiteX5" fmla="*/ 0 w 129902"/>
                <a:gd name="connsiteY5" fmla="*/ 319536 h 319535"/>
                <a:gd name="connsiteX6" fmla="*/ 128490 w 129902"/>
                <a:gd name="connsiteY6" fmla="*/ 203734 h 3195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29902" h="319535">
                  <a:moveTo>
                    <a:pt x="129902" y="58248"/>
                  </a:moveTo>
                  <a:lnTo>
                    <a:pt x="99042" y="0"/>
                  </a:lnTo>
                  <a:lnTo>
                    <a:pt x="69712" y="0"/>
                  </a:lnTo>
                  <a:lnTo>
                    <a:pt x="38852" y="58248"/>
                  </a:lnTo>
                  <a:lnTo>
                    <a:pt x="38946" y="202921"/>
                  </a:lnTo>
                  <a:lnTo>
                    <a:pt x="0" y="319536"/>
                  </a:lnTo>
                  <a:lnTo>
                    <a:pt x="128490" y="203734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765" name="Gráfico 17">
            <a:extLst>
              <a:ext uri="{FF2B5EF4-FFF2-40B4-BE49-F238E27FC236}">
                <a16:creationId xmlns:a16="http://schemas.microsoft.com/office/drawing/2014/main" id="{858FBD17-C4C9-5A41-9A07-82002152A7FE}"/>
              </a:ext>
            </a:extLst>
          </p:cNvPr>
          <p:cNvGrpSpPr/>
          <p:nvPr/>
        </p:nvGrpSpPr>
        <p:grpSpPr>
          <a:xfrm>
            <a:off x="6177425" y="3671738"/>
            <a:ext cx="291429" cy="306565"/>
            <a:chOff x="6177425" y="3671738"/>
            <a:chExt cx="291429" cy="306565"/>
          </a:xfrm>
        </p:grpSpPr>
        <p:sp>
          <p:nvSpPr>
            <p:cNvPr id="1766" name="Forma livre: Forma 1765">
              <a:extLst>
                <a:ext uri="{FF2B5EF4-FFF2-40B4-BE49-F238E27FC236}">
                  <a16:creationId xmlns:a16="http://schemas.microsoft.com/office/drawing/2014/main" id="{D553B7B5-4070-E5AE-CFEA-060A09C50B96}"/>
                </a:ext>
              </a:extLst>
            </p:cNvPr>
            <p:cNvSpPr/>
            <p:nvPr/>
          </p:nvSpPr>
          <p:spPr>
            <a:xfrm>
              <a:off x="6190365" y="3736521"/>
              <a:ext cx="66846" cy="85740"/>
            </a:xfrm>
            <a:custGeom>
              <a:avLst/>
              <a:gdLst>
                <a:gd name="connsiteX0" fmla="*/ 44826 w 66846"/>
                <a:gd name="connsiteY0" fmla="*/ 85740 h 85740"/>
                <a:gd name="connsiteX1" fmla="*/ 2408 w 66846"/>
                <a:gd name="connsiteY1" fmla="*/ 11344 h 85740"/>
                <a:gd name="connsiteX2" fmla="*/ 66847 w 66846"/>
                <a:gd name="connsiteY2" fmla="*/ 5141 h 857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6846" h="85740">
                  <a:moveTo>
                    <a:pt x="44826" y="85740"/>
                  </a:moveTo>
                  <a:cubicBezTo>
                    <a:pt x="10870" y="55798"/>
                    <a:pt x="-6761" y="27080"/>
                    <a:pt x="2408" y="11344"/>
                  </a:cubicBezTo>
                  <a:cubicBezTo>
                    <a:pt x="9999" y="-1685"/>
                    <a:pt x="34386" y="-3121"/>
                    <a:pt x="66847" y="5141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67" name="Forma livre: Forma 1766">
              <a:extLst>
                <a:ext uri="{FF2B5EF4-FFF2-40B4-BE49-F238E27FC236}">
                  <a16:creationId xmlns:a16="http://schemas.microsoft.com/office/drawing/2014/main" id="{7BCEC489-AD81-03C6-2E80-4ADB6292E7EE}"/>
                </a:ext>
              </a:extLst>
            </p:cNvPr>
            <p:cNvSpPr/>
            <p:nvPr/>
          </p:nvSpPr>
          <p:spPr>
            <a:xfrm>
              <a:off x="6325841" y="3882334"/>
              <a:ext cx="134243" cy="31193"/>
            </a:xfrm>
            <a:custGeom>
              <a:avLst/>
              <a:gdLst>
                <a:gd name="connsiteX0" fmla="*/ 132750 w 134243"/>
                <a:gd name="connsiteY0" fmla="*/ 1130 h 31193"/>
                <a:gd name="connsiteX1" fmla="*/ 131844 w 134243"/>
                <a:gd name="connsiteY1" fmla="*/ 19844 h 31193"/>
                <a:gd name="connsiteX2" fmla="*/ 0 w 134243"/>
                <a:gd name="connsiteY2" fmla="*/ 0 h 311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34243" h="31193">
                  <a:moveTo>
                    <a:pt x="132750" y="1130"/>
                  </a:moveTo>
                  <a:cubicBezTo>
                    <a:pt x="134951" y="8439"/>
                    <a:pt x="134775" y="14806"/>
                    <a:pt x="131844" y="19844"/>
                  </a:cubicBezTo>
                  <a:cubicBezTo>
                    <a:pt x="119557" y="40935"/>
                    <a:pt x="63262" y="31672"/>
                    <a:pt x="0" y="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68" name="Forma livre: Forma 1767">
              <a:extLst>
                <a:ext uri="{FF2B5EF4-FFF2-40B4-BE49-F238E27FC236}">
                  <a16:creationId xmlns:a16="http://schemas.microsoft.com/office/drawing/2014/main" id="{8076CF4A-604C-965B-5BB6-2253B5897E27}"/>
                </a:ext>
              </a:extLst>
            </p:cNvPr>
            <p:cNvSpPr/>
            <p:nvPr/>
          </p:nvSpPr>
          <p:spPr>
            <a:xfrm>
              <a:off x="6352029" y="3782621"/>
              <a:ext cx="83588" cy="65086"/>
            </a:xfrm>
            <a:custGeom>
              <a:avLst/>
              <a:gdLst>
                <a:gd name="connsiteX0" fmla="*/ 0 w 83588"/>
                <a:gd name="connsiteY0" fmla="*/ 0 h 65086"/>
                <a:gd name="connsiteX1" fmla="*/ 83588 w 83588"/>
                <a:gd name="connsiteY1" fmla="*/ 65086 h 650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3588" h="65086">
                  <a:moveTo>
                    <a:pt x="0" y="0"/>
                  </a:moveTo>
                  <a:cubicBezTo>
                    <a:pt x="35180" y="20679"/>
                    <a:pt x="64427" y="43925"/>
                    <a:pt x="83588" y="65086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69" name="Forma livre: Forma 1768">
              <a:extLst>
                <a:ext uri="{FF2B5EF4-FFF2-40B4-BE49-F238E27FC236}">
                  <a16:creationId xmlns:a16="http://schemas.microsoft.com/office/drawing/2014/main" id="{9BD16A70-B6B2-A929-70AC-C85EB51E0FBB}"/>
                </a:ext>
              </a:extLst>
            </p:cNvPr>
            <p:cNvSpPr/>
            <p:nvPr/>
          </p:nvSpPr>
          <p:spPr>
            <a:xfrm>
              <a:off x="6189400" y="3737987"/>
              <a:ext cx="271640" cy="174056"/>
            </a:xfrm>
            <a:custGeom>
              <a:avLst/>
              <a:gdLst>
                <a:gd name="connsiteX0" fmla="*/ 20085 w 271640"/>
                <a:gd name="connsiteY0" fmla="*/ 113757 h 174056"/>
                <a:gd name="connsiteX1" fmla="*/ 111206 w 271640"/>
                <a:gd name="connsiteY1" fmla="*/ 43351 h 174056"/>
                <a:gd name="connsiteX2" fmla="*/ 269367 w 271640"/>
                <a:gd name="connsiteY2" fmla="*/ 11773 h 174056"/>
                <a:gd name="connsiteX3" fmla="*/ 160439 w 271640"/>
                <a:gd name="connsiteY3" fmla="*/ 130705 h 174056"/>
                <a:gd name="connsiteX4" fmla="*/ 2278 w 271640"/>
                <a:gd name="connsiteY4" fmla="*/ 162284 h 174056"/>
                <a:gd name="connsiteX5" fmla="*/ 406 w 271640"/>
                <a:gd name="connsiteY5" fmla="*/ 148501 h 174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71640" h="174056">
                  <a:moveTo>
                    <a:pt x="20085" y="113757"/>
                  </a:moveTo>
                  <a:cubicBezTo>
                    <a:pt x="39529" y="91100"/>
                    <a:pt x="71801" y="65560"/>
                    <a:pt x="111206" y="43351"/>
                  </a:cubicBezTo>
                  <a:cubicBezTo>
                    <a:pt x="184967" y="1792"/>
                    <a:pt x="255773" y="-12355"/>
                    <a:pt x="269367" y="11773"/>
                  </a:cubicBezTo>
                  <a:cubicBezTo>
                    <a:pt x="282961" y="35900"/>
                    <a:pt x="234188" y="89147"/>
                    <a:pt x="160439" y="130705"/>
                  </a:cubicBezTo>
                  <a:cubicBezTo>
                    <a:pt x="86678" y="172264"/>
                    <a:pt x="15872" y="186411"/>
                    <a:pt x="2278" y="162284"/>
                  </a:cubicBezTo>
                  <a:cubicBezTo>
                    <a:pt x="77" y="158388"/>
                    <a:pt x="-488" y="153739"/>
                    <a:pt x="406" y="148501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70" name="Forma livre: Forma 1769">
              <a:extLst>
                <a:ext uri="{FF2B5EF4-FFF2-40B4-BE49-F238E27FC236}">
                  <a16:creationId xmlns:a16="http://schemas.microsoft.com/office/drawing/2014/main" id="{97C787B1-1078-2DBE-3767-9A60A9218ECE}"/>
                </a:ext>
              </a:extLst>
            </p:cNvPr>
            <p:cNvSpPr/>
            <p:nvPr/>
          </p:nvSpPr>
          <p:spPr>
            <a:xfrm>
              <a:off x="6308728" y="3671738"/>
              <a:ext cx="54705" cy="54917"/>
            </a:xfrm>
            <a:custGeom>
              <a:avLst/>
              <a:gdLst>
                <a:gd name="connsiteX0" fmla="*/ 0 w 54705"/>
                <a:gd name="connsiteY0" fmla="*/ 8121 h 54917"/>
                <a:gd name="connsiteX1" fmla="*/ 16077 w 54705"/>
                <a:gd name="connsiteY1" fmla="*/ 0 h 54917"/>
                <a:gd name="connsiteX2" fmla="*/ 54706 w 54705"/>
                <a:gd name="connsiteY2" fmla="*/ 54918 h 549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54705" h="54917">
                  <a:moveTo>
                    <a:pt x="0" y="8121"/>
                  </a:moveTo>
                  <a:cubicBezTo>
                    <a:pt x="5037" y="2872"/>
                    <a:pt x="10440" y="12"/>
                    <a:pt x="16077" y="0"/>
                  </a:cubicBezTo>
                  <a:cubicBezTo>
                    <a:pt x="31531" y="-47"/>
                    <a:pt x="45419" y="21315"/>
                    <a:pt x="54706" y="54918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71" name="Forma livre: Forma 1770">
              <a:extLst>
                <a:ext uri="{FF2B5EF4-FFF2-40B4-BE49-F238E27FC236}">
                  <a16:creationId xmlns:a16="http://schemas.microsoft.com/office/drawing/2014/main" id="{F60B7C80-F942-0815-8672-33EFC790162E}"/>
                </a:ext>
              </a:extLst>
            </p:cNvPr>
            <p:cNvSpPr/>
            <p:nvPr/>
          </p:nvSpPr>
          <p:spPr>
            <a:xfrm>
              <a:off x="6278515" y="3717428"/>
              <a:ext cx="10733" cy="50750"/>
            </a:xfrm>
            <a:custGeom>
              <a:avLst/>
              <a:gdLst>
                <a:gd name="connsiteX0" fmla="*/ 0 w 10733"/>
                <a:gd name="connsiteY0" fmla="*/ 50751 h 50750"/>
                <a:gd name="connsiteX1" fmla="*/ 10734 w 10733"/>
                <a:gd name="connsiteY1" fmla="*/ 0 h 50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733" h="50750">
                  <a:moveTo>
                    <a:pt x="0" y="50751"/>
                  </a:moveTo>
                  <a:cubicBezTo>
                    <a:pt x="2448" y="31637"/>
                    <a:pt x="6132" y="14406"/>
                    <a:pt x="10734" y="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72" name="Forma livre: Forma 1771">
              <a:extLst>
                <a:ext uri="{FF2B5EF4-FFF2-40B4-BE49-F238E27FC236}">
                  <a16:creationId xmlns:a16="http://schemas.microsoft.com/office/drawing/2014/main" id="{345D0925-E9C0-7549-63E7-E7CF91D093BB}"/>
                </a:ext>
              </a:extLst>
            </p:cNvPr>
            <p:cNvSpPr/>
            <p:nvPr/>
          </p:nvSpPr>
          <p:spPr>
            <a:xfrm>
              <a:off x="6275114" y="3826922"/>
              <a:ext cx="88402" cy="151381"/>
            </a:xfrm>
            <a:custGeom>
              <a:avLst/>
              <a:gdLst>
                <a:gd name="connsiteX0" fmla="*/ 88402 w 88402"/>
                <a:gd name="connsiteY0" fmla="*/ 97959 h 151381"/>
                <a:gd name="connsiteX1" fmla="*/ 50539 w 88402"/>
                <a:gd name="connsiteY1" fmla="*/ 151382 h 151381"/>
                <a:gd name="connsiteX2" fmla="*/ 0 w 88402"/>
                <a:gd name="connsiteY2" fmla="*/ 0 h 1513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88402" h="151381">
                  <a:moveTo>
                    <a:pt x="88402" y="97959"/>
                  </a:moveTo>
                  <a:cubicBezTo>
                    <a:pt x="79292" y="130632"/>
                    <a:pt x="65734" y="151347"/>
                    <a:pt x="50539" y="151382"/>
                  </a:cubicBezTo>
                  <a:cubicBezTo>
                    <a:pt x="23139" y="151464"/>
                    <a:pt x="694" y="83412"/>
                    <a:pt x="0" y="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73" name="Forma livre: Forma 1772">
              <a:extLst>
                <a:ext uri="{FF2B5EF4-FFF2-40B4-BE49-F238E27FC236}">
                  <a16:creationId xmlns:a16="http://schemas.microsoft.com/office/drawing/2014/main" id="{2F0DE369-93F7-1D8A-54BA-DE221A2F4A88}"/>
                </a:ext>
              </a:extLst>
            </p:cNvPr>
            <p:cNvSpPr/>
            <p:nvPr/>
          </p:nvSpPr>
          <p:spPr>
            <a:xfrm>
              <a:off x="6276867" y="3678235"/>
              <a:ext cx="40028" cy="40040"/>
            </a:xfrm>
            <a:custGeom>
              <a:avLst/>
              <a:gdLst>
                <a:gd name="connsiteX0" fmla="*/ 40029 w 40028"/>
                <a:gd name="connsiteY0" fmla="*/ 20020 h 40040"/>
                <a:gd name="connsiteX1" fmla="*/ 20020 w 40028"/>
                <a:gd name="connsiteY1" fmla="*/ 40041 h 40040"/>
                <a:gd name="connsiteX2" fmla="*/ 0 w 40028"/>
                <a:gd name="connsiteY2" fmla="*/ 20020 h 40040"/>
                <a:gd name="connsiteX3" fmla="*/ 20020 w 40028"/>
                <a:gd name="connsiteY3" fmla="*/ 0 h 40040"/>
                <a:gd name="connsiteX4" fmla="*/ 40029 w 40028"/>
                <a:gd name="connsiteY4" fmla="*/ 20020 h 400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0028" h="40040">
                  <a:moveTo>
                    <a:pt x="40029" y="20020"/>
                  </a:moveTo>
                  <a:cubicBezTo>
                    <a:pt x="40029" y="31072"/>
                    <a:pt x="31072" y="40041"/>
                    <a:pt x="20020" y="40041"/>
                  </a:cubicBezTo>
                  <a:cubicBezTo>
                    <a:pt x="8969" y="40041"/>
                    <a:pt x="0" y="31084"/>
                    <a:pt x="0" y="20020"/>
                  </a:cubicBezTo>
                  <a:cubicBezTo>
                    <a:pt x="0" y="8957"/>
                    <a:pt x="8969" y="0"/>
                    <a:pt x="20020" y="0"/>
                  </a:cubicBezTo>
                  <a:cubicBezTo>
                    <a:pt x="31072" y="0"/>
                    <a:pt x="40029" y="8957"/>
                    <a:pt x="40029" y="20020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74" name="Forma livre: Forma 1773">
              <a:extLst>
                <a:ext uri="{FF2B5EF4-FFF2-40B4-BE49-F238E27FC236}">
                  <a16:creationId xmlns:a16="http://schemas.microsoft.com/office/drawing/2014/main" id="{4858B561-AAA2-19FC-6513-3DFA2F8E4088}"/>
                </a:ext>
              </a:extLst>
            </p:cNvPr>
            <p:cNvSpPr/>
            <p:nvPr/>
          </p:nvSpPr>
          <p:spPr>
            <a:xfrm>
              <a:off x="6177425" y="3848472"/>
              <a:ext cx="40028" cy="40040"/>
            </a:xfrm>
            <a:custGeom>
              <a:avLst/>
              <a:gdLst>
                <a:gd name="connsiteX0" fmla="*/ 40029 w 40028"/>
                <a:gd name="connsiteY0" fmla="*/ 20020 h 40040"/>
                <a:gd name="connsiteX1" fmla="*/ 20020 w 40028"/>
                <a:gd name="connsiteY1" fmla="*/ 40041 h 40040"/>
                <a:gd name="connsiteX2" fmla="*/ 0 w 40028"/>
                <a:gd name="connsiteY2" fmla="*/ 20020 h 40040"/>
                <a:gd name="connsiteX3" fmla="*/ 20020 w 40028"/>
                <a:gd name="connsiteY3" fmla="*/ 0 h 40040"/>
                <a:gd name="connsiteX4" fmla="*/ 40029 w 40028"/>
                <a:gd name="connsiteY4" fmla="*/ 20020 h 400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0028" h="40040">
                  <a:moveTo>
                    <a:pt x="40029" y="20020"/>
                  </a:moveTo>
                  <a:cubicBezTo>
                    <a:pt x="40029" y="31072"/>
                    <a:pt x="31072" y="40041"/>
                    <a:pt x="20020" y="40041"/>
                  </a:cubicBezTo>
                  <a:cubicBezTo>
                    <a:pt x="8969" y="40041"/>
                    <a:pt x="0" y="31084"/>
                    <a:pt x="0" y="20020"/>
                  </a:cubicBezTo>
                  <a:cubicBezTo>
                    <a:pt x="0" y="8957"/>
                    <a:pt x="8969" y="0"/>
                    <a:pt x="20020" y="0"/>
                  </a:cubicBezTo>
                  <a:cubicBezTo>
                    <a:pt x="31072" y="0"/>
                    <a:pt x="40029" y="8957"/>
                    <a:pt x="40029" y="20020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75" name="Forma livre: Forma 1774">
              <a:extLst>
                <a:ext uri="{FF2B5EF4-FFF2-40B4-BE49-F238E27FC236}">
                  <a16:creationId xmlns:a16="http://schemas.microsoft.com/office/drawing/2014/main" id="{CADC2E59-18CA-9507-57C3-760218CEA0C4}"/>
                </a:ext>
              </a:extLst>
            </p:cNvPr>
            <p:cNvSpPr/>
            <p:nvPr/>
          </p:nvSpPr>
          <p:spPr>
            <a:xfrm>
              <a:off x="6428826" y="3845059"/>
              <a:ext cx="40028" cy="40040"/>
            </a:xfrm>
            <a:custGeom>
              <a:avLst/>
              <a:gdLst>
                <a:gd name="connsiteX0" fmla="*/ 40029 w 40028"/>
                <a:gd name="connsiteY0" fmla="*/ 20020 h 40040"/>
                <a:gd name="connsiteX1" fmla="*/ 20020 w 40028"/>
                <a:gd name="connsiteY1" fmla="*/ 40041 h 40040"/>
                <a:gd name="connsiteX2" fmla="*/ 0 w 40028"/>
                <a:gd name="connsiteY2" fmla="*/ 20020 h 40040"/>
                <a:gd name="connsiteX3" fmla="*/ 20020 w 40028"/>
                <a:gd name="connsiteY3" fmla="*/ 0 h 40040"/>
                <a:gd name="connsiteX4" fmla="*/ 40029 w 40028"/>
                <a:gd name="connsiteY4" fmla="*/ 20020 h 400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0028" h="40040">
                  <a:moveTo>
                    <a:pt x="40029" y="20020"/>
                  </a:moveTo>
                  <a:cubicBezTo>
                    <a:pt x="40029" y="31072"/>
                    <a:pt x="31072" y="40041"/>
                    <a:pt x="20020" y="40041"/>
                  </a:cubicBezTo>
                  <a:cubicBezTo>
                    <a:pt x="8969" y="40041"/>
                    <a:pt x="0" y="31084"/>
                    <a:pt x="0" y="20020"/>
                  </a:cubicBezTo>
                  <a:cubicBezTo>
                    <a:pt x="0" y="8957"/>
                    <a:pt x="8969" y="0"/>
                    <a:pt x="20020" y="0"/>
                  </a:cubicBezTo>
                  <a:cubicBezTo>
                    <a:pt x="31072" y="0"/>
                    <a:pt x="40029" y="8957"/>
                    <a:pt x="40029" y="20020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76" name="Forma livre: Forma 1775">
              <a:extLst>
                <a:ext uri="{FF2B5EF4-FFF2-40B4-BE49-F238E27FC236}">
                  <a16:creationId xmlns:a16="http://schemas.microsoft.com/office/drawing/2014/main" id="{7043AFA7-52C1-68EC-5DC2-83EA20907D97}"/>
                </a:ext>
              </a:extLst>
            </p:cNvPr>
            <p:cNvSpPr/>
            <p:nvPr/>
          </p:nvSpPr>
          <p:spPr>
            <a:xfrm>
              <a:off x="6315305" y="3815105"/>
              <a:ext cx="19856" cy="19855"/>
            </a:xfrm>
            <a:custGeom>
              <a:avLst/>
              <a:gdLst>
                <a:gd name="connsiteX0" fmla="*/ 9900 w 19856"/>
                <a:gd name="connsiteY0" fmla="*/ 19855 h 19855"/>
                <a:gd name="connsiteX1" fmla="*/ 5040 w 19856"/>
                <a:gd name="connsiteY1" fmla="*/ 18573 h 19855"/>
                <a:gd name="connsiteX2" fmla="*/ 1285 w 19856"/>
                <a:gd name="connsiteY2" fmla="*/ 5037 h 19855"/>
                <a:gd name="connsiteX3" fmla="*/ 9947 w 19856"/>
                <a:gd name="connsiteY3" fmla="*/ 0 h 19855"/>
                <a:gd name="connsiteX4" fmla="*/ 14808 w 19856"/>
                <a:gd name="connsiteY4" fmla="*/ 1283 h 19855"/>
                <a:gd name="connsiteX5" fmla="*/ 19493 w 19856"/>
                <a:gd name="connsiteY5" fmla="*/ 7274 h 19855"/>
                <a:gd name="connsiteX6" fmla="*/ 18563 w 19856"/>
                <a:gd name="connsiteY6" fmla="*/ 14806 h 19855"/>
                <a:gd name="connsiteX7" fmla="*/ 9912 w 19856"/>
                <a:gd name="connsiteY7" fmla="*/ 19855 h 198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9856" h="19855">
                  <a:moveTo>
                    <a:pt x="9900" y="19855"/>
                  </a:moveTo>
                  <a:cubicBezTo>
                    <a:pt x="8206" y="19855"/>
                    <a:pt x="6522" y="19408"/>
                    <a:pt x="5040" y="18573"/>
                  </a:cubicBezTo>
                  <a:cubicBezTo>
                    <a:pt x="273" y="15877"/>
                    <a:pt x="-1410" y="9804"/>
                    <a:pt x="1285" y="5037"/>
                  </a:cubicBezTo>
                  <a:cubicBezTo>
                    <a:pt x="3039" y="1930"/>
                    <a:pt x="6358" y="0"/>
                    <a:pt x="9947" y="0"/>
                  </a:cubicBezTo>
                  <a:cubicBezTo>
                    <a:pt x="11642" y="0"/>
                    <a:pt x="13325" y="447"/>
                    <a:pt x="14808" y="1283"/>
                  </a:cubicBezTo>
                  <a:cubicBezTo>
                    <a:pt x="17115" y="2589"/>
                    <a:pt x="18775" y="4708"/>
                    <a:pt x="19493" y="7274"/>
                  </a:cubicBezTo>
                  <a:cubicBezTo>
                    <a:pt x="20199" y="9816"/>
                    <a:pt x="19869" y="12499"/>
                    <a:pt x="18563" y="14806"/>
                  </a:cubicBezTo>
                  <a:cubicBezTo>
                    <a:pt x="16809" y="17925"/>
                    <a:pt x="13490" y="19855"/>
                    <a:pt x="9912" y="19855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777" name="Gráfico 17">
            <a:extLst>
              <a:ext uri="{FF2B5EF4-FFF2-40B4-BE49-F238E27FC236}">
                <a16:creationId xmlns:a16="http://schemas.microsoft.com/office/drawing/2014/main" id="{E899124F-C263-7714-EB87-82C455A777AD}"/>
              </a:ext>
            </a:extLst>
          </p:cNvPr>
          <p:cNvGrpSpPr/>
          <p:nvPr/>
        </p:nvGrpSpPr>
        <p:grpSpPr>
          <a:xfrm>
            <a:off x="7394565" y="3682590"/>
            <a:ext cx="309378" cy="284862"/>
            <a:chOff x="7394565" y="3682590"/>
            <a:chExt cx="309378" cy="284862"/>
          </a:xfrm>
          <a:noFill/>
        </p:grpSpPr>
        <p:sp>
          <p:nvSpPr>
            <p:cNvPr id="1778" name="Forma livre: Forma 1777">
              <a:extLst>
                <a:ext uri="{FF2B5EF4-FFF2-40B4-BE49-F238E27FC236}">
                  <a16:creationId xmlns:a16="http://schemas.microsoft.com/office/drawing/2014/main" id="{C65C0A70-BE7A-C728-4728-D90BFAEC0541}"/>
                </a:ext>
              </a:extLst>
            </p:cNvPr>
            <p:cNvSpPr/>
            <p:nvPr/>
          </p:nvSpPr>
          <p:spPr>
            <a:xfrm>
              <a:off x="7410803" y="3682590"/>
              <a:ext cx="121126" cy="159514"/>
            </a:xfrm>
            <a:custGeom>
              <a:avLst/>
              <a:gdLst>
                <a:gd name="connsiteX0" fmla="*/ 121127 w 121126"/>
                <a:gd name="connsiteY0" fmla="*/ 116708 h 159514"/>
                <a:gd name="connsiteX1" fmla="*/ 64420 w 121126"/>
                <a:gd name="connsiteY1" fmla="*/ 88226 h 159514"/>
                <a:gd name="connsiteX2" fmla="*/ 83793 w 121126"/>
                <a:gd name="connsiteY2" fmla="*/ 61285 h 159514"/>
                <a:gd name="connsiteX3" fmla="*/ 83287 w 121126"/>
                <a:gd name="connsiteY3" fmla="*/ 15159 h 159514"/>
                <a:gd name="connsiteX4" fmla="*/ 56935 w 121126"/>
                <a:gd name="connsiteY4" fmla="*/ 0 h 159514"/>
                <a:gd name="connsiteX5" fmla="*/ 2559 w 121126"/>
                <a:gd name="connsiteY5" fmla="*/ 156820 h 159514"/>
                <a:gd name="connsiteX6" fmla="*/ 13034 w 121126"/>
                <a:gd name="connsiteY6" fmla="*/ 159515 h 159514"/>
                <a:gd name="connsiteX7" fmla="*/ 52733 w 121126"/>
                <a:gd name="connsiteY7" fmla="*/ 104397 h 1595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126" h="159514">
                  <a:moveTo>
                    <a:pt x="121127" y="116708"/>
                  </a:moveTo>
                  <a:lnTo>
                    <a:pt x="64420" y="88226"/>
                  </a:lnTo>
                  <a:lnTo>
                    <a:pt x="83793" y="61285"/>
                  </a:lnTo>
                  <a:lnTo>
                    <a:pt x="83287" y="15159"/>
                  </a:lnTo>
                  <a:lnTo>
                    <a:pt x="56935" y="0"/>
                  </a:lnTo>
                  <a:cubicBezTo>
                    <a:pt x="-17909" y="69418"/>
                    <a:pt x="2559" y="156820"/>
                    <a:pt x="2559" y="156820"/>
                  </a:cubicBezTo>
                  <a:lnTo>
                    <a:pt x="13034" y="159515"/>
                  </a:lnTo>
                  <a:lnTo>
                    <a:pt x="52733" y="104397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79" name="Forma livre: Forma 1778">
              <a:extLst>
                <a:ext uri="{FF2B5EF4-FFF2-40B4-BE49-F238E27FC236}">
                  <a16:creationId xmlns:a16="http://schemas.microsoft.com/office/drawing/2014/main" id="{78DE2510-4484-1E12-F474-8D1ACF4D45D0}"/>
                </a:ext>
              </a:extLst>
            </p:cNvPr>
            <p:cNvSpPr/>
            <p:nvPr/>
          </p:nvSpPr>
          <p:spPr>
            <a:xfrm>
              <a:off x="7577761" y="3822285"/>
              <a:ext cx="79574" cy="39922"/>
            </a:xfrm>
            <a:custGeom>
              <a:avLst/>
              <a:gdLst>
                <a:gd name="connsiteX0" fmla="*/ 79575 w 79574"/>
                <a:gd name="connsiteY0" fmla="*/ 39923 h 39922"/>
                <a:gd name="connsiteX1" fmla="*/ 0 w 79574"/>
                <a:gd name="connsiteY1" fmla="*/ 0 h 399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9574" h="39922">
                  <a:moveTo>
                    <a:pt x="79575" y="39923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80" name="Forma livre: Forma 1779">
              <a:extLst>
                <a:ext uri="{FF2B5EF4-FFF2-40B4-BE49-F238E27FC236}">
                  <a16:creationId xmlns:a16="http://schemas.microsoft.com/office/drawing/2014/main" id="{56EF826F-9ED5-0F81-7D46-A92A66774A7B}"/>
                </a:ext>
              </a:extLst>
            </p:cNvPr>
            <p:cNvSpPr/>
            <p:nvPr/>
          </p:nvSpPr>
          <p:spPr>
            <a:xfrm>
              <a:off x="7494361" y="3745158"/>
              <a:ext cx="166376" cy="154500"/>
            </a:xfrm>
            <a:custGeom>
              <a:avLst/>
              <a:gdLst>
                <a:gd name="connsiteX0" fmla="*/ 0 w 166376"/>
                <a:gd name="connsiteY0" fmla="*/ 0 h 154500"/>
                <a:gd name="connsiteX1" fmla="*/ 166376 w 166376"/>
                <a:gd name="connsiteY1" fmla="*/ 82070 h 154500"/>
                <a:gd name="connsiteX2" fmla="*/ 166376 w 166376"/>
                <a:gd name="connsiteY2" fmla="*/ 154501 h 154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6376" h="154500">
                  <a:moveTo>
                    <a:pt x="0" y="0"/>
                  </a:moveTo>
                  <a:lnTo>
                    <a:pt x="166376" y="82070"/>
                  </a:lnTo>
                  <a:lnTo>
                    <a:pt x="166376" y="154501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81" name="Forma livre: Forma 1780">
              <a:extLst>
                <a:ext uri="{FF2B5EF4-FFF2-40B4-BE49-F238E27FC236}">
                  <a16:creationId xmlns:a16="http://schemas.microsoft.com/office/drawing/2014/main" id="{D243BEC7-7FDA-312C-EDD0-597ED9BAE652}"/>
                </a:ext>
              </a:extLst>
            </p:cNvPr>
            <p:cNvSpPr/>
            <p:nvPr/>
          </p:nvSpPr>
          <p:spPr>
            <a:xfrm>
              <a:off x="7528504" y="3795956"/>
              <a:ext cx="31307" cy="31307"/>
            </a:xfrm>
            <a:custGeom>
              <a:avLst/>
              <a:gdLst>
                <a:gd name="connsiteX0" fmla="*/ 31307 w 31307"/>
                <a:gd name="connsiteY0" fmla="*/ 15654 h 31307"/>
                <a:gd name="connsiteX1" fmla="*/ 15654 w 31307"/>
                <a:gd name="connsiteY1" fmla="*/ 31307 h 31307"/>
                <a:gd name="connsiteX2" fmla="*/ 0 w 31307"/>
                <a:gd name="connsiteY2" fmla="*/ 15654 h 31307"/>
                <a:gd name="connsiteX3" fmla="*/ 15654 w 31307"/>
                <a:gd name="connsiteY3" fmla="*/ 0 h 31307"/>
                <a:gd name="connsiteX4" fmla="*/ 31307 w 31307"/>
                <a:gd name="connsiteY4" fmla="*/ 15654 h 313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1307" h="31307">
                  <a:moveTo>
                    <a:pt x="31307" y="15654"/>
                  </a:moveTo>
                  <a:cubicBezTo>
                    <a:pt x="31307" y="24304"/>
                    <a:pt x="24293" y="31307"/>
                    <a:pt x="15654" y="31307"/>
                  </a:cubicBezTo>
                  <a:cubicBezTo>
                    <a:pt x="7015" y="31307"/>
                    <a:pt x="0" y="24304"/>
                    <a:pt x="0" y="15654"/>
                  </a:cubicBezTo>
                  <a:cubicBezTo>
                    <a:pt x="0" y="7003"/>
                    <a:pt x="7003" y="0"/>
                    <a:pt x="15654" y="0"/>
                  </a:cubicBezTo>
                  <a:cubicBezTo>
                    <a:pt x="24304" y="0"/>
                    <a:pt x="31307" y="7015"/>
                    <a:pt x="31307" y="15654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782" name="Gráfico 17">
              <a:extLst>
                <a:ext uri="{FF2B5EF4-FFF2-40B4-BE49-F238E27FC236}">
                  <a16:creationId xmlns:a16="http://schemas.microsoft.com/office/drawing/2014/main" id="{8A30AAE2-43B2-4C8B-EFE3-D4A4A37C9F46}"/>
                </a:ext>
              </a:extLst>
            </p:cNvPr>
            <p:cNvGrpSpPr/>
            <p:nvPr/>
          </p:nvGrpSpPr>
          <p:grpSpPr>
            <a:xfrm>
              <a:off x="7490994" y="3823179"/>
              <a:ext cx="107504" cy="143802"/>
              <a:chOff x="7490994" y="3823179"/>
              <a:chExt cx="107504" cy="143802"/>
            </a:xfrm>
          </p:grpSpPr>
          <p:sp>
            <p:nvSpPr>
              <p:cNvPr id="1783" name="Forma livre: Forma 1782">
                <a:extLst>
                  <a:ext uri="{FF2B5EF4-FFF2-40B4-BE49-F238E27FC236}">
                    <a16:creationId xmlns:a16="http://schemas.microsoft.com/office/drawing/2014/main" id="{C5AE4FAE-1742-EC59-3A7E-E8A3777E9265}"/>
                  </a:ext>
                </a:extLst>
              </p:cNvPr>
              <p:cNvSpPr/>
              <p:nvPr/>
            </p:nvSpPr>
            <p:spPr>
              <a:xfrm>
                <a:off x="7490994" y="3823179"/>
                <a:ext cx="43006" cy="143802"/>
              </a:xfrm>
              <a:custGeom>
                <a:avLst/>
                <a:gdLst>
                  <a:gd name="connsiteX0" fmla="*/ 43006 w 43006"/>
                  <a:gd name="connsiteY0" fmla="*/ 0 h 143802"/>
                  <a:gd name="connsiteX1" fmla="*/ 0 w 43006"/>
                  <a:gd name="connsiteY1" fmla="*/ 143802 h 1438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3006" h="143802">
                    <a:moveTo>
                      <a:pt x="43006" y="0"/>
                    </a:moveTo>
                    <a:lnTo>
                      <a:pt x="0" y="143802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784" name="Forma livre: Forma 1783">
                <a:extLst>
                  <a:ext uri="{FF2B5EF4-FFF2-40B4-BE49-F238E27FC236}">
                    <a16:creationId xmlns:a16="http://schemas.microsoft.com/office/drawing/2014/main" id="{65A221EF-AF2C-0EF3-96E3-EFC03250FEFA}"/>
                  </a:ext>
                </a:extLst>
              </p:cNvPr>
              <p:cNvSpPr/>
              <p:nvPr/>
            </p:nvSpPr>
            <p:spPr>
              <a:xfrm>
                <a:off x="7555492" y="3823179"/>
                <a:ext cx="43006" cy="143802"/>
              </a:xfrm>
              <a:custGeom>
                <a:avLst/>
                <a:gdLst>
                  <a:gd name="connsiteX0" fmla="*/ 0 w 43006"/>
                  <a:gd name="connsiteY0" fmla="*/ 0 h 143802"/>
                  <a:gd name="connsiteX1" fmla="*/ 43007 w 43006"/>
                  <a:gd name="connsiteY1" fmla="*/ 143802 h 1438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3006" h="143802">
                    <a:moveTo>
                      <a:pt x="0" y="0"/>
                    </a:moveTo>
                    <a:lnTo>
                      <a:pt x="43007" y="143802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785" name="Forma livre: Forma 1784">
              <a:extLst>
                <a:ext uri="{FF2B5EF4-FFF2-40B4-BE49-F238E27FC236}">
                  <a16:creationId xmlns:a16="http://schemas.microsoft.com/office/drawing/2014/main" id="{56A226C3-4F1A-35A1-3265-FAFD24898F34}"/>
                </a:ext>
              </a:extLst>
            </p:cNvPr>
            <p:cNvSpPr/>
            <p:nvPr/>
          </p:nvSpPr>
          <p:spPr>
            <a:xfrm>
              <a:off x="7519536" y="3874107"/>
              <a:ext cx="50409" cy="1176"/>
            </a:xfrm>
            <a:custGeom>
              <a:avLst/>
              <a:gdLst>
                <a:gd name="connsiteX0" fmla="*/ 50410 w 50409"/>
                <a:gd name="connsiteY0" fmla="*/ 0 h 1176"/>
                <a:gd name="connsiteX1" fmla="*/ 0 w 50409"/>
                <a:gd name="connsiteY1" fmla="*/ 0 h 11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0409" h="1176">
                  <a:moveTo>
                    <a:pt x="50410" y="0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86" name="Forma livre: Forma 1785">
              <a:extLst>
                <a:ext uri="{FF2B5EF4-FFF2-40B4-BE49-F238E27FC236}">
                  <a16:creationId xmlns:a16="http://schemas.microsoft.com/office/drawing/2014/main" id="{BA79E201-296A-B983-B53A-8BAFCC8B88E2}"/>
                </a:ext>
              </a:extLst>
            </p:cNvPr>
            <p:cNvSpPr/>
            <p:nvPr/>
          </p:nvSpPr>
          <p:spPr>
            <a:xfrm>
              <a:off x="7503988" y="3928365"/>
              <a:ext cx="81516" cy="1176"/>
            </a:xfrm>
            <a:custGeom>
              <a:avLst/>
              <a:gdLst>
                <a:gd name="connsiteX0" fmla="*/ 81517 w 81516"/>
                <a:gd name="connsiteY0" fmla="*/ 0 h 1176"/>
                <a:gd name="connsiteX1" fmla="*/ 0 w 81516"/>
                <a:gd name="connsiteY1" fmla="*/ 0 h 11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1516" h="1176">
                  <a:moveTo>
                    <a:pt x="81517" y="0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87" name="Forma livre: Forma 1786">
              <a:extLst>
                <a:ext uri="{FF2B5EF4-FFF2-40B4-BE49-F238E27FC236}">
                  <a16:creationId xmlns:a16="http://schemas.microsoft.com/office/drawing/2014/main" id="{48880336-92A6-65D0-2F3F-B6F28585BC93}"/>
                </a:ext>
              </a:extLst>
            </p:cNvPr>
            <p:cNvSpPr/>
            <p:nvPr/>
          </p:nvSpPr>
          <p:spPr>
            <a:xfrm>
              <a:off x="7519536" y="3875684"/>
              <a:ext cx="65180" cy="50209"/>
            </a:xfrm>
            <a:custGeom>
              <a:avLst/>
              <a:gdLst>
                <a:gd name="connsiteX0" fmla="*/ 0 w 65180"/>
                <a:gd name="connsiteY0" fmla="*/ 0 h 50209"/>
                <a:gd name="connsiteX1" fmla="*/ 65181 w 65180"/>
                <a:gd name="connsiteY1" fmla="*/ 50210 h 502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5180" h="50209">
                  <a:moveTo>
                    <a:pt x="0" y="0"/>
                  </a:moveTo>
                  <a:lnTo>
                    <a:pt x="65181" y="5021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88" name="Forma livre: Forma 1787">
              <a:extLst>
                <a:ext uri="{FF2B5EF4-FFF2-40B4-BE49-F238E27FC236}">
                  <a16:creationId xmlns:a16="http://schemas.microsoft.com/office/drawing/2014/main" id="{C6BB398A-1661-2F05-2E61-2D4B77706562}"/>
                </a:ext>
              </a:extLst>
            </p:cNvPr>
            <p:cNvSpPr/>
            <p:nvPr/>
          </p:nvSpPr>
          <p:spPr>
            <a:xfrm>
              <a:off x="7394565" y="3967452"/>
              <a:ext cx="309378" cy="1176"/>
            </a:xfrm>
            <a:custGeom>
              <a:avLst/>
              <a:gdLst>
                <a:gd name="connsiteX0" fmla="*/ 0 w 309378"/>
                <a:gd name="connsiteY0" fmla="*/ 0 h 1176"/>
                <a:gd name="connsiteX1" fmla="*/ 309378 w 309378"/>
                <a:gd name="connsiteY1" fmla="*/ 0 h 11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09378" h="1176">
                  <a:moveTo>
                    <a:pt x="0" y="0"/>
                  </a:moveTo>
                  <a:lnTo>
                    <a:pt x="309378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89" name="Forma livre: Forma 1788">
              <a:extLst>
                <a:ext uri="{FF2B5EF4-FFF2-40B4-BE49-F238E27FC236}">
                  <a16:creationId xmlns:a16="http://schemas.microsoft.com/office/drawing/2014/main" id="{9F3356F3-7CF4-192E-7429-A3908B5758A1}"/>
                </a:ext>
              </a:extLst>
            </p:cNvPr>
            <p:cNvSpPr/>
            <p:nvPr/>
          </p:nvSpPr>
          <p:spPr>
            <a:xfrm>
              <a:off x="7642482" y="3919008"/>
              <a:ext cx="37015" cy="48444"/>
            </a:xfrm>
            <a:custGeom>
              <a:avLst/>
              <a:gdLst>
                <a:gd name="connsiteX0" fmla="*/ 0 w 37015"/>
                <a:gd name="connsiteY0" fmla="*/ 48444 h 48444"/>
                <a:gd name="connsiteX1" fmla="*/ 0 w 37015"/>
                <a:gd name="connsiteY1" fmla="*/ 0 h 48444"/>
                <a:gd name="connsiteX2" fmla="*/ 37016 w 37015"/>
                <a:gd name="connsiteY2" fmla="*/ 0 h 48444"/>
                <a:gd name="connsiteX3" fmla="*/ 37016 w 37015"/>
                <a:gd name="connsiteY3" fmla="*/ 48444 h 484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7015" h="48444">
                  <a:moveTo>
                    <a:pt x="0" y="48444"/>
                  </a:moveTo>
                  <a:lnTo>
                    <a:pt x="0" y="0"/>
                  </a:lnTo>
                  <a:lnTo>
                    <a:pt x="37016" y="0"/>
                  </a:lnTo>
                  <a:lnTo>
                    <a:pt x="37016" y="48444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90" name="Forma livre: Forma 1789">
              <a:extLst>
                <a:ext uri="{FF2B5EF4-FFF2-40B4-BE49-F238E27FC236}">
                  <a16:creationId xmlns:a16="http://schemas.microsoft.com/office/drawing/2014/main" id="{17933658-44A6-CDB7-3AEB-78613E6F5958}"/>
                </a:ext>
              </a:extLst>
            </p:cNvPr>
            <p:cNvSpPr/>
            <p:nvPr/>
          </p:nvSpPr>
          <p:spPr>
            <a:xfrm>
              <a:off x="7419081" y="3841905"/>
              <a:ext cx="1176" cy="106198"/>
            </a:xfrm>
            <a:custGeom>
              <a:avLst/>
              <a:gdLst>
                <a:gd name="connsiteX0" fmla="*/ 0 w 1176"/>
                <a:gd name="connsiteY0" fmla="*/ 0 h 106198"/>
                <a:gd name="connsiteX1" fmla="*/ 0 w 1176"/>
                <a:gd name="connsiteY1" fmla="*/ 106198 h 1061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6" h="106198">
                  <a:moveTo>
                    <a:pt x="0" y="0"/>
                  </a:moveTo>
                  <a:lnTo>
                    <a:pt x="0" y="106198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791" name="Gráfico 17">
            <a:extLst>
              <a:ext uri="{FF2B5EF4-FFF2-40B4-BE49-F238E27FC236}">
                <a16:creationId xmlns:a16="http://schemas.microsoft.com/office/drawing/2014/main" id="{5C7A98BA-DE1F-58E4-B1C1-2A9D78033483}"/>
              </a:ext>
            </a:extLst>
          </p:cNvPr>
          <p:cNvGrpSpPr/>
          <p:nvPr/>
        </p:nvGrpSpPr>
        <p:grpSpPr>
          <a:xfrm>
            <a:off x="6793198" y="5779233"/>
            <a:ext cx="285990" cy="281006"/>
            <a:chOff x="6793198" y="5779233"/>
            <a:chExt cx="285990" cy="281006"/>
          </a:xfrm>
          <a:noFill/>
        </p:grpSpPr>
        <p:grpSp>
          <p:nvGrpSpPr>
            <p:cNvPr id="1792" name="Gráfico 17">
              <a:extLst>
                <a:ext uri="{FF2B5EF4-FFF2-40B4-BE49-F238E27FC236}">
                  <a16:creationId xmlns:a16="http://schemas.microsoft.com/office/drawing/2014/main" id="{6513BFD6-90C3-79DD-98EA-759A33012931}"/>
                </a:ext>
              </a:extLst>
            </p:cNvPr>
            <p:cNvGrpSpPr/>
            <p:nvPr/>
          </p:nvGrpSpPr>
          <p:grpSpPr>
            <a:xfrm>
              <a:off x="6857008" y="5779233"/>
              <a:ext cx="169379" cy="112648"/>
              <a:chOff x="6857008" y="5779233"/>
              <a:chExt cx="169379" cy="112648"/>
            </a:xfrm>
            <a:noFill/>
          </p:grpSpPr>
          <p:sp>
            <p:nvSpPr>
              <p:cNvPr id="1793" name="Forma livre: Forma 1792">
                <a:extLst>
                  <a:ext uri="{FF2B5EF4-FFF2-40B4-BE49-F238E27FC236}">
                    <a16:creationId xmlns:a16="http://schemas.microsoft.com/office/drawing/2014/main" id="{20024031-BE6D-BC7E-6E3D-F5BDF0C3F769}"/>
                  </a:ext>
                </a:extLst>
              </p:cNvPr>
              <p:cNvSpPr/>
              <p:nvPr/>
            </p:nvSpPr>
            <p:spPr>
              <a:xfrm>
                <a:off x="6857008" y="5779233"/>
                <a:ext cx="169379" cy="112648"/>
              </a:xfrm>
              <a:custGeom>
                <a:avLst/>
                <a:gdLst>
                  <a:gd name="connsiteX0" fmla="*/ 0 w 169379"/>
                  <a:gd name="connsiteY0" fmla="*/ 81152 h 112648"/>
                  <a:gd name="connsiteX1" fmla="*/ 35592 w 169379"/>
                  <a:gd name="connsiteY1" fmla="*/ 15701 h 112648"/>
                  <a:gd name="connsiteX2" fmla="*/ 62168 w 169379"/>
                  <a:gd name="connsiteY2" fmla="*/ 0 h 112648"/>
                  <a:gd name="connsiteX3" fmla="*/ 98677 w 169379"/>
                  <a:gd name="connsiteY3" fmla="*/ 3166 h 112648"/>
                  <a:gd name="connsiteX4" fmla="*/ 126312 w 169379"/>
                  <a:gd name="connsiteY4" fmla="*/ 25211 h 112648"/>
                  <a:gd name="connsiteX5" fmla="*/ 144873 w 169379"/>
                  <a:gd name="connsiteY5" fmla="*/ 57554 h 112648"/>
                  <a:gd name="connsiteX6" fmla="*/ 161916 w 169379"/>
                  <a:gd name="connsiteY6" fmla="*/ 47797 h 112648"/>
                  <a:gd name="connsiteX7" fmla="*/ 166671 w 169379"/>
                  <a:gd name="connsiteY7" fmla="*/ 48409 h 112648"/>
                  <a:gd name="connsiteX8" fmla="*/ 169260 w 169379"/>
                  <a:gd name="connsiteY8" fmla="*/ 54435 h 112648"/>
                  <a:gd name="connsiteX9" fmla="*/ 152677 w 169379"/>
                  <a:gd name="connsiteY9" fmla="*/ 107634 h 112648"/>
                  <a:gd name="connsiteX10" fmla="*/ 144344 w 169379"/>
                  <a:gd name="connsiteY10" fmla="*/ 112413 h 112648"/>
                  <a:gd name="connsiteX11" fmla="*/ 90227 w 169379"/>
                  <a:gd name="connsiteY11" fmla="*/ 99619 h 112648"/>
                  <a:gd name="connsiteX12" fmla="*/ 86131 w 169379"/>
                  <a:gd name="connsiteY12" fmla="*/ 94511 h 112648"/>
                  <a:gd name="connsiteX13" fmla="*/ 88708 w 169379"/>
                  <a:gd name="connsiteY13" fmla="*/ 89650 h 112648"/>
                  <a:gd name="connsiteX14" fmla="*/ 105598 w 169379"/>
                  <a:gd name="connsiteY14" fmla="*/ 79987 h 112648"/>
                  <a:gd name="connsiteX15" fmla="*/ 89767 w 169379"/>
                  <a:gd name="connsiteY15" fmla="*/ 52305 h 1126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169379" h="112648">
                    <a:moveTo>
                      <a:pt x="0" y="81152"/>
                    </a:moveTo>
                    <a:lnTo>
                      <a:pt x="35592" y="15701"/>
                    </a:lnTo>
                    <a:cubicBezTo>
                      <a:pt x="35592" y="15701"/>
                      <a:pt x="45007" y="-35"/>
                      <a:pt x="62168" y="0"/>
                    </a:cubicBezTo>
                    <a:lnTo>
                      <a:pt x="98677" y="3166"/>
                    </a:lnTo>
                    <a:cubicBezTo>
                      <a:pt x="98677" y="3166"/>
                      <a:pt x="114284" y="4167"/>
                      <a:pt x="126312" y="25211"/>
                    </a:cubicBezTo>
                    <a:lnTo>
                      <a:pt x="144873" y="57554"/>
                    </a:lnTo>
                    <a:lnTo>
                      <a:pt x="161916" y="47797"/>
                    </a:lnTo>
                    <a:cubicBezTo>
                      <a:pt x="163917" y="46655"/>
                      <a:pt x="165764" y="47691"/>
                      <a:pt x="166671" y="48409"/>
                    </a:cubicBezTo>
                    <a:cubicBezTo>
                      <a:pt x="168624" y="49904"/>
                      <a:pt x="169766" y="52564"/>
                      <a:pt x="169260" y="54435"/>
                    </a:cubicBezTo>
                    <a:lnTo>
                      <a:pt x="152677" y="107634"/>
                    </a:lnTo>
                    <a:cubicBezTo>
                      <a:pt x="151688" y="111247"/>
                      <a:pt x="147945" y="113389"/>
                      <a:pt x="144344" y="112413"/>
                    </a:cubicBezTo>
                    <a:lnTo>
                      <a:pt x="90227" y="99619"/>
                    </a:lnTo>
                    <a:cubicBezTo>
                      <a:pt x="88226" y="99066"/>
                      <a:pt x="86437" y="96841"/>
                      <a:pt x="86131" y="94511"/>
                    </a:cubicBezTo>
                    <a:cubicBezTo>
                      <a:pt x="85883" y="92475"/>
                      <a:pt x="86802" y="90744"/>
                      <a:pt x="88708" y="89650"/>
                    </a:cubicBezTo>
                    <a:lnTo>
                      <a:pt x="105598" y="79987"/>
                    </a:lnTo>
                    <a:lnTo>
                      <a:pt x="89767" y="52305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794" name="Forma livre: Forma 1793">
                <a:extLst>
                  <a:ext uri="{FF2B5EF4-FFF2-40B4-BE49-F238E27FC236}">
                    <a16:creationId xmlns:a16="http://schemas.microsoft.com/office/drawing/2014/main" id="{AF985520-5836-9F0D-0993-3180D8894D1B}"/>
                  </a:ext>
                </a:extLst>
              </p:cNvPr>
              <p:cNvSpPr/>
              <p:nvPr/>
            </p:nvSpPr>
            <p:spPr>
              <a:xfrm>
                <a:off x="6893823" y="5784741"/>
                <a:ext cx="70665" cy="96111"/>
              </a:xfrm>
              <a:custGeom>
                <a:avLst/>
                <a:gdLst>
                  <a:gd name="connsiteX0" fmla="*/ 0 w 70665"/>
                  <a:gd name="connsiteY0" fmla="*/ 96111 h 96111"/>
                  <a:gd name="connsiteX1" fmla="*/ 44654 w 70665"/>
                  <a:gd name="connsiteY1" fmla="*/ 14924 h 96111"/>
                  <a:gd name="connsiteX2" fmla="*/ 70665 w 70665"/>
                  <a:gd name="connsiteY2" fmla="*/ 565 h 961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70665" h="96111">
                    <a:moveTo>
                      <a:pt x="0" y="96111"/>
                    </a:moveTo>
                    <a:lnTo>
                      <a:pt x="44654" y="14924"/>
                    </a:lnTo>
                    <a:cubicBezTo>
                      <a:pt x="44654" y="14924"/>
                      <a:pt x="54505" y="-3413"/>
                      <a:pt x="70665" y="565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795" name="Gráfico 17">
              <a:extLst>
                <a:ext uri="{FF2B5EF4-FFF2-40B4-BE49-F238E27FC236}">
                  <a16:creationId xmlns:a16="http://schemas.microsoft.com/office/drawing/2014/main" id="{703D0081-9155-50EA-16F7-C0A9AD78B64F}"/>
                </a:ext>
              </a:extLst>
            </p:cNvPr>
            <p:cNvGrpSpPr/>
            <p:nvPr/>
          </p:nvGrpSpPr>
          <p:grpSpPr>
            <a:xfrm>
              <a:off x="6934890" y="5899202"/>
              <a:ext cx="144297" cy="161037"/>
              <a:chOff x="6934890" y="5899202"/>
              <a:chExt cx="144297" cy="161037"/>
            </a:xfrm>
            <a:noFill/>
          </p:grpSpPr>
          <p:sp>
            <p:nvSpPr>
              <p:cNvPr id="1796" name="Forma livre: Forma 1795">
                <a:extLst>
                  <a:ext uri="{FF2B5EF4-FFF2-40B4-BE49-F238E27FC236}">
                    <a16:creationId xmlns:a16="http://schemas.microsoft.com/office/drawing/2014/main" id="{F6EF2BD9-BA88-CAB4-08F4-8137B0B85143}"/>
                  </a:ext>
                </a:extLst>
              </p:cNvPr>
              <p:cNvSpPr/>
              <p:nvPr/>
            </p:nvSpPr>
            <p:spPr>
              <a:xfrm>
                <a:off x="6934890" y="5899202"/>
                <a:ext cx="144297" cy="161037"/>
              </a:xfrm>
              <a:custGeom>
                <a:avLst/>
                <a:gdLst>
                  <a:gd name="connsiteX0" fmla="*/ 101652 w 144297"/>
                  <a:gd name="connsiteY0" fmla="*/ 0 h 161037"/>
                  <a:gd name="connsiteX1" fmla="*/ 140304 w 144297"/>
                  <a:gd name="connsiteY1" fmla="*/ 63686 h 161037"/>
                  <a:gd name="connsiteX2" fmla="*/ 140504 w 144297"/>
                  <a:gd name="connsiteY2" fmla="*/ 94558 h 161037"/>
                  <a:gd name="connsiteX3" fmla="*/ 119401 w 144297"/>
                  <a:gd name="connsiteY3" fmla="*/ 124523 h 161037"/>
                  <a:gd name="connsiteX4" fmla="*/ 86446 w 144297"/>
                  <a:gd name="connsiteY4" fmla="*/ 137082 h 161037"/>
                  <a:gd name="connsiteX5" fmla="*/ 49159 w 144297"/>
                  <a:gd name="connsiteY5" fmla="*/ 137082 h 161037"/>
                  <a:gd name="connsiteX6" fmla="*/ 49159 w 144297"/>
                  <a:gd name="connsiteY6" fmla="*/ 156713 h 161037"/>
                  <a:gd name="connsiteX7" fmla="*/ 46111 w 144297"/>
                  <a:gd name="connsiteY7" fmla="*/ 160515 h 161037"/>
                  <a:gd name="connsiteX8" fmla="*/ 39591 w 144297"/>
                  <a:gd name="connsiteY8" fmla="*/ 159727 h 161037"/>
                  <a:gd name="connsiteX9" fmla="*/ 1951 w 144297"/>
                  <a:gd name="connsiteY9" fmla="*/ 118627 h 161037"/>
                  <a:gd name="connsiteX10" fmla="*/ 2022 w 144297"/>
                  <a:gd name="connsiteY10" fmla="*/ 109023 h 161037"/>
                  <a:gd name="connsiteX11" fmla="*/ 40297 w 144297"/>
                  <a:gd name="connsiteY11" fmla="*/ 68700 h 161037"/>
                  <a:gd name="connsiteX12" fmla="*/ 46782 w 144297"/>
                  <a:gd name="connsiteY12" fmla="*/ 67735 h 161037"/>
                  <a:gd name="connsiteX13" fmla="*/ 49677 w 144297"/>
                  <a:gd name="connsiteY13" fmla="*/ 72407 h 161037"/>
                  <a:gd name="connsiteX14" fmla="*/ 49677 w 144297"/>
                  <a:gd name="connsiteY14" fmla="*/ 91862 h 161037"/>
                  <a:gd name="connsiteX15" fmla="*/ 81408 w 144297"/>
                  <a:gd name="connsiteY15" fmla="*/ 91862 h 1610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144297" h="161037">
                    <a:moveTo>
                      <a:pt x="101652" y="0"/>
                    </a:moveTo>
                    <a:lnTo>
                      <a:pt x="140304" y="63686"/>
                    </a:lnTo>
                    <a:cubicBezTo>
                      <a:pt x="140304" y="63686"/>
                      <a:pt x="149155" y="79740"/>
                      <a:pt x="140504" y="94558"/>
                    </a:cubicBezTo>
                    <a:lnTo>
                      <a:pt x="119401" y="124523"/>
                    </a:lnTo>
                    <a:cubicBezTo>
                      <a:pt x="119401" y="124523"/>
                      <a:pt x="110679" y="137270"/>
                      <a:pt x="86446" y="137082"/>
                    </a:cubicBezTo>
                    <a:lnTo>
                      <a:pt x="49159" y="137082"/>
                    </a:lnTo>
                    <a:lnTo>
                      <a:pt x="49159" y="156713"/>
                    </a:lnTo>
                    <a:cubicBezTo>
                      <a:pt x="49136" y="159009"/>
                      <a:pt x="47170" y="160091"/>
                      <a:pt x="46111" y="160515"/>
                    </a:cubicBezTo>
                    <a:cubicBezTo>
                      <a:pt x="43828" y="161445"/>
                      <a:pt x="40956" y="161104"/>
                      <a:pt x="39591" y="159727"/>
                    </a:cubicBezTo>
                    <a:lnTo>
                      <a:pt x="1951" y="118627"/>
                    </a:lnTo>
                    <a:cubicBezTo>
                      <a:pt x="-674" y="115955"/>
                      <a:pt x="-650" y="111647"/>
                      <a:pt x="2022" y="109023"/>
                    </a:cubicBezTo>
                    <a:lnTo>
                      <a:pt x="40297" y="68700"/>
                    </a:lnTo>
                    <a:cubicBezTo>
                      <a:pt x="41791" y="67240"/>
                      <a:pt x="44604" y="66816"/>
                      <a:pt x="46782" y="67735"/>
                    </a:cubicBezTo>
                    <a:cubicBezTo>
                      <a:pt x="48677" y="68559"/>
                      <a:pt x="49689" y="70206"/>
                      <a:pt x="49677" y="72407"/>
                    </a:cubicBezTo>
                    <a:lnTo>
                      <a:pt x="49677" y="91862"/>
                    </a:lnTo>
                    <a:lnTo>
                      <a:pt x="81408" y="91862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797" name="Forma livre: Forma 1796">
                <a:extLst>
                  <a:ext uri="{FF2B5EF4-FFF2-40B4-BE49-F238E27FC236}">
                    <a16:creationId xmlns:a16="http://schemas.microsoft.com/office/drawing/2014/main" id="{0F03CDC5-35CA-EF6B-02C1-39C4D0B6AAEA}"/>
                  </a:ext>
                </a:extLst>
              </p:cNvPr>
              <p:cNvSpPr/>
              <p:nvPr/>
            </p:nvSpPr>
            <p:spPr>
              <a:xfrm>
                <a:off x="7000327" y="5920728"/>
                <a:ext cx="52333" cy="109140"/>
              </a:xfrm>
              <a:custGeom>
                <a:avLst/>
                <a:gdLst>
                  <a:gd name="connsiteX0" fmla="*/ 0 w 52333"/>
                  <a:gd name="connsiteY0" fmla="*/ 0 h 109140"/>
                  <a:gd name="connsiteX1" fmla="*/ 47691 w 52333"/>
                  <a:gd name="connsiteY1" fmla="*/ 79434 h 109140"/>
                  <a:gd name="connsiteX2" fmla="*/ 47008 w 52333"/>
                  <a:gd name="connsiteY2" fmla="*/ 109140 h 1091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52333" h="109140">
                    <a:moveTo>
                      <a:pt x="0" y="0"/>
                    </a:moveTo>
                    <a:lnTo>
                      <a:pt x="47691" y="79434"/>
                    </a:lnTo>
                    <a:cubicBezTo>
                      <a:pt x="47691" y="79434"/>
                      <a:pt x="58578" y="97171"/>
                      <a:pt x="47008" y="109140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798" name="Gráfico 17">
              <a:extLst>
                <a:ext uri="{FF2B5EF4-FFF2-40B4-BE49-F238E27FC236}">
                  <a16:creationId xmlns:a16="http://schemas.microsoft.com/office/drawing/2014/main" id="{674687F7-38C1-0AC5-5D45-6B28B49F5E5C}"/>
                </a:ext>
              </a:extLst>
            </p:cNvPr>
            <p:cNvGrpSpPr/>
            <p:nvPr/>
          </p:nvGrpSpPr>
          <p:grpSpPr>
            <a:xfrm>
              <a:off x="6793198" y="5888182"/>
              <a:ext cx="117832" cy="146818"/>
              <a:chOff x="6793198" y="5888182"/>
              <a:chExt cx="117832" cy="146818"/>
            </a:xfrm>
            <a:noFill/>
          </p:grpSpPr>
          <p:sp>
            <p:nvSpPr>
              <p:cNvPr id="1799" name="Forma livre: Forma 1798">
                <a:extLst>
                  <a:ext uri="{FF2B5EF4-FFF2-40B4-BE49-F238E27FC236}">
                    <a16:creationId xmlns:a16="http://schemas.microsoft.com/office/drawing/2014/main" id="{21073396-770D-61FE-1F76-672E2D5D7D93}"/>
                  </a:ext>
                </a:extLst>
              </p:cNvPr>
              <p:cNvSpPr/>
              <p:nvPr/>
            </p:nvSpPr>
            <p:spPr>
              <a:xfrm>
                <a:off x="6793198" y="5888182"/>
                <a:ext cx="117656" cy="146818"/>
              </a:xfrm>
              <a:custGeom>
                <a:avLst/>
                <a:gdLst>
                  <a:gd name="connsiteX0" fmla="*/ 117656 w 117656"/>
                  <a:gd name="connsiteY0" fmla="*/ 146819 h 146818"/>
                  <a:gd name="connsiteX1" fmla="*/ 43154 w 117656"/>
                  <a:gd name="connsiteY1" fmla="*/ 146819 h 146818"/>
                  <a:gd name="connsiteX2" fmla="*/ 16590 w 117656"/>
                  <a:gd name="connsiteY2" fmla="*/ 131377 h 146818"/>
                  <a:gd name="connsiteX3" fmla="*/ 1748 w 117656"/>
                  <a:gd name="connsiteY3" fmla="*/ 97869 h 146818"/>
                  <a:gd name="connsiteX4" fmla="*/ 7739 w 117656"/>
                  <a:gd name="connsiteY4" fmla="*/ 63030 h 146818"/>
                  <a:gd name="connsiteX5" fmla="*/ 27112 w 117656"/>
                  <a:gd name="connsiteY5" fmla="*/ 31182 h 146818"/>
                  <a:gd name="connsiteX6" fmla="*/ 10340 w 117656"/>
                  <a:gd name="connsiteY6" fmla="*/ 20965 h 146818"/>
                  <a:gd name="connsiteX7" fmla="*/ 8574 w 117656"/>
                  <a:gd name="connsiteY7" fmla="*/ 16505 h 146818"/>
                  <a:gd name="connsiteX8" fmla="*/ 12611 w 117656"/>
                  <a:gd name="connsiteY8" fmla="*/ 11326 h 146818"/>
                  <a:gd name="connsiteX9" fmla="*/ 67211 w 117656"/>
                  <a:gd name="connsiteY9" fmla="*/ 192 h 146818"/>
                  <a:gd name="connsiteX10" fmla="*/ 75415 w 117656"/>
                  <a:gd name="connsiteY10" fmla="*/ 5194 h 146818"/>
                  <a:gd name="connsiteX11" fmla="*/ 90315 w 117656"/>
                  <a:gd name="connsiteY11" fmla="*/ 58770 h 146818"/>
                  <a:gd name="connsiteX12" fmla="*/ 87808 w 117656"/>
                  <a:gd name="connsiteY12" fmla="*/ 64819 h 146818"/>
                  <a:gd name="connsiteX13" fmla="*/ 82312 w 117656"/>
                  <a:gd name="connsiteY13" fmla="*/ 64913 h 146818"/>
                  <a:gd name="connsiteX14" fmla="*/ 65705 w 117656"/>
                  <a:gd name="connsiteY14" fmla="*/ 54780 h 146818"/>
                  <a:gd name="connsiteX15" fmla="*/ 49098 w 117656"/>
                  <a:gd name="connsiteY15" fmla="*/ 82003 h 1468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117656" h="146818">
                    <a:moveTo>
                      <a:pt x="117656" y="146819"/>
                    </a:moveTo>
                    <a:lnTo>
                      <a:pt x="43154" y="146819"/>
                    </a:lnTo>
                    <a:cubicBezTo>
                      <a:pt x="43154" y="146819"/>
                      <a:pt x="24828" y="146419"/>
                      <a:pt x="16590" y="131377"/>
                    </a:cubicBezTo>
                    <a:lnTo>
                      <a:pt x="1748" y="97869"/>
                    </a:lnTo>
                    <a:cubicBezTo>
                      <a:pt x="1748" y="97869"/>
                      <a:pt x="-4902" y="83710"/>
                      <a:pt x="7739" y="63030"/>
                    </a:cubicBezTo>
                    <a:lnTo>
                      <a:pt x="27112" y="31182"/>
                    </a:lnTo>
                    <a:lnTo>
                      <a:pt x="10340" y="20965"/>
                    </a:lnTo>
                    <a:cubicBezTo>
                      <a:pt x="8374" y="19765"/>
                      <a:pt x="8386" y="17646"/>
                      <a:pt x="8574" y="16505"/>
                    </a:cubicBezTo>
                    <a:cubicBezTo>
                      <a:pt x="8951" y="14080"/>
                      <a:pt x="10717" y="11785"/>
                      <a:pt x="12611" y="11326"/>
                    </a:cubicBezTo>
                    <a:lnTo>
                      <a:pt x="67211" y="192"/>
                    </a:lnTo>
                    <a:cubicBezTo>
                      <a:pt x="70848" y="-691"/>
                      <a:pt x="74532" y="1557"/>
                      <a:pt x="75415" y="5194"/>
                    </a:cubicBezTo>
                    <a:lnTo>
                      <a:pt x="90315" y="58770"/>
                    </a:lnTo>
                    <a:cubicBezTo>
                      <a:pt x="90798" y="60794"/>
                      <a:pt x="89703" y="63430"/>
                      <a:pt x="87808" y="64819"/>
                    </a:cubicBezTo>
                    <a:cubicBezTo>
                      <a:pt x="86137" y="66020"/>
                      <a:pt x="84195" y="66055"/>
                      <a:pt x="82312" y="64913"/>
                    </a:cubicBezTo>
                    <a:lnTo>
                      <a:pt x="65705" y="54780"/>
                    </a:lnTo>
                    <a:lnTo>
                      <a:pt x="49098" y="82003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800" name="Forma livre: Forma 1799">
                <a:extLst>
                  <a:ext uri="{FF2B5EF4-FFF2-40B4-BE49-F238E27FC236}">
                    <a16:creationId xmlns:a16="http://schemas.microsoft.com/office/drawing/2014/main" id="{8B84A86E-DF95-6C32-1EFD-1031CF7F8CD1}"/>
                  </a:ext>
                </a:extLst>
              </p:cNvPr>
              <p:cNvSpPr/>
              <p:nvPr/>
            </p:nvSpPr>
            <p:spPr>
              <a:xfrm>
                <a:off x="6793263" y="5976929"/>
                <a:ext cx="117767" cy="15865"/>
              </a:xfrm>
              <a:custGeom>
                <a:avLst/>
                <a:gdLst>
                  <a:gd name="connsiteX0" fmla="*/ 117768 w 117767"/>
                  <a:gd name="connsiteY0" fmla="*/ 15866 h 15865"/>
                  <a:gd name="connsiteX1" fmla="*/ 25117 w 117767"/>
                  <a:gd name="connsiteY1" fmla="*/ 15866 h 15865"/>
                  <a:gd name="connsiteX2" fmla="*/ 0 w 117767"/>
                  <a:gd name="connsiteY2" fmla="*/ 0 h 158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17767" h="15865">
                    <a:moveTo>
                      <a:pt x="117768" y="15866"/>
                    </a:moveTo>
                    <a:lnTo>
                      <a:pt x="25117" y="15866"/>
                    </a:lnTo>
                    <a:cubicBezTo>
                      <a:pt x="25117" y="15866"/>
                      <a:pt x="4308" y="16089"/>
                      <a:pt x="0" y="0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801" name="Gráfico 17">
            <a:extLst>
              <a:ext uri="{FF2B5EF4-FFF2-40B4-BE49-F238E27FC236}">
                <a16:creationId xmlns:a16="http://schemas.microsoft.com/office/drawing/2014/main" id="{55E63F83-CA02-4B0B-CDFE-5310F15E4427}"/>
              </a:ext>
            </a:extLst>
          </p:cNvPr>
          <p:cNvGrpSpPr/>
          <p:nvPr/>
        </p:nvGrpSpPr>
        <p:grpSpPr>
          <a:xfrm>
            <a:off x="6212887" y="5775973"/>
            <a:ext cx="220481" cy="287522"/>
            <a:chOff x="6212887" y="5775973"/>
            <a:chExt cx="220481" cy="287522"/>
          </a:xfrm>
          <a:noFill/>
        </p:grpSpPr>
        <p:grpSp>
          <p:nvGrpSpPr>
            <p:cNvPr id="1802" name="Gráfico 17">
              <a:extLst>
                <a:ext uri="{FF2B5EF4-FFF2-40B4-BE49-F238E27FC236}">
                  <a16:creationId xmlns:a16="http://schemas.microsoft.com/office/drawing/2014/main" id="{480CD3D6-1529-5D0F-D793-173C39E50FC5}"/>
                </a:ext>
              </a:extLst>
            </p:cNvPr>
            <p:cNvGrpSpPr/>
            <p:nvPr/>
          </p:nvGrpSpPr>
          <p:grpSpPr>
            <a:xfrm>
              <a:off x="6229200" y="5838482"/>
              <a:ext cx="187856" cy="194765"/>
              <a:chOff x="6229200" y="5838482"/>
              <a:chExt cx="187856" cy="194765"/>
            </a:xfrm>
          </p:grpSpPr>
          <p:sp>
            <p:nvSpPr>
              <p:cNvPr id="1803" name="Forma livre: Forma 1802">
                <a:extLst>
                  <a:ext uri="{FF2B5EF4-FFF2-40B4-BE49-F238E27FC236}">
                    <a16:creationId xmlns:a16="http://schemas.microsoft.com/office/drawing/2014/main" id="{EFB59A44-0D17-0F03-5988-D07CDBF87DAF}"/>
                  </a:ext>
                </a:extLst>
              </p:cNvPr>
              <p:cNvSpPr/>
              <p:nvPr/>
            </p:nvSpPr>
            <p:spPr>
              <a:xfrm>
                <a:off x="6229200" y="5838482"/>
                <a:ext cx="1176" cy="63344"/>
              </a:xfrm>
              <a:custGeom>
                <a:avLst/>
                <a:gdLst>
                  <a:gd name="connsiteX0" fmla="*/ 0 w 1176"/>
                  <a:gd name="connsiteY0" fmla="*/ 0 h 63344"/>
                  <a:gd name="connsiteX1" fmla="*/ 0 w 1176"/>
                  <a:gd name="connsiteY1" fmla="*/ 63345 h 633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76" h="63344">
                    <a:moveTo>
                      <a:pt x="0" y="0"/>
                    </a:moveTo>
                    <a:lnTo>
                      <a:pt x="0" y="63345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804" name="Forma livre: Forma 1803">
                <a:extLst>
                  <a:ext uri="{FF2B5EF4-FFF2-40B4-BE49-F238E27FC236}">
                    <a16:creationId xmlns:a16="http://schemas.microsoft.com/office/drawing/2014/main" id="{882291CD-C20C-4F61-FBF6-2CDB6BA6BD21}"/>
                  </a:ext>
                </a:extLst>
              </p:cNvPr>
              <p:cNvSpPr/>
              <p:nvPr/>
            </p:nvSpPr>
            <p:spPr>
              <a:xfrm>
                <a:off x="6229200" y="5951977"/>
                <a:ext cx="1176" cy="63156"/>
              </a:xfrm>
              <a:custGeom>
                <a:avLst/>
                <a:gdLst>
                  <a:gd name="connsiteX0" fmla="*/ 0 w 1176"/>
                  <a:gd name="connsiteY0" fmla="*/ 0 h 63156"/>
                  <a:gd name="connsiteX1" fmla="*/ 0 w 1176"/>
                  <a:gd name="connsiteY1" fmla="*/ 63156 h 631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76" h="63156">
                    <a:moveTo>
                      <a:pt x="0" y="0"/>
                    </a:moveTo>
                    <a:lnTo>
                      <a:pt x="0" y="63156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805" name="Forma livre: Forma 1804">
                <a:extLst>
                  <a:ext uri="{FF2B5EF4-FFF2-40B4-BE49-F238E27FC236}">
                    <a16:creationId xmlns:a16="http://schemas.microsoft.com/office/drawing/2014/main" id="{247A41D2-8C4B-A652-2F6C-9BEA1BA93568}"/>
                  </a:ext>
                </a:extLst>
              </p:cNvPr>
              <p:cNvSpPr/>
              <p:nvPr/>
            </p:nvSpPr>
            <p:spPr>
              <a:xfrm>
                <a:off x="6417056" y="5838882"/>
                <a:ext cx="1176" cy="82858"/>
              </a:xfrm>
              <a:custGeom>
                <a:avLst/>
                <a:gdLst>
                  <a:gd name="connsiteX0" fmla="*/ 0 w 1176"/>
                  <a:gd name="connsiteY0" fmla="*/ 0 h 82858"/>
                  <a:gd name="connsiteX1" fmla="*/ 0 w 1176"/>
                  <a:gd name="connsiteY1" fmla="*/ 82859 h 828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76" h="82858">
                    <a:moveTo>
                      <a:pt x="0" y="0"/>
                    </a:moveTo>
                    <a:lnTo>
                      <a:pt x="0" y="82859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806" name="Forma livre: Forma 1805">
                <a:extLst>
                  <a:ext uri="{FF2B5EF4-FFF2-40B4-BE49-F238E27FC236}">
                    <a16:creationId xmlns:a16="http://schemas.microsoft.com/office/drawing/2014/main" id="{856ACCF4-D65C-71D5-66A4-140A239C1935}"/>
                  </a:ext>
                </a:extLst>
              </p:cNvPr>
              <p:cNvSpPr/>
              <p:nvPr/>
            </p:nvSpPr>
            <p:spPr>
              <a:xfrm>
                <a:off x="6417056" y="5952660"/>
                <a:ext cx="1176" cy="80587"/>
              </a:xfrm>
              <a:custGeom>
                <a:avLst/>
                <a:gdLst>
                  <a:gd name="connsiteX0" fmla="*/ 0 w 1176"/>
                  <a:gd name="connsiteY0" fmla="*/ 0 h 80587"/>
                  <a:gd name="connsiteX1" fmla="*/ 0 w 1176"/>
                  <a:gd name="connsiteY1" fmla="*/ 80587 h 805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76" h="80587">
                    <a:moveTo>
                      <a:pt x="0" y="0"/>
                    </a:moveTo>
                    <a:lnTo>
                      <a:pt x="0" y="80587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807" name="Gráfico 17">
              <a:extLst>
                <a:ext uri="{FF2B5EF4-FFF2-40B4-BE49-F238E27FC236}">
                  <a16:creationId xmlns:a16="http://schemas.microsoft.com/office/drawing/2014/main" id="{97019780-B483-536C-2EB4-AEA2A752785F}"/>
                </a:ext>
              </a:extLst>
            </p:cNvPr>
            <p:cNvGrpSpPr/>
            <p:nvPr/>
          </p:nvGrpSpPr>
          <p:grpSpPr>
            <a:xfrm>
              <a:off x="6212887" y="5809293"/>
              <a:ext cx="220481" cy="254202"/>
              <a:chOff x="6212887" y="5809293"/>
              <a:chExt cx="220481" cy="254202"/>
            </a:xfrm>
            <a:noFill/>
          </p:grpSpPr>
          <p:sp>
            <p:nvSpPr>
              <p:cNvPr id="1808" name="Forma livre: Forma 1807">
                <a:extLst>
                  <a:ext uri="{FF2B5EF4-FFF2-40B4-BE49-F238E27FC236}">
                    <a16:creationId xmlns:a16="http://schemas.microsoft.com/office/drawing/2014/main" id="{0FBA2553-478E-39D7-6A84-60D62F8A3E04}"/>
                  </a:ext>
                </a:extLst>
              </p:cNvPr>
              <p:cNvSpPr/>
              <p:nvPr/>
            </p:nvSpPr>
            <p:spPr>
              <a:xfrm>
                <a:off x="6212899" y="6034471"/>
                <a:ext cx="218127" cy="29024"/>
              </a:xfrm>
              <a:custGeom>
                <a:avLst/>
                <a:gdLst>
                  <a:gd name="connsiteX0" fmla="*/ 45431 w 218127"/>
                  <a:gd name="connsiteY0" fmla="*/ 0 h 29024"/>
                  <a:gd name="connsiteX1" fmla="*/ 14124 w 218127"/>
                  <a:gd name="connsiteY1" fmla="*/ 0 h 29024"/>
                  <a:gd name="connsiteX2" fmla="*/ 0 w 218127"/>
                  <a:gd name="connsiteY2" fmla="*/ 14500 h 29024"/>
                  <a:gd name="connsiteX3" fmla="*/ 14124 w 218127"/>
                  <a:gd name="connsiteY3" fmla="*/ 29024 h 29024"/>
                  <a:gd name="connsiteX4" fmla="*/ 204004 w 218127"/>
                  <a:gd name="connsiteY4" fmla="*/ 29024 h 29024"/>
                  <a:gd name="connsiteX5" fmla="*/ 218128 w 218127"/>
                  <a:gd name="connsiteY5" fmla="*/ 14500 h 29024"/>
                  <a:gd name="connsiteX6" fmla="*/ 204004 w 218127"/>
                  <a:gd name="connsiteY6" fmla="*/ 0 h 29024"/>
                  <a:gd name="connsiteX7" fmla="*/ 191222 w 218127"/>
                  <a:gd name="connsiteY7" fmla="*/ 0 h 290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18127" h="29024">
                    <a:moveTo>
                      <a:pt x="45431" y="0"/>
                    </a:moveTo>
                    <a:lnTo>
                      <a:pt x="14124" y="0"/>
                    </a:lnTo>
                    <a:cubicBezTo>
                      <a:pt x="6356" y="0"/>
                      <a:pt x="0" y="6732"/>
                      <a:pt x="0" y="14500"/>
                    </a:cubicBezTo>
                    <a:cubicBezTo>
                      <a:pt x="0" y="22268"/>
                      <a:pt x="6356" y="29024"/>
                      <a:pt x="14124" y="29024"/>
                    </a:cubicBezTo>
                    <a:lnTo>
                      <a:pt x="204004" y="29024"/>
                    </a:lnTo>
                    <a:cubicBezTo>
                      <a:pt x="211772" y="29024"/>
                      <a:pt x="218128" y="22280"/>
                      <a:pt x="218128" y="14500"/>
                    </a:cubicBezTo>
                    <a:cubicBezTo>
                      <a:pt x="218128" y="6720"/>
                      <a:pt x="211772" y="0"/>
                      <a:pt x="204004" y="0"/>
                    </a:cubicBezTo>
                    <a:lnTo>
                      <a:pt x="191222" y="0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809" name="Forma livre: Forma 1808">
                <a:extLst>
                  <a:ext uri="{FF2B5EF4-FFF2-40B4-BE49-F238E27FC236}">
                    <a16:creationId xmlns:a16="http://schemas.microsoft.com/office/drawing/2014/main" id="{BA55B176-7806-AB8F-B1C7-A61476A4F0A7}"/>
                  </a:ext>
                </a:extLst>
              </p:cNvPr>
              <p:cNvSpPr/>
              <p:nvPr/>
            </p:nvSpPr>
            <p:spPr>
              <a:xfrm>
                <a:off x="6212887" y="5809293"/>
                <a:ext cx="218127" cy="29023"/>
              </a:xfrm>
              <a:custGeom>
                <a:avLst/>
                <a:gdLst>
                  <a:gd name="connsiteX0" fmla="*/ 191222 w 218127"/>
                  <a:gd name="connsiteY0" fmla="*/ 29024 h 29023"/>
                  <a:gd name="connsiteX1" fmla="*/ 204004 w 218127"/>
                  <a:gd name="connsiteY1" fmla="*/ 29024 h 29023"/>
                  <a:gd name="connsiteX2" fmla="*/ 218128 w 218127"/>
                  <a:gd name="connsiteY2" fmla="*/ 14524 h 29023"/>
                  <a:gd name="connsiteX3" fmla="*/ 204004 w 218127"/>
                  <a:gd name="connsiteY3" fmla="*/ 0 h 29023"/>
                  <a:gd name="connsiteX4" fmla="*/ 14124 w 218127"/>
                  <a:gd name="connsiteY4" fmla="*/ 0 h 29023"/>
                  <a:gd name="connsiteX5" fmla="*/ 0 w 218127"/>
                  <a:gd name="connsiteY5" fmla="*/ 14524 h 29023"/>
                  <a:gd name="connsiteX6" fmla="*/ 14124 w 218127"/>
                  <a:gd name="connsiteY6" fmla="*/ 29024 h 29023"/>
                  <a:gd name="connsiteX7" fmla="*/ 45431 w 218127"/>
                  <a:gd name="connsiteY7" fmla="*/ 29024 h 290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18127" h="29023">
                    <a:moveTo>
                      <a:pt x="191222" y="29024"/>
                    </a:moveTo>
                    <a:lnTo>
                      <a:pt x="204004" y="29024"/>
                    </a:lnTo>
                    <a:cubicBezTo>
                      <a:pt x="211772" y="29024"/>
                      <a:pt x="218128" y="22280"/>
                      <a:pt x="218128" y="14524"/>
                    </a:cubicBezTo>
                    <a:cubicBezTo>
                      <a:pt x="218128" y="6768"/>
                      <a:pt x="211772" y="0"/>
                      <a:pt x="204004" y="0"/>
                    </a:cubicBezTo>
                    <a:lnTo>
                      <a:pt x="14124" y="0"/>
                    </a:lnTo>
                    <a:cubicBezTo>
                      <a:pt x="6356" y="0"/>
                      <a:pt x="0" y="6744"/>
                      <a:pt x="0" y="14524"/>
                    </a:cubicBezTo>
                    <a:cubicBezTo>
                      <a:pt x="0" y="22304"/>
                      <a:pt x="6356" y="29024"/>
                      <a:pt x="14124" y="29024"/>
                    </a:cubicBezTo>
                    <a:lnTo>
                      <a:pt x="45431" y="29024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810" name="Forma livre: Forma 1809">
                <a:extLst>
                  <a:ext uri="{FF2B5EF4-FFF2-40B4-BE49-F238E27FC236}">
                    <a16:creationId xmlns:a16="http://schemas.microsoft.com/office/drawing/2014/main" id="{F119D9CA-3006-65E8-194F-186341522BAD}"/>
                  </a:ext>
                </a:extLst>
              </p:cNvPr>
              <p:cNvSpPr/>
              <p:nvPr/>
            </p:nvSpPr>
            <p:spPr>
              <a:xfrm>
                <a:off x="6212899" y="5922682"/>
                <a:ext cx="45431" cy="29035"/>
              </a:xfrm>
              <a:custGeom>
                <a:avLst/>
                <a:gdLst>
                  <a:gd name="connsiteX0" fmla="*/ 45431 w 45431"/>
                  <a:gd name="connsiteY0" fmla="*/ 0 h 29035"/>
                  <a:gd name="connsiteX1" fmla="*/ 14124 w 45431"/>
                  <a:gd name="connsiteY1" fmla="*/ 0 h 29035"/>
                  <a:gd name="connsiteX2" fmla="*/ 0 w 45431"/>
                  <a:gd name="connsiteY2" fmla="*/ 14524 h 29035"/>
                  <a:gd name="connsiteX3" fmla="*/ 14124 w 45431"/>
                  <a:gd name="connsiteY3" fmla="*/ 29036 h 29035"/>
                  <a:gd name="connsiteX4" fmla="*/ 45431 w 45431"/>
                  <a:gd name="connsiteY4" fmla="*/ 29036 h 290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5431" h="29035">
                    <a:moveTo>
                      <a:pt x="45431" y="0"/>
                    </a:moveTo>
                    <a:lnTo>
                      <a:pt x="14124" y="0"/>
                    </a:lnTo>
                    <a:cubicBezTo>
                      <a:pt x="6356" y="0"/>
                      <a:pt x="0" y="6744"/>
                      <a:pt x="0" y="14524"/>
                    </a:cubicBezTo>
                    <a:cubicBezTo>
                      <a:pt x="0" y="22304"/>
                      <a:pt x="6356" y="29036"/>
                      <a:pt x="14124" y="29036"/>
                    </a:cubicBezTo>
                    <a:lnTo>
                      <a:pt x="45431" y="29036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811" name="Forma livre: Forma 1810">
                <a:extLst>
                  <a:ext uri="{FF2B5EF4-FFF2-40B4-BE49-F238E27FC236}">
                    <a16:creationId xmlns:a16="http://schemas.microsoft.com/office/drawing/2014/main" id="{C43F9AD4-C29E-997C-D682-3C23026BAD9D}"/>
                  </a:ext>
                </a:extLst>
              </p:cNvPr>
              <p:cNvSpPr/>
              <p:nvPr/>
            </p:nvSpPr>
            <p:spPr>
              <a:xfrm>
                <a:off x="6404109" y="5922670"/>
                <a:ext cx="29259" cy="29035"/>
              </a:xfrm>
              <a:custGeom>
                <a:avLst/>
                <a:gdLst>
                  <a:gd name="connsiteX0" fmla="*/ 0 w 29259"/>
                  <a:gd name="connsiteY0" fmla="*/ 29036 h 29035"/>
                  <a:gd name="connsiteX1" fmla="*/ 15136 w 29259"/>
                  <a:gd name="connsiteY1" fmla="*/ 29036 h 29035"/>
                  <a:gd name="connsiteX2" fmla="*/ 29259 w 29259"/>
                  <a:gd name="connsiteY2" fmla="*/ 14524 h 29035"/>
                  <a:gd name="connsiteX3" fmla="*/ 15136 w 29259"/>
                  <a:gd name="connsiteY3" fmla="*/ 0 h 29035"/>
                  <a:gd name="connsiteX4" fmla="*/ 0 w 29259"/>
                  <a:gd name="connsiteY4" fmla="*/ 0 h 290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9259" h="29035">
                    <a:moveTo>
                      <a:pt x="0" y="29036"/>
                    </a:moveTo>
                    <a:lnTo>
                      <a:pt x="15136" y="29036"/>
                    </a:lnTo>
                    <a:cubicBezTo>
                      <a:pt x="22904" y="29036"/>
                      <a:pt x="29259" y="22292"/>
                      <a:pt x="29259" y="14524"/>
                    </a:cubicBezTo>
                    <a:cubicBezTo>
                      <a:pt x="29259" y="6756"/>
                      <a:pt x="22904" y="0"/>
                      <a:pt x="15136" y="0"/>
                    </a:cubicBezTo>
                    <a:lnTo>
                      <a:pt x="0" y="0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812" name="Gráfico 17">
              <a:extLst>
                <a:ext uri="{FF2B5EF4-FFF2-40B4-BE49-F238E27FC236}">
                  <a16:creationId xmlns:a16="http://schemas.microsoft.com/office/drawing/2014/main" id="{CC1356BD-4D23-F92E-B2EF-02F7F3F466D6}"/>
                </a:ext>
              </a:extLst>
            </p:cNvPr>
            <p:cNvGrpSpPr/>
            <p:nvPr/>
          </p:nvGrpSpPr>
          <p:grpSpPr>
            <a:xfrm>
              <a:off x="6286927" y="5882206"/>
              <a:ext cx="77402" cy="110493"/>
              <a:chOff x="6286927" y="5882206"/>
              <a:chExt cx="77402" cy="110493"/>
            </a:xfrm>
            <a:noFill/>
          </p:grpSpPr>
          <p:sp>
            <p:nvSpPr>
              <p:cNvPr id="1813" name="Forma livre: Forma 1812">
                <a:extLst>
                  <a:ext uri="{FF2B5EF4-FFF2-40B4-BE49-F238E27FC236}">
                    <a16:creationId xmlns:a16="http://schemas.microsoft.com/office/drawing/2014/main" id="{6ECAB9CC-6C00-B0D3-B7DF-3CBAFA35EA59}"/>
                  </a:ext>
                </a:extLst>
              </p:cNvPr>
              <p:cNvSpPr/>
              <p:nvPr/>
            </p:nvSpPr>
            <p:spPr>
              <a:xfrm>
                <a:off x="6286927" y="5882206"/>
                <a:ext cx="77402" cy="110493"/>
              </a:xfrm>
              <a:custGeom>
                <a:avLst/>
                <a:gdLst>
                  <a:gd name="connsiteX0" fmla="*/ 24520 w 77402"/>
                  <a:gd name="connsiteY0" fmla="*/ 24293 h 110493"/>
                  <a:gd name="connsiteX1" fmla="*/ 13504 w 77402"/>
                  <a:gd name="connsiteY1" fmla="*/ 37957 h 110493"/>
                  <a:gd name="connsiteX2" fmla="*/ 38726 w 77402"/>
                  <a:gd name="connsiteY2" fmla="*/ 110494 h 110493"/>
                  <a:gd name="connsiteX3" fmla="*/ 63960 w 77402"/>
                  <a:gd name="connsiteY3" fmla="*/ 37957 h 110493"/>
                  <a:gd name="connsiteX4" fmla="*/ 38726 w 77402"/>
                  <a:gd name="connsiteY4" fmla="*/ 0 h 1104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7402" h="110493">
                    <a:moveTo>
                      <a:pt x="24520" y="24293"/>
                    </a:moveTo>
                    <a:cubicBezTo>
                      <a:pt x="21519" y="28259"/>
                      <a:pt x="17894" y="32790"/>
                      <a:pt x="13504" y="37957"/>
                    </a:cubicBezTo>
                    <a:cubicBezTo>
                      <a:pt x="-13237" y="69371"/>
                      <a:pt x="2111" y="110388"/>
                      <a:pt x="38726" y="110494"/>
                    </a:cubicBezTo>
                    <a:cubicBezTo>
                      <a:pt x="75094" y="110388"/>
                      <a:pt x="90701" y="69371"/>
                      <a:pt x="63960" y="37957"/>
                    </a:cubicBezTo>
                    <a:cubicBezTo>
                      <a:pt x="41068" y="11052"/>
                      <a:pt x="38926" y="1330"/>
                      <a:pt x="38726" y="0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814" name="Forma livre: Forma 1813">
                <a:extLst>
                  <a:ext uri="{FF2B5EF4-FFF2-40B4-BE49-F238E27FC236}">
                    <a16:creationId xmlns:a16="http://schemas.microsoft.com/office/drawing/2014/main" id="{0450BA6A-23B2-C70B-AB10-BB9E0CCF963B}"/>
                  </a:ext>
                </a:extLst>
              </p:cNvPr>
              <p:cNvSpPr/>
              <p:nvPr/>
            </p:nvSpPr>
            <p:spPr>
              <a:xfrm>
                <a:off x="6310917" y="5950447"/>
                <a:ext cx="10745" cy="17748"/>
              </a:xfrm>
              <a:custGeom>
                <a:avLst/>
                <a:gdLst>
                  <a:gd name="connsiteX0" fmla="*/ 0 w 10745"/>
                  <a:gd name="connsiteY0" fmla="*/ 0 h 17748"/>
                  <a:gd name="connsiteX1" fmla="*/ 10746 w 10745"/>
                  <a:gd name="connsiteY1" fmla="*/ 17749 h 177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0745" h="17748">
                    <a:moveTo>
                      <a:pt x="0" y="0"/>
                    </a:moveTo>
                    <a:cubicBezTo>
                      <a:pt x="0" y="0"/>
                      <a:pt x="177" y="11805"/>
                      <a:pt x="10746" y="17749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815" name="Forma livre: Forma 1814">
              <a:extLst>
                <a:ext uri="{FF2B5EF4-FFF2-40B4-BE49-F238E27FC236}">
                  <a16:creationId xmlns:a16="http://schemas.microsoft.com/office/drawing/2014/main" id="{3F531F96-1267-789B-83A3-686CCCA288C8}"/>
                </a:ext>
              </a:extLst>
            </p:cNvPr>
            <p:cNvSpPr/>
            <p:nvPr/>
          </p:nvSpPr>
          <p:spPr>
            <a:xfrm>
              <a:off x="6265639" y="5775973"/>
              <a:ext cx="35026" cy="17430"/>
            </a:xfrm>
            <a:custGeom>
              <a:avLst/>
              <a:gdLst>
                <a:gd name="connsiteX0" fmla="*/ 35027 w 35026"/>
                <a:gd name="connsiteY0" fmla="*/ 17431 h 17430"/>
                <a:gd name="connsiteX1" fmla="*/ 35027 w 35026"/>
                <a:gd name="connsiteY1" fmla="*/ 0 h 17430"/>
                <a:gd name="connsiteX2" fmla="*/ 0 w 35026"/>
                <a:gd name="connsiteY2" fmla="*/ 0 h 17430"/>
                <a:gd name="connsiteX3" fmla="*/ 0 w 35026"/>
                <a:gd name="connsiteY3" fmla="*/ 17431 h 174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5026" h="17430">
                  <a:moveTo>
                    <a:pt x="35027" y="17431"/>
                  </a:moveTo>
                  <a:lnTo>
                    <a:pt x="35027" y="0"/>
                  </a:lnTo>
                  <a:lnTo>
                    <a:pt x="0" y="0"/>
                  </a:lnTo>
                  <a:lnTo>
                    <a:pt x="0" y="17431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816" name="Gráfico 17">
            <a:extLst>
              <a:ext uri="{FF2B5EF4-FFF2-40B4-BE49-F238E27FC236}">
                <a16:creationId xmlns:a16="http://schemas.microsoft.com/office/drawing/2014/main" id="{2BBC61BB-36D4-30B0-5DF1-96555499DEBA}"/>
              </a:ext>
            </a:extLst>
          </p:cNvPr>
          <p:cNvGrpSpPr/>
          <p:nvPr/>
        </p:nvGrpSpPr>
        <p:grpSpPr>
          <a:xfrm>
            <a:off x="7378323" y="5779774"/>
            <a:ext cx="341839" cy="279914"/>
            <a:chOff x="7378323" y="5779774"/>
            <a:chExt cx="341839" cy="279914"/>
          </a:xfrm>
          <a:noFill/>
        </p:grpSpPr>
        <p:grpSp>
          <p:nvGrpSpPr>
            <p:cNvPr id="1817" name="Gráfico 17">
              <a:extLst>
                <a:ext uri="{FF2B5EF4-FFF2-40B4-BE49-F238E27FC236}">
                  <a16:creationId xmlns:a16="http://schemas.microsoft.com/office/drawing/2014/main" id="{EDCD21B9-4918-48A9-555E-37814DE9557D}"/>
                </a:ext>
              </a:extLst>
            </p:cNvPr>
            <p:cNvGrpSpPr/>
            <p:nvPr/>
          </p:nvGrpSpPr>
          <p:grpSpPr>
            <a:xfrm>
              <a:off x="7528893" y="5779774"/>
              <a:ext cx="71041" cy="122852"/>
              <a:chOff x="7528893" y="5779774"/>
              <a:chExt cx="71041" cy="122852"/>
            </a:xfrm>
            <a:noFill/>
          </p:grpSpPr>
          <p:sp>
            <p:nvSpPr>
              <p:cNvPr id="1818" name="Forma livre: Forma 1817">
                <a:extLst>
                  <a:ext uri="{FF2B5EF4-FFF2-40B4-BE49-F238E27FC236}">
                    <a16:creationId xmlns:a16="http://schemas.microsoft.com/office/drawing/2014/main" id="{ADA2716D-64F3-553E-42D6-253C7EBB9928}"/>
                  </a:ext>
                </a:extLst>
              </p:cNvPr>
              <p:cNvSpPr/>
              <p:nvPr/>
            </p:nvSpPr>
            <p:spPr>
              <a:xfrm>
                <a:off x="7528893" y="5779774"/>
                <a:ext cx="71041" cy="122852"/>
              </a:xfrm>
              <a:custGeom>
                <a:avLst/>
                <a:gdLst>
                  <a:gd name="connsiteX0" fmla="*/ 71042 w 71041"/>
                  <a:gd name="connsiteY0" fmla="*/ 122852 h 122852"/>
                  <a:gd name="connsiteX1" fmla="*/ 42618 w 71041"/>
                  <a:gd name="connsiteY1" fmla="*/ 0 h 122852"/>
                  <a:gd name="connsiteX2" fmla="*/ 28412 w 71041"/>
                  <a:gd name="connsiteY2" fmla="*/ 0 h 122852"/>
                  <a:gd name="connsiteX3" fmla="*/ 0 w 71041"/>
                  <a:gd name="connsiteY3" fmla="*/ 122852 h 1228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1041" h="122852">
                    <a:moveTo>
                      <a:pt x="71042" y="122852"/>
                    </a:moveTo>
                    <a:lnTo>
                      <a:pt x="42618" y="0"/>
                    </a:lnTo>
                    <a:lnTo>
                      <a:pt x="28412" y="0"/>
                    </a:lnTo>
                    <a:lnTo>
                      <a:pt x="0" y="122852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819" name="Forma livre: Forma 1818">
                <a:extLst>
                  <a:ext uri="{FF2B5EF4-FFF2-40B4-BE49-F238E27FC236}">
                    <a16:creationId xmlns:a16="http://schemas.microsoft.com/office/drawing/2014/main" id="{FC29F195-9EC5-84B1-974E-F1E2E9149DB3}"/>
                  </a:ext>
                </a:extLst>
              </p:cNvPr>
              <p:cNvSpPr/>
              <p:nvPr/>
            </p:nvSpPr>
            <p:spPr>
              <a:xfrm>
                <a:off x="7547936" y="5824888"/>
                <a:ext cx="32955" cy="1176"/>
              </a:xfrm>
              <a:custGeom>
                <a:avLst/>
                <a:gdLst>
                  <a:gd name="connsiteX0" fmla="*/ 32955 w 32955"/>
                  <a:gd name="connsiteY0" fmla="*/ 0 h 1176"/>
                  <a:gd name="connsiteX1" fmla="*/ 0 w 32955"/>
                  <a:gd name="connsiteY1" fmla="*/ 0 h 11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2955" h="1176">
                    <a:moveTo>
                      <a:pt x="32955" y="0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820" name="Forma livre: Forma 1819">
                <a:extLst>
                  <a:ext uri="{FF2B5EF4-FFF2-40B4-BE49-F238E27FC236}">
                    <a16:creationId xmlns:a16="http://schemas.microsoft.com/office/drawing/2014/main" id="{2EEAC0AF-324E-94FB-6343-2E5A3848C60B}"/>
                  </a:ext>
                </a:extLst>
              </p:cNvPr>
              <p:cNvSpPr/>
              <p:nvPr/>
            </p:nvSpPr>
            <p:spPr>
              <a:xfrm>
                <a:off x="7536308" y="5874438"/>
                <a:ext cx="56200" cy="1176"/>
              </a:xfrm>
              <a:custGeom>
                <a:avLst/>
                <a:gdLst>
                  <a:gd name="connsiteX0" fmla="*/ 56200 w 56200"/>
                  <a:gd name="connsiteY0" fmla="*/ 0 h 1176"/>
                  <a:gd name="connsiteX1" fmla="*/ 0 w 56200"/>
                  <a:gd name="connsiteY1" fmla="*/ 0 h 11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6200" h="1176">
                    <a:moveTo>
                      <a:pt x="56200" y="0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821" name="Forma livre: Forma 1820">
                <a:extLst>
                  <a:ext uri="{FF2B5EF4-FFF2-40B4-BE49-F238E27FC236}">
                    <a16:creationId xmlns:a16="http://schemas.microsoft.com/office/drawing/2014/main" id="{6C4899F8-C6C3-07DE-0BFB-7B518FC5A7AF}"/>
                  </a:ext>
                </a:extLst>
              </p:cNvPr>
              <p:cNvSpPr/>
              <p:nvPr/>
            </p:nvSpPr>
            <p:spPr>
              <a:xfrm>
                <a:off x="7547713" y="5826230"/>
                <a:ext cx="43912" cy="46207"/>
              </a:xfrm>
              <a:custGeom>
                <a:avLst/>
                <a:gdLst>
                  <a:gd name="connsiteX0" fmla="*/ 0 w 43912"/>
                  <a:gd name="connsiteY0" fmla="*/ 0 h 46207"/>
                  <a:gd name="connsiteX1" fmla="*/ 43913 w 43912"/>
                  <a:gd name="connsiteY1" fmla="*/ 46208 h 462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3912" h="46207">
                    <a:moveTo>
                      <a:pt x="0" y="0"/>
                    </a:moveTo>
                    <a:lnTo>
                      <a:pt x="43913" y="46208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822" name="Forma livre: Forma 1821">
              <a:extLst>
                <a:ext uri="{FF2B5EF4-FFF2-40B4-BE49-F238E27FC236}">
                  <a16:creationId xmlns:a16="http://schemas.microsoft.com/office/drawing/2014/main" id="{871EFD63-B027-DDA6-0C95-E4985D410CC9}"/>
                </a:ext>
              </a:extLst>
            </p:cNvPr>
            <p:cNvSpPr/>
            <p:nvPr/>
          </p:nvSpPr>
          <p:spPr>
            <a:xfrm>
              <a:off x="7378323" y="6046805"/>
              <a:ext cx="341839" cy="12883"/>
            </a:xfrm>
            <a:custGeom>
              <a:avLst/>
              <a:gdLst>
                <a:gd name="connsiteX0" fmla="*/ 0 w 341839"/>
                <a:gd name="connsiteY0" fmla="*/ 0 h 12883"/>
                <a:gd name="connsiteX1" fmla="*/ 68241 w 341839"/>
                <a:gd name="connsiteY1" fmla="*/ 0 h 12883"/>
                <a:gd name="connsiteX2" fmla="*/ 136693 w 341839"/>
                <a:gd name="connsiteY2" fmla="*/ 0 h 12883"/>
                <a:gd name="connsiteX3" fmla="*/ 205146 w 341839"/>
                <a:gd name="connsiteY3" fmla="*/ 0 h 12883"/>
                <a:gd name="connsiteX4" fmla="*/ 273599 w 341839"/>
                <a:gd name="connsiteY4" fmla="*/ 0 h 12883"/>
                <a:gd name="connsiteX5" fmla="*/ 341839 w 341839"/>
                <a:gd name="connsiteY5" fmla="*/ 0 h 128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41839" h="12883">
                  <a:moveTo>
                    <a:pt x="0" y="0"/>
                  </a:moveTo>
                  <a:cubicBezTo>
                    <a:pt x="0" y="0"/>
                    <a:pt x="28789" y="28989"/>
                    <a:pt x="68241" y="0"/>
                  </a:cubicBezTo>
                  <a:cubicBezTo>
                    <a:pt x="68241" y="0"/>
                    <a:pt x="97241" y="28989"/>
                    <a:pt x="136693" y="0"/>
                  </a:cubicBezTo>
                  <a:cubicBezTo>
                    <a:pt x="136693" y="0"/>
                    <a:pt x="165682" y="28989"/>
                    <a:pt x="205146" y="0"/>
                  </a:cubicBezTo>
                  <a:cubicBezTo>
                    <a:pt x="205146" y="0"/>
                    <a:pt x="234147" y="28989"/>
                    <a:pt x="273599" y="0"/>
                  </a:cubicBezTo>
                  <a:cubicBezTo>
                    <a:pt x="273599" y="0"/>
                    <a:pt x="302387" y="28989"/>
                    <a:pt x="341839" y="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823" name="Gráfico 17">
              <a:extLst>
                <a:ext uri="{FF2B5EF4-FFF2-40B4-BE49-F238E27FC236}">
                  <a16:creationId xmlns:a16="http://schemas.microsoft.com/office/drawing/2014/main" id="{3C991668-A61C-60B4-2DD2-E87D68A2B1FB}"/>
                </a:ext>
              </a:extLst>
            </p:cNvPr>
            <p:cNvGrpSpPr/>
            <p:nvPr/>
          </p:nvGrpSpPr>
          <p:grpSpPr>
            <a:xfrm>
              <a:off x="7497362" y="5972068"/>
              <a:ext cx="171425" cy="62567"/>
              <a:chOff x="7497362" y="5972068"/>
              <a:chExt cx="171425" cy="62567"/>
            </a:xfrm>
          </p:grpSpPr>
          <p:grpSp>
            <p:nvGrpSpPr>
              <p:cNvPr id="1824" name="Gráfico 17">
                <a:extLst>
                  <a:ext uri="{FF2B5EF4-FFF2-40B4-BE49-F238E27FC236}">
                    <a16:creationId xmlns:a16="http://schemas.microsoft.com/office/drawing/2014/main" id="{A652C571-7761-9354-7EEF-ECC8FD48E120}"/>
                  </a:ext>
                </a:extLst>
              </p:cNvPr>
              <p:cNvGrpSpPr/>
              <p:nvPr/>
            </p:nvGrpSpPr>
            <p:grpSpPr>
              <a:xfrm>
                <a:off x="7497362" y="5972068"/>
                <a:ext cx="33755" cy="62567"/>
                <a:chOff x="7497362" y="5972068"/>
                <a:chExt cx="33755" cy="62567"/>
              </a:xfrm>
            </p:grpSpPr>
            <p:sp>
              <p:nvSpPr>
                <p:cNvPr id="1825" name="Forma livre: Forma 1824">
                  <a:extLst>
                    <a:ext uri="{FF2B5EF4-FFF2-40B4-BE49-F238E27FC236}">
                      <a16:creationId xmlns:a16="http://schemas.microsoft.com/office/drawing/2014/main" id="{A651E6DA-FB5F-C499-70BF-97007886FDA9}"/>
                    </a:ext>
                  </a:extLst>
                </p:cNvPr>
                <p:cNvSpPr/>
                <p:nvPr/>
              </p:nvSpPr>
              <p:spPr>
                <a:xfrm>
                  <a:off x="7497362" y="5972068"/>
                  <a:ext cx="1176" cy="62567"/>
                </a:xfrm>
                <a:custGeom>
                  <a:avLst/>
                  <a:gdLst>
                    <a:gd name="connsiteX0" fmla="*/ 0 w 1176"/>
                    <a:gd name="connsiteY0" fmla="*/ 0 h 62567"/>
                    <a:gd name="connsiteX1" fmla="*/ 0 w 1176"/>
                    <a:gd name="connsiteY1" fmla="*/ 62568 h 6256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176" h="62567">
                      <a:moveTo>
                        <a:pt x="0" y="0"/>
                      </a:moveTo>
                      <a:lnTo>
                        <a:pt x="0" y="62568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826" name="Forma livre: Forma 1825">
                  <a:extLst>
                    <a:ext uri="{FF2B5EF4-FFF2-40B4-BE49-F238E27FC236}">
                      <a16:creationId xmlns:a16="http://schemas.microsoft.com/office/drawing/2014/main" id="{F48CDD79-4E54-B5CF-2F34-8ED21AE3661E}"/>
                    </a:ext>
                  </a:extLst>
                </p:cNvPr>
                <p:cNvSpPr/>
                <p:nvPr/>
              </p:nvSpPr>
              <p:spPr>
                <a:xfrm>
                  <a:off x="7531117" y="5972068"/>
                  <a:ext cx="1176" cy="62567"/>
                </a:xfrm>
                <a:custGeom>
                  <a:avLst/>
                  <a:gdLst>
                    <a:gd name="connsiteX0" fmla="*/ 0 w 1176"/>
                    <a:gd name="connsiteY0" fmla="*/ 0 h 62567"/>
                    <a:gd name="connsiteX1" fmla="*/ 0 w 1176"/>
                    <a:gd name="connsiteY1" fmla="*/ 62568 h 6256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176" h="62567">
                      <a:moveTo>
                        <a:pt x="0" y="0"/>
                      </a:moveTo>
                      <a:lnTo>
                        <a:pt x="0" y="62568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1827" name="Gráfico 17">
                <a:extLst>
                  <a:ext uri="{FF2B5EF4-FFF2-40B4-BE49-F238E27FC236}">
                    <a16:creationId xmlns:a16="http://schemas.microsoft.com/office/drawing/2014/main" id="{80C75323-E3C9-7D9C-6CC0-AD75D3E70142}"/>
                  </a:ext>
                </a:extLst>
              </p:cNvPr>
              <p:cNvGrpSpPr/>
              <p:nvPr/>
            </p:nvGrpSpPr>
            <p:grpSpPr>
              <a:xfrm>
                <a:off x="7635032" y="5972068"/>
                <a:ext cx="33755" cy="62567"/>
                <a:chOff x="7635032" y="5972068"/>
                <a:chExt cx="33755" cy="62567"/>
              </a:xfrm>
            </p:grpSpPr>
            <p:sp>
              <p:nvSpPr>
                <p:cNvPr id="1828" name="Forma livre: Forma 1827">
                  <a:extLst>
                    <a:ext uri="{FF2B5EF4-FFF2-40B4-BE49-F238E27FC236}">
                      <a16:creationId xmlns:a16="http://schemas.microsoft.com/office/drawing/2014/main" id="{E2936F2E-4E79-8C30-4058-31BC2C5DAFBE}"/>
                    </a:ext>
                  </a:extLst>
                </p:cNvPr>
                <p:cNvSpPr/>
                <p:nvPr/>
              </p:nvSpPr>
              <p:spPr>
                <a:xfrm>
                  <a:off x="7635032" y="5972068"/>
                  <a:ext cx="1176" cy="62567"/>
                </a:xfrm>
                <a:custGeom>
                  <a:avLst/>
                  <a:gdLst>
                    <a:gd name="connsiteX0" fmla="*/ 0 w 1176"/>
                    <a:gd name="connsiteY0" fmla="*/ 0 h 62567"/>
                    <a:gd name="connsiteX1" fmla="*/ 0 w 1176"/>
                    <a:gd name="connsiteY1" fmla="*/ 62568 h 6256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176" h="62567">
                      <a:moveTo>
                        <a:pt x="0" y="0"/>
                      </a:moveTo>
                      <a:lnTo>
                        <a:pt x="0" y="62568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829" name="Forma livre: Forma 1828">
                  <a:extLst>
                    <a:ext uri="{FF2B5EF4-FFF2-40B4-BE49-F238E27FC236}">
                      <a16:creationId xmlns:a16="http://schemas.microsoft.com/office/drawing/2014/main" id="{CE3BE000-F81F-B7ED-AE9D-9830D6FEE421}"/>
                    </a:ext>
                  </a:extLst>
                </p:cNvPr>
                <p:cNvSpPr/>
                <p:nvPr/>
              </p:nvSpPr>
              <p:spPr>
                <a:xfrm>
                  <a:off x="7668787" y="5972068"/>
                  <a:ext cx="1176" cy="62567"/>
                </a:xfrm>
                <a:custGeom>
                  <a:avLst/>
                  <a:gdLst>
                    <a:gd name="connsiteX0" fmla="*/ 0 w 1176"/>
                    <a:gd name="connsiteY0" fmla="*/ 0 h 62567"/>
                    <a:gd name="connsiteX1" fmla="*/ 0 w 1176"/>
                    <a:gd name="connsiteY1" fmla="*/ 62568 h 6256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176" h="62567">
                      <a:moveTo>
                        <a:pt x="0" y="0"/>
                      </a:moveTo>
                      <a:lnTo>
                        <a:pt x="0" y="62568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sp>
          <p:nvSpPr>
            <p:cNvPr id="1830" name="Forma livre: Forma 1829">
              <a:extLst>
                <a:ext uri="{FF2B5EF4-FFF2-40B4-BE49-F238E27FC236}">
                  <a16:creationId xmlns:a16="http://schemas.microsoft.com/office/drawing/2014/main" id="{8F6C2DC0-BF1C-B72F-0CB5-648FA87B03C2}"/>
                </a:ext>
              </a:extLst>
            </p:cNvPr>
            <p:cNvSpPr/>
            <p:nvPr/>
          </p:nvSpPr>
          <p:spPr>
            <a:xfrm>
              <a:off x="7439055" y="5836316"/>
              <a:ext cx="83435" cy="1176"/>
            </a:xfrm>
            <a:custGeom>
              <a:avLst/>
              <a:gdLst>
                <a:gd name="connsiteX0" fmla="*/ 83435 w 83435"/>
                <a:gd name="connsiteY0" fmla="*/ 0 h 1176"/>
                <a:gd name="connsiteX1" fmla="*/ 0 w 83435"/>
                <a:gd name="connsiteY1" fmla="*/ 0 h 11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3435" h="1176">
                  <a:moveTo>
                    <a:pt x="83435" y="0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31" name="Forma livre: Forma 1830">
              <a:extLst>
                <a:ext uri="{FF2B5EF4-FFF2-40B4-BE49-F238E27FC236}">
                  <a16:creationId xmlns:a16="http://schemas.microsoft.com/office/drawing/2014/main" id="{8CBCE589-9CC1-7927-BB51-CFEA4586DAF0}"/>
                </a:ext>
              </a:extLst>
            </p:cNvPr>
            <p:cNvSpPr/>
            <p:nvPr/>
          </p:nvSpPr>
          <p:spPr>
            <a:xfrm>
              <a:off x="7423613" y="5861221"/>
              <a:ext cx="1176" cy="173414"/>
            </a:xfrm>
            <a:custGeom>
              <a:avLst/>
              <a:gdLst>
                <a:gd name="connsiteX0" fmla="*/ 0 w 1176"/>
                <a:gd name="connsiteY0" fmla="*/ 173415 h 173414"/>
                <a:gd name="connsiteX1" fmla="*/ 0 w 1176"/>
                <a:gd name="connsiteY1" fmla="*/ 0 h 1734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6" h="173414">
                  <a:moveTo>
                    <a:pt x="0" y="173415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832" name="Gráfico 17">
              <a:extLst>
                <a:ext uri="{FF2B5EF4-FFF2-40B4-BE49-F238E27FC236}">
                  <a16:creationId xmlns:a16="http://schemas.microsoft.com/office/drawing/2014/main" id="{C76B7D33-4770-6DA1-ABB8-F9F1E1832456}"/>
                </a:ext>
              </a:extLst>
            </p:cNvPr>
            <p:cNvGrpSpPr/>
            <p:nvPr/>
          </p:nvGrpSpPr>
          <p:grpSpPr>
            <a:xfrm>
              <a:off x="7461417" y="5867671"/>
              <a:ext cx="248011" cy="102372"/>
              <a:chOff x="7461417" y="5867671"/>
              <a:chExt cx="248011" cy="102372"/>
            </a:xfrm>
            <a:noFill/>
          </p:grpSpPr>
          <p:sp>
            <p:nvSpPr>
              <p:cNvPr id="1833" name="Forma livre: Forma 1832">
                <a:extLst>
                  <a:ext uri="{FF2B5EF4-FFF2-40B4-BE49-F238E27FC236}">
                    <a16:creationId xmlns:a16="http://schemas.microsoft.com/office/drawing/2014/main" id="{64586326-E4C1-4416-781D-1CB107A3D8BA}"/>
                  </a:ext>
                </a:extLst>
              </p:cNvPr>
              <p:cNvSpPr/>
              <p:nvPr/>
            </p:nvSpPr>
            <p:spPr>
              <a:xfrm>
                <a:off x="7508672" y="5905651"/>
                <a:ext cx="110858" cy="23963"/>
              </a:xfrm>
              <a:custGeom>
                <a:avLst/>
                <a:gdLst>
                  <a:gd name="connsiteX0" fmla="*/ 0 w 110858"/>
                  <a:gd name="connsiteY0" fmla="*/ 23963 h 23963"/>
                  <a:gd name="connsiteX1" fmla="*/ 0 w 110858"/>
                  <a:gd name="connsiteY1" fmla="*/ 0 h 23963"/>
                  <a:gd name="connsiteX2" fmla="*/ 110859 w 110858"/>
                  <a:gd name="connsiteY2" fmla="*/ 0 h 239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10858" h="23963">
                    <a:moveTo>
                      <a:pt x="0" y="23963"/>
                    </a:moveTo>
                    <a:lnTo>
                      <a:pt x="0" y="0"/>
                    </a:lnTo>
                    <a:lnTo>
                      <a:pt x="110859" y="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834" name="Forma livre: Forma 1833">
                <a:extLst>
                  <a:ext uri="{FF2B5EF4-FFF2-40B4-BE49-F238E27FC236}">
                    <a16:creationId xmlns:a16="http://schemas.microsoft.com/office/drawing/2014/main" id="{8FBC1DCC-C90A-7AE2-4C97-489080DE37F7}"/>
                  </a:ext>
                </a:extLst>
              </p:cNvPr>
              <p:cNvSpPr/>
              <p:nvPr/>
            </p:nvSpPr>
            <p:spPr>
              <a:xfrm>
                <a:off x="7461417" y="5867671"/>
                <a:ext cx="248011" cy="102372"/>
              </a:xfrm>
              <a:custGeom>
                <a:avLst/>
                <a:gdLst>
                  <a:gd name="connsiteX0" fmla="*/ 178723 w 248011"/>
                  <a:gd name="connsiteY0" fmla="*/ 43830 h 102372"/>
                  <a:gd name="connsiteX1" fmla="*/ 178723 w 248011"/>
                  <a:gd name="connsiteY1" fmla="*/ 0 h 102372"/>
                  <a:gd name="connsiteX2" fmla="*/ 248011 w 248011"/>
                  <a:gd name="connsiteY2" fmla="*/ 0 h 102372"/>
                  <a:gd name="connsiteX3" fmla="*/ 248011 w 248011"/>
                  <a:gd name="connsiteY3" fmla="*/ 102373 h 102372"/>
                  <a:gd name="connsiteX4" fmla="*/ 0 w 248011"/>
                  <a:gd name="connsiteY4" fmla="*/ 102373 h 102372"/>
                  <a:gd name="connsiteX5" fmla="*/ 0 w 248011"/>
                  <a:gd name="connsiteY5" fmla="*/ 61838 h 102372"/>
                  <a:gd name="connsiteX6" fmla="*/ 246422 w 248011"/>
                  <a:gd name="connsiteY6" fmla="*/ 61838 h 1023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48011" h="102372">
                    <a:moveTo>
                      <a:pt x="178723" y="43830"/>
                    </a:moveTo>
                    <a:lnTo>
                      <a:pt x="178723" y="0"/>
                    </a:lnTo>
                    <a:lnTo>
                      <a:pt x="248011" y="0"/>
                    </a:lnTo>
                    <a:lnTo>
                      <a:pt x="248011" y="102373"/>
                    </a:lnTo>
                    <a:lnTo>
                      <a:pt x="0" y="102373"/>
                    </a:lnTo>
                    <a:lnTo>
                      <a:pt x="0" y="61838"/>
                    </a:lnTo>
                    <a:lnTo>
                      <a:pt x="246422" y="61838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1835" name="Gráfico 17">
                <a:extLst>
                  <a:ext uri="{FF2B5EF4-FFF2-40B4-BE49-F238E27FC236}">
                    <a16:creationId xmlns:a16="http://schemas.microsoft.com/office/drawing/2014/main" id="{8D40407B-7CB6-E56A-5C56-613B033C3809}"/>
                  </a:ext>
                </a:extLst>
              </p:cNvPr>
              <p:cNvGrpSpPr/>
              <p:nvPr/>
            </p:nvGrpSpPr>
            <p:grpSpPr>
              <a:xfrm>
                <a:off x="7663409" y="5885549"/>
                <a:ext cx="22021" cy="18702"/>
                <a:chOff x="7663409" y="5885549"/>
                <a:chExt cx="22021" cy="18702"/>
              </a:xfrm>
            </p:grpSpPr>
            <p:sp>
              <p:nvSpPr>
                <p:cNvPr id="1836" name="Forma livre: Forma 1835">
                  <a:extLst>
                    <a:ext uri="{FF2B5EF4-FFF2-40B4-BE49-F238E27FC236}">
                      <a16:creationId xmlns:a16="http://schemas.microsoft.com/office/drawing/2014/main" id="{1D49531E-9A84-2312-66D5-3DB79DC69651}"/>
                    </a:ext>
                  </a:extLst>
                </p:cNvPr>
                <p:cNvSpPr/>
                <p:nvPr/>
              </p:nvSpPr>
              <p:spPr>
                <a:xfrm>
                  <a:off x="7663409" y="5885549"/>
                  <a:ext cx="1176" cy="18702"/>
                </a:xfrm>
                <a:custGeom>
                  <a:avLst/>
                  <a:gdLst>
                    <a:gd name="connsiteX0" fmla="*/ 0 w 1176"/>
                    <a:gd name="connsiteY0" fmla="*/ 0 h 18702"/>
                    <a:gd name="connsiteX1" fmla="*/ 0 w 1176"/>
                    <a:gd name="connsiteY1" fmla="*/ 18702 h 1870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176" h="18702">
                      <a:moveTo>
                        <a:pt x="0" y="0"/>
                      </a:moveTo>
                      <a:lnTo>
                        <a:pt x="0" y="18702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837" name="Forma livre: Forma 1836">
                  <a:extLst>
                    <a:ext uri="{FF2B5EF4-FFF2-40B4-BE49-F238E27FC236}">
                      <a16:creationId xmlns:a16="http://schemas.microsoft.com/office/drawing/2014/main" id="{30D78D26-0DD5-6E1D-53DD-3354DD8BBCF3}"/>
                    </a:ext>
                  </a:extLst>
                </p:cNvPr>
                <p:cNvSpPr/>
                <p:nvPr/>
              </p:nvSpPr>
              <p:spPr>
                <a:xfrm>
                  <a:off x="7685430" y="5885549"/>
                  <a:ext cx="1176" cy="18702"/>
                </a:xfrm>
                <a:custGeom>
                  <a:avLst/>
                  <a:gdLst>
                    <a:gd name="connsiteX0" fmla="*/ 0 w 1176"/>
                    <a:gd name="connsiteY0" fmla="*/ 0 h 18702"/>
                    <a:gd name="connsiteX1" fmla="*/ 0 w 1176"/>
                    <a:gd name="connsiteY1" fmla="*/ 18702 h 1870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176" h="18702">
                      <a:moveTo>
                        <a:pt x="0" y="0"/>
                      </a:moveTo>
                      <a:lnTo>
                        <a:pt x="0" y="18702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sp>
          <p:nvSpPr>
            <p:cNvPr id="1838" name="Forma livre: Forma 1837">
              <a:extLst>
                <a:ext uri="{FF2B5EF4-FFF2-40B4-BE49-F238E27FC236}">
                  <a16:creationId xmlns:a16="http://schemas.microsoft.com/office/drawing/2014/main" id="{17873C78-F281-1879-C058-5E03B8476207}"/>
                </a:ext>
              </a:extLst>
            </p:cNvPr>
            <p:cNvSpPr/>
            <p:nvPr/>
          </p:nvSpPr>
          <p:spPr>
            <a:xfrm>
              <a:off x="7406187" y="5823560"/>
              <a:ext cx="105027" cy="105148"/>
            </a:xfrm>
            <a:custGeom>
              <a:avLst/>
              <a:gdLst>
                <a:gd name="connsiteX0" fmla="*/ 81936 w 105027"/>
                <a:gd name="connsiteY0" fmla="*/ 105148 h 105148"/>
                <a:gd name="connsiteX1" fmla="*/ 3137 w 105027"/>
                <a:gd name="connsiteY1" fmla="*/ 20430 h 105148"/>
                <a:gd name="connsiteX2" fmla="*/ 3479 w 105027"/>
                <a:gd name="connsiteY2" fmla="*/ 3611 h 105148"/>
                <a:gd name="connsiteX3" fmla="*/ 3479 w 105027"/>
                <a:gd name="connsiteY3" fmla="*/ 3611 h 105148"/>
                <a:gd name="connsiteX4" fmla="*/ 20309 w 105027"/>
                <a:gd name="connsiteY4" fmla="*/ 3270 h 105148"/>
                <a:gd name="connsiteX5" fmla="*/ 105028 w 105027"/>
                <a:gd name="connsiteY5" fmla="*/ 81515 h 1051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05027" h="105148">
                  <a:moveTo>
                    <a:pt x="81936" y="105148"/>
                  </a:moveTo>
                  <a:lnTo>
                    <a:pt x="3137" y="20430"/>
                  </a:lnTo>
                  <a:cubicBezTo>
                    <a:pt x="-1159" y="15451"/>
                    <a:pt x="-1041" y="8142"/>
                    <a:pt x="3479" y="3611"/>
                  </a:cubicBezTo>
                  <a:lnTo>
                    <a:pt x="3479" y="3611"/>
                  </a:lnTo>
                  <a:cubicBezTo>
                    <a:pt x="8010" y="-909"/>
                    <a:pt x="15319" y="-1368"/>
                    <a:pt x="20309" y="3270"/>
                  </a:cubicBezTo>
                  <a:lnTo>
                    <a:pt x="105028" y="81515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839" name="Gráfico 17">
            <a:extLst>
              <a:ext uri="{FF2B5EF4-FFF2-40B4-BE49-F238E27FC236}">
                <a16:creationId xmlns:a16="http://schemas.microsoft.com/office/drawing/2014/main" id="{45D1C065-FF68-653A-874C-0D1DEE6BCFDF}"/>
              </a:ext>
            </a:extLst>
          </p:cNvPr>
          <p:cNvGrpSpPr/>
          <p:nvPr/>
        </p:nvGrpSpPr>
        <p:grpSpPr>
          <a:xfrm>
            <a:off x="6810859" y="4714922"/>
            <a:ext cx="250671" cy="314921"/>
            <a:chOff x="6810859" y="4714922"/>
            <a:chExt cx="250671" cy="314921"/>
          </a:xfrm>
          <a:noFill/>
        </p:grpSpPr>
        <p:sp>
          <p:nvSpPr>
            <p:cNvPr id="1840" name="Forma livre: Forma 1839">
              <a:extLst>
                <a:ext uri="{FF2B5EF4-FFF2-40B4-BE49-F238E27FC236}">
                  <a16:creationId xmlns:a16="http://schemas.microsoft.com/office/drawing/2014/main" id="{C3BFFF6F-F6D2-68D7-F1CE-B8F52EDA9DF9}"/>
                </a:ext>
              </a:extLst>
            </p:cNvPr>
            <p:cNvSpPr/>
            <p:nvPr/>
          </p:nvSpPr>
          <p:spPr>
            <a:xfrm>
              <a:off x="6826795" y="4733672"/>
              <a:ext cx="169613" cy="260875"/>
            </a:xfrm>
            <a:custGeom>
              <a:avLst/>
              <a:gdLst>
                <a:gd name="connsiteX0" fmla="*/ 0 w 169613"/>
                <a:gd name="connsiteY0" fmla="*/ 235618 h 260875"/>
                <a:gd name="connsiteX1" fmla="*/ 0 w 169613"/>
                <a:gd name="connsiteY1" fmla="*/ 23951 h 260875"/>
                <a:gd name="connsiteX2" fmla="*/ 23940 w 169613"/>
                <a:gd name="connsiteY2" fmla="*/ 0 h 260875"/>
                <a:gd name="connsiteX3" fmla="*/ 145662 w 169613"/>
                <a:gd name="connsiteY3" fmla="*/ 0 h 260875"/>
                <a:gd name="connsiteX4" fmla="*/ 169613 w 169613"/>
                <a:gd name="connsiteY4" fmla="*/ 23951 h 260875"/>
                <a:gd name="connsiteX5" fmla="*/ 169613 w 169613"/>
                <a:gd name="connsiteY5" fmla="*/ 260875 h 260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69613" h="260875">
                  <a:moveTo>
                    <a:pt x="0" y="235618"/>
                  </a:moveTo>
                  <a:lnTo>
                    <a:pt x="0" y="23951"/>
                  </a:lnTo>
                  <a:cubicBezTo>
                    <a:pt x="0" y="10781"/>
                    <a:pt x="10769" y="0"/>
                    <a:pt x="23940" y="0"/>
                  </a:cubicBezTo>
                  <a:lnTo>
                    <a:pt x="145662" y="0"/>
                  </a:lnTo>
                  <a:cubicBezTo>
                    <a:pt x="158832" y="0"/>
                    <a:pt x="169613" y="10781"/>
                    <a:pt x="169613" y="23951"/>
                  </a:cubicBezTo>
                  <a:lnTo>
                    <a:pt x="169613" y="260875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41" name="Forma livre: Forma 1840">
              <a:extLst>
                <a:ext uri="{FF2B5EF4-FFF2-40B4-BE49-F238E27FC236}">
                  <a16:creationId xmlns:a16="http://schemas.microsoft.com/office/drawing/2014/main" id="{C4AD2756-ACD6-FFDF-B5E0-A9206306B043}"/>
                </a:ext>
              </a:extLst>
            </p:cNvPr>
            <p:cNvSpPr/>
            <p:nvPr/>
          </p:nvSpPr>
          <p:spPr>
            <a:xfrm>
              <a:off x="6859997" y="4765309"/>
              <a:ext cx="103208" cy="59366"/>
            </a:xfrm>
            <a:custGeom>
              <a:avLst/>
              <a:gdLst>
                <a:gd name="connsiteX0" fmla="*/ 103209 w 103208"/>
                <a:gd name="connsiteY0" fmla="*/ 0 h 59366"/>
                <a:gd name="connsiteX1" fmla="*/ 103209 w 103208"/>
                <a:gd name="connsiteY1" fmla="*/ 59366 h 59366"/>
                <a:gd name="connsiteX2" fmla="*/ 12 w 103208"/>
                <a:gd name="connsiteY2" fmla="*/ 59366 h 59366"/>
                <a:gd name="connsiteX3" fmla="*/ 0 w 103208"/>
                <a:gd name="connsiteY3" fmla="*/ 0 h 59366"/>
                <a:gd name="connsiteX4" fmla="*/ 103209 w 103208"/>
                <a:gd name="connsiteY4" fmla="*/ 0 h 593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3208" h="59366">
                  <a:moveTo>
                    <a:pt x="103209" y="0"/>
                  </a:moveTo>
                  <a:lnTo>
                    <a:pt x="103209" y="59366"/>
                  </a:lnTo>
                  <a:lnTo>
                    <a:pt x="12" y="59366"/>
                  </a:lnTo>
                  <a:lnTo>
                    <a:pt x="0" y="0"/>
                  </a:lnTo>
                  <a:lnTo>
                    <a:pt x="103209" y="0"/>
                  </a:ln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42" name="Forma livre: Forma 1841">
              <a:extLst>
                <a:ext uri="{FF2B5EF4-FFF2-40B4-BE49-F238E27FC236}">
                  <a16:creationId xmlns:a16="http://schemas.microsoft.com/office/drawing/2014/main" id="{211F96BA-F4A4-1F82-63D8-E4E5F9A71AC1}"/>
                </a:ext>
              </a:extLst>
            </p:cNvPr>
            <p:cNvSpPr/>
            <p:nvPr/>
          </p:nvSpPr>
          <p:spPr>
            <a:xfrm>
              <a:off x="6911607" y="4785011"/>
              <a:ext cx="1176" cy="19961"/>
            </a:xfrm>
            <a:custGeom>
              <a:avLst/>
              <a:gdLst>
                <a:gd name="connsiteX0" fmla="*/ 0 w 1176"/>
                <a:gd name="connsiteY0" fmla="*/ 0 h 19961"/>
                <a:gd name="connsiteX1" fmla="*/ 0 w 1176"/>
                <a:gd name="connsiteY1" fmla="*/ 19961 h 199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6" h="19961">
                  <a:moveTo>
                    <a:pt x="0" y="0"/>
                  </a:moveTo>
                  <a:lnTo>
                    <a:pt x="0" y="19961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43" name="Forma livre: Forma 1842">
              <a:extLst>
                <a:ext uri="{FF2B5EF4-FFF2-40B4-BE49-F238E27FC236}">
                  <a16:creationId xmlns:a16="http://schemas.microsoft.com/office/drawing/2014/main" id="{CC19FDCF-8864-3833-06DD-E9FCABCEE0EB}"/>
                </a:ext>
              </a:extLst>
            </p:cNvPr>
            <p:cNvSpPr/>
            <p:nvPr/>
          </p:nvSpPr>
          <p:spPr>
            <a:xfrm>
              <a:off x="6886761" y="4785011"/>
              <a:ext cx="1176" cy="19961"/>
            </a:xfrm>
            <a:custGeom>
              <a:avLst/>
              <a:gdLst>
                <a:gd name="connsiteX0" fmla="*/ 0 w 1176"/>
                <a:gd name="connsiteY0" fmla="*/ 0 h 19961"/>
                <a:gd name="connsiteX1" fmla="*/ 0 w 1176"/>
                <a:gd name="connsiteY1" fmla="*/ 19961 h 199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6" h="19961">
                  <a:moveTo>
                    <a:pt x="0" y="0"/>
                  </a:moveTo>
                  <a:lnTo>
                    <a:pt x="0" y="19961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44" name="Forma livre: Forma 1843">
              <a:extLst>
                <a:ext uri="{FF2B5EF4-FFF2-40B4-BE49-F238E27FC236}">
                  <a16:creationId xmlns:a16="http://schemas.microsoft.com/office/drawing/2014/main" id="{1DFC3903-78F2-E9FE-67B6-047DDFD85073}"/>
                </a:ext>
              </a:extLst>
            </p:cNvPr>
            <p:cNvSpPr/>
            <p:nvPr/>
          </p:nvSpPr>
          <p:spPr>
            <a:xfrm>
              <a:off x="6936441" y="4785011"/>
              <a:ext cx="1176" cy="19961"/>
            </a:xfrm>
            <a:custGeom>
              <a:avLst/>
              <a:gdLst>
                <a:gd name="connsiteX0" fmla="*/ 0 w 1176"/>
                <a:gd name="connsiteY0" fmla="*/ 0 h 19961"/>
                <a:gd name="connsiteX1" fmla="*/ 0 w 1176"/>
                <a:gd name="connsiteY1" fmla="*/ 19961 h 199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6" h="19961">
                  <a:moveTo>
                    <a:pt x="0" y="0"/>
                  </a:moveTo>
                  <a:lnTo>
                    <a:pt x="0" y="19961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45" name="Forma livre: Forma 1844">
              <a:extLst>
                <a:ext uri="{FF2B5EF4-FFF2-40B4-BE49-F238E27FC236}">
                  <a16:creationId xmlns:a16="http://schemas.microsoft.com/office/drawing/2014/main" id="{5B70B2F1-12E0-CEE2-D3D2-A68336D8239C}"/>
                </a:ext>
              </a:extLst>
            </p:cNvPr>
            <p:cNvSpPr/>
            <p:nvPr/>
          </p:nvSpPr>
          <p:spPr>
            <a:xfrm>
              <a:off x="6996137" y="4714922"/>
              <a:ext cx="65392" cy="240043"/>
            </a:xfrm>
            <a:custGeom>
              <a:avLst/>
              <a:gdLst>
                <a:gd name="connsiteX0" fmla="*/ 0 w 65392"/>
                <a:gd name="connsiteY0" fmla="*/ 107681 h 240043"/>
                <a:gd name="connsiteX1" fmla="*/ 16407 w 65392"/>
                <a:gd name="connsiteY1" fmla="*/ 107681 h 240043"/>
                <a:gd name="connsiteX2" fmla="*/ 30778 w 65392"/>
                <a:gd name="connsiteY2" fmla="*/ 122052 h 240043"/>
                <a:gd name="connsiteX3" fmla="*/ 30778 w 65392"/>
                <a:gd name="connsiteY3" fmla="*/ 225672 h 240043"/>
                <a:gd name="connsiteX4" fmla="*/ 45184 w 65392"/>
                <a:gd name="connsiteY4" fmla="*/ 240043 h 240043"/>
                <a:gd name="connsiteX5" fmla="*/ 51022 w 65392"/>
                <a:gd name="connsiteY5" fmla="*/ 240043 h 240043"/>
                <a:gd name="connsiteX6" fmla="*/ 65392 w 65392"/>
                <a:gd name="connsiteY6" fmla="*/ 225672 h 240043"/>
                <a:gd name="connsiteX7" fmla="*/ 65392 w 65392"/>
                <a:gd name="connsiteY7" fmla="*/ 50480 h 240043"/>
                <a:gd name="connsiteX8" fmla="*/ 51022 w 65392"/>
                <a:gd name="connsiteY8" fmla="*/ 22610 h 240043"/>
                <a:gd name="connsiteX9" fmla="*/ 16960 w 65392"/>
                <a:gd name="connsiteY9" fmla="*/ 0 h 2400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65392" h="240043">
                  <a:moveTo>
                    <a:pt x="0" y="107681"/>
                  </a:moveTo>
                  <a:lnTo>
                    <a:pt x="16407" y="107681"/>
                  </a:lnTo>
                  <a:cubicBezTo>
                    <a:pt x="24316" y="107681"/>
                    <a:pt x="30778" y="114143"/>
                    <a:pt x="30778" y="122052"/>
                  </a:cubicBezTo>
                  <a:lnTo>
                    <a:pt x="30778" y="225672"/>
                  </a:lnTo>
                  <a:cubicBezTo>
                    <a:pt x="30778" y="233582"/>
                    <a:pt x="37275" y="240043"/>
                    <a:pt x="45184" y="240043"/>
                  </a:cubicBezTo>
                  <a:lnTo>
                    <a:pt x="51022" y="240043"/>
                  </a:lnTo>
                  <a:cubicBezTo>
                    <a:pt x="58931" y="240043"/>
                    <a:pt x="65392" y="233582"/>
                    <a:pt x="65392" y="225672"/>
                  </a:cubicBezTo>
                  <a:lnTo>
                    <a:pt x="65392" y="50480"/>
                  </a:lnTo>
                  <a:cubicBezTo>
                    <a:pt x="65392" y="40500"/>
                    <a:pt x="59472" y="27729"/>
                    <a:pt x="51022" y="22610"/>
                  </a:cubicBezTo>
                  <a:lnTo>
                    <a:pt x="16960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46" name="Forma livre: Forma 1845">
              <a:extLst>
                <a:ext uri="{FF2B5EF4-FFF2-40B4-BE49-F238E27FC236}">
                  <a16:creationId xmlns:a16="http://schemas.microsoft.com/office/drawing/2014/main" id="{14244599-9412-AD94-7482-92ECEB7743E5}"/>
                </a:ext>
              </a:extLst>
            </p:cNvPr>
            <p:cNvSpPr/>
            <p:nvPr/>
          </p:nvSpPr>
          <p:spPr>
            <a:xfrm>
              <a:off x="7036566" y="4762154"/>
              <a:ext cx="23292" cy="49526"/>
            </a:xfrm>
            <a:custGeom>
              <a:avLst/>
              <a:gdLst>
                <a:gd name="connsiteX0" fmla="*/ 0 w 23292"/>
                <a:gd name="connsiteY0" fmla="*/ 0 h 49526"/>
                <a:gd name="connsiteX1" fmla="*/ 0 w 23292"/>
                <a:gd name="connsiteY1" fmla="*/ 32779 h 49526"/>
                <a:gd name="connsiteX2" fmla="*/ 23292 w 23292"/>
                <a:gd name="connsiteY2" fmla="*/ 49527 h 495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3292" h="49526">
                  <a:moveTo>
                    <a:pt x="0" y="0"/>
                  </a:moveTo>
                  <a:lnTo>
                    <a:pt x="0" y="32779"/>
                  </a:lnTo>
                  <a:lnTo>
                    <a:pt x="23292" y="49527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47" name="Forma livre: Forma 1846">
              <a:extLst>
                <a:ext uri="{FF2B5EF4-FFF2-40B4-BE49-F238E27FC236}">
                  <a16:creationId xmlns:a16="http://schemas.microsoft.com/office/drawing/2014/main" id="{A689461F-6263-1077-150C-F0114A2FAC1B}"/>
                </a:ext>
              </a:extLst>
            </p:cNvPr>
            <p:cNvSpPr/>
            <p:nvPr/>
          </p:nvSpPr>
          <p:spPr>
            <a:xfrm>
              <a:off x="6810859" y="4997019"/>
              <a:ext cx="201485" cy="32825"/>
            </a:xfrm>
            <a:custGeom>
              <a:avLst/>
              <a:gdLst>
                <a:gd name="connsiteX0" fmla="*/ 0 w 201485"/>
                <a:gd name="connsiteY0" fmla="*/ 32826 h 32825"/>
                <a:gd name="connsiteX1" fmla="*/ 0 w 201485"/>
                <a:gd name="connsiteY1" fmla="*/ 0 h 32825"/>
                <a:gd name="connsiteX2" fmla="*/ 201486 w 201485"/>
                <a:gd name="connsiteY2" fmla="*/ 0 h 32825"/>
                <a:gd name="connsiteX3" fmla="*/ 201486 w 201485"/>
                <a:gd name="connsiteY3" fmla="*/ 32826 h 328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1485" h="32825">
                  <a:moveTo>
                    <a:pt x="0" y="32826"/>
                  </a:moveTo>
                  <a:lnTo>
                    <a:pt x="0" y="0"/>
                  </a:lnTo>
                  <a:lnTo>
                    <a:pt x="201486" y="0"/>
                  </a:lnTo>
                  <a:lnTo>
                    <a:pt x="201486" y="32826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48" name="Forma livre: Forma 1847">
              <a:extLst>
                <a:ext uri="{FF2B5EF4-FFF2-40B4-BE49-F238E27FC236}">
                  <a16:creationId xmlns:a16="http://schemas.microsoft.com/office/drawing/2014/main" id="{0CB8C072-7097-4B2D-6F36-27948557B7DD}"/>
                </a:ext>
              </a:extLst>
            </p:cNvPr>
            <p:cNvSpPr/>
            <p:nvPr/>
          </p:nvSpPr>
          <p:spPr>
            <a:xfrm>
              <a:off x="6882552" y="4862526"/>
              <a:ext cx="68977" cy="93839"/>
            </a:xfrm>
            <a:custGeom>
              <a:avLst/>
              <a:gdLst>
                <a:gd name="connsiteX0" fmla="*/ 19863 w 68977"/>
                <a:gd name="connsiteY0" fmla="*/ 20597 h 93839"/>
                <a:gd name="connsiteX1" fmla="*/ 11142 w 68977"/>
                <a:gd name="connsiteY1" fmla="*/ 32225 h 93839"/>
                <a:gd name="connsiteX2" fmla="*/ 34493 w 68977"/>
                <a:gd name="connsiteY2" fmla="*/ 93840 h 93839"/>
                <a:gd name="connsiteX3" fmla="*/ 57855 w 68977"/>
                <a:gd name="connsiteY3" fmla="*/ 32225 h 93839"/>
                <a:gd name="connsiteX4" fmla="*/ 34481 w 68977"/>
                <a:gd name="connsiteY4" fmla="*/ 0 h 938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8977" h="93839">
                  <a:moveTo>
                    <a:pt x="19863" y="20597"/>
                  </a:moveTo>
                  <a:cubicBezTo>
                    <a:pt x="17368" y="23951"/>
                    <a:pt x="14484" y="27812"/>
                    <a:pt x="11142" y="32225"/>
                  </a:cubicBezTo>
                  <a:cubicBezTo>
                    <a:pt x="-10621" y="60991"/>
                    <a:pt x="725" y="93757"/>
                    <a:pt x="34493" y="93840"/>
                  </a:cubicBezTo>
                  <a:cubicBezTo>
                    <a:pt x="68260" y="93746"/>
                    <a:pt x="79582" y="60991"/>
                    <a:pt x="57855" y="32225"/>
                  </a:cubicBezTo>
                  <a:cubicBezTo>
                    <a:pt x="38636" y="6838"/>
                    <a:pt x="34481" y="0"/>
                    <a:pt x="34481" y="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49" name="Forma livre: Forma 1848">
              <a:extLst>
                <a:ext uri="{FF2B5EF4-FFF2-40B4-BE49-F238E27FC236}">
                  <a16:creationId xmlns:a16="http://schemas.microsoft.com/office/drawing/2014/main" id="{06078C4E-9FB4-B3AC-5C3F-28701B561A24}"/>
                </a:ext>
              </a:extLst>
            </p:cNvPr>
            <p:cNvSpPr/>
            <p:nvPr/>
          </p:nvSpPr>
          <p:spPr>
            <a:xfrm>
              <a:off x="6906502" y="4909205"/>
              <a:ext cx="6282" cy="19443"/>
            </a:xfrm>
            <a:custGeom>
              <a:avLst/>
              <a:gdLst>
                <a:gd name="connsiteX0" fmla="*/ 774 w 6282"/>
                <a:gd name="connsiteY0" fmla="*/ 19444 h 19443"/>
                <a:gd name="connsiteX1" fmla="*/ 6283 w 6282"/>
                <a:gd name="connsiteY1" fmla="*/ 0 h 194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82" h="19443">
                  <a:moveTo>
                    <a:pt x="774" y="19444"/>
                  </a:moveTo>
                  <a:cubicBezTo>
                    <a:pt x="-979" y="15901"/>
                    <a:pt x="-2" y="8309"/>
                    <a:pt x="6283" y="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850" name="Gráfico 17">
            <a:extLst>
              <a:ext uri="{FF2B5EF4-FFF2-40B4-BE49-F238E27FC236}">
                <a16:creationId xmlns:a16="http://schemas.microsoft.com/office/drawing/2014/main" id="{BD76B1AF-10FA-B4CB-596F-AE5D2FE94012}"/>
              </a:ext>
            </a:extLst>
          </p:cNvPr>
          <p:cNvGrpSpPr/>
          <p:nvPr/>
        </p:nvGrpSpPr>
        <p:grpSpPr>
          <a:xfrm>
            <a:off x="6195032" y="4703023"/>
            <a:ext cx="256202" cy="338708"/>
            <a:chOff x="6195032" y="4703023"/>
            <a:chExt cx="256202" cy="338708"/>
          </a:xfrm>
          <a:noFill/>
        </p:grpSpPr>
        <p:sp>
          <p:nvSpPr>
            <p:cNvPr id="1851" name="Forma livre: Forma 1850">
              <a:extLst>
                <a:ext uri="{FF2B5EF4-FFF2-40B4-BE49-F238E27FC236}">
                  <a16:creationId xmlns:a16="http://schemas.microsoft.com/office/drawing/2014/main" id="{25CE6CC6-F4DE-4671-DC5A-6ACA64CC4C03}"/>
                </a:ext>
              </a:extLst>
            </p:cNvPr>
            <p:cNvSpPr/>
            <p:nvPr/>
          </p:nvSpPr>
          <p:spPr>
            <a:xfrm>
              <a:off x="6290555" y="4866940"/>
              <a:ext cx="1176" cy="174791"/>
            </a:xfrm>
            <a:custGeom>
              <a:avLst/>
              <a:gdLst>
                <a:gd name="connsiteX0" fmla="*/ 0 w 1176"/>
                <a:gd name="connsiteY0" fmla="*/ 0 h 174791"/>
                <a:gd name="connsiteX1" fmla="*/ 0 w 1176"/>
                <a:gd name="connsiteY1" fmla="*/ 174792 h 1747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6" h="174791">
                  <a:moveTo>
                    <a:pt x="0" y="0"/>
                  </a:moveTo>
                  <a:lnTo>
                    <a:pt x="0" y="174792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52" name="Forma livre: Forma 1851">
              <a:extLst>
                <a:ext uri="{FF2B5EF4-FFF2-40B4-BE49-F238E27FC236}">
                  <a16:creationId xmlns:a16="http://schemas.microsoft.com/office/drawing/2014/main" id="{EFC08F61-7186-E9B8-24D4-780A47C6D370}"/>
                </a:ext>
              </a:extLst>
            </p:cNvPr>
            <p:cNvSpPr/>
            <p:nvPr/>
          </p:nvSpPr>
          <p:spPr>
            <a:xfrm>
              <a:off x="6326735" y="4886806"/>
              <a:ext cx="124499" cy="87471"/>
            </a:xfrm>
            <a:custGeom>
              <a:avLst/>
              <a:gdLst>
                <a:gd name="connsiteX0" fmla="*/ 0 w 124499"/>
                <a:gd name="connsiteY0" fmla="*/ 39100 h 87471"/>
                <a:gd name="connsiteX1" fmla="*/ 51810 w 124499"/>
                <a:gd name="connsiteY1" fmla="*/ 283 h 87471"/>
                <a:gd name="connsiteX2" fmla="*/ 124500 w 124499"/>
                <a:gd name="connsiteY2" fmla="*/ 17797 h 87471"/>
                <a:gd name="connsiteX3" fmla="*/ 79681 w 124499"/>
                <a:gd name="connsiteY3" fmla="*/ 77175 h 87471"/>
                <a:gd name="connsiteX4" fmla="*/ 2142 w 124499"/>
                <a:gd name="connsiteY4" fmla="*/ 67100 h 874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4499" h="87471">
                  <a:moveTo>
                    <a:pt x="0" y="39100"/>
                  </a:moveTo>
                  <a:cubicBezTo>
                    <a:pt x="6532" y="19527"/>
                    <a:pt x="27741" y="1896"/>
                    <a:pt x="51810" y="283"/>
                  </a:cubicBezTo>
                  <a:cubicBezTo>
                    <a:pt x="95299" y="-2624"/>
                    <a:pt x="124500" y="17797"/>
                    <a:pt x="124500" y="17797"/>
                  </a:cubicBezTo>
                  <a:cubicBezTo>
                    <a:pt x="124500" y="17797"/>
                    <a:pt x="111847" y="53835"/>
                    <a:pt x="79681" y="77175"/>
                  </a:cubicBezTo>
                  <a:cubicBezTo>
                    <a:pt x="54199" y="95665"/>
                    <a:pt x="14489" y="87391"/>
                    <a:pt x="2142" y="67100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53" name="Forma livre: Forma 1852">
              <a:extLst>
                <a:ext uri="{FF2B5EF4-FFF2-40B4-BE49-F238E27FC236}">
                  <a16:creationId xmlns:a16="http://schemas.microsoft.com/office/drawing/2014/main" id="{AEA296A7-0E60-7A6C-B562-1656621B0D12}"/>
                </a:ext>
              </a:extLst>
            </p:cNvPr>
            <p:cNvSpPr/>
            <p:nvPr/>
          </p:nvSpPr>
          <p:spPr>
            <a:xfrm>
              <a:off x="6292062" y="4920139"/>
              <a:ext cx="111776" cy="75867"/>
            </a:xfrm>
            <a:custGeom>
              <a:avLst/>
              <a:gdLst>
                <a:gd name="connsiteX0" fmla="*/ 111777 w 111776"/>
                <a:gd name="connsiteY0" fmla="*/ 0 h 75867"/>
                <a:gd name="connsiteX1" fmla="*/ 0 w 111776"/>
                <a:gd name="connsiteY1" fmla="*/ 75868 h 758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1776" h="75867">
                  <a:moveTo>
                    <a:pt x="111777" y="0"/>
                  </a:moveTo>
                  <a:cubicBezTo>
                    <a:pt x="111777" y="0"/>
                    <a:pt x="57601" y="6003"/>
                    <a:pt x="0" y="75868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54" name="Forma livre: Forma 1853">
              <a:extLst>
                <a:ext uri="{FF2B5EF4-FFF2-40B4-BE49-F238E27FC236}">
                  <a16:creationId xmlns:a16="http://schemas.microsoft.com/office/drawing/2014/main" id="{93148402-9F60-B4C6-D3EC-9372456454BE}"/>
                </a:ext>
              </a:extLst>
            </p:cNvPr>
            <p:cNvSpPr/>
            <p:nvPr/>
          </p:nvSpPr>
          <p:spPr>
            <a:xfrm>
              <a:off x="6258200" y="4923823"/>
              <a:ext cx="30895" cy="26375"/>
            </a:xfrm>
            <a:custGeom>
              <a:avLst/>
              <a:gdLst>
                <a:gd name="connsiteX0" fmla="*/ 0 w 30895"/>
                <a:gd name="connsiteY0" fmla="*/ 0 h 26375"/>
                <a:gd name="connsiteX1" fmla="*/ 30895 w 30895"/>
                <a:gd name="connsiteY1" fmla="*/ 26376 h 263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0895" h="26375">
                  <a:moveTo>
                    <a:pt x="0" y="0"/>
                  </a:moveTo>
                  <a:cubicBezTo>
                    <a:pt x="0" y="0"/>
                    <a:pt x="21868" y="10346"/>
                    <a:pt x="30895" y="26376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55" name="Forma livre: Forma 1854">
              <a:extLst>
                <a:ext uri="{FF2B5EF4-FFF2-40B4-BE49-F238E27FC236}">
                  <a16:creationId xmlns:a16="http://schemas.microsoft.com/office/drawing/2014/main" id="{14CDDCFF-3BFA-BC92-124B-EAD53A4609E6}"/>
                </a:ext>
              </a:extLst>
            </p:cNvPr>
            <p:cNvSpPr/>
            <p:nvPr/>
          </p:nvSpPr>
          <p:spPr>
            <a:xfrm>
              <a:off x="6195032" y="4889172"/>
              <a:ext cx="64568" cy="44446"/>
            </a:xfrm>
            <a:custGeom>
              <a:avLst/>
              <a:gdLst>
                <a:gd name="connsiteX0" fmla="*/ 63498 w 64568"/>
                <a:gd name="connsiteY0" fmla="*/ 34509 h 44446"/>
                <a:gd name="connsiteX1" fmla="*/ 21597 w 64568"/>
                <a:gd name="connsiteY1" fmla="*/ 36581 h 44446"/>
                <a:gd name="connsiteX2" fmla="*/ 0 w 64568"/>
                <a:gd name="connsiteY2" fmla="*/ 4720 h 44446"/>
                <a:gd name="connsiteX3" fmla="*/ 38157 w 64568"/>
                <a:gd name="connsiteY3" fmla="*/ 1072 h 44446"/>
                <a:gd name="connsiteX4" fmla="*/ 63498 w 64568"/>
                <a:gd name="connsiteY4" fmla="*/ 34497 h 444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4568" h="44446">
                  <a:moveTo>
                    <a:pt x="63498" y="34509"/>
                  </a:moveTo>
                  <a:cubicBezTo>
                    <a:pt x="57930" y="46820"/>
                    <a:pt x="35286" y="47903"/>
                    <a:pt x="21597" y="36581"/>
                  </a:cubicBezTo>
                  <a:cubicBezTo>
                    <a:pt x="3931" y="21963"/>
                    <a:pt x="0" y="4720"/>
                    <a:pt x="0" y="4720"/>
                  </a:cubicBezTo>
                  <a:cubicBezTo>
                    <a:pt x="0" y="4720"/>
                    <a:pt x="17607" y="-2707"/>
                    <a:pt x="38157" y="1072"/>
                  </a:cubicBezTo>
                  <a:cubicBezTo>
                    <a:pt x="55635" y="4285"/>
                    <a:pt x="68441" y="23552"/>
                    <a:pt x="63498" y="34497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856" name="Gráfico 17">
              <a:extLst>
                <a:ext uri="{FF2B5EF4-FFF2-40B4-BE49-F238E27FC236}">
                  <a16:creationId xmlns:a16="http://schemas.microsoft.com/office/drawing/2014/main" id="{6FDC86B3-E2CC-4874-1432-A2D1B900B269}"/>
                </a:ext>
              </a:extLst>
            </p:cNvPr>
            <p:cNvGrpSpPr/>
            <p:nvPr/>
          </p:nvGrpSpPr>
          <p:grpSpPr>
            <a:xfrm>
              <a:off x="6227246" y="4703023"/>
              <a:ext cx="126606" cy="161421"/>
              <a:chOff x="6227246" y="4703023"/>
              <a:chExt cx="126606" cy="161421"/>
            </a:xfrm>
            <a:noFill/>
          </p:grpSpPr>
          <p:sp>
            <p:nvSpPr>
              <p:cNvPr id="1857" name="Forma livre: Forma 1856">
                <a:extLst>
                  <a:ext uri="{FF2B5EF4-FFF2-40B4-BE49-F238E27FC236}">
                    <a16:creationId xmlns:a16="http://schemas.microsoft.com/office/drawing/2014/main" id="{39EFEB00-4A0B-6EAD-753B-9A2D6E86A1ED}"/>
                  </a:ext>
                </a:extLst>
              </p:cNvPr>
              <p:cNvSpPr/>
              <p:nvPr/>
            </p:nvSpPr>
            <p:spPr>
              <a:xfrm>
                <a:off x="6256835" y="4703023"/>
                <a:ext cx="1176" cy="46325"/>
              </a:xfrm>
              <a:custGeom>
                <a:avLst/>
                <a:gdLst>
                  <a:gd name="connsiteX0" fmla="*/ 0 w 1176"/>
                  <a:gd name="connsiteY0" fmla="*/ 46326 h 46325"/>
                  <a:gd name="connsiteX1" fmla="*/ 0 w 1176"/>
                  <a:gd name="connsiteY1" fmla="*/ 0 h 463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76" h="46325">
                    <a:moveTo>
                      <a:pt x="0" y="46326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858" name="Forma livre: Forma 1857">
                <a:extLst>
                  <a:ext uri="{FF2B5EF4-FFF2-40B4-BE49-F238E27FC236}">
                    <a16:creationId xmlns:a16="http://schemas.microsoft.com/office/drawing/2014/main" id="{DD12EBD6-7E50-6D91-324D-FD257030E1D1}"/>
                  </a:ext>
                </a:extLst>
              </p:cNvPr>
              <p:cNvSpPr/>
              <p:nvPr/>
            </p:nvSpPr>
            <p:spPr>
              <a:xfrm>
                <a:off x="6324264" y="4703023"/>
                <a:ext cx="1176" cy="46325"/>
              </a:xfrm>
              <a:custGeom>
                <a:avLst/>
                <a:gdLst>
                  <a:gd name="connsiteX0" fmla="*/ 0 w 1176"/>
                  <a:gd name="connsiteY0" fmla="*/ 46326 h 46325"/>
                  <a:gd name="connsiteX1" fmla="*/ 0 w 1176"/>
                  <a:gd name="connsiteY1" fmla="*/ 0 h 463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76" h="46325">
                    <a:moveTo>
                      <a:pt x="0" y="46326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859" name="Forma livre: Forma 1858">
                <a:extLst>
                  <a:ext uri="{FF2B5EF4-FFF2-40B4-BE49-F238E27FC236}">
                    <a16:creationId xmlns:a16="http://schemas.microsoft.com/office/drawing/2014/main" id="{D385A08A-921D-A2FA-F00E-FEA14788279D}"/>
                  </a:ext>
                </a:extLst>
              </p:cNvPr>
              <p:cNvSpPr/>
              <p:nvPr/>
            </p:nvSpPr>
            <p:spPr>
              <a:xfrm>
                <a:off x="6227246" y="4751103"/>
                <a:ext cx="126606" cy="113342"/>
              </a:xfrm>
              <a:custGeom>
                <a:avLst/>
                <a:gdLst>
                  <a:gd name="connsiteX0" fmla="*/ 0 w 126606"/>
                  <a:gd name="connsiteY0" fmla="*/ 21903 h 113342"/>
                  <a:gd name="connsiteX1" fmla="*/ 0 w 126606"/>
                  <a:gd name="connsiteY1" fmla="*/ 38357 h 113342"/>
                  <a:gd name="connsiteX2" fmla="*/ 21868 w 126606"/>
                  <a:gd name="connsiteY2" fmla="*/ 50304 h 113342"/>
                  <a:gd name="connsiteX3" fmla="*/ 21868 w 126606"/>
                  <a:gd name="connsiteY3" fmla="*/ 85448 h 113342"/>
                  <a:gd name="connsiteX4" fmla="*/ 49762 w 126606"/>
                  <a:gd name="connsiteY4" fmla="*/ 113342 h 113342"/>
                  <a:gd name="connsiteX5" fmla="*/ 77115 w 126606"/>
                  <a:gd name="connsiteY5" fmla="*/ 113342 h 113342"/>
                  <a:gd name="connsiteX6" fmla="*/ 105021 w 126606"/>
                  <a:gd name="connsiteY6" fmla="*/ 85448 h 113342"/>
                  <a:gd name="connsiteX7" fmla="*/ 105021 w 126606"/>
                  <a:gd name="connsiteY7" fmla="*/ 50151 h 113342"/>
                  <a:gd name="connsiteX8" fmla="*/ 126607 w 126606"/>
                  <a:gd name="connsiteY8" fmla="*/ 38357 h 113342"/>
                  <a:gd name="connsiteX9" fmla="*/ 126607 w 126606"/>
                  <a:gd name="connsiteY9" fmla="*/ 0 h 113342"/>
                  <a:gd name="connsiteX10" fmla="*/ 0 w 126606"/>
                  <a:gd name="connsiteY10" fmla="*/ 0 h 1133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126606" h="113342">
                    <a:moveTo>
                      <a:pt x="0" y="21903"/>
                    </a:moveTo>
                    <a:lnTo>
                      <a:pt x="0" y="38357"/>
                    </a:lnTo>
                    <a:lnTo>
                      <a:pt x="21868" y="50304"/>
                    </a:lnTo>
                    <a:lnTo>
                      <a:pt x="21868" y="85448"/>
                    </a:lnTo>
                    <a:cubicBezTo>
                      <a:pt x="21868" y="100796"/>
                      <a:pt x="34426" y="113342"/>
                      <a:pt x="49762" y="113342"/>
                    </a:cubicBezTo>
                    <a:lnTo>
                      <a:pt x="77115" y="113342"/>
                    </a:lnTo>
                    <a:cubicBezTo>
                      <a:pt x="92463" y="113342"/>
                      <a:pt x="105021" y="100796"/>
                      <a:pt x="105021" y="85448"/>
                    </a:cubicBezTo>
                    <a:lnTo>
                      <a:pt x="105021" y="50151"/>
                    </a:lnTo>
                    <a:lnTo>
                      <a:pt x="126607" y="38357"/>
                    </a:lnTo>
                    <a:lnTo>
                      <a:pt x="126607" y="0"/>
                    </a:lnTo>
                    <a:lnTo>
                      <a:pt x="0" y="0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860" name="Forma livre: Forma 1859">
                <a:extLst>
                  <a:ext uri="{FF2B5EF4-FFF2-40B4-BE49-F238E27FC236}">
                    <a16:creationId xmlns:a16="http://schemas.microsoft.com/office/drawing/2014/main" id="{7001608D-7E91-B601-261B-87193D6686A9}"/>
                  </a:ext>
                </a:extLst>
              </p:cNvPr>
              <p:cNvSpPr/>
              <p:nvPr/>
            </p:nvSpPr>
            <p:spPr>
              <a:xfrm>
                <a:off x="6271288" y="4780115"/>
                <a:ext cx="79186" cy="1176"/>
              </a:xfrm>
              <a:custGeom>
                <a:avLst/>
                <a:gdLst>
                  <a:gd name="connsiteX0" fmla="*/ 79187 w 79186"/>
                  <a:gd name="connsiteY0" fmla="*/ 0 h 1176"/>
                  <a:gd name="connsiteX1" fmla="*/ 0 w 79186"/>
                  <a:gd name="connsiteY1" fmla="*/ 0 h 11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79186" h="1176">
                    <a:moveTo>
                      <a:pt x="79187" y="0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861" name="Gráfico 17">
            <a:extLst>
              <a:ext uri="{FF2B5EF4-FFF2-40B4-BE49-F238E27FC236}">
                <a16:creationId xmlns:a16="http://schemas.microsoft.com/office/drawing/2014/main" id="{8CF7747E-3406-AF15-8514-340F3947C0B4}"/>
              </a:ext>
            </a:extLst>
          </p:cNvPr>
          <p:cNvGrpSpPr/>
          <p:nvPr/>
        </p:nvGrpSpPr>
        <p:grpSpPr>
          <a:xfrm>
            <a:off x="7423919" y="4714922"/>
            <a:ext cx="250683" cy="314921"/>
            <a:chOff x="7423919" y="4714922"/>
            <a:chExt cx="250683" cy="314921"/>
          </a:xfrm>
          <a:noFill/>
        </p:grpSpPr>
        <p:sp>
          <p:nvSpPr>
            <p:cNvPr id="1862" name="Forma livre: Forma 1861">
              <a:extLst>
                <a:ext uri="{FF2B5EF4-FFF2-40B4-BE49-F238E27FC236}">
                  <a16:creationId xmlns:a16="http://schemas.microsoft.com/office/drawing/2014/main" id="{8087D52A-02C5-CE30-709A-717A2DD90E1E}"/>
                </a:ext>
              </a:extLst>
            </p:cNvPr>
            <p:cNvSpPr/>
            <p:nvPr/>
          </p:nvSpPr>
          <p:spPr>
            <a:xfrm>
              <a:off x="7439855" y="4733672"/>
              <a:ext cx="169601" cy="260875"/>
            </a:xfrm>
            <a:custGeom>
              <a:avLst/>
              <a:gdLst>
                <a:gd name="connsiteX0" fmla="*/ 0 w 169601"/>
                <a:gd name="connsiteY0" fmla="*/ 235618 h 260875"/>
                <a:gd name="connsiteX1" fmla="*/ 0 w 169601"/>
                <a:gd name="connsiteY1" fmla="*/ 23951 h 260875"/>
                <a:gd name="connsiteX2" fmla="*/ 23940 w 169601"/>
                <a:gd name="connsiteY2" fmla="*/ 0 h 260875"/>
                <a:gd name="connsiteX3" fmla="*/ 145662 w 169601"/>
                <a:gd name="connsiteY3" fmla="*/ 0 h 260875"/>
                <a:gd name="connsiteX4" fmla="*/ 169601 w 169601"/>
                <a:gd name="connsiteY4" fmla="*/ 23951 h 260875"/>
                <a:gd name="connsiteX5" fmla="*/ 169601 w 169601"/>
                <a:gd name="connsiteY5" fmla="*/ 260875 h 260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69601" h="260875">
                  <a:moveTo>
                    <a:pt x="0" y="235618"/>
                  </a:moveTo>
                  <a:lnTo>
                    <a:pt x="0" y="23951"/>
                  </a:lnTo>
                  <a:cubicBezTo>
                    <a:pt x="0" y="10781"/>
                    <a:pt x="10769" y="0"/>
                    <a:pt x="23940" y="0"/>
                  </a:cubicBezTo>
                  <a:lnTo>
                    <a:pt x="145662" y="0"/>
                  </a:lnTo>
                  <a:cubicBezTo>
                    <a:pt x="158832" y="0"/>
                    <a:pt x="169601" y="10781"/>
                    <a:pt x="169601" y="23951"/>
                  </a:cubicBezTo>
                  <a:lnTo>
                    <a:pt x="169601" y="260875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63" name="Forma livre: Forma 1862">
              <a:extLst>
                <a:ext uri="{FF2B5EF4-FFF2-40B4-BE49-F238E27FC236}">
                  <a16:creationId xmlns:a16="http://schemas.microsoft.com/office/drawing/2014/main" id="{3D2C7C8C-8E7B-21AC-27FE-C5660113B747}"/>
                </a:ext>
              </a:extLst>
            </p:cNvPr>
            <p:cNvSpPr/>
            <p:nvPr/>
          </p:nvSpPr>
          <p:spPr>
            <a:xfrm>
              <a:off x="7473057" y="4765309"/>
              <a:ext cx="103196" cy="59378"/>
            </a:xfrm>
            <a:custGeom>
              <a:avLst/>
              <a:gdLst>
                <a:gd name="connsiteX0" fmla="*/ 0 w 103196"/>
                <a:gd name="connsiteY0" fmla="*/ 0 h 59378"/>
                <a:gd name="connsiteX1" fmla="*/ 103197 w 103196"/>
                <a:gd name="connsiteY1" fmla="*/ 0 h 59378"/>
                <a:gd name="connsiteX2" fmla="*/ 103197 w 103196"/>
                <a:gd name="connsiteY2" fmla="*/ 59378 h 59378"/>
                <a:gd name="connsiteX3" fmla="*/ 0 w 103196"/>
                <a:gd name="connsiteY3" fmla="*/ 59378 h 593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3196" h="59378">
                  <a:moveTo>
                    <a:pt x="0" y="0"/>
                  </a:moveTo>
                  <a:lnTo>
                    <a:pt x="103197" y="0"/>
                  </a:lnTo>
                  <a:lnTo>
                    <a:pt x="103197" y="59378"/>
                  </a:lnTo>
                  <a:lnTo>
                    <a:pt x="0" y="59378"/>
                  </a:ln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64" name="Forma livre: Forma 1863">
              <a:extLst>
                <a:ext uri="{FF2B5EF4-FFF2-40B4-BE49-F238E27FC236}">
                  <a16:creationId xmlns:a16="http://schemas.microsoft.com/office/drawing/2014/main" id="{25835783-B1B5-685E-E3E7-68A38D7D9269}"/>
                </a:ext>
              </a:extLst>
            </p:cNvPr>
            <p:cNvSpPr/>
            <p:nvPr/>
          </p:nvSpPr>
          <p:spPr>
            <a:xfrm>
              <a:off x="7524656" y="4785011"/>
              <a:ext cx="1176" cy="19961"/>
            </a:xfrm>
            <a:custGeom>
              <a:avLst/>
              <a:gdLst>
                <a:gd name="connsiteX0" fmla="*/ 0 w 1176"/>
                <a:gd name="connsiteY0" fmla="*/ 0 h 19961"/>
                <a:gd name="connsiteX1" fmla="*/ 0 w 1176"/>
                <a:gd name="connsiteY1" fmla="*/ 19961 h 199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6" h="19961">
                  <a:moveTo>
                    <a:pt x="0" y="0"/>
                  </a:moveTo>
                  <a:lnTo>
                    <a:pt x="0" y="19961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65" name="Forma livre: Forma 1864">
              <a:extLst>
                <a:ext uri="{FF2B5EF4-FFF2-40B4-BE49-F238E27FC236}">
                  <a16:creationId xmlns:a16="http://schemas.microsoft.com/office/drawing/2014/main" id="{CC976BB5-E35B-0A9D-6784-8E7AD3DAA282}"/>
                </a:ext>
              </a:extLst>
            </p:cNvPr>
            <p:cNvSpPr/>
            <p:nvPr/>
          </p:nvSpPr>
          <p:spPr>
            <a:xfrm>
              <a:off x="7499822" y="4785011"/>
              <a:ext cx="1176" cy="19961"/>
            </a:xfrm>
            <a:custGeom>
              <a:avLst/>
              <a:gdLst>
                <a:gd name="connsiteX0" fmla="*/ 0 w 1176"/>
                <a:gd name="connsiteY0" fmla="*/ 0 h 19961"/>
                <a:gd name="connsiteX1" fmla="*/ 0 w 1176"/>
                <a:gd name="connsiteY1" fmla="*/ 19961 h 199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6" h="19961">
                  <a:moveTo>
                    <a:pt x="0" y="0"/>
                  </a:moveTo>
                  <a:lnTo>
                    <a:pt x="0" y="19961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66" name="Forma livre: Forma 1865">
              <a:extLst>
                <a:ext uri="{FF2B5EF4-FFF2-40B4-BE49-F238E27FC236}">
                  <a16:creationId xmlns:a16="http://schemas.microsoft.com/office/drawing/2014/main" id="{75D1D050-A28D-2466-62E4-39D40A236250}"/>
                </a:ext>
              </a:extLst>
            </p:cNvPr>
            <p:cNvSpPr/>
            <p:nvPr/>
          </p:nvSpPr>
          <p:spPr>
            <a:xfrm>
              <a:off x="7549490" y="4785011"/>
              <a:ext cx="1176" cy="19961"/>
            </a:xfrm>
            <a:custGeom>
              <a:avLst/>
              <a:gdLst>
                <a:gd name="connsiteX0" fmla="*/ 0 w 1176"/>
                <a:gd name="connsiteY0" fmla="*/ 0 h 19961"/>
                <a:gd name="connsiteX1" fmla="*/ 0 w 1176"/>
                <a:gd name="connsiteY1" fmla="*/ 19961 h 199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6" h="19961">
                  <a:moveTo>
                    <a:pt x="0" y="0"/>
                  </a:moveTo>
                  <a:lnTo>
                    <a:pt x="0" y="19961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67" name="Forma livre: Forma 1866">
              <a:extLst>
                <a:ext uri="{FF2B5EF4-FFF2-40B4-BE49-F238E27FC236}">
                  <a16:creationId xmlns:a16="http://schemas.microsoft.com/office/drawing/2014/main" id="{5D88966C-E7EC-A41B-52C3-EDD3F6161F21}"/>
                </a:ext>
              </a:extLst>
            </p:cNvPr>
            <p:cNvSpPr/>
            <p:nvPr/>
          </p:nvSpPr>
          <p:spPr>
            <a:xfrm>
              <a:off x="7609197" y="4714922"/>
              <a:ext cx="65404" cy="240043"/>
            </a:xfrm>
            <a:custGeom>
              <a:avLst/>
              <a:gdLst>
                <a:gd name="connsiteX0" fmla="*/ 0 w 65404"/>
                <a:gd name="connsiteY0" fmla="*/ 107681 h 240043"/>
                <a:gd name="connsiteX1" fmla="*/ 16419 w 65404"/>
                <a:gd name="connsiteY1" fmla="*/ 107681 h 240043"/>
                <a:gd name="connsiteX2" fmla="*/ 30790 w 65404"/>
                <a:gd name="connsiteY2" fmla="*/ 122052 h 240043"/>
                <a:gd name="connsiteX3" fmla="*/ 30790 w 65404"/>
                <a:gd name="connsiteY3" fmla="*/ 225672 h 240043"/>
                <a:gd name="connsiteX4" fmla="*/ 45196 w 65404"/>
                <a:gd name="connsiteY4" fmla="*/ 240043 h 240043"/>
                <a:gd name="connsiteX5" fmla="*/ 51033 w 65404"/>
                <a:gd name="connsiteY5" fmla="*/ 240043 h 240043"/>
                <a:gd name="connsiteX6" fmla="*/ 65404 w 65404"/>
                <a:gd name="connsiteY6" fmla="*/ 225672 h 240043"/>
                <a:gd name="connsiteX7" fmla="*/ 65404 w 65404"/>
                <a:gd name="connsiteY7" fmla="*/ 50480 h 240043"/>
                <a:gd name="connsiteX8" fmla="*/ 51033 w 65404"/>
                <a:gd name="connsiteY8" fmla="*/ 22610 h 240043"/>
                <a:gd name="connsiteX9" fmla="*/ 16972 w 65404"/>
                <a:gd name="connsiteY9" fmla="*/ 0 h 2400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65404" h="240043">
                  <a:moveTo>
                    <a:pt x="0" y="107681"/>
                  </a:moveTo>
                  <a:lnTo>
                    <a:pt x="16419" y="107681"/>
                  </a:lnTo>
                  <a:cubicBezTo>
                    <a:pt x="24316" y="107681"/>
                    <a:pt x="30790" y="114143"/>
                    <a:pt x="30790" y="122052"/>
                  </a:cubicBezTo>
                  <a:lnTo>
                    <a:pt x="30790" y="225672"/>
                  </a:lnTo>
                  <a:cubicBezTo>
                    <a:pt x="30790" y="233582"/>
                    <a:pt x="37286" y="240043"/>
                    <a:pt x="45196" y="240043"/>
                  </a:cubicBezTo>
                  <a:lnTo>
                    <a:pt x="51033" y="240043"/>
                  </a:lnTo>
                  <a:cubicBezTo>
                    <a:pt x="58931" y="240043"/>
                    <a:pt x="65404" y="233582"/>
                    <a:pt x="65404" y="225672"/>
                  </a:cubicBezTo>
                  <a:lnTo>
                    <a:pt x="65404" y="50480"/>
                  </a:lnTo>
                  <a:cubicBezTo>
                    <a:pt x="65404" y="40500"/>
                    <a:pt x="59484" y="27729"/>
                    <a:pt x="51033" y="22610"/>
                  </a:cubicBezTo>
                  <a:lnTo>
                    <a:pt x="16972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68" name="Forma livre: Forma 1867">
              <a:extLst>
                <a:ext uri="{FF2B5EF4-FFF2-40B4-BE49-F238E27FC236}">
                  <a16:creationId xmlns:a16="http://schemas.microsoft.com/office/drawing/2014/main" id="{CA11FE95-ADBF-E64B-2F87-6AF3ECB00E83}"/>
                </a:ext>
              </a:extLst>
            </p:cNvPr>
            <p:cNvSpPr/>
            <p:nvPr/>
          </p:nvSpPr>
          <p:spPr>
            <a:xfrm>
              <a:off x="7649626" y="4762154"/>
              <a:ext cx="23292" cy="49526"/>
            </a:xfrm>
            <a:custGeom>
              <a:avLst/>
              <a:gdLst>
                <a:gd name="connsiteX0" fmla="*/ 0 w 23292"/>
                <a:gd name="connsiteY0" fmla="*/ 0 h 49526"/>
                <a:gd name="connsiteX1" fmla="*/ 0 w 23292"/>
                <a:gd name="connsiteY1" fmla="*/ 32779 h 49526"/>
                <a:gd name="connsiteX2" fmla="*/ 23292 w 23292"/>
                <a:gd name="connsiteY2" fmla="*/ 49527 h 495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3292" h="49526">
                  <a:moveTo>
                    <a:pt x="0" y="0"/>
                  </a:moveTo>
                  <a:lnTo>
                    <a:pt x="0" y="32779"/>
                  </a:lnTo>
                  <a:lnTo>
                    <a:pt x="23292" y="49527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69" name="Forma livre: Forma 1868">
              <a:extLst>
                <a:ext uri="{FF2B5EF4-FFF2-40B4-BE49-F238E27FC236}">
                  <a16:creationId xmlns:a16="http://schemas.microsoft.com/office/drawing/2014/main" id="{E8A1B55E-5936-D6E4-01FB-84031682A15C}"/>
                </a:ext>
              </a:extLst>
            </p:cNvPr>
            <p:cNvSpPr/>
            <p:nvPr/>
          </p:nvSpPr>
          <p:spPr>
            <a:xfrm>
              <a:off x="7423919" y="4997019"/>
              <a:ext cx="201485" cy="32825"/>
            </a:xfrm>
            <a:custGeom>
              <a:avLst/>
              <a:gdLst>
                <a:gd name="connsiteX0" fmla="*/ 0 w 201485"/>
                <a:gd name="connsiteY0" fmla="*/ 32826 h 32825"/>
                <a:gd name="connsiteX1" fmla="*/ 0 w 201485"/>
                <a:gd name="connsiteY1" fmla="*/ 0 h 32825"/>
                <a:gd name="connsiteX2" fmla="*/ 201486 w 201485"/>
                <a:gd name="connsiteY2" fmla="*/ 0 h 32825"/>
                <a:gd name="connsiteX3" fmla="*/ 201486 w 201485"/>
                <a:gd name="connsiteY3" fmla="*/ 32826 h 328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1485" h="32825">
                  <a:moveTo>
                    <a:pt x="0" y="32826"/>
                  </a:moveTo>
                  <a:lnTo>
                    <a:pt x="0" y="0"/>
                  </a:lnTo>
                  <a:lnTo>
                    <a:pt x="201486" y="0"/>
                  </a:lnTo>
                  <a:lnTo>
                    <a:pt x="201486" y="32826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870" name="Gráfico 17">
              <a:extLst>
                <a:ext uri="{FF2B5EF4-FFF2-40B4-BE49-F238E27FC236}">
                  <a16:creationId xmlns:a16="http://schemas.microsoft.com/office/drawing/2014/main" id="{F2D4C851-BE12-8286-1845-FE35C4B1F337}"/>
                </a:ext>
              </a:extLst>
            </p:cNvPr>
            <p:cNvGrpSpPr/>
            <p:nvPr/>
          </p:nvGrpSpPr>
          <p:grpSpPr>
            <a:xfrm>
              <a:off x="7480378" y="4861314"/>
              <a:ext cx="90451" cy="97559"/>
              <a:chOff x="7480378" y="4861314"/>
              <a:chExt cx="90451" cy="97559"/>
            </a:xfrm>
            <a:noFill/>
          </p:grpSpPr>
          <p:sp>
            <p:nvSpPr>
              <p:cNvPr id="1871" name="Forma livre: Forma 1870">
                <a:extLst>
                  <a:ext uri="{FF2B5EF4-FFF2-40B4-BE49-F238E27FC236}">
                    <a16:creationId xmlns:a16="http://schemas.microsoft.com/office/drawing/2014/main" id="{546F4B09-44E4-B226-FE90-F3C6C058FE73}"/>
                  </a:ext>
                </a:extLst>
              </p:cNvPr>
              <p:cNvSpPr/>
              <p:nvPr/>
            </p:nvSpPr>
            <p:spPr>
              <a:xfrm>
                <a:off x="7493568" y="4861314"/>
                <a:ext cx="77261" cy="90461"/>
              </a:xfrm>
              <a:custGeom>
                <a:avLst/>
                <a:gdLst>
                  <a:gd name="connsiteX0" fmla="*/ 32005 w 77261"/>
                  <a:gd name="connsiteY0" fmla="*/ 90462 h 90461"/>
                  <a:gd name="connsiteX1" fmla="*/ 70633 w 77261"/>
                  <a:gd name="connsiteY1" fmla="*/ 59979 h 90461"/>
                  <a:gd name="connsiteX2" fmla="*/ 74211 w 77261"/>
                  <a:gd name="connsiteY2" fmla="*/ 0 h 90461"/>
                  <a:gd name="connsiteX3" fmla="*/ 18070 w 77261"/>
                  <a:gd name="connsiteY3" fmla="*/ 20526 h 90461"/>
                  <a:gd name="connsiteX4" fmla="*/ 7289 w 77261"/>
                  <a:gd name="connsiteY4" fmla="*/ 82082 h 904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7261" h="90461">
                    <a:moveTo>
                      <a:pt x="32005" y="90462"/>
                    </a:moveTo>
                    <a:cubicBezTo>
                      <a:pt x="47659" y="88614"/>
                      <a:pt x="64207" y="76880"/>
                      <a:pt x="70633" y="59979"/>
                    </a:cubicBezTo>
                    <a:cubicBezTo>
                      <a:pt x="83051" y="27247"/>
                      <a:pt x="74211" y="0"/>
                      <a:pt x="74211" y="0"/>
                    </a:cubicBezTo>
                    <a:cubicBezTo>
                      <a:pt x="74211" y="0"/>
                      <a:pt x="43551" y="1283"/>
                      <a:pt x="18070" y="20526"/>
                    </a:cubicBezTo>
                    <a:cubicBezTo>
                      <a:pt x="-1939" y="35639"/>
                      <a:pt x="-5022" y="67652"/>
                      <a:pt x="7289" y="82082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872" name="Forma livre: Forma 1871">
                <a:extLst>
                  <a:ext uri="{FF2B5EF4-FFF2-40B4-BE49-F238E27FC236}">
                    <a16:creationId xmlns:a16="http://schemas.microsoft.com/office/drawing/2014/main" id="{3CF86A65-560D-17DA-5844-44F6144834D1}"/>
                  </a:ext>
                </a:extLst>
              </p:cNvPr>
              <p:cNvSpPr/>
              <p:nvPr/>
            </p:nvSpPr>
            <p:spPr>
              <a:xfrm>
                <a:off x="7480378" y="4893445"/>
                <a:ext cx="64862" cy="65427"/>
              </a:xfrm>
              <a:custGeom>
                <a:avLst/>
                <a:gdLst>
                  <a:gd name="connsiteX0" fmla="*/ 64863 w 64862"/>
                  <a:gd name="connsiteY0" fmla="*/ 0 h 65427"/>
                  <a:gd name="connsiteX1" fmla="*/ 0 w 64862"/>
                  <a:gd name="connsiteY1" fmla="*/ 65428 h 654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4862" h="65427">
                    <a:moveTo>
                      <a:pt x="64863" y="0"/>
                    </a:moveTo>
                    <a:cubicBezTo>
                      <a:pt x="64863" y="0"/>
                      <a:pt x="48009" y="36639"/>
                      <a:pt x="0" y="65428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873" name="Gráfico 17">
            <a:extLst>
              <a:ext uri="{FF2B5EF4-FFF2-40B4-BE49-F238E27FC236}">
                <a16:creationId xmlns:a16="http://schemas.microsoft.com/office/drawing/2014/main" id="{4C39E296-9F83-8514-3481-A5B4AB364F99}"/>
              </a:ext>
            </a:extLst>
          </p:cNvPr>
          <p:cNvGrpSpPr/>
          <p:nvPr/>
        </p:nvGrpSpPr>
        <p:grpSpPr>
          <a:xfrm>
            <a:off x="6785224" y="4206542"/>
            <a:ext cx="301928" cy="284308"/>
            <a:chOff x="6785224" y="4206542"/>
            <a:chExt cx="301928" cy="284308"/>
          </a:xfrm>
          <a:noFill/>
        </p:grpSpPr>
        <p:sp>
          <p:nvSpPr>
            <p:cNvPr id="1874" name="Forma livre: Forma 1873">
              <a:extLst>
                <a:ext uri="{FF2B5EF4-FFF2-40B4-BE49-F238E27FC236}">
                  <a16:creationId xmlns:a16="http://schemas.microsoft.com/office/drawing/2014/main" id="{358C8B5E-F523-B72B-E838-F4CE11A6A7C0}"/>
                </a:ext>
              </a:extLst>
            </p:cNvPr>
            <p:cNvSpPr/>
            <p:nvPr/>
          </p:nvSpPr>
          <p:spPr>
            <a:xfrm>
              <a:off x="6785224" y="4388831"/>
              <a:ext cx="94993" cy="102019"/>
            </a:xfrm>
            <a:custGeom>
              <a:avLst/>
              <a:gdLst>
                <a:gd name="connsiteX0" fmla="*/ 94993 w 94993"/>
                <a:gd name="connsiteY0" fmla="*/ 102020 h 102019"/>
                <a:gd name="connsiteX1" fmla="*/ 67523 w 94993"/>
                <a:gd name="connsiteY1" fmla="*/ 96276 h 102019"/>
                <a:gd name="connsiteX2" fmla="*/ 0 w 94993"/>
                <a:gd name="connsiteY2" fmla="*/ 45984 h 102019"/>
                <a:gd name="connsiteX3" fmla="*/ 53199 w 94993"/>
                <a:gd name="connsiteY3" fmla="*/ 0 h 1020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4993" h="102019">
                  <a:moveTo>
                    <a:pt x="94993" y="102020"/>
                  </a:moveTo>
                  <a:cubicBezTo>
                    <a:pt x="85307" y="100478"/>
                    <a:pt x="76103" y="98548"/>
                    <a:pt x="67523" y="96276"/>
                  </a:cubicBezTo>
                  <a:cubicBezTo>
                    <a:pt x="26847" y="85495"/>
                    <a:pt x="0" y="66993"/>
                    <a:pt x="0" y="45984"/>
                  </a:cubicBezTo>
                  <a:cubicBezTo>
                    <a:pt x="0" y="27553"/>
                    <a:pt x="20656" y="11052"/>
                    <a:pt x="53199" y="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75" name="Forma livre: Forma 1874">
              <a:extLst>
                <a:ext uri="{FF2B5EF4-FFF2-40B4-BE49-F238E27FC236}">
                  <a16:creationId xmlns:a16="http://schemas.microsoft.com/office/drawing/2014/main" id="{DD18B159-6066-4E56-5F0E-7DD87200256D}"/>
                </a:ext>
              </a:extLst>
            </p:cNvPr>
            <p:cNvSpPr/>
            <p:nvPr/>
          </p:nvSpPr>
          <p:spPr>
            <a:xfrm>
              <a:off x="6859013" y="4206542"/>
              <a:ext cx="154282" cy="219940"/>
            </a:xfrm>
            <a:custGeom>
              <a:avLst/>
              <a:gdLst>
                <a:gd name="connsiteX0" fmla="*/ 60374 w 154282"/>
                <a:gd name="connsiteY0" fmla="*/ 32473 h 219940"/>
                <a:gd name="connsiteX1" fmla="*/ 26995 w 154282"/>
                <a:gd name="connsiteY1" fmla="*/ 75573 h 219940"/>
                <a:gd name="connsiteX2" fmla="*/ 76792 w 154282"/>
                <a:gd name="connsiteY2" fmla="*/ 219940 h 219940"/>
                <a:gd name="connsiteX3" fmla="*/ 77593 w 154282"/>
                <a:gd name="connsiteY3" fmla="*/ 219940 h 219940"/>
                <a:gd name="connsiteX4" fmla="*/ 127414 w 154282"/>
                <a:gd name="connsiteY4" fmla="*/ 75573 h 219940"/>
                <a:gd name="connsiteX5" fmla="*/ 77204 w 154282"/>
                <a:gd name="connsiteY5" fmla="*/ 0 h 219940"/>
                <a:gd name="connsiteX6" fmla="*/ 77169 w 154282"/>
                <a:gd name="connsiteY6" fmla="*/ 0 h 2199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54282" h="219940">
                  <a:moveTo>
                    <a:pt x="60374" y="32473"/>
                  </a:moveTo>
                  <a:cubicBezTo>
                    <a:pt x="52970" y="43418"/>
                    <a:pt x="42319" y="57566"/>
                    <a:pt x="26995" y="75573"/>
                  </a:cubicBezTo>
                  <a:cubicBezTo>
                    <a:pt x="-26240" y="138106"/>
                    <a:pt x="3914" y="219729"/>
                    <a:pt x="76792" y="219940"/>
                  </a:cubicBezTo>
                  <a:lnTo>
                    <a:pt x="77593" y="219940"/>
                  </a:lnTo>
                  <a:cubicBezTo>
                    <a:pt x="149988" y="219729"/>
                    <a:pt x="180636" y="138106"/>
                    <a:pt x="127414" y="75573"/>
                  </a:cubicBezTo>
                  <a:cubicBezTo>
                    <a:pt x="81841" y="22009"/>
                    <a:pt x="77593" y="2660"/>
                    <a:pt x="77204" y="0"/>
                  </a:cubicBezTo>
                  <a:lnTo>
                    <a:pt x="77169" y="0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76" name="Forma livre: Forma 1875">
              <a:extLst>
                <a:ext uri="{FF2B5EF4-FFF2-40B4-BE49-F238E27FC236}">
                  <a16:creationId xmlns:a16="http://schemas.microsoft.com/office/drawing/2014/main" id="{687AE9B1-DD11-796B-2262-F0347AEBD0FC}"/>
                </a:ext>
              </a:extLst>
            </p:cNvPr>
            <p:cNvSpPr/>
            <p:nvPr/>
          </p:nvSpPr>
          <p:spPr>
            <a:xfrm>
              <a:off x="6893152" y="4350568"/>
              <a:ext cx="21373" cy="35332"/>
            </a:xfrm>
            <a:custGeom>
              <a:avLst/>
              <a:gdLst>
                <a:gd name="connsiteX0" fmla="*/ 0 w 21373"/>
                <a:gd name="connsiteY0" fmla="*/ 0 h 35332"/>
                <a:gd name="connsiteX1" fmla="*/ 21374 w 21373"/>
                <a:gd name="connsiteY1" fmla="*/ 35333 h 353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1373" h="35332">
                  <a:moveTo>
                    <a:pt x="0" y="0"/>
                  </a:moveTo>
                  <a:cubicBezTo>
                    <a:pt x="0" y="0"/>
                    <a:pt x="330" y="23480"/>
                    <a:pt x="21374" y="35333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77" name="Forma livre: Forma 1876">
              <a:extLst>
                <a:ext uri="{FF2B5EF4-FFF2-40B4-BE49-F238E27FC236}">
                  <a16:creationId xmlns:a16="http://schemas.microsoft.com/office/drawing/2014/main" id="{93314477-BBD2-F43C-5DA9-6201F9E64EF0}"/>
                </a:ext>
              </a:extLst>
            </p:cNvPr>
            <p:cNvSpPr/>
            <p:nvPr/>
          </p:nvSpPr>
          <p:spPr>
            <a:xfrm>
              <a:off x="6992159" y="4388831"/>
              <a:ext cx="94993" cy="102019"/>
            </a:xfrm>
            <a:custGeom>
              <a:avLst/>
              <a:gdLst>
                <a:gd name="connsiteX0" fmla="*/ 0 w 94993"/>
                <a:gd name="connsiteY0" fmla="*/ 102020 h 102019"/>
                <a:gd name="connsiteX1" fmla="*/ 27471 w 94993"/>
                <a:gd name="connsiteY1" fmla="*/ 96276 h 102019"/>
                <a:gd name="connsiteX2" fmla="*/ 94993 w 94993"/>
                <a:gd name="connsiteY2" fmla="*/ 45984 h 102019"/>
                <a:gd name="connsiteX3" fmla="*/ 41806 w 94993"/>
                <a:gd name="connsiteY3" fmla="*/ 0 h 1020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4993" h="102019">
                  <a:moveTo>
                    <a:pt x="0" y="102020"/>
                  </a:moveTo>
                  <a:cubicBezTo>
                    <a:pt x="9687" y="100478"/>
                    <a:pt x="18890" y="98548"/>
                    <a:pt x="27471" y="96276"/>
                  </a:cubicBezTo>
                  <a:cubicBezTo>
                    <a:pt x="68158" y="85495"/>
                    <a:pt x="94993" y="66993"/>
                    <a:pt x="94993" y="45984"/>
                  </a:cubicBezTo>
                  <a:cubicBezTo>
                    <a:pt x="94993" y="27553"/>
                    <a:pt x="74349" y="11052"/>
                    <a:pt x="41806" y="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78" name="Forma livre: Forma 1877">
              <a:extLst>
                <a:ext uri="{FF2B5EF4-FFF2-40B4-BE49-F238E27FC236}">
                  <a16:creationId xmlns:a16="http://schemas.microsoft.com/office/drawing/2014/main" id="{EC736168-A49A-BC9C-040C-6FB98BD71C89}"/>
                </a:ext>
              </a:extLst>
            </p:cNvPr>
            <p:cNvSpPr/>
            <p:nvPr/>
          </p:nvSpPr>
          <p:spPr>
            <a:xfrm>
              <a:off x="6840907" y="4419126"/>
              <a:ext cx="190586" cy="44795"/>
            </a:xfrm>
            <a:custGeom>
              <a:avLst/>
              <a:gdLst>
                <a:gd name="connsiteX0" fmla="*/ 175439 w 190586"/>
                <a:gd name="connsiteY0" fmla="*/ 0 h 44795"/>
                <a:gd name="connsiteX1" fmla="*/ 190587 w 190586"/>
                <a:gd name="connsiteY1" fmla="*/ 15689 h 44795"/>
                <a:gd name="connsiteX2" fmla="*/ 95735 w 190586"/>
                <a:gd name="connsiteY2" fmla="*/ 44666 h 44795"/>
                <a:gd name="connsiteX3" fmla="*/ 94852 w 190586"/>
                <a:gd name="connsiteY3" fmla="*/ 44795 h 44795"/>
                <a:gd name="connsiteX4" fmla="*/ 0 w 190586"/>
                <a:gd name="connsiteY4" fmla="*/ 15689 h 44795"/>
                <a:gd name="connsiteX5" fmla="*/ 15148 w 190586"/>
                <a:gd name="connsiteY5" fmla="*/ 0 h 447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90586" h="44795">
                  <a:moveTo>
                    <a:pt x="175439" y="0"/>
                  </a:moveTo>
                  <a:cubicBezTo>
                    <a:pt x="185020" y="4520"/>
                    <a:pt x="190587" y="9898"/>
                    <a:pt x="190587" y="15689"/>
                  </a:cubicBezTo>
                  <a:cubicBezTo>
                    <a:pt x="190587" y="31684"/>
                    <a:pt x="148345" y="44666"/>
                    <a:pt x="95735" y="44666"/>
                  </a:cubicBezTo>
                  <a:lnTo>
                    <a:pt x="94852" y="44795"/>
                  </a:lnTo>
                  <a:cubicBezTo>
                    <a:pt x="42241" y="44795"/>
                    <a:pt x="0" y="31684"/>
                    <a:pt x="0" y="15689"/>
                  </a:cubicBezTo>
                  <a:cubicBezTo>
                    <a:pt x="0" y="9910"/>
                    <a:pt x="5567" y="4531"/>
                    <a:pt x="15148" y="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879" name="Gráfico 17">
            <a:extLst>
              <a:ext uri="{FF2B5EF4-FFF2-40B4-BE49-F238E27FC236}">
                <a16:creationId xmlns:a16="http://schemas.microsoft.com/office/drawing/2014/main" id="{D1C4B04D-56B8-D955-ACFD-2CAF8F047841}"/>
              </a:ext>
            </a:extLst>
          </p:cNvPr>
          <p:cNvGrpSpPr/>
          <p:nvPr/>
        </p:nvGrpSpPr>
        <p:grpSpPr>
          <a:xfrm>
            <a:off x="6153591" y="4179154"/>
            <a:ext cx="339085" cy="339085"/>
            <a:chOff x="6153591" y="4179154"/>
            <a:chExt cx="339085" cy="339085"/>
          </a:xfrm>
          <a:noFill/>
        </p:grpSpPr>
        <p:grpSp>
          <p:nvGrpSpPr>
            <p:cNvPr id="1880" name="Gráfico 17">
              <a:extLst>
                <a:ext uri="{FF2B5EF4-FFF2-40B4-BE49-F238E27FC236}">
                  <a16:creationId xmlns:a16="http://schemas.microsoft.com/office/drawing/2014/main" id="{0470B976-D40E-BA7B-7075-0C3102A05474}"/>
                </a:ext>
              </a:extLst>
            </p:cNvPr>
            <p:cNvGrpSpPr/>
            <p:nvPr/>
          </p:nvGrpSpPr>
          <p:grpSpPr>
            <a:xfrm>
              <a:off x="6202918" y="4228398"/>
              <a:ext cx="240419" cy="83200"/>
              <a:chOff x="6202918" y="4228398"/>
              <a:chExt cx="240419" cy="83200"/>
            </a:xfrm>
          </p:grpSpPr>
          <p:grpSp>
            <p:nvGrpSpPr>
              <p:cNvPr id="1881" name="Gráfico 17">
                <a:extLst>
                  <a:ext uri="{FF2B5EF4-FFF2-40B4-BE49-F238E27FC236}">
                    <a16:creationId xmlns:a16="http://schemas.microsoft.com/office/drawing/2014/main" id="{2BCC439E-E33E-E79D-E9BB-07B144BCC355}"/>
                  </a:ext>
                </a:extLst>
              </p:cNvPr>
              <p:cNvGrpSpPr/>
              <p:nvPr/>
            </p:nvGrpSpPr>
            <p:grpSpPr>
              <a:xfrm>
                <a:off x="6202918" y="4228398"/>
                <a:ext cx="83376" cy="83200"/>
                <a:chOff x="6202918" y="4228398"/>
                <a:chExt cx="83376" cy="83200"/>
              </a:xfrm>
            </p:grpSpPr>
            <p:sp>
              <p:nvSpPr>
                <p:cNvPr id="1882" name="Forma livre: Forma 1881">
                  <a:extLst>
                    <a:ext uri="{FF2B5EF4-FFF2-40B4-BE49-F238E27FC236}">
                      <a16:creationId xmlns:a16="http://schemas.microsoft.com/office/drawing/2014/main" id="{F079A209-24A2-29EA-B73C-10173F41A1CB}"/>
                    </a:ext>
                  </a:extLst>
                </p:cNvPr>
                <p:cNvSpPr/>
                <p:nvPr/>
              </p:nvSpPr>
              <p:spPr>
                <a:xfrm>
                  <a:off x="6202918" y="4298828"/>
                  <a:ext cx="30848" cy="12770"/>
                </a:xfrm>
                <a:custGeom>
                  <a:avLst/>
                  <a:gdLst>
                    <a:gd name="connsiteX0" fmla="*/ 0 w 30848"/>
                    <a:gd name="connsiteY0" fmla="*/ 0 h 12770"/>
                    <a:gd name="connsiteX1" fmla="*/ 30848 w 30848"/>
                    <a:gd name="connsiteY1" fmla="*/ 12770 h 1277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30848" h="12770">
                      <a:moveTo>
                        <a:pt x="0" y="0"/>
                      </a:moveTo>
                      <a:lnTo>
                        <a:pt x="30848" y="1277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883" name="Forma livre: Forma 1882">
                  <a:extLst>
                    <a:ext uri="{FF2B5EF4-FFF2-40B4-BE49-F238E27FC236}">
                      <a16:creationId xmlns:a16="http://schemas.microsoft.com/office/drawing/2014/main" id="{90EE45E5-590C-D793-43EF-4ECEE9226879}"/>
                    </a:ext>
                  </a:extLst>
                </p:cNvPr>
                <p:cNvSpPr/>
                <p:nvPr/>
              </p:nvSpPr>
              <p:spPr>
                <a:xfrm>
                  <a:off x="6273242" y="4228398"/>
                  <a:ext cx="13052" cy="31342"/>
                </a:xfrm>
                <a:custGeom>
                  <a:avLst/>
                  <a:gdLst>
                    <a:gd name="connsiteX0" fmla="*/ 0 w 13052"/>
                    <a:gd name="connsiteY0" fmla="*/ 0 h 31342"/>
                    <a:gd name="connsiteX1" fmla="*/ 13053 w 13052"/>
                    <a:gd name="connsiteY1" fmla="*/ 31343 h 3134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3052" h="31342">
                      <a:moveTo>
                        <a:pt x="0" y="0"/>
                      </a:moveTo>
                      <a:lnTo>
                        <a:pt x="13053" y="31343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884" name="Forma livre: Forma 1883">
                  <a:extLst>
                    <a:ext uri="{FF2B5EF4-FFF2-40B4-BE49-F238E27FC236}">
                      <a16:creationId xmlns:a16="http://schemas.microsoft.com/office/drawing/2014/main" id="{9BC38FC9-6F53-446C-5DED-B6C6096DAF1B}"/>
                    </a:ext>
                  </a:extLst>
                </p:cNvPr>
                <p:cNvSpPr/>
                <p:nvPr/>
              </p:nvSpPr>
              <p:spPr>
                <a:xfrm>
                  <a:off x="6203154" y="4229081"/>
                  <a:ext cx="52245" cy="52010"/>
                </a:xfrm>
                <a:custGeom>
                  <a:avLst/>
                  <a:gdLst>
                    <a:gd name="connsiteX0" fmla="*/ 52246 w 52245"/>
                    <a:gd name="connsiteY0" fmla="*/ 52010 h 52010"/>
                    <a:gd name="connsiteX1" fmla="*/ 0 w 52245"/>
                    <a:gd name="connsiteY1" fmla="*/ 0 h 5201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52245" h="52010">
                      <a:moveTo>
                        <a:pt x="52246" y="52010"/>
                      </a:moveTo>
                      <a:lnTo>
                        <a:pt x="0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1885" name="Gráfico 17">
                <a:extLst>
                  <a:ext uri="{FF2B5EF4-FFF2-40B4-BE49-F238E27FC236}">
                    <a16:creationId xmlns:a16="http://schemas.microsoft.com/office/drawing/2014/main" id="{D303A1E2-E353-5DFC-A0D4-7DA0D2EA8F76}"/>
                  </a:ext>
                </a:extLst>
              </p:cNvPr>
              <p:cNvGrpSpPr/>
              <p:nvPr/>
            </p:nvGrpSpPr>
            <p:grpSpPr>
              <a:xfrm>
                <a:off x="6359961" y="4228398"/>
                <a:ext cx="83376" cy="83200"/>
                <a:chOff x="6359961" y="4228398"/>
                <a:chExt cx="83376" cy="83200"/>
              </a:xfrm>
            </p:grpSpPr>
            <p:sp>
              <p:nvSpPr>
                <p:cNvPr id="1886" name="Forma livre: Forma 1885">
                  <a:extLst>
                    <a:ext uri="{FF2B5EF4-FFF2-40B4-BE49-F238E27FC236}">
                      <a16:creationId xmlns:a16="http://schemas.microsoft.com/office/drawing/2014/main" id="{DCBD646A-DF2D-8521-0AE1-665361EDB3AA}"/>
                    </a:ext>
                  </a:extLst>
                </p:cNvPr>
                <p:cNvSpPr/>
                <p:nvPr/>
              </p:nvSpPr>
              <p:spPr>
                <a:xfrm>
                  <a:off x="6412489" y="4298828"/>
                  <a:ext cx="30848" cy="12770"/>
                </a:xfrm>
                <a:custGeom>
                  <a:avLst/>
                  <a:gdLst>
                    <a:gd name="connsiteX0" fmla="*/ 30848 w 30848"/>
                    <a:gd name="connsiteY0" fmla="*/ 0 h 12770"/>
                    <a:gd name="connsiteX1" fmla="*/ 0 w 30848"/>
                    <a:gd name="connsiteY1" fmla="*/ 12770 h 1277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30848" h="12770">
                      <a:moveTo>
                        <a:pt x="30848" y="0"/>
                      </a:moveTo>
                      <a:lnTo>
                        <a:pt x="0" y="1277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887" name="Forma livre: Forma 1886">
                  <a:extLst>
                    <a:ext uri="{FF2B5EF4-FFF2-40B4-BE49-F238E27FC236}">
                      <a16:creationId xmlns:a16="http://schemas.microsoft.com/office/drawing/2014/main" id="{FE4F13B6-5FF8-A0C2-04F5-365240577C9A}"/>
                    </a:ext>
                  </a:extLst>
                </p:cNvPr>
                <p:cNvSpPr/>
                <p:nvPr/>
              </p:nvSpPr>
              <p:spPr>
                <a:xfrm>
                  <a:off x="6359961" y="4228398"/>
                  <a:ext cx="13052" cy="31342"/>
                </a:xfrm>
                <a:custGeom>
                  <a:avLst/>
                  <a:gdLst>
                    <a:gd name="connsiteX0" fmla="*/ 13053 w 13052"/>
                    <a:gd name="connsiteY0" fmla="*/ 0 h 31342"/>
                    <a:gd name="connsiteX1" fmla="*/ 0 w 13052"/>
                    <a:gd name="connsiteY1" fmla="*/ 31343 h 3134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3052" h="31342">
                      <a:moveTo>
                        <a:pt x="13053" y="0"/>
                      </a:moveTo>
                      <a:lnTo>
                        <a:pt x="0" y="31343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888" name="Forma livre: Forma 1887">
                  <a:extLst>
                    <a:ext uri="{FF2B5EF4-FFF2-40B4-BE49-F238E27FC236}">
                      <a16:creationId xmlns:a16="http://schemas.microsoft.com/office/drawing/2014/main" id="{BFD3CB31-3BB6-40AA-7943-E3CA66F57C99}"/>
                    </a:ext>
                  </a:extLst>
                </p:cNvPr>
                <p:cNvSpPr/>
                <p:nvPr/>
              </p:nvSpPr>
              <p:spPr>
                <a:xfrm>
                  <a:off x="6390857" y="4229081"/>
                  <a:ext cx="52233" cy="52010"/>
                </a:xfrm>
                <a:custGeom>
                  <a:avLst/>
                  <a:gdLst>
                    <a:gd name="connsiteX0" fmla="*/ 0 w 52233"/>
                    <a:gd name="connsiteY0" fmla="*/ 52010 h 52010"/>
                    <a:gd name="connsiteX1" fmla="*/ 52234 w 52233"/>
                    <a:gd name="connsiteY1" fmla="*/ 0 h 5201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52233" h="52010">
                      <a:moveTo>
                        <a:pt x="0" y="52010"/>
                      </a:moveTo>
                      <a:lnTo>
                        <a:pt x="52234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grpSp>
          <p:nvGrpSpPr>
            <p:cNvPr id="1889" name="Gráfico 17">
              <a:extLst>
                <a:ext uri="{FF2B5EF4-FFF2-40B4-BE49-F238E27FC236}">
                  <a16:creationId xmlns:a16="http://schemas.microsoft.com/office/drawing/2014/main" id="{985CB857-9F71-69C5-6DF1-430190D9EAF4}"/>
                </a:ext>
              </a:extLst>
            </p:cNvPr>
            <p:cNvGrpSpPr/>
            <p:nvPr/>
          </p:nvGrpSpPr>
          <p:grpSpPr>
            <a:xfrm>
              <a:off x="6202918" y="4385394"/>
              <a:ext cx="240419" cy="83200"/>
              <a:chOff x="6202918" y="4385394"/>
              <a:chExt cx="240419" cy="83200"/>
            </a:xfrm>
          </p:grpSpPr>
          <p:grpSp>
            <p:nvGrpSpPr>
              <p:cNvPr id="1890" name="Gráfico 17">
                <a:extLst>
                  <a:ext uri="{FF2B5EF4-FFF2-40B4-BE49-F238E27FC236}">
                    <a16:creationId xmlns:a16="http://schemas.microsoft.com/office/drawing/2014/main" id="{12A574DC-554D-5EFE-DD92-E8C31A571C9A}"/>
                  </a:ext>
                </a:extLst>
              </p:cNvPr>
              <p:cNvGrpSpPr/>
              <p:nvPr/>
            </p:nvGrpSpPr>
            <p:grpSpPr>
              <a:xfrm>
                <a:off x="6202918" y="4385394"/>
                <a:ext cx="83376" cy="83200"/>
                <a:chOff x="6202918" y="4385394"/>
                <a:chExt cx="83376" cy="83200"/>
              </a:xfrm>
            </p:grpSpPr>
            <p:sp>
              <p:nvSpPr>
                <p:cNvPr id="1891" name="Forma livre: Forma 1890">
                  <a:extLst>
                    <a:ext uri="{FF2B5EF4-FFF2-40B4-BE49-F238E27FC236}">
                      <a16:creationId xmlns:a16="http://schemas.microsoft.com/office/drawing/2014/main" id="{0A31274F-0B09-946B-FA2D-C3DC62949330}"/>
                    </a:ext>
                  </a:extLst>
                </p:cNvPr>
                <p:cNvSpPr/>
                <p:nvPr/>
              </p:nvSpPr>
              <p:spPr>
                <a:xfrm>
                  <a:off x="6202918" y="4385394"/>
                  <a:ext cx="30848" cy="12770"/>
                </a:xfrm>
                <a:custGeom>
                  <a:avLst/>
                  <a:gdLst>
                    <a:gd name="connsiteX0" fmla="*/ 0 w 30848"/>
                    <a:gd name="connsiteY0" fmla="*/ 12770 h 12770"/>
                    <a:gd name="connsiteX1" fmla="*/ 30848 w 30848"/>
                    <a:gd name="connsiteY1" fmla="*/ 0 h 1277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30848" h="12770">
                      <a:moveTo>
                        <a:pt x="0" y="12770"/>
                      </a:moveTo>
                      <a:lnTo>
                        <a:pt x="30848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892" name="Forma livre: Forma 1891">
                  <a:extLst>
                    <a:ext uri="{FF2B5EF4-FFF2-40B4-BE49-F238E27FC236}">
                      <a16:creationId xmlns:a16="http://schemas.microsoft.com/office/drawing/2014/main" id="{871FFEC1-1DE5-0E47-3120-DFA01683E1A1}"/>
                    </a:ext>
                  </a:extLst>
                </p:cNvPr>
                <p:cNvSpPr/>
                <p:nvPr/>
              </p:nvSpPr>
              <p:spPr>
                <a:xfrm>
                  <a:off x="6273242" y="4437240"/>
                  <a:ext cx="13052" cy="31354"/>
                </a:xfrm>
                <a:custGeom>
                  <a:avLst/>
                  <a:gdLst>
                    <a:gd name="connsiteX0" fmla="*/ 0 w 13052"/>
                    <a:gd name="connsiteY0" fmla="*/ 31354 h 31354"/>
                    <a:gd name="connsiteX1" fmla="*/ 13053 w 13052"/>
                    <a:gd name="connsiteY1" fmla="*/ 0 h 3135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3052" h="31354">
                      <a:moveTo>
                        <a:pt x="0" y="31354"/>
                      </a:moveTo>
                      <a:lnTo>
                        <a:pt x="13053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893" name="Forma livre: Forma 1892">
                  <a:extLst>
                    <a:ext uri="{FF2B5EF4-FFF2-40B4-BE49-F238E27FC236}">
                      <a16:creationId xmlns:a16="http://schemas.microsoft.com/office/drawing/2014/main" id="{BA25EDBF-55E2-09F1-7649-0A8A3E21B113}"/>
                    </a:ext>
                  </a:extLst>
                </p:cNvPr>
                <p:cNvSpPr/>
                <p:nvPr/>
              </p:nvSpPr>
              <p:spPr>
                <a:xfrm>
                  <a:off x="6203154" y="4415901"/>
                  <a:ext cx="52245" cy="52010"/>
                </a:xfrm>
                <a:custGeom>
                  <a:avLst/>
                  <a:gdLst>
                    <a:gd name="connsiteX0" fmla="*/ 52246 w 52245"/>
                    <a:gd name="connsiteY0" fmla="*/ 0 h 52010"/>
                    <a:gd name="connsiteX1" fmla="*/ 0 w 52245"/>
                    <a:gd name="connsiteY1" fmla="*/ 52010 h 5201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52245" h="52010">
                      <a:moveTo>
                        <a:pt x="52246" y="0"/>
                      </a:moveTo>
                      <a:lnTo>
                        <a:pt x="0" y="5201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1894" name="Gráfico 17">
                <a:extLst>
                  <a:ext uri="{FF2B5EF4-FFF2-40B4-BE49-F238E27FC236}">
                    <a16:creationId xmlns:a16="http://schemas.microsoft.com/office/drawing/2014/main" id="{B22ED707-7BE4-9943-59E1-91F696C96B54}"/>
                  </a:ext>
                </a:extLst>
              </p:cNvPr>
              <p:cNvGrpSpPr/>
              <p:nvPr/>
            </p:nvGrpSpPr>
            <p:grpSpPr>
              <a:xfrm>
                <a:off x="6359961" y="4385394"/>
                <a:ext cx="83376" cy="83200"/>
                <a:chOff x="6359961" y="4385394"/>
                <a:chExt cx="83376" cy="83200"/>
              </a:xfrm>
            </p:grpSpPr>
            <p:sp>
              <p:nvSpPr>
                <p:cNvPr id="1895" name="Forma livre: Forma 1894">
                  <a:extLst>
                    <a:ext uri="{FF2B5EF4-FFF2-40B4-BE49-F238E27FC236}">
                      <a16:creationId xmlns:a16="http://schemas.microsoft.com/office/drawing/2014/main" id="{1981F600-5438-8A2A-64B2-2D851680262B}"/>
                    </a:ext>
                  </a:extLst>
                </p:cNvPr>
                <p:cNvSpPr/>
                <p:nvPr/>
              </p:nvSpPr>
              <p:spPr>
                <a:xfrm>
                  <a:off x="6412489" y="4385394"/>
                  <a:ext cx="30848" cy="12770"/>
                </a:xfrm>
                <a:custGeom>
                  <a:avLst/>
                  <a:gdLst>
                    <a:gd name="connsiteX0" fmla="*/ 30848 w 30848"/>
                    <a:gd name="connsiteY0" fmla="*/ 12770 h 12770"/>
                    <a:gd name="connsiteX1" fmla="*/ 0 w 30848"/>
                    <a:gd name="connsiteY1" fmla="*/ 0 h 1277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30848" h="12770">
                      <a:moveTo>
                        <a:pt x="30848" y="12770"/>
                      </a:moveTo>
                      <a:lnTo>
                        <a:pt x="0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896" name="Forma livre: Forma 1895">
                  <a:extLst>
                    <a:ext uri="{FF2B5EF4-FFF2-40B4-BE49-F238E27FC236}">
                      <a16:creationId xmlns:a16="http://schemas.microsoft.com/office/drawing/2014/main" id="{1F1EEC5A-AEF7-6E40-E8B6-933E08FFC3B7}"/>
                    </a:ext>
                  </a:extLst>
                </p:cNvPr>
                <p:cNvSpPr/>
                <p:nvPr/>
              </p:nvSpPr>
              <p:spPr>
                <a:xfrm>
                  <a:off x="6359961" y="4437240"/>
                  <a:ext cx="13052" cy="31354"/>
                </a:xfrm>
                <a:custGeom>
                  <a:avLst/>
                  <a:gdLst>
                    <a:gd name="connsiteX0" fmla="*/ 13053 w 13052"/>
                    <a:gd name="connsiteY0" fmla="*/ 31354 h 31354"/>
                    <a:gd name="connsiteX1" fmla="*/ 0 w 13052"/>
                    <a:gd name="connsiteY1" fmla="*/ 0 h 3135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3052" h="31354">
                      <a:moveTo>
                        <a:pt x="13053" y="31354"/>
                      </a:moveTo>
                      <a:lnTo>
                        <a:pt x="0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897" name="Forma livre: Forma 1896">
                  <a:extLst>
                    <a:ext uri="{FF2B5EF4-FFF2-40B4-BE49-F238E27FC236}">
                      <a16:creationId xmlns:a16="http://schemas.microsoft.com/office/drawing/2014/main" id="{3F742087-1E99-C831-552E-BA4CC66F590B}"/>
                    </a:ext>
                  </a:extLst>
                </p:cNvPr>
                <p:cNvSpPr/>
                <p:nvPr/>
              </p:nvSpPr>
              <p:spPr>
                <a:xfrm>
                  <a:off x="6390857" y="4415901"/>
                  <a:ext cx="52233" cy="52010"/>
                </a:xfrm>
                <a:custGeom>
                  <a:avLst/>
                  <a:gdLst>
                    <a:gd name="connsiteX0" fmla="*/ 0 w 52233"/>
                    <a:gd name="connsiteY0" fmla="*/ 0 h 52010"/>
                    <a:gd name="connsiteX1" fmla="*/ 52234 w 52233"/>
                    <a:gd name="connsiteY1" fmla="*/ 52010 h 5201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52233" h="52010">
                      <a:moveTo>
                        <a:pt x="0" y="0"/>
                      </a:moveTo>
                      <a:lnTo>
                        <a:pt x="52234" y="5201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sp>
          <p:nvSpPr>
            <p:cNvPr id="1898" name="Forma livre: Forma 1897">
              <a:extLst>
                <a:ext uri="{FF2B5EF4-FFF2-40B4-BE49-F238E27FC236}">
                  <a16:creationId xmlns:a16="http://schemas.microsoft.com/office/drawing/2014/main" id="{405A739C-2EA7-DF17-2B3A-EBC2ACEB0558}"/>
                </a:ext>
              </a:extLst>
            </p:cNvPr>
            <p:cNvSpPr/>
            <p:nvPr/>
          </p:nvSpPr>
          <p:spPr>
            <a:xfrm>
              <a:off x="6253935" y="4279516"/>
              <a:ext cx="138385" cy="138375"/>
            </a:xfrm>
            <a:custGeom>
              <a:avLst/>
              <a:gdLst>
                <a:gd name="connsiteX0" fmla="*/ 42706 w 138385"/>
                <a:gd name="connsiteY0" fmla="*/ 5271 h 138375"/>
                <a:gd name="connsiteX1" fmla="*/ 5266 w 138385"/>
                <a:gd name="connsiteY1" fmla="*/ 95674 h 138375"/>
                <a:gd name="connsiteX2" fmla="*/ 95669 w 138385"/>
                <a:gd name="connsiteY2" fmla="*/ 133102 h 138375"/>
                <a:gd name="connsiteX3" fmla="*/ 133121 w 138385"/>
                <a:gd name="connsiteY3" fmla="*/ 42711 h 138375"/>
                <a:gd name="connsiteX4" fmla="*/ 42718 w 138385"/>
                <a:gd name="connsiteY4" fmla="*/ 5271 h 1383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8385" h="138375">
                  <a:moveTo>
                    <a:pt x="42706" y="5271"/>
                  </a:moveTo>
                  <a:cubicBezTo>
                    <a:pt x="7456" y="19866"/>
                    <a:pt x="-9328" y="60424"/>
                    <a:pt x="5266" y="95674"/>
                  </a:cubicBezTo>
                  <a:cubicBezTo>
                    <a:pt x="19873" y="130925"/>
                    <a:pt x="60419" y="147708"/>
                    <a:pt x="95669" y="133102"/>
                  </a:cubicBezTo>
                  <a:cubicBezTo>
                    <a:pt x="130920" y="118508"/>
                    <a:pt x="147715" y="77961"/>
                    <a:pt x="133121" y="42711"/>
                  </a:cubicBezTo>
                  <a:cubicBezTo>
                    <a:pt x="118514" y="7460"/>
                    <a:pt x="77968" y="-9335"/>
                    <a:pt x="42718" y="5271"/>
                  </a:cubicBez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99" name="Forma livre: Forma 1898">
              <a:extLst>
                <a:ext uri="{FF2B5EF4-FFF2-40B4-BE49-F238E27FC236}">
                  <a16:creationId xmlns:a16="http://schemas.microsoft.com/office/drawing/2014/main" id="{E9BF00C7-6609-C009-08AB-22586ED7FEA8}"/>
                </a:ext>
              </a:extLst>
            </p:cNvPr>
            <p:cNvSpPr/>
            <p:nvPr/>
          </p:nvSpPr>
          <p:spPr>
            <a:xfrm>
              <a:off x="6323122" y="4179154"/>
              <a:ext cx="1176" cy="73548"/>
            </a:xfrm>
            <a:custGeom>
              <a:avLst/>
              <a:gdLst>
                <a:gd name="connsiteX0" fmla="*/ 0 w 1176"/>
                <a:gd name="connsiteY0" fmla="*/ 73549 h 73548"/>
                <a:gd name="connsiteX1" fmla="*/ 0 w 1176"/>
                <a:gd name="connsiteY1" fmla="*/ 0 h 735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6" h="73548">
                  <a:moveTo>
                    <a:pt x="0" y="73549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00" name="Forma livre: Forma 1899">
              <a:extLst>
                <a:ext uri="{FF2B5EF4-FFF2-40B4-BE49-F238E27FC236}">
                  <a16:creationId xmlns:a16="http://schemas.microsoft.com/office/drawing/2014/main" id="{45033ECB-B84E-62DB-7960-C338B42188F5}"/>
                </a:ext>
              </a:extLst>
            </p:cNvPr>
            <p:cNvSpPr/>
            <p:nvPr/>
          </p:nvSpPr>
          <p:spPr>
            <a:xfrm>
              <a:off x="6323122" y="4444714"/>
              <a:ext cx="1176" cy="73525"/>
            </a:xfrm>
            <a:custGeom>
              <a:avLst/>
              <a:gdLst>
                <a:gd name="connsiteX0" fmla="*/ 0 w 1176"/>
                <a:gd name="connsiteY0" fmla="*/ 73525 h 73525"/>
                <a:gd name="connsiteX1" fmla="*/ 0 w 1176"/>
                <a:gd name="connsiteY1" fmla="*/ 0 h 73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6" h="73525">
                  <a:moveTo>
                    <a:pt x="0" y="73525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01" name="Forma livre: Forma 1900">
              <a:extLst>
                <a:ext uri="{FF2B5EF4-FFF2-40B4-BE49-F238E27FC236}">
                  <a16:creationId xmlns:a16="http://schemas.microsoft.com/office/drawing/2014/main" id="{8B2D1FF5-0B1D-7570-C941-DDD39F1DC32B}"/>
                </a:ext>
              </a:extLst>
            </p:cNvPr>
            <p:cNvSpPr/>
            <p:nvPr/>
          </p:nvSpPr>
          <p:spPr>
            <a:xfrm>
              <a:off x="6419128" y="4348696"/>
              <a:ext cx="73548" cy="1176"/>
            </a:xfrm>
            <a:custGeom>
              <a:avLst/>
              <a:gdLst>
                <a:gd name="connsiteX0" fmla="*/ 0 w 73548"/>
                <a:gd name="connsiteY0" fmla="*/ 0 h 1176"/>
                <a:gd name="connsiteX1" fmla="*/ 73549 w 73548"/>
                <a:gd name="connsiteY1" fmla="*/ 0 h 11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3548" h="1176">
                  <a:moveTo>
                    <a:pt x="0" y="0"/>
                  </a:moveTo>
                  <a:lnTo>
                    <a:pt x="73549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02" name="Forma livre: Forma 1901">
              <a:extLst>
                <a:ext uri="{FF2B5EF4-FFF2-40B4-BE49-F238E27FC236}">
                  <a16:creationId xmlns:a16="http://schemas.microsoft.com/office/drawing/2014/main" id="{3F7536E8-0D77-A22F-25CE-6AA911284BD7}"/>
                </a:ext>
              </a:extLst>
            </p:cNvPr>
            <p:cNvSpPr/>
            <p:nvPr/>
          </p:nvSpPr>
          <p:spPr>
            <a:xfrm>
              <a:off x="6153591" y="4348696"/>
              <a:ext cx="73525" cy="11"/>
            </a:xfrm>
            <a:custGeom>
              <a:avLst/>
              <a:gdLst>
                <a:gd name="connsiteX0" fmla="*/ 0 w 73525"/>
                <a:gd name="connsiteY0" fmla="*/ 12 h 11"/>
                <a:gd name="connsiteX1" fmla="*/ 73525 w 73525"/>
                <a:gd name="connsiteY1" fmla="*/ 0 h 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3525" h="11">
                  <a:moveTo>
                    <a:pt x="0" y="12"/>
                  </a:moveTo>
                  <a:lnTo>
                    <a:pt x="73525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903" name="Gráfico 17">
            <a:extLst>
              <a:ext uri="{FF2B5EF4-FFF2-40B4-BE49-F238E27FC236}">
                <a16:creationId xmlns:a16="http://schemas.microsoft.com/office/drawing/2014/main" id="{5C7B9CA0-2C0E-3F08-17E8-9A2E87D626FB}"/>
              </a:ext>
            </a:extLst>
          </p:cNvPr>
          <p:cNvGrpSpPr/>
          <p:nvPr/>
        </p:nvGrpSpPr>
        <p:grpSpPr>
          <a:xfrm>
            <a:off x="7404369" y="4203858"/>
            <a:ext cx="289746" cy="289675"/>
            <a:chOff x="7404369" y="4203858"/>
            <a:chExt cx="289746" cy="289675"/>
          </a:xfrm>
          <a:noFill/>
        </p:grpSpPr>
        <p:sp>
          <p:nvSpPr>
            <p:cNvPr id="1904" name="Forma livre: Forma 1903">
              <a:extLst>
                <a:ext uri="{FF2B5EF4-FFF2-40B4-BE49-F238E27FC236}">
                  <a16:creationId xmlns:a16="http://schemas.microsoft.com/office/drawing/2014/main" id="{F265B965-623E-079E-5ED0-01DB314CC368}"/>
                </a:ext>
              </a:extLst>
            </p:cNvPr>
            <p:cNvSpPr/>
            <p:nvPr/>
          </p:nvSpPr>
          <p:spPr>
            <a:xfrm>
              <a:off x="7404369" y="4203858"/>
              <a:ext cx="289746" cy="289675"/>
            </a:xfrm>
            <a:custGeom>
              <a:avLst/>
              <a:gdLst>
                <a:gd name="connsiteX0" fmla="*/ 27259 w 289746"/>
                <a:gd name="connsiteY0" fmla="*/ 60237 h 289675"/>
                <a:gd name="connsiteX1" fmla="*/ 144850 w 289746"/>
                <a:gd name="connsiteY1" fmla="*/ 0 h 289675"/>
                <a:gd name="connsiteX2" fmla="*/ 289747 w 289746"/>
                <a:gd name="connsiteY2" fmla="*/ 144850 h 289675"/>
                <a:gd name="connsiteX3" fmla="*/ 144850 w 289746"/>
                <a:gd name="connsiteY3" fmla="*/ 289676 h 289675"/>
                <a:gd name="connsiteX4" fmla="*/ 0 w 289746"/>
                <a:gd name="connsiteY4" fmla="*/ 144850 h 289675"/>
                <a:gd name="connsiteX5" fmla="*/ 12276 w 289746"/>
                <a:gd name="connsiteY5" fmla="*/ 86425 h 2896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89746" h="289675">
                  <a:moveTo>
                    <a:pt x="27259" y="60237"/>
                  </a:moveTo>
                  <a:cubicBezTo>
                    <a:pt x="53564" y="23740"/>
                    <a:pt x="96429" y="0"/>
                    <a:pt x="144850" y="0"/>
                  </a:cubicBezTo>
                  <a:cubicBezTo>
                    <a:pt x="224907" y="0"/>
                    <a:pt x="289747" y="64839"/>
                    <a:pt x="289747" y="144850"/>
                  </a:cubicBezTo>
                  <a:cubicBezTo>
                    <a:pt x="289747" y="224860"/>
                    <a:pt x="224896" y="289676"/>
                    <a:pt x="144850" y="289676"/>
                  </a:cubicBezTo>
                  <a:cubicBezTo>
                    <a:pt x="64804" y="289676"/>
                    <a:pt x="0" y="224837"/>
                    <a:pt x="0" y="144850"/>
                  </a:cubicBezTo>
                  <a:cubicBezTo>
                    <a:pt x="0" y="124064"/>
                    <a:pt x="4378" y="104280"/>
                    <a:pt x="12276" y="86425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05" name="Forma livre: Forma 1904">
              <a:extLst>
                <a:ext uri="{FF2B5EF4-FFF2-40B4-BE49-F238E27FC236}">
                  <a16:creationId xmlns:a16="http://schemas.microsoft.com/office/drawing/2014/main" id="{B7CE9E01-1091-BC5D-F2B9-C4412F334E9E}"/>
                </a:ext>
              </a:extLst>
            </p:cNvPr>
            <p:cNvSpPr/>
            <p:nvPr/>
          </p:nvSpPr>
          <p:spPr>
            <a:xfrm>
              <a:off x="7513957" y="4313058"/>
              <a:ext cx="70606" cy="70594"/>
            </a:xfrm>
            <a:custGeom>
              <a:avLst/>
              <a:gdLst>
                <a:gd name="connsiteX0" fmla="*/ 70607 w 70606"/>
                <a:gd name="connsiteY0" fmla="*/ 35297 h 70594"/>
                <a:gd name="connsiteX1" fmla="*/ 35297 w 70606"/>
                <a:gd name="connsiteY1" fmla="*/ 70595 h 70594"/>
                <a:gd name="connsiteX2" fmla="*/ 0 w 70606"/>
                <a:gd name="connsiteY2" fmla="*/ 35297 h 70594"/>
                <a:gd name="connsiteX3" fmla="*/ 35297 w 70606"/>
                <a:gd name="connsiteY3" fmla="*/ 0 h 70594"/>
                <a:gd name="connsiteX4" fmla="*/ 70607 w 70606"/>
                <a:gd name="connsiteY4" fmla="*/ 35297 h 705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0606" h="70594">
                  <a:moveTo>
                    <a:pt x="70607" y="35297"/>
                  </a:moveTo>
                  <a:cubicBezTo>
                    <a:pt x="70607" y="54788"/>
                    <a:pt x="54800" y="70595"/>
                    <a:pt x="35297" y="70595"/>
                  </a:cubicBezTo>
                  <a:cubicBezTo>
                    <a:pt x="15795" y="70595"/>
                    <a:pt x="0" y="54788"/>
                    <a:pt x="0" y="35297"/>
                  </a:cubicBezTo>
                  <a:cubicBezTo>
                    <a:pt x="0" y="15807"/>
                    <a:pt x="15807" y="0"/>
                    <a:pt x="35297" y="0"/>
                  </a:cubicBezTo>
                  <a:cubicBezTo>
                    <a:pt x="54788" y="0"/>
                    <a:pt x="70607" y="15795"/>
                    <a:pt x="70607" y="35297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906" name="Gráfico 17">
              <a:extLst>
                <a:ext uri="{FF2B5EF4-FFF2-40B4-BE49-F238E27FC236}">
                  <a16:creationId xmlns:a16="http://schemas.microsoft.com/office/drawing/2014/main" id="{749D7CF5-5B98-6E18-86C9-402721483A48}"/>
                </a:ext>
              </a:extLst>
            </p:cNvPr>
            <p:cNvGrpSpPr/>
            <p:nvPr/>
          </p:nvGrpSpPr>
          <p:grpSpPr>
            <a:xfrm>
              <a:off x="7440977" y="4239956"/>
              <a:ext cx="216542" cy="201650"/>
              <a:chOff x="7440977" y="4239956"/>
              <a:chExt cx="216542" cy="201650"/>
            </a:xfrm>
            <a:noFill/>
          </p:grpSpPr>
          <p:sp>
            <p:nvSpPr>
              <p:cNvPr id="1907" name="Forma livre: Forma 1906">
                <a:extLst>
                  <a:ext uri="{FF2B5EF4-FFF2-40B4-BE49-F238E27FC236}">
                    <a16:creationId xmlns:a16="http://schemas.microsoft.com/office/drawing/2014/main" id="{320D6CA3-484F-898C-D222-8EF323C76295}"/>
                  </a:ext>
                </a:extLst>
              </p:cNvPr>
              <p:cNvSpPr/>
              <p:nvPr/>
            </p:nvSpPr>
            <p:spPr>
              <a:xfrm>
                <a:off x="7494302" y="4239956"/>
                <a:ext cx="109422" cy="62132"/>
              </a:xfrm>
              <a:custGeom>
                <a:avLst/>
                <a:gdLst>
                  <a:gd name="connsiteX0" fmla="*/ 27729 w 109422"/>
                  <a:gd name="connsiteY0" fmla="*/ 62132 h 62132"/>
                  <a:gd name="connsiteX1" fmla="*/ 0 w 109422"/>
                  <a:gd name="connsiteY1" fmla="*/ 14900 h 62132"/>
                  <a:gd name="connsiteX2" fmla="*/ 54870 w 109422"/>
                  <a:gd name="connsiteY2" fmla="*/ 0 h 62132"/>
                  <a:gd name="connsiteX3" fmla="*/ 109423 w 109422"/>
                  <a:gd name="connsiteY3" fmla="*/ 14689 h 62132"/>
                  <a:gd name="connsiteX4" fmla="*/ 81894 w 109422"/>
                  <a:gd name="connsiteY4" fmla="*/ 61932 h 621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09422" h="62132">
                    <a:moveTo>
                      <a:pt x="27729" y="62132"/>
                    </a:moveTo>
                    <a:lnTo>
                      <a:pt x="0" y="14900"/>
                    </a:lnTo>
                    <a:cubicBezTo>
                      <a:pt x="16101" y="5438"/>
                      <a:pt x="34850" y="0"/>
                      <a:pt x="54870" y="0"/>
                    </a:cubicBezTo>
                    <a:cubicBezTo>
                      <a:pt x="74891" y="0"/>
                      <a:pt x="93404" y="5355"/>
                      <a:pt x="109423" y="14689"/>
                    </a:cubicBezTo>
                    <a:lnTo>
                      <a:pt x="81894" y="61932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908" name="Forma livre: Forma 1907">
                <a:extLst>
                  <a:ext uri="{FF2B5EF4-FFF2-40B4-BE49-F238E27FC236}">
                    <a16:creationId xmlns:a16="http://schemas.microsoft.com/office/drawing/2014/main" id="{13CC3FA3-559B-8EE9-1DC9-8A0A94046D39}"/>
                  </a:ext>
                </a:extLst>
              </p:cNvPr>
              <p:cNvSpPr/>
              <p:nvPr/>
            </p:nvSpPr>
            <p:spPr>
              <a:xfrm>
                <a:off x="7576760" y="4346531"/>
                <a:ext cx="80759" cy="95075"/>
              </a:xfrm>
              <a:custGeom>
                <a:avLst/>
                <a:gdLst>
                  <a:gd name="connsiteX0" fmla="*/ 26423 w 80759"/>
                  <a:gd name="connsiteY0" fmla="*/ 0 h 95075"/>
                  <a:gd name="connsiteX1" fmla="*/ 80728 w 80759"/>
                  <a:gd name="connsiteY1" fmla="*/ 0 h 95075"/>
                  <a:gd name="connsiteX2" fmla="*/ 67052 w 80759"/>
                  <a:gd name="connsiteY2" fmla="*/ 54564 h 95075"/>
                  <a:gd name="connsiteX3" fmla="*/ 27682 w 80759"/>
                  <a:gd name="connsiteY3" fmla="*/ 95076 h 95075"/>
                  <a:gd name="connsiteX4" fmla="*/ 0 w 80759"/>
                  <a:gd name="connsiteY4" fmla="*/ 48326 h 950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0759" h="95075">
                    <a:moveTo>
                      <a:pt x="26423" y="0"/>
                    </a:moveTo>
                    <a:lnTo>
                      <a:pt x="80728" y="0"/>
                    </a:lnTo>
                    <a:cubicBezTo>
                      <a:pt x="81176" y="18667"/>
                      <a:pt x="76786" y="37063"/>
                      <a:pt x="67052" y="54564"/>
                    </a:cubicBezTo>
                    <a:cubicBezTo>
                      <a:pt x="57366" y="71948"/>
                      <a:pt x="43630" y="85625"/>
                      <a:pt x="27682" y="95076"/>
                    </a:cubicBezTo>
                    <a:lnTo>
                      <a:pt x="0" y="48326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909" name="Forma livre: Forma 1908">
                <a:extLst>
                  <a:ext uri="{FF2B5EF4-FFF2-40B4-BE49-F238E27FC236}">
                    <a16:creationId xmlns:a16="http://schemas.microsoft.com/office/drawing/2014/main" id="{BBDE982F-2EB4-1FC8-9F83-BB2EF894A7F2}"/>
                  </a:ext>
                </a:extLst>
              </p:cNvPr>
              <p:cNvSpPr/>
              <p:nvPr/>
            </p:nvSpPr>
            <p:spPr>
              <a:xfrm>
                <a:off x="7440977" y="4346531"/>
                <a:ext cx="80947" cy="95075"/>
              </a:xfrm>
              <a:custGeom>
                <a:avLst/>
                <a:gdLst>
                  <a:gd name="connsiteX0" fmla="*/ 54442 w 80947"/>
                  <a:gd name="connsiteY0" fmla="*/ 0 h 95075"/>
                  <a:gd name="connsiteX1" fmla="*/ 31 w 80947"/>
                  <a:gd name="connsiteY1" fmla="*/ 0 h 95075"/>
                  <a:gd name="connsiteX2" fmla="*/ 13707 w 80947"/>
                  <a:gd name="connsiteY2" fmla="*/ 54564 h 95075"/>
                  <a:gd name="connsiteX3" fmla="*/ 53077 w 80947"/>
                  <a:gd name="connsiteY3" fmla="*/ 95076 h 95075"/>
                  <a:gd name="connsiteX4" fmla="*/ 80948 w 80947"/>
                  <a:gd name="connsiteY4" fmla="*/ 48138 h 950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0947" h="95075">
                    <a:moveTo>
                      <a:pt x="54442" y="0"/>
                    </a:moveTo>
                    <a:lnTo>
                      <a:pt x="31" y="0"/>
                    </a:lnTo>
                    <a:cubicBezTo>
                      <a:pt x="-416" y="18667"/>
                      <a:pt x="3974" y="37063"/>
                      <a:pt x="13707" y="54564"/>
                    </a:cubicBezTo>
                    <a:cubicBezTo>
                      <a:pt x="23382" y="71948"/>
                      <a:pt x="37129" y="85625"/>
                      <a:pt x="53077" y="95076"/>
                    </a:cubicBezTo>
                    <a:lnTo>
                      <a:pt x="80948" y="48138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910" name="Gráfico 17">
            <a:extLst>
              <a:ext uri="{FF2B5EF4-FFF2-40B4-BE49-F238E27FC236}">
                <a16:creationId xmlns:a16="http://schemas.microsoft.com/office/drawing/2014/main" id="{456890F4-017F-51E8-A070-AA7FD8F82B2E}"/>
              </a:ext>
            </a:extLst>
          </p:cNvPr>
          <p:cNvGrpSpPr/>
          <p:nvPr/>
        </p:nvGrpSpPr>
        <p:grpSpPr>
          <a:xfrm>
            <a:off x="6791933" y="5238745"/>
            <a:ext cx="288522" cy="314615"/>
            <a:chOff x="6791933" y="5238745"/>
            <a:chExt cx="288522" cy="314615"/>
          </a:xfrm>
        </p:grpSpPr>
        <p:grpSp>
          <p:nvGrpSpPr>
            <p:cNvPr id="1911" name="Gráfico 17">
              <a:extLst>
                <a:ext uri="{FF2B5EF4-FFF2-40B4-BE49-F238E27FC236}">
                  <a16:creationId xmlns:a16="http://schemas.microsoft.com/office/drawing/2014/main" id="{0A3230F4-B1FF-4A26-ACA1-61E1181C041D}"/>
                </a:ext>
              </a:extLst>
            </p:cNvPr>
            <p:cNvGrpSpPr/>
            <p:nvPr/>
          </p:nvGrpSpPr>
          <p:grpSpPr>
            <a:xfrm>
              <a:off x="6914067" y="5420540"/>
              <a:ext cx="44254" cy="132491"/>
              <a:chOff x="6914067" y="5420540"/>
              <a:chExt cx="44254" cy="132491"/>
            </a:xfrm>
          </p:grpSpPr>
          <p:sp>
            <p:nvSpPr>
              <p:cNvPr id="1912" name="Forma livre: Forma 1911">
                <a:extLst>
                  <a:ext uri="{FF2B5EF4-FFF2-40B4-BE49-F238E27FC236}">
                    <a16:creationId xmlns:a16="http://schemas.microsoft.com/office/drawing/2014/main" id="{41BE1A80-5ADD-9048-B7CA-899553B003EE}"/>
                  </a:ext>
                </a:extLst>
              </p:cNvPr>
              <p:cNvSpPr/>
              <p:nvPr/>
            </p:nvSpPr>
            <p:spPr>
              <a:xfrm>
                <a:off x="6914067" y="5442090"/>
                <a:ext cx="6037" cy="110941"/>
              </a:xfrm>
              <a:custGeom>
                <a:avLst/>
                <a:gdLst>
                  <a:gd name="connsiteX0" fmla="*/ 6038 w 6037"/>
                  <a:gd name="connsiteY0" fmla="*/ 0 h 110941"/>
                  <a:gd name="connsiteX1" fmla="*/ 0 w 6037"/>
                  <a:gd name="connsiteY1" fmla="*/ 110941 h 1109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037" h="110941">
                    <a:moveTo>
                      <a:pt x="6038" y="0"/>
                    </a:moveTo>
                    <a:lnTo>
                      <a:pt x="0" y="110941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913" name="Forma livre: Forma 1912">
                <a:extLst>
                  <a:ext uri="{FF2B5EF4-FFF2-40B4-BE49-F238E27FC236}">
                    <a16:creationId xmlns:a16="http://schemas.microsoft.com/office/drawing/2014/main" id="{38E3A649-AA20-1BBA-8EE0-4DB5B1334113}"/>
                  </a:ext>
                </a:extLst>
              </p:cNvPr>
              <p:cNvSpPr/>
              <p:nvPr/>
            </p:nvSpPr>
            <p:spPr>
              <a:xfrm>
                <a:off x="6951118" y="5420540"/>
                <a:ext cx="7203" cy="132491"/>
              </a:xfrm>
              <a:custGeom>
                <a:avLst/>
                <a:gdLst>
                  <a:gd name="connsiteX0" fmla="*/ 0 w 7203"/>
                  <a:gd name="connsiteY0" fmla="*/ 0 h 132491"/>
                  <a:gd name="connsiteX1" fmla="*/ 7203 w 7203"/>
                  <a:gd name="connsiteY1" fmla="*/ 132492 h 1324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7203" h="132491">
                    <a:moveTo>
                      <a:pt x="0" y="0"/>
                    </a:moveTo>
                    <a:lnTo>
                      <a:pt x="7203" y="132492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914" name="Forma livre: Forma 1913">
              <a:extLst>
                <a:ext uri="{FF2B5EF4-FFF2-40B4-BE49-F238E27FC236}">
                  <a16:creationId xmlns:a16="http://schemas.microsoft.com/office/drawing/2014/main" id="{4647ABA4-0963-39A7-38C3-473599D5B472}"/>
                </a:ext>
              </a:extLst>
            </p:cNvPr>
            <p:cNvSpPr/>
            <p:nvPr/>
          </p:nvSpPr>
          <p:spPr>
            <a:xfrm>
              <a:off x="6886444" y="5553361"/>
              <a:ext cx="99501" cy="1176"/>
            </a:xfrm>
            <a:custGeom>
              <a:avLst/>
              <a:gdLst>
                <a:gd name="connsiteX0" fmla="*/ 0 w 99501"/>
                <a:gd name="connsiteY0" fmla="*/ 0 h 1176"/>
                <a:gd name="connsiteX1" fmla="*/ 99501 w 99501"/>
                <a:gd name="connsiteY1" fmla="*/ 0 h 11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9501" h="1176">
                  <a:moveTo>
                    <a:pt x="0" y="0"/>
                  </a:moveTo>
                  <a:lnTo>
                    <a:pt x="99501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15" name="Forma livre: Forma 1914">
              <a:extLst>
                <a:ext uri="{FF2B5EF4-FFF2-40B4-BE49-F238E27FC236}">
                  <a16:creationId xmlns:a16="http://schemas.microsoft.com/office/drawing/2014/main" id="{37A4A807-0AA7-03B2-5776-025257934F6E}"/>
                </a:ext>
              </a:extLst>
            </p:cNvPr>
            <p:cNvSpPr/>
            <p:nvPr/>
          </p:nvSpPr>
          <p:spPr>
            <a:xfrm>
              <a:off x="6921105" y="5238745"/>
              <a:ext cx="31189" cy="120886"/>
            </a:xfrm>
            <a:custGeom>
              <a:avLst/>
              <a:gdLst>
                <a:gd name="connsiteX0" fmla="*/ 0 w 31189"/>
                <a:gd name="connsiteY0" fmla="*/ 97394 h 120886"/>
                <a:gd name="connsiteX1" fmla="*/ 4178 w 31189"/>
                <a:gd name="connsiteY1" fmla="*/ 0 h 120886"/>
                <a:gd name="connsiteX2" fmla="*/ 26011 w 31189"/>
                <a:gd name="connsiteY2" fmla="*/ 0 h 120886"/>
                <a:gd name="connsiteX3" fmla="*/ 31190 w 31189"/>
                <a:gd name="connsiteY3" fmla="*/ 120887 h 1208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1189" h="120886">
                  <a:moveTo>
                    <a:pt x="0" y="97394"/>
                  </a:moveTo>
                  <a:lnTo>
                    <a:pt x="4178" y="0"/>
                  </a:lnTo>
                  <a:lnTo>
                    <a:pt x="26011" y="0"/>
                  </a:lnTo>
                  <a:lnTo>
                    <a:pt x="31190" y="120887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16" name="Forma livre: Forma 1915">
              <a:extLst>
                <a:ext uri="{FF2B5EF4-FFF2-40B4-BE49-F238E27FC236}">
                  <a16:creationId xmlns:a16="http://schemas.microsoft.com/office/drawing/2014/main" id="{B90E0DDC-B7F0-FB9B-4097-59C8E497E115}"/>
                </a:ext>
              </a:extLst>
            </p:cNvPr>
            <p:cNvSpPr/>
            <p:nvPr/>
          </p:nvSpPr>
          <p:spPr>
            <a:xfrm>
              <a:off x="6902297" y="5355453"/>
              <a:ext cx="67793" cy="67793"/>
            </a:xfrm>
            <a:custGeom>
              <a:avLst/>
              <a:gdLst>
                <a:gd name="connsiteX0" fmla="*/ 67793 w 67793"/>
                <a:gd name="connsiteY0" fmla="*/ 33908 h 67793"/>
                <a:gd name="connsiteX1" fmla="*/ 33897 w 67793"/>
                <a:gd name="connsiteY1" fmla="*/ 67793 h 67793"/>
                <a:gd name="connsiteX2" fmla="*/ 0 w 67793"/>
                <a:gd name="connsiteY2" fmla="*/ 33908 h 67793"/>
                <a:gd name="connsiteX3" fmla="*/ 33897 w 67793"/>
                <a:gd name="connsiteY3" fmla="*/ 0 h 67793"/>
                <a:gd name="connsiteX4" fmla="*/ 67793 w 67793"/>
                <a:gd name="connsiteY4" fmla="*/ 33908 h 677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7793" h="67793">
                  <a:moveTo>
                    <a:pt x="67793" y="33908"/>
                  </a:moveTo>
                  <a:cubicBezTo>
                    <a:pt x="67793" y="52611"/>
                    <a:pt x="52622" y="67793"/>
                    <a:pt x="33897" y="67793"/>
                  </a:cubicBezTo>
                  <a:cubicBezTo>
                    <a:pt x="15171" y="67793"/>
                    <a:pt x="0" y="52622"/>
                    <a:pt x="0" y="33908"/>
                  </a:cubicBezTo>
                  <a:cubicBezTo>
                    <a:pt x="0" y="15195"/>
                    <a:pt x="15171" y="0"/>
                    <a:pt x="33897" y="0"/>
                  </a:cubicBezTo>
                  <a:cubicBezTo>
                    <a:pt x="52622" y="0"/>
                    <a:pt x="67793" y="15183"/>
                    <a:pt x="67793" y="33908"/>
                  </a:cubicBez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17" name="Forma livre: Forma 1916">
              <a:extLst>
                <a:ext uri="{FF2B5EF4-FFF2-40B4-BE49-F238E27FC236}">
                  <a16:creationId xmlns:a16="http://schemas.microsoft.com/office/drawing/2014/main" id="{B2804323-6514-66C9-79BB-4D65C80D232F}"/>
                </a:ext>
              </a:extLst>
            </p:cNvPr>
            <p:cNvSpPr/>
            <p:nvPr/>
          </p:nvSpPr>
          <p:spPr>
            <a:xfrm>
              <a:off x="6932522" y="5385431"/>
              <a:ext cx="7332" cy="7344"/>
            </a:xfrm>
            <a:custGeom>
              <a:avLst/>
              <a:gdLst>
                <a:gd name="connsiteX0" fmla="*/ 7333 w 7332"/>
                <a:gd name="connsiteY0" fmla="*/ 3672 h 7344"/>
                <a:gd name="connsiteX1" fmla="*/ 3672 w 7332"/>
                <a:gd name="connsiteY1" fmla="*/ 7344 h 7344"/>
                <a:gd name="connsiteX2" fmla="*/ 0 w 7332"/>
                <a:gd name="connsiteY2" fmla="*/ 3672 h 7344"/>
                <a:gd name="connsiteX3" fmla="*/ 3672 w 7332"/>
                <a:gd name="connsiteY3" fmla="*/ 0 h 7344"/>
                <a:gd name="connsiteX4" fmla="*/ 7333 w 7332"/>
                <a:gd name="connsiteY4" fmla="*/ 3672 h 73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332" h="7344">
                  <a:moveTo>
                    <a:pt x="7333" y="3672"/>
                  </a:moveTo>
                  <a:cubicBezTo>
                    <a:pt x="7333" y="5708"/>
                    <a:pt x="5697" y="7344"/>
                    <a:pt x="3672" y="7344"/>
                  </a:cubicBezTo>
                  <a:cubicBezTo>
                    <a:pt x="1648" y="7344"/>
                    <a:pt x="0" y="5708"/>
                    <a:pt x="0" y="3672"/>
                  </a:cubicBezTo>
                  <a:cubicBezTo>
                    <a:pt x="0" y="1636"/>
                    <a:pt x="1648" y="0"/>
                    <a:pt x="3672" y="0"/>
                  </a:cubicBezTo>
                  <a:cubicBezTo>
                    <a:pt x="5697" y="0"/>
                    <a:pt x="7333" y="1636"/>
                    <a:pt x="7333" y="3672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918" name="Gráfico 17">
              <a:extLst>
                <a:ext uri="{FF2B5EF4-FFF2-40B4-BE49-F238E27FC236}">
                  <a16:creationId xmlns:a16="http://schemas.microsoft.com/office/drawing/2014/main" id="{3E114EEC-42DB-1AB4-2051-AB4FACF9B11C}"/>
                </a:ext>
              </a:extLst>
            </p:cNvPr>
            <p:cNvGrpSpPr/>
            <p:nvPr/>
          </p:nvGrpSpPr>
          <p:grpSpPr>
            <a:xfrm>
              <a:off x="6791933" y="5286824"/>
              <a:ext cx="288522" cy="172131"/>
              <a:chOff x="6791933" y="5286824"/>
              <a:chExt cx="288522" cy="172131"/>
            </a:xfrm>
            <a:noFill/>
          </p:grpSpPr>
          <p:grpSp>
            <p:nvGrpSpPr>
              <p:cNvPr id="1919" name="Gráfico 17">
                <a:extLst>
                  <a:ext uri="{FF2B5EF4-FFF2-40B4-BE49-F238E27FC236}">
                    <a16:creationId xmlns:a16="http://schemas.microsoft.com/office/drawing/2014/main" id="{FB24FBE5-4F09-6442-85AF-400AA2A49355}"/>
                  </a:ext>
                </a:extLst>
              </p:cNvPr>
              <p:cNvGrpSpPr/>
              <p:nvPr/>
            </p:nvGrpSpPr>
            <p:grpSpPr>
              <a:xfrm>
                <a:off x="6791933" y="5286824"/>
                <a:ext cx="117026" cy="172131"/>
                <a:chOff x="6791933" y="5286824"/>
                <a:chExt cx="117026" cy="172131"/>
              </a:xfrm>
              <a:noFill/>
            </p:grpSpPr>
            <p:sp>
              <p:nvSpPr>
                <p:cNvPr id="1920" name="Forma livre: Forma 1919">
                  <a:extLst>
                    <a:ext uri="{FF2B5EF4-FFF2-40B4-BE49-F238E27FC236}">
                      <a16:creationId xmlns:a16="http://schemas.microsoft.com/office/drawing/2014/main" id="{20CB37A0-1F7D-CE3E-571A-B1FF2C8543F2}"/>
                    </a:ext>
                  </a:extLst>
                </p:cNvPr>
                <p:cNvSpPr/>
                <p:nvPr/>
              </p:nvSpPr>
              <p:spPr>
                <a:xfrm>
                  <a:off x="6826500" y="5286824"/>
                  <a:ext cx="70582" cy="102537"/>
                </a:xfrm>
                <a:custGeom>
                  <a:avLst/>
                  <a:gdLst>
                    <a:gd name="connsiteX0" fmla="*/ 0 w 70582"/>
                    <a:gd name="connsiteY0" fmla="*/ 102538 h 102537"/>
                    <a:gd name="connsiteX1" fmla="*/ 70583 w 70582"/>
                    <a:gd name="connsiteY1" fmla="*/ 0 h 10253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70582" h="102537">
                      <a:moveTo>
                        <a:pt x="0" y="102538"/>
                      </a:moveTo>
                      <a:cubicBezTo>
                        <a:pt x="0" y="55730"/>
                        <a:pt x="29318" y="15760"/>
                        <a:pt x="70583" y="0"/>
                      </a:cubicBez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921" name="Forma livre: Forma 1920">
                  <a:extLst>
                    <a:ext uri="{FF2B5EF4-FFF2-40B4-BE49-F238E27FC236}">
                      <a16:creationId xmlns:a16="http://schemas.microsoft.com/office/drawing/2014/main" id="{2D74F893-645F-3D01-D396-AA90056A6B1E}"/>
                    </a:ext>
                  </a:extLst>
                </p:cNvPr>
                <p:cNvSpPr/>
                <p:nvPr/>
              </p:nvSpPr>
              <p:spPr>
                <a:xfrm>
                  <a:off x="6791933" y="5375579"/>
                  <a:ext cx="117026" cy="83376"/>
                </a:xfrm>
                <a:custGeom>
                  <a:avLst/>
                  <a:gdLst>
                    <a:gd name="connsiteX0" fmla="*/ 117026 w 117026"/>
                    <a:gd name="connsiteY0" fmla="*/ 34285 h 83376"/>
                    <a:gd name="connsiteX1" fmla="*/ 9945 w 117026"/>
                    <a:gd name="connsiteY1" fmla="*/ 83377 h 83376"/>
                    <a:gd name="connsiteX2" fmla="*/ 0 w 117026"/>
                    <a:gd name="connsiteY2" fmla="*/ 63945 h 83376"/>
                    <a:gd name="connsiteX3" fmla="*/ 112801 w 117026"/>
                    <a:gd name="connsiteY3" fmla="*/ 0 h 8337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17026" h="83376">
                      <a:moveTo>
                        <a:pt x="117026" y="34285"/>
                      </a:moveTo>
                      <a:lnTo>
                        <a:pt x="9945" y="83377"/>
                      </a:lnTo>
                      <a:lnTo>
                        <a:pt x="0" y="63945"/>
                      </a:lnTo>
                      <a:lnTo>
                        <a:pt x="112801" y="0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1922" name="Gráfico 17">
                <a:extLst>
                  <a:ext uri="{FF2B5EF4-FFF2-40B4-BE49-F238E27FC236}">
                    <a16:creationId xmlns:a16="http://schemas.microsoft.com/office/drawing/2014/main" id="{5C184109-27AB-811C-E346-3F0DB32B8CEB}"/>
                  </a:ext>
                </a:extLst>
              </p:cNvPr>
              <p:cNvGrpSpPr/>
              <p:nvPr/>
            </p:nvGrpSpPr>
            <p:grpSpPr>
              <a:xfrm>
                <a:off x="6963359" y="5286824"/>
                <a:ext cx="117096" cy="172131"/>
                <a:chOff x="6963359" y="5286824"/>
                <a:chExt cx="117096" cy="172131"/>
              </a:xfrm>
              <a:noFill/>
            </p:grpSpPr>
            <p:sp>
              <p:nvSpPr>
                <p:cNvPr id="1923" name="Forma livre: Forma 1922">
                  <a:extLst>
                    <a:ext uri="{FF2B5EF4-FFF2-40B4-BE49-F238E27FC236}">
                      <a16:creationId xmlns:a16="http://schemas.microsoft.com/office/drawing/2014/main" id="{9629DDDC-BB33-2AC5-F533-5862283375E5}"/>
                    </a:ext>
                  </a:extLst>
                </p:cNvPr>
                <p:cNvSpPr/>
                <p:nvPr/>
              </p:nvSpPr>
              <p:spPr>
                <a:xfrm>
                  <a:off x="6975317" y="5286824"/>
                  <a:ext cx="70571" cy="102537"/>
                </a:xfrm>
                <a:custGeom>
                  <a:avLst/>
                  <a:gdLst>
                    <a:gd name="connsiteX0" fmla="*/ 70571 w 70571"/>
                    <a:gd name="connsiteY0" fmla="*/ 102538 h 102537"/>
                    <a:gd name="connsiteX1" fmla="*/ 0 w 70571"/>
                    <a:gd name="connsiteY1" fmla="*/ 0 h 10253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70571" h="102537">
                      <a:moveTo>
                        <a:pt x="70571" y="102538"/>
                      </a:moveTo>
                      <a:cubicBezTo>
                        <a:pt x="70571" y="55730"/>
                        <a:pt x="41265" y="15760"/>
                        <a:pt x="0" y="0"/>
                      </a:cubicBez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924" name="Forma livre: Forma 1923">
                  <a:extLst>
                    <a:ext uri="{FF2B5EF4-FFF2-40B4-BE49-F238E27FC236}">
                      <a16:creationId xmlns:a16="http://schemas.microsoft.com/office/drawing/2014/main" id="{00CFBDEC-9D0D-6F14-822F-948235D6C843}"/>
                    </a:ext>
                  </a:extLst>
                </p:cNvPr>
                <p:cNvSpPr/>
                <p:nvPr/>
              </p:nvSpPr>
              <p:spPr>
                <a:xfrm>
                  <a:off x="6963359" y="5375579"/>
                  <a:ext cx="117096" cy="83376"/>
                </a:xfrm>
                <a:custGeom>
                  <a:avLst/>
                  <a:gdLst>
                    <a:gd name="connsiteX0" fmla="*/ 0 w 117096"/>
                    <a:gd name="connsiteY0" fmla="*/ 34250 h 83376"/>
                    <a:gd name="connsiteX1" fmla="*/ 107151 w 117096"/>
                    <a:gd name="connsiteY1" fmla="*/ 83377 h 83376"/>
                    <a:gd name="connsiteX2" fmla="*/ 117097 w 117096"/>
                    <a:gd name="connsiteY2" fmla="*/ 63945 h 83376"/>
                    <a:gd name="connsiteX3" fmla="*/ 4296 w 117096"/>
                    <a:gd name="connsiteY3" fmla="*/ 0 h 8337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17096" h="83376">
                      <a:moveTo>
                        <a:pt x="0" y="34250"/>
                      </a:moveTo>
                      <a:lnTo>
                        <a:pt x="107151" y="83377"/>
                      </a:lnTo>
                      <a:lnTo>
                        <a:pt x="117097" y="63945"/>
                      </a:lnTo>
                      <a:lnTo>
                        <a:pt x="4296" y="0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</p:grpSp>
      <p:grpSp>
        <p:nvGrpSpPr>
          <p:cNvPr id="1925" name="Gráfico 17">
            <a:extLst>
              <a:ext uri="{FF2B5EF4-FFF2-40B4-BE49-F238E27FC236}">
                <a16:creationId xmlns:a16="http://schemas.microsoft.com/office/drawing/2014/main" id="{50BC2B9E-BF8B-CBEA-BDFD-7686179499E7}"/>
              </a:ext>
            </a:extLst>
          </p:cNvPr>
          <p:cNvGrpSpPr/>
          <p:nvPr/>
        </p:nvGrpSpPr>
        <p:grpSpPr>
          <a:xfrm>
            <a:off x="6179544" y="5254081"/>
            <a:ext cx="287180" cy="283944"/>
            <a:chOff x="6179544" y="5254081"/>
            <a:chExt cx="287180" cy="283944"/>
          </a:xfrm>
        </p:grpSpPr>
        <p:sp>
          <p:nvSpPr>
            <p:cNvPr id="1926" name="Forma livre: Forma 1925">
              <a:extLst>
                <a:ext uri="{FF2B5EF4-FFF2-40B4-BE49-F238E27FC236}">
                  <a16:creationId xmlns:a16="http://schemas.microsoft.com/office/drawing/2014/main" id="{8C3370C4-C2BA-305D-8760-C7451DCDBE51}"/>
                </a:ext>
              </a:extLst>
            </p:cNvPr>
            <p:cNvSpPr/>
            <p:nvPr/>
          </p:nvSpPr>
          <p:spPr>
            <a:xfrm>
              <a:off x="6191607" y="5341847"/>
              <a:ext cx="263052" cy="26152"/>
            </a:xfrm>
            <a:custGeom>
              <a:avLst/>
              <a:gdLst>
                <a:gd name="connsiteX0" fmla="*/ 52975 w 263052"/>
                <a:gd name="connsiteY0" fmla="*/ 26152 h 26152"/>
                <a:gd name="connsiteX1" fmla="*/ 0 w 263052"/>
                <a:gd name="connsiteY1" fmla="*/ 26152 h 26152"/>
                <a:gd name="connsiteX2" fmla="*/ 0 w 263052"/>
                <a:gd name="connsiteY2" fmla="*/ 0 h 26152"/>
                <a:gd name="connsiteX3" fmla="*/ 263053 w 263052"/>
                <a:gd name="connsiteY3" fmla="*/ 0 h 26152"/>
                <a:gd name="connsiteX4" fmla="*/ 263053 w 263052"/>
                <a:gd name="connsiteY4" fmla="*/ 26152 h 26152"/>
                <a:gd name="connsiteX5" fmla="*/ 87967 w 263052"/>
                <a:gd name="connsiteY5" fmla="*/ 26152 h 261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63052" h="26152">
                  <a:moveTo>
                    <a:pt x="52975" y="26152"/>
                  </a:moveTo>
                  <a:lnTo>
                    <a:pt x="0" y="26152"/>
                  </a:lnTo>
                  <a:lnTo>
                    <a:pt x="0" y="0"/>
                  </a:lnTo>
                  <a:lnTo>
                    <a:pt x="263053" y="0"/>
                  </a:lnTo>
                  <a:lnTo>
                    <a:pt x="263053" y="26152"/>
                  </a:lnTo>
                  <a:lnTo>
                    <a:pt x="87967" y="26152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927" name="Gráfico 17">
              <a:extLst>
                <a:ext uri="{FF2B5EF4-FFF2-40B4-BE49-F238E27FC236}">
                  <a16:creationId xmlns:a16="http://schemas.microsoft.com/office/drawing/2014/main" id="{3377228D-CA77-5AB0-298C-188313E3E20B}"/>
                </a:ext>
              </a:extLst>
            </p:cNvPr>
            <p:cNvGrpSpPr/>
            <p:nvPr/>
          </p:nvGrpSpPr>
          <p:grpSpPr>
            <a:xfrm>
              <a:off x="6209403" y="5369306"/>
              <a:ext cx="227449" cy="94004"/>
              <a:chOff x="6209403" y="5369306"/>
              <a:chExt cx="227449" cy="94004"/>
            </a:xfrm>
          </p:grpSpPr>
          <p:sp>
            <p:nvSpPr>
              <p:cNvPr id="1928" name="Forma livre: Forma 1927">
                <a:extLst>
                  <a:ext uri="{FF2B5EF4-FFF2-40B4-BE49-F238E27FC236}">
                    <a16:creationId xmlns:a16="http://schemas.microsoft.com/office/drawing/2014/main" id="{FF129235-A1EF-11AE-82A9-0EB9AB4313AD}"/>
                  </a:ext>
                </a:extLst>
              </p:cNvPr>
              <p:cNvSpPr/>
              <p:nvPr/>
            </p:nvSpPr>
            <p:spPr>
              <a:xfrm>
                <a:off x="6209403" y="5369306"/>
                <a:ext cx="16583" cy="75526"/>
              </a:xfrm>
              <a:custGeom>
                <a:avLst/>
                <a:gdLst>
                  <a:gd name="connsiteX0" fmla="*/ 0 w 16583"/>
                  <a:gd name="connsiteY0" fmla="*/ 0 h 75526"/>
                  <a:gd name="connsiteX1" fmla="*/ 16584 w 16583"/>
                  <a:gd name="connsiteY1" fmla="*/ 75526 h 755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6583" h="75526">
                    <a:moveTo>
                      <a:pt x="0" y="0"/>
                    </a:moveTo>
                    <a:lnTo>
                      <a:pt x="16584" y="75526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929" name="Forma livre: Forma 1928">
                <a:extLst>
                  <a:ext uri="{FF2B5EF4-FFF2-40B4-BE49-F238E27FC236}">
                    <a16:creationId xmlns:a16="http://schemas.microsoft.com/office/drawing/2014/main" id="{D8FE4884-507A-2A3F-B214-806923594FEE}"/>
                  </a:ext>
                </a:extLst>
              </p:cNvPr>
              <p:cNvSpPr/>
              <p:nvPr/>
            </p:nvSpPr>
            <p:spPr>
              <a:xfrm>
                <a:off x="6416150" y="5369306"/>
                <a:ext cx="20702" cy="94004"/>
              </a:xfrm>
              <a:custGeom>
                <a:avLst/>
                <a:gdLst>
                  <a:gd name="connsiteX0" fmla="*/ 20703 w 20702"/>
                  <a:gd name="connsiteY0" fmla="*/ 0 h 94004"/>
                  <a:gd name="connsiteX1" fmla="*/ 0 w 20702"/>
                  <a:gd name="connsiteY1" fmla="*/ 94005 h 940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0702" h="94004">
                    <a:moveTo>
                      <a:pt x="20703" y="0"/>
                    </a:moveTo>
                    <a:lnTo>
                      <a:pt x="0" y="94005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930" name="Forma livre: Forma 1929">
              <a:extLst>
                <a:ext uri="{FF2B5EF4-FFF2-40B4-BE49-F238E27FC236}">
                  <a16:creationId xmlns:a16="http://schemas.microsoft.com/office/drawing/2014/main" id="{3F21E19A-BD2C-3756-2754-79B7ED28B812}"/>
                </a:ext>
              </a:extLst>
            </p:cNvPr>
            <p:cNvSpPr/>
            <p:nvPr/>
          </p:nvSpPr>
          <p:spPr>
            <a:xfrm>
              <a:off x="6293321" y="5254081"/>
              <a:ext cx="141730" cy="65745"/>
            </a:xfrm>
            <a:custGeom>
              <a:avLst/>
              <a:gdLst>
                <a:gd name="connsiteX0" fmla="*/ 0 w 141730"/>
                <a:gd name="connsiteY0" fmla="*/ 25705 h 65745"/>
                <a:gd name="connsiteX1" fmla="*/ 25458 w 141730"/>
                <a:gd name="connsiteY1" fmla="*/ 0 h 65745"/>
                <a:gd name="connsiteX2" fmla="*/ 91863 w 141730"/>
                <a:gd name="connsiteY2" fmla="*/ 29542 h 65745"/>
                <a:gd name="connsiteX3" fmla="*/ 101514 w 141730"/>
                <a:gd name="connsiteY3" fmla="*/ 54482 h 65745"/>
                <a:gd name="connsiteX4" fmla="*/ 141731 w 141730"/>
                <a:gd name="connsiteY4" fmla="*/ 65746 h 657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1730" h="65745">
                  <a:moveTo>
                    <a:pt x="0" y="25705"/>
                  </a:moveTo>
                  <a:lnTo>
                    <a:pt x="25458" y="0"/>
                  </a:lnTo>
                  <a:lnTo>
                    <a:pt x="91863" y="29542"/>
                  </a:lnTo>
                  <a:lnTo>
                    <a:pt x="101514" y="54482"/>
                  </a:lnTo>
                  <a:lnTo>
                    <a:pt x="141731" y="65746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31" name="Forma livre: Forma 1930">
              <a:extLst>
                <a:ext uri="{FF2B5EF4-FFF2-40B4-BE49-F238E27FC236}">
                  <a16:creationId xmlns:a16="http://schemas.microsoft.com/office/drawing/2014/main" id="{00F5CA36-BE39-0DA3-0F40-9E2E795E904F}"/>
                </a:ext>
              </a:extLst>
            </p:cNvPr>
            <p:cNvSpPr/>
            <p:nvPr/>
          </p:nvSpPr>
          <p:spPr>
            <a:xfrm>
              <a:off x="6217160" y="5268204"/>
              <a:ext cx="97629" cy="54305"/>
            </a:xfrm>
            <a:custGeom>
              <a:avLst/>
              <a:gdLst>
                <a:gd name="connsiteX0" fmla="*/ 0 w 97629"/>
                <a:gd name="connsiteY0" fmla="*/ 54305 h 54305"/>
                <a:gd name="connsiteX1" fmla="*/ 26329 w 97629"/>
                <a:gd name="connsiteY1" fmla="*/ 6885 h 54305"/>
                <a:gd name="connsiteX2" fmla="*/ 60649 w 97629"/>
                <a:gd name="connsiteY2" fmla="*/ 0 h 54305"/>
                <a:gd name="connsiteX3" fmla="*/ 97630 w 97629"/>
                <a:gd name="connsiteY3" fmla="*/ 31143 h 543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7629" h="54305">
                  <a:moveTo>
                    <a:pt x="0" y="54305"/>
                  </a:moveTo>
                  <a:lnTo>
                    <a:pt x="26329" y="6885"/>
                  </a:lnTo>
                  <a:lnTo>
                    <a:pt x="60649" y="0"/>
                  </a:lnTo>
                  <a:lnTo>
                    <a:pt x="97630" y="31143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932" name="Gráfico 17">
              <a:extLst>
                <a:ext uri="{FF2B5EF4-FFF2-40B4-BE49-F238E27FC236}">
                  <a16:creationId xmlns:a16="http://schemas.microsoft.com/office/drawing/2014/main" id="{FD98D9C7-8754-F025-788F-ADE29DFC90DE}"/>
                </a:ext>
              </a:extLst>
            </p:cNvPr>
            <p:cNvGrpSpPr/>
            <p:nvPr/>
          </p:nvGrpSpPr>
          <p:grpSpPr>
            <a:xfrm>
              <a:off x="6245713" y="5484531"/>
              <a:ext cx="154830" cy="53493"/>
              <a:chOff x="6245713" y="5484531"/>
              <a:chExt cx="154830" cy="53493"/>
            </a:xfrm>
          </p:grpSpPr>
          <p:grpSp>
            <p:nvGrpSpPr>
              <p:cNvPr id="1933" name="Gráfico 17">
                <a:extLst>
                  <a:ext uri="{FF2B5EF4-FFF2-40B4-BE49-F238E27FC236}">
                    <a16:creationId xmlns:a16="http://schemas.microsoft.com/office/drawing/2014/main" id="{67DAC82F-902A-C8D6-3A56-E27D912E2FAD}"/>
                  </a:ext>
                </a:extLst>
              </p:cNvPr>
              <p:cNvGrpSpPr/>
              <p:nvPr/>
            </p:nvGrpSpPr>
            <p:grpSpPr>
              <a:xfrm>
                <a:off x="6245713" y="5484531"/>
                <a:ext cx="53493" cy="53493"/>
                <a:chOff x="6245713" y="5484531"/>
                <a:chExt cx="53493" cy="53493"/>
              </a:xfrm>
            </p:grpSpPr>
            <p:sp>
              <p:nvSpPr>
                <p:cNvPr id="1934" name="Forma livre: Forma 1933">
                  <a:extLst>
                    <a:ext uri="{FF2B5EF4-FFF2-40B4-BE49-F238E27FC236}">
                      <a16:creationId xmlns:a16="http://schemas.microsoft.com/office/drawing/2014/main" id="{C270968F-A442-F42E-A80F-5288D54C19A4}"/>
                    </a:ext>
                  </a:extLst>
                </p:cNvPr>
                <p:cNvSpPr/>
                <p:nvPr/>
              </p:nvSpPr>
              <p:spPr>
                <a:xfrm>
                  <a:off x="6269570" y="5508377"/>
                  <a:ext cx="5790" cy="5790"/>
                </a:xfrm>
                <a:custGeom>
                  <a:avLst/>
                  <a:gdLst>
                    <a:gd name="connsiteX0" fmla="*/ 5791 w 5790"/>
                    <a:gd name="connsiteY0" fmla="*/ 2895 h 5790"/>
                    <a:gd name="connsiteX1" fmla="*/ 2895 w 5790"/>
                    <a:gd name="connsiteY1" fmla="*/ 5791 h 5790"/>
                    <a:gd name="connsiteX2" fmla="*/ 0 w 5790"/>
                    <a:gd name="connsiteY2" fmla="*/ 2895 h 5790"/>
                    <a:gd name="connsiteX3" fmla="*/ 2895 w 5790"/>
                    <a:gd name="connsiteY3" fmla="*/ 0 h 5790"/>
                    <a:gd name="connsiteX4" fmla="*/ 5791 w 5790"/>
                    <a:gd name="connsiteY4" fmla="*/ 2895 h 57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790" h="5790">
                      <a:moveTo>
                        <a:pt x="5791" y="2895"/>
                      </a:moveTo>
                      <a:cubicBezTo>
                        <a:pt x="5791" y="4508"/>
                        <a:pt x="4508" y="5791"/>
                        <a:pt x="2895" y="5791"/>
                      </a:cubicBezTo>
                      <a:cubicBezTo>
                        <a:pt x="1283" y="5791"/>
                        <a:pt x="0" y="4508"/>
                        <a:pt x="0" y="2895"/>
                      </a:cubicBezTo>
                      <a:cubicBezTo>
                        <a:pt x="0" y="1283"/>
                        <a:pt x="1295" y="0"/>
                        <a:pt x="2895" y="0"/>
                      </a:cubicBezTo>
                      <a:cubicBezTo>
                        <a:pt x="4496" y="0"/>
                        <a:pt x="5791" y="1283"/>
                        <a:pt x="5791" y="2895"/>
                      </a:cubicBezTo>
                      <a:close/>
                    </a:path>
                  </a:pathLst>
                </a:custGeom>
                <a:solidFill>
                  <a:srgbClr val="394553"/>
                </a:solidFill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935" name="Forma livre: Forma 1934">
                  <a:extLst>
                    <a:ext uri="{FF2B5EF4-FFF2-40B4-BE49-F238E27FC236}">
                      <a16:creationId xmlns:a16="http://schemas.microsoft.com/office/drawing/2014/main" id="{18DCB7EF-8584-2D44-4643-738B7885A6CC}"/>
                    </a:ext>
                  </a:extLst>
                </p:cNvPr>
                <p:cNvSpPr/>
                <p:nvPr/>
              </p:nvSpPr>
              <p:spPr>
                <a:xfrm>
                  <a:off x="6245713" y="5484531"/>
                  <a:ext cx="53493" cy="53493"/>
                </a:xfrm>
                <a:custGeom>
                  <a:avLst/>
                  <a:gdLst>
                    <a:gd name="connsiteX0" fmla="*/ 53493 w 53493"/>
                    <a:gd name="connsiteY0" fmla="*/ 26741 h 53493"/>
                    <a:gd name="connsiteX1" fmla="*/ 26741 w 53493"/>
                    <a:gd name="connsiteY1" fmla="*/ 53493 h 53493"/>
                    <a:gd name="connsiteX2" fmla="*/ 0 w 53493"/>
                    <a:gd name="connsiteY2" fmla="*/ 26741 h 53493"/>
                    <a:gd name="connsiteX3" fmla="*/ 26741 w 53493"/>
                    <a:gd name="connsiteY3" fmla="*/ 0 h 53493"/>
                    <a:gd name="connsiteX4" fmla="*/ 53493 w 53493"/>
                    <a:gd name="connsiteY4" fmla="*/ 26741 h 5349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3493" h="53493">
                      <a:moveTo>
                        <a:pt x="53493" y="26741"/>
                      </a:moveTo>
                      <a:cubicBezTo>
                        <a:pt x="53493" y="41512"/>
                        <a:pt x="41512" y="53493"/>
                        <a:pt x="26741" y="53493"/>
                      </a:cubicBezTo>
                      <a:cubicBezTo>
                        <a:pt x="11970" y="53493"/>
                        <a:pt x="0" y="41512"/>
                        <a:pt x="0" y="26741"/>
                      </a:cubicBezTo>
                      <a:cubicBezTo>
                        <a:pt x="0" y="11970"/>
                        <a:pt x="11970" y="0"/>
                        <a:pt x="26741" y="0"/>
                      </a:cubicBezTo>
                      <a:cubicBezTo>
                        <a:pt x="41512" y="0"/>
                        <a:pt x="53493" y="11982"/>
                        <a:pt x="53493" y="26741"/>
                      </a:cubicBezTo>
                      <a:close/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1936" name="Gráfico 17">
                <a:extLst>
                  <a:ext uri="{FF2B5EF4-FFF2-40B4-BE49-F238E27FC236}">
                    <a16:creationId xmlns:a16="http://schemas.microsoft.com/office/drawing/2014/main" id="{BA0BDB7C-D952-2140-28CF-D78B7E848006}"/>
                  </a:ext>
                </a:extLst>
              </p:cNvPr>
              <p:cNvGrpSpPr/>
              <p:nvPr/>
            </p:nvGrpSpPr>
            <p:grpSpPr>
              <a:xfrm>
                <a:off x="6347050" y="5484531"/>
                <a:ext cx="53493" cy="53493"/>
                <a:chOff x="6347050" y="5484531"/>
                <a:chExt cx="53493" cy="53493"/>
              </a:xfrm>
            </p:grpSpPr>
            <p:sp>
              <p:nvSpPr>
                <p:cNvPr id="1937" name="Forma livre: Forma 1936">
                  <a:extLst>
                    <a:ext uri="{FF2B5EF4-FFF2-40B4-BE49-F238E27FC236}">
                      <a16:creationId xmlns:a16="http://schemas.microsoft.com/office/drawing/2014/main" id="{6C6F0C6A-E9B4-E687-4470-A1E3E07E47F7}"/>
                    </a:ext>
                  </a:extLst>
                </p:cNvPr>
                <p:cNvSpPr/>
                <p:nvPr/>
              </p:nvSpPr>
              <p:spPr>
                <a:xfrm>
                  <a:off x="6370907" y="5508377"/>
                  <a:ext cx="5790" cy="5790"/>
                </a:xfrm>
                <a:custGeom>
                  <a:avLst/>
                  <a:gdLst>
                    <a:gd name="connsiteX0" fmla="*/ 5791 w 5790"/>
                    <a:gd name="connsiteY0" fmla="*/ 2895 h 5790"/>
                    <a:gd name="connsiteX1" fmla="*/ 2895 w 5790"/>
                    <a:gd name="connsiteY1" fmla="*/ 5791 h 5790"/>
                    <a:gd name="connsiteX2" fmla="*/ 0 w 5790"/>
                    <a:gd name="connsiteY2" fmla="*/ 2895 h 5790"/>
                    <a:gd name="connsiteX3" fmla="*/ 2895 w 5790"/>
                    <a:gd name="connsiteY3" fmla="*/ 0 h 5790"/>
                    <a:gd name="connsiteX4" fmla="*/ 5791 w 5790"/>
                    <a:gd name="connsiteY4" fmla="*/ 2895 h 57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790" h="5790">
                      <a:moveTo>
                        <a:pt x="5791" y="2895"/>
                      </a:moveTo>
                      <a:cubicBezTo>
                        <a:pt x="5791" y="4508"/>
                        <a:pt x="4508" y="5791"/>
                        <a:pt x="2895" y="5791"/>
                      </a:cubicBezTo>
                      <a:cubicBezTo>
                        <a:pt x="1283" y="5791"/>
                        <a:pt x="0" y="4508"/>
                        <a:pt x="0" y="2895"/>
                      </a:cubicBezTo>
                      <a:cubicBezTo>
                        <a:pt x="0" y="1283"/>
                        <a:pt x="1295" y="0"/>
                        <a:pt x="2895" y="0"/>
                      </a:cubicBezTo>
                      <a:cubicBezTo>
                        <a:pt x="4496" y="0"/>
                        <a:pt x="5791" y="1283"/>
                        <a:pt x="5791" y="2895"/>
                      </a:cubicBezTo>
                      <a:close/>
                    </a:path>
                  </a:pathLst>
                </a:custGeom>
                <a:solidFill>
                  <a:srgbClr val="394553"/>
                </a:solidFill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938" name="Forma livre: Forma 1937">
                  <a:extLst>
                    <a:ext uri="{FF2B5EF4-FFF2-40B4-BE49-F238E27FC236}">
                      <a16:creationId xmlns:a16="http://schemas.microsoft.com/office/drawing/2014/main" id="{69F8BC67-4EB0-6C7F-F80C-6A8481C441B7}"/>
                    </a:ext>
                  </a:extLst>
                </p:cNvPr>
                <p:cNvSpPr/>
                <p:nvPr/>
              </p:nvSpPr>
              <p:spPr>
                <a:xfrm>
                  <a:off x="6347050" y="5484531"/>
                  <a:ext cx="53493" cy="53493"/>
                </a:xfrm>
                <a:custGeom>
                  <a:avLst/>
                  <a:gdLst>
                    <a:gd name="connsiteX0" fmla="*/ 53493 w 53493"/>
                    <a:gd name="connsiteY0" fmla="*/ 26741 h 53493"/>
                    <a:gd name="connsiteX1" fmla="*/ 26741 w 53493"/>
                    <a:gd name="connsiteY1" fmla="*/ 53493 h 53493"/>
                    <a:gd name="connsiteX2" fmla="*/ 0 w 53493"/>
                    <a:gd name="connsiteY2" fmla="*/ 26741 h 53493"/>
                    <a:gd name="connsiteX3" fmla="*/ 26741 w 53493"/>
                    <a:gd name="connsiteY3" fmla="*/ 0 h 53493"/>
                    <a:gd name="connsiteX4" fmla="*/ 53493 w 53493"/>
                    <a:gd name="connsiteY4" fmla="*/ 26741 h 5349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3493" h="53493">
                      <a:moveTo>
                        <a:pt x="53493" y="26741"/>
                      </a:moveTo>
                      <a:cubicBezTo>
                        <a:pt x="53493" y="41512"/>
                        <a:pt x="41512" y="53493"/>
                        <a:pt x="26741" y="53493"/>
                      </a:cubicBezTo>
                      <a:cubicBezTo>
                        <a:pt x="11970" y="53493"/>
                        <a:pt x="0" y="41512"/>
                        <a:pt x="0" y="26741"/>
                      </a:cubicBezTo>
                      <a:cubicBezTo>
                        <a:pt x="0" y="11970"/>
                        <a:pt x="11970" y="0"/>
                        <a:pt x="26741" y="0"/>
                      </a:cubicBezTo>
                      <a:cubicBezTo>
                        <a:pt x="41512" y="0"/>
                        <a:pt x="53493" y="11982"/>
                        <a:pt x="53493" y="26741"/>
                      </a:cubicBezTo>
                      <a:close/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grpSp>
          <p:nvGrpSpPr>
            <p:cNvPr id="1939" name="Gráfico 17">
              <a:extLst>
                <a:ext uri="{FF2B5EF4-FFF2-40B4-BE49-F238E27FC236}">
                  <a16:creationId xmlns:a16="http://schemas.microsoft.com/office/drawing/2014/main" id="{F6738257-6B44-577F-3125-60C7ABCD5BCF}"/>
                </a:ext>
              </a:extLst>
            </p:cNvPr>
            <p:cNvGrpSpPr/>
            <p:nvPr/>
          </p:nvGrpSpPr>
          <p:grpSpPr>
            <a:xfrm>
              <a:off x="6179544" y="5462440"/>
              <a:ext cx="287180" cy="44642"/>
              <a:chOff x="6179544" y="5462440"/>
              <a:chExt cx="287180" cy="44642"/>
            </a:xfrm>
            <a:noFill/>
          </p:grpSpPr>
          <p:sp>
            <p:nvSpPr>
              <p:cNvPr id="1940" name="Forma livre: Forma 1939">
                <a:extLst>
                  <a:ext uri="{FF2B5EF4-FFF2-40B4-BE49-F238E27FC236}">
                    <a16:creationId xmlns:a16="http://schemas.microsoft.com/office/drawing/2014/main" id="{ED594BE0-8AC7-E215-AD5B-EDC2DA92F555}"/>
                  </a:ext>
                </a:extLst>
              </p:cNvPr>
              <p:cNvSpPr/>
              <p:nvPr/>
            </p:nvSpPr>
            <p:spPr>
              <a:xfrm>
                <a:off x="6299336" y="5505988"/>
                <a:ext cx="47431" cy="1176"/>
              </a:xfrm>
              <a:custGeom>
                <a:avLst/>
                <a:gdLst>
                  <a:gd name="connsiteX0" fmla="*/ 47432 w 47431"/>
                  <a:gd name="connsiteY0" fmla="*/ 0 h 1176"/>
                  <a:gd name="connsiteX1" fmla="*/ 0 w 47431"/>
                  <a:gd name="connsiteY1" fmla="*/ 0 h 11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431" h="1176">
                    <a:moveTo>
                      <a:pt x="47432" y="0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941" name="Forma livre: Forma 1940">
                <a:extLst>
                  <a:ext uri="{FF2B5EF4-FFF2-40B4-BE49-F238E27FC236}">
                    <a16:creationId xmlns:a16="http://schemas.microsoft.com/office/drawing/2014/main" id="{0EF48D78-C900-4F5A-B99D-04E8C32902EE}"/>
                  </a:ext>
                </a:extLst>
              </p:cNvPr>
              <p:cNvSpPr/>
              <p:nvPr/>
            </p:nvSpPr>
            <p:spPr>
              <a:xfrm>
                <a:off x="6207297" y="5463546"/>
                <a:ext cx="231674" cy="42441"/>
              </a:xfrm>
              <a:custGeom>
                <a:avLst/>
                <a:gdLst>
                  <a:gd name="connsiteX0" fmla="*/ 18902 w 231674"/>
                  <a:gd name="connsiteY0" fmla="*/ 42441 h 42441"/>
                  <a:gd name="connsiteX1" fmla="*/ 0 w 231674"/>
                  <a:gd name="connsiteY1" fmla="*/ 42441 h 42441"/>
                  <a:gd name="connsiteX2" fmla="*/ 0 w 231674"/>
                  <a:gd name="connsiteY2" fmla="*/ 0 h 42441"/>
                  <a:gd name="connsiteX3" fmla="*/ 231675 w 231674"/>
                  <a:gd name="connsiteY3" fmla="*/ 0 h 42441"/>
                  <a:gd name="connsiteX4" fmla="*/ 231675 w 231674"/>
                  <a:gd name="connsiteY4" fmla="*/ 42441 h 42441"/>
                  <a:gd name="connsiteX5" fmla="*/ 211702 w 231674"/>
                  <a:gd name="connsiteY5" fmla="*/ 42441 h 424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31674" h="42441">
                    <a:moveTo>
                      <a:pt x="18902" y="42441"/>
                    </a:moveTo>
                    <a:lnTo>
                      <a:pt x="0" y="42441"/>
                    </a:lnTo>
                    <a:lnTo>
                      <a:pt x="0" y="0"/>
                    </a:lnTo>
                    <a:lnTo>
                      <a:pt x="231675" y="0"/>
                    </a:lnTo>
                    <a:lnTo>
                      <a:pt x="231675" y="42441"/>
                    </a:lnTo>
                    <a:lnTo>
                      <a:pt x="211702" y="42441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1942" name="Gráfico 17">
                <a:extLst>
                  <a:ext uri="{FF2B5EF4-FFF2-40B4-BE49-F238E27FC236}">
                    <a16:creationId xmlns:a16="http://schemas.microsoft.com/office/drawing/2014/main" id="{777303E0-B2CC-9773-7831-C56A04AF5F9C}"/>
                  </a:ext>
                </a:extLst>
              </p:cNvPr>
              <p:cNvGrpSpPr/>
              <p:nvPr/>
            </p:nvGrpSpPr>
            <p:grpSpPr>
              <a:xfrm>
                <a:off x="6179544" y="5462440"/>
                <a:ext cx="25340" cy="44642"/>
                <a:chOff x="6179544" y="5462440"/>
                <a:chExt cx="25340" cy="44642"/>
              </a:xfrm>
            </p:grpSpPr>
            <p:sp>
              <p:nvSpPr>
                <p:cNvPr id="1943" name="Forma livre: Forma 1942">
                  <a:extLst>
                    <a:ext uri="{FF2B5EF4-FFF2-40B4-BE49-F238E27FC236}">
                      <a16:creationId xmlns:a16="http://schemas.microsoft.com/office/drawing/2014/main" id="{8ED7927B-A0C4-7789-9883-B44926999719}"/>
                    </a:ext>
                  </a:extLst>
                </p:cNvPr>
                <p:cNvSpPr/>
                <p:nvPr/>
              </p:nvSpPr>
              <p:spPr>
                <a:xfrm>
                  <a:off x="6179544" y="5462440"/>
                  <a:ext cx="1176" cy="44642"/>
                </a:xfrm>
                <a:custGeom>
                  <a:avLst/>
                  <a:gdLst>
                    <a:gd name="connsiteX0" fmla="*/ 0 w 1176"/>
                    <a:gd name="connsiteY0" fmla="*/ 0 h 44642"/>
                    <a:gd name="connsiteX1" fmla="*/ 0 w 1176"/>
                    <a:gd name="connsiteY1" fmla="*/ 44642 h 4464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176" h="44642">
                      <a:moveTo>
                        <a:pt x="0" y="0"/>
                      </a:moveTo>
                      <a:lnTo>
                        <a:pt x="0" y="44642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944" name="Forma livre: Forma 1943">
                  <a:extLst>
                    <a:ext uri="{FF2B5EF4-FFF2-40B4-BE49-F238E27FC236}">
                      <a16:creationId xmlns:a16="http://schemas.microsoft.com/office/drawing/2014/main" id="{679DA402-5B2E-9DAB-7A06-3B3D28460537}"/>
                    </a:ext>
                  </a:extLst>
                </p:cNvPr>
                <p:cNvSpPr/>
                <p:nvPr/>
              </p:nvSpPr>
              <p:spPr>
                <a:xfrm>
                  <a:off x="6181956" y="5484767"/>
                  <a:ext cx="22927" cy="1176"/>
                </a:xfrm>
                <a:custGeom>
                  <a:avLst/>
                  <a:gdLst>
                    <a:gd name="connsiteX0" fmla="*/ 0 w 22927"/>
                    <a:gd name="connsiteY0" fmla="*/ 0 h 1176"/>
                    <a:gd name="connsiteX1" fmla="*/ 22927 w 22927"/>
                    <a:gd name="connsiteY1" fmla="*/ 0 h 117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2927" h="1176">
                      <a:moveTo>
                        <a:pt x="0" y="0"/>
                      </a:moveTo>
                      <a:lnTo>
                        <a:pt x="22927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1945" name="Gráfico 17">
                <a:extLst>
                  <a:ext uri="{FF2B5EF4-FFF2-40B4-BE49-F238E27FC236}">
                    <a16:creationId xmlns:a16="http://schemas.microsoft.com/office/drawing/2014/main" id="{97E149FB-8546-5EC5-9661-085B30B85232}"/>
                  </a:ext>
                </a:extLst>
              </p:cNvPr>
              <p:cNvGrpSpPr/>
              <p:nvPr/>
            </p:nvGrpSpPr>
            <p:grpSpPr>
              <a:xfrm>
                <a:off x="6441384" y="5462440"/>
                <a:ext cx="25340" cy="44642"/>
                <a:chOff x="6441384" y="5462440"/>
                <a:chExt cx="25340" cy="44642"/>
              </a:xfrm>
            </p:grpSpPr>
            <p:sp>
              <p:nvSpPr>
                <p:cNvPr id="1946" name="Forma livre: Forma 1945">
                  <a:extLst>
                    <a:ext uri="{FF2B5EF4-FFF2-40B4-BE49-F238E27FC236}">
                      <a16:creationId xmlns:a16="http://schemas.microsoft.com/office/drawing/2014/main" id="{D84D719B-0360-39B0-20DA-25C5008B0095}"/>
                    </a:ext>
                  </a:extLst>
                </p:cNvPr>
                <p:cNvSpPr/>
                <p:nvPr/>
              </p:nvSpPr>
              <p:spPr>
                <a:xfrm>
                  <a:off x="6466724" y="5462440"/>
                  <a:ext cx="1176" cy="44642"/>
                </a:xfrm>
                <a:custGeom>
                  <a:avLst/>
                  <a:gdLst>
                    <a:gd name="connsiteX0" fmla="*/ 0 w 1176"/>
                    <a:gd name="connsiteY0" fmla="*/ 44642 h 44642"/>
                    <a:gd name="connsiteX1" fmla="*/ 0 w 1176"/>
                    <a:gd name="connsiteY1" fmla="*/ 0 h 4464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176" h="44642">
                      <a:moveTo>
                        <a:pt x="0" y="44642"/>
                      </a:moveTo>
                      <a:lnTo>
                        <a:pt x="0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947" name="Forma livre: Forma 1946">
                  <a:extLst>
                    <a:ext uri="{FF2B5EF4-FFF2-40B4-BE49-F238E27FC236}">
                      <a16:creationId xmlns:a16="http://schemas.microsoft.com/office/drawing/2014/main" id="{F6313A79-9B4A-B1F5-D93A-69360673E088}"/>
                    </a:ext>
                  </a:extLst>
                </p:cNvPr>
                <p:cNvSpPr/>
                <p:nvPr/>
              </p:nvSpPr>
              <p:spPr>
                <a:xfrm>
                  <a:off x="6441384" y="5484767"/>
                  <a:ext cx="22927" cy="1176"/>
                </a:xfrm>
                <a:custGeom>
                  <a:avLst/>
                  <a:gdLst>
                    <a:gd name="connsiteX0" fmla="*/ 22927 w 22927"/>
                    <a:gd name="connsiteY0" fmla="*/ 0 h 1176"/>
                    <a:gd name="connsiteX1" fmla="*/ 0 w 22927"/>
                    <a:gd name="connsiteY1" fmla="*/ 0 h 117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2927" h="1176">
                      <a:moveTo>
                        <a:pt x="22927" y="0"/>
                      </a:moveTo>
                      <a:lnTo>
                        <a:pt x="0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</p:grpSp>
      <p:grpSp>
        <p:nvGrpSpPr>
          <p:cNvPr id="1948" name="Gráfico 17">
            <a:extLst>
              <a:ext uri="{FF2B5EF4-FFF2-40B4-BE49-F238E27FC236}">
                <a16:creationId xmlns:a16="http://schemas.microsoft.com/office/drawing/2014/main" id="{BBEC616C-DDF0-4BB5-E069-14963E59F919}"/>
              </a:ext>
            </a:extLst>
          </p:cNvPr>
          <p:cNvGrpSpPr/>
          <p:nvPr/>
        </p:nvGrpSpPr>
        <p:grpSpPr>
          <a:xfrm>
            <a:off x="7426131" y="5252457"/>
            <a:ext cx="246245" cy="287192"/>
            <a:chOff x="7426131" y="5252457"/>
            <a:chExt cx="246245" cy="287192"/>
          </a:xfrm>
          <a:noFill/>
        </p:grpSpPr>
        <p:sp>
          <p:nvSpPr>
            <p:cNvPr id="1949" name="Forma livre: Forma 1948">
              <a:extLst>
                <a:ext uri="{FF2B5EF4-FFF2-40B4-BE49-F238E27FC236}">
                  <a16:creationId xmlns:a16="http://schemas.microsoft.com/office/drawing/2014/main" id="{975827AB-6E81-6563-FD25-A80C9F866C34}"/>
                </a:ext>
              </a:extLst>
            </p:cNvPr>
            <p:cNvSpPr/>
            <p:nvPr/>
          </p:nvSpPr>
          <p:spPr>
            <a:xfrm>
              <a:off x="7426131" y="5280774"/>
              <a:ext cx="81493" cy="214526"/>
            </a:xfrm>
            <a:custGeom>
              <a:avLst/>
              <a:gdLst>
                <a:gd name="connsiteX0" fmla="*/ 49456 w 81493"/>
                <a:gd name="connsiteY0" fmla="*/ 214526 h 214526"/>
                <a:gd name="connsiteX1" fmla="*/ 0 w 81493"/>
                <a:gd name="connsiteY1" fmla="*/ 115896 h 214526"/>
                <a:gd name="connsiteX2" fmla="*/ 81493 w 81493"/>
                <a:gd name="connsiteY2" fmla="*/ 0 h 2145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81493" h="214526">
                  <a:moveTo>
                    <a:pt x="49456" y="214526"/>
                  </a:moveTo>
                  <a:cubicBezTo>
                    <a:pt x="19432" y="192093"/>
                    <a:pt x="0" y="156255"/>
                    <a:pt x="0" y="115896"/>
                  </a:cubicBezTo>
                  <a:cubicBezTo>
                    <a:pt x="0" y="62509"/>
                    <a:pt x="33979" y="17078"/>
                    <a:pt x="81493" y="0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50" name="Forma livre: Forma 1949">
              <a:extLst>
                <a:ext uri="{FF2B5EF4-FFF2-40B4-BE49-F238E27FC236}">
                  <a16:creationId xmlns:a16="http://schemas.microsoft.com/office/drawing/2014/main" id="{53EA2856-7D0A-9B41-F298-550C4D89CB2E}"/>
                </a:ext>
              </a:extLst>
            </p:cNvPr>
            <p:cNvSpPr/>
            <p:nvPr/>
          </p:nvSpPr>
          <p:spPr>
            <a:xfrm>
              <a:off x="7525527" y="5295298"/>
              <a:ext cx="146850" cy="224448"/>
            </a:xfrm>
            <a:custGeom>
              <a:avLst/>
              <a:gdLst>
                <a:gd name="connsiteX0" fmla="*/ 93616 w 146850"/>
                <a:gd name="connsiteY0" fmla="*/ 0 h 224448"/>
                <a:gd name="connsiteX1" fmla="*/ 146851 w 146850"/>
                <a:gd name="connsiteY1" fmla="*/ 101361 h 224448"/>
                <a:gd name="connsiteX2" fmla="*/ 23704 w 146850"/>
                <a:gd name="connsiteY2" fmla="*/ 224448 h 224448"/>
                <a:gd name="connsiteX3" fmla="*/ 0 w 146850"/>
                <a:gd name="connsiteY3" fmla="*/ 222165 h 2244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6850" h="224448">
                  <a:moveTo>
                    <a:pt x="93616" y="0"/>
                  </a:moveTo>
                  <a:cubicBezTo>
                    <a:pt x="125783" y="22221"/>
                    <a:pt x="146851" y="59319"/>
                    <a:pt x="146851" y="101361"/>
                  </a:cubicBezTo>
                  <a:cubicBezTo>
                    <a:pt x="146851" y="169342"/>
                    <a:pt x="91745" y="224448"/>
                    <a:pt x="23704" y="224448"/>
                  </a:cubicBezTo>
                  <a:cubicBezTo>
                    <a:pt x="15595" y="224448"/>
                    <a:pt x="7674" y="223660"/>
                    <a:pt x="0" y="222165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51" name="Forma livre: Forma 1950">
              <a:extLst>
                <a:ext uri="{FF2B5EF4-FFF2-40B4-BE49-F238E27FC236}">
                  <a16:creationId xmlns:a16="http://schemas.microsoft.com/office/drawing/2014/main" id="{771E0952-184F-7D24-311A-65EFDE49A19F}"/>
                </a:ext>
              </a:extLst>
            </p:cNvPr>
            <p:cNvSpPr/>
            <p:nvPr/>
          </p:nvSpPr>
          <p:spPr>
            <a:xfrm>
              <a:off x="7479272" y="5252457"/>
              <a:ext cx="142860" cy="287192"/>
            </a:xfrm>
            <a:custGeom>
              <a:avLst/>
              <a:gdLst>
                <a:gd name="connsiteX0" fmla="*/ 64933 w 142860"/>
                <a:gd name="connsiteY0" fmla="*/ 114025 h 287192"/>
                <a:gd name="connsiteX1" fmla="*/ 142861 w 142860"/>
                <a:gd name="connsiteY1" fmla="*/ 0 h 287192"/>
                <a:gd name="connsiteX2" fmla="*/ 68547 w 142860"/>
                <a:gd name="connsiteY2" fmla="*/ 0 h 287192"/>
                <a:gd name="connsiteX3" fmla="*/ 0 w 142860"/>
                <a:gd name="connsiteY3" fmla="*/ 147922 h 287192"/>
                <a:gd name="connsiteX4" fmla="*/ 54835 w 142860"/>
                <a:gd name="connsiteY4" fmla="*/ 147922 h 287192"/>
                <a:gd name="connsiteX5" fmla="*/ 2154 w 142860"/>
                <a:gd name="connsiteY5" fmla="*/ 287193 h 287192"/>
                <a:gd name="connsiteX6" fmla="*/ 135646 w 142860"/>
                <a:gd name="connsiteY6" fmla="*/ 112577 h 287192"/>
                <a:gd name="connsiteX7" fmla="*/ 94581 w 142860"/>
                <a:gd name="connsiteY7" fmla="*/ 112577 h 2871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42860" h="287192">
                  <a:moveTo>
                    <a:pt x="64933" y="114025"/>
                  </a:moveTo>
                  <a:lnTo>
                    <a:pt x="142861" y="0"/>
                  </a:lnTo>
                  <a:lnTo>
                    <a:pt x="68547" y="0"/>
                  </a:lnTo>
                  <a:lnTo>
                    <a:pt x="0" y="147922"/>
                  </a:lnTo>
                  <a:lnTo>
                    <a:pt x="54835" y="147922"/>
                  </a:lnTo>
                  <a:lnTo>
                    <a:pt x="2154" y="287193"/>
                  </a:lnTo>
                  <a:lnTo>
                    <a:pt x="135646" y="112577"/>
                  </a:lnTo>
                  <a:lnTo>
                    <a:pt x="94581" y="112577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953" name="Gráfico 18">
            <a:extLst>
              <a:ext uri="{FF2B5EF4-FFF2-40B4-BE49-F238E27FC236}">
                <a16:creationId xmlns:a16="http://schemas.microsoft.com/office/drawing/2014/main" id="{144F0877-DEC9-34DA-BBD1-089A044D8CEC}"/>
              </a:ext>
            </a:extLst>
          </p:cNvPr>
          <p:cNvGrpSpPr/>
          <p:nvPr/>
        </p:nvGrpSpPr>
        <p:grpSpPr>
          <a:xfrm>
            <a:off x="8577968" y="4724227"/>
            <a:ext cx="266493" cy="266953"/>
            <a:chOff x="8577968" y="4724227"/>
            <a:chExt cx="266493" cy="266953"/>
          </a:xfrm>
          <a:noFill/>
        </p:grpSpPr>
        <p:grpSp>
          <p:nvGrpSpPr>
            <p:cNvPr id="1954" name="Gráfico 18">
              <a:extLst>
                <a:ext uri="{FF2B5EF4-FFF2-40B4-BE49-F238E27FC236}">
                  <a16:creationId xmlns:a16="http://schemas.microsoft.com/office/drawing/2014/main" id="{1E478A1D-3CAA-6A9B-F012-5286FBC93886}"/>
                </a:ext>
              </a:extLst>
            </p:cNvPr>
            <p:cNvGrpSpPr/>
            <p:nvPr/>
          </p:nvGrpSpPr>
          <p:grpSpPr>
            <a:xfrm>
              <a:off x="8577968" y="4724227"/>
              <a:ext cx="266493" cy="266953"/>
              <a:chOff x="8577968" y="4724227"/>
              <a:chExt cx="266493" cy="266953"/>
            </a:xfrm>
            <a:noFill/>
          </p:grpSpPr>
          <p:grpSp>
            <p:nvGrpSpPr>
              <p:cNvPr id="1955" name="Gráfico 18">
                <a:extLst>
                  <a:ext uri="{FF2B5EF4-FFF2-40B4-BE49-F238E27FC236}">
                    <a16:creationId xmlns:a16="http://schemas.microsoft.com/office/drawing/2014/main" id="{DB521F78-9E0C-1489-DB0F-1BFBB2EE1E8B}"/>
                  </a:ext>
                </a:extLst>
              </p:cNvPr>
              <p:cNvGrpSpPr/>
              <p:nvPr/>
            </p:nvGrpSpPr>
            <p:grpSpPr>
              <a:xfrm>
                <a:off x="8577968" y="4724227"/>
                <a:ext cx="266493" cy="33913"/>
                <a:chOff x="8577968" y="4724227"/>
                <a:chExt cx="266493" cy="33913"/>
              </a:xfrm>
              <a:noFill/>
            </p:grpSpPr>
            <p:sp>
              <p:nvSpPr>
                <p:cNvPr id="1956" name="Forma livre: Forma 1955">
                  <a:extLst>
                    <a:ext uri="{FF2B5EF4-FFF2-40B4-BE49-F238E27FC236}">
                      <a16:creationId xmlns:a16="http://schemas.microsoft.com/office/drawing/2014/main" id="{85A51637-EAFE-F837-6247-7559F5278BAC}"/>
                    </a:ext>
                  </a:extLst>
                </p:cNvPr>
                <p:cNvSpPr/>
                <p:nvPr/>
              </p:nvSpPr>
              <p:spPr>
                <a:xfrm>
                  <a:off x="8577968" y="4724227"/>
                  <a:ext cx="33949" cy="33913"/>
                </a:xfrm>
                <a:custGeom>
                  <a:avLst/>
                  <a:gdLst>
                    <a:gd name="connsiteX0" fmla="*/ 0 w 33949"/>
                    <a:gd name="connsiteY0" fmla="*/ 33914 h 33913"/>
                    <a:gd name="connsiteX1" fmla="*/ 0 w 33949"/>
                    <a:gd name="connsiteY1" fmla="*/ 0 h 33913"/>
                    <a:gd name="connsiteX2" fmla="*/ 33949 w 33949"/>
                    <a:gd name="connsiteY2" fmla="*/ 0 h 3391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33949" h="33913">
                      <a:moveTo>
                        <a:pt x="0" y="33914"/>
                      </a:moveTo>
                      <a:lnTo>
                        <a:pt x="0" y="0"/>
                      </a:lnTo>
                      <a:lnTo>
                        <a:pt x="33949" y="0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957" name="Forma livre: Forma 1956">
                  <a:extLst>
                    <a:ext uri="{FF2B5EF4-FFF2-40B4-BE49-F238E27FC236}">
                      <a16:creationId xmlns:a16="http://schemas.microsoft.com/office/drawing/2014/main" id="{EC3D9F43-F090-B694-2ABE-7F5FC57A4583}"/>
                    </a:ext>
                  </a:extLst>
                </p:cNvPr>
                <p:cNvSpPr/>
                <p:nvPr/>
              </p:nvSpPr>
              <p:spPr>
                <a:xfrm>
                  <a:off x="8810513" y="4724227"/>
                  <a:ext cx="33949" cy="33913"/>
                </a:xfrm>
                <a:custGeom>
                  <a:avLst/>
                  <a:gdLst>
                    <a:gd name="connsiteX0" fmla="*/ 33949 w 33949"/>
                    <a:gd name="connsiteY0" fmla="*/ 33914 h 33913"/>
                    <a:gd name="connsiteX1" fmla="*/ 33949 w 33949"/>
                    <a:gd name="connsiteY1" fmla="*/ 0 h 33913"/>
                    <a:gd name="connsiteX2" fmla="*/ 0 w 33949"/>
                    <a:gd name="connsiteY2" fmla="*/ 0 h 3391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33949" h="33913">
                      <a:moveTo>
                        <a:pt x="33949" y="33914"/>
                      </a:moveTo>
                      <a:lnTo>
                        <a:pt x="33949" y="0"/>
                      </a:lnTo>
                      <a:lnTo>
                        <a:pt x="0" y="0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1958" name="Gráfico 18">
                <a:extLst>
                  <a:ext uri="{FF2B5EF4-FFF2-40B4-BE49-F238E27FC236}">
                    <a16:creationId xmlns:a16="http://schemas.microsoft.com/office/drawing/2014/main" id="{4F85C08A-1512-9512-7DF5-C517C49F0A6B}"/>
                  </a:ext>
                </a:extLst>
              </p:cNvPr>
              <p:cNvGrpSpPr/>
              <p:nvPr/>
            </p:nvGrpSpPr>
            <p:grpSpPr>
              <a:xfrm>
                <a:off x="8577968" y="4957267"/>
                <a:ext cx="266493" cy="33913"/>
                <a:chOff x="8577968" y="4957267"/>
                <a:chExt cx="266493" cy="33913"/>
              </a:xfrm>
              <a:noFill/>
            </p:grpSpPr>
            <p:sp>
              <p:nvSpPr>
                <p:cNvPr id="1959" name="Forma livre: Forma 1958">
                  <a:extLst>
                    <a:ext uri="{FF2B5EF4-FFF2-40B4-BE49-F238E27FC236}">
                      <a16:creationId xmlns:a16="http://schemas.microsoft.com/office/drawing/2014/main" id="{F753E924-185B-B722-027F-5B91575D48BD}"/>
                    </a:ext>
                  </a:extLst>
                </p:cNvPr>
                <p:cNvSpPr/>
                <p:nvPr/>
              </p:nvSpPr>
              <p:spPr>
                <a:xfrm>
                  <a:off x="8810513" y="4957267"/>
                  <a:ext cx="33949" cy="33913"/>
                </a:xfrm>
                <a:custGeom>
                  <a:avLst/>
                  <a:gdLst>
                    <a:gd name="connsiteX0" fmla="*/ 33949 w 33949"/>
                    <a:gd name="connsiteY0" fmla="*/ 0 h 33913"/>
                    <a:gd name="connsiteX1" fmla="*/ 33949 w 33949"/>
                    <a:gd name="connsiteY1" fmla="*/ 33914 h 33913"/>
                    <a:gd name="connsiteX2" fmla="*/ 0 w 33949"/>
                    <a:gd name="connsiteY2" fmla="*/ 33914 h 3391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33949" h="33913">
                      <a:moveTo>
                        <a:pt x="33949" y="0"/>
                      </a:moveTo>
                      <a:lnTo>
                        <a:pt x="33949" y="33914"/>
                      </a:lnTo>
                      <a:lnTo>
                        <a:pt x="0" y="33914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960" name="Forma livre: Forma 1959">
                  <a:extLst>
                    <a:ext uri="{FF2B5EF4-FFF2-40B4-BE49-F238E27FC236}">
                      <a16:creationId xmlns:a16="http://schemas.microsoft.com/office/drawing/2014/main" id="{ED09EC36-E301-BC4A-ED96-B1BB63C4DDE1}"/>
                    </a:ext>
                  </a:extLst>
                </p:cNvPr>
                <p:cNvSpPr/>
                <p:nvPr/>
              </p:nvSpPr>
              <p:spPr>
                <a:xfrm>
                  <a:off x="8577968" y="4957267"/>
                  <a:ext cx="33949" cy="33913"/>
                </a:xfrm>
                <a:custGeom>
                  <a:avLst/>
                  <a:gdLst>
                    <a:gd name="connsiteX0" fmla="*/ 0 w 33949"/>
                    <a:gd name="connsiteY0" fmla="*/ 0 h 33913"/>
                    <a:gd name="connsiteX1" fmla="*/ 0 w 33949"/>
                    <a:gd name="connsiteY1" fmla="*/ 33914 h 33913"/>
                    <a:gd name="connsiteX2" fmla="*/ 33949 w 33949"/>
                    <a:gd name="connsiteY2" fmla="*/ 33914 h 3391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33949" h="33913">
                      <a:moveTo>
                        <a:pt x="0" y="0"/>
                      </a:moveTo>
                      <a:lnTo>
                        <a:pt x="0" y="33914"/>
                      </a:lnTo>
                      <a:lnTo>
                        <a:pt x="33949" y="33914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grpSp>
          <p:nvGrpSpPr>
            <p:cNvPr id="1961" name="Gráfico 18">
              <a:extLst>
                <a:ext uri="{FF2B5EF4-FFF2-40B4-BE49-F238E27FC236}">
                  <a16:creationId xmlns:a16="http://schemas.microsoft.com/office/drawing/2014/main" id="{821EE72C-B275-C8F9-DEEA-116FBEA7E649}"/>
                </a:ext>
              </a:extLst>
            </p:cNvPr>
            <p:cNvGrpSpPr/>
            <p:nvPr/>
          </p:nvGrpSpPr>
          <p:grpSpPr>
            <a:xfrm>
              <a:off x="8597847" y="4743468"/>
              <a:ext cx="226736" cy="228530"/>
              <a:chOff x="8597847" y="4743468"/>
              <a:chExt cx="226736" cy="228530"/>
            </a:xfrm>
            <a:noFill/>
          </p:grpSpPr>
          <p:sp>
            <p:nvSpPr>
              <p:cNvPr id="1962" name="Forma livre: Forma 1961">
                <a:extLst>
                  <a:ext uri="{FF2B5EF4-FFF2-40B4-BE49-F238E27FC236}">
                    <a16:creationId xmlns:a16="http://schemas.microsoft.com/office/drawing/2014/main" id="{4002A0B6-AD23-A75D-A297-254723A24738}"/>
                  </a:ext>
                </a:extLst>
              </p:cNvPr>
              <p:cNvSpPr/>
              <p:nvPr/>
            </p:nvSpPr>
            <p:spPr>
              <a:xfrm>
                <a:off x="8705950" y="4743468"/>
                <a:ext cx="118633" cy="117688"/>
              </a:xfrm>
              <a:custGeom>
                <a:avLst/>
                <a:gdLst>
                  <a:gd name="connsiteX0" fmla="*/ 0 w 118633"/>
                  <a:gd name="connsiteY0" fmla="*/ 0 h 117688"/>
                  <a:gd name="connsiteX1" fmla="*/ 17022 w 118633"/>
                  <a:gd name="connsiteY1" fmla="*/ 1842 h 117688"/>
                  <a:gd name="connsiteX2" fmla="*/ 23526 w 118633"/>
                  <a:gd name="connsiteY2" fmla="*/ 3187 h 117688"/>
                  <a:gd name="connsiteX3" fmla="*/ 118633 w 118633"/>
                  <a:gd name="connsiteY3" fmla="*/ 117689 h 1176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8633" h="117688">
                    <a:moveTo>
                      <a:pt x="0" y="0"/>
                    </a:moveTo>
                    <a:cubicBezTo>
                      <a:pt x="5642" y="213"/>
                      <a:pt x="11320" y="826"/>
                      <a:pt x="17022" y="1842"/>
                    </a:cubicBezTo>
                    <a:cubicBezTo>
                      <a:pt x="20055" y="2408"/>
                      <a:pt x="21802" y="2774"/>
                      <a:pt x="23526" y="3187"/>
                    </a:cubicBezTo>
                    <a:cubicBezTo>
                      <a:pt x="78156" y="16113"/>
                      <a:pt x="116119" y="63779"/>
                      <a:pt x="118633" y="117689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963" name="Forma livre: Forma 1962">
                <a:extLst>
                  <a:ext uri="{FF2B5EF4-FFF2-40B4-BE49-F238E27FC236}">
                    <a16:creationId xmlns:a16="http://schemas.microsoft.com/office/drawing/2014/main" id="{8CDAD0D4-37DB-96A7-11B9-0ACC1A00FFA8}"/>
                  </a:ext>
                </a:extLst>
              </p:cNvPr>
              <p:cNvSpPr/>
              <p:nvPr/>
            </p:nvSpPr>
            <p:spPr>
              <a:xfrm>
                <a:off x="8597847" y="4745144"/>
                <a:ext cx="82842" cy="54169"/>
              </a:xfrm>
              <a:custGeom>
                <a:avLst/>
                <a:gdLst>
                  <a:gd name="connsiteX0" fmla="*/ 0 w 82842"/>
                  <a:gd name="connsiteY0" fmla="*/ 54170 h 54169"/>
                  <a:gd name="connsiteX1" fmla="*/ 82842 w 82842"/>
                  <a:gd name="connsiteY1" fmla="*/ 0 h 541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82842" h="54169">
                    <a:moveTo>
                      <a:pt x="0" y="54170"/>
                    </a:moveTo>
                    <a:cubicBezTo>
                      <a:pt x="18804" y="25603"/>
                      <a:pt x="48988" y="5784"/>
                      <a:pt x="82842" y="0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964" name="Forma livre: Forma 1963">
                <a:extLst>
                  <a:ext uri="{FF2B5EF4-FFF2-40B4-BE49-F238E27FC236}">
                    <a16:creationId xmlns:a16="http://schemas.microsoft.com/office/drawing/2014/main" id="{15D90337-D7C7-2F27-0867-4827E6B8BCE8}"/>
                  </a:ext>
                </a:extLst>
              </p:cNvPr>
              <p:cNvSpPr/>
              <p:nvPr/>
            </p:nvSpPr>
            <p:spPr>
              <a:xfrm>
                <a:off x="8782761" y="4815875"/>
                <a:ext cx="17251" cy="117794"/>
              </a:xfrm>
              <a:custGeom>
                <a:avLst/>
                <a:gdLst>
                  <a:gd name="connsiteX0" fmla="*/ 2975 w 17251"/>
                  <a:gd name="connsiteY0" fmla="*/ 0 h 117794"/>
                  <a:gd name="connsiteX1" fmla="*/ 5076 w 17251"/>
                  <a:gd name="connsiteY1" fmla="*/ 3636 h 117794"/>
                  <a:gd name="connsiteX2" fmla="*/ 15782 w 17251"/>
                  <a:gd name="connsiteY2" fmla="*/ 67922 h 117794"/>
                  <a:gd name="connsiteX3" fmla="*/ 0 w 17251"/>
                  <a:gd name="connsiteY3" fmla="*/ 117795 h 1177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7251" h="117794">
                    <a:moveTo>
                      <a:pt x="2975" y="0"/>
                    </a:moveTo>
                    <a:cubicBezTo>
                      <a:pt x="3695" y="1204"/>
                      <a:pt x="4403" y="2408"/>
                      <a:pt x="5076" y="3636"/>
                    </a:cubicBezTo>
                    <a:cubicBezTo>
                      <a:pt x="15487" y="22629"/>
                      <a:pt x="19760" y="45116"/>
                      <a:pt x="15782" y="67922"/>
                    </a:cubicBezTo>
                    <a:cubicBezTo>
                      <a:pt x="15428" y="69929"/>
                      <a:pt x="11615" y="90704"/>
                      <a:pt x="0" y="117795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965" name="Forma livre: Forma 1964">
                <a:extLst>
                  <a:ext uri="{FF2B5EF4-FFF2-40B4-BE49-F238E27FC236}">
                    <a16:creationId xmlns:a16="http://schemas.microsoft.com/office/drawing/2014/main" id="{26FE1CD2-2E78-5462-D6EA-8A61B9B38108}"/>
                  </a:ext>
                </a:extLst>
              </p:cNvPr>
              <p:cNvSpPr/>
              <p:nvPr/>
            </p:nvSpPr>
            <p:spPr>
              <a:xfrm>
                <a:off x="8606605" y="4768065"/>
                <a:ext cx="164504" cy="70203"/>
              </a:xfrm>
              <a:custGeom>
                <a:avLst/>
                <a:gdLst>
                  <a:gd name="connsiteX0" fmla="*/ 0 w 164504"/>
                  <a:gd name="connsiteY0" fmla="*/ 70203 h 70203"/>
                  <a:gd name="connsiteX1" fmla="*/ 112011 w 164504"/>
                  <a:gd name="connsiteY1" fmla="*/ 1549 h 70203"/>
                  <a:gd name="connsiteX2" fmla="*/ 117181 w 164504"/>
                  <a:gd name="connsiteY2" fmla="*/ 2624 h 70203"/>
                  <a:gd name="connsiteX3" fmla="*/ 164505 w 164504"/>
                  <a:gd name="connsiteY3" fmla="*/ 29077 h 702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64504" h="70203">
                    <a:moveTo>
                      <a:pt x="0" y="70203"/>
                    </a:moveTo>
                    <a:cubicBezTo>
                      <a:pt x="14224" y="22962"/>
                      <a:pt x="62350" y="-7351"/>
                      <a:pt x="112011" y="1549"/>
                    </a:cubicBezTo>
                    <a:cubicBezTo>
                      <a:pt x="114348" y="1986"/>
                      <a:pt x="115776" y="2293"/>
                      <a:pt x="117181" y="2624"/>
                    </a:cubicBezTo>
                    <a:cubicBezTo>
                      <a:pt x="135737" y="7015"/>
                      <a:pt x="151909" y="16411"/>
                      <a:pt x="164505" y="29077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966" name="Forma livre: Forma 1965">
                <a:extLst>
                  <a:ext uri="{FF2B5EF4-FFF2-40B4-BE49-F238E27FC236}">
                    <a16:creationId xmlns:a16="http://schemas.microsoft.com/office/drawing/2014/main" id="{2C3B9FDA-7040-2D6F-424B-27DF585ABEE1}"/>
                  </a:ext>
                </a:extLst>
              </p:cNvPr>
              <p:cNvSpPr/>
              <p:nvPr/>
            </p:nvSpPr>
            <p:spPr>
              <a:xfrm>
                <a:off x="8747171" y="4879559"/>
                <a:ext cx="27043" cy="70554"/>
              </a:xfrm>
              <a:custGeom>
                <a:avLst/>
                <a:gdLst>
                  <a:gd name="connsiteX0" fmla="*/ 27044 w 27043"/>
                  <a:gd name="connsiteY0" fmla="*/ 0 h 70554"/>
                  <a:gd name="connsiteX1" fmla="*/ 0 w 27043"/>
                  <a:gd name="connsiteY1" fmla="*/ 70554 h 705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7043" h="70554">
                    <a:moveTo>
                      <a:pt x="27044" y="0"/>
                    </a:moveTo>
                    <a:cubicBezTo>
                      <a:pt x="26619" y="2384"/>
                      <a:pt x="20681" y="34811"/>
                      <a:pt x="0" y="70554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967" name="Forma livre: Forma 1966">
                <a:extLst>
                  <a:ext uri="{FF2B5EF4-FFF2-40B4-BE49-F238E27FC236}">
                    <a16:creationId xmlns:a16="http://schemas.microsoft.com/office/drawing/2014/main" id="{4C449552-A3AF-A35A-CF90-AB33C687A3D1}"/>
                  </a:ext>
                </a:extLst>
              </p:cNvPr>
              <p:cNvSpPr/>
              <p:nvPr/>
            </p:nvSpPr>
            <p:spPr>
              <a:xfrm>
                <a:off x="8734163" y="4800529"/>
                <a:ext cx="40134" cy="54205"/>
              </a:xfrm>
              <a:custGeom>
                <a:avLst/>
                <a:gdLst>
                  <a:gd name="connsiteX0" fmla="*/ 0 w 40134"/>
                  <a:gd name="connsiteY0" fmla="*/ 0 h 54205"/>
                  <a:gd name="connsiteX1" fmla="*/ 40135 w 40134"/>
                  <a:gd name="connsiteY1" fmla="*/ 54205 h 542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0134" h="54205">
                    <a:moveTo>
                      <a:pt x="0" y="0"/>
                    </a:moveTo>
                    <a:cubicBezTo>
                      <a:pt x="21354" y="10659"/>
                      <a:pt x="36239" y="30998"/>
                      <a:pt x="40135" y="54205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968" name="Forma livre: Forma 1967">
                <a:extLst>
                  <a:ext uri="{FF2B5EF4-FFF2-40B4-BE49-F238E27FC236}">
                    <a16:creationId xmlns:a16="http://schemas.microsoft.com/office/drawing/2014/main" id="{74F7BEF8-AC24-A6C2-0D32-736F840C2D5D}"/>
                  </a:ext>
                </a:extLst>
              </p:cNvPr>
              <p:cNvSpPr/>
              <p:nvPr/>
            </p:nvSpPr>
            <p:spPr>
              <a:xfrm>
                <a:off x="8610583" y="4792751"/>
                <a:ext cx="100430" cy="94740"/>
              </a:xfrm>
              <a:custGeom>
                <a:avLst/>
                <a:gdLst>
                  <a:gd name="connsiteX0" fmla="*/ 0 w 100430"/>
                  <a:gd name="connsiteY0" fmla="*/ 94741 h 94740"/>
                  <a:gd name="connsiteX1" fmla="*/ 17825 w 100430"/>
                  <a:gd name="connsiteY1" fmla="*/ 60189 h 94740"/>
                  <a:gd name="connsiteX2" fmla="*/ 100431 w 100430"/>
                  <a:gd name="connsiteY2" fmla="*/ 660 h 947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00430" h="94740">
                    <a:moveTo>
                      <a:pt x="0" y="94741"/>
                    </a:moveTo>
                    <a:cubicBezTo>
                      <a:pt x="10588" y="83987"/>
                      <a:pt x="16278" y="67284"/>
                      <a:pt x="17825" y="60189"/>
                    </a:cubicBezTo>
                    <a:cubicBezTo>
                      <a:pt x="25131" y="21554"/>
                      <a:pt x="61713" y="-4545"/>
                      <a:pt x="100431" y="660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969" name="Forma livre: Forma 1968">
                <a:extLst>
                  <a:ext uri="{FF2B5EF4-FFF2-40B4-BE49-F238E27FC236}">
                    <a16:creationId xmlns:a16="http://schemas.microsoft.com/office/drawing/2014/main" id="{9778CD34-9DB8-5CC5-8EEB-AF7D4B5228C5}"/>
                  </a:ext>
                </a:extLst>
              </p:cNvPr>
              <p:cNvSpPr/>
              <p:nvPr/>
            </p:nvSpPr>
            <p:spPr>
              <a:xfrm>
                <a:off x="8701146" y="4919033"/>
                <a:ext cx="34409" cy="52387"/>
              </a:xfrm>
              <a:custGeom>
                <a:avLst/>
                <a:gdLst>
                  <a:gd name="connsiteX0" fmla="*/ 34409 w 34409"/>
                  <a:gd name="connsiteY0" fmla="*/ 0 h 52387"/>
                  <a:gd name="connsiteX1" fmla="*/ 0 w 34409"/>
                  <a:gd name="connsiteY1" fmla="*/ 52387 h 523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4409" h="52387">
                    <a:moveTo>
                      <a:pt x="34409" y="0"/>
                    </a:moveTo>
                    <a:cubicBezTo>
                      <a:pt x="26961" y="16467"/>
                      <a:pt x="15959" y="35318"/>
                      <a:pt x="0" y="52387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970" name="Forma livre: Forma 1969">
                <a:extLst>
                  <a:ext uri="{FF2B5EF4-FFF2-40B4-BE49-F238E27FC236}">
                    <a16:creationId xmlns:a16="http://schemas.microsoft.com/office/drawing/2014/main" id="{5EAAF859-0604-2750-E0B2-D420ABF9F6B6}"/>
                  </a:ext>
                </a:extLst>
              </p:cNvPr>
              <p:cNvSpPr/>
              <p:nvPr/>
            </p:nvSpPr>
            <p:spPr>
              <a:xfrm>
                <a:off x="8688185" y="4817464"/>
                <a:ext cx="62413" cy="78420"/>
              </a:xfrm>
              <a:custGeom>
                <a:avLst/>
                <a:gdLst>
                  <a:gd name="connsiteX0" fmla="*/ 0 w 62413"/>
                  <a:gd name="connsiteY0" fmla="*/ 1763 h 78420"/>
                  <a:gd name="connsiteX1" fmla="*/ 21720 w 62413"/>
                  <a:gd name="connsiteY1" fmla="*/ 772 h 78420"/>
                  <a:gd name="connsiteX2" fmla="*/ 24222 w 62413"/>
                  <a:gd name="connsiteY2" fmla="*/ 1303 h 78420"/>
                  <a:gd name="connsiteX3" fmla="*/ 61677 w 62413"/>
                  <a:gd name="connsiteY3" fmla="*/ 57845 h 78420"/>
                  <a:gd name="connsiteX4" fmla="*/ 56295 w 62413"/>
                  <a:gd name="connsiteY4" fmla="*/ 78420 h 784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2413" h="78420">
                    <a:moveTo>
                      <a:pt x="0" y="1763"/>
                    </a:moveTo>
                    <a:cubicBezTo>
                      <a:pt x="6870" y="-126"/>
                      <a:pt x="14260" y="-562"/>
                      <a:pt x="21720" y="772"/>
                    </a:cubicBezTo>
                    <a:cubicBezTo>
                      <a:pt x="22700" y="949"/>
                      <a:pt x="23467" y="1114"/>
                      <a:pt x="24222" y="1303"/>
                    </a:cubicBezTo>
                    <a:cubicBezTo>
                      <a:pt x="49708" y="7335"/>
                      <a:pt x="66163" y="32159"/>
                      <a:pt x="61677" y="57845"/>
                    </a:cubicBezTo>
                    <a:cubicBezTo>
                      <a:pt x="61489" y="58920"/>
                      <a:pt x="60037" y="66805"/>
                      <a:pt x="56295" y="78420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971" name="Forma livre: Forma 1970">
                <a:extLst>
                  <a:ext uri="{FF2B5EF4-FFF2-40B4-BE49-F238E27FC236}">
                    <a16:creationId xmlns:a16="http://schemas.microsoft.com/office/drawing/2014/main" id="{45214D9A-45DB-BC17-7733-DE207802EA69}"/>
                  </a:ext>
                </a:extLst>
              </p:cNvPr>
              <p:cNvSpPr/>
              <p:nvPr/>
            </p:nvSpPr>
            <p:spPr>
              <a:xfrm>
                <a:off x="8611445" y="4830489"/>
                <a:ext cx="56365" cy="86454"/>
              </a:xfrm>
              <a:custGeom>
                <a:avLst/>
                <a:gdLst>
                  <a:gd name="connsiteX0" fmla="*/ 0 w 56365"/>
                  <a:gd name="connsiteY0" fmla="*/ 86455 h 86454"/>
                  <a:gd name="connsiteX1" fmla="*/ 41185 w 56365"/>
                  <a:gd name="connsiteY1" fmla="*/ 27292 h 86454"/>
                  <a:gd name="connsiteX2" fmla="*/ 56365 w 56365"/>
                  <a:gd name="connsiteY2" fmla="*/ 0 h 864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56365" h="86454">
                    <a:moveTo>
                      <a:pt x="0" y="86455"/>
                    </a:moveTo>
                    <a:cubicBezTo>
                      <a:pt x="32143" y="71109"/>
                      <a:pt x="41103" y="27728"/>
                      <a:pt x="41185" y="27292"/>
                    </a:cubicBezTo>
                    <a:cubicBezTo>
                      <a:pt x="43180" y="16408"/>
                      <a:pt x="48704" y="7000"/>
                      <a:pt x="56365" y="0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972" name="Forma livre: Forma 1971">
                <a:extLst>
                  <a:ext uri="{FF2B5EF4-FFF2-40B4-BE49-F238E27FC236}">
                    <a16:creationId xmlns:a16="http://schemas.microsoft.com/office/drawing/2014/main" id="{F3E77EA1-8541-546C-24A3-0F80E83B20B9}"/>
                  </a:ext>
                </a:extLst>
              </p:cNvPr>
              <p:cNvSpPr/>
              <p:nvPr/>
            </p:nvSpPr>
            <p:spPr>
              <a:xfrm>
                <a:off x="8663372" y="4842164"/>
                <a:ext cx="62541" cy="129834"/>
              </a:xfrm>
              <a:custGeom>
                <a:avLst/>
                <a:gdLst>
                  <a:gd name="connsiteX0" fmla="*/ 13516 w 62541"/>
                  <a:gd name="connsiteY0" fmla="*/ 20302 h 129834"/>
                  <a:gd name="connsiteX1" fmla="*/ 42177 w 62541"/>
                  <a:gd name="connsiteY1" fmla="*/ 389 h 129834"/>
                  <a:gd name="connsiteX2" fmla="*/ 62173 w 62541"/>
                  <a:gd name="connsiteY2" fmla="*/ 28908 h 129834"/>
                  <a:gd name="connsiteX3" fmla="*/ 0 w 62541"/>
                  <a:gd name="connsiteY3" fmla="*/ 129834 h 1298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2541" h="129834">
                    <a:moveTo>
                      <a:pt x="13516" y="20302"/>
                    </a:moveTo>
                    <a:cubicBezTo>
                      <a:pt x="15983" y="6928"/>
                      <a:pt x="28791" y="-2008"/>
                      <a:pt x="42177" y="389"/>
                    </a:cubicBezTo>
                    <a:cubicBezTo>
                      <a:pt x="55586" y="2915"/>
                      <a:pt x="64499" y="15498"/>
                      <a:pt x="62173" y="28908"/>
                    </a:cubicBezTo>
                    <a:cubicBezTo>
                      <a:pt x="61666" y="31823"/>
                      <a:pt x="50298" y="93690"/>
                      <a:pt x="0" y="129834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973" name="Forma livre: Forma 1972">
                <a:extLst>
                  <a:ext uri="{FF2B5EF4-FFF2-40B4-BE49-F238E27FC236}">
                    <a16:creationId xmlns:a16="http://schemas.microsoft.com/office/drawing/2014/main" id="{DFCC9999-8092-7495-F7CB-FD232B25E092}"/>
                  </a:ext>
                </a:extLst>
              </p:cNvPr>
              <p:cNvSpPr/>
              <p:nvPr/>
            </p:nvSpPr>
            <p:spPr>
              <a:xfrm>
                <a:off x="8622093" y="4884434"/>
                <a:ext cx="47842" cy="54807"/>
              </a:xfrm>
              <a:custGeom>
                <a:avLst/>
                <a:gdLst>
                  <a:gd name="connsiteX0" fmla="*/ 0 w 47842"/>
                  <a:gd name="connsiteY0" fmla="*/ 54807 h 54807"/>
                  <a:gd name="connsiteX1" fmla="*/ 47843 w 47842"/>
                  <a:gd name="connsiteY1" fmla="*/ 0 h 548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842" h="54807">
                    <a:moveTo>
                      <a:pt x="0" y="54807"/>
                    </a:moveTo>
                    <a:cubicBezTo>
                      <a:pt x="26076" y="42366"/>
                      <a:pt x="40441" y="17978"/>
                      <a:pt x="47843" y="0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974" name="Forma livre: Forma 1973">
                <a:extLst>
                  <a:ext uri="{FF2B5EF4-FFF2-40B4-BE49-F238E27FC236}">
                    <a16:creationId xmlns:a16="http://schemas.microsoft.com/office/drawing/2014/main" id="{A61A3C1F-AFAF-33FA-3F8B-606CA6779350}"/>
                  </a:ext>
                </a:extLst>
              </p:cNvPr>
              <p:cNvSpPr/>
              <p:nvPr/>
            </p:nvSpPr>
            <p:spPr>
              <a:xfrm>
                <a:off x="8632728" y="4866822"/>
                <a:ext cx="68464" cy="94717"/>
              </a:xfrm>
              <a:custGeom>
                <a:avLst/>
                <a:gdLst>
                  <a:gd name="connsiteX0" fmla="*/ 68465 w 68464"/>
                  <a:gd name="connsiteY0" fmla="*/ 0 h 94717"/>
                  <a:gd name="connsiteX1" fmla="*/ 0 w 68464"/>
                  <a:gd name="connsiteY1" fmla="*/ 94718 h 947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8464" h="94717">
                    <a:moveTo>
                      <a:pt x="68465" y="0"/>
                    </a:moveTo>
                    <a:cubicBezTo>
                      <a:pt x="68465" y="0"/>
                      <a:pt x="56661" y="67674"/>
                      <a:pt x="0" y="94718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975" name="Gráfico 18">
            <a:extLst>
              <a:ext uri="{FF2B5EF4-FFF2-40B4-BE49-F238E27FC236}">
                <a16:creationId xmlns:a16="http://schemas.microsoft.com/office/drawing/2014/main" id="{2C065018-E67E-490A-68DA-3421ABE93092}"/>
              </a:ext>
            </a:extLst>
          </p:cNvPr>
          <p:cNvGrpSpPr/>
          <p:nvPr/>
        </p:nvGrpSpPr>
        <p:grpSpPr>
          <a:xfrm>
            <a:off x="9182088" y="4724227"/>
            <a:ext cx="290668" cy="266953"/>
            <a:chOff x="9182088" y="4724227"/>
            <a:chExt cx="290668" cy="266953"/>
          </a:xfrm>
          <a:noFill/>
        </p:grpSpPr>
        <p:grpSp>
          <p:nvGrpSpPr>
            <p:cNvPr id="1976" name="Gráfico 18">
              <a:extLst>
                <a:ext uri="{FF2B5EF4-FFF2-40B4-BE49-F238E27FC236}">
                  <a16:creationId xmlns:a16="http://schemas.microsoft.com/office/drawing/2014/main" id="{1AF4C675-0B97-613C-A26C-CFD72A78C6F4}"/>
                </a:ext>
              </a:extLst>
            </p:cNvPr>
            <p:cNvGrpSpPr/>
            <p:nvPr/>
          </p:nvGrpSpPr>
          <p:grpSpPr>
            <a:xfrm>
              <a:off x="9194176" y="4724227"/>
              <a:ext cx="266493" cy="266953"/>
              <a:chOff x="9194176" y="4724227"/>
              <a:chExt cx="266493" cy="266953"/>
            </a:xfrm>
            <a:noFill/>
          </p:grpSpPr>
          <p:grpSp>
            <p:nvGrpSpPr>
              <p:cNvPr id="1977" name="Gráfico 18">
                <a:extLst>
                  <a:ext uri="{FF2B5EF4-FFF2-40B4-BE49-F238E27FC236}">
                    <a16:creationId xmlns:a16="http://schemas.microsoft.com/office/drawing/2014/main" id="{BA1ABB8E-9B1E-F007-99B5-C1D9D3C01BDC}"/>
                  </a:ext>
                </a:extLst>
              </p:cNvPr>
              <p:cNvGrpSpPr/>
              <p:nvPr/>
            </p:nvGrpSpPr>
            <p:grpSpPr>
              <a:xfrm>
                <a:off x="9194176" y="4724227"/>
                <a:ext cx="266493" cy="33913"/>
                <a:chOff x="9194176" y="4724227"/>
                <a:chExt cx="266493" cy="33913"/>
              </a:xfrm>
              <a:noFill/>
            </p:grpSpPr>
            <p:sp>
              <p:nvSpPr>
                <p:cNvPr id="1978" name="Forma livre: Forma 1977">
                  <a:extLst>
                    <a:ext uri="{FF2B5EF4-FFF2-40B4-BE49-F238E27FC236}">
                      <a16:creationId xmlns:a16="http://schemas.microsoft.com/office/drawing/2014/main" id="{4F2FAE0D-99B8-A2D8-F478-669F210FEB5E}"/>
                    </a:ext>
                  </a:extLst>
                </p:cNvPr>
                <p:cNvSpPr/>
                <p:nvPr/>
              </p:nvSpPr>
              <p:spPr>
                <a:xfrm>
                  <a:off x="9194176" y="4724227"/>
                  <a:ext cx="33949" cy="33913"/>
                </a:xfrm>
                <a:custGeom>
                  <a:avLst/>
                  <a:gdLst>
                    <a:gd name="connsiteX0" fmla="*/ 0 w 33949"/>
                    <a:gd name="connsiteY0" fmla="*/ 33914 h 33913"/>
                    <a:gd name="connsiteX1" fmla="*/ 0 w 33949"/>
                    <a:gd name="connsiteY1" fmla="*/ 0 h 33913"/>
                    <a:gd name="connsiteX2" fmla="*/ 33949 w 33949"/>
                    <a:gd name="connsiteY2" fmla="*/ 0 h 3391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33949" h="33913">
                      <a:moveTo>
                        <a:pt x="0" y="33914"/>
                      </a:moveTo>
                      <a:lnTo>
                        <a:pt x="0" y="0"/>
                      </a:lnTo>
                      <a:lnTo>
                        <a:pt x="33949" y="0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979" name="Forma livre: Forma 1978">
                  <a:extLst>
                    <a:ext uri="{FF2B5EF4-FFF2-40B4-BE49-F238E27FC236}">
                      <a16:creationId xmlns:a16="http://schemas.microsoft.com/office/drawing/2014/main" id="{F29E8D08-C407-BB11-9541-3497A8BF2FB2}"/>
                    </a:ext>
                  </a:extLst>
                </p:cNvPr>
                <p:cNvSpPr/>
                <p:nvPr/>
              </p:nvSpPr>
              <p:spPr>
                <a:xfrm>
                  <a:off x="9426720" y="4724227"/>
                  <a:ext cx="33949" cy="33913"/>
                </a:xfrm>
                <a:custGeom>
                  <a:avLst/>
                  <a:gdLst>
                    <a:gd name="connsiteX0" fmla="*/ 33949 w 33949"/>
                    <a:gd name="connsiteY0" fmla="*/ 33914 h 33913"/>
                    <a:gd name="connsiteX1" fmla="*/ 33949 w 33949"/>
                    <a:gd name="connsiteY1" fmla="*/ 0 h 33913"/>
                    <a:gd name="connsiteX2" fmla="*/ 0 w 33949"/>
                    <a:gd name="connsiteY2" fmla="*/ 0 h 3391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33949" h="33913">
                      <a:moveTo>
                        <a:pt x="33949" y="33914"/>
                      </a:moveTo>
                      <a:lnTo>
                        <a:pt x="33949" y="0"/>
                      </a:lnTo>
                      <a:lnTo>
                        <a:pt x="0" y="0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1980" name="Gráfico 18">
                <a:extLst>
                  <a:ext uri="{FF2B5EF4-FFF2-40B4-BE49-F238E27FC236}">
                    <a16:creationId xmlns:a16="http://schemas.microsoft.com/office/drawing/2014/main" id="{E1DB1C89-FF20-6259-4E5D-535397034C18}"/>
                  </a:ext>
                </a:extLst>
              </p:cNvPr>
              <p:cNvGrpSpPr/>
              <p:nvPr/>
            </p:nvGrpSpPr>
            <p:grpSpPr>
              <a:xfrm>
                <a:off x="9194176" y="4957267"/>
                <a:ext cx="266493" cy="33913"/>
                <a:chOff x="9194176" y="4957267"/>
                <a:chExt cx="266493" cy="33913"/>
              </a:xfrm>
              <a:noFill/>
            </p:grpSpPr>
            <p:sp>
              <p:nvSpPr>
                <p:cNvPr id="1981" name="Forma livre: Forma 1980">
                  <a:extLst>
                    <a:ext uri="{FF2B5EF4-FFF2-40B4-BE49-F238E27FC236}">
                      <a16:creationId xmlns:a16="http://schemas.microsoft.com/office/drawing/2014/main" id="{49CDF8FD-F531-7B77-F754-1E7D6D819133}"/>
                    </a:ext>
                  </a:extLst>
                </p:cNvPr>
                <p:cNvSpPr/>
                <p:nvPr/>
              </p:nvSpPr>
              <p:spPr>
                <a:xfrm>
                  <a:off x="9426720" y="4957267"/>
                  <a:ext cx="33949" cy="33913"/>
                </a:xfrm>
                <a:custGeom>
                  <a:avLst/>
                  <a:gdLst>
                    <a:gd name="connsiteX0" fmla="*/ 33949 w 33949"/>
                    <a:gd name="connsiteY0" fmla="*/ 0 h 33913"/>
                    <a:gd name="connsiteX1" fmla="*/ 33949 w 33949"/>
                    <a:gd name="connsiteY1" fmla="*/ 33914 h 33913"/>
                    <a:gd name="connsiteX2" fmla="*/ 0 w 33949"/>
                    <a:gd name="connsiteY2" fmla="*/ 33914 h 3391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33949" h="33913">
                      <a:moveTo>
                        <a:pt x="33949" y="0"/>
                      </a:moveTo>
                      <a:lnTo>
                        <a:pt x="33949" y="33914"/>
                      </a:lnTo>
                      <a:lnTo>
                        <a:pt x="0" y="33914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982" name="Forma livre: Forma 1981">
                  <a:extLst>
                    <a:ext uri="{FF2B5EF4-FFF2-40B4-BE49-F238E27FC236}">
                      <a16:creationId xmlns:a16="http://schemas.microsoft.com/office/drawing/2014/main" id="{A9379E9D-EF16-7BE8-23A6-B2A02450F281}"/>
                    </a:ext>
                  </a:extLst>
                </p:cNvPr>
                <p:cNvSpPr/>
                <p:nvPr/>
              </p:nvSpPr>
              <p:spPr>
                <a:xfrm>
                  <a:off x="9194176" y="4957267"/>
                  <a:ext cx="33949" cy="33913"/>
                </a:xfrm>
                <a:custGeom>
                  <a:avLst/>
                  <a:gdLst>
                    <a:gd name="connsiteX0" fmla="*/ 0 w 33949"/>
                    <a:gd name="connsiteY0" fmla="*/ 0 h 33913"/>
                    <a:gd name="connsiteX1" fmla="*/ 0 w 33949"/>
                    <a:gd name="connsiteY1" fmla="*/ 33914 h 33913"/>
                    <a:gd name="connsiteX2" fmla="*/ 33949 w 33949"/>
                    <a:gd name="connsiteY2" fmla="*/ 33914 h 3391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33949" h="33913">
                      <a:moveTo>
                        <a:pt x="0" y="0"/>
                      </a:moveTo>
                      <a:lnTo>
                        <a:pt x="0" y="33914"/>
                      </a:lnTo>
                      <a:lnTo>
                        <a:pt x="33949" y="33914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grpSp>
          <p:nvGrpSpPr>
            <p:cNvPr id="1983" name="Gráfico 18">
              <a:extLst>
                <a:ext uri="{FF2B5EF4-FFF2-40B4-BE49-F238E27FC236}">
                  <a16:creationId xmlns:a16="http://schemas.microsoft.com/office/drawing/2014/main" id="{E765028F-DBB7-CB88-5061-01A03F0F58E0}"/>
                </a:ext>
              </a:extLst>
            </p:cNvPr>
            <p:cNvGrpSpPr/>
            <p:nvPr/>
          </p:nvGrpSpPr>
          <p:grpSpPr>
            <a:xfrm>
              <a:off x="9182088" y="4777547"/>
              <a:ext cx="290668" cy="160325"/>
              <a:chOff x="9182088" y="4777547"/>
              <a:chExt cx="290668" cy="160325"/>
            </a:xfrm>
            <a:noFill/>
          </p:grpSpPr>
          <p:sp>
            <p:nvSpPr>
              <p:cNvPr id="1984" name="Forma livre: Forma 1983">
                <a:extLst>
                  <a:ext uri="{FF2B5EF4-FFF2-40B4-BE49-F238E27FC236}">
                    <a16:creationId xmlns:a16="http://schemas.microsoft.com/office/drawing/2014/main" id="{746882AE-6072-47F2-D56E-2F1BABCC5FF8}"/>
                  </a:ext>
                </a:extLst>
              </p:cNvPr>
              <p:cNvSpPr/>
              <p:nvPr/>
            </p:nvSpPr>
            <p:spPr>
              <a:xfrm>
                <a:off x="9259146" y="4785042"/>
                <a:ext cx="136528" cy="120167"/>
              </a:xfrm>
              <a:custGeom>
                <a:avLst/>
                <a:gdLst>
                  <a:gd name="connsiteX0" fmla="*/ 112625 w 136528"/>
                  <a:gd name="connsiteY0" fmla="*/ 0 h 120167"/>
                  <a:gd name="connsiteX1" fmla="*/ 136528 w 136528"/>
                  <a:gd name="connsiteY1" fmla="*/ 51892 h 120167"/>
                  <a:gd name="connsiteX2" fmla="*/ 68252 w 136528"/>
                  <a:gd name="connsiteY2" fmla="*/ 120168 h 120167"/>
                  <a:gd name="connsiteX3" fmla="*/ 0 w 136528"/>
                  <a:gd name="connsiteY3" fmla="*/ 51892 h 120167"/>
                  <a:gd name="connsiteX4" fmla="*/ 2101 w 136528"/>
                  <a:gd name="connsiteY4" fmla="*/ 35000 h 1201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36528" h="120167">
                    <a:moveTo>
                      <a:pt x="112625" y="0"/>
                    </a:moveTo>
                    <a:cubicBezTo>
                      <a:pt x="127262" y="12513"/>
                      <a:pt x="136528" y="31128"/>
                      <a:pt x="136528" y="51892"/>
                    </a:cubicBezTo>
                    <a:cubicBezTo>
                      <a:pt x="136528" y="89595"/>
                      <a:pt x="105967" y="120168"/>
                      <a:pt x="68252" y="120168"/>
                    </a:cubicBezTo>
                    <a:cubicBezTo>
                      <a:pt x="30538" y="120168"/>
                      <a:pt x="0" y="89606"/>
                      <a:pt x="0" y="51892"/>
                    </a:cubicBezTo>
                    <a:cubicBezTo>
                      <a:pt x="0" y="46060"/>
                      <a:pt x="732" y="40406"/>
                      <a:pt x="2101" y="35000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985" name="Forma livre: Forma 1984">
                <a:extLst>
                  <a:ext uri="{FF2B5EF4-FFF2-40B4-BE49-F238E27FC236}">
                    <a16:creationId xmlns:a16="http://schemas.microsoft.com/office/drawing/2014/main" id="{BB3ABB1C-879C-0A79-A7A3-32D5B6FD4C4E}"/>
                  </a:ext>
                </a:extLst>
              </p:cNvPr>
              <p:cNvSpPr/>
              <p:nvPr/>
            </p:nvSpPr>
            <p:spPr>
              <a:xfrm>
                <a:off x="9299139" y="4808663"/>
                <a:ext cx="56542" cy="56542"/>
              </a:xfrm>
              <a:custGeom>
                <a:avLst/>
                <a:gdLst>
                  <a:gd name="connsiteX0" fmla="*/ 28271 w 56542"/>
                  <a:gd name="connsiteY0" fmla="*/ 0 h 56542"/>
                  <a:gd name="connsiteX1" fmla="*/ 56542 w 56542"/>
                  <a:gd name="connsiteY1" fmla="*/ 28271 h 56542"/>
                  <a:gd name="connsiteX2" fmla="*/ 28271 w 56542"/>
                  <a:gd name="connsiteY2" fmla="*/ 56542 h 56542"/>
                  <a:gd name="connsiteX3" fmla="*/ 0 w 56542"/>
                  <a:gd name="connsiteY3" fmla="*/ 28271 h 565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6542" h="56542">
                    <a:moveTo>
                      <a:pt x="28271" y="0"/>
                    </a:moveTo>
                    <a:cubicBezTo>
                      <a:pt x="43888" y="0"/>
                      <a:pt x="56542" y="12654"/>
                      <a:pt x="56542" y="28271"/>
                    </a:cubicBezTo>
                    <a:cubicBezTo>
                      <a:pt x="56542" y="43888"/>
                      <a:pt x="43888" y="56542"/>
                      <a:pt x="28271" y="56542"/>
                    </a:cubicBezTo>
                    <a:cubicBezTo>
                      <a:pt x="12654" y="56542"/>
                      <a:pt x="0" y="43888"/>
                      <a:pt x="0" y="28271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986" name="Forma livre: Forma 1985">
                <a:extLst>
                  <a:ext uri="{FF2B5EF4-FFF2-40B4-BE49-F238E27FC236}">
                    <a16:creationId xmlns:a16="http://schemas.microsoft.com/office/drawing/2014/main" id="{56034D7B-9007-9C5C-512B-6B120DC0BFE4}"/>
                  </a:ext>
                </a:extLst>
              </p:cNvPr>
              <p:cNvSpPr/>
              <p:nvPr/>
            </p:nvSpPr>
            <p:spPr>
              <a:xfrm>
                <a:off x="9182088" y="4777547"/>
                <a:ext cx="290668" cy="160325"/>
              </a:xfrm>
              <a:custGeom>
                <a:avLst/>
                <a:gdLst>
                  <a:gd name="connsiteX0" fmla="*/ 290669 w 290668"/>
                  <a:gd name="connsiteY0" fmla="*/ 78097 h 160325"/>
                  <a:gd name="connsiteX1" fmla="*/ 145334 w 290668"/>
                  <a:gd name="connsiteY1" fmla="*/ 160326 h 160325"/>
                  <a:gd name="connsiteX2" fmla="*/ 0 w 290668"/>
                  <a:gd name="connsiteY2" fmla="*/ 80163 h 160325"/>
                  <a:gd name="connsiteX3" fmla="*/ 145334 w 290668"/>
                  <a:gd name="connsiteY3" fmla="*/ 0 h 160325"/>
                  <a:gd name="connsiteX4" fmla="*/ 290669 w 290668"/>
                  <a:gd name="connsiteY4" fmla="*/ 78097 h 1603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90668" h="160325">
                    <a:moveTo>
                      <a:pt x="290669" y="78097"/>
                    </a:moveTo>
                    <a:cubicBezTo>
                      <a:pt x="290669" y="78097"/>
                      <a:pt x="225604" y="160326"/>
                      <a:pt x="145334" y="160326"/>
                    </a:cubicBezTo>
                    <a:cubicBezTo>
                      <a:pt x="65065" y="160326"/>
                      <a:pt x="0" y="80163"/>
                      <a:pt x="0" y="80163"/>
                    </a:cubicBezTo>
                    <a:cubicBezTo>
                      <a:pt x="0" y="80163"/>
                      <a:pt x="65065" y="0"/>
                      <a:pt x="145334" y="0"/>
                    </a:cubicBezTo>
                    <a:cubicBezTo>
                      <a:pt x="225604" y="0"/>
                      <a:pt x="290669" y="78097"/>
                      <a:pt x="290669" y="78097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987" name="Gráfico 18">
            <a:extLst>
              <a:ext uri="{FF2B5EF4-FFF2-40B4-BE49-F238E27FC236}">
                <a16:creationId xmlns:a16="http://schemas.microsoft.com/office/drawing/2014/main" id="{CF67DFE7-C5CD-AC12-CBD6-9AC8F098F6FE}"/>
              </a:ext>
            </a:extLst>
          </p:cNvPr>
          <p:cNvGrpSpPr/>
          <p:nvPr/>
        </p:nvGrpSpPr>
        <p:grpSpPr>
          <a:xfrm>
            <a:off x="7930291" y="4747587"/>
            <a:ext cx="372059" cy="220244"/>
            <a:chOff x="7930291" y="4747587"/>
            <a:chExt cx="372059" cy="220244"/>
          </a:xfrm>
        </p:grpSpPr>
        <p:grpSp>
          <p:nvGrpSpPr>
            <p:cNvPr id="1988" name="Gráfico 18">
              <a:extLst>
                <a:ext uri="{FF2B5EF4-FFF2-40B4-BE49-F238E27FC236}">
                  <a16:creationId xmlns:a16="http://schemas.microsoft.com/office/drawing/2014/main" id="{18B88BBB-C06A-A66A-CA52-CB481F75CB4F}"/>
                </a:ext>
              </a:extLst>
            </p:cNvPr>
            <p:cNvGrpSpPr/>
            <p:nvPr/>
          </p:nvGrpSpPr>
          <p:grpSpPr>
            <a:xfrm>
              <a:off x="7930291" y="4747587"/>
              <a:ext cx="311633" cy="220244"/>
              <a:chOff x="7930291" y="4747587"/>
              <a:chExt cx="311633" cy="220244"/>
            </a:xfrm>
            <a:noFill/>
          </p:grpSpPr>
          <p:sp>
            <p:nvSpPr>
              <p:cNvPr id="1989" name="Forma livre: Forma 1988">
                <a:extLst>
                  <a:ext uri="{FF2B5EF4-FFF2-40B4-BE49-F238E27FC236}">
                    <a16:creationId xmlns:a16="http://schemas.microsoft.com/office/drawing/2014/main" id="{2D2D4DAF-6595-9D93-55EB-9722A8F216C9}"/>
                  </a:ext>
                </a:extLst>
              </p:cNvPr>
              <p:cNvSpPr/>
              <p:nvPr/>
            </p:nvSpPr>
            <p:spPr>
              <a:xfrm>
                <a:off x="7962788" y="4747587"/>
                <a:ext cx="279135" cy="170843"/>
              </a:xfrm>
              <a:custGeom>
                <a:avLst/>
                <a:gdLst>
                  <a:gd name="connsiteX0" fmla="*/ 0 w 279135"/>
                  <a:gd name="connsiteY0" fmla="*/ 170843 h 170843"/>
                  <a:gd name="connsiteX1" fmla="*/ 0 w 279135"/>
                  <a:gd name="connsiteY1" fmla="*/ 20374 h 170843"/>
                  <a:gd name="connsiteX2" fmla="*/ 20362 w 279135"/>
                  <a:gd name="connsiteY2" fmla="*/ 0 h 170843"/>
                  <a:gd name="connsiteX3" fmla="*/ 258750 w 279135"/>
                  <a:gd name="connsiteY3" fmla="*/ 0 h 170843"/>
                  <a:gd name="connsiteX4" fmla="*/ 279136 w 279135"/>
                  <a:gd name="connsiteY4" fmla="*/ 20374 h 170843"/>
                  <a:gd name="connsiteX5" fmla="*/ 279136 w 279135"/>
                  <a:gd name="connsiteY5" fmla="*/ 51655 h 1708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79135" h="170843">
                    <a:moveTo>
                      <a:pt x="0" y="170843"/>
                    </a:moveTo>
                    <a:lnTo>
                      <a:pt x="0" y="20374"/>
                    </a:lnTo>
                    <a:cubicBezTo>
                      <a:pt x="0" y="9160"/>
                      <a:pt x="9172" y="0"/>
                      <a:pt x="20362" y="0"/>
                    </a:cubicBezTo>
                    <a:lnTo>
                      <a:pt x="258750" y="0"/>
                    </a:lnTo>
                    <a:cubicBezTo>
                      <a:pt x="269964" y="0"/>
                      <a:pt x="279136" y="9172"/>
                      <a:pt x="279136" y="20374"/>
                    </a:cubicBezTo>
                    <a:lnTo>
                      <a:pt x="279136" y="51655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990" name="Forma livre: Forma 1989">
                <a:extLst>
                  <a:ext uri="{FF2B5EF4-FFF2-40B4-BE49-F238E27FC236}">
                    <a16:creationId xmlns:a16="http://schemas.microsoft.com/office/drawing/2014/main" id="{073BF8DC-699D-0C50-F9BB-7E94772AE7FF}"/>
                  </a:ext>
                </a:extLst>
              </p:cNvPr>
              <p:cNvSpPr/>
              <p:nvPr/>
            </p:nvSpPr>
            <p:spPr>
              <a:xfrm>
                <a:off x="7930291" y="4940871"/>
                <a:ext cx="232001" cy="26961"/>
              </a:xfrm>
              <a:custGeom>
                <a:avLst/>
                <a:gdLst>
                  <a:gd name="connsiteX0" fmla="*/ 232001 w 232001"/>
                  <a:gd name="connsiteY0" fmla="*/ 0 h 26961"/>
                  <a:gd name="connsiteX1" fmla="*/ 0 w 232001"/>
                  <a:gd name="connsiteY1" fmla="*/ 0 h 26961"/>
                  <a:gd name="connsiteX2" fmla="*/ 25651 w 232001"/>
                  <a:gd name="connsiteY2" fmla="*/ 26961 h 26961"/>
                  <a:gd name="connsiteX3" fmla="*/ 232001 w 232001"/>
                  <a:gd name="connsiteY3" fmla="*/ 26961 h 269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32001" h="26961">
                    <a:moveTo>
                      <a:pt x="232001" y="0"/>
                    </a:moveTo>
                    <a:lnTo>
                      <a:pt x="0" y="0"/>
                    </a:lnTo>
                    <a:cubicBezTo>
                      <a:pt x="0" y="0"/>
                      <a:pt x="5938" y="26961"/>
                      <a:pt x="25651" y="26961"/>
                    </a:cubicBezTo>
                    <a:lnTo>
                      <a:pt x="232001" y="26961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991" name="Gráfico 18">
              <a:extLst>
                <a:ext uri="{FF2B5EF4-FFF2-40B4-BE49-F238E27FC236}">
                  <a16:creationId xmlns:a16="http://schemas.microsoft.com/office/drawing/2014/main" id="{AEB686DB-C0DC-81DF-C3AC-E7CAD70061AD}"/>
                </a:ext>
              </a:extLst>
            </p:cNvPr>
            <p:cNvGrpSpPr/>
            <p:nvPr/>
          </p:nvGrpSpPr>
          <p:grpSpPr>
            <a:xfrm>
              <a:off x="8182536" y="4819877"/>
              <a:ext cx="119813" cy="147954"/>
              <a:chOff x="8182536" y="4819877"/>
              <a:chExt cx="119813" cy="147954"/>
            </a:xfrm>
          </p:grpSpPr>
          <p:sp>
            <p:nvSpPr>
              <p:cNvPr id="1992" name="Forma livre: Forma 1991">
                <a:extLst>
                  <a:ext uri="{FF2B5EF4-FFF2-40B4-BE49-F238E27FC236}">
                    <a16:creationId xmlns:a16="http://schemas.microsoft.com/office/drawing/2014/main" id="{0819A577-CF18-C5A2-6792-534484DC2BDC}"/>
                  </a:ext>
                </a:extLst>
              </p:cNvPr>
              <p:cNvSpPr/>
              <p:nvPr/>
            </p:nvSpPr>
            <p:spPr>
              <a:xfrm>
                <a:off x="8242431" y="4907559"/>
                <a:ext cx="1180" cy="29758"/>
              </a:xfrm>
              <a:custGeom>
                <a:avLst/>
                <a:gdLst>
                  <a:gd name="connsiteX0" fmla="*/ 0 w 1180"/>
                  <a:gd name="connsiteY0" fmla="*/ 0 h 29758"/>
                  <a:gd name="connsiteX1" fmla="*/ 0 w 1180"/>
                  <a:gd name="connsiteY1" fmla="*/ 29759 h 297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80" h="29758">
                    <a:moveTo>
                      <a:pt x="0" y="0"/>
                    </a:moveTo>
                    <a:lnTo>
                      <a:pt x="0" y="29759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993" name="Forma livre: Forma 1992">
                <a:extLst>
                  <a:ext uri="{FF2B5EF4-FFF2-40B4-BE49-F238E27FC236}">
                    <a16:creationId xmlns:a16="http://schemas.microsoft.com/office/drawing/2014/main" id="{736CA736-93DF-28EA-9A6B-624FDA39C39B}"/>
                  </a:ext>
                </a:extLst>
              </p:cNvPr>
              <p:cNvSpPr/>
              <p:nvPr/>
            </p:nvSpPr>
            <p:spPr>
              <a:xfrm>
                <a:off x="8235927" y="4899426"/>
                <a:ext cx="13008" cy="13008"/>
              </a:xfrm>
              <a:custGeom>
                <a:avLst/>
                <a:gdLst>
                  <a:gd name="connsiteX0" fmla="*/ 13008 w 13008"/>
                  <a:gd name="connsiteY0" fmla="*/ 6504 h 13008"/>
                  <a:gd name="connsiteX1" fmla="*/ 6504 w 13008"/>
                  <a:gd name="connsiteY1" fmla="*/ 13008 h 13008"/>
                  <a:gd name="connsiteX2" fmla="*/ 0 w 13008"/>
                  <a:gd name="connsiteY2" fmla="*/ 6504 h 13008"/>
                  <a:gd name="connsiteX3" fmla="*/ 6504 w 13008"/>
                  <a:gd name="connsiteY3" fmla="*/ 0 h 13008"/>
                  <a:gd name="connsiteX4" fmla="*/ 13008 w 13008"/>
                  <a:gd name="connsiteY4" fmla="*/ 6504 h 130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3008" h="13008">
                    <a:moveTo>
                      <a:pt x="13008" y="6504"/>
                    </a:moveTo>
                    <a:cubicBezTo>
                      <a:pt x="13008" y="10093"/>
                      <a:pt x="10104" y="13008"/>
                      <a:pt x="6504" y="13008"/>
                    </a:cubicBezTo>
                    <a:cubicBezTo>
                      <a:pt x="2904" y="13008"/>
                      <a:pt x="0" y="10105"/>
                      <a:pt x="0" y="6504"/>
                    </a:cubicBezTo>
                    <a:cubicBezTo>
                      <a:pt x="0" y="2904"/>
                      <a:pt x="2904" y="0"/>
                      <a:pt x="6504" y="0"/>
                    </a:cubicBezTo>
                    <a:cubicBezTo>
                      <a:pt x="10104" y="0"/>
                      <a:pt x="13008" y="2904"/>
                      <a:pt x="13008" y="6504"/>
                    </a:cubicBezTo>
                    <a:close/>
                  </a:path>
                </a:pathLst>
              </a:custGeom>
              <a:solidFill>
                <a:srgbClr val="FF8B00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994" name="Forma livre: Forma 1993">
                <a:extLst>
                  <a:ext uri="{FF2B5EF4-FFF2-40B4-BE49-F238E27FC236}">
                    <a16:creationId xmlns:a16="http://schemas.microsoft.com/office/drawing/2014/main" id="{25EA3F8F-0E4D-D1D7-283B-7F3A18A916BB}"/>
                  </a:ext>
                </a:extLst>
              </p:cNvPr>
              <p:cNvSpPr/>
              <p:nvPr/>
            </p:nvSpPr>
            <p:spPr>
              <a:xfrm>
                <a:off x="8182536" y="4819877"/>
                <a:ext cx="119813" cy="147954"/>
              </a:xfrm>
              <a:custGeom>
                <a:avLst/>
                <a:gdLst>
                  <a:gd name="connsiteX0" fmla="*/ 97291 w 119813"/>
                  <a:gd name="connsiteY0" fmla="*/ 45848 h 147954"/>
                  <a:gd name="connsiteX1" fmla="*/ 119814 w 119813"/>
                  <a:gd name="connsiteY1" fmla="*/ 45848 h 147954"/>
                  <a:gd name="connsiteX2" fmla="*/ 119814 w 119813"/>
                  <a:gd name="connsiteY2" fmla="*/ 147955 h 147954"/>
                  <a:gd name="connsiteX3" fmla="*/ 0 w 119813"/>
                  <a:gd name="connsiteY3" fmla="*/ 147955 h 147954"/>
                  <a:gd name="connsiteX4" fmla="*/ 0 w 119813"/>
                  <a:gd name="connsiteY4" fmla="*/ 45848 h 147954"/>
                  <a:gd name="connsiteX5" fmla="*/ 22534 w 119813"/>
                  <a:gd name="connsiteY5" fmla="*/ 45848 h 147954"/>
                  <a:gd name="connsiteX6" fmla="*/ 22534 w 119813"/>
                  <a:gd name="connsiteY6" fmla="*/ 28330 h 147954"/>
                  <a:gd name="connsiteX7" fmla="*/ 50865 w 119813"/>
                  <a:gd name="connsiteY7" fmla="*/ 0 h 147954"/>
                  <a:gd name="connsiteX8" fmla="*/ 68972 w 119813"/>
                  <a:gd name="connsiteY8" fmla="*/ 0 h 147954"/>
                  <a:gd name="connsiteX9" fmla="*/ 97303 w 119813"/>
                  <a:gd name="connsiteY9" fmla="*/ 28330 h 147954"/>
                  <a:gd name="connsiteX10" fmla="*/ 97303 w 119813"/>
                  <a:gd name="connsiteY10" fmla="*/ 45848 h 1479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119813" h="147954">
                    <a:moveTo>
                      <a:pt x="97291" y="45848"/>
                    </a:moveTo>
                    <a:lnTo>
                      <a:pt x="119814" y="45848"/>
                    </a:lnTo>
                    <a:lnTo>
                      <a:pt x="119814" y="147955"/>
                    </a:lnTo>
                    <a:lnTo>
                      <a:pt x="0" y="147955"/>
                    </a:lnTo>
                    <a:lnTo>
                      <a:pt x="0" y="45848"/>
                    </a:lnTo>
                    <a:lnTo>
                      <a:pt x="22534" y="45848"/>
                    </a:lnTo>
                    <a:lnTo>
                      <a:pt x="22534" y="28330"/>
                    </a:lnTo>
                    <a:cubicBezTo>
                      <a:pt x="22534" y="12749"/>
                      <a:pt x="35283" y="0"/>
                      <a:pt x="50865" y="0"/>
                    </a:cubicBezTo>
                    <a:lnTo>
                      <a:pt x="68972" y="0"/>
                    </a:lnTo>
                    <a:cubicBezTo>
                      <a:pt x="84554" y="0"/>
                      <a:pt x="97303" y="12749"/>
                      <a:pt x="97303" y="28330"/>
                    </a:cubicBezTo>
                    <a:lnTo>
                      <a:pt x="97303" y="45848"/>
                    </a:lnTo>
                    <a:close/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995" name="Forma livre: Forma 1994">
                <a:extLst>
                  <a:ext uri="{FF2B5EF4-FFF2-40B4-BE49-F238E27FC236}">
                    <a16:creationId xmlns:a16="http://schemas.microsoft.com/office/drawing/2014/main" id="{EC59D322-B67A-A030-030D-C9D4025920B0}"/>
                  </a:ext>
                </a:extLst>
              </p:cNvPr>
              <p:cNvSpPr/>
              <p:nvPr/>
            </p:nvSpPr>
            <p:spPr>
              <a:xfrm>
                <a:off x="8224961" y="4865725"/>
                <a:ext cx="35046" cy="1180"/>
              </a:xfrm>
              <a:custGeom>
                <a:avLst/>
                <a:gdLst>
                  <a:gd name="connsiteX0" fmla="*/ 0 w 35046"/>
                  <a:gd name="connsiteY0" fmla="*/ 0 h 1180"/>
                  <a:gd name="connsiteX1" fmla="*/ 35047 w 35046"/>
                  <a:gd name="connsiteY1" fmla="*/ 0 h 11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5046" h="1180">
                    <a:moveTo>
                      <a:pt x="0" y="0"/>
                    </a:moveTo>
                    <a:lnTo>
                      <a:pt x="35047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996" name="Gráfico 18">
            <a:extLst>
              <a:ext uri="{FF2B5EF4-FFF2-40B4-BE49-F238E27FC236}">
                <a16:creationId xmlns:a16="http://schemas.microsoft.com/office/drawing/2014/main" id="{FAD4CE9C-8B95-2875-92DE-D61B8CCA6FCF}"/>
              </a:ext>
            </a:extLst>
          </p:cNvPr>
          <p:cNvGrpSpPr/>
          <p:nvPr/>
        </p:nvGrpSpPr>
        <p:grpSpPr>
          <a:xfrm>
            <a:off x="8578239" y="4150550"/>
            <a:ext cx="265989" cy="363279"/>
            <a:chOff x="8578239" y="4150550"/>
            <a:chExt cx="265989" cy="363279"/>
          </a:xfrm>
          <a:noFill/>
        </p:grpSpPr>
        <p:sp>
          <p:nvSpPr>
            <p:cNvPr id="1997" name="Forma livre: Forma 1996">
              <a:extLst>
                <a:ext uri="{FF2B5EF4-FFF2-40B4-BE49-F238E27FC236}">
                  <a16:creationId xmlns:a16="http://schemas.microsoft.com/office/drawing/2014/main" id="{CCFF3BA3-E611-EF8C-C4F4-24975702CCFB}"/>
                </a:ext>
              </a:extLst>
            </p:cNvPr>
            <p:cNvSpPr/>
            <p:nvPr/>
          </p:nvSpPr>
          <p:spPr>
            <a:xfrm>
              <a:off x="8638300" y="4279807"/>
              <a:ext cx="61110" cy="94233"/>
            </a:xfrm>
            <a:custGeom>
              <a:avLst/>
              <a:gdLst>
                <a:gd name="connsiteX0" fmla="*/ 61111 w 61110"/>
                <a:gd name="connsiteY0" fmla="*/ 91212 h 94233"/>
                <a:gd name="connsiteX1" fmla="*/ 45010 w 61110"/>
                <a:gd name="connsiteY1" fmla="*/ 94234 h 94233"/>
                <a:gd name="connsiteX2" fmla="*/ 0 w 61110"/>
                <a:gd name="connsiteY2" fmla="*/ 48799 h 94233"/>
                <a:gd name="connsiteX3" fmla="*/ 0 w 61110"/>
                <a:gd name="connsiteY3" fmla="*/ 0 h 94233"/>
                <a:gd name="connsiteX4" fmla="*/ 32273 w 61110"/>
                <a:gd name="connsiteY4" fmla="*/ 29334 h 942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1110" h="94233">
                  <a:moveTo>
                    <a:pt x="61111" y="91212"/>
                  </a:moveTo>
                  <a:cubicBezTo>
                    <a:pt x="56106" y="93159"/>
                    <a:pt x="50676" y="94234"/>
                    <a:pt x="45010" y="94234"/>
                  </a:cubicBezTo>
                  <a:cubicBezTo>
                    <a:pt x="20256" y="94234"/>
                    <a:pt x="0" y="73789"/>
                    <a:pt x="0" y="48799"/>
                  </a:cubicBezTo>
                  <a:lnTo>
                    <a:pt x="0" y="0"/>
                  </a:lnTo>
                  <a:lnTo>
                    <a:pt x="32273" y="29334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998" name="Gráfico 18">
              <a:extLst>
                <a:ext uri="{FF2B5EF4-FFF2-40B4-BE49-F238E27FC236}">
                  <a16:creationId xmlns:a16="http://schemas.microsoft.com/office/drawing/2014/main" id="{FB2CFBE2-DAA3-EDB8-AF37-FB62FF653AB9}"/>
                </a:ext>
              </a:extLst>
            </p:cNvPr>
            <p:cNvGrpSpPr/>
            <p:nvPr/>
          </p:nvGrpSpPr>
          <p:grpSpPr>
            <a:xfrm>
              <a:off x="8707686" y="4150550"/>
              <a:ext cx="38706" cy="185964"/>
              <a:chOff x="8707686" y="4150550"/>
              <a:chExt cx="38706" cy="185964"/>
            </a:xfrm>
            <a:noFill/>
          </p:grpSpPr>
          <p:sp>
            <p:nvSpPr>
              <p:cNvPr id="1999" name="Forma livre: Forma 1998">
                <a:extLst>
                  <a:ext uri="{FF2B5EF4-FFF2-40B4-BE49-F238E27FC236}">
                    <a16:creationId xmlns:a16="http://schemas.microsoft.com/office/drawing/2014/main" id="{BB2D8CA1-236A-BB9C-329D-4D098121AE2E}"/>
                  </a:ext>
                </a:extLst>
              </p:cNvPr>
              <p:cNvSpPr/>
              <p:nvPr/>
            </p:nvSpPr>
            <p:spPr>
              <a:xfrm>
                <a:off x="8707686" y="4227797"/>
                <a:ext cx="38706" cy="38694"/>
              </a:xfrm>
              <a:custGeom>
                <a:avLst/>
                <a:gdLst>
                  <a:gd name="connsiteX0" fmla="*/ 38706 w 38706"/>
                  <a:gd name="connsiteY0" fmla="*/ 19347 h 38694"/>
                  <a:gd name="connsiteX1" fmla="*/ 19347 w 38706"/>
                  <a:gd name="connsiteY1" fmla="*/ 38694 h 38694"/>
                  <a:gd name="connsiteX2" fmla="*/ 0 w 38706"/>
                  <a:gd name="connsiteY2" fmla="*/ 19347 h 38694"/>
                  <a:gd name="connsiteX3" fmla="*/ 19347 w 38706"/>
                  <a:gd name="connsiteY3" fmla="*/ 0 h 38694"/>
                  <a:gd name="connsiteX4" fmla="*/ 38706 w 38706"/>
                  <a:gd name="connsiteY4" fmla="*/ 19347 h 386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8706" h="38694">
                    <a:moveTo>
                      <a:pt x="38706" y="19347"/>
                    </a:moveTo>
                    <a:cubicBezTo>
                      <a:pt x="38706" y="30030"/>
                      <a:pt x="30042" y="38694"/>
                      <a:pt x="19347" y="38694"/>
                    </a:cubicBezTo>
                    <a:cubicBezTo>
                      <a:pt x="8653" y="38694"/>
                      <a:pt x="0" y="30030"/>
                      <a:pt x="0" y="19347"/>
                    </a:cubicBezTo>
                    <a:cubicBezTo>
                      <a:pt x="0" y="8664"/>
                      <a:pt x="8664" y="0"/>
                      <a:pt x="19347" y="0"/>
                    </a:cubicBezTo>
                    <a:cubicBezTo>
                      <a:pt x="30030" y="0"/>
                      <a:pt x="38706" y="8664"/>
                      <a:pt x="38706" y="19347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000" name="Forma livre: Forma 1999">
                <a:extLst>
                  <a:ext uri="{FF2B5EF4-FFF2-40B4-BE49-F238E27FC236}">
                    <a16:creationId xmlns:a16="http://schemas.microsoft.com/office/drawing/2014/main" id="{0BB56A6B-F6FC-FA29-4AB4-EE32EEA91B31}"/>
                  </a:ext>
                </a:extLst>
              </p:cNvPr>
              <p:cNvSpPr/>
              <p:nvPr/>
            </p:nvSpPr>
            <p:spPr>
              <a:xfrm>
                <a:off x="8727045" y="4267342"/>
                <a:ext cx="1180" cy="69173"/>
              </a:xfrm>
              <a:custGeom>
                <a:avLst/>
                <a:gdLst>
                  <a:gd name="connsiteX0" fmla="*/ 0 w 1180"/>
                  <a:gd name="connsiteY0" fmla="*/ 0 h 69173"/>
                  <a:gd name="connsiteX1" fmla="*/ 0 w 1180"/>
                  <a:gd name="connsiteY1" fmla="*/ 69173 h 691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80" h="69173">
                    <a:moveTo>
                      <a:pt x="0" y="0"/>
                    </a:moveTo>
                    <a:lnTo>
                      <a:pt x="0" y="69173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001" name="Forma livre: Forma 2000">
                <a:extLst>
                  <a:ext uri="{FF2B5EF4-FFF2-40B4-BE49-F238E27FC236}">
                    <a16:creationId xmlns:a16="http://schemas.microsoft.com/office/drawing/2014/main" id="{70FB77D3-6782-F135-05C0-98163900C401}"/>
                  </a:ext>
                </a:extLst>
              </p:cNvPr>
              <p:cNvSpPr/>
              <p:nvPr/>
            </p:nvSpPr>
            <p:spPr>
              <a:xfrm>
                <a:off x="8727033" y="4150550"/>
                <a:ext cx="1180" cy="75559"/>
              </a:xfrm>
              <a:custGeom>
                <a:avLst/>
                <a:gdLst>
                  <a:gd name="connsiteX0" fmla="*/ 0 w 1180"/>
                  <a:gd name="connsiteY0" fmla="*/ 75559 h 75559"/>
                  <a:gd name="connsiteX1" fmla="*/ 0 w 1180"/>
                  <a:gd name="connsiteY1" fmla="*/ 0 h 755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80" h="75559">
                    <a:moveTo>
                      <a:pt x="0" y="75559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2002" name="Gráfico 18">
              <a:extLst>
                <a:ext uri="{FF2B5EF4-FFF2-40B4-BE49-F238E27FC236}">
                  <a16:creationId xmlns:a16="http://schemas.microsoft.com/office/drawing/2014/main" id="{57A969EA-A0F3-DF09-1629-9078E45D7F91}"/>
                </a:ext>
              </a:extLst>
            </p:cNvPr>
            <p:cNvGrpSpPr/>
            <p:nvPr/>
          </p:nvGrpSpPr>
          <p:grpSpPr>
            <a:xfrm>
              <a:off x="8578239" y="4325014"/>
              <a:ext cx="265989" cy="188816"/>
              <a:chOff x="8578239" y="4325014"/>
              <a:chExt cx="265989" cy="188816"/>
            </a:xfrm>
            <a:noFill/>
          </p:grpSpPr>
          <p:grpSp>
            <p:nvGrpSpPr>
              <p:cNvPr id="2003" name="Gráfico 18">
                <a:extLst>
                  <a:ext uri="{FF2B5EF4-FFF2-40B4-BE49-F238E27FC236}">
                    <a16:creationId xmlns:a16="http://schemas.microsoft.com/office/drawing/2014/main" id="{E4473833-91F7-B639-2D6A-4A8E3CB00F36}"/>
                  </a:ext>
                </a:extLst>
              </p:cNvPr>
              <p:cNvGrpSpPr/>
              <p:nvPr/>
            </p:nvGrpSpPr>
            <p:grpSpPr>
              <a:xfrm>
                <a:off x="8578239" y="4325014"/>
                <a:ext cx="265989" cy="188816"/>
                <a:chOff x="8578239" y="4325014"/>
                <a:chExt cx="265989" cy="188816"/>
              </a:xfrm>
              <a:noFill/>
            </p:grpSpPr>
            <p:sp>
              <p:nvSpPr>
                <p:cNvPr id="2004" name="Forma livre: Forma 2003">
                  <a:extLst>
                    <a:ext uri="{FF2B5EF4-FFF2-40B4-BE49-F238E27FC236}">
                      <a16:creationId xmlns:a16="http://schemas.microsoft.com/office/drawing/2014/main" id="{CDB8FF19-F4D6-DDA3-E268-2291DE1C7506}"/>
                    </a:ext>
                  </a:extLst>
                </p:cNvPr>
                <p:cNvSpPr/>
                <p:nvPr/>
              </p:nvSpPr>
              <p:spPr>
                <a:xfrm>
                  <a:off x="8578239" y="4325014"/>
                  <a:ext cx="265989" cy="188816"/>
                </a:xfrm>
                <a:custGeom>
                  <a:avLst/>
                  <a:gdLst>
                    <a:gd name="connsiteX0" fmla="*/ 67781 w 265989"/>
                    <a:gd name="connsiteY0" fmla="*/ 27177 h 188816"/>
                    <a:gd name="connsiteX1" fmla="*/ 216834 w 265989"/>
                    <a:gd name="connsiteY1" fmla="*/ 417 h 188816"/>
                    <a:gd name="connsiteX2" fmla="*/ 247525 w 265989"/>
                    <a:gd name="connsiteY2" fmla="*/ 21771 h 188816"/>
                    <a:gd name="connsiteX3" fmla="*/ 265574 w 265989"/>
                    <a:gd name="connsiteY3" fmla="*/ 122296 h 188816"/>
                    <a:gd name="connsiteX4" fmla="*/ 244302 w 265989"/>
                    <a:gd name="connsiteY4" fmla="*/ 153377 h 188816"/>
                    <a:gd name="connsiteX5" fmla="*/ 49213 w 265989"/>
                    <a:gd name="connsiteY5" fmla="*/ 188412 h 188816"/>
                    <a:gd name="connsiteX6" fmla="*/ 18463 w 265989"/>
                    <a:gd name="connsiteY6" fmla="*/ 166668 h 188816"/>
                    <a:gd name="connsiteX7" fmla="*/ 414 w 265989"/>
                    <a:gd name="connsiteY7" fmla="*/ 66143 h 188816"/>
                    <a:gd name="connsiteX8" fmla="*/ 21756 w 265989"/>
                    <a:gd name="connsiteY8" fmla="*/ 35452 h 188816"/>
                    <a:gd name="connsiteX9" fmla="*/ 42095 w 265989"/>
                    <a:gd name="connsiteY9" fmla="*/ 31805 h 18881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265989" h="188816">
                      <a:moveTo>
                        <a:pt x="67781" y="27177"/>
                      </a:moveTo>
                      <a:lnTo>
                        <a:pt x="216834" y="417"/>
                      </a:lnTo>
                      <a:cubicBezTo>
                        <a:pt x="231141" y="-2156"/>
                        <a:pt x="244951" y="7452"/>
                        <a:pt x="247525" y="21771"/>
                      </a:cubicBezTo>
                      <a:lnTo>
                        <a:pt x="265574" y="122296"/>
                      </a:lnTo>
                      <a:cubicBezTo>
                        <a:pt x="268135" y="136615"/>
                        <a:pt x="258609" y="150804"/>
                        <a:pt x="244302" y="153377"/>
                      </a:cubicBezTo>
                      <a:lnTo>
                        <a:pt x="49213" y="188412"/>
                      </a:lnTo>
                      <a:cubicBezTo>
                        <a:pt x="34906" y="190985"/>
                        <a:pt x="21036" y="180987"/>
                        <a:pt x="18463" y="166668"/>
                      </a:cubicBezTo>
                      <a:lnTo>
                        <a:pt x="414" y="66143"/>
                      </a:lnTo>
                      <a:cubicBezTo>
                        <a:pt x="-2148" y="51836"/>
                        <a:pt x="7449" y="38025"/>
                        <a:pt x="21756" y="35452"/>
                      </a:cubicBezTo>
                      <a:lnTo>
                        <a:pt x="42095" y="31805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005" name="Forma livre: Forma 2004">
                  <a:extLst>
                    <a:ext uri="{FF2B5EF4-FFF2-40B4-BE49-F238E27FC236}">
                      <a16:creationId xmlns:a16="http://schemas.microsoft.com/office/drawing/2014/main" id="{283EFC58-5D37-90A3-2290-6D5B85454E65}"/>
                    </a:ext>
                  </a:extLst>
                </p:cNvPr>
                <p:cNvSpPr/>
                <p:nvPr/>
              </p:nvSpPr>
              <p:spPr>
                <a:xfrm>
                  <a:off x="8626047" y="4451441"/>
                  <a:ext cx="124653" cy="22380"/>
                </a:xfrm>
                <a:custGeom>
                  <a:avLst/>
                  <a:gdLst>
                    <a:gd name="connsiteX0" fmla="*/ 0 w 124653"/>
                    <a:gd name="connsiteY0" fmla="*/ 22381 h 22380"/>
                    <a:gd name="connsiteX1" fmla="*/ 124653 w 124653"/>
                    <a:gd name="connsiteY1" fmla="*/ 0 h 223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24653" h="22380">
                      <a:moveTo>
                        <a:pt x="0" y="22381"/>
                      </a:moveTo>
                      <a:lnTo>
                        <a:pt x="124653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006" name="Forma livre: Forma 2005">
                  <a:extLst>
                    <a:ext uri="{FF2B5EF4-FFF2-40B4-BE49-F238E27FC236}">
                      <a16:creationId xmlns:a16="http://schemas.microsoft.com/office/drawing/2014/main" id="{D04493D3-31A4-F496-13B3-34DF1E91E431}"/>
                    </a:ext>
                  </a:extLst>
                </p:cNvPr>
                <p:cNvSpPr/>
                <p:nvPr/>
              </p:nvSpPr>
              <p:spPr>
                <a:xfrm>
                  <a:off x="8620924" y="4430536"/>
                  <a:ext cx="82346" cy="14790"/>
                </a:xfrm>
                <a:custGeom>
                  <a:avLst/>
                  <a:gdLst>
                    <a:gd name="connsiteX0" fmla="*/ 0 w 82346"/>
                    <a:gd name="connsiteY0" fmla="*/ 14791 h 14790"/>
                    <a:gd name="connsiteX1" fmla="*/ 82347 w 82346"/>
                    <a:gd name="connsiteY1" fmla="*/ 0 h 147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82346" h="14790">
                      <a:moveTo>
                        <a:pt x="0" y="14791"/>
                      </a:moveTo>
                      <a:lnTo>
                        <a:pt x="82347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2007" name="Forma livre: Forma 2006">
                <a:extLst>
                  <a:ext uri="{FF2B5EF4-FFF2-40B4-BE49-F238E27FC236}">
                    <a16:creationId xmlns:a16="http://schemas.microsoft.com/office/drawing/2014/main" id="{CD53B7BB-606D-F84E-01C1-430897B56F76}"/>
                  </a:ext>
                </a:extLst>
              </p:cNvPr>
              <p:cNvSpPr/>
              <p:nvPr/>
            </p:nvSpPr>
            <p:spPr>
              <a:xfrm>
                <a:off x="8742610" y="4363317"/>
                <a:ext cx="50980" cy="50968"/>
              </a:xfrm>
              <a:custGeom>
                <a:avLst/>
                <a:gdLst>
                  <a:gd name="connsiteX0" fmla="*/ 50574 w 50980"/>
                  <a:gd name="connsiteY0" fmla="*/ 20969 h 50968"/>
                  <a:gd name="connsiteX1" fmla="*/ 29999 w 50980"/>
                  <a:gd name="connsiteY1" fmla="*/ 50563 h 50968"/>
                  <a:gd name="connsiteX2" fmla="*/ 406 w 50980"/>
                  <a:gd name="connsiteY2" fmla="*/ 29976 h 50968"/>
                  <a:gd name="connsiteX3" fmla="*/ 20993 w 50980"/>
                  <a:gd name="connsiteY3" fmla="*/ 406 h 50968"/>
                  <a:gd name="connsiteX4" fmla="*/ 50574 w 50980"/>
                  <a:gd name="connsiteY4" fmla="*/ 20981 h 509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0980" h="50968">
                    <a:moveTo>
                      <a:pt x="50574" y="20969"/>
                    </a:moveTo>
                    <a:cubicBezTo>
                      <a:pt x="53065" y="34828"/>
                      <a:pt x="43846" y="48072"/>
                      <a:pt x="29999" y="50563"/>
                    </a:cubicBezTo>
                    <a:cubicBezTo>
                      <a:pt x="16153" y="53053"/>
                      <a:pt x="2897" y="43834"/>
                      <a:pt x="406" y="29976"/>
                    </a:cubicBezTo>
                    <a:cubicBezTo>
                      <a:pt x="-2085" y="16130"/>
                      <a:pt x="7146" y="2885"/>
                      <a:pt x="20993" y="406"/>
                    </a:cubicBezTo>
                    <a:cubicBezTo>
                      <a:pt x="34839" y="-2084"/>
                      <a:pt x="48095" y="7135"/>
                      <a:pt x="50574" y="20981"/>
                    </a:cubicBezTo>
                    <a:close/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2008" name="Gráfico 18">
            <a:extLst>
              <a:ext uri="{FF2B5EF4-FFF2-40B4-BE49-F238E27FC236}">
                <a16:creationId xmlns:a16="http://schemas.microsoft.com/office/drawing/2014/main" id="{1F047092-CD8A-93E8-0297-A10B29D688B7}"/>
              </a:ext>
            </a:extLst>
          </p:cNvPr>
          <p:cNvGrpSpPr/>
          <p:nvPr/>
        </p:nvGrpSpPr>
        <p:grpSpPr>
          <a:xfrm>
            <a:off x="9155339" y="4205475"/>
            <a:ext cx="344165" cy="253414"/>
            <a:chOff x="9155339" y="4205475"/>
            <a:chExt cx="344165" cy="253414"/>
          </a:xfrm>
          <a:noFill/>
        </p:grpSpPr>
        <p:sp>
          <p:nvSpPr>
            <p:cNvPr id="2009" name="Forma livre: Forma 2008">
              <a:extLst>
                <a:ext uri="{FF2B5EF4-FFF2-40B4-BE49-F238E27FC236}">
                  <a16:creationId xmlns:a16="http://schemas.microsoft.com/office/drawing/2014/main" id="{727E6B5E-206A-1DFF-F10B-5ED8C847C023}"/>
                </a:ext>
              </a:extLst>
            </p:cNvPr>
            <p:cNvSpPr/>
            <p:nvPr/>
          </p:nvSpPr>
          <p:spPr>
            <a:xfrm>
              <a:off x="9245158" y="4205475"/>
              <a:ext cx="164551" cy="192976"/>
            </a:xfrm>
            <a:custGeom>
              <a:avLst/>
              <a:gdLst>
                <a:gd name="connsiteX0" fmla="*/ 164552 w 164551"/>
                <a:gd name="connsiteY0" fmla="*/ 81544 h 192976"/>
                <a:gd name="connsiteX1" fmla="*/ 82276 w 164551"/>
                <a:gd name="connsiteY1" fmla="*/ 0 h 192976"/>
                <a:gd name="connsiteX2" fmla="*/ 0 w 164551"/>
                <a:gd name="connsiteY2" fmla="*/ 81544 h 192976"/>
                <a:gd name="connsiteX3" fmla="*/ 5572 w 164551"/>
                <a:gd name="connsiteY3" fmla="*/ 121667 h 192976"/>
                <a:gd name="connsiteX4" fmla="*/ 11698 w 164551"/>
                <a:gd name="connsiteY4" fmla="*/ 149454 h 192976"/>
                <a:gd name="connsiteX5" fmla="*/ 23313 w 164551"/>
                <a:gd name="connsiteY5" fmla="*/ 155167 h 192976"/>
                <a:gd name="connsiteX6" fmla="*/ 41292 w 164551"/>
                <a:gd name="connsiteY6" fmla="*/ 155439 h 192976"/>
                <a:gd name="connsiteX7" fmla="*/ 43794 w 164551"/>
                <a:gd name="connsiteY7" fmla="*/ 185835 h 192976"/>
                <a:gd name="connsiteX8" fmla="*/ 82264 w 164551"/>
                <a:gd name="connsiteY8" fmla="*/ 192976 h 192976"/>
                <a:gd name="connsiteX9" fmla="*/ 120734 w 164551"/>
                <a:gd name="connsiteY9" fmla="*/ 185835 h 192976"/>
                <a:gd name="connsiteX10" fmla="*/ 123213 w 164551"/>
                <a:gd name="connsiteY10" fmla="*/ 155439 h 192976"/>
                <a:gd name="connsiteX11" fmla="*/ 141215 w 164551"/>
                <a:gd name="connsiteY11" fmla="*/ 155167 h 192976"/>
                <a:gd name="connsiteX12" fmla="*/ 152842 w 164551"/>
                <a:gd name="connsiteY12" fmla="*/ 149454 h 192976"/>
                <a:gd name="connsiteX13" fmla="*/ 158957 w 164551"/>
                <a:gd name="connsiteY13" fmla="*/ 121667 h 192976"/>
                <a:gd name="connsiteX14" fmla="*/ 164540 w 164551"/>
                <a:gd name="connsiteY14" fmla="*/ 81544 h 1929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64551" h="192976">
                  <a:moveTo>
                    <a:pt x="164552" y="81544"/>
                  </a:moveTo>
                  <a:cubicBezTo>
                    <a:pt x="164552" y="35377"/>
                    <a:pt x="129741" y="0"/>
                    <a:pt x="82276" y="0"/>
                  </a:cubicBezTo>
                  <a:cubicBezTo>
                    <a:pt x="34811" y="0"/>
                    <a:pt x="0" y="35366"/>
                    <a:pt x="0" y="81544"/>
                  </a:cubicBezTo>
                  <a:cubicBezTo>
                    <a:pt x="0" y="95249"/>
                    <a:pt x="5548" y="113911"/>
                    <a:pt x="5572" y="121667"/>
                  </a:cubicBezTo>
                  <a:cubicBezTo>
                    <a:pt x="5595" y="129410"/>
                    <a:pt x="-94" y="136469"/>
                    <a:pt x="11698" y="149454"/>
                  </a:cubicBezTo>
                  <a:cubicBezTo>
                    <a:pt x="11698" y="149454"/>
                    <a:pt x="16455" y="155167"/>
                    <a:pt x="23313" y="155167"/>
                  </a:cubicBezTo>
                  <a:cubicBezTo>
                    <a:pt x="33678" y="155167"/>
                    <a:pt x="41292" y="155439"/>
                    <a:pt x="41292" y="155439"/>
                  </a:cubicBezTo>
                  <a:lnTo>
                    <a:pt x="43794" y="185835"/>
                  </a:lnTo>
                  <a:cubicBezTo>
                    <a:pt x="43794" y="185835"/>
                    <a:pt x="57711" y="192717"/>
                    <a:pt x="82264" y="192976"/>
                  </a:cubicBezTo>
                  <a:cubicBezTo>
                    <a:pt x="106817" y="192717"/>
                    <a:pt x="120734" y="185835"/>
                    <a:pt x="120734" y="185835"/>
                  </a:cubicBezTo>
                  <a:lnTo>
                    <a:pt x="123213" y="155439"/>
                  </a:lnTo>
                  <a:cubicBezTo>
                    <a:pt x="123213" y="155439"/>
                    <a:pt x="130851" y="155167"/>
                    <a:pt x="141215" y="155167"/>
                  </a:cubicBezTo>
                  <a:cubicBezTo>
                    <a:pt x="148061" y="155167"/>
                    <a:pt x="152842" y="149454"/>
                    <a:pt x="152842" y="149454"/>
                  </a:cubicBezTo>
                  <a:cubicBezTo>
                    <a:pt x="164623" y="136458"/>
                    <a:pt x="158921" y="129410"/>
                    <a:pt x="158957" y="121667"/>
                  </a:cubicBezTo>
                  <a:cubicBezTo>
                    <a:pt x="158980" y="113911"/>
                    <a:pt x="164540" y="95249"/>
                    <a:pt x="164540" y="81544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10" name="Forma livre: Forma 2009">
              <a:extLst>
                <a:ext uri="{FF2B5EF4-FFF2-40B4-BE49-F238E27FC236}">
                  <a16:creationId xmlns:a16="http://schemas.microsoft.com/office/drawing/2014/main" id="{18C1EA5C-3DE2-1C7F-9717-7A99A7CFE103}"/>
                </a:ext>
              </a:extLst>
            </p:cNvPr>
            <p:cNvSpPr/>
            <p:nvPr/>
          </p:nvSpPr>
          <p:spPr>
            <a:xfrm>
              <a:off x="9272358" y="4284894"/>
              <a:ext cx="41031" cy="37403"/>
            </a:xfrm>
            <a:custGeom>
              <a:avLst/>
              <a:gdLst>
                <a:gd name="connsiteX0" fmla="*/ 40250 w 41031"/>
                <a:gd name="connsiteY0" fmla="*/ 13446 h 37403"/>
                <a:gd name="connsiteX1" fmla="*/ 29473 w 41031"/>
                <a:gd name="connsiteY1" fmla="*/ 34316 h 37403"/>
                <a:gd name="connsiteX2" fmla="*/ 22249 w 41031"/>
                <a:gd name="connsiteY2" fmla="*/ 36618 h 37403"/>
                <a:gd name="connsiteX3" fmla="*/ 1391 w 41031"/>
                <a:gd name="connsiteY3" fmla="*/ 25841 h 37403"/>
                <a:gd name="connsiteX4" fmla="*/ 777 w 41031"/>
                <a:gd name="connsiteY4" fmla="*/ 23952 h 37403"/>
                <a:gd name="connsiteX5" fmla="*/ 11554 w 41031"/>
                <a:gd name="connsiteY5" fmla="*/ 3082 h 37403"/>
                <a:gd name="connsiteX6" fmla="*/ 18778 w 41031"/>
                <a:gd name="connsiteY6" fmla="*/ 780 h 37403"/>
                <a:gd name="connsiteX7" fmla="*/ 39660 w 41031"/>
                <a:gd name="connsiteY7" fmla="*/ 11558 h 37403"/>
                <a:gd name="connsiteX8" fmla="*/ 40262 w 41031"/>
                <a:gd name="connsiteY8" fmla="*/ 13446 h 374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1031" h="37403">
                  <a:moveTo>
                    <a:pt x="40250" y="13446"/>
                  </a:moveTo>
                  <a:cubicBezTo>
                    <a:pt x="43024" y="22146"/>
                    <a:pt x="38173" y="31542"/>
                    <a:pt x="29473" y="34316"/>
                  </a:cubicBezTo>
                  <a:lnTo>
                    <a:pt x="22249" y="36618"/>
                  </a:lnTo>
                  <a:cubicBezTo>
                    <a:pt x="13549" y="39404"/>
                    <a:pt x="4153" y="34540"/>
                    <a:pt x="1391" y="25841"/>
                  </a:cubicBezTo>
                  <a:lnTo>
                    <a:pt x="777" y="23952"/>
                  </a:lnTo>
                  <a:cubicBezTo>
                    <a:pt x="-1985" y="15252"/>
                    <a:pt x="2854" y="5868"/>
                    <a:pt x="11554" y="3082"/>
                  </a:cubicBezTo>
                  <a:lnTo>
                    <a:pt x="18778" y="780"/>
                  </a:lnTo>
                  <a:cubicBezTo>
                    <a:pt x="27490" y="-1994"/>
                    <a:pt x="36886" y="2870"/>
                    <a:pt x="39660" y="11558"/>
                  </a:cubicBezTo>
                  <a:lnTo>
                    <a:pt x="40262" y="13446"/>
                  </a:ln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11" name="Forma livre: Forma 2010">
              <a:extLst>
                <a:ext uri="{FF2B5EF4-FFF2-40B4-BE49-F238E27FC236}">
                  <a16:creationId xmlns:a16="http://schemas.microsoft.com/office/drawing/2014/main" id="{848AE17B-24D6-E618-27E8-6970D2AF4CE9}"/>
                </a:ext>
              </a:extLst>
            </p:cNvPr>
            <p:cNvSpPr/>
            <p:nvPr/>
          </p:nvSpPr>
          <p:spPr>
            <a:xfrm>
              <a:off x="9341473" y="4284894"/>
              <a:ext cx="41025" cy="37403"/>
            </a:xfrm>
            <a:custGeom>
              <a:avLst/>
              <a:gdLst>
                <a:gd name="connsiteX0" fmla="*/ 776 w 41025"/>
                <a:gd name="connsiteY0" fmla="*/ 13446 h 37403"/>
                <a:gd name="connsiteX1" fmla="*/ 11553 w 41025"/>
                <a:gd name="connsiteY1" fmla="*/ 34316 h 37403"/>
                <a:gd name="connsiteX2" fmla="*/ 18777 w 41025"/>
                <a:gd name="connsiteY2" fmla="*/ 36618 h 37403"/>
                <a:gd name="connsiteX3" fmla="*/ 39636 w 41025"/>
                <a:gd name="connsiteY3" fmla="*/ 25841 h 37403"/>
                <a:gd name="connsiteX4" fmla="*/ 40249 w 41025"/>
                <a:gd name="connsiteY4" fmla="*/ 23952 h 37403"/>
                <a:gd name="connsiteX5" fmla="*/ 29460 w 41025"/>
                <a:gd name="connsiteY5" fmla="*/ 3082 h 37403"/>
                <a:gd name="connsiteX6" fmla="*/ 22248 w 41025"/>
                <a:gd name="connsiteY6" fmla="*/ 780 h 37403"/>
                <a:gd name="connsiteX7" fmla="*/ 1378 w 41025"/>
                <a:gd name="connsiteY7" fmla="*/ 11558 h 37403"/>
                <a:gd name="connsiteX8" fmla="*/ 764 w 41025"/>
                <a:gd name="connsiteY8" fmla="*/ 13446 h 374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1025" h="37403">
                  <a:moveTo>
                    <a:pt x="776" y="13446"/>
                  </a:moveTo>
                  <a:cubicBezTo>
                    <a:pt x="-1986" y="22146"/>
                    <a:pt x="2865" y="31542"/>
                    <a:pt x="11553" y="34316"/>
                  </a:cubicBezTo>
                  <a:lnTo>
                    <a:pt x="18777" y="36618"/>
                  </a:lnTo>
                  <a:cubicBezTo>
                    <a:pt x="27477" y="39404"/>
                    <a:pt x="36862" y="34540"/>
                    <a:pt x="39636" y="25841"/>
                  </a:cubicBezTo>
                  <a:lnTo>
                    <a:pt x="40249" y="23952"/>
                  </a:lnTo>
                  <a:cubicBezTo>
                    <a:pt x="43012" y="15252"/>
                    <a:pt x="38160" y="5868"/>
                    <a:pt x="29460" y="3082"/>
                  </a:cubicBezTo>
                  <a:lnTo>
                    <a:pt x="22248" y="780"/>
                  </a:lnTo>
                  <a:cubicBezTo>
                    <a:pt x="13536" y="-1994"/>
                    <a:pt x="4140" y="2870"/>
                    <a:pt x="1378" y="11558"/>
                  </a:cubicBezTo>
                  <a:lnTo>
                    <a:pt x="764" y="13446"/>
                  </a:ln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12" name="Forma livre: Forma 2011">
              <a:extLst>
                <a:ext uri="{FF2B5EF4-FFF2-40B4-BE49-F238E27FC236}">
                  <a16:creationId xmlns:a16="http://schemas.microsoft.com/office/drawing/2014/main" id="{78E7C178-5D2C-9207-AA34-EC0D7CAC6A14}"/>
                </a:ext>
              </a:extLst>
            </p:cNvPr>
            <p:cNvSpPr/>
            <p:nvPr/>
          </p:nvSpPr>
          <p:spPr>
            <a:xfrm>
              <a:off x="9314213" y="4338510"/>
              <a:ext cx="4096" cy="11827"/>
            </a:xfrm>
            <a:custGeom>
              <a:avLst/>
              <a:gdLst>
                <a:gd name="connsiteX0" fmla="*/ 4096 w 4096"/>
                <a:gd name="connsiteY0" fmla="*/ 0 h 11827"/>
                <a:gd name="connsiteX1" fmla="*/ 0 w 4096"/>
                <a:gd name="connsiteY1" fmla="*/ 11828 h 118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096" h="11827">
                  <a:moveTo>
                    <a:pt x="4096" y="0"/>
                  </a:moveTo>
                  <a:lnTo>
                    <a:pt x="0" y="11828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13" name="Forma livre: Forma 2012">
              <a:extLst>
                <a:ext uri="{FF2B5EF4-FFF2-40B4-BE49-F238E27FC236}">
                  <a16:creationId xmlns:a16="http://schemas.microsoft.com/office/drawing/2014/main" id="{28F37A22-E376-072F-2FE6-0EC0BFB97D2B}"/>
                </a:ext>
              </a:extLst>
            </p:cNvPr>
            <p:cNvSpPr/>
            <p:nvPr/>
          </p:nvSpPr>
          <p:spPr>
            <a:xfrm>
              <a:off x="9336523" y="4338510"/>
              <a:ext cx="4119" cy="11827"/>
            </a:xfrm>
            <a:custGeom>
              <a:avLst/>
              <a:gdLst>
                <a:gd name="connsiteX0" fmla="*/ 0 w 4119"/>
                <a:gd name="connsiteY0" fmla="*/ 0 h 11827"/>
                <a:gd name="connsiteX1" fmla="*/ 4120 w 4119"/>
                <a:gd name="connsiteY1" fmla="*/ 11828 h 118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119" h="11827">
                  <a:moveTo>
                    <a:pt x="0" y="0"/>
                  </a:moveTo>
                  <a:lnTo>
                    <a:pt x="4120" y="11828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2014" name="Gráfico 18">
              <a:extLst>
                <a:ext uri="{FF2B5EF4-FFF2-40B4-BE49-F238E27FC236}">
                  <a16:creationId xmlns:a16="http://schemas.microsoft.com/office/drawing/2014/main" id="{A15BD1EE-8053-B039-5D1D-FE8E703D6A38}"/>
                </a:ext>
              </a:extLst>
            </p:cNvPr>
            <p:cNvGrpSpPr/>
            <p:nvPr/>
          </p:nvGrpSpPr>
          <p:grpSpPr>
            <a:xfrm>
              <a:off x="9155339" y="4238634"/>
              <a:ext cx="344165" cy="220256"/>
              <a:chOff x="9155339" y="4238634"/>
              <a:chExt cx="344165" cy="220256"/>
            </a:xfrm>
            <a:noFill/>
          </p:grpSpPr>
          <p:sp>
            <p:nvSpPr>
              <p:cNvPr id="2015" name="Forma livre: Forma 2014">
                <a:extLst>
                  <a:ext uri="{FF2B5EF4-FFF2-40B4-BE49-F238E27FC236}">
                    <a16:creationId xmlns:a16="http://schemas.microsoft.com/office/drawing/2014/main" id="{F921FCA1-1E2F-ED4C-2B18-0B8E2A5AF5D5}"/>
                  </a:ext>
                </a:extLst>
              </p:cNvPr>
              <p:cNvSpPr/>
              <p:nvPr/>
            </p:nvSpPr>
            <p:spPr>
              <a:xfrm>
                <a:off x="9420464" y="4238634"/>
                <a:ext cx="46532" cy="171563"/>
              </a:xfrm>
              <a:custGeom>
                <a:avLst/>
                <a:gdLst>
                  <a:gd name="connsiteX0" fmla="*/ 0 w 46532"/>
                  <a:gd name="connsiteY0" fmla="*/ 0 h 171563"/>
                  <a:gd name="connsiteX1" fmla="*/ 26147 w 46532"/>
                  <a:gd name="connsiteY1" fmla="*/ 0 h 171563"/>
                  <a:gd name="connsiteX2" fmla="*/ 46533 w 46532"/>
                  <a:gd name="connsiteY2" fmla="*/ 20374 h 171563"/>
                  <a:gd name="connsiteX3" fmla="*/ 46533 w 46532"/>
                  <a:gd name="connsiteY3" fmla="*/ 171564 h 1715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6532" h="171563">
                    <a:moveTo>
                      <a:pt x="0" y="0"/>
                    </a:moveTo>
                    <a:lnTo>
                      <a:pt x="26147" y="0"/>
                    </a:lnTo>
                    <a:cubicBezTo>
                      <a:pt x="37361" y="0"/>
                      <a:pt x="46533" y="9172"/>
                      <a:pt x="46533" y="20374"/>
                    </a:cubicBezTo>
                    <a:lnTo>
                      <a:pt x="46533" y="171564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016" name="Forma livre: Forma 2015">
                <a:extLst>
                  <a:ext uri="{FF2B5EF4-FFF2-40B4-BE49-F238E27FC236}">
                    <a16:creationId xmlns:a16="http://schemas.microsoft.com/office/drawing/2014/main" id="{D9439FB4-75CD-F1C5-EE41-F55981E459C7}"/>
                  </a:ext>
                </a:extLst>
              </p:cNvPr>
              <p:cNvSpPr/>
              <p:nvPr/>
            </p:nvSpPr>
            <p:spPr>
              <a:xfrm>
                <a:off x="9187848" y="4238634"/>
                <a:ext cx="46603" cy="171563"/>
              </a:xfrm>
              <a:custGeom>
                <a:avLst/>
                <a:gdLst>
                  <a:gd name="connsiteX0" fmla="*/ 0 w 46603"/>
                  <a:gd name="connsiteY0" fmla="*/ 171564 h 171563"/>
                  <a:gd name="connsiteX1" fmla="*/ 0 w 46603"/>
                  <a:gd name="connsiteY1" fmla="*/ 20374 h 171563"/>
                  <a:gd name="connsiteX2" fmla="*/ 20362 w 46603"/>
                  <a:gd name="connsiteY2" fmla="*/ 0 h 171563"/>
                  <a:gd name="connsiteX3" fmla="*/ 46603 w 46603"/>
                  <a:gd name="connsiteY3" fmla="*/ 0 h 1715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6603" h="171563">
                    <a:moveTo>
                      <a:pt x="0" y="171564"/>
                    </a:moveTo>
                    <a:lnTo>
                      <a:pt x="0" y="20374"/>
                    </a:lnTo>
                    <a:cubicBezTo>
                      <a:pt x="0" y="9172"/>
                      <a:pt x="9172" y="0"/>
                      <a:pt x="20362" y="0"/>
                    </a:cubicBezTo>
                    <a:lnTo>
                      <a:pt x="46603" y="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017" name="Forma livre: Forma 2016">
                <a:extLst>
                  <a:ext uri="{FF2B5EF4-FFF2-40B4-BE49-F238E27FC236}">
                    <a16:creationId xmlns:a16="http://schemas.microsoft.com/office/drawing/2014/main" id="{BA7ABF13-49C0-8B39-9876-A90A6AFE6820}"/>
                  </a:ext>
                </a:extLst>
              </p:cNvPr>
              <p:cNvSpPr/>
              <p:nvPr/>
            </p:nvSpPr>
            <p:spPr>
              <a:xfrm>
                <a:off x="9155339" y="4431929"/>
                <a:ext cx="344165" cy="26961"/>
              </a:xfrm>
              <a:custGeom>
                <a:avLst/>
                <a:gdLst>
                  <a:gd name="connsiteX0" fmla="*/ 0 w 344165"/>
                  <a:gd name="connsiteY0" fmla="*/ 0 h 26961"/>
                  <a:gd name="connsiteX1" fmla="*/ 25651 w 344165"/>
                  <a:gd name="connsiteY1" fmla="*/ 26961 h 26961"/>
                  <a:gd name="connsiteX2" fmla="*/ 318503 w 344165"/>
                  <a:gd name="connsiteY2" fmla="*/ 26961 h 26961"/>
                  <a:gd name="connsiteX3" fmla="*/ 344166 w 344165"/>
                  <a:gd name="connsiteY3" fmla="*/ 0 h 26961"/>
                  <a:gd name="connsiteX4" fmla="*/ 0 w 344165"/>
                  <a:gd name="connsiteY4" fmla="*/ 0 h 269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44165" h="26961">
                    <a:moveTo>
                      <a:pt x="0" y="0"/>
                    </a:moveTo>
                    <a:cubicBezTo>
                      <a:pt x="0" y="0"/>
                      <a:pt x="5938" y="26961"/>
                      <a:pt x="25651" y="26961"/>
                    </a:cubicBezTo>
                    <a:lnTo>
                      <a:pt x="318503" y="26961"/>
                    </a:lnTo>
                    <a:cubicBezTo>
                      <a:pt x="338228" y="26961"/>
                      <a:pt x="344166" y="0"/>
                      <a:pt x="344166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2018" name="Gráfico 18">
            <a:extLst>
              <a:ext uri="{FF2B5EF4-FFF2-40B4-BE49-F238E27FC236}">
                <a16:creationId xmlns:a16="http://schemas.microsoft.com/office/drawing/2014/main" id="{85E1B3CF-B877-FC57-9062-48BF7943F0F6}"/>
              </a:ext>
            </a:extLst>
          </p:cNvPr>
          <p:cNvGrpSpPr/>
          <p:nvPr/>
        </p:nvGrpSpPr>
        <p:grpSpPr>
          <a:xfrm>
            <a:off x="7954879" y="4155295"/>
            <a:ext cx="280398" cy="353774"/>
            <a:chOff x="7954879" y="4155295"/>
            <a:chExt cx="280398" cy="353774"/>
          </a:xfrm>
          <a:noFill/>
        </p:grpSpPr>
        <p:grpSp>
          <p:nvGrpSpPr>
            <p:cNvPr id="2019" name="Gráfico 18">
              <a:extLst>
                <a:ext uri="{FF2B5EF4-FFF2-40B4-BE49-F238E27FC236}">
                  <a16:creationId xmlns:a16="http://schemas.microsoft.com/office/drawing/2014/main" id="{A3F19658-F677-F0B6-3C6E-E580572CDACE}"/>
                </a:ext>
              </a:extLst>
            </p:cNvPr>
            <p:cNvGrpSpPr/>
            <p:nvPr/>
          </p:nvGrpSpPr>
          <p:grpSpPr>
            <a:xfrm>
              <a:off x="8009072" y="4391263"/>
              <a:ext cx="172555" cy="55574"/>
              <a:chOff x="8009072" y="4391263"/>
              <a:chExt cx="172555" cy="55574"/>
            </a:xfrm>
          </p:grpSpPr>
          <p:grpSp>
            <p:nvGrpSpPr>
              <p:cNvPr id="2020" name="Gráfico 18">
                <a:extLst>
                  <a:ext uri="{FF2B5EF4-FFF2-40B4-BE49-F238E27FC236}">
                    <a16:creationId xmlns:a16="http://schemas.microsoft.com/office/drawing/2014/main" id="{4B835433-EB77-072D-C39A-A24F5B3B8D27}"/>
                  </a:ext>
                </a:extLst>
              </p:cNvPr>
              <p:cNvGrpSpPr/>
              <p:nvPr/>
            </p:nvGrpSpPr>
            <p:grpSpPr>
              <a:xfrm>
                <a:off x="8009072" y="4416147"/>
                <a:ext cx="30691" cy="30691"/>
                <a:chOff x="8009072" y="4416147"/>
                <a:chExt cx="30691" cy="30691"/>
              </a:xfrm>
            </p:grpSpPr>
            <p:sp>
              <p:nvSpPr>
                <p:cNvPr id="2021" name="Forma livre: Forma 2020">
                  <a:extLst>
                    <a:ext uri="{FF2B5EF4-FFF2-40B4-BE49-F238E27FC236}">
                      <a16:creationId xmlns:a16="http://schemas.microsoft.com/office/drawing/2014/main" id="{C863969E-068A-7092-898A-FF54084183C9}"/>
                    </a:ext>
                  </a:extLst>
                </p:cNvPr>
                <p:cNvSpPr/>
                <p:nvPr/>
              </p:nvSpPr>
              <p:spPr>
                <a:xfrm>
                  <a:off x="8013664" y="4416147"/>
                  <a:ext cx="21507" cy="30691"/>
                </a:xfrm>
                <a:custGeom>
                  <a:avLst/>
                  <a:gdLst>
                    <a:gd name="connsiteX0" fmla="*/ 21507 w 21507"/>
                    <a:gd name="connsiteY0" fmla="*/ 0 h 30691"/>
                    <a:gd name="connsiteX1" fmla="*/ 0 w 21507"/>
                    <a:gd name="connsiteY1" fmla="*/ 30691 h 3069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1507" h="30691">
                      <a:moveTo>
                        <a:pt x="21507" y="0"/>
                      </a:moveTo>
                      <a:lnTo>
                        <a:pt x="0" y="30691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022" name="Forma livre: Forma 2021">
                  <a:extLst>
                    <a:ext uri="{FF2B5EF4-FFF2-40B4-BE49-F238E27FC236}">
                      <a16:creationId xmlns:a16="http://schemas.microsoft.com/office/drawing/2014/main" id="{3FEDB8AD-F312-1DA5-79ED-E5D2B1DB797D}"/>
                    </a:ext>
                  </a:extLst>
                </p:cNvPr>
                <p:cNvSpPr/>
                <p:nvPr/>
              </p:nvSpPr>
              <p:spPr>
                <a:xfrm>
                  <a:off x="8009072" y="4420727"/>
                  <a:ext cx="30691" cy="21542"/>
                </a:xfrm>
                <a:custGeom>
                  <a:avLst/>
                  <a:gdLst>
                    <a:gd name="connsiteX0" fmla="*/ 30691 w 30691"/>
                    <a:gd name="connsiteY0" fmla="*/ 21543 h 21542"/>
                    <a:gd name="connsiteX1" fmla="*/ 0 w 30691"/>
                    <a:gd name="connsiteY1" fmla="*/ 0 h 2154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30691" h="21542">
                      <a:moveTo>
                        <a:pt x="30691" y="21543"/>
                      </a:moveTo>
                      <a:lnTo>
                        <a:pt x="0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2023" name="Gráfico 18">
                <a:extLst>
                  <a:ext uri="{FF2B5EF4-FFF2-40B4-BE49-F238E27FC236}">
                    <a16:creationId xmlns:a16="http://schemas.microsoft.com/office/drawing/2014/main" id="{0F63702C-7D45-3AC1-3812-84E026DB3ADE}"/>
                  </a:ext>
                </a:extLst>
              </p:cNvPr>
              <p:cNvGrpSpPr/>
              <p:nvPr/>
            </p:nvGrpSpPr>
            <p:grpSpPr>
              <a:xfrm>
                <a:off x="8080004" y="4403717"/>
                <a:ext cx="30691" cy="30691"/>
                <a:chOff x="8080004" y="4403717"/>
                <a:chExt cx="30691" cy="30691"/>
              </a:xfrm>
            </p:grpSpPr>
            <p:sp>
              <p:nvSpPr>
                <p:cNvPr id="2024" name="Forma livre: Forma 2023">
                  <a:extLst>
                    <a:ext uri="{FF2B5EF4-FFF2-40B4-BE49-F238E27FC236}">
                      <a16:creationId xmlns:a16="http://schemas.microsoft.com/office/drawing/2014/main" id="{317F5886-E9D3-A959-3038-DD1091FCF392}"/>
                    </a:ext>
                  </a:extLst>
                </p:cNvPr>
                <p:cNvSpPr/>
                <p:nvPr/>
              </p:nvSpPr>
              <p:spPr>
                <a:xfrm>
                  <a:off x="8084585" y="4403717"/>
                  <a:ext cx="21531" cy="30691"/>
                </a:xfrm>
                <a:custGeom>
                  <a:avLst/>
                  <a:gdLst>
                    <a:gd name="connsiteX0" fmla="*/ 21531 w 21531"/>
                    <a:gd name="connsiteY0" fmla="*/ 0 h 30691"/>
                    <a:gd name="connsiteX1" fmla="*/ 0 w 21531"/>
                    <a:gd name="connsiteY1" fmla="*/ 30691 h 3069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1531" h="30691">
                      <a:moveTo>
                        <a:pt x="21531" y="0"/>
                      </a:moveTo>
                      <a:lnTo>
                        <a:pt x="0" y="30691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025" name="Forma livre: Forma 2024">
                  <a:extLst>
                    <a:ext uri="{FF2B5EF4-FFF2-40B4-BE49-F238E27FC236}">
                      <a16:creationId xmlns:a16="http://schemas.microsoft.com/office/drawing/2014/main" id="{978DF398-F5F8-9A96-39A3-481288FF8493}"/>
                    </a:ext>
                  </a:extLst>
                </p:cNvPr>
                <p:cNvSpPr/>
                <p:nvPr/>
              </p:nvSpPr>
              <p:spPr>
                <a:xfrm>
                  <a:off x="8080004" y="4408285"/>
                  <a:ext cx="30691" cy="21542"/>
                </a:xfrm>
                <a:custGeom>
                  <a:avLst/>
                  <a:gdLst>
                    <a:gd name="connsiteX0" fmla="*/ 30691 w 30691"/>
                    <a:gd name="connsiteY0" fmla="*/ 21543 h 21542"/>
                    <a:gd name="connsiteX1" fmla="*/ 0 w 30691"/>
                    <a:gd name="connsiteY1" fmla="*/ 0 h 2154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30691" h="21542">
                      <a:moveTo>
                        <a:pt x="30691" y="21543"/>
                      </a:moveTo>
                      <a:lnTo>
                        <a:pt x="0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2026" name="Gráfico 18">
                <a:extLst>
                  <a:ext uri="{FF2B5EF4-FFF2-40B4-BE49-F238E27FC236}">
                    <a16:creationId xmlns:a16="http://schemas.microsoft.com/office/drawing/2014/main" id="{503B2BAA-6D2B-DB48-EACB-2D1D0034C931}"/>
                  </a:ext>
                </a:extLst>
              </p:cNvPr>
              <p:cNvGrpSpPr/>
              <p:nvPr/>
            </p:nvGrpSpPr>
            <p:grpSpPr>
              <a:xfrm>
                <a:off x="8150936" y="4391263"/>
                <a:ext cx="30691" cy="30691"/>
                <a:chOff x="8150936" y="4391263"/>
                <a:chExt cx="30691" cy="30691"/>
              </a:xfrm>
            </p:grpSpPr>
            <p:sp>
              <p:nvSpPr>
                <p:cNvPr id="2027" name="Forma livre: Forma 2026">
                  <a:extLst>
                    <a:ext uri="{FF2B5EF4-FFF2-40B4-BE49-F238E27FC236}">
                      <a16:creationId xmlns:a16="http://schemas.microsoft.com/office/drawing/2014/main" id="{4141C6F6-43C1-EEE3-CFCA-BA9653043577}"/>
                    </a:ext>
                  </a:extLst>
                </p:cNvPr>
                <p:cNvSpPr/>
                <p:nvPr/>
              </p:nvSpPr>
              <p:spPr>
                <a:xfrm>
                  <a:off x="8155516" y="4391263"/>
                  <a:ext cx="21531" cy="30691"/>
                </a:xfrm>
                <a:custGeom>
                  <a:avLst/>
                  <a:gdLst>
                    <a:gd name="connsiteX0" fmla="*/ 21531 w 21531"/>
                    <a:gd name="connsiteY0" fmla="*/ 0 h 30691"/>
                    <a:gd name="connsiteX1" fmla="*/ 0 w 21531"/>
                    <a:gd name="connsiteY1" fmla="*/ 30691 h 3069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1531" h="30691">
                      <a:moveTo>
                        <a:pt x="21531" y="0"/>
                      </a:moveTo>
                      <a:lnTo>
                        <a:pt x="0" y="30691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028" name="Forma livre: Forma 2027">
                  <a:extLst>
                    <a:ext uri="{FF2B5EF4-FFF2-40B4-BE49-F238E27FC236}">
                      <a16:creationId xmlns:a16="http://schemas.microsoft.com/office/drawing/2014/main" id="{AD1395E7-D7D9-1A04-CBDD-C9C0CDE257B8}"/>
                    </a:ext>
                  </a:extLst>
                </p:cNvPr>
                <p:cNvSpPr/>
                <p:nvPr/>
              </p:nvSpPr>
              <p:spPr>
                <a:xfrm>
                  <a:off x="8150936" y="4395843"/>
                  <a:ext cx="30691" cy="21542"/>
                </a:xfrm>
                <a:custGeom>
                  <a:avLst/>
                  <a:gdLst>
                    <a:gd name="connsiteX0" fmla="*/ 30691 w 30691"/>
                    <a:gd name="connsiteY0" fmla="*/ 21543 h 21542"/>
                    <a:gd name="connsiteX1" fmla="*/ 0 w 30691"/>
                    <a:gd name="connsiteY1" fmla="*/ 0 h 2154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30691" h="21542">
                      <a:moveTo>
                        <a:pt x="30691" y="21543"/>
                      </a:moveTo>
                      <a:lnTo>
                        <a:pt x="0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sp>
          <p:nvSpPr>
            <p:cNvPr id="2029" name="Forma livre: Forma 2028">
              <a:extLst>
                <a:ext uri="{FF2B5EF4-FFF2-40B4-BE49-F238E27FC236}">
                  <a16:creationId xmlns:a16="http://schemas.microsoft.com/office/drawing/2014/main" id="{2D11DB90-F1EB-83FE-A63D-B3FED674075E}"/>
                </a:ext>
              </a:extLst>
            </p:cNvPr>
            <p:cNvSpPr/>
            <p:nvPr/>
          </p:nvSpPr>
          <p:spPr>
            <a:xfrm>
              <a:off x="8026307" y="4284541"/>
              <a:ext cx="61110" cy="94233"/>
            </a:xfrm>
            <a:custGeom>
              <a:avLst/>
              <a:gdLst>
                <a:gd name="connsiteX0" fmla="*/ 61111 w 61110"/>
                <a:gd name="connsiteY0" fmla="*/ 91212 h 94233"/>
                <a:gd name="connsiteX1" fmla="*/ 45010 w 61110"/>
                <a:gd name="connsiteY1" fmla="*/ 94234 h 94233"/>
                <a:gd name="connsiteX2" fmla="*/ 0 w 61110"/>
                <a:gd name="connsiteY2" fmla="*/ 48799 h 94233"/>
                <a:gd name="connsiteX3" fmla="*/ 0 w 61110"/>
                <a:gd name="connsiteY3" fmla="*/ 0 h 94233"/>
                <a:gd name="connsiteX4" fmla="*/ 32273 w 61110"/>
                <a:gd name="connsiteY4" fmla="*/ 29334 h 942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1110" h="94233">
                  <a:moveTo>
                    <a:pt x="61111" y="91212"/>
                  </a:moveTo>
                  <a:cubicBezTo>
                    <a:pt x="56106" y="93159"/>
                    <a:pt x="50676" y="94234"/>
                    <a:pt x="45010" y="94234"/>
                  </a:cubicBezTo>
                  <a:cubicBezTo>
                    <a:pt x="20256" y="94234"/>
                    <a:pt x="0" y="73789"/>
                    <a:pt x="0" y="48799"/>
                  </a:cubicBezTo>
                  <a:lnTo>
                    <a:pt x="0" y="0"/>
                  </a:lnTo>
                  <a:lnTo>
                    <a:pt x="32273" y="29334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2030" name="Gráfico 18">
              <a:extLst>
                <a:ext uri="{FF2B5EF4-FFF2-40B4-BE49-F238E27FC236}">
                  <a16:creationId xmlns:a16="http://schemas.microsoft.com/office/drawing/2014/main" id="{3D15424B-3D77-16E8-CFDC-CA5C93DE0CCE}"/>
                </a:ext>
              </a:extLst>
            </p:cNvPr>
            <p:cNvGrpSpPr/>
            <p:nvPr/>
          </p:nvGrpSpPr>
          <p:grpSpPr>
            <a:xfrm>
              <a:off x="8095692" y="4155295"/>
              <a:ext cx="38706" cy="187369"/>
              <a:chOff x="8095692" y="4155295"/>
              <a:chExt cx="38706" cy="187369"/>
            </a:xfrm>
            <a:noFill/>
          </p:grpSpPr>
          <p:sp>
            <p:nvSpPr>
              <p:cNvPr id="2031" name="Forma livre: Forma 2030">
                <a:extLst>
                  <a:ext uri="{FF2B5EF4-FFF2-40B4-BE49-F238E27FC236}">
                    <a16:creationId xmlns:a16="http://schemas.microsoft.com/office/drawing/2014/main" id="{76B77216-0B80-A669-1E11-A309117B7609}"/>
                  </a:ext>
                </a:extLst>
              </p:cNvPr>
              <p:cNvSpPr/>
              <p:nvPr/>
            </p:nvSpPr>
            <p:spPr>
              <a:xfrm>
                <a:off x="8095692" y="4232543"/>
                <a:ext cx="38706" cy="38694"/>
              </a:xfrm>
              <a:custGeom>
                <a:avLst/>
                <a:gdLst>
                  <a:gd name="connsiteX0" fmla="*/ 38706 w 38706"/>
                  <a:gd name="connsiteY0" fmla="*/ 19347 h 38694"/>
                  <a:gd name="connsiteX1" fmla="*/ 19347 w 38706"/>
                  <a:gd name="connsiteY1" fmla="*/ 38694 h 38694"/>
                  <a:gd name="connsiteX2" fmla="*/ 0 w 38706"/>
                  <a:gd name="connsiteY2" fmla="*/ 19347 h 38694"/>
                  <a:gd name="connsiteX3" fmla="*/ 19347 w 38706"/>
                  <a:gd name="connsiteY3" fmla="*/ 0 h 38694"/>
                  <a:gd name="connsiteX4" fmla="*/ 38706 w 38706"/>
                  <a:gd name="connsiteY4" fmla="*/ 19347 h 386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8706" h="38694">
                    <a:moveTo>
                      <a:pt x="38706" y="19347"/>
                    </a:moveTo>
                    <a:cubicBezTo>
                      <a:pt x="38706" y="30030"/>
                      <a:pt x="30042" y="38694"/>
                      <a:pt x="19347" y="38694"/>
                    </a:cubicBezTo>
                    <a:cubicBezTo>
                      <a:pt x="8653" y="38694"/>
                      <a:pt x="0" y="30030"/>
                      <a:pt x="0" y="19347"/>
                    </a:cubicBezTo>
                    <a:cubicBezTo>
                      <a:pt x="0" y="8664"/>
                      <a:pt x="8664" y="0"/>
                      <a:pt x="19347" y="0"/>
                    </a:cubicBezTo>
                    <a:cubicBezTo>
                      <a:pt x="30030" y="0"/>
                      <a:pt x="38706" y="8664"/>
                      <a:pt x="38706" y="19347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032" name="Forma livre: Forma 2031">
                <a:extLst>
                  <a:ext uri="{FF2B5EF4-FFF2-40B4-BE49-F238E27FC236}">
                    <a16:creationId xmlns:a16="http://schemas.microsoft.com/office/drawing/2014/main" id="{0C12F403-1E4D-914E-1669-E775643762A4}"/>
                  </a:ext>
                </a:extLst>
              </p:cNvPr>
              <p:cNvSpPr/>
              <p:nvPr/>
            </p:nvSpPr>
            <p:spPr>
              <a:xfrm>
                <a:off x="8115051" y="4272075"/>
                <a:ext cx="1180" cy="70589"/>
              </a:xfrm>
              <a:custGeom>
                <a:avLst/>
                <a:gdLst>
                  <a:gd name="connsiteX0" fmla="*/ 0 w 1180"/>
                  <a:gd name="connsiteY0" fmla="*/ 0 h 70589"/>
                  <a:gd name="connsiteX1" fmla="*/ 0 w 1180"/>
                  <a:gd name="connsiteY1" fmla="*/ 70590 h 705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80" h="70589">
                    <a:moveTo>
                      <a:pt x="0" y="0"/>
                    </a:moveTo>
                    <a:lnTo>
                      <a:pt x="0" y="7059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033" name="Forma livre: Forma 2032">
                <a:extLst>
                  <a:ext uri="{FF2B5EF4-FFF2-40B4-BE49-F238E27FC236}">
                    <a16:creationId xmlns:a16="http://schemas.microsoft.com/office/drawing/2014/main" id="{581ABAFF-6F4C-E6F8-4A28-F9A04BBD0482}"/>
                  </a:ext>
                </a:extLst>
              </p:cNvPr>
              <p:cNvSpPr/>
              <p:nvPr/>
            </p:nvSpPr>
            <p:spPr>
              <a:xfrm>
                <a:off x="8115051" y="4155295"/>
                <a:ext cx="1180" cy="75559"/>
              </a:xfrm>
              <a:custGeom>
                <a:avLst/>
                <a:gdLst>
                  <a:gd name="connsiteX0" fmla="*/ 0 w 1180"/>
                  <a:gd name="connsiteY0" fmla="*/ 75559 h 75559"/>
                  <a:gd name="connsiteX1" fmla="*/ 0 w 1180"/>
                  <a:gd name="connsiteY1" fmla="*/ 0 h 755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80" h="75559">
                    <a:moveTo>
                      <a:pt x="0" y="75559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2034" name="Forma livre: Forma 2033">
              <a:extLst>
                <a:ext uri="{FF2B5EF4-FFF2-40B4-BE49-F238E27FC236}">
                  <a16:creationId xmlns:a16="http://schemas.microsoft.com/office/drawing/2014/main" id="{F8CC46C1-8BE4-C602-60AD-FCDAA8A5E3AB}"/>
                </a:ext>
              </a:extLst>
            </p:cNvPr>
            <p:cNvSpPr/>
            <p:nvPr/>
          </p:nvSpPr>
          <p:spPr>
            <a:xfrm>
              <a:off x="7954879" y="4326056"/>
              <a:ext cx="280398" cy="183013"/>
            </a:xfrm>
            <a:custGeom>
              <a:avLst/>
              <a:gdLst>
                <a:gd name="connsiteX0" fmla="*/ 52989 w 280398"/>
                <a:gd name="connsiteY0" fmla="*/ 36546 h 183013"/>
                <a:gd name="connsiteX1" fmla="*/ 0 w 280398"/>
                <a:gd name="connsiteY1" fmla="*/ 46096 h 183013"/>
                <a:gd name="connsiteX2" fmla="*/ 24683 w 280398"/>
                <a:gd name="connsiteY2" fmla="*/ 183014 h 183013"/>
                <a:gd name="connsiteX3" fmla="*/ 280399 w 280398"/>
                <a:gd name="connsiteY3" fmla="*/ 136930 h 183013"/>
                <a:gd name="connsiteX4" fmla="*/ 255728 w 280398"/>
                <a:gd name="connsiteY4" fmla="*/ 0 h 183013"/>
                <a:gd name="connsiteX5" fmla="*/ 78994 w 280398"/>
                <a:gd name="connsiteY5" fmla="*/ 31860 h 1830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80398" h="183013">
                  <a:moveTo>
                    <a:pt x="52989" y="36546"/>
                  </a:moveTo>
                  <a:lnTo>
                    <a:pt x="0" y="46096"/>
                  </a:lnTo>
                  <a:lnTo>
                    <a:pt x="24683" y="183014"/>
                  </a:lnTo>
                  <a:lnTo>
                    <a:pt x="280399" y="136930"/>
                  </a:lnTo>
                  <a:lnTo>
                    <a:pt x="255728" y="0"/>
                  </a:lnTo>
                  <a:lnTo>
                    <a:pt x="78994" y="3186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2035" name="Gráfico 18">
            <a:extLst>
              <a:ext uri="{FF2B5EF4-FFF2-40B4-BE49-F238E27FC236}">
                <a16:creationId xmlns:a16="http://schemas.microsoft.com/office/drawing/2014/main" id="{70F5ABD3-AC5D-F4CC-974E-77403DA3FFDA}"/>
              </a:ext>
            </a:extLst>
          </p:cNvPr>
          <p:cNvGrpSpPr/>
          <p:nvPr/>
        </p:nvGrpSpPr>
        <p:grpSpPr>
          <a:xfrm>
            <a:off x="9141151" y="3673739"/>
            <a:ext cx="372519" cy="265883"/>
            <a:chOff x="9141151" y="3673739"/>
            <a:chExt cx="372519" cy="265883"/>
          </a:xfrm>
          <a:noFill/>
        </p:grpSpPr>
        <p:sp>
          <p:nvSpPr>
            <p:cNvPr id="2036" name="Forma livre: Forma 2035">
              <a:extLst>
                <a:ext uri="{FF2B5EF4-FFF2-40B4-BE49-F238E27FC236}">
                  <a16:creationId xmlns:a16="http://schemas.microsoft.com/office/drawing/2014/main" id="{8EFD889E-8253-17DC-99C4-9D8C3AA5A006}"/>
                </a:ext>
              </a:extLst>
            </p:cNvPr>
            <p:cNvSpPr/>
            <p:nvPr/>
          </p:nvSpPr>
          <p:spPr>
            <a:xfrm>
              <a:off x="9265225" y="3673739"/>
              <a:ext cx="124642" cy="82548"/>
            </a:xfrm>
            <a:custGeom>
              <a:avLst/>
              <a:gdLst>
                <a:gd name="connsiteX0" fmla="*/ 1 w 124642"/>
                <a:gd name="connsiteY0" fmla="*/ 82548 h 82548"/>
                <a:gd name="connsiteX1" fmla="*/ 1 w 124642"/>
                <a:gd name="connsiteY1" fmla="*/ 58220 h 82548"/>
                <a:gd name="connsiteX2" fmla="*/ 57558 w 124642"/>
                <a:gd name="connsiteY2" fmla="*/ 1 h 82548"/>
                <a:gd name="connsiteX3" fmla="*/ 66483 w 124642"/>
                <a:gd name="connsiteY3" fmla="*/ 1 h 82548"/>
                <a:gd name="connsiteX4" fmla="*/ 124642 w 124642"/>
                <a:gd name="connsiteY4" fmla="*/ 57547 h 82548"/>
                <a:gd name="connsiteX5" fmla="*/ 124642 w 124642"/>
                <a:gd name="connsiteY5" fmla="*/ 82548 h 825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24642" h="82548">
                  <a:moveTo>
                    <a:pt x="1" y="82548"/>
                  </a:moveTo>
                  <a:lnTo>
                    <a:pt x="1" y="58220"/>
                  </a:lnTo>
                  <a:cubicBezTo>
                    <a:pt x="-164" y="26395"/>
                    <a:pt x="25734" y="166"/>
                    <a:pt x="57558" y="1"/>
                  </a:cubicBezTo>
                  <a:lnTo>
                    <a:pt x="66483" y="1"/>
                  </a:lnTo>
                  <a:cubicBezTo>
                    <a:pt x="98307" y="-164"/>
                    <a:pt x="124465" y="25722"/>
                    <a:pt x="124642" y="57547"/>
                  </a:cubicBezTo>
                  <a:lnTo>
                    <a:pt x="124642" y="82548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37" name="Forma livre: Forma 2036">
              <a:extLst>
                <a:ext uri="{FF2B5EF4-FFF2-40B4-BE49-F238E27FC236}">
                  <a16:creationId xmlns:a16="http://schemas.microsoft.com/office/drawing/2014/main" id="{CA3EA96A-C744-C557-038D-844D2FE2C6AF}"/>
                </a:ext>
              </a:extLst>
            </p:cNvPr>
            <p:cNvSpPr/>
            <p:nvPr/>
          </p:nvSpPr>
          <p:spPr>
            <a:xfrm>
              <a:off x="9291089" y="3700134"/>
              <a:ext cx="72938" cy="56152"/>
            </a:xfrm>
            <a:custGeom>
              <a:avLst/>
              <a:gdLst>
                <a:gd name="connsiteX0" fmla="*/ 0 w 72938"/>
                <a:gd name="connsiteY0" fmla="*/ 56153 h 56152"/>
                <a:gd name="connsiteX1" fmla="*/ 0 w 72938"/>
                <a:gd name="connsiteY1" fmla="*/ 34716 h 56152"/>
                <a:gd name="connsiteX2" fmla="*/ 34705 w 72938"/>
                <a:gd name="connsiteY2" fmla="*/ 0 h 56152"/>
                <a:gd name="connsiteX3" fmla="*/ 38222 w 72938"/>
                <a:gd name="connsiteY3" fmla="*/ 0 h 56152"/>
                <a:gd name="connsiteX4" fmla="*/ 72939 w 72938"/>
                <a:gd name="connsiteY4" fmla="*/ 34716 h 56152"/>
                <a:gd name="connsiteX5" fmla="*/ 72939 w 72938"/>
                <a:gd name="connsiteY5" fmla="*/ 56153 h 561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2938" h="56152">
                  <a:moveTo>
                    <a:pt x="0" y="56153"/>
                  </a:moveTo>
                  <a:lnTo>
                    <a:pt x="0" y="34716"/>
                  </a:lnTo>
                  <a:cubicBezTo>
                    <a:pt x="0" y="15617"/>
                    <a:pt x="15617" y="0"/>
                    <a:pt x="34705" y="0"/>
                  </a:cubicBezTo>
                  <a:lnTo>
                    <a:pt x="38222" y="0"/>
                  </a:lnTo>
                  <a:cubicBezTo>
                    <a:pt x="57322" y="0"/>
                    <a:pt x="72939" y="15617"/>
                    <a:pt x="72939" y="34716"/>
                  </a:cubicBezTo>
                  <a:lnTo>
                    <a:pt x="72939" y="56153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38" name="Forma livre: Forma 2037">
              <a:extLst>
                <a:ext uri="{FF2B5EF4-FFF2-40B4-BE49-F238E27FC236}">
                  <a16:creationId xmlns:a16="http://schemas.microsoft.com/office/drawing/2014/main" id="{9EDBCAA3-769F-077A-32B3-5626DA1CA162}"/>
                </a:ext>
              </a:extLst>
            </p:cNvPr>
            <p:cNvSpPr/>
            <p:nvPr/>
          </p:nvSpPr>
          <p:spPr>
            <a:xfrm>
              <a:off x="9327552" y="3853920"/>
              <a:ext cx="1180" cy="35436"/>
            </a:xfrm>
            <a:custGeom>
              <a:avLst/>
              <a:gdLst>
                <a:gd name="connsiteX0" fmla="*/ 0 w 1180"/>
                <a:gd name="connsiteY0" fmla="*/ 0 h 35436"/>
                <a:gd name="connsiteX1" fmla="*/ 0 w 1180"/>
                <a:gd name="connsiteY1" fmla="*/ 35436 h 354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80" h="35436">
                  <a:moveTo>
                    <a:pt x="0" y="0"/>
                  </a:moveTo>
                  <a:lnTo>
                    <a:pt x="0" y="35436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39" name="Forma livre: Forma 2038">
              <a:extLst>
                <a:ext uri="{FF2B5EF4-FFF2-40B4-BE49-F238E27FC236}">
                  <a16:creationId xmlns:a16="http://schemas.microsoft.com/office/drawing/2014/main" id="{F73BE1C7-5A32-AC40-FCCA-222CFB34C08D}"/>
                </a:ext>
              </a:extLst>
            </p:cNvPr>
            <p:cNvSpPr/>
            <p:nvPr/>
          </p:nvSpPr>
          <p:spPr>
            <a:xfrm>
              <a:off x="9310342" y="3817457"/>
              <a:ext cx="34421" cy="34409"/>
            </a:xfrm>
            <a:custGeom>
              <a:avLst/>
              <a:gdLst>
                <a:gd name="connsiteX0" fmla="*/ 34421 w 34421"/>
                <a:gd name="connsiteY0" fmla="*/ 17211 h 34409"/>
                <a:gd name="connsiteX1" fmla="*/ 17222 w 34421"/>
                <a:gd name="connsiteY1" fmla="*/ 34409 h 34409"/>
                <a:gd name="connsiteX2" fmla="*/ 0 w 34421"/>
                <a:gd name="connsiteY2" fmla="*/ 17211 h 34409"/>
                <a:gd name="connsiteX3" fmla="*/ 17222 w 34421"/>
                <a:gd name="connsiteY3" fmla="*/ 0 h 34409"/>
                <a:gd name="connsiteX4" fmla="*/ 34421 w 34421"/>
                <a:gd name="connsiteY4" fmla="*/ 17211 h 34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421" h="34409">
                  <a:moveTo>
                    <a:pt x="34421" y="17211"/>
                  </a:moveTo>
                  <a:cubicBezTo>
                    <a:pt x="34421" y="26749"/>
                    <a:pt x="26772" y="34409"/>
                    <a:pt x="17222" y="34409"/>
                  </a:cubicBezTo>
                  <a:cubicBezTo>
                    <a:pt x="7673" y="34409"/>
                    <a:pt x="0" y="26749"/>
                    <a:pt x="0" y="17211"/>
                  </a:cubicBezTo>
                  <a:cubicBezTo>
                    <a:pt x="0" y="7673"/>
                    <a:pt x="7732" y="0"/>
                    <a:pt x="17222" y="0"/>
                  </a:cubicBezTo>
                  <a:cubicBezTo>
                    <a:pt x="26713" y="0"/>
                    <a:pt x="34421" y="7661"/>
                    <a:pt x="34421" y="17211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2040" name="Gráfico 18">
              <a:extLst>
                <a:ext uri="{FF2B5EF4-FFF2-40B4-BE49-F238E27FC236}">
                  <a16:creationId xmlns:a16="http://schemas.microsoft.com/office/drawing/2014/main" id="{FE878D0D-760E-887D-205D-FA608A77424F}"/>
                </a:ext>
              </a:extLst>
            </p:cNvPr>
            <p:cNvGrpSpPr/>
            <p:nvPr/>
          </p:nvGrpSpPr>
          <p:grpSpPr>
            <a:xfrm>
              <a:off x="9141151" y="3768404"/>
              <a:ext cx="372519" cy="171218"/>
              <a:chOff x="9141151" y="3768404"/>
              <a:chExt cx="372519" cy="171218"/>
            </a:xfrm>
            <a:noFill/>
          </p:grpSpPr>
          <p:grpSp>
            <p:nvGrpSpPr>
              <p:cNvPr id="2041" name="Gráfico 18">
                <a:extLst>
                  <a:ext uri="{FF2B5EF4-FFF2-40B4-BE49-F238E27FC236}">
                    <a16:creationId xmlns:a16="http://schemas.microsoft.com/office/drawing/2014/main" id="{2163D3AD-F62A-B4DD-9441-1636B298B009}"/>
                  </a:ext>
                </a:extLst>
              </p:cNvPr>
              <p:cNvGrpSpPr/>
              <p:nvPr/>
            </p:nvGrpSpPr>
            <p:grpSpPr>
              <a:xfrm>
                <a:off x="9141151" y="3768404"/>
                <a:ext cx="61538" cy="171218"/>
                <a:chOff x="9141151" y="3768404"/>
                <a:chExt cx="61538" cy="171218"/>
              </a:xfrm>
              <a:noFill/>
            </p:grpSpPr>
            <p:sp>
              <p:nvSpPr>
                <p:cNvPr id="2042" name="Forma livre: Forma 2041">
                  <a:extLst>
                    <a:ext uri="{FF2B5EF4-FFF2-40B4-BE49-F238E27FC236}">
                      <a16:creationId xmlns:a16="http://schemas.microsoft.com/office/drawing/2014/main" id="{A2460EF4-AB6D-B226-331B-AD1F968FE814}"/>
                    </a:ext>
                  </a:extLst>
                </p:cNvPr>
                <p:cNvSpPr/>
                <p:nvPr/>
              </p:nvSpPr>
              <p:spPr>
                <a:xfrm>
                  <a:off x="9141151" y="3834691"/>
                  <a:ext cx="38647" cy="38647"/>
                </a:xfrm>
                <a:custGeom>
                  <a:avLst/>
                  <a:gdLst>
                    <a:gd name="connsiteX0" fmla="*/ 20516 w 38647"/>
                    <a:gd name="connsiteY0" fmla="*/ 0 h 38647"/>
                    <a:gd name="connsiteX1" fmla="*/ 38647 w 38647"/>
                    <a:gd name="connsiteY1" fmla="*/ 19324 h 38647"/>
                    <a:gd name="connsiteX2" fmla="*/ 19312 w 38647"/>
                    <a:gd name="connsiteY2" fmla="*/ 38647 h 38647"/>
                    <a:gd name="connsiteX3" fmla="*/ 0 w 38647"/>
                    <a:gd name="connsiteY3" fmla="*/ 19324 h 38647"/>
                    <a:gd name="connsiteX4" fmla="*/ 20516 w 38647"/>
                    <a:gd name="connsiteY4" fmla="*/ 0 h 3864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8647" h="38647">
                      <a:moveTo>
                        <a:pt x="20516" y="0"/>
                      </a:moveTo>
                      <a:cubicBezTo>
                        <a:pt x="31199" y="0"/>
                        <a:pt x="38647" y="8653"/>
                        <a:pt x="38647" y="19324"/>
                      </a:cubicBezTo>
                      <a:cubicBezTo>
                        <a:pt x="38647" y="29995"/>
                        <a:pt x="29995" y="38647"/>
                        <a:pt x="19312" y="38647"/>
                      </a:cubicBezTo>
                      <a:cubicBezTo>
                        <a:pt x="8629" y="38647"/>
                        <a:pt x="0" y="29995"/>
                        <a:pt x="0" y="19324"/>
                      </a:cubicBezTo>
                      <a:cubicBezTo>
                        <a:pt x="0" y="8653"/>
                        <a:pt x="9845" y="0"/>
                        <a:pt x="20516" y="0"/>
                      </a:cubicBezTo>
                      <a:close/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043" name="Forma livre: Forma 2042">
                  <a:extLst>
                    <a:ext uri="{FF2B5EF4-FFF2-40B4-BE49-F238E27FC236}">
                      <a16:creationId xmlns:a16="http://schemas.microsoft.com/office/drawing/2014/main" id="{34727CF6-5A9A-FF49-BF97-BF6E5E8BE40B}"/>
                    </a:ext>
                  </a:extLst>
                </p:cNvPr>
                <p:cNvSpPr/>
                <p:nvPr/>
              </p:nvSpPr>
              <p:spPr>
                <a:xfrm>
                  <a:off x="9164051" y="3768404"/>
                  <a:ext cx="38638" cy="38623"/>
                </a:xfrm>
                <a:custGeom>
                  <a:avLst/>
                  <a:gdLst>
                    <a:gd name="connsiteX0" fmla="*/ 32981 w 38638"/>
                    <a:gd name="connsiteY0" fmla="*/ 5648 h 38623"/>
                    <a:gd name="connsiteX1" fmla="*/ 32981 w 38638"/>
                    <a:gd name="connsiteY1" fmla="*/ 32975 h 38623"/>
                    <a:gd name="connsiteX2" fmla="*/ 5666 w 38638"/>
                    <a:gd name="connsiteY2" fmla="*/ 32975 h 38623"/>
                    <a:gd name="connsiteX3" fmla="*/ 5666 w 38638"/>
                    <a:gd name="connsiteY3" fmla="*/ 5648 h 38623"/>
                    <a:gd name="connsiteX4" fmla="*/ 32981 w 38638"/>
                    <a:gd name="connsiteY4" fmla="*/ 5648 h 3862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8638" h="38623">
                      <a:moveTo>
                        <a:pt x="32981" y="5648"/>
                      </a:moveTo>
                      <a:cubicBezTo>
                        <a:pt x="40524" y="13191"/>
                        <a:pt x="40524" y="25432"/>
                        <a:pt x="32981" y="32975"/>
                      </a:cubicBezTo>
                      <a:cubicBezTo>
                        <a:pt x="25450" y="40506"/>
                        <a:pt x="13209" y="40506"/>
                        <a:pt x="5666" y="32975"/>
                      </a:cubicBezTo>
                      <a:cubicBezTo>
                        <a:pt x="-1889" y="25432"/>
                        <a:pt x="-1889" y="13191"/>
                        <a:pt x="5666" y="5648"/>
                      </a:cubicBezTo>
                      <a:cubicBezTo>
                        <a:pt x="13209" y="-1883"/>
                        <a:pt x="25450" y="-1883"/>
                        <a:pt x="32981" y="5648"/>
                      </a:cubicBezTo>
                      <a:close/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044" name="Forma livre: Forma 2043">
                  <a:extLst>
                    <a:ext uri="{FF2B5EF4-FFF2-40B4-BE49-F238E27FC236}">
                      <a16:creationId xmlns:a16="http://schemas.microsoft.com/office/drawing/2014/main" id="{228D434D-1F7B-B91C-1630-40A0282368F1}"/>
                    </a:ext>
                  </a:extLst>
                </p:cNvPr>
                <p:cNvSpPr/>
                <p:nvPr/>
              </p:nvSpPr>
              <p:spPr>
                <a:xfrm>
                  <a:off x="9164051" y="3900993"/>
                  <a:ext cx="38638" cy="38629"/>
                </a:xfrm>
                <a:custGeom>
                  <a:avLst/>
                  <a:gdLst>
                    <a:gd name="connsiteX0" fmla="*/ 32981 w 38638"/>
                    <a:gd name="connsiteY0" fmla="*/ 32972 h 38629"/>
                    <a:gd name="connsiteX1" fmla="*/ 32981 w 38638"/>
                    <a:gd name="connsiteY1" fmla="*/ 5657 h 38629"/>
                    <a:gd name="connsiteX2" fmla="*/ 5666 w 38638"/>
                    <a:gd name="connsiteY2" fmla="*/ 5657 h 38629"/>
                    <a:gd name="connsiteX3" fmla="*/ 5666 w 38638"/>
                    <a:gd name="connsiteY3" fmla="*/ 32972 h 38629"/>
                    <a:gd name="connsiteX4" fmla="*/ 32981 w 38638"/>
                    <a:gd name="connsiteY4" fmla="*/ 32972 h 3862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8638" h="38629">
                      <a:moveTo>
                        <a:pt x="32981" y="32972"/>
                      </a:moveTo>
                      <a:cubicBezTo>
                        <a:pt x="40524" y="25441"/>
                        <a:pt x="40524" y="13200"/>
                        <a:pt x="32981" y="5657"/>
                      </a:cubicBezTo>
                      <a:cubicBezTo>
                        <a:pt x="25450" y="-1886"/>
                        <a:pt x="13209" y="-1886"/>
                        <a:pt x="5666" y="5657"/>
                      </a:cubicBezTo>
                      <a:cubicBezTo>
                        <a:pt x="-1889" y="13188"/>
                        <a:pt x="-1889" y="25441"/>
                        <a:pt x="5666" y="32972"/>
                      </a:cubicBezTo>
                      <a:cubicBezTo>
                        <a:pt x="13209" y="40515"/>
                        <a:pt x="25450" y="40515"/>
                        <a:pt x="32981" y="32972"/>
                      </a:cubicBezTo>
                      <a:close/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2045" name="Gráfico 18">
                <a:extLst>
                  <a:ext uri="{FF2B5EF4-FFF2-40B4-BE49-F238E27FC236}">
                    <a16:creationId xmlns:a16="http://schemas.microsoft.com/office/drawing/2014/main" id="{CA080455-953D-4C56-6FF2-F290D1D6D89C}"/>
                  </a:ext>
                </a:extLst>
              </p:cNvPr>
              <p:cNvGrpSpPr/>
              <p:nvPr/>
            </p:nvGrpSpPr>
            <p:grpSpPr>
              <a:xfrm>
                <a:off x="9413074" y="3768404"/>
                <a:ext cx="100596" cy="171218"/>
                <a:chOff x="9413074" y="3768404"/>
                <a:chExt cx="100596" cy="171218"/>
              </a:xfrm>
              <a:noFill/>
            </p:grpSpPr>
            <p:grpSp>
              <p:nvGrpSpPr>
                <p:cNvPr id="2046" name="Gráfico 18">
                  <a:extLst>
                    <a:ext uri="{FF2B5EF4-FFF2-40B4-BE49-F238E27FC236}">
                      <a16:creationId xmlns:a16="http://schemas.microsoft.com/office/drawing/2014/main" id="{334B88B3-46A0-3C41-0F67-9BF257D99AD2}"/>
                    </a:ext>
                  </a:extLst>
                </p:cNvPr>
                <p:cNvGrpSpPr/>
                <p:nvPr/>
              </p:nvGrpSpPr>
              <p:grpSpPr>
                <a:xfrm>
                  <a:off x="9452155" y="3768404"/>
                  <a:ext cx="61515" cy="171218"/>
                  <a:chOff x="9452155" y="3768404"/>
                  <a:chExt cx="61515" cy="171218"/>
                </a:xfrm>
                <a:noFill/>
              </p:grpSpPr>
              <p:sp>
                <p:nvSpPr>
                  <p:cNvPr id="2047" name="Forma livre: Forma 2046">
                    <a:extLst>
                      <a:ext uri="{FF2B5EF4-FFF2-40B4-BE49-F238E27FC236}">
                        <a16:creationId xmlns:a16="http://schemas.microsoft.com/office/drawing/2014/main" id="{FBFB5713-CC8C-5A12-6377-08A2C7EC8B82}"/>
                      </a:ext>
                    </a:extLst>
                  </p:cNvPr>
                  <p:cNvSpPr/>
                  <p:nvPr/>
                </p:nvSpPr>
                <p:spPr>
                  <a:xfrm>
                    <a:off x="9475035" y="3834691"/>
                    <a:ext cx="38635" cy="38647"/>
                  </a:xfrm>
                  <a:custGeom>
                    <a:avLst/>
                    <a:gdLst>
                      <a:gd name="connsiteX0" fmla="*/ 18131 w 38635"/>
                      <a:gd name="connsiteY0" fmla="*/ 0 h 38647"/>
                      <a:gd name="connsiteX1" fmla="*/ 0 w 38635"/>
                      <a:gd name="connsiteY1" fmla="*/ 19324 h 38647"/>
                      <a:gd name="connsiteX2" fmla="*/ 19324 w 38635"/>
                      <a:gd name="connsiteY2" fmla="*/ 38647 h 38647"/>
                      <a:gd name="connsiteX3" fmla="*/ 38635 w 38635"/>
                      <a:gd name="connsiteY3" fmla="*/ 19324 h 38647"/>
                      <a:gd name="connsiteX4" fmla="*/ 18131 w 38635"/>
                      <a:gd name="connsiteY4" fmla="*/ 0 h 3864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38635" h="38647">
                        <a:moveTo>
                          <a:pt x="18131" y="0"/>
                        </a:moveTo>
                        <a:cubicBezTo>
                          <a:pt x="7460" y="0"/>
                          <a:pt x="0" y="8653"/>
                          <a:pt x="0" y="19324"/>
                        </a:cubicBezTo>
                        <a:cubicBezTo>
                          <a:pt x="0" y="29995"/>
                          <a:pt x="8652" y="38647"/>
                          <a:pt x="19324" y="38647"/>
                        </a:cubicBezTo>
                        <a:cubicBezTo>
                          <a:pt x="29995" y="38647"/>
                          <a:pt x="38635" y="29995"/>
                          <a:pt x="38635" y="19324"/>
                        </a:cubicBezTo>
                        <a:cubicBezTo>
                          <a:pt x="38635" y="8653"/>
                          <a:pt x="28791" y="0"/>
                          <a:pt x="18131" y="0"/>
                        </a:cubicBezTo>
                        <a:close/>
                      </a:path>
                    </a:pathLst>
                  </a:custGeom>
                  <a:noFill/>
                  <a:ln w="6350" cap="flat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2048" name="Forma livre: Forma 2047">
                    <a:extLst>
                      <a:ext uri="{FF2B5EF4-FFF2-40B4-BE49-F238E27FC236}">
                        <a16:creationId xmlns:a16="http://schemas.microsoft.com/office/drawing/2014/main" id="{D676CB6F-6A29-67A7-4E6E-CAA12C980909}"/>
                      </a:ext>
                    </a:extLst>
                  </p:cNvPr>
                  <p:cNvSpPr/>
                  <p:nvPr/>
                </p:nvSpPr>
                <p:spPr>
                  <a:xfrm>
                    <a:off x="9452155" y="3768404"/>
                    <a:ext cx="38629" cy="38623"/>
                  </a:xfrm>
                  <a:custGeom>
                    <a:avLst/>
                    <a:gdLst>
                      <a:gd name="connsiteX0" fmla="*/ 5657 w 38629"/>
                      <a:gd name="connsiteY0" fmla="*/ 5648 h 38623"/>
                      <a:gd name="connsiteX1" fmla="*/ 5657 w 38629"/>
                      <a:gd name="connsiteY1" fmla="*/ 32975 h 38623"/>
                      <a:gd name="connsiteX2" fmla="*/ 32972 w 38629"/>
                      <a:gd name="connsiteY2" fmla="*/ 32975 h 38623"/>
                      <a:gd name="connsiteX3" fmla="*/ 32972 w 38629"/>
                      <a:gd name="connsiteY3" fmla="*/ 5648 h 38623"/>
                      <a:gd name="connsiteX4" fmla="*/ 5657 w 38629"/>
                      <a:gd name="connsiteY4" fmla="*/ 5648 h 3862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38629" h="38623">
                        <a:moveTo>
                          <a:pt x="5657" y="5648"/>
                        </a:moveTo>
                        <a:cubicBezTo>
                          <a:pt x="-1886" y="13191"/>
                          <a:pt x="-1886" y="25432"/>
                          <a:pt x="5657" y="32975"/>
                        </a:cubicBezTo>
                        <a:cubicBezTo>
                          <a:pt x="13188" y="40506"/>
                          <a:pt x="25429" y="40506"/>
                          <a:pt x="32972" y="32975"/>
                        </a:cubicBezTo>
                        <a:cubicBezTo>
                          <a:pt x="40515" y="25432"/>
                          <a:pt x="40515" y="13191"/>
                          <a:pt x="32972" y="5648"/>
                        </a:cubicBezTo>
                        <a:cubicBezTo>
                          <a:pt x="25429" y="-1883"/>
                          <a:pt x="13188" y="-1883"/>
                          <a:pt x="5657" y="5648"/>
                        </a:cubicBezTo>
                        <a:close/>
                      </a:path>
                    </a:pathLst>
                  </a:custGeom>
                  <a:noFill/>
                  <a:ln w="6350" cap="flat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2049" name="Forma livre: Forma 2048">
                    <a:extLst>
                      <a:ext uri="{FF2B5EF4-FFF2-40B4-BE49-F238E27FC236}">
                        <a16:creationId xmlns:a16="http://schemas.microsoft.com/office/drawing/2014/main" id="{07A3E31D-4BB9-ED26-3C88-7961E9938839}"/>
                      </a:ext>
                    </a:extLst>
                  </p:cNvPr>
                  <p:cNvSpPr/>
                  <p:nvPr/>
                </p:nvSpPr>
                <p:spPr>
                  <a:xfrm>
                    <a:off x="9452155" y="3900993"/>
                    <a:ext cx="38629" cy="38629"/>
                  </a:xfrm>
                  <a:custGeom>
                    <a:avLst/>
                    <a:gdLst>
                      <a:gd name="connsiteX0" fmla="*/ 5657 w 38629"/>
                      <a:gd name="connsiteY0" fmla="*/ 32972 h 38629"/>
                      <a:gd name="connsiteX1" fmla="*/ 5657 w 38629"/>
                      <a:gd name="connsiteY1" fmla="*/ 5657 h 38629"/>
                      <a:gd name="connsiteX2" fmla="*/ 32972 w 38629"/>
                      <a:gd name="connsiteY2" fmla="*/ 5657 h 38629"/>
                      <a:gd name="connsiteX3" fmla="*/ 32972 w 38629"/>
                      <a:gd name="connsiteY3" fmla="*/ 32972 h 38629"/>
                      <a:gd name="connsiteX4" fmla="*/ 5657 w 38629"/>
                      <a:gd name="connsiteY4" fmla="*/ 32972 h 3862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38629" h="38629">
                        <a:moveTo>
                          <a:pt x="5657" y="32972"/>
                        </a:moveTo>
                        <a:cubicBezTo>
                          <a:pt x="-1886" y="25441"/>
                          <a:pt x="-1886" y="13200"/>
                          <a:pt x="5657" y="5657"/>
                        </a:cubicBezTo>
                        <a:cubicBezTo>
                          <a:pt x="13188" y="-1886"/>
                          <a:pt x="25429" y="-1886"/>
                          <a:pt x="32972" y="5657"/>
                        </a:cubicBezTo>
                        <a:cubicBezTo>
                          <a:pt x="40515" y="13188"/>
                          <a:pt x="40515" y="25441"/>
                          <a:pt x="32972" y="32972"/>
                        </a:cubicBezTo>
                        <a:cubicBezTo>
                          <a:pt x="25429" y="40515"/>
                          <a:pt x="13188" y="40515"/>
                          <a:pt x="5657" y="32972"/>
                        </a:cubicBezTo>
                        <a:close/>
                      </a:path>
                    </a:pathLst>
                  </a:custGeom>
                  <a:noFill/>
                  <a:ln w="6350" cap="flat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  <p:sp>
              <p:nvSpPr>
                <p:cNvPr id="2050" name="Forma livre: Forma 2049">
                  <a:extLst>
                    <a:ext uri="{FF2B5EF4-FFF2-40B4-BE49-F238E27FC236}">
                      <a16:creationId xmlns:a16="http://schemas.microsoft.com/office/drawing/2014/main" id="{9B2F6435-5FCB-1E60-7976-24DA057F9A79}"/>
                    </a:ext>
                  </a:extLst>
                </p:cNvPr>
                <p:cNvSpPr/>
                <p:nvPr/>
              </p:nvSpPr>
              <p:spPr>
                <a:xfrm>
                  <a:off x="9413074" y="3801438"/>
                  <a:ext cx="44679" cy="33807"/>
                </a:xfrm>
                <a:custGeom>
                  <a:avLst/>
                  <a:gdLst>
                    <a:gd name="connsiteX0" fmla="*/ 44679 w 44679"/>
                    <a:gd name="connsiteY0" fmla="*/ 0 h 33807"/>
                    <a:gd name="connsiteX1" fmla="*/ 27870 w 44679"/>
                    <a:gd name="connsiteY1" fmla="*/ 19253 h 33807"/>
                    <a:gd name="connsiteX2" fmla="*/ 0 w 44679"/>
                    <a:gd name="connsiteY2" fmla="*/ 19253 h 33807"/>
                    <a:gd name="connsiteX3" fmla="*/ 0 w 44679"/>
                    <a:gd name="connsiteY3" fmla="*/ 33807 h 3380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4679" h="33807">
                      <a:moveTo>
                        <a:pt x="44679" y="0"/>
                      </a:moveTo>
                      <a:lnTo>
                        <a:pt x="27870" y="19253"/>
                      </a:lnTo>
                      <a:lnTo>
                        <a:pt x="0" y="19253"/>
                      </a:lnTo>
                      <a:lnTo>
                        <a:pt x="0" y="33807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051" name="Forma livre: Forma 2050">
                  <a:extLst>
                    <a:ext uri="{FF2B5EF4-FFF2-40B4-BE49-F238E27FC236}">
                      <a16:creationId xmlns:a16="http://schemas.microsoft.com/office/drawing/2014/main" id="{B142397A-5470-CCEE-5EAB-9C638756B58C}"/>
                    </a:ext>
                  </a:extLst>
                </p:cNvPr>
                <p:cNvSpPr/>
                <p:nvPr/>
              </p:nvSpPr>
              <p:spPr>
                <a:xfrm>
                  <a:off x="9413074" y="3854015"/>
                  <a:ext cx="62173" cy="52576"/>
                </a:xfrm>
                <a:custGeom>
                  <a:avLst/>
                  <a:gdLst>
                    <a:gd name="connsiteX0" fmla="*/ 44679 w 62173"/>
                    <a:gd name="connsiteY0" fmla="*/ 52576 h 52576"/>
                    <a:gd name="connsiteX1" fmla="*/ 27870 w 62173"/>
                    <a:gd name="connsiteY1" fmla="*/ 33312 h 52576"/>
                    <a:gd name="connsiteX2" fmla="*/ 0 w 62173"/>
                    <a:gd name="connsiteY2" fmla="*/ 33312 h 52576"/>
                    <a:gd name="connsiteX3" fmla="*/ 0 w 62173"/>
                    <a:gd name="connsiteY3" fmla="*/ 0 h 52576"/>
                    <a:gd name="connsiteX4" fmla="*/ 62173 w 62173"/>
                    <a:gd name="connsiteY4" fmla="*/ 0 h 5257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62173" h="52576">
                      <a:moveTo>
                        <a:pt x="44679" y="52576"/>
                      </a:moveTo>
                      <a:lnTo>
                        <a:pt x="27870" y="33312"/>
                      </a:lnTo>
                      <a:lnTo>
                        <a:pt x="0" y="33312"/>
                      </a:lnTo>
                      <a:lnTo>
                        <a:pt x="0" y="0"/>
                      </a:lnTo>
                      <a:lnTo>
                        <a:pt x="62173" y="0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2052" name="Forma livre: Forma 2051">
                <a:extLst>
                  <a:ext uri="{FF2B5EF4-FFF2-40B4-BE49-F238E27FC236}">
                    <a16:creationId xmlns:a16="http://schemas.microsoft.com/office/drawing/2014/main" id="{DCE566C8-5E67-88B3-B6A3-80822DEE94B1}"/>
                  </a:ext>
                </a:extLst>
              </p:cNvPr>
              <p:cNvSpPr/>
              <p:nvPr/>
            </p:nvSpPr>
            <p:spPr>
              <a:xfrm>
                <a:off x="9197079" y="3801438"/>
                <a:ext cx="44691" cy="33807"/>
              </a:xfrm>
              <a:custGeom>
                <a:avLst/>
                <a:gdLst>
                  <a:gd name="connsiteX0" fmla="*/ 0 w 44691"/>
                  <a:gd name="connsiteY0" fmla="*/ 0 h 33807"/>
                  <a:gd name="connsiteX1" fmla="*/ 16821 w 44691"/>
                  <a:gd name="connsiteY1" fmla="*/ 19253 h 33807"/>
                  <a:gd name="connsiteX2" fmla="*/ 44691 w 44691"/>
                  <a:gd name="connsiteY2" fmla="*/ 19253 h 33807"/>
                  <a:gd name="connsiteX3" fmla="*/ 44691 w 44691"/>
                  <a:gd name="connsiteY3" fmla="*/ 33807 h 338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4691" h="33807">
                    <a:moveTo>
                      <a:pt x="0" y="0"/>
                    </a:moveTo>
                    <a:lnTo>
                      <a:pt x="16821" y="19253"/>
                    </a:lnTo>
                    <a:lnTo>
                      <a:pt x="44691" y="19253"/>
                    </a:lnTo>
                    <a:lnTo>
                      <a:pt x="44691" y="33807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053" name="Forma livre: Forma 2052">
                <a:extLst>
                  <a:ext uri="{FF2B5EF4-FFF2-40B4-BE49-F238E27FC236}">
                    <a16:creationId xmlns:a16="http://schemas.microsoft.com/office/drawing/2014/main" id="{DD6FDCE3-E184-1895-A4BC-F77D6668B2E5}"/>
                  </a:ext>
                </a:extLst>
              </p:cNvPr>
              <p:cNvSpPr/>
              <p:nvPr/>
            </p:nvSpPr>
            <p:spPr>
              <a:xfrm>
                <a:off x="9179585" y="3854015"/>
                <a:ext cx="62184" cy="52576"/>
              </a:xfrm>
              <a:custGeom>
                <a:avLst/>
                <a:gdLst>
                  <a:gd name="connsiteX0" fmla="*/ 17494 w 62184"/>
                  <a:gd name="connsiteY0" fmla="*/ 52576 h 52576"/>
                  <a:gd name="connsiteX1" fmla="*/ 34315 w 62184"/>
                  <a:gd name="connsiteY1" fmla="*/ 33312 h 52576"/>
                  <a:gd name="connsiteX2" fmla="*/ 62185 w 62184"/>
                  <a:gd name="connsiteY2" fmla="*/ 33312 h 52576"/>
                  <a:gd name="connsiteX3" fmla="*/ 62185 w 62184"/>
                  <a:gd name="connsiteY3" fmla="*/ 0 h 52576"/>
                  <a:gd name="connsiteX4" fmla="*/ 0 w 62184"/>
                  <a:gd name="connsiteY4" fmla="*/ 0 h 525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2184" h="52576">
                    <a:moveTo>
                      <a:pt x="17494" y="52576"/>
                    </a:moveTo>
                    <a:lnTo>
                      <a:pt x="34315" y="33312"/>
                    </a:lnTo>
                    <a:lnTo>
                      <a:pt x="62185" y="33312"/>
                    </a:lnTo>
                    <a:lnTo>
                      <a:pt x="62185" y="0"/>
                    </a:lnTo>
                    <a:lnTo>
                      <a:pt x="0" y="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2054" name="Forma livre: Forma 2053">
              <a:extLst>
                <a:ext uri="{FF2B5EF4-FFF2-40B4-BE49-F238E27FC236}">
                  <a16:creationId xmlns:a16="http://schemas.microsoft.com/office/drawing/2014/main" id="{7F11795B-7033-0897-4D0D-DE6ED743388B}"/>
                </a:ext>
              </a:extLst>
            </p:cNvPr>
            <p:cNvSpPr/>
            <p:nvPr/>
          </p:nvSpPr>
          <p:spPr>
            <a:xfrm>
              <a:off x="9241759" y="3776024"/>
              <a:ext cx="171315" cy="25473"/>
            </a:xfrm>
            <a:custGeom>
              <a:avLst/>
              <a:gdLst>
                <a:gd name="connsiteX0" fmla="*/ 171316 w 171315"/>
                <a:gd name="connsiteY0" fmla="*/ 25474 h 25473"/>
                <a:gd name="connsiteX1" fmla="*/ 171316 w 171315"/>
                <a:gd name="connsiteY1" fmla="*/ 14389 h 25473"/>
                <a:gd name="connsiteX2" fmla="*/ 156926 w 171315"/>
                <a:gd name="connsiteY2" fmla="*/ 0 h 25473"/>
                <a:gd name="connsiteX3" fmla="*/ 14389 w 171315"/>
                <a:gd name="connsiteY3" fmla="*/ 0 h 25473"/>
                <a:gd name="connsiteX4" fmla="*/ 0 w 171315"/>
                <a:gd name="connsiteY4" fmla="*/ 14389 h 25473"/>
                <a:gd name="connsiteX5" fmla="*/ 0 w 171315"/>
                <a:gd name="connsiteY5" fmla="*/ 25474 h 254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71315" h="25473">
                  <a:moveTo>
                    <a:pt x="171316" y="25474"/>
                  </a:moveTo>
                  <a:lnTo>
                    <a:pt x="171316" y="14389"/>
                  </a:lnTo>
                  <a:cubicBezTo>
                    <a:pt x="171316" y="6469"/>
                    <a:pt x="164847" y="0"/>
                    <a:pt x="156926" y="0"/>
                  </a:cubicBezTo>
                  <a:lnTo>
                    <a:pt x="14389" y="0"/>
                  </a:lnTo>
                  <a:cubicBezTo>
                    <a:pt x="6481" y="0"/>
                    <a:pt x="0" y="6481"/>
                    <a:pt x="0" y="14389"/>
                  </a:cubicBezTo>
                  <a:lnTo>
                    <a:pt x="0" y="25474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55" name="Forma livre: Forma 2054">
              <a:extLst>
                <a:ext uri="{FF2B5EF4-FFF2-40B4-BE49-F238E27FC236}">
                  <a16:creationId xmlns:a16="http://schemas.microsoft.com/office/drawing/2014/main" id="{163C1982-55F2-E67F-3804-9C77A5CE5648}"/>
                </a:ext>
              </a:extLst>
            </p:cNvPr>
            <p:cNvSpPr/>
            <p:nvPr/>
          </p:nvSpPr>
          <p:spPr>
            <a:xfrm>
              <a:off x="9241759" y="3905776"/>
              <a:ext cx="171315" cy="26240"/>
            </a:xfrm>
            <a:custGeom>
              <a:avLst/>
              <a:gdLst>
                <a:gd name="connsiteX0" fmla="*/ 171316 w 171315"/>
                <a:gd name="connsiteY0" fmla="*/ 0 h 26240"/>
                <a:gd name="connsiteX1" fmla="*/ 171316 w 171315"/>
                <a:gd name="connsiteY1" fmla="*/ 11840 h 26240"/>
                <a:gd name="connsiteX2" fmla="*/ 156926 w 171315"/>
                <a:gd name="connsiteY2" fmla="*/ 26241 h 26240"/>
                <a:gd name="connsiteX3" fmla="*/ 14389 w 171315"/>
                <a:gd name="connsiteY3" fmla="*/ 26241 h 26240"/>
                <a:gd name="connsiteX4" fmla="*/ 0 w 171315"/>
                <a:gd name="connsiteY4" fmla="*/ 11840 h 26240"/>
                <a:gd name="connsiteX5" fmla="*/ 0 w 171315"/>
                <a:gd name="connsiteY5" fmla="*/ 0 h 262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71315" h="26240">
                  <a:moveTo>
                    <a:pt x="171316" y="0"/>
                  </a:moveTo>
                  <a:lnTo>
                    <a:pt x="171316" y="11840"/>
                  </a:lnTo>
                  <a:cubicBezTo>
                    <a:pt x="171316" y="19760"/>
                    <a:pt x="164847" y="26241"/>
                    <a:pt x="156926" y="26241"/>
                  </a:cubicBezTo>
                  <a:lnTo>
                    <a:pt x="14389" y="26241"/>
                  </a:lnTo>
                  <a:cubicBezTo>
                    <a:pt x="6481" y="26241"/>
                    <a:pt x="0" y="19760"/>
                    <a:pt x="0" y="11840"/>
                  </a:cubicBezTo>
                  <a:lnTo>
                    <a:pt x="0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2056" name="Gráfico 18">
            <a:extLst>
              <a:ext uri="{FF2B5EF4-FFF2-40B4-BE49-F238E27FC236}">
                <a16:creationId xmlns:a16="http://schemas.microsoft.com/office/drawing/2014/main" id="{FDCA7474-D3CC-D378-5805-D01869F52F98}"/>
              </a:ext>
            </a:extLst>
          </p:cNvPr>
          <p:cNvGrpSpPr/>
          <p:nvPr/>
        </p:nvGrpSpPr>
        <p:grpSpPr>
          <a:xfrm>
            <a:off x="7926903" y="3690336"/>
            <a:ext cx="336350" cy="232697"/>
            <a:chOff x="7926903" y="3690336"/>
            <a:chExt cx="336350" cy="232697"/>
          </a:xfrm>
          <a:noFill/>
        </p:grpSpPr>
        <p:grpSp>
          <p:nvGrpSpPr>
            <p:cNvPr id="2057" name="Gráfico 18">
              <a:extLst>
                <a:ext uri="{FF2B5EF4-FFF2-40B4-BE49-F238E27FC236}">
                  <a16:creationId xmlns:a16="http://schemas.microsoft.com/office/drawing/2014/main" id="{BB1A9CDE-4E18-E9B7-0D9D-AA3FFFCC4E9A}"/>
                </a:ext>
              </a:extLst>
            </p:cNvPr>
            <p:cNvGrpSpPr/>
            <p:nvPr/>
          </p:nvGrpSpPr>
          <p:grpSpPr>
            <a:xfrm>
              <a:off x="7926903" y="3746489"/>
              <a:ext cx="197214" cy="176544"/>
              <a:chOff x="7926903" y="3746489"/>
              <a:chExt cx="197214" cy="176544"/>
            </a:xfrm>
            <a:noFill/>
          </p:grpSpPr>
          <p:sp>
            <p:nvSpPr>
              <p:cNvPr id="2058" name="Forma livre: Forma 2057">
                <a:extLst>
                  <a:ext uri="{FF2B5EF4-FFF2-40B4-BE49-F238E27FC236}">
                    <a16:creationId xmlns:a16="http://schemas.microsoft.com/office/drawing/2014/main" id="{D77F9E13-0E82-B3A1-A178-3687AF67D1C4}"/>
                  </a:ext>
                </a:extLst>
              </p:cNvPr>
              <p:cNvSpPr/>
              <p:nvPr/>
            </p:nvSpPr>
            <p:spPr>
              <a:xfrm>
                <a:off x="8037462" y="3883384"/>
                <a:ext cx="1180" cy="38777"/>
              </a:xfrm>
              <a:custGeom>
                <a:avLst/>
                <a:gdLst>
                  <a:gd name="connsiteX0" fmla="*/ 0 w 1180"/>
                  <a:gd name="connsiteY0" fmla="*/ 0 h 38777"/>
                  <a:gd name="connsiteX1" fmla="*/ 0 w 1180"/>
                  <a:gd name="connsiteY1" fmla="*/ 38777 h 387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80" h="38777">
                    <a:moveTo>
                      <a:pt x="0" y="0"/>
                    </a:moveTo>
                    <a:lnTo>
                      <a:pt x="0" y="38777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059" name="Forma livre: Forma 2058">
                <a:extLst>
                  <a:ext uri="{FF2B5EF4-FFF2-40B4-BE49-F238E27FC236}">
                    <a16:creationId xmlns:a16="http://schemas.microsoft.com/office/drawing/2014/main" id="{FCDC1935-FFB3-218B-9D14-EB9739E77E95}"/>
                  </a:ext>
                </a:extLst>
              </p:cNvPr>
              <p:cNvSpPr/>
              <p:nvPr/>
            </p:nvSpPr>
            <p:spPr>
              <a:xfrm>
                <a:off x="7928862" y="3805440"/>
                <a:ext cx="144248" cy="1180"/>
              </a:xfrm>
              <a:custGeom>
                <a:avLst/>
                <a:gdLst>
                  <a:gd name="connsiteX0" fmla="*/ 0 w 144248"/>
                  <a:gd name="connsiteY0" fmla="*/ 0 h 1180"/>
                  <a:gd name="connsiteX1" fmla="*/ 144248 w 144248"/>
                  <a:gd name="connsiteY1" fmla="*/ 0 h 11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44248" h="1180">
                    <a:moveTo>
                      <a:pt x="0" y="0"/>
                    </a:moveTo>
                    <a:lnTo>
                      <a:pt x="144248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060" name="Forma livre: Forma 2059">
                <a:extLst>
                  <a:ext uri="{FF2B5EF4-FFF2-40B4-BE49-F238E27FC236}">
                    <a16:creationId xmlns:a16="http://schemas.microsoft.com/office/drawing/2014/main" id="{A2262B7D-A018-FE9E-B57C-1B493DD359E9}"/>
                  </a:ext>
                </a:extLst>
              </p:cNvPr>
              <p:cNvSpPr/>
              <p:nvPr/>
            </p:nvSpPr>
            <p:spPr>
              <a:xfrm>
                <a:off x="7928862" y="3864320"/>
                <a:ext cx="139762" cy="1180"/>
              </a:xfrm>
              <a:custGeom>
                <a:avLst/>
                <a:gdLst>
                  <a:gd name="connsiteX0" fmla="*/ 0 w 139762"/>
                  <a:gd name="connsiteY0" fmla="*/ 0 h 1180"/>
                  <a:gd name="connsiteX1" fmla="*/ 139763 w 139762"/>
                  <a:gd name="connsiteY1" fmla="*/ 0 h 11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39762" h="1180">
                    <a:moveTo>
                      <a:pt x="0" y="0"/>
                    </a:moveTo>
                    <a:lnTo>
                      <a:pt x="139763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061" name="Forma livre: Forma 2060">
                <a:extLst>
                  <a:ext uri="{FF2B5EF4-FFF2-40B4-BE49-F238E27FC236}">
                    <a16:creationId xmlns:a16="http://schemas.microsoft.com/office/drawing/2014/main" id="{88B9EBB9-7998-47BB-056C-10B8283685EB}"/>
                  </a:ext>
                </a:extLst>
              </p:cNvPr>
              <p:cNvSpPr/>
              <p:nvPr/>
            </p:nvSpPr>
            <p:spPr>
              <a:xfrm>
                <a:off x="8037462" y="3765341"/>
                <a:ext cx="1180" cy="39072"/>
              </a:xfrm>
              <a:custGeom>
                <a:avLst/>
                <a:gdLst>
                  <a:gd name="connsiteX0" fmla="*/ 0 w 1180"/>
                  <a:gd name="connsiteY0" fmla="*/ 0 h 39072"/>
                  <a:gd name="connsiteX1" fmla="*/ 0 w 1180"/>
                  <a:gd name="connsiteY1" fmla="*/ 39072 h 390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80" h="39072">
                    <a:moveTo>
                      <a:pt x="0" y="0"/>
                    </a:moveTo>
                    <a:lnTo>
                      <a:pt x="0" y="39072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062" name="Forma livre: Forma 2061">
                <a:extLst>
                  <a:ext uri="{FF2B5EF4-FFF2-40B4-BE49-F238E27FC236}">
                    <a16:creationId xmlns:a16="http://schemas.microsoft.com/office/drawing/2014/main" id="{EFED1C6E-FA73-77B6-CB51-F57F939594AC}"/>
                  </a:ext>
                </a:extLst>
              </p:cNvPr>
              <p:cNvSpPr/>
              <p:nvPr/>
            </p:nvSpPr>
            <p:spPr>
              <a:xfrm>
                <a:off x="7986113" y="3824362"/>
                <a:ext cx="1180" cy="39072"/>
              </a:xfrm>
              <a:custGeom>
                <a:avLst/>
                <a:gdLst>
                  <a:gd name="connsiteX0" fmla="*/ 0 w 1180"/>
                  <a:gd name="connsiteY0" fmla="*/ 0 h 39072"/>
                  <a:gd name="connsiteX1" fmla="*/ 0 w 1180"/>
                  <a:gd name="connsiteY1" fmla="*/ 39072 h 390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80" h="39072">
                    <a:moveTo>
                      <a:pt x="0" y="0"/>
                    </a:moveTo>
                    <a:lnTo>
                      <a:pt x="0" y="39072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063" name="Forma livre: Forma 2062">
                <a:extLst>
                  <a:ext uri="{FF2B5EF4-FFF2-40B4-BE49-F238E27FC236}">
                    <a16:creationId xmlns:a16="http://schemas.microsoft.com/office/drawing/2014/main" id="{4B50812F-9AF3-DDD6-A46E-F796F582A854}"/>
                  </a:ext>
                </a:extLst>
              </p:cNvPr>
              <p:cNvSpPr/>
              <p:nvPr/>
            </p:nvSpPr>
            <p:spPr>
              <a:xfrm>
                <a:off x="7926903" y="3746489"/>
                <a:ext cx="197214" cy="176544"/>
              </a:xfrm>
              <a:custGeom>
                <a:avLst/>
                <a:gdLst>
                  <a:gd name="connsiteX0" fmla="*/ 178398 w 197214"/>
                  <a:gd name="connsiteY0" fmla="*/ 176545 h 176544"/>
                  <a:gd name="connsiteX1" fmla="*/ 0 w 197214"/>
                  <a:gd name="connsiteY1" fmla="*/ 176545 h 176544"/>
                  <a:gd name="connsiteX2" fmla="*/ 0 w 197214"/>
                  <a:gd name="connsiteY2" fmla="*/ 0 h 176544"/>
                  <a:gd name="connsiteX3" fmla="*/ 197214 w 197214"/>
                  <a:gd name="connsiteY3" fmla="*/ 0 h 1765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97214" h="176544">
                    <a:moveTo>
                      <a:pt x="178398" y="176545"/>
                    </a:moveTo>
                    <a:lnTo>
                      <a:pt x="0" y="176545"/>
                    </a:lnTo>
                    <a:lnTo>
                      <a:pt x="0" y="0"/>
                    </a:lnTo>
                    <a:lnTo>
                      <a:pt x="197214" y="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2064" name="Gráfico 18">
              <a:extLst>
                <a:ext uri="{FF2B5EF4-FFF2-40B4-BE49-F238E27FC236}">
                  <a16:creationId xmlns:a16="http://schemas.microsoft.com/office/drawing/2014/main" id="{E02315A4-20ED-60C1-44C0-27B64EC3FD8F}"/>
                </a:ext>
              </a:extLst>
            </p:cNvPr>
            <p:cNvGrpSpPr/>
            <p:nvPr/>
          </p:nvGrpSpPr>
          <p:grpSpPr>
            <a:xfrm>
              <a:off x="8087780" y="3690336"/>
              <a:ext cx="175473" cy="232697"/>
              <a:chOff x="8087780" y="3690336"/>
              <a:chExt cx="175473" cy="232697"/>
            </a:xfrm>
            <a:noFill/>
          </p:grpSpPr>
          <p:sp>
            <p:nvSpPr>
              <p:cNvPr id="2065" name="Forma livre: Forma 2064">
                <a:extLst>
                  <a:ext uri="{FF2B5EF4-FFF2-40B4-BE49-F238E27FC236}">
                    <a16:creationId xmlns:a16="http://schemas.microsoft.com/office/drawing/2014/main" id="{BF873B7E-F959-C640-0EBE-E0D1A92A1140}"/>
                  </a:ext>
                </a:extLst>
              </p:cNvPr>
              <p:cNvSpPr/>
              <p:nvPr/>
            </p:nvSpPr>
            <p:spPr>
              <a:xfrm>
                <a:off x="8087780" y="3690336"/>
                <a:ext cx="147303" cy="232697"/>
              </a:xfrm>
              <a:custGeom>
                <a:avLst/>
                <a:gdLst>
                  <a:gd name="connsiteX0" fmla="*/ 147286 w 147303"/>
                  <a:gd name="connsiteY0" fmla="*/ 110653 h 232697"/>
                  <a:gd name="connsiteX1" fmla="*/ 131114 w 147303"/>
                  <a:gd name="connsiteY1" fmla="*/ 124830 h 232697"/>
                  <a:gd name="connsiteX2" fmla="*/ 126829 w 147303"/>
                  <a:gd name="connsiteY2" fmla="*/ 96370 h 232697"/>
                  <a:gd name="connsiteX3" fmla="*/ 68126 w 147303"/>
                  <a:gd name="connsiteY3" fmla="*/ 0 h 232697"/>
                  <a:gd name="connsiteX4" fmla="*/ 58494 w 147303"/>
                  <a:gd name="connsiteY4" fmla="*/ 63956 h 232697"/>
                  <a:gd name="connsiteX5" fmla="*/ 15 w 147303"/>
                  <a:gd name="connsiteY5" fmla="*/ 153326 h 232697"/>
                  <a:gd name="connsiteX6" fmla="*/ 69011 w 147303"/>
                  <a:gd name="connsiteY6" fmla="*/ 232698 h 2326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47303" h="232697">
                    <a:moveTo>
                      <a:pt x="147286" y="110653"/>
                    </a:moveTo>
                    <a:cubicBezTo>
                      <a:pt x="147758" y="125645"/>
                      <a:pt x="138621" y="128478"/>
                      <a:pt x="131114" y="124830"/>
                    </a:cubicBezTo>
                    <a:cubicBezTo>
                      <a:pt x="117716" y="118338"/>
                      <a:pt x="126829" y="96370"/>
                      <a:pt x="126829" y="96370"/>
                    </a:cubicBezTo>
                    <a:cubicBezTo>
                      <a:pt x="141431" y="36216"/>
                      <a:pt x="68126" y="0"/>
                      <a:pt x="68126" y="0"/>
                    </a:cubicBezTo>
                    <a:cubicBezTo>
                      <a:pt x="68126" y="0"/>
                      <a:pt x="82575" y="39367"/>
                      <a:pt x="58494" y="63956"/>
                    </a:cubicBezTo>
                    <a:cubicBezTo>
                      <a:pt x="37470" y="85416"/>
                      <a:pt x="15" y="114336"/>
                      <a:pt x="15" y="153326"/>
                    </a:cubicBezTo>
                    <a:cubicBezTo>
                      <a:pt x="15" y="162970"/>
                      <a:pt x="-2830" y="209054"/>
                      <a:pt x="69011" y="232698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066" name="Forma livre: Forma 2065">
                <a:extLst>
                  <a:ext uri="{FF2B5EF4-FFF2-40B4-BE49-F238E27FC236}">
                    <a16:creationId xmlns:a16="http://schemas.microsoft.com/office/drawing/2014/main" id="{77A5C96F-3424-766C-1C3F-2905766CAA18}"/>
                  </a:ext>
                </a:extLst>
              </p:cNvPr>
              <p:cNvSpPr/>
              <p:nvPr/>
            </p:nvSpPr>
            <p:spPr>
              <a:xfrm>
                <a:off x="8186574" y="3773132"/>
                <a:ext cx="76679" cy="149902"/>
              </a:xfrm>
              <a:custGeom>
                <a:avLst/>
                <a:gdLst>
                  <a:gd name="connsiteX0" fmla="*/ 0 w 76679"/>
                  <a:gd name="connsiteY0" fmla="*/ 149903 h 149902"/>
                  <a:gd name="connsiteX1" fmla="*/ 57534 w 76679"/>
                  <a:gd name="connsiteY1" fmla="*/ 0 h 1499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76679" h="149902">
                    <a:moveTo>
                      <a:pt x="0" y="149903"/>
                    </a:moveTo>
                    <a:cubicBezTo>
                      <a:pt x="127474" y="113982"/>
                      <a:pt x="57534" y="0"/>
                      <a:pt x="57534" y="0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2067" name="Gráfico 18">
                <a:extLst>
                  <a:ext uri="{FF2B5EF4-FFF2-40B4-BE49-F238E27FC236}">
                    <a16:creationId xmlns:a16="http://schemas.microsoft.com/office/drawing/2014/main" id="{387017A0-616A-72C1-A64E-285767A25FF6}"/>
                  </a:ext>
                </a:extLst>
              </p:cNvPr>
              <p:cNvGrpSpPr/>
              <p:nvPr/>
            </p:nvGrpSpPr>
            <p:grpSpPr>
              <a:xfrm>
                <a:off x="8128505" y="3786872"/>
                <a:ext cx="89842" cy="136162"/>
                <a:chOff x="8128505" y="3786872"/>
                <a:chExt cx="89842" cy="136162"/>
              </a:xfrm>
              <a:noFill/>
            </p:grpSpPr>
            <p:sp>
              <p:nvSpPr>
                <p:cNvPr id="2068" name="Forma livre: Forma 2067">
                  <a:extLst>
                    <a:ext uri="{FF2B5EF4-FFF2-40B4-BE49-F238E27FC236}">
                      <a16:creationId xmlns:a16="http://schemas.microsoft.com/office/drawing/2014/main" id="{086951B3-B8E6-0C73-E18C-35CB74DDD405}"/>
                    </a:ext>
                  </a:extLst>
                </p:cNvPr>
                <p:cNvSpPr/>
                <p:nvPr/>
              </p:nvSpPr>
              <p:spPr>
                <a:xfrm>
                  <a:off x="8163461" y="3786872"/>
                  <a:ext cx="54887" cy="136162"/>
                </a:xfrm>
                <a:custGeom>
                  <a:avLst/>
                  <a:gdLst>
                    <a:gd name="connsiteX0" fmla="*/ 0 w 54887"/>
                    <a:gd name="connsiteY0" fmla="*/ 26878 h 136162"/>
                    <a:gd name="connsiteX1" fmla="*/ 18934 w 54887"/>
                    <a:gd name="connsiteY1" fmla="*/ 0 h 136162"/>
                    <a:gd name="connsiteX2" fmla="*/ 33607 w 54887"/>
                    <a:gd name="connsiteY2" fmla="*/ 48893 h 136162"/>
                    <a:gd name="connsiteX3" fmla="*/ 54701 w 54887"/>
                    <a:gd name="connsiteY3" fmla="*/ 90067 h 136162"/>
                    <a:gd name="connsiteX4" fmla="*/ 23125 w 54887"/>
                    <a:gd name="connsiteY4" fmla="*/ 136162 h 13616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4887" h="136162">
                      <a:moveTo>
                        <a:pt x="0" y="26878"/>
                      </a:moveTo>
                      <a:cubicBezTo>
                        <a:pt x="6386" y="11863"/>
                        <a:pt x="18934" y="0"/>
                        <a:pt x="18934" y="0"/>
                      </a:cubicBezTo>
                      <a:cubicBezTo>
                        <a:pt x="11981" y="32851"/>
                        <a:pt x="33607" y="48893"/>
                        <a:pt x="33607" y="48893"/>
                      </a:cubicBezTo>
                      <a:cubicBezTo>
                        <a:pt x="53367" y="65526"/>
                        <a:pt x="55681" y="77613"/>
                        <a:pt x="54701" y="90067"/>
                      </a:cubicBezTo>
                      <a:cubicBezTo>
                        <a:pt x="53721" y="102508"/>
                        <a:pt x="49849" y="119873"/>
                        <a:pt x="23125" y="136162"/>
                      </a:cubicBez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069" name="Forma livre: Forma 2068">
                  <a:extLst>
                    <a:ext uri="{FF2B5EF4-FFF2-40B4-BE49-F238E27FC236}">
                      <a16:creationId xmlns:a16="http://schemas.microsoft.com/office/drawing/2014/main" id="{2914F99A-12C6-710A-D8BD-A84616D6BEA0}"/>
                    </a:ext>
                  </a:extLst>
                </p:cNvPr>
                <p:cNvSpPr/>
                <p:nvPr/>
              </p:nvSpPr>
              <p:spPr>
                <a:xfrm>
                  <a:off x="8128505" y="3820054"/>
                  <a:ext cx="39936" cy="102980"/>
                </a:xfrm>
                <a:custGeom>
                  <a:avLst/>
                  <a:gdLst>
                    <a:gd name="connsiteX0" fmla="*/ 39878 w 39936"/>
                    <a:gd name="connsiteY0" fmla="*/ 54123 h 102980"/>
                    <a:gd name="connsiteX1" fmla="*/ 11441 w 39936"/>
                    <a:gd name="connsiteY1" fmla="*/ 0 h 102980"/>
                    <a:gd name="connsiteX2" fmla="*/ 7912 w 39936"/>
                    <a:gd name="connsiteY2" fmla="*/ 37030 h 102980"/>
                    <a:gd name="connsiteX3" fmla="*/ 2706 w 39936"/>
                    <a:gd name="connsiteY3" fmla="*/ 72254 h 102980"/>
                    <a:gd name="connsiteX4" fmla="*/ 28298 w 39936"/>
                    <a:gd name="connsiteY4" fmla="*/ 102981 h 1029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9936" h="102980">
                      <a:moveTo>
                        <a:pt x="39878" y="54123"/>
                      </a:moveTo>
                      <a:cubicBezTo>
                        <a:pt x="41436" y="24293"/>
                        <a:pt x="11441" y="0"/>
                        <a:pt x="11441" y="0"/>
                      </a:cubicBezTo>
                      <a:cubicBezTo>
                        <a:pt x="11441" y="0"/>
                        <a:pt x="23458" y="18840"/>
                        <a:pt x="7912" y="37030"/>
                      </a:cubicBezTo>
                      <a:cubicBezTo>
                        <a:pt x="7912" y="37030"/>
                        <a:pt x="-5616" y="53780"/>
                        <a:pt x="2706" y="72254"/>
                      </a:cubicBezTo>
                      <a:cubicBezTo>
                        <a:pt x="2706" y="72254"/>
                        <a:pt x="10450" y="92298"/>
                        <a:pt x="28298" y="102981"/>
                      </a:cubicBez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</p:grpSp>
      <p:grpSp>
        <p:nvGrpSpPr>
          <p:cNvPr id="2070" name="Gráfico 18">
            <a:extLst>
              <a:ext uri="{FF2B5EF4-FFF2-40B4-BE49-F238E27FC236}">
                <a16:creationId xmlns:a16="http://schemas.microsoft.com/office/drawing/2014/main" id="{156E364C-A422-1966-0E40-6F5D1CFA6140}"/>
              </a:ext>
            </a:extLst>
          </p:cNvPr>
          <p:cNvGrpSpPr/>
          <p:nvPr/>
        </p:nvGrpSpPr>
        <p:grpSpPr>
          <a:xfrm>
            <a:off x="8539144" y="3696557"/>
            <a:ext cx="344165" cy="220256"/>
            <a:chOff x="8539144" y="3696557"/>
            <a:chExt cx="344165" cy="220256"/>
          </a:xfrm>
          <a:noFill/>
        </p:grpSpPr>
        <p:grpSp>
          <p:nvGrpSpPr>
            <p:cNvPr id="2071" name="Gráfico 18">
              <a:extLst>
                <a:ext uri="{FF2B5EF4-FFF2-40B4-BE49-F238E27FC236}">
                  <a16:creationId xmlns:a16="http://schemas.microsoft.com/office/drawing/2014/main" id="{F985EB71-3537-CF74-3F90-04DACA16B9F6}"/>
                </a:ext>
              </a:extLst>
            </p:cNvPr>
            <p:cNvGrpSpPr/>
            <p:nvPr/>
          </p:nvGrpSpPr>
          <p:grpSpPr>
            <a:xfrm>
              <a:off x="8539144" y="3696557"/>
              <a:ext cx="344165" cy="220256"/>
              <a:chOff x="8539144" y="3696557"/>
              <a:chExt cx="344165" cy="220256"/>
            </a:xfrm>
            <a:noFill/>
          </p:grpSpPr>
          <p:sp>
            <p:nvSpPr>
              <p:cNvPr id="2072" name="Forma livre: Forma 2071">
                <a:extLst>
                  <a:ext uri="{FF2B5EF4-FFF2-40B4-BE49-F238E27FC236}">
                    <a16:creationId xmlns:a16="http://schemas.microsoft.com/office/drawing/2014/main" id="{62E28E29-C0A2-5A58-F150-1078BCF94B69}"/>
                  </a:ext>
                </a:extLst>
              </p:cNvPr>
              <p:cNvSpPr/>
              <p:nvPr/>
            </p:nvSpPr>
            <p:spPr>
              <a:xfrm>
                <a:off x="8571653" y="3696557"/>
                <a:ext cx="279135" cy="170843"/>
              </a:xfrm>
              <a:custGeom>
                <a:avLst/>
                <a:gdLst>
                  <a:gd name="connsiteX0" fmla="*/ 0 w 279135"/>
                  <a:gd name="connsiteY0" fmla="*/ 170843 h 170843"/>
                  <a:gd name="connsiteX1" fmla="*/ 0 w 279135"/>
                  <a:gd name="connsiteY1" fmla="*/ 20374 h 170843"/>
                  <a:gd name="connsiteX2" fmla="*/ 20362 w 279135"/>
                  <a:gd name="connsiteY2" fmla="*/ 0 h 170843"/>
                  <a:gd name="connsiteX3" fmla="*/ 258750 w 279135"/>
                  <a:gd name="connsiteY3" fmla="*/ 0 h 170843"/>
                  <a:gd name="connsiteX4" fmla="*/ 279136 w 279135"/>
                  <a:gd name="connsiteY4" fmla="*/ 20374 h 170843"/>
                  <a:gd name="connsiteX5" fmla="*/ 279136 w 279135"/>
                  <a:gd name="connsiteY5" fmla="*/ 170843 h 1708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79135" h="170843">
                    <a:moveTo>
                      <a:pt x="0" y="170843"/>
                    </a:moveTo>
                    <a:lnTo>
                      <a:pt x="0" y="20374"/>
                    </a:lnTo>
                    <a:cubicBezTo>
                      <a:pt x="0" y="9172"/>
                      <a:pt x="9172" y="0"/>
                      <a:pt x="20362" y="0"/>
                    </a:cubicBezTo>
                    <a:lnTo>
                      <a:pt x="258750" y="0"/>
                    </a:lnTo>
                    <a:cubicBezTo>
                      <a:pt x="269964" y="0"/>
                      <a:pt x="279136" y="9172"/>
                      <a:pt x="279136" y="20374"/>
                    </a:cubicBezTo>
                    <a:lnTo>
                      <a:pt x="279136" y="170843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073" name="Forma livre: Forma 2072">
                <a:extLst>
                  <a:ext uri="{FF2B5EF4-FFF2-40B4-BE49-F238E27FC236}">
                    <a16:creationId xmlns:a16="http://schemas.microsoft.com/office/drawing/2014/main" id="{F04CFBD2-D729-7F6E-D484-C6E5DE94F6F7}"/>
                  </a:ext>
                </a:extLst>
              </p:cNvPr>
              <p:cNvSpPr/>
              <p:nvPr/>
            </p:nvSpPr>
            <p:spPr>
              <a:xfrm>
                <a:off x="8539144" y="3889852"/>
                <a:ext cx="344165" cy="26960"/>
              </a:xfrm>
              <a:custGeom>
                <a:avLst/>
                <a:gdLst>
                  <a:gd name="connsiteX0" fmla="*/ 0 w 344165"/>
                  <a:gd name="connsiteY0" fmla="*/ 0 h 26960"/>
                  <a:gd name="connsiteX1" fmla="*/ 25651 w 344165"/>
                  <a:gd name="connsiteY1" fmla="*/ 26961 h 26960"/>
                  <a:gd name="connsiteX2" fmla="*/ 318503 w 344165"/>
                  <a:gd name="connsiteY2" fmla="*/ 26961 h 26960"/>
                  <a:gd name="connsiteX3" fmla="*/ 344166 w 344165"/>
                  <a:gd name="connsiteY3" fmla="*/ 0 h 26960"/>
                  <a:gd name="connsiteX4" fmla="*/ 0 w 344165"/>
                  <a:gd name="connsiteY4" fmla="*/ 0 h 269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44165" h="26960">
                    <a:moveTo>
                      <a:pt x="0" y="0"/>
                    </a:moveTo>
                    <a:cubicBezTo>
                      <a:pt x="0" y="0"/>
                      <a:pt x="5938" y="26961"/>
                      <a:pt x="25651" y="26961"/>
                    </a:cubicBezTo>
                    <a:lnTo>
                      <a:pt x="318503" y="26961"/>
                    </a:lnTo>
                    <a:cubicBezTo>
                      <a:pt x="338228" y="26961"/>
                      <a:pt x="344166" y="0"/>
                      <a:pt x="344166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2074" name="Gráfico 18">
              <a:extLst>
                <a:ext uri="{FF2B5EF4-FFF2-40B4-BE49-F238E27FC236}">
                  <a16:creationId xmlns:a16="http://schemas.microsoft.com/office/drawing/2014/main" id="{481CA901-3C79-D1BB-4011-B3981C268428}"/>
                </a:ext>
              </a:extLst>
            </p:cNvPr>
            <p:cNvGrpSpPr/>
            <p:nvPr/>
          </p:nvGrpSpPr>
          <p:grpSpPr>
            <a:xfrm>
              <a:off x="8640566" y="3779943"/>
              <a:ext cx="141309" cy="23726"/>
              <a:chOff x="8640566" y="3779943"/>
              <a:chExt cx="141309" cy="23726"/>
            </a:xfrm>
          </p:grpSpPr>
          <p:grpSp>
            <p:nvGrpSpPr>
              <p:cNvPr id="2075" name="Gráfico 18">
                <a:extLst>
                  <a:ext uri="{FF2B5EF4-FFF2-40B4-BE49-F238E27FC236}">
                    <a16:creationId xmlns:a16="http://schemas.microsoft.com/office/drawing/2014/main" id="{A9CFBBFF-4521-CCD8-4A11-E267D12E7637}"/>
                  </a:ext>
                </a:extLst>
              </p:cNvPr>
              <p:cNvGrpSpPr/>
              <p:nvPr/>
            </p:nvGrpSpPr>
            <p:grpSpPr>
              <a:xfrm>
                <a:off x="8640566" y="3779943"/>
                <a:ext cx="23726" cy="23726"/>
                <a:chOff x="8640566" y="3779943"/>
                <a:chExt cx="23726" cy="23726"/>
              </a:xfrm>
            </p:grpSpPr>
            <p:sp>
              <p:nvSpPr>
                <p:cNvPr id="2076" name="Forma livre: Forma 2075">
                  <a:extLst>
                    <a:ext uri="{FF2B5EF4-FFF2-40B4-BE49-F238E27FC236}">
                      <a16:creationId xmlns:a16="http://schemas.microsoft.com/office/drawing/2014/main" id="{32AB037D-90DB-B5E9-C77F-A6D18683EF28}"/>
                    </a:ext>
                  </a:extLst>
                </p:cNvPr>
                <p:cNvSpPr/>
                <p:nvPr/>
              </p:nvSpPr>
              <p:spPr>
                <a:xfrm>
                  <a:off x="8640566" y="3779943"/>
                  <a:ext cx="23726" cy="23726"/>
                </a:xfrm>
                <a:custGeom>
                  <a:avLst/>
                  <a:gdLst>
                    <a:gd name="connsiteX0" fmla="*/ 23727 w 23726"/>
                    <a:gd name="connsiteY0" fmla="*/ 0 h 23726"/>
                    <a:gd name="connsiteX1" fmla="*/ 0 w 23726"/>
                    <a:gd name="connsiteY1" fmla="*/ 23727 h 2372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3726" h="23726">
                      <a:moveTo>
                        <a:pt x="23727" y="0"/>
                      </a:moveTo>
                      <a:lnTo>
                        <a:pt x="0" y="23727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077" name="Forma livre: Forma 2076">
                  <a:extLst>
                    <a:ext uri="{FF2B5EF4-FFF2-40B4-BE49-F238E27FC236}">
                      <a16:creationId xmlns:a16="http://schemas.microsoft.com/office/drawing/2014/main" id="{251DAB24-15C0-B413-37D5-D18962872738}"/>
                    </a:ext>
                  </a:extLst>
                </p:cNvPr>
                <p:cNvSpPr/>
                <p:nvPr/>
              </p:nvSpPr>
              <p:spPr>
                <a:xfrm>
                  <a:off x="8640566" y="3779943"/>
                  <a:ext cx="23726" cy="23726"/>
                </a:xfrm>
                <a:custGeom>
                  <a:avLst/>
                  <a:gdLst>
                    <a:gd name="connsiteX0" fmla="*/ 23727 w 23726"/>
                    <a:gd name="connsiteY0" fmla="*/ 23727 h 23726"/>
                    <a:gd name="connsiteX1" fmla="*/ 0 w 23726"/>
                    <a:gd name="connsiteY1" fmla="*/ 0 h 2372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3726" h="23726">
                      <a:moveTo>
                        <a:pt x="23727" y="23727"/>
                      </a:moveTo>
                      <a:lnTo>
                        <a:pt x="0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2078" name="Gráfico 18">
                <a:extLst>
                  <a:ext uri="{FF2B5EF4-FFF2-40B4-BE49-F238E27FC236}">
                    <a16:creationId xmlns:a16="http://schemas.microsoft.com/office/drawing/2014/main" id="{580D2DF4-97B3-EB9A-7D92-30BA09C568E9}"/>
                  </a:ext>
                </a:extLst>
              </p:cNvPr>
              <p:cNvGrpSpPr/>
              <p:nvPr/>
            </p:nvGrpSpPr>
            <p:grpSpPr>
              <a:xfrm>
                <a:off x="8699364" y="3779943"/>
                <a:ext cx="23714" cy="23726"/>
                <a:chOff x="8699364" y="3779943"/>
                <a:chExt cx="23714" cy="23726"/>
              </a:xfrm>
            </p:grpSpPr>
            <p:sp>
              <p:nvSpPr>
                <p:cNvPr id="2079" name="Forma livre: Forma 2078">
                  <a:extLst>
                    <a:ext uri="{FF2B5EF4-FFF2-40B4-BE49-F238E27FC236}">
                      <a16:creationId xmlns:a16="http://schemas.microsoft.com/office/drawing/2014/main" id="{26B74935-E2E6-8E52-06B9-49C5FAAE4A25}"/>
                    </a:ext>
                  </a:extLst>
                </p:cNvPr>
                <p:cNvSpPr/>
                <p:nvPr/>
              </p:nvSpPr>
              <p:spPr>
                <a:xfrm>
                  <a:off x="8699364" y="3779943"/>
                  <a:ext cx="23714" cy="23726"/>
                </a:xfrm>
                <a:custGeom>
                  <a:avLst/>
                  <a:gdLst>
                    <a:gd name="connsiteX0" fmla="*/ 23715 w 23714"/>
                    <a:gd name="connsiteY0" fmla="*/ 0 h 23726"/>
                    <a:gd name="connsiteX1" fmla="*/ 0 w 23714"/>
                    <a:gd name="connsiteY1" fmla="*/ 23727 h 2372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3714" h="23726">
                      <a:moveTo>
                        <a:pt x="23715" y="0"/>
                      </a:moveTo>
                      <a:lnTo>
                        <a:pt x="0" y="23727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080" name="Forma livre: Forma 2079">
                  <a:extLst>
                    <a:ext uri="{FF2B5EF4-FFF2-40B4-BE49-F238E27FC236}">
                      <a16:creationId xmlns:a16="http://schemas.microsoft.com/office/drawing/2014/main" id="{D1394A1B-F29D-E2B6-A2BE-DB6F9C2202B3}"/>
                    </a:ext>
                  </a:extLst>
                </p:cNvPr>
                <p:cNvSpPr/>
                <p:nvPr/>
              </p:nvSpPr>
              <p:spPr>
                <a:xfrm>
                  <a:off x="8699364" y="3779943"/>
                  <a:ext cx="23714" cy="23726"/>
                </a:xfrm>
                <a:custGeom>
                  <a:avLst/>
                  <a:gdLst>
                    <a:gd name="connsiteX0" fmla="*/ 23715 w 23714"/>
                    <a:gd name="connsiteY0" fmla="*/ 23727 h 23726"/>
                    <a:gd name="connsiteX1" fmla="*/ 0 w 23714"/>
                    <a:gd name="connsiteY1" fmla="*/ 0 h 2372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3714" h="23726">
                      <a:moveTo>
                        <a:pt x="23715" y="23727"/>
                      </a:moveTo>
                      <a:lnTo>
                        <a:pt x="0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2081" name="Gráfico 18">
                <a:extLst>
                  <a:ext uri="{FF2B5EF4-FFF2-40B4-BE49-F238E27FC236}">
                    <a16:creationId xmlns:a16="http://schemas.microsoft.com/office/drawing/2014/main" id="{F36B451F-2AE0-5663-8D41-19C6C64A1ED0}"/>
                  </a:ext>
                </a:extLst>
              </p:cNvPr>
              <p:cNvGrpSpPr/>
              <p:nvPr/>
            </p:nvGrpSpPr>
            <p:grpSpPr>
              <a:xfrm>
                <a:off x="8758149" y="3779943"/>
                <a:ext cx="23726" cy="23726"/>
                <a:chOff x="8758149" y="3779943"/>
                <a:chExt cx="23726" cy="23726"/>
              </a:xfrm>
            </p:grpSpPr>
            <p:sp>
              <p:nvSpPr>
                <p:cNvPr id="2082" name="Forma livre: Forma 2081">
                  <a:extLst>
                    <a:ext uri="{FF2B5EF4-FFF2-40B4-BE49-F238E27FC236}">
                      <a16:creationId xmlns:a16="http://schemas.microsoft.com/office/drawing/2014/main" id="{1031FB9A-364F-B2CD-CA09-EF15DA1029C9}"/>
                    </a:ext>
                  </a:extLst>
                </p:cNvPr>
                <p:cNvSpPr/>
                <p:nvPr/>
              </p:nvSpPr>
              <p:spPr>
                <a:xfrm>
                  <a:off x="8758149" y="3779943"/>
                  <a:ext cx="23726" cy="23726"/>
                </a:xfrm>
                <a:custGeom>
                  <a:avLst/>
                  <a:gdLst>
                    <a:gd name="connsiteX0" fmla="*/ 23727 w 23726"/>
                    <a:gd name="connsiteY0" fmla="*/ 0 h 23726"/>
                    <a:gd name="connsiteX1" fmla="*/ 0 w 23726"/>
                    <a:gd name="connsiteY1" fmla="*/ 23727 h 2372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3726" h="23726">
                      <a:moveTo>
                        <a:pt x="23727" y="0"/>
                      </a:moveTo>
                      <a:lnTo>
                        <a:pt x="0" y="23727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083" name="Forma livre: Forma 2082">
                  <a:extLst>
                    <a:ext uri="{FF2B5EF4-FFF2-40B4-BE49-F238E27FC236}">
                      <a16:creationId xmlns:a16="http://schemas.microsoft.com/office/drawing/2014/main" id="{E5C96199-6F94-0CF0-3624-E24F0E8DFD66}"/>
                    </a:ext>
                  </a:extLst>
                </p:cNvPr>
                <p:cNvSpPr/>
                <p:nvPr/>
              </p:nvSpPr>
              <p:spPr>
                <a:xfrm>
                  <a:off x="8758149" y="3779943"/>
                  <a:ext cx="23726" cy="23726"/>
                </a:xfrm>
                <a:custGeom>
                  <a:avLst/>
                  <a:gdLst>
                    <a:gd name="connsiteX0" fmla="*/ 23727 w 23726"/>
                    <a:gd name="connsiteY0" fmla="*/ 23727 h 23726"/>
                    <a:gd name="connsiteX1" fmla="*/ 0 w 23726"/>
                    <a:gd name="connsiteY1" fmla="*/ 0 h 2372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3726" h="23726">
                      <a:moveTo>
                        <a:pt x="23727" y="23727"/>
                      </a:moveTo>
                      <a:lnTo>
                        <a:pt x="0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sp>
          <p:nvSpPr>
            <p:cNvPr id="2084" name="Forma livre: Forma 2083">
              <a:extLst>
                <a:ext uri="{FF2B5EF4-FFF2-40B4-BE49-F238E27FC236}">
                  <a16:creationId xmlns:a16="http://schemas.microsoft.com/office/drawing/2014/main" id="{D647D4C6-BC3B-A5E1-D795-3022762674BE}"/>
                </a:ext>
              </a:extLst>
            </p:cNvPr>
            <p:cNvSpPr/>
            <p:nvPr/>
          </p:nvSpPr>
          <p:spPr>
            <a:xfrm>
              <a:off x="8608329" y="3750420"/>
              <a:ext cx="205784" cy="82783"/>
            </a:xfrm>
            <a:custGeom>
              <a:avLst/>
              <a:gdLst>
                <a:gd name="connsiteX0" fmla="*/ 0 w 205784"/>
                <a:gd name="connsiteY0" fmla="*/ 0 h 82783"/>
                <a:gd name="connsiteX1" fmla="*/ 205784 w 205784"/>
                <a:gd name="connsiteY1" fmla="*/ 0 h 82783"/>
                <a:gd name="connsiteX2" fmla="*/ 205784 w 205784"/>
                <a:gd name="connsiteY2" fmla="*/ 82783 h 82783"/>
                <a:gd name="connsiteX3" fmla="*/ 0 w 205784"/>
                <a:gd name="connsiteY3" fmla="*/ 82783 h 827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5784" h="82783">
                  <a:moveTo>
                    <a:pt x="0" y="0"/>
                  </a:moveTo>
                  <a:lnTo>
                    <a:pt x="205784" y="0"/>
                  </a:lnTo>
                  <a:lnTo>
                    <a:pt x="205784" y="82783"/>
                  </a:lnTo>
                  <a:lnTo>
                    <a:pt x="0" y="82783"/>
                  </a:ln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2085" name="Gráfico 18">
            <a:extLst>
              <a:ext uri="{FF2B5EF4-FFF2-40B4-BE49-F238E27FC236}">
                <a16:creationId xmlns:a16="http://schemas.microsoft.com/office/drawing/2014/main" id="{0BA67134-D4DB-1370-9989-BA0CEDDD7B44}"/>
              </a:ext>
            </a:extLst>
          </p:cNvPr>
          <p:cNvGrpSpPr/>
          <p:nvPr/>
        </p:nvGrpSpPr>
        <p:grpSpPr>
          <a:xfrm>
            <a:off x="8589973" y="5222592"/>
            <a:ext cx="242495" cy="321265"/>
            <a:chOff x="8589973" y="5222592"/>
            <a:chExt cx="242495" cy="321265"/>
          </a:xfrm>
          <a:noFill/>
        </p:grpSpPr>
        <p:sp>
          <p:nvSpPr>
            <p:cNvPr id="2086" name="Forma livre: Forma 2085">
              <a:extLst>
                <a:ext uri="{FF2B5EF4-FFF2-40B4-BE49-F238E27FC236}">
                  <a16:creationId xmlns:a16="http://schemas.microsoft.com/office/drawing/2014/main" id="{C48C49AB-8458-769A-7E0D-8F8B341CD87B}"/>
                </a:ext>
              </a:extLst>
            </p:cNvPr>
            <p:cNvSpPr/>
            <p:nvPr/>
          </p:nvSpPr>
          <p:spPr>
            <a:xfrm>
              <a:off x="8629022" y="5447549"/>
              <a:ext cx="164386" cy="60069"/>
            </a:xfrm>
            <a:custGeom>
              <a:avLst/>
              <a:gdLst>
                <a:gd name="connsiteX0" fmla="*/ 164387 w 164386"/>
                <a:gd name="connsiteY0" fmla="*/ 60069 h 60069"/>
                <a:gd name="connsiteX1" fmla="*/ 89453 w 164386"/>
                <a:gd name="connsiteY1" fmla="*/ 1827 h 60069"/>
                <a:gd name="connsiteX2" fmla="*/ 76197 w 164386"/>
                <a:gd name="connsiteY2" fmla="*/ 2275 h 60069"/>
                <a:gd name="connsiteX3" fmla="*/ 0 w 164386"/>
                <a:gd name="connsiteY3" fmla="*/ 60057 h 600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64386" h="60069">
                  <a:moveTo>
                    <a:pt x="164387" y="60069"/>
                  </a:moveTo>
                  <a:cubicBezTo>
                    <a:pt x="164387" y="60069"/>
                    <a:pt x="92569" y="4424"/>
                    <a:pt x="89453" y="1827"/>
                  </a:cubicBezTo>
                  <a:cubicBezTo>
                    <a:pt x="86337" y="-747"/>
                    <a:pt x="79939" y="-605"/>
                    <a:pt x="76197" y="2275"/>
                  </a:cubicBezTo>
                  <a:cubicBezTo>
                    <a:pt x="71581" y="5840"/>
                    <a:pt x="0" y="60057"/>
                    <a:pt x="0" y="60057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87" name="Forma livre: Forma 2086">
              <a:extLst>
                <a:ext uri="{FF2B5EF4-FFF2-40B4-BE49-F238E27FC236}">
                  <a16:creationId xmlns:a16="http://schemas.microsoft.com/office/drawing/2014/main" id="{1658A6D0-7BD7-2242-5B8C-C8AEACF12044}"/>
                </a:ext>
              </a:extLst>
            </p:cNvPr>
            <p:cNvSpPr/>
            <p:nvPr/>
          </p:nvSpPr>
          <p:spPr>
            <a:xfrm>
              <a:off x="8589973" y="5374466"/>
              <a:ext cx="242495" cy="169391"/>
            </a:xfrm>
            <a:custGeom>
              <a:avLst/>
              <a:gdLst>
                <a:gd name="connsiteX0" fmla="*/ 139609 w 242495"/>
                <a:gd name="connsiteY0" fmla="*/ 81981 h 169391"/>
                <a:gd name="connsiteX1" fmla="*/ 242495 w 242495"/>
                <a:gd name="connsiteY1" fmla="*/ 0 h 169391"/>
                <a:gd name="connsiteX2" fmla="*/ 242495 w 242495"/>
                <a:gd name="connsiteY2" fmla="*/ 155769 h 169391"/>
                <a:gd name="connsiteX3" fmla="*/ 228673 w 242495"/>
                <a:gd name="connsiteY3" fmla="*/ 169391 h 169391"/>
                <a:gd name="connsiteX4" fmla="*/ 13835 w 242495"/>
                <a:gd name="connsiteY4" fmla="*/ 169391 h 169391"/>
                <a:gd name="connsiteX5" fmla="*/ 0 w 242495"/>
                <a:gd name="connsiteY5" fmla="*/ 155769 h 169391"/>
                <a:gd name="connsiteX6" fmla="*/ 0 w 242495"/>
                <a:gd name="connsiteY6" fmla="*/ 0 h 169391"/>
                <a:gd name="connsiteX7" fmla="*/ 102886 w 242495"/>
                <a:gd name="connsiteY7" fmla="*/ 81981 h 169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42495" h="169391">
                  <a:moveTo>
                    <a:pt x="139609" y="81981"/>
                  </a:moveTo>
                  <a:lnTo>
                    <a:pt x="242495" y="0"/>
                  </a:lnTo>
                  <a:lnTo>
                    <a:pt x="242495" y="155769"/>
                  </a:lnTo>
                  <a:cubicBezTo>
                    <a:pt x="242495" y="163242"/>
                    <a:pt x="236263" y="169391"/>
                    <a:pt x="228673" y="169391"/>
                  </a:cubicBezTo>
                  <a:lnTo>
                    <a:pt x="13835" y="169391"/>
                  </a:lnTo>
                  <a:cubicBezTo>
                    <a:pt x="6233" y="169391"/>
                    <a:pt x="0" y="163242"/>
                    <a:pt x="0" y="155769"/>
                  </a:cubicBezTo>
                  <a:lnTo>
                    <a:pt x="0" y="0"/>
                  </a:lnTo>
                  <a:lnTo>
                    <a:pt x="102886" y="81981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88" name="Forma livre: Forma 2087">
              <a:extLst>
                <a:ext uri="{FF2B5EF4-FFF2-40B4-BE49-F238E27FC236}">
                  <a16:creationId xmlns:a16="http://schemas.microsoft.com/office/drawing/2014/main" id="{7B534CA9-240F-926D-BB0A-170119D4A0AB}"/>
                </a:ext>
              </a:extLst>
            </p:cNvPr>
            <p:cNvSpPr/>
            <p:nvPr/>
          </p:nvSpPr>
          <p:spPr>
            <a:xfrm>
              <a:off x="8614089" y="5222592"/>
              <a:ext cx="194263" cy="144484"/>
            </a:xfrm>
            <a:custGeom>
              <a:avLst/>
              <a:gdLst>
                <a:gd name="connsiteX0" fmla="*/ 194263 w 194263"/>
                <a:gd name="connsiteY0" fmla="*/ 144484 h 144484"/>
                <a:gd name="connsiteX1" fmla="*/ 194263 w 194263"/>
                <a:gd name="connsiteY1" fmla="*/ 0 h 144484"/>
                <a:gd name="connsiteX2" fmla="*/ 0 w 194263"/>
                <a:gd name="connsiteY2" fmla="*/ 0 h 144484"/>
                <a:gd name="connsiteX3" fmla="*/ 0 w 194263"/>
                <a:gd name="connsiteY3" fmla="*/ 144484 h 1444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4263" h="144484">
                  <a:moveTo>
                    <a:pt x="194263" y="144484"/>
                  </a:moveTo>
                  <a:lnTo>
                    <a:pt x="194263" y="0"/>
                  </a:lnTo>
                  <a:lnTo>
                    <a:pt x="0" y="0"/>
                  </a:lnTo>
                  <a:lnTo>
                    <a:pt x="0" y="144484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2089" name="Gráfico 18">
              <a:extLst>
                <a:ext uri="{FF2B5EF4-FFF2-40B4-BE49-F238E27FC236}">
                  <a16:creationId xmlns:a16="http://schemas.microsoft.com/office/drawing/2014/main" id="{8079B053-4CF7-56C5-82D4-4B1B5B3C295C}"/>
                </a:ext>
              </a:extLst>
            </p:cNvPr>
            <p:cNvGrpSpPr/>
            <p:nvPr/>
          </p:nvGrpSpPr>
          <p:grpSpPr>
            <a:xfrm>
              <a:off x="8644745" y="5251583"/>
              <a:ext cx="132951" cy="128324"/>
              <a:chOff x="8644745" y="5251583"/>
              <a:chExt cx="132951" cy="128324"/>
            </a:xfrm>
            <a:noFill/>
          </p:grpSpPr>
          <p:sp>
            <p:nvSpPr>
              <p:cNvPr id="2090" name="Forma livre: Forma 2089">
                <a:extLst>
                  <a:ext uri="{FF2B5EF4-FFF2-40B4-BE49-F238E27FC236}">
                    <a16:creationId xmlns:a16="http://schemas.microsoft.com/office/drawing/2014/main" id="{D2A7AA1A-6A44-D103-C4E6-86D4AE47E4E0}"/>
                  </a:ext>
                </a:extLst>
              </p:cNvPr>
              <p:cNvSpPr/>
              <p:nvPr/>
            </p:nvSpPr>
            <p:spPr>
              <a:xfrm>
                <a:off x="8696719" y="5302566"/>
                <a:ext cx="47429" cy="3942"/>
              </a:xfrm>
              <a:custGeom>
                <a:avLst/>
                <a:gdLst>
                  <a:gd name="connsiteX0" fmla="*/ 47430 w 47429"/>
                  <a:gd name="connsiteY0" fmla="*/ 0 h 3942"/>
                  <a:gd name="connsiteX1" fmla="*/ 33878 w 47429"/>
                  <a:gd name="connsiteY1" fmla="*/ 2573 h 3942"/>
                  <a:gd name="connsiteX2" fmla="*/ 13858 w 47429"/>
                  <a:gd name="connsiteY2" fmla="*/ 3943 h 3942"/>
                  <a:gd name="connsiteX3" fmla="*/ 0 w 47429"/>
                  <a:gd name="connsiteY3" fmla="*/ 3293 h 39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7429" h="3942">
                    <a:moveTo>
                      <a:pt x="47430" y="0"/>
                    </a:moveTo>
                    <a:cubicBezTo>
                      <a:pt x="45706" y="449"/>
                      <a:pt x="40843" y="1617"/>
                      <a:pt x="33878" y="2573"/>
                    </a:cubicBezTo>
                    <a:cubicBezTo>
                      <a:pt x="28354" y="3329"/>
                      <a:pt x="21507" y="3943"/>
                      <a:pt x="13858" y="3943"/>
                    </a:cubicBezTo>
                    <a:cubicBezTo>
                      <a:pt x="8841" y="3943"/>
                      <a:pt x="4179" y="3683"/>
                      <a:pt x="0" y="3293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091" name="Forma livre: Forma 2090">
                <a:extLst>
                  <a:ext uri="{FF2B5EF4-FFF2-40B4-BE49-F238E27FC236}">
                    <a16:creationId xmlns:a16="http://schemas.microsoft.com/office/drawing/2014/main" id="{807F34E1-8716-B043-DF51-8725FE8ED4F3}"/>
                  </a:ext>
                </a:extLst>
              </p:cNvPr>
              <p:cNvSpPr/>
              <p:nvPr/>
            </p:nvSpPr>
            <p:spPr>
              <a:xfrm>
                <a:off x="8672603" y="5272654"/>
                <a:ext cx="77235" cy="105483"/>
              </a:xfrm>
              <a:custGeom>
                <a:avLst/>
                <a:gdLst>
                  <a:gd name="connsiteX0" fmla="*/ 72868 w 77235"/>
                  <a:gd name="connsiteY0" fmla="*/ 29723 h 105483"/>
                  <a:gd name="connsiteX1" fmla="*/ 59635 w 77235"/>
                  <a:gd name="connsiteY1" fmla="*/ 7460 h 105483"/>
                  <a:gd name="connsiteX2" fmla="*/ 38624 w 77235"/>
                  <a:gd name="connsiteY2" fmla="*/ 0 h 105483"/>
                  <a:gd name="connsiteX3" fmla="*/ 17435 w 77235"/>
                  <a:gd name="connsiteY3" fmla="*/ 7460 h 105483"/>
                  <a:gd name="connsiteX4" fmla="*/ 0 w 77235"/>
                  <a:gd name="connsiteY4" fmla="*/ 51585 h 105483"/>
                  <a:gd name="connsiteX5" fmla="*/ 118 w 77235"/>
                  <a:gd name="connsiteY5" fmla="*/ 51431 h 105483"/>
                  <a:gd name="connsiteX6" fmla="*/ 0 w 77235"/>
                  <a:gd name="connsiteY6" fmla="*/ 53910 h 105483"/>
                  <a:gd name="connsiteX7" fmla="*/ 17435 w 77235"/>
                  <a:gd name="connsiteY7" fmla="*/ 98035 h 105483"/>
                  <a:gd name="connsiteX8" fmla="*/ 38624 w 77235"/>
                  <a:gd name="connsiteY8" fmla="*/ 105483 h 105483"/>
                  <a:gd name="connsiteX9" fmla="*/ 59800 w 77235"/>
                  <a:gd name="connsiteY9" fmla="*/ 98046 h 105483"/>
                  <a:gd name="connsiteX10" fmla="*/ 77235 w 77235"/>
                  <a:gd name="connsiteY10" fmla="*/ 53910 h 105483"/>
                  <a:gd name="connsiteX11" fmla="*/ 72880 w 77235"/>
                  <a:gd name="connsiteY11" fmla="*/ 29723 h 10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77235" h="105483">
                    <a:moveTo>
                      <a:pt x="72868" y="29723"/>
                    </a:moveTo>
                    <a:cubicBezTo>
                      <a:pt x="69433" y="20091"/>
                      <a:pt x="64333" y="11887"/>
                      <a:pt x="59635" y="7460"/>
                    </a:cubicBezTo>
                    <a:cubicBezTo>
                      <a:pt x="53225" y="1416"/>
                      <a:pt x="46155" y="12"/>
                      <a:pt x="38624" y="0"/>
                    </a:cubicBezTo>
                    <a:cubicBezTo>
                      <a:pt x="31033" y="0"/>
                      <a:pt x="23892" y="1416"/>
                      <a:pt x="17435" y="7460"/>
                    </a:cubicBezTo>
                    <a:cubicBezTo>
                      <a:pt x="9337" y="15027"/>
                      <a:pt x="0" y="33583"/>
                      <a:pt x="0" y="51585"/>
                    </a:cubicBezTo>
                    <a:lnTo>
                      <a:pt x="118" y="51431"/>
                    </a:lnTo>
                    <a:cubicBezTo>
                      <a:pt x="83" y="52258"/>
                      <a:pt x="0" y="53072"/>
                      <a:pt x="0" y="53910"/>
                    </a:cubicBezTo>
                    <a:cubicBezTo>
                      <a:pt x="0" y="71912"/>
                      <a:pt x="9325" y="90468"/>
                      <a:pt x="17435" y="98035"/>
                    </a:cubicBezTo>
                    <a:cubicBezTo>
                      <a:pt x="23892" y="104078"/>
                      <a:pt x="31033" y="105471"/>
                      <a:pt x="38624" y="105483"/>
                    </a:cubicBezTo>
                    <a:cubicBezTo>
                      <a:pt x="46202" y="105483"/>
                      <a:pt x="53343" y="104078"/>
                      <a:pt x="59800" y="98046"/>
                    </a:cubicBezTo>
                    <a:cubicBezTo>
                      <a:pt x="67910" y="90468"/>
                      <a:pt x="77224" y="71912"/>
                      <a:pt x="77235" y="53910"/>
                    </a:cubicBezTo>
                    <a:cubicBezTo>
                      <a:pt x="77235" y="45175"/>
                      <a:pt x="75630" y="36983"/>
                      <a:pt x="72880" y="29723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092" name="Forma livre: Forma 2091">
                <a:extLst>
                  <a:ext uri="{FF2B5EF4-FFF2-40B4-BE49-F238E27FC236}">
                    <a16:creationId xmlns:a16="http://schemas.microsoft.com/office/drawing/2014/main" id="{A8B7E443-ADAD-2B61-5306-577BBB931612}"/>
                  </a:ext>
                </a:extLst>
              </p:cNvPr>
              <p:cNvSpPr/>
              <p:nvPr/>
            </p:nvSpPr>
            <p:spPr>
              <a:xfrm>
                <a:off x="8711215" y="5336645"/>
                <a:ext cx="1180" cy="40264"/>
              </a:xfrm>
              <a:custGeom>
                <a:avLst/>
                <a:gdLst>
                  <a:gd name="connsiteX0" fmla="*/ 0 w 1180"/>
                  <a:gd name="connsiteY0" fmla="*/ 0 h 40264"/>
                  <a:gd name="connsiteX1" fmla="*/ 0 w 1180"/>
                  <a:gd name="connsiteY1" fmla="*/ 40264 h 402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80" h="40264">
                    <a:moveTo>
                      <a:pt x="0" y="0"/>
                    </a:moveTo>
                    <a:lnTo>
                      <a:pt x="0" y="40264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2093" name="Gráfico 18">
                <a:extLst>
                  <a:ext uri="{FF2B5EF4-FFF2-40B4-BE49-F238E27FC236}">
                    <a16:creationId xmlns:a16="http://schemas.microsoft.com/office/drawing/2014/main" id="{6186187B-D8E8-89BE-361A-D12E25D7891E}"/>
                  </a:ext>
                </a:extLst>
              </p:cNvPr>
              <p:cNvGrpSpPr/>
              <p:nvPr/>
            </p:nvGrpSpPr>
            <p:grpSpPr>
              <a:xfrm>
                <a:off x="8644745" y="5282357"/>
                <a:ext cx="132951" cy="97550"/>
                <a:chOff x="8644745" y="5282357"/>
                <a:chExt cx="132951" cy="97550"/>
              </a:xfrm>
              <a:noFill/>
            </p:grpSpPr>
            <p:grpSp>
              <p:nvGrpSpPr>
                <p:cNvPr id="2094" name="Gráfico 18">
                  <a:extLst>
                    <a:ext uri="{FF2B5EF4-FFF2-40B4-BE49-F238E27FC236}">
                      <a16:creationId xmlns:a16="http://schemas.microsoft.com/office/drawing/2014/main" id="{A28A88A5-9ED5-5968-8249-7C73D6DD75BE}"/>
                    </a:ext>
                  </a:extLst>
                </p:cNvPr>
                <p:cNvGrpSpPr/>
                <p:nvPr/>
              </p:nvGrpSpPr>
              <p:grpSpPr>
                <a:xfrm>
                  <a:off x="8644745" y="5282357"/>
                  <a:ext cx="29888" cy="97550"/>
                  <a:chOff x="8644745" y="5282357"/>
                  <a:chExt cx="29888" cy="97550"/>
                </a:xfrm>
                <a:noFill/>
              </p:grpSpPr>
              <p:sp>
                <p:nvSpPr>
                  <p:cNvPr id="2095" name="Forma livre: Forma 2094">
                    <a:extLst>
                      <a:ext uri="{FF2B5EF4-FFF2-40B4-BE49-F238E27FC236}">
                        <a16:creationId xmlns:a16="http://schemas.microsoft.com/office/drawing/2014/main" id="{AABA2B43-B53F-22F2-4E14-BC7D1B0F4923}"/>
                      </a:ext>
                    </a:extLst>
                  </p:cNvPr>
                  <p:cNvSpPr/>
                  <p:nvPr/>
                </p:nvSpPr>
                <p:spPr>
                  <a:xfrm>
                    <a:off x="8644745" y="5329125"/>
                    <a:ext cx="24517" cy="1180"/>
                  </a:xfrm>
                  <a:custGeom>
                    <a:avLst/>
                    <a:gdLst>
                      <a:gd name="connsiteX0" fmla="*/ 24518 w 24517"/>
                      <a:gd name="connsiteY0" fmla="*/ 0 h 1180"/>
                      <a:gd name="connsiteX1" fmla="*/ 0 w 24517"/>
                      <a:gd name="connsiteY1" fmla="*/ 0 h 118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24517" h="1180">
                        <a:moveTo>
                          <a:pt x="24518" y="0"/>
                        </a:moveTo>
                        <a:lnTo>
                          <a:pt x="0" y="0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2096" name="Forma livre: Forma 2095">
                    <a:extLst>
                      <a:ext uri="{FF2B5EF4-FFF2-40B4-BE49-F238E27FC236}">
                        <a16:creationId xmlns:a16="http://schemas.microsoft.com/office/drawing/2014/main" id="{8DC9B981-73A1-C104-DD9F-806B29EAFE97}"/>
                      </a:ext>
                    </a:extLst>
                  </p:cNvPr>
                  <p:cNvSpPr/>
                  <p:nvPr/>
                </p:nvSpPr>
                <p:spPr>
                  <a:xfrm>
                    <a:off x="8648770" y="5351424"/>
                    <a:ext cx="25863" cy="28483"/>
                  </a:xfrm>
                  <a:custGeom>
                    <a:avLst/>
                    <a:gdLst>
                      <a:gd name="connsiteX0" fmla="*/ 25863 w 25863"/>
                      <a:gd name="connsiteY0" fmla="*/ 0 h 28483"/>
                      <a:gd name="connsiteX1" fmla="*/ 9196 w 25863"/>
                      <a:gd name="connsiteY1" fmla="*/ 0 h 28483"/>
                      <a:gd name="connsiteX2" fmla="*/ 0 w 25863"/>
                      <a:gd name="connsiteY2" fmla="*/ 28484 h 2848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</a:cxnLst>
                    <a:rect l="l" t="t" r="r" b="b"/>
                    <a:pathLst>
                      <a:path w="25863" h="28483">
                        <a:moveTo>
                          <a:pt x="25863" y="0"/>
                        </a:moveTo>
                        <a:lnTo>
                          <a:pt x="9196" y="0"/>
                        </a:lnTo>
                        <a:lnTo>
                          <a:pt x="0" y="28484"/>
                        </a:lnTo>
                      </a:path>
                    </a:pathLst>
                  </a:custGeom>
                  <a:noFill/>
                  <a:ln w="6350" cap="rnd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2097" name="Forma livre: Forma 2096">
                    <a:extLst>
                      <a:ext uri="{FF2B5EF4-FFF2-40B4-BE49-F238E27FC236}">
                        <a16:creationId xmlns:a16="http://schemas.microsoft.com/office/drawing/2014/main" id="{5AACD02B-5FC9-6342-526F-A5428AEFC2A7}"/>
                      </a:ext>
                    </a:extLst>
                  </p:cNvPr>
                  <p:cNvSpPr/>
                  <p:nvPr/>
                </p:nvSpPr>
                <p:spPr>
                  <a:xfrm>
                    <a:off x="8646091" y="5282357"/>
                    <a:ext cx="27197" cy="24458"/>
                  </a:xfrm>
                  <a:custGeom>
                    <a:avLst/>
                    <a:gdLst>
                      <a:gd name="connsiteX0" fmla="*/ 27197 w 27197"/>
                      <a:gd name="connsiteY0" fmla="*/ 24458 h 24458"/>
                      <a:gd name="connsiteX1" fmla="*/ 11875 w 27197"/>
                      <a:gd name="connsiteY1" fmla="*/ 24458 h 24458"/>
                      <a:gd name="connsiteX2" fmla="*/ 0 w 27197"/>
                      <a:gd name="connsiteY2" fmla="*/ 0 h 2445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</a:cxnLst>
                    <a:rect l="l" t="t" r="r" b="b"/>
                    <a:pathLst>
                      <a:path w="27197" h="24458">
                        <a:moveTo>
                          <a:pt x="27197" y="24458"/>
                        </a:moveTo>
                        <a:lnTo>
                          <a:pt x="11875" y="24458"/>
                        </a:lnTo>
                        <a:lnTo>
                          <a:pt x="0" y="0"/>
                        </a:lnTo>
                      </a:path>
                    </a:pathLst>
                  </a:custGeom>
                  <a:noFill/>
                  <a:ln w="6350" cap="rnd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  <p:grpSp>
              <p:nvGrpSpPr>
                <p:cNvPr id="2098" name="Gráfico 18">
                  <a:extLst>
                    <a:ext uri="{FF2B5EF4-FFF2-40B4-BE49-F238E27FC236}">
                      <a16:creationId xmlns:a16="http://schemas.microsoft.com/office/drawing/2014/main" id="{E1774EA0-385E-F808-F6DD-DA4F4EC0712A}"/>
                    </a:ext>
                  </a:extLst>
                </p:cNvPr>
                <p:cNvGrpSpPr/>
                <p:nvPr/>
              </p:nvGrpSpPr>
              <p:grpSpPr>
                <a:xfrm>
                  <a:off x="8747808" y="5282357"/>
                  <a:ext cx="29888" cy="97550"/>
                  <a:chOff x="8747808" y="5282357"/>
                  <a:chExt cx="29888" cy="97550"/>
                </a:xfrm>
                <a:noFill/>
              </p:grpSpPr>
              <p:sp>
                <p:nvSpPr>
                  <p:cNvPr id="2099" name="Forma livre: Forma 2098">
                    <a:extLst>
                      <a:ext uri="{FF2B5EF4-FFF2-40B4-BE49-F238E27FC236}">
                        <a16:creationId xmlns:a16="http://schemas.microsoft.com/office/drawing/2014/main" id="{83848E09-8709-5594-AB88-060806559E41}"/>
                      </a:ext>
                    </a:extLst>
                  </p:cNvPr>
                  <p:cNvSpPr/>
                  <p:nvPr/>
                </p:nvSpPr>
                <p:spPr>
                  <a:xfrm>
                    <a:off x="8753179" y="5329125"/>
                    <a:ext cx="24517" cy="1180"/>
                  </a:xfrm>
                  <a:custGeom>
                    <a:avLst/>
                    <a:gdLst>
                      <a:gd name="connsiteX0" fmla="*/ 0 w 24517"/>
                      <a:gd name="connsiteY0" fmla="*/ 0 h 1180"/>
                      <a:gd name="connsiteX1" fmla="*/ 24517 w 24517"/>
                      <a:gd name="connsiteY1" fmla="*/ 0 h 118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24517" h="1180">
                        <a:moveTo>
                          <a:pt x="0" y="0"/>
                        </a:moveTo>
                        <a:lnTo>
                          <a:pt x="24517" y="0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2100" name="Forma livre: Forma 2099">
                    <a:extLst>
                      <a:ext uri="{FF2B5EF4-FFF2-40B4-BE49-F238E27FC236}">
                        <a16:creationId xmlns:a16="http://schemas.microsoft.com/office/drawing/2014/main" id="{C425183D-AE2C-A28A-7CB9-0268CDF39F08}"/>
                      </a:ext>
                    </a:extLst>
                  </p:cNvPr>
                  <p:cNvSpPr/>
                  <p:nvPr/>
                </p:nvSpPr>
                <p:spPr>
                  <a:xfrm>
                    <a:off x="8747808" y="5351424"/>
                    <a:ext cx="25863" cy="28483"/>
                  </a:xfrm>
                  <a:custGeom>
                    <a:avLst/>
                    <a:gdLst>
                      <a:gd name="connsiteX0" fmla="*/ 0 w 25863"/>
                      <a:gd name="connsiteY0" fmla="*/ 0 h 28483"/>
                      <a:gd name="connsiteX1" fmla="*/ 16668 w 25863"/>
                      <a:gd name="connsiteY1" fmla="*/ 0 h 28483"/>
                      <a:gd name="connsiteX2" fmla="*/ 25863 w 25863"/>
                      <a:gd name="connsiteY2" fmla="*/ 28484 h 2848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</a:cxnLst>
                    <a:rect l="l" t="t" r="r" b="b"/>
                    <a:pathLst>
                      <a:path w="25863" h="28483">
                        <a:moveTo>
                          <a:pt x="0" y="0"/>
                        </a:moveTo>
                        <a:lnTo>
                          <a:pt x="16668" y="0"/>
                        </a:lnTo>
                        <a:lnTo>
                          <a:pt x="25863" y="28484"/>
                        </a:lnTo>
                      </a:path>
                    </a:pathLst>
                  </a:custGeom>
                  <a:noFill/>
                  <a:ln w="6350" cap="rnd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2101" name="Forma livre: Forma 2100">
                    <a:extLst>
                      <a:ext uri="{FF2B5EF4-FFF2-40B4-BE49-F238E27FC236}">
                        <a16:creationId xmlns:a16="http://schemas.microsoft.com/office/drawing/2014/main" id="{911258C7-8FE6-795F-C1E4-419B7E23D47A}"/>
                      </a:ext>
                    </a:extLst>
                  </p:cNvPr>
                  <p:cNvSpPr/>
                  <p:nvPr/>
                </p:nvSpPr>
                <p:spPr>
                  <a:xfrm>
                    <a:off x="8749154" y="5282357"/>
                    <a:ext cx="27197" cy="24458"/>
                  </a:xfrm>
                  <a:custGeom>
                    <a:avLst/>
                    <a:gdLst>
                      <a:gd name="connsiteX0" fmla="*/ 0 w 27197"/>
                      <a:gd name="connsiteY0" fmla="*/ 24458 h 24458"/>
                      <a:gd name="connsiteX1" fmla="*/ 15322 w 27197"/>
                      <a:gd name="connsiteY1" fmla="*/ 24458 h 24458"/>
                      <a:gd name="connsiteX2" fmla="*/ 27197 w 27197"/>
                      <a:gd name="connsiteY2" fmla="*/ 0 h 2445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</a:cxnLst>
                    <a:rect l="l" t="t" r="r" b="b"/>
                    <a:pathLst>
                      <a:path w="27197" h="24458">
                        <a:moveTo>
                          <a:pt x="0" y="24458"/>
                        </a:moveTo>
                        <a:lnTo>
                          <a:pt x="15322" y="24458"/>
                        </a:lnTo>
                        <a:lnTo>
                          <a:pt x="27197" y="0"/>
                        </a:lnTo>
                      </a:path>
                    </a:pathLst>
                  </a:custGeom>
                  <a:noFill/>
                  <a:ln w="6350" cap="rnd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</p:grpSp>
          <p:grpSp>
            <p:nvGrpSpPr>
              <p:cNvPr id="2102" name="Gráfico 18">
                <a:extLst>
                  <a:ext uri="{FF2B5EF4-FFF2-40B4-BE49-F238E27FC236}">
                    <a16:creationId xmlns:a16="http://schemas.microsoft.com/office/drawing/2014/main" id="{90122CFE-DBA1-F817-74B4-D0CD45D7806C}"/>
                  </a:ext>
                </a:extLst>
              </p:cNvPr>
              <p:cNvGrpSpPr/>
              <p:nvPr/>
            </p:nvGrpSpPr>
            <p:grpSpPr>
              <a:xfrm>
                <a:off x="8686615" y="5251583"/>
                <a:ext cx="49212" cy="22321"/>
                <a:chOff x="8686615" y="5251583"/>
                <a:chExt cx="49212" cy="22321"/>
              </a:xfrm>
              <a:noFill/>
            </p:grpSpPr>
            <p:sp>
              <p:nvSpPr>
                <p:cNvPr id="2103" name="Forma livre: Forma 2102">
                  <a:extLst>
                    <a:ext uri="{FF2B5EF4-FFF2-40B4-BE49-F238E27FC236}">
                      <a16:creationId xmlns:a16="http://schemas.microsoft.com/office/drawing/2014/main" id="{6C0EA463-DE0F-261A-3B54-DF5FE37172BD}"/>
                    </a:ext>
                  </a:extLst>
                </p:cNvPr>
                <p:cNvSpPr/>
                <p:nvPr/>
              </p:nvSpPr>
              <p:spPr>
                <a:xfrm>
                  <a:off x="8686615" y="5251583"/>
                  <a:ext cx="10848" cy="22321"/>
                </a:xfrm>
                <a:custGeom>
                  <a:avLst/>
                  <a:gdLst>
                    <a:gd name="connsiteX0" fmla="*/ 0 w 10848"/>
                    <a:gd name="connsiteY0" fmla="*/ 0 h 22321"/>
                    <a:gd name="connsiteX1" fmla="*/ 10848 w 10848"/>
                    <a:gd name="connsiteY1" fmla="*/ 22322 h 2232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0848" h="22321">
                      <a:moveTo>
                        <a:pt x="0" y="0"/>
                      </a:moveTo>
                      <a:cubicBezTo>
                        <a:pt x="0" y="9408"/>
                        <a:pt x="3895" y="16373"/>
                        <a:pt x="10848" y="22322"/>
                      </a:cubicBez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104" name="Forma livre: Forma 2103">
                  <a:extLst>
                    <a:ext uri="{FF2B5EF4-FFF2-40B4-BE49-F238E27FC236}">
                      <a16:creationId xmlns:a16="http://schemas.microsoft.com/office/drawing/2014/main" id="{380830C3-9108-CC93-9092-FC7FCECA4933}"/>
                    </a:ext>
                  </a:extLst>
                </p:cNvPr>
                <p:cNvSpPr/>
                <p:nvPr/>
              </p:nvSpPr>
              <p:spPr>
                <a:xfrm>
                  <a:off x="8724979" y="5251583"/>
                  <a:ext cx="10848" cy="22321"/>
                </a:xfrm>
                <a:custGeom>
                  <a:avLst/>
                  <a:gdLst>
                    <a:gd name="connsiteX0" fmla="*/ 10848 w 10848"/>
                    <a:gd name="connsiteY0" fmla="*/ 0 h 22321"/>
                    <a:gd name="connsiteX1" fmla="*/ 0 w 10848"/>
                    <a:gd name="connsiteY1" fmla="*/ 22322 h 2232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0848" h="22321">
                      <a:moveTo>
                        <a:pt x="10848" y="0"/>
                      </a:moveTo>
                      <a:cubicBezTo>
                        <a:pt x="10848" y="9408"/>
                        <a:pt x="6964" y="16373"/>
                        <a:pt x="0" y="22322"/>
                      </a:cubicBez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</p:grpSp>
      <p:grpSp>
        <p:nvGrpSpPr>
          <p:cNvPr id="2105" name="Gráfico 18">
            <a:extLst>
              <a:ext uri="{FF2B5EF4-FFF2-40B4-BE49-F238E27FC236}">
                <a16:creationId xmlns:a16="http://schemas.microsoft.com/office/drawing/2014/main" id="{1FE53861-9763-4BA5-8F8E-037E487ABA98}"/>
              </a:ext>
            </a:extLst>
          </p:cNvPr>
          <p:cNvGrpSpPr/>
          <p:nvPr/>
        </p:nvGrpSpPr>
        <p:grpSpPr>
          <a:xfrm>
            <a:off x="9218138" y="5236320"/>
            <a:ext cx="218544" cy="293820"/>
            <a:chOff x="9218138" y="5236320"/>
            <a:chExt cx="218544" cy="293820"/>
          </a:xfrm>
        </p:grpSpPr>
        <p:grpSp>
          <p:nvGrpSpPr>
            <p:cNvPr id="2106" name="Gráfico 18">
              <a:extLst>
                <a:ext uri="{FF2B5EF4-FFF2-40B4-BE49-F238E27FC236}">
                  <a16:creationId xmlns:a16="http://schemas.microsoft.com/office/drawing/2014/main" id="{4F67F23A-D0BC-6F9A-79A7-0CDA1AFD7663}"/>
                </a:ext>
              </a:extLst>
            </p:cNvPr>
            <p:cNvGrpSpPr/>
            <p:nvPr/>
          </p:nvGrpSpPr>
          <p:grpSpPr>
            <a:xfrm>
              <a:off x="9218138" y="5236320"/>
              <a:ext cx="162474" cy="293820"/>
              <a:chOff x="9218138" y="5236320"/>
              <a:chExt cx="162474" cy="293820"/>
            </a:xfrm>
            <a:noFill/>
          </p:grpSpPr>
          <p:sp>
            <p:nvSpPr>
              <p:cNvPr id="2107" name="Forma livre: Forma 2106">
                <a:extLst>
                  <a:ext uri="{FF2B5EF4-FFF2-40B4-BE49-F238E27FC236}">
                    <a16:creationId xmlns:a16="http://schemas.microsoft.com/office/drawing/2014/main" id="{AD20147D-659E-A334-42B8-4163A1BAE84E}"/>
                  </a:ext>
                </a:extLst>
              </p:cNvPr>
              <p:cNvSpPr/>
              <p:nvPr/>
            </p:nvSpPr>
            <p:spPr>
              <a:xfrm>
                <a:off x="9218138" y="5236320"/>
                <a:ext cx="162474" cy="293820"/>
              </a:xfrm>
              <a:custGeom>
                <a:avLst/>
                <a:gdLst>
                  <a:gd name="connsiteX0" fmla="*/ 162474 w 162474"/>
                  <a:gd name="connsiteY0" fmla="*/ 206244 h 293820"/>
                  <a:gd name="connsiteX1" fmla="*/ 162474 w 162474"/>
                  <a:gd name="connsiteY1" fmla="*/ 280104 h 293820"/>
                  <a:gd name="connsiteX2" fmla="*/ 149171 w 162474"/>
                  <a:gd name="connsiteY2" fmla="*/ 293821 h 293820"/>
                  <a:gd name="connsiteX3" fmla="*/ 13291 w 162474"/>
                  <a:gd name="connsiteY3" fmla="*/ 293821 h 293820"/>
                  <a:gd name="connsiteX4" fmla="*/ 0 w 162474"/>
                  <a:gd name="connsiteY4" fmla="*/ 280104 h 293820"/>
                  <a:gd name="connsiteX5" fmla="*/ 0 w 162474"/>
                  <a:gd name="connsiteY5" fmla="*/ 13292 h 293820"/>
                  <a:gd name="connsiteX6" fmla="*/ 13291 w 162474"/>
                  <a:gd name="connsiteY6" fmla="*/ 0 h 293820"/>
                  <a:gd name="connsiteX7" fmla="*/ 149171 w 162474"/>
                  <a:gd name="connsiteY7" fmla="*/ 0 h 293820"/>
                  <a:gd name="connsiteX8" fmla="*/ 162474 w 162474"/>
                  <a:gd name="connsiteY8" fmla="*/ 13292 h 293820"/>
                  <a:gd name="connsiteX9" fmla="*/ 162474 w 162474"/>
                  <a:gd name="connsiteY9" fmla="*/ 29027 h 2938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62474" h="293820">
                    <a:moveTo>
                      <a:pt x="162474" y="206244"/>
                    </a:moveTo>
                    <a:lnTo>
                      <a:pt x="162474" y="280104"/>
                    </a:lnTo>
                    <a:cubicBezTo>
                      <a:pt x="162474" y="287423"/>
                      <a:pt x="156489" y="293821"/>
                      <a:pt x="149171" y="293821"/>
                    </a:cubicBezTo>
                    <a:lnTo>
                      <a:pt x="13291" y="293821"/>
                    </a:lnTo>
                    <a:cubicBezTo>
                      <a:pt x="5973" y="293821"/>
                      <a:pt x="0" y="287411"/>
                      <a:pt x="0" y="280104"/>
                    </a:cubicBezTo>
                    <a:lnTo>
                      <a:pt x="0" y="13292"/>
                    </a:lnTo>
                    <a:cubicBezTo>
                      <a:pt x="0" y="5973"/>
                      <a:pt x="5985" y="0"/>
                      <a:pt x="13291" y="0"/>
                    </a:cubicBezTo>
                    <a:lnTo>
                      <a:pt x="149171" y="0"/>
                    </a:lnTo>
                    <a:cubicBezTo>
                      <a:pt x="156489" y="0"/>
                      <a:pt x="162474" y="5973"/>
                      <a:pt x="162474" y="13292"/>
                    </a:cubicBezTo>
                    <a:lnTo>
                      <a:pt x="162474" y="29027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108" name="Forma livre: Forma 2107">
                <a:extLst>
                  <a:ext uri="{FF2B5EF4-FFF2-40B4-BE49-F238E27FC236}">
                    <a16:creationId xmlns:a16="http://schemas.microsoft.com/office/drawing/2014/main" id="{DCE56C07-3344-4C68-D4F5-5BFEE340680E}"/>
                  </a:ext>
                </a:extLst>
              </p:cNvPr>
              <p:cNvSpPr/>
              <p:nvPr/>
            </p:nvSpPr>
            <p:spPr>
              <a:xfrm>
                <a:off x="9237899" y="5472146"/>
                <a:ext cx="122929" cy="1180"/>
              </a:xfrm>
              <a:custGeom>
                <a:avLst/>
                <a:gdLst>
                  <a:gd name="connsiteX0" fmla="*/ 0 w 122929"/>
                  <a:gd name="connsiteY0" fmla="*/ 0 h 1180"/>
                  <a:gd name="connsiteX1" fmla="*/ 122930 w 122929"/>
                  <a:gd name="connsiteY1" fmla="*/ 0 h 11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2929" h="1180">
                    <a:moveTo>
                      <a:pt x="0" y="0"/>
                    </a:moveTo>
                    <a:lnTo>
                      <a:pt x="12293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109" name="Forma livre: Forma 2108">
                <a:extLst>
                  <a:ext uri="{FF2B5EF4-FFF2-40B4-BE49-F238E27FC236}">
                    <a16:creationId xmlns:a16="http://schemas.microsoft.com/office/drawing/2014/main" id="{7013EA24-3B82-6252-FE8F-2C8C6D1458DB}"/>
                  </a:ext>
                </a:extLst>
              </p:cNvPr>
              <p:cNvSpPr/>
              <p:nvPr/>
            </p:nvSpPr>
            <p:spPr>
              <a:xfrm>
                <a:off x="9288338" y="5500311"/>
                <a:ext cx="22085" cy="1180"/>
              </a:xfrm>
              <a:custGeom>
                <a:avLst/>
                <a:gdLst>
                  <a:gd name="connsiteX0" fmla="*/ 0 w 22085"/>
                  <a:gd name="connsiteY0" fmla="*/ 0 h 1180"/>
                  <a:gd name="connsiteX1" fmla="*/ 22086 w 22085"/>
                  <a:gd name="connsiteY1" fmla="*/ 0 h 11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2085" h="1180">
                    <a:moveTo>
                      <a:pt x="0" y="0"/>
                    </a:moveTo>
                    <a:lnTo>
                      <a:pt x="22086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2110" name="Gráfico 18">
              <a:extLst>
                <a:ext uri="{FF2B5EF4-FFF2-40B4-BE49-F238E27FC236}">
                  <a16:creationId xmlns:a16="http://schemas.microsoft.com/office/drawing/2014/main" id="{DCAE59CE-89C9-67CF-876A-981F61832833}"/>
                </a:ext>
              </a:extLst>
            </p:cNvPr>
            <p:cNvGrpSpPr/>
            <p:nvPr/>
          </p:nvGrpSpPr>
          <p:grpSpPr>
            <a:xfrm>
              <a:off x="9324507" y="5284352"/>
              <a:ext cx="112176" cy="138511"/>
              <a:chOff x="9324507" y="5284352"/>
              <a:chExt cx="112176" cy="138511"/>
            </a:xfrm>
          </p:grpSpPr>
          <p:sp>
            <p:nvSpPr>
              <p:cNvPr id="2111" name="Forma livre: Forma 2110">
                <a:extLst>
                  <a:ext uri="{FF2B5EF4-FFF2-40B4-BE49-F238E27FC236}">
                    <a16:creationId xmlns:a16="http://schemas.microsoft.com/office/drawing/2014/main" id="{8BBDB8D6-2E1E-0B61-407A-489BE352B4A5}"/>
                  </a:ext>
                </a:extLst>
              </p:cNvPr>
              <p:cNvSpPr/>
              <p:nvPr/>
            </p:nvSpPr>
            <p:spPr>
              <a:xfrm>
                <a:off x="9380601" y="5366439"/>
                <a:ext cx="1180" cy="27858"/>
              </a:xfrm>
              <a:custGeom>
                <a:avLst/>
                <a:gdLst>
                  <a:gd name="connsiteX0" fmla="*/ 0 w 1180"/>
                  <a:gd name="connsiteY0" fmla="*/ 0 h 27858"/>
                  <a:gd name="connsiteX1" fmla="*/ 0 w 1180"/>
                  <a:gd name="connsiteY1" fmla="*/ 27858 h 278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80" h="27858">
                    <a:moveTo>
                      <a:pt x="0" y="0"/>
                    </a:moveTo>
                    <a:lnTo>
                      <a:pt x="0" y="27858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112" name="Forma livre: Forma 2111">
                <a:extLst>
                  <a:ext uri="{FF2B5EF4-FFF2-40B4-BE49-F238E27FC236}">
                    <a16:creationId xmlns:a16="http://schemas.microsoft.com/office/drawing/2014/main" id="{4154B642-634C-60D6-39DC-8BB019EAF058}"/>
                  </a:ext>
                </a:extLst>
              </p:cNvPr>
              <p:cNvSpPr/>
              <p:nvPr/>
            </p:nvSpPr>
            <p:spPr>
              <a:xfrm>
                <a:off x="9374510" y="5358825"/>
                <a:ext cx="12181" cy="12170"/>
              </a:xfrm>
              <a:custGeom>
                <a:avLst/>
                <a:gdLst>
                  <a:gd name="connsiteX0" fmla="*/ 12182 w 12181"/>
                  <a:gd name="connsiteY0" fmla="*/ 6079 h 12170"/>
                  <a:gd name="connsiteX1" fmla="*/ 6091 w 12181"/>
                  <a:gd name="connsiteY1" fmla="*/ 12170 h 12170"/>
                  <a:gd name="connsiteX2" fmla="*/ 0 w 12181"/>
                  <a:gd name="connsiteY2" fmla="*/ 6079 h 12170"/>
                  <a:gd name="connsiteX3" fmla="*/ 6091 w 12181"/>
                  <a:gd name="connsiteY3" fmla="*/ 0 h 12170"/>
                  <a:gd name="connsiteX4" fmla="*/ 12182 w 12181"/>
                  <a:gd name="connsiteY4" fmla="*/ 6079 h 121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181" h="12170">
                    <a:moveTo>
                      <a:pt x="12182" y="6079"/>
                    </a:moveTo>
                    <a:cubicBezTo>
                      <a:pt x="12182" y="9443"/>
                      <a:pt x="9455" y="12170"/>
                      <a:pt x="6091" y="12170"/>
                    </a:cubicBezTo>
                    <a:cubicBezTo>
                      <a:pt x="2727" y="12170"/>
                      <a:pt x="0" y="9455"/>
                      <a:pt x="0" y="6079"/>
                    </a:cubicBezTo>
                    <a:cubicBezTo>
                      <a:pt x="0" y="2703"/>
                      <a:pt x="2727" y="0"/>
                      <a:pt x="6091" y="0"/>
                    </a:cubicBezTo>
                    <a:cubicBezTo>
                      <a:pt x="9455" y="0"/>
                      <a:pt x="12182" y="2715"/>
                      <a:pt x="12182" y="6079"/>
                    </a:cubicBezTo>
                    <a:close/>
                  </a:path>
                </a:pathLst>
              </a:custGeom>
              <a:solidFill>
                <a:srgbClr val="FF8B00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113" name="Forma livre: Forma 2112">
                <a:extLst>
                  <a:ext uri="{FF2B5EF4-FFF2-40B4-BE49-F238E27FC236}">
                    <a16:creationId xmlns:a16="http://schemas.microsoft.com/office/drawing/2014/main" id="{7F71293E-EF43-5F0E-3D69-3DF663442997}"/>
                  </a:ext>
                </a:extLst>
              </p:cNvPr>
              <p:cNvSpPr/>
              <p:nvPr/>
            </p:nvSpPr>
            <p:spPr>
              <a:xfrm>
                <a:off x="9324507" y="5284352"/>
                <a:ext cx="112176" cy="138511"/>
              </a:xfrm>
              <a:custGeom>
                <a:avLst/>
                <a:gdLst>
                  <a:gd name="connsiteX0" fmla="*/ 91094 w 112176"/>
                  <a:gd name="connsiteY0" fmla="*/ 42920 h 138511"/>
                  <a:gd name="connsiteX1" fmla="*/ 112176 w 112176"/>
                  <a:gd name="connsiteY1" fmla="*/ 42920 h 138511"/>
                  <a:gd name="connsiteX2" fmla="*/ 112176 w 112176"/>
                  <a:gd name="connsiteY2" fmla="*/ 138511 h 138511"/>
                  <a:gd name="connsiteX3" fmla="*/ 0 w 112176"/>
                  <a:gd name="connsiteY3" fmla="*/ 138511 h 138511"/>
                  <a:gd name="connsiteX4" fmla="*/ 0 w 112176"/>
                  <a:gd name="connsiteY4" fmla="*/ 42920 h 138511"/>
                  <a:gd name="connsiteX5" fmla="*/ 21094 w 112176"/>
                  <a:gd name="connsiteY5" fmla="*/ 42920 h 138511"/>
                  <a:gd name="connsiteX6" fmla="*/ 21094 w 112176"/>
                  <a:gd name="connsiteY6" fmla="*/ 26524 h 138511"/>
                  <a:gd name="connsiteX7" fmla="*/ 47618 w 112176"/>
                  <a:gd name="connsiteY7" fmla="*/ 0 h 138511"/>
                  <a:gd name="connsiteX8" fmla="*/ 64569 w 112176"/>
                  <a:gd name="connsiteY8" fmla="*/ 0 h 138511"/>
                  <a:gd name="connsiteX9" fmla="*/ 91094 w 112176"/>
                  <a:gd name="connsiteY9" fmla="*/ 26524 h 138511"/>
                  <a:gd name="connsiteX10" fmla="*/ 91094 w 112176"/>
                  <a:gd name="connsiteY10" fmla="*/ 42920 h 1385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112176" h="138511">
                    <a:moveTo>
                      <a:pt x="91094" y="42920"/>
                    </a:moveTo>
                    <a:lnTo>
                      <a:pt x="112176" y="42920"/>
                    </a:lnTo>
                    <a:lnTo>
                      <a:pt x="112176" y="138511"/>
                    </a:lnTo>
                    <a:lnTo>
                      <a:pt x="0" y="138511"/>
                    </a:lnTo>
                    <a:lnTo>
                      <a:pt x="0" y="42920"/>
                    </a:lnTo>
                    <a:lnTo>
                      <a:pt x="21094" y="42920"/>
                    </a:lnTo>
                    <a:lnTo>
                      <a:pt x="21094" y="26524"/>
                    </a:lnTo>
                    <a:cubicBezTo>
                      <a:pt x="21094" y="11934"/>
                      <a:pt x="33040" y="0"/>
                      <a:pt x="47618" y="0"/>
                    </a:cubicBezTo>
                    <a:lnTo>
                      <a:pt x="64569" y="0"/>
                    </a:lnTo>
                    <a:cubicBezTo>
                      <a:pt x="79159" y="0"/>
                      <a:pt x="91094" y="11934"/>
                      <a:pt x="91094" y="26524"/>
                    </a:cubicBezTo>
                    <a:lnTo>
                      <a:pt x="91094" y="42920"/>
                    </a:lnTo>
                    <a:close/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114" name="Forma livre: Forma 2113">
                <a:extLst>
                  <a:ext uri="{FF2B5EF4-FFF2-40B4-BE49-F238E27FC236}">
                    <a16:creationId xmlns:a16="http://schemas.microsoft.com/office/drawing/2014/main" id="{E59DF489-8AF5-0651-3A58-A0864A2D4C46}"/>
                  </a:ext>
                </a:extLst>
              </p:cNvPr>
              <p:cNvSpPr/>
              <p:nvPr/>
            </p:nvSpPr>
            <p:spPr>
              <a:xfrm>
                <a:off x="9365668" y="5327272"/>
                <a:ext cx="29971" cy="1180"/>
              </a:xfrm>
              <a:custGeom>
                <a:avLst/>
                <a:gdLst>
                  <a:gd name="connsiteX0" fmla="*/ 0 w 29971"/>
                  <a:gd name="connsiteY0" fmla="*/ 0 h 1180"/>
                  <a:gd name="connsiteX1" fmla="*/ 29971 w 29971"/>
                  <a:gd name="connsiteY1" fmla="*/ 0 h 11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9971" h="1180">
                    <a:moveTo>
                      <a:pt x="0" y="0"/>
                    </a:moveTo>
                    <a:lnTo>
                      <a:pt x="29971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2115" name="Gráfico 18">
            <a:extLst>
              <a:ext uri="{FF2B5EF4-FFF2-40B4-BE49-F238E27FC236}">
                <a16:creationId xmlns:a16="http://schemas.microsoft.com/office/drawing/2014/main" id="{2296C6DD-EC33-EC8E-7F9D-363452FC634D}"/>
              </a:ext>
            </a:extLst>
          </p:cNvPr>
          <p:cNvGrpSpPr/>
          <p:nvPr/>
        </p:nvGrpSpPr>
        <p:grpSpPr>
          <a:xfrm>
            <a:off x="8013841" y="5236308"/>
            <a:ext cx="162474" cy="293820"/>
            <a:chOff x="8013841" y="5236308"/>
            <a:chExt cx="162474" cy="293820"/>
          </a:xfrm>
          <a:noFill/>
        </p:grpSpPr>
        <p:grpSp>
          <p:nvGrpSpPr>
            <p:cNvPr id="2116" name="Gráfico 18">
              <a:extLst>
                <a:ext uri="{FF2B5EF4-FFF2-40B4-BE49-F238E27FC236}">
                  <a16:creationId xmlns:a16="http://schemas.microsoft.com/office/drawing/2014/main" id="{12F76C70-86E6-5CDA-7EB4-39ADC4A95F4D}"/>
                </a:ext>
              </a:extLst>
            </p:cNvPr>
            <p:cNvGrpSpPr/>
            <p:nvPr/>
          </p:nvGrpSpPr>
          <p:grpSpPr>
            <a:xfrm>
              <a:off x="8013841" y="5236308"/>
              <a:ext cx="162474" cy="293820"/>
              <a:chOff x="8013841" y="5236308"/>
              <a:chExt cx="162474" cy="293820"/>
            </a:xfrm>
            <a:noFill/>
          </p:grpSpPr>
          <p:sp>
            <p:nvSpPr>
              <p:cNvPr id="2117" name="Forma livre: Forma 2116">
                <a:extLst>
                  <a:ext uri="{FF2B5EF4-FFF2-40B4-BE49-F238E27FC236}">
                    <a16:creationId xmlns:a16="http://schemas.microsoft.com/office/drawing/2014/main" id="{D442DF27-6470-3E29-50D5-6C590D44EB17}"/>
                  </a:ext>
                </a:extLst>
              </p:cNvPr>
              <p:cNvSpPr/>
              <p:nvPr/>
            </p:nvSpPr>
            <p:spPr>
              <a:xfrm>
                <a:off x="8013841" y="5236308"/>
                <a:ext cx="162474" cy="293820"/>
              </a:xfrm>
              <a:custGeom>
                <a:avLst/>
                <a:gdLst>
                  <a:gd name="connsiteX0" fmla="*/ 162474 w 162474"/>
                  <a:gd name="connsiteY0" fmla="*/ 280104 h 293820"/>
                  <a:gd name="connsiteX1" fmla="*/ 149171 w 162474"/>
                  <a:gd name="connsiteY1" fmla="*/ 293821 h 293820"/>
                  <a:gd name="connsiteX2" fmla="*/ 13292 w 162474"/>
                  <a:gd name="connsiteY2" fmla="*/ 293821 h 293820"/>
                  <a:gd name="connsiteX3" fmla="*/ 0 w 162474"/>
                  <a:gd name="connsiteY3" fmla="*/ 280104 h 293820"/>
                  <a:gd name="connsiteX4" fmla="*/ 0 w 162474"/>
                  <a:gd name="connsiteY4" fmla="*/ 13292 h 293820"/>
                  <a:gd name="connsiteX5" fmla="*/ 13292 w 162474"/>
                  <a:gd name="connsiteY5" fmla="*/ 0 h 293820"/>
                  <a:gd name="connsiteX6" fmla="*/ 149171 w 162474"/>
                  <a:gd name="connsiteY6" fmla="*/ 0 h 293820"/>
                  <a:gd name="connsiteX7" fmla="*/ 162474 w 162474"/>
                  <a:gd name="connsiteY7" fmla="*/ 13292 h 293820"/>
                  <a:gd name="connsiteX8" fmla="*/ 162474 w 162474"/>
                  <a:gd name="connsiteY8" fmla="*/ 280104 h 2938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62474" h="293820">
                    <a:moveTo>
                      <a:pt x="162474" y="280104"/>
                    </a:moveTo>
                    <a:cubicBezTo>
                      <a:pt x="162474" y="287423"/>
                      <a:pt x="156489" y="293821"/>
                      <a:pt x="149171" y="293821"/>
                    </a:cubicBezTo>
                    <a:lnTo>
                      <a:pt x="13292" y="293821"/>
                    </a:lnTo>
                    <a:cubicBezTo>
                      <a:pt x="5973" y="293821"/>
                      <a:pt x="0" y="287411"/>
                      <a:pt x="0" y="280104"/>
                    </a:cubicBezTo>
                    <a:lnTo>
                      <a:pt x="0" y="13292"/>
                    </a:lnTo>
                    <a:cubicBezTo>
                      <a:pt x="0" y="5973"/>
                      <a:pt x="5985" y="0"/>
                      <a:pt x="13292" y="0"/>
                    </a:cubicBezTo>
                    <a:lnTo>
                      <a:pt x="149171" y="0"/>
                    </a:lnTo>
                    <a:cubicBezTo>
                      <a:pt x="156489" y="0"/>
                      <a:pt x="162474" y="5973"/>
                      <a:pt x="162474" y="13292"/>
                    </a:cubicBezTo>
                    <a:lnTo>
                      <a:pt x="162474" y="280104"/>
                    </a:ln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118" name="Forma livre: Forma 2117">
                <a:extLst>
                  <a:ext uri="{FF2B5EF4-FFF2-40B4-BE49-F238E27FC236}">
                    <a16:creationId xmlns:a16="http://schemas.microsoft.com/office/drawing/2014/main" id="{26144C86-815B-F641-204A-095E8530D12F}"/>
                  </a:ext>
                </a:extLst>
              </p:cNvPr>
              <p:cNvSpPr/>
              <p:nvPr/>
            </p:nvSpPr>
            <p:spPr>
              <a:xfrm>
                <a:off x="8033590" y="5472146"/>
                <a:ext cx="122929" cy="1180"/>
              </a:xfrm>
              <a:custGeom>
                <a:avLst/>
                <a:gdLst>
                  <a:gd name="connsiteX0" fmla="*/ 0 w 122929"/>
                  <a:gd name="connsiteY0" fmla="*/ 0 h 1180"/>
                  <a:gd name="connsiteX1" fmla="*/ 122930 w 122929"/>
                  <a:gd name="connsiteY1" fmla="*/ 0 h 11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2929" h="1180">
                    <a:moveTo>
                      <a:pt x="0" y="0"/>
                    </a:moveTo>
                    <a:lnTo>
                      <a:pt x="12293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119" name="Forma livre: Forma 2118">
                <a:extLst>
                  <a:ext uri="{FF2B5EF4-FFF2-40B4-BE49-F238E27FC236}">
                    <a16:creationId xmlns:a16="http://schemas.microsoft.com/office/drawing/2014/main" id="{F4823436-4973-8E96-CE3C-F9E711B96E82}"/>
                  </a:ext>
                </a:extLst>
              </p:cNvPr>
              <p:cNvSpPr/>
              <p:nvPr/>
            </p:nvSpPr>
            <p:spPr>
              <a:xfrm>
                <a:off x="8084030" y="5500311"/>
                <a:ext cx="22097" cy="1180"/>
              </a:xfrm>
              <a:custGeom>
                <a:avLst/>
                <a:gdLst>
                  <a:gd name="connsiteX0" fmla="*/ 0 w 22097"/>
                  <a:gd name="connsiteY0" fmla="*/ 0 h 1180"/>
                  <a:gd name="connsiteX1" fmla="*/ 22098 w 22097"/>
                  <a:gd name="connsiteY1" fmla="*/ 0 h 11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2097" h="1180">
                    <a:moveTo>
                      <a:pt x="0" y="0"/>
                    </a:moveTo>
                    <a:lnTo>
                      <a:pt x="22098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2120" name="Gráfico 18">
              <a:extLst>
                <a:ext uri="{FF2B5EF4-FFF2-40B4-BE49-F238E27FC236}">
                  <a16:creationId xmlns:a16="http://schemas.microsoft.com/office/drawing/2014/main" id="{B483D529-ECDC-E51B-62DC-4BD25CB26E0D}"/>
                </a:ext>
              </a:extLst>
            </p:cNvPr>
            <p:cNvGrpSpPr/>
            <p:nvPr/>
          </p:nvGrpSpPr>
          <p:grpSpPr>
            <a:xfrm>
              <a:off x="8046350" y="5302672"/>
              <a:ext cx="97460" cy="102874"/>
              <a:chOff x="8046350" y="5302672"/>
              <a:chExt cx="97460" cy="102874"/>
            </a:xfrm>
            <a:noFill/>
          </p:grpSpPr>
          <p:sp>
            <p:nvSpPr>
              <p:cNvPr id="2121" name="Forma livre: Forma 2120">
                <a:extLst>
                  <a:ext uri="{FF2B5EF4-FFF2-40B4-BE49-F238E27FC236}">
                    <a16:creationId xmlns:a16="http://schemas.microsoft.com/office/drawing/2014/main" id="{FB421BDB-176D-DCDA-E769-AAF9D9052C13}"/>
                  </a:ext>
                </a:extLst>
              </p:cNvPr>
              <p:cNvSpPr/>
              <p:nvPr/>
            </p:nvSpPr>
            <p:spPr>
              <a:xfrm>
                <a:off x="8046350" y="5302672"/>
                <a:ext cx="97460" cy="78439"/>
              </a:xfrm>
              <a:custGeom>
                <a:avLst/>
                <a:gdLst>
                  <a:gd name="connsiteX0" fmla="*/ 0 w 97460"/>
                  <a:gd name="connsiteY0" fmla="*/ 50156 h 78439"/>
                  <a:gd name="connsiteX1" fmla="*/ 45990 w 97460"/>
                  <a:gd name="connsiteY1" fmla="*/ 71 h 78439"/>
                  <a:gd name="connsiteX2" fmla="*/ 48598 w 97460"/>
                  <a:gd name="connsiteY2" fmla="*/ 0 h 78439"/>
                  <a:gd name="connsiteX3" fmla="*/ 97374 w 97460"/>
                  <a:gd name="connsiteY3" fmla="*/ 50215 h 78439"/>
                  <a:gd name="connsiteX4" fmla="*/ 95461 w 97460"/>
                  <a:gd name="connsiteY4" fmla="*/ 78440 h 784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97460" h="78439">
                    <a:moveTo>
                      <a:pt x="0" y="50156"/>
                    </a:moveTo>
                    <a:cubicBezTo>
                      <a:pt x="1452" y="23514"/>
                      <a:pt x="21130" y="1570"/>
                      <a:pt x="45990" y="71"/>
                    </a:cubicBezTo>
                    <a:cubicBezTo>
                      <a:pt x="47170" y="12"/>
                      <a:pt x="47890" y="0"/>
                      <a:pt x="48598" y="0"/>
                    </a:cubicBezTo>
                    <a:cubicBezTo>
                      <a:pt x="74402" y="0"/>
                      <a:pt x="95827" y="22074"/>
                      <a:pt x="97374" y="50215"/>
                    </a:cubicBezTo>
                    <a:cubicBezTo>
                      <a:pt x="97433" y="51313"/>
                      <a:pt x="97964" y="62740"/>
                      <a:pt x="95461" y="78440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122" name="Forma livre: Forma 2121">
                <a:extLst>
                  <a:ext uri="{FF2B5EF4-FFF2-40B4-BE49-F238E27FC236}">
                    <a16:creationId xmlns:a16="http://schemas.microsoft.com/office/drawing/2014/main" id="{D37DA7B2-E5DB-6B98-36E2-71D8612F399C}"/>
                  </a:ext>
                </a:extLst>
              </p:cNvPr>
              <p:cNvSpPr/>
              <p:nvPr/>
            </p:nvSpPr>
            <p:spPr>
              <a:xfrm>
                <a:off x="8065025" y="5329385"/>
                <a:ext cx="54433" cy="69869"/>
              </a:xfrm>
              <a:custGeom>
                <a:avLst/>
                <a:gdLst>
                  <a:gd name="connsiteX0" fmla="*/ 0 w 54433"/>
                  <a:gd name="connsiteY0" fmla="*/ 54394 h 69869"/>
                  <a:gd name="connsiteX1" fmla="*/ 5654 w 54433"/>
                  <a:gd name="connsiteY1" fmla="*/ 27976 h 69869"/>
                  <a:gd name="connsiteX2" fmla="*/ 28673 w 54433"/>
                  <a:gd name="connsiteY2" fmla="*/ 35 h 69869"/>
                  <a:gd name="connsiteX3" fmla="*/ 29936 w 54433"/>
                  <a:gd name="connsiteY3" fmla="*/ 0 h 69869"/>
                  <a:gd name="connsiteX4" fmla="*/ 54359 w 54433"/>
                  <a:gd name="connsiteY4" fmla="*/ 25084 h 69869"/>
                  <a:gd name="connsiteX5" fmla="*/ 47111 w 54433"/>
                  <a:gd name="connsiteY5" fmla="*/ 69870 h 698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54433" h="69869">
                    <a:moveTo>
                      <a:pt x="0" y="54394"/>
                    </a:moveTo>
                    <a:cubicBezTo>
                      <a:pt x="6032" y="42354"/>
                      <a:pt x="5666" y="28165"/>
                      <a:pt x="5654" y="27976"/>
                    </a:cubicBezTo>
                    <a:cubicBezTo>
                      <a:pt x="4981" y="13421"/>
                      <a:pt x="15310" y="850"/>
                      <a:pt x="28673" y="35"/>
                    </a:cubicBezTo>
                    <a:cubicBezTo>
                      <a:pt x="29168" y="12"/>
                      <a:pt x="29546" y="0"/>
                      <a:pt x="29936" y="0"/>
                    </a:cubicBezTo>
                    <a:cubicBezTo>
                      <a:pt x="42861" y="0"/>
                      <a:pt x="53591" y="11025"/>
                      <a:pt x="54359" y="25084"/>
                    </a:cubicBezTo>
                    <a:cubicBezTo>
                      <a:pt x="54441" y="26406"/>
                      <a:pt x="55409" y="47276"/>
                      <a:pt x="47111" y="69870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123" name="Forma livre: Forma 2122">
                <a:extLst>
                  <a:ext uri="{FF2B5EF4-FFF2-40B4-BE49-F238E27FC236}">
                    <a16:creationId xmlns:a16="http://schemas.microsoft.com/office/drawing/2014/main" id="{CDFA9B5C-99D2-378C-A6A6-485FBD2386D9}"/>
                  </a:ext>
                </a:extLst>
              </p:cNvPr>
              <p:cNvSpPr/>
              <p:nvPr/>
            </p:nvSpPr>
            <p:spPr>
              <a:xfrm>
                <a:off x="8080996" y="5356074"/>
                <a:ext cx="14076" cy="49471"/>
              </a:xfrm>
              <a:custGeom>
                <a:avLst/>
                <a:gdLst>
                  <a:gd name="connsiteX0" fmla="*/ 14035 w 14076"/>
                  <a:gd name="connsiteY0" fmla="*/ 0 h 49471"/>
                  <a:gd name="connsiteX1" fmla="*/ 0 w 14076"/>
                  <a:gd name="connsiteY1" fmla="*/ 49472 h 494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4076" h="49471">
                    <a:moveTo>
                      <a:pt x="14035" y="0"/>
                    </a:moveTo>
                    <a:cubicBezTo>
                      <a:pt x="14035" y="0"/>
                      <a:pt x="15570" y="28153"/>
                      <a:pt x="0" y="49472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2124" name="Gráfico 18">
            <a:extLst>
              <a:ext uri="{FF2B5EF4-FFF2-40B4-BE49-F238E27FC236}">
                <a16:creationId xmlns:a16="http://schemas.microsoft.com/office/drawing/2014/main" id="{8B7679D9-874B-8769-6748-53F6AFD8F869}"/>
              </a:ext>
            </a:extLst>
          </p:cNvPr>
          <p:cNvGrpSpPr/>
          <p:nvPr/>
        </p:nvGrpSpPr>
        <p:grpSpPr>
          <a:xfrm>
            <a:off x="8551597" y="5813479"/>
            <a:ext cx="319258" cy="241492"/>
            <a:chOff x="8551597" y="5813479"/>
            <a:chExt cx="319258" cy="241492"/>
          </a:xfrm>
          <a:noFill/>
        </p:grpSpPr>
        <p:grpSp>
          <p:nvGrpSpPr>
            <p:cNvPr id="2125" name="Gráfico 18">
              <a:extLst>
                <a:ext uri="{FF2B5EF4-FFF2-40B4-BE49-F238E27FC236}">
                  <a16:creationId xmlns:a16="http://schemas.microsoft.com/office/drawing/2014/main" id="{715B0339-0D21-B8FB-B255-316F37EBFA4F}"/>
                </a:ext>
              </a:extLst>
            </p:cNvPr>
            <p:cNvGrpSpPr/>
            <p:nvPr/>
          </p:nvGrpSpPr>
          <p:grpSpPr>
            <a:xfrm>
              <a:off x="8763296" y="5962827"/>
              <a:ext cx="35826" cy="92144"/>
              <a:chOff x="8763296" y="5962827"/>
              <a:chExt cx="35826" cy="92144"/>
            </a:xfrm>
            <a:noFill/>
          </p:grpSpPr>
          <p:sp>
            <p:nvSpPr>
              <p:cNvPr id="2126" name="Forma livre: Forma 2125">
                <a:extLst>
                  <a:ext uri="{FF2B5EF4-FFF2-40B4-BE49-F238E27FC236}">
                    <a16:creationId xmlns:a16="http://schemas.microsoft.com/office/drawing/2014/main" id="{AC06BCE0-D60C-309B-4064-0C7D74664DEC}"/>
                  </a:ext>
                </a:extLst>
              </p:cNvPr>
              <p:cNvSpPr/>
              <p:nvPr/>
            </p:nvSpPr>
            <p:spPr>
              <a:xfrm>
                <a:off x="8763296" y="6019157"/>
                <a:ext cx="35826" cy="35814"/>
              </a:xfrm>
              <a:custGeom>
                <a:avLst/>
                <a:gdLst>
                  <a:gd name="connsiteX0" fmla="*/ 0 w 35826"/>
                  <a:gd name="connsiteY0" fmla="*/ 16797 h 35814"/>
                  <a:gd name="connsiteX1" fmla="*/ 17907 w 35826"/>
                  <a:gd name="connsiteY1" fmla="*/ 0 h 35814"/>
                  <a:gd name="connsiteX2" fmla="*/ 35826 w 35826"/>
                  <a:gd name="connsiteY2" fmla="*/ 17907 h 35814"/>
                  <a:gd name="connsiteX3" fmla="*/ 17907 w 35826"/>
                  <a:gd name="connsiteY3" fmla="*/ 35814 h 35814"/>
                  <a:gd name="connsiteX4" fmla="*/ 0 w 35826"/>
                  <a:gd name="connsiteY4" fmla="*/ 16797 h 358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5826" h="35814">
                    <a:moveTo>
                      <a:pt x="0" y="16797"/>
                    </a:moveTo>
                    <a:cubicBezTo>
                      <a:pt x="0" y="6905"/>
                      <a:pt x="8015" y="0"/>
                      <a:pt x="17907" y="0"/>
                    </a:cubicBezTo>
                    <a:cubicBezTo>
                      <a:pt x="27799" y="0"/>
                      <a:pt x="35826" y="8015"/>
                      <a:pt x="35826" y="17907"/>
                    </a:cubicBezTo>
                    <a:cubicBezTo>
                      <a:pt x="35826" y="27799"/>
                      <a:pt x="27811" y="35814"/>
                      <a:pt x="17907" y="35814"/>
                    </a:cubicBezTo>
                    <a:cubicBezTo>
                      <a:pt x="8003" y="35814"/>
                      <a:pt x="0" y="26701"/>
                      <a:pt x="0" y="16797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127" name="Forma livre: Forma 2126">
                <a:extLst>
                  <a:ext uri="{FF2B5EF4-FFF2-40B4-BE49-F238E27FC236}">
                    <a16:creationId xmlns:a16="http://schemas.microsoft.com/office/drawing/2014/main" id="{37FE9ED7-4155-5E6B-A9E6-39650FD06197}"/>
                  </a:ext>
                </a:extLst>
              </p:cNvPr>
              <p:cNvSpPr/>
              <p:nvPr/>
            </p:nvSpPr>
            <p:spPr>
              <a:xfrm>
                <a:off x="8781203" y="5962827"/>
                <a:ext cx="1180" cy="56518"/>
              </a:xfrm>
              <a:custGeom>
                <a:avLst/>
                <a:gdLst>
                  <a:gd name="connsiteX0" fmla="*/ 0 w 1180"/>
                  <a:gd name="connsiteY0" fmla="*/ 56519 h 56518"/>
                  <a:gd name="connsiteX1" fmla="*/ 0 w 1180"/>
                  <a:gd name="connsiteY1" fmla="*/ 0 h 565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80" h="56518">
                    <a:moveTo>
                      <a:pt x="0" y="56519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2128" name="Forma livre: Forma 2127">
              <a:extLst>
                <a:ext uri="{FF2B5EF4-FFF2-40B4-BE49-F238E27FC236}">
                  <a16:creationId xmlns:a16="http://schemas.microsoft.com/office/drawing/2014/main" id="{9CC08557-F46A-9F8B-916B-D4898FD6EA84}"/>
                </a:ext>
              </a:extLst>
            </p:cNvPr>
            <p:cNvSpPr/>
            <p:nvPr/>
          </p:nvSpPr>
          <p:spPr>
            <a:xfrm>
              <a:off x="8700134" y="5999305"/>
              <a:ext cx="35811" cy="35811"/>
            </a:xfrm>
            <a:custGeom>
              <a:avLst/>
              <a:gdLst>
                <a:gd name="connsiteX0" fmla="*/ 5250 w 35811"/>
                <a:gd name="connsiteY0" fmla="*/ 5250 h 35811"/>
                <a:gd name="connsiteX1" fmla="*/ 30570 w 35811"/>
                <a:gd name="connsiteY1" fmla="*/ 5250 h 35811"/>
                <a:gd name="connsiteX2" fmla="*/ 30570 w 35811"/>
                <a:gd name="connsiteY2" fmla="*/ 30570 h 35811"/>
                <a:gd name="connsiteX3" fmla="*/ 5250 w 35811"/>
                <a:gd name="connsiteY3" fmla="*/ 30570 h 35811"/>
                <a:gd name="connsiteX4" fmla="*/ 5250 w 35811"/>
                <a:gd name="connsiteY4" fmla="*/ 5250 h 358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5811" h="35811">
                  <a:moveTo>
                    <a:pt x="5250" y="5250"/>
                  </a:moveTo>
                  <a:cubicBezTo>
                    <a:pt x="12226" y="-1750"/>
                    <a:pt x="23582" y="-1750"/>
                    <a:pt x="30570" y="5250"/>
                  </a:cubicBezTo>
                  <a:cubicBezTo>
                    <a:pt x="37558" y="12238"/>
                    <a:pt x="37558" y="23570"/>
                    <a:pt x="30570" y="30570"/>
                  </a:cubicBezTo>
                  <a:cubicBezTo>
                    <a:pt x="23582" y="37558"/>
                    <a:pt x="12226" y="37558"/>
                    <a:pt x="5250" y="30570"/>
                  </a:cubicBezTo>
                  <a:cubicBezTo>
                    <a:pt x="-1750" y="23570"/>
                    <a:pt x="-1750" y="12238"/>
                    <a:pt x="5250" y="5250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29" name="Forma livre: Forma 2128">
              <a:extLst>
                <a:ext uri="{FF2B5EF4-FFF2-40B4-BE49-F238E27FC236}">
                  <a16:creationId xmlns:a16="http://schemas.microsoft.com/office/drawing/2014/main" id="{F32A11C3-F32D-047D-21E9-598919B7D787}"/>
                </a:ext>
              </a:extLst>
            </p:cNvPr>
            <p:cNvSpPr/>
            <p:nvPr/>
          </p:nvSpPr>
          <p:spPr>
            <a:xfrm>
              <a:off x="8588687" y="5912316"/>
              <a:ext cx="43675" cy="43675"/>
            </a:xfrm>
            <a:custGeom>
              <a:avLst/>
              <a:gdLst>
                <a:gd name="connsiteX0" fmla="*/ 43676 w 43675"/>
                <a:gd name="connsiteY0" fmla="*/ 21838 h 43675"/>
                <a:gd name="connsiteX1" fmla="*/ 21838 w 43675"/>
                <a:gd name="connsiteY1" fmla="*/ 43676 h 43675"/>
                <a:gd name="connsiteX2" fmla="*/ 0 w 43675"/>
                <a:gd name="connsiteY2" fmla="*/ 21838 h 43675"/>
                <a:gd name="connsiteX3" fmla="*/ 21838 w 43675"/>
                <a:gd name="connsiteY3" fmla="*/ 0 h 43675"/>
                <a:gd name="connsiteX4" fmla="*/ 43676 w 43675"/>
                <a:gd name="connsiteY4" fmla="*/ 21838 h 436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3675" h="43675">
                  <a:moveTo>
                    <a:pt x="43676" y="21838"/>
                  </a:moveTo>
                  <a:cubicBezTo>
                    <a:pt x="43676" y="33902"/>
                    <a:pt x="33890" y="43676"/>
                    <a:pt x="21838" y="43676"/>
                  </a:cubicBezTo>
                  <a:cubicBezTo>
                    <a:pt x="9786" y="43676"/>
                    <a:pt x="0" y="33902"/>
                    <a:pt x="0" y="21838"/>
                  </a:cubicBezTo>
                  <a:cubicBezTo>
                    <a:pt x="0" y="9774"/>
                    <a:pt x="9786" y="0"/>
                    <a:pt x="21838" y="0"/>
                  </a:cubicBezTo>
                  <a:cubicBezTo>
                    <a:pt x="33890" y="0"/>
                    <a:pt x="43676" y="9774"/>
                    <a:pt x="43676" y="21838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30" name="Forma livre: Forma 2129">
              <a:extLst>
                <a:ext uri="{FF2B5EF4-FFF2-40B4-BE49-F238E27FC236}">
                  <a16:creationId xmlns:a16="http://schemas.microsoft.com/office/drawing/2014/main" id="{2DA7ECA8-7E0C-7826-E4C3-DA11B3BE52BF}"/>
                </a:ext>
              </a:extLst>
            </p:cNvPr>
            <p:cNvSpPr/>
            <p:nvPr/>
          </p:nvSpPr>
          <p:spPr>
            <a:xfrm>
              <a:off x="8729453" y="5947351"/>
              <a:ext cx="72643" cy="55126"/>
            </a:xfrm>
            <a:custGeom>
              <a:avLst/>
              <a:gdLst>
                <a:gd name="connsiteX0" fmla="*/ 0 w 72643"/>
                <a:gd name="connsiteY0" fmla="*/ 55126 h 55126"/>
                <a:gd name="connsiteX1" fmla="*/ 11545 w 72643"/>
                <a:gd name="connsiteY1" fmla="*/ 40205 h 55126"/>
                <a:gd name="connsiteX2" fmla="*/ 11545 w 72643"/>
                <a:gd name="connsiteY2" fmla="*/ 14720 h 55126"/>
                <a:gd name="connsiteX3" fmla="*/ 31565 w 72643"/>
                <a:gd name="connsiteY3" fmla="*/ 83 h 55126"/>
                <a:gd name="connsiteX4" fmla="*/ 51809 w 72643"/>
                <a:gd name="connsiteY4" fmla="*/ 14720 h 55126"/>
                <a:gd name="connsiteX5" fmla="*/ 72644 w 72643"/>
                <a:gd name="connsiteY5" fmla="*/ 0 h 551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2643" h="55126">
                  <a:moveTo>
                    <a:pt x="0" y="55126"/>
                  </a:moveTo>
                  <a:lnTo>
                    <a:pt x="11545" y="40205"/>
                  </a:lnTo>
                  <a:lnTo>
                    <a:pt x="11545" y="14720"/>
                  </a:lnTo>
                  <a:lnTo>
                    <a:pt x="31565" y="83"/>
                  </a:lnTo>
                  <a:lnTo>
                    <a:pt x="51809" y="14720"/>
                  </a:lnTo>
                  <a:lnTo>
                    <a:pt x="72644" y="0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2131" name="Gráfico 18">
              <a:extLst>
                <a:ext uri="{FF2B5EF4-FFF2-40B4-BE49-F238E27FC236}">
                  <a16:creationId xmlns:a16="http://schemas.microsoft.com/office/drawing/2014/main" id="{F7C04381-960A-F9F2-827B-F4CC599F4BD1}"/>
                </a:ext>
              </a:extLst>
            </p:cNvPr>
            <p:cNvGrpSpPr/>
            <p:nvPr/>
          </p:nvGrpSpPr>
          <p:grpSpPr>
            <a:xfrm>
              <a:off x="8717294" y="5906379"/>
              <a:ext cx="145095" cy="128891"/>
              <a:chOff x="8717294" y="5906379"/>
              <a:chExt cx="145095" cy="128891"/>
            </a:xfrm>
            <a:noFill/>
          </p:grpSpPr>
          <p:sp>
            <p:nvSpPr>
              <p:cNvPr id="2132" name="Forma livre: Forma 2131">
                <a:extLst>
                  <a:ext uri="{FF2B5EF4-FFF2-40B4-BE49-F238E27FC236}">
                    <a16:creationId xmlns:a16="http://schemas.microsoft.com/office/drawing/2014/main" id="{68204F0F-5E44-7B56-CAC0-2ADB5A55D534}"/>
                  </a:ext>
                </a:extLst>
              </p:cNvPr>
              <p:cNvSpPr/>
              <p:nvPr/>
            </p:nvSpPr>
            <p:spPr>
              <a:xfrm>
                <a:off x="8826578" y="5999455"/>
                <a:ext cx="35811" cy="35814"/>
              </a:xfrm>
              <a:custGeom>
                <a:avLst/>
                <a:gdLst>
                  <a:gd name="connsiteX0" fmla="*/ 30561 w 35811"/>
                  <a:gd name="connsiteY0" fmla="*/ 5241 h 35814"/>
                  <a:gd name="connsiteX1" fmla="*/ 5241 w 35811"/>
                  <a:gd name="connsiteY1" fmla="*/ 5241 h 35814"/>
                  <a:gd name="connsiteX2" fmla="*/ 5241 w 35811"/>
                  <a:gd name="connsiteY2" fmla="*/ 30573 h 35814"/>
                  <a:gd name="connsiteX3" fmla="*/ 30561 w 35811"/>
                  <a:gd name="connsiteY3" fmla="*/ 30573 h 35814"/>
                  <a:gd name="connsiteX4" fmla="*/ 30561 w 35811"/>
                  <a:gd name="connsiteY4" fmla="*/ 5241 h 358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5811" h="35814">
                    <a:moveTo>
                      <a:pt x="30561" y="5241"/>
                    </a:moveTo>
                    <a:cubicBezTo>
                      <a:pt x="23573" y="-1747"/>
                      <a:pt x="12229" y="-1747"/>
                      <a:pt x="5241" y="5241"/>
                    </a:cubicBezTo>
                    <a:cubicBezTo>
                      <a:pt x="-1747" y="12229"/>
                      <a:pt x="-1747" y="23573"/>
                      <a:pt x="5241" y="30573"/>
                    </a:cubicBezTo>
                    <a:cubicBezTo>
                      <a:pt x="12229" y="37561"/>
                      <a:pt x="23573" y="37561"/>
                      <a:pt x="30561" y="30573"/>
                    </a:cubicBezTo>
                    <a:cubicBezTo>
                      <a:pt x="37561" y="23573"/>
                      <a:pt x="37561" y="12229"/>
                      <a:pt x="30561" y="5241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133" name="Forma livre: Forma 2132">
                <a:extLst>
                  <a:ext uri="{FF2B5EF4-FFF2-40B4-BE49-F238E27FC236}">
                    <a16:creationId xmlns:a16="http://schemas.microsoft.com/office/drawing/2014/main" id="{508DFF13-BBE7-0D81-933C-90C7768CAF98}"/>
                  </a:ext>
                </a:extLst>
              </p:cNvPr>
              <p:cNvSpPr/>
              <p:nvPr/>
            </p:nvSpPr>
            <p:spPr>
              <a:xfrm>
                <a:off x="8717294" y="5906379"/>
                <a:ext cx="43805" cy="1180"/>
              </a:xfrm>
              <a:custGeom>
                <a:avLst/>
                <a:gdLst>
                  <a:gd name="connsiteX0" fmla="*/ 43806 w 43805"/>
                  <a:gd name="connsiteY0" fmla="*/ 0 h 1180"/>
                  <a:gd name="connsiteX1" fmla="*/ 0 w 43805"/>
                  <a:gd name="connsiteY1" fmla="*/ 0 h 11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3805" h="1180">
                    <a:moveTo>
                      <a:pt x="43806" y="0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2134" name="Gráfico 18">
              <a:extLst>
                <a:ext uri="{FF2B5EF4-FFF2-40B4-BE49-F238E27FC236}">
                  <a16:creationId xmlns:a16="http://schemas.microsoft.com/office/drawing/2014/main" id="{2D8C47BE-B690-A4D4-ACA6-0100D55333BF}"/>
                </a:ext>
              </a:extLst>
            </p:cNvPr>
            <p:cNvGrpSpPr/>
            <p:nvPr/>
          </p:nvGrpSpPr>
          <p:grpSpPr>
            <a:xfrm>
              <a:off x="8699871" y="5813479"/>
              <a:ext cx="170985" cy="189140"/>
              <a:chOff x="8699871" y="5813479"/>
              <a:chExt cx="170985" cy="189140"/>
            </a:xfrm>
            <a:noFill/>
          </p:grpSpPr>
          <p:sp>
            <p:nvSpPr>
              <p:cNvPr id="2135" name="Forma livre: Forma 2134">
                <a:extLst>
                  <a:ext uri="{FF2B5EF4-FFF2-40B4-BE49-F238E27FC236}">
                    <a16:creationId xmlns:a16="http://schemas.microsoft.com/office/drawing/2014/main" id="{7960B760-70EB-0525-FEA1-4F5FAADB8DE9}"/>
                  </a:ext>
                </a:extLst>
              </p:cNvPr>
              <p:cNvSpPr/>
              <p:nvPr/>
            </p:nvSpPr>
            <p:spPr>
              <a:xfrm>
                <a:off x="8763130" y="5813479"/>
                <a:ext cx="35826" cy="35814"/>
              </a:xfrm>
              <a:custGeom>
                <a:avLst/>
                <a:gdLst>
                  <a:gd name="connsiteX0" fmla="*/ 35826 w 35826"/>
                  <a:gd name="connsiteY0" fmla="*/ 19017 h 35814"/>
                  <a:gd name="connsiteX1" fmla="*/ 17919 w 35826"/>
                  <a:gd name="connsiteY1" fmla="*/ 35814 h 35814"/>
                  <a:gd name="connsiteX2" fmla="*/ 0 w 35826"/>
                  <a:gd name="connsiteY2" fmla="*/ 17907 h 35814"/>
                  <a:gd name="connsiteX3" fmla="*/ 17919 w 35826"/>
                  <a:gd name="connsiteY3" fmla="*/ 0 h 35814"/>
                  <a:gd name="connsiteX4" fmla="*/ 35826 w 35826"/>
                  <a:gd name="connsiteY4" fmla="*/ 19017 h 358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5826" h="35814">
                    <a:moveTo>
                      <a:pt x="35826" y="19017"/>
                    </a:moveTo>
                    <a:cubicBezTo>
                      <a:pt x="35826" y="28909"/>
                      <a:pt x="27811" y="35814"/>
                      <a:pt x="17919" y="35814"/>
                    </a:cubicBezTo>
                    <a:cubicBezTo>
                      <a:pt x="8027" y="35814"/>
                      <a:pt x="0" y="27799"/>
                      <a:pt x="0" y="17907"/>
                    </a:cubicBezTo>
                    <a:cubicBezTo>
                      <a:pt x="0" y="8015"/>
                      <a:pt x="8015" y="0"/>
                      <a:pt x="17919" y="0"/>
                    </a:cubicBezTo>
                    <a:cubicBezTo>
                      <a:pt x="27823" y="0"/>
                      <a:pt x="35826" y="9125"/>
                      <a:pt x="35826" y="19017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136" name="Forma livre: Forma 2135">
                <a:extLst>
                  <a:ext uri="{FF2B5EF4-FFF2-40B4-BE49-F238E27FC236}">
                    <a16:creationId xmlns:a16="http://schemas.microsoft.com/office/drawing/2014/main" id="{13927AFA-1E69-B68C-47C2-19FF72104E0D}"/>
                  </a:ext>
                </a:extLst>
              </p:cNvPr>
              <p:cNvSpPr/>
              <p:nvPr/>
            </p:nvSpPr>
            <p:spPr>
              <a:xfrm>
                <a:off x="8826295" y="5833345"/>
                <a:ext cx="35802" cy="35802"/>
              </a:xfrm>
              <a:custGeom>
                <a:avLst/>
                <a:gdLst>
                  <a:gd name="connsiteX0" fmla="*/ 30561 w 35802"/>
                  <a:gd name="connsiteY0" fmla="*/ 30561 h 35802"/>
                  <a:gd name="connsiteX1" fmla="*/ 5241 w 35802"/>
                  <a:gd name="connsiteY1" fmla="*/ 30561 h 35802"/>
                  <a:gd name="connsiteX2" fmla="*/ 5241 w 35802"/>
                  <a:gd name="connsiteY2" fmla="*/ 5241 h 35802"/>
                  <a:gd name="connsiteX3" fmla="*/ 30561 w 35802"/>
                  <a:gd name="connsiteY3" fmla="*/ 5241 h 35802"/>
                  <a:gd name="connsiteX4" fmla="*/ 30561 w 35802"/>
                  <a:gd name="connsiteY4" fmla="*/ 30561 h 358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5802" h="35802">
                    <a:moveTo>
                      <a:pt x="30561" y="30561"/>
                    </a:moveTo>
                    <a:cubicBezTo>
                      <a:pt x="23573" y="37549"/>
                      <a:pt x="12229" y="37549"/>
                      <a:pt x="5241" y="30561"/>
                    </a:cubicBezTo>
                    <a:cubicBezTo>
                      <a:pt x="-1747" y="23573"/>
                      <a:pt x="-1747" y="12241"/>
                      <a:pt x="5241" y="5241"/>
                    </a:cubicBezTo>
                    <a:cubicBezTo>
                      <a:pt x="12229" y="-1747"/>
                      <a:pt x="23573" y="-1747"/>
                      <a:pt x="30561" y="5241"/>
                    </a:cubicBezTo>
                    <a:cubicBezTo>
                      <a:pt x="37549" y="12241"/>
                      <a:pt x="37549" y="23573"/>
                      <a:pt x="30561" y="30561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137" name="Forma livre: Forma 2136">
                <a:extLst>
                  <a:ext uri="{FF2B5EF4-FFF2-40B4-BE49-F238E27FC236}">
                    <a16:creationId xmlns:a16="http://schemas.microsoft.com/office/drawing/2014/main" id="{6722E09E-727F-D060-6DB6-11B62E6466D5}"/>
                  </a:ext>
                </a:extLst>
              </p:cNvPr>
              <p:cNvSpPr/>
              <p:nvPr/>
            </p:nvSpPr>
            <p:spPr>
              <a:xfrm>
                <a:off x="8821255" y="5865972"/>
                <a:ext cx="11544" cy="40170"/>
              </a:xfrm>
              <a:custGeom>
                <a:avLst/>
                <a:gdLst>
                  <a:gd name="connsiteX0" fmla="*/ 11545 w 11544"/>
                  <a:gd name="connsiteY0" fmla="*/ 0 h 40170"/>
                  <a:gd name="connsiteX1" fmla="*/ 0 w 11544"/>
                  <a:gd name="connsiteY1" fmla="*/ 14921 h 40170"/>
                  <a:gd name="connsiteX2" fmla="*/ 0 w 11544"/>
                  <a:gd name="connsiteY2" fmla="*/ 40170 h 401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1544" h="40170">
                    <a:moveTo>
                      <a:pt x="11545" y="0"/>
                    </a:moveTo>
                    <a:lnTo>
                      <a:pt x="0" y="14921"/>
                    </a:lnTo>
                    <a:lnTo>
                      <a:pt x="0" y="4017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138" name="Forma livre: Forma 2137">
                <a:extLst>
                  <a:ext uri="{FF2B5EF4-FFF2-40B4-BE49-F238E27FC236}">
                    <a16:creationId xmlns:a16="http://schemas.microsoft.com/office/drawing/2014/main" id="{CE53A092-8E62-26C1-95F3-3303BD6810A6}"/>
                  </a:ext>
                </a:extLst>
              </p:cNvPr>
              <p:cNvSpPr/>
              <p:nvPr/>
            </p:nvSpPr>
            <p:spPr>
              <a:xfrm>
                <a:off x="8781049" y="5849104"/>
                <a:ext cx="89806" cy="153514"/>
              </a:xfrm>
              <a:custGeom>
                <a:avLst/>
                <a:gdLst>
                  <a:gd name="connsiteX0" fmla="*/ 0 w 89806"/>
                  <a:gd name="connsiteY0" fmla="*/ 0 h 153514"/>
                  <a:gd name="connsiteX1" fmla="*/ 0 w 89806"/>
                  <a:gd name="connsiteY1" fmla="*/ 57274 h 153514"/>
                  <a:gd name="connsiteX2" fmla="*/ 56472 w 89806"/>
                  <a:gd name="connsiteY2" fmla="*/ 57274 h 153514"/>
                  <a:gd name="connsiteX3" fmla="*/ 89807 w 89806"/>
                  <a:gd name="connsiteY3" fmla="*/ 84837 h 153514"/>
                  <a:gd name="connsiteX4" fmla="*/ 56472 w 89806"/>
                  <a:gd name="connsiteY4" fmla="*/ 112967 h 153514"/>
                  <a:gd name="connsiteX5" fmla="*/ 40441 w 89806"/>
                  <a:gd name="connsiteY5" fmla="*/ 112967 h 153514"/>
                  <a:gd name="connsiteX6" fmla="*/ 40441 w 89806"/>
                  <a:gd name="connsiteY6" fmla="*/ 138594 h 153514"/>
                  <a:gd name="connsiteX7" fmla="*/ 52021 w 89806"/>
                  <a:gd name="connsiteY7" fmla="*/ 153515 h 1535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89806" h="153514">
                    <a:moveTo>
                      <a:pt x="0" y="0"/>
                    </a:moveTo>
                    <a:lnTo>
                      <a:pt x="0" y="57274"/>
                    </a:lnTo>
                    <a:lnTo>
                      <a:pt x="56472" y="57274"/>
                    </a:lnTo>
                    <a:lnTo>
                      <a:pt x="89807" y="84837"/>
                    </a:lnTo>
                    <a:lnTo>
                      <a:pt x="56472" y="112967"/>
                    </a:lnTo>
                    <a:lnTo>
                      <a:pt x="40441" y="112967"/>
                    </a:lnTo>
                    <a:lnTo>
                      <a:pt x="40441" y="138594"/>
                    </a:lnTo>
                    <a:lnTo>
                      <a:pt x="52021" y="153515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2139" name="Gráfico 18">
                <a:extLst>
                  <a:ext uri="{FF2B5EF4-FFF2-40B4-BE49-F238E27FC236}">
                    <a16:creationId xmlns:a16="http://schemas.microsoft.com/office/drawing/2014/main" id="{9A1E5676-094F-8089-BA20-A8B1D5714EE6}"/>
                  </a:ext>
                </a:extLst>
              </p:cNvPr>
              <p:cNvGrpSpPr/>
              <p:nvPr/>
            </p:nvGrpSpPr>
            <p:grpSpPr>
              <a:xfrm>
                <a:off x="8699871" y="5833192"/>
                <a:ext cx="40890" cy="72950"/>
                <a:chOff x="8699871" y="5833192"/>
                <a:chExt cx="40890" cy="72950"/>
              </a:xfrm>
              <a:noFill/>
            </p:grpSpPr>
            <p:sp>
              <p:nvSpPr>
                <p:cNvPr id="2140" name="Forma livre: Forma 2139">
                  <a:extLst>
                    <a:ext uri="{FF2B5EF4-FFF2-40B4-BE49-F238E27FC236}">
                      <a16:creationId xmlns:a16="http://schemas.microsoft.com/office/drawing/2014/main" id="{FAE4E84E-5D6E-69D7-AF98-2653D7071DAF}"/>
                    </a:ext>
                  </a:extLst>
                </p:cNvPr>
                <p:cNvSpPr/>
                <p:nvPr/>
              </p:nvSpPr>
              <p:spPr>
                <a:xfrm>
                  <a:off x="8699871" y="5833192"/>
                  <a:ext cx="35802" cy="35814"/>
                </a:xfrm>
                <a:custGeom>
                  <a:avLst/>
                  <a:gdLst>
                    <a:gd name="connsiteX0" fmla="*/ 5241 w 35802"/>
                    <a:gd name="connsiteY0" fmla="*/ 30573 h 35814"/>
                    <a:gd name="connsiteX1" fmla="*/ 30561 w 35802"/>
                    <a:gd name="connsiteY1" fmla="*/ 30573 h 35814"/>
                    <a:gd name="connsiteX2" fmla="*/ 30561 w 35802"/>
                    <a:gd name="connsiteY2" fmla="*/ 5241 h 35814"/>
                    <a:gd name="connsiteX3" fmla="*/ 5241 w 35802"/>
                    <a:gd name="connsiteY3" fmla="*/ 5241 h 35814"/>
                    <a:gd name="connsiteX4" fmla="*/ 5241 w 35802"/>
                    <a:gd name="connsiteY4" fmla="*/ 30573 h 3581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5802" h="35814">
                      <a:moveTo>
                        <a:pt x="5241" y="30573"/>
                      </a:moveTo>
                      <a:cubicBezTo>
                        <a:pt x="12229" y="37561"/>
                        <a:pt x="23573" y="37561"/>
                        <a:pt x="30561" y="30573"/>
                      </a:cubicBezTo>
                      <a:cubicBezTo>
                        <a:pt x="37549" y="23585"/>
                        <a:pt x="37549" y="12253"/>
                        <a:pt x="30561" y="5241"/>
                      </a:cubicBezTo>
                      <a:cubicBezTo>
                        <a:pt x="23573" y="-1747"/>
                        <a:pt x="12217" y="-1747"/>
                        <a:pt x="5241" y="5241"/>
                      </a:cubicBezTo>
                      <a:cubicBezTo>
                        <a:pt x="-1747" y="12241"/>
                        <a:pt x="-1747" y="23585"/>
                        <a:pt x="5241" y="30573"/>
                      </a:cubicBezTo>
                      <a:close/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141" name="Forma livre: Forma 2140">
                  <a:extLst>
                    <a:ext uri="{FF2B5EF4-FFF2-40B4-BE49-F238E27FC236}">
                      <a16:creationId xmlns:a16="http://schemas.microsoft.com/office/drawing/2014/main" id="{71CA20F0-244B-C7AF-9F4B-8188048892AF}"/>
                    </a:ext>
                  </a:extLst>
                </p:cNvPr>
                <p:cNvSpPr/>
                <p:nvPr/>
              </p:nvSpPr>
              <p:spPr>
                <a:xfrm>
                  <a:off x="8729181" y="5865843"/>
                  <a:ext cx="11580" cy="40299"/>
                </a:xfrm>
                <a:custGeom>
                  <a:avLst/>
                  <a:gdLst>
                    <a:gd name="connsiteX0" fmla="*/ 0 w 11580"/>
                    <a:gd name="connsiteY0" fmla="*/ 0 h 40299"/>
                    <a:gd name="connsiteX1" fmla="*/ 11580 w 11580"/>
                    <a:gd name="connsiteY1" fmla="*/ 14909 h 40299"/>
                    <a:gd name="connsiteX2" fmla="*/ 11580 w 11580"/>
                    <a:gd name="connsiteY2" fmla="*/ 40300 h 4029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1580" h="40299">
                      <a:moveTo>
                        <a:pt x="0" y="0"/>
                      </a:moveTo>
                      <a:lnTo>
                        <a:pt x="11580" y="14909"/>
                      </a:lnTo>
                      <a:lnTo>
                        <a:pt x="11580" y="40300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sp>
          <p:nvSpPr>
            <p:cNvPr id="2142" name="Forma livre: Forma 2141">
              <a:extLst>
                <a:ext uri="{FF2B5EF4-FFF2-40B4-BE49-F238E27FC236}">
                  <a16:creationId xmlns:a16="http://schemas.microsoft.com/office/drawing/2014/main" id="{D0F7AA2E-89A2-7697-DBCF-8181472454F8}"/>
                </a:ext>
              </a:extLst>
            </p:cNvPr>
            <p:cNvSpPr/>
            <p:nvPr/>
          </p:nvSpPr>
          <p:spPr>
            <a:xfrm>
              <a:off x="8551597" y="5857611"/>
              <a:ext cx="165153" cy="152598"/>
            </a:xfrm>
            <a:custGeom>
              <a:avLst/>
              <a:gdLst>
                <a:gd name="connsiteX0" fmla="*/ 147105 w 165153"/>
                <a:gd name="connsiteY0" fmla="*/ 47800 h 152598"/>
                <a:gd name="connsiteX1" fmla="*/ 130260 w 165153"/>
                <a:gd name="connsiteY1" fmla="*/ 22350 h 152598"/>
                <a:gd name="connsiteX2" fmla="*/ 22346 w 165153"/>
                <a:gd name="connsiteY2" fmla="*/ 22350 h 152598"/>
                <a:gd name="connsiteX3" fmla="*/ 22346 w 165153"/>
                <a:gd name="connsiteY3" fmla="*/ 130253 h 152598"/>
                <a:gd name="connsiteX4" fmla="*/ 130260 w 165153"/>
                <a:gd name="connsiteY4" fmla="*/ 130253 h 152598"/>
                <a:gd name="connsiteX5" fmla="*/ 147235 w 165153"/>
                <a:gd name="connsiteY5" fmla="*/ 104295 h 152598"/>
                <a:gd name="connsiteX6" fmla="*/ 165154 w 165153"/>
                <a:gd name="connsiteY6" fmla="*/ 104295 h 1525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65153" h="152598">
                  <a:moveTo>
                    <a:pt x="147105" y="47800"/>
                  </a:moveTo>
                  <a:cubicBezTo>
                    <a:pt x="143375" y="38534"/>
                    <a:pt x="137768" y="29857"/>
                    <a:pt x="130260" y="22350"/>
                  </a:cubicBezTo>
                  <a:cubicBezTo>
                    <a:pt x="100454" y="-7456"/>
                    <a:pt x="52151" y="-7444"/>
                    <a:pt x="22346" y="22350"/>
                  </a:cubicBezTo>
                  <a:cubicBezTo>
                    <a:pt x="-7449" y="52144"/>
                    <a:pt x="-7449" y="100459"/>
                    <a:pt x="22346" y="130253"/>
                  </a:cubicBezTo>
                  <a:cubicBezTo>
                    <a:pt x="52151" y="160047"/>
                    <a:pt x="100454" y="160047"/>
                    <a:pt x="130260" y="130253"/>
                  </a:cubicBezTo>
                  <a:cubicBezTo>
                    <a:pt x="137756" y="122757"/>
                    <a:pt x="143505" y="113538"/>
                    <a:pt x="147235" y="104295"/>
                  </a:cubicBezTo>
                  <a:lnTo>
                    <a:pt x="165154" y="104295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2143" name="Gráfico 18">
            <a:extLst>
              <a:ext uri="{FF2B5EF4-FFF2-40B4-BE49-F238E27FC236}">
                <a16:creationId xmlns:a16="http://schemas.microsoft.com/office/drawing/2014/main" id="{34847042-9C9E-F115-D455-97A6FCC9A657}"/>
              </a:ext>
            </a:extLst>
          </p:cNvPr>
          <p:cNvGrpSpPr/>
          <p:nvPr/>
        </p:nvGrpSpPr>
        <p:grpSpPr>
          <a:xfrm>
            <a:off x="9191272" y="5801309"/>
            <a:ext cx="289275" cy="265820"/>
            <a:chOff x="9191272" y="5801309"/>
            <a:chExt cx="289275" cy="265820"/>
          </a:xfrm>
          <a:noFill/>
        </p:grpSpPr>
        <p:grpSp>
          <p:nvGrpSpPr>
            <p:cNvPr id="2144" name="Gráfico 18">
              <a:extLst>
                <a:ext uri="{FF2B5EF4-FFF2-40B4-BE49-F238E27FC236}">
                  <a16:creationId xmlns:a16="http://schemas.microsoft.com/office/drawing/2014/main" id="{A8479D61-CAB2-CD52-D1FF-E8648843F136}"/>
                </a:ext>
              </a:extLst>
            </p:cNvPr>
            <p:cNvGrpSpPr/>
            <p:nvPr/>
          </p:nvGrpSpPr>
          <p:grpSpPr>
            <a:xfrm>
              <a:off x="9301276" y="5878284"/>
              <a:ext cx="179271" cy="188845"/>
              <a:chOff x="9301276" y="5878284"/>
              <a:chExt cx="179271" cy="188845"/>
            </a:xfrm>
            <a:noFill/>
          </p:grpSpPr>
          <p:sp>
            <p:nvSpPr>
              <p:cNvPr id="2145" name="Forma livre: Forma 2144">
                <a:extLst>
                  <a:ext uri="{FF2B5EF4-FFF2-40B4-BE49-F238E27FC236}">
                    <a16:creationId xmlns:a16="http://schemas.microsoft.com/office/drawing/2014/main" id="{28946A39-493D-18E7-3204-9A9FCB051807}"/>
                  </a:ext>
                </a:extLst>
              </p:cNvPr>
              <p:cNvSpPr/>
              <p:nvPr/>
            </p:nvSpPr>
            <p:spPr>
              <a:xfrm>
                <a:off x="9339286" y="5909117"/>
                <a:ext cx="103240" cy="141061"/>
              </a:xfrm>
              <a:custGeom>
                <a:avLst/>
                <a:gdLst>
                  <a:gd name="connsiteX0" fmla="*/ 96524 w 103240"/>
                  <a:gd name="connsiteY0" fmla="*/ 39981 h 141061"/>
                  <a:gd name="connsiteX1" fmla="*/ 78416 w 103240"/>
                  <a:gd name="connsiteY1" fmla="*/ 43416 h 141061"/>
                  <a:gd name="connsiteX2" fmla="*/ 51632 w 103240"/>
                  <a:gd name="connsiteY2" fmla="*/ 45246 h 141061"/>
                  <a:gd name="connsiteX3" fmla="*/ 5808 w 103240"/>
                  <a:gd name="connsiteY3" fmla="*/ 39745 h 141061"/>
                  <a:gd name="connsiteX4" fmla="*/ 0 w 103240"/>
                  <a:gd name="connsiteY4" fmla="*/ 72089 h 141061"/>
                  <a:gd name="connsiteX5" fmla="*/ 23302 w 103240"/>
                  <a:gd name="connsiteY5" fmla="*/ 131087 h 141061"/>
                  <a:gd name="connsiteX6" fmla="*/ 51632 w 103240"/>
                  <a:gd name="connsiteY6" fmla="*/ 141061 h 141061"/>
                  <a:gd name="connsiteX7" fmla="*/ 79939 w 103240"/>
                  <a:gd name="connsiteY7" fmla="*/ 131110 h 141061"/>
                  <a:gd name="connsiteX8" fmla="*/ 103240 w 103240"/>
                  <a:gd name="connsiteY8" fmla="*/ 72089 h 141061"/>
                  <a:gd name="connsiteX9" fmla="*/ 97421 w 103240"/>
                  <a:gd name="connsiteY9" fmla="*/ 39745 h 141061"/>
                  <a:gd name="connsiteX10" fmla="*/ 79714 w 103240"/>
                  <a:gd name="connsiteY10" fmla="*/ 9975 h 141061"/>
                  <a:gd name="connsiteX11" fmla="*/ 51620 w 103240"/>
                  <a:gd name="connsiteY11" fmla="*/ 0 h 141061"/>
                  <a:gd name="connsiteX12" fmla="*/ 23526 w 103240"/>
                  <a:gd name="connsiteY12" fmla="*/ 9951 h 141061"/>
                  <a:gd name="connsiteX13" fmla="*/ 15263 w 103240"/>
                  <a:gd name="connsiteY13" fmla="*/ 20233 h 1410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03240" h="141061">
                    <a:moveTo>
                      <a:pt x="96524" y="39981"/>
                    </a:moveTo>
                    <a:cubicBezTo>
                      <a:pt x="94222" y="40583"/>
                      <a:pt x="87718" y="42153"/>
                      <a:pt x="78416" y="43416"/>
                    </a:cubicBezTo>
                    <a:cubicBezTo>
                      <a:pt x="71026" y="44431"/>
                      <a:pt x="61866" y="45246"/>
                      <a:pt x="51632" y="45246"/>
                    </a:cubicBezTo>
                    <a:cubicBezTo>
                      <a:pt x="25131" y="45246"/>
                      <a:pt x="5808" y="39745"/>
                      <a:pt x="5808" y="39745"/>
                    </a:cubicBezTo>
                    <a:cubicBezTo>
                      <a:pt x="2137" y="49448"/>
                      <a:pt x="0" y="60414"/>
                      <a:pt x="0" y="72089"/>
                    </a:cubicBezTo>
                    <a:cubicBezTo>
                      <a:pt x="0" y="96158"/>
                      <a:pt x="12477" y="120970"/>
                      <a:pt x="23302" y="131087"/>
                    </a:cubicBezTo>
                    <a:cubicBezTo>
                      <a:pt x="31942" y="139161"/>
                      <a:pt x="41480" y="141038"/>
                      <a:pt x="51632" y="141061"/>
                    </a:cubicBezTo>
                    <a:cubicBezTo>
                      <a:pt x="61772" y="141049"/>
                      <a:pt x="71310" y="139184"/>
                      <a:pt x="79939" y="131110"/>
                    </a:cubicBezTo>
                    <a:cubicBezTo>
                      <a:pt x="90775" y="120970"/>
                      <a:pt x="103228" y="96170"/>
                      <a:pt x="103240" y="72089"/>
                    </a:cubicBezTo>
                    <a:cubicBezTo>
                      <a:pt x="103240" y="60403"/>
                      <a:pt x="101104" y="49448"/>
                      <a:pt x="97421" y="39745"/>
                    </a:cubicBezTo>
                    <a:cubicBezTo>
                      <a:pt x="92817" y="26855"/>
                      <a:pt x="86006" y="15900"/>
                      <a:pt x="79714" y="9975"/>
                    </a:cubicBezTo>
                    <a:cubicBezTo>
                      <a:pt x="71156" y="1901"/>
                      <a:pt x="61689" y="12"/>
                      <a:pt x="51620" y="0"/>
                    </a:cubicBezTo>
                    <a:cubicBezTo>
                      <a:pt x="41563" y="0"/>
                      <a:pt x="32084" y="1877"/>
                      <a:pt x="23526" y="9951"/>
                    </a:cubicBezTo>
                    <a:cubicBezTo>
                      <a:pt x="20799" y="12524"/>
                      <a:pt x="17978" y="16030"/>
                      <a:pt x="15263" y="20233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2146" name="Gráfico 18">
                <a:extLst>
                  <a:ext uri="{FF2B5EF4-FFF2-40B4-BE49-F238E27FC236}">
                    <a16:creationId xmlns:a16="http://schemas.microsoft.com/office/drawing/2014/main" id="{2F739CAE-EA1F-9098-6F29-8D1B22952607}"/>
                  </a:ext>
                </a:extLst>
              </p:cNvPr>
              <p:cNvGrpSpPr/>
              <p:nvPr/>
            </p:nvGrpSpPr>
            <p:grpSpPr>
              <a:xfrm>
                <a:off x="9352707" y="5878284"/>
                <a:ext cx="76409" cy="34657"/>
                <a:chOff x="9352707" y="5878284"/>
                <a:chExt cx="76409" cy="34657"/>
              </a:xfrm>
              <a:noFill/>
            </p:grpSpPr>
            <p:sp>
              <p:nvSpPr>
                <p:cNvPr id="2147" name="Forma livre: Forma 2146">
                  <a:extLst>
                    <a:ext uri="{FF2B5EF4-FFF2-40B4-BE49-F238E27FC236}">
                      <a16:creationId xmlns:a16="http://schemas.microsoft.com/office/drawing/2014/main" id="{D57BE97B-397E-5F92-DCFD-4C5221AC5D51}"/>
                    </a:ext>
                  </a:extLst>
                </p:cNvPr>
                <p:cNvSpPr/>
                <p:nvPr/>
              </p:nvSpPr>
              <p:spPr>
                <a:xfrm>
                  <a:off x="9352707" y="5878284"/>
                  <a:ext cx="16844" cy="34657"/>
                </a:xfrm>
                <a:custGeom>
                  <a:avLst/>
                  <a:gdLst>
                    <a:gd name="connsiteX0" fmla="*/ 0 w 16844"/>
                    <a:gd name="connsiteY0" fmla="*/ 0 h 34657"/>
                    <a:gd name="connsiteX1" fmla="*/ 16845 w 16844"/>
                    <a:gd name="connsiteY1" fmla="*/ 34657 h 3465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6844" h="34657">
                      <a:moveTo>
                        <a:pt x="0" y="0"/>
                      </a:moveTo>
                      <a:cubicBezTo>
                        <a:pt x="0" y="14614"/>
                        <a:pt x="6044" y="25415"/>
                        <a:pt x="16845" y="34657"/>
                      </a:cubicBez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148" name="Forma livre: Forma 2147">
                  <a:extLst>
                    <a:ext uri="{FF2B5EF4-FFF2-40B4-BE49-F238E27FC236}">
                      <a16:creationId xmlns:a16="http://schemas.microsoft.com/office/drawing/2014/main" id="{E071FC9E-90FF-85F6-3D78-16C2EB3218FA}"/>
                    </a:ext>
                  </a:extLst>
                </p:cNvPr>
                <p:cNvSpPr/>
                <p:nvPr/>
              </p:nvSpPr>
              <p:spPr>
                <a:xfrm>
                  <a:off x="9412272" y="5878284"/>
                  <a:ext cx="16844" cy="34657"/>
                </a:xfrm>
                <a:custGeom>
                  <a:avLst/>
                  <a:gdLst>
                    <a:gd name="connsiteX0" fmla="*/ 16845 w 16844"/>
                    <a:gd name="connsiteY0" fmla="*/ 0 h 34657"/>
                    <a:gd name="connsiteX1" fmla="*/ 0 w 16844"/>
                    <a:gd name="connsiteY1" fmla="*/ 34657 h 3465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6844" h="34657">
                      <a:moveTo>
                        <a:pt x="16845" y="0"/>
                      </a:moveTo>
                      <a:cubicBezTo>
                        <a:pt x="16845" y="14614"/>
                        <a:pt x="10801" y="25415"/>
                        <a:pt x="0" y="34657"/>
                      </a:cubicBez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2149" name="Forma livre: Forma 2148">
                <a:extLst>
                  <a:ext uri="{FF2B5EF4-FFF2-40B4-BE49-F238E27FC236}">
                    <a16:creationId xmlns:a16="http://schemas.microsoft.com/office/drawing/2014/main" id="{E533F8DA-A37C-AD89-DAB9-7147A970B89B}"/>
                  </a:ext>
                </a:extLst>
              </p:cNvPr>
              <p:cNvSpPr/>
              <p:nvPr/>
            </p:nvSpPr>
            <p:spPr>
              <a:xfrm>
                <a:off x="9390906" y="5985396"/>
                <a:ext cx="11" cy="63129"/>
              </a:xfrm>
              <a:custGeom>
                <a:avLst/>
                <a:gdLst>
                  <a:gd name="connsiteX0" fmla="*/ 12 w 11"/>
                  <a:gd name="connsiteY0" fmla="*/ 0 h 63129"/>
                  <a:gd name="connsiteX1" fmla="*/ 0 w 11"/>
                  <a:gd name="connsiteY1" fmla="*/ 63129 h 631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" h="63129">
                    <a:moveTo>
                      <a:pt x="12" y="0"/>
                    </a:moveTo>
                    <a:lnTo>
                      <a:pt x="0" y="63129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2150" name="Gráfico 18">
                <a:extLst>
                  <a:ext uri="{FF2B5EF4-FFF2-40B4-BE49-F238E27FC236}">
                    <a16:creationId xmlns:a16="http://schemas.microsoft.com/office/drawing/2014/main" id="{CC26B887-9666-B44A-EE2B-D39EE755BC02}"/>
                  </a:ext>
                </a:extLst>
              </p:cNvPr>
              <p:cNvGrpSpPr/>
              <p:nvPr/>
            </p:nvGrpSpPr>
            <p:grpSpPr>
              <a:xfrm>
                <a:off x="9301276" y="5955142"/>
                <a:ext cx="179271" cy="19453"/>
                <a:chOff x="9301276" y="5955142"/>
                <a:chExt cx="179271" cy="19453"/>
              </a:xfrm>
              <a:noFill/>
            </p:grpSpPr>
            <p:sp>
              <p:nvSpPr>
                <p:cNvPr id="2151" name="Forma livre: Forma 2150">
                  <a:extLst>
                    <a:ext uri="{FF2B5EF4-FFF2-40B4-BE49-F238E27FC236}">
                      <a16:creationId xmlns:a16="http://schemas.microsoft.com/office/drawing/2014/main" id="{F8BB2522-9D5D-C99C-1E26-8C2F39CA878E}"/>
                    </a:ext>
                  </a:extLst>
                </p:cNvPr>
                <p:cNvSpPr/>
                <p:nvPr/>
              </p:nvSpPr>
              <p:spPr>
                <a:xfrm>
                  <a:off x="9301276" y="5955142"/>
                  <a:ext cx="38186" cy="19453"/>
                </a:xfrm>
                <a:custGeom>
                  <a:avLst/>
                  <a:gdLst>
                    <a:gd name="connsiteX0" fmla="*/ 38187 w 38186"/>
                    <a:gd name="connsiteY0" fmla="*/ 8145 h 19453"/>
                    <a:gd name="connsiteX1" fmla="*/ 21307 w 38186"/>
                    <a:gd name="connsiteY1" fmla="*/ 0 h 19453"/>
                    <a:gd name="connsiteX2" fmla="*/ 0 w 38186"/>
                    <a:gd name="connsiteY2" fmla="*/ 19454 h 1945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38186" h="19453">
                      <a:moveTo>
                        <a:pt x="38187" y="8145"/>
                      </a:moveTo>
                      <a:lnTo>
                        <a:pt x="21307" y="0"/>
                      </a:lnTo>
                      <a:lnTo>
                        <a:pt x="0" y="19454"/>
                      </a:ln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152" name="Forma livre: Forma 2151">
                  <a:extLst>
                    <a:ext uri="{FF2B5EF4-FFF2-40B4-BE49-F238E27FC236}">
                      <a16:creationId xmlns:a16="http://schemas.microsoft.com/office/drawing/2014/main" id="{4E103E2E-5386-8AE1-D51E-ADC75128AB1E}"/>
                    </a:ext>
                  </a:extLst>
                </p:cNvPr>
                <p:cNvSpPr/>
                <p:nvPr/>
              </p:nvSpPr>
              <p:spPr>
                <a:xfrm>
                  <a:off x="9442361" y="5955142"/>
                  <a:ext cx="38186" cy="19453"/>
                </a:xfrm>
                <a:custGeom>
                  <a:avLst/>
                  <a:gdLst>
                    <a:gd name="connsiteX0" fmla="*/ 0 w 38186"/>
                    <a:gd name="connsiteY0" fmla="*/ 8145 h 19453"/>
                    <a:gd name="connsiteX1" fmla="*/ 16857 w 38186"/>
                    <a:gd name="connsiteY1" fmla="*/ 0 h 19453"/>
                    <a:gd name="connsiteX2" fmla="*/ 38187 w 38186"/>
                    <a:gd name="connsiteY2" fmla="*/ 19454 h 1945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38186" h="19453">
                      <a:moveTo>
                        <a:pt x="0" y="8145"/>
                      </a:moveTo>
                      <a:lnTo>
                        <a:pt x="16857" y="0"/>
                      </a:lnTo>
                      <a:lnTo>
                        <a:pt x="38187" y="19454"/>
                      </a:ln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2153" name="Gráfico 18">
                <a:extLst>
                  <a:ext uri="{FF2B5EF4-FFF2-40B4-BE49-F238E27FC236}">
                    <a16:creationId xmlns:a16="http://schemas.microsoft.com/office/drawing/2014/main" id="{94937E33-B3DA-6D7B-A339-15D3C56C382D}"/>
                  </a:ext>
                </a:extLst>
              </p:cNvPr>
              <p:cNvGrpSpPr/>
              <p:nvPr/>
            </p:nvGrpSpPr>
            <p:grpSpPr>
              <a:xfrm>
                <a:off x="9304203" y="5991180"/>
                <a:ext cx="173416" cy="25933"/>
                <a:chOff x="9304203" y="5991180"/>
                <a:chExt cx="173416" cy="25933"/>
              </a:xfrm>
              <a:noFill/>
            </p:grpSpPr>
            <p:sp>
              <p:nvSpPr>
                <p:cNvPr id="2154" name="Forma livre: Forma 2153">
                  <a:extLst>
                    <a:ext uri="{FF2B5EF4-FFF2-40B4-BE49-F238E27FC236}">
                      <a16:creationId xmlns:a16="http://schemas.microsoft.com/office/drawing/2014/main" id="{981C9C1B-D881-E59E-73B8-82D441800885}"/>
                    </a:ext>
                  </a:extLst>
                </p:cNvPr>
                <p:cNvSpPr/>
                <p:nvPr/>
              </p:nvSpPr>
              <p:spPr>
                <a:xfrm>
                  <a:off x="9304203" y="5991180"/>
                  <a:ext cx="34952" cy="25933"/>
                </a:xfrm>
                <a:custGeom>
                  <a:avLst/>
                  <a:gdLst>
                    <a:gd name="connsiteX0" fmla="*/ 34952 w 34952"/>
                    <a:gd name="connsiteY0" fmla="*/ 0 h 25933"/>
                    <a:gd name="connsiteX1" fmla="*/ 15003 w 34952"/>
                    <a:gd name="connsiteY1" fmla="*/ 0 h 25933"/>
                    <a:gd name="connsiteX2" fmla="*/ 0 w 34952"/>
                    <a:gd name="connsiteY2" fmla="*/ 25934 h 259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34952" h="25933">
                      <a:moveTo>
                        <a:pt x="34952" y="0"/>
                      </a:moveTo>
                      <a:lnTo>
                        <a:pt x="15003" y="0"/>
                      </a:lnTo>
                      <a:lnTo>
                        <a:pt x="0" y="25934"/>
                      </a:ln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155" name="Forma livre: Forma 2154">
                  <a:extLst>
                    <a:ext uri="{FF2B5EF4-FFF2-40B4-BE49-F238E27FC236}">
                      <a16:creationId xmlns:a16="http://schemas.microsoft.com/office/drawing/2014/main" id="{E1FA6A35-51B2-ED32-771F-DDC827D74ADF}"/>
                    </a:ext>
                  </a:extLst>
                </p:cNvPr>
                <p:cNvSpPr/>
                <p:nvPr/>
              </p:nvSpPr>
              <p:spPr>
                <a:xfrm>
                  <a:off x="9442668" y="5991180"/>
                  <a:ext cx="34952" cy="25933"/>
                </a:xfrm>
                <a:custGeom>
                  <a:avLst/>
                  <a:gdLst>
                    <a:gd name="connsiteX0" fmla="*/ 0 w 34952"/>
                    <a:gd name="connsiteY0" fmla="*/ 0 h 25933"/>
                    <a:gd name="connsiteX1" fmla="*/ 19961 w 34952"/>
                    <a:gd name="connsiteY1" fmla="*/ 0 h 25933"/>
                    <a:gd name="connsiteX2" fmla="*/ 34952 w 34952"/>
                    <a:gd name="connsiteY2" fmla="*/ 25934 h 259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34952" h="25933">
                      <a:moveTo>
                        <a:pt x="0" y="0"/>
                      </a:moveTo>
                      <a:lnTo>
                        <a:pt x="19961" y="0"/>
                      </a:lnTo>
                      <a:lnTo>
                        <a:pt x="34952" y="25934"/>
                      </a:ln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2156" name="Gráfico 18">
                <a:extLst>
                  <a:ext uri="{FF2B5EF4-FFF2-40B4-BE49-F238E27FC236}">
                    <a16:creationId xmlns:a16="http://schemas.microsoft.com/office/drawing/2014/main" id="{64EF986B-AAF8-9C3D-E1D7-92A26DA5E864}"/>
                  </a:ext>
                </a:extLst>
              </p:cNvPr>
              <p:cNvGrpSpPr/>
              <p:nvPr/>
            </p:nvGrpSpPr>
            <p:grpSpPr>
              <a:xfrm>
                <a:off x="9324200" y="6021612"/>
                <a:ext cx="133412" cy="45517"/>
                <a:chOff x="9324200" y="6021612"/>
                <a:chExt cx="133412" cy="45517"/>
              </a:xfrm>
              <a:noFill/>
            </p:grpSpPr>
            <p:sp>
              <p:nvSpPr>
                <p:cNvPr id="2157" name="Forma livre: Forma 2156">
                  <a:extLst>
                    <a:ext uri="{FF2B5EF4-FFF2-40B4-BE49-F238E27FC236}">
                      <a16:creationId xmlns:a16="http://schemas.microsoft.com/office/drawing/2014/main" id="{5B6528D0-655C-A50F-9E96-16BBC41AD401}"/>
                    </a:ext>
                  </a:extLst>
                </p:cNvPr>
                <p:cNvSpPr/>
                <p:nvPr/>
              </p:nvSpPr>
              <p:spPr>
                <a:xfrm>
                  <a:off x="9324200" y="6021612"/>
                  <a:ext cx="23939" cy="45517"/>
                </a:xfrm>
                <a:custGeom>
                  <a:avLst/>
                  <a:gdLst>
                    <a:gd name="connsiteX0" fmla="*/ 23939 w 23939"/>
                    <a:gd name="connsiteY0" fmla="*/ 0 h 45517"/>
                    <a:gd name="connsiteX1" fmla="*/ 7035 w 23939"/>
                    <a:gd name="connsiteY1" fmla="*/ 0 h 45517"/>
                    <a:gd name="connsiteX2" fmla="*/ 0 w 23939"/>
                    <a:gd name="connsiteY2" fmla="*/ 45517 h 4551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23939" h="45517">
                      <a:moveTo>
                        <a:pt x="23939" y="0"/>
                      </a:moveTo>
                      <a:lnTo>
                        <a:pt x="7035" y="0"/>
                      </a:lnTo>
                      <a:lnTo>
                        <a:pt x="0" y="45517"/>
                      </a:ln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158" name="Forma livre: Forma 2157">
                  <a:extLst>
                    <a:ext uri="{FF2B5EF4-FFF2-40B4-BE49-F238E27FC236}">
                      <a16:creationId xmlns:a16="http://schemas.microsoft.com/office/drawing/2014/main" id="{BE760DEA-5238-9A3A-2781-E10553BAE3D2}"/>
                    </a:ext>
                  </a:extLst>
                </p:cNvPr>
                <p:cNvSpPr/>
                <p:nvPr/>
              </p:nvSpPr>
              <p:spPr>
                <a:xfrm>
                  <a:off x="9433685" y="6021612"/>
                  <a:ext cx="23927" cy="45517"/>
                </a:xfrm>
                <a:custGeom>
                  <a:avLst/>
                  <a:gdLst>
                    <a:gd name="connsiteX0" fmla="*/ 0 w 23927"/>
                    <a:gd name="connsiteY0" fmla="*/ 0 h 45517"/>
                    <a:gd name="connsiteX1" fmla="*/ 16892 w 23927"/>
                    <a:gd name="connsiteY1" fmla="*/ 0 h 45517"/>
                    <a:gd name="connsiteX2" fmla="*/ 23927 w 23927"/>
                    <a:gd name="connsiteY2" fmla="*/ 45517 h 4551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23927" h="45517">
                      <a:moveTo>
                        <a:pt x="0" y="0"/>
                      </a:moveTo>
                      <a:lnTo>
                        <a:pt x="16892" y="0"/>
                      </a:lnTo>
                      <a:lnTo>
                        <a:pt x="23927" y="45517"/>
                      </a:ln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grpSp>
          <p:nvGrpSpPr>
            <p:cNvPr id="2159" name="Gráfico 18">
              <a:extLst>
                <a:ext uri="{FF2B5EF4-FFF2-40B4-BE49-F238E27FC236}">
                  <a16:creationId xmlns:a16="http://schemas.microsoft.com/office/drawing/2014/main" id="{FBDE3D99-B6E5-B38E-5C4D-CCA8532C6886}"/>
                </a:ext>
              </a:extLst>
            </p:cNvPr>
            <p:cNvGrpSpPr/>
            <p:nvPr/>
          </p:nvGrpSpPr>
          <p:grpSpPr>
            <a:xfrm>
              <a:off x="9191272" y="5801309"/>
              <a:ext cx="199645" cy="265820"/>
              <a:chOff x="9191272" y="5801309"/>
              <a:chExt cx="199645" cy="265820"/>
            </a:xfrm>
            <a:noFill/>
          </p:grpSpPr>
          <p:sp>
            <p:nvSpPr>
              <p:cNvPr id="2160" name="Forma livre: Forma 2159">
                <a:extLst>
                  <a:ext uri="{FF2B5EF4-FFF2-40B4-BE49-F238E27FC236}">
                    <a16:creationId xmlns:a16="http://schemas.microsoft.com/office/drawing/2014/main" id="{2F5EFF7C-49D8-BB84-AB1B-FC35A48B9E0C}"/>
                  </a:ext>
                </a:extLst>
              </p:cNvPr>
              <p:cNvSpPr/>
              <p:nvPr/>
            </p:nvSpPr>
            <p:spPr>
              <a:xfrm>
                <a:off x="9216674" y="5826912"/>
                <a:ext cx="35259" cy="35223"/>
              </a:xfrm>
              <a:custGeom>
                <a:avLst/>
                <a:gdLst>
                  <a:gd name="connsiteX0" fmla="*/ 35260 w 35259"/>
                  <a:gd name="connsiteY0" fmla="*/ 0 h 35223"/>
                  <a:gd name="connsiteX1" fmla="*/ 35260 w 35259"/>
                  <a:gd name="connsiteY1" fmla="*/ 35224 h 35223"/>
                  <a:gd name="connsiteX2" fmla="*/ 0 w 35259"/>
                  <a:gd name="connsiteY2" fmla="*/ 35224 h 352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5259" h="35223">
                    <a:moveTo>
                      <a:pt x="35260" y="0"/>
                    </a:moveTo>
                    <a:lnTo>
                      <a:pt x="35260" y="35224"/>
                    </a:lnTo>
                    <a:lnTo>
                      <a:pt x="0" y="35224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161" name="Forma livre: Forma 2160">
                <a:extLst>
                  <a:ext uri="{FF2B5EF4-FFF2-40B4-BE49-F238E27FC236}">
                    <a16:creationId xmlns:a16="http://schemas.microsoft.com/office/drawing/2014/main" id="{94841C8E-2C20-B61F-6CB5-1B2A30F35003}"/>
                  </a:ext>
                </a:extLst>
              </p:cNvPr>
              <p:cNvSpPr/>
              <p:nvPr/>
            </p:nvSpPr>
            <p:spPr>
              <a:xfrm>
                <a:off x="9191272" y="5801309"/>
                <a:ext cx="199645" cy="265820"/>
              </a:xfrm>
              <a:custGeom>
                <a:avLst/>
                <a:gdLst>
                  <a:gd name="connsiteX0" fmla="*/ 111704 w 199645"/>
                  <a:gd name="connsiteY0" fmla="*/ 265821 h 265820"/>
                  <a:gd name="connsiteX1" fmla="*/ 0 w 199645"/>
                  <a:gd name="connsiteY1" fmla="*/ 265821 h 265820"/>
                  <a:gd name="connsiteX2" fmla="*/ 0 w 199645"/>
                  <a:gd name="connsiteY2" fmla="*/ 51573 h 265820"/>
                  <a:gd name="connsiteX3" fmla="*/ 51585 w 199645"/>
                  <a:gd name="connsiteY3" fmla="*/ 0 h 265820"/>
                  <a:gd name="connsiteX4" fmla="*/ 199646 w 199645"/>
                  <a:gd name="connsiteY4" fmla="*/ 0 h 265820"/>
                  <a:gd name="connsiteX5" fmla="*/ 199646 w 199645"/>
                  <a:gd name="connsiteY5" fmla="*/ 86856 h 2658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99645" h="265820">
                    <a:moveTo>
                      <a:pt x="111704" y="265821"/>
                    </a:moveTo>
                    <a:lnTo>
                      <a:pt x="0" y="265821"/>
                    </a:lnTo>
                    <a:lnTo>
                      <a:pt x="0" y="51573"/>
                    </a:lnTo>
                    <a:lnTo>
                      <a:pt x="51585" y="0"/>
                    </a:lnTo>
                    <a:lnTo>
                      <a:pt x="199646" y="0"/>
                    </a:lnTo>
                    <a:lnTo>
                      <a:pt x="199646" y="86856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2162" name="Gráfico 18">
            <a:extLst>
              <a:ext uri="{FF2B5EF4-FFF2-40B4-BE49-F238E27FC236}">
                <a16:creationId xmlns:a16="http://schemas.microsoft.com/office/drawing/2014/main" id="{67929ABC-5A0E-8B27-A987-D61DEB3AB14B}"/>
              </a:ext>
            </a:extLst>
          </p:cNvPr>
          <p:cNvGrpSpPr/>
          <p:nvPr/>
        </p:nvGrpSpPr>
        <p:grpSpPr>
          <a:xfrm>
            <a:off x="7922996" y="5745451"/>
            <a:ext cx="344165" cy="326600"/>
            <a:chOff x="7922996" y="5745451"/>
            <a:chExt cx="344165" cy="326600"/>
          </a:xfrm>
          <a:noFill/>
        </p:grpSpPr>
        <p:grpSp>
          <p:nvGrpSpPr>
            <p:cNvPr id="2163" name="Gráfico 18">
              <a:extLst>
                <a:ext uri="{FF2B5EF4-FFF2-40B4-BE49-F238E27FC236}">
                  <a16:creationId xmlns:a16="http://schemas.microsoft.com/office/drawing/2014/main" id="{C515A711-31AF-0F1C-5E26-676332C71548}"/>
                </a:ext>
              </a:extLst>
            </p:cNvPr>
            <p:cNvGrpSpPr/>
            <p:nvPr/>
          </p:nvGrpSpPr>
          <p:grpSpPr>
            <a:xfrm>
              <a:off x="7922996" y="5745451"/>
              <a:ext cx="344165" cy="326600"/>
              <a:chOff x="7922996" y="5745451"/>
              <a:chExt cx="344165" cy="326600"/>
            </a:xfrm>
            <a:noFill/>
          </p:grpSpPr>
          <p:sp>
            <p:nvSpPr>
              <p:cNvPr id="2164" name="Forma livre: Forma 2163">
                <a:extLst>
                  <a:ext uri="{FF2B5EF4-FFF2-40B4-BE49-F238E27FC236}">
                    <a16:creationId xmlns:a16="http://schemas.microsoft.com/office/drawing/2014/main" id="{C4D95339-859A-0FD6-0550-4E37182ACDC8}"/>
                  </a:ext>
                </a:extLst>
              </p:cNvPr>
              <p:cNvSpPr/>
              <p:nvPr/>
            </p:nvSpPr>
            <p:spPr>
              <a:xfrm>
                <a:off x="7922996" y="6045091"/>
                <a:ext cx="344165" cy="26960"/>
              </a:xfrm>
              <a:custGeom>
                <a:avLst/>
                <a:gdLst>
                  <a:gd name="connsiteX0" fmla="*/ 0 w 344165"/>
                  <a:gd name="connsiteY0" fmla="*/ 0 h 26960"/>
                  <a:gd name="connsiteX1" fmla="*/ 25651 w 344165"/>
                  <a:gd name="connsiteY1" fmla="*/ 26961 h 26960"/>
                  <a:gd name="connsiteX2" fmla="*/ 318503 w 344165"/>
                  <a:gd name="connsiteY2" fmla="*/ 26961 h 26960"/>
                  <a:gd name="connsiteX3" fmla="*/ 344166 w 344165"/>
                  <a:gd name="connsiteY3" fmla="*/ 0 h 26960"/>
                  <a:gd name="connsiteX4" fmla="*/ 0 w 344165"/>
                  <a:gd name="connsiteY4" fmla="*/ 0 h 269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44165" h="26960">
                    <a:moveTo>
                      <a:pt x="0" y="0"/>
                    </a:moveTo>
                    <a:cubicBezTo>
                      <a:pt x="0" y="0"/>
                      <a:pt x="5938" y="26961"/>
                      <a:pt x="25651" y="26961"/>
                    </a:cubicBezTo>
                    <a:lnTo>
                      <a:pt x="318503" y="26961"/>
                    </a:lnTo>
                    <a:cubicBezTo>
                      <a:pt x="338228" y="26961"/>
                      <a:pt x="344166" y="0"/>
                      <a:pt x="344166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2165" name="Gráfico 18">
                <a:extLst>
                  <a:ext uri="{FF2B5EF4-FFF2-40B4-BE49-F238E27FC236}">
                    <a16:creationId xmlns:a16="http://schemas.microsoft.com/office/drawing/2014/main" id="{AC652B15-F922-F3E5-41D1-72327825D7C0}"/>
                  </a:ext>
                </a:extLst>
              </p:cNvPr>
              <p:cNvGrpSpPr/>
              <p:nvPr/>
            </p:nvGrpSpPr>
            <p:grpSpPr>
              <a:xfrm>
                <a:off x="8058485" y="5745451"/>
                <a:ext cx="84613" cy="220751"/>
                <a:chOff x="8058485" y="5745451"/>
                <a:chExt cx="84613" cy="220751"/>
              </a:xfrm>
            </p:grpSpPr>
            <p:sp>
              <p:nvSpPr>
                <p:cNvPr id="2166" name="Forma livre: Forma 2165">
                  <a:extLst>
                    <a:ext uri="{FF2B5EF4-FFF2-40B4-BE49-F238E27FC236}">
                      <a16:creationId xmlns:a16="http://schemas.microsoft.com/office/drawing/2014/main" id="{ACEE5875-D185-22D6-CC73-0CDFC9EFA545}"/>
                    </a:ext>
                  </a:extLst>
                </p:cNvPr>
                <p:cNvSpPr/>
                <p:nvPr/>
              </p:nvSpPr>
              <p:spPr>
                <a:xfrm>
                  <a:off x="8095090" y="5819511"/>
                  <a:ext cx="1180" cy="39626"/>
                </a:xfrm>
                <a:custGeom>
                  <a:avLst/>
                  <a:gdLst>
                    <a:gd name="connsiteX0" fmla="*/ 0 w 1180"/>
                    <a:gd name="connsiteY0" fmla="*/ 39627 h 39626"/>
                    <a:gd name="connsiteX1" fmla="*/ 0 w 1180"/>
                    <a:gd name="connsiteY1" fmla="*/ 0 h 3962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180" h="39626">
                      <a:moveTo>
                        <a:pt x="0" y="39627"/>
                      </a:moveTo>
                      <a:lnTo>
                        <a:pt x="0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167" name="Forma livre: Forma 2166">
                  <a:extLst>
                    <a:ext uri="{FF2B5EF4-FFF2-40B4-BE49-F238E27FC236}">
                      <a16:creationId xmlns:a16="http://schemas.microsoft.com/office/drawing/2014/main" id="{FD9A3446-0F94-7F0A-DC34-9ECFE8DCEAA1}"/>
                    </a:ext>
                  </a:extLst>
                </p:cNvPr>
                <p:cNvSpPr/>
                <p:nvPr/>
              </p:nvSpPr>
              <p:spPr>
                <a:xfrm>
                  <a:off x="8071482" y="5966203"/>
                  <a:ext cx="71616" cy="1180"/>
                </a:xfrm>
                <a:custGeom>
                  <a:avLst/>
                  <a:gdLst>
                    <a:gd name="connsiteX0" fmla="*/ 0 w 71616"/>
                    <a:gd name="connsiteY0" fmla="*/ 0 h 1180"/>
                    <a:gd name="connsiteX1" fmla="*/ 71617 w 71616"/>
                    <a:gd name="connsiteY1" fmla="*/ 0 h 11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71616" h="1180">
                      <a:moveTo>
                        <a:pt x="0" y="0"/>
                      </a:moveTo>
                      <a:lnTo>
                        <a:pt x="71617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grpSp>
              <p:nvGrpSpPr>
                <p:cNvPr id="2168" name="Gráfico 18">
                  <a:extLst>
                    <a:ext uri="{FF2B5EF4-FFF2-40B4-BE49-F238E27FC236}">
                      <a16:creationId xmlns:a16="http://schemas.microsoft.com/office/drawing/2014/main" id="{24EE2564-18CB-DB3F-6EDE-AFC769A47598}"/>
                    </a:ext>
                  </a:extLst>
                </p:cNvPr>
                <p:cNvGrpSpPr/>
                <p:nvPr/>
              </p:nvGrpSpPr>
              <p:grpSpPr>
                <a:xfrm>
                  <a:off x="8058485" y="5745451"/>
                  <a:ext cx="73198" cy="61594"/>
                  <a:chOff x="8058485" y="5745451"/>
                  <a:chExt cx="73198" cy="61594"/>
                </a:xfrm>
              </p:grpSpPr>
              <p:sp>
                <p:nvSpPr>
                  <p:cNvPr id="2169" name="Forma livre: Forma 2168">
                    <a:extLst>
                      <a:ext uri="{FF2B5EF4-FFF2-40B4-BE49-F238E27FC236}">
                        <a16:creationId xmlns:a16="http://schemas.microsoft.com/office/drawing/2014/main" id="{2E2E2978-EDC3-47FE-4D3C-B1CD2E7824A9}"/>
                      </a:ext>
                    </a:extLst>
                  </p:cNvPr>
                  <p:cNvSpPr/>
                  <p:nvPr/>
                </p:nvSpPr>
                <p:spPr>
                  <a:xfrm>
                    <a:off x="8131684" y="5764621"/>
                    <a:ext cx="1180" cy="42424"/>
                  </a:xfrm>
                  <a:custGeom>
                    <a:avLst/>
                    <a:gdLst>
                      <a:gd name="connsiteX0" fmla="*/ 0 w 1180"/>
                      <a:gd name="connsiteY0" fmla="*/ 42425 h 42424"/>
                      <a:gd name="connsiteX1" fmla="*/ 0 w 1180"/>
                      <a:gd name="connsiteY1" fmla="*/ 0 h 4242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180" h="42424">
                        <a:moveTo>
                          <a:pt x="0" y="42425"/>
                        </a:moveTo>
                        <a:lnTo>
                          <a:pt x="0" y="0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2170" name="Forma livre: Forma 2169">
                    <a:extLst>
                      <a:ext uri="{FF2B5EF4-FFF2-40B4-BE49-F238E27FC236}">
                        <a16:creationId xmlns:a16="http://schemas.microsoft.com/office/drawing/2014/main" id="{89DAF03A-4AC0-BA48-F56B-CC268647B476}"/>
                      </a:ext>
                    </a:extLst>
                  </p:cNvPr>
                  <p:cNvSpPr/>
                  <p:nvPr/>
                </p:nvSpPr>
                <p:spPr>
                  <a:xfrm>
                    <a:off x="8058485" y="5781466"/>
                    <a:ext cx="1180" cy="24871"/>
                  </a:xfrm>
                  <a:custGeom>
                    <a:avLst/>
                    <a:gdLst>
                      <a:gd name="connsiteX0" fmla="*/ 0 w 1180"/>
                      <a:gd name="connsiteY0" fmla="*/ 0 h 24871"/>
                      <a:gd name="connsiteX1" fmla="*/ 0 w 1180"/>
                      <a:gd name="connsiteY1" fmla="*/ 24872 h 2487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180" h="24871">
                        <a:moveTo>
                          <a:pt x="0" y="0"/>
                        </a:moveTo>
                        <a:lnTo>
                          <a:pt x="0" y="24872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grpSp>
                <p:nvGrpSpPr>
                  <p:cNvPr id="2171" name="Gráfico 18">
                    <a:extLst>
                      <a:ext uri="{FF2B5EF4-FFF2-40B4-BE49-F238E27FC236}">
                        <a16:creationId xmlns:a16="http://schemas.microsoft.com/office/drawing/2014/main" id="{6783F308-16E1-6283-816A-3D36C4644185}"/>
                      </a:ext>
                    </a:extLst>
                  </p:cNvPr>
                  <p:cNvGrpSpPr/>
                  <p:nvPr/>
                </p:nvGrpSpPr>
                <p:grpSpPr>
                  <a:xfrm>
                    <a:off x="8095090" y="5745451"/>
                    <a:ext cx="1180" cy="51041"/>
                    <a:chOff x="8095090" y="5745451"/>
                    <a:chExt cx="1180" cy="51041"/>
                  </a:xfrm>
                </p:grpSpPr>
                <p:sp>
                  <p:nvSpPr>
                    <p:cNvPr id="2172" name="Forma livre: Forma 2171">
                      <a:extLst>
                        <a:ext uri="{FF2B5EF4-FFF2-40B4-BE49-F238E27FC236}">
                          <a16:creationId xmlns:a16="http://schemas.microsoft.com/office/drawing/2014/main" id="{585C7C4A-D081-D2F2-554F-80674D2BF4B9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8095090" y="5775800"/>
                      <a:ext cx="1180" cy="20692"/>
                    </a:xfrm>
                    <a:custGeom>
                      <a:avLst/>
                      <a:gdLst>
                        <a:gd name="connsiteX0" fmla="*/ 0 w 1180"/>
                        <a:gd name="connsiteY0" fmla="*/ 20693 h 20692"/>
                        <a:gd name="connsiteX1" fmla="*/ 0 w 1180"/>
                        <a:gd name="connsiteY1" fmla="*/ 0 h 20692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1180" h="20692">
                          <a:moveTo>
                            <a:pt x="0" y="20693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6350" cap="rnd">
                      <a:solidFill>
                        <a:schemeClr val="accent2"/>
                      </a:solidFill>
                      <a:prstDash val="solid"/>
                      <a:round/>
                    </a:ln>
                  </p:spPr>
                  <p:txBody>
                    <a:bodyPr rtlCol="0" anchor="ctr"/>
                    <a:lstStyle/>
                    <a:p>
                      <a:endParaRPr lang="pt-PT"/>
                    </a:p>
                  </p:txBody>
                </p:sp>
                <p:sp>
                  <p:nvSpPr>
                    <p:cNvPr id="2173" name="Forma livre: Forma 2172">
                      <a:extLst>
                        <a:ext uri="{FF2B5EF4-FFF2-40B4-BE49-F238E27FC236}">
                          <a16:creationId xmlns:a16="http://schemas.microsoft.com/office/drawing/2014/main" id="{AAA314E1-27AC-F059-FA30-BC2CA57BB5E7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8095090" y="5745451"/>
                      <a:ext cx="1180" cy="9644"/>
                    </a:xfrm>
                    <a:custGeom>
                      <a:avLst/>
                      <a:gdLst>
                        <a:gd name="connsiteX0" fmla="*/ 0 w 1180"/>
                        <a:gd name="connsiteY0" fmla="*/ 9644 h 9644"/>
                        <a:gd name="connsiteX1" fmla="*/ 0 w 1180"/>
                        <a:gd name="connsiteY1" fmla="*/ 0 h 9644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1180" h="9644">
                          <a:moveTo>
                            <a:pt x="0" y="9644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6350" cap="rnd">
                      <a:solidFill>
                        <a:schemeClr val="accent2"/>
                      </a:solidFill>
                      <a:prstDash val="solid"/>
                      <a:round/>
                    </a:ln>
                  </p:spPr>
                  <p:txBody>
                    <a:bodyPr rtlCol="0" anchor="ctr"/>
                    <a:lstStyle/>
                    <a:p>
                      <a:endParaRPr lang="pt-PT"/>
                    </a:p>
                  </p:txBody>
                </p:sp>
              </p:grpSp>
            </p:grpSp>
          </p:grpSp>
          <p:grpSp>
            <p:nvGrpSpPr>
              <p:cNvPr id="2174" name="Gráfico 18">
                <a:extLst>
                  <a:ext uri="{FF2B5EF4-FFF2-40B4-BE49-F238E27FC236}">
                    <a16:creationId xmlns:a16="http://schemas.microsoft.com/office/drawing/2014/main" id="{93E592BD-5E72-AC36-7265-FC22786563EE}"/>
                  </a:ext>
                </a:extLst>
              </p:cNvPr>
              <p:cNvGrpSpPr/>
              <p:nvPr/>
            </p:nvGrpSpPr>
            <p:grpSpPr>
              <a:xfrm>
                <a:off x="7955387" y="5851796"/>
                <a:ext cx="279395" cy="171551"/>
                <a:chOff x="7955387" y="5851796"/>
                <a:chExt cx="279395" cy="171551"/>
              </a:xfrm>
              <a:noFill/>
            </p:grpSpPr>
            <p:sp>
              <p:nvSpPr>
                <p:cNvPr id="2175" name="Forma livre: Forma 2174">
                  <a:extLst>
                    <a:ext uri="{FF2B5EF4-FFF2-40B4-BE49-F238E27FC236}">
                      <a16:creationId xmlns:a16="http://schemas.microsoft.com/office/drawing/2014/main" id="{C5F05BD0-C21A-9794-C2FA-286A79905477}"/>
                    </a:ext>
                  </a:extLst>
                </p:cNvPr>
                <p:cNvSpPr/>
                <p:nvPr/>
              </p:nvSpPr>
              <p:spPr>
                <a:xfrm>
                  <a:off x="7955387" y="5851796"/>
                  <a:ext cx="67721" cy="171551"/>
                </a:xfrm>
                <a:custGeom>
                  <a:avLst/>
                  <a:gdLst>
                    <a:gd name="connsiteX0" fmla="*/ 0 w 67721"/>
                    <a:gd name="connsiteY0" fmla="*/ 171552 h 171551"/>
                    <a:gd name="connsiteX1" fmla="*/ 0 w 67721"/>
                    <a:gd name="connsiteY1" fmla="*/ 20362 h 171551"/>
                    <a:gd name="connsiteX2" fmla="*/ 20362 w 67721"/>
                    <a:gd name="connsiteY2" fmla="*/ 0 h 171551"/>
                    <a:gd name="connsiteX3" fmla="*/ 67721 w 67721"/>
                    <a:gd name="connsiteY3" fmla="*/ 0 h 17155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67721" h="171551">
                      <a:moveTo>
                        <a:pt x="0" y="171552"/>
                      </a:moveTo>
                      <a:lnTo>
                        <a:pt x="0" y="20362"/>
                      </a:lnTo>
                      <a:cubicBezTo>
                        <a:pt x="0" y="9160"/>
                        <a:pt x="9172" y="0"/>
                        <a:pt x="20362" y="0"/>
                      </a:cubicBezTo>
                      <a:lnTo>
                        <a:pt x="67721" y="0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176" name="Forma livre: Forma 2175">
                  <a:extLst>
                    <a:ext uri="{FF2B5EF4-FFF2-40B4-BE49-F238E27FC236}">
                      <a16:creationId xmlns:a16="http://schemas.microsoft.com/office/drawing/2014/main" id="{642DFBB1-7B0D-7DD2-5797-79FDD2F7B9DD}"/>
                    </a:ext>
                  </a:extLst>
                </p:cNvPr>
                <p:cNvSpPr/>
                <p:nvPr/>
              </p:nvSpPr>
              <p:spPr>
                <a:xfrm>
                  <a:off x="8167061" y="5851796"/>
                  <a:ext cx="67721" cy="171551"/>
                </a:xfrm>
                <a:custGeom>
                  <a:avLst/>
                  <a:gdLst>
                    <a:gd name="connsiteX0" fmla="*/ 67721 w 67721"/>
                    <a:gd name="connsiteY0" fmla="*/ 171552 h 171551"/>
                    <a:gd name="connsiteX1" fmla="*/ 67721 w 67721"/>
                    <a:gd name="connsiteY1" fmla="*/ 20362 h 171551"/>
                    <a:gd name="connsiteX2" fmla="*/ 47359 w 67721"/>
                    <a:gd name="connsiteY2" fmla="*/ 0 h 171551"/>
                    <a:gd name="connsiteX3" fmla="*/ 0 w 67721"/>
                    <a:gd name="connsiteY3" fmla="*/ 0 h 17155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67721" h="171551">
                      <a:moveTo>
                        <a:pt x="67721" y="171552"/>
                      </a:moveTo>
                      <a:lnTo>
                        <a:pt x="67721" y="20362"/>
                      </a:lnTo>
                      <a:cubicBezTo>
                        <a:pt x="67721" y="9160"/>
                        <a:pt x="58549" y="0"/>
                        <a:pt x="47359" y="0"/>
                      </a:cubicBezTo>
                      <a:lnTo>
                        <a:pt x="0" y="0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sp>
          <p:nvSpPr>
            <p:cNvPr id="2177" name="Forma livre: Forma 2176">
              <a:extLst>
                <a:ext uri="{FF2B5EF4-FFF2-40B4-BE49-F238E27FC236}">
                  <a16:creationId xmlns:a16="http://schemas.microsoft.com/office/drawing/2014/main" id="{60C95F8F-8693-7D95-A760-2DE70D79DA37}"/>
                </a:ext>
              </a:extLst>
            </p:cNvPr>
            <p:cNvSpPr/>
            <p:nvPr/>
          </p:nvSpPr>
          <p:spPr>
            <a:xfrm>
              <a:off x="8044403" y="5825330"/>
              <a:ext cx="101375" cy="192952"/>
            </a:xfrm>
            <a:custGeom>
              <a:avLst/>
              <a:gdLst>
                <a:gd name="connsiteX0" fmla="*/ 30620 w 101375"/>
                <a:gd name="connsiteY0" fmla="*/ 11415 h 192952"/>
                <a:gd name="connsiteX1" fmla="*/ 0 w 101375"/>
                <a:gd name="connsiteY1" fmla="*/ 0 h 192952"/>
                <a:gd name="connsiteX2" fmla="*/ 0 w 101375"/>
                <a:gd name="connsiteY2" fmla="*/ 38246 h 192952"/>
                <a:gd name="connsiteX3" fmla="*/ 29428 w 101375"/>
                <a:gd name="connsiteY3" fmla="*/ 51124 h 192952"/>
                <a:gd name="connsiteX4" fmla="*/ 2290 w 101375"/>
                <a:gd name="connsiteY4" fmla="*/ 96323 h 192952"/>
                <a:gd name="connsiteX5" fmla="*/ 2290 w 101375"/>
                <a:gd name="connsiteY5" fmla="*/ 138500 h 192952"/>
                <a:gd name="connsiteX6" fmla="*/ 50688 w 101375"/>
                <a:gd name="connsiteY6" fmla="*/ 192953 h 192952"/>
                <a:gd name="connsiteX7" fmla="*/ 99085 w 101375"/>
                <a:gd name="connsiteY7" fmla="*/ 138500 h 192952"/>
                <a:gd name="connsiteX8" fmla="*/ 99085 w 101375"/>
                <a:gd name="connsiteY8" fmla="*/ 96323 h 192952"/>
                <a:gd name="connsiteX9" fmla="*/ 71947 w 101375"/>
                <a:gd name="connsiteY9" fmla="*/ 51124 h 192952"/>
                <a:gd name="connsiteX10" fmla="*/ 101375 w 101375"/>
                <a:gd name="connsiteY10" fmla="*/ 38246 h 192952"/>
                <a:gd name="connsiteX11" fmla="*/ 101375 w 101375"/>
                <a:gd name="connsiteY11" fmla="*/ 0 h 192952"/>
                <a:gd name="connsiteX12" fmla="*/ 51349 w 101375"/>
                <a:gd name="connsiteY12" fmla="*/ 18769 h 1929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01375" h="192952">
                  <a:moveTo>
                    <a:pt x="30620" y="11415"/>
                  </a:moveTo>
                  <a:lnTo>
                    <a:pt x="0" y="0"/>
                  </a:lnTo>
                  <a:lnTo>
                    <a:pt x="0" y="38246"/>
                  </a:lnTo>
                  <a:lnTo>
                    <a:pt x="29428" y="51124"/>
                  </a:lnTo>
                  <a:cubicBezTo>
                    <a:pt x="9042" y="60273"/>
                    <a:pt x="2290" y="73836"/>
                    <a:pt x="2290" y="96323"/>
                  </a:cubicBezTo>
                  <a:lnTo>
                    <a:pt x="2290" y="138500"/>
                  </a:lnTo>
                  <a:cubicBezTo>
                    <a:pt x="2290" y="161872"/>
                    <a:pt x="41527" y="192953"/>
                    <a:pt x="50688" y="192953"/>
                  </a:cubicBezTo>
                  <a:cubicBezTo>
                    <a:pt x="59848" y="192953"/>
                    <a:pt x="99085" y="161872"/>
                    <a:pt x="99085" y="138500"/>
                  </a:cubicBezTo>
                  <a:lnTo>
                    <a:pt x="99085" y="96323"/>
                  </a:lnTo>
                  <a:cubicBezTo>
                    <a:pt x="99085" y="73836"/>
                    <a:pt x="92333" y="60273"/>
                    <a:pt x="71947" y="51124"/>
                  </a:cubicBezTo>
                  <a:lnTo>
                    <a:pt x="101375" y="38246"/>
                  </a:lnTo>
                  <a:lnTo>
                    <a:pt x="101375" y="0"/>
                  </a:lnTo>
                  <a:lnTo>
                    <a:pt x="51349" y="18769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2179" name="Gráfico 19">
            <a:extLst>
              <a:ext uri="{FF2B5EF4-FFF2-40B4-BE49-F238E27FC236}">
                <a16:creationId xmlns:a16="http://schemas.microsoft.com/office/drawing/2014/main" id="{4DDEAEF4-1091-F6CC-2229-5F04EE709770}"/>
              </a:ext>
            </a:extLst>
          </p:cNvPr>
          <p:cNvGrpSpPr/>
          <p:nvPr/>
        </p:nvGrpSpPr>
        <p:grpSpPr>
          <a:xfrm>
            <a:off x="10377200" y="3665274"/>
            <a:ext cx="256063" cy="315260"/>
            <a:chOff x="10377200" y="3665274"/>
            <a:chExt cx="256063" cy="315260"/>
          </a:xfrm>
          <a:noFill/>
        </p:grpSpPr>
        <p:sp>
          <p:nvSpPr>
            <p:cNvPr id="2180" name="Forma livre: Forma 2179">
              <a:extLst>
                <a:ext uri="{FF2B5EF4-FFF2-40B4-BE49-F238E27FC236}">
                  <a16:creationId xmlns:a16="http://schemas.microsoft.com/office/drawing/2014/main" id="{DD6071D3-F511-0C92-711C-91982CEED41A}"/>
                </a:ext>
              </a:extLst>
            </p:cNvPr>
            <p:cNvSpPr/>
            <p:nvPr/>
          </p:nvSpPr>
          <p:spPr>
            <a:xfrm>
              <a:off x="10408628" y="3809534"/>
              <a:ext cx="54378" cy="51720"/>
            </a:xfrm>
            <a:custGeom>
              <a:avLst/>
              <a:gdLst>
                <a:gd name="connsiteX0" fmla="*/ 54378 w 54378"/>
                <a:gd name="connsiteY0" fmla="*/ 0 h 51720"/>
                <a:gd name="connsiteX1" fmla="*/ 18614 w 54378"/>
                <a:gd name="connsiteY1" fmla="*/ 19453 h 51720"/>
                <a:gd name="connsiteX2" fmla="*/ 0 w 54378"/>
                <a:gd name="connsiteY2" fmla="*/ 51721 h 517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54378" h="51720">
                  <a:moveTo>
                    <a:pt x="54378" y="0"/>
                  </a:moveTo>
                  <a:cubicBezTo>
                    <a:pt x="41280" y="2787"/>
                    <a:pt x="28795" y="9272"/>
                    <a:pt x="18614" y="19453"/>
                  </a:cubicBezTo>
                  <a:cubicBezTo>
                    <a:pt x="9343" y="28724"/>
                    <a:pt x="3130" y="39898"/>
                    <a:pt x="0" y="51721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81" name="Forma livre: Forma 2180">
              <a:extLst>
                <a:ext uri="{FF2B5EF4-FFF2-40B4-BE49-F238E27FC236}">
                  <a16:creationId xmlns:a16="http://schemas.microsoft.com/office/drawing/2014/main" id="{BC253A86-D0CD-98FE-F22F-FABE38DB418A}"/>
                </a:ext>
              </a:extLst>
            </p:cNvPr>
            <p:cNvSpPr/>
            <p:nvPr/>
          </p:nvSpPr>
          <p:spPr>
            <a:xfrm>
              <a:off x="10377200" y="3807078"/>
              <a:ext cx="202538" cy="173457"/>
            </a:xfrm>
            <a:custGeom>
              <a:avLst/>
              <a:gdLst>
                <a:gd name="connsiteX0" fmla="*/ 20326 w 202538"/>
                <a:gd name="connsiteY0" fmla="*/ 11315 h 173457"/>
                <a:gd name="connsiteX1" fmla="*/ 29657 w 202538"/>
                <a:gd name="connsiteY1" fmla="*/ 143800 h 173457"/>
                <a:gd name="connsiteX2" fmla="*/ 172878 w 202538"/>
                <a:gd name="connsiteY2" fmla="*/ 143800 h 173457"/>
                <a:gd name="connsiteX3" fmla="*/ 190937 w 202538"/>
                <a:gd name="connsiteY3" fmla="*/ 25075 h 173457"/>
                <a:gd name="connsiteX4" fmla="*/ 165850 w 202538"/>
                <a:gd name="connsiteY4" fmla="*/ 0 h 1734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02538" h="173457">
                  <a:moveTo>
                    <a:pt x="20326" y="11315"/>
                  </a:moveTo>
                  <a:cubicBezTo>
                    <a:pt x="-9591" y="50988"/>
                    <a:pt x="-6485" y="107646"/>
                    <a:pt x="29657" y="143800"/>
                  </a:cubicBezTo>
                  <a:cubicBezTo>
                    <a:pt x="69200" y="183343"/>
                    <a:pt x="133323" y="183343"/>
                    <a:pt x="172878" y="143800"/>
                  </a:cubicBezTo>
                  <a:cubicBezTo>
                    <a:pt x="205016" y="111662"/>
                    <a:pt x="211039" y="63295"/>
                    <a:pt x="190937" y="25075"/>
                  </a:cubicBezTo>
                  <a:lnTo>
                    <a:pt x="165850" y="0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82" name="Forma livre: Forma 2181">
              <a:extLst>
                <a:ext uri="{FF2B5EF4-FFF2-40B4-BE49-F238E27FC236}">
                  <a16:creationId xmlns:a16="http://schemas.microsoft.com/office/drawing/2014/main" id="{7ADE039F-834E-0605-9BD5-974EA149D715}"/>
                </a:ext>
              </a:extLst>
            </p:cNvPr>
            <p:cNvSpPr/>
            <p:nvPr/>
          </p:nvSpPr>
          <p:spPr>
            <a:xfrm>
              <a:off x="10416495" y="3761959"/>
              <a:ext cx="179268" cy="70346"/>
            </a:xfrm>
            <a:custGeom>
              <a:avLst/>
              <a:gdLst>
                <a:gd name="connsiteX0" fmla="*/ 151784 w 179268"/>
                <a:gd name="connsiteY0" fmla="*/ 70347 h 70346"/>
                <a:gd name="connsiteX1" fmla="*/ 179268 w 179268"/>
                <a:gd name="connsiteY1" fmla="*/ 42851 h 70346"/>
                <a:gd name="connsiteX2" fmla="*/ 136418 w 179268"/>
                <a:gd name="connsiteY2" fmla="*/ 0 h 70346"/>
                <a:gd name="connsiteX3" fmla="*/ 109004 w 179268"/>
                <a:gd name="connsiteY3" fmla="*/ 27555 h 70346"/>
                <a:gd name="connsiteX4" fmla="*/ 0 w 179268"/>
                <a:gd name="connsiteY4" fmla="*/ 37193 h 703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9268" h="70346">
                  <a:moveTo>
                    <a:pt x="151784" y="70347"/>
                  </a:moveTo>
                  <a:lnTo>
                    <a:pt x="179268" y="42851"/>
                  </a:lnTo>
                  <a:lnTo>
                    <a:pt x="136418" y="0"/>
                  </a:lnTo>
                  <a:lnTo>
                    <a:pt x="109004" y="27555"/>
                  </a:lnTo>
                  <a:cubicBezTo>
                    <a:pt x="74433" y="9390"/>
                    <a:pt x="31630" y="12638"/>
                    <a:pt x="0" y="37193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83" name="Forma livre: Forma 2182">
              <a:extLst>
                <a:ext uri="{FF2B5EF4-FFF2-40B4-BE49-F238E27FC236}">
                  <a16:creationId xmlns:a16="http://schemas.microsoft.com/office/drawing/2014/main" id="{9C2B5E5A-1A20-8A52-3E35-0914AED4A2F8}"/>
                </a:ext>
              </a:extLst>
            </p:cNvPr>
            <p:cNvSpPr/>
            <p:nvPr/>
          </p:nvSpPr>
          <p:spPr>
            <a:xfrm>
              <a:off x="10574586" y="3708904"/>
              <a:ext cx="18563" cy="73996"/>
            </a:xfrm>
            <a:custGeom>
              <a:avLst/>
              <a:gdLst>
                <a:gd name="connsiteX0" fmla="*/ 0 w 18563"/>
                <a:gd name="connsiteY0" fmla="*/ 73996 h 73996"/>
                <a:gd name="connsiteX1" fmla="*/ 14374 w 18563"/>
                <a:gd name="connsiteY1" fmla="*/ 59622 h 73996"/>
                <a:gd name="connsiteX2" fmla="*/ 14374 w 18563"/>
                <a:gd name="connsiteY2" fmla="*/ 39331 h 73996"/>
                <a:gd name="connsiteX3" fmla="*/ 5079 w 18563"/>
                <a:gd name="connsiteY3" fmla="*/ 30024 h 73996"/>
                <a:gd name="connsiteX4" fmla="*/ 5102 w 18563"/>
                <a:gd name="connsiteY4" fmla="*/ 9697 h 73996"/>
                <a:gd name="connsiteX5" fmla="*/ 14811 w 18563"/>
                <a:gd name="connsiteY5" fmla="*/ 0 h 739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563" h="73996">
                  <a:moveTo>
                    <a:pt x="0" y="73996"/>
                  </a:moveTo>
                  <a:lnTo>
                    <a:pt x="14374" y="59622"/>
                  </a:lnTo>
                  <a:cubicBezTo>
                    <a:pt x="19961" y="54036"/>
                    <a:pt x="19961" y="44906"/>
                    <a:pt x="14374" y="39331"/>
                  </a:cubicBezTo>
                  <a:lnTo>
                    <a:pt x="5079" y="30024"/>
                  </a:lnTo>
                  <a:cubicBezTo>
                    <a:pt x="-508" y="24437"/>
                    <a:pt x="-484" y="15284"/>
                    <a:pt x="5102" y="9697"/>
                  </a:cubicBezTo>
                  <a:lnTo>
                    <a:pt x="14811" y="0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84" name="Forma livre: Forma 2183">
              <a:extLst>
                <a:ext uri="{FF2B5EF4-FFF2-40B4-BE49-F238E27FC236}">
                  <a16:creationId xmlns:a16="http://schemas.microsoft.com/office/drawing/2014/main" id="{C215C729-DCDC-F9D7-85A2-6B6705494AF4}"/>
                </a:ext>
              </a:extLst>
            </p:cNvPr>
            <p:cNvSpPr/>
            <p:nvPr/>
          </p:nvSpPr>
          <p:spPr>
            <a:xfrm>
              <a:off x="10608141" y="3677912"/>
              <a:ext cx="12248" cy="12224"/>
            </a:xfrm>
            <a:custGeom>
              <a:avLst/>
              <a:gdLst>
                <a:gd name="connsiteX0" fmla="*/ 0 w 12248"/>
                <a:gd name="connsiteY0" fmla="*/ 12224 h 12224"/>
                <a:gd name="connsiteX1" fmla="*/ 12248 w 12248"/>
                <a:gd name="connsiteY1" fmla="*/ 0 h 122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248" h="12224">
                  <a:moveTo>
                    <a:pt x="0" y="12224"/>
                  </a:moveTo>
                  <a:lnTo>
                    <a:pt x="12248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85" name="Forma livre: Forma 2184">
              <a:extLst>
                <a:ext uri="{FF2B5EF4-FFF2-40B4-BE49-F238E27FC236}">
                  <a16:creationId xmlns:a16="http://schemas.microsoft.com/office/drawing/2014/main" id="{07DA1B27-D496-0149-0D41-5FFA558DEB18}"/>
                </a:ext>
              </a:extLst>
            </p:cNvPr>
            <p:cNvSpPr/>
            <p:nvPr/>
          </p:nvSpPr>
          <p:spPr>
            <a:xfrm>
              <a:off x="10607916" y="3728062"/>
              <a:ext cx="12224" cy="12259"/>
            </a:xfrm>
            <a:custGeom>
              <a:avLst/>
              <a:gdLst>
                <a:gd name="connsiteX0" fmla="*/ 0 w 12224"/>
                <a:gd name="connsiteY0" fmla="*/ 0 h 12259"/>
                <a:gd name="connsiteX1" fmla="*/ 12224 w 12224"/>
                <a:gd name="connsiteY1" fmla="*/ 12260 h 122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224" h="12259">
                  <a:moveTo>
                    <a:pt x="0" y="0"/>
                  </a:moveTo>
                  <a:lnTo>
                    <a:pt x="12224" y="1226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86" name="Forma livre: Forma 2185">
              <a:extLst>
                <a:ext uri="{FF2B5EF4-FFF2-40B4-BE49-F238E27FC236}">
                  <a16:creationId xmlns:a16="http://schemas.microsoft.com/office/drawing/2014/main" id="{DF3F7055-0FCD-9F0F-5CCD-FFADC9A9AFEF}"/>
                </a:ext>
              </a:extLst>
            </p:cNvPr>
            <p:cNvSpPr/>
            <p:nvPr/>
          </p:nvSpPr>
          <p:spPr>
            <a:xfrm>
              <a:off x="10615948" y="3708798"/>
              <a:ext cx="17315" cy="11"/>
            </a:xfrm>
            <a:custGeom>
              <a:avLst/>
              <a:gdLst>
                <a:gd name="connsiteX0" fmla="*/ 0 w 17315"/>
                <a:gd name="connsiteY0" fmla="*/ 0 h 11"/>
                <a:gd name="connsiteX1" fmla="*/ 17315 w 17315"/>
                <a:gd name="connsiteY1" fmla="*/ 12 h 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7315" h="11">
                  <a:moveTo>
                    <a:pt x="0" y="0"/>
                  </a:moveTo>
                  <a:lnTo>
                    <a:pt x="17315" y="12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87" name="Forma livre: Forma 2186">
              <a:extLst>
                <a:ext uri="{FF2B5EF4-FFF2-40B4-BE49-F238E27FC236}">
                  <a16:creationId xmlns:a16="http://schemas.microsoft.com/office/drawing/2014/main" id="{CE8E3A40-05C7-7828-F0A2-8D9CCDFEF66B}"/>
                </a:ext>
              </a:extLst>
            </p:cNvPr>
            <p:cNvSpPr/>
            <p:nvPr/>
          </p:nvSpPr>
          <p:spPr>
            <a:xfrm>
              <a:off x="10558215" y="3678384"/>
              <a:ext cx="12248" cy="12224"/>
            </a:xfrm>
            <a:custGeom>
              <a:avLst/>
              <a:gdLst>
                <a:gd name="connsiteX0" fmla="*/ 12248 w 12248"/>
                <a:gd name="connsiteY0" fmla="*/ 12224 h 12224"/>
                <a:gd name="connsiteX1" fmla="*/ 0 w 12248"/>
                <a:gd name="connsiteY1" fmla="*/ 0 h 122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248" h="12224">
                  <a:moveTo>
                    <a:pt x="12248" y="12224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88" name="Forma livre: Forma 2187">
              <a:extLst>
                <a:ext uri="{FF2B5EF4-FFF2-40B4-BE49-F238E27FC236}">
                  <a16:creationId xmlns:a16="http://schemas.microsoft.com/office/drawing/2014/main" id="{E92C6588-2EB2-875E-6D7E-9B0700F7EFA3}"/>
                </a:ext>
              </a:extLst>
            </p:cNvPr>
            <p:cNvSpPr/>
            <p:nvPr/>
          </p:nvSpPr>
          <p:spPr>
            <a:xfrm>
              <a:off x="10589727" y="3665274"/>
              <a:ext cx="1181" cy="17315"/>
            </a:xfrm>
            <a:custGeom>
              <a:avLst/>
              <a:gdLst>
                <a:gd name="connsiteX0" fmla="*/ 0 w 1181"/>
                <a:gd name="connsiteY0" fmla="*/ 17315 h 17315"/>
                <a:gd name="connsiteX1" fmla="*/ 0 w 1181"/>
                <a:gd name="connsiteY1" fmla="*/ 0 h 173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81" h="17315">
                  <a:moveTo>
                    <a:pt x="0" y="17315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2189" name="Gráfico 19">
            <a:extLst>
              <a:ext uri="{FF2B5EF4-FFF2-40B4-BE49-F238E27FC236}">
                <a16:creationId xmlns:a16="http://schemas.microsoft.com/office/drawing/2014/main" id="{948C5F6C-1AF9-20D2-7301-6C808186CAF7}"/>
              </a:ext>
            </a:extLst>
          </p:cNvPr>
          <p:cNvGrpSpPr/>
          <p:nvPr/>
        </p:nvGrpSpPr>
        <p:grpSpPr>
          <a:xfrm>
            <a:off x="9747186" y="3672597"/>
            <a:ext cx="285107" cy="300603"/>
            <a:chOff x="9747186" y="3672597"/>
            <a:chExt cx="285107" cy="300603"/>
          </a:xfrm>
          <a:noFill/>
        </p:grpSpPr>
        <p:sp>
          <p:nvSpPr>
            <p:cNvPr id="2190" name="Forma livre: Forma 2189">
              <a:extLst>
                <a:ext uri="{FF2B5EF4-FFF2-40B4-BE49-F238E27FC236}">
                  <a16:creationId xmlns:a16="http://schemas.microsoft.com/office/drawing/2014/main" id="{DE761682-C993-CCA3-9078-6A4614003476}"/>
                </a:ext>
              </a:extLst>
            </p:cNvPr>
            <p:cNvSpPr/>
            <p:nvPr/>
          </p:nvSpPr>
          <p:spPr>
            <a:xfrm>
              <a:off x="9806087" y="3786928"/>
              <a:ext cx="167279" cy="164161"/>
            </a:xfrm>
            <a:custGeom>
              <a:avLst/>
              <a:gdLst>
                <a:gd name="connsiteX0" fmla="*/ 157890 w 167279"/>
                <a:gd name="connsiteY0" fmla="*/ 0 h 164161"/>
                <a:gd name="connsiteX1" fmla="*/ 83646 w 167279"/>
                <a:gd name="connsiteY1" fmla="*/ 8929 h 164161"/>
                <a:gd name="connsiteX2" fmla="*/ 9402 w 167279"/>
                <a:gd name="connsiteY2" fmla="*/ 12 h 164161"/>
                <a:gd name="connsiteX3" fmla="*/ 0 w 167279"/>
                <a:gd name="connsiteY3" fmla="*/ 52406 h 164161"/>
                <a:gd name="connsiteX4" fmla="*/ 37748 w 167279"/>
                <a:gd name="connsiteY4" fmla="*/ 148016 h 164161"/>
                <a:gd name="connsiteX5" fmla="*/ 83634 w 167279"/>
                <a:gd name="connsiteY5" fmla="*/ 164162 h 164161"/>
                <a:gd name="connsiteX6" fmla="*/ 129520 w 167279"/>
                <a:gd name="connsiteY6" fmla="*/ 148052 h 164161"/>
                <a:gd name="connsiteX7" fmla="*/ 167280 w 167279"/>
                <a:gd name="connsiteY7" fmla="*/ 52417 h 164161"/>
                <a:gd name="connsiteX8" fmla="*/ 157878 w 167279"/>
                <a:gd name="connsiteY8" fmla="*/ 12 h 1641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67279" h="164161">
                  <a:moveTo>
                    <a:pt x="157890" y="0"/>
                  </a:moveTo>
                  <a:cubicBezTo>
                    <a:pt x="157890" y="0"/>
                    <a:pt x="126579" y="8941"/>
                    <a:pt x="83646" y="8929"/>
                  </a:cubicBezTo>
                  <a:cubicBezTo>
                    <a:pt x="40725" y="8941"/>
                    <a:pt x="9402" y="12"/>
                    <a:pt x="9402" y="12"/>
                  </a:cubicBezTo>
                  <a:cubicBezTo>
                    <a:pt x="3437" y="15732"/>
                    <a:pt x="0" y="33496"/>
                    <a:pt x="0" y="52406"/>
                  </a:cubicBezTo>
                  <a:cubicBezTo>
                    <a:pt x="0" y="91418"/>
                    <a:pt x="20209" y="131622"/>
                    <a:pt x="37748" y="148016"/>
                  </a:cubicBezTo>
                  <a:cubicBezTo>
                    <a:pt x="51732" y="161103"/>
                    <a:pt x="67193" y="164150"/>
                    <a:pt x="83634" y="164162"/>
                  </a:cubicBezTo>
                  <a:cubicBezTo>
                    <a:pt x="100051" y="164162"/>
                    <a:pt x="115536" y="161115"/>
                    <a:pt x="129520" y="148052"/>
                  </a:cubicBezTo>
                  <a:cubicBezTo>
                    <a:pt x="147071" y="131634"/>
                    <a:pt x="167268" y="91441"/>
                    <a:pt x="167280" y="52417"/>
                  </a:cubicBezTo>
                  <a:cubicBezTo>
                    <a:pt x="167268" y="33496"/>
                    <a:pt x="163843" y="15732"/>
                    <a:pt x="157878" y="12"/>
                  </a:cubicBez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2191" name="Gráfico 19">
              <a:extLst>
                <a:ext uri="{FF2B5EF4-FFF2-40B4-BE49-F238E27FC236}">
                  <a16:creationId xmlns:a16="http://schemas.microsoft.com/office/drawing/2014/main" id="{C8FB2C94-0CFF-86F1-5BF3-C7DF81AA9389}"/>
                </a:ext>
              </a:extLst>
            </p:cNvPr>
            <p:cNvGrpSpPr/>
            <p:nvPr/>
          </p:nvGrpSpPr>
          <p:grpSpPr>
            <a:xfrm>
              <a:off x="9827843" y="3672597"/>
              <a:ext cx="123791" cy="56149"/>
              <a:chOff x="9827843" y="3672597"/>
              <a:chExt cx="123791" cy="56149"/>
            </a:xfrm>
            <a:noFill/>
          </p:grpSpPr>
          <p:sp>
            <p:nvSpPr>
              <p:cNvPr id="2192" name="Forma livre: Forma 2191">
                <a:extLst>
                  <a:ext uri="{FF2B5EF4-FFF2-40B4-BE49-F238E27FC236}">
                    <a16:creationId xmlns:a16="http://schemas.microsoft.com/office/drawing/2014/main" id="{9490BEC2-0182-787C-9424-05A263E4AFDF}"/>
                  </a:ext>
                </a:extLst>
              </p:cNvPr>
              <p:cNvSpPr/>
              <p:nvPr/>
            </p:nvSpPr>
            <p:spPr>
              <a:xfrm>
                <a:off x="9827843" y="3672597"/>
                <a:ext cx="27271" cy="56149"/>
              </a:xfrm>
              <a:custGeom>
                <a:avLst/>
                <a:gdLst>
                  <a:gd name="connsiteX0" fmla="*/ 0 w 27271"/>
                  <a:gd name="connsiteY0" fmla="*/ 0 h 56149"/>
                  <a:gd name="connsiteX1" fmla="*/ 27272 w 27271"/>
                  <a:gd name="connsiteY1" fmla="*/ 56150 h 561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7271" h="56149">
                    <a:moveTo>
                      <a:pt x="0" y="0"/>
                    </a:moveTo>
                    <a:cubicBezTo>
                      <a:pt x="0" y="23669"/>
                      <a:pt x="9791" y="41173"/>
                      <a:pt x="27272" y="56150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193" name="Forma livre: Forma 2192">
                <a:extLst>
                  <a:ext uri="{FF2B5EF4-FFF2-40B4-BE49-F238E27FC236}">
                    <a16:creationId xmlns:a16="http://schemas.microsoft.com/office/drawing/2014/main" id="{30CB4446-A001-881D-D134-45FDA42ED915}"/>
                  </a:ext>
                </a:extLst>
              </p:cNvPr>
              <p:cNvSpPr/>
              <p:nvPr/>
            </p:nvSpPr>
            <p:spPr>
              <a:xfrm>
                <a:off x="9924363" y="3672597"/>
                <a:ext cx="27271" cy="56149"/>
              </a:xfrm>
              <a:custGeom>
                <a:avLst/>
                <a:gdLst>
                  <a:gd name="connsiteX0" fmla="*/ 27272 w 27271"/>
                  <a:gd name="connsiteY0" fmla="*/ 0 h 56149"/>
                  <a:gd name="connsiteX1" fmla="*/ 0 w 27271"/>
                  <a:gd name="connsiteY1" fmla="*/ 56150 h 561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7271" h="56149">
                    <a:moveTo>
                      <a:pt x="27272" y="0"/>
                    </a:moveTo>
                    <a:cubicBezTo>
                      <a:pt x="27272" y="23669"/>
                      <a:pt x="17492" y="41173"/>
                      <a:pt x="0" y="56150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2194" name="Forma livre: Forma 2193">
              <a:extLst>
                <a:ext uri="{FF2B5EF4-FFF2-40B4-BE49-F238E27FC236}">
                  <a16:creationId xmlns:a16="http://schemas.microsoft.com/office/drawing/2014/main" id="{FE80F485-DB37-8E3B-C5DE-952D80FE4E0C}"/>
                </a:ext>
              </a:extLst>
            </p:cNvPr>
            <p:cNvSpPr/>
            <p:nvPr/>
          </p:nvSpPr>
          <p:spPr>
            <a:xfrm>
              <a:off x="9823402" y="3722380"/>
              <a:ext cx="132673" cy="44303"/>
            </a:xfrm>
            <a:custGeom>
              <a:avLst/>
              <a:gdLst>
                <a:gd name="connsiteX0" fmla="*/ 132674 w 132673"/>
                <a:gd name="connsiteY0" fmla="*/ 44280 h 44303"/>
                <a:gd name="connsiteX1" fmla="*/ 75047 w 132673"/>
                <a:gd name="connsiteY1" fmla="*/ 24 h 44303"/>
                <a:gd name="connsiteX2" fmla="*/ 57603 w 132673"/>
                <a:gd name="connsiteY2" fmla="*/ 0 h 44303"/>
                <a:gd name="connsiteX3" fmla="*/ 0 w 132673"/>
                <a:gd name="connsiteY3" fmla="*/ 44303 h 443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2673" h="44303">
                  <a:moveTo>
                    <a:pt x="132674" y="44280"/>
                  </a:moveTo>
                  <a:cubicBezTo>
                    <a:pt x="123697" y="21591"/>
                    <a:pt x="101209" y="12"/>
                    <a:pt x="75047" y="24"/>
                  </a:cubicBezTo>
                  <a:lnTo>
                    <a:pt x="57603" y="0"/>
                  </a:lnTo>
                  <a:cubicBezTo>
                    <a:pt x="31465" y="24"/>
                    <a:pt x="8965" y="21602"/>
                    <a:pt x="0" y="44303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95" name="Forma livre: Forma 2194">
              <a:extLst>
                <a:ext uri="{FF2B5EF4-FFF2-40B4-BE49-F238E27FC236}">
                  <a16:creationId xmlns:a16="http://schemas.microsoft.com/office/drawing/2014/main" id="{D80A9DF8-A934-4355-3665-BEACCA096C1A}"/>
                </a:ext>
              </a:extLst>
            </p:cNvPr>
            <p:cNvSpPr/>
            <p:nvPr/>
          </p:nvSpPr>
          <p:spPr>
            <a:xfrm>
              <a:off x="9889733" y="3798030"/>
              <a:ext cx="11" cy="150390"/>
            </a:xfrm>
            <a:custGeom>
              <a:avLst/>
              <a:gdLst>
                <a:gd name="connsiteX0" fmla="*/ 12 w 11"/>
                <a:gd name="connsiteY0" fmla="*/ 0 h 150390"/>
                <a:gd name="connsiteX1" fmla="*/ 0 w 11"/>
                <a:gd name="connsiteY1" fmla="*/ 150390 h 1503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" h="150390">
                  <a:moveTo>
                    <a:pt x="12" y="0"/>
                  </a:moveTo>
                  <a:lnTo>
                    <a:pt x="0" y="15039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2196" name="Gráfico 19">
              <a:extLst>
                <a:ext uri="{FF2B5EF4-FFF2-40B4-BE49-F238E27FC236}">
                  <a16:creationId xmlns:a16="http://schemas.microsoft.com/office/drawing/2014/main" id="{8D7992A1-9115-7E31-DFA9-1A8286225E14}"/>
                </a:ext>
              </a:extLst>
            </p:cNvPr>
            <p:cNvGrpSpPr/>
            <p:nvPr/>
          </p:nvGrpSpPr>
          <p:grpSpPr>
            <a:xfrm>
              <a:off x="9848383" y="3795113"/>
              <a:ext cx="82712" cy="152953"/>
              <a:chOff x="9848383" y="3795113"/>
              <a:chExt cx="82712" cy="152953"/>
            </a:xfrm>
            <a:noFill/>
          </p:grpSpPr>
          <p:sp>
            <p:nvSpPr>
              <p:cNvPr id="2197" name="Forma livre: Forma 2196">
                <a:extLst>
                  <a:ext uri="{FF2B5EF4-FFF2-40B4-BE49-F238E27FC236}">
                    <a16:creationId xmlns:a16="http://schemas.microsoft.com/office/drawing/2014/main" id="{7E2C1B9C-3A11-DE19-6873-727C03C4CB2E}"/>
                  </a:ext>
                </a:extLst>
              </p:cNvPr>
              <p:cNvSpPr/>
              <p:nvPr/>
            </p:nvSpPr>
            <p:spPr>
              <a:xfrm>
                <a:off x="9908525" y="3795113"/>
                <a:ext cx="22570" cy="152953"/>
              </a:xfrm>
              <a:custGeom>
                <a:avLst/>
                <a:gdLst>
                  <a:gd name="connsiteX0" fmla="*/ 20787 w 22570"/>
                  <a:gd name="connsiteY0" fmla="*/ 0 h 152953"/>
                  <a:gd name="connsiteX1" fmla="*/ 0 w 22570"/>
                  <a:gd name="connsiteY1" fmla="*/ 152953 h 1529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2570" h="152953">
                    <a:moveTo>
                      <a:pt x="20787" y="0"/>
                    </a:moveTo>
                    <a:cubicBezTo>
                      <a:pt x="20787" y="0"/>
                      <a:pt x="31595" y="84685"/>
                      <a:pt x="0" y="152953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2198" name="Gráfico 19">
                <a:extLst>
                  <a:ext uri="{FF2B5EF4-FFF2-40B4-BE49-F238E27FC236}">
                    <a16:creationId xmlns:a16="http://schemas.microsoft.com/office/drawing/2014/main" id="{73D410A1-4A1D-021F-0085-7888D363F482}"/>
                  </a:ext>
                </a:extLst>
              </p:cNvPr>
              <p:cNvGrpSpPr/>
              <p:nvPr/>
            </p:nvGrpSpPr>
            <p:grpSpPr>
              <a:xfrm>
                <a:off x="9848383" y="3795113"/>
                <a:ext cx="22571" cy="152941"/>
                <a:chOff x="9848383" y="3795113"/>
                <a:chExt cx="22571" cy="152941"/>
              </a:xfrm>
              <a:noFill/>
            </p:grpSpPr>
            <p:sp>
              <p:nvSpPr>
                <p:cNvPr id="2199" name="Forma livre: Forma 2198">
                  <a:extLst>
                    <a:ext uri="{FF2B5EF4-FFF2-40B4-BE49-F238E27FC236}">
                      <a16:creationId xmlns:a16="http://schemas.microsoft.com/office/drawing/2014/main" id="{619FC686-1850-77E6-4980-B2CB1B373089}"/>
                    </a:ext>
                  </a:extLst>
                </p:cNvPr>
                <p:cNvSpPr/>
                <p:nvPr/>
              </p:nvSpPr>
              <p:spPr>
                <a:xfrm>
                  <a:off x="9850497" y="3869676"/>
                  <a:ext cx="20456" cy="78378"/>
                </a:xfrm>
                <a:custGeom>
                  <a:avLst/>
                  <a:gdLst>
                    <a:gd name="connsiteX0" fmla="*/ 0 w 20456"/>
                    <a:gd name="connsiteY0" fmla="*/ 0 h 78378"/>
                    <a:gd name="connsiteX1" fmla="*/ 20457 w 20456"/>
                    <a:gd name="connsiteY1" fmla="*/ 78378 h 783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0456" h="78378">
                      <a:moveTo>
                        <a:pt x="0" y="0"/>
                      </a:moveTo>
                      <a:cubicBezTo>
                        <a:pt x="2728" y="24886"/>
                        <a:pt x="8610" y="52784"/>
                        <a:pt x="20457" y="78378"/>
                      </a:cubicBez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200" name="Forma livre: Forma 2199">
                  <a:extLst>
                    <a:ext uri="{FF2B5EF4-FFF2-40B4-BE49-F238E27FC236}">
                      <a16:creationId xmlns:a16="http://schemas.microsoft.com/office/drawing/2014/main" id="{8A1CACA1-4FBF-D048-C3AE-20554DD4448A}"/>
                    </a:ext>
                  </a:extLst>
                </p:cNvPr>
                <p:cNvSpPr/>
                <p:nvPr/>
              </p:nvSpPr>
              <p:spPr>
                <a:xfrm>
                  <a:off x="9848383" y="3795113"/>
                  <a:ext cx="1783" cy="40393"/>
                </a:xfrm>
                <a:custGeom>
                  <a:avLst/>
                  <a:gdLst>
                    <a:gd name="connsiteX0" fmla="*/ 1784 w 1783"/>
                    <a:gd name="connsiteY0" fmla="*/ 0 h 40393"/>
                    <a:gd name="connsiteX1" fmla="*/ 36 w 1783"/>
                    <a:gd name="connsiteY1" fmla="*/ 40394 h 4039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783" h="40393">
                      <a:moveTo>
                        <a:pt x="1784" y="0"/>
                      </a:moveTo>
                      <a:cubicBezTo>
                        <a:pt x="1784" y="0"/>
                        <a:pt x="-295" y="16299"/>
                        <a:pt x="36" y="40394"/>
                      </a:cubicBez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grpSp>
          <p:nvGrpSpPr>
            <p:cNvPr id="2201" name="Gráfico 19">
              <a:extLst>
                <a:ext uri="{FF2B5EF4-FFF2-40B4-BE49-F238E27FC236}">
                  <a16:creationId xmlns:a16="http://schemas.microsoft.com/office/drawing/2014/main" id="{DC2F512C-0252-5CF2-C208-DC39B95E28EE}"/>
                </a:ext>
              </a:extLst>
            </p:cNvPr>
            <p:cNvGrpSpPr/>
            <p:nvPr/>
          </p:nvGrpSpPr>
          <p:grpSpPr>
            <a:xfrm>
              <a:off x="9747186" y="3802495"/>
              <a:ext cx="285107" cy="34193"/>
              <a:chOff x="9747186" y="3802495"/>
              <a:chExt cx="285107" cy="34193"/>
            </a:xfrm>
            <a:noFill/>
          </p:grpSpPr>
          <p:sp>
            <p:nvSpPr>
              <p:cNvPr id="2202" name="Forma livre: Forma 2201">
                <a:extLst>
                  <a:ext uri="{FF2B5EF4-FFF2-40B4-BE49-F238E27FC236}">
                    <a16:creationId xmlns:a16="http://schemas.microsoft.com/office/drawing/2014/main" id="{A152E433-8580-CF97-F695-E8F4F66196CE}"/>
                  </a:ext>
                </a:extLst>
              </p:cNvPr>
              <p:cNvSpPr/>
              <p:nvPr/>
            </p:nvSpPr>
            <p:spPr>
              <a:xfrm>
                <a:off x="9747186" y="3802495"/>
                <a:ext cx="59197" cy="34193"/>
              </a:xfrm>
              <a:custGeom>
                <a:avLst/>
                <a:gdLst>
                  <a:gd name="connsiteX0" fmla="*/ 59197 w 59197"/>
                  <a:gd name="connsiteY0" fmla="*/ 13181 h 34193"/>
                  <a:gd name="connsiteX1" fmla="*/ 31866 w 59197"/>
                  <a:gd name="connsiteY1" fmla="*/ 0 h 34193"/>
                  <a:gd name="connsiteX2" fmla="*/ 0 w 59197"/>
                  <a:gd name="connsiteY2" fmla="*/ 34193 h 341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59197" h="34193">
                    <a:moveTo>
                      <a:pt x="59197" y="13181"/>
                    </a:moveTo>
                    <a:lnTo>
                      <a:pt x="31866" y="0"/>
                    </a:lnTo>
                    <a:lnTo>
                      <a:pt x="0" y="34193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203" name="Forma livre: Forma 2202">
                <a:extLst>
                  <a:ext uri="{FF2B5EF4-FFF2-40B4-BE49-F238E27FC236}">
                    <a16:creationId xmlns:a16="http://schemas.microsoft.com/office/drawing/2014/main" id="{B975992B-1929-57EF-F2E8-2F6A1BDF4E28}"/>
                  </a:ext>
                </a:extLst>
              </p:cNvPr>
              <p:cNvSpPr/>
              <p:nvPr/>
            </p:nvSpPr>
            <p:spPr>
              <a:xfrm>
                <a:off x="9973096" y="3802495"/>
                <a:ext cx="59197" cy="34193"/>
              </a:xfrm>
              <a:custGeom>
                <a:avLst/>
                <a:gdLst>
                  <a:gd name="connsiteX0" fmla="*/ 0 w 59197"/>
                  <a:gd name="connsiteY0" fmla="*/ 13181 h 34193"/>
                  <a:gd name="connsiteX1" fmla="*/ 27343 w 59197"/>
                  <a:gd name="connsiteY1" fmla="*/ 0 h 34193"/>
                  <a:gd name="connsiteX2" fmla="*/ 59197 w 59197"/>
                  <a:gd name="connsiteY2" fmla="*/ 34193 h 341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59197" h="34193">
                    <a:moveTo>
                      <a:pt x="0" y="13181"/>
                    </a:moveTo>
                    <a:lnTo>
                      <a:pt x="27343" y="0"/>
                    </a:lnTo>
                    <a:lnTo>
                      <a:pt x="59197" y="34193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2204" name="Gráfico 19">
              <a:extLst>
                <a:ext uri="{FF2B5EF4-FFF2-40B4-BE49-F238E27FC236}">
                  <a16:creationId xmlns:a16="http://schemas.microsoft.com/office/drawing/2014/main" id="{A2F7A758-5A97-45A9-24D6-BEC27A8BEC76}"/>
                </a:ext>
              </a:extLst>
            </p:cNvPr>
            <p:cNvGrpSpPr/>
            <p:nvPr/>
          </p:nvGrpSpPr>
          <p:grpSpPr>
            <a:xfrm>
              <a:off x="9749253" y="3855503"/>
              <a:ext cx="280985" cy="42023"/>
              <a:chOff x="9749253" y="3855503"/>
              <a:chExt cx="280985" cy="42023"/>
            </a:xfrm>
            <a:noFill/>
          </p:grpSpPr>
          <p:sp>
            <p:nvSpPr>
              <p:cNvPr id="2205" name="Forma livre: Forma 2204">
                <a:extLst>
                  <a:ext uri="{FF2B5EF4-FFF2-40B4-BE49-F238E27FC236}">
                    <a16:creationId xmlns:a16="http://schemas.microsoft.com/office/drawing/2014/main" id="{2316D21D-6F5E-CE6F-630D-FDDCDFE0C44B}"/>
                  </a:ext>
                </a:extLst>
              </p:cNvPr>
              <p:cNvSpPr/>
              <p:nvPr/>
            </p:nvSpPr>
            <p:spPr>
              <a:xfrm>
                <a:off x="9749253" y="3855503"/>
                <a:ext cx="54248" cy="42023"/>
              </a:xfrm>
              <a:custGeom>
                <a:avLst/>
                <a:gdLst>
                  <a:gd name="connsiteX0" fmla="*/ 54248 w 54248"/>
                  <a:gd name="connsiteY0" fmla="*/ 0 h 42023"/>
                  <a:gd name="connsiteX1" fmla="*/ 24307 w 54248"/>
                  <a:gd name="connsiteY1" fmla="*/ 0 h 42023"/>
                  <a:gd name="connsiteX2" fmla="*/ 0 w 54248"/>
                  <a:gd name="connsiteY2" fmla="*/ 42024 h 420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54248" h="42023">
                    <a:moveTo>
                      <a:pt x="54248" y="0"/>
                    </a:moveTo>
                    <a:lnTo>
                      <a:pt x="24307" y="0"/>
                    </a:lnTo>
                    <a:lnTo>
                      <a:pt x="0" y="42024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206" name="Forma livre: Forma 2205">
                <a:extLst>
                  <a:ext uri="{FF2B5EF4-FFF2-40B4-BE49-F238E27FC236}">
                    <a16:creationId xmlns:a16="http://schemas.microsoft.com/office/drawing/2014/main" id="{6A9465B8-8016-7578-86C7-E8415FCC6D57}"/>
                  </a:ext>
                </a:extLst>
              </p:cNvPr>
              <p:cNvSpPr/>
              <p:nvPr/>
            </p:nvSpPr>
            <p:spPr>
              <a:xfrm>
                <a:off x="9975978" y="3855503"/>
                <a:ext cx="54259" cy="42023"/>
              </a:xfrm>
              <a:custGeom>
                <a:avLst/>
                <a:gdLst>
                  <a:gd name="connsiteX0" fmla="*/ 0 w 54259"/>
                  <a:gd name="connsiteY0" fmla="*/ 0 h 42023"/>
                  <a:gd name="connsiteX1" fmla="*/ 29953 w 54259"/>
                  <a:gd name="connsiteY1" fmla="*/ 0 h 42023"/>
                  <a:gd name="connsiteX2" fmla="*/ 54260 w 54259"/>
                  <a:gd name="connsiteY2" fmla="*/ 42024 h 420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54259" h="42023">
                    <a:moveTo>
                      <a:pt x="0" y="0"/>
                    </a:moveTo>
                    <a:lnTo>
                      <a:pt x="29953" y="0"/>
                    </a:lnTo>
                    <a:lnTo>
                      <a:pt x="54260" y="42024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2207" name="Gráfico 19">
              <a:extLst>
                <a:ext uri="{FF2B5EF4-FFF2-40B4-BE49-F238E27FC236}">
                  <a16:creationId xmlns:a16="http://schemas.microsoft.com/office/drawing/2014/main" id="{370B1364-5F51-60B6-9053-4A1B30BB975C}"/>
                </a:ext>
              </a:extLst>
            </p:cNvPr>
            <p:cNvGrpSpPr/>
            <p:nvPr/>
          </p:nvGrpSpPr>
          <p:grpSpPr>
            <a:xfrm>
              <a:off x="9781662" y="3899452"/>
              <a:ext cx="216165" cy="73748"/>
              <a:chOff x="9781662" y="3899452"/>
              <a:chExt cx="216165" cy="73748"/>
            </a:xfrm>
            <a:noFill/>
          </p:grpSpPr>
          <p:sp>
            <p:nvSpPr>
              <p:cNvPr id="2208" name="Forma livre: Forma 2207">
                <a:extLst>
                  <a:ext uri="{FF2B5EF4-FFF2-40B4-BE49-F238E27FC236}">
                    <a16:creationId xmlns:a16="http://schemas.microsoft.com/office/drawing/2014/main" id="{E7F9E657-02FD-EF2B-064A-9215C187868A}"/>
                  </a:ext>
                </a:extLst>
              </p:cNvPr>
              <p:cNvSpPr/>
              <p:nvPr/>
            </p:nvSpPr>
            <p:spPr>
              <a:xfrm>
                <a:off x="9781662" y="3899452"/>
                <a:ext cx="36389" cy="73748"/>
              </a:xfrm>
              <a:custGeom>
                <a:avLst/>
                <a:gdLst>
                  <a:gd name="connsiteX0" fmla="*/ 36390 w 36389"/>
                  <a:gd name="connsiteY0" fmla="*/ 0 h 73748"/>
                  <a:gd name="connsiteX1" fmla="*/ 11398 w 36389"/>
                  <a:gd name="connsiteY1" fmla="*/ 0 h 73748"/>
                  <a:gd name="connsiteX2" fmla="*/ 0 w 36389"/>
                  <a:gd name="connsiteY2" fmla="*/ 73748 h 737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6389" h="73748">
                    <a:moveTo>
                      <a:pt x="36390" y="0"/>
                    </a:moveTo>
                    <a:lnTo>
                      <a:pt x="11398" y="0"/>
                    </a:lnTo>
                    <a:lnTo>
                      <a:pt x="0" y="73748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209" name="Forma livre: Forma 2208">
                <a:extLst>
                  <a:ext uri="{FF2B5EF4-FFF2-40B4-BE49-F238E27FC236}">
                    <a16:creationId xmlns:a16="http://schemas.microsoft.com/office/drawing/2014/main" id="{D686C102-769F-6D97-3596-286FE3DACDC6}"/>
                  </a:ext>
                </a:extLst>
              </p:cNvPr>
              <p:cNvSpPr/>
              <p:nvPr/>
            </p:nvSpPr>
            <p:spPr>
              <a:xfrm>
                <a:off x="9961426" y="3899452"/>
                <a:ext cx="36401" cy="73748"/>
              </a:xfrm>
              <a:custGeom>
                <a:avLst/>
                <a:gdLst>
                  <a:gd name="connsiteX0" fmla="*/ 0 w 36401"/>
                  <a:gd name="connsiteY0" fmla="*/ 0 h 73748"/>
                  <a:gd name="connsiteX1" fmla="*/ 24992 w 36401"/>
                  <a:gd name="connsiteY1" fmla="*/ 0 h 73748"/>
                  <a:gd name="connsiteX2" fmla="*/ 36402 w 36401"/>
                  <a:gd name="connsiteY2" fmla="*/ 73748 h 737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6401" h="73748">
                    <a:moveTo>
                      <a:pt x="0" y="0"/>
                    </a:moveTo>
                    <a:lnTo>
                      <a:pt x="24992" y="0"/>
                    </a:lnTo>
                    <a:lnTo>
                      <a:pt x="36402" y="73748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2210" name="Gráfico 19">
            <a:extLst>
              <a:ext uri="{FF2B5EF4-FFF2-40B4-BE49-F238E27FC236}">
                <a16:creationId xmlns:a16="http://schemas.microsoft.com/office/drawing/2014/main" id="{78B04CB1-DF7B-16C2-B89C-D54D63B49727}"/>
              </a:ext>
            </a:extLst>
          </p:cNvPr>
          <p:cNvGrpSpPr/>
          <p:nvPr/>
        </p:nvGrpSpPr>
        <p:grpSpPr>
          <a:xfrm>
            <a:off x="11006232" y="3677227"/>
            <a:ext cx="228970" cy="291355"/>
            <a:chOff x="11006232" y="3677227"/>
            <a:chExt cx="228970" cy="291355"/>
          </a:xfrm>
          <a:noFill/>
        </p:grpSpPr>
        <p:sp>
          <p:nvSpPr>
            <p:cNvPr id="2211" name="Forma livre: Forma 2210">
              <a:extLst>
                <a:ext uri="{FF2B5EF4-FFF2-40B4-BE49-F238E27FC236}">
                  <a16:creationId xmlns:a16="http://schemas.microsoft.com/office/drawing/2014/main" id="{7481643A-C6CE-CC60-3865-7567ACDC0E98}"/>
                </a:ext>
              </a:extLst>
            </p:cNvPr>
            <p:cNvSpPr/>
            <p:nvPr/>
          </p:nvSpPr>
          <p:spPr>
            <a:xfrm>
              <a:off x="11006232" y="3677227"/>
              <a:ext cx="228970" cy="291355"/>
            </a:xfrm>
            <a:custGeom>
              <a:avLst/>
              <a:gdLst>
                <a:gd name="connsiteX0" fmla="*/ 97383 w 228970"/>
                <a:gd name="connsiteY0" fmla="*/ 21071 h 291355"/>
                <a:gd name="connsiteX1" fmla="*/ 95 w 228970"/>
                <a:gd name="connsiteY1" fmla="*/ 49477 h 291355"/>
                <a:gd name="connsiteX2" fmla="*/ 95 w 228970"/>
                <a:gd name="connsiteY2" fmla="*/ 174024 h 291355"/>
                <a:gd name="connsiteX3" fmla="*/ 114485 w 228970"/>
                <a:gd name="connsiteY3" fmla="*/ 291355 h 291355"/>
                <a:gd name="connsiteX4" fmla="*/ 228875 w 228970"/>
                <a:gd name="connsiteY4" fmla="*/ 174024 h 291355"/>
                <a:gd name="connsiteX5" fmla="*/ 228875 w 228970"/>
                <a:gd name="connsiteY5" fmla="*/ 49477 h 291355"/>
                <a:gd name="connsiteX6" fmla="*/ 114485 w 228970"/>
                <a:gd name="connsiteY6" fmla="*/ 0 h 2913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28970" h="291355">
                  <a:moveTo>
                    <a:pt x="97383" y="21071"/>
                  </a:moveTo>
                  <a:cubicBezTo>
                    <a:pt x="81426" y="34536"/>
                    <a:pt x="52040" y="49477"/>
                    <a:pt x="95" y="49477"/>
                  </a:cubicBezTo>
                  <a:lnTo>
                    <a:pt x="95" y="174024"/>
                  </a:lnTo>
                  <a:cubicBezTo>
                    <a:pt x="95" y="174024"/>
                    <a:pt x="-7559" y="233871"/>
                    <a:pt x="114485" y="291355"/>
                  </a:cubicBezTo>
                  <a:cubicBezTo>
                    <a:pt x="236541" y="233871"/>
                    <a:pt x="228875" y="174024"/>
                    <a:pt x="228875" y="174024"/>
                  </a:cubicBezTo>
                  <a:lnTo>
                    <a:pt x="228875" y="49477"/>
                  </a:lnTo>
                  <a:cubicBezTo>
                    <a:pt x="134387" y="49477"/>
                    <a:pt x="114485" y="0"/>
                    <a:pt x="114485" y="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212" name="Forma livre: Forma 2211">
              <a:extLst>
                <a:ext uri="{FF2B5EF4-FFF2-40B4-BE49-F238E27FC236}">
                  <a16:creationId xmlns:a16="http://schemas.microsoft.com/office/drawing/2014/main" id="{A6BFE137-54B8-8F2A-516B-38F899B002A5}"/>
                </a:ext>
              </a:extLst>
            </p:cNvPr>
            <p:cNvSpPr/>
            <p:nvPr/>
          </p:nvSpPr>
          <p:spPr>
            <a:xfrm>
              <a:off x="11089158" y="3762196"/>
              <a:ext cx="89433" cy="84649"/>
            </a:xfrm>
            <a:custGeom>
              <a:avLst/>
              <a:gdLst>
                <a:gd name="connsiteX0" fmla="*/ 0 w 89433"/>
                <a:gd name="connsiteY0" fmla="*/ 40075 h 84649"/>
                <a:gd name="connsiteX1" fmla="*/ 32185 w 89433"/>
                <a:gd name="connsiteY1" fmla="*/ 84650 h 84649"/>
                <a:gd name="connsiteX2" fmla="*/ 89433 w 89433"/>
                <a:gd name="connsiteY2" fmla="*/ 0 h 846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89433" h="84649">
                  <a:moveTo>
                    <a:pt x="0" y="40075"/>
                  </a:moveTo>
                  <a:lnTo>
                    <a:pt x="32185" y="84650"/>
                  </a:lnTo>
                  <a:lnTo>
                    <a:pt x="89433" y="0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213" name="Forma livre: Forma 2212">
              <a:extLst>
                <a:ext uri="{FF2B5EF4-FFF2-40B4-BE49-F238E27FC236}">
                  <a16:creationId xmlns:a16="http://schemas.microsoft.com/office/drawing/2014/main" id="{D37143BC-58BF-ECBE-97A4-499BE5D284A3}"/>
                </a:ext>
              </a:extLst>
            </p:cNvPr>
            <p:cNvSpPr/>
            <p:nvPr/>
          </p:nvSpPr>
          <p:spPr>
            <a:xfrm>
              <a:off x="11052213" y="3754400"/>
              <a:ext cx="137008" cy="137008"/>
            </a:xfrm>
            <a:custGeom>
              <a:avLst/>
              <a:gdLst>
                <a:gd name="connsiteX0" fmla="*/ 130524 w 137008"/>
                <a:gd name="connsiteY0" fmla="*/ 39354 h 137008"/>
                <a:gd name="connsiteX1" fmla="*/ 137008 w 137008"/>
                <a:gd name="connsiteY1" fmla="*/ 68504 h 137008"/>
                <a:gd name="connsiteX2" fmla="*/ 68504 w 137008"/>
                <a:gd name="connsiteY2" fmla="*/ 137008 h 137008"/>
                <a:gd name="connsiteX3" fmla="*/ 0 w 137008"/>
                <a:gd name="connsiteY3" fmla="*/ 68504 h 137008"/>
                <a:gd name="connsiteX4" fmla="*/ 68504 w 137008"/>
                <a:gd name="connsiteY4" fmla="*/ 0 h 137008"/>
                <a:gd name="connsiteX5" fmla="*/ 101067 w 137008"/>
                <a:gd name="connsiteY5" fmla="*/ 8220 h 1370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37008" h="137008">
                  <a:moveTo>
                    <a:pt x="130524" y="39354"/>
                  </a:moveTo>
                  <a:cubicBezTo>
                    <a:pt x="134682" y="48201"/>
                    <a:pt x="137008" y="58075"/>
                    <a:pt x="137008" y="68504"/>
                  </a:cubicBezTo>
                  <a:cubicBezTo>
                    <a:pt x="137008" y="106335"/>
                    <a:pt x="106335" y="137008"/>
                    <a:pt x="68504" y="137008"/>
                  </a:cubicBezTo>
                  <a:cubicBezTo>
                    <a:pt x="30673" y="137008"/>
                    <a:pt x="0" y="106335"/>
                    <a:pt x="0" y="68504"/>
                  </a:cubicBezTo>
                  <a:cubicBezTo>
                    <a:pt x="0" y="30673"/>
                    <a:pt x="30673" y="0"/>
                    <a:pt x="68504" y="0"/>
                  </a:cubicBezTo>
                  <a:cubicBezTo>
                    <a:pt x="80292" y="0"/>
                    <a:pt x="91382" y="2976"/>
                    <a:pt x="101067" y="8220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2214" name="Gráfico 19">
            <a:extLst>
              <a:ext uri="{FF2B5EF4-FFF2-40B4-BE49-F238E27FC236}">
                <a16:creationId xmlns:a16="http://schemas.microsoft.com/office/drawing/2014/main" id="{21306E9B-23D1-D206-7413-692A6E6DE747}"/>
              </a:ext>
            </a:extLst>
          </p:cNvPr>
          <p:cNvGrpSpPr/>
          <p:nvPr/>
        </p:nvGrpSpPr>
        <p:grpSpPr>
          <a:xfrm>
            <a:off x="10330548" y="5855038"/>
            <a:ext cx="349368" cy="175912"/>
            <a:chOff x="10330548" y="5855038"/>
            <a:chExt cx="349368" cy="175912"/>
          </a:xfrm>
        </p:grpSpPr>
        <p:sp>
          <p:nvSpPr>
            <p:cNvPr id="2215" name="Forma livre: Forma 2214">
              <a:extLst>
                <a:ext uri="{FF2B5EF4-FFF2-40B4-BE49-F238E27FC236}">
                  <a16:creationId xmlns:a16="http://schemas.microsoft.com/office/drawing/2014/main" id="{59DEEB3B-8B82-A26E-EFEB-1F5E1C66D37D}"/>
                </a:ext>
              </a:extLst>
            </p:cNvPr>
            <p:cNvSpPr/>
            <p:nvPr/>
          </p:nvSpPr>
          <p:spPr>
            <a:xfrm>
              <a:off x="10382491" y="5959382"/>
              <a:ext cx="34216" cy="24153"/>
            </a:xfrm>
            <a:custGeom>
              <a:avLst/>
              <a:gdLst>
                <a:gd name="connsiteX0" fmla="*/ 34217 w 34216"/>
                <a:gd name="connsiteY0" fmla="*/ 0 h 24153"/>
                <a:gd name="connsiteX1" fmla="*/ 0 w 34216"/>
                <a:gd name="connsiteY1" fmla="*/ 24154 h 241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4216" h="24153">
                  <a:moveTo>
                    <a:pt x="34217" y="0"/>
                  </a:moveTo>
                  <a:cubicBezTo>
                    <a:pt x="28240" y="9768"/>
                    <a:pt x="17386" y="20150"/>
                    <a:pt x="0" y="24154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216" name="Forma livre: Forma 2215">
              <a:extLst>
                <a:ext uri="{FF2B5EF4-FFF2-40B4-BE49-F238E27FC236}">
                  <a16:creationId xmlns:a16="http://schemas.microsoft.com/office/drawing/2014/main" id="{8744F6A3-80E5-FA26-1B06-199902850946}"/>
                </a:ext>
              </a:extLst>
            </p:cNvPr>
            <p:cNvSpPr/>
            <p:nvPr/>
          </p:nvSpPr>
          <p:spPr>
            <a:xfrm>
              <a:off x="10477274" y="5918493"/>
              <a:ext cx="24457" cy="42366"/>
            </a:xfrm>
            <a:custGeom>
              <a:avLst/>
              <a:gdLst>
                <a:gd name="connsiteX0" fmla="*/ 0 w 24457"/>
                <a:gd name="connsiteY0" fmla="*/ 0 h 42366"/>
                <a:gd name="connsiteX1" fmla="*/ 23315 w 24457"/>
                <a:gd name="connsiteY1" fmla="*/ 42366 h 423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4457" h="42366">
                  <a:moveTo>
                    <a:pt x="0" y="0"/>
                  </a:moveTo>
                  <a:cubicBezTo>
                    <a:pt x="13146" y="7890"/>
                    <a:pt x="28854" y="22004"/>
                    <a:pt x="23315" y="42366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217" name="Forma livre: Forma 2216">
              <a:extLst>
                <a:ext uri="{FF2B5EF4-FFF2-40B4-BE49-F238E27FC236}">
                  <a16:creationId xmlns:a16="http://schemas.microsoft.com/office/drawing/2014/main" id="{FE671086-AB64-D149-D5AF-2BFFDC044ED4}"/>
                </a:ext>
              </a:extLst>
            </p:cNvPr>
            <p:cNvSpPr/>
            <p:nvPr/>
          </p:nvSpPr>
          <p:spPr>
            <a:xfrm>
              <a:off x="10534452" y="5878996"/>
              <a:ext cx="12176" cy="36885"/>
            </a:xfrm>
            <a:custGeom>
              <a:avLst/>
              <a:gdLst>
                <a:gd name="connsiteX0" fmla="*/ 11835 w 12176"/>
                <a:gd name="connsiteY0" fmla="*/ 0 h 36885"/>
                <a:gd name="connsiteX1" fmla="*/ 0 w 12176"/>
                <a:gd name="connsiteY1" fmla="*/ 36886 h 368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176" h="36885">
                  <a:moveTo>
                    <a:pt x="11835" y="0"/>
                  </a:moveTo>
                  <a:cubicBezTo>
                    <a:pt x="13110" y="10016"/>
                    <a:pt x="11161" y="23953"/>
                    <a:pt x="0" y="36886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218" name="Forma livre: Forma 2217">
              <a:extLst>
                <a:ext uri="{FF2B5EF4-FFF2-40B4-BE49-F238E27FC236}">
                  <a16:creationId xmlns:a16="http://schemas.microsoft.com/office/drawing/2014/main" id="{517A8862-5C9F-C6C3-5875-2CE12B17ABD8}"/>
                </a:ext>
              </a:extLst>
            </p:cNvPr>
            <p:cNvSpPr/>
            <p:nvPr/>
          </p:nvSpPr>
          <p:spPr>
            <a:xfrm>
              <a:off x="10548613" y="5925650"/>
              <a:ext cx="56067" cy="35125"/>
            </a:xfrm>
            <a:custGeom>
              <a:avLst/>
              <a:gdLst>
                <a:gd name="connsiteX0" fmla="*/ 56067 w 56067"/>
                <a:gd name="connsiteY0" fmla="*/ 0 h 35125"/>
                <a:gd name="connsiteX1" fmla="*/ 0 w 56067"/>
                <a:gd name="connsiteY1" fmla="*/ 31843 h 351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6067" h="35125">
                  <a:moveTo>
                    <a:pt x="56067" y="0"/>
                  </a:moveTo>
                  <a:cubicBezTo>
                    <a:pt x="56067" y="0"/>
                    <a:pt x="36106" y="47870"/>
                    <a:pt x="0" y="31843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219" name="Forma livre: Forma 2218">
              <a:extLst>
                <a:ext uri="{FF2B5EF4-FFF2-40B4-BE49-F238E27FC236}">
                  <a16:creationId xmlns:a16="http://schemas.microsoft.com/office/drawing/2014/main" id="{0575F828-9682-F146-4A04-0FE46017739E}"/>
                </a:ext>
              </a:extLst>
            </p:cNvPr>
            <p:cNvSpPr/>
            <p:nvPr/>
          </p:nvSpPr>
          <p:spPr>
            <a:xfrm>
              <a:off x="10597782" y="5970497"/>
              <a:ext cx="26406" cy="56315"/>
            </a:xfrm>
            <a:custGeom>
              <a:avLst/>
              <a:gdLst>
                <a:gd name="connsiteX0" fmla="*/ 22157 w 26406"/>
                <a:gd name="connsiteY0" fmla="*/ 0 h 56315"/>
                <a:gd name="connsiteX1" fmla="*/ 0 w 26406"/>
                <a:gd name="connsiteY1" fmla="*/ 56315 h 563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6406" h="56315">
                  <a:moveTo>
                    <a:pt x="22157" y="0"/>
                  </a:moveTo>
                  <a:cubicBezTo>
                    <a:pt x="22157" y="0"/>
                    <a:pt x="40795" y="43158"/>
                    <a:pt x="0" y="56315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220" name="Forma livre: Forma 2219">
              <a:extLst>
                <a:ext uri="{FF2B5EF4-FFF2-40B4-BE49-F238E27FC236}">
                  <a16:creationId xmlns:a16="http://schemas.microsoft.com/office/drawing/2014/main" id="{62435E39-7424-2EF7-D662-23B18CB3196E}"/>
                </a:ext>
              </a:extLst>
            </p:cNvPr>
            <p:cNvSpPr/>
            <p:nvPr/>
          </p:nvSpPr>
          <p:spPr>
            <a:xfrm>
              <a:off x="10330548" y="5855038"/>
              <a:ext cx="349368" cy="175912"/>
            </a:xfrm>
            <a:custGeom>
              <a:avLst/>
              <a:gdLst>
                <a:gd name="connsiteX0" fmla="*/ 348494 w 349368"/>
                <a:gd name="connsiteY0" fmla="*/ 134025 h 175912"/>
                <a:gd name="connsiteX1" fmla="*/ 311148 w 349368"/>
                <a:gd name="connsiteY1" fmla="*/ 111136 h 175912"/>
                <a:gd name="connsiteX2" fmla="*/ 279848 w 349368"/>
                <a:gd name="connsiteY2" fmla="*/ 111195 h 175912"/>
                <a:gd name="connsiteX3" fmla="*/ 278809 w 349368"/>
                <a:gd name="connsiteY3" fmla="*/ 103659 h 175912"/>
                <a:gd name="connsiteX4" fmla="*/ 210199 w 349368"/>
                <a:gd name="connsiteY4" fmla="*/ 844 h 175912"/>
                <a:gd name="connsiteX5" fmla="*/ 123848 w 349368"/>
                <a:gd name="connsiteY5" fmla="*/ 60431 h 175912"/>
                <a:gd name="connsiteX6" fmla="*/ 112568 w 349368"/>
                <a:gd name="connsiteY6" fmla="*/ 81868 h 175912"/>
                <a:gd name="connsiteX7" fmla="*/ 105293 w 349368"/>
                <a:gd name="connsiteY7" fmla="*/ 91647 h 175912"/>
                <a:gd name="connsiteX8" fmla="*/ 72175 w 349368"/>
                <a:gd name="connsiteY8" fmla="*/ 39891 h 175912"/>
                <a:gd name="connsiteX9" fmla="*/ 15458 w 349368"/>
                <a:gd name="connsiteY9" fmla="*/ 26698 h 175912"/>
                <a:gd name="connsiteX10" fmla="*/ 4237 w 349368"/>
                <a:gd name="connsiteY10" fmla="*/ 72891 h 175912"/>
                <a:gd name="connsiteX11" fmla="*/ 98501 w 349368"/>
                <a:gd name="connsiteY11" fmla="*/ 153643 h 175912"/>
                <a:gd name="connsiteX12" fmla="*/ 103639 w 349368"/>
                <a:gd name="connsiteY12" fmla="*/ 154080 h 175912"/>
                <a:gd name="connsiteX13" fmla="*/ 166143 w 349368"/>
                <a:gd name="connsiteY13" fmla="*/ 113002 h 175912"/>
                <a:gd name="connsiteX14" fmla="*/ 179301 w 349368"/>
                <a:gd name="connsiteY14" fmla="*/ 88092 h 175912"/>
                <a:gd name="connsiteX15" fmla="*/ 202073 w 349368"/>
                <a:gd name="connsiteY15" fmla="*/ 62273 h 175912"/>
                <a:gd name="connsiteX16" fmla="*/ 209773 w 349368"/>
                <a:gd name="connsiteY16" fmla="*/ 67966 h 175912"/>
                <a:gd name="connsiteX17" fmla="*/ 217545 w 349368"/>
                <a:gd name="connsiteY17" fmla="*/ 113167 h 175912"/>
                <a:gd name="connsiteX18" fmla="*/ 242360 w 349368"/>
                <a:gd name="connsiteY18" fmla="*/ 161085 h 175912"/>
                <a:gd name="connsiteX19" fmla="*/ 325628 w 349368"/>
                <a:gd name="connsiteY19" fmla="*/ 171396 h 175912"/>
                <a:gd name="connsiteX20" fmla="*/ 348506 w 349368"/>
                <a:gd name="connsiteY20" fmla="*/ 134049 h 1759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349368" h="175912">
                  <a:moveTo>
                    <a:pt x="348494" y="134025"/>
                  </a:moveTo>
                  <a:cubicBezTo>
                    <a:pt x="344490" y="117395"/>
                    <a:pt x="327778" y="107143"/>
                    <a:pt x="311148" y="111136"/>
                  </a:cubicBezTo>
                  <a:cubicBezTo>
                    <a:pt x="292545" y="115624"/>
                    <a:pt x="282577" y="112954"/>
                    <a:pt x="279848" y="111195"/>
                  </a:cubicBezTo>
                  <a:cubicBezTo>
                    <a:pt x="279730" y="111112"/>
                    <a:pt x="278809" y="103659"/>
                    <a:pt x="278809" y="103659"/>
                  </a:cubicBezTo>
                  <a:cubicBezTo>
                    <a:pt x="274215" y="61293"/>
                    <a:pt x="268498" y="8568"/>
                    <a:pt x="210199" y="844"/>
                  </a:cubicBezTo>
                  <a:cubicBezTo>
                    <a:pt x="157073" y="-6195"/>
                    <a:pt x="137880" y="32309"/>
                    <a:pt x="123848" y="60431"/>
                  </a:cubicBezTo>
                  <a:cubicBezTo>
                    <a:pt x="120352" y="67446"/>
                    <a:pt x="116738" y="74710"/>
                    <a:pt x="112568" y="81868"/>
                  </a:cubicBezTo>
                  <a:cubicBezTo>
                    <a:pt x="109250" y="87584"/>
                    <a:pt x="106710" y="90372"/>
                    <a:pt x="105293" y="91647"/>
                  </a:cubicBezTo>
                  <a:cubicBezTo>
                    <a:pt x="97238" y="87584"/>
                    <a:pt x="80856" y="58127"/>
                    <a:pt x="72175" y="39891"/>
                  </a:cubicBezTo>
                  <a:cubicBezTo>
                    <a:pt x="64864" y="24454"/>
                    <a:pt x="39659" y="11179"/>
                    <a:pt x="15458" y="26698"/>
                  </a:cubicBezTo>
                  <a:cubicBezTo>
                    <a:pt x="-1928" y="38013"/>
                    <a:pt x="-3050" y="57419"/>
                    <a:pt x="4237" y="72891"/>
                  </a:cubicBezTo>
                  <a:cubicBezTo>
                    <a:pt x="12293" y="89994"/>
                    <a:pt x="54600" y="147821"/>
                    <a:pt x="98501" y="153643"/>
                  </a:cubicBezTo>
                  <a:cubicBezTo>
                    <a:pt x="100190" y="153868"/>
                    <a:pt x="101891" y="154022"/>
                    <a:pt x="103639" y="154080"/>
                  </a:cubicBezTo>
                  <a:cubicBezTo>
                    <a:pt x="120824" y="154825"/>
                    <a:pt x="145628" y="148305"/>
                    <a:pt x="166143" y="113002"/>
                  </a:cubicBezTo>
                  <a:cubicBezTo>
                    <a:pt x="171305" y="104132"/>
                    <a:pt x="175545" y="95604"/>
                    <a:pt x="179301" y="88092"/>
                  </a:cubicBezTo>
                  <a:cubicBezTo>
                    <a:pt x="192789" y="61045"/>
                    <a:pt x="194017" y="61210"/>
                    <a:pt x="202073" y="62273"/>
                  </a:cubicBezTo>
                  <a:cubicBezTo>
                    <a:pt x="207234" y="62970"/>
                    <a:pt x="207978" y="63773"/>
                    <a:pt x="209773" y="67966"/>
                  </a:cubicBezTo>
                  <a:cubicBezTo>
                    <a:pt x="213624" y="76966"/>
                    <a:pt x="215679" y="96017"/>
                    <a:pt x="217545" y="113167"/>
                  </a:cubicBezTo>
                  <a:cubicBezTo>
                    <a:pt x="218077" y="120679"/>
                    <a:pt x="221762" y="145246"/>
                    <a:pt x="242360" y="161085"/>
                  </a:cubicBezTo>
                  <a:cubicBezTo>
                    <a:pt x="262321" y="176403"/>
                    <a:pt x="290325" y="179876"/>
                    <a:pt x="325628" y="171396"/>
                  </a:cubicBezTo>
                  <a:cubicBezTo>
                    <a:pt x="342258" y="167392"/>
                    <a:pt x="352498" y="150667"/>
                    <a:pt x="348506" y="134049"/>
                  </a:cubicBez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221" name="Forma livre: Forma 2220">
              <a:extLst>
                <a:ext uri="{FF2B5EF4-FFF2-40B4-BE49-F238E27FC236}">
                  <a16:creationId xmlns:a16="http://schemas.microsoft.com/office/drawing/2014/main" id="{9531309A-A156-9988-1534-5B3776136695}"/>
                </a:ext>
              </a:extLst>
            </p:cNvPr>
            <p:cNvSpPr/>
            <p:nvPr/>
          </p:nvSpPr>
          <p:spPr>
            <a:xfrm>
              <a:off x="10357900" y="5906918"/>
              <a:ext cx="7358" cy="7370"/>
            </a:xfrm>
            <a:custGeom>
              <a:avLst/>
              <a:gdLst>
                <a:gd name="connsiteX0" fmla="*/ 7358 w 7358"/>
                <a:gd name="connsiteY0" fmla="*/ 3685 h 7370"/>
                <a:gd name="connsiteX1" fmla="*/ 3685 w 7358"/>
                <a:gd name="connsiteY1" fmla="*/ 7370 h 7370"/>
                <a:gd name="connsiteX2" fmla="*/ 0 w 7358"/>
                <a:gd name="connsiteY2" fmla="*/ 3685 h 7370"/>
                <a:gd name="connsiteX3" fmla="*/ 3685 w 7358"/>
                <a:gd name="connsiteY3" fmla="*/ 0 h 7370"/>
                <a:gd name="connsiteX4" fmla="*/ 7358 w 7358"/>
                <a:gd name="connsiteY4" fmla="*/ 3685 h 73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358" h="7370">
                  <a:moveTo>
                    <a:pt x="7358" y="3685"/>
                  </a:moveTo>
                  <a:cubicBezTo>
                    <a:pt x="7358" y="5728"/>
                    <a:pt x="5717" y="7370"/>
                    <a:pt x="3685" y="7370"/>
                  </a:cubicBezTo>
                  <a:cubicBezTo>
                    <a:pt x="1654" y="7370"/>
                    <a:pt x="0" y="5728"/>
                    <a:pt x="0" y="3685"/>
                  </a:cubicBezTo>
                  <a:cubicBezTo>
                    <a:pt x="0" y="1642"/>
                    <a:pt x="1654" y="0"/>
                    <a:pt x="3685" y="0"/>
                  </a:cubicBezTo>
                  <a:cubicBezTo>
                    <a:pt x="5717" y="0"/>
                    <a:pt x="7358" y="1642"/>
                    <a:pt x="7358" y="3685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2222" name="Gráfico 19">
            <a:extLst>
              <a:ext uri="{FF2B5EF4-FFF2-40B4-BE49-F238E27FC236}">
                <a16:creationId xmlns:a16="http://schemas.microsoft.com/office/drawing/2014/main" id="{9EBBF4D3-EB9E-CE22-9F00-31BF04D64250}"/>
              </a:ext>
            </a:extLst>
          </p:cNvPr>
          <p:cNvGrpSpPr/>
          <p:nvPr/>
        </p:nvGrpSpPr>
        <p:grpSpPr>
          <a:xfrm>
            <a:off x="9746879" y="5813918"/>
            <a:ext cx="285721" cy="258130"/>
            <a:chOff x="9746879" y="5813918"/>
            <a:chExt cx="285721" cy="258130"/>
          </a:xfrm>
        </p:grpSpPr>
        <p:grpSp>
          <p:nvGrpSpPr>
            <p:cNvPr id="2223" name="Gráfico 19">
              <a:extLst>
                <a:ext uri="{FF2B5EF4-FFF2-40B4-BE49-F238E27FC236}">
                  <a16:creationId xmlns:a16="http://schemas.microsoft.com/office/drawing/2014/main" id="{0DCD0A5F-E8AF-F821-70AF-4D323A2045E9}"/>
                </a:ext>
              </a:extLst>
            </p:cNvPr>
            <p:cNvGrpSpPr/>
            <p:nvPr/>
          </p:nvGrpSpPr>
          <p:grpSpPr>
            <a:xfrm>
              <a:off x="9906529" y="5924008"/>
              <a:ext cx="119882" cy="148039"/>
              <a:chOff x="9906529" y="5924008"/>
              <a:chExt cx="119882" cy="148039"/>
            </a:xfrm>
          </p:grpSpPr>
          <p:sp>
            <p:nvSpPr>
              <p:cNvPr id="2224" name="Forma livre: Forma 2223">
                <a:extLst>
                  <a:ext uri="{FF2B5EF4-FFF2-40B4-BE49-F238E27FC236}">
                    <a16:creationId xmlns:a16="http://schemas.microsoft.com/office/drawing/2014/main" id="{0D4E2F4D-BD21-1D82-28B5-CA8CDECE6A28}"/>
                  </a:ext>
                </a:extLst>
              </p:cNvPr>
              <p:cNvSpPr/>
              <p:nvPr/>
            </p:nvSpPr>
            <p:spPr>
              <a:xfrm>
                <a:off x="9966458" y="6011753"/>
                <a:ext cx="1181" cy="29775"/>
              </a:xfrm>
              <a:custGeom>
                <a:avLst/>
                <a:gdLst>
                  <a:gd name="connsiteX0" fmla="*/ 0 w 1181"/>
                  <a:gd name="connsiteY0" fmla="*/ 0 h 29775"/>
                  <a:gd name="connsiteX1" fmla="*/ 0 w 1181"/>
                  <a:gd name="connsiteY1" fmla="*/ 29776 h 297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81" h="29775">
                    <a:moveTo>
                      <a:pt x="0" y="0"/>
                    </a:moveTo>
                    <a:lnTo>
                      <a:pt x="0" y="29776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225" name="Forma livre: Forma 2224">
                <a:extLst>
                  <a:ext uri="{FF2B5EF4-FFF2-40B4-BE49-F238E27FC236}">
                    <a16:creationId xmlns:a16="http://schemas.microsoft.com/office/drawing/2014/main" id="{9C00791D-65A3-428C-0873-9D9B102EA819}"/>
                  </a:ext>
                </a:extLst>
              </p:cNvPr>
              <p:cNvSpPr/>
              <p:nvPr/>
            </p:nvSpPr>
            <p:spPr>
              <a:xfrm>
                <a:off x="9959950" y="6003615"/>
                <a:ext cx="13015" cy="13003"/>
              </a:xfrm>
              <a:custGeom>
                <a:avLst/>
                <a:gdLst>
                  <a:gd name="connsiteX0" fmla="*/ 13016 w 13015"/>
                  <a:gd name="connsiteY0" fmla="*/ 6496 h 13003"/>
                  <a:gd name="connsiteX1" fmla="*/ 6508 w 13015"/>
                  <a:gd name="connsiteY1" fmla="*/ 13004 h 13003"/>
                  <a:gd name="connsiteX2" fmla="*/ 0 w 13015"/>
                  <a:gd name="connsiteY2" fmla="*/ 6496 h 13003"/>
                  <a:gd name="connsiteX3" fmla="*/ 6508 w 13015"/>
                  <a:gd name="connsiteY3" fmla="*/ 0 h 13003"/>
                  <a:gd name="connsiteX4" fmla="*/ 13016 w 13015"/>
                  <a:gd name="connsiteY4" fmla="*/ 6496 h 130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3015" h="13003">
                    <a:moveTo>
                      <a:pt x="13016" y="6496"/>
                    </a:moveTo>
                    <a:cubicBezTo>
                      <a:pt x="13016" y="10087"/>
                      <a:pt x="10110" y="13004"/>
                      <a:pt x="6508" y="13004"/>
                    </a:cubicBezTo>
                    <a:cubicBezTo>
                      <a:pt x="2906" y="13004"/>
                      <a:pt x="0" y="10087"/>
                      <a:pt x="0" y="6496"/>
                    </a:cubicBezTo>
                    <a:cubicBezTo>
                      <a:pt x="0" y="2905"/>
                      <a:pt x="2906" y="0"/>
                      <a:pt x="6508" y="0"/>
                    </a:cubicBezTo>
                    <a:cubicBezTo>
                      <a:pt x="10110" y="0"/>
                      <a:pt x="13016" y="2905"/>
                      <a:pt x="13016" y="6496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226" name="Forma livre: Forma 2225">
                <a:extLst>
                  <a:ext uri="{FF2B5EF4-FFF2-40B4-BE49-F238E27FC236}">
                    <a16:creationId xmlns:a16="http://schemas.microsoft.com/office/drawing/2014/main" id="{71A37195-262A-A180-C56B-867312620C88}"/>
                  </a:ext>
                </a:extLst>
              </p:cNvPr>
              <p:cNvSpPr/>
              <p:nvPr/>
            </p:nvSpPr>
            <p:spPr>
              <a:xfrm>
                <a:off x="9906529" y="5924008"/>
                <a:ext cx="119882" cy="148039"/>
              </a:xfrm>
              <a:custGeom>
                <a:avLst/>
                <a:gdLst>
                  <a:gd name="connsiteX0" fmla="*/ 97347 w 119882"/>
                  <a:gd name="connsiteY0" fmla="*/ 45874 h 148039"/>
                  <a:gd name="connsiteX1" fmla="*/ 119882 w 119882"/>
                  <a:gd name="connsiteY1" fmla="*/ 45874 h 148039"/>
                  <a:gd name="connsiteX2" fmla="*/ 119882 w 119882"/>
                  <a:gd name="connsiteY2" fmla="*/ 148040 h 148039"/>
                  <a:gd name="connsiteX3" fmla="*/ 0 w 119882"/>
                  <a:gd name="connsiteY3" fmla="*/ 148040 h 148039"/>
                  <a:gd name="connsiteX4" fmla="*/ 0 w 119882"/>
                  <a:gd name="connsiteY4" fmla="*/ 45874 h 148039"/>
                  <a:gd name="connsiteX5" fmla="*/ 22547 w 119882"/>
                  <a:gd name="connsiteY5" fmla="*/ 45874 h 148039"/>
                  <a:gd name="connsiteX6" fmla="*/ 22547 w 119882"/>
                  <a:gd name="connsiteY6" fmla="*/ 28347 h 148039"/>
                  <a:gd name="connsiteX7" fmla="*/ 50894 w 119882"/>
                  <a:gd name="connsiteY7" fmla="*/ 0 h 148039"/>
                  <a:gd name="connsiteX8" fmla="*/ 69012 w 119882"/>
                  <a:gd name="connsiteY8" fmla="*/ 0 h 148039"/>
                  <a:gd name="connsiteX9" fmla="*/ 97359 w 119882"/>
                  <a:gd name="connsiteY9" fmla="*/ 28347 h 148039"/>
                  <a:gd name="connsiteX10" fmla="*/ 97359 w 119882"/>
                  <a:gd name="connsiteY10" fmla="*/ 45874 h 1480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119882" h="148039">
                    <a:moveTo>
                      <a:pt x="97347" y="45874"/>
                    </a:moveTo>
                    <a:lnTo>
                      <a:pt x="119882" y="45874"/>
                    </a:lnTo>
                    <a:lnTo>
                      <a:pt x="119882" y="148040"/>
                    </a:lnTo>
                    <a:lnTo>
                      <a:pt x="0" y="148040"/>
                    </a:lnTo>
                    <a:lnTo>
                      <a:pt x="0" y="45874"/>
                    </a:lnTo>
                    <a:lnTo>
                      <a:pt x="22547" y="45874"/>
                    </a:lnTo>
                    <a:lnTo>
                      <a:pt x="22547" y="28347"/>
                    </a:lnTo>
                    <a:cubicBezTo>
                      <a:pt x="22547" y="12756"/>
                      <a:pt x="35303" y="0"/>
                      <a:pt x="50894" y="0"/>
                    </a:cubicBezTo>
                    <a:lnTo>
                      <a:pt x="69012" y="0"/>
                    </a:lnTo>
                    <a:cubicBezTo>
                      <a:pt x="84603" y="0"/>
                      <a:pt x="97359" y="12756"/>
                      <a:pt x="97359" y="28347"/>
                    </a:cubicBezTo>
                    <a:lnTo>
                      <a:pt x="97359" y="45874"/>
                    </a:lnTo>
                    <a:close/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227" name="Forma livre: Forma 2226">
                <a:extLst>
                  <a:ext uri="{FF2B5EF4-FFF2-40B4-BE49-F238E27FC236}">
                    <a16:creationId xmlns:a16="http://schemas.microsoft.com/office/drawing/2014/main" id="{A017CFFD-225F-B614-AAF3-41C971BD5153}"/>
                  </a:ext>
                </a:extLst>
              </p:cNvPr>
              <p:cNvSpPr/>
              <p:nvPr/>
            </p:nvSpPr>
            <p:spPr>
              <a:xfrm>
                <a:off x="9948978" y="5969882"/>
                <a:ext cx="35067" cy="1181"/>
              </a:xfrm>
              <a:custGeom>
                <a:avLst/>
                <a:gdLst>
                  <a:gd name="connsiteX0" fmla="*/ 0 w 35067"/>
                  <a:gd name="connsiteY0" fmla="*/ 0 h 1181"/>
                  <a:gd name="connsiteX1" fmla="*/ 35067 w 35067"/>
                  <a:gd name="connsiteY1" fmla="*/ 0 h 11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5067" h="1181">
                    <a:moveTo>
                      <a:pt x="0" y="0"/>
                    </a:moveTo>
                    <a:lnTo>
                      <a:pt x="35067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2228" name="Gráfico 19">
              <a:extLst>
                <a:ext uri="{FF2B5EF4-FFF2-40B4-BE49-F238E27FC236}">
                  <a16:creationId xmlns:a16="http://schemas.microsoft.com/office/drawing/2014/main" id="{82370F3A-A825-6B86-2AB7-E2133D80B465}"/>
                </a:ext>
              </a:extLst>
            </p:cNvPr>
            <p:cNvGrpSpPr/>
            <p:nvPr/>
          </p:nvGrpSpPr>
          <p:grpSpPr>
            <a:xfrm>
              <a:off x="9746879" y="5813918"/>
              <a:ext cx="285721" cy="195295"/>
              <a:chOff x="9746879" y="5813918"/>
              <a:chExt cx="285721" cy="195295"/>
            </a:xfrm>
            <a:noFill/>
          </p:grpSpPr>
          <p:sp>
            <p:nvSpPr>
              <p:cNvPr id="2229" name="Forma livre: Forma 2228">
                <a:extLst>
                  <a:ext uri="{FF2B5EF4-FFF2-40B4-BE49-F238E27FC236}">
                    <a16:creationId xmlns:a16="http://schemas.microsoft.com/office/drawing/2014/main" id="{B02D4536-F30A-8ABD-936D-3D9CD37CE979}"/>
                  </a:ext>
                </a:extLst>
              </p:cNvPr>
              <p:cNvSpPr/>
              <p:nvPr/>
            </p:nvSpPr>
            <p:spPr>
              <a:xfrm>
                <a:off x="9746879" y="5813918"/>
                <a:ext cx="234992" cy="195295"/>
              </a:xfrm>
              <a:custGeom>
                <a:avLst/>
                <a:gdLst>
                  <a:gd name="connsiteX0" fmla="*/ 234993 w 234992"/>
                  <a:gd name="connsiteY0" fmla="*/ 30839 h 195295"/>
                  <a:gd name="connsiteX1" fmla="*/ 105685 w 234992"/>
                  <a:gd name="connsiteY1" fmla="*/ 30839 h 195295"/>
                  <a:gd name="connsiteX2" fmla="*/ 83374 w 234992"/>
                  <a:gd name="connsiteY2" fmla="*/ 0 h 195295"/>
                  <a:gd name="connsiteX3" fmla="*/ 14173 w 234992"/>
                  <a:gd name="connsiteY3" fmla="*/ 0 h 195295"/>
                  <a:gd name="connsiteX4" fmla="*/ 0 w 234992"/>
                  <a:gd name="connsiteY4" fmla="*/ 14173 h 195295"/>
                  <a:gd name="connsiteX5" fmla="*/ 0 w 234992"/>
                  <a:gd name="connsiteY5" fmla="*/ 195296 h 195295"/>
                  <a:gd name="connsiteX6" fmla="*/ 134304 w 234992"/>
                  <a:gd name="connsiteY6" fmla="*/ 195296 h 1952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34992" h="195295">
                    <a:moveTo>
                      <a:pt x="234993" y="30839"/>
                    </a:moveTo>
                    <a:lnTo>
                      <a:pt x="105685" y="30839"/>
                    </a:lnTo>
                    <a:lnTo>
                      <a:pt x="83374" y="0"/>
                    </a:lnTo>
                    <a:lnTo>
                      <a:pt x="14173" y="0"/>
                    </a:lnTo>
                    <a:cubicBezTo>
                      <a:pt x="6378" y="0"/>
                      <a:pt x="0" y="6378"/>
                      <a:pt x="0" y="14173"/>
                    </a:cubicBezTo>
                    <a:lnTo>
                      <a:pt x="0" y="195296"/>
                    </a:lnTo>
                    <a:lnTo>
                      <a:pt x="134304" y="195296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230" name="Forma livre: Forma 2229">
                <a:extLst>
                  <a:ext uri="{FF2B5EF4-FFF2-40B4-BE49-F238E27FC236}">
                    <a16:creationId xmlns:a16="http://schemas.microsoft.com/office/drawing/2014/main" id="{E40341F6-9C6D-7FAC-15E8-C0DF4A0705F1}"/>
                  </a:ext>
                </a:extLst>
              </p:cNvPr>
              <p:cNvSpPr/>
              <p:nvPr/>
            </p:nvSpPr>
            <p:spPr>
              <a:xfrm>
                <a:off x="9767560" y="5882209"/>
                <a:ext cx="265040" cy="100500"/>
              </a:xfrm>
              <a:custGeom>
                <a:avLst/>
                <a:gdLst>
                  <a:gd name="connsiteX0" fmla="*/ 0 w 265040"/>
                  <a:gd name="connsiteY0" fmla="*/ 100500 h 100500"/>
                  <a:gd name="connsiteX1" fmla="*/ 35114 w 265040"/>
                  <a:gd name="connsiteY1" fmla="*/ 0 h 100500"/>
                  <a:gd name="connsiteX2" fmla="*/ 265040 w 265040"/>
                  <a:gd name="connsiteY2" fmla="*/ 0 h 100500"/>
                  <a:gd name="connsiteX3" fmla="*/ 251339 w 265040"/>
                  <a:gd name="connsiteY3" fmla="*/ 38492 h 1005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65040" h="100500">
                    <a:moveTo>
                      <a:pt x="0" y="100500"/>
                    </a:moveTo>
                    <a:lnTo>
                      <a:pt x="35114" y="0"/>
                    </a:lnTo>
                    <a:lnTo>
                      <a:pt x="265040" y="0"/>
                    </a:lnTo>
                    <a:lnTo>
                      <a:pt x="251339" y="38492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2231" name="Gráfico 19">
            <a:extLst>
              <a:ext uri="{FF2B5EF4-FFF2-40B4-BE49-F238E27FC236}">
                <a16:creationId xmlns:a16="http://schemas.microsoft.com/office/drawing/2014/main" id="{06BBE4A3-0814-2E47-1912-8C54069981B7}"/>
              </a:ext>
            </a:extLst>
          </p:cNvPr>
          <p:cNvGrpSpPr/>
          <p:nvPr/>
        </p:nvGrpSpPr>
        <p:grpSpPr>
          <a:xfrm>
            <a:off x="10948535" y="5816209"/>
            <a:ext cx="344363" cy="253559"/>
            <a:chOff x="10948535" y="5816209"/>
            <a:chExt cx="344363" cy="253559"/>
          </a:xfrm>
          <a:noFill/>
        </p:grpSpPr>
        <p:sp>
          <p:nvSpPr>
            <p:cNvPr id="2232" name="Forma livre: Forma 2231">
              <a:extLst>
                <a:ext uri="{FF2B5EF4-FFF2-40B4-BE49-F238E27FC236}">
                  <a16:creationId xmlns:a16="http://schemas.microsoft.com/office/drawing/2014/main" id="{935B8852-EA8B-4623-4BE4-E7DD482A204D}"/>
                </a:ext>
              </a:extLst>
            </p:cNvPr>
            <p:cNvSpPr/>
            <p:nvPr/>
          </p:nvSpPr>
          <p:spPr>
            <a:xfrm>
              <a:off x="11038418" y="5816209"/>
              <a:ext cx="164634" cy="193087"/>
            </a:xfrm>
            <a:custGeom>
              <a:avLst/>
              <a:gdLst>
                <a:gd name="connsiteX0" fmla="*/ 164634 w 164634"/>
                <a:gd name="connsiteY0" fmla="*/ 81591 h 193087"/>
                <a:gd name="connsiteX1" fmla="*/ 82311 w 164634"/>
                <a:gd name="connsiteY1" fmla="*/ 0 h 193087"/>
                <a:gd name="connsiteX2" fmla="*/ 0 w 164634"/>
                <a:gd name="connsiteY2" fmla="*/ 81591 h 193087"/>
                <a:gd name="connsiteX3" fmla="*/ 5575 w 164634"/>
                <a:gd name="connsiteY3" fmla="*/ 121725 h 193087"/>
                <a:gd name="connsiteX4" fmla="*/ 11693 w 164634"/>
                <a:gd name="connsiteY4" fmla="*/ 149540 h 193087"/>
                <a:gd name="connsiteX5" fmla="*/ 23315 w 164634"/>
                <a:gd name="connsiteY5" fmla="*/ 155256 h 193087"/>
                <a:gd name="connsiteX6" fmla="*/ 41315 w 164634"/>
                <a:gd name="connsiteY6" fmla="*/ 155528 h 193087"/>
                <a:gd name="connsiteX7" fmla="*/ 43807 w 164634"/>
                <a:gd name="connsiteY7" fmla="*/ 185942 h 193087"/>
                <a:gd name="connsiteX8" fmla="*/ 82300 w 164634"/>
                <a:gd name="connsiteY8" fmla="*/ 193087 h 193087"/>
                <a:gd name="connsiteX9" fmla="*/ 120792 w 164634"/>
                <a:gd name="connsiteY9" fmla="*/ 185942 h 193087"/>
                <a:gd name="connsiteX10" fmla="*/ 123284 w 164634"/>
                <a:gd name="connsiteY10" fmla="*/ 155528 h 193087"/>
                <a:gd name="connsiteX11" fmla="*/ 141296 w 164634"/>
                <a:gd name="connsiteY11" fmla="*/ 155256 h 193087"/>
                <a:gd name="connsiteX12" fmla="*/ 152930 w 164634"/>
                <a:gd name="connsiteY12" fmla="*/ 149540 h 193087"/>
                <a:gd name="connsiteX13" fmla="*/ 159048 w 164634"/>
                <a:gd name="connsiteY13" fmla="*/ 121725 h 193087"/>
                <a:gd name="connsiteX14" fmla="*/ 164634 w 164634"/>
                <a:gd name="connsiteY14" fmla="*/ 81591 h 1930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64634" h="193087">
                  <a:moveTo>
                    <a:pt x="164634" y="81591"/>
                  </a:moveTo>
                  <a:cubicBezTo>
                    <a:pt x="164634" y="35398"/>
                    <a:pt x="129804" y="0"/>
                    <a:pt x="82311" y="0"/>
                  </a:cubicBezTo>
                  <a:cubicBezTo>
                    <a:pt x="34819" y="0"/>
                    <a:pt x="0" y="35386"/>
                    <a:pt x="0" y="81591"/>
                  </a:cubicBezTo>
                  <a:cubicBezTo>
                    <a:pt x="0" y="95303"/>
                    <a:pt x="5551" y="113977"/>
                    <a:pt x="5575" y="121725"/>
                  </a:cubicBezTo>
                  <a:cubicBezTo>
                    <a:pt x="5598" y="129473"/>
                    <a:pt x="-106" y="136536"/>
                    <a:pt x="11693" y="149540"/>
                  </a:cubicBezTo>
                  <a:cubicBezTo>
                    <a:pt x="11693" y="149540"/>
                    <a:pt x="16465" y="155256"/>
                    <a:pt x="23315" y="155256"/>
                  </a:cubicBezTo>
                  <a:cubicBezTo>
                    <a:pt x="33685" y="155256"/>
                    <a:pt x="41315" y="155528"/>
                    <a:pt x="41315" y="155528"/>
                  </a:cubicBezTo>
                  <a:lnTo>
                    <a:pt x="43807" y="185942"/>
                  </a:lnTo>
                  <a:cubicBezTo>
                    <a:pt x="43807" y="185942"/>
                    <a:pt x="57732" y="192827"/>
                    <a:pt x="82300" y="193087"/>
                  </a:cubicBezTo>
                  <a:cubicBezTo>
                    <a:pt x="106866" y="192827"/>
                    <a:pt x="120792" y="185942"/>
                    <a:pt x="120792" y="185942"/>
                  </a:cubicBezTo>
                  <a:lnTo>
                    <a:pt x="123284" y="155528"/>
                  </a:lnTo>
                  <a:cubicBezTo>
                    <a:pt x="123284" y="155528"/>
                    <a:pt x="130914" y="155256"/>
                    <a:pt x="141296" y="155256"/>
                  </a:cubicBezTo>
                  <a:cubicBezTo>
                    <a:pt x="148158" y="155256"/>
                    <a:pt x="152930" y="149540"/>
                    <a:pt x="152930" y="149540"/>
                  </a:cubicBezTo>
                  <a:cubicBezTo>
                    <a:pt x="164717" y="136536"/>
                    <a:pt x="159012" y="129485"/>
                    <a:pt x="159048" y="121725"/>
                  </a:cubicBezTo>
                  <a:cubicBezTo>
                    <a:pt x="159071" y="113977"/>
                    <a:pt x="164634" y="95292"/>
                    <a:pt x="164634" y="81591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233" name="Forma livre: Forma 2232">
              <a:extLst>
                <a:ext uri="{FF2B5EF4-FFF2-40B4-BE49-F238E27FC236}">
                  <a16:creationId xmlns:a16="http://schemas.microsoft.com/office/drawing/2014/main" id="{26151C95-4106-65BD-FE03-2676619B4638}"/>
                </a:ext>
              </a:extLst>
            </p:cNvPr>
            <p:cNvSpPr/>
            <p:nvPr/>
          </p:nvSpPr>
          <p:spPr>
            <a:xfrm>
              <a:off x="11065640" y="5895660"/>
              <a:ext cx="41047" cy="37427"/>
            </a:xfrm>
            <a:custGeom>
              <a:avLst/>
              <a:gdLst>
                <a:gd name="connsiteX0" fmla="*/ 40266 w 41047"/>
                <a:gd name="connsiteY0" fmla="*/ 13467 h 37427"/>
                <a:gd name="connsiteX1" fmla="*/ 29483 w 41047"/>
                <a:gd name="connsiteY1" fmla="*/ 34349 h 37427"/>
                <a:gd name="connsiteX2" fmla="*/ 22254 w 41047"/>
                <a:gd name="connsiteY2" fmla="*/ 36640 h 37427"/>
                <a:gd name="connsiteX3" fmla="*/ 1384 w 41047"/>
                <a:gd name="connsiteY3" fmla="*/ 25857 h 37427"/>
                <a:gd name="connsiteX4" fmla="*/ 782 w 41047"/>
                <a:gd name="connsiteY4" fmla="*/ 23967 h 37427"/>
                <a:gd name="connsiteX5" fmla="*/ 11565 w 41047"/>
                <a:gd name="connsiteY5" fmla="*/ 3085 h 37427"/>
                <a:gd name="connsiteX6" fmla="*/ 18782 w 41047"/>
                <a:gd name="connsiteY6" fmla="*/ 782 h 37427"/>
                <a:gd name="connsiteX7" fmla="*/ 39675 w 41047"/>
                <a:gd name="connsiteY7" fmla="*/ 11565 h 37427"/>
                <a:gd name="connsiteX8" fmla="*/ 40278 w 41047"/>
                <a:gd name="connsiteY8" fmla="*/ 13455 h 374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1047" h="37427">
                  <a:moveTo>
                    <a:pt x="40266" y="13467"/>
                  </a:moveTo>
                  <a:cubicBezTo>
                    <a:pt x="43042" y="22172"/>
                    <a:pt x="38187" y="31573"/>
                    <a:pt x="29483" y="34349"/>
                  </a:cubicBezTo>
                  <a:lnTo>
                    <a:pt x="22254" y="36640"/>
                  </a:lnTo>
                  <a:cubicBezTo>
                    <a:pt x="13549" y="39427"/>
                    <a:pt x="4148" y="34573"/>
                    <a:pt x="1384" y="25857"/>
                  </a:cubicBezTo>
                  <a:lnTo>
                    <a:pt x="782" y="23967"/>
                  </a:lnTo>
                  <a:cubicBezTo>
                    <a:pt x="-1994" y="15262"/>
                    <a:pt x="2860" y="5860"/>
                    <a:pt x="11565" y="3085"/>
                  </a:cubicBezTo>
                  <a:lnTo>
                    <a:pt x="18782" y="782"/>
                  </a:lnTo>
                  <a:cubicBezTo>
                    <a:pt x="27498" y="-1994"/>
                    <a:pt x="36900" y="2861"/>
                    <a:pt x="39675" y="11565"/>
                  </a:cubicBezTo>
                  <a:lnTo>
                    <a:pt x="40278" y="13455"/>
                  </a:ln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234" name="Forma livre: Forma 2233">
              <a:extLst>
                <a:ext uri="{FF2B5EF4-FFF2-40B4-BE49-F238E27FC236}">
                  <a16:creationId xmlns:a16="http://schemas.microsoft.com/office/drawing/2014/main" id="{B38B6818-2A6E-93E4-59DD-BD9F3BF2712D}"/>
                </a:ext>
              </a:extLst>
            </p:cNvPr>
            <p:cNvSpPr/>
            <p:nvPr/>
          </p:nvSpPr>
          <p:spPr>
            <a:xfrm>
              <a:off x="11134775" y="5895660"/>
              <a:ext cx="41048" cy="37427"/>
            </a:xfrm>
            <a:custGeom>
              <a:avLst/>
              <a:gdLst>
                <a:gd name="connsiteX0" fmla="*/ 776 w 41048"/>
                <a:gd name="connsiteY0" fmla="*/ 13467 h 37427"/>
                <a:gd name="connsiteX1" fmla="*/ 11560 w 41048"/>
                <a:gd name="connsiteY1" fmla="*/ 34349 h 37427"/>
                <a:gd name="connsiteX2" fmla="*/ 18788 w 41048"/>
                <a:gd name="connsiteY2" fmla="*/ 36640 h 37427"/>
                <a:gd name="connsiteX3" fmla="*/ 39658 w 41048"/>
                <a:gd name="connsiteY3" fmla="*/ 25857 h 37427"/>
                <a:gd name="connsiteX4" fmla="*/ 40272 w 41048"/>
                <a:gd name="connsiteY4" fmla="*/ 23967 h 37427"/>
                <a:gd name="connsiteX5" fmla="*/ 29477 w 41048"/>
                <a:gd name="connsiteY5" fmla="*/ 3085 h 37427"/>
                <a:gd name="connsiteX6" fmla="*/ 22261 w 41048"/>
                <a:gd name="connsiteY6" fmla="*/ 782 h 37427"/>
                <a:gd name="connsiteX7" fmla="*/ 1379 w 41048"/>
                <a:gd name="connsiteY7" fmla="*/ 11565 h 37427"/>
                <a:gd name="connsiteX8" fmla="*/ 764 w 41048"/>
                <a:gd name="connsiteY8" fmla="*/ 13455 h 374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1048" h="37427">
                  <a:moveTo>
                    <a:pt x="776" y="13467"/>
                  </a:moveTo>
                  <a:cubicBezTo>
                    <a:pt x="-1988" y="22172"/>
                    <a:pt x="2867" y="31573"/>
                    <a:pt x="11560" y="34349"/>
                  </a:cubicBezTo>
                  <a:lnTo>
                    <a:pt x="18788" y="36640"/>
                  </a:lnTo>
                  <a:cubicBezTo>
                    <a:pt x="27493" y="39427"/>
                    <a:pt x="36883" y="34573"/>
                    <a:pt x="39658" y="25857"/>
                  </a:cubicBezTo>
                  <a:lnTo>
                    <a:pt x="40272" y="23967"/>
                  </a:lnTo>
                  <a:cubicBezTo>
                    <a:pt x="43036" y="15262"/>
                    <a:pt x="38182" y="5860"/>
                    <a:pt x="29477" y="3085"/>
                  </a:cubicBezTo>
                  <a:lnTo>
                    <a:pt x="22261" y="782"/>
                  </a:lnTo>
                  <a:cubicBezTo>
                    <a:pt x="13544" y="-1994"/>
                    <a:pt x="4142" y="2861"/>
                    <a:pt x="1379" y="11565"/>
                  </a:cubicBezTo>
                  <a:lnTo>
                    <a:pt x="764" y="13455"/>
                  </a:ln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235" name="Forma livre: Forma 2234">
              <a:extLst>
                <a:ext uri="{FF2B5EF4-FFF2-40B4-BE49-F238E27FC236}">
                  <a16:creationId xmlns:a16="http://schemas.microsoft.com/office/drawing/2014/main" id="{98A02E5D-1679-923A-97B5-035EC44F6F7A}"/>
                </a:ext>
              </a:extLst>
            </p:cNvPr>
            <p:cNvSpPr/>
            <p:nvPr/>
          </p:nvSpPr>
          <p:spPr>
            <a:xfrm>
              <a:off x="11107500" y="5949319"/>
              <a:ext cx="4110" cy="11834"/>
            </a:xfrm>
            <a:custGeom>
              <a:avLst/>
              <a:gdLst>
                <a:gd name="connsiteX0" fmla="*/ 4110 w 4110"/>
                <a:gd name="connsiteY0" fmla="*/ 0 h 11834"/>
                <a:gd name="connsiteX1" fmla="*/ 0 w 4110"/>
                <a:gd name="connsiteY1" fmla="*/ 11835 h 118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110" h="11834">
                  <a:moveTo>
                    <a:pt x="4110" y="0"/>
                  </a:moveTo>
                  <a:lnTo>
                    <a:pt x="0" y="11835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236" name="Forma livre: Forma 2235">
              <a:extLst>
                <a:ext uri="{FF2B5EF4-FFF2-40B4-BE49-F238E27FC236}">
                  <a16:creationId xmlns:a16="http://schemas.microsoft.com/office/drawing/2014/main" id="{C8356952-5AD8-8A53-4CC7-0EC79974E0C3}"/>
                </a:ext>
              </a:extLst>
            </p:cNvPr>
            <p:cNvSpPr/>
            <p:nvPr/>
          </p:nvSpPr>
          <p:spPr>
            <a:xfrm>
              <a:off x="11129835" y="5949319"/>
              <a:ext cx="4122" cy="11834"/>
            </a:xfrm>
            <a:custGeom>
              <a:avLst/>
              <a:gdLst>
                <a:gd name="connsiteX0" fmla="*/ 0 w 4122"/>
                <a:gd name="connsiteY0" fmla="*/ 0 h 11834"/>
                <a:gd name="connsiteX1" fmla="*/ 4122 w 4122"/>
                <a:gd name="connsiteY1" fmla="*/ 11835 h 118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122" h="11834">
                  <a:moveTo>
                    <a:pt x="0" y="0"/>
                  </a:moveTo>
                  <a:lnTo>
                    <a:pt x="4122" y="11835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2237" name="Gráfico 19">
              <a:extLst>
                <a:ext uri="{FF2B5EF4-FFF2-40B4-BE49-F238E27FC236}">
                  <a16:creationId xmlns:a16="http://schemas.microsoft.com/office/drawing/2014/main" id="{F692D408-4D46-D82E-D507-A6FAAFEFEC55}"/>
                </a:ext>
              </a:extLst>
            </p:cNvPr>
            <p:cNvGrpSpPr/>
            <p:nvPr/>
          </p:nvGrpSpPr>
          <p:grpSpPr>
            <a:xfrm>
              <a:off x="10948535" y="5849386"/>
              <a:ext cx="344363" cy="220382"/>
              <a:chOff x="10948535" y="5849386"/>
              <a:chExt cx="344363" cy="220382"/>
            </a:xfrm>
            <a:noFill/>
          </p:grpSpPr>
          <p:sp>
            <p:nvSpPr>
              <p:cNvPr id="2238" name="Forma livre: Forma 2237">
                <a:extLst>
                  <a:ext uri="{FF2B5EF4-FFF2-40B4-BE49-F238E27FC236}">
                    <a16:creationId xmlns:a16="http://schemas.microsoft.com/office/drawing/2014/main" id="{998FD255-3864-4111-952B-8F56F612F443}"/>
                  </a:ext>
                </a:extLst>
              </p:cNvPr>
              <p:cNvSpPr/>
              <p:nvPr/>
            </p:nvSpPr>
            <p:spPr>
              <a:xfrm>
                <a:off x="11213812" y="5849386"/>
                <a:ext cx="46559" cy="171661"/>
              </a:xfrm>
              <a:custGeom>
                <a:avLst/>
                <a:gdLst>
                  <a:gd name="connsiteX0" fmla="*/ 0 w 46559"/>
                  <a:gd name="connsiteY0" fmla="*/ 0 h 171661"/>
                  <a:gd name="connsiteX1" fmla="*/ 26162 w 46559"/>
                  <a:gd name="connsiteY1" fmla="*/ 0 h 171661"/>
                  <a:gd name="connsiteX2" fmla="*/ 46559 w 46559"/>
                  <a:gd name="connsiteY2" fmla="*/ 20386 h 171661"/>
                  <a:gd name="connsiteX3" fmla="*/ 46559 w 46559"/>
                  <a:gd name="connsiteY3" fmla="*/ 171662 h 1716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6559" h="171661">
                    <a:moveTo>
                      <a:pt x="0" y="0"/>
                    </a:moveTo>
                    <a:lnTo>
                      <a:pt x="26162" y="0"/>
                    </a:lnTo>
                    <a:cubicBezTo>
                      <a:pt x="37382" y="0"/>
                      <a:pt x="46559" y="9177"/>
                      <a:pt x="46559" y="20386"/>
                    </a:cubicBezTo>
                    <a:lnTo>
                      <a:pt x="46559" y="171662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239" name="Forma livre: Forma 2238">
                <a:extLst>
                  <a:ext uri="{FF2B5EF4-FFF2-40B4-BE49-F238E27FC236}">
                    <a16:creationId xmlns:a16="http://schemas.microsoft.com/office/drawing/2014/main" id="{6085B326-15CB-9FB7-AE96-35098FF7A574}"/>
                  </a:ext>
                </a:extLst>
              </p:cNvPr>
              <p:cNvSpPr/>
              <p:nvPr/>
            </p:nvSpPr>
            <p:spPr>
              <a:xfrm>
                <a:off x="10981075" y="5849386"/>
                <a:ext cx="46630" cy="171661"/>
              </a:xfrm>
              <a:custGeom>
                <a:avLst/>
                <a:gdLst>
                  <a:gd name="connsiteX0" fmla="*/ 0 w 46630"/>
                  <a:gd name="connsiteY0" fmla="*/ 171662 h 171661"/>
                  <a:gd name="connsiteX1" fmla="*/ 0 w 46630"/>
                  <a:gd name="connsiteY1" fmla="*/ 20386 h 171661"/>
                  <a:gd name="connsiteX2" fmla="*/ 20374 w 46630"/>
                  <a:gd name="connsiteY2" fmla="*/ 0 h 171661"/>
                  <a:gd name="connsiteX3" fmla="*/ 46630 w 46630"/>
                  <a:gd name="connsiteY3" fmla="*/ 0 h 1716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6630" h="171661">
                    <a:moveTo>
                      <a:pt x="0" y="171662"/>
                    </a:moveTo>
                    <a:lnTo>
                      <a:pt x="0" y="20386"/>
                    </a:lnTo>
                    <a:cubicBezTo>
                      <a:pt x="0" y="9165"/>
                      <a:pt x="9177" y="0"/>
                      <a:pt x="20374" y="0"/>
                    </a:cubicBezTo>
                    <a:lnTo>
                      <a:pt x="46630" y="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240" name="Forma livre: Forma 2239">
                <a:extLst>
                  <a:ext uri="{FF2B5EF4-FFF2-40B4-BE49-F238E27FC236}">
                    <a16:creationId xmlns:a16="http://schemas.microsoft.com/office/drawing/2014/main" id="{ADF74F1F-3125-FC23-94CC-AD19EA3CD2D9}"/>
                  </a:ext>
                </a:extLst>
              </p:cNvPr>
              <p:cNvSpPr/>
              <p:nvPr/>
            </p:nvSpPr>
            <p:spPr>
              <a:xfrm>
                <a:off x="10948535" y="6042792"/>
                <a:ext cx="344363" cy="26976"/>
              </a:xfrm>
              <a:custGeom>
                <a:avLst/>
                <a:gdLst>
                  <a:gd name="connsiteX0" fmla="*/ 0 w 344363"/>
                  <a:gd name="connsiteY0" fmla="*/ 0 h 26976"/>
                  <a:gd name="connsiteX1" fmla="*/ 25665 w 344363"/>
                  <a:gd name="connsiteY1" fmla="*/ 26977 h 26976"/>
                  <a:gd name="connsiteX2" fmla="*/ 318686 w 344363"/>
                  <a:gd name="connsiteY2" fmla="*/ 26977 h 26976"/>
                  <a:gd name="connsiteX3" fmla="*/ 344363 w 344363"/>
                  <a:gd name="connsiteY3" fmla="*/ 0 h 26976"/>
                  <a:gd name="connsiteX4" fmla="*/ 0 w 344363"/>
                  <a:gd name="connsiteY4" fmla="*/ 0 h 269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44363" h="26976">
                    <a:moveTo>
                      <a:pt x="0" y="0"/>
                    </a:moveTo>
                    <a:cubicBezTo>
                      <a:pt x="0" y="0"/>
                      <a:pt x="5941" y="26977"/>
                      <a:pt x="25665" y="26977"/>
                    </a:cubicBezTo>
                    <a:lnTo>
                      <a:pt x="318686" y="26977"/>
                    </a:lnTo>
                    <a:cubicBezTo>
                      <a:pt x="338422" y="26977"/>
                      <a:pt x="344363" y="0"/>
                      <a:pt x="344363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2241" name="Gráfico 19">
            <a:extLst>
              <a:ext uri="{FF2B5EF4-FFF2-40B4-BE49-F238E27FC236}">
                <a16:creationId xmlns:a16="http://schemas.microsoft.com/office/drawing/2014/main" id="{42511D8F-2583-1344-3039-F482AAE7AC5B}"/>
              </a:ext>
            </a:extLst>
          </p:cNvPr>
          <p:cNvGrpSpPr/>
          <p:nvPr/>
        </p:nvGrpSpPr>
        <p:grpSpPr>
          <a:xfrm>
            <a:off x="10333038" y="4220122"/>
            <a:ext cx="344363" cy="265607"/>
            <a:chOff x="10333038" y="4220122"/>
            <a:chExt cx="344363" cy="265607"/>
          </a:xfrm>
          <a:noFill/>
        </p:grpSpPr>
        <p:grpSp>
          <p:nvGrpSpPr>
            <p:cNvPr id="2242" name="Gráfico 19">
              <a:extLst>
                <a:ext uri="{FF2B5EF4-FFF2-40B4-BE49-F238E27FC236}">
                  <a16:creationId xmlns:a16="http://schemas.microsoft.com/office/drawing/2014/main" id="{C6E9F833-94DB-B873-E56B-7AF96F68A76E}"/>
                </a:ext>
              </a:extLst>
            </p:cNvPr>
            <p:cNvGrpSpPr/>
            <p:nvPr/>
          </p:nvGrpSpPr>
          <p:grpSpPr>
            <a:xfrm>
              <a:off x="10405628" y="4220122"/>
              <a:ext cx="199193" cy="209811"/>
              <a:chOff x="10405628" y="4220122"/>
              <a:chExt cx="199193" cy="209811"/>
            </a:xfrm>
            <a:noFill/>
          </p:grpSpPr>
          <p:sp>
            <p:nvSpPr>
              <p:cNvPr id="2243" name="Forma livre: Forma 2242">
                <a:extLst>
                  <a:ext uri="{FF2B5EF4-FFF2-40B4-BE49-F238E27FC236}">
                    <a16:creationId xmlns:a16="http://schemas.microsoft.com/office/drawing/2014/main" id="{0B939E16-A310-C4C3-A9DD-9BC75477F9F1}"/>
                  </a:ext>
                </a:extLst>
              </p:cNvPr>
              <p:cNvSpPr/>
              <p:nvPr/>
            </p:nvSpPr>
            <p:spPr>
              <a:xfrm>
                <a:off x="10447877" y="4254362"/>
                <a:ext cx="114708" cy="156720"/>
              </a:xfrm>
              <a:custGeom>
                <a:avLst/>
                <a:gdLst>
                  <a:gd name="connsiteX0" fmla="*/ 107233 w 114708"/>
                  <a:gd name="connsiteY0" fmla="*/ 44433 h 156720"/>
                  <a:gd name="connsiteX1" fmla="*/ 87107 w 114708"/>
                  <a:gd name="connsiteY1" fmla="*/ 48248 h 156720"/>
                  <a:gd name="connsiteX2" fmla="*/ 57354 w 114708"/>
                  <a:gd name="connsiteY2" fmla="*/ 50268 h 156720"/>
                  <a:gd name="connsiteX3" fmla="*/ 6449 w 114708"/>
                  <a:gd name="connsiteY3" fmla="*/ 44162 h 156720"/>
                  <a:gd name="connsiteX4" fmla="*/ 0 w 114708"/>
                  <a:gd name="connsiteY4" fmla="*/ 80091 h 156720"/>
                  <a:gd name="connsiteX5" fmla="*/ 25890 w 114708"/>
                  <a:gd name="connsiteY5" fmla="*/ 145642 h 156720"/>
                  <a:gd name="connsiteX6" fmla="*/ 57354 w 114708"/>
                  <a:gd name="connsiteY6" fmla="*/ 156721 h 156720"/>
                  <a:gd name="connsiteX7" fmla="*/ 88819 w 114708"/>
                  <a:gd name="connsiteY7" fmla="*/ 145666 h 156720"/>
                  <a:gd name="connsiteX8" fmla="*/ 114709 w 114708"/>
                  <a:gd name="connsiteY8" fmla="*/ 80091 h 156720"/>
                  <a:gd name="connsiteX9" fmla="*/ 108237 w 114708"/>
                  <a:gd name="connsiteY9" fmla="*/ 44150 h 156720"/>
                  <a:gd name="connsiteX10" fmla="*/ 88571 w 114708"/>
                  <a:gd name="connsiteY10" fmla="*/ 11079 h 156720"/>
                  <a:gd name="connsiteX11" fmla="*/ 57354 w 114708"/>
                  <a:gd name="connsiteY11" fmla="*/ 0 h 156720"/>
                  <a:gd name="connsiteX12" fmla="*/ 26138 w 114708"/>
                  <a:gd name="connsiteY12" fmla="*/ 11055 h 156720"/>
                  <a:gd name="connsiteX13" fmla="*/ 16972 w 114708"/>
                  <a:gd name="connsiteY13" fmla="*/ 22476 h 1567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14708" h="156720">
                    <a:moveTo>
                      <a:pt x="107233" y="44433"/>
                    </a:moveTo>
                    <a:cubicBezTo>
                      <a:pt x="104670" y="45106"/>
                      <a:pt x="97453" y="46843"/>
                      <a:pt x="87107" y="48248"/>
                    </a:cubicBezTo>
                    <a:cubicBezTo>
                      <a:pt x="78898" y="49370"/>
                      <a:pt x="68717" y="50280"/>
                      <a:pt x="57354" y="50268"/>
                    </a:cubicBezTo>
                    <a:cubicBezTo>
                      <a:pt x="27921" y="50268"/>
                      <a:pt x="6449" y="44162"/>
                      <a:pt x="6449" y="44162"/>
                    </a:cubicBezTo>
                    <a:cubicBezTo>
                      <a:pt x="2362" y="54933"/>
                      <a:pt x="0" y="67122"/>
                      <a:pt x="0" y="80091"/>
                    </a:cubicBezTo>
                    <a:cubicBezTo>
                      <a:pt x="0" y="106831"/>
                      <a:pt x="13854" y="134410"/>
                      <a:pt x="25890" y="145642"/>
                    </a:cubicBezTo>
                    <a:cubicBezTo>
                      <a:pt x="35480" y="154618"/>
                      <a:pt x="46075" y="156709"/>
                      <a:pt x="57354" y="156721"/>
                    </a:cubicBezTo>
                    <a:cubicBezTo>
                      <a:pt x="68610" y="156721"/>
                      <a:pt x="79229" y="154630"/>
                      <a:pt x="88819" y="145666"/>
                    </a:cubicBezTo>
                    <a:cubicBezTo>
                      <a:pt x="100855" y="134398"/>
                      <a:pt x="114709" y="106843"/>
                      <a:pt x="114709" y="80091"/>
                    </a:cubicBezTo>
                    <a:cubicBezTo>
                      <a:pt x="114709" y="67110"/>
                      <a:pt x="112323" y="54945"/>
                      <a:pt x="108237" y="44150"/>
                    </a:cubicBezTo>
                    <a:cubicBezTo>
                      <a:pt x="103122" y="29835"/>
                      <a:pt x="95551" y="17658"/>
                      <a:pt x="88571" y="11079"/>
                    </a:cubicBezTo>
                    <a:cubicBezTo>
                      <a:pt x="79063" y="2102"/>
                      <a:pt x="68540" y="12"/>
                      <a:pt x="57354" y="0"/>
                    </a:cubicBezTo>
                    <a:cubicBezTo>
                      <a:pt x="46181" y="0"/>
                      <a:pt x="35658" y="2091"/>
                      <a:pt x="26138" y="11055"/>
                    </a:cubicBezTo>
                    <a:cubicBezTo>
                      <a:pt x="23114" y="13913"/>
                      <a:pt x="19973" y="17799"/>
                      <a:pt x="16972" y="22476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2244" name="Gráfico 19">
                <a:extLst>
                  <a:ext uri="{FF2B5EF4-FFF2-40B4-BE49-F238E27FC236}">
                    <a16:creationId xmlns:a16="http://schemas.microsoft.com/office/drawing/2014/main" id="{957C7548-E2EB-7AF8-4016-3ADDBEACBCDB}"/>
                  </a:ext>
                </a:extLst>
              </p:cNvPr>
              <p:cNvGrpSpPr/>
              <p:nvPr/>
            </p:nvGrpSpPr>
            <p:grpSpPr>
              <a:xfrm>
                <a:off x="10462782" y="4220122"/>
                <a:ext cx="84886" cy="38504"/>
                <a:chOff x="10462782" y="4220122"/>
                <a:chExt cx="84886" cy="38504"/>
              </a:xfrm>
              <a:noFill/>
            </p:grpSpPr>
            <p:sp>
              <p:nvSpPr>
                <p:cNvPr id="2245" name="Forma livre: Forma 2244">
                  <a:extLst>
                    <a:ext uri="{FF2B5EF4-FFF2-40B4-BE49-F238E27FC236}">
                      <a16:creationId xmlns:a16="http://schemas.microsoft.com/office/drawing/2014/main" id="{6185C7FC-83A9-7B21-04FA-2C197E8E6A71}"/>
                    </a:ext>
                  </a:extLst>
                </p:cNvPr>
                <p:cNvSpPr/>
                <p:nvPr/>
              </p:nvSpPr>
              <p:spPr>
                <a:xfrm>
                  <a:off x="10462782" y="4220122"/>
                  <a:ext cx="18708" cy="38504"/>
                </a:xfrm>
                <a:custGeom>
                  <a:avLst/>
                  <a:gdLst>
                    <a:gd name="connsiteX0" fmla="*/ 0 w 18708"/>
                    <a:gd name="connsiteY0" fmla="*/ 0 h 38504"/>
                    <a:gd name="connsiteX1" fmla="*/ 18709 w 18708"/>
                    <a:gd name="connsiteY1" fmla="*/ 38504 h 3850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8708" h="38504">
                      <a:moveTo>
                        <a:pt x="0" y="0"/>
                      </a:moveTo>
                      <a:cubicBezTo>
                        <a:pt x="0" y="16228"/>
                        <a:pt x="6709" y="28240"/>
                        <a:pt x="18709" y="38504"/>
                      </a:cubicBez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246" name="Forma livre: Forma 2245">
                  <a:extLst>
                    <a:ext uri="{FF2B5EF4-FFF2-40B4-BE49-F238E27FC236}">
                      <a16:creationId xmlns:a16="http://schemas.microsoft.com/office/drawing/2014/main" id="{095ECD2C-67D3-11D6-F512-18AA97E39A58}"/>
                    </a:ext>
                  </a:extLst>
                </p:cNvPr>
                <p:cNvSpPr/>
                <p:nvPr/>
              </p:nvSpPr>
              <p:spPr>
                <a:xfrm>
                  <a:off x="10528959" y="4220122"/>
                  <a:ext cx="18708" cy="38504"/>
                </a:xfrm>
                <a:custGeom>
                  <a:avLst/>
                  <a:gdLst>
                    <a:gd name="connsiteX0" fmla="*/ 18709 w 18708"/>
                    <a:gd name="connsiteY0" fmla="*/ 0 h 38504"/>
                    <a:gd name="connsiteX1" fmla="*/ 0 w 18708"/>
                    <a:gd name="connsiteY1" fmla="*/ 38504 h 3850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8708" h="38504">
                      <a:moveTo>
                        <a:pt x="18709" y="0"/>
                      </a:moveTo>
                      <a:cubicBezTo>
                        <a:pt x="18709" y="16228"/>
                        <a:pt x="12000" y="28240"/>
                        <a:pt x="0" y="38504"/>
                      </a:cubicBez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2247" name="Forma livre: Forma 2246">
                <a:extLst>
                  <a:ext uri="{FF2B5EF4-FFF2-40B4-BE49-F238E27FC236}">
                    <a16:creationId xmlns:a16="http://schemas.microsoft.com/office/drawing/2014/main" id="{C869444A-ABDE-DE08-F8AD-8AB28AF32956}"/>
                  </a:ext>
                </a:extLst>
              </p:cNvPr>
              <p:cNvSpPr/>
              <p:nvPr/>
            </p:nvSpPr>
            <p:spPr>
              <a:xfrm>
                <a:off x="10505219" y="4339118"/>
                <a:ext cx="11" cy="70145"/>
              </a:xfrm>
              <a:custGeom>
                <a:avLst/>
                <a:gdLst>
                  <a:gd name="connsiteX0" fmla="*/ 12 w 11"/>
                  <a:gd name="connsiteY0" fmla="*/ 0 h 70145"/>
                  <a:gd name="connsiteX1" fmla="*/ 0 w 11"/>
                  <a:gd name="connsiteY1" fmla="*/ 70146 h 701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" h="70145">
                    <a:moveTo>
                      <a:pt x="12" y="0"/>
                    </a:moveTo>
                    <a:lnTo>
                      <a:pt x="0" y="70146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2248" name="Gráfico 19">
                <a:extLst>
                  <a:ext uri="{FF2B5EF4-FFF2-40B4-BE49-F238E27FC236}">
                    <a16:creationId xmlns:a16="http://schemas.microsoft.com/office/drawing/2014/main" id="{545FECEE-1AC1-7C75-DABE-510AFB0B2E4C}"/>
                  </a:ext>
                </a:extLst>
              </p:cNvPr>
              <p:cNvGrpSpPr/>
              <p:nvPr/>
            </p:nvGrpSpPr>
            <p:grpSpPr>
              <a:xfrm>
                <a:off x="10405628" y="4305504"/>
                <a:ext cx="199193" cy="21626"/>
                <a:chOff x="10405628" y="4305504"/>
                <a:chExt cx="199193" cy="21626"/>
              </a:xfrm>
              <a:noFill/>
            </p:grpSpPr>
            <p:sp>
              <p:nvSpPr>
                <p:cNvPr id="2249" name="Forma livre: Forma 2248">
                  <a:extLst>
                    <a:ext uri="{FF2B5EF4-FFF2-40B4-BE49-F238E27FC236}">
                      <a16:creationId xmlns:a16="http://schemas.microsoft.com/office/drawing/2014/main" id="{18A6EB52-E91E-D535-DEFE-662394D95C96}"/>
                    </a:ext>
                  </a:extLst>
                </p:cNvPr>
                <p:cNvSpPr/>
                <p:nvPr/>
              </p:nvSpPr>
              <p:spPr>
                <a:xfrm>
                  <a:off x="10405628" y="4305504"/>
                  <a:ext cx="42437" cy="21626"/>
                </a:xfrm>
                <a:custGeom>
                  <a:avLst/>
                  <a:gdLst>
                    <a:gd name="connsiteX0" fmla="*/ 42437 w 42437"/>
                    <a:gd name="connsiteY0" fmla="*/ 9047 h 21626"/>
                    <a:gd name="connsiteX1" fmla="*/ 23693 w 42437"/>
                    <a:gd name="connsiteY1" fmla="*/ 0 h 21626"/>
                    <a:gd name="connsiteX2" fmla="*/ 0 w 42437"/>
                    <a:gd name="connsiteY2" fmla="*/ 21626 h 2162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42437" h="21626">
                      <a:moveTo>
                        <a:pt x="42437" y="9047"/>
                      </a:moveTo>
                      <a:lnTo>
                        <a:pt x="23693" y="0"/>
                      </a:lnTo>
                      <a:lnTo>
                        <a:pt x="0" y="21626"/>
                      </a:ln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250" name="Forma livre: Forma 2249">
                  <a:extLst>
                    <a:ext uri="{FF2B5EF4-FFF2-40B4-BE49-F238E27FC236}">
                      <a16:creationId xmlns:a16="http://schemas.microsoft.com/office/drawing/2014/main" id="{29B10B87-6B66-D99F-CD86-5D7C93310209}"/>
                    </a:ext>
                  </a:extLst>
                </p:cNvPr>
                <p:cNvSpPr/>
                <p:nvPr/>
              </p:nvSpPr>
              <p:spPr>
                <a:xfrm>
                  <a:off x="10562385" y="4305504"/>
                  <a:ext cx="42437" cy="21626"/>
                </a:xfrm>
                <a:custGeom>
                  <a:avLst/>
                  <a:gdLst>
                    <a:gd name="connsiteX0" fmla="*/ 0 w 42437"/>
                    <a:gd name="connsiteY0" fmla="*/ 9047 h 21626"/>
                    <a:gd name="connsiteX1" fmla="*/ 18744 w 42437"/>
                    <a:gd name="connsiteY1" fmla="*/ 0 h 21626"/>
                    <a:gd name="connsiteX2" fmla="*/ 42437 w 42437"/>
                    <a:gd name="connsiteY2" fmla="*/ 21626 h 2162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42437" h="21626">
                      <a:moveTo>
                        <a:pt x="0" y="9047"/>
                      </a:moveTo>
                      <a:lnTo>
                        <a:pt x="18744" y="0"/>
                      </a:lnTo>
                      <a:lnTo>
                        <a:pt x="42437" y="21626"/>
                      </a:ln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2251" name="Gráfico 19">
                <a:extLst>
                  <a:ext uri="{FF2B5EF4-FFF2-40B4-BE49-F238E27FC236}">
                    <a16:creationId xmlns:a16="http://schemas.microsoft.com/office/drawing/2014/main" id="{50C0E838-E1F6-7612-4428-E974227494FB}"/>
                  </a:ext>
                </a:extLst>
              </p:cNvPr>
              <p:cNvGrpSpPr/>
              <p:nvPr/>
            </p:nvGrpSpPr>
            <p:grpSpPr>
              <a:xfrm>
                <a:off x="10408888" y="4345544"/>
                <a:ext cx="192673" cy="28818"/>
                <a:chOff x="10408888" y="4345544"/>
                <a:chExt cx="192673" cy="28818"/>
              </a:xfrm>
              <a:noFill/>
            </p:grpSpPr>
            <p:sp>
              <p:nvSpPr>
                <p:cNvPr id="2252" name="Forma livre: Forma 2251">
                  <a:extLst>
                    <a:ext uri="{FF2B5EF4-FFF2-40B4-BE49-F238E27FC236}">
                      <a16:creationId xmlns:a16="http://schemas.microsoft.com/office/drawing/2014/main" id="{BC078CE1-0C48-163B-065D-ABAEDAB73920}"/>
                    </a:ext>
                  </a:extLst>
                </p:cNvPr>
                <p:cNvSpPr/>
                <p:nvPr/>
              </p:nvSpPr>
              <p:spPr>
                <a:xfrm>
                  <a:off x="10408888" y="4345544"/>
                  <a:ext cx="38834" cy="28818"/>
                </a:xfrm>
                <a:custGeom>
                  <a:avLst/>
                  <a:gdLst>
                    <a:gd name="connsiteX0" fmla="*/ 38835 w 38834"/>
                    <a:gd name="connsiteY0" fmla="*/ 0 h 28818"/>
                    <a:gd name="connsiteX1" fmla="*/ 16665 w 38834"/>
                    <a:gd name="connsiteY1" fmla="*/ 0 h 28818"/>
                    <a:gd name="connsiteX2" fmla="*/ 0 w 38834"/>
                    <a:gd name="connsiteY2" fmla="*/ 28819 h 2881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38834" h="28818">
                      <a:moveTo>
                        <a:pt x="38835" y="0"/>
                      </a:moveTo>
                      <a:lnTo>
                        <a:pt x="16665" y="0"/>
                      </a:lnTo>
                      <a:lnTo>
                        <a:pt x="0" y="28819"/>
                      </a:ln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253" name="Forma livre: Forma 2252">
                  <a:extLst>
                    <a:ext uri="{FF2B5EF4-FFF2-40B4-BE49-F238E27FC236}">
                      <a16:creationId xmlns:a16="http://schemas.microsoft.com/office/drawing/2014/main" id="{753CA55C-BC8F-22FB-9EFB-1268DE5416D7}"/>
                    </a:ext>
                  </a:extLst>
                </p:cNvPr>
                <p:cNvSpPr/>
                <p:nvPr/>
              </p:nvSpPr>
              <p:spPr>
                <a:xfrm>
                  <a:off x="10562727" y="4345544"/>
                  <a:ext cx="38834" cy="28818"/>
                </a:xfrm>
                <a:custGeom>
                  <a:avLst/>
                  <a:gdLst>
                    <a:gd name="connsiteX0" fmla="*/ 0 w 38834"/>
                    <a:gd name="connsiteY0" fmla="*/ 0 h 28818"/>
                    <a:gd name="connsiteX1" fmla="*/ 22169 w 38834"/>
                    <a:gd name="connsiteY1" fmla="*/ 0 h 28818"/>
                    <a:gd name="connsiteX2" fmla="*/ 38835 w 38834"/>
                    <a:gd name="connsiteY2" fmla="*/ 28819 h 2881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38834" h="28818">
                      <a:moveTo>
                        <a:pt x="0" y="0"/>
                      </a:moveTo>
                      <a:lnTo>
                        <a:pt x="22169" y="0"/>
                      </a:lnTo>
                      <a:lnTo>
                        <a:pt x="38835" y="28819"/>
                      </a:ln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2254" name="Gráfico 19">
                <a:extLst>
                  <a:ext uri="{FF2B5EF4-FFF2-40B4-BE49-F238E27FC236}">
                    <a16:creationId xmlns:a16="http://schemas.microsoft.com/office/drawing/2014/main" id="{A07DFA3D-C71F-0444-FB6B-72FF277CEFF4}"/>
                  </a:ext>
                </a:extLst>
              </p:cNvPr>
              <p:cNvGrpSpPr/>
              <p:nvPr/>
            </p:nvGrpSpPr>
            <p:grpSpPr>
              <a:xfrm>
                <a:off x="10431105" y="4379359"/>
                <a:ext cx="148240" cy="50574"/>
                <a:chOff x="10431105" y="4379359"/>
                <a:chExt cx="148240" cy="50574"/>
              </a:xfrm>
              <a:noFill/>
            </p:grpSpPr>
            <p:sp>
              <p:nvSpPr>
                <p:cNvPr id="2255" name="Forma livre: Forma 2254">
                  <a:extLst>
                    <a:ext uri="{FF2B5EF4-FFF2-40B4-BE49-F238E27FC236}">
                      <a16:creationId xmlns:a16="http://schemas.microsoft.com/office/drawing/2014/main" id="{FE44F3C4-3120-0843-BD08-6420F5F36177}"/>
                    </a:ext>
                  </a:extLst>
                </p:cNvPr>
                <p:cNvSpPr/>
                <p:nvPr/>
              </p:nvSpPr>
              <p:spPr>
                <a:xfrm>
                  <a:off x="10431105" y="4379359"/>
                  <a:ext cx="26598" cy="50574"/>
                </a:xfrm>
                <a:custGeom>
                  <a:avLst/>
                  <a:gdLst>
                    <a:gd name="connsiteX0" fmla="*/ 26598 w 26598"/>
                    <a:gd name="connsiteY0" fmla="*/ 0 h 50574"/>
                    <a:gd name="connsiteX1" fmla="*/ 7819 w 26598"/>
                    <a:gd name="connsiteY1" fmla="*/ 0 h 50574"/>
                    <a:gd name="connsiteX2" fmla="*/ 0 w 26598"/>
                    <a:gd name="connsiteY2" fmla="*/ 50575 h 505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26598" h="50574">
                      <a:moveTo>
                        <a:pt x="26598" y="0"/>
                      </a:moveTo>
                      <a:lnTo>
                        <a:pt x="7819" y="0"/>
                      </a:lnTo>
                      <a:lnTo>
                        <a:pt x="0" y="50575"/>
                      </a:ln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256" name="Forma livre: Forma 2255">
                  <a:extLst>
                    <a:ext uri="{FF2B5EF4-FFF2-40B4-BE49-F238E27FC236}">
                      <a16:creationId xmlns:a16="http://schemas.microsoft.com/office/drawing/2014/main" id="{CB5EB57B-50BD-BAF2-9D95-2E69C47FD3A0}"/>
                    </a:ext>
                  </a:extLst>
                </p:cNvPr>
                <p:cNvSpPr/>
                <p:nvPr/>
              </p:nvSpPr>
              <p:spPr>
                <a:xfrm>
                  <a:off x="10552747" y="4379359"/>
                  <a:ext cx="26598" cy="50574"/>
                </a:xfrm>
                <a:custGeom>
                  <a:avLst/>
                  <a:gdLst>
                    <a:gd name="connsiteX0" fmla="*/ 0 w 26598"/>
                    <a:gd name="connsiteY0" fmla="*/ 0 h 50574"/>
                    <a:gd name="connsiteX1" fmla="*/ 18780 w 26598"/>
                    <a:gd name="connsiteY1" fmla="*/ 0 h 50574"/>
                    <a:gd name="connsiteX2" fmla="*/ 26598 w 26598"/>
                    <a:gd name="connsiteY2" fmla="*/ 50575 h 505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26598" h="50574">
                      <a:moveTo>
                        <a:pt x="0" y="0"/>
                      </a:moveTo>
                      <a:lnTo>
                        <a:pt x="18780" y="0"/>
                      </a:lnTo>
                      <a:lnTo>
                        <a:pt x="26598" y="50575"/>
                      </a:ln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sp>
          <p:nvSpPr>
            <p:cNvPr id="2257" name="Forma livre: Forma 2256">
              <a:extLst>
                <a:ext uri="{FF2B5EF4-FFF2-40B4-BE49-F238E27FC236}">
                  <a16:creationId xmlns:a16="http://schemas.microsoft.com/office/drawing/2014/main" id="{9C9A54B3-4784-C0D8-B1E6-F4491AE60E68}"/>
                </a:ext>
              </a:extLst>
            </p:cNvPr>
            <p:cNvSpPr/>
            <p:nvPr/>
          </p:nvSpPr>
          <p:spPr>
            <a:xfrm>
              <a:off x="10567156" y="4265346"/>
              <a:ext cx="77716" cy="171661"/>
            </a:xfrm>
            <a:custGeom>
              <a:avLst/>
              <a:gdLst>
                <a:gd name="connsiteX0" fmla="*/ 0 w 77716"/>
                <a:gd name="connsiteY0" fmla="*/ 0 h 171661"/>
                <a:gd name="connsiteX1" fmla="*/ 57319 w 77716"/>
                <a:gd name="connsiteY1" fmla="*/ 0 h 171661"/>
                <a:gd name="connsiteX2" fmla="*/ 77717 w 77716"/>
                <a:gd name="connsiteY2" fmla="*/ 20386 h 171661"/>
                <a:gd name="connsiteX3" fmla="*/ 77717 w 77716"/>
                <a:gd name="connsiteY3" fmla="*/ 171662 h 1716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7716" h="171661">
                  <a:moveTo>
                    <a:pt x="0" y="0"/>
                  </a:moveTo>
                  <a:lnTo>
                    <a:pt x="57319" y="0"/>
                  </a:lnTo>
                  <a:cubicBezTo>
                    <a:pt x="68540" y="0"/>
                    <a:pt x="77717" y="9177"/>
                    <a:pt x="77717" y="20386"/>
                  </a:cubicBezTo>
                  <a:lnTo>
                    <a:pt x="77717" y="171662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258" name="Forma livre: Forma 2257">
              <a:extLst>
                <a:ext uri="{FF2B5EF4-FFF2-40B4-BE49-F238E27FC236}">
                  <a16:creationId xmlns:a16="http://schemas.microsoft.com/office/drawing/2014/main" id="{86EC3888-C614-D994-2128-2B49B8132CE9}"/>
                </a:ext>
              </a:extLst>
            </p:cNvPr>
            <p:cNvSpPr/>
            <p:nvPr/>
          </p:nvSpPr>
          <p:spPr>
            <a:xfrm>
              <a:off x="10365577" y="4265346"/>
              <a:ext cx="77799" cy="171661"/>
            </a:xfrm>
            <a:custGeom>
              <a:avLst/>
              <a:gdLst>
                <a:gd name="connsiteX0" fmla="*/ 0 w 77799"/>
                <a:gd name="connsiteY0" fmla="*/ 171662 h 171661"/>
                <a:gd name="connsiteX1" fmla="*/ 0 w 77799"/>
                <a:gd name="connsiteY1" fmla="*/ 20386 h 171661"/>
                <a:gd name="connsiteX2" fmla="*/ 20374 w 77799"/>
                <a:gd name="connsiteY2" fmla="*/ 0 h 171661"/>
                <a:gd name="connsiteX3" fmla="*/ 77799 w 77799"/>
                <a:gd name="connsiteY3" fmla="*/ 0 h 1716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7799" h="171661">
                  <a:moveTo>
                    <a:pt x="0" y="171662"/>
                  </a:moveTo>
                  <a:lnTo>
                    <a:pt x="0" y="20386"/>
                  </a:lnTo>
                  <a:cubicBezTo>
                    <a:pt x="0" y="9177"/>
                    <a:pt x="9177" y="0"/>
                    <a:pt x="20374" y="0"/>
                  </a:cubicBezTo>
                  <a:lnTo>
                    <a:pt x="77799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259" name="Forma livre: Forma 2258">
              <a:extLst>
                <a:ext uri="{FF2B5EF4-FFF2-40B4-BE49-F238E27FC236}">
                  <a16:creationId xmlns:a16="http://schemas.microsoft.com/office/drawing/2014/main" id="{84F6A343-A623-C58A-947E-54AAB539FF0C}"/>
                </a:ext>
              </a:extLst>
            </p:cNvPr>
            <p:cNvSpPr/>
            <p:nvPr/>
          </p:nvSpPr>
          <p:spPr>
            <a:xfrm>
              <a:off x="10333038" y="4458752"/>
              <a:ext cx="344363" cy="26976"/>
            </a:xfrm>
            <a:custGeom>
              <a:avLst/>
              <a:gdLst>
                <a:gd name="connsiteX0" fmla="*/ 0 w 344363"/>
                <a:gd name="connsiteY0" fmla="*/ 0 h 26976"/>
                <a:gd name="connsiteX1" fmla="*/ 25665 w 344363"/>
                <a:gd name="connsiteY1" fmla="*/ 26976 h 26976"/>
                <a:gd name="connsiteX2" fmla="*/ 318686 w 344363"/>
                <a:gd name="connsiteY2" fmla="*/ 26976 h 26976"/>
                <a:gd name="connsiteX3" fmla="*/ 344363 w 344363"/>
                <a:gd name="connsiteY3" fmla="*/ 0 h 26976"/>
                <a:gd name="connsiteX4" fmla="*/ 0 w 344363"/>
                <a:gd name="connsiteY4" fmla="*/ 0 h 269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4363" h="26976">
                  <a:moveTo>
                    <a:pt x="0" y="0"/>
                  </a:moveTo>
                  <a:cubicBezTo>
                    <a:pt x="0" y="0"/>
                    <a:pt x="5941" y="26976"/>
                    <a:pt x="25665" y="26976"/>
                  </a:cubicBezTo>
                  <a:lnTo>
                    <a:pt x="318686" y="26976"/>
                  </a:lnTo>
                  <a:cubicBezTo>
                    <a:pt x="338422" y="26976"/>
                    <a:pt x="344363" y="0"/>
                    <a:pt x="344363" y="0"/>
                  </a:cubicBezTo>
                  <a:lnTo>
                    <a:pt x="0" y="0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2260" name="Gráfico 19">
            <a:extLst>
              <a:ext uri="{FF2B5EF4-FFF2-40B4-BE49-F238E27FC236}">
                <a16:creationId xmlns:a16="http://schemas.microsoft.com/office/drawing/2014/main" id="{CFE360F2-F35A-8500-1218-77E1BF6F6C34}"/>
              </a:ext>
            </a:extLst>
          </p:cNvPr>
          <p:cNvGrpSpPr/>
          <p:nvPr/>
        </p:nvGrpSpPr>
        <p:grpSpPr>
          <a:xfrm>
            <a:off x="9751497" y="4219933"/>
            <a:ext cx="276485" cy="265973"/>
            <a:chOff x="9751497" y="4219933"/>
            <a:chExt cx="276485" cy="265973"/>
          </a:xfrm>
          <a:noFill/>
        </p:grpSpPr>
        <p:grpSp>
          <p:nvGrpSpPr>
            <p:cNvPr id="2261" name="Gráfico 19">
              <a:extLst>
                <a:ext uri="{FF2B5EF4-FFF2-40B4-BE49-F238E27FC236}">
                  <a16:creationId xmlns:a16="http://schemas.microsoft.com/office/drawing/2014/main" id="{E09A24EF-EE16-AD54-EE79-F50C43DF65EC}"/>
                </a:ext>
              </a:extLst>
            </p:cNvPr>
            <p:cNvGrpSpPr/>
            <p:nvPr/>
          </p:nvGrpSpPr>
          <p:grpSpPr>
            <a:xfrm>
              <a:off x="9751497" y="4219933"/>
              <a:ext cx="200114" cy="265973"/>
              <a:chOff x="9751497" y="4219933"/>
              <a:chExt cx="200114" cy="265973"/>
            </a:xfrm>
            <a:noFill/>
          </p:grpSpPr>
          <p:sp>
            <p:nvSpPr>
              <p:cNvPr id="2262" name="Forma livre: Forma 2261">
                <a:extLst>
                  <a:ext uri="{FF2B5EF4-FFF2-40B4-BE49-F238E27FC236}">
                    <a16:creationId xmlns:a16="http://schemas.microsoft.com/office/drawing/2014/main" id="{BB426C02-B863-6570-17CB-0444F32BFE36}"/>
                  </a:ext>
                </a:extLst>
              </p:cNvPr>
              <p:cNvSpPr/>
              <p:nvPr/>
            </p:nvSpPr>
            <p:spPr>
              <a:xfrm>
                <a:off x="9751497" y="4219933"/>
                <a:ext cx="200114" cy="265973"/>
              </a:xfrm>
              <a:custGeom>
                <a:avLst/>
                <a:gdLst>
                  <a:gd name="connsiteX0" fmla="*/ 200115 w 200114"/>
                  <a:gd name="connsiteY0" fmla="*/ 97736 h 265973"/>
                  <a:gd name="connsiteX1" fmla="*/ 200115 w 200114"/>
                  <a:gd name="connsiteY1" fmla="*/ 0 h 265973"/>
                  <a:gd name="connsiteX2" fmla="*/ 52807 w 200114"/>
                  <a:gd name="connsiteY2" fmla="*/ 0 h 265973"/>
                  <a:gd name="connsiteX3" fmla="*/ 0 w 200114"/>
                  <a:gd name="connsiteY3" fmla="*/ 52795 h 265973"/>
                  <a:gd name="connsiteX4" fmla="*/ 0 w 200114"/>
                  <a:gd name="connsiteY4" fmla="*/ 265973 h 265973"/>
                  <a:gd name="connsiteX5" fmla="*/ 200115 w 200114"/>
                  <a:gd name="connsiteY5" fmla="*/ 265973 h 265973"/>
                  <a:gd name="connsiteX6" fmla="*/ 200115 w 200114"/>
                  <a:gd name="connsiteY6" fmla="*/ 232442 h 2659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00114" h="265973">
                    <a:moveTo>
                      <a:pt x="200115" y="97736"/>
                    </a:moveTo>
                    <a:lnTo>
                      <a:pt x="200115" y="0"/>
                    </a:lnTo>
                    <a:lnTo>
                      <a:pt x="52807" y="0"/>
                    </a:lnTo>
                    <a:lnTo>
                      <a:pt x="0" y="52795"/>
                    </a:lnTo>
                    <a:lnTo>
                      <a:pt x="0" y="265973"/>
                    </a:lnTo>
                    <a:lnTo>
                      <a:pt x="200115" y="265973"/>
                    </a:lnTo>
                    <a:lnTo>
                      <a:pt x="200115" y="232442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263" name="Forma livre: Forma 2262">
                <a:extLst>
                  <a:ext uri="{FF2B5EF4-FFF2-40B4-BE49-F238E27FC236}">
                    <a16:creationId xmlns:a16="http://schemas.microsoft.com/office/drawing/2014/main" id="{76533F24-03D4-8EF4-A943-C07E19EA0315}"/>
                  </a:ext>
                </a:extLst>
              </p:cNvPr>
              <p:cNvSpPr/>
              <p:nvPr/>
            </p:nvSpPr>
            <p:spPr>
              <a:xfrm>
                <a:off x="9776808" y="4245457"/>
                <a:ext cx="36106" cy="36059"/>
              </a:xfrm>
              <a:custGeom>
                <a:avLst/>
                <a:gdLst>
                  <a:gd name="connsiteX0" fmla="*/ 36106 w 36106"/>
                  <a:gd name="connsiteY0" fmla="*/ 0 h 36059"/>
                  <a:gd name="connsiteX1" fmla="*/ 36106 w 36106"/>
                  <a:gd name="connsiteY1" fmla="*/ 36059 h 36059"/>
                  <a:gd name="connsiteX2" fmla="*/ 0 w 36106"/>
                  <a:gd name="connsiteY2" fmla="*/ 36059 h 360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6106" h="36059">
                    <a:moveTo>
                      <a:pt x="36106" y="0"/>
                    </a:moveTo>
                    <a:lnTo>
                      <a:pt x="36106" y="36059"/>
                    </a:lnTo>
                    <a:lnTo>
                      <a:pt x="0" y="36059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2264" name="Gráfico 19">
              <a:extLst>
                <a:ext uri="{FF2B5EF4-FFF2-40B4-BE49-F238E27FC236}">
                  <a16:creationId xmlns:a16="http://schemas.microsoft.com/office/drawing/2014/main" id="{C2857172-9E05-EEEC-E7A7-93D16DF29AD7}"/>
                </a:ext>
              </a:extLst>
            </p:cNvPr>
            <p:cNvGrpSpPr/>
            <p:nvPr/>
          </p:nvGrpSpPr>
          <p:grpSpPr>
            <a:xfrm>
              <a:off x="9810658" y="4341445"/>
              <a:ext cx="217323" cy="88334"/>
              <a:chOff x="9810658" y="4341445"/>
              <a:chExt cx="217323" cy="88334"/>
            </a:xfrm>
            <a:noFill/>
          </p:grpSpPr>
          <p:grpSp>
            <p:nvGrpSpPr>
              <p:cNvPr id="2265" name="Gráfico 19">
                <a:extLst>
                  <a:ext uri="{FF2B5EF4-FFF2-40B4-BE49-F238E27FC236}">
                    <a16:creationId xmlns:a16="http://schemas.microsoft.com/office/drawing/2014/main" id="{938890DB-BE0C-C932-0F54-4274BFF588C2}"/>
                  </a:ext>
                </a:extLst>
              </p:cNvPr>
              <p:cNvGrpSpPr/>
              <p:nvPr/>
            </p:nvGrpSpPr>
            <p:grpSpPr>
              <a:xfrm>
                <a:off x="9842961" y="4373748"/>
                <a:ext cx="152716" cy="23740"/>
                <a:chOff x="9842961" y="4373748"/>
                <a:chExt cx="152716" cy="23740"/>
              </a:xfrm>
            </p:grpSpPr>
            <p:grpSp>
              <p:nvGrpSpPr>
                <p:cNvPr id="2266" name="Gráfico 19">
                  <a:extLst>
                    <a:ext uri="{FF2B5EF4-FFF2-40B4-BE49-F238E27FC236}">
                      <a16:creationId xmlns:a16="http://schemas.microsoft.com/office/drawing/2014/main" id="{9FD8ADC5-97CB-7958-3CDD-7A4618DE588A}"/>
                    </a:ext>
                  </a:extLst>
                </p:cNvPr>
                <p:cNvGrpSpPr/>
                <p:nvPr/>
              </p:nvGrpSpPr>
              <p:grpSpPr>
                <a:xfrm>
                  <a:off x="9842961" y="4373748"/>
                  <a:ext cx="23740" cy="23740"/>
                  <a:chOff x="9842961" y="4373748"/>
                  <a:chExt cx="23740" cy="23740"/>
                </a:xfrm>
              </p:grpSpPr>
              <p:sp>
                <p:nvSpPr>
                  <p:cNvPr id="2267" name="Forma livre: Forma 2266">
                    <a:extLst>
                      <a:ext uri="{FF2B5EF4-FFF2-40B4-BE49-F238E27FC236}">
                        <a16:creationId xmlns:a16="http://schemas.microsoft.com/office/drawing/2014/main" id="{1CF7A05B-037D-3CDE-59B4-E60C6918A60E}"/>
                      </a:ext>
                    </a:extLst>
                  </p:cNvPr>
                  <p:cNvSpPr/>
                  <p:nvPr/>
                </p:nvSpPr>
                <p:spPr>
                  <a:xfrm>
                    <a:off x="9842961" y="4373748"/>
                    <a:ext cx="23740" cy="23740"/>
                  </a:xfrm>
                  <a:custGeom>
                    <a:avLst/>
                    <a:gdLst>
                      <a:gd name="connsiteX0" fmla="*/ 23740 w 23740"/>
                      <a:gd name="connsiteY0" fmla="*/ 0 h 23740"/>
                      <a:gd name="connsiteX1" fmla="*/ 0 w 23740"/>
                      <a:gd name="connsiteY1" fmla="*/ 23740 h 2374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23740" h="23740">
                        <a:moveTo>
                          <a:pt x="23740" y="0"/>
                        </a:moveTo>
                        <a:lnTo>
                          <a:pt x="0" y="23740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2268" name="Forma livre: Forma 2267">
                    <a:extLst>
                      <a:ext uri="{FF2B5EF4-FFF2-40B4-BE49-F238E27FC236}">
                        <a16:creationId xmlns:a16="http://schemas.microsoft.com/office/drawing/2014/main" id="{FDCFB8F5-48FC-4485-1570-5317EC5B8F14}"/>
                      </a:ext>
                    </a:extLst>
                  </p:cNvPr>
                  <p:cNvSpPr/>
                  <p:nvPr/>
                </p:nvSpPr>
                <p:spPr>
                  <a:xfrm>
                    <a:off x="9842961" y="4373748"/>
                    <a:ext cx="23740" cy="23740"/>
                  </a:xfrm>
                  <a:custGeom>
                    <a:avLst/>
                    <a:gdLst>
                      <a:gd name="connsiteX0" fmla="*/ 23740 w 23740"/>
                      <a:gd name="connsiteY0" fmla="*/ 23740 h 23740"/>
                      <a:gd name="connsiteX1" fmla="*/ 0 w 23740"/>
                      <a:gd name="connsiteY1" fmla="*/ 0 h 2374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23740" h="23740">
                        <a:moveTo>
                          <a:pt x="23740" y="23740"/>
                        </a:moveTo>
                        <a:lnTo>
                          <a:pt x="0" y="0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  <p:grpSp>
              <p:nvGrpSpPr>
                <p:cNvPr id="2269" name="Gráfico 19">
                  <a:extLst>
                    <a:ext uri="{FF2B5EF4-FFF2-40B4-BE49-F238E27FC236}">
                      <a16:creationId xmlns:a16="http://schemas.microsoft.com/office/drawing/2014/main" id="{F4AD14FD-13B8-24C1-5C00-CCD4260A945B}"/>
                    </a:ext>
                  </a:extLst>
                </p:cNvPr>
                <p:cNvGrpSpPr/>
                <p:nvPr/>
              </p:nvGrpSpPr>
              <p:grpSpPr>
                <a:xfrm>
                  <a:off x="9907450" y="4373748"/>
                  <a:ext cx="23740" cy="23740"/>
                  <a:chOff x="9907450" y="4373748"/>
                  <a:chExt cx="23740" cy="23740"/>
                </a:xfrm>
              </p:grpSpPr>
              <p:sp>
                <p:nvSpPr>
                  <p:cNvPr id="2270" name="Forma livre: Forma 2269">
                    <a:extLst>
                      <a:ext uri="{FF2B5EF4-FFF2-40B4-BE49-F238E27FC236}">
                        <a16:creationId xmlns:a16="http://schemas.microsoft.com/office/drawing/2014/main" id="{299FE644-B4C0-DF5A-B74D-4235CD6CAF98}"/>
                      </a:ext>
                    </a:extLst>
                  </p:cNvPr>
                  <p:cNvSpPr/>
                  <p:nvPr/>
                </p:nvSpPr>
                <p:spPr>
                  <a:xfrm>
                    <a:off x="9907450" y="4373748"/>
                    <a:ext cx="23740" cy="23740"/>
                  </a:xfrm>
                  <a:custGeom>
                    <a:avLst/>
                    <a:gdLst>
                      <a:gd name="connsiteX0" fmla="*/ 23740 w 23740"/>
                      <a:gd name="connsiteY0" fmla="*/ 0 h 23740"/>
                      <a:gd name="connsiteX1" fmla="*/ 0 w 23740"/>
                      <a:gd name="connsiteY1" fmla="*/ 23740 h 2374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23740" h="23740">
                        <a:moveTo>
                          <a:pt x="23740" y="0"/>
                        </a:moveTo>
                        <a:lnTo>
                          <a:pt x="0" y="23740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2271" name="Forma livre: Forma 2270">
                    <a:extLst>
                      <a:ext uri="{FF2B5EF4-FFF2-40B4-BE49-F238E27FC236}">
                        <a16:creationId xmlns:a16="http://schemas.microsoft.com/office/drawing/2014/main" id="{19AEA02D-3943-FF29-E31E-5BE030EFCA75}"/>
                      </a:ext>
                    </a:extLst>
                  </p:cNvPr>
                  <p:cNvSpPr/>
                  <p:nvPr/>
                </p:nvSpPr>
                <p:spPr>
                  <a:xfrm>
                    <a:off x="9907450" y="4373748"/>
                    <a:ext cx="23740" cy="23740"/>
                  </a:xfrm>
                  <a:custGeom>
                    <a:avLst/>
                    <a:gdLst>
                      <a:gd name="connsiteX0" fmla="*/ 23740 w 23740"/>
                      <a:gd name="connsiteY0" fmla="*/ 23740 h 23740"/>
                      <a:gd name="connsiteX1" fmla="*/ 0 w 23740"/>
                      <a:gd name="connsiteY1" fmla="*/ 0 h 2374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23740" h="23740">
                        <a:moveTo>
                          <a:pt x="23740" y="23740"/>
                        </a:moveTo>
                        <a:lnTo>
                          <a:pt x="0" y="0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  <p:grpSp>
              <p:nvGrpSpPr>
                <p:cNvPr id="2272" name="Gráfico 19">
                  <a:extLst>
                    <a:ext uri="{FF2B5EF4-FFF2-40B4-BE49-F238E27FC236}">
                      <a16:creationId xmlns:a16="http://schemas.microsoft.com/office/drawing/2014/main" id="{AC670D04-2D80-642E-B2E6-466628A9DBAA}"/>
                    </a:ext>
                  </a:extLst>
                </p:cNvPr>
                <p:cNvGrpSpPr/>
                <p:nvPr/>
              </p:nvGrpSpPr>
              <p:grpSpPr>
                <a:xfrm>
                  <a:off x="9971950" y="4373748"/>
                  <a:ext cx="23728" cy="23740"/>
                  <a:chOff x="9971950" y="4373748"/>
                  <a:chExt cx="23728" cy="23740"/>
                </a:xfrm>
              </p:grpSpPr>
              <p:sp>
                <p:nvSpPr>
                  <p:cNvPr id="2273" name="Forma livre: Forma 2272">
                    <a:extLst>
                      <a:ext uri="{FF2B5EF4-FFF2-40B4-BE49-F238E27FC236}">
                        <a16:creationId xmlns:a16="http://schemas.microsoft.com/office/drawing/2014/main" id="{B8082463-C732-CE59-3081-DFB40E84CF82}"/>
                      </a:ext>
                    </a:extLst>
                  </p:cNvPr>
                  <p:cNvSpPr/>
                  <p:nvPr/>
                </p:nvSpPr>
                <p:spPr>
                  <a:xfrm>
                    <a:off x="9971950" y="4373748"/>
                    <a:ext cx="23728" cy="23740"/>
                  </a:xfrm>
                  <a:custGeom>
                    <a:avLst/>
                    <a:gdLst>
                      <a:gd name="connsiteX0" fmla="*/ 23728 w 23728"/>
                      <a:gd name="connsiteY0" fmla="*/ 0 h 23740"/>
                      <a:gd name="connsiteX1" fmla="*/ 0 w 23728"/>
                      <a:gd name="connsiteY1" fmla="*/ 23740 h 2374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23728" h="23740">
                        <a:moveTo>
                          <a:pt x="23728" y="0"/>
                        </a:moveTo>
                        <a:lnTo>
                          <a:pt x="0" y="23740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2274" name="Forma livre: Forma 2273">
                    <a:extLst>
                      <a:ext uri="{FF2B5EF4-FFF2-40B4-BE49-F238E27FC236}">
                        <a16:creationId xmlns:a16="http://schemas.microsoft.com/office/drawing/2014/main" id="{9DF40F07-C17E-FE3A-69B5-A2C3E7247093}"/>
                      </a:ext>
                    </a:extLst>
                  </p:cNvPr>
                  <p:cNvSpPr/>
                  <p:nvPr/>
                </p:nvSpPr>
                <p:spPr>
                  <a:xfrm>
                    <a:off x="9971950" y="4373748"/>
                    <a:ext cx="23728" cy="23740"/>
                  </a:xfrm>
                  <a:custGeom>
                    <a:avLst/>
                    <a:gdLst>
                      <a:gd name="connsiteX0" fmla="*/ 23728 w 23728"/>
                      <a:gd name="connsiteY0" fmla="*/ 23740 h 23740"/>
                      <a:gd name="connsiteX1" fmla="*/ 0 w 23728"/>
                      <a:gd name="connsiteY1" fmla="*/ 0 h 2374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23728" h="23740">
                        <a:moveTo>
                          <a:pt x="23728" y="23740"/>
                        </a:moveTo>
                        <a:lnTo>
                          <a:pt x="0" y="0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</p:grpSp>
          <p:sp>
            <p:nvSpPr>
              <p:cNvPr id="2275" name="Forma livre: Forma 2274">
                <a:extLst>
                  <a:ext uri="{FF2B5EF4-FFF2-40B4-BE49-F238E27FC236}">
                    <a16:creationId xmlns:a16="http://schemas.microsoft.com/office/drawing/2014/main" id="{CC359D0F-0EB3-3C30-A3ED-F64C861033DD}"/>
                  </a:ext>
                </a:extLst>
              </p:cNvPr>
              <p:cNvSpPr/>
              <p:nvPr/>
            </p:nvSpPr>
            <p:spPr>
              <a:xfrm>
                <a:off x="9810658" y="4341445"/>
                <a:ext cx="217323" cy="88334"/>
              </a:xfrm>
              <a:custGeom>
                <a:avLst/>
                <a:gdLst>
                  <a:gd name="connsiteX0" fmla="*/ 0 w 217323"/>
                  <a:gd name="connsiteY0" fmla="*/ 0 h 88334"/>
                  <a:gd name="connsiteX1" fmla="*/ 217323 w 217323"/>
                  <a:gd name="connsiteY1" fmla="*/ 0 h 88334"/>
                  <a:gd name="connsiteX2" fmla="*/ 217323 w 217323"/>
                  <a:gd name="connsiteY2" fmla="*/ 88335 h 88334"/>
                  <a:gd name="connsiteX3" fmla="*/ 0 w 217323"/>
                  <a:gd name="connsiteY3" fmla="*/ 88335 h 883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17323" h="88334">
                    <a:moveTo>
                      <a:pt x="0" y="0"/>
                    </a:moveTo>
                    <a:lnTo>
                      <a:pt x="217323" y="0"/>
                    </a:lnTo>
                    <a:lnTo>
                      <a:pt x="217323" y="88335"/>
                    </a:lnTo>
                    <a:lnTo>
                      <a:pt x="0" y="88335"/>
                    </a:lnTo>
                    <a:close/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2276" name="Gráfico 19">
            <a:extLst>
              <a:ext uri="{FF2B5EF4-FFF2-40B4-BE49-F238E27FC236}">
                <a16:creationId xmlns:a16="http://schemas.microsoft.com/office/drawing/2014/main" id="{0C83AAF8-7B51-F7B8-C874-8169CBFEC330}"/>
              </a:ext>
            </a:extLst>
          </p:cNvPr>
          <p:cNvGrpSpPr/>
          <p:nvPr/>
        </p:nvGrpSpPr>
        <p:grpSpPr>
          <a:xfrm>
            <a:off x="11017536" y="4205925"/>
            <a:ext cx="248870" cy="293988"/>
            <a:chOff x="11017536" y="4205925"/>
            <a:chExt cx="248870" cy="293988"/>
          </a:xfrm>
          <a:noFill/>
        </p:grpSpPr>
        <p:grpSp>
          <p:nvGrpSpPr>
            <p:cNvPr id="2277" name="Gráfico 19">
              <a:extLst>
                <a:ext uri="{FF2B5EF4-FFF2-40B4-BE49-F238E27FC236}">
                  <a16:creationId xmlns:a16="http://schemas.microsoft.com/office/drawing/2014/main" id="{3081274D-0FDC-9723-04DB-40BA8597743F}"/>
                </a:ext>
              </a:extLst>
            </p:cNvPr>
            <p:cNvGrpSpPr/>
            <p:nvPr/>
          </p:nvGrpSpPr>
          <p:grpSpPr>
            <a:xfrm>
              <a:off x="11093989" y="4230764"/>
              <a:ext cx="172417" cy="181618"/>
              <a:chOff x="11093989" y="4230764"/>
              <a:chExt cx="172417" cy="181618"/>
            </a:xfrm>
            <a:noFill/>
          </p:grpSpPr>
          <p:sp>
            <p:nvSpPr>
              <p:cNvPr id="2278" name="Forma livre: Forma 2277">
                <a:extLst>
                  <a:ext uri="{FF2B5EF4-FFF2-40B4-BE49-F238E27FC236}">
                    <a16:creationId xmlns:a16="http://schemas.microsoft.com/office/drawing/2014/main" id="{A7296A84-B9A4-1DD3-CEFD-F7839B7E3583}"/>
                  </a:ext>
                </a:extLst>
              </p:cNvPr>
              <p:cNvSpPr/>
              <p:nvPr/>
            </p:nvSpPr>
            <p:spPr>
              <a:xfrm>
                <a:off x="11130556" y="4260421"/>
                <a:ext cx="99295" cy="135649"/>
              </a:xfrm>
              <a:custGeom>
                <a:avLst/>
                <a:gdLst>
                  <a:gd name="connsiteX0" fmla="*/ 92823 w 99295"/>
                  <a:gd name="connsiteY0" fmla="*/ 38445 h 135649"/>
                  <a:gd name="connsiteX1" fmla="*/ 75402 w 99295"/>
                  <a:gd name="connsiteY1" fmla="*/ 41752 h 135649"/>
                  <a:gd name="connsiteX2" fmla="*/ 49654 w 99295"/>
                  <a:gd name="connsiteY2" fmla="*/ 43512 h 135649"/>
                  <a:gd name="connsiteX3" fmla="*/ 5587 w 99295"/>
                  <a:gd name="connsiteY3" fmla="*/ 38221 h 135649"/>
                  <a:gd name="connsiteX4" fmla="*/ 0 w 99295"/>
                  <a:gd name="connsiteY4" fmla="*/ 69331 h 135649"/>
                  <a:gd name="connsiteX5" fmla="*/ 22417 w 99295"/>
                  <a:gd name="connsiteY5" fmla="*/ 126071 h 135649"/>
                  <a:gd name="connsiteX6" fmla="*/ 49654 w 99295"/>
                  <a:gd name="connsiteY6" fmla="*/ 135650 h 135649"/>
                  <a:gd name="connsiteX7" fmla="*/ 76878 w 99295"/>
                  <a:gd name="connsiteY7" fmla="*/ 126083 h 135649"/>
                  <a:gd name="connsiteX8" fmla="*/ 99296 w 99295"/>
                  <a:gd name="connsiteY8" fmla="*/ 69319 h 135649"/>
                  <a:gd name="connsiteX9" fmla="*/ 93697 w 99295"/>
                  <a:gd name="connsiteY9" fmla="*/ 38209 h 135649"/>
                  <a:gd name="connsiteX10" fmla="*/ 76677 w 99295"/>
                  <a:gd name="connsiteY10" fmla="*/ 9579 h 135649"/>
                  <a:gd name="connsiteX11" fmla="*/ 49654 w 99295"/>
                  <a:gd name="connsiteY11" fmla="*/ 0 h 135649"/>
                  <a:gd name="connsiteX12" fmla="*/ 22630 w 99295"/>
                  <a:gd name="connsiteY12" fmla="*/ 9567 h 135649"/>
                  <a:gd name="connsiteX13" fmla="*/ 14681 w 99295"/>
                  <a:gd name="connsiteY13" fmla="*/ 19465 h 1356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99295" h="135649">
                    <a:moveTo>
                      <a:pt x="92823" y="38445"/>
                    </a:moveTo>
                    <a:cubicBezTo>
                      <a:pt x="90603" y="39024"/>
                      <a:pt x="84355" y="40536"/>
                      <a:pt x="75402" y="41752"/>
                    </a:cubicBezTo>
                    <a:cubicBezTo>
                      <a:pt x="68292" y="42721"/>
                      <a:pt x="59480" y="43512"/>
                      <a:pt x="49654" y="43512"/>
                    </a:cubicBezTo>
                    <a:cubicBezTo>
                      <a:pt x="24177" y="43512"/>
                      <a:pt x="5587" y="38221"/>
                      <a:pt x="5587" y="38221"/>
                    </a:cubicBezTo>
                    <a:cubicBezTo>
                      <a:pt x="2055" y="47563"/>
                      <a:pt x="0" y="58099"/>
                      <a:pt x="0" y="69331"/>
                    </a:cubicBezTo>
                    <a:cubicBezTo>
                      <a:pt x="0" y="92481"/>
                      <a:pt x="12000" y="116339"/>
                      <a:pt x="22417" y="126071"/>
                    </a:cubicBezTo>
                    <a:cubicBezTo>
                      <a:pt x="30709" y="133843"/>
                      <a:pt x="39898" y="135650"/>
                      <a:pt x="49654" y="135650"/>
                    </a:cubicBezTo>
                    <a:cubicBezTo>
                      <a:pt x="59398" y="135650"/>
                      <a:pt x="68587" y="133843"/>
                      <a:pt x="76878" y="126083"/>
                    </a:cubicBezTo>
                    <a:cubicBezTo>
                      <a:pt x="87296" y="116339"/>
                      <a:pt x="99284" y="92481"/>
                      <a:pt x="99296" y="69319"/>
                    </a:cubicBezTo>
                    <a:cubicBezTo>
                      <a:pt x="99296" y="58075"/>
                      <a:pt x="97241" y="47551"/>
                      <a:pt x="93697" y="38209"/>
                    </a:cubicBezTo>
                    <a:cubicBezTo>
                      <a:pt x="89280" y="25807"/>
                      <a:pt x="82713" y="15272"/>
                      <a:pt x="76677" y="9579"/>
                    </a:cubicBezTo>
                    <a:cubicBezTo>
                      <a:pt x="68445" y="1807"/>
                      <a:pt x="59339" y="0"/>
                      <a:pt x="49654" y="0"/>
                    </a:cubicBezTo>
                    <a:cubicBezTo>
                      <a:pt x="39980" y="0"/>
                      <a:pt x="30862" y="1807"/>
                      <a:pt x="22630" y="9567"/>
                    </a:cubicBezTo>
                    <a:cubicBezTo>
                      <a:pt x="20008" y="12035"/>
                      <a:pt x="17291" y="15413"/>
                      <a:pt x="14681" y="19465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2279" name="Gráfico 19">
                <a:extLst>
                  <a:ext uri="{FF2B5EF4-FFF2-40B4-BE49-F238E27FC236}">
                    <a16:creationId xmlns:a16="http://schemas.microsoft.com/office/drawing/2014/main" id="{E3B49803-02C5-0ECA-7EC3-6B7955F6F153}"/>
                  </a:ext>
                </a:extLst>
              </p:cNvPr>
              <p:cNvGrpSpPr/>
              <p:nvPr/>
            </p:nvGrpSpPr>
            <p:grpSpPr>
              <a:xfrm>
                <a:off x="11143453" y="4230764"/>
                <a:ext cx="73476" cy="33330"/>
                <a:chOff x="11143453" y="4230764"/>
                <a:chExt cx="73476" cy="33330"/>
              </a:xfrm>
              <a:noFill/>
            </p:grpSpPr>
            <p:sp>
              <p:nvSpPr>
                <p:cNvPr id="2280" name="Forma livre: Forma 2279">
                  <a:extLst>
                    <a:ext uri="{FF2B5EF4-FFF2-40B4-BE49-F238E27FC236}">
                      <a16:creationId xmlns:a16="http://schemas.microsoft.com/office/drawing/2014/main" id="{241C466A-12C5-8AF9-3427-8E21B3397323}"/>
                    </a:ext>
                  </a:extLst>
                </p:cNvPr>
                <p:cNvSpPr/>
                <p:nvPr/>
              </p:nvSpPr>
              <p:spPr>
                <a:xfrm>
                  <a:off x="11143453" y="4230764"/>
                  <a:ext cx="16192" cy="33330"/>
                </a:xfrm>
                <a:custGeom>
                  <a:avLst/>
                  <a:gdLst>
                    <a:gd name="connsiteX0" fmla="*/ 0 w 16192"/>
                    <a:gd name="connsiteY0" fmla="*/ 0 h 33330"/>
                    <a:gd name="connsiteX1" fmla="*/ 16193 w 16192"/>
                    <a:gd name="connsiteY1" fmla="*/ 33331 h 3333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6192" h="33330">
                      <a:moveTo>
                        <a:pt x="0" y="0"/>
                      </a:moveTo>
                      <a:cubicBezTo>
                        <a:pt x="0" y="14043"/>
                        <a:pt x="5811" y="24449"/>
                        <a:pt x="16193" y="33331"/>
                      </a:cubicBez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281" name="Forma livre: Forma 2280">
                  <a:extLst>
                    <a:ext uri="{FF2B5EF4-FFF2-40B4-BE49-F238E27FC236}">
                      <a16:creationId xmlns:a16="http://schemas.microsoft.com/office/drawing/2014/main" id="{73B08BED-3958-FDCB-C60A-E1ABC8FF25EE}"/>
                    </a:ext>
                  </a:extLst>
                </p:cNvPr>
                <p:cNvSpPr/>
                <p:nvPr/>
              </p:nvSpPr>
              <p:spPr>
                <a:xfrm>
                  <a:off x="11200737" y="4230764"/>
                  <a:ext cx="16192" cy="33330"/>
                </a:xfrm>
                <a:custGeom>
                  <a:avLst/>
                  <a:gdLst>
                    <a:gd name="connsiteX0" fmla="*/ 16193 w 16192"/>
                    <a:gd name="connsiteY0" fmla="*/ 0 h 33330"/>
                    <a:gd name="connsiteX1" fmla="*/ 0 w 16192"/>
                    <a:gd name="connsiteY1" fmla="*/ 33331 h 3333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6192" h="33330">
                      <a:moveTo>
                        <a:pt x="16193" y="0"/>
                      </a:moveTo>
                      <a:cubicBezTo>
                        <a:pt x="16193" y="14043"/>
                        <a:pt x="10394" y="24449"/>
                        <a:pt x="0" y="33331"/>
                      </a:cubicBez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2282" name="Forma livre: Forma 2281">
                <a:extLst>
                  <a:ext uri="{FF2B5EF4-FFF2-40B4-BE49-F238E27FC236}">
                    <a16:creationId xmlns:a16="http://schemas.microsoft.com/office/drawing/2014/main" id="{923074CA-42DD-38FE-8C51-391FD6B5C844}"/>
                  </a:ext>
                </a:extLst>
              </p:cNvPr>
              <p:cNvSpPr/>
              <p:nvPr/>
            </p:nvSpPr>
            <p:spPr>
              <a:xfrm>
                <a:off x="11180186" y="4333768"/>
                <a:ext cx="11" cy="60720"/>
              </a:xfrm>
              <a:custGeom>
                <a:avLst/>
                <a:gdLst>
                  <a:gd name="connsiteX0" fmla="*/ 12 w 11"/>
                  <a:gd name="connsiteY0" fmla="*/ 0 h 60720"/>
                  <a:gd name="connsiteX1" fmla="*/ 0 w 11"/>
                  <a:gd name="connsiteY1" fmla="*/ 60721 h 607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" h="60720">
                    <a:moveTo>
                      <a:pt x="12" y="0"/>
                    </a:moveTo>
                    <a:lnTo>
                      <a:pt x="0" y="60721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2283" name="Gráfico 19">
                <a:extLst>
                  <a:ext uri="{FF2B5EF4-FFF2-40B4-BE49-F238E27FC236}">
                    <a16:creationId xmlns:a16="http://schemas.microsoft.com/office/drawing/2014/main" id="{F5761692-9549-CB52-0BE9-A7A686F0EE51}"/>
                  </a:ext>
                </a:extLst>
              </p:cNvPr>
              <p:cNvGrpSpPr/>
              <p:nvPr/>
            </p:nvGrpSpPr>
            <p:grpSpPr>
              <a:xfrm>
                <a:off x="11093989" y="4304677"/>
                <a:ext cx="172417" cy="18708"/>
                <a:chOff x="11093989" y="4304677"/>
                <a:chExt cx="172417" cy="18708"/>
              </a:xfrm>
              <a:noFill/>
            </p:grpSpPr>
            <p:sp>
              <p:nvSpPr>
                <p:cNvPr id="2284" name="Forma livre: Forma 2283">
                  <a:extLst>
                    <a:ext uri="{FF2B5EF4-FFF2-40B4-BE49-F238E27FC236}">
                      <a16:creationId xmlns:a16="http://schemas.microsoft.com/office/drawing/2014/main" id="{E985EB8C-C922-1F40-4833-5FBFF73D005D}"/>
                    </a:ext>
                  </a:extLst>
                </p:cNvPr>
                <p:cNvSpPr/>
                <p:nvPr/>
              </p:nvSpPr>
              <p:spPr>
                <a:xfrm>
                  <a:off x="11093989" y="4304677"/>
                  <a:ext cx="36732" cy="18708"/>
                </a:xfrm>
                <a:custGeom>
                  <a:avLst/>
                  <a:gdLst>
                    <a:gd name="connsiteX0" fmla="*/ 36732 w 36732"/>
                    <a:gd name="connsiteY0" fmla="*/ 7831 h 18708"/>
                    <a:gd name="connsiteX1" fmla="*/ 20504 w 36732"/>
                    <a:gd name="connsiteY1" fmla="*/ 0 h 18708"/>
                    <a:gd name="connsiteX2" fmla="*/ 0 w 36732"/>
                    <a:gd name="connsiteY2" fmla="*/ 18709 h 1870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36732" h="18708">
                      <a:moveTo>
                        <a:pt x="36732" y="7831"/>
                      </a:moveTo>
                      <a:lnTo>
                        <a:pt x="20504" y="0"/>
                      </a:lnTo>
                      <a:lnTo>
                        <a:pt x="0" y="18709"/>
                      </a:ln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285" name="Forma livre: Forma 2284">
                  <a:extLst>
                    <a:ext uri="{FF2B5EF4-FFF2-40B4-BE49-F238E27FC236}">
                      <a16:creationId xmlns:a16="http://schemas.microsoft.com/office/drawing/2014/main" id="{731188AF-4A1F-F2F8-8AC8-2E6F11991981}"/>
                    </a:ext>
                  </a:extLst>
                </p:cNvPr>
                <p:cNvSpPr/>
                <p:nvPr/>
              </p:nvSpPr>
              <p:spPr>
                <a:xfrm>
                  <a:off x="11229674" y="4304677"/>
                  <a:ext cx="36732" cy="18708"/>
                </a:xfrm>
                <a:custGeom>
                  <a:avLst/>
                  <a:gdLst>
                    <a:gd name="connsiteX0" fmla="*/ 0 w 36732"/>
                    <a:gd name="connsiteY0" fmla="*/ 7831 h 18708"/>
                    <a:gd name="connsiteX1" fmla="*/ 16228 w 36732"/>
                    <a:gd name="connsiteY1" fmla="*/ 0 h 18708"/>
                    <a:gd name="connsiteX2" fmla="*/ 36732 w 36732"/>
                    <a:gd name="connsiteY2" fmla="*/ 18709 h 1870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36732" h="18708">
                      <a:moveTo>
                        <a:pt x="0" y="7831"/>
                      </a:moveTo>
                      <a:lnTo>
                        <a:pt x="16228" y="0"/>
                      </a:lnTo>
                      <a:lnTo>
                        <a:pt x="36732" y="18709"/>
                      </a:ln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2286" name="Gráfico 19">
                <a:extLst>
                  <a:ext uri="{FF2B5EF4-FFF2-40B4-BE49-F238E27FC236}">
                    <a16:creationId xmlns:a16="http://schemas.microsoft.com/office/drawing/2014/main" id="{7A20E9A7-68BF-A131-FD69-56FDEC627F57}"/>
                  </a:ext>
                </a:extLst>
              </p:cNvPr>
              <p:cNvGrpSpPr/>
              <p:nvPr/>
            </p:nvGrpSpPr>
            <p:grpSpPr>
              <a:xfrm>
                <a:off x="11096811" y="4339331"/>
                <a:ext cx="166772" cy="24944"/>
                <a:chOff x="11096811" y="4339331"/>
                <a:chExt cx="166772" cy="24944"/>
              </a:xfrm>
              <a:noFill/>
            </p:grpSpPr>
            <p:sp>
              <p:nvSpPr>
                <p:cNvPr id="2287" name="Forma livre: Forma 2286">
                  <a:extLst>
                    <a:ext uri="{FF2B5EF4-FFF2-40B4-BE49-F238E27FC236}">
                      <a16:creationId xmlns:a16="http://schemas.microsoft.com/office/drawing/2014/main" id="{CE3FA254-DB38-A985-4D64-EA36103094F1}"/>
                    </a:ext>
                  </a:extLst>
                </p:cNvPr>
                <p:cNvSpPr/>
                <p:nvPr/>
              </p:nvSpPr>
              <p:spPr>
                <a:xfrm>
                  <a:off x="11096811" y="4339331"/>
                  <a:ext cx="33614" cy="24944"/>
                </a:xfrm>
                <a:custGeom>
                  <a:avLst/>
                  <a:gdLst>
                    <a:gd name="connsiteX0" fmla="*/ 33614 w 33614"/>
                    <a:gd name="connsiteY0" fmla="*/ 0 h 24944"/>
                    <a:gd name="connsiteX1" fmla="*/ 14421 w 33614"/>
                    <a:gd name="connsiteY1" fmla="*/ 0 h 24944"/>
                    <a:gd name="connsiteX2" fmla="*/ 0 w 33614"/>
                    <a:gd name="connsiteY2" fmla="*/ 24945 h 2494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33614" h="24944">
                      <a:moveTo>
                        <a:pt x="33614" y="0"/>
                      </a:moveTo>
                      <a:lnTo>
                        <a:pt x="14421" y="0"/>
                      </a:lnTo>
                      <a:lnTo>
                        <a:pt x="0" y="24945"/>
                      </a:ln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288" name="Forma livre: Forma 2287">
                  <a:extLst>
                    <a:ext uri="{FF2B5EF4-FFF2-40B4-BE49-F238E27FC236}">
                      <a16:creationId xmlns:a16="http://schemas.microsoft.com/office/drawing/2014/main" id="{451176CA-046D-2060-4A51-209A6670C520}"/>
                    </a:ext>
                  </a:extLst>
                </p:cNvPr>
                <p:cNvSpPr/>
                <p:nvPr/>
              </p:nvSpPr>
              <p:spPr>
                <a:xfrm>
                  <a:off x="11229969" y="4339331"/>
                  <a:ext cx="33614" cy="24944"/>
                </a:xfrm>
                <a:custGeom>
                  <a:avLst/>
                  <a:gdLst>
                    <a:gd name="connsiteX0" fmla="*/ 0 w 33614"/>
                    <a:gd name="connsiteY0" fmla="*/ 0 h 24944"/>
                    <a:gd name="connsiteX1" fmla="*/ 19193 w 33614"/>
                    <a:gd name="connsiteY1" fmla="*/ 0 h 24944"/>
                    <a:gd name="connsiteX2" fmla="*/ 33614 w 33614"/>
                    <a:gd name="connsiteY2" fmla="*/ 24945 h 2494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33614" h="24944">
                      <a:moveTo>
                        <a:pt x="0" y="0"/>
                      </a:moveTo>
                      <a:lnTo>
                        <a:pt x="19193" y="0"/>
                      </a:lnTo>
                      <a:lnTo>
                        <a:pt x="33614" y="24945"/>
                      </a:ln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2289" name="Gráfico 19">
                <a:extLst>
                  <a:ext uri="{FF2B5EF4-FFF2-40B4-BE49-F238E27FC236}">
                    <a16:creationId xmlns:a16="http://schemas.microsoft.com/office/drawing/2014/main" id="{AF0BFAFD-84B3-4E63-B99E-34C390EBF614}"/>
                  </a:ext>
                </a:extLst>
              </p:cNvPr>
              <p:cNvGrpSpPr/>
              <p:nvPr/>
            </p:nvGrpSpPr>
            <p:grpSpPr>
              <a:xfrm>
                <a:off x="11116040" y="4368599"/>
                <a:ext cx="128303" cy="43783"/>
                <a:chOff x="11116040" y="4368599"/>
                <a:chExt cx="128303" cy="43783"/>
              </a:xfrm>
              <a:noFill/>
            </p:grpSpPr>
            <p:sp>
              <p:nvSpPr>
                <p:cNvPr id="2290" name="Forma livre: Forma 2289">
                  <a:extLst>
                    <a:ext uri="{FF2B5EF4-FFF2-40B4-BE49-F238E27FC236}">
                      <a16:creationId xmlns:a16="http://schemas.microsoft.com/office/drawing/2014/main" id="{739F8D23-400E-E6A5-3EEE-F570136C9D79}"/>
                    </a:ext>
                  </a:extLst>
                </p:cNvPr>
                <p:cNvSpPr/>
                <p:nvPr/>
              </p:nvSpPr>
              <p:spPr>
                <a:xfrm>
                  <a:off x="11116040" y="4368599"/>
                  <a:ext cx="23019" cy="43783"/>
                </a:xfrm>
                <a:custGeom>
                  <a:avLst/>
                  <a:gdLst>
                    <a:gd name="connsiteX0" fmla="*/ 23020 w 23019"/>
                    <a:gd name="connsiteY0" fmla="*/ 0 h 43783"/>
                    <a:gd name="connsiteX1" fmla="*/ 6768 w 23019"/>
                    <a:gd name="connsiteY1" fmla="*/ 0 h 43783"/>
                    <a:gd name="connsiteX2" fmla="*/ 0 w 23019"/>
                    <a:gd name="connsiteY2" fmla="*/ 43784 h 4378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23019" h="43783">
                      <a:moveTo>
                        <a:pt x="23020" y="0"/>
                      </a:moveTo>
                      <a:lnTo>
                        <a:pt x="6768" y="0"/>
                      </a:lnTo>
                      <a:lnTo>
                        <a:pt x="0" y="43784"/>
                      </a:ln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291" name="Forma livre: Forma 2290">
                  <a:extLst>
                    <a:ext uri="{FF2B5EF4-FFF2-40B4-BE49-F238E27FC236}">
                      <a16:creationId xmlns:a16="http://schemas.microsoft.com/office/drawing/2014/main" id="{36D81BBA-3D00-EC21-5CB5-C6C24148BB61}"/>
                    </a:ext>
                  </a:extLst>
                </p:cNvPr>
                <p:cNvSpPr/>
                <p:nvPr/>
              </p:nvSpPr>
              <p:spPr>
                <a:xfrm>
                  <a:off x="11221335" y="4368599"/>
                  <a:ext cx="23007" cy="43783"/>
                </a:xfrm>
                <a:custGeom>
                  <a:avLst/>
                  <a:gdLst>
                    <a:gd name="connsiteX0" fmla="*/ 0 w 23007"/>
                    <a:gd name="connsiteY0" fmla="*/ 0 h 43783"/>
                    <a:gd name="connsiteX1" fmla="*/ 16252 w 23007"/>
                    <a:gd name="connsiteY1" fmla="*/ 0 h 43783"/>
                    <a:gd name="connsiteX2" fmla="*/ 23008 w 23007"/>
                    <a:gd name="connsiteY2" fmla="*/ 43784 h 4378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23007" h="43783">
                      <a:moveTo>
                        <a:pt x="0" y="0"/>
                      </a:moveTo>
                      <a:lnTo>
                        <a:pt x="16252" y="0"/>
                      </a:lnTo>
                      <a:lnTo>
                        <a:pt x="23008" y="43784"/>
                      </a:ln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grpSp>
          <p:nvGrpSpPr>
            <p:cNvPr id="2292" name="Gráfico 19">
              <a:extLst>
                <a:ext uri="{FF2B5EF4-FFF2-40B4-BE49-F238E27FC236}">
                  <a16:creationId xmlns:a16="http://schemas.microsoft.com/office/drawing/2014/main" id="{32C177E3-1F1E-5EEE-365B-147B9D3EB75E}"/>
                </a:ext>
              </a:extLst>
            </p:cNvPr>
            <p:cNvGrpSpPr/>
            <p:nvPr/>
          </p:nvGrpSpPr>
          <p:grpSpPr>
            <a:xfrm>
              <a:off x="11017536" y="4205925"/>
              <a:ext cx="162567" cy="293988"/>
              <a:chOff x="11017536" y="4205925"/>
              <a:chExt cx="162567" cy="293988"/>
            </a:xfrm>
            <a:noFill/>
          </p:grpSpPr>
          <p:sp>
            <p:nvSpPr>
              <p:cNvPr id="2293" name="Forma livre: Forma 2292">
                <a:extLst>
                  <a:ext uri="{FF2B5EF4-FFF2-40B4-BE49-F238E27FC236}">
                    <a16:creationId xmlns:a16="http://schemas.microsoft.com/office/drawing/2014/main" id="{137C7D9A-36AB-C68D-FF28-A74CB0973D58}"/>
                  </a:ext>
                </a:extLst>
              </p:cNvPr>
              <p:cNvSpPr/>
              <p:nvPr/>
            </p:nvSpPr>
            <p:spPr>
              <a:xfrm>
                <a:off x="11017536" y="4205925"/>
                <a:ext cx="162567" cy="293988"/>
              </a:xfrm>
              <a:custGeom>
                <a:avLst/>
                <a:gdLst>
                  <a:gd name="connsiteX0" fmla="*/ 162567 w 162567"/>
                  <a:gd name="connsiteY0" fmla="*/ 210627 h 293988"/>
                  <a:gd name="connsiteX1" fmla="*/ 162567 w 162567"/>
                  <a:gd name="connsiteY1" fmla="*/ 280265 h 293988"/>
                  <a:gd name="connsiteX2" fmla="*/ 149256 w 162567"/>
                  <a:gd name="connsiteY2" fmla="*/ 293989 h 293988"/>
                  <a:gd name="connsiteX3" fmla="*/ 13299 w 162567"/>
                  <a:gd name="connsiteY3" fmla="*/ 293989 h 293988"/>
                  <a:gd name="connsiteX4" fmla="*/ 0 w 162567"/>
                  <a:gd name="connsiteY4" fmla="*/ 280265 h 293988"/>
                  <a:gd name="connsiteX5" fmla="*/ 0 w 162567"/>
                  <a:gd name="connsiteY5" fmla="*/ 13299 h 293988"/>
                  <a:gd name="connsiteX6" fmla="*/ 13299 w 162567"/>
                  <a:gd name="connsiteY6" fmla="*/ 0 h 293988"/>
                  <a:gd name="connsiteX7" fmla="*/ 149256 w 162567"/>
                  <a:gd name="connsiteY7" fmla="*/ 0 h 293988"/>
                  <a:gd name="connsiteX8" fmla="*/ 162567 w 162567"/>
                  <a:gd name="connsiteY8" fmla="*/ 13299 h 293988"/>
                  <a:gd name="connsiteX9" fmla="*/ 162567 w 162567"/>
                  <a:gd name="connsiteY9" fmla="*/ 36130 h 2939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62567" h="293988">
                    <a:moveTo>
                      <a:pt x="162567" y="210627"/>
                    </a:moveTo>
                    <a:lnTo>
                      <a:pt x="162567" y="280265"/>
                    </a:lnTo>
                    <a:cubicBezTo>
                      <a:pt x="162567" y="287587"/>
                      <a:pt x="156579" y="293989"/>
                      <a:pt x="149256" y="293989"/>
                    </a:cubicBezTo>
                    <a:lnTo>
                      <a:pt x="13299" y="293989"/>
                    </a:lnTo>
                    <a:cubicBezTo>
                      <a:pt x="5976" y="293989"/>
                      <a:pt x="0" y="287576"/>
                      <a:pt x="0" y="280265"/>
                    </a:cubicBezTo>
                    <a:lnTo>
                      <a:pt x="0" y="13299"/>
                    </a:lnTo>
                    <a:cubicBezTo>
                      <a:pt x="0" y="5976"/>
                      <a:pt x="5976" y="0"/>
                      <a:pt x="13299" y="0"/>
                    </a:cubicBezTo>
                    <a:lnTo>
                      <a:pt x="149256" y="0"/>
                    </a:lnTo>
                    <a:cubicBezTo>
                      <a:pt x="156579" y="0"/>
                      <a:pt x="162567" y="5976"/>
                      <a:pt x="162567" y="13299"/>
                    </a:cubicBezTo>
                    <a:lnTo>
                      <a:pt x="162567" y="3613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294" name="Forma livre: Forma 2293">
                <a:extLst>
                  <a:ext uri="{FF2B5EF4-FFF2-40B4-BE49-F238E27FC236}">
                    <a16:creationId xmlns:a16="http://schemas.microsoft.com/office/drawing/2014/main" id="{5F45F0BA-4609-BB61-7E90-218CE1C32FED}"/>
                  </a:ext>
                </a:extLst>
              </p:cNvPr>
              <p:cNvSpPr/>
              <p:nvPr/>
            </p:nvSpPr>
            <p:spPr>
              <a:xfrm>
                <a:off x="11037295" y="4441898"/>
                <a:ext cx="123000" cy="1181"/>
              </a:xfrm>
              <a:custGeom>
                <a:avLst/>
                <a:gdLst>
                  <a:gd name="connsiteX0" fmla="*/ 0 w 123000"/>
                  <a:gd name="connsiteY0" fmla="*/ 0 h 1181"/>
                  <a:gd name="connsiteX1" fmla="*/ 123000 w 123000"/>
                  <a:gd name="connsiteY1" fmla="*/ 0 h 11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3000" h="1181">
                    <a:moveTo>
                      <a:pt x="0" y="0"/>
                    </a:moveTo>
                    <a:lnTo>
                      <a:pt x="12300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295" name="Forma livre: Forma 2294">
                <a:extLst>
                  <a:ext uri="{FF2B5EF4-FFF2-40B4-BE49-F238E27FC236}">
                    <a16:creationId xmlns:a16="http://schemas.microsoft.com/office/drawing/2014/main" id="{5BF742AA-09E2-97C0-5F88-12862D59BA74}"/>
                  </a:ext>
                </a:extLst>
              </p:cNvPr>
              <p:cNvSpPr/>
              <p:nvPr/>
            </p:nvSpPr>
            <p:spPr>
              <a:xfrm>
                <a:off x="11087764" y="4470079"/>
                <a:ext cx="22098" cy="1181"/>
              </a:xfrm>
              <a:custGeom>
                <a:avLst/>
                <a:gdLst>
                  <a:gd name="connsiteX0" fmla="*/ 0 w 22098"/>
                  <a:gd name="connsiteY0" fmla="*/ 0 h 1181"/>
                  <a:gd name="connsiteX1" fmla="*/ 22098 w 22098"/>
                  <a:gd name="connsiteY1" fmla="*/ 0 h 11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2098" h="1181">
                    <a:moveTo>
                      <a:pt x="0" y="0"/>
                    </a:moveTo>
                    <a:lnTo>
                      <a:pt x="22098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2296" name="Gráfico 19">
            <a:extLst>
              <a:ext uri="{FF2B5EF4-FFF2-40B4-BE49-F238E27FC236}">
                <a16:creationId xmlns:a16="http://schemas.microsoft.com/office/drawing/2014/main" id="{F3756906-AC98-4A99-9F78-5641948A6DBF}"/>
              </a:ext>
            </a:extLst>
          </p:cNvPr>
          <p:cNvGrpSpPr/>
          <p:nvPr/>
        </p:nvGrpSpPr>
        <p:grpSpPr>
          <a:xfrm>
            <a:off x="10345803" y="5280735"/>
            <a:ext cx="318831" cy="264453"/>
            <a:chOff x="10345803" y="5280735"/>
            <a:chExt cx="318831" cy="264453"/>
          </a:xfrm>
          <a:noFill/>
        </p:grpSpPr>
        <p:grpSp>
          <p:nvGrpSpPr>
            <p:cNvPr id="2297" name="Gráfico 19">
              <a:extLst>
                <a:ext uri="{FF2B5EF4-FFF2-40B4-BE49-F238E27FC236}">
                  <a16:creationId xmlns:a16="http://schemas.microsoft.com/office/drawing/2014/main" id="{348F0B7A-1021-6AC9-9969-5A895DC676E7}"/>
                </a:ext>
              </a:extLst>
            </p:cNvPr>
            <p:cNvGrpSpPr/>
            <p:nvPr/>
          </p:nvGrpSpPr>
          <p:grpSpPr>
            <a:xfrm>
              <a:off x="10416542" y="5328578"/>
              <a:ext cx="177543" cy="208217"/>
              <a:chOff x="10416542" y="5328578"/>
              <a:chExt cx="177543" cy="208217"/>
            </a:xfrm>
            <a:noFill/>
          </p:grpSpPr>
          <p:sp>
            <p:nvSpPr>
              <p:cNvPr id="2298" name="Forma livre: Forma 2297">
                <a:extLst>
                  <a:ext uri="{FF2B5EF4-FFF2-40B4-BE49-F238E27FC236}">
                    <a16:creationId xmlns:a16="http://schemas.microsoft.com/office/drawing/2014/main" id="{8BDE4D26-879D-6C2D-3DD0-910A90F76E42}"/>
                  </a:ext>
                </a:extLst>
              </p:cNvPr>
              <p:cNvSpPr/>
              <p:nvPr/>
            </p:nvSpPr>
            <p:spPr>
              <a:xfrm>
                <a:off x="10416542" y="5328578"/>
                <a:ext cx="177543" cy="208217"/>
              </a:xfrm>
              <a:custGeom>
                <a:avLst/>
                <a:gdLst>
                  <a:gd name="connsiteX0" fmla="*/ 177544 w 177543"/>
                  <a:gd name="connsiteY0" fmla="*/ 87981 h 208217"/>
                  <a:gd name="connsiteX1" fmla="*/ 88772 w 177543"/>
                  <a:gd name="connsiteY1" fmla="*/ 0 h 208217"/>
                  <a:gd name="connsiteX2" fmla="*/ 0 w 177543"/>
                  <a:gd name="connsiteY2" fmla="*/ 87981 h 208217"/>
                  <a:gd name="connsiteX3" fmla="*/ 6012 w 177543"/>
                  <a:gd name="connsiteY3" fmla="*/ 131268 h 208217"/>
                  <a:gd name="connsiteX4" fmla="*/ 12614 w 177543"/>
                  <a:gd name="connsiteY4" fmla="*/ 161256 h 208217"/>
                  <a:gd name="connsiteX5" fmla="*/ 25158 w 177543"/>
                  <a:gd name="connsiteY5" fmla="*/ 167434 h 208217"/>
                  <a:gd name="connsiteX6" fmla="*/ 44575 w 177543"/>
                  <a:gd name="connsiteY6" fmla="*/ 167717 h 208217"/>
                  <a:gd name="connsiteX7" fmla="*/ 47256 w 177543"/>
                  <a:gd name="connsiteY7" fmla="*/ 200516 h 208217"/>
                  <a:gd name="connsiteX8" fmla="*/ 88772 w 177543"/>
                  <a:gd name="connsiteY8" fmla="*/ 208217 h 208217"/>
                  <a:gd name="connsiteX9" fmla="*/ 130276 w 177543"/>
                  <a:gd name="connsiteY9" fmla="*/ 200516 h 208217"/>
                  <a:gd name="connsiteX10" fmla="*/ 132969 w 177543"/>
                  <a:gd name="connsiteY10" fmla="*/ 167717 h 208217"/>
                  <a:gd name="connsiteX11" fmla="*/ 152386 w 177543"/>
                  <a:gd name="connsiteY11" fmla="*/ 167434 h 208217"/>
                  <a:gd name="connsiteX12" fmla="*/ 164930 w 177543"/>
                  <a:gd name="connsiteY12" fmla="*/ 161256 h 208217"/>
                  <a:gd name="connsiteX13" fmla="*/ 171532 w 177543"/>
                  <a:gd name="connsiteY13" fmla="*/ 131268 h 208217"/>
                  <a:gd name="connsiteX14" fmla="*/ 177544 w 177543"/>
                  <a:gd name="connsiteY14" fmla="*/ 87981 h 2082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177543" h="208217">
                    <a:moveTo>
                      <a:pt x="177544" y="87981"/>
                    </a:moveTo>
                    <a:cubicBezTo>
                      <a:pt x="177544" y="38161"/>
                      <a:pt x="139996" y="0"/>
                      <a:pt x="88772" y="0"/>
                    </a:cubicBezTo>
                    <a:cubicBezTo>
                      <a:pt x="37547" y="0"/>
                      <a:pt x="0" y="38161"/>
                      <a:pt x="0" y="87981"/>
                    </a:cubicBezTo>
                    <a:cubicBezTo>
                      <a:pt x="0" y="102768"/>
                      <a:pt x="5988" y="122906"/>
                      <a:pt x="6012" y="131268"/>
                    </a:cubicBezTo>
                    <a:cubicBezTo>
                      <a:pt x="6035" y="139618"/>
                      <a:pt x="-106" y="147237"/>
                      <a:pt x="12614" y="161256"/>
                    </a:cubicBezTo>
                    <a:cubicBezTo>
                      <a:pt x="12614" y="161256"/>
                      <a:pt x="17752" y="167434"/>
                      <a:pt x="25158" y="167434"/>
                    </a:cubicBezTo>
                    <a:cubicBezTo>
                      <a:pt x="36343" y="167434"/>
                      <a:pt x="44575" y="167717"/>
                      <a:pt x="44575" y="167717"/>
                    </a:cubicBezTo>
                    <a:lnTo>
                      <a:pt x="47256" y="200516"/>
                    </a:lnTo>
                    <a:cubicBezTo>
                      <a:pt x="47256" y="200516"/>
                      <a:pt x="62268" y="207945"/>
                      <a:pt x="88772" y="208217"/>
                    </a:cubicBezTo>
                    <a:cubicBezTo>
                      <a:pt x="115264" y="207945"/>
                      <a:pt x="130276" y="200516"/>
                      <a:pt x="130276" y="200516"/>
                    </a:cubicBezTo>
                    <a:lnTo>
                      <a:pt x="132969" y="167717"/>
                    </a:lnTo>
                    <a:cubicBezTo>
                      <a:pt x="132969" y="167717"/>
                      <a:pt x="141201" y="167434"/>
                      <a:pt x="152386" y="167434"/>
                    </a:cubicBezTo>
                    <a:cubicBezTo>
                      <a:pt x="159792" y="167434"/>
                      <a:pt x="164930" y="161256"/>
                      <a:pt x="164930" y="161256"/>
                    </a:cubicBezTo>
                    <a:cubicBezTo>
                      <a:pt x="177650" y="147237"/>
                      <a:pt x="171497" y="139618"/>
                      <a:pt x="171532" y="131268"/>
                    </a:cubicBezTo>
                    <a:cubicBezTo>
                      <a:pt x="171556" y="122906"/>
                      <a:pt x="177544" y="102768"/>
                      <a:pt x="177544" y="87981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2299" name="Gráfico 19">
                <a:extLst>
                  <a:ext uri="{FF2B5EF4-FFF2-40B4-BE49-F238E27FC236}">
                    <a16:creationId xmlns:a16="http://schemas.microsoft.com/office/drawing/2014/main" id="{00C6CF99-77A4-16A9-4703-8FCF395F0D7E}"/>
                  </a:ext>
                </a:extLst>
              </p:cNvPr>
              <p:cNvGrpSpPr/>
              <p:nvPr/>
            </p:nvGrpSpPr>
            <p:grpSpPr>
              <a:xfrm>
                <a:off x="10443442" y="5413541"/>
                <a:ext cx="123766" cy="44833"/>
                <a:chOff x="10443442" y="5413541"/>
                <a:chExt cx="123766" cy="44833"/>
              </a:xfrm>
              <a:noFill/>
            </p:grpSpPr>
            <p:sp>
              <p:nvSpPr>
                <p:cNvPr id="2300" name="Forma livre: Forma 2299">
                  <a:extLst>
                    <a:ext uri="{FF2B5EF4-FFF2-40B4-BE49-F238E27FC236}">
                      <a16:creationId xmlns:a16="http://schemas.microsoft.com/office/drawing/2014/main" id="{B7639D33-D8E2-AA1F-0AD1-0D9D0DCC45CF}"/>
                    </a:ext>
                  </a:extLst>
                </p:cNvPr>
                <p:cNvSpPr/>
                <p:nvPr/>
              </p:nvSpPr>
              <p:spPr>
                <a:xfrm>
                  <a:off x="10443442" y="5413541"/>
                  <a:ext cx="49191" cy="44833"/>
                </a:xfrm>
                <a:custGeom>
                  <a:avLst/>
                  <a:gdLst>
                    <a:gd name="connsiteX0" fmla="*/ 48253 w 49191"/>
                    <a:gd name="connsiteY0" fmla="*/ 16127 h 44833"/>
                    <a:gd name="connsiteX1" fmla="*/ 35332 w 49191"/>
                    <a:gd name="connsiteY1" fmla="*/ 41143 h 44833"/>
                    <a:gd name="connsiteX2" fmla="*/ 26675 w 49191"/>
                    <a:gd name="connsiteY2" fmla="*/ 43895 h 44833"/>
                    <a:gd name="connsiteX3" fmla="*/ 1659 w 49191"/>
                    <a:gd name="connsiteY3" fmla="*/ 30974 h 44833"/>
                    <a:gd name="connsiteX4" fmla="*/ 938 w 49191"/>
                    <a:gd name="connsiteY4" fmla="*/ 28718 h 44833"/>
                    <a:gd name="connsiteX5" fmla="*/ 13860 w 49191"/>
                    <a:gd name="connsiteY5" fmla="*/ 3702 h 44833"/>
                    <a:gd name="connsiteX6" fmla="*/ 22517 w 49191"/>
                    <a:gd name="connsiteY6" fmla="*/ 938 h 44833"/>
                    <a:gd name="connsiteX7" fmla="*/ 47545 w 49191"/>
                    <a:gd name="connsiteY7" fmla="*/ 13860 h 44833"/>
                    <a:gd name="connsiteX8" fmla="*/ 48265 w 49191"/>
                    <a:gd name="connsiteY8" fmla="*/ 16127 h 448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49191" h="44833">
                      <a:moveTo>
                        <a:pt x="48253" y="16127"/>
                      </a:moveTo>
                      <a:cubicBezTo>
                        <a:pt x="51584" y="26557"/>
                        <a:pt x="45761" y="37824"/>
                        <a:pt x="35332" y="41143"/>
                      </a:cubicBezTo>
                      <a:lnTo>
                        <a:pt x="26675" y="43895"/>
                      </a:lnTo>
                      <a:cubicBezTo>
                        <a:pt x="16245" y="47226"/>
                        <a:pt x="4978" y="41403"/>
                        <a:pt x="1659" y="30974"/>
                      </a:cubicBezTo>
                      <a:lnTo>
                        <a:pt x="938" y="28718"/>
                      </a:lnTo>
                      <a:cubicBezTo>
                        <a:pt x="-2392" y="18277"/>
                        <a:pt x="3431" y="7021"/>
                        <a:pt x="13860" y="3702"/>
                      </a:cubicBezTo>
                      <a:lnTo>
                        <a:pt x="22517" y="938"/>
                      </a:lnTo>
                      <a:cubicBezTo>
                        <a:pt x="32958" y="-2392"/>
                        <a:pt x="44214" y="3430"/>
                        <a:pt x="47545" y="13860"/>
                      </a:cubicBezTo>
                      <a:lnTo>
                        <a:pt x="48265" y="16127"/>
                      </a:lnTo>
                      <a:close/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301" name="Forma livre: Forma 2300">
                  <a:extLst>
                    <a:ext uri="{FF2B5EF4-FFF2-40B4-BE49-F238E27FC236}">
                      <a16:creationId xmlns:a16="http://schemas.microsoft.com/office/drawing/2014/main" id="{9BC6B3B6-74FD-BD1E-230C-0073BBA02C92}"/>
                    </a:ext>
                  </a:extLst>
                </p:cNvPr>
                <p:cNvSpPr/>
                <p:nvPr/>
              </p:nvSpPr>
              <p:spPr>
                <a:xfrm>
                  <a:off x="10518017" y="5413541"/>
                  <a:ext cx="49191" cy="44833"/>
                </a:xfrm>
                <a:custGeom>
                  <a:avLst/>
                  <a:gdLst>
                    <a:gd name="connsiteX0" fmla="*/ 938 w 49191"/>
                    <a:gd name="connsiteY0" fmla="*/ 16127 h 44833"/>
                    <a:gd name="connsiteX1" fmla="*/ 13860 w 49191"/>
                    <a:gd name="connsiteY1" fmla="*/ 41143 h 44833"/>
                    <a:gd name="connsiteX2" fmla="*/ 22517 w 49191"/>
                    <a:gd name="connsiteY2" fmla="*/ 43895 h 44833"/>
                    <a:gd name="connsiteX3" fmla="*/ 47533 w 49191"/>
                    <a:gd name="connsiteY3" fmla="*/ 30974 h 44833"/>
                    <a:gd name="connsiteX4" fmla="*/ 48253 w 49191"/>
                    <a:gd name="connsiteY4" fmla="*/ 28718 h 44833"/>
                    <a:gd name="connsiteX5" fmla="*/ 35332 w 49191"/>
                    <a:gd name="connsiteY5" fmla="*/ 3702 h 44833"/>
                    <a:gd name="connsiteX6" fmla="*/ 26675 w 49191"/>
                    <a:gd name="connsiteY6" fmla="*/ 938 h 44833"/>
                    <a:gd name="connsiteX7" fmla="*/ 1659 w 49191"/>
                    <a:gd name="connsiteY7" fmla="*/ 13860 h 44833"/>
                    <a:gd name="connsiteX8" fmla="*/ 938 w 49191"/>
                    <a:gd name="connsiteY8" fmla="*/ 16127 h 448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49191" h="44833">
                      <a:moveTo>
                        <a:pt x="938" y="16127"/>
                      </a:moveTo>
                      <a:cubicBezTo>
                        <a:pt x="-2392" y="26557"/>
                        <a:pt x="3431" y="37824"/>
                        <a:pt x="13860" y="41143"/>
                      </a:cubicBezTo>
                      <a:lnTo>
                        <a:pt x="22517" y="43895"/>
                      </a:lnTo>
                      <a:cubicBezTo>
                        <a:pt x="32946" y="47226"/>
                        <a:pt x="44202" y="41403"/>
                        <a:pt x="47533" y="30974"/>
                      </a:cubicBezTo>
                      <a:lnTo>
                        <a:pt x="48253" y="28718"/>
                      </a:lnTo>
                      <a:cubicBezTo>
                        <a:pt x="51584" y="18277"/>
                        <a:pt x="45761" y="7021"/>
                        <a:pt x="35332" y="3702"/>
                      </a:cubicBezTo>
                      <a:lnTo>
                        <a:pt x="26675" y="938"/>
                      </a:lnTo>
                      <a:cubicBezTo>
                        <a:pt x="16234" y="-2392"/>
                        <a:pt x="4978" y="3430"/>
                        <a:pt x="1659" y="13860"/>
                      </a:cubicBezTo>
                      <a:lnTo>
                        <a:pt x="938" y="16127"/>
                      </a:lnTo>
                      <a:close/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2302" name="Gráfico 19">
                <a:extLst>
                  <a:ext uri="{FF2B5EF4-FFF2-40B4-BE49-F238E27FC236}">
                    <a16:creationId xmlns:a16="http://schemas.microsoft.com/office/drawing/2014/main" id="{25C4210D-2C87-AEF6-74D6-7AD946A1D67D}"/>
                  </a:ext>
                </a:extLst>
              </p:cNvPr>
              <p:cNvGrpSpPr/>
              <p:nvPr/>
            </p:nvGrpSpPr>
            <p:grpSpPr>
              <a:xfrm>
                <a:off x="10491070" y="5472117"/>
                <a:ext cx="28511" cy="12755"/>
                <a:chOff x="10491070" y="5472117"/>
                <a:chExt cx="28511" cy="12755"/>
              </a:xfrm>
            </p:grpSpPr>
            <p:sp>
              <p:nvSpPr>
                <p:cNvPr id="2303" name="Forma livre: Forma 2302">
                  <a:extLst>
                    <a:ext uri="{FF2B5EF4-FFF2-40B4-BE49-F238E27FC236}">
                      <a16:creationId xmlns:a16="http://schemas.microsoft.com/office/drawing/2014/main" id="{DC842D49-5A91-15F8-5912-7D8B792E26FF}"/>
                    </a:ext>
                  </a:extLst>
                </p:cNvPr>
                <p:cNvSpPr/>
                <p:nvPr/>
              </p:nvSpPr>
              <p:spPr>
                <a:xfrm>
                  <a:off x="10491070" y="5472117"/>
                  <a:ext cx="4417" cy="12755"/>
                </a:xfrm>
                <a:custGeom>
                  <a:avLst/>
                  <a:gdLst>
                    <a:gd name="connsiteX0" fmla="*/ 4417 w 4417"/>
                    <a:gd name="connsiteY0" fmla="*/ 0 h 12755"/>
                    <a:gd name="connsiteX1" fmla="*/ 0 w 4417"/>
                    <a:gd name="connsiteY1" fmla="*/ 12756 h 1275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417" h="12755">
                      <a:moveTo>
                        <a:pt x="4417" y="0"/>
                      </a:moveTo>
                      <a:lnTo>
                        <a:pt x="0" y="12756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304" name="Forma livre: Forma 2303">
                  <a:extLst>
                    <a:ext uri="{FF2B5EF4-FFF2-40B4-BE49-F238E27FC236}">
                      <a16:creationId xmlns:a16="http://schemas.microsoft.com/office/drawing/2014/main" id="{B3FF23BE-CB77-AA4E-4B4F-58AB1414F5DA}"/>
                    </a:ext>
                  </a:extLst>
                </p:cNvPr>
                <p:cNvSpPr/>
                <p:nvPr/>
              </p:nvSpPr>
              <p:spPr>
                <a:xfrm>
                  <a:off x="10515152" y="5472117"/>
                  <a:ext cx="4429" cy="12755"/>
                </a:xfrm>
                <a:custGeom>
                  <a:avLst/>
                  <a:gdLst>
                    <a:gd name="connsiteX0" fmla="*/ 0 w 4429"/>
                    <a:gd name="connsiteY0" fmla="*/ 0 h 12755"/>
                    <a:gd name="connsiteX1" fmla="*/ 4429 w 4429"/>
                    <a:gd name="connsiteY1" fmla="*/ 12756 h 1275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429" h="12755">
                      <a:moveTo>
                        <a:pt x="0" y="0"/>
                      </a:moveTo>
                      <a:lnTo>
                        <a:pt x="4429" y="12756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grpSp>
          <p:nvGrpSpPr>
            <p:cNvPr id="2305" name="Gráfico 19">
              <a:extLst>
                <a:ext uri="{FF2B5EF4-FFF2-40B4-BE49-F238E27FC236}">
                  <a16:creationId xmlns:a16="http://schemas.microsoft.com/office/drawing/2014/main" id="{65BF754D-89B7-806F-30F5-B1A8908BDC32}"/>
                </a:ext>
              </a:extLst>
            </p:cNvPr>
            <p:cNvGrpSpPr/>
            <p:nvPr/>
          </p:nvGrpSpPr>
          <p:grpSpPr>
            <a:xfrm>
              <a:off x="10345803" y="5280735"/>
              <a:ext cx="299012" cy="264453"/>
              <a:chOff x="10345803" y="5280735"/>
              <a:chExt cx="299012" cy="264453"/>
            </a:xfrm>
            <a:noFill/>
          </p:grpSpPr>
          <p:sp>
            <p:nvSpPr>
              <p:cNvPr id="2306" name="Forma livre: Forma 2305">
                <a:extLst>
                  <a:ext uri="{FF2B5EF4-FFF2-40B4-BE49-F238E27FC236}">
                    <a16:creationId xmlns:a16="http://schemas.microsoft.com/office/drawing/2014/main" id="{C4B2F11A-F6B9-ACDA-FCAA-B4EE49268C0B}"/>
                  </a:ext>
                </a:extLst>
              </p:cNvPr>
              <p:cNvSpPr/>
              <p:nvPr/>
            </p:nvSpPr>
            <p:spPr>
              <a:xfrm>
                <a:off x="10345803" y="5473039"/>
                <a:ext cx="65517" cy="72149"/>
              </a:xfrm>
              <a:custGeom>
                <a:avLst/>
                <a:gdLst>
                  <a:gd name="connsiteX0" fmla="*/ 53423 w 65517"/>
                  <a:gd name="connsiteY0" fmla="*/ 0 h 72149"/>
                  <a:gd name="connsiteX1" fmla="*/ 34301 w 65517"/>
                  <a:gd name="connsiteY1" fmla="*/ 15603 h 72149"/>
                  <a:gd name="connsiteX2" fmla="*/ 6250 w 65517"/>
                  <a:gd name="connsiteY2" fmla="*/ 14823 h 72149"/>
                  <a:gd name="connsiteX3" fmla="*/ 4089 w 65517"/>
                  <a:gd name="connsiteY3" fmla="*/ 39473 h 72149"/>
                  <a:gd name="connsiteX4" fmla="*/ 23943 w 65517"/>
                  <a:gd name="connsiteY4" fmla="*/ 45331 h 72149"/>
                  <a:gd name="connsiteX5" fmla="*/ 26281 w 65517"/>
                  <a:gd name="connsiteY5" fmla="*/ 65906 h 72149"/>
                  <a:gd name="connsiteX6" fmla="*/ 50931 w 65517"/>
                  <a:gd name="connsiteY6" fmla="*/ 68055 h 72149"/>
                  <a:gd name="connsiteX7" fmla="*/ 55018 w 65517"/>
                  <a:gd name="connsiteY7" fmla="*/ 40299 h 72149"/>
                  <a:gd name="connsiteX8" fmla="*/ 65518 w 65517"/>
                  <a:gd name="connsiteY8" fmla="*/ 31146 h 721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65517" h="72149">
                    <a:moveTo>
                      <a:pt x="53423" y="0"/>
                    </a:moveTo>
                    <a:lnTo>
                      <a:pt x="34301" y="15603"/>
                    </a:lnTo>
                    <a:cubicBezTo>
                      <a:pt x="27002" y="10984"/>
                      <a:pt x="13655" y="8610"/>
                      <a:pt x="6250" y="14823"/>
                    </a:cubicBezTo>
                    <a:cubicBezTo>
                      <a:pt x="-1156" y="21036"/>
                      <a:pt x="-2112" y="32091"/>
                      <a:pt x="4089" y="39473"/>
                    </a:cubicBezTo>
                    <a:cubicBezTo>
                      <a:pt x="9616" y="46051"/>
                      <a:pt x="15840" y="48473"/>
                      <a:pt x="23943" y="45331"/>
                    </a:cubicBezTo>
                    <a:cubicBezTo>
                      <a:pt x="19455" y="52760"/>
                      <a:pt x="20754" y="59315"/>
                      <a:pt x="26281" y="65906"/>
                    </a:cubicBezTo>
                    <a:cubicBezTo>
                      <a:pt x="32482" y="73299"/>
                      <a:pt x="43526" y="74268"/>
                      <a:pt x="50931" y="68055"/>
                    </a:cubicBezTo>
                    <a:cubicBezTo>
                      <a:pt x="58325" y="61843"/>
                      <a:pt x="58289" y="48284"/>
                      <a:pt x="55018" y="40299"/>
                    </a:cubicBezTo>
                    <a:lnTo>
                      <a:pt x="65518" y="31146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307" name="Forma livre: Forma 2306">
                <a:extLst>
                  <a:ext uri="{FF2B5EF4-FFF2-40B4-BE49-F238E27FC236}">
                    <a16:creationId xmlns:a16="http://schemas.microsoft.com/office/drawing/2014/main" id="{C872B504-7AD5-C887-FA28-42CD49863F87}"/>
                  </a:ext>
                </a:extLst>
              </p:cNvPr>
              <p:cNvSpPr/>
              <p:nvPr/>
            </p:nvSpPr>
            <p:spPr>
              <a:xfrm>
                <a:off x="10573688" y="5280735"/>
                <a:ext cx="71128" cy="69610"/>
              </a:xfrm>
              <a:custGeom>
                <a:avLst/>
                <a:gdLst>
                  <a:gd name="connsiteX0" fmla="*/ 21909 w 71128"/>
                  <a:gd name="connsiteY0" fmla="*/ 69610 h 69610"/>
                  <a:gd name="connsiteX1" fmla="*/ 36839 w 71128"/>
                  <a:gd name="connsiteY1" fmla="*/ 56559 h 69610"/>
                  <a:gd name="connsiteX2" fmla="*/ 64878 w 71128"/>
                  <a:gd name="connsiteY2" fmla="*/ 57339 h 69610"/>
                  <a:gd name="connsiteX3" fmla="*/ 67040 w 71128"/>
                  <a:gd name="connsiteY3" fmla="*/ 32677 h 69610"/>
                  <a:gd name="connsiteX4" fmla="*/ 47185 w 71128"/>
                  <a:gd name="connsiteY4" fmla="*/ 26819 h 69610"/>
                  <a:gd name="connsiteX5" fmla="*/ 44847 w 71128"/>
                  <a:gd name="connsiteY5" fmla="*/ 6244 h 69610"/>
                  <a:gd name="connsiteX6" fmla="*/ 20197 w 71128"/>
                  <a:gd name="connsiteY6" fmla="*/ 4094 h 69610"/>
                  <a:gd name="connsiteX7" fmla="*/ 16110 w 71128"/>
                  <a:gd name="connsiteY7" fmla="*/ 31862 h 69610"/>
                  <a:gd name="connsiteX8" fmla="*/ 0 w 71128"/>
                  <a:gd name="connsiteY8" fmla="*/ 45764 h 696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71128" h="69610">
                    <a:moveTo>
                      <a:pt x="21909" y="69610"/>
                    </a:moveTo>
                    <a:lnTo>
                      <a:pt x="36839" y="56559"/>
                    </a:lnTo>
                    <a:cubicBezTo>
                      <a:pt x="44138" y="61177"/>
                      <a:pt x="57484" y="63551"/>
                      <a:pt x="64878" y="57339"/>
                    </a:cubicBezTo>
                    <a:cubicBezTo>
                      <a:pt x="72284" y="51126"/>
                      <a:pt x="73240" y="40071"/>
                      <a:pt x="67040" y="32677"/>
                    </a:cubicBezTo>
                    <a:cubicBezTo>
                      <a:pt x="61512" y="26098"/>
                      <a:pt x="55288" y="23677"/>
                      <a:pt x="47185" y="26819"/>
                    </a:cubicBezTo>
                    <a:cubicBezTo>
                      <a:pt x="51685" y="19378"/>
                      <a:pt x="50374" y="12835"/>
                      <a:pt x="44847" y="6244"/>
                    </a:cubicBezTo>
                    <a:cubicBezTo>
                      <a:pt x="38646" y="-1150"/>
                      <a:pt x="27602" y="-2118"/>
                      <a:pt x="20197" y="4094"/>
                    </a:cubicBezTo>
                    <a:cubicBezTo>
                      <a:pt x="12803" y="10319"/>
                      <a:pt x="12839" y="23866"/>
                      <a:pt x="16110" y="31862"/>
                    </a:cubicBezTo>
                    <a:lnTo>
                      <a:pt x="0" y="45764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2308" name="Gráfico 19">
              <a:extLst>
                <a:ext uri="{FF2B5EF4-FFF2-40B4-BE49-F238E27FC236}">
                  <a16:creationId xmlns:a16="http://schemas.microsoft.com/office/drawing/2014/main" id="{01122172-30A6-55D7-1950-E03193490F58}"/>
                </a:ext>
              </a:extLst>
            </p:cNvPr>
            <p:cNvGrpSpPr/>
            <p:nvPr/>
          </p:nvGrpSpPr>
          <p:grpSpPr>
            <a:xfrm>
              <a:off x="10365624" y="5280735"/>
              <a:ext cx="299010" cy="264453"/>
              <a:chOff x="10365624" y="5280735"/>
              <a:chExt cx="299010" cy="264453"/>
            </a:xfrm>
            <a:noFill/>
          </p:grpSpPr>
          <p:sp>
            <p:nvSpPr>
              <p:cNvPr id="2309" name="Forma livre: Forma 2308">
                <a:extLst>
                  <a:ext uri="{FF2B5EF4-FFF2-40B4-BE49-F238E27FC236}">
                    <a16:creationId xmlns:a16="http://schemas.microsoft.com/office/drawing/2014/main" id="{5F1850E7-42BE-EBB9-3EEE-DBEA6ECBEA58}"/>
                  </a:ext>
                </a:extLst>
              </p:cNvPr>
              <p:cNvSpPr/>
              <p:nvPr/>
            </p:nvSpPr>
            <p:spPr>
              <a:xfrm>
                <a:off x="10599117" y="5473039"/>
                <a:ext cx="65517" cy="72149"/>
              </a:xfrm>
              <a:custGeom>
                <a:avLst/>
                <a:gdLst>
                  <a:gd name="connsiteX0" fmla="*/ 12106 w 65517"/>
                  <a:gd name="connsiteY0" fmla="*/ 0 h 72149"/>
                  <a:gd name="connsiteX1" fmla="*/ 31228 w 65517"/>
                  <a:gd name="connsiteY1" fmla="*/ 15603 h 72149"/>
                  <a:gd name="connsiteX2" fmla="*/ 59268 w 65517"/>
                  <a:gd name="connsiteY2" fmla="*/ 14823 h 72149"/>
                  <a:gd name="connsiteX3" fmla="*/ 61429 w 65517"/>
                  <a:gd name="connsiteY3" fmla="*/ 39473 h 72149"/>
                  <a:gd name="connsiteX4" fmla="*/ 41587 w 65517"/>
                  <a:gd name="connsiteY4" fmla="*/ 45331 h 72149"/>
                  <a:gd name="connsiteX5" fmla="*/ 39248 w 65517"/>
                  <a:gd name="connsiteY5" fmla="*/ 65906 h 72149"/>
                  <a:gd name="connsiteX6" fmla="*/ 14587 w 65517"/>
                  <a:gd name="connsiteY6" fmla="*/ 68055 h 72149"/>
                  <a:gd name="connsiteX7" fmla="*/ 10500 w 65517"/>
                  <a:gd name="connsiteY7" fmla="*/ 40299 h 72149"/>
                  <a:gd name="connsiteX8" fmla="*/ 0 w 65517"/>
                  <a:gd name="connsiteY8" fmla="*/ 31146 h 721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65517" h="72149">
                    <a:moveTo>
                      <a:pt x="12106" y="0"/>
                    </a:moveTo>
                    <a:lnTo>
                      <a:pt x="31228" y="15603"/>
                    </a:lnTo>
                    <a:cubicBezTo>
                      <a:pt x="38528" y="10984"/>
                      <a:pt x="51874" y="8610"/>
                      <a:pt x="59268" y="14823"/>
                    </a:cubicBezTo>
                    <a:cubicBezTo>
                      <a:pt x="66673" y="21036"/>
                      <a:pt x="67630" y="32091"/>
                      <a:pt x="61429" y="39473"/>
                    </a:cubicBezTo>
                    <a:cubicBezTo>
                      <a:pt x="55902" y="46051"/>
                      <a:pt x="49677" y="48473"/>
                      <a:pt x="41587" y="45331"/>
                    </a:cubicBezTo>
                    <a:cubicBezTo>
                      <a:pt x="46075" y="52760"/>
                      <a:pt x="44776" y="59315"/>
                      <a:pt x="39248" y="65906"/>
                    </a:cubicBezTo>
                    <a:cubicBezTo>
                      <a:pt x="33047" y="73299"/>
                      <a:pt x="21992" y="74268"/>
                      <a:pt x="14587" y="68055"/>
                    </a:cubicBezTo>
                    <a:cubicBezTo>
                      <a:pt x="7193" y="61843"/>
                      <a:pt x="7228" y="48284"/>
                      <a:pt x="10500" y="40299"/>
                    </a:cubicBezTo>
                    <a:lnTo>
                      <a:pt x="0" y="31146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310" name="Forma livre: Forma 2309">
                <a:extLst>
                  <a:ext uri="{FF2B5EF4-FFF2-40B4-BE49-F238E27FC236}">
                    <a16:creationId xmlns:a16="http://schemas.microsoft.com/office/drawing/2014/main" id="{9B4FF9E6-9247-1DF3-D349-0601C6792835}"/>
                  </a:ext>
                </a:extLst>
              </p:cNvPr>
              <p:cNvSpPr/>
              <p:nvPr/>
            </p:nvSpPr>
            <p:spPr>
              <a:xfrm>
                <a:off x="10365624" y="5280735"/>
                <a:ext cx="71149" cy="69610"/>
              </a:xfrm>
              <a:custGeom>
                <a:avLst/>
                <a:gdLst>
                  <a:gd name="connsiteX0" fmla="*/ 49228 w 71149"/>
                  <a:gd name="connsiteY0" fmla="*/ 69610 h 69610"/>
                  <a:gd name="connsiteX1" fmla="*/ 34299 w 71149"/>
                  <a:gd name="connsiteY1" fmla="*/ 56559 h 69610"/>
                  <a:gd name="connsiteX2" fmla="*/ 6248 w 71149"/>
                  <a:gd name="connsiteY2" fmla="*/ 57339 h 69610"/>
                  <a:gd name="connsiteX3" fmla="*/ 4098 w 71149"/>
                  <a:gd name="connsiteY3" fmla="*/ 32677 h 69610"/>
                  <a:gd name="connsiteX4" fmla="*/ 23953 w 71149"/>
                  <a:gd name="connsiteY4" fmla="*/ 26819 h 69610"/>
                  <a:gd name="connsiteX5" fmla="*/ 26291 w 71149"/>
                  <a:gd name="connsiteY5" fmla="*/ 6244 h 69610"/>
                  <a:gd name="connsiteX6" fmla="*/ 50953 w 71149"/>
                  <a:gd name="connsiteY6" fmla="*/ 4094 h 69610"/>
                  <a:gd name="connsiteX7" fmla="*/ 55039 w 71149"/>
                  <a:gd name="connsiteY7" fmla="*/ 31862 h 69610"/>
                  <a:gd name="connsiteX8" fmla="*/ 71150 w 71149"/>
                  <a:gd name="connsiteY8" fmla="*/ 45764 h 696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71149" h="69610">
                    <a:moveTo>
                      <a:pt x="49228" y="69610"/>
                    </a:moveTo>
                    <a:lnTo>
                      <a:pt x="34299" y="56559"/>
                    </a:lnTo>
                    <a:cubicBezTo>
                      <a:pt x="27000" y="61177"/>
                      <a:pt x="13653" y="63551"/>
                      <a:pt x="6248" y="57339"/>
                    </a:cubicBezTo>
                    <a:cubicBezTo>
                      <a:pt x="-1158" y="51126"/>
                      <a:pt x="-2114" y="40071"/>
                      <a:pt x="4098" y="32677"/>
                    </a:cubicBezTo>
                    <a:cubicBezTo>
                      <a:pt x="9626" y="26098"/>
                      <a:pt x="15850" y="23677"/>
                      <a:pt x="23953" y="26819"/>
                    </a:cubicBezTo>
                    <a:cubicBezTo>
                      <a:pt x="19453" y="19378"/>
                      <a:pt x="20764" y="12835"/>
                      <a:pt x="26291" y="6244"/>
                    </a:cubicBezTo>
                    <a:cubicBezTo>
                      <a:pt x="32492" y="-1150"/>
                      <a:pt x="43547" y="-2118"/>
                      <a:pt x="50953" y="4094"/>
                    </a:cubicBezTo>
                    <a:cubicBezTo>
                      <a:pt x="58346" y="10319"/>
                      <a:pt x="58311" y="23866"/>
                      <a:pt x="55039" y="31862"/>
                    </a:cubicBezTo>
                    <a:lnTo>
                      <a:pt x="71150" y="45764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2311" name="Gráfico 19">
            <a:extLst>
              <a:ext uri="{FF2B5EF4-FFF2-40B4-BE49-F238E27FC236}">
                <a16:creationId xmlns:a16="http://schemas.microsoft.com/office/drawing/2014/main" id="{C69677B8-46CE-351A-754E-1F90F151B2D8}"/>
              </a:ext>
            </a:extLst>
          </p:cNvPr>
          <p:cNvGrpSpPr/>
          <p:nvPr/>
        </p:nvGrpSpPr>
        <p:grpSpPr>
          <a:xfrm>
            <a:off x="9739355" y="5281936"/>
            <a:ext cx="300780" cy="262048"/>
            <a:chOff x="9739355" y="5281936"/>
            <a:chExt cx="300780" cy="262048"/>
          </a:xfrm>
          <a:noFill/>
        </p:grpSpPr>
        <p:grpSp>
          <p:nvGrpSpPr>
            <p:cNvPr id="2312" name="Gráfico 19">
              <a:extLst>
                <a:ext uri="{FF2B5EF4-FFF2-40B4-BE49-F238E27FC236}">
                  <a16:creationId xmlns:a16="http://schemas.microsoft.com/office/drawing/2014/main" id="{1D92BBFD-4CE3-3624-F79E-324161482C1E}"/>
                </a:ext>
              </a:extLst>
            </p:cNvPr>
            <p:cNvGrpSpPr/>
            <p:nvPr/>
          </p:nvGrpSpPr>
          <p:grpSpPr>
            <a:xfrm>
              <a:off x="9776619" y="5329900"/>
              <a:ext cx="226252" cy="29055"/>
              <a:chOff x="9776619" y="5329900"/>
              <a:chExt cx="226252" cy="29055"/>
            </a:xfrm>
          </p:grpSpPr>
          <p:grpSp>
            <p:nvGrpSpPr>
              <p:cNvPr id="2313" name="Gráfico 19">
                <a:extLst>
                  <a:ext uri="{FF2B5EF4-FFF2-40B4-BE49-F238E27FC236}">
                    <a16:creationId xmlns:a16="http://schemas.microsoft.com/office/drawing/2014/main" id="{C463F6BE-738C-30D5-285D-C47454F66956}"/>
                  </a:ext>
                </a:extLst>
              </p:cNvPr>
              <p:cNvGrpSpPr/>
              <p:nvPr/>
            </p:nvGrpSpPr>
            <p:grpSpPr>
              <a:xfrm>
                <a:off x="9776619" y="5329900"/>
                <a:ext cx="29043" cy="29055"/>
                <a:chOff x="9776619" y="5329900"/>
                <a:chExt cx="29043" cy="29055"/>
              </a:xfrm>
            </p:grpSpPr>
            <p:sp>
              <p:nvSpPr>
                <p:cNvPr id="2314" name="Forma livre: Forma 2313">
                  <a:extLst>
                    <a:ext uri="{FF2B5EF4-FFF2-40B4-BE49-F238E27FC236}">
                      <a16:creationId xmlns:a16="http://schemas.microsoft.com/office/drawing/2014/main" id="{D4D1C374-23C3-BEAB-51FD-AEC939CC6657}"/>
                    </a:ext>
                  </a:extLst>
                </p:cNvPr>
                <p:cNvSpPr/>
                <p:nvPr/>
              </p:nvSpPr>
              <p:spPr>
                <a:xfrm>
                  <a:off x="9776619" y="5329900"/>
                  <a:ext cx="29043" cy="29055"/>
                </a:xfrm>
                <a:custGeom>
                  <a:avLst/>
                  <a:gdLst>
                    <a:gd name="connsiteX0" fmla="*/ 29043 w 29043"/>
                    <a:gd name="connsiteY0" fmla="*/ 0 h 29055"/>
                    <a:gd name="connsiteX1" fmla="*/ 0 w 29043"/>
                    <a:gd name="connsiteY1" fmla="*/ 29055 h 2905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9043" h="29055">
                      <a:moveTo>
                        <a:pt x="29043" y="0"/>
                      </a:moveTo>
                      <a:lnTo>
                        <a:pt x="0" y="29055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315" name="Forma livre: Forma 2314">
                  <a:extLst>
                    <a:ext uri="{FF2B5EF4-FFF2-40B4-BE49-F238E27FC236}">
                      <a16:creationId xmlns:a16="http://schemas.microsoft.com/office/drawing/2014/main" id="{780885C3-BB6B-3340-F4EC-E1A89ADDE92C}"/>
                    </a:ext>
                  </a:extLst>
                </p:cNvPr>
                <p:cNvSpPr/>
                <p:nvPr/>
              </p:nvSpPr>
              <p:spPr>
                <a:xfrm>
                  <a:off x="9776619" y="5329900"/>
                  <a:ext cx="29043" cy="29055"/>
                </a:xfrm>
                <a:custGeom>
                  <a:avLst/>
                  <a:gdLst>
                    <a:gd name="connsiteX0" fmla="*/ 29043 w 29043"/>
                    <a:gd name="connsiteY0" fmla="*/ 29055 h 29055"/>
                    <a:gd name="connsiteX1" fmla="*/ 0 w 29043"/>
                    <a:gd name="connsiteY1" fmla="*/ 0 h 2905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9043" h="29055">
                      <a:moveTo>
                        <a:pt x="29043" y="29055"/>
                      </a:moveTo>
                      <a:lnTo>
                        <a:pt x="0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2316" name="Gráfico 19">
                <a:extLst>
                  <a:ext uri="{FF2B5EF4-FFF2-40B4-BE49-F238E27FC236}">
                    <a16:creationId xmlns:a16="http://schemas.microsoft.com/office/drawing/2014/main" id="{02528CF7-0626-FB7D-65A9-4D97A46F83A5}"/>
                  </a:ext>
                </a:extLst>
              </p:cNvPr>
              <p:cNvGrpSpPr/>
              <p:nvPr/>
            </p:nvGrpSpPr>
            <p:grpSpPr>
              <a:xfrm>
                <a:off x="9842347" y="5329900"/>
                <a:ext cx="29043" cy="29055"/>
                <a:chOff x="9842347" y="5329900"/>
                <a:chExt cx="29043" cy="29055"/>
              </a:xfrm>
            </p:grpSpPr>
            <p:sp>
              <p:nvSpPr>
                <p:cNvPr id="2317" name="Forma livre: Forma 2316">
                  <a:extLst>
                    <a:ext uri="{FF2B5EF4-FFF2-40B4-BE49-F238E27FC236}">
                      <a16:creationId xmlns:a16="http://schemas.microsoft.com/office/drawing/2014/main" id="{C431CDD6-C333-8C0E-078D-5DCB6992D2AD}"/>
                    </a:ext>
                  </a:extLst>
                </p:cNvPr>
                <p:cNvSpPr/>
                <p:nvPr/>
              </p:nvSpPr>
              <p:spPr>
                <a:xfrm>
                  <a:off x="9842347" y="5329900"/>
                  <a:ext cx="29043" cy="29055"/>
                </a:xfrm>
                <a:custGeom>
                  <a:avLst/>
                  <a:gdLst>
                    <a:gd name="connsiteX0" fmla="*/ 29043 w 29043"/>
                    <a:gd name="connsiteY0" fmla="*/ 0 h 29055"/>
                    <a:gd name="connsiteX1" fmla="*/ 0 w 29043"/>
                    <a:gd name="connsiteY1" fmla="*/ 29055 h 2905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9043" h="29055">
                      <a:moveTo>
                        <a:pt x="29043" y="0"/>
                      </a:moveTo>
                      <a:lnTo>
                        <a:pt x="0" y="29055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318" name="Forma livre: Forma 2317">
                  <a:extLst>
                    <a:ext uri="{FF2B5EF4-FFF2-40B4-BE49-F238E27FC236}">
                      <a16:creationId xmlns:a16="http://schemas.microsoft.com/office/drawing/2014/main" id="{EF116706-234D-3240-680B-5CE6C8A8B9E9}"/>
                    </a:ext>
                  </a:extLst>
                </p:cNvPr>
                <p:cNvSpPr/>
                <p:nvPr/>
              </p:nvSpPr>
              <p:spPr>
                <a:xfrm>
                  <a:off x="9842347" y="5329900"/>
                  <a:ext cx="29043" cy="29055"/>
                </a:xfrm>
                <a:custGeom>
                  <a:avLst/>
                  <a:gdLst>
                    <a:gd name="connsiteX0" fmla="*/ 29043 w 29043"/>
                    <a:gd name="connsiteY0" fmla="*/ 29055 h 29055"/>
                    <a:gd name="connsiteX1" fmla="*/ 0 w 29043"/>
                    <a:gd name="connsiteY1" fmla="*/ 0 h 2905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9043" h="29055">
                      <a:moveTo>
                        <a:pt x="29043" y="29055"/>
                      </a:moveTo>
                      <a:lnTo>
                        <a:pt x="0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2319" name="Gráfico 19">
                <a:extLst>
                  <a:ext uri="{FF2B5EF4-FFF2-40B4-BE49-F238E27FC236}">
                    <a16:creationId xmlns:a16="http://schemas.microsoft.com/office/drawing/2014/main" id="{934B97D9-ED1E-8B3A-2792-CD6623E6BC1E}"/>
                  </a:ext>
                </a:extLst>
              </p:cNvPr>
              <p:cNvGrpSpPr/>
              <p:nvPr/>
            </p:nvGrpSpPr>
            <p:grpSpPr>
              <a:xfrm>
                <a:off x="9908088" y="5329900"/>
                <a:ext cx="29031" cy="29055"/>
                <a:chOff x="9908088" y="5329900"/>
                <a:chExt cx="29031" cy="29055"/>
              </a:xfrm>
            </p:grpSpPr>
            <p:sp>
              <p:nvSpPr>
                <p:cNvPr id="2320" name="Forma livre: Forma 2319">
                  <a:extLst>
                    <a:ext uri="{FF2B5EF4-FFF2-40B4-BE49-F238E27FC236}">
                      <a16:creationId xmlns:a16="http://schemas.microsoft.com/office/drawing/2014/main" id="{59C38B5D-CDCC-EC8A-6ECC-C1C8F0FCFAC8}"/>
                    </a:ext>
                  </a:extLst>
                </p:cNvPr>
                <p:cNvSpPr/>
                <p:nvPr/>
              </p:nvSpPr>
              <p:spPr>
                <a:xfrm>
                  <a:off x="9908088" y="5329900"/>
                  <a:ext cx="29031" cy="29055"/>
                </a:xfrm>
                <a:custGeom>
                  <a:avLst/>
                  <a:gdLst>
                    <a:gd name="connsiteX0" fmla="*/ 29032 w 29031"/>
                    <a:gd name="connsiteY0" fmla="*/ 0 h 29055"/>
                    <a:gd name="connsiteX1" fmla="*/ 0 w 29031"/>
                    <a:gd name="connsiteY1" fmla="*/ 29055 h 2905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9031" h="29055">
                      <a:moveTo>
                        <a:pt x="29032" y="0"/>
                      </a:moveTo>
                      <a:lnTo>
                        <a:pt x="0" y="29055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321" name="Forma livre: Forma 2320">
                  <a:extLst>
                    <a:ext uri="{FF2B5EF4-FFF2-40B4-BE49-F238E27FC236}">
                      <a16:creationId xmlns:a16="http://schemas.microsoft.com/office/drawing/2014/main" id="{C8ABDF45-C740-8C15-DD2A-0356B9ADE4EA}"/>
                    </a:ext>
                  </a:extLst>
                </p:cNvPr>
                <p:cNvSpPr/>
                <p:nvPr/>
              </p:nvSpPr>
              <p:spPr>
                <a:xfrm>
                  <a:off x="9908088" y="5329900"/>
                  <a:ext cx="29031" cy="29055"/>
                </a:xfrm>
                <a:custGeom>
                  <a:avLst/>
                  <a:gdLst>
                    <a:gd name="connsiteX0" fmla="*/ 29032 w 29031"/>
                    <a:gd name="connsiteY0" fmla="*/ 29055 h 29055"/>
                    <a:gd name="connsiteX1" fmla="*/ 0 w 29031"/>
                    <a:gd name="connsiteY1" fmla="*/ 0 h 2905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9031" h="29055">
                      <a:moveTo>
                        <a:pt x="29032" y="29055"/>
                      </a:moveTo>
                      <a:lnTo>
                        <a:pt x="0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2322" name="Gráfico 19">
                <a:extLst>
                  <a:ext uri="{FF2B5EF4-FFF2-40B4-BE49-F238E27FC236}">
                    <a16:creationId xmlns:a16="http://schemas.microsoft.com/office/drawing/2014/main" id="{97722804-0366-C47C-5145-58BBA1263F40}"/>
                  </a:ext>
                </a:extLst>
              </p:cNvPr>
              <p:cNvGrpSpPr/>
              <p:nvPr/>
            </p:nvGrpSpPr>
            <p:grpSpPr>
              <a:xfrm>
                <a:off x="9973828" y="5329900"/>
                <a:ext cx="29043" cy="29055"/>
                <a:chOff x="9973828" y="5329900"/>
                <a:chExt cx="29043" cy="29055"/>
              </a:xfrm>
            </p:grpSpPr>
            <p:sp>
              <p:nvSpPr>
                <p:cNvPr id="2323" name="Forma livre: Forma 2322">
                  <a:extLst>
                    <a:ext uri="{FF2B5EF4-FFF2-40B4-BE49-F238E27FC236}">
                      <a16:creationId xmlns:a16="http://schemas.microsoft.com/office/drawing/2014/main" id="{42C09F91-ED00-94DD-AF2D-66DAAE6E72F0}"/>
                    </a:ext>
                  </a:extLst>
                </p:cNvPr>
                <p:cNvSpPr/>
                <p:nvPr/>
              </p:nvSpPr>
              <p:spPr>
                <a:xfrm>
                  <a:off x="9973828" y="5329900"/>
                  <a:ext cx="29043" cy="29055"/>
                </a:xfrm>
                <a:custGeom>
                  <a:avLst/>
                  <a:gdLst>
                    <a:gd name="connsiteX0" fmla="*/ 29043 w 29043"/>
                    <a:gd name="connsiteY0" fmla="*/ 0 h 29055"/>
                    <a:gd name="connsiteX1" fmla="*/ 0 w 29043"/>
                    <a:gd name="connsiteY1" fmla="*/ 29055 h 2905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9043" h="29055">
                      <a:moveTo>
                        <a:pt x="29043" y="0"/>
                      </a:moveTo>
                      <a:lnTo>
                        <a:pt x="0" y="29055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324" name="Forma livre: Forma 2323">
                  <a:extLst>
                    <a:ext uri="{FF2B5EF4-FFF2-40B4-BE49-F238E27FC236}">
                      <a16:creationId xmlns:a16="http://schemas.microsoft.com/office/drawing/2014/main" id="{B51DF71D-FFD4-190D-8CC4-BC7BB8A31457}"/>
                    </a:ext>
                  </a:extLst>
                </p:cNvPr>
                <p:cNvSpPr/>
                <p:nvPr/>
              </p:nvSpPr>
              <p:spPr>
                <a:xfrm>
                  <a:off x="9973828" y="5329900"/>
                  <a:ext cx="29043" cy="29055"/>
                </a:xfrm>
                <a:custGeom>
                  <a:avLst/>
                  <a:gdLst>
                    <a:gd name="connsiteX0" fmla="*/ 29043 w 29043"/>
                    <a:gd name="connsiteY0" fmla="*/ 29055 h 29055"/>
                    <a:gd name="connsiteX1" fmla="*/ 0 w 29043"/>
                    <a:gd name="connsiteY1" fmla="*/ 0 h 2905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9043" h="29055">
                      <a:moveTo>
                        <a:pt x="29043" y="29055"/>
                      </a:moveTo>
                      <a:lnTo>
                        <a:pt x="0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sp>
          <p:nvSpPr>
            <p:cNvPr id="2325" name="Forma livre: Forma 2324">
              <a:extLst>
                <a:ext uri="{FF2B5EF4-FFF2-40B4-BE49-F238E27FC236}">
                  <a16:creationId xmlns:a16="http://schemas.microsoft.com/office/drawing/2014/main" id="{4048419F-8192-9548-661D-D5925D0D68FD}"/>
                </a:ext>
              </a:extLst>
            </p:cNvPr>
            <p:cNvSpPr/>
            <p:nvPr/>
          </p:nvSpPr>
          <p:spPr>
            <a:xfrm>
              <a:off x="9739355" y="5281936"/>
              <a:ext cx="300780" cy="124984"/>
            </a:xfrm>
            <a:custGeom>
              <a:avLst/>
              <a:gdLst>
                <a:gd name="connsiteX0" fmla="*/ 62693 w 300780"/>
                <a:gd name="connsiteY0" fmla="*/ 124985 h 124984"/>
                <a:gd name="connsiteX1" fmla="*/ 0 w 300780"/>
                <a:gd name="connsiteY1" fmla="*/ 124985 h 124984"/>
                <a:gd name="connsiteX2" fmla="*/ 0 w 300780"/>
                <a:gd name="connsiteY2" fmla="*/ 0 h 124984"/>
                <a:gd name="connsiteX3" fmla="*/ 300780 w 300780"/>
                <a:gd name="connsiteY3" fmla="*/ 0 h 124984"/>
                <a:gd name="connsiteX4" fmla="*/ 300780 w 300780"/>
                <a:gd name="connsiteY4" fmla="*/ 124985 h 124984"/>
                <a:gd name="connsiteX5" fmla="*/ 239150 w 300780"/>
                <a:gd name="connsiteY5" fmla="*/ 124985 h 1249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00780" h="124984">
                  <a:moveTo>
                    <a:pt x="62693" y="124985"/>
                  </a:moveTo>
                  <a:lnTo>
                    <a:pt x="0" y="124985"/>
                  </a:lnTo>
                  <a:lnTo>
                    <a:pt x="0" y="0"/>
                  </a:lnTo>
                  <a:lnTo>
                    <a:pt x="300780" y="0"/>
                  </a:lnTo>
                  <a:lnTo>
                    <a:pt x="300780" y="124985"/>
                  </a:lnTo>
                  <a:lnTo>
                    <a:pt x="239150" y="124985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2326" name="Gráfico 19">
              <a:extLst>
                <a:ext uri="{FF2B5EF4-FFF2-40B4-BE49-F238E27FC236}">
                  <a16:creationId xmlns:a16="http://schemas.microsoft.com/office/drawing/2014/main" id="{A1370EFD-B6B1-E6AB-177E-998B39F0D001}"/>
                </a:ext>
              </a:extLst>
            </p:cNvPr>
            <p:cNvGrpSpPr/>
            <p:nvPr/>
          </p:nvGrpSpPr>
          <p:grpSpPr>
            <a:xfrm>
              <a:off x="9810270" y="5385032"/>
              <a:ext cx="158953" cy="158952"/>
              <a:chOff x="9810270" y="5385032"/>
              <a:chExt cx="158953" cy="158952"/>
            </a:xfrm>
            <a:noFill/>
          </p:grpSpPr>
          <p:sp>
            <p:nvSpPr>
              <p:cNvPr id="2327" name="Forma livre: Forma 2326">
                <a:extLst>
                  <a:ext uri="{FF2B5EF4-FFF2-40B4-BE49-F238E27FC236}">
                    <a16:creationId xmlns:a16="http://schemas.microsoft.com/office/drawing/2014/main" id="{1D882422-7B15-41A3-160F-156CC2C1E3D0}"/>
                  </a:ext>
                </a:extLst>
              </p:cNvPr>
              <p:cNvSpPr/>
              <p:nvPr/>
            </p:nvSpPr>
            <p:spPr>
              <a:xfrm>
                <a:off x="9810270" y="5385032"/>
                <a:ext cx="158953" cy="158952"/>
              </a:xfrm>
              <a:custGeom>
                <a:avLst/>
                <a:gdLst>
                  <a:gd name="connsiteX0" fmla="*/ 27884 w 158953"/>
                  <a:gd name="connsiteY0" fmla="*/ 19019 h 158952"/>
                  <a:gd name="connsiteX1" fmla="*/ 57648 w 158953"/>
                  <a:gd name="connsiteY1" fmla="*/ 3074 h 158952"/>
                  <a:gd name="connsiteX2" fmla="*/ 155881 w 158953"/>
                  <a:gd name="connsiteY2" fmla="*/ 57653 h 158952"/>
                  <a:gd name="connsiteX3" fmla="*/ 101302 w 158953"/>
                  <a:gd name="connsiteY3" fmla="*/ 155873 h 158952"/>
                  <a:gd name="connsiteX4" fmla="*/ 3069 w 158953"/>
                  <a:gd name="connsiteY4" fmla="*/ 101306 h 158952"/>
                  <a:gd name="connsiteX5" fmla="*/ 10640 w 158953"/>
                  <a:gd name="connsiteY5" fmla="*/ 39782 h 1589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58953" h="158952">
                    <a:moveTo>
                      <a:pt x="27884" y="19019"/>
                    </a:moveTo>
                    <a:cubicBezTo>
                      <a:pt x="36294" y="11837"/>
                      <a:pt x="46321" y="6310"/>
                      <a:pt x="57648" y="3074"/>
                    </a:cubicBezTo>
                    <a:cubicBezTo>
                      <a:pt x="99837" y="-8974"/>
                      <a:pt x="143822" y="15464"/>
                      <a:pt x="155881" y="57653"/>
                    </a:cubicBezTo>
                    <a:cubicBezTo>
                      <a:pt x="167928" y="99853"/>
                      <a:pt x="143479" y="143838"/>
                      <a:pt x="101302" y="155873"/>
                    </a:cubicBezTo>
                    <a:cubicBezTo>
                      <a:pt x="59101" y="167932"/>
                      <a:pt x="15128" y="143495"/>
                      <a:pt x="3069" y="101306"/>
                    </a:cubicBezTo>
                    <a:cubicBezTo>
                      <a:pt x="-3072" y="79775"/>
                      <a:pt x="282" y="57771"/>
                      <a:pt x="10640" y="39782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328" name="Forma livre: Forma 2327">
                <a:extLst>
                  <a:ext uri="{FF2B5EF4-FFF2-40B4-BE49-F238E27FC236}">
                    <a16:creationId xmlns:a16="http://schemas.microsoft.com/office/drawing/2014/main" id="{7CE9FFB3-675A-32C3-A438-270277273F97}"/>
                  </a:ext>
                </a:extLst>
              </p:cNvPr>
              <p:cNvSpPr/>
              <p:nvPr/>
            </p:nvSpPr>
            <p:spPr>
              <a:xfrm>
                <a:off x="9845950" y="5428842"/>
                <a:ext cx="81897" cy="68350"/>
              </a:xfrm>
              <a:custGeom>
                <a:avLst/>
                <a:gdLst>
                  <a:gd name="connsiteX0" fmla="*/ 0 w 81897"/>
                  <a:gd name="connsiteY0" fmla="*/ 31654 h 68350"/>
                  <a:gd name="connsiteX1" fmla="*/ 34488 w 81897"/>
                  <a:gd name="connsiteY1" fmla="*/ 68351 h 68350"/>
                  <a:gd name="connsiteX2" fmla="*/ 81898 w 81897"/>
                  <a:gd name="connsiteY2" fmla="*/ 0 h 683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1897" h="68350">
                    <a:moveTo>
                      <a:pt x="0" y="31654"/>
                    </a:moveTo>
                    <a:lnTo>
                      <a:pt x="34488" y="68351"/>
                    </a:lnTo>
                    <a:lnTo>
                      <a:pt x="81898" y="0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2329" name="Gráfico 19">
            <a:extLst>
              <a:ext uri="{FF2B5EF4-FFF2-40B4-BE49-F238E27FC236}">
                <a16:creationId xmlns:a16="http://schemas.microsoft.com/office/drawing/2014/main" id="{23AF2C08-AA3E-78A6-DD1C-2E58A90607E9}"/>
              </a:ext>
            </a:extLst>
          </p:cNvPr>
          <p:cNvGrpSpPr/>
          <p:nvPr/>
        </p:nvGrpSpPr>
        <p:grpSpPr>
          <a:xfrm>
            <a:off x="10972606" y="5309255"/>
            <a:ext cx="296233" cy="207437"/>
            <a:chOff x="10972606" y="5309255"/>
            <a:chExt cx="296233" cy="207437"/>
          </a:xfrm>
        </p:grpSpPr>
        <p:sp>
          <p:nvSpPr>
            <p:cNvPr id="2330" name="Forma livre: Forma 2329">
              <a:extLst>
                <a:ext uri="{FF2B5EF4-FFF2-40B4-BE49-F238E27FC236}">
                  <a16:creationId xmlns:a16="http://schemas.microsoft.com/office/drawing/2014/main" id="{6CAA2E36-0704-993A-FAEC-E38A9C56A32D}"/>
                </a:ext>
              </a:extLst>
            </p:cNvPr>
            <p:cNvSpPr/>
            <p:nvPr/>
          </p:nvSpPr>
          <p:spPr>
            <a:xfrm>
              <a:off x="11212135" y="5458570"/>
              <a:ext cx="1181" cy="27555"/>
            </a:xfrm>
            <a:custGeom>
              <a:avLst/>
              <a:gdLst>
                <a:gd name="connsiteX0" fmla="*/ 0 w 1181"/>
                <a:gd name="connsiteY0" fmla="*/ 0 h 27555"/>
                <a:gd name="connsiteX1" fmla="*/ 0 w 1181"/>
                <a:gd name="connsiteY1" fmla="*/ 27555 h 275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81" h="27555">
                  <a:moveTo>
                    <a:pt x="0" y="0"/>
                  </a:moveTo>
                  <a:lnTo>
                    <a:pt x="0" y="27555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331" name="Forma livre: Forma 2330">
              <a:extLst>
                <a:ext uri="{FF2B5EF4-FFF2-40B4-BE49-F238E27FC236}">
                  <a16:creationId xmlns:a16="http://schemas.microsoft.com/office/drawing/2014/main" id="{7D3B460A-6E0C-47A3-5725-04658F0E61FE}"/>
                </a:ext>
              </a:extLst>
            </p:cNvPr>
            <p:cNvSpPr/>
            <p:nvPr/>
          </p:nvSpPr>
          <p:spPr>
            <a:xfrm>
              <a:off x="11206926" y="5452169"/>
              <a:ext cx="10417" cy="10417"/>
            </a:xfrm>
            <a:custGeom>
              <a:avLst/>
              <a:gdLst>
                <a:gd name="connsiteX0" fmla="*/ 10417 w 10417"/>
                <a:gd name="connsiteY0" fmla="*/ 5209 h 10417"/>
                <a:gd name="connsiteX1" fmla="*/ 5209 w 10417"/>
                <a:gd name="connsiteY1" fmla="*/ 10417 h 10417"/>
                <a:gd name="connsiteX2" fmla="*/ 0 w 10417"/>
                <a:gd name="connsiteY2" fmla="*/ 5209 h 10417"/>
                <a:gd name="connsiteX3" fmla="*/ 5209 w 10417"/>
                <a:gd name="connsiteY3" fmla="*/ 0 h 10417"/>
                <a:gd name="connsiteX4" fmla="*/ 10417 w 10417"/>
                <a:gd name="connsiteY4" fmla="*/ 5209 h 104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417" h="10417">
                  <a:moveTo>
                    <a:pt x="10417" y="5209"/>
                  </a:moveTo>
                  <a:cubicBezTo>
                    <a:pt x="10417" y="8102"/>
                    <a:pt x="8091" y="10417"/>
                    <a:pt x="5209" y="10417"/>
                  </a:cubicBezTo>
                  <a:cubicBezTo>
                    <a:pt x="2327" y="10417"/>
                    <a:pt x="0" y="8091"/>
                    <a:pt x="0" y="5209"/>
                  </a:cubicBezTo>
                  <a:cubicBezTo>
                    <a:pt x="0" y="2327"/>
                    <a:pt x="2339" y="0"/>
                    <a:pt x="5209" y="0"/>
                  </a:cubicBezTo>
                  <a:cubicBezTo>
                    <a:pt x="8079" y="0"/>
                    <a:pt x="10417" y="2327"/>
                    <a:pt x="10417" y="5209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332" name="Forma livre: Forma 2331">
              <a:extLst>
                <a:ext uri="{FF2B5EF4-FFF2-40B4-BE49-F238E27FC236}">
                  <a16:creationId xmlns:a16="http://schemas.microsoft.com/office/drawing/2014/main" id="{60B5002D-D555-51DA-749A-FE2DDB8FDDDF}"/>
                </a:ext>
              </a:extLst>
            </p:cNvPr>
            <p:cNvSpPr/>
            <p:nvPr/>
          </p:nvSpPr>
          <p:spPr>
            <a:xfrm>
              <a:off x="10972606" y="5309255"/>
              <a:ext cx="239740" cy="174106"/>
            </a:xfrm>
            <a:custGeom>
              <a:avLst/>
              <a:gdLst>
                <a:gd name="connsiteX0" fmla="*/ 153933 w 239740"/>
                <a:gd name="connsiteY0" fmla="*/ 174107 h 174106"/>
                <a:gd name="connsiteX1" fmla="*/ 13110 w 239740"/>
                <a:gd name="connsiteY1" fmla="*/ 174107 h 174106"/>
                <a:gd name="connsiteX2" fmla="*/ 0 w 239740"/>
                <a:gd name="connsiteY2" fmla="*/ 160996 h 174106"/>
                <a:gd name="connsiteX3" fmla="*/ 0 w 239740"/>
                <a:gd name="connsiteY3" fmla="*/ 13110 h 174106"/>
                <a:gd name="connsiteX4" fmla="*/ 13110 w 239740"/>
                <a:gd name="connsiteY4" fmla="*/ 0 h 174106"/>
                <a:gd name="connsiteX5" fmla="*/ 226631 w 239740"/>
                <a:gd name="connsiteY5" fmla="*/ 0 h 174106"/>
                <a:gd name="connsiteX6" fmla="*/ 239741 w 239740"/>
                <a:gd name="connsiteY6" fmla="*/ 13110 h 174106"/>
                <a:gd name="connsiteX7" fmla="*/ 239741 w 239740"/>
                <a:gd name="connsiteY7" fmla="*/ 41693 h 1741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39740" h="174106">
                  <a:moveTo>
                    <a:pt x="153933" y="174107"/>
                  </a:moveTo>
                  <a:lnTo>
                    <a:pt x="13110" y="174107"/>
                  </a:lnTo>
                  <a:cubicBezTo>
                    <a:pt x="5906" y="174107"/>
                    <a:pt x="0" y="168201"/>
                    <a:pt x="0" y="160996"/>
                  </a:cubicBezTo>
                  <a:lnTo>
                    <a:pt x="0" y="13110"/>
                  </a:lnTo>
                  <a:cubicBezTo>
                    <a:pt x="0" y="5894"/>
                    <a:pt x="5906" y="0"/>
                    <a:pt x="13110" y="0"/>
                  </a:cubicBezTo>
                  <a:lnTo>
                    <a:pt x="226631" y="0"/>
                  </a:lnTo>
                  <a:cubicBezTo>
                    <a:pt x="233847" y="0"/>
                    <a:pt x="239741" y="5906"/>
                    <a:pt x="239741" y="13110"/>
                  </a:cubicBezTo>
                  <a:lnTo>
                    <a:pt x="239741" y="41693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333" name="Forma livre: Forma 2332">
              <a:extLst>
                <a:ext uri="{FF2B5EF4-FFF2-40B4-BE49-F238E27FC236}">
                  <a16:creationId xmlns:a16="http://schemas.microsoft.com/office/drawing/2014/main" id="{CDE61ED3-5544-BCB0-46FE-2F5C2F3437F7}"/>
                </a:ext>
              </a:extLst>
            </p:cNvPr>
            <p:cNvSpPr/>
            <p:nvPr/>
          </p:nvSpPr>
          <p:spPr>
            <a:xfrm>
              <a:off x="10980189" y="5412046"/>
              <a:ext cx="54153" cy="64807"/>
            </a:xfrm>
            <a:custGeom>
              <a:avLst/>
              <a:gdLst>
                <a:gd name="connsiteX0" fmla="*/ 54154 w 54153"/>
                <a:gd name="connsiteY0" fmla="*/ 0 h 64807"/>
                <a:gd name="connsiteX1" fmla="*/ 0 w 54153"/>
                <a:gd name="connsiteY1" fmla="*/ 64807 h 64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4153" h="64807">
                  <a:moveTo>
                    <a:pt x="54154" y="0"/>
                  </a:moveTo>
                  <a:lnTo>
                    <a:pt x="0" y="64807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334" name="Forma livre: Forma 2333">
              <a:extLst>
                <a:ext uri="{FF2B5EF4-FFF2-40B4-BE49-F238E27FC236}">
                  <a16:creationId xmlns:a16="http://schemas.microsoft.com/office/drawing/2014/main" id="{E0FF8F05-000C-E77D-1818-874AD6EE011F}"/>
                </a:ext>
              </a:extLst>
            </p:cNvPr>
            <p:cNvSpPr/>
            <p:nvPr/>
          </p:nvSpPr>
          <p:spPr>
            <a:xfrm>
              <a:off x="10977272" y="5313211"/>
              <a:ext cx="230150" cy="89941"/>
            </a:xfrm>
            <a:custGeom>
              <a:avLst/>
              <a:gdLst>
                <a:gd name="connsiteX0" fmla="*/ 0 w 230150"/>
                <a:gd name="connsiteY0" fmla="*/ 732 h 89941"/>
                <a:gd name="connsiteX1" fmla="*/ 115559 w 230150"/>
                <a:gd name="connsiteY1" fmla="*/ 89941 h 89941"/>
                <a:gd name="connsiteX2" fmla="*/ 230150 w 230150"/>
                <a:gd name="connsiteY2" fmla="*/ 0 h 899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30150" h="89941">
                  <a:moveTo>
                    <a:pt x="0" y="732"/>
                  </a:moveTo>
                  <a:lnTo>
                    <a:pt x="115559" y="89941"/>
                  </a:lnTo>
                  <a:lnTo>
                    <a:pt x="230150" y="0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2335" name="Gráfico 19">
              <a:extLst>
                <a:ext uri="{FF2B5EF4-FFF2-40B4-BE49-F238E27FC236}">
                  <a16:creationId xmlns:a16="http://schemas.microsoft.com/office/drawing/2014/main" id="{9C92ACB2-EDD2-A863-72F6-DD09D3D176C8}"/>
                </a:ext>
              </a:extLst>
            </p:cNvPr>
            <p:cNvGrpSpPr/>
            <p:nvPr/>
          </p:nvGrpSpPr>
          <p:grpSpPr>
            <a:xfrm>
              <a:off x="11155430" y="5376649"/>
              <a:ext cx="113409" cy="140043"/>
              <a:chOff x="11155430" y="5376649"/>
              <a:chExt cx="113409" cy="140043"/>
            </a:xfrm>
            <a:noFill/>
          </p:grpSpPr>
          <p:sp>
            <p:nvSpPr>
              <p:cNvPr id="2336" name="Forma livre: Forma 2335">
                <a:extLst>
                  <a:ext uri="{FF2B5EF4-FFF2-40B4-BE49-F238E27FC236}">
                    <a16:creationId xmlns:a16="http://schemas.microsoft.com/office/drawing/2014/main" id="{D4D3E699-F60B-6C68-2C2E-2882A513D3BB}"/>
                  </a:ext>
                </a:extLst>
              </p:cNvPr>
              <p:cNvSpPr/>
              <p:nvPr/>
            </p:nvSpPr>
            <p:spPr>
              <a:xfrm>
                <a:off x="11155430" y="5376649"/>
                <a:ext cx="113409" cy="140043"/>
              </a:xfrm>
              <a:custGeom>
                <a:avLst/>
                <a:gdLst>
                  <a:gd name="connsiteX0" fmla="*/ 92091 w 113409"/>
                  <a:gd name="connsiteY0" fmla="*/ 43394 h 140043"/>
                  <a:gd name="connsiteX1" fmla="*/ 113410 w 113409"/>
                  <a:gd name="connsiteY1" fmla="*/ 43394 h 140043"/>
                  <a:gd name="connsiteX2" fmla="*/ 113410 w 113409"/>
                  <a:gd name="connsiteY2" fmla="*/ 140044 h 140043"/>
                  <a:gd name="connsiteX3" fmla="*/ 0 w 113409"/>
                  <a:gd name="connsiteY3" fmla="*/ 140044 h 140043"/>
                  <a:gd name="connsiteX4" fmla="*/ 0 w 113409"/>
                  <a:gd name="connsiteY4" fmla="*/ 43394 h 140043"/>
                  <a:gd name="connsiteX5" fmla="*/ 21319 w 113409"/>
                  <a:gd name="connsiteY5" fmla="*/ 43394 h 140043"/>
                  <a:gd name="connsiteX6" fmla="*/ 21319 w 113409"/>
                  <a:gd name="connsiteY6" fmla="*/ 26823 h 140043"/>
                  <a:gd name="connsiteX7" fmla="*/ 48142 w 113409"/>
                  <a:gd name="connsiteY7" fmla="*/ 0 h 140043"/>
                  <a:gd name="connsiteX8" fmla="*/ 65268 w 113409"/>
                  <a:gd name="connsiteY8" fmla="*/ 0 h 140043"/>
                  <a:gd name="connsiteX9" fmla="*/ 92079 w 113409"/>
                  <a:gd name="connsiteY9" fmla="*/ 26823 h 140043"/>
                  <a:gd name="connsiteX10" fmla="*/ 92079 w 113409"/>
                  <a:gd name="connsiteY10" fmla="*/ 43394 h 1400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113409" h="140043">
                    <a:moveTo>
                      <a:pt x="92091" y="43394"/>
                    </a:moveTo>
                    <a:lnTo>
                      <a:pt x="113410" y="43394"/>
                    </a:lnTo>
                    <a:lnTo>
                      <a:pt x="113410" y="140044"/>
                    </a:lnTo>
                    <a:lnTo>
                      <a:pt x="0" y="140044"/>
                    </a:lnTo>
                    <a:lnTo>
                      <a:pt x="0" y="43394"/>
                    </a:lnTo>
                    <a:lnTo>
                      <a:pt x="21319" y="43394"/>
                    </a:lnTo>
                    <a:lnTo>
                      <a:pt x="21319" y="26823"/>
                    </a:lnTo>
                    <a:cubicBezTo>
                      <a:pt x="21319" y="12071"/>
                      <a:pt x="33390" y="0"/>
                      <a:pt x="48142" y="0"/>
                    </a:cubicBezTo>
                    <a:lnTo>
                      <a:pt x="65268" y="0"/>
                    </a:lnTo>
                    <a:cubicBezTo>
                      <a:pt x="80020" y="0"/>
                      <a:pt x="92079" y="12071"/>
                      <a:pt x="92079" y="26823"/>
                    </a:cubicBezTo>
                    <a:lnTo>
                      <a:pt x="92079" y="43394"/>
                    </a:lnTo>
                    <a:close/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337" name="Forma livre: Forma 2336">
                <a:extLst>
                  <a:ext uri="{FF2B5EF4-FFF2-40B4-BE49-F238E27FC236}">
                    <a16:creationId xmlns:a16="http://schemas.microsoft.com/office/drawing/2014/main" id="{946157BF-90E7-8DF4-E0BD-D8F0071392D8}"/>
                  </a:ext>
                </a:extLst>
              </p:cNvPr>
              <p:cNvSpPr/>
              <p:nvPr/>
            </p:nvSpPr>
            <p:spPr>
              <a:xfrm>
                <a:off x="11196367" y="5420042"/>
                <a:ext cx="33626" cy="1181"/>
              </a:xfrm>
              <a:custGeom>
                <a:avLst/>
                <a:gdLst>
                  <a:gd name="connsiteX0" fmla="*/ 0 w 33626"/>
                  <a:gd name="connsiteY0" fmla="*/ 0 h 1181"/>
                  <a:gd name="connsiteX1" fmla="*/ 33626 w 33626"/>
                  <a:gd name="connsiteY1" fmla="*/ 0 h 11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3626" h="1181">
                    <a:moveTo>
                      <a:pt x="0" y="0"/>
                    </a:moveTo>
                    <a:lnTo>
                      <a:pt x="33626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2338" name="Gráfico 19">
            <a:extLst>
              <a:ext uri="{FF2B5EF4-FFF2-40B4-BE49-F238E27FC236}">
                <a16:creationId xmlns:a16="http://schemas.microsoft.com/office/drawing/2014/main" id="{FEABEEDE-073D-1053-6786-325AD961A431}"/>
              </a:ext>
            </a:extLst>
          </p:cNvPr>
          <p:cNvGrpSpPr/>
          <p:nvPr/>
        </p:nvGrpSpPr>
        <p:grpSpPr>
          <a:xfrm>
            <a:off x="10375416" y="4749954"/>
            <a:ext cx="259618" cy="265973"/>
            <a:chOff x="10375416" y="4749954"/>
            <a:chExt cx="259618" cy="265973"/>
          </a:xfrm>
        </p:grpSpPr>
        <p:grpSp>
          <p:nvGrpSpPr>
            <p:cNvPr id="2339" name="Gráfico 19">
              <a:extLst>
                <a:ext uri="{FF2B5EF4-FFF2-40B4-BE49-F238E27FC236}">
                  <a16:creationId xmlns:a16="http://schemas.microsoft.com/office/drawing/2014/main" id="{4BBA5656-8F2B-A4DB-C780-A40084DE1992}"/>
                </a:ext>
              </a:extLst>
            </p:cNvPr>
            <p:cNvGrpSpPr/>
            <p:nvPr/>
          </p:nvGrpSpPr>
          <p:grpSpPr>
            <a:xfrm>
              <a:off x="10375416" y="4749954"/>
              <a:ext cx="200114" cy="265973"/>
              <a:chOff x="10375416" y="4749954"/>
              <a:chExt cx="200114" cy="265973"/>
            </a:xfrm>
            <a:noFill/>
          </p:grpSpPr>
          <p:sp>
            <p:nvSpPr>
              <p:cNvPr id="2340" name="Forma livre: Forma 2339">
                <a:extLst>
                  <a:ext uri="{FF2B5EF4-FFF2-40B4-BE49-F238E27FC236}">
                    <a16:creationId xmlns:a16="http://schemas.microsoft.com/office/drawing/2014/main" id="{28D0099E-1193-BAA2-E063-7B2580923608}"/>
                  </a:ext>
                </a:extLst>
              </p:cNvPr>
              <p:cNvSpPr/>
              <p:nvPr/>
            </p:nvSpPr>
            <p:spPr>
              <a:xfrm>
                <a:off x="10375416" y="4749954"/>
                <a:ext cx="200114" cy="265973"/>
              </a:xfrm>
              <a:custGeom>
                <a:avLst/>
                <a:gdLst>
                  <a:gd name="connsiteX0" fmla="*/ 112784 w 200114"/>
                  <a:gd name="connsiteY0" fmla="*/ 265973 h 265973"/>
                  <a:gd name="connsiteX1" fmla="*/ 0 w 200114"/>
                  <a:gd name="connsiteY1" fmla="*/ 265973 h 265973"/>
                  <a:gd name="connsiteX2" fmla="*/ 0 w 200114"/>
                  <a:gd name="connsiteY2" fmla="*/ 52795 h 265973"/>
                  <a:gd name="connsiteX3" fmla="*/ 52807 w 200114"/>
                  <a:gd name="connsiteY3" fmla="*/ 0 h 265973"/>
                  <a:gd name="connsiteX4" fmla="*/ 200115 w 200114"/>
                  <a:gd name="connsiteY4" fmla="*/ 0 h 265973"/>
                  <a:gd name="connsiteX5" fmla="*/ 200115 w 200114"/>
                  <a:gd name="connsiteY5" fmla="*/ 91772 h 2659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00114" h="265973">
                    <a:moveTo>
                      <a:pt x="112784" y="265973"/>
                    </a:moveTo>
                    <a:lnTo>
                      <a:pt x="0" y="265973"/>
                    </a:lnTo>
                    <a:lnTo>
                      <a:pt x="0" y="52795"/>
                    </a:lnTo>
                    <a:lnTo>
                      <a:pt x="52807" y="0"/>
                    </a:lnTo>
                    <a:lnTo>
                      <a:pt x="200115" y="0"/>
                    </a:lnTo>
                    <a:lnTo>
                      <a:pt x="200115" y="91772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341" name="Forma livre: Forma 2340">
                <a:extLst>
                  <a:ext uri="{FF2B5EF4-FFF2-40B4-BE49-F238E27FC236}">
                    <a16:creationId xmlns:a16="http://schemas.microsoft.com/office/drawing/2014/main" id="{908A2D4B-411B-467E-1125-AFD2441835FA}"/>
                  </a:ext>
                </a:extLst>
              </p:cNvPr>
              <p:cNvSpPr/>
              <p:nvPr/>
            </p:nvSpPr>
            <p:spPr>
              <a:xfrm>
                <a:off x="10400727" y="4775478"/>
                <a:ext cx="36106" cy="36071"/>
              </a:xfrm>
              <a:custGeom>
                <a:avLst/>
                <a:gdLst>
                  <a:gd name="connsiteX0" fmla="*/ 36106 w 36106"/>
                  <a:gd name="connsiteY0" fmla="*/ 0 h 36071"/>
                  <a:gd name="connsiteX1" fmla="*/ 36106 w 36106"/>
                  <a:gd name="connsiteY1" fmla="*/ 36071 h 36071"/>
                  <a:gd name="connsiteX2" fmla="*/ 0 w 36106"/>
                  <a:gd name="connsiteY2" fmla="*/ 36071 h 360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6106" h="36071">
                    <a:moveTo>
                      <a:pt x="36106" y="0"/>
                    </a:moveTo>
                    <a:lnTo>
                      <a:pt x="36106" y="36071"/>
                    </a:lnTo>
                    <a:lnTo>
                      <a:pt x="0" y="36071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2342" name="Gráfico 19">
              <a:extLst>
                <a:ext uri="{FF2B5EF4-FFF2-40B4-BE49-F238E27FC236}">
                  <a16:creationId xmlns:a16="http://schemas.microsoft.com/office/drawing/2014/main" id="{33E8A38B-93F9-90CA-95E0-C72A6DCE3BBA}"/>
                </a:ext>
              </a:extLst>
            </p:cNvPr>
            <p:cNvGrpSpPr/>
            <p:nvPr/>
          </p:nvGrpSpPr>
          <p:grpSpPr>
            <a:xfrm>
              <a:off x="10515152" y="4867887"/>
              <a:ext cx="119882" cy="148039"/>
              <a:chOff x="10515152" y="4867887"/>
              <a:chExt cx="119882" cy="148039"/>
            </a:xfrm>
          </p:grpSpPr>
          <p:sp>
            <p:nvSpPr>
              <p:cNvPr id="2343" name="Forma livre: Forma 2342">
                <a:extLst>
                  <a:ext uri="{FF2B5EF4-FFF2-40B4-BE49-F238E27FC236}">
                    <a16:creationId xmlns:a16="http://schemas.microsoft.com/office/drawing/2014/main" id="{CC8256EC-B578-1488-A0A3-D4DF3C29FCC8}"/>
                  </a:ext>
                </a:extLst>
              </p:cNvPr>
              <p:cNvSpPr/>
              <p:nvPr/>
            </p:nvSpPr>
            <p:spPr>
              <a:xfrm>
                <a:off x="10575093" y="4955632"/>
                <a:ext cx="1181" cy="29775"/>
              </a:xfrm>
              <a:custGeom>
                <a:avLst/>
                <a:gdLst>
                  <a:gd name="connsiteX0" fmla="*/ 0 w 1181"/>
                  <a:gd name="connsiteY0" fmla="*/ 0 h 29775"/>
                  <a:gd name="connsiteX1" fmla="*/ 0 w 1181"/>
                  <a:gd name="connsiteY1" fmla="*/ 29776 h 297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81" h="29775">
                    <a:moveTo>
                      <a:pt x="0" y="0"/>
                    </a:moveTo>
                    <a:lnTo>
                      <a:pt x="0" y="29776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344" name="Forma livre: Forma 2343">
                <a:extLst>
                  <a:ext uri="{FF2B5EF4-FFF2-40B4-BE49-F238E27FC236}">
                    <a16:creationId xmlns:a16="http://schemas.microsoft.com/office/drawing/2014/main" id="{9E016E84-4C61-A9FB-5019-70EC04077DC5}"/>
                  </a:ext>
                </a:extLst>
              </p:cNvPr>
              <p:cNvSpPr/>
              <p:nvPr/>
            </p:nvSpPr>
            <p:spPr>
              <a:xfrm>
                <a:off x="10568586" y="4947482"/>
                <a:ext cx="13015" cy="13015"/>
              </a:xfrm>
              <a:custGeom>
                <a:avLst/>
                <a:gdLst>
                  <a:gd name="connsiteX0" fmla="*/ 13016 w 13015"/>
                  <a:gd name="connsiteY0" fmla="*/ 6508 h 13015"/>
                  <a:gd name="connsiteX1" fmla="*/ 6508 w 13015"/>
                  <a:gd name="connsiteY1" fmla="*/ 13016 h 13015"/>
                  <a:gd name="connsiteX2" fmla="*/ 0 w 13015"/>
                  <a:gd name="connsiteY2" fmla="*/ 6508 h 13015"/>
                  <a:gd name="connsiteX3" fmla="*/ 6508 w 13015"/>
                  <a:gd name="connsiteY3" fmla="*/ 0 h 13015"/>
                  <a:gd name="connsiteX4" fmla="*/ 13016 w 13015"/>
                  <a:gd name="connsiteY4" fmla="*/ 6508 h 130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3015" h="13015">
                    <a:moveTo>
                      <a:pt x="13016" y="6508"/>
                    </a:moveTo>
                    <a:cubicBezTo>
                      <a:pt x="13016" y="10099"/>
                      <a:pt x="10110" y="13016"/>
                      <a:pt x="6508" y="13016"/>
                    </a:cubicBezTo>
                    <a:cubicBezTo>
                      <a:pt x="2906" y="13016"/>
                      <a:pt x="0" y="10110"/>
                      <a:pt x="0" y="6508"/>
                    </a:cubicBezTo>
                    <a:cubicBezTo>
                      <a:pt x="0" y="2906"/>
                      <a:pt x="2906" y="0"/>
                      <a:pt x="6508" y="0"/>
                    </a:cubicBezTo>
                    <a:cubicBezTo>
                      <a:pt x="10110" y="0"/>
                      <a:pt x="13016" y="2906"/>
                      <a:pt x="13016" y="6508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345" name="Forma livre: Forma 2344">
                <a:extLst>
                  <a:ext uri="{FF2B5EF4-FFF2-40B4-BE49-F238E27FC236}">
                    <a16:creationId xmlns:a16="http://schemas.microsoft.com/office/drawing/2014/main" id="{DC332671-EDFB-4F76-6D82-33BCBDD916DA}"/>
                  </a:ext>
                </a:extLst>
              </p:cNvPr>
              <p:cNvSpPr/>
              <p:nvPr/>
            </p:nvSpPr>
            <p:spPr>
              <a:xfrm>
                <a:off x="10515152" y="4867887"/>
                <a:ext cx="119882" cy="148039"/>
              </a:xfrm>
              <a:custGeom>
                <a:avLst/>
                <a:gdLst>
                  <a:gd name="connsiteX0" fmla="*/ 97347 w 119882"/>
                  <a:gd name="connsiteY0" fmla="*/ 45874 h 148039"/>
                  <a:gd name="connsiteX1" fmla="*/ 119882 w 119882"/>
                  <a:gd name="connsiteY1" fmla="*/ 45874 h 148039"/>
                  <a:gd name="connsiteX2" fmla="*/ 119882 w 119882"/>
                  <a:gd name="connsiteY2" fmla="*/ 148040 h 148039"/>
                  <a:gd name="connsiteX3" fmla="*/ 0 w 119882"/>
                  <a:gd name="connsiteY3" fmla="*/ 148040 h 148039"/>
                  <a:gd name="connsiteX4" fmla="*/ 0 w 119882"/>
                  <a:gd name="connsiteY4" fmla="*/ 45874 h 148039"/>
                  <a:gd name="connsiteX5" fmla="*/ 22547 w 119882"/>
                  <a:gd name="connsiteY5" fmla="*/ 45874 h 148039"/>
                  <a:gd name="connsiteX6" fmla="*/ 22547 w 119882"/>
                  <a:gd name="connsiteY6" fmla="*/ 28346 h 148039"/>
                  <a:gd name="connsiteX7" fmla="*/ 50894 w 119882"/>
                  <a:gd name="connsiteY7" fmla="*/ 0 h 148039"/>
                  <a:gd name="connsiteX8" fmla="*/ 69012 w 119882"/>
                  <a:gd name="connsiteY8" fmla="*/ 0 h 148039"/>
                  <a:gd name="connsiteX9" fmla="*/ 97359 w 119882"/>
                  <a:gd name="connsiteY9" fmla="*/ 28346 h 148039"/>
                  <a:gd name="connsiteX10" fmla="*/ 97359 w 119882"/>
                  <a:gd name="connsiteY10" fmla="*/ 45874 h 1480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119882" h="148039">
                    <a:moveTo>
                      <a:pt x="97347" y="45874"/>
                    </a:moveTo>
                    <a:lnTo>
                      <a:pt x="119882" y="45874"/>
                    </a:lnTo>
                    <a:lnTo>
                      <a:pt x="119882" y="148040"/>
                    </a:lnTo>
                    <a:lnTo>
                      <a:pt x="0" y="148040"/>
                    </a:lnTo>
                    <a:lnTo>
                      <a:pt x="0" y="45874"/>
                    </a:lnTo>
                    <a:lnTo>
                      <a:pt x="22547" y="45874"/>
                    </a:lnTo>
                    <a:lnTo>
                      <a:pt x="22547" y="28346"/>
                    </a:lnTo>
                    <a:cubicBezTo>
                      <a:pt x="22547" y="12756"/>
                      <a:pt x="35303" y="0"/>
                      <a:pt x="50894" y="0"/>
                    </a:cubicBezTo>
                    <a:lnTo>
                      <a:pt x="69012" y="0"/>
                    </a:lnTo>
                    <a:cubicBezTo>
                      <a:pt x="84603" y="0"/>
                      <a:pt x="97359" y="12756"/>
                      <a:pt x="97359" y="28346"/>
                    </a:cubicBezTo>
                    <a:lnTo>
                      <a:pt x="97359" y="45874"/>
                    </a:lnTo>
                    <a:close/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346" name="Forma livre: Forma 2345">
                <a:extLst>
                  <a:ext uri="{FF2B5EF4-FFF2-40B4-BE49-F238E27FC236}">
                    <a16:creationId xmlns:a16="http://schemas.microsoft.com/office/drawing/2014/main" id="{4D29E9B6-9F0E-A2EE-94D7-176B6B051D59}"/>
                  </a:ext>
                </a:extLst>
              </p:cNvPr>
              <p:cNvSpPr/>
              <p:nvPr/>
            </p:nvSpPr>
            <p:spPr>
              <a:xfrm>
                <a:off x="10557613" y="4913762"/>
                <a:ext cx="35067" cy="1181"/>
              </a:xfrm>
              <a:custGeom>
                <a:avLst/>
                <a:gdLst>
                  <a:gd name="connsiteX0" fmla="*/ 0 w 35067"/>
                  <a:gd name="connsiteY0" fmla="*/ 0 h 1181"/>
                  <a:gd name="connsiteX1" fmla="*/ 35067 w 35067"/>
                  <a:gd name="connsiteY1" fmla="*/ 0 h 11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5067" h="1181">
                    <a:moveTo>
                      <a:pt x="0" y="0"/>
                    </a:moveTo>
                    <a:lnTo>
                      <a:pt x="35067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2347" name="Gráfico 19">
            <a:extLst>
              <a:ext uri="{FF2B5EF4-FFF2-40B4-BE49-F238E27FC236}">
                <a16:creationId xmlns:a16="http://schemas.microsoft.com/office/drawing/2014/main" id="{3BD42EED-AD7D-8B0B-FE37-760329960F49}"/>
              </a:ext>
            </a:extLst>
          </p:cNvPr>
          <p:cNvGrpSpPr/>
          <p:nvPr/>
        </p:nvGrpSpPr>
        <p:grpSpPr>
          <a:xfrm>
            <a:off x="9717091" y="4766525"/>
            <a:ext cx="345295" cy="232843"/>
            <a:chOff x="9717091" y="4766525"/>
            <a:chExt cx="345295" cy="232843"/>
          </a:xfrm>
          <a:noFill/>
        </p:grpSpPr>
        <p:grpSp>
          <p:nvGrpSpPr>
            <p:cNvPr id="2348" name="Gráfico 19">
              <a:extLst>
                <a:ext uri="{FF2B5EF4-FFF2-40B4-BE49-F238E27FC236}">
                  <a16:creationId xmlns:a16="http://schemas.microsoft.com/office/drawing/2014/main" id="{1A7F9CDF-2163-D65E-9AAE-1ADF7C1F7428}"/>
                </a:ext>
              </a:extLst>
            </p:cNvPr>
            <p:cNvGrpSpPr/>
            <p:nvPr/>
          </p:nvGrpSpPr>
          <p:grpSpPr>
            <a:xfrm>
              <a:off x="9886801" y="4766525"/>
              <a:ext cx="175585" cy="232843"/>
              <a:chOff x="9886801" y="4766525"/>
              <a:chExt cx="175585" cy="232843"/>
            </a:xfrm>
            <a:noFill/>
          </p:grpSpPr>
          <p:sp>
            <p:nvSpPr>
              <p:cNvPr id="2349" name="Forma livre: Forma 2348">
                <a:extLst>
                  <a:ext uri="{FF2B5EF4-FFF2-40B4-BE49-F238E27FC236}">
                    <a16:creationId xmlns:a16="http://schemas.microsoft.com/office/drawing/2014/main" id="{0663F0F3-C8FD-1C2A-2ADC-A777202F391D}"/>
                  </a:ext>
                </a:extLst>
              </p:cNvPr>
              <p:cNvSpPr/>
              <p:nvPr/>
            </p:nvSpPr>
            <p:spPr>
              <a:xfrm>
                <a:off x="9886801" y="4766525"/>
                <a:ext cx="147387" cy="232843"/>
              </a:xfrm>
              <a:custGeom>
                <a:avLst/>
                <a:gdLst>
                  <a:gd name="connsiteX0" fmla="*/ 147370 w 147387"/>
                  <a:gd name="connsiteY0" fmla="*/ 110717 h 232843"/>
                  <a:gd name="connsiteX1" fmla="*/ 131189 w 147387"/>
                  <a:gd name="connsiteY1" fmla="*/ 124902 h 232843"/>
                  <a:gd name="connsiteX2" fmla="*/ 126902 w 147387"/>
                  <a:gd name="connsiteY2" fmla="*/ 96425 h 232843"/>
                  <a:gd name="connsiteX3" fmla="*/ 68165 w 147387"/>
                  <a:gd name="connsiteY3" fmla="*/ 0 h 232843"/>
                  <a:gd name="connsiteX4" fmla="*/ 58527 w 147387"/>
                  <a:gd name="connsiteY4" fmla="*/ 63992 h 232843"/>
                  <a:gd name="connsiteX5" fmla="*/ 15 w 147387"/>
                  <a:gd name="connsiteY5" fmla="*/ 153414 h 232843"/>
                  <a:gd name="connsiteX6" fmla="*/ 69051 w 147387"/>
                  <a:gd name="connsiteY6" fmla="*/ 232843 h 2328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47387" h="232843">
                    <a:moveTo>
                      <a:pt x="147370" y="110717"/>
                    </a:moveTo>
                    <a:cubicBezTo>
                      <a:pt x="147843" y="125717"/>
                      <a:pt x="138713" y="128540"/>
                      <a:pt x="131189" y="124902"/>
                    </a:cubicBezTo>
                    <a:cubicBezTo>
                      <a:pt x="117783" y="118406"/>
                      <a:pt x="126902" y="96425"/>
                      <a:pt x="126902" y="96425"/>
                    </a:cubicBezTo>
                    <a:cubicBezTo>
                      <a:pt x="141512" y="36236"/>
                      <a:pt x="68165" y="0"/>
                      <a:pt x="68165" y="0"/>
                    </a:cubicBezTo>
                    <a:cubicBezTo>
                      <a:pt x="68165" y="0"/>
                      <a:pt x="82622" y="39390"/>
                      <a:pt x="58527" y="63992"/>
                    </a:cubicBezTo>
                    <a:cubicBezTo>
                      <a:pt x="37492" y="85477"/>
                      <a:pt x="15" y="114402"/>
                      <a:pt x="15" y="153414"/>
                    </a:cubicBezTo>
                    <a:cubicBezTo>
                      <a:pt x="15" y="163052"/>
                      <a:pt x="-2831" y="209174"/>
                      <a:pt x="69051" y="232843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350" name="Forma livre: Forma 2349">
                <a:extLst>
                  <a:ext uri="{FF2B5EF4-FFF2-40B4-BE49-F238E27FC236}">
                    <a16:creationId xmlns:a16="http://schemas.microsoft.com/office/drawing/2014/main" id="{5DF91B20-289F-5401-9D99-7FDC413E8CE2}"/>
                  </a:ext>
                </a:extLst>
              </p:cNvPr>
              <p:cNvSpPr/>
              <p:nvPr/>
            </p:nvSpPr>
            <p:spPr>
              <a:xfrm>
                <a:off x="9985663" y="4849368"/>
                <a:ext cx="76723" cy="149988"/>
              </a:xfrm>
              <a:custGeom>
                <a:avLst/>
                <a:gdLst>
                  <a:gd name="connsiteX0" fmla="*/ 0 w 76723"/>
                  <a:gd name="connsiteY0" fmla="*/ 149989 h 149988"/>
                  <a:gd name="connsiteX1" fmla="*/ 57567 w 76723"/>
                  <a:gd name="connsiteY1" fmla="*/ 0 h 1499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76723" h="149988">
                    <a:moveTo>
                      <a:pt x="0" y="149989"/>
                    </a:moveTo>
                    <a:cubicBezTo>
                      <a:pt x="127548" y="114047"/>
                      <a:pt x="57567" y="0"/>
                      <a:pt x="57567" y="0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2351" name="Gráfico 19">
                <a:extLst>
                  <a:ext uri="{FF2B5EF4-FFF2-40B4-BE49-F238E27FC236}">
                    <a16:creationId xmlns:a16="http://schemas.microsoft.com/office/drawing/2014/main" id="{E56E511B-29F4-8562-432A-3922C2BFF167}"/>
                  </a:ext>
                </a:extLst>
              </p:cNvPr>
              <p:cNvGrpSpPr/>
              <p:nvPr/>
            </p:nvGrpSpPr>
            <p:grpSpPr>
              <a:xfrm>
                <a:off x="9927549" y="4863116"/>
                <a:ext cx="89897" cy="136240"/>
                <a:chOff x="9927549" y="4863116"/>
                <a:chExt cx="89897" cy="136240"/>
              </a:xfrm>
              <a:noFill/>
            </p:grpSpPr>
            <p:sp>
              <p:nvSpPr>
                <p:cNvPr id="2352" name="Forma livre: Forma 2351">
                  <a:extLst>
                    <a:ext uri="{FF2B5EF4-FFF2-40B4-BE49-F238E27FC236}">
                      <a16:creationId xmlns:a16="http://schemas.microsoft.com/office/drawing/2014/main" id="{495F10A2-6B62-B718-5234-EAB6E0F1DEAD}"/>
                    </a:ext>
                  </a:extLst>
                </p:cNvPr>
                <p:cNvSpPr/>
                <p:nvPr/>
              </p:nvSpPr>
              <p:spPr>
                <a:xfrm>
                  <a:off x="9962537" y="4863116"/>
                  <a:ext cx="54910" cy="136240"/>
                </a:xfrm>
                <a:custGeom>
                  <a:avLst/>
                  <a:gdLst>
                    <a:gd name="connsiteX0" fmla="*/ 0 w 54910"/>
                    <a:gd name="connsiteY0" fmla="*/ 26894 h 136240"/>
                    <a:gd name="connsiteX1" fmla="*/ 18945 w 54910"/>
                    <a:gd name="connsiteY1" fmla="*/ 0 h 136240"/>
                    <a:gd name="connsiteX2" fmla="*/ 33626 w 54910"/>
                    <a:gd name="connsiteY2" fmla="*/ 48921 h 136240"/>
                    <a:gd name="connsiteX3" fmla="*/ 54721 w 54910"/>
                    <a:gd name="connsiteY3" fmla="*/ 90118 h 136240"/>
                    <a:gd name="connsiteX4" fmla="*/ 23126 w 54910"/>
                    <a:gd name="connsiteY4" fmla="*/ 136241 h 13624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4910" h="136240">
                      <a:moveTo>
                        <a:pt x="0" y="26894"/>
                      </a:moveTo>
                      <a:cubicBezTo>
                        <a:pt x="6402" y="11882"/>
                        <a:pt x="18945" y="0"/>
                        <a:pt x="18945" y="0"/>
                      </a:cubicBezTo>
                      <a:cubicBezTo>
                        <a:pt x="12000" y="32870"/>
                        <a:pt x="33626" y="48921"/>
                        <a:pt x="33626" y="48921"/>
                      </a:cubicBezTo>
                      <a:cubicBezTo>
                        <a:pt x="53398" y="65575"/>
                        <a:pt x="55713" y="77658"/>
                        <a:pt x="54721" y="90118"/>
                      </a:cubicBezTo>
                      <a:cubicBezTo>
                        <a:pt x="53740" y="102567"/>
                        <a:pt x="49866" y="119941"/>
                        <a:pt x="23126" y="136241"/>
                      </a:cubicBez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353" name="Forma livre: Forma 2352">
                  <a:extLst>
                    <a:ext uri="{FF2B5EF4-FFF2-40B4-BE49-F238E27FC236}">
                      <a16:creationId xmlns:a16="http://schemas.microsoft.com/office/drawing/2014/main" id="{34FEADB2-171A-DAA7-25D0-4D20640FB415}"/>
                    </a:ext>
                  </a:extLst>
                </p:cNvPr>
                <p:cNvSpPr/>
                <p:nvPr/>
              </p:nvSpPr>
              <p:spPr>
                <a:xfrm>
                  <a:off x="9927549" y="4896317"/>
                  <a:ext cx="39971" cy="103039"/>
                </a:xfrm>
                <a:custGeom>
                  <a:avLst/>
                  <a:gdLst>
                    <a:gd name="connsiteX0" fmla="*/ 39913 w 39971"/>
                    <a:gd name="connsiteY0" fmla="*/ 54154 h 103039"/>
                    <a:gd name="connsiteX1" fmla="*/ 11448 w 39971"/>
                    <a:gd name="connsiteY1" fmla="*/ 0 h 103039"/>
                    <a:gd name="connsiteX2" fmla="*/ 7916 w 39971"/>
                    <a:gd name="connsiteY2" fmla="*/ 37051 h 103039"/>
                    <a:gd name="connsiteX3" fmla="*/ 2708 w 39971"/>
                    <a:gd name="connsiteY3" fmla="*/ 72295 h 103039"/>
                    <a:gd name="connsiteX4" fmla="*/ 28314 w 39971"/>
                    <a:gd name="connsiteY4" fmla="*/ 103040 h 10303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9971" h="103039">
                      <a:moveTo>
                        <a:pt x="39913" y="54154"/>
                      </a:moveTo>
                      <a:cubicBezTo>
                        <a:pt x="41472" y="24307"/>
                        <a:pt x="11448" y="0"/>
                        <a:pt x="11448" y="0"/>
                      </a:cubicBezTo>
                      <a:cubicBezTo>
                        <a:pt x="11448" y="0"/>
                        <a:pt x="23472" y="18850"/>
                        <a:pt x="7916" y="37051"/>
                      </a:cubicBezTo>
                      <a:cubicBezTo>
                        <a:pt x="7916" y="37051"/>
                        <a:pt x="-5619" y="53823"/>
                        <a:pt x="2708" y="72295"/>
                      </a:cubicBezTo>
                      <a:cubicBezTo>
                        <a:pt x="2708" y="72295"/>
                        <a:pt x="10456" y="92351"/>
                        <a:pt x="28314" y="103040"/>
                      </a:cubicBez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sp>
          <p:nvSpPr>
            <p:cNvPr id="2354" name="Forma livre: Forma 2353">
              <a:extLst>
                <a:ext uri="{FF2B5EF4-FFF2-40B4-BE49-F238E27FC236}">
                  <a16:creationId xmlns:a16="http://schemas.microsoft.com/office/drawing/2014/main" id="{D821FA5D-E9CB-C862-8834-AF9DD7C27504}"/>
                </a:ext>
              </a:extLst>
            </p:cNvPr>
            <p:cNvSpPr/>
            <p:nvPr/>
          </p:nvSpPr>
          <p:spPr>
            <a:xfrm>
              <a:off x="9717091" y="4799230"/>
              <a:ext cx="190500" cy="200043"/>
            </a:xfrm>
            <a:custGeom>
              <a:avLst/>
              <a:gdLst>
                <a:gd name="connsiteX0" fmla="*/ 190501 w 190500"/>
                <a:gd name="connsiteY0" fmla="*/ 30354 h 200043"/>
                <a:gd name="connsiteX1" fmla="*/ 109051 w 190500"/>
                <a:gd name="connsiteY1" fmla="*/ 30354 h 200043"/>
                <a:gd name="connsiteX2" fmla="*/ 87496 w 190500"/>
                <a:gd name="connsiteY2" fmla="*/ 0 h 200043"/>
                <a:gd name="connsiteX3" fmla="*/ 14622 w 190500"/>
                <a:gd name="connsiteY3" fmla="*/ 0 h 200043"/>
                <a:gd name="connsiteX4" fmla="*/ 0 w 190500"/>
                <a:gd name="connsiteY4" fmla="*/ 13157 h 200043"/>
                <a:gd name="connsiteX5" fmla="*/ 0 w 190500"/>
                <a:gd name="connsiteY5" fmla="*/ 200044 h 200043"/>
                <a:gd name="connsiteX6" fmla="*/ 181725 w 190500"/>
                <a:gd name="connsiteY6" fmla="*/ 200044 h 2000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90500" h="200043">
                  <a:moveTo>
                    <a:pt x="190501" y="30354"/>
                  </a:moveTo>
                  <a:lnTo>
                    <a:pt x="109051" y="30354"/>
                  </a:lnTo>
                  <a:lnTo>
                    <a:pt x="87496" y="0"/>
                  </a:lnTo>
                  <a:lnTo>
                    <a:pt x="14622" y="0"/>
                  </a:lnTo>
                  <a:cubicBezTo>
                    <a:pt x="6579" y="0"/>
                    <a:pt x="0" y="5114"/>
                    <a:pt x="0" y="13157"/>
                  </a:cubicBezTo>
                  <a:lnTo>
                    <a:pt x="0" y="200044"/>
                  </a:lnTo>
                  <a:lnTo>
                    <a:pt x="181725" y="200044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355" name="Forma livre: Forma 2354">
              <a:extLst>
                <a:ext uri="{FF2B5EF4-FFF2-40B4-BE49-F238E27FC236}">
                  <a16:creationId xmlns:a16="http://schemas.microsoft.com/office/drawing/2014/main" id="{4500066A-E546-A942-444E-6B2AF30D27A4}"/>
                </a:ext>
              </a:extLst>
            </p:cNvPr>
            <p:cNvSpPr/>
            <p:nvPr/>
          </p:nvSpPr>
          <p:spPr>
            <a:xfrm>
              <a:off x="9738930" y="4868230"/>
              <a:ext cx="136157" cy="101657"/>
            </a:xfrm>
            <a:custGeom>
              <a:avLst/>
              <a:gdLst>
                <a:gd name="connsiteX0" fmla="*/ 136158 w 136157"/>
                <a:gd name="connsiteY0" fmla="*/ 0 h 101657"/>
                <a:gd name="connsiteX1" fmla="*/ 34276 w 136157"/>
                <a:gd name="connsiteY1" fmla="*/ 0 h 101657"/>
                <a:gd name="connsiteX2" fmla="*/ 0 w 136157"/>
                <a:gd name="connsiteY2" fmla="*/ 101658 h 1016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36157" h="101657">
                  <a:moveTo>
                    <a:pt x="136158" y="0"/>
                  </a:moveTo>
                  <a:lnTo>
                    <a:pt x="34276" y="0"/>
                  </a:lnTo>
                  <a:lnTo>
                    <a:pt x="0" y="101658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2356" name="Gráfico 19">
            <a:extLst>
              <a:ext uri="{FF2B5EF4-FFF2-40B4-BE49-F238E27FC236}">
                <a16:creationId xmlns:a16="http://schemas.microsoft.com/office/drawing/2014/main" id="{A4CC6808-AB45-0D9F-B557-087D46F0F499}"/>
              </a:ext>
            </a:extLst>
          </p:cNvPr>
          <p:cNvGrpSpPr/>
          <p:nvPr/>
        </p:nvGrpSpPr>
        <p:grpSpPr>
          <a:xfrm>
            <a:off x="10946705" y="4717367"/>
            <a:ext cx="348024" cy="331146"/>
            <a:chOff x="10946705" y="4717367"/>
            <a:chExt cx="348024" cy="331146"/>
          </a:xfrm>
          <a:noFill/>
        </p:grpSpPr>
        <p:sp>
          <p:nvSpPr>
            <p:cNvPr id="2357" name="Forma livre: Forma 2356">
              <a:extLst>
                <a:ext uri="{FF2B5EF4-FFF2-40B4-BE49-F238E27FC236}">
                  <a16:creationId xmlns:a16="http://schemas.microsoft.com/office/drawing/2014/main" id="{D86AC028-8742-7158-AF79-6446E744BC6A}"/>
                </a:ext>
              </a:extLst>
            </p:cNvPr>
            <p:cNvSpPr/>
            <p:nvPr/>
          </p:nvSpPr>
          <p:spPr>
            <a:xfrm>
              <a:off x="11120717" y="4717367"/>
              <a:ext cx="11" cy="1181"/>
            </a:xfrm>
            <a:custGeom>
              <a:avLst/>
              <a:gdLst>
                <a:gd name="connsiteX0" fmla="*/ 0 w 11"/>
                <a:gd name="connsiteY0" fmla="*/ 0 h 1181"/>
                <a:gd name="connsiteX1" fmla="*/ 0 w 11"/>
                <a:gd name="connsiteY1" fmla="*/ 0 h 1181"/>
                <a:gd name="connsiteX2" fmla="*/ 12 w 11"/>
                <a:gd name="connsiteY2" fmla="*/ 0 h 1181"/>
                <a:gd name="connsiteX3" fmla="*/ 0 w 11"/>
                <a:gd name="connsiteY3" fmla="*/ 0 h 11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" h="1181">
                  <a:moveTo>
                    <a:pt x="0" y="0"/>
                  </a:moveTo>
                  <a:lnTo>
                    <a:pt x="0" y="0"/>
                  </a:lnTo>
                  <a:lnTo>
                    <a:pt x="12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358" name="Forma livre: Forma 2357">
              <a:extLst>
                <a:ext uri="{FF2B5EF4-FFF2-40B4-BE49-F238E27FC236}">
                  <a16:creationId xmlns:a16="http://schemas.microsoft.com/office/drawing/2014/main" id="{2A79F371-6618-53C4-A440-4FF5407D35B8}"/>
                </a:ext>
              </a:extLst>
            </p:cNvPr>
            <p:cNvSpPr/>
            <p:nvPr/>
          </p:nvSpPr>
          <p:spPr>
            <a:xfrm>
              <a:off x="11039457" y="4717367"/>
              <a:ext cx="162520" cy="156390"/>
            </a:xfrm>
            <a:custGeom>
              <a:avLst/>
              <a:gdLst>
                <a:gd name="connsiteX0" fmla="*/ 128481 w 162520"/>
                <a:gd name="connsiteY0" fmla="*/ 156390 h 156390"/>
                <a:gd name="connsiteX1" fmla="*/ 162520 w 162520"/>
                <a:gd name="connsiteY1" fmla="*/ 92256 h 156390"/>
                <a:gd name="connsiteX2" fmla="*/ 81260 w 162520"/>
                <a:gd name="connsiteY2" fmla="*/ 0 h 156390"/>
                <a:gd name="connsiteX3" fmla="*/ 0 w 162520"/>
                <a:gd name="connsiteY3" fmla="*/ 92256 h 156390"/>
                <a:gd name="connsiteX4" fmla="*/ 34040 w 162520"/>
                <a:gd name="connsiteY4" fmla="*/ 156390 h 1563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2520" h="156390">
                  <a:moveTo>
                    <a:pt x="128481" y="156390"/>
                  </a:moveTo>
                  <a:cubicBezTo>
                    <a:pt x="161422" y="128929"/>
                    <a:pt x="162520" y="92256"/>
                    <a:pt x="162520" y="92256"/>
                  </a:cubicBezTo>
                  <a:cubicBezTo>
                    <a:pt x="132886" y="9945"/>
                    <a:pt x="91902" y="0"/>
                    <a:pt x="81260" y="0"/>
                  </a:cubicBezTo>
                  <a:cubicBezTo>
                    <a:pt x="70618" y="0"/>
                    <a:pt x="29634" y="9945"/>
                    <a:pt x="0" y="92256"/>
                  </a:cubicBezTo>
                  <a:cubicBezTo>
                    <a:pt x="0" y="92256"/>
                    <a:pt x="1098" y="128929"/>
                    <a:pt x="34040" y="156390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359" name="Forma livre: Forma 2358">
              <a:extLst>
                <a:ext uri="{FF2B5EF4-FFF2-40B4-BE49-F238E27FC236}">
                  <a16:creationId xmlns:a16="http://schemas.microsoft.com/office/drawing/2014/main" id="{32650C18-7F98-DBC2-5DD8-E1D9E484BC2C}"/>
                </a:ext>
              </a:extLst>
            </p:cNvPr>
            <p:cNvSpPr/>
            <p:nvPr/>
          </p:nvSpPr>
          <p:spPr>
            <a:xfrm>
              <a:off x="11060658" y="4798639"/>
              <a:ext cx="120130" cy="7795"/>
            </a:xfrm>
            <a:custGeom>
              <a:avLst/>
              <a:gdLst>
                <a:gd name="connsiteX0" fmla="*/ 0 w 120130"/>
                <a:gd name="connsiteY0" fmla="*/ 7795 h 7795"/>
                <a:gd name="connsiteX1" fmla="*/ 60508 w 120130"/>
                <a:gd name="connsiteY1" fmla="*/ 0 h 7795"/>
                <a:gd name="connsiteX2" fmla="*/ 120130 w 120130"/>
                <a:gd name="connsiteY2" fmla="*/ 7547 h 77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0130" h="7795">
                  <a:moveTo>
                    <a:pt x="0" y="7795"/>
                  </a:moveTo>
                  <a:cubicBezTo>
                    <a:pt x="17551" y="2846"/>
                    <a:pt x="38291" y="0"/>
                    <a:pt x="60508" y="0"/>
                  </a:cubicBezTo>
                  <a:cubicBezTo>
                    <a:pt x="82725" y="0"/>
                    <a:pt x="102756" y="2764"/>
                    <a:pt x="120130" y="7547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2360" name="Gráfico 19">
              <a:extLst>
                <a:ext uri="{FF2B5EF4-FFF2-40B4-BE49-F238E27FC236}">
                  <a16:creationId xmlns:a16="http://schemas.microsoft.com/office/drawing/2014/main" id="{D5493F51-707F-895E-51CC-DA44B66AA38A}"/>
                </a:ext>
              </a:extLst>
            </p:cNvPr>
            <p:cNvGrpSpPr/>
            <p:nvPr/>
          </p:nvGrpSpPr>
          <p:grpSpPr>
            <a:xfrm>
              <a:off x="10984243" y="4856844"/>
              <a:ext cx="272958" cy="154807"/>
              <a:chOff x="10984243" y="4856844"/>
              <a:chExt cx="272958" cy="154807"/>
            </a:xfrm>
            <a:noFill/>
          </p:grpSpPr>
          <p:sp>
            <p:nvSpPr>
              <p:cNvPr id="2361" name="Forma livre: Forma 2360">
                <a:extLst>
                  <a:ext uri="{FF2B5EF4-FFF2-40B4-BE49-F238E27FC236}">
                    <a16:creationId xmlns:a16="http://schemas.microsoft.com/office/drawing/2014/main" id="{C66A1600-68C8-FD8E-9A14-CCEF70C03F52}"/>
                  </a:ext>
                </a:extLst>
              </p:cNvPr>
              <p:cNvSpPr/>
              <p:nvPr/>
            </p:nvSpPr>
            <p:spPr>
              <a:xfrm>
                <a:off x="10984243" y="4864675"/>
                <a:ext cx="54587" cy="146752"/>
              </a:xfrm>
              <a:custGeom>
                <a:avLst/>
                <a:gdLst>
                  <a:gd name="connsiteX0" fmla="*/ 54588 w 54587"/>
                  <a:gd name="connsiteY0" fmla="*/ 0 h 146752"/>
                  <a:gd name="connsiteX1" fmla="*/ 37757 w 54587"/>
                  <a:gd name="connsiteY1" fmla="*/ 8079 h 146752"/>
                  <a:gd name="connsiteX2" fmla="*/ 21280 w 54587"/>
                  <a:gd name="connsiteY2" fmla="*/ 30591 h 146752"/>
                  <a:gd name="connsiteX3" fmla="*/ 1521 w 54587"/>
                  <a:gd name="connsiteY3" fmla="*/ 104173 h 146752"/>
                  <a:gd name="connsiteX4" fmla="*/ 27493 w 54587"/>
                  <a:gd name="connsiteY4" fmla="*/ 146752 h 146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4587" h="146752">
                    <a:moveTo>
                      <a:pt x="54588" y="0"/>
                    </a:moveTo>
                    <a:lnTo>
                      <a:pt x="37757" y="8079"/>
                    </a:lnTo>
                    <a:cubicBezTo>
                      <a:pt x="37757" y="8079"/>
                      <a:pt x="25674" y="13571"/>
                      <a:pt x="21280" y="30591"/>
                    </a:cubicBezTo>
                    <a:lnTo>
                      <a:pt x="1521" y="104173"/>
                    </a:lnTo>
                    <a:cubicBezTo>
                      <a:pt x="1521" y="104173"/>
                      <a:pt x="-9440" y="136559"/>
                      <a:pt x="27493" y="146752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362" name="Forma livre: Forma 2361">
                <a:extLst>
                  <a:ext uri="{FF2B5EF4-FFF2-40B4-BE49-F238E27FC236}">
                    <a16:creationId xmlns:a16="http://schemas.microsoft.com/office/drawing/2014/main" id="{A28F9CAD-6EA5-CD33-D92C-25E90A1FA48C}"/>
                  </a:ext>
                </a:extLst>
              </p:cNvPr>
              <p:cNvSpPr/>
              <p:nvPr/>
            </p:nvSpPr>
            <p:spPr>
              <a:xfrm>
                <a:off x="11186505" y="4856844"/>
                <a:ext cx="70697" cy="154807"/>
              </a:xfrm>
              <a:custGeom>
                <a:avLst/>
                <a:gdLst>
                  <a:gd name="connsiteX0" fmla="*/ 0 w 70697"/>
                  <a:gd name="connsiteY0" fmla="*/ 0 h 154807"/>
                  <a:gd name="connsiteX1" fmla="*/ 32941 w 70697"/>
                  <a:gd name="connsiteY1" fmla="*/ 15921 h 154807"/>
                  <a:gd name="connsiteX2" fmla="*/ 49417 w 70697"/>
                  <a:gd name="connsiteY2" fmla="*/ 38433 h 154807"/>
                  <a:gd name="connsiteX3" fmla="*/ 69177 w 70697"/>
                  <a:gd name="connsiteY3" fmla="*/ 112016 h 154807"/>
                  <a:gd name="connsiteX4" fmla="*/ 42414 w 70697"/>
                  <a:gd name="connsiteY4" fmla="*/ 154808 h 1548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0697" h="154807">
                    <a:moveTo>
                      <a:pt x="0" y="0"/>
                    </a:moveTo>
                    <a:lnTo>
                      <a:pt x="32941" y="15921"/>
                    </a:lnTo>
                    <a:cubicBezTo>
                      <a:pt x="32941" y="15921"/>
                      <a:pt x="45024" y="21413"/>
                      <a:pt x="49417" y="38433"/>
                    </a:cubicBezTo>
                    <a:lnTo>
                      <a:pt x="69177" y="112016"/>
                    </a:lnTo>
                    <a:cubicBezTo>
                      <a:pt x="69177" y="112016"/>
                      <a:pt x="80292" y="144874"/>
                      <a:pt x="42414" y="154808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2363" name="Forma livre: Forma 2362">
              <a:extLst>
                <a:ext uri="{FF2B5EF4-FFF2-40B4-BE49-F238E27FC236}">
                  <a16:creationId xmlns:a16="http://schemas.microsoft.com/office/drawing/2014/main" id="{22F8D13D-EE51-0935-82BD-92F92AD17324}"/>
                </a:ext>
              </a:extLst>
            </p:cNvPr>
            <p:cNvSpPr/>
            <p:nvPr/>
          </p:nvSpPr>
          <p:spPr>
            <a:xfrm>
              <a:off x="11031402" y="4902010"/>
              <a:ext cx="178642" cy="123685"/>
            </a:xfrm>
            <a:custGeom>
              <a:avLst/>
              <a:gdLst>
                <a:gd name="connsiteX0" fmla="*/ 0 w 178642"/>
                <a:gd name="connsiteY0" fmla="*/ 0 h 123685"/>
                <a:gd name="connsiteX1" fmla="*/ 178642 w 178642"/>
                <a:gd name="connsiteY1" fmla="*/ 0 h 123685"/>
                <a:gd name="connsiteX2" fmla="*/ 178642 w 178642"/>
                <a:gd name="connsiteY2" fmla="*/ 123685 h 123685"/>
                <a:gd name="connsiteX3" fmla="*/ 0 w 178642"/>
                <a:gd name="connsiteY3" fmla="*/ 123685 h 1236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8642" h="123685">
                  <a:moveTo>
                    <a:pt x="0" y="0"/>
                  </a:moveTo>
                  <a:lnTo>
                    <a:pt x="178642" y="0"/>
                  </a:lnTo>
                  <a:lnTo>
                    <a:pt x="178642" y="123685"/>
                  </a:lnTo>
                  <a:lnTo>
                    <a:pt x="0" y="123685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2364" name="Gráfico 19">
              <a:extLst>
                <a:ext uri="{FF2B5EF4-FFF2-40B4-BE49-F238E27FC236}">
                  <a16:creationId xmlns:a16="http://schemas.microsoft.com/office/drawing/2014/main" id="{2896F380-3FBA-9C84-3D09-C3FD3969F0E6}"/>
                </a:ext>
              </a:extLst>
            </p:cNvPr>
            <p:cNvGrpSpPr/>
            <p:nvPr/>
          </p:nvGrpSpPr>
          <p:grpSpPr>
            <a:xfrm>
              <a:off x="10946705" y="4992506"/>
              <a:ext cx="348024" cy="1181"/>
              <a:chOff x="10946705" y="4992506"/>
              <a:chExt cx="348024" cy="1181"/>
            </a:xfrm>
          </p:grpSpPr>
          <p:sp>
            <p:nvSpPr>
              <p:cNvPr id="2365" name="Forma livre: Forma 2364">
                <a:extLst>
                  <a:ext uri="{FF2B5EF4-FFF2-40B4-BE49-F238E27FC236}">
                    <a16:creationId xmlns:a16="http://schemas.microsoft.com/office/drawing/2014/main" id="{F3EF02AC-C30A-B842-C27D-CCE6BDFEAB26}"/>
                  </a:ext>
                </a:extLst>
              </p:cNvPr>
              <p:cNvSpPr/>
              <p:nvPr/>
            </p:nvSpPr>
            <p:spPr>
              <a:xfrm>
                <a:off x="11255021" y="4992506"/>
                <a:ext cx="39708" cy="1181"/>
              </a:xfrm>
              <a:custGeom>
                <a:avLst/>
                <a:gdLst>
                  <a:gd name="connsiteX0" fmla="*/ 0 w 39708"/>
                  <a:gd name="connsiteY0" fmla="*/ 0 h 1181"/>
                  <a:gd name="connsiteX1" fmla="*/ 39709 w 39708"/>
                  <a:gd name="connsiteY1" fmla="*/ 0 h 11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9708" h="1181">
                    <a:moveTo>
                      <a:pt x="0" y="0"/>
                    </a:moveTo>
                    <a:lnTo>
                      <a:pt x="39709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366" name="Forma livre: Forma 2365">
                <a:extLst>
                  <a:ext uri="{FF2B5EF4-FFF2-40B4-BE49-F238E27FC236}">
                    <a16:creationId xmlns:a16="http://schemas.microsoft.com/office/drawing/2014/main" id="{374B5B7A-26BB-6DE4-EFA9-4274E16EB4BB}"/>
                  </a:ext>
                </a:extLst>
              </p:cNvPr>
              <p:cNvSpPr/>
              <p:nvPr/>
            </p:nvSpPr>
            <p:spPr>
              <a:xfrm>
                <a:off x="10946705" y="4992506"/>
                <a:ext cx="39708" cy="1181"/>
              </a:xfrm>
              <a:custGeom>
                <a:avLst/>
                <a:gdLst>
                  <a:gd name="connsiteX0" fmla="*/ 0 w 39708"/>
                  <a:gd name="connsiteY0" fmla="*/ 0 h 1181"/>
                  <a:gd name="connsiteX1" fmla="*/ 39709 w 39708"/>
                  <a:gd name="connsiteY1" fmla="*/ 0 h 11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9708" h="1181">
                    <a:moveTo>
                      <a:pt x="0" y="0"/>
                    </a:moveTo>
                    <a:lnTo>
                      <a:pt x="39709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2367" name="Forma livre: Forma 2366">
              <a:extLst>
                <a:ext uri="{FF2B5EF4-FFF2-40B4-BE49-F238E27FC236}">
                  <a16:creationId xmlns:a16="http://schemas.microsoft.com/office/drawing/2014/main" id="{83ED2C83-1D0E-302B-36D1-A494016DA6A7}"/>
                </a:ext>
              </a:extLst>
            </p:cNvPr>
            <p:cNvSpPr/>
            <p:nvPr/>
          </p:nvSpPr>
          <p:spPr>
            <a:xfrm>
              <a:off x="11080075" y="4803576"/>
              <a:ext cx="81271" cy="65350"/>
            </a:xfrm>
            <a:custGeom>
              <a:avLst/>
              <a:gdLst>
                <a:gd name="connsiteX0" fmla="*/ 81272 w 81271"/>
                <a:gd name="connsiteY0" fmla="*/ 0 h 65350"/>
                <a:gd name="connsiteX1" fmla="*/ 40642 w 81271"/>
                <a:gd name="connsiteY1" fmla="*/ 65351 h 65350"/>
                <a:gd name="connsiteX2" fmla="*/ 0 w 81271"/>
                <a:gd name="connsiteY2" fmla="*/ 0 h 653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81271" h="65350">
                  <a:moveTo>
                    <a:pt x="81272" y="0"/>
                  </a:moveTo>
                  <a:cubicBezTo>
                    <a:pt x="81272" y="36083"/>
                    <a:pt x="63083" y="65351"/>
                    <a:pt x="40642" y="65351"/>
                  </a:cubicBezTo>
                  <a:cubicBezTo>
                    <a:pt x="18201" y="65351"/>
                    <a:pt x="0" y="36095"/>
                    <a:pt x="0" y="0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368" name="Forma livre: Forma 2367">
              <a:extLst>
                <a:ext uri="{FF2B5EF4-FFF2-40B4-BE49-F238E27FC236}">
                  <a16:creationId xmlns:a16="http://schemas.microsoft.com/office/drawing/2014/main" id="{EB031E63-ADD7-55E1-9E0D-3BA8F6F76142}"/>
                </a:ext>
              </a:extLst>
            </p:cNvPr>
            <p:cNvSpPr/>
            <p:nvPr/>
          </p:nvSpPr>
          <p:spPr>
            <a:xfrm>
              <a:off x="11025142" y="5048514"/>
              <a:ext cx="191150" cy="1181"/>
            </a:xfrm>
            <a:custGeom>
              <a:avLst/>
              <a:gdLst>
                <a:gd name="connsiteX0" fmla="*/ 0 w 191150"/>
                <a:gd name="connsiteY0" fmla="*/ 0 h 1181"/>
                <a:gd name="connsiteX1" fmla="*/ 191150 w 191150"/>
                <a:gd name="connsiteY1" fmla="*/ 0 h 11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91150" h="1181">
                  <a:moveTo>
                    <a:pt x="0" y="0"/>
                  </a:moveTo>
                  <a:lnTo>
                    <a:pt x="19115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369" name="Forma livre: Forma 2368">
              <a:extLst>
                <a:ext uri="{FF2B5EF4-FFF2-40B4-BE49-F238E27FC236}">
                  <a16:creationId xmlns:a16="http://schemas.microsoft.com/office/drawing/2014/main" id="{D8A0C790-61F8-075C-3E9B-51286D51B04A}"/>
                </a:ext>
              </a:extLst>
            </p:cNvPr>
            <p:cNvSpPr/>
            <p:nvPr/>
          </p:nvSpPr>
          <p:spPr>
            <a:xfrm>
              <a:off x="11102044" y="4945179"/>
              <a:ext cx="37346" cy="37346"/>
            </a:xfrm>
            <a:custGeom>
              <a:avLst/>
              <a:gdLst>
                <a:gd name="connsiteX0" fmla="*/ 37347 w 37346"/>
                <a:gd name="connsiteY0" fmla="*/ 18673 h 37346"/>
                <a:gd name="connsiteX1" fmla="*/ 18673 w 37346"/>
                <a:gd name="connsiteY1" fmla="*/ 37347 h 37346"/>
                <a:gd name="connsiteX2" fmla="*/ 0 w 37346"/>
                <a:gd name="connsiteY2" fmla="*/ 18673 h 37346"/>
                <a:gd name="connsiteX3" fmla="*/ 18673 w 37346"/>
                <a:gd name="connsiteY3" fmla="*/ 0 h 37346"/>
                <a:gd name="connsiteX4" fmla="*/ 37347 w 37346"/>
                <a:gd name="connsiteY4" fmla="*/ 18673 h 373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7346" h="37346">
                  <a:moveTo>
                    <a:pt x="37347" y="18673"/>
                  </a:moveTo>
                  <a:cubicBezTo>
                    <a:pt x="37347" y="28984"/>
                    <a:pt x="28984" y="37347"/>
                    <a:pt x="18673" y="37347"/>
                  </a:cubicBezTo>
                  <a:cubicBezTo>
                    <a:pt x="8362" y="37347"/>
                    <a:pt x="0" y="28984"/>
                    <a:pt x="0" y="18673"/>
                  </a:cubicBezTo>
                  <a:cubicBezTo>
                    <a:pt x="0" y="8362"/>
                    <a:pt x="8362" y="0"/>
                    <a:pt x="18673" y="0"/>
                  </a:cubicBezTo>
                  <a:cubicBezTo>
                    <a:pt x="28984" y="0"/>
                    <a:pt x="37347" y="8362"/>
                    <a:pt x="37347" y="18673"/>
                  </a:cubicBez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2436359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áfico 2">
            <a:extLst>
              <a:ext uri="{FF2B5EF4-FFF2-40B4-BE49-F238E27FC236}">
                <a16:creationId xmlns:a16="http://schemas.microsoft.com/office/drawing/2014/main" id="{29925EFA-98B9-0CBB-6E24-A94939B1FE9C}"/>
              </a:ext>
            </a:extLst>
          </p:cNvPr>
          <p:cNvGrpSpPr/>
          <p:nvPr/>
        </p:nvGrpSpPr>
        <p:grpSpPr>
          <a:xfrm>
            <a:off x="752339" y="2078843"/>
            <a:ext cx="341762" cy="274100"/>
            <a:chOff x="752339" y="2078843"/>
            <a:chExt cx="341762" cy="274100"/>
          </a:xfrm>
          <a:noFill/>
        </p:grpSpPr>
        <p:grpSp>
          <p:nvGrpSpPr>
            <p:cNvPr id="23" name="Gráfico 2">
              <a:extLst>
                <a:ext uri="{FF2B5EF4-FFF2-40B4-BE49-F238E27FC236}">
                  <a16:creationId xmlns:a16="http://schemas.microsoft.com/office/drawing/2014/main" id="{B1C58B88-66D2-58AC-0672-61904231C8D7}"/>
                </a:ext>
              </a:extLst>
            </p:cNvPr>
            <p:cNvGrpSpPr/>
            <p:nvPr/>
          </p:nvGrpSpPr>
          <p:grpSpPr>
            <a:xfrm>
              <a:off x="752339" y="2078843"/>
              <a:ext cx="341762" cy="273896"/>
              <a:chOff x="752339" y="2078843"/>
              <a:chExt cx="341762" cy="273896"/>
            </a:xfrm>
            <a:noFill/>
          </p:grpSpPr>
          <p:grpSp>
            <p:nvGrpSpPr>
              <p:cNvPr id="24" name="Gráfico 2">
                <a:extLst>
                  <a:ext uri="{FF2B5EF4-FFF2-40B4-BE49-F238E27FC236}">
                    <a16:creationId xmlns:a16="http://schemas.microsoft.com/office/drawing/2014/main" id="{9228B22E-6244-B20A-4933-6AB765976298}"/>
                  </a:ext>
                </a:extLst>
              </p:cNvPr>
              <p:cNvGrpSpPr/>
              <p:nvPr/>
            </p:nvGrpSpPr>
            <p:grpSpPr>
              <a:xfrm>
                <a:off x="752339" y="2078843"/>
                <a:ext cx="301563" cy="273896"/>
                <a:chOff x="752339" y="2078843"/>
                <a:chExt cx="301563" cy="273896"/>
              </a:xfrm>
              <a:noFill/>
            </p:grpSpPr>
            <p:grpSp>
              <p:nvGrpSpPr>
                <p:cNvPr id="25" name="Gráfico 2">
                  <a:extLst>
                    <a:ext uri="{FF2B5EF4-FFF2-40B4-BE49-F238E27FC236}">
                      <a16:creationId xmlns:a16="http://schemas.microsoft.com/office/drawing/2014/main" id="{B2324F13-AF08-1A1D-0582-AD430F635C48}"/>
                    </a:ext>
                  </a:extLst>
                </p:cNvPr>
                <p:cNvGrpSpPr/>
                <p:nvPr/>
              </p:nvGrpSpPr>
              <p:grpSpPr>
                <a:xfrm>
                  <a:off x="776195" y="2215474"/>
                  <a:ext cx="253838" cy="137265"/>
                  <a:chOff x="776195" y="2215474"/>
                  <a:chExt cx="253838" cy="137265"/>
                </a:xfrm>
              </p:grpSpPr>
              <p:sp>
                <p:nvSpPr>
                  <p:cNvPr id="26" name="Forma livre: Forma 25">
                    <a:extLst>
                      <a:ext uri="{FF2B5EF4-FFF2-40B4-BE49-F238E27FC236}">
                        <a16:creationId xmlns:a16="http://schemas.microsoft.com/office/drawing/2014/main" id="{31AA243A-CB0B-25ED-5027-43F0739B2336}"/>
                      </a:ext>
                    </a:extLst>
                  </p:cNvPr>
                  <p:cNvSpPr/>
                  <p:nvPr/>
                </p:nvSpPr>
                <p:spPr>
                  <a:xfrm>
                    <a:off x="776195" y="2215474"/>
                    <a:ext cx="1198" cy="137265"/>
                  </a:xfrm>
                  <a:custGeom>
                    <a:avLst/>
                    <a:gdLst>
                      <a:gd name="connsiteX0" fmla="*/ 0 w 1198"/>
                      <a:gd name="connsiteY0" fmla="*/ 137266 h 137265"/>
                      <a:gd name="connsiteX1" fmla="*/ 0 w 1198"/>
                      <a:gd name="connsiteY1" fmla="*/ 0 h 13726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198" h="137265">
                        <a:moveTo>
                          <a:pt x="0" y="137266"/>
                        </a:moveTo>
                        <a:lnTo>
                          <a:pt x="0" y="0"/>
                        </a:lnTo>
                      </a:path>
                    </a:pathLst>
                  </a:custGeom>
                  <a:ln w="6350" cap="flat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27" name="Forma livre: Forma 26">
                    <a:extLst>
                      <a:ext uri="{FF2B5EF4-FFF2-40B4-BE49-F238E27FC236}">
                        <a16:creationId xmlns:a16="http://schemas.microsoft.com/office/drawing/2014/main" id="{41FEFF5C-FA7F-6C9B-E1F3-421AA9053688}"/>
                      </a:ext>
                    </a:extLst>
                  </p:cNvPr>
                  <p:cNvSpPr/>
                  <p:nvPr/>
                </p:nvSpPr>
                <p:spPr>
                  <a:xfrm>
                    <a:off x="1030034" y="2215474"/>
                    <a:ext cx="1198" cy="137265"/>
                  </a:xfrm>
                  <a:custGeom>
                    <a:avLst/>
                    <a:gdLst>
                      <a:gd name="connsiteX0" fmla="*/ 0 w 1198"/>
                      <a:gd name="connsiteY0" fmla="*/ 0 h 137265"/>
                      <a:gd name="connsiteX1" fmla="*/ 0 w 1198"/>
                      <a:gd name="connsiteY1" fmla="*/ 137266 h 13726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198" h="137265">
                        <a:moveTo>
                          <a:pt x="0" y="0"/>
                        </a:moveTo>
                        <a:lnTo>
                          <a:pt x="0" y="137266"/>
                        </a:lnTo>
                      </a:path>
                    </a:pathLst>
                  </a:custGeom>
                  <a:ln w="6350" cap="flat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  <p:grpSp>
              <p:nvGrpSpPr>
                <p:cNvPr id="28" name="Gráfico 2">
                  <a:extLst>
                    <a:ext uri="{FF2B5EF4-FFF2-40B4-BE49-F238E27FC236}">
                      <a16:creationId xmlns:a16="http://schemas.microsoft.com/office/drawing/2014/main" id="{6CDDD782-8997-53D5-AD4D-34E53460D660}"/>
                    </a:ext>
                  </a:extLst>
                </p:cNvPr>
                <p:cNvGrpSpPr/>
                <p:nvPr/>
              </p:nvGrpSpPr>
              <p:grpSpPr>
                <a:xfrm>
                  <a:off x="791065" y="2140347"/>
                  <a:ext cx="254497" cy="53811"/>
                  <a:chOff x="791065" y="2140347"/>
                  <a:chExt cx="254497" cy="53811"/>
                </a:xfrm>
                <a:noFill/>
              </p:grpSpPr>
              <p:sp>
                <p:nvSpPr>
                  <p:cNvPr id="29" name="Forma livre: Forma 28">
                    <a:extLst>
                      <a:ext uri="{FF2B5EF4-FFF2-40B4-BE49-F238E27FC236}">
                        <a16:creationId xmlns:a16="http://schemas.microsoft.com/office/drawing/2014/main" id="{6FD77B81-F1E3-1545-26EB-E288A672E9FE}"/>
                      </a:ext>
                    </a:extLst>
                  </p:cNvPr>
                  <p:cNvSpPr/>
                  <p:nvPr/>
                </p:nvSpPr>
                <p:spPr>
                  <a:xfrm>
                    <a:off x="816622" y="2165425"/>
                    <a:ext cx="57166" cy="28732"/>
                  </a:xfrm>
                  <a:custGeom>
                    <a:avLst/>
                    <a:gdLst>
                      <a:gd name="connsiteX0" fmla="*/ 57166 w 57166"/>
                      <a:gd name="connsiteY0" fmla="*/ 0 h 28732"/>
                      <a:gd name="connsiteX1" fmla="*/ 28433 w 57166"/>
                      <a:gd name="connsiteY1" fmla="*/ 28733 h 28732"/>
                      <a:gd name="connsiteX2" fmla="*/ 0 w 57166"/>
                      <a:gd name="connsiteY2" fmla="*/ 0 h 2873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</a:cxnLst>
                    <a:rect l="l" t="t" r="r" b="b"/>
                    <a:pathLst>
                      <a:path w="57166" h="28732">
                        <a:moveTo>
                          <a:pt x="57166" y="0"/>
                        </a:moveTo>
                        <a:cubicBezTo>
                          <a:pt x="57166" y="15864"/>
                          <a:pt x="44298" y="28733"/>
                          <a:pt x="28433" y="28733"/>
                        </a:cubicBezTo>
                        <a:cubicBezTo>
                          <a:pt x="12569" y="28733"/>
                          <a:pt x="0" y="15864"/>
                          <a:pt x="0" y="0"/>
                        </a:cubicBezTo>
                      </a:path>
                    </a:pathLst>
                  </a:custGeom>
                  <a:noFill/>
                  <a:ln w="6350" cap="rnd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30" name="Forma livre: Forma 29">
                    <a:extLst>
                      <a:ext uri="{FF2B5EF4-FFF2-40B4-BE49-F238E27FC236}">
                        <a16:creationId xmlns:a16="http://schemas.microsoft.com/office/drawing/2014/main" id="{2085A89E-705E-57B3-1695-5DD716937AF2}"/>
                      </a:ext>
                    </a:extLst>
                  </p:cNvPr>
                  <p:cNvSpPr/>
                  <p:nvPr/>
                </p:nvSpPr>
                <p:spPr>
                  <a:xfrm>
                    <a:off x="873788" y="2165425"/>
                    <a:ext cx="57465" cy="28732"/>
                  </a:xfrm>
                  <a:custGeom>
                    <a:avLst/>
                    <a:gdLst>
                      <a:gd name="connsiteX0" fmla="*/ 57466 w 57465"/>
                      <a:gd name="connsiteY0" fmla="*/ 0 h 28732"/>
                      <a:gd name="connsiteX1" fmla="*/ 28733 w 57465"/>
                      <a:gd name="connsiteY1" fmla="*/ 28733 h 28732"/>
                      <a:gd name="connsiteX2" fmla="*/ 0 w 57465"/>
                      <a:gd name="connsiteY2" fmla="*/ 0 h 2873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</a:cxnLst>
                    <a:rect l="l" t="t" r="r" b="b"/>
                    <a:pathLst>
                      <a:path w="57465" h="28732">
                        <a:moveTo>
                          <a:pt x="57466" y="0"/>
                        </a:moveTo>
                        <a:cubicBezTo>
                          <a:pt x="57466" y="15864"/>
                          <a:pt x="44597" y="28733"/>
                          <a:pt x="28733" y="28733"/>
                        </a:cubicBezTo>
                        <a:cubicBezTo>
                          <a:pt x="12869" y="28733"/>
                          <a:pt x="0" y="15864"/>
                          <a:pt x="0" y="0"/>
                        </a:cubicBezTo>
                      </a:path>
                    </a:pathLst>
                  </a:custGeom>
                  <a:noFill/>
                  <a:ln w="6350" cap="rnd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31" name="Forma livre: Forma 30">
                    <a:extLst>
                      <a:ext uri="{FF2B5EF4-FFF2-40B4-BE49-F238E27FC236}">
                        <a16:creationId xmlns:a16="http://schemas.microsoft.com/office/drawing/2014/main" id="{8512FB21-72F5-A145-A2D2-AC0A21D85FAD}"/>
                      </a:ext>
                    </a:extLst>
                  </p:cNvPr>
                  <p:cNvSpPr/>
                  <p:nvPr/>
                </p:nvSpPr>
                <p:spPr>
                  <a:xfrm>
                    <a:off x="931254" y="2165425"/>
                    <a:ext cx="57765" cy="28732"/>
                  </a:xfrm>
                  <a:custGeom>
                    <a:avLst/>
                    <a:gdLst>
                      <a:gd name="connsiteX0" fmla="*/ 57765 w 57765"/>
                      <a:gd name="connsiteY0" fmla="*/ 0 h 28732"/>
                      <a:gd name="connsiteX1" fmla="*/ 28733 w 57765"/>
                      <a:gd name="connsiteY1" fmla="*/ 28733 h 28732"/>
                      <a:gd name="connsiteX2" fmla="*/ 0 w 57765"/>
                      <a:gd name="connsiteY2" fmla="*/ 0 h 2873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</a:cxnLst>
                    <a:rect l="l" t="t" r="r" b="b"/>
                    <a:pathLst>
                      <a:path w="57765" h="28732">
                        <a:moveTo>
                          <a:pt x="57765" y="0"/>
                        </a:moveTo>
                        <a:cubicBezTo>
                          <a:pt x="57765" y="15864"/>
                          <a:pt x="44597" y="28733"/>
                          <a:pt x="28733" y="28733"/>
                        </a:cubicBezTo>
                        <a:cubicBezTo>
                          <a:pt x="12869" y="28733"/>
                          <a:pt x="0" y="15864"/>
                          <a:pt x="0" y="0"/>
                        </a:cubicBezTo>
                      </a:path>
                    </a:pathLst>
                  </a:custGeom>
                  <a:noFill/>
                  <a:ln w="6350" cap="rnd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32" name="Forma livre: Forma 31">
                    <a:extLst>
                      <a:ext uri="{FF2B5EF4-FFF2-40B4-BE49-F238E27FC236}">
                        <a16:creationId xmlns:a16="http://schemas.microsoft.com/office/drawing/2014/main" id="{98C565C9-7894-AE0C-B9C1-661D00EB08FA}"/>
                      </a:ext>
                    </a:extLst>
                  </p:cNvPr>
                  <p:cNvSpPr/>
                  <p:nvPr/>
                </p:nvSpPr>
                <p:spPr>
                  <a:xfrm>
                    <a:off x="791065" y="2140347"/>
                    <a:ext cx="254497" cy="1198"/>
                  </a:xfrm>
                  <a:custGeom>
                    <a:avLst/>
                    <a:gdLst>
                      <a:gd name="connsiteX0" fmla="*/ 254498 w 254497"/>
                      <a:gd name="connsiteY0" fmla="*/ 0 h 1198"/>
                      <a:gd name="connsiteX1" fmla="*/ 0 w 254497"/>
                      <a:gd name="connsiteY1" fmla="*/ 0 h 119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254497" h="1198">
                        <a:moveTo>
                          <a:pt x="254498" y="0"/>
                        </a:moveTo>
                        <a:lnTo>
                          <a:pt x="0" y="0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  <p:sp>
              <p:nvSpPr>
                <p:cNvPr id="33" name="Forma livre: Forma 32">
                  <a:extLst>
                    <a:ext uri="{FF2B5EF4-FFF2-40B4-BE49-F238E27FC236}">
                      <a16:creationId xmlns:a16="http://schemas.microsoft.com/office/drawing/2014/main" id="{5F6C7B94-CF33-A3DB-6220-D8B4DEF07AA7}"/>
                    </a:ext>
                  </a:extLst>
                </p:cNvPr>
                <p:cNvSpPr/>
                <p:nvPr/>
              </p:nvSpPr>
              <p:spPr>
                <a:xfrm>
                  <a:off x="759444" y="2078843"/>
                  <a:ext cx="287340" cy="115314"/>
                </a:xfrm>
                <a:custGeom>
                  <a:avLst/>
                  <a:gdLst>
                    <a:gd name="connsiteX0" fmla="*/ 229575 w 287340"/>
                    <a:gd name="connsiteY0" fmla="*/ 86582 h 115314"/>
                    <a:gd name="connsiteX1" fmla="*/ 258608 w 287340"/>
                    <a:gd name="connsiteY1" fmla="*/ 115315 h 115314"/>
                    <a:gd name="connsiteX2" fmla="*/ 287341 w 287340"/>
                    <a:gd name="connsiteY2" fmla="*/ 86582 h 115314"/>
                    <a:gd name="connsiteX3" fmla="*/ 287341 w 287340"/>
                    <a:gd name="connsiteY3" fmla="*/ 61647 h 115314"/>
                    <a:gd name="connsiteX4" fmla="*/ 252305 w 287340"/>
                    <a:gd name="connsiteY4" fmla="*/ 0 h 115314"/>
                    <a:gd name="connsiteX5" fmla="*/ 35754 w 287340"/>
                    <a:gd name="connsiteY5" fmla="*/ 0 h 115314"/>
                    <a:gd name="connsiteX6" fmla="*/ 0 w 287340"/>
                    <a:gd name="connsiteY6" fmla="*/ 61647 h 115314"/>
                    <a:gd name="connsiteX7" fmla="*/ 0 w 287340"/>
                    <a:gd name="connsiteY7" fmla="*/ 86582 h 115314"/>
                    <a:gd name="connsiteX8" fmla="*/ 28733 w 287340"/>
                    <a:gd name="connsiteY8" fmla="*/ 115315 h 115314"/>
                    <a:gd name="connsiteX9" fmla="*/ 57166 w 287340"/>
                    <a:gd name="connsiteY9" fmla="*/ 86582 h 11531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287340" h="115314">
                      <a:moveTo>
                        <a:pt x="229575" y="86582"/>
                      </a:moveTo>
                      <a:cubicBezTo>
                        <a:pt x="229575" y="102446"/>
                        <a:pt x="242744" y="115315"/>
                        <a:pt x="258608" y="115315"/>
                      </a:cubicBezTo>
                      <a:cubicBezTo>
                        <a:pt x="274472" y="115315"/>
                        <a:pt x="287341" y="102446"/>
                        <a:pt x="287341" y="86582"/>
                      </a:cubicBezTo>
                      <a:lnTo>
                        <a:pt x="287341" y="61647"/>
                      </a:lnTo>
                      <a:lnTo>
                        <a:pt x="252305" y="0"/>
                      </a:lnTo>
                      <a:lnTo>
                        <a:pt x="35754" y="0"/>
                      </a:lnTo>
                      <a:lnTo>
                        <a:pt x="0" y="61647"/>
                      </a:lnTo>
                      <a:lnTo>
                        <a:pt x="0" y="86582"/>
                      </a:lnTo>
                      <a:cubicBezTo>
                        <a:pt x="0" y="102446"/>
                        <a:pt x="12869" y="115315"/>
                        <a:pt x="28733" y="115315"/>
                      </a:cubicBezTo>
                      <a:cubicBezTo>
                        <a:pt x="44597" y="115315"/>
                        <a:pt x="57166" y="102446"/>
                        <a:pt x="57166" y="86582"/>
                      </a:cubicBez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grpSp>
              <p:nvGrpSpPr>
                <p:cNvPr id="34" name="Gráfico 2">
                  <a:extLst>
                    <a:ext uri="{FF2B5EF4-FFF2-40B4-BE49-F238E27FC236}">
                      <a16:creationId xmlns:a16="http://schemas.microsoft.com/office/drawing/2014/main" id="{5ADCD23C-8A7A-5BE1-4875-4D1668386076}"/>
                    </a:ext>
                  </a:extLst>
                </p:cNvPr>
                <p:cNvGrpSpPr/>
                <p:nvPr/>
              </p:nvGrpSpPr>
              <p:grpSpPr>
                <a:xfrm>
                  <a:off x="827646" y="2079371"/>
                  <a:ext cx="149727" cy="34460"/>
                  <a:chOff x="827646" y="2079371"/>
                  <a:chExt cx="149727" cy="34460"/>
                </a:xfrm>
              </p:grpSpPr>
              <p:sp>
                <p:nvSpPr>
                  <p:cNvPr id="35" name="Forma livre: Forma 34">
                    <a:extLst>
                      <a:ext uri="{FF2B5EF4-FFF2-40B4-BE49-F238E27FC236}">
                        <a16:creationId xmlns:a16="http://schemas.microsoft.com/office/drawing/2014/main" id="{91DE16AE-E5EA-144A-978D-1425731B5781}"/>
                      </a:ext>
                    </a:extLst>
                  </p:cNvPr>
                  <p:cNvSpPr/>
                  <p:nvPr/>
                </p:nvSpPr>
                <p:spPr>
                  <a:xfrm>
                    <a:off x="877826" y="2079371"/>
                    <a:ext cx="2168" cy="34460"/>
                  </a:xfrm>
                  <a:custGeom>
                    <a:avLst/>
                    <a:gdLst>
                      <a:gd name="connsiteX0" fmla="*/ 0 w 2168"/>
                      <a:gd name="connsiteY0" fmla="*/ 34460 h 34460"/>
                      <a:gd name="connsiteX1" fmla="*/ 2169 w 2168"/>
                      <a:gd name="connsiteY1" fmla="*/ 0 h 3446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2168" h="34460">
                        <a:moveTo>
                          <a:pt x="0" y="34460"/>
                        </a:moveTo>
                        <a:lnTo>
                          <a:pt x="2169" y="0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36" name="Forma livre: Forma 35">
                    <a:extLst>
                      <a:ext uri="{FF2B5EF4-FFF2-40B4-BE49-F238E27FC236}">
                        <a16:creationId xmlns:a16="http://schemas.microsoft.com/office/drawing/2014/main" id="{37EC7978-48B3-B031-4A15-A64B283A4245}"/>
                      </a:ext>
                    </a:extLst>
                  </p:cNvPr>
                  <p:cNvSpPr/>
                  <p:nvPr/>
                </p:nvSpPr>
                <p:spPr>
                  <a:xfrm>
                    <a:off x="827646" y="2079371"/>
                    <a:ext cx="8135" cy="34460"/>
                  </a:xfrm>
                  <a:custGeom>
                    <a:avLst/>
                    <a:gdLst>
                      <a:gd name="connsiteX0" fmla="*/ 0 w 8135"/>
                      <a:gd name="connsiteY0" fmla="*/ 34460 h 34460"/>
                      <a:gd name="connsiteX1" fmla="*/ 8136 w 8135"/>
                      <a:gd name="connsiteY1" fmla="*/ 0 h 3446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8135" h="34460">
                        <a:moveTo>
                          <a:pt x="0" y="34460"/>
                        </a:moveTo>
                        <a:lnTo>
                          <a:pt x="8136" y="0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37" name="Forma livre: Forma 36">
                    <a:extLst>
                      <a:ext uri="{FF2B5EF4-FFF2-40B4-BE49-F238E27FC236}">
                        <a16:creationId xmlns:a16="http://schemas.microsoft.com/office/drawing/2014/main" id="{9993F4F9-FAAA-F4FB-3B05-30A2CF26DC7A}"/>
                      </a:ext>
                    </a:extLst>
                  </p:cNvPr>
                  <p:cNvSpPr/>
                  <p:nvPr/>
                </p:nvSpPr>
                <p:spPr>
                  <a:xfrm>
                    <a:off x="925023" y="2079371"/>
                    <a:ext cx="2168" cy="34460"/>
                  </a:xfrm>
                  <a:custGeom>
                    <a:avLst/>
                    <a:gdLst>
                      <a:gd name="connsiteX0" fmla="*/ 2169 w 2168"/>
                      <a:gd name="connsiteY0" fmla="*/ 34460 h 34460"/>
                      <a:gd name="connsiteX1" fmla="*/ 0 w 2168"/>
                      <a:gd name="connsiteY1" fmla="*/ 0 h 3446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2168" h="34460">
                        <a:moveTo>
                          <a:pt x="2169" y="34460"/>
                        </a:moveTo>
                        <a:lnTo>
                          <a:pt x="0" y="0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38" name="Forma livre: Forma 37">
                    <a:extLst>
                      <a:ext uri="{FF2B5EF4-FFF2-40B4-BE49-F238E27FC236}">
                        <a16:creationId xmlns:a16="http://schemas.microsoft.com/office/drawing/2014/main" id="{04065F3B-B076-A10F-2BED-5973F88F162E}"/>
                      </a:ext>
                    </a:extLst>
                  </p:cNvPr>
                  <p:cNvSpPr/>
                  <p:nvPr/>
                </p:nvSpPr>
                <p:spPr>
                  <a:xfrm>
                    <a:off x="969237" y="2079371"/>
                    <a:ext cx="8135" cy="34460"/>
                  </a:xfrm>
                  <a:custGeom>
                    <a:avLst/>
                    <a:gdLst>
                      <a:gd name="connsiteX0" fmla="*/ 8136 w 8135"/>
                      <a:gd name="connsiteY0" fmla="*/ 34460 h 34460"/>
                      <a:gd name="connsiteX1" fmla="*/ 0 w 8135"/>
                      <a:gd name="connsiteY1" fmla="*/ 0 h 3446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8135" h="34460">
                        <a:moveTo>
                          <a:pt x="8136" y="34460"/>
                        </a:moveTo>
                        <a:lnTo>
                          <a:pt x="0" y="0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  <p:sp>
              <p:nvSpPr>
                <p:cNvPr id="39" name="Forma livre: Forma 38">
                  <a:extLst>
                    <a:ext uri="{FF2B5EF4-FFF2-40B4-BE49-F238E27FC236}">
                      <a16:creationId xmlns:a16="http://schemas.microsoft.com/office/drawing/2014/main" id="{6C76F774-6500-4DA5-B4FF-372E650C9321}"/>
                    </a:ext>
                  </a:extLst>
                </p:cNvPr>
                <p:cNvSpPr/>
                <p:nvPr/>
              </p:nvSpPr>
              <p:spPr>
                <a:xfrm>
                  <a:off x="752339" y="2352680"/>
                  <a:ext cx="301563" cy="1198"/>
                </a:xfrm>
                <a:custGeom>
                  <a:avLst/>
                  <a:gdLst>
                    <a:gd name="connsiteX0" fmla="*/ 0 w 301563"/>
                    <a:gd name="connsiteY0" fmla="*/ 0 h 1198"/>
                    <a:gd name="connsiteX1" fmla="*/ 301563 w 301563"/>
                    <a:gd name="connsiteY1" fmla="*/ 0 h 11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301563" h="1198">
                      <a:moveTo>
                        <a:pt x="0" y="0"/>
                      </a:moveTo>
                      <a:lnTo>
                        <a:pt x="301563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40" name="Forma livre: Forma 39">
                <a:extLst>
                  <a:ext uri="{FF2B5EF4-FFF2-40B4-BE49-F238E27FC236}">
                    <a16:creationId xmlns:a16="http://schemas.microsoft.com/office/drawing/2014/main" id="{4493657A-0022-A2B8-4F49-3E72A4F020C0}"/>
                  </a:ext>
                </a:extLst>
              </p:cNvPr>
              <p:cNvSpPr/>
              <p:nvPr/>
            </p:nvSpPr>
            <p:spPr>
              <a:xfrm>
                <a:off x="1077147" y="2352680"/>
                <a:ext cx="16954" cy="1198"/>
              </a:xfrm>
              <a:custGeom>
                <a:avLst/>
                <a:gdLst>
                  <a:gd name="connsiteX0" fmla="*/ 0 w 16954"/>
                  <a:gd name="connsiteY0" fmla="*/ 0 h 1198"/>
                  <a:gd name="connsiteX1" fmla="*/ 16955 w 16954"/>
                  <a:gd name="connsiteY1" fmla="*/ 0 h 11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6954" h="1198">
                    <a:moveTo>
                      <a:pt x="0" y="0"/>
                    </a:moveTo>
                    <a:lnTo>
                      <a:pt x="16955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41" name="Gráfico 2">
              <a:extLst>
                <a:ext uri="{FF2B5EF4-FFF2-40B4-BE49-F238E27FC236}">
                  <a16:creationId xmlns:a16="http://schemas.microsoft.com/office/drawing/2014/main" id="{6D49438E-A924-39C6-D898-BF3F501843F0}"/>
                </a:ext>
              </a:extLst>
            </p:cNvPr>
            <p:cNvGrpSpPr/>
            <p:nvPr/>
          </p:nvGrpSpPr>
          <p:grpSpPr>
            <a:xfrm>
              <a:off x="898112" y="2292435"/>
              <a:ext cx="71125" cy="56423"/>
              <a:chOff x="898112" y="2292435"/>
              <a:chExt cx="71125" cy="56423"/>
            </a:xfrm>
          </p:grpSpPr>
          <p:sp>
            <p:nvSpPr>
              <p:cNvPr id="42" name="Forma livre: Forma 41">
                <a:extLst>
                  <a:ext uri="{FF2B5EF4-FFF2-40B4-BE49-F238E27FC236}">
                    <a16:creationId xmlns:a16="http://schemas.microsoft.com/office/drawing/2014/main" id="{507DD38B-73CF-6BEC-5331-AD0D066E3F01}"/>
                  </a:ext>
                </a:extLst>
              </p:cNvPr>
              <p:cNvSpPr/>
              <p:nvPr/>
            </p:nvSpPr>
            <p:spPr>
              <a:xfrm>
                <a:off x="898112" y="2292435"/>
                <a:ext cx="71125" cy="1198"/>
              </a:xfrm>
              <a:custGeom>
                <a:avLst/>
                <a:gdLst>
                  <a:gd name="connsiteX0" fmla="*/ 0 w 71125"/>
                  <a:gd name="connsiteY0" fmla="*/ 0 h 1198"/>
                  <a:gd name="connsiteX1" fmla="*/ 71125 w 71125"/>
                  <a:gd name="connsiteY1" fmla="*/ 0 h 11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71125" h="1198">
                    <a:moveTo>
                      <a:pt x="0" y="0"/>
                    </a:moveTo>
                    <a:lnTo>
                      <a:pt x="71125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3" name="Forma livre: Forma 42">
                <a:extLst>
                  <a:ext uri="{FF2B5EF4-FFF2-40B4-BE49-F238E27FC236}">
                    <a16:creationId xmlns:a16="http://schemas.microsoft.com/office/drawing/2014/main" id="{5FA9AFE6-B65D-F2CA-3549-7D43F523B78C}"/>
                  </a:ext>
                </a:extLst>
              </p:cNvPr>
              <p:cNvSpPr/>
              <p:nvPr/>
            </p:nvSpPr>
            <p:spPr>
              <a:xfrm>
                <a:off x="933674" y="2294891"/>
                <a:ext cx="1198" cy="53966"/>
              </a:xfrm>
              <a:custGeom>
                <a:avLst/>
                <a:gdLst>
                  <a:gd name="connsiteX0" fmla="*/ 0 w 1198"/>
                  <a:gd name="connsiteY0" fmla="*/ 0 h 53966"/>
                  <a:gd name="connsiteX1" fmla="*/ 0 w 1198"/>
                  <a:gd name="connsiteY1" fmla="*/ 53967 h 539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8" h="53966">
                    <a:moveTo>
                      <a:pt x="0" y="0"/>
                    </a:moveTo>
                    <a:lnTo>
                      <a:pt x="0" y="53967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44" name="Forma livre: Forma 43">
              <a:extLst>
                <a:ext uri="{FF2B5EF4-FFF2-40B4-BE49-F238E27FC236}">
                  <a16:creationId xmlns:a16="http://schemas.microsoft.com/office/drawing/2014/main" id="{04CADDCE-02B5-4D05-E3CC-AB6DA4437DB9}"/>
                </a:ext>
              </a:extLst>
            </p:cNvPr>
            <p:cNvSpPr/>
            <p:nvPr/>
          </p:nvSpPr>
          <p:spPr>
            <a:xfrm>
              <a:off x="837986" y="2215474"/>
              <a:ext cx="1198" cy="137469"/>
            </a:xfrm>
            <a:custGeom>
              <a:avLst/>
              <a:gdLst>
                <a:gd name="connsiteX0" fmla="*/ 0 w 1198"/>
                <a:gd name="connsiteY0" fmla="*/ 0 h 137469"/>
                <a:gd name="connsiteX1" fmla="*/ 0 w 1198"/>
                <a:gd name="connsiteY1" fmla="*/ 137470 h 1374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98" h="137469">
                  <a:moveTo>
                    <a:pt x="0" y="0"/>
                  </a:moveTo>
                  <a:lnTo>
                    <a:pt x="0" y="13747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5" name="Forma livre: Forma 44">
              <a:extLst>
                <a:ext uri="{FF2B5EF4-FFF2-40B4-BE49-F238E27FC236}">
                  <a16:creationId xmlns:a16="http://schemas.microsoft.com/office/drawing/2014/main" id="{1D46881A-20F3-4645-15EA-FEDB747B175D}"/>
                </a:ext>
              </a:extLst>
            </p:cNvPr>
            <p:cNvSpPr/>
            <p:nvPr/>
          </p:nvSpPr>
          <p:spPr>
            <a:xfrm>
              <a:off x="869008" y="2222017"/>
              <a:ext cx="129321" cy="1198"/>
            </a:xfrm>
            <a:custGeom>
              <a:avLst/>
              <a:gdLst>
                <a:gd name="connsiteX0" fmla="*/ 0 w 129321"/>
                <a:gd name="connsiteY0" fmla="*/ 0 h 1198"/>
                <a:gd name="connsiteX1" fmla="*/ 129322 w 129321"/>
                <a:gd name="connsiteY1" fmla="*/ 0 h 11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9321" h="1198">
                  <a:moveTo>
                    <a:pt x="0" y="0"/>
                  </a:moveTo>
                  <a:lnTo>
                    <a:pt x="129322" y="0"/>
                  </a:lnTo>
                </a:path>
              </a:pathLst>
            </a:custGeom>
            <a:ln w="6350" cap="sq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6" name="Forma livre: Forma 45">
              <a:extLst>
                <a:ext uri="{FF2B5EF4-FFF2-40B4-BE49-F238E27FC236}">
                  <a16:creationId xmlns:a16="http://schemas.microsoft.com/office/drawing/2014/main" id="{43507832-B6BD-4368-B4F9-49761DFB3AD1}"/>
                </a:ext>
              </a:extLst>
            </p:cNvPr>
            <p:cNvSpPr/>
            <p:nvPr/>
          </p:nvSpPr>
          <p:spPr>
            <a:xfrm>
              <a:off x="814633" y="2268243"/>
              <a:ext cx="1198" cy="16187"/>
            </a:xfrm>
            <a:custGeom>
              <a:avLst/>
              <a:gdLst>
                <a:gd name="connsiteX0" fmla="*/ 0 w 1198"/>
                <a:gd name="connsiteY0" fmla="*/ 0 h 16187"/>
                <a:gd name="connsiteX1" fmla="*/ 0 w 1198"/>
                <a:gd name="connsiteY1" fmla="*/ 16188 h 161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98" h="16187">
                  <a:moveTo>
                    <a:pt x="0" y="0"/>
                  </a:moveTo>
                  <a:lnTo>
                    <a:pt x="0" y="16188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47" name="Gráfico 2">
              <a:extLst>
                <a:ext uri="{FF2B5EF4-FFF2-40B4-BE49-F238E27FC236}">
                  <a16:creationId xmlns:a16="http://schemas.microsoft.com/office/drawing/2014/main" id="{C05DB28A-9F80-440D-E5A2-4A527F04A762}"/>
                </a:ext>
              </a:extLst>
            </p:cNvPr>
            <p:cNvGrpSpPr/>
            <p:nvPr/>
          </p:nvGrpSpPr>
          <p:grpSpPr>
            <a:xfrm>
              <a:off x="869008" y="2267908"/>
              <a:ext cx="129321" cy="84628"/>
              <a:chOff x="869008" y="2267908"/>
              <a:chExt cx="129321" cy="84628"/>
            </a:xfrm>
          </p:grpSpPr>
          <p:grpSp>
            <p:nvGrpSpPr>
              <p:cNvPr id="48" name="Gráfico 2">
                <a:extLst>
                  <a:ext uri="{FF2B5EF4-FFF2-40B4-BE49-F238E27FC236}">
                    <a16:creationId xmlns:a16="http://schemas.microsoft.com/office/drawing/2014/main" id="{9C55B4B5-3FF9-5FDB-0E70-768B5B1BCE15}"/>
                  </a:ext>
                </a:extLst>
              </p:cNvPr>
              <p:cNvGrpSpPr/>
              <p:nvPr/>
            </p:nvGrpSpPr>
            <p:grpSpPr>
              <a:xfrm>
                <a:off x="955638" y="2267908"/>
                <a:ext cx="42691" cy="84628"/>
                <a:chOff x="955638" y="2267908"/>
                <a:chExt cx="42691" cy="84628"/>
              </a:xfrm>
            </p:grpSpPr>
            <p:sp>
              <p:nvSpPr>
                <p:cNvPr id="49" name="Forma livre: Forma 48">
                  <a:extLst>
                    <a:ext uri="{FF2B5EF4-FFF2-40B4-BE49-F238E27FC236}">
                      <a16:creationId xmlns:a16="http://schemas.microsoft.com/office/drawing/2014/main" id="{337A78DD-2CBE-DB72-ED3E-FBE0E23E07C5}"/>
                    </a:ext>
                  </a:extLst>
                </p:cNvPr>
                <p:cNvSpPr/>
                <p:nvPr/>
              </p:nvSpPr>
              <p:spPr>
                <a:xfrm>
                  <a:off x="972364" y="2317465"/>
                  <a:ext cx="1198" cy="35071"/>
                </a:xfrm>
                <a:custGeom>
                  <a:avLst/>
                  <a:gdLst>
                    <a:gd name="connsiteX0" fmla="*/ 0 w 1198"/>
                    <a:gd name="connsiteY0" fmla="*/ 0 h 35071"/>
                    <a:gd name="connsiteX1" fmla="*/ 0 w 1198"/>
                    <a:gd name="connsiteY1" fmla="*/ 35071 h 350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198" h="35071">
                      <a:moveTo>
                        <a:pt x="0" y="0"/>
                      </a:moveTo>
                      <a:lnTo>
                        <a:pt x="0" y="35071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50" name="Forma livre: Forma 49">
                  <a:extLst>
                    <a:ext uri="{FF2B5EF4-FFF2-40B4-BE49-F238E27FC236}">
                      <a16:creationId xmlns:a16="http://schemas.microsoft.com/office/drawing/2014/main" id="{BA817935-4542-E6A0-408E-37D4D72371B6}"/>
                    </a:ext>
                  </a:extLst>
                </p:cNvPr>
                <p:cNvSpPr/>
                <p:nvPr/>
              </p:nvSpPr>
              <p:spPr>
                <a:xfrm>
                  <a:off x="998329" y="2267908"/>
                  <a:ext cx="1198" cy="84628"/>
                </a:xfrm>
                <a:custGeom>
                  <a:avLst/>
                  <a:gdLst>
                    <a:gd name="connsiteX0" fmla="*/ 0 w 1198"/>
                    <a:gd name="connsiteY0" fmla="*/ 0 h 84628"/>
                    <a:gd name="connsiteX1" fmla="*/ 0 w 1198"/>
                    <a:gd name="connsiteY1" fmla="*/ 84629 h 8462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198" h="84628">
                      <a:moveTo>
                        <a:pt x="0" y="0"/>
                      </a:moveTo>
                      <a:lnTo>
                        <a:pt x="0" y="84629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51" name="Forma livre: Forma 50">
                  <a:extLst>
                    <a:ext uri="{FF2B5EF4-FFF2-40B4-BE49-F238E27FC236}">
                      <a16:creationId xmlns:a16="http://schemas.microsoft.com/office/drawing/2014/main" id="{8DC270CC-0F85-8FE1-8A9A-414201C6748C}"/>
                    </a:ext>
                  </a:extLst>
                </p:cNvPr>
                <p:cNvSpPr/>
                <p:nvPr/>
              </p:nvSpPr>
              <p:spPr>
                <a:xfrm>
                  <a:off x="955638" y="2316159"/>
                  <a:ext cx="40642" cy="1198"/>
                </a:xfrm>
                <a:custGeom>
                  <a:avLst/>
                  <a:gdLst>
                    <a:gd name="connsiteX0" fmla="*/ 40643 w 40642"/>
                    <a:gd name="connsiteY0" fmla="*/ 0 h 1198"/>
                    <a:gd name="connsiteX1" fmla="*/ 0 w 40642"/>
                    <a:gd name="connsiteY1" fmla="*/ 0 h 11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0642" h="1198">
                      <a:moveTo>
                        <a:pt x="40643" y="0"/>
                      </a:moveTo>
                      <a:lnTo>
                        <a:pt x="0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52" name="Gráfico 2">
                <a:extLst>
                  <a:ext uri="{FF2B5EF4-FFF2-40B4-BE49-F238E27FC236}">
                    <a16:creationId xmlns:a16="http://schemas.microsoft.com/office/drawing/2014/main" id="{9031E102-B21A-8BCA-7866-FBC8C9656610}"/>
                  </a:ext>
                </a:extLst>
              </p:cNvPr>
              <p:cNvGrpSpPr/>
              <p:nvPr/>
            </p:nvGrpSpPr>
            <p:grpSpPr>
              <a:xfrm>
                <a:off x="869008" y="2267908"/>
                <a:ext cx="42691" cy="84628"/>
                <a:chOff x="869008" y="2267908"/>
                <a:chExt cx="42691" cy="84628"/>
              </a:xfrm>
            </p:grpSpPr>
            <p:sp>
              <p:nvSpPr>
                <p:cNvPr id="53" name="Forma livre: Forma 52">
                  <a:extLst>
                    <a:ext uri="{FF2B5EF4-FFF2-40B4-BE49-F238E27FC236}">
                      <a16:creationId xmlns:a16="http://schemas.microsoft.com/office/drawing/2014/main" id="{BA1CBD15-6D3F-12E3-9EB6-601A082AAADB}"/>
                    </a:ext>
                  </a:extLst>
                </p:cNvPr>
                <p:cNvSpPr/>
                <p:nvPr/>
              </p:nvSpPr>
              <p:spPr>
                <a:xfrm>
                  <a:off x="894973" y="2317465"/>
                  <a:ext cx="1198" cy="35071"/>
                </a:xfrm>
                <a:custGeom>
                  <a:avLst/>
                  <a:gdLst>
                    <a:gd name="connsiteX0" fmla="*/ 0 w 1198"/>
                    <a:gd name="connsiteY0" fmla="*/ 0 h 35071"/>
                    <a:gd name="connsiteX1" fmla="*/ 0 w 1198"/>
                    <a:gd name="connsiteY1" fmla="*/ 35071 h 350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198" h="35071">
                      <a:moveTo>
                        <a:pt x="0" y="0"/>
                      </a:moveTo>
                      <a:lnTo>
                        <a:pt x="0" y="35071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54" name="Forma livre: Forma 53">
                  <a:extLst>
                    <a:ext uri="{FF2B5EF4-FFF2-40B4-BE49-F238E27FC236}">
                      <a16:creationId xmlns:a16="http://schemas.microsoft.com/office/drawing/2014/main" id="{A1E3B2DA-0623-32DA-1E1F-69BEAE541FB6}"/>
                    </a:ext>
                  </a:extLst>
                </p:cNvPr>
                <p:cNvSpPr/>
                <p:nvPr/>
              </p:nvSpPr>
              <p:spPr>
                <a:xfrm>
                  <a:off x="869008" y="2267908"/>
                  <a:ext cx="1198" cy="84628"/>
                </a:xfrm>
                <a:custGeom>
                  <a:avLst/>
                  <a:gdLst>
                    <a:gd name="connsiteX0" fmla="*/ 0 w 1198"/>
                    <a:gd name="connsiteY0" fmla="*/ 0 h 84628"/>
                    <a:gd name="connsiteX1" fmla="*/ 0 w 1198"/>
                    <a:gd name="connsiteY1" fmla="*/ 84629 h 8462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198" h="84628">
                      <a:moveTo>
                        <a:pt x="0" y="0"/>
                      </a:moveTo>
                      <a:lnTo>
                        <a:pt x="0" y="84629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55" name="Forma livre: Forma 54">
                  <a:extLst>
                    <a:ext uri="{FF2B5EF4-FFF2-40B4-BE49-F238E27FC236}">
                      <a16:creationId xmlns:a16="http://schemas.microsoft.com/office/drawing/2014/main" id="{AA549A50-DD67-EFC4-5664-4DB93CF655C2}"/>
                    </a:ext>
                  </a:extLst>
                </p:cNvPr>
                <p:cNvSpPr/>
                <p:nvPr/>
              </p:nvSpPr>
              <p:spPr>
                <a:xfrm>
                  <a:off x="871056" y="2316159"/>
                  <a:ext cx="40642" cy="1198"/>
                </a:xfrm>
                <a:custGeom>
                  <a:avLst/>
                  <a:gdLst>
                    <a:gd name="connsiteX0" fmla="*/ 0 w 40642"/>
                    <a:gd name="connsiteY0" fmla="*/ 0 h 1198"/>
                    <a:gd name="connsiteX1" fmla="*/ 40643 w 40642"/>
                    <a:gd name="connsiteY1" fmla="*/ 0 h 11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0642" h="1198">
                      <a:moveTo>
                        <a:pt x="0" y="0"/>
                      </a:moveTo>
                      <a:lnTo>
                        <a:pt x="40643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</p:grpSp>
      <p:grpSp>
        <p:nvGrpSpPr>
          <p:cNvPr id="56" name="Gráfico 2">
            <a:extLst>
              <a:ext uri="{FF2B5EF4-FFF2-40B4-BE49-F238E27FC236}">
                <a16:creationId xmlns:a16="http://schemas.microsoft.com/office/drawing/2014/main" id="{EFC182D2-5B78-03F8-9A86-F095D9D84019}"/>
              </a:ext>
            </a:extLst>
          </p:cNvPr>
          <p:cNvGrpSpPr/>
          <p:nvPr/>
        </p:nvGrpSpPr>
        <p:grpSpPr>
          <a:xfrm>
            <a:off x="1336630" y="2127155"/>
            <a:ext cx="421227" cy="225789"/>
            <a:chOff x="1336630" y="2127155"/>
            <a:chExt cx="421227" cy="225789"/>
          </a:xfrm>
          <a:noFill/>
        </p:grpSpPr>
        <p:grpSp>
          <p:nvGrpSpPr>
            <p:cNvPr id="57" name="Gráfico 2">
              <a:extLst>
                <a:ext uri="{FF2B5EF4-FFF2-40B4-BE49-F238E27FC236}">
                  <a16:creationId xmlns:a16="http://schemas.microsoft.com/office/drawing/2014/main" id="{0949972E-0119-6E8F-E743-856198B6C458}"/>
                </a:ext>
              </a:extLst>
            </p:cNvPr>
            <p:cNvGrpSpPr/>
            <p:nvPr/>
          </p:nvGrpSpPr>
          <p:grpSpPr>
            <a:xfrm>
              <a:off x="1336630" y="2352944"/>
              <a:ext cx="421227" cy="1198"/>
              <a:chOff x="1336630" y="2352944"/>
              <a:chExt cx="421227" cy="1198"/>
            </a:xfrm>
          </p:grpSpPr>
          <p:sp>
            <p:nvSpPr>
              <p:cNvPr id="58" name="Forma livre: Forma 57">
                <a:extLst>
                  <a:ext uri="{FF2B5EF4-FFF2-40B4-BE49-F238E27FC236}">
                    <a16:creationId xmlns:a16="http://schemas.microsoft.com/office/drawing/2014/main" id="{BD84BEA4-B0ED-D09C-F6AD-771E2E2F9E9C}"/>
                  </a:ext>
                </a:extLst>
              </p:cNvPr>
              <p:cNvSpPr/>
              <p:nvPr/>
            </p:nvSpPr>
            <p:spPr>
              <a:xfrm>
                <a:off x="1336630" y="2352944"/>
                <a:ext cx="382334" cy="1198"/>
              </a:xfrm>
              <a:custGeom>
                <a:avLst/>
                <a:gdLst>
                  <a:gd name="connsiteX0" fmla="*/ 0 w 382334"/>
                  <a:gd name="connsiteY0" fmla="*/ 0 h 1198"/>
                  <a:gd name="connsiteX1" fmla="*/ 382334 w 382334"/>
                  <a:gd name="connsiteY1" fmla="*/ 0 h 11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82334" h="1198">
                    <a:moveTo>
                      <a:pt x="0" y="0"/>
                    </a:moveTo>
                    <a:lnTo>
                      <a:pt x="382334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9" name="Forma livre: Forma 58">
                <a:extLst>
                  <a:ext uri="{FF2B5EF4-FFF2-40B4-BE49-F238E27FC236}">
                    <a16:creationId xmlns:a16="http://schemas.microsoft.com/office/drawing/2014/main" id="{57532A5A-6F37-511A-B8FA-3F1A23731453}"/>
                  </a:ext>
                </a:extLst>
              </p:cNvPr>
              <p:cNvSpPr/>
              <p:nvPr/>
            </p:nvSpPr>
            <p:spPr>
              <a:xfrm>
                <a:off x="1741286" y="2352944"/>
                <a:ext cx="16571" cy="1198"/>
              </a:xfrm>
              <a:custGeom>
                <a:avLst/>
                <a:gdLst>
                  <a:gd name="connsiteX0" fmla="*/ 0 w 16571"/>
                  <a:gd name="connsiteY0" fmla="*/ 0 h 1198"/>
                  <a:gd name="connsiteX1" fmla="*/ 16571 w 16571"/>
                  <a:gd name="connsiteY1" fmla="*/ 0 h 11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6571" h="1198">
                    <a:moveTo>
                      <a:pt x="0" y="0"/>
                    </a:moveTo>
                    <a:lnTo>
                      <a:pt x="16571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60" name="Gráfico 2">
              <a:extLst>
                <a:ext uri="{FF2B5EF4-FFF2-40B4-BE49-F238E27FC236}">
                  <a16:creationId xmlns:a16="http://schemas.microsoft.com/office/drawing/2014/main" id="{C861F789-2D5D-F925-ACBA-0DD3C7B1D6F4}"/>
                </a:ext>
              </a:extLst>
            </p:cNvPr>
            <p:cNvGrpSpPr/>
            <p:nvPr/>
          </p:nvGrpSpPr>
          <p:grpSpPr>
            <a:xfrm>
              <a:off x="1345340" y="2127155"/>
              <a:ext cx="365930" cy="225717"/>
              <a:chOff x="1345340" y="2127155"/>
              <a:chExt cx="365930" cy="225717"/>
            </a:xfrm>
            <a:noFill/>
          </p:grpSpPr>
          <p:grpSp>
            <p:nvGrpSpPr>
              <p:cNvPr id="61" name="Gráfico 2">
                <a:extLst>
                  <a:ext uri="{FF2B5EF4-FFF2-40B4-BE49-F238E27FC236}">
                    <a16:creationId xmlns:a16="http://schemas.microsoft.com/office/drawing/2014/main" id="{7109A485-281A-9E53-116B-E679984C669E}"/>
                  </a:ext>
                </a:extLst>
              </p:cNvPr>
              <p:cNvGrpSpPr/>
              <p:nvPr/>
            </p:nvGrpSpPr>
            <p:grpSpPr>
              <a:xfrm>
                <a:off x="1354351" y="2127155"/>
                <a:ext cx="347957" cy="204305"/>
                <a:chOff x="1354351" y="2127155"/>
                <a:chExt cx="347957" cy="204305"/>
              </a:xfrm>
            </p:grpSpPr>
            <p:sp>
              <p:nvSpPr>
                <p:cNvPr id="62" name="Forma livre: Forma 61">
                  <a:extLst>
                    <a:ext uri="{FF2B5EF4-FFF2-40B4-BE49-F238E27FC236}">
                      <a16:creationId xmlns:a16="http://schemas.microsoft.com/office/drawing/2014/main" id="{15E6DF8B-C516-E00D-6E24-C7E9198E36AA}"/>
                    </a:ext>
                  </a:extLst>
                </p:cNvPr>
                <p:cNvSpPr/>
                <p:nvPr/>
              </p:nvSpPr>
              <p:spPr>
                <a:xfrm>
                  <a:off x="1354351" y="2127155"/>
                  <a:ext cx="173954" cy="204305"/>
                </a:xfrm>
                <a:custGeom>
                  <a:avLst/>
                  <a:gdLst>
                    <a:gd name="connsiteX0" fmla="*/ 0 w 173954"/>
                    <a:gd name="connsiteY0" fmla="*/ 204305 h 204305"/>
                    <a:gd name="connsiteX1" fmla="*/ 173955 w 173954"/>
                    <a:gd name="connsiteY1" fmla="*/ 0 h 20430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73954" h="204305">
                      <a:moveTo>
                        <a:pt x="0" y="204305"/>
                      </a:moveTo>
                      <a:lnTo>
                        <a:pt x="173955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63" name="Forma livre: Forma 62">
                  <a:extLst>
                    <a:ext uri="{FF2B5EF4-FFF2-40B4-BE49-F238E27FC236}">
                      <a16:creationId xmlns:a16="http://schemas.microsoft.com/office/drawing/2014/main" id="{B4FAF36E-FB6F-BE3C-3E35-37D3A8504403}"/>
                    </a:ext>
                  </a:extLst>
                </p:cNvPr>
                <p:cNvSpPr/>
                <p:nvPr/>
              </p:nvSpPr>
              <p:spPr>
                <a:xfrm>
                  <a:off x="1528306" y="2127155"/>
                  <a:ext cx="174002" cy="204161"/>
                </a:xfrm>
                <a:custGeom>
                  <a:avLst/>
                  <a:gdLst>
                    <a:gd name="connsiteX0" fmla="*/ 174003 w 174002"/>
                    <a:gd name="connsiteY0" fmla="*/ 204162 h 204161"/>
                    <a:gd name="connsiteX1" fmla="*/ 0 w 174002"/>
                    <a:gd name="connsiteY1" fmla="*/ 0 h 20416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74002" h="204161">
                      <a:moveTo>
                        <a:pt x="174003" y="204162"/>
                      </a:moveTo>
                      <a:lnTo>
                        <a:pt x="0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64" name="Forma livre: Forma 63">
                <a:extLst>
                  <a:ext uri="{FF2B5EF4-FFF2-40B4-BE49-F238E27FC236}">
                    <a16:creationId xmlns:a16="http://schemas.microsoft.com/office/drawing/2014/main" id="{DFFB21D9-C36A-7316-40A0-BCC52A6CC5C7}"/>
                  </a:ext>
                </a:extLst>
              </p:cNvPr>
              <p:cNvSpPr/>
              <p:nvPr/>
            </p:nvSpPr>
            <p:spPr>
              <a:xfrm>
                <a:off x="1412823" y="2262947"/>
                <a:ext cx="1198" cy="89924"/>
              </a:xfrm>
              <a:custGeom>
                <a:avLst/>
                <a:gdLst>
                  <a:gd name="connsiteX0" fmla="*/ 0 w 1198"/>
                  <a:gd name="connsiteY0" fmla="*/ 0 h 89924"/>
                  <a:gd name="connsiteX1" fmla="*/ 0 w 1198"/>
                  <a:gd name="connsiteY1" fmla="*/ 89925 h 899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8" h="89924">
                    <a:moveTo>
                      <a:pt x="0" y="0"/>
                    </a:moveTo>
                    <a:lnTo>
                      <a:pt x="0" y="89925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65" name="Gráfico 2">
                <a:extLst>
                  <a:ext uri="{FF2B5EF4-FFF2-40B4-BE49-F238E27FC236}">
                    <a16:creationId xmlns:a16="http://schemas.microsoft.com/office/drawing/2014/main" id="{7F11097A-39C0-A46E-0DB5-E0BCCD93CE24}"/>
                  </a:ext>
                </a:extLst>
              </p:cNvPr>
              <p:cNvGrpSpPr/>
              <p:nvPr/>
            </p:nvGrpSpPr>
            <p:grpSpPr>
              <a:xfrm>
                <a:off x="1345340" y="2314889"/>
                <a:ext cx="365930" cy="37204"/>
                <a:chOff x="1345340" y="2314889"/>
                <a:chExt cx="365930" cy="37204"/>
              </a:xfrm>
            </p:grpSpPr>
            <p:sp>
              <p:nvSpPr>
                <p:cNvPr id="66" name="Forma livre: Forma 65">
                  <a:extLst>
                    <a:ext uri="{FF2B5EF4-FFF2-40B4-BE49-F238E27FC236}">
                      <a16:creationId xmlns:a16="http://schemas.microsoft.com/office/drawing/2014/main" id="{A088CEE4-31F3-68E8-D51A-19BAC37A1520}"/>
                    </a:ext>
                  </a:extLst>
                </p:cNvPr>
                <p:cNvSpPr/>
                <p:nvPr/>
              </p:nvSpPr>
              <p:spPr>
                <a:xfrm>
                  <a:off x="1692304" y="2314889"/>
                  <a:ext cx="18967" cy="37204"/>
                </a:xfrm>
                <a:custGeom>
                  <a:avLst/>
                  <a:gdLst>
                    <a:gd name="connsiteX0" fmla="*/ 18968 w 18967"/>
                    <a:gd name="connsiteY0" fmla="*/ 0 h 37204"/>
                    <a:gd name="connsiteX1" fmla="*/ 0 w 18967"/>
                    <a:gd name="connsiteY1" fmla="*/ 37204 h 3720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8967" h="37204">
                      <a:moveTo>
                        <a:pt x="18968" y="0"/>
                      </a:moveTo>
                      <a:lnTo>
                        <a:pt x="0" y="37204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67" name="Forma livre: Forma 66">
                  <a:extLst>
                    <a:ext uri="{FF2B5EF4-FFF2-40B4-BE49-F238E27FC236}">
                      <a16:creationId xmlns:a16="http://schemas.microsoft.com/office/drawing/2014/main" id="{490D102C-6A94-A4C3-D677-14BF7DF074CB}"/>
                    </a:ext>
                  </a:extLst>
                </p:cNvPr>
                <p:cNvSpPr/>
                <p:nvPr/>
              </p:nvSpPr>
              <p:spPr>
                <a:xfrm>
                  <a:off x="1345340" y="2314889"/>
                  <a:ext cx="18943" cy="37204"/>
                </a:xfrm>
                <a:custGeom>
                  <a:avLst/>
                  <a:gdLst>
                    <a:gd name="connsiteX0" fmla="*/ 0 w 18943"/>
                    <a:gd name="connsiteY0" fmla="*/ 0 h 37204"/>
                    <a:gd name="connsiteX1" fmla="*/ 18944 w 18943"/>
                    <a:gd name="connsiteY1" fmla="*/ 37204 h 3720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8943" h="37204">
                      <a:moveTo>
                        <a:pt x="0" y="0"/>
                      </a:moveTo>
                      <a:lnTo>
                        <a:pt x="18944" y="37204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68" name="Forma livre: Forma 67">
                <a:extLst>
                  <a:ext uri="{FF2B5EF4-FFF2-40B4-BE49-F238E27FC236}">
                    <a16:creationId xmlns:a16="http://schemas.microsoft.com/office/drawing/2014/main" id="{890531F6-CFB5-6A4F-05F1-61D22A030A31}"/>
                  </a:ext>
                </a:extLst>
              </p:cNvPr>
              <p:cNvSpPr/>
              <p:nvPr/>
            </p:nvSpPr>
            <p:spPr>
              <a:xfrm>
                <a:off x="1447655" y="2197489"/>
                <a:ext cx="80698" cy="154496"/>
              </a:xfrm>
              <a:custGeom>
                <a:avLst/>
                <a:gdLst>
                  <a:gd name="connsiteX0" fmla="*/ 61120 w 80698"/>
                  <a:gd name="connsiteY0" fmla="*/ 52277 h 154496"/>
                  <a:gd name="connsiteX1" fmla="*/ 22814 w 80698"/>
                  <a:gd name="connsiteY1" fmla="*/ 154496 h 154496"/>
                  <a:gd name="connsiteX2" fmla="*/ 0 w 80698"/>
                  <a:gd name="connsiteY2" fmla="*/ 87732 h 154496"/>
                  <a:gd name="connsiteX3" fmla="*/ 80699 w 80698"/>
                  <a:gd name="connsiteY3" fmla="*/ 0 h 1544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98" h="154496">
                    <a:moveTo>
                      <a:pt x="61120" y="52277"/>
                    </a:moveTo>
                    <a:lnTo>
                      <a:pt x="22814" y="154496"/>
                    </a:lnTo>
                    <a:cubicBezTo>
                      <a:pt x="22814" y="154496"/>
                      <a:pt x="28877" y="105154"/>
                      <a:pt x="0" y="87732"/>
                    </a:cubicBezTo>
                    <a:lnTo>
                      <a:pt x="80699" y="0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69" name="Forma livre: Forma 68">
                <a:extLst>
                  <a:ext uri="{FF2B5EF4-FFF2-40B4-BE49-F238E27FC236}">
                    <a16:creationId xmlns:a16="http://schemas.microsoft.com/office/drawing/2014/main" id="{DF58B3CF-A0A4-A3DC-E9F8-8504ECFE38BC}"/>
                  </a:ext>
                </a:extLst>
              </p:cNvPr>
              <p:cNvSpPr/>
              <p:nvPr/>
            </p:nvSpPr>
            <p:spPr>
              <a:xfrm>
                <a:off x="1643776" y="2265379"/>
                <a:ext cx="1198" cy="85012"/>
              </a:xfrm>
              <a:custGeom>
                <a:avLst/>
                <a:gdLst>
                  <a:gd name="connsiteX0" fmla="*/ 0 w 1198"/>
                  <a:gd name="connsiteY0" fmla="*/ 85012 h 85012"/>
                  <a:gd name="connsiteX1" fmla="*/ 0 w 1198"/>
                  <a:gd name="connsiteY1" fmla="*/ 0 h 850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8" h="85012">
                    <a:moveTo>
                      <a:pt x="0" y="85012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0" name="Forma livre: Forma 69">
                <a:extLst>
                  <a:ext uri="{FF2B5EF4-FFF2-40B4-BE49-F238E27FC236}">
                    <a16:creationId xmlns:a16="http://schemas.microsoft.com/office/drawing/2014/main" id="{40F9B3AB-7F2F-2411-2426-6A4B2061E7A4}"/>
                  </a:ext>
                </a:extLst>
              </p:cNvPr>
              <p:cNvSpPr/>
              <p:nvPr/>
            </p:nvSpPr>
            <p:spPr>
              <a:xfrm>
                <a:off x="1528497" y="2197501"/>
                <a:ext cx="1198" cy="154759"/>
              </a:xfrm>
              <a:custGeom>
                <a:avLst/>
                <a:gdLst>
                  <a:gd name="connsiteX0" fmla="*/ 0 w 1198"/>
                  <a:gd name="connsiteY0" fmla="*/ 0 h 154759"/>
                  <a:gd name="connsiteX1" fmla="*/ 0 w 1198"/>
                  <a:gd name="connsiteY1" fmla="*/ 154760 h 1547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8" h="154759">
                    <a:moveTo>
                      <a:pt x="0" y="0"/>
                    </a:moveTo>
                    <a:lnTo>
                      <a:pt x="0" y="15476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71" name="Gráfico 2">
            <a:extLst>
              <a:ext uri="{FF2B5EF4-FFF2-40B4-BE49-F238E27FC236}">
                <a16:creationId xmlns:a16="http://schemas.microsoft.com/office/drawing/2014/main" id="{5324517C-352C-DE37-E14B-D2FA51C34F6D}"/>
              </a:ext>
            </a:extLst>
          </p:cNvPr>
          <p:cNvGrpSpPr/>
          <p:nvPr/>
        </p:nvGrpSpPr>
        <p:grpSpPr>
          <a:xfrm>
            <a:off x="1966799" y="2107972"/>
            <a:ext cx="408993" cy="244972"/>
            <a:chOff x="1966799" y="2107972"/>
            <a:chExt cx="408993" cy="244972"/>
          </a:xfrm>
          <a:noFill/>
        </p:grpSpPr>
        <p:sp>
          <p:nvSpPr>
            <p:cNvPr id="72" name="Forma livre: Forma 71">
              <a:extLst>
                <a:ext uri="{FF2B5EF4-FFF2-40B4-BE49-F238E27FC236}">
                  <a16:creationId xmlns:a16="http://schemas.microsoft.com/office/drawing/2014/main" id="{9416C069-D419-DBA6-E1EB-1463B4D408EC}"/>
                </a:ext>
              </a:extLst>
            </p:cNvPr>
            <p:cNvSpPr/>
            <p:nvPr/>
          </p:nvSpPr>
          <p:spPr>
            <a:xfrm>
              <a:off x="2359222" y="2352944"/>
              <a:ext cx="16571" cy="1198"/>
            </a:xfrm>
            <a:custGeom>
              <a:avLst/>
              <a:gdLst>
                <a:gd name="connsiteX0" fmla="*/ 0 w 16571"/>
                <a:gd name="connsiteY0" fmla="*/ 0 h 1198"/>
                <a:gd name="connsiteX1" fmla="*/ 16571 w 16571"/>
                <a:gd name="connsiteY1" fmla="*/ 0 h 11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6571" h="1198">
                  <a:moveTo>
                    <a:pt x="0" y="0"/>
                  </a:moveTo>
                  <a:lnTo>
                    <a:pt x="16571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73" name="Gráfico 2">
              <a:extLst>
                <a:ext uri="{FF2B5EF4-FFF2-40B4-BE49-F238E27FC236}">
                  <a16:creationId xmlns:a16="http://schemas.microsoft.com/office/drawing/2014/main" id="{D250AEE4-1551-8F12-8A33-DA22937732CE}"/>
                </a:ext>
              </a:extLst>
            </p:cNvPr>
            <p:cNvGrpSpPr/>
            <p:nvPr/>
          </p:nvGrpSpPr>
          <p:grpSpPr>
            <a:xfrm>
              <a:off x="1966799" y="2107972"/>
              <a:ext cx="369860" cy="244972"/>
              <a:chOff x="1966799" y="2107972"/>
              <a:chExt cx="369860" cy="244972"/>
            </a:xfrm>
            <a:noFill/>
          </p:grpSpPr>
          <p:grpSp>
            <p:nvGrpSpPr>
              <p:cNvPr id="74" name="Gráfico 2">
                <a:extLst>
                  <a:ext uri="{FF2B5EF4-FFF2-40B4-BE49-F238E27FC236}">
                    <a16:creationId xmlns:a16="http://schemas.microsoft.com/office/drawing/2014/main" id="{12F7C4F4-26EE-125B-BF9A-1A688E2A1590}"/>
                  </a:ext>
                </a:extLst>
              </p:cNvPr>
              <p:cNvGrpSpPr/>
              <p:nvPr/>
            </p:nvGrpSpPr>
            <p:grpSpPr>
              <a:xfrm>
                <a:off x="2068395" y="2186849"/>
                <a:ext cx="166657" cy="117267"/>
                <a:chOff x="2068395" y="2186849"/>
                <a:chExt cx="166657" cy="117267"/>
              </a:xfrm>
            </p:grpSpPr>
            <p:grpSp>
              <p:nvGrpSpPr>
                <p:cNvPr id="75" name="Gráfico 2">
                  <a:extLst>
                    <a:ext uri="{FF2B5EF4-FFF2-40B4-BE49-F238E27FC236}">
                      <a16:creationId xmlns:a16="http://schemas.microsoft.com/office/drawing/2014/main" id="{0B6303F0-2822-9666-007D-C8E3FC65D9ED}"/>
                    </a:ext>
                  </a:extLst>
                </p:cNvPr>
                <p:cNvGrpSpPr/>
                <p:nvPr/>
              </p:nvGrpSpPr>
              <p:grpSpPr>
                <a:xfrm>
                  <a:off x="2068395" y="2186849"/>
                  <a:ext cx="111109" cy="117267"/>
                  <a:chOff x="2068395" y="2186849"/>
                  <a:chExt cx="111109" cy="117267"/>
                </a:xfrm>
              </p:grpSpPr>
              <p:sp>
                <p:nvSpPr>
                  <p:cNvPr id="76" name="Forma livre: Forma 75">
                    <a:extLst>
                      <a:ext uri="{FF2B5EF4-FFF2-40B4-BE49-F238E27FC236}">
                        <a16:creationId xmlns:a16="http://schemas.microsoft.com/office/drawing/2014/main" id="{E1926282-E362-D132-C66E-9103783BAA42}"/>
                      </a:ext>
                    </a:extLst>
                  </p:cNvPr>
                  <p:cNvSpPr/>
                  <p:nvPr/>
                </p:nvSpPr>
                <p:spPr>
                  <a:xfrm>
                    <a:off x="2068395" y="2186849"/>
                    <a:ext cx="1198" cy="117267"/>
                  </a:xfrm>
                  <a:custGeom>
                    <a:avLst/>
                    <a:gdLst>
                      <a:gd name="connsiteX0" fmla="*/ 0 w 1198"/>
                      <a:gd name="connsiteY0" fmla="*/ 0 h 117267"/>
                      <a:gd name="connsiteX1" fmla="*/ 0 w 1198"/>
                      <a:gd name="connsiteY1" fmla="*/ 117268 h 11726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198" h="117267">
                        <a:moveTo>
                          <a:pt x="0" y="0"/>
                        </a:moveTo>
                        <a:lnTo>
                          <a:pt x="0" y="117268"/>
                        </a:lnTo>
                      </a:path>
                    </a:pathLst>
                  </a:custGeom>
                  <a:ln w="6350" cap="flat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77" name="Forma livre: Forma 76">
                    <a:extLst>
                      <a:ext uri="{FF2B5EF4-FFF2-40B4-BE49-F238E27FC236}">
                        <a16:creationId xmlns:a16="http://schemas.microsoft.com/office/drawing/2014/main" id="{30C6A6C7-59EB-2335-8DBD-6B915EFB700B}"/>
                      </a:ext>
                    </a:extLst>
                  </p:cNvPr>
                  <p:cNvSpPr/>
                  <p:nvPr/>
                </p:nvSpPr>
                <p:spPr>
                  <a:xfrm>
                    <a:off x="2123956" y="2186849"/>
                    <a:ext cx="1198" cy="117267"/>
                  </a:xfrm>
                  <a:custGeom>
                    <a:avLst/>
                    <a:gdLst>
                      <a:gd name="connsiteX0" fmla="*/ 0 w 1198"/>
                      <a:gd name="connsiteY0" fmla="*/ 0 h 117267"/>
                      <a:gd name="connsiteX1" fmla="*/ 0 w 1198"/>
                      <a:gd name="connsiteY1" fmla="*/ 117268 h 11726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198" h="117267">
                        <a:moveTo>
                          <a:pt x="0" y="0"/>
                        </a:moveTo>
                        <a:lnTo>
                          <a:pt x="0" y="117268"/>
                        </a:lnTo>
                      </a:path>
                    </a:pathLst>
                  </a:custGeom>
                  <a:ln w="6350" cap="flat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78" name="Forma livre: Forma 77">
                    <a:extLst>
                      <a:ext uri="{FF2B5EF4-FFF2-40B4-BE49-F238E27FC236}">
                        <a16:creationId xmlns:a16="http://schemas.microsoft.com/office/drawing/2014/main" id="{10F616C7-2E41-2352-D6A6-C1CBCA34AFD1}"/>
                      </a:ext>
                    </a:extLst>
                  </p:cNvPr>
                  <p:cNvSpPr/>
                  <p:nvPr/>
                </p:nvSpPr>
                <p:spPr>
                  <a:xfrm>
                    <a:off x="2179504" y="2186849"/>
                    <a:ext cx="1198" cy="117267"/>
                  </a:xfrm>
                  <a:custGeom>
                    <a:avLst/>
                    <a:gdLst>
                      <a:gd name="connsiteX0" fmla="*/ 0 w 1198"/>
                      <a:gd name="connsiteY0" fmla="*/ 0 h 117267"/>
                      <a:gd name="connsiteX1" fmla="*/ 0 w 1198"/>
                      <a:gd name="connsiteY1" fmla="*/ 117268 h 11726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198" h="117267">
                        <a:moveTo>
                          <a:pt x="0" y="0"/>
                        </a:moveTo>
                        <a:lnTo>
                          <a:pt x="0" y="117268"/>
                        </a:lnTo>
                      </a:path>
                    </a:pathLst>
                  </a:custGeom>
                  <a:ln w="6350" cap="flat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  <p:sp>
              <p:nvSpPr>
                <p:cNvPr id="79" name="Forma livre: Forma 78">
                  <a:extLst>
                    <a:ext uri="{FF2B5EF4-FFF2-40B4-BE49-F238E27FC236}">
                      <a16:creationId xmlns:a16="http://schemas.microsoft.com/office/drawing/2014/main" id="{7969B9B8-ECEA-07B4-E726-16790AC415A9}"/>
                    </a:ext>
                  </a:extLst>
                </p:cNvPr>
                <p:cNvSpPr/>
                <p:nvPr/>
              </p:nvSpPr>
              <p:spPr>
                <a:xfrm>
                  <a:off x="2235053" y="2186849"/>
                  <a:ext cx="1198" cy="117267"/>
                </a:xfrm>
                <a:custGeom>
                  <a:avLst/>
                  <a:gdLst>
                    <a:gd name="connsiteX0" fmla="*/ 0 w 1198"/>
                    <a:gd name="connsiteY0" fmla="*/ 0 h 117267"/>
                    <a:gd name="connsiteX1" fmla="*/ 0 w 1198"/>
                    <a:gd name="connsiteY1" fmla="*/ 117268 h 11726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198" h="117267">
                      <a:moveTo>
                        <a:pt x="0" y="0"/>
                      </a:moveTo>
                      <a:lnTo>
                        <a:pt x="0" y="117268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80" name="Forma livre: Forma 79">
                <a:extLst>
                  <a:ext uri="{FF2B5EF4-FFF2-40B4-BE49-F238E27FC236}">
                    <a16:creationId xmlns:a16="http://schemas.microsoft.com/office/drawing/2014/main" id="{5194B55E-E401-94B9-A70E-3DB9545B876C}"/>
                  </a:ext>
                </a:extLst>
              </p:cNvPr>
              <p:cNvSpPr/>
              <p:nvPr/>
            </p:nvSpPr>
            <p:spPr>
              <a:xfrm>
                <a:off x="1966799" y="2352944"/>
                <a:ext cx="369860" cy="1198"/>
              </a:xfrm>
              <a:custGeom>
                <a:avLst/>
                <a:gdLst>
                  <a:gd name="connsiteX0" fmla="*/ 369861 w 369860"/>
                  <a:gd name="connsiteY0" fmla="*/ 0 h 1198"/>
                  <a:gd name="connsiteX1" fmla="*/ 0 w 369860"/>
                  <a:gd name="connsiteY1" fmla="*/ 0 h 11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69860" h="1198">
                    <a:moveTo>
                      <a:pt x="369861" y="0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81" name="Forma livre: Forma 80">
                <a:extLst>
                  <a:ext uri="{FF2B5EF4-FFF2-40B4-BE49-F238E27FC236}">
                    <a16:creationId xmlns:a16="http://schemas.microsoft.com/office/drawing/2014/main" id="{0ED503CF-6EB6-FC1E-6FEB-96016D6D7E47}"/>
                  </a:ext>
                </a:extLst>
              </p:cNvPr>
              <p:cNvSpPr/>
              <p:nvPr/>
            </p:nvSpPr>
            <p:spPr>
              <a:xfrm>
                <a:off x="2040429" y="2107972"/>
                <a:ext cx="222733" cy="77068"/>
              </a:xfrm>
              <a:custGeom>
                <a:avLst/>
                <a:gdLst>
                  <a:gd name="connsiteX0" fmla="*/ 0 w 222733"/>
                  <a:gd name="connsiteY0" fmla="*/ 77068 h 77068"/>
                  <a:gd name="connsiteX1" fmla="*/ 222722 w 222733"/>
                  <a:gd name="connsiteY1" fmla="*/ 77068 h 77068"/>
                  <a:gd name="connsiteX2" fmla="*/ 222734 w 222733"/>
                  <a:gd name="connsiteY2" fmla="*/ 52996 h 77068"/>
                  <a:gd name="connsiteX3" fmla="*/ 111409 w 222733"/>
                  <a:gd name="connsiteY3" fmla="*/ 0 h 77068"/>
                  <a:gd name="connsiteX4" fmla="*/ 0 w 222733"/>
                  <a:gd name="connsiteY4" fmla="*/ 52901 h 77068"/>
                  <a:gd name="connsiteX5" fmla="*/ 0 w 222733"/>
                  <a:gd name="connsiteY5" fmla="*/ 77068 h 770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22733" h="77068">
                    <a:moveTo>
                      <a:pt x="0" y="77068"/>
                    </a:moveTo>
                    <a:lnTo>
                      <a:pt x="222722" y="77068"/>
                    </a:lnTo>
                    <a:lnTo>
                      <a:pt x="222734" y="52996"/>
                    </a:lnTo>
                    <a:lnTo>
                      <a:pt x="111409" y="0"/>
                    </a:lnTo>
                    <a:lnTo>
                      <a:pt x="0" y="52901"/>
                    </a:lnTo>
                    <a:lnTo>
                      <a:pt x="0" y="77068"/>
                    </a:lnTo>
                    <a:close/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82" name="Forma livre: Forma 81">
                <a:extLst>
                  <a:ext uri="{FF2B5EF4-FFF2-40B4-BE49-F238E27FC236}">
                    <a16:creationId xmlns:a16="http://schemas.microsoft.com/office/drawing/2014/main" id="{9E62842D-DC4E-D145-8113-C9A87B13FEFA}"/>
                  </a:ext>
                </a:extLst>
              </p:cNvPr>
              <p:cNvSpPr/>
              <p:nvPr/>
            </p:nvSpPr>
            <p:spPr>
              <a:xfrm>
                <a:off x="1986378" y="2326092"/>
                <a:ext cx="330691" cy="1198"/>
              </a:xfrm>
              <a:custGeom>
                <a:avLst/>
                <a:gdLst>
                  <a:gd name="connsiteX0" fmla="*/ 330692 w 330691"/>
                  <a:gd name="connsiteY0" fmla="*/ 0 h 1198"/>
                  <a:gd name="connsiteX1" fmla="*/ 0 w 330691"/>
                  <a:gd name="connsiteY1" fmla="*/ 0 h 11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30691" h="1198">
                    <a:moveTo>
                      <a:pt x="330692" y="0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83" name="Gráfico 2">
                <a:extLst>
                  <a:ext uri="{FF2B5EF4-FFF2-40B4-BE49-F238E27FC236}">
                    <a16:creationId xmlns:a16="http://schemas.microsoft.com/office/drawing/2014/main" id="{9422FAE1-5BF1-5975-2334-718842D70F17}"/>
                  </a:ext>
                </a:extLst>
              </p:cNvPr>
              <p:cNvGrpSpPr/>
              <p:nvPr/>
            </p:nvGrpSpPr>
            <p:grpSpPr>
              <a:xfrm>
                <a:off x="1991974" y="2229553"/>
                <a:ext cx="319488" cy="74564"/>
                <a:chOff x="1991974" y="2229553"/>
                <a:chExt cx="319488" cy="74564"/>
              </a:xfrm>
              <a:noFill/>
            </p:grpSpPr>
            <p:grpSp>
              <p:nvGrpSpPr>
                <p:cNvPr id="84" name="Gráfico 2">
                  <a:extLst>
                    <a:ext uri="{FF2B5EF4-FFF2-40B4-BE49-F238E27FC236}">
                      <a16:creationId xmlns:a16="http://schemas.microsoft.com/office/drawing/2014/main" id="{17C53914-58CA-E8DE-3C8A-864D99D7A5E8}"/>
                    </a:ext>
                  </a:extLst>
                </p:cNvPr>
                <p:cNvGrpSpPr/>
                <p:nvPr/>
              </p:nvGrpSpPr>
              <p:grpSpPr>
                <a:xfrm>
                  <a:off x="1991974" y="2229553"/>
                  <a:ext cx="53379" cy="74564"/>
                  <a:chOff x="1991974" y="2229553"/>
                  <a:chExt cx="53379" cy="74564"/>
                </a:xfrm>
                <a:noFill/>
              </p:grpSpPr>
              <p:sp>
                <p:nvSpPr>
                  <p:cNvPr id="85" name="Forma livre: Forma 84">
                    <a:extLst>
                      <a:ext uri="{FF2B5EF4-FFF2-40B4-BE49-F238E27FC236}">
                        <a16:creationId xmlns:a16="http://schemas.microsoft.com/office/drawing/2014/main" id="{E2320D56-6507-DDCD-B850-C9DFE1AE7BEB}"/>
                      </a:ext>
                    </a:extLst>
                  </p:cNvPr>
                  <p:cNvSpPr/>
                  <p:nvPr/>
                </p:nvSpPr>
                <p:spPr>
                  <a:xfrm>
                    <a:off x="2012906" y="2260479"/>
                    <a:ext cx="1198" cy="43638"/>
                  </a:xfrm>
                  <a:custGeom>
                    <a:avLst/>
                    <a:gdLst>
                      <a:gd name="connsiteX0" fmla="*/ 0 w 1198"/>
                      <a:gd name="connsiteY0" fmla="*/ 0 h 43638"/>
                      <a:gd name="connsiteX1" fmla="*/ 0 w 1198"/>
                      <a:gd name="connsiteY1" fmla="*/ 43638 h 4363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198" h="43638">
                        <a:moveTo>
                          <a:pt x="0" y="0"/>
                        </a:moveTo>
                        <a:lnTo>
                          <a:pt x="0" y="43638"/>
                        </a:lnTo>
                      </a:path>
                    </a:pathLst>
                  </a:custGeom>
                  <a:ln w="6350" cap="flat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86" name="Forma livre: Forma 85">
                    <a:extLst>
                      <a:ext uri="{FF2B5EF4-FFF2-40B4-BE49-F238E27FC236}">
                        <a16:creationId xmlns:a16="http://schemas.microsoft.com/office/drawing/2014/main" id="{50CDAD0A-6EF7-D615-A72C-314F0562C27F}"/>
                      </a:ext>
                    </a:extLst>
                  </p:cNvPr>
                  <p:cNvSpPr/>
                  <p:nvPr/>
                </p:nvSpPr>
                <p:spPr>
                  <a:xfrm>
                    <a:off x="1991974" y="2229553"/>
                    <a:ext cx="53379" cy="28409"/>
                  </a:xfrm>
                  <a:custGeom>
                    <a:avLst/>
                    <a:gdLst>
                      <a:gd name="connsiteX0" fmla="*/ 53380 w 53379"/>
                      <a:gd name="connsiteY0" fmla="*/ 0 h 28409"/>
                      <a:gd name="connsiteX1" fmla="*/ 0 w 53379"/>
                      <a:gd name="connsiteY1" fmla="*/ 0 h 28409"/>
                      <a:gd name="connsiteX2" fmla="*/ 0 w 53379"/>
                      <a:gd name="connsiteY2" fmla="*/ 28409 h 28409"/>
                      <a:gd name="connsiteX3" fmla="*/ 53380 w 53379"/>
                      <a:gd name="connsiteY3" fmla="*/ 28409 h 2840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53379" h="28409">
                        <a:moveTo>
                          <a:pt x="53380" y="0"/>
                        </a:moveTo>
                        <a:lnTo>
                          <a:pt x="0" y="0"/>
                        </a:lnTo>
                        <a:lnTo>
                          <a:pt x="0" y="28409"/>
                        </a:lnTo>
                        <a:lnTo>
                          <a:pt x="53380" y="28409"/>
                        </a:lnTo>
                      </a:path>
                    </a:pathLst>
                  </a:custGeom>
                  <a:noFill/>
                  <a:ln w="6350" cap="flat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  <p:grpSp>
              <p:nvGrpSpPr>
                <p:cNvPr id="87" name="Gráfico 2">
                  <a:extLst>
                    <a:ext uri="{FF2B5EF4-FFF2-40B4-BE49-F238E27FC236}">
                      <a16:creationId xmlns:a16="http://schemas.microsoft.com/office/drawing/2014/main" id="{3AAC949E-898C-5EEC-B8AE-EFE06A1CC22F}"/>
                    </a:ext>
                  </a:extLst>
                </p:cNvPr>
                <p:cNvGrpSpPr/>
                <p:nvPr/>
              </p:nvGrpSpPr>
              <p:grpSpPr>
                <a:xfrm>
                  <a:off x="2258106" y="2229553"/>
                  <a:ext cx="53355" cy="74564"/>
                  <a:chOff x="2258106" y="2229553"/>
                  <a:chExt cx="53355" cy="74564"/>
                </a:xfrm>
                <a:noFill/>
              </p:grpSpPr>
              <p:sp>
                <p:nvSpPr>
                  <p:cNvPr id="88" name="Forma livre: Forma 87">
                    <a:extLst>
                      <a:ext uri="{FF2B5EF4-FFF2-40B4-BE49-F238E27FC236}">
                        <a16:creationId xmlns:a16="http://schemas.microsoft.com/office/drawing/2014/main" id="{EE2E6DDC-C25B-DC0B-51E0-18F060F25F33}"/>
                      </a:ext>
                    </a:extLst>
                  </p:cNvPr>
                  <p:cNvSpPr/>
                  <p:nvPr/>
                </p:nvSpPr>
                <p:spPr>
                  <a:xfrm>
                    <a:off x="2290649" y="2260479"/>
                    <a:ext cx="1198" cy="43638"/>
                  </a:xfrm>
                  <a:custGeom>
                    <a:avLst/>
                    <a:gdLst>
                      <a:gd name="connsiteX0" fmla="*/ 0 w 1198"/>
                      <a:gd name="connsiteY0" fmla="*/ 0 h 43638"/>
                      <a:gd name="connsiteX1" fmla="*/ 0 w 1198"/>
                      <a:gd name="connsiteY1" fmla="*/ 43638 h 4363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198" h="43638">
                        <a:moveTo>
                          <a:pt x="0" y="0"/>
                        </a:moveTo>
                        <a:lnTo>
                          <a:pt x="0" y="43638"/>
                        </a:lnTo>
                      </a:path>
                    </a:pathLst>
                  </a:custGeom>
                  <a:ln w="6350" cap="flat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89" name="Forma livre: Forma 88">
                    <a:extLst>
                      <a:ext uri="{FF2B5EF4-FFF2-40B4-BE49-F238E27FC236}">
                        <a16:creationId xmlns:a16="http://schemas.microsoft.com/office/drawing/2014/main" id="{676E147C-B368-60C8-DE77-13EE2CA9D562}"/>
                      </a:ext>
                    </a:extLst>
                  </p:cNvPr>
                  <p:cNvSpPr/>
                  <p:nvPr/>
                </p:nvSpPr>
                <p:spPr>
                  <a:xfrm>
                    <a:off x="2258106" y="2229553"/>
                    <a:ext cx="53355" cy="28409"/>
                  </a:xfrm>
                  <a:custGeom>
                    <a:avLst/>
                    <a:gdLst>
                      <a:gd name="connsiteX0" fmla="*/ 0 w 53355"/>
                      <a:gd name="connsiteY0" fmla="*/ 0 h 28409"/>
                      <a:gd name="connsiteX1" fmla="*/ 53356 w 53355"/>
                      <a:gd name="connsiteY1" fmla="*/ 0 h 28409"/>
                      <a:gd name="connsiteX2" fmla="*/ 53356 w 53355"/>
                      <a:gd name="connsiteY2" fmla="*/ 28409 h 28409"/>
                      <a:gd name="connsiteX3" fmla="*/ 0 w 53355"/>
                      <a:gd name="connsiteY3" fmla="*/ 28409 h 2840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53355" h="28409">
                        <a:moveTo>
                          <a:pt x="0" y="0"/>
                        </a:moveTo>
                        <a:lnTo>
                          <a:pt x="53356" y="0"/>
                        </a:lnTo>
                        <a:lnTo>
                          <a:pt x="53356" y="28409"/>
                        </a:lnTo>
                        <a:lnTo>
                          <a:pt x="0" y="28409"/>
                        </a:lnTo>
                      </a:path>
                    </a:pathLst>
                  </a:custGeom>
                  <a:noFill/>
                  <a:ln w="6350" cap="flat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</p:grpSp>
        </p:grpSp>
      </p:grpSp>
      <p:grpSp>
        <p:nvGrpSpPr>
          <p:cNvPr id="90" name="Gráfico 2">
            <a:extLst>
              <a:ext uri="{FF2B5EF4-FFF2-40B4-BE49-F238E27FC236}">
                <a16:creationId xmlns:a16="http://schemas.microsoft.com/office/drawing/2014/main" id="{2022DE3E-FD58-EA45-8B05-BBBAB56433B7}"/>
              </a:ext>
            </a:extLst>
          </p:cNvPr>
          <p:cNvGrpSpPr/>
          <p:nvPr/>
        </p:nvGrpSpPr>
        <p:grpSpPr>
          <a:xfrm>
            <a:off x="740081" y="1522794"/>
            <a:ext cx="366290" cy="339821"/>
            <a:chOff x="740081" y="1522794"/>
            <a:chExt cx="366290" cy="339821"/>
          </a:xfrm>
          <a:noFill/>
        </p:grpSpPr>
        <p:grpSp>
          <p:nvGrpSpPr>
            <p:cNvPr id="91" name="Gráfico 2">
              <a:extLst>
                <a:ext uri="{FF2B5EF4-FFF2-40B4-BE49-F238E27FC236}">
                  <a16:creationId xmlns:a16="http://schemas.microsoft.com/office/drawing/2014/main" id="{8FDB74AC-8735-96AE-E8B7-759E4B3F6886}"/>
                </a:ext>
              </a:extLst>
            </p:cNvPr>
            <p:cNvGrpSpPr/>
            <p:nvPr/>
          </p:nvGrpSpPr>
          <p:grpSpPr>
            <a:xfrm>
              <a:off x="740081" y="1522794"/>
              <a:ext cx="342457" cy="338839"/>
              <a:chOff x="740081" y="1522794"/>
              <a:chExt cx="342457" cy="338839"/>
            </a:xfrm>
            <a:noFill/>
          </p:grpSpPr>
          <p:sp>
            <p:nvSpPr>
              <p:cNvPr id="92" name="Forma livre: Forma 91">
                <a:extLst>
                  <a:ext uri="{FF2B5EF4-FFF2-40B4-BE49-F238E27FC236}">
                    <a16:creationId xmlns:a16="http://schemas.microsoft.com/office/drawing/2014/main" id="{B684B881-AB3C-70B0-AC42-6924AE66C5F0}"/>
                  </a:ext>
                </a:extLst>
              </p:cNvPr>
              <p:cNvSpPr/>
              <p:nvPr/>
            </p:nvSpPr>
            <p:spPr>
              <a:xfrm>
                <a:off x="785433" y="1734600"/>
                <a:ext cx="251742" cy="1198"/>
              </a:xfrm>
              <a:custGeom>
                <a:avLst/>
                <a:gdLst>
                  <a:gd name="connsiteX0" fmla="*/ 0 w 251742"/>
                  <a:gd name="connsiteY0" fmla="*/ 0 h 1198"/>
                  <a:gd name="connsiteX1" fmla="*/ 251742 w 251742"/>
                  <a:gd name="connsiteY1" fmla="*/ 0 h 11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51742" h="1198">
                    <a:moveTo>
                      <a:pt x="0" y="0"/>
                    </a:moveTo>
                    <a:lnTo>
                      <a:pt x="251742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3" name="Forma livre: Forma 92">
                <a:extLst>
                  <a:ext uri="{FF2B5EF4-FFF2-40B4-BE49-F238E27FC236}">
                    <a16:creationId xmlns:a16="http://schemas.microsoft.com/office/drawing/2014/main" id="{C6112E79-BADD-C8D5-C96C-8742AC49523A}"/>
                  </a:ext>
                </a:extLst>
              </p:cNvPr>
              <p:cNvSpPr/>
              <p:nvPr/>
            </p:nvSpPr>
            <p:spPr>
              <a:xfrm>
                <a:off x="841461" y="1695982"/>
                <a:ext cx="139686" cy="1198"/>
              </a:xfrm>
              <a:custGeom>
                <a:avLst/>
                <a:gdLst>
                  <a:gd name="connsiteX0" fmla="*/ 0 w 139686"/>
                  <a:gd name="connsiteY0" fmla="*/ 0 h 1198"/>
                  <a:gd name="connsiteX1" fmla="*/ 139686 w 139686"/>
                  <a:gd name="connsiteY1" fmla="*/ 0 h 11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39686" h="1198">
                    <a:moveTo>
                      <a:pt x="0" y="0"/>
                    </a:moveTo>
                    <a:lnTo>
                      <a:pt x="139686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94" name="Gráfico 2">
                <a:extLst>
                  <a:ext uri="{FF2B5EF4-FFF2-40B4-BE49-F238E27FC236}">
                    <a16:creationId xmlns:a16="http://schemas.microsoft.com/office/drawing/2014/main" id="{CA47FD2A-9387-FFD0-6DBE-4793E64C5B57}"/>
                  </a:ext>
                </a:extLst>
              </p:cNvPr>
              <p:cNvGrpSpPr/>
              <p:nvPr/>
            </p:nvGrpSpPr>
            <p:grpSpPr>
              <a:xfrm>
                <a:off x="828616" y="1778083"/>
                <a:ext cx="164405" cy="42452"/>
                <a:chOff x="828616" y="1778083"/>
                <a:chExt cx="164405" cy="42452"/>
              </a:xfrm>
            </p:grpSpPr>
            <p:sp>
              <p:nvSpPr>
                <p:cNvPr id="95" name="Forma livre: Forma 94">
                  <a:extLst>
                    <a:ext uri="{FF2B5EF4-FFF2-40B4-BE49-F238E27FC236}">
                      <a16:creationId xmlns:a16="http://schemas.microsoft.com/office/drawing/2014/main" id="{CC33898E-3B73-7830-8577-8AF7E32B767D}"/>
                    </a:ext>
                  </a:extLst>
                </p:cNvPr>
                <p:cNvSpPr/>
                <p:nvPr/>
              </p:nvSpPr>
              <p:spPr>
                <a:xfrm>
                  <a:off x="828616" y="1778083"/>
                  <a:ext cx="51678" cy="1198"/>
                </a:xfrm>
                <a:custGeom>
                  <a:avLst/>
                  <a:gdLst>
                    <a:gd name="connsiteX0" fmla="*/ 0 w 51678"/>
                    <a:gd name="connsiteY0" fmla="*/ 0 h 1198"/>
                    <a:gd name="connsiteX1" fmla="*/ 51678 w 51678"/>
                    <a:gd name="connsiteY1" fmla="*/ 0 h 11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51678" h="1198">
                      <a:moveTo>
                        <a:pt x="0" y="0"/>
                      </a:moveTo>
                      <a:lnTo>
                        <a:pt x="51678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96" name="Forma livre: Forma 95">
                  <a:extLst>
                    <a:ext uri="{FF2B5EF4-FFF2-40B4-BE49-F238E27FC236}">
                      <a16:creationId xmlns:a16="http://schemas.microsoft.com/office/drawing/2014/main" id="{837E863F-FF92-F89C-51AF-5D1780B2EFB9}"/>
                    </a:ext>
                  </a:extLst>
                </p:cNvPr>
                <p:cNvSpPr/>
                <p:nvPr/>
              </p:nvSpPr>
              <p:spPr>
                <a:xfrm>
                  <a:off x="828616" y="1820535"/>
                  <a:ext cx="51678" cy="1198"/>
                </a:xfrm>
                <a:custGeom>
                  <a:avLst/>
                  <a:gdLst>
                    <a:gd name="connsiteX0" fmla="*/ 0 w 51678"/>
                    <a:gd name="connsiteY0" fmla="*/ 0 h 1198"/>
                    <a:gd name="connsiteX1" fmla="*/ 51678 w 51678"/>
                    <a:gd name="connsiteY1" fmla="*/ 0 h 11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51678" h="1198">
                      <a:moveTo>
                        <a:pt x="0" y="0"/>
                      </a:moveTo>
                      <a:lnTo>
                        <a:pt x="51678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97" name="Forma livre: Forma 96">
                  <a:extLst>
                    <a:ext uri="{FF2B5EF4-FFF2-40B4-BE49-F238E27FC236}">
                      <a16:creationId xmlns:a16="http://schemas.microsoft.com/office/drawing/2014/main" id="{913F8EDE-7EE7-48EF-65F2-451AEF7A8A2F}"/>
                    </a:ext>
                  </a:extLst>
                </p:cNvPr>
                <p:cNvSpPr/>
                <p:nvPr/>
              </p:nvSpPr>
              <p:spPr>
                <a:xfrm>
                  <a:off x="942314" y="1778083"/>
                  <a:ext cx="50707" cy="1198"/>
                </a:xfrm>
                <a:custGeom>
                  <a:avLst/>
                  <a:gdLst>
                    <a:gd name="connsiteX0" fmla="*/ 0 w 50707"/>
                    <a:gd name="connsiteY0" fmla="*/ 0 h 1198"/>
                    <a:gd name="connsiteX1" fmla="*/ 50708 w 50707"/>
                    <a:gd name="connsiteY1" fmla="*/ 0 h 11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50707" h="1198">
                      <a:moveTo>
                        <a:pt x="0" y="0"/>
                      </a:moveTo>
                      <a:lnTo>
                        <a:pt x="50708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98" name="Forma livre: Forma 97">
                  <a:extLst>
                    <a:ext uri="{FF2B5EF4-FFF2-40B4-BE49-F238E27FC236}">
                      <a16:creationId xmlns:a16="http://schemas.microsoft.com/office/drawing/2014/main" id="{91F489B8-DFBC-45F1-E2A1-789EB60C3471}"/>
                    </a:ext>
                  </a:extLst>
                </p:cNvPr>
                <p:cNvSpPr/>
                <p:nvPr/>
              </p:nvSpPr>
              <p:spPr>
                <a:xfrm>
                  <a:off x="942314" y="1820535"/>
                  <a:ext cx="50707" cy="1198"/>
                </a:xfrm>
                <a:custGeom>
                  <a:avLst/>
                  <a:gdLst>
                    <a:gd name="connsiteX0" fmla="*/ 0 w 50707"/>
                    <a:gd name="connsiteY0" fmla="*/ 0 h 1198"/>
                    <a:gd name="connsiteX1" fmla="*/ 50708 w 50707"/>
                    <a:gd name="connsiteY1" fmla="*/ 0 h 11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50707" h="1198">
                      <a:moveTo>
                        <a:pt x="0" y="0"/>
                      </a:moveTo>
                      <a:lnTo>
                        <a:pt x="50708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99" name="Forma livre: Forma 98">
                <a:extLst>
                  <a:ext uri="{FF2B5EF4-FFF2-40B4-BE49-F238E27FC236}">
                    <a16:creationId xmlns:a16="http://schemas.microsoft.com/office/drawing/2014/main" id="{5E2DCA4D-97C9-F269-B47C-1E06FAB3747E}"/>
                  </a:ext>
                </a:extLst>
              </p:cNvPr>
              <p:cNvSpPr/>
              <p:nvPr/>
            </p:nvSpPr>
            <p:spPr>
              <a:xfrm>
                <a:off x="771582" y="1737895"/>
                <a:ext cx="40187" cy="40187"/>
              </a:xfrm>
              <a:custGeom>
                <a:avLst/>
                <a:gdLst>
                  <a:gd name="connsiteX0" fmla="*/ 40188 w 40187"/>
                  <a:gd name="connsiteY0" fmla="*/ 20094 h 40187"/>
                  <a:gd name="connsiteX1" fmla="*/ 20106 w 40187"/>
                  <a:gd name="connsiteY1" fmla="*/ 40188 h 40187"/>
                  <a:gd name="connsiteX2" fmla="*/ 0 w 40187"/>
                  <a:gd name="connsiteY2" fmla="*/ 20094 h 40187"/>
                  <a:gd name="connsiteX3" fmla="*/ 20106 w 40187"/>
                  <a:gd name="connsiteY3" fmla="*/ 0 h 40187"/>
                  <a:gd name="connsiteX4" fmla="*/ 40188 w 40187"/>
                  <a:gd name="connsiteY4" fmla="*/ 20094 h 401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0187" h="40187">
                    <a:moveTo>
                      <a:pt x="40188" y="20094"/>
                    </a:moveTo>
                    <a:cubicBezTo>
                      <a:pt x="40188" y="31201"/>
                      <a:pt x="31201" y="40188"/>
                      <a:pt x="20106" y="40188"/>
                    </a:cubicBezTo>
                    <a:cubicBezTo>
                      <a:pt x="9010" y="40188"/>
                      <a:pt x="0" y="31201"/>
                      <a:pt x="0" y="20094"/>
                    </a:cubicBezTo>
                    <a:cubicBezTo>
                      <a:pt x="0" y="8987"/>
                      <a:pt x="8998" y="0"/>
                      <a:pt x="20106" y="0"/>
                    </a:cubicBezTo>
                    <a:cubicBezTo>
                      <a:pt x="31213" y="0"/>
                      <a:pt x="40188" y="8987"/>
                      <a:pt x="40188" y="20094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00" name="Forma livre: Forma 99">
                <a:extLst>
                  <a:ext uri="{FF2B5EF4-FFF2-40B4-BE49-F238E27FC236}">
                    <a16:creationId xmlns:a16="http://schemas.microsoft.com/office/drawing/2014/main" id="{C541A6B5-C95A-7F5C-2BE3-2103364D8783}"/>
                  </a:ext>
                </a:extLst>
              </p:cNvPr>
              <p:cNvSpPr/>
              <p:nvPr/>
            </p:nvSpPr>
            <p:spPr>
              <a:xfrm>
                <a:off x="771582" y="1779617"/>
                <a:ext cx="40187" cy="40199"/>
              </a:xfrm>
              <a:custGeom>
                <a:avLst/>
                <a:gdLst>
                  <a:gd name="connsiteX0" fmla="*/ 40188 w 40187"/>
                  <a:gd name="connsiteY0" fmla="*/ 20094 h 40199"/>
                  <a:gd name="connsiteX1" fmla="*/ 20106 w 40187"/>
                  <a:gd name="connsiteY1" fmla="*/ 40200 h 40199"/>
                  <a:gd name="connsiteX2" fmla="*/ 0 w 40187"/>
                  <a:gd name="connsiteY2" fmla="*/ 20094 h 40199"/>
                  <a:gd name="connsiteX3" fmla="*/ 20106 w 40187"/>
                  <a:gd name="connsiteY3" fmla="*/ 0 h 40199"/>
                  <a:gd name="connsiteX4" fmla="*/ 40188 w 40187"/>
                  <a:gd name="connsiteY4" fmla="*/ 20094 h 401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0187" h="40199">
                    <a:moveTo>
                      <a:pt x="40188" y="20094"/>
                    </a:moveTo>
                    <a:cubicBezTo>
                      <a:pt x="40188" y="31201"/>
                      <a:pt x="31201" y="40200"/>
                      <a:pt x="20106" y="40200"/>
                    </a:cubicBezTo>
                    <a:cubicBezTo>
                      <a:pt x="9010" y="40200"/>
                      <a:pt x="0" y="31189"/>
                      <a:pt x="0" y="20094"/>
                    </a:cubicBezTo>
                    <a:cubicBezTo>
                      <a:pt x="0" y="8999"/>
                      <a:pt x="8998" y="0"/>
                      <a:pt x="20106" y="0"/>
                    </a:cubicBezTo>
                    <a:cubicBezTo>
                      <a:pt x="31213" y="0"/>
                      <a:pt x="40188" y="9010"/>
                      <a:pt x="40188" y="20094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01" name="Forma livre: Forma 100">
                <a:extLst>
                  <a:ext uri="{FF2B5EF4-FFF2-40B4-BE49-F238E27FC236}">
                    <a16:creationId xmlns:a16="http://schemas.microsoft.com/office/drawing/2014/main" id="{60CF8D43-E749-8642-4734-F1EE11518A67}"/>
                  </a:ext>
                </a:extLst>
              </p:cNvPr>
              <p:cNvSpPr/>
              <p:nvPr/>
            </p:nvSpPr>
            <p:spPr>
              <a:xfrm>
                <a:off x="771582" y="1821338"/>
                <a:ext cx="40187" cy="40199"/>
              </a:xfrm>
              <a:custGeom>
                <a:avLst/>
                <a:gdLst>
                  <a:gd name="connsiteX0" fmla="*/ 40188 w 40187"/>
                  <a:gd name="connsiteY0" fmla="*/ 20094 h 40199"/>
                  <a:gd name="connsiteX1" fmla="*/ 20106 w 40187"/>
                  <a:gd name="connsiteY1" fmla="*/ 40200 h 40199"/>
                  <a:gd name="connsiteX2" fmla="*/ 0 w 40187"/>
                  <a:gd name="connsiteY2" fmla="*/ 20094 h 40199"/>
                  <a:gd name="connsiteX3" fmla="*/ 20106 w 40187"/>
                  <a:gd name="connsiteY3" fmla="*/ 0 h 40199"/>
                  <a:gd name="connsiteX4" fmla="*/ 40188 w 40187"/>
                  <a:gd name="connsiteY4" fmla="*/ 20094 h 401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0187" h="40199">
                    <a:moveTo>
                      <a:pt x="40188" y="20094"/>
                    </a:moveTo>
                    <a:cubicBezTo>
                      <a:pt x="40188" y="31201"/>
                      <a:pt x="31201" y="40200"/>
                      <a:pt x="20106" y="40200"/>
                    </a:cubicBezTo>
                    <a:cubicBezTo>
                      <a:pt x="9010" y="40200"/>
                      <a:pt x="0" y="31201"/>
                      <a:pt x="0" y="20094"/>
                    </a:cubicBezTo>
                    <a:cubicBezTo>
                      <a:pt x="0" y="8987"/>
                      <a:pt x="8998" y="0"/>
                      <a:pt x="20106" y="0"/>
                    </a:cubicBezTo>
                    <a:cubicBezTo>
                      <a:pt x="31213" y="0"/>
                      <a:pt x="40188" y="8999"/>
                      <a:pt x="40188" y="20094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102" name="Gráfico 2">
                <a:extLst>
                  <a:ext uri="{FF2B5EF4-FFF2-40B4-BE49-F238E27FC236}">
                    <a16:creationId xmlns:a16="http://schemas.microsoft.com/office/drawing/2014/main" id="{467F537E-8C5F-E4CD-CC04-712A9C6493D6}"/>
                  </a:ext>
                </a:extLst>
              </p:cNvPr>
              <p:cNvGrpSpPr/>
              <p:nvPr/>
            </p:nvGrpSpPr>
            <p:grpSpPr>
              <a:xfrm>
                <a:off x="1010839" y="1737895"/>
                <a:ext cx="40187" cy="123642"/>
                <a:chOff x="1010839" y="1737895"/>
                <a:chExt cx="40187" cy="123642"/>
              </a:xfrm>
              <a:noFill/>
            </p:grpSpPr>
            <p:sp>
              <p:nvSpPr>
                <p:cNvPr id="103" name="Forma livre: Forma 102">
                  <a:extLst>
                    <a:ext uri="{FF2B5EF4-FFF2-40B4-BE49-F238E27FC236}">
                      <a16:creationId xmlns:a16="http://schemas.microsoft.com/office/drawing/2014/main" id="{E0E09034-3F2A-C54C-6CB6-0C93D0FC27A3}"/>
                    </a:ext>
                  </a:extLst>
                </p:cNvPr>
                <p:cNvSpPr/>
                <p:nvPr/>
              </p:nvSpPr>
              <p:spPr>
                <a:xfrm>
                  <a:off x="1010839" y="1737895"/>
                  <a:ext cx="40187" cy="40187"/>
                </a:xfrm>
                <a:custGeom>
                  <a:avLst/>
                  <a:gdLst>
                    <a:gd name="connsiteX0" fmla="*/ 40188 w 40187"/>
                    <a:gd name="connsiteY0" fmla="*/ 20094 h 40187"/>
                    <a:gd name="connsiteX1" fmla="*/ 20094 w 40187"/>
                    <a:gd name="connsiteY1" fmla="*/ 40188 h 40187"/>
                    <a:gd name="connsiteX2" fmla="*/ 0 w 40187"/>
                    <a:gd name="connsiteY2" fmla="*/ 20094 h 40187"/>
                    <a:gd name="connsiteX3" fmla="*/ 20094 w 40187"/>
                    <a:gd name="connsiteY3" fmla="*/ 0 h 40187"/>
                    <a:gd name="connsiteX4" fmla="*/ 40188 w 40187"/>
                    <a:gd name="connsiteY4" fmla="*/ 20094 h 401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40187" h="40187">
                      <a:moveTo>
                        <a:pt x="40188" y="20094"/>
                      </a:moveTo>
                      <a:cubicBezTo>
                        <a:pt x="40188" y="31201"/>
                        <a:pt x="31189" y="40188"/>
                        <a:pt x="20094" y="40188"/>
                      </a:cubicBezTo>
                      <a:cubicBezTo>
                        <a:pt x="8998" y="40188"/>
                        <a:pt x="0" y="31201"/>
                        <a:pt x="0" y="20094"/>
                      </a:cubicBezTo>
                      <a:cubicBezTo>
                        <a:pt x="0" y="8987"/>
                        <a:pt x="8998" y="0"/>
                        <a:pt x="20094" y="0"/>
                      </a:cubicBezTo>
                      <a:cubicBezTo>
                        <a:pt x="31189" y="0"/>
                        <a:pt x="40188" y="8987"/>
                        <a:pt x="40188" y="20094"/>
                      </a:cubicBezTo>
                      <a:close/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04" name="Forma livre: Forma 103">
                  <a:extLst>
                    <a:ext uri="{FF2B5EF4-FFF2-40B4-BE49-F238E27FC236}">
                      <a16:creationId xmlns:a16="http://schemas.microsoft.com/office/drawing/2014/main" id="{87237CD4-F78E-7267-6921-ABF27BA885DD}"/>
                    </a:ext>
                  </a:extLst>
                </p:cNvPr>
                <p:cNvSpPr/>
                <p:nvPr/>
              </p:nvSpPr>
              <p:spPr>
                <a:xfrm>
                  <a:off x="1010839" y="1779605"/>
                  <a:ext cx="40187" cy="40199"/>
                </a:xfrm>
                <a:custGeom>
                  <a:avLst/>
                  <a:gdLst>
                    <a:gd name="connsiteX0" fmla="*/ 40188 w 40187"/>
                    <a:gd name="connsiteY0" fmla="*/ 20106 h 40199"/>
                    <a:gd name="connsiteX1" fmla="*/ 20094 w 40187"/>
                    <a:gd name="connsiteY1" fmla="*/ 40200 h 40199"/>
                    <a:gd name="connsiteX2" fmla="*/ 0 w 40187"/>
                    <a:gd name="connsiteY2" fmla="*/ 20106 h 40199"/>
                    <a:gd name="connsiteX3" fmla="*/ 20094 w 40187"/>
                    <a:gd name="connsiteY3" fmla="*/ 0 h 40199"/>
                    <a:gd name="connsiteX4" fmla="*/ 40188 w 40187"/>
                    <a:gd name="connsiteY4" fmla="*/ 20106 h 4019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40187" h="40199">
                      <a:moveTo>
                        <a:pt x="40188" y="20106"/>
                      </a:moveTo>
                      <a:cubicBezTo>
                        <a:pt x="40188" y="31201"/>
                        <a:pt x="31189" y="40200"/>
                        <a:pt x="20094" y="40200"/>
                      </a:cubicBezTo>
                      <a:cubicBezTo>
                        <a:pt x="8998" y="40200"/>
                        <a:pt x="0" y="31189"/>
                        <a:pt x="0" y="20106"/>
                      </a:cubicBezTo>
                      <a:cubicBezTo>
                        <a:pt x="0" y="9022"/>
                        <a:pt x="8998" y="0"/>
                        <a:pt x="20094" y="0"/>
                      </a:cubicBezTo>
                      <a:cubicBezTo>
                        <a:pt x="31189" y="0"/>
                        <a:pt x="40188" y="9010"/>
                        <a:pt x="40188" y="20106"/>
                      </a:cubicBezTo>
                      <a:close/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05" name="Forma livre: Forma 104">
                  <a:extLst>
                    <a:ext uri="{FF2B5EF4-FFF2-40B4-BE49-F238E27FC236}">
                      <a16:creationId xmlns:a16="http://schemas.microsoft.com/office/drawing/2014/main" id="{91766F18-11BC-9080-4A4D-0E7FD48EDBB2}"/>
                    </a:ext>
                  </a:extLst>
                </p:cNvPr>
                <p:cNvSpPr/>
                <p:nvPr/>
              </p:nvSpPr>
              <p:spPr>
                <a:xfrm>
                  <a:off x="1010839" y="1821338"/>
                  <a:ext cx="40187" cy="40199"/>
                </a:xfrm>
                <a:custGeom>
                  <a:avLst/>
                  <a:gdLst>
                    <a:gd name="connsiteX0" fmla="*/ 40188 w 40187"/>
                    <a:gd name="connsiteY0" fmla="*/ 20094 h 40199"/>
                    <a:gd name="connsiteX1" fmla="*/ 20094 w 40187"/>
                    <a:gd name="connsiteY1" fmla="*/ 40200 h 40199"/>
                    <a:gd name="connsiteX2" fmla="*/ 0 w 40187"/>
                    <a:gd name="connsiteY2" fmla="*/ 20094 h 40199"/>
                    <a:gd name="connsiteX3" fmla="*/ 20094 w 40187"/>
                    <a:gd name="connsiteY3" fmla="*/ 0 h 40199"/>
                    <a:gd name="connsiteX4" fmla="*/ 40188 w 40187"/>
                    <a:gd name="connsiteY4" fmla="*/ 20094 h 4019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40187" h="40199">
                      <a:moveTo>
                        <a:pt x="40188" y="20094"/>
                      </a:moveTo>
                      <a:cubicBezTo>
                        <a:pt x="40188" y="31201"/>
                        <a:pt x="31189" y="40200"/>
                        <a:pt x="20094" y="40200"/>
                      </a:cubicBezTo>
                      <a:cubicBezTo>
                        <a:pt x="8998" y="40200"/>
                        <a:pt x="0" y="31201"/>
                        <a:pt x="0" y="20094"/>
                      </a:cubicBezTo>
                      <a:cubicBezTo>
                        <a:pt x="0" y="8987"/>
                        <a:pt x="8998" y="0"/>
                        <a:pt x="20094" y="0"/>
                      </a:cubicBezTo>
                      <a:cubicBezTo>
                        <a:pt x="31189" y="0"/>
                        <a:pt x="40188" y="8999"/>
                        <a:pt x="40188" y="20094"/>
                      </a:cubicBezTo>
                      <a:close/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106" name="Forma livre: Forma 105">
                <a:extLst>
                  <a:ext uri="{FF2B5EF4-FFF2-40B4-BE49-F238E27FC236}">
                    <a16:creationId xmlns:a16="http://schemas.microsoft.com/office/drawing/2014/main" id="{E4C2A9D9-1F78-EDCD-67C6-C4EDA58E02DA}"/>
                  </a:ext>
                </a:extLst>
              </p:cNvPr>
              <p:cNvSpPr/>
              <p:nvPr/>
            </p:nvSpPr>
            <p:spPr>
              <a:xfrm>
                <a:off x="881433" y="1762866"/>
                <a:ext cx="59742" cy="98767"/>
              </a:xfrm>
              <a:custGeom>
                <a:avLst/>
                <a:gdLst>
                  <a:gd name="connsiteX0" fmla="*/ 59742 w 59742"/>
                  <a:gd name="connsiteY0" fmla="*/ 98768 h 98767"/>
                  <a:gd name="connsiteX1" fmla="*/ 59742 w 59742"/>
                  <a:gd name="connsiteY1" fmla="*/ 0 h 98767"/>
                  <a:gd name="connsiteX2" fmla="*/ 0 w 59742"/>
                  <a:gd name="connsiteY2" fmla="*/ 0 h 98767"/>
                  <a:gd name="connsiteX3" fmla="*/ 0 w 59742"/>
                  <a:gd name="connsiteY3" fmla="*/ 98768 h 987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9742" h="98767">
                    <a:moveTo>
                      <a:pt x="59742" y="98768"/>
                    </a:moveTo>
                    <a:lnTo>
                      <a:pt x="59742" y="0"/>
                    </a:lnTo>
                    <a:lnTo>
                      <a:pt x="0" y="0"/>
                    </a:lnTo>
                    <a:lnTo>
                      <a:pt x="0" y="98768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07" name="Forma livre: Forma 106">
                <a:extLst>
                  <a:ext uri="{FF2B5EF4-FFF2-40B4-BE49-F238E27FC236}">
                    <a16:creationId xmlns:a16="http://schemas.microsoft.com/office/drawing/2014/main" id="{E48BE350-FD28-5974-86F1-ABC28B6EA7C7}"/>
                  </a:ext>
                </a:extLst>
              </p:cNvPr>
              <p:cNvSpPr/>
              <p:nvPr/>
            </p:nvSpPr>
            <p:spPr>
              <a:xfrm>
                <a:off x="791412" y="1631747"/>
                <a:ext cx="35874" cy="39025"/>
              </a:xfrm>
              <a:custGeom>
                <a:avLst/>
                <a:gdLst>
                  <a:gd name="connsiteX0" fmla="*/ 35874 w 35874"/>
                  <a:gd name="connsiteY0" fmla="*/ 39025 h 39025"/>
                  <a:gd name="connsiteX1" fmla="*/ 35874 w 35874"/>
                  <a:gd name="connsiteY1" fmla="*/ 0 h 39025"/>
                  <a:gd name="connsiteX2" fmla="*/ 0 w 35874"/>
                  <a:gd name="connsiteY2" fmla="*/ 0 h 39025"/>
                  <a:gd name="connsiteX3" fmla="*/ 0 w 35874"/>
                  <a:gd name="connsiteY3" fmla="*/ 38858 h 390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5874" h="39025">
                    <a:moveTo>
                      <a:pt x="35874" y="39025"/>
                    </a:moveTo>
                    <a:lnTo>
                      <a:pt x="35874" y="0"/>
                    </a:lnTo>
                    <a:lnTo>
                      <a:pt x="0" y="0"/>
                    </a:lnTo>
                    <a:lnTo>
                      <a:pt x="0" y="38858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08" name="Forma livre: Forma 107">
                <a:extLst>
                  <a:ext uri="{FF2B5EF4-FFF2-40B4-BE49-F238E27FC236}">
                    <a16:creationId xmlns:a16="http://schemas.microsoft.com/office/drawing/2014/main" id="{4E9D7AEA-B9EA-0E11-9B2D-3B2C7FC36A75}"/>
                  </a:ext>
                </a:extLst>
              </p:cNvPr>
              <p:cNvSpPr/>
              <p:nvPr/>
            </p:nvSpPr>
            <p:spPr>
              <a:xfrm>
                <a:off x="785086" y="1522794"/>
                <a:ext cx="94406" cy="85539"/>
              </a:xfrm>
              <a:custGeom>
                <a:avLst/>
                <a:gdLst>
                  <a:gd name="connsiteX0" fmla="*/ 94406 w 94406"/>
                  <a:gd name="connsiteY0" fmla="*/ 0 h 85539"/>
                  <a:gd name="connsiteX1" fmla="*/ 17781 w 94406"/>
                  <a:gd name="connsiteY1" fmla="*/ 0 h 85539"/>
                  <a:gd name="connsiteX2" fmla="*/ 0 w 94406"/>
                  <a:gd name="connsiteY2" fmla="*/ 18548 h 85539"/>
                  <a:gd name="connsiteX3" fmla="*/ 17781 w 94406"/>
                  <a:gd name="connsiteY3" fmla="*/ 37072 h 85539"/>
                  <a:gd name="connsiteX4" fmla="*/ 52122 w 94406"/>
                  <a:gd name="connsiteY4" fmla="*/ 37072 h 85539"/>
                  <a:gd name="connsiteX5" fmla="*/ 65949 w 94406"/>
                  <a:gd name="connsiteY5" fmla="*/ 51295 h 85539"/>
                  <a:gd name="connsiteX6" fmla="*/ 52122 w 94406"/>
                  <a:gd name="connsiteY6" fmla="*/ 65578 h 85539"/>
                  <a:gd name="connsiteX7" fmla="*/ 37048 w 94406"/>
                  <a:gd name="connsiteY7" fmla="*/ 65578 h 85539"/>
                  <a:gd name="connsiteX8" fmla="*/ 23221 w 94406"/>
                  <a:gd name="connsiteY8" fmla="*/ 79417 h 85539"/>
                  <a:gd name="connsiteX9" fmla="*/ 23221 w 94406"/>
                  <a:gd name="connsiteY9" fmla="*/ 85540 h 855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94406" h="85539">
                    <a:moveTo>
                      <a:pt x="94406" y="0"/>
                    </a:moveTo>
                    <a:lnTo>
                      <a:pt x="17781" y="0"/>
                    </a:lnTo>
                    <a:cubicBezTo>
                      <a:pt x="7992" y="0"/>
                      <a:pt x="0" y="8747"/>
                      <a:pt x="0" y="18548"/>
                    </a:cubicBezTo>
                    <a:cubicBezTo>
                      <a:pt x="0" y="28349"/>
                      <a:pt x="7992" y="37072"/>
                      <a:pt x="17781" y="37072"/>
                    </a:cubicBezTo>
                    <a:lnTo>
                      <a:pt x="52122" y="37072"/>
                    </a:lnTo>
                    <a:cubicBezTo>
                      <a:pt x="59718" y="37072"/>
                      <a:pt x="65949" y="43686"/>
                      <a:pt x="65949" y="51295"/>
                    </a:cubicBezTo>
                    <a:cubicBezTo>
                      <a:pt x="65949" y="58904"/>
                      <a:pt x="59718" y="65578"/>
                      <a:pt x="52122" y="65578"/>
                    </a:cubicBezTo>
                    <a:lnTo>
                      <a:pt x="37048" y="65578"/>
                    </a:lnTo>
                    <a:cubicBezTo>
                      <a:pt x="29440" y="65578"/>
                      <a:pt x="23221" y="71808"/>
                      <a:pt x="23221" y="79417"/>
                    </a:cubicBezTo>
                    <a:lnTo>
                      <a:pt x="23221" y="85540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09" name="Forma livre: Forma 108">
                <a:extLst>
                  <a:ext uri="{FF2B5EF4-FFF2-40B4-BE49-F238E27FC236}">
                    <a16:creationId xmlns:a16="http://schemas.microsoft.com/office/drawing/2014/main" id="{85F5F9BF-1B2F-8030-B1D8-19661A24D995}"/>
                  </a:ext>
                </a:extLst>
              </p:cNvPr>
              <p:cNvSpPr/>
              <p:nvPr/>
            </p:nvSpPr>
            <p:spPr>
              <a:xfrm>
                <a:off x="740081" y="1620352"/>
                <a:ext cx="342457" cy="129094"/>
              </a:xfrm>
              <a:custGeom>
                <a:avLst/>
                <a:gdLst>
                  <a:gd name="connsiteX0" fmla="*/ 342458 w 342457"/>
                  <a:gd name="connsiteY0" fmla="*/ 105993 h 129094"/>
                  <a:gd name="connsiteX1" fmla="*/ 171223 w 342457"/>
                  <a:gd name="connsiteY1" fmla="*/ 0 h 129094"/>
                  <a:gd name="connsiteX2" fmla="*/ 0 w 342457"/>
                  <a:gd name="connsiteY2" fmla="*/ 105993 h 129094"/>
                  <a:gd name="connsiteX3" fmla="*/ 14283 w 342457"/>
                  <a:gd name="connsiteY3" fmla="*/ 129094 h 129094"/>
                  <a:gd name="connsiteX4" fmla="*/ 171223 w 342457"/>
                  <a:gd name="connsiteY4" fmla="*/ 31956 h 129094"/>
                  <a:gd name="connsiteX5" fmla="*/ 328163 w 342457"/>
                  <a:gd name="connsiteY5" fmla="*/ 129082 h 129094"/>
                  <a:gd name="connsiteX6" fmla="*/ 342458 w 342457"/>
                  <a:gd name="connsiteY6" fmla="*/ 105993 h 1290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42457" h="129094">
                    <a:moveTo>
                      <a:pt x="342458" y="105993"/>
                    </a:moveTo>
                    <a:lnTo>
                      <a:pt x="171223" y="0"/>
                    </a:lnTo>
                    <a:lnTo>
                      <a:pt x="0" y="105993"/>
                    </a:lnTo>
                    <a:lnTo>
                      <a:pt x="14283" y="129094"/>
                    </a:lnTo>
                    <a:lnTo>
                      <a:pt x="171223" y="31956"/>
                    </a:lnTo>
                    <a:lnTo>
                      <a:pt x="328163" y="129082"/>
                    </a:lnTo>
                    <a:lnTo>
                      <a:pt x="342458" y="105993"/>
                    </a:ln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10" name="Gráfico 2">
              <a:extLst>
                <a:ext uri="{FF2B5EF4-FFF2-40B4-BE49-F238E27FC236}">
                  <a16:creationId xmlns:a16="http://schemas.microsoft.com/office/drawing/2014/main" id="{CCB6FB2E-B722-A9FA-F095-0E8DBECA8F51}"/>
                </a:ext>
              </a:extLst>
            </p:cNvPr>
            <p:cNvGrpSpPr/>
            <p:nvPr/>
          </p:nvGrpSpPr>
          <p:grpSpPr>
            <a:xfrm>
              <a:off x="756413" y="1862616"/>
              <a:ext cx="349958" cy="1198"/>
              <a:chOff x="756413" y="1862616"/>
              <a:chExt cx="349958" cy="1198"/>
            </a:xfrm>
          </p:grpSpPr>
          <p:sp>
            <p:nvSpPr>
              <p:cNvPr id="111" name="Forma livre: Forma 110">
                <a:extLst>
                  <a:ext uri="{FF2B5EF4-FFF2-40B4-BE49-F238E27FC236}">
                    <a16:creationId xmlns:a16="http://schemas.microsoft.com/office/drawing/2014/main" id="{15808C5E-1B03-15C2-7EDB-84CABCDDCD2C}"/>
                  </a:ext>
                </a:extLst>
              </p:cNvPr>
              <p:cNvSpPr/>
              <p:nvPr/>
            </p:nvSpPr>
            <p:spPr>
              <a:xfrm>
                <a:off x="756413" y="1862616"/>
                <a:ext cx="311208" cy="1198"/>
              </a:xfrm>
              <a:custGeom>
                <a:avLst/>
                <a:gdLst>
                  <a:gd name="connsiteX0" fmla="*/ 0 w 311208"/>
                  <a:gd name="connsiteY0" fmla="*/ 0 h 1198"/>
                  <a:gd name="connsiteX1" fmla="*/ 311209 w 311208"/>
                  <a:gd name="connsiteY1" fmla="*/ 0 h 11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11208" h="1198">
                    <a:moveTo>
                      <a:pt x="0" y="0"/>
                    </a:moveTo>
                    <a:lnTo>
                      <a:pt x="311209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12" name="Forma livre: Forma 111">
                <a:extLst>
                  <a:ext uri="{FF2B5EF4-FFF2-40B4-BE49-F238E27FC236}">
                    <a16:creationId xmlns:a16="http://schemas.microsoft.com/office/drawing/2014/main" id="{EB07FD59-1BDA-09AF-C3AE-FAC8198D80DF}"/>
                  </a:ext>
                </a:extLst>
              </p:cNvPr>
              <p:cNvSpPr/>
              <p:nvPr/>
            </p:nvSpPr>
            <p:spPr>
              <a:xfrm>
                <a:off x="1089800" y="1862616"/>
                <a:ext cx="16571" cy="1198"/>
              </a:xfrm>
              <a:custGeom>
                <a:avLst/>
                <a:gdLst>
                  <a:gd name="connsiteX0" fmla="*/ 0 w 16571"/>
                  <a:gd name="connsiteY0" fmla="*/ 0 h 1198"/>
                  <a:gd name="connsiteX1" fmla="*/ 16571 w 16571"/>
                  <a:gd name="connsiteY1" fmla="*/ 0 h 11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6571" h="1198">
                    <a:moveTo>
                      <a:pt x="0" y="0"/>
                    </a:moveTo>
                    <a:lnTo>
                      <a:pt x="16571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13" name="Gráfico 2">
            <a:extLst>
              <a:ext uri="{FF2B5EF4-FFF2-40B4-BE49-F238E27FC236}">
                <a16:creationId xmlns:a16="http://schemas.microsoft.com/office/drawing/2014/main" id="{DEA10544-B8A8-4C0B-54B6-0833E98BE77A}"/>
              </a:ext>
            </a:extLst>
          </p:cNvPr>
          <p:cNvGrpSpPr/>
          <p:nvPr/>
        </p:nvGrpSpPr>
        <p:grpSpPr>
          <a:xfrm>
            <a:off x="1345820" y="1577348"/>
            <a:ext cx="402847" cy="285267"/>
            <a:chOff x="1345820" y="1577348"/>
            <a:chExt cx="402847" cy="285267"/>
          </a:xfrm>
          <a:noFill/>
        </p:grpSpPr>
        <p:sp>
          <p:nvSpPr>
            <p:cNvPr id="114" name="Forma livre: Forma 113">
              <a:extLst>
                <a:ext uri="{FF2B5EF4-FFF2-40B4-BE49-F238E27FC236}">
                  <a16:creationId xmlns:a16="http://schemas.microsoft.com/office/drawing/2014/main" id="{8F7A7EF2-7A9C-9657-D475-CA2B2A055DC9}"/>
                </a:ext>
              </a:extLst>
            </p:cNvPr>
            <p:cNvSpPr/>
            <p:nvPr/>
          </p:nvSpPr>
          <p:spPr>
            <a:xfrm>
              <a:off x="1733630" y="1862616"/>
              <a:ext cx="15037" cy="1198"/>
            </a:xfrm>
            <a:custGeom>
              <a:avLst/>
              <a:gdLst>
                <a:gd name="connsiteX0" fmla="*/ 0 w 15037"/>
                <a:gd name="connsiteY0" fmla="*/ 0 h 1198"/>
                <a:gd name="connsiteX1" fmla="*/ 15037 w 15037"/>
                <a:gd name="connsiteY1" fmla="*/ 0 h 11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037" h="1198">
                  <a:moveTo>
                    <a:pt x="0" y="0"/>
                  </a:moveTo>
                  <a:lnTo>
                    <a:pt x="15037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5" name="Forma livre: Forma 114">
              <a:extLst>
                <a:ext uri="{FF2B5EF4-FFF2-40B4-BE49-F238E27FC236}">
                  <a16:creationId xmlns:a16="http://schemas.microsoft.com/office/drawing/2014/main" id="{017B165F-E644-ABEC-D1FF-4DFC3965CF7E}"/>
                </a:ext>
              </a:extLst>
            </p:cNvPr>
            <p:cNvSpPr/>
            <p:nvPr/>
          </p:nvSpPr>
          <p:spPr>
            <a:xfrm>
              <a:off x="1345820" y="1862616"/>
              <a:ext cx="365607" cy="1198"/>
            </a:xfrm>
            <a:custGeom>
              <a:avLst/>
              <a:gdLst>
                <a:gd name="connsiteX0" fmla="*/ 0 w 365607"/>
                <a:gd name="connsiteY0" fmla="*/ 0 h 1198"/>
                <a:gd name="connsiteX1" fmla="*/ 365607 w 365607"/>
                <a:gd name="connsiteY1" fmla="*/ 0 h 11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65607" h="1198">
                  <a:moveTo>
                    <a:pt x="0" y="0"/>
                  </a:moveTo>
                  <a:lnTo>
                    <a:pt x="365607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16" name="Gráfico 2">
              <a:extLst>
                <a:ext uri="{FF2B5EF4-FFF2-40B4-BE49-F238E27FC236}">
                  <a16:creationId xmlns:a16="http://schemas.microsoft.com/office/drawing/2014/main" id="{F038B123-AE5F-D5E4-79A7-71931D2A50D4}"/>
                </a:ext>
              </a:extLst>
            </p:cNvPr>
            <p:cNvGrpSpPr/>
            <p:nvPr/>
          </p:nvGrpSpPr>
          <p:grpSpPr>
            <a:xfrm>
              <a:off x="1363050" y="1669035"/>
              <a:ext cx="331146" cy="192598"/>
              <a:chOff x="1363050" y="1669035"/>
              <a:chExt cx="331146" cy="192598"/>
            </a:xfrm>
            <a:noFill/>
          </p:grpSpPr>
          <p:grpSp>
            <p:nvGrpSpPr>
              <p:cNvPr id="117" name="Gráfico 2">
                <a:extLst>
                  <a:ext uri="{FF2B5EF4-FFF2-40B4-BE49-F238E27FC236}">
                    <a16:creationId xmlns:a16="http://schemas.microsoft.com/office/drawing/2014/main" id="{5590255A-593F-A62F-D74D-9FE62B38849D}"/>
                  </a:ext>
                </a:extLst>
              </p:cNvPr>
              <p:cNvGrpSpPr/>
              <p:nvPr/>
            </p:nvGrpSpPr>
            <p:grpSpPr>
              <a:xfrm>
                <a:off x="1363050" y="1669035"/>
                <a:ext cx="58424" cy="192598"/>
                <a:chOff x="1363050" y="1669035"/>
                <a:chExt cx="58424" cy="192598"/>
              </a:xfrm>
              <a:noFill/>
            </p:grpSpPr>
            <p:sp>
              <p:nvSpPr>
                <p:cNvPr id="118" name="Forma livre: Forma 117">
                  <a:extLst>
                    <a:ext uri="{FF2B5EF4-FFF2-40B4-BE49-F238E27FC236}">
                      <a16:creationId xmlns:a16="http://schemas.microsoft.com/office/drawing/2014/main" id="{F216D627-C8EA-158F-288B-98826194B911}"/>
                    </a:ext>
                  </a:extLst>
                </p:cNvPr>
                <p:cNvSpPr/>
                <p:nvPr/>
              </p:nvSpPr>
              <p:spPr>
                <a:xfrm>
                  <a:off x="1363050" y="1669035"/>
                  <a:ext cx="58424" cy="173918"/>
                </a:xfrm>
                <a:custGeom>
                  <a:avLst/>
                  <a:gdLst>
                    <a:gd name="connsiteX0" fmla="*/ 0 w 58424"/>
                    <a:gd name="connsiteY0" fmla="*/ 173919 h 173918"/>
                    <a:gd name="connsiteX1" fmla="*/ 0 w 58424"/>
                    <a:gd name="connsiteY1" fmla="*/ 0 h 173918"/>
                    <a:gd name="connsiteX2" fmla="*/ 58424 w 58424"/>
                    <a:gd name="connsiteY2" fmla="*/ 0 h 17391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58424" h="173918">
                      <a:moveTo>
                        <a:pt x="0" y="173919"/>
                      </a:moveTo>
                      <a:lnTo>
                        <a:pt x="0" y="0"/>
                      </a:lnTo>
                      <a:lnTo>
                        <a:pt x="58424" y="0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grpSp>
              <p:nvGrpSpPr>
                <p:cNvPr id="119" name="Gráfico 2">
                  <a:extLst>
                    <a:ext uri="{FF2B5EF4-FFF2-40B4-BE49-F238E27FC236}">
                      <a16:creationId xmlns:a16="http://schemas.microsoft.com/office/drawing/2014/main" id="{5BD690E8-CF6B-48AB-4811-058FF00461BB}"/>
                    </a:ext>
                  </a:extLst>
                </p:cNvPr>
                <p:cNvGrpSpPr/>
                <p:nvPr/>
              </p:nvGrpSpPr>
              <p:grpSpPr>
                <a:xfrm>
                  <a:off x="1415423" y="1697324"/>
                  <a:ext cx="1198" cy="164309"/>
                  <a:chOff x="1415423" y="1697324"/>
                  <a:chExt cx="1198" cy="164309"/>
                </a:xfrm>
              </p:grpSpPr>
              <p:sp>
                <p:nvSpPr>
                  <p:cNvPr id="120" name="Forma livre: Forma 119">
                    <a:extLst>
                      <a:ext uri="{FF2B5EF4-FFF2-40B4-BE49-F238E27FC236}">
                        <a16:creationId xmlns:a16="http://schemas.microsoft.com/office/drawing/2014/main" id="{2F5BAB13-E127-C5C5-55C7-3A574ECAEA24}"/>
                      </a:ext>
                    </a:extLst>
                  </p:cNvPr>
                  <p:cNvSpPr/>
                  <p:nvPr/>
                </p:nvSpPr>
                <p:spPr>
                  <a:xfrm>
                    <a:off x="1415423" y="1790293"/>
                    <a:ext cx="1198" cy="23676"/>
                  </a:xfrm>
                  <a:custGeom>
                    <a:avLst/>
                    <a:gdLst>
                      <a:gd name="connsiteX0" fmla="*/ 0 w 1198"/>
                      <a:gd name="connsiteY0" fmla="*/ 0 h 23676"/>
                      <a:gd name="connsiteX1" fmla="*/ 0 w 1198"/>
                      <a:gd name="connsiteY1" fmla="*/ 23676 h 2367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198" h="23676">
                        <a:moveTo>
                          <a:pt x="0" y="0"/>
                        </a:moveTo>
                        <a:lnTo>
                          <a:pt x="0" y="23676"/>
                        </a:lnTo>
                      </a:path>
                    </a:pathLst>
                  </a:custGeom>
                  <a:ln w="6350" cap="flat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121" name="Forma livre: Forma 120">
                    <a:extLst>
                      <a:ext uri="{FF2B5EF4-FFF2-40B4-BE49-F238E27FC236}">
                        <a16:creationId xmlns:a16="http://schemas.microsoft.com/office/drawing/2014/main" id="{B7D2AE1C-4BD2-A465-A94F-C0C3057F0E6A}"/>
                      </a:ext>
                    </a:extLst>
                  </p:cNvPr>
                  <p:cNvSpPr/>
                  <p:nvPr/>
                </p:nvSpPr>
                <p:spPr>
                  <a:xfrm>
                    <a:off x="1415423" y="1743802"/>
                    <a:ext cx="1198" cy="23688"/>
                  </a:xfrm>
                  <a:custGeom>
                    <a:avLst/>
                    <a:gdLst>
                      <a:gd name="connsiteX0" fmla="*/ 0 w 1198"/>
                      <a:gd name="connsiteY0" fmla="*/ 0 h 23688"/>
                      <a:gd name="connsiteX1" fmla="*/ 0 w 1198"/>
                      <a:gd name="connsiteY1" fmla="*/ 23688 h 2368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198" h="23688">
                        <a:moveTo>
                          <a:pt x="0" y="0"/>
                        </a:moveTo>
                        <a:lnTo>
                          <a:pt x="0" y="23688"/>
                        </a:lnTo>
                      </a:path>
                    </a:pathLst>
                  </a:custGeom>
                  <a:ln w="6350" cap="flat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122" name="Forma livre: Forma 121">
                    <a:extLst>
                      <a:ext uri="{FF2B5EF4-FFF2-40B4-BE49-F238E27FC236}">
                        <a16:creationId xmlns:a16="http://schemas.microsoft.com/office/drawing/2014/main" id="{32299C1C-CCCB-55CF-FBFC-1EE90C79C35F}"/>
                      </a:ext>
                    </a:extLst>
                  </p:cNvPr>
                  <p:cNvSpPr/>
                  <p:nvPr/>
                </p:nvSpPr>
                <p:spPr>
                  <a:xfrm>
                    <a:off x="1415423" y="1697324"/>
                    <a:ext cx="1198" cy="23676"/>
                  </a:xfrm>
                  <a:custGeom>
                    <a:avLst/>
                    <a:gdLst>
                      <a:gd name="connsiteX0" fmla="*/ 0 w 1198"/>
                      <a:gd name="connsiteY0" fmla="*/ 0 h 23676"/>
                      <a:gd name="connsiteX1" fmla="*/ 0 w 1198"/>
                      <a:gd name="connsiteY1" fmla="*/ 23676 h 2367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198" h="23676">
                        <a:moveTo>
                          <a:pt x="0" y="0"/>
                        </a:moveTo>
                        <a:lnTo>
                          <a:pt x="0" y="23676"/>
                        </a:lnTo>
                      </a:path>
                    </a:pathLst>
                  </a:custGeom>
                  <a:ln w="6350" cap="flat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123" name="Forma livre: Forma 122">
                    <a:extLst>
                      <a:ext uri="{FF2B5EF4-FFF2-40B4-BE49-F238E27FC236}">
                        <a16:creationId xmlns:a16="http://schemas.microsoft.com/office/drawing/2014/main" id="{EF6AAC7E-3F0E-C925-99AB-B57F225C692B}"/>
                      </a:ext>
                    </a:extLst>
                  </p:cNvPr>
                  <p:cNvSpPr/>
                  <p:nvPr/>
                </p:nvSpPr>
                <p:spPr>
                  <a:xfrm>
                    <a:off x="1415423" y="1835573"/>
                    <a:ext cx="1198" cy="26060"/>
                  </a:xfrm>
                  <a:custGeom>
                    <a:avLst/>
                    <a:gdLst>
                      <a:gd name="connsiteX0" fmla="*/ 0 w 1198"/>
                      <a:gd name="connsiteY0" fmla="*/ 0 h 26060"/>
                      <a:gd name="connsiteX1" fmla="*/ 0 w 1198"/>
                      <a:gd name="connsiteY1" fmla="*/ 26061 h 2606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198" h="26060">
                        <a:moveTo>
                          <a:pt x="0" y="0"/>
                        </a:moveTo>
                        <a:lnTo>
                          <a:pt x="0" y="26061"/>
                        </a:lnTo>
                      </a:path>
                    </a:pathLst>
                  </a:custGeom>
                  <a:ln w="6350" cap="flat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  <p:grpSp>
              <p:nvGrpSpPr>
                <p:cNvPr id="124" name="Gráfico 2">
                  <a:extLst>
                    <a:ext uri="{FF2B5EF4-FFF2-40B4-BE49-F238E27FC236}">
                      <a16:creationId xmlns:a16="http://schemas.microsoft.com/office/drawing/2014/main" id="{197C71B1-2E95-F361-9AC5-906C022959AC}"/>
                    </a:ext>
                  </a:extLst>
                </p:cNvPr>
                <p:cNvGrpSpPr/>
                <p:nvPr/>
              </p:nvGrpSpPr>
              <p:grpSpPr>
                <a:xfrm>
                  <a:off x="1389159" y="1697324"/>
                  <a:ext cx="1198" cy="164309"/>
                  <a:chOff x="1389159" y="1697324"/>
                  <a:chExt cx="1198" cy="164309"/>
                </a:xfrm>
              </p:grpSpPr>
              <p:sp>
                <p:nvSpPr>
                  <p:cNvPr id="125" name="Forma livre: Forma 124">
                    <a:extLst>
                      <a:ext uri="{FF2B5EF4-FFF2-40B4-BE49-F238E27FC236}">
                        <a16:creationId xmlns:a16="http://schemas.microsoft.com/office/drawing/2014/main" id="{B66CCF89-FEA9-23DD-F4B1-AB5D857AD17B}"/>
                      </a:ext>
                    </a:extLst>
                  </p:cNvPr>
                  <p:cNvSpPr/>
                  <p:nvPr/>
                </p:nvSpPr>
                <p:spPr>
                  <a:xfrm>
                    <a:off x="1389159" y="1790293"/>
                    <a:ext cx="1198" cy="23676"/>
                  </a:xfrm>
                  <a:custGeom>
                    <a:avLst/>
                    <a:gdLst>
                      <a:gd name="connsiteX0" fmla="*/ 0 w 1198"/>
                      <a:gd name="connsiteY0" fmla="*/ 0 h 23676"/>
                      <a:gd name="connsiteX1" fmla="*/ 0 w 1198"/>
                      <a:gd name="connsiteY1" fmla="*/ 23676 h 2367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198" h="23676">
                        <a:moveTo>
                          <a:pt x="0" y="0"/>
                        </a:moveTo>
                        <a:lnTo>
                          <a:pt x="0" y="23676"/>
                        </a:lnTo>
                      </a:path>
                    </a:pathLst>
                  </a:custGeom>
                  <a:ln w="6350" cap="flat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126" name="Forma livre: Forma 125">
                    <a:extLst>
                      <a:ext uri="{FF2B5EF4-FFF2-40B4-BE49-F238E27FC236}">
                        <a16:creationId xmlns:a16="http://schemas.microsoft.com/office/drawing/2014/main" id="{81594CAA-82B4-7557-970C-AADA6FA3F433}"/>
                      </a:ext>
                    </a:extLst>
                  </p:cNvPr>
                  <p:cNvSpPr/>
                  <p:nvPr/>
                </p:nvSpPr>
                <p:spPr>
                  <a:xfrm>
                    <a:off x="1389159" y="1743802"/>
                    <a:ext cx="1198" cy="23688"/>
                  </a:xfrm>
                  <a:custGeom>
                    <a:avLst/>
                    <a:gdLst>
                      <a:gd name="connsiteX0" fmla="*/ 0 w 1198"/>
                      <a:gd name="connsiteY0" fmla="*/ 0 h 23688"/>
                      <a:gd name="connsiteX1" fmla="*/ 0 w 1198"/>
                      <a:gd name="connsiteY1" fmla="*/ 23688 h 2368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198" h="23688">
                        <a:moveTo>
                          <a:pt x="0" y="0"/>
                        </a:moveTo>
                        <a:lnTo>
                          <a:pt x="0" y="23688"/>
                        </a:lnTo>
                      </a:path>
                    </a:pathLst>
                  </a:custGeom>
                  <a:ln w="6350" cap="flat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127" name="Forma livre: Forma 126">
                    <a:extLst>
                      <a:ext uri="{FF2B5EF4-FFF2-40B4-BE49-F238E27FC236}">
                        <a16:creationId xmlns:a16="http://schemas.microsoft.com/office/drawing/2014/main" id="{63DD1D04-C16C-2144-F0B5-7842287E761B}"/>
                      </a:ext>
                    </a:extLst>
                  </p:cNvPr>
                  <p:cNvSpPr/>
                  <p:nvPr/>
                </p:nvSpPr>
                <p:spPr>
                  <a:xfrm>
                    <a:off x="1389159" y="1697324"/>
                    <a:ext cx="1198" cy="23676"/>
                  </a:xfrm>
                  <a:custGeom>
                    <a:avLst/>
                    <a:gdLst>
                      <a:gd name="connsiteX0" fmla="*/ 0 w 1198"/>
                      <a:gd name="connsiteY0" fmla="*/ 0 h 23676"/>
                      <a:gd name="connsiteX1" fmla="*/ 0 w 1198"/>
                      <a:gd name="connsiteY1" fmla="*/ 23676 h 2367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198" h="23676">
                        <a:moveTo>
                          <a:pt x="0" y="0"/>
                        </a:moveTo>
                        <a:lnTo>
                          <a:pt x="0" y="23676"/>
                        </a:lnTo>
                      </a:path>
                    </a:pathLst>
                  </a:custGeom>
                  <a:ln w="6350" cap="flat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128" name="Forma livre: Forma 127">
                    <a:extLst>
                      <a:ext uri="{FF2B5EF4-FFF2-40B4-BE49-F238E27FC236}">
                        <a16:creationId xmlns:a16="http://schemas.microsoft.com/office/drawing/2014/main" id="{F9795EA9-396D-60F2-0423-02712A2F6A04}"/>
                      </a:ext>
                    </a:extLst>
                  </p:cNvPr>
                  <p:cNvSpPr/>
                  <p:nvPr/>
                </p:nvSpPr>
                <p:spPr>
                  <a:xfrm>
                    <a:off x="1389159" y="1835573"/>
                    <a:ext cx="1198" cy="26060"/>
                  </a:xfrm>
                  <a:custGeom>
                    <a:avLst/>
                    <a:gdLst>
                      <a:gd name="connsiteX0" fmla="*/ 0 w 1198"/>
                      <a:gd name="connsiteY0" fmla="*/ 0 h 26060"/>
                      <a:gd name="connsiteX1" fmla="*/ 0 w 1198"/>
                      <a:gd name="connsiteY1" fmla="*/ 26061 h 2606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198" h="26060">
                        <a:moveTo>
                          <a:pt x="0" y="0"/>
                        </a:moveTo>
                        <a:lnTo>
                          <a:pt x="0" y="26061"/>
                        </a:lnTo>
                      </a:path>
                    </a:pathLst>
                  </a:custGeom>
                  <a:ln w="6350" cap="flat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</p:grpSp>
          <p:grpSp>
            <p:nvGrpSpPr>
              <p:cNvPr id="129" name="Gráfico 2">
                <a:extLst>
                  <a:ext uri="{FF2B5EF4-FFF2-40B4-BE49-F238E27FC236}">
                    <a16:creationId xmlns:a16="http://schemas.microsoft.com/office/drawing/2014/main" id="{743A8F15-544E-7710-E593-79692CAA3472}"/>
                  </a:ext>
                </a:extLst>
              </p:cNvPr>
              <p:cNvGrpSpPr/>
              <p:nvPr/>
            </p:nvGrpSpPr>
            <p:grpSpPr>
              <a:xfrm>
                <a:off x="1635772" y="1669035"/>
                <a:ext cx="58424" cy="192598"/>
                <a:chOff x="1635772" y="1669035"/>
                <a:chExt cx="58424" cy="192598"/>
              </a:xfrm>
              <a:noFill/>
            </p:grpSpPr>
            <p:sp>
              <p:nvSpPr>
                <p:cNvPr id="130" name="Forma livre: Forma 129">
                  <a:extLst>
                    <a:ext uri="{FF2B5EF4-FFF2-40B4-BE49-F238E27FC236}">
                      <a16:creationId xmlns:a16="http://schemas.microsoft.com/office/drawing/2014/main" id="{C459098E-45F5-8000-8D1E-BFDFFA5116F2}"/>
                    </a:ext>
                  </a:extLst>
                </p:cNvPr>
                <p:cNvSpPr/>
                <p:nvPr/>
              </p:nvSpPr>
              <p:spPr>
                <a:xfrm>
                  <a:off x="1635772" y="1669035"/>
                  <a:ext cx="58424" cy="192431"/>
                </a:xfrm>
                <a:custGeom>
                  <a:avLst/>
                  <a:gdLst>
                    <a:gd name="connsiteX0" fmla="*/ 58424 w 58424"/>
                    <a:gd name="connsiteY0" fmla="*/ 192431 h 192431"/>
                    <a:gd name="connsiteX1" fmla="*/ 58424 w 58424"/>
                    <a:gd name="connsiteY1" fmla="*/ 0 h 192431"/>
                    <a:gd name="connsiteX2" fmla="*/ 0 w 58424"/>
                    <a:gd name="connsiteY2" fmla="*/ 0 h 19243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58424" h="192431">
                      <a:moveTo>
                        <a:pt x="58424" y="192431"/>
                      </a:moveTo>
                      <a:lnTo>
                        <a:pt x="58424" y="0"/>
                      </a:lnTo>
                      <a:lnTo>
                        <a:pt x="0" y="0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grpSp>
              <p:nvGrpSpPr>
                <p:cNvPr id="131" name="Gráfico 2">
                  <a:extLst>
                    <a:ext uri="{FF2B5EF4-FFF2-40B4-BE49-F238E27FC236}">
                      <a16:creationId xmlns:a16="http://schemas.microsoft.com/office/drawing/2014/main" id="{6B608BC9-2754-4689-0A81-19530384C5B5}"/>
                    </a:ext>
                  </a:extLst>
                </p:cNvPr>
                <p:cNvGrpSpPr/>
                <p:nvPr/>
              </p:nvGrpSpPr>
              <p:grpSpPr>
                <a:xfrm>
                  <a:off x="1641823" y="1697324"/>
                  <a:ext cx="1198" cy="164309"/>
                  <a:chOff x="1641823" y="1697324"/>
                  <a:chExt cx="1198" cy="164309"/>
                </a:xfrm>
              </p:grpSpPr>
              <p:sp>
                <p:nvSpPr>
                  <p:cNvPr id="132" name="Forma livre: Forma 131">
                    <a:extLst>
                      <a:ext uri="{FF2B5EF4-FFF2-40B4-BE49-F238E27FC236}">
                        <a16:creationId xmlns:a16="http://schemas.microsoft.com/office/drawing/2014/main" id="{6FEBBC00-1E30-AF65-F0FD-8D9D3C48518F}"/>
                      </a:ext>
                    </a:extLst>
                  </p:cNvPr>
                  <p:cNvSpPr/>
                  <p:nvPr/>
                </p:nvSpPr>
                <p:spPr>
                  <a:xfrm>
                    <a:off x="1641823" y="1790293"/>
                    <a:ext cx="1198" cy="23676"/>
                  </a:xfrm>
                  <a:custGeom>
                    <a:avLst/>
                    <a:gdLst>
                      <a:gd name="connsiteX0" fmla="*/ 0 w 1198"/>
                      <a:gd name="connsiteY0" fmla="*/ 0 h 23676"/>
                      <a:gd name="connsiteX1" fmla="*/ 0 w 1198"/>
                      <a:gd name="connsiteY1" fmla="*/ 23676 h 2367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198" h="23676">
                        <a:moveTo>
                          <a:pt x="0" y="0"/>
                        </a:moveTo>
                        <a:lnTo>
                          <a:pt x="0" y="23676"/>
                        </a:lnTo>
                      </a:path>
                    </a:pathLst>
                  </a:custGeom>
                  <a:ln w="6350" cap="flat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133" name="Forma livre: Forma 132">
                    <a:extLst>
                      <a:ext uri="{FF2B5EF4-FFF2-40B4-BE49-F238E27FC236}">
                        <a16:creationId xmlns:a16="http://schemas.microsoft.com/office/drawing/2014/main" id="{4E73C1D3-4749-7B05-E332-0CB0D6DBABA5}"/>
                      </a:ext>
                    </a:extLst>
                  </p:cNvPr>
                  <p:cNvSpPr/>
                  <p:nvPr/>
                </p:nvSpPr>
                <p:spPr>
                  <a:xfrm>
                    <a:off x="1641823" y="1743802"/>
                    <a:ext cx="1198" cy="23688"/>
                  </a:xfrm>
                  <a:custGeom>
                    <a:avLst/>
                    <a:gdLst>
                      <a:gd name="connsiteX0" fmla="*/ 0 w 1198"/>
                      <a:gd name="connsiteY0" fmla="*/ 0 h 23688"/>
                      <a:gd name="connsiteX1" fmla="*/ 0 w 1198"/>
                      <a:gd name="connsiteY1" fmla="*/ 23688 h 2368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198" h="23688">
                        <a:moveTo>
                          <a:pt x="0" y="0"/>
                        </a:moveTo>
                        <a:lnTo>
                          <a:pt x="0" y="23688"/>
                        </a:lnTo>
                      </a:path>
                    </a:pathLst>
                  </a:custGeom>
                  <a:ln w="6350" cap="flat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134" name="Forma livre: Forma 133">
                    <a:extLst>
                      <a:ext uri="{FF2B5EF4-FFF2-40B4-BE49-F238E27FC236}">
                        <a16:creationId xmlns:a16="http://schemas.microsoft.com/office/drawing/2014/main" id="{7E9546D8-EA5F-FABD-CC3C-DE66D5A4DBD7}"/>
                      </a:ext>
                    </a:extLst>
                  </p:cNvPr>
                  <p:cNvSpPr/>
                  <p:nvPr/>
                </p:nvSpPr>
                <p:spPr>
                  <a:xfrm>
                    <a:off x="1641823" y="1697324"/>
                    <a:ext cx="1198" cy="23676"/>
                  </a:xfrm>
                  <a:custGeom>
                    <a:avLst/>
                    <a:gdLst>
                      <a:gd name="connsiteX0" fmla="*/ 0 w 1198"/>
                      <a:gd name="connsiteY0" fmla="*/ 0 h 23676"/>
                      <a:gd name="connsiteX1" fmla="*/ 0 w 1198"/>
                      <a:gd name="connsiteY1" fmla="*/ 23676 h 2367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198" h="23676">
                        <a:moveTo>
                          <a:pt x="0" y="0"/>
                        </a:moveTo>
                        <a:lnTo>
                          <a:pt x="0" y="23676"/>
                        </a:lnTo>
                      </a:path>
                    </a:pathLst>
                  </a:custGeom>
                  <a:ln w="6350" cap="flat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135" name="Forma livre: Forma 134">
                    <a:extLst>
                      <a:ext uri="{FF2B5EF4-FFF2-40B4-BE49-F238E27FC236}">
                        <a16:creationId xmlns:a16="http://schemas.microsoft.com/office/drawing/2014/main" id="{86E85FBD-F6A0-666F-30CC-A6C27C55FAD3}"/>
                      </a:ext>
                    </a:extLst>
                  </p:cNvPr>
                  <p:cNvSpPr/>
                  <p:nvPr/>
                </p:nvSpPr>
                <p:spPr>
                  <a:xfrm>
                    <a:off x="1641823" y="1835573"/>
                    <a:ext cx="1198" cy="26060"/>
                  </a:xfrm>
                  <a:custGeom>
                    <a:avLst/>
                    <a:gdLst>
                      <a:gd name="connsiteX0" fmla="*/ 0 w 1198"/>
                      <a:gd name="connsiteY0" fmla="*/ 0 h 26060"/>
                      <a:gd name="connsiteX1" fmla="*/ 0 w 1198"/>
                      <a:gd name="connsiteY1" fmla="*/ 26061 h 2606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198" h="26060">
                        <a:moveTo>
                          <a:pt x="0" y="0"/>
                        </a:moveTo>
                        <a:lnTo>
                          <a:pt x="0" y="26061"/>
                        </a:lnTo>
                      </a:path>
                    </a:pathLst>
                  </a:custGeom>
                  <a:ln w="6350" cap="flat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  <p:grpSp>
              <p:nvGrpSpPr>
                <p:cNvPr id="136" name="Gráfico 2">
                  <a:extLst>
                    <a:ext uri="{FF2B5EF4-FFF2-40B4-BE49-F238E27FC236}">
                      <a16:creationId xmlns:a16="http://schemas.microsoft.com/office/drawing/2014/main" id="{E7B893E9-FA2E-D24C-A037-549494A61739}"/>
                    </a:ext>
                  </a:extLst>
                </p:cNvPr>
                <p:cNvGrpSpPr/>
                <p:nvPr/>
              </p:nvGrpSpPr>
              <p:grpSpPr>
                <a:xfrm>
                  <a:off x="1668100" y="1697324"/>
                  <a:ext cx="1198" cy="164309"/>
                  <a:chOff x="1668100" y="1697324"/>
                  <a:chExt cx="1198" cy="164309"/>
                </a:xfrm>
              </p:grpSpPr>
              <p:sp>
                <p:nvSpPr>
                  <p:cNvPr id="137" name="Forma livre: Forma 136">
                    <a:extLst>
                      <a:ext uri="{FF2B5EF4-FFF2-40B4-BE49-F238E27FC236}">
                        <a16:creationId xmlns:a16="http://schemas.microsoft.com/office/drawing/2014/main" id="{15A02D70-9010-C12A-FE97-904D4667EFC0}"/>
                      </a:ext>
                    </a:extLst>
                  </p:cNvPr>
                  <p:cNvSpPr/>
                  <p:nvPr/>
                </p:nvSpPr>
                <p:spPr>
                  <a:xfrm>
                    <a:off x="1668100" y="1790293"/>
                    <a:ext cx="1198" cy="23676"/>
                  </a:xfrm>
                  <a:custGeom>
                    <a:avLst/>
                    <a:gdLst>
                      <a:gd name="connsiteX0" fmla="*/ 0 w 1198"/>
                      <a:gd name="connsiteY0" fmla="*/ 0 h 23676"/>
                      <a:gd name="connsiteX1" fmla="*/ 0 w 1198"/>
                      <a:gd name="connsiteY1" fmla="*/ 23676 h 2367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198" h="23676">
                        <a:moveTo>
                          <a:pt x="0" y="0"/>
                        </a:moveTo>
                        <a:lnTo>
                          <a:pt x="0" y="23676"/>
                        </a:lnTo>
                      </a:path>
                    </a:pathLst>
                  </a:custGeom>
                  <a:ln w="6350" cap="flat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138" name="Forma livre: Forma 137">
                    <a:extLst>
                      <a:ext uri="{FF2B5EF4-FFF2-40B4-BE49-F238E27FC236}">
                        <a16:creationId xmlns:a16="http://schemas.microsoft.com/office/drawing/2014/main" id="{D39BA30A-DBBE-4B7F-5DAC-A332FD4D5214}"/>
                      </a:ext>
                    </a:extLst>
                  </p:cNvPr>
                  <p:cNvSpPr/>
                  <p:nvPr/>
                </p:nvSpPr>
                <p:spPr>
                  <a:xfrm>
                    <a:off x="1668100" y="1743802"/>
                    <a:ext cx="1198" cy="23688"/>
                  </a:xfrm>
                  <a:custGeom>
                    <a:avLst/>
                    <a:gdLst>
                      <a:gd name="connsiteX0" fmla="*/ 0 w 1198"/>
                      <a:gd name="connsiteY0" fmla="*/ 0 h 23688"/>
                      <a:gd name="connsiteX1" fmla="*/ 0 w 1198"/>
                      <a:gd name="connsiteY1" fmla="*/ 23688 h 2368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198" h="23688">
                        <a:moveTo>
                          <a:pt x="0" y="0"/>
                        </a:moveTo>
                        <a:lnTo>
                          <a:pt x="0" y="23688"/>
                        </a:lnTo>
                      </a:path>
                    </a:pathLst>
                  </a:custGeom>
                  <a:ln w="6350" cap="flat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139" name="Forma livre: Forma 138">
                    <a:extLst>
                      <a:ext uri="{FF2B5EF4-FFF2-40B4-BE49-F238E27FC236}">
                        <a16:creationId xmlns:a16="http://schemas.microsoft.com/office/drawing/2014/main" id="{7F7500AB-22A8-8D18-719F-2B40067975C3}"/>
                      </a:ext>
                    </a:extLst>
                  </p:cNvPr>
                  <p:cNvSpPr/>
                  <p:nvPr/>
                </p:nvSpPr>
                <p:spPr>
                  <a:xfrm>
                    <a:off x="1668100" y="1697324"/>
                    <a:ext cx="1198" cy="23676"/>
                  </a:xfrm>
                  <a:custGeom>
                    <a:avLst/>
                    <a:gdLst>
                      <a:gd name="connsiteX0" fmla="*/ 0 w 1198"/>
                      <a:gd name="connsiteY0" fmla="*/ 0 h 23676"/>
                      <a:gd name="connsiteX1" fmla="*/ 0 w 1198"/>
                      <a:gd name="connsiteY1" fmla="*/ 23676 h 2367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198" h="23676">
                        <a:moveTo>
                          <a:pt x="0" y="0"/>
                        </a:moveTo>
                        <a:lnTo>
                          <a:pt x="0" y="23676"/>
                        </a:lnTo>
                      </a:path>
                    </a:pathLst>
                  </a:custGeom>
                  <a:ln w="6350" cap="flat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140" name="Forma livre: Forma 139">
                    <a:extLst>
                      <a:ext uri="{FF2B5EF4-FFF2-40B4-BE49-F238E27FC236}">
                        <a16:creationId xmlns:a16="http://schemas.microsoft.com/office/drawing/2014/main" id="{A0044C3F-D1AC-1A95-4864-D8342CA36CC3}"/>
                      </a:ext>
                    </a:extLst>
                  </p:cNvPr>
                  <p:cNvSpPr/>
                  <p:nvPr/>
                </p:nvSpPr>
                <p:spPr>
                  <a:xfrm>
                    <a:off x="1668100" y="1835573"/>
                    <a:ext cx="1198" cy="26060"/>
                  </a:xfrm>
                  <a:custGeom>
                    <a:avLst/>
                    <a:gdLst>
                      <a:gd name="connsiteX0" fmla="*/ 0 w 1198"/>
                      <a:gd name="connsiteY0" fmla="*/ 0 h 26060"/>
                      <a:gd name="connsiteX1" fmla="*/ 0 w 1198"/>
                      <a:gd name="connsiteY1" fmla="*/ 26061 h 2606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198" h="26060">
                        <a:moveTo>
                          <a:pt x="0" y="0"/>
                        </a:moveTo>
                        <a:lnTo>
                          <a:pt x="0" y="26061"/>
                        </a:lnTo>
                      </a:path>
                    </a:pathLst>
                  </a:custGeom>
                  <a:ln w="6350" cap="flat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</p:grpSp>
        </p:grpSp>
        <p:grpSp>
          <p:nvGrpSpPr>
            <p:cNvPr id="141" name="Gráfico 2">
              <a:extLst>
                <a:ext uri="{FF2B5EF4-FFF2-40B4-BE49-F238E27FC236}">
                  <a16:creationId xmlns:a16="http://schemas.microsoft.com/office/drawing/2014/main" id="{5350724D-BDBC-FC2E-6EF2-3930B21C0834}"/>
                </a:ext>
              </a:extLst>
            </p:cNvPr>
            <p:cNvGrpSpPr/>
            <p:nvPr/>
          </p:nvGrpSpPr>
          <p:grpSpPr>
            <a:xfrm>
              <a:off x="1441520" y="1577348"/>
              <a:ext cx="174206" cy="285123"/>
              <a:chOff x="1441520" y="1577348"/>
              <a:chExt cx="174206" cy="285123"/>
            </a:xfrm>
            <a:noFill/>
          </p:grpSpPr>
          <p:sp>
            <p:nvSpPr>
              <p:cNvPr id="142" name="Forma livre: Forma 141">
                <a:extLst>
                  <a:ext uri="{FF2B5EF4-FFF2-40B4-BE49-F238E27FC236}">
                    <a16:creationId xmlns:a16="http://schemas.microsoft.com/office/drawing/2014/main" id="{C6AC883D-8476-C6F5-C49E-4463A974EDFB}"/>
                  </a:ext>
                </a:extLst>
              </p:cNvPr>
              <p:cNvSpPr/>
              <p:nvPr/>
            </p:nvSpPr>
            <p:spPr>
              <a:xfrm>
                <a:off x="1502560" y="1599323"/>
                <a:ext cx="52119" cy="44829"/>
              </a:xfrm>
              <a:custGeom>
                <a:avLst/>
                <a:gdLst>
                  <a:gd name="connsiteX0" fmla="*/ 4010 w 52119"/>
                  <a:gd name="connsiteY0" fmla="*/ 22023 h 44829"/>
                  <a:gd name="connsiteX1" fmla="*/ 3818 w 52119"/>
                  <a:gd name="connsiteY1" fmla="*/ 41002 h 44829"/>
                  <a:gd name="connsiteX2" fmla="*/ 22810 w 52119"/>
                  <a:gd name="connsiteY2" fmla="*/ 40811 h 44829"/>
                  <a:gd name="connsiteX3" fmla="*/ 26069 w 52119"/>
                  <a:gd name="connsiteY3" fmla="*/ 37564 h 44829"/>
                  <a:gd name="connsiteX4" fmla="*/ 29316 w 52119"/>
                  <a:gd name="connsiteY4" fmla="*/ 40811 h 44829"/>
                  <a:gd name="connsiteX5" fmla="*/ 48296 w 52119"/>
                  <a:gd name="connsiteY5" fmla="*/ 41002 h 44829"/>
                  <a:gd name="connsiteX6" fmla="*/ 48116 w 52119"/>
                  <a:gd name="connsiteY6" fmla="*/ 22023 h 44829"/>
                  <a:gd name="connsiteX7" fmla="*/ 26057 w 52119"/>
                  <a:gd name="connsiteY7" fmla="*/ 0 h 44829"/>
                  <a:gd name="connsiteX8" fmla="*/ 3998 w 52119"/>
                  <a:gd name="connsiteY8" fmla="*/ 22023 h 448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52119" h="44829">
                    <a:moveTo>
                      <a:pt x="4010" y="22023"/>
                    </a:moveTo>
                    <a:cubicBezTo>
                      <a:pt x="-1262" y="27295"/>
                      <a:pt x="-1346" y="35838"/>
                      <a:pt x="3818" y="41002"/>
                    </a:cubicBezTo>
                    <a:cubicBezTo>
                      <a:pt x="8995" y="46179"/>
                      <a:pt x="17538" y="46095"/>
                      <a:pt x="22810" y="40811"/>
                    </a:cubicBezTo>
                    <a:lnTo>
                      <a:pt x="26069" y="37564"/>
                    </a:lnTo>
                    <a:lnTo>
                      <a:pt x="29316" y="40811"/>
                    </a:lnTo>
                    <a:cubicBezTo>
                      <a:pt x="34588" y="46083"/>
                      <a:pt x="43131" y="46167"/>
                      <a:pt x="48296" y="41002"/>
                    </a:cubicBezTo>
                    <a:cubicBezTo>
                      <a:pt x="53460" y="35838"/>
                      <a:pt x="53388" y="27295"/>
                      <a:pt x="48116" y="22023"/>
                    </a:cubicBezTo>
                    <a:lnTo>
                      <a:pt x="26057" y="0"/>
                    </a:lnTo>
                    <a:lnTo>
                      <a:pt x="3998" y="22023"/>
                    </a:lnTo>
                    <a:close/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43" name="Forma livre: Forma 142">
                <a:extLst>
                  <a:ext uri="{FF2B5EF4-FFF2-40B4-BE49-F238E27FC236}">
                    <a16:creationId xmlns:a16="http://schemas.microsoft.com/office/drawing/2014/main" id="{901062F0-C46F-2383-613E-54365C8BD966}"/>
                  </a:ext>
                </a:extLst>
              </p:cNvPr>
              <p:cNvSpPr/>
              <p:nvPr/>
            </p:nvSpPr>
            <p:spPr>
              <a:xfrm>
                <a:off x="1518073" y="1660539"/>
                <a:ext cx="21100" cy="1198"/>
              </a:xfrm>
              <a:custGeom>
                <a:avLst/>
                <a:gdLst>
                  <a:gd name="connsiteX0" fmla="*/ 0 w 21100"/>
                  <a:gd name="connsiteY0" fmla="*/ 0 h 1198"/>
                  <a:gd name="connsiteX1" fmla="*/ 21100 w 21100"/>
                  <a:gd name="connsiteY1" fmla="*/ 0 h 11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1100" h="1198">
                    <a:moveTo>
                      <a:pt x="0" y="0"/>
                    </a:moveTo>
                    <a:lnTo>
                      <a:pt x="2110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44" name="Forma livre: Forma 143">
                <a:extLst>
                  <a:ext uri="{FF2B5EF4-FFF2-40B4-BE49-F238E27FC236}">
                    <a16:creationId xmlns:a16="http://schemas.microsoft.com/office/drawing/2014/main" id="{A181D7B5-89D9-BC02-BAD1-05233C69678B}"/>
                  </a:ext>
                </a:extLst>
              </p:cNvPr>
              <p:cNvSpPr/>
              <p:nvPr/>
            </p:nvSpPr>
            <p:spPr>
              <a:xfrm>
                <a:off x="1466886" y="1713140"/>
                <a:ext cx="123486" cy="1198"/>
              </a:xfrm>
              <a:custGeom>
                <a:avLst/>
                <a:gdLst>
                  <a:gd name="connsiteX0" fmla="*/ 0 w 123486"/>
                  <a:gd name="connsiteY0" fmla="*/ 0 h 1198"/>
                  <a:gd name="connsiteX1" fmla="*/ 123487 w 123486"/>
                  <a:gd name="connsiteY1" fmla="*/ 0 h 11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3486" h="1198">
                    <a:moveTo>
                      <a:pt x="0" y="0"/>
                    </a:moveTo>
                    <a:lnTo>
                      <a:pt x="123487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145" name="Gráfico 2">
                <a:extLst>
                  <a:ext uri="{FF2B5EF4-FFF2-40B4-BE49-F238E27FC236}">
                    <a16:creationId xmlns:a16="http://schemas.microsoft.com/office/drawing/2014/main" id="{219750AA-9048-CBE4-7C50-D3BAF695BF82}"/>
                  </a:ext>
                </a:extLst>
              </p:cNvPr>
              <p:cNvGrpSpPr/>
              <p:nvPr/>
            </p:nvGrpSpPr>
            <p:grpSpPr>
              <a:xfrm>
                <a:off x="1466886" y="1685582"/>
                <a:ext cx="123486" cy="1198"/>
                <a:chOff x="1466886" y="1685582"/>
                <a:chExt cx="123486" cy="1198"/>
              </a:xfrm>
            </p:grpSpPr>
            <p:sp>
              <p:nvSpPr>
                <p:cNvPr id="146" name="Forma livre: Forma 145">
                  <a:extLst>
                    <a:ext uri="{FF2B5EF4-FFF2-40B4-BE49-F238E27FC236}">
                      <a16:creationId xmlns:a16="http://schemas.microsoft.com/office/drawing/2014/main" id="{77B4721B-D861-7F61-D3E6-8EF6C275A620}"/>
                    </a:ext>
                  </a:extLst>
                </p:cNvPr>
                <p:cNvSpPr/>
                <p:nvPr/>
              </p:nvSpPr>
              <p:spPr>
                <a:xfrm>
                  <a:off x="1575515" y="1685582"/>
                  <a:ext cx="14857" cy="1198"/>
                </a:xfrm>
                <a:custGeom>
                  <a:avLst/>
                  <a:gdLst>
                    <a:gd name="connsiteX0" fmla="*/ 0 w 14857"/>
                    <a:gd name="connsiteY0" fmla="*/ 0 h 1198"/>
                    <a:gd name="connsiteX1" fmla="*/ 14858 w 14857"/>
                    <a:gd name="connsiteY1" fmla="*/ 0 h 11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4857" h="1198">
                      <a:moveTo>
                        <a:pt x="0" y="0"/>
                      </a:moveTo>
                      <a:lnTo>
                        <a:pt x="14858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47" name="Forma livre: Forma 146">
                  <a:extLst>
                    <a:ext uri="{FF2B5EF4-FFF2-40B4-BE49-F238E27FC236}">
                      <a16:creationId xmlns:a16="http://schemas.microsoft.com/office/drawing/2014/main" id="{04B9B13E-3B53-2A1B-3BA5-61546BD8B3A2}"/>
                    </a:ext>
                  </a:extLst>
                </p:cNvPr>
                <p:cNvSpPr/>
                <p:nvPr/>
              </p:nvSpPr>
              <p:spPr>
                <a:xfrm>
                  <a:off x="1466886" y="1685582"/>
                  <a:ext cx="14857" cy="1198"/>
                </a:xfrm>
                <a:custGeom>
                  <a:avLst/>
                  <a:gdLst>
                    <a:gd name="connsiteX0" fmla="*/ 0 w 14857"/>
                    <a:gd name="connsiteY0" fmla="*/ 0 h 1198"/>
                    <a:gd name="connsiteX1" fmla="*/ 14858 w 14857"/>
                    <a:gd name="connsiteY1" fmla="*/ 0 h 11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4857" h="1198">
                      <a:moveTo>
                        <a:pt x="0" y="0"/>
                      </a:moveTo>
                      <a:lnTo>
                        <a:pt x="14858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148" name="Forma livre: Forma 147">
                <a:extLst>
                  <a:ext uri="{FF2B5EF4-FFF2-40B4-BE49-F238E27FC236}">
                    <a16:creationId xmlns:a16="http://schemas.microsoft.com/office/drawing/2014/main" id="{54AB38EA-A50B-AC66-070C-56E4F7604D9F}"/>
                  </a:ext>
                </a:extLst>
              </p:cNvPr>
              <p:cNvSpPr/>
              <p:nvPr/>
            </p:nvSpPr>
            <p:spPr>
              <a:xfrm>
                <a:off x="1466886" y="1795816"/>
                <a:ext cx="123486" cy="1198"/>
              </a:xfrm>
              <a:custGeom>
                <a:avLst/>
                <a:gdLst>
                  <a:gd name="connsiteX0" fmla="*/ 0 w 123486"/>
                  <a:gd name="connsiteY0" fmla="*/ 0 h 1198"/>
                  <a:gd name="connsiteX1" fmla="*/ 123487 w 123486"/>
                  <a:gd name="connsiteY1" fmla="*/ 0 h 11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3486" h="1198">
                    <a:moveTo>
                      <a:pt x="0" y="0"/>
                    </a:moveTo>
                    <a:lnTo>
                      <a:pt x="123487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49" name="Forma livre: Forma 148">
                <a:extLst>
                  <a:ext uri="{FF2B5EF4-FFF2-40B4-BE49-F238E27FC236}">
                    <a16:creationId xmlns:a16="http://schemas.microsoft.com/office/drawing/2014/main" id="{BFCB3705-D2C9-95FE-D8C5-658D1555ABDB}"/>
                  </a:ext>
                </a:extLst>
              </p:cNvPr>
              <p:cNvSpPr/>
              <p:nvPr/>
            </p:nvSpPr>
            <p:spPr>
              <a:xfrm>
                <a:off x="1466886" y="1768258"/>
                <a:ext cx="123486" cy="1198"/>
              </a:xfrm>
              <a:custGeom>
                <a:avLst/>
                <a:gdLst>
                  <a:gd name="connsiteX0" fmla="*/ 0 w 123486"/>
                  <a:gd name="connsiteY0" fmla="*/ 0 h 1198"/>
                  <a:gd name="connsiteX1" fmla="*/ 123487 w 123486"/>
                  <a:gd name="connsiteY1" fmla="*/ 0 h 11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3486" h="1198">
                    <a:moveTo>
                      <a:pt x="0" y="0"/>
                    </a:moveTo>
                    <a:lnTo>
                      <a:pt x="123487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50" name="Forma livre: Forma 149">
                <a:extLst>
                  <a:ext uri="{FF2B5EF4-FFF2-40B4-BE49-F238E27FC236}">
                    <a16:creationId xmlns:a16="http://schemas.microsoft.com/office/drawing/2014/main" id="{BC493C9F-E6DA-1978-2060-84C627ED87E4}"/>
                  </a:ext>
                </a:extLst>
              </p:cNvPr>
              <p:cNvSpPr/>
              <p:nvPr/>
            </p:nvSpPr>
            <p:spPr>
              <a:xfrm>
                <a:off x="1466886" y="1740699"/>
                <a:ext cx="123486" cy="1198"/>
              </a:xfrm>
              <a:custGeom>
                <a:avLst/>
                <a:gdLst>
                  <a:gd name="connsiteX0" fmla="*/ 0 w 123486"/>
                  <a:gd name="connsiteY0" fmla="*/ 0 h 1198"/>
                  <a:gd name="connsiteX1" fmla="*/ 123487 w 123486"/>
                  <a:gd name="connsiteY1" fmla="*/ 0 h 11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3486" h="1198">
                    <a:moveTo>
                      <a:pt x="0" y="0"/>
                    </a:moveTo>
                    <a:lnTo>
                      <a:pt x="123487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151" name="Gráfico 2">
                <a:extLst>
                  <a:ext uri="{FF2B5EF4-FFF2-40B4-BE49-F238E27FC236}">
                    <a16:creationId xmlns:a16="http://schemas.microsoft.com/office/drawing/2014/main" id="{3E1255E5-D94E-456B-A56B-4EF09DF25DA0}"/>
                  </a:ext>
                </a:extLst>
              </p:cNvPr>
              <p:cNvGrpSpPr/>
              <p:nvPr/>
            </p:nvGrpSpPr>
            <p:grpSpPr>
              <a:xfrm>
                <a:off x="1441520" y="1638181"/>
                <a:ext cx="174206" cy="223644"/>
                <a:chOff x="1441520" y="1638181"/>
                <a:chExt cx="174206" cy="223644"/>
              </a:xfrm>
              <a:noFill/>
            </p:grpSpPr>
            <p:sp>
              <p:nvSpPr>
                <p:cNvPr id="152" name="Forma livre: Forma 151">
                  <a:extLst>
                    <a:ext uri="{FF2B5EF4-FFF2-40B4-BE49-F238E27FC236}">
                      <a16:creationId xmlns:a16="http://schemas.microsoft.com/office/drawing/2014/main" id="{3B36BD8D-7E14-BA0F-20F4-54D3539A61E5}"/>
                    </a:ext>
                  </a:extLst>
                </p:cNvPr>
                <p:cNvSpPr/>
                <p:nvPr/>
              </p:nvSpPr>
              <p:spPr>
                <a:xfrm>
                  <a:off x="1584154" y="1638181"/>
                  <a:ext cx="31572" cy="223644"/>
                </a:xfrm>
                <a:custGeom>
                  <a:avLst/>
                  <a:gdLst>
                    <a:gd name="connsiteX0" fmla="*/ 0 w 31572"/>
                    <a:gd name="connsiteY0" fmla="*/ 0 h 223644"/>
                    <a:gd name="connsiteX1" fmla="*/ 31573 w 31572"/>
                    <a:gd name="connsiteY1" fmla="*/ 0 h 223644"/>
                    <a:gd name="connsiteX2" fmla="*/ 31573 w 31572"/>
                    <a:gd name="connsiteY2" fmla="*/ 223644 h 22364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31572" h="223644">
                      <a:moveTo>
                        <a:pt x="0" y="0"/>
                      </a:moveTo>
                      <a:lnTo>
                        <a:pt x="31573" y="0"/>
                      </a:lnTo>
                      <a:lnTo>
                        <a:pt x="31573" y="223644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53" name="Forma livre: Forma 152">
                  <a:extLst>
                    <a:ext uri="{FF2B5EF4-FFF2-40B4-BE49-F238E27FC236}">
                      <a16:creationId xmlns:a16="http://schemas.microsoft.com/office/drawing/2014/main" id="{18DA023E-5E05-2B85-697B-BD77E196B553}"/>
                    </a:ext>
                  </a:extLst>
                </p:cNvPr>
                <p:cNvSpPr/>
                <p:nvPr/>
              </p:nvSpPr>
              <p:spPr>
                <a:xfrm>
                  <a:off x="1441520" y="1638181"/>
                  <a:ext cx="16139" cy="223644"/>
                </a:xfrm>
                <a:custGeom>
                  <a:avLst/>
                  <a:gdLst>
                    <a:gd name="connsiteX0" fmla="*/ 0 w 16139"/>
                    <a:gd name="connsiteY0" fmla="*/ 223644 h 223644"/>
                    <a:gd name="connsiteX1" fmla="*/ 0 w 16139"/>
                    <a:gd name="connsiteY1" fmla="*/ 0 h 223644"/>
                    <a:gd name="connsiteX2" fmla="*/ 16140 w 16139"/>
                    <a:gd name="connsiteY2" fmla="*/ 0 h 22364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6139" h="223644">
                      <a:moveTo>
                        <a:pt x="0" y="223644"/>
                      </a:moveTo>
                      <a:lnTo>
                        <a:pt x="0" y="0"/>
                      </a:lnTo>
                      <a:lnTo>
                        <a:pt x="16140" y="0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154" name="Forma livre: Forma 153">
                <a:extLst>
                  <a:ext uri="{FF2B5EF4-FFF2-40B4-BE49-F238E27FC236}">
                    <a16:creationId xmlns:a16="http://schemas.microsoft.com/office/drawing/2014/main" id="{DA6E2B01-28BD-78AE-C845-0A98125F3048}"/>
                  </a:ext>
                </a:extLst>
              </p:cNvPr>
              <p:cNvSpPr/>
              <p:nvPr/>
            </p:nvSpPr>
            <p:spPr>
              <a:xfrm>
                <a:off x="1497236" y="1822920"/>
                <a:ext cx="62773" cy="39552"/>
              </a:xfrm>
              <a:custGeom>
                <a:avLst/>
                <a:gdLst>
                  <a:gd name="connsiteX0" fmla="*/ 0 w 62773"/>
                  <a:gd name="connsiteY0" fmla="*/ 39553 h 39552"/>
                  <a:gd name="connsiteX1" fmla="*/ 0 w 62773"/>
                  <a:gd name="connsiteY1" fmla="*/ 0 h 39552"/>
                  <a:gd name="connsiteX2" fmla="*/ 62774 w 62773"/>
                  <a:gd name="connsiteY2" fmla="*/ 0 h 39552"/>
                  <a:gd name="connsiteX3" fmla="*/ 62774 w 62773"/>
                  <a:gd name="connsiteY3" fmla="*/ 39553 h 395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2773" h="39552">
                    <a:moveTo>
                      <a:pt x="0" y="39553"/>
                    </a:moveTo>
                    <a:lnTo>
                      <a:pt x="0" y="0"/>
                    </a:lnTo>
                    <a:lnTo>
                      <a:pt x="62774" y="0"/>
                    </a:lnTo>
                    <a:lnTo>
                      <a:pt x="62774" y="39553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55" name="Forma livre: Forma 154">
                <a:extLst>
                  <a:ext uri="{FF2B5EF4-FFF2-40B4-BE49-F238E27FC236}">
                    <a16:creationId xmlns:a16="http://schemas.microsoft.com/office/drawing/2014/main" id="{5059DD29-894E-7169-DDDF-D6A885714C30}"/>
                  </a:ext>
                </a:extLst>
              </p:cNvPr>
              <p:cNvSpPr/>
              <p:nvPr/>
            </p:nvSpPr>
            <p:spPr>
              <a:xfrm>
                <a:off x="1476256" y="1577348"/>
                <a:ext cx="104722" cy="104722"/>
              </a:xfrm>
              <a:custGeom>
                <a:avLst/>
                <a:gdLst>
                  <a:gd name="connsiteX0" fmla="*/ 104723 w 104722"/>
                  <a:gd name="connsiteY0" fmla="*/ 52361 h 104722"/>
                  <a:gd name="connsiteX1" fmla="*/ 52361 w 104722"/>
                  <a:gd name="connsiteY1" fmla="*/ 104723 h 104722"/>
                  <a:gd name="connsiteX2" fmla="*/ 0 w 104722"/>
                  <a:gd name="connsiteY2" fmla="*/ 52361 h 104722"/>
                  <a:gd name="connsiteX3" fmla="*/ 52361 w 104722"/>
                  <a:gd name="connsiteY3" fmla="*/ 0 h 104722"/>
                  <a:gd name="connsiteX4" fmla="*/ 104723 w 104722"/>
                  <a:gd name="connsiteY4" fmla="*/ 52361 h 1047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04722" h="104722">
                    <a:moveTo>
                      <a:pt x="104723" y="52361"/>
                    </a:moveTo>
                    <a:cubicBezTo>
                      <a:pt x="104723" y="81274"/>
                      <a:pt x="81274" y="104723"/>
                      <a:pt x="52361" y="104723"/>
                    </a:cubicBezTo>
                    <a:cubicBezTo>
                      <a:pt x="23449" y="104723"/>
                      <a:pt x="0" y="81286"/>
                      <a:pt x="0" y="52361"/>
                    </a:cubicBezTo>
                    <a:cubicBezTo>
                      <a:pt x="0" y="23437"/>
                      <a:pt x="23437" y="0"/>
                      <a:pt x="52361" y="0"/>
                    </a:cubicBezTo>
                    <a:cubicBezTo>
                      <a:pt x="81286" y="0"/>
                      <a:pt x="104723" y="23449"/>
                      <a:pt x="104723" y="52361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56" name="Forma livre: Forma 155">
                <a:extLst>
                  <a:ext uri="{FF2B5EF4-FFF2-40B4-BE49-F238E27FC236}">
                    <a16:creationId xmlns:a16="http://schemas.microsoft.com/office/drawing/2014/main" id="{90BA0A80-EA7B-CEA7-4EA3-B93273B95549}"/>
                  </a:ext>
                </a:extLst>
              </p:cNvPr>
              <p:cNvSpPr/>
              <p:nvPr/>
            </p:nvSpPr>
            <p:spPr>
              <a:xfrm>
                <a:off x="1528629" y="1824082"/>
                <a:ext cx="1198" cy="36521"/>
              </a:xfrm>
              <a:custGeom>
                <a:avLst/>
                <a:gdLst>
                  <a:gd name="connsiteX0" fmla="*/ 0 w 1198"/>
                  <a:gd name="connsiteY0" fmla="*/ 0 h 36521"/>
                  <a:gd name="connsiteX1" fmla="*/ 0 w 1198"/>
                  <a:gd name="connsiteY1" fmla="*/ 36521 h 365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8" h="36521">
                    <a:moveTo>
                      <a:pt x="0" y="0"/>
                    </a:moveTo>
                    <a:lnTo>
                      <a:pt x="0" y="36521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57" name="Gráfico 2">
            <a:extLst>
              <a:ext uri="{FF2B5EF4-FFF2-40B4-BE49-F238E27FC236}">
                <a16:creationId xmlns:a16="http://schemas.microsoft.com/office/drawing/2014/main" id="{DCA93905-C45D-0001-5304-04E1457AA719}"/>
              </a:ext>
            </a:extLst>
          </p:cNvPr>
          <p:cNvGrpSpPr/>
          <p:nvPr/>
        </p:nvGrpSpPr>
        <p:grpSpPr>
          <a:xfrm>
            <a:off x="2025535" y="1505720"/>
            <a:ext cx="291522" cy="356896"/>
            <a:chOff x="2025535" y="1505720"/>
            <a:chExt cx="291522" cy="356896"/>
          </a:xfrm>
          <a:noFill/>
        </p:grpSpPr>
        <p:sp>
          <p:nvSpPr>
            <p:cNvPr id="158" name="Forma livre: Forma 157">
              <a:extLst>
                <a:ext uri="{FF2B5EF4-FFF2-40B4-BE49-F238E27FC236}">
                  <a16:creationId xmlns:a16="http://schemas.microsoft.com/office/drawing/2014/main" id="{EEADB5B2-A6F6-9702-4839-44EFE4780925}"/>
                </a:ext>
              </a:extLst>
            </p:cNvPr>
            <p:cNvSpPr/>
            <p:nvPr/>
          </p:nvSpPr>
          <p:spPr>
            <a:xfrm>
              <a:off x="2080629" y="1559172"/>
              <a:ext cx="142106" cy="77439"/>
            </a:xfrm>
            <a:custGeom>
              <a:avLst/>
              <a:gdLst>
                <a:gd name="connsiteX0" fmla="*/ 0 w 142106"/>
                <a:gd name="connsiteY0" fmla="*/ 77440 h 77439"/>
                <a:gd name="connsiteX1" fmla="*/ 71089 w 142106"/>
                <a:gd name="connsiteY1" fmla="*/ 0 h 77439"/>
                <a:gd name="connsiteX2" fmla="*/ 142107 w 142106"/>
                <a:gd name="connsiteY2" fmla="*/ 77440 h 774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42106" h="77439">
                  <a:moveTo>
                    <a:pt x="0" y="77440"/>
                  </a:moveTo>
                  <a:lnTo>
                    <a:pt x="71089" y="0"/>
                  </a:lnTo>
                  <a:lnTo>
                    <a:pt x="142107" y="77440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9" name="Forma livre: Forma 158">
              <a:extLst>
                <a:ext uri="{FF2B5EF4-FFF2-40B4-BE49-F238E27FC236}">
                  <a16:creationId xmlns:a16="http://schemas.microsoft.com/office/drawing/2014/main" id="{ED8779F3-9BF6-E10D-2506-E2065DE5F0BC}"/>
                </a:ext>
              </a:extLst>
            </p:cNvPr>
            <p:cNvSpPr/>
            <p:nvPr/>
          </p:nvSpPr>
          <p:spPr>
            <a:xfrm rot="-2700000">
              <a:off x="2132312" y="1636088"/>
              <a:ext cx="38725" cy="38725"/>
            </a:xfrm>
            <a:custGeom>
              <a:avLst/>
              <a:gdLst>
                <a:gd name="connsiteX0" fmla="*/ 38726 w 38725"/>
                <a:gd name="connsiteY0" fmla="*/ 19363 h 38725"/>
                <a:gd name="connsiteX1" fmla="*/ 19363 w 38725"/>
                <a:gd name="connsiteY1" fmla="*/ 38726 h 38725"/>
                <a:gd name="connsiteX2" fmla="*/ 0 w 38725"/>
                <a:gd name="connsiteY2" fmla="*/ 19363 h 38725"/>
                <a:gd name="connsiteX3" fmla="*/ 19363 w 38725"/>
                <a:gd name="connsiteY3" fmla="*/ 0 h 38725"/>
                <a:gd name="connsiteX4" fmla="*/ 38726 w 38725"/>
                <a:gd name="connsiteY4" fmla="*/ 19363 h 387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8725" h="38725">
                  <a:moveTo>
                    <a:pt x="38726" y="19363"/>
                  </a:moveTo>
                  <a:cubicBezTo>
                    <a:pt x="38726" y="30057"/>
                    <a:pt x="30057" y="38726"/>
                    <a:pt x="19363" y="38726"/>
                  </a:cubicBezTo>
                  <a:cubicBezTo>
                    <a:pt x="8669" y="38726"/>
                    <a:pt x="0" y="30057"/>
                    <a:pt x="0" y="19363"/>
                  </a:cubicBezTo>
                  <a:cubicBezTo>
                    <a:pt x="0" y="8669"/>
                    <a:pt x="8669" y="0"/>
                    <a:pt x="19363" y="0"/>
                  </a:cubicBezTo>
                  <a:cubicBezTo>
                    <a:pt x="30057" y="0"/>
                    <a:pt x="38726" y="8669"/>
                    <a:pt x="38726" y="19363"/>
                  </a:cubicBez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0" name="Forma livre: Forma 159">
              <a:extLst>
                <a:ext uri="{FF2B5EF4-FFF2-40B4-BE49-F238E27FC236}">
                  <a16:creationId xmlns:a16="http://schemas.microsoft.com/office/drawing/2014/main" id="{C744BEC9-793F-0E35-B295-4D67289366A1}"/>
                </a:ext>
              </a:extLst>
            </p:cNvPr>
            <p:cNvSpPr/>
            <p:nvPr/>
          </p:nvSpPr>
          <p:spPr>
            <a:xfrm>
              <a:off x="2025535" y="1613234"/>
              <a:ext cx="78721" cy="133347"/>
            </a:xfrm>
            <a:custGeom>
              <a:avLst/>
              <a:gdLst>
                <a:gd name="connsiteX0" fmla="*/ 78722 w 78721"/>
                <a:gd name="connsiteY0" fmla="*/ 0 h 133347"/>
                <a:gd name="connsiteX1" fmla="*/ 78722 w 78721"/>
                <a:gd name="connsiteY1" fmla="*/ 99654 h 133347"/>
                <a:gd name="connsiteX2" fmla="*/ 0 w 78721"/>
                <a:gd name="connsiteY2" fmla="*/ 133348 h 1333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78721" h="133347">
                  <a:moveTo>
                    <a:pt x="78722" y="0"/>
                  </a:moveTo>
                  <a:lnTo>
                    <a:pt x="78722" y="99654"/>
                  </a:lnTo>
                  <a:lnTo>
                    <a:pt x="0" y="133348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1" name="Forma livre: Forma 160">
              <a:extLst>
                <a:ext uri="{FF2B5EF4-FFF2-40B4-BE49-F238E27FC236}">
                  <a16:creationId xmlns:a16="http://schemas.microsoft.com/office/drawing/2014/main" id="{5D59FB0D-22DA-9B18-A093-F759356884A5}"/>
                </a:ext>
              </a:extLst>
            </p:cNvPr>
            <p:cNvSpPr/>
            <p:nvPr/>
          </p:nvSpPr>
          <p:spPr>
            <a:xfrm>
              <a:off x="2199095" y="1612839"/>
              <a:ext cx="78733" cy="133743"/>
            </a:xfrm>
            <a:custGeom>
              <a:avLst/>
              <a:gdLst>
                <a:gd name="connsiteX0" fmla="*/ 0 w 78733"/>
                <a:gd name="connsiteY0" fmla="*/ 0 h 133743"/>
                <a:gd name="connsiteX1" fmla="*/ 0 w 78733"/>
                <a:gd name="connsiteY1" fmla="*/ 100050 h 133743"/>
                <a:gd name="connsiteX2" fmla="*/ 78734 w 78733"/>
                <a:gd name="connsiteY2" fmla="*/ 133743 h 1337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78733" h="133743">
                  <a:moveTo>
                    <a:pt x="0" y="0"/>
                  </a:moveTo>
                  <a:lnTo>
                    <a:pt x="0" y="100050"/>
                  </a:lnTo>
                  <a:lnTo>
                    <a:pt x="78734" y="133743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2" name="Forma livre: Forma 161">
              <a:extLst>
                <a:ext uri="{FF2B5EF4-FFF2-40B4-BE49-F238E27FC236}">
                  <a16:creationId xmlns:a16="http://schemas.microsoft.com/office/drawing/2014/main" id="{64F66D60-B863-A724-0E39-B9DEEC40248C}"/>
                </a:ext>
              </a:extLst>
            </p:cNvPr>
            <p:cNvSpPr/>
            <p:nvPr/>
          </p:nvSpPr>
          <p:spPr>
            <a:xfrm>
              <a:off x="2047307" y="1764160"/>
              <a:ext cx="1198" cy="96323"/>
            </a:xfrm>
            <a:custGeom>
              <a:avLst/>
              <a:gdLst>
                <a:gd name="connsiteX0" fmla="*/ 0 w 1198"/>
                <a:gd name="connsiteY0" fmla="*/ 96323 h 96323"/>
                <a:gd name="connsiteX1" fmla="*/ 0 w 1198"/>
                <a:gd name="connsiteY1" fmla="*/ 0 h 963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98" h="96323">
                  <a:moveTo>
                    <a:pt x="0" y="96323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3" name="Forma livre: Forma 162">
              <a:extLst>
                <a:ext uri="{FF2B5EF4-FFF2-40B4-BE49-F238E27FC236}">
                  <a16:creationId xmlns:a16="http://schemas.microsoft.com/office/drawing/2014/main" id="{7AE534D7-7F76-3BF4-C6F0-72D088FA5C7C}"/>
                </a:ext>
              </a:extLst>
            </p:cNvPr>
            <p:cNvSpPr/>
            <p:nvPr/>
          </p:nvSpPr>
          <p:spPr>
            <a:xfrm>
              <a:off x="2256045" y="1764172"/>
              <a:ext cx="1198" cy="96311"/>
            </a:xfrm>
            <a:custGeom>
              <a:avLst/>
              <a:gdLst>
                <a:gd name="connsiteX0" fmla="*/ 0 w 1198"/>
                <a:gd name="connsiteY0" fmla="*/ 96311 h 96311"/>
                <a:gd name="connsiteX1" fmla="*/ 0 w 1198"/>
                <a:gd name="connsiteY1" fmla="*/ 0 h 963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98" h="96311">
                  <a:moveTo>
                    <a:pt x="0" y="96311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4" name="Forma livre: Forma 163">
              <a:extLst>
                <a:ext uri="{FF2B5EF4-FFF2-40B4-BE49-F238E27FC236}">
                  <a16:creationId xmlns:a16="http://schemas.microsoft.com/office/drawing/2014/main" id="{41B89E83-FF8D-93F8-CC2C-98425E5D40E5}"/>
                </a:ext>
              </a:extLst>
            </p:cNvPr>
            <p:cNvSpPr/>
            <p:nvPr/>
          </p:nvSpPr>
          <p:spPr>
            <a:xfrm>
              <a:off x="2083600" y="1772152"/>
              <a:ext cx="1198" cy="32543"/>
            </a:xfrm>
            <a:custGeom>
              <a:avLst/>
              <a:gdLst>
                <a:gd name="connsiteX0" fmla="*/ 0 w 1198"/>
                <a:gd name="connsiteY0" fmla="*/ 0 h 32543"/>
                <a:gd name="connsiteX1" fmla="*/ 0 w 1198"/>
                <a:gd name="connsiteY1" fmla="*/ 32543 h 325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98" h="32543">
                  <a:moveTo>
                    <a:pt x="0" y="0"/>
                  </a:moveTo>
                  <a:lnTo>
                    <a:pt x="0" y="32543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5" name="Forma livre: Forma 164">
              <a:extLst>
                <a:ext uri="{FF2B5EF4-FFF2-40B4-BE49-F238E27FC236}">
                  <a16:creationId xmlns:a16="http://schemas.microsoft.com/office/drawing/2014/main" id="{50287C60-32FE-01FF-69BB-A236F4714D86}"/>
                </a:ext>
              </a:extLst>
            </p:cNvPr>
            <p:cNvSpPr/>
            <p:nvPr/>
          </p:nvSpPr>
          <p:spPr>
            <a:xfrm>
              <a:off x="2219740" y="1772152"/>
              <a:ext cx="1198" cy="32543"/>
            </a:xfrm>
            <a:custGeom>
              <a:avLst/>
              <a:gdLst>
                <a:gd name="connsiteX0" fmla="*/ 0 w 1198"/>
                <a:gd name="connsiteY0" fmla="*/ 0 h 32543"/>
                <a:gd name="connsiteX1" fmla="*/ 0 w 1198"/>
                <a:gd name="connsiteY1" fmla="*/ 32543 h 325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98" h="32543">
                  <a:moveTo>
                    <a:pt x="0" y="0"/>
                  </a:moveTo>
                  <a:lnTo>
                    <a:pt x="0" y="32543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6" name="Forma livre: Forma 165">
              <a:extLst>
                <a:ext uri="{FF2B5EF4-FFF2-40B4-BE49-F238E27FC236}">
                  <a16:creationId xmlns:a16="http://schemas.microsoft.com/office/drawing/2014/main" id="{46171403-9B29-D01C-035C-CBABD772A26C}"/>
                </a:ext>
              </a:extLst>
            </p:cNvPr>
            <p:cNvSpPr/>
            <p:nvPr/>
          </p:nvSpPr>
          <p:spPr>
            <a:xfrm>
              <a:off x="2120888" y="1757055"/>
              <a:ext cx="61587" cy="103428"/>
            </a:xfrm>
            <a:custGeom>
              <a:avLst/>
              <a:gdLst>
                <a:gd name="connsiteX0" fmla="*/ 61588 w 61587"/>
                <a:gd name="connsiteY0" fmla="*/ 103429 h 103428"/>
                <a:gd name="connsiteX1" fmla="*/ 61588 w 61587"/>
                <a:gd name="connsiteY1" fmla="*/ 32531 h 103428"/>
                <a:gd name="connsiteX2" fmla="*/ 30794 w 61587"/>
                <a:gd name="connsiteY2" fmla="*/ 0 h 103428"/>
                <a:gd name="connsiteX3" fmla="*/ 0 w 61587"/>
                <a:gd name="connsiteY3" fmla="*/ 32531 h 103428"/>
                <a:gd name="connsiteX4" fmla="*/ 0 w 61587"/>
                <a:gd name="connsiteY4" fmla="*/ 83634 h 1034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1587" h="103428">
                  <a:moveTo>
                    <a:pt x="61588" y="103429"/>
                  </a:moveTo>
                  <a:lnTo>
                    <a:pt x="61588" y="32531"/>
                  </a:lnTo>
                  <a:cubicBezTo>
                    <a:pt x="61588" y="14642"/>
                    <a:pt x="47724" y="0"/>
                    <a:pt x="30794" y="0"/>
                  </a:cubicBezTo>
                  <a:cubicBezTo>
                    <a:pt x="13863" y="0"/>
                    <a:pt x="0" y="14642"/>
                    <a:pt x="0" y="32531"/>
                  </a:cubicBezTo>
                  <a:lnTo>
                    <a:pt x="0" y="83634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7" name="Forma livre: Forma 166">
              <a:extLst>
                <a:ext uri="{FF2B5EF4-FFF2-40B4-BE49-F238E27FC236}">
                  <a16:creationId xmlns:a16="http://schemas.microsoft.com/office/drawing/2014/main" id="{7F36FDB6-D777-CF06-6FA9-0824B4AAB3E7}"/>
                </a:ext>
              </a:extLst>
            </p:cNvPr>
            <p:cNvSpPr/>
            <p:nvPr/>
          </p:nvSpPr>
          <p:spPr>
            <a:xfrm>
              <a:off x="2151670" y="1505720"/>
              <a:ext cx="1198" cy="53451"/>
            </a:xfrm>
            <a:custGeom>
              <a:avLst/>
              <a:gdLst>
                <a:gd name="connsiteX0" fmla="*/ 0 w 1198"/>
                <a:gd name="connsiteY0" fmla="*/ 53452 h 53451"/>
                <a:gd name="connsiteX1" fmla="*/ 0 w 1198"/>
                <a:gd name="connsiteY1" fmla="*/ 0 h 534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98" h="53451">
                  <a:moveTo>
                    <a:pt x="0" y="53452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8" name="Forma livre: Forma 167">
              <a:extLst>
                <a:ext uri="{FF2B5EF4-FFF2-40B4-BE49-F238E27FC236}">
                  <a16:creationId xmlns:a16="http://schemas.microsoft.com/office/drawing/2014/main" id="{27881D98-269B-340E-EBCC-C5160FF088A1}"/>
                </a:ext>
              </a:extLst>
            </p:cNvPr>
            <p:cNvSpPr/>
            <p:nvPr/>
          </p:nvSpPr>
          <p:spPr>
            <a:xfrm>
              <a:off x="2128005" y="1531206"/>
              <a:ext cx="47352" cy="1198"/>
            </a:xfrm>
            <a:custGeom>
              <a:avLst/>
              <a:gdLst>
                <a:gd name="connsiteX0" fmla="*/ 0 w 47352"/>
                <a:gd name="connsiteY0" fmla="*/ 0 h 1198"/>
                <a:gd name="connsiteX1" fmla="*/ 47353 w 47352"/>
                <a:gd name="connsiteY1" fmla="*/ 0 h 11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7352" h="1198">
                  <a:moveTo>
                    <a:pt x="0" y="0"/>
                  </a:moveTo>
                  <a:lnTo>
                    <a:pt x="47353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9" name="Forma livre: Forma 168">
              <a:extLst>
                <a:ext uri="{FF2B5EF4-FFF2-40B4-BE49-F238E27FC236}">
                  <a16:creationId xmlns:a16="http://schemas.microsoft.com/office/drawing/2014/main" id="{852B2E73-3B2F-D7C3-0643-F6C398194DE8}"/>
                </a:ext>
              </a:extLst>
            </p:cNvPr>
            <p:cNvSpPr/>
            <p:nvPr/>
          </p:nvSpPr>
          <p:spPr>
            <a:xfrm>
              <a:off x="2027273" y="1862616"/>
              <a:ext cx="250448" cy="1198"/>
            </a:xfrm>
            <a:custGeom>
              <a:avLst/>
              <a:gdLst>
                <a:gd name="connsiteX0" fmla="*/ 0 w 250448"/>
                <a:gd name="connsiteY0" fmla="*/ 0 h 1198"/>
                <a:gd name="connsiteX1" fmla="*/ 250448 w 250448"/>
                <a:gd name="connsiteY1" fmla="*/ 0 h 11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50448" h="1198">
                  <a:moveTo>
                    <a:pt x="0" y="0"/>
                  </a:moveTo>
                  <a:lnTo>
                    <a:pt x="250448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0" name="Forma livre: Forma 169">
              <a:extLst>
                <a:ext uri="{FF2B5EF4-FFF2-40B4-BE49-F238E27FC236}">
                  <a16:creationId xmlns:a16="http://schemas.microsoft.com/office/drawing/2014/main" id="{320A4A38-022D-040F-C78A-3D20AB56B5D5}"/>
                </a:ext>
              </a:extLst>
            </p:cNvPr>
            <p:cNvSpPr/>
            <p:nvPr/>
          </p:nvSpPr>
          <p:spPr>
            <a:xfrm>
              <a:off x="2300487" y="1862616"/>
              <a:ext cx="16571" cy="1198"/>
            </a:xfrm>
            <a:custGeom>
              <a:avLst/>
              <a:gdLst>
                <a:gd name="connsiteX0" fmla="*/ 0 w 16571"/>
                <a:gd name="connsiteY0" fmla="*/ 0 h 1198"/>
                <a:gd name="connsiteX1" fmla="*/ 16571 w 16571"/>
                <a:gd name="connsiteY1" fmla="*/ 0 h 11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6571" h="1198">
                  <a:moveTo>
                    <a:pt x="0" y="0"/>
                  </a:moveTo>
                  <a:lnTo>
                    <a:pt x="16571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71" name="Gráfico 2">
            <a:extLst>
              <a:ext uri="{FF2B5EF4-FFF2-40B4-BE49-F238E27FC236}">
                <a16:creationId xmlns:a16="http://schemas.microsoft.com/office/drawing/2014/main" id="{8D88DD73-F384-94E4-E165-0CF6C52C02FD}"/>
              </a:ext>
            </a:extLst>
          </p:cNvPr>
          <p:cNvGrpSpPr/>
          <p:nvPr/>
        </p:nvGrpSpPr>
        <p:grpSpPr>
          <a:xfrm>
            <a:off x="743220" y="987067"/>
            <a:ext cx="360011" cy="330727"/>
            <a:chOff x="743220" y="987067"/>
            <a:chExt cx="360011" cy="330727"/>
          </a:xfrm>
          <a:noFill/>
        </p:grpSpPr>
        <p:grpSp>
          <p:nvGrpSpPr>
            <p:cNvPr id="172" name="Gráfico 2">
              <a:extLst>
                <a:ext uri="{FF2B5EF4-FFF2-40B4-BE49-F238E27FC236}">
                  <a16:creationId xmlns:a16="http://schemas.microsoft.com/office/drawing/2014/main" id="{77A7CF9E-7FCA-A3FD-6E3C-EFC1158CAE4C}"/>
                </a:ext>
              </a:extLst>
            </p:cNvPr>
            <p:cNvGrpSpPr/>
            <p:nvPr/>
          </p:nvGrpSpPr>
          <p:grpSpPr>
            <a:xfrm>
              <a:off x="743220" y="987067"/>
              <a:ext cx="360011" cy="330727"/>
              <a:chOff x="743220" y="987067"/>
              <a:chExt cx="360011" cy="330727"/>
            </a:xfrm>
            <a:noFill/>
          </p:grpSpPr>
          <p:grpSp>
            <p:nvGrpSpPr>
              <p:cNvPr id="173" name="Gráfico 2">
                <a:extLst>
                  <a:ext uri="{FF2B5EF4-FFF2-40B4-BE49-F238E27FC236}">
                    <a16:creationId xmlns:a16="http://schemas.microsoft.com/office/drawing/2014/main" id="{EB798DDF-D8FD-9134-8E3F-824A233DA147}"/>
                  </a:ext>
                </a:extLst>
              </p:cNvPr>
              <p:cNvGrpSpPr/>
              <p:nvPr/>
            </p:nvGrpSpPr>
            <p:grpSpPr>
              <a:xfrm>
                <a:off x="743220" y="1317794"/>
                <a:ext cx="360011" cy="1198"/>
                <a:chOff x="743220" y="1317794"/>
                <a:chExt cx="360011" cy="1198"/>
              </a:xfrm>
            </p:grpSpPr>
            <p:sp>
              <p:nvSpPr>
                <p:cNvPr id="174" name="Forma livre: Forma 173">
                  <a:extLst>
                    <a:ext uri="{FF2B5EF4-FFF2-40B4-BE49-F238E27FC236}">
                      <a16:creationId xmlns:a16="http://schemas.microsoft.com/office/drawing/2014/main" id="{93664E31-52D9-252A-C635-04F551BB82B3}"/>
                    </a:ext>
                  </a:extLst>
                </p:cNvPr>
                <p:cNvSpPr/>
                <p:nvPr/>
              </p:nvSpPr>
              <p:spPr>
                <a:xfrm>
                  <a:off x="1086661" y="1317794"/>
                  <a:ext cx="16571" cy="1198"/>
                </a:xfrm>
                <a:custGeom>
                  <a:avLst/>
                  <a:gdLst>
                    <a:gd name="connsiteX0" fmla="*/ 0 w 16571"/>
                    <a:gd name="connsiteY0" fmla="*/ 0 h 1198"/>
                    <a:gd name="connsiteX1" fmla="*/ 16571 w 16571"/>
                    <a:gd name="connsiteY1" fmla="*/ 0 h 11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6571" h="1198">
                      <a:moveTo>
                        <a:pt x="0" y="0"/>
                      </a:moveTo>
                      <a:lnTo>
                        <a:pt x="16571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75" name="Forma livre: Forma 174">
                  <a:extLst>
                    <a:ext uri="{FF2B5EF4-FFF2-40B4-BE49-F238E27FC236}">
                      <a16:creationId xmlns:a16="http://schemas.microsoft.com/office/drawing/2014/main" id="{BCB1DE8F-93D5-0556-5C7B-7B71A34C6A9E}"/>
                    </a:ext>
                  </a:extLst>
                </p:cNvPr>
                <p:cNvSpPr/>
                <p:nvPr/>
              </p:nvSpPr>
              <p:spPr>
                <a:xfrm>
                  <a:off x="743220" y="1317794"/>
                  <a:ext cx="321513" cy="1198"/>
                </a:xfrm>
                <a:custGeom>
                  <a:avLst/>
                  <a:gdLst>
                    <a:gd name="connsiteX0" fmla="*/ 0 w 321513"/>
                    <a:gd name="connsiteY0" fmla="*/ 0 h 1198"/>
                    <a:gd name="connsiteX1" fmla="*/ 321513 w 321513"/>
                    <a:gd name="connsiteY1" fmla="*/ 0 h 11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321513" h="1198">
                      <a:moveTo>
                        <a:pt x="0" y="0"/>
                      </a:moveTo>
                      <a:lnTo>
                        <a:pt x="321513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176" name="Forma livre: Forma 175">
                <a:extLst>
                  <a:ext uri="{FF2B5EF4-FFF2-40B4-BE49-F238E27FC236}">
                    <a16:creationId xmlns:a16="http://schemas.microsoft.com/office/drawing/2014/main" id="{C984A2B7-AB58-C8CD-5E93-39B0F45CF8D9}"/>
                  </a:ext>
                </a:extLst>
              </p:cNvPr>
              <p:cNvSpPr/>
              <p:nvPr/>
            </p:nvSpPr>
            <p:spPr>
              <a:xfrm>
                <a:off x="882739" y="1104634"/>
                <a:ext cx="69723" cy="1198"/>
              </a:xfrm>
              <a:custGeom>
                <a:avLst/>
                <a:gdLst>
                  <a:gd name="connsiteX0" fmla="*/ 0 w 69723"/>
                  <a:gd name="connsiteY0" fmla="*/ 0 h 1198"/>
                  <a:gd name="connsiteX1" fmla="*/ 69723 w 69723"/>
                  <a:gd name="connsiteY1" fmla="*/ 0 h 11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9723" h="1198">
                    <a:moveTo>
                      <a:pt x="0" y="0"/>
                    </a:moveTo>
                    <a:lnTo>
                      <a:pt x="69723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77" name="Forma livre: Forma 176">
                <a:extLst>
                  <a:ext uri="{FF2B5EF4-FFF2-40B4-BE49-F238E27FC236}">
                    <a16:creationId xmlns:a16="http://schemas.microsoft.com/office/drawing/2014/main" id="{D37F7973-99BF-94B9-4E07-5D27761FA836}"/>
                  </a:ext>
                </a:extLst>
              </p:cNvPr>
              <p:cNvSpPr/>
              <p:nvPr/>
            </p:nvSpPr>
            <p:spPr>
              <a:xfrm>
                <a:off x="882739" y="1140173"/>
                <a:ext cx="69723" cy="1198"/>
              </a:xfrm>
              <a:custGeom>
                <a:avLst/>
                <a:gdLst>
                  <a:gd name="connsiteX0" fmla="*/ 0 w 69723"/>
                  <a:gd name="connsiteY0" fmla="*/ 0 h 1198"/>
                  <a:gd name="connsiteX1" fmla="*/ 69723 w 69723"/>
                  <a:gd name="connsiteY1" fmla="*/ 0 h 11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9723" h="1198">
                    <a:moveTo>
                      <a:pt x="0" y="0"/>
                    </a:moveTo>
                    <a:lnTo>
                      <a:pt x="69723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78" name="Forma livre: Forma 177">
                <a:extLst>
                  <a:ext uri="{FF2B5EF4-FFF2-40B4-BE49-F238E27FC236}">
                    <a16:creationId xmlns:a16="http://schemas.microsoft.com/office/drawing/2014/main" id="{64544B6D-68CF-3D75-A50B-398281468524}"/>
                  </a:ext>
                </a:extLst>
              </p:cNvPr>
              <p:cNvSpPr/>
              <p:nvPr/>
            </p:nvSpPr>
            <p:spPr>
              <a:xfrm>
                <a:off x="882739" y="1175699"/>
                <a:ext cx="69723" cy="1198"/>
              </a:xfrm>
              <a:custGeom>
                <a:avLst/>
                <a:gdLst>
                  <a:gd name="connsiteX0" fmla="*/ 0 w 69723"/>
                  <a:gd name="connsiteY0" fmla="*/ 0 h 1198"/>
                  <a:gd name="connsiteX1" fmla="*/ 69723 w 69723"/>
                  <a:gd name="connsiteY1" fmla="*/ 0 h 11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9723" h="1198">
                    <a:moveTo>
                      <a:pt x="0" y="0"/>
                    </a:moveTo>
                    <a:lnTo>
                      <a:pt x="69723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79" name="Forma livre: Forma 178">
                <a:extLst>
                  <a:ext uri="{FF2B5EF4-FFF2-40B4-BE49-F238E27FC236}">
                    <a16:creationId xmlns:a16="http://schemas.microsoft.com/office/drawing/2014/main" id="{D56C4241-EC10-FFA4-97E3-1D1B47951254}"/>
                  </a:ext>
                </a:extLst>
              </p:cNvPr>
              <p:cNvSpPr/>
              <p:nvPr/>
            </p:nvSpPr>
            <p:spPr>
              <a:xfrm>
                <a:off x="882739" y="1246765"/>
                <a:ext cx="69723" cy="1198"/>
              </a:xfrm>
              <a:custGeom>
                <a:avLst/>
                <a:gdLst>
                  <a:gd name="connsiteX0" fmla="*/ 0 w 69723"/>
                  <a:gd name="connsiteY0" fmla="*/ 0 h 1198"/>
                  <a:gd name="connsiteX1" fmla="*/ 69723 w 69723"/>
                  <a:gd name="connsiteY1" fmla="*/ 0 h 11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9723" h="1198">
                    <a:moveTo>
                      <a:pt x="0" y="0"/>
                    </a:moveTo>
                    <a:lnTo>
                      <a:pt x="69723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80" name="Forma livre: Forma 179">
                <a:extLst>
                  <a:ext uri="{FF2B5EF4-FFF2-40B4-BE49-F238E27FC236}">
                    <a16:creationId xmlns:a16="http://schemas.microsoft.com/office/drawing/2014/main" id="{D2F677C0-FCCF-CF39-C21C-77D22E717A3E}"/>
                  </a:ext>
                </a:extLst>
              </p:cNvPr>
              <p:cNvSpPr/>
              <p:nvPr/>
            </p:nvSpPr>
            <p:spPr>
              <a:xfrm>
                <a:off x="882739" y="1282303"/>
                <a:ext cx="69723" cy="1198"/>
              </a:xfrm>
              <a:custGeom>
                <a:avLst/>
                <a:gdLst>
                  <a:gd name="connsiteX0" fmla="*/ 0 w 69723"/>
                  <a:gd name="connsiteY0" fmla="*/ 0 h 1198"/>
                  <a:gd name="connsiteX1" fmla="*/ 69723 w 69723"/>
                  <a:gd name="connsiteY1" fmla="*/ 0 h 11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9723" h="1198">
                    <a:moveTo>
                      <a:pt x="0" y="0"/>
                    </a:moveTo>
                    <a:lnTo>
                      <a:pt x="69723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81" name="Forma livre: Forma 180">
                <a:extLst>
                  <a:ext uri="{FF2B5EF4-FFF2-40B4-BE49-F238E27FC236}">
                    <a16:creationId xmlns:a16="http://schemas.microsoft.com/office/drawing/2014/main" id="{3EA41824-9CD0-D63A-16CF-40E6F10DD5E4}"/>
                  </a:ext>
                </a:extLst>
              </p:cNvPr>
              <p:cNvSpPr/>
              <p:nvPr/>
            </p:nvSpPr>
            <p:spPr>
              <a:xfrm>
                <a:off x="882739" y="1211226"/>
                <a:ext cx="69723" cy="1198"/>
              </a:xfrm>
              <a:custGeom>
                <a:avLst/>
                <a:gdLst>
                  <a:gd name="connsiteX0" fmla="*/ 0 w 69723"/>
                  <a:gd name="connsiteY0" fmla="*/ 0 h 1198"/>
                  <a:gd name="connsiteX1" fmla="*/ 69723 w 69723"/>
                  <a:gd name="connsiteY1" fmla="*/ 0 h 11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9723" h="1198">
                    <a:moveTo>
                      <a:pt x="0" y="0"/>
                    </a:moveTo>
                    <a:lnTo>
                      <a:pt x="69723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82" name="Forma livre: Forma 181">
                <a:extLst>
                  <a:ext uri="{FF2B5EF4-FFF2-40B4-BE49-F238E27FC236}">
                    <a16:creationId xmlns:a16="http://schemas.microsoft.com/office/drawing/2014/main" id="{3E3F1DB2-2BF7-F044-C1AD-88BD2C765A23}"/>
                  </a:ext>
                </a:extLst>
              </p:cNvPr>
              <p:cNvSpPr/>
              <p:nvPr/>
            </p:nvSpPr>
            <p:spPr>
              <a:xfrm>
                <a:off x="917595" y="987067"/>
                <a:ext cx="1198" cy="27786"/>
              </a:xfrm>
              <a:custGeom>
                <a:avLst/>
                <a:gdLst>
                  <a:gd name="connsiteX0" fmla="*/ 0 w 1198"/>
                  <a:gd name="connsiteY0" fmla="*/ 0 h 27786"/>
                  <a:gd name="connsiteX1" fmla="*/ 0 w 1198"/>
                  <a:gd name="connsiteY1" fmla="*/ 27786 h 277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8" h="27786">
                    <a:moveTo>
                      <a:pt x="0" y="0"/>
                    </a:moveTo>
                    <a:lnTo>
                      <a:pt x="0" y="27786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83" name="Forma livre: Forma 182">
                <a:extLst>
                  <a:ext uri="{FF2B5EF4-FFF2-40B4-BE49-F238E27FC236}">
                    <a16:creationId xmlns:a16="http://schemas.microsoft.com/office/drawing/2014/main" id="{D767AEC3-AF90-37E8-5062-8F4EAF8174A9}"/>
                  </a:ext>
                </a:extLst>
              </p:cNvPr>
              <p:cNvSpPr/>
              <p:nvPr/>
            </p:nvSpPr>
            <p:spPr>
              <a:xfrm>
                <a:off x="857685" y="1070270"/>
                <a:ext cx="119844" cy="246805"/>
              </a:xfrm>
              <a:custGeom>
                <a:avLst/>
                <a:gdLst>
                  <a:gd name="connsiteX0" fmla="*/ 0 w 119844"/>
                  <a:gd name="connsiteY0" fmla="*/ 246805 h 246805"/>
                  <a:gd name="connsiteX1" fmla="*/ 0 w 119844"/>
                  <a:gd name="connsiteY1" fmla="*/ 0 h 246805"/>
                  <a:gd name="connsiteX2" fmla="*/ 119844 w 119844"/>
                  <a:gd name="connsiteY2" fmla="*/ 0 h 246805"/>
                  <a:gd name="connsiteX3" fmla="*/ 119844 w 119844"/>
                  <a:gd name="connsiteY3" fmla="*/ 246805 h 2468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9844" h="246805">
                    <a:moveTo>
                      <a:pt x="0" y="246805"/>
                    </a:moveTo>
                    <a:lnTo>
                      <a:pt x="0" y="0"/>
                    </a:lnTo>
                    <a:lnTo>
                      <a:pt x="119844" y="0"/>
                    </a:lnTo>
                    <a:lnTo>
                      <a:pt x="119844" y="246805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84" name="Forma livre: Forma 183">
                <a:extLst>
                  <a:ext uri="{FF2B5EF4-FFF2-40B4-BE49-F238E27FC236}">
                    <a16:creationId xmlns:a16="http://schemas.microsoft.com/office/drawing/2014/main" id="{15521C4F-F6DB-C80E-4C72-CE7AA624F745}"/>
                  </a:ext>
                </a:extLst>
              </p:cNvPr>
              <p:cNvSpPr/>
              <p:nvPr/>
            </p:nvSpPr>
            <p:spPr>
              <a:xfrm>
                <a:off x="879108" y="1041105"/>
                <a:ext cx="76984" cy="28313"/>
              </a:xfrm>
              <a:custGeom>
                <a:avLst/>
                <a:gdLst>
                  <a:gd name="connsiteX0" fmla="*/ 0 w 76984"/>
                  <a:gd name="connsiteY0" fmla="*/ 28314 h 28313"/>
                  <a:gd name="connsiteX1" fmla="*/ 0 w 76984"/>
                  <a:gd name="connsiteY1" fmla="*/ 0 h 28313"/>
                  <a:gd name="connsiteX2" fmla="*/ 76984 w 76984"/>
                  <a:gd name="connsiteY2" fmla="*/ 0 h 28313"/>
                  <a:gd name="connsiteX3" fmla="*/ 76984 w 76984"/>
                  <a:gd name="connsiteY3" fmla="*/ 28314 h 283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6984" h="28313">
                    <a:moveTo>
                      <a:pt x="0" y="28314"/>
                    </a:moveTo>
                    <a:lnTo>
                      <a:pt x="0" y="0"/>
                    </a:lnTo>
                    <a:lnTo>
                      <a:pt x="76984" y="0"/>
                    </a:lnTo>
                    <a:lnTo>
                      <a:pt x="76984" y="28314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85" name="Forma livre: Forma 184">
                <a:extLst>
                  <a:ext uri="{FF2B5EF4-FFF2-40B4-BE49-F238E27FC236}">
                    <a16:creationId xmlns:a16="http://schemas.microsoft.com/office/drawing/2014/main" id="{25EEDC61-A521-0C2C-EBD5-E7043BDEB8FB}"/>
                  </a:ext>
                </a:extLst>
              </p:cNvPr>
              <p:cNvSpPr/>
              <p:nvPr/>
            </p:nvSpPr>
            <p:spPr>
              <a:xfrm>
                <a:off x="895775" y="1015763"/>
                <a:ext cx="43650" cy="24694"/>
              </a:xfrm>
              <a:custGeom>
                <a:avLst/>
                <a:gdLst>
                  <a:gd name="connsiteX0" fmla="*/ 0 w 43650"/>
                  <a:gd name="connsiteY0" fmla="*/ 0 h 24694"/>
                  <a:gd name="connsiteX1" fmla="*/ 43650 w 43650"/>
                  <a:gd name="connsiteY1" fmla="*/ 0 h 24694"/>
                  <a:gd name="connsiteX2" fmla="*/ 43650 w 43650"/>
                  <a:gd name="connsiteY2" fmla="*/ 24695 h 246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43650" h="24694">
                    <a:moveTo>
                      <a:pt x="0" y="0"/>
                    </a:moveTo>
                    <a:lnTo>
                      <a:pt x="43650" y="0"/>
                    </a:lnTo>
                    <a:lnTo>
                      <a:pt x="43650" y="24695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86" name="Forma livre: Forma 185">
                <a:extLst>
                  <a:ext uri="{FF2B5EF4-FFF2-40B4-BE49-F238E27FC236}">
                    <a16:creationId xmlns:a16="http://schemas.microsoft.com/office/drawing/2014/main" id="{F7451710-45B2-81EB-3615-B5D88B2A818F}"/>
                  </a:ext>
                </a:extLst>
              </p:cNvPr>
              <p:cNvSpPr/>
              <p:nvPr/>
            </p:nvSpPr>
            <p:spPr>
              <a:xfrm>
                <a:off x="766981" y="1170511"/>
                <a:ext cx="66428" cy="125499"/>
              </a:xfrm>
              <a:custGeom>
                <a:avLst/>
                <a:gdLst>
                  <a:gd name="connsiteX0" fmla="*/ 0 w 66428"/>
                  <a:gd name="connsiteY0" fmla="*/ 125500 h 125499"/>
                  <a:gd name="connsiteX1" fmla="*/ 0 w 66428"/>
                  <a:gd name="connsiteY1" fmla="*/ 0 h 125499"/>
                  <a:gd name="connsiteX2" fmla="*/ 66428 w 66428"/>
                  <a:gd name="connsiteY2" fmla="*/ 0 h 1254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66428" h="125499">
                    <a:moveTo>
                      <a:pt x="0" y="125500"/>
                    </a:moveTo>
                    <a:lnTo>
                      <a:pt x="0" y="0"/>
                    </a:lnTo>
                    <a:lnTo>
                      <a:pt x="66428" y="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87" name="Forma livre: Forma 186">
                <a:extLst>
                  <a:ext uri="{FF2B5EF4-FFF2-40B4-BE49-F238E27FC236}">
                    <a16:creationId xmlns:a16="http://schemas.microsoft.com/office/drawing/2014/main" id="{2069C250-6991-87E0-5175-90A2A95EDD34}"/>
                  </a:ext>
                </a:extLst>
              </p:cNvPr>
              <p:cNvSpPr/>
              <p:nvPr/>
            </p:nvSpPr>
            <p:spPr>
              <a:xfrm>
                <a:off x="827298" y="1244752"/>
                <a:ext cx="1198" cy="23293"/>
              </a:xfrm>
              <a:custGeom>
                <a:avLst/>
                <a:gdLst>
                  <a:gd name="connsiteX0" fmla="*/ 0 w 1198"/>
                  <a:gd name="connsiteY0" fmla="*/ 0 h 23293"/>
                  <a:gd name="connsiteX1" fmla="*/ 0 w 1198"/>
                  <a:gd name="connsiteY1" fmla="*/ 23293 h 232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8" h="23293">
                    <a:moveTo>
                      <a:pt x="0" y="0"/>
                    </a:moveTo>
                    <a:lnTo>
                      <a:pt x="0" y="23293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88" name="Forma livre: Forma 187">
                <a:extLst>
                  <a:ext uri="{FF2B5EF4-FFF2-40B4-BE49-F238E27FC236}">
                    <a16:creationId xmlns:a16="http://schemas.microsoft.com/office/drawing/2014/main" id="{D718598E-3EAA-675A-CAC5-15648E142D33}"/>
                  </a:ext>
                </a:extLst>
              </p:cNvPr>
              <p:cNvSpPr/>
              <p:nvPr/>
            </p:nvSpPr>
            <p:spPr>
              <a:xfrm>
                <a:off x="799392" y="1244752"/>
                <a:ext cx="1198" cy="23293"/>
              </a:xfrm>
              <a:custGeom>
                <a:avLst/>
                <a:gdLst>
                  <a:gd name="connsiteX0" fmla="*/ 0 w 1198"/>
                  <a:gd name="connsiteY0" fmla="*/ 0 h 23293"/>
                  <a:gd name="connsiteX1" fmla="*/ 0 w 1198"/>
                  <a:gd name="connsiteY1" fmla="*/ 23293 h 232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8" h="23293">
                    <a:moveTo>
                      <a:pt x="0" y="0"/>
                    </a:moveTo>
                    <a:lnTo>
                      <a:pt x="0" y="23293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89" name="Forma livre: Forma 188">
                <a:extLst>
                  <a:ext uri="{FF2B5EF4-FFF2-40B4-BE49-F238E27FC236}">
                    <a16:creationId xmlns:a16="http://schemas.microsoft.com/office/drawing/2014/main" id="{86F4BB00-BBA8-37F3-1FF3-B804DC2E2AF4}"/>
                  </a:ext>
                </a:extLst>
              </p:cNvPr>
              <p:cNvSpPr/>
              <p:nvPr/>
            </p:nvSpPr>
            <p:spPr>
              <a:xfrm>
                <a:off x="827298" y="1198285"/>
                <a:ext cx="1198" cy="23293"/>
              </a:xfrm>
              <a:custGeom>
                <a:avLst/>
                <a:gdLst>
                  <a:gd name="connsiteX0" fmla="*/ 0 w 1198"/>
                  <a:gd name="connsiteY0" fmla="*/ 0 h 23293"/>
                  <a:gd name="connsiteX1" fmla="*/ 0 w 1198"/>
                  <a:gd name="connsiteY1" fmla="*/ 23293 h 232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8" h="23293">
                    <a:moveTo>
                      <a:pt x="0" y="0"/>
                    </a:moveTo>
                    <a:lnTo>
                      <a:pt x="0" y="23293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90" name="Forma livre: Forma 189">
                <a:extLst>
                  <a:ext uri="{FF2B5EF4-FFF2-40B4-BE49-F238E27FC236}">
                    <a16:creationId xmlns:a16="http://schemas.microsoft.com/office/drawing/2014/main" id="{BFA0B70D-779F-01EF-AB92-72D34D88146C}"/>
                  </a:ext>
                </a:extLst>
              </p:cNvPr>
              <p:cNvSpPr/>
              <p:nvPr/>
            </p:nvSpPr>
            <p:spPr>
              <a:xfrm>
                <a:off x="799392" y="1198285"/>
                <a:ext cx="1198" cy="23293"/>
              </a:xfrm>
              <a:custGeom>
                <a:avLst/>
                <a:gdLst>
                  <a:gd name="connsiteX0" fmla="*/ 0 w 1198"/>
                  <a:gd name="connsiteY0" fmla="*/ 0 h 23293"/>
                  <a:gd name="connsiteX1" fmla="*/ 0 w 1198"/>
                  <a:gd name="connsiteY1" fmla="*/ 23293 h 232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8" h="23293">
                    <a:moveTo>
                      <a:pt x="0" y="0"/>
                    </a:moveTo>
                    <a:lnTo>
                      <a:pt x="0" y="23293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91" name="Forma livre: Forma 190">
                <a:extLst>
                  <a:ext uri="{FF2B5EF4-FFF2-40B4-BE49-F238E27FC236}">
                    <a16:creationId xmlns:a16="http://schemas.microsoft.com/office/drawing/2014/main" id="{637D3470-57E5-F04D-5BC2-EF34294F4888}"/>
                  </a:ext>
                </a:extLst>
              </p:cNvPr>
              <p:cNvSpPr/>
              <p:nvPr/>
            </p:nvSpPr>
            <p:spPr>
              <a:xfrm>
                <a:off x="827298" y="1291194"/>
                <a:ext cx="1198" cy="25629"/>
              </a:xfrm>
              <a:custGeom>
                <a:avLst/>
                <a:gdLst>
                  <a:gd name="connsiteX0" fmla="*/ 0 w 1198"/>
                  <a:gd name="connsiteY0" fmla="*/ 0 h 25629"/>
                  <a:gd name="connsiteX1" fmla="*/ 0 w 1198"/>
                  <a:gd name="connsiteY1" fmla="*/ 25630 h 256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8" h="25629">
                    <a:moveTo>
                      <a:pt x="0" y="0"/>
                    </a:moveTo>
                    <a:lnTo>
                      <a:pt x="0" y="2563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92" name="Forma livre: Forma 191">
                <a:extLst>
                  <a:ext uri="{FF2B5EF4-FFF2-40B4-BE49-F238E27FC236}">
                    <a16:creationId xmlns:a16="http://schemas.microsoft.com/office/drawing/2014/main" id="{2214E5DA-866F-0A19-2E79-7CFCE17F8EB4}"/>
                  </a:ext>
                </a:extLst>
              </p:cNvPr>
              <p:cNvSpPr/>
              <p:nvPr/>
            </p:nvSpPr>
            <p:spPr>
              <a:xfrm>
                <a:off x="799392" y="1291194"/>
                <a:ext cx="1198" cy="25629"/>
              </a:xfrm>
              <a:custGeom>
                <a:avLst/>
                <a:gdLst>
                  <a:gd name="connsiteX0" fmla="*/ 0 w 1198"/>
                  <a:gd name="connsiteY0" fmla="*/ 0 h 25629"/>
                  <a:gd name="connsiteX1" fmla="*/ 0 w 1198"/>
                  <a:gd name="connsiteY1" fmla="*/ 25630 h 256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8" h="25629">
                    <a:moveTo>
                      <a:pt x="0" y="0"/>
                    </a:moveTo>
                    <a:lnTo>
                      <a:pt x="0" y="2563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93" name="Forma livre: Forma 192">
                <a:extLst>
                  <a:ext uri="{FF2B5EF4-FFF2-40B4-BE49-F238E27FC236}">
                    <a16:creationId xmlns:a16="http://schemas.microsoft.com/office/drawing/2014/main" id="{2A4574D5-8900-E51F-1C2E-060691F6D4F6}"/>
                  </a:ext>
                </a:extLst>
              </p:cNvPr>
              <p:cNvSpPr/>
              <p:nvPr/>
            </p:nvSpPr>
            <p:spPr>
              <a:xfrm>
                <a:off x="1003242" y="1217409"/>
                <a:ext cx="36509" cy="99666"/>
              </a:xfrm>
              <a:custGeom>
                <a:avLst/>
                <a:gdLst>
                  <a:gd name="connsiteX0" fmla="*/ 36509 w 36509"/>
                  <a:gd name="connsiteY0" fmla="*/ 99666 h 99666"/>
                  <a:gd name="connsiteX1" fmla="*/ 36509 w 36509"/>
                  <a:gd name="connsiteY1" fmla="*/ 0 h 99666"/>
                  <a:gd name="connsiteX2" fmla="*/ 0 w 36509"/>
                  <a:gd name="connsiteY2" fmla="*/ 0 h 996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6509" h="99666">
                    <a:moveTo>
                      <a:pt x="36509" y="99666"/>
                    </a:moveTo>
                    <a:lnTo>
                      <a:pt x="36509" y="0"/>
                    </a:lnTo>
                    <a:lnTo>
                      <a:pt x="0" y="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94" name="Forma livre: Forma 193">
                <a:extLst>
                  <a:ext uri="{FF2B5EF4-FFF2-40B4-BE49-F238E27FC236}">
                    <a16:creationId xmlns:a16="http://schemas.microsoft.com/office/drawing/2014/main" id="{11199416-7135-94C0-5080-5CA796E4D7AA}"/>
                  </a:ext>
                </a:extLst>
              </p:cNvPr>
              <p:cNvSpPr/>
              <p:nvPr/>
            </p:nvSpPr>
            <p:spPr>
              <a:xfrm>
                <a:off x="1009329" y="1244752"/>
                <a:ext cx="1198" cy="23293"/>
              </a:xfrm>
              <a:custGeom>
                <a:avLst/>
                <a:gdLst>
                  <a:gd name="connsiteX0" fmla="*/ 0 w 1198"/>
                  <a:gd name="connsiteY0" fmla="*/ 0 h 23293"/>
                  <a:gd name="connsiteX1" fmla="*/ 0 w 1198"/>
                  <a:gd name="connsiteY1" fmla="*/ 23293 h 232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8" h="23293">
                    <a:moveTo>
                      <a:pt x="0" y="0"/>
                    </a:moveTo>
                    <a:lnTo>
                      <a:pt x="0" y="23293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95" name="Forma livre: Forma 194">
                <a:extLst>
                  <a:ext uri="{FF2B5EF4-FFF2-40B4-BE49-F238E27FC236}">
                    <a16:creationId xmlns:a16="http://schemas.microsoft.com/office/drawing/2014/main" id="{5E2FDB1C-7A66-7264-D40E-6B1E73FA4C88}"/>
                  </a:ext>
                </a:extLst>
              </p:cNvPr>
              <p:cNvSpPr/>
              <p:nvPr/>
            </p:nvSpPr>
            <p:spPr>
              <a:xfrm>
                <a:off x="1009329" y="1291194"/>
                <a:ext cx="1198" cy="25629"/>
              </a:xfrm>
              <a:custGeom>
                <a:avLst/>
                <a:gdLst>
                  <a:gd name="connsiteX0" fmla="*/ 0 w 1198"/>
                  <a:gd name="connsiteY0" fmla="*/ 0 h 25629"/>
                  <a:gd name="connsiteX1" fmla="*/ 0 w 1198"/>
                  <a:gd name="connsiteY1" fmla="*/ 25630 h 256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8" h="25629">
                    <a:moveTo>
                      <a:pt x="0" y="0"/>
                    </a:moveTo>
                    <a:lnTo>
                      <a:pt x="0" y="2563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96" name="Forma livre: Forma 195">
              <a:extLst>
                <a:ext uri="{FF2B5EF4-FFF2-40B4-BE49-F238E27FC236}">
                  <a16:creationId xmlns:a16="http://schemas.microsoft.com/office/drawing/2014/main" id="{F7E7E6E4-3CEC-8206-44E0-770B5A1DEB1F}"/>
                </a:ext>
              </a:extLst>
            </p:cNvPr>
            <p:cNvSpPr/>
            <p:nvPr/>
          </p:nvSpPr>
          <p:spPr>
            <a:xfrm>
              <a:off x="764584" y="1025361"/>
              <a:ext cx="71269" cy="16355"/>
            </a:xfrm>
            <a:custGeom>
              <a:avLst/>
              <a:gdLst>
                <a:gd name="connsiteX0" fmla="*/ 0 w 71269"/>
                <a:gd name="connsiteY0" fmla="*/ 16355 h 16355"/>
                <a:gd name="connsiteX1" fmla="*/ 24024 w 71269"/>
                <a:gd name="connsiteY1" fmla="*/ 16355 h 16355"/>
                <a:gd name="connsiteX2" fmla="*/ 40379 w 71269"/>
                <a:gd name="connsiteY2" fmla="*/ 0 h 16355"/>
                <a:gd name="connsiteX3" fmla="*/ 56735 w 71269"/>
                <a:gd name="connsiteY3" fmla="*/ 16355 h 16355"/>
                <a:gd name="connsiteX4" fmla="*/ 71269 w 71269"/>
                <a:gd name="connsiteY4" fmla="*/ 16355 h 163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269" h="16355">
                  <a:moveTo>
                    <a:pt x="0" y="16355"/>
                  </a:moveTo>
                  <a:lnTo>
                    <a:pt x="24024" y="16355"/>
                  </a:lnTo>
                  <a:cubicBezTo>
                    <a:pt x="24024" y="7321"/>
                    <a:pt x="31345" y="0"/>
                    <a:pt x="40379" y="0"/>
                  </a:cubicBezTo>
                  <a:cubicBezTo>
                    <a:pt x="49414" y="0"/>
                    <a:pt x="56735" y="7333"/>
                    <a:pt x="56735" y="16355"/>
                  </a:cubicBezTo>
                  <a:lnTo>
                    <a:pt x="71269" y="16355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7" name="Forma livre: Forma 196">
              <a:extLst>
                <a:ext uri="{FF2B5EF4-FFF2-40B4-BE49-F238E27FC236}">
                  <a16:creationId xmlns:a16="http://schemas.microsoft.com/office/drawing/2014/main" id="{DFE03128-E121-B6C3-CB98-E65F2FE936C1}"/>
                </a:ext>
              </a:extLst>
            </p:cNvPr>
            <p:cNvSpPr/>
            <p:nvPr/>
          </p:nvSpPr>
          <p:spPr>
            <a:xfrm>
              <a:off x="1004440" y="1121684"/>
              <a:ext cx="63912" cy="13359"/>
            </a:xfrm>
            <a:custGeom>
              <a:avLst/>
              <a:gdLst>
                <a:gd name="connsiteX0" fmla="*/ 63912 w 63912"/>
                <a:gd name="connsiteY0" fmla="*/ 13360 h 13359"/>
                <a:gd name="connsiteX1" fmla="*/ 50971 w 63912"/>
                <a:gd name="connsiteY1" fmla="*/ 13360 h 13359"/>
                <a:gd name="connsiteX2" fmla="*/ 37624 w 63912"/>
                <a:gd name="connsiteY2" fmla="*/ 0 h 13359"/>
                <a:gd name="connsiteX3" fmla="*/ 24264 w 63912"/>
                <a:gd name="connsiteY3" fmla="*/ 13360 h 13359"/>
                <a:gd name="connsiteX4" fmla="*/ 0 w 63912"/>
                <a:gd name="connsiteY4" fmla="*/ 13360 h 133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912" h="13359">
                  <a:moveTo>
                    <a:pt x="63912" y="13360"/>
                  </a:moveTo>
                  <a:lnTo>
                    <a:pt x="50971" y="13360"/>
                  </a:lnTo>
                  <a:cubicBezTo>
                    <a:pt x="50971" y="5979"/>
                    <a:pt x="44992" y="0"/>
                    <a:pt x="37624" y="0"/>
                  </a:cubicBezTo>
                  <a:cubicBezTo>
                    <a:pt x="30255" y="0"/>
                    <a:pt x="24264" y="5979"/>
                    <a:pt x="24264" y="13360"/>
                  </a:cubicBezTo>
                  <a:lnTo>
                    <a:pt x="0" y="13360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8" name="Forma livre: Forma 197">
              <a:extLst>
                <a:ext uri="{FF2B5EF4-FFF2-40B4-BE49-F238E27FC236}">
                  <a16:creationId xmlns:a16="http://schemas.microsoft.com/office/drawing/2014/main" id="{901B9E41-6B25-2D7D-87D3-DAF1C5CAC56D}"/>
                </a:ext>
              </a:extLst>
            </p:cNvPr>
            <p:cNvSpPr/>
            <p:nvPr/>
          </p:nvSpPr>
          <p:spPr>
            <a:xfrm>
              <a:off x="1062277" y="1157259"/>
              <a:ext cx="26683" cy="1198"/>
            </a:xfrm>
            <a:custGeom>
              <a:avLst/>
              <a:gdLst>
                <a:gd name="connsiteX0" fmla="*/ 0 w 26683"/>
                <a:gd name="connsiteY0" fmla="*/ 0 h 1198"/>
                <a:gd name="connsiteX1" fmla="*/ 26684 w 26683"/>
                <a:gd name="connsiteY1" fmla="*/ 0 h 11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6683" h="1198">
                  <a:moveTo>
                    <a:pt x="0" y="0"/>
                  </a:moveTo>
                  <a:lnTo>
                    <a:pt x="26684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9" name="Forma livre: Forma 198">
              <a:extLst>
                <a:ext uri="{FF2B5EF4-FFF2-40B4-BE49-F238E27FC236}">
                  <a16:creationId xmlns:a16="http://schemas.microsoft.com/office/drawing/2014/main" id="{DDF7CFFE-3809-30A5-C0C9-5FAADC4B019B}"/>
                </a:ext>
              </a:extLst>
            </p:cNvPr>
            <p:cNvSpPr/>
            <p:nvPr/>
          </p:nvSpPr>
          <p:spPr>
            <a:xfrm>
              <a:off x="1024977" y="1162687"/>
              <a:ext cx="11155" cy="1198"/>
            </a:xfrm>
            <a:custGeom>
              <a:avLst/>
              <a:gdLst>
                <a:gd name="connsiteX0" fmla="*/ 0 w 11155"/>
                <a:gd name="connsiteY0" fmla="*/ 0 h 1198"/>
                <a:gd name="connsiteX1" fmla="*/ 11155 w 11155"/>
                <a:gd name="connsiteY1" fmla="*/ 0 h 11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155" h="1198">
                  <a:moveTo>
                    <a:pt x="0" y="0"/>
                  </a:moveTo>
                  <a:lnTo>
                    <a:pt x="11155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200" name="Gráfico 2">
            <a:extLst>
              <a:ext uri="{FF2B5EF4-FFF2-40B4-BE49-F238E27FC236}">
                <a16:creationId xmlns:a16="http://schemas.microsoft.com/office/drawing/2014/main" id="{18969822-38B0-3C31-83E7-07382CB1F106}"/>
              </a:ext>
            </a:extLst>
          </p:cNvPr>
          <p:cNvGrpSpPr/>
          <p:nvPr/>
        </p:nvGrpSpPr>
        <p:grpSpPr>
          <a:xfrm>
            <a:off x="1375643" y="1002571"/>
            <a:ext cx="343200" cy="315222"/>
            <a:chOff x="1375643" y="1002571"/>
            <a:chExt cx="343200" cy="315222"/>
          </a:xfrm>
          <a:noFill/>
        </p:grpSpPr>
        <p:grpSp>
          <p:nvGrpSpPr>
            <p:cNvPr id="201" name="Gráfico 2">
              <a:extLst>
                <a:ext uri="{FF2B5EF4-FFF2-40B4-BE49-F238E27FC236}">
                  <a16:creationId xmlns:a16="http://schemas.microsoft.com/office/drawing/2014/main" id="{497D4856-7DBA-F2F0-109C-AEAFBF6121E7}"/>
                </a:ext>
              </a:extLst>
            </p:cNvPr>
            <p:cNvGrpSpPr/>
            <p:nvPr/>
          </p:nvGrpSpPr>
          <p:grpSpPr>
            <a:xfrm>
              <a:off x="1401093" y="1002571"/>
              <a:ext cx="253874" cy="314216"/>
              <a:chOff x="1401093" y="1002571"/>
              <a:chExt cx="253874" cy="314216"/>
            </a:xfrm>
            <a:noFill/>
          </p:grpSpPr>
          <p:sp>
            <p:nvSpPr>
              <p:cNvPr id="202" name="Forma livre: Forma 201">
                <a:extLst>
                  <a:ext uri="{FF2B5EF4-FFF2-40B4-BE49-F238E27FC236}">
                    <a16:creationId xmlns:a16="http://schemas.microsoft.com/office/drawing/2014/main" id="{D41020F2-3CE5-96EB-3ACC-C2062682F56B}"/>
                  </a:ext>
                </a:extLst>
              </p:cNvPr>
              <p:cNvSpPr/>
              <p:nvPr/>
            </p:nvSpPr>
            <p:spPr>
              <a:xfrm>
                <a:off x="1491353" y="1177772"/>
                <a:ext cx="163614" cy="139015"/>
              </a:xfrm>
              <a:custGeom>
                <a:avLst/>
                <a:gdLst>
                  <a:gd name="connsiteX0" fmla="*/ 0 w 163614"/>
                  <a:gd name="connsiteY0" fmla="*/ 26360 h 139015"/>
                  <a:gd name="connsiteX1" fmla="*/ 42189 w 163614"/>
                  <a:gd name="connsiteY1" fmla="*/ 84 h 139015"/>
                  <a:gd name="connsiteX2" fmla="*/ 42189 w 163614"/>
                  <a:gd name="connsiteY2" fmla="*/ 37600 h 139015"/>
                  <a:gd name="connsiteX3" fmla="*/ 102758 w 163614"/>
                  <a:gd name="connsiteY3" fmla="*/ 0 h 139015"/>
                  <a:gd name="connsiteX4" fmla="*/ 102758 w 163614"/>
                  <a:gd name="connsiteY4" fmla="*/ 37971 h 139015"/>
                  <a:gd name="connsiteX5" fmla="*/ 163614 w 163614"/>
                  <a:gd name="connsiteY5" fmla="*/ 335 h 139015"/>
                  <a:gd name="connsiteX6" fmla="*/ 163614 w 163614"/>
                  <a:gd name="connsiteY6" fmla="*/ 139015 h 1390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3614" h="139015">
                    <a:moveTo>
                      <a:pt x="0" y="26360"/>
                    </a:moveTo>
                    <a:lnTo>
                      <a:pt x="42189" y="84"/>
                    </a:lnTo>
                    <a:lnTo>
                      <a:pt x="42189" y="37600"/>
                    </a:lnTo>
                    <a:lnTo>
                      <a:pt x="102758" y="0"/>
                    </a:lnTo>
                    <a:lnTo>
                      <a:pt x="102758" y="37971"/>
                    </a:lnTo>
                    <a:lnTo>
                      <a:pt x="163614" y="335"/>
                    </a:lnTo>
                    <a:lnTo>
                      <a:pt x="163614" y="139015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03" name="Forma livre: Forma 202">
                <a:extLst>
                  <a:ext uri="{FF2B5EF4-FFF2-40B4-BE49-F238E27FC236}">
                    <a16:creationId xmlns:a16="http://schemas.microsoft.com/office/drawing/2014/main" id="{1C48543E-7744-7B63-D77E-7B985DEB2B17}"/>
                  </a:ext>
                </a:extLst>
              </p:cNvPr>
              <p:cNvSpPr/>
              <p:nvPr/>
            </p:nvSpPr>
            <p:spPr>
              <a:xfrm>
                <a:off x="1497728" y="1254002"/>
                <a:ext cx="26588" cy="1198"/>
              </a:xfrm>
              <a:custGeom>
                <a:avLst/>
                <a:gdLst>
                  <a:gd name="connsiteX0" fmla="*/ 0 w 26588"/>
                  <a:gd name="connsiteY0" fmla="*/ 0 h 1198"/>
                  <a:gd name="connsiteX1" fmla="*/ 26588 w 26588"/>
                  <a:gd name="connsiteY1" fmla="*/ 0 h 11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6588" h="1198">
                    <a:moveTo>
                      <a:pt x="0" y="0"/>
                    </a:moveTo>
                    <a:lnTo>
                      <a:pt x="26588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04" name="Forma livre: Forma 203">
                <a:extLst>
                  <a:ext uri="{FF2B5EF4-FFF2-40B4-BE49-F238E27FC236}">
                    <a16:creationId xmlns:a16="http://schemas.microsoft.com/office/drawing/2014/main" id="{D379F48E-197A-B8EA-482B-FE088D663DBC}"/>
                  </a:ext>
                </a:extLst>
              </p:cNvPr>
              <p:cNvSpPr/>
              <p:nvPr/>
            </p:nvSpPr>
            <p:spPr>
              <a:xfrm>
                <a:off x="1550053" y="1254002"/>
                <a:ext cx="26588" cy="1198"/>
              </a:xfrm>
              <a:custGeom>
                <a:avLst/>
                <a:gdLst>
                  <a:gd name="connsiteX0" fmla="*/ 0 w 26588"/>
                  <a:gd name="connsiteY0" fmla="*/ 0 h 1198"/>
                  <a:gd name="connsiteX1" fmla="*/ 26588 w 26588"/>
                  <a:gd name="connsiteY1" fmla="*/ 0 h 11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6588" h="1198">
                    <a:moveTo>
                      <a:pt x="0" y="0"/>
                    </a:moveTo>
                    <a:lnTo>
                      <a:pt x="26588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05" name="Forma livre: Forma 204">
                <a:extLst>
                  <a:ext uri="{FF2B5EF4-FFF2-40B4-BE49-F238E27FC236}">
                    <a16:creationId xmlns:a16="http://schemas.microsoft.com/office/drawing/2014/main" id="{EE326881-05AA-3212-6D56-E7BAA20F4FF6}"/>
                  </a:ext>
                </a:extLst>
              </p:cNvPr>
              <p:cNvSpPr/>
              <p:nvPr/>
            </p:nvSpPr>
            <p:spPr>
              <a:xfrm>
                <a:off x="1602367" y="1254002"/>
                <a:ext cx="26600" cy="1198"/>
              </a:xfrm>
              <a:custGeom>
                <a:avLst/>
                <a:gdLst>
                  <a:gd name="connsiteX0" fmla="*/ 0 w 26600"/>
                  <a:gd name="connsiteY0" fmla="*/ 0 h 1198"/>
                  <a:gd name="connsiteX1" fmla="*/ 26600 w 26600"/>
                  <a:gd name="connsiteY1" fmla="*/ 0 h 11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6600" h="1198">
                    <a:moveTo>
                      <a:pt x="0" y="0"/>
                    </a:moveTo>
                    <a:lnTo>
                      <a:pt x="2660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06" name="Forma livre: Forma 205">
                <a:extLst>
                  <a:ext uri="{FF2B5EF4-FFF2-40B4-BE49-F238E27FC236}">
                    <a16:creationId xmlns:a16="http://schemas.microsoft.com/office/drawing/2014/main" id="{1441732B-53FE-4428-5AFE-4695A6EC6208}"/>
                  </a:ext>
                </a:extLst>
              </p:cNvPr>
              <p:cNvSpPr/>
              <p:nvPr/>
            </p:nvSpPr>
            <p:spPr>
              <a:xfrm>
                <a:off x="1481864" y="1002571"/>
                <a:ext cx="76025" cy="71460"/>
              </a:xfrm>
              <a:custGeom>
                <a:avLst/>
                <a:gdLst>
                  <a:gd name="connsiteX0" fmla="*/ 0 w 76025"/>
                  <a:gd name="connsiteY0" fmla="*/ 28469 h 71460"/>
                  <a:gd name="connsiteX1" fmla="*/ 37324 w 76025"/>
                  <a:gd name="connsiteY1" fmla="*/ 0 h 71460"/>
                  <a:gd name="connsiteX2" fmla="*/ 76026 w 76025"/>
                  <a:gd name="connsiteY2" fmla="*/ 38702 h 71460"/>
                  <a:gd name="connsiteX3" fmla="*/ 57933 w 76025"/>
                  <a:gd name="connsiteY3" fmla="*/ 71461 h 714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6025" h="71460">
                    <a:moveTo>
                      <a:pt x="0" y="28469"/>
                    </a:moveTo>
                    <a:cubicBezTo>
                      <a:pt x="4481" y="12054"/>
                      <a:pt x="19507" y="0"/>
                      <a:pt x="37324" y="0"/>
                    </a:cubicBezTo>
                    <a:cubicBezTo>
                      <a:pt x="58700" y="0"/>
                      <a:pt x="76026" y="17326"/>
                      <a:pt x="76026" y="38702"/>
                    </a:cubicBezTo>
                    <a:cubicBezTo>
                      <a:pt x="76026" y="52505"/>
                      <a:pt x="68801" y="64607"/>
                      <a:pt x="57933" y="71461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07" name="Forma livre: Forma 206">
                <a:extLst>
                  <a:ext uri="{FF2B5EF4-FFF2-40B4-BE49-F238E27FC236}">
                    <a16:creationId xmlns:a16="http://schemas.microsoft.com/office/drawing/2014/main" id="{8123E564-C6CF-498B-7D9B-E600993161BD}"/>
                  </a:ext>
                </a:extLst>
              </p:cNvPr>
              <p:cNvSpPr/>
              <p:nvPr/>
            </p:nvSpPr>
            <p:spPr>
              <a:xfrm>
                <a:off x="1437710" y="1033101"/>
                <a:ext cx="58807" cy="38090"/>
              </a:xfrm>
              <a:custGeom>
                <a:avLst/>
                <a:gdLst>
                  <a:gd name="connsiteX0" fmla="*/ 0 w 58807"/>
                  <a:gd name="connsiteY0" fmla="*/ 38091 h 38090"/>
                  <a:gd name="connsiteX1" fmla="*/ 38091 w 58807"/>
                  <a:gd name="connsiteY1" fmla="*/ 0 h 38090"/>
                  <a:gd name="connsiteX2" fmla="*/ 58808 w 58807"/>
                  <a:gd name="connsiteY2" fmla="*/ 6123 h 380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58807" h="38090">
                    <a:moveTo>
                      <a:pt x="0" y="38091"/>
                    </a:moveTo>
                    <a:cubicBezTo>
                      <a:pt x="0" y="17050"/>
                      <a:pt x="17062" y="0"/>
                      <a:pt x="38091" y="0"/>
                    </a:cubicBezTo>
                    <a:cubicBezTo>
                      <a:pt x="45723" y="0"/>
                      <a:pt x="52853" y="2253"/>
                      <a:pt x="58808" y="6123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08" name="Forma livre: Forma 207">
                <a:extLst>
                  <a:ext uri="{FF2B5EF4-FFF2-40B4-BE49-F238E27FC236}">
                    <a16:creationId xmlns:a16="http://schemas.microsoft.com/office/drawing/2014/main" id="{75C69C26-ED19-9A16-07AF-C221C4868F5C}"/>
                  </a:ext>
                </a:extLst>
              </p:cNvPr>
              <p:cNvSpPr/>
              <p:nvPr/>
            </p:nvSpPr>
            <p:spPr>
              <a:xfrm>
                <a:off x="1401093" y="1094078"/>
                <a:ext cx="73953" cy="222709"/>
              </a:xfrm>
              <a:custGeom>
                <a:avLst/>
                <a:gdLst>
                  <a:gd name="connsiteX0" fmla="*/ 0 w 73953"/>
                  <a:gd name="connsiteY0" fmla="*/ 203922 h 222709"/>
                  <a:gd name="connsiteX1" fmla="*/ 11083 w 73953"/>
                  <a:gd name="connsiteY1" fmla="*/ 0 h 222709"/>
                  <a:gd name="connsiteX2" fmla="*/ 61851 w 73953"/>
                  <a:gd name="connsiteY2" fmla="*/ 0 h 222709"/>
                  <a:gd name="connsiteX3" fmla="*/ 73953 w 73953"/>
                  <a:gd name="connsiteY3" fmla="*/ 222710 h 2227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3953" h="222709">
                    <a:moveTo>
                      <a:pt x="0" y="203922"/>
                    </a:moveTo>
                    <a:lnTo>
                      <a:pt x="11083" y="0"/>
                    </a:lnTo>
                    <a:lnTo>
                      <a:pt x="61851" y="0"/>
                    </a:lnTo>
                    <a:lnTo>
                      <a:pt x="73953" y="22271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09" name="Forma livre: Forma 208">
                <a:extLst>
                  <a:ext uri="{FF2B5EF4-FFF2-40B4-BE49-F238E27FC236}">
                    <a16:creationId xmlns:a16="http://schemas.microsoft.com/office/drawing/2014/main" id="{B4C35826-246A-2D13-ED74-C6A138902FB8}"/>
                  </a:ext>
                </a:extLst>
              </p:cNvPr>
              <p:cNvSpPr/>
              <p:nvPr/>
            </p:nvSpPr>
            <p:spPr>
              <a:xfrm>
                <a:off x="1429562" y="1125051"/>
                <a:ext cx="33645" cy="1198"/>
              </a:xfrm>
              <a:custGeom>
                <a:avLst/>
                <a:gdLst>
                  <a:gd name="connsiteX0" fmla="*/ 0 w 33645"/>
                  <a:gd name="connsiteY0" fmla="*/ 0 h 1198"/>
                  <a:gd name="connsiteX1" fmla="*/ 33646 w 33645"/>
                  <a:gd name="connsiteY1" fmla="*/ 0 h 11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3645" h="1198">
                    <a:moveTo>
                      <a:pt x="0" y="0"/>
                    </a:moveTo>
                    <a:lnTo>
                      <a:pt x="33646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210" name="Forma livre: Forma 209">
              <a:extLst>
                <a:ext uri="{FF2B5EF4-FFF2-40B4-BE49-F238E27FC236}">
                  <a16:creationId xmlns:a16="http://schemas.microsoft.com/office/drawing/2014/main" id="{96CCA440-F4B3-F539-CF28-0D3EBA6F6455}"/>
                </a:ext>
              </a:extLst>
            </p:cNvPr>
            <p:cNvSpPr/>
            <p:nvPr/>
          </p:nvSpPr>
          <p:spPr>
            <a:xfrm>
              <a:off x="1375643" y="1317794"/>
              <a:ext cx="303863" cy="1198"/>
            </a:xfrm>
            <a:custGeom>
              <a:avLst/>
              <a:gdLst>
                <a:gd name="connsiteX0" fmla="*/ 0 w 303863"/>
                <a:gd name="connsiteY0" fmla="*/ 0 h 1198"/>
                <a:gd name="connsiteX1" fmla="*/ 303864 w 303863"/>
                <a:gd name="connsiteY1" fmla="*/ 0 h 11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03863" h="1198">
                  <a:moveTo>
                    <a:pt x="0" y="0"/>
                  </a:moveTo>
                  <a:lnTo>
                    <a:pt x="303864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1" name="Forma livre: Forma 210">
              <a:extLst>
                <a:ext uri="{FF2B5EF4-FFF2-40B4-BE49-F238E27FC236}">
                  <a16:creationId xmlns:a16="http://schemas.microsoft.com/office/drawing/2014/main" id="{5BFB2C8E-F7A6-5CBD-AB3E-F39DA66EBC67}"/>
                </a:ext>
              </a:extLst>
            </p:cNvPr>
            <p:cNvSpPr/>
            <p:nvPr/>
          </p:nvSpPr>
          <p:spPr>
            <a:xfrm>
              <a:off x="1702273" y="1317794"/>
              <a:ext cx="16571" cy="1198"/>
            </a:xfrm>
            <a:custGeom>
              <a:avLst/>
              <a:gdLst>
                <a:gd name="connsiteX0" fmla="*/ 0 w 16571"/>
                <a:gd name="connsiteY0" fmla="*/ 0 h 1198"/>
                <a:gd name="connsiteX1" fmla="*/ 16571 w 16571"/>
                <a:gd name="connsiteY1" fmla="*/ 0 h 11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6571" h="1198">
                  <a:moveTo>
                    <a:pt x="0" y="0"/>
                  </a:moveTo>
                  <a:lnTo>
                    <a:pt x="16571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212" name="Gráfico 2">
            <a:extLst>
              <a:ext uri="{FF2B5EF4-FFF2-40B4-BE49-F238E27FC236}">
                <a16:creationId xmlns:a16="http://schemas.microsoft.com/office/drawing/2014/main" id="{9F7DB0B6-BF7A-58D0-5841-E507DFA5E0BD}"/>
              </a:ext>
            </a:extLst>
          </p:cNvPr>
          <p:cNvGrpSpPr/>
          <p:nvPr/>
        </p:nvGrpSpPr>
        <p:grpSpPr>
          <a:xfrm>
            <a:off x="2043628" y="996568"/>
            <a:ext cx="255324" cy="321219"/>
            <a:chOff x="2043628" y="996568"/>
            <a:chExt cx="255324" cy="321219"/>
          </a:xfrm>
          <a:noFill/>
        </p:grpSpPr>
        <p:grpSp>
          <p:nvGrpSpPr>
            <p:cNvPr id="213" name="Gráfico 2">
              <a:extLst>
                <a:ext uri="{FF2B5EF4-FFF2-40B4-BE49-F238E27FC236}">
                  <a16:creationId xmlns:a16="http://schemas.microsoft.com/office/drawing/2014/main" id="{AC836B3E-0398-3CE7-71ED-26E31A71DA15}"/>
                </a:ext>
              </a:extLst>
            </p:cNvPr>
            <p:cNvGrpSpPr/>
            <p:nvPr/>
          </p:nvGrpSpPr>
          <p:grpSpPr>
            <a:xfrm>
              <a:off x="2110152" y="1103891"/>
              <a:ext cx="122288" cy="157611"/>
              <a:chOff x="2110152" y="1103891"/>
              <a:chExt cx="122288" cy="157611"/>
            </a:xfrm>
          </p:grpSpPr>
          <p:sp>
            <p:nvSpPr>
              <p:cNvPr id="214" name="Forma livre: Forma 213">
                <a:extLst>
                  <a:ext uri="{FF2B5EF4-FFF2-40B4-BE49-F238E27FC236}">
                    <a16:creationId xmlns:a16="http://schemas.microsoft.com/office/drawing/2014/main" id="{3013E811-5F55-E70E-ABA1-A20E05A27362}"/>
                  </a:ext>
                </a:extLst>
              </p:cNvPr>
              <p:cNvSpPr/>
              <p:nvPr/>
            </p:nvSpPr>
            <p:spPr>
              <a:xfrm>
                <a:off x="2210609" y="1103903"/>
                <a:ext cx="21831" cy="157599"/>
              </a:xfrm>
              <a:custGeom>
                <a:avLst/>
                <a:gdLst>
                  <a:gd name="connsiteX0" fmla="*/ 0 w 21831"/>
                  <a:gd name="connsiteY0" fmla="*/ 0 h 157599"/>
                  <a:gd name="connsiteX1" fmla="*/ 21831 w 21831"/>
                  <a:gd name="connsiteY1" fmla="*/ 157599 h 1575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1831" h="157599">
                    <a:moveTo>
                      <a:pt x="0" y="0"/>
                    </a:moveTo>
                    <a:lnTo>
                      <a:pt x="21831" y="157599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15" name="Forma livre: Forma 214">
                <a:extLst>
                  <a:ext uri="{FF2B5EF4-FFF2-40B4-BE49-F238E27FC236}">
                    <a16:creationId xmlns:a16="http://schemas.microsoft.com/office/drawing/2014/main" id="{8A4D1888-D894-FA07-5530-2056004A5A34}"/>
                  </a:ext>
                </a:extLst>
              </p:cNvPr>
              <p:cNvSpPr/>
              <p:nvPr/>
            </p:nvSpPr>
            <p:spPr>
              <a:xfrm>
                <a:off x="2110152" y="1103891"/>
                <a:ext cx="21819" cy="157599"/>
              </a:xfrm>
              <a:custGeom>
                <a:avLst/>
                <a:gdLst>
                  <a:gd name="connsiteX0" fmla="*/ 0 w 21819"/>
                  <a:gd name="connsiteY0" fmla="*/ 157599 h 157599"/>
                  <a:gd name="connsiteX1" fmla="*/ 21819 w 21819"/>
                  <a:gd name="connsiteY1" fmla="*/ 0 h 1575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1819" h="157599">
                    <a:moveTo>
                      <a:pt x="0" y="157599"/>
                    </a:moveTo>
                    <a:lnTo>
                      <a:pt x="21819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216" name="Forma livre: Forma 215">
              <a:extLst>
                <a:ext uri="{FF2B5EF4-FFF2-40B4-BE49-F238E27FC236}">
                  <a16:creationId xmlns:a16="http://schemas.microsoft.com/office/drawing/2014/main" id="{9C18C3E3-1ED5-DB82-84B5-5779580F6C45}"/>
                </a:ext>
              </a:extLst>
            </p:cNvPr>
            <p:cNvSpPr/>
            <p:nvPr/>
          </p:nvSpPr>
          <p:spPr>
            <a:xfrm>
              <a:off x="2043628" y="1305752"/>
              <a:ext cx="255324" cy="12035"/>
            </a:xfrm>
            <a:custGeom>
              <a:avLst/>
              <a:gdLst>
                <a:gd name="connsiteX0" fmla="*/ 0 w 255324"/>
                <a:gd name="connsiteY0" fmla="*/ 0 h 12035"/>
                <a:gd name="connsiteX1" fmla="*/ 63780 w 255324"/>
                <a:gd name="connsiteY1" fmla="*/ 0 h 12035"/>
                <a:gd name="connsiteX2" fmla="*/ 127764 w 255324"/>
                <a:gd name="connsiteY2" fmla="*/ 0 h 12035"/>
                <a:gd name="connsiteX3" fmla="*/ 191544 w 255324"/>
                <a:gd name="connsiteY3" fmla="*/ 0 h 12035"/>
                <a:gd name="connsiteX4" fmla="*/ 255325 w 255324"/>
                <a:gd name="connsiteY4" fmla="*/ 0 h 120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5324" h="12035">
                  <a:moveTo>
                    <a:pt x="0" y="0"/>
                  </a:moveTo>
                  <a:cubicBezTo>
                    <a:pt x="0" y="0"/>
                    <a:pt x="26900" y="27079"/>
                    <a:pt x="63780" y="0"/>
                  </a:cubicBezTo>
                  <a:cubicBezTo>
                    <a:pt x="63780" y="0"/>
                    <a:pt x="90884" y="27079"/>
                    <a:pt x="127764" y="0"/>
                  </a:cubicBezTo>
                  <a:cubicBezTo>
                    <a:pt x="127764" y="0"/>
                    <a:pt x="154664" y="27079"/>
                    <a:pt x="191544" y="0"/>
                  </a:cubicBezTo>
                  <a:cubicBezTo>
                    <a:pt x="191544" y="0"/>
                    <a:pt x="218444" y="27079"/>
                    <a:pt x="255325" y="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7" name="Forma livre: Forma 216">
              <a:extLst>
                <a:ext uri="{FF2B5EF4-FFF2-40B4-BE49-F238E27FC236}">
                  <a16:creationId xmlns:a16="http://schemas.microsoft.com/office/drawing/2014/main" id="{C4458944-91E7-284D-0719-116C1E207436}"/>
                </a:ext>
              </a:extLst>
            </p:cNvPr>
            <p:cNvSpPr/>
            <p:nvPr/>
          </p:nvSpPr>
          <p:spPr>
            <a:xfrm>
              <a:off x="2132043" y="996568"/>
              <a:ext cx="78506" cy="104926"/>
            </a:xfrm>
            <a:custGeom>
              <a:avLst/>
              <a:gdLst>
                <a:gd name="connsiteX0" fmla="*/ 78506 w 78506"/>
                <a:gd name="connsiteY0" fmla="*/ 104926 h 104926"/>
                <a:gd name="connsiteX1" fmla="*/ 78506 w 78506"/>
                <a:gd name="connsiteY1" fmla="*/ 38894 h 104926"/>
                <a:gd name="connsiteX2" fmla="*/ 39253 w 78506"/>
                <a:gd name="connsiteY2" fmla="*/ 0 h 104926"/>
                <a:gd name="connsiteX3" fmla="*/ 0 w 78506"/>
                <a:gd name="connsiteY3" fmla="*/ 38894 h 104926"/>
                <a:gd name="connsiteX4" fmla="*/ 0 w 78506"/>
                <a:gd name="connsiteY4" fmla="*/ 58724 h 1049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506" h="104926">
                  <a:moveTo>
                    <a:pt x="78506" y="104926"/>
                  </a:moveTo>
                  <a:lnTo>
                    <a:pt x="78506" y="38894"/>
                  </a:lnTo>
                  <a:cubicBezTo>
                    <a:pt x="78506" y="17506"/>
                    <a:pt x="60641" y="0"/>
                    <a:pt x="39253" y="0"/>
                  </a:cubicBezTo>
                  <a:cubicBezTo>
                    <a:pt x="17865" y="0"/>
                    <a:pt x="0" y="17494"/>
                    <a:pt x="0" y="38894"/>
                  </a:cubicBezTo>
                  <a:lnTo>
                    <a:pt x="0" y="58724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8" name="Forma livre: Forma 217">
              <a:extLst>
                <a:ext uri="{FF2B5EF4-FFF2-40B4-BE49-F238E27FC236}">
                  <a16:creationId xmlns:a16="http://schemas.microsoft.com/office/drawing/2014/main" id="{BD710B93-894C-46F3-3B24-A5B9B2344156}"/>
                </a:ext>
              </a:extLst>
            </p:cNvPr>
            <p:cNvSpPr/>
            <p:nvPr/>
          </p:nvSpPr>
          <p:spPr>
            <a:xfrm>
              <a:off x="2132762" y="1028548"/>
              <a:ext cx="77068" cy="1198"/>
            </a:xfrm>
            <a:custGeom>
              <a:avLst/>
              <a:gdLst>
                <a:gd name="connsiteX0" fmla="*/ 0 w 77068"/>
                <a:gd name="connsiteY0" fmla="*/ 0 h 1198"/>
                <a:gd name="connsiteX1" fmla="*/ 77068 w 77068"/>
                <a:gd name="connsiteY1" fmla="*/ 0 h 11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7068" h="1198">
                  <a:moveTo>
                    <a:pt x="0" y="0"/>
                  </a:moveTo>
                  <a:lnTo>
                    <a:pt x="77068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219" name="Gráfico 2">
              <a:extLst>
                <a:ext uri="{FF2B5EF4-FFF2-40B4-BE49-F238E27FC236}">
                  <a16:creationId xmlns:a16="http://schemas.microsoft.com/office/drawing/2014/main" id="{44AFE5A8-B626-6068-12B5-F08C79545674}"/>
                </a:ext>
              </a:extLst>
            </p:cNvPr>
            <p:cNvGrpSpPr/>
            <p:nvPr/>
          </p:nvGrpSpPr>
          <p:grpSpPr>
            <a:xfrm>
              <a:off x="2049715" y="1003482"/>
              <a:ext cx="243162" cy="84389"/>
              <a:chOff x="2049715" y="1003482"/>
              <a:chExt cx="243162" cy="84389"/>
            </a:xfrm>
          </p:grpSpPr>
          <p:grpSp>
            <p:nvGrpSpPr>
              <p:cNvPr id="220" name="Gráfico 2">
                <a:extLst>
                  <a:ext uri="{FF2B5EF4-FFF2-40B4-BE49-F238E27FC236}">
                    <a16:creationId xmlns:a16="http://schemas.microsoft.com/office/drawing/2014/main" id="{A0A0380C-97EE-5DA1-C962-6DD2687CB899}"/>
                  </a:ext>
                </a:extLst>
              </p:cNvPr>
              <p:cNvGrpSpPr/>
              <p:nvPr/>
            </p:nvGrpSpPr>
            <p:grpSpPr>
              <a:xfrm>
                <a:off x="2049715" y="1003482"/>
                <a:ext cx="42751" cy="84377"/>
                <a:chOff x="2049715" y="1003482"/>
                <a:chExt cx="42751" cy="84377"/>
              </a:xfrm>
            </p:grpSpPr>
            <p:sp>
              <p:nvSpPr>
                <p:cNvPr id="221" name="Forma livre: Forma 220">
                  <a:extLst>
                    <a:ext uri="{FF2B5EF4-FFF2-40B4-BE49-F238E27FC236}">
                      <a16:creationId xmlns:a16="http://schemas.microsoft.com/office/drawing/2014/main" id="{21ED56E8-4747-5E1E-BA55-DE736F2ADE21}"/>
                    </a:ext>
                  </a:extLst>
                </p:cNvPr>
                <p:cNvSpPr/>
                <p:nvPr/>
              </p:nvSpPr>
              <p:spPr>
                <a:xfrm>
                  <a:off x="2049715" y="1045671"/>
                  <a:ext cx="42751" cy="1198"/>
                </a:xfrm>
                <a:custGeom>
                  <a:avLst/>
                  <a:gdLst>
                    <a:gd name="connsiteX0" fmla="*/ 42752 w 42751"/>
                    <a:gd name="connsiteY0" fmla="*/ 0 h 1198"/>
                    <a:gd name="connsiteX1" fmla="*/ 0 w 42751"/>
                    <a:gd name="connsiteY1" fmla="*/ 0 h 11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2751" h="1198">
                      <a:moveTo>
                        <a:pt x="42752" y="0"/>
                      </a:moveTo>
                      <a:lnTo>
                        <a:pt x="0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22" name="Forma livre: Forma 221">
                  <a:extLst>
                    <a:ext uri="{FF2B5EF4-FFF2-40B4-BE49-F238E27FC236}">
                      <a16:creationId xmlns:a16="http://schemas.microsoft.com/office/drawing/2014/main" id="{2C1DB2A0-D0FA-F76C-B9BF-1A087A086865}"/>
                    </a:ext>
                  </a:extLst>
                </p:cNvPr>
                <p:cNvSpPr/>
                <p:nvPr/>
              </p:nvSpPr>
              <p:spPr>
                <a:xfrm>
                  <a:off x="2050721" y="1003482"/>
                  <a:ext cx="40726" cy="16643"/>
                </a:xfrm>
                <a:custGeom>
                  <a:avLst/>
                  <a:gdLst>
                    <a:gd name="connsiteX0" fmla="*/ 40727 w 40726"/>
                    <a:gd name="connsiteY0" fmla="*/ 16643 h 16643"/>
                    <a:gd name="connsiteX1" fmla="*/ 0 w 40726"/>
                    <a:gd name="connsiteY1" fmla="*/ 0 h 1664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0726" h="16643">
                      <a:moveTo>
                        <a:pt x="40727" y="16643"/>
                      </a:moveTo>
                      <a:lnTo>
                        <a:pt x="0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23" name="Forma livre: Forma 222">
                  <a:extLst>
                    <a:ext uri="{FF2B5EF4-FFF2-40B4-BE49-F238E27FC236}">
                      <a16:creationId xmlns:a16="http://schemas.microsoft.com/office/drawing/2014/main" id="{0F2F0BD0-93FD-C70E-BB09-6229EE457A56}"/>
                    </a:ext>
                  </a:extLst>
                </p:cNvPr>
                <p:cNvSpPr/>
                <p:nvPr/>
              </p:nvSpPr>
              <p:spPr>
                <a:xfrm>
                  <a:off x="2050721" y="1071216"/>
                  <a:ext cx="40726" cy="16643"/>
                </a:xfrm>
                <a:custGeom>
                  <a:avLst/>
                  <a:gdLst>
                    <a:gd name="connsiteX0" fmla="*/ 0 w 40726"/>
                    <a:gd name="connsiteY0" fmla="*/ 16643 h 16643"/>
                    <a:gd name="connsiteX1" fmla="*/ 40727 w 40726"/>
                    <a:gd name="connsiteY1" fmla="*/ 0 h 1664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0726" h="16643">
                      <a:moveTo>
                        <a:pt x="0" y="16643"/>
                      </a:moveTo>
                      <a:lnTo>
                        <a:pt x="40727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224" name="Gráfico 2">
                <a:extLst>
                  <a:ext uri="{FF2B5EF4-FFF2-40B4-BE49-F238E27FC236}">
                    <a16:creationId xmlns:a16="http://schemas.microsoft.com/office/drawing/2014/main" id="{A3BC9001-E4D5-D3E5-D9AB-E5DE3EADA1FA}"/>
                  </a:ext>
                </a:extLst>
              </p:cNvPr>
              <p:cNvGrpSpPr/>
              <p:nvPr/>
            </p:nvGrpSpPr>
            <p:grpSpPr>
              <a:xfrm>
                <a:off x="2250126" y="1003494"/>
                <a:ext cx="42751" cy="84377"/>
                <a:chOff x="2250126" y="1003494"/>
                <a:chExt cx="42751" cy="84377"/>
              </a:xfrm>
            </p:grpSpPr>
            <p:sp>
              <p:nvSpPr>
                <p:cNvPr id="225" name="Forma livre: Forma 224">
                  <a:extLst>
                    <a:ext uri="{FF2B5EF4-FFF2-40B4-BE49-F238E27FC236}">
                      <a16:creationId xmlns:a16="http://schemas.microsoft.com/office/drawing/2014/main" id="{386C7B53-F16D-877C-39F5-1B1AEE004DEB}"/>
                    </a:ext>
                  </a:extLst>
                </p:cNvPr>
                <p:cNvSpPr/>
                <p:nvPr/>
              </p:nvSpPr>
              <p:spPr>
                <a:xfrm>
                  <a:off x="2250126" y="1045683"/>
                  <a:ext cx="42751" cy="1198"/>
                </a:xfrm>
                <a:custGeom>
                  <a:avLst/>
                  <a:gdLst>
                    <a:gd name="connsiteX0" fmla="*/ 0 w 42751"/>
                    <a:gd name="connsiteY0" fmla="*/ 0 h 1198"/>
                    <a:gd name="connsiteX1" fmla="*/ 42752 w 42751"/>
                    <a:gd name="connsiteY1" fmla="*/ 0 h 11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2751" h="1198">
                      <a:moveTo>
                        <a:pt x="0" y="0"/>
                      </a:moveTo>
                      <a:lnTo>
                        <a:pt x="42752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26" name="Forma livre: Forma 225">
                  <a:extLst>
                    <a:ext uri="{FF2B5EF4-FFF2-40B4-BE49-F238E27FC236}">
                      <a16:creationId xmlns:a16="http://schemas.microsoft.com/office/drawing/2014/main" id="{A0262ECB-C9E8-7EE3-65F4-2DF73C898379}"/>
                    </a:ext>
                  </a:extLst>
                </p:cNvPr>
                <p:cNvSpPr/>
                <p:nvPr/>
              </p:nvSpPr>
              <p:spPr>
                <a:xfrm>
                  <a:off x="2251133" y="1071228"/>
                  <a:ext cx="40726" cy="16643"/>
                </a:xfrm>
                <a:custGeom>
                  <a:avLst/>
                  <a:gdLst>
                    <a:gd name="connsiteX0" fmla="*/ 0 w 40726"/>
                    <a:gd name="connsiteY0" fmla="*/ 0 h 16643"/>
                    <a:gd name="connsiteX1" fmla="*/ 40727 w 40726"/>
                    <a:gd name="connsiteY1" fmla="*/ 16643 h 1664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0726" h="16643">
                      <a:moveTo>
                        <a:pt x="0" y="0"/>
                      </a:moveTo>
                      <a:lnTo>
                        <a:pt x="40727" y="16643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27" name="Forma livre: Forma 226">
                  <a:extLst>
                    <a:ext uri="{FF2B5EF4-FFF2-40B4-BE49-F238E27FC236}">
                      <a16:creationId xmlns:a16="http://schemas.microsoft.com/office/drawing/2014/main" id="{B1CA3060-76AE-6A3C-5904-669346DBA61D}"/>
                    </a:ext>
                  </a:extLst>
                </p:cNvPr>
                <p:cNvSpPr/>
                <p:nvPr/>
              </p:nvSpPr>
              <p:spPr>
                <a:xfrm>
                  <a:off x="2251133" y="1003494"/>
                  <a:ext cx="40726" cy="16643"/>
                </a:xfrm>
                <a:custGeom>
                  <a:avLst/>
                  <a:gdLst>
                    <a:gd name="connsiteX0" fmla="*/ 40727 w 40726"/>
                    <a:gd name="connsiteY0" fmla="*/ 0 h 16643"/>
                    <a:gd name="connsiteX1" fmla="*/ 0 w 40726"/>
                    <a:gd name="connsiteY1" fmla="*/ 16643 h 1664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0726" h="16643">
                      <a:moveTo>
                        <a:pt x="40727" y="0"/>
                      </a:moveTo>
                      <a:lnTo>
                        <a:pt x="0" y="16643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sp>
          <p:nvSpPr>
            <p:cNvPr id="228" name="Forma livre: Forma 227">
              <a:extLst>
                <a:ext uri="{FF2B5EF4-FFF2-40B4-BE49-F238E27FC236}">
                  <a16:creationId xmlns:a16="http://schemas.microsoft.com/office/drawing/2014/main" id="{8D876068-1669-3DE3-93BC-6033B543540B}"/>
                </a:ext>
              </a:extLst>
            </p:cNvPr>
            <p:cNvSpPr/>
            <p:nvPr/>
          </p:nvSpPr>
          <p:spPr>
            <a:xfrm>
              <a:off x="2119474" y="1102441"/>
              <a:ext cx="103644" cy="1198"/>
            </a:xfrm>
            <a:custGeom>
              <a:avLst/>
              <a:gdLst>
                <a:gd name="connsiteX0" fmla="*/ 0 w 103644"/>
                <a:gd name="connsiteY0" fmla="*/ 0 h 1198"/>
                <a:gd name="connsiteX1" fmla="*/ 103644 w 103644"/>
                <a:gd name="connsiteY1" fmla="*/ 0 h 11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3644" h="1198">
                  <a:moveTo>
                    <a:pt x="0" y="0"/>
                  </a:moveTo>
                  <a:lnTo>
                    <a:pt x="103644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29" name="Forma livre: Forma 228">
              <a:extLst>
                <a:ext uri="{FF2B5EF4-FFF2-40B4-BE49-F238E27FC236}">
                  <a16:creationId xmlns:a16="http://schemas.microsoft.com/office/drawing/2014/main" id="{69E43E55-61AA-3AA1-179B-71CE0A31F479}"/>
                </a:ext>
              </a:extLst>
            </p:cNvPr>
            <p:cNvSpPr/>
            <p:nvPr/>
          </p:nvSpPr>
          <p:spPr>
            <a:xfrm>
              <a:off x="2119474" y="1075709"/>
              <a:ext cx="103644" cy="1198"/>
            </a:xfrm>
            <a:custGeom>
              <a:avLst/>
              <a:gdLst>
                <a:gd name="connsiteX0" fmla="*/ 0 w 103644"/>
                <a:gd name="connsiteY0" fmla="*/ 0 h 1198"/>
                <a:gd name="connsiteX1" fmla="*/ 103644 w 103644"/>
                <a:gd name="connsiteY1" fmla="*/ 0 h 11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3644" h="1198">
                  <a:moveTo>
                    <a:pt x="0" y="0"/>
                  </a:moveTo>
                  <a:lnTo>
                    <a:pt x="103644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30" name="Forma livre: Forma 229">
              <a:extLst>
                <a:ext uri="{FF2B5EF4-FFF2-40B4-BE49-F238E27FC236}">
                  <a16:creationId xmlns:a16="http://schemas.microsoft.com/office/drawing/2014/main" id="{7CEEABDC-E0A3-7425-D111-7C607AFA8E77}"/>
                </a:ext>
              </a:extLst>
            </p:cNvPr>
            <p:cNvSpPr/>
            <p:nvPr/>
          </p:nvSpPr>
          <p:spPr>
            <a:xfrm>
              <a:off x="2132043" y="1075877"/>
              <a:ext cx="1198" cy="26360"/>
            </a:xfrm>
            <a:custGeom>
              <a:avLst/>
              <a:gdLst>
                <a:gd name="connsiteX0" fmla="*/ 0 w 1198"/>
                <a:gd name="connsiteY0" fmla="*/ 26360 h 26360"/>
                <a:gd name="connsiteX1" fmla="*/ 0 w 1198"/>
                <a:gd name="connsiteY1" fmla="*/ 0 h 263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98" h="26360">
                  <a:moveTo>
                    <a:pt x="0" y="26360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31" name="Forma livre: Forma 230">
              <a:extLst>
                <a:ext uri="{FF2B5EF4-FFF2-40B4-BE49-F238E27FC236}">
                  <a16:creationId xmlns:a16="http://schemas.microsoft.com/office/drawing/2014/main" id="{F2339F63-A4C7-DAEC-171F-869DDC229039}"/>
                </a:ext>
              </a:extLst>
            </p:cNvPr>
            <p:cNvSpPr/>
            <p:nvPr/>
          </p:nvSpPr>
          <p:spPr>
            <a:xfrm>
              <a:off x="2084535" y="1262102"/>
              <a:ext cx="173523" cy="32051"/>
            </a:xfrm>
            <a:custGeom>
              <a:avLst/>
              <a:gdLst>
                <a:gd name="connsiteX0" fmla="*/ 0 w 173523"/>
                <a:gd name="connsiteY0" fmla="*/ 32052 h 32051"/>
                <a:gd name="connsiteX1" fmla="*/ 6590 w 173523"/>
                <a:gd name="connsiteY1" fmla="*/ 0 h 32051"/>
                <a:gd name="connsiteX2" fmla="*/ 166933 w 173523"/>
                <a:gd name="connsiteY2" fmla="*/ 0 h 32051"/>
                <a:gd name="connsiteX3" fmla="*/ 173524 w 173523"/>
                <a:gd name="connsiteY3" fmla="*/ 32052 h 320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3523" h="32051">
                  <a:moveTo>
                    <a:pt x="0" y="32052"/>
                  </a:moveTo>
                  <a:lnTo>
                    <a:pt x="6590" y="0"/>
                  </a:lnTo>
                  <a:lnTo>
                    <a:pt x="166933" y="0"/>
                  </a:lnTo>
                  <a:lnTo>
                    <a:pt x="173524" y="32052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32" name="Forma livre: Forma 231">
              <a:extLst>
                <a:ext uri="{FF2B5EF4-FFF2-40B4-BE49-F238E27FC236}">
                  <a16:creationId xmlns:a16="http://schemas.microsoft.com/office/drawing/2014/main" id="{800E9CFC-27C6-AB0F-34B9-4AEFD2B8011F}"/>
                </a:ext>
              </a:extLst>
            </p:cNvPr>
            <p:cNvSpPr/>
            <p:nvPr/>
          </p:nvSpPr>
          <p:spPr>
            <a:xfrm>
              <a:off x="2147093" y="1143504"/>
              <a:ext cx="68369" cy="1198"/>
            </a:xfrm>
            <a:custGeom>
              <a:avLst/>
              <a:gdLst>
                <a:gd name="connsiteX0" fmla="*/ 68369 w 68369"/>
                <a:gd name="connsiteY0" fmla="*/ 0 h 1198"/>
                <a:gd name="connsiteX1" fmla="*/ 0 w 68369"/>
                <a:gd name="connsiteY1" fmla="*/ 0 h 11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8369" h="1198">
                  <a:moveTo>
                    <a:pt x="68369" y="0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33" name="Forma livre: Forma 232">
              <a:extLst>
                <a:ext uri="{FF2B5EF4-FFF2-40B4-BE49-F238E27FC236}">
                  <a16:creationId xmlns:a16="http://schemas.microsoft.com/office/drawing/2014/main" id="{6F23B4A0-1CF9-1D1C-20A3-A4E2870816D0}"/>
                </a:ext>
              </a:extLst>
            </p:cNvPr>
            <p:cNvSpPr/>
            <p:nvPr/>
          </p:nvSpPr>
          <p:spPr>
            <a:xfrm>
              <a:off x="2141617" y="1184878"/>
              <a:ext cx="77847" cy="1198"/>
            </a:xfrm>
            <a:custGeom>
              <a:avLst/>
              <a:gdLst>
                <a:gd name="connsiteX0" fmla="*/ 77847 w 77847"/>
                <a:gd name="connsiteY0" fmla="*/ 0 h 1198"/>
                <a:gd name="connsiteX1" fmla="*/ 0 w 77847"/>
                <a:gd name="connsiteY1" fmla="*/ 0 h 11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7847" h="1198">
                  <a:moveTo>
                    <a:pt x="77847" y="0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34" name="Forma livre: Forma 233">
              <a:extLst>
                <a:ext uri="{FF2B5EF4-FFF2-40B4-BE49-F238E27FC236}">
                  <a16:creationId xmlns:a16="http://schemas.microsoft.com/office/drawing/2014/main" id="{0602DD91-E986-4BAD-410F-D95A63E8A3A6}"/>
                </a:ext>
              </a:extLst>
            </p:cNvPr>
            <p:cNvSpPr/>
            <p:nvPr/>
          </p:nvSpPr>
          <p:spPr>
            <a:xfrm>
              <a:off x="2136141" y="1226251"/>
              <a:ext cx="88511" cy="1198"/>
            </a:xfrm>
            <a:custGeom>
              <a:avLst/>
              <a:gdLst>
                <a:gd name="connsiteX0" fmla="*/ 88511 w 88511"/>
                <a:gd name="connsiteY0" fmla="*/ 0 h 1198"/>
                <a:gd name="connsiteX1" fmla="*/ 0 w 88511"/>
                <a:gd name="connsiteY1" fmla="*/ 0 h 11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8511" h="1198">
                  <a:moveTo>
                    <a:pt x="88511" y="0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35" name="Forma livre: Forma 234">
              <a:extLst>
                <a:ext uri="{FF2B5EF4-FFF2-40B4-BE49-F238E27FC236}">
                  <a16:creationId xmlns:a16="http://schemas.microsoft.com/office/drawing/2014/main" id="{D8A14EC7-9682-0E33-94F6-CECAF7359BA9}"/>
                </a:ext>
              </a:extLst>
            </p:cNvPr>
            <p:cNvSpPr/>
            <p:nvPr/>
          </p:nvSpPr>
          <p:spPr>
            <a:xfrm>
              <a:off x="2171296" y="1048247"/>
              <a:ext cx="1198" cy="25761"/>
            </a:xfrm>
            <a:custGeom>
              <a:avLst/>
              <a:gdLst>
                <a:gd name="connsiteX0" fmla="*/ 0 w 1198"/>
                <a:gd name="connsiteY0" fmla="*/ 25761 h 25761"/>
                <a:gd name="connsiteX1" fmla="*/ 0 w 1198"/>
                <a:gd name="connsiteY1" fmla="*/ 0 h 257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98" h="25761">
                  <a:moveTo>
                    <a:pt x="0" y="25761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236" name="Gráfico 2">
            <a:extLst>
              <a:ext uri="{FF2B5EF4-FFF2-40B4-BE49-F238E27FC236}">
                <a16:creationId xmlns:a16="http://schemas.microsoft.com/office/drawing/2014/main" id="{462E2F39-74C2-40A7-B51D-334F644A60D7}"/>
              </a:ext>
            </a:extLst>
          </p:cNvPr>
          <p:cNvGrpSpPr/>
          <p:nvPr/>
        </p:nvGrpSpPr>
        <p:grpSpPr>
          <a:xfrm>
            <a:off x="742741" y="3136064"/>
            <a:ext cx="360970" cy="286573"/>
            <a:chOff x="742741" y="3136064"/>
            <a:chExt cx="360970" cy="286573"/>
          </a:xfrm>
          <a:noFill/>
        </p:grpSpPr>
        <p:grpSp>
          <p:nvGrpSpPr>
            <p:cNvPr id="237" name="Gráfico 2">
              <a:extLst>
                <a:ext uri="{FF2B5EF4-FFF2-40B4-BE49-F238E27FC236}">
                  <a16:creationId xmlns:a16="http://schemas.microsoft.com/office/drawing/2014/main" id="{AE05AB40-F89D-4B72-DDB0-A672A6D8CF51}"/>
                </a:ext>
              </a:extLst>
            </p:cNvPr>
            <p:cNvGrpSpPr/>
            <p:nvPr/>
          </p:nvGrpSpPr>
          <p:grpSpPr>
            <a:xfrm>
              <a:off x="752938" y="3136064"/>
              <a:ext cx="288095" cy="285267"/>
              <a:chOff x="752938" y="3136064"/>
              <a:chExt cx="288095" cy="285267"/>
            </a:xfrm>
            <a:noFill/>
          </p:grpSpPr>
          <p:sp>
            <p:nvSpPr>
              <p:cNvPr id="238" name="Forma livre: Forma 237">
                <a:extLst>
                  <a:ext uri="{FF2B5EF4-FFF2-40B4-BE49-F238E27FC236}">
                    <a16:creationId xmlns:a16="http://schemas.microsoft.com/office/drawing/2014/main" id="{74B8D268-C912-915C-99CB-0E50825704DB}"/>
                  </a:ext>
                </a:extLst>
              </p:cNvPr>
              <p:cNvSpPr/>
              <p:nvPr/>
            </p:nvSpPr>
            <p:spPr>
              <a:xfrm>
                <a:off x="752938" y="3293891"/>
                <a:ext cx="166226" cy="30003"/>
              </a:xfrm>
              <a:custGeom>
                <a:avLst/>
                <a:gdLst>
                  <a:gd name="connsiteX0" fmla="*/ 69088 w 166226"/>
                  <a:gd name="connsiteY0" fmla="*/ 0 h 30003"/>
                  <a:gd name="connsiteX1" fmla="*/ 166226 w 166226"/>
                  <a:gd name="connsiteY1" fmla="*/ 0 h 30003"/>
                  <a:gd name="connsiteX2" fmla="*/ 166226 w 166226"/>
                  <a:gd name="connsiteY2" fmla="*/ 30003 h 30003"/>
                  <a:gd name="connsiteX3" fmla="*/ 0 w 166226"/>
                  <a:gd name="connsiteY3" fmla="*/ 30003 h 30003"/>
                  <a:gd name="connsiteX4" fmla="*/ 0 w 166226"/>
                  <a:gd name="connsiteY4" fmla="*/ 0 h 30003"/>
                  <a:gd name="connsiteX5" fmla="*/ 39097 w 166226"/>
                  <a:gd name="connsiteY5" fmla="*/ 0 h 300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66226" h="30003">
                    <a:moveTo>
                      <a:pt x="69088" y="0"/>
                    </a:moveTo>
                    <a:lnTo>
                      <a:pt x="166226" y="0"/>
                    </a:lnTo>
                    <a:lnTo>
                      <a:pt x="166226" y="30003"/>
                    </a:lnTo>
                    <a:lnTo>
                      <a:pt x="0" y="30003"/>
                    </a:lnTo>
                    <a:lnTo>
                      <a:pt x="0" y="0"/>
                    </a:lnTo>
                    <a:lnTo>
                      <a:pt x="39097" y="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239" name="Gráfico 2">
                <a:extLst>
                  <a:ext uri="{FF2B5EF4-FFF2-40B4-BE49-F238E27FC236}">
                    <a16:creationId xmlns:a16="http://schemas.microsoft.com/office/drawing/2014/main" id="{BE5B4A52-399E-9C60-7089-828BF87349B9}"/>
                  </a:ext>
                </a:extLst>
              </p:cNvPr>
              <p:cNvGrpSpPr/>
              <p:nvPr/>
            </p:nvGrpSpPr>
            <p:grpSpPr>
              <a:xfrm>
                <a:off x="764393" y="3222658"/>
                <a:ext cx="143328" cy="159540"/>
                <a:chOff x="764393" y="3222658"/>
                <a:chExt cx="143328" cy="159540"/>
              </a:xfrm>
              <a:noFill/>
            </p:grpSpPr>
            <p:sp>
              <p:nvSpPr>
                <p:cNvPr id="240" name="Forma livre: Forma 239">
                  <a:extLst>
                    <a:ext uri="{FF2B5EF4-FFF2-40B4-BE49-F238E27FC236}">
                      <a16:creationId xmlns:a16="http://schemas.microsoft.com/office/drawing/2014/main" id="{43EB62FB-D17C-FF0C-2A0E-17EE6A402299}"/>
                    </a:ext>
                  </a:extLst>
                </p:cNvPr>
                <p:cNvSpPr/>
                <p:nvPr/>
              </p:nvSpPr>
              <p:spPr>
                <a:xfrm>
                  <a:off x="764488" y="3222658"/>
                  <a:ext cx="143232" cy="70717"/>
                </a:xfrm>
                <a:custGeom>
                  <a:avLst/>
                  <a:gdLst>
                    <a:gd name="connsiteX0" fmla="*/ 143233 w 143232"/>
                    <a:gd name="connsiteY0" fmla="*/ 70718 h 70717"/>
                    <a:gd name="connsiteX1" fmla="*/ 92178 w 143232"/>
                    <a:gd name="connsiteY1" fmla="*/ 15900 h 70717"/>
                    <a:gd name="connsiteX2" fmla="*/ 92178 w 143232"/>
                    <a:gd name="connsiteY2" fmla="*/ 0 h 70717"/>
                    <a:gd name="connsiteX3" fmla="*/ 50936 w 143232"/>
                    <a:gd name="connsiteY3" fmla="*/ 0 h 70717"/>
                    <a:gd name="connsiteX4" fmla="*/ 50936 w 143232"/>
                    <a:gd name="connsiteY4" fmla="*/ 15900 h 70717"/>
                    <a:gd name="connsiteX5" fmla="*/ 0 w 143232"/>
                    <a:gd name="connsiteY5" fmla="*/ 70167 h 7071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143232" h="70717">
                      <a:moveTo>
                        <a:pt x="143233" y="70718"/>
                      </a:moveTo>
                      <a:cubicBezTo>
                        <a:pt x="137565" y="44417"/>
                        <a:pt x="117771" y="23389"/>
                        <a:pt x="92178" y="15900"/>
                      </a:cubicBezTo>
                      <a:lnTo>
                        <a:pt x="92178" y="0"/>
                      </a:lnTo>
                      <a:lnTo>
                        <a:pt x="50936" y="0"/>
                      </a:lnTo>
                      <a:lnTo>
                        <a:pt x="50936" y="15900"/>
                      </a:lnTo>
                      <a:cubicBezTo>
                        <a:pt x="25534" y="23341"/>
                        <a:pt x="5823" y="44118"/>
                        <a:pt x="0" y="70167"/>
                      </a:cubicBez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41" name="Forma livre: Forma 240">
                  <a:extLst>
                    <a:ext uri="{FF2B5EF4-FFF2-40B4-BE49-F238E27FC236}">
                      <a16:creationId xmlns:a16="http://schemas.microsoft.com/office/drawing/2014/main" id="{05C6499B-834D-D2C9-8D02-DBA78E58F864}"/>
                    </a:ext>
                  </a:extLst>
                </p:cNvPr>
                <p:cNvSpPr/>
                <p:nvPr/>
              </p:nvSpPr>
              <p:spPr>
                <a:xfrm>
                  <a:off x="837099" y="3324697"/>
                  <a:ext cx="70562" cy="57501"/>
                </a:xfrm>
                <a:custGeom>
                  <a:avLst/>
                  <a:gdLst>
                    <a:gd name="connsiteX0" fmla="*/ 0 w 70562"/>
                    <a:gd name="connsiteY0" fmla="*/ 57502 h 57501"/>
                    <a:gd name="connsiteX1" fmla="*/ 70562 w 70562"/>
                    <a:gd name="connsiteY1" fmla="*/ 0 h 5750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70562" h="57501">
                      <a:moveTo>
                        <a:pt x="0" y="57502"/>
                      </a:moveTo>
                      <a:cubicBezTo>
                        <a:pt x="34592" y="57011"/>
                        <a:pt x="63397" y="32555"/>
                        <a:pt x="70562" y="0"/>
                      </a:cubicBez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42" name="Forma livre: Forma 241">
                  <a:extLst>
                    <a:ext uri="{FF2B5EF4-FFF2-40B4-BE49-F238E27FC236}">
                      <a16:creationId xmlns:a16="http://schemas.microsoft.com/office/drawing/2014/main" id="{4954AA70-8E5E-23AC-BD77-0F1AF04F85B1}"/>
                    </a:ext>
                  </a:extLst>
                </p:cNvPr>
                <p:cNvSpPr/>
                <p:nvPr/>
              </p:nvSpPr>
              <p:spPr>
                <a:xfrm>
                  <a:off x="764393" y="3324493"/>
                  <a:ext cx="51714" cy="54961"/>
                </a:xfrm>
                <a:custGeom>
                  <a:avLst/>
                  <a:gdLst>
                    <a:gd name="connsiteX0" fmla="*/ 0 w 51714"/>
                    <a:gd name="connsiteY0" fmla="*/ 0 h 54961"/>
                    <a:gd name="connsiteX1" fmla="*/ 51714 w 51714"/>
                    <a:gd name="connsiteY1" fmla="*/ 54961 h 5496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51714" h="54961">
                      <a:moveTo>
                        <a:pt x="0" y="0"/>
                      </a:moveTo>
                      <a:cubicBezTo>
                        <a:pt x="5751" y="26492"/>
                        <a:pt x="25821" y="47652"/>
                        <a:pt x="51714" y="54961"/>
                      </a:cubicBez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243" name="Gráfico 2">
                <a:extLst>
                  <a:ext uri="{FF2B5EF4-FFF2-40B4-BE49-F238E27FC236}">
                    <a16:creationId xmlns:a16="http://schemas.microsoft.com/office/drawing/2014/main" id="{DFCADAB6-58B5-8FF7-55D8-06BC87E5DAD2}"/>
                  </a:ext>
                </a:extLst>
              </p:cNvPr>
              <p:cNvGrpSpPr/>
              <p:nvPr/>
            </p:nvGrpSpPr>
            <p:grpSpPr>
              <a:xfrm>
                <a:off x="766070" y="3328879"/>
                <a:ext cx="139961" cy="92453"/>
                <a:chOff x="766070" y="3328879"/>
                <a:chExt cx="139961" cy="92453"/>
              </a:xfrm>
            </p:grpSpPr>
            <p:sp>
              <p:nvSpPr>
                <p:cNvPr id="244" name="Forma livre: Forma 243">
                  <a:extLst>
                    <a:ext uri="{FF2B5EF4-FFF2-40B4-BE49-F238E27FC236}">
                      <a16:creationId xmlns:a16="http://schemas.microsoft.com/office/drawing/2014/main" id="{E1A75764-D844-5ECD-CBDB-8FDEC8A27CC7}"/>
                    </a:ext>
                  </a:extLst>
                </p:cNvPr>
                <p:cNvSpPr/>
                <p:nvPr/>
              </p:nvSpPr>
              <p:spPr>
                <a:xfrm>
                  <a:off x="836057" y="3348877"/>
                  <a:ext cx="1198" cy="72455"/>
                </a:xfrm>
                <a:custGeom>
                  <a:avLst/>
                  <a:gdLst>
                    <a:gd name="connsiteX0" fmla="*/ 0 w 1198"/>
                    <a:gd name="connsiteY0" fmla="*/ 0 h 72455"/>
                    <a:gd name="connsiteX1" fmla="*/ 0 w 1198"/>
                    <a:gd name="connsiteY1" fmla="*/ 72455 h 7245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198" h="72455">
                      <a:moveTo>
                        <a:pt x="0" y="0"/>
                      </a:moveTo>
                      <a:lnTo>
                        <a:pt x="0" y="72455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45" name="Forma livre: Forma 244">
                  <a:extLst>
                    <a:ext uri="{FF2B5EF4-FFF2-40B4-BE49-F238E27FC236}">
                      <a16:creationId xmlns:a16="http://schemas.microsoft.com/office/drawing/2014/main" id="{5D9D3851-D030-6B5D-02E5-921EACDD96E4}"/>
                    </a:ext>
                  </a:extLst>
                </p:cNvPr>
                <p:cNvSpPr/>
                <p:nvPr/>
              </p:nvSpPr>
              <p:spPr>
                <a:xfrm>
                  <a:off x="766070" y="3328879"/>
                  <a:ext cx="1198" cy="92453"/>
                </a:xfrm>
                <a:custGeom>
                  <a:avLst/>
                  <a:gdLst>
                    <a:gd name="connsiteX0" fmla="*/ 0 w 1198"/>
                    <a:gd name="connsiteY0" fmla="*/ 0 h 92453"/>
                    <a:gd name="connsiteX1" fmla="*/ 0 w 1198"/>
                    <a:gd name="connsiteY1" fmla="*/ 92453 h 9245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198" h="92453">
                      <a:moveTo>
                        <a:pt x="0" y="0"/>
                      </a:moveTo>
                      <a:lnTo>
                        <a:pt x="0" y="92453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46" name="Forma livre: Forma 245">
                  <a:extLst>
                    <a:ext uri="{FF2B5EF4-FFF2-40B4-BE49-F238E27FC236}">
                      <a16:creationId xmlns:a16="http://schemas.microsoft.com/office/drawing/2014/main" id="{E4DE2F6D-0DD1-BFF9-CE72-FB367113B368}"/>
                    </a:ext>
                  </a:extLst>
                </p:cNvPr>
                <p:cNvSpPr/>
                <p:nvPr/>
              </p:nvSpPr>
              <p:spPr>
                <a:xfrm>
                  <a:off x="906032" y="3328879"/>
                  <a:ext cx="1198" cy="92453"/>
                </a:xfrm>
                <a:custGeom>
                  <a:avLst/>
                  <a:gdLst>
                    <a:gd name="connsiteX0" fmla="*/ 0 w 1198"/>
                    <a:gd name="connsiteY0" fmla="*/ 0 h 92453"/>
                    <a:gd name="connsiteX1" fmla="*/ 0 w 1198"/>
                    <a:gd name="connsiteY1" fmla="*/ 92453 h 9245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198" h="92453">
                      <a:moveTo>
                        <a:pt x="0" y="0"/>
                      </a:moveTo>
                      <a:lnTo>
                        <a:pt x="0" y="92453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247" name="Forma livre: Forma 246">
                <a:extLst>
                  <a:ext uri="{FF2B5EF4-FFF2-40B4-BE49-F238E27FC236}">
                    <a16:creationId xmlns:a16="http://schemas.microsoft.com/office/drawing/2014/main" id="{FFB65DA2-123A-F3EE-5D90-3BD533D4B024}"/>
                  </a:ext>
                </a:extLst>
              </p:cNvPr>
              <p:cNvSpPr/>
              <p:nvPr/>
            </p:nvSpPr>
            <p:spPr>
              <a:xfrm>
                <a:off x="885675" y="3136064"/>
                <a:ext cx="63312" cy="285267"/>
              </a:xfrm>
              <a:custGeom>
                <a:avLst/>
                <a:gdLst>
                  <a:gd name="connsiteX0" fmla="*/ 0 w 63312"/>
                  <a:gd name="connsiteY0" fmla="*/ 92010 h 285267"/>
                  <a:gd name="connsiteX1" fmla="*/ 0 w 63312"/>
                  <a:gd name="connsiteY1" fmla="*/ 24671 h 285267"/>
                  <a:gd name="connsiteX2" fmla="*/ 24671 w 63312"/>
                  <a:gd name="connsiteY2" fmla="*/ 0 h 285267"/>
                  <a:gd name="connsiteX3" fmla="*/ 38642 w 63312"/>
                  <a:gd name="connsiteY3" fmla="*/ 0 h 285267"/>
                  <a:gd name="connsiteX4" fmla="*/ 63313 w 63312"/>
                  <a:gd name="connsiteY4" fmla="*/ 24671 h 285267"/>
                  <a:gd name="connsiteX5" fmla="*/ 63313 w 63312"/>
                  <a:gd name="connsiteY5" fmla="*/ 285268 h 2852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63312" h="285267">
                    <a:moveTo>
                      <a:pt x="0" y="92010"/>
                    </a:moveTo>
                    <a:lnTo>
                      <a:pt x="0" y="24671"/>
                    </a:lnTo>
                    <a:cubicBezTo>
                      <a:pt x="0" y="11095"/>
                      <a:pt x="11095" y="0"/>
                      <a:pt x="24671" y="0"/>
                    </a:cubicBezTo>
                    <a:lnTo>
                      <a:pt x="38642" y="0"/>
                    </a:lnTo>
                    <a:cubicBezTo>
                      <a:pt x="52218" y="0"/>
                      <a:pt x="63313" y="11095"/>
                      <a:pt x="63313" y="24671"/>
                    </a:cubicBezTo>
                    <a:lnTo>
                      <a:pt x="63313" y="285268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48" name="Forma livre: Forma 247">
                <a:extLst>
                  <a:ext uri="{FF2B5EF4-FFF2-40B4-BE49-F238E27FC236}">
                    <a16:creationId xmlns:a16="http://schemas.microsoft.com/office/drawing/2014/main" id="{4244CF33-3747-A3B5-05DD-8502620589A5}"/>
                  </a:ext>
                </a:extLst>
              </p:cNvPr>
              <p:cNvSpPr/>
              <p:nvPr/>
            </p:nvSpPr>
            <p:spPr>
              <a:xfrm>
                <a:off x="992302" y="3288859"/>
                <a:ext cx="48730" cy="132473"/>
              </a:xfrm>
              <a:custGeom>
                <a:avLst/>
                <a:gdLst>
                  <a:gd name="connsiteX0" fmla="*/ 0 w 48730"/>
                  <a:gd name="connsiteY0" fmla="*/ 132473 h 132473"/>
                  <a:gd name="connsiteX1" fmla="*/ 0 w 48730"/>
                  <a:gd name="connsiteY1" fmla="*/ 9993 h 132473"/>
                  <a:gd name="connsiteX2" fmla="*/ 9993 w 48730"/>
                  <a:gd name="connsiteY2" fmla="*/ 0 h 132473"/>
                  <a:gd name="connsiteX3" fmla="*/ 38738 w 48730"/>
                  <a:gd name="connsiteY3" fmla="*/ 0 h 132473"/>
                  <a:gd name="connsiteX4" fmla="*/ 48731 w 48730"/>
                  <a:gd name="connsiteY4" fmla="*/ 9993 h 132473"/>
                  <a:gd name="connsiteX5" fmla="*/ 48731 w 48730"/>
                  <a:gd name="connsiteY5" fmla="*/ 132473 h 1324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48730" h="132473">
                    <a:moveTo>
                      <a:pt x="0" y="132473"/>
                    </a:moveTo>
                    <a:lnTo>
                      <a:pt x="0" y="9993"/>
                    </a:lnTo>
                    <a:cubicBezTo>
                      <a:pt x="0" y="4505"/>
                      <a:pt x="4493" y="0"/>
                      <a:pt x="9993" y="0"/>
                    </a:cubicBezTo>
                    <a:lnTo>
                      <a:pt x="38738" y="0"/>
                    </a:lnTo>
                    <a:cubicBezTo>
                      <a:pt x="44238" y="0"/>
                      <a:pt x="48731" y="4505"/>
                      <a:pt x="48731" y="9993"/>
                    </a:cubicBezTo>
                    <a:lnTo>
                      <a:pt x="48731" y="132473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49" name="Forma livre: Forma 248">
                <a:extLst>
                  <a:ext uri="{FF2B5EF4-FFF2-40B4-BE49-F238E27FC236}">
                    <a16:creationId xmlns:a16="http://schemas.microsoft.com/office/drawing/2014/main" id="{73EFB3FE-BB4E-5F28-10C1-AADE6E872E7A}"/>
                  </a:ext>
                </a:extLst>
              </p:cNvPr>
              <p:cNvSpPr/>
              <p:nvPr/>
            </p:nvSpPr>
            <p:spPr>
              <a:xfrm>
                <a:off x="949275" y="3186377"/>
                <a:ext cx="66607" cy="84005"/>
              </a:xfrm>
              <a:custGeom>
                <a:avLst/>
                <a:gdLst>
                  <a:gd name="connsiteX0" fmla="*/ 0 w 66607"/>
                  <a:gd name="connsiteY0" fmla="*/ 0 h 84005"/>
                  <a:gd name="connsiteX1" fmla="*/ 51607 w 66607"/>
                  <a:gd name="connsiteY1" fmla="*/ 0 h 84005"/>
                  <a:gd name="connsiteX2" fmla="*/ 66608 w 66607"/>
                  <a:gd name="connsiteY2" fmla="*/ 15002 h 84005"/>
                  <a:gd name="connsiteX3" fmla="*/ 66608 w 66607"/>
                  <a:gd name="connsiteY3" fmla="*/ 84006 h 840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6607" h="84005">
                    <a:moveTo>
                      <a:pt x="0" y="0"/>
                    </a:moveTo>
                    <a:lnTo>
                      <a:pt x="51607" y="0"/>
                    </a:lnTo>
                    <a:cubicBezTo>
                      <a:pt x="59862" y="0"/>
                      <a:pt x="66608" y="6746"/>
                      <a:pt x="66608" y="15002"/>
                    </a:cubicBezTo>
                    <a:lnTo>
                      <a:pt x="66608" y="84006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50" name="Forma livre: Forma 249">
                <a:extLst>
                  <a:ext uri="{FF2B5EF4-FFF2-40B4-BE49-F238E27FC236}">
                    <a16:creationId xmlns:a16="http://schemas.microsoft.com/office/drawing/2014/main" id="{F891BBCE-F8FC-E1CC-3BE9-096227F1D995}"/>
                  </a:ext>
                </a:extLst>
              </p:cNvPr>
              <p:cNvSpPr/>
              <p:nvPr/>
            </p:nvSpPr>
            <p:spPr>
              <a:xfrm>
                <a:off x="907470" y="3203535"/>
                <a:ext cx="38821" cy="1198"/>
              </a:xfrm>
              <a:custGeom>
                <a:avLst/>
                <a:gdLst>
                  <a:gd name="connsiteX0" fmla="*/ 0 w 38821"/>
                  <a:gd name="connsiteY0" fmla="*/ 0 h 1198"/>
                  <a:gd name="connsiteX1" fmla="*/ 38822 w 38821"/>
                  <a:gd name="connsiteY1" fmla="*/ 0 h 11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8821" h="1198">
                    <a:moveTo>
                      <a:pt x="0" y="0"/>
                    </a:moveTo>
                    <a:lnTo>
                      <a:pt x="38822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51" name="Forma livre: Forma 250">
                <a:extLst>
                  <a:ext uri="{FF2B5EF4-FFF2-40B4-BE49-F238E27FC236}">
                    <a16:creationId xmlns:a16="http://schemas.microsoft.com/office/drawing/2014/main" id="{4C242774-4CDB-2BB1-864F-40790BAFA486}"/>
                  </a:ext>
                </a:extLst>
              </p:cNvPr>
              <p:cNvSpPr/>
              <p:nvPr/>
            </p:nvSpPr>
            <p:spPr>
              <a:xfrm>
                <a:off x="907470" y="3171950"/>
                <a:ext cx="38821" cy="1198"/>
              </a:xfrm>
              <a:custGeom>
                <a:avLst/>
                <a:gdLst>
                  <a:gd name="connsiteX0" fmla="*/ 0 w 38821"/>
                  <a:gd name="connsiteY0" fmla="*/ 0 h 1198"/>
                  <a:gd name="connsiteX1" fmla="*/ 38822 w 38821"/>
                  <a:gd name="connsiteY1" fmla="*/ 0 h 11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8821" h="1198">
                    <a:moveTo>
                      <a:pt x="0" y="0"/>
                    </a:moveTo>
                    <a:lnTo>
                      <a:pt x="38822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52" name="Forma livre: Forma 251">
                <a:extLst>
                  <a:ext uri="{FF2B5EF4-FFF2-40B4-BE49-F238E27FC236}">
                    <a16:creationId xmlns:a16="http://schemas.microsoft.com/office/drawing/2014/main" id="{202AA6EF-1783-6A82-2E77-06C4A3A31F0A}"/>
                  </a:ext>
                </a:extLst>
              </p:cNvPr>
              <p:cNvSpPr/>
              <p:nvPr/>
            </p:nvSpPr>
            <p:spPr>
              <a:xfrm>
                <a:off x="949838" y="3235719"/>
                <a:ext cx="18835" cy="1198"/>
              </a:xfrm>
              <a:custGeom>
                <a:avLst/>
                <a:gdLst>
                  <a:gd name="connsiteX0" fmla="*/ 0 w 18835"/>
                  <a:gd name="connsiteY0" fmla="*/ 0 h 1198"/>
                  <a:gd name="connsiteX1" fmla="*/ 18836 w 18835"/>
                  <a:gd name="connsiteY1" fmla="*/ 0 h 11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8835" h="1198">
                    <a:moveTo>
                      <a:pt x="0" y="0"/>
                    </a:moveTo>
                    <a:lnTo>
                      <a:pt x="18836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53" name="Forma livre: Forma 252">
                <a:extLst>
                  <a:ext uri="{FF2B5EF4-FFF2-40B4-BE49-F238E27FC236}">
                    <a16:creationId xmlns:a16="http://schemas.microsoft.com/office/drawing/2014/main" id="{39D9E54D-8A2B-E1F2-A1BB-4A7FD4B53ABD}"/>
                  </a:ext>
                </a:extLst>
              </p:cNvPr>
              <p:cNvSpPr/>
              <p:nvPr/>
            </p:nvSpPr>
            <p:spPr>
              <a:xfrm>
                <a:off x="949838" y="3266608"/>
                <a:ext cx="18835" cy="1198"/>
              </a:xfrm>
              <a:custGeom>
                <a:avLst/>
                <a:gdLst>
                  <a:gd name="connsiteX0" fmla="*/ 0 w 18835"/>
                  <a:gd name="connsiteY0" fmla="*/ 0 h 1198"/>
                  <a:gd name="connsiteX1" fmla="*/ 18836 w 18835"/>
                  <a:gd name="connsiteY1" fmla="*/ 0 h 11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8835" h="1198">
                    <a:moveTo>
                      <a:pt x="0" y="0"/>
                    </a:moveTo>
                    <a:lnTo>
                      <a:pt x="18836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54" name="Forma livre: Forma 253">
                <a:extLst>
                  <a:ext uri="{FF2B5EF4-FFF2-40B4-BE49-F238E27FC236}">
                    <a16:creationId xmlns:a16="http://schemas.microsoft.com/office/drawing/2014/main" id="{61ED3D2C-C024-5FFE-CBA5-4876BA46F1A0}"/>
                  </a:ext>
                </a:extLst>
              </p:cNvPr>
              <p:cNvSpPr/>
              <p:nvPr/>
            </p:nvSpPr>
            <p:spPr>
              <a:xfrm>
                <a:off x="949838" y="3297486"/>
                <a:ext cx="18835" cy="1198"/>
              </a:xfrm>
              <a:custGeom>
                <a:avLst/>
                <a:gdLst>
                  <a:gd name="connsiteX0" fmla="*/ 0 w 18835"/>
                  <a:gd name="connsiteY0" fmla="*/ 0 h 1198"/>
                  <a:gd name="connsiteX1" fmla="*/ 18836 w 18835"/>
                  <a:gd name="connsiteY1" fmla="*/ 0 h 11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8835" h="1198">
                    <a:moveTo>
                      <a:pt x="0" y="0"/>
                    </a:moveTo>
                    <a:lnTo>
                      <a:pt x="18836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55" name="Forma livre: Forma 254">
                <a:extLst>
                  <a:ext uri="{FF2B5EF4-FFF2-40B4-BE49-F238E27FC236}">
                    <a16:creationId xmlns:a16="http://schemas.microsoft.com/office/drawing/2014/main" id="{EF0C7F02-FEBC-9540-B8DE-6CA031F2FE63}"/>
                  </a:ext>
                </a:extLst>
              </p:cNvPr>
              <p:cNvSpPr/>
              <p:nvPr/>
            </p:nvSpPr>
            <p:spPr>
              <a:xfrm>
                <a:off x="949838" y="3328388"/>
                <a:ext cx="18835" cy="1198"/>
              </a:xfrm>
              <a:custGeom>
                <a:avLst/>
                <a:gdLst>
                  <a:gd name="connsiteX0" fmla="*/ 0 w 18835"/>
                  <a:gd name="connsiteY0" fmla="*/ 0 h 1198"/>
                  <a:gd name="connsiteX1" fmla="*/ 18836 w 18835"/>
                  <a:gd name="connsiteY1" fmla="*/ 0 h 11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8835" h="1198">
                    <a:moveTo>
                      <a:pt x="0" y="0"/>
                    </a:moveTo>
                    <a:lnTo>
                      <a:pt x="18836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56" name="Forma livre: Forma 255">
                <a:extLst>
                  <a:ext uri="{FF2B5EF4-FFF2-40B4-BE49-F238E27FC236}">
                    <a16:creationId xmlns:a16="http://schemas.microsoft.com/office/drawing/2014/main" id="{BF4A5FEE-9C5F-559E-F907-5DC585D82F5E}"/>
                  </a:ext>
                </a:extLst>
              </p:cNvPr>
              <p:cNvSpPr/>
              <p:nvPr/>
            </p:nvSpPr>
            <p:spPr>
              <a:xfrm>
                <a:off x="949838" y="3359265"/>
                <a:ext cx="18835" cy="1198"/>
              </a:xfrm>
              <a:custGeom>
                <a:avLst/>
                <a:gdLst>
                  <a:gd name="connsiteX0" fmla="*/ 0 w 18835"/>
                  <a:gd name="connsiteY0" fmla="*/ 0 h 1198"/>
                  <a:gd name="connsiteX1" fmla="*/ 18836 w 18835"/>
                  <a:gd name="connsiteY1" fmla="*/ 0 h 11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8835" h="1198">
                    <a:moveTo>
                      <a:pt x="0" y="0"/>
                    </a:moveTo>
                    <a:lnTo>
                      <a:pt x="18836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57" name="Forma livre: Forma 256">
                <a:extLst>
                  <a:ext uri="{FF2B5EF4-FFF2-40B4-BE49-F238E27FC236}">
                    <a16:creationId xmlns:a16="http://schemas.microsoft.com/office/drawing/2014/main" id="{67DF25C7-4CD8-41AA-8FEC-E45226C6373C}"/>
                  </a:ext>
                </a:extLst>
              </p:cNvPr>
              <p:cNvSpPr/>
              <p:nvPr/>
            </p:nvSpPr>
            <p:spPr>
              <a:xfrm>
                <a:off x="949838" y="3390155"/>
                <a:ext cx="18835" cy="1198"/>
              </a:xfrm>
              <a:custGeom>
                <a:avLst/>
                <a:gdLst>
                  <a:gd name="connsiteX0" fmla="*/ 0 w 18835"/>
                  <a:gd name="connsiteY0" fmla="*/ 0 h 1198"/>
                  <a:gd name="connsiteX1" fmla="*/ 18836 w 18835"/>
                  <a:gd name="connsiteY1" fmla="*/ 0 h 11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8835" h="1198">
                    <a:moveTo>
                      <a:pt x="0" y="0"/>
                    </a:moveTo>
                    <a:lnTo>
                      <a:pt x="18836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258" name="Forma livre: Forma 257">
              <a:extLst>
                <a:ext uri="{FF2B5EF4-FFF2-40B4-BE49-F238E27FC236}">
                  <a16:creationId xmlns:a16="http://schemas.microsoft.com/office/drawing/2014/main" id="{5A91C7AB-FCC2-C555-E5C8-7C6F42B1F8F5}"/>
                </a:ext>
              </a:extLst>
            </p:cNvPr>
            <p:cNvSpPr/>
            <p:nvPr/>
          </p:nvSpPr>
          <p:spPr>
            <a:xfrm>
              <a:off x="1087152" y="3422638"/>
              <a:ext cx="16559" cy="1198"/>
            </a:xfrm>
            <a:custGeom>
              <a:avLst/>
              <a:gdLst>
                <a:gd name="connsiteX0" fmla="*/ 0 w 16559"/>
                <a:gd name="connsiteY0" fmla="*/ 0 h 1198"/>
                <a:gd name="connsiteX1" fmla="*/ 16559 w 16559"/>
                <a:gd name="connsiteY1" fmla="*/ 0 h 11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6559" h="1198">
                  <a:moveTo>
                    <a:pt x="0" y="0"/>
                  </a:moveTo>
                  <a:lnTo>
                    <a:pt x="16559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59" name="Forma livre: Forma 258">
              <a:extLst>
                <a:ext uri="{FF2B5EF4-FFF2-40B4-BE49-F238E27FC236}">
                  <a16:creationId xmlns:a16="http://schemas.microsoft.com/office/drawing/2014/main" id="{FD1A5BFA-DE60-F8B1-D775-669CE012660C}"/>
                </a:ext>
              </a:extLst>
            </p:cNvPr>
            <p:cNvSpPr/>
            <p:nvPr/>
          </p:nvSpPr>
          <p:spPr>
            <a:xfrm>
              <a:off x="742741" y="3422638"/>
              <a:ext cx="321908" cy="1198"/>
            </a:xfrm>
            <a:custGeom>
              <a:avLst/>
              <a:gdLst>
                <a:gd name="connsiteX0" fmla="*/ 0 w 321908"/>
                <a:gd name="connsiteY0" fmla="*/ 0 h 1198"/>
                <a:gd name="connsiteX1" fmla="*/ 321909 w 321908"/>
                <a:gd name="connsiteY1" fmla="*/ 0 h 11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21908" h="1198">
                  <a:moveTo>
                    <a:pt x="0" y="0"/>
                  </a:moveTo>
                  <a:lnTo>
                    <a:pt x="321909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260" name="Gráfico 2">
            <a:extLst>
              <a:ext uri="{FF2B5EF4-FFF2-40B4-BE49-F238E27FC236}">
                <a16:creationId xmlns:a16="http://schemas.microsoft.com/office/drawing/2014/main" id="{6C992BC9-E6A0-2FCC-3F05-1692F40E32C5}"/>
              </a:ext>
            </a:extLst>
          </p:cNvPr>
          <p:cNvGrpSpPr/>
          <p:nvPr/>
        </p:nvGrpSpPr>
        <p:grpSpPr>
          <a:xfrm>
            <a:off x="1367112" y="3180817"/>
            <a:ext cx="360263" cy="241819"/>
            <a:chOff x="1367112" y="3180817"/>
            <a:chExt cx="360263" cy="241819"/>
          </a:xfrm>
          <a:noFill/>
        </p:grpSpPr>
        <p:grpSp>
          <p:nvGrpSpPr>
            <p:cNvPr id="261" name="Gráfico 2">
              <a:extLst>
                <a:ext uri="{FF2B5EF4-FFF2-40B4-BE49-F238E27FC236}">
                  <a16:creationId xmlns:a16="http://schemas.microsoft.com/office/drawing/2014/main" id="{CBFAB733-C89E-1C8D-60F6-EFE9C5259F4A}"/>
                </a:ext>
              </a:extLst>
            </p:cNvPr>
            <p:cNvGrpSpPr/>
            <p:nvPr/>
          </p:nvGrpSpPr>
          <p:grpSpPr>
            <a:xfrm>
              <a:off x="1367112" y="3180817"/>
              <a:ext cx="360263" cy="219426"/>
              <a:chOff x="1367112" y="3180817"/>
              <a:chExt cx="360263" cy="219426"/>
            </a:xfrm>
            <a:noFill/>
          </p:grpSpPr>
          <p:grpSp>
            <p:nvGrpSpPr>
              <p:cNvPr id="262" name="Gráfico 2">
                <a:extLst>
                  <a:ext uri="{FF2B5EF4-FFF2-40B4-BE49-F238E27FC236}">
                    <a16:creationId xmlns:a16="http://schemas.microsoft.com/office/drawing/2014/main" id="{B21FC27C-CB72-B3D1-860B-12D6E9883171}"/>
                  </a:ext>
                </a:extLst>
              </p:cNvPr>
              <p:cNvGrpSpPr/>
              <p:nvPr/>
            </p:nvGrpSpPr>
            <p:grpSpPr>
              <a:xfrm>
                <a:off x="1446792" y="3180817"/>
                <a:ext cx="200890" cy="219426"/>
                <a:chOff x="1446792" y="3180817"/>
                <a:chExt cx="200890" cy="219426"/>
              </a:xfrm>
              <a:noFill/>
            </p:grpSpPr>
            <p:sp>
              <p:nvSpPr>
                <p:cNvPr id="263" name="Forma livre: Forma 262">
                  <a:extLst>
                    <a:ext uri="{FF2B5EF4-FFF2-40B4-BE49-F238E27FC236}">
                      <a16:creationId xmlns:a16="http://schemas.microsoft.com/office/drawing/2014/main" id="{DE227A12-2939-9859-85EC-E92C25360A6F}"/>
                    </a:ext>
                  </a:extLst>
                </p:cNvPr>
                <p:cNvSpPr/>
                <p:nvPr/>
              </p:nvSpPr>
              <p:spPr>
                <a:xfrm>
                  <a:off x="1446792" y="3351273"/>
                  <a:ext cx="1198" cy="48970"/>
                </a:xfrm>
                <a:custGeom>
                  <a:avLst/>
                  <a:gdLst>
                    <a:gd name="connsiteX0" fmla="*/ 0 w 1198"/>
                    <a:gd name="connsiteY0" fmla="*/ 48970 h 48970"/>
                    <a:gd name="connsiteX1" fmla="*/ 0 w 1198"/>
                    <a:gd name="connsiteY1" fmla="*/ 0 h 4897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198" h="48970">
                      <a:moveTo>
                        <a:pt x="0" y="48970"/>
                      </a:moveTo>
                      <a:lnTo>
                        <a:pt x="0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64" name="Forma livre: Forma 263">
                  <a:extLst>
                    <a:ext uri="{FF2B5EF4-FFF2-40B4-BE49-F238E27FC236}">
                      <a16:creationId xmlns:a16="http://schemas.microsoft.com/office/drawing/2014/main" id="{66278A35-BFC8-CCCD-182D-90F35C13A462}"/>
                    </a:ext>
                  </a:extLst>
                </p:cNvPr>
                <p:cNvSpPr/>
                <p:nvPr/>
              </p:nvSpPr>
              <p:spPr>
                <a:xfrm>
                  <a:off x="1469558" y="3351273"/>
                  <a:ext cx="1198" cy="48970"/>
                </a:xfrm>
                <a:custGeom>
                  <a:avLst/>
                  <a:gdLst>
                    <a:gd name="connsiteX0" fmla="*/ 0 w 1198"/>
                    <a:gd name="connsiteY0" fmla="*/ 0 h 48970"/>
                    <a:gd name="connsiteX1" fmla="*/ 0 w 1198"/>
                    <a:gd name="connsiteY1" fmla="*/ 48970 h 4897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198" h="48970">
                      <a:moveTo>
                        <a:pt x="0" y="0"/>
                      </a:moveTo>
                      <a:lnTo>
                        <a:pt x="0" y="4897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65" name="Forma livre: Forma 264">
                  <a:extLst>
                    <a:ext uri="{FF2B5EF4-FFF2-40B4-BE49-F238E27FC236}">
                      <a16:creationId xmlns:a16="http://schemas.microsoft.com/office/drawing/2014/main" id="{A4EEED71-D103-A150-3A3D-4685D784E83C}"/>
                    </a:ext>
                  </a:extLst>
                </p:cNvPr>
                <p:cNvSpPr/>
                <p:nvPr/>
              </p:nvSpPr>
              <p:spPr>
                <a:xfrm>
                  <a:off x="1446792" y="3180817"/>
                  <a:ext cx="22765" cy="128495"/>
                </a:xfrm>
                <a:custGeom>
                  <a:avLst/>
                  <a:gdLst>
                    <a:gd name="connsiteX0" fmla="*/ 0 w 22765"/>
                    <a:gd name="connsiteY0" fmla="*/ 128495 h 128495"/>
                    <a:gd name="connsiteX1" fmla="*/ 0 w 22765"/>
                    <a:gd name="connsiteY1" fmla="*/ 0 h 128495"/>
                    <a:gd name="connsiteX2" fmla="*/ 22766 w 22765"/>
                    <a:gd name="connsiteY2" fmla="*/ 0 h 128495"/>
                    <a:gd name="connsiteX3" fmla="*/ 22766 w 22765"/>
                    <a:gd name="connsiteY3" fmla="*/ 128495 h 12849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22765" h="128495">
                      <a:moveTo>
                        <a:pt x="0" y="128495"/>
                      </a:moveTo>
                      <a:lnTo>
                        <a:pt x="0" y="0"/>
                      </a:lnTo>
                      <a:lnTo>
                        <a:pt x="22766" y="0"/>
                      </a:lnTo>
                      <a:lnTo>
                        <a:pt x="22766" y="128495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66" name="Forma livre: Forma 265">
                  <a:extLst>
                    <a:ext uri="{FF2B5EF4-FFF2-40B4-BE49-F238E27FC236}">
                      <a16:creationId xmlns:a16="http://schemas.microsoft.com/office/drawing/2014/main" id="{D1A9F64D-A218-406B-83FD-97F636587133}"/>
                    </a:ext>
                  </a:extLst>
                </p:cNvPr>
                <p:cNvSpPr/>
                <p:nvPr/>
              </p:nvSpPr>
              <p:spPr>
                <a:xfrm>
                  <a:off x="1624917" y="3351273"/>
                  <a:ext cx="1198" cy="48970"/>
                </a:xfrm>
                <a:custGeom>
                  <a:avLst/>
                  <a:gdLst>
                    <a:gd name="connsiteX0" fmla="*/ 0 w 1198"/>
                    <a:gd name="connsiteY0" fmla="*/ 48970 h 48970"/>
                    <a:gd name="connsiteX1" fmla="*/ 0 w 1198"/>
                    <a:gd name="connsiteY1" fmla="*/ 0 h 4897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198" h="48970">
                      <a:moveTo>
                        <a:pt x="0" y="48970"/>
                      </a:moveTo>
                      <a:lnTo>
                        <a:pt x="0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67" name="Forma livre: Forma 266">
                  <a:extLst>
                    <a:ext uri="{FF2B5EF4-FFF2-40B4-BE49-F238E27FC236}">
                      <a16:creationId xmlns:a16="http://schemas.microsoft.com/office/drawing/2014/main" id="{2E65CC76-A01B-3AB7-6E1A-7F63034C6D1C}"/>
                    </a:ext>
                  </a:extLst>
                </p:cNvPr>
                <p:cNvSpPr/>
                <p:nvPr/>
              </p:nvSpPr>
              <p:spPr>
                <a:xfrm>
                  <a:off x="1647683" y="3351273"/>
                  <a:ext cx="1198" cy="48970"/>
                </a:xfrm>
                <a:custGeom>
                  <a:avLst/>
                  <a:gdLst>
                    <a:gd name="connsiteX0" fmla="*/ 0 w 1198"/>
                    <a:gd name="connsiteY0" fmla="*/ 0 h 48970"/>
                    <a:gd name="connsiteX1" fmla="*/ 0 w 1198"/>
                    <a:gd name="connsiteY1" fmla="*/ 48970 h 4897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198" h="48970">
                      <a:moveTo>
                        <a:pt x="0" y="0"/>
                      </a:moveTo>
                      <a:lnTo>
                        <a:pt x="0" y="4897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68" name="Forma livre: Forma 267">
                  <a:extLst>
                    <a:ext uri="{FF2B5EF4-FFF2-40B4-BE49-F238E27FC236}">
                      <a16:creationId xmlns:a16="http://schemas.microsoft.com/office/drawing/2014/main" id="{FB2890D5-1778-E21D-3699-44922C94D221}"/>
                    </a:ext>
                  </a:extLst>
                </p:cNvPr>
                <p:cNvSpPr/>
                <p:nvPr/>
              </p:nvSpPr>
              <p:spPr>
                <a:xfrm>
                  <a:off x="1624917" y="3180817"/>
                  <a:ext cx="22765" cy="128495"/>
                </a:xfrm>
                <a:custGeom>
                  <a:avLst/>
                  <a:gdLst>
                    <a:gd name="connsiteX0" fmla="*/ 0 w 22765"/>
                    <a:gd name="connsiteY0" fmla="*/ 128495 h 128495"/>
                    <a:gd name="connsiteX1" fmla="*/ 0 w 22765"/>
                    <a:gd name="connsiteY1" fmla="*/ 0 h 128495"/>
                    <a:gd name="connsiteX2" fmla="*/ 22766 w 22765"/>
                    <a:gd name="connsiteY2" fmla="*/ 0 h 128495"/>
                    <a:gd name="connsiteX3" fmla="*/ 22766 w 22765"/>
                    <a:gd name="connsiteY3" fmla="*/ 128495 h 12849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22765" h="128495">
                      <a:moveTo>
                        <a:pt x="0" y="128495"/>
                      </a:moveTo>
                      <a:lnTo>
                        <a:pt x="0" y="0"/>
                      </a:lnTo>
                      <a:lnTo>
                        <a:pt x="22766" y="0"/>
                      </a:lnTo>
                      <a:lnTo>
                        <a:pt x="22766" y="128495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269" name="Forma livre: Forma 268">
                <a:extLst>
                  <a:ext uri="{FF2B5EF4-FFF2-40B4-BE49-F238E27FC236}">
                    <a16:creationId xmlns:a16="http://schemas.microsoft.com/office/drawing/2014/main" id="{1189B6FE-E628-1072-5D80-73443BFAAB6E}"/>
                  </a:ext>
                </a:extLst>
              </p:cNvPr>
              <p:cNvSpPr/>
              <p:nvPr/>
            </p:nvSpPr>
            <p:spPr>
              <a:xfrm>
                <a:off x="1367112" y="3350363"/>
                <a:ext cx="360263" cy="1198"/>
              </a:xfrm>
              <a:custGeom>
                <a:avLst/>
                <a:gdLst>
                  <a:gd name="connsiteX0" fmla="*/ 360263 w 360263"/>
                  <a:gd name="connsiteY0" fmla="*/ 0 h 1198"/>
                  <a:gd name="connsiteX1" fmla="*/ 0 w 360263"/>
                  <a:gd name="connsiteY1" fmla="*/ 0 h 11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60263" h="1198">
                    <a:moveTo>
                      <a:pt x="360263" y="0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70" name="Forma livre: Forma 269">
                <a:extLst>
                  <a:ext uri="{FF2B5EF4-FFF2-40B4-BE49-F238E27FC236}">
                    <a16:creationId xmlns:a16="http://schemas.microsoft.com/office/drawing/2014/main" id="{606557DF-D627-4005-DB2B-02A29C587131}"/>
                  </a:ext>
                </a:extLst>
              </p:cNvPr>
              <p:cNvSpPr/>
              <p:nvPr/>
            </p:nvSpPr>
            <p:spPr>
              <a:xfrm>
                <a:off x="1367112" y="3327597"/>
                <a:ext cx="360263" cy="1198"/>
              </a:xfrm>
              <a:custGeom>
                <a:avLst/>
                <a:gdLst>
                  <a:gd name="connsiteX0" fmla="*/ 0 w 360263"/>
                  <a:gd name="connsiteY0" fmla="*/ 0 h 1198"/>
                  <a:gd name="connsiteX1" fmla="*/ 360263 w 360263"/>
                  <a:gd name="connsiteY1" fmla="*/ 0 h 11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60263" h="1198">
                    <a:moveTo>
                      <a:pt x="0" y="0"/>
                    </a:moveTo>
                    <a:lnTo>
                      <a:pt x="360263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71" name="Forma livre: Forma 270">
                <a:extLst>
                  <a:ext uri="{FF2B5EF4-FFF2-40B4-BE49-F238E27FC236}">
                    <a16:creationId xmlns:a16="http://schemas.microsoft.com/office/drawing/2014/main" id="{A3DD8BFC-39DC-C296-17F9-3696EDBC1B6D}"/>
                  </a:ext>
                </a:extLst>
              </p:cNvPr>
              <p:cNvSpPr/>
              <p:nvPr/>
            </p:nvSpPr>
            <p:spPr>
              <a:xfrm>
                <a:off x="1469630" y="3180829"/>
                <a:ext cx="155119" cy="75187"/>
              </a:xfrm>
              <a:custGeom>
                <a:avLst/>
                <a:gdLst>
                  <a:gd name="connsiteX0" fmla="*/ 155119 w 155119"/>
                  <a:gd name="connsiteY0" fmla="*/ 0 h 75187"/>
                  <a:gd name="connsiteX1" fmla="*/ 77560 w 155119"/>
                  <a:gd name="connsiteY1" fmla="*/ 75187 h 75187"/>
                  <a:gd name="connsiteX2" fmla="*/ 0 w 155119"/>
                  <a:gd name="connsiteY2" fmla="*/ 0 h 751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55119" h="75187">
                    <a:moveTo>
                      <a:pt x="155119" y="0"/>
                    </a:moveTo>
                    <a:cubicBezTo>
                      <a:pt x="155119" y="41518"/>
                      <a:pt x="120395" y="75187"/>
                      <a:pt x="77560" y="75187"/>
                    </a:cubicBezTo>
                    <a:cubicBezTo>
                      <a:pt x="34724" y="75187"/>
                      <a:pt x="0" y="41530"/>
                      <a:pt x="0" y="0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72" name="Forma livre: Forma 271">
                <a:extLst>
                  <a:ext uri="{FF2B5EF4-FFF2-40B4-BE49-F238E27FC236}">
                    <a16:creationId xmlns:a16="http://schemas.microsoft.com/office/drawing/2014/main" id="{FEFC5C27-786C-D61A-AF03-444ADAB48479}"/>
                  </a:ext>
                </a:extLst>
              </p:cNvPr>
              <p:cNvSpPr/>
              <p:nvPr/>
            </p:nvSpPr>
            <p:spPr>
              <a:xfrm>
                <a:off x="1647671" y="3180841"/>
                <a:ext cx="78482" cy="95041"/>
              </a:xfrm>
              <a:custGeom>
                <a:avLst/>
                <a:gdLst>
                  <a:gd name="connsiteX0" fmla="*/ 78482 w 78482"/>
                  <a:gd name="connsiteY0" fmla="*/ 95041 h 95041"/>
                  <a:gd name="connsiteX1" fmla="*/ 0 w 78482"/>
                  <a:gd name="connsiteY1" fmla="*/ 0 h 950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78482" h="95041">
                    <a:moveTo>
                      <a:pt x="78482" y="95041"/>
                    </a:moveTo>
                    <a:cubicBezTo>
                      <a:pt x="38570" y="86258"/>
                      <a:pt x="0" y="42021"/>
                      <a:pt x="0" y="0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73" name="Forma livre: Forma 272">
                <a:extLst>
                  <a:ext uri="{FF2B5EF4-FFF2-40B4-BE49-F238E27FC236}">
                    <a16:creationId xmlns:a16="http://schemas.microsoft.com/office/drawing/2014/main" id="{165FDE2A-5DFD-A2AB-3180-B80A04AD8D51}"/>
                  </a:ext>
                </a:extLst>
              </p:cNvPr>
              <p:cNvSpPr/>
              <p:nvPr/>
            </p:nvSpPr>
            <p:spPr>
              <a:xfrm>
                <a:off x="1368574" y="3180841"/>
                <a:ext cx="78482" cy="95041"/>
              </a:xfrm>
              <a:custGeom>
                <a:avLst/>
                <a:gdLst>
                  <a:gd name="connsiteX0" fmla="*/ 0 w 78482"/>
                  <a:gd name="connsiteY0" fmla="*/ 95041 h 95041"/>
                  <a:gd name="connsiteX1" fmla="*/ 78482 w 78482"/>
                  <a:gd name="connsiteY1" fmla="*/ 0 h 950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78482" h="95041">
                    <a:moveTo>
                      <a:pt x="0" y="95041"/>
                    </a:moveTo>
                    <a:cubicBezTo>
                      <a:pt x="39912" y="86258"/>
                      <a:pt x="78482" y="42021"/>
                      <a:pt x="78482" y="0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74" name="Forma livre: Forma 273">
                <a:extLst>
                  <a:ext uri="{FF2B5EF4-FFF2-40B4-BE49-F238E27FC236}">
                    <a16:creationId xmlns:a16="http://schemas.microsoft.com/office/drawing/2014/main" id="{44DC2CFD-8AFA-8444-1E66-32E4DA0ADCC9}"/>
                  </a:ext>
                </a:extLst>
              </p:cNvPr>
              <p:cNvSpPr/>
              <p:nvPr/>
            </p:nvSpPr>
            <p:spPr>
              <a:xfrm>
                <a:off x="1508739" y="3244478"/>
                <a:ext cx="1198" cy="64834"/>
              </a:xfrm>
              <a:custGeom>
                <a:avLst/>
                <a:gdLst>
                  <a:gd name="connsiteX0" fmla="*/ 0 w 1198"/>
                  <a:gd name="connsiteY0" fmla="*/ 0 h 64834"/>
                  <a:gd name="connsiteX1" fmla="*/ 0 w 1198"/>
                  <a:gd name="connsiteY1" fmla="*/ 64835 h 648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8" h="64834">
                    <a:moveTo>
                      <a:pt x="0" y="0"/>
                    </a:moveTo>
                    <a:lnTo>
                      <a:pt x="0" y="64835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75" name="Forma livre: Forma 274">
                <a:extLst>
                  <a:ext uri="{FF2B5EF4-FFF2-40B4-BE49-F238E27FC236}">
                    <a16:creationId xmlns:a16="http://schemas.microsoft.com/office/drawing/2014/main" id="{676648C8-49CA-BD16-A2B9-4EE8FC4076EE}"/>
                  </a:ext>
                </a:extLst>
              </p:cNvPr>
              <p:cNvSpPr/>
              <p:nvPr/>
            </p:nvSpPr>
            <p:spPr>
              <a:xfrm>
                <a:off x="1547537" y="3256016"/>
                <a:ext cx="1198" cy="53295"/>
              </a:xfrm>
              <a:custGeom>
                <a:avLst/>
                <a:gdLst>
                  <a:gd name="connsiteX0" fmla="*/ 0 w 1198"/>
                  <a:gd name="connsiteY0" fmla="*/ 0 h 53295"/>
                  <a:gd name="connsiteX1" fmla="*/ 0 w 1198"/>
                  <a:gd name="connsiteY1" fmla="*/ 53296 h 532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8" h="53295">
                    <a:moveTo>
                      <a:pt x="0" y="0"/>
                    </a:moveTo>
                    <a:lnTo>
                      <a:pt x="0" y="53296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76" name="Forma livre: Forma 275">
                <a:extLst>
                  <a:ext uri="{FF2B5EF4-FFF2-40B4-BE49-F238E27FC236}">
                    <a16:creationId xmlns:a16="http://schemas.microsoft.com/office/drawing/2014/main" id="{4AE46D26-20B8-A5C3-F0E2-222FFC6A2094}"/>
                  </a:ext>
                </a:extLst>
              </p:cNvPr>
              <p:cNvSpPr/>
              <p:nvPr/>
            </p:nvSpPr>
            <p:spPr>
              <a:xfrm>
                <a:off x="1408090" y="3254710"/>
                <a:ext cx="1198" cy="54602"/>
              </a:xfrm>
              <a:custGeom>
                <a:avLst/>
                <a:gdLst>
                  <a:gd name="connsiteX0" fmla="*/ 0 w 1198"/>
                  <a:gd name="connsiteY0" fmla="*/ 0 h 54602"/>
                  <a:gd name="connsiteX1" fmla="*/ 0 w 1198"/>
                  <a:gd name="connsiteY1" fmla="*/ 54602 h 546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8" h="54602">
                    <a:moveTo>
                      <a:pt x="0" y="0"/>
                    </a:moveTo>
                    <a:lnTo>
                      <a:pt x="0" y="54602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77" name="Forma livre: Forma 276">
                <a:extLst>
                  <a:ext uri="{FF2B5EF4-FFF2-40B4-BE49-F238E27FC236}">
                    <a16:creationId xmlns:a16="http://schemas.microsoft.com/office/drawing/2014/main" id="{556395D7-F6AB-DFEC-556A-D6BE9D007CBE}"/>
                  </a:ext>
                </a:extLst>
              </p:cNvPr>
              <p:cNvSpPr/>
              <p:nvPr/>
            </p:nvSpPr>
            <p:spPr>
              <a:xfrm>
                <a:off x="1586323" y="3244478"/>
                <a:ext cx="1198" cy="64834"/>
              </a:xfrm>
              <a:custGeom>
                <a:avLst/>
                <a:gdLst>
                  <a:gd name="connsiteX0" fmla="*/ 0 w 1198"/>
                  <a:gd name="connsiteY0" fmla="*/ 0 h 64834"/>
                  <a:gd name="connsiteX1" fmla="*/ 0 w 1198"/>
                  <a:gd name="connsiteY1" fmla="*/ 64835 h 648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8" h="64834">
                    <a:moveTo>
                      <a:pt x="0" y="0"/>
                    </a:moveTo>
                    <a:lnTo>
                      <a:pt x="0" y="64835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78" name="Forma livre: Forma 277">
                <a:extLst>
                  <a:ext uri="{FF2B5EF4-FFF2-40B4-BE49-F238E27FC236}">
                    <a16:creationId xmlns:a16="http://schemas.microsoft.com/office/drawing/2014/main" id="{53E06D08-2EB7-C8E2-3846-9318331A9C9F}"/>
                  </a:ext>
                </a:extLst>
              </p:cNvPr>
              <p:cNvSpPr/>
              <p:nvPr/>
            </p:nvSpPr>
            <p:spPr>
              <a:xfrm>
                <a:off x="1686432" y="3254710"/>
                <a:ext cx="1198" cy="54602"/>
              </a:xfrm>
              <a:custGeom>
                <a:avLst/>
                <a:gdLst>
                  <a:gd name="connsiteX0" fmla="*/ 0 w 1198"/>
                  <a:gd name="connsiteY0" fmla="*/ 0 h 54602"/>
                  <a:gd name="connsiteX1" fmla="*/ 0 w 1198"/>
                  <a:gd name="connsiteY1" fmla="*/ 54602 h 546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8" h="54602">
                    <a:moveTo>
                      <a:pt x="0" y="0"/>
                    </a:moveTo>
                    <a:lnTo>
                      <a:pt x="0" y="54602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279" name="Forma livre: Forma 278">
              <a:extLst>
                <a:ext uri="{FF2B5EF4-FFF2-40B4-BE49-F238E27FC236}">
                  <a16:creationId xmlns:a16="http://schemas.microsoft.com/office/drawing/2014/main" id="{8E6AAAF9-F1C0-6726-C7FA-825CBA5661AC}"/>
                </a:ext>
              </a:extLst>
            </p:cNvPr>
            <p:cNvSpPr/>
            <p:nvPr/>
          </p:nvSpPr>
          <p:spPr>
            <a:xfrm>
              <a:off x="1369460" y="3411459"/>
              <a:ext cx="355745" cy="11177"/>
            </a:xfrm>
            <a:custGeom>
              <a:avLst/>
              <a:gdLst>
                <a:gd name="connsiteX0" fmla="*/ 0 w 355745"/>
                <a:gd name="connsiteY0" fmla="*/ 0 h 11177"/>
                <a:gd name="connsiteX1" fmla="*/ 59239 w 355745"/>
                <a:gd name="connsiteY1" fmla="*/ 0 h 11177"/>
                <a:gd name="connsiteX2" fmla="*/ 118646 w 355745"/>
                <a:gd name="connsiteY2" fmla="*/ 0 h 11177"/>
                <a:gd name="connsiteX3" fmla="*/ 177873 w 355745"/>
                <a:gd name="connsiteY3" fmla="*/ 0 h 11177"/>
                <a:gd name="connsiteX4" fmla="*/ 237100 w 355745"/>
                <a:gd name="connsiteY4" fmla="*/ 0 h 11177"/>
                <a:gd name="connsiteX5" fmla="*/ 296339 w 355745"/>
                <a:gd name="connsiteY5" fmla="*/ 0 h 11177"/>
                <a:gd name="connsiteX6" fmla="*/ 355746 w 355745"/>
                <a:gd name="connsiteY6" fmla="*/ 0 h 111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55745" h="11177">
                  <a:moveTo>
                    <a:pt x="0" y="0"/>
                  </a:moveTo>
                  <a:cubicBezTo>
                    <a:pt x="0" y="0"/>
                    <a:pt x="24970" y="25150"/>
                    <a:pt x="59239" y="0"/>
                  </a:cubicBezTo>
                  <a:cubicBezTo>
                    <a:pt x="59239" y="0"/>
                    <a:pt x="84401" y="25150"/>
                    <a:pt x="118646" y="0"/>
                  </a:cubicBezTo>
                  <a:cubicBezTo>
                    <a:pt x="118646" y="0"/>
                    <a:pt x="143628" y="25150"/>
                    <a:pt x="177873" y="0"/>
                  </a:cubicBezTo>
                  <a:cubicBezTo>
                    <a:pt x="177873" y="0"/>
                    <a:pt x="202855" y="25150"/>
                    <a:pt x="237100" y="0"/>
                  </a:cubicBezTo>
                  <a:cubicBezTo>
                    <a:pt x="237100" y="0"/>
                    <a:pt x="262071" y="25150"/>
                    <a:pt x="296339" y="0"/>
                  </a:cubicBezTo>
                  <a:cubicBezTo>
                    <a:pt x="296339" y="0"/>
                    <a:pt x="321501" y="25150"/>
                    <a:pt x="355746" y="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280" name="Gráfico 2">
            <a:extLst>
              <a:ext uri="{FF2B5EF4-FFF2-40B4-BE49-F238E27FC236}">
                <a16:creationId xmlns:a16="http://schemas.microsoft.com/office/drawing/2014/main" id="{3418136B-D915-7603-CD7A-BE72C5B32DD0}"/>
              </a:ext>
            </a:extLst>
          </p:cNvPr>
          <p:cNvGrpSpPr/>
          <p:nvPr/>
        </p:nvGrpSpPr>
        <p:grpSpPr>
          <a:xfrm>
            <a:off x="1997282" y="3137670"/>
            <a:ext cx="348005" cy="284964"/>
            <a:chOff x="1997282" y="3137670"/>
            <a:chExt cx="348005" cy="284964"/>
          </a:xfrm>
          <a:noFill/>
        </p:grpSpPr>
        <p:grpSp>
          <p:nvGrpSpPr>
            <p:cNvPr id="281" name="Gráfico 2">
              <a:extLst>
                <a:ext uri="{FF2B5EF4-FFF2-40B4-BE49-F238E27FC236}">
                  <a16:creationId xmlns:a16="http://schemas.microsoft.com/office/drawing/2014/main" id="{5F6875B8-9F40-E651-1133-58CD985EF32B}"/>
                </a:ext>
              </a:extLst>
            </p:cNvPr>
            <p:cNvGrpSpPr/>
            <p:nvPr/>
          </p:nvGrpSpPr>
          <p:grpSpPr>
            <a:xfrm>
              <a:off x="2150568" y="3137670"/>
              <a:ext cx="72311" cy="125068"/>
              <a:chOff x="2150568" y="3137670"/>
              <a:chExt cx="72311" cy="125068"/>
            </a:xfrm>
            <a:noFill/>
          </p:grpSpPr>
          <p:sp>
            <p:nvSpPr>
              <p:cNvPr id="282" name="Forma livre: Forma 281">
                <a:extLst>
                  <a:ext uri="{FF2B5EF4-FFF2-40B4-BE49-F238E27FC236}">
                    <a16:creationId xmlns:a16="http://schemas.microsoft.com/office/drawing/2014/main" id="{0AAA6CC7-7F61-D1FE-8E7A-118F80C44406}"/>
                  </a:ext>
                </a:extLst>
              </p:cNvPr>
              <p:cNvSpPr/>
              <p:nvPr/>
            </p:nvSpPr>
            <p:spPr>
              <a:xfrm>
                <a:off x="2150568" y="3137670"/>
                <a:ext cx="72311" cy="125068"/>
              </a:xfrm>
              <a:custGeom>
                <a:avLst/>
                <a:gdLst>
                  <a:gd name="connsiteX0" fmla="*/ 72311 w 72311"/>
                  <a:gd name="connsiteY0" fmla="*/ 125068 h 125068"/>
                  <a:gd name="connsiteX1" fmla="*/ 43387 w 72311"/>
                  <a:gd name="connsiteY1" fmla="*/ 0 h 125068"/>
                  <a:gd name="connsiteX2" fmla="*/ 28924 w 72311"/>
                  <a:gd name="connsiteY2" fmla="*/ 0 h 125068"/>
                  <a:gd name="connsiteX3" fmla="*/ 0 w 72311"/>
                  <a:gd name="connsiteY3" fmla="*/ 125068 h 1250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2311" h="125068">
                    <a:moveTo>
                      <a:pt x="72311" y="125068"/>
                    </a:moveTo>
                    <a:lnTo>
                      <a:pt x="43387" y="0"/>
                    </a:lnTo>
                    <a:lnTo>
                      <a:pt x="28924" y="0"/>
                    </a:lnTo>
                    <a:lnTo>
                      <a:pt x="0" y="125068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83" name="Forma livre: Forma 282">
                <a:extLst>
                  <a:ext uri="{FF2B5EF4-FFF2-40B4-BE49-F238E27FC236}">
                    <a16:creationId xmlns:a16="http://schemas.microsoft.com/office/drawing/2014/main" id="{5104CD8F-A4AF-0682-E683-F8EFFF5DF3BE}"/>
                  </a:ext>
                </a:extLst>
              </p:cNvPr>
              <p:cNvSpPr/>
              <p:nvPr/>
            </p:nvSpPr>
            <p:spPr>
              <a:xfrm>
                <a:off x="2169942" y="3183597"/>
                <a:ext cx="33549" cy="1198"/>
              </a:xfrm>
              <a:custGeom>
                <a:avLst/>
                <a:gdLst>
                  <a:gd name="connsiteX0" fmla="*/ 33550 w 33549"/>
                  <a:gd name="connsiteY0" fmla="*/ 0 h 1198"/>
                  <a:gd name="connsiteX1" fmla="*/ 0 w 33549"/>
                  <a:gd name="connsiteY1" fmla="*/ 0 h 11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3549" h="1198">
                    <a:moveTo>
                      <a:pt x="33550" y="0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84" name="Forma livre: Forma 283">
                <a:extLst>
                  <a:ext uri="{FF2B5EF4-FFF2-40B4-BE49-F238E27FC236}">
                    <a16:creationId xmlns:a16="http://schemas.microsoft.com/office/drawing/2014/main" id="{E1D56597-5ED6-5FA5-E85C-76491B740447}"/>
                  </a:ext>
                </a:extLst>
              </p:cNvPr>
              <p:cNvSpPr/>
              <p:nvPr/>
            </p:nvSpPr>
            <p:spPr>
              <a:xfrm>
                <a:off x="2158116" y="3234041"/>
                <a:ext cx="57214" cy="1198"/>
              </a:xfrm>
              <a:custGeom>
                <a:avLst/>
                <a:gdLst>
                  <a:gd name="connsiteX0" fmla="*/ 57214 w 57214"/>
                  <a:gd name="connsiteY0" fmla="*/ 0 h 1198"/>
                  <a:gd name="connsiteX1" fmla="*/ 0 w 57214"/>
                  <a:gd name="connsiteY1" fmla="*/ 0 h 11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7214" h="1198">
                    <a:moveTo>
                      <a:pt x="57214" y="0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85" name="Forma livre: Forma 284">
                <a:extLst>
                  <a:ext uri="{FF2B5EF4-FFF2-40B4-BE49-F238E27FC236}">
                    <a16:creationId xmlns:a16="http://schemas.microsoft.com/office/drawing/2014/main" id="{EE4885EE-893A-1FFF-2C31-ACD27B38CB97}"/>
                  </a:ext>
                </a:extLst>
              </p:cNvPr>
              <p:cNvSpPr/>
              <p:nvPr/>
            </p:nvSpPr>
            <p:spPr>
              <a:xfrm>
                <a:off x="2169727" y="3184963"/>
                <a:ext cx="44704" cy="47041"/>
              </a:xfrm>
              <a:custGeom>
                <a:avLst/>
                <a:gdLst>
                  <a:gd name="connsiteX0" fmla="*/ 0 w 44704"/>
                  <a:gd name="connsiteY0" fmla="*/ 0 h 47041"/>
                  <a:gd name="connsiteX1" fmla="*/ 44705 w 44704"/>
                  <a:gd name="connsiteY1" fmla="*/ 47041 h 470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4704" h="47041">
                    <a:moveTo>
                      <a:pt x="0" y="0"/>
                    </a:moveTo>
                    <a:lnTo>
                      <a:pt x="44705" y="47041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286" name="Forma livre: Forma 285">
              <a:extLst>
                <a:ext uri="{FF2B5EF4-FFF2-40B4-BE49-F238E27FC236}">
                  <a16:creationId xmlns:a16="http://schemas.microsoft.com/office/drawing/2014/main" id="{F701A733-4CB6-A161-3EB2-C413551F273A}"/>
                </a:ext>
              </a:extLst>
            </p:cNvPr>
            <p:cNvSpPr/>
            <p:nvPr/>
          </p:nvSpPr>
          <p:spPr>
            <a:xfrm>
              <a:off x="1997282" y="3409518"/>
              <a:ext cx="348005" cy="13116"/>
            </a:xfrm>
            <a:custGeom>
              <a:avLst/>
              <a:gdLst>
                <a:gd name="connsiteX0" fmla="*/ 0 w 348005"/>
                <a:gd name="connsiteY0" fmla="*/ 0 h 13116"/>
                <a:gd name="connsiteX1" fmla="*/ 69472 w 348005"/>
                <a:gd name="connsiteY1" fmla="*/ 0 h 13116"/>
                <a:gd name="connsiteX2" fmla="*/ 139159 w 348005"/>
                <a:gd name="connsiteY2" fmla="*/ 0 h 13116"/>
                <a:gd name="connsiteX3" fmla="*/ 208847 w 348005"/>
                <a:gd name="connsiteY3" fmla="*/ 0 h 13116"/>
                <a:gd name="connsiteX4" fmla="*/ 278534 w 348005"/>
                <a:gd name="connsiteY4" fmla="*/ 0 h 13116"/>
                <a:gd name="connsiteX5" fmla="*/ 348006 w 348005"/>
                <a:gd name="connsiteY5" fmla="*/ 0 h 131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48005" h="13116">
                  <a:moveTo>
                    <a:pt x="0" y="0"/>
                  </a:moveTo>
                  <a:cubicBezTo>
                    <a:pt x="0" y="0"/>
                    <a:pt x="29308" y="29512"/>
                    <a:pt x="69472" y="0"/>
                  </a:cubicBezTo>
                  <a:cubicBezTo>
                    <a:pt x="69472" y="0"/>
                    <a:pt x="98995" y="29512"/>
                    <a:pt x="139159" y="0"/>
                  </a:cubicBezTo>
                  <a:cubicBezTo>
                    <a:pt x="139159" y="0"/>
                    <a:pt x="168671" y="29512"/>
                    <a:pt x="208847" y="0"/>
                  </a:cubicBezTo>
                  <a:cubicBezTo>
                    <a:pt x="208847" y="0"/>
                    <a:pt x="238370" y="29512"/>
                    <a:pt x="278534" y="0"/>
                  </a:cubicBezTo>
                  <a:cubicBezTo>
                    <a:pt x="278534" y="0"/>
                    <a:pt x="307842" y="29512"/>
                    <a:pt x="348006" y="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287" name="Gráfico 2">
              <a:extLst>
                <a:ext uri="{FF2B5EF4-FFF2-40B4-BE49-F238E27FC236}">
                  <a16:creationId xmlns:a16="http://schemas.microsoft.com/office/drawing/2014/main" id="{DEC7C052-93EC-20B8-7F2B-963E07181B4F}"/>
                </a:ext>
              </a:extLst>
            </p:cNvPr>
            <p:cNvGrpSpPr/>
            <p:nvPr/>
          </p:nvGrpSpPr>
          <p:grpSpPr>
            <a:xfrm>
              <a:off x="2118468" y="3333432"/>
              <a:ext cx="174506" cy="63696"/>
              <a:chOff x="2118468" y="3333432"/>
              <a:chExt cx="174506" cy="63696"/>
            </a:xfrm>
          </p:grpSpPr>
          <p:grpSp>
            <p:nvGrpSpPr>
              <p:cNvPr id="288" name="Gráfico 2">
                <a:extLst>
                  <a:ext uri="{FF2B5EF4-FFF2-40B4-BE49-F238E27FC236}">
                    <a16:creationId xmlns:a16="http://schemas.microsoft.com/office/drawing/2014/main" id="{1DC5FDF1-113D-8EA2-EFB1-5A236F3E860B}"/>
                  </a:ext>
                </a:extLst>
              </p:cNvPr>
              <p:cNvGrpSpPr/>
              <p:nvPr/>
            </p:nvGrpSpPr>
            <p:grpSpPr>
              <a:xfrm>
                <a:off x="2118468" y="3333432"/>
                <a:ext cx="34364" cy="63696"/>
                <a:chOff x="2118468" y="3333432"/>
                <a:chExt cx="34364" cy="63696"/>
              </a:xfrm>
            </p:grpSpPr>
            <p:sp>
              <p:nvSpPr>
                <p:cNvPr id="289" name="Forma livre: Forma 288">
                  <a:extLst>
                    <a:ext uri="{FF2B5EF4-FFF2-40B4-BE49-F238E27FC236}">
                      <a16:creationId xmlns:a16="http://schemas.microsoft.com/office/drawing/2014/main" id="{0FD0DEE0-7D2A-3806-0A35-B810C2CAC693}"/>
                    </a:ext>
                  </a:extLst>
                </p:cNvPr>
                <p:cNvSpPr/>
                <p:nvPr/>
              </p:nvSpPr>
              <p:spPr>
                <a:xfrm>
                  <a:off x="2118468" y="3333432"/>
                  <a:ext cx="1198" cy="63696"/>
                </a:xfrm>
                <a:custGeom>
                  <a:avLst/>
                  <a:gdLst>
                    <a:gd name="connsiteX0" fmla="*/ 0 w 1198"/>
                    <a:gd name="connsiteY0" fmla="*/ 0 h 63696"/>
                    <a:gd name="connsiteX1" fmla="*/ 0 w 1198"/>
                    <a:gd name="connsiteY1" fmla="*/ 63696 h 6369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198" h="63696">
                      <a:moveTo>
                        <a:pt x="0" y="0"/>
                      </a:moveTo>
                      <a:lnTo>
                        <a:pt x="0" y="63696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90" name="Forma livre: Forma 289">
                  <a:extLst>
                    <a:ext uri="{FF2B5EF4-FFF2-40B4-BE49-F238E27FC236}">
                      <a16:creationId xmlns:a16="http://schemas.microsoft.com/office/drawing/2014/main" id="{C880BF7F-6ED4-F2E4-D1B3-B26AA34D4F5B}"/>
                    </a:ext>
                  </a:extLst>
                </p:cNvPr>
                <p:cNvSpPr/>
                <p:nvPr/>
              </p:nvSpPr>
              <p:spPr>
                <a:xfrm>
                  <a:off x="2152832" y="3333432"/>
                  <a:ext cx="1198" cy="63696"/>
                </a:xfrm>
                <a:custGeom>
                  <a:avLst/>
                  <a:gdLst>
                    <a:gd name="connsiteX0" fmla="*/ 0 w 1198"/>
                    <a:gd name="connsiteY0" fmla="*/ 0 h 63696"/>
                    <a:gd name="connsiteX1" fmla="*/ 0 w 1198"/>
                    <a:gd name="connsiteY1" fmla="*/ 63696 h 6369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198" h="63696">
                      <a:moveTo>
                        <a:pt x="0" y="0"/>
                      </a:moveTo>
                      <a:lnTo>
                        <a:pt x="0" y="63696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291" name="Gráfico 2">
                <a:extLst>
                  <a:ext uri="{FF2B5EF4-FFF2-40B4-BE49-F238E27FC236}">
                    <a16:creationId xmlns:a16="http://schemas.microsoft.com/office/drawing/2014/main" id="{7CC9908A-7CFA-C845-55C4-3C64E24C111F}"/>
                  </a:ext>
                </a:extLst>
              </p:cNvPr>
              <p:cNvGrpSpPr/>
              <p:nvPr/>
            </p:nvGrpSpPr>
            <p:grpSpPr>
              <a:xfrm>
                <a:off x="2258621" y="3333432"/>
                <a:ext cx="34352" cy="63696"/>
                <a:chOff x="2258621" y="3333432"/>
                <a:chExt cx="34352" cy="63696"/>
              </a:xfrm>
            </p:grpSpPr>
            <p:sp>
              <p:nvSpPr>
                <p:cNvPr id="292" name="Forma livre: Forma 291">
                  <a:extLst>
                    <a:ext uri="{FF2B5EF4-FFF2-40B4-BE49-F238E27FC236}">
                      <a16:creationId xmlns:a16="http://schemas.microsoft.com/office/drawing/2014/main" id="{EDD1C9F0-67F9-E747-6C85-F21610303159}"/>
                    </a:ext>
                  </a:extLst>
                </p:cNvPr>
                <p:cNvSpPr/>
                <p:nvPr/>
              </p:nvSpPr>
              <p:spPr>
                <a:xfrm>
                  <a:off x="2258621" y="3333432"/>
                  <a:ext cx="1198" cy="63696"/>
                </a:xfrm>
                <a:custGeom>
                  <a:avLst/>
                  <a:gdLst>
                    <a:gd name="connsiteX0" fmla="*/ 0 w 1198"/>
                    <a:gd name="connsiteY0" fmla="*/ 0 h 63696"/>
                    <a:gd name="connsiteX1" fmla="*/ 0 w 1198"/>
                    <a:gd name="connsiteY1" fmla="*/ 63696 h 6369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198" h="63696">
                      <a:moveTo>
                        <a:pt x="0" y="0"/>
                      </a:moveTo>
                      <a:lnTo>
                        <a:pt x="0" y="63696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93" name="Forma livre: Forma 292">
                  <a:extLst>
                    <a:ext uri="{FF2B5EF4-FFF2-40B4-BE49-F238E27FC236}">
                      <a16:creationId xmlns:a16="http://schemas.microsoft.com/office/drawing/2014/main" id="{40A9181E-8B3F-1B59-7306-ACDDFC52098F}"/>
                    </a:ext>
                  </a:extLst>
                </p:cNvPr>
                <p:cNvSpPr/>
                <p:nvPr/>
              </p:nvSpPr>
              <p:spPr>
                <a:xfrm>
                  <a:off x="2292974" y="3333432"/>
                  <a:ext cx="1198" cy="63696"/>
                </a:xfrm>
                <a:custGeom>
                  <a:avLst/>
                  <a:gdLst>
                    <a:gd name="connsiteX0" fmla="*/ 0 w 1198"/>
                    <a:gd name="connsiteY0" fmla="*/ 0 h 63696"/>
                    <a:gd name="connsiteX1" fmla="*/ 0 w 1198"/>
                    <a:gd name="connsiteY1" fmla="*/ 63696 h 6369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198" h="63696">
                      <a:moveTo>
                        <a:pt x="0" y="0"/>
                      </a:moveTo>
                      <a:lnTo>
                        <a:pt x="0" y="63696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sp>
          <p:nvSpPr>
            <p:cNvPr id="294" name="Forma livre: Forma 293">
              <a:extLst>
                <a:ext uri="{FF2B5EF4-FFF2-40B4-BE49-F238E27FC236}">
                  <a16:creationId xmlns:a16="http://schemas.microsoft.com/office/drawing/2014/main" id="{0E791202-5503-6EC6-FA32-49C9E0E57774}"/>
                </a:ext>
              </a:extLst>
            </p:cNvPr>
            <p:cNvSpPr/>
            <p:nvPr/>
          </p:nvSpPr>
          <p:spPr>
            <a:xfrm>
              <a:off x="2059109" y="3195231"/>
              <a:ext cx="84940" cy="1198"/>
            </a:xfrm>
            <a:custGeom>
              <a:avLst/>
              <a:gdLst>
                <a:gd name="connsiteX0" fmla="*/ 84940 w 84940"/>
                <a:gd name="connsiteY0" fmla="*/ 0 h 1198"/>
                <a:gd name="connsiteX1" fmla="*/ 0 w 84940"/>
                <a:gd name="connsiteY1" fmla="*/ 0 h 11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4940" h="1198">
                  <a:moveTo>
                    <a:pt x="84940" y="0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95" name="Forma livre: Forma 294">
              <a:extLst>
                <a:ext uri="{FF2B5EF4-FFF2-40B4-BE49-F238E27FC236}">
                  <a16:creationId xmlns:a16="http://schemas.microsoft.com/office/drawing/2014/main" id="{EFF9D622-9803-C00B-1FCC-F0D60AB4DB09}"/>
                </a:ext>
              </a:extLst>
            </p:cNvPr>
            <p:cNvSpPr/>
            <p:nvPr/>
          </p:nvSpPr>
          <p:spPr>
            <a:xfrm>
              <a:off x="2043388" y="3220585"/>
              <a:ext cx="1198" cy="176542"/>
            </a:xfrm>
            <a:custGeom>
              <a:avLst/>
              <a:gdLst>
                <a:gd name="connsiteX0" fmla="*/ 0 w 1198"/>
                <a:gd name="connsiteY0" fmla="*/ 176543 h 176542"/>
                <a:gd name="connsiteX1" fmla="*/ 0 w 1198"/>
                <a:gd name="connsiteY1" fmla="*/ 0 h 1765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98" h="176542">
                  <a:moveTo>
                    <a:pt x="0" y="176543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296" name="Gráfico 2">
              <a:extLst>
                <a:ext uri="{FF2B5EF4-FFF2-40B4-BE49-F238E27FC236}">
                  <a16:creationId xmlns:a16="http://schemas.microsoft.com/office/drawing/2014/main" id="{F2BABAB6-A4C0-1DAE-33BC-32F029789A0D}"/>
                </a:ext>
              </a:extLst>
            </p:cNvPr>
            <p:cNvGrpSpPr/>
            <p:nvPr/>
          </p:nvGrpSpPr>
          <p:grpSpPr>
            <a:xfrm>
              <a:off x="2081875" y="3227152"/>
              <a:ext cx="252484" cy="104219"/>
              <a:chOff x="2081875" y="3227152"/>
              <a:chExt cx="252484" cy="104219"/>
            </a:xfrm>
            <a:noFill/>
          </p:grpSpPr>
          <p:sp>
            <p:nvSpPr>
              <p:cNvPr id="297" name="Forma livre: Forma 296">
                <a:extLst>
                  <a:ext uri="{FF2B5EF4-FFF2-40B4-BE49-F238E27FC236}">
                    <a16:creationId xmlns:a16="http://schemas.microsoft.com/office/drawing/2014/main" id="{E16F7CA3-43B2-9D3E-7F94-20AD0FCD03B6}"/>
                  </a:ext>
                </a:extLst>
              </p:cNvPr>
              <p:cNvSpPr/>
              <p:nvPr/>
            </p:nvSpPr>
            <p:spPr>
              <a:xfrm>
                <a:off x="2129982" y="3265818"/>
                <a:ext cx="112858" cy="24395"/>
              </a:xfrm>
              <a:custGeom>
                <a:avLst/>
                <a:gdLst>
                  <a:gd name="connsiteX0" fmla="*/ 0 w 112858"/>
                  <a:gd name="connsiteY0" fmla="*/ 24395 h 24395"/>
                  <a:gd name="connsiteX1" fmla="*/ 0 w 112858"/>
                  <a:gd name="connsiteY1" fmla="*/ 0 h 24395"/>
                  <a:gd name="connsiteX2" fmla="*/ 112859 w 112858"/>
                  <a:gd name="connsiteY2" fmla="*/ 0 h 243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12858" h="24395">
                    <a:moveTo>
                      <a:pt x="0" y="24395"/>
                    </a:moveTo>
                    <a:lnTo>
                      <a:pt x="0" y="0"/>
                    </a:lnTo>
                    <a:lnTo>
                      <a:pt x="112859" y="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98" name="Forma livre: Forma 297">
                <a:extLst>
                  <a:ext uri="{FF2B5EF4-FFF2-40B4-BE49-F238E27FC236}">
                    <a16:creationId xmlns:a16="http://schemas.microsoft.com/office/drawing/2014/main" id="{1FEA12EE-5CF1-AC06-7428-3FEB9CC7CE71}"/>
                  </a:ext>
                </a:extLst>
              </p:cNvPr>
              <p:cNvSpPr/>
              <p:nvPr/>
            </p:nvSpPr>
            <p:spPr>
              <a:xfrm>
                <a:off x="2081875" y="3227152"/>
                <a:ext cx="252484" cy="104219"/>
              </a:xfrm>
              <a:custGeom>
                <a:avLst/>
                <a:gdLst>
                  <a:gd name="connsiteX0" fmla="*/ 181947 w 252484"/>
                  <a:gd name="connsiteY0" fmla="*/ 44621 h 104219"/>
                  <a:gd name="connsiteX1" fmla="*/ 181947 w 252484"/>
                  <a:gd name="connsiteY1" fmla="*/ 0 h 104219"/>
                  <a:gd name="connsiteX2" fmla="*/ 252485 w 252484"/>
                  <a:gd name="connsiteY2" fmla="*/ 0 h 104219"/>
                  <a:gd name="connsiteX3" fmla="*/ 252485 w 252484"/>
                  <a:gd name="connsiteY3" fmla="*/ 104220 h 104219"/>
                  <a:gd name="connsiteX4" fmla="*/ 0 w 252484"/>
                  <a:gd name="connsiteY4" fmla="*/ 104220 h 104219"/>
                  <a:gd name="connsiteX5" fmla="*/ 0 w 252484"/>
                  <a:gd name="connsiteY5" fmla="*/ 62953 h 104219"/>
                  <a:gd name="connsiteX6" fmla="*/ 250867 w 252484"/>
                  <a:gd name="connsiteY6" fmla="*/ 62953 h 1042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52484" h="104219">
                    <a:moveTo>
                      <a:pt x="181947" y="44621"/>
                    </a:moveTo>
                    <a:lnTo>
                      <a:pt x="181947" y="0"/>
                    </a:lnTo>
                    <a:lnTo>
                      <a:pt x="252485" y="0"/>
                    </a:lnTo>
                    <a:lnTo>
                      <a:pt x="252485" y="104220"/>
                    </a:lnTo>
                    <a:lnTo>
                      <a:pt x="0" y="104220"/>
                    </a:lnTo>
                    <a:lnTo>
                      <a:pt x="0" y="62953"/>
                    </a:lnTo>
                    <a:lnTo>
                      <a:pt x="250867" y="62953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299" name="Gráfico 2">
                <a:extLst>
                  <a:ext uri="{FF2B5EF4-FFF2-40B4-BE49-F238E27FC236}">
                    <a16:creationId xmlns:a16="http://schemas.microsoft.com/office/drawing/2014/main" id="{F7776821-DFC9-1B7D-0B1E-072E75A6EBC4}"/>
                  </a:ext>
                </a:extLst>
              </p:cNvPr>
              <p:cNvGrpSpPr/>
              <p:nvPr/>
            </p:nvGrpSpPr>
            <p:grpSpPr>
              <a:xfrm>
                <a:off x="2287510" y="3245352"/>
                <a:ext cx="22418" cy="19039"/>
                <a:chOff x="2287510" y="3245352"/>
                <a:chExt cx="22418" cy="19039"/>
              </a:xfrm>
            </p:grpSpPr>
            <p:sp>
              <p:nvSpPr>
                <p:cNvPr id="300" name="Forma livre: Forma 299">
                  <a:extLst>
                    <a:ext uri="{FF2B5EF4-FFF2-40B4-BE49-F238E27FC236}">
                      <a16:creationId xmlns:a16="http://schemas.microsoft.com/office/drawing/2014/main" id="{B0016130-BBE4-E046-76C8-B68DD5ACC870}"/>
                    </a:ext>
                  </a:extLst>
                </p:cNvPr>
                <p:cNvSpPr/>
                <p:nvPr/>
              </p:nvSpPr>
              <p:spPr>
                <a:xfrm>
                  <a:off x="2287510" y="3245352"/>
                  <a:ext cx="1198" cy="19039"/>
                </a:xfrm>
                <a:custGeom>
                  <a:avLst/>
                  <a:gdLst>
                    <a:gd name="connsiteX0" fmla="*/ 0 w 1198"/>
                    <a:gd name="connsiteY0" fmla="*/ 0 h 19039"/>
                    <a:gd name="connsiteX1" fmla="*/ 0 w 1198"/>
                    <a:gd name="connsiteY1" fmla="*/ 19039 h 1903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198" h="19039">
                      <a:moveTo>
                        <a:pt x="0" y="0"/>
                      </a:moveTo>
                      <a:lnTo>
                        <a:pt x="0" y="19039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301" name="Forma livre: Forma 300">
                  <a:extLst>
                    <a:ext uri="{FF2B5EF4-FFF2-40B4-BE49-F238E27FC236}">
                      <a16:creationId xmlns:a16="http://schemas.microsoft.com/office/drawing/2014/main" id="{AF707B68-B026-6E40-E31B-D2D5D6F67B11}"/>
                    </a:ext>
                  </a:extLst>
                </p:cNvPr>
                <p:cNvSpPr/>
                <p:nvPr/>
              </p:nvSpPr>
              <p:spPr>
                <a:xfrm>
                  <a:off x="2309928" y="3245352"/>
                  <a:ext cx="1198" cy="19039"/>
                </a:xfrm>
                <a:custGeom>
                  <a:avLst/>
                  <a:gdLst>
                    <a:gd name="connsiteX0" fmla="*/ 0 w 1198"/>
                    <a:gd name="connsiteY0" fmla="*/ 0 h 19039"/>
                    <a:gd name="connsiteX1" fmla="*/ 0 w 1198"/>
                    <a:gd name="connsiteY1" fmla="*/ 19039 h 1903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198" h="19039">
                      <a:moveTo>
                        <a:pt x="0" y="0"/>
                      </a:moveTo>
                      <a:lnTo>
                        <a:pt x="0" y="19039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sp>
          <p:nvSpPr>
            <p:cNvPr id="302" name="Forma livre: Forma 301">
              <a:extLst>
                <a:ext uri="{FF2B5EF4-FFF2-40B4-BE49-F238E27FC236}">
                  <a16:creationId xmlns:a16="http://schemas.microsoft.com/office/drawing/2014/main" id="{49EED48F-0C35-5458-5593-3A46487E72A8}"/>
                </a:ext>
              </a:extLst>
            </p:cNvPr>
            <p:cNvSpPr/>
            <p:nvPr/>
          </p:nvSpPr>
          <p:spPr>
            <a:xfrm>
              <a:off x="2025648" y="3182245"/>
              <a:ext cx="106922" cy="107044"/>
            </a:xfrm>
            <a:custGeom>
              <a:avLst/>
              <a:gdLst>
                <a:gd name="connsiteX0" fmla="*/ 83414 w 106922"/>
                <a:gd name="connsiteY0" fmla="*/ 107045 h 107044"/>
                <a:gd name="connsiteX1" fmla="*/ 3194 w 106922"/>
                <a:gd name="connsiteY1" fmla="*/ 20798 h 107044"/>
                <a:gd name="connsiteX2" fmla="*/ 3541 w 106922"/>
                <a:gd name="connsiteY2" fmla="*/ 3676 h 107044"/>
                <a:gd name="connsiteX3" fmla="*/ 3541 w 106922"/>
                <a:gd name="connsiteY3" fmla="*/ 3676 h 107044"/>
                <a:gd name="connsiteX4" fmla="*/ 20676 w 106922"/>
                <a:gd name="connsiteY4" fmla="*/ 3329 h 107044"/>
                <a:gd name="connsiteX5" fmla="*/ 106922 w 106922"/>
                <a:gd name="connsiteY5" fmla="*/ 82985 h 1070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06922" h="107044">
                  <a:moveTo>
                    <a:pt x="83414" y="107045"/>
                  </a:moveTo>
                  <a:lnTo>
                    <a:pt x="3194" y="20798"/>
                  </a:lnTo>
                  <a:cubicBezTo>
                    <a:pt x="-1179" y="15730"/>
                    <a:pt x="-1060" y="8289"/>
                    <a:pt x="3541" y="3676"/>
                  </a:cubicBezTo>
                  <a:lnTo>
                    <a:pt x="3541" y="3676"/>
                  </a:lnTo>
                  <a:cubicBezTo>
                    <a:pt x="8154" y="-925"/>
                    <a:pt x="15595" y="-1392"/>
                    <a:pt x="20676" y="3329"/>
                  </a:cubicBezTo>
                  <a:lnTo>
                    <a:pt x="106922" y="82985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303" name="Gráfico 2">
            <a:extLst>
              <a:ext uri="{FF2B5EF4-FFF2-40B4-BE49-F238E27FC236}">
                <a16:creationId xmlns:a16="http://schemas.microsoft.com/office/drawing/2014/main" id="{42AE35DB-E14D-9D4B-568F-93FEF7AD8CDC}"/>
              </a:ext>
            </a:extLst>
          </p:cNvPr>
          <p:cNvGrpSpPr/>
          <p:nvPr/>
        </p:nvGrpSpPr>
        <p:grpSpPr>
          <a:xfrm>
            <a:off x="773523" y="2584556"/>
            <a:ext cx="299406" cy="332189"/>
            <a:chOff x="773523" y="2584556"/>
            <a:chExt cx="299406" cy="332189"/>
          </a:xfrm>
        </p:grpSpPr>
        <p:grpSp>
          <p:nvGrpSpPr>
            <p:cNvPr id="304" name="Gráfico 2">
              <a:extLst>
                <a:ext uri="{FF2B5EF4-FFF2-40B4-BE49-F238E27FC236}">
                  <a16:creationId xmlns:a16="http://schemas.microsoft.com/office/drawing/2014/main" id="{B621D86D-2248-C950-7056-80137B198447}"/>
                </a:ext>
              </a:extLst>
            </p:cNvPr>
            <p:cNvGrpSpPr/>
            <p:nvPr/>
          </p:nvGrpSpPr>
          <p:grpSpPr>
            <a:xfrm>
              <a:off x="794132" y="2584556"/>
              <a:ext cx="247392" cy="331709"/>
              <a:chOff x="794132" y="2584556"/>
              <a:chExt cx="247392" cy="331709"/>
            </a:xfrm>
          </p:grpSpPr>
          <p:grpSp>
            <p:nvGrpSpPr>
              <p:cNvPr id="305" name="Gráfico 2">
                <a:extLst>
                  <a:ext uri="{FF2B5EF4-FFF2-40B4-BE49-F238E27FC236}">
                    <a16:creationId xmlns:a16="http://schemas.microsoft.com/office/drawing/2014/main" id="{E24E78B0-31DC-C38B-EA58-B7F601C46247}"/>
                  </a:ext>
                </a:extLst>
              </p:cNvPr>
              <p:cNvGrpSpPr/>
              <p:nvPr/>
            </p:nvGrpSpPr>
            <p:grpSpPr>
              <a:xfrm>
                <a:off x="794132" y="2584556"/>
                <a:ext cx="247392" cy="331709"/>
                <a:chOff x="794132" y="2584556"/>
                <a:chExt cx="247392" cy="331709"/>
              </a:xfrm>
            </p:grpSpPr>
            <p:sp>
              <p:nvSpPr>
                <p:cNvPr id="306" name="Forma livre: Forma 305">
                  <a:extLst>
                    <a:ext uri="{FF2B5EF4-FFF2-40B4-BE49-F238E27FC236}">
                      <a16:creationId xmlns:a16="http://schemas.microsoft.com/office/drawing/2014/main" id="{FC092B8F-68F9-4EB0-5545-60E60CD189AA}"/>
                    </a:ext>
                  </a:extLst>
                </p:cNvPr>
                <p:cNvSpPr/>
                <p:nvPr/>
              </p:nvSpPr>
              <p:spPr>
                <a:xfrm>
                  <a:off x="817581" y="2783769"/>
                  <a:ext cx="194228" cy="1198"/>
                </a:xfrm>
                <a:custGeom>
                  <a:avLst/>
                  <a:gdLst>
                    <a:gd name="connsiteX0" fmla="*/ 0 w 194228"/>
                    <a:gd name="connsiteY0" fmla="*/ 0 h 1198"/>
                    <a:gd name="connsiteX1" fmla="*/ 194228 w 194228"/>
                    <a:gd name="connsiteY1" fmla="*/ 0 h 11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94228" h="1198">
                      <a:moveTo>
                        <a:pt x="0" y="0"/>
                      </a:moveTo>
                      <a:lnTo>
                        <a:pt x="194228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grpSp>
              <p:nvGrpSpPr>
                <p:cNvPr id="307" name="Gráfico 2">
                  <a:extLst>
                    <a:ext uri="{FF2B5EF4-FFF2-40B4-BE49-F238E27FC236}">
                      <a16:creationId xmlns:a16="http://schemas.microsoft.com/office/drawing/2014/main" id="{E80A0B5E-5EC3-B0EF-7215-2F186F3BDCCB}"/>
                    </a:ext>
                  </a:extLst>
                </p:cNvPr>
                <p:cNvGrpSpPr/>
                <p:nvPr/>
              </p:nvGrpSpPr>
              <p:grpSpPr>
                <a:xfrm>
                  <a:off x="794132" y="2584556"/>
                  <a:ext cx="247392" cy="331709"/>
                  <a:chOff x="794132" y="2584556"/>
                  <a:chExt cx="247392" cy="331709"/>
                </a:xfrm>
              </p:grpSpPr>
              <p:sp>
                <p:nvSpPr>
                  <p:cNvPr id="308" name="Forma livre: Forma 307">
                    <a:extLst>
                      <a:ext uri="{FF2B5EF4-FFF2-40B4-BE49-F238E27FC236}">
                        <a16:creationId xmlns:a16="http://schemas.microsoft.com/office/drawing/2014/main" id="{FB5829E1-8EE9-4C46-E580-086963C29EAF}"/>
                      </a:ext>
                    </a:extLst>
                  </p:cNvPr>
                  <p:cNvSpPr/>
                  <p:nvPr/>
                </p:nvSpPr>
                <p:spPr>
                  <a:xfrm>
                    <a:off x="849860" y="2615086"/>
                    <a:ext cx="7189" cy="7189"/>
                  </a:xfrm>
                  <a:custGeom>
                    <a:avLst/>
                    <a:gdLst>
                      <a:gd name="connsiteX0" fmla="*/ 0 w 7189"/>
                      <a:gd name="connsiteY0" fmla="*/ 3595 h 7189"/>
                      <a:gd name="connsiteX1" fmla="*/ 3583 w 7189"/>
                      <a:gd name="connsiteY1" fmla="*/ 7189 h 7189"/>
                      <a:gd name="connsiteX2" fmla="*/ 7189 w 7189"/>
                      <a:gd name="connsiteY2" fmla="*/ 3595 h 7189"/>
                      <a:gd name="connsiteX3" fmla="*/ 3583 w 7189"/>
                      <a:gd name="connsiteY3" fmla="*/ 0 h 7189"/>
                      <a:gd name="connsiteX4" fmla="*/ 0 w 7189"/>
                      <a:gd name="connsiteY4" fmla="*/ 3595 h 71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7189" h="7189">
                        <a:moveTo>
                          <a:pt x="0" y="3595"/>
                        </a:moveTo>
                        <a:cubicBezTo>
                          <a:pt x="0" y="5584"/>
                          <a:pt x="1606" y="7189"/>
                          <a:pt x="3583" y="7189"/>
                        </a:cubicBezTo>
                        <a:cubicBezTo>
                          <a:pt x="5560" y="7189"/>
                          <a:pt x="7189" y="5584"/>
                          <a:pt x="7189" y="3595"/>
                        </a:cubicBezTo>
                        <a:cubicBezTo>
                          <a:pt x="7189" y="1606"/>
                          <a:pt x="5572" y="0"/>
                          <a:pt x="3583" y="0"/>
                        </a:cubicBezTo>
                        <a:cubicBezTo>
                          <a:pt x="1594" y="0"/>
                          <a:pt x="12" y="1606"/>
                          <a:pt x="0" y="3595"/>
                        </a:cubicBezTo>
                        <a:close/>
                      </a:path>
                    </a:pathLst>
                  </a:custGeom>
                  <a:solidFill>
                    <a:srgbClr val="394553"/>
                  </a:solidFill>
                  <a:ln w="6350" cap="flat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309" name="Forma livre: Forma 308">
                    <a:extLst>
                      <a:ext uri="{FF2B5EF4-FFF2-40B4-BE49-F238E27FC236}">
                        <a16:creationId xmlns:a16="http://schemas.microsoft.com/office/drawing/2014/main" id="{1AB598A8-6627-7691-1F89-81F4D2EF1939}"/>
                      </a:ext>
                    </a:extLst>
                  </p:cNvPr>
                  <p:cNvSpPr/>
                  <p:nvPr/>
                </p:nvSpPr>
                <p:spPr>
                  <a:xfrm>
                    <a:off x="1034335" y="2703214"/>
                    <a:ext cx="7189" cy="7189"/>
                  </a:xfrm>
                  <a:custGeom>
                    <a:avLst/>
                    <a:gdLst>
                      <a:gd name="connsiteX0" fmla="*/ 0 w 7189"/>
                      <a:gd name="connsiteY0" fmla="*/ 3595 h 7189"/>
                      <a:gd name="connsiteX1" fmla="*/ 3583 w 7189"/>
                      <a:gd name="connsiteY1" fmla="*/ 7189 h 7189"/>
                      <a:gd name="connsiteX2" fmla="*/ 7189 w 7189"/>
                      <a:gd name="connsiteY2" fmla="*/ 3595 h 7189"/>
                      <a:gd name="connsiteX3" fmla="*/ 3583 w 7189"/>
                      <a:gd name="connsiteY3" fmla="*/ 0 h 7189"/>
                      <a:gd name="connsiteX4" fmla="*/ 0 w 7189"/>
                      <a:gd name="connsiteY4" fmla="*/ 3595 h 71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7189" h="7189">
                        <a:moveTo>
                          <a:pt x="0" y="3595"/>
                        </a:moveTo>
                        <a:cubicBezTo>
                          <a:pt x="24" y="5584"/>
                          <a:pt x="1606" y="7189"/>
                          <a:pt x="3583" y="7189"/>
                        </a:cubicBezTo>
                        <a:cubicBezTo>
                          <a:pt x="5560" y="7189"/>
                          <a:pt x="7189" y="5584"/>
                          <a:pt x="7189" y="3595"/>
                        </a:cubicBezTo>
                        <a:cubicBezTo>
                          <a:pt x="7189" y="1606"/>
                          <a:pt x="5572" y="0"/>
                          <a:pt x="3583" y="0"/>
                        </a:cubicBezTo>
                        <a:cubicBezTo>
                          <a:pt x="1594" y="0"/>
                          <a:pt x="12" y="1606"/>
                          <a:pt x="0" y="3595"/>
                        </a:cubicBezTo>
                        <a:close/>
                      </a:path>
                    </a:pathLst>
                  </a:custGeom>
                  <a:solidFill>
                    <a:srgbClr val="394553"/>
                  </a:solidFill>
                  <a:ln w="6350" cap="flat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310" name="Forma livre: Forma 309">
                    <a:extLst>
                      <a:ext uri="{FF2B5EF4-FFF2-40B4-BE49-F238E27FC236}">
                        <a16:creationId xmlns:a16="http://schemas.microsoft.com/office/drawing/2014/main" id="{5D8CFE69-FBB7-F776-AEDB-28B3FE498E23}"/>
                      </a:ext>
                    </a:extLst>
                  </p:cNvPr>
                  <p:cNvSpPr/>
                  <p:nvPr/>
                </p:nvSpPr>
                <p:spPr>
                  <a:xfrm>
                    <a:off x="973407" y="2584556"/>
                    <a:ext cx="7189" cy="7189"/>
                  </a:xfrm>
                  <a:custGeom>
                    <a:avLst/>
                    <a:gdLst>
                      <a:gd name="connsiteX0" fmla="*/ 0 w 7189"/>
                      <a:gd name="connsiteY0" fmla="*/ 3595 h 7189"/>
                      <a:gd name="connsiteX1" fmla="*/ 3583 w 7189"/>
                      <a:gd name="connsiteY1" fmla="*/ 7189 h 7189"/>
                      <a:gd name="connsiteX2" fmla="*/ 7189 w 7189"/>
                      <a:gd name="connsiteY2" fmla="*/ 3595 h 7189"/>
                      <a:gd name="connsiteX3" fmla="*/ 3583 w 7189"/>
                      <a:gd name="connsiteY3" fmla="*/ 0 h 7189"/>
                      <a:gd name="connsiteX4" fmla="*/ 0 w 7189"/>
                      <a:gd name="connsiteY4" fmla="*/ 3595 h 71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7189" h="7189">
                        <a:moveTo>
                          <a:pt x="0" y="3595"/>
                        </a:moveTo>
                        <a:cubicBezTo>
                          <a:pt x="0" y="5584"/>
                          <a:pt x="1606" y="7189"/>
                          <a:pt x="3583" y="7189"/>
                        </a:cubicBezTo>
                        <a:cubicBezTo>
                          <a:pt x="5560" y="7189"/>
                          <a:pt x="7189" y="5584"/>
                          <a:pt x="7189" y="3595"/>
                        </a:cubicBezTo>
                        <a:cubicBezTo>
                          <a:pt x="7189" y="1606"/>
                          <a:pt x="5560" y="0"/>
                          <a:pt x="3583" y="0"/>
                        </a:cubicBezTo>
                        <a:cubicBezTo>
                          <a:pt x="1606" y="0"/>
                          <a:pt x="0" y="1606"/>
                          <a:pt x="0" y="3595"/>
                        </a:cubicBezTo>
                        <a:close/>
                      </a:path>
                    </a:pathLst>
                  </a:custGeom>
                  <a:solidFill>
                    <a:srgbClr val="394553"/>
                  </a:solidFill>
                  <a:ln w="6350" cap="flat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grpSp>
                <p:nvGrpSpPr>
                  <p:cNvPr id="311" name="Gráfico 2">
                    <a:extLst>
                      <a:ext uri="{FF2B5EF4-FFF2-40B4-BE49-F238E27FC236}">
                        <a16:creationId xmlns:a16="http://schemas.microsoft.com/office/drawing/2014/main" id="{73A0A5C3-7005-3D3B-0E24-89F4E5333588}"/>
                      </a:ext>
                    </a:extLst>
                  </p:cNvPr>
                  <p:cNvGrpSpPr/>
                  <p:nvPr/>
                </p:nvGrpSpPr>
                <p:grpSpPr>
                  <a:xfrm>
                    <a:off x="908512" y="2585203"/>
                    <a:ext cx="34544" cy="34544"/>
                    <a:chOff x="908512" y="2585203"/>
                    <a:chExt cx="34544" cy="34544"/>
                  </a:xfrm>
                </p:grpSpPr>
                <p:sp>
                  <p:nvSpPr>
                    <p:cNvPr id="312" name="Forma livre: Forma 311">
                      <a:extLst>
                        <a:ext uri="{FF2B5EF4-FFF2-40B4-BE49-F238E27FC236}">
                          <a16:creationId xmlns:a16="http://schemas.microsoft.com/office/drawing/2014/main" id="{BA34C6EA-57E7-8D3A-B341-E1AAC26E3BB1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925778" y="2585203"/>
                      <a:ext cx="1198" cy="34544"/>
                    </a:xfrm>
                    <a:custGeom>
                      <a:avLst/>
                      <a:gdLst>
                        <a:gd name="connsiteX0" fmla="*/ 0 w 1198"/>
                        <a:gd name="connsiteY0" fmla="*/ 0 h 34544"/>
                        <a:gd name="connsiteX1" fmla="*/ 0 w 1198"/>
                        <a:gd name="connsiteY1" fmla="*/ 34544 h 34544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1198" h="34544">
                          <a:moveTo>
                            <a:pt x="0" y="0"/>
                          </a:moveTo>
                          <a:lnTo>
                            <a:pt x="0" y="34544"/>
                          </a:lnTo>
                        </a:path>
                      </a:pathLst>
                    </a:custGeom>
                    <a:ln w="6350" cap="rnd">
                      <a:solidFill>
                        <a:schemeClr val="accent2"/>
                      </a:solidFill>
                      <a:prstDash val="solid"/>
                      <a:round/>
                    </a:ln>
                  </p:spPr>
                  <p:txBody>
                    <a:bodyPr rtlCol="0" anchor="ctr"/>
                    <a:lstStyle/>
                    <a:p>
                      <a:endParaRPr lang="pt-PT"/>
                    </a:p>
                  </p:txBody>
                </p:sp>
                <p:sp>
                  <p:nvSpPr>
                    <p:cNvPr id="313" name="Forma livre: Forma 312">
                      <a:extLst>
                        <a:ext uri="{FF2B5EF4-FFF2-40B4-BE49-F238E27FC236}">
                          <a16:creationId xmlns:a16="http://schemas.microsoft.com/office/drawing/2014/main" id="{ACA90EB1-0B5D-EE59-85DE-498B4913F633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908512" y="2602481"/>
                      <a:ext cx="34544" cy="1198"/>
                    </a:xfrm>
                    <a:custGeom>
                      <a:avLst/>
                      <a:gdLst>
                        <a:gd name="connsiteX0" fmla="*/ 34544 w 34544"/>
                        <a:gd name="connsiteY0" fmla="*/ 0 h 1198"/>
                        <a:gd name="connsiteX1" fmla="*/ 0 w 34544"/>
                        <a:gd name="connsiteY1" fmla="*/ 0 h 1198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34544" h="1198">
                          <a:moveTo>
                            <a:pt x="34544" y="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6350" cap="rnd">
                      <a:solidFill>
                        <a:schemeClr val="accent2"/>
                      </a:solidFill>
                      <a:prstDash val="solid"/>
                      <a:round/>
                    </a:ln>
                  </p:spPr>
                  <p:txBody>
                    <a:bodyPr rtlCol="0" anchor="ctr"/>
                    <a:lstStyle/>
                    <a:p>
                      <a:endParaRPr lang="pt-PT"/>
                    </a:p>
                  </p:txBody>
                </p:sp>
              </p:grpSp>
              <p:sp>
                <p:nvSpPr>
                  <p:cNvPr id="314" name="Forma livre: Forma 313">
                    <a:extLst>
                      <a:ext uri="{FF2B5EF4-FFF2-40B4-BE49-F238E27FC236}">
                        <a16:creationId xmlns:a16="http://schemas.microsoft.com/office/drawing/2014/main" id="{A48CE1B2-2CAE-6A6D-6A33-63704BCB0C8F}"/>
                      </a:ext>
                    </a:extLst>
                  </p:cNvPr>
                  <p:cNvSpPr/>
                  <p:nvPr/>
                </p:nvSpPr>
                <p:spPr>
                  <a:xfrm>
                    <a:off x="794132" y="2650793"/>
                    <a:ext cx="151512" cy="244385"/>
                  </a:xfrm>
                  <a:custGeom>
                    <a:avLst/>
                    <a:gdLst>
                      <a:gd name="connsiteX0" fmla="*/ 151513 w 151512"/>
                      <a:gd name="connsiteY0" fmla="*/ 9933 h 244385"/>
                      <a:gd name="connsiteX1" fmla="*/ 109012 w 151512"/>
                      <a:gd name="connsiteY1" fmla="*/ 0 h 244385"/>
                      <a:gd name="connsiteX2" fmla="*/ 0 w 151512"/>
                      <a:gd name="connsiteY2" fmla="*/ 124829 h 244385"/>
                      <a:gd name="connsiteX3" fmla="*/ 0 w 151512"/>
                      <a:gd name="connsiteY3" fmla="*/ 244385 h 24438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151512" h="244385">
                        <a:moveTo>
                          <a:pt x="151513" y="9933"/>
                        </a:moveTo>
                        <a:cubicBezTo>
                          <a:pt x="138440" y="3535"/>
                          <a:pt x="124062" y="0"/>
                          <a:pt x="109012" y="0"/>
                        </a:cubicBezTo>
                        <a:cubicBezTo>
                          <a:pt x="49054" y="0"/>
                          <a:pt x="0" y="56172"/>
                          <a:pt x="0" y="124829"/>
                        </a:cubicBezTo>
                        <a:lnTo>
                          <a:pt x="0" y="244385"/>
                        </a:lnTo>
                      </a:path>
                    </a:pathLst>
                  </a:custGeom>
                  <a:noFill/>
                  <a:ln w="6350" cap="flat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315" name="Forma livre: Forma 314">
                    <a:extLst>
                      <a:ext uri="{FF2B5EF4-FFF2-40B4-BE49-F238E27FC236}">
                        <a16:creationId xmlns:a16="http://schemas.microsoft.com/office/drawing/2014/main" id="{4E134B8F-92DB-08E5-0E73-046913ABDFA8}"/>
                      </a:ext>
                    </a:extLst>
                  </p:cNvPr>
                  <p:cNvSpPr/>
                  <p:nvPr/>
                </p:nvSpPr>
                <p:spPr>
                  <a:xfrm>
                    <a:off x="860932" y="2660750"/>
                    <a:ext cx="105238" cy="93915"/>
                  </a:xfrm>
                  <a:custGeom>
                    <a:avLst/>
                    <a:gdLst>
                      <a:gd name="connsiteX0" fmla="*/ 99127 w 105238"/>
                      <a:gd name="connsiteY0" fmla="*/ 60162 h 93915"/>
                      <a:gd name="connsiteX1" fmla="*/ 105238 w 105238"/>
                      <a:gd name="connsiteY1" fmla="*/ 93915 h 93915"/>
                      <a:gd name="connsiteX2" fmla="*/ 66057 w 105238"/>
                      <a:gd name="connsiteY2" fmla="*/ 93915 h 93915"/>
                      <a:gd name="connsiteX3" fmla="*/ 0 w 105238"/>
                      <a:gd name="connsiteY3" fmla="*/ 0 h 9391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105238" h="93915">
                        <a:moveTo>
                          <a:pt x="99127" y="60162"/>
                        </a:moveTo>
                        <a:cubicBezTo>
                          <a:pt x="102566" y="69532"/>
                          <a:pt x="104160" y="82077"/>
                          <a:pt x="105238" y="93915"/>
                        </a:cubicBezTo>
                        <a:lnTo>
                          <a:pt x="66057" y="93915"/>
                        </a:lnTo>
                        <a:cubicBezTo>
                          <a:pt x="66057" y="50804"/>
                          <a:pt x="35778" y="0"/>
                          <a:pt x="0" y="0"/>
                        </a:cubicBezTo>
                      </a:path>
                    </a:pathLst>
                  </a:custGeom>
                  <a:noFill/>
                  <a:ln w="6350" cap="flat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316" name="Forma livre: Forma 315">
                    <a:extLst>
                      <a:ext uri="{FF2B5EF4-FFF2-40B4-BE49-F238E27FC236}">
                        <a16:creationId xmlns:a16="http://schemas.microsoft.com/office/drawing/2014/main" id="{77F25F9B-623D-CC98-4476-4598EF9377FB}"/>
                      </a:ext>
                    </a:extLst>
                  </p:cNvPr>
                  <p:cNvSpPr/>
                  <p:nvPr/>
                </p:nvSpPr>
                <p:spPr>
                  <a:xfrm>
                    <a:off x="920710" y="2639554"/>
                    <a:ext cx="62761" cy="39624"/>
                  </a:xfrm>
                  <a:custGeom>
                    <a:avLst/>
                    <a:gdLst>
                      <a:gd name="connsiteX0" fmla="*/ 0 w 62761"/>
                      <a:gd name="connsiteY0" fmla="*/ 39624 h 39624"/>
                      <a:gd name="connsiteX1" fmla="*/ 62762 w 62761"/>
                      <a:gd name="connsiteY1" fmla="*/ 0 h 3962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62761" h="39624">
                        <a:moveTo>
                          <a:pt x="0" y="39624"/>
                        </a:moveTo>
                        <a:lnTo>
                          <a:pt x="62762" y="0"/>
                        </a:lnTo>
                      </a:path>
                    </a:pathLst>
                  </a:custGeom>
                  <a:ln w="6350" cap="flat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317" name="Forma livre: Forma 316">
                    <a:extLst>
                      <a:ext uri="{FF2B5EF4-FFF2-40B4-BE49-F238E27FC236}">
                        <a16:creationId xmlns:a16="http://schemas.microsoft.com/office/drawing/2014/main" id="{CFA4BE02-D971-9380-ECA5-FA698B66EC3B}"/>
                      </a:ext>
                    </a:extLst>
                  </p:cNvPr>
                  <p:cNvSpPr/>
                  <p:nvPr/>
                </p:nvSpPr>
                <p:spPr>
                  <a:xfrm>
                    <a:off x="922567" y="2671222"/>
                    <a:ext cx="80902" cy="51091"/>
                  </a:xfrm>
                  <a:custGeom>
                    <a:avLst/>
                    <a:gdLst>
                      <a:gd name="connsiteX0" fmla="*/ 80903 w 80902"/>
                      <a:gd name="connsiteY0" fmla="*/ 0 h 51091"/>
                      <a:gd name="connsiteX1" fmla="*/ 0 w 80902"/>
                      <a:gd name="connsiteY1" fmla="*/ 51091 h 5109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80902" h="51091">
                        <a:moveTo>
                          <a:pt x="80903" y="0"/>
                        </a:moveTo>
                        <a:lnTo>
                          <a:pt x="0" y="51091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318" name="Forma livre: Forma 317">
                    <a:extLst>
                      <a:ext uri="{FF2B5EF4-FFF2-40B4-BE49-F238E27FC236}">
                        <a16:creationId xmlns:a16="http://schemas.microsoft.com/office/drawing/2014/main" id="{636B6979-DD8B-761D-8362-AD5FAD1AC4FD}"/>
                      </a:ext>
                    </a:extLst>
                  </p:cNvPr>
                  <p:cNvSpPr/>
                  <p:nvPr/>
                </p:nvSpPr>
                <p:spPr>
                  <a:xfrm>
                    <a:off x="978924" y="2638204"/>
                    <a:ext cx="29080" cy="34367"/>
                  </a:xfrm>
                  <a:custGeom>
                    <a:avLst/>
                    <a:gdLst>
                      <a:gd name="connsiteX0" fmla="*/ 25097 w 29080"/>
                      <a:gd name="connsiteY0" fmla="*/ 10516 h 34367"/>
                      <a:gd name="connsiteX1" fmla="*/ 24534 w 29080"/>
                      <a:gd name="connsiteY1" fmla="*/ 33018 h 34367"/>
                      <a:gd name="connsiteX2" fmla="*/ 3985 w 29080"/>
                      <a:gd name="connsiteY2" fmla="*/ 23852 h 34367"/>
                      <a:gd name="connsiteX3" fmla="*/ 4536 w 29080"/>
                      <a:gd name="connsiteY3" fmla="*/ 1350 h 34367"/>
                      <a:gd name="connsiteX4" fmla="*/ 25097 w 29080"/>
                      <a:gd name="connsiteY4" fmla="*/ 10516 h 3436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29080" h="34367">
                        <a:moveTo>
                          <a:pt x="25097" y="10516"/>
                        </a:moveTo>
                        <a:cubicBezTo>
                          <a:pt x="30621" y="19263"/>
                          <a:pt x="30369" y="29340"/>
                          <a:pt x="24534" y="33018"/>
                        </a:cubicBezTo>
                        <a:cubicBezTo>
                          <a:pt x="18699" y="36697"/>
                          <a:pt x="9509" y="32599"/>
                          <a:pt x="3985" y="23852"/>
                        </a:cubicBezTo>
                        <a:cubicBezTo>
                          <a:pt x="-1539" y="15105"/>
                          <a:pt x="-1287" y="5040"/>
                          <a:pt x="4536" y="1350"/>
                        </a:cubicBezTo>
                        <a:cubicBezTo>
                          <a:pt x="10371" y="-2329"/>
                          <a:pt x="19573" y="1769"/>
                          <a:pt x="25097" y="10516"/>
                        </a:cubicBezTo>
                        <a:close/>
                      </a:path>
                    </a:pathLst>
                  </a:custGeom>
                  <a:noFill/>
                  <a:ln w="6350" cap="rnd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319" name="Forma livre: Forma 318">
                    <a:extLst>
                      <a:ext uri="{FF2B5EF4-FFF2-40B4-BE49-F238E27FC236}">
                        <a16:creationId xmlns:a16="http://schemas.microsoft.com/office/drawing/2014/main" id="{B524A1B5-8103-F471-D33D-DCBB250AD387}"/>
                      </a:ext>
                    </a:extLst>
                  </p:cNvPr>
                  <p:cNvSpPr/>
                  <p:nvPr/>
                </p:nvSpPr>
                <p:spPr>
                  <a:xfrm>
                    <a:off x="981135" y="2688476"/>
                    <a:ext cx="31033" cy="227790"/>
                  </a:xfrm>
                  <a:custGeom>
                    <a:avLst/>
                    <a:gdLst>
                      <a:gd name="connsiteX0" fmla="*/ 31033 w 31033"/>
                      <a:gd name="connsiteY0" fmla="*/ 227790 h 227790"/>
                      <a:gd name="connsiteX1" fmla="*/ 31033 w 31033"/>
                      <a:gd name="connsiteY1" fmla="*/ 87145 h 227790"/>
                      <a:gd name="connsiteX2" fmla="*/ 2301 w 31033"/>
                      <a:gd name="connsiteY2" fmla="*/ 2912 h 227790"/>
                      <a:gd name="connsiteX3" fmla="*/ 0 w 31033"/>
                      <a:gd name="connsiteY3" fmla="*/ 0 h 22779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31033" h="227790">
                        <a:moveTo>
                          <a:pt x="31033" y="227790"/>
                        </a:moveTo>
                        <a:lnTo>
                          <a:pt x="31033" y="87145"/>
                        </a:lnTo>
                        <a:cubicBezTo>
                          <a:pt x="31033" y="54758"/>
                          <a:pt x="20118" y="25162"/>
                          <a:pt x="2301" y="2912"/>
                        </a:cubicBezTo>
                        <a:lnTo>
                          <a:pt x="0" y="0"/>
                        </a:lnTo>
                      </a:path>
                    </a:pathLst>
                  </a:custGeom>
                  <a:noFill/>
                  <a:ln w="6350" cap="flat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320" name="Forma livre: Forma 319">
                    <a:extLst>
                      <a:ext uri="{FF2B5EF4-FFF2-40B4-BE49-F238E27FC236}">
                        <a16:creationId xmlns:a16="http://schemas.microsoft.com/office/drawing/2014/main" id="{50BED729-87BB-4013-55BF-9BDDF61B1BB0}"/>
                      </a:ext>
                    </a:extLst>
                  </p:cNvPr>
                  <p:cNvSpPr/>
                  <p:nvPr/>
                </p:nvSpPr>
                <p:spPr>
                  <a:xfrm>
                    <a:off x="903144" y="2854367"/>
                    <a:ext cx="1198" cy="61276"/>
                  </a:xfrm>
                  <a:custGeom>
                    <a:avLst/>
                    <a:gdLst>
                      <a:gd name="connsiteX0" fmla="*/ 0 w 1198"/>
                      <a:gd name="connsiteY0" fmla="*/ 0 h 61276"/>
                      <a:gd name="connsiteX1" fmla="*/ 0 w 1198"/>
                      <a:gd name="connsiteY1" fmla="*/ 61276 h 6127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198" h="61276">
                        <a:moveTo>
                          <a:pt x="0" y="0"/>
                        </a:moveTo>
                        <a:lnTo>
                          <a:pt x="0" y="61276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</p:grpSp>
          <p:sp>
            <p:nvSpPr>
              <p:cNvPr id="321" name="Forma livre: Forma 320">
                <a:extLst>
                  <a:ext uri="{FF2B5EF4-FFF2-40B4-BE49-F238E27FC236}">
                    <a16:creationId xmlns:a16="http://schemas.microsoft.com/office/drawing/2014/main" id="{2C5D5C4F-7FA4-2E9D-4687-C3706B0E7CB9}"/>
                  </a:ext>
                </a:extLst>
              </p:cNvPr>
              <p:cNvSpPr/>
              <p:nvPr/>
            </p:nvSpPr>
            <p:spPr>
              <a:xfrm>
                <a:off x="867354" y="2853229"/>
                <a:ext cx="71580" cy="61791"/>
              </a:xfrm>
              <a:custGeom>
                <a:avLst/>
                <a:gdLst>
                  <a:gd name="connsiteX0" fmla="*/ 0 w 71580"/>
                  <a:gd name="connsiteY0" fmla="*/ 61791 h 61791"/>
                  <a:gd name="connsiteX1" fmla="*/ 0 w 71580"/>
                  <a:gd name="connsiteY1" fmla="*/ 0 h 61791"/>
                  <a:gd name="connsiteX2" fmla="*/ 71581 w 71580"/>
                  <a:gd name="connsiteY2" fmla="*/ 0 h 61791"/>
                  <a:gd name="connsiteX3" fmla="*/ 71581 w 71580"/>
                  <a:gd name="connsiteY3" fmla="*/ 61791 h 617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1580" h="61791">
                    <a:moveTo>
                      <a:pt x="0" y="61791"/>
                    </a:moveTo>
                    <a:lnTo>
                      <a:pt x="0" y="0"/>
                    </a:lnTo>
                    <a:lnTo>
                      <a:pt x="71581" y="0"/>
                    </a:lnTo>
                    <a:lnTo>
                      <a:pt x="71581" y="61791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322" name="Forma livre: Forma 321">
              <a:extLst>
                <a:ext uri="{FF2B5EF4-FFF2-40B4-BE49-F238E27FC236}">
                  <a16:creationId xmlns:a16="http://schemas.microsoft.com/office/drawing/2014/main" id="{239A6223-F9EC-DFEA-EE9D-ED0F2172094C}"/>
                </a:ext>
              </a:extLst>
            </p:cNvPr>
            <p:cNvSpPr/>
            <p:nvPr/>
          </p:nvSpPr>
          <p:spPr>
            <a:xfrm>
              <a:off x="1056382" y="2916746"/>
              <a:ext cx="16547" cy="1198"/>
            </a:xfrm>
            <a:custGeom>
              <a:avLst/>
              <a:gdLst>
                <a:gd name="connsiteX0" fmla="*/ 0 w 16547"/>
                <a:gd name="connsiteY0" fmla="*/ 0 h 1198"/>
                <a:gd name="connsiteX1" fmla="*/ 16547 w 16547"/>
                <a:gd name="connsiteY1" fmla="*/ 0 h 11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6547" h="1198">
                  <a:moveTo>
                    <a:pt x="0" y="0"/>
                  </a:moveTo>
                  <a:lnTo>
                    <a:pt x="16547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23" name="Forma livre: Forma 322">
              <a:extLst>
                <a:ext uri="{FF2B5EF4-FFF2-40B4-BE49-F238E27FC236}">
                  <a16:creationId xmlns:a16="http://schemas.microsoft.com/office/drawing/2014/main" id="{0E1FED34-C990-FC68-185C-96F39E1B83D9}"/>
                </a:ext>
              </a:extLst>
            </p:cNvPr>
            <p:cNvSpPr/>
            <p:nvPr/>
          </p:nvSpPr>
          <p:spPr>
            <a:xfrm>
              <a:off x="773523" y="2916746"/>
              <a:ext cx="260393" cy="1198"/>
            </a:xfrm>
            <a:custGeom>
              <a:avLst/>
              <a:gdLst>
                <a:gd name="connsiteX0" fmla="*/ 0 w 260393"/>
                <a:gd name="connsiteY0" fmla="*/ 0 h 1198"/>
                <a:gd name="connsiteX1" fmla="*/ 260393 w 260393"/>
                <a:gd name="connsiteY1" fmla="*/ 0 h 11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60393" h="1198">
                  <a:moveTo>
                    <a:pt x="0" y="0"/>
                  </a:moveTo>
                  <a:lnTo>
                    <a:pt x="260393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324" name="Gráfico 2">
            <a:extLst>
              <a:ext uri="{FF2B5EF4-FFF2-40B4-BE49-F238E27FC236}">
                <a16:creationId xmlns:a16="http://schemas.microsoft.com/office/drawing/2014/main" id="{192EC9F6-2686-5161-94D1-9F9BC3EF2FA6}"/>
              </a:ext>
            </a:extLst>
          </p:cNvPr>
          <p:cNvGrpSpPr/>
          <p:nvPr/>
        </p:nvGrpSpPr>
        <p:grpSpPr>
          <a:xfrm>
            <a:off x="1390992" y="2578505"/>
            <a:ext cx="312502" cy="338240"/>
            <a:chOff x="1390992" y="2578505"/>
            <a:chExt cx="312502" cy="338240"/>
          </a:xfrm>
        </p:grpSpPr>
        <p:sp>
          <p:nvSpPr>
            <p:cNvPr id="325" name="Forma livre: Forma 324">
              <a:extLst>
                <a:ext uri="{FF2B5EF4-FFF2-40B4-BE49-F238E27FC236}">
                  <a16:creationId xmlns:a16="http://schemas.microsoft.com/office/drawing/2014/main" id="{0A57BDA9-5DD5-1F2A-9A26-9DFF39113139}"/>
                </a:ext>
              </a:extLst>
            </p:cNvPr>
            <p:cNvSpPr/>
            <p:nvPr/>
          </p:nvSpPr>
          <p:spPr>
            <a:xfrm>
              <a:off x="1655938" y="2651488"/>
              <a:ext cx="1198" cy="36149"/>
            </a:xfrm>
            <a:custGeom>
              <a:avLst/>
              <a:gdLst>
                <a:gd name="connsiteX0" fmla="*/ 0 w 1198"/>
                <a:gd name="connsiteY0" fmla="*/ 0 h 36149"/>
                <a:gd name="connsiteX1" fmla="*/ 0 w 1198"/>
                <a:gd name="connsiteY1" fmla="*/ 36150 h 361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98" h="36149">
                  <a:moveTo>
                    <a:pt x="0" y="0"/>
                  </a:moveTo>
                  <a:lnTo>
                    <a:pt x="0" y="3615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26" name="Forma livre: Forma 325">
              <a:extLst>
                <a:ext uri="{FF2B5EF4-FFF2-40B4-BE49-F238E27FC236}">
                  <a16:creationId xmlns:a16="http://schemas.microsoft.com/office/drawing/2014/main" id="{4CB5A284-6740-A2E8-98E4-AE30E7CDF8B6}"/>
                </a:ext>
              </a:extLst>
            </p:cNvPr>
            <p:cNvSpPr/>
            <p:nvPr/>
          </p:nvSpPr>
          <p:spPr>
            <a:xfrm>
              <a:off x="1637869" y="2669557"/>
              <a:ext cx="36149" cy="1198"/>
            </a:xfrm>
            <a:custGeom>
              <a:avLst/>
              <a:gdLst>
                <a:gd name="connsiteX0" fmla="*/ 36150 w 36149"/>
                <a:gd name="connsiteY0" fmla="*/ 0 h 1198"/>
                <a:gd name="connsiteX1" fmla="*/ 0 w 36149"/>
                <a:gd name="connsiteY1" fmla="*/ 0 h 11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6149" h="1198">
                  <a:moveTo>
                    <a:pt x="36150" y="0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27" name="Forma livre: Forma 326">
              <a:extLst>
                <a:ext uri="{FF2B5EF4-FFF2-40B4-BE49-F238E27FC236}">
                  <a16:creationId xmlns:a16="http://schemas.microsoft.com/office/drawing/2014/main" id="{8A62801F-54DB-EA4E-4DF4-CF8090742E6F}"/>
                </a:ext>
              </a:extLst>
            </p:cNvPr>
            <p:cNvSpPr/>
            <p:nvPr/>
          </p:nvSpPr>
          <p:spPr>
            <a:xfrm>
              <a:off x="1696246" y="2816624"/>
              <a:ext cx="7189" cy="7189"/>
            </a:xfrm>
            <a:custGeom>
              <a:avLst/>
              <a:gdLst>
                <a:gd name="connsiteX0" fmla="*/ 7189 w 7189"/>
                <a:gd name="connsiteY0" fmla="*/ 3595 h 7189"/>
                <a:gd name="connsiteX1" fmla="*/ 3595 w 7189"/>
                <a:gd name="connsiteY1" fmla="*/ 7189 h 7189"/>
                <a:gd name="connsiteX2" fmla="*/ 0 w 7189"/>
                <a:gd name="connsiteY2" fmla="*/ 3595 h 7189"/>
                <a:gd name="connsiteX3" fmla="*/ 3595 w 7189"/>
                <a:gd name="connsiteY3" fmla="*/ 0 h 7189"/>
                <a:gd name="connsiteX4" fmla="*/ 7189 w 7189"/>
                <a:gd name="connsiteY4" fmla="*/ 3595 h 71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89" h="7189">
                  <a:moveTo>
                    <a:pt x="7189" y="3595"/>
                  </a:moveTo>
                  <a:cubicBezTo>
                    <a:pt x="7189" y="5584"/>
                    <a:pt x="5584" y="7189"/>
                    <a:pt x="3595" y="7189"/>
                  </a:cubicBezTo>
                  <a:cubicBezTo>
                    <a:pt x="1606" y="7189"/>
                    <a:pt x="0" y="5584"/>
                    <a:pt x="0" y="3595"/>
                  </a:cubicBezTo>
                  <a:cubicBezTo>
                    <a:pt x="0" y="1606"/>
                    <a:pt x="1606" y="0"/>
                    <a:pt x="3595" y="0"/>
                  </a:cubicBezTo>
                  <a:cubicBezTo>
                    <a:pt x="5584" y="0"/>
                    <a:pt x="7189" y="1606"/>
                    <a:pt x="7189" y="3595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28" name="Forma livre: Forma 327">
              <a:extLst>
                <a:ext uri="{FF2B5EF4-FFF2-40B4-BE49-F238E27FC236}">
                  <a16:creationId xmlns:a16="http://schemas.microsoft.com/office/drawing/2014/main" id="{10A612F5-758B-6076-C637-A43BB717EBC6}"/>
                </a:ext>
              </a:extLst>
            </p:cNvPr>
            <p:cNvSpPr/>
            <p:nvPr/>
          </p:nvSpPr>
          <p:spPr>
            <a:xfrm>
              <a:off x="1572927" y="2634366"/>
              <a:ext cx="7189" cy="7189"/>
            </a:xfrm>
            <a:custGeom>
              <a:avLst/>
              <a:gdLst>
                <a:gd name="connsiteX0" fmla="*/ 7189 w 7189"/>
                <a:gd name="connsiteY0" fmla="*/ 3595 h 7189"/>
                <a:gd name="connsiteX1" fmla="*/ 3595 w 7189"/>
                <a:gd name="connsiteY1" fmla="*/ 7189 h 7189"/>
                <a:gd name="connsiteX2" fmla="*/ 0 w 7189"/>
                <a:gd name="connsiteY2" fmla="*/ 3595 h 7189"/>
                <a:gd name="connsiteX3" fmla="*/ 3595 w 7189"/>
                <a:gd name="connsiteY3" fmla="*/ 0 h 7189"/>
                <a:gd name="connsiteX4" fmla="*/ 7189 w 7189"/>
                <a:gd name="connsiteY4" fmla="*/ 3595 h 71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89" h="7189">
                  <a:moveTo>
                    <a:pt x="7189" y="3595"/>
                  </a:moveTo>
                  <a:cubicBezTo>
                    <a:pt x="7189" y="5584"/>
                    <a:pt x="5596" y="7189"/>
                    <a:pt x="3595" y="7189"/>
                  </a:cubicBezTo>
                  <a:cubicBezTo>
                    <a:pt x="1594" y="7189"/>
                    <a:pt x="0" y="5584"/>
                    <a:pt x="0" y="3595"/>
                  </a:cubicBezTo>
                  <a:cubicBezTo>
                    <a:pt x="0" y="1606"/>
                    <a:pt x="1606" y="0"/>
                    <a:pt x="3595" y="0"/>
                  </a:cubicBezTo>
                  <a:cubicBezTo>
                    <a:pt x="5584" y="0"/>
                    <a:pt x="7189" y="1606"/>
                    <a:pt x="7189" y="3595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29" name="Forma livre: Forma 328">
              <a:extLst>
                <a:ext uri="{FF2B5EF4-FFF2-40B4-BE49-F238E27FC236}">
                  <a16:creationId xmlns:a16="http://schemas.microsoft.com/office/drawing/2014/main" id="{1468EC3F-10BF-C5D5-277F-D528EBE9EADE}"/>
                </a:ext>
              </a:extLst>
            </p:cNvPr>
            <p:cNvSpPr/>
            <p:nvPr/>
          </p:nvSpPr>
          <p:spPr>
            <a:xfrm>
              <a:off x="1616374" y="2602829"/>
              <a:ext cx="7189" cy="7189"/>
            </a:xfrm>
            <a:custGeom>
              <a:avLst/>
              <a:gdLst>
                <a:gd name="connsiteX0" fmla="*/ 7189 w 7189"/>
                <a:gd name="connsiteY0" fmla="*/ 3595 h 7189"/>
                <a:gd name="connsiteX1" fmla="*/ 3595 w 7189"/>
                <a:gd name="connsiteY1" fmla="*/ 7189 h 7189"/>
                <a:gd name="connsiteX2" fmla="*/ 0 w 7189"/>
                <a:gd name="connsiteY2" fmla="*/ 3595 h 7189"/>
                <a:gd name="connsiteX3" fmla="*/ 3595 w 7189"/>
                <a:gd name="connsiteY3" fmla="*/ 0 h 7189"/>
                <a:gd name="connsiteX4" fmla="*/ 7189 w 7189"/>
                <a:gd name="connsiteY4" fmla="*/ 3595 h 71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89" h="7189">
                  <a:moveTo>
                    <a:pt x="7189" y="3595"/>
                  </a:moveTo>
                  <a:cubicBezTo>
                    <a:pt x="7189" y="5584"/>
                    <a:pt x="5596" y="7189"/>
                    <a:pt x="3595" y="7189"/>
                  </a:cubicBezTo>
                  <a:cubicBezTo>
                    <a:pt x="1594" y="7189"/>
                    <a:pt x="0" y="5584"/>
                    <a:pt x="0" y="3595"/>
                  </a:cubicBezTo>
                  <a:cubicBezTo>
                    <a:pt x="0" y="1606"/>
                    <a:pt x="1618" y="0"/>
                    <a:pt x="3595" y="0"/>
                  </a:cubicBezTo>
                  <a:cubicBezTo>
                    <a:pt x="5572" y="0"/>
                    <a:pt x="7189" y="1606"/>
                    <a:pt x="7189" y="3595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30" name="Forma livre: Forma 329">
              <a:extLst>
                <a:ext uri="{FF2B5EF4-FFF2-40B4-BE49-F238E27FC236}">
                  <a16:creationId xmlns:a16="http://schemas.microsoft.com/office/drawing/2014/main" id="{9780D2EE-CA67-528E-C595-11B4C1B540D7}"/>
                </a:ext>
              </a:extLst>
            </p:cNvPr>
            <p:cNvSpPr/>
            <p:nvPr/>
          </p:nvSpPr>
          <p:spPr>
            <a:xfrm>
              <a:off x="1398181" y="2697127"/>
              <a:ext cx="7189" cy="7189"/>
            </a:xfrm>
            <a:custGeom>
              <a:avLst/>
              <a:gdLst>
                <a:gd name="connsiteX0" fmla="*/ 7177 w 7189"/>
                <a:gd name="connsiteY0" fmla="*/ 3595 h 7189"/>
                <a:gd name="connsiteX1" fmla="*/ 3595 w 7189"/>
                <a:gd name="connsiteY1" fmla="*/ 7189 h 7189"/>
                <a:gd name="connsiteX2" fmla="*/ 0 w 7189"/>
                <a:gd name="connsiteY2" fmla="*/ 3595 h 7189"/>
                <a:gd name="connsiteX3" fmla="*/ 3595 w 7189"/>
                <a:gd name="connsiteY3" fmla="*/ 0 h 7189"/>
                <a:gd name="connsiteX4" fmla="*/ 7189 w 7189"/>
                <a:gd name="connsiteY4" fmla="*/ 3595 h 71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89" h="7189">
                  <a:moveTo>
                    <a:pt x="7177" y="3595"/>
                  </a:moveTo>
                  <a:cubicBezTo>
                    <a:pt x="7177" y="5584"/>
                    <a:pt x="5584" y="7189"/>
                    <a:pt x="3595" y="7189"/>
                  </a:cubicBezTo>
                  <a:cubicBezTo>
                    <a:pt x="1606" y="7189"/>
                    <a:pt x="0" y="5584"/>
                    <a:pt x="0" y="3595"/>
                  </a:cubicBezTo>
                  <a:cubicBezTo>
                    <a:pt x="0" y="1606"/>
                    <a:pt x="1606" y="0"/>
                    <a:pt x="3595" y="0"/>
                  </a:cubicBezTo>
                  <a:cubicBezTo>
                    <a:pt x="5584" y="0"/>
                    <a:pt x="7189" y="1606"/>
                    <a:pt x="7189" y="3595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331" name="Gráfico 2">
              <a:extLst>
                <a:ext uri="{FF2B5EF4-FFF2-40B4-BE49-F238E27FC236}">
                  <a16:creationId xmlns:a16="http://schemas.microsoft.com/office/drawing/2014/main" id="{65F23A4C-E7DE-97BE-6FF2-9B21478EB8CC}"/>
                </a:ext>
              </a:extLst>
            </p:cNvPr>
            <p:cNvGrpSpPr/>
            <p:nvPr/>
          </p:nvGrpSpPr>
          <p:grpSpPr>
            <a:xfrm>
              <a:off x="1390992" y="2768780"/>
              <a:ext cx="312502" cy="147965"/>
              <a:chOff x="1390992" y="2768780"/>
              <a:chExt cx="312502" cy="147965"/>
            </a:xfrm>
            <a:noFill/>
          </p:grpSpPr>
          <p:sp>
            <p:nvSpPr>
              <p:cNvPr id="332" name="Forma livre: Forma 331">
                <a:extLst>
                  <a:ext uri="{FF2B5EF4-FFF2-40B4-BE49-F238E27FC236}">
                    <a16:creationId xmlns:a16="http://schemas.microsoft.com/office/drawing/2014/main" id="{5BB3E139-13CD-33FD-5321-02ECA6DB3887}"/>
                  </a:ext>
                </a:extLst>
              </p:cNvPr>
              <p:cNvSpPr/>
              <p:nvPr/>
            </p:nvSpPr>
            <p:spPr>
              <a:xfrm>
                <a:off x="1524495" y="2911905"/>
                <a:ext cx="17817" cy="4840"/>
              </a:xfrm>
              <a:custGeom>
                <a:avLst/>
                <a:gdLst>
                  <a:gd name="connsiteX0" fmla="*/ 17817 w 17817"/>
                  <a:gd name="connsiteY0" fmla="*/ 0 h 4840"/>
                  <a:gd name="connsiteX1" fmla="*/ 0 w 17817"/>
                  <a:gd name="connsiteY1" fmla="*/ 4841 h 48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7817" h="4840">
                    <a:moveTo>
                      <a:pt x="17817" y="0"/>
                    </a:moveTo>
                    <a:cubicBezTo>
                      <a:pt x="11383" y="1606"/>
                      <a:pt x="5428" y="3247"/>
                      <a:pt x="0" y="4841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33" name="Forma livre: Forma 332">
                <a:extLst>
                  <a:ext uri="{FF2B5EF4-FFF2-40B4-BE49-F238E27FC236}">
                    <a16:creationId xmlns:a16="http://schemas.microsoft.com/office/drawing/2014/main" id="{9ED0FFF6-E751-7D0E-1B09-1C12B8F3376A}"/>
                  </a:ext>
                </a:extLst>
              </p:cNvPr>
              <p:cNvSpPr/>
              <p:nvPr/>
            </p:nvSpPr>
            <p:spPr>
              <a:xfrm>
                <a:off x="1565798" y="2899283"/>
                <a:ext cx="110641" cy="7397"/>
              </a:xfrm>
              <a:custGeom>
                <a:avLst/>
                <a:gdLst>
                  <a:gd name="connsiteX0" fmla="*/ 110642 w 110641"/>
                  <a:gd name="connsiteY0" fmla="*/ 2329 h 7397"/>
                  <a:gd name="connsiteX1" fmla="*/ 0 w 110641"/>
                  <a:gd name="connsiteY1" fmla="*/ 7397 h 73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0641" h="7397">
                    <a:moveTo>
                      <a:pt x="110642" y="2329"/>
                    </a:moveTo>
                    <a:cubicBezTo>
                      <a:pt x="71209" y="-2739"/>
                      <a:pt x="32112" y="1155"/>
                      <a:pt x="0" y="7397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34" name="Forma livre: Forma 333">
                <a:extLst>
                  <a:ext uri="{FF2B5EF4-FFF2-40B4-BE49-F238E27FC236}">
                    <a16:creationId xmlns:a16="http://schemas.microsoft.com/office/drawing/2014/main" id="{F11DE12A-3695-BF7E-F735-0687577C20C4}"/>
                  </a:ext>
                </a:extLst>
              </p:cNvPr>
              <p:cNvSpPr/>
              <p:nvPr/>
            </p:nvSpPr>
            <p:spPr>
              <a:xfrm>
                <a:off x="1482151" y="2875384"/>
                <a:ext cx="221343" cy="30853"/>
              </a:xfrm>
              <a:custGeom>
                <a:avLst/>
                <a:gdLst>
                  <a:gd name="connsiteX0" fmla="*/ 0 w 221343"/>
                  <a:gd name="connsiteY0" fmla="*/ 30853 h 30853"/>
                  <a:gd name="connsiteX1" fmla="*/ 221344 w 221343"/>
                  <a:gd name="connsiteY1" fmla="*/ 6782 h 308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21343" h="30853">
                    <a:moveTo>
                      <a:pt x="0" y="30853"/>
                    </a:moveTo>
                    <a:cubicBezTo>
                      <a:pt x="0" y="30853"/>
                      <a:pt x="112535" y="-17398"/>
                      <a:pt x="221344" y="6782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35" name="Forma livre: Forma 334">
                <a:extLst>
                  <a:ext uri="{FF2B5EF4-FFF2-40B4-BE49-F238E27FC236}">
                    <a16:creationId xmlns:a16="http://schemas.microsoft.com/office/drawing/2014/main" id="{16901419-857A-141D-4A24-5403BE6CB047}"/>
                  </a:ext>
                </a:extLst>
              </p:cNvPr>
              <p:cNvSpPr/>
              <p:nvPr/>
            </p:nvSpPr>
            <p:spPr>
              <a:xfrm>
                <a:off x="1507325" y="2768780"/>
                <a:ext cx="65984" cy="65984"/>
              </a:xfrm>
              <a:custGeom>
                <a:avLst/>
                <a:gdLst>
                  <a:gd name="connsiteX0" fmla="*/ 0 w 65984"/>
                  <a:gd name="connsiteY0" fmla="*/ 0 h 65984"/>
                  <a:gd name="connsiteX1" fmla="*/ 65985 w 65984"/>
                  <a:gd name="connsiteY1" fmla="*/ 0 h 65984"/>
                  <a:gd name="connsiteX2" fmla="*/ 65985 w 65984"/>
                  <a:gd name="connsiteY2" fmla="*/ 65985 h 65984"/>
                  <a:gd name="connsiteX3" fmla="*/ 0 w 65984"/>
                  <a:gd name="connsiteY3" fmla="*/ 65985 h 659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5984" h="65984">
                    <a:moveTo>
                      <a:pt x="0" y="0"/>
                    </a:moveTo>
                    <a:lnTo>
                      <a:pt x="65985" y="0"/>
                    </a:lnTo>
                    <a:lnTo>
                      <a:pt x="65985" y="65985"/>
                    </a:lnTo>
                    <a:lnTo>
                      <a:pt x="0" y="65985"/>
                    </a:ln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36" name="Forma livre: Forma 335">
                <a:extLst>
                  <a:ext uri="{FF2B5EF4-FFF2-40B4-BE49-F238E27FC236}">
                    <a16:creationId xmlns:a16="http://schemas.microsoft.com/office/drawing/2014/main" id="{6B602438-89B7-AC3C-65E6-6E8D3B1D891C}"/>
                  </a:ext>
                </a:extLst>
              </p:cNvPr>
              <p:cNvSpPr/>
              <p:nvPr/>
            </p:nvSpPr>
            <p:spPr>
              <a:xfrm>
                <a:off x="1390992" y="2852925"/>
                <a:ext cx="146492" cy="34033"/>
              </a:xfrm>
              <a:custGeom>
                <a:avLst/>
                <a:gdLst>
                  <a:gd name="connsiteX0" fmla="*/ 0 w 146492"/>
                  <a:gd name="connsiteY0" fmla="*/ 1694 h 34033"/>
                  <a:gd name="connsiteX1" fmla="*/ 146492 w 146492"/>
                  <a:gd name="connsiteY1" fmla="*/ 34033 h 34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46492" h="34033">
                    <a:moveTo>
                      <a:pt x="0" y="1694"/>
                    </a:moveTo>
                    <a:cubicBezTo>
                      <a:pt x="0" y="1694"/>
                      <a:pt x="64296" y="-11175"/>
                      <a:pt x="146492" y="34033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37" name="Forma livre: Forma 336">
                <a:extLst>
                  <a:ext uri="{FF2B5EF4-FFF2-40B4-BE49-F238E27FC236}">
                    <a16:creationId xmlns:a16="http://schemas.microsoft.com/office/drawing/2014/main" id="{7FAADD54-DEC6-412E-4547-F5749FAD62EB}"/>
                  </a:ext>
                </a:extLst>
              </p:cNvPr>
              <p:cNvSpPr/>
              <p:nvPr/>
            </p:nvSpPr>
            <p:spPr>
              <a:xfrm>
                <a:off x="1507325" y="2768780"/>
                <a:ext cx="65984" cy="65984"/>
              </a:xfrm>
              <a:custGeom>
                <a:avLst/>
                <a:gdLst>
                  <a:gd name="connsiteX0" fmla="*/ 0 w 65984"/>
                  <a:gd name="connsiteY0" fmla="*/ 0 h 65984"/>
                  <a:gd name="connsiteX1" fmla="*/ 65985 w 65984"/>
                  <a:gd name="connsiteY1" fmla="*/ 0 h 65984"/>
                  <a:gd name="connsiteX2" fmla="*/ 65985 w 65984"/>
                  <a:gd name="connsiteY2" fmla="*/ 65985 h 65984"/>
                  <a:gd name="connsiteX3" fmla="*/ 0 w 65984"/>
                  <a:gd name="connsiteY3" fmla="*/ 65985 h 659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5984" h="65984">
                    <a:moveTo>
                      <a:pt x="0" y="0"/>
                    </a:moveTo>
                    <a:lnTo>
                      <a:pt x="65985" y="0"/>
                    </a:lnTo>
                    <a:lnTo>
                      <a:pt x="65985" y="65985"/>
                    </a:lnTo>
                    <a:lnTo>
                      <a:pt x="0" y="65985"/>
                    </a:ln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338" name="Forma livre: Forma 337">
              <a:extLst>
                <a:ext uri="{FF2B5EF4-FFF2-40B4-BE49-F238E27FC236}">
                  <a16:creationId xmlns:a16="http://schemas.microsoft.com/office/drawing/2014/main" id="{975A8ECA-B5FC-8CA6-0B55-17E21DC3BEEF}"/>
                </a:ext>
              </a:extLst>
            </p:cNvPr>
            <p:cNvSpPr/>
            <p:nvPr/>
          </p:nvSpPr>
          <p:spPr>
            <a:xfrm>
              <a:off x="1407563" y="2685301"/>
              <a:ext cx="265509" cy="88391"/>
            </a:xfrm>
            <a:custGeom>
              <a:avLst/>
              <a:gdLst>
                <a:gd name="connsiteX0" fmla="*/ 0 w 265509"/>
                <a:gd name="connsiteY0" fmla="*/ 88391 h 88391"/>
                <a:gd name="connsiteX1" fmla="*/ 132833 w 265509"/>
                <a:gd name="connsiteY1" fmla="*/ 0 h 88391"/>
                <a:gd name="connsiteX2" fmla="*/ 265509 w 265509"/>
                <a:gd name="connsiteY2" fmla="*/ 88391 h 88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65509" h="88391">
                  <a:moveTo>
                    <a:pt x="0" y="88391"/>
                  </a:moveTo>
                  <a:lnTo>
                    <a:pt x="132833" y="0"/>
                  </a:lnTo>
                  <a:lnTo>
                    <a:pt x="265509" y="88391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339" name="Gráfico 2">
              <a:extLst>
                <a:ext uri="{FF2B5EF4-FFF2-40B4-BE49-F238E27FC236}">
                  <a16:creationId xmlns:a16="http://schemas.microsoft.com/office/drawing/2014/main" id="{1DB8628A-C374-DEE9-8673-E8717EA5ABEE}"/>
                </a:ext>
              </a:extLst>
            </p:cNvPr>
            <p:cNvGrpSpPr/>
            <p:nvPr/>
          </p:nvGrpSpPr>
          <p:grpSpPr>
            <a:xfrm>
              <a:off x="1443821" y="2778150"/>
              <a:ext cx="192994" cy="95748"/>
              <a:chOff x="1443821" y="2778150"/>
              <a:chExt cx="192994" cy="95748"/>
            </a:xfrm>
          </p:grpSpPr>
          <p:sp>
            <p:nvSpPr>
              <p:cNvPr id="340" name="Forma livre: Forma 339">
                <a:extLst>
                  <a:ext uri="{FF2B5EF4-FFF2-40B4-BE49-F238E27FC236}">
                    <a16:creationId xmlns:a16="http://schemas.microsoft.com/office/drawing/2014/main" id="{6FDDE742-C4FB-FA74-F9BC-59F11A5DB636}"/>
                  </a:ext>
                </a:extLst>
              </p:cNvPr>
              <p:cNvSpPr/>
              <p:nvPr/>
            </p:nvSpPr>
            <p:spPr>
              <a:xfrm>
                <a:off x="1443821" y="2778150"/>
                <a:ext cx="1198" cy="76433"/>
              </a:xfrm>
              <a:custGeom>
                <a:avLst/>
                <a:gdLst>
                  <a:gd name="connsiteX0" fmla="*/ 0 w 1198"/>
                  <a:gd name="connsiteY0" fmla="*/ 0 h 76433"/>
                  <a:gd name="connsiteX1" fmla="*/ 0 w 1198"/>
                  <a:gd name="connsiteY1" fmla="*/ 76433 h 764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8" h="76433">
                    <a:moveTo>
                      <a:pt x="0" y="0"/>
                    </a:moveTo>
                    <a:lnTo>
                      <a:pt x="0" y="76433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41" name="Forma livre: Forma 340">
                <a:extLst>
                  <a:ext uri="{FF2B5EF4-FFF2-40B4-BE49-F238E27FC236}">
                    <a16:creationId xmlns:a16="http://schemas.microsoft.com/office/drawing/2014/main" id="{E9F46DB3-DFF7-50F8-C61A-9A27F77A4D9E}"/>
                  </a:ext>
                </a:extLst>
              </p:cNvPr>
              <p:cNvSpPr/>
              <p:nvPr/>
            </p:nvSpPr>
            <p:spPr>
              <a:xfrm>
                <a:off x="1636815" y="2778150"/>
                <a:ext cx="1198" cy="95748"/>
              </a:xfrm>
              <a:custGeom>
                <a:avLst/>
                <a:gdLst>
                  <a:gd name="connsiteX0" fmla="*/ 0 w 1198"/>
                  <a:gd name="connsiteY0" fmla="*/ 0 h 95748"/>
                  <a:gd name="connsiteX1" fmla="*/ 0 w 1198"/>
                  <a:gd name="connsiteY1" fmla="*/ 95748 h 957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8" h="95748">
                    <a:moveTo>
                      <a:pt x="0" y="0"/>
                    </a:moveTo>
                    <a:lnTo>
                      <a:pt x="0" y="95748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342" name="Forma livre: Forma 341">
              <a:extLst>
                <a:ext uri="{FF2B5EF4-FFF2-40B4-BE49-F238E27FC236}">
                  <a16:creationId xmlns:a16="http://schemas.microsoft.com/office/drawing/2014/main" id="{7875609A-5752-BB0C-C73E-81FE6F2AAEBB}"/>
                </a:ext>
              </a:extLst>
            </p:cNvPr>
            <p:cNvSpPr/>
            <p:nvPr/>
          </p:nvSpPr>
          <p:spPr>
            <a:xfrm>
              <a:off x="1445354" y="2693161"/>
              <a:ext cx="28493" cy="36736"/>
            </a:xfrm>
            <a:custGeom>
              <a:avLst/>
              <a:gdLst>
                <a:gd name="connsiteX0" fmla="*/ 0 w 28493"/>
                <a:gd name="connsiteY0" fmla="*/ 35347 h 36736"/>
                <a:gd name="connsiteX1" fmla="*/ 0 w 28493"/>
                <a:gd name="connsiteY1" fmla="*/ 0 h 36736"/>
                <a:gd name="connsiteX2" fmla="*/ 28493 w 28493"/>
                <a:gd name="connsiteY2" fmla="*/ 0 h 36736"/>
                <a:gd name="connsiteX3" fmla="*/ 28493 w 28493"/>
                <a:gd name="connsiteY3" fmla="*/ 36737 h 367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8493" h="36736">
                  <a:moveTo>
                    <a:pt x="0" y="35347"/>
                  </a:moveTo>
                  <a:lnTo>
                    <a:pt x="0" y="0"/>
                  </a:lnTo>
                  <a:lnTo>
                    <a:pt x="28493" y="0"/>
                  </a:lnTo>
                  <a:lnTo>
                    <a:pt x="28493" y="36737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343" name="Gráfico 2">
              <a:extLst>
                <a:ext uri="{FF2B5EF4-FFF2-40B4-BE49-F238E27FC236}">
                  <a16:creationId xmlns:a16="http://schemas.microsoft.com/office/drawing/2014/main" id="{235E1262-9BD5-84DA-3E32-BFEDDD3F29CF}"/>
                </a:ext>
              </a:extLst>
            </p:cNvPr>
            <p:cNvGrpSpPr/>
            <p:nvPr/>
          </p:nvGrpSpPr>
          <p:grpSpPr>
            <a:xfrm>
              <a:off x="1507325" y="2768780"/>
              <a:ext cx="65984" cy="66104"/>
              <a:chOff x="1507325" y="2768780"/>
              <a:chExt cx="65984" cy="66104"/>
            </a:xfrm>
            <a:noFill/>
          </p:grpSpPr>
          <p:grpSp>
            <p:nvGrpSpPr>
              <p:cNvPr id="344" name="Gráfico 2">
                <a:extLst>
                  <a:ext uri="{FF2B5EF4-FFF2-40B4-BE49-F238E27FC236}">
                    <a16:creationId xmlns:a16="http://schemas.microsoft.com/office/drawing/2014/main" id="{9B885D90-1CBD-6655-3B43-12A655B4FC91}"/>
                  </a:ext>
                </a:extLst>
              </p:cNvPr>
              <p:cNvGrpSpPr/>
              <p:nvPr/>
            </p:nvGrpSpPr>
            <p:grpSpPr>
              <a:xfrm>
                <a:off x="1507325" y="2768780"/>
                <a:ext cx="65984" cy="66104"/>
                <a:chOff x="1507325" y="2768780"/>
                <a:chExt cx="65984" cy="66104"/>
              </a:xfrm>
              <a:noFill/>
            </p:grpSpPr>
            <p:sp>
              <p:nvSpPr>
                <p:cNvPr id="345" name="Forma livre: Forma 344">
                  <a:extLst>
                    <a:ext uri="{FF2B5EF4-FFF2-40B4-BE49-F238E27FC236}">
                      <a16:creationId xmlns:a16="http://schemas.microsoft.com/office/drawing/2014/main" id="{D38520EB-D215-0376-F363-574B02289D5B}"/>
                    </a:ext>
                  </a:extLst>
                </p:cNvPr>
                <p:cNvSpPr/>
                <p:nvPr/>
              </p:nvSpPr>
              <p:spPr>
                <a:xfrm>
                  <a:off x="1507325" y="2768780"/>
                  <a:ext cx="65984" cy="65984"/>
                </a:xfrm>
                <a:custGeom>
                  <a:avLst/>
                  <a:gdLst>
                    <a:gd name="connsiteX0" fmla="*/ 0 w 65984"/>
                    <a:gd name="connsiteY0" fmla="*/ 0 h 65984"/>
                    <a:gd name="connsiteX1" fmla="*/ 65985 w 65984"/>
                    <a:gd name="connsiteY1" fmla="*/ 0 h 65984"/>
                    <a:gd name="connsiteX2" fmla="*/ 65985 w 65984"/>
                    <a:gd name="connsiteY2" fmla="*/ 65985 h 65984"/>
                    <a:gd name="connsiteX3" fmla="*/ 0 w 65984"/>
                    <a:gd name="connsiteY3" fmla="*/ 65985 h 6598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65984" h="65984">
                      <a:moveTo>
                        <a:pt x="0" y="0"/>
                      </a:moveTo>
                      <a:lnTo>
                        <a:pt x="65985" y="0"/>
                      </a:lnTo>
                      <a:lnTo>
                        <a:pt x="65985" y="65985"/>
                      </a:lnTo>
                      <a:lnTo>
                        <a:pt x="0" y="65985"/>
                      </a:lnTo>
                      <a:close/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346" name="Forma livre: Forma 345">
                  <a:extLst>
                    <a:ext uri="{FF2B5EF4-FFF2-40B4-BE49-F238E27FC236}">
                      <a16:creationId xmlns:a16="http://schemas.microsoft.com/office/drawing/2014/main" id="{79BA1323-A5FD-7178-2B0E-5388684C1F34}"/>
                    </a:ext>
                  </a:extLst>
                </p:cNvPr>
                <p:cNvSpPr/>
                <p:nvPr/>
              </p:nvSpPr>
              <p:spPr>
                <a:xfrm>
                  <a:off x="1540324" y="2768899"/>
                  <a:ext cx="1198" cy="65984"/>
                </a:xfrm>
                <a:custGeom>
                  <a:avLst/>
                  <a:gdLst>
                    <a:gd name="connsiteX0" fmla="*/ 0 w 1198"/>
                    <a:gd name="connsiteY0" fmla="*/ 0 h 65984"/>
                    <a:gd name="connsiteX1" fmla="*/ 0 w 1198"/>
                    <a:gd name="connsiteY1" fmla="*/ 65985 h 6598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198" h="65984">
                      <a:moveTo>
                        <a:pt x="0" y="0"/>
                      </a:moveTo>
                      <a:lnTo>
                        <a:pt x="0" y="65985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347" name="Forma livre: Forma 346">
                <a:extLst>
                  <a:ext uri="{FF2B5EF4-FFF2-40B4-BE49-F238E27FC236}">
                    <a16:creationId xmlns:a16="http://schemas.microsoft.com/office/drawing/2014/main" id="{B5251E44-FEDC-547C-BDA1-8FC544D9E05D}"/>
                  </a:ext>
                </a:extLst>
              </p:cNvPr>
              <p:cNvSpPr/>
              <p:nvPr/>
            </p:nvSpPr>
            <p:spPr>
              <a:xfrm>
                <a:off x="1507325" y="2802174"/>
                <a:ext cx="65984" cy="1198"/>
              </a:xfrm>
              <a:custGeom>
                <a:avLst/>
                <a:gdLst>
                  <a:gd name="connsiteX0" fmla="*/ 65985 w 65984"/>
                  <a:gd name="connsiteY0" fmla="*/ 0 h 1198"/>
                  <a:gd name="connsiteX1" fmla="*/ 0 w 65984"/>
                  <a:gd name="connsiteY1" fmla="*/ 0 h 11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5984" h="1198">
                    <a:moveTo>
                      <a:pt x="65985" y="0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348" name="Forma livre: Forma 347">
              <a:extLst>
                <a:ext uri="{FF2B5EF4-FFF2-40B4-BE49-F238E27FC236}">
                  <a16:creationId xmlns:a16="http://schemas.microsoft.com/office/drawing/2014/main" id="{70676082-E7E6-1F80-14B3-EE77EACCA705}"/>
                </a:ext>
              </a:extLst>
            </p:cNvPr>
            <p:cNvSpPr/>
            <p:nvPr/>
          </p:nvSpPr>
          <p:spPr>
            <a:xfrm>
              <a:off x="1433480" y="2578505"/>
              <a:ext cx="106376" cy="90584"/>
            </a:xfrm>
            <a:custGeom>
              <a:avLst/>
              <a:gdLst>
                <a:gd name="connsiteX0" fmla="*/ 26157 w 106376"/>
                <a:gd name="connsiteY0" fmla="*/ 90584 h 90584"/>
                <a:gd name="connsiteX1" fmla="*/ 26157 w 106376"/>
                <a:gd name="connsiteY1" fmla="*/ 89482 h 90584"/>
                <a:gd name="connsiteX2" fmla="*/ 41745 w 106376"/>
                <a:gd name="connsiteY2" fmla="*/ 73893 h 90584"/>
                <a:gd name="connsiteX3" fmla="*/ 58736 w 106376"/>
                <a:gd name="connsiteY3" fmla="*/ 73893 h 90584"/>
                <a:gd name="connsiteX4" fmla="*/ 74324 w 106376"/>
                <a:gd name="connsiteY4" fmla="*/ 58245 h 90584"/>
                <a:gd name="connsiteX5" fmla="*/ 74324 w 106376"/>
                <a:gd name="connsiteY5" fmla="*/ 57358 h 90584"/>
                <a:gd name="connsiteX6" fmla="*/ 58736 w 106376"/>
                <a:gd name="connsiteY6" fmla="*/ 41769 h 90584"/>
                <a:gd name="connsiteX7" fmla="*/ 20034 w 106376"/>
                <a:gd name="connsiteY7" fmla="*/ 41769 h 90584"/>
                <a:gd name="connsiteX8" fmla="*/ 0 w 106376"/>
                <a:gd name="connsiteY8" fmla="*/ 21735 h 90584"/>
                <a:gd name="connsiteX9" fmla="*/ 0 w 106376"/>
                <a:gd name="connsiteY9" fmla="*/ 20046 h 90584"/>
                <a:gd name="connsiteX10" fmla="*/ 20034 w 106376"/>
                <a:gd name="connsiteY10" fmla="*/ 0 h 90584"/>
                <a:gd name="connsiteX11" fmla="*/ 106376 w 106376"/>
                <a:gd name="connsiteY11" fmla="*/ 0 h 905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06376" h="90584">
                  <a:moveTo>
                    <a:pt x="26157" y="90584"/>
                  </a:moveTo>
                  <a:lnTo>
                    <a:pt x="26157" y="89482"/>
                  </a:lnTo>
                  <a:cubicBezTo>
                    <a:pt x="26157" y="80903"/>
                    <a:pt x="33166" y="73893"/>
                    <a:pt x="41745" y="73893"/>
                  </a:cubicBezTo>
                  <a:lnTo>
                    <a:pt x="58736" y="73893"/>
                  </a:lnTo>
                  <a:cubicBezTo>
                    <a:pt x="67303" y="73893"/>
                    <a:pt x="74324" y="66812"/>
                    <a:pt x="74324" y="58245"/>
                  </a:cubicBezTo>
                  <a:lnTo>
                    <a:pt x="74324" y="57358"/>
                  </a:lnTo>
                  <a:cubicBezTo>
                    <a:pt x="74324" y="48779"/>
                    <a:pt x="67303" y="41769"/>
                    <a:pt x="58736" y="41769"/>
                  </a:cubicBezTo>
                  <a:lnTo>
                    <a:pt x="20034" y="41769"/>
                  </a:lnTo>
                  <a:cubicBezTo>
                    <a:pt x="9010" y="41769"/>
                    <a:pt x="0" y="32759"/>
                    <a:pt x="0" y="21735"/>
                  </a:cubicBezTo>
                  <a:lnTo>
                    <a:pt x="0" y="20046"/>
                  </a:lnTo>
                  <a:cubicBezTo>
                    <a:pt x="0" y="9022"/>
                    <a:pt x="9022" y="0"/>
                    <a:pt x="20034" y="0"/>
                  </a:cubicBezTo>
                  <a:lnTo>
                    <a:pt x="106376" y="0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349" name="Gráfico 2">
            <a:extLst>
              <a:ext uri="{FF2B5EF4-FFF2-40B4-BE49-F238E27FC236}">
                <a16:creationId xmlns:a16="http://schemas.microsoft.com/office/drawing/2014/main" id="{EC968921-42ED-1FB9-1390-2B5CF5BC19AD}"/>
              </a:ext>
            </a:extLst>
          </p:cNvPr>
          <p:cNvGrpSpPr/>
          <p:nvPr/>
        </p:nvGrpSpPr>
        <p:grpSpPr>
          <a:xfrm>
            <a:off x="1966344" y="2608580"/>
            <a:ext cx="409904" cy="308165"/>
            <a:chOff x="1966344" y="2608580"/>
            <a:chExt cx="409904" cy="308165"/>
          </a:xfrm>
          <a:noFill/>
        </p:grpSpPr>
        <p:grpSp>
          <p:nvGrpSpPr>
            <p:cNvPr id="350" name="Gráfico 2">
              <a:extLst>
                <a:ext uri="{FF2B5EF4-FFF2-40B4-BE49-F238E27FC236}">
                  <a16:creationId xmlns:a16="http://schemas.microsoft.com/office/drawing/2014/main" id="{8845294E-F6F1-2ABB-A069-B1163866B404}"/>
                </a:ext>
              </a:extLst>
            </p:cNvPr>
            <p:cNvGrpSpPr/>
            <p:nvPr/>
          </p:nvGrpSpPr>
          <p:grpSpPr>
            <a:xfrm>
              <a:off x="1966344" y="2665447"/>
              <a:ext cx="409904" cy="251298"/>
              <a:chOff x="1966344" y="2665447"/>
              <a:chExt cx="409904" cy="251298"/>
            </a:xfrm>
            <a:noFill/>
          </p:grpSpPr>
          <p:sp>
            <p:nvSpPr>
              <p:cNvPr id="351" name="Forma livre: Forma 350">
                <a:extLst>
                  <a:ext uri="{FF2B5EF4-FFF2-40B4-BE49-F238E27FC236}">
                    <a16:creationId xmlns:a16="http://schemas.microsoft.com/office/drawing/2014/main" id="{EEAA7FC6-AFBE-9309-19AB-2BAC3D050B94}"/>
                  </a:ext>
                </a:extLst>
              </p:cNvPr>
              <p:cNvSpPr/>
              <p:nvPr/>
            </p:nvSpPr>
            <p:spPr>
              <a:xfrm>
                <a:off x="2359402" y="2916746"/>
                <a:ext cx="16846" cy="1198"/>
              </a:xfrm>
              <a:custGeom>
                <a:avLst/>
                <a:gdLst>
                  <a:gd name="connsiteX0" fmla="*/ 0 w 16846"/>
                  <a:gd name="connsiteY0" fmla="*/ 0 h 1198"/>
                  <a:gd name="connsiteX1" fmla="*/ 16847 w 16846"/>
                  <a:gd name="connsiteY1" fmla="*/ 0 h 11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6846" h="1198">
                    <a:moveTo>
                      <a:pt x="0" y="0"/>
                    </a:moveTo>
                    <a:lnTo>
                      <a:pt x="16847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52" name="Forma livre: Forma 351">
                <a:extLst>
                  <a:ext uri="{FF2B5EF4-FFF2-40B4-BE49-F238E27FC236}">
                    <a16:creationId xmlns:a16="http://schemas.microsoft.com/office/drawing/2014/main" id="{ED54B0D1-0F65-BB92-9DD6-A14515CC1E88}"/>
                  </a:ext>
                </a:extLst>
              </p:cNvPr>
              <p:cNvSpPr/>
              <p:nvPr/>
            </p:nvSpPr>
            <p:spPr>
              <a:xfrm>
                <a:off x="1966344" y="2916746"/>
                <a:ext cx="370603" cy="1198"/>
              </a:xfrm>
              <a:custGeom>
                <a:avLst/>
                <a:gdLst>
                  <a:gd name="connsiteX0" fmla="*/ 0 w 370603"/>
                  <a:gd name="connsiteY0" fmla="*/ 0 h 1198"/>
                  <a:gd name="connsiteX1" fmla="*/ 370604 w 370603"/>
                  <a:gd name="connsiteY1" fmla="*/ 0 h 11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70603" h="1198">
                    <a:moveTo>
                      <a:pt x="0" y="0"/>
                    </a:moveTo>
                    <a:lnTo>
                      <a:pt x="370604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353" name="Gráfico 2">
                <a:extLst>
                  <a:ext uri="{FF2B5EF4-FFF2-40B4-BE49-F238E27FC236}">
                    <a16:creationId xmlns:a16="http://schemas.microsoft.com/office/drawing/2014/main" id="{19C3D194-566F-D644-6E41-E0DB739274FF}"/>
                  </a:ext>
                </a:extLst>
              </p:cNvPr>
              <p:cNvGrpSpPr/>
              <p:nvPr/>
            </p:nvGrpSpPr>
            <p:grpSpPr>
              <a:xfrm>
                <a:off x="1993172" y="2753131"/>
                <a:ext cx="316960" cy="162511"/>
                <a:chOff x="1993172" y="2753131"/>
                <a:chExt cx="316960" cy="162511"/>
              </a:xfrm>
              <a:noFill/>
            </p:grpSpPr>
            <p:grpSp>
              <p:nvGrpSpPr>
                <p:cNvPr id="354" name="Gráfico 2">
                  <a:extLst>
                    <a:ext uri="{FF2B5EF4-FFF2-40B4-BE49-F238E27FC236}">
                      <a16:creationId xmlns:a16="http://schemas.microsoft.com/office/drawing/2014/main" id="{04C80EA1-6679-0675-E20B-E28FB8582B04}"/>
                    </a:ext>
                  </a:extLst>
                </p:cNvPr>
                <p:cNvGrpSpPr/>
                <p:nvPr/>
              </p:nvGrpSpPr>
              <p:grpSpPr>
                <a:xfrm>
                  <a:off x="1993172" y="2753131"/>
                  <a:ext cx="39277" cy="162511"/>
                  <a:chOff x="1993172" y="2753131"/>
                  <a:chExt cx="39277" cy="162511"/>
                </a:xfrm>
                <a:noFill/>
              </p:grpSpPr>
              <p:sp>
                <p:nvSpPr>
                  <p:cNvPr id="355" name="Forma livre: Forma 354">
                    <a:extLst>
                      <a:ext uri="{FF2B5EF4-FFF2-40B4-BE49-F238E27FC236}">
                        <a16:creationId xmlns:a16="http://schemas.microsoft.com/office/drawing/2014/main" id="{39AB6033-D8ED-80B6-D694-F9027EA6D3F0}"/>
                      </a:ext>
                    </a:extLst>
                  </p:cNvPr>
                  <p:cNvSpPr/>
                  <p:nvPr/>
                </p:nvSpPr>
                <p:spPr>
                  <a:xfrm>
                    <a:off x="1993172" y="2753131"/>
                    <a:ext cx="39277" cy="143041"/>
                  </a:xfrm>
                  <a:custGeom>
                    <a:avLst/>
                    <a:gdLst>
                      <a:gd name="connsiteX0" fmla="*/ 0 w 39277"/>
                      <a:gd name="connsiteY0" fmla="*/ 143041 h 143041"/>
                      <a:gd name="connsiteX1" fmla="*/ 0 w 39277"/>
                      <a:gd name="connsiteY1" fmla="*/ 0 h 143041"/>
                      <a:gd name="connsiteX2" fmla="*/ 39277 w 39277"/>
                      <a:gd name="connsiteY2" fmla="*/ 0 h 14304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</a:cxnLst>
                    <a:rect l="l" t="t" r="r" b="b"/>
                    <a:pathLst>
                      <a:path w="39277" h="143041">
                        <a:moveTo>
                          <a:pt x="0" y="143041"/>
                        </a:moveTo>
                        <a:lnTo>
                          <a:pt x="0" y="0"/>
                        </a:lnTo>
                        <a:lnTo>
                          <a:pt x="39277" y="0"/>
                        </a:lnTo>
                      </a:path>
                    </a:pathLst>
                  </a:custGeom>
                  <a:noFill/>
                  <a:ln w="6350" cap="flat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grpSp>
                <p:nvGrpSpPr>
                  <p:cNvPr id="356" name="Gráfico 2">
                    <a:extLst>
                      <a:ext uri="{FF2B5EF4-FFF2-40B4-BE49-F238E27FC236}">
                        <a16:creationId xmlns:a16="http://schemas.microsoft.com/office/drawing/2014/main" id="{35586C7E-EEE4-06F5-21BF-F1307497A8DB}"/>
                      </a:ext>
                    </a:extLst>
                  </p:cNvPr>
                  <p:cNvGrpSpPr/>
                  <p:nvPr/>
                </p:nvGrpSpPr>
                <p:grpSpPr>
                  <a:xfrm>
                    <a:off x="2024241" y="2783721"/>
                    <a:ext cx="1198" cy="131921"/>
                    <a:chOff x="2024241" y="2783721"/>
                    <a:chExt cx="1198" cy="131921"/>
                  </a:xfrm>
                </p:grpSpPr>
                <p:sp>
                  <p:nvSpPr>
                    <p:cNvPr id="357" name="Forma livre: Forma 356">
                      <a:extLst>
                        <a:ext uri="{FF2B5EF4-FFF2-40B4-BE49-F238E27FC236}">
                          <a16:creationId xmlns:a16="http://schemas.microsoft.com/office/drawing/2014/main" id="{484F1D77-1B2F-7A94-5FC6-398471E3FBC9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2024241" y="2835759"/>
                      <a:ext cx="1198" cy="26516"/>
                    </a:xfrm>
                    <a:custGeom>
                      <a:avLst/>
                      <a:gdLst>
                        <a:gd name="connsiteX0" fmla="*/ 0 w 1198"/>
                        <a:gd name="connsiteY0" fmla="*/ 0 h 26516"/>
                        <a:gd name="connsiteX1" fmla="*/ 0 w 1198"/>
                        <a:gd name="connsiteY1" fmla="*/ 26516 h 26516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1198" h="26516">
                          <a:moveTo>
                            <a:pt x="0" y="0"/>
                          </a:moveTo>
                          <a:lnTo>
                            <a:pt x="0" y="26516"/>
                          </a:lnTo>
                        </a:path>
                      </a:pathLst>
                    </a:custGeom>
                    <a:ln w="6350" cap="flat">
                      <a:solidFill>
                        <a:schemeClr val="accent2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pt-PT"/>
                    </a:p>
                  </p:txBody>
                </p:sp>
                <p:sp>
                  <p:nvSpPr>
                    <p:cNvPr id="358" name="Forma livre: Forma 357">
                      <a:extLst>
                        <a:ext uri="{FF2B5EF4-FFF2-40B4-BE49-F238E27FC236}">
                          <a16:creationId xmlns:a16="http://schemas.microsoft.com/office/drawing/2014/main" id="{28F43226-A382-BE17-8342-1EF86BCB4619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2024241" y="2783721"/>
                      <a:ext cx="1198" cy="26504"/>
                    </a:xfrm>
                    <a:custGeom>
                      <a:avLst/>
                      <a:gdLst>
                        <a:gd name="connsiteX0" fmla="*/ 0 w 1198"/>
                        <a:gd name="connsiteY0" fmla="*/ 0 h 26504"/>
                        <a:gd name="connsiteX1" fmla="*/ 0 w 1198"/>
                        <a:gd name="connsiteY1" fmla="*/ 26504 h 26504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1198" h="26504">
                          <a:moveTo>
                            <a:pt x="0" y="0"/>
                          </a:moveTo>
                          <a:lnTo>
                            <a:pt x="0" y="26504"/>
                          </a:lnTo>
                        </a:path>
                      </a:pathLst>
                    </a:custGeom>
                    <a:ln w="6350" cap="flat">
                      <a:solidFill>
                        <a:schemeClr val="accent2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pt-PT"/>
                    </a:p>
                  </p:txBody>
                </p:sp>
                <p:sp>
                  <p:nvSpPr>
                    <p:cNvPr id="359" name="Forma livre: Forma 358">
                      <a:extLst>
                        <a:ext uri="{FF2B5EF4-FFF2-40B4-BE49-F238E27FC236}">
                          <a16:creationId xmlns:a16="http://schemas.microsoft.com/office/drawing/2014/main" id="{E429738C-8E50-9925-0A56-7DC426FE8A07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2024241" y="2886467"/>
                      <a:ext cx="1198" cy="29176"/>
                    </a:xfrm>
                    <a:custGeom>
                      <a:avLst/>
                      <a:gdLst>
                        <a:gd name="connsiteX0" fmla="*/ 0 w 1198"/>
                        <a:gd name="connsiteY0" fmla="*/ 0 h 29176"/>
                        <a:gd name="connsiteX1" fmla="*/ 0 w 1198"/>
                        <a:gd name="connsiteY1" fmla="*/ 29176 h 29176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1198" h="29176">
                          <a:moveTo>
                            <a:pt x="0" y="0"/>
                          </a:moveTo>
                          <a:lnTo>
                            <a:pt x="0" y="29176"/>
                          </a:lnTo>
                        </a:path>
                      </a:pathLst>
                    </a:custGeom>
                    <a:ln w="6350" cap="flat">
                      <a:solidFill>
                        <a:schemeClr val="accent2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pt-PT"/>
                    </a:p>
                  </p:txBody>
                </p:sp>
              </p:grpSp>
            </p:grpSp>
            <p:grpSp>
              <p:nvGrpSpPr>
                <p:cNvPr id="360" name="Gráfico 2">
                  <a:extLst>
                    <a:ext uri="{FF2B5EF4-FFF2-40B4-BE49-F238E27FC236}">
                      <a16:creationId xmlns:a16="http://schemas.microsoft.com/office/drawing/2014/main" id="{FDD78BDF-C8D7-5E22-AD3B-B3D5D9AADC57}"/>
                    </a:ext>
                  </a:extLst>
                </p:cNvPr>
                <p:cNvGrpSpPr/>
                <p:nvPr/>
              </p:nvGrpSpPr>
              <p:grpSpPr>
                <a:xfrm>
                  <a:off x="2270855" y="2753131"/>
                  <a:ext cx="39277" cy="162511"/>
                  <a:chOff x="2270855" y="2753131"/>
                  <a:chExt cx="39277" cy="162511"/>
                </a:xfrm>
                <a:noFill/>
              </p:grpSpPr>
              <p:sp>
                <p:nvSpPr>
                  <p:cNvPr id="361" name="Forma livre: Forma 360">
                    <a:extLst>
                      <a:ext uri="{FF2B5EF4-FFF2-40B4-BE49-F238E27FC236}">
                        <a16:creationId xmlns:a16="http://schemas.microsoft.com/office/drawing/2014/main" id="{EAA2941D-016A-7D45-D70A-B59A18F2845B}"/>
                      </a:ext>
                    </a:extLst>
                  </p:cNvPr>
                  <p:cNvSpPr/>
                  <p:nvPr/>
                </p:nvSpPr>
                <p:spPr>
                  <a:xfrm>
                    <a:off x="2270855" y="2753131"/>
                    <a:ext cx="39277" cy="160714"/>
                  </a:xfrm>
                  <a:custGeom>
                    <a:avLst/>
                    <a:gdLst>
                      <a:gd name="connsiteX0" fmla="*/ 39277 w 39277"/>
                      <a:gd name="connsiteY0" fmla="*/ 160715 h 160714"/>
                      <a:gd name="connsiteX1" fmla="*/ 39277 w 39277"/>
                      <a:gd name="connsiteY1" fmla="*/ 0 h 160714"/>
                      <a:gd name="connsiteX2" fmla="*/ 0 w 39277"/>
                      <a:gd name="connsiteY2" fmla="*/ 0 h 16071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</a:cxnLst>
                    <a:rect l="l" t="t" r="r" b="b"/>
                    <a:pathLst>
                      <a:path w="39277" h="160714">
                        <a:moveTo>
                          <a:pt x="39277" y="160715"/>
                        </a:moveTo>
                        <a:lnTo>
                          <a:pt x="39277" y="0"/>
                        </a:lnTo>
                        <a:lnTo>
                          <a:pt x="0" y="0"/>
                        </a:lnTo>
                      </a:path>
                    </a:pathLst>
                  </a:custGeom>
                  <a:noFill/>
                  <a:ln w="6350" cap="flat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grpSp>
                <p:nvGrpSpPr>
                  <p:cNvPr id="362" name="Gráfico 2">
                    <a:extLst>
                      <a:ext uri="{FF2B5EF4-FFF2-40B4-BE49-F238E27FC236}">
                        <a16:creationId xmlns:a16="http://schemas.microsoft.com/office/drawing/2014/main" id="{37AD6FAC-90CA-7C72-CD00-B7FAE2E54DF3}"/>
                      </a:ext>
                    </a:extLst>
                  </p:cNvPr>
                  <p:cNvGrpSpPr/>
                  <p:nvPr/>
                </p:nvGrpSpPr>
                <p:grpSpPr>
                  <a:xfrm>
                    <a:off x="2279075" y="2783721"/>
                    <a:ext cx="1198" cy="131921"/>
                    <a:chOff x="2279075" y="2783721"/>
                    <a:chExt cx="1198" cy="131921"/>
                  </a:xfrm>
                </p:grpSpPr>
                <p:sp>
                  <p:nvSpPr>
                    <p:cNvPr id="363" name="Forma livre: Forma 362">
                      <a:extLst>
                        <a:ext uri="{FF2B5EF4-FFF2-40B4-BE49-F238E27FC236}">
                          <a16:creationId xmlns:a16="http://schemas.microsoft.com/office/drawing/2014/main" id="{4A6CE8EF-6F90-D1D0-2A1D-314C7DDFA979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2279075" y="2835759"/>
                      <a:ext cx="1198" cy="26516"/>
                    </a:xfrm>
                    <a:custGeom>
                      <a:avLst/>
                      <a:gdLst>
                        <a:gd name="connsiteX0" fmla="*/ 0 w 1198"/>
                        <a:gd name="connsiteY0" fmla="*/ 0 h 26516"/>
                        <a:gd name="connsiteX1" fmla="*/ 0 w 1198"/>
                        <a:gd name="connsiteY1" fmla="*/ 26516 h 26516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1198" h="26516">
                          <a:moveTo>
                            <a:pt x="0" y="0"/>
                          </a:moveTo>
                          <a:lnTo>
                            <a:pt x="0" y="26516"/>
                          </a:lnTo>
                        </a:path>
                      </a:pathLst>
                    </a:custGeom>
                    <a:ln w="6350" cap="flat">
                      <a:solidFill>
                        <a:schemeClr val="accent2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pt-PT"/>
                    </a:p>
                  </p:txBody>
                </p:sp>
                <p:sp>
                  <p:nvSpPr>
                    <p:cNvPr id="364" name="Forma livre: Forma 363">
                      <a:extLst>
                        <a:ext uri="{FF2B5EF4-FFF2-40B4-BE49-F238E27FC236}">
                          <a16:creationId xmlns:a16="http://schemas.microsoft.com/office/drawing/2014/main" id="{571CA369-3EAF-4015-2DEB-9C9CD49AAA6F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2279075" y="2783721"/>
                      <a:ext cx="1198" cy="26504"/>
                    </a:xfrm>
                    <a:custGeom>
                      <a:avLst/>
                      <a:gdLst>
                        <a:gd name="connsiteX0" fmla="*/ 0 w 1198"/>
                        <a:gd name="connsiteY0" fmla="*/ 0 h 26504"/>
                        <a:gd name="connsiteX1" fmla="*/ 0 w 1198"/>
                        <a:gd name="connsiteY1" fmla="*/ 26504 h 26504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1198" h="26504">
                          <a:moveTo>
                            <a:pt x="0" y="0"/>
                          </a:moveTo>
                          <a:lnTo>
                            <a:pt x="0" y="26504"/>
                          </a:lnTo>
                        </a:path>
                      </a:pathLst>
                    </a:custGeom>
                    <a:ln w="6350" cap="flat">
                      <a:solidFill>
                        <a:schemeClr val="accent2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pt-PT"/>
                    </a:p>
                  </p:txBody>
                </p:sp>
                <p:sp>
                  <p:nvSpPr>
                    <p:cNvPr id="365" name="Forma livre: Forma 364">
                      <a:extLst>
                        <a:ext uri="{FF2B5EF4-FFF2-40B4-BE49-F238E27FC236}">
                          <a16:creationId xmlns:a16="http://schemas.microsoft.com/office/drawing/2014/main" id="{3E582BE7-B227-7A22-126B-4C703B3FF76D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2279075" y="2886467"/>
                      <a:ext cx="1198" cy="29176"/>
                    </a:xfrm>
                    <a:custGeom>
                      <a:avLst/>
                      <a:gdLst>
                        <a:gd name="connsiteX0" fmla="*/ 0 w 1198"/>
                        <a:gd name="connsiteY0" fmla="*/ 0 h 29176"/>
                        <a:gd name="connsiteX1" fmla="*/ 0 w 1198"/>
                        <a:gd name="connsiteY1" fmla="*/ 29176 h 29176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1198" h="29176">
                          <a:moveTo>
                            <a:pt x="0" y="0"/>
                          </a:moveTo>
                          <a:lnTo>
                            <a:pt x="0" y="29176"/>
                          </a:lnTo>
                        </a:path>
                      </a:pathLst>
                    </a:custGeom>
                    <a:ln w="6350" cap="flat">
                      <a:solidFill>
                        <a:schemeClr val="accent2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pt-PT"/>
                    </a:p>
                  </p:txBody>
                </p:sp>
              </p:grpSp>
            </p:grpSp>
          </p:grpSp>
          <p:grpSp>
            <p:nvGrpSpPr>
              <p:cNvPr id="366" name="Gráfico 2">
                <a:extLst>
                  <a:ext uri="{FF2B5EF4-FFF2-40B4-BE49-F238E27FC236}">
                    <a16:creationId xmlns:a16="http://schemas.microsoft.com/office/drawing/2014/main" id="{4973B6BE-DC46-8583-DC19-B4F00598144E}"/>
                  </a:ext>
                </a:extLst>
              </p:cNvPr>
              <p:cNvGrpSpPr/>
              <p:nvPr/>
            </p:nvGrpSpPr>
            <p:grpSpPr>
              <a:xfrm>
                <a:off x="2054124" y="2665447"/>
                <a:ext cx="195055" cy="251142"/>
                <a:chOff x="2054124" y="2665447"/>
                <a:chExt cx="195055" cy="251142"/>
              </a:xfrm>
              <a:noFill/>
            </p:grpSpPr>
            <p:sp>
              <p:nvSpPr>
                <p:cNvPr id="367" name="Forma livre: Forma 366">
                  <a:extLst>
                    <a:ext uri="{FF2B5EF4-FFF2-40B4-BE49-F238E27FC236}">
                      <a16:creationId xmlns:a16="http://schemas.microsoft.com/office/drawing/2014/main" id="{6187C3E1-1A44-858F-5D6E-587D605F10E9}"/>
                    </a:ext>
                  </a:extLst>
                </p:cNvPr>
                <p:cNvSpPr/>
                <p:nvPr/>
              </p:nvSpPr>
              <p:spPr>
                <a:xfrm>
                  <a:off x="2082522" y="2841942"/>
                  <a:ext cx="138260" cy="1198"/>
                </a:xfrm>
                <a:custGeom>
                  <a:avLst/>
                  <a:gdLst>
                    <a:gd name="connsiteX0" fmla="*/ 0 w 138260"/>
                    <a:gd name="connsiteY0" fmla="*/ 0 h 1198"/>
                    <a:gd name="connsiteX1" fmla="*/ 138260 w 138260"/>
                    <a:gd name="connsiteY1" fmla="*/ 0 h 11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38260" h="1198">
                      <a:moveTo>
                        <a:pt x="0" y="0"/>
                      </a:moveTo>
                      <a:lnTo>
                        <a:pt x="138260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368" name="Forma livre: Forma 367">
                  <a:extLst>
                    <a:ext uri="{FF2B5EF4-FFF2-40B4-BE49-F238E27FC236}">
                      <a16:creationId xmlns:a16="http://schemas.microsoft.com/office/drawing/2014/main" id="{400C01A5-C657-93F6-438C-DF108AF13496}"/>
                    </a:ext>
                  </a:extLst>
                </p:cNvPr>
                <p:cNvSpPr/>
                <p:nvPr/>
              </p:nvSpPr>
              <p:spPr>
                <a:xfrm>
                  <a:off x="2082522" y="2811088"/>
                  <a:ext cx="138260" cy="1198"/>
                </a:xfrm>
                <a:custGeom>
                  <a:avLst/>
                  <a:gdLst>
                    <a:gd name="connsiteX0" fmla="*/ 0 w 138260"/>
                    <a:gd name="connsiteY0" fmla="*/ 0 h 1198"/>
                    <a:gd name="connsiteX1" fmla="*/ 138260 w 138260"/>
                    <a:gd name="connsiteY1" fmla="*/ 0 h 11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38260" h="1198">
                      <a:moveTo>
                        <a:pt x="0" y="0"/>
                      </a:moveTo>
                      <a:lnTo>
                        <a:pt x="138260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369" name="Forma livre: Forma 368">
                  <a:extLst>
                    <a:ext uri="{FF2B5EF4-FFF2-40B4-BE49-F238E27FC236}">
                      <a16:creationId xmlns:a16="http://schemas.microsoft.com/office/drawing/2014/main" id="{0529095A-EB64-11DF-0B85-DB199046CCB7}"/>
                    </a:ext>
                  </a:extLst>
                </p:cNvPr>
                <p:cNvSpPr/>
                <p:nvPr/>
              </p:nvSpPr>
              <p:spPr>
                <a:xfrm>
                  <a:off x="2192085" y="2780234"/>
                  <a:ext cx="28696" cy="1198"/>
                </a:xfrm>
                <a:custGeom>
                  <a:avLst/>
                  <a:gdLst>
                    <a:gd name="connsiteX0" fmla="*/ 0 w 28696"/>
                    <a:gd name="connsiteY0" fmla="*/ 0 h 1198"/>
                    <a:gd name="connsiteX1" fmla="*/ 28697 w 28696"/>
                    <a:gd name="connsiteY1" fmla="*/ 0 h 11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8696" h="1198">
                      <a:moveTo>
                        <a:pt x="0" y="0"/>
                      </a:moveTo>
                      <a:lnTo>
                        <a:pt x="28697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370" name="Forma livre: Forma 369">
                  <a:extLst>
                    <a:ext uri="{FF2B5EF4-FFF2-40B4-BE49-F238E27FC236}">
                      <a16:creationId xmlns:a16="http://schemas.microsoft.com/office/drawing/2014/main" id="{EAC0FDF3-6B77-3B0E-B460-5EECAD7B3B5E}"/>
                    </a:ext>
                  </a:extLst>
                </p:cNvPr>
                <p:cNvSpPr/>
                <p:nvPr/>
              </p:nvSpPr>
              <p:spPr>
                <a:xfrm>
                  <a:off x="2082522" y="2780234"/>
                  <a:ext cx="26492" cy="1198"/>
                </a:xfrm>
                <a:custGeom>
                  <a:avLst/>
                  <a:gdLst>
                    <a:gd name="connsiteX0" fmla="*/ 0 w 26492"/>
                    <a:gd name="connsiteY0" fmla="*/ 0 h 1198"/>
                    <a:gd name="connsiteX1" fmla="*/ 26492 w 26492"/>
                    <a:gd name="connsiteY1" fmla="*/ 0 h 11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6492" h="1198">
                      <a:moveTo>
                        <a:pt x="0" y="0"/>
                      </a:moveTo>
                      <a:lnTo>
                        <a:pt x="26492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grpSp>
              <p:nvGrpSpPr>
                <p:cNvPr id="371" name="Gráfico 2">
                  <a:extLst>
                    <a:ext uri="{FF2B5EF4-FFF2-40B4-BE49-F238E27FC236}">
                      <a16:creationId xmlns:a16="http://schemas.microsoft.com/office/drawing/2014/main" id="{D1906A13-433A-C3D5-328B-29BADDB07147}"/>
                    </a:ext>
                  </a:extLst>
                </p:cNvPr>
                <p:cNvGrpSpPr/>
                <p:nvPr/>
              </p:nvGrpSpPr>
              <p:grpSpPr>
                <a:xfrm>
                  <a:off x="2054124" y="2665447"/>
                  <a:ext cx="195055" cy="250412"/>
                  <a:chOff x="2054124" y="2665447"/>
                  <a:chExt cx="195055" cy="250412"/>
                </a:xfrm>
                <a:noFill/>
              </p:grpSpPr>
              <p:sp>
                <p:nvSpPr>
                  <p:cNvPr id="372" name="Forma livre: Forma 371">
                    <a:extLst>
                      <a:ext uri="{FF2B5EF4-FFF2-40B4-BE49-F238E27FC236}">
                        <a16:creationId xmlns:a16="http://schemas.microsoft.com/office/drawing/2014/main" id="{7B842FED-755F-4EB8-C384-1402FC38B7F7}"/>
                      </a:ext>
                    </a:extLst>
                  </p:cNvPr>
                  <p:cNvSpPr/>
                  <p:nvPr/>
                </p:nvSpPr>
                <p:spPr>
                  <a:xfrm>
                    <a:off x="2228199" y="2665447"/>
                    <a:ext cx="20980" cy="250412"/>
                  </a:xfrm>
                  <a:custGeom>
                    <a:avLst/>
                    <a:gdLst>
                      <a:gd name="connsiteX0" fmla="*/ 0 w 20980"/>
                      <a:gd name="connsiteY0" fmla="*/ 0 h 250412"/>
                      <a:gd name="connsiteX1" fmla="*/ 20981 w 20980"/>
                      <a:gd name="connsiteY1" fmla="*/ 0 h 250412"/>
                      <a:gd name="connsiteX2" fmla="*/ 20981 w 20980"/>
                      <a:gd name="connsiteY2" fmla="*/ 250412 h 25041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</a:cxnLst>
                    <a:rect l="l" t="t" r="r" b="b"/>
                    <a:pathLst>
                      <a:path w="20980" h="250412">
                        <a:moveTo>
                          <a:pt x="0" y="0"/>
                        </a:moveTo>
                        <a:lnTo>
                          <a:pt x="20981" y="0"/>
                        </a:lnTo>
                        <a:lnTo>
                          <a:pt x="20981" y="250412"/>
                        </a:lnTo>
                      </a:path>
                    </a:pathLst>
                  </a:custGeom>
                  <a:noFill/>
                  <a:ln w="6350" cap="flat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373" name="Forma livre: Forma 372">
                    <a:extLst>
                      <a:ext uri="{FF2B5EF4-FFF2-40B4-BE49-F238E27FC236}">
                        <a16:creationId xmlns:a16="http://schemas.microsoft.com/office/drawing/2014/main" id="{227523BB-B8BC-1D57-2B8E-C6607364D74C}"/>
                      </a:ext>
                    </a:extLst>
                  </p:cNvPr>
                  <p:cNvSpPr/>
                  <p:nvPr/>
                </p:nvSpPr>
                <p:spPr>
                  <a:xfrm>
                    <a:off x="2054124" y="2665447"/>
                    <a:ext cx="19506" cy="250412"/>
                  </a:xfrm>
                  <a:custGeom>
                    <a:avLst/>
                    <a:gdLst>
                      <a:gd name="connsiteX0" fmla="*/ 0 w 19506"/>
                      <a:gd name="connsiteY0" fmla="*/ 250412 h 250412"/>
                      <a:gd name="connsiteX1" fmla="*/ 0 w 19506"/>
                      <a:gd name="connsiteY1" fmla="*/ 0 h 250412"/>
                      <a:gd name="connsiteX2" fmla="*/ 19507 w 19506"/>
                      <a:gd name="connsiteY2" fmla="*/ 0 h 25041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</a:cxnLst>
                    <a:rect l="l" t="t" r="r" b="b"/>
                    <a:pathLst>
                      <a:path w="19506" h="250412">
                        <a:moveTo>
                          <a:pt x="0" y="250412"/>
                        </a:moveTo>
                        <a:lnTo>
                          <a:pt x="0" y="0"/>
                        </a:lnTo>
                        <a:lnTo>
                          <a:pt x="19507" y="0"/>
                        </a:lnTo>
                      </a:path>
                    </a:pathLst>
                  </a:custGeom>
                  <a:noFill/>
                  <a:ln w="6350" cap="flat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  <p:sp>
              <p:nvSpPr>
                <p:cNvPr id="374" name="Forma livre: Forma 373">
                  <a:extLst>
                    <a:ext uri="{FF2B5EF4-FFF2-40B4-BE49-F238E27FC236}">
                      <a16:creationId xmlns:a16="http://schemas.microsoft.com/office/drawing/2014/main" id="{778FDFEC-2E0A-D27F-AC27-5A1BD946D015}"/>
                    </a:ext>
                  </a:extLst>
                </p:cNvPr>
                <p:cNvSpPr/>
                <p:nvPr/>
              </p:nvSpPr>
              <p:spPr>
                <a:xfrm>
                  <a:off x="2116503" y="2872292"/>
                  <a:ext cx="70298" cy="44297"/>
                </a:xfrm>
                <a:custGeom>
                  <a:avLst/>
                  <a:gdLst>
                    <a:gd name="connsiteX0" fmla="*/ 0 w 70298"/>
                    <a:gd name="connsiteY0" fmla="*/ 44297 h 44297"/>
                    <a:gd name="connsiteX1" fmla="*/ 0 w 70298"/>
                    <a:gd name="connsiteY1" fmla="*/ 0 h 44297"/>
                    <a:gd name="connsiteX2" fmla="*/ 70299 w 70298"/>
                    <a:gd name="connsiteY2" fmla="*/ 0 h 44297"/>
                    <a:gd name="connsiteX3" fmla="*/ 70299 w 70298"/>
                    <a:gd name="connsiteY3" fmla="*/ 44297 h 4429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70298" h="44297">
                      <a:moveTo>
                        <a:pt x="0" y="44297"/>
                      </a:moveTo>
                      <a:lnTo>
                        <a:pt x="0" y="0"/>
                      </a:lnTo>
                      <a:lnTo>
                        <a:pt x="70299" y="0"/>
                      </a:lnTo>
                      <a:lnTo>
                        <a:pt x="70299" y="44297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375" name="Forma livre: Forma 374">
                  <a:extLst>
                    <a:ext uri="{FF2B5EF4-FFF2-40B4-BE49-F238E27FC236}">
                      <a16:creationId xmlns:a16="http://schemas.microsoft.com/office/drawing/2014/main" id="{6E9894E1-D0F4-2D64-A802-A7CA204CBDFE}"/>
                    </a:ext>
                  </a:extLst>
                </p:cNvPr>
                <p:cNvSpPr/>
                <p:nvPr/>
              </p:nvSpPr>
              <p:spPr>
                <a:xfrm>
                  <a:off x="2151658" y="2873598"/>
                  <a:ext cx="1198" cy="40906"/>
                </a:xfrm>
                <a:custGeom>
                  <a:avLst/>
                  <a:gdLst>
                    <a:gd name="connsiteX0" fmla="*/ 0 w 1198"/>
                    <a:gd name="connsiteY0" fmla="*/ 0 h 40906"/>
                    <a:gd name="connsiteX1" fmla="*/ 0 w 1198"/>
                    <a:gd name="connsiteY1" fmla="*/ 40907 h 4090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198" h="40906">
                      <a:moveTo>
                        <a:pt x="0" y="0"/>
                      </a:moveTo>
                      <a:lnTo>
                        <a:pt x="0" y="40907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sp>
          <p:nvSpPr>
            <p:cNvPr id="376" name="Forma livre: Forma 375">
              <a:extLst>
                <a:ext uri="{FF2B5EF4-FFF2-40B4-BE49-F238E27FC236}">
                  <a16:creationId xmlns:a16="http://schemas.microsoft.com/office/drawing/2014/main" id="{F4213B06-4B7E-4F5D-CAC4-E3F3261FE416}"/>
                </a:ext>
              </a:extLst>
            </p:cNvPr>
            <p:cNvSpPr/>
            <p:nvPr/>
          </p:nvSpPr>
          <p:spPr>
            <a:xfrm>
              <a:off x="2115952" y="2663661"/>
              <a:ext cx="69231" cy="65841"/>
            </a:xfrm>
            <a:custGeom>
              <a:avLst/>
              <a:gdLst>
                <a:gd name="connsiteX0" fmla="*/ 34616 w 69231"/>
                <a:gd name="connsiteY0" fmla="*/ 0 h 65841"/>
                <a:gd name="connsiteX1" fmla="*/ 45316 w 69231"/>
                <a:gd name="connsiteY1" fmla="*/ 21675 h 65841"/>
                <a:gd name="connsiteX2" fmla="*/ 69232 w 69231"/>
                <a:gd name="connsiteY2" fmla="*/ 25150 h 65841"/>
                <a:gd name="connsiteX3" fmla="*/ 51930 w 69231"/>
                <a:gd name="connsiteY3" fmla="*/ 42021 h 65841"/>
                <a:gd name="connsiteX4" fmla="*/ 56004 w 69231"/>
                <a:gd name="connsiteY4" fmla="*/ 65841 h 65841"/>
                <a:gd name="connsiteX5" fmla="*/ 34616 w 69231"/>
                <a:gd name="connsiteY5" fmla="*/ 54590 h 65841"/>
                <a:gd name="connsiteX6" fmla="*/ 13228 w 69231"/>
                <a:gd name="connsiteY6" fmla="*/ 65841 h 65841"/>
                <a:gd name="connsiteX7" fmla="*/ 17314 w 69231"/>
                <a:gd name="connsiteY7" fmla="*/ 42021 h 65841"/>
                <a:gd name="connsiteX8" fmla="*/ 0 w 69231"/>
                <a:gd name="connsiteY8" fmla="*/ 25150 h 65841"/>
                <a:gd name="connsiteX9" fmla="*/ 23916 w 69231"/>
                <a:gd name="connsiteY9" fmla="*/ 21675 h 65841"/>
                <a:gd name="connsiteX10" fmla="*/ 34616 w 69231"/>
                <a:gd name="connsiteY10" fmla="*/ 0 h 658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69231" h="65841">
                  <a:moveTo>
                    <a:pt x="34616" y="0"/>
                  </a:moveTo>
                  <a:lnTo>
                    <a:pt x="45316" y="21675"/>
                  </a:lnTo>
                  <a:lnTo>
                    <a:pt x="69232" y="25150"/>
                  </a:lnTo>
                  <a:lnTo>
                    <a:pt x="51930" y="42021"/>
                  </a:lnTo>
                  <a:lnTo>
                    <a:pt x="56004" y="65841"/>
                  </a:lnTo>
                  <a:lnTo>
                    <a:pt x="34616" y="54590"/>
                  </a:lnTo>
                  <a:lnTo>
                    <a:pt x="13228" y="65841"/>
                  </a:lnTo>
                  <a:lnTo>
                    <a:pt x="17314" y="42021"/>
                  </a:lnTo>
                  <a:lnTo>
                    <a:pt x="0" y="25150"/>
                  </a:lnTo>
                  <a:lnTo>
                    <a:pt x="23916" y="21675"/>
                  </a:lnTo>
                  <a:lnTo>
                    <a:pt x="34616" y="0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77" name="Forma livre: Forma 376">
              <a:extLst>
                <a:ext uri="{FF2B5EF4-FFF2-40B4-BE49-F238E27FC236}">
                  <a16:creationId xmlns:a16="http://schemas.microsoft.com/office/drawing/2014/main" id="{C919C6EA-A705-8FE4-5AC2-7565F33B08E2}"/>
                </a:ext>
              </a:extLst>
            </p:cNvPr>
            <p:cNvSpPr/>
            <p:nvPr/>
          </p:nvSpPr>
          <p:spPr>
            <a:xfrm>
              <a:off x="2083176" y="2608580"/>
              <a:ext cx="135626" cy="171175"/>
            </a:xfrm>
            <a:custGeom>
              <a:avLst/>
              <a:gdLst>
                <a:gd name="connsiteX0" fmla="*/ 132478 w 135626"/>
                <a:gd name="connsiteY0" fmla="*/ 81849 h 171175"/>
                <a:gd name="connsiteX1" fmla="*/ 120939 w 135626"/>
                <a:gd name="connsiteY1" fmla="*/ 59838 h 171175"/>
                <a:gd name="connsiteX2" fmla="*/ 131783 w 135626"/>
                <a:gd name="connsiteY2" fmla="*/ 31980 h 171175"/>
                <a:gd name="connsiteX3" fmla="*/ 108058 w 135626"/>
                <a:gd name="connsiteY3" fmla="*/ 9286 h 171175"/>
                <a:gd name="connsiteX4" fmla="*/ 85352 w 135626"/>
                <a:gd name="connsiteY4" fmla="*/ 15469 h 171175"/>
                <a:gd name="connsiteX5" fmla="*/ 67823 w 135626"/>
                <a:gd name="connsiteY5" fmla="*/ 0 h 171175"/>
                <a:gd name="connsiteX6" fmla="*/ 50293 w 135626"/>
                <a:gd name="connsiteY6" fmla="*/ 15469 h 171175"/>
                <a:gd name="connsiteX7" fmla="*/ 27587 w 135626"/>
                <a:gd name="connsiteY7" fmla="*/ 9286 h 171175"/>
                <a:gd name="connsiteX8" fmla="*/ 3863 w 135626"/>
                <a:gd name="connsiteY8" fmla="*/ 31980 h 171175"/>
                <a:gd name="connsiteX9" fmla="*/ 14706 w 135626"/>
                <a:gd name="connsiteY9" fmla="*/ 59838 h 171175"/>
                <a:gd name="connsiteX10" fmla="*/ 3156 w 135626"/>
                <a:gd name="connsiteY10" fmla="*/ 81849 h 171175"/>
                <a:gd name="connsiteX11" fmla="*/ 67811 w 135626"/>
                <a:gd name="connsiteY11" fmla="*/ 171175 h 171175"/>
                <a:gd name="connsiteX12" fmla="*/ 132466 w 135626"/>
                <a:gd name="connsiteY12" fmla="*/ 81849 h 171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35626" h="171175">
                  <a:moveTo>
                    <a:pt x="132478" y="81849"/>
                  </a:moveTo>
                  <a:cubicBezTo>
                    <a:pt x="130093" y="74959"/>
                    <a:pt x="123383" y="66788"/>
                    <a:pt x="120939" y="59838"/>
                  </a:cubicBezTo>
                  <a:cubicBezTo>
                    <a:pt x="118483" y="52889"/>
                    <a:pt x="131783" y="31980"/>
                    <a:pt x="131783" y="31980"/>
                  </a:cubicBezTo>
                  <a:lnTo>
                    <a:pt x="108058" y="9286"/>
                  </a:lnTo>
                  <a:lnTo>
                    <a:pt x="85352" y="15469"/>
                  </a:lnTo>
                  <a:cubicBezTo>
                    <a:pt x="75048" y="13408"/>
                    <a:pt x="67823" y="0"/>
                    <a:pt x="67823" y="0"/>
                  </a:cubicBezTo>
                  <a:cubicBezTo>
                    <a:pt x="67823" y="0"/>
                    <a:pt x="60610" y="13420"/>
                    <a:pt x="50293" y="15469"/>
                  </a:cubicBezTo>
                  <a:lnTo>
                    <a:pt x="27587" y="9286"/>
                  </a:lnTo>
                  <a:lnTo>
                    <a:pt x="3863" y="31980"/>
                  </a:lnTo>
                  <a:cubicBezTo>
                    <a:pt x="3863" y="31980"/>
                    <a:pt x="17163" y="52877"/>
                    <a:pt x="14706" y="59838"/>
                  </a:cubicBezTo>
                  <a:cubicBezTo>
                    <a:pt x="12262" y="66788"/>
                    <a:pt x="5540" y="74959"/>
                    <a:pt x="3156" y="81849"/>
                  </a:cubicBezTo>
                  <a:cubicBezTo>
                    <a:pt x="-666" y="92908"/>
                    <a:pt x="-13859" y="135876"/>
                    <a:pt x="67811" y="171175"/>
                  </a:cubicBezTo>
                  <a:cubicBezTo>
                    <a:pt x="149480" y="135864"/>
                    <a:pt x="136300" y="92908"/>
                    <a:pt x="132466" y="81849"/>
                  </a:cubicBez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78" name="Forma livre: Forma 377">
              <a:extLst>
                <a:ext uri="{FF2B5EF4-FFF2-40B4-BE49-F238E27FC236}">
                  <a16:creationId xmlns:a16="http://schemas.microsoft.com/office/drawing/2014/main" id="{7CE119D4-ACEB-AED1-48DE-E0CB0E182350}"/>
                </a:ext>
              </a:extLst>
            </p:cNvPr>
            <p:cNvSpPr/>
            <p:nvPr/>
          </p:nvSpPr>
          <p:spPr>
            <a:xfrm>
              <a:off x="2134356" y="2642657"/>
              <a:ext cx="31932" cy="2456"/>
            </a:xfrm>
            <a:custGeom>
              <a:avLst/>
              <a:gdLst>
                <a:gd name="connsiteX0" fmla="*/ 0 w 31932"/>
                <a:gd name="connsiteY0" fmla="*/ 2456 h 2456"/>
                <a:gd name="connsiteX1" fmla="*/ 16212 w 31932"/>
                <a:gd name="connsiteY1" fmla="*/ 0 h 2456"/>
                <a:gd name="connsiteX2" fmla="*/ 31932 w 31932"/>
                <a:gd name="connsiteY2" fmla="*/ 2313 h 24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1932" h="2456">
                  <a:moveTo>
                    <a:pt x="0" y="2456"/>
                  </a:moveTo>
                  <a:cubicBezTo>
                    <a:pt x="5116" y="863"/>
                    <a:pt x="10568" y="0"/>
                    <a:pt x="16212" y="0"/>
                  </a:cubicBezTo>
                  <a:cubicBezTo>
                    <a:pt x="21855" y="0"/>
                    <a:pt x="26960" y="803"/>
                    <a:pt x="31932" y="2313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79" name="Forma livre: Forma 378">
              <a:extLst>
                <a:ext uri="{FF2B5EF4-FFF2-40B4-BE49-F238E27FC236}">
                  <a16:creationId xmlns:a16="http://schemas.microsoft.com/office/drawing/2014/main" id="{B7D12C23-31C7-D10C-7163-659F458E1E20}"/>
                </a:ext>
              </a:extLst>
            </p:cNvPr>
            <p:cNvSpPr/>
            <p:nvPr/>
          </p:nvSpPr>
          <p:spPr>
            <a:xfrm>
              <a:off x="2134368" y="2749417"/>
              <a:ext cx="31932" cy="2456"/>
            </a:xfrm>
            <a:custGeom>
              <a:avLst/>
              <a:gdLst>
                <a:gd name="connsiteX0" fmla="*/ 31932 w 31932"/>
                <a:gd name="connsiteY0" fmla="*/ 0 h 2456"/>
                <a:gd name="connsiteX1" fmla="*/ 15720 w 31932"/>
                <a:gd name="connsiteY1" fmla="*/ 2456 h 2456"/>
                <a:gd name="connsiteX2" fmla="*/ 0 w 31932"/>
                <a:gd name="connsiteY2" fmla="*/ 156 h 24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1932" h="2456">
                  <a:moveTo>
                    <a:pt x="31932" y="0"/>
                  </a:moveTo>
                  <a:cubicBezTo>
                    <a:pt x="26816" y="1594"/>
                    <a:pt x="21364" y="2456"/>
                    <a:pt x="15720" y="2456"/>
                  </a:cubicBezTo>
                  <a:cubicBezTo>
                    <a:pt x="10077" y="2456"/>
                    <a:pt x="4973" y="1654"/>
                    <a:pt x="0" y="156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381" name="Gráfico 4">
            <a:extLst>
              <a:ext uri="{FF2B5EF4-FFF2-40B4-BE49-F238E27FC236}">
                <a16:creationId xmlns:a16="http://schemas.microsoft.com/office/drawing/2014/main" id="{14CA73D6-792B-B2E7-CF22-7E3FE1D68E86}"/>
              </a:ext>
            </a:extLst>
          </p:cNvPr>
          <p:cNvGrpSpPr/>
          <p:nvPr/>
        </p:nvGrpSpPr>
        <p:grpSpPr>
          <a:xfrm>
            <a:off x="3822357" y="1007774"/>
            <a:ext cx="367439" cy="313790"/>
            <a:chOff x="3822357" y="1007774"/>
            <a:chExt cx="367439" cy="313790"/>
          </a:xfrm>
          <a:noFill/>
        </p:grpSpPr>
        <p:sp>
          <p:nvSpPr>
            <p:cNvPr id="382" name="Forma livre: Forma 381">
              <a:extLst>
                <a:ext uri="{FF2B5EF4-FFF2-40B4-BE49-F238E27FC236}">
                  <a16:creationId xmlns:a16="http://schemas.microsoft.com/office/drawing/2014/main" id="{E72DE8ED-C8C7-BB86-D096-5489B2EC14DB}"/>
                </a:ext>
              </a:extLst>
            </p:cNvPr>
            <p:cNvSpPr/>
            <p:nvPr/>
          </p:nvSpPr>
          <p:spPr>
            <a:xfrm>
              <a:off x="3986861" y="1147882"/>
              <a:ext cx="1193" cy="34600"/>
            </a:xfrm>
            <a:custGeom>
              <a:avLst/>
              <a:gdLst>
                <a:gd name="connsiteX0" fmla="*/ 0 w 1193"/>
                <a:gd name="connsiteY0" fmla="*/ 0 h 34600"/>
                <a:gd name="connsiteX1" fmla="*/ 0 w 1193"/>
                <a:gd name="connsiteY1" fmla="*/ 34600 h 34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93" h="34600">
                  <a:moveTo>
                    <a:pt x="0" y="0"/>
                  </a:moveTo>
                  <a:lnTo>
                    <a:pt x="0" y="3460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83" name="Forma livre: Forma 382">
              <a:extLst>
                <a:ext uri="{FF2B5EF4-FFF2-40B4-BE49-F238E27FC236}">
                  <a16:creationId xmlns:a16="http://schemas.microsoft.com/office/drawing/2014/main" id="{8DBD45AB-7656-8EC3-8100-B35C56DF8494}"/>
                </a:ext>
              </a:extLst>
            </p:cNvPr>
            <p:cNvSpPr/>
            <p:nvPr/>
          </p:nvSpPr>
          <p:spPr>
            <a:xfrm>
              <a:off x="3930419" y="1034055"/>
              <a:ext cx="112883" cy="85587"/>
            </a:xfrm>
            <a:custGeom>
              <a:avLst/>
              <a:gdLst>
                <a:gd name="connsiteX0" fmla="*/ 34935 w 112883"/>
                <a:gd name="connsiteY0" fmla="*/ 85588 h 85587"/>
                <a:gd name="connsiteX1" fmla="*/ 0 w 112883"/>
                <a:gd name="connsiteY1" fmla="*/ 85588 h 85587"/>
                <a:gd name="connsiteX2" fmla="*/ 56478 w 112883"/>
                <a:gd name="connsiteY2" fmla="*/ 0 h 85587"/>
                <a:gd name="connsiteX3" fmla="*/ 112884 w 112883"/>
                <a:gd name="connsiteY3" fmla="*/ 85588 h 85587"/>
                <a:gd name="connsiteX4" fmla="*/ 59521 w 112883"/>
                <a:gd name="connsiteY4" fmla="*/ 85588 h 855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2883" h="85587">
                  <a:moveTo>
                    <a:pt x="34935" y="85588"/>
                  </a:moveTo>
                  <a:lnTo>
                    <a:pt x="0" y="85588"/>
                  </a:lnTo>
                  <a:lnTo>
                    <a:pt x="56478" y="0"/>
                  </a:lnTo>
                  <a:lnTo>
                    <a:pt x="112884" y="85588"/>
                  </a:lnTo>
                  <a:lnTo>
                    <a:pt x="59521" y="85588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84" name="Forma livre: Forma 383">
              <a:extLst>
                <a:ext uri="{FF2B5EF4-FFF2-40B4-BE49-F238E27FC236}">
                  <a16:creationId xmlns:a16="http://schemas.microsoft.com/office/drawing/2014/main" id="{28B1A80A-8903-9AB6-8A65-78C112FDAAC0}"/>
                </a:ext>
              </a:extLst>
            </p:cNvPr>
            <p:cNvSpPr/>
            <p:nvPr/>
          </p:nvSpPr>
          <p:spPr>
            <a:xfrm>
              <a:off x="3986909" y="1007774"/>
              <a:ext cx="60905" cy="26400"/>
            </a:xfrm>
            <a:custGeom>
              <a:avLst/>
              <a:gdLst>
                <a:gd name="connsiteX0" fmla="*/ 0 w 60905"/>
                <a:gd name="connsiteY0" fmla="*/ 26401 h 26400"/>
                <a:gd name="connsiteX1" fmla="*/ 0 w 60905"/>
                <a:gd name="connsiteY1" fmla="*/ 0 h 26400"/>
                <a:gd name="connsiteX2" fmla="*/ 31975 w 60905"/>
                <a:gd name="connsiteY2" fmla="*/ 12 h 26400"/>
                <a:gd name="connsiteX3" fmla="*/ 31975 w 60905"/>
                <a:gd name="connsiteY3" fmla="*/ 14680 h 26400"/>
                <a:gd name="connsiteX4" fmla="*/ 60906 w 60905"/>
                <a:gd name="connsiteY4" fmla="*/ 14680 h 26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05" h="26400">
                  <a:moveTo>
                    <a:pt x="0" y="26401"/>
                  </a:moveTo>
                  <a:lnTo>
                    <a:pt x="0" y="0"/>
                  </a:lnTo>
                  <a:lnTo>
                    <a:pt x="31975" y="12"/>
                  </a:lnTo>
                  <a:lnTo>
                    <a:pt x="31975" y="14680"/>
                  </a:lnTo>
                  <a:lnTo>
                    <a:pt x="60906" y="14680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385" name="Gráfico 4">
              <a:extLst>
                <a:ext uri="{FF2B5EF4-FFF2-40B4-BE49-F238E27FC236}">
                  <a16:creationId xmlns:a16="http://schemas.microsoft.com/office/drawing/2014/main" id="{2A40196C-FDC3-33CC-8C47-3F28F11EA3AF}"/>
                </a:ext>
              </a:extLst>
            </p:cNvPr>
            <p:cNvGrpSpPr/>
            <p:nvPr/>
          </p:nvGrpSpPr>
          <p:grpSpPr>
            <a:xfrm>
              <a:off x="3953228" y="1120311"/>
              <a:ext cx="67279" cy="78080"/>
              <a:chOff x="3953228" y="1120311"/>
              <a:chExt cx="67279" cy="78080"/>
            </a:xfrm>
          </p:grpSpPr>
          <p:sp>
            <p:nvSpPr>
              <p:cNvPr id="386" name="Forma livre: Forma 385">
                <a:extLst>
                  <a:ext uri="{FF2B5EF4-FFF2-40B4-BE49-F238E27FC236}">
                    <a16:creationId xmlns:a16="http://schemas.microsoft.com/office/drawing/2014/main" id="{93FB6B97-B2B3-089E-D024-A5CD8120FA2B}"/>
                  </a:ext>
                </a:extLst>
              </p:cNvPr>
              <p:cNvSpPr/>
              <p:nvPr/>
            </p:nvSpPr>
            <p:spPr>
              <a:xfrm>
                <a:off x="3953228" y="1120311"/>
                <a:ext cx="1193" cy="78080"/>
              </a:xfrm>
              <a:custGeom>
                <a:avLst/>
                <a:gdLst>
                  <a:gd name="connsiteX0" fmla="*/ 0 w 1193"/>
                  <a:gd name="connsiteY0" fmla="*/ 0 h 78080"/>
                  <a:gd name="connsiteX1" fmla="*/ 0 w 1193"/>
                  <a:gd name="connsiteY1" fmla="*/ 78081 h 780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3" h="78080">
                    <a:moveTo>
                      <a:pt x="0" y="0"/>
                    </a:moveTo>
                    <a:lnTo>
                      <a:pt x="0" y="78081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87" name="Forma livre: Forma 386">
                <a:extLst>
                  <a:ext uri="{FF2B5EF4-FFF2-40B4-BE49-F238E27FC236}">
                    <a16:creationId xmlns:a16="http://schemas.microsoft.com/office/drawing/2014/main" id="{021A2550-EA95-26D2-E40A-2D5391C57ABB}"/>
                  </a:ext>
                </a:extLst>
              </p:cNvPr>
              <p:cNvSpPr/>
              <p:nvPr/>
            </p:nvSpPr>
            <p:spPr>
              <a:xfrm>
                <a:off x="4020507" y="1120311"/>
                <a:ext cx="1193" cy="78080"/>
              </a:xfrm>
              <a:custGeom>
                <a:avLst/>
                <a:gdLst>
                  <a:gd name="connsiteX0" fmla="*/ 0 w 1193"/>
                  <a:gd name="connsiteY0" fmla="*/ 0 h 78080"/>
                  <a:gd name="connsiteX1" fmla="*/ 0 w 1193"/>
                  <a:gd name="connsiteY1" fmla="*/ 78081 h 780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3" h="78080">
                    <a:moveTo>
                      <a:pt x="0" y="0"/>
                    </a:moveTo>
                    <a:lnTo>
                      <a:pt x="0" y="78081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388" name="Gráfico 4">
              <a:extLst>
                <a:ext uri="{FF2B5EF4-FFF2-40B4-BE49-F238E27FC236}">
                  <a16:creationId xmlns:a16="http://schemas.microsoft.com/office/drawing/2014/main" id="{17DBB380-D916-1FB7-182E-7653F14FFE5D}"/>
                </a:ext>
              </a:extLst>
            </p:cNvPr>
            <p:cNvGrpSpPr/>
            <p:nvPr/>
          </p:nvGrpSpPr>
          <p:grpSpPr>
            <a:xfrm>
              <a:off x="3844246" y="1130659"/>
              <a:ext cx="285229" cy="187956"/>
              <a:chOff x="3844246" y="1130659"/>
              <a:chExt cx="285229" cy="187956"/>
            </a:xfrm>
          </p:grpSpPr>
          <p:grpSp>
            <p:nvGrpSpPr>
              <p:cNvPr id="389" name="Gráfico 4">
                <a:extLst>
                  <a:ext uri="{FF2B5EF4-FFF2-40B4-BE49-F238E27FC236}">
                    <a16:creationId xmlns:a16="http://schemas.microsoft.com/office/drawing/2014/main" id="{6F4A2163-77CB-E007-2092-6796BA30FAFC}"/>
                  </a:ext>
                </a:extLst>
              </p:cNvPr>
              <p:cNvGrpSpPr/>
              <p:nvPr/>
            </p:nvGrpSpPr>
            <p:grpSpPr>
              <a:xfrm>
                <a:off x="3844246" y="1130659"/>
                <a:ext cx="58709" cy="169421"/>
                <a:chOff x="3844246" y="1130659"/>
                <a:chExt cx="58709" cy="169421"/>
              </a:xfrm>
            </p:grpSpPr>
            <p:sp>
              <p:nvSpPr>
                <p:cNvPr id="390" name="Forma livre: Forma 389">
                  <a:extLst>
                    <a:ext uri="{FF2B5EF4-FFF2-40B4-BE49-F238E27FC236}">
                      <a16:creationId xmlns:a16="http://schemas.microsoft.com/office/drawing/2014/main" id="{62A6FC79-B319-6411-8C4A-C75DA6107BCD}"/>
                    </a:ext>
                  </a:extLst>
                </p:cNvPr>
                <p:cNvSpPr/>
                <p:nvPr/>
              </p:nvSpPr>
              <p:spPr>
                <a:xfrm>
                  <a:off x="3873607" y="1186767"/>
                  <a:ext cx="1193" cy="36032"/>
                </a:xfrm>
                <a:custGeom>
                  <a:avLst/>
                  <a:gdLst>
                    <a:gd name="connsiteX0" fmla="*/ 0 w 1193"/>
                    <a:gd name="connsiteY0" fmla="*/ 0 h 36032"/>
                    <a:gd name="connsiteX1" fmla="*/ 0 w 1193"/>
                    <a:gd name="connsiteY1" fmla="*/ 36033 h 3603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193" h="36032">
                      <a:moveTo>
                        <a:pt x="0" y="0"/>
                      </a:moveTo>
                      <a:lnTo>
                        <a:pt x="0" y="36033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391" name="Forma livre: Forma 390">
                  <a:extLst>
                    <a:ext uri="{FF2B5EF4-FFF2-40B4-BE49-F238E27FC236}">
                      <a16:creationId xmlns:a16="http://schemas.microsoft.com/office/drawing/2014/main" id="{29DD54BA-8EBD-FAEA-9FAD-C361895109CB}"/>
                    </a:ext>
                  </a:extLst>
                </p:cNvPr>
                <p:cNvSpPr/>
                <p:nvPr/>
              </p:nvSpPr>
              <p:spPr>
                <a:xfrm>
                  <a:off x="3873607" y="1242863"/>
                  <a:ext cx="1193" cy="36032"/>
                </a:xfrm>
                <a:custGeom>
                  <a:avLst/>
                  <a:gdLst>
                    <a:gd name="connsiteX0" fmla="*/ 0 w 1193"/>
                    <a:gd name="connsiteY0" fmla="*/ 0 h 36032"/>
                    <a:gd name="connsiteX1" fmla="*/ 0 w 1193"/>
                    <a:gd name="connsiteY1" fmla="*/ 36033 h 3603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193" h="36032">
                      <a:moveTo>
                        <a:pt x="0" y="0"/>
                      </a:moveTo>
                      <a:lnTo>
                        <a:pt x="0" y="36033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392" name="Forma livre: Forma 391">
                  <a:extLst>
                    <a:ext uri="{FF2B5EF4-FFF2-40B4-BE49-F238E27FC236}">
                      <a16:creationId xmlns:a16="http://schemas.microsoft.com/office/drawing/2014/main" id="{3506E58D-ED51-27E6-7A78-8683C1AC93DF}"/>
                    </a:ext>
                  </a:extLst>
                </p:cNvPr>
                <p:cNvSpPr/>
                <p:nvPr/>
              </p:nvSpPr>
              <p:spPr>
                <a:xfrm>
                  <a:off x="3873607" y="1130659"/>
                  <a:ext cx="1193" cy="27821"/>
                </a:xfrm>
                <a:custGeom>
                  <a:avLst/>
                  <a:gdLst>
                    <a:gd name="connsiteX0" fmla="*/ 0 w 1193"/>
                    <a:gd name="connsiteY0" fmla="*/ 27821 h 27821"/>
                    <a:gd name="connsiteX1" fmla="*/ 0 w 1193"/>
                    <a:gd name="connsiteY1" fmla="*/ 0 h 2782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193" h="27821">
                      <a:moveTo>
                        <a:pt x="0" y="27821"/>
                      </a:moveTo>
                      <a:lnTo>
                        <a:pt x="0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grpSp>
              <p:nvGrpSpPr>
                <p:cNvPr id="393" name="Gráfico 4">
                  <a:extLst>
                    <a:ext uri="{FF2B5EF4-FFF2-40B4-BE49-F238E27FC236}">
                      <a16:creationId xmlns:a16="http://schemas.microsoft.com/office/drawing/2014/main" id="{B27E86B8-D10F-710D-7257-AB988C56AB48}"/>
                    </a:ext>
                  </a:extLst>
                </p:cNvPr>
                <p:cNvGrpSpPr/>
                <p:nvPr/>
              </p:nvGrpSpPr>
              <p:grpSpPr>
                <a:xfrm>
                  <a:off x="3844246" y="1130659"/>
                  <a:ext cx="58709" cy="169421"/>
                  <a:chOff x="3844246" y="1130659"/>
                  <a:chExt cx="58709" cy="169421"/>
                </a:xfrm>
              </p:grpSpPr>
              <p:sp>
                <p:nvSpPr>
                  <p:cNvPr id="394" name="Forma livre: Forma 393">
                    <a:extLst>
                      <a:ext uri="{FF2B5EF4-FFF2-40B4-BE49-F238E27FC236}">
                        <a16:creationId xmlns:a16="http://schemas.microsoft.com/office/drawing/2014/main" id="{1671A008-CA4F-00D6-43D0-F35BBB99A170}"/>
                      </a:ext>
                    </a:extLst>
                  </p:cNvPr>
                  <p:cNvSpPr/>
                  <p:nvPr/>
                </p:nvSpPr>
                <p:spPr>
                  <a:xfrm>
                    <a:off x="3844246" y="1130659"/>
                    <a:ext cx="1193" cy="169421"/>
                  </a:xfrm>
                  <a:custGeom>
                    <a:avLst/>
                    <a:gdLst>
                      <a:gd name="connsiteX0" fmla="*/ 0 w 1193"/>
                      <a:gd name="connsiteY0" fmla="*/ 169421 h 169421"/>
                      <a:gd name="connsiteX1" fmla="*/ 0 w 1193"/>
                      <a:gd name="connsiteY1" fmla="*/ 0 h 16942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193" h="169421">
                        <a:moveTo>
                          <a:pt x="0" y="169421"/>
                        </a:moveTo>
                        <a:lnTo>
                          <a:pt x="0" y="0"/>
                        </a:lnTo>
                      </a:path>
                    </a:pathLst>
                  </a:custGeom>
                  <a:ln w="6350" cap="flat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395" name="Forma livre: Forma 394">
                    <a:extLst>
                      <a:ext uri="{FF2B5EF4-FFF2-40B4-BE49-F238E27FC236}">
                        <a16:creationId xmlns:a16="http://schemas.microsoft.com/office/drawing/2014/main" id="{9AD1D937-324D-DEC1-3A9C-8B3F91C75C35}"/>
                      </a:ext>
                    </a:extLst>
                  </p:cNvPr>
                  <p:cNvSpPr/>
                  <p:nvPr/>
                </p:nvSpPr>
                <p:spPr>
                  <a:xfrm>
                    <a:off x="3902956" y="1130659"/>
                    <a:ext cx="1193" cy="148236"/>
                  </a:xfrm>
                  <a:custGeom>
                    <a:avLst/>
                    <a:gdLst>
                      <a:gd name="connsiteX0" fmla="*/ 0 w 1193"/>
                      <a:gd name="connsiteY0" fmla="*/ 148236 h 148236"/>
                      <a:gd name="connsiteX1" fmla="*/ 0 w 1193"/>
                      <a:gd name="connsiteY1" fmla="*/ 0 h 14823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193" h="148236">
                        <a:moveTo>
                          <a:pt x="0" y="148236"/>
                        </a:moveTo>
                        <a:lnTo>
                          <a:pt x="0" y="0"/>
                        </a:lnTo>
                      </a:path>
                    </a:pathLst>
                  </a:custGeom>
                  <a:ln w="6350" cap="flat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  <p:sp>
              <p:nvSpPr>
                <p:cNvPr id="396" name="Forma livre: Forma 395">
                  <a:extLst>
                    <a:ext uri="{FF2B5EF4-FFF2-40B4-BE49-F238E27FC236}">
                      <a16:creationId xmlns:a16="http://schemas.microsoft.com/office/drawing/2014/main" id="{3E1D937B-1CD2-DD97-E281-E90E4CDDE000}"/>
                    </a:ext>
                  </a:extLst>
                </p:cNvPr>
                <p:cNvSpPr/>
                <p:nvPr/>
              </p:nvSpPr>
              <p:spPr>
                <a:xfrm>
                  <a:off x="3844760" y="1158815"/>
                  <a:ext cx="57695" cy="1193"/>
                </a:xfrm>
                <a:custGeom>
                  <a:avLst/>
                  <a:gdLst>
                    <a:gd name="connsiteX0" fmla="*/ 0 w 57695"/>
                    <a:gd name="connsiteY0" fmla="*/ 0 h 1193"/>
                    <a:gd name="connsiteX1" fmla="*/ 57695 w 57695"/>
                    <a:gd name="connsiteY1" fmla="*/ 0 h 119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57695" h="1193">
                      <a:moveTo>
                        <a:pt x="0" y="0"/>
                      </a:moveTo>
                      <a:lnTo>
                        <a:pt x="57695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397" name="Gráfico 4">
                <a:extLst>
                  <a:ext uri="{FF2B5EF4-FFF2-40B4-BE49-F238E27FC236}">
                    <a16:creationId xmlns:a16="http://schemas.microsoft.com/office/drawing/2014/main" id="{A00837C5-718D-CFE5-C20A-841CF5E14B33}"/>
                  </a:ext>
                </a:extLst>
              </p:cNvPr>
              <p:cNvGrpSpPr/>
              <p:nvPr/>
            </p:nvGrpSpPr>
            <p:grpSpPr>
              <a:xfrm>
                <a:off x="4070766" y="1130659"/>
                <a:ext cx="58709" cy="187956"/>
                <a:chOff x="4070766" y="1130659"/>
                <a:chExt cx="58709" cy="187956"/>
              </a:xfrm>
            </p:grpSpPr>
            <p:sp>
              <p:nvSpPr>
                <p:cNvPr id="398" name="Forma livre: Forma 397">
                  <a:extLst>
                    <a:ext uri="{FF2B5EF4-FFF2-40B4-BE49-F238E27FC236}">
                      <a16:creationId xmlns:a16="http://schemas.microsoft.com/office/drawing/2014/main" id="{C9D05852-0A13-A9A3-5BB7-A39FF71F26CA}"/>
                    </a:ext>
                  </a:extLst>
                </p:cNvPr>
                <p:cNvSpPr/>
                <p:nvPr/>
              </p:nvSpPr>
              <p:spPr>
                <a:xfrm>
                  <a:off x="4100127" y="1186767"/>
                  <a:ext cx="1193" cy="36032"/>
                </a:xfrm>
                <a:custGeom>
                  <a:avLst/>
                  <a:gdLst>
                    <a:gd name="connsiteX0" fmla="*/ 0 w 1193"/>
                    <a:gd name="connsiteY0" fmla="*/ 0 h 36032"/>
                    <a:gd name="connsiteX1" fmla="*/ 0 w 1193"/>
                    <a:gd name="connsiteY1" fmla="*/ 36033 h 3603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193" h="36032">
                      <a:moveTo>
                        <a:pt x="0" y="0"/>
                      </a:moveTo>
                      <a:lnTo>
                        <a:pt x="0" y="36033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399" name="Forma livre: Forma 398">
                  <a:extLst>
                    <a:ext uri="{FF2B5EF4-FFF2-40B4-BE49-F238E27FC236}">
                      <a16:creationId xmlns:a16="http://schemas.microsoft.com/office/drawing/2014/main" id="{935BAF39-DE80-BEBE-16E7-9548ABD9BFE5}"/>
                    </a:ext>
                  </a:extLst>
                </p:cNvPr>
                <p:cNvSpPr/>
                <p:nvPr/>
              </p:nvSpPr>
              <p:spPr>
                <a:xfrm>
                  <a:off x="4100127" y="1242863"/>
                  <a:ext cx="1193" cy="36032"/>
                </a:xfrm>
                <a:custGeom>
                  <a:avLst/>
                  <a:gdLst>
                    <a:gd name="connsiteX0" fmla="*/ 0 w 1193"/>
                    <a:gd name="connsiteY0" fmla="*/ 0 h 36032"/>
                    <a:gd name="connsiteX1" fmla="*/ 0 w 1193"/>
                    <a:gd name="connsiteY1" fmla="*/ 36033 h 3603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193" h="36032">
                      <a:moveTo>
                        <a:pt x="0" y="0"/>
                      </a:moveTo>
                      <a:lnTo>
                        <a:pt x="0" y="36033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400" name="Forma livre: Forma 399">
                  <a:extLst>
                    <a:ext uri="{FF2B5EF4-FFF2-40B4-BE49-F238E27FC236}">
                      <a16:creationId xmlns:a16="http://schemas.microsoft.com/office/drawing/2014/main" id="{D3E81E83-6D70-CFA0-C38A-4556FDF3C769}"/>
                    </a:ext>
                  </a:extLst>
                </p:cNvPr>
                <p:cNvSpPr/>
                <p:nvPr/>
              </p:nvSpPr>
              <p:spPr>
                <a:xfrm>
                  <a:off x="4100127" y="1130659"/>
                  <a:ext cx="1193" cy="27821"/>
                </a:xfrm>
                <a:custGeom>
                  <a:avLst/>
                  <a:gdLst>
                    <a:gd name="connsiteX0" fmla="*/ 0 w 1193"/>
                    <a:gd name="connsiteY0" fmla="*/ 27821 h 27821"/>
                    <a:gd name="connsiteX1" fmla="*/ 0 w 1193"/>
                    <a:gd name="connsiteY1" fmla="*/ 0 h 2782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193" h="27821">
                      <a:moveTo>
                        <a:pt x="0" y="27821"/>
                      </a:moveTo>
                      <a:lnTo>
                        <a:pt x="0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grpSp>
              <p:nvGrpSpPr>
                <p:cNvPr id="401" name="Gráfico 4">
                  <a:extLst>
                    <a:ext uri="{FF2B5EF4-FFF2-40B4-BE49-F238E27FC236}">
                      <a16:creationId xmlns:a16="http://schemas.microsoft.com/office/drawing/2014/main" id="{00386509-B32B-EA5F-9694-1CE6CAD58503}"/>
                    </a:ext>
                  </a:extLst>
                </p:cNvPr>
                <p:cNvGrpSpPr/>
                <p:nvPr/>
              </p:nvGrpSpPr>
              <p:grpSpPr>
                <a:xfrm>
                  <a:off x="4070766" y="1130659"/>
                  <a:ext cx="58709" cy="187956"/>
                  <a:chOff x="4070766" y="1130659"/>
                  <a:chExt cx="58709" cy="187956"/>
                </a:xfrm>
              </p:grpSpPr>
              <p:sp>
                <p:nvSpPr>
                  <p:cNvPr id="402" name="Forma livre: Forma 401">
                    <a:extLst>
                      <a:ext uri="{FF2B5EF4-FFF2-40B4-BE49-F238E27FC236}">
                        <a16:creationId xmlns:a16="http://schemas.microsoft.com/office/drawing/2014/main" id="{FFC4188C-17C7-87F5-BF08-8EA3BFD2B9B0}"/>
                      </a:ext>
                    </a:extLst>
                  </p:cNvPr>
                  <p:cNvSpPr/>
                  <p:nvPr/>
                </p:nvSpPr>
                <p:spPr>
                  <a:xfrm>
                    <a:off x="4129476" y="1130659"/>
                    <a:ext cx="1193" cy="187956"/>
                  </a:xfrm>
                  <a:custGeom>
                    <a:avLst/>
                    <a:gdLst>
                      <a:gd name="connsiteX0" fmla="*/ 0 w 1193"/>
                      <a:gd name="connsiteY0" fmla="*/ 187957 h 187956"/>
                      <a:gd name="connsiteX1" fmla="*/ 0 w 1193"/>
                      <a:gd name="connsiteY1" fmla="*/ 0 h 18795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193" h="187956">
                        <a:moveTo>
                          <a:pt x="0" y="187957"/>
                        </a:moveTo>
                        <a:lnTo>
                          <a:pt x="0" y="0"/>
                        </a:lnTo>
                      </a:path>
                    </a:pathLst>
                  </a:custGeom>
                  <a:ln w="6350" cap="flat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403" name="Forma livre: Forma 402">
                    <a:extLst>
                      <a:ext uri="{FF2B5EF4-FFF2-40B4-BE49-F238E27FC236}">
                        <a16:creationId xmlns:a16="http://schemas.microsoft.com/office/drawing/2014/main" id="{FD896D13-FC85-89FB-3CF6-ECB606054E74}"/>
                      </a:ext>
                    </a:extLst>
                  </p:cNvPr>
                  <p:cNvSpPr/>
                  <p:nvPr/>
                </p:nvSpPr>
                <p:spPr>
                  <a:xfrm>
                    <a:off x="4070766" y="1130659"/>
                    <a:ext cx="1193" cy="148236"/>
                  </a:xfrm>
                  <a:custGeom>
                    <a:avLst/>
                    <a:gdLst>
                      <a:gd name="connsiteX0" fmla="*/ 0 w 1193"/>
                      <a:gd name="connsiteY0" fmla="*/ 148236 h 148236"/>
                      <a:gd name="connsiteX1" fmla="*/ 0 w 1193"/>
                      <a:gd name="connsiteY1" fmla="*/ 0 h 14823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193" h="148236">
                        <a:moveTo>
                          <a:pt x="0" y="148236"/>
                        </a:moveTo>
                        <a:lnTo>
                          <a:pt x="0" y="0"/>
                        </a:lnTo>
                      </a:path>
                    </a:pathLst>
                  </a:custGeom>
                  <a:ln w="6350" cap="flat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  <p:sp>
              <p:nvSpPr>
                <p:cNvPr id="404" name="Forma livre: Forma 403">
                  <a:extLst>
                    <a:ext uri="{FF2B5EF4-FFF2-40B4-BE49-F238E27FC236}">
                      <a16:creationId xmlns:a16="http://schemas.microsoft.com/office/drawing/2014/main" id="{9ED03F23-0F25-4B1D-D6DA-89D4D66F586D}"/>
                    </a:ext>
                  </a:extLst>
                </p:cNvPr>
                <p:cNvSpPr/>
                <p:nvPr/>
              </p:nvSpPr>
              <p:spPr>
                <a:xfrm>
                  <a:off x="4071279" y="1158815"/>
                  <a:ext cx="57695" cy="1193"/>
                </a:xfrm>
                <a:custGeom>
                  <a:avLst/>
                  <a:gdLst>
                    <a:gd name="connsiteX0" fmla="*/ 57695 w 57695"/>
                    <a:gd name="connsiteY0" fmla="*/ 0 h 1193"/>
                    <a:gd name="connsiteX1" fmla="*/ 0 w 57695"/>
                    <a:gd name="connsiteY1" fmla="*/ 0 h 119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57695" h="1193">
                      <a:moveTo>
                        <a:pt x="57695" y="0"/>
                      </a:moveTo>
                      <a:lnTo>
                        <a:pt x="0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sp>
          <p:nvSpPr>
            <p:cNvPr id="405" name="Forma livre: Forma 404">
              <a:extLst>
                <a:ext uri="{FF2B5EF4-FFF2-40B4-BE49-F238E27FC236}">
                  <a16:creationId xmlns:a16="http://schemas.microsoft.com/office/drawing/2014/main" id="{518FA1A5-E25E-0796-2954-69772C8BA8F7}"/>
                </a:ext>
              </a:extLst>
            </p:cNvPr>
            <p:cNvSpPr/>
            <p:nvPr/>
          </p:nvSpPr>
          <p:spPr>
            <a:xfrm>
              <a:off x="4173302" y="1319655"/>
              <a:ext cx="16494" cy="1193"/>
            </a:xfrm>
            <a:custGeom>
              <a:avLst/>
              <a:gdLst>
                <a:gd name="connsiteX0" fmla="*/ 0 w 16494"/>
                <a:gd name="connsiteY0" fmla="*/ 0 h 1193"/>
                <a:gd name="connsiteX1" fmla="*/ 16495 w 16494"/>
                <a:gd name="connsiteY1" fmla="*/ 0 h 11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6494" h="1193">
                  <a:moveTo>
                    <a:pt x="0" y="0"/>
                  </a:moveTo>
                  <a:lnTo>
                    <a:pt x="16495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06" name="Forma livre: Forma 405">
              <a:extLst>
                <a:ext uri="{FF2B5EF4-FFF2-40B4-BE49-F238E27FC236}">
                  <a16:creationId xmlns:a16="http://schemas.microsoft.com/office/drawing/2014/main" id="{C53D8BB8-00DF-D907-465C-294308C4AD72}"/>
                </a:ext>
              </a:extLst>
            </p:cNvPr>
            <p:cNvSpPr/>
            <p:nvPr/>
          </p:nvSpPr>
          <p:spPr>
            <a:xfrm>
              <a:off x="3822357" y="1319655"/>
              <a:ext cx="328530" cy="1193"/>
            </a:xfrm>
            <a:custGeom>
              <a:avLst/>
              <a:gdLst>
                <a:gd name="connsiteX0" fmla="*/ 0 w 328530"/>
                <a:gd name="connsiteY0" fmla="*/ 0 h 1193"/>
                <a:gd name="connsiteX1" fmla="*/ 328531 w 328530"/>
                <a:gd name="connsiteY1" fmla="*/ 0 h 11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28530" h="1193">
                  <a:moveTo>
                    <a:pt x="0" y="0"/>
                  </a:moveTo>
                  <a:lnTo>
                    <a:pt x="328531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07" name="Forma livre: Forma 406">
              <a:extLst>
                <a:ext uri="{FF2B5EF4-FFF2-40B4-BE49-F238E27FC236}">
                  <a16:creationId xmlns:a16="http://schemas.microsoft.com/office/drawing/2014/main" id="{B5A7359D-3295-B90C-22E1-BA4EBDD3684F}"/>
                </a:ext>
              </a:extLst>
            </p:cNvPr>
            <p:cNvSpPr/>
            <p:nvPr/>
          </p:nvSpPr>
          <p:spPr>
            <a:xfrm>
              <a:off x="3905725" y="1217644"/>
              <a:ext cx="162272" cy="22044"/>
            </a:xfrm>
            <a:custGeom>
              <a:avLst/>
              <a:gdLst>
                <a:gd name="connsiteX0" fmla="*/ 0 w 162272"/>
                <a:gd name="connsiteY0" fmla="*/ 0 h 22044"/>
                <a:gd name="connsiteX1" fmla="*/ 23178 w 162272"/>
                <a:gd name="connsiteY1" fmla="*/ 0 h 22044"/>
                <a:gd name="connsiteX2" fmla="*/ 23178 w 162272"/>
                <a:gd name="connsiteY2" fmla="*/ 22044 h 22044"/>
                <a:gd name="connsiteX3" fmla="*/ 46369 w 162272"/>
                <a:gd name="connsiteY3" fmla="*/ 22044 h 22044"/>
                <a:gd name="connsiteX4" fmla="*/ 46369 w 162272"/>
                <a:gd name="connsiteY4" fmla="*/ 0 h 22044"/>
                <a:gd name="connsiteX5" fmla="*/ 69547 w 162272"/>
                <a:gd name="connsiteY5" fmla="*/ 0 h 22044"/>
                <a:gd name="connsiteX6" fmla="*/ 69547 w 162272"/>
                <a:gd name="connsiteY6" fmla="*/ 22044 h 22044"/>
                <a:gd name="connsiteX7" fmla="*/ 92725 w 162272"/>
                <a:gd name="connsiteY7" fmla="*/ 22044 h 22044"/>
                <a:gd name="connsiteX8" fmla="*/ 92725 w 162272"/>
                <a:gd name="connsiteY8" fmla="*/ 0 h 22044"/>
                <a:gd name="connsiteX9" fmla="*/ 115915 w 162272"/>
                <a:gd name="connsiteY9" fmla="*/ 0 h 22044"/>
                <a:gd name="connsiteX10" fmla="*/ 115915 w 162272"/>
                <a:gd name="connsiteY10" fmla="*/ 22044 h 22044"/>
                <a:gd name="connsiteX11" fmla="*/ 139094 w 162272"/>
                <a:gd name="connsiteY11" fmla="*/ 22044 h 22044"/>
                <a:gd name="connsiteX12" fmla="*/ 139094 w 162272"/>
                <a:gd name="connsiteY12" fmla="*/ 0 h 22044"/>
                <a:gd name="connsiteX13" fmla="*/ 162272 w 162272"/>
                <a:gd name="connsiteY13" fmla="*/ 0 h 220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62272" h="22044">
                  <a:moveTo>
                    <a:pt x="0" y="0"/>
                  </a:moveTo>
                  <a:lnTo>
                    <a:pt x="23178" y="0"/>
                  </a:lnTo>
                  <a:lnTo>
                    <a:pt x="23178" y="22044"/>
                  </a:lnTo>
                  <a:lnTo>
                    <a:pt x="46369" y="22044"/>
                  </a:lnTo>
                  <a:lnTo>
                    <a:pt x="46369" y="0"/>
                  </a:lnTo>
                  <a:lnTo>
                    <a:pt x="69547" y="0"/>
                  </a:lnTo>
                  <a:lnTo>
                    <a:pt x="69547" y="22044"/>
                  </a:lnTo>
                  <a:lnTo>
                    <a:pt x="92725" y="22044"/>
                  </a:lnTo>
                  <a:lnTo>
                    <a:pt x="92725" y="0"/>
                  </a:lnTo>
                  <a:lnTo>
                    <a:pt x="115915" y="0"/>
                  </a:lnTo>
                  <a:lnTo>
                    <a:pt x="115915" y="22044"/>
                  </a:lnTo>
                  <a:lnTo>
                    <a:pt x="139094" y="22044"/>
                  </a:lnTo>
                  <a:lnTo>
                    <a:pt x="139094" y="0"/>
                  </a:lnTo>
                  <a:lnTo>
                    <a:pt x="162272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08" name="Forma livre: Forma 407">
              <a:extLst>
                <a:ext uri="{FF2B5EF4-FFF2-40B4-BE49-F238E27FC236}">
                  <a16:creationId xmlns:a16="http://schemas.microsoft.com/office/drawing/2014/main" id="{DC6D41FC-1A28-EA2B-1519-CE91F56BEB12}"/>
                </a:ext>
              </a:extLst>
            </p:cNvPr>
            <p:cNvSpPr/>
            <p:nvPr/>
          </p:nvSpPr>
          <p:spPr>
            <a:xfrm>
              <a:off x="3959016" y="1265862"/>
              <a:ext cx="55690" cy="55701"/>
            </a:xfrm>
            <a:custGeom>
              <a:avLst/>
              <a:gdLst>
                <a:gd name="connsiteX0" fmla="*/ 0 w 55690"/>
                <a:gd name="connsiteY0" fmla="*/ 55702 h 55701"/>
                <a:gd name="connsiteX1" fmla="*/ 0 w 55690"/>
                <a:gd name="connsiteY1" fmla="*/ 28645 h 55701"/>
                <a:gd name="connsiteX2" fmla="*/ 27845 w 55690"/>
                <a:gd name="connsiteY2" fmla="*/ 0 h 55701"/>
                <a:gd name="connsiteX3" fmla="*/ 55690 w 55690"/>
                <a:gd name="connsiteY3" fmla="*/ 28645 h 55701"/>
                <a:gd name="connsiteX4" fmla="*/ 55690 w 55690"/>
                <a:gd name="connsiteY4" fmla="*/ 55702 h 557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690" h="55701">
                  <a:moveTo>
                    <a:pt x="0" y="55702"/>
                  </a:moveTo>
                  <a:lnTo>
                    <a:pt x="0" y="28645"/>
                  </a:lnTo>
                  <a:cubicBezTo>
                    <a:pt x="0" y="12890"/>
                    <a:pt x="12532" y="0"/>
                    <a:pt x="27845" y="0"/>
                  </a:cubicBezTo>
                  <a:cubicBezTo>
                    <a:pt x="43158" y="0"/>
                    <a:pt x="55690" y="12890"/>
                    <a:pt x="55690" y="28645"/>
                  </a:cubicBezTo>
                  <a:lnTo>
                    <a:pt x="55690" y="55702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409" name="Gráfico 4">
            <a:extLst>
              <a:ext uri="{FF2B5EF4-FFF2-40B4-BE49-F238E27FC236}">
                <a16:creationId xmlns:a16="http://schemas.microsoft.com/office/drawing/2014/main" id="{9953EA2D-7685-4B3C-FA0B-05AA37271C02}"/>
              </a:ext>
            </a:extLst>
          </p:cNvPr>
          <p:cNvGrpSpPr/>
          <p:nvPr/>
        </p:nvGrpSpPr>
        <p:grpSpPr>
          <a:xfrm>
            <a:off x="2557838" y="1022621"/>
            <a:ext cx="408293" cy="298942"/>
            <a:chOff x="2557838" y="1022621"/>
            <a:chExt cx="408293" cy="298942"/>
          </a:xfrm>
          <a:noFill/>
        </p:grpSpPr>
        <p:sp>
          <p:nvSpPr>
            <p:cNvPr id="410" name="Forma livre: Forma 409">
              <a:extLst>
                <a:ext uri="{FF2B5EF4-FFF2-40B4-BE49-F238E27FC236}">
                  <a16:creationId xmlns:a16="http://schemas.microsoft.com/office/drawing/2014/main" id="{B921D3D8-CDBA-395C-1CFC-5C1DAD5A1040}"/>
                </a:ext>
              </a:extLst>
            </p:cNvPr>
            <p:cNvSpPr/>
            <p:nvPr/>
          </p:nvSpPr>
          <p:spPr>
            <a:xfrm>
              <a:off x="2949363" y="1321564"/>
              <a:ext cx="16769" cy="1193"/>
            </a:xfrm>
            <a:custGeom>
              <a:avLst/>
              <a:gdLst>
                <a:gd name="connsiteX0" fmla="*/ 0 w 16769"/>
                <a:gd name="connsiteY0" fmla="*/ 0 h 1193"/>
                <a:gd name="connsiteX1" fmla="*/ 16769 w 16769"/>
                <a:gd name="connsiteY1" fmla="*/ 0 h 11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6769" h="1193">
                  <a:moveTo>
                    <a:pt x="0" y="0"/>
                  </a:moveTo>
                  <a:lnTo>
                    <a:pt x="16769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11" name="Forma livre: Forma 410">
              <a:extLst>
                <a:ext uri="{FF2B5EF4-FFF2-40B4-BE49-F238E27FC236}">
                  <a16:creationId xmlns:a16="http://schemas.microsoft.com/office/drawing/2014/main" id="{D8F22E0E-0E2C-55DF-5654-FBFFD9F40E8D}"/>
                </a:ext>
              </a:extLst>
            </p:cNvPr>
            <p:cNvSpPr/>
            <p:nvPr/>
          </p:nvSpPr>
          <p:spPr>
            <a:xfrm>
              <a:off x="2557838" y="1321564"/>
              <a:ext cx="369158" cy="1193"/>
            </a:xfrm>
            <a:custGeom>
              <a:avLst/>
              <a:gdLst>
                <a:gd name="connsiteX0" fmla="*/ 0 w 369158"/>
                <a:gd name="connsiteY0" fmla="*/ 0 h 1193"/>
                <a:gd name="connsiteX1" fmla="*/ 369158 w 369158"/>
                <a:gd name="connsiteY1" fmla="*/ 0 h 11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69158" h="1193">
                  <a:moveTo>
                    <a:pt x="0" y="0"/>
                  </a:moveTo>
                  <a:lnTo>
                    <a:pt x="369158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412" name="Gráfico 4">
              <a:extLst>
                <a:ext uri="{FF2B5EF4-FFF2-40B4-BE49-F238E27FC236}">
                  <a16:creationId xmlns:a16="http://schemas.microsoft.com/office/drawing/2014/main" id="{F53C87A2-BD59-462F-C896-01C025F0284C}"/>
                </a:ext>
              </a:extLst>
            </p:cNvPr>
            <p:cNvGrpSpPr/>
            <p:nvPr/>
          </p:nvGrpSpPr>
          <p:grpSpPr>
            <a:xfrm>
              <a:off x="2584132" y="1158588"/>
              <a:ext cx="315712" cy="161890"/>
              <a:chOff x="2584132" y="1158588"/>
              <a:chExt cx="315712" cy="161890"/>
            </a:xfrm>
            <a:noFill/>
          </p:grpSpPr>
          <p:grpSp>
            <p:nvGrpSpPr>
              <p:cNvPr id="413" name="Gráfico 4">
                <a:extLst>
                  <a:ext uri="{FF2B5EF4-FFF2-40B4-BE49-F238E27FC236}">
                    <a16:creationId xmlns:a16="http://schemas.microsoft.com/office/drawing/2014/main" id="{FB0DB72B-F0B5-6923-1647-DF48709FBEA3}"/>
                  </a:ext>
                </a:extLst>
              </p:cNvPr>
              <p:cNvGrpSpPr/>
              <p:nvPr/>
            </p:nvGrpSpPr>
            <p:grpSpPr>
              <a:xfrm>
                <a:off x="2584132" y="1158588"/>
                <a:ext cx="39123" cy="161890"/>
                <a:chOff x="2584132" y="1158588"/>
                <a:chExt cx="39123" cy="161890"/>
              </a:xfrm>
              <a:noFill/>
            </p:grpSpPr>
            <p:sp>
              <p:nvSpPr>
                <p:cNvPr id="414" name="Forma livre: Forma 413">
                  <a:extLst>
                    <a:ext uri="{FF2B5EF4-FFF2-40B4-BE49-F238E27FC236}">
                      <a16:creationId xmlns:a16="http://schemas.microsoft.com/office/drawing/2014/main" id="{6819FDCF-894A-4C80-33BF-49DAD6D95A7F}"/>
                    </a:ext>
                  </a:extLst>
                </p:cNvPr>
                <p:cNvSpPr/>
                <p:nvPr/>
              </p:nvSpPr>
              <p:spPr>
                <a:xfrm>
                  <a:off x="2584132" y="1158588"/>
                  <a:ext cx="39123" cy="142471"/>
                </a:xfrm>
                <a:custGeom>
                  <a:avLst/>
                  <a:gdLst>
                    <a:gd name="connsiteX0" fmla="*/ 0 w 39123"/>
                    <a:gd name="connsiteY0" fmla="*/ 142471 h 142471"/>
                    <a:gd name="connsiteX1" fmla="*/ 0 w 39123"/>
                    <a:gd name="connsiteY1" fmla="*/ 0 h 142471"/>
                    <a:gd name="connsiteX2" fmla="*/ 39124 w 39123"/>
                    <a:gd name="connsiteY2" fmla="*/ 0 h 1424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39123" h="142471">
                      <a:moveTo>
                        <a:pt x="0" y="142471"/>
                      </a:moveTo>
                      <a:lnTo>
                        <a:pt x="0" y="0"/>
                      </a:lnTo>
                      <a:lnTo>
                        <a:pt x="39124" y="0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grpSp>
              <p:nvGrpSpPr>
                <p:cNvPr id="415" name="Gráfico 4">
                  <a:extLst>
                    <a:ext uri="{FF2B5EF4-FFF2-40B4-BE49-F238E27FC236}">
                      <a16:creationId xmlns:a16="http://schemas.microsoft.com/office/drawing/2014/main" id="{838F7C11-4186-E3B6-ACB8-AE4973390920}"/>
                    </a:ext>
                  </a:extLst>
                </p:cNvPr>
                <p:cNvGrpSpPr/>
                <p:nvPr/>
              </p:nvGrpSpPr>
              <p:grpSpPr>
                <a:xfrm>
                  <a:off x="2615068" y="1189059"/>
                  <a:ext cx="1193" cy="131419"/>
                  <a:chOff x="2615068" y="1189059"/>
                  <a:chExt cx="1193" cy="131419"/>
                </a:xfrm>
              </p:grpSpPr>
              <p:sp>
                <p:nvSpPr>
                  <p:cNvPr id="416" name="Forma livre: Forma 415">
                    <a:extLst>
                      <a:ext uri="{FF2B5EF4-FFF2-40B4-BE49-F238E27FC236}">
                        <a16:creationId xmlns:a16="http://schemas.microsoft.com/office/drawing/2014/main" id="{0132BA66-2884-FE1D-6673-FCDA19709516}"/>
                      </a:ext>
                    </a:extLst>
                  </p:cNvPr>
                  <p:cNvSpPr/>
                  <p:nvPr/>
                </p:nvSpPr>
                <p:spPr>
                  <a:xfrm>
                    <a:off x="2615068" y="1240894"/>
                    <a:ext cx="1193" cy="26400"/>
                  </a:xfrm>
                  <a:custGeom>
                    <a:avLst/>
                    <a:gdLst>
                      <a:gd name="connsiteX0" fmla="*/ 0 w 1193"/>
                      <a:gd name="connsiteY0" fmla="*/ 0 h 26400"/>
                      <a:gd name="connsiteX1" fmla="*/ 0 w 1193"/>
                      <a:gd name="connsiteY1" fmla="*/ 26401 h 2640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193" h="26400">
                        <a:moveTo>
                          <a:pt x="0" y="0"/>
                        </a:moveTo>
                        <a:lnTo>
                          <a:pt x="0" y="26401"/>
                        </a:lnTo>
                      </a:path>
                    </a:pathLst>
                  </a:custGeom>
                  <a:ln w="6350" cap="flat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417" name="Forma livre: Forma 416">
                    <a:extLst>
                      <a:ext uri="{FF2B5EF4-FFF2-40B4-BE49-F238E27FC236}">
                        <a16:creationId xmlns:a16="http://schemas.microsoft.com/office/drawing/2014/main" id="{60BB8C3C-6691-8CCD-E599-C21508A79F95}"/>
                      </a:ext>
                    </a:extLst>
                  </p:cNvPr>
                  <p:cNvSpPr/>
                  <p:nvPr/>
                </p:nvSpPr>
                <p:spPr>
                  <a:xfrm>
                    <a:off x="2615068" y="1189059"/>
                    <a:ext cx="1193" cy="26400"/>
                  </a:xfrm>
                  <a:custGeom>
                    <a:avLst/>
                    <a:gdLst>
                      <a:gd name="connsiteX0" fmla="*/ 0 w 1193"/>
                      <a:gd name="connsiteY0" fmla="*/ 0 h 26400"/>
                      <a:gd name="connsiteX1" fmla="*/ 0 w 1193"/>
                      <a:gd name="connsiteY1" fmla="*/ 26401 h 2640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193" h="26400">
                        <a:moveTo>
                          <a:pt x="0" y="0"/>
                        </a:moveTo>
                        <a:lnTo>
                          <a:pt x="0" y="26401"/>
                        </a:lnTo>
                      </a:path>
                    </a:pathLst>
                  </a:custGeom>
                  <a:ln w="6350" cap="flat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418" name="Forma livre: Forma 417">
                    <a:extLst>
                      <a:ext uri="{FF2B5EF4-FFF2-40B4-BE49-F238E27FC236}">
                        <a16:creationId xmlns:a16="http://schemas.microsoft.com/office/drawing/2014/main" id="{4AC4B778-C849-2B04-2126-278C8BDDB87C}"/>
                      </a:ext>
                    </a:extLst>
                  </p:cNvPr>
                  <p:cNvSpPr/>
                  <p:nvPr/>
                </p:nvSpPr>
                <p:spPr>
                  <a:xfrm>
                    <a:off x="2615068" y="1291404"/>
                    <a:ext cx="1193" cy="29074"/>
                  </a:xfrm>
                  <a:custGeom>
                    <a:avLst/>
                    <a:gdLst>
                      <a:gd name="connsiteX0" fmla="*/ 0 w 1193"/>
                      <a:gd name="connsiteY0" fmla="*/ 0 h 29074"/>
                      <a:gd name="connsiteX1" fmla="*/ 0 w 1193"/>
                      <a:gd name="connsiteY1" fmla="*/ 29074 h 2907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193" h="29074">
                        <a:moveTo>
                          <a:pt x="0" y="0"/>
                        </a:moveTo>
                        <a:lnTo>
                          <a:pt x="0" y="29074"/>
                        </a:lnTo>
                      </a:path>
                    </a:pathLst>
                  </a:custGeom>
                  <a:ln w="6350" cap="flat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</p:grpSp>
          <p:grpSp>
            <p:nvGrpSpPr>
              <p:cNvPr id="419" name="Gráfico 4">
                <a:extLst>
                  <a:ext uri="{FF2B5EF4-FFF2-40B4-BE49-F238E27FC236}">
                    <a16:creationId xmlns:a16="http://schemas.microsoft.com/office/drawing/2014/main" id="{89B5ED9D-7B11-B240-1ECE-C636F888CEFD}"/>
                  </a:ext>
                </a:extLst>
              </p:cNvPr>
              <p:cNvGrpSpPr/>
              <p:nvPr/>
            </p:nvGrpSpPr>
            <p:grpSpPr>
              <a:xfrm>
                <a:off x="2860720" y="1158588"/>
                <a:ext cx="39123" cy="161890"/>
                <a:chOff x="2860720" y="1158588"/>
                <a:chExt cx="39123" cy="161890"/>
              </a:xfrm>
              <a:noFill/>
            </p:grpSpPr>
            <p:sp>
              <p:nvSpPr>
                <p:cNvPr id="420" name="Forma livre: Forma 419">
                  <a:extLst>
                    <a:ext uri="{FF2B5EF4-FFF2-40B4-BE49-F238E27FC236}">
                      <a16:creationId xmlns:a16="http://schemas.microsoft.com/office/drawing/2014/main" id="{88C2081C-B98F-AFB5-756A-18B88A0240F9}"/>
                    </a:ext>
                  </a:extLst>
                </p:cNvPr>
                <p:cNvSpPr/>
                <p:nvPr/>
              </p:nvSpPr>
              <p:spPr>
                <a:xfrm>
                  <a:off x="2860720" y="1158588"/>
                  <a:ext cx="39123" cy="160099"/>
                </a:xfrm>
                <a:custGeom>
                  <a:avLst/>
                  <a:gdLst>
                    <a:gd name="connsiteX0" fmla="*/ 39124 w 39123"/>
                    <a:gd name="connsiteY0" fmla="*/ 160100 h 160099"/>
                    <a:gd name="connsiteX1" fmla="*/ 39124 w 39123"/>
                    <a:gd name="connsiteY1" fmla="*/ 0 h 160099"/>
                    <a:gd name="connsiteX2" fmla="*/ 0 w 39123"/>
                    <a:gd name="connsiteY2" fmla="*/ 0 h 16009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39123" h="160099">
                      <a:moveTo>
                        <a:pt x="39124" y="160100"/>
                      </a:moveTo>
                      <a:lnTo>
                        <a:pt x="39124" y="0"/>
                      </a:lnTo>
                      <a:lnTo>
                        <a:pt x="0" y="0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grpSp>
              <p:nvGrpSpPr>
                <p:cNvPr id="421" name="Gráfico 4">
                  <a:extLst>
                    <a:ext uri="{FF2B5EF4-FFF2-40B4-BE49-F238E27FC236}">
                      <a16:creationId xmlns:a16="http://schemas.microsoft.com/office/drawing/2014/main" id="{8D3EA5CE-183F-5CD3-E17D-D3A8D55453D7}"/>
                    </a:ext>
                  </a:extLst>
                </p:cNvPr>
                <p:cNvGrpSpPr/>
                <p:nvPr/>
              </p:nvGrpSpPr>
              <p:grpSpPr>
                <a:xfrm>
                  <a:off x="2868907" y="1189059"/>
                  <a:ext cx="1193" cy="131419"/>
                  <a:chOff x="2868907" y="1189059"/>
                  <a:chExt cx="1193" cy="131419"/>
                </a:xfrm>
              </p:grpSpPr>
              <p:sp>
                <p:nvSpPr>
                  <p:cNvPr id="422" name="Forma livre: Forma 421">
                    <a:extLst>
                      <a:ext uri="{FF2B5EF4-FFF2-40B4-BE49-F238E27FC236}">
                        <a16:creationId xmlns:a16="http://schemas.microsoft.com/office/drawing/2014/main" id="{EAF1B459-B1EC-D52B-3C87-864F086E8B13}"/>
                      </a:ext>
                    </a:extLst>
                  </p:cNvPr>
                  <p:cNvSpPr/>
                  <p:nvPr/>
                </p:nvSpPr>
                <p:spPr>
                  <a:xfrm>
                    <a:off x="2868907" y="1240894"/>
                    <a:ext cx="1193" cy="26400"/>
                  </a:xfrm>
                  <a:custGeom>
                    <a:avLst/>
                    <a:gdLst>
                      <a:gd name="connsiteX0" fmla="*/ 0 w 1193"/>
                      <a:gd name="connsiteY0" fmla="*/ 0 h 26400"/>
                      <a:gd name="connsiteX1" fmla="*/ 0 w 1193"/>
                      <a:gd name="connsiteY1" fmla="*/ 26401 h 2640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193" h="26400">
                        <a:moveTo>
                          <a:pt x="0" y="0"/>
                        </a:moveTo>
                        <a:lnTo>
                          <a:pt x="0" y="26401"/>
                        </a:lnTo>
                      </a:path>
                    </a:pathLst>
                  </a:custGeom>
                  <a:ln w="6350" cap="flat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423" name="Forma livre: Forma 422">
                    <a:extLst>
                      <a:ext uri="{FF2B5EF4-FFF2-40B4-BE49-F238E27FC236}">
                        <a16:creationId xmlns:a16="http://schemas.microsoft.com/office/drawing/2014/main" id="{B1C340BF-B412-069E-810D-AD5B7654D432}"/>
                      </a:ext>
                    </a:extLst>
                  </p:cNvPr>
                  <p:cNvSpPr/>
                  <p:nvPr/>
                </p:nvSpPr>
                <p:spPr>
                  <a:xfrm>
                    <a:off x="2868907" y="1189059"/>
                    <a:ext cx="1193" cy="26400"/>
                  </a:xfrm>
                  <a:custGeom>
                    <a:avLst/>
                    <a:gdLst>
                      <a:gd name="connsiteX0" fmla="*/ 0 w 1193"/>
                      <a:gd name="connsiteY0" fmla="*/ 0 h 26400"/>
                      <a:gd name="connsiteX1" fmla="*/ 0 w 1193"/>
                      <a:gd name="connsiteY1" fmla="*/ 26401 h 2640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193" h="26400">
                        <a:moveTo>
                          <a:pt x="0" y="0"/>
                        </a:moveTo>
                        <a:lnTo>
                          <a:pt x="0" y="26401"/>
                        </a:lnTo>
                      </a:path>
                    </a:pathLst>
                  </a:custGeom>
                  <a:ln w="6350" cap="flat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424" name="Forma livre: Forma 423">
                    <a:extLst>
                      <a:ext uri="{FF2B5EF4-FFF2-40B4-BE49-F238E27FC236}">
                        <a16:creationId xmlns:a16="http://schemas.microsoft.com/office/drawing/2014/main" id="{85FE6159-A7F1-938B-D012-382C85632BBB}"/>
                      </a:ext>
                    </a:extLst>
                  </p:cNvPr>
                  <p:cNvSpPr/>
                  <p:nvPr/>
                </p:nvSpPr>
                <p:spPr>
                  <a:xfrm>
                    <a:off x="2868907" y="1291404"/>
                    <a:ext cx="1193" cy="29074"/>
                  </a:xfrm>
                  <a:custGeom>
                    <a:avLst/>
                    <a:gdLst>
                      <a:gd name="connsiteX0" fmla="*/ 0 w 1193"/>
                      <a:gd name="connsiteY0" fmla="*/ 0 h 29074"/>
                      <a:gd name="connsiteX1" fmla="*/ 0 w 1193"/>
                      <a:gd name="connsiteY1" fmla="*/ 29074 h 2907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193" h="29074">
                        <a:moveTo>
                          <a:pt x="0" y="0"/>
                        </a:moveTo>
                        <a:lnTo>
                          <a:pt x="0" y="29074"/>
                        </a:lnTo>
                      </a:path>
                    </a:pathLst>
                  </a:custGeom>
                  <a:ln w="6350" cap="flat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</p:grpSp>
        </p:grpSp>
        <p:grpSp>
          <p:nvGrpSpPr>
            <p:cNvPr id="425" name="Gráfico 4">
              <a:extLst>
                <a:ext uri="{FF2B5EF4-FFF2-40B4-BE49-F238E27FC236}">
                  <a16:creationId xmlns:a16="http://schemas.microsoft.com/office/drawing/2014/main" id="{62C5054B-B0F0-DC46-F11B-6CA9AAA934C2}"/>
                </a:ext>
              </a:extLst>
            </p:cNvPr>
            <p:cNvGrpSpPr/>
            <p:nvPr/>
          </p:nvGrpSpPr>
          <p:grpSpPr>
            <a:xfrm>
              <a:off x="2673121" y="1120956"/>
              <a:ext cx="137733" cy="126096"/>
              <a:chOff x="2673121" y="1120956"/>
              <a:chExt cx="137733" cy="126096"/>
            </a:xfrm>
          </p:grpSpPr>
          <p:sp>
            <p:nvSpPr>
              <p:cNvPr id="426" name="Forma livre: Forma 425">
                <a:extLst>
                  <a:ext uri="{FF2B5EF4-FFF2-40B4-BE49-F238E27FC236}">
                    <a16:creationId xmlns:a16="http://schemas.microsoft.com/office/drawing/2014/main" id="{83DD576E-9771-6088-05B4-2DD58C3AA164}"/>
                  </a:ext>
                </a:extLst>
              </p:cNvPr>
              <p:cNvSpPr/>
              <p:nvPr/>
            </p:nvSpPr>
            <p:spPr>
              <a:xfrm>
                <a:off x="2781159" y="1120956"/>
                <a:ext cx="29694" cy="1193"/>
              </a:xfrm>
              <a:custGeom>
                <a:avLst/>
                <a:gdLst>
                  <a:gd name="connsiteX0" fmla="*/ 0 w 29694"/>
                  <a:gd name="connsiteY0" fmla="*/ 0 h 1193"/>
                  <a:gd name="connsiteX1" fmla="*/ 29695 w 29694"/>
                  <a:gd name="connsiteY1" fmla="*/ 0 h 11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9694" h="1193">
                    <a:moveTo>
                      <a:pt x="0" y="0"/>
                    </a:moveTo>
                    <a:lnTo>
                      <a:pt x="29695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427" name="Gráfico 4">
                <a:extLst>
                  <a:ext uri="{FF2B5EF4-FFF2-40B4-BE49-F238E27FC236}">
                    <a16:creationId xmlns:a16="http://schemas.microsoft.com/office/drawing/2014/main" id="{667385BD-0133-73DB-B807-E8436971C9A6}"/>
                  </a:ext>
                </a:extLst>
              </p:cNvPr>
              <p:cNvGrpSpPr/>
              <p:nvPr/>
            </p:nvGrpSpPr>
            <p:grpSpPr>
              <a:xfrm>
                <a:off x="2673121" y="1120956"/>
                <a:ext cx="137733" cy="126096"/>
                <a:chOff x="2673121" y="1120956"/>
                <a:chExt cx="137733" cy="126096"/>
              </a:xfrm>
            </p:grpSpPr>
            <p:sp>
              <p:nvSpPr>
                <p:cNvPr id="428" name="Forma livre: Forma 427">
                  <a:extLst>
                    <a:ext uri="{FF2B5EF4-FFF2-40B4-BE49-F238E27FC236}">
                      <a16:creationId xmlns:a16="http://schemas.microsoft.com/office/drawing/2014/main" id="{5857C7F0-04E4-5B55-FD75-208C83D5E2CC}"/>
                    </a:ext>
                  </a:extLst>
                </p:cNvPr>
                <p:cNvSpPr/>
                <p:nvPr/>
              </p:nvSpPr>
              <p:spPr>
                <a:xfrm>
                  <a:off x="2673121" y="1152477"/>
                  <a:ext cx="137733" cy="1193"/>
                </a:xfrm>
                <a:custGeom>
                  <a:avLst/>
                  <a:gdLst>
                    <a:gd name="connsiteX0" fmla="*/ 0 w 137733"/>
                    <a:gd name="connsiteY0" fmla="*/ 0 h 1193"/>
                    <a:gd name="connsiteX1" fmla="*/ 137733 w 137733"/>
                    <a:gd name="connsiteY1" fmla="*/ 0 h 119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37733" h="1193">
                      <a:moveTo>
                        <a:pt x="0" y="0"/>
                      </a:moveTo>
                      <a:lnTo>
                        <a:pt x="137733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429" name="Forma livre: Forma 428">
                  <a:extLst>
                    <a:ext uri="{FF2B5EF4-FFF2-40B4-BE49-F238E27FC236}">
                      <a16:creationId xmlns:a16="http://schemas.microsoft.com/office/drawing/2014/main" id="{7FA2D734-A58B-0401-C3FA-1EBB2DC09C49}"/>
                    </a:ext>
                  </a:extLst>
                </p:cNvPr>
                <p:cNvSpPr/>
                <p:nvPr/>
              </p:nvSpPr>
              <p:spPr>
                <a:xfrm>
                  <a:off x="2673121" y="1120956"/>
                  <a:ext cx="29694" cy="1193"/>
                </a:xfrm>
                <a:custGeom>
                  <a:avLst/>
                  <a:gdLst>
                    <a:gd name="connsiteX0" fmla="*/ 0 w 29694"/>
                    <a:gd name="connsiteY0" fmla="*/ 0 h 1193"/>
                    <a:gd name="connsiteX1" fmla="*/ 29695 w 29694"/>
                    <a:gd name="connsiteY1" fmla="*/ 0 h 119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9694" h="1193">
                      <a:moveTo>
                        <a:pt x="0" y="0"/>
                      </a:moveTo>
                      <a:lnTo>
                        <a:pt x="29695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430" name="Forma livre: Forma 429">
                  <a:extLst>
                    <a:ext uri="{FF2B5EF4-FFF2-40B4-BE49-F238E27FC236}">
                      <a16:creationId xmlns:a16="http://schemas.microsoft.com/office/drawing/2014/main" id="{2F3AC0FD-3242-EA93-29B1-D1025B675329}"/>
                    </a:ext>
                  </a:extLst>
                </p:cNvPr>
                <p:cNvSpPr/>
                <p:nvPr/>
              </p:nvSpPr>
              <p:spPr>
                <a:xfrm>
                  <a:off x="2673121" y="1247052"/>
                  <a:ext cx="137733" cy="1193"/>
                </a:xfrm>
                <a:custGeom>
                  <a:avLst/>
                  <a:gdLst>
                    <a:gd name="connsiteX0" fmla="*/ 0 w 137733"/>
                    <a:gd name="connsiteY0" fmla="*/ 0 h 1193"/>
                    <a:gd name="connsiteX1" fmla="*/ 137733 w 137733"/>
                    <a:gd name="connsiteY1" fmla="*/ 0 h 119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37733" h="1193">
                      <a:moveTo>
                        <a:pt x="0" y="0"/>
                      </a:moveTo>
                      <a:lnTo>
                        <a:pt x="137733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431" name="Forma livre: Forma 430">
                  <a:extLst>
                    <a:ext uri="{FF2B5EF4-FFF2-40B4-BE49-F238E27FC236}">
                      <a16:creationId xmlns:a16="http://schemas.microsoft.com/office/drawing/2014/main" id="{FD1A9A31-0838-B72D-5608-6B796339EDA2}"/>
                    </a:ext>
                  </a:extLst>
                </p:cNvPr>
                <p:cNvSpPr/>
                <p:nvPr/>
              </p:nvSpPr>
              <p:spPr>
                <a:xfrm>
                  <a:off x="2673121" y="1215531"/>
                  <a:ext cx="137733" cy="1193"/>
                </a:xfrm>
                <a:custGeom>
                  <a:avLst/>
                  <a:gdLst>
                    <a:gd name="connsiteX0" fmla="*/ 0 w 137733"/>
                    <a:gd name="connsiteY0" fmla="*/ 0 h 1193"/>
                    <a:gd name="connsiteX1" fmla="*/ 137733 w 137733"/>
                    <a:gd name="connsiteY1" fmla="*/ 0 h 119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37733" h="1193">
                      <a:moveTo>
                        <a:pt x="0" y="0"/>
                      </a:moveTo>
                      <a:lnTo>
                        <a:pt x="137733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432" name="Forma livre: Forma 431">
                  <a:extLst>
                    <a:ext uri="{FF2B5EF4-FFF2-40B4-BE49-F238E27FC236}">
                      <a16:creationId xmlns:a16="http://schemas.microsoft.com/office/drawing/2014/main" id="{5F4C4418-20CE-9EB4-E939-2438DA96999E}"/>
                    </a:ext>
                  </a:extLst>
                </p:cNvPr>
                <p:cNvSpPr/>
                <p:nvPr/>
              </p:nvSpPr>
              <p:spPr>
                <a:xfrm>
                  <a:off x="2673121" y="1184010"/>
                  <a:ext cx="137733" cy="1193"/>
                </a:xfrm>
                <a:custGeom>
                  <a:avLst/>
                  <a:gdLst>
                    <a:gd name="connsiteX0" fmla="*/ 0 w 137733"/>
                    <a:gd name="connsiteY0" fmla="*/ 0 h 1193"/>
                    <a:gd name="connsiteX1" fmla="*/ 137733 w 137733"/>
                    <a:gd name="connsiteY1" fmla="*/ 0 h 119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37733" h="1193">
                      <a:moveTo>
                        <a:pt x="0" y="0"/>
                      </a:moveTo>
                      <a:lnTo>
                        <a:pt x="137733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grpSp>
          <p:nvGrpSpPr>
            <p:cNvPr id="433" name="Gráfico 4">
              <a:extLst>
                <a:ext uri="{FF2B5EF4-FFF2-40B4-BE49-F238E27FC236}">
                  <a16:creationId xmlns:a16="http://schemas.microsoft.com/office/drawing/2014/main" id="{0513F17B-3979-B41F-9A2B-022DB606074F}"/>
                </a:ext>
              </a:extLst>
            </p:cNvPr>
            <p:cNvGrpSpPr/>
            <p:nvPr/>
          </p:nvGrpSpPr>
          <p:grpSpPr>
            <a:xfrm>
              <a:off x="2644846" y="1071246"/>
              <a:ext cx="194282" cy="249435"/>
              <a:chOff x="2644846" y="1071246"/>
              <a:chExt cx="194282" cy="249435"/>
            </a:xfrm>
            <a:noFill/>
          </p:grpSpPr>
          <p:sp>
            <p:nvSpPr>
              <p:cNvPr id="434" name="Forma livre: Forma 433">
                <a:extLst>
                  <a:ext uri="{FF2B5EF4-FFF2-40B4-BE49-F238E27FC236}">
                    <a16:creationId xmlns:a16="http://schemas.microsoft.com/office/drawing/2014/main" id="{2D6BCE90-DE32-B047-9DFC-0245F41DE684}"/>
                  </a:ext>
                </a:extLst>
              </p:cNvPr>
              <p:cNvSpPr/>
              <p:nvPr/>
            </p:nvSpPr>
            <p:spPr>
              <a:xfrm>
                <a:off x="2811081" y="1071246"/>
                <a:ext cx="28047" cy="249435"/>
              </a:xfrm>
              <a:custGeom>
                <a:avLst/>
                <a:gdLst>
                  <a:gd name="connsiteX0" fmla="*/ 0 w 28047"/>
                  <a:gd name="connsiteY0" fmla="*/ 0 h 249435"/>
                  <a:gd name="connsiteX1" fmla="*/ 28048 w 28047"/>
                  <a:gd name="connsiteY1" fmla="*/ 0 h 249435"/>
                  <a:gd name="connsiteX2" fmla="*/ 28048 w 28047"/>
                  <a:gd name="connsiteY2" fmla="*/ 249435 h 2494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8047" h="249435">
                    <a:moveTo>
                      <a:pt x="0" y="0"/>
                    </a:moveTo>
                    <a:lnTo>
                      <a:pt x="28048" y="0"/>
                    </a:lnTo>
                    <a:lnTo>
                      <a:pt x="28048" y="249435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35" name="Forma livre: Forma 434">
                <a:extLst>
                  <a:ext uri="{FF2B5EF4-FFF2-40B4-BE49-F238E27FC236}">
                    <a16:creationId xmlns:a16="http://schemas.microsoft.com/office/drawing/2014/main" id="{1863A47E-5C0E-9684-1A64-6DACCDF1067B}"/>
                  </a:ext>
                </a:extLst>
              </p:cNvPr>
              <p:cNvSpPr/>
              <p:nvPr/>
            </p:nvSpPr>
            <p:spPr>
              <a:xfrm>
                <a:off x="2644846" y="1071246"/>
                <a:ext cx="26579" cy="249435"/>
              </a:xfrm>
              <a:custGeom>
                <a:avLst/>
                <a:gdLst>
                  <a:gd name="connsiteX0" fmla="*/ 0 w 26579"/>
                  <a:gd name="connsiteY0" fmla="*/ 249435 h 249435"/>
                  <a:gd name="connsiteX1" fmla="*/ 0 w 26579"/>
                  <a:gd name="connsiteY1" fmla="*/ 0 h 249435"/>
                  <a:gd name="connsiteX2" fmla="*/ 26580 w 26579"/>
                  <a:gd name="connsiteY2" fmla="*/ 0 h 2494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6579" h="249435">
                    <a:moveTo>
                      <a:pt x="0" y="249435"/>
                    </a:moveTo>
                    <a:lnTo>
                      <a:pt x="0" y="0"/>
                    </a:lnTo>
                    <a:lnTo>
                      <a:pt x="26580" y="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436" name="Gráfico 4">
              <a:extLst>
                <a:ext uri="{FF2B5EF4-FFF2-40B4-BE49-F238E27FC236}">
                  <a16:creationId xmlns:a16="http://schemas.microsoft.com/office/drawing/2014/main" id="{F9DE0035-97E9-2DD7-73EF-9B74F347A53C}"/>
                </a:ext>
              </a:extLst>
            </p:cNvPr>
            <p:cNvGrpSpPr/>
            <p:nvPr/>
          </p:nvGrpSpPr>
          <p:grpSpPr>
            <a:xfrm>
              <a:off x="2708414" y="1277284"/>
              <a:ext cx="67147" cy="44124"/>
              <a:chOff x="2708414" y="1277284"/>
              <a:chExt cx="67147" cy="44124"/>
            </a:xfrm>
          </p:grpSpPr>
          <p:sp>
            <p:nvSpPr>
              <p:cNvPr id="437" name="Forma livre: Forma 436">
                <a:extLst>
                  <a:ext uri="{FF2B5EF4-FFF2-40B4-BE49-F238E27FC236}">
                    <a16:creationId xmlns:a16="http://schemas.microsoft.com/office/drawing/2014/main" id="{3F42F135-7539-AC97-DCB8-1F94C9D0142C}"/>
                  </a:ext>
                </a:extLst>
              </p:cNvPr>
              <p:cNvSpPr/>
              <p:nvPr/>
            </p:nvSpPr>
            <p:spPr>
              <a:xfrm>
                <a:off x="2775562" y="1277284"/>
                <a:ext cx="1193" cy="44124"/>
              </a:xfrm>
              <a:custGeom>
                <a:avLst/>
                <a:gdLst>
                  <a:gd name="connsiteX0" fmla="*/ 0 w 1193"/>
                  <a:gd name="connsiteY0" fmla="*/ 0 h 44124"/>
                  <a:gd name="connsiteX1" fmla="*/ 0 w 1193"/>
                  <a:gd name="connsiteY1" fmla="*/ 44125 h 441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3" h="44124">
                    <a:moveTo>
                      <a:pt x="0" y="0"/>
                    </a:moveTo>
                    <a:lnTo>
                      <a:pt x="0" y="44125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38" name="Forma livre: Forma 437">
                <a:extLst>
                  <a:ext uri="{FF2B5EF4-FFF2-40B4-BE49-F238E27FC236}">
                    <a16:creationId xmlns:a16="http://schemas.microsoft.com/office/drawing/2014/main" id="{FACB8D14-2BC1-3977-26DE-D3107C3A368B}"/>
                  </a:ext>
                </a:extLst>
              </p:cNvPr>
              <p:cNvSpPr/>
              <p:nvPr/>
            </p:nvSpPr>
            <p:spPr>
              <a:xfrm>
                <a:off x="2708414" y="1277284"/>
                <a:ext cx="1193" cy="44124"/>
              </a:xfrm>
              <a:custGeom>
                <a:avLst/>
                <a:gdLst>
                  <a:gd name="connsiteX0" fmla="*/ 0 w 1193"/>
                  <a:gd name="connsiteY0" fmla="*/ 44125 h 44124"/>
                  <a:gd name="connsiteX1" fmla="*/ 0 w 1193"/>
                  <a:gd name="connsiteY1" fmla="*/ 0 h 441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3" h="44124">
                    <a:moveTo>
                      <a:pt x="0" y="44125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439" name="Forma livre: Forma 438">
              <a:extLst>
                <a:ext uri="{FF2B5EF4-FFF2-40B4-BE49-F238E27FC236}">
                  <a16:creationId xmlns:a16="http://schemas.microsoft.com/office/drawing/2014/main" id="{02D22D53-BD11-7A60-948F-136390985E41}"/>
                </a:ext>
              </a:extLst>
            </p:cNvPr>
            <p:cNvSpPr/>
            <p:nvPr/>
          </p:nvSpPr>
          <p:spPr>
            <a:xfrm>
              <a:off x="2741988" y="1292764"/>
              <a:ext cx="1193" cy="26567"/>
            </a:xfrm>
            <a:custGeom>
              <a:avLst/>
              <a:gdLst>
                <a:gd name="connsiteX0" fmla="*/ 0 w 1193"/>
                <a:gd name="connsiteY0" fmla="*/ 0 h 26567"/>
                <a:gd name="connsiteX1" fmla="*/ 0 w 1193"/>
                <a:gd name="connsiteY1" fmla="*/ 26568 h 26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93" h="26567">
                  <a:moveTo>
                    <a:pt x="0" y="0"/>
                  </a:moveTo>
                  <a:lnTo>
                    <a:pt x="0" y="26568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40" name="Forma livre: Forma 439">
              <a:extLst>
                <a:ext uri="{FF2B5EF4-FFF2-40B4-BE49-F238E27FC236}">
                  <a16:creationId xmlns:a16="http://schemas.microsoft.com/office/drawing/2014/main" id="{2C393112-3575-066A-942A-41D844F12486}"/>
                </a:ext>
              </a:extLst>
            </p:cNvPr>
            <p:cNvSpPr/>
            <p:nvPr/>
          </p:nvSpPr>
          <p:spPr>
            <a:xfrm>
              <a:off x="2693148" y="1022621"/>
              <a:ext cx="97666" cy="97666"/>
            </a:xfrm>
            <a:custGeom>
              <a:avLst/>
              <a:gdLst>
                <a:gd name="connsiteX0" fmla="*/ 97666 w 97666"/>
                <a:gd name="connsiteY0" fmla="*/ 32094 h 97666"/>
                <a:gd name="connsiteX1" fmla="*/ 65572 w 97666"/>
                <a:gd name="connsiteY1" fmla="*/ 32094 h 97666"/>
                <a:gd name="connsiteX2" fmla="*/ 65572 w 97666"/>
                <a:gd name="connsiteY2" fmla="*/ 0 h 97666"/>
                <a:gd name="connsiteX3" fmla="*/ 32106 w 97666"/>
                <a:gd name="connsiteY3" fmla="*/ 0 h 97666"/>
                <a:gd name="connsiteX4" fmla="*/ 32106 w 97666"/>
                <a:gd name="connsiteY4" fmla="*/ 32094 h 97666"/>
                <a:gd name="connsiteX5" fmla="*/ 0 w 97666"/>
                <a:gd name="connsiteY5" fmla="*/ 32094 h 97666"/>
                <a:gd name="connsiteX6" fmla="*/ 0 w 97666"/>
                <a:gd name="connsiteY6" fmla="*/ 65572 h 97666"/>
                <a:gd name="connsiteX7" fmla="*/ 32106 w 97666"/>
                <a:gd name="connsiteY7" fmla="*/ 65572 h 97666"/>
                <a:gd name="connsiteX8" fmla="*/ 32106 w 97666"/>
                <a:gd name="connsiteY8" fmla="*/ 97666 h 97666"/>
                <a:gd name="connsiteX9" fmla="*/ 65572 w 97666"/>
                <a:gd name="connsiteY9" fmla="*/ 97666 h 97666"/>
                <a:gd name="connsiteX10" fmla="*/ 65572 w 97666"/>
                <a:gd name="connsiteY10" fmla="*/ 65572 h 97666"/>
                <a:gd name="connsiteX11" fmla="*/ 97666 w 97666"/>
                <a:gd name="connsiteY11" fmla="*/ 65572 h 97666"/>
                <a:gd name="connsiteX12" fmla="*/ 97666 w 97666"/>
                <a:gd name="connsiteY12" fmla="*/ 32094 h 976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97666" h="97666">
                  <a:moveTo>
                    <a:pt x="97666" y="32094"/>
                  </a:moveTo>
                  <a:lnTo>
                    <a:pt x="65572" y="32094"/>
                  </a:lnTo>
                  <a:lnTo>
                    <a:pt x="65572" y="0"/>
                  </a:lnTo>
                  <a:lnTo>
                    <a:pt x="32106" y="0"/>
                  </a:lnTo>
                  <a:lnTo>
                    <a:pt x="32106" y="32094"/>
                  </a:lnTo>
                  <a:lnTo>
                    <a:pt x="0" y="32094"/>
                  </a:lnTo>
                  <a:lnTo>
                    <a:pt x="0" y="65572"/>
                  </a:lnTo>
                  <a:lnTo>
                    <a:pt x="32106" y="65572"/>
                  </a:lnTo>
                  <a:lnTo>
                    <a:pt x="32106" y="97666"/>
                  </a:lnTo>
                  <a:lnTo>
                    <a:pt x="65572" y="97666"/>
                  </a:lnTo>
                  <a:lnTo>
                    <a:pt x="65572" y="65572"/>
                  </a:lnTo>
                  <a:lnTo>
                    <a:pt x="97666" y="65572"/>
                  </a:lnTo>
                  <a:lnTo>
                    <a:pt x="97666" y="32094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41" name="Forma livre: Forma 440">
              <a:extLst>
                <a:ext uri="{FF2B5EF4-FFF2-40B4-BE49-F238E27FC236}">
                  <a16:creationId xmlns:a16="http://schemas.microsoft.com/office/drawing/2014/main" id="{16F8C744-590E-B95A-9F47-7F84DF3FBB55}"/>
                </a:ext>
              </a:extLst>
            </p:cNvPr>
            <p:cNvSpPr/>
            <p:nvPr/>
          </p:nvSpPr>
          <p:spPr>
            <a:xfrm>
              <a:off x="2690188" y="1274981"/>
              <a:ext cx="103598" cy="1193"/>
            </a:xfrm>
            <a:custGeom>
              <a:avLst/>
              <a:gdLst>
                <a:gd name="connsiteX0" fmla="*/ 0 w 103598"/>
                <a:gd name="connsiteY0" fmla="*/ 0 h 1193"/>
                <a:gd name="connsiteX1" fmla="*/ 103598 w 103598"/>
                <a:gd name="connsiteY1" fmla="*/ 0 h 11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3598" h="1193">
                  <a:moveTo>
                    <a:pt x="0" y="0"/>
                  </a:moveTo>
                  <a:lnTo>
                    <a:pt x="103598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442" name="Gráfico 4">
            <a:extLst>
              <a:ext uri="{FF2B5EF4-FFF2-40B4-BE49-F238E27FC236}">
                <a16:creationId xmlns:a16="http://schemas.microsoft.com/office/drawing/2014/main" id="{FD096CB4-9636-FE6A-8CBB-076A4FE4F2E1}"/>
              </a:ext>
            </a:extLst>
          </p:cNvPr>
          <p:cNvGrpSpPr/>
          <p:nvPr/>
        </p:nvGrpSpPr>
        <p:grpSpPr>
          <a:xfrm>
            <a:off x="3205470" y="987042"/>
            <a:ext cx="357127" cy="334522"/>
            <a:chOff x="3205470" y="987042"/>
            <a:chExt cx="357127" cy="334522"/>
          </a:xfrm>
          <a:noFill/>
        </p:grpSpPr>
        <p:sp>
          <p:nvSpPr>
            <p:cNvPr id="443" name="Forma livre: Forma 442">
              <a:extLst>
                <a:ext uri="{FF2B5EF4-FFF2-40B4-BE49-F238E27FC236}">
                  <a16:creationId xmlns:a16="http://schemas.microsoft.com/office/drawing/2014/main" id="{7426D884-AE52-E578-B91C-A0A22A9985EA}"/>
                </a:ext>
              </a:extLst>
            </p:cNvPr>
            <p:cNvSpPr/>
            <p:nvPr/>
          </p:nvSpPr>
          <p:spPr>
            <a:xfrm>
              <a:off x="3545829" y="1321564"/>
              <a:ext cx="16769" cy="1193"/>
            </a:xfrm>
            <a:custGeom>
              <a:avLst/>
              <a:gdLst>
                <a:gd name="connsiteX0" fmla="*/ 0 w 16769"/>
                <a:gd name="connsiteY0" fmla="*/ 0 h 1193"/>
                <a:gd name="connsiteX1" fmla="*/ 16769 w 16769"/>
                <a:gd name="connsiteY1" fmla="*/ 0 h 11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6769" h="1193">
                  <a:moveTo>
                    <a:pt x="0" y="0"/>
                  </a:moveTo>
                  <a:lnTo>
                    <a:pt x="16769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44" name="Forma livre: Forma 443">
              <a:extLst>
                <a:ext uri="{FF2B5EF4-FFF2-40B4-BE49-F238E27FC236}">
                  <a16:creationId xmlns:a16="http://schemas.microsoft.com/office/drawing/2014/main" id="{742C62C3-37B1-9019-FF74-4807D9F35F8C}"/>
                </a:ext>
              </a:extLst>
            </p:cNvPr>
            <p:cNvSpPr/>
            <p:nvPr/>
          </p:nvSpPr>
          <p:spPr>
            <a:xfrm>
              <a:off x="3214422" y="1321564"/>
              <a:ext cx="309040" cy="1193"/>
            </a:xfrm>
            <a:custGeom>
              <a:avLst/>
              <a:gdLst>
                <a:gd name="connsiteX0" fmla="*/ 0 w 309040"/>
                <a:gd name="connsiteY0" fmla="*/ 0 h 1193"/>
                <a:gd name="connsiteX1" fmla="*/ 309040 w 309040"/>
                <a:gd name="connsiteY1" fmla="*/ 0 h 11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09040" h="1193">
                  <a:moveTo>
                    <a:pt x="0" y="0"/>
                  </a:moveTo>
                  <a:lnTo>
                    <a:pt x="30904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45" name="Forma livre: Forma 444">
              <a:extLst>
                <a:ext uri="{FF2B5EF4-FFF2-40B4-BE49-F238E27FC236}">
                  <a16:creationId xmlns:a16="http://schemas.microsoft.com/office/drawing/2014/main" id="{D0687160-6F6B-6FFE-E004-6116A87CD7CA}"/>
                </a:ext>
              </a:extLst>
            </p:cNvPr>
            <p:cNvSpPr/>
            <p:nvPr/>
          </p:nvSpPr>
          <p:spPr>
            <a:xfrm>
              <a:off x="3205470" y="1032599"/>
              <a:ext cx="162260" cy="97964"/>
            </a:xfrm>
            <a:custGeom>
              <a:avLst/>
              <a:gdLst>
                <a:gd name="connsiteX0" fmla="*/ 137888 w 162260"/>
                <a:gd name="connsiteY0" fmla="*/ 97965 h 97964"/>
                <a:gd name="connsiteX1" fmla="*/ 162260 w 162260"/>
                <a:gd name="connsiteY1" fmla="*/ 33264 h 97964"/>
                <a:gd name="connsiteX2" fmla="*/ 137888 w 162260"/>
                <a:gd name="connsiteY2" fmla="*/ 0 h 97964"/>
                <a:gd name="connsiteX3" fmla="*/ 24372 w 162260"/>
                <a:gd name="connsiteY3" fmla="*/ 0 h 97964"/>
                <a:gd name="connsiteX4" fmla="*/ 0 w 162260"/>
                <a:gd name="connsiteY4" fmla="*/ 33264 h 97964"/>
                <a:gd name="connsiteX5" fmla="*/ 24372 w 162260"/>
                <a:gd name="connsiteY5" fmla="*/ 97965 h 97964"/>
                <a:gd name="connsiteX6" fmla="*/ 137888 w 162260"/>
                <a:gd name="connsiteY6" fmla="*/ 97965 h 97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62260" h="97964">
                  <a:moveTo>
                    <a:pt x="137888" y="97965"/>
                  </a:moveTo>
                  <a:lnTo>
                    <a:pt x="162260" y="33264"/>
                  </a:lnTo>
                  <a:lnTo>
                    <a:pt x="137888" y="0"/>
                  </a:lnTo>
                  <a:lnTo>
                    <a:pt x="24372" y="0"/>
                  </a:lnTo>
                  <a:lnTo>
                    <a:pt x="0" y="33264"/>
                  </a:lnTo>
                  <a:lnTo>
                    <a:pt x="24372" y="97965"/>
                  </a:lnTo>
                  <a:lnTo>
                    <a:pt x="137888" y="97965"/>
                  </a:ln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46" name="Forma livre: Forma 445">
              <a:extLst>
                <a:ext uri="{FF2B5EF4-FFF2-40B4-BE49-F238E27FC236}">
                  <a16:creationId xmlns:a16="http://schemas.microsoft.com/office/drawing/2014/main" id="{2F188E7B-8C61-8E02-B132-F96B0E1F7522}"/>
                </a:ext>
              </a:extLst>
            </p:cNvPr>
            <p:cNvSpPr/>
            <p:nvPr/>
          </p:nvSpPr>
          <p:spPr>
            <a:xfrm>
              <a:off x="3233578" y="1069049"/>
              <a:ext cx="131300" cy="1193"/>
            </a:xfrm>
            <a:custGeom>
              <a:avLst/>
              <a:gdLst>
                <a:gd name="connsiteX0" fmla="*/ 131300 w 131300"/>
                <a:gd name="connsiteY0" fmla="*/ 0 h 1193"/>
                <a:gd name="connsiteX1" fmla="*/ 0 w 131300"/>
                <a:gd name="connsiteY1" fmla="*/ 0 h 11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31300" h="1193">
                  <a:moveTo>
                    <a:pt x="131300" y="0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447" name="Gráfico 4">
              <a:extLst>
                <a:ext uri="{FF2B5EF4-FFF2-40B4-BE49-F238E27FC236}">
                  <a16:creationId xmlns:a16="http://schemas.microsoft.com/office/drawing/2014/main" id="{EAD76E28-E0D8-54E5-E5FD-3472EEAE921B}"/>
                </a:ext>
              </a:extLst>
            </p:cNvPr>
            <p:cNvGrpSpPr/>
            <p:nvPr/>
          </p:nvGrpSpPr>
          <p:grpSpPr>
            <a:xfrm>
              <a:off x="3260862" y="1087943"/>
              <a:ext cx="51476" cy="41630"/>
              <a:chOff x="3260862" y="1087943"/>
              <a:chExt cx="51476" cy="41630"/>
            </a:xfrm>
          </p:grpSpPr>
          <p:sp>
            <p:nvSpPr>
              <p:cNvPr id="448" name="Forma livre: Forma 447">
                <a:extLst>
                  <a:ext uri="{FF2B5EF4-FFF2-40B4-BE49-F238E27FC236}">
                    <a16:creationId xmlns:a16="http://schemas.microsoft.com/office/drawing/2014/main" id="{EFA2F31C-064A-E4A8-14EA-30EE4F1A8D46}"/>
                  </a:ext>
                </a:extLst>
              </p:cNvPr>
              <p:cNvSpPr/>
              <p:nvPr/>
            </p:nvSpPr>
            <p:spPr>
              <a:xfrm>
                <a:off x="3260862" y="1087943"/>
                <a:ext cx="5621" cy="41630"/>
              </a:xfrm>
              <a:custGeom>
                <a:avLst/>
                <a:gdLst>
                  <a:gd name="connsiteX0" fmla="*/ 0 w 5621"/>
                  <a:gd name="connsiteY0" fmla="*/ 0 h 41630"/>
                  <a:gd name="connsiteX1" fmla="*/ 5622 w 5621"/>
                  <a:gd name="connsiteY1" fmla="*/ 41630 h 416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621" h="41630">
                    <a:moveTo>
                      <a:pt x="0" y="0"/>
                    </a:moveTo>
                    <a:lnTo>
                      <a:pt x="5622" y="4163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49" name="Forma livre: Forma 448">
                <a:extLst>
                  <a:ext uri="{FF2B5EF4-FFF2-40B4-BE49-F238E27FC236}">
                    <a16:creationId xmlns:a16="http://schemas.microsoft.com/office/drawing/2014/main" id="{20155613-0081-3626-D602-5A6939A9A16E}"/>
                  </a:ext>
                </a:extLst>
              </p:cNvPr>
              <p:cNvSpPr/>
              <p:nvPr/>
            </p:nvSpPr>
            <p:spPr>
              <a:xfrm>
                <a:off x="3306729" y="1087943"/>
                <a:ext cx="5609" cy="41630"/>
              </a:xfrm>
              <a:custGeom>
                <a:avLst/>
                <a:gdLst>
                  <a:gd name="connsiteX0" fmla="*/ 5610 w 5609"/>
                  <a:gd name="connsiteY0" fmla="*/ 0 h 41630"/>
                  <a:gd name="connsiteX1" fmla="*/ 0 w 5609"/>
                  <a:gd name="connsiteY1" fmla="*/ 41630 h 416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609" h="41630">
                    <a:moveTo>
                      <a:pt x="5610" y="0"/>
                    </a:moveTo>
                    <a:lnTo>
                      <a:pt x="0" y="4163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450" name="Forma livre: Forma 449">
              <a:extLst>
                <a:ext uri="{FF2B5EF4-FFF2-40B4-BE49-F238E27FC236}">
                  <a16:creationId xmlns:a16="http://schemas.microsoft.com/office/drawing/2014/main" id="{522E6AF0-03CC-7048-88C5-62069F6F6A8F}"/>
                </a:ext>
              </a:extLst>
            </p:cNvPr>
            <p:cNvSpPr/>
            <p:nvPr/>
          </p:nvSpPr>
          <p:spPr>
            <a:xfrm>
              <a:off x="3257043" y="987042"/>
              <a:ext cx="1193" cy="43277"/>
            </a:xfrm>
            <a:custGeom>
              <a:avLst/>
              <a:gdLst>
                <a:gd name="connsiteX0" fmla="*/ 0 w 1193"/>
                <a:gd name="connsiteY0" fmla="*/ 43277 h 43277"/>
                <a:gd name="connsiteX1" fmla="*/ 0 w 1193"/>
                <a:gd name="connsiteY1" fmla="*/ 0 h 432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93" h="43277">
                  <a:moveTo>
                    <a:pt x="0" y="43277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451" name="Gráfico 4">
              <a:extLst>
                <a:ext uri="{FF2B5EF4-FFF2-40B4-BE49-F238E27FC236}">
                  <a16:creationId xmlns:a16="http://schemas.microsoft.com/office/drawing/2014/main" id="{5B0DB1C1-BAD6-C4BE-490A-3B0C357E25C4}"/>
                </a:ext>
              </a:extLst>
            </p:cNvPr>
            <p:cNvGrpSpPr/>
            <p:nvPr/>
          </p:nvGrpSpPr>
          <p:grpSpPr>
            <a:xfrm>
              <a:off x="3255622" y="1132080"/>
              <a:ext cx="61956" cy="186954"/>
              <a:chOff x="3255622" y="1132080"/>
              <a:chExt cx="61956" cy="186954"/>
            </a:xfrm>
          </p:grpSpPr>
          <p:sp>
            <p:nvSpPr>
              <p:cNvPr id="452" name="Forma livre: Forma 451">
                <a:extLst>
                  <a:ext uri="{FF2B5EF4-FFF2-40B4-BE49-F238E27FC236}">
                    <a16:creationId xmlns:a16="http://schemas.microsoft.com/office/drawing/2014/main" id="{9D70FFB1-8AB2-3328-B14D-726C88303EB1}"/>
                  </a:ext>
                </a:extLst>
              </p:cNvPr>
              <p:cNvSpPr/>
              <p:nvPr/>
            </p:nvSpPr>
            <p:spPr>
              <a:xfrm>
                <a:off x="3255622" y="1132080"/>
                <a:ext cx="1193" cy="167965"/>
              </a:xfrm>
              <a:custGeom>
                <a:avLst/>
                <a:gdLst>
                  <a:gd name="connsiteX0" fmla="*/ 0 w 1193"/>
                  <a:gd name="connsiteY0" fmla="*/ 0 h 167965"/>
                  <a:gd name="connsiteX1" fmla="*/ 0 w 1193"/>
                  <a:gd name="connsiteY1" fmla="*/ 167965 h 1679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3" h="167965">
                    <a:moveTo>
                      <a:pt x="0" y="0"/>
                    </a:moveTo>
                    <a:lnTo>
                      <a:pt x="0" y="167965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53" name="Forma livre: Forma 452">
                <a:extLst>
                  <a:ext uri="{FF2B5EF4-FFF2-40B4-BE49-F238E27FC236}">
                    <a16:creationId xmlns:a16="http://schemas.microsoft.com/office/drawing/2014/main" id="{9E2AFB14-3881-14C6-D8F4-2992983D43C8}"/>
                  </a:ext>
                </a:extLst>
              </p:cNvPr>
              <p:cNvSpPr/>
              <p:nvPr/>
            </p:nvSpPr>
            <p:spPr>
              <a:xfrm>
                <a:off x="3317578" y="1132080"/>
                <a:ext cx="1193" cy="186954"/>
              </a:xfrm>
              <a:custGeom>
                <a:avLst/>
                <a:gdLst>
                  <a:gd name="connsiteX0" fmla="*/ 0 w 1193"/>
                  <a:gd name="connsiteY0" fmla="*/ 0 h 186954"/>
                  <a:gd name="connsiteX1" fmla="*/ 0 w 1193"/>
                  <a:gd name="connsiteY1" fmla="*/ 186954 h 1869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3" h="186954">
                    <a:moveTo>
                      <a:pt x="0" y="0"/>
                    </a:moveTo>
                    <a:lnTo>
                      <a:pt x="0" y="186954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454" name="Forma livre: Forma 453">
              <a:extLst>
                <a:ext uri="{FF2B5EF4-FFF2-40B4-BE49-F238E27FC236}">
                  <a16:creationId xmlns:a16="http://schemas.microsoft.com/office/drawing/2014/main" id="{B2A84F88-18BF-2D5B-4214-04F03265781F}"/>
                </a:ext>
              </a:extLst>
            </p:cNvPr>
            <p:cNvSpPr/>
            <p:nvPr/>
          </p:nvSpPr>
          <p:spPr>
            <a:xfrm>
              <a:off x="3337295" y="1210292"/>
              <a:ext cx="174899" cy="109935"/>
            </a:xfrm>
            <a:custGeom>
              <a:avLst/>
              <a:gdLst>
                <a:gd name="connsiteX0" fmla="*/ 0 w 174899"/>
                <a:gd name="connsiteY0" fmla="*/ 0 h 109935"/>
                <a:gd name="connsiteX1" fmla="*/ 174900 w 174899"/>
                <a:gd name="connsiteY1" fmla="*/ 0 h 109935"/>
                <a:gd name="connsiteX2" fmla="*/ 174900 w 174899"/>
                <a:gd name="connsiteY2" fmla="*/ 36450 h 109935"/>
                <a:gd name="connsiteX3" fmla="*/ 19992 w 174899"/>
                <a:gd name="connsiteY3" fmla="*/ 36450 h 109935"/>
                <a:gd name="connsiteX4" fmla="*/ 19992 w 174899"/>
                <a:gd name="connsiteY4" fmla="*/ 109936 h 1099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4899" h="109935">
                  <a:moveTo>
                    <a:pt x="0" y="0"/>
                  </a:moveTo>
                  <a:lnTo>
                    <a:pt x="174900" y="0"/>
                  </a:lnTo>
                  <a:lnTo>
                    <a:pt x="174900" y="36450"/>
                  </a:lnTo>
                  <a:lnTo>
                    <a:pt x="19992" y="36450"/>
                  </a:lnTo>
                  <a:lnTo>
                    <a:pt x="19992" y="109936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55" name="Forma livre: Forma 454">
              <a:extLst>
                <a:ext uri="{FF2B5EF4-FFF2-40B4-BE49-F238E27FC236}">
                  <a16:creationId xmlns:a16="http://schemas.microsoft.com/office/drawing/2014/main" id="{4CD443E0-D923-DF32-DACA-B0A10B10D281}"/>
                </a:ext>
              </a:extLst>
            </p:cNvPr>
            <p:cNvSpPr/>
            <p:nvPr/>
          </p:nvSpPr>
          <p:spPr>
            <a:xfrm>
              <a:off x="3497157" y="1246742"/>
              <a:ext cx="1193" cy="72888"/>
            </a:xfrm>
            <a:custGeom>
              <a:avLst/>
              <a:gdLst>
                <a:gd name="connsiteX0" fmla="*/ 0 w 1193"/>
                <a:gd name="connsiteY0" fmla="*/ 0 h 72888"/>
                <a:gd name="connsiteX1" fmla="*/ 0 w 1193"/>
                <a:gd name="connsiteY1" fmla="*/ 72889 h 728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93" h="72888">
                  <a:moveTo>
                    <a:pt x="0" y="0"/>
                  </a:moveTo>
                  <a:lnTo>
                    <a:pt x="0" y="72889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56" name="Forma livre: Forma 455">
              <a:extLst>
                <a:ext uri="{FF2B5EF4-FFF2-40B4-BE49-F238E27FC236}">
                  <a16:creationId xmlns:a16="http://schemas.microsoft.com/office/drawing/2014/main" id="{FDCA809C-E99A-9EA1-FAA3-03BD2EACCD0A}"/>
                </a:ext>
              </a:extLst>
            </p:cNvPr>
            <p:cNvSpPr/>
            <p:nvPr/>
          </p:nvSpPr>
          <p:spPr>
            <a:xfrm>
              <a:off x="3462222" y="1246742"/>
              <a:ext cx="1193" cy="72888"/>
            </a:xfrm>
            <a:custGeom>
              <a:avLst/>
              <a:gdLst>
                <a:gd name="connsiteX0" fmla="*/ 0 w 1193"/>
                <a:gd name="connsiteY0" fmla="*/ 0 h 72888"/>
                <a:gd name="connsiteX1" fmla="*/ 0 w 1193"/>
                <a:gd name="connsiteY1" fmla="*/ 72889 h 728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93" h="72888">
                  <a:moveTo>
                    <a:pt x="0" y="0"/>
                  </a:moveTo>
                  <a:lnTo>
                    <a:pt x="0" y="72889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57" name="Forma livre: Forma 456">
              <a:extLst>
                <a:ext uri="{FF2B5EF4-FFF2-40B4-BE49-F238E27FC236}">
                  <a16:creationId xmlns:a16="http://schemas.microsoft.com/office/drawing/2014/main" id="{332B6D24-292B-4B89-72D8-CA7993D271B3}"/>
                </a:ext>
              </a:extLst>
            </p:cNvPr>
            <p:cNvSpPr/>
            <p:nvPr/>
          </p:nvSpPr>
          <p:spPr>
            <a:xfrm>
              <a:off x="3427287" y="1246742"/>
              <a:ext cx="1193" cy="72888"/>
            </a:xfrm>
            <a:custGeom>
              <a:avLst/>
              <a:gdLst>
                <a:gd name="connsiteX0" fmla="*/ 0 w 1193"/>
                <a:gd name="connsiteY0" fmla="*/ 0 h 72888"/>
                <a:gd name="connsiteX1" fmla="*/ 0 w 1193"/>
                <a:gd name="connsiteY1" fmla="*/ 72889 h 728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93" h="72888">
                  <a:moveTo>
                    <a:pt x="0" y="0"/>
                  </a:moveTo>
                  <a:lnTo>
                    <a:pt x="0" y="72889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58" name="Forma livre: Forma 457">
              <a:extLst>
                <a:ext uri="{FF2B5EF4-FFF2-40B4-BE49-F238E27FC236}">
                  <a16:creationId xmlns:a16="http://schemas.microsoft.com/office/drawing/2014/main" id="{36C242CF-E5E2-41D1-2F64-ACD70178CFFE}"/>
                </a:ext>
              </a:extLst>
            </p:cNvPr>
            <p:cNvSpPr/>
            <p:nvPr/>
          </p:nvSpPr>
          <p:spPr>
            <a:xfrm>
              <a:off x="3392353" y="1246742"/>
              <a:ext cx="1193" cy="72888"/>
            </a:xfrm>
            <a:custGeom>
              <a:avLst/>
              <a:gdLst>
                <a:gd name="connsiteX0" fmla="*/ 0 w 1193"/>
                <a:gd name="connsiteY0" fmla="*/ 0 h 72888"/>
                <a:gd name="connsiteX1" fmla="*/ 0 w 1193"/>
                <a:gd name="connsiteY1" fmla="*/ 72889 h 728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93" h="72888">
                  <a:moveTo>
                    <a:pt x="0" y="0"/>
                  </a:moveTo>
                  <a:lnTo>
                    <a:pt x="0" y="72889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59" name="Forma livre: Forma 458">
              <a:extLst>
                <a:ext uri="{FF2B5EF4-FFF2-40B4-BE49-F238E27FC236}">
                  <a16:creationId xmlns:a16="http://schemas.microsoft.com/office/drawing/2014/main" id="{3CFF6A7B-2073-C8E3-4CB2-F8950F4029A4}"/>
                </a:ext>
              </a:extLst>
            </p:cNvPr>
            <p:cNvSpPr/>
            <p:nvPr/>
          </p:nvSpPr>
          <p:spPr>
            <a:xfrm>
              <a:off x="3358134" y="1284099"/>
              <a:ext cx="138103" cy="1193"/>
            </a:xfrm>
            <a:custGeom>
              <a:avLst/>
              <a:gdLst>
                <a:gd name="connsiteX0" fmla="*/ 0 w 138103"/>
                <a:gd name="connsiteY0" fmla="*/ 0 h 1193"/>
                <a:gd name="connsiteX1" fmla="*/ 138103 w 138103"/>
                <a:gd name="connsiteY1" fmla="*/ 0 h 11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38103" h="1193">
                  <a:moveTo>
                    <a:pt x="0" y="0"/>
                  </a:moveTo>
                  <a:lnTo>
                    <a:pt x="138103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460" name="Gráfico 4">
              <a:extLst>
                <a:ext uri="{FF2B5EF4-FFF2-40B4-BE49-F238E27FC236}">
                  <a16:creationId xmlns:a16="http://schemas.microsoft.com/office/drawing/2014/main" id="{7C70D9FF-0A56-3FC3-0B23-430BB1D81AC1}"/>
                </a:ext>
              </a:extLst>
            </p:cNvPr>
            <p:cNvGrpSpPr/>
            <p:nvPr/>
          </p:nvGrpSpPr>
          <p:grpSpPr>
            <a:xfrm>
              <a:off x="3406639" y="1126387"/>
              <a:ext cx="71182" cy="34170"/>
              <a:chOff x="3406639" y="1126387"/>
              <a:chExt cx="71182" cy="34170"/>
            </a:xfrm>
            <a:noFill/>
          </p:grpSpPr>
          <p:sp>
            <p:nvSpPr>
              <p:cNvPr id="461" name="Forma livre: Forma 460">
                <a:extLst>
                  <a:ext uri="{FF2B5EF4-FFF2-40B4-BE49-F238E27FC236}">
                    <a16:creationId xmlns:a16="http://schemas.microsoft.com/office/drawing/2014/main" id="{76516815-D700-84DA-3529-FF4A896ADE7E}"/>
                  </a:ext>
                </a:extLst>
              </p:cNvPr>
              <p:cNvSpPr/>
              <p:nvPr/>
            </p:nvSpPr>
            <p:spPr>
              <a:xfrm>
                <a:off x="3406639" y="1137773"/>
                <a:ext cx="71182" cy="22784"/>
              </a:xfrm>
              <a:custGeom>
                <a:avLst/>
                <a:gdLst>
                  <a:gd name="connsiteX0" fmla="*/ 0 w 71182"/>
                  <a:gd name="connsiteY0" fmla="*/ 13284 h 22784"/>
                  <a:gd name="connsiteX1" fmla="*/ 10443 w 71182"/>
                  <a:gd name="connsiteY1" fmla="*/ 22784 h 22784"/>
                  <a:gd name="connsiteX2" fmla="*/ 71182 w 71182"/>
                  <a:gd name="connsiteY2" fmla="*/ 0 h 227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71182" h="22784">
                    <a:moveTo>
                      <a:pt x="0" y="13284"/>
                    </a:moveTo>
                    <a:lnTo>
                      <a:pt x="10443" y="22784"/>
                    </a:lnTo>
                    <a:lnTo>
                      <a:pt x="71182" y="0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62" name="Forma livre: Forma 461">
                <a:extLst>
                  <a:ext uri="{FF2B5EF4-FFF2-40B4-BE49-F238E27FC236}">
                    <a16:creationId xmlns:a16="http://schemas.microsoft.com/office/drawing/2014/main" id="{A3758D11-FB79-E909-1D0B-387B1E408236}"/>
                  </a:ext>
                </a:extLst>
              </p:cNvPr>
              <p:cNvSpPr/>
              <p:nvPr/>
            </p:nvSpPr>
            <p:spPr>
              <a:xfrm>
                <a:off x="3419923" y="1126387"/>
                <a:ext cx="27534" cy="21829"/>
              </a:xfrm>
              <a:custGeom>
                <a:avLst/>
                <a:gdLst>
                  <a:gd name="connsiteX0" fmla="*/ 27535 w 27534"/>
                  <a:gd name="connsiteY0" fmla="*/ 21830 h 21829"/>
                  <a:gd name="connsiteX1" fmla="*/ 0 w 27534"/>
                  <a:gd name="connsiteY1" fmla="*/ 0 h 218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7534" h="21829">
                    <a:moveTo>
                      <a:pt x="27535" y="21830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463" name="Gráfico 4">
            <a:extLst>
              <a:ext uri="{FF2B5EF4-FFF2-40B4-BE49-F238E27FC236}">
                <a16:creationId xmlns:a16="http://schemas.microsoft.com/office/drawing/2014/main" id="{F58C6AFA-F2FD-14A1-2D06-54DBC606B414}"/>
              </a:ext>
            </a:extLst>
          </p:cNvPr>
          <p:cNvGrpSpPr/>
          <p:nvPr/>
        </p:nvGrpSpPr>
        <p:grpSpPr>
          <a:xfrm>
            <a:off x="3835975" y="2109305"/>
            <a:ext cx="340203" cy="273294"/>
            <a:chOff x="3835975" y="2109305"/>
            <a:chExt cx="340203" cy="273294"/>
          </a:xfrm>
          <a:noFill/>
        </p:grpSpPr>
        <p:sp>
          <p:nvSpPr>
            <p:cNvPr id="464" name="Forma livre: Forma 463">
              <a:extLst>
                <a:ext uri="{FF2B5EF4-FFF2-40B4-BE49-F238E27FC236}">
                  <a16:creationId xmlns:a16="http://schemas.microsoft.com/office/drawing/2014/main" id="{A6DA50B3-978D-D83A-3852-859102D4136A}"/>
                </a:ext>
              </a:extLst>
            </p:cNvPr>
            <p:cNvSpPr/>
            <p:nvPr/>
          </p:nvSpPr>
          <p:spPr>
            <a:xfrm>
              <a:off x="4020602" y="2280719"/>
              <a:ext cx="55654" cy="55630"/>
            </a:xfrm>
            <a:custGeom>
              <a:avLst/>
              <a:gdLst>
                <a:gd name="connsiteX0" fmla="*/ 0 w 55654"/>
                <a:gd name="connsiteY0" fmla="*/ 55630 h 55630"/>
                <a:gd name="connsiteX1" fmla="*/ 55654 w 55654"/>
                <a:gd name="connsiteY1" fmla="*/ 0 h 556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5654" h="55630">
                  <a:moveTo>
                    <a:pt x="0" y="55630"/>
                  </a:moveTo>
                  <a:lnTo>
                    <a:pt x="55654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65" name="Forma livre: Forma 464">
              <a:extLst>
                <a:ext uri="{FF2B5EF4-FFF2-40B4-BE49-F238E27FC236}">
                  <a16:creationId xmlns:a16="http://schemas.microsoft.com/office/drawing/2014/main" id="{92EFBF83-4E92-E1BA-F599-A6275163FBC6}"/>
                </a:ext>
              </a:extLst>
            </p:cNvPr>
            <p:cNvSpPr/>
            <p:nvPr/>
          </p:nvSpPr>
          <p:spPr>
            <a:xfrm>
              <a:off x="4057017" y="2313410"/>
              <a:ext cx="23082" cy="22975"/>
            </a:xfrm>
            <a:custGeom>
              <a:avLst/>
              <a:gdLst>
                <a:gd name="connsiteX0" fmla="*/ 0 w 23082"/>
                <a:gd name="connsiteY0" fmla="*/ 22975 h 22975"/>
                <a:gd name="connsiteX1" fmla="*/ 23083 w 23082"/>
                <a:gd name="connsiteY1" fmla="*/ 0 h 22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3082" h="22975">
                  <a:moveTo>
                    <a:pt x="0" y="22975"/>
                  </a:moveTo>
                  <a:lnTo>
                    <a:pt x="23083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66" name="Forma livre: Forma 465">
              <a:extLst>
                <a:ext uri="{FF2B5EF4-FFF2-40B4-BE49-F238E27FC236}">
                  <a16:creationId xmlns:a16="http://schemas.microsoft.com/office/drawing/2014/main" id="{AC054272-E6AA-1865-CB21-5DCC39FB1586}"/>
                </a:ext>
              </a:extLst>
            </p:cNvPr>
            <p:cNvSpPr/>
            <p:nvPr/>
          </p:nvSpPr>
          <p:spPr>
            <a:xfrm>
              <a:off x="3859703" y="2244698"/>
              <a:ext cx="1193" cy="137434"/>
            </a:xfrm>
            <a:custGeom>
              <a:avLst/>
              <a:gdLst>
                <a:gd name="connsiteX0" fmla="*/ 0 w 1193"/>
                <a:gd name="connsiteY0" fmla="*/ 137435 h 137434"/>
                <a:gd name="connsiteX1" fmla="*/ 0 w 1193"/>
                <a:gd name="connsiteY1" fmla="*/ 0 h 1374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93" h="137434">
                  <a:moveTo>
                    <a:pt x="0" y="137435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67" name="Forma livre: Forma 466">
              <a:extLst>
                <a:ext uri="{FF2B5EF4-FFF2-40B4-BE49-F238E27FC236}">
                  <a16:creationId xmlns:a16="http://schemas.microsoft.com/office/drawing/2014/main" id="{946939ED-87D0-ADD7-A334-7BBD467781ED}"/>
                </a:ext>
              </a:extLst>
            </p:cNvPr>
            <p:cNvSpPr/>
            <p:nvPr/>
          </p:nvSpPr>
          <p:spPr>
            <a:xfrm>
              <a:off x="4112552" y="2244698"/>
              <a:ext cx="1193" cy="137434"/>
            </a:xfrm>
            <a:custGeom>
              <a:avLst/>
              <a:gdLst>
                <a:gd name="connsiteX0" fmla="*/ 0 w 1193"/>
                <a:gd name="connsiteY0" fmla="*/ 0 h 137434"/>
                <a:gd name="connsiteX1" fmla="*/ 0 w 1193"/>
                <a:gd name="connsiteY1" fmla="*/ 137435 h 1374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93" h="137434">
                  <a:moveTo>
                    <a:pt x="0" y="0"/>
                  </a:moveTo>
                  <a:lnTo>
                    <a:pt x="0" y="137435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68" name="Forma livre: Forma 467">
              <a:extLst>
                <a:ext uri="{FF2B5EF4-FFF2-40B4-BE49-F238E27FC236}">
                  <a16:creationId xmlns:a16="http://schemas.microsoft.com/office/drawing/2014/main" id="{83A5B518-2558-71C4-9023-A389D6A89413}"/>
                </a:ext>
              </a:extLst>
            </p:cNvPr>
            <p:cNvSpPr/>
            <p:nvPr/>
          </p:nvSpPr>
          <p:spPr>
            <a:xfrm>
              <a:off x="3939323" y="2244698"/>
              <a:ext cx="1193" cy="137052"/>
            </a:xfrm>
            <a:custGeom>
              <a:avLst/>
              <a:gdLst>
                <a:gd name="connsiteX0" fmla="*/ 0 w 1193"/>
                <a:gd name="connsiteY0" fmla="*/ 0 h 137052"/>
                <a:gd name="connsiteX1" fmla="*/ 0 w 1193"/>
                <a:gd name="connsiteY1" fmla="*/ 137053 h 1370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93" h="137052">
                  <a:moveTo>
                    <a:pt x="0" y="0"/>
                  </a:moveTo>
                  <a:lnTo>
                    <a:pt x="0" y="137053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69" name="Forma livre: Forma 468">
              <a:extLst>
                <a:ext uri="{FF2B5EF4-FFF2-40B4-BE49-F238E27FC236}">
                  <a16:creationId xmlns:a16="http://schemas.microsoft.com/office/drawing/2014/main" id="{C442A0A7-5D87-F9F8-84B4-8AFE13A0CDD4}"/>
                </a:ext>
              </a:extLst>
            </p:cNvPr>
            <p:cNvSpPr/>
            <p:nvPr/>
          </p:nvSpPr>
          <p:spPr>
            <a:xfrm>
              <a:off x="3911872" y="2289133"/>
              <a:ext cx="1193" cy="18547"/>
            </a:xfrm>
            <a:custGeom>
              <a:avLst/>
              <a:gdLst>
                <a:gd name="connsiteX0" fmla="*/ 0 w 1193"/>
                <a:gd name="connsiteY0" fmla="*/ 0 h 18547"/>
                <a:gd name="connsiteX1" fmla="*/ 0 w 1193"/>
                <a:gd name="connsiteY1" fmla="*/ 18547 h 185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93" h="18547">
                  <a:moveTo>
                    <a:pt x="0" y="0"/>
                  </a:moveTo>
                  <a:lnTo>
                    <a:pt x="0" y="18547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70" name="Forma livre: Forma 469">
              <a:extLst>
                <a:ext uri="{FF2B5EF4-FFF2-40B4-BE49-F238E27FC236}">
                  <a16:creationId xmlns:a16="http://schemas.microsoft.com/office/drawing/2014/main" id="{56E5E15A-27DA-FA14-7F93-98998FC54FF7}"/>
                </a:ext>
              </a:extLst>
            </p:cNvPr>
            <p:cNvSpPr/>
            <p:nvPr/>
          </p:nvSpPr>
          <p:spPr>
            <a:xfrm>
              <a:off x="3899960" y="2195549"/>
              <a:ext cx="56943" cy="28620"/>
            </a:xfrm>
            <a:custGeom>
              <a:avLst/>
              <a:gdLst>
                <a:gd name="connsiteX0" fmla="*/ 56943 w 56943"/>
                <a:gd name="connsiteY0" fmla="*/ 0 h 28620"/>
                <a:gd name="connsiteX1" fmla="*/ 28322 w 56943"/>
                <a:gd name="connsiteY1" fmla="*/ 28621 h 28620"/>
                <a:gd name="connsiteX2" fmla="*/ 0 w 56943"/>
                <a:gd name="connsiteY2" fmla="*/ 0 h 286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56943" h="28620">
                  <a:moveTo>
                    <a:pt x="56943" y="0"/>
                  </a:moveTo>
                  <a:cubicBezTo>
                    <a:pt x="56943" y="15802"/>
                    <a:pt x="44125" y="28621"/>
                    <a:pt x="28322" y="28621"/>
                  </a:cubicBezTo>
                  <a:cubicBezTo>
                    <a:pt x="12520" y="28621"/>
                    <a:pt x="0" y="15802"/>
                    <a:pt x="0" y="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71" name="Forma livre: Forma 470">
              <a:extLst>
                <a:ext uri="{FF2B5EF4-FFF2-40B4-BE49-F238E27FC236}">
                  <a16:creationId xmlns:a16="http://schemas.microsoft.com/office/drawing/2014/main" id="{C8B9C00C-4CDD-7898-CB72-846CEC0D5C0B}"/>
                </a:ext>
              </a:extLst>
            </p:cNvPr>
            <p:cNvSpPr/>
            <p:nvPr/>
          </p:nvSpPr>
          <p:spPr>
            <a:xfrm>
              <a:off x="3956915" y="2195549"/>
              <a:ext cx="57241" cy="28620"/>
            </a:xfrm>
            <a:custGeom>
              <a:avLst/>
              <a:gdLst>
                <a:gd name="connsiteX0" fmla="*/ 57242 w 57241"/>
                <a:gd name="connsiteY0" fmla="*/ 0 h 28620"/>
                <a:gd name="connsiteX1" fmla="*/ 28621 w 57241"/>
                <a:gd name="connsiteY1" fmla="*/ 28621 h 28620"/>
                <a:gd name="connsiteX2" fmla="*/ 0 w 57241"/>
                <a:gd name="connsiteY2" fmla="*/ 0 h 286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57241" h="28620">
                  <a:moveTo>
                    <a:pt x="57242" y="0"/>
                  </a:moveTo>
                  <a:cubicBezTo>
                    <a:pt x="57242" y="15802"/>
                    <a:pt x="44435" y="28621"/>
                    <a:pt x="28621" y="28621"/>
                  </a:cubicBezTo>
                  <a:cubicBezTo>
                    <a:pt x="12807" y="28621"/>
                    <a:pt x="0" y="15802"/>
                    <a:pt x="0" y="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72" name="Forma livre: Forma 471">
              <a:extLst>
                <a:ext uri="{FF2B5EF4-FFF2-40B4-BE49-F238E27FC236}">
                  <a16:creationId xmlns:a16="http://schemas.microsoft.com/office/drawing/2014/main" id="{1DB503DA-71BA-CAE5-C358-B76577DD3D8A}"/>
                </a:ext>
              </a:extLst>
            </p:cNvPr>
            <p:cNvSpPr/>
            <p:nvPr/>
          </p:nvSpPr>
          <p:spPr>
            <a:xfrm>
              <a:off x="4014157" y="2195549"/>
              <a:ext cx="57539" cy="28620"/>
            </a:xfrm>
            <a:custGeom>
              <a:avLst/>
              <a:gdLst>
                <a:gd name="connsiteX0" fmla="*/ 57540 w 57539"/>
                <a:gd name="connsiteY0" fmla="*/ 0 h 28620"/>
                <a:gd name="connsiteX1" fmla="*/ 28621 w 57539"/>
                <a:gd name="connsiteY1" fmla="*/ 28621 h 28620"/>
                <a:gd name="connsiteX2" fmla="*/ 0 w 57539"/>
                <a:gd name="connsiteY2" fmla="*/ 0 h 286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57539" h="28620">
                  <a:moveTo>
                    <a:pt x="57540" y="0"/>
                  </a:moveTo>
                  <a:cubicBezTo>
                    <a:pt x="57540" y="15802"/>
                    <a:pt x="44423" y="28621"/>
                    <a:pt x="28621" y="28621"/>
                  </a:cubicBezTo>
                  <a:cubicBezTo>
                    <a:pt x="12818" y="28621"/>
                    <a:pt x="0" y="15802"/>
                    <a:pt x="0" y="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73" name="Forma livre: Forma 472">
              <a:extLst>
                <a:ext uri="{FF2B5EF4-FFF2-40B4-BE49-F238E27FC236}">
                  <a16:creationId xmlns:a16="http://schemas.microsoft.com/office/drawing/2014/main" id="{438DBE7C-D428-A443-2E1D-ACEEC4FD098E}"/>
                </a:ext>
              </a:extLst>
            </p:cNvPr>
            <p:cNvSpPr/>
            <p:nvPr/>
          </p:nvSpPr>
          <p:spPr>
            <a:xfrm>
              <a:off x="3874514" y="2170580"/>
              <a:ext cx="253505" cy="1193"/>
            </a:xfrm>
            <a:custGeom>
              <a:avLst/>
              <a:gdLst>
                <a:gd name="connsiteX0" fmla="*/ 253505 w 253505"/>
                <a:gd name="connsiteY0" fmla="*/ 0 h 1193"/>
                <a:gd name="connsiteX1" fmla="*/ 0 w 253505"/>
                <a:gd name="connsiteY1" fmla="*/ 0 h 11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53505" h="1193">
                  <a:moveTo>
                    <a:pt x="253505" y="0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74" name="Forma livre: Forma 473">
              <a:extLst>
                <a:ext uri="{FF2B5EF4-FFF2-40B4-BE49-F238E27FC236}">
                  <a16:creationId xmlns:a16="http://schemas.microsoft.com/office/drawing/2014/main" id="{51B075FA-2E0E-7470-4BB7-242C63B6D899}"/>
                </a:ext>
              </a:extLst>
            </p:cNvPr>
            <p:cNvSpPr/>
            <p:nvPr/>
          </p:nvSpPr>
          <p:spPr>
            <a:xfrm>
              <a:off x="3843017" y="2109305"/>
              <a:ext cx="286219" cy="114865"/>
            </a:xfrm>
            <a:custGeom>
              <a:avLst/>
              <a:gdLst>
                <a:gd name="connsiteX0" fmla="*/ 228680 w 286219"/>
                <a:gd name="connsiteY0" fmla="*/ 86244 h 114865"/>
                <a:gd name="connsiteX1" fmla="*/ 257599 w 286219"/>
                <a:gd name="connsiteY1" fmla="*/ 114865 h 114865"/>
                <a:gd name="connsiteX2" fmla="*/ 286220 w 286219"/>
                <a:gd name="connsiteY2" fmla="*/ 86244 h 114865"/>
                <a:gd name="connsiteX3" fmla="*/ 286220 w 286219"/>
                <a:gd name="connsiteY3" fmla="*/ 61407 h 114865"/>
                <a:gd name="connsiteX4" fmla="*/ 251321 w 286219"/>
                <a:gd name="connsiteY4" fmla="*/ 0 h 114865"/>
                <a:gd name="connsiteX5" fmla="*/ 35615 w 286219"/>
                <a:gd name="connsiteY5" fmla="*/ 0 h 114865"/>
                <a:gd name="connsiteX6" fmla="*/ 0 w 286219"/>
                <a:gd name="connsiteY6" fmla="*/ 61395 h 114865"/>
                <a:gd name="connsiteX7" fmla="*/ 0 w 286219"/>
                <a:gd name="connsiteY7" fmla="*/ 86244 h 114865"/>
                <a:gd name="connsiteX8" fmla="*/ 28633 w 286219"/>
                <a:gd name="connsiteY8" fmla="*/ 114865 h 114865"/>
                <a:gd name="connsiteX9" fmla="*/ 56955 w 286219"/>
                <a:gd name="connsiteY9" fmla="*/ 86244 h 1148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86219" h="114865">
                  <a:moveTo>
                    <a:pt x="228680" y="86244"/>
                  </a:moveTo>
                  <a:cubicBezTo>
                    <a:pt x="228680" y="102047"/>
                    <a:pt x="241785" y="114865"/>
                    <a:pt x="257599" y="114865"/>
                  </a:cubicBezTo>
                  <a:cubicBezTo>
                    <a:pt x="273413" y="114865"/>
                    <a:pt x="286220" y="102047"/>
                    <a:pt x="286220" y="86244"/>
                  </a:cubicBezTo>
                  <a:lnTo>
                    <a:pt x="286220" y="61407"/>
                  </a:lnTo>
                  <a:lnTo>
                    <a:pt x="251321" y="0"/>
                  </a:lnTo>
                  <a:lnTo>
                    <a:pt x="35615" y="0"/>
                  </a:lnTo>
                  <a:lnTo>
                    <a:pt x="0" y="61395"/>
                  </a:lnTo>
                  <a:lnTo>
                    <a:pt x="0" y="86244"/>
                  </a:lnTo>
                  <a:cubicBezTo>
                    <a:pt x="0" y="102047"/>
                    <a:pt x="12830" y="114865"/>
                    <a:pt x="28633" y="114865"/>
                  </a:cubicBezTo>
                  <a:cubicBezTo>
                    <a:pt x="44435" y="114865"/>
                    <a:pt x="56955" y="102047"/>
                    <a:pt x="56955" y="86244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75" name="Forma livre: Forma 474">
              <a:extLst>
                <a:ext uri="{FF2B5EF4-FFF2-40B4-BE49-F238E27FC236}">
                  <a16:creationId xmlns:a16="http://schemas.microsoft.com/office/drawing/2014/main" id="{B460D5EE-097C-352A-91EA-21E55B59B792}"/>
                </a:ext>
              </a:extLst>
            </p:cNvPr>
            <p:cNvSpPr/>
            <p:nvPr/>
          </p:nvSpPr>
          <p:spPr>
            <a:xfrm>
              <a:off x="3960938" y="2109830"/>
              <a:ext cx="2148" cy="34313"/>
            </a:xfrm>
            <a:custGeom>
              <a:avLst/>
              <a:gdLst>
                <a:gd name="connsiteX0" fmla="*/ 0 w 2148"/>
                <a:gd name="connsiteY0" fmla="*/ 34314 h 34313"/>
                <a:gd name="connsiteX1" fmla="*/ 2148 w 2148"/>
                <a:gd name="connsiteY1" fmla="*/ 0 h 343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148" h="34313">
                  <a:moveTo>
                    <a:pt x="0" y="34314"/>
                  </a:moveTo>
                  <a:lnTo>
                    <a:pt x="2148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76" name="Forma livre: Forma 475">
              <a:extLst>
                <a:ext uri="{FF2B5EF4-FFF2-40B4-BE49-F238E27FC236}">
                  <a16:creationId xmlns:a16="http://schemas.microsoft.com/office/drawing/2014/main" id="{D5372E00-0AA7-09BC-3D38-9CB3D249D168}"/>
                </a:ext>
              </a:extLst>
            </p:cNvPr>
            <p:cNvSpPr/>
            <p:nvPr/>
          </p:nvSpPr>
          <p:spPr>
            <a:xfrm>
              <a:off x="3910953" y="2109830"/>
              <a:ext cx="8104" cy="34313"/>
            </a:xfrm>
            <a:custGeom>
              <a:avLst/>
              <a:gdLst>
                <a:gd name="connsiteX0" fmla="*/ 0 w 8104"/>
                <a:gd name="connsiteY0" fmla="*/ 34314 h 34313"/>
                <a:gd name="connsiteX1" fmla="*/ 8104 w 8104"/>
                <a:gd name="connsiteY1" fmla="*/ 0 h 343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104" h="34313">
                  <a:moveTo>
                    <a:pt x="0" y="34314"/>
                  </a:moveTo>
                  <a:lnTo>
                    <a:pt x="8104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77" name="Forma livre: Forma 476">
              <a:extLst>
                <a:ext uri="{FF2B5EF4-FFF2-40B4-BE49-F238E27FC236}">
                  <a16:creationId xmlns:a16="http://schemas.microsoft.com/office/drawing/2014/main" id="{2522053B-E05B-F5DF-2CE1-89297BB57469}"/>
                </a:ext>
              </a:extLst>
            </p:cNvPr>
            <p:cNvSpPr/>
            <p:nvPr/>
          </p:nvSpPr>
          <p:spPr>
            <a:xfrm>
              <a:off x="4007951" y="2109830"/>
              <a:ext cx="2160" cy="34313"/>
            </a:xfrm>
            <a:custGeom>
              <a:avLst/>
              <a:gdLst>
                <a:gd name="connsiteX0" fmla="*/ 2160 w 2160"/>
                <a:gd name="connsiteY0" fmla="*/ 34314 h 34313"/>
                <a:gd name="connsiteX1" fmla="*/ 0 w 2160"/>
                <a:gd name="connsiteY1" fmla="*/ 0 h 343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160" h="34313">
                  <a:moveTo>
                    <a:pt x="2160" y="34314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78" name="Forma livre: Forma 477">
              <a:extLst>
                <a:ext uri="{FF2B5EF4-FFF2-40B4-BE49-F238E27FC236}">
                  <a16:creationId xmlns:a16="http://schemas.microsoft.com/office/drawing/2014/main" id="{19BD8B17-E235-DD5A-5A72-D38C95191B2C}"/>
                </a:ext>
              </a:extLst>
            </p:cNvPr>
            <p:cNvSpPr/>
            <p:nvPr/>
          </p:nvSpPr>
          <p:spPr>
            <a:xfrm>
              <a:off x="4051980" y="2109830"/>
              <a:ext cx="8115" cy="34313"/>
            </a:xfrm>
            <a:custGeom>
              <a:avLst/>
              <a:gdLst>
                <a:gd name="connsiteX0" fmla="*/ 8116 w 8115"/>
                <a:gd name="connsiteY0" fmla="*/ 34314 h 34313"/>
                <a:gd name="connsiteX1" fmla="*/ 0 w 8115"/>
                <a:gd name="connsiteY1" fmla="*/ 0 h 343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115" h="34313">
                  <a:moveTo>
                    <a:pt x="8116" y="34314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79" name="Forma livre: Forma 478">
              <a:extLst>
                <a:ext uri="{FF2B5EF4-FFF2-40B4-BE49-F238E27FC236}">
                  <a16:creationId xmlns:a16="http://schemas.microsoft.com/office/drawing/2014/main" id="{6B48F1B5-8CC5-1981-BECA-ECC7E6BCD3F1}"/>
                </a:ext>
              </a:extLst>
            </p:cNvPr>
            <p:cNvSpPr/>
            <p:nvPr/>
          </p:nvSpPr>
          <p:spPr>
            <a:xfrm>
              <a:off x="3835975" y="2382599"/>
              <a:ext cx="300387" cy="1193"/>
            </a:xfrm>
            <a:custGeom>
              <a:avLst/>
              <a:gdLst>
                <a:gd name="connsiteX0" fmla="*/ 0 w 300387"/>
                <a:gd name="connsiteY0" fmla="*/ 0 h 1193"/>
                <a:gd name="connsiteX1" fmla="*/ 300387 w 300387"/>
                <a:gd name="connsiteY1" fmla="*/ 0 h 11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00387" h="1193">
                  <a:moveTo>
                    <a:pt x="0" y="0"/>
                  </a:moveTo>
                  <a:lnTo>
                    <a:pt x="300387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80" name="Forma livre: Forma 479">
              <a:extLst>
                <a:ext uri="{FF2B5EF4-FFF2-40B4-BE49-F238E27FC236}">
                  <a16:creationId xmlns:a16="http://schemas.microsoft.com/office/drawing/2014/main" id="{63782527-9E1A-E5CD-D404-3E008C9E6717}"/>
                </a:ext>
              </a:extLst>
            </p:cNvPr>
            <p:cNvSpPr/>
            <p:nvPr/>
          </p:nvSpPr>
          <p:spPr>
            <a:xfrm>
              <a:off x="4159302" y="2382599"/>
              <a:ext cx="16876" cy="1193"/>
            </a:xfrm>
            <a:custGeom>
              <a:avLst/>
              <a:gdLst>
                <a:gd name="connsiteX0" fmla="*/ 0 w 16876"/>
                <a:gd name="connsiteY0" fmla="*/ 0 h 1193"/>
                <a:gd name="connsiteX1" fmla="*/ 16877 w 16876"/>
                <a:gd name="connsiteY1" fmla="*/ 0 h 11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6876" h="1193">
                  <a:moveTo>
                    <a:pt x="0" y="0"/>
                  </a:moveTo>
                  <a:lnTo>
                    <a:pt x="16877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481" name="Gráfico 4">
            <a:extLst>
              <a:ext uri="{FF2B5EF4-FFF2-40B4-BE49-F238E27FC236}">
                <a16:creationId xmlns:a16="http://schemas.microsoft.com/office/drawing/2014/main" id="{44CC9A20-D492-9A84-1B00-4464CB82889D}"/>
              </a:ext>
            </a:extLst>
          </p:cNvPr>
          <p:cNvGrpSpPr/>
          <p:nvPr/>
        </p:nvGrpSpPr>
        <p:grpSpPr>
          <a:xfrm>
            <a:off x="2581458" y="2056384"/>
            <a:ext cx="361054" cy="326215"/>
            <a:chOff x="2581458" y="2056384"/>
            <a:chExt cx="361054" cy="326215"/>
          </a:xfrm>
          <a:noFill/>
        </p:grpSpPr>
        <p:sp>
          <p:nvSpPr>
            <p:cNvPr id="482" name="Forma livre: Forma 481">
              <a:extLst>
                <a:ext uri="{FF2B5EF4-FFF2-40B4-BE49-F238E27FC236}">
                  <a16:creationId xmlns:a16="http://schemas.microsoft.com/office/drawing/2014/main" id="{CD706956-28B2-F018-B258-BAF48FF48FB5}"/>
                </a:ext>
              </a:extLst>
            </p:cNvPr>
            <p:cNvSpPr/>
            <p:nvPr/>
          </p:nvSpPr>
          <p:spPr>
            <a:xfrm>
              <a:off x="2715324" y="2299923"/>
              <a:ext cx="52610" cy="82448"/>
            </a:xfrm>
            <a:custGeom>
              <a:avLst/>
              <a:gdLst>
                <a:gd name="connsiteX0" fmla="*/ 0 w 52610"/>
                <a:gd name="connsiteY0" fmla="*/ 62410 h 82448"/>
                <a:gd name="connsiteX1" fmla="*/ 0 w 52610"/>
                <a:gd name="connsiteY1" fmla="*/ 27057 h 82448"/>
                <a:gd name="connsiteX2" fmla="*/ 26305 w 52610"/>
                <a:gd name="connsiteY2" fmla="*/ 0 h 82448"/>
                <a:gd name="connsiteX3" fmla="*/ 52611 w 52610"/>
                <a:gd name="connsiteY3" fmla="*/ 27057 h 82448"/>
                <a:gd name="connsiteX4" fmla="*/ 52611 w 52610"/>
                <a:gd name="connsiteY4" fmla="*/ 82449 h 824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2610" h="82448">
                  <a:moveTo>
                    <a:pt x="0" y="62410"/>
                  </a:moveTo>
                  <a:lnTo>
                    <a:pt x="0" y="27057"/>
                  </a:lnTo>
                  <a:cubicBezTo>
                    <a:pt x="0" y="12186"/>
                    <a:pt x="11840" y="0"/>
                    <a:pt x="26305" y="0"/>
                  </a:cubicBezTo>
                  <a:cubicBezTo>
                    <a:pt x="40771" y="0"/>
                    <a:pt x="52611" y="12186"/>
                    <a:pt x="52611" y="27057"/>
                  </a:cubicBezTo>
                  <a:lnTo>
                    <a:pt x="52611" y="82449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83" name="Forma livre: Forma 482">
              <a:extLst>
                <a:ext uri="{FF2B5EF4-FFF2-40B4-BE49-F238E27FC236}">
                  <a16:creationId xmlns:a16="http://schemas.microsoft.com/office/drawing/2014/main" id="{405D2339-25B6-0DF9-A7DA-42553BE9CDD2}"/>
                </a:ext>
              </a:extLst>
            </p:cNvPr>
            <p:cNvSpPr/>
            <p:nvPr/>
          </p:nvSpPr>
          <p:spPr>
            <a:xfrm>
              <a:off x="2925743" y="2382599"/>
              <a:ext cx="16769" cy="1193"/>
            </a:xfrm>
            <a:custGeom>
              <a:avLst/>
              <a:gdLst>
                <a:gd name="connsiteX0" fmla="*/ 0 w 16769"/>
                <a:gd name="connsiteY0" fmla="*/ 0 h 1193"/>
                <a:gd name="connsiteX1" fmla="*/ 16769 w 16769"/>
                <a:gd name="connsiteY1" fmla="*/ 0 h 11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6769" h="1193">
                  <a:moveTo>
                    <a:pt x="0" y="0"/>
                  </a:moveTo>
                  <a:lnTo>
                    <a:pt x="16769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84" name="Forma livre: Forma 483">
              <a:extLst>
                <a:ext uri="{FF2B5EF4-FFF2-40B4-BE49-F238E27FC236}">
                  <a16:creationId xmlns:a16="http://schemas.microsoft.com/office/drawing/2014/main" id="{CED510D6-06DD-9D48-F286-B1B099DACD18}"/>
                </a:ext>
              </a:extLst>
            </p:cNvPr>
            <p:cNvSpPr/>
            <p:nvPr/>
          </p:nvSpPr>
          <p:spPr>
            <a:xfrm>
              <a:off x="2581458" y="2382599"/>
              <a:ext cx="321918" cy="1193"/>
            </a:xfrm>
            <a:custGeom>
              <a:avLst/>
              <a:gdLst>
                <a:gd name="connsiteX0" fmla="*/ 0 w 321918"/>
                <a:gd name="connsiteY0" fmla="*/ 0 h 1193"/>
                <a:gd name="connsiteX1" fmla="*/ 321918 w 321918"/>
                <a:gd name="connsiteY1" fmla="*/ 0 h 11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21918" h="1193">
                  <a:moveTo>
                    <a:pt x="0" y="0"/>
                  </a:moveTo>
                  <a:lnTo>
                    <a:pt x="321918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485" name="Gráfico 4">
              <a:extLst>
                <a:ext uri="{FF2B5EF4-FFF2-40B4-BE49-F238E27FC236}">
                  <a16:creationId xmlns:a16="http://schemas.microsoft.com/office/drawing/2014/main" id="{FA79E92F-43AA-9DE3-3AEA-7E9ABE3B4C27}"/>
                </a:ext>
              </a:extLst>
            </p:cNvPr>
            <p:cNvGrpSpPr/>
            <p:nvPr/>
          </p:nvGrpSpPr>
          <p:grpSpPr>
            <a:xfrm>
              <a:off x="2686954" y="2276231"/>
              <a:ext cx="109362" cy="19466"/>
              <a:chOff x="2686954" y="2276231"/>
              <a:chExt cx="109362" cy="19466"/>
            </a:xfrm>
          </p:grpSpPr>
          <p:sp>
            <p:nvSpPr>
              <p:cNvPr id="486" name="Forma livre: Forma 485">
                <a:extLst>
                  <a:ext uri="{FF2B5EF4-FFF2-40B4-BE49-F238E27FC236}">
                    <a16:creationId xmlns:a16="http://schemas.microsoft.com/office/drawing/2014/main" id="{553AFD0B-9490-8063-2FF5-49C8B95B3206}"/>
                  </a:ext>
                </a:extLst>
              </p:cNvPr>
              <p:cNvSpPr/>
              <p:nvPr/>
            </p:nvSpPr>
            <p:spPr>
              <a:xfrm>
                <a:off x="2686954" y="2276231"/>
                <a:ext cx="1193" cy="19466"/>
              </a:xfrm>
              <a:custGeom>
                <a:avLst/>
                <a:gdLst>
                  <a:gd name="connsiteX0" fmla="*/ 0 w 1193"/>
                  <a:gd name="connsiteY0" fmla="*/ 0 h 19466"/>
                  <a:gd name="connsiteX1" fmla="*/ 0 w 1193"/>
                  <a:gd name="connsiteY1" fmla="*/ 19466 h 194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3" h="19466">
                    <a:moveTo>
                      <a:pt x="0" y="0"/>
                    </a:moveTo>
                    <a:lnTo>
                      <a:pt x="0" y="19466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87" name="Forma livre: Forma 486">
                <a:extLst>
                  <a:ext uri="{FF2B5EF4-FFF2-40B4-BE49-F238E27FC236}">
                    <a16:creationId xmlns:a16="http://schemas.microsoft.com/office/drawing/2014/main" id="{5B00ADF2-51C4-A6FB-331A-7B2F028CF439}"/>
                  </a:ext>
                </a:extLst>
              </p:cNvPr>
              <p:cNvSpPr/>
              <p:nvPr/>
            </p:nvSpPr>
            <p:spPr>
              <a:xfrm>
                <a:off x="2796317" y="2276231"/>
                <a:ext cx="1193" cy="19466"/>
              </a:xfrm>
              <a:custGeom>
                <a:avLst/>
                <a:gdLst>
                  <a:gd name="connsiteX0" fmla="*/ 0 w 1193"/>
                  <a:gd name="connsiteY0" fmla="*/ 0 h 19466"/>
                  <a:gd name="connsiteX1" fmla="*/ 0 w 1193"/>
                  <a:gd name="connsiteY1" fmla="*/ 19466 h 194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3" h="19466">
                    <a:moveTo>
                      <a:pt x="0" y="0"/>
                    </a:moveTo>
                    <a:lnTo>
                      <a:pt x="0" y="19466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488" name="Forma livre: Forma 487">
              <a:extLst>
                <a:ext uri="{FF2B5EF4-FFF2-40B4-BE49-F238E27FC236}">
                  <a16:creationId xmlns:a16="http://schemas.microsoft.com/office/drawing/2014/main" id="{A29D32EF-F7AF-3C03-2CAB-E259122312B6}"/>
                </a:ext>
              </a:extLst>
            </p:cNvPr>
            <p:cNvSpPr/>
            <p:nvPr/>
          </p:nvSpPr>
          <p:spPr>
            <a:xfrm>
              <a:off x="2708903" y="2198306"/>
              <a:ext cx="65464" cy="75574"/>
            </a:xfrm>
            <a:custGeom>
              <a:avLst/>
              <a:gdLst>
                <a:gd name="connsiteX0" fmla="*/ 32738 w 65464"/>
                <a:gd name="connsiteY0" fmla="*/ 0 h 75574"/>
                <a:gd name="connsiteX1" fmla="*/ 43635 w 65464"/>
                <a:gd name="connsiteY1" fmla="*/ 18893 h 75574"/>
                <a:gd name="connsiteX2" fmla="*/ 65465 w 65464"/>
                <a:gd name="connsiteY2" fmla="*/ 18893 h 75574"/>
                <a:gd name="connsiteX3" fmla="*/ 54556 w 65464"/>
                <a:gd name="connsiteY3" fmla="*/ 37787 h 75574"/>
                <a:gd name="connsiteX4" fmla="*/ 65465 w 65464"/>
                <a:gd name="connsiteY4" fmla="*/ 56681 h 75574"/>
                <a:gd name="connsiteX5" fmla="*/ 43635 w 65464"/>
                <a:gd name="connsiteY5" fmla="*/ 56681 h 75574"/>
                <a:gd name="connsiteX6" fmla="*/ 32738 w 65464"/>
                <a:gd name="connsiteY6" fmla="*/ 75574 h 75574"/>
                <a:gd name="connsiteX7" fmla="*/ 21818 w 65464"/>
                <a:gd name="connsiteY7" fmla="*/ 56681 h 75574"/>
                <a:gd name="connsiteX8" fmla="*/ 0 w 65464"/>
                <a:gd name="connsiteY8" fmla="*/ 56681 h 75574"/>
                <a:gd name="connsiteX9" fmla="*/ 10909 w 65464"/>
                <a:gd name="connsiteY9" fmla="*/ 37787 h 75574"/>
                <a:gd name="connsiteX10" fmla="*/ 0 w 65464"/>
                <a:gd name="connsiteY10" fmla="*/ 18893 h 75574"/>
                <a:gd name="connsiteX11" fmla="*/ 21818 w 65464"/>
                <a:gd name="connsiteY11" fmla="*/ 18893 h 755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65464" h="75574">
                  <a:moveTo>
                    <a:pt x="32738" y="0"/>
                  </a:moveTo>
                  <a:lnTo>
                    <a:pt x="43635" y="18893"/>
                  </a:lnTo>
                  <a:lnTo>
                    <a:pt x="65465" y="18893"/>
                  </a:lnTo>
                  <a:lnTo>
                    <a:pt x="54556" y="37787"/>
                  </a:lnTo>
                  <a:lnTo>
                    <a:pt x="65465" y="56681"/>
                  </a:lnTo>
                  <a:lnTo>
                    <a:pt x="43635" y="56681"/>
                  </a:lnTo>
                  <a:lnTo>
                    <a:pt x="32738" y="75574"/>
                  </a:lnTo>
                  <a:lnTo>
                    <a:pt x="21818" y="56681"/>
                  </a:lnTo>
                  <a:lnTo>
                    <a:pt x="0" y="56681"/>
                  </a:lnTo>
                  <a:lnTo>
                    <a:pt x="10909" y="37787"/>
                  </a:lnTo>
                  <a:lnTo>
                    <a:pt x="0" y="18893"/>
                  </a:lnTo>
                  <a:lnTo>
                    <a:pt x="21818" y="18893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89" name="Forma livre: Forma 488">
              <a:extLst>
                <a:ext uri="{FF2B5EF4-FFF2-40B4-BE49-F238E27FC236}">
                  <a16:creationId xmlns:a16="http://schemas.microsoft.com/office/drawing/2014/main" id="{FC1E8F85-48B1-E3F7-0BCD-7FE70EE576B1}"/>
                </a:ext>
              </a:extLst>
            </p:cNvPr>
            <p:cNvSpPr/>
            <p:nvPr/>
          </p:nvSpPr>
          <p:spPr>
            <a:xfrm>
              <a:off x="2660756" y="2123973"/>
              <a:ext cx="161758" cy="106331"/>
            </a:xfrm>
            <a:custGeom>
              <a:avLst/>
              <a:gdLst>
                <a:gd name="connsiteX0" fmla="*/ 161759 w 161758"/>
                <a:gd name="connsiteY0" fmla="*/ 106331 h 106331"/>
                <a:gd name="connsiteX1" fmla="*/ 92904 w 161758"/>
                <a:gd name="connsiteY1" fmla="*/ 40138 h 106331"/>
                <a:gd name="connsiteX2" fmla="*/ 92904 w 161758"/>
                <a:gd name="connsiteY2" fmla="*/ 11279 h 106331"/>
                <a:gd name="connsiteX3" fmla="*/ 81637 w 161758"/>
                <a:gd name="connsiteY3" fmla="*/ 0 h 106331"/>
                <a:gd name="connsiteX4" fmla="*/ 80133 w 161758"/>
                <a:gd name="connsiteY4" fmla="*/ 0 h 106331"/>
                <a:gd name="connsiteX5" fmla="*/ 68855 w 161758"/>
                <a:gd name="connsiteY5" fmla="*/ 11279 h 106331"/>
                <a:gd name="connsiteX6" fmla="*/ 68855 w 161758"/>
                <a:gd name="connsiteY6" fmla="*/ 40138 h 106331"/>
                <a:gd name="connsiteX7" fmla="*/ 0 w 161758"/>
                <a:gd name="connsiteY7" fmla="*/ 106331 h 1063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61758" h="106331">
                  <a:moveTo>
                    <a:pt x="161759" y="106331"/>
                  </a:moveTo>
                  <a:lnTo>
                    <a:pt x="92904" y="40138"/>
                  </a:lnTo>
                  <a:lnTo>
                    <a:pt x="92904" y="11279"/>
                  </a:lnTo>
                  <a:cubicBezTo>
                    <a:pt x="92904" y="5072"/>
                    <a:pt x="87832" y="0"/>
                    <a:pt x="81637" y="0"/>
                  </a:cubicBezTo>
                  <a:lnTo>
                    <a:pt x="80133" y="0"/>
                  </a:lnTo>
                  <a:cubicBezTo>
                    <a:pt x="73927" y="0"/>
                    <a:pt x="68855" y="5072"/>
                    <a:pt x="68855" y="11279"/>
                  </a:cubicBezTo>
                  <a:lnTo>
                    <a:pt x="68855" y="40138"/>
                  </a:lnTo>
                  <a:lnTo>
                    <a:pt x="0" y="106331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90" name="Forma livre: Forma 489">
              <a:extLst>
                <a:ext uri="{FF2B5EF4-FFF2-40B4-BE49-F238E27FC236}">
                  <a16:creationId xmlns:a16="http://schemas.microsoft.com/office/drawing/2014/main" id="{E73B2EF7-FC69-8B5B-052E-67FD8BC7D201}"/>
                </a:ext>
              </a:extLst>
            </p:cNvPr>
            <p:cNvSpPr/>
            <p:nvPr/>
          </p:nvSpPr>
          <p:spPr>
            <a:xfrm>
              <a:off x="2741630" y="2102537"/>
              <a:ext cx="1193" cy="20743"/>
            </a:xfrm>
            <a:custGeom>
              <a:avLst/>
              <a:gdLst>
                <a:gd name="connsiteX0" fmla="*/ 0 w 1193"/>
                <a:gd name="connsiteY0" fmla="*/ 20744 h 20743"/>
                <a:gd name="connsiteX1" fmla="*/ 0 w 1193"/>
                <a:gd name="connsiteY1" fmla="*/ 0 h 207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93" h="20743">
                  <a:moveTo>
                    <a:pt x="0" y="20744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91" name="Forma livre: Forma 490">
              <a:extLst>
                <a:ext uri="{FF2B5EF4-FFF2-40B4-BE49-F238E27FC236}">
                  <a16:creationId xmlns:a16="http://schemas.microsoft.com/office/drawing/2014/main" id="{3436BBBD-31FE-A3FA-37D9-FA7040AD7EF1}"/>
                </a:ext>
              </a:extLst>
            </p:cNvPr>
            <p:cNvSpPr/>
            <p:nvPr/>
          </p:nvSpPr>
          <p:spPr>
            <a:xfrm>
              <a:off x="2730052" y="2164111"/>
              <a:ext cx="23154" cy="1193"/>
            </a:xfrm>
            <a:custGeom>
              <a:avLst/>
              <a:gdLst>
                <a:gd name="connsiteX0" fmla="*/ 23154 w 23154"/>
                <a:gd name="connsiteY0" fmla="*/ 0 h 1193"/>
                <a:gd name="connsiteX1" fmla="*/ 0 w 23154"/>
                <a:gd name="connsiteY1" fmla="*/ 0 h 11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3154" h="1193">
                  <a:moveTo>
                    <a:pt x="23154" y="0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492" name="Gráfico 4">
              <a:extLst>
                <a:ext uri="{FF2B5EF4-FFF2-40B4-BE49-F238E27FC236}">
                  <a16:creationId xmlns:a16="http://schemas.microsoft.com/office/drawing/2014/main" id="{38362B6D-1F6D-D17B-98BC-2930BCFCFD07}"/>
                </a:ext>
              </a:extLst>
            </p:cNvPr>
            <p:cNvGrpSpPr/>
            <p:nvPr/>
          </p:nvGrpSpPr>
          <p:grpSpPr>
            <a:xfrm>
              <a:off x="2587318" y="2056384"/>
              <a:ext cx="308634" cy="325916"/>
              <a:chOff x="2587318" y="2056384"/>
              <a:chExt cx="308634" cy="325916"/>
            </a:xfrm>
            <a:noFill/>
          </p:grpSpPr>
          <p:grpSp>
            <p:nvGrpSpPr>
              <p:cNvPr id="493" name="Gráfico 4">
                <a:extLst>
                  <a:ext uri="{FF2B5EF4-FFF2-40B4-BE49-F238E27FC236}">
                    <a16:creationId xmlns:a16="http://schemas.microsoft.com/office/drawing/2014/main" id="{BEB4997B-223F-8806-B82A-503B6FFCB400}"/>
                  </a:ext>
                </a:extLst>
              </p:cNvPr>
              <p:cNvGrpSpPr/>
              <p:nvPr/>
            </p:nvGrpSpPr>
            <p:grpSpPr>
              <a:xfrm>
                <a:off x="2587318" y="2056384"/>
                <a:ext cx="87187" cy="325916"/>
                <a:chOff x="2587318" y="2056384"/>
                <a:chExt cx="87187" cy="325916"/>
              </a:xfrm>
              <a:noFill/>
            </p:grpSpPr>
            <p:sp>
              <p:nvSpPr>
                <p:cNvPr id="494" name="Forma livre: Forma 493">
                  <a:extLst>
                    <a:ext uri="{FF2B5EF4-FFF2-40B4-BE49-F238E27FC236}">
                      <a16:creationId xmlns:a16="http://schemas.microsoft.com/office/drawing/2014/main" id="{B3CFE696-46DA-346F-FD70-9EBC3209F1A3}"/>
                    </a:ext>
                  </a:extLst>
                </p:cNvPr>
                <p:cNvSpPr/>
                <p:nvPr/>
              </p:nvSpPr>
              <p:spPr>
                <a:xfrm>
                  <a:off x="2630906" y="2193938"/>
                  <a:ext cx="1193" cy="19466"/>
                </a:xfrm>
                <a:custGeom>
                  <a:avLst/>
                  <a:gdLst>
                    <a:gd name="connsiteX0" fmla="*/ 0 w 1193"/>
                    <a:gd name="connsiteY0" fmla="*/ 0 h 19466"/>
                    <a:gd name="connsiteX1" fmla="*/ 0 w 1193"/>
                    <a:gd name="connsiteY1" fmla="*/ 19466 h 1946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193" h="19466">
                      <a:moveTo>
                        <a:pt x="0" y="0"/>
                      </a:moveTo>
                      <a:lnTo>
                        <a:pt x="0" y="19466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495" name="Forma livre: Forma 494">
                  <a:extLst>
                    <a:ext uri="{FF2B5EF4-FFF2-40B4-BE49-F238E27FC236}">
                      <a16:creationId xmlns:a16="http://schemas.microsoft.com/office/drawing/2014/main" id="{050DF784-05BF-EF7F-F5BD-F21183B21579}"/>
                    </a:ext>
                  </a:extLst>
                </p:cNvPr>
                <p:cNvSpPr/>
                <p:nvPr/>
              </p:nvSpPr>
              <p:spPr>
                <a:xfrm>
                  <a:off x="2630906" y="2276231"/>
                  <a:ext cx="1193" cy="19466"/>
                </a:xfrm>
                <a:custGeom>
                  <a:avLst/>
                  <a:gdLst>
                    <a:gd name="connsiteX0" fmla="*/ 0 w 1193"/>
                    <a:gd name="connsiteY0" fmla="*/ 0 h 19466"/>
                    <a:gd name="connsiteX1" fmla="*/ 0 w 1193"/>
                    <a:gd name="connsiteY1" fmla="*/ 19466 h 1946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193" h="19466">
                      <a:moveTo>
                        <a:pt x="0" y="0"/>
                      </a:moveTo>
                      <a:lnTo>
                        <a:pt x="0" y="19466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grpSp>
              <p:nvGrpSpPr>
                <p:cNvPr id="496" name="Gráfico 4">
                  <a:extLst>
                    <a:ext uri="{FF2B5EF4-FFF2-40B4-BE49-F238E27FC236}">
                      <a16:creationId xmlns:a16="http://schemas.microsoft.com/office/drawing/2014/main" id="{6C853E3D-3C13-94BC-6C3A-7F4A186F5B27}"/>
                    </a:ext>
                  </a:extLst>
                </p:cNvPr>
                <p:cNvGrpSpPr/>
                <p:nvPr/>
              </p:nvGrpSpPr>
              <p:grpSpPr>
                <a:xfrm>
                  <a:off x="2587318" y="2078917"/>
                  <a:ext cx="87187" cy="303382"/>
                  <a:chOff x="2587318" y="2078917"/>
                  <a:chExt cx="87187" cy="303382"/>
                </a:xfrm>
                <a:noFill/>
              </p:grpSpPr>
              <p:sp>
                <p:nvSpPr>
                  <p:cNvPr id="497" name="Forma livre: Forma 496">
                    <a:extLst>
                      <a:ext uri="{FF2B5EF4-FFF2-40B4-BE49-F238E27FC236}">
                        <a16:creationId xmlns:a16="http://schemas.microsoft.com/office/drawing/2014/main" id="{5503183A-4D2C-62B5-7937-520A3038BFFB}"/>
                      </a:ext>
                    </a:extLst>
                  </p:cNvPr>
                  <p:cNvSpPr/>
                  <p:nvPr/>
                </p:nvSpPr>
                <p:spPr>
                  <a:xfrm>
                    <a:off x="2628304" y="2162202"/>
                    <a:ext cx="28919" cy="1193"/>
                  </a:xfrm>
                  <a:custGeom>
                    <a:avLst/>
                    <a:gdLst>
                      <a:gd name="connsiteX0" fmla="*/ 28919 w 28919"/>
                      <a:gd name="connsiteY0" fmla="*/ 0 h 1193"/>
                      <a:gd name="connsiteX1" fmla="*/ 0 w 28919"/>
                      <a:gd name="connsiteY1" fmla="*/ 0 h 119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28919" h="1193">
                        <a:moveTo>
                          <a:pt x="28919" y="0"/>
                        </a:moveTo>
                        <a:lnTo>
                          <a:pt x="0" y="0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498" name="Forma livre: Forma 497">
                    <a:extLst>
                      <a:ext uri="{FF2B5EF4-FFF2-40B4-BE49-F238E27FC236}">
                        <a16:creationId xmlns:a16="http://schemas.microsoft.com/office/drawing/2014/main" id="{5B61985F-CE93-A5ED-D02D-F1FFD1E417D9}"/>
                      </a:ext>
                    </a:extLst>
                  </p:cNvPr>
                  <p:cNvSpPr/>
                  <p:nvPr/>
                </p:nvSpPr>
                <p:spPr>
                  <a:xfrm>
                    <a:off x="2587318" y="2078917"/>
                    <a:ext cx="87187" cy="303382"/>
                  </a:xfrm>
                  <a:custGeom>
                    <a:avLst/>
                    <a:gdLst>
                      <a:gd name="connsiteX0" fmla="*/ 71027 w 87187"/>
                      <a:gd name="connsiteY0" fmla="*/ 303383 h 303382"/>
                      <a:gd name="connsiteX1" fmla="*/ 71027 w 87187"/>
                      <a:gd name="connsiteY1" fmla="*/ 81685 h 303382"/>
                      <a:gd name="connsiteX2" fmla="*/ 87187 w 87187"/>
                      <a:gd name="connsiteY2" fmla="*/ 54186 h 303382"/>
                      <a:gd name="connsiteX3" fmla="*/ 43600 w 87187"/>
                      <a:gd name="connsiteY3" fmla="*/ 0 h 303382"/>
                      <a:gd name="connsiteX4" fmla="*/ 0 w 87187"/>
                      <a:gd name="connsiteY4" fmla="*/ 54186 h 303382"/>
                      <a:gd name="connsiteX5" fmla="*/ 16160 w 87187"/>
                      <a:gd name="connsiteY5" fmla="*/ 81685 h 303382"/>
                      <a:gd name="connsiteX6" fmla="*/ 16160 w 87187"/>
                      <a:gd name="connsiteY6" fmla="*/ 285719 h 30338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87187" h="303382">
                        <a:moveTo>
                          <a:pt x="71027" y="303383"/>
                        </a:moveTo>
                        <a:lnTo>
                          <a:pt x="71027" y="81685"/>
                        </a:lnTo>
                        <a:cubicBezTo>
                          <a:pt x="80873" y="76648"/>
                          <a:pt x="87187" y="67864"/>
                          <a:pt x="87187" y="54186"/>
                        </a:cubicBezTo>
                        <a:cubicBezTo>
                          <a:pt x="87187" y="30101"/>
                          <a:pt x="53971" y="20970"/>
                          <a:pt x="43600" y="0"/>
                        </a:cubicBezTo>
                        <a:cubicBezTo>
                          <a:pt x="33216" y="20970"/>
                          <a:pt x="0" y="30101"/>
                          <a:pt x="0" y="54186"/>
                        </a:cubicBezTo>
                        <a:cubicBezTo>
                          <a:pt x="0" y="67864"/>
                          <a:pt x="6302" y="76648"/>
                          <a:pt x="16160" y="81685"/>
                        </a:cubicBezTo>
                        <a:lnTo>
                          <a:pt x="16160" y="285719"/>
                        </a:lnTo>
                      </a:path>
                    </a:pathLst>
                  </a:custGeom>
                  <a:noFill/>
                  <a:ln w="6350" cap="flat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  <p:sp>
              <p:nvSpPr>
                <p:cNvPr id="499" name="Forma livre: Forma 498">
                  <a:extLst>
                    <a:ext uri="{FF2B5EF4-FFF2-40B4-BE49-F238E27FC236}">
                      <a16:creationId xmlns:a16="http://schemas.microsoft.com/office/drawing/2014/main" id="{5AB5615A-8E1C-D99A-6208-CD61921CBA26}"/>
                    </a:ext>
                  </a:extLst>
                </p:cNvPr>
                <p:cNvSpPr/>
                <p:nvPr/>
              </p:nvSpPr>
              <p:spPr>
                <a:xfrm>
                  <a:off x="2630906" y="2056384"/>
                  <a:ext cx="1193" cy="22999"/>
                </a:xfrm>
                <a:custGeom>
                  <a:avLst/>
                  <a:gdLst>
                    <a:gd name="connsiteX0" fmla="*/ 0 w 1193"/>
                    <a:gd name="connsiteY0" fmla="*/ 22999 h 22999"/>
                    <a:gd name="connsiteX1" fmla="*/ 0 w 1193"/>
                    <a:gd name="connsiteY1" fmla="*/ 0 h 2299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193" h="22999">
                      <a:moveTo>
                        <a:pt x="0" y="22999"/>
                      </a:moveTo>
                      <a:lnTo>
                        <a:pt x="0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500" name="Forma livre: Forma 499">
                <a:extLst>
                  <a:ext uri="{FF2B5EF4-FFF2-40B4-BE49-F238E27FC236}">
                    <a16:creationId xmlns:a16="http://schemas.microsoft.com/office/drawing/2014/main" id="{B2DFE792-07EE-B493-D153-17C6708EEA73}"/>
                  </a:ext>
                </a:extLst>
              </p:cNvPr>
              <p:cNvSpPr/>
              <p:nvPr/>
            </p:nvSpPr>
            <p:spPr>
              <a:xfrm>
                <a:off x="2851052" y="2056384"/>
                <a:ext cx="1193" cy="27057"/>
              </a:xfrm>
              <a:custGeom>
                <a:avLst/>
                <a:gdLst>
                  <a:gd name="connsiteX0" fmla="*/ 0 w 1193"/>
                  <a:gd name="connsiteY0" fmla="*/ 27057 h 27057"/>
                  <a:gd name="connsiteX1" fmla="*/ 0 w 1193"/>
                  <a:gd name="connsiteY1" fmla="*/ 0 h 270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3" h="27057">
                    <a:moveTo>
                      <a:pt x="0" y="27057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501" name="Gráfico 4">
                <a:extLst>
                  <a:ext uri="{FF2B5EF4-FFF2-40B4-BE49-F238E27FC236}">
                    <a16:creationId xmlns:a16="http://schemas.microsoft.com/office/drawing/2014/main" id="{7577D260-2D07-5848-D981-5BB43220A67A}"/>
                  </a:ext>
                </a:extLst>
              </p:cNvPr>
              <p:cNvGrpSpPr/>
              <p:nvPr/>
            </p:nvGrpSpPr>
            <p:grpSpPr>
              <a:xfrm>
                <a:off x="2808754" y="2056384"/>
                <a:ext cx="87199" cy="325916"/>
                <a:chOff x="2808754" y="2056384"/>
                <a:chExt cx="87199" cy="325916"/>
              </a:xfrm>
              <a:noFill/>
            </p:grpSpPr>
            <p:sp>
              <p:nvSpPr>
                <p:cNvPr id="502" name="Forma livre: Forma 501">
                  <a:extLst>
                    <a:ext uri="{FF2B5EF4-FFF2-40B4-BE49-F238E27FC236}">
                      <a16:creationId xmlns:a16="http://schemas.microsoft.com/office/drawing/2014/main" id="{3FE5A21F-84AF-CD70-8BE1-88BD3213066C}"/>
                    </a:ext>
                  </a:extLst>
                </p:cNvPr>
                <p:cNvSpPr/>
                <p:nvPr/>
              </p:nvSpPr>
              <p:spPr>
                <a:xfrm>
                  <a:off x="2852353" y="2193938"/>
                  <a:ext cx="1193" cy="19466"/>
                </a:xfrm>
                <a:custGeom>
                  <a:avLst/>
                  <a:gdLst>
                    <a:gd name="connsiteX0" fmla="*/ 0 w 1193"/>
                    <a:gd name="connsiteY0" fmla="*/ 0 h 19466"/>
                    <a:gd name="connsiteX1" fmla="*/ 0 w 1193"/>
                    <a:gd name="connsiteY1" fmla="*/ 19466 h 1946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193" h="19466">
                      <a:moveTo>
                        <a:pt x="0" y="0"/>
                      </a:moveTo>
                      <a:lnTo>
                        <a:pt x="0" y="19466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503" name="Forma livre: Forma 502">
                  <a:extLst>
                    <a:ext uri="{FF2B5EF4-FFF2-40B4-BE49-F238E27FC236}">
                      <a16:creationId xmlns:a16="http://schemas.microsoft.com/office/drawing/2014/main" id="{758F9142-324F-85AF-E51D-6D2254BFCBD7}"/>
                    </a:ext>
                  </a:extLst>
                </p:cNvPr>
                <p:cNvSpPr/>
                <p:nvPr/>
              </p:nvSpPr>
              <p:spPr>
                <a:xfrm>
                  <a:off x="2852353" y="2276231"/>
                  <a:ext cx="1193" cy="19466"/>
                </a:xfrm>
                <a:custGeom>
                  <a:avLst/>
                  <a:gdLst>
                    <a:gd name="connsiteX0" fmla="*/ 0 w 1193"/>
                    <a:gd name="connsiteY0" fmla="*/ 0 h 19466"/>
                    <a:gd name="connsiteX1" fmla="*/ 0 w 1193"/>
                    <a:gd name="connsiteY1" fmla="*/ 19466 h 1946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193" h="19466">
                      <a:moveTo>
                        <a:pt x="0" y="0"/>
                      </a:moveTo>
                      <a:lnTo>
                        <a:pt x="0" y="19466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grpSp>
              <p:nvGrpSpPr>
                <p:cNvPr id="504" name="Gráfico 4">
                  <a:extLst>
                    <a:ext uri="{FF2B5EF4-FFF2-40B4-BE49-F238E27FC236}">
                      <a16:creationId xmlns:a16="http://schemas.microsoft.com/office/drawing/2014/main" id="{F6202D17-9AEB-41D4-2777-4B74EAC45547}"/>
                    </a:ext>
                  </a:extLst>
                </p:cNvPr>
                <p:cNvGrpSpPr/>
                <p:nvPr/>
              </p:nvGrpSpPr>
              <p:grpSpPr>
                <a:xfrm>
                  <a:off x="2808754" y="2078917"/>
                  <a:ext cx="87199" cy="303382"/>
                  <a:chOff x="2808754" y="2078917"/>
                  <a:chExt cx="87199" cy="303382"/>
                </a:xfrm>
                <a:noFill/>
              </p:grpSpPr>
              <p:sp>
                <p:nvSpPr>
                  <p:cNvPr id="505" name="Forma livre: Forma 504">
                    <a:extLst>
                      <a:ext uri="{FF2B5EF4-FFF2-40B4-BE49-F238E27FC236}">
                        <a16:creationId xmlns:a16="http://schemas.microsoft.com/office/drawing/2014/main" id="{0080BD06-8BC6-2A62-8C18-BDCB878011C0}"/>
                      </a:ext>
                    </a:extLst>
                  </p:cNvPr>
                  <p:cNvSpPr/>
                  <p:nvPr/>
                </p:nvSpPr>
                <p:spPr>
                  <a:xfrm>
                    <a:off x="2849763" y="2162202"/>
                    <a:ext cx="28907" cy="1193"/>
                  </a:xfrm>
                  <a:custGeom>
                    <a:avLst/>
                    <a:gdLst>
                      <a:gd name="connsiteX0" fmla="*/ 28907 w 28907"/>
                      <a:gd name="connsiteY0" fmla="*/ 0 h 1193"/>
                      <a:gd name="connsiteX1" fmla="*/ 0 w 28907"/>
                      <a:gd name="connsiteY1" fmla="*/ 0 h 119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28907" h="1193">
                        <a:moveTo>
                          <a:pt x="28907" y="0"/>
                        </a:moveTo>
                        <a:lnTo>
                          <a:pt x="0" y="0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506" name="Forma livre: Forma 505">
                    <a:extLst>
                      <a:ext uri="{FF2B5EF4-FFF2-40B4-BE49-F238E27FC236}">
                        <a16:creationId xmlns:a16="http://schemas.microsoft.com/office/drawing/2014/main" id="{04D22FCD-59CE-E442-E484-B250A6F25F50}"/>
                      </a:ext>
                    </a:extLst>
                  </p:cNvPr>
                  <p:cNvSpPr/>
                  <p:nvPr/>
                </p:nvSpPr>
                <p:spPr>
                  <a:xfrm>
                    <a:off x="2808754" y="2078917"/>
                    <a:ext cx="87199" cy="303382"/>
                  </a:xfrm>
                  <a:custGeom>
                    <a:avLst/>
                    <a:gdLst>
                      <a:gd name="connsiteX0" fmla="*/ 71039 w 87199"/>
                      <a:gd name="connsiteY0" fmla="*/ 303383 h 303382"/>
                      <a:gd name="connsiteX1" fmla="*/ 71039 w 87199"/>
                      <a:gd name="connsiteY1" fmla="*/ 81685 h 303382"/>
                      <a:gd name="connsiteX2" fmla="*/ 87199 w 87199"/>
                      <a:gd name="connsiteY2" fmla="*/ 54186 h 303382"/>
                      <a:gd name="connsiteX3" fmla="*/ 43600 w 87199"/>
                      <a:gd name="connsiteY3" fmla="*/ 0 h 303382"/>
                      <a:gd name="connsiteX4" fmla="*/ 0 w 87199"/>
                      <a:gd name="connsiteY4" fmla="*/ 54186 h 303382"/>
                      <a:gd name="connsiteX5" fmla="*/ 16160 w 87199"/>
                      <a:gd name="connsiteY5" fmla="*/ 81685 h 303382"/>
                      <a:gd name="connsiteX6" fmla="*/ 16160 w 87199"/>
                      <a:gd name="connsiteY6" fmla="*/ 285719 h 30338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87199" h="303382">
                        <a:moveTo>
                          <a:pt x="71039" y="303383"/>
                        </a:moveTo>
                        <a:lnTo>
                          <a:pt x="71039" y="81685"/>
                        </a:lnTo>
                        <a:cubicBezTo>
                          <a:pt x="80885" y="76648"/>
                          <a:pt x="87199" y="67864"/>
                          <a:pt x="87199" y="54186"/>
                        </a:cubicBezTo>
                        <a:cubicBezTo>
                          <a:pt x="87199" y="30101"/>
                          <a:pt x="53983" y="20970"/>
                          <a:pt x="43600" y="0"/>
                        </a:cubicBezTo>
                        <a:cubicBezTo>
                          <a:pt x="33216" y="20970"/>
                          <a:pt x="0" y="30101"/>
                          <a:pt x="0" y="54186"/>
                        </a:cubicBezTo>
                        <a:cubicBezTo>
                          <a:pt x="0" y="67864"/>
                          <a:pt x="6314" y="76648"/>
                          <a:pt x="16160" y="81685"/>
                        </a:cubicBezTo>
                        <a:lnTo>
                          <a:pt x="16160" y="285719"/>
                        </a:lnTo>
                      </a:path>
                    </a:pathLst>
                  </a:custGeom>
                  <a:noFill/>
                  <a:ln w="6350" cap="flat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  <p:sp>
              <p:nvSpPr>
                <p:cNvPr id="507" name="Forma livre: Forma 506">
                  <a:extLst>
                    <a:ext uri="{FF2B5EF4-FFF2-40B4-BE49-F238E27FC236}">
                      <a16:creationId xmlns:a16="http://schemas.microsoft.com/office/drawing/2014/main" id="{9B21F73B-120A-523F-A7CD-D67678608F5A}"/>
                    </a:ext>
                  </a:extLst>
                </p:cNvPr>
                <p:cNvSpPr/>
                <p:nvPr/>
              </p:nvSpPr>
              <p:spPr>
                <a:xfrm>
                  <a:off x="2852353" y="2056384"/>
                  <a:ext cx="1193" cy="22999"/>
                </a:xfrm>
                <a:custGeom>
                  <a:avLst/>
                  <a:gdLst>
                    <a:gd name="connsiteX0" fmla="*/ 0 w 1193"/>
                    <a:gd name="connsiteY0" fmla="*/ 22999 h 22999"/>
                    <a:gd name="connsiteX1" fmla="*/ 0 w 1193"/>
                    <a:gd name="connsiteY1" fmla="*/ 0 h 2299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193" h="22999">
                      <a:moveTo>
                        <a:pt x="0" y="22999"/>
                      </a:moveTo>
                      <a:lnTo>
                        <a:pt x="0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</p:grpSp>
      <p:grpSp>
        <p:nvGrpSpPr>
          <p:cNvPr id="508" name="Gráfico 4">
            <a:extLst>
              <a:ext uri="{FF2B5EF4-FFF2-40B4-BE49-F238E27FC236}">
                <a16:creationId xmlns:a16="http://schemas.microsoft.com/office/drawing/2014/main" id="{30B40116-4F09-0267-2168-0CC80ADFFD83}"/>
              </a:ext>
            </a:extLst>
          </p:cNvPr>
          <p:cNvGrpSpPr/>
          <p:nvPr/>
        </p:nvGrpSpPr>
        <p:grpSpPr>
          <a:xfrm>
            <a:off x="3176205" y="2049067"/>
            <a:ext cx="415646" cy="333531"/>
            <a:chOff x="3176205" y="2049067"/>
            <a:chExt cx="415646" cy="333531"/>
          </a:xfrm>
          <a:noFill/>
        </p:grpSpPr>
        <p:sp>
          <p:nvSpPr>
            <p:cNvPr id="509" name="Forma livre: Forma 508">
              <a:extLst>
                <a:ext uri="{FF2B5EF4-FFF2-40B4-BE49-F238E27FC236}">
                  <a16:creationId xmlns:a16="http://schemas.microsoft.com/office/drawing/2014/main" id="{48EBC947-0FF6-B180-D032-CF5D015A75AE}"/>
                </a:ext>
              </a:extLst>
            </p:cNvPr>
            <p:cNvSpPr/>
            <p:nvPr/>
          </p:nvSpPr>
          <p:spPr>
            <a:xfrm>
              <a:off x="3176205" y="2382050"/>
              <a:ext cx="375603" cy="1193"/>
            </a:xfrm>
            <a:custGeom>
              <a:avLst/>
              <a:gdLst>
                <a:gd name="connsiteX0" fmla="*/ 0 w 375603"/>
                <a:gd name="connsiteY0" fmla="*/ 0 h 1193"/>
                <a:gd name="connsiteX1" fmla="*/ 375603 w 375603"/>
                <a:gd name="connsiteY1" fmla="*/ 0 h 11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75603" h="1193">
                  <a:moveTo>
                    <a:pt x="0" y="0"/>
                  </a:moveTo>
                  <a:lnTo>
                    <a:pt x="375603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510" name="Forma livre: Forma 509">
              <a:extLst>
                <a:ext uri="{FF2B5EF4-FFF2-40B4-BE49-F238E27FC236}">
                  <a16:creationId xmlns:a16="http://schemas.microsoft.com/office/drawing/2014/main" id="{3E7E6F03-A739-88F7-ABC8-1833C789230D}"/>
                </a:ext>
              </a:extLst>
            </p:cNvPr>
            <p:cNvSpPr/>
            <p:nvPr/>
          </p:nvSpPr>
          <p:spPr>
            <a:xfrm>
              <a:off x="3574975" y="2382050"/>
              <a:ext cx="16876" cy="1193"/>
            </a:xfrm>
            <a:custGeom>
              <a:avLst/>
              <a:gdLst>
                <a:gd name="connsiteX0" fmla="*/ 0 w 16876"/>
                <a:gd name="connsiteY0" fmla="*/ 0 h 1193"/>
                <a:gd name="connsiteX1" fmla="*/ 16876 w 16876"/>
                <a:gd name="connsiteY1" fmla="*/ 0 h 11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6876" h="1193">
                  <a:moveTo>
                    <a:pt x="0" y="0"/>
                  </a:moveTo>
                  <a:lnTo>
                    <a:pt x="16876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511" name="Gráfico 4">
              <a:extLst>
                <a:ext uri="{FF2B5EF4-FFF2-40B4-BE49-F238E27FC236}">
                  <a16:creationId xmlns:a16="http://schemas.microsoft.com/office/drawing/2014/main" id="{B9131668-BEB2-0CD3-6B62-D3C668FC6D25}"/>
                </a:ext>
              </a:extLst>
            </p:cNvPr>
            <p:cNvGrpSpPr/>
            <p:nvPr/>
          </p:nvGrpSpPr>
          <p:grpSpPr>
            <a:xfrm>
              <a:off x="3193440" y="2235926"/>
              <a:ext cx="339690" cy="146672"/>
              <a:chOff x="3193440" y="2235926"/>
              <a:chExt cx="339690" cy="146672"/>
            </a:xfrm>
            <a:noFill/>
          </p:grpSpPr>
          <p:sp>
            <p:nvSpPr>
              <p:cNvPr id="512" name="Forma livre: Forma 511">
                <a:extLst>
                  <a:ext uri="{FF2B5EF4-FFF2-40B4-BE49-F238E27FC236}">
                    <a16:creationId xmlns:a16="http://schemas.microsoft.com/office/drawing/2014/main" id="{642AFD98-C918-4275-B9D6-00E5FFB0E450}"/>
                  </a:ext>
                </a:extLst>
              </p:cNvPr>
              <p:cNvSpPr/>
              <p:nvPr/>
            </p:nvSpPr>
            <p:spPr>
              <a:xfrm>
                <a:off x="3193440" y="2252671"/>
                <a:ext cx="54329" cy="129927"/>
              </a:xfrm>
              <a:custGeom>
                <a:avLst/>
                <a:gdLst>
                  <a:gd name="connsiteX0" fmla="*/ 54329 w 54329"/>
                  <a:gd name="connsiteY0" fmla="*/ 0 h 129927"/>
                  <a:gd name="connsiteX1" fmla="*/ 0 w 54329"/>
                  <a:gd name="connsiteY1" fmla="*/ 129927 h 1299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4329" h="129927">
                    <a:moveTo>
                      <a:pt x="54329" y="0"/>
                    </a:moveTo>
                    <a:cubicBezTo>
                      <a:pt x="51465" y="28788"/>
                      <a:pt x="40664" y="87235"/>
                      <a:pt x="0" y="129927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13" name="Forma livre: Forma 512">
                <a:extLst>
                  <a:ext uri="{FF2B5EF4-FFF2-40B4-BE49-F238E27FC236}">
                    <a16:creationId xmlns:a16="http://schemas.microsoft.com/office/drawing/2014/main" id="{335B35E5-B92A-38C6-3C9F-43429E964F28}"/>
                  </a:ext>
                </a:extLst>
              </p:cNvPr>
              <p:cNvSpPr/>
              <p:nvPr/>
            </p:nvSpPr>
            <p:spPr>
              <a:xfrm>
                <a:off x="3477762" y="2235926"/>
                <a:ext cx="55367" cy="146672"/>
              </a:xfrm>
              <a:custGeom>
                <a:avLst/>
                <a:gdLst>
                  <a:gd name="connsiteX0" fmla="*/ 0 w 55367"/>
                  <a:gd name="connsiteY0" fmla="*/ 0 h 146672"/>
                  <a:gd name="connsiteX1" fmla="*/ 55368 w 55367"/>
                  <a:gd name="connsiteY1" fmla="*/ 146673 h 1466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5367" h="146672">
                    <a:moveTo>
                      <a:pt x="0" y="0"/>
                    </a:moveTo>
                    <a:cubicBezTo>
                      <a:pt x="0" y="0"/>
                      <a:pt x="0" y="88548"/>
                      <a:pt x="55368" y="146673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514" name="Gráfico 4">
              <a:extLst>
                <a:ext uri="{FF2B5EF4-FFF2-40B4-BE49-F238E27FC236}">
                  <a16:creationId xmlns:a16="http://schemas.microsoft.com/office/drawing/2014/main" id="{E2581662-F038-1D0F-4D13-2E0C082BCE67}"/>
                </a:ext>
              </a:extLst>
            </p:cNvPr>
            <p:cNvGrpSpPr/>
            <p:nvPr/>
          </p:nvGrpSpPr>
          <p:grpSpPr>
            <a:xfrm>
              <a:off x="3251027" y="2235926"/>
              <a:ext cx="224526" cy="146672"/>
              <a:chOff x="3251027" y="2235926"/>
              <a:chExt cx="224526" cy="146672"/>
            </a:xfrm>
            <a:noFill/>
          </p:grpSpPr>
          <p:grpSp>
            <p:nvGrpSpPr>
              <p:cNvPr id="515" name="Gráfico 4">
                <a:extLst>
                  <a:ext uri="{FF2B5EF4-FFF2-40B4-BE49-F238E27FC236}">
                    <a16:creationId xmlns:a16="http://schemas.microsoft.com/office/drawing/2014/main" id="{69AFDF70-26B4-A0E6-6E57-70410817E151}"/>
                  </a:ext>
                </a:extLst>
              </p:cNvPr>
              <p:cNvGrpSpPr/>
              <p:nvPr/>
            </p:nvGrpSpPr>
            <p:grpSpPr>
              <a:xfrm>
                <a:off x="3251027" y="2235926"/>
                <a:ext cx="112251" cy="146672"/>
                <a:chOff x="3251027" y="2235926"/>
                <a:chExt cx="112251" cy="146672"/>
              </a:xfrm>
              <a:noFill/>
            </p:grpSpPr>
            <p:grpSp>
              <p:nvGrpSpPr>
                <p:cNvPr id="516" name="Gráfico 4">
                  <a:extLst>
                    <a:ext uri="{FF2B5EF4-FFF2-40B4-BE49-F238E27FC236}">
                      <a16:creationId xmlns:a16="http://schemas.microsoft.com/office/drawing/2014/main" id="{21D01D38-DCBE-3338-0668-06912DA57D12}"/>
                    </a:ext>
                  </a:extLst>
                </p:cNvPr>
                <p:cNvGrpSpPr/>
                <p:nvPr/>
              </p:nvGrpSpPr>
              <p:grpSpPr>
                <a:xfrm>
                  <a:off x="3251027" y="2235926"/>
                  <a:ext cx="55367" cy="146672"/>
                  <a:chOff x="3251027" y="2235926"/>
                  <a:chExt cx="55367" cy="146672"/>
                </a:xfrm>
                <a:noFill/>
              </p:grpSpPr>
              <p:sp>
                <p:nvSpPr>
                  <p:cNvPr id="517" name="Forma livre: Forma 516">
                    <a:extLst>
                      <a:ext uri="{FF2B5EF4-FFF2-40B4-BE49-F238E27FC236}">
                        <a16:creationId xmlns:a16="http://schemas.microsoft.com/office/drawing/2014/main" id="{E9BFBAF2-0E7E-8F2E-9EE6-EDF7E62D5097}"/>
                      </a:ext>
                    </a:extLst>
                  </p:cNvPr>
                  <p:cNvSpPr/>
                  <p:nvPr/>
                </p:nvSpPr>
                <p:spPr>
                  <a:xfrm>
                    <a:off x="3251027" y="2346614"/>
                    <a:ext cx="26854" cy="35984"/>
                  </a:xfrm>
                  <a:custGeom>
                    <a:avLst/>
                    <a:gdLst>
                      <a:gd name="connsiteX0" fmla="*/ 26854 w 26854"/>
                      <a:gd name="connsiteY0" fmla="*/ 0 h 35984"/>
                      <a:gd name="connsiteX1" fmla="*/ 0 w 26854"/>
                      <a:gd name="connsiteY1" fmla="*/ 35985 h 3598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26854" h="35984">
                        <a:moveTo>
                          <a:pt x="26854" y="0"/>
                        </a:moveTo>
                        <a:cubicBezTo>
                          <a:pt x="19801" y="13093"/>
                          <a:pt x="10980" y="24455"/>
                          <a:pt x="0" y="35985"/>
                        </a:cubicBezTo>
                      </a:path>
                    </a:pathLst>
                  </a:custGeom>
                  <a:noFill/>
                  <a:ln w="6350" cap="flat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518" name="Forma livre: Forma 517">
                    <a:extLst>
                      <a:ext uri="{FF2B5EF4-FFF2-40B4-BE49-F238E27FC236}">
                        <a16:creationId xmlns:a16="http://schemas.microsoft.com/office/drawing/2014/main" id="{F275C222-F0CD-E1A7-7819-24A7C2B98B54}"/>
                      </a:ext>
                    </a:extLst>
                  </p:cNvPr>
                  <p:cNvSpPr/>
                  <p:nvPr/>
                </p:nvSpPr>
                <p:spPr>
                  <a:xfrm>
                    <a:off x="3301406" y="2235926"/>
                    <a:ext cx="4988" cy="45998"/>
                  </a:xfrm>
                  <a:custGeom>
                    <a:avLst/>
                    <a:gdLst>
                      <a:gd name="connsiteX0" fmla="*/ 4989 w 4988"/>
                      <a:gd name="connsiteY0" fmla="*/ 0 h 45998"/>
                      <a:gd name="connsiteX1" fmla="*/ 0 w 4988"/>
                      <a:gd name="connsiteY1" fmla="*/ 45999 h 4599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4988" h="45998">
                        <a:moveTo>
                          <a:pt x="4989" y="0"/>
                        </a:moveTo>
                        <a:cubicBezTo>
                          <a:pt x="4989" y="0"/>
                          <a:pt x="4989" y="20791"/>
                          <a:pt x="0" y="45999"/>
                        </a:cubicBezTo>
                      </a:path>
                    </a:pathLst>
                  </a:custGeom>
                  <a:noFill/>
                  <a:ln w="6350" cap="flat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  <p:sp>
              <p:nvSpPr>
                <p:cNvPr id="519" name="Forma livre: Forma 518">
                  <a:extLst>
                    <a:ext uri="{FF2B5EF4-FFF2-40B4-BE49-F238E27FC236}">
                      <a16:creationId xmlns:a16="http://schemas.microsoft.com/office/drawing/2014/main" id="{058B767E-BB84-B9E5-CF2A-7009E5AC3534}"/>
                    </a:ext>
                  </a:extLst>
                </p:cNvPr>
                <p:cNvSpPr/>
                <p:nvPr/>
              </p:nvSpPr>
              <p:spPr>
                <a:xfrm>
                  <a:off x="3284219" y="2247623"/>
                  <a:ext cx="79059" cy="133317"/>
                </a:xfrm>
                <a:custGeom>
                  <a:avLst/>
                  <a:gdLst>
                    <a:gd name="connsiteX0" fmla="*/ 63472 w 79059"/>
                    <a:gd name="connsiteY0" fmla="*/ 54138 h 133317"/>
                    <a:gd name="connsiteX1" fmla="*/ 29110 w 79059"/>
                    <a:gd name="connsiteY1" fmla="*/ 133317 h 133317"/>
                    <a:gd name="connsiteX2" fmla="*/ 0 w 79059"/>
                    <a:gd name="connsiteY2" fmla="*/ 71671 h 133317"/>
                    <a:gd name="connsiteX3" fmla="*/ 79059 w 79059"/>
                    <a:gd name="connsiteY3" fmla="*/ 0 h 13331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79059" h="133317">
                      <a:moveTo>
                        <a:pt x="63472" y="54138"/>
                      </a:moveTo>
                      <a:cubicBezTo>
                        <a:pt x="48505" y="102023"/>
                        <a:pt x="29110" y="133317"/>
                        <a:pt x="29110" y="133317"/>
                      </a:cubicBezTo>
                      <a:cubicBezTo>
                        <a:pt x="29110" y="133317"/>
                        <a:pt x="24921" y="86698"/>
                        <a:pt x="0" y="71671"/>
                      </a:cubicBezTo>
                      <a:cubicBezTo>
                        <a:pt x="0" y="71671"/>
                        <a:pt x="49794" y="46106"/>
                        <a:pt x="79059" y="0"/>
                      </a:cubicBez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520" name="Gráfico 4">
                <a:extLst>
                  <a:ext uri="{FF2B5EF4-FFF2-40B4-BE49-F238E27FC236}">
                    <a16:creationId xmlns:a16="http://schemas.microsoft.com/office/drawing/2014/main" id="{8004EDC3-0004-E8CA-C3C9-A89451A9C291}"/>
                  </a:ext>
                </a:extLst>
              </p:cNvPr>
              <p:cNvGrpSpPr/>
              <p:nvPr/>
            </p:nvGrpSpPr>
            <p:grpSpPr>
              <a:xfrm>
                <a:off x="3363290" y="2235926"/>
                <a:ext cx="112263" cy="146672"/>
                <a:chOff x="3363290" y="2235926"/>
                <a:chExt cx="112263" cy="146672"/>
              </a:xfrm>
              <a:noFill/>
            </p:grpSpPr>
            <p:grpSp>
              <p:nvGrpSpPr>
                <p:cNvPr id="521" name="Gráfico 4">
                  <a:extLst>
                    <a:ext uri="{FF2B5EF4-FFF2-40B4-BE49-F238E27FC236}">
                      <a16:creationId xmlns:a16="http://schemas.microsoft.com/office/drawing/2014/main" id="{BCD22ABF-781D-1585-3C59-7DFF48E3914C}"/>
                    </a:ext>
                  </a:extLst>
                </p:cNvPr>
                <p:cNvGrpSpPr/>
                <p:nvPr/>
              </p:nvGrpSpPr>
              <p:grpSpPr>
                <a:xfrm>
                  <a:off x="3420174" y="2235926"/>
                  <a:ext cx="55379" cy="146672"/>
                  <a:chOff x="3420174" y="2235926"/>
                  <a:chExt cx="55379" cy="146672"/>
                </a:xfrm>
                <a:noFill/>
              </p:grpSpPr>
              <p:sp>
                <p:nvSpPr>
                  <p:cNvPr id="522" name="Forma livre: Forma 521">
                    <a:extLst>
                      <a:ext uri="{FF2B5EF4-FFF2-40B4-BE49-F238E27FC236}">
                        <a16:creationId xmlns:a16="http://schemas.microsoft.com/office/drawing/2014/main" id="{59E9300B-8D94-DE80-BC9D-30407E9A6B61}"/>
                      </a:ext>
                    </a:extLst>
                  </p:cNvPr>
                  <p:cNvSpPr/>
                  <p:nvPr/>
                </p:nvSpPr>
                <p:spPr>
                  <a:xfrm>
                    <a:off x="3448687" y="2346614"/>
                    <a:ext cx="26866" cy="35984"/>
                  </a:xfrm>
                  <a:custGeom>
                    <a:avLst/>
                    <a:gdLst>
                      <a:gd name="connsiteX0" fmla="*/ 0 w 26866"/>
                      <a:gd name="connsiteY0" fmla="*/ 0 h 35984"/>
                      <a:gd name="connsiteX1" fmla="*/ 26866 w 26866"/>
                      <a:gd name="connsiteY1" fmla="*/ 35985 h 3598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26866" h="35984">
                        <a:moveTo>
                          <a:pt x="0" y="0"/>
                        </a:moveTo>
                        <a:cubicBezTo>
                          <a:pt x="7066" y="13093"/>
                          <a:pt x="15874" y="24455"/>
                          <a:pt x="26866" y="35985"/>
                        </a:cubicBezTo>
                      </a:path>
                    </a:pathLst>
                  </a:custGeom>
                  <a:noFill/>
                  <a:ln w="6350" cap="flat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523" name="Forma livre: Forma 522">
                    <a:extLst>
                      <a:ext uri="{FF2B5EF4-FFF2-40B4-BE49-F238E27FC236}">
                        <a16:creationId xmlns:a16="http://schemas.microsoft.com/office/drawing/2014/main" id="{8F76CF06-4A8D-1194-1144-DAB4C429A05D}"/>
                      </a:ext>
                    </a:extLst>
                  </p:cNvPr>
                  <p:cNvSpPr/>
                  <p:nvPr/>
                </p:nvSpPr>
                <p:spPr>
                  <a:xfrm>
                    <a:off x="3420174" y="2235926"/>
                    <a:ext cx="4988" cy="45998"/>
                  </a:xfrm>
                  <a:custGeom>
                    <a:avLst/>
                    <a:gdLst>
                      <a:gd name="connsiteX0" fmla="*/ 0 w 4988"/>
                      <a:gd name="connsiteY0" fmla="*/ 0 h 45998"/>
                      <a:gd name="connsiteX1" fmla="*/ 4989 w 4988"/>
                      <a:gd name="connsiteY1" fmla="*/ 45999 h 4599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4988" h="45998">
                        <a:moveTo>
                          <a:pt x="0" y="0"/>
                        </a:moveTo>
                        <a:cubicBezTo>
                          <a:pt x="0" y="0"/>
                          <a:pt x="0" y="20791"/>
                          <a:pt x="4989" y="45999"/>
                        </a:cubicBezTo>
                      </a:path>
                    </a:pathLst>
                  </a:custGeom>
                  <a:noFill/>
                  <a:ln w="6350" cap="flat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  <p:sp>
              <p:nvSpPr>
                <p:cNvPr id="524" name="Forma livre: Forma 523">
                  <a:extLst>
                    <a:ext uri="{FF2B5EF4-FFF2-40B4-BE49-F238E27FC236}">
                      <a16:creationId xmlns:a16="http://schemas.microsoft.com/office/drawing/2014/main" id="{FF4EC8CA-4116-002D-6714-195AF6BF9526}"/>
                    </a:ext>
                  </a:extLst>
                </p:cNvPr>
                <p:cNvSpPr/>
                <p:nvPr/>
              </p:nvSpPr>
              <p:spPr>
                <a:xfrm>
                  <a:off x="3363290" y="2247623"/>
                  <a:ext cx="79059" cy="133317"/>
                </a:xfrm>
                <a:custGeom>
                  <a:avLst/>
                  <a:gdLst>
                    <a:gd name="connsiteX0" fmla="*/ 16578 w 79059"/>
                    <a:gd name="connsiteY0" fmla="*/ 52647 h 133317"/>
                    <a:gd name="connsiteX1" fmla="*/ 49949 w 79059"/>
                    <a:gd name="connsiteY1" fmla="*/ 133317 h 133317"/>
                    <a:gd name="connsiteX2" fmla="*/ 79059 w 79059"/>
                    <a:gd name="connsiteY2" fmla="*/ 71671 h 133317"/>
                    <a:gd name="connsiteX3" fmla="*/ 0 w 79059"/>
                    <a:gd name="connsiteY3" fmla="*/ 0 h 13331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79059" h="133317">
                      <a:moveTo>
                        <a:pt x="16578" y="52647"/>
                      </a:moveTo>
                      <a:cubicBezTo>
                        <a:pt x="31545" y="100531"/>
                        <a:pt x="49949" y="133317"/>
                        <a:pt x="49949" y="133317"/>
                      </a:cubicBezTo>
                      <a:cubicBezTo>
                        <a:pt x="49949" y="133317"/>
                        <a:pt x="54138" y="86698"/>
                        <a:pt x="79059" y="71671"/>
                      </a:cubicBezTo>
                      <a:cubicBezTo>
                        <a:pt x="79059" y="71671"/>
                        <a:pt x="29265" y="46106"/>
                        <a:pt x="0" y="0"/>
                      </a:cubicBez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sp>
          <p:nvSpPr>
            <p:cNvPr id="525" name="Forma livre: Forma 524">
              <a:extLst>
                <a:ext uri="{FF2B5EF4-FFF2-40B4-BE49-F238E27FC236}">
                  <a16:creationId xmlns:a16="http://schemas.microsoft.com/office/drawing/2014/main" id="{DBFA9AF3-70C4-900F-92B7-A1182DCA945B}"/>
                </a:ext>
              </a:extLst>
            </p:cNvPr>
            <p:cNvSpPr/>
            <p:nvPr/>
          </p:nvSpPr>
          <p:spPr>
            <a:xfrm>
              <a:off x="3363279" y="2234422"/>
              <a:ext cx="1193" cy="14214"/>
            </a:xfrm>
            <a:custGeom>
              <a:avLst/>
              <a:gdLst>
                <a:gd name="connsiteX0" fmla="*/ 0 w 1193"/>
                <a:gd name="connsiteY0" fmla="*/ 14215 h 14214"/>
                <a:gd name="connsiteX1" fmla="*/ 0 w 1193"/>
                <a:gd name="connsiteY1" fmla="*/ 0 h 142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93" h="14214">
                  <a:moveTo>
                    <a:pt x="0" y="14215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526" name="Gráfico 4">
              <a:extLst>
                <a:ext uri="{FF2B5EF4-FFF2-40B4-BE49-F238E27FC236}">
                  <a16:creationId xmlns:a16="http://schemas.microsoft.com/office/drawing/2014/main" id="{07ED90C1-31C9-F1EE-BA3D-9E5FA90ED2B7}"/>
                </a:ext>
              </a:extLst>
            </p:cNvPr>
            <p:cNvGrpSpPr/>
            <p:nvPr/>
          </p:nvGrpSpPr>
          <p:grpSpPr>
            <a:xfrm>
              <a:off x="3228780" y="2049067"/>
              <a:ext cx="268997" cy="184614"/>
              <a:chOff x="3228780" y="2049067"/>
              <a:chExt cx="268997" cy="184614"/>
            </a:xfrm>
            <a:noFill/>
          </p:grpSpPr>
          <p:sp>
            <p:nvSpPr>
              <p:cNvPr id="527" name="Forma livre: Forma 526">
                <a:extLst>
                  <a:ext uri="{FF2B5EF4-FFF2-40B4-BE49-F238E27FC236}">
                    <a16:creationId xmlns:a16="http://schemas.microsoft.com/office/drawing/2014/main" id="{EDBED8F5-12A0-DFC2-A13C-9BA87390ABE3}"/>
                  </a:ext>
                </a:extLst>
              </p:cNvPr>
              <p:cNvSpPr/>
              <p:nvPr/>
            </p:nvSpPr>
            <p:spPr>
              <a:xfrm>
                <a:off x="3228780" y="2049067"/>
                <a:ext cx="268997" cy="184614"/>
              </a:xfrm>
              <a:custGeom>
                <a:avLst/>
                <a:gdLst>
                  <a:gd name="connsiteX0" fmla="*/ 113970 w 268997"/>
                  <a:gd name="connsiteY0" fmla="*/ 67482 h 184614"/>
                  <a:gd name="connsiteX1" fmla="*/ 0 w 268997"/>
                  <a:gd name="connsiteY1" fmla="*/ 134284 h 184614"/>
                  <a:gd name="connsiteX2" fmla="*/ 0 w 268997"/>
                  <a:gd name="connsiteY2" fmla="*/ 157701 h 184614"/>
                  <a:gd name="connsiteX3" fmla="*/ 26890 w 268997"/>
                  <a:gd name="connsiteY3" fmla="*/ 184615 h 184614"/>
                  <a:gd name="connsiteX4" fmla="*/ 53518 w 268997"/>
                  <a:gd name="connsiteY4" fmla="*/ 157701 h 184614"/>
                  <a:gd name="connsiteX5" fmla="*/ 80157 w 268997"/>
                  <a:gd name="connsiteY5" fmla="*/ 184615 h 184614"/>
                  <a:gd name="connsiteX6" fmla="*/ 107071 w 268997"/>
                  <a:gd name="connsiteY6" fmla="*/ 157701 h 184614"/>
                  <a:gd name="connsiteX7" fmla="*/ 133985 w 268997"/>
                  <a:gd name="connsiteY7" fmla="*/ 184615 h 184614"/>
                  <a:gd name="connsiteX8" fmla="*/ 160900 w 268997"/>
                  <a:gd name="connsiteY8" fmla="*/ 157701 h 184614"/>
                  <a:gd name="connsiteX9" fmla="*/ 187814 w 268997"/>
                  <a:gd name="connsiteY9" fmla="*/ 184615 h 184614"/>
                  <a:gd name="connsiteX10" fmla="*/ 215002 w 268997"/>
                  <a:gd name="connsiteY10" fmla="*/ 157701 h 184614"/>
                  <a:gd name="connsiteX11" fmla="*/ 242191 w 268997"/>
                  <a:gd name="connsiteY11" fmla="*/ 184615 h 184614"/>
                  <a:gd name="connsiteX12" fmla="*/ 268997 w 268997"/>
                  <a:gd name="connsiteY12" fmla="*/ 157701 h 184614"/>
                  <a:gd name="connsiteX13" fmla="*/ 268997 w 268997"/>
                  <a:gd name="connsiteY13" fmla="*/ 134284 h 184614"/>
                  <a:gd name="connsiteX14" fmla="*/ 134427 w 268997"/>
                  <a:gd name="connsiteY14" fmla="*/ 54795 h 184614"/>
                  <a:gd name="connsiteX15" fmla="*/ 134427 w 268997"/>
                  <a:gd name="connsiteY15" fmla="*/ 0 h 184614"/>
                  <a:gd name="connsiteX16" fmla="*/ 184161 w 268997"/>
                  <a:gd name="connsiteY16" fmla="*/ 19645 h 184614"/>
                  <a:gd name="connsiteX17" fmla="*/ 155958 w 268997"/>
                  <a:gd name="connsiteY17" fmla="*/ 31628 h 1846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268997" h="184614">
                    <a:moveTo>
                      <a:pt x="113970" y="67482"/>
                    </a:moveTo>
                    <a:lnTo>
                      <a:pt x="0" y="134284"/>
                    </a:lnTo>
                    <a:lnTo>
                      <a:pt x="0" y="157701"/>
                    </a:lnTo>
                    <a:cubicBezTo>
                      <a:pt x="0" y="172560"/>
                      <a:pt x="12019" y="184615"/>
                      <a:pt x="26890" y="184615"/>
                    </a:cubicBezTo>
                    <a:cubicBezTo>
                      <a:pt x="41762" y="184615"/>
                      <a:pt x="53518" y="172560"/>
                      <a:pt x="53518" y="157701"/>
                    </a:cubicBezTo>
                    <a:cubicBezTo>
                      <a:pt x="53518" y="172560"/>
                      <a:pt x="65298" y="184615"/>
                      <a:pt x="80157" y="184615"/>
                    </a:cubicBezTo>
                    <a:cubicBezTo>
                      <a:pt x="95017" y="184615"/>
                      <a:pt x="107071" y="172560"/>
                      <a:pt x="107071" y="157701"/>
                    </a:cubicBezTo>
                    <a:cubicBezTo>
                      <a:pt x="107071" y="172560"/>
                      <a:pt x="119114" y="184615"/>
                      <a:pt x="133985" y="184615"/>
                    </a:cubicBezTo>
                    <a:cubicBezTo>
                      <a:pt x="148857" y="184615"/>
                      <a:pt x="160900" y="172560"/>
                      <a:pt x="160900" y="157701"/>
                    </a:cubicBezTo>
                    <a:cubicBezTo>
                      <a:pt x="160900" y="172560"/>
                      <a:pt x="172954" y="184615"/>
                      <a:pt x="187814" y="184615"/>
                    </a:cubicBezTo>
                    <a:cubicBezTo>
                      <a:pt x="202673" y="184615"/>
                      <a:pt x="215002" y="172560"/>
                      <a:pt x="215002" y="157701"/>
                    </a:cubicBezTo>
                    <a:cubicBezTo>
                      <a:pt x="215002" y="172560"/>
                      <a:pt x="227331" y="184615"/>
                      <a:pt x="242191" y="184615"/>
                    </a:cubicBezTo>
                    <a:cubicBezTo>
                      <a:pt x="257050" y="184615"/>
                      <a:pt x="268997" y="172560"/>
                      <a:pt x="268997" y="157701"/>
                    </a:cubicBezTo>
                    <a:lnTo>
                      <a:pt x="268997" y="134284"/>
                    </a:lnTo>
                    <a:lnTo>
                      <a:pt x="134427" y="54795"/>
                    </a:lnTo>
                    <a:lnTo>
                      <a:pt x="134427" y="0"/>
                    </a:lnTo>
                    <a:lnTo>
                      <a:pt x="184161" y="19645"/>
                    </a:lnTo>
                    <a:lnTo>
                      <a:pt x="155958" y="31628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28" name="Forma livre: Forma 527">
                <a:extLst>
                  <a:ext uri="{FF2B5EF4-FFF2-40B4-BE49-F238E27FC236}">
                    <a16:creationId xmlns:a16="http://schemas.microsoft.com/office/drawing/2014/main" id="{8CA6DB53-0B26-5D63-F875-A0A77EC5ED6E}"/>
                  </a:ext>
                </a:extLst>
              </p:cNvPr>
              <p:cNvSpPr/>
              <p:nvPr/>
            </p:nvSpPr>
            <p:spPr>
              <a:xfrm>
                <a:off x="3282417" y="2184628"/>
                <a:ext cx="212973" cy="1193"/>
              </a:xfrm>
              <a:custGeom>
                <a:avLst/>
                <a:gdLst>
                  <a:gd name="connsiteX0" fmla="*/ 212973 w 212973"/>
                  <a:gd name="connsiteY0" fmla="*/ 0 h 1193"/>
                  <a:gd name="connsiteX1" fmla="*/ 0 w 212973"/>
                  <a:gd name="connsiteY1" fmla="*/ 0 h 11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12973" h="1193">
                    <a:moveTo>
                      <a:pt x="212973" y="0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529" name="Gráfico 4">
            <a:extLst>
              <a:ext uri="{FF2B5EF4-FFF2-40B4-BE49-F238E27FC236}">
                <a16:creationId xmlns:a16="http://schemas.microsoft.com/office/drawing/2014/main" id="{765AB9A9-B2E6-4E2E-C1AA-10C83F685BBD}"/>
              </a:ext>
            </a:extLst>
          </p:cNvPr>
          <p:cNvGrpSpPr/>
          <p:nvPr/>
        </p:nvGrpSpPr>
        <p:grpSpPr>
          <a:xfrm>
            <a:off x="3801924" y="2632368"/>
            <a:ext cx="408293" cy="307321"/>
            <a:chOff x="3801924" y="2632368"/>
            <a:chExt cx="408293" cy="307321"/>
          </a:xfrm>
          <a:noFill/>
        </p:grpSpPr>
        <p:grpSp>
          <p:nvGrpSpPr>
            <p:cNvPr id="530" name="Gráfico 4">
              <a:extLst>
                <a:ext uri="{FF2B5EF4-FFF2-40B4-BE49-F238E27FC236}">
                  <a16:creationId xmlns:a16="http://schemas.microsoft.com/office/drawing/2014/main" id="{72F700EF-38EB-8F90-F0A4-E8A0BB2B042F}"/>
                </a:ext>
              </a:extLst>
            </p:cNvPr>
            <p:cNvGrpSpPr/>
            <p:nvPr/>
          </p:nvGrpSpPr>
          <p:grpSpPr>
            <a:xfrm>
              <a:off x="3801924" y="2740753"/>
              <a:ext cx="408293" cy="198937"/>
              <a:chOff x="3801924" y="2740753"/>
              <a:chExt cx="408293" cy="198937"/>
            </a:xfrm>
            <a:noFill/>
          </p:grpSpPr>
          <p:sp>
            <p:nvSpPr>
              <p:cNvPr id="531" name="Forma livre: Forma 530">
                <a:extLst>
                  <a:ext uri="{FF2B5EF4-FFF2-40B4-BE49-F238E27FC236}">
                    <a16:creationId xmlns:a16="http://schemas.microsoft.com/office/drawing/2014/main" id="{570A338B-144A-8879-DD28-237C76FB0068}"/>
                  </a:ext>
                </a:extLst>
              </p:cNvPr>
              <p:cNvSpPr/>
              <p:nvPr/>
            </p:nvSpPr>
            <p:spPr>
              <a:xfrm>
                <a:off x="4193449" y="2939690"/>
                <a:ext cx="16769" cy="1193"/>
              </a:xfrm>
              <a:custGeom>
                <a:avLst/>
                <a:gdLst>
                  <a:gd name="connsiteX0" fmla="*/ 0 w 16769"/>
                  <a:gd name="connsiteY0" fmla="*/ 0 h 1193"/>
                  <a:gd name="connsiteX1" fmla="*/ 16769 w 16769"/>
                  <a:gd name="connsiteY1" fmla="*/ 0 h 11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6769" h="1193">
                    <a:moveTo>
                      <a:pt x="0" y="0"/>
                    </a:moveTo>
                    <a:lnTo>
                      <a:pt x="16769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32" name="Forma livre: Forma 531">
                <a:extLst>
                  <a:ext uri="{FF2B5EF4-FFF2-40B4-BE49-F238E27FC236}">
                    <a16:creationId xmlns:a16="http://schemas.microsoft.com/office/drawing/2014/main" id="{1D22477C-3244-4644-72C5-30AC63D37D3D}"/>
                  </a:ext>
                </a:extLst>
              </p:cNvPr>
              <p:cNvSpPr/>
              <p:nvPr/>
            </p:nvSpPr>
            <p:spPr>
              <a:xfrm>
                <a:off x="3801924" y="2939690"/>
                <a:ext cx="369158" cy="1193"/>
              </a:xfrm>
              <a:custGeom>
                <a:avLst/>
                <a:gdLst>
                  <a:gd name="connsiteX0" fmla="*/ 0 w 369158"/>
                  <a:gd name="connsiteY0" fmla="*/ 0 h 1193"/>
                  <a:gd name="connsiteX1" fmla="*/ 369158 w 369158"/>
                  <a:gd name="connsiteY1" fmla="*/ 0 h 11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69158" h="1193">
                    <a:moveTo>
                      <a:pt x="0" y="0"/>
                    </a:moveTo>
                    <a:lnTo>
                      <a:pt x="369158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533" name="Gráfico 4">
                <a:extLst>
                  <a:ext uri="{FF2B5EF4-FFF2-40B4-BE49-F238E27FC236}">
                    <a16:creationId xmlns:a16="http://schemas.microsoft.com/office/drawing/2014/main" id="{5B7F6C57-66FF-FDE4-C4AD-CC78AC3A7A56}"/>
                  </a:ext>
                </a:extLst>
              </p:cNvPr>
              <p:cNvGrpSpPr/>
              <p:nvPr/>
            </p:nvGrpSpPr>
            <p:grpSpPr>
              <a:xfrm>
                <a:off x="3828647" y="2776714"/>
                <a:ext cx="315712" cy="161890"/>
                <a:chOff x="3828647" y="2776714"/>
                <a:chExt cx="315712" cy="161890"/>
              </a:xfrm>
              <a:noFill/>
            </p:grpSpPr>
            <p:grpSp>
              <p:nvGrpSpPr>
                <p:cNvPr id="534" name="Gráfico 4">
                  <a:extLst>
                    <a:ext uri="{FF2B5EF4-FFF2-40B4-BE49-F238E27FC236}">
                      <a16:creationId xmlns:a16="http://schemas.microsoft.com/office/drawing/2014/main" id="{0313098C-B0E5-D6C1-30CD-B7DF04AE24FB}"/>
                    </a:ext>
                  </a:extLst>
                </p:cNvPr>
                <p:cNvGrpSpPr/>
                <p:nvPr/>
              </p:nvGrpSpPr>
              <p:grpSpPr>
                <a:xfrm>
                  <a:off x="3828647" y="2776714"/>
                  <a:ext cx="39123" cy="161890"/>
                  <a:chOff x="3828647" y="2776714"/>
                  <a:chExt cx="39123" cy="161890"/>
                </a:xfrm>
                <a:noFill/>
              </p:grpSpPr>
              <p:sp>
                <p:nvSpPr>
                  <p:cNvPr id="535" name="Forma livre: Forma 534">
                    <a:extLst>
                      <a:ext uri="{FF2B5EF4-FFF2-40B4-BE49-F238E27FC236}">
                        <a16:creationId xmlns:a16="http://schemas.microsoft.com/office/drawing/2014/main" id="{D019FCB6-7D14-1CD1-D5E1-E8F50FC2342A}"/>
                      </a:ext>
                    </a:extLst>
                  </p:cNvPr>
                  <p:cNvSpPr/>
                  <p:nvPr/>
                </p:nvSpPr>
                <p:spPr>
                  <a:xfrm>
                    <a:off x="3828647" y="2776714"/>
                    <a:ext cx="39123" cy="142471"/>
                  </a:xfrm>
                  <a:custGeom>
                    <a:avLst/>
                    <a:gdLst>
                      <a:gd name="connsiteX0" fmla="*/ 0 w 39123"/>
                      <a:gd name="connsiteY0" fmla="*/ 142471 h 142471"/>
                      <a:gd name="connsiteX1" fmla="*/ 0 w 39123"/>
                      <a:gd name="connsiteY1" fmla="*/ 0 h 142471"/>
                      <a:gd name="connsiteX2" fmla="*/ 39124 w 39123"/>
                      <a:gd name="connsiteY2" fmla="*/ 0 h 14247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</a:cxnLst>
                    <a:rect l="l" t="t" r="r" b="b"/>
                    <a:pathLst>
                      <a:path w="39123" h="142471">
                        <a:moveTo>
                          <a:pt x="0" y="142471"/>
                        </a:moveTo>
                        <a:lnTo>
                          <a:pt x="0" y="0"/>
                        </a:lnTo>
                        <a:lnTo>
                          <a:pt x="39124" y="0"/>
                        </a:lnTo>
                      </a:path>
                    </a:pathLst>
                  </a:custGeom>
                  <a:noFill/>
                  <a:ln w="6350" cap="flat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grpSp>
                <p:nvGrpSpPr>
                  <p:cNvPr id="536" name="Gráfico 4">
                    <a:extLst>
                      <a:ext uri="{FF2B5EF4-FFF2-40B4-BE49-F238E27FC236}">
                        <a16:creationId xmlns:a16="http://schemas.microsoft.com/office/drawing/2014/main" id="{57FDA381-4CBB-6D33-F01F-22CD26DD715B}"/>
                      </a:ext>
                    </a:extLst>
                  </p:cNvPr>
                  <p:cNvGrpSpPr/>
                  <p:nvPr/>
                </p:nvGrpSpPr>
                <p:grpSpPr>
                  <a:xfrm>
                    <a:off x="3859583" y="2807172"/>
                    <a:ext cx="1193" cy="131431"/>
                    <a:chOff x="3859583" y="2807172"/>
                    <a:chExt cx="1193" cy="131431"/>
                  </a:xfrm>
                </p:grpSpPr>
                <p:sp>
                  <p:nvSpPr>
                    <p:cNvPr id="537" name="Forma livre: Forma 536">
                      <a:extLst>
                        <a:ext uri="{FF2B5EF4-FFF2-40B4-BE49-F238E27FC236}">
                          <a16:creationId xmlns:a16="http://schemas.microsoft.com/office/drawing/2014/main" id="{E2AE38E3-F185-CB38-6B64-D132F5F6EC3A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3859583" y="2859019"/>
                      <a:ext cx="1193" cy="26412"/>
                    </a:xfrm>
                    <a:custGeom>
                      <a:avLst/>
                      <a:gdLst>
                        <a:gd name="connsiteX0" fmla="*/ 0 w 1193"/>
                        <a:gd name="connsiteY0" fmla="*/ 0 h 26412"/>
                        <a:gd name="connsiteX1" fmla="*/ 0 w 1193"/>
                        <a:gd name="connsiteY1" fmla="*/ 26413 h 26412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1193" h="26412">
                          <a:moveTo>
                            <a:pt x="0" y="0"/>
                          </a:moveTo>
                          <a:lnTo>
                            <a:pt x="0" y="26413"/>
                          </a:lnTo>
                        </a:path>
                      </a:pathLst>
                    </a:custGeom>
                    <a:ln w="6350" cap="flat">
                      <a:solidFill>
                        <a:schemeClr val="accent2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pt-PT"/>
                    </a:p>
                  </p:txBody>
                </p:sp>
                <p:sp>
                  <p:nvSpPr>
                    <p:cNvPr id="538" name="Forma livre: Forma 537">
                      <a:extLst>
                        <a:ext uri="{FF2B5EF4-FFF2-40B4-BE49-F238E27FC236}">
                          <a16:creationId xmlns:a16="http://schemas.microsoft.com/office/drawing/2014/main" id="{F10C510E-B5A6-056E-7224-5DCAD74E122F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3859583" y="2807172"/>
                      <a:ext cx="1193" cy="26412"/>
                    </a:xfrm>
                    <a:custGeom>
                      <a:avLst/>
                      <a:gdLst>
                        <a:gd name="connsiteX0" fmla="*/ 0 w 1193"/>
                        <a:gd name="connsiteY0" fmla="*/ 0 h 26412"/>
                        <a:gd name="connsiteX1" fmla="*/ 0 w 1193"/>
                        <a:gd name="connsiteY1" fmla="*/ 26413 h 26412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1193" h="26412">
                          <a:moveTo>
                            <a:pt x="0" y="0"/>
                          </a:moveTo>
                          <a:lnTo>
                            <a:pt x="0" y="26413"/>
                          </a:lnTo>
                        </a:path>
                      </a:pathLst>
                    </a:custGeom>
                    <a:ln w="6350" cap="flat">
                      <a:solidFill>
                        <a:schemeClr val="accent2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pt-PT"/>
                    </a:p>
                  </p:txBody>
                </p:sp>
                <p:sp>
                  <p:nvSpPr>
                    <p:cNvPr id="539" name="Forma livre: Forma 538">
                      <a:extLst>
                        <a:ext uri="{FF2B5EF4-FFF2-40B4-BE49-F238E27FC236}">
                          <a16:creationId xmlns:a16="http://schemas.microsoft.com/office/drawing/2014/main" id="{ADEA6BA6-F222-F388-DFFF-57C2AA8A4A81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3859583" y="2909541"/>
                      <a:ext cx="1193" cy="29062"/>
                    </a:xfrm>
                    <a:custGeom>
                      <a:avLst/>
                      <a:gdLst>
                        <a:gd name="connsiteX0" fmla="*/ 0 w 1193"/>
                        <a:gd name="connsiteY0" fmla="*/ 0 h 29062"/>
                        <a:gd name="connsiteX1" fmla="*/ 0 w 1193"/>
                        <a:gd name="connsiteY1" fmla="*/ 29062 h 29062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1193" h="29062">
                          <a:moveTo>
                            <a:pt x="0" y="0"/>
                          </a:moveTo>
                          <a:lnTo>
                            <a:pt x="0" y="29062"/>
                          </a:lnTo>
                        </a:path>
                      </a:pathLst>
                    </a:custGeom>
                    <a:ln w="6350" cap="flat">
                      <a:solidFill>
                        <a:schemeClr val="accent2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pt-PT"/>
                    </a:p>
                  </p:txBody>
                </p:sp>
              </p:grpSp>
            </p:grpSp>
            <p:grpSp>
              <p:nvGrpSpPr>
                <p:cNvPr id="540" name="Gráfico 4">
                  <a:extLst>
                    <a:ext uri="{FF2B5EF4-FFF2-40B4-BE49-F238E27FC236}">
                      <a16:creationId xmlns:a16="http://schemas.microsoft.com/office/drawing/2014/main" id="{39AE4500-44C1-7D3A-8698-2842413AA1BC}"/>
                    </a:ext>
                  </a:extLst>
                </p:cNvPr>
                <p:cNvGrpSpPr/>
                <p:nvPr/>
              </p:nvGrpSpPr>
              <p:grpSpPr>
                <a:xfrm>
                  <a:off x="4105235" y="2776714"/>
                  <a:ext cx="39123" cy="161890"/>
                  <a:chOff x="4105235" y="2776714"/>
                  <a:chExt cx="39123" cy="161890"/>
                </a:xfrm>
                <a:noFill/>
              </p:grpSpPr>
              <p:sp>
                <p:nvSpPr>
                  <p:cNvPr id="541" name="Forma livre: Forma 540">
                    <a:extLst>
                      <a:ext uri="{FF2B5EF4-FFF2-40B4-BE49-F238E27FC236}">
                        <a16:creationId xmlns:a16="http://schemas.microsoft.com/office/drawing/2014/main" id="{2A9296C2-DDB9-4D60-2A6B-29C2116D1C54}"/>
                      </a:ext>
                    </a:extLst>
                  </p:cNvPr>
                  <p:cNvSpPr/>
                  <p:nvPr/>
                </p:nvSpPr>
                <p:spPr>
                  <a:xfrm>
                    <a:off x="4105235" y="2776714"/>
                    <a:ext cx="39123" cy="160087"/>
                  </a:xfrm>
                  <a:custGeom>
                    <a:avLst/>
                    <a:gdLst>
                      <a:gd name="connsiteX0" fmla="*/ 39124 w 39123"/>
                      <a:gd name="connsiteY0" fmla="*/ 160088 h 160087"/>
                      <a:gd name="connsiteX1" fmla="*/ 39124 w 39123"/>
                      <a:gd name="connsiteY1" fmla="*/ 0 h 160087"/>
                      <a:gd name="connsiteX2" fmla="*/ 0 w 39123"/>
                      <a:gd name="connsiteY2" fmla="*/ 0 h 1600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</a:cxnLst>
                    <a:rect l="l" t="t" r="r" b="b"/>
                    <a:pathLst>
                      <a:path w="39123" h="160087">
                        <a:moveTo>
                          <a:pt x="39124" y="160088"/>
                        </a:moveTo>
                        <a:lnTo>
                          <a:pt x="39124" y="0"/>
                        </a:lnTo>
                        <a:lnTo>
                          <a:pt x="0" y="0"/>
                        </a:lnTo>
                      </a:path>
                    </a:pathLst>
                  </a:custGeom>
                  <a:noFill/>
                  <a:ln w="6350" cap="flat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grpSp>
                <p:nvGrpSpPr>
                  <p:cNvPr id="542" name="Gráfico 4">
                    <a:extLst>
                      <a:ext uri="{FF2B5EF4-FFF2-40B4-BE49-F238E27FC236}">
                        <a16:creationId xmlns:a16="http://schemas.microsoft.com/office/drawing/2014/main" id="{79FC2EBE-2044-6773-36CE-D89AF2134DC3}"/>
                      </a:ext>
                    </a:extLst>
                  </p:cNvPr>
                  <p:cNvGrpSpPr/>
                  <p:nvPr/>
                </p:nvGrpSpPr>
                <p:grpSpPr>
                  <a:xfrm>
                    <a:off x="4113423" y="2807172"/>
                    <a:ext cx="1193" cy="131431"/>
                    <a:chOff x="4113423" y="2807172"/>
                    <a:chExt cx="1193" cy="131431"/>
                  </a:xfrm>
                </p:grpSpPr>
                <p:sp>
                  <p:nvSpPr>
                    <p:cNvPr id="543" name="Forma livre: Forma 542">
                      <a:extLst>
                        <a:ext uri="{FF2B5EF4-FFF2-40B4-BE49-F238E27FC236}">
                          <a16:creationId xmlns:a16="http://schemas.microsoft.com/office/drawing/2014/main" id="{0A930A1C-9CF7-FC11-25E5-27E8EBCF5B3B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4113423" y="2859019"/>
                      <a:ext cx="1193" cy="26412"/>
                    </a:xfrm>
                    <a:custGeom>
                      <a:avLst/>
                      <a:gdLst>
                        <a:gd name="connsiteX0" fmla="*/ 0 w 1193"/>
                        <a:gd name="connsiteY0" fmla="*/ 0 h 26412"/>
                        <a:gd name="connsiteX1" fmla="*/ 0 w 1193"/>
                        <a:gd name="connsiteY1" fmla="*/ 26413 h 26412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1193" h="26412">
                          <a:moveTo>
                            <a:pt x="0" y="0"/>
                          </a:moveTo>
                          <a:lnTo>
                            <a:pt x="0" y="26413"/>
                          </a:lnTo>
                        </a:path>
                      </a:pathLst>
                    </a:custGeom>
                    <a:ln w="6350" cap="flat">
                      <a:solidFill>
                        <a:schemeClr val="accent2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pt-PT"/>
                    </a:p>
                  </p:txBody>
                </p:sp>
                <p:sp>
                  <p:nvSpPr>
                    <p:cNvPr id="544" name="Forma livre: Forma 543">
                      <a:extLst>
                        <a:ext uri="{FF2B5EF4-FFF2-40B4-BE49-F238E27FC236}">
                          <a16:creationId xmlns:a16="http://schemas.microsoft.com/office/drawing/2014/main" id="{F9B428D7-D87F-B85C-147B-42D0BA9AB236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4113423" y="2807172"/>
                      <a:ext cx="1193" cy="26412"/>
                    </a:xfrm>
                    <a:custGeom>
                      <a:avLst/>
                      <a:gdLst>
                        <a:gd name="connsiteX0" fmla="*/ 0 w 1193"/>
                        <a:gd name="connsiteY0" fmla="*/ 0 h 26412"/>
                        <a:gd name="connsiteX1" fmla="*/ 0 w 1193"/>
                        <a:gd name="connsiteY1" fmla="*/ 26413 h 26412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1193" h="26412">
                          <a:moveTo>
                            <a:pt x="0" y="0"/>
                          </a:moveTo>
                          <a:lnTo>
                            <a:pt x="0" y="26413"/>
                          </a:lnTo>
                        </a:path>
                      </a:pathLst>
                    </a:custGeom>
                    <a:ln w="6350" cap="flat">
                      <a:solidFill>
                        <a:schemeClr val="accent2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pt-PT"/>
                    </a:p>
                  </p:txBody>
                </p:sp>
                <p:sp>
                  <p:nvSpPr>
                    <p:cNvPr id="545" name="Forma livre: Forma 544">
                      <a:extLst>
                        <a:ext uri="{FF2B5EF4-FFF2-40B4-BE49-F238E27FC236}">
                          <a16:creationId xmlns:a16="http://schemas.microsoft.com/office/drawing/2014/main" id="{F23384C9-4DFC-4C00-1CFE-5A4F0DCB8AEC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4113423" y="2909541"/>
                      <a:ext cx="1193" cy="29062"/>
                    </a:xfrm>
                    <a:custGeom>
                      <a:avLst/>
                      <a:gdLst>
                        <a:gd name="connsiteX0" fmla="*/ 0 w 1193"/>
                        <a:gd name="connsiteY0" fmla="*/ 0 h 29062"/>
                        <a:gd name="connsiteX1" fmla="*/ 0 w 1193"/>
                        <a:gd name="connsiteY1" fmla="*/ 29062 h 29062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1193" h="29062">
                          <a:moveTo>
                            <a:pt x="0" y="0"/>
                          </a:moveTo>
                          <a:lnTo>
                            <a:pt x="0" y="29062"/>
                          </a:lnTo>
                        </a:path>
                      </a:pathLst>
                    </a:custGeom>
                    <a:ln w="6350" cap="flat">
                      <a:solidFill>
                        <a:schemeClr val="accent2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pt-PT"/>
                    </a:p>
                  </p:txBody>
                </p:sp>
              </p:grpSp>
            </p:grpSp>
          </p:grpSp>
          <p:grpSp>
            <p:nvGrpSpPr>
              <p:cNvPr id="546" name="Gráfico 4">
                <a:extLst>
                  <a:ext uri="{FF2B5EF4-FFF2-40B4-BE49-F238E27FC236}">
                    <a16:creationId xmlns:a16="http://schemas.microsoft.com/office/drawing/2014/main" id="{F3630458-0492-16C1-6810-C5697BADA869}"/>
                  </a:ext>
                </a:extLst>
              </p:cNvPr>
              <p:cNvGrpSpPr/>
              <p:nvPr/>
            </p:nvGrpSpPr>
            <p:grpSpPr>
              <a:xfrm>
                <a:off x="3889362" y="2740753"/>
                <a:ext cx="194294" cy="198782"/>
                <a:chOff x="3889362" y="2740753"/>
                <a:chExt cx="194294" cy="198782"/>
              </a:xfrm>
              <a:noFill/>
            </p:grpSpPr>
            <p:sp>
              <p:nvSpPr>
                <p:cNvPr id="547" name="Forma livre: Forma 546">
                  <a:extLst>
                    <a:ext uri="{FF2B5EF4-FFF2-40B4-BE49-F238E27FC236}">
                      <a16:creationId xmlns:a16="http://schemas.microsoft.com/office/drawing/2014/main" id="{F0B25563-F73F-1EDA-F728-D9A1C7894E51}"/>
                    </a:ext>
                  </a:extLst>
                </p:cNvPr>
                <p:cNvSpPr/>
                <p:nvPr/>
              </p:nvSpPr>
              <p:spPr>
                <a:xfrm>
                  <a:off x="3917636" y="2772978"/>
                  <a:ext cx="137733" cy="1193"/>
                </a:xfrm>
                <a:custGeom>
                  <a:avLst/>
                  <a:gdLst>
                    <a:gd name="connsiteX0" fmla="*/ 0 w 137733"/>
                    <a:gd name="connsiteY0" fmla="*/ 0 h 1193"/>
                    <a:gd name="connsiteX1" fmla="*/ 137733 w 137733"/>
                    <a:gd name="connsiteY1" fmla="*/ 0 h 119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37733" h="1193">
                      <a:moveTo>
                        <a:pt x="0" y="0"/>
                      </a:moveTo>
                      <a:lnTo>
                        <a:pt x="137733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548" name="Forma livre: Forma 547">
                  <a:extLst>
                    <a:ext uri="{FF2B5EF4-FFF2-40B4-BE49-F238E27FC236}">
                      <a16:creationId xmlns:a16="http://schemas.microsoft.com/office/drawing/2014/main" id="{58655369-E49D-6D97-18EF-79CAAD8CC04B}"/>
                    </a:ext>
                  </a:extLst>
                </p:cNvPr>
                <p:cNvSpPr/>
                <p:nvPr/>
              </p:nvSpPr>
              <p:spPr>
                <a:xfrm>
                  <a:off x="3936685" y="2740753"/>
                  <a:ext cx="99635" cy="1193"/>
                </a:xfrm>
                <a:custGeom>
                  <a:avLst/>
                  <a:gdLst>
                    <a:gd name="connsiteX0" fmla="*/ 0 w 99635"/>
                    <a:gd name="connsiteY0" fmla="*/ 0 h 1193"/>
                    <a:gd name="connsiteX1" fmla="*/ 99636 w 99635"/>
                    <a:gd name="connsiteY1" fmla="*/ 0 h 119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99635" h="1193">
                      <a:moveTo>
                        <a:pt x="0" y="0"/>
                      </a:moveTo>
                      <a:lnTo>
                        <a:pt x="99636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549" name="Forma livre: Forma 548">
                  <a:extLst>
                    <a:ext uri="{FF2B5EF4-FFF2-40B4-BE49-F238E27FC236}">
                      <a16:creationId xmlns:a16="http://schemas.microsoft.com/office/drawing/2014/main" id="{F9DC9C22-7F8C-1B35-0B7D-26A056BD92F0}"/>
                    </a:ext>
                  </a:extLst>
                </p:cNvPr>
                <p:cNvSpPr/>
                <p:nvPr/>
              </p:nvSpPr>
              <p:spPr>
                <a:xfrm>
                  <a:off x="3917636" y="2865178"/>
                  <a:ext cx="137733" cy="1193"/>
                </a:xfrm>
                <a:custGeom>
                  <a:avLst/>
                  <a:gdLst>
                    <a:gd name="connsiteX0" fmla="*/ 0 w 137733"/>
                    <a:gd name="connsiteY0" fmla="*/ 0 h 1193"/>
                    <a:gd name="connsiteX1" fmla="*/ 137733 w 137733"/>
                    <a:gd name="connsiteY1" fmla="*/ 0 h 119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37733" h="1193">
                      <a:moveTo>
                        <a:pt x="0" y="0"/>
                      </a:moveTo>
                      <a:lnTo>
                        <a:pt x="137733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550" name="Forma livre: Forma 549">
                  <a:extLst>
                    <a:ext uri="{FF2B5EF4-FFF2-40B4-BE49-F238E27FC236}">
                      <a16:creationId xmlns:a16="http://schemas.microsoft.com/office/drawing/2014/main" id="{FF65CB58-C833-69BA-B8FF-E07A7D3E8001}"/>
                    </a:ext>
                  </a:extLst>
                </p:cNvPr>
                <p:cNvSpPr/>
                <p:nvPr/>
              </p:nvSpPr>
              <p:spPr>
                <a:xfrm>
                  <a:off x="3917636" y="2834445"/>
                  <a:ext cx="137733" cy="1193"/>
                </a:xfrm>
                <a:custGeom>
                  <a:avLst/>
                  <a:gdLst>
                    <a:gd name="connsiteX0" fmla="*/ 0 w 137733"/>
                    <a:gd name="connsiteY0" fmla="*/ 0 h 1193"/>
                    <a:gd name="connsiteX1" fmla="*/ 137733 w 137733"/>
                    <a:gd name="connsiteY1" fmla="*/ 0 h 119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37733" h="1193">
                      <a:moveTo>
                        <a:pt x="0" y="0"/>
                      </a:moveTo>
                      <a:lnTo>
                        <a:pt x="137733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551" name="Forma livre: Forma 550">
                  <a:extLst>
                    <a:ext uri="{FF2B5EF4-FFF2-40B4-BE49-F238E27FC236}">
                      <a16:creationId xmlns:a16="http://schemas.microsoft.com/office/drawing/2014/main" id="{FDE2F5DF-A183-5F62-D682-3C51AD975026}"/>
                    </a:ext>
                  </a:extLst>
                </p:cNvPr>
                <p:cNvSpPr/>
                <p:nvPr/>
              </p:nvSpPr>
              <p:spPr>
                <a:xfrm>
                  <a:off x="3917636" y="2803711"/>
                  <a:ext cx="137733" cy="1193"/>
                </a:xfrm>
                <a:custGeom>
                  <a:avLst/>
                  <a:gdLst>
                    <a:gd name="connsiteX0" fmla="*/ 0 w 137733"/>
                    <a:gd name="connsiteY0" fmla="*/ 0 h 1193"/>
                    <a:gd name="connsiteX1" fmla="*/ 137733 w 137733"/>
                    <a:gd name="connsiteY1" fmla="*/ 0 h 119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37733" h="1193">
                      <a:moveTo>
                        <a:pt x="0" y="0"/>
                      </a:moveTo>
                      <a:lnTo>
                        <a:pt x="137733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grpSp>
              <p:nvGrpSpPr>
                <p:cNvPr id="552" name="Gráfico 4">
                  <a:extLst>
                    <a:ext uri="{FF2B5EF4-FFF2-40B4-BE49-F238E27FC236}">
                      <a16:creationId xmlns:a16="http://schemas.microsoft.com/office/drawing/2014/main" id="{46E11BD6-FF25-802D-4A73-6E8309775580}"/>
                    </a:ext>
                  </a:extLst>
                </p:cNvPr>
                <p:cNvGrpSpPr/>
                <p:nvPr/>
              </p:nvGrpSpPr>
              <p:grpSpPr>
                <a:xfrm>
                  <a:off x="3889362" y="2746004"/>
                  <a:ext cx="194294" cy="192802"/>
                  <a:chOff x="3889362" y="2746004"/>
                  <a:chExt cx="194294" cy="192802"/>
                </a:xfrm>
              </p:grpSpPr>
              <p:sp>
                <p:nvSpPr>
                  <p:cNvPr id="553" name="Forma livre: Forma 552">
                    <a:extLst>
                      <a:ext uri="{FF2B5EF4-FFF2-40B4-BE49-F238E27FC236}">
                        <a16:creationId xmlns:a16="http://schemas.microsoft.com/office/drawing/2014/main" id="{F2253598-F3A2-8ED4-F31D-71426F960FC8}"/>
                      </a:ext>
                    </a:extLst>
                  </p:cNvPr>
                  <p:cNvSpPr/>
                  <p:nvPr/>
                </p:nvSpPr>
                <p:spPr>
                  <a:xfrm>
                    <a:off x="4083656" y="2746004"/>
                    <a:ext cx="1193" cy="192802"/>
                  </a:xfrm>
                  <a:custGeom>
                    <a:avLst/>
                    <a:gdLst>
                      <a:gd name="connsiteX0" fmla="*/ 0 w 1193"/>
                      <a:gd name="connsiteY0" fmla="*/ 0 h 192802"/>
                      <a:gd name="connsiteX1" fmla="*/ 0 w 1193"/>
                      <a:gd name="connsiteY1" fmla="*/ 192803 h 19280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193" h="192802">
                        <a:moveTo>
                          <a:pt x="0" y="0"/>
                        </a:moveTo>
                        <a:lnTo>
                          <a:pt x="0" y="192803"/>
                        </a:lnTo>
                      </a:path>
                    </a:pathLst>
                  </a:custGeom>
                  <a:ln w="6350" cap="flat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554" name="Forma livre: Forma 553">
                    <a:extLst>
                      <a:ext uri="{FF2B5EF4-FFF2-40B4-BE49-F238E27FC236}">
                        <a16:creationId xmlns:a16="http://schemas.microsoft.com/office/drawing/2014/main" id="{3B960F83-6FAA-B938-5AE7-4B0F6F82001B}"/>
                      </a:ext>
                    </a:extLst>
                  </p:cNvPr>
                  <p:cNvSpPr/>
                  <p:nvPr/>
                </p:nvSpPr>
                <p:spPr>
                  <a:xfrm>
                    <a:off x="3889362" y="2746004"/>
                    <a:ext cx="1193" cy="192802"/>
                  </a:xfrm>
                  <a:custGeom>
                    <a:avLst/>
                    <a:gdLst>
                      <a:gd name="connsiteX0" fmla="*/ 0 w 1193"/>
                      <a:gd name="connsiteY0" fmla="*/ 192803 h 192802"/>
                      <a:gd name="connsiteX1" fmla="*/ 0 w 1193"/>
                      <a:gd name="connsiteY1" fmla="*/ 0 h 19280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193" h="192802">
                        <a:moveTo>
                          <a:pt x="0" y="192803"/>
                        </a:moveTo>
                        <a:lnTo>
                          <a:pt x="0" y="0"/>
                        </a:lnTo>
                      </a:path>
                    </a:pathLst>
                  </a:custGeom>
                  <a:ln w="6350" cap="flat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  <p:sp>
              <p:nvSpPr>
                <p:cNvPr id="555" name="Forma livre: Forma 554">
                  <a:extLst>
                    <a:ext uri="{FF2B5EF4-FFF2-40B4-BE49-F238E27FC236}">
                      <a16:creationId xmlns:a16="http://schemas.microsoft.com/office/drawing/2014/main" id="{BD828042-96C9-8E38-4242-1A7431FBDC00}"/>
                    </a:ext>
                  </a:extLst>
                </p:cNvPr>
                <p:cNvSpPr/>
                <p:nvPr/>
              </p:nvSpPr>
              <p:spPr>
                <a:xfrm>
                  <a:off x="3951497" y="2895410"/>
                  <a:ext cx="70012" cy="44124"/>
                </a:xfrm>
                <a:custGeom>
                  <a:avLst/>
                  <a:gdLst>
                    <a:gd name="connsiteX0" fmla="*/ 0 w 70012"/>
                    <a:gd name="connsiteY0" fmla="*/ 44125 h 44124"/>
                    <a:gd name="connsiteX1" fmla="*/ 0 w 70012"/>
                    <a:gd name="connsiteY1" fmla="*/ 0 h 44124"/>
                    <a:gd name="connsiteX2" fmla="*/ 70012 w 70012"/>
                    <a:gd name="connsiteY2" fmla="*/ 0 h 44124"/>
                    <a:gd name="connsiteX3" fmla="*/ 70012 w 70012"/>
                    <a:gd name="connsiteY3" fmla="*/ 44125 h 4412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70012" h="44124">
                      <a:moveTo>
                        <a:pt x="0" y="44125"/>
                      </a:moveTo>
                      <a:lnTo>
                        <a:pt x="0" y="0"/>
                      </a:lnTo>
                      <a:lnTo>
                        <a:pt x="70012" y="0"/>
                      </a:lnTo>
                      <a:lnTo>
                        <a:pt x="70012" y="44125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556" name="Forma livre: Forma 555">
                  <a:extLst>
                    <a:ext uri="{FF2B5EF4-FFF2-40B4-BE49-F238E27FC236}">
                      <a16:creationId xmlns:a16="http://schemas.microsoft.com/office/drawing/2014/main" id="{76E02D74-2231-4358-1E91-ADEF8F526762}"/>
                    </a:ext>
                  </a:extLst>
                </p:cNvPr>
                <p:cNvSpPr/>
                <p:nvPr/>
              </p:nvSpPr>
              <p:spPr>
                <a:xfrm>
                  <a:off x="3986515" y="2896711"/>
                  <a:ext cx="1193" cy="40747"/>
                </a:xfrm>
                <a:custGeom>
                  <a:avLst/>
                  <a:gdLst>
                    <a:gd name="connsiteX0" fmla="*/ 0 w 1193"/>
                    <a:gd name="connsiteY0" fmla="*/ 0 h 40747"/>
                    <a:gd name="connsiteX1" fmla="*/ 0 w 1193"/>
                    <a:gd name="connsiteY1" fmla="*/ 40747 h 4074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193" h="40747">
                      <a:moveTo>
                        <a:pt x="0" y="0"/>
                      </a:moveTo>
                      <a:lnTo>
                        <a:pt x="0" y="40747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sp>
          <p:nvSpPr>
            <p:cNvPr id="557" name="Forma livre: Forma 556">
              <a:extLst>
                <a:ext uri="{FF2B5EF4-FFF2-40B4-BE49-F238E27FC236}">
                  <a16:creationId xmlns:a16="http://schemas.microsoft.com/office/drawing/2014/main" id="{EC254D58-8C01-517C-3FBA-6E4F33ED0231}"/>
                </a:ext>
              </a:extLst>
            </p:cNvPr>
            <p:cNvSpPr/>
            <p:nvPr/>
          </p:nvSpPr>
          <p:spPr>
            <a:xfrm>
              <a:off x="3942951" y="2632368"/>
              <a:ext cx="85874" cy="81649"/>
            </a:xfrm>
            <a:custGeom>
              <a:avLst/>
              <a:gdLst>
                <a:gd name="connsiteX0" fmla="*/ 42931 w 85874"/>
                <a:gd name="connsiteY0" fmla="*/ 0 h 81649"/>
                <a:gd name="connsiteX1" fmla="*/ 56203 w 85874"/>
                <a:gd name="connsiteY1" fmla="*/ 26878 h 81649"/>
                <a:gd name="connsiteX2" fmla="*/ 85874 w 85874"/>
                <a:gd name="connsiteY2" fmla="*/ 31187 h 81649"/>
                <a:gd name="connsiteX3" fmla="*/ 64403 w 85874"/>
                <a:gd name="connsiteY3" fmla="*/ 52109 h 81649"/>
                <a:gd name="connsiteX4" fmla="*/ 69463 w 85874"/>
                <a:gd name="connsiteY4" fmla="*/ 81649 h 81649"/>
                <a:gd name="connsiteX5" fmla="*/ 42931 w 85874"/>
                <a:gd name="connsiteY5" fmla="*/ 67709 h 81649"/>
                <a:gd name="connsiteX6" fmla="*/ 16411 w 85874"/>
                <a:gd name="connsiteY6" fmla="*/ 81649 h 81649"/>
                <a:gd name="connsiteX7" fmla="*/ 21460 w 85874"/>
                <a:gd name="connsiteY7" fmla="*/ 52109 h 81649"/>
                <a:gd name="connsiteX8" fmla="*/ 0 w 85874"/>
                <a:gd name="connsiteY8" fmla="*/ 31187 h 81649"/>
                <a:gd name="connsiteX9" fmla="*/ 29671 w 85874"/>
                <a:gd name="connsiteY9" fmla="*/ 26878 h 81649"/>
                <a:gd name="connsiteX10" fmla="*/ 42931 w 85874"/>
                <a:gd name="connsiteY10" fmla="*/ 0 h 816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5874" h="81649">
                  <a:moveTo>
                    <a:pt x="42931" y="0"/>
                  </a:moveTo>
                  <a:lnTo>
                    <a:pt x="56203" y="26878"/>
                  </a:lnTo>
                  <a:lnTo>
                    <a:pt x="85874" y="31187"/>
                  </a:lnTo>
                  <a:lnTo>
                    <a:pt x="64403" y="52109"/>
                  </a:lnTo>
                  <a:lnTo>
                    <a:pt x="69463" y="81649"/>
                  </a:lnTo>
                  <a:lnTo>
                    <a:pt x="42931" y="67709"/>
                  </a:lnTo>
                  <a:lnTo>
                    <a:pt x="16411" y="81649"/>
                  </a:lnTo>
                  <a:lnTo>
                    <a:pt x="21460" y="52109"/>
                  </a:lnTo>
                  <a:lnTo>
                    <a:pt x="0" y="31187"/>
                  </a:lnTo>
                  <a:lnTo>
                    <a:pt x="29671" y="26878"/>
                  </a:lnTo>
                  <a:lnTo>
                    <a:pt x="42931" y="0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558" name="Gráfico 4">
              <a:extLst>
                <a:ext uri="{FF2B5EF4-FFF2-40B4-BE49-F238E27FC236}">
                  <a16:creationId xmlns:a16="http://schemas.microsoft.com/office/drawing/2014/main" id="{17566ADA-9784-043F-00F5-0D05A8205461}"/>
                </a:ext>
              </a:extLst>
            </p:cNvPr>
            <p:cNvGrpSpPr/>
            <p:nvPr/>
          </p:nvGrpSpPr>
          <p:grpSpPr>
            <a:xfrm>
              <a:off x="3854881" y="2663806"/>
              <a:ext cx="262015" cy="66515"/>
              <a:chOff x="3854881" y="2663806"/>
              <a:chExt cx="262015" cy="66515"/>
            </a:xfrm>
            <a:noFill/>
          </p:grpSpPr>
          <p:sp>
            <p:nvSpPr>
              <p:cNvPr id="559" name="Forma livre: Forma 558">
                <a:extLst>
                  <a:ext uri="{FF2B5EF4-FFF2-40B4-BE49-F238E27FC236}">
                    <a16:creationId xmlns:a16="http://schemas.microsoft.com/office/drawing/2014/main" id="{DD2707CC-1987-3728-571B-05DA81B51356}"/>
                  </a:ext>
                </a:extLst>
              </p:cNvPr>
              <p:cNvSpPr/>
              <p:nvPr/>
            </p:nvSpPr>
            <p:spPr>
              <a:xfrm>
                <a:off x="3854881" y="2663806"/>
                <a:ext cx="69952" cy="66515"/>
              </a:xfrm>
              <a:custGeom>
                <a:avLst/>
                <a:gdLst>
                  <a:gd name="connsiteX0" fmla="*/ 34970 w 69952"/>
                  <a:gd name="connsiteY0" fmla="*/ 0 h 66515"/>
                  <a:gd name="connsiteX1" fmla="*/ 45784 w 69952"/>
                  <a:gd name="connsiteY1" fmla="*/ 21901 h 66515"/>
                  <a:gd name="connsiteX2" fmla="*/ 69953 w 69952"/>
                  <a:gd name="connsiteY2" fmla="*/ 25410 h 66515"/>
                  <a:gd name="connsiteX3" fmla="*/ 52467 w 69952"/>
                  <a:gd name="connsiteY3" fmla="*/ 42454 h 66515"/>
                  <a:gd name="connsiteX4" fmla="*/ 56585 w 69952"/>
                  <a:gd name="connsiteY4" fmla="*/ 66515 h 66515"/>
                  <a:gd name="connsiteX5" fmla="*/ 34970 w 69952"/>
                  <a:gd name="connsiteY5" fmla="*/ 55153 h 66515"/>
                  <a:gd name="connsiteX6" fmla="*/ 13368 w 69952"/>
                  <a:gd name="connsiteY6" fmla="*/ 66515 h 66515"/>
                  <a:gd name="connsiteX7" fmla="*/ 17485 w 69952"/>
                  <a:gd name="connsiteY7" fmla="*/ 42454 h 66515"/>
                  <a:gd name="connsiteX8" fmla="*/ 0 w 69952"/>
                  <a:gd name="connsiteY8" fmla="*/ 25410 h 66515"/>
                  <a:gd name="connsiteX9" fmla="*/ 24169 w 69952"/>
                  <a:gd name="connsiteY9" fmla="*/ 21901 h 66515"/>
                  <a:gd name="connsiteX10" fmla="*/ 34970 w 69952"/>
                  <a:gd name="connsiteY10" fmla="*/ 0 h 665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69952" h="66515">
                    <a:moveTo>
                      <a:pt x="34970" y="0"/>
                    </a:moveTo>
                    <a:lnTo>
                      <a:pt x="45784" y="21901"/>
                    </a:lnTo>
                    <a:lnTo>
                      <a:pt x="69953" y="25410"/>
                    </a:lnTo>
                    <a:lnTo>
                      <a:pt x="52467" y="42454"/>
                    </a:lnTo>
                    <a:lnTo>
                      <a:pt x="56585" y="66515"/>
                    </a:lnTo>
                    <a:lnTo>
                      <a:pt x="34970" y="55153"/>
                    </a:lnTo>
                    <a:lnTo>
                      <a:pt x="13368" y="66515"/>
                    </a:lnTo>
                    <a:lnTo>
                      <a:pt x="17485" y="42454"/>
                    </a:lnTo>
                    <a:lnTo>
                      <a:pt x="0" y="25410"/>
                    </a:lnTo>
                    <a:lnTo>
                      <a:pt x="24169" y="21901"/>
                    </a:lnTo>
                    <a:lnTo>
                      <a:pt x="34970" y="0"/>
                    </a:ln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60" name="Forma livre: Forma 559">
                <a:extLst>
                  <a:ext uri="{FF2B5EF4-FFF2-40B4-BE49-F238E27FC236}">
                    <a16:creationId xmlns:a16="http://schemas.microsoft.com/office/drawing/2014/main" id="{BE987271-EC66-D5ED-E4E8-ED0A5CA2481A}"/>
                  </a:ext>
                </a:extLst>
              </p:cNvPr>
              <p:cNvSpPr/>
              <p:nvPr/>
            </p:nvSpPr>
            <p:spPr>
              <a:xfrm>
                <a:off x="4046943" y="2663806"/>
                <a:ext cx="69952" cy="66515"/>
              </a:xfrm>
              <a:custGeom>
                <a:avLst/>
                <a:gdLst>
                  <a:gd name="connsiteX0" fmla="*/ 34970 w 69952"/>
                  <a:gd name="connsiteY0" fmla="*/ 0 h 66515"/>
                  <a:gd name="connsiteX1" fmla="*/ 45784 w 69952"/>
                  <a:gd name="connsiteY1" fmla="*/ 21901 h 66515"/>
                  <a:gd name="connsiteX2" fmla="*/ 69953 w 69952"/>
                  <a:gd name="connsiteY2" fmla="*/ 25410 h 66515"/>
                  <a:gd name="connsiteX3" fmla="*/ 52467 w 69952"/>
                  <a:gd name="connsiteY3" fmla="*/ 42454 h 66515"/>
                  <a:gd name="connsiteX4" fmla="*/ 56585 w 69952"/>
                  <a:gd name="connsiteY4" fmla="*/ 66515 h 66515"/>
                  <a:gd name="connsiteX5" fmla="*/ 34970 w 69952"/>
                  <a:gd name="connsiteY5" fmla="*/ 55153 h 66515"/>
                  <a:gd name="connsiteX6" fmla="*/ 13367 w 69952"/>
                  <a:gd name="connsiteY6" fmla="*/ 66515 h 66515"/>
                  <a:gd name="connsiteX7" fmla="*/ 17485 w 69952"/>
                  <a:gd name="connsiteY7" fmla="*/ 42454 h 66515"/>
                  <a:gd name="connsiteX8" fmla="*/ 0 w 69952"/>
                  <a:gd name="connsiteY8" fmla="*/ 25410 h 66515"/>
                  <a:gd name="connsiteX9" fmla="*/ 24169 w 69952"/>
                  <a:gd name="connsiteY9" fmla="*/ 21901 h 66515"/>
                  <a:gd name="connsiteX10" fmla="*/ 34970 w 69952"/>
                  <a:gd name="connsiteY10" fmla="*/ 0 h 665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69952" h="66515">
                    <a:moveTo>
                      <a:pt x="34970" y="0"/>
                    </a:moveTo>
                    <a:lnTo>
                      <a:pt x="45784" y="21901"/>
                    </a:lnTo>
                    <a:lnTo>
                      <a:pt x="69953" y="25410"/>
                    </a:lnTo>
                    <a:lnTo>
                      <a:pt x="52467" y="42454"/>
                    </a:lnTo>
                    <a:lnTo>
                      <a:pt x="56585" y="66515"/>
                    </a:lnTo>
                    <a:lnTo>
                      <a:pt x="34970" y="55153"/>
                    </a:lnTo>
                    <a:lnTo>
                      <a:pt x="13367" y="66515"/>
                    </a:lnTo>
                    <a:lnTo>
                      <a:pt x="17485" y="42454"/>
                    </a:lnTo>
                    <a:lnTo>
                      <a:pt x="0" y="25410"/>
                    </a:lnTo>
                    <a:lnTo>
                      <a:pt x="24169" y="21901"/>
                    </a:lnTo>
                    <a:lnTo>
                      <a:pt x="34970" y="0"/>
                    </a:ln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561" name="Gráfico 4">
            <a:extLst>
              <a:ext uri="{FF2B5EF4-FFF2-40B4-BE49-F238E27FC236}">
                <a16:creationId xmlns:a16="http://schemas.microsoft.com/office/drawing/2014/main" id="{08432952-4CF8-AF92-4F88-E4A393D3A522}"/>
              </a:ext>
            </a:extLst>
          </p:cNvPr>
          <p:cNvGrpSpPr/>
          <p:nvPr/>
        </p:nvGrpSpPr>
        <p:grpSpPr>
          <a:xfrm>
            <a:off x="2572865" y="2553488"/>
            <a:ext cx="378240" cy="386201"/>
            <a:chOff x="2572865" y="2553488"/>
            <a:chExt cx="378240" cy="386201"/>
          </a:xfrm>
          <a:noFill/>
        </p:grpSpPr>
        <p:sp>
          <p:nvSpPr>
            <p:cNvPr id="562" name="Forma livre: Forma 561">
              <a:extLst>
                <a:ext uri="{FF2B5EF4-FFF2-40B4-BE49-F238E27FC236}">
                  <a16:creationId xmlns:a16="http://schemas.microsoft.com/office/drawing/2014/main" id="{DA31C0E0-94EC-2CFE-A21A-8F332EBD8EEF}"/>
                </a:ext>
              </a:extLst>
            </p:cNvPr>
            <p:cNvSpPr/>
            <p:nvPr/>
          </p:nvSpPr>
          <p:spPr>
            <a:xfrm>
              <a:off x="2934325" y="2939690"/>
              <a:ext cx="16781" cy="1193"/>
            </a:xfrm>
            <a:custGeom>
              <a:avLst/>
              <a:gdLst>
                <a:gd name="connsiteX0" fmla="*/ 0 w 16781"/>
                <a:gd name="connsiteY0" fmla="*/ 0 h 1193"/>
                <a:gd name="connsiteX1" fmla="*/ 16781 w 16781"/>
                <a:gd name="connsiteY1" fmla="*/ 0 h 11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6781" h="1193">
                  <a:moveTo>
                    <a:pt x="0" y="0"/>
                  </a:moveTo>
                  <a:lnTo>
                    <a:pt x="16781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563" name="Forma livre: Forma 562">
              <a:extLst>
                <a:ext uri="{FF2B5EF4-FFF2-40B4-BE49-F238E27FC236}">
                  <a16:creationId xmlns:a16="http://schemas.microsoft.com/office/drawing/2014/main" id="{CE29F961-4FC7-97E3-40FE-D58598585DFE}"/>
                </a:ext>
              </a:extLst>
            </p:cNvPr>
            <p:cNvSpPr/>
            <p:nvPr/>
          </p:nvSpPr>
          <p:spPr>
            <a:xfrm>
              <a:off x="2572865" y="2939690"/>
              <a:ext cx="339093" cy="1193"/>
            </a:xfrm>
            <a:custGeom>
              <a:avLst/>
              <a:gdLst>
                <a:gd name="connsiteX0" fmla="*/ 0 w 339093"/>
                <a:gd name="connsiteY0" fmla="*/ 0 h 1193"/>
                <a:gd name="connsiteX1" fmla="*/ 339093 w 339093"/>
                <a:gd name="connsiteY1" fmla="*/ 0 h 11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39093" h="1193">
                  <a:moveTo>
                    <a:pt x="0" y="0"/>
                  </a:moveTo>
                  <a:lnTo>
                    <a:pt x="339093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564" name="Gráfico 4">
              <a:extLst>
                <a:ext uri="{FF2B5EF4-FFF2-40B4-BE49-F238E27FC236}">
                  <a16:creationId xmlns:a16="http://schemas.microsoft.com/office/drawing/2014/main" id="{9C3EF891-C3C4-6AF9-AAAF-186D0154D88D}"/>
                </a:ext>
              </a:extLst>
            </p:cNvPr>
            <p:cNvGrpSpPr/>
            <p:nvPr/>
          </p:nvGrpSpPr>
          <p:grpSpPr>
            <a:xfrm>
              <a:off x="2665948" y="2553488"/>
              <a:ext cx="152771" cy="382680"/>
              <a:chOff x="2665948" y="2553488"/>
              <a:chExt cx="152771" cy="382680"/>
            </a:xfrm>
            <a:noFill/>
          </p:grpSpPr>
          <p:sp>
            <p:nvSpPr>
              <p:cNvPr id="565" name="Forma livre: Forma 564">
                <a:extLst>
                  <a:ext uri="{FF2B5EF4-FFF2-40B4-BE49-F238E27FC236}">
                    <a16:creationId xmlns:a16="http://schemas.microsoft.com/office/drawing/2014/main" id="{48337B7E-042E-9AA6-324F-C6D34324199D}"/>
                  </a:ext>
                </a:extLst>
              </p:cNvPr>
              <p:cNvSpPr/>
              <p:nvPr/>
            </p:nvSpPr>
            <p:spPr>
              <a:xfrm>
                <a:off x="2714489" y="2828835"/>
                <a:ext cx="55690" cy="107333"/>
              </a:xfrm>
              <a:custGeom>
                <a:avLst/>
                <a:gdLst>
                  <a:gd name="connsiteX0" fmla="*/ 0 w 55690"/>
                  <a:gd name="connsiteY0" fmla="*/ 91854 h 107333"/>
                  <a:gd name="connsiteX1" fmla="*/ 0 w 55690"/>
                  <a:gd name="connsiteY1" fmla="*/ 28645 h 107333"/>
                  <a:gd name="connsiteX2" fmla="*/ 27845 w 55690"/>
                  <a:gd name="connsiteY2" fmla="*/ 0 h 107333"/>
                  <a:gd name="connsiteX3" fmla="*/ 55690 w 55690"/>
                  <a:gd name="connsiteY3" fmla="*/ 28645 h 107333"/>
                  <a:gd name="connsiteX4" fmla="*/ 55690 w 55690"/>
                  <a:gd name="connsiteY4" fmla="*/ 107334 h 1073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690" h="107333">
                    <a:moveTo>
                      <a:pt x="0" y="91854"/>
                    </a:moveTo>
                    <a:lnTo>
                      <a:pt x="0" y="28645"/>
                    </a:lnTo>
                    <a:cubicBezTo>
                      <a:pt x="0" y="12890"/>
                      <a:pt x="12532" y="0"/>
                      <a:pt x="27845" y="0"/>
                    </a:cubicBezTo>
                    <a:cubicBezTo>
                      <a:pt x="43158" y="0"/>
                      <a:pt x="55690" y="12890"/>
                      <a:pt x="55690" y="28645"/>
                    </a:cubicBezTo>
                    <a:lnTo>
                      <a:pt x="55690" y="107334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566" name="Gráfico 4">
                <a:extLst>
                  <a:ext uri="{FF2B5EF4-FFF2-40B4-BE49-F238E27FC236}">
                    <a16:creationId xmlns:a16="http://schemas.microsoft.com/office/drawing/2014/main" id="{2702EE89-E62C-01ED-5F4D-2BAE0C6827D9}"/>
                  </a:ext>
                </a:extLst>
              </p:cNvPr>
              <p:cNvGrpSpPr/>
              <p:nvPr/>
            </p:nvGrpSpPr>
            <p:grpSpPr>
              <a:xfrm>
                <a:off x="2715097" y="2553488"/>
                <a:ext cx="54472" cy="82830"/>
                <a:chOff x="2715097" y="2553488"/>
                <a:chExt cx="54472" cy="82830"/>
              </a:xfrm>
            </p:grpSpPr>
            <p:sp>
              <p:nvSpPr>
                <p:cNvPr id="567" name="Forma livre: Forma 566">
                  <a:extLst>
                    <a:ext uri="{FF2B5EF4-FFF2-40B4-BE49-F238E27FC236}">
                      <a16:creationId xmlns:a16="http://schemas.microsoft.com/office/drawing/2014/main" id="{7F55BD63-179E-5BBA-C68F-24C82677F290}"/>
                    </a:ext>
                  </a:extLst>
                </p:cNvPr>
                <p:cNvSpPr/>
                <p:nvPr/>
              </p:nvSpPr>
              <p:spPr>
                <a:xfrm>
                  <a:off x="2742334" y="2553488"/>
                  <a:ext cx="1193" cy="82830"/>
                </a:xfrm>
                <a:custGeom>
                  <a:avLst/>
                  <a:gdLst>
                    <a:gd name="connsiteX0" fmla="*/ 0 w 1193"/>
                    <a:gd name="connsiteY0" fmla="*/ 82831 h 82830"/>
                    <a:gd name="connsiteX1" fmla="*/ 0 w 1193"/>
                    <a:gd name="connsiteY1" fmla="*/ 0 h 8283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193" h="82830">
                      <a:moveTo>
                        <a:pt x="0" y="82831"/>
                      </a:moveTo>
                      <a:lnTo>
                        <a:pt x="0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568" name="Forma livre: Forma 567">
                  <a:extLst>
                    <a:ext uri="{FF2B5EF4-FFF2-40B4-BE49-F238E27FC236}">
                      <a16:creationId xmlns:a16="http://schemas.microsoft.com/office/drawing/2014/main" id="{A3B7EEBE-EA23-A452-DD6C-F62A6D111255}"/>
                    </a:ext>
                  </a:extLst>
                </p:cNvPr>
                <p:cNvSpPr/>
                <p:nvPr/>
              </p:nvSpPr>
              <p:spPr>
                <a:xfrm>
                  <a:off x="2715097" y="2578194"/>
                  <a:ext cx="54472" cy="1193"/>
                </a:xfrm>
                <a:custGeom>
                  <a:avLst/>
                  <a:gdLst>
                    <a:gd name="connsiteX0" fmla="*/ 0 w 54472"/>
                    <a:gd name="connsiteY0" fmla="*/ 0 h 1193"/>
                    <a:gd name="connsiteX1" fmla="*/ 54473 w 54472"/>
                    <a:gd name="connsiteY1" fmla="*/ 0 h 119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54472" h="1193">
                      <a:moveTo>
                        <a:pt x="0" y="0"/>
                      </a:moveTo>
                      <a:lnTo>
                        <a:pt x="54473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569" name="Forma livre: Forma 568">
                  <a:extLst>
                    <a:ext uri="{FF2B5EF4-FFF2-40B4-BE49-F238E27FC236}">
                      <a16:creationId xmlns:a16="http://schemas.microsoft.com/office/drawing/2014/main" id="{13D5F53F-1135-1FF4-447A-A022E92A27A6}"/>
                    </a:ext>
                  </a:extLst>
                </p:cNvPr>
                <p:cNvSpPr/>
                <p:nvPr/>
              </p:nvSpPr>
              <p:spPr>
                <a:xfrm>
                  <a:off x="2716577" y="2602279"/>
                  <a:ext cx="51512" cy="17723"/>
                </a:xfrm>
                <a:custGeom>
                  <a:avLst/>
                  <a:gdLst>
                    <a:gd name="connsiteX0" fmla="*/ 0 w 51512"/>
                    <a:gd name="connsiteY0" fmla="*/ 0 h 17723"/>
                    <a:gd name="connsiteX1" fmla="*/ 51513 w 51512"/>
                    <a:gd name="connsiteY1" fmla="*/ 17724 h 1772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51512" h="17723">
                      <a:moveTo>
                        <a:pt x="0" y="0"/>
                      </a:moveTo>
                      <a:lnTo>
                        <a:pt x="51513" y="17724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570" name="Gráfico 4">
                <a:extLst>
                  <a:ext uri="{FF2B5EF4-FFF2-40B4-BE49-F238E27FC236}">
                    <a16:creationId xmlns:a16="http://schemas.microsoft.com/office/drawing/2014/main" id="{22852472-9784-50EB-EE86-3D75FCDD46D3}"/>
                  </a:ext>
                </a:extLst>
              </p:cNvPr>
              <p:cNvGrpSpPr/>
              <p:nvPr/>
            </p:nvGrpSpPr>
            <p:grpSpPr>
              <a:xfrm>
                <a:off x="2665948" y="2636331"/>
                <a:ext cx="152771" cy="175758"/>
                <a:chOff x="2665948" y="2636331"/>
                <a:chExt cx="152771" cy="175758"/>
              </a:xfrm>
              <a:noFill/>
            </p:grpSpPr>
            <p:sp>
              <p:nvSpPr>
                <p:cNvPr id="571" name="Forma livre: Forma 570">
                  <a:extLst>
                    <a:ext uri="{FF2B5EF4-FFF2-40B4-BE49-F238E27FC236}">
                      <a16:creationId xmlns:a16="http://schemas.microsoft.com/office/drawing/2014/main" id="{5C0FEF24-358D-A2DC-2131-F29340198757}"/>
                    </a:ext>
                  </a:extLst>
                </p:cNvPr>
                <p:cNvSpPr/>
                <p:nvPr/>
              </p:nvSpPr>
              <p:spPr>
                <a:xfrm>
                  <a:off x="2665948" y="2636331"/>
                  <a:ext cx="152771" cy="175758"/>
                </a:xfrm>
                <a:custGeom>
                  <a:avLst/>
                  <a:gdLst>
                    <a:gd name="connsiteX0" fmla="*/ 29039 w 152771"/>
                    <a:gd name="connsiteY0" fmla="*/ 174959 h 175758"/>
                    <a:gd name="connsiteX1" fmla="*/ 29039 w 152771"/>
                    <a:gd name="connsiteY1" fmla="*/ 143438 h 175758"/>
                    <a:gd name="connsiteX2" fmla="*/ 0 w 152771"/>
                    <a:gd name="connsiteY2" fmla="*/ 94933 h 175758"/>
                    <a:gd name="connsiteX3" fmla="*/ 76386 w 152771"/>
                    <a:gd name="connsiteY3" fmla="*/ 0 h 175758"/>
                    <a:gd name="connsiteX4" fmla="*/ 152772 w 152771"/>
                    <a:gd name="connsiteY4" fmla="*/ 94933 h 175758"/>
                    <a:gd name="connsiteX5" fmla="*/ 123733 w 152771"/>
                    <a:gd name="connsiteY5" fmla="*/ 143438 h 175758"/>
                    <a:gd name="connsiteX6" fmla="*/ 123733 w 152771"/>
                    <a:gd name="connsiteY6" fmla="*/ 175759 h 175758"/>
                    <a:gd name="connsiteX7" fmla="*/ 147687 w 152771"/>
                    <a:gd name="connsiteY7" fmla="*/ 175759 h 17575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52771" h="175758">
                      <a:moveTo>
                        <a:pt x="29039" y="174959"/>
                      </a:moveTo>
                      <a:lnTo>
                        <a:pt x="29039" y="143438"/>
                      </a:lnTo>
                      <a:cubicBezTo>
                        <a:pt x="11374" y="134666"/>
                        <a:pt x="0" y="119222"/>
                        <a:pt x="0" y="94933"/>
                      </a:cubicBezTo>
                      <a:cubicBezTo>
                        <a:pt x="0" y="52742"/>
                        <a:pt x="58196" y="36737"/>
                        <a:pt x="76386" y="0"/>
                      </a:cubicBezTo>
                      <a:cubicBezTo>
                        <a:pt x="94575" y="36737"/>
                        <a:pt x="152772" y="52754"/>
                        <a:pt x="152772" y="94933"/>
                      </a:cubicBezTo>
                      <a:cubicBezTo>
                        <a:pt x="152772" y="119222"/>
                        <a:pt x="141397" y="134678"/>
                        <a:pt x="123733" y="143438"/>
                      </a:cubicBezTo>
                      <a:lnTo>
                        <a:pt x="123733" y="175759"/>
                      </a:lnTo>
                      <a:lnTo>
                        <a:pt x="147687" y="175759"/>
                      </a:ln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572" name="Forma livre: Forma 571">
                  <a:extLst>
                    <a:ext uri="{FF2B5EF4-FFF2-40B4-BE49-F238E27FC236}">
                      <a16:creationId xmlns:a16="http://schemas.microsoft.com/office/drawing/2014/main" id="{70A24DAA-8151-1D5C-98DD-9A807D5EF524}"/>
                    </a:ext>
                  </a:extLst>
                </p:cNvPr>
                <p:cNvSpPr/>
                <p:nvPr/>
              </p:nvSpPr>
              <p:spPr>
                <a:xfrm>
                  <a:off x="2725994" y="2779769"/>
                  <a:ext cx="63674" cy="1193"/>
                </a:xfrm>
                <a:custGeom>
                  <a:avLst/>
                  <a:gdLst>
                    <a:gd name="connsiteX0" fmla="*/ 63675 w 63674"/>
                    <a:gd name="connsiteY0" fmla="*/ 0 h 1193"/>
                    <a:gd name="connsiteX1" fmla="*/ 0 w 63674"/>
                    <a:gd name="connsiteY1" fmla="*/ 0 h 119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63674" h="1193">
                      <a:moveTo>
                        <a:pt x="63675" y="0"/>
                      </a:moveTo>
                      <a:lnTo>
                        <a:pt x="0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grpSp>
          <p:nvGrpSpPr>
            <p:cNvPr id="573" name="Gráfico 4">
              <a:extLst>
                <a:ext uri="{FF2B5EF4-FFF2-40B4-BE49-F238E27FC236}">
                  <a16:creationId xmlns:a16="http://schemas.microsoft.com/office/drawing/2014/main" id="{3A413A0E-7C82-738C-2D2F-2ABA81AD8C1D}"/>
                </a:ext>
              </a:extLst>
            </p:cNvPr>
            <p:cNvGrpSpPr/>
            <p:nvPr/>
          </p:nvGrpSpPr>
          <p:grpSpPr>
            <a:xfrm>
              <a:off x="2578737" y="2751542"/>
              <a:ext cx="327193" cy="187861"/>
              <a:chOff x="2578737" y="2751542"/>
              <a:chExt cx="327193" cy="187861"/>
            </a:xfrm>
            <a:noFill/>
          </p:grpSpPr>
          <p:grpSp>
            <p:nvGrpSpPr>
              <p:cNvPr id="574" name="Gráfico 4">
                <a:extLst>
                  <a:ext uri="{FF2B5EF4-FFF2-40B4-BE49-F238E27FC236}">
                    <a16:creationId xmlns:a16="http://schemas.microsoft.com/office/drawing/2014/main" id="{5522F5BA-0328-B28A-52B4-7F741715E54B}"/>
                  </a:ext>
                </a:extLst>
              </p:cNvPr>
              <p:cNvGrpSpPr/>
              <p:nvPr/>
            </p:nvGrpSpPr>
            <p:grpSpPr>
              <a:xfrm>
                <a:off x="2578737" y="2751542"/>
                <a:ext cx="92307" cy="187861"/>
                <a:chOff x="2578737" y="2751542"/>
                <a:chExt cx="92307" cy="187861"/>
              </a:xfrm>
              <a:noFill/>
            </p:grpSpPr>
            <p:sp>
              <p:nvSpPr>
                <p:cNvPr id="575" name="Forma livre: Forma 574">
                  <a:extLst>
                    <a:ext uri="{FF2B5EF4-FFF2-40B4-BE49-F238E27FC236}">
                      <a16:creationId xmlns:a16="http://schemas.microsoft.com/office/drawing/2014/main" id="{2C0F7BB3-B24F-9352-C69A-B5FAC66CB601}"/>
                    </a:ext>
                  </a:extLst>
                </p:cNvPr>
                <p:cNvSpPr/>
                <p:nvPr/>
              </p:nvSpPr>
              <p:spPr>
                <a:xfrm>
                  <a:off x="2624891" y="2873354"/>
                  <a:ext cx="1193" cy="19096"/>
                </a:xfrm>
                <a:custGeom>
                  <a:avLst/>
                  <a:gdLst>
                    <a:gd name="connsiteX0" fmla="*/ 0 w 1193"/>
                    <a:gd name="connsiteY0" fmla="*/ 0 h 19096"/>
                    <a:gd name="connsiteX1" fmla="*/ 0 w 1193"/>
                    <a:gd name="connsiteY1" fmla="*/ 19096 h 1909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193" h="19096">
                      <a:moveTo>
                        <a:pt x="0" y="0"/>
                      </a:moveTo>
                      <a:lnTo>
                        <a:pt x="0" y="19096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grpSp>
              <p:nvGrpSpPr>
                <p:cNvPr id="576" name="Gráfico 4">
                  <a:extLst>
                    <a:ext uri="{FF2B5EF4-FFF2-40B4-BE49-F238E27FC236}">
                      <a16:creationId xmlns:a16="http://schemas.microsoft.com/office/drawing/2014/main" id="{76FFA748-0AF8-188B-1FF7-C84203B6A350}"/>
                    </a:ext>
                  </a:extLst>
                </p:cNvPr>
                <p:cNvGrpSpPr/>
                <p:nvPr/>
              </p:nvGrpSpPr>
              <p:grpSpPr>
                <a:xfrm>
                  <a:off x="2578737" y="2751542"/>
                  <a:ext cx="92307" cy="187861"/>
                  <a:chOff x="2578737" y="2751542"/>
                  <a:chExt cx="92307" cy="187861"/>
                </a:xfrm>
                <a:noFill/>
              </p:grpSpPr>
              <p:sp>
                <p:nvSpPr>
                  <p:cNvPr id="577" name="Forma livre: Forma 576">
                    <a:extLst>
                      <a:ext uri="{FF2B5EF4-FFF2-40B4-BE49-F238E27FC236}">
                        <a16:creationId xmlns:a16="http://schemas.microsoft.com/office/drawing/2014/main" id="{B69279FE-0651-D7FB-A201-F5CC980331C7}"/>
                      </a:ext>
                    </a:extLst>
                  </p:cNvPr>
                  <p:cNvSpPr/>
                  <p:nvPr/>
                </p:nvSpPr>
                <p:spPr>
                  <a:xfrm>
                    <a:off x="2620642" y="2839684"/>
                    <a:ext cx="33609" cy="1193"/>
                  </a:xfrm>
                  <a:custGeom>
                    <a:avLst/>
                    <a:gdLst>
                      <a:gd name="connsiteX0" fmla="*/ 33610 w 33609"/>
                      <a:gd name="connsiteY0" fmla="*/ 0 h 1193"/>
                      <a:gd name="connsiteX1" fmla="*/ 0 w 33609"/>
                      <a:gd name="connsiteY1" fmla="*/ 0 h 119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33609" h="1193">
                        <a:moveTo>
                          <a:pt x="33610" y="0"/>
                        </a:moveTo>
                        <a:lnTo>
                          <a:pt x="0" y="0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578" name="Forma livre: Forma 577">
                    <a:extLst>
                      <a:ext uri="{FF2B5EF4-FFF2-40B4-BE49-F238E27FC236}">
                        <a16:creationId xmlns:a16="http://schemas.microsoft.com/office/drawing/2014/main" id="{06BF30AE-7CFC-4D43-CAA8-FB04742EBE9A}"/>
                      </a:ext>
                    </a:extLst>
                  </p:cNvPr>
                  <p:cNvSpPr/>
                  <p:nvPr/>
                </p:nvSpPr>
                <p:spPr>
                  <a:xfrm>
                    <a:off x="2578737" y="2751542"/>
                    <a:ext cx="92307" cy="187861"/>
                  </a:xfrm>
                  <a:custGeom>
                    <a:avLst/>
                    <a:gdLst>
                      <a:gd name="connsiteX0" fmla="*/ 75192 w 92307"/>
                      <a:gd name="connsiteY0" fmla="*/ 187861 h 187861"/>
                      <a:gd name="connsiteX1" fmla="*/ 75192 w 92307"/>
                      <a:gd name="connsiteY1" fmla="*/ 86459 h 187861"/>
                      <a:gd name="connsiteX2" fmla="*/ 92307 w 92307"/>
                      <a:gd name="connsiteY2" fmla="*/ 57349 h 187861"/>
                      <a:gd name="connsiteX3" fmla="*/ 46154 w 92307"/>
                      <a:gd name="connsiteY3" fmla="*/ 0 h 187861"/>
                      <a:gd name="connsiteX4" fmla="*/ 0 w 92307"/>
                      <a:gd name="connsiteY4" fmla="*/ 57349 h 187861"/>
                      <a:gd name="connsiteX5" fmla="*/ 17103 w 92307"/>
                      <a:gd name="connsiteY5" fmla="*/ 86459 h 187861"/>
                      <a:gd name="connsiteX6" fmla="*/ 17103 w 92307"/>
                      <a:gd name="connsiteY6" fmla="*/ 169159 h 18786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2307" h="187861">
                        <a:moveTo>
                          <a:pt x="75192" y="187861"/>
                        </a:moveTo>
                        <a:lnTo>
                          <a:pt x="75192" y="86459"/>
                        </a:lnTo>
                        <a:cubicBezTo>
                          <a:pt x="85624" y="81124"/>
                          <a:pt x="92307" y="71826"/>
                          <a:pt x="92307" y="57349"/>
                        </a:cubicBezTo>
                        <a:cubicBezTo>
                          <a:pt x="92307" y="31867"/>
                          <a:pt x="57146" y="22188"/>
                          <a:pt x="46154" y="0"/>
                        </a:cubicBezTo>
                        <a:cubicBezTo>
                          <a:pt x="35161" y="22200"/>
                          <a:pt x="0" y="31867"/>
                          <a:pt x="0" y="57349"/>
                        </a:cubicBezTo>
                        <a:cubicBezTo>
                          <a:pt x="0" y="71826"/>
                          <a:pt x="6672" y="81124"/>
                          <a:pt x="17103" y="86459"/>
                        </a:cubicBezTo>
                        <a:lnTo>
                          <a:pt x="17103" y="169159"/>
                        </a:lnTo>
                      </a:path>
                    </a:pathLst>
                  </a:custGeom>
                  <a:noFill/>
                  <a:ln w="6350" cap="flat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</p:grpSp>
          <p:grpSp>
            <p:nvGrpSpPr>
              <p:cNvPr id="579" name="Gráfico 4">
                <a:extLst>
                  <a:ext uri="{FF2B5EF4-FFF2-40B4-BE49-F238E27FC236}">
                    <a16:creationId xmlns:a16="http://schemas.microsoft.com/office/drawing/2014/main" id="{EAB845CE-4E5C-0757-D243-213EB6899809}"/>
                  </a:ext>
                </a:extLst>
              </p:cNvPr>
              <p:cNvGrpSpPr/>
              <p:nvPr/>
            </p:nvGrpSpPr>
            <p:grpSpPr>
              <a:xfrm>
                <a:off x="2813623" y="2751542"/>
                <a:ext cx="92307" cy="187861"/>
                <a:chOff x="2813623" y="2751542"/>
                <a:chExt cx="92307" cy="187861"/>
              </a:xfrm>
              <a:noFill/>
            </p:grpSpPr>
            <p:sp>
              <p:nvSpPr>
                <p:cNvPr id="580" name="Forma livre: Forma 579">
                  <a:extLst>
                    <a:ext uri="{FF2B5EF4-FFF2-40B4-BE49-F238E27FC236}">
                      <a16:creationId xmlns:a16="http://schemas.microsoft.com/office/drawing/2014/main" id="{2FA09C36-6D35-7629-AF81-9EF04A5356B7}"/>
                    </a:ext>
                  </a:extLst>
                </p:cNvPr>
                <p:cNvSpPr/>
                <p:nvPr/>
              </p:nvSpPr>
              <p:spPr>
                <a:xfrm>
                  <a:off x="2859777" y="2873354"/>
                  <a:ext cx="1193" cy="19096"/>
                </a:xfrm>
                <a:custGeom>
                  <a:avLst/>
                  <a:gdLst>
                    <a:gd name="connsiteX0" fmla="*/ 0 w 1193"/>
                    <a:gd name="connsiteY0" fmla="*/ 0 h 19096"/>
                    <a:gd name="connsiteX1" fmla="*/ 0 w 1193"/>
                    <a:gd name="connsiteY1" fmla="*/ 19096 h 1909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193" h="19096">
                      <a:moveTo>
                        <a:pt x="0" y="0"/>
                      </a:moveTo>
                      <a:lnTo>
                        <a:pt x="0" y="19096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grpSp>
              <p:nvGrpSpPr>
                <p:cNvPr id="581" name="Gráfico 4">
                  <a:extLst>
                    <a:ext uri="{FF2B5EF4-FFF2-40B4-BE49-F238E27FC236}">
                      <a16:creationId xmlns:a16="http://schemas.microsoft.com/office/drawing/2014/main" id="{5DD83BF4-54AF-3895-9DE1-B813F3D213CD}"/>
                    </a:ext>
                  </a:extLst>
                </p:cNvPr>
                <p:cNvGrpSpPr/>
                <p:nvPr/>
              </p:nvGrpSpPr>
              <p:grpSpPr>
                <a:xfrm>
                  <a:off x="2813623" y="2751542"/>
                  <a:ext cx="92307" cy="187861"/>
                  <a:chOff x="2813623" y="2751542"/>
                  <a:chExt cx="92307" cy="187861"/>
                </a:xfrm>
                <a:noFill/>
              </p:grpSpPr>
              <p:sp>
                <p:nvSpPr>
                  <p:cNvPr id="582" name="Forma livre: Forma 581">
                    <a:extLst>
                      <a:ext uri="{FF2B5EF4-FFF2-40B4-BE49-F238E27FC236}">
                        <a16:creationId xmlns:a16="http://schemas.microsoft.com/office/drawing/2014/main" id="{D97BFEDF-5E64-A881-28C1-2C8E733642ED}"/>
                      </a:ext>
                    </a:extLst>
                  </p:cNvPr>
                  <p:cNvSpPr/>
                  <p:nvPr/>
                </p:nvSpPr>
                <p:spPr>
                  <a:xfrm>
                    <a:off x="2855528" y="2839684"/>
                    <a:ext cx="33609" cy="1193"/>
                  </a:xfrm>
                  <a:custGeom>
                    <a:avLst/>
                    <a:gdLst>
                      <a:gd name="connsiteX0" fmla="*/ 33610 w 33609"/>
                      <a:gd name="connsiteY0" fmla="*/ 0 h 1193"/>
                      <a:gd name="connsiteX1" fmla="*/ 0 w 33609"/>
                      <a:gd name="connsiteY1" fmla="*/ 0 h 119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33609" h="1193">
                        <a:moveTo>
                          <a:pt x="33610" y="0"/>
                        </a:moveTo>
                        <a:lnTo>
                          <a:pt x="0" y="0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583" name="Forma livre: Forma 582">
                    <a:extLst>
                      <a:ext uri="{FF2B5EF4-FFF2-40B4-BE49-F238E27FC236}">
                        <a16:creationId xmlns:a16="http://schemas.microsoft.com/office/drawing/2014/main" id="{59BF19A1-7916-E976-ADD8-5A937126FA26}"/>
                      </a:ext>
                    </a:extLst>
                  </p:cNvPr>
                  <p:cNvSpPr/>
                  <p:nvPr/>
                </p:nvSpPr>
                <p:spPr>
                  <a:xfrm>
                    <a:off x="2813623" y="2751542"/>
                    <a:ext cx="92307" cy="187861"/>
                  </a:xfrm>
                  <a:custGeom>
                    <a:avLst/>
                    <a:gdLst>
                      <a:gd name="connsiteX0" fmla="*/ 75192 w 92307"/>
                      <a:gd name="connsiteY0" fmla="*/ 187861 h 187861"/>
                      <a:gd name="connsiteX1" fmla="*/ 75192 w 92307"/>
                      <a:gd name="connsiteY1" fmla="*/ 86459 h 187861"/>
                      <a:gd name="connsiteX2" fmla="*/ 92307 w 92307"/>
                      <a:gd name="connsiteY2" fmla="*/ 57349 h 187861"/>
                      <a:gd name="connsiteX3" fmla="*/ 46154 w 92307"/>
                      <a:gd name="connsiteY3" fmla="*/ 0 h 187861"/>
                      <a:gd name="connsiteX4" fmla="*/ 0 w 92307"/>
                      <a:gd name="connsiteY4" fmla="*/ 57349 h 187861"/>
                      <a:gd name="connsiteX5" fmla="*/ 17103 w 92307"/>
                      <a:gd name="connsiteY5" fmla="*/ 86459 h 187861"/>
                      <a:gd name="connsiteX6" fmla="*/ 17103 w 92307"/>
                      <a:gd name="connsiteY6" fmla="*/ 169159 h 18786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2307" h="187861">
                        <a:moveTo>
                          <a:pt x="75192" y="187861"/>
                        </a:moveTo>
                        <a:lnTo>
                          <a:pt x="75192" y="86459"/>
                        </a:lnTo>
                        <a:cubicBezTo>
                          <a:pt x="85624" y="81124"/>
                          <a:pt x="92307" y="71826"/>
                          <a:pt x="92307" y="57349"/>
                        </a:cubicBezTo>
                        <a:cubicBezTo>
                          <a:pt x="92307" y="31867"/>
                          <a:pt x="57146" y="22188"/>
                          <a:pt x="46154" y="0"/>
                        </a:cubicBezTo>
                        <a:cubicBezTo>
                          <a:pt x="35161" y="22200"/>
                          <a:pt x="0" y="31867"/>
                          <a:pt x="0" y="57349"/>
                        </a:cubicBezTo>
                        <a:cubicBezTo>
                          <a:pt x="0" y="71826"/>
                          <a:pt x="6672" y="81124"/>
                          <a:pt x="17103" y="86459"/>
                        </a:cubicBezTo>
                        <a:lnTo>
                          <a:pt x="17103" y="169159"/>
                        </a:lnTo>
                      </a:path>
                    </a:pathLst>
                  </a:custGeom>
                  <a:noFill/>
                  <a:ln w="6350" cap="flat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</p:grpSp>
        </p:grpSp>
      </p:grpSp>
      <p:grpSp>
        <p:nvGrpSpPr>
          <p:cNvPr id="584" name="Gráfico 4">
            <a:extLst>
              <a:ext uri="{FF2B5EF4-FFF2-40B4-BE49-F238E27FC236}">
                <a16:creationId xmlns:a16="http://schemas.microsoft.com/office/drawing/2014/main" id="{005BFAEF-01CA-6FB2-6F6B-FC8674A0FE83}"/>
              </a:ext>
            </a:extLst>
          </p:cNvPr>
          <p:cNvGrpSpPr/>
          <p:nvPr/>
        </p:nvGrpSpPr>
        <p:grpSpPr>
          <a:xfrm>
            <a:off x="3208001" y="2651859"/>
            <a:ext cx="352054" cy="287831"/>
            <a:chOff x="3208001" y="2651859"/>
            <a:chExt cx="352054" cy="287831"/>
          </a:xfrm>
          <a:noFill/>
        </p:grpSpPr>
        <p:sp>
          <p:nvSpPr>
            <p:cNvPr id="585" name="Forma livre: Forma 584">
              <a:extLst>
                <a:ext uri="{FF2B5EF4-FFF2-40B4-BE49-F238E27FC236}">
                  <a16:creationId xmlns:a16="http://schemas.microsoft.com/office/drawing/2014/main" id="{CD1024FC-3321-4E3D-8CEC-AD21DC3A7008}"/>
                </a:ext>
              </a:extLst>
            </p:cNvPr>
            <p:cNvSpPr/>
            <p:nvPr/>
          </p:nvSpPr>
          <p:spPr>
            <a:xfrm>
              <a:off x="3262449" y="2759754"/>
              <a:ext cx="243157" cy="21268"/>
            </a:xfrm>
            <a:custGeom>
              <a:avLst/>
              <a:gdLst>
                <a:gd name="connsiteX0" fmla="*/ 0 w 243157"/>
                <a:gd name="connsiteY0" fmla="*/ 21269 h 21268"/>
                <a:gd name="connsiteX1" fmla="*/ 121644 w 243157"/>
                <a:gd name="connsiteY1" fmla="*/ 0 h 21268"/>
                <a:gd name="connsiteX2" fmla="*/ 243158 w 243157"/>
                <a:gd name="connsiteY2" fmla="*/ 21149 h 212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43157" h="21268">
                  <a:moveTo>
                    <a:pt x="0" y="21269"/>
                  </a:moveTo>
                  <a:cubicBezTo>
                    <a:pt x="13379" y="9059"/>
                    <a:pt x="62768" y="0"/>
                    <a:pt x="121644" y="0"/>
                  </a:cubicBezTo>
                  <a:cubicBezTo>
                    <a:pt x="180521" y="0"/>
                    <a:pt x="229599" y="8999"/>
                    <a:pt x="243158" y="21149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586" name="Forma livre: Forma 585">
              <a:extLst>
                <a:ext uri="{FF2B5EF4-FFF2-40B4-BE49-F238E27FC236}">
                  <a16:creationId xmlns:a16="http://schemas.microsoft.com/office/drawing/2014/main" id="{816C9832-9CED-1F3C-BA66-C5CAE16CA8F8}"/>
                </a:ext>
              </a:extLst>
            </p:cNvPr>
            <p:cNvSpPr/>
            <p:nvPr/>
          </p:nvSpPr>
          <p:spPr>
            <a:xfrm>
              <a:off x="3212834" y="2720964"/>
              <a:ext cx="342399" cy="218725"/>
            </a:xfrm>
            <a:custGeom>
              <a:avLst/>
              <a:gdLst>
                <a:gd name="connsiteX0" fmla="*/ 32010 w 342399"/>
                <a:gd name="connsiteY0" fmla="*/ 82544 h 218725"/>
                <a:gd name="connsiteX1" fmla="*/ 171200 w 342399"/>
                <a:gd name="connsiteY1" fmla="*/ 104326 h 218725"/>
                <a:gd name="connsiteX2" fmla="*/ 342399 w 342399"/>
                <a:gd name="connsiteY2" fmla="*/ 52169 h 218725"/>
                <a:gd name="connsiteX3" fmla="*/ 171200 w 342399"/>
                <a:gd name="connsiteY3" fmla="*/ 0 h 218725"/>
                <a:gd name="connsiteX4" fmla="*/ 0 w 342399"/>
                <a:gd name="connsiteY4" fmla="*/ 52169 h 218725"/>
                <a:gd name="connsiteX5" fmla="*/ 28752 w 342399"/>
                <a:gd name="connsiteY5" fmla="*/ 194855 h 218725"/>
                <a:gd name="connsiteX6" fmla="*/ 125619 w 342399"/>
                <a:gd name="connsiteY6" fmla="*/ 218714 h 218725"/>
                <a:gd name="connsiteX7" fmla="*/ 125523 w 342399"/>
                <a:gd name="connsiteY7" fmla="*/ 152425 h 218725"/>
                <a:gd name="connsiteX8" fmla="*/ 171200 w 342399"/>
                <a:gd name="connsiteY8" fmla="*/ 154299 h 218725"/>
                <a:gd name="connsiteX9" fmla="*/ 216876 w 342399"/>
                <a:gd name="connsiteY9" fmla="*/ 152425 h 218725"/>
                <a:gd name="connsiteX10" fmla="*/ 216816 w 342399"/>
                <a:gd name="connsiteY10" fmla="*/ 218726 h 218725"/>
                <a:gd name="connsiteX11" fmla="*/ 313755 w 342399"/>
                <a:gd name="connsiteY11" fmla="*/ 194855 h 218725"/>
                <a:gd name="connsiteX12" fmla="*/ 342399 w 342399"/>
                <a:gd name="connsiteY12" fmla="*/ 52169 h 2187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42399" h="218725">
                  <a:moveTo>
                    <a:pt x="32010" y="82544"/>
                  </a:moveTo>
                  <a:cubicBezTo>
                    <a:pt x="63078" y="95733"/>
                    <a:pt x="113839" y="104326"/>
                    <a:pt x="171200" y="104326"/>
                  </a:cubicBezTo>
                  <a:cubicBezTo>
                    <a:pt x="265751" y="104326"/>
                    <a:pt x="342399" y="80969"/>
                    <a:pt x="342399" y="52169"/>
                  </a:cubicBezTo>
                  <a:cubicBezTo>
                    <a:pt x="342399" y="23369"/>
                    <a:pt x="265751" y="0"/>
                    <a:pt x="171200" y="0"/>
                  </a:cubicBezTo>
                  <a:cubicBezTo>
                    <a:pt x="76648" y="0"/>
                    <a:pt x="0" y="23357"/>
                    <a:pt x="0" y="52169"/>
                  </a:cubicBezTo>
                  <a:lnTo>
                    <a:pt x="28752" y="194855"/>
                  </a:lnTo>
                  <a:cubicBezTo>
                    <a:pt x="51381" y="206349"/>
                    <a:pt x="85576" y="214954"/>
                    <a:pt x="125619" y="218714"/>
                  </a:cubicBezTo>
                  <a:lnTo>
                    <a:pt x="125523" y="152425"/>
                  </a:lnTo>
                  <a:cubicBezTo>
                    <a:pt x="140037" y="153643"/>
                    <a:pt x="155421" y="154299"/>
                    <a:pt x="171200" y="154299"/>
                  </a:cubicBezTo>
                  <a:cubicBezTo>
                    <a:pt x="186978" y="154299"/>
                    <a:pt x="202363" y="153643"/>
                    <a:pt x="216876" y="152425"/>
                  </a:cubicBezTo>
                  <a:lnTo>
                    <a:pt x="216816" y="218726"/>
                  </a:lnTo>
                  <a:cubicBezTo>
                    <a:pt x="256883" y="214954"/>
                    <a:pt x="291102" y="206349"/>
                    <a:pt x="313755" y="194855"/>
                  </a:cubicBezTo>
                  <a:lnTo>
                    <a:pt x="342399" y="52169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587" name="Forma livre: Forma 586">
              <a:extLst>
                <a:ext uri="{FF2B5EF4-FFF2-40B4-BE49-F238E27FC236}">
                  <a16:creationId xmlns:a16="http://schemas.microsoft.com/office/drawing/2014/main" id="{EE134AF9-3C5B-F9F2-2D60-4F8F0DE75AEF}"/>
                </a:ext>
              </a:extLst>
            </p:cNvPr>
            <p:cNvSpPr/>
            <p:nvPr/>
          </p:nvSpPr>
          <p:spPr>
            <a:xfrm>
              <a:off x="3383843" y="2651859"/>
              <a:ext cx="46571" cy="67183"/>
            </a:xfrm>
            <a:custGeom>
              <a:avLst/>
              <a:gdLst>
                <a:gd name="connsiteX0" fmla="*/ 0 w 46571"/>
                <a:gd name="connsiteY0" fmla="*/ 67184 h 67183"/>
                <a:gd name="connsiteX1" fmla="*/ 0 w 46571"/>
                <a:gd name="connsiteY1" fmla="*/ 0 h 67183"/>
                <a:gd name="connsiteX2" fmla="*/ 46571 w 46571"/>
                <a:gd name="connsiteY2" fmla="*/ 18404 h 67183"/>
                <a:gd name="connsiteX3" fmla="*/ 20254 w 46571"/>
                <a:gd name="connsiteY3" fmla="*/ 29623 h 671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6571" h="67183">
                  <a:moveTo>
                    <a:pt x="0" y="67184"/>
                  </a:moveTo>
                  <a:lnTo>
                    <a:pt x="0" y="0"/>
                  </a:lnTo>
                  <a:lnTo>
                    <a:pt x="46571" y="18404"/>
                  </a:lnTo>
                  <a:lnTo>
                    <a:pt x="20254" y="29623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588" name="Gráfico 4">
              <a:extLst>
                <a:ext uri="{FF2B5EF4-FFF2-40B4-BE49-F238E27FC236}">
                  <a16:creationId xmlns:a16="http://schemas.microsoft.com/office/drawing/2014/main" id="{2850F3B0-084C-5EDD-0516-24970C25EFB7}"/>
                </a:ext>
              </a:extLst>
            </p:cNvPr>
            <p:cNvGrpSpPr/>
            <p:nvPr/>
          </p:nvGrpSpPr>
          <p:grpSpPr>
            <a:xfrm>
              <a:off x="3208001" y="2673020"/>
              <a:ext cx="352054" cy="65870"/>
              <a:chOff x="3208001" y="2673020"/>
              <a:chExt cx="352054" cy="65870"/>
            </a:xfrm>
            <a:noFill/>
          </p:grpSpPr>
          <p:sp>
            <p:nvSpPr>
              <p:cNvPr id="589" name="Forma livre: Forma 588">
                <a:extLst>
                  <a:ext uri="{FF2B5EF4-FFF2-40B4-BE49-F238E27FC236}">
                    <a16:creationId xmlns:a16="http://schemas.microsoft.com/office/drawing/2014/main" id="{8310A983-4F95-5F22-1625-CD0D9FBCD19C}"/>
                  </a:ext>
                </a:extLst>
              </p:cNvPr>
              <p:cNvSpPr/>
              <p:nvPr/>
            </p:nvSpPr>
            <p:spPr>
              <a:xfrm>
                <a:off x="3513484" y="2673020"/>
                <a:ext cx="46571" cy="65870"/>
              </a:xfrm>
              <a:custGeom>
                <a:avLst/>
                <a:gdLst>
                  <a:gd name="connsiteX0" fmla="*/ 0 w 46571"/>
                  <a:gd name="connsiteY0" fmla="*/ 65871 h 65870"/>
                  <a:gd name="connsiteX1" fmla="*/ 0 w 46571"/>
                  <a:gd name="connsiteY1" fmla="*/ 0 h 65870"/>
                  <a:gd name="connsiteX2" fmla="*/ 46571 w 46571"/>
                  <a:gd name="connsiteY2" fmla="*/ 18404 h 65870"/>
                  <a:gd name="connsiteX3" fmla="*/ 20254 w 46571"/>
                  <a:gd name="connsiteY3" fmla="*/ 29623 h 658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6571" h="65870">
                    <a:moveTo>
                      <a:pt x="0" y="65871"/>
                    </a:moveTo>
                    <a:lnTo>
                      <a:pt x="0" y="0"/>
                    </a:lnTo>
                    <a:lnTo>
                      <a:pt x="46571" y="18404"/>
                    </a:lnTo>
                    <a:lnTo>
                      <a:pt x="20254" y="29623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90" name="Forma livre: Forma 589">
                <a:extLst>
                  <a:ext uri="{FF2B5EF4-FFF2-40B4-BE49-F238E27FC236}">
                    <a16:creationId xmlns:a16="http://schemas.microsoft.com/office/drawing/2014/main" id="{BAF3BE45-8285-DDCD-4457-5E0A520E72AE}"/>
                  </a:ext>
                </a:extLst>
              </p:cNvPr>
              <p:cNvSpPr/>
              <p:nvPr/>
            </p:nvSpPr>
            <p:spPr>
              <a:xfrm>
                <a:off x="3208001" y="2673020"/>
                <a:ext cx="46583" cy="63221"/>
              </a:xfrm>
              <a:custGeom>
                <a:avLst/>
                <a:gdLst>
                  <a:gd name="connsiteX0" fmla="*/ 46583 w 46583"/>
                  <a:gd name="connsiteY0" fmla="*/ 63221 h 63221"/>
                  <a:gd name="connsiteX1" fmla="*/ 46583 w 46583"/>
                  <a:gd name="connsiteY1" fmla="*/ 0 h 63221"/>
                  <a:gd name="connsiteX2" fmla="*/ 0 w 46583"/>
                  <a:gd name="connsiteY2" fmla="*/ 18404 h 63221"/>
                  <a:gd name="connsiteX3" fmla="*/ 26329 w 46583"/>
                  <a:gd name="connsiteY3" fmla="*/ 29623 h 632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6583" h="63221">
                    <a:moveTo>
                      <a:pt x="46583" y="63221"/>
                    </a:moveTo>
                    <a:lnTo>
                      <a:pt x="46583" y="0"/>
                    </a:lnTo>
                    <a:lnTo>
                      <a:pt x="0" y="18404"/>
                    </a:lnTo>
                    <a:lnTo>
                      <a:pt x="26329" y="29623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591" name="Forma livre: Forma 590">
              <a:extLst>
                <a:ext uri="{FF2B5EF4-FFF2-40B4-BE49-F238E27FC236}">
                  <a16:creationId xmlns:a16="http://schemas.microsoft.com/office/drawing/2014/main" id="{1E375FB2-BCF4-2C6A-92AE-8305AE9A05BA}"/>
                </a:ext>
              </a:extLst>
            </p:cNvPr>
            <p:cNvSpPr/>
            <p:nvPr/>
          </p:nvSpPr>
          <p:spPr>
            <a:xfrm>
              <a:off x="3384034" y="2742340"/>
              <a:ext cx="1193" cy="48636"/>
            </a:xfrm>
            <a:custGeom>
              <a:avLst/>
              <a:gdLst>
                <a:gd name="connsiteX0" fmla="*/ 0 w 1193"/>
                <a:gd name="connsiteY0" fmla="*/ 0 h 48636"/>
                <a:gd name="connsiteX1" fmla="*/ 0 w 1193"/>
                <a:gd name="connsiteY1" fmla="*/ 48636 h 486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93" h="48636">
                  <a:moveTo>
                    <a:pt x="0" y="0"/>
                  </a:moveTo>
                  <a:lnTo>
                    <a:pt x="0" y="48636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592" name="Gráfico 4">
              <a:extLst>
                <a:ext uri="{FF2B5EF4-FFF2-40B4-BE49-F238E27FC236}">
                  <a16:creationId xmlns:a16="http://schemas.microsoft.com/office/drawing/2014/main" id="{0A44CF8D-2322-B731-45A7-E926D847533E}"/>
                </a:ext>
              </a:extLst>
            </p:cNvPr>
            <p:cNvGrpSpPr/>
            <p:nvPr/>
          </p:nvGrpSpPr>
          <p:grpSpPr>
            <a:xfrm>
              <a:off x="3293720" y="2751602"/>
              <a:ext cx="180616" cy="50116"/>
              <a:chOff x="3293720" y="2751602"/>
              <a:chExt cx="180616" cy="50116"/>
            </a:xfrm>
            <a:noFill/>
          </p:grpSpPr>
          <p:sp>
            <p:nvSpPr>
              <p:cNvPr id="593" name="Forma livre: Forma 592">
                <a:extLst>
                  <a:ext uri="{FF2B5EF4-FFF2-40B4-BE49-F238E27FC236}">
                    <a16:creationId xmlns:a16="http://schemas.microsoft.com/office/drawing/2014/main" id="{A7D1AB11-472C-5999-ABF7-65380917B604}"/>
                  </a:ext>
                </a:extLst>
              </p:cNvPr>
              <p:cNvSpPr/>
              <p:nvPr/>
            </p:nvSpPr>
            <p:spPr>
              <a:xfrm>
                <a:off x="3293720" y="2751602"/>
                <a:ext cx="180616" cy="50116"/>
              </a:xfrm>
              <a:custGeom>
                <a:avLst/>
                <a:gdLst>
                  <a:gd name="connsiteX0" fmla="*/ 0 w 180616"/>
                  <a:gd name="connsiteY0" fmla="*/ 0 h 50116"/>
                  <a:gd name="connsiteX1" fmla="*/ 17414 w 180616"/>
                  <a:gd name="connsiteY1" fmla="*/ 49925 h 50116"/>
                  <a:gd name="connsiteX2" fmla="*/ 22665 w 180616"/>
                  <a:gd name="connsiteY2" fmla="*/ 48326 h 50116"/>
                  <a:gd name="connsiteX3" fmla="*/ 89956 w 180616"/>
                  <a:gd name="connsiteY3" fmla="*/ 41368 h 50116"/>
                  <a:gd name="connsiteX4" fmla="*/ 163108 w 180616"/>
                  <a:gd name="connsiteY4" fmla="*/ 50116 h 50116"/>
                  <a:gd name="connsiteX5" fmla="*/ 180617 w 180616"/>
                  <a:gd name="connsiteY5" fmla="*/ 203 h 501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80616" h="50116">
                    <a:moveTo>
                      <a:pt x="0" y="0"/>
                    </a:moveTo>
                    <a:lnTo>
                      <a:pt x="17414" y="49925"/>
                    </a:lnTo>
                    <a:lnTo>
                      <a:pt x="22665" y="48326"/>
                    </a:lnTo>
                    <a:cubicBezTo>
                      <a:pt x="38121" y="44101"/>
                      <a:pt x="62493" y="41368"/>
                      <a:pt x="89956" y="41368"/>
                    </a:cubicBezTo>
                    <a:cubicBezTo>
                      <a:pt x="121119" y="41368"/>
                      <a:pt x="148427" y="44889"/>
                      <a:pt x="163108" y="50116"/>
                    </a:cubicBezTo>
                    <a:lnTo>
                      <a:pt x="180617" y="203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94" name="Forma livre: Forma 593">
                <a:extLst>
                  <a:ext uri="{FF2B5EF4-FFF2-40B4-BE49-F238E27FC236}">
                    <a16:creationId xmlns:a16="http://schemas.microsoft.com/office/drawing/2014/main" id="{329ED5FE-2F92-3EDC-B038-E705F1D2B6B4}"/>
                  </a:ext>
                </a:extLst>
              </p:cNvPr>
              <p:cNvSpPr/>
              <p:nvPr/>
            </p:nvSpPr>
            <p:spPr>
              <a:xfrm>
                <a:off x="3311145" y="2799928"/>
                <a:ext cx="5251" cy="1599"/>
              </a:xfrm>
              <a:custGeom>
                <a:avLst/>
                <a:gdLst>
                  <a:gd name="connsiteX0" fmla="*/ 5252 w 5251"/>
                  <a:gd name="connsiteY0" fmla="*/ 0 h 1599"/>
                  <a:gd name="connsiteX1" fmla="*/ 0 w 5251"/>
                  <a:gd name="connsiteY1" fmla="*/ 1599 h 1599"/>
                  <a:gd name="connsiteX2" fmla="*/ 5252 w 5251"/>
                  <a:gd name="connsiteY2" fmla="*/ 0 h 15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5251" h="1599">
                    <a:moveTo>
                      <a:pt x="5252" y="0"/>
                    </a:moveTo>
                    <a:cubicBezTo>
                      <a:pt x="3378" y="513"/>
                      <a:pt x="1599" y="1050"/>
                      <a:pt x="0" y="1599"/>
                    </a:cubicBezTo>
                    <a:lnTo>
                      <a:pt x="5252" y="0"/>
                    </a:lnTo>
                    <a:close/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595" name="Gráfico 4">
            <a:extLst>
              <a:ext uri="{FF2B5EF4-FFF2-40B4-BE49-F238E27FC236}">
                <a16:creationId xmlns:a16="http://schemas.microsoft.com/office/drawing/2014/main" id="{3ACFDF66-FA24-D7A8-69E4-AC1DA7036DCB}"/>
              </a:ext>
            </a:extLst>
          </p:cNvPr>
          <p:cNvGrpSpPr/>
          <p:nvPr/>
        </p:nvGrpSpPr>
        <p:grpSpPr>
          <a:xfrm>
            <a:off x="3815053" y="3171366"/>
            <a:ext cx="382036" cy="252073"/>
            <a:chOff x="3815053" y="3171366"/>
            <a:chExt cx="382036" cy="252073"/>
          </a:xfrm>
          <a:noFill/>
        </p:grpSpPr>
        <p:sp>
          <p:nvSpPr>
            <p:cNvPr id="596" name="Forma livre: Forma 595">
              <a:extLst>
                <a:ext uri="{FF2B5EF4-FFF2-40B4-BE49-F238E27FC236}">
                  <a16:creationId xmlns:a16="http://schemas.microsoft.com/office/drawing/2014/main" id="{DEDD0DF6-4F14-4E4E-F8E2-A277542973E7}"/>
                </a:ext>
              </a:extLst>
            </p:cNvPr>
            <p:cNvSpPr/>
            <p:nvPr/>
          </p:nvSpPr>
          <p:spPr>
            <a:xfrm>
              <a:off x="3827561" y="3171366"/>
              <a:ext cx="335524" cy="44387"/>
            </a:xfrm>
            <a:custGeom>
              <a:avLst/>
              <a:gdLst>
                <a:gd name="connsiteX0" fmla="*/ 0 w 335524"/>
                <a:gd name="connsiteY0" fmla="*/ 0 h 44387"/>
                <a:gd name="connsiteX1" fmla="*/ 335525 w 335524"/>
                <a:gd name="connsiteY1" fmla="*/ 0 h 44387"/>
                <a:gd name="connsiteX2" fmla="*/ 335525 w 335524"/>
                <a:gd name="connsiteY2" fmla="*/ 44387 h 44387"/>
                <a:gd name="connsiteX3" fmla="*/ 0 w 335524"/>
                <a:gd name="connsiteY3" fmla="*/ 44387 h 443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5524" h="44387">
                  <a:moveTo>
                    <a:pt x="0" y="0"/>
                  </a:moveTo>
                  <a:lnTo>
                    <a:pt x="335525" y="0"/>
                  </a:lnTo>
                  <a:lnTo>
                    <a:pt x="335525" y="44387"/>
                  </a:lnTo>
                  <a:lnTo>
                    <a:pt x="0" y="44387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597" name="Gráfico 4">
              <a:extLst>
                <a:ext uri="{FF2B5EF4-FFF2-40B4-BE49-F238E27FC236}">
                  <a16:creationId xmlns:a16="http://schemas.microsoft.com/office/drawing/2014/main" id="{13C36CC2-417E-B459-FC36-54207F8E1C58}"/>
                </a:ext>
              </a:extLst>
            </p:cNvPr>
            <p:cNvGrpSpPr/>
            <p:nvPr/>
          </p:nvGrpSpPr>
          <p:grpSpPr>
            <a:xfrm>
              <a:off x="3981228" y="3215395"/>
              <a:ext cx="28179" cy="168001"/>
              <a:chOff x="3981228" y="3215395"/>
              <a:chExt cx="28179" cy="168001"/>
            </a:xfrm>
          </p:grpSpPr>
          <p:sp>
            <p:nvSpPr>
              <p:cNvPr id="598" name="Forma livre: Forma 597">
                <a:extLst>
                  <a:ext uri="{FF2B5EF4-FFF2-40B4-BE49-F238E27FC236}">
                    <a16:creationId xmlns:a16="http://schemas.microsoft.com/office/drawing/2014/main" id="{62EDC6A0-77BE-86A5-B434-3917C17FB16F}"/>
                  </a:ext>
                </a:extLst>
              </p:cNvPr>
              <p:cNvSpPr/>
              <p:nvPr/>
            </p:nvSpPr>
            <p:spPr>
              <a:xfrm>
                <a:off x="4009407" y="3215395"/>
                <a:ext cx="1193" cy="168001"/>
              </a:xfrm>
              <a:custGeom>
                <a:avLst/>
                <a:gdLst>
                  <a:gd name="connsiteX0" fmla="*/ 0 w 1193"/>
                  <a:gd name="connsiteY0" fmla="*/ 0 h 168001"/>
                  <a:gd name="connsiteX1" fmla="*/ 0 w 1193"/>
                  <a:gd name="connsiteY1" fmla="*/ 168001 h 1680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3" h="168001">
                    <a:moveTo>
                      <a:pt x="0" y="0"/>
                    </a:moveTo>
                    <a:lnTo>
                      <a:pt x="0" y="168001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99" name="Forma livre: Forma 598">
                <a:extLst>
                  <a:ext uri="{FF2B5EF4-FFF2-40B4-BE49-F238E27FC236}">
                    <a16:creationId xmlns:a16="http://schemas.microsoft.com/office/drawing/2014/main" id="{CC06A11F-8623-1679-4232-779754A86BDE}"/>
                  </a:ext>
                </a:extLst>
              </p:cNvPr>
              <p:cNvSpPr/>
              <p:nvPr/>
            </p:nvSpPr>
            <p:spPr>
              <a:xfrm>
                <a:off x="3981228" y="3236246"/>
                <a:ext cx="1193" cy="147150"/>
              </a:xfrm>
              <a:custGeom>
                <a:avLst/>
                <a:gdLst>
                  <a:gd name="connsiteX0" fmla="*/ 0 w 1193"/>
                  <a:gd name="connsiteY0" fmla="*/ 147150 h 147150"/>
                  <a:gd name="connsiteX1" fmla="*/ 0 w 1193"/>
                  <a:gd name="connsiteY1" fmla="*/ 0 h 147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3" h="147150">
                    <a:moveTo>
                      <a:pt x="0" y="147150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600" name="Forma livre: Forma 599">
              <a:extLst>
                <a:ext uri="{FF2B5EF4-FFF2-40B4-BE49-F238E27FC236}">
                  <a16:creationId xmlns:a16="http://schemas.microsoft.com/office/drawing/2014/main" id="{23FDBDE3-89F4-6A51-6FEC-AA6C488A1AD2}"/>
                </a:ext>
              </a:extLst>
            </p:cNvPr>
            <p:cNvSpPr/>
            <p:nvPr/>
          </p:nvSpPr>
          <p:spPr>
            <a:xfrm>
              <a:off x="3961857" y="3383396"/>
              <a:ext cx="66932" cy="37870"/>
            </a:xfrm>
            <a:custGeom>
              <a:avLst/>
              <a:gdLst>
                <a:gd name="connsiteX0" fmla="*/ 0 w 66932"/>
                <a:gd name="connsiteY0" fmla="*/ 37871 h 37870"/>
                <a:gd name="connsiteX1" fmla="*/ 0 w 66932"/>
                <a:gd name="connsiteY1" fmla="*/ 0 h 37870"/>
                <a:gd name="connsiteX2" fmla="*/ 34529 w 66932"/>
                <a:gd name="connsiteY2" fmla="*/ 0 h 37870"/>
                <a:gd name="connsiteX3" fmla="*/ 66933 w 66932"/>
                <a:gd name="connsiteY3" fmla="*/ 0 h 37870"/>
                <a:gd name="connsiteX4" fmla="*/ 66933 w 66932"/>
                <a:gd name="connsiteY4" fmla="*/ 37871 h 378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6932" h="37870">
                  <a:moveTo>
                    <a:pt x="0" y="37871"/>
                  </a:moveTo>
                  <a:lnTo>
                    <a:pt x="0" y="0"/>
                  </a:lnTo>
                  <a:lnTo>
                    <a:pt x="34529" y="0"/>
                  </a:lnTo>
                  <a:lnTo>
                    <a:pt x="66933" y="0"/>
                  </a:lnTo>
                  <a:lnTo>
                    <a:pt x="66933" y="37871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01" name="Forma livre: Forma 600">
              <a:extLst>
                <a:ext uri="{FF2B5EF4-FFF2-40B4-BE49-F238E27FC236}">
                  <a16:creationId xmlns:a16="http://schemas.microsoft.com/office/drawing/2014/main" id="{C4160A91-6FC7-EA87-134A-D7746149CEE3}"/>
                </a:ext>
              </a:extLst>
            </p:cNvPr>
            <p:cNvSpPr/>
            <p:nvPr/>
          </p:nvSpPr>
          <p:spPr>
            <a:xfrm>
              <a:off x="4180320" y="3423439"/>
              <a:ext cx="16769" cy="1193"/>
            </a:xfrm>
            <a:custGeom>
              <a:avLst/>
              <a:gdLst>
                <a:gd name="connsiteX0" fmla="*/ 0 w 16769"/>
                <a:gd name="connsiteY0" fmla="*/ 0 h 1193"/>
                <a:gd name="connsiteX1" fmla="*/ 16769 w 16769"/>
                <a:gd name="connsiteY1" fmla="*/ 0 h 11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6769" h="1193">
                  <a:moveTo>
                    <a:pt x="0" y="0"/>
                  </a:moveTo>
                  <a:lnTo>
                    <a:pt x="16769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02" name="Forma livre: Forma 601">
              <a:extLst>
                <a:ext uri="{FF2B5EF4-FFF2-40B4-BE49-F238E27FC236}">
                  <a16:creationId xmlns:a16="http://schemas.microsoft.com/office/drawing/2014/main" id="{3F57F950-7C68-0AB9-6425-24ABB6FBD364}"/>
                </a:ext>
              </a:extLst>
            </p:cNvPr>
            <p:cNvSpPr/>
            <p:nvPr/>
          </p:nvSpPr>
          <p:spPr>
            <a:xfrm>
              <a:off x="3833171" y="3423439"/>
              <a:ext cx="324782" cy="1193"/>
            </a:xfrm>
            <a:custGeom>
              <a:avLst/>
              <a:gdLst>
                <a:gd name="connsiteX0" fmla="*/ 0 w 324782"/>
                <a:gd name="connsiteY0" fmla="*/ 0 h 1193"/>
                <a:gd name="connsiteX1" fmla="*/ 324783 w 324782"/>
                <a:gd name="connsiteY1" fmla="*/ 0 h 11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24782" h="1193">
                  <a:moveTo>
                    <a:pt x="0" y="0"/>
                  </a:moveTo>
                  <a:lnTo>
                    <a:pt x="324783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603" name="Gráfico 4">
              <a:extLst>
                <a:ext uri="{FF2B5EF4-FFF2-40B4-BE49-F238E27FC236}">
                  <a16:creationId xmlns:a16="http://schemas.microsoft.com/office/drawing/2014/main" id="{61E9DEBD-DE25-FA6C-1681-3B97ACCECF4A}"/>
                </a:ext>
              </a:extLst>
            </p:cNvPr>
            <p:cNvGrpSpPr/>
            <p:nvPr/>
          </p:nvGrpSpPr>
          <p:grpSpPr>
            <a:xfrm>
              <a:off x="3815053" y="3281576"/>
              <a:ext cx="360505" cy="141015"/>
              <a:chOff x="3815053" y="3281576"/>
              <a:chExt cx="360505" cy="141015"/>
            </a:xfrm>
            <a:noFill/>
          </p:grpSpPr>
          <p:grpSp>
            <p:nvGrpSpPr>
              <p:cNvPr id="604" name="Gráfico 4">
                <a:extLst>
                  <a:ext uri="{FF2B5EF4-FFF2-40B4-BE49-F238E27FC236}">
                    <a16:creationId xmlns:a16="http://schemas.microsoft.com/office/drawing/2014/main" id="{333B49F9-8A54-5E12-C7FF-501C51A1C88E}"/>
                  </a:ext>
                </a:extLst>
              </p:cNvPr>
              <p:cNvGrpSpPr/>
              <p:nvPr/>
            </p:nvGrpSpPr>
            <p:grpSpPr>
              <a:xfrm>
                <a:off x="3815053" y="3281576"/>
                <a:ext cx="118958" cy="141015"/>
                <a:chOff x="3815053" y="3281576"/>
                <a:chExt cx="118958" cy="141015"/>
              </a:xfrm>
              <a:noFill/>
            </p:grpSpPr>
            <p:sp>
              <p:nvSpPr>
                <p:cNvPr id="605" name="Forma livre: Forma 604">
                  <a:extLst>
                    <a:ext uri="{FF2B5EF4-FFF2-40B4-BE49-F238E27FC236}">
                      <a16:creationId xmlns:a16="http://schemas.microsoft.com/office/drawing/2014/main" id="{419918D6-8427-7846-DFA1-8454BA3F623F}"/>
                    </a:ext>
                  </a:extLst>
                </p:cNvPr>
                <p:cNvSpPr/>
                <p:nvPr/>
              </p:nvSpPr>
              <p:spPr>
                <a:xfrm>
                  <a:off x="3856134" y="3281576"/>
                  <a:ext cx="77877" cy="141015"/>
                </a:xfrm>
                <a:custGeom>
                  <a:avLst/>
                  <a:gdLst>
                    <a:gd name="connsiteX0" fmla="*/ 0 w 77877"/>
                    <a:gd name="connsiteY0" fmla="*/ 123912 h 141015"/>
                    <a:gd name="connsiteX1" fmla="*/ 0 w 77877"/>
                    <a:gd name="connsiteY1" fmla="*/ 15850 h 141015"/>
                    <a:gd name="connsiteX2" fmla="*/ 15850 w 77877"/>
                    <a:gd name="connsiteY2" fmla="*/ 0 h 141015"/>
                    <a:gd name="connsiteX3" fmla="*/ 62028 w 77877"/>
                    <a:gd name="connsiteY3" fmla="*/ 0 h 141015"/>
                    <a:gd name="connsiteX4" fmla="*/ 77878 w 77877"/>
                    <a:gd name="connsiteY4" fmla="*/ 15850 h 141015"/>
                    <a:gd name="connsiteX5" fmla="*/ 77878 w 77877"/>
                    <a:gd name="connsiteY5" fmla="*/ 141015 h 14101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77877" h="141015">
                      <a:moveTo>
                        <a:pt x="0" y="123912"/>
                      </a:moveTo>
                      <a:lnTo>
                        <a:pt x="0" y="15850"/>
                      </a:lnTo>
                      <a:cubicBezTo>
                        <a:pt x="0" y="7137"/>
                        <a:pt x="7137" y="0"/>
                        <a:pt x="15850" y="0"/>
                      </a:cubicBezTo>
                      <a:lnTo>
                        <a:pt x="62028" y="0"/>
                      </a:lnTo>
                      <a:cubicBezTo>
                        <a:pt x="70752" y="0"/>
                        <a:pt x="77878" y="7137"/>
                        <a:pt x="77878" y="15850"/>
                      </a:cubicBezTo>
                      <a:lnTo>
                        <a:pt x="77878" y="141015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606" name="Forma livre: Forma 605">
                  <a:extLst>
                    <a:ext uri="{FF2B5EF4-FFF2-40B4-BE49-F238E27FC236}">
                      <a16:creationId xmlns:a16="http://schemas.microsoft.com/office/drawing/2014/main" id="{4BE3A877-B923-D837-3992-539DA2677E4C}"/>
                    </a:ext>
                  </a:extLst>
                </p:cNvPr>
                <p:cNvSpPr/>
                <p:nvPr/>
              </p:nvSpPr>
              <p:spPr>
                <a:xfrm>
                  <a:off x="3815053" y="3310758"/>
                  <a:ext cx="38013" cy="71325"/>
                </a:xfrm>
                <a:custGeom>
                  <a:avLst/>
                  <a:gdLst>
                    <a:gd name="connsiteX0" fmla="*/ 0 w 38013"/>
                    <a:gd name="connsiteY0" fmla="*/ 0 h 71325"/>
                    <a:gd name="connsiteX1" fmla="*/ 15444 w 38013"/>
                    <a:gd name="connsiteY1" fmla="*/ 15850 h 71325"/>
                    <a:gd name="connsiteX2" fmla="*/ 15444 w 38013"/>
                    <a:gd name="connsiteY2" fmla="*/ 55475 h 71325"/>
                    <a:gd name="connsiteX3" fmla="*/ 30900 w 38013"/>
                    <a:gd name="connsiteY3" fmla="*/ 71325 h 71325"/>
                    <a:gd name="connsiteX4" fmla="*/ 38014 w 38013"/>
                    <a:gd name="connsiteY4" fmla="*/ 71325 h 7132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8013" h="71325">
                      <a:moveTo>
                        <a:pt x="0" y="0"/>
                      </a:moveTo>
                      <a:cubicBezTo>
                        <a:pt x="8474" y="0"/>
                        <a:pt x="15444" y="7137"/>
                        <a:pt x="15444" y="15850"/>
                      </a:cubicBezTo>
                      <a:lnTo>
                        <a:pt x="15444" y="55475"/>
                      </a:lnTo>
                      <a:cubicBezTo>
                        <a:pt x="15444" y="64188"/>
                        <a:pt x="22414" y="71325"/>
                        <a:pt x="30900" y="71325"/>
                      </a:cubicBezTo>
                      <a:lnTo>
                        <a:pt x="38014" y="71325"/>
                      </a:ln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607" name="Forma livre: Forma 606">
                  <a:extLst>
                    <a:ext uri="{FF2B5EF4-FFF2-40B4-BE49-F238E27FC236}">
                      <a16:creationId xmlns:a16="http://schemas.microsoft.com/office/drawing/2014/main" id="{D728CC5B-F163-4FC2-4BE8-5B202CAFF44D}"/>
                    </a:ext>
                  </a:extLst>
                </p:cNvPr>
                <p:cNvSpPr/>
                <p:nvPr/>
              </p:nvSpPr>
              <p:spPr>
                <a:xfrm>
                  <a:off x="3879837" y="3308812"/>
                  <a:ext cx="30470" cy="23070"/>
                </a:xfrm>
                <a:custGeom>
                  <a:avLst/>
                  <a:gdLst>
                    <a:gd name="connsiteX0" fmla="*/ 0 w 30470"/>
                    <a:gd name="connsiteY0" fmla="*/ 0 h 23070"/>
                    <a:gd name="connsiteX1" fmla="*/ 30471 w 30470"/>
                    <a:gd name="connsiteY1" fmla="*/ 0 h 23070"/>
                    <a:gd name="connsiteX2" fmla="*/ 30471 w 30470"/>
                    <a:gd name="connsiteY2" fmla="*/ 23071 h 23070"/>
                    <a:gd name="connsiteX3" fmla="*/ 0 w 30470"/>
                    <a:gd name="connsiteY3" fmla="*/ 23071 h 2307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30470" h="23070">
                      <a:moveTo>
                        <a:pt x="0" y="0"/>
                      </a:moveTo>
                      <a:lnTo>
                        <a:pt x="30471" y="0"/>
                      </a:lnTo>
                      <a:lnTo>
                        <a:pt x="30471" y="23071"/>
                      </a:lnTo>
                      <a:lnTo>
                        <a:pt x="0" y="23071"/>
                      </a:lnTo>
                    </a:path>
                  </a:pathLst>
                </a:custGeom>
                <a:noFill/>
                <a:ln w="6350" cap="sq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608" name="Gráfico 4">
                <a:extLst>
                  <a:ext uri="{FF2B5EF4-FFF2-40B4-BE49-F238E27FC236}">
                    <a16:creationId xmlns:a16="http://schemas.microsoft.com/office/drawing/2014/main" id="{59A56B9F-99C9-1223-60F4-DF64110A198C}"/>
                  </a:ext>
                </a:extLst>
              </p:cNvPr>
              <p:cNvGrpSpPr/>
              <p:nvPr/>
            </p:nvGrpSpPr>
            <p:grpSpPr>
              <a:xfrm>
                <a:off x="4056611" y="3281576"/>
                <a:ext cx="118947" cy="141015"/>
                <a:chOff x="4056611" y="3281576"/>
                <a:chExt cx="118947" cy="141015"/>
              </a:xfrm>
              <a:noFill/>
            </p:grpSpPr>
            <p:sp>
              <p:nvSpPr>
                <p:cNvPr id="609" name="Forma livre: Forma 608">
                  <a:extLst>
                    <a:ext uri="{FF2B5EF4-FFF2-40B4-BE49-F238E27FC236}">
                      <a16:creationId xmlns:a16="http://schemas.microsoft.com/office/drawing/2014/main" id="{79D78793-98E0-ABDD-D57A-E4B235AF3CEC}"/>
                    </a:ext>
                  </a:extLst>
                </p:cNvPr>
                <p:cNvSpPr/>
                <p:nvPr/>
              </p:nvSpPr>
              <p:spPr>
                <a:xfrm>
                  <a:off x="4056611" y="3281576"/>
                  <a:ext cx="77877" cy="141015"/>
                </a:xfrm>
                <a:custGeom>
                  <a:avLst/>
                  <a:gdLst>
                    <a:gd name="connsiteX0" fmla="*/ 77878 w 77877"/>
                    <a:gd name="connsiteY0" fmla="*/ 141015 h 141015"/>
                    <a:gd name="connsiteX1" fmla="*/ 77878 w 77877"/>
                    <a:gd name="connsiteY1" fmla="*/ 15850 h 141015"/>
                    <a:gd name="connsiteX2" fmla="*/ 62028 w 77877"/>
                    <a:gd name="connsiteY2" fmla="*/ 0 h 141015"/>
                    <a:gd name="connsiteX3" fmla="*/ 15850 w 77877"/>
                    <a:gd name="connsiteY3" fmla="*/ 0 h 141015"/>
                    <a:gd name="connsiteX4" fmla="*/ 0 w 77877"/>
                    <a:gd name="connsiteY4" fmla="*/ 15850 h 141015"/>
                    <a:gd name="connsiteX5" fmla="*/ 0 w 77877"/>
                    <a:gd name="connsiteY5" fmla="*/ 123912 h 14101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77877" h="141015">
                      <a:moveTo>
                        <a:pt x="77878" y="141015"/>
                      </a:moveTo>
                      <a:lnTo>
                        <a:pt x="77878" y="15850"/>
                      </a:lnTo>
                      <a:cubicBezTo>
                        <a:pt x="77878" y="7137"/>
                        <a:pt x="70740" y="0"/>
                        <a:pt x="62028" y="0"/>
                      </a:cubicBezTo>
                      <a:lnTo>
                        <a:pt x="15850" y="0"/>
                      </a:lnTo>
                      <a:cubicBezTo>
                        <a:pt x="7125" y="0"/>
                        <a:pt x="0" y="7137"/>
                        <a:pt x="0" y="15850"/>
                      </a:cubicBezTo>
                      <a:lnTo>
                        <a:pt x="0" y="123912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610" name="Forma livre: Forma 609">
                  <a:extLst>
                    <a:ext uri="{FF2B5EF4-FFF2-40B4-BE49-F238E27FC236}">
                      <a16:creationId xmlns:a16="http://schemas.microsoft.com/office/drawing/2014/main" id="{35FD48B2-9934-EC25-10A4-FFEA948DB126}"/>
                    </a:ext>
                  </a:extLst>
                </p:cNvPr>
                <p:cNvSpPr/>
                <p:nvPr/>
              </p:nvSpPr>
              <p:spPr>
                <a:xfrm>
                  <a:off x="4137556" y="3310758"/>
                  <a:ext cx="38002" cy="71325"/>
                </a:xfrm>
                <a:custGeom>
                  <a:avLst/>
                  <a:gdLst>
                    <a:gd name="connsiteX0" fmla="*/ 38002 w 38002"/>
                    <a:gd name="connsiteY0" fmla="*/ 0 h 71325"/>
                    <a:gd name="connsiteX1" fmla="*/ 22558 w 38002"/>
                    <a:gd name="connsiteY1" fmla="*/ 15850 h 71325"/>
                    <a:gd name="connsiteX2" fmla="*/ 22558 w 38002"/>
                    <a:gd name="connsiteY2" fmla="*/ 55475 h 71325"/>
                    <a:gd name="connsiteX3" fmla="*/ 7114 w 38002"/>
                    <a:gd name="connsiteY3" fmla="*/ 71325 h 71325"/>
                    <a:gd name="connsiteX4" fmla="*/ 0 w 38002"/>
                    <a:gd name="connsiteY4" fmla="*/ 71325 h 7132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8002" h="71325">
                      <a:moveTo>
                        <a:pt x="38002" y="0"/>
                      </a:moveTo>
                      <a:cubicBezTo>
                        <a:pt x="29516" y="0"/>
                        <a:pt x="22558" y="7137"/>
                        <a:pt x="22558" y="15850"/>
                      </a:cubicBezTo>
                      <a:lnTo>
                        <a:pt x="22558" y="55475"/>
                      </a:lnTo>
                      <a:cubicBezTo>
                        <a:pt x="22558" y="64188"/>
                        <a:pt x="15588" y="71325"/>
                        <a:pt x="7114" y="71325"/>
                      </a:cubicBezTo>
                      <a:lnTo>
                        <a:pt x="0" y="71325"/>
                      </a:ln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611" name="Forma livre: Forma 610">
                  <a:extLst>
                    <a:ext uri="{FF2B5EF4-FFF2-40B4-BE49-F238E27FC236}">
                      <a16:creationId xmlns:a16="http://schemas.microsoft.com/office/drawing/2014/main" id="{15250A30-266B-3134-3094-E2C46AC5B773}"/>
                    </a:ext>
                  </a:extLst>
                </p:cNvPr>
                <p:cNvSpPr/>
                <p:nvPr/>
              </p:nvSpPr>
              <p:spPr>
                <a:xfrm>
                  <a:off x="4080314" y="3308812"/>
                  <a:ext cx="30470" cy="23070"/>
                </a:xfrm>
                <a:custGeom>
                  <a:avLst/>
                  <a:gdLst>
                    <a:gd name="connsiteX0" fmla="*/ 0 w 30470"/>
                    <a:gd name="connsiteY0" fmla="*/ 0 h 23070"/>
                    <a:gd name="connsiteX1" fmla="*/ 30471 w 30470"/>
                    <a:gd name="connsiteY1" fmla="*/ 0 h 23070"/>
                    <a:gd name="connsiteX2" fmla="*/ 30471 w 30470"/>
                    <a:gd name="connsiteY2" fmla="*/ 23071 h 23070"/>
                    <a:gd name="connsiteX3" fmla="*/ 0 w 30470"/>
                    <a:gd name="connsiteY3" fmla="*/ 23071 h 2307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30470" h="23070">
                      <a:moveTo>
                        <a:pt x="0" y="0"/>
                      </a:moveTo>
                      <a:lnTo>
                        <a:pt x="30471" y="0"/>
                      </a:lnTo>
                      <a:lnTo>
                        <a:pt x="30471" y="23071"/>
                      </a:lnTo>
                      <a:lnTo>
                        <a:pt x="0" y="23071"/>
                      </a:lnTo>
                    </a:path>
                  </a:pathLst>
                </a:custGeom>
                <a:noFill/>
                <a:ln w="6350" cap="sq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</p:grpSp>
      <p:grpSp>
        <p:nvGrpSpPr>
          <p:cNvPr id="612" name="Gráfico 4">
            <a:extLst>
              <a:ext uri="{FF2B5EF4-FFF2-40B4-BE49-F238E27FC236}">
                <a16:creationId xmlns:a16="http://schemas.microsoft.com/office/drawing/2014/main" id="{1C7A52B2-EDB0-547C-2D6C-25836D20EC20}"/>
              </a:ext>
            </a:extLst>
          </p:cNvPr>
          <p:cNvGrpSpPr/>
          <p:nvPr/>
        </p:nvGrpSpPr>
        <p:grpSpPr>
          <a:xfrm>
            <a:off x="2594241" y="3139331"/>
            <a:ext cx="335488" cy="284107"/>
            <a:chOff x="2594241" y="3139331"/>
            <a:chExt cx="335488" cy="284107"/>
          </a:xfrm>
          <a:noFill/>
        </p:grpSpPr>
        <p:sp>
          <p:nvSpPr>
            <p:cNvPr id="613" name="Forma livre: Forma 612">
              <a:extLst>
                <a:ext uri="{FF2B5EF4-FFF2-40B4-BE49-F238E27FC236}">
                  <a16:creationId xmlns:a16="http://schemas.microsoft.com/office/drawing/2014/main" id="{FBE48E5C-3F95-78D9-6117-FD21495D031A}"/>
                </a:ext>
              </a:extLst>
            </p:cNvPr>
            <p:cNvSpPr/>
            <p:nvPr/>
          </p:nvSpPr>
          <p:spPr>
            <a:xfrm>
              <a:off x="2912519" y="3423439"/>
              <a:ext cx="17210" cy="1193"/>
            </a:xfrm>
            <a:custGeom>
              <a:avLst/>
              <a:gdLst>
                <a:gd name="connsiteX0" fmla="*/ 0 w 17210"/>
                <a:gd name="connsiteY0" fmla="*/ 0 h 1193"/>
                <a:gd name="connsiteX1" fmla="*/ 17211 w 17210"/>
                <a:gd name="connsiteY1" fmla="*/ 0 h 11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7210" h="1193">
                  <a:moveTo>
                    <a:pt x="0" y="0"/>
                  </a:moveTo>
                  <a:lnTo>
                    <a:pt x="17211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614" name="Gráfico 4">
              <a:extLst>
                <a:ext uri="{FF2B5EF4-FFF2-40B4-BE49-F238E27FC236}">
                  <a16:creationId xmlns:a16="http://schemas.microsoft.com/office/drawing/2014/main" id="{4EBB83B7-B539-A5FD-2AB8-B9C3CF6B1D54}"/>
                </a:ext>
              </a:extLst>
            </p:cNvPr>
            <p:cNvGrpSpPr/>
            <p:nvPr/>
          </p:nvGrpSpPr>
          <p:grpSpPr>
            <a:xfrm>
              <a:off x="2642710" y="3297569"/>
              <a:ext cx="217962" cy="124544"/>
              <a:chOff x="2642710" y="3297569"/>
              <a:chExt cx="217962" cy="124544"/>
            </a:xfrm>
            <a:noFill/>
          </p:grpSpPr>
          <p:sp>
            <p:nvSpPr>
              <p:cNvPr id="615" name="Forma livre: Forma 614">
                <a:extLst>
                  <a:ext uri="{FF2B5EF4-FFF2-40B4-BE49-F238E27FC236}">
                    <a16:creationId xmlns:a16="http://schemas.microsoft.com/office/drawing/2014/main" id="{9DA67B2C-0EDC-473B-2880-E48E45D74B96}"/>
                  </a:ext>
                </a:extLst>
              </p:cNvPr>
              <p:cNvSpPr/>
              <p:nvPr/>
            </p:nvSpPr>
            <p:spPr>
              <a:xfrm>
                <a:off x="2860672" y="3297569"/>
                <a:ext cx="1193" cy="124544"/>
              </a:xfrm>
              <a:custGeom>
                <a:avLst/>
                <a:gdLst>
                  <a:gd name="connsiteX0" fmla="*/ 0 w 1193"/>
                  <a:gd name="connsiteY0" fmla="*/ 124545 h 124544"/>
                  <a:gd name="connsiteX1" fmla="*/ 0 w 1193"/>
                  <a:gd name="connsiteY1" fmla="*/ 0 h 1245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3" h="124544">
                    <a:moveTo>
                      <a:pt x="0" y="124545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616" name="Forma livre: Forma 615">
                <a:extLst>
                  <a:ext uri="{FF2B5EF4-FFF2-40B4-BE49-F238E27FC236}">
                    <a16:creationId xmlns:a16="http://schemas.microsoft.com/office/drawing/2014/main" id="{8A90878B-BA89-BD20-7CE0-2563D66D5364}"/>
                  </a:ext>
                </a:extLst>
              </p:cNvPr>
              <p:cNvSpPr/>
              <p:nvPr/>
            </p:nvSpPr>
            <p:spPr>
              <a:xfrm>
                <a:off x="2777531" y="3317859"/>
                <a:ext cx="48886" cy="104254"/>
              </a:xfrm>
              <a:custGeom>
                <a:avLst/>
                <a:gdLst>
                  <a:gd name="connsiteX0" fmla="*/ 0 w 48886"/>
                  <a:gd name="connsiteY0" fmla="*/ 104255 h 104254"/>
                  <a:gd name="connsiteX1" fmla="*/ 0 w 48886"/>
                  <a:gd name="connsiteY1" fmla="*/ 0 h 104254"/>
                  <a:gd name="connsiteX2" fmla="*/ 48887 w 48886"/>
                  <a:gd name="connsiteY2" fmla="*/ 0 h 104254"/>
                  <a:gd name="connsiteX3" fmla="*/ 48887 w 48886"/>
                  <a:gd name="connsiteY3" fmla="*/ 104255 h 1042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8886" h="104254">
                    <a:moveTo>
                      <a:pt x="0" y="104255"/>
                    </a:moveTo>
                    <a:lnTo>
                      <a:pt x="0" y="0"/>
                    </a:lnTo>
                    <a:lnTo>
                      <a:pt x="48887" y="0"/>
                    </a:lnTo>
                    <a:lnTo>
                      <a:pt x="48887" y="104255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617" name="Forma livre: Forma 616">
                <a:extLst>
                  <a:ext uri="{FF2B5EF4-FFF2-40B4-BE49-F238E27FC236}">
                    <a16:creationId xmlns:a16="http://schemas.microsoft.com/office/drawing/2014/main" id="{7ECF45B0-E2FD-B624-5E3F-C73D408E0272}"/>
                  </a:ext>
                </a:extLst>
              </p:cNvPr>
              <p:cNvSpPr/>
              <p:nvPr/>
            </p:nvSpPr>
            <p:spPr>
              <a:xfrm>
                <a:off x="2642710" y="3297569"/>
                <a:ext cx="1193" cy="105340"/>
              </a:xfrm>
              <a:custGeom>
                <a:avLst/>
                <a:gdLst>
                  <a:gd name="connsiteX0" fmla="*/ 0 w 1193"/>
                  <a:gd name="connsiteY0" fmla="*/ 0 h 105340"/>
                  <a:gd name="connsiteX1" fmla="*/ 0 w 1193"/>
                  <a:gd name="connsiteY1" fmla="*/ 105341 h 1053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3" h="105340">
                    <a:moveTo>
                      <a:pt x="0" y="0"/>
                    </a:moveTo>
                    <a:lnTo>
                      <a:pt x="0" y="105341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618" name="Gráfico 4">
              <a:extLst>
                <a:ext uri="{FF2B5EF4-FFF2-40B4-BE49-F238E27FC236}">
                  <a16:creationId xmlns:a16="http://schemas.microsoft.com/office/drawing/2014/main" id="{BBDE0A9A-FF4D-6259-DAC4-E91F0182DC39}"/>
                </a:ext>
              </a:extLst>
            </p:cNvPr>
            <p:cNvGrpSpPr/>
            <p:nvPr/>
          </p:nvGrpSpPr>
          <p:grpSpPr>
            <a:xfrm>
              <a:off x="2680581" y="3301699"/>
              <a:ext cx="57301" cy="57289"/>
              <a:chOff x="2680581" y="3301699"/>
              <a:chExt cx="57301" cy="57289"/>
            </a:xfrm>
            <a:noFill/>
          </p:grpSpPr>
          <p:sp>
            <p:nvSpPr>
              <p:cNvPr id="619" name="Forma livre: Forma 618">
                <a:extLst>
                  <a:ext uri="{FF2B5EF4-FFF2-40B4-BE49-F238E27FC236}">
                    <a16:creationId xmlns:a16="http://schemas.microsoft.com/office/drawing/2014/main" id="{5949ADE0-8732-70A4-7A9E-2F4E8AFCBBD1}"/>
                  </a:ext>
                </a:extLst>
              </p:cNvPr>
              <p:cNvSpPr/>
              <p:nvPr/>
            </p:nvSpPr>
            <p:spPr>
              <a:xfrm>
                <a:off x="2680581" y="3301699"/>
                <a:ext cx="57301" cy="57289"/>
              </a:xfrm>
              <a:custGeom>
                <a:avLst/>
                <a:gdLst>
                  <a:gd name="connsiteX0" fmla="*/ 0 w 57301"/>
                  <a:gd name="connsiteY0" fmla="*/ 0 h 57289"/>
                  <a:gd name="connsiteX1" fmla="*/ 57301 w 57301"/>
                  <a:gd name="connsiteY1" fmla="*/ 0 h 57289"/>
                  <a:gd name="connsiteX2" fmla="*/ 57301 w 57301"/>
                  <a:gd name="connsiteY2" fmla="*/ 57289 h 57289"/>
                  <a:gd name="connsiteX3" fmla="*/ 0 w 57301"/>
                  <a:gd name="connsiteY3" fmla="*/ 57289 h 572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7301" h="57289">
                    <a:moveTo>
                      <a:pt x="0" y="0"/>
                    </a:moveTo>
                    <a:lnTo>
                      <a:pt x="57301" y="0"/>
                    </a:lnTo>
                    <a:lnTo>
                      <a:pt x="57301" y="57289"/>
                    </a:lnTo>
                    <a:lnTo>
                      <a:pt x="0" y="57289"/>
                    </a:ln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620" name="Forma livre: Forma 619">
                <a:extLst>
                  <a:ext uri="{FF2B5EF4-FFF2-40B4-BE49-F238E27FC236}">
                    <a16:creationId xmlns:a16="http://schemas.microsoft.com/office/drawing/2014/main" id="{57DB4E46-1568-C44A-AF93-DF72584AAD4A}"/>
                  </a:ext>
                </a:extLst>
              </p:cNvPr>
              <p:cNvSpPr/>
              <p:nvPr/>
            </p:nvSpPr>
            <p:spPr>
              <a:xfrm>
                <a:off x="2709225" y="3303573"/>
                <a:ext cx="1193" cy="53565"/>
              </a:xfrm>
              <a:custGeom>
                <a:avLst/>
                <a:gdLst>
                  <a:gd name="connsiteX0" fmla="*/ 0 w 1193"/>
                  <a:gd name="connsiteY0" fmla="*/ 0 h 53565"/>
                  <a:gd name="connsiteX1" fmla="*/ 0 w 1193"/>
                  <a:gd name="connsiteY1" fmla="*/ 53566 h 535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3" h="53565">
                    <a:moveTo>
                      <a:pt x="0" y="0"/>
                    </a:moveTo>
                    <a:lnTo>
                      <a:pt x="0" y="53566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621" name="Forma livre: Forma 620">
                <a:extLst>
                  <a:ext uri="{FF2B5EF4-FFF2-40B4-BE49-F238E27FC236}">
                    <a16:creationId xmlns:a16="http://schemas.microsoft.com/office/drawing/2014/main" id="{AE295141-7E94-EE18-0AB0-BA1C5716B7D0}"/>
                  </a:ext>
                </a:extLst>
              </p:cNvPr>
              <p:cNvSpPr/>
              <p:nvPr/>
            </p:nvSpPr>
            <p:spPr>
              <a:xfrm>
                <a:off x="2682454" y="3330343"/>
                <a:ext cx="53553" cy="1193"/>
              </a:xfrm>
              <a:custGeom>
                <a:avLst/>
                <a:gdLst>
                  <a:gd name="connsiteX0" fmla="*/ 53554 w 53553"/>
                  <a:gd name="connsiteY0" fmla="*/ 0 h 1193"/>
                  <a:gd name="connsiteX1" fmla="*/ 0 w 53553"/>
                  <a:gd name="connsiteY1" fmla="*/ 0 h 11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3553" h="1193">
                    <a:moveTo>
                      <a:pt x="53554" y="0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622" name="Forma livre: Forma 621">
              <a:extLst>
                <a:ext uri="{FF2B5EF4-FFF2-40B4-BE49-F238E27FC236}">
                  <a16:creationId xmlns:a16="http://schemas.microsoft.com/office/drawing/2014/main" id="{A6026B8A-17BC-D38C-8920-0326F0C9EED0}"/>
                </a:ext>
              </a:extLst>
            </p:cNvPr>
            <p:cNvSpPr/>
            <p:nvPr/>
          </p:nvSpPr>
          <p:spPr>
            <a:xfrm>
              <a:off x="2594241" y="3139331"/>
              <a:ext cx="318564" cy="161341"/>
            </a:xfrm>
            <a:custGeom>
              <a:avLst/>
              <a:gdLst>
                <a:gd name="connsiteX0" fmla="*/ 159312 w 318564"/>
                <a:gd name="connsiteY0" fmla="*/ 0 h 161341"/>
                <a:gd name="connsiteX1" fmla="*/ 159252 w 318564"/>
                <a:gd name="connsiteY1" fmla="*/ 0 h 161341"/>
                <a:gd name="connsiteX2" fmla="*/ 0 w 318564"/>
                <a:gd name="connsiteY2" fmla="*/ 139858 h 161341"/>
                <a:gd name="connsiteX3" fmla="*/ 18953 w 318564"/>
                <a:gd name="connsiteY3" fmla="*/ 161341 h 161341"/>
                <a:gd name="connsiteX4" fmla="*/ 159288 w 318564"/>
                <a:gd name="connsiteY4" fmla="*/ 38181 h 161341"/>
                <a:gd name="connsiteX5" fmla="*/ 299611 w 318564"/>
                <a:gd name="connsiteY5" fmla="*/ 161341 h 161341"/>
                <a:gd name="connsiteX6" fmla="*/ 318565 w 318564"/>
                <a:gd name="connsiteY6" fmla="*/ 139858 h 161341"/>
                <a:gd name="connsiteX7" fmla="*/ 159312 w 318564"/>
                <a:gd name="connsiteY7" fmla="*/ 0 h 1613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18564" h="161341">
                  <a:moveTo>
                    <a:pt x="159312" y="0"/>
                  </a:moveTo>
                  <a:lnTo>
                    <a:pt x="159252" y="0"/>
                  </a:lnTo>
                  <a:lnTo>
                    <a:pt x="0" y="139858"/>
                  </a:lnTo>
                  <a:lnTo>
                    <a:pt x="18953" y="161341"/>
                  </a:lnTo>
                  <a:lnTo>
                    <a:pt x="159288" y="38181"/>
                  </a:lnTo>
                  <a:lnTo>
                    <a:pt x="299611" y="161341"/>
                  </a:lnTo>
                  <a:lnTo>
                    <a:pt x="318565" y="139858"/>
                  </a:lnTo>
                  <a:lnTo>
                    <a:pt x="159312" y="0"/>
                  </a:ln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23" name="Forma livre: Forma 622">
              <a:extLst>
                <a:ext uri="{FF2B5EF4-FFF2-40B4-BE49-F238E27FC236}">
                  <a16:creationId xmlns:a16="http://schemas.microsoft.com/office/drawing/2014/main" id="{DAC2756F-E8C6-6EDD-4465-D1080E32CFAC}"/>
                </a:ext>
              </a:extLst>
            </p:cNvPr>
            <p:cNvSpPr/>
            <p:nvPr/>
          </p:nvSpPr>
          <p:spPr>
            <a:xfrm>
              <a:off x="2829664" y="3157198"/>
              <a:ext cx="30243" cy="48337"/>
            </a:xfrm>
            <a:custGeom>
              <a:avLst/>
              <a:gdLst>
                <a:gd name="connsiteX0" fmla="*/ 0 w 30243"/>
                <a:gd name="connsiteY0" fmla="*/ 20063 h 48337"/>
                <a:gd name="connsiteX1" fmla="*/ 0 w 30243"/>
                <a:gd name="connsiteY1" fmla="*/ 0 h 48337"/>
                <a:gd name="connsiteX2" fmla="*/ 30244 w 30243"/>
                <a:gd name="connsiteY2" fmla="*/ 0 h 48337"/>
                <a:gd name="connsiteX3" fmla="*/ 30244 w 30243"/>
                <a:gd name="connsiteY3" fmla="*/ 48338 h 483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0243" h="48337">
                  <a:moveTo>
                    <a:pt x="0" y="20063"/>
                  </a:moveTo>
                  <a:lnTo>
                    <a:pt x="0" y="0"/>
                  </a:lnTo>
                  <a:lnTo>
                    <a:pt x="30244" y="0"/>
                  </a:lnTo>
                  <a:lnTo>
                    <a:pt x="30244" y="48338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24" name="Forma livre: Forma 623">
              <a:extLst>
                <a:ext uri="{FF2B5EF4-FFF2-40B4-BE49-F238E27FC236}">
                  <a16:creationId xmlns:a16="http://schemas.microsoft.com/office/drawing/2014/main" id="{FC76BB21-B55E-6C6F-FEB6-BCB442E77433}"/>
                </a:ext>
              </a:extLst>
            </p:cNvPr>
            <p:cNvSpPr/>
            <p:nvPr/>
          </p:nvSpPr>
          <p:spPr>
            <a:xfrm>
              <a:off x="2615867" y="3423439"/>
              <a:ext cx="273258" cy="1193"/>
            </a:xfrm>
            <a:custGeom>
              <a:avLst/>
              <a:gdLst>
                <a:gd name="connsiteX0" fmla="*/ 0 w 273258"/>
                <a:gd name="connsiteY0" fmla="*/ 0 h 1193"/>
                <a:gd name="connsiteX1" fmla="*/ 273258 w 273258"/>
                <a:gd name="connsiteY1" fmla="*/ 0 h 11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73258" h="1193">
                  <a:moveTo>
                    <a:pt x="0" y="0"/>
                  </a:moveTo>
                  <a:lnTo>
                    <a:pt x="273258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625" name="Gráfico 4">
            <a:extLst>
              <a:ext uri="{FF2B5EF4-FFF2-40B4-BE49-F238E27FC236}">
                <a16:creationId xmlns:a16="http://schemas.microsoft.com/office/drawing/2014/main" id="{06C7A1D5-11F7-FB94-C293-4194FB79E978}"/>
              </a:ext>
            </a:extLst>
          </p:cNvPr>
          <p:cNvGrpSpPr/>
          <p:nvPr/>
        </p:nvGrpSpPr>
        <p:grpSpPr>
          <a:xfrm>
            <a:off x="3194215" y="3131310"/>
            <a:ext cx="379637" cy="292128"/>
            <a:chOff x="3194215" y="3131310"/>
            <a:chExt cx="379637" cy="292128"/>
          </a:xfrm>
          <a:noFill/>
        </p:grpSpPr>
        <p:sp>
          <p:nvSpPr>
            <p:cNvPr id="626" name="Forma livre: Forma 625">
              <a:extLst>
                <a:ext uri="{FF2B5EF4-FFF2-40B4-BE49-F238E27FC236}">
                  <a16:creationId xmlns:a16="http://schemas.microsoft.com/office/drawing/2014/main" id="{F3E3FD87-0B89-5941-47DB-2A4A89C84B19}"/>
                </a:ext>
              </a:extLst>
            </p:cNvPr>
            <p:cNvSpPr/>
            <p:nvPr/>
          </p:nvSpPr>
          <p:spPr>
            <a:xfrm>
              <a:off x="3557358" y="3423033"/>
              <a:ext cx="16494" cy="1193"/>
            </a:xfrm>
            <a:custGeom>
              <a:avLst/>
              <a:gdLst>
                <a:gd name="connsiteX0" fmla="*/ 0 w 16494"/>
                <a:gd name="connsiteY0" fmla="*/ 0 h 1193"/>
                <a:gd name="connsiteX1" fmla="*/ 16495 w 16494"/>
                <a:gd name="connsiteY1" fmla="*/ 0 h 11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6494" h="1193">
                  <a:moveTo>
                    <a:pt x="0" y="0"/>
                  </a:moveTo>
                  <a:lnTo>
                    <a:pt x="16495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27" name="Forma livre: Forma 626">
              <a:extLst>
                <a:ext uri="{FF2B5EF4-FFF2-40B4-BE49-F238E27FC236}">
                  <a16:creationId xmlns:a16="http://schemas.microsoft.com/office/drawing/2014/main" id="{951517EC-7721-B146-9638-B6DF2C3F654C}"/>
                </a:ext>
              </a:extLst>
            </p:cNvPr>
            <p:cNvSpPr/>
            <p:nvPr/>
          </p:nvSpPr>
          <p:spPr>
            <a:xfrm>
              <a:off x="3194215" y="3423021"/>
              <a:ext cx="340728" cy="1193"/>
            </a:xfrm>
            <a:custGeom>
              <a:avLst/>
              <a:gdLst>
                <a:gd name="connsiteX0" fmla="*/ 0 w 340728"/>
                <a:gd name="connsiteY0" fmla="*/ 0 h 1193"/>
                <a:gd name="connsiteX1" fmla="*/ 340728 w 340728"/>
                <a:gd name="connsiteY1" fmla="*/ 0 h 11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40728" h="1193">
                  <a:moveTo>
                    <a:pt x="0" y="0"/>
                  </a:moveTo>
                  <a:lnTo>
                    <a:pt x="340728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628" name="Gráfico 4">
              <a:extLst>
                <a:ext uri="{FF2B5EF4-FFF2-40B4-BE49-F238E27FC236}">
                  <a16:creationId xmlns:a16="http://schemas.microsoft.com/office/drawing/2014/main" id="{C17E5853-0DD7-E48D-5263-70ED6968B873}"/>
                </a:ext>
              </a:extLst>
            </p:cNvPr>
            <p:cNvGrpSpPr/>
            <p:nvPr/>
          </p:nvGrpSpPr>
          <p:grpSpPr>
            <a:xfrm>
              <a:off x="3213682" y="3174242"/>
              <a:ext cx="300482" cy="248003"/>
              <a:chOff x="3213682" y="3174242"/>
              <a:chExt cx="300482" cy="248003"/>
            </a:xfrm>
            <a:noFill/>
          </p:grpSpPr>
          <p:sp>
            <p:nvSpPr>
              <p:cNvPr id="629" name="Forma livre: Forma 628">
                <a:extLst>
                  <a:ext uri="{FF2B5EF4-FFF2-40B4-BE49-F238E27FC236}">
                    <a16:creationId xmlns:a16="http://schemas.microsoft.com/office/drawing/2014/main" id="{CE79F8C9-4316-3134-9491-E1312C01AE04}"/>
                  </a:ext>
                </a:extLst>
              </p:cNvPr>
              <p:cNvSpPr/>
              <p:nvPr/>
            </p:nvSpPr>
            <p:spPr>
              <a:xfrm>
                <a:off x="3480555" y="3174242"/>
                <a:ext cx="33609" cy="248003"/>
              </a:xfrm>
              <a:custGeom>
                <a:avLst/>
                <a:gdLst>
                  <a:gd name="connsiteX0" fmla="*/ 33598 w 33609"/>
                  <a:gd name="connsiteY0" fmla="*/ 248003 h 248003"/>
                  <a:gd name="connsiteX1" fmla="*/ 33610 w 33609"/>
                  <a:gd name="connsiteY1" fmla="*/ 0 h 248003"/>
                  <a:gd name="connsiteX2" fmla="*/ 0 w 33609"/>
                  <a:gd name="connsiteY2" fmla="*/ 0 h 2480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3609" h="248003">
                    <a:moveTo>
                      <a:pt x="33598" y="248003"/>
                    </a:moveTo>
                    <a:lnTo>
                      <a:pt x="33610" y="0"/>
                    </a:lnTo>
                    <a:lnTo>
                      <a:pt x="0" y="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630" name="Forma livre: Forma 629">
                <a:extLst>
                  <a:ext uri="{FF2B5EF4-FFF2-40B4-BE49-F238E27FC236}">
                    <a16:creationId xmlns:a16="http://schemas.microsoft.com/office/drawing/2014/main" id="{81823668-BAD8-3F6C-997E-36C7D92B10B1}"/>
                  </a:ext>
                </a:extLst>
              </p:cNvPr>
              <p:cNvSpPr/>
              <p:nvPr/>
            </p:nvSpPr>
            <p:spPr>
              <a:xfrm>
                <a:off x="3213682" y="3174242"/>
                <a:ext cx="23584" cy="248003"/>
              </a:xfrm>
              <a:custGeom>
                <a:avLst/>
                <a:gdLst>
                  <a:gd name="connsiteX0" fmla="*/ 0 w 23584"/>
                  <a:gd name="connsiteY0" fmla="*/ 248003 h 248003"/>
                  <a:gd name="connsiteX1" fmla="*/ 0 w 23584"/>
                  <a:gd name="connsiteY1" fmla="*/ 0 h 248003"/>
                  <a:gd name="connsiteX2" fmla="*/ 23584 w 23584"/>
                  <a:gd name="connsiteY2" fmla="*/ 0 h 2480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3584" h="248003">
                    <a:moveTo>
                      <a:pt x="0" y="248003"/>
                    </a:moveTo>
                    <a:lnTo>
                      <a:pt x="0" y="0"/>
                    </a:lnTo>
                    <a:lnTo>
                      <a:pt x="23584" y="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631" name="Forma livre: Forma 630">
              <a:extLst>
                <a:ext uri="{FF2B5EF4-FFF2-40B4-BE49-F238E27FC236}">
                  <a16:creationId xmlns:a16="http://schemas.microsoft.com/office/drawing/2014/main" id="{D3A7D13E-AB7E-D204-39AD-50F68950602B}"/>
                </a:ext>
              </a:extLst>
            </p:cNvPr>
            <p:cNvSpPr/>
            <p:nvPr/>
          </p:nvSpPr>
          <p:spPr>
            <a:xfrm>
              <a:off x="3330361" y="3371831"/>
              <a:ext cx="64820" cy="1193"/>
            </a:xfrm>
            <a:custGeom>
              <a:avLst/>
              <a:gdLst>
                <a:gd name="connsiteX0" fmla="*/ 0 w 64820"/>
                <a:gd name="connsiteY0" fmla="*/ 0 h 1193"/>
                <a:gd name="connsiteX1" fmla="*/ 64821 w 64820"/>
                <a:gd name="connsiteY1" fmla="*/ 0 h 11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4820" h="1193">
                  <a:moveTo>
                    <a:pt x="0" y="0"/>
                  </a:moveTo>
                  <a:lnTo>
                    <a:pt x="64821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632" name="Gráfico 4">
              <a:extLst>
                <a:ext uri="{FF2B5EF4-FFF2-40B4-BE49-F238E27FC236}">
                  <a16:creationId xmlns:a16="http://schemas.microsoft.com/office/drawing/2014/main" id="{6C3711B7-27CF-2D88-4B85-2D0E18B017FC}"/>
                </a:ext>
              </a:extLst>
            </p:cNvPr>
            <p:cNvGrpSpPr/>
            <p:nvPr/>
          </p:nvGrpSpPr>
          <p:grpSpPr>
            <a:xfrm>
              <a:off x="3285496" y="3394126"/>
              <a:ext cx="154549" cy="29313"/>
              <a:chOff x="3285496" y="3394126"/>
              <a:chExt cx="154549" cy="29313"/>
            </a:xfrm>
          </p:grpSpPr>
          <p:grpSp>
            <p:nvGrpSpPr>
              <p:cNvPr id="633" name="Gráfico 4">
                <a:extLst>
                  <a:ext uri="{FF2B5EF4-FFF2-40B4-BE49-F238E27FC236}">
                    <a16:creationId xmlns:a16="http://schemas.microsoft.com/office/drawing/2014/main" id="{925F9273-B274-7723-1050-1A2AA0A02951}"/>
                  </a:ext>
                </a:extLst>
              </p:cNvPr>
              <p:cNvGrpSpPr/>
              <p:nvPr/>
            </p:nvGrpSpPr>
            <p:grpSpPr>
              <a:xfrm>
                <a:off x="3285496" y="3394126"/>
                <a:ext cx="34970" cy="29313"/>
                <a:chOff x="3285496" y="3394126"/>
                <a:chExt cx="34970" cy="29313"/>
              </a:xfrm>
            </p:grpSpPr>
            <p:sp>
              <p:nvSpPr>
                <p:cNvPr id="634" name="Forma livre: Forma 633">
                  <a:extLst>
                    <a:ext uri="{FF2B5EF4-FFF2-40B4-BE49-F238E27FC236}">
                      <a16:creationId xmlns:a16="http://schemas.microsoft.com/office/drawing/2014/main" id="{EE02398B-63E0-2EA4-36B1-EF16FEE04A17}"/>
                    </a:ext>
                  </a:extLst>
                </p:cNvPr>
                <p:cNvSpPr/>
                <p:nvPr/>
              </p:nvSpPr>
              <p:spPr>
                <a:xfrm>
                  <a:off x="3285496" y="3394126"/>
                  <a:ext cx="1193" cy="29313"/>
                </a:xfrm>
                <a:custGeom>
                  <a:avLst/>
                  <a:gdLst>
                    <a:gd name="connsiteX0" fmla="*/ 0 w 1193"/>
                    <a:gd name="connsiteY0" fmla="*/ 29313 h 29313"/>
                    <a:gd name="connsiteX1" fmla="*/ 0 w 1193"/>
                    <a:gd name="connsiteY1" fmla="*/ 0 h 2931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193" h="29313">
                      <a:moveTo>
                        <a:pt x="0" y="29313"/>
                      </a:moveTo>
                      <a:lnTo>
                        <a:pt x="0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635" name="Forma livre: Forma 634">
                  <a:extLst>
                    <a:ext uri="{FF2B5EF4-FFF2-40B4-BE49-F238E27FC236}">
                      <a16:creationId xmlns:a16="http://schemas.microsoft.com/office/drawing/2014/main" id="{00BE079B-2CD4-7141-0D73-5E35253487A9}"/>
                    </a:ext>
                  </a:extLst>
                </p:cNvPr>
                <p:cNvSpPr/>
                <p:nvPr/>
              </p:nvSpPr>
              <p:spPr>
                <a:xfrm>
                  <a:off x="3320467" y="3396930"/>
                  <a:ext cx="1193" cy="26508"/>
                </a:xfrm>
                <a:custGeom>
                  <a:avLst/>
                  <a:gdLst>
                    <a:gd name="connsiteX0" fmla="*/ 0 w 1193"/>
                    <a:gd name="connsiteY0" fmla="*/ 0 h 26508"/>
                    <a:gd name="connsiteX1" fmla="*/ 0 w 1193"/>
                    <a:gd name="connsiteY1" fmla="*/ 26508 h 2650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193" h="26508">
                      <a:moveTo>
                        <a:pt x="0" y="0"/>
                      </a:moveTo>
                      <a:lnTo>
                        <a:pt x="0" y="26508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636" name="Gráfico 4">
                <a:extLst>
                  <a:ext uri="{FF2B5EF4-FFF2-40B4-BE49-F238E27FC236}">
                    <a16:creationId xmlns:a16="http://schemas.microsoft.com/office/drawing/2014/main" id="{EA6E5D4C-3F1A-ADDD-09CF-5D96DCC72AF3}"/>
                  </a:ext>
                </a:extLst>
              </p:cNvPr>
              <p:cNvGrpSpPr/>
              <p:nvPr/>
            </p:nvGrpSpPr>
            <p:grpSpPr>
              <a:xfrm>
                <a:off x="3405076" y="3394126"/>
                <a:ext cx="34970" cy="29313"/>
                <a:chOff x="3405076" y="3394126"/>
                <a:chExt cx="34970" cy="29313"/>
              </a:xfrm>
            </p:grpSpPr>
            <p:sp>
              <p:nvSpPr>
                <p:cNvPr id="637" name="Forma livre: Forma 636">
                  <a:extLst>
                    <a:ext uri="{FF2B5EF4-FFF2-40B4-BE49-F238E27FC236}">
                      <a16:creationId xmlns:a16="http://schemas.microsoft.com/office/drawing/2014/main" id="{20FA8475-99E5-2FC5-A929-D745FA1FC2A0}"/>
                    </a:ext>
                  </a:extLst>
                </p:cNvPr>
                <p:cNvSpPr/>
                <p:nvPr/>
              </p:nvSpPr>
              <p:spPr>
                <a:xfrm>
                  <a:off x="3440046" y="3394126"/>
                  <a:ext cx="1193" cy="29313"/>
                </a:xfrm>
                <a:custGeom>
                  <a:avLst/>
                  <a:gdLst>
                    <a:gd name="connsiteX0" fmla="*/ 0 w 1193"/>
                    <a:gd name="connsiteY0" fmla="*/ 29313 h 29313"/>
                    <a:gd name="connsiteX1" fmla="*/ 0 w 1193"/>
                    <a:gd name="connsiteY1" fmla="*/ 0 h 2931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193" h="29313">
                      <a:moveTo>
                        <a:pt x="0" y="29313"/>
                      </a:moveTo>
                      <a:lnTo>
                        <a:pt x="0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638" name="Forma livre: Forma 637">
                  <a:extLst>
                    <a:ext uri="{FF2B5EF4-FFF2-40B4-BE49-F238E27FC236}">
                      <a16:creationId xmlns:a16="http://schemas.microsoft.com/office/drawing/2014/main" id="{ECCACE74-0365-12C4-1C87-ABF2F3742F3E}"/>
                    </a:ext>
                  </a:extLst>
                </p:cNvPr>
                <p:cNvSpPr/>
                <p:nvPr/>
              </p:nvSpPr>
              <p:spPr>
                <a:xfrm>
                  <a:off x="3405076" y="3396930"/>
                  <a:ext cx="1193" cy="26508"/>
                </a:xfrm>
                <a:custGeom>
                  <a:avLst/>
                  <a:gdLst>
                    <a:gd name="connsiteX0" fmla="*/ 0 w 1193"/>
                    <a:gd name="connsiteY0" fmla="*/ 0 h 26508"/>
                    <a:gd name="connsiteX1" fmla="*/ 0 w 1193"/>
                    <a:gd name="connsiteY1" fmla="*/ 26508 h 2650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193" h="26508">
                      <a:moveTo>
                        <a:pt x="0" y="0"/>
                      </a:moveTo>
                      <a:lnTo>
                        <a:pt x="0" y="26508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sp>
          <p:nvSpPr>
            <p:cNvPr id="639" name="Forma livre: Forma 638">
              <a:extLst>
                <a:ext uri="{FF2B5EF4-FFF2-40B4-BE49-F238E27FC236}">
                  <a16:creationId xmlns:a16="http://schemas.microsoft.com/office/drawing/2014/main" id="{A4975856-02E4-9937-E439-F08582672E38}"/>
                </a:ext>
              </a:extLst>
            </p:cNvPr>
            <p:cNvSpPr/>
            <p:nvPr/>
          </p:nvSpPr>
          <p:spPr>
            <a:xfrm>
              <a:off x="3277368" y="3295660"/>
              <a:ext cx="170770" cy="98179"/>
            </a:xfrm>
            <a:custGeom>
              <a:avLst/>
              <a:gdLst>
                <a:gd name="connsiteX0" fmla="*/ 165483 w 170770"/>
                <a:gd name="connsiteY0" fmla="*/ 43194 h 98179"/>
                <a:gd name="connsiteX1" fmla="*/ 123960 w 170770"/>
                <a:gd name="connsiteY1" fmla="*/ 0 h 98179"/>
                <a:gd name="connsiteX2" fmla="*/ 46834 w 170770"/>
                <a:gd name="connsiteY2" fmla="*/ 0 h 98179"/>
                <a:gd name="connsiteX3" fmla="*/ 5311 w 170770"/>
                <a:gd name="connsiteY3" fmla="*/ 43194 h 98179"/>
                <a:gd name="connsiteX4" fmla="*/ 0 w 170770"/>
                <a:gd name="connsiteY4" fmla="*/ 58805 h 98179"/>
                <a:gd name="connsiteX5" fmla="*/ 0 w 170770"/>
                <a:gd name="connsiteY5" fmla="*/ 89503 h 98179"/>
                <a:gd name="connsiteX6" fmla="*/ 9154 w 170770"/>
                <a:gd name="connsiteY6" fmla="*/ 98180 h 98179"/>
                <a:gd name="connsiteX7" fmla="*/ 161604 w 170770"/>
                <a:gd name="connsiteY7" fmla="*/ 98180 h 98179"/>
                <a:gd name="connsiteX8" fmla="*/ 170770 w 170770"/>
                <a:gd name="connsiteY8" fmla="*/ 89503 h 98179"/>
                <a:gd name="connsiteX9" fmla="*/ 170770 w 170770"/>
                <a:gd name="connsiteY9" fmla="*/ 58805 h 98179"/>
                <a:gd name="connsiteX10" fmla="*/ 165459 w 170770"/>
                <a:gd name="connsiteY10" fmla="*/ 43194 h 981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70770" h="98179">
                  <a:moveTo>
                    <a:pt x="165483" y="43194"/>
                  </a:moveTo>
                  <a:cubicBezTo>
                    <a:pt x="165483" y="43194"/>
                    <a:pt x="142889" y="0"/>
                    <a:pt x="123960" y="0"/>
                  </a:cubicBezTo>
                  <a:lnTo>
                    <a:pt x="46834" y="0"/>
                  </a:lnTo>
                  <a:cubicBezTo>
                    <a:pt x="27905" y="0"/>
                    <a:pt x="5311" y="43194"/>
                    <a:pt x="5311" y="43194"/>
                  </a:cubicBezTo>
                  <a:cubicBezTo>
                    <a:pt x="1898" y="48016"/>
                    <a:pt x="0" y="54855"/>
                    <a:pt x="0" y="58805"/>
                  </a:cubicBezTo>
                  <a:lnTo>
                    <a:pt x="0" y="89503"/>
                  </a:lnTo>
                  <a:cubicBezTo>
                    <a:pt x="0" y="94038"/>
                    <a:pt x="3807" y="98180"/>
                    <a:pt x="9154" y="98180"/>
                  </a:cubicBezTo>
                  <a:lnTo>
                    <a:pt x="161604" y="98180"/>
                  </a:lnTo>
                  <a:cubicBezTo>
                    <a:pt x="166963" y="98180"/>
                    <a:pt x="170770" y="94026"/>
                    <a:pt x="170770" y="89503"/>
                  </a:cubicBezTo>
                  <a:lnTo>
                    <a:pt x="170770" y="58805"/>
                  </a:lnTo>
                  <a:cubicBezTo>
                    <a:pt x="170770" y="54866"/>
                    <a:pt x="168872" y="48016"/>
                    <a:pt x="165459" y="43194"/>
                  </a:cubicBez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40" name="Forma livre: Forma 639">
              <a:extLst>
                <a:ext uri="{FF2B5EF4-FFF2-40B4-BE49-F238E27FC236}">
                  <a16:creationId xmlns:a16="http://schemas.microsoft.com/office/drawing/2014/main" id="{B57D58FB-9A8F-67AA-DAA2-9644AAC78953}"/>
                </a:ext>
              </a:extLst>
            </p:cNvPr>
            <p:cNvSpPr/>
            <p:nvPr/>
          </p:nvSpPr>
          <p:spPr>
            <a:xfrm>
              <a:off x="3257926" y="3131310"/>
              <a:ext cx="209631" cy="87295"/>
            </a:xfrm>
            <a:custGeom>
              <a:avLst/>
              <a:gdLst>
                <a:gd name="connsiteX0" fmla="*/ 20338 w 209631"/>
                <a:gd name="connsiteY0" fmla="*/ 27189 h 87295"/>
                <a:gd name="connsiteX1" fmla="*/ 0 w 209631"/>
                <a:gd name="connsiteY1" fmla="*/ 44185 h 87295"/>
                <a:gd name="connsiteX2" fmla="*/ 20421 w 209631"/>
                <a:gd name="connsiteY2" fmla="*/ 60978 h 87295"/>
                <a:gd name="connsiteX3" fmla="*/ 114471 w 209631"/>
                <a:gd name="connsiteY3" fmla="*/ 60655 h 87295"/>
                <a:gd name="connsiteX4" fmla="*/ 137292 w 209631"/>
                <a:gd name="connsiteY4" fmla="*/ 73247 h 87295"/>
                <a:gd name="connsiteX5" fmla="*/ 137530 w 209631"/>
                <a:gd name="connsiteY5" fmla="*/ 73486 h 87295"/>
                <a:gd name="connsiteX6" fmla="*/ 169505 w 209631"/>
                <a:gd name="connsiteY6" fmla="*/ 87295 h 87295"/>
                <a:gd name="connsiteX7" fmla="*/ 209631 w 209631"/>
                <a:gd name="connsiteY7" fmla="*/ 60560 h 87295"/>
                <a:gd name="connsiteX8" fmla="*/ 177203 w 209631"/>
                <a:gd name="connsiteY8" fmla="*/ 60643 h 87295"/>
                <a:gd name="connsiteX9" fmla="*/ 160267 w 209631"/>
                <a:gd name="connsiteY9" fmla="*/ 43791 h 87295"/>
                <a:gd name="connsiteX10" fmla="*/ 160267 w 209631"/>
                <a:gd name="connsiteY10" fmla="*/ 43552 h 87295"/>
                <a:gd name="connsiteX11" fmla="*/ 177108 w 209631"/>
                <a:gd name="connsiteY11" fmla="*/ 26604 h 87295"/>
                <a:gd name="connsiteX12" fmla="*/ 209548 w 209631"/>
                <a:gd name="connsiteY12" fmla="*/ 26509 h 87295"/>
                <a:gd name="connsiteX13" fmla="*/ 169266 w 209631"/>
                <a:gd name="connsiteY13" fmla="*/ 0 h 87295"/>
                <a:gd name="connsiteX14" fmla="*/ 137363 w 209631"/>
                <a:gd name="connsiteY14" fmla="*/ 13989 h 87295"/>
                <a:gd name="connsiteX15" fmla="*/ 137125 w 209631"/>
                <a:gd name="connsiteY15" fmla="*/ 14239 h 87295"/>
                <a:gd name="connsiteX16" fmla="*/ 114376 w 209631"/>
                <a:gd name="connsiteY16" fmla="*/ 26855 h 87295"/>
                <a:gd name="connsiteX17" fmla="*/ 20338 w 209631"/>
                <a:gd name="connsiteY17" fmla="*/ 27177 h 872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209631" h="87295">
                  <a:moveTo>
                    <a:pt x="20338" y="27189"/>
                  </a:moveTo>
                  <a:cubicBezTo>
                    <a:pt x="8987" y="27213"/>
                    <a:pt x="-24" y="32834"/>
                    <a:pt x="0" y="44185"/>
                  </a:cubicBezTo>
                  <a:cubicBezTo>
                    <a:pt x="48" y="55535"/>
                    <a:pt x="9083" y="61013"/>
                    <a:pt x="20421" y="60978"/>
                  </a:cubicBezTo>
                  <a:lnTo>
                    <a:pt x="114471" y="60655"/>
                  </a:lnTo>
                  <a:cubicBezTo>
                    <a:pt x="127731" y="60954"/>
                    <a:pt x="134785" y="70681"/>
                    <a:pt x="137292" y="73247"/>
                  </a:cubicBezTo>
                  <a:lnTo>
                    <a:pt x="137530" y="73486"/>
                  </a:lnTo>
                  <a:cubicBezTo>
                    <a:pt x="145515" y="82020"/>
                    <a:pt x="156901" y="87331"/>
                    <a:pt x="169505" y="87295"/>
                  </a:cubicBezTo>
                  <a:cubicBezTo>
                    <a:pt x="187575" y="87247"/>
                    <a:pt x="203055" y="76243"/>
                    <a:pt x="209631" y="60560"/>
                  </a:cubicBezTo>
                  <a:lnTo>
                    <a:pt x="177203" y="60643"/>
                  </a:lnTo>
                  <a:cubicBezTo>
                    <a:pt x="167906" y="60667"/>
                    <a:pt x="160279" y="53100"/>
                    <a:pt x="160267" y="43791"/>
                  </a:cubicBezTo>
                  <a:lnTo>
                    <a:pt x="160267" y="43552"/>
                  </a:lnTo>
                  <a:cubicBezTo>
                    <a:pt x="160243" y="34255"/>
                    <a:pt x="167810" y="26628"/>
                    <a:pt x="177108" y="26604"/>
                  </a:cubicBezTo>
                  <a:lnTo>
                    <a:pt x="209548" y="26509"/>
                  </a:lnTo>
                  <a:cubicBezTo>
                    <a:pt x="202888" y="10861"/>
                    <a:pt x="187336" y="-59"/>
                    <a:pt x="169266" y="0"/>
                  </a:cubicBezTo>
                  <a:cubicBezTo>
                    <a:pt x="156651" y="48"/>
                    <a:pt x="145312" y="5419"/>
                    <a:pt x="137363" y="13989"/>
                  </a:cubicBezTo>
                  <a:lnTo>
                    <a:pt x="137125" y="14239"/>
                  </a:lnTo>
                  <a:cubicBezTo>
                    <a:pt x="134618" y="16805"/>
                    <a:pt x="127636" y="26485"/>
                    <a:pt x="114376" y="26855"/>
                  </a:cubicBezTo>
                  <a:lnTo>
                    <a:pt x="20338" y="27177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41" name="Forma livre: Forma 640">
              <a:extLst>
                <a:ext uri="{FF2B5EF4-FFF2-40B4-BE49-F238E27FC236}">
                  <a16:creationId xmlns:a16="http://schemas.microsoft.com/office/drawing/2014/main" id="{D7ADAC18-615E-8218-9986-999921029C91}"/>
                </a:ext>
              </a:extLst>
            </p:cNvPr>
            <p:cNvSpPr/>
            <p:nvPr/>
          </p:nvSpPr>
          <p:spPr>
            <a:xfrm>
              <a:off x="3304915" y="3341360"/>
              <a:ext cx="115712" cy="4201"/>
            </a:xfrm>
            <a:custGeom>
              <a:avLst/>
              <a:gdLst>
                <a:gd name="connsiteX0" fmla="*/ 0 w 115712"/>
                <a:gd name="connsiteY0" fmla="*/ 0 h 4201"/>
                <a:gd name="connsiteX1" fmla="*/ 115713 w 115712"/>
                <a:gd name="connsiteY1" fmla="*/ 0 h 42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5712" h="4201">
                  <a:moveTo>
                    <a:pt x="0" y="0"/>
                  </a:moveTo>
                  <a:cubicBezTo>
                    <a:pt x="0" y="0"/>
                    <a:pt x="38348" y="9453"/>
                    <a:pt x="115713" y="0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642" name="Gráfico 4">
              <a:extLst>
                <a:ext uri="{FF2B5EF4-FFF2-40B4-BE49-F238E27FC236}">
                  <a16:creationId xmlns:a16="http://schemas.microsoft.com/office/drawing/2014/main" id="{7AA61BEE-AA1D-97F5-00FA-F76DD66CF89C}"/>
                </a:ext>
              </a:extLst>
            </p:cNvPr>
            <p:cNvGrpSpPr/>
            <p:nvPr/>
          </p:nvGrpSpPr>
          <p:grpSpPr>
            <a:xfrm>
              <a:off x="3266937" y="3328482"/>
              <a:ext cx="191680" cy="6110"/>
              <a:chOff x="3266937" y="3328482"/>
              <a:chExt cx="191680" cy="6110"/>
            </a:xfrm>
          </p:grpSpPr>
          <p:sp>
            <p:nvSpPr>
              <p:cNvPr id="643" name="Forma livre: Forma 642">
                <a:extLst>
                  <a:ext uri="{FF2B5EF4-FFF2-40B4-BE49-F238E27FC236}">
                    <a16:creationId xmlns:a16="http://schemas.microsoft.com/office/drawing/2014/main" id="{87D9C76C-198C-5D8B-BFAD-FFC84B72907B}"/>
                  </a:ext>
                </a:extLst>
              </p:cNvPr>
              <p:cNvSpPr/>
              <p:nvPr/>
            </p:nvSpPr>
            <p:spPr>
              <a:xfrm>
                <a:off x="3266937" y="3328482"/>
                <a:ext cx="16590" cy="6110"/>
              </a:xfrm>
              <a:custGeom>
                <a:avLst/>
                <a:gdLst>
                  <a:gd name="connsiteX0" fmla="*/ 0 w 16590"/>
                  <a:gd name="connsiteY0" fmla="*/ 0 h 6110"/>
                  <a:gd name="connsiteX1" fmla="*/ 16590 w 16590"/>
                  <a:gd name="connsiteY1" fmla="*/ 6111 h 61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6590" h="6110">
                    <a:moveTo>
                      <a:pt x="0" y="0"/>
                    </a:moveTo>
                    <a:lnTo>
                      <a:pt x="16590" y="6111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644" name="Forma livre: Forma 643">
                <a:extLst>
                  <a:ext uri="{FF2B5EF4-FFF2-40B4-BE49-F238E27FC236}">
                    <a16:creationId xmlns:a16="http://schemas.microsoft.com/office/drawing/2014/main" id="{A08577D6-C47D-5F50-071B-C4869F021660}"/>
                  </a:ext>
                </a:extLst>
              </p:cNvPr>
              <p:cNvSpPr/>
              <p:nvPr/>
            </p:nvSpPr>
            <p:spPr>
              <a:xfrm>
                <a:off x="3442016" y="3328482"/>
                <a:ext cx="16601" cy="6110"/>
              </a:xfrm>
              <a:custGeom>
                <a:avLst/>
                <a:gdLst>
                  <a:gd name="connsiteX0" fmla="*/ 16602 w 16601"/>
                  <a:gd name="connsiteY0" fmla="*/ 0 h 6110"/>
                  <a:gd name="connsiteX1" fmla="*/ 0 w 16601"/>
                  <a:gd name="connsiteY1" fmla="*/ 6111 h 61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6601" h="6110">
                    <a:moveTo>
                      <a:pt x="16602" y="0"/>
                    </a:moveTo>
                    <a:lnTo>
                      <a:pt x="0" y="6111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645" name="Forma livre: Forma 644">
              <a:extLst>
                <a:ext uri="{FF2B5EF4-FFF2-40B4-BE49-F238E27FC236}">
                  <a16:creationId xmlns:a16="http://schemas.microsoft.com/office/drawing/2014/main" id="{9BDD7E6D-2C01-0EA5-B9FA-DEE5968EF332}"/>
                </a:ext>
              </a:extLst>
            </p:cNvPr>
            <p:cNvSpPr/>
            <p:nvPr/>
          </p:nvSpPr>
          <p:spPr>
            <a:xfrm>
              <a:off x="3242768" y="3251105"/>
              <a:ext cx="242286" cy="168287"/>
            </a:xfrm>
            <a:custGeom>
              <a:avLst/>
              <a:gdLst>
                <a:gd name="connsiteX0" fmla="*/ 0 w 242286"/>
                <a:gd name="connsiteY0" fmla="*/ 168287 h 168287"/>
                <a:gd name="connsiteX1" fmla="*/ 0 w 242286"/>
                <a:gd name="connsiteY1" fmla="*/ 0 h 168287"/>
                <a:gd name="connsiteX2" fmla="*/ 242286 w 242286"/>
                <a:gd name="connsiteY2" fmla="*/ 0 h 168287"/>
                <a:gd name="connsiteX3" fmla="*/ 242286 w 242286"/>
                <a:gd name="connsiteY3" fmla="*/ 168287 h 1682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2286" h="168287">
                  <a:moveTo>
                    <a:pt x="0" y="168287"/>
                  </a:moveTo>
                  <a:lnTo>
                    <a:pt x="0" y="0"/>
                  </a:lnTo>
                  <a:lnTo>
                    <a:pt x="242286" y="0"/>
                  </a:lnTo>
                  <a:lnTo>
                    <a:pt x="242286" y="168287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646" name="Gráfico 4">
            <a:extLst>
              <a:ext uri="{FF2B5EF4-FFF2-40B4-BE49-F238E27FC236}">
                <a16:creationId xmlns:a16="http://schemas.microsoft.com/office/drawing/2014/main" id="{07DF0226-E45F-3DA2-29AC-98D9A16687B4}"/>
              </a:ext>
            </a:extLst>
          </p:cNvPr>
          <p:cNvGrpSpPr/>
          <p:nvPr/>
        </p:nvGrpSpPr>
        <p:grpSpPr>
          <a:xfrm>
            <a:off x="3835653" y="1512242"/>
            <a:ext cx="340835" cy="345681"/>
            <a:chOff x="3835653" y="1512242"/>
            <a:chExt cx="340835" cy="345681"/>
          </a:xfrm>
          <a:noFill/>
        </p:grpSpPr>
        <p:sp>
          <p:nvSpPr>
            <p:cNvPr id="647" name="Forma livre: Forma 646">
              <a:extLst>
                <a:ext uri="{FF2B5EF4-FFF2-40B4-BE49-F238E27FC236}">
                  <a16:creationId xmlns:a16="http://schemas.microsoft.com/office/drawing/2014/main" id="{73745048-E371-A710-94E1-4165FBEBFE50}"/>
                </a:ext>
              </a:extLst>
            </p:cNvPr>
            <p:cNvSpPr/>
            <p:nvPr/>
          </p:nvSpPr>
          <p:spPr>
            <a:xfrm>
              <a:off x="3870134" y="1670671"/>
              <a:ext cx="271885" cy="27833"/>
            </a:xfrm>
            <a:custGeom>
              <a:avLst/>
              <a:gdLst>
                <a:gd name="connsiteX0" fmla="*/ 114949 w 271885"/>
                <a:gd name="connsiteY0" fmla="*/ 27833 h 27833"/>
                <a:gd name="connsiteX1" fmla="*/ 191502 w 271885"/>
                <a:gd name="connsiteY1" fmla="*/ 27833 h 27833"/>
                <a:gd name="connsiteX2" fmla="*/ 271886 w 271885"/>
                <a:gd name="connsiteY2" fmla="*/ 0 h 27833"/>
                <a:gd name="connsiteX3" fmla="*/ 0 w 271885"/>
                <a:gd name="connsiteY3" fmla="*/ 0 h 27833"/>
                <a:gd name="connsiteX4" fmla="*/ 80384 w 271885"/>
                <a:gd name="connsiteY4" fmla="*/ 27833 h 27833"/>
                <a:gd name="connsiteX5" fmla="*/ 88691 w 271885"/>
                <a:gd name="connsiteY5" fmla="*/ 27833 h 278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71885" h="27833">
                  <a:moveTo>
                    <a:pt x="114949" y="27833"/>
                  </a:moveTo>
                  <a:lnTo>
                    <a:pt x="191502" y="27833"/>
                  </a:lnTo>
                  <a:cubicBezTo>
                    <a:pt x="237882" y="27833"/>
                    <a:pt x="271886" y="0"/>
                    <a:pt x="271886" y="0"/>
                  </a:cubicBezTo>
                  <a:lnTo>
                    <a:pt x="0" y="0"/>
                  </a:lnTo>
                  <a:cubicBezTo>
                    <a:pt x="0" y="0"/>
                    <a:pt x="34004" y="27833"/>
                    <a:pt x="80384" y="27833"/>
                  </a:cubicBezTo>
                  <a:lnTo>
                    <a:pt x="88691" y="27833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48" name="Forma livre: Forma 647">
              <a:extLst>
                <a:ext uri="{FF2B5EF4-FFF2-40B4-BE49-F238E27FC236}">
                  <a16:creationId xmlns:a16="http://schemas.microsoft.com/office/drawing/2014/main" id="{F5A6ED1E-A5CE-F1E4-20FB-826BA960FABC}"/>
                </a:ext>
              </a:extLst>
            </p:cNvPr>
            <p:cNvSpPr/>
            <p:nvPr/>
          </p:nvSpPr>
          <p:spPr>
            <a:xfrm>
              <a:off x="3835653" y="1755531"/>
              <a:ext cx="340835" cy="27833"/>
            </a:xfrm>
            <a:custGeom>
              <a:avLst/>
              <a:gdLst>
                <a:gd name="connsiteX0" fmla="*/ 128985 w 340835"/>
                <a:gd name="connsiteY0" fmla="*/ 27833 h 27833"/>
                <a:gd name="connsiteX1" fmla="*/ 260452 w 340835"/>
                <a:gd name="connsiteY1" fmla="*/ 27833 h 27833"/>
                <a:gd name="connsiteX2" fmla="*/ 340836 w 340835"/>
                <a:gd name="connsiteY2" fmla="*/ 0 h 27833"/>
                <a:gd name="connsiteX3" fmla="*/ 0 w 340835"/>
                <a:gd name="connsiteY3" fmla="*/ 0 h 27833"/>
                <a:gd name="connsiteX4" fmla="*/ 80384 w 340835"/>
                <a:gd name="connsiteY4" fmla="*/ 27833 h 27833"/>
                <a:gd name="connsiteX5" fmla="*/ 102560 w 340835"/>
                <a:gd name="connsiteY5" fmla="*/ 27833 h 278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40835" h="27833">
                  <a:moveTo>
                    <a:pt x="128985" y="27833"/>
                  </a:moveTo>
                  <a:lnTo>
                    <a:pt x="260452" y="27833"/>
                  </a:lnTo>
                  <a:cubicBezTo>
                    <a:pt x="306832" y="27833"/>
                    <a:pt x="340836" y="0"/>
                    <a:pt x="340836" y="0"/>
                  </a:cubicBezTo>
                  <a:lnTo>
                    <a:pt x="0" y="0"/>
                  </a:lnTo>
                  <a:cubicBezTo>
                    <a:pt x="0" y="0"/>
                    <a:pt x="34004" y="27833"/>
                    <a:pt x="80384" y="27833"/>
                  </a:cubicBezTo>
                  <a:lnTo>
                    <a:pt x="102560" y="27833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49" name="Forma livre: Forma 648">
              <a:extLst>
                <a:ext uri="{FF2B5EF4-FFF2-40B4-BE49-F238E27FC236}">
                  <a16:creationId xmlns:a16="http://schemas.microsoft.com/office/drawing/2014/main" id="{76BBBAA2-FE7C-CF89-170C-B73D76AD5C3F}"/>
                </a:ext>
              </a:extLst>
            </p:cNvPr>
            <p:cNvSpPr/>
            <p:nvPr/>
          </p:nvSpPr>
          <p:spPr>
            <a:xfrm>
              <a:off x="3895819" y="1539944"/>
              <a:ext cx="220528" cy="70095"/>
            </a:xfrm>
            <a:custGeom>
              <a:avLst/>
              <a:gdLst>
                <a:gd name="connsiteX0" fmla="*/ 110258 w 220528"/>
                <a:gd name="connsiteY0" fmla="*/ 0 h 70095"/>
                <a:gd name="connsiteX1" fmla="*/ 0 w 220528"/>
                <a:gd name="connsiteY1" fmla="*/ 48672 h 70095"/>
                <a:gd name="connsiteX2" fmla="*/ 63591 w 220528"/>
                <a:gd name="connsiteY2" fmla="*/ 70096 h 70095"/>
                <a:gd name="connsiteX3" fmla="*/ 156937 w 220528"/>
                <a:gd name="connsiteY3" fmla="*/ 70096 h 70095"/>
                <a:gd name="connsiteX4" fmla="*/ 220528 w 220528"/>
                <a:gd name="connsiteY4" fmla="*/ 48672 h 70095"/>
                <a:gd name="connsiteX5" fmla="*/ 110258 w 220528"/>
                <a:gd name="connsiteY5" fmla="*/ 0 h 700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20528" h="70095">
                  <a:moveTo>
                    <a:pt x="110258" y="0"/>
                  </a:moveTo>
                  <a:cubicBezTo>
                    <a:pt x="110258" y="0"/>
                    <a:pt x="75324" y="61204"/>
                    <a:pt x="0" y="48672"/>
                  </a:cubicBezTo>
                  <a:cubicBezTo>
                    <a:pt x="0" y="48672"/>
                    <a:pt x="26639" y="70096"/>
                    <a:pt x="63591" y="70096"/>
                  </a:cubicBezTo>
                  <a:lnTo>
                    <a:pt x="156937" y="70096"/>
                  </a:lnTo>
                  <a:cubicBezTo>
                    <a:pt x="193889" y="70096"/>
                    <a:pt x="220528" y="48672"/>
                    <a:pt x="220528" y="48672"/>
                  </a:cubicBezTo>
                  <a:cubicBezTo>
                    <a:pt x="145205" y="61204"/>
                    <a:pt x="110258" y="0"/>
                    <a:pt x="110258" y="0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50" name="Forma livre: Forma 649">
              <a:extLst>
                <a:ext uri="{FF2B5EF4-FFF2-40B4-BE49-F238E27FC236}">
                  <a16:creationId xmlns:a16="http://schemas.microsoft.com/office/drawing/2014/main" id="{83E4B66B-6D0C-1AC7-12DF-CF5EC6F1E4C4}"/>
                </a:ext>
              </a:extLst>
            </p:cNvPr>
            <p:cNvSpPr/>
            <p:nvPr/>
          </p:nvSpPr>
          <p:spPr>
            <a:xfrm>
              <a:off x="4006077" y="1512242"/>
              <a:ext cx="1193" cy="27701"/>
            </a:xfrm>
            <a:custGeom>
              <a:avLst/>
              <a:gdLst>
                <a:gd name="connsiteX0" fmla="*/ 0 w 1193"/>
                <a:gd name="connsiteY0" fmla="*/ 27702 h 27701"/>
                <a:gd name="connsiteX1" fmla="*/ 0 w 1193"/>
                <a:gd name="connsiteY1" fmla="*/ 0 h 277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93" h="27701">
                  <a:moveTo>
                    <a:pt x="0" y="27702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651" name="Gráfico 4">
              <a:extLst>
                <a:ext uri="{FF2B5EF4-FFF2-40B4-BE49-F238E27FC236}">
                  <a16:creationId xmlns:a16="http://schemas.microsoft.com/office/drawing/2014/main" id="{E4D11C26-B48D-38AF-DCFA-D25A52455B0A}"/>
                </a:ext>
              </a:extLst>
            </p:cNvPr>
            <p:cNvGrpSpPr/>
            <p:nvPr/>
          </p:nvGrpSpPr>
          <p:grpSpPr>
            <a:xfrm>
              <a:off x="3928975" y="1698027"/>
              <a:ext cx="154203" cy="57408"/>
              <a:chOff x="3928975" y="1698027"/>
              <a:chExt cx="154203" cy="57408"/>
            </a:xfrm>
          </p:grpSpPr>
          <p:sp>
            <p:nvSpPr>
              <p:cNvPr id="652" name="Forma livre: Forma 651">
                <a:extLst>
                  <a:ext uri="{FF2B5EF4-FFF2-40B4-BE49-F238E27FC236}">
                    <a16:creationId xmlns:a16="http://schemas.microsoft.com/office/drawing/2014/main" id="{4E445A6A-632C-B65A-87AC-7B02FFF88AA1}"/>
                  </a:ext>
                </a:extLst>
              </p:cNvPr>
              <p:cNvSpPr/>
              <p:nvPr/>
            </p:nvSpPr>
            <p:spPr>
              <a:xfrm>
                <a:off x="3928975" y="1716443"/>
                <a:ext cx="1193" cy="38992"/>
              </a:xfrm>
              <a:custGeom>
                <a:avLst/>
                <a:gdLst>
                  <a:gd name="connsiteX0" fmla="*/ 0 w 1193"/>
                  <a:gd name="connsiteY0" fmla="*/ 0 h 38992"/>
                  <a:gd name="connsiteX1" fmla="*/ 0 w 1193"/>
                  <a:gd name="connsiteY1" fmla="*/ 38993 h 389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3" h="38992">
                    <a:moveTo>
                      <a:pt x="0" y="0"/>
                    </a:moveTo>
                    <a:lnTo>
                      <a:pt x="0" y="38993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653" name="Forma livre: Forma 652">
                <a:extLst>
                  <a:ext uri="{FF2B5EF4-FFF2-40B4-BE49-F238E27FC236}">
                    <a16:creationId xmlns:a16="http://schemas.microsoft.com/office/drawing/2014/main" id="{F39809AD-6D81-A7C6-19E9-5444709384DE}"/>
                  </a:ext>
                </a:extLst>
              </p:cNvPr>
              <p:cNvSpPr/>
              <p:nvPr/>
            </p:nvSpPr>
            <p:spPr>
              <a:xfrm>
                <a:off x="4083179" y="1698027"/>
                <a:ext cx="1193" cy="57408"/>
              </a:xfrm>
              <a:custGeom>
                <a:avLst/>
                <a:gdLst>
                  <a:gd name="connsiteX0" fmla="*/ 0 w 1193"/>
                  <a:gd name="connsiteY0" fmla="*/ 0 h 57408"/>
                  <a:gd name="connsiteX1" fmla="*/ 0 w 1193"/>
                  <a:gd name="connsiteY1" fmla="*/ 57409 h 574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3" h="57408">
                    <a:moveTo>
                      <a:pt x="0" y="0"/>
                    </a:moveTo>
                    <a:lnTo>
                      <a:pt x="0" y="57409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654" name="Gráfico 4">
              <a:extLst>
                <a:ext uri="{FF2B5EF4-FFF2-40B4-BE49-F238E27FC236}">
                  <a16:creationId xmlns:a16="http://schemas.microsoft.com/office/drawing/2014/main" id="{96D1E35F-8B18-9E41-0484-81DE3E5183EF}"/>
                </a:ext>
              </a:extLst>
            </p:cNvPr>
            <p:cNvGrpSpPr/>
            <p:nvPr/>
          </p:nvGrpSpPr>
          <p:grpSpPr>
            <a:xfrm>
              <a:off x="3942701" y="1609706"/>
              <a:ext cx="126752" cy="58602"/>
              <a:chOff x="3942701" y="1609706"/>
              <a:chExt cx="126752" cy="58602"/>
            </a:xfrm>
          </p:grpSpPr>
          <p:sp>
            <p:nvSpPr>
              <p:cNvPr id="655" name="Forma livre: Forma 654">
                <a:extLst>
                  <a:ext uri="{FF2B5EF4-FFF2-40B4-BE49-F238E27FC236}">
                    <a16:creationId xmlns:a16="http://schemas.microsoft.com/office/drawing/2014/main" id="{DC732733-639D-32C1-53EA-8EE3F54325F4}"/>
                  </a:ext>
                </a:extLst>
              </p:cNvPr>
              <p:cNvSpPr/>
              <p:nvPr/>
            </p:nvSpPr>
            <p:spPr>
              <a:xfrm>
                <a:off x="3942701" y="1629315"/>
                <a:ext cx="1193" cy="38992"/>
              </a:xfrm>
              <a:custGeom>
                <a:avLst/>
                <a:gdLst>
                  <a:gd name="connsiteX0" fmla="*/ 0 w 1193"/>
                  <a:gd name="connsiteY0" fmla="*/ 0 h 38992"/>
                  <a:gd name="connsiteX1" fmla="*/ 0 w 1193"/>
                  <a:gd name="connsiteY1" fmla="*/ 38993 h 389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3" h="38992">
                    <a:moveTo>
                      <a:pt x="0" y="0"/>
                    </a:moveTo>
                    <a:lnTo>
                      <a:pt x="0" y="38993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656" name="Forma livre: Forma 655">
                <a:extLst>
                  <a:ext uri="{FF2B5EF4-FFF2-40B4-BE49-F238E27FC236}">
                    <a16:creationId xmlns:a16="http://schemas.microsoft.com/office/drawing/2014/main" id="{2462CE00-41D7-7AB2-C1E7-7758249E65F9}"/>
                  </a:ext>
                </a:extLst>
              </p:cNvPr>
              <p:cNvSpPr/>
              <p:nvPr/>
            </p:nvSpPr>
            <p:spPr>
              <a:xfrm>
                <a:off x="4069453" y="1609706"/>
                <a:ext cx="1193" cy="56215"/>
              </a:xfrm>
              <a:custGeom>
                <a:avLst/>
                <a:gdLst>
                  <a:gd name="connsiteX0" fmla="*/ 0 w 1193"/>
                  <a:gd name="connsiteY0" fmla="*/ 0 h 56215"/>
                  <a:gd name="connsiteX1" fmla="*/ 0 w 1193"/>
                  <a:gd name="connsiteY1" fmla="*/ 56215 h 562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3" h="56215">
                    <a:moveTo>
                      <a:pt x="0" y="0"/>
                    </a:moveTo>
                    <a:lnTo>
                      <a:pt x="0" y="56215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657" name="Gráfico 4">
              <a:extLst>
                <a:ext uri="{FF2B5EF4-FFF2-40B4-BE49-F238E27FC236}">
                  <a16:creationId xmlns:a16="http://schemas.microsoft.com/office/drawing/2014/main" id="{F579694B-A04E-EF94-9C9C-78BD82B89956}"/>
                </a:ext>
              </a:extLst>
            </p:cNvPr>
            <p:cNvGrpSpPr/>
            <p:nvPr/>
          </p:nvGrpSpPr>
          <p:grpSpPr>
            <a:xfrm>
              <a:off x="3913781" y="1784402"/>
              <a:ext cx="184591" cy="72769"/>
              <a:chOff x="3913781" y="1784402"/>
              <a:chExt cx="184591" cy="72769"/>
            </a:xfrm>
          </p:grpSpPr>
          <p:sp>
            <p:nvSpPr>
              <p:cNvPr id="658" name="Forma livre: Forma 657">
                <a:extLst>
                  <a:ext uri="{FF2B5EF4-FFF2-40B4-BE49-F238E27FC236}">
                    <a16:creationId xmlns:a16="http://schemas.microsoft.com/office/drawing/2014/main" id="{102F935F-345D-6E34-6E03-A32B5CB71784}"/>
                  </a:ext>
                </a:extLst>
              </p:cNvPr>
              <p:cNvSpPr/>
              <p:nvPr/>
            </p:nvSpPr>
            <p:spPr>
              <a:xfrm>
                <a:off x="3913781" y="1784402"/>
                <a:ext cx="1193" cy="54102"/>
              </a:xfrm>
              <a:custGeom>
                <a:avLst/>
                <a:gdLst>
                  <a:gd name="connsiteX0" fmla="*/ 0 w 1193"/>
                  <a:gd name="connsiteY0" fmla="*/ 0 h 54102"/>
                  <a:gd name="connsiteX1" fmla="*/ 0 w 1193"/>
                  <a:gd name="connsiteY1" fmla="*/ 54103 h 541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3" h="54102">
                    <a:moveTo>
                      <a:pt x="0" y="0"/>
                    </a:moveTo>
                    <a:lnTo>
                      <a:pt x="0" y="54103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659" name="Forma livre: Forma 658">
                <a:extLst>
                  <a:ext uri="{FF2B5EF4-FFF2-40B4-BE49-F238E27FC236}">
                    <a16:creationId xmlns:a16="http://schemas.microsoft.com/office/drawing/2014/main" id="{6E5A2B9A-67A8-C804-5F67-0958967D70A0}"/>
                  </a:ext>
                </a:extLst>
              </p:cNvPr>
              <p:cNvSpPr/>
              <p:nvPr/>
            </p:nvSpPr>
            <p:spPr>
              <a:xfrm>
                <a:off x="4098372" y="1784402"/>
                <a:ext cx="1193" cy="72769"/>
              </a:xfrm>
              <a:custGeom>
                <a:avLst/>
                <a:gdLst>
                  <a:gd name="connsiteX0" fmla="*/ 0 w 1193"/>
                  <a:gd name="connsiteY0" fmla="*/ 0 h 72769"/>
                  <a:gd name="connsiteX1" fmla="*/ 0 w 1193"/>
                  <a:gd name="connsiteY1" fmla="*/ 72769 h 727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3" h="72769">
                    <a:moveTo>
                      <a:pt x="0" y="0"/>
                    </a:moveTo>
                    <a:lnTo>
                      <a:pt x="0" y="72769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660" name="Gráfico 4">
              <a:extLst>
                <a:ext uri="{FF2B5EF4-FFF2-40B4-BE49-F238E27FC236}">
                  <a16:creationId xmlns:a16="http://schemas.microsoft.com/office/drawing/2014/main" id="{26037C41-855B-8421-4A67-E61127D079C3}"/>
                </a:ext>
              </a:extLst>
            </p:cNvPr>
            <p:cNvGrpSpPr/>
            <p:nvPr/>
          </p:nvGrpSpPr>
          <p:grpSpPr>
            <a:xfrm>
              <a:off x="3951270" y="1806077"/>
              <a:ext cx="109649" cy="14799"/>
              <a:chOff x="3951270" y="1806077"/>
              <a:chExt cx="109649" cy="14799"/>
            </a:xfrm>
          </p:grpSpPr>
          <p:sp>
            <p:nvSpPr>
              <p:cNvPr id="661" name="Forma livre: Forma 660">
                <a:extLst>
                  <a:ext uri="{FF2B5EF4-FFF2-40B4-BE49-F238E27FC236}">
                    <a16:creationId xmlns:a16="http://schemas.microsoft.com/office/drawing/2014/main" id="{AA9904AF-3F5F-DF09-4F43-FDB3564ADE62}"/>
                  </a:ext>
                </a:extLst>
              </p:cNvPr>
              <p:cNvSpPr/>
              <p:nvPr/>
            </p:nvSpPr>
            <p:spPr>
              <a:xfrm>
                <a:off x="3951270" y="1806077"/>
                <a:ext cx="1193" cy="14799"/>
              </a:xfrm>
              <a:custGeom>
                <a:avLst/>
                <a:gdLst>
                  <a:gd name="connsiteX0" fmla="*/ 0 w 1193"/>
                  <a:gd name="connsiteY0" fmla="*/ 0 h 14799"/>
                  <a:gd name="connsiteX1" fmla="*/ 0 w 1193"/>
                  <a:gd name="connsiteY1" fmla="*/ 14800 h 147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3" h="14799">
                    <a:moveTo>
                      <a:pt x="0" y="0"/>
                    </a:moveTo>
                    <a:lnTo>
                      <a:pt x="0" y="1480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662" name="Forma livre: Forma 661">
                <a:extLst>
                  <a:ext uri="{FF2B5EF4-FFF2-40B4-BE49-F238E27FC236}">
                    <a16:creationId xmlns:a16="http://schemas.microsoft.com/office/drawing/2014/main" id="{8F7D03E2-F7CB-1A2B-0E19-0BB1A10E174C}"/>
                  </a:ext>
                </a:extLst>
              </p:cNvPr>
              <p:cNvSpPr/>
              <p:nvPr/>
            </p:nvSpPr>
            <p:spPr>
              <a:xfrm>
                <a:off x="4060920" y="1806077"/>
                <a:ext cx="1193" cy="14799"/>
              </a:xfrm>
              <a:custGeom>
                <a:avLst/>
                <a:gdLst>
                  <a:gd name="connsiteX0" fmla="*/ 0 w 1193"/>
                  <a:gd name="connsiteY0" fmla="*/ 0 h 14799"/>
                  <a:gd name="connsiteX1" fmla="*/ 0 w 1193"/>
                  <a:gd name="connsiteY1" fmla="*/ 14800 h 147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3" h="14799">
                    <a:moveTo>
                      <a:pt x="0" y="0"/>
                    </a:moveTo>
                    <a:lnTo>
                      <a:pt x="0" y="1480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663" name="Gráfico 4">
              <a:extLst>
                <a:ext uri="{FF2B5EF4-FFF2-40B4-BE49-F238E27FC236}">
                  <a16:creationId xmlns:a16="http://schemas.microsoft.com/office/drawing/2014/main" id="{6C1C0EFB-AE36-3D91-1C37-55E7ADBB15B3}"/>
                </a:ext>
              </a:extLst>
            </p:cNvPr>
            <p:cNvGrpSpPr/>
            <p:nvPr/>
          </p:nvGrpSpPr>
          <p:grpSpPr>
            <a:xfrm>
              <a:off x="3956510" y="1720143"/>
              <a:ext cx="99146" cy="14799"/>
              <a:chOff x="3956510" y="1720143"/>
              <a:chExt cx="99146" cy="14799"/>
            </a:xfrm>
          </p:grpSpPr>
          <p:sp>
            <p:nvSpPr>
              <p:cNvPr id="664" name="Forma livre: Forma 663">
                <a:extLst>
                  <a:ext uri="{FF2B5EF4-FFF2-40B4-BE49-F238E27FC236}">
                    <a16:creationId xmlns:a16="http://schemas.microsoft.com/office/drawing/2014/main" id="{39856F70-37D0-8B30-3FAC-5A135D679982}"/>
                  </a:ext>
                </a:extLst>
              </p:cNvPr>
              <p:cNvSpPr/>
              <p:nvPr/>
            </p:nvSpPr>
            <p:spPr>
              <a:xfrm>
                <a:off x="3956510" y="1720143"/>
                <a:ext cx="1193" cy="14799"/>
              </a:xfrm>
              <a:custGeom>
                <a:avLst/>
                <a:gdLst>
                  <a:gd name="connsiteX0" fmla="*/ 0 w 1193"/>
                  <a:gd name="connsiteY0" fmla="*/ 0 h 14799"/>
                  <a:gd name="connsiteX1" fmla="*/ 0 w 1193"/>
                  <a:gd name="connsiteY1" fmla="*/ 14800 h 147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3" h="14799">
                    <a:moveTo>
                      <a:pt x="0" y="0"/>
                    </a:moveTo>
                    <a:lnTo>
                      <a:pt x="0" y="1480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665" name="Forma livre: Forma 664">
                <a:extLst>
                  <a:ext uri="{FF2B5EF4-FFF2-40B4-BE49-F238E27FC236}">
                    <a16:creationId xmlns:a16="http://schemas.microsoft.com/office/drawing/2014/main" id="{3DB387AA-3DC3-315A-05AE-86960EDA5242}"/>
                  </a:ext>
                </a:extLst>
              </p:cNvPr>
              <p:cNvSpPr/>
              <p:nvPr/>
            </p:nvSpPr>
            <p:spPr>
              <a:xfrm>
                <a:off x="3989558" y="1720143"/>
                <a:ext cx="1193" cy="14799"/>
              </a:xfrm>
              <a:custGeom>
                <a:avLst/>
                <a:gdLst>
                  <a:gd name="connsiteX0" fmla="*/ 0 w 1193"/>
                  <a:gd name="connsiteY0" fmla="*/ 0 h 14799"/>
                  <a:gd name="connsiteX1" fmla="*/ 0 w 1193"/>
                  <a:gd name="connsiteY1" fmla="*/ 14800 h 147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3" h="14799">
                    <a:moveTo>
                      <a:pt x="0" y="0"/>
                    </a:moveTo>
                    <a:lnTo>
                      <a:pt x="0" y="1480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666" name="Forma livre: Forma 665">
                <a:extLst>
                  <a:ext uri="{FF2B5EF4-FFF2-40B4-BE49-F238E27FC236}">
                    <a16:creationId xmlns:a16="http://schemas.microsoft.com/office/drawing/2014/main" id="{ADBC70A1-3AA5-AEC1-2828-B694E9D437C2}"/>
                  </a:ext>
                </a:extLst>
              </p:cNvPr>
              <p:cNvSpPr/>
              <p:nvPr/>
            </p:nvSpPr>
            <p:spPr>
              <a:xfrm>
                <a:off x="4022607" y="1720143"/>
                <a:ext cx="1193" cy="14799"/>
              </a:xfrm>
              <a:custGeom>
                <a:avLst/>
                <a:gdLst>
                  <a:gd name="connsiteX0" fmla="*/ 0 w 1193"/>
                  <a:gd name="connsiteY0" fmla="*/ 0 h 14799"/>
                  <a:gd name="connsiteX1" fmla="*/ 0 w 1193"/>
                  <a:gd name="connsiteY1" fmla="*/ 14800 h 147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3" h="14799">
                    <a:moveTo>
                      <a:pt x="0" y="0"/>
                    </a:moveTo>
                    <a:lnTo>
                      <a:pt x="0" y="1480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667" name="Forma livre: Forma 666">
                <a:extLst>
                  <a:ext uri="{FF2B5EF4-FFF2-40B4-BE49-F238E27FC236}">
                    <a16:creationId xmlns:a16="http://schemas.microsoft.com/office/drawing/2014/main" id="{EFDB085A-224B-C89E-9BED-16C20E5A3275}"/>
                  </a:ext>
                </a:extLst>
              </p:cNvPr>
              <p:cNvSpPr/>
              <p:nvPr/>
            </p:nvSpPr>
            <p:spPr>
              <a:xfrm>
                <a:off x="4055656" y="1720143"/>
                <a:ext cx="1193" cy="14799"/>
              </a:xfrm>
              <a:custGeom>
                <a:avLst/>
                <a:gdLst>
                  <a:gd name="connsiteX0" fmla="*/ 0 w 1193"/>
                  <a:gd name="connsiteY0" fmla="*/ 0 h 14799"/>
                  <a:gd name="connsiteX1" fmla="*/ 0 w 1193"/>
                  <a:gd name="connsiteY1" fmla="*/ 14800 h 147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3" h="14799">
                    <a:moveTo>
                      <a:pt x="0" y="0"/>
                    </a:moveTo>
                    <a:lnTo>
                      <a:pt x="0" y="1480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668" name="Gráfico 4">
              <a:extLst>
                <a:ext uri="{FF2B5EF4-FFF2-40B4-BE49-F238E27FC236}">
                  <a16:creationId xmlns:a16="http://schemas.microsoft.com/office/drawing/2014/main" id="{2D3862E9-1676-17A9-C7B5-9FDDA7A620B9}"/>
                </a:ext>
              </a:extLst>
            </p:cNvPr>
            <p:cNvGrpSpPr/>
            <p:nvPr/>
          </p:nvGrpSpPr>
          <p:grpSpPr>
            <a:xfrm>
              <a:off x="3973028" y="1635999"/>
              <a:ext cx="66097" cy="14799"/>
              <a:chOff x="3973028" y="1635999"/>
              <a:chExt cx="66097" cy="14799"/>
            </a:xfrm>
          </p:grpSpPr>
          <p:sp>
            <p:nvSpPr>
              <p:cNvPr id="669" name="Forma livre: Forma 668">
                <a:extLst>
                  <a:ext uri="{FF2B5EF4-FFF2-40B4-BE49-F238E27FC236}">
                    <a16:creationId xmlns:a16="http://schemas.microsoft.com/office/drawing/2014/main" id="{66795E7F-A7F4-79E8-B3C6-48276E31CA89}"/>
                  </a:ext>
                </a:extLst>
              </p:cNvPr>
              <p:cNvSpPr/>
              <p:nvPr/>
            </p:nvSpPr>
            <p:spPr>
              <a:xfrm>
                <a:off x="3973028" y="1635999"/>
                <a:ext cx="1193" cy="14799"/>
              </a:xfrm>
              <a:custGeom>
                <a:avLst/>
                <a:gdLst>
                  <a:gd name="connsiteX0" fmla="*/ 0 w 1193"/>
                  <a:gd name="connsiteY0" fmla="*/ 0 h 14799"/>
                  <a:gd name="connsiteX1" fmla="*/ 0 w 1193"/>
                  <a:gd name="connsiteY1" fmla="*/ 14800 h 147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3" h="14799">
                    <a:moveTo>
                      <a:pt x="0" y="0"/>
                    </a:moveTo>
                    <a:lnTo>
                      <a:pt x="0" y="1480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670" name="Forma livre: Forma 669">
                <a:extLst>
                  <a:ext uri="{FF2B5EF4-FFF2-40B4-BE49-F238E27FC236}">
                    <a16:creationId xmlns:a16="http://schemas.microsoft.com/office/drawing/2014/main" id="{CE587222-3530-CC53-A7CD-DDD7B3196612}"/>
                  </a:ext>
                </a:extLst>
              </p:cNvPr>
              <p:cNvSpPr/>
              <p:nvPr/>
            </p:nvSpPr>
            <p:spPr>
              <a:xfrm>
                <a:off x="4006077" y="1635999"/>
                <a:ext cx="1193" cy="14799"/>
              </a:xfrm>
              <a:custGeom>
                <a:avLst/>
                <a:gdLst>
                  <a:gd name="connsiteX0" fmla="*/ 0 w 1193"/>
                  <a:gd name="connsiteY0" fmla="*/ 0 h 14799"/>
                  <a:gd name="connsiteX1" fmla="*/ 0 w 1193"/>
                  <a:gd name="connsiteY1" fmla="*/ 14800 h 147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3" h="14799">
                    <a:moveTo>
                      <a:pt x="0" y="0"/>
                    </a:moveTo>
                    <a:lnTo>
                      <a:pt x="0" y="1480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671" name="Forma livre: Forma 670">
                <a:extLst>
                  <a:ext uri="{FF2B5EF4-FFF2-40B4-BE49-F238E27FC236}">
                    <a16:creationId xmlns:a16="http://schemas.microsoft.com/office/drawing/2014/main" id="{14278DBD-48DF-C5E1-1976-7DC5A429DC9B}"/>
                  </a:ext>
                </a:extLst>
              </p:cNvPr>
              <p:cNvSpPr/>
              <p:nvPr/>
            </p:nvSpPr>
            <p:spPr>
              <a:xfrm>
                <a:off x="4039126" y="1635999"/>
                <a:ext cx="1193" cy="14799"/>
              </a:xfrm>
              <a:custGeom>
                <a:avLst/>
                <a:gdLst>
                  <a:gd name="connsiteX0" fmla="*/ 0 w 1193"/>
                  <a:gd name="connsiteY0" fmla="*/ 0 h 14799"/>
                  <a:gd name="connsiteX1" fmla="*/ 0 w 1193"/>
                  <a:gd name="connsiteY1" fmla="*/ 14800 h 147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3" h="14799">
                    <a:moveTo>
                      <a:pt x="0" y="0"/>
                    </a:moveTo>
                    <a:lnTo>
                      <a:pt x="0" y="1480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672" name="Forma livre: Forma 671">
              <a:extLst>
                <a:ext uri="{FF2B5EF4-FFF2-40B4-BE49-F238E27FC236}">
                  <a16:creationId xmlns:a16="http://schemas.microsoft.com/office/drawing/2014/main" id="{A3E1F5CD-AB19-0124-E093-C9633761ECA0}"/>
                </a:ext>
              </a:extLst>
            </p:cNvPr>
            <p:cNvSpPr/>
            <p:nvPr/>
          </p:nvSpPr>
          <p:spPr>
            <a:xfrm>
              <a:off x="3986503" y="1808118"/>
              <a:ext cx="39147" cy="49053"/>
            </a:xfrm>
            <a:custGeom>
              <a:avLst/>
              <a:gdLst>
                <a:gd name="connsiteX0" fmla="*/ 0 w 39147"/>
                <a:gd name="connsiteY0" fmla="*/ 49054 h 49053"/>
                <a:gd name="connsiteX1" fmla="*/ 0 w 39147"/>
                <a:gd name="connsiteY1" fmla="*/ 0 h 49053"/>
                <a:gd name="connsiteX2" fmla="*/ 39148 w 39147"/>
                <a:gd name="connsiteY2" fmla="*/ 0 h 49053"/>
                <a:gd name="connsiteX3" fmla="*/ 39148 w 39147"/>
                <a:gd name="connsiteY3" fmla="*/ 49054 h 490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147" h="49053">
                  <a:moveTo>
                    <a:pt x="0" y="49054"/>
                  </a:moveTo>
                  <a:lnTo>
                    <a:pt x="0" y="0"/>
                  </a:lnTo>
                  <a:lnTo>
                    <a:pt x="39148" y="0"/>
                  </a:lnTo>
                  <a:lnTo>
                    <a:pt x="39148" y="49054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73" name="Forma livre: Forma 672">
              <a:extLst>
                <a:ext uri="{FF2B5EF4-FFF2-40B4-BE49-F238E27FC236}">
                  <a16:creationId xmlns:a16="http://schemas.microsoft.com/office/drawing/2014/main" id="{93849E29-755B-14CF-2393-2C11A34C7720}"/>
                </a:ext>
              </a:extLst>
            </p:cNvPr>
            <p:cNvSpPr/>
            <p:nvPr/>
          </p:nvSpPr>
          <p:spPr>
            <a:xfrm>
              <a:off x="3888837" y="1857924"/>
              <a:ext cx="235399" cy="1193"/>
            </a:xfrm>
            <a:custGeom>
              <a:avLst/>
              <a:gdLst>
                <a:gd name="connsiteX0" fmla="*/ 0 w 235399"/>
                <a:gd name="connsiteY0" fmla="*/ 0 h 1193"/>
                <a:gd name="connsiteX1" fmla="*/ 235400 w 235399"/>
                <a:gd name="connsiteY1" fmla="*/ 0 h 11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35399" h="1193">
                  <a:moveTo>
                    <a:pt x="0" y="0"/>
                  </a:moveTo>
                  <a:lnTo>
                    <a:pt x="23540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74" name="Forma livre: Forma 673">
              <a:extLst>
                <a:ext uri="{FF2B5EF4-FFF2-40B4-BE49-F238E27FC236}">
                  <a16:creationId xmlns:a16="http://schemas.microsoft.com/office/drawing/2014/main" id="{D8E16021-D253-80F4-01F9-6F927BE0A680}"/>
                </a:ext>
              </a:extLst>
            </p:cNvPr>
            <p:cNvSpPr/>
            <p:nvPr/>
          </p:nvSpPr>
          <p:spPr>
            <a:xfrm>
              <a:off x="4147403" y="1857924"/>
              <a:ext cx="16888" cy="1193"/>
            </a:xfrm>
            <a:custGeom>
              <a:avLst/>
              <a:gdLst>
                <a:gd name="connsiteX0" fmla="*/ 0 w 16888"/>
                <a:gd name="connsiteY0" fmla="*/ 0 h 1193"/>
                <a:gd name="connsiteX1" fmla="*/ 16888 w 16888"/>
                <a:gd name="connsiteY1" fmla="*/ 0 h 11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6888" h="1193">
                  <a:moveTo>
                    <a:pt x="0" y="0"/>
                  </a:moveTo>
                  <a:lnTo>
                    <a:pt x="16888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675" name="Gráfico 4">
            <a:extLst>
              <a:ext uri="{FF2B5EF4-FFF2-40B4-BE49-F238E27FC236}">
                <a16:creationId xmlns:a16="http://schemas.microsoft.com/office/drawing/2014/main" id="{C73BF58E-CD94-152E-18F9-AFDBBE2CD214}"/>
              </a:ext>
            </a:extLst>
          </p:cNvPr>
          <p:cNvGrpSpPr/>
          <p:nvPr/>
        </p:nvGrpSpPr>
        <p:grpSpPr>
          <a:xfrm>
            <a:off x="2582890" y="1552858"/>
            <a:ext cx="358189" cy="305065"/>
            <a:chOff x="2582890" y="1552858"/>
            <a:chExt cx="358189" cy="305065"/>
          </a:xfrm>
          <a:noFill/>
        </p:grpSpPr>
        <p:sp>
          <p:nvSpPr>
            <p:cNvPr id="676" name="Forma livre: Forma 675">
              <a:extLst>
                <a:ext uri="{FF2B5EF4-FFF2-40B4-BE49-F238E27FC236}">
                  <a16:creationId xmlns:a16="http://schemas.microsoft.com/office/drawing/2014/main" id="{30D291C7-732E-DE4D-FA81-890BD0A6A3DD}"/>
                </a:ext>
              </a:extLst>
            </p:cNvPr>
            <p:cNvSpPr/>
            <p:nvPr/>
          </p:nvSpPr>
          <p:spPr>
            <a:xfrm>
              <a:off x="2633603" y="1744777"/>
              <a:ext cx="215145" cy="1193"/>
            </a:xfrm>
            <a:custGeom>
              <a:avLst/>
              <a:gdLst>
                <a:gd name="connsiteX0" fmla="*/ 0 w 215145"/>
                <a:gd name="connsiteY0" fmla="*/ 0 h 1193"/>
                <a:gd name="connsiteX1" fmla="*/ 215145 w 215145"/>
                <a:gd name="connsiteY1" fmla="*/ 0 h 11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15145" h="1193">
                  <a:moveTo>
                    <a:pt x="0" y="0"/>
                  </a:moveTo>
                  <a:lnTo>
                    <a:pt x="215145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77" name="Forma livre: Forma 676">
              <a:extLst>
                <a:ext uri="{FF2B5EF4-FFF2-40B4-BE49-F238E27FC236}">
                  <a16:creationId xmlns:a16="http://schemas.microsoft.com/office/drawing/2014/main" id="{4BE38FD2-0DA7-197E-3A98-963DFF6C10FD}"/>
                </a:ext>
              </a:extLst>
            </p:cNvPr>
            <p:cNvSpPr/>
            <p:nvPr/>
          </p:nvSpPr>
          <p:spPr>
            <a:xfrm>
              <a:off x="2667070" y="1666470"/>
              <a:ext cx="148928" cy="75598"/>
            </a:xfrm>
            <a:custGeom>
              <a:avLst/>
              <a:gdLst>
                <a:gd name="connsiteX0" fmla="*/ 0 w 148928"/>
                <a:gd name="connsiteY0" fmla="*/ 57230 h 75598"/>
                <a:gd name="connsiteX1" fmla="*/ 73342 w 148928"/>
                <a:gd name="connsiteY1" fmla="*/ 0 h 75598"/>
                <a:gd name="connsiteX2" fmla="*/ 148928 w 148928"/>
                <a:gd name="connsiteY2" fmla="*/ 75598 h 755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48928" h="75598">
                  <a:moveTo>
                    <a:pt x="0" y="57230"/>
                  </a:moveTo>
                  <a:cubicBezTo>
                    <a:pt x="8211" y="24360"/>
                    <a:pt x="37930" y="0"/>
                    <a:pt x="73342" y="0"/>
                  </a:cubicBezTo>
                  <a:cubicBezTo>
                    <a:pt x="115092" y="0"/>
                    <a:pt x="148928" y="33848"/>
                    <a:pt x="148928" y="75598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78" name="Forma livre: Forma 677">
              <a:extLst>
                <a:ext uri="{FF2B5EF4-FFF2-40B4-BE49-F238E27FC236}">
                  <a16:creationId xmlns:a16="http://schemas.microsoft.com/office/drawing/2014/main" id="{AFDB5E5C-E09F-5D63-F68F-031DD75A14D9}"/>
                </a:ext>
              </a:extLst>
            </p:cNvPr>
            <p:cNvSpPr/>
            <p:nvPr/>
          </p:nvSpPr>
          <p:spPr>
            <a:xfrm>
              <a:off x="2741176" y="1643721"/>
              <a:ext cx="1193" cy="22760"/>
            </a:xfrm>
            <a:custGeom>
              <a:avLst/>
              <a:gdLst>
                <a:gd name="connsiteX0" fmla="*/ 0 w 1193"/>
                <a:gd name="connsiteY0" fmla="*/ 22761 h 22760"/>
                <a:gd name="connsiteX1" fmla="*/ 0 w 1193"/>
                <a:gd name="connsiteY1" fmla="*/ 0 h 227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93" h="22760">
                  <a:moveTo>
                    <a:pt x="0" y="22761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79" name="Forma livre: Forma 678">
              <a:extLst>
                <a:ext uri="{FF2B5EF4-FFF2-40B4-BE49-F238E27FC236}">
                  <a16:creationId xmlns:a16="http://schemas.microsoft.com/office/drawing/2014/main" id="{F92C3E94-5FE1-C551-E883-81F357B9BDD2}"/>
                </a:ext>
              </a:extLst>
            </p:cNvPr>
            <p:cNvSpPr/>
            <p:nvPr/>
          </p:nvSpPr>
          <p:spPr>
            <a:xfrm>
              <a:off x="2727727" y="1606471"/>
              <a:ext cx="29441" cy="31828"/>
            </a:xfrm>
            <a:custGeom>
              <a:avLst/>
              <a:gdLst>
                <a:gd name="connsiteX0" fmla="*/ 29442 w 29441"/>
                <a:gd name="connsiteY0" fmla="*/ 27702 h 31828"/>
                <a:gd name="connsiteX1" fmla="*/ 4127 w 29441"/>
                <a:gd name="connsiteY1" fmla="*/ 25315 h 31828"/>
                <a:gd name="connsiteX2" fmla="*/ 6514 w 29441"/>
                <a:gd name="connsiteY2" fmla="*/ 0 h 318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9441" h="31828">
                  <a:moveTo>
                    <a:pt x="29442" y="27702"/>
                  </a:moveTo>
                  <a:cubicBezTo>
                    <a:pt x="21791" y="34027"/>
                    <a:pt x="10453" y="32965"/>
                    <a:pt x="4127" y="25315"/>
                  </a:cubicBezTo>
                  <a:cubicBezTo>
                    <a:pt x="-2199" y="17664"/>
                    <a:pt x="-1136" y="6338"/>
                    <a:pt x="6514" y="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80" name="Forma livre: Forma 679">
              <a:extLst>
                <a:ext uri="{FF2B5EF4-FFF2-40B4-BE49-F238E27FC236}">
                  <a16:creationId xmlns:a16="http://schemas.microsoft.com/office/drawing/2014/main" id="{3E2D2AAD-E923-F609-30D0-F280D97BCF0B}"/>
                </a:ext>
              </a:extLst>
            </p:cNvPr>
            <p:cNvSpPr/>
            <p:nvPr/>
          </p:nvSpPr>
          <p:spPr>
            <a:xfrm>
              <a:off x="2713331" y="1779199"/>
              <a:ext cx="55690" cy="75550"/>
            </a:xfrm>
            <a:custGeom>
              <a:avLst/>
              <a:gdLst>
                <a:gd name="connsiteX0" fmla="*/ 0 w 55690"/>
                <a:gd name="connsiteY0" fmla="*/ 59271 h 75550"/>
                <a:gd name="connsiteX1" fmla="*/ 0 w 55690"/>
                <a:gd name="connsiteY1" fmla="*/ 28645 h 75550"/>
                <a:gd name="connsiteX2" fmla="*/ 27845 w 55690"/>
                <a:gd name="connsiteY2" fmla="*/ 0 h 75550"/>
                <a:gd name="connsiteX3" fmla="*/ 55690 w 55690"/>
                <a:gd name="connsiteY3" fmla="*/ 28645 h 75550"/>
                <a:gd name="connsiteX4" fmla="*/ 55690 w 55690"/>
                <a:gd name="connsiteY4" fmla="*/ 75550 h 755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690" h="75550">
                  <a:moveTo>
                    <a:pt x="0" y="59271"/>
                  </a:moveTo>
                  <a:lnTo>
                    <a:pt x="0" y="28645"/>
                  </a:lnTo>
                  <a:cubicBezTo>
                    <a:pt x="0" y="12890"/>
                    <a:pt x="12532" y="0"/>
                    <a:pt x="27845" y="0"/>
                  </a:cubicBezTo>
                  <a:cubicBezTo>
                    <a:pt x="43158" y="0"/>
                    <a:pt x="55690" y="12890"/>
                    <a:pt x="55690" y="28645"/>
                  </a:cubicBezTo>
                  <a:lnTo>
                    <a:pt x="55690" y="7555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81" name="Forma livre: Forma 680">
              <a:extLst>
                <a:ext uri="{FF2B5EF4-FFF2-40B4-BE49-F238E27FC236}">
                  <a16:creationId xmlns:a16="http://schemas.microsoft.com/office/drawing/2014/main" id="{930B5951-4C93-98B9-463C-116ADA908EC0}"/>
                </a:ext>
              </a:extLst>
            </p:cNvPr>
            <p:cNvSpPr/>
            <p:nvPr/>
          </p:nvSpPr>
          <p:spPr>
            <a:xfrm>
              <a:off x="2924311" y="1857924"/>
              <a:ext cx="16769" cy="1193"/>
            </a:xfrm>
            <a:custGeom>
              <a:avLst/>
              <a:gdLst>
                <a:gd name="connsiteX0" fmla="*/ 0 w 16769"/>
                <a:gd name="connsiteY0" fmla="*/ 0 h 1193"/>
                <a:gd name="connsiteX1" fmla="*/ 16769 w 16769"/>
                <a:gd name="connsiteY1" fmla="*/ 0 h 11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6769" h="1193">
                  <a:moveTo>
                    <a:pt x="0" y="0"/>
                  </a:moveTo>
                  <a:lnTo>
                    <a:pt x="16769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82" name="Forma livre: Forma 681">
              <a:extLst>
                <a:ext uri="{FF2B5EF4-FFF2-40B4-BE49-F238E27FC236}">
                  <a16:creationId xmlns:a16="http://schemas.microsoft.com/office/drawing/2014/main" id="{642737F2-CCE0-239A-552C-FCAAC6FB41D4}"/>
                </a:ext>
              </a:extLst>
            </p:cNvPr>
            <p:cNvSpPr/>
            <p:nvPr/>
          </p:nvSpPr>
          <p:spPr>
            <a:xfrm>
              <a:off x="2582890" y="1857924"/>
              <a:ext cx="319053" cy="1193"/>
            </a:xfrm>
            <a:custGeom>
              <a:avLst/>
              <a:gdLst>
                <a:gd name="connsiteX0" fmla="*/ 0 w 319053"/>
                <a:gd name="connsiteY0" fmla="*/ 0 h 1193"/>
                <a:gd name="connsiteX1" fmla="*/ 319054 w 319053"/>
                <a:gd name="connsiteY1" fmla="*/ 0 h 11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19053" h="1193">
                  <a:moveTo>
                    <a:pt x="0" y="0"/>
                  </a:moveTo>
                  <a:lnTo>
                    <a:pt x="319054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683" name="Gráfico 4">
              <a:extLst>
                <a:ext uri="{FF2B5EF4-FFF2-40B4-BE49-F238E27FC236}">
                  <a16:creationId xmlns:a16="http://schemas.microsoft.com/office/drawing/2014/main" id="{2827D3AB-9706-A866-E12A-78BACCDFF3D8}"/>
                </a:ext>
              </a:extLst>
            </p:cNvPr>
            <p:cNvGrpSpPr/>
            <p:nvPr/>
          </p:nvGrpSpPr>
          <p:grpSpPr>
            <a:xfrm>
              <a:off x="2671951" y="1776764"/>
              <a:ext cx="138449" cy="24658"/>
              <a:chOff x="2671951" y="1776764"/>
              <a:chExt cx="138449" cy="24658"/>
            </a:xfrm>
          </p:grpSpPr>
          <p:sp>
            <p:nvSpPr>
              <p:cNvPr id="684" name="Forma livre: Forma 683">
                <a:extLst>
                  <a:ext uri="{FF2B5EF4-FFF2-40B4-BE49-F238E27FC236}">
                    <a16:creationId xmlns:a16="http://schemas.microsoft.com/office/drawing/2014/main" id="{D25256E6-905C-E28C-B047-813E4D6F3BB1}"/>
                  </a:ext>
                </a:extLst>
              </p:cNvPr>
              <p:cNvSpPr/>
              <p:nvPr/>
            </p:nvSpPr>
            <p:spPr>
              <a:xfrm>
                <a:off x="2671951" y="1776764"/>
                <a:ext cx="1193" cy="24658"/>
              </a:xfrm>
              <a:custGeom>
                <a:avLst/>
                <a:gdLst>
                  <a:gd name="connsiteX0" fmla="*/ 0 w 1193"/>
                  <a:gd name="connsiteY0" fmla="*/ 0 h 24658"/>
                  <a:gd name="connsiteX1" fmla="*/ 0 w 1193"/>
                  <a:gd name="connsiteY1" fmla="*/ 24658 h 246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3" h="24658">
                    <a:moveTo>
                      <a:pt x="0" y="0"/>
                    </a:moveTo>
                    <a:lnTo>
                      <a:pt x="0" y="24658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685" name="Forma livre: Forma 684">
                <a:extLst>
                  <a:ext uri="{FF2B5EF4-FFF2-40B4-BE49-F238E27FC236}">
                    <a16:creationId xmlns:a16="http://schemas.microsoft.com/office/drawing/2014/main" id="{F29DF6C5-8CAF-DA9B-A053-E3BA1ACBA05E}"/>
                  </a:ext>
                </a:extLst>
              </p:cNvPr>
              <p:cNvSpPr/>
              <p:nvPr/>
            </p:nvSpPr>
            <p:spPr>
              <a:xfrm>
                <a:off x="2810401" y="1776764"/>
                <a:ext cx="1193" cy="24658"/>
              </a:xfrm>
              <a:custGeom>
                <a:avLst/>
                <a:gdLst>
                  <a:gd name="connsiteX0" fmla="*/ 0 w 1193"/>
                  <a:gd name="connsiteY0" fmla="*/ 0 h 24658"/>
                  <a:gd name="connsiteX1" fmla="*/ 0 w 1193"/>
                  <a:gd name="connsiteY1" fmla="*/ 24658 h 246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3" h="24658">
                    <a:moveTo>
                      <a:pt x="0" y="0"/>
                    </a:moveTo>
                    <a:lnTo>
                      <a:pt x="0" y="24658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686" name="Gráfico 4">
              <a:extLst>
                <a:ext uri="{FF2B5EF4-FFF2-40B4-BE49-F238E27FC236}">
                  <a16:creationId xmlns:a16="http://schemas.microsoft.com/office/drawing/2014/main" id="{B075687A-A308-17C0-574F-9847EEB4B37C}"/>
                </a:ext>
              </a:extLst>
            </p:cNvPr>
            <p:cNvGrpSpPr/>
            <p:nvPr/>
          </p:nvGrpSpPr>
          <p:grpSpPr>
            <a:xfrm>
              <a:off x="2587473" y="1552858"/>
              <a:ext cx="307405" cy="302511"/>
              <a:chOff x="2587473" y="1552858"/>
              <a:chExt cx="307405" cy="302511"/>
            </a:xfrm>
            <a:noFill/>
          </p:grpSpPr>
          <p:grpSp>
            <p:nvGrpSpPr>
              <p:cNvPr id="687" name="Gráfico 4">
                <a:extLst>
                  <a:ext uri="{FF2B5EF4-FFF2-40B4-BE49-F238E27FC236}">
                    <a16:creationId xmlns:a16="http://schemas.microsoft.com/office/drawing/2014/main" id="{9C326452-B855-9FBC-691F-E52757B1FE28}"/>
                  </a:ext>
                </a:extLst>
              </p:cNvPr>
              <p:cNvGrpSpPr/>
              <p:nvPr/>
            </p:nvGrpSpPr>
            <p:grpSpPr>
              <a:xfrm>
                <a:off x="2587473" y="1552858"/>
                <a:ext cx="61669" cy="302511"/>
                <a:chOff x="2587473" y="1552858"/>
                <a:chExt cx="61669" cy="302511"/>
              </a:xfrm>
              <a:noFill/>
            </p:grpSpPr>
            <p:grpSp>
              <p:nvGrpSpPr>
                <p:cNvPr id="688" name="Gráfico 4">
                  <a:extLst>
                    <a:ext uri="{FF2B5EF4-FFF2-40B4-BE49-F238E27FC236}">
                      <a16:creationId xmlns:a16="http://schemas.microsoft.com/office/drawing/2014/main" id="{BDB048E9-02DC-BEA2-C0BF-AD085365D700}"/>
                    </a:ext>
                  </a:extLst>
                </p:cNvPr>
                <p:cNvGrpSpPr/>
                <p:nvPr/>
              </p:nvGrpSpPr>
              <p:grpSpPr>
                <a:xfrm>
                  <a:off x="2605579" y="1661553"/>
                  <a:ext cx="25457" cy="193817"/>
                  <a:chOff x="2605579" y="1661553"/>
                  <a:chExt cx="25457" cy="193817"/>
                </a:xfrm>
              </p:grpSpPr>
              <p:sp>
                <p:nvSpPr>
                  <p:cNvPr id="689" name="Forma livre: Forma 688">
                    <a:extLst>
                      <a:ext uri="{FF2B5EF4-FFF2-40B4-BE49-F238E27FC236}">
                        <a16:creationId xmlns:a16="http://schemas.microsoft.com/office/drawing/2014/main" id="{9CF56DEB-C31D-F46C-CC7C-E73DA6BAC9FC}"/>
                      </a:ext>
                    </a:extLst>
                  </p:cNvPr>
                  <p:cNvSpPr/>
                  <p:nvPr/>
                </p:nvSpPr>
                <p:spPr>
                  <a:xfrm>
                    <a:off x="2631037" y="1661553"/>
                    <a:ext cx="1193" cy="193817"/>
                  </a:xfrm>
                  <a:custGeom>
                    <a:avLst/>
                    <a:gdLst>
                      <a:gd name="connsiteX0" fmla="*/ 0 w 1193"/>
                      <a:gd name="connsiteY0" fmla="*/ 0 h 193817"/>
                      <a:gd name="connsiteX1" fmla="*/ 0 w 1193"/>
                      <a:gd name="connsiteY1" fmla="*/ 193817 h 19381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193" h="193817">
                        <a:moveTo>
                          <a:pt x="0" y="0"/>
                        </a:moveTo>
                        <a:lnTo>
                          <a:pt x="0" y="193817"/>
                        </a:lnTo>
                      </a:path>
                    </a:pathLst>
                  </a:custGeom>
                  <a:ln w="6350" cap="flat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690" name="Forma livre: Forma 689">
                    <a:extLst>
                      <a:ext uri="{FF2B5EF4-FFF2-40B4-BE49-F238E27FC236}">
                        <a16:creationId xmlns:a16="http://schemas.microsoft.com/office/drawing/2014/main" id="{3B625387-09A5-5904-F70F-FECA13E0B0B1}"/>
                      </a:ext>
                    </a:extLst>
                  </p:cNvPr>
                  <p:cNvSpPr/>
                  <p:nvPr/>
                </p:nvSpPr>
                <p:spPr>
                  <a:xfrm>
                    <a:off x="2605579" y="1661553"/>
                    <a:ext cx="1193" cy="176916"/>
                  </a:xfrm>
                  <a:custGeom>
                    <a:avLst/>
                    <a:gdLst>
                      <a:gd name="connsiteX0" fmla="*/ 0 w 1193"/>
                      <a:gd name="connsiteY0" fmla="*/ 176917 h 176916"/>
                      <a:gd name="connsiteX1" fmla="*/ 0 w 1193"/>
                      <a:gd name="connsiteY1" fmla="*/ 0 h 17691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193" h="176916">
                        <a:moveTo>
                          <a:pt x="0" y="176917"/>
                        </a:moveTo>
                        <a:lnTo>
                          <a:pt x="0" y="0"/>
                        </a:lnTo>
                      </a:path>
                    </a:pathLst>
                  </a:custGeom>
                  <a:ln w="6350" cap="flat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  <p:sp>
              <p:nvSpPr>
                <p:cNvPr id="691" name="Forma livre: Forma 690">
                  <a:extLst>
                    <a:ext uri="{FF2B5EF4-FFF2-40B4-BE49-F238E27FC236}">
                      <a16:creationId xmlns:a16="http://schemas.microsoft.com/office/drawing/2014/main" id="{E9D7243D-0390-808D-F72F-98E098F851EC}"/>
                    </a:ext>
                  </a:extLst>
                </p:cNvPr>
                <p:cNvSpPr/>
                <p:nvPr/>
              </p:nvSpPr>
              <p:spPr>
                <a:xfrm>
                  <a:off x="2606355" y="1552858"/>
                  <a:ext cx="27546" cy="80360"/>
                </a:xfrm>
                <a:custGeom>
                  <a:avLst/>
                  <a:gdLst>
                    <a:gd name="connsiteX0" fmla="*/ 27547 w 27546"/>
                    <a:gd name="connsiteY0" fmla="*/ 80360 h 80360"/>
                    <a:gd name="connsiteX1" fmla="*/ 11959 w 27546"/>
                    <a:gd name="connsiteY1" fmla="*/ 0 h 80360"/>
                    <a:gd name="connsiteX2" fmla="*/ 0 w 27546"/>
                    <a:gd name="connsiteY2" fmla="*/ 61598 h 8036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27546" h="80360">
                      <a:moveTo>
                        <a:pt x="27547" y="80360"/>
                      </a:moveTo>
                      <a:lnTo>
                        <a:pt x="11959" y="0"/>
                      </a:lnTo>
                      <a:lnTo>
                        <a:pt x="0" y="61598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692" name="Forma livre: Forma 691">
                  <a:extLst>
                    <a:ext uri="{FF2B5EF4-FFF2-40B4-BE49-F238E27FC236}">
                      <a16:creationId xmlns:a16="http://schemas.microsoft.com/office/drawing/2014/main" id="{A7606C2D-A715-D886-295F-3041AD2ED268}"/>
                    </a:ext>
                  </a:extLst>
                </p:cNvPr>
                <p:cNvSpPr/>
                <p:nvPr/>
              </p:nvSpPr>
              <p:spPr>
                <a:xfrm>
                  <a:off x="2587473" y="1633863"/>
                  <a:ext cx="61669" cy="27845"/>
                </a:xfrm>
                <a:custGeom>
                  <a:avLst/>
                  <a:gdLst>
                    <a:gd name="connsiteX0" fmla="*/ 43564 w 61669"/>
                    <a:gd name="connsiteY0" fmla="*/ 27845 h 27845"/>
                    <a:gd name="connsiteX1" fmla="*/ 18106 w 61669"/>
                    <a:gd name="connsiteY1" fmla="*/ 27845 h 27845"/>
                    <a:gd name="connsiteX2" fmla="*/ 0 w 61669"/>
                    <a:gd name="connsiteY2" fmla="*/ 0 h 27845"/>
                    <a:gd name="connsiteX3" fmla="*/ 61670 w 61669"/>
                    <a:gd name="connsiteY3" fmla="*/ 0 h 27845"/>
                    <a:gd name="connsiteX4" fmla="*/ 43564 w 61669"/>
                    <a:gd name="connsiteY4" fmla="*/ 27845 h 2784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61669" h="27845">
                      <a:moveTo>
                        <a:pt x="43564" y="27845"/>
                      </a:moveTo>
                      <a:lnTo>
                        <a:pt x="18106" y="27845"/>
                      </a:lnTo>
                      <a:lnTo>
                        <a:pt x="0" y="0"/>
                      </a:lnTo>
                      <a:lnTo>
                        <a:pt x="61670" y="0"/>
                      </a:lnTo>
                      <a:lnTo>
                        <a:pt x="43564" y="27845"/>
                      </a:lnTo>
                      <a:close/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693" name="Gráfico 4">
                <a:extLst>
                  <a:ext uri="{FF2B5EF4-FFF2-40B4-BE49-F238E27FC236}">
                    <a16:creationId xmlns:a16="http://schemas.microsoft.com/office/drawing/2014/main" id="{1C7F00A5-CA92-7A82-19E3-4898286D8EB4}"/>
                  </a:ext>
                </a:extLst>
              </p:cNvPr>
              <p:cNvGrpSpPr/>
              <p:nvPr/>
            </p:nvGrpSpPr>
            <p:grpSpPr>
              <a:xfrm>
                <a:off x="2833209" y="1552858"/>
                <a:ext cx="61669" cy="302511"/>
                <a:chOff x="2833209" y="1552858"/>
                <a:chExt cx="61669" cy="302511"/>
              </a:xfrm>
              <a:noFill/>
            </p:grpSpPr>
            <p:grpSp>
              <p:nvGrpSpPr>
                <p:cNvPr id="694" name="Gráfico 4">
                  <a:extLst>
                    <a:ext uri="{FF2B5EF4-FFF2-40B4-BE49-F238E27FC236}">
                      <a16:creationId xmlns:a16="http://schemas.microsoft.com/office/drawing/2014/main" id="{D317CFDF-0E83-4649-F2EB-618FFAD46216}"/>
                    </a:ext>
                  </a:extLst>
                </p:cNvPr>
                <p:cNvGrpSpPr/>
                <p:nvPr/>
              </p:nvGrpSpPr>
              <p:grpSpPr>
                <a:xfrm>
                  <a:off x="2851315" y="1661553"/>
                  <a:ext cx="25457" cy="193817"/>
                  <a:chOff x="2851315" y="1661553"/>
                  <a:chExt cx="25457" cy="193817"/>
                </a:xfrm>
              </p:grpSpPr>
              <p:sp>
                <p:nvSpPr>
                  <p:cNvPr id="695" name="Forma livre: Forma 694">
                    <a:extLst>
                      <a:ext uri="{FF2B5EF4-FFF2-40B4-BE49-F238E27FC236}">
                        <a16:creationId xmlns:a16="http://schemas.microsoft.com/office/drawing/2014/main" id="{3737160B-1AEF-452A-5395-C40B80829827}"/>
                      </a:ext>
                    </a:extLst>
                  </p:cNvPr>
                  <p:cNvSpPr/>
                  <p:nvPr/>
                </p:nvSpPr>
                <p:spPr>
                  <a:xfrm>
                    <a:off x="2876773" y="1661553"/>
                    <a:ext cx="1193" cy="193817"/>
                  </a:xfrm>
                  <a:custGeom>
                    <a:avLst/>
                    <a:gdLst>
                      <a:gd name="connsiteX0" fmla="*/ 0 w 1193"/>
                      <a:gd name="connsiteY0" fmla="*/ 0 h 193817"/>
                      <a:gd name="connsiteX1" fmla="*/ 0 w 1193"/>
                      <a:gd name="connsiteY1" fmla="*/ 193817 h 19381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193" h="193817">
                        <a:moveTo>
                          <a:pt x="0" y="0"/>
                        </a:moveTo>
                        <a:lnTo>
                          <a:pt x="0" y="193817"/>
                        </a:lnTo>
                      </a:path>
                    </a:pathLst>
                  </a:custGeom>
                  <a:ln w="6350" cap="flat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696" name="Forma livre: Forma 695">
                    <a:extLst>
                      <a:ext uri="{FF2B5EF4-FFF2-40B4-BE49-F238E27FC236}">
                        <a16:creationId xmlns:a16="http://schemas.microsoft.com/office/drawing/2014/main" id="{E04BB3FE-9301-9B3B-2E73-85E84E6D70A8}"/>
                      </a:ext>
                    </a:extLst>
                  </p:cNvPr>
                  <p:cNvSpPr/>
                  <p:nvPr/>
                </p:nvSpPr>
                <p:spPr>
                  <a:xfrm>
                    <a:off x="2851315" y="1661553"/>
                    <a:ext cx="1193" cy="176916"/>
                  </a:xfrm>
                  <a:custGeom>
                    <a:avLst/>
                    <a:gdLst>
                      <a:gd name="connsiteX0" fmla="*/ 0 w 1193"/>
                      <a:gd name="connsiteY0" fmla="*/ 176917 h 176916"/>
                      <a:gd name="connsiteX1" fmla="*/ 0 w 1193"/>
                      <a:gd name="connsiteY1" fmla="*/ 0 h 17691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193" h="176916">
                        <a:moveTo>
                          <a:pt x="0" y="176917"/>
                        </a:moveTo>
                        <a:lnTo>
                          <a:pt x="0" y="0"/>
                        </a:lnTo>
                      </a:path>
                    </a:pathLst>
                  </a:custGeom>
                  <a:ln w="6350" cap="flat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  <p:sp>
              <p:nvSpPr>
                <p:cNvPr id="697" name="Forma livre: Forma 696">
                  <a:extLst>
                    <a:ext uri="{FF2B5EF4-FFF2-40B4-BE49-F238E27FC236}">
                      <a16:creationId xmlns:a16="http://schemas.microsoft.com/office/drawing/2014/main" id="{DCF6F2C8-C3C0-AD59-1F6A-4D03D1E5F79E}"/>
                    </a:ext>
                  </a:extLst>
                </p:cNvPr>
                <p:cNvSpPr/>
                <p:nvPr/>
              </p:nvSpPr>
              <p:spPr>
                <a:xfrm>
                  <a:off x="2852091" y="1552858"/>
                  <a:ext cx="27546" cy="80360"/>
                </a:xfrm>
                <a:custGeom>
                  <a:avLst/>
                  <a:gdLst>
                    <a:gd name="connsiteX0" fmla="*/ 27547 w 27546"/>
                    <a:gd name="connsiteY0" fmla="*/ 80360 h 80360"/>
                    <a:gd name="connsiteX1" fmla="*/ 11959 w 27546"/>
                    <a:gd name="connsiteY1" fmla="*/ 0 h 80360"/>
                    <a:gd name="connsiteX2" fmla="*/ 0 w 27546"/>
                    <a:gd name="connsiteY2" fmla="*/ 61598 h 8036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27546" h="80360">
                      <a:moveTo>
                        <a:pt x="27547" y="80360"/>
                      </a:moveTo>
                      <a:lnTo>
                        <a:pt x="11959" y="0"/>
                      </a:lnTo>
                      <a:lnTo>
                        <a:pt x="0" y="61598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698" name="Forma livre: Forma 697">
                  <a:extLst>
                    <a:ext uri="{FF2B5EF4-FFF2-40B4-BE49-F238E27FC236}">
                      <a16:creationId xmlns:a16="http://schemas.microsoft.com/office/drawing/2014/main" id="{C8327DB9-9541-A299-B683-0A7662C88872}"/>
                    </a:ext>
                  </a:extLst>
                </p:cNvPr>
                <p:cNvSpPr/>
                <p:nvPr/>
              </p:nvSpPr>
              <p:spPr>
                <a:xfrm>
                  <a:off x="2833209" y="1633863"/>
                  <a:ext cx="61669" cy="27845"/>
                </a:xfrm>
                <a:custGeom>
                  <a:avLst/>
                  <a:gdLst>
                    <a:gd name="connsiteX0" fmla="*/ 43564 w 61669"/>
                    <a:gd name="connsiteY0" fmla="*/ 27845 h 27845"/>
                    <a:gd name="connsiteX1" fmla="*/ 18106 w 61669"/>
                    <a:gd name="connsiteY1" fmla="*/ 27845 h 27845"/>
                    <a:gd name="connsiteX2" fmla="*/ 0 w 61669"/>
                    <a:gd name="connsiteY2" fmla="*/ 0 h 27845"/>
                    <a:gd name="connsiteX3" fmla="*/ 61670 w 61669"/>
                    <a:gd name="connsiteY3" fmla="*/ 0 h 27845"/>
                    <a:gd name="connsiteX4" fmla="*/ 43564 w 61669"/>
                    <a:gd name="connsiteY4" fmla="*/ 27845 h 2784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61669" h="27845">
                      <a:moveTo>
                        <a:pt x="43564" y="27845"/>
                      </a:moveTo>
                      <a:lnTo>
                        <a:pt x="18106" y="27845"/>
                      </a:lnTo>
                      <a:lnTo>
                        <a:pt x="0" y="0"/>
                      </a:lnTo>
                      <a:lnTo>
                        <a:pt x="61670" y="0"/>
                      </a:lnTo>
                      <a:lnTo>
                        <a:pt x="43564" y="27845"/>
                      </a:lnTo>
                      <a:close/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</p:grpSp>
      <p:grpSp>
        <p:nvGrpSpPr>
          <p:cNvPr id="699" name="Gráfico 4">
            <a:extLst>
              <a:ext uri="{FF2B5EF4-FFF2-40B4-BE49-F238E27FC236}">
                <a16:creationId xmlns:a16="http://schemas.microsoft.com/office/drawing/2014/main" id="{81C79830-D17C-99EB-01E9-B91C76F04BE7}"/>
              </a:ext>
            </a:extLst>
          </p:cNvPr>
          <p:cNvGrpSpPr/>
          <p:nvPr/>
        </p:nvGrpSpPr>
        <p:grpSpPr>
          <a:xfrm>
            <a:off x="3233414" y="1521874"/>
            <a:ext cx="301231" cy="336049"/>
            <a:chOff x="3233414" y="1521874"/>
            <a:chExt cx="301231" cy="336049"/>
          </a:xfrm>
          <a:noFill/>
        </p:grpSpPr>
        <p:grpSp>
          <p:nvGrpSpPr>
            <p:cNvPr id="700" name="Gráfico 4">
              <a:extLst>
                <a:ext uri="{FF2B5EF4-FFF2-40B4-BE49-F238E27FC236}">
                  <a16:creationId xmlns:a16="http://schemas.microsoft.com/office/drawing/2014/main" id="{40089CDF-CF5E-4D11-B5CA-43FDB5B5B1DD}"/>
                </a:ext>
              </a:extLst>
            </p:cNvPr>
            <p:cNvGrpSpPr/>
            <p:nvPr/>
          </p:nvGrpSpPr>
          <p:grpSpPr>
            <a:xfrm>
              <a:off x="3370523" y="1566595"/>
              <a:ext cx="11" cy="220301"/>
              <a:chOff x="3370523" y="1566595"/>
              <a:chExt cx="11" cy="220301"/>
            </a:xfrm>
          </p:grpSpPr>
          <p:sp>
            <p:nvSpPr>
              <p:cNvPr id="701" name="Forma livre: Forma 700">
                <a:extLst>
                  <a:ext uri="{FF2B5EF4-FFF2-40B4-BE49-F238E27FC236}">
                    <a16:creationId xmlns:a16="http://schemas.microsoft.com/office/drawing/2014/main" id="{B615F332-FE7F-D77E-CA76-32BA59A87876}"/>
                  </a:ext>
                </a:extLst>
              </p:cNvPr>
              <p:cNvSpPr/>
              <p:nvPr/>
            </p:nvSpPr>
            <p:spPr>
              <a:xfrm>
                <a:off x="3370535" y="1566595"/>
                <a:ext cx="1193" cy="94885"/>
              </a:xfrm>
              <a:custGeom>
                <a:avLst/>
                <a:gdLst>
                  <a:gd name="connsiteX0" fmla="*/ 0 w 1193"/>
                  <a:gd name="connsiteY0" fmla="*/ 0 h 94885"/>
                  <a:gd name="connsiteX1" fmla="*/ 0 w 1193"/>
                  <a:gd name="connsiteY1" fmla="*/ 94886 h 948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3" h="94885">
                    <a:moveTo>
                      <a:pt x="0" y="0"/>
                    </a:moveTo>
                    <a:lnTo>
                      <a:pt x="0" y="94886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02" name="Forma livre: Forma 701">
                <a:extLst>
                  <a:ext uri="{FF2B5EF4-FFF2-40B4-BE49-F238E27FC236}">
                    <a16:creationId xmlns:a16="http://schemas.microsoft.com/office/drawing/2014/main" id="{A400AE70-035D-0C71-3DD1-CEEBF5463333}"/>
                  </a:ext>
                </a:extLst>
              </p:cNvPr>
              <p:cNvSpPr/>
              <p:nvPr/>
            </p:nvSpPr>
            <p:spPr>
              <a:xfrm>
                <a:off x="3370523" y="1692739"/>
                <a:ext cx="1193" cy="94157"/>
              </a:xfrm>
              <a:custGeom>
                <a:avLst/>
                <a:gdLst>
                  <a:gd name="connsiteX0" fmla="*/ 0 w 1193"/>
                  <a:gd name="connsiteY0" fmla="*/ 94157 h 94157"/>
                  <a:gd name="connsiteX1" fmla="*/ 0 w 1193"/>
                  <a:gd name="connsiteY1" fmla="*/ 0 h 941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3" h="94157">
                    <a:moveTo>
                      <a:pt x="0" y="94157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703" name="Gráfico 4">
              <a:extLst>
                <a:ext uri="{FF2B5EF4-FFF2-40B4-BE49-F238E27FC236}">
                  <a16:creationId xmlns:a16="http://schemas.microsoft.com/office/drawing/2014/main" id="{6112596D-3BF9-F1A7-02B4-73E11F41568B}"/>
                </a:ext>
              </a:extLst>
            </p:cNvPr>
            <p:cNvGrpSpPr/>
            <p:nvPr/>
          </p:nvGrpSpPr>
          <p:grpSpPr>
            <a:xfrm>
              <a:off x="3233414" y="1587471"/>
              <a:ext cx="274206" cy="46450"/>
              <a:chOff x="3233414" y="1587471"/>
              <a:chExt cx="274206" cy="46450"/>
            </a:xfrm>
            <a:noFill/>
          </p:grpSpPr>
          <p:sp>
            <p:nvSpPr>
              <p:cNvPr id="704" name="Forma livre: Forma 703">
                <a:extLst>
                  <a:ext uri="{FF2B5EF4-FFF2-40B4-BE49-F238E27FC236}">
                    <a16:creationId xmlns:a16="http://schemas.microsoft.com/office/drawing/2014/main" id="{ECC0F69B-FA69-C9C5-F25F-F438B67DD416}"/>
                  </a:ext>
                </a:extLst>
              </p:cNvPr>
              <p:cNvSpPr/>
              <p:nvPr/>
            </p:nvSpPr>
            <p:spPr>
              <a:xfrm>
                <a:off x="3461170" y="1587471"/>
                <a:ext cx="46450" cy="46450"/>
              </a:xfrm>
              <a:custGeom>
                <a:avLst/>
                <a:gdLst>
                  <a:gd name="connsiteX0" fmla="*/ 34889 w 46450"/>
                  <a:gd name="connsiteY0" fmla="*/ 43312 h 46450"/>
                  <a:gd name="connsiteX1" fmla="*/ 3141 w 46450"/>
                  <a:gd name="connsiteY1" fmla="*/ 34874 h 46450"/>
                  <a:gd name="connsiteX2" fmla="*/ 11579 w 46450"/>
                  <a:gd name="connsiteY2" fmla="*/ 3138 h 46450"/>
                  <a:gd name="connsiteX3" fmla="*/ 43315 w 46450"/>
                  <a:gd name="connsiteY3" fmla="*/ 11577 h 46450"/>
                  <a:gd name="connsiteX4" fmla="*/ 34877 w 46450"/>
                  <a:gd name="connsiteY4" fmla="*/ 43312 h 464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6450" h="46450">
                    <a:moveTo>
                      <a:pt x="34889" y="43312"/>
                    </a:moveTo>
                    <a:cubicBezTo>
                      <a:pt x="23789" y="49746"/>
                      <a:pt x="9574" y="45974"/>
                      <a:pt x="3141" y="34874"/>
                    </a:cubicBezTo>
                    <a:cubicBezTo>
                      <a:pt x="-3304" y="23774"/>
                      <a:pt x="491" y="9571"/>
                      <a:pt x="11579" y="3138"/>
                    </a:cubicBezTo>
                    <a:cubicBezTo>
                      <a:pt x="22679" y="-3295"/>
                      <a:pt x="36882" y="477"/>
                      <a:pt x="43315" y="11577"/>
                    </a:cubicBezTo>
                    <a:cubicBezTo>
                      <a:pt x="49748" y="22676"/>
                      <a:pt x="45965" y="36879"/>
                      <a:pt x="34877" y="43312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05" name="Forma livre: Forma 704">
                <a:extLst>
                  <a:ext uri="{FF2B5EF4-FFF2-40B4-BE49-F238E27FC236}">
                    <a16:creationId xmlns:a16="http://schemas.microsoft.com/office/drawing/2014/main" id="{DB4572EB-3FCA-4162-307A-034E0B1A9FA3}"/>
                  </a:ext>
                </a:extLst>
              </p:cNvPr>
              <p:cNvSpPr/>
              <p:nvPr/>
            </p:nvSpPr>
            <p:spPr>
              <a:xfrm>
                <a:off x="3233414" y="1587471"/>
                <a:ext cx="46460" cy="46450"/>
              </a:xfrm>
              <a:custGeom>
                <a:avLst/>
                <a:gdLst>
                  <a:gd name="connsiteX0" fmla="*/ 11586 w 46460"/>
                  <a:gd name="connsiteY0" fmla="*/ 43312 h 46450"/>
                  <a:gd name="connsiteX1" fmla="*/ 43322 w 46460"/>
                  <a:gd name="connsiteY1" fmla="*/ 34874 h 46450"/>
                  <a:gd name="connsiteX2" fmla="*/ 34884 w 46460"/>
                  <a:gd name="connsiteY2" fmla="*/ 3138 h 46450"/>
                  <a:gd name="connsiteX3" fmla="*/ 3136 w 46460"/>
                  <a:gd name="connsiteY3" fmla="*/ 11577 h 46450"/>
                  <a:gd name="connsiteX4" fmla="*/ 11574 w 46460"/>
                  <a:gd name="connsiteY4" fmla="*/ 43312 h 464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6460" h="46450">
                    <a:moveTo>
                      <a:pt x="11586" y="43312"/>
                    </a:moveTo>
                    <a:cubicBezTo>
                      <a:pt x="22686" y="49746"/>
                      <a:pt x="36889" y="45974"/>
                      <a:pt x="43322" y="34874"/>
                    </a:cubicBezTo>
                    <a:cubicBezTo>
                      <a:pt x="49755" y="23774"/>
                      <a:pt x="45983" y="9571"/>
                      <a:pt x="34884" y="3138"/>
                    </a:cubicBezTo>
                    <a:cubicBezTo>
                      <a:pt x="23796" y="-3295"/>
                      <a:pt x="9569" y="477"/>
                      <a:pt x="3136" y="11577"/>
                    </a:cubicBezTo>
                    <a:cubicBezTo>
                      <a:pt x="-3297" y="22676"/>
                      <a:pt x="486" y="36879"/>
                      <a:pt x="11574" y="43312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706" name="Gráfico 4">
              <a:extLst>
                <a:ext uri="{FF2B5EF4-FFF2-40B4-BE49-F238E27FC236}">
                  <a16:creationId xmlns:a16="http://schemas.microsoft.com/office/drawing/2014/main" id="{EF617491-92B2-31EC-8B21-73BFA95B0746}"/>
                </a:ext>
              </a:extLst>
            </p:cNvPr>
            <p:cNvGrpSpPr/>
            <p:nvPr/>
          </p:nvGrpSpPr>
          <p:grpSpPr>
            <a:xfrm>
              <a:off x="3275244" y="1621486"/>
              <a:ext cx="190570" cy="48743"/>
              <a:chOff x="3275244" y="1621486"/>
              <a:chExt cx="190570" cy="48743"/>
            </a:xfrm>
          </p:grpSpPr>
          <p:sp>
            <p:nvSpPr>
              <p:cNvPr id="707" name="Forma livre: Forma 706">
                <a:extLst>
                  <a:ext uri="{FF2B5EF4-FFF2-40B4-BE49-F238E27FC236}">
                    <a16:creationId xmlns:a16="http://schemas.microsoft.com/office/drawing/2014/main" id="{A5711241-03FE-335F-3407-FCC319FD83FE}"/>
                  </a:ext>
                </a:extLst>
              </p:cNvPr>
              <p:cNvSpPr/>
              <p:nvPr/>
            </p:nvSpPr>
            <p:spPr>
              <a:xfrm>
                <a:off x="3381742" y="1621486"/>
                <a:ext cx="84072" cy="48743"/>
              </a:xfrm>
              <a:custGeom>
                <a:avLst/>
                <a:gdLst>
                  <a:gd name="connsiteX0" fmla="*/ 84072 w 84072"/>
                  <a:gd name="connsiteY0" fmla="*/ 0 h 48743"/>
                  <a:gd name="connsiteX1" fmla="*/ 0 w 84072"/>
                  <a:gd name="connsiteY1" fmla="*/ 48744 h 487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84072" h="48743">
                    <a:moveTo>
                      <a:pt x="84072" y="0"/>
                    </a:moveTo>
                    <a:lnTo>
                      <a:pt x="0" y="48744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08" name="Forma livre: Forma 707">
                <a:extLst>
                  <a:ext uri="{FF2B5EF4-FFF2-40B4-BE49-F238E27FC236}">
                    <a16:creationId xmlns:a16="http://schemas.microsoft.com/office/drawing/2014/main" id="{AC1B1308-B3FA-8977-1F23-E193CA6CEEBC}"/>
                  </a:ext>
                </a:extLst>
              </p:cNvPr>
              <p:cNvSpPr/>
              <p:nvPr/>
            </p:nvSpPr>
            <p:spPr>
              <a:xfrm>
                <a:off x="3275244" y="1621486"/>
                <a:ext cx="82616" cy="47896"/>
              </a:xfrm>
              <a:custGeom>
                <a:avLst/>
                <a:gdLst>
                  <a:gd name="connsiteX0" fmla="*/ 0 w 82616"/>
                  <a:gd name="connsiteY0" fmla="*/ 0 h 47896"/>
                  <a:gd name="connsiteX1" fmla="*/ 82616 w 82616"/>
                  <a:gd name="connsiteY1" fmla="*/ 47896 h 478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82616" h="47896">
                    <a:moveTo>
                      <a:pt x="0" y="0"/>
                    </a:moveTo>
                    <a:lnTo>
                      <a:pt x="82616" y="47896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709" name="Gráfico 4">
              <a:extLst>
                <a:ext uri="{FF2B5EF4-FFF2-40B4-BE49-F238E27FC236}">
                  <a16:creationId xmlns:a16="http://schemas.microsoft.com/office/drawing/2014/main" id="{A9BED7EB-8D7B-2D5C-7ACF-5A4671A725A0}"/>
                </a:ext>
              </a:extLst>
            </p:cNvPr>
            <p:cNvGrpSpPr/>
            <p:nvPr/>
          </p:nvGrpSpPr>
          <p:grpSpPr>
            <a:xfrm>
              <a:off x="3233426" y="1719559"/>
              <a:ext cx="274199" cy="46456"/>
              <a:chOff x="3233426" y="1719559"/>
              <a:chExt cx="274199" cy="46456"/>
            </a:xfrm>
            <a:noFill/>
          </p:grpSpPr>
          <p:sp>
            <p:nvSpPr>
              <p:cNvPr id="710" name="Forma livre: Forma 709">
                <a:extLst>
                  <a:ext uri="{FF2B5EF4-FFF2-40B4-BE49-F238E27FC236}">
                    <a16:creationId xmlns:a16="http://schemas.microsoft.com/office/drawing/2014/main" id="{A9A7C64C-AE5B-F14C-9968-65E1C5994670}"/>
                  </a:ext>
                </a:extLst>
              </p:cNvPr>
              <p:cNvSpPr/>
              <p:nvPr/>
            </p:nvSpPr>
            <p:spPr>
              <a:xfrm>
                <a:off x="3233426" y="1719559"/>
                <a:ext cx="46457" cy="46456"/>
              </a:xfrm>
              <a:custGeom>
                <a:avLst/>
                <a:gdLst>
                  <a:gd name="connsiteX0" fmla="*/ 11574 w 46457"/>
                  <a:gd name="connsiteY0" fmla="*/ 3138 h 46456"/>
                  <a:gd name="connsiteX1" fmla="*/ 43322 w 46457"/>
                  <a:gd name="connsiteY1" fmla="*/ 11577 h 46456"/>
                  <a:gd name="connsiteX2" fmla="*/ 34872 w 46457"/>
                  <a:gd name="connsiteY2" fmla="*/ 43312 h 46456"/>
                  <a:gd name="connsiteX3" fmla="*/ 3136 w 46457"/>
                  <a:gd name="connsiteY3" fmla="*/ 34874 h 46456"/>
                  <a:gd name="connsiteX4" fmla="*/ 11574 w 46457"/>
                  <a:gd name="connsiteY4" fmla="*/ 3138 h 464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6457" h="46456">
                    <a:moveTo>
                      <a:pt x="11574" y="3138"/>
                    </a:moveTo>
                    <a:cubicBezTo>
                      <a:pt x="22674" y="-3295"/>
                      <a:pt x="36877" y="477"/>
                      <a:pt x="43322" y="11577"/>
                    </a:cubicBezTo>
                    <a:cubicBezTo>
                      <a:pt x="49755" y="22676"/>
                      <a:pt x="45971" y="36891"/>
                      <a:pt x="34872" y="43312"/>
                    </a:cubicBezTo>
                    <a:cubicBezTo>
                      <a:pt x="23784" y="49758"/>
                      <a:pt x="9557" y="45974"/>
                      <a:pt x="3136" y="34874"/>
                    </a:cubicBezTo>
                    <a:cubicBezTo>
                      <a:pt x="-3297" y="23786"/>
                      <a:pt x="486" y="9571"/>
                      <a:pt x="11574" y="3138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11" name="Forma livre: Forma 710">
                <a:extLst>
                  <a:ext uri="{FF2B5EF4-FFF2-40B4-BE49-F238E27FC236}">
                    <a16:creationId xmlns:a16="http://schemas.microsoft.com/office/drawing/2014/main" id="{974FD9B3-6CDF-18C0-697F-DF8B912B5112}"/>
                  </a:ext>
                </a:extLst>
              </p:cNvPr>
              <p:cNvSpPr/>
              <p:nvPr/>
            </p:nvSpPr>
            <p:spPr>
              <a:xfrm>
                <a:off x="3461167" y="1719559"/>
                <a:ext cx="46458" cy="46456"/>
              </a:xfrm>
              <a:custGeom>
                <a:avLst/>
                <a:gdLst>
                  <a:gd name="connsiteX0" fmla="*/ 34891 w 46458"/>
                  <a:gd name="connsiteY0" fmla="*/ 3138 h 46456"/>
                  <a:gd name="connsiteX1" fmla="*/ 3144 w 46458"/>
                  <a:gd name="connsiteY1" fmla="*/ 11577 h 46456"/>
                  <a:gd name="connsiteX2" fmla="*/ 11582 w 46458"/>
                  <a:gd name="connsiteY2" fmla="*/ 43312 h 46456"/>
                  <a:gd name="connsiteX3" fmla="*/ 43318 w 46458"/>
                  <a:gd name="connsiteY3" fmla="*/ 34874 h 46456"/>
                  <a:gd name="connsiteX4" fmla="*/ 34880 w 46458"/>
                  <a:gd name="connsiteY4" fmla="*/ 3138 h 464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6458" h="46456">
                    <a:moveTo>
                      <a:pt x="34891" y="3138"/>
                    </a:moveTo>
                    <a:cubicBezTo>
                      <a:pt x="23792" y="-3295"/>
                      <a:pt x="9577" y="477"/>
                      <a:pt x="3144" y="11577"/>
                    </a:cubicBezTo>
                    <a:cubicBezTo>
                      <a:pt x="-3301" y="22676"/>
                      <a:pt x="482" y="36891"/>
                      <a:pt x="11582" y="43312"/>
                    </a:cubicBezTo>
                    <a:cubicBezTo>
                      <a:pt x="22682" y="49758"/>
                      <a:pt x="36873" y="45974"/>
                      <a:pt x="43318" y="34874"/>
                    </a:cubicBezTo>
                    <a:cubicBezTo>
                      <a:pt x="49763" y="23786"/>
                      <a:pt x="45967" y="9571"/>
                      <a:pt x="34880" y="3138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712" name="Gráfico 4">
              <a:extLst>
                <a:ext uri="{FF2B5EF4-FFF2-40B4-BE49-F238E27FC236}">
                  <a16:creationId xmlns:a16="http://schemas.microsoft.com/office/drawing/2014/main" id="{CD9360DC-D99C-4D97-81D1-B14CEFF24B71}"/>
                </a:ext>
              </a:extLst>
            </p:cNvPr>
            <p:cNvGrpSpPr/>
            <p:nvPr/>
          </p:nvGrpSpPr>
          <p:grpSpPr>
            <a:xfrm>
              <a:off x="3275244" y="1683048"/>
              <a:ext cx="190570" cy="48946"/>
              <a:chOff x="3275244" y="1683048"/>
              <a:chExt cx="190570" cy="48946"/>
            </a:xfrm>
          </p:grpSpPr>
          <p:sp>
            <p:nvSpPr>
              <p:cNvPr id="713" name="Forma livre: Forma 712">
                <a:extLst>
                  <a:ext uri="{FF2B5EF4-FFF2-40B4-BE49-F238E27FC236}">
                    <a16:creationId xmlns:a16="http://schemas.microsoft.com/office/drawing/2014/main" id="{A67951BD-7A46-A838-5CA9-F529AE0065D1}"/>
                  </a:ext>
                </a:extLst>
              </p:cNvPr>
              <p:cNvSpPr/>
              <p:nvPr/>
            </p:nvSpPr>
            <p:spPr>
              <a:xfrm>
                <a:off x="3275244" y="1684313"/>
                <a:ext cx="82234" cy="47681"/>
              </a:xfrm>
              <a:custGeom>
                <a:avLst/>
                <a:gdLst>
                  <a:gd name="connsiteX0" fmla="*/ 0 w 82234"/>
                  <a:gd name="connsiteY0" fmla="*/ 47681 h 47681"/>
                  <a:gd name="connsiteX1" fmla="*/ 82234 w 82234"/>
                  <a:gd name="connsiteY1" fmla="*/ 0 h 476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82234" h="47681">
                    <a:moveTo>
                      <a:pt x="0" y="47681"/>
                    </a:moveTo>
                    <a:lnTo>
                      <a:pt x="82234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14" name="Forma livre: Forma 713">
                <a:extLst>
                  <a:ext uri="{FF2B5EF4-FFF2-40B4-BE49-F238E27FC236}">
                    <a16:creationId xmlns:a16="http://schemas.microsoft.com/office/drawing/2014/main" id="{966F682D-E870-715D-4CEE-EA583F44B9EA}"/>
                  </a:ext>
                </a:extLst>
              </p:cNvPr>
              <p:cNvSpPr/>
              <p:nvPr/>
            </p:nvSpPr>
            <p:spPr>
              <a:xfrm>
                <a:off x="3381372" y="1683048"/>
                <a:ext cx="84442" cy="48946"/>
              </a:xfrm>
              <a:custGeom>
                <a:avLst/>
                <a:gdLst>
                  <a:gd name="connsiteX0" fmla="*/ 84442 w 84442"/>
                  <a:gd name="connsiteY0" fmla="*/ 48947 h 48946"/>
                  <a:gd name="connsiteX1" fmla="*/ 0 w 84442"/>
                  <a:gd name="connsiteY1" fmla="*/ 0 h 489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84442" h="48946">
                    <a:moveTo>
                      <a:pt x="84442" y="48947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715" name="Forma livre: Forma 714">
              <a:extLst>
                <a:ext uri="{FF2B5EF4-FFF2-40B4-BE49-F238E27FC236}">
                  <a16:creationId xmlns:a16="http://schemas.microsoft.com/office/drawing/2014/main" id="{E2827EC9-495F-6071-68FA-6CA96A28EF58}"/>
                </a:ext>
              </a:extLst>
            </p:cNvPr>
            <p:cNvSpPr/>
            <p:nvPr/>
          </p:nvSpPr>
          <p:spPr>
            <a:xfrm>
              <a:off x="3310465" y="1616724"/>
              <a:ext cx="120116" cy="120116"/>
            </a:xfrm>
            <a:custGeom>
              <a:avLst/>
              <a:gdLst>
                <a:gd name="connsiteX0" fmla="*/ 120117 w 120116"/>
                <a:gd name="connsiteY0" fmla="*/ 60058 h 120116"/>
                <a:gd name="connsiteX1" fmla="*/ 60058 w 120116"/>
                <a:gd name="connsiteY1" fmla="*/ 120117 h 120116"/>
                <a:gd name="connsiteX2" fmla="*/ 0 w 120116"/>
                <a:gd name="connsiteY2" fmla="*/ 60058 h 120116"/>
                <a:gd name="connsiteX3" fmla="*/ 60058 w 120116"/>
                <a:gd name="connsiteY3" fmla="*/ 0 h 120116"/>
                <a:gd name="connsiteX4" fmla="*/ 120117 w 120116"/>
                <a:gd name="connsiteY4" fmla="*/ 60058 h 1201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0116" h="120116">
                  <a:moveTo>
                    <a:pt x="120117" y="60058"/>
                  </a:moveTo>
                  <a:cubicBezTo>
                    <a:pt x="120117" y="93226"/>
                    <a:pt x="93226" y="120117"/>
                    <a:pt x="60058" y="120117"/>
                  </a:cubicBezTo>
                  <a:cubicBezTo>
                    <a:pt x="26890" y="120117"/>
                    <a:pt x="0" y="93226"/>
                    <a:pt x="0" y="60058"/>
                  </a:cubicBezTo>
                  <a:cubicBezTo>
                    <a:pt x="0" y="26890"/>
                    <a:pt x="26890" y="0"/>
                    <a:pt x="60058" y="0"/>
                  </a:cubicBezTo>
                  <a:cubicBezTo>
                    <a:pt x="93226" y="0"/>
                    <a:pt x="120117" y="26890"/>
                    <a:pt x="120117" y="60058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716" name="Gráfico 4">
              <a:extLst>
                <a:ext uri="{FF2B5EF4-FFF2-40B4-BE49-F238E27FC236}">
                  <a16:creationId xmlns:a16="http://schemas.microsoft.com/office/drawing/2014/main" id="{DD98FB64-CAFD-642D-6324-EB780879E810}"/>
                </a:ext>
              </a:extLst>
            </p:cNvPr>
            <p:cNvGrpSpPr/>
            <p:nvPr/>
          </p:nvGrpSpPr>
          <p:grpSpPr>
            <a:xfrm>
              <a:off x="3347297" y="1521874"/>
              <a:ext cx="46464" cy="309732"/>
              <a:chOff x="3347297" y="1521874"/>
              <a:chExt cx="46464" cy="309732"/>
            </a:xfrm>
            <a:noFill/>
          </p:grpSpPr>
          <p:sp>
            <p:nvSpPr>
              <p:cNvPr id="717" name="Forma livre: Forma 716">
                <a:extLst>
                  <a:ext uri="{FF2B5EF4-FFF2-40B4-BE49-F238E27FC236}">
                    <a16:creationId xmlns:a16="http://schemas.microsoft.com/office/drawing/2014/main" id="{E99CFCF4-6541-4CFA-B765-B8DFE78A6FEF}"/>
                  </a:ext>
                </a:extLst>
              </p:cNvPr>
              <p:cNvSpPr/>
              <p:nvPr/>
            </p:nvSpPr>
            <p:spPr>
              <a:xfrm>
                <a:off x="3347297" y="1521874"/>
                <a:ext cx="46452" cy="46440"/>
              </a:xfrm>
              <a:custGeom>
                <a:avLst/>
                <a:gdLst>
                  <a:gd name="connsiteX0" fmla="*/ 46452 w 46452"/>
                  <a:gd name="connsiteY0" fmla="*/ 23214 h 46440"/>
                  <a:gd name="connsiteX1" fmla="*/ 23226 w 46452"/>
                  <a:gd name="connsiteY1" fmla="*/ 46440 h 46440"/>
                  <a:gd name="connsiteX2" fmla="*/ 0 w 46452"/>
                  <a:gd name="connsiteY2" fmla="*/ 23214 h 46440"/>
                  <a:gd name="connsiteX3" fmla="*/ 23226 w 46452"/>
                  <a:gd name="connsiteY3" fmla="*/ 0 h 46440"/>
                  <a:gd name="connsiteX4" fmla="*/ 46452 w 46452"/>
                  <a:gd name="connsiteY4" fmla="*/ 23214 h 464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6452" h="46440">
                    <a:moveTo>
                      <a:pt x="46452" y="23214"/>
                    </a:moveTo>
                    <a:cubicBezTo>
                      <a:pt x="46452" y="36045"/>
                      <a:pt x="36056" y="46440"/>
                      <a:pt x="23226" y="46440"/>
                    </a:cubicBezTo>
                    <a:cubicBezTo>
                      <a:pt x="10396" y="46440"/>
                      <a:pt x="0" y="36045"/>
                      <a:pt x="0" y="23214"/>
                    </a:cubicBezTo>
                    <a:cubicBezTo>
                      <a:pt x="0" y="10384"/>
                      <a:pt x="10396" y="0"/>
                      <a:pt x="23226" y="0"/>
                    </a:cubicBezTo>
                    <a:cubicBezTo>
                      <a:pt x="36056" y="0"/>
                      <a:pt x="46452" y="10396"/>
                      <a:pt x="46452" y="23214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18" name="Forma livre: Forma 717">
                <a:extLst>
                  <a:ext uri="{FF2B5EF4-FFF2-40B4-BE49-F238E27FC236}">
                    <a16:creationId xmlns:a16="http://schemas.microsoft.com/office/drawing/2014/main" id="{14C218EE-7760-86FD-8C5C-BA84F6A02770}"/>
                  </a:ext>
                </a:extLst>
              </p:cNvPr>
              <p:cNvSpPr/>
              <p:nvPr/>
            </p:nvSpPr>
            <p:spPr>
              <a:xfrm>
                <a:off x="3347309" y="1785166"/>
                <a:ext cx="46452" cy="46440"/>
              </a:xfrm>
              <a:custGeom>
                <a:avLst/>
                <a:gdLst>
                  <a:gd name="connsiteX0" fmla="*/ 0 w 46452"/>
                  <a:gd name="connsiteY0" fmla="*/ 23226 h 46440"/>
                  <a:gd name="connsiteX1" fmla="*/ 23226 w 46452"/>
                  <a:gd name="connsiteY1" fmla="*/ 0 h 46440"/>
                  <a:gd name="connsiteX2" fmla="*/ 46452 w 46452"/>
                  <a:gd name="connsiteY2" fmla="*/ 23226 h 46440"/>
                  <a:gd name="connsiteX3" fmla="*/ 23226 w 46452"/>
                  <a:gd name="connsiteY3" fmla="*/ 46440 h 46440"/>
                  <a:gd name="connsiteX4" fmla="*/ 0 w 46452"/>
                  <a:gd name="connsiteY4" fmla="*/ 23226 h 464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6452" h="46440">
                    <a:moveTo>
                      <a:pt x="0" y="23226"/>
                    </a:moveTo>
                    <a:cubicBezTo>
                      <a:pt x="0" y="10396"/>
                      <a:pt x="10396" y="0"/>
                      <a:pt x="23226" y="0"/>
                    </a:cubicBezTo>
                    <a:cubicBezTo>
                      <a:pt x="36056" y="0"/>
                      <a:pt x="46452" y="10396"/>
                      <a:pt x="46452" y="23226"/>
                    </a:cubicBezTo>
                    <a:cubicBezTo>
                      <a:pt x="46452" y="36056"/>
                      <a:pt x="36056" y="46440"/>
                      <a:pt x="23226" y="46440"/>
                    </a:cubicBezTo>
                    <a:cubicBezTo>
                      <a:pt x="10396" y="46440"/>
                      <a:pt x="0" y="36044"/>
                      <a:pt x="0" y="23226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719" name="Gráfico 4">
              <a:extLst>
                <a:ext uri="{FF2B5EF4-FFF2-40B4-BE49-F238E27FC236}">
                  <a16:creationId xmlns:a16="http://schemas.microsoft.com/office/drawing/2014/main" id="{D4DE8B1D-F9C9-454F-96A9-13BB11D23DBD}"/>
                </a:ext>
              </a:extLst>
            </p:cNvPr>
            <p:cNvGrpSpPr/>
            <p:nvPr/>
          </p:nvGrpSpPr>
          <p:grpSpPr>
            <a:xfrm>
              <a:off x="3238257" y="1546496"/>
              <a:ext cx="264557" cy="260582"/>
              <a:chOff x="3238257" y="1546496"/>
              <a:chExt cx="264557" cy="260582"/>
            </a:xfrm>
            <a:noFill/>
          </p:grpSpPr>
          <p:sp>
            <p:nvSpPr>
              <p:cNvPr id="720" name="Forma livre: Forma 719">
                <a:extLst>
                  <a:ext uri="{FF2B5EF4-FFF2-40B4-BE49-F238E27FC236}">
                    <a16:creationId xmlns:a16="http://schemas.microsoft.com/office/drawing/2014/main" id="{2241BE49-A2C8-B59D-4DF3-39E1426B5D0E}"/>
                  </a:ext>
                </a:extLst>
              </p:cNvPr>
              <p:cNvSpPr/>
              <p:nvPr/>
            </p:nvSpPr>
            <p:spPr>
              <a:xfrm>
                <a:off x="3238257" y="1649653"/>
                <a:ext cx="7996" cy="72411"/>
              </a:xfrm>
              <a:custGeom>
                <a:avLst/>
                <a:gdLst>
                  <a:gd name="connsiteX0" fmla="*/ 7997 w 7996"/>
                  <a:gd name="connsiteY0" fmla="*/ 72411 h 72411"/>
                  <a:gd name="connsiteX1" fmla="*/ 0 w 7996"/>
                  <a:gd name="connsiteY1" fmla="*/ 26998 h 72411"/>
                  <a:gd name="connsiteX2" fmla="*/ 2745 w 7996"/>
                  <a:gd name="connsiteY2" fmla="*/ 0 h 724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7996" h="72411">
                    <a:moveTo>
                      <a:pt x="7997" y="72411"/>
                    </a:moveTo>
                    <a:cubicBezTo>
                      <a:pt x="2817" y="58244"/>
                      <a:pt x="0" y="42955"/>
                      <a:pt x="0" y="26998"/>
                    </a:cubicBezTo>
                    <a:cubicBezTo>
                      <a:pt x="0" y="17748"/>
                      <a:pt x="943" y="8713"/>
                      <a:pt x="2745" y="0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21" name="Forma livre: Forma 720">
                <a:extLst>
                  <a:ext uri="{FF2B5EF4-FFF2-40B4-BE49-F238E27FC236}">
                    <a16:creationId xmlns:a16="http://schemas.microsoft.com/office/drawing/2014/main" id="{263388BA-D6EE-2B80-5E50-7EFFD2EE8E8D}"/>
                  </a:ext>
                </a:extLst>
              </p:cNvPr>
              <p:cNvSpPr/>
              <p:nvPr/>
            </p:nvSpPr>
            <p:spPr>
              <a:xfrm>
                <a:off x="3269360" y="1761869"/>
                <a:ext cx="19908" cy="19168"/>
              </a:xfrm>
              <a:custGeom>
                <a:avLst/>
                <a:gdLst>
                  <a:gd name="connsiteX0" fmla="*/ 19908 w 19908"/>
                  <a:gd name="connsiteY0" fmla="*/ 19168 h 19168"/>
                  <a:gd name="connsiteX1" fmla="*/ 0 w 19908"/>
                  <a:gd name="connsiteY1" fmla="*/ 0 h 191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9908" h="19168">
                    <a:moveTo>
                      <a:pt x="19908" y="19168"/>
                    </a:moveTo>
                    <a:cubicBezTo>
                      <a:pt x="12616" y="13487"/>
                      <a:pt x="5944" y="7054"/>
                      <a:pt x="0" y="0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22" name="Forma livre: Forma 721">
                <a:extLst>
                  <a:ext uri="{FF2B5EF4-FFF2-40B4-BE49-F238E27FC236}">
                    <a16:creationId xmlns:a16="http://schemas.microsoft.com/office/drawing/2014/main" id="{A3FC261F-C3F7-41C9-F085-83B23E436C84}"/>
                  </a:ext>
                </a:extLst>
              </p:cNvPr>
              <p:cNvSpPr/>
              <p:nvPr/>
            </p:nvSpPr>
            <p:spPr>
              <a:xfrm>
                <a:off x="3307147" y="1792805"/>
                <a:ext cx="41152" cy="14274"/>
              </a:xfrm>
              <a:custGeom>
                <a:avLst/>
                <a:gdLst>
                  <a:gd name="connsiteX0" fmla="*/ 41153 w 41152"/>
                  <a:gd name="connsiteY0" fmla="*/ 14275 h 14274"/>
                  <a:gd name="connsiteX1" fmla="*/ 0 w 41152"/>
                  <a:gd name="connsiteY1" fmla="*/ 0 h 142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1152" h="14274">
                    <a:moveTo>
                      <a:pt x="41153" y="14275"/>
                    </a:moveTo>
                    <a:cubicBezTo>
                      <a:pt x="26472" y="11792"/>
                      <a:pt x="12616" y="6887"/>
                      <a:pt x="0" y="0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23" name="Forma livre: Forma 722">
                <a:extLst>
                  <a:ext uri="{FF2B5EF4-FFF2-40B4-BE49-F238E27FC236}">
                    <a16:creationId xmlns:a16="http://schemas.microsoft.com/office/drawing/2014/main" id="{1AD7E036-F29D-3F7F-0606-1F2029BFC31D}"/>
                  </a:ext>
                </a:extLst>
              </p:cNvPr>
              <p:cNvSpPr/>
              <p:nvPr/>
            </p:nvSpPr>
            <p:spPr>
              <a:xfrm>
                <a:off x="3394251" y="1800981"/>
                <a:ext cx="21567" cy="5836"/>
              </a:xfrm>
              <a:custGeom>
                <a:avLst/>
                <a:gdLst>
                  <a:gd name="connsiteX0" fmla="*/ 21567 w 21567"/>
                  <a:gd name="connsiteY0" fmla="*/ 0 h 5836"/>
                  <a:gd name="connsiteX1" fmla="*/ 0 w 21567"/>
                  <a:gd name="connsiteY1" fmla="*/ 5836 h 58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1567" h="5836">
                    <a:moveTo>
                      <a:pt x="21567" y="0"/>
                    </a:moveTo>
                    <a:cubicBezTo>
                      <a:pt x="14633" y="2530"/>
                      <a:pt x="7424" y="4488"/>
                      <a:pt x="0" y="5836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24" name="Forma livre: Forma 723">
                <a:extLst>
                  <a:ext uri="{FF2B5EF4-FFF2-40B4-BE49-F238E27FC236}">
                    <a16:creationId xmlns:a16="http://schemas.microsoft.com/office/drawing/2014/main" id="{BD97BBC4-7F50-154C-ABF7-8CA794DC4E61}"/>
                  </a:ext>
                </a:extLst>
              </p:cNvPr>
              <p:cNvSpPr/>
              <p:nvPr/>
            </p:nvSpPr>
            <p:spPr>
              <a:xfrm>
                <a:off x="3434043" y="1761881"/>
                <a:ext cx="37655" cy="30840"/>
              </a:xfrm>
              <a:custGeom>
                <a:avLst/>
                <a:gdLst>
                  <a:gd name="connsiteX0" fmla="*/ 37656 w 37655"/>
                  <a:gd name="connsiteY0" fmla="*/ 0 h 30840"/>
                  <a:gd name="connsiteX1" fmla="*/ 0 w 37655"/>
                  <a:gd name="connsiteY1" fmla="*/ 30841 h 308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7655" h="30840">
                    <a:moveTo>
                      <a:pt x="37656" y="0"/>
                    </a:moveTo>
                    <a:cubicBezTo>
                      <a:pt x="27153" y="12460"/>
                      <a:pt x="14394" y="22940"/>
                      <a:pt x="0" y="30841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25" name="Forma livre: Forma 724">
                <a:extLst>
                  <a:ext uri="{FF2B5EF4-FFF2-40B4-BE49-F238E27FC236}">
                    <a16:creationId xmlns:a16="http://schemas.microsoft.com/office/drawing/2014/main" id="{A835C1A7-6A1B-FCD7-8EDB-B4B18CC94B94}"/>
                  </a:ext>
                </a:extLst>
              </p:cNvPr>
              <p:cNvSpPr/>
              <p:nvPr/>
            </p:nvSpPr>
            <p:spPr>
              <a:xfrm>
                <a:off x="3494710" y="1630974"/>
                <a:ext cx="8104" cy="90326"/>
              </a:xfrm>
              <a:custGeom>
                <a:avLst/>
                <a:gdLst>
                  <a:gd name="connsiteX0" fmla="*/ 0 w 8104"/>
                  <a:gd name="connsiteY0" fmla="*/ 0 h 90326"/>
                  <a:gd name="connsiteX1" fmla="*/ 8104 w 8104"/>
                  <a:gd name="connsiteY1" fmla="*/ 45676 h 90326"/>
                  <a:gd name="connsiteX2" fmla="*/ 382 w 8104"/>
                  <a:gd name="connsiteY2" fmla="*/ 90326 h 903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104" h="90326">
                    <a:moveTo>
                      <a:pt x="0" y="0"/>
                    </a:moveTo>
                    <a:cubicBezTo>
                      <a:pt x="5240" y="14239"/>
                      <a:pt x="8104" y="29623"/>
                      <a:pt x="8104" y="45676"/>
                    </a:cubicBezTo>
                    <a:cubicBezTo>
                      <a:pt x="8104" y="61729"/>
                      <a:pt x="5383" y="76374"/>
                      <a:pt x="382" y="90326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26" name="Forma livre: Forma 725">
                <a:extLst>
                  <a:ext uri="{FF2B5EF4-FFF2-40B4-BE49-F238E27FC236}">
                    <a16:creationId xmlns:a16="http://schemas.microsoft.com/office/drawing/2014/main" id="{E944FC67-868E-D0A9-BDF8-82A6D58698BD}"/>
                  </a:ext>
                </a:extLst>
              </p:cNvPr>
              <p:cNvSpPr/>
              <p:nvPr/>
            </p:nvSpPr>
            <p:spPr>
              <a:xfrm>
                <a:off x="3394274" y="1546496"/>
                <a:ext cx="76791" cy="44184"/>
              </a:xfrm>
              <a:custGeom>
                <a:avLst/>
                <a:gdLst>
                  <a:gd name="connsiteX0" fmla="*/ 0 w 76791"/>
                  <a:gd name="connsiteY0" fmla="*/ 0 h 44184"/>
                  <a:gd name="connsiteX1" fmla="*/ 76792 w 76791"/>
                  <a:gd name="connsiteY1" fmla="*/ 44184 h 441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76791" h="44184">
                    <a:moveTo>
                      <a:pt x="0" y="0"/>
                    </a:moveTo>
                    <a:cubicBezTo>
                      <a:pt x="30542" y="5538"/>
                      <a:pt x="57421" y="21543"/>
                      <a:pt x="76792" y="44184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27" name="Forma livre: Forma 726">
                <a:extLst>
                  <a:ext uri="{FF2B5EF4-FFF2-40B4-BE49-F238E27FC236}">
                    <a16:creationId xmlns:a16="http://schemas.microsoft.com/office/drawing/2014/main" id="{04810D79-330A-F1BC-EDF4-BDE7134F0A83}"/>
                  </a:ext>
                </a:extLst>
              </p:cNvPr>
              <p:cNvSpPr/>
              <p:nvPr/>
            </p:nvSpPr>
            <p:spPr>
              <a:xfrm>
                <a:off x="3269742" y="1551593"/>
                <a:ext cx="57599" cy="39374"/>
              </a:xfrm>
              <a:custGeom>
                <a:avLst/>
                <a:gdLst>
                  <a:gd name="connsiteX0" fmla="*/ 0 w 57599"/>
                  <a:gd name="connsiteY0" fmla="*/ 39374 h 39374"/>
                  <a:gd name="connsiteX1" fmla="*/ 57600 w 57599"/>
                  <a:gd name="connsiteY1" fmla="*/ 0 h 393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7599" h="39374">
                    <a:moveTo>
                      <a:pt x="0" y="39374"/>
                    </a:moveTo>
                    <a:cubicBezTo>
                      <a:pt x="15170" y="21555"/>
                      <a:pt x="34994" y="7794"/>
                      <a:pt x="57600" y="0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728" name="Forma livre: Forma 727">
              <a:extLst>
                <a:ext uri="{FF2B5EF4-FFF2-40B4-BE49-F238E27FC236}">
                  <a16:creationId xmlns:a16="http://schemas.microsoft.com/office/drawing/2014/main" id="{56AE16B9-D945-F18C-82BC-F7B84555ECBE}"/>
                </a:ext>
              </a:extLst>
            </p:cNvPr>
            <p:cNvSpPr/>
            <p:nvPr/>
          </p:nvSpPr>
          <p:spPr>
            <a:xfrm>
              <a:off x="3352024" y="1658282"/>
              <a:ext cx="36999" cy="36999"/>
            </a:xfrm>
            <a:custGeom>
              <a:avLst/>
              <a:gdLst>
                <a:gd name="connsiteX0" fmla="*/ 36999 w 36999"/>
                <a:gd name="connsiteY0" fmla="*/ 18500 h 36999"/>
                <a:gd name="connsiteX1" fmla="*/ 18500 w 36999"/>
                <a:gd name="connsiteY1" fmla="*/ 36999 h 36999"/>
                <a:gd name="connsiteX2" fmla="*/ 0 w 36999"/>
                <a:gd name="connsiteY2" fmla="*/ 18500 h 36999"/>
                <a:gd name="connsiteX3" fmla="*/ 18500 w 36999"/>
                <a:gd name="connsiteY3" fmla="*/ 0 h 36999"/>
                <a:gd name="connsiteX4" fmla="*/ 36999 w 36999"/>
                <a:gd name="connsiteY4" fmla="*/ 18500 h 369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6999" h="36999">
                  <a:moveTo>
                    <a:pt x="36999" y="18500"/>
                  </a:moveTo>
                  <a:cubicBezTo>
                    <a:pt x="36999" y="28717"/>
                    <a:pt x="28717" y="36999"/>
                    <a:pt x="18500" y="36999"/>
                  </a:cubicBezTo>
                  <a:cubicBezTo>
                    <a:pt x="8283" y="36999"/>
                    <a:pt x="0" y="28717"/>
                    <a:pt x="0" y="18500"/>
                  </a:cubicBezTo>
                  <a:cubicBezTo>
                    <a:pt x="0" y="8283"/>
                    <a:pt x="8283" y="0"/>
                    <a:pt x="18500" y="0"/>
                  </a:cubicBezTo>
                  <a:cubicBezTo>
                    <a:pt x="28717" y="0"/>
                    <a:pt x="36999" y="8283"/>
                    <a:pt x="36999" y="18500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729" name="Gráfico 4">
              <a:extLst>
                <a:ext uri="{FF2B5EF4-FFF2-40B4-BE49-F238E27FC236}">
                  <a16:creationId xmlns:a16="http://schemas.microsoft.com/office/drawing/2014/main" id="{E58F3523-06BD-E1DC-C84F-7C615379294C}"/>
                </a:ext>
              </a:extLst>
            </p:cNvPr>
            <p:cNvGrpSpPr/>
            <p:nvPr/>
          </p:nvGrpSpPr>
          <p:grpSpPr>
            <a:xfrm>
              <a:off x="3272296" y="1728772"/>
              <a:ext cx="196466" cy="127349"/>
              <a:chOff x="3272296" y="1728772"/>
              <a:chExt cx="196466" cy="127349"/>
            </a:xfrm>
          </p:grpSpPr>
          <p:sp>
            <p:nvSpPr>
              <p:cNvPr id="730" name="Forma livre: Forma 729">
                <a:extLst>
                  <a:ext uri="{FF2B5EF4-FFF2-40B4-BE49-F238E27FC236}">
                    <a16:creationId xmlns:a16="http://schemas.microsoft.com/office/drawing/2014/main" id="{03D6258A-4506-6238-C5C3-2B43A6298D59}"/>
                  </a:ext>
                </a:extLst>
              </p:cNvPr>
              <p:cNvSpPr/>
              <p:nvPr/>
            </p:nvSpPr>
            <p:spPr>
              <a:xfrm>
                <a:off x="3272296" y="1729548"/>
                <a:ext cx="68245" cy="126573"/>
              </a:xfrm>
              <a:custGeom>
                <a:avLst/>
                <a:gdLst>
                  <a:gd name="connsiteX0" fmla="*/ 68246 w 68245"/>
                  <a:gd name="connsiteY0" fmla="*/ 0 h 126573"/>
                  <a:gd name="connsiteX1" fmla="*/ 0 w 68245"/>
                  <a:gd name="connsiteY1" fmla="*/ 126574 h 1265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8245" h="126573">
                    <a:moveTo>
                      <a:pt x="68246" y="0"/>
                    </a:moveTo>
                    <a:lnTo>
                      <a:pt x="0" y="126574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31" name="Forma livre: Forma 730">
                <a:extLst>
                  <a:ext uri="{FF2B5EF4-FFF2-40B4-BE49-F238E27FC236}">
                    <a16:creationId xmlns:a16="http://schemas.microsoft.com/office/drawing/2014/main" id="{B44A59A3-9665-BE7B-2027-540EF8ED1341}"/>
                  </a:ext>
                </a:extLst>
              </p:cNvPr>
              <p:cNvSpPr/>
              <p:nvPr/>
            </p:nvSpPr>
            <p:spPr>
              <a:xfrm>
                <a:off x="3400099" y="1728772"/>
                <a:ext cx="68663" cy="127349"/>
              </a:xfrm>
              <a:custGeom>
                <a:avLst/>
                <a:gdLst>
                  <a:gd name="connsiteX0" fmla="*/ 0 w 68663"/>
                  <a:gd name="connsiteY0" fmla="*/ 0 h 127349"/>
                  <a:gd name="connsiteX1" fmla="*/ 68664 w 68663"/>
                  <a:gd name="connsiteY1" fmla="*/ 127349 h 1273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8663" h="127349">
                    <a:moveTo>
                      <a:pt x="0" y="0"/>
                    </a:moveTo>
                    <a:lnTo>
                      <a:pt x="68664" y="127349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732" name="Forma livre: Forma 731">
              <a:extLst>
                <a:ext uri="{FF2B5EF4-FFF2-40B4-BE49-F238E27FC236}">
                  <a16:creationId xmlns:a16="http://schemas.microsoft.com/office/drawing/2014/main" id="{8FBCD9AB-0DAB-2EAB-8F8E-0AFDDDF3BDA6}"/>
                </a:ext>
              </a:extLst>
            </p:cNvPr>
            <p:cNvSpPr/>
            <p:nvPr/>
          </p:nvSpPr>
          <p:spPr>
            <a:xfrm>
              <a:off x="3247745" y="1857924"/>
              <a:ext cx="246845" cy="1193"/>
            </a:xfrm>
            <a:custGeom>
              <a:avLst/>
              <a:gdLst>
                <a:gd name="connsiteX0" fmla="*/ 0 w 246845"/>
                <a:gd name="connsiteY0" fmla="*/ 0 h 1193"/>
                <a:gd name="connsiteX1" fmla="*/ 246845 w 246845"/>
                <a:gd name="connsiteY1" fmla="*/ 0 h 11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46845" h="1193">
                  <a:moveTo>
                    <a:pt x="0" y="0"/>
                  </a:moveTo>
                  <a:lnTo>
                    <a:pt x="246845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733" name="Forma livre: Forma 732">
              <a:extLst>
                <a:ext uri="{FF2B5EF4-FFF2-40B4-BE49-F238E27FC236}">
                  <a16:creationId xmlns:a16="http://schemas.microsoft.com/office/drawing/2014/main" id="{2FA7A7E7-4E51-027A-5B61-E7EDA28435C7}"/>
                </a:ext>
              </a:extLst>
            </p:cNvPr>
            <p:cNvSpPr/>
            <p:nvPr/>
          </p:nvSpPr>
          <p:spPr>
            <a:xfrm>
              <a:off x="3517757" y="1857924"/>
              <a:ext cx="16888" cy="1193"/>
            </a:xfrm>
            <a:custGeom>
              <a:avLst/>
              <a:gdLst>
                <a:gd name="connsiteX0" fmla="*/ 0 w 16888"/>
                <a:gd name="connsiteY0" fmla="*/ 0 h 1193"/>
                <a:gd name="connsiteX1" fmla="*/ 16888 w 16888"/>
                <a:gd name="connsiteY1" fmla="*/ 0 h 11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6888" h="1193">
                  <a:moveTo>
                    <a:pt x="0" y="0"/>
                  </a:moveTo>
                  <a:lnTo>
                    <a:pt x="16888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735" name="Gráfico 6">
            <a:extLst>
              <a:ext uri="{FF2B5EF4-FFF2-40B4-BE49-F238E27FC236}">
                <a16:creationId xmlns:a16="http://schemas.microsoft.com/office/drawing/2014/main" id="{F36E87FB-2C58-6517-94B9-B8093BB27F97}"/>
              </a:ext>
            </a:extLst>
          </p:cNvPr>
          <p:cNvGrpSpPr/>
          <p:nvPr/>
        </p:nvGrpSpPr>
        <p:grpSpPr>
          <a:xfrm>
            <a:off x="5666926" y="2605334"/>
            <a:ext cx="272001" cy="268377"/>
            <a:chOff x="5666926" y="2605334"/>
            <a:chExt cx="272001" cy="268377"/>
          </a:xfrm>
          <a:noFill/>
        </p:grpSpPr>
        <p:grpSp>
          <p:nvGrpSpPr>
            <p:cNvPr id="736" name="Gráfico 6">
              <a:extLst>
                <a:ext uri="{FF2B5EF4-FFF2-40B4-BE49-F238E27FC236}">
                  <a16:creationId xmlns:a16="http://schemas.microsoft.com/office/drawing/2014/main" id="{D4D9BFC5-9BF5-4E99-F6E1-FD869E975C32}"/>
                </a:ext>
              </a:extLst>
            </p:cNvPr>
            <p:cNvGrpSpPr/>
            <p:nvPr/>
          </p:nvGrpSpPr>
          <p:grpSpPr>
            <a:xfrm>
              <a:off x="5666926" y="2605334"/>
              <a:ext cx="272001" cy="268377"/>
              <a:chOff x="5666926" y="2605334"/>
              <a:chExt cx="272001" cy="268377"/>
            </a:xfrm>
            <a:noFill/>
          </p:grpSpPr>
          <p:grpSp>
            <p:nvGrpSpPr>
              <p:cNvPr id="737" name="Gráfico 6">
                <a:extLst>
                  <a:ext uri="{FF2B5EF4-FFF2-40B4-BE49-F238E27FC236}">
                    <a16:creationId xmlns:a16="http://schemas.microsoft.com/office/drawing/2014/main" id="{8CD7623F-698A-A988-CC13-6FF7CFA2B835}"/>
                  </a:ext>
                </a:extLst>
              </p:cNvPr>
              <p:cNvGrpSpPr/>
              <p:nvPr/>
            </p:nvGrpSpPr>
            <p:grpSpPr>
              <a:xfrm>
                <a:off x="5666926" y="2605334"/>
                <a:ext cx="201566" cy="268377"/>
                <a:chOff x="5666926" y="2605334"/>
                <a:chExt cx="201566" cy="268377"/>
              </a:xfrm>
              <a:noFill/>
            </p:grpSpPr>
            <p:grpSp>
              <p:nvGrpSpPr>
                <p:cNvPr id="738" name="Gráfico 6">
                  <a:extLst>
                    <a:ext uri="{FF2B5EF4-FFF2-40B4-BE49-F238E27FC236}">
                      <a16:creationId xmlns:a16="http://schemas.microsoft.com/office/drawing/2014/main" id="{FA795EA2-CC6D-C255-5C05-82B48900CAB8}"/>
                    </a:ext>
                  </a:extLst>
                </p:cNvPr>
                <p:cNvGrpSpPr/>
                <p:nvPr/>
              </p:nvGrpSpPr>
              <p:grpSpPr>
                <a:xfrm>
                  <a:off x="5709091" y="2737598"/>
                  <a:ext cx="91683" cy="76178"/>
                  <a:chOff x="5709091" y="2737598"/>
                  <a:chExt cx="91683" cy="76178"/>
                </a:xfrm>
              </p:grpSpPr>
              <p:sp>
                <p:nvSpPr>
                  <p:cNvPr id="739" name="Forma livre: Forma 738">
                    <a:extLst>
                      <a:ext uri="{FF2B5EF4-FFF2-40B4-BE49-F238E27FC236}">
                        <a16:creationId xmlns:a16="http://schemas.microsoft.com/office/drawing/2014/main" id="{10A9E0E8-00FE-924D-A44C-9D7B3823E982}"/>
                      </a:ext>
                    </a:extLst>
                  </p:cNvPr>
                  <p:cNvSpPr/>
                  <p:nvPr/>
                </p:nvSpPr>
                <p:spPr>
                  <a:xfrm>
                    <a:off x="5709091" y="2737598"/>
                    <a:ext cx="91683" cy="1191"/>
                  </a:xfrm>
                  <a:custGeom>
                    <a:avLst/>
                    <a:gdLst>
                      <a:gd name="connsiteX0" fmla="*/ 0 w 91683"/>
                      <a:gd name="connsiteY0" fmla="*/ 0 h 1191"/>
                      <a:gd name="connsiteX1" fmla="*/ 91684 w 91683"/>
                      <a:gd name="connsiteY1" fmla="*/ 0 h 119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91683" h="1191">
                        <a:moveTo>
                          <a:pt x="0" y="0"/>
                        </a:moveTo>
                        <a:lnTo>
                          <a:pt x="91684" y="0"/>
                        </a:lnTo>
                      </a:path>
                    </a:pathLst>
                  </a:custGeom>
                  <a:ln w="6350" cap="flat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740" name="Forma livre: Forma 739">
                    <a:extLst>
                      <a:ext uri="{FF2B5EF4-FFF2-40B4-BE49-F238E27FC236}">
                        <a16:creationId xmlns:a16="http://schemas.microsoft.com/office/drawing/2014/main" id="{B61652EC-EE9C-AAC9-FAEB-2E47A0F6D9A2}"/>
                      </a:ext>
                    </a:extLst>
                  </p:cNvPr>
                  <p:cNvSpPr/>
                  <p:nvPr/>
                </p:nvSpPr>
                <p:spPr>
                  <a:xfrm>
                    <a:off x="5709091" y="2775687"/>
                    <a:ext cx="68325" cy="1191"/>
                  </a:xfrm>
                  <a:custGeom>
                    <a:avLst/>
                    <a:gdLst>
                      <a:gd name="connsiteX0" fmla="*/ 0 w 68325"/>
                      <a:gd name="connsiteY0" fmla="*/ 0 h 1191"/>
                      <a:gd name="connsiteX1" fmla="*/ 68325 w 68325"/>
                      <a:gd name="connsiteY1" fmla="*/ 0 h 119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68325" h="1191">
                        <a:moveTo>
                          <a:pt x="0" y="0"/>
                        </a:moveTo>
                        <a:lnTo>
                          <a:pt x="68325" y="0"/>
                        </a:lnTo>
                      </a:path>
                    </a:pathLst>
                  </a:custGeom>
                  <a:ln w="6350" cap="flat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741" name="Forma livre: Forma 740">
                    <a:extLst>
                      <a:ext uri="{FF2B5EF4-FFF2-40B4-BE49-F238E27FC236}">
                        <a16:creationId xmlns:a16="http://schemas.microsoft.com/office/drawing/2014/main" id="{4E4B6186-7270-263C-1BE4-74FB48E4A90B}"/>
                      </a:ext>
                    </a:extLst>
                  </p:cNvPr>
                  <p:cNvSpPr/>
                  <p:nvPr/>
                </p:nvSpPr>
                <p:spPr>
                  <a:xfrm>
                    <a:off x="5709091" y="2813777"/>
                    <a:ext cx="63200" cy="1191"/>
                  </a:xfrm>
                  <a:custGeom>
                    <a:avLst/>
                    <a:gdLst>
                      <a:gd name="connsiteX0" fmla="*/ 0 w 63200"/>
                      <a:gd name="connsiteY0" fmla="*/ 0 h 1191"/>
                      <a:gd name="connsiteX1" fmla="*/ 63200 w 63200"/>
                      <a:gd name="connsiteY1" fmla="*/ 0 h 119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63200" h="1191">
                        <a:moveTo>
                          <a:pt x="0" y="0"/>
                        </a:moveTo>
                        <a:lnTo>
                          <a:pt x="63200" y="0"/>
                        </a:lnTo>
                      </a:path>
                    </a:pathLst>
                  </a:custGeom>
                  <a:ln w="6350" cap="flat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  <p:grpSp>
              <p:nvGrpSpPr>
                <p:cNvPr id="742" name="Gráfico 6">
                  <a:extLst>
                    <a:ext uri="{FF2B5EF4-FFF2-40B4-BE49-F238E27FC236}">
                      <a16:creationId xmlns:a16="http://schemas.microsoft.com/office/drawing/2014/main" id="{C6E639FA-C403-3F23-AC13-BA7F2739CCBE}"/>
                    </a:ext>
                  </a:extLst>
                </p:cNvPr>
                <p:cNvGrpSpPr/>
                <p:nvPr/>
              </p:nvGrpSpPr>
              <p:grpSpPr>
                <a:xfrm>
                  <a:off x="5666926" y="2605334"/>
                  <a:ext cx="201566" cy="268377"/>
                  <a:chOff x="5666926" y="2605334"/>
                  <a:chExt cx="201566" cy="268377"/>
                </a:xfrm>
                <a:noFill/>
              </p:grpSpPr>
              <p:sp>
                <p:nvSpPr>
                  <p:cNvPr id="743" name="Forma livre: Forma 742">
                    <a:extLst>
                      <a:ext uri="{FF2B5EF4-FFF2-40B4-BE49-F238E27FC236}">
                        <a16:creationId xmlns:a16="http://schemas.microsoft.com/office/drawing/2014/main" id="{A9038A3D-3DDA-8308-927A-6FD7B59A6441}"/>
                      </a:ext>
                    </a:extLst>
                  </p:cNvPr>
                  <p:cNvSpPr/>
                  <p:nvPr/>
                </p:nvSpPr>
                <p:spPr>
                  <a:xfrm>
                    <a:off x="5692561" y="2631183"/>
                    <a:ext cx="35610" cy="35562"/>
                  </a:xfrm>
                  <a:custGeom>
                    <a:avLst/>
                    <a:gdLst>
                      <a:gd name="connsiteX0" fmla="*/ 35611 w 35610"/>
                      <a:gd name="connsiteY0" fmla="*/ 0 h 35562"/>
                      <a:gd name="connsiteX1" fmla="*/ 35611 w 35610"/>
                      <a:gd name="connsiteY1" fmla="*/ 35563 h 35562"/>
                      <a:gd name="connsiteX2" fmla="*/ 0 w 35610"/>
                      <a:gd name="connsiteY2" fmla="*/ 35563 h 3556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</a:cxnLst>
                    <a:rect l="l" t="t" r="r" b="b"/>
                    <a:pathLst>
                      <a:path w="35610" h="35562">
                        <a:moveTo>
                          <a:pt x="35611" y="0"/>
                        </a:moveTo>
                        <a:lnTo>
                          <a:pt x="35611" y="35563"/>
                        </a:lnTo>
                        <a:lnTo>
                          <a:pt x="0" y="35563"/>
                        </a:lnTo>
                      </a:path>
                    </a:pathLst>
                  </a:custGeom>
                  <a:noFill/>
                  <a:ln w="6350" cap="flat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744" name="Forma livre: Forma 743">
                    <a:extLst>
                      <a:ext uri="{FF2B5EF4-FFF2-40B4-BE49-F238E27FC236}">
                        <a16:creationId xmlns:a16="http://schemas.microsoft.com/office/drawing/2014/main" id="{C3AB13F3-D8BC-3843-01A2-BF6DE96E7CBB}"/>
                      </a:ext>
                    </a:extLst>
                  </p:cNvPr>
                  <p:cNvSpPr/>
                  <p:nvPr/>
                </p:nvSpPr>
                <p:spPr>
                  <a:xfrm>
                    <a:off x="5666926" y="2605334"/>
                    <a:ext cx="201566" cy="268377"/>
                  </a:xfrm>
                  <a:custGeom>
                    <a:avLst/>
                    <a:gdLst>
                      <a:gd name="connsiteX0" fmla="*/ 201567 w 201566"/>
                      <a:gd name="connsiteY0" fmla="*/ 104329 h 268377"/>
                      <a:gd name="connsiteX1" fmla="*/ 201567 w 201566"/>
                      <a:gd name="connsiteY1" fmla="*/ 0 h 268377"/>
                      <a:gd name="connsiteX2" fmla="*/ 52081 w 201566"/>
                      <a:gd name="connsiteY2" fmla="*/ 0 h 268377"/>
                      <a:gd name="connsiteX3" fmla="*/ 0 w 201566"/>
                      <a:gd name="connsiteY3" fmla="*/ 52069 h 268377"/>
                      <a:gd name="connsiteX4" fmla="*/ 0 w 201566"/>
                      <a:gd name="connsiteY4" fmla="*/ 268378 h 268377"/>
                      <a:gd name="connsiteX5" fmla="*/ 135125 w 201566"/>
                      <a:gd name="connsiteY5" fmla="*/ 268378 h 26837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201566" h="268377">
                        <a:moveTo>
                          <a:pt x="201567" y="104329"/>
                        </a:moveTo>
                        <a:lnTo>
                          <a:pt x="201567" y="0"/>
                        </a:lnTo>
                        <a:lnTo>
                          <a:pt x="52081" y="0"/>
                        </a:lnTo>
                        <a:lnTo>
                          <a:pt x="0" y="52069"/>
                        </a:lnTo>
                        <a:lnTo>
                          <a:pt x="0" y="268378"/>
                        </a:lnTo>
                        <a:lnTo>
                          <a:pt x="135125" y="268378"/>
                        </a:lnTo>
                      </a:path>
                    </a:pathLst>
                  </a:custGeom>
                  <a:noFill/>
                  <a:ln w="6350" cap="flat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</p:grpSp>
          <p:sp>
            <p:nvSpPr>
              <p:cNvPr id="745" name="Forma livre: Forma 744">
                <a:extLst>
                  <a:ext uri="{FF2B5EF4-FFF2-40B4-BE49-F238E27FC236}">
                    <a16:creationId xmlns:a16="http://schemas.microsoft.com/office/drawing/2014/main" id="{30763CBE-09DC-7DED-37B3-211BDA2C7F22}"/>
                  </a:ext>
                </a:extLst>
              </p:cNvPr>
              <p:cNvSpPr/>
              <p:nvPr/>
            </p:nvSpPr>
            <p:spPr>
              <a:xfrm>
                <a:off x="5798402" y="2732931"/>
                <a:ext cx="140525" cy="140535"/>
              </a:xfrm>
              <a:custGeom>
                <a:avLst/>
                <a:gdLst>
                  <a:gd name="connsiteX0" fmla="*/ 26137 w 140525"/>
                  <a:gd name="connsiteY0" fmla="*/ 15560 h 140535"/>
                  <a:gd name="connsiteX1" fmla="*/ 50962 w 140525"/>
                  <a:gd name="connsiteY1" fmla="*/ 2724 h 140535"/>
                  <a:gd name="connsiteX2" fmla="*/ 137807 w 140525"/>
                  <a:gd name="connsiteY2" fmla="*/ 50967 h 140535"/>
                  <a:gd name="connsiteX3" fmla="*/ 89552 w 140525"/>
                  <a:gd name="connsiteY3" fmla="*/ 137813 h 140535"/>
                  <a:gd name="connsiteX4" fmla="*/ 2719 w 140525"/>
                  <a:gd name="connsiteY4" fmla="*/ 89569 h 140535"/>
                  <a:gd name="connsiteX5" fmla="*/ 8225 w 140525"/>
                  <a:gd name="connsiteY5" fmla="*/ 37333 h 1405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40525" h="140535">
                    <a:moveTo>
                      <a:pt x="26137" y="15560"/>
                    </a:moveTo>
                    <a:cubicBezTo>
                      <a:pt x="33264" y="9827"/>
                      <a:pt x="41607" y="5382"/>
                      <a:pt x="50962" y="2724"/>
                    </a:cubicBezTo>
                    <a:cubicBezTo>
                      <a:pt x="88265" y="-7942"/>
                      <a:pt x="127153" y="13665"/>
                      <a:pt x="137807" y="50967"/>
                    </a:cubicBezTo>
                    <a:cubicBezTo>
                      <a:pt x="148462" y="88282"/>
                      <a:pt x="126843" y="127158"/>
                      <a:pt x="89552" y="137813"/>
                    </a:cubicBezTo>
                    <a:cubicBezTo>
                      <a:pt x="52249" y="148479"/>
                      <a:pt x="13373" y="126860"/>
                      <a:pt x="2719" y="89569"/>
                    </a:cubicBezTo>
                    <a:cubicBezTo>
                      <a:pt x="-2478" y="71371"/>
                      <a:pt x="1" y="52827"/>
                      <a:pt x="8225" y="37333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746" name="Forma livre: Forma 745">
              <a:extLst>
                <a:ext uri="{FF2B5EF4-FFF2-40B4-BE49-F238E27FC236}">
                  <a16:creationId xmlns:a16="http://schemas.microsoft.com/office/drawing/2014/main" id="{B6F73652-208F-1882-A80A-25F0F26EC3F6}"/>
                </a:ext>
              </a:extLst>
            </p:cNvPr>
            <p:cNvSpPr/>
            <p:nvPr/>
          </p:nvSpPr>
          <p:spPr>
            <a:xfrm>
              <a:off x="5831404" y="2778297"/>
              <a:ext cx="71495" cy="55394"/>
            </a:xfrm>
            <a:custGeom>
              <a:avLst/>
              <a:gdLst>
                <a:gd name="connsiteX0" fmla="*/ 0 w 71495"/>
                <a:gd name="connsiteY0" fmla="*/ 20582 h 55394"/>
                <a:gd name="connsiteX1" fmla="*/ 25147 w 71495"/>
                <a:gd name="connsiteY1" fmla="*/ 55394 h 55394"/>
                <a:gd name="connsiteX2" fmla="*/ 71495 w 71495"/>
                <a:gd name="connsiteY2" fmla="*/ 0 h 553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71495" h="55394">
                  <a:moveTo>
                    <a:pt x="0" y="20582"/>
                  </a:moveTo>
                  <a:lnTo>
                    <a:pt x="25147" y="55394"/>
                  </a:lnTo>
                  <a:lnTo>
                    <a:pt x="71495" y="0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747" name="Gráfico 6">
            <a:extLst>
              <a:ext uri="{FF2B5EF4-FFF2-40B4-BE49-F238E27FC236}">
                <a16:creationId xmlns:a16="http://schemas.microsoft.com/office/drawing/2014/main" id="{8103CC9D-3D2A-141D-04CC-061E894CE1CA}"/>
              </a:ext>
            </a:extLst>
          </p:cNvPr>
          <p:cNvGrpSpPr/>
          <p:nvPr/>
        </p:nvGrpSpPr>
        <p:grpSpPr>
          <a:xfrm>
            <a:off x="5680775" y="2042859"/>
            <a:ext cx="244303" cy="337394"/>
            <a:chOff x="5680775" y="2042859"/>
            <a:chExt cx="244303" cy="337394"/>
          </a:xfrm>
          <a:noFill/>
        </p:grpSpPr>
        <p:grpSp>
          <p:nvGrpSpPr>
            <p:cNvPr id="748" name="Gráfico 6">
              <a:extLst>
                <a:ext uri="{FF2B5EF4-FFF2-40B4-BE49-F238E27FC236}">
                  <a16:creationId xmlns:a16="http://schemas.microsoft.com/office/drawing/2014/main" id="{CD3E62AF-B772-65F1-574D-88955FAC36BD}"/>
                </a:ext>
              </a:extLst>
            </p:cNvPr>
            <p:cNvGrpSpPr/>
            <p:nvPr/>
          </p:nvGrpSpPr>
          <p:grpSpPr>
            <a:xfrm>
              <a:off x="5680775" y="2042859"/>
              <a:ext cx="244303" cy="337394"/>
              <a:chOff x="5680775" y="2042859"/>
              <a:chExt cx="244303" cy="337394"/>
            </a:xfrm>
            <a:noFill/>
          </p:grpSpPr>
          <p:sp>
            <p:nvSpPr>
              <p:cNvPr id="749" name="Forma livre: Forma 748">
                <a:extLst>
                  <a:ext uri="{FF2B5EF4-FFF2-40B4-BE49-F238E27FC236}">
                    <a16:creationId xmlns:a16="http://schemas.microsoft.com/office/drawing/2014/main" id="{5F53B3A5-44DD-77B1-659A-09AD1284BA6E}"/>
                  </a:ext>
                </a:extLst>
              </p:cNvPr>
              <p:cNvSpPr/>
              <p:nvPr/>
            </p:nvSpPr>
            <p:spPr>
              <a:xfrm>
                <a:off x="5759039" y="2341794"/>
                <a:ext cx="88299" cy="1191"/>
              </a:xfrm>
              <a:custGeom>
                <a:avLst/>
                <a:gdLst>
                  <a:gd name="connsiteX0" fmla="*/ 0 w 88299"/>
                  <a:gd name="connsiteY0" fmla="*/ 0 h 1191"/>
                  <a:gd name="connsiteX1" fmla="*/ 88299 w 88299"/>
                  <a:gd name="connsiteY1" fmla="*/ 0 h 11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88299" h="1191">
                    <a:moveTo>
                      <a:pt x="0" y="0"/>
                    </a:moveTo>
                    <a:lnTo>
                      <a:pt x="88299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50" name="Forma livre: Forma 749">
                <a:extLst>
                  <a:ext uri="{FF2B5EF4-FFF2-40B4-BE49-F238E27FC236}">
                    <a16:creationId xmlns:a16="http://schemas.microsoft.com/office/drawing/2014/main" id="{C220F816-EE09-CAEA-3804-D3CABA8DED8B}"/>
                  </a:ext>
                </a:extLst>
              </p:cNvPr>
              <p:cNvSpPr/>
              <p:nvPr/>
            </p:nvSpPr>
            <p:spPr>
              <a:xfrm>
                <a:off x="5802921" y="2042859"/>
                <a:ext cx="1191" cy="22214"/>
              </a:xfrm>
              <a:custGeom>
                <a:avLst/>
                <a:gdLst>
                  <a:gd name="connsiteX0" fmla="*/ 0 w 1191"/>
                  <a:gd name="connsiteY0" fmla="*/ 22215 h 22214"/>
                  <a:gd name="connsiteX1" fmla="*/ 0 w 1191"/>
                  <a:gd name="connsiteY1" fmla="*/ 0 h 222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1" h="22214">
                    <a:moveTo>
                      <a:pt x="0" y="22215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751" name="Gráfico 6">
                <a:extLst>
                  <a:ext uri="{FF2B5EF4-FFF2-40B4-BE49-F238E27FC236}">
                    <a16:creationId xmlns:a16="http://schemas.microsoft.com/office/drawing/2014/main" id="{E1D2139F-BFCD-C6E6-8EC0-C869EE6B28C4}"/>
                  </a:ext>
                </a:extLst>
              </p:cNvPr>
              <p:cNvGrpSpPr/>
              <p:nvPr/>
            </p:nvGrpSpPr>
            <p:grpSpPr>
              <a:xfrm>
                <a:off x="5680775" y="2095214"/>
                <a:ext cx="244303" cy="18055"/>
                <a:chOff x="5680775" y="2095214"/>
                <a:chExt cx="244303" cy="18055"/>
              </a:xfrm>
            </p:grpSpPr>
            <p:sp>
              <p:nvSpPr>
                <p:cNvPr id="752" name="Forma livre: Forma 751">
                  <a:extLst>
                    <a:ext uri="{FF2B5EF4-FFF2-40B4-BE49-F238E27FC236}">
                      <a16:creationId xmlns:a16="http://schemas.microsoft.com/office/drawing/2014/main" id="{8B9DE0E8-CD38-B633-11D5-FC0855548F26}"/>
                    </a:ext>
                  </a:extLst>
                </p:cNvPr>
                <p:cNvSpPr/>
                <p:nvPr/>
              </p:nvSpPr>
              <p:spPr>
                <a:xfrm>
                  <a:off x="5907094" y="2095214"/>
                  <a:ext cx="17984" cy="18055"/>
                </a:xfrm>
                <a:custGeom>
                  <a:avLst/>
                  <a:gdLst>
                    <a:gd name="connsiteX0" fmla="*/ 0 w 17984"/>
                    <a:gd name="connsiteY0" fmla="*/ 18056 h 18055"/>
                    <a:gd name="connsiteX1" fmla="*/ 17984 w 17984"/>
                    <a:gd name="connsiteY1" fmla="*/ 0 h 1805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7984" h="18055">
                      <a:moveTo>
                        <a:pt x="0" y="18056"/>
                      </a:moveTo>
                      <a:lnTo>
                        <a:pt x="17984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753" name="Forma livre: Forma 752">
                  <a:extLst>
                    <a:ext uri="{FF2B5EF4-FFF2-40B4-BE49-F238E27FC236}">
                      <a16:creationId xmlns:a16="http://schemas.microsoft.com/office/drawing/2014/main" id="{6494AA6C-C5E1-3FB1-FFD2-F726ABF676CB}"/>
                    </a:ext>
                  </a:extLst>
                </p:cNvPr>
                <p:cNvSpPr/>
                <p:nvPr/>
              </p:nvSpPr>
              <p:spPr>
                <a:xfrm>
                  <a:off x="5680775" y="2095214"/>
                  <a:ext cx="17972" cy="18055"/>
                </a:xfrm>
                <a:custGeom>
                  <a:avLst/>
                  <a:gdLst>
                    <a:gd name="connsiteX0" fmla="*/ 0 w 17972"/>
                    <a:gd name="connsiteY0" fmla="*/ 0 h 18055"/>
                    <a:gd name="connsiteX1" fmla="*/ 17972 w 17972"/>
                    <a:gd name="connsiteY1" fmla="*/ 18056 h 1805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7972" h="18055">
                      <a:moveTo>
                        <a:pt x="0" y="0"/>
                      </a:moveTo>
                      <a:lnTo>
                        <a:pt x="17972" y="18056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754" name="Forma livre: Forma 753">
                <a:extLst>
                  <a:ext uri="{FF2B5EF4-FFF2-40B4-BE49-F238E27FC236}">
                    <a16:creationId xmlns:a16="http://schemas.microsoft.com/office/drawing/2014/main" id="{3EE3408E-F61A-5A59-0A25-1DF56CEB7107}"/>
                  </a:ext>
                </a:extLst>
              </p:cNvPr>
              <p:cNvSpPr/>
              <p:nvPr/>
            </p:nvSpPr>
            <p:spPr>
              <a:xfrm>
                <a:off x="5705301" y="2098003"/>
                <a:ext cx="195762" cy="214378"/>
              </a:xfrm>
              <a:custGeom>
                <a:avLst/>
                <a:gdLst>
                  <a:gd name="connsiteX0" fmla="*/ 97846 w 195762"/>
                  <a:gd name="connsiteY0" fmla="*/ 0 h 214378"/>
                  <a:gd name="connsiteX1" fmla="*/ 0 w 195762"/>
                  <a:gd name="connsiteY1" fmla="*/ 95939 h 214378"/>
                  <a:gd name="connsiteX2" fmla="*/ 17686 w 195762"/>
                  <a:gd name="connsiteY2" fmla="*/ 151011 h 214378"/>
                  <a:gd name="connsiteX3" fmla="*/ 30009 w 195762"/>
                  <a:gd name="connsiteY3" fmla="*/ 163203 h 214378"/>
                  <a:gd name="connsiteX4" fmla="*/ 60555 w 195762"/>
                  <a:gd name="connsiteY4" fmla="*/ 214378 h 214378"/>
                  <a:gd name="connsiteX5" fmla="*/ 135148 w 195762"/>
                  <a:gd name="connsiteY5" fmla="*/ 214378 h 214378"/>
                  <a:gd name="connsiteX6" fmla="*/ 165813 w 195762"/>
                  <a:gd name="connsiteY6" fmla="*/ 163120 h 214378"/>
                  <a:gd name="connsiteX7" fmla="*/ 177898 w 195762"/>
                  <a:gd name="connsiteY7" fmla="*/ 151225 h 214378"/>
                  <a:gd name="connsiteX8" fmla="*/ 195763 w 195762"/>
                  <a:gd name="connsiteY8" fmla="*/ 95939 h 214378"/>
                  <a:gd name="connsiteX9" fmla="*/ 97846 w 195762"/>
                  <a:gd name="connsiteY9" fmla="*/ 0 h 2143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95762" h="214378">
                    <a:moveTo>
                      <a:pt x="97846" y="0"/>
                    </a:moveTo>
                    <a:cubicBezTo>
                      <a:pt x="43894" y="0"/>
                      <a:pt x="0" y="43035"/>
                      <a:pt x="0" y="95939"/>
                    </a:cubicBezTo>
                    <a:cubicBezTo>
                      <a:pt x="0" y="118058"/>
                      <a:pt x="6042" y="136698"/>
                      <a:pt x="17686" y="151011"/>
                    </a:cubicBezTo>
                    <a:cubicBezTo>
                      <a:pt x="21786" y="155456"/>
                      <a:pt x="25969" y="159389"/>
                      <a:pt x="30009" y="163203"/>
                    </a:cubicBezTo>
                    <a:cubicBezTo>
                      <a:pt x="43667" y="176086"/>
                      <a:pt x="56610" y="188409"/>
                      <a:pt x="60555" y="214378"/>
                    </a:cubicBezTo>
                    <a:lnTo>
                      <a:pt x="135148" y="214378"/>
                    </a:lnTo>
                    <a:cubicBezTo>
                      <a:pt x="139093" y="188218"/>
                      <a:pt x="152107" y="176027"/>
                      <a:pt x="165813" y="163120"/>
                    </a:cubicBezTo>
                    <a:cubicBezTo>
                      <a:pt x="169841" y="159342"/>
                      <a:pt x="174001" y="155421"/>
                      <a:pt x="177898" y="151225"/>
                    </a:cubicBezTo>
                    <a:cubicBezTo>
                      <a:pt x="190411" y="136447"/>
                      <a:pt x="195763" y="119917"/>
                      <a:pt x="195763" y="95939"/>
                    </a:cubicBezTo>
                    <a:cubicBezTo>
                      <a:pt x="195763" y="43035"/>
                      <a:pt x="151845" y="0"/>
                      <a:pt x="97846" y="0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55" name="Forma livre: Forma 754">
                <a:extLst>
                  <a:ext uri="{FF2B5EF4-FFF2-40B4-BE49-F238E27FC236}">
                    <a16:creationId xmlns:a16="http://schemas.microsoft.com/office/drawing/2014/main" id="{BD5C9DDF-1F0D-865A-42AF-668F84E921EA}"/>
                  </a:ext>
                </a:extLst>
              </p:cNvPr>
              <p:cNvSpPr/>
              <p:nvPr/>
            </p:nvSpPr>
            <p:spPr>
              <a:xfrm>
                <a:off x="5769908" y="2368872"/>
                <a:ext cx="66573" cy="11381"/>
              </a:xfrm>
              <a:custGeom>
                <a:avLst/>
                <a:gdLst>
                  <a:gd name="connsiteX0" fmla="*/ 0 w 66573"/>
                  <a:gd name="connsiteY0" fmla="*/ 0 h 11381"/>
                  <a:gd name="connsiteX1" fmla="*/ 12943 w 66573"/>
                  <a:gd name="connsiteY1" fmla="*/ 0 h 11381"/>
                  <a:gd name="connsiteX2" fmla="*/ 33286 w 66573"/>
                  <a:gd name="connsiteY2" fmla="*/ 11382 h 11381"/>
                  <a:gd name="connsiteX3" fmla="*/ 53630 w 66573"/>
                  <a:gd name="connsiteY3" fmla="*/ 0 h 11381"/>
                  <a:gd name="connsiteX4" fmla="*/ 66573 w 66573"/>
                  <a:gd name="connsiteY4" fmla="*/ 0 h 113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6573" h="11381">
                    <a:moveTo>
                      <a:pt x="0" y="0"/>
                    </a:moveTo>
                    <a:lnTo>
                      <a:pt x="12943" y="0"/>
                    </a:lnTo>
                    <a:cubicBezTo>
                      <a:pt x="16196" y="4493"/>
                      <a:pt x="23287" y="11382"/>
                      <a:pt x="33286" y="11382"/>
                    </a:cubicBezTo>
                    <a:cubicBezTo>
                      <a:pt x="43286" y="11382"/>
                      <a:pt x="50353" y="4493"/>
                      <a:pt x="53630" y="0"/>
                    </a:cubicBezTo>
                    <a:lnTo>
                      <a:pt x="66573" y="0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756" name="Forma livre: Forma 755">
              <a:extLst>
                <a:ext uri="{FF2B5EF4-FFF2-40B4-BE49-F238E27FC236}">
                  <a16:creationId xmlns:a16="http://schemas.microsoft.com/office/drawing/2014/main" id="{52192EF4-42AC-6300-2F44-BBD765B15B2A}"/>
                </a:ext>
              </a:extLst>
            </p:cNvPr>
            <p:cNvSpPr/>
            <p:nvPr/>
          </p:nvSpPr>
          <p:spPr>
            <a:xfrm>
              <a:off x="5757287" y="2161942"/>
              <a:ext cx="94127" cy="72937"/>
            </a:xfrm>
            <a:custGeom>
              <a:avLst/>
              <a:gdLst>
                <a:gd name="connsiteX0" fmla="*/ 0 w 94127"/>
                <a:gd name="connsiteY0" fmla="*/ 27101 h 72937"/>
                <a:gd name="connsiteX1" fmla="*/ 33096 w 94127"/>
                <a:gd name="connsiteY1" fmla="*/ 72937 h 72937"/>
                <a:gd name="connsiteX2" fmla="*/ 94127 w 94127"/>
                <a:gd name="connsiteY2" fmla="*/ 0 h 729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4127" h="72937">
                  <a:moveTo>
                    <a:pt x="0" y="27101"/>
                  </a:moveTo>
                  <a:lnTo>
                    <a:pt x="33096" y="72937"/>
                  </a:lnTo>
                  <a:lnTo>
                    <a:pt x="94127" y="0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757" name="Gráfico 6">
            <a:extLst>
              <a:ext uri="{FF2B5EF4-FFF2-40B4-BE49-F238E27FC236}">
                <a16:creationId xmlns:a16="http://schemas.microsoft.com/office/drawing/2014/main" id="{2C6E2AF6-3E13-5A79-B8AE-C29D072C4228}"/>
              </a:ext>
            </a:extLst>
          </p:cNvPr>
          <p:cNvGrpSpPr/>
          <p:nvPr/>
        </p:nvGrpSpPr>
        <p:grpSpPr>
          <a:xfrm>
            <a:off x="5643221" y="3118158"/>
            <a:ext cx="319410" cy="298696"/>
            <a:chOff x="5643221" y="3118158"/>
            <a:chExt cx="319410" cy="298696"/>
          </a:xfrm>
          <a:noFill/>
        </p:grpSpPr>
        <p:grpSp>
          <p:nvGrpSpPr>
            <p:cNvPr id="758" name="Gráfico 6">
              <a:extLst>
                <a:ext uri="{FF2B5EF4-FFF2-40B4-BE49-F238E27FC236}">
                  <a16:creationId xmlns:a16="http://schemas.microsoft.com/office/drawing/2014/main" id="{8144A539-EA64-BD43-FF74-C4327CD662AB}"/>
                </a:ext>
              </a:extLst>
            </p:cNvPr>
            <p:cNvGrpSpPr/>
            <p:nvPr/>
          </p:nvGrpSpPr>
          <p:grpSpPr>
            <a:xfrm>
              <a:off x="5643221" y="3118158"/>
              <a:ext cx="258438" cy="258343"/>
              <a:chOff x="5643221" y="3118158"/>
              <a:chExt cx="258438" cy="258343"/>
            </a:xfrm>
            <a:noFill/>
          </p:grpSpPr>
          <p:sp>
            <p:nvSpPr>
              <p:cNvPr id="759" name="Forma livre: Forma 758">
                <a:extLst>
                  <a:ext uri="{FF2B5EF4-FFF2-40B4-BE49-F238E27FC236}">
                    <a16:creationId xmlns:a16="http://schemas.microsoft.com/office/drawing/2014/main" id="{B3962FD8-2922-53E6-56A0-76637C4B7BF0}"/>
                  </a:ext>
                </a:extLst>
              </p:cNvPr>
              <p:cNvSpPr/>
              <p:nvPr/>
            </p:nvSpPr>
            <p:spPr>
              <a:xfrm>
                <a:off x="5665758" y="3194242"/>
                <a:ext cx="213353" cy="1191"/>
              </a:xfrm>
              <a:custGeom>
                <a:avLst/>
                <a:gdLst>
                  <a:gd name="connsiteX0" fmla="*/ 0 w 213353"/>
                  <a:gd name="connsiteY0" fmla="*/ 0 h 1191"/>
                  <a:gd name="connsiteX1" fmla="*/ 213353 w 213353"/>
                  <a:gd name="connsiteY1" fmla="*/ 0 h 11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13353" h="1191">
                    <a:moveTo>
                      <a:pt x="0" y="0"/>
                    </a:moveTo>
                    <a:lnTo>
                      <a:pt x="213353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60" name="Forma livre: Forma 759">
                <a:extLst>
                  <a:ext uri="{FF2B5EF4-FFF2-40B4-BE49-F238E27FC236}">
                    <a16:creationId xmlns:a16="http://schemas.microsoft.com/office/drawing/2014/main" id="{EB1140B1-E6E6-B8AD-DCE3-2660150AA9AE}"/>
                  </a:ext>
                </a:extLst>
              </p:cNvPr>
              <p:cNvSpPr/>
              <p:nvPr/>
            </p:nvSpPr>
            <p:spPr>
              <a:xfrm>
                <a:off x="5643221" y="3141315"/>
                <a:ext cx="159139" cy="235186"/>
              </a:xfrm>
              <a:custGeom>
                <a:avLst/>
                <a:gdLst>
                  <a:gd name="connsiteX0" fmla="*/ 159139 w 159139"/>
                  <a:gd name="connsiteY0" fmla="*/ 235187 h 235186"/>
                  <a:gd name="connsiteX1" fmla="*/ 14921 w 159139"/>
                  <a:gd name="connsiteY1" fmla="*/ 235187 h 235186"/>
                  <a:gd name="connsiteX2" fmla="*/ 0 w 159139"/>
                  <a:gd name="connsiteY2" fmla="*/ 220194 h 235186"/>
                  <a:gd name="connsiteX3" fmla="*/ 0 w 159139"/>
                  <a:gd name="connsiteY3" fmla="*/ 14921 h 235186"/>
                  <a:gd name="connsiteX4" fmla="*/ 14921 w 159139"/>
                  <a:gd name="connsiteY4" fmla="*/ 0 h 235186"/>
                  <a:gd name="connsiteX5" fmla="*/ 55966 w 159139"/>
                  <a:gd name="connsiteY5" fmla="*/ 0 h 2351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59139" h="235186">
                    <a:moveTo>
                      <a:pt x="159139" y="235187"/>
                    </a:moveTo>
                    <a:lnTo>
                      <a:pt x="14921" y="235187"/>
                    </a:lnTo>
                    <a:cubicBezTo>
                      <a:pt x="6722" y="235187"/>
                      <a:pt x="0" y="228394"/>
                      <a:pt x="0" y="220194"/>
                    </a:cubicBezTo>
                    <a:lnTo>
                      <a:pt x="0" y="14921"/>
                    </a:lnTo>
                    <a:cubicBezTo>
                      <a:pt x="0" y="6722"/>
                      <a:pt x="6722" y="0"/>
                      <a:pt x="14921" y="0"/>
                    </a:cubicBezTo>
                    <a:lnTo>
                      <a:pt x="55966" y="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61" name="Forma livre: Forma 760">
                <a:extLst>
                  <a:ext uri="{FF2B5EF4-FFF2-40B4-BE49-F238E27FC236}">
                    <a16:creationId xmlns:a16="http://schemas.microsoft.com/office/drawing/2014/main" id="{DE15B230-3075-F01C-2159-29EEBB6A5387}"/>
                  </a:ext>
                </a:extLst>
              </p:cNvPr>
              <p:cNvSpPr/>
              <p:nvPr/>
            </p:nvSpPr>
            <p:spPr>
              <a:xfrm>
                <a:off x="5859256" y="3141327"/>
                <a:ext cx="42403" cy="111586"/>
              </a:xfrm>
              <a:custGeom>
                <a:avLst/>
                <a:gdLst>
                  <a:gd name="connsiteX0" fmla="*/ 0 w 42403"/>
                  <a:gd name="connsiteY0" fmla="*/ 0 h 111586"/>
                  <a:gd name="connsiteX1" fmla="*/ 27482 w 42403"/>
                  <a:gd name="connsiteY1" fmla="*/ 0 h 111586"/>
                  <a:gd name="connsiteX2" fmla="*/ 42404 w 42403"/>
                  <a:gd name="connsiteY2" fmla="*/ 14921 h 111586"/>
                  <a:gd name="connsiteX3" fmla="*/ 42404 w 42403"/>
                  <a:gd name="connsiteY3" fmla="*/ 111587 h 1115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2403" h="111586">
                    <a:moveTo>
                      <a:pt x="0" y="0"/>
                    </a:moveTo>
                    <a:lnTo>
                      <a:pt x="27482" y="0"/>
                    </a:lnTo>
                    <a:cubicBezTo>
                      <a:pt x="35682" y="0"/>
                      <a:pt x="42404" y="6710"/>
                      <a:pt x="42404" y="14921"/>
                    </a:cubicBezTo>
                    <a:lnTo>
                      <a:pt x="42404" y="111587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62" name="Forma livre: Forma 761">
                <a:extLst>
                  <a:ext uri="{FF2B5EF4-FFF2-40B4-BE49-F238E27FC236}">
                    <a16:creationId xmlns:a16="http://schemas.microsoft.com/office/drawing/2014/main" id="{7A90CE3D-A637-D913-A5FC-AFD1DB59D690}"/>
                  </a:ext>
                </a:extLst>
              </p:cNvPr>
              <p:cNvSpPr/>
              <p:nvPr/>
            </p:nvSpPr>
            <p:spPr>
              <a:xfrm>
                <a:off x="5793970" y="3141327"/>
                <a:ext cx="35753" cy="1191"/>
              </a:xfrm>
              <a:custGeom>
                <a:avLst/>
                <a:gdLst>
                  <a:gd name="connsiteX0" fmla="*/ 0 w 35753"/>
                  <a:gd name="connsiteY0" fmla="*/ 0 h 1191"/>
                  <a:gd name="connsiteX1" fmla="*/ 35754 w 35753"/>
                  <a:gd name="connsiteY1" fmla="*/ 0 h 11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5753" h="1191">
                    <a:moveTo>
                      <a:pt x="0" y="0"/>
                    </a:moveTo>
                    <a:lnTo>
                      <a:pt x="35754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63" name="Forma livre: Forma 762">
                <a:extLst>
                  <a:ext uri="{FF2B5EF4-FFF2-40B4-BE49-F238E27FC236}">
                    <a16:creationId xmlns:a16="http://schemas.microsoft.com/office/drawing/2014/main" id="{7E7542ED-15CE-A3E4-B83F-995A388145AF}"/>
                  </a:ext>
                </a:extLst>
              </p:cNvPr>
              <p:cNvSpPr/>
              <p:nvPr/>
            </p:nvSpPr>
            <p:spPr>
              <a:xfrm>
                <a:off x="5728708" y="3141327"/>
                <a:ext cx="35741" cy="1191"/>
              </a:xfrm>
              <a:custGeom>
                <a:avLst/>
                <a:gdLst>
                  <a:gd name="connsiteX0" fmla="*/ 0 w 35741"/>
                  <a:gd name="connsiteY0" fmla="*/ 0 h 1191"/>
                  <a:gd name="connsiteX1" fmla="*/ 35742 w 35741"/>
                  <a:gd name="connsiteY1" fmla="*/ 0 h 11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5741" h="1191">
                    <a:moveTo>
                      <a:pt x="0" y="0"/>
                    </a:moveTo>
                    <a:lnTo>
                      <a:pt x="35742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64" name="Forma livre: Forma 763">
                <a:extLst>
                  <a:ext uri="{FF2B5EF4-FFF2-40B4-BE49-F238E27FC236}">
                    <a16:creationId xmlns:a16="http://schemas.microsoft.com/office/drawing/2014/main" id="{40E5A3E3-219C-F904-0AAD-0DAE1ADA847B}"/>
                  </a:ext>
                </a:extLst>
              </p:cNvPr>
              <p:cNvSpPr/>
              <p:nvPr/>
            </p:nvSpPr>
            <p:spPr>
              <a:xfrm>
                <a:off x="5700213" y="3118158"/>
                <a:ext cx="1191" cy="50746"/>
              </a:xfrm>
              <a:custGeom>
                <a:avLst/>
                <a:gdLst>
                  <a:gd name="connsiteX0" fmla="*/ 0 w 1191"/>
                  <a:gd name="connsiteY0" fmla="*/ 0 h 50746"/>
                  <a:gd name="connsiteX1" fmla="*/ 0 w 1191"/>
                  <a:gd name="connsiteY1" fmla="*/ 50746 h 507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1" h="50746">
                    <a:moveTo>
                      <a:pt x="0" y="0"/>
                    </a:moveTo>
                    <a:lnTo>
                      <a:pt x="0" y="50746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65" name="Forma livre: Forma 764">
                <a:extLst>
                  <a:ext uri="{FF2B5EF4-FFF2-40B4-BE49-F238E27FC236}">
                    <a16:creationId xmlns:a16="http://schemas.microsoft.com/office/drawing/2014/main" id="{717AF1E4-350D-4EF3-C0E0-23DC46F23C9E}"/>
                  </a:ext>
                </a:extLst>
              </p:cNvPr>
              <p:cNvSpPr/>
              <p:nvPr/>
            </p:nvSpPr>
            <p:spPr>
              <a:xfrm>
                <a:off x="5830749" y="3118158"/>
                <a:ext cx="1191" cy="50746"/>
              </a:xfrm>
              <a:custGeom>
                <a:avLst/>
                <a:gdLst>
                  <a:gd name="connsiteX0" fmla="*/ 0 w 1191"/>
                  <a:gd name="connsiteY0" fmla="*/ 0 h 50746"/>
                  <a:gd name="connsiteX1" fmla="*/ 0 w 1191"/>
                  <a:gd name="connsiteY1" fmla="*/ 50746 h 507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1" h="50746">
                    <a:moveTo>
                      <a:pt x="0" y="0"/>
                    </a:moveTo>
                    <a:lnTo>
                      <a:pt x="0" y="50746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66" name="Forma livre: Forma 765">
                <a:extLst>
                  <a:ext uri="{FF2B5EF4-FFF2-40B4-BE49-F238E27FC236}">
                    <a16:creationId xmlns:a16="http://schemas.microsoft.com/office/drawing/2014/main" id="{2B895C3F-CD81-EDDD-790F-CDF1F5C5C9C8}"/>
                  </a:ext>
                </a:extLst>
              </p:cNvPr>
              <p:cNvSpPr/>
              <p:nvPr/>
            </p:nvSpPr>
            <p:spPr>
              <a:xfrm>
                <a:off x="5765487" y="3118158"/>
                <a:ext cx="1191" cy="50746"/>
              </a:xfrm>
              <a:custGeom>
                <a:avLst/>
                <a:gdLst>
                  <a:gd name="connsiteX0" fmla="*/ 0 w 1191"/>
                  <a:gd name="connsiteY0" fmla="*/ 0 h 50746"/>
                  <a:gd name="connsiteX1" fmla="*/ 0 w 1191"/>
                  <a:gd name="connsiteY1" fmla="*/ 50746 h 507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1" h="50746">
                    <a:moveTo>
                      <a:pt x="0" y="0"/>
                    </a:moveTo>
                    <a:lnTo>
                      <a:pt x="0" y="50746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67" name="Forma livre: Forma 766">
                <a:extLst>
                  <a:ext uri="{FF2B5EF4-FFF2-40B4-BE49-F238E27FC236}">
                    <a16:creationId xmlns:a16="http://schemas.microsoft.com/office/drawing/2014/main" id="{9475390D-D0CF-6253-46B9-AB481D498EB3}"/>
                  </a:ext>
                </a:extLst>
              </p:cNvPr>
              <p:cNvSpPr/>
              <p:nvPr/>
            </p:nvSpPr>
            <p:spPr>
              <a:xfrm>
                <a:off x="5684779" y="3261673"/>
                <a:ext cx="160497" cy="1191"/>
              </a:xfrm>
              <a:custGeom>
                <a:avLst/>
                <a:gdLst>
                  <a:gd name="connsiteX0" fmla="*/ 0 w 160497"/>
                  <a:gd name="connsiteY0" fmla="*/ 0 h 1191"/>
                  <a:gd name="connsiteX1" fmla="*/ 160498 w 160497"/>
                  <a:gd name="connsiteY1" fmla="*/ 0 h 11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60497" h="1191">
                    <a:moveTo>
                      <a:pt x="0" y="0"/>
                    </a:moveTo>
                    <a:lnTo>
                      <a:pt x="160498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68" name="Forma livre: Forma 767">
                <a:extLst>
                  <a:ext uri="{FF2B5EF4-FFF2-40B4-BE49-F238E27FC236}">
                    <a16:creationId xmlns:a16="http://schemas.microsoft.com/office/drawing/2014/main" id="{8D700381-DEF7-C4C8-606D-A22C54BE9C26}"/>
                  </a:ext>
                </a:extLst>
              </p:cNvPr>
              <p:cNvSpPr/>
              <p:nvPr/>
            </p:nvSpPr>
            <p:spPr>
              <a:xfrm>
                <a:off x="5684779" y="3310524"/>
                <a:ext cx="120775" cy="1191"/>
              </a:xfrm>
              <a:custGeom>
                <a:avLst/>
                <a:gdLst>
                  <a:gd name="connsiteX0" fmla="*/ 0 w 120775"/>
                  <a:gd name="connsiteY0" fmla="*/ 0 h 1191"/>
                  <a:gd name="connsiteX1" fmla="*/ 120775 w 120775"/>
                  <a:gd name="connsiteY1" fmla="*/ 0 h 11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0775" h="1191">
                    <a:moveTo>
                      <a:pt x="0" y="0"/>
                    </a:moveTo>
                    <a:lnTo>
                      <a:pt x="120775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69" name="Forma livre: Forma 768">
                <a:extLst>
                  <a:ext uri="{FF2B5EF4-FFF2-40B4-BE49-F238E27FC236}">
                    <a16:creationId xmlns:a16="http://schemas.microsoft.com/office/drawing/2014/main" id="{11DBD515-EF79-BEFB-6B43-AED99D709B29}"/>
                  </a:ext>
                </a:extLst>
              </p:cNvPr>
              <p:cNvSpPr/>
              <p:nvPr/>
            </p:nvSpPr>
            <p:spPr>
              <a:xfrm>
                <a:off x="5772435" y="3223083"/>
                <a:ext cx="1191" cy="126031"/>
              </a:xfrm>
              <a:custGeom>
                <a:avLst/>
                <a:gdLst>
                  <a:gd name="connsiteX0" fmla="*/ 0 w 1191"/>
                  <a:gd name="connsiteY0" fmla="*/ 126031 h 126031"/>
                  <a:gd name="connsiteX1" fmla="*/ 0 w 1191"/>
                  <a:gd name="connsiteY1" fmla="*/ 0 h 1260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1" h="126031">
                    <a:moveTo>
                      <a:pt x="0" y="126031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70" name="Forma livre: Forma 769">
                <a:extLst>
                  <a:ext uri="{FF2B5EF4-FFF2-40B4-BE49-F238E27FC236}">
                    <a16:creationId xmlns:a16="http://schemas.microsoft.com/office/drawing/2014/main" id="{E7368E81-D653-26B5-9EAF-5A9BED82AA49}"/>
                  </a:ext>
                </a:extLst>
              </p:cNvPr>
              <p:cNvSpPr/>
              <p:nvPr/>
            </p:nvSpPr>
            <p:spPr>
              <a:xfrm>
                <a:off x="5723583" y="3223083"/>
                <a:ext cx="1191" cy="126031"/>
              </a:xfrm>
              <a:custGeom>
                <a:avLst/>
                <a:gdLst>
                  <a:gd name="connsiteX0" fmla="*/ 0 w 1191"/>
                  <a:gd name="connsiteY0" fmla="*/ 126031 h 126031"/>
                  <a:gd name="connsiteX1" fmla="*/ 0 w 1191"/>
                  <a:gd name="connsiteY1" fmla="*/ 0 h 1260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1" h="126031">
                    <a:moveTo>
                      <a:pt x="0" y="126031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71" name="Forma livre: Forma 770">
                <a:extLst>
                  <a:ext uri="{FF2B5EF4-FFF2-40B4-BE49-F238E27FC236}">
                    <a16:creationId xmlns:a16="http://schemas.microsoft.com/office/drawing/2014/main" id="{30F1B6D8-6A2E-2C94-5EA6-77E9130CD619}"/>
                  </a:ext>
                </a:extLst>
              </p:cNvPr>
              <p:cNvSpPr/>
              <p:nvPr/>
            </p:nvSpPr>
            <p:spPr>
              <a:xfrm>
                <a:off x="5821286" y="3223083"/>
                <a:ext cx="1191" cy="60626"/>
              </a:xfrm>
              <a:custGeom>
                <a:avLst/>
                <a:gdLst>
                  <a:gd name="connsiteX0" fmla="*/ 0 w 1191"/>
                  <a:gd name="connsiteY0" fmla="*/ 60626 h 60626"/>
                  <a:gd name="connsiteX1" fmla="*/ 0 w 1191"/>
                  <a:gd name="connsiteY1" fmla="*/ 0 h 606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1" h="60626">
                    <a:moveTo>
                      <a:pt x="0" y="60626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772" name="Gráfico 6">
              <a:extLst>
                <a:ext uri="{FF2B5EF4-FFF2-40B4-BE49-F238E27FC236}">
                  <a16:creationId xmlns:a16="http://schemas.microsoft.com/office/drawing/2014/main" id="{70E01C41-9C16-72DF-D0EA-41F7CDAD2909}"/>
                </a:ext>
              </a:extLst>
            </p:cNvPr>
            <p:cNvGrpSpPr/>
            <p:nvPr/>
          </p:nvGrpSpPr>
          <p:grpSpPr>
            <a:xfrm>
              <a:off x="5821381" y="3275617"/>
              <a:ext cx="141250" cy="141238"/>
              <a:chOff x="5821381" y="3275617"/>
              <a:chExt cx="141250" cy="141238"/>
            </a:xfrm>
            <a:noFill/>
          </p:grpSpPr>
          <p:sp>
            <p:nvSpPr>
              <p:cNvPr id="773" name="Forma livre: Forma 772">
                <a:extLst>
                  <a:ext uri="{FF2B5EF4-FFF2-40B4-BE49-F238E27FC236}">
                    <a16:creationId xmlns:a16="http://schemas.microsoft.com/office/drawing/2014/main" id="{85D5194B-A49A-6F51-6715-CE4701924D09}"/>
                  </a:ext>
                </a:extLst>
              </p:cNvPr>
              <p:cNvSpPr/>
              <p:nvPr/>
            </p:nvSpPr>
            <p:spPr>
              <a:xfrm>
                <a:off x="5854692" y="3321322"/>
                <a:ext cx="71781" cy="55620"/>
              </a:xfrm>
              <a:custGeom>
                <a:avLst/>
                <a:gdLst>
                  <a:gd name="connsiteX0" fmla="*/ 0 w 71781"/>
                  <a:gd name="connsiteY0" fmla="*/ 20666 h 55620"/>
                  <a:gd name="connsiteX1" fmla="*/ 25242 w 71781"/>
                  <a:gd name="connsiteY1" fmla="*/ 55620 h 55620"/>
                  <a:gd name="connsiteX2" fmla="*/ 71781 w 71781"/>
                  <a:gd name="connsiteY2" fmla="*/ 0 h 556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71781" h="55620">
                    <a:moveTo>
                      <a:pt x="0" y="20666"/>
                    </a:moveTo>
                    <a:lnTo>
                      <a:pt x="25242" y="55620"/>
                    </a:lnTo>
                    <a:lnTo>
                      <a:pt x="71781" y="0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74" name="Forma livre: Forma 773">
                <a:extLst>
                  <a:ext uri="{FF2B5EF4-FFF2-40B4-BE49-F238E27FC236}">
                    <a16:creationId xmlns:a16="http://schemas.microsoft.com/office/drawing/2014/main" id="{F02F1D25-BF28-EF93-F2DB-CBE96FAF6D60}"/>
                  </a:ext>
                </a:extLst>
              </p:cNvPr>
              <p:cNvSpPr/>
              <p:nvPr/>
            </p:nvSpPr>
            <p:spPr>
              <a:xfrm>
                <a:off x="5821381" y="3275617"/>
                <a:ext cx="141250" cy="141238"/>
              </a:xfrm>
              <a:custGeom>
                <a:avLst/>
                <a:gdLst>
                  <a:gd name="connsiteX0" fmla="*/ 37053 w 141250"/>
                  <a:gd name="connsiteY0" fmla="*/ 8474 h 141238"/>
                  <a:gd name="connsiteX1" fmla="*/ 70625 w 141250"/>
                  <a:gd name="connsiteY1" fmla="*/ 0 h 141238"/>
                  <a:gd name="connsiteX2" fmla="*/ 141250 w 141250"/>
                  <a:gd name="connsiteY2" fmla="*/ 70625 h 141238"/>
                  <a:gd name="connsiteX3" fmla="*/ 70625 w 141250"/>
                  <a:gd name="connsiteY3" fmla="*/ 141238 h 141238"/>
                  <a:gd name="connsiteX4" fmla="*/ 0 w 141250"/>
                  <a:gd name="connsiteY4" fmla="*/ 70625 h 141238"/>
                  <a:gd name="connsiteX5" fmla="*/ 14623 w 141250"/>
                  <a:gd name="connsiteY5" fmla="*/ 27590 h 1412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41250" h="141238">
                    <a:moveTo>
                      <a:pt x="37053" y="8474"/>
                    </a:moveTo>
                    <a:cubicBezTo>
                      <a:pt x="47040" y="3075"/>
                      <a:pt x="58481" y="0"/>
                      <a:pt x="70625" y="0"/>
                    </a:cubicBezTo>
                    <a:cubicBezTo>
                      <a:pt x="109620" y="0"/>
                      <a:pt x="141250" y="31618"/>
                      <a:pt x="141250" y="70625"/>
                    </a:cubicBezTo>
                    <a:cubicBezTo>
                      <a:pt x="141250" y="109632"/>
                      <a:pt x="109620" y="141238"/>
                      <a:pt x="70625" y="141238"/>
                    </a:cubicBezTo>
                    <a:cubicBezTo>
                      <a:pt x="31630" y="141238"/>
                      <a:pt x="0" y="109620"/>
                      <a:pt x="0" y="70625"/>
                    </a:cubicBezTo>
                    <a:cubicBezTo>
                      <a:pt x="0" y="54429"/>
                      <a:pt x="5447" y="39496"/>
                      <a:pt x="14623" y="27590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775" name="Gráfico 6">
            <a:extLst>
              <a:ext uri="{FF2B5EF4-FFF2-40B4-BE49-F238E27FC236}">
                <a16:creationId xmlns:a16="http://schemas.microsoft.com/office/drawing/2014/main" id="{182C89A1-ED99-B551-95F0-598DB37B5CEC}"/>
              </a:ext>
            </a:extLst>
          </p:cNvPr>
          <p:cNvGrpSpPr/>
          <p:nvPr/>
        </p:nvGrpSpPr>
        <p:grpSpPr>
          <a:xfrm>
            <a:off x="5644818" y="1537051"/>
            <a:ext cx="316204" cy="293062"/>
            <a:chOff x="5644818" y="1537051"/>
            <a:chExt cx="316204" cy="293062"/>
          </a:xfrm>
          <a:noFill/>
        </p:grpSpPr>
        <p:grpSp>
          <p:nvGrpSpPr>
            <p:cNvPr id="776" name="Gráfico 6">
              <a:extLst>
                <a:ext uri="{FF2B5EF4-FFF2-40B4-BE49-F238E27FC236}">
                  <a16:creationId xmlns:a16="http://schemas.microsoft.com/office/drawing/2014/main" id="{DDA8F750-C282-9BAC-AF9B-58674A628FDE}"/>
                </a:ext>
              </a:extLst>
            </p:cNvPr>
            <p:cNvGrpSpPr/>
            <p:nvPr/>
          </p:nvGrpSpPr>
          <p:grpSpPr>
            <a:xfrm>
              <a:off x="5644818" y="1537051"/>
              <a:ext cx="195738" cy="221329"/>
              <a:chOff x="5644818" y="1537051"/>
              <a:chExt cx="195738" cy="221329"/>
            </a:xfrm>
            <a:noFill/>
          </p:grpSpPr>
          <p:sp>
            <p:nvSpPr>
              <p:cNvPr id="777" name="Forma livre: Forma 776">
                <a:extLst>
                  <a:ext uri="{FF2B5EF4-FFF2-40B4-BE49-F238E27FC236}">
                    <a16:creationId xmlns:a16="http://schemas.microsoft.com/office/drawing/2014/main" id="{BEF7424A-230A-A3B9-5C12-1A2296650C62}"/>
                  </a:ext>
                </a:extLst>
              </p:cNvPr>
              <p:cNvSpPr/>
              <p:nvPr/>
            </p:nvSpPr>
            <p:spPr>
              <a:xfrm>
                <a:off x="5657809" y="1537051"/>
                <a:ext cx="182748" cy="159368"/>
              </a:xfrm>
              <a:custGeom>
                <a:avLst/>
                <a:gdLst>
                  <a:gd name="connsiteX0" fmla="*/ 182748 w 182748"/>
                  <a:gd name="connsiteY0" fmla="*/ 149370 h 159368"/>
                  <a:gd name="connsiteX1" fmla="*/ 182748 w 182748"/>
                  <a:gd name="connsiteY1" fmla="*/ 95715 h 159368"/>
                  <a:gd name="connsiteX2" fmla="*/ 91362 w 182748"/>
                  <a:gd name="connsiteY2" fmla="*/ 15 h 159368"/>
                  <a:gd name="connsiteX3" fmla="*/ 0 w 182748"/>
                  <a:gd name="connsiteY3" fmla="*/ 95715 h 159368"/>
                  <a:gd name="connsiteX4" fmla="*/ 0 w 182748"/>
                  <a:gd name="connsiteY4" fmla="*/ 159369 h 1593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82748" h="159368">
                    <a:moveTo>
                      <a:pt x="182748" y="149370"/>
                    </a:moveTo>
                    <a:lnTo>
                      <a:pt x="182748" y="95715"/>
                    </a:lnTo>
                    <a:cubicBezTo>
                      <a:pt x="182748" y="-2988"/>
                      <a:pt x="95343" y="15"/>
                      <a:pt x="91362" y="15"/>
                    </a:cubicBezTo>
                    <a:cubicBezTo>
                      <a:pt x="87382" y="15"/>
                      <a:pt x="0" y="-3477"/>
                      <a:pt x="0" y="95715"/>
                    </a:cubicBezTo>
                    <a:lnTo>
                      <a:pt x="0" y="159369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78" name="Forma livre: Forma 777">
                <a:extLst>
                  <a:ext uri="{FF2B5EF4-FFF2-40B4-BE49-F238E27FC236}">
                    <a16:creationId xmlns:a16="http://schemas.microsoft.com/office/drawing/2014/main" id="{61E53B54-1706-BD40-054D-B995DDAD8B87}"/>
                  </a:ext>
                </a:extLst>
              </p:cNvPr>
              <p:cNvSpPr/>
              <p:nvPr/>
            </p:nvSpPr>
            <p:spPr>
              <a:xfrm>
                <a:off x="5688116" y="1587299"/>
                <a:ext cx="121526" cy="30211"/>
              </a:xfrm>
              <a:custGeom>
                <a:avLst/>
                <a:gdLst>
                  <a:gd name="connsiteX0" fmla="*/ 121526 w 121526"/>
                  <a:gd name="connsiteY0" fmla="*/ 30200 h 30211"/>
                  <a:gd name="connsiteX1" fmla="*/ 86917 w 121526"/>
                  <a:gd name="connsiteY1" fmla="*/ 30200 h 30211"/>
                  <a:gd name="connsiteX2" fmla="*/ 71817 w 121526"/>
                  <a:gd name="connsiteY2" fmla="*/ 0 h 30211"/>
                  <a:gd name="connsiteX3" fmla="*/ 54047 w 121526"/>
                  <a:gd name="connsiteY3" fmla="*/ 30212 h 30211"/>
                  <a:gd name="connsiteX4" fmla="*/ 0 w 121526"/>
                  <a:gd name="connsiteY4" fmla="*/ 30212 h 302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1526" h="30211">
                    <a:moveTo>
                      <a:pt x="121526" y="30200"/>
                    </a:moveTo>
                    <a:lnTo>
                      <a:pt x="86917" y="30200"/>
                    </a:lnTo>
                    <a:lnTo>
                      <a:pt x="71817" y="0"/>
                    </a:lnTo>
                    <a:lnTo>
                      <a:pt x="54047" y="30212"/>
                    </a:lnTo>
                    <a:lnTo>
                      <a:pt x="0" y="30212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79" name="Forma livre: Forma 778">
                <a:extLst>
                  <a:ext uri="{FF2B5EF4-FFF2-40B4-BE49-F238E27FC236}">
                    <a16:creationId xmlns:a16="http://schemas.microsoft.com/office/drawing/2014/main" id="{5977C80E-41B0-DB60-5374-AF3E18184D9D}"/>
                  </a:ext>
                </a:extLst>
              </p:cNvPr>
              <p:cNvSpPr/>
              <p:nvPr/>
            </p:nvSpPr>
            <p:spPr>
              <a:xfrm>
                <a:off x="5644818" y="1696240"/>
                <a:ext cx="68860" cy="62139"/>
              </a:xfrm>
              <a:custGeom>
                <a:avLst/>
                <a:gdLst>
                  <a:gd name="connsiteX0" fmla="*/ 68849 w 68860"/>
                  <a:gd name="connsiteY0" fmla="*/ 0 h 62139"/>
                  <a:gd name="connsiteX1" fmla="*/ 68849 w 68860"/>
                  <a:gd name="connsiteY1" fmla="*/ 32166 h 62139"/>
                  <a:gd name="connsiteX2" fmla="*/ 0 w 68860"/>
                  <a:gd name="connsiteY2" fmla="*/ 62140 h 621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68860" h="62139">
                    <a:moveTo>
                      <a:pt x="68849" y="0"/>
                    </a:moveTo>
                    <a:cubicBezTo>
                      <a:pt x="68873" y="8855"/>
                      <a:pt x="68849" y="32166"/>
                      <a:pt x="68849" y="32166"/>
                    </a:cubicBezTo>
                    <a:cubicBezTo>
                      <a:pt x="68849" y="32166"/>
                      <a:pt x="70864" y="44108"/>
                      <a:pt x="0" y="62140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780" name="Gráfico 6">
                <a:extLst>
                  <a:ext uri="{FF2B5EF4-FFF2-40B4-BE49-F238E27FC236}">
                    <a16:creationId xmlns:a16="http://schemas.microsoft.com/office/drawing/2014/main" id="{17C296C8-BFE1-6466-96EF-9D05252F0FEE}"/>
                  </a:ext>
                </a:extLst>
              </p:cNvPr>
              <p:cNvGrpSpPr/>
              <p:nvPr/>
            </p:nvGrpSpPr>
            <p:grpSpPr>
              <a:xfrm>
                <a:off x="5697728" y="1618024"/>
                <a:ext cx="102921" cy="93996"/>
                <a:chOff x="5697728" y="1618024"/>
                <a:chExt cx="102921" cy="93996"/>
              </a:xfrm>
              <a:noFill/>
            </p:grpSpPr>
            <p:sp>
              <p:nvSpPr>
                <p:cNvPr id="781" name="Forma livre: Forma 780">
                  <a:extLst>
                    <a:ext uri="{FF2B5EF4-FFF2-40B4-BE49-F238E27FC236}">
                      <a16:creationId xmlns:a16="http://schemas.microsoft.com/office/drawing/2014/main" id="{66019CDB-092E-A456-A80D-9AD70FC39E1D}"/>
                    </a:ext>
                  </a:extLst>
                </p:cNvPr>
                <p:cNvSpPr/>
                <p:nvPr/>
              </p:nvSpPr>
              <p:spPr>
                <a:xfrm>
                  <a:off x="5697728" y="1618024"/>
                  <a:ext cx="33649" cy="93996"/>
                </a:xfrm>
                <a:custGeom>
                  <a:avLst/>
                  <a:gdLst>
                    <a:gd name="connsiteX0" fmla="*/ 1769 w 33649"/>
                    <a:gd name="connsiteY0" fmla="*/ 0 h 93996"/>
                    <a:gd name="connsiteX1" fmla="*/ 53 w 33649"/>
                    <a:gd name="connsiteY1" fmla="*/ 19390 h 93996"/>
                    <a:gd name="connsiteX2" fmla="*/ 28716 w 33649"/>
                    <a:gd name="connsiteY2" fmla="*/ 91291 h 93996"/>
                    <a:gd name="connsiteX3" fmla="*/ 33650 w 33649"/>
                    <a:gd name="connsiteY3" fmla="*/ 93996 h 9399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33649" h="93996">
                      <a:moveTo>
                        <a:pt x="1769" y="0"/>
                      </a:moveTo>
                      <a:cubicBezTo>
                        <a:pt x="-471" y="10655"/>
                        <a:pt x="53" y="19390"/>
                        <a:pt x="53" y="19390"/>
                      </a:cubicBezTo>
                      <a:cubicBezTo>
                        <a:pt x="53" y="47171"/>
                        <a:pt x="10970" y="77967"/>
                        <a:pt x="28716" y="91291"/>
                      </a:cubicBezTo>
                      <a:cubicBezTo>
                        <a:pt x="28716" y="91291"/>
                        <a:pt x="31195" y="92947"/>
                        <a:pt x="33650" y="93996"/>
                      </a:cubicBez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782" name="Forma livre: Forma 781">
                  <a:extLst>
                    <a:ext uri="{FF2B5EF4-FFF2-40B4-BE49-F238E27FC236}">
                      <a16:creationId xmlns:a16="http://schemas.microsoft.com/office/drawing/2014/main" id="{F79F9487-2F56-62F7-EC44-2F591D05C744}"/>
                    </a:ext>
                  </a:extLst>
                </p:cNvPr>
                <p:cNvSpPr/>
                <p:nvPr/>
              </p:nvSpPr>
              <p:spPr>
                <a:xfrm>
                  <a:off x="5767000" y="1618024"/>
                  <a:ext cx="33649" cy="93996"/>
                </a:xfrm>
                <a:custGeom>
                  <a:avLst/>
                  <a:gdLst>
                    <a:gd name="connsiteX0" fmla="*/ 31868 w 33649"/>
                    <a:gd name="connsiteY0" fmla="*/ 0 h 93996"/>
                    <a:gd name="connsiteX1" fmla="*/ 33596 w 33649"/>
                    <a:gd name="connsiteY1" fmla="*/ 19390 h 93996"/>
                    <a:gd name="connsiteX2" fmla="*/ 4922 w 33649"/>
                    <a:gd name="connsiteY2" fmla="*/ 91291 h 93996"/>
                    <a:gd name="connsiteX3" fmla="*/ 0 w 33649"/>
                    <a:gd name="connsiteY3" fmla="*/ 93996 h 9399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33649" h="93996">
                      <a:moveTo>
                        <a:pt x="31868" y="0"/>
                      </a:moveTo>
                      <a:cubicBezTo>
                        <a:pt x="34121" y="10655"/>
                        <a:pt x="33596" y="19390"/>
                        <a:pt x="33596" y="19390"/>
                      </a:cubicBezTo>
                      <a:cubicBezTo>
                        <a:pt x="33596" y="47171"/>
                        <a:pt x="22680" y="77967"/>
                        <a:pt x="4922" y="91291"/>
                      </a:cubicBezTo>
                      <a:cubicBezTo>
                        <a:pt x="4922" y="91291"/>
                        <a:pt x="2443" y="92947"/>
                        <a:pt x="0" y="93996"/>
                      </a:cubicBez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grpSp>
          <p:nvGrpSpPr>
            <p:cNvPr id="783" name="Gráfico 6">
              <a:extLst>
                <a:ext uri="{FF2B5EF4-FFF2-40B4-BE49-F238E27FC236}">
                  <a16:creationId xmlns:a16="http://schemas.microsoft.com/office/drawing/2014/main" id="{2BBECDA5-FC3D-A988-193D-F148352C6CB3}"/>
                </a:ext>
              </a:extLst>
            </p:cNvPr>
            <p:cNvGrpSpPr/>
            <p:nvPr/>
          </p:nvGrpSpPr>
          <p:grpSpPr>
            <a:xfrm>
              <a:off x="5784968" y="1690663"/>
              <a:ext cx="176054" cy="139450"/>
              <a:chOff x="5784968" y="1690663"/>
              <a:chExt cx="176054" cy="139450"/>
            </a:xfrm>
            <a:noFill/>
          </p:grpSpPr>
          <p:sp>
            <p:nvSpPr>
              <p:cNvPr id="784" name="Forma livre: Forma 783">
                <a:extLst>
                  <a:ext uri="{FF2B5EF4-FFF2-40B4-BE49-F238E27FC236}">
                    <a16:creationId xmlns:a16="http://schemas.microsoft.com/office/drawing/2014/main" id="{A7C0CFF6-45DA-03AE-79B6-1953F691DB80}"/>
                  </a:ext>
                </a:extLst>
              </p:cNvPr>
              <p:cNvSpPr/>
              <p:nvPr/>
            </p:nvSpPr>
            <p:spPr>
              <a:xfrm>
                <a:off x="5784968" y="1701020"/>
                <a:ext cx="15616" cy="40365"/>
              </a:xfrm>
              <a:custGeom>
                <a:avLst/>
                <a:gdLst>
                  <a:gd name="connsiteX0" fmla="*/ 16 w 15616"/>
                  <a:gd name="connsiteY0" fmla="*/ 0 h 40365"/>
                  <a:gd name="connsiteX1" fmla="*/ 16 w 15616"/>
                  <a:gd name="connsiteY1" fmla="*/ 27947 h 40365"/>
                  <a:gd name="connsiteX2" fmla="*/ 15616 w 15616"/>
                  <a:gd name="connsiteY2" fmla="*/ 40366 h 403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5616" h="40365">
                    <a:moveTo>
                      <a:pt x="16" y="0"/>
                    </a:moveTo>
                    <a:cubicBezTo>
                      <a:pt x="-20" y="8855"/>
                      <a:pt x="16" y="27947"/>
                      <a:pt x="16" y="27947"/>
                    </a:cubicBezTo>
                    <a:cubicBezTo>
                      <a:pt x="16" y="27947"/>
                      <a:pt x="-771" y="32548"/>
                      <a:pt x="15616" y="40366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785" name="Gráfico 6">
                <a:extLst>
                  <a:ext uri="{FF2B5EF4-FFF2-40B4-BE49-F238E27FC236}">
                    <a16:creationId xmlns:a16="http://schemas.microsoft.com/office/drawing/2014/main" id="{DC4A4D65-E38B-E58F-1518-52FEB2AA544F}"/>
                  </a:ext>
                </a:extLst>
              </p:cNvPr>
              <p:cNvGrpSpPr/>
              <p:nvPr/>
            </p:nvGrpSpPr>
            <p:grpSpPr>
              <a:xfrm>
                <a:off x="5821560" y="1690663"/>
                <a:ext cx="139462" cy="139450"/>
                <a:chOff x="5821560" y="1690663"/>
                <a:chExt cx="139462" cy="139450"/>
              </a:xfrm>
              <a:noFill/>
            </p:grpSpPr>
            <p:sp>
              <p:nvSpPr>
                <p:cNvPr id="786" name="Forma livre: Forma 785">
                  <a:extLst>
                    <a:ext uri="{FF2B5EF4-FFF2-40B4-BE49-F238E27FC236}">
                      <a16:creationId xmlns:a16="http://schemas.microsoft.com/office/drawing/2014/main" id="{0227903F-11D0-5FB6-6646-EE5939B5834D}"/>
                    </a:ext>
                  </a:extLst>
                </p:cNvPr>
                <p:cNvSpPr/>
                <p:nvPr/>
              </p:nvSpPr>
              <p:spPr>
                <a:xfrm>
                  <a:off x="5854394" y="1735772"/>
                  <a:ext cx="70875" cy="54929"/>
                </a:xfrm>
                <a:custGeom>
                  <a:avLst/>
                  <a:gdLst>
                    <a:gd name="connsiteX0" fmla="*/ 0 w 70875"/>
                    <a:gd name="connsiteY0" fmla="*/ 20403 h 54929"/>
                    <a:gd name="connsiteX1" fmla="*/ 24920 w 70875"/>
                    <a:gd name="connsiteY1" fmla="*/ 54929 h 54929"/>
                    <a:gd name="connsiteX2" fmla="*/ 70875 w 70875"/>
                    <a:gd name="connsiteY2" fmla="*/ 0 h 5492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70875" h="54929">
                      <a:moveTo>
                        <a:pt x="0" y="20403"/>
                      </a:moveTo>
                      <a:lnTo>
                        <a:pt x="24920" y="54929"/>
                      </a:lnTo>
                      <a:lnTo>
                        <a:pt x="70875" y="0"/>
                      </a:ln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787" name="Forma livre: Forma 786">
                  <a:extLst>
                    <a:ext uri="{FF2B5EF4-FFF2-40B4-BE49-F238E27FC236}">
                      <a16:creationId xmlns:a16="http://schemas.microsoft.com/office/drawing/2014/main" id="{12B6DE07-C62C-AC5B-D843-043D592E08C7}"/>
                    </a:ext>
                  </a:extLst>
                </p:cNvPr>
                <p:cNvSpPr/>
                <p:nvPr/>
              </p:nvSpPr>
              <p:spPr>
                <a:xfrm>
                  <a:off x="5821560" y="1690663"/>
                  <a:ext cx="139462" cy="139450"/>
                </a:xfrm>
                <a:custGeom>
                  <a:avLst/>
                  <a:gdLst>
                    <a:gd name="connsiteX0" fmla="*/ 36588 w 139462"/>
                    <a:gd name="connsiteY0" fmla="*/ 8366 h 139450"/>
                    <a:gd name="connsiteX1" fmla="*/ 69731 w 139462"/>
                    <a:gd name="connsiteY1" fmla="*/ 0 h 139450"/>
                    <a:gd name="connsiteX2" fmla="*/ 139463 w 139462"/>
                    <a:gd name="connsiteY2" fmla="*/ 69731 h 139450"/>
                    <a:gd name="connsiteX3" fmla="*/ 69731 w 139462"/>
                    <a:gd name="connsiteY3" fmla="*/ 139451 h 139450"/>
                    <a:gd name="connsiteX4" fmla="*/ 0 w 139462"/>
                    <a:gd name="connsiteY4" fmla="*/ 69731 h 139450"/>
                    <a:gd name="connsiteX5" fmla="*/ 14432 w 139462"/>
                    <a:gd name="connsiteY5" fmla="*/ 27244 h 1394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139462" h="139450">
                      <a:moveTo>
                        <a:pt x="36588" y="8366"/>
                      </a:moveTo>
                      <a:cubicBezTo>
                        <a:pt x="46444" y="3039"/>
                        <a:pt x="57742" y="0"/>
                        <a:pt x="69731" y="0"/>
                      </a:cubicBezTo>
                      <a:cubicBezTo>
                        <a:pt x="108226" y="0"/>
                        <a:pt x="139463" y="31225"/>
                        <a:pt x="139463" y="69731"/>
                      </a:cubicBezTo>
                      <a:cubicBezTo>
                        <a:pt x="139463" y="108238"/>
                        <a:pt x="108238" y="139451"/>
                        <a:pt x="69731" y="139451"/>
                      </a:cubicBezTo>
                      <a:cubicBezTo>
                        <a:pt x="31225" y="139451"/>
                        <a:pt x="0" y="108226"/>
                        <a:pt x="0" y="69731"/>
                      </a:cubicBezTo>
                      <a:cubicBezTo>
                        <a:pt x="0" y="53738"/>
                        <a:pt x="5387" y="38995"/>
                        <a:pt x="14432" y="27244"/>
                      </a:cubicBez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</p:grpSp>
      <p:grpSp>
        <p:nvGrpSpPr>
          <p:cNvPr id="788" name="Gráfico 6">
            <a:extLst>
              <a:ext uri="{FF2B5EF4-FFF2-40B4-BE49-F238E27FC236}">
                <a16:creationId xmlns:a16="http://schemas.microsoft.com/office/drawing/2014/main" id="{A0BD9097-8858-6537-1D1C-807BC85D80DC}"/>
              </a:ext>
            </a:extLst>
          </p:cNvPr>
          <p:cNvGrpSpPr/>
          <p:nvPr/>
        </p:nvGrpSpPr>
        <p:grpSpPr>
          <a:xfrm>
            <a:off x="5669095" y="1023681"/>
            <a:ext cx="267663" cy="263884"/>
            <a:chOff x="5669095" y="1023681"/>
            <a:chExt cx="267663" cy="263884"/>
          </a:xfrm>
          <a:noFill/>
        </p:grpSpPr>
        <p:sp>
          <p:nvSpPr>
            <p:cNvPr id="789" name="Forma livre: Forma 788">
              <a:extLst>
                <a:ext uri="{FF2B5EF4-FFF2-40B4-BE49-F238E27FC236}">
                  <a16:creationId xmlns:a16="http://schemas.microsoft.com/office/drawing/2014/main" id="{07F6673B-9A50-069D-0BD5-38E9E9B4C2C6}"/>
                </a:ext>
              </a:extLst>
            </p:cNvPr>
            <p:cNvSpPr/>
            <p:nvPr/>
          </p:nvSpPr>
          <p:spPr>
            <a:xfrm>
              <a:off x="5742259" y="1051926"/>
              <a:ext cx="194499" cy="156409"/>
            </a:xfrm>
            <a:custGeom>
              <a:avLst/>
              <a:gdLst>
                <a:gd name="connsiteX0" fmla="*/ 0 w 194499"/>
                <a:gd name="connsiteY0" fmla="*/ 78705 h 156409"/>
                <a:gd name="connsiteX1" fmla="*/ 56967 w 194499"/>
                <a:gd name="connsiteY1" fmla="*/ 156410 h 156409"/>
                <a:gd name="connsiteX2" fmla="*/ 194499 w 194499"/>
                <a:gd name="connsiteY2" fmla="*/ 0 h 156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94499" h="156409">
                  <a:moveTo>
                    <a:pt x="0" y="78705"/>
                  </a:moveTo>
                  <a:lnTo>
                    <a:pt x="56967" y="156410"/>
                  </a:lnTo>
                  <a:lnTo>
                    <a:pt x="194499" y="0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790" name="Forma livre: Forma 789">
              <a:extLst>
                <a:ext uri="{FF2B5EF4-FFF2-40B4-BE49-F238E27FC236}">
                  <a16:creationId xmlns:a16="http://schemas.microsoft.com/office/drawing/2014/main" id="{18D34E4E-059B-F032-0F79-FB273A5C782B}"/>
                </a:ext>
              </a:extLst>
            </p:cNvPr>
            <p:cNvSpPr/>
            <p:nvPr/>
          </p:nvSpPr>
          <p:spPr>
            <a:xfrm>
              <a:off x="5669095" y="1023681"/>
              <a:ext cx="263873" cy="263884"/>
            </a:xfrm>
            <a:custGeom>
              <a:avLst/>
              <a:gdLst>
                <a:gd name="connsiteX0" fmla="*/ 261442 w 263873"/>
                <a:gd name="connsiteY0" fmla="*/ 106569 h 263884"/>
                <a:gd name="connsiteX1" fmla="*/ 263873 w 263873"/>
                <a:gd name="connsiteY1" fmla="*/ 131942 h 263884"/>
                <a:gd name="connsiteX2" fmla="*/ 131943 w 263873"/>
                <a:gd name="connsiteY2" fmla="*/ 263885 h 263884"/>
                <a:gd name="connsiteX3" fmla="*/ 0 w 263873"/>
                <a:gd name="connsiteY3" fmla="*/ 131942 h 263884"/>
                <a:gd name="connsiteX4" fmla="*/ 131943 w 263873"/>
                <a:gd name="connsiteY4" fmla="*/ 0 h 263884"/>
                <a:gd name="connsiteX5" fmla="*/ 200875 w 263873"/>
                <a:gd name="connsiteY5" fmla="*/ 19414 h 2638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63873" h="263884">
                  <a:moveTo>
                    <a:pt x="261442" y="106569"/>
                  </a:moveTo>
                  <a:cubicBezTo>
                    <a:pt x="263039" y="114781"/>
                    <a:pt x="263873" y="123254"/>
                    <a:pt x="263873" y="131942"/>
                  </a:cubicBezTo>
                  <a:cubicBezTo>
                    <a:pt x="263873" y="204808"/>
                    <a:pt x="204808" y="263885"/>
                    <a:pt x="131943" y="263885"/>
                  </a:cubicBezTo>
                  <a:cubicBezTo>
                    <a:pt x="59077" y="263885"/>
                    <a:pt x="0" y="204820"/>
                    <a:pt x="0" y="131942"/>
                  </a:cubicBezTo>
                  <a:cubicBezTo>
                    <a:pt x="0" y="59065"/>
                    <a:pt x="59065" y="0"/>
                    <a:pt x="131943" y="0"/>
                  </a:cubicBezTo>
                  <a:cubicBezTo>
                    <a:pt x="157208" y="0"/>
                    <a:pt x="180830" y="7103"/>
                    <a:pt x="200875" y="19414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791" name="Gráfico 6">
            <a:extLst>
              <a:ext uri="{FF2B5EF4-FFF2-40B4-BE49-F238E27FC236}">
                <a16:creationId xmlns:a16="http://schemas.microsoft.com/office/drawing/2014/main" id="{884EFBD5-6F32-91A6-AF92-12F09128EA1E}"/>
              </a:ext>
            </a:extLst>
          </p:cNvPr>
          <p:cNvGrpSpPr/>
          <p:nvPr/>
        </p:nvGrpSpPr>
        <p:grpSpPr>
          <a:xfrm>
            <a:off x="4443082" y="2591187"/>
            <a:ext cx="232386" cy="296647"/>
            <a:chOff x="4443082" y="2591187"/>
            <a:chExt cx="232386" cy="296647"/>
          </a:xfrm>
          <a:noFill/>
        </p:grpSpPr>
        <p:grpSp>
          <p:nvGrpSpPr>
            <p:cNvPr id="792" name="Gráfico 6">
              <a:extLst>
                <a:ext uri="{FF2B5EF4-FFF2-40B4-BE49-F238E27FC236}">
                  <a16:creationId xmlns:a16="http://schemas.microsoft.com/office/drawing/2014/main" id="{E607A7B9-6443-3934-B07B-89D6456F0141}"/>
                </a:ext>
              </a:extLst>
            </p:cNvPr>
            <p:cNvGrpSpPr/>
            <p:nvPr/>
          </p:nvGrpSpPr>
          <p:grpSpPr>
            <a:xfrm>
              <a:off x="4536006" y="2643912"/>
              <a:ext cx="139462" cy="139450"/>
              <a:chOff x="4536006" y="2643912"/>
              <a:chExt cx="139462" cy="139450"/>
            </a:xfrm>
            <a:noFill/>
          </p:grpSpPr>
          <p:sp>
            <p:nvSpPr>
              <p:cNvPr id="793" name="Forma livre: Forma 792">
                <a:extLst>
                  <a:ext uri="{FF2B5EF4-FFF2-40B4-BE49-F238E27FC236}">
                    <a16:creationId xmlns:a16="http://schemas.microsoft.com/office/drawing/2014/main" id="{706FF0F7-0CB2-8B59-7567-F1020C38F056}"/>
                  </a:ext>
                </a:extLst>
              </p:cNvPr>
              <p:cNvSpPr/>
              <p:nvPr/>
            </p:nvSpPr>
            <p:spPr>
              <a:xfrm>
                <a:off x="4568851" y="2689021"/>
                <a:ext cx="70875" cy="54917"/>
              </a:xfrm>
              <a:custGeom>
                <a:avLst/>
                <a:gdLst>
                  <a:gd name="connsiteX0" fmla="*/ 0 w 70875"/>
                  <a:gd name="connsiteY0" fmla="*/ 20403 h 54917"/>
                  <a:gd name="connsiteX1" fmla="*/ 24920 w 70875"/>
                  <a:gd name="connsiteY1" fmla="*/ 54918 h 54917"/>
                  <a:gd name="connsiteX2" fmla="*/ 70875 w 70875"/>
                  <a:gd name="connsiteY2" fmla="*/ 0 h 549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70875" h="54917">
                    <a:moveTo>
                      <a:pt x="0" y="20403"/>
                    </a:moveTo>
                    <a:lnTo>
                      <a:pt x="24920" y="54918"/>
                    </a:lnTo>
                    <a:lnTo>
                      <a:pt x="70875" y="0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94" name="Forma livre: Forma 793">
                <a:extLst>
                  <a:ext uri="{FF2B5EF4-FFF2-40B4-BE49-F238E27FC236}">
                    <a16:creationId xmlns:a16="http://schemas.microsoft.com/office/drawing/2014/main" id="{4D0E084E-39C9-CFB8-C563-9A774EB17263}"/>
                  </a:ext>
                </a:extLst>
              </p:cNvPr>
              <p:cNvSpPr/>
              <p:nvPr/>
            </p:nvSpPr>
            <p:spPr>
              <a:xfrm>
                <a:off x="4536006" y="2643912"/>
                <a:ext cx="139462" cy="139450"/>
              </a:xfrm>
              <a:custGeom>
                <a:avLst/>
                <a:gdLst>
                  <a:gd name="connsiteX0" fmla="*/ 36588 w 139462"/>
                  <a:gd name="connsiteY0" fmla="*/ 8366 h 139450"/>
                  <a:gd name="connsiteX1" fmla="*/ 69731 w 139462"/>
                  <a:gd name="connsiteY1" fmla="*/ 0 h 139450"/>
                  <a:gd name="connsiteX2" fmla="*/ 139463 w 139462"/>
                  <a:gd name="connsiteY2" fmla="*/ 69731 h 139450"/>
                  <a:gd name="connsiteX3" fmla="*/ 69731 w 139462"/>
                  <a:gd name="connsiteY3" fmla="*/ 139451 h 139450"/>
                  <a:gd name="connsiteX4" fmla="*/ 0 w 139462"/>
                  <a:gd name="connsiteY4" fmla="*/ 69731 h 139450"/>
                  <a:gd name="connsiteX5" fmla="*/ 14433 w 139462"/>
                  <a:gd name="connsiteY5" fmla="*/ 27244 h 1394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39462" h="139450">
                    <a:moveTo>
                      <a:pt x="36588" y="8366"/>
                    </a:moveTo>
                    <a:cubicBezTo>
                      <a:pt x="46444" y="3039"/>
                      <a:pt x="57742" y="0"/>
                      <a:pt x="69731" y="0"/>
                    </a:cubicBezTo>
                    <a:cubicBezTo>
                      <a:pt x="108238" y="0"/>
                      <a:pt x="139463" y="31213"/>
                      <a:pt x="139463" y="69731"/>
                    </a:cubicBezTo>
                    <a:cubicBezTo>
                      <a:pt x="139463" y="108250"/>
                      <a:pt x="108238" y="139451"/>
                      <a:pt x="69731" y="139451"/>
                    </a:cubicBezTo>
                    <a:cubicBezTo>
                      <a:pt x="31225" y="139451"/>
                      <a:pt x="0" y="108226"/>
                      <a:pt x="0" y="69731"/>
                    </a:cubicBezTo>
                    <a:cubicBezTo>
                      <a:pt x="0" y="53738"/>
                      <a:pt x="5387" y="38995"/>
                      <a:pt x="14433" y="27244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795" name="Gráfico 6">
              <a:extLst>
                <a:ext uri="{FF2B5EF4-FFF2-40B4-BE49-F238E27FC236}">
                  <a16:creationId xmlns:a16="http://schemas.microsoft.com/office/drawing/2014/main" id="{E79EBABE-2913-1486-3342-F9545D7C3EF1}"/>
                </a:ext>
              </a:extLst>
            </p:cNvPr>
            <p:cNvGrpSpPr/>
            <p:nvPr/>
          </p:nvGrpSpPr>
          <p:grpSpPr>
            <a:xfrm>
              <a:off x="4443082" y="2591187"/>
              <a:ext cx="164037" cy="296647"/>
              <a:chOff x="4443082" y="2591187"/>
              <a:chExt cx="164037" cy="296647"/>
            </a:xfrm>
            <a:noFill/>
          </p:grpSpPr>
          <p:sp>
            <p:nvSpPr>
              <p:cNvPr id="796" name="Forma livre: Forma 795">
                <a:extLst>
                  <a:ext uri="{FF2B5EF4-FFF2-40B4-BE49-F238E27FC236}">
                    <a16:creationId xmlns:a16="http://schemas.microsoft.com/office/drawing/2014/main" id="{61B04503-7194-23AB-1F40-FD868055C15E}"/>
                  </a:ext>
                </a:extLst>
              </p:cNvPr>
              <p:cNvSpPr/>
              <p:nvPr/>
            </p:nvSpPr>
            <p:spPr>
              <a:xfrm>
                <a:off x="4443082" y="2591187"/>
                <a:ext cx="164037" cy="296647"/>
              </a:xfrm>
              <a:custGeom>
                <a:avLst/>
                <a:gdLst>
                  <a:gd name="connsiteX0" fmla="*/ 164037 w 164037"/>
                  <a:gd name="connsiteY0" fmla="*/ 212328 h 296647"/>
                  <a:gd name="connsiteX1" fmla="*/ 164037 w 164037"/>
                  <a:gd name="connsiteY1" fmla="*/ 282799 h 296647"/>
                  <a:gd name="connsiteX2" fmla="*/ 150606 w 164037"/>
                  <a:gd name="connsiteY2" fmla="*/ 296647 h 296647"/>
                  <a:gd name="connsiteX3" fmla="*/ 13419 w 164037"/>
                  <a:gd name="connsiteY3" fmla="*/ 296647 h 296647"/>
                  <a:gd name="connsiteX4" fmla="*/ 0 w 164037"/>
                  <a:gd name="connsiteY4" fmla="*/ 282799 h 296647"/>
                  <a:gd name="connsiteX5" fmla="*/ 0 w 164037"/>
                  <a:gd name="connsiteY5" fmla="*/ 13420 h 296647"/>
                  <a:gd name="connsiteX6" fmla="*/ 13419 w 164037"/>
                  <a:gd name="connsiteY6" fmla="*/ 0 h 296647"/>
                  <a:gd name="connsiteX7" fmla="*/ 150606 w 164037"/>
                  <a:gd name="connsiteY7" fmla="*/ 0 h 296647"/>
                  <a:gd name="connsiteX8" fmla="*/ 164037 w 164037"/>
                  <a:gd name="connsiteY8" fmla="*/ 13420 h 296647"/>
                  <a:gd name="connsiteX9" fmla="*/ 164037 w 164037"/>
                  <a:gd name="connsiteY9" fmla="*/ 32285 h 2966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64037" h="296647">
                    <a:moveTo>
                      <a:pt x="164037" y="212328"/>
                    </a:moveTo>
                    <a:lnTo>
                      <a:pt x="164037" y="282799"/>
                    </a:lnTo>
                    <a:cubicBezTo>
                      <a:pt x="164037" y="290188"/>
                      <a:pt x="157995" y="296647"/>
                      <a:pt x="150606" y="296647"/>
                    </a:cubicBezTo>
                    <a:lnTo>
                      <a:pt x="13419" y="296647"/>
                    </a:lnTo>
                    <a:cubicBezTo>
                      <a:pt x="6030" y="296647"/>
                      <a:pt x="0" y="290188"/>
                      <a:pt x="0" y="282799"/>
                    </a:cubicBezTo>
                    <a:lnTo>
                      <a:pt x="0" y="13420"/>
                    </a:lnTo>
                    <a:cubicBezTo>
                      <a:pt x="0" y="6030"/>
                      <a:pt x="6042" y="0"/>
                      <a:pt x="13419" y="0"/>
                    </a:cubicBezTo>
                    <a:lnTo>
                      <a:pt x="150606" y="0"/>
                    </a:lnTo>
                    <a:cubicBezTo>
                      <a:pt x="157995" y="0"/>
                      <a:pt x="164037" y="6030"/>
                      <a:pt x="164037" y="13420"/>
                    </a:cubicBezTo>
                    <a:lnTo>
                      <a:pt x="164037" y="32285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97" name="Forma livre: Forma 796">
                <a:extLst>
                  <a:ext uri="{FF2B5EF4-FFF2-40B4-BE49-F238E27FC236}">
                    <a16:creationId xmlns:a16="http://schemas.microsoft.com/office/drawing/2014/main" id="{986597A8-6965-A673-CBA7-FEA7CB44CAE2}"/>
                  </a:ext>
                </a:extLst>
              </p:cNvPr>
              <p:cNvSpPr/>
              <p:nvPr/>
            </p:nvSpPr>
            <p:spPr>
              <a:xfrm>
                <a:off x="4463021" y="2829306"/>
                <a:ext cx="124112" cy="1191"/>
              </a:xfrm>
              <a:custGeom>
                <a:avLst/>
                <a:gdLst>
                  <a:gd name="connsiteX0" fmla="*/ 0 w 124112"/>
                  <a:gd name="connsiteY0" fmla="*/ 0 h 1191"/>
                  <a:gd name="connsiteX1" fmla="*/ 124112 w 124112"/>
                  <a:gd name="connsiteY1" fmla="*/ 0 h 11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4112" h="1191">
                    <a:moveTo>
                      <a:pt x="0" y="0"/>
                    </a:moveTo>
                    <a:lnTo>
                      <a:pt x="124112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98" name="Forma livre: Forma 797">
                <a:extLst>
                  <a:ext uri="{FF2B5EF4-FFF2-40B4-BE49-F238E27FC236}">
                    <a16:creationId xmlns:a16="http://schemas.microsoft.com/office/drawing/2014/main" id="{7FF910CC-03E8-DC79-ECBB-82FBD7D26782}"/>
                  </a:ext>
                </a:extLst>
              </p:cNvPr>
              <p:cNvSpPr/>
              <p:nvPr/>
            </p:nvSpPr>
            <p:spPr>
              <a:xfrm>
                <a:off x="4513946" y="2857730"/>
                <a:ext cx="22310" cy="1191"/>
              </a:xfrm>
              <a:custGeom>
                <a:avLst/>
                <a:gdLst>
                  <a:gd name="connsiteX0" fmla="*/ 0 w 22310"/>
                  <a:gd name="connsiteY0" fmla="*/ 0 h 1191"/>
                  <a:gd name="connsiteX1" fmla="*/ 22310 w 22310"/>
                  <a:gd name="connsiteY1" fmla="*/ 0 h 11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2310" h="1191">
                    <a:moveTo>
                      <a:pt x="0" y="0"/>
                    </a:moveTo>
                    <a:lnTo>
                      <a:pt x="2231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799" name="Gráfico 6">
            <a:extLst>
              <a:ext uri="{FF2B5EF4-FFF2-40B4-BE49-F238E27FC236}">
                <a16:creationId xmlns:a16="http://schemas.microsoft.com/office/drawing/2014/main" id="{01D52C13-C39F-381F-AA70-D1F1A11FD0AF}"/>
              </a:ext>
            </a:extLst>
          </p:cNvPr>
          <p:cNvGrpSpPr/>
          <p:nvPr/>
        </p:nvGrpSpPr>
        <p:grpSpPr>
          <a:xfrm>
            <a:off x="4416374" y="2068649"/>
            <a:ext cx="285789" cy="285789"/>
            <a:chOff x="4416374" y="2068649"/>
            <a:chExt cx="285789" cy="285789"/>
          </a:xfrm>
          <a:noFill/>
        </p:grpSpPr>
        <p:sp>
          <p:nvSpPr>
            <p:cNvPr id="800" name="Forma livre: Forma 799">
              <a:extLst>
                <a:ext uri="{FF2B5EF4-FFF2-40B4-BE49-F238E27FC236}">
                  <a16:creationId xmlns:a16="http://schemas.microsoft.com/office/drawing/2014/main" id="{7BB89A74-C793-2134-8916-E01018C83D9D}"/>
                </a:ext>
              </a:extLst>
            </p:cNvPr>
            <p:cNvSpPr/>
            <p:nvPr/>
          </p:nvSpPr>
          <p:spPr>
            <a:xfrm>
              <a:off x="4521549" y="2186302"/>
              <a:ext cx="72686" cy="56335"/>
            </a:xfrm>
            <a:custGeom>
              <a:avLst/>
              <a:gdLst>
                <a:gd name="connsiteX0" fmla="*/ 0 w 72686"/>
                <a:gd name="connsiteY0" fmla="*/ 20928 h 56335"/>
                <a:gd name="connsiteX1" fmla="*/ 25564 w 72686"/>
                <a:gd name="connsiteY1" fmla="*/ 56336 h 56335"/>
                <a:gd name="connsiteX2" fmla="*/ 72687 w 72686"/>
                <a:gd name="connsiteY2" fmla="*/ 0 h 563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72686" h="56335">
                  <a:moveTo>
                    <a:pt x="0" y="20928"/>
                  </a:moveTo>
                  <a:lnTo>
                    <a:pt x="25564" y="56336"/>
                  </a:lnTo>
                  <a:lnTo>
                    <a:pt x="72687" y="0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801" name="Gráfico 6">
              <a:extLst>
                <a:ext uri="{FF2B5EF4-FFF2-40B4-BE49-F238E27FC236}">
                  <a16:creationId xmlns:a16="http://schemas.microsoft.com/office/drawing/2014/main" id="{657A3E4D-FFA3-82A9-42CC-0CD23B29F58B}"/>
                </a:ext>
              </a:extLst>
            </p:cNvPr>
            <p:cNvGrpSpPr/>
            <p:nvPr/>
          </p:nvGrpSpPr>
          <p:grpSpPr>
            <a:xfrm>
              <a:off x="4416374" y="2068649"/>
              <a:ext cx="285789" cy="285789"/>
              <a:chOff x="4416374" y="2068649"/>
              <a:chExt cx="285789" cy="285789"/>
            </a:xfrm>
            <a:noFill/>
          </p:grpSpPr>
          <p:grpSp>
            <p:nvGrpSpPr>
              <p:cNvPr id="802" name="Gráfico 6">
                <a:extLst>
                  <a:ext uri="{FF2B5EF4-FFF2-40B4-BE49-F238E27FC236}">
                    <a16:creationId xmlns:a16="http://schemas.microsoft.com/office/drawing/2014/main" id="{CBB2C2C6-D005-BD86-AE3B-E7011EC60D9C}"/>
                  </a:ext>
                </a:extLst>
              </p:cNvPr>
              <p:cNvGrpSpPr/>
              <p:nvPr/>
            </p:nvGrpSpPr>
            <p:grpSpPr>
              <a:xfrm>
                <a:off x="4416374" y="2068649"/>
                <a:ext cx="285789" cy="285789"/>
                <a:chOff x="4416374" y="2068649"/>
                <a:chExt cx="285789" cy="285789"/>
              </a:xfrm>
              <a:noFill/>
            </p:grpSpPr>
            <p:sp>
              <p:nvSpPr>
                <p:cNvPr id="803" name="Forma livre: Forma 802">
                  <a:extLst>
                    <a:ext uri="{FF2B5EF4-FFF2-40B4-BE49-F238E27FC236}">
                      <a16:creationId xmlns:a16="http://schemas.microsoft.com/office/drawing/2014/main" id="{0DCFE9CB-374F-EF88-216C-ABAE348E370B}"/>
                    </a:ext>
                  </a:extLst>
                </p:cNvPr>
                <p:cNvSpPr/>
                <p:nvPr/>
              </p:nvSpPr>
              <p:spPr>
                <a:xfrm>
                  <a:off x="4416374" y="2068649"/>
                  <a:ext cx="285789" cy="285789"/>
                </a:xfrm>
                <a:custGeom>
                  <a:avLst/>
                  <a:gdLst>
                    <a:gd name="connsiteX0" fmla="*/ 49948 w 285789"/>
                    <a:gd name="connsiteY0" fmla="*/ 88001 h 285789"/>
                    <a:gd name="connsiteX1" fmla="*/ 38352 w 285789"/>
                    <a:gd name="connsiteY1" fmla="*/ 115996 h 285789"/>
                    <a:gd name="connsiteX2" fmla="*/ 0 w 285789"/>
                    <a:gd name="connsiteY2" fmla="*/ 122503 h 285789"/>
                    <a:gd name="connsiteX3" fmla="*/ 0 w 285789"/>
                    <a:gd name="connsiteY3" fmla="*/ 163275 h 285789"/>
                    <a:gd name="connsiteX4" fmla="*/ 38352 w 285789"/>
                    <a:gd name="connsiteY4" fmla="*/ 169805 h 285789"/>
                    <a:gd name="connsiteX5" fmla="*/ 50079 w 285789"/>
                    <a:gd name="connsiteY5" fmla="*/ 197991 h 285789"/>
                    <a:gd name="connsiteX6" fmla="*/ 27447 w 285789"/>
                    <a:gd name="connsiteY6" fmla="*/ 229526 h 285789"/>
                    <a:gd name="connsiteX7" fmla="*/ 56276 w 285789"/>
                    <a:gd name="connsiteY7" fmla="*/ 258355 h 285789"/>
                    <a:gd name="connsiteX8" fmla="*/ 87811 w 285789"/>
                    <a:gd name="connsiteY8" fmla="*/ 235723 h 285789"/>
                    <a:gd name="connsiteX9" fmla="*/ 115996 w 285789"/>
                    <a:gd name="connsiteY9" fmla="*/ 247426 h 285789"/>
                    <a:gd name="connsiteX10" fmla="*/ 122515 w 285789"/>
                    <a:gd name="connsiteY10" fmla="*/ 285790 h 285789"/>
                    <a:gd name="connsiteX11" fmla="*/ 163286 w 285789"/>
                    <a:gd name="connsiteY11" fmla="*/ 285790 h 285789"/>
                    <a:gd name="connsiteX12" fmla="*/ 169817 w 285789"/>
                    <a:gd name="connsiteY12" fmla="*/ 247438 h 285789"/>
                    <a:gd name="connsiteX13" fmla="*/ 198003 w 285789"/>
                    <a:gd name="connsiteY13" fmla="*/ 235723 h 285789"/>
                    <a:gd name="connsiteX14" fmla="*/ 229526 w 285789"/>
                    <a:gd name="connsiteY14" fmla="*/ 258355 h 285789"/>
                    <a:gd name="connsiteX15" fmla="*/ 258355 w 285789"/>
                    <a:gd name="connsiteY15" fmla="*/ 229526 h 285789"/>
                    <a:gd name="connsiteX16" fmla="*/ 235735 w 285789"/>
                    <a:gd name="connsiteY16" fmla="*/ 198003 h 285789"/>
                    <a:gd name="connsiteX17" fmla="*/ 247510 w 285789"/>
                    <a:gd name="connsiteY17" fmla="*/ 169567 h 285789"/>
                    <a:gd name="connsiteX18" fmla="*/ 285790 w 285789"/>
                    <a:gd name="connsiteY18" fmla="*/ 163275 h 285789"/>
                    <a:gd name="connsiteX19" fmla="*/ 285790 w 285789"/>
                    <a:gd name="connsiteY19" fmla="*/ 122503 h 285789"/>
                    <a:gd name="connsiteX20" fmla="*/ 247510 w 285789"/>
                    <a:gd name="connsiteY20" fmla="*/ 116223 h 285789"/>
                    <a:gd name="connsiteX21" fmla="*/ 235866 w 285789"/>
                    <a:gd name="connsiteY21" fmla="*/ 87989 h 285789"/>
                    <a:gd name="connsiteX22" fmla="*/ 258355 w 285789"/>
                    <a:gd name="connsiteY22" fmla="*/ 56276 h 285789"/>
                    <a:gd name="connsiteX23" fmla="*/ 229526 w 285789"/>
                    <a:gd name="connsiteY23" fmla="*/ 27447 h 285789"/>
                    <a:gd name="connsiteX24" fmla="*/ 197801 w 285789"/>
                    <a:gd name="connsiteY24" fmla="*/ 49948 h 285789"/>
                    <a:gd name="connsiteX25" fmla="*/ 169579 w 285789"/>
                    <a:gd name="connsiteY25" fmla="*/ 38304 h 285789"/>
                    <a:gd name="connsiteX26" fmla="*/ 163275 w 285789"/>
                    <a:gd name="connsiteY26" fmla="*/ 0 h 285789"/>
                    <a:gd name="connsiteX27" fmla="*/ 122504 w 285789"/>
                    <a:gd name="connsiteY27" fmla="*/ 0 h 285789"/>
                    <a:gd name="connsiteX28" fmla="*/ 119977 w 285789"/>
                    <a:gd name="connsiteY28" fmla="*/ 17078 h 28578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</a:cxnLst>
                  <a:rect l="l" t="t" r="r" b="b"/>
                  <a:pathLst>
                    <a:path w="285789" h="285789">
                      <a:moveTo>
                        <a:pt x="49948" y="88001"/>
                      </a:moveTo>
                      <a:cubicBezTo>
                        <a:pt x="44835" y="96630"/>
                        <a:pt x="40902" y="106033"/>
                        <a:pt x="38352" y="115996"/>
                      </a:cubicBezTo>
                      <a:lnTo>
                        <a:pt x="0" y="122503"/>
                      </a:lnTo>
                      <a:lnTo>
                        <a:pt x="0" y="163275"/>
                      </a:lnTo>
                      <a:lnTo>
                        <a:pt x="38352" y="169805"/>
                      </a:lnTo>
                      <a:cubicBezTo>
                        <a:pt x="40926" y="179852"/>
                        <a:pt x="44895" y="189303"/>
                        <a:pt x="50079" y="197991"/>
                      </a:cubicBezTo>
                      <a:lnTo>
                        <a:pt x="27447" y="229526"/>
                      </a:lnTo>
                      <a:lnTo>
                        <a:pt x="56276" y="258355"/>
                      </a:lnTo>
                      <a:lnTo>
                        <a:pt x="87811" y="235723"/>
                      </a:lnTo>
                      <a:cubicBezTo>
                        <a:pt x="96499" y="240895"/>
                        <a:pt x="105962" y="244852"/>
                        <a:pt x="115996" y="247426"/>
                      </a:cubicBezTo>
                      <a:lnTo>
                        <a:pt x="122515" y="285790"/>
                      </a:lnTo>
                      <a:lnTo>
                        <a:pt x="163286" y="285790"/>
                      </a:lnTo>
                      <a:lnTo>
                        <a:pt x="169817" y="247438"/>
                      </a:lnTo>
                      <a:cubicBezTo>
                        <a:pt x="179852" y="244852"/>
                        <a:pt x="189315" y="240895"/>
                        <a:pt x="198003" y="235723"/>
                      </a:cubicBezTo>
                      <a:lnTo>
                        <a:pt x="229526" y="258355"/>
                      </a:lnTo>
                      <a:lnTo>
                        <a:pt x="258355" y="229526"/>
                      </a:lnTo>
                      <a:lnTo>
                        <a:pt x="235735" y="198003"/>
                      </a:lnTo>
                      <a:cubicBezTo>
                        <a:pt x="240943" y="189231"/>
                        <a:pt x="244924" y="179697"/>
                        <a:pt x="247510" y="169567"/>
                      </a:cubicBezTo>
                      <a:lnTo>
                        <a:pt x="285790" y="163275"/>
                      </a:lnTo>
                      <a:lnTo>
                        <a:pt x="285790" y="122503"/>
                      </a:lnTo>
                      <a:lnTo>
                        <a:pt x="247510" y="116223"/>
                      </a:lnTo>
                      <a:cubicBezTo>
                        <a:pt x="244959" y="106176"/>
                        <a:pt x="241015" y="96689"/>
                        <a:pt x="235866" y="87989"/>
                      </a:cubicBezTo>
                      <a:lnTo>
                        <a:pt x="258355" y="56276"/>
                      </a:lnTo>
                      <a:lnTo>
                        <a:pt x="229526" y="27447"/>
                      </a:lnTo>
                      <a:lnTo>
                        <a:pt x="197801" y="49948"/>
                      </a:lnTo>
                      <a:cubicBezTo>
                        <a:pt x="189100" y="44799"/>
                        <a:pt x="179626" y="40866"/>
                        <a:pt x="169579" y="38304"/>
                      </a:cubicBezTo>
                      <a:lnTo>
                        <a:pt x="163275" y="0"/>
                      </a:lnTo>
                      <a:lnTo>
                        <a:pt x="122504" y="0"/>
                      </a:lnTo>
                      <a:lnTo>
                        <a:pt x="119977" y="17078"/>
                      </a:ln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804" name="Forma livre: Forma 803">
                  <a:extLst>
                    <a:ext uri="{FF2B5EF4-FFF2-40B4-BE49-F238E27FC236}">
                      <a16:creationId xmlns:a16="http://schemas.microsoft.com/office/drawing/2014/main" id="{9DF433B2-3C19-79C5-4CEE-58BDC3B33D20}"/>
                    </a:ext>
                  </a:extLst>
                </p:cNvPr>
                <p:cNvSpPr/>
                <p:nvPr/>
              </p:nvSpPr>
              <p:spPr>
                <a:xfrm>
                  <a:off x="4443821" y="2096108"/>
                  <a:ext cx="88764" cy="42379"/>
                </a:xfrm>
                <a:custGeom>
                  <a:avLst/>
                  <a:gdLst>
                    <a:gd name="connsiteX0" fmla="*/ 88764 w 88764"/>
                    <a:gd name="connsiteY0" fmla="*/ 10857 h 42379"/>
                    <a:gd name="connsiteX1" fmla="*/ 60555 w 88764"/>
                    <a:gd name="connsiteY1" fmla="*/ 22501 h 42379"/>
                    <a:gd name="connsiteX2" fmla="*/ 28829 w 88764"/>
                    <a:gd name="connsiteY2" fmla="*/ 0 h 42379"/>
                    <a:gd name="connsiteX3" fmla="*/ 0 w 88764"/>
                    <a:gd name="connsiteY3" fmla="*/ 28817 h 42379"/>
                    <a:gd name="connsiteX4" fmla="*/ 9701 w 88764"/>
                    <a:gd name="connsiteY4" fmla="*/ 42380 h 4237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88764" h="42379">
                      <a:moveTo>
                        <a:pt x="88764" y="10857"/>
                      </a:moveTo>
                      <a:cubicBezTo>
                        <a:pt x="78729" y="13408"/>
                        <a:pt x="69255" y="17341"/>
                        <a:pt x="60555" y="22501"/>
                      </a:cubicBezTo>
                      <a:lnTo>
                        <a:pt x="28829" y="0"/>
                      </a:lnTo>
                      <a:lnTo>
                        <a:pt x="0" y="28817"/>
                      </a:lnTo>
                      <a:lnTo>
                        <a:pt x="9701" y="42380"/>
                      </a:ln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805" name="Forma livre: Forma 804">
                <a:extLst>
                  <a:ext uri="{FF2B5EF4-FFF2-40B4-BE49-F238E27FC236}">
                    <a16:creationId xmlns:a16="http://schemas.microsoft.com/office/drawing/2014/main" id="{49D77E47-7DD1-7192-0503-DFF17064D906}"/>
                  </a:ext>
                </a:extLst>
              </p:cNvPr>
              <p:cNvSpPr/>
              <p:nvPr/>
            </p:nvSpPr>
            <p:spPr>
              <a:xfrm>
                <a:off x="4487762" y="2140037"/>
                <a:ext cx="143026" cy="143025"/>
              </a:xfrm>
              <a:custGeom>
                <a:avLst/>
                <a:gdLst>
                  <a:gd name="connsiteX0" fmla="*/ 37517 w 143026"/>
                  <a:gd name="connsiteY0" fmla="*/ 8581 h 143025"/>
                  <a:gd name="connsiteX1" fmla="*/ 71507 w 143026"/>
                  <a:gd name="connsiteY1" fmla="*/ 0 h 143025"/>
                  <a:gd name="connsiteX2" fmla="*/ 143026 w 143026"/>
                  <a:gd name="connsiteY2" fmla="*/ 71519 h 143025"/>
                  <a:gd name="connsiteX3" fmla="*/ 71507 w 143026"/>
                  <a:gd name="connsiteY3" fmla="*/ 143026 h 143025"/>
                  <a:gd name="connsiteX4" fmla="*/ 0 w 143026"/>
                  <a:gd name="connsiteY4" fmla="*/ 71519 h 143025"/>
                  <a:gd name="connsiteX5" fmla="*/ 14802 w 143026"/>
                  <a:gd name="connsiteY5" fmla="*/ 27935 h 1430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43026" h="143025">
                    <a:moveTo>
                      <a:pt x="37517" y="8581"/>
                    </a:moveTo>
                    <a:cubicBezTo>
                      <a:pt x="47624" y="3111"/>
                      <a:pt x="59208" y="0"/>
                      <a:pt x="71507" y="0"/>
                    </a:cubicBezTo>
                    <a:cubicBezTo>
                      <a:pt x="111003" y="0"/>
                      <a:pt x="143026" y="32023"/>
                      <a:pt x="143026" y="71519"/>
                    </a:cubicBezTo>
                    <a:cubicBezTo>
                      <a:pt x="143026" y="111015"/>
                      <a:pt x="111003" y="143026"/>
                      <a:pt x="71507" y="143026"/>
                    </a:cubicBezTo>
                    <a:cubicBezTo>
                      <a:pt x="32011" y="143026"/>
                      <a:pt x="0" y="111003"/>
                      <a:pt x="0" y="71519"/>
                    </a:cubicBezTo>
                    <a:cubicBezTo>
                      <a:pt x="0" y="55120"/>
                      <a:pt x="5518" y="39996"/>
                      <a:pt x="14802" y="27935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806" name="Gráfico 6">
            <a:extLst>
              <a:ext uri="{FF2B5EF4-FFF2-40B4-BE49-F238E27FC236}">
                <a16:creationId xmlns:a16="http://schemas.microsoft.com/office/drawing/2014/main" id="{4E097ADA-16A0-64EF-28D7-11BA43A7750E}"/>
              </a:ext>
            </a:extLst>
          </p:cNvPr>
          <p:cNvGrpSpPr/>
          <p:nvPr/>
        </p:nvGrpSpPr>
        <p:grpSpPr>
          <a:xfrm>
            <a:off x="4421654" y="3119112"/>
            <a:ext cx="275239" cy="296802"/>
            <a:chOff x="4421654" y="3119112"/>
            <a:chExt cx="275239" cy="296802"/>
          </a:xfrm>
          <a:noFill/>
        </p:grpSpPr>
        <p:grpSp>
          <p:nvGrpSpPr>
            <p:cNvPr id="807" name="Gráfico 6">
              <a:extLst>
                <a:ext uri="{FF2B5EF4-FFF2-40B4-BE49-F238E27FC236}">
                  <a16:creationId xmlns:a16="http://schemas.microsoft.com/office/drawing/2014/main" id="{FFF75F7C-B1EB-68F0-F3F5-1B42F1DC110A}"/>
                </a:ext>
              </a:extLst>
            </p:cNvPr>
            <p:cNvGrpSpPr/>
            <p:nvPr/>
          </p:nvGrpSpPr>
          <p:grpSpPr>
            <a:xfrm>
              <a:off x="4421654" y="3119112"/>
              <a:ext cx="76083" cy="296802"/>
              <a:chOff x="4421654" y="3119112"/>
              <a:chExt cx="76083" cy="296802"/>
            </a:xfrm>
            <a:noFill/>
          </p:grpSpPr>
          <p:grpSp>
            <p:nvGrpSpPr>
              <p:cNvPr id="808" name="Gráfico 6">
                <a:extLst>
                  <a:ext uri="{FF2B5EF4-FFF2-40B4-BE49-F238E27FC236}">
                    <a16:creationId xmlns:a16="http://schemas.microsoft.com/office/drawing/2014/main" id="{91B2972A-AC20-9CEE-8404-079572599C21}"/>
                  </a:ext>
                </a:extLst>
              </p:cNvPr>
              <p:cNvGrpSpPr/>
              <p:nvPr/>
            </p:nvGrpSpPr>
            <p:grpSpPr>
              <a:xfrm>
                <a:off x="4421654" y="3119112"/>
                <a:ext cx="76083" cy="72186"/>
                <a:chOff x="4421654" y="3119112"/>
                <a:chExt cx="76083" cy="72186"/>
              </a:xfrm>
              <a:noFill/>
            </p:grpSpPr>
            <p:sp>
              <p:nvSpPr>
                <p:cNvPr id="809" name="Forma livre: Forma 808">
                  <a:extLst>
                    <a:ext uri="{FF2B5EF4-FFF2-40B4-BE49-F238E27FC236}">
                      <a16:creationId xmlns:a16="http://schemas.microsoft.com/office/drawing/2014/main" id="{97734B53-8CAF-54B5-97D8-25E703E168FB}"/>
                    </a:ext>
                  </a:extLst>
                </p:cNvPr>
                <p:cNvSpPr/>
                <p:nvPr/>
              </p:nvSpPr>
              <p:spPr>
                <a:xfrm>
                  <a:off x="4421654" y="3125953"/>
                  <a:ext cx="62842" cy="65345"/>
                </a:xfrm>
                <a:custGeom>
                  <a:avLst/>
                  <a:gdLst>
                    <a:gd name="connsiteX0" fmla="*/ 62843 w 62842"/>
                    <a:gd name="connsiteY0" fmla="*/ 65346 h 65345"/>
                    <a:gd name="connsiteX1" fmla="*/ 0 w 62842"/>
                    <a:gd name="connsiteY1" fmla="*/ 65346 h 65345"/>
                    <a:gd name="connsiteX2" fmla="*/ 0 w 62842"/>
                    <a:gd name="connsiteY2" fmla="*/ 0 h 65345"/>
                    <a:gd name="connsiteX3" fmla="*/ 35491 w 62842"/>
                    <a:gd name="connsiteY3" fmla="*/ 0 h 6534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62842" h="65345">
                      <a:moveTo>
                        <a:pt x="62843" y="65346"/>
                      </a:moveTo>
                      <a:lnTo>
                        <a:pt x="0" y="65346"/>
                      </a:lnTo>
                      <a:lnTo>
                        <a:pt x="0" y="0"/>
                      </a:lnTo>
                      <a:lnTo>
                        <a:pt x="35491" y="0"/>
                      </a:ln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810" name="Forma livre: Forma 809">
                  <a:extLst>
                    <a:ext uri="{FF2B5EF4-FFF2-40B4-BE49-F238E27FC236}">
                      <a16:creationId xmlns:a16="http://schemas.microsoft.com/office/drawing/2014/main" id="{579EB29F-2950-E619-1093-8038CED0C9F3}"/>
                    </a:ext>
                  </a:extLst>
                </p:cNvPr>
                <p:cNvSpPr/>
                <p:nvPr/>
              </p:nvSpPr>
              <p:spPr>
                <a:xfrm>
                  <a:off x="4444143" y="3119112"/>
                  <a:ext cx="53594" cy="48934"/>
                </a:xfrm>
                <a:custGeom>
                  <a:avLst/>
                  <a:gdLst>
                    <a:gd name="connsiteX0" fmla="*/ 0 w 53594"/>
                    <a:gd name="connsiteY0" fmla="*/ 31463 h 48934"/>
                    <a:gd name="connsiteX1" fmla="*/ 15720 w 53594"/>
                    <a:gd name="connsiteY1" fmla="*/ 48935 h 48934"/>
                    <a:gd name="connsiteX2" fmla="*/ 53595 w 53594"/>
                    <a:gd name="connsiteY2" fmla="*/ 0 h 4893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53594" h="48934">
                      <a:moveTo>
                        <a:pt x="0" y="31463"/>
                      </a:moveTo>
                      <a:lnTo>
                        <a:pt x="15720" y="48935"/>
                      </a:lnTo>
                      <a:lnTo>
                        <a:pt x="53595" y="0"/>
                      </a:ln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811" name="Gráfico 6">
                <a:extLst>
                  <a:ext uri="{FF2B5EF4-FFF2-40B4-BE49-F238E27FC236}">
                    <a16:creationId xmlns:a16="http://schemas.microsoft.com/office/drawing/2014/main" id="{79F7D212-00EE-B333-9E0C-3821FD166F05}"/>
                  </a:ext>
                </a:extLst>
              </p:cNvPr>
              <p:cNvGrpSpPr/>
              <p:nvPr/>
            </p:nvGrpSpPr>
            <p:grpSpPr>
              <a:xfrm>
                <a:off x="4421654" y="3231425"/>
                <a:ext cx="76083" cy="72186"/>
                <a:chOff x="4421654" y="3231425"/>
                <a:chExt cx="76083" cy="72186"/>
              </a:xfrm>
              <a:noFill/>
            </p:grpSpPr>
            <p:sp>
              <p:nvSpPr>
                <p:cNvPr id="812" name="Forma livre: Forma 811">
                  <a:extLst>
                    <a:ext uri="{FF2B5EF4-FFF2-40B4-BE49-F238E27FC236}">
                      <a16:creationId xmlns:a16="http://schemas.microsoft.com/office/drawing/2014/main" id="{50B2E801-F1BA-D124-938B-D3D16C732EE4}"/>
                    </a:ext>
                  </a:extLst>
                </p:cNvPr>
                <p:cNvSpPr/>
                <p:nvPr/>
              </p:nvSpPr>
              <p:spPr>
                <a:xfrm>
                  <a:off x="4421654" y="3238266"/>
                  <a:ext cx="62842" cy="65345"/>
                </a:xfrm>
                <a:custGeom>
                  <a:avLst/>
                  <a:gdLst>
                    <a:gd name="connsiteX0" fmla="*/ 62843 w 62842"/>
                    <a:gd name="connsiteY0" fmla="*/ 65346 h 65345"/>
                    <a:gd name="connsiteX1" fmla="*/ 0 w 62842"/>
                    <a:gd name="connsiteY1" fmla="*/ 65346 h 65345"/>
                    <a:gd name="connsiteX2" fmla="*/ 0 w 62842"/>
                    <a:gd name="connsiteY2" fmla="*/ 0 h 65345"/>
                    <a:gd name="connsiteX3" fmla="*/ 35491 w 62842"/>
                    <a:gd name="connsiteY3" fmla="*/ 0 h 6534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62842" h="65345">
                      <a:moveTo>
                        <a:pt x="62843" y="65346"/>
                      </a:moveTo>
                      <a:lnTo>
                        <a:pt x="0" y="65346"/>
                      </a:lnTo>
                      <a:lnTo>
                        <a:pt x="0" y="0"/>
                      </a:lnTo>
                      <a:lnTo>
                        <a:pt x="35491" y="0"/>
                      </a:ln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813" name="Forma livre: Forma 812">
                  <a:extLst>
                    <a:ext uri="{FF2B5EF4-FFF2-40B4-BE49-F238E27FC236}">
                      <a16:creationId xmlns:a16="http://schemas.microsoft.com/office/drawing/2014/main" id="{4D65FD8B-100D-E3E1-3C9D-09B406045907}"/>
                    </a:ext>
                  </a:extLst>
                </p:cNvPr>
                <p:cNvSpPr/>
                <p:nvPr/>
              </p:nvSpPr>
              <p:spPr>
                <a:xfrm>
                  <a:off x="4444143" y="3231425"/>
                  <a:ext cx="53594" cy="48934"/>
                </a:xfrm>
                <a:custGeom>
                  <a:avLst/>
                  <a:gdLst>
                    <a:gd name="connsiteX0" fmla="*/ 0 w 53594"/>
                    <a:gd name="connsiteY0" fmla="*/ 31475 h 48934"/>
                    <a:gd name="connsiteX1" fmla="*/ 15720 w 53594"/>
                    <a:gd name="connsiteY1" fmla="*/ 48935 h 48934"/>
                    <a:gd name="connsiteX2" fmla="*/ 53595 w 53594"/>
                    <a:gd name="connsiteY2" fmla="*/ 0 h 4893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53594" h="48934">
                      <a:moveTo>
                        <a:pt x="0" y="31475"/>
                      </a:moveTo>
                      <a:lnTo>
                        <a:pt x="15720" y="48935"/>
                      </a:lnTo>
                      <a:lnTo>
                        <a:pt x="53595" y="0"/>
                      </a:ln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814" name="Forma livre: Forma 813">
                <a:extLst>
                  <a:ext uri="{FF2B5EF4-FFF2-40B4-BE49-F238E27FC236}">
                    <a16:creationId xmlns:a16="http://schemas.microsoft.com/office/drawing/2014/main" id="{3874769E-B3B0-C461-3D7D-FB6771F0903F}"/>
                  </a:ext>
                </a:extLst>
              </p:cNvPr>
              <p:cNvSpPr/>
              <p:nvPr/>
            </p:nvSpPr>
            <p:spPr>
              <a:xfrm>
                <a:off x="4421654" y="3350580"/>
                <a:ext cx="62842" cy="65333"/>
              </a:xfrm>
              <a:custGeom>
                <a:avLst/>
                <a:gdLst>
                  <a:gd name="connsiteX0" fmla="*/ 62843 w 62842"/>
                  <a:gd name="connsiteY0" fmla="*/ 65334 h 65333"/>
                  <a:gd name="connsiteX1" fmla="*/ 0 w 62842"/>
                  <a:gd name="connsiteY1" fmla="*/ 65334 h 65333"/>
                  <a:gd name="connsiteX2" fmla="*/ 0 w 62842"/>
                  <a:gd name="connsiteY2" fmla="*/ 0 h 65333"/>
                  <a:gd name="connsiteX3" fmla="*/ 44072 w 62842"/>
                  <a:gd name="connsiteY3" fmla="*/ 0 h 653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2842" h="65333">
                    <a:moveTo>
                      <a:pt x="62843" y="65334"/>
                    </a:moveTo>
                    <a:lnTo>
                      <a:pt x="0" y="65334"/>
                    </a:lnTo>
                    <a:lnTo>
                      <a:pt x="0" y="0"/>
                    </a:lnTo>
                    <a:lnTo>
                      <a:pt x="44072" y="0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815" name="Gráfico 6">
              <a:extLst>
                <a:ext uri="{FF2B5EF4-FFF2-40B4-BE49-F238E27FC236}">
                  <a16:creationId xmlns:a16="http://schemas.microsoft.com/office/drawing/2014/main" id="{5831143D-663A-A27D-58F5-CC0B33ACC475}"/>
                </a:ext>
              </a:extLst>
            </p:cNvPr>
            <p:cNvGrpSpPr/>
            <p:nvPr/>
          </p:nvGrpSpPr>
          <p:grpSpPr>
            <a:xfrm>
              <a:off x="4482793" y="3167705"/>
              <a:ext cx="214101" cy="226172"/>
              <a:chOff x="4482793" y="3167705"/>
              <a:chExt cx="214101" cy="226172"/>
            </a:xfrm>
            <a:noFill/>
          </p:grpSpPr>
          <p:sp>
            <p:nvSpPr>
              <p:cNvPr id="816" name="Forma livre: Forma 815">
                <a:extLst>
                  <a:ext uri="{FF2B5EF4-FFF2-40B4-BE49-F238E27FC236}">
                    <a16:creationId xmlns:a16="http://schemas.microsoft.com/office/drawing/2014/main" id="{7F44D54D-2C96-BE51-E5C2-C3BB355EACBF}"/>
                  </a:ext>
                </a:extLst>
              </p:cNvPr>
              <p:cNvSpPr/>
              <p:nvPr/>
            </p:nvSpPr>
            <p:spPr>
              <a:xfrm>
                <a:off x="4482793" y="3167705"/>
                <a:ext cx="214101" cy="226172"/>
              </a:xfrm>
              <a:custGeom>
                <a:avLst/>
                <a:gdLst>
                  <a:gd name="connsiteX0" fmla="*/ 208181 w 214101"/>
                  <a:gd name="connsiteY0" fmla="*/ 24308 h 226172"/>
                  <a:gd name="connsiteX1" fmla="*/ 187587 w 214101"/>
                  <a:gd name="connsiteY1" fmla="*/ 5049 h 226172"/>
                  <a:gd name="connsiteX2" fmla="*/ 161034 w 214101"/>
                  <a:gd name="connsiteY2" fmla="*/ 5931 h 226172"/>
                  <a:gd name="connsiteX3" fmla="*/ 22823 w 214101"/>
                  <a:gd name="connsiteY3" fmla="*/ 153641 h 226172"/>
                  <a:gd name="connsiteX4" fmla="*/ 0 w 214101"/>
                  <a:gd name="connsiteY4" fmla="*/ 226173 h 226172"/>
                  <a:gd name="connsiteX5" fmla="*/ 70852 w 214101"/>
                  <a:gd name="connsiteY5" fmla="*/ 198571 h 226172"/>
                  <a:gd name="connsiteX6" fmla="*/ 209051 w 214101"/>
                  <a:gd name="connsiteY6" fmla="*/ 50861 h 226172"/>
                  <a:gd name="connsiteX7" fmla="*/ 208181 w 214101"/>
                  <a:gd name="connsiteY7" fmla="*/ 24296 h 2261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14101" h="226172">
                    <a:moveTo>
                      <a:pt x="208181" y="24308"/>
                    </a:moveTo>
                    <a:lnTo>
                      <a:pt x="187587" y="5049"/>
                    </a:lnTo>
                    <a:cubicBezTo>
                      <a:pt x="180043" y="-2018"/>
                      <a:pt x="168089" y="-1613"/>
                      <a:pt x="161034" y="5931"/>
                    </a:cubicBezTo>
                    <a:lnTo>
                      <a:pt x="22823" y="153641"/>
                    </a:lnTo>
                    <a:lnTo>
                      <a:pt x="0" y="226173"/>
                    </a:lnTo>
                    <a:lnTo>
                      <a:pt x="70852" y="198571"/>
                    </a:lnTo>
                    <a:lnTo>
                      <a:pt x="209051" y="50861"/>
                    </a:lnTo>
                    <a:cubicBezTo>
                      <a:pt x="216118" y="43305"/>
                      <a:pt x="215713" y="31363"/>
                      <a:pt x="208181" y="24296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817" name="Forma livre: Forma 816">
                <a:extLst>
                  <a:ext uri="{FF2B5EF4-FFF2-40B4-BE49-F238E27FC236}">
                    <a16:creationId xmlns:a16="http://schemas.microsoft.com/office/drawing/2014/main" id="{0F22E635-EE7B-033C-D956-286394222AEC}"/>
                  </a:ext>
                </a:extLst>
              </p:cNvPr>
              <p:cNvSpPr/>
              <p:nvPr/>
            </p:nvSpPr>
            <p:spPr>
              <a:xfrm>
                <a:off x="4645173" y="3201679"/>
                <a:ext cx="31105" cy="29091"/>
              </a:xfrm>
              <a:custGeom>
                <a:avLst/>
                <a:gdLst>
                  <a:gd name="connsiteX0" fmla="*/ 0 w 31105"/>
                  <a:gd name="connsiteY0" fmla="*/ 0 h 29091"/>
                  <a:gd name="connsiteX1" fmla="*/ 31106 w 31105"/>
                  <a:gd name="connsiteY1" fmla="*/ 29092 h 290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1105" h="29091">
                    <a:moveTo>
                      <a:pt x="0" y="0"/>
                    </a:moveTo>
                    <a:lnTo>
                      <a:pt x="31106" y="29092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818" name="Forma livre: Forma 817">
                <a:extLst>
                  <a:ext uri="{FF2B5EF4-FFF2-40B4-BE49-F238E27FC236}">
                    <a16:creationId xmlns:a16="http://schemas.microsoft.com/office/drawing/2014/main" id="{A305D5FB-0F91-9CDA-343F-B13FC9DA56DE}"/>
                  </a:ext>
                </a:extLst>
              </p:cNvPr>
              <p:cNvSpPr/>
              <p:nvPr/>
            </p:nvSpPr>
            <p:spPr>
              <a:xfrm>
                <a:off x="4511574" y="3318986"/>
                <a:ext cx="44024" cy="41188"/>
              </a:xfrm>
              <a:custGeom>
                <a:avLst/>
                <a:gdLst>
                  <a:gd name="connsiteX0" fmla="*/ 0 w 44024"/>
                  <a:gd name="connsiteY0" fmla="*/ 0 h 41188"/>
                  <a:gd name="connsiteX1" fmla="*/ 44025 w 44024"/>
                  <a:gd name="connsiteY1" fmla="*/ 41188 h 411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4024" h="41188">
                    <a:moveTo>
                      <a:pt x="0" y="0"/>
                    </a:moveTo>
                    <a:lnTo>
                      <a:pt x="44025" y="41188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819" name="Forma livre: Forma 818">
                <a:extLst>
                  <a:ext uri="{FF2B5EF4-FFF2-40B4-BE49-F238E27FC236}">
                    <a16:creationId xmlns:a16="http://schemas.microsoft.com/office/drawing/2014/main" id="{9D369754-C56D-6CF9-21AB-41D98DF40FE8}"/>
                  </a:ext>
                </a:extLst>
              </p:cNvPr>
              <p:cNvSpPr/>
              <p:nvPr/>
            </p:nvSpPr>
            <p:spPr>
              <a:xfrm>
                <a:off x="4498214" y="3350449"/>
                <a:ext cx="26874" cy="25146"/>
              </a:xfrm>
              <a:custGeom>
                <a:avLst/>
                <a:gdLst>
                  <a:gd name="connsiteX0" fmla="*/ 0 w 26874"/>
                  <a:gd name="connsiteY0" fmla="*/ 0 h 25146"/>
                  <a:gd name="connsiteX1" fmla="*/ 26875 w 26874"/>
                  <a:gd name="connsiteY1" fmla="*/ 25147 h 251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6874" h="25146">
                    <a:moveTo>
                      <a:pt x="0" y="0"/>
                    </a:moveTo>
                    <a:lnTo>
                      <a:pt x="26875" y="25147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820" name="Forma livre: Forma 819">
                <a:extLst>
                  <a:ext uri="{FF2B5EF4-FFF2-40B4-BE49-F238E27FC236}">
                    <a16:creationId xmlns:a16="http://schemas.microsoft.com/office/drawing/2014/main" id="{A3D2DEF7-BBCF-083A-D571-79B06474BF99}"/>
                  </a:ext>
                </a:extLst>
              </p:cNvPr>
              <p:cNvSpPr/>
              <p:nvPr/>
            </p:nvSpPr>
            <p:spPr>
              <a:xfrm>
                <a:off x="4533586" y="3236109"/>
                <a:ext cx="96820" cy="103470"/>
              </a:xfrm>
              <a:custGeom>
                <a:avLst/>
                <a:gdLst>
                  <a:gd name="connsiteX0" fmla="*/ 96821 w 96820"/>
                  <a:gd name="connsiteY0" fmla="*/ 0 h 103470"/>
                  <a:gd name="connsiteX1" fmla="*/ 0 w 96820"/>
                  <a:gd name="connsiteY1" fmla="*/ 103471 h 1034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6820" h="103470">
                    <a:moveTo>
                      <a:pt x="96821" y="0"/>
                    </a:moveTo>
                    <a:lnTo>
                      <a:pt x="0" y="103471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821" name="Gráfico 6">
            <a:extLst>
              <a:ext uri="{FF2B5EF4-FFF2-40B4-BE49-F238E27FC236}">
                <a16:creationId xmlns:a16="http://schemas.microsoft.com/office/drawing/2014/main" id="{B25A136C-564B-DB4D-77BF-6F11953C0653}"/>
              </a:ext>
            </a:extLst>
          </p:cNvPr>
          <p:cNvGrpSpPr/>
          <p:nvPr/>
        </p:nvGrpSpPr>
        <p:grpSpPr>
          <a:xfrm>
            <a:off x="4391716" y="1535183"/>
            <a:ext cx="335115" cy="296812"/>
            <a:chOff x="4391716" y="1535183"/>
            <a:chExt cx="335115" cy="296812"/>
          </a:xfrm>
          <a:noFill/>
        </p:grpSpPr>
        <p:sp>
          <p:nvSpPr>
            <p:cNvPr id="822" name="Forma livre: Forma 821">
              <a:extLst>
                <a:ext uri="{FF2B5EF4-FFF2-40B4-BE49-F238E27FC236}">
                  <a16:creationId xmlns:a16="http://schemas.microsoft.com/office/drawing/2014/main" id="{E91D9BFE-2720-C18D-61F7-646362DD4FC3}"/>
                </a:ext>
              </a:extLst>
            </p:cNvPr>
            <p:cNvSpPr/>
            <p:nvPr/>
          </p:nvSpPr>
          <p:spPr>
            <a:xfrm>
              <a:off x="4391716" y="1799795"/>
              <a:ext cx="17185" cy="1191"/>
            </a:xfrm>
            <a:custGeom>
              <a:avLst/>
              <a:gdLst>
                <a:gd name="connsiteX0" fmla="*/ 17186 w 17185"/>
                <a:gd name="connsiteY0" fmla="*/ 0 h 1191"/>
                <a:gd name="connsiteX1" fmla="*/ 0 w 17185"/>
                <a:gd name="connsiteY1" fmla="*/ 0 h 11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7185" h="1191">
                  <a:moveTo>
                    <a:pt x="17186" y="0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823" name="Gráfico 6">
              <a:extLst>
                <a:ext uri="{FF2B5EF4-FFF2-40B4-BE49-F238E27FC236}">
                  <a16:creationId xmlns:a16="http://schemas.microsoft.com/office/drawing/2014/main" id="{79E38BF0-D2E9-272E-BE67-BA056C4B416F}"/>
                </a:ext>
              </a:extLst>
            </p:cNvPr>
            <p:cNvGrpSpPr/>
            <p:nvPr/>
          </p:nvGrpSpPr>
          <p:grpSpPr>
            <a:xfrm>
              <a:off x="4461245" y="1682833"/>
              <a:ext cx="85593" cy="116234"/>
              <a:chOff x="4461245" y="1682833"/>
              <a:chExt cx="85593" cy="116234"/>
            </a:xfrm>
            <a:noFill/>
          </p:grpSpPr>
          <p:sp>
            <p:nvSpPr>
              <p:cNvPr id="824" name="Forma livre: Forma 823">
                <a:extLst>
                  <a:ext uri="{FF2B5EF4-FFF2-40B4-BE49-F238E27FC236}">
                    <a16:creationId xmlns:a16="http://schemas.microsoft.com/office/drawing/2014/main" id="{5518F4D9-8AE5-A591-DA37-61F37201D673}"/>
                  </a:ext>
                </a:extLst>
              </p:cNvPr>
              <p:cNvSpPr/>
              <p:nvPr/>
            </p:nvSpPr>
            <p:spPr>
              <a:xfrm>
                <a:off x="4461245" y="1682833"/>
                <a:ext cx="1191" cy="116234"/>
              </a:xfrm>
              <a:custGeom>
                <a:avLst/>
                <a:gdLst>
                  <a:gd name="connsiteX0" fmla="*/ 0 w 1191"/>
                  <a:gd name="connsiteY0" fmla="*/ 116235 h 116234"/>
                  <a:gd name="connsiteX1" fmla="*/ 0 w 1191"/>
                  <a:gd name="connsiteY1" fmla="*/ 0 h 1162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1" h="116234">
                    <a:moveTo>
                      <a:pt x="0" y="116235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825" name="Forma livre: Forma 824">
                <a:extLst>
                  <a:ext uri="{FF2B5EF4-FFF2-40B4-BE49-F238E27FC236}">
                    <a16:creationId xmlns:a16="http://schemas.microsoft.com/office/drawing/2014/main" id="{56F046B1-292B-D884-435A-30A2147694CF}"/>
                  </a:ext>
                </a:extLst>
              </p:cNvPr>
              <p:cNvSpPr/>
              <p:nvPr/>
            </p:nvSpPr>
            <p:spPr>
              <a:xfrm>
                <a:off x="4501218" y="1701782"/>
                <a:ext cx="45621" cy="97285"/>
              </a:xfrm>
              <a:custGeom>
                <a:avLst/>
                <a:gdLst>
                  <a:gd name="connsiteX0" fmla="*/ 45622 w 45621"/>
                  <a:gd name="connsiteY0" fmla="*/ 97285 h 97285"/>
                  <a:gd name="connsiteX1" fmla="*/ 45622 w 45621"/>
                  <a:gd name="connsiteY1" fmla="*/ 0 h 97285"/>
                  <a:gd name="connsiteX2" fmla="*/ 0 w 45621"/>
                  <a:gd name="connsiteY2" fmla="*/ 0 h 97285"/>
                  <a:gd name="connsiteX3" fmla="*/ 0 w 45621"/>
                  <a:gd name="connsiteY3" fmla="*/ 97285 h 972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5621" h="97285">
                    <a:moveTo>
                      <a:pt x="45622" y="97285"/>
                    </a:moveTo>
                    <a:lnTo>
                      <a:pt x="45622" y="0"/>
                    </a:lnTo>
                    <a:lnTo>
                      <a:pt x="0" y="0"/>
                    </a:lnTo>
                    <a:lnTo>
                      <a:pt x="0" y="97285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826" name="Forma livre: Forma 825">
              <a:extLst>
                <a:ext uri="{FF2B5EF4-FFF2-40B4-BE49-F238E27FC236}">
                  <a16:creationId xmlns:a16="http://schemas.microsoft.com/office/drawing/2014/main" id="{D0CCB53E-0C79-2D9E-B660-A8F00ABA0331}"/>
                </a:ext>
              </a:extLst>
            </p:cNvPr>
            <p:cNvSpPr/>
            <p:nvPr/>
          </p:nvSpPr>
          <p:spPr>
            <a:xfrm>
              <a:off x="4412585" y="1535183"/>
              <a:ext cx="297278" cy="150546"/>
            </a:xfrm>
            <a:custGeom>
              <a:avLst/>
              <a:gdLst>
                <a:gd name="connsiteX0" fmla="*/ 148616 w 297278"/>
                <a:gd name="connsiteY0" fmla="*/ 0 h 150546"/>
                <a:gd name="connsiteX1" fmla="*/ 148663 w 297278"/>
                <a:gd name="connsiteY1" fmla="*/ 0 h 150546"/>
                <a:gd name="connsiteX2" fmla="*/ 297279 w 297278"/>
                <a:gd name="connsiteY2" fmla="*/ 130512 h 150546"/>
                <a:gd name="connsiteX3" fmla="*/ 279593 w 297278"/>
                <a:gd name="connsiteY3" fmla="*/ 150546 h 150546"/>
                <a:gd name="connsiteX4" fmla="*/ 148639 w 297278"/>
                <a:gd name="connsiteY4" fmla="*/ 35634 h 150546"/>
                <a:gd name="connsiteX5" fmla="*/ 17698 w 297278"/>
                <a:gd name="connsiteY5" fmla="*/ 150546 h 150546"/>
                <a:gd name="connsiteX6" fmla="*/ 0 w 297278"/>
                <a:gd name="connsiteY6" fmla="*/ 130512 h 150546"/>
                <a:gd name="connsiteX7" fmla="*/ 148616 w 297278"/>
                <a:gd name="connsiteY7" fmla="*/ 0 h 1505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97278" h="150546">
                  <a:moveTo>
                    <a:pt x="148616" y="0"/>
                  </a:moveTo>
                  <a:lnTo>
                    <a:pt x="148663" y="0"/>
                  </a:lnTo>
                  <a:lnTo>
                    <a:pt x="297279" y="130512"/>
                  </a:lnTo>
                  <a:lnTo>
                    <a:pt x="279593" y="150546"/>
                  </a:lnTo>
                  <a:lnTo>
                    <a:pt x="148639" y="35634"/>
                  </a:lnTo>
                  <a:lnTo>
                    <a:pt x="17698" y="150546"/>
                  </a:lnTo>
                  <a:lnTo>
                    <a:pt x="0" y="130512"/>
                  </a:lnTo>
                  <a:lnTo>
                    <a:pt x="148616" y="0"/>
                  </a:ln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27" name="Forma livre: Forma 826">
              <a:extLst>
                <a:ext uri="{FF2B5EF4-FFF2-40B4-BE49-F238E27FC236}">
                  <a16:creationId xmlns:a16="http://schemas.microsoft.com/office/drawing/2014/main" id="{7C6F79D9-6A2C-5CC9-9953-E4FEB603928A}"/>
                </a:ext>
              </a:extLst>
            </p:cNvPr>
            <p:cNvSpPr/>
            <p:nvPr/>
          </p:nvSpPr>
          <p:spPr>
            <a:xfrm>
              <a:off x="4461960" y="1551856"/>
              <a:ext cx="28209" cy="45109"/>
            </a:xfrm>
            <a:custGeom>
              <a:avLst/>
              <a:gdLst>
                <a:gd name="connsiteX0" fmla="*/ 28210 w 28209"/>
                <a:gd name="connsiteY0" fmla="*/ 18711 h 45109"/>
                <a:gd name="connsiteX1" fmla="*/ 28210 w 28209"/>
                <a:gd name="connsiteY1" fmla="*/ 0 h 45109"/>
                <a:gd name="connsiteX2" fmla="*/ 0 w 28209"/>
                <a:gd name="connsiteY2" fmla="*/ 0 h 45109"/>
                <a:gd name="connsiteX3" fmla="*/ 0 w 28209"/>
                <a:gd name="connsiteY3" fmla="*/ 45109 h 451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8209" h="45109">
                  <a:moveTo>
                    <a:pt x="28210" y="18711"/>
                  </a:moveTo>
                  <a:lnTo>
                    <a:pt x="28210" y="0"/>
                  </a:lnTo>
                  <a:lnTo>
                    <a:pt x="0" y="0"/>
                  </a:lnTo>
                  <a:lnTo>
                    <a:pt x="0" y="45109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28" name="Forma livre: Forma 827">
              <a:extLst>
                <a:ext uri="{FF2B5EF4-FFF2-40B4-BE49-F238E27FC236}">
                  <a16:creationId xmlns:a16="http://schemas.microsoft.com/office/drawing/2014/main" id="{CE06805E-E592-0A2C-CD97-952E42C7510F}"/>
                </a:ext>
              </a:extLst>
            </p:cNvPr>
            <p:cNvSpPr/>
            <p:nvPr/>
          </p:nvSpPr>
          <p:spPr>
            <a:xfrm>
              <a:off x="4433691" y="1799795"/>
              <a:ext cx="146124" cy="1191"/>
            </a:xfrm>
            <a:custGeom>
              <a:avLst/>
              <a:gdLst>
                <a:gd name="connsiteX0" fmla="*/ 146125 w 146124"/>
                <a:gd name="connsiteY0" fmla="*/ 0 h 1191"/>
                <a:gd name="connsiteX1" fmla="*/ 0 w 146124"/>
                <a:gd name="connsiteY1" fmla="*/ 0 h 11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46124" h="1191">
                  <a:moveTo>
                    <a:pt x="146125" y="0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29" name="Forma livre: Forma 828">
              <a:extLst>
                <a:ext uri="{FF2B5EF4-FFF2-40B4-BE49-F238E27FC236}">
                  <a16:creationId xmlns:a16="http://schemas.microsoft.com/office/drawing/2014/main" id="{7CC29112-5144-F9CA-EE0C-169A51EC936D}"/>
                </a:ext>
              </a:extLst>
            </p:cNvPr>
            <p:cNvSpPr/>
            <p:nvPr/>
          </p:nvSpPr>
          <p:spPr>
            <a:xfrm>
              <a:off x="4601857" y="1707022"/>
              <a:ext cx="124975" cy="124972"/>
            </a:xfrm>
            <a:custGeom>
              <a:avLst/>
              <a:gdLst>
                <a:gd name="connsiteX0" fmla="*/ 23259 w 124975"/>
                <a:gd name="connsiteY0" fmla="*/ 13840 h 124972"/>
                <a:gd name="connsiteX1" fmla="*/ 45331 w 124975"/>
                <a:gd name="connsiteY1" fmla="*/ 2423 h 124972"/>
                <a:gd name="connsiteX2" fmla="*/ 122558 w 124975"/>
                <a:gd name="connsiteY2" fmla="*/ 45327 h 124972"/>
                <a:gd name="connsiteX3" fmla="*/ 79642 w 124975"/>
                <a:gd name="connsiteY3" fmla="*/ 122555 h 124972"/>
                <a:gd name="connsiteX4" fmla="*/ 2414 w 124975"/>
                <a:gd name="connsiteY4" fmla="*/ 79651 h 124972"/>
                <a:gd name="connsiteX5" fmla="*/ 7313 w 124975"/>
                <a:gd name="connsiteY5" fmla="*/ 33195 h 1249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24975" h="124972">
                  <a:moveTo>
                    <a:pt x="23259" y="13840"/>
                  </a:moveTo>
                  <a:cubicBezTo>
                    <a:pt x="29599" y="8740"/>
                    <a:pt x="37024" y="4783"/>
                    <a:pt x="45331" y="2423"/>
                  </a:cubicBezTo>
                  <a:cubicBezTo>
                    <a:pt x="78510" y="-7063"/>
                    <a:pt x="113095" y="12148"/>
                    <a:pt x="122558" y="45327"/>
                  </a:cubicBezTo>
                  <a:cubicBezTo>
                    <a:pt x="132033" y="78507"/>
                    <a:pt x="112809" y="113080"/>
                    <a:pt x="79642" y="122555"/>
                  </a:cubicBezTo>
                  <a:cubicBezTo>
                    <a:pt x="46475" y="132030"/>
                    <a:pt x="11901" y="112818"/>
                    <a:pt x="2414" y="79651"/>
                  </a:cubicBezTo>
                  <a:cubicBezTo>
                    <a:pt x="-2198" y="63478"/>
                    <a:pt x="-5" y="46972"/>
                    <a:pt x="7313" y="33195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30" name="Forma livre: Forma 829">
              <a:extLst>
                <a:ext uri="{FF2B5EF4-FFF2-40B4-BE49-F238E27FC236}">
                  <a16:creationId xmlns:a16="http://schemas.microsoft.com/office/drawing/2014/main" id="{33552691-BE9C-AC21-0E34-72976E35A906}"/>
                </a:ext>
              </a:extLst>
            </p:cNvPr>
            <p:cNvSpPr/>
            <p:nvPr/>
          </p:nvSpPr>
          <p:spPr>
            <a:xfrm>
              <a:off x="4631217" y="1747368"/>
              <a:ext cx="63581" cy="49256"/>
            </a:xfrm>
            <a:custGeom>
              <a:avLst/>
              <a:gdLst>
                <a:gd name="connsiteX0" fmla="*/ 0 w 63581"/>
                <a:gd name="connsiteY0" fmla="*/ 18294 h 49256"/>
                <a:gd name="connsiteX1" fmla="*/ 22370 w 63581"/>
                <a:gd name="connsiteY1" fmla="*/ 49256 h 49256"/>
                <a:gd name="connsiteX2" fmla="*/ 63582 w 63581"/>
                <a:gd name="connsiteY2" fmla="*/ 0 h 492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3581" h="49256">
                  <a:moveTo>
                    <a:pt x="0" y="18294"/>
                  </a:moveTo>
                  <a:lnTo>
                    <a:pt x="22370" y="49256"/>
                  </a:lnTo>
                  <a:lnTo>
                    <a:pt x="63582" y="0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831" name="Gráfico 6">
            <a:extLst>
              <a:ext uri="{FF2B5EF4-FFF2-40B4-BE49-F238E27FC236}">
                <a16:creationId xmlns:a16="http://schemas.microsoft.com/office/drawing/2014/main" id="{998A2F33-7946-CD1E-1766-7A1A277BDB89}"/>
              </a:ext>
            </a:extLst>
          </p:cNvPr>
          <p:cNvGrpSpPr/>
          <p:nvPr/>
        </p:nvGrpSpPr>
        <p:grpSpPr>
          <a:xfrm>
            <a:off x="4437117" y="1000179"/>
            <a:ext cx="244316" cy="310888"/>
            <a:chOff x="4437117" y="1000179"/>
            <a:chExt cx="244316" cy="310888"/>
          </a:xfrm>
          <a:noFill/>
        </p:grpSpPr>
        <p:sp>
          <p:nvSpPr>
            <p:cNvPr id="832" name="Forma livre: Forma 831">
              <a:extLst>
                <a:ext uri="{FF2B5EF4-FFF2-40B4-BE49-F238E27FC236}">
                  <a16:creationId xmlns:a16="http://schemas.microsoft.com/office/drawing/2014/main" id="{4E625B06-B84E-6849-60A5-847582372E6A}"/>
                </a:ext>
              </a:extLst>
            </p:cNvPr>
            <p:cNvSpPr/>
            <p:nvPr/>
          </p:nvSpPr>
          <p:spPr>
            <a:xfrm>
              <a:off x="4437117" y="1000179"/>
              <a:ext cx="244316" cy="310888"/>
            </a:xfrm>
            <a:custGeom>
              <a:avLst/>
              <a:gdLst>
                <a:gd name="connsiteX0" fmla="*/ 103918 w 244316"/>
                <a:gd name="connsiteY0" fmla="*/ 22477 h 310888"/>
                <a:gd name="connsiteX1" fmla="*/ 102 w 244316"/>
                <a:gd name="connsiteY1" fmla="*/ 52796 h 310888"/>
                <a:gd name="connsiteX2" fmla="*/ 102 w 244316"/>
                <a:gd name="connsiteY2" fmla="*/ 185692 h 310888"/>
                <a:gd name="connsiteX3" fmla="*/ 122152 w 244316"/>
                <a:gd name="connsiteY3" fmla="*/ 310889 h 310888"/>
                <a:gd name="connsiteX4" fmla="*/ 244215 w 244316"/>
                <a:gd name="connsiteY4" fmla="*/ 185692 h 310888"/>
                <a:gd name="connsiteX5" fmla="*/ 244215 w 244316"/>
                <a:gd name="connsiteY5" fmla="*/ 52796 h 310888"/>
                <a:gd name="connsiteX6" fmla="*/ 122152 w 244316"/>
                <a:gd name="connsiteY6" fmla="*/ 0 h 3108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44316" h="310888">
                  <a:moveTo>
                    <a:pt x="103918" y="22477"/>
                  </a:moveTo>
                  <a:cubicBezTo>
                    <a:pt x="86888" y="36838"/>
                    <a:pt x="55532" y="52796"/>
                    <a:pt x="102" y="52796"/>
                  </a:cubicBezTo>
                  <a:lnTo>
                    <a:pt x="102" y="185692"/>
                  </a:lnTo>
                  <a:cubicBezTo>
                    <a:pt x="102" y="185692"/>
                    <a:pt x="-8074" y="249548"/>
                    <a:pt x="122152" y="310889"/>
                  </a:cubicBezTo>
                  <a:cubicBezTo>
                    <a:pt x="252391" y="249548"/>
                    <a:pt x="244215" y="185692"/>
                    <a:pt x="244215" y="185692"/>
                  </a:cubicBezTo>
                  <a:lnTo>
                    <a:pt x="244215" y="52796"/>
                  </a:lnTo>
                  <a:cubicBezTo>
                    <a:pt x="143390" y="52796"/>
                    <a:pt x="122152" y="0"/>
                    <a:pt x="122152" y="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833" name="Gráfico 6">
              <a:extLst>
                <a:ext uri="{FF2B5EF4-FFF2-40B4-BE49-F238E27FC236}">
                  <a16:creationId xmlns:a16="http://schemas.microsoft.com/office/drawing/2014/main" id="{71435C6D-04AE-8913-562E-E3DA9F61F05C}"/>
                </a:ext>
              </a:extLst>
            </p:cNvPr>
            <p:cNvGrpSpPr/>
            <p:nvPr/>
          </p:nvGrpSpPr>
          <p:grpSpPr>
            <a:xfrm>
              <a:off x="4486320" y="1082650"/>
              <a:ext cx="145898" cy="145898"/>
              <a:chOff x="4486320" y="1082650"/>
              <a:chExt cx="145898" cy="145898"/>
            </a:xfrm>
            <a:noFill/>
          </p:grpSpPr>
          <p:sp>
            <p:nvSpPr>
              <p:cNvPr id="834" name="Forma livre: Forma 833">
                <a:extLst>
                  <a:ext uri="{FF2B5EF4-FFF2-40B4-BE49-F238E27FC236}">
                    <a16:creationId xmlns:a16="http://schemas.microsoft.com/office/drawing/2014/main" id="{F79A48EB-78E6-E470-458C-2007ABAC046A}"/>
                  </a:ext>
                </a:extLst>
              </p:cNvPr>
              <p:cNvSpPr/>
              <p:nvPr/>
            </p:nvSpPr>
            <p:spPr>
              <a:xfrm>
                <a:off x="4522157" y="1101254"/>
                <a:ext cx="109167" cy="84592"/>
              </a:xfrm>
              <a:custGeom>
                <a:avLst/>
                <a:gdLst>
                  <a:gd name="connsiteX0" fmla="*/ 0 w 109167"/>
                  <a:gd name="connsiteY0" fmla="*/ 31427 h 84592"/>
                  <a:gd name="connsiteX1" fmla="*/ 38399 w 109167"/>
                  <a:gd name="connsiteY1" fmla="*/ 84593 h 84592"/>
                  <a:gd name="connsiteX2" fmla="*/ 109167 w 109167"/>
                  <a:gd name="connsiteY2" fmla="*/ 0 h 845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09167" h="84592">
                    <a:moveTo>
                      <a:pt x="0" y="31427"/>
                    </a:moveTo>
                    <a:lnTo>
                      <a:pt x="38399" y="84593"/>
                    </a:lnTo>
                    <a:lnTo>
                      <a:pt x="109167" y="0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835" name="Forma livre: Forma 834">
                <a:extLst>
                  <a:ext uri="{FF2B5EF4-FFF2-40B4-BE49-F238E27FC236}">
                    <a16:creationId xmlns:a16="http://schemas.microsoft.com/office/drawing/2014/main" id="{DB50C23F-A3B1-D091-119D-70F4FE2F9843}"/>
                  </a:ext>
                </a:extLst>
              </p:cNvPr>
              <p:cNvSpPr/>
              <p:nvPr/>
            </p:nvSpPr>
            <p:spPr>
              <a:xfrm>
                <a:off x="4486320" y="1082650"/>
                <a:ext cx="145898" cy="145898"/>
              </a:xfrm>
              <a:custGeom>
                <a:avLst/>
                <a:gdLst>
                  <a:gd name="connsiteX0" fmla="*/ 144051 w 145898"/>
                  <a:gd name="connsiteY0" fmla="*/ 56574 h 145898"/>
                  <a:gd name="connsiteX1" fmla="*/ 145898 w 145898"/>
                  <a:gd name="connsiteY1" fmla="*/ 72949 h 145898"/>
                  <a:gd name="connsiteX2" fmla="*/ 72949 w 145898"/>
                  <a:gd name="connsiteY2" fmla="*/ 145898 h 145898"/>
                  <a:gd name="connsiteX3" fmla="*/ 0 w 145898"/>
                  <a:gd name="connsiteY3" fmla="*/ 72949 h 145898"/>
                  <a:gd name="connsiteX4" fmla="*/ 72949 w 145898"/>
                  <a:gd name="connsiteY4" fmla="*/ 0 h 145898"/>
                  <a:gd name="connsiteX5" fmla="*/ 117081 w 145898"/>
                  <a:gd name="connsiteY5" fmla="*/ 14850 h 145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45898" h="145898">
                    <a:moveTo>
                      <a:pt x="144051" y="56574"/>
                    </a:moveTo>
                    <a:cubicBezTo>
                      <a:pt x="145267" y="61842"/>
                      <a:pt x="145898" y="67324"/>
                      <a:pt x="145898" y="72949"/>
                    </a:cubicBezTo>
                    <a:cubicBezTo>
                      <a:pt x="145898" y="113243"/>
                      <a:pt x="113243" y="145898"/>
                      <a:pt x="72949" y="145898"/>
                    </a:cubicBezTo>
                    <a:cubicBezTo>
                      <a:pt x="32655" y="145898"/>
                      <a:pt x="0" y="113243"/>
                      <a:pt x="0" y="72949"/>
                    </a:cubicBezTo>
                    <a:cubicBezTo>
                      <a:pt x="0" y="32655"/>
                      <a:pt x="32655" y="0"/>
                      <a:pt x="72949" y="0"/>
                    </a:cubicBezTo>
                    <a:cubicBezTo>
                      <a:pt x="89539" y="0"/>
                      <a:pt x="104829" y="5530"/>
                      <a:pt x="117081" y="14850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836" name="Gráfico 6">
            <a:extLst>
              <a:ext uri="{FF2B5EF4-FFF2-40B4-BE49-F238E27FC236}">
                <a16:creationId xmlns:a16="http://schemas.microsoft.com/office/drawing/2014/main" id="{49748866-FC0F-F10A-DC0C-5E647EA5A1E5}"/>
              </a:ext>
            </a:extLst>
          </p:cNvPr>
          <p:cNvGrpSpPr/>
          <p:nvPr/>
        </p:nvGrpSpPr>
        <p:grpSpPr>
          <a:xfrm>
            <a:off x="5007357" y="2628335"/>
            <a:ext cx="347476" cy="222374"/>
            <a:chOff x="5007357" y="2628335"/>
            <a:chExt cx="347476" cy="222374"/>
          </a:xfrm>
          <a:noFill/>
        </p:grpSpPr>
        <p:grpSp>
          <p:nvGrpSpPr>
            <p:cNvPr id="837" name="Gráfico 6">
              <a:extLst>
                <a:ext uri="{FF2B5EF4-FFF2-40B4-BE49-F238E27FC236}">
                  <a16:creationId xmlns:a16="http://schemas.microsoft.com/office/drawing/2014/main" id="{42F475F9-5D65-A62D-9C6F-080B6A4D8467}"/>
                </a:ext>
              </a:extLst>
            </p:cNvPr>
            <p:cNvGrpSpPr/>
            <p:nvPr/>
          </p:nvGrpSpPr>
          <p:grpSpPr>
            <a:xfrm>
              <a:off x="5111364" y="2656008"/>
              <a:ext cx="139462" cy="139450"/>
              <a:chOff x="5111364" y="2656008"/>
              <a:chExt cx="139462" cy="139450"/>
            </a:xfrm>
            <a:noFill/>
          </p:grpSpPr>
          <p:sp>
            <p:nvSpPr>
              <p:cNvPr id="838" name="Forma livre: Forma 837">
                <a:extLst>
                  <a:ext uri="{FF2B5EF4-FFF2-40B4-BE49-F238E27FC236}">
                    <a16:creationId xmlns:a16="http://schemas.microsoft.com/office/drawing/2014/main" id="{E9E56529-9FAD-A80E-E329-BC1962528BAE}"/>
                  </a:ext>
                </a:extLst>
              </p:cNvPr>
              <p:cNvSpPr/>
              <p:nvPr/>
            </p:nvSpPr>
            <p:spPr>
              <a:xfrm>
                <a:off x="5144197" y="2701129"/>
                <a:ext cx="70887" cy="54917"/>
              </a:xfrm>
              <a:custGeom>
                <a:avLst/>
                <a:gdLst>
                  <a:gd name="connsiteX0" fmla="*/ 0 w 70887"/>
                  <a:gd name="connsiteY0" fmla="*/ 20403 h 54917"/>
                  <a:gd name="connsiteX1" fmla="*/ 24920 w 70887"/>
                  <a:gd name="connsiteY1" fmla="*/ 54917 h 54917"/>
                  <a:gd name="connsiteX2" fmla="*/ 70887 w 70887"/>
                  <a:gd name="connsiteY2" fmla="*/ 0 h 549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70887" h="54917">
                    <a:moveTo>
                      <a:pt x="0" y="20403"/>
                    </a:moveTo>
                    <a:lnTo>
                      <a:pt x="24920" y="54917"/>
                    </a:lnTo>
                    <a:lnTo>
                      <a:pt x="70887" y="0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839" name="Forma livre: Forma 838">
                <a:extLst>
                  <a:ext uri="{FF2B5EF4-FFF2-40B4-BE49-F238E27FC236}">
                    <a16:creationId xmlns:a16="http://schemas.microsoft.com/office/drawing/2014/main" id="{06AE822B-7103-E9A7-3F02-F5F99E442ED1}"/>
                  </a:ext>
                </a:extLst>
              </p:cNvPr>
              <p:cNvSpPr/>
              <p:nvPr/>
            </p:nvSpPr>
            <p:spPr>
              <a:xfrm>
                <a:off x="5111364" y="2656008"/>
                <a:ext cx="139462" cy="139450"/>
              </a:xfrm>
              <a:custGeom>
                <a:avLst/>
                <a:gdLst>
                  <a:gd name="connsiteX0" fmla="*/ 36588 w 139462"/>
                  <a:gd name="connsiteY0" fmla="*/ 8366 h 139450"/>
                  <a:gd name="connsiteX1" fmla="*/ 69731 w 139462"/>
                  <a:gd name="connsiteY1" fmla="*/ 0 h 139450"/>
                  <a:gd name="connsiteX2" fmla="*/ 139463 w 139462"/>
                  <a:gd name="connsiteY2" fmla="*/ 69731 h 139450"/>
                  <a:gd name="connsiteX3" fmla="*/ 69731 w 139462"/>
                  <a:gd name="connsiteY3" fmla="*/ 139451 h 139450"/>
                  <a:gd name="connsiteX4" fmla="*/ 0 w 139462"/>
                  <a:gd name="connsiteY4" fmla="*/ 69731 h 139450"/>
                  <a:gd name="connsiteX5" fmla="*/ 14432 w 139462"/>
                  <a:gd name="connsiteY5" fmla="*/ 27244 h 1394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39462" h="139450">
                    <a:moveTo>
                      <a:pt x="36588" y="8366"/>
                    </a:moveTo>
                    <a:cubicBezTo>
                      <a:pt x="46444" y="3039"/>
                      <a:pt x="57742" y="0"/>
                      <a:pt x="69731" y="0"/>
                    </a:cubicBezTo>
                    <a:cubicBezTo>
                      <a:pt x="108226" y="0"/>
                      <a:pt x="139463" y="31225"/>
                      <a:pt x="139463" y="69731"/>
                    </a:cubicBezTo>
                    <a:cubicBezTo>
                      <a:pt x="139463" y="108238"/>
                      <a:pt x="108238" y="139451"/>
                      <a:pt x="69731" y="139451"/>
                    </a:cubicBezTo>
                    <a:cubicBezTo>
                      <a:pt x="31225" y="139451"/>
                      <a:pt x="0" y="108226"/>
                      <a:pt x="0" y="69731"/>
                    </a:cubicBezTo>
                    <a:cubicBezTo>
                      <a:pt x="0" y="53738"/>
                      <a:pt x="5387" y="38995"/>
                      <a:pt x="14432" y="27244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840" name="Gráfico 6">
              <a:extLst>
                <a:ext uri="{FF2B5EF4-FFF2-40B4-BE49-F238E27FC236}">
                  <a16:creationId xmlns:a16="http://schemas.microsoft.com/office/drawing/2014/main" id="{D98CAA98-9980-8A39-32E2-EEAB9344AED7}"/>
                </a:ext>
              </a:extLst>
            </p:cNvPr>
            <p:cNvGrpSpPr/>
            <p:nvPr/>
          </p:nvGrpSpPr>
          <p:grpSpPr>
            <a:xfrm>
              <a:off x="5007357" y="2628335"/>
              <a:ext cx="347476" cy="222374"/>
              <a:chOff x="5007357" y="2628335"/>
              <a:chExt cx="347476" cy="222374"/>
            </a:xfrm>
            <a:noFill/>
          </p:grpSpPr>
          <p:sp>
            <p:nvSpPr>
              <p:cNvPr id="841" name="Forma livre: Forma 840">
                <a:extLst>
                  <a:ext uri="{FF2B5EF4-FFF2-40B4-BE49-F238E27FC236}">
                    <a16:creationId xmlns:a16="http://schemas.microsoft.com/office/drawing/2014/main" id="{675C0ACC-8CF5-6D0C-7F58-0D51D07CD5E9}"/>
                  </a:ext>
                </a:extLst>
              </p:cNvPr>
              <p:cNvSpPr/>
              <p:nvPr/>
            </p:nvSpPr>
            <p:spPr>
              <a:xfrm>
                <a:off x="5040178" y="2628335"/>
                <a:ext cx="281821" cy="172486"/>
              </a:xfrm>
              <a:custGeom>
                <a:avLst/>
                <a:gdLst>
                  <a:gd name="connsiteX0" fmla="*/ 0 w 281821"/>
                  <a:gd name="connsiteY0" fmla="*/ 172487 h 172486"/>
                  <a:gd name="connsiteX1" fmla="*/ 0 w 281821"/>
                  <a:gd name="connsiteY1" fmla="*/ 20570 h 172486"/>
                  <a:gd name="connsiteX2" fmla="*/ 20558 w 281821"/>
                  <a:gd name="connsiteY2" fmla="*/ 0 h 172486"/>
                  <a:gd name="connsiteX3" fmla="*/ 261239 w 281821"/>
                  <a:gd name="connsiteY3" fmla="*/ 0 h 172486"/>
                  <a:gd name="connsiteX4" fmla="*/ 281821 w 281821"/>
                  <a:gd name="connsiteY4" fmla="*/ 20570 h 172486"/>
                  <a:gd name="connsiteX5" fmla="*/ 281821 w 281821"/>
                  <a:gd name="connsiteY5" fmla="*/ 172487 h 1724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81821" h="172486">
                    <a:moveTo>
                      <a:pt x="0" y="172487"/>
                    </a:moveTo>
                    <a:lnTo>
                      <a:pt x="0" y="20570"/>
                    </a:lnTo>
                    <a:cubicBezTo>
                      <a:pt x="0" y="9248"/>
                      <a:pt x="9260" y="0"/>
                      <a:pt x="20558" y="0"/>
                    </a:cubicBezTo>
                    <a:lnTo>
                      <a:pt x="261239" y="0"/>
                    </a:lnTo>
                    <a:cubicBezTo>
                      <a:pt x="272561" y="0"/>
                      <a:pt x="281821" y="9260"/>
                      <a:pt x="281821" y="20570"/>
                    </a:cubicBezTo>
                    <a:lnTo>
                      <a:pt x="281821" y="172487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842" name="Forma livre: Forma 841">
                <a:extLst>
                  <a:ext uri="{FF2B5EF4-FFF2-40B4-BE49-F238E27FC236}">
                    <a16:creationId xmlns:a16="http://schemas.microsoft.com/office/drawing/2014/main" id="{B3AC36F5-6919-B5AC-DB3F-E53B046AC00F}"/>
                  </a:ext>
                </a:extLst>
              </p:cNvPr>
              <p:cNvSpPr/>
              <p:nvPr/>
            </p:nvSpPr>
            <p:spPr>
              <a:xfrm>
                <a:off x="5007357" y="2823490"/>
                <a:ext cx="347476" cy="27220"/>
              </a:xfrm>
              <a:custGeom>
                <a:avLst/>
                <a:gdLst>
                  <a:gd name="connsiteX0" fmla="*/ 0 w 347476"/>
                  <a:gd name="connsiteY0" fmla="*/ 0 h 27220"/>
                  <a:gd name="connsiteX1" fmla="*/ 25897 w 347476"/>
                  <a:gd name="connsiteY1" fmla="*/ 27220 h 27220"/>
                  <a:gd name="connsiteX2" fmla="*/ 321567 w 347476"/>
                  <a:gd name="connsiteY2" fmla="*/ 27220 h 27220"/>
                  <a:gd name="connsiteX3" fmla="*/ 347477 w 347476"/>
                  <a:gd name="connsiteY3" fmla="*/ 0 h 27220"/>
                  <a:gd name="connsiteX4" fmla="*/ 0 w 347476"/>
                  <a:gd name="connsiteY4" fmla="*/ 0 h 272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47476" h="27220">
                    <a:moveTo>
                      <a:pt x="0" y="0"/>
                    </a:moveTo>
                    <a:cubicBezTo>
                      <a:pt x="0" y="0"/>
                      <a:pt x="5995" y="27220"/>
                      <a:pt x="25897" y="27220"/>
                    </a:cubicBezTo>
                    <a:lnTo>
                      <a:pt x="321567" y="27220"/>
                    </a:lnTo>
                    <a:cubicBezTo>
                      <a:pt x="341482" y="27220"/>
                      <a:pt x="347477" y="0"/>
                      <a:pt x="347477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843" name="Gráfico 6">
            <a:extLst>
              <a:ext uri="{FF2B5EF4-FFF2-40B4-BE49-F238E27FC236}">
                <a16:creationId xmlns:a16="http://schemas.microsoft.com/office/drawing/2014/main" id="{25001913-9A08-CE1B-6F12-53721A0AFDA1}"/>
              </a:ext>
            </a:extLst>
          </p:cNvPr>
          <p:cNvGrpSpPr/>
          <p:nvPr/>
        </p:nvGrpSpPr>
        <p:grpSpPr>
          <a:xfrm>
            <a:off x="5058687" y="2049378"/>
            <a:ext cx="244828" cy="324356"/>
            <a:chOff x="5058687" y="2049378"/>
            <a:chExt cx="244828" cy="324356"/>
          </a:xfrm>
          <a:noFill/>
        </p:grpSpPr>
        <p:grpSp>
          <p:nvGrpSpPr>
            <p:cNvPr id="844" name="Gráfico 6">
              <a:extLst>
                <a:ext uri="{FF2B5EF4-FFF2-40B4-BE49-F238E27FC236}">
                  <a16:creationId xmlns:a16="http://schemas.microsoft.com/office/drawing/2014/main" id="{CD98EF63-EFFB-EEDD-0D6E-F5EA7703EA45}"/>
                </a:ext>
              </a:extLst>
            </p:cNvPr>
            <p:cNvGrpSpPr/>
            <p:nvPr/>
          </p:nvGrpSpPr>
          <p:grpSpPr>
            <a:xfrm>
              <a:off x="5058687" y="2049378"/>
              <a:ext cx="244828" cy="324356"/>
              <a:chOff x="5058687" y="2049378"/>
              <a:chExt cx="244828" cy="324356"/>
            </a:xfrm>
            <a:noFill/>
          </p:grpSpPr>
          <p:sp>
            <p:nvSpPr>
              <p:cNvPr id="845" name="Forma livre: Forma 844">
                <a:extLst>
                  <a:ext uri="{FF2B5EF4-FFF2-40B4-BE49-F238E27FC236}">
                    <a16:creationId xmlns:a16="http://schemas.microsoft.com/office/drawing/2014/main" id="{164739AF-5F1E-FE1A-20F3-38A7014E07CF}"/>
                  </a:ext>
                </a:extLst>
              </p:cNvPr>
              <p:cNvSpPr/>
              <p:nvPr/>
            </p:nvSpPr>
            <p:spPr>
              <a:xfrm>
                <a:off x="5098111" y="2276487"/>
                <a:ext cx="165967" cy="60647"/>
              </a:xfrm>
              <a:custGeom>
                <a:avLst/>
                <a:gdLst>
                  <a:gd name="connsiteX0" fmla="*/ 165968 w 165967"/>
                  <a:gd name="connsiteY0" fmla="*/ 60647 h 60647"/>
                  <a:gd name="connsiteX1" fmla="*/ 90313 w 165967"/>
                  <a:gd name="connsiteY1" fmla="*/ 1844 h 60647"/>
                  <a:gd name="connsiteX2" fmla="*/ 76930 w 165967"/>
                  <a:gd name="connsiteY2" fmla="*/ 2297 h 60647"/>
                  <a:gd name="connsiteX3" fmla="*/ 0 w 165967"/>
                  <a:gd name="connsiteY3" fmla="*/ 60635 h 606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65967" h="60647">
                    <a:moveTo>
                      <a:pt x="165968" y="60647"/>
                    </a:moveTo>
                    <a:cubicBezTo>
                      <a:pt x="165968" y="60647"/>
                      <a:pt x="93460" y="4466"/>
                      <a:pt x="90313" y="1844"/>
                    </a:cubicBezTo>
                    <a:cubicBezTo>
                      <a:pt x="87167" y="-754"/>
                      <a:pt x="80708" y="-611"/>
                      <a:pt x="76930" y="2297"/>
                    </a:cubicBezTo>
                    <a:cubicBezTo>
                      <a:pt x="72270" y="5897"/>
                      <a:pt x="0" y="60635"/>
                      <a:pt x="0" y="60635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846" name="Forma livre: Forma 845">
                <a:extLst>
                  <a:ext uri="{FF2B5EF4-FFF2-40B4-BE49-F238E27FC236}">
                    <a16:creationId xmlns:a16="http://schemas.microsoft.com/office/drawing/2014/main" id="{5B80C996-D4A0-E364-0B96-416592948326}"/>
                  </a:ext>
                </a:extLst>
              </p:cNvPr>
              <p:cNvSpPr/>
              <p:nvPr/>
            </p:nvSpPr>
            <p:spPr>
              <a:xfrm>
                <a:off x="5058687" y="2202713"/>
                <a:ext cx="244828" cy="171021"/>
              </a:xfrm>
              <a:custGeom>
                <a:avLst/>
                <a:gdLst>
                  <a:gd name="connsiteX0" fmla="*/ 140952 w 244828"/>
                  <a:gd name="connsiteY0" fmla="*/ 82769 h 171021"/>
                  <a:gd name="connsiteX1" fmla="*/ 244828 w 244828"/>
                  <a:gd name="connsiteY1" fmla="*/ 0 h 171021"/>
                  <a:gd name="connsiteX2" fmla="*/ 244828 w 244828"/>
                  <a:gd name="connsiteY2" fmla="*/ 157268 h 171021"/>
                  <a:gd name="connsiteX3" fmla="*/ 230872 w 244828"/>
                  <a:gd name="connsiteY3" fmla="*/ 171021 h 171021"/>
                  <a:gd name="connsiteX4" fmla="*/ 13968 w 244828"/>
                  <a:gd name="connsiteY4" fmla="*/ 171021 h 171021"/>
                  <a:gd name="connsiteX5" fmla="*/ 0 w 244828"/>
                  <a:gd name="connsiteY5" fmla="*/ 157268 h 171021"/>
                  <a:gd name="connsiteX6" fmla="*/ 0 w 244828"/>
                  <a:gd name="connsiteY6" fmla="*/ 0 h 171021"/>
                  <a:gd name="connsiteX7" fmla="*/ 103876 w 244828"/>
                  <a:gd name="connsiteY7" fmla="*/ 82769 h 1710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44828" h="171021">
                    <a:moveTo>
                      <a:pt x="140952" y="82769"/>
                    </a:moveTo>
                    <a:lnTo>
                      <a:pt x="244828" y="0"/>
                    </a:lnTo>
                    <a:lnTo>
                      <a:pt x="244828" y="157268"/>
                    </a:lnTo>
                    <a:cubicBezTo>
                      <a:pt x="244828" y="164812"/>
                      <a:pt x="238536" y="171021"/>
                      <a:pt x="230872" y="171021"/>
                    </a:cubicBezTo>
                    <a:lnTo>
                      <a:pt x="13968" y="171021"/>
                    </a:lnTo>
                    <a:cubicBezTo>
                      <a:pt x="6293" y="171021"/>
                      <a:pt x="0" y="164812"/>
                      <a:pt x="0" y="157268"/>
                    </a:cubicBezTo>
                    <a:lnTo>
                      <a:pt x="0" y="0"/>
                    </a:lnTo>
                    <a:lnTo>
                      <a:pt x="103876" y="82769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847" name="Forma livre: Forma 846">
                <a:extLst>
                  <a:ext uri="{FF2B5EF4-FFF2-40B4-BE49-F238E27FC236}">
                    <a16:creationId xmlns:a16="http://schemas.microsoft.com/office/drawing/2014/main" id="{C9F981AF-EEAC-4D18-C587-ABA3A7757CB0}"/>
                  </a:ext>
                </a:extLst>
              </p:cNvPr>
              <p:cNvSpPr/>
              <p:nvPr/>
            </p:nvSpPr>
            <p:spPr>
              <a:xfrm>
                <a:off x="5083023" y="2049378"/>
                <a:ext cx="196132" cy="145874"/>
              </a:xfrm>
              <a:custGeom>
                <a:avLst/>
                <a:gdLst>
                  <a:gd name="connsiteX0" fmla="*/ 196132 w 196132"/>
                  <a:gd name="connsiteY0" fmla="*/ 145874 h 145874"/>
                  <a:gd name="connsiteX1" fmla="*/ 196132 w 196132"/>
                  <a:gd name="connsiteY1" fmla="*/ 0 h 145874"/>
                  <a:gd name="connsiteX2" fmla="*/ 0 w 196132"/>
                  <a:gd name="connsiteY2" fmla="*/ 0 h 145874"/>
                  <a:gd name="connsiteX3" fmla="*/ 0 w 196132"/>
                  <a:gd name="connsiteY3" fmla="*/ 145874 h 1458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96132" h="145874">
                    <a:moveTo>
                      <a:pt x="196132" y="145874"/>
                    </a:moveTo>
                    <a:lnTo>
                      <a:pt x="196132" y="0"/>
                    </a:lnTo>
                    <a:lnTo>
                      <a:pt x="0" y="0"/>
                    </a:lnTo>
                    <a:lnTo>
                      <a:pt x="0" y="145874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848" name="Gráfico 6">
              <a:extLst>
                <a:ext uri="{FF2B5EF4-FFF2-40B4-BE49-F238E27FC236}">
                  <a16:creationId xmlns:a16="http://schemas.microsoft.com/office/drawing/2014/main" id="{9ED6A5DC-7F6C-0E5C-D03B-408BEDD16467}"/>
                </a:ext>
              </a:extLst>
            </p:cNvPr>
            <p:cNvGrpSpPr/>
            <p:nvPr/>
          </p:nvGrpSpPr>
          <p:grpSpPr>
            <a:xfrm>
              <a:off x="5111364" y="2078708"/>
              <a:ext cx="139462" cy="139450"/>
              <a:chOff x="5111364" y="2078708"/>
              <a:chExt cx="139462" cy="139450"/>
            </a:xfrm>
            <a:noFill/>
          </p:grpSpPr>
          <p:sp>
            <p:nvSpPr>
              <p:cNvPr id="849" name="Forma livre: Forma 848">
                <a:extLst>
                  <a:ext uri="{FF2B5EF4-FFF2-40B4-BE49-F238E27FC236}">
                    <a16:creationId xmlns:a16="http://schemas.microsoft.com/office/drawing/2014/main" id="{8CB404B2-FFAC-E77E-F657-CC99BCDFA05F}"/>
                  </a:ext>
                </a:extLst>
              </p:cNvPr>
              <p:cNvSpPr/>
              <p:nvPr/>
            </p:nvSpPr>
            <p:spPr>
              <a:xfrm>
                <a:off x="5144197" y="2123829"/>
                <a:ext cx="70875" cy="54917"/>
              </a:xfrm>
              <a:custGeom>
                <a:avLst/>
                <a:gdLst>
                  <a:gd name="connsiteX0" fmla="*/ 0 w 70875"/>
                  <a:gd name="connsiteY0" fmla="*/ 20403 h 54917"/>
                  <a:gd name="connsiteX1" fmla="*/ 24920 w 70875"/>
                  <a:gd name="connsiteY1" fmla="*/ 54917 h 54917"/>
                  <a:gd name="connsiteX2" fmla="*/ 70875 w 70875"/>
                  <a:gd name="connsiteY2" fmla="*/ 0 h 549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70875" h="54917">
                    <a:moveTo>
                      <a:pt x="0" y="20403"/>
                    </a:moveTo>
                    <a:lnTo>
                      <a:pt x="24920" y="54917"/>
                    </a:lnTo>
                    <a:lnTo>
                      <a:pt x="70875" y="0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850" name="Forma livre: Forma 849">
                <a:extLst>
                  <a:ext uri="{FF2B5EF4-FFF2-40B4-BE49-F238E27FC236}">
                    <a16:creationId xmlns:a16="http://schemas.microsoft.com/office/drawing/2014/main" id="{9D14B7AF-E82A-2FFF-58DE-A5037268356D}"/>
                  </a:ext>
                </a:extLst>
              </p:cNvPr>
              <p:cNvSpPr/>
              <p:nvPr/>
            </p:nvSpPr>
            <p:spPr>
              <a:xfrm>
                <a:off x="5111364" y="2078708"/>
                <a:ext cx="139462" cy="139450"/>
              </a:xfrm>
              <a:custGeom>
                <a:avLst/>
                <a:gdLst>
                  <a:gd name="connsiteX0" fmla="*/ 36588 w 139462"/>
                  <a:gd name="connsiteY0" fmla="*/ 8366 h 139450"/>
                  <a:gd name="connsiteX1" fmla="*/ 69731 w 139462"/>
                  <a:gd name="connsiteY1" fmla="*/ 0 h 139450"/>
                  <a:gd name="connsiteX2" fmla="*/ 139463 w 139462"/>
                  <a:gd name="connsiteY2" fmla="*/ 69731 h 139450"/>
                  <a:gd name="connsiteX3" fmla="*/ 69731 w 139462"/>
                  <a:gd name="connsiteY3" fmla="*/ 139451 h 139450"/>
                  <a:gd name="connsiteX4" fmla="*/ 0 w 139462"/>
                  <a:gd name="connsiteY4" fmla="*/ 69731 h 139450"/>
                  <a:gd name="connsiteX5" fmla="*/ 14432 w 139462"/>
                  <a:gd name="connsiteY5" fmla="*/ 27232 h 1394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39462" h="139450">
                    <a:moveTo>
                      <a:pt x="36588" y="8366"/>
                    </a:moveTo>
                    <a:cubicBezTo>
                      <a:pt x="46444" y="3039"/>
                      <a:pt x="57742" y="0"/>
                      <a:pt x="69731" y="0"/>
                    </a:cubicBezTo>
                    <a:cubicBezTo>
                      <a:pt x="108226" y="0"/>
                      <a:pt x="139463" y="31225"/>
                      <a:pt x="139463" y="69731"/>
                    </a:cubicBezTo>
                    <a:cubicBezTo>
                      <a:pt x="139463" y="108238"/>
                      <a:pt x="108238" y="139451"/>
                      <a:pt x="69731" y="139451"/>
                    </a:cubicBezTo>
                    <a:cubicBezTo>
                      <a:pt x="31225" y="139451"/>
                      <a:pt x="0" y="108226"/>
                      <a:pt x="0" y="69731"/>
                    </a:cubicBezTo>
                    <a:cubicBezTo>
                      <a:pt x="0" y="53738"/>
                      <a:pt x="5387" y="38995"/>
                      <a:pt x="14432" y="27232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851" name="Gráfico 6">
            <a:extLst>
              <a:ext uri="{FF2B5EF4-FFF2-40B4-BE49-F238E27FC236}">
                <a16:creationId xmlns:a16="http://schemas.microsoft.com/office/drawing/2014/main" id="{9F14CDA4-D416-C960-3304-374A9341875A}"/>
              </a:ext>
            </a:extLst>
          </p:cNvPr>
          <p:cNvGrpSpPr/>
          <p:nvPr/>
        </p:nvGrpSpPr>
        <p:grpSpPr>
          <a:xfrm>
            <a:off x="5019513" y="3110233"/>
            <a:ext cx="323154" cy="314583"/>
            <a:chOff x="5019513" y="3110233"/>
            <a:chExt cx="323154" cy="314583"/>
          </a:xfrm>
          <a:noFill/>
        </p:grpSpPr>
        <p:sp>
          <p:nvSpPr>
            <p:cNvPr id="852" name="Forma livre: Forma 851">
              <a:extLst>
                <a:ext uri="{FF2B5EF4-FFF2-40B4-BE49-F238E27FC236}">
                  <a16:creationId xmlns:a16="http://schemas.microsoft.com/office/drawing/2014/main" id="{DCD30FC8-4DED-AB1F-D7A3-51CFD79BF82A}"/>
                </a:ext>
              </a:extLst>
            </p:cNvPr>
            <p:cNvSpPr/>
            <p:nvPr/>
          </p:nvSpPr>
          <p:spPr>
            <a:xfrm>
              <a:off x="5136904" y="3183254"/>
              <a:ext cx="111193" cy="86153"/>
            </a:xfrm>
            <a:custGeom>
              <a:avLst/>
              <a:gdLst>
                <a:gd name="connsiteX0" fmla="*/ 0 w 111193"/>
                <a:gd name="connsiteY0" fmla="*/ 32011 h 86153"/>
                <a:gd name="connsiteX1" fmla="*/ 39102 w 111193"/>
                <a:gd name="connsiteY1" fmla="*/ 86154 h 86153"/>
                <a:gd name="connsiteX2" fmla="*/ 111193 w 111193"/>
                <a:gd name="connsiteY2" fmla="*/ 0 h 861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11193" h="86153">
                  <a:moveTo>
                    <a:pt x="0" y="32011"/>
                  </a:moveTo>
                  <a:lnTo>
                    <a:pt x="39102" y="86154"/>
                  </a:lnTo>
                  <a:lnTo>
                    <a:pt x="111193" y="0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853" name="Gráfico 6">
              <a:extLst>
                <a:ext uri="{FF2B5EF4-FFF2-40B4-BE49-F238E27FC236}">
                  <a16:creationId xmlns:a16="http://schemas.microsoft.com/office/drawing/2014/main" id="{F15CE3C9-E09A-7FE4-0E4A-877545256EC1}"/>
                </a:ext>
              </a:extLst>
            </p:cNvPr>
            <p:cNvGrpSpPr/>
            <p:nvPr/>
          </p:nvGrpSpPr>
          <p:grpSpPr>
            <a:xfrm>
              <a:off x="5019513" y="3110233"/>
              <a:ext cx="323154" cy="314583"/>
              <a:chOff x="5019513" y="3110233"/>
              <a:chExt cx="323154" cy="314583"/>
            </a:xfrm>
            <a:noFill/>
          </p:grpSpPr>
          <p:grpSp>
            <p:nvGrpSpPr>
              <p:cNvPr id="854" name="Gráfico 6">
                <a:extLst>
                  <a:ext uri="{FF2B5EF4-FFF2-40B4-BE49-F238E27FC236}">
                    <a16:creationId xmlns:a16="http://schemas.microsoft.com/office/drawing/2014/main" id="{356D5FC9-BE0B-8C7B-8C97-453BAE27BD56}"/>
                  </a:ext>
                </a:extLst>
              </p:cNvPr>
              <p:cNvGrpSpPr/>
              <p:nvPr/>
            </p:nvGrpSpPr>
            <p:grpSpPr>
              <a:xfrm>
                <a:off x="5019513" y="3293027"/>
                <a:ext cx="323154" cy="131789"/>
                <a:chOff x="5019513" y="3293027"/>
                <a:chExt cx="323154" cy="131789"/>
              </a:xfrm>
              <a:noFill/>
            </p:grpSpPr>
            <p:sp>
              <p:nvSpPr>
                <p:cNvPr id="855" name="Forma livre: Forma 854">
                  <a:extLst>
                    <a:ext uri="{FF2B5EF4-FFF2-40B4-BE49-F238E27FC236}">
                      <a16:creationId xmlns:a16="http://schemas.microsoft.com/office/drawing/2014/main" id="{2646A0BB-F565-8F3F-310D-AF116B4A18A7}"/>
                    </a:ext>
                  </a:extLst>
                </p:cNvPr>
                <p:cNvSpPr/>
                <p:nvPr/>
              </p:nvSpPr>
              <p:spPr>
                <a:xfrm>
                  <a:off x="5059378" y="3293027"/>
                  <a:ext cx="283289" cy="131789"/>
                </a:xfrm>
                <a:custGeom>
                  <a:avLst/>
                  <a:gdLst>
                    <a:gd name="connsiteX0" fmla="*/ 193355 w 283289"/>
                    <a:gd name="connsiteY0" fmla="*/ 32872 h 131789"/>
                    <a:gd name="connsiteX1" fmla="*/ 251300 w 283289"/>
                    <a:gd name="connsiteY1" fmla="*/ 3256 h 131789"/>
                    <a:gd name="connsiteX2" fmla="*/ 281059 w 283289"/>
                    <a:gd name="connsiteY2" fmla="*/ 9739 h 131789"/>
                    <a:gd name="connsiteX3" fmla="*/ 270523 w 283289"/>
                    <a:gd name="connsiteY3" fmla="*/ 39009 h 131789"/>
                    <a:gd name="connsiteX4" fmla="*/ 150284 w 283289"/>
                    <a:gd name="connsiteY4" fmla="*/ 103461 h 131789"/>
                    <a:gd name="connsiteX5" fmla="*/ 143920 w 283289"/>
                    <a:gd name="connsiteY5" fmla="*/ 105058 h 131789"/>
                    <a:gd name="connsiteX6" fmla="*/ 31785 w 283289"/>
                    <a:gd name="connsiteY6" fmla="*/ 108097 h 131789"/>
                    <a:gd name="connsiteX7" fmla="*/ 0 w 283289"/>
                    <a:gd name="connsiteY7" fmla="*/ 131790 h 13178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283289" h="131789">
                      <a:moveTo>
                        <a:pt x="193355" y="32872"/>
                      </a:moveTo>
                      <a:lnTo>
                        <a:pt x="251300" y="3256"/>
                      </a:lnTo>
                      <a:cubicBezTo>
                        <a:pt x="262503" y="-2763"/>
                        <a:pt x="275636" y="-343"/>
                        <a:pt x="281059" y="9739"/>
                      </a:cubicBezTo>
                      <a:cubicBezTo>
                        <a:pt x="286457" y="19822"/>
                        <a:pt x="281714" y="33003"/>
                        <a:pt x="270523" y="39009"/>
                      </a:cubicBezTo>
                      <a:lnTo>
                        <a:pt x="150284" y="103461"/>
                      </a:lnTo>
                      <a:lnTo>
                        <a:pt x="143920" y="105058"/>
                      </a:lnTo>
                      <a:lnTo>
                        <a:pt x="31785" y="108097"/>
                      </a:lnTo>
                      <a:cubicBezTo>
                        <a:pt x="31785" y="108097"/>
                        <a:pt x="17341" y="112137"/>
                        <a:pt x="0" y="131790"/>
                      </a:cubicBez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856" name="Forma livre: Forma 855">
                  <a:extLst>
                    <a:ext uri="{FF2B5EF4-FFF2-40B4-BE49-F238E27FC236}">
                      <a16:creationId xmlns:a16="http://schemas.microsoft.com/office/drawing/2014/main" id="{FD237AC0-DAA3-1326-66B0-112C08921752}"/>
                    </a:ext>
                  </a:extLst>
                </p:cNvPr>
                <p:cNvSpPr/>
                <p:nvPr/>
              </p:nvSpPr>
              <p:spPr>
                <a:xfrm>
                  <a:off x="5019513" y="3308963"/>
                  <a:ext cx="213841" cy="56884"/>
                </a:xfrm>
                <a:custGeom>
                  <a:avLst/>
                  <a:gdLst>
                    <a:gd name="connsiteX0" fmla="*/ 0 w 213841"/>
                    <a:gd name="connsiteY0" fmla="*/ 56884 h 56884"/>
                    <a:gd name="connsiteX1" fmla="*/ 50877 w 213841"/>
                    <a:gd name="connsiteY1" fmla="*/ 10059 h 56884"/>
                    <a:gd name="connsiteX2" fmla="*/ 105211 w 213841"/>
                    <a:gd name="connsiteY2" fmla="*/ 2551 h 56884"/>
                    <a:gd name="connsiteX3" fmla="*/ 145994 w 213841"/>
                    <a:gd name="connsiteY3" fmla="*/ 7151 h 56884"/>
                    <a:gd name="connsiteX4" fmla="*/ 190006 w 213841"/>
                    <a:gd name="connsiteY4" fmla="*/ 7151 h 56884"/>
                    <a:gd name="connsiteX5" fmla="*/ 213842 w 213841"/>
                    <a:gd name="connsiteY5" fmla="*/ 27959 h 56884"/>
                    <a:gd name="connsiteX6" fmla="*/ 190006 w 213841"/>
                    <a:gd name="connsiteY6" fmla="*/ 48768 h 56884"/>
                    <a:gd name="connsiteX7" fmla="*/ 129118 w 213841"/>
                    <a:gd name="connsiteY7" fmla="*/ 48768 h 5688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213841" h="56884">
                      <a:moveTo>
                        <a:pt x="0" y="56884"/>
                      </a:moveTo>
                      <a:lnTo>
                        <a:pt x="50877" y="10059"/>
                      </a:lnTo>
                      <a:cubicBezTo>
                        <a:pt x="75738" y="-6710"/>
                        <a:pt x="105211" y="2551"/>
                        <a:pt x="105211" y="2551"/>
                      </a:cubicBezTo>
                      <a:cubicBezTo>
                        <a:pt x="119488" y="6305"/>
                        <a:pt x="145994" y="7151"/>
                        <a:pt x="145994" y="7151"/>
                      </a:cubicBezTo>
                      <a:lnTo>
                        <a:pt x="190006" y="7151"/>
                      </a:lnTo>
                      <a:cubicBezTo>
                        <a:pt x="203116" y="7151"/>
                        <a:pt x="213842" y="16518"/>
                        <a:pt x="213842" y="27959"/>
                      </a:cubicBezTo>
                      <a:cubicBezTo>
                        <a:pt x="213842" y="39401"/>
                        <a:pt x="203116" y="48768"/>
                        <a:pt x="190006" y="48768"/>
                      </a:cubicBezTo>
                      <a:lnTo>
                        <a:pt x="129118" y="48768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857" name="Gráfico 6">
                <a:extLst>
                  <a:ext uri="{FF2B5EF4-FFF2-40B4-BE49-F238E27FC236}">
                    <a16:creationId xmlns:a16="http://schemas.microsoft.com/office/drawing/2014/main" id="{C1750EB9-CEB9-13AA-2855-1F2ADD3A7FDF}"/>
                  </a:ext>
                </a:extLst>
              </p:cNvPr>
              <p:cNvGrpSpPr/>
              <p:nvPr/>
            </p:nvGrpSpPr>
            <p:grpSpPr>
              <a:xfrm>
                <a:off x="5084560" y="3110233"/>
                <a:ext cx="220289" cy="173559"/>
                <a:chOff x="5084560" y="3110233"/>
                <a:chExt cx="220289" cy="173559"/>
              </a:xfrm>
              <a:noFill/>
            </p:grpSpPr>
            <p:sp>
              <p:nvSpPr>
                <p:cNvPr id="858" name="Forma livre: Forma 857">
                  <a:extLst>
                    <a:ext uri="{FF2B5EF4-FFF2-40B4-BE49-F238E27FC236}">
                      <a16:creationId xmlns:a16="http://schemas.microsoft.com/office/drawing/2014/main" id="{52FD2D47-BE25-50A2-CF77-0C6FF985B852}"/>
                    </a:ext>
                  </a:extLst>
                </p:cNvPr>
                <p:cNvSpPr/>
                <p:nvPr/>
              </p:nvSpPr>
              <p:spPr>
                <a:xfrm>
                  <a:off x="5084560" y="3141279"/>
                  <a:ext cx="33501" cy="142513"/>
                </a:xfrm>
                <a:custGeom>
                  <a:avLst/>
                  <a:gdLst>
                    <a:gd name="connsiteX0" fmla="*/ 20082 w 33501"/>
                    <a:gd name="connsiteY0" fmla="*/ 142514 h 142513"/>
                    <a:gd name="connsiteX1" fmla="*/ 0 w 33501"/>
                    <a:gd name="connsiteY1" fmla="*/ 79099 h 142513"/>
                    <a:gd name="connsiteX2" fmla="*/ 33501 w 33501"/>
                    <a:gd name="connsiteY2" fmla="*/ 0 h 14251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33501" h="142513">
                      <a:moveTo>
                        <a:pt x="20082" y="142514"/>
                      </a:moveTo>
                      <a:cubicBezTo>
                        <a:pt x="7425" y="124589"/>
                        <a:pt x="0" y="102708"/>
                        <a:pt x="0" y="79099"/>
                      </a:cubicBezTo>
                      <a:cubicBezTo>
                        <a:pt x="0" y="48065"/>
                        <a:pt x="12847" y="20022"/>
                        <a:pt x="33501" y="0"/>
                      </a:cubicBez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859" name="Forma livre: Forma 858">
                  <a:extLst>
                    <a:ext uri="{FF2B5EF4-FFF2-40B4-BE49-F238E27FC236}">
                      <a16:creationId xmlns:a16="http://schemas.microsoft.com/office/drawing/2014/main" id="{C2EB007E-D576-32FB-B07D-99A08B89830E}"/>
                    </a:ext>
                  </a:extLst>
                </p:cNvPr>
                <p:cNvSpPr/>
                <p:nvPr/>
              </p:nvSpPr>
              <p:spPr>
                <a:xfrm>
                  <a:off x="5148976" y="3110233"/>
                  <a:ext cx="155873" cy="167243"/>
                </a:xfrm>
                <a:custGeom>
                  <a:avLst/>
                  <a:gdLst>
                    <a:gd name="connsiteX0" fmla="*/ 0 w 155873"/>
                    <a:gd name="connsiteY0" fmla="*/ 9916 h 167243"/>
                    <a:gd name="connsiteX1" fmla="*/ 45729 w 155873"/>
                    <a:gd name="connsiteY1" fmla="*/ 0 h 167243"/>
                    <a:gd name="connsiteX2" fmla="*/ 155873 w 155873"/>
                    <a:gd name="connsiteY2" fmla="*/ 110133 h 167243"/>
                    <a:gd name="connsiteX3" fmla="*/ 139939 w 155873"/>
                    <a:gd name="connsiteY3" fmla="*/ 167243 h 16724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55873" h="167243">
                      <a:moveTo>
                        <a:pt x="0" y="9916"/>
                      </a:moveTo>
                      <a:cubicBezTo>
                        <a:pt x="13932" y="3551"/>
                        <a:pt x="29413" y="0"/>
                        <a:pt x="45729" y="0"/>
                      </a:cubicBezTo>
                      <a:cubicBezTo>
                        <a:pt x="106557" y="0"/>
                        <a:pt x="155873" y="49316"/>
                        <a:pt x="155873" y="110133"/>
                      </a:cubicBezTo>
                      <a:cubicBezTo>
                        <a:pt x="155873" y="131049"/>
                        <a:pt x="150046" y="150594"/>
                        <a:pt x="139939" y="167243"/>
                      </a:cubicBez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</p:grpSp>
      <p:grpSp>
        <p:nvGrpSpPr>
          <p:cNvPr id="860" name="Gráfico 6">
            <a:extLst>
              <a:ext uri="{FF2B5EF4-FFF2-40B4-BE49-F238E27FC236}">
                <a16:creationId xmlns:a16="http://schemas.microsoft.com/office/drawing/2014/main" id="{6862EE61-9877-5FFE-263E-4EAFCB972165}"/>
              </a:ext>
            </a:extLst>
          </p:cNvPr>
          <p:cNvGrpSpPr/>
          <p:nvPr/>
        </p:nvGrpSpPr>
        <p:grpSpPr>
          <a:xfrm>
            <a:off x="5022242" y="1539580"/>
            <a:ext cx="317705" cy="288006"/>
            <a:chOff x="5022242" y="1539580"/>
            <a:chExt cx="317705" cy="288006"/>
          </a:xfrm>
          <a:noFill/>
        </p:grpSpPr>
        <p:grpSp>
          <p:nvGrpSpPr>
            <p:cNvPr id="861" name="Gráfico 6">
              <a:extLst>
                <a:ext uri="{FF2B5EF4-FFF2-40B4-BE49-F238E27FC236}">
                  <a16:creationId xmlns:a16="http://schemas.microsoft.com/office/drawing/2014/main" id="{FFE6DA26-C2C1-5ECE-1E3E-D3F5371E255D}"/>
                </a:ext>
              </a:extLst>
            </p:cNvPr>
            <p:cNvGrpSpPr/>
            <p:nvPr/>
          </p:nvGrpSpPr>
          <p:grpSpPr>
            <a:xfrm>
              <a:off x="5022242" y="1539580"/>
              <a:ext cx="172322" cy="216833"/>
              <a:chOff x="5022242" y="1539580"/>
              <a:chExt cx="172322" cy="216833"/>
            </a:xfrm>
            <a:noFill/>
          </p:grpSpPr>
          <p:sp>
            <p:nvSpPr>
              <p:cNvPr id="862" name="Forma livre: Forma 861">
                <a:extLst>
                  <a:ext uri="{FF2B5EF4-FFF2-40B4-BE49-F238E27FC236}">
                    <a16:creationId xmlns:a16="http://schemas.microsoft.com/office/drawing/2014/main" id="{5438DD42-E2DE-BD78-0ED2-C67BCE7BFBF3}"/>
                  </a:ext>
                </a:extLst>
              </p:cNvPr>
              <p:cNvSpPr/>
              <p:nvPr/>
            </p:nvSpPr>
            <p:spPr>
              <a:xfrm>
                <a:off x="5089983" y="1578719"/>
                <a:ext cx="102886" cy="30491"/>
              </a:xfrm>
              <a:custGeom>
                <a:avLst/>
                <a:gdLst>
                  <a:gd name="connsiteX0" fmla="*/ 0 w 102886"/>
                  <a:gd name="connsiteY0" fmla="*/ 29997 h 30491"/>
                  <a:gd name="connsiteX1" fmla="*/ 63212 w 102886"/>
                  <a:gd name="connsiteY1" fmla="*/ 0 h 30491"/>
                  <a:gd name="connsiteX2" fmla="*/ 102887 w 102886"/>
                  <a:gd name="connsiteY2" fmla="*/ 29771 h 304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02886" h="30491">
                    <a:moveTo>
                      <a:pt x="0" y="29997"/>
                    </a:moveTo>
                    <a:cubicBezTo>
                      <a:pt x="0" y="29997"/>
                      <a:pt x="48172" y="36790"/>
                      <a:pt x="63212" y="0"/>
                    </a:cubicBezTo>
                    <a:cubicBezTo>
                      <a:pt x="63212" y="0"/>
                      <a:pt x="79337" y="29771"/>
                      <a:pt x="102887" y="29771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863" name="Gráfico 6">
                <a:extLst>
                  <a:ext uri="{FF2B5EF4-FFF2-40B4-BE49-F238E27FC236}">
                    <a16:creationId xmlns:a16="http://schemas.microsoft.com/office/drawing/2014/main" id="{D880EA47-C477-9F6C-EFE7-81CF25EAA106}"/>
                  </a:ext>
                </a:extLst>
              </p:cNvPr>
              <p:cNvGrpSpPr/>
              <p:nvPr/>
            </p:nvGrpSpPr>
            <p:grpSpPr>
              <a:xfrm>
                <a:off x="5022242" y="1539580"/>
                <a:ext cx="172322" cy="216833"/>
                <a:chOff x="5022242" y="1539580"/>
                <a:chExt cx="172322" cy="216833"/>
              </a:xfrm>
              <a:noFill/>
            </p:grpSpPr>
            <p:sp>
              <p:nvSpPr>
                <p:cNvPr id="864" name="Forma livre: Forma 863">
                  <a:extLst>
                    <a:ext uri="{FF2B5EF4-FFF2-40B4-BE49-F238E27FC236}">
                      <a16:creationId xmlns:a16="http://schemas.microsoft.com/office/drawing/2014/main" id="{6BE21BED-0A22-3FA6-87D1-8115527A0A9E}"/>
                    </a:ext>
                  </a:extLst>
                </p:cNvPr>
                <p:cNvSpPr/>
                <p:nvPr/>
              </p:nvSpPr>
              <p:spPr>
                <a:xfrm>
                  <a:off x="5022242" y="1698493"/>
                  <a:ext cx="68859" cy="57920"/>
                </a:xfrm>
                <a:custGeom>
                  <a:avLst/>
                  <a:gdLst>
                    <a:gd name="connsiteX0" fmla="*/ 68849 w 68859"/>
                    <a:gd name="connsiteY0" fmla="*/ 0 h 57920"/>
                    <a:gd name="connsiteX1" fmla="*/ 68849 w 68859"/>
                    <a:gd name="connsiteY1" fmla="*/ 27947 h 57920"/>
                    <a:gd name="connsiteX2" fmla="*/ 0 w 68859"/>
                    <a:gd name="connsiteY2" fmla="*/ 57921 h 5792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68859" h="57920">
                      <a:moveTo>
                        <a:pt x="68849" y="0"/>
                      </a:moveTo>
                      <a:cubicBezTo>
                        <a:pt x="68873" y="8855"/>
                        <a:pt x="68849" y="27947"/>
                        <a:pt x="68849" y="27947"/>
                      </a:cubicBezTo>
                      <a:cubicBezTo>
                        <a:pt x="68849" y="27947"/>
                        <a:pt x="70864" y="39889"/>
                        <a:pt x="0" y="57921"/>
                      </a:cubicBez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grpSp>
              <p:nvGrpSpPr>
                <p:cNvPr id="865" name="Gráfico 6">
                  <a:extLst>
                    <a:ext uri="{FF2B5EF4-FFF2-40B4-BE49-F238E27FC236}">
                      <a16:creationId xmlns:a16="http://schemas.microsoft.com/office/drawing/2014/main" id="{4011FD0B-EFD8-A6FF-BB6A-9CC1017EDB37}"/>
                    </a:ext>
                  </a:extLst>
                </p:cNvPr>
                <p:cNvGrpSpPr/>
                <p:nvPr/>
              </p:nvGrpSpPr>
              <p:grpSpPr>
                <a:xfrm>
                  <a:off x="5060449" y="1539580"/>
                  <a:ext cx="134115" cy="199278"/>
                  <a:chOff x="5060449" y="1539580"/>
                  <a:chExt cx="134115" cy="199278"/>
                </a:xfrm>
                <a:noFill/>
              </p:grpSpPr>
              <p:sp>
                <p:nvSpPr>
                  <p:cNvPr id="866" name="Forma livre: Forma 865">
                    <a:extLst>
                      <a:ext uri="{FF2B5EF4-FFF2-40B4-BE49-F238E27FC236}">
                        <a16:creationId xmlns:a16="http://schemas.microsoft.com/office/drawing/2014/main" id="{A1EA535A-847A-186A-0F35-C271E88D1091}"/>
                      </a:ext>
                    </a:extLst>
                  </p:cNvPr>
                  <p:cNvSpPr/>
                  <p:nvPr/>
                </p:nvSpPr>
                <p:spPr>
                  <a:xfrm>
                    <a:off x="5163894" y="1698493"/>
                    <a:ext cx="15628" cy="40365"/>
                  </a:xfrm>
                  <a:custGeom>
                    <a:avLst/>
                    <a:gdLst>
                      <a:gd name="connsiteX0" fmla="*/ 16 w 15628"/>
                      <a:gd name="connsiteY0" fmla="*/ 0 h 40365"/>
                      <a:gd name="connsiteX1" fmla="*/ 16 w 15628"/>
                      <a:gd name="connsiteY1" fmla="*/ 27947 h 40365"/>
                      <a:gd name="connsiteX2" fmla="*/ 15628 w 15628"/>
                      <a:gd name="connsiteY2" fmla="*/ 40366 h 4036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</a:cxnLst>
                    <a:rect l="l" t="t" r="r" b="b"/>
                    <a:pathLst>
                      <a:path w="15628" h="40365">
                        <a:moveTo>
                          <a:pt x="16" y="0"/>
                        </a:moveTo>
                        <a:cubicBezTo>
                          <a:pt x="-20" y="8855"/>
                          <a:pt x="16" y="27947"/>
                          <a:pt x="16" y="27947"/>
                        </a:cubicBezTo>
                        <a:cubicBezTo>
                          <a:pt x="16" y="27947"/>
                          <a:pt x="-759" y="32548"/>
                          <a:pt x="15628" y="40366"/>
                        </a:cubicBezTo>
                      </a:path>
                    </a:pathLst>
                  </a:custGeom>
                  <a:noFill/>
                  <a:ln w="6350" cap="rnd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867" name="Forma livre: Forma 866">
                    <a:extLst>
                      <a:ext uri="{FF2B5EF4-FFF2-40B4-BE49-F238E27FC236}">
                        <a16:creationId xmlns:a16="http://schemas.microsoft.com/office/drawing/2014/main" id="{2EF5E546-0C86-B80D-6BA8-2652317F6EC0}"/>
                      </a:ext>
                    </a:extLst>
                  </p:cNvPr>
                  <p:cNvSpPr/>
                  <p:nvPr/>
                </p:nvSpPr>
                <p:spPr>
                  <a:xfrm>
                    <a:off x="5060449" y="1539580"/>
                    <a:ext cx="134115" cy="163298"/>
                  </a:xfrm>
                  <a:custGeom>
                    <a:avLst/>
                    <a:gdLst>
                      <a:gd name="connsiteX0" fmla="*/ 89004 w 134115"/>
                      <a:gd name="connsiteY0" fmla="*/ 163298 h 163298"/>
                      <a:gd name="connsiteX1" fmla="*/ 103520 w 134115"/>
                      <a:gd name="connsiteY1" fmla="*/ 156696 h 163298"/>
                      <a:gd name="connsiteX2" fmla="*/ 132898 w 134115"/>
                      <a:gd name="connsiteY2" fmla="*/ 83568 h 163298"/>
                      <a:gd name="connsiteX3" fmla="*/ 67242 w 134115"/>
                      <a:gd name="connsiteY3" fmla="*/ 0 h 163298"/>
                      <a:gd name="connsiteX4" fmla="*/ 66861 w 134115"/>
                      <a:gd name="connsiteY4" fmla="*/ 0 h 163298"/>
                      <a:gd name="connsiteX5" fmla="*/ 1218 w 134115"/>
                      <a:gd name="connsiteY5" fmla="*/ 83568 h 163298"/>
                      <a:gd name="connsiteX6" fmla="*/ 30583 w 134115"/>
                      <a:gd name="connsiteY6" fmla="*/ 156696 h 163298"/>
                      <a:gd name="connsiteX7" fmla="*/ 45099 w 134115"/>
                      <a:gd name="connsiteY7" fmla="*/ 163298 h 16329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134115" h="163298">
                        <a:moveTo>
                          <a:pt x="89004" y="163298"/>
                        </a:moveTo>
                        <a:cubicBezTo>
                          <a:pt x="98610" y="160986"/>
                          <a:pt x="103520" y="156696"/>
                          <a:pt x="103520" y="156696"/>
                        </a:cubicBezTo>
                        <a:cubicBezTo>
                          <a:pt x="119776" y="145147"/>
                          <a:pt x="129859" y="108941"/>
                          <a:pt x="132898" y="83568"/>
                        </a:cubicBezTo>
                        <a:cubicBezTo>
                          <a:pt x="137379" y="46194"/>
                          <a:pt x="132397" y="1478"/>
                          <a:pt x="67242" y="0"/>
                        </a:cubicBezTo>
                        <a:lnTo>
                          <a:pt x="66861" y="0"/>
                        </a:lnTo>
                        <a:cubicBezTo>
                          <a:pt x="1718" y="1490"/>
                          <a:pt x="-3264" y="46194"/>
                          <a:pt x="1218" y="83568"/>
                        </a:cubicBezTo>
                        <a:cubicBezTo>
                          <a:pt x="4245" y="108941"/>
                          <a:pt x="14327" y="145147"/>
                          <a:pt x="30583" y="156696"/>
                        </a:cubicBezTo>
                        <a:cubicBezTo>
                          <a:pt x="30583" y="156696"/>
                          <a:pt x="35493" y="160998"/>
                          <a:pt x="45099" y="163298"/>
                        </a:cubicBezTo>
                      </a:path>
                    </a:pathLst>
                  </a:custGeom>
                  <a:noFill/>
                  <a:ln w="6350" cap="rnd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</p:grpSp>
        </p:grpSp>
        <p:grpSp>
          <p:nvGrpSpPr>
            <p:cNvPr id="868" name="Gráfico 6">
              <a:extLst>
                <a:ext uri="{FF2B5EF4-FFF2-40B4-BE49-F238E27FC236}">
                  <a16:creationId xmlns:a16="http://schemas.microsoft.com/office/drawing/2014/main" id="{416781AB-716E-ABEB-CA92-B38DE01627BF}"/>
                </a:ext>
              </a:extLst>
            </p:cNvPr>
            <p:cNvGrpSpPr/>
            <p:nvPr/>
          </p:nvGrpSpPr>
          <p:grpSpPr>
            <a:xfrm>
              <a:off x="5200485" y="1688136"/>
              <a:ext cx="139462" cy="139450"/>
              <a:chOff x="5200485" y="1688136"/>
              <a:chExt cx="139462" cy="139450"/>
            </a:xfrm>
            <a:noFill/>
          </p:grpSpPr>
          <p:sp>
            <p:nvSpPr>
              <p:cNvPr id="869" name="Forma livre: Forma 868">
                <a:extLst>
                  <a:ext uri="{FF2B5EF4-FFF2-40B4-BE49-F238E27FC236}">
                    <a16:creationId xmlns:a16="http://schemas.microsoft.com/office/drawing/2014/main" id="{4A13F6A7-0FA9-68C4-930C-9A92F614691F}"/>
                  </a:ext>
                </a:extLst>
              </p:cNvPr>
              <p:cNvSpPr/>
              <p:nvPr/>
            </p:nvSpPr>
            <p:spPr>
              <a:xfrm>
                <a:off x="5233331" y="1733245"/>
                <a:ext cx="70863" cy="54929"/>
              </a:xfrm>
              <a:custGeom>
                <a:avLst/>
                <a:gdLst>
                  <a:gd name="connsiteX0" fmla="*/ 0 w 70863"/>
                  <a:gd name="connsiteY0" fmla="*/ 20403 h 54929"/>
                  <a:gd name="connsiteX1" fmla="*/ 24920 w 70863"/>
                  <a:gd name="connsiteY1" fmla="*/ 54929 h 54929"/>
                  <a:gd name="connsiteX2" fmla="*/ 70864 w 70863"/>
                  <a:gd name="connsiteY2" fmla="*/ 0 h 549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70863" h="54929">
                    <a:moveTo>
                      <a:pt x="0" y="20403"/>
                    </a:moveTo>
                    <a:lnTo>
                      <a:pt x="24920" y="54929"/>
                    </a:lnTo>
                    <a:lnTo>
                      <a:pt x="70864" y="0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870" name="Forma livre: Forma 869">
                <a:extLst>
                  <a:ext uri="{FF2B5EF4-FFF2-40B4-BE49-F238E27FC236}">
                    <a16:creationId xmlns:a16="http://schemas.microsoft.com/office/drawing/2014/main" id="{ECA8C965-EC8D-A598-C319-8BBCE87A749D}"/>
                  </a:ext>
                </a:extLst>
              </p:cNvPr>
              <p:cNvSpPr/>
              <p:nvPr/>
            </p:nvSpPr>
            <p:spPr>
              <a:xfrm>
                <a:off x="5200485" y="1688136"/>
                <a:ext cx="139462" cy="139450"/>
              </a:xfrm>
              <a:custGeom>
                <a:avLst/>
                <a:gdLst>
                  <a:gd name="connsiteX0" fmla="*/ 36588 w 139462"/>
                  <a:gd name="connsiteY0" fmla="*/ 8366 h 139450"/>
                  <a:gd name="connsiteX1" fmla="*/ 69731 w 139462"/>
                  <a:gd name="connsiteY1" fmla="*/ 0 h 139450"/>
                  <a:gd name="connsiteX2" fmla="*/ 139463 w 139462"/>
                  <a:gd name="connsiteY2" fmla="*/ 69731 h 139450"/>
                  <a:gd name="connsiteX3" fmla="*/ 69731 w 139462"/>
                  <a:gd name="connsiteY3" fmla="*/ 139451 h 139450"/>
                  <a:gd name="connsiteX4" fmla="*/ 0 w 139462"/>
                  <a:gd name="connsiteY4" fmla="*/ 69731 h 139450"/>
                  <a:gd name="connsiteX5" fmla="*/ 14432 w 139462"/>
                  <a:gd name="connsiteY5" fmla="*/ 27244 h 1394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39462" h="139450">
                    <a:moveTo>
                      <a:pt x="36588" y="8366"/>
                    </a:moveTo>
                    <a:cubicBezTo>
                      <a:pt x="46444" y="3039"/>
                      <a:pt x="57742" y="0"/>
                      <a:pt x="69731" y="0"/>
                    </a:cubicBezTo>
                    <a:cubicBezTo>
                      <a:pt x="108226" y="0"/>
                      <a:pt x="139463" y="31225"/>
                      <a:pt x="139463" y="69731"/>
                    </a:cubicBezTo>
                    <a:cubicBezTo>
                      <a:pt x="139463" y="108238"/>
                      <a:pt x="108238" y="139451"/>
                      <a:pt x="69731" y="139451"/>
                    </a:cubicBezTo>
                    <a:cubicBezTo>
                      <a:pt x="31225" y="139451"/>
                      <a:pt x="0" y="108226"/>
                      <a:pt x="0" y="69731"/>
                    </a:cubicBezTo>
                    <a:cubicBezTo>
                      <a:pt x="0" y="53738"/>
                      <a:pt x="5387" y="38995"/>
                      <a:pt x="14432" y="27244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871" name="Gráfico 6">
            <a:extLst>
              <a:ext uri="{FF2B5EF4-FFF2-40B4-BE49-F238E27FC236}">
                <a16:creationId xmlns:a16="http://schemas.microsoft.com/office/drawing/2014/main" id="{308551E2-8243-460F-386E-3175683786DB}"/>
              </a:ext>
            </a:extLst>
          </p:cNvPr>
          <p:cNvGrpSpPr/>
          <p:nvPr/>
        </p:nvGrpSpPr>
        <p:grpSpPr>
          <a:xfrm>
            <a:off x="5035900" y="987042"/>
            <a:ext cx="290389" cy="337158"/>
            <a:chOff x="5035900" y="987042"/>
            <a:chExt cx="290389" cy="337158"/>
          </a:xfrm>
          <a:noFill/>
        </p:grpSpPr>
        <p:sp>
          <p:nvSpPr>
            <p:cNvPr id="872" name="Forma livre: Forma 871">
              <a:extLst>
                <a:ext uri="{FF2B5EF4-FFF2-40B4-BE49-F238E27FC236}">
                  <a16:creationId xmlns:a16="http://schemas.microsoft.com/office/drawing/2014/main" id="{AA71AC04-135D-CAEE-3E9D-62C9FC6D61F4}"/>
                </a:ext>
              </a:extLst>
            </p:cNvPr>
            <p:cNvSpPr/>
            <p:nvPr/>
          </p:nvSpPr>
          <p:spPr>
            <a:xfrm>
              <a:off x="5080782" y="1200077"/>
              <a:ext cx="92673" cy="71816"/>
            </a:xfrm>
            <a:custGeom>
              <a:avLst/>
              <a:gdLst>
                <a:gd name="connsiteX0" fmla="*/ 0 w 92673"/>
                <a:gd name="connsiteY0" fmla="*/ 26684 h 71816"/>
                <a:gd name="connsiteX1" fmla="*/ 32607 w 92673"/>
                <a:gd name="connsiteY1" fmla="*/ 71817 h 71816"/>
                <a:gd name="connsiteX2" fmla="*/ 92673 w 92673"/>
                <a:gd name="connsiteY2" fmla="*/ 0 h 718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2673" h="71816">
                  <a:moveTo>
                    <a:pt x="0" y="26684"/>
                  </a:moveTo>
                  <a:lnTo>
                    <a:pt x="32607" y="71817"/>
                  </a:lnTo>
                  <a:lnTo>
                    <a:pt x="92673" y="0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873" name="Gráfico 6">
              <a:extLst>
                <a:ext uri="{FF2B5EF4-FFF2-40B4-BE49-F238E27FC236}">
                  <a16:creationId xmlns:a16="http://schemas.microsoft.com/office/drawing/2014/main" id="{CFA20A9E-3F98-605A-57CE-8E004CC3B683}"/>
                </a:ext>
              </a:extLst>
            </p:cNvPr>
            <p:cNvGrpSpPr/>
            <p:nvPr/>
          </p:nvGrpSpPr>
          <p:grpSpPr>
            <a:xfrm>
              <a:off x="5135457" y="987042"/>
              <a:ext cx="190832" cy="200779"/>
              <a:chOff x="5135457" y="987042"/>
              <a:chExt cx="190832" cy="200779"/>
            </a:xfrm>
            <a:noFill/>
          </p:grpSpPr>
          <p:grpSp>
            <p:nvGrpSpPr>
              <p:cNvPr id="874" name="Gráfico 6">
                <a:extLst>
                  <a:ext uri="{FF2B5EF4-FFF2-40B4-BE49-F238E27FC236}">
                    <a16:creationId xmlns:a16="http://schemas.microsoft.com/office/drawing/2014/main" id="{BC4C37E6-020D-3705-78E5-115E4C1198B7}"/>
                  </a:ext>
                </a:extLst>
              </p:cNvPr>
              <p:cNvGrpSpPr/>
              <p:nvPr/>
            </p:nvGrpSpPr>
            <p:grpSpPr>
              <a:xfrm>
                <a:off x="5209197" y="987042"/>
                <a:ext cx="117092" cy="116988"/>
                <a:chOff x="5209197" y="987042"/>
                <a:chExt cx="117092" cy="116988"/>
              </a:xfrm>
              <a:noFill/>
            </p:grpSpPr>
            <p:sp>
              <p:nvSpPr>
                <p:cNvPr id="875" name="Forma livre: Forma 874">
                  <a:extLst>
                    <a:ext uri="{FF2B5EF4-FFF2-40B4-BE49-F238E27FC236}">
                      <a16:creationId xmlns:a16="http://schemas.microsoft.com/office/drawing/2014/main" id="{4E87098A-FB61-4581-2E2F-18EDAA93B60D}"/>
                    </a:ext>
                  </a:extLst>
                </p:cNvPr>
                <p:cNvSpPr/>
                <p:nvPr/>
              </p:nvSpPr>
              <p:spPr>
                <a:xfrm>
                  <a:off x="5209197" y="987042"/>
                  <a:ext cx="117092" cy="72105"/>
                </a:xfrm>
                <a:custGeom>
                  <a:avLst/>
                  <a:gdLst>
                    <a:gd name="connsiteX0" fmla="*/ 0 w 117092"/>
                    <a:gd name="connsiteY0" fmla="*/ 72106 h 72105"/>
                    <a:gd name="connsiteX1" fmla="*/ 24884 w 117092"/>
                    <a:gd name="connsiteY1" fmla="*/ 58377 h 72105"/>
                    <a:gd name="connsiteX2" fmla="*/ 43774 w 117092"/>
                    <a:gd name="connsiteY2" fmla="*/ 31847 h 72105"/>
                    <a:gd name="connsiteX3" fmla="*/ 40985 w 117092"/>
                    <a:gd name="connsiteY3" fmla="*/ 6808 h 72105"/>
                    <a:gd name="connsiteX4" fmla="*/ 91982 w 117092"/>
                    <a:gd name="connsiteY4" fmla="*/ 12886 h 72105"/>
                    <a:gd name="connsiteX5" fmla="*/ 114399 w 117092"/>
                    <a:gd name="connsiteY5" fmla="*/ 59080 h 72105"/>
                    <a:gd name="connsiteX6" fmla="*/ 63415 w 117092"/>
                    <a:gd name="connsiteY6" fmla="*/ 53002 h 7210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17092" h="72105">
                      <a:moveTo>
                        <a:pt x="0" y="72106"/>
                      </a:moveTo>
                      <a:cubicBezTo>
                        <a:pt x="10631" y="71570"/>
                        <a:pt x="21309" y="63394"/>
                        <a:pt x="24884" y="58377"/>
                      </a:cubicBezTo>
                      <a:cubicBezTo>
                        <a:pt x="28448" y="53371"/>
                        <a:pt x="43774" y="31847"/>
                        <a:pt x="43774" y="31847"/>
                      </a:cubicBezTo>
                      <a:cubicBezTo>
                        <a:pt x="38113" y="22826"/>
                        <a:pt x="36624" y="12946"/>
                        <a:pt x="40985" y="6808"/>
                      </a:cubicBezTo>
                      <a:cubicBezTo>
                        <a:pt x="48875" y="-4264"/>
                        <a:pt x="71710" y="-1546"/>
                        <a:pt x="91982" y="12886"/>
                      </a:cubicBezTo>
                      <a:cubicBezTo>
                        <a:pt x="112254" y="27331"/>
                        <a:pt x="122289" y="47996"/>
                        <a:pt x="114399" y="59080"/>
                      </a:cubicBezTo>
                      <a:cubicBezTo>
                        <a:pt x="106522" y="70151"/>
                        <a:pt x="83699" y="67434"/>
                        <a:pt x="63415" y="53002"/>
                      </a:cubicBez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876" name="Forma livre: Forma 875">
                  <a:extLst>
                    <a:ext uri="{FF2B5EF4-FFF2-40B4-BE49-F238E27FC236}">
                      <a16:creationId xmlns:a16="http://schemas.microsoft.com/office/drawing/2014/main" id="{C54E547C-4A65-31EA-8066-C4243E9C9B5C}"/>
                    </a:ext>
                  </a:extLst>
                </p:cNvPr>
                <p:cNvSpPr/>
                <p:nvPr/>
              </p:nvSpPr>
              <p:spPr>
                <a:xfrm>
                  <a:off x="5271229" y="1052141"/>
                  <a:ext cx="22835" cy="51890"/>
                </a:xfrm>
                <a:custGeom>
                  <a:avLst/>
                  <a:gdLst>
                    <a:gd name="connsiteX0" fmla="*/ 22835 w 22835"/>
                    <a:gd name="connsiteY0" fmla="*/ 0 h 51890"/>
                    <a:gd name="connsiteX1" fmla="*/ 5828 w 22835"/>
                    <a:gd name="connsiteY1" fmla="*/ 23883 h 51890"/>
                    <a:gd name="connsiteX2" fmla="*/ 1002 w 22835"/>
                    <a:gd name="connsiteY2" fmla="*/ 51890 h 518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22835" h="51890">
                      <a:moveTo>
                        <a:pt x="22835" y="0"/>
                      </a:moveTo>
                      <a:cubicBezTo>
                        <a:pt x="22835" y="0"/>
                        <a:pt x="9404" y="18866"/>
                        <a:pt x="5828" y="23883"/>
                      </a:cubicBezTo>
                      <a:cubicBezTo>
                        <a:pt x="2265" y="28901"/>
                        <a:pt x="-1966" y="41677"/>
                        <a:pt x="1002" y="51890"/>
                      </a:cubicBez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877" name="Gráfico 6">
                <a:extLst>
                  <a:ext uri="{FF2B5EF4-FFF2-40B4-BE49-F238E27FC236}">
                    <a16:creationId xmlns:a16="http://schemas.microsoft.com/office/drawing/2014/main" id="{AF7C8969-DCFB-5B73-8BE7-82EC2D7D4CF6}"/>
                  </a:ext>
                </a:extLst>
              </p:cNvPr>
              <p:cNvGrpSpPr/>
              <p:nvPr/>
            </p:nvGrpSpPr>
            <p:grpSpPr>
              <a:xfrm>
                <a:off x="5135457" y="1026078"/>
                <a:ext cx="178568" cy="161743"/>
                <a:chOff x="5135457" y="1026078"/>
                <a:chExt cx="178568" cy="161743"/>
              </a:xfrm>
              <a:noFill/>
            </p:grpSpPr>
            <p:sp>
              <p:nvSpPr>
                <p:cNvPr id="878" name="Forma livre: Forma 877">
                  <a:extLst>
                    <a:ext uri="{FF2B5EF4-FFF2-40B4-BE49-F238E27FC236}">
                      <a16:creationId xmlns:a16="http://schemas.microsoft.com/office/drawing/2014/main" id="{33FC587E-9F05-6D34-7617-EE0661D97BE0}"/>
                    </a:ext>
                  </a:extLst>
                </p:cNvPr>
                <p:cNvSpPr/>
                <p:nvPr/>
              </p:nvSpPr>
              <p:spPr>
                <a:xfrm>
                  <a:off x="5135457" y="1039400"/>
                  <a:ext cx="173301" cy="148421"/>
                </a:xfrm>
                <a:custGeom>
                  <a:avLst/>
                  <a:gdLst>
                    <a:gd name="connsiteX0" fmla="*/ 173301 w 173301"/>
                    <a:gd name="connsiteY0" fmla="*/ 103042 h 148421"/>
                    <a:gd name="connsiteX1" fmla="*/ 149299 w 173301"/>
                    <a:gd name="connsiteY1" fmla="*/ 136769 h 148421"/>
                    <a:gd name="connsiteX2" fmla="*/ 50905 w 173301"/>
                    <a:gd name="connsiteY2" fmla="*/ 121788 h 148421"/>
                    <a:gd name="connsiteX3" fmla="*/ 4557 w 173301"/>
                    <a:gd name="connsiteY3" fmla="*/ 33727 h 148421"/>
                    <a:gd name="connsiteX4" fmla="*/ 28559 w 173301"/>
                    <a:gd name="connsiteY4" fmla="*/ 0 h 14842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73301" h="148421">
                      <a:moveTo>
                        <a:pt x="173301" y="103042"/>
                      </a:moveTo>
                      <a:lnTo>
                        <a:pt x="149299" y="136769"/>
                      </a:lnTo>
                      <a:cubicBezTo>
                        <a:pt x="134926" y="156958"/>
                        <a:pt x="90878" y="150248"/>
                        <a:pt x="50905" y="121788"/>
                      </a:cubicBezTo>
                      <a:cubicBezTo>
                        <a:pt x="10945" y="93341"/>
                        <a:pt x="-9816" y="53916"/>
                        <a:pt x="4557" y="33727"/>
                      </a:cubicBezTo>
                      <a:lnTo>
                        <a:pt x="28559" y="0"/>
                      </a:ln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grpSp>
              <p:nvGrpSpPr>
                <p:cNvPr id="879" name="Gráfico 6">
                  <a:extLst>
                    <a:ext uri="{FF2B5EF4-FFF2-40B4-BE49-F238E27FC236}">
                      <a16:creationId xmlns:a16="http://schemas.microsoft.com/office/drawing/2014/main" id="{9293C144-BA04-972E-49C7-454FEEE4F93A}"/>
                    </a:ext>
                  </a:extLst>
                </p:cNvPr>
                <p:cNvGrpSpPr/>
                <p:nvPr/>
              </p:nvGrpSpPr>
              <p:grpSpPr>
                <a:xfrm>
                  <a:off x="5160659" y="1026078"/>
                  <a:ext cx="153367" cy="126332"/>
                  <a:chOff x="5160659" y="1026078"/>
                  <a:chExt cx="153367" cy="126332"/>
                </a:xfrm>
                <a:noFill/>
              </p:grpSpPr>
              <p:sp>
                <p:nvSpPr>
                  <p:cNvPr id="880" name="Forma livre: Forma 879">
                    <a:extLst>
                      <a:ext uri="{FF2B5EF4-FFF2-40B4-BE49-F238E27FC236}">
                        <a16:creationId xmlns:a16="http://schemas.microsoft.com/office/drawing/2014/main" id="{E51BA861-7E52-1979-5122-DBA322D65C20}"/>
                      </a:ext>
                    </a:extLst>
                  </p:cNvPr>
                  <p:cNvSpPr/>
                  <p:nvPr/>
                </p:nvSpPr>
                <p:spPr>
                  <a:xfrm>
                    <a:off x="5160659" y="1026078"/>
                    <a:ext cx="48824" cy="58073"/>
                  </a:xfrm>
                  <a:custGeom>
                    <a:avLst/>
                    <a:gdLst>
                      <a:gd name="connsiteX0" fmla="*/ 10485 w 48824"/>
                      <a:gd name="connsiteY0" fmla="*/ 58074 h 58073"/>
                      <a:gd name="connsiteX1" fmla="*/ 4550 w 48824"/>
                      <a:gd name="connsiteY1" fmla="*/ 11642 h 58073"/>
                      <a:gd name="connsiteX2" fmla="*/ 48824 w 48824"/>
                      <a:gd name="connsiteY2" fmla="*/ 1750 h 5807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</a:cxnLst>
                    <a:rect l="l" t="t" r="r" b="b"/>
                    <a:pathLst>
                      <a:path w="48824" h="58073">
                        <a:moveTo>
                          <a:pt x="10485" y="58074"/>
                        </a:moveTo>
                        <a:cubicBezTo>
                          <a:pt x="-551" y="40113"/>
                          <a:pt x="-3447" y="22892"/>
                          <a:pt x="4550" y="11642"/>
                        </a:cubicBezTo>
                        <a:cubicBezTo>
                          <a:pt x="12356" y="677"/>
                          <a:pt x="28922" y="-2350"/>
                          <a:pt x="48824" y="1750"/>
                        </a:cubicBezTo>
                      </a:path>
                    </a:pathLst>
                  </a:custGeom>
                  <a:noFill/>
                  <a:ln w="6350" cap="rnd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881" name="Forma livre: Forma 880">
                    <a:extLst>
                      <a:ext uri="{FF2B5EF4-FFF2-40B4-BE49-F238E27FC236}">
                        <a16:creationId xmlns:a16="http://schemas.microsoft.com/office/drawing/2014/main" id="{917AC6BC-DA2A-07F1-666B-DE344B6B0E98}"/>
                      </a:ext>
                    </a:extLst>
                  </p:cNvPr>
                  <p:cNvSpPr/>
                  <p:nvPr/>
                </p:nvSpPr>
                <p:spPr>
                  <a:xfrm>
                    <a:off x="5211569" y="1092888"/>
                    <a:ext cx="102457" cy="59523"/>
                  </a:xfrm>
                  <a:custGeom>
                    <a:avLst/>
                    <a:gdLst>
                      <a:gd name="connsiteX0" fmla="*/ 90492 w 102457"/>
                      <a:gd name="connsiteY0" fmla="*/ 0 h 59523"/>
                      <a:gd name="connsiteX1" fmla="*/ 98382 w 102457"/>
                      <a:gd name="connsiteY1" fmla="*/ 47874 h 59523"/>
                      <a:gd name="connsiteX2" fmla="*/ 0 w 102457"/>
                      <a:gd name="connsiteY2" fmla="*/ 32893 h 5952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</a:cxnLst>
                    <a:rect l="l" t="t" r="r" b="b"/>
                    <a:pathLst>
                      <a:path w="102457" h="59523">
                        <a:moveTo>
                          <a:pt x="90492" y="0"/>
                        </a:moveTo>
                        <a:cubicBezTo>
                          <a:pt x="102053" y="17948"/>
                          <a:pt x="106355" y="36671"/>
                          <a:pt x="98382" y="47874"/>
                        </a:cubicBezTo>
                        <a:cubicBezTo>
                          <a:pt x="84009" y="68063"/>
                          <a:pt x="39973" y="61341"/>
                          <a:pt x="0" y="32893"/>
                        </a:cubicBezTo>
                      </a:path>
                    </a:pathLst>
                  </a:custGeom>
                  <a:noFill/>
                  <a:ln w="6350" cap="rnd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</p:grpSp>
        </p:grpSp>
        <p:sp>
          <p:nvSpPr>
            <p:cNvPr id="882" name="Forma livre: Forma 881">
              <a:extLst>
                <a:ext uri="{FF2B5EF4-FFF2-40B4-BE49-F238E27FC236}">
                  <a16:creationId xmlns:a16="http://schemas.microsoft.com/office/drawing/2014/main" id="{7662A508-FE4C-D7F2-FD85-E9F647A20422}"/>
                </a:ext>
              </a:extLst>
            </p:cNvPr>
            <p:cNvSpPr/>
            <p:nvPr/>
          </p:nvSpPr>
          <p:spPr>
            <a:xfrm>
              <a:off x="5035900" y="1141691"/>
              <a:ext cx="182509" cy="182509"/>
            </a:xfrm>
            <a:custGeom>
              <a:avLst/>
              <a:gdLst>
                <a:gd name="connsiteX0" fmla="*/ 178696 w 182509"/>
                <a:gd name="connsiteY0" fmla="*/ 65060 h 182509"/>
                <a:gd name="connsiteX1" fmla="*/ 182510 w 182509"/>
                <a:gd name="connsiteY1" fmla="*/ 91255 h 182509"/>
                <a:gd name="connsiteX2" fmla="*/ 91255 w 182509"/>
                <a:gd name="connsiteY2" fmla="*/ 182510 h 182509"/>
                <a:gd name="connsiteX3" fmla="*/ 0 w 182509"/>
                <a:gd name="connsiteY3" fmla="*/ 91255 h 182509"/>
                <a:gd name="connsiteX4" fmla="*/ 91255 w 182509"/>
                <a:gd name="connsiteY4" fmla="*/ 0 h 1825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2509" h="182509">
                  <a:moveTo>
                    <a:pt x="178696" y="65060"/>
                  </a:moveTo>
                  <a:cubicBezTo>
                    <a:pt x="181175" y="73354"/>
                    <a:pt x="182510" y="82150"/>
                    <a:pt x="182510" y="91255"/>
                  </a:cubicBezTo>
                  <a:cubicBezTo>
                    <a:pt x="182510" y="141655"/>
                    <a:pt x="141656" y="182510"/>
                    <a:pt x="91255" y="182510"/>
                  </a:cubicBezTo>
                  <a:cubicBezTo>
                    <a:pt x="40854" y="182510"/>
                    <a:pt x="0" y="141655"/>
                    <a:pt x="0" y="91255"/>
                  </a:cubicBezTo>
                  <a:cubicBezTo>
                    <a:pt x="0" y="40854"/>
                    <a:pt x="40854" y="0"/>
                    <a:pt x="91255" y="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884" name="Gráfico 9">
            <a:extLst>
              <a:ext uri="{FF2B5EF4-FFF2-40B4-BE49-F238E27FC236}">
                <a16:creationId xmlns:a16="http://schemas.microsoft.com/office/drawing/2014/main" id="{7F292AA5-A212-140B-B72E-931418551E44}"/>
              </a:ext>
            </a:extLst>
          </p:cNvPr>
          <p:cNvGrpSpPr/>
          <p:nvPr/>
        </p:nvGrpSpPr>
        <p:grpSpPr>
          <a:xfrm>
            <a:off x="6872991" y="1001777"/>
            <a:ext cx="283510" cy="297031"/>
            <a:chOff x="6872991" y="1001777"/>
            <a:chExt cx="283510" cy="297031"/>
          </a:xfrm>
        </p:grpSpPr>
        <p:sp>
          <p:nvSpPr>
            <p:cNvPr id="885" name="Forma livre: Forma 884">
              <a:extLst>
                <a:ext uri="{FF2B5EF4-FFF2-40B4-BE49-F238E27FC236}">
                  <a16:creationId xmlns:a16="http://schemas.microsoft.com/office/drawing/2014/main" id="{7C3A63DB-B310-8609-78B5-24216B097DF0}"/>
                </a:ext>
              </a:extLst>
            </p:cNvPr>
            <p:cNvSpPr/>
            <p:nvPr/>
          </p:nvSpPr>
          <p:spPr>
            <a:xfrm>
              <a:off x="6872991" y="1001777"/>
              <a:ext cx="259623" cy="297031"/>
            </a:xfrm>
            <a:custGeom>
              <a:avLst/>
              <a:gdLst>
                <a:gd name="connsiteX0" fmla="*/ 254327 w 259623"/>
                <a:gd name="connsiteY0" fmla="*/ 171076 h 297031"/>
                <a:gd name="connsiteX1" fmla="*/ 198175 w 259623"/>
                <a:gd name="connsiteY1" fmla="*/ 78110 h 297031"/>
                <a:gd name="connsiteX2" fmla="*/ 203913 w 259623"/>
                <a:gd name="connsiteY2" fmla="*/ 53929 h 297031"/>
                <a:gd name="connsiteX3" fmla="*/ 259624 w 259623"/>
                <a:gd name="connsiteY3" fmla="*/ 19608 h 297031"/>
                <a:gd name="connsiteX4" fmla="*/ 152664 w 259623"/>
                <a:gd name="connsiteY4" fmla="*/ 17138 h 297031"/>
                <a:gd name="connsiteX5" fmla="*/ 115325 w 259623"/>
                <a:gd name="connsiteY5" fmla="*/ 130206 h 297031"/>
                <a:gd name="connsiteX6" fmla="*/ 7793 w 259623"/>
                <a:gd name="connsiteY6" fmla="*/ 239945 h 297031"/>
                <a:gd name="connsiteX7" fmla="*/ 8199 w 259623"/>
                <a:gd name="connsiteY7" fmla="*/ 278680 h 297031"/>
                <a:gd name="connsiteX8" fmla="*/ 18983 w 259623"/>
                <a:gd name="connsiteY8" fmla="*/ 289237 h 297031"/>
                <a:gd name="connsiteX9" fmla="*/ 57706 w 259623"/>
                <a:gd name="connsiteY9" fmla="*/ 288844 h 297031"/>
                <a:gd name="connsiteX10" fmla="*/ 168197 w 259623"/>
                <a:gd name="connsiteY10" fmla="*/ 176051 h 297031"/>
                <a:gd name="connsiteX11" fmla="*/ 254315 w 259623"/>
                <a:gd name="connsiteY11" fmla="*/ 171064 h 2970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59623" h="297031">
                  <a:moveTo>
                    <a:pt x="254327" y="171076"/>
                  </a:moveTo>
                  <a:lnTo>
                    <a:pt x="198175" y="78110"/>
                  </a:lnTo>
                  <a:cubicBezTo>
                    <a:pt x="193105" y="69890"/>
                    <a:pt x="195706" y="58999"/>
                    <a:pt x="203913" y="53929"/>
                  </a:cubicBezTo>
                  <a:lnTo>
                    <a:pt x="259624" y="19608"/>
                  </a:lnTo>
                  <a:cubicBezTo>
                    <a:pt x="229884" y="-7210"/>
                    <a:pt x="188620" y="-5039"/>
                    <a:pt x="152664" y="17138"/>
                  </a:cubicBezTo>
                  <a:cubicBezTo>
                    <a:pt x="113798" y="41128"/>
                    <a:pt x="98922" y="89192"/>
                    <a:pt x="115325" y="130206"/>
                  </a:cubicBezTo>
                  <a:lnTo>
                    <a:pt x="7793" y="239945"/>
                  </a:lnTo>
                  <a:cubicBezTo>
                    <a:pt x="-2753" y="250717"/>
                    <a:pt x="-2574" y="268146"/>
                    <a:pt x="8199" y="278680"/>
                  </a:cubicBezTo>
                  <a:lnTo>
                    <a:pt x="18983" y="289237"/>
                  </a:lnTo>
                  <a:cubicBezTo>
                    <a:pt x="29743" y="299783"/>
                    <a:pt x="47160" y="299604"/>
                    <a:pt x="57706" y="288844"/>
                  </a:cubicBezTo>
                  <a:lnTo>
                    <a:pt x="168197" y="176051"/>
                  </a:lnTo>
                  <a:cubicBezTo>
                    <a:pt x="204379" y="157023"/>
                    <a:pt x="240417" y="167259"/>
                    <a:pt x="254315" y="171064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86" name="Forma livre: Forma 885">
              <a:extLst>
                <a:ext uri="{FF2B5EF4-FFF2-40B4-BE49-F238E27FC236}">
                  <a16:creationId xmlns:a16="http://schemas.microsoft.com/office/drawing/2014/main" id="{762D56C1-10FF-C5DE-F0B1-93FB5A177C9F}"/>
                </a:ext>
              </a:extLst>
            </p:cNvPr>
            <p:cNvSpPr/>
            <p:nvPr/>
          </p:nvSpPr>
          <p:spPr>
            <a:xfrm>
              <a:off x="7103101" y="1059667"/>
              <a:ext cx="53400" cy="78531"/>
            </a:xfrm>
            <a:custGeom>
              <a:avLst/>
              <a:gdLst>
                <a:gd name="connsiteX0" fmla="*/ 27975 w 53400"/>
                <a:gd name="connsiteY0" fmla="*/ 78532 h 78531"/>
                <a:gd name="connsiteX1" fmla="*/ 52191 w 53400"/>
                <a:gd name="connsiteY1" fmla="*/ 0 h 78531"/>
                <a:gd name="connsiteX2" fmla="*/ 0 w 53400"/>
                <a:gd name="connsiteY2" fmla="*/ 31947 h 785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53400" h="78531">
                  <a:moveTo>
                    <a:pt x="27975" y="78532"/>
                  </a:moveTo>
                  <a:cubicBezTo>
                    <a:pt x="48147" y="57464"/>
                    <a:pt x="56796" y="28368"/>
                    <a:pt x="52191" y="0"/>
                  </a:cubicBezTo>
                  <a:lnTo>
                    <a:pt x="0" y="31947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87" name="Forma livre: Forma 886">
              <a:extLst>
                <a:ext uri="{FF2B5EF4-FFF2-40B4-BE49-F238E27FC236}">
                  <a16:creationId xmlns:a16="http://schemas.microsoft.com/office/drawing/2014/main" id="{0AA241B8-8718-DF86-2FD8-1994B292EE5C}"/>
                </a:ext>
              </a:extLst>
            </p:cNvPr>
            <p:cNvSpPr/>
            <p:nvPr/>
          </p:nvSpPr>
          <p:spPr>
            <a:xfrm>
              <a:off x="7033719" y="1116332"/>
              <a:ext cx="25445" cy="6489"/>
            </a:xfrm>
            <a:custGeom>
              <a:avLst/>
              <a:gdLst>
                <a:gd name="connsiteX0" fmla="*/ 0 w 25445"/>
                <a:gd name="connsiteY0" fmla="*/ 6490 h 6489"/>
                <a:gd name="connsiteX1" fmla="*/ 25446 w 25445"/>
                <a:gd name="connsiteY1" fmla="*/ 0 h 64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5445" h="6489">
                  <a:moveTo>
                    <a:pt x="0" y="6490"/>
                  </a:moveTo>
                  <a:lnTo>
                    <a:pt x="25446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88" name="Forma livre: Forma 887">
              <a:extLst>
                <a:ext uri="{FF2B5EF4-FFF2-40B4-BE49-F238E27FC236}">
                  <a16:creationId xmlns:a16="http://schemas.microsoft.com/office/drawing/2014/main" id="{EF784BD6-0CEA-280D-1BD6-9E1AF0DDF559}"/>
                </a:ext>
              </a:extLst>
            </p:cNvPr>
            <p:cNvSpPr/>
            <p:nvPr/>
          </p:nvSpPr>
          <p:spPr>
            <a:xfrm>
              <a:off x="7021790" y="1096612"/>
              <a:ext cx="25445" cy="6489"/>
            </a:xfrm>
            <a:custGeom>
              <a:avLst/>
              <a:gdLst>
                <a:gd name="connsiteX0" fmla="*/ 0 w 25445"/>
                <a:gd name="connsiteY0" fmla="*/ 6490 h 6489"/>
                <a:gd name="connsiteX1" fmla="*/ 25446 w 25445"/>
                <a:gd name="connsiteY1" fmla="*/ 0 h 64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5445" h="6489">
                  <a:moveTo>
                    <a:pt x="0" y="6490"/>
                  </a:moveTo>
                  <a:lnTo>
                    <a:pt x="25446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89" name="Forma livre: Forma 888">
              <a:extLst>
                <a:ext uri="{FF2B5EF4-FFF2-40B4-BE49-F238E27FC236}">
                  <a16:creationId xmlns:a16="http://schemas.microsoft.com/office/drawing/2014/main" id="{BE1C4770-40C5-3211-7EAC-87C131FEC78E}"/>
                </a:ext>
              </a:extLst>
            </p:cNvPr>
            <p:cNvSpPr/>
            <p:nvPr/>
          </p:nvSpPr>
          <p:spPr>
            <a:xfrm>
              <a:off x="7046925" y="1134142"/>
              <a:ext cx="25445" cy="6501"/>
            </a:xfrm>
            <a:custGeom>
              <a:avLst/>
              <a:gdLst>
                <a:gd name="connsiteX0" fmla="*/ 0 w 25445"/>
                <a:gd name="connsiteY0" fmla="*/ 6502 h 6501"/>
                <a:gd name="connsiteX1" fmla="*/ 25446 w 25445"/>
                <a:gd name="connsiteY1" fmla="*/ 0 h 65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5445" h="6501">
                  <a:moveTo>
                    <a:pt x="0" y="6502"/>
                  </a:moveTo>
                  <a:lnTo>
                    <a:pt x="25446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90" name="Forma livre: Forma 889">
              <a:extLst>
                <a:ext uri="{FF2B5EF4-FFF2-40B4-BE49-F238E27FC236}">
                  <a16:creationId xmlns:a16="http://schemas.microsoft.com/office/drawing/2014/main" id="{AAE9F83E-2D55-24DE-6F2B-D90EEDE8C054}"/>
                </a:ext>
              </a:extLst>
            </p:cNvPr>
            <p:cNvSpPr/>
            <p:nvPr/>
          </p:nvSpPr>
          <p:spPr>
            <a:xfrm>
              <a:off x="6911896" y="1251791"/>
              <a:ext cx="7443" cy="7443"/>
            </a:xfrm>
            <a:custGeom>
              <a:avLst/>
              <a:gdLst>
                <a:gd name="connsiteX0" fmla="*/ 7444 w 7443"/>
                <a:gd name="connsiteY0" fmla="*/ 3722 h 7443"/>
                <a:gd name="connsiteX1" fmla="*/ 3722 w 7443"/>
                <a:gd name="connsiteY1" fmla="*/ 7444 h 7443"/>
                <a:gd name="connsiteX2" fmla="*/ 0 w 7443"/>
                <a:gd name="connsiteY2" fmla="*/ 3722 h 7443"/>
                <a:gd name="connsiteX3" fmla="*/ 3722 w 7443"/>
                <a:gd name="connsiteY3" fmla="*/ 0 h 7443"/>
                <a:gd name="connsiteX4" fmla="*/ 7444 w 7443"/>
                <a:gd name="connsiteY4" fmla="*/ 3722 h 74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443" h="7443">
                  <a:moveTo>
                    <a:pt x="7444" y="3722"/>
                  </a:moveTo>
                  <a:cubicBezTo>
                    <a:pt x="7444" y="5774"/>
                    <a:pt x="5786" y="7444"/>
                    <a:pt x="3722" y="7444"/>
                  </a:cubicBezTo>
                  <a:cubicBezTo>
                    <a:pt x="1658" y="7444"/>
                    <a:pt x="0" y="5786"/>
                    <a:pt x="0" y="3722"/>
                  </a:cubicBezTo>
                  <a:cubicBezTo>
                    <a:pt x="0" y="1658"/>
                    <a:pt x="1670" y="0"/>
                    <a:pt x="3722" y="0"/>
                  </a:cubicBezTo>
                  <a:cubicBezTo>
                    <a:pt x="5774" y="0"/>
                    <a:pt x="7444" y="1658"/>
                    <a:pt x="7444" y="3722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891" name="Gráfico 9">
            <a:extLst>
              <a:ext uri="{FF2B5EF4-FFF2-40B4-BE49-F238E27FC236}">
                <a16:creationId xmlns:a16="http://schemas.microsoft.com/office/drawing/2014/main" id="{E3A049EC-4CA0-A53F-AE5D-F35EAE5B319B}"/>
              </a:ext>
            </a:extLst>
          </p:cNvPr>
          <p:cNvGrpSpPr/>
          <p:nvPr/>
        </p:nvGrpSpPr>
        <p:grpSpPr>
          <a:xfrm>
            <a:off x="6255901" y="987035"/>
            <a:ext cx="248742" cy="326514"/>
            <a:chOff x="6255901" y="987035"/>
            <a:chExt cx="248742" cy="326514"/>
          </a:xfrm>
          <a:noFill/>
        </p:grpSpPr>
        <p:grpSp>
          <p:nvGrpSpPr>
            <p:cNvPr id="892" name="Gráfico 9">
              <a:extLst>
                <a:ext uri="{FF2B5EF4-FFF2-40B4-BE49-F238E27FC236}">
                  <a16:creationId xmlns:a16="http://schemas.microsoft.com/office/drawing/2014/main" id="{6030A0A0-B285-6A23-EFB2-9ABFCD1612FE}"/>
                </a:ext>
              </a:extLst>
            </p:cNvPr>
            <p:cNvGrpSpPr/>
            <p:nvPr/>
          </p:nvGrpSpPr>
          <p:grpSpPr>
            <a:xfrm>
              <a:off x="6255901" y="987035"/>
              <a:ext cx="248742" cy="248751"/>
              <a:chOff x="6255901" y="987035"/>
              <a:chExt cx="248742" cy="248751"/>
            </a:xfrm>
            <a:noFill/>
          </p:grpSpPr>
          <p:sp>
            <p:nvSpPr>
              <p:cNvPr id="893" name="Forma livre: Forma 892">
                <a:extLst>
                  <a:ext uri="{FF2B5EF4-FFF2-40B4-BE49-F238E27FC236}">
                    <a16:creationId xmlns:a16="http://schemas.microsoft.com/office/drawing/2014/main" id="{19174922-3C21-B572-8C1B-24B0A8B423DF}"/>
                  </a:ext>
                </a:extLst>
              </p:cNvPr>
              <p:cNvSpPr/>
              <p:nvPr/>
            </p:nvSpPr>
            <p:spPr>
              <a:xfrm>
                <a:off x="6255901" y="987035"/>
                <a:ext cx="131730" cy="106117"/>
              </a:xfrm>
              <a:custGeom>
                <a:avLst/>
                <a:gdLst>
                  <a:gd name="connsiteX0" fmla="*/ 131730 w 131730"/>
                  <a:gd name="connsiteY0" fmla="*/ 106118 h 106117"/>
                  <a:gd name="connsiteX1" fmla="*/ 107215 w 131730"/>
                  <a:gd name="connsiteY1" fmla="*/ 81603 h 106117"/>
                  <a:gd name="connsiteX2" fmla="*/ 99843 w 131730"/>
                  <a:gd name="connsiteY2" fmla="*/ 51910 h 106117"/>
                  <a:gd name="connsiteX3" fmla="*/ 85241 w 131730"/>
                  <a:gd name="connsiteY3" fmla="*/ 14631 h 106117"/>
                  <a:gd name="connsiteX4" fmla="*/ 31177 w 131730"/>
                  <a:gd name="connsiteY4" fmla="*/ 3644 h 106117"/>
                  <a:gd name="connsiteX5" fmla="*/ 57421 w 131730"/>
                  <a:gd name="connsiteY5" fmla="*/ 29901 h 106117"/>
                  <a:gd name="connsiteX6" fmla="*/ 57314 w 131730"/>
                  <a:gd name="connsiteY6" fmla="*/ 57314 h 106117"/>
                  <a:gd name="connsiteX7" fmla="*/ 29876 w 131730"/>
                  <a:gd name="connsiteY7" fmla="*/ 57434 h 106117"/>
                  <a:gd name="connsiteX8" fmla="*/ 3643 w 131730"/>
                  <a:gd name="connsiteY8" fmla="*/ 31177 h 106117"/>
                  <a:gd name="connsiteX9" fmla="*/ 14642 w 131730"/>
                  <a:gd name="connsiteY9" fmla="*/ 85253 h 106117"/>
                  <a:gd name="connsiteX10" fmla="*/ 51898 w 131730"/>
                  <a:gd name="connsiteY10" fmla="*/ 99831 h 106117"/>
                  <a:gd name="connsiteX11" fmla="*/ 74206 w 131730"/>
                  <a:gd name="connsiteY11" fmla="*/ 102205 h 1061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31730" h="106117">
                    <a:moveTo>
                      <a:pt x="131730" y="106118"/>
                    </a:moveTo>
                    <a:lnTo>
                      <a:pt x="107215" y="81603"/>
                    </a:lnTo>
                    <a:cubicBezTo>
                      <a:pt x="96765" y="70592"/>
                      <a:pt x="99771" y="56026"/>
                      <a:pt x="99843" y="51910"/>
                    </a:cubicBezTo>
                    <a:cubicBezTo>
                      <a:pt x="100320" y="38549"/>
                      <a:pt x="95453" y="24831"/>
                      <a:pt x="85241" y="14631"/>
                    </a:cubicBezTo>
                    <a:cubicBezTo>
                      <a:pt x="70627" y="17"/>
                      <a:pt x="49214" y="-3657"/>
                      <a:pt x="31177" y="3644"/>
                    </a:cubicBezTo>
                    <a:lnTo>
                      <a:pt x="57421" y="29901"/>
                    </a:lnTo>
                    <a:cubicBezTo>
                      <a:pt x="64937" y="37404"/>
                      <a:pt x="64830" y="49799"/>
                      <a:pt x="57314" y="57314"/>
                    </a:cubicBezTo>
                    <a:cubicBezTo>
                      <a:pt x="49798" y="64842"/>
                      <a:pt x="37392" y="64937"/>
                      <a:pt x="29876" y="57434"/>
                    </a:cubicBezTo>
                    <a:lnTo>
                      <a:pt x="3643" y="31177"/>
                    </a:lnTo>
                    <a:cubicBezTo>
                      <a:pt x="-3657" y="49202"/>
                      <a:pt x="17" y="70616"/>
                      <a:pt x="14642" y="85253"/>
                    </a:cubicBezTo>
                    <a:cubicBezTo>
                      <a:pt x="24830" y="95441"/>
                      <a:pt x="38549" y="100308"/>
                      <a:pt x="51898" y="99831"/>
                    </a:cubicBezTo>
                    <a:cubicBezTo>
                      <a:pt x="55119" y="99783"/>
                      <a:pt x="64842" y="97910"/>
                      <a:pt x="74206" y="102205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894" name="Forma livre: Forma 893">
                <a:extLst>
                  <a:ext uri="{FF2B5EF4-FFF2-40B4-BE49-F238E27FC236}">
                    <a16:creationId xmlns:a16="http://schemas.microsoft.com/office/drawing/2014/main" id="{CB495BD2-40FC-E4C3-35F6-151380DB4296}"/>
                  </a:ext>
                </a:extLst>
              </p:cNvPr>
              <p:cNvSpPr/>
              <p:nvPr/>
            </p:nvSpPr>
            <p:spPr>
              <a:xfrm>
                <a:off x="6417658" y="1174440"/>
                <a:ext cx="86986" cy="61346"/>
              </a:xfrm>
              <a:custGeom>
                <a:avLst/>
                <a:gdLst>
                  <a:gd name="connsiteX0" fmla="*/ 0 w 86986"/>
                  <a:gd name="connsiteY0" fmla="*/ 0 h 61346"/>
                  <a:gd name="connsiteX1" fmla="*/ 53313 w 86986"/>
                  <a:gd name="connsiteY1" fmla="*/ 53301 h 61346"/>
                  <a:gd name="connsiteX2" fmla="*/ 81073 w 86986"/>
                  <a:gd name="connsiteY2" fmla="*/ 55436 h 61346"/>
                  <a:gd name="connsiteX3" fmla="*/ 78937 w 86986"/>
                  <a:gd name="connsiteY3" fmla="*/ 27676 h 61346"/>
                  <a:gd name="connsiteX4" fmla="*/ 67091 w 86986"/>
                  <a:gd name="connsiteY4" fmla="*/ 15830 h 61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6986" h="61346">
                    <a:moveTo>
                      <a:pt x="0" y="0"/>
                    </a:moveTo>
                    <a:lnTo>
                      <a:pt x="53313" y="53301"/>
                    </a:lnTo>
                    <a:cubicBezTo>
                      <a:pt x="62498" y="62475"/>
                      <a:pt x="71887" y="64622"/>
                      <a:pt x="81073" y="55436"/>
                    </a:cubicBezTo>
                    <a:cubicBezTo>
                      <a:pt x="90258" y="46262"/>
                      <a:pt x="88123" y="36874"/>
                      <a:pt x="78937" y="27676"/>
                    </a:cubicBezTo>
                    <a:lnTo>
                      <a:pt x="67091" y="1583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895" name="Gráfico 9">
              <a:extLst>
                <a:ext uri="{FF2B5EF4-FFF2-40B4-BE49-F238E27FC236}">
                  <a16:creationId xmlns:a16="http://schemas.microsoft.com/office/drawing/2014/main" id="{AC2B3C63-C1E8-647D-B2DA-EACA99714E4A}"/>
                </a:ext>
              </a:extLst>
            </p:cNvPr>
            <p:cNvGrpSpPr/>
            <p:nvPr/>
          </p:nvGrpSpPr>
          <p:grpSpPr>
            <a:xfrm>
              <a:off x="6314730" y="1071204"/>
              <a:ext cx="189525" cy="201022"/>
              <a:chOff x="6314730" y="1071204"/>
              <a:chExt cx="189525" cy="201022"/>
            </a:xfrm>
            <a:noFill/>
          </p:grpSpPr>
          <p:sp>
            <p:nvSpPr>
              <p:cNvPr id="896" name="Forma livre: Forma 895">
                <a:extLst>
                  <a:ext uri="{FF2B5EF4-FFF2-40B4-BE49-F238E27FC236}">
                    <a16:creationId xmlns:a16="http://schemas.microsoft.com/office/drawing/2014/main" id="{DCFA2D8C-C64C-3DBC-AC07-5267CA3D5146}"/>
                  </a:ext>
                </a:extLst>
              </p:cNvPr>
              <p:cNvSpPr/>
              <p:nvPr/>
            </p:nvSpPr>
            <p:spPr>
              <a:xfrm>
                <a:off x="6454898" y="1144911"/>
                <a:ext cx="49357" cy="49371"/>
              </a:xfrm>
              <a:custGeom>
                <a:avLst/>
                <a:gdLst>
                  <a:gd name="connsiteX0" fmla="*/ 21548 w 49357"/>
                  <a:gd name="connsiteY0" fmla="*/ 4227 h 49371"/>
                  <a:gd name="connsiteX1" fmla="*/ 42496 w 49357"/>
                  <a:gd name="connsiteY1" fmla="*/ 4418 h 49371"/>
                  <a:gd name="connsiteX2" fmla="*/ 44966 w 49357"/>
                  <a:gd name="connsiteY2" fmla="*/ 6851 h 49371"/>
                  <a:gd name="connsiteX3" fmla="*/ 45133 w 49357"/>
                  <a:gd name="connsiteY3" fmla="*/ 27811 h 49371"/>
                  <a:gd name="connsiteX4" fmla="*/ 27799 w 49357"/>
                  <a:gd name="connsiteY4" fmla="*/ 45133 h 49371"/>
                  <a:gd name="connsiteX5" fmla="*/ 6839 w 49357"/>
                  <a:gd name="connsiteY5" fmla="*/ 44966 h 49371"/>
                  <a:gd name="connsiteX6" fmla="*/ 4405 w 49357"/>
                  <a:gd name="connsiteY6" fmla="*/ 42532 h 49371"/>
                  <a:gd name="connsiteX7" fmla="*/ 4238 w 49357"/>
                  <a:gd name="connsiteY7" fmla="*/ 21560 h 49371"/>
                  <a:gd name="connsiteX8" fmla="*/ 21560 w 49357"/>
                  <a:gd name="connsiteY8" fmla="*/ 4239 h 493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9357" h="49371">
                    <a:moveTo>
                      <a:pt x="21548" y="4227"/>
                    </a:moveTo>
                    <a:cubicBezTo>
                      <a:pt x="27262" y="-1488"/>
                      <a:pt x="36710" y="-1392"/>
                      <a:pt x="42496" y="4418"/>
                    </a:cubicBezTo>
                    <a:lnTo>
                      <a:pt x="44966" y="6851"/>
                    </a:lnTo>
                    <a:cubicBezTo>
                      <a:pt x="50751" y="12661"/>
                      <a:pt x="50835" y="22097"/>
                      <a:pt x="45133" y="27811"/>
                    </a:cubicBezTo>
                    <a:lnTo>
                      <a:pt x="27799" y="45133"/>
                    </a:lnTo>
                    <a:cubicBezTo>
                      <a:pt x="22085" y="50847"/>
                      <a:pt x="12649" y="50775"/>
                      <a:pt x="6839" y="44966"/>
                    </a:cubicBezTo>
                    <a:lnTo>
                      <a:pt x="4405" y="42532"/>
                    </a:lnTo>
                    <a:cubicBezTo>
                      <a:pt x="-1404" y="36723"/>
                      <a:pt x="-1476" y="27286"/>
                      <a:pt x="4238" y="21560"/>
                    </a:cubicBezTo>
                    <a:lnTo>
                      <a:pt x="21560" y="4239"/>
                    </a:ln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897" name="Forma livre: Forma 896">
                <a:extLst>
                  <a:ext uri="{FF2B5EF4-FFF2-40B4-BE49-F238E27FC236}">
                    <a16:creationId xmlns:a16="http://schemas.microsoft.com/office/drawing/2014/main" id="{AED8A056-8023-CE6D-2C55-931949859477}"/>
                  </a:ext>
                </a:extLst>
              </p:cNvPr>
              <p:cNvSpPr/>
              <p:nvPr/>
            </p:nvSpPr>
            <p:spPr>
              <a:xfrm>
                <a:off x="6431314" y="1114913"/>
                <a:ext cx="55784" cy="55780"/>
              </a:xfrm>
              <a:custGeom>
                <a:avLst/>
                <a:gdLst>
                  <a:gd name="connsiteX0" fmla="*/ 28002 w 55784"/>
                  <a:gd name="connsiteY0" fmla="*/ 4234 h 55780"/>
                  <a:gd name="connsiteX1" fmla="*/ 48938 w 55784"/>
                  <a:gd name="connsiteY1" fmla="*/ 4401 h 55780"/>
                  <a:gd name="connsiteX2" fmla="*/ 51384 w 55784"/>
                  <a:gd name="connsiteY2" fmla="*/ 6847 h 55780"/>
                  <a:gd name="connsiteX3" fmla="*/ 51551 w 55784"/>
                  <a:gd name="connsiteY3" fmla="*/ 27783 h 55780"/>
                  <a:gd name="connsiteX4" fmla="*/ 27799 w 55784"/>
                  <a:gd name="connsiteY4" fmla="*/ 51534 h 55780"/>
                  <a:gd name="connsiteX5" fmla="*/ 6851 w 55784"/>
                  <a:gd name="connsiteY5" fmla="*/ 51391 h 55780"/>
                  <a:gd name="connsiteX6" fmla="*/ 4405 w 55784"/>
                  <a:gd name="connsiteY6" fmla="*/ 48946 h 55780"/>
                  <a:gd name="connsiteX7" fmla="*/ 4238 w 55784"/>
                  <a:gd name="connsiteY7" fmla="*/ 27986 h 55780"/>
                  <a:gd name="connsiteX8" fmla="*/ 27990 w 55784"/>
                  <a:gd name="connsiteY8" fmla="*/ 4234 h 557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55784" h="55780">
                    <a:moveTo>
                      <a:pt x="28002" y="4234"/>
                    </a:moveTo>
                    <a:cubicBezTo>
                      <a:pt x="33716" y="-1480"/>
                      <a:pt x="43140" y="-1397"/>
                      <a:pt x="48938" y="4401"/>
                    </a:cubicBezTo>
                    <a:lnTo>
                      <a:pt x="51384" y="6847"/>
                    </a:lnTo>
                    <a:cubicBezTo>
                      <a:pt x="57181" y="12656"/>
                      <a:pt x="57265" y="22080"/>
                      <a:pt x="51551" y="27783"/>
                    </a:cubicBezTo>
                    <a:lnTo>
                      <a:pt x="27799" y="51534"/>
                    </a:lnTo>
                    <a:cubicBezTo>
                      <a:pt x="22085" y="57260"/>
                      <a:pt x="12649" y="57177"/>
                      <a:pt x="6851" y="51391"/>
                    </a:cubicBezTo>
                    <a:lnTo>
                      <a:pt x="4405" y="48946"/>
                    </a:lnTo>
                    <a:cubicBezTo>
                      <a:pt x="-1404" y="43136"/>
                      <a:pt x="-1476" y="33700"/>
                      <a:pt x="4238" y="27986"/>
                    </a:cubicBezTo>
                    <a:lnTo>
                      <a:pt x="27990" y="4234"/>
                    </a:ln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898" name="Forma livre: Forma 897">
                <a:extLst>
                  <a:ext uri="{FF2B5EF4-FFF2-40B4-BE49-F238E27FC236}">
                    <a16:creationId xmlns:a16="http://schemas.microsoft.com/office/drawing/2014/main" id="{CDB4C00E-72E4-639B-97F7-F28BF060BE34}"/>
                  </a:ext>
                </a:extLst>
              </p:cNvPr>
              <p:cNvSpPr/>
              <p:nvPr/>
            </p:nvSpPr>
            <p:spPr>
              <a:xfrm>
                <a:off x="6386319" y="1071204"/>
                <a:ext cx="50222" cy="49589"/>
              </a:xfrm>
              <a:custGeom>
                <a:avLst/>
                <a:gdLst>
                  <a:gd name="connsiteX0" fmla="*/ 0 w 50222"/>
                  <a:gd name="connsiteY0" fmla="*/ 26661 h 49589"/>
                  <a:gd name="connsiteX1" fmla="*/ 22415 w 50222"/>
                  <a:gd name="connsiteY1" fmla="*/ 4234 h 49589"/>
                  <a:gd name="connsiteX2" fmla="*/ 43376 w 50222"/>
                  <a:gd name="connsiteY2" fmla="*/ 4401 h 49589"/>
                  <a:gd name="connsiteX3" fmla="*/ 45821 w 50222"/>
                  <a:gd name="connsiteY3" fmla="*/ 6858 h 49589"/>
                  <a:gd name="connsiteX4" fmla="*/ 45988 w 50222"/>
                  <a:gd name="connsiteY4" fmla="*/ 27819 h 49589"/>
                  <a:gd name="connsiteX5" fmla="*/ 24205 w 50222"/>
                  <a:gd name="connsiteY5" fmla="*/ 49590 h 495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50222" h="49589">
                    <a:moveTo>
                      <a:pt x="0" y="26661"/>
                    </a:moveTo>
                    <a:lnTo>
                      <a:pt x="22415" y="4234"/>
                    </a:lnTo>
                    <a:cubicBezTo>
                      <a:pt x="28130" y="-1480"/>
                      <a:pt x="37578" y="-1397"/>
                      <a:pt x="43376" y="4401"/>
                    </a:cubicBezTo>
                    <a:lnTo>
                      <a:pt x="45821" y="6858"/>
                    </a:lnTo>
                    <a:cubicBezTo>
                      <a:pt x="51619" y="12656"/>
                      <a:pt x="51702" y="22092"/>
                      <a:pt x="45988" y="27819"/>
                    </a:cubicBezTo>
                    <a:lnTo>
                      <a:pt x="24205" y="4959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899" name="Forma livre: Forma 898">
                <a:extLst>
                  <a:ext uri="{FF2B5EF4-FFF2-40B4-BE49-F238E27FC236}">
                    <a16:creationId xmlns:a16="http://schemas.microsoft.com/office/drawing/2014/main" id="{06282BF1-7E61-A859-57BD-F735D3ECDCC1}"/>
                  </a:ext>
                </a:extLst>
              </p:cNvPr>
              <p:cNvSpPr/>
              <p:nvPr/>
            </p:nvSpPr>
            <p:spPr>
              <a:xfrm>
                <a:off x="6412003" y="1085410"/>
                <a:ext cx="57484" cy="57476"/>
              </a:xfrm>
              <a:custGeom>
                <a:avLst/>
                <a:gdLst>
                  <a:gd name="connsiteX0" fmla="*/ 0 w 57484"/>
                  <a:gd name="connsiteY0" fmla="*/ 33928 h 57476"/>
                  <a:gd name="connsiteX1" fmla="*/ 29692 w 57484"/>
                  <a:gd name="connsiteY1" fmla="*/ 4247 h 57476"/>
                  <a:gd name="connsiteX2" fmla="*/ 50629 w 57484"/>
                  <a:gd name="connsiteY2" fmla="*/ 4414 h 57476"/>
                  <a:gd name="connsiteX3" fmla="*/ 53074 w 57484"/>
                  <a:gd name="connsiteY3" fmla="*/ 6836 h 57476"/>
                  <a:gd name="connsiteX4" fmla="*/ 53241 w 57484"/>
                  <a:gd name="connsiteY4" fmla="*/ 27796 h 57476"/>
                  <a:gd name="connsiteX5" fmla="*/ 23561 w 57484"/>
                  <a:gd name="connsiteY5" fmla="*/ 57477 h 574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57484" h="57476">
                    <a:moveTo>
                      <a:pt x="0" y="33928"/>
                    </a:moveTo>
                    <a:lnTo>
                      <a:pt x="29692" y="4247"/>
                    </a:lnTo>
                    <a:cubicBezTo>
                      <a:pt x="35407" y="-1479"/>
                      <a:pt x="44819" y="-1407"/>
                      <a:pt x="50629" y="4414"/>
                    </a:cubicBezTo>
                    <a:lnTo>
                      <a:pt x="53074" y="6836"/>
                    </a:lnTo>
                    <a:cubicBezTo>
                      <a:pt x="58884" y="12658"/>
                      <a:pt x="58967" y="22082"/>
                      <a:pt x="53241" y="27796"/>
                    </a:cubicBezTo>
                    <a:lnTo>
                      <a:pt x="23561" y="57477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00" name="Forma livre: Forma 899">
                <a:extLst>
                  <a:ext uri="{FF2B5EF4-FFF2-40B4-BE49-F238E27FC236}">
                    <a16:creationId xmlns:a16="http://schemas.microsoft.com/office/drawing/2014/main" id="{47AC8237-A539-FC19-E708-355EF6764D7D}"/>
                  </a:ext>
                </a:extLst>
              </p:cNvPr>
              <p:cNvSpPr/>
              <p:nvPr/>
            </p:nvSpPr>
            <p:spPr>
              <a:xfrm>
                <a:off x="6377300" y="1135144"/>
                <a:ext cx="12770" cy="51439"/>
              </a:xfrm>
              <a:custGeom>
                <a:avLst/>
                <a:gdLst>
                  <a:gd name="connsiteX0" fmla="*/ 8410 w 12770"/>
                  <a:gd name="connsiteY0" fmla="*/ 51440 h 51439"/>
                  <a:gd name="connsiteX1" fmla="*/ 0 w 12770"/>
                  <a:gd name="connsiteY1" fmla="*/ 0 h 514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770" h="51439">
                    <a:moveTo>
                      <a:pt x="8410" y="51440"/>
                    </a:moveTo>
                    <a:cubicBezTo>
                      <a:pt x="8410" y="51440"/>
                      <a:pt x="22511" y="22511"/>
                      <a:pt x="0" y="0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01" name="Forma livre: Forma 900">
                <a:extLst>
                  <a:ext uri="{FF2B5EF4-FFF2-40B4-BE49-F238E27FC236}">
                    <a16:creationId xmlns:a16="http://schemas.microsoft.com/office/drawing/2014/main" id="{4D78F65B-CCDF-0FFA-41C4-DA873DF52E0E}"/>
                  </a:ext>
                </a:extLst>
              </p:cNvPr>
              <p:cNvSpPr/>
              <p:nvPr/>
            </p:nvSpPr>
            <p:spPr>
              <a:xfrm>
                <a:off x="6364727" y="1214654"/>
                <a:ext cx="92632" cy="57571"/>
              </a:xfrm>
              <a:custGeom>
                <a:avLst/>
                <a:gdLst>
                  <a:gd name="connsiteX0" fmla="*/ 0 w 92632"/>
                  <a:gd name="connsiteY0" fmla="*/ 57572 h 57571"/>
                  <a:gd name="connsiteX1" fmla="*/ 15604 w 92632"/>
                  <a:gd name="connsiteY1" fmla="*/ 41956 h 57571"/>
                  <a:gd name="connsiteX2" fmla="*/ 42278 w 92632"/>
                  <a:gd name="connsiteY2" fmla="*/ 38640 h 57571"/>
                  <a:gd name="connsiteX3" fmla="*/ 92632 w 92632"/>
                  <a:gd name="connsiteY3" fmla="*/ 0 h 575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2632" h="57571">
                    <a:moveTo>
                      <a:pt x="0" y="57572"/>
                    </a:moveTo>
                    <a:lnTo>
                      <a:pt x="15604" y="41956"/>
                    </a:lnTo>
                    <a:cubicBezTo>
                      <a:pt x="15604" y="41956"/>
                      <a:pt x="27342" y="45356"/>
                      <a:pt x="42278" y="38640"/>
                    </a:cubicBezTo>
                    <a:cubicBezTo>
                      <a:pt x="54935" y="32973"/>
                      <a:pt x="72543" y="18765"/>
                      <a:pt x="92632" y="0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02" name="Forma livre: Forma 901">
                <a:extLst>
                  <a:ext uri="{FF2B5EF4-FFF2-40B4-BE49-F238E27FC236}">
                    <a16:creationId xmlns:a16="http://schemas.microsoft.com/office/drawing/2014/main" id="{51140713-F24B-572D-B407-FA57B84DC1ED}"/>
                  </a:ext>
                </a:extLst>
              </p:cNvPr>
              <p:cNvSpPr/>
              <p:nvPr/>
            </p:nvSpPr>
            <p:spPr>
              <a:xfrm>
                <a:off x="6314730" y="1088043"/>
                <a:ext cx="115656" cy="103694"/>
              </a:xfrm>
              <a:custGeom>
                <a:avLst/>
                <a:gdLst>
                  <a:gd name="connsiteX0" fmla="*/ 53492 w 115656"/>
                  <a:gd name="connsiteY0" fmla="*/ 37940 h 103694"/>
                  <a:gd name="connsiteX1" fmla="*/ 76301 w 115656"/>
                  <a:gd name="connsiteY1" fmla="*/ 60749 h 103694"/>
                  <a:gd name="connsiteX2" fmla="*/ 115656 w 115656"/>
                  <a:gd name="connsiteY2" fmla="*/ 56025 h 103694"/>
                  <a:gd name="connsiteX3" fmla="*/ 66590 w 115656"/>
                  <a:gd name="connsiteY3" fmla="*/ 6959 h 103694"/>
                  <a:gd name="connsiteX4" fmla="*/ 48768 w 115656"/>
                  <a:gd name="connsiteY4" fmla="*/ 40 h 103694"/>
                  <a:gd name="connsiteX5" fmla="*/ 14363 w 115656"/>
                  <a:gd name="connsiteY5" fmla="*/ 36961 h 103694"/>
                  <a:gd name="connsiteX6" fmla="*/ 4939 w 115656"/>
                  <a:gd name="connsiteY6" fmla="*/ 88831 h 103694"/>
                  <a:gd name="connsiteX7" fmla="*/ 0 w 115656"/>
                  <a:gd name="connsiteY7" fmla="*/ 103695 h 1036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15656" h="103694">
                    <a:moveTo>
                      <a:pt x="53492" y="37940"/>
                    </a:moveTo>
                    <a:lnTo>
                      <a:pt x="76301" y="60749"/>
                    </a:lnTo>
                    <a:cubicBezTo>
                      <a:pt x="93622" y="78046"/>
                      <a:pt x="115656" y="56025"/>
                      <a:pt x="115656" y="56025"/>
                    </a:cubicBezTo>
                    <a:cubicBezTo>
                      <a:pt x="115656" y="56025"/>
                      <a:pt x="71290" y="11659"/>
                      <a:pt x="66590" y="6959"/>
                    </a:cubicBezTo>
                    <a:cubicBezTo>
                      <a:pt x="58681" y="-950"/>
                      <a:pt x="48768" y="40"/>
                      <a:pt x="48768" y="40"/>
                    </a:cubicBezTo>
                    <a:cubicBezTo>
                      <a:pt x="23537" y="14391"/>
                      <a:pt x="14363" y="36961"/>
                      <a:pt x="14363" y="36961"/>
                    </a:cubicBezTo>
                    <a:cubicBezTo>
                      <a:pt x="9901" y="45372"/>
                      <a:pt x="4939" y="88831"/>
                      <a:pt x="4939" y="88831"/>
                    </a:cubicBezTo>
                    <a:cubicBezTo>
                      <a:pt x="4211" y="97992"/>
                      <a:pt x="0" y="103695"/>
                      <a:pt x="0" y="103695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903" name="Forma livre: Forma 902">
              <a:extLst>
                <a:ext uri="{FF2B5EF4-FFF2-40B4-BE49-F238E27FC236}">
                  <a16:creationId xmlns:a16="http://schemas.microsoft.com/office/drawing/2014/main" id="{511E742E-2544-96CA-4BB1-DD636539D5DD}"/>
                </a:ext>
              </a:extLst>
            </p:cNvPr>
            <p:cNvSpPr/>
            <p:nvPr/>
          </p:nvSpPr>
          <p:spPr>
            <a:xfrm>
              <a:off x="6258352" y="1195663"/>
              <a:ext cx="117886" cy="117886"/>
            </a:xfrm>
            <a:custGeom>
              <a:avLst/>
              <a:gdLst>
                <a:gd name="connsiteX0" fmla="*/ 0 w 117886"/>
                <a:gd name="connsiteY0" fmla="*/ 28416 h 117886"/>
                <a:gd name="connsiteX1" fmla="*/ 28416 w 117886"/>
                <a:gd name="connsiteY1" fmla="*/ 0 h 117886"/>
                <a:gd name="connsiteX2" fmla="*/ 117887 w 117886"/>
                <a:gd name="connsiteY2" fmla="*/ 89471 h 117886"/>
                <a:gd name="connsiteX3" fmla="*/ 89471 w 117886"/>
                <a:gd name="connsiteY3" fmla="*/ 117887 h 1178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7886" h="117886">
                  <a:moveTo>
                    <a:pt x="0" y="28416"/>
                  </a:moveTo>
                  <a:lnTo>
                    <a:pt x="28416" y="0"/>
                  </a:lnTo>
                  <a:lnTo>
                    <a:pt x="117887" y="89471"/>
                  </a:lnTo>
                  <a:lnTo>
                    <a:pt x="89471" y="117887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904" name="Gráfico 9">
            <a:extLst>
              <a:ext uri="{FF2B5EF4-FFF2-40B4-BE49-F238E27FC236}">
                <a16:creationId xmlns:a16="http://schemas.microsoft.com/office/drawing/2014/main" id="{B55FEC2D-6BD1-C29B-F45C-CA319F0EE11C}"/>
              </a:ext>
            </a:extLst>
          </p:cNvPr>
          <p:cNvGrpSpPr/>
          <p:nvPr/>
        </p:nvGrpSpPr>
        <p:grpSpPr>
          <a:xfrm>
            <a:off x="7506627" y="1022149"/>
            <a:ext cx="285221" cy="256292"/>
            <a:chOff x="7506627" y="1022149"/>
            <a:chExt cx="285221" cy="256292"/>
          </a:xfrm>
          <a:noFill/>
        </p:grpSpPr>
        <p:sp>
          <p:nvSpPr>
            <p:cNvPr id="905" name="Forma livre: Forma 904">
              <a:extLst>
                <a:ext uri="{FF2B5EF4-FFF2-40B4-BE49-F238E27FC236}">
                  <a16:creationId xmlns:a16="http://schemas.microsoft.com/office/drawing/2014/main" id="{4EFA2B6D-E987-472D-3E15-F90F8AC91DCE}"/>
                </a:ext>
              </a:extLst>
            </p:cNvPr>
            <p:cNvSpPr/>
            <p:nvPr/>
          </p:nvSpPr>
          <p:spPr>
            <a:xfrm>
              <a:off x="7736979" y="1212793"/>
              <a:ext cx="45978" cy="65647"/>
            </a:xfrm>
            <a:custGeom>
              <a:avLst/>
              <a:gdLst>
                <a:gd name="connsiteX0" fmla="*/ 37990 w 45978"/>
                <a:gd name="connsiteY0" fmla="*/ 22559 h 65647"/>
                <a:gd name="connsiteX1" fmla="*/ 23006 w 45978"/>
                <a:gd name="connsiteY1" fmla="*/ 0 h 65647"/>
                <a:gd name="connsiteX2" fmla="*/ 8023 w 45978"/>
                <a:gd name="connsiteY2" fmla="*/ 22559 h 65647"/>
                <a:gd name="connsiteX3" fmla="*/ 23006 w 45978"/>
                <a:gd name="connsiteY3" fmla="*/ 65648 h 65647"/>
                <a:gd name="connsiteX4" fmla="*/ 37990 w 45978"/>
                <a:gd name="connsiteY4" fmla="*/ 22559 h 65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5978" h="65647">
                  <a:moveTo>
                    <a:pt x="37990" y="22559"/>
                  </a:moveTo>
                  <a:cubicBezTo>
                    <a:pt x="24390" y="6573"/>
                    <a:pt x="23126" y="799"/>
                    <a:pt x="23006" y="0"/>
                  </a:cubicBezTo>
                  <a:cubicBezTo>
                    <a:pt x="22899" y="787"/>
                    <a:pt x="21623" y="6573"/>
                    <a:pt x="8023" y="22559"/>
                  </a:cubicBezTo>
                  <a:cubicBezTo>
                    <a:pt x="-7867" y="41216"/>
                    <a:pt x="1259" y="65588"/>
                    <a:pt x="23006" y="65648"/>
                  </a:cubicBezTo>
                  <a:cubicBezTo>
                    <a:pt x="44611" y="65588"/>
                    <a:pt x="53880" y="41216"/>
                    <a:pt x="37990" y="22559"/>
                  </a:cubicBez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06" name="Forma livre: Forma 905">
              <a:extLst>
                <a:ext uri="{FF2B5EF4-FFF2-40B4-BE49-F238E27FC236}">
                  <a16:creationId xmlns:a16="http://schemas.microsoft.com/office/drawing/2014/main" id="{E1EB8014-C9C1-4F3B-AC10-CA6390BD6B51}"/>
                </a:ext>
              </a:extLst>
            </p:cNvPr>
            <p:cNvSpPr/>
            <p:nvPr/>
          </p:nvSpPr>
          <p:spPr>
            <a:xfrm>
              <a:off x="7520668" y="1089586"/>
              <a:ext cx="271180" cy="134671"/>
            </a:xfrm>
            <a:custGeom>
              <a:avLst/>
              <a:gdLst>
                <a:gd name="connsiteX0" fmla="*/ 0 w 271180"/>
                <a:gd name="connsiteY0" fmla="*/ 114976 h 134671"/>
                <a:gd name="connsiteX1" fmla="*/ 0 w 271180"/>
                <a:gd name="connsiteY1" fmla="*/ 0 h 134671"/>
                <a:gd name="connsiteX2" fmla="*/ 74667 w 271180"/>
                <a:gd name="connsiteY2" fmla="*/ 0 h 134671"/>
                <a:gd name="connsiteX3" fmla="*/ 100410 w 271180"/>
                <a:gd name="connsiteY3" fmla="*/ 24193 h 134671"/>
                <a:gd name="connsiteX4" fmla="*/ 233794 w 271180"/>
                <a:gd name="connsiteY4" fmla="*/ 24193 h 134671"/>
                <a:gd name="connsiteX5" fmla="*/ 271181 w 271180"/>
                <a:gd name="connsiteY5" fmla="*/ 59385 h 134671"/>
                <a:gd name="connsiteX6" fmla="*/ 123876 w 271180"/>
                <a:gd name="connsiteY6" fmla="*/ 75513 h 134671"/>
                <a:gd name="connsiteX7" fmla="*/ 74762 w 271180"/>
                <a:gd name="connsiteY7" fmla="*/ 128289 h 134671"/>
                <a:gd name="connsiteX8" fmla="*/ 74762 w 271180"/>
                <a:gd name="connsiteY8" fmla="*/ 134672 h 1346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71180" h="134671">
                  <a:moveTo>
                    <a:pt x="0" y="114976"/>
                  </a:moveTo>
                  <a:lnTo>
                    <a:pt x="0" y="0"/>
                  </a:lnTo>
                  <a:lnTo>
                    <a:pt x="74667" y="0"/>
                  </a:lnTo>
                  <a:cubicBezTo>
                    <a:pt x="74667" y="0"/>
                    <a:pt x="76217" y="24193"/>
                    <a:pt x="100410" y="24193"/>
                  </a:cubicBezTo>
                  <a:lnTo>
                    <a:pt x="233794" y="24193"/>
                  </a:lnTo>
                  <a:cubicBezTo>
                    <a:pt x="238732" y="24193"/>
                    <a:pt x="258714" y="24933"/>
                    <a:pt x="271181" y="59385"/>
                  </a:cubicBezTo>
                  <a:lnTo>
                    <a:pt x="123876" y="75513"/>
                  </a:lnTo>
                  <a:cubicBezTo>
                    <a:pt x="123876" y="75513"/>
                    <a:pt x="74762" y="82110"/>
                    <a:pt x="74762" y="128289"/>
                  </a:cubicBezTo>
                  <a:lnTo>
                    <a:pt x="74762" y="134672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07" name="Forma livre: Forma 906">
              <a:extLst>
                <a:ext uri="{FF2B5EF4-FFF2-40B4-BE49-F238E27FC236}">
                  <a16:creationId xmlns:a16="http://schemas.microsoft.com/office/drawing/2014/main" id="{9A0715C4-1EF2-4340-CFC5-9CF63F14AD74}"/>
                </a:ext>
              </a:extLst>
            </p:cNvPr>
            <p:cNvSpPr/>
            <p:nvPr/>
          </p:nvSpPr>
          <p:spPr>
            <a:xfrm>
              <a:off x="7520823" y="1022149"/>
              <a:ext cx="74511" cy="67079"/>
            </a:xfrm>
            <a:custGeom>
              <a:avLst/>
              <a:gdLst>
                <a:gd name="connsiteX0" fmla="*/ 0 w 74511"/>
                <a:gd name="connsiteY0" fmla="*/ 46728 h 67079"/>
                <a:gd name="connsiteX1" fmla="*/ 0 w 74511"/>
                <a:gd name="connsiteY1" fmla="*/ 17596 h 67079"/>
                <a:gd name="connsiteX2" fmla="*/ 17584 w 74511"/>
                <a:gd name="connsiteY2" fmla="*/ 0 h 67079"/>
                <a:gd name="connsiteX3" fmla="*/ 56880 w 74511"/>
                <a:gd name="connsiteY3" fmla="*/ 0 h 67079"/>
                <a:gd name="connsiteX4" fmla="*/ 74512 w 74511"/>
                <a:gd name="connsiteY4" fmla="*/ 17596 h 67079"/>
                <a:gd name="connsiteX5" fmla="*/ 74512 w 74511"/>
                <a:gd name="connsiteY5" fmla="*/ 67079 h 670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4511" h="67079">
                  <a:moveTo>
                    <a:pt x="0" y="46728"/>
                  </a:moveTo>
                  <a:lnTo>
                    <a:pt x="0" y="17596"/>
                  </a:lnTo>
                  <a:cubicBezTo>
                    <a:pt x="0" y="7921"/>
                    <a:pt x="7909" y="0"/>
                    <a:pt x="17584" y="0"/>
                  </a:cubicBezTo>
                  <a:lnTo>
                    <a:pt x="56880" y="0"/>
                  </a:lnTo>
                  <a:cubicBezTo>
                    <a:pt x="66555" y="0"/>
                    <a:pt x="74512" y="7921"/>
                    <a:pt x="74512" y="17596"/>
                  </a:cubicBezTo>
                  <a:lnTo>
                    <a:pt x="74512" y="67079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08" name="Forma livre: Forma 907">
              <a:extLst>
                <a:ext uri="{FF2B5EF4-FFF2-40B4-BE49-F238E27FC236}">
                  <a16:creationId xmlns:a16="http://schemas.microsoft.com/office/drawing/2014/main" id="{D0247F03-D372-3142-97D9-780E0509D7C4}"/>
                </a:ext>
              </a:extLst>
            </p:cNvPr>
            <p:cNvSpPr/>
            <p:nvPr/>
          </p:nvSpPr>
          <p:spPr>
            <a:xfrm>
              <a:off x="7596372" y="1037907"/>
              <a:ext cx="96521" cy="17452"/>
            </a:xfrm>
            <a:custGeom>
              <a:avLst/>
              <a:gdLst>
                <a:gd name="connsiteX0" fmla="*/ 0 w 96521"/>
                <a:gd name="connsiteY0" fmla="*/ 17453 h 17452"/>
                <a:gd name="connsiteX1" fmla="*/ 96521 w 96521"/>
                <a:gd name="connsiteY1" fmla="*/ 0 h 174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6521" h="17452">
                  <a:moveTo>
                    <a:pt x="0" y="17453"/>
                  </a:moveTo>
                  <a:lnTo>
                    <a:pt x="96521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09" name="Forma livre: Forma 908">
              <a:extLst>
                <a:ext uri="{FF2B5EF4-FFF2-40B4-BE49-F238E27FC236}">
                  <a16:creationId xmlns:a16="http://schemas.microsoft.com/office/drawing/2014/main" id="{7DC9E203-991D-DB73-BF4D-C8A2DC48FA72}"/>
                </a:ext>
              </a:extLst>
            </p:cNvPr>
            <p:cNvSpPr/>
            <p:nvPr/>
          </p:nvSpPr>
          <p:spPr>
            <a:xfrm>
              <a:off x="7718661" y="1151285"/>
              <a:ext cx="63774" cy="30742"/>
            </a:xfrm>
            <a:custGeom>
              <a:avLst/>
              <a:gdLst>
                <a:gd name="connsiteX0" fmla="*/ 0 w 63774"/>
                <a:gd name="connsiteY0" fmla="*/ 6967 h 30742"/>
                <a:gd name="connsiteX1" fmla="*/ 2851 w 63774"/>
                <a:gd name="connsiteY1" fmla="*/ 30742 h 30742"/>
                <a:gd name="connsiteX2" fmla="*/ 63775 w 63774"/>
                <a:gd name="connsiteY2" fmla="*/ 24002 h 30742"/>
                <a:gd name="connsiteX3" fmla="*/ 60840 w 63774"/>
                <a:gd name="connsiteY3" fmla="*/ 0 h 307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3774" h="30742">
                  <a:moveTo>
                    <a:pt x="0" y="6967"/>
                  </a:moveTo>
                  <a:lnTo>
                    <a:pt x="2851" y="30742"/>
                  </a:lnTo>
                  <a:lnTo>
                    <a:pt x="63775" y="24002"/>
                  </a:lnTo>
                  <a:lnTo>
                    <a:pt x="60840" y="0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10" name="Forma livre: Forma 909">
              <a:extLst>
                <a:ext uri="{FF2B5EF4-FFF2-40B4-BE49-F238E27FC236}">
                  <a16:creationId xmlns:a16="http://schemas.microsoft.com/office/drawing/2014/main" id="{E6BB7427-8538-8256-8270-D9016671C8D4}"/>
                </a:ext>
              </a:extLst>
            </p:cNvPr>
            <p:cNvSpPr/>
            <p:nvPr/>
          </p:nvSpPr>
          <p:spPr>
            <a:xfrm>
              <a:off x="7506627" y="1225355"/>
              <a:ext cx="104156" cy="26244"/>
            </a:xfrm>
            <a:custGeom>
              <a:avLst/>
              <a:gdLst>
                <a:gd name="connsiteX0" fmla="*/ 104156 w 104156"/>
                <a:gd name="connsiteY0" fmla="*/ 26245 h 26244"/>
                <a:gd name="connsiteX1" fmla="*/ 0 w 104156"/>
                <a:gd name="connsiteY1" fmla="*/ 26245 h 26244"/>
                <a:gd name="connsiteX2" fmla="*/ 4760 w 104156"/>
                <a:gd name="connsiteY2" fmla="*/ 0 h 26244"/>
                <a:gd name="connsiteX3" fmla="*/ 99396 w 104156"/>
                <a:gd name="connsiteY3" fmla="*/ 0 h 26244"/>
                <a:gd name="connsiteX4" fmla="*/ 104156 w 104156"/>
                <a:gd name="connsiteY4" fmla="*/ 26245 h 262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4156" h="26244">
                  <a:moveTo>
                    <a:pt x="104156" y="26245"/>
                  </a:moveTo>
                  <a:lnTo>
                    <a:pt x="0" y="26245"/>
                  </a:lnTo>
                  <a:lnTo>
                    <a:pt x="4760" y="0"/>
                  </a:lnTo>
                  <a:lnTo>
                    <a:pt x="99396" y="0"/>
                  </a:lnTo>
                  <a:lnTo>
                    <a:pt x="104156" y="26245"/>
                  </a:ln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911" name="Gráfico 9">
            <a:extLst>
              <a:ext uri="{FF2B5EF4-FFF2-40B4-BE49-F238E27FC236}">
                <a16:creationId xmlns:a16="http://schemas.microsoft.com/office/drawing/2014/main" id="{684C84E3-8928-154F-58B1-456A1966983D}"/>
              </a:ext>
            </a:extLst>
          </p:cNvPr>
          <p:cNvGrpSpPr/>
          <p:nvPr/>
        </p:nvGrpSpPr>
        <p:grpSpPr>
          <a:xfrm>
            <a:off x="6869832" y="1526180"/>
            <a:ext cx="289862" cy="311847"/>
            <a:chOff x="6869832" y="1526180"/>
            <a:chExt cx="289862" cy="311847"/>
          </a:xfrm>
          <a:noFill/>
        </p:grpSpPr>
        <p:sp>
          <p:nvSpPr>
            <p:cNvPr id="912" name="Forma livre: Forma 911">
              <a:extLst>
                <a:ext uri="{FF2B5EF4-FFF2-40B4-BE49-F238E27FC236}">
                  <a16:creationId xmlns:a16="http://schemas.microsoft.com/office/drawing/2014/main" id="{FC28865F-A6CA-7E4D-38C4-4345B5E5A99B}"/>
                </a:ext>
              </a:extLst>
            </p:cNvPr>
            <p:cNvSpPr/>
            <p:nvPr/>
          </p:nvSpPr>
          <p:spPr>
            <a:xfrm>
              <a:off x="6869832" y="1526180"/>
              <a:ext cx="106208" cy="311669"/>
            </a:xfrm>
            <a:custGeom>
              <a:avLst/>
              <a:gdLst>
                <a:gd name="connsiteX0" fmla="*/ 106208 w 106208"/>
                <a:gd name="connsiteY0" fmla="*/ 311669 h 311669"/>
                <a:gd name="connsiteX1" fmla="*/ 106208 w 106208"/>
                <a:gd name="connsiteY1" fmla="*/ 248407 h 311669"/>
                <a:gd name="connsiteX2" fmla="*/ 87956 w 106208"/>
                <a:gd name="connsiteY2" fmla="*/ 226278 h 311669"/>
                <a:gd name="connsiteX3" fmla="*/ 25446 w 106208"/>
                <a:gd name="connsiteY3" fmla="*/ 226278 h 311669"/>
                <a:gd name="connsiteX4" fmla="*/ 0 w 106208"/>
                <a:gd name="connsiteY4" fmla="*/ 186434 h 311669"/>
                <a:gd name="connsiteX5" fmla="*/ 0 w 106208"/>
                <a:gd name="connsiteY5" fmla="*/ 25088 h 311669"/>
                <a:gd name="connsiteX6" fmla="*/ 25088 w 106208"/>
                <a:gd name="connsiteY6" fmla="*/ 0 h 311669"/>
                <a:gd name="connsiteX7" fmla="*/ 51249 w 106208"/>
                <a:gd name="connsiteY7" fmla="*/ 0 h 311669"/>
                <a:gd name="connsiteX8" fmla="*/ 76337 w 106208"/>
                <a:gd name="connsiteY8" fmla="*/ 25088 h 311669"/>
                <a:gd name="connsiteX9" fmla="*/ 76337 w 106208"/>
                <a:gd name="connsiteY9" fmla="*/ 185336 h 3116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06208" h="311669">
                  <a:moveTo>
                    <a:pt x="106208" y="311669"/>
                  </a:moveTo>
                  <a:lnTo>
                    <a:pt x="106208" y="248407"/>
                  </a:lnTo>
                  <a:cubicBezTo>
                    <a:pt x="106208" y="229594"/>
                    <a:pt x="96796" y="226278"/>
                    <a:pt x="87956" y="226278"/>
                  </a:cubicBezTo>
                  <a:lnTo>
                    <a:pt x="25446" y="226278"/>
                  </a:lnTo>
                  <a:cubicBezTo>
                    <a:pt x="799" y="226278"/>
                    <a:pt x="0" y="186434"/>
                    <a:pt x="0" y="186434"/>
                  </a:cubicBezTo>
                  <a:lnTo>
                    <a:pt x="0" y="25088"/>
                  </a:lnTo>
                  <a:cubicBezTo>
                    <a:pt x="0" y="11285"/>
                    <a:pt x="11285" y="0"/>
                    <a:pt x="25088" y="0"/>
                  </a:cubicBezTo>
                  <a:lnTo>
                    <a:pt x="51249" y="0"/>
                  </a:lnTo>
                  <a:cubicBezTo>
                    <a:pt x="65051" y="0"/>
                    <a:pt x="76337" y="11285"/>
                    <a:pt x="76337" y="25088"/>
                  </a:cubicBezTo>
                  <a:lnTo>
                    <a:pt x="76337" y="185336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13" name="Forma livre: Forma 912">
              <a:extLst>
                <a:ext uri="{FF2B5EF4-FFF2-40B4-BE49-F238E27FC236}">
                  <a16:creationId xmlns:a16="http://schemas.microsoft.com/office/drawing/2014/main" id="{F7B9C79E-9AAF-25CB-B170-1B7295140779}"/>
                </a:ext>
              </a:extLst>
            </p:cNvPr>
            <p:cNvSpPr/>
            <p:nvPr/>
          </p:nvSpPr>
          <p:spPr>
            <a:xfrm>
              <a:off x="7057900" y="1821935"/>
              <a:ext cx="1192" cy="16092"/>
            </a:xfrm>
            <a:custGeom>
              <a:avLst/>
              <a:gdLst>
                <a:gd name="connsiteX0" fmla="*/ 0 w 1192"/>
                <a:gd name="connsiteY0" fmla="*/ 16093 h 16092"/>
                <a:gd name="connsiteX1" fmla="*/ 0 w 1192"/>
                <a:gd name="connsiteY1" fmla="*/ 0 h 160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92" h="16092">
                  <a:moveTo>
                    <a:pt x="0" y="16093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14" name="Forma livre: Forma 913">
              <a:extLst>
                <a:ext uri="{FF2B5EF4-FFF2-40B4-BE49-F238E27FC236}">
                  <a16:creationId xmlns:a16="http://schemas.microsoft.com/office/drawing/2014/main" id="{EAD0D216-FE07-271F-A53D-10735F316377}"/>
                </a:ext>
              </a:extLst>
            </p:cNvPr>
            <p:cNvSpPr/>
            <p:nvPr/>
          </p:nvSpPr>
          <p:spPr>
            <a:xfrm>
              <a:off x="7057900" y="1808395"/>
              <a:ext cx="1192" cy="19110"/>
            </a:xfrm>
            <a:custGeom>
              <a:avLst/>
              <a:gdLst>
                <a:gd name="connsiteX0" fmla="*/ 0 w 1192"/>
                <a:gd name="connsiteY0" fmla="*/ 19111 h 19110"/>
                <a:gd name="connsiteX1" fmla="*/ 0 w 1192"/>
                <a:gd name="connsiteY1" fmla="*/ 0 h 191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92" h="19110">
                  <a:moveTo>
                    <a:pt x="0" y="19111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15" name="Forma livre: Forma 914">
              <a:extLst>
                <a:ext uri="{FF2B5EF4-FFF2-40B4-BE49-F238E27FC236}">
                  <a16:creationId xmlns:a16="http://schemas.microsoft.com/office/drawing/2014/main" id="{CF737897-622D-06DB-60EA-7833F6A04023}"/>
                </a:ext>
              </a:extLst>
            </p:cNvPr>
            <p:cNvSpPr/>
            <p:nvPr/>
          </p:nvSpPr>
          <p:spPr>
            <a:xfrm>
              <a:off x="7028435" y="1715393"/>
              <a:ext cx="117540" cy="73246"/>
            </a:xfrm>
            <a:custGeom>
              <a:avLst/>
              <a:gdLst>
                <a:gd name="connsiteX0" fmla="*/ 0 w 117540"/>
                <a:gd name="connsiteY0" fmla="*/ 73247 h 73246"/>
                <a:gd name="connsiteX1" fmla="*/ 36421 w 117540"/>
                <a:gd name="connsiteY1" fmla="*/ 73247 h 73246"/>
                <a:gd name="connsiteX2" fmla="*/ 117541 w 117540"/>
                <a:gd name="connsiteY2" fmla="*/ 0 h 73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17540" h="73246">
                  <a:moveTo>
                    <a:pt x="0" y="73247"/>
                  </a:moveTo>
                  <a:lnTo>
                    <a:pt x="36421" y="73247"/>
                  </a:lnTo>
                  <a:cubicBezTo>
                    <a:pt x="78472" y="73247"/>
                    <a:pt x="113342" y="40990"/>
                    <a:pt x="117541" y="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16" name="Forma livre: Forma 915">
              <a:extLst>
                <a:ext uri="{FF2B5EF4-FFF2-40B4-BE49-F238E27FC236}">
                  <a16:creationId xmlns:a16="http://schemas.microsoft.com/office/drawing/2014/main" id="{6BACB858-EC54-5877-C003-1FC895006AC2}"/>
                </a:ext>
              </a:extLst>
            </p:cNvPr>
            <p:cNvSpPr/>
            <p:nvPr/>
          </p:nvSpPr>
          <p:spPr>
            <a:xfrm>
              <a:off x="6877563" y="1685403"/>
              <a:ext cx="282131" cy="28404"/>
            </a:xfrm>
            <a:custGeom>
              <a:avLst/>
              <a:gdLst>
                <a:gd name="connsiteX0" fmla="*/ 99647 w 282131"/>
                <a:gd name="connsiteY0" fmla="*/ 0 h 28404"/>
                <a:gd name="connsiteX1" fmla="*/ 269582 w 282131"/>
                <a:gd name="connsiteY1" fmla="*/ 0 h 28404"/>
                <a:gd name="connsiteX2" fmla="*/ 282132 w 282131"/>
                <a:gd name="connsiteY2" fmla="*/ 12550 h 28404"/>
                <a:gd name="connsiteX3" fmla="*/ 282132 w 282131"/>
                <a:gd name="connsiteY3" fmla="*/ 15854 h 28404"/>
                <a:gd name="connsiteX4" fmla="*/ 269582 w 282131"/>
                <a:gd name="connsiteY4" fmla="*/ 28404 h 28404"/>
                <a:gd name="connsiteX5" fmla="*/ 0 w 282131"/>
                <a:gd name="connsiteY5" fmla="*/ 28404 h 284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82131" h="28404">
                  <a:moveTo>
                    <a:pt x="99647" y="0"/>
                  </a:moveTo>
                  <a:lnTo>
                    <a:pt x="269582" y="0"/>
                  </a:lnTo>
                  <a:cubicBezTo>
                    <a:pt x="276489" y="0"/>
                    <a:pt x="282132" y="5643"/>
                    <a:pt x="282132" y="12550"/>
                  </a:cubicBezTo>
                  <a:lnTo>
                    <a:pt x="282132" y="15854"/>
                  </a:lnTo>
                  <a:cubicBezTo>
                    <a:pt x="282132" y="22738"/>
                    <a:pt x="276489" y="28404"/>
                    <a:pt x="269582" y="28404"/>
                  </a:cubicBezTo>
                  <a:lnTo>
                    <a:pt x="0" y="28404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917" name="Gráfico 9">
            <a:extLst>
              <a:ext uri="{FF2B5EF4-FFF2-40B4-BE49-F238E27FC236}">
                <a16:creationId xmlns:a16="http://schemas.microsoft.com/office/drawing/2014/main" id="{0C941445-B720-AF40-95F6-E5628C575C9E}"/>
              </a:ext>
            </a:extLst>
          </p:cNvPr>
          <p:cNvGrpSpPr/>
          <p:nvPr/>
        </p:nvGrpSpPr>
        <p:grpSpPr>
          <a:xfrm>
            <a:off x="6267382" y="1522279"/>
            <a:ext cx="225777" cy="319655"/>
            <a:chOff x="6267382" y="1522279"/>
            <a:chExt cx="225777" cy="319655"/>
          </a:xfrm>
          <a:noFill/>
        </p:grpSpPr>
        <p:grpSp>
          <p:nvGrpSpPr>
            <p:cNvPr id="918" name="Gráfico 9">
              <a:extLst>
                <a:ext uri="{FF2B5EF4-FFF2-40B4-BE49-F238E27FC236}">
                  <a16:creationId xmlns:a16="http://schemas.microsoft.com/office/drawing/2014/main" id="{2A5BE8B5-B42D-025E-17FC-EF7B5B90BAE3}"/>
                </a:ext>
              </a:extLst>
            </p:cNvPr>
            <p:cNvGrpSpPr/>
            <p:nvPr/>
          </p:nvGrpSpPr>
          <p:grpSpPr>
            <a:xfrm>
              <a:off x="6273924" y="1633152"/>
              <a:ext cx="123091" cy="112506"/>
              <a:chOff x="6273924" y="1633152"/>
              <a:chExt cx="123091" cy="112506"/>
            </a:xfrm>
            <a:noFill/>
          </p:grpSpPr>
          <p:sp>
            <p:nvSpPr>
              <p:cNvPr id="919" name="Forma livre: Forma 918">
                <a:extLst>
                  <a:ext uri="{FF2B5EF4-FFF2-40B4-BE49-F238E27FC236}">
                    <a16:creationId xmlns:a16="http://schemas.microsoft.com/office/drawing/2014/main" id="{E227EC6E-0E9B-2582-E763-539003DE6420}"/>
                  </a:ext>
                </a:extLst>
              </p:cNvPr>
              <p:cNvSpPr/>
              <p:nvPr/>
            </p:nvSpPr>
            <p:spPr>
              <a:xfrm>
                <a:off x="6273924" y="1633152"/>
                <a:ext cx="14501" cy="112506"/>
              </a:xfrm>
              <a:custGeom>
                <a:avLst/>
                <a:gdLst>
                  <a:gd name="connsiteX0" fmla="*/ 14502 w 14501"/>
                  <a:gd name="connsiteY0" fmla="*/ 0 h 112506"/>
                  <a:gd name="connsiteX1" fmla="*/ 795 w 14501"/>
                  <a:gd name="connsiteY1" fmla="*/ 112507 h 1125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4501" h="112506">
                    <a:moveTo>
                      <a:pt x="14502" y="0"/>
                    </a:moveTo>
                    <a:cubicBezTo>
                      <a:pt x="11078" y="9675"/>
                      <a:pt x="-3535" y="49853"/>
                      <a:pt x="795" y="112507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20" name="Forma livre: Forma 919">
                <a:extLst>
                  <a:ext uri="{FF2B5EF4-FFF2-40B4-BE49-F238E27FC236}">
                    <a16:creationId xmlns:a16="http://schemas.microsoft.com/office/drawing/2014/main" id="{C376A969-487C-31D2-0EB1-52D75B16E07B}"/>
                  </a:ext>
                </a:extLst>
              </p:cNvPr>
              <p:cNvSpPr/>
              <p:nvPr/>
            </p:nvSpPr>
            <p:spPr>
              <a:xfrm>
                <a:off x="6382514" y="1633152"/>
                <a:ext cx="14501" cy="112506"/>
              </a:xfrm>
              <a:custGeom>
                <a:avLst/>
                <a:gdLst>
                  <a:gd name="connsiteX0" fmla="*/ 0 w 14501"/>
                  <a:gd name="connsiteY0" fmla="*/ 0 h 112506"/>
                  <a:gd name="connsiteX1" fmla="*/ 13707 w 14501"/>
                  <a:gd name="connsiteY1" fmla="*/ 112507 h 1125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4501" h="112506">
                    <a:moveTo>
                      <a:pt x="0" y="0"/>
                    </a:moveTo>
                    <a:cubicBezTo>
                      <a:pt x="3424" y="9675"/>
                      <a:pt x="18037" y="49853"/>
                      <a:pt x="13707" y="112507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921" name="Forma livre: Forma 920">
              <a:extLst>
                <a:ext uri="{FF2B5EF4-FFF2-40B4-BE49-F238E27FC236}">
                  <a16:creationId xmlns:a16="http://schemas.microsoft.com/office/drawing/2014/main" id="{F030487E-CDA8-FFA9-C229-7F358B659B13}"/>
                </a:ext>
              </a:extLst>
            </p:cNvPr>
            <p:cNvSpPr/>
            <p:nvPr/>
          </p:nvSpPr>
          <p:spPr>
            <a:xfrm>
              <a:off x="6276198" y="1772512"/>
              <a:ext cx="118531" cy="69423"/>
            </a:xfrm>
            <a:custGeom>
              <a:avLst/>
              <a:gdLst>
                <a:gd name="connsiteX0" fmla="*/ 118531 w 118531"/>
                <a:gd name="connsiteY0" fmla="*/ 0 h 69423"/>
                <a:gd name="connsiteX1" fmla="*/ 114785 w 118531"/>
                <a:gd name="connsiteY1" fmla="*/ 26853 h 69423"/>
                <a:gd name="connsiteX2" fmla="*/ 72806 w 118531"/>
                <a:gd name="connsiteY2" fmla="*/ 69334 h 69423"/>
                <a:gd name="connsiteX3" fmla="*/ 65934 w 118531"/>
                <a:gd name="connsiteY3" fmla="*/ 69334 h 69423"/>
                <a:gd name="connsiteX4" fmla="*/ 52597 w 118531"/>
                <a:gd name="connsiteY4" fmla="*/ 69334 h 69423"/>
                <a:gd name="connsiteX5" fmla="*/ 45726 w 118531"/>
                <a:gd name="connsiteY5" fmla="*/ 69334 h 69423"/>
                <a:gd name="connsiteX6" fmla="*/ 3746 w 118531"/>
                <a:gd name="connsiteY6" fmla="*/ 26853 h 69423"/>
                <a:gd name="connsiteX7" fmla="*/ 0 w 118531"/>
                <a:gd name="connsiteY7" fmla="*/ 0 h 694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18531" h="69423">
                  <a:moveTo>
                    <a:pt x="118531" y="0"/>
                  </a:moveTo>
                  <a:lnTo>
                    <a:pt x="114785" y="26853"/>
                  </a:lnTo>
                  <a:cubicBezTo>
                    <a:pt x="107473" y="73390"/>
                    <a:pt x="82182" y="69334"/>
                    <a:pt x="72806" y="69334"/>
                  </a:cubicBezTo>
                  <a:cubicBezTo>
                    <a:pt x="63429" y="69334"/>
                    <a:pt x="65934" y="69334"/>
                    <a:pt x="65934" y="69334"/>
                  </a:cubicBezTo>
                  <a:lnTo>
                    <a:pt x="52597" y="69334"/>
                  </a:lnTo>
                  <a:cubicBezTo>
                    <a:pt x="52597" y="69334"/>
                    <a:pt x="55090" y="69334"/>
                    <a:pt x="45726" y="69334"/>
                  </a:cubicBezTo>
                  <a:cubicBezTo>
                    <a:pt x="36361" y="69334"/>
                    <a:pt x="11059" y="73390"/>
                    <a:pt x="3746" y="26853"/>
                  </a:cubicBezTo>
                  <a:lnTo>
                    <a:pt x="0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922" name="Gráfico 9">
              <a:extLst>
                <a:ext uri="{FF2B5EF4-FFF2-40B4-BE49-F238E27FC236}">
                  <a16:creationId xmlns:a16="http://schemas.microsoft.com/office/drawing/2014/main" id="{F5DF33C0-6178-CB2E-B9ED-A8EB5C08B23E}"/>
                </a:ext>
              </a:extLst>
            </p:cNvPr>
            <p:cNvGrpSpPr/>
            <p:nvPr/>
          </p:nvGrpSpPr>
          <p:grpSpPr>
            <a:xfrm>
              <a:off x="6312309" y="1774897"/>
              <a:ext cx="46334" cy="36587"/>
              <a:chOff x="6312309" y="1774897"/>
              <a:chExt cx="46334" cy="36587"/>
            </a:xfrm>
          </p:grpSpPr>
          <p:sp>
            <p:nvSpPr>
              <p:cNvPr id="923" name="Forma livre: Forma 922">
                <a:extLst>
                  <a:ext uri="{FF2B5EF4-FFF2-40B4-BE49-F238E27FC236}">
                    <a16:creationId xmlns:a16="http://schemas.microsoft.com/office/drawing/2014/main" id="{99E1B498-1801-419D-ED53-2BFBBF55A661}"/>
                  </a:ext>
                </a:extLst>
              </p:cNvPr>
              <p:cNvSpPr/>
              <p:nvPr/>
            </p:nvSpPr>
            <p:spPr>
              <a:xfrm>
                <a:off x="6312309" y="1774897"/>
                <a:ext cx="4986" cy="36587"/>
              </a:xfrm>
              <a:custGeom>
                <a:avLst/>
                <a:gdLst>
                  <a:gd name="connsiteX0" fmla="*/ 0 w 4986"/>
                  <a:gd name="connsiteY0" fmla="*/ 0 h 36587"/>
                  <a:gd name="connsiteX1" fmla="*/ 4987 w 4986"/>
                  <a:gd name="connsiteY1" fmla="*/ 36588 h 365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986" h="36587">
                    <a:moveTo>
                      <a:pt x="0" y="0"/>
                    </a:moveTo>
                    <a:lnTo>
                      <a:pt x="4987" y="36588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24" name="Forma livre: Forma 923">
                <a:extLst>
                  <a:ext uri="{FF2B5EF4-FFF2-40B4-BE49-F238E27FC236}">
                    <a16:creationId xmlns:a16="http://schemas.microsoft.com/office/drawing/2014/main" id="{1CF242E3-2304-97B0-4B91-4972CFF2BE8E}"/>
                  </a:ext>
                </a:extLst>
              </p:cNvPr>
              <p:cNvSpPr/>
              <p:nvPr/>
            </p:nvSpPr>
            <p:spPr>
              <a:xfrm>
                <a:off x="6353644" y="1774897"/>
                <a:ext cx="4998" cy="36587"/>
              </a:xfrm>
              <a:custGeom>
                <a:avLst/>
                <a:gdLst>
                  <a:gd name="connsiteX0" fmla="*/ 4998 w 4998"/>
                  <a:gd name="connsiteY0" fmla="*/ 0 h 36587"/>
                  <a:gd name="connsiteX1" fmla="*/ 0 w 4998"/>
                  <a:gd name="connsiteY1" fmla="*/ 36588 h 365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998" h="36587">
                    <a:moveTo>
                      <a:pt x="4998" y="0"/>
                    </a:moveTo>
                    <a:lnTo>
                      <a:pt x="0" y="36588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925" name="Gráfico 9">
              <a:extLst>
                <a:ext uri="{FF2B5EF4-FFF2-40B4-BE49-F238E27FC236}">
                  <a16:creationId xmlns:a16="http://schemas.microsoft.com/office/drawing/2014/main" id="{D7E72EB2-4598-B605-509E-C15707C5E078}"/>
                </a:ext>
              </a:extLst>
            </p:cNvPr>
            <p:cNvGrpSpPr/>
            <p:nvPr/>
          </p:nvGrpSpPr>
          <p:grpSpPr>
            <a:xfrm>
              <a:off x="6281566" y="1522279"/>
              <a:ext cx="107818" cy="27855"/>
              <a:chOff x="6281566" y="1522279"/>
              <a:chExt cx="107818" cy="27855"/>
            </a:xfrm>
            <a:noFill/>
          </p:grpSpPr>
          <p:grpSp>
            <p:nvGrpSpPr>
              <p:cNvPr id="926" name="Gráfico 9">
                <a:extLst>
                  <a:ext uri="{FF2B5EF4-FFF2-40B4-BE49-F238E27FC236}">
                    <a16:creationId xmlns:a16="http://schemas.microsoft.com/office/drawing/2014/main" id="{B8B4ED28-F939-FE91-C5D1-FB47BF86E549}"/>
                  </a:ext>
                </a:extLst>
              </p:cNvPr>
              <p:cNvGrpSpPr/>
              <p:nvPr/>
            </p:nvGrpSpPr>
            <p:grpSpPr>
              <a:xfrm>
                <a:off x="6286147" y="1523949"/>
                <a:ext cx="98644" cy="26185"/>
                <a:chOff x="6286147" y="1523949"/>
                <a:chExt cx="98644" cy="26185"/>
              </a:xfrm>
              <a:noFill/>
            </p:grpSpPr>
            <p:sp>
              <p:nvSpPr>
                <p:cNvPr id="927" name="Forma livre: Forma 926">
                  <a:extLst>
                    <a:ext uri="{FF2B5EF4-FFF2-40B4-BE49-F238E27FC236}">
                      <a16:creationId xmlns:a16="http://schemas.microsoft.com/office/drawing/2014/main" id="{952FC4E9-3B69-63FF-01DE-A00468F9C0B7}"/>
                    </a:ext>
                  </a:extLst>
                </p:cNvPr>
                <p:cNvSpPr/>
                <p:nvPr/>
              </p:nvSpPr>
              <p:spPr>
                <a:xfrm>
                  <a:off x="6286147" y="1523949"/>
                  <a:ext cx="26829" cy="26185"/>
                </a:xfrm>
                <a:custGeom>
                  <a:avLst/>
                  <a:gdLst>
                    <a:gd name="connsiteX0" fmla="*/ 26829 w 26829"/>
                    <a:gd name="connsiteY0" fmla="*/ 26185 h 26185"/>
                    <a:gd name="connsiteX1" fmla="*/ 4784 w 26829"/>
                    <a:gd name="connsiteY1" fmla="*/ 26185 h 26185"/>
                    <a:gd name="connsiteX2" fmla="*/ 0 w 26829"/>
                    <a:gd name="connsiteY2" fmla="*/ 21401 h 26185"/>
                    <a:gd name="connsiteX3" fmla="*/ 0 w 26829"/>
                    <a:gd name="connsiteY3" fmla="*/ 0 h 2618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26829" h="26185">
                      <a:moveTo>
                        <a:pt x="26829" y="26185"/>
                      </a:moveTo>
                      <a:lnTo>
                        <a:pt x="4784" y="26185"/>
                      </a:lnTo>
                      <a:cubicBezTo>
                        <a:pt x="2147" y="26185"/>
                        <a:pt x="0" y="24038"/>
                        <a:pt x="0" y="21401"/>
                      </a:cubicBezTo>
                      <a:lnTo>
                        <a:pt x="0" y="0"/>
                      </a:ln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928" name="Forma livre: Forma 927">
                  <a:extLst>
                    <a:ext uri="{FF2B5EF4-FFF2-40B4-BE49-F238E27FC236}">
                      <a16:creationId xmlns:a16="http://schemas.microsoft.com/office/drawing/2014/main" id="{F456F140-AC86-D046-C4E6-918AC6491D75}"/>
                    </a:ext>
                  </a:extLst>
                </p:cNvPr>
                <p:cNvSpPr/>
                <p:nvPr/>
              </p:nvSpPr>
              <p:spPr>
                <a:xfrm>
                  <a:off x="6337814" y="1523949"/>
                  <a:ext cx="46978" cy="26185"/>
                </a:xfrm>
                <a:custGeom>
                  <a:avLst/>
                  <a:gdLst>
                    <a:gd name="connsiteX0" fmla="*/ 46978 w 46978"/>
                    <a:gd name="connsiteY0" fmla="*/ 0 h 26185"/>
                    <a:gd name="connsiteX1" fmla="*/ 46978 w 46978"/>
                    <a:gd name="connsiteY1" fmla="*/ 21401 h 26185"/>
                    <a:gd name="connsiteX2" fmla="*/ 42195 w 46978"/>
                    <a:gd name="connsiteY2" fmla="*/ 26185 h 26185"/>
                    <a:gd name="connsiteX3" fmla="*/ 0 w 46978"/>
                    <a:gd name="connsiteY3" fmla="*/ 26185 h 2618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6978" h="26185">
                      <a:moveTo>
                        <a:pt x="46978" y="0"/>
                      </a:moveTo>
                      <a:lnTo>
                        <a:pt x="46978" y="21401"/>
                      </a:lnTo>
                      <a:cubicBezTo>
                        <a:pt x="46978" y="24026"/>
                        <a:pt x="44831" y="26185"/>
                        <a:pt x="42195" y="26185"/>
                      </a:cubicBezTo>
                      <a:lnTo>
                        <a:pt x="0" y="26185"/>
                      </a:ln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929" name="Forma livre: Forma 928">
                <a:extLst>
                  <a:ext uri="{FF2B5EF4-FFF2-40B4-BE49-F238E27FC236}">
                    <a16:creationId xmlns:a16="http://schemas.microsoft.com/office/drawing/2014/main" id="{72F2C973-096C-C8AE-E137-36E00CF854BD}"/>
                  </a:ext>
                </a:extLst>
              </p:cNvPr>
              <p:cNvSpPr/>
              <p:nvPr/>
            </p:nvSpPr>
            <p:spPr>
              <a:xfrm>
                <a:off x="6281566" y="1522279"/>
                <a:ext cx="107818" cy="1192"/>
              </a:xfrm>
              <a:custGeom>
                <a:avLst/>
                <a:gdLst>
                  <a:gd name="connsiteX0" fmla="*/ 107819 w 107818"/>
                  <a:gd name="connsiteY0" fmla="*/ 0 h 1192"/>
                  <a:gd name="connsiteX1" fmla="*/ 0 w 107818"/>
                  <a:gd name="connsiteY1" fmla="*/ 0 h 11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07818" h="1192">
                    <a:moveTo>
                      <a:pt x="107819" y="0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930" name="Gráfico 9">
              <a:extLst>
                <a:ext uri="{FF2B5EF4-FFF2-40B4-BE49-F238E27FC236}">
                  <a16:creationId xmlns:a16="http://schemas.microsoft.com/office/drawing/2014/main" id="{423FDAE4-B8D6-E033-4AB1-559B9AB1A02E}"/>
                </a:ext>
              </a:extLst>
            </p:cNvPr>
            <p:cNvGrpSpPr/>
            <p:nvPr/>
          </p:nvGrpSpPr>
          <p:grpSpPr>
            <a:xfrm>
              <a:off x="6455164" y="1653646"/>
              <a:ext cx="37995" cy="71195"/>
              <a:chOff x="6455164" y="1653646"/>
              <a:chExt cx="37995" cy="71195"/>
            </a:xfrm>
          </p:grpSpPr>
          <p:sp>
            <p:nvSpPr>
              <p:cNvPr id="931" name="Forma livre: Forma 930">
                <a:extLst>
                  <a:ext uri="{FF2B5EF4-FFF2-40B4-BE49-F238E27FC236}">
                    <a16:creationId xmlns:a16="http://schemas.microsoft.com/office/drawing/2014/main" id="{46D126A6-2218-A253-FEBE-103671C6EB71}"/>
                  </a:ext>
                </a:extLst>
              </p:cNvPr>
              <p:cNvSpPr/>
              <p:nvPr/>
            </p:nvSpPr>
            <p:spPr>
              <a:xfrm>
                <a:off x="6455164" y="1653646"/>
                <a:ext cx="37995" cy="1192"/>
              </a:xfrm>
              <a:custGeom>
                <a:avLst/>
                <a:gdLst>
                  <a:gd name="connsiteX0" fmla="*/ 0 w 37995"/>
                  <a:gd name="connsiteY0" fmla="*/ 0 h 1192"/>
                  <a:gd name="connsiteX1" fmla="*/ 37995 w 37995"/>
                  <a:gd name="connsiteY1" fmla="*/ 0 h 11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7995" h="1192">
                    <a:moveTo>
                      <a:pt x="0" y="0"/>
                    </a:moveTo>
                    <a:lnTo>
                      <a:pt x="37995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32" name="Forma livre: Forma 931">
                <a:extLst>
                  <a:ext uri="{FF2B5EF4-FFF2-40B4-BE49-F238E27FC236}">
                    <a16:creationId xmlns:a16="http://schemas.microsoft.com/office/drawing/2014/main" id="{634EAC10-AD6B-3338-A635-0DAC79A79A9E}"/>
                  </a:ext>
                </a:extLst>
              </p:cNvPr>
              <p:cNvSpPr/>
              <p:nvPr/>
            </p:nvSpPr>
            <p:spPr>
              <a:xfrm>
                <a:off x="6455164" y="1724841"/>
                <a:ext cx="37995" cy="1192"/>
              </a:xfrm>
              <a:custGeom>
                <a:avLst/>
                <a:gdLst>
                  <a:gd name="connsiteX0" fmla="*/ 0 w 37995"/>
                  <a:gd name="connsiteY0" fmla="*/ 0 h 1192"/>
                  <a:gd name="connsiteX1" fmla="*/ 37995 w 37995"/>
                  <a:gd name="connsiteY1" fmla="*/ 0 h 11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7995" h="1192">
                    <a:moveTo>
                      <a:pt x="0" y="0"/>
                    </a:moveTo>
                    <a:lnTo>
                      <a:pt x="37995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933" name="Gráfico 9">
              <a:extLst>
                <a:ext uri="{FF2B5EF4-FFF2-40B4-BE49-F238E27FC236}">
                  <a16:creationId xmlns:a16="http://schemas.microsoft.com/office/drawing/2014/main" id="{962C0EF0-76E8-B9E0-F487-FF69CE15DEEF}"/>
                </a:ext>
              </a:extLst>
            </p:cNvPr>
            <p:cNvGrpSpPr/>
            <p:nvPr/>
          </p:nvGrpSpPr>
          <p:grpSpPr>
            <a:xfrm>
              <a:off x="6299866" y="1553940"/>
              <a:ext cx="71206" cy="45355"/>
              <a:chOff x="6299866" y="1553940"/>
              <a:chExt cx="71206" cy="45355"/>
            </a:xfrm>
          </p:grpSpPr>
          <p:sp>
            <p:nvSpPr>
              <p:cNvPr id="934" name="Forma livre: Forma 933">
                <a:extLst>
                  <a:ext uri="{FF2B5EF4-FFF2-40B4-BE49-F238E27FC236}">
                    <a16:creationId xmlns:a16="http://schemas.microsoft.com/office/drawing/2014/main" id="{8529D63D-3448-A1B3-88DF-D77F0D748AC8}"/>
                  </a:ext>
                </a:extLst>
              </p:cNvPr>
              <p:cNvSpPr/>
              <p:nvPr/>
            </p:nvSpPr>
            <p:spPr>
              <a:xfrm>
                <a:off x="6371073" y="1553940"/>
                <a:ext cx="1192" cy="45355"/>
              </a:xfrm>
              <a:custGeom>
                <a:avLst/>
                <a:gdLst>
                  <a:gd name="connsiteX0" fmla="*/ 0 w 1192"/>
                  <a:gd name="connsiteY0" fmla="*/ 0 h 45355"/>
                  <a:gd name="connsiteX1" fmla="*/ 0 w 1192"/>
                  <a:gd name="connsiteY1" fmla="*/ 45356 h 453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2" h="45355">
                    <a:moveTo>
                      <a:pt x="0" y="0"/>
                    </a:moveTo>
                    <a:lnTo>
                      <a:pt x="0" y="45356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35" name="Forma livre: Forma 934">
                <a:extLst>
                  <a:ext uri="{FF2B5EF4-FFF2-40B4-BE49-F238E27FC236}">
                    <a16:creationId xmlns:a16="http://schemas.microsoft.com/office/drawing/2014/main" id="{72258B3E-E40D-CF4D-3F25-B25A6933767C}"/>
                  </a:ext>
                </a:extLst>
              </p:cNvPr>
              <p:cNvSpPr/>
              <p:nvPr/>
            </p:nvSpPr>
            <p:spPr>
              <a:xfrm>
                <a:off x="6299866" y="1569413"/>
                <a:ext cx="1192" cy="29883"/>
              </a:xfrm>
              <a:custGeom>
                <a:avLst/>
                <a:gdLst>
                  <a:gd name="connsiteX0" fmla="*/ 0 w 1192"/>
                  <a:gd name="connsiteY0" fmla="*/ 0 h 29883"/>
                  <a:gd name="connsiteX1" fmla="*/ 0 w 1192"/>
                  <a:gd name="connsiteY1" fmla="*/ 29883 h 298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2" h="29883">
                    <a:moveTo>
                      <a:pt x="0" y="0"/>
                    </a:moveTo>
                    <a:lnTo>
                      <a:pt x="0" y="29883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936" name="Gráfico 9">
              <a:extLst>
                <a:ext uri="{FF2B5EF4-FFF2-40B4-BE49-F238E27FC236}">
                  <a16:creationId xmlns:a16="http://schemas.microsoft.com/office/drawing/2014/main" id="{04E0B6BC-AD81-E565-3211-3BF0BC251886}"/>
                </a:ext>
              </a:extLst>
            </p:cNvPr>
            <p:cNvGrpSpPr/>
            <p:nvPr/>
          </p:nvGrpSpPr>
          <p:grpSpPr>
            <a:xfrm>
              <a:off x="6390876" y="1653646"/>
              <a:ext cx="35740" cy="71195"/>
              <a:chOff x="6390876" y="1653646"/>
              <a:chExt cx="35740" cy="71195"/>
            </a:xfrm>
          </p:grpSpPr>
          <p:sp>
            <p:nvSpPr>
              <p:cNvPr id="937" name="Forma livre: Forma 936">
                <a:extLst>
                  <a:ext uri="{FF2B5EF4-FFF2-40B4-BE49-F238E27FC236}">
                    <a16:creationId xmlns:a16="http://schemas.microsoft.com/office/drawing/2014/main" id="{D6AD433B-6AD2-2B63-3CCA-B7626A9F6294}"/>
                  </a:ext>
                </a:extLst>
              </p:cNvPr>
              <p:cNvSpPr/>
              <p:nvPr/>
            </p:nvSpPr>
            <p:spPr>
              <a:xfrm>
                <a:off x="6399525" y="1724841"/>
                <a:ext cx="27091" cy="1192"/>
              </a:xfrm>
              <a:custGeom>
                <a:avLst/>
                <a:gdLst>
                  <a:gd name="connsiteX0" fmla="*/ 27092 w 27091"/>
                  <a:gd name="connsiteY0" fmla="*/ 0 h 1192"/>
                  <a:gd name="connsiteX1" fmla="*/ 0 w 27091"/>
                  <a:gd name="connsiteY1" fmla="*/ 0 h 11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7091" h="1192">
                    <a:moveTo>
                      <a:pt x="27092" y="0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38" name="Forma livre: Forma 937">
                <a:extLst>
                  <a:ext uri="{FF2B5EF4-FFF2-40B4-BE49-F238E27FC236}">
                    <a16:creationId xmlns:a16="http://schemas.microsoft.com/office/drawing/2014/main" id="{E99D5AAD-19CB-8BC2-EE26-E66E3848898D}"/>
                  </a:ext>
                </a:extLst>
              </p:cNvPr>
              <p:cNvSpPr/>
              <p:nvPr/>
            </p:nvSpPr>
            <p:spPr>
              <a:xfrm>
                <a:off x="6390876" y="1653646"/>
                <a:ext cx="35740" cy="1192"/>
              </a:xfrm>
              <a:custGeom>
                <a:avLst/>
                <a:gdLst>
                  <a:gd name="connsiteX0" fmla="*/ 35741 w 35740"/>
                  <a:gd name="connsiteY0" fmla="*/ 0 h 1192"/>
                  <a:gd name="connsiteX1" fmla="*/ 0 w 35740"/>
                  <a:gd name="connsiteY1" fmla="*/ 0 h 11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5740" h="1192">
                    <a:moveTo>
                      <a:pt x="35741" y="0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939" name="Forma livre: Forma 938">
              <a:extLst>
                <a:ext uri="{FF2B5EF4-FFF2-40B4-BE49-F238E27FC236}">
                  <a16:creationId xmlns:a16="http://schemas.microsoft.com/office/drawing/2014/main" id="{514FE459-4F01-AB67-DE83-9223370A6294}"/>
                </a:ext>
              </a:extLst>
            </p:cNvPr>
            <p:cNvSpPr/>
            <p:nvPr/>
          </p:nvSpPr>
          <p:spPr>
            <a:xfrm>
              <a:off x="6267382" y="1745277"/>
              <a:ext cx="136174" cy="25600"/>
            </a:xfrm>
            <a:custGeom>
              <a:avLst/>
              <a:gdLst>
                <a:gd name="connsiteX0" fmla="*/ 53444 w 136174"/>
                <a:gd name="connsiteY0" fmla="*/ 0 h 25600"/>
                <a:gd name="connsiteX1" fmla="*/ 133288 w 136174"/>
                <a:gd name="connsiteY1" fmla="*/ 0 h 25600"/>
                <a:gd name="connsiteX2" fmla="*/ 136175 w 136174"/>
                <a:gd name="connsiteY2" fmla="*/ 8697 h 25600"/>
                <a:gd name="connsiteX3" fmla="*/ 131856 w 136174"/>
                <a:gd name="connsiteY3" fmla="*/ 25601 h 25600"/>
                <a:gd name="connsiteX4" fmla="*/ 4330 w 136174"/>
                <a:gd name="connsiteY4" fmla="*/ 25601 h 25600"/>
                <a:gd name="connsiteX5" fmla="*/ 0 w 136174"/>
                <a:gd name="connsiteY5" fmla="*/ 8995 h 25600"/>
                <a:gd name="connsiteX6" fmla="*/ 2887 w 136174"/>
                <a:gd name="connsiteY6" fmla="*/ 0 h 25600"/>
                <a:gd name="connsiteX7" fmla="*/ 28213 w 136174"/>
                <a:gd name="connsiteY7" fmla="*/ 0 h 25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36174" h="25600">
                  <a:moveTo>
                    <a:pt x="53444" y="0"/>
                  </a:moveTo>
                  <a:lnTo>
                    <a:pt x="133288" y="0"/>
                  </a:lnTo>
                  <a:lnTo>
                    <a:pt x="136175" y="8697"/>
                  </a:lnTo>
                  <a:lnTo>
                    <a:pt x="131856" y="25601"/>
                  </a:lnTo>
                  <a:lnTo>
                    <a:pt x="4330" y="25601"/>
                  </a:lnTo>
                  <a:lnTo>
                    <a:pt x="0" y="8995"/>
                  </a:lnTo>
                  <a:lnTo>
                    <a:pt x="2887" y="0"/>
                  </a:lnTo>
                  <a:lnTo>
                    <a:pt x="28213" y="0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940" name="Gráfico 9">
              <a:extLst>
                <a:ext uri="{FF2B5EF4-FFF2-40B4-BE49-F238E27FC236}">
                  <a16:creationId xmlns:a16="http://schemas.microsoft.com/office/drawing/2014/main" id="{EDD146AF-3E51-0239-0060-7F3E8AEF69AA}"/>
                </a:ext>
              </a:extLst>
            </p:cNvPr>
            <p:cNvGrpSpPr/>
            <p:nvPr/>
          </p:nvGrpSpPr>
          <p:grpSpPr>
            <a:xfrm>
              <a:off x="6281566" y="1602648"/>
              <a:ext cx="107818" cy="27855"/>
              <a:chOff x="6281566" y="1602648"/>
              <a:chExt cx="107818" cy="27855"/>
            </a:xfrm>
            <a:noFill/>
          </p:grpSpPr>
          <p:grpSp>
            <p:nvGrpSpPr>
              <p:cNvPr id="941" name="Gráfico 9">
                <a:extLst>
                  <a:ext uri="{FF2B5EF4-FFF2-40B4-BE49-F238E27FC236}">
                    <a16:creationId xmlns:a16="http://schemas.microsoft.com/office/drawing/2014/main" id="{E6B54A7E-9F82-3552-6FDD-12B4788D756B}"/>
                  </a:ext>
                </a:extLst>
              </p:cNvPr>
              <p:cNvGrpSpPr/>
              <p:nvPr/>
            </p:nvGrpSpPr>
            <p:grpSpPr>
              <a:xfrm>
                <a:off x="6286147" y="1602648"/>
                <a:ext cx="98644" cy="26185"/>
                <a:chOff x="6286147" y="1602648"/>
                <a:chExt cx="98644" cy="26185"/>
              </a:xfrm>
              <a:noFill/>
            </p:grpSpPr>
            <p:sp>
              <p:nvSpPr>
                <p:cNvPr id="942" name="Forma livre: Forma 941">
                  <a:extLst>
                    <a:ext uri="{FF2B5EF4-FFF2-40B4-BE49-F238E27FC236}">
                      <a16:creationId xmlns:a16="http://schemas.microsoft.com/office/drawing/2014/main" id="{C4509904-5799-8249-4563-E1057EDB404E}"/>
                    </a:ext>
                  </a:extLst>
                </p:cNvPr>
                <p:cNvSpPr/>
                <p:nvPr/>
              </p:nvSpPr>
              <p:spPr>
                <a:xfrm>
                  <a:off x="6286147" y="1602648"/>
                  <a:ext cx="26829" cy="26185"/>
                </a:xfrm>
                <a:custGeom>
                  <a:avLst/>
                  <a:gdLst>
                    <a:gd name="connsiteX0" fmla="*/ 26829 w 26829"/>
                    <a:gd name="connsiteY0" fmla="*/ 0 h 26185"/>
                    <a:gd name="connsiteX1" fmla="*/ 4784 w 26829"/>
                    <a:gd name="connsiteY1" fmla="*/ 0 h 26185"/>
                    <a:gd name="connsiteX2" fmla="*/ 0 w 26829"/>
                    <a:gd name="connsiteY2" fmla="*/ 4784 h 26185"/>
                    <a:gd name="connsiteX3" fmla="*/ 0 w 26829"/>
                    <a:gd name="connsiteY3" fmla="*/ 26185 h 2618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26829" h="26185">
                      <a:moveTo>
                        <a:pt x="26829" y="0"/>
                      </a:moveTo>
                      <a:lnTo>
                        <a:pt x="4784" y="0"/>
                      </a:lnTo>
                      <a:cubicBezTo>
                        <a:pt x="2147" y="0"/>
                        <a:pt x="0" y="2147"/>
                        <a:pt x="0" y="4784"/>
                      </a:cubicBezTo>
                      <a:lnTo>
                        <a:pt x="0" y="26185"/>
                      </a:ln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943" name="Forma livre: Forma 942">
                  <a:extLst>
                    <a:ext uri="{FF2B5EF4-FFF2-40B4-BE49-F238E27FC236}">
                      <a16:creationId xmlns:a16="http://schemas.microsoft.com/office/drawing/2014/main" id="{57A7BB88-3BA3-579D-3021-A0C6803B3595}"/>
                    </a:ext>
                  </a:extLst>
                </p:cNvPr>
                <p:cNvSpPr/>
                <p:nvPr/>
              </p:nvSpPr>
              <p:spPr>
                <a:xfrm>
                  <a:off x="6337814" y="1602648"/>
                  <a:ext cx="46978" cy="26185"/>
                </a:xfrm>
                <a:custGeom>
                  <a:avLst/>
                  <a:gdLst>
                    <a:gd name="connsiteX0" fmla="*/ 46978 w 46978"/>
                    <a:gd name="connsiteY0" fmla="*/ 26185 h 26185"/>
                    <a:gd name="connsiteX1" fmla="*/ 46978 w 46978"/>
                    <a:gd name="connsiteY1" fmla="*/ 4784 h 26185"/>
                    <a:gd name="connsiteX2" fmla="*/ 42195 w 46978"/>
                    <a:gd name="connsiteY2" fmla="*/ 0 h 26185"/>
                    <a:gd name="connsiteX3" fmla="*/ 0 w 46978"/>
                    <a:gd name="connsiteY3" fmla="*/ 0 h 2618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6978" h="26185">
                      <a:moveTo>
                        <a:pt x="46978" y="26185"/>
                      </a:moveTo>
                      <a:lnTo>
                        <a:pt x="46978" y="4784"/>
                      </a:lnTo>
                      <a:cubicBezTo>
                        <a:pt x="46978" y="2147"/>
                        <a:pt x="44831" y="0"/>
                        <a:pt x="42195" y="0"/>
                      </a:cubicBezTo>
                      <a:lnTo>
                        <a:pt x="0" y="0"/>
                      </a:ln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944" name="Forma livre: Forma 943">
                <a:extLst>
                  <a:ext uri="{FF2B5EF4-FFF2-40B4-BE49-F238E27FC236}">
                    <a16:creationId xmlns:a16="http://schemas.microsoft.com/office/drawing/2014/main" id="{1CDE0DBF-DB46-5494-93DF-B4B01C681889}"/>
                  </a:ext>
                </a:extLst>
              </p:cNvPr>
              <p:cNvSpPr/>
              <p:nvPr/>
            </p:nvSpPr>
            <p:spPr>
              <a:xfrm>
                <a:off x="6281566" y="1630503"/>
                <a:ext cx="107818" cy="1192"/>
              </a:xfrm>
              <a:custGeom>
                <a:avLst/>
                <a:gdLst>
                  <a:gd name="connsiteX0" fmla="*/ 107819 w 107818"/>
                  <a:gd name="connsiteY0" fmla="*/ 0 h 1192"/>
                  <a:gd name="connsiteX1" fmla="*/ 0 w 107818"/>
                  <a:gd name="connsiteY1" fmla="*/ 0 h 11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07818" h="1192">
                    <a:moveTo>
                      <a:pt x="107819" y="0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945" name="Gráfico 9">
              <a:extLst>
                <a:ext uri="{FF2B5EF4-FFF2-40B4-BE49-F238E27FC236}">
                  <a16:creationId xmlns:a16="http://schemas.microsoft.com/office/drawing/2014/main" id="{B6E3AE51-8D48-4702-D8A3-7A30996008FF}"/>
                </a:ext>
              </a:extLst>
            </p:cNvPr>
            <p:cNvGrpSpPr/>
            <p:nvPr/>
          </p:nvGrpSpPr>
          <p:grpSpPr>
            <a:xfrm>
              <a:off x="6426545" y="1635335"/>
              <a:ext cx="27855" cy="107818"/>
              <a:chOff x="6426545" y="1635335"/>
              <a:chExt cx="27855" cy="107818"/>
            </a:xfrm>
            <a:noFill/>
          </p:grpSpPr>
          <p:grpSp>
            <p:nvGrpSpPr>
              <p:cNvPr id="946" name="Gráfico 9">
                <a:extLst>
                  <a:ext uri="{FF2B5EF4-FFF2-40B4-BE49-F238E27FC236}">
                    <a16:creationId xmlns:a16="http://schemas.microsoft.com/office/drawing/2014/main" id="{D989C5FE-8331-55C6-5554-B70A7125F104}"/>
                  </a:ext>
                </a:extLst>
              </p:cNvPr>
              <p:cNvGrpSpPr/>
              <p:nvPr/>
            </p:nvGrpSpPr>
            <p:grpSpPr>
              <a:xfrm>
                <a:off x="6426545" y="1639916"/>
                <a:ext cx="26185" cy="98644"/>
                <a:chOff x="6426545" y="1639916"/>
                <a:chExt cx="26185" cy="98644"/>
              </a:xfrm>
              <a:noFill/>
            </p:grpSpPr>
            <p:sp>
              <p:nvSpPr>
                <p:cNvPr id="947" name="Forma livre: Forma 946">
                  <a:extLst>
                    <a:ext uri="{FF2B5EF4-FFF2-40B4-BE49-F238E27FC236}">
                      <a16:creationId xmlns:a16="http://schemas.microsoft.com/office/drawing/2014/main" id="{4A49DF9E-A021-180D-4115-06C5EFCA77EA}"/>
                    </a:ext>
                  </a:extLst>
                </p:cNvPr>
                <p:cNvSpPr/>
                <p:nvPr/>
              </p:nvSpPr>
              <p:spPr>
                <a:xfrm>
                  <a:off x="6426545" y="1639916"/>
                  <a:ext cx="26185" cy="26829"/>
                </a:xfrm>
                <a:custGeom>
                  <a:avLst/>
                  <a:gdLst>
                    <a:gd name="connsiteX0" fmla="*/ 0 w 26185"/>
                    <a:gd name="connsiteY0" fmla="*/ 26829 h 26829"/>
                    <a:gd name="connsiteX1" fmla="*/ 0 w 26185"/>
                    <a:gd name="connsiteY1" fmla="*/ 4784 h 26829"/>
                    <a:gd name="connsiteX2" fmla="*/ 4784 w 26185"/>
                    <a:gd name="connsiteY2" fmla="*/ 0 h 26829"/>
                    <a:gd name="connsiteX3" fmla="*/ 26185 w 26185"/>
                    <a:gd name="connsiteY3" fmla="*/ 0 h 2682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26185" h="26829">
                      <a:moveTo>
                        <a:pt x="0" y="26829"/>
                      </a:moveTo>
                      <a:lnTo>
                        <a:pt x="0" y="4784"/>
                      </a:lnTo>
                      <a:cubicBezTo>
                        <a:pt x="0" y="2147"/>
                        <a:pt x="2147" y="0"/>
                        <a:pt x="4784" y="0"/>
                      </a:cubicBezTo>
                      <a:lnTo>
                        <a:pt x="26185" y="0"/>
                      </a:ln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948" name="Forma livre: Forma 947">
                  <a:extLst>
                    <a:ext uri="{FF2B5EF4-FFF2-40B4-BE49-F238E27FC236}">
                      <a16:creationId xmlns:a16="http://schemas.microsoft.com/office/drawing/2014/main" id="{BAC490D6-7229-AD85-063E-02503455338D}"/>
                    </a:ext>
                  </a:extLst>
                </p:cNvPr>
                <p:cNvSpPr/>
                <p:nvPr/>
              </p:nvSpPr>
              <p:spPr>
                <a:xfrm>
                  <a:off x="6426545" y="1691570"/>
                  <a:ext cx="26185" cy="46990"/>
                </a:xfrm>
                <a:custGeom>
                  <a:avLst/>
                  <a:gdLst>
                    <a:gd name="connsiteX0" fmla="*/ 26185 w 26185"/>
                    <a:gd name="connsiteY0" fmla="*/ 46990 h 46990"/>
                    <a:gd name="connsiteX1" fmla="*/ 4784 w 26185"/>
                    <a:gd name="connsiteY1" fmla="*/ 46990 h 46990"/>
                    <a:gd name="connsiteX2" fmla="*/ 0 w 26185"/>
                    <a:gd name="connsiteY2" fmla="*/ 42206 h 46990"/>
                    <a:gd name="connsiteX3" fmla="*/ 0 w 26185"/>
                    <a:gd name="connsiteY3" fmla="*/ 0 h 469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26185" h="46990">
                      <a:moveTo>
                        <a:pt x="26185" y="46990"/>
                      </a:moveTo>
                      <a:lnTo>
                        <a:pt x="4784" y="46990"/>
                      </a:lnTo>
                      <a:cubicBezTo>
                        <a:pt x="2147" y="46990"/>
                        <a:pt x="0" y="44843"/>
                        <a:pt x="0" y="42206"/>
                      </a:cubicBezTo>
                      <a:lnTo>
                        <a:pt x="0" y="0"/>
                      </a:ln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949" name="Forma livre: Forma 948">
                <a:extLst>
                  <a:ext uri="{FF2B5EF4-FFF2-40B4-BE49-F238E27FC236}">
                    <a16:creationId xmlns:a16="http://schemas.microsoft.com/office/drawing/2014/main" id="{4B0D959D-3113-72C1-9366-3E5C37552410}"/>
                  </a:ext>
                </a:extLst>
              </p:cNvPr>
              <p:cNvSpPr/>
              <p:nvPr/>
            </p:nvSpPr>
            <p:spPr>
              <a:xfrm>
                <a:off x="6454401" y="1635335"/>
                <a:ext cx="1192" cy="107818"/>
              </a:xfrm>
              <a:custGeom>
                <a:avLst/>
                <a:gdLst>
                  <a:gd name="connsiteX0" fmla="*/ 0 w 1192"/>
                  <a:gd name="connsiteY0" fmla="*/ 107818 h 107818"/>
                  <a:gd name="connsiteX1" fmla="*/ 0 w 1192"/>
                  <a:gd name="connsiteY1" fmla="*/ 0 h 1078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2" h="107818">
                    <a:moveTo>
                      <a:pt x="0" y="107818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950" name="Gráfico 9">
            <a:extLst>
              <a:ext uri="{FF2B5EF4-FFF2-40B4-BE49-F238E27FC236}">
                <a16:creationId xmlns:a16="http://schemas.microsoft.com/office/drawing/2014/main" id="{C0ED147B-8ABB-04F6-A41C-9E0BEBF1F1A8}"/>
              </a:ext>
            </a:extLst>
          </p:cNvPr>
          <p:cNvGrpSpPr/>
          <p:nvPr/>
        </p:nvGrpSpPr>
        <p:grpSpPr>
          <a:xfrm>
            <a:off x="7561944" y="1519494"/>
            <a:ext cx="174575" cy="325226"/>
            <a:chOff x="7561944" y="1519494"/>
            <a:chExt cx="174575" cy="325226"/>
          </a:xfrm>
          <a:noFill/>
        </p:grpSpPr>
        <p:grpSp>
          <p:nvGrpSpPr>
            <p:cNvPr id="951" name="Gráfico 9">
              <a:extLst>
                <a:ext uri="{FF2B5EF4-FFF2-40B4-BE49-F238E27FC236}">
                  <a16:creationId xmlns:a16="http://schemas.microsoft.com/office/drawing/2014/main" id="{6B6E9A6F-4BFA-B333-C328-696A099A7A48}"/>
                </a:ext>
              </a:extLst>
            </p:cNvPr>
            <p:cNvGrpSpPr/>
            <p:nvPr/>
          </p:nvGrpSpPr>
          <p:grpSpPr>
            <a:xfrm>
              <a:off x="7561944" y="1519494"/>
              <a:ext cx="174575" cy="294946"/>
              <a:chOff x="7561944" y="1519494"/>
              <a:chExt cx="174575" cy="294946"/>
            </a:xfrm>
            <a:noFill/>
          </p:grpSpPr>
          <p:sp>
            <p:nvSpPr>
              <p:cNvPr id="952" name="Forma livre: Forma 951">
                <a:extLst>
                  <a:ext uri="{FF2B5EF4-FFF2-40B4-BE49-F238E27FC236}">
                    <a16:creationId xmlns:a16="http://schemas.microsoft.com/office/drawing/2014/main" id="{AEAD3C63-D562-9370-FCC8-846902F18CC4}"/>
                  </a:ext>
                </a:extLst>
              </p:cNvPr>
              <p:cNvSpPr/>
              <p:nvPr/>
            </p:nvSpPr>
            <p:spPr>
              <a:xfrm>
                <a:off x="7561944" y="1519494"/>
                <a:ext cx="174575" cy="294946"/>
              </a:xfrm>
              <a:custGeom>
                <a:avLst/>
                <a:gdLst>
                  <a:gd name="connsiteX0" fmla="*/ 174576 w 174575"/>
                  <a:gd name="connsiteY0" fmla="*/ 268097 h 294946"/>
                  <a:gd name="connsiteX1" fmla="*/ 0 w 174575"/>
                  <a:gd name="connsiteY1" fmla="*/ 268097 h 294946"/>
                  <a:gd name="connsiteX2" fmla="*/ 0 w 174575"/>
                  <a:gd name="connsiteY2" fmla="*/ 26859 h 294946"/>
                  <a:gd name="connsiteX3" fmla="*/ 174576 w 174575"/>
                  <a:gd name="connsiteY3" fmla="*/ 26859 h 294946"/>
                  <a:gd name="connsiteX4" fmla="*/ 174576 w 174575"/>
                  <a:gd name="connsiteY4" fmla="*/ 268097 h 2949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4575" h="294946">
                    <a:moveTo>
                      <a:pt x="174576" y="268097"/>
                    </a:moveTo>
                    <a:cubicBezTo>
                      <a:pt x="121895" y="303897"/>
                      <a:pt x="52692" y="303897"/>
                      <a:pt x="0" y="268097"/>
                    </a:cubicBezTo>
                    <a:lnTo>
                      <a:pt x="0" y="26859"/>
                    </a:lnTo>
                    <a:cubicBezTo>
                      <a:pt x="52680" y="-8953"/>
                      <a:pt x="121895" y="-8953"/>
                      <a:pt x="174576" y="26859"/>
                    </a:cubicBezTo>
                    <a:lnTo>
                      <a:pt x="174576" y="268097"/>
                    </a:ln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53" name="Forma livre: Forma 952">
                <a:extLst>
                  <a:ext uri="{FF2B5EF4-FFF2-40B4-BE49-F238E27FC236}">
                    <a16:creationId xmlns:a16="http://schemas.microsoft.com/office/drawing/2014/main" id="{7CC1DFA2-D56C-B8BD-C1A6-0885EEDC6FA4}"/>
                  </a:ext>
                </a:extLst>
              </p:cNvPr>
              <p:cNvSpPr/>
              <p:nvPr/>
            </p:nvSpPr>
            <p:spPr>
              <a:xfrm>
                <a:off x="7590300" y="1555908"/>
                <a:ext cx="143177" cy="1192"/>
              </a:xfrm>
              <a:custGeom>
                <a:avLst/>
                <a:gdLst>
                  <a:gd name="connsiteX0" fmla="*/ 143177 w 143177"/>
                  <a:gd name="connsiteY0" fmla="*/ 0 h 1192"/>
                  <a:gd name="connsiteX1" fmla="*/ 0 w 143177"/>
                  <a:gd name="connsiteY1" fmla="*/ 0 h 11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43177" h="1192">
                    <a:moveTo>
                      <a:pt x="143177" y="0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954" name="Forma livre: Forma 953">
              <a:extLst>
                <a:ext uri="{FF2B5EF4-FFF2-40B4-BE49-F238E27FC236}">
                  <a16:creationId xmlns:a16="http://schemas.microsoft.com/office/drawing/2014/main" id="{1E183B41-D794-2B45-F56F-09BB3E22ECEE}"/>
                </a:ext>
              </a:extLst>
            </p:cNvPr>
            <p:cNvSpPr/>
            <p:nvPr/>
          </p:nvSpPr>
          <p:spPr>
            <a:xfrm>
              <a:off x="7590205" y="1804149"/>
              <a:ext cx="118053" cy="40572"/>
            </a:xfrm>
            <a:custGeom>
              <a:avLst/>
              <a:gdLst>
                <a:gd name="connsiteX0" fmla="*/ 0 w 118053"/>
                <a:gd name="connsiteY0" fmla="*/ 0 h 40572"/>
                <a:gd name="connsiteX1" fmla="*/ 9842 w 118053"/>
                <a:gd name="connsiteY1" fmla="*/ 40572 h 40572"/>
                <a:gd name="connsiteX2" fmla="*/ 108212 w 118053"/>
                <a:gd name="connsiteY2" fmla="*/ 40572 h 40572"/>
                <a:gd name="connsiteX3" fmla="*/ 118054 w 118053"/>
                <a:gd name="connsiteY3" fmla="*/ 0 h 405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8053" h="40572">
                  <a:moveTo>
                    <a:pt x="0" y="0"/>
                  </a:moveTo>
                  <a:lnTo>
                    <a:pt x="9842" y="40572"/>
                  </a:lnTo>
                  <a:lnTo>
                    <a:pt x="108212" y="40572"/>
                  </a:lnTo>
                  <a:lnTo>
                    <a:pt x="118054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55" name="Forma livre: Forma 954">
              <a:extLst>
                <a:ext uri="{FF2B5EF4-FFF2-40B4-BE49-F238E27FC236}">
                  <a16:creationId xmlns:a16="http://schemas.microsoft.com/office/drawing/2014/main" id="{3E8BE458-9D51-23BC-33EF-1D50BF4DE069}"/>
                </a:ext>
              </a:extLst>
            </p:cNvPr>
            <p:cNvSpPr/>
            <p:nvPr/>
          </p:nvSpPr>
          <p:spPr>
            <a:xfrm>
              <a:off x="7626972" y="1595538"/>
              <a:ext cx="44532" cy="44544"/>
            </a:xfrm>
            <a:custGeom>
              <a:avLst/>
              <a:gdLst>
                <a:gd name="connsiteX0" fmla="*/ 44533 w 44532"/>
                <a:gd name="connsiteY0" fmla="*/ 22272 h 44544"/>
                <a:gd name="connsiteX1" fmla="*/ 22272 w 44532"/>
                <a:gd name="connsiteY1" fmla="*/ 44545 h 44544"/>
                <a:gd name="connsiteX2" fmla="*/ 0 w 44532"/>
                <a:gd name="connsiteY2" fmla="*/ 22272 h 44544"/>
                <a:gd name="connsiteX3" fmla="*/ 22272 w 44532"/>
                <a:gd name="connsiteY3" fmla="*/ 0 h 44544"/>
                <a:gd name="connsiteX4" fmla="*/ 44533 w 44532"/>
                <a:gd name="connsiteY4" fmla="*/ 22272 h 445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532" h="44544">
                  <a:moveTo>
                    <a:pt x="44533" y="22272"/>
                  </a:moveTo>
                  <a:cubicBezTo>
                    <a:pt x="44533" y="34572"/>
                    <a:pt x="34572" y="44545"/>
                    <a:pt x="22272" y="44545"/>
                  </a:cubicBezTo>
                  <a:cubicBezTo>
                    <a:pt x="9973" y="44545"/>
                    <a:pt x="0" y="34572"/>
                    <a:pt x="0" y="22272"/>
                  </a:cubicBezTo>
                  <a:cubicBezTo>
                    <a:pt x="0" y="9973"/>
                    <a:pt x="9973" y="0"/>
                    <a:pt x="22272" y="0"/>
                  </a:cubicBezTo>
                  <a:cubicBezTo>
                    <a:pt x="34572" y="0"/>
                    <a:pt x="44533" y="9973"/>
                    <a:pt x="44533" y="22272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956" name="Gráfico 9">
            <a:extLst>
              <a:ext uri="{FF2B5EF4-FFF2-40B4-BE49-F238E27FC236}">
                <a16:creationId xmlns:a16="http://schemas.microsoft.com/office/drawing/2014/main" id="{8E29AFDE-7FD7-001C-B8AF-CCAFF8085BD6}"/>
              </a:ext>
            </a:extLst>
          </p:cNvPr>
          <p:cNvGrpSpPr/>
          <p:nvPr/>
        </p:nvGrpSpPr>
        <p:grpSpPr>
          <a:xfrm>
            <a:off x="6859811" y="2606094"/>
            <a:ext cx="309879" cy="279280"/>
            <a:chOff x="6859811" y="2606094"/>
            <a:chExt cx="309879" cy="279280"/>
          </a:xfrm>
          <a:noFill/>
        </p:grpSpPr>
        <p:grpSp>
          <p:nvGrpSpPr>
            <p:cNvPr id="957" name="Gráfico 9">
              <a:extLst>
                <a:ext uri="{FF2B5EF4-FFF2-40B4-BE49-F238E27FC236}">
                  <a16:creationId xmlns:a16="http://schemas.microsoft.com/office/drawing/2014/main" id="{6A08511E-537F-0B78-F491-B0EA7B2D2857}"/>
                </a:ext>
              </a:extLst>
            </p:cNvPr>
            <p:cNvGrpSpPr/>
            <p:nvPr/>
          </p:nvGrpSpPr>
          <p:grpSpPr>
            <a:xfrm>
              <a:off x="6859811" y="2816017"/>
              <a:ext cx="309879" cy="69357"/>
              <a:chOff x="6859811" y="2816017"/>
              <a:chExt cx="309879" cy="69357"/>
            </a:xfrm>
            <a:noFill/>
          </p:grpSpPr>
          <p:sp>
            <p:nvSpPr>
              <p:cNvPr id="958" name="Forma livre: Forma 957">
                <a:extLst>
                  <a:ext uri="{FF2B5EF4-FFF2-40B4-BE49-F238E27FC236}">
                    <a16:creationId xmlns:a16="http://schemas.microsoft.com/office/drawing/2014/main" id="{EB740B27-5FC2-5E67-8189-788D5A5601CF}"/>
                  </a:ext>
                </a:extLst>
              </p:cNvPr>
              <p:cNvSpPr/>
              <p:nvPr/>
            </p:nvSpPr>
            <p:spPr>
              <a:xfrm>
                <a:off x="6859812" y="2826420"/>
                <a:ext cx="40488" cy="1192"/>
              </a:xfrm>
              <a:custGeom>
                <a:avLst/>
                <a:gdLst>
                  <a:gd name="connsiteX0" fmla="*/ 0 w 40488"/>
                  <a:gd name="connsiteY0" fmla="*/ 0 h 1192"/>
                  <a:gd name="connsiteX1" fmla="*/ 40489 w 40488"/>
                  <a:gd name="connsiteY1" fmla="*/ 0 h 11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0488" h="1192">
                    <a:moveTo>
                      <a:pt x="0" y="0"/>
                    </a:moveTo>
                    <a:lnTo>
                      <a:pt x="40489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59" name="Forma livre: Forma 958">
                <a:extLst>
                  <a:ext uri="{FF2B5EF4-FFF2-40B4-BE49-F238E27FC236}">
                    <a16:creationId xmlns:a16="http://schemas.microsoft.com/office/drawing/2014/main" id="{B3CAAFE1-866D-DE59-4689-CA73A91EBAAA}"/>
                  </a:ext>
                </a:extLst>
              </p:cNvPr>
              <p:cNvSpPr/>
              <p:nvPr/>
            </p:nvSpPr>
            <p:spPr>
              <a:xfrm>
                <a:off x="7104127" y="2816017"/>
                <a:ext cx="65564" cy="34201"/>
              </a:xfrm>
              <a:custGeom>
                <a:avLst/>
                <a:gdLst>
                  <a:gd name="connsiteX0" fmla="*/ 0 w 65564"/>
                  <a:gd name="connsiteY0" fmla="*/ 34202 h 34201"/>
                  <a:gd name="connsiteX1" fmla="*/ 0 w 65564"/>
                  <a:gd name="connsiteY1" fmla="*/ 0 h 34201"/>
                  <a:gd name="connsiteX2" fmla="*/ 24348 w 65564"/>
                  <a:gd name="connsiteY2" fmla="*/ 0 h 34201"/>
                  <a:gd name="connsiteX3" fmla="*/ 24348 w 65564"/>
                  <a:gd name="connsiteY3" fmla="*/ 10402 h 34201"/>
                  <a:gd name="connsiteX4" fmla="*/ 65564 w 65564"/>
                  <a:gd name="connsiteY4" fmla="*/ 10402 h 342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5564" h="34201">
                    <a:moveTo>
                      <a:pt x="0" y="34202"/>
                    </a:moveTo>
                    <a:lnTo>
                      <a:pt x="0" y="0"/>
                    </a:lnTo>
                    <a:lnTo>
                      <a:pt x="24348" y="0"/>
                    </a:lnTo>
                    <a:lnTo>
                      <a:pt x="24348" y="10402"/>
                    </a:lnTo>
                    <a:lnTo>
                      <a:pt x="65564" y="10402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60" name="Forma livre: Forma 959">
                <a:extLst>
                  <a:ext uri="{FF2B5EF4-FFF2-40B4-BE49-F238E27FC236}">
                    <a16:creationId xmlns:a16="http://schemas.microsoft.com/office/drawing/2014/main" id="{D5A3D829-3F1E-415B-0E64-28CC08965E8D}"/>
                  </a:ext>
                </a:extLst>
              </p:cNvPr>
              <p:cNvSpPr/>
              <p:nvPr/>
            </p:nvSpPr>
            <p:spPr>
              <a:xfrm>
                <a:off x="6859811" y="2874973"/>
                <a:ext cx="309879" cy="10402"/>
              </a:xfrm>
              <a:custGeom>
                <a:avLst/>
                <a:gdLst>
                  <a:gd name="connsiteX0" fmla="*/ 0 w 309879"/>
                  <a:gd name="connsiteY0" fmla="*/ 0 h 10402"/>
                  <a:gd name="connsiteX1" fmla="*/ 40775 w 309879"/>
                  <a:gd name="connsiteY1" fmla="*/ 12 h 10402"/>
                  <a:gd name="connsiteX2" fmla="*/ 40775 w 309879"/>
                  <a:gd name="connsiteY2" fmla="*/ 10403 h 10402"/>
                  <a:gd name="connsiteX3" fmla="*/ 65135 w 309879"/>
                  <a:gd name="connsiteY3" fmla="*/ 10403 h 10402"/>
                  <a:gd name="connsiteX4" fmla="*/ 65135 w 309879"/>
                  <a:gd name="connsiteY4" fmla="*/ 12 h 10402"/>
                  <a:gd name="connsiteX5" fmla="*/ 244316 w 309879"/>
                  <a:gd name="connsiteY5" fmla="*/ 12 h 10402"/>
                  <a:gd name="connsiteX6" fmla="*/ 244316 w 309879"/>
                  <a:gd name="connsiteY6" fmla="*/ 10403 h 10402"/>
                  <a:gd name="connsiteX7" fmla="*/ 268664 w 309879"/>
                  <a:gd name="connsiteY7" fmla="*/ 10403 h 10402"/>
                  <a:gd name="connsiteX8" fmla="*/ 268664 w 309879"/>
                  <a:gd name="connsiteY8" fmla="*/ 12 h 10402"/>
                  <a:gd name="connsiteX9" fmla="*/ 309880 w 309879"/>
                  <a:gd name="connsiteY9" fmla="*/ 0 h 104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309879" h="10402">
                    <a:moveTo>
                      <a:pt x="0" y="0"/>
                    </a:moveTo>
                    <a:lnTo>
                      <a:pt x="40775" y="12"/>
                    </a:lnTo>
                    <a:lnTo>
                      <a:pt x="40775" y="10403"/>
                    </a:lnTo>
                    <a:lnTo>
                      <a:pt x="65135" y="10403"/>
                    </a:lnTo>
                    <a:lnTo>
                      <a:pt x="65135" y="12"/>
                    </a:lnTo>
                    <a:lnTo>
                      <a:pt x="244316" y="12"/>
                    </a:lnTo>
                    <a:lnTo>
                      <a:pt x="244316" y="10403"/>
                    </a:lnTo>
                    <a:lnTo>
                      <a:pt x="268664" y="10403"/>
                    </a:lnTo>
                    <a:lnTo>
                      <a:pt x="268664" y="12"/>
                    </a:lnTo>
                    <a:lnTo>
                      <a:pt x="309880" y="0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961" name="Gráfico 9">
              <a:extLst>
                <a:ext uri="{FF2B5EF4-FFF2-40B4-BE49-F238E27FC236}">
                  <a16:creationId xmlns:a16="http://schemas.microsoft.com/office/drawing/2014/main" id="{1697CEE0-50E7-13FC-AFD9-6CEF8CB62912}"/>
                </a:ext>
              </a:extLst>
            </p:cNvPr>
            <p:cNvGrpSpPr/>
            <p:nvPr/>
          </p:nvGrpSpPr>
          <p:grpSpPr>
            <a:xfrm>
              <a:off x="7016708" y="2765377"/>
              <a:ext cx="87120" cy="61043"/>
              <a:chOff x="7016708" y="2765377"/>
              <a:chExt cx="87120" cy="61043"/>
            </a:xfrm>
            <a:noFill/>
          </p:grpSpPr>
          <p:sp>
            <p:nvSpPr>
              <p:cNvPr id="962" name="Forma livre: Forma 961">
                <a:extLst>
                  <a:ext uri="{FF2B5EF4-FFF2-40B4-BE49-F238E27FC236}">
                    <a16:creationId xmlns:a16="http://schemas.microsoft.com/office/drawing/2014/main" id="{BB52C66C-3A1D-A455-FC99-B4C16FF2824B}"/>
                  </a:ext>
                </a:extLst>
              </p:cNvPr>
              <p:cNvSpPr/>
              <p:nvPr/>
            </p:nvSpPr>
            <p:spPr>
              <a:xfrm>
                <a:off x="7032145" y="2765377"/>
                <a:ext cx="1192" cy="41168"/>
              </a:xfrm>
              <a:custGeom>
                <a:avLst/>
                <a:gdLst>
                  <a:gd name="connsiteX0" fmla="*/ 0 w 1192"/>
                  <a:gd name="connsiteY0" fmla="*/ 41169 h 41168"/>
                  <a:gd name="connsiteX1" fmla="*/ 0 w 1192"/>
                  <a:gd name="connsiteY1" fmla="*/ 0 h 411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2" h="41168">
                    <a:moveTo>
                      <a:pt x="0" y="41169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63" name="Forma livre: Forma 962">
                <a:extLst>
                  <a:ext uri="{FF2B5EF4-FFF2-40B4-BE49-F238E27FC236}">
                    <a16:creationId xmlns:a16="http://schemas.microsoft.com/office/drawing/2014/main" id="{01FDEA33-1B55-F619-02D4-2841A85C60AC}"/>
                  </a:ext>
                </a:extLst>
              </p:cNvPr>
              <p:cNvSpPr/>
              <p:nvPr/>
            </p:nvSpPr>
            <p:spPr>
              <a:xfrm>
                <a:off x="7016708" y="2806951"/>
                <a:ext cx="87120" cy="19468"/>
              </a:xfrm>
              <a:custGeom>
                <a:avLst/>
                <a:gdLst>
                  <a:gd name="connsiteX0" fmla="*/ 0 w 87120"/>
                  <a:gd name="connsiteY0" fmla="*/ 0 h 19468"/>
                  <a:gd name="connsiteX1" fmla="*/ 17727 w 87120"/>
                  <a:gd name="connsiteY1" fmla="*/ 0 h 19468"/>
                  <a:gd name="connsiteX2" fmla="*/ 32591 w 87120"/>
                  <a:gd name="connsiteY2" fmla="*/ 14864 h 19468"/>
                  <a:gd name="connsiteX3" fmla="*/ 32591 w 87120"/>
                  <a:gd name="connsiteY3" fmla="*/ 19469 h 19468"/>
                  <a:gd name="connsiteX4" fmla="*/ 87121 w 87120"/>
                  <a:gd name="connsiteY4" fmla="*/ 19469 h 194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7120" h="19468">
                    <a:moveTo>
                      <a:pt x="0" y="0"/>
                    </a:moveTo>
                    <a:lnTo>
                      <a:pt x="17727" y="0"/>
                    </a:lnTo>
                    <a:cubicBezTo>
                      <a:pt x="25899" y="0"/>
                      <a:pt x="32591" y="6692"/>
                      <a:pt x="32591" y="14864"/>
                    </a:cubicBezTo>
                    <a:lnTo>
                      <a:pt x="32591" y="19469"/>
                    </a:lnTo>
                    <a:lnTo>
                      <a:pt x="87121" y="19469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964" name="Forma livre: Forma 963">
              <a:extLst>
                <a:ext uri="{FF2B5EF4-FFF2-40B4-BE49-F238E27FC236}">
                  <a16:creationId xmlns:a16="http://schemas.microsoft.com/office/drawing/2014/main" id="{F95FFEC0-B79C-86F2-F499-F943E2037259}"/>
                </a:ext>
              </a:extLst>
            </p:cNvPr>
            <p:cNvSpPr/>
            <p:nvPr/>
          </p:nvSpPr>
          <p:spPr>
            <a:xfrm>
              <a:off x="6934251" y="2606094"/>
              <a:ext cx="161011" cy="161012"/>
            </a:xfrm>
            <a:custGeom>
              <a:avLst/>
              <a:gdLst>
                <a:gd name="connsiteX0" fmla="*/ 161012 w 161011"/>
                <a:gd name="connsiteY0" fmla="*/ 80512 h 161012"/>
                <a:gd name="connsiteX1" fmla="*/ 80500 w 161011"/>
                <a:gd name="connsiteY1" fmla="*/ 161012 h 161012"/>
                <a:gd name="connsiteX2" fmla="*/ 0 w 161011"/>
                <a:gd name="connsiteY2" fmla="*/ 80512 h 161012"/>
                <a:gd name="connsiteX3" fmla="*/ 80500 w 161011"/>
                <a:gd name="connsiteY3" fmla="*/ 0 h 161012"/>
                <a:gd name="connsiteX4" fmla="*/ 161012 w 161011"/>
                <a:gd name="connsiteY4" fmla="*/ 80512 h 1610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1011" h="161012">
                  <a:moveTo>
                    <a:pt x="161012" y="80512"/>
                  </a:moveTo>
                  <a:cubicBezTo>
                    <a:pt x="161012" y="124973"/>
                    <a:pt x="124961" y="161012"/>
                    <a:pt x="80500" y="161012"/>
                  </a:cubicBezTo>
                  <a:cubicBezTo>
                    <a:pt x="36039" y="161012"/>
                    <a:pt x="0" y="124973"/>
                    <a:pt x="0" y="80512"/>
                  </a:cubicBezTo>
                  <a:cubicBezTo>
                    <a:pt x="0" y="36051"/>
                    <a:pt x="36039" y="0"/>
                    <a:pt x="80500" y="0"/>
                  </a:cubicBezTo>
                  <a:cubicBezTo>
                    <a:pt x="124961" y="0"/>
                    <a:pt x="161012" y="36051"/>
                    <a:pt x="161012" y="80512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65" name="Forma livre: Forma 964">
              <a:extLst>
                <a:ext uri="{FF2B5EF4-FFF2-40B4-BE49-F238E27FC236}">
                  <a16:creationId xmlns:a16="http://schemas.microsoft.com/office/drawing/2014/main" id="{29E21F07-8DC5-8939-81D2-6F61F56A574F}"/>
                </a:ext>
              </a:extLst>
            </p:cNvPr>
            <p:cNvSpPr/>
            <p:nvPr/>
          </p:nvSpPr>
          <p:spPr>
            <a:xfrm>
              <a:off x="6997967" y="2669822"/>
              <a:ext cx="33569" cy="33569"/>
            </a:xfrm>
            <a:custGeom>
              <a:avLst/>
              <a:gdLst>
                <a:gd name="connsiteX0" fmla="*/ 33570 w 33569"/>
                <a:gd name="connsiteY0" fmla="*/ 16785 h 33569"/>
                <a:gd name="connsiteX1" fmla="*/ 16785 w 33569"/>
                <a:gd name="connsiteY1" fmla="*/ 33570 h 33569"/>
                <a:gd name="connsiteX2" fmla="*/ 0 w 33569"/>
                <a:gd name="connsiteY2" fmla="*/ 16785 h 33569"/>
                <a:gd name="connsiteX3" fmla="*/ 16785 w 33569"/>
                <a:gd name="connsiteY3" fmla="*/ 0 h 33569"/>
                <a:gd name="connsiteX4" fmla="*/ 33570 w 33569"/>
                <a:gd name="connsiteY4" fmla="*/ 16785 h 335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569" h="33569">
                  <a:moveTo>
                    <a:pt x="33570" y="16785"/>
                  </a:moveTo>
                  <a:cubicBezTo>
                    <a:pt x="33570" y="26054"/>
                    <a:pt x="26054" y="33570"/>
                    <a:pt x="16785" y="33570"/>
                  </a:cubicBezTo>
                  <a:cubicBezTo>
                    <a:pt x="7516" y="33570"/>
                    <a:pt x="0" y="26054"/>
                    <a:pt x="0" y="16785"/>
                  </a:cubicBezTo>
                  <a:cubicBezTo>
                    <a:pt x="0" y="7516"/>
                    <a:pt x="7516" y="0"/>
                    <a:pt x="16785" y="0"/>
                  </a:cubicBezTo>
                  <a:cubicBezTo>
                    <a:pt x="26054" y="0"/>
                    <a:pt x="33570" y="7516"/>
                    <a:pt x="33570" y="16785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66" name="Forma livre: Forma 965">
              <a:extLst>
                <a:ext uri="{FF2B5EF4-FFF2-40B4-BE49-F238E27FC236}">
                  <a16:creationId xmlns:a16="http://schemas.microsoft.com/office/drawing/2014/main" id="{91A9156B-C219-CA39-98DC-0115BE0798E2}"/>
                </a:ext>
              </a:extLst>
            </p:cNvPr>
            <p:cNvSpPr/>
            <p:nvPr/>
          </p:nvSpPr>
          <p:spPr>
            <a:xfrm>
              <a:off x="7014751" y="2630490"/>
              <a:ext cx="1192" cy="37148"/>
            </a:xfrm>
            <a:custGeom>
              <a:avLst/>
              <a:gdLst>
                <a:gd name="connsiteX0" fmla="*/ 0 w 1192"/>
                <a:gd name="connsiteY0" fmla="*/ 37148 h 37148"/>
                <a:gd name="connsiteX1" fmla="*/ 0 w 1192"/>
                <a:gd name="connsiteY1" fmla="*/ 0 h 371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92" h="37148">
                  <a:moveTo>
                    <a:pt x="0" y="37148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67" name="Forma livre: Forma 966">
              <a:extLst>
                <a:ext uri="{FF2B5EF4-FFF2-40B4-BE49-F238E27FC236}">
                  <a16:creationId xmlns:a16="http://schemas.microsoft.com/office/drawing/2014/main" id="{25760A55-08F5-977D-848A-CE0EAB98BC93}"/>
                </a:ext>
              </a:extLst>
            </p:cNvPr>
            <p:cNvSpPr/>
            <p:nvPr/>
          </p:nvSpPr>
          <p:spPr>
            <a:xfrm>
              <a:off x="7014751" y="2743617"/>
              <a:ext cx="1192" cy="22916"/>
            </a:xfrm>
            <a:custGeom>
              <a:avLst/>
              <a:gdLst>
                <a:gd name="connsiteX0" fmla="*/ 0 w 1192"/>
                <a:gd name="connsiteY0" fmla="*/ 0 h 22916"/>
                <a:gd name="connsiteX1" fmla="*/ 0 w 1192"/>
                <a:gd name="connsiteY1" fmla="*/ 22917 h 229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92" h="22916">
                  <a:moveTo>
                    <a:pt x="0" y="0"/>
                  </a:moveTo>
                  <a:lnTo>
                    <a:pt x="0" y="22917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968" name="Gráfico 9">
              <a:extLst>
                <a:ext uri="{FF2B5EF4-FFF2-40B4-BE49-F238E27FC236}">
                  <a16:creationId xmlns:a16="http://schemas.microsoft.com/office/drawing/2014/main" id="{F377E5F3-A5FE-F80C-9471-F63E092112B2}"/>
                </a:ext>
              </a:extLst>
            </p:cNvPr>
            <p:cNvGrpSpPr/>
            <p:nvPr/>
          </p:nvGrpSpPr>
          <p:grpSpPr>
            <a:xfrm>
              <a:off x="6934812" y="2686606"/>
              <a:ext cx="159890" cy="1192"/>
              <a:chOff x="6934812" y="2686606"/>
              <a:chExt cx="159890" cy="1192"/>
            </a:xfrm>
          </p:grpSpPr>
          <p:sp>
            <p:nvSpPr>
              <p:cNvPr id="969" name="Forma livre: Forma 968">
                <a:extLst>
                  <a:ext uri="{FF2B5EF4-FFF2-40B4-BE49-F238E27FC236}">
                    <a16:creationId xmlns:a16="http://schemas.microsoft.com/office/drawing/2014/main" id="{B022AC56-14BF-D8E2-451E-3149ABB5FCFC}"/>
                  </a:ext>
                </a:extLst>
              </p:cNvPr>
              <p:cNvSpPr/>
              <p:nvPr/>
            </p:nvSpPr>
            <p:spPr>
              <a:xfrm>
                <a:off x="7071786" y="2686606"/>
                <a:ext cx="22916" cy="1192"/>
              </a:xfrm>
              <a:custGeom>
                <a:avLst/>
                <a:gdLst>
                  <a:gd name="connsiteX0" fmla="*/ 22917 w 22916"/>
                  <a:gd name="connsiteY0" fmla="*/ 0 h 1192"/>
                  <a:gd name="connsiteX1" fmla="*/ 0 w 22916"/>
                  <a:gd name="connsiteY1" fmla="*/ 0 h 11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2916" h="1192">
                    <a:moveTo>
                      <a:pt x="22917" y="0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70" name="Forma livre: Forma 969">
                <a:extLst>
                  <a:ext uri="{FF2B5EF4-FFF2-40B4-BE49-F238E27FC236}">
                    <a16:creationId xmlns:a16="http://schemas.microsoft.com/office/drawing/2014/main" id="{0676DB41-975C-A4C9-BE30-05E3E45B166B}"/>
                  </a:ext>
                </a:extLst>
              </p:cNvPr>
              <p:cNvSpPr/>
              <p:nvPr/>
            </p:nvSpPr>
            <p:spPr>
              <a:xfrm>
                <a:off x="6934812" y="2686606"/>
                <a:ext cx="22916" cy="1192"/>
              </a:xfrm>
              <a:custGeom>
                <a:avLst/>
                <a:gdLst>
                  <a:gd name="connsiteX0" fmla="*/ 22916 w 22916"/>
                  <a:gd name="connsiteY0" fmla="*/ 0 h 1192"/>
                  <a:gd name="connsiteX1" fmla="*/ 0 w 22916"/>
                  <a:gd name="connsiteY1" fmla="*/ 0 h 11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2916" h="1192">
                    <a:moveTo>
                      <a:pt x="22916" y="0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971" name="Gráfico 9">
              <a:extLst>
                <a:ext uri="{FF2B5EF4-FFF2-40B4-BE49-F238E27FC236}">
                  <a16:creationId xmlns:a16="http://schemas.microsoft.com/office/drawing/2014/main" id="{E026872C-3626-2E29-9ED5-887AC10A8508}"/>
                </a:ext>
              </a:extLst>
            </p:cNvPr>
            <p:cNvGrpSpPr/>
            <p:nvPr/>
          </p:nvGrpSpPr>
          <p:grpSpPr>
            <a:xfrm>
              <a:off x="6958230" y="2630073"/>
              <a:ext cx="113055" cy="113055"/>
              <a:chOff x="6958230" y="2630073"/>
              <a:chExt cx="113055" cy="113055"/>
            </a:xfrm>
          </p:grpSpPr>
          <p:sp>
            <p:nvSpPr>
              <p:cNvPr id="972" name="Forma livre: Forma 971">
                <a:extLst>
                  <a:ext uri="{FF2B5EF4-FFF2-40B4-BE49-F238E27FC236}">
                    <a16:creationId xmlns:a16="http://schemas.microsoft.com/office/drawing/2014/main" id="{D98FC7EC-7CD7-D20C-CF93-F92DC42E3CA1}"/>
                  </a:ext>
                </a:extLst>
              </p:cNvPr>
              <p:cNvSpPr/>
              <p:nvPr/>
            </p:nvSpPr>
            <p:spPr>
              <a:xfrm>
                <a:off x="7055085" y="2630073"/>
                <a:ext cx="16200" cy="16212"/>
              </a:xfrm>
              <a:custGeom>
                <a:avLst/>
                <a:gdLst>
                  <a:gd name="connsiteX0" fmla="*/ 16200 w 16200"/>
                  <a:gd name="connsiteY0" fmla="*/ 0 h 16212"/>
                  <a:gd name="connsiteX1" fmla="*/ 0 w 16200"/>
                  <a:gd name="connsiteY1" fmla="*/ 16212 h 162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6200" h="16212">
                    <a:moveTo>
                      <a:pt x="16200" y="0"/>
                    </a:moveTo>
                    <a:lnTo>
                      <a:pt x="0" y="16212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73" name="Forma livre: Forma 972">
                <a:extLst>
                  <a:ext uri="{FF2B5EF4-FFF2-40B4-BE49-F238E27FC236}">
                    <a16:creationId xmlns:a16="http://schemas.microsoft.com/office/drawing/2014/main" id="{EB599FBF-10FF-A023-1C6A-5BA62D2FBC0B}"/>
                  </a:ext>
                </a:extLst>
              </p:cNvPr>
              <p:cNvSpPr/>
              <p:nvPr/>
            </p:nvSpPr>
            <p:spPr>
              <a:xfrm>
                <a:off x="6958230" y="2726928"/>
                <a:ext cx="16200" cy="16200"/>
              </a:xfrm>
              <a:custGeom>
                <a:avLst/>
                <a:gdLst>
                  <a:gd name="connsiteX0" fmla="*/ 16200 w 16200"/>
                  <a:gd name="connsiteY0" fmla="*/ 0 h 16200"/>
                  <a:gd name="connsiteX1" fmla="*/ 0 w 16200"/>
                  <a:gd name="connsiteY1" fmla="*/ 16200 h 162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6200" h="16200">
                    <a:moveTo>
                      <a:pt x="16200" y="0"/>
                    </a:moveTo>
                    <a:lnTo>
                      <a:pt x="0" y="1620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974" name="Gráfico 9">
              <a:extLst>
                <a:ext uri="{FF2B5EF4-FFF2-40B4-BE49-F238E27FC236}">
                  <a16:creationId xmlns:a16="http://schemas.microsoft.com/office/drawing/2014/main" id="{91A5B7DA-EF1C-6F4E-AD23-9B60C1FAE2A8}"/>
                </a:ext>
              </a:extLst>
            </p:cNvPr>
            <p:cNvGrpSpPr/>
            <p:nvPr/>
          </p:nvGrpSpPr>
          <p:grpSpPr>
            <a:xfrm>
              <a:off x="6958230" y="2630073"/>
              <a:ext cx="113055" cy="113055"/>
              <a:chOff x="6958230" y="2630073"/>
              <a:chExt cx="113055" cy="113055"/>
            </a:xfrm>
          </p:grpSpPr>
          <p:sp>
            <p:nvSpPr>
              <p:cNvPr id="975" name="Forma livre: Forma 974">
                <a:extLst>
                  <a:ext uri="{FF2B5EF4-FFF2-40B4-BE49-F238E27FC236}">
                    <a16:creationId xmlns:a16="http://schemas.microsoft.com/office/drawing/2014/main" id="{62F1DA0B-E116-8D1B-67FC-4B99D7609E4D}"/>
                  </a:ext>
                </a:extLst>
              </p:cNvPr>
              <p:cNvSpPr/>
              <p:nvPr/>
            </p:nvSpPr>
            <p:spPr>
              <a:xfrm>
                <a:off x="7055085" y="2726928"/>
                <a:ext cx="16200" cy="16200"/>
              </a:xfrm>
              <a:custGeom>
                <a:avLst/>
                <a:gdLst>
                  <a:gd name="connsiteX0" fmla="*/ 16200 w 16200"/>
                  <a:gd name="connsiteY0" fmla="*/ 16200 h 16200"/>
                  <a:gd name="connsiteX1" fmla="*/ 0 w 16200"/>
                  <a:gd name="connsiteY1" fmla="*/ 0 h 162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6200" h="16200">
                    <a:moveTo>
                      <a:pt x="16200" y="16200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76" name="Forma livre: Forma 975">
                <a:extLst>
                  <a:ext uri="{FF2B5EF4-FFF2-40B4-BE49-F238E27FC236}">
                    <a16:creationId xmlns:a16="http://schemas.microsoft.com/office/drawing/2014/main" id="{38BAFE3A-7D6E-2431-9591-39CDE620774E}"/>
                  </a:ext>
                </a:extLst>
              </p:cNvPr>
              <p:cNvSpPr/>
              <p:nvPr/>
            </p:nvSpPr>
            <p:spPr>
              <a:xfrm>
                <a:off x="6958230" y="2630073"/>
                <a:ext cx="16200" cy="16200"/>
              </a:xfrm>
              <a:custGeom>
                <a:avLst/>
                <a:gdLst>
                  <a:gd name="connsiteX0" fmla="*/ 16200 w 16200"/>
                  <a:gd name="connsiteY0" fmla="*/ 16200 h 16200"/>
                  <a:gd name="connsiteX1" fmla="*/ 0 w 16200"/>
                  <a:gd name="connsiteY1" fmla="*/ 0 h 162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6200" h="16200">
                    <a:moveTo>
                      <a:pt x="16200" y="16200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977" name="Forma livre: Forma 976">
              <a:extLst>
                <a:ext uri="{FF2B5EF4-FFF2-40B4-BE49-F238E27FC236}">
                  <a16:creationId xmlns:a16="http://schemas.microsoft.com/office/drawing/2014/main" id="{C508C7EF-0F5E-A8F0-C986-552D90A278F4}"/>
                </a:ext>
              </a:extLst>
            </p:cNvPr>
            <p:cNvSpPr/>
            <p:nvPr/>
          </p:nvSpPr>
          <p:spPr>
            <a:xfrm>
              <a:off x="6900586" y="2784082"/>
              <a:ext cx="96783" cy="66136"/>
            </a:xfrm>
            <a:custGeom>
              <a:avLst/>
              <a:gdLst>
                <a:gd name="connsiteX0" fmla="*/ 0 w 96783"/>
                <a:gd name="connsiteY0" fmla="*/ 66137 h 66136"/>
                <a:gd name="connsiteX1" fmla="*/ 0 w 96783"/>
                <a:gd name="connsiteY1" fmla="*/ 31947 h 66136"/>
                <a:gd name="connsiteX2" fmla="*/ 24360 w 96783"/>
                <a:gd name="connsiteY2" fmla="*/ 31947 h 66136"/>
                <a:gd name="connsiteX3" fmla="*/ 24360 w 96783"/>
                <a:gd name="connsiteY3" fmla="*/ 42338 h 66136"/>
                <a:gd name="connsiteX4" fmla="*/ 79617 w 96783"/>
                <a:gd name="connsiteY4" fmla="*/ 42338 h 66136"/>
                <a:gd name="connsiteX5" fmla="*/ 79617 w 96783"/>
                <a:gd name="connsiteY5" fmla="*/ 37733 h 66136"/>
                <a:gd name="connsiteX6" fmla="*/ 94481 w 96783"/>
                <a:gd name="connsiteY6" fmla="*/ 22869 h 66136"/>
                <a:gd name="connsiteX7" fmla="*/ 96784 w 96783"/>
                <a:gd name="connsiteY7" fmla="*/ 22869 h 66136"/>
                <a:gd name="connsiteX8" fmla="*/ 96784 w 96783"/>
                <a:gd name="connsiteY8" fmla="*/ 0 h 661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96783" h="66136">
                  <a:moveTo>
                    <a:pt x="0" y="66137"/>
                  </a:moveTo>
                  <a:lnTo>
                    <a:pt x="0" y="31947"/>
                  </a:lnTo>
                  <a:lnTo>
                    <a:pt x="24360" y="31947"/>
                  </a:lnTo>
                  <a:lnTo>
                    <a:pt x="24360" y="42338"/>
                  </a:lnTo>
                  <a:lnTo>
                    <a:pt x="79617" y="42338"/>
                  </a:lnTo>
                  <a:lnTo>
                    <a:pt x="79617" y="37733"/>
                  </a:lnTo>
                  <a:cubicBezTo>
                    <a:pt x="79617" y="29561"/>
                    <a:pt x="86310" y="22869"/>
                    <a:pt x="94481" y="22869"/>
                  </a:cubicBezTo>
                  <a:lnTo>
                    <a:pt x="96784" y="22869"/>
                  </a:lnTo>
                  <a:lnTo>
                    <a:pt x="96784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978" name="Gráfico 9">
            <a:extLst>
              <a:ext uri="{FF2B5EF4-FFF2-40B4-BE49-F238E27FC236}">
                <a16:creationId xmlns:a16="http://schemas.microsoft.com/office/drawing/2014/main" id="{8C089C9A-E8D0-60B8-F017-79E373EDDE9B}"/>
              </a:ext>
            </a:extLst>
          </p:cNvPr>
          <p:cNvGrpSpPr/>
          <p:nvPr/>
        </p:nvGrpSpPr>
        <p:grpSpPr>
          <a:xfrm>
            <a:off x="6229518" y="2635775"/>
            <a:ext cx="301517" cy="219931"/>
            <a:chOff x="6229518" y="2635775"/>
            <a:chExt cx="301517" cy="219931"/>
          </a:xfrm>
          <a:noFill/>
        </p:grpSpPr>
        <p:sp>
          <p:nvSpPr>
            <p:cNvPr id="979" name="Forma livre: Forma 978">
              <a:extLst>
                <a:ext uri="{FF2B5EF4-FFF2-40B4-BE49-F238E27FC236}">
                  <a16:creationId xmlns:a16="http://schemas.microsoft.com/office/drawing/2014/main" id="{DF83B199-FDE5-E7E7-2E9C-0A25FF82A520}"/>
                </a:ext>
              </a:extLst>
            </p:cNvPr>
            <p:cNvSpPr/>
            <p:nvPr/>
          </p:nvSpPr>
          <p:spPr>
            <a:xfrm>
              <a:off x="6333305" y="2635775"/>
              <a:ext cx="93932" cy="35191"/>
            </a:xfrm>
            <a:custGeom>
              <a:avLst/>
              <a:gdLst>
                <a:gd name="connsiteX0" fmla="*/ 0 w 93932"/>
                <a:gd name="connsiteY0" fmla="*/ 35192 h 35191"/>
                <a:gd name="connsiteX1" fmla="*/ 0 w 93932"/>
                <a:gd name="connsiteY1" fmla="*/ 14315 h 35191"/>
                <a:gd name="connsiteX2" fmla="*/ 14315 w 93932"/>
                <a:gd name="connsiteY2" fmla="*/ 0 h 35191"/>
                <a:gd name="connsiteX3" fmla="*/ 79617 w 93932"/>
                <a:gd name="connsiteY3" fmla="*/ 0 h 35191"/>
                <a:gd name="connsiteX4" fmla="*/ 93933 w 93932"/>
                <a:gd name="connsiteY4" fmla="*/ 14315 h 35191"/>
                <a:gd name="connsiteX5" fmla="*/ 93933 w 93932"/>
                <a:gd name="connsiteY5" fmla="*/ 35192 h 351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3932" h="35191">
                  <a:moveTo>
                    <a:pt x="0" y="35192"/>
                  </a:moveTo>
                  <a:lnTo>
                    <a:pt x="0" y="14315"/>
                  </a:lnTo>
                  <a:cubicBezTo>
                    <a:pt x="0" y="6442"/>
                    <a:pt x="6442" y="0"/>
                    <a:pt x="14315" y="0"/>
                  </a:cubicBezTo>
                  <a:lnTo>
                    <a:pt x="79617" y="0"/>
                  </a:lnTo>
                  <a:cubicBezTo>
                    <a:pt x="87491" y="0"/>
                    <a:pt x="93933" y="6442"/>
                    <a:pt x="93933" y="14315"/>
                  </a:cubicBezTo>
                  <a:lnTo>
                    <a:pt x="93933" y="35192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80" name="Forma livre: Forma 979">
              <a:extLst>
                <a:ext uri="{FF2B5EF4-FFF2-40B4-BE49-F238E27FC236}">
                  <a16:creationId xmlns:a16="http://schemas.microsoft.com/office/drawing/2014/main" id="{7C28C393-945B-6BB6-9D81-828011B6E406}"/>
                </a:ext>
              </a:extLst>
            </p:cNvPr>
            <p:cNvSpPr/>
            <p:nvPr/>
          </p:nvSpPr>
          <p:spPr>
            <a:xfrm>
              <a:off x="6229518" y="2780038"/>
              <a:ext cx="301517" cy="75668"/>
            </a:xfrm>
            <a:custGeom>
              <a:avLst/>
              <a:gdLst>
                <a:gd name="connsiteX0" fmla="*/ 301517 w 301517"/>
                <a:gd name="connsiteY0" fmla="*/ 0 h 75668"/>
                <a:gd name="connsiteX1" fmla="*/ 301517 w 301517"/>
                <a:gd name="connsiteY1" fmla="*/ 61353 h 75668"/>
                <a:gd name="connsiteX2" fmla="*/ 287202 w 301517"/>
                <a:gd name="connsiteY2" fmla="*/ 75669 h 75668"/>
                <a:gd name="connsiteX3" fmla="*/ 14315 w 301517"/>
                <a:gd name="connsiteY3" fmla="*/ 75669 h 75668"/>
                <a:gd name="connsiteX4" fmla="*/ 0 w 301517"/>
                <a:gd name="connsiteY4" fmla="*/ 61353 h 75668"/>
                <a:gd name="connsiteX5" fmla="*/ 0 w 301517"/>
                <a:gd name="connsiteY5" fmla="*/ 0 h 756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01517" h="75668">
                  <a:moveTo>
                    <a:pt x="301517" y="0"/>
                  </a:moveTo>
                  <a:lnTo>
                    <a:pt x="301517" y="61353"/>
                  </a:lnTo>
                  <a:cubicBezTo>
                    <a:pt x="301517" y="69227"/>
                    <a:pt x="295075" y="75669"/>
                    <a:pt x="287202" y="75669"/>
                  </a:cubicBezTo>
                  <a:lnTo>
                    <a:pt x="14315" y="75669"/>
                  </a:lnTo>
                  <a:cubicBezTo>
                    <a:pt x="6442" y="75669"/>
                    <a:pt x="0" y="69227"/>
                    <a:pt x="0" y="61353"/>
                  </a:cubicBezTo>
                  <a:lnTo>
                    <a:pt x="0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81" name="Forma livre: Forma 980">
              <a:extLst>
                <a:ext uri="{FF2B5EF4-FFF2-40B4-BE49-F238E27FC236}">
                  <a16:creationId xmlns:a16="http://schemas.microsoft.com/office/drawing/2014/main" id="{EFE8590A-AB7D-89BA-CCD4-6BAB26D0DCA8}"/>
                </a:ext>
              </a:extLst>
            </p:cNvPr>
            <p:cNvSpPr/>
            <p:nvPr/>
          </p:nvSpPr>
          <p:spPr>
            <a:xfrm>
              <a:off x="6329213" y="2758601"/>
              <a:ext cx="81323" cy="1192"/>
            </a:xfrm>
            <a:custGeom>
              <a:avLst/>
              <a:gdLst>
                <a:gd name="connsiteX0" fmla="*/ 81323 w 81323"/>
                <a:gd name="connsiteY0" fmla="*/ 0 h 1192"/>
                <a:gd name="connsiteX1" fmla="*/ 0 w 81323"/>
                <a:gd name="connsiteY1" fmla="*/ 0 h 11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1323" h="1192">
                  <a:moveTo>
                    <a:pt x="81323" y="0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82" name="Forma livre: Forma 981">
              <a:extLst>
                <a:ext uri="{FF2B5EF4-FFF2-40B4-BE49-F238E27FC236}">
                  <a16:creationId xmlns:a16="http://schemas.microsoft.com/office/drawing/2014/main" id="{03563208-66B8-3FEA-62FE-02BADE441D90}"/>
                </a:ext>
              </a:extLst>
            </p:cNvPr>
            <p:cNvSpPr/>
            <p:nvPr/>
          </p:nvSpPr>
          <p:spPr>
            <a:xfrm>
              <a:off x="6229518" y="2690746"/>
              <a:ext cx="301517" cy="67854"/>
            </a:xfrm>
            <a:custGeom>
              <a:avLst/>
              <a:gdLst>
                <a:gd name="connsiteX0" fmla="*/ 45821 w 301517"/>
                <a:gd name="connsiteY0" fmla="*/ 67855 h 67854"/>
                <a:gd name="connsiteX1" fmla="*/ 0 w 301517"/>
                <a:gd name="connsiteY1" fmla="*/ 67855 h 67854"/>
                <a:gd name="connsiteX2" fmla="*/ 0 w 301517"/>
                <a:gd name="connsiteY2" fmla="*/ 14315 h 67854"/>
                <a:gd name="connsiteX3" fmla="*/ 14315 w 301517"/>
                <a:gd name="connsiteY3" fmla="*/ 0 h 67854"/>
                <a:gd name="connsiteX4" fmla="*/ 287202 w 301517"/>
                <a:gd name="connsiteY4" fmla="*/ 0 h 67854"/>
                <a:gd name="connsiteX5" fmla="*/ 301517 w 301517"/>
                <a:gd name="connsiteY5" fmla="*/ 14315 h 67854"/>
                <a:gd name="connsiteX6" fmla="*/ 301517 w 301517"/>
                <a:gd name="connsiteY6" fmla="*/ 67855 h 67854"/>
                <a:gd name="connsiteX7" fmla="*/ 235905 w 301517"/>
                <a:gd name="connsiteY7" fmla="*/ 67855 h 678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01517" h="67854">
                  <a:moveTo>
                    <a:pt x="45821" y="67855"/>
                  </a:moveTo>
                  <a:lnTo>
                    <a:pt x="0" y="67855"/>
                  </a:lnTo>
                  <a:lnTo>
                    <a:pt x="0" y="14315"/>
                  </a:lnTo>
                  <a:cubicBezTo>
                    <a:pt x="0" y="6442"/>
                    <a:pt x="6442" y="0"/>
                    <a:pt x="14315" y="0"/>
                  </a:cubicBezTo>
                  <a:lnTo>
                    <a:pt x="287202" y="0"/>
                  </a:lnTo>
                  <a:cubicBezTo>
                    <a:pt x="295075" y="0"/>
                    <a:pt x="301517" y="6442"/>
                    <a:pt x="301517" y="14315"/>
                  </a:cubicBezTo>
                  <a:lnTo>
                    <a:pt x="301517" y="67855"/>
                  </a:lnTo>
                  <a:lnTo>
                    <a:pt x="235905" y="67855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983" name="Gráfico 9">
              <a:extLst>
                <a:ext uri="{FF2B5EF4-FFF2-40B4-BE49-F238E27FC236}">
                  <a16:creationId xmlns:a16="http://schemas.microsoft.com/office/drawing/2014/main" id="{565B6200-EBDC-2924-F622-B074168510E4}"/>
                </a:ext>
              </a:extLst>
            </p:cNvPr>
            <p:cNvGrpSpPr/>
            <p:nvPr/>
          </p:nvGrpSpPr>
          <p:grpSpPr>
            <a:xfrm>
              <a:off x="6295655" y="2736507"/>
              <a:ext cx="169243" cy="44329"/>
              <a:chOff x="6295655" y="2736507"/>
              <a:chExt cx="169243" cy="44329"/>
            </a:xfrm>
            <a:noFill/>
          </p:grpSpPr>
          <p:sp>
            <p:nvSpPr>
              <p:cNvPr id="984" name="Forma livre: Forma 983">
                <a:extLst>
                  <a:ext uri="{FF2B5EF4-FFF2-40B4-BE49-F238E27FC236}">
                    <a16:creationId xmlns:a16="http://schemas.microsoft.com/office/drawing/2014/main" id="{10D6332E-B16C-DF90-80FD-4E514E571BBD}"/>
                  </a:ext>
                </a:extLst>
              </p:cNvPr>
              <p:cNvSpPr/>
              <p:nvPr/>
            </p:nvSpPr>
            <p:spPr>
              <a:xfrm>
                <a:off x="6295655" y="2736507"/>
                <a:ext cx="32817" cy="44329"/>
              </a:xfrm>
              <a:custGeom>
                <a:avLst/>
                <a:gdLst>
                  <a:gd name="connsiteX0" fmla="*/ 0 w 32817"/>
                  <a:gd name="connsiteY0" fmla="*/ 0 h 44329"/>
                  <a:gd name="connsiteX1" fmla="*/ 32818 w 32817"/>
                  <a:gd name="connsiteY1" fmla="*/ 0 h 44329"/>
                  <a:gd name="connsiteX2" fmla="*/ 32818 w 32817"/>
                  <a:gd name="connsiteY2" fmla="*/ 44330 h 44329"/>
                  <a:gd name="connsiteX3" fmla="*/ 0 w 32817"/>
                  <a:gd name="connsiteY3" fmla="*/ 44330 h 443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2817" h="44329">
                    <a:moveTo>
                      <a:pt x="0" y="0"/>
                    </a:moveTo>
                    <a:lnTo>
                      <a:pt x="32818" y="0"/>
                    </a:lnTo>
                    <a:lnTo>
                      <a:pt x="32818" y="44330"/>
                    </a:lnTo>
                    <a:lnTo>
                      <a:pt x="0" y="44330"/>
                    </a:ln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85" name="Forma livre: Forma 984">
                <a:extLst>
                  <a:ext uri="{FF2B5EF4-FFF2-40B4-BE49-F238E27FC236}">
                    <a16:creationId xmlns:a16="http://schemas.microsoft.com/office/drawing/2014/main" id="{DD19DA5C-6BE7-63A5-2E7B-A25956E158EA}"/>
                  </a:ext>
                </a:extLst>
              </p:cNvPr>
              <p:cNvSpPr/>
              <p:nvPr/>
            </p:nvSpPr>
            <p:spPr>
              <a:xfrm>
                <a:off x="6432081" y="2736507"/>
                <a:ext cx="32817" cy="44329"/>
              </a:xfrm>
              <a:custGeom>
                <a:avLst/>
                <a:gdLst>
                  <a:gd name="connsiteX0" fmla="*/ 0 w 32817"/>
                  <a:gd name="connsiteY0" fmla="*/ 0 h 44329"/>
                  <a:gd name="connsiteX1" fmla="*/ 32818 w 32817"/>
                  <a:gd name="connsiteY1" fmla="*/ 0 h 44329"/>
                  <a:gd name="connsiteX2" fmla="*/ 32818 w 32817"/>
                  <a:gd name="connsiteY2" fmla="*/ 44330 h 44329"/>
                  <a:gd name="connsiteX3" fmla="*/ 0 w 32817"/>
                  <a:gd name="connsiteY3" fmla="*/ 44330 h 443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2817" h="44329">
                    <a:moveTo>
                      <a:pt x="0" y="0"/>
                    </a:moveTo>
                    <a:lnTo>
                      <a:pt x="32818" y="0"/>
                    </a:lnTo>
                    <a:lnTo>
                      <a:pt x="32818" y="44330"/>
                    </a:lnTo>
                    <a:lnTo>
                      <a:pt x="0" y="44330"/>
                    </a:ln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986" name="Gráfico 9">
            <a:extLst>
              <a:ext uri="{FF2B5EF4-FFF2-40B4-BE49-F238E27FC236}">
                <a16:creationId xmlns:a16="http://schemas.microsoft.com/office/drawing/2014/main" id="{F839E5B3-3D6D-344D-F088-52F44AE94314}"/>
              </a:ext>
            </a:extLst>
          </p:cNvPr>
          <p:cNvGrpSpPr/>
          <p:nvPr/>
        </p:nvGrpSpPr>
        <p:grpSpPr>
          <a:xfrm>
            <a:off x="7488137" y="2635178"/>
            <a:ext cx="322202" cy="221124"/>
            <a:chOff x="7488137" y="2635178"/>
            <a:chExt cx="322202" cy="221124"/>
          </a:xfrm>
          <a:noFill/>
        </p:grpSpPr>
        <p:sp>
          <p:nvSpPr>
            <p:cNvPr id="987" name="Forma livre: Forma 986">
              <a:extLst>
                <a:ext uri="{FF2B5EF4-FFF2-40B4-BE49-F238E27FC236}">
                  <a16:creationId xmlns:a16="http://schemas.microsoft.com/office/drawing/2014/main" id="{201034DA-C8CD-DE97-19F2-A0644AFE56E9}"/>
                </a:ext>
              </a:extLst>
            </p:cNvPr>
            <p:cNvSpPr/>
            <p:nvPr/>
          </p:nvSpPr>
          <p:spPr>
            <a:xfrm>
              <a:off x="7488137" y="2635178"/>
              <a:ext cx="48338" cy="221124"/>
            </a:xfrm>
            <a:custGeom>
              <a:avLst/>
              <a:gdLst>
                <a:gd name="connsiteX0" fmla="*/ 0 w 48338"/>
                <a:gd name="connsiteY0" fmla="*/ 0 h 221124"/>
                <a:gd name="connsiteX1" fmla="*/ 48338 w 48338"/>
                <a:gd name="connsiteY1" fmla="*/ 0 h 221124"/>
                <a:gd name="connsiteX2" fmla="*/ 48338 w 48338"/>
                <a:gd name="connsiteY2" fmla="*/ 221125 h 221124"/>
                <a:gd name="connsiteX3" fmla="*/ 0 w 48338"/>
                <a:gd name="connsiteY3" fmla="*/ 221125 h 221124"/>
                <a:gd name="connsiteX4" fmla="*/ 0 w 48338"/>
                <a:gd name="connsiteY4" fmla="*/ 27867 h 2211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8338" h="221124">
                  <a:moveTo>
                    <a:pt x="0" y="0"/>
                  </a:moveTo>
                  <a:lnTo>
                    <a:pt x="48338" y="0"/>
                  </a:lnTo>
                  <a:lnTo>
                    <a:pt x="48338" y="221125"/>
                  </a:lnTo>
                  <a:lnTo>
                    <a:pt x="0" y="221125"/>
                  </a:lnTo>
                  <a:lnTo>
                    <a:pt x="0" y="27867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88" name="Forma livre: Forma 987">
              <a:extLst>
                <a:ext uri="{FF2B5EF4-FFF2-40B4-BE49-F238E27FC236}">
                  <a16:creationId xmlns:a16="http://schemas.microsoft.com/office/drawing/2014/main" id="{82422886-7286-E716-816F-D3A9E5A8EBAE}"/>
                </a:ext>
              </a:extLst>
            </p:cNvPr>
            <p:cNvSpPr/>
            <p:nvPr/>
          </p:nvSpPr>
          <p:spPr>
            <a:xfrm>
              <a:off x="7566919" y="2635179"/>
              <a:ext cx="48338" cy="221124"/>
            </a:xfrm>
            <a:custGeom>
              <a:avLst/>
              <a:gdLst>
                <a:gd name="connsiteX0" fmla="*/ 0 w 48338"/>
                <a:gd name="connsiteY0" fmla="*/ 0 h 221124"/>
                <a:gd name="connsiteX1" fmla="*/ 48338 w 48338"/>
                <a:gd name="connsiteY1" fmla="*/ 0 h 221124"/>
                <a:gd name="connsiteX2" fmla="*/ 48338 w 48338"/>
                <a:gd name="connsiteY2" fmla="*/ 221124 h 221124"/>
                <a:gd name="connsiteX3" fmla="*/ 0 w 48338"/>
                <a:gd name="connsiteY3" fmla="*/ 221124 h 2211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8338" h="221124">
                  <a:moveTo>
                    <a:pt x="0" y="0"/>
                  </a:moveTo>
                  <a:lnTo>
                    <a:pt x="48338" y="0"/>
                  </a:lnTo>
                  <a:lnTo>
                    <a:pt x="48338" y="221124"/>
                  </a:lnTo>
                  <a:lnTo>
                    <a:pt x="0" y="221124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89" name="Forma livre: Forma 988">
              <a:extLst>
                <a:ext uri="{FF2B5EF4-FFF2-40B4-BE49-F238E27FC236}">
                  <a16:creationId xmlns:a16="http://schemas.microsoft.com/office/drawing/2014/main" id="{6D5C2A00-A4F5-7214-2CEA-70824FC71A62}"/>
                </a:ext>
              </a:extLst>
            </p:cNvPr>
            <p:cNvSpPr/>
            <p:nvPr/>
          </p:nvSpPr>
          <p:spPr>
            <a:xfrm>
              <a:off x="7645701" y="2635179"/>
              <a:ext cx="48338" cy="221124"/>
            </a:xfrm>
            <a:custGeom>
              <a:avLst/>
              <a:gdLst>
                <a:gd name="connsiteX0" fmla="*/ 0 w 48338"/>
                <a:gd name="connsiteY0" fmla="*/ 0 h 221124"/>
                <a:gd name="connsiteX1" fmla="*/ 48338 w 48338"/>
                <a:gd name="connsiteY1" fmla="*/ 0 h 221124"/>
                <a:gd name="connsiteX2" fmla="*/ 48338 w 48338"/>
                <a:gd name="connsiteY2" fmla="*/ 221124 h 221124"/>
                <a:gd name="connsiteX3" fmla="*/ 0 w 48338"/>
                <a:gd name="connsiteY3" fmla="*/ 221124 h 2211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8338" h="221124">
                  <a:moveTo>
                    <a:pt x="0" y="0"/>
                  </a:moveTo>
                  <a:lnTo>
                    <a:pt x="48338" y="0"/>
                  </a:lnTo>
                  <a:lnTo>
                    <a:pt x="48338" y="221124"/>
                  </a:lnTo>
                  <a:lnTo>
                    <a:pt x="0" y="221124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90" name="Forma livre: Forma 989">
              <a:extLst>
                <a:ext uri="{FF2B5EF4-FFF2-40B4-BE49-F238E27FC236}">
                  <a16:creationId xmlns:a16="http://schemas.microsoft.com/office/drawing/2014/main" id="{62018CE2-9ACE-E50F-C6CE-B48A4737BDF9}"/>
                </a:ext>
              </a:extLst>
            </p:cNvPr>
            <p:cNvSpPr/>
            <p:nvPr/>
          </p:nvSpPr>
          <p:spPr>
            <a:xfrm>
              <a:off x="7724471" y="2635179"/>
              <a:ext cx="48338" cy="221124"/>
            </a:xfrm>
            <a:custGeom>
              <a:avLst/>
              <a:gdLst>
                <a:gd name="connsiteX0" fmla="*/ 0 w 48338"/>
                <a:gd name="connsiteY0" fmla="*/ 0 h 221124"/>
                <a:gd name="connsiteX1" fmla="*/ 48338 w 48338"/>
                <a:gd name="connsiteY1" fmla="*/ 0 h 221124"/>
                <a:gd name="connsiteX2" fmla="*/ 48338 w 48338"/>
                <a:gd name="connsiteY2" fmla="*/ 221124 h 221124"/>
                <a:gd name="connsiteX3" fmla="*/ 0 w 48338"/>
                <a:gd name="connsiteY3" fmla="*/ 221124 h 2211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8338" h="221124">
                  <a:moveTo>
                    <a:pt x="0" y="0"/>
                  </a:moveTo>
                  <a:lnTo>
                    <a:pt x="48338" y="0"/>
                  </a:lnTo>
                  <a:lnTo>
                    <a:pt x="48338" y="221124"/>
                  </a:lnTo>
                  <a:lnTo>
                    <a:pt x="0" y="221124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991" name="Gráfico 9">
              <a:extLst>
                <a:ext uri="{FF2B5EF4-FFF2-40B4-BE49-F238E27FC236}">
                  <a16:creationId xmlns:a16="http://schemas.microsoft.com/office/drawing/2014/main" id="{ECAE97B4-B85F-FFD0-88C0-0EAAD7BBE3EE}"/>
                </a:ext>
              </a:extLst>
            </p:cNvPr>
            <p:cNvGrpSpPr/>
            <p:nvPr/>
          </p:nvGrpSpPr>
          <p:grpSpPr>
            <a:xfrm>
              <a:off x="7536952" y="2664477"/>
              <a:ext cx="273387" cy="162526"/>
              <a:chOff x="7536952" y="2664477"/>
              <a:chExt cx="273387" cy="162526"/>
            </a:xfrm>
            <a:noFill/>
          </p:grpSpPr>
          <p:grpSp>
            <p:nvGrpSpPr>
              <p:cNvPr id="992" name="Gráfico 9">
                <a:extLst>
                  <a:ext uri="{FF2B5EF4-FFF2-40B4-BE49-F238E27FC236}">
                    <a16:creationId xmlns:a16="http://schemas.microsoft.com/office/drawing/2014/main" id="{7289FFBB-511C-F2C3-338B-11C57BC7809A}"/>
                  </a:ext>
                </a:extLst>
              </p:cNvPr>
              <p:cNvGrpSpPr/>
              <p:nvPr/>
            </p:nvGrpSpPr>
            <p:grpSpPr>
              <a:xfrm>
                <a:off x="7536952" y="2664477"/>
                <a:ext cx="273387" cy="32961"/>
                <a:chOff x="7536952" y="2664477"/>
                <a:chExt cx="273387" cy="32961"/>
              </a:xfrm>
              <a:noFill/>
            </p:grpSpPr>
            <p:sp>
              <p:nvSpPr>
                <p:cNvPr id="993" name="Forma livre: Forma 992">
                  <a:extLst>
                    <a:ext uri="{FF2B5EF4-FFF2-40B4-BE49-F238E27FC236}">
                      <a16:creationId xmlns:a16="http://schemas.microsoft.com/office/drawing/2014/main" id="{CE28D89B-FD29-F7A8-315C-2EEFC1591617}"/>
                    </a:ext>
                  </a:extLst>
                </p:cNvPr>
                <p:cNvSpPr/>
                <p:nvPr/>
              </p:nvSpPr>
              <p:spPr>
                <a:xfrm>
                  <a:off x="7791407" y="2664477"/>
                  <a:ext cx="18932" cy="32961"/>
                </a:xfrm>
                <a:custGeom>
                  <a:avLst/>
                  <a:gdLst>
                    <a:gd name="connsiteX0" fmla="*/ 0 w 18932"/>
                    <a:gd name="connsiteY0" fmla="*/ 0 h 32961"/>
                    <a:gd name="connsiteX1" fmla="*/ 13862 w 18932"/>
                    <a:gd name="connsiteY1" fmla="*/ 0 h 32961"/>
                    <a:gd name="connsiteX2" fmla="*/ 18932 w 18932"/>
                    <a:gd name="connsiteY2" fmla="*/ 5070 h 32961"/>
                    <a:gd name="connsiteX3" fmla="*/ 18932 w 18932"/>
                    <a:gd name="connsiteY3" fmla="*/ 27891 h 32961"/>
                    <a:gd name="connsiteX4" fmla="*/ 13862 w 18932"/>
                    <a:gd name="connsiteY4" fmla="*/ 32961 h 32961"/>
                    <a:gd name="connsiteX5" fmla="*/ 167 w 18932"/>
                    <a:gd name="connsiteY5" fmla="*/ 32961 h 3296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18932" h="32961">
                      <a:moveTo>
                        <a:pt x="0" y="0"/>
                      </a:moveTo>
                      <a:lnTo>
                        <a:pt x="13862" y="0"/>
                      </a:lnTo>
                      <a:cubicBezTo>
                        <a:pt x="16653" y="0"/>
                        <a:pt x="18932" y="2279"/>
                        <a:pt x="18932" y="5070"/>
                      </a:cubicBezTo>
                      <a:lnTo>
                        <a:pt x="18932" y="27891"/>
                      </a:lnTo>
                      <a:cubicBezTo>
                        <a:pt x="18932" y="30683"/>
                        <a:pt x="16653" y="32961"/>
                        <a:pt x="13862" y="32961"/>
                      </a:cubicBezTo>
                      <a:lnTo>
                        <a:pt x="167" y="32961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grpSp>
              <p:nvGrpSpPr>
                <p:cNvPr id="994" name="Gráfico 9">
                  <a:extLst>
                    <a:ext uri="{FF2B5EF4-FFF2-40B4-BE49-F238E27FC236}">
                      <a16:creationId xmlns:a16="http://schemas.microsoft.com/office/drawing/2014/main" id="{BF3334A2-72E5-7FBA-B2C9-EC777940E849}"/>
                    </a:ext>
                  </a:extLst>
                </p:cNvPr>
                <p:cNvGrpSpPr/>
                <p:nvPr/>
              </p:nvGrpSpPr>
              <p:grpSpPr>
                <a:xfrm>
                  <a:off x="7536952" y="2666004"/>
                  <a:ext cx="186827" cy="29907"/>
                  <a:chOff x="7536952" y="2666004"/>
                  <a:chExt cx="186827" cy="29907"/>
                </a:xfrm>
              </p:grpSpPr>
              <p:grpSp>
                <p:nvGrpSpPr>
                  <p:cNvPr id="995" name="Gráfico 9">
                    <a:extLst>
                      <a:ext uri="{FF2B5EF4-FFF2-40B4-BE49-F238E27FC236}">
                        <a16:creationId xmlns:a16="http://schemas.microsoft.com/office/drawing/2014/main" id="{B33F0340-EC93-F71A-78B4-0F506B97F932}"/>
                      </a:ext>
                    </a:extLst>
                  </p:cNvPr>
                  <p:cNvGrpSpPr/>
                  <p:nvPr/>
                </p:nvGrpSpPr>
                <p:grpSpPr>
                  <a:xfrm>
                    <a:off x="7536952" y="2666004"/>
                    <a:ext cx="186827" cy="1192"/>
                    <a:chOff x="7536952" y="2666004"/>
                    <a:chExt cx="186827" cy="1192"/>
                  </a:xfrm>
                </p:grpSpPr>
                <p:sp>
                  <p:nvSpPr>
                    <p:cNvPr id="996" name="Forma livre: Forma 995">
                      <a:extLst>
                        <a:ext uri="{FF2B5EF4-FFF2-40B4-BE49-F238E27FC236}">
                          <a16:creationId xmlns:a16="http://schemas.microsoft.com/office/drawing/2014/main" id="{60A5225B-B17E-90DD-B905-6BA626EE9D02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7696723" y="2666004"/>
                      <a:ext cx="27056" cy="1192"/>
                    </a:xfrm>
                    <a:custGeom>
                      <a:avLst/>
                      <a:gdLst>
                        <a:gd name="connsiteX0" fmla="*/ 27056 w 27056"/>
                        <a:gd name="connsiteY0" fmla="*/ 0 h 1192"/>
                        <a:gd name="connsiteX1" fmla="*/ 0 w 27056"/>
                        <a:gd name="connsiteY1" fmla="*/ 0 h 1192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27056" h="1192">
                          <a:moveTo>
                            <a:pt x="27056" y="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6350" cap="flat">
                      <a:solidFill>
                        <a:schemeClr val="accent2"/>
                      </a:solidFill>
                      <a:prstDash val="solid"/>
                      <a:round/>
                    </a:ln>
                  </p:spPr>
                  <p:txBody>
                    <a:bodyPr rtlCol="0" anchor="ctr"/>
                    <a:lstStyle/>
                    <a:p>
                      <a:endParaRPr lang="pt-PT"/>
                    </a:p>
                  </p:txBody>
                </p:sp>
                <p:sp>
                  <p:nvSpPr>
                    <p:cNvPr id="997" name="Forma livre: Forma 996">
                      <a:extLst>
                        <a:ext uri="{FF2B5EF4-FFF2-40B4-BE49-F238E27FC236}">
                          <a16:creationId xmlns:a16="http://schemas.microsoft.com/office/drawing/2014/main" id="{72EE56E7-C2E9-0C08-CB6B-31F76669DD78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7616843" y="2666004"/>
                      <a:ext cx="27044" cy="1192"/>
                    </a:xfrm>
                    <a:custGeom>
                      <a:avLst/>
                      <a:gdLst>
                        <a:gd name="connsiteX0" fmla="*/ 27044 w 27044"/>
                        <a:gd name="connsiteY0" fmla="*/ 0 h 1192"/>
                        <a:gd name="connsiteX1" fmla="*/ 0 w 27044"/>
                        <a:gd name="connsiteY1" fmla="*/ 0 h 1192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27044" h="1192">
                          <a:moveTo>
                            <a:pt x="27044" y="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6350" cap="flat">
                      <a:solidFill>
                        <a:schemeClr val="accent2"/>
                      </a:solidFill>
                      <a:prstDash val="solid"/>
                      <a:round/>
                    </a:ln>
                  </p:spPr>
                  <p:txBody>
                    <a:bodyPr rtlCol="0" anchor="ctr"/>
                    <a:lstStyle/>
                    <a:p>
                      <a:endParaRPr lang="pt-PT"/>
                    </a:p>
                  </p:txBody>
                </p:sp>
                <p:sp>
                  <p:nvSpPr>
                    <p:cNvPr id="998" name="Forma livre: Forma 997">
                      <a:extLst>
                        <a:ext uri="{FF2B5EF4-FFF2-40B4-BE49-F238E27FC236}">
                          <a16:creationId xmlns:a16="http://schemas.microsoft.com/office/drawing/2014/main" id="{F9A6CE07-7E6D-0B48-FBCB-7AFD4699D55F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7536952" y="2666004"/>
                      <a:ext cx="27044" cy="1192"/>
                    </a:xfrm>
                    <a:custGeom>
                      <a:avLst/>
                      <a:gdLst>
                        <a:gd name="connsiteX0" fmla="*/ 27044 w 27044"/>
                        <a:gd name="connsiteY0" fmla="*/ 0 h 1192"/>
                        <a:gd name="connsiteX1" fmla="*/ 0 w 27044"/>
                        <a:gd name="connsiteY1" fmla="*/ 0 h 1192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27044" h="1192">
                          <a:moveTo>
                            <a:pt x="27044" y="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6350" cap="flat">
                      <a:solidFill>
                        <a:schemeClr val="accent2"/>
                      </a:solidFill>
                      <a:prstDash val="solid"/>
                      <a:round/>
                    </a:ln>
                  </p:spPr>
                  <p:txBody>
                    <a:bodyPr rtlCol="0" anchor="ctr"/>
                    <a:lstStyle/>
                    <a:p>
                      <a:endParaRPr lang="pt-PT"/>
                    </a:p>
                  </p:txBody>
                </p:sp>
              </p:grpSp>
              <p:grpSp>
                <p:nvGrpSpPr>
                  <p:cNvPr id="999" name="Gráfico 9">
                    <a:extLst>
                      <a:ext uri="{FF2B5EF4-FFF2-40B4-BE49-F238E27FC236}">
                        <a16:creationId xmlns:a16="http://schemas.microsoft.com/office/drawing/2014/main" id="{11787B3E-96F4-C774-486D-4CE7A8F0D3B5}"/>
                      </a:ext>
                    </a:extLst>
                  </p:cNvPr>
                  <p:cNvGrpSpPr/>
                  <p:nvPr/>
                </p:nvGrpSpPr>
                <p:grpSpPr>
                  <a:xfrm>
                    <a:off x="7536952" y="2695911"/>
                    <a:ext cx="186827" cy="1192"/>
                    <a:chOff x="7536952" y="2695911"/>
                    <a:chExt cx="186827" cy="1192"/>
                  </a:xfrm>
                </p:grpSpPr>
                <p:sp>
                  <p:nvSpPr>
                    <p:cNvPr id="1000" name="Forma livre: Forma 999">
                      <a:extLst>
                        <a:ext uri="{FF2B5EF4-FFF2-40B4-BE49-F238E27FC236}">
                          <a16:creationId xmlns:a16="http://schemas.microsoft.com/office/drawing/2014/main" id="{C73AC0B2-66B8-D7A0-623B-86C9E805230D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7696723" y="2695911"/>
                      <a:ext cx="27056" cy="1192"/>
                    </a:xfrm>
                    <a:custGeom>
                      <a:avLst/>
                      <a:gdLst>
                        <a:gd name="connsiteX0" fmla="*/ 27056 w 27056"/>
                        <a:gd name="connsiteY0" fmla="*/ 0 h 1192"/>
                        <a:gd name="connsiteX1" fmla="*/ 0 w 27056"/>
                        <a:gd name="connsiteY1" fmla="*/ 0 h 1192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27056" h="1192">
                          <a:moveTo>
                            <a:pt x="27056" y="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6350" cap="flat">
                      <a:solidFill>
                        <a:schemeClr val="accent2"/>
                      </a:solidFill>
                      <a:prstDash val="solid"/>
                      <a:round/>
                    </a:ln>
                  </p:spPr>
                  <p:txBody>
                    <a:bodyPr rtlCol="0" anchor="ctr"/>
                    <a:lstStyle/>
                    <a:p>
                      <a:endParaRPr lang="pt-PT"/>
                    </a:p>
                  </p:txBody>
                </p:sp>
                <p:sp>
                  <p:nvSpPr>
                    <p:cNvPr id="1001" name="Forma livre: Forma 1000">
                      <a:extLst>
                        <a:ext uri="{FF2B5EF4-FFF2-40B4-BE49-F238E27FC236}">
                          <a16:creationId xmlns:a16="http://schemas.microsoft.com/office/drawing/2014/main" id="{5FAB6829-4908-670A-45A9-FA9E8E5C8CF4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7616843" y="2695911"/>
                      <a:ext cx="27044" cy="1192"/>
                    </a:xfrm>
                    <a:custGeom>
                      <a:avLst/>
                      <a:gdLst>
                        <a:gd name="connsiteX0" fmla="*/ 27044 w 27044"/>
                        <a:gd name="connsiteY0" fmla="*/ 0 h 1192"/>
                        <a:gd name="connsiteX1" fmla="*/ 0 w 27044"/>
                        <a:gd name="connsiteY1" fmla="*/ 0 h 1192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27044" h="1192">
                          <a:moveTo>
                            <a:pt x="27044" y="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6350" cap="flat">
                      <a:solidFill>
                        <a:schemeClr val="accent2"/>
                      </a:solidFill>
                      <a:prstDash val="solid"/>
                      <a:round/>
                    </a:ln>
                  </p:spPr>
                  <p:txBody>
                    <a:bodyPr rtlCol="0" anchor="ctr"/>
                    <a:lstStyle/>
                    <a:p>
                      <a:endParaRPr lang="pt-PT"/>
                    </a:p>
                  </p:txBody>
                </p:sp>
                <p:sp>
                  <p:nvSpPr>
                    <p:cNvPr id="1002" name="Forma livre: Forma 1001">
                      <a:extLst>
                        <a:ext uri="{FF2B5EF4-FFF2-40B4-BE49-F238E27FC236}">
                          <a16:creationId xmlns:a16="http://schemas.microsoft.com/office/drawing/2014/main" id="{FF790725-23DA-BDF4-61D2-800DAE69DC6D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7536952" y="2695911"/>
                      <a:ext cx="27044" cy="1192"/>
                    </a:xfrm>
                    <a:custGeom>
                      <a:avLst/>
                      <a:gdLst>
                        <a:gd name="connsiteX0" fmla="*/ 27044 w 27044"/>
                        <a:gd name="connsiteY0" fmla="*/ 0 h 1192"/>
                        <a:gd name="connsiteX1" fmla="*/ 0 w 27044"/>
                        <a:gd name="connsiteY1" fmla="*/ 0 h 1192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27044" h="1192">
                          <a:moveTo>
                            <a:pt x="27044" y="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6350" cap="flat">
                      <a:solidFill>
                        <a:schemeClr val="accent2"/>
                      </a:solidFill>
                      <a:prstDash val="solid"/>
                      <a:round/>
                    </a:ln>
                  </p:spPr>
                  <p:txBody>
                    <a:bodyPr rtlCol="0" anchor="ctr"/>
                    <a:lstStyle/>
                    <a:p>
                      <a:endParaRPr lang="pt-PT"/>
                    </a:p>
                  </p:txBody>
                </p:sp>
              </p:grpSp>
            </p:grpSp>
          </p:grpSp>
          <p:grpSp>
            <p:nvGrpSpPr>
              <p:cNvPr id="1003" name="Gráfico 9">
                <a:extLst>
                  <a:ext uri="{FF2B5EF4-FFF2-40B4-BE49-F238E27FC236}">
                    <a16:creationId xmlns:a16="http://schemas.microsoft.com/office/drawing/2014/main" id="{3560A821-3690-5296-79A0-D5FBD6333621}"/>
                  </a:ext>
                </a:extLst>
              </p:cNvPr>
              <p:cNvGrpSpPr/>
              <p:nvPr/>
            </p:nvGrpSpPr>
            <p:grpSpPr>
              <a:xfrm>
                <a:off x="7536952" y="2797073"/>
                <a:ext cx="186827" cy="29931"/>
                <a:chOff x="7536952" y="2797073"/>
                <a:chExt cx="186827" cy="29931"/>
              </a:xfrm>
            </p:grpSpPr>
            <p:grpSp>
              <p:nvGrpSpPr>
                <p:cNvPr id="1004" name="Gráfico 9">
                  <a:extLst>
                    <a:ext uri="{FF2B5EF4-FFF2-40B4-BE49-F238E27FC236}">
                      <a16:creationId xmlns:a16="http://schemas.microsoft.com/office/drawing/2014/main" id="{50EB8353-89C0-9AA0-158D-14D1B4093F59}"/>
                    </a:ext>
                  </a:extLst>
                </p:cNvPr>
                <p:cNvGrpSpPr/>
                <p:nvPr/>
              </p:nvGrpSpPr>
              <p:grpSpPr>
                <a:xfrm>
                  <a:off x="7536952" y="2797073"/>
                  <a:ext cx="186827" cy="1192"/>
                  <a:chOff x="7536952" y="2797073"/>
                  <a:chExt cx="186827" cy="1192"/>
                </a:xfrm>
              </p:grpSpPr>
              <p:sp>
                <p:nvSpPr>
                  <p:cNvPr id="1005" name="Forma livre: Forma 1004">
                    <a:extLst>
                      <a:ext uri="{FF2B5EF4-FFF2-40B4-BE49-F238E27FC236}">
                        <a16:creationId xmlns:a16="http://schemas.microsoft.com/office/drawing/2014/main" id="{B0759084-CA0F-000F-E838-D2C3A099DD94}"/>
                      </a:ext>
                    </a:extLst>
                  </p:cNvPr>
                  <p:cNvSpPr/>
                  <p:nvPr/>
                </p:nvSpPr>
                <p:spPr>
                  <a:xfrm>
                    <a:off x="7696723" y="2797073"/>
                    <a:ext cx="27056" cy="1192"/>
                  </a:xfrm>
                  <a:custGeom>
                    <a:avLst/>
                    <a:gdLst>
                      <a:gd name="connsiteX0" fmla="*/ 27056 w 27056"/>
                      <a:gd name="connsiteY0" fmla="*/ 0 h 1192"/>
                      <a:gd name="connsiteX1" fmla="*/ 0 w 27056"/>
                      <a:gd name="connsiteY1" fmla="*/ 0 h 119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27056" h="1192">
                        <a:moveTo>
                          <a:pt x="27056" y="0"/>
                        </a:moveTo>
                        <a:lnTo>
                          <a:pt x="0" y="0"/>
                        </a:lnTo>
                      </a:path>
                    </a:pathLst>
                  </a:custGeom>
                  <a:ln w="6350" cap="flat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1006" name="Forma livre: Forma 1005">
                    <a:extLst>
                      <a:ext uri="{FF2B5EF4-FFF2-40B4-BE49-F238E27FC236}">
                        <a16:creationId xmlns:a16="http://schemas.microsoft.com/office/drawing/2014/main" id="{C2534C33-FD0C-CAC3-B744-01273177DD02}"/>
                      </a:ext>
                    </a:extLst>
                  </p:cNvPr>
                  <p:cNvSpPr/>
                  <p:nvPr/>
                </p:nvSpPr>
                <p:spPr>
                  <a:xfrm>
                    <a:off x="7616843" y="2797073"/>
                    <a:ext cx="27044" cy="1192"/>
                  </a:xfrm>
                  <a:custGeom>
                    <a:avLst/>
                    <a:gdLst>
                      <a:gd name="connsiteX0" fmla="*/ 27044 w 27044"/>
                      <a:gd name="connsiteY0" fmla="*/ 0 h 1192"/>
                      <a:gd name="connsiteX1" fmla="*/ 0 w 27044"/>
                      <a:gd name="connsiteY1" fmla="*/ 0 h 119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27044" h="1192">
                        <a:moveTo>
                          <a:pt x="27044" y="0"/>
                        </a:moveTo>
                        <a:lnTo>
                          <a:pt x="0" y="0"/>
                        </a:lnTo>
                      </a:path>
                    </a:pathLst>
                  </a:custGeom>
                  <a:ln w="6350" cap="flat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1007" name="Forma livre: Forma 1006">
                    <a:extLst>
                      <a:ext uri="{FF2B5EF4-FFF2-40B4-BE49-F238E27FC236}">
                        <a16:creationId xmlns:a16="http://schemas.microsoft.com/office/drawing/2014/main" id="{886785C2-E729-CA88-5C19-F7DDDF3AABFC}"/>
                      </a:ext>
                    </a:extLst>
                  </p:cNvPr>
                  <p:cNvSpPr/>
                  <p:nvPr/>
                </p:nvSpPr>
                <p:spPr>
                  <a:xfrm>
                    <a:off x="7536952" y="2797073"/>
                    <a:ext cx="27044" cy="1192"/>
                  </a:xfrm>
                  <a:custGeom>
                    <a:avLst/>
                    <a:gdLst>
                      <a:gd name="connsiteX0" fmla="*/ 27044 w 27044"/>
                      <a:gd name="connsiteY0" fmla="*/ 0 h 1192"/>
                      <a:gd name="connsiteX1" fmla="*/ 0 w 27044"/>
                      <a:gd name="connsiteY1" fmla="*/ 0 h 119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27044" h="1192">
                        <a:moveTo>
                          <a:pt x="27044" y="0"/>
                        </a:moveTo>
                        <a:lnTo>
                          <a:pt x="0" y="0"/>
                        </a:lnTo>
                      </a:path>
                    </a:pathLst>
                  </a:custGeom>
                  <a:ln w="6350" cap="flat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  <p:grpSp>
              <p:nvGrpSpPr>
                <p:cNvPr id="1008" name="Gráfico 9">
                  <a:extLst>
                    <a:ext uri="{FF2B5EF4-FFF2-40B4-BE49-F238E27FC236}">
                      <a16:creationId xmlns:a16="http://schemas.microsoft.com/office/drawing/2014/main" id="{3017B795-8DB6-81FF-11B1-371F6A62D176}"/>
                    </a:ext>
                  </a:extLst>
                </p:cNvPr>
                <p:cNvGrpSpPr/>
                <p:nvPr/>
              </p:nvGrpSpPr>
              <p:grpSpPr>
                <a:xfrm>
                  <a:off x="7536952" y="2827004"/>
                  <a:ext cx="186827" cy="1192"/>
                  <a:chOff x="7536952" y="2827004"/>
                  <a:chExt cx="186827" cy="1192"/>
                </a:xfrm>
              </p:grpSpPr>
              <p:sp>
                <p:nvSpPr>
                  <p:cNvPr id="1009" name="Forma livre: Forma 1008">
                    <a:extLst>
                      <a:ext uri="{FF2B5EF4-FFF2-40B4-BE49-F238E27FC236}">
                        <a16:creationId xmlns:a16="http://schemas.microsoft.com/office/drawing/2014/main" id="{F4784B1A-404E-7168-3289-3846F5F59486}"/>
                      </a:ext>
                    </a:extLst>
                  </p:cNvPr>
                  <p:cNvSpPr/>
                  <p:nvPr/>
                </p:nvSpPr>
                <p:spPr>
                  <a:xfrm>
                    <a:off x="7696723" y="2827004"/>
                    <a:ext cx="27056" cy="1192"/>
                  </a:xfrm>
                  <a:custGeom>
                    <a:avLst/>
                    <a:gdLst>
                      <a:gd name="connsiteX0" fmla="*/ 27056 w 27056"/>
                      <a:gd name="connsiteY0" fmla="*/ 0 h 1192"/>
                      <a:gd name="connsiteX1" fmla="*/ 0 w 27056"/>
                      <a:gd name="connsiteY1" fmla="*/ 0 h 119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27056" h="1192">
                        <a:moveTo>
                          <a:pt x="27056" y="0"/>
                        </a:moveTo>
                        <a:lnTo>
                          <a:pt x="0" y="0"/>
                        </a:lnTo>
                      </a:path>
                    </a:pathLst>
                  </a:custGeom>
                  <a:ln w="6350" cap="flat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1010" name="Forma livre: Forma 1009">
                    <a:extLst>
                      <a:ext uri="{FF2B5EF4-FFF2-40B4-BE49-F238E27FC236}">
                        <a16:creationId xmlns:a16="http://schemas.microsoft.com/office/drawing/2014/main" id="{06AED264-9F27-F704-E5C6-2BD41482FE30}"/>
                      </a:ext>
                    </a:extLst>
                  </p:cNvPr>
                  <p:cNvSpPr/>
                  <p:nvPr/>
                </p:nvSpPr>
                <p:spPr>
                  <a:xfrm>
                    <a:off x="7616843" y="2827004"/>
                    <a:ext cx="27044" cy="1192"/>
                  </a:xfrm>
                  <a:custGeom>
                    <a:avLst/>
                    <a:gdLst>
                      <a:gd name="connsiteX0" fmla="*/ 27044 w 27044"/>
                      <a:gd name="connsiteY0" fmla="*/ 0 h 1192"/>
                      <a:gd name="connsiteX1" fmla="*/ 0 w 27044"/>
                      <a:gd name="connsiteY1" fmla="*/ 0 h 119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27044" h="1192">
                        <a:moveTo>
                          <a:pt x="27044" y="0"/>
                        </a:moveTo>
                        <a:lnTo>
                          <a:pt x="0" y="0"/>
                        </a:lnTo>
                      </a:path>
                    </a:pathLst>
                  </a:custGeom>
                  <a:ln w="6350" cap="flat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1011" name="Forma livre: Forma 1010">
                    <a:extLst>
                      <a:ext uri="{FF2B5EF4-FFF2-40B4-BE49-F238E27FC236}">
                        <a16:creationId xmlns:a16="http://schemas.microsoft.com/office/drawing/2014/main" id="{0F484E30-AFB0-6403-0771-9011CBBE3261}"/>
                      </a:ext>
                    </a:extLst>
                  </p:cNvPr>
                  <p:cNvSpPr/>
                  <p:nvPr/>
                </p:nvSpPr>
                <p:spPr>
                  <a:xfrm>
                    <a:off x="7536952" y="2827004"/>
                    <a:ext cx="27044" cy="1192"/>
                  </a:xfrm>
                  <a:custGeom>
                    <a:avLst/>
                    <a:gdLst>
                      <a:gd name="connsiteX0" fmla="*/ 27044 w 27044"/>
                      <a:gd name="connsiteY0" fmla="*/ 0 h 1192"/>
                      <a:gd name="connsiteX1" fmla="*/ 0 w 27044"/>
                      <a:gd name="connsiteY1" fmla="*/ 0 h 119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27044" h="1192">
                        <a:moveTo>
                          <a:pt x="27044" y="0"/>
                        </a:moveTo>
                        <a:lnTo>
                          <a:pt x="0" y="0"/>
                        </a:lnTo>
                      </a:path>
                    </a:pathLst>
                  </a:custGeom>
                  <a:ln w="6350" cap="flat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</p:grpSp>
        </p:grpSp>
      </p:grpSp>
      <p:grpSp>
        <p:nvGrpSpPr>
          <p:cNvPr id="1012" name="Gráfico 9">
            <a:extLst>
              <a:ext uri="{FF2B5EF4-FFF2-40B4-BE49-F238E27FC236}">
                <a16:creationId xmlns:a16="http://schemas.microsoft.com/office/drawing/2014/main" id="{0D426637-D071-7B0E-4AA8-F4B417D702E9}"/>
              </a:ext>
            </a:extLst>
          </p:cNvPr>
          <p:cNvGrpSpPr/>
          <p:nvPr/>
        </p:nvGrpSpPr>
        <p:grpSpPr>
          <a:xfrm>
            <a:off x="6843778" y="3157188"/>
            <a:ext cx="341946" cy="240712"/>
            <a:chOff x="6843778" y="3157188"/>
            <a:chExt cx="341946" cy="240712"/>
          </a:xfrm>
          <a:noFill/>
        </p:grpSpPr>
        <p:grpSp>
          <p:nvGrpSpPr>
            <p:cNvPr id="1013" name="Gráfico 9">
              <a:extLst>
                <a:ext uri="{FF2B5EF4-FFF2-40B4-BE49-F238E27FC236}">
                  <a16:creationId xmlns:a16="http://schemas.microsoft.com/office/drawing/2014/main" id="{A50BA92A-9FB8-BE62-3C34-2124D5A743DE}"/>
                </a:ext>
              </a:extLst>
            </p:cNvPr>
            <p:cNvGrpSpPr/>
            <p:nvPr/>
          </p:nvGrpSpPr>
          <p:grpSpPr>
            <a:xfrm>
              <a:off x="6843778" y="3291597"/>
              <a:ext cx="341946" cy="86751"/>
              <a:chOff x="6843778" y="3291597"/>
              <a:chExt cx="341946" cy="86751"/>
            </a:xfrm>
            <a:noFill/>
          </p:grpSpPr>
          <p:grpSp>
            <p:nvGrpSpPr>
              <p:cNvPr id="1014" name="Gráfico 9">
                <a:extLst>
                  <a:ext uri="{FF2B5EF4-FFF2-40B4-BE49-F238E27FC236}">
                    <a16:creationId xmlns:a16="http://schemas.microsoft.com/office/drawing/2014/main" id="{CA1AEFDC-E5C6-4DA2-53FC-002A5BBA4EFD}"/>
                  </a:ext>
                </a:extLst>
              </p:cNvPr>
              <p:cNvGrpSpPr/>
              <p:nvPr/>
            </p:nvGrpSpPr>
            <p:grpSpPr>
              <a:xfrm>
                <a:off x="7073087" y="3291597"/>
                <a:ext cx="112637" cy="86751"/>
                <a:chOff x="7073087" y="3291597"/>
                <a:chExt cx="112637" cy="86751"/>
              </a:xfrm>
              <a:noFill/>
            </p:grpSpPr>
            <p:grpSp>
              <p:nvGrpSpPr>
                <p:cNvPr id="1015" name="Gráfico 9">
                  <a:extLst>
                    <a:ext uri="{FF2B5EF4-FFF2-40B4-BE49-F238E27FC236}">
                      <a16:creationId xmlns:a16="http://schemas.microsoft.com/office/drawing/2014/main" id="{2129E271-3CE1-D07A-D0F7-BA9F6B5551CF}"/>
                    </a:ext>
                  </a:extLst>
                </p:cNvPr>
                <p:cNvGrpSpPr/>
                <p:nvPr/>
              </p:nvGrpSpPr>
              <p:grpSpPr>
                <a:xfrm>
                  <a:off x="7073087" y="3291597"/>
                  <a:ext cx="112637" cy="86751"/>
                  <a:chOff x="7073087" y="3291597"/>
                  <a:chExt cx="112637" cy="86751"/>
                </a:xfrm>
                <a:noFill/>
              </p:grpSpPr>
              <p:sp>
                <p:nvSpPr>
                  <p:cNvPr id="1016" name="Forma livre: Forma 1015">
                    <a:extLst>
                      <a:ext uri="{FF2B5EF4-FFF2-40B4-BE49-F238E27FC236}">
                        <a16:creationId xmlns:a16="http://schemas.microsoft.com/office/drawing/2014/main" id="{4E085099-3038-BF29-A6A5-F1C1A18FFF26}"/>
                      </a:ext>
                    </a:extLst>
                  </p:cNvPr>
                  <p:cNvSpPr/>
                  <p:nvPr/>
                </p:nvSpPr>
                <p:spPr>
                  <a:xfrm>
                    <a:off x="7107754" y="3291597"/>
                    <a:ext cx="77970" cy="42767"/>
                  </a:xfrm>
                  <a:custGeom>
                    <a:avLst/>
                    <a:gdLst>
                      <a:gd name="connsiteX0" fmla="*/ 0 w 77970"/>
                      <a:gd name="connsiteY0" fmla="*/ 42767 h 42767"/>
                      <a:gd name="connsiteX1" fmla="*/ 0 w 77970"/>
                      <a:gd name="connsiteY1" fmla="*/ 0 h 42767"/>
                      <a:gd name="connsiteX2" fmla="*/ 30468 w 77970"/>
                      <a:gd name="connsiteY2" fmla="*/ 0 h 42767"/>
                      <a:gd name="connsiteX3" fmla="*/ 30468 w 77970"/>
                      <a:gd name="connsiteY3" fmla="*/ 13003 h 42767"/>
                      <a:gd name="connsiteX4" fmla="*/ 77971 w 77970"/>
                      <a:gd name="connsiteY4" fmla="*/ 13003 h 4276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77970" h="42767">
                        <a:moveTo>
                          <a:pt x="0" y="42767"/>
                        </a:moveTo>
                        <a:lnTo>
                          <a:pt x="0" y="0"/>
                        </a:lnTo>
                        <a:lnTo>
                          <a:pt x="30468" y="0"/>
                        </a:lnTo>
                        <a:lnTo>
                          <a:pt x="30468" y="13003"/>
                        </a:lnTo>
                        <a:lnTo>
                          <a:pt x="77971" y="13003"/>
                        </a:lnTo>
                      </a:path>
                    </a:pathLst>
                  </a:custGeom>
                  <a:noFill/>
                  <a:ln w="6350" cap="rnd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1017" name="Forma livre: Forma 1016">
                    <a:extLst>
                      <a:ext uri="{FF2B5EF4-FFF2-40B4-BE49-F238E27FC236}">
                        <a16:creationId xmlns:a16="http://schemas.microsoft.com/office/drawing/2014/main" id="{359A700C-FB2E-D8DA-B33E-57A9FA3D8566}"/>
                      </a:ext>
                    </a:extLst>
                  </p:cNvPr>
                  <p:cNvSpPr/>
                  <p:nvPr/>
                </p:nvSpPr>
                <p:spPr>
                  <a:xfrm>
                    <a:off x="7073087" y="3365333"/>
                    <a:ext cx="112637" cy="13015"/>
                  </a:xfrm>
                  <a:custGeom>
                    <a:avLst/>
                    <a:gdLst>
                      <a:gd name="connsiteX0" fmla="*/ 0 w 112637"/>
                      <a:gd name="connsiteY0" fmla="*/ 12 h 13015"/>
                      <a:gd name="connsiteX1" fmla="*/ 34667 w 112637"/>
                      <a:gd name="connsiteY1" fmla="*/ 12 h 13015"/>
                      <a:gd name="connsiteX2" fmla="*/ 34667 w 112637"/>
                      <a:gd name="connsiteY2" fmla="*/ 13015 h 13015"/>
                      <a:gd name="connsiteX3" fmla="*/ 65135 w 112637"/>
                      <a:gd name="connsiteY3" fmla="*/ 13015 h 13015"/>
                      <a:gd name="connsiteX4" fmla="*/ 65135 w 112637"/>
                      <a:gd name="connsiteY4" fmla="*/ 12 h 13015"/>
                      <a:gd name="connsiteX5" fmla="*/ 112638 w 112637"/>
                      <a:gd name="connsiteY5" fmla="*/ 0 h 1301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112637" h="13015">
                        <a:moveTo>
                          <a:pt x="0" y="12"/>
                        </a:moveTo>
                        <a:lnTo>
                          <a:pt x="34667" y="12"/>
                        </a:lnTo>
                        <a:lnTo>
                          <a:pt x="34667" y="13015"/>
                        </a:lnTo>
                        <a:lnTo>
                          <a:pt x="65135" y="13015"/>
                        </a:lnTo>
                        <a:lnTo>
                          <a:pt x="65135" y="12"/>
                        </a:lnTo>
                        <a:lnTo>
                          <a:pt x="112638" y="0"/>
                        </a:lnTo>
                      </a:path>
                    </a:pathLst>
                  </a:custGeom>
                  <a:noFill/>
                  <a:ln w="6350" cap="rnd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  <p:sp>
              <p:nvSpPr>
                <p:cNvPr id="1018" name="Forma livre: Forma 1017">
                  <a:extLst>
                    <a:ext uri="{FF2B5EF4-FFF2-40B4-BE49-F238E27FC236}">
                      <a16:creationId xmlns:a16="http://schemas.microsoft.com/office/drawing/2014/main" id="{26634B53-0D60-3539-E495-6DB7F629827F}"/>
                    </a:ext>
                  </a:extLst>
                </p:cNvPr>
                <p:cNvSpPr/>
                <p:nvPr/>
              </p:nvSpPr>
              <p:spPr>
                <a:xfrm>
                  <a:off x="7077059" y="3304600"/>
                  <a:ext cx="30336" cy="1192"/>
                </a:xfrm>
                <a:custGeom>
                  <a:avLst/>
                  <a:gdLst>
                    <a:gd name="connsiteX0" fmla="*/ 0 w 30336"/>
                    <a:gd name="connsiteY0" fmla="*/ 0 h 1192"/>
                    <a:gd name="connsiteX1" fmla="*/ 30337 w 30336"/>
                    <a:gd name="connsiteY1" fmla="*/ 0 h 11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30336" h="1192">
                      <a:moveTo>
                        <a:pt x="0" y="0"/>
                      </a:moveTo>
                      <a:lnTo>
                        <a:pt x="30337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1019" name="Gráfico 9">
                <a:extLst>
                  <a:ext uri="{FF2B5EF4-FFF2-40B4-BE49-F238E27FC236}">
                    <a16:creationId xmlns:a16="http://schemas.microsoft.com/office/drawing/2014/main" id="{96ADD94D-8B83-4E0B-CA9B-1ED3E66F701D}"/>
                  </a:ext>
                </a:extLst>
              </p:cNvPr>
              <p:cNvGrpSpPr/>
              <p:nvPr/>
            </p:nvGrpSpPr>
            <p:grpSpPr>
              <a:xfrm>
                <a:off x="6843778" y="3291597"/>
                <a:ext cx="112638" cy="86751"/>
                <a:chOff x="6843778" y="3291597"/>
                <a:chExt cx="112638" cy="86751"/>
              </a:xfrm>
              <a:noFill/>
            </p:grpSpPr>
            <p:grpSp>
              <p:nvGrpSpPr>
                <p:cNvPr id="1020" name="Gráfico 9">
                  <a:extLst>
                    <a:ext uri="{FF2B5EF4-FFF2-40B4-BE49-F238E27FC236}">
                      <a16:creationId xmlns:a16="http://schemas.microsoft.com/office/drawing/2014/main" id="{55DFB6F9-0BE2-6FFD-6E07-9DFF8F3AA2FC}"/>
                    </a:ext>
                  </a:extLst>
                </p:cNvPr>
                <p:cNvGrpSpPr/>
                <p:nvPr/>
              </p:nvGrpSpPr>
              <p:grpSpPr>
                <a:xfrm>
                  <a:off x="6843778" y="3291597"/>
                  <a:ext cx="112638" cy="86751"/>
                  <a:chOff x="6843778" y="3291597"/>
                  <a:chExt cx="112638" cy="86751"/>
                </a:xfrm>
                <a:noFill/>
              </p:grpSpPr>
              <p:sp>
                <p:nvSpPr>
                  <p:cNvPr id="1021" name="Forma livre: Forma 1020">
                    <a:extLst>
                      <a:ext uri="{FF2B5EF4-FFF2-40B4-BE49-F238E27FC236}">
                        <a16:creationId xmlns:a16="http://schemas.microsoft.com/office/drawing/2014/main" id="{6A36B40D-8682-34A6-EA61-1135ED53227C}"/>
                      </a:ext>
                    </a:extLst>
                  </p:cNvPr>
                  <p:cNvSpPr/>
                  <p:nvPr/>
                </p:nvSpPr>
                <p:spPr>
                  <a:xfrm>
                    <a:off x="6843778" y="3291597"/>
                    <a:ext cx="77971" cy="42767"/>
                  </a:xfrm>
                  <a:custGeom>
                    <a:avLst/>
                    <a:gdLst>
                      <a:gd name="connsiteX0" fmla="*/ 77971 w 77971"/>
                      <a:gd name="connsiteY0" fmla="*/ 42767 h 42767"/>
                      <a:gd name="connsiteX1" fmla="*/ 77971 w 77971"/>
                      <a:gd name="connsiteY1" fmla="*/ 0 h 42767"/>
                      <a:gd name="connsiteX2" fmla="*/ 47515 w 77971"/>
                      <a:gd name="connsiteY2" fmla="*/ 0 h 42767"/>
                      <a:gd name="connsiteX3" fmla="*/ 47515 w 77971"/>
                      <a:gd name="connsiteY3" fmla="*/ 13003 h 42767"/>
                      <a:gd name="connsiteX4" fmla="*/ 0 w 77971"/>
                      <a:gd name="connsiteY4" fmla="*/ 13003 h 4276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77971" h="42767">
                        <a:moveTo>
                          <a:pt x="77971" y="42767"/>
                        </a:moveTo>
                        <a:lnTo>
                          <a:pt x="77971" y="0"/>
                        </a:lnTo>
                        <a:lnTo>
                          <a:pt x="47515" y="0"/>
                        </a:lnTo>
                        <a:lnTo>
                          <a:pt x="47515" y="13003"/>
                        </a:lnTo>
                        <a:lnTo>
                          <a:pt x="0" y="13003"/>
                        </a:lnTo>
                      </a:path>
                    </a:pathLst>
                  </a:custGeom>
                  <a:noFill/>
                  <a:ln w="6350" cap="rnd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1022" name="Forma livre: Forma 1021">
                    <a:extLst>
                      <a:ext uri="{FF2B5EF4-FFF2-40B4-BE49-F238E27FC236}">
                        <a16:creationId xmlns:a16="http://schemas.microsoft.com/office/drawing/2014/main" id="{7C425F13-516B-2476-F86C-77315F37EF12}"/>
                      </a:ext>
                    </a:extLst>
                  </p:cNvPr>
                  <p:cNvSpPr/>
                  <p:nvPr/>
                </p:nvSpPr>
                <p:spPr>
                  <a:xfrm>
                    <a:off x="6843778" y="3365333"/>
                    <a:ext cx="112638" cy="13015"/>
                  </a:xfrm>
                  <a:custGeom>
                    <a:avLst/>
                    <a:gdLst>
                      <a:gd name="connsiteX0" fmla="*/ 112638 w 112638"/>
                      <a:gd name="connsiteY0" fmla="*/ 12 h 13015"/>
                      <a:gd name="connsiteX1" fmla="*/ 77971 w 112638"/>
                      <a:gd name="connsiteY1" fmla="*/ 12 h 13015"/>
                      <a:gd name="connsiteX2" fmla="*/ 77971 w 112638"/>
                      <a:gd name="connsiteY2" fmla="*/ 13015 h 13015"/>
                      <a:gd name="connsiteX3" fmla="*/ 47515 w 112638"/>
                      <a:gd name="connsiteY3" fmla="*/ 13015 h 13015"/>
                      <a:gd name="connsiteX4" fmla="*/ 47515 w 112638"/>
                      <a:gd name="connsiteY4" fmla="*/ 12 h 13015"/>
                      <a:gd name="connsiteX5" fmla="*/ 0 w 112638"/>
                      <a:gd name="connsiteY5" fmla="*/ 0 h 1301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112638" h="13015">
                        <a:moveTo>
                          <a:pt x="112638" y="12"/>
                        </a:moveTo>
                        <a:lnTo>
                          <a:pt x="77971" y="12"/>
                        </a:lnTo>
                        <a:lnTo>
                          <a:pt x="77971" y="13015"/>
                        </a:lnTo>
                        <a:lnTo>
                          <a:pt x="47515" y="13015"/>
                        </a:lnTo>
                        <a:lnTo>
                          <a:pt x="47515" y="12"/>
                        </a:lnTo>
                        <a:lnTo>
                          <a:pt x="0" y="0"/>
                        </a:lnTo>
                      </a:path>
                    </a:pathLst>
                  </a:custGeom>
                  <a:noFill/>
                  <a:ln w="6350" cap="rnd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  <p:sp>
              <p:nvSpPr>
                <p:cNvPr id="1023" name="Forma livre: Forma 1022">
                  <a:extLst>
                    <a:ext uri="{FF2B5EF4-FFF2-40B4-BE49-F238E27FC236}">
                      <a16:creationId xmlns:a16="http://schemas.microsoft.com/office/drawing/2014/main" id="{BABD64BF-DCE4-7305-9E1F-45D738424EF9}"/>
                    </a:ext>
                  </a:extLst>
                </p:cNvPr>
                <p:cNvSpPr/>
                <p:nvPr/>
              </p:nvSpPr>
              <p:spPr>
                <a:xfrm>
                  <a:off x="6922119" y="3304600"/>
                  <a:ext cx="30336" cy="1192"/>
                </a:xfrm>
                <a:custGeom>
                  <a:avLst/>
                  <a:gdLst>
                    <a:gd name="connsiteX0" fmla="*/ 30337 w 30336"/>
                    <a:gd name="connsiteY0" fmla="*/ 0 h 1192"/>
                    <a:gd name="connsiteX1" fmla="*/ 0 w 30336"/>
                    <a:gd name="connsiteY1" fmla="*/ 0 h 11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30336" h="1192">
                      <a:moveTo>
                        <a:pt x="30337" y="0"/>
                      </a:moveTo>
                      <a:lnTo>
                        <a:pt x="0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grpSp>
          <p:nvGrpSpPr>
            <p:cNvPr id="1024" name="Gráfico 9">
              <a:extLst>
                <a:ext uri="{FF2B5EF4-FFF2-40B4-BE49-F238E27FC236}">
                  <a16:creationId xmlns:a16="http://schemas.microsoft.com/office/drawing/2014/main" id="{E7EEF270-5722-4082-B514-21CF1A12C1E3}"/>
                </a:ext>
              </a:extLst>
            </p:cNvPr>
            <p:cNvGrpSpPr/>
            <p:nvPr/>
          </p:nvGrpSpPr>
          <p:grpSpPr>
            <a:xfrm>
              <a:off x="6948412" y="3263587"/>
              <a:ext cx="133538" cy="134313"/>
              <a:chOff x="6948412" y="3263587"/>
              <a:chExt cx="133538" cy="134313"/>
            </a:xfrm>
            <a:noFill/>
          </p:grpSpPr>
          <p:sp>
            <p:nvSpPr>
              <p:cNvPr id="1025" name="Forma livre: Forma 1024">
                <a:extLst>
                  <a:ext uri="{FF2B5EF4-FFF2-40B4-BE49-F238E27FC236}">
                    <a16:creationId xmlns:a16="http://schemas.microsoft.com/office/drawing/2014/main" id="{63E53B77-9173-D5FB-2F4B-18FFC66B83D4}"/>
                  </a:ext>
                </a:extLst>
              </p:cNvPr>
              <p:cNvSpPr/>
              <p:nvPr/>
            </p:nvSpPr>
            <p:spPr>
              <a:xfrm>
                <a:off x="6948412" y="3263587"/>
                <a:ext cx="133538" cy="134313"/>
              </a:xfrm>
              <a:custGeom>
                <a:avLst/>
                <a:gdLst>
                  <a:gd name="connsiteX0" fmla="*/ 0 w 133538"/>
                  <a:gd name="connsiteY0" fmla="*/ 56892 h 134313"/>
                  <a:gd name="connsiteX1" fmla="*/ 66376 w 133538"/>
                  <a:gd name="connsiteY1" fmla="*/ 0 h 134313"/>
                  <a:gd name="connsiteX2" fmla="*/ 133538 w 133538"/>
                  <a:gd name="connsiteY2" fmla="*/ 67163 h 134313"/>
                  <a:gd name="connsiteX3" fmla="*/ 66376 w 133538"/>
                  <a:gd name="connsiteY3" fmla="*/ 134314 h 134313"/>
                  <a:gd name="connsiteX4" fmla="*/ 2815 w 133538"/>
                  <a:gd name="connsiteY4" fmla="*/ 88922 h 1343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33538" h="134313">
                    <a:moveTo>
                      <a:pt x="0" y="56892"/>
                    </a:moveTo>
                    <a:cubicBezTo>
                      <a:pt x="4951" y="24670"/>
                      <a:pt x="32782" y="0"/>
                      <a:pt x="66376" y="0"/>
                    </a:cubicBezTo>
                    <a:cubicBezTo>
                      <a:pt x="103464" y="0"/>
                      <a:pt x="133538" y="30074"/>
                      <a:pt x="133538" y="67163"/>
                    </a:cubicBezTo>
                    <a:cubicBezTo>
                      <a:pt x="133538" y="104252"/>
                      <a:pt x="103476" y="134314"/>
                      <a:pt x="66376" y="134314"/>
                    </a:cubicBezTo>
                    <a:cubicBezTo>
                      <a:pt x="36898" y="134314"/>
                      <a:pt x="11858" y="115322"/>
                      <a:pt x="2815" y="88922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026" name="Forma livre: Forma 1025">
                <a:extLst>
                  <a:ext uri="{FF2B5EF4-FFF2-40B4-BE49-F238E27FC236}">
                    <a16:creationId xmlns:a16="http://schemas.microsoft.com/office/drawing/2014/main" id="{39F47318-F295-C363-2A6B-6F79AA2A972A}"/>
                  </a:ext>
                </a:extLst>
              </p:cNvPr>
              <p:cNvSpPr/>
              <p:nvPr/>
            </p:nvSpPr>
            <p:spPr>
              <a:xfrm>
                <a:off x="6979214" y="3291979"/>
                <a:ext cx="22880" cy="18765"/>
              </a:xfrm>
              <a:custGeom>
                <a:avLst/>
                <a:gdLst>
                  <a:gd name="connsiteX0" fmla="*/ 22881 w 22880"/>
                  <a:gd name="connsiteY0" fmla="*/ 0 h 18765"/>
                  <a:gd name="connsiteX1" fmla="*/ 0 w 22880"/>
                  <a:gd name="connsiteY1" fmla="*/ 18765 h 187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2880" h="18765">
                    <a:moveTo>
                      <a:pt x="22881" y="0"/>
                    </a:moveTo>
                    <a:cubicBezTo>
                      <a:pt x="13206" y="3221"/>
                      <a:pt x="5010" y="9949"/>
                      <a:pt x="0" y="18765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027" name="Forma livre: Forma 1026">
              <a:extLst>
                <a:ext uri="{FF2B5EF4-FFF2-40B4-BE49-F238E27FC236}">
                  <a16:creationId xmlns:a16="http://schemas.microsoft.com/office/drawing/2014/main" id="{CA08BE6D-29F5-F896-2F96-C688406FB0EF}"/>
                </a:ext>
              </a:extLst>
            </p:cNvPr>
            <p:cNvSpPr/>
            <p:nvPr/>
          </p:nvSpPr>
          <p:spPr>
            <a:xfrm>
              <a:off x="6933703" y="3157188"/>
              <a:ext cx="162395" cy="23202"/>
            </a:xfrm>
            <a:custGeom>
              <a:avLst/>
              <a:gdLst>
                <a:gd name="connsiteX0" fmla="*/ 44390 w 162395"/>
                <a:gd name="connsiteY0" fmla="*/ 23203 h 23202"/>
                <a:gd name="connsiteX1" fmla="*/ 9770 w 162395"/>
                <a:gd name="connsiteY1" fmla="*/ 23203 h 23202"/>
                <a:gd name="connsiteX2" fmla="*/ 0 w 162395"/>
                <a:gd name="connsiteY2" fmla="*/ 13433 h 23202"/>
                <a:gd name="connsiteX3" fmla="*/ 0 w 162395"/>
                <a:gd name="connsiteY3" fmla="*/ 9770 h 23202"/>
                <a:gd name="connsiteX4" fmla="*/ 9770 w 162395"/>
                <a:gd name="connsiteY4" fmla="*/ 0 h 23202"/>
                <a:gd name="connsiteX5" fmla="*/ 152626 w 162395"/>
                <a:gd name="connsiteY5" fmla="*/ 0 h 23202"/>
                <a:gd name="connsiteX6" fmla="*/ 162396 w 162395"/>
                <a:gd name="connsiteY6" fmla="*/ 9770 h 23202"/>
                <a:gd name="connsiteX7" fmla="*/ 162396 w 162395"/>
                <a:gd name="connsiteY7" fmla="*/ 13433 h 23202"/>
                <a:gd name="connsiteX8" fmla="*/ 152626 w 162395"/>
                <a:gd name="connsiteY8" fmla="*/ 23203 h 23202"/>
                <a:gd name="connsiteX9" fmla="*/ 66889 w 162395"/>
                <a:gd name="connsiteY9" fmla="*/ 23203 h 232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62395" h="23202">
                  <a:moveTo>
                    <a:pt x="44390" y="23203"/>
                  </a:moveTo>
                  <a:lnTo>
                    <a:pt x="9770" y="23203"/>
                  </a:lnTo>
                  <a:cubicBezTo>
                    <a:pt x="4390" y="23203"/>
                    <a:pt x="0" y="18813"/>
                    <a:pt x="0" y="13433"/>
                  </a:cubicBezTo>
                  <a:lnTo>
                    <a:pt x="0" y="9770"/>
                  </a:lnTo>
                  <a:cubicBezTo>
                    <a:pt x="0" y="4402"/>
                    <a:pt x="4390" y="0"/>
                    <a:pt x="9770" y="0"/>
                  </a:cubicBezTo>
                  <a:lnTo>
                    <a:pt x="152626" y="0"/>
                  </a:lnTo>
                  <a:cubicBezTo>
                    <a:pt x="157994" y="0"/>
                    <a:pt x="162396" y="4402"/>
                    <a:pt x="162396" y="9770"/>
                  </a:cubicBezTo>
                  <a:lnTo>
                    <a:pt x="162396" y="13433"/>
                  </a:lnTo>
                  <a:cubicBezTo>
                    <a:pt x="162396" y="18801"/>
                    <a:pt x="157994" y="23203"/>
                    <a:pt x="152626" y="23203"/>
                  </a:cubicBezTo>
                  <a:lnTo>
                    <a:pt x="66889" y="23203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028" name="Gráfico 9">
              <a:extLst>
                <a:ext uri="{FF2B5EF4-FFF2-40B4-BE49-F238E27FC236}">
                  <a16:creationId xmlns:a16="http://schemas.microsoft.com/office/drawing/2014/main" id="{9E662FFB-14B9-A9EE-6026-AA0730A5B77A}"/>
                </a:ext>
              </a:extLst>
            </p:cNvPr>
            <p:cNvGrpSpPr/>
            <p:nvPr/>
          </p:nvGrpSpPr>
          <p:grpSpPr>
            <a:xfrm>
              <a:off x="6958230" y="3182049"/>
              <a:ext cx="113341" cy="54290"/>
              <a:chOff x="6958230" y="3182049"/>
              <a:chExt cx="113341" cy="54290"/>
            </a:xfrm>
          </p:grpSpPr>
          <p:sp>
            <p:nvSpPr>
              <p:cNvPr id="1029" name="Forma livre: Forma 1028">
                <a:extLst>
                  <a:ext uri="{FF2B5EF4-FFF2-40B4-BE49-F238E27FC236}">
                    <a16:creationId xmlns:a16="http://schemas.microsoft.com/office/drawing/2014/main" id="{D156715A-0818-0BA9-EE43-F2E66D56E092}"/>
                  </a:ext>
                </a:extLst>
              </p:cNvPr>
              <p:cNvSpPr/>
              <p:nvPr/>
            </p:nvSpPr>
            <p:spPr>
              <a:xfrm>
                <a:off x="6958230" y="3182049"/>
                <a:ext cx="56653" cy="54290"/>
              </a:xfrm>
              <a:custGeom>
                <a:avLst/>
                <a:gdLst>
                  <a:gd name="connsiteX0" fmla="*/ 0 w 56653"/>
                  <a:gd name="connsiteY0" fmla="*/ 0 h 54290"/>
                  <a:gd name="connsiteX1" fmla="*/ 56653 w 56653"/>
                  <a:gd name="connsiteY1" fmla="*/ 54291 h 542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6653" h="54290">
                    <a:moveTo>
                      <a:pt x="0" y="0"/>
                    </a:moveTo>
                    <a:lnTo>
                      <a:pt x="56653" y="54291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030" name="Forma livre: Forma 1029">
                <a:extLst>
                  <a:ext uri="{FF2B5EF4-FFF2-40B4-BE49-F238E27FC236}">
                    <a16:creationId xmlns:a16="http://schemas.microsoft.com/office/drawing/2014/main" id="{C0D12D5B-AC56-6BB3-FFD7-BC643B426E8F}"/>
                  </a:ext>
                </a:extLst>
              </p:cNvPr>
              <p:cNvSpPr/>
              <p:nvPr/>
            </p:nvSpPr>
            <p:spPr>
              <a:xfrm>
                <a:off x="7014918" y="3182049"/>
                <a:ext cx="56653" cy="54290"/>
              </a:xfrm>
              <a:custGeom>
                <a:avLst/>
                <a:gdLst>
                  <a:gd name="connsiteX0" fmla="*/ 56653 w 56653"/>
                  <a:gd name="connsiteY0" fmla="*/ 0 h 54290"/>
                  <a:gd name="connsiteX1" fmla="*/ 0 w 56653"/>
                  <a:gd name="connsiteY1" fmla="*/ 54291 h 542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6653" h="54290">
                    <a:moveTo>
                      <a:pt x="56653" y="0"/>
                    </a:moveTo>
                    <a:lnTo>
                      <a:pt x="0" y="54291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031" name="Forma livre: Forma 1030">
              <a:extLst>
                <a:ext uri="{FF2B5EF4-FFF2-40B4-BE49-F238E27FC236}">
                  <a16:creationId xmlns:a16="http://schemas.microsoft.com/office/drawing/2014/main" id="{D369EAE3-E66A-8FC7-1A3B-490207D3D1A7}"/>
                </a:ext>
              </a:extLst>
            </p:cNvPr>
            <p:cNvSpPr/>
            <p:nvPr/>
          </p:nvSpPr>
          <p:spPr>
            <a:xfrm>
              <a:off x="7014895" y="3181715"/>
              <a:ext cx="1192" cy="54624"/>
            </a:xfrm>
            <a:custGeom>
              <a:avLst/>
              <a:gdLst>
                <a:gd name="connsiteX0" fmla="*/ 0 w 1192"/>
                <a:gd name="connsiteY0" fmla="*/ 0 h 54624"/>
                <a:gd name="connsiteX1" fmla="*/ 0 w 1192"/>
                <a:gd name="connsiteY1" fmla="*/ 54625 h 546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92" h="54624">
                  <a:moveTo>
                    <a:pt x="0" y="0"/>
                  </a:moveTo>
                  <a:lnTo>
                    <a:pt x="0" y="54625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032" name="Gráfico 9">
              <a:extLst>
                <a:ext uri="{FF2B5EF4-FFF2-40B4-BE49-F238E27FC236}">
                  <a16:creationId xmlns:a16="http://schemas.microsoft.com/office/drawing/2014/main" id="{451DAD1D-7DB1-5373-64A7-E9D01A0E8063}"/>
                </a:ext>
              </a:extLst>
            </p:cNvPr>
            <p:cNvGrpSpPr/>
            <p:nvPr/>
          </p:nvGrpSpPr>
          <p:grpSpPr>
            <a:xfrm>
              <a:off x="6964827" y="3239000"/>
              <a:ext cx="100135" cy="22964"/>
              <a:chOff x="6964827" y="3239000"/>
              <a:chExt cx="100135" cy="22964"/>
            </a:xfrm>
          </p:grpSpPr>
          <p:sp>
            <p:nvSpPr>
              <p:cNvPr id="1033" name="Forma livre: Forma 1032">
                <a:extLst>
                  <a:ext uri="{FF2B5EF4-FFF2-40B4-BE49-F238E27FC236}">
                    <a16:creationId xmlns:a16="http://schemas.microsoft.com/office/drawing/2014/main" id="{B10E83E8-6A1D-011A-4810-D98515678609}"/>
                  </a:ext>
                </a:extLst>
              </p:cNvPr>
              <p:cNvSpPr/>
              <p:nvPr/>
            </p:nvSpPr>
            <p:spPr>
              <a:xfrm>
                <a:off x="6964827" y="3261964"/>
                <a:ext cx="100135" cy="1192"/>
              </a:xfrm>
              <a:custGeom>
                <a:avLst/>
                <a:gdLst>
                  <a:gd name="connsiteX0" fmla="*/ 0 w 100135"/>
                  <a:gd name="connsiteY0" fmla="*/ 0 h 1192"/>
                  <a:gd name="connsiteX1" fmla="*/ 100136 w 100135"/>
                  <a:gd name="connsiteY1" fmla="*/ 0 h 11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00135" h="1192">
                    <a:moveTo>
                      <a:pt x="0" y="0"/>
                    </a:moveTo>
                    <a:lnTo>
                      <a:pt x="100136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034" name="Forma livre: Forma 1033">
                <a:extLst>
                  <a:ext uri="{FF2B5EF4-FFF2-40B4-BE49-F238E27FC236}">
                    <a16:creationId xmlns:a16="http://schemas.microsoft.com/office/drawing/2014/main" id="{399CB5D1-5743-6B3A-2E94-F0A3C686F188}"/>
                  </a:ext>
                </a:extLst>
              </p:cNvPr>
              <p:cNvSpPr/>
              <p:nvPr/>
            </p:nvSpPr>
            <p:spPr>
              <a:xfrm>
                <a:off x="6964827" y="3239000"/>
                <a:ext cx="100135" cy="1192"/>
              </a:xfrm>
              <a:custGeom>
                <a:avLst/>
                <a:gdLst>
                  <a:gd name="connsiteX0" fmla="*/ 0 w 100135"/>
                  <a:gd name="connsiteY0" fmla="*/ 0 h 1192"/>
                  <a:gd name="connsiteX1" fmla="*/ 100136 w 100135"/>
                  <a:gd name="connsiteY1" fmla="*/ 0 h 11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00135" h="1192">
                    <a:moveTo>
                      <a:pt x="0" y="0"/>
                    </a:moveTo>
                    <a:lnTo>
                      <a:pt x="100136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035" name="Gráfico 9">
            <a:extLst>
              <a:ext uri="{FF2B5EF4-FFF2-40B4-BE49-F238E27FC236}">
                <a16:creationId xmlns:a16="http://schemas.microsoft.com/office/drawing/2014/main" id="{43326FD0-498A-3D9A-5859-CABADCCE3A15}"/>
              </a:ext>
            </a:extLst>
          </p:cNvPr>
          <p:cNvGrpSpPr/>
          <p:nvPr/>
        </p:nvGrpSpPr>
        <p:grpSpPr>
          <a:xfrm>
            <a:off x="6252065" y="3132649"/>
            <a:ext cx="256411" cy="289802"/>
            <a:chOff x="6252065" y="3132649"/>
            <a:chExt cx="256411" cy="289802"/>
          </a:xfrm>
          <a:noFill/>
        </p:grpSpPr>
        <p:sp>
          <p:nvSpPr>
            <p:cNvPr id="1036" name="Forma livre: Forma 1035">
              <a:extLst>
                <a:ext uri="{FF2B5EF4-FFF2-40B4-BE49-F238E27FC236}">
                  <a16:creationId xmlns:a16="http://schemas.microsoft.com/office/drawing/2014/main" id="{E4FD20A7-BC1B-EE44-9CE5-F1337C5E06BE}"/>
                </a:ext>
              </a:extLst>
            </p:cNvPr>
            <p:cNvSpPr/>
            <p:nvPr/>
          </p:nvSpPr>
          <p:spPr>
            <a:xfrm>
              <a:off x="6252065" y="3132649"/>
              <a:ext cx="24658" cy="69823"/>
            </a:xfrm>
            <a:custGeom>
              <a:avLst/>
              <a:gdLst>
                <a:gd name="connsiteX0" fmla="*/ 24658 w 24658"/>
                <a:gd name="connsiteY0" fmla="*/ 31017 h 69823"/>
                <a:gd name="connsiteX1" fmla="*/ 24658 w 24658"/>
                <a:gd name="connsiteY1" fmla="*/ 62642 h 69823"/>
                <a:gd name="connsiteX2" fmla="*/ 0 w 24658"/>
                <a:gd name="connsiteY2" fmla="*/ 69823 h 69823"/>
                <a:gd name="connsiteX3" fmla="*/ 0 w 24658"/>
                <a:gd name="connsiteY3" fmla="*/ 0 h 69823"/>
                <a:gd name="connsiteX4" fmla="*/ 24658 w 24658"/>
                <a:gd name="connsiteY4" fmla="*/ 7170 h 698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658" h="69823">
                  <a:moveTo>
                    <a:pt x="24658" y="31017"/>
                  </a:moveTo>
                  <a:lnTo>
                    <a:pt x="24658" y="62642"/>
                  </a:lnTo>
                  <a:lnTo>
                    <a:pt x="0" y="69823"/>
                  </a:lnTo>
                  <a:lnTo>
                    <a:pt x="0" y="0"/>
                  </a:lnTo>
                  <a:lnTo>
                    <a:pt x="24658" y="7170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37" name="Forma livre: Forma 1036">
              <a:extLst>
                <a:ext uri="{FF2B5EF4-FFF2-40B4-BE49-F238E27FC236}">
                  <a16:creationId xmlns:a16="http://schemas.microsoft.com/office/drawing/2014/main" id="{56D3F74A-7F3B-6B02-6D3A-0BE1F7DF5F98}"/>
                </a:ext>
              </a:extLst>
            </p:cNvPr>
            <p:cNvSpPr/>
            <p:nvPr/>
          </p:nvSpPr>
          <p:spPr>
            <a:xfrm>
              <a:off x="6252065" y="3352628"/>
              <a:ext cx="24658" cy="69823"/>
            </a:xfrm>
            <a:custGeom>
              <a:avLst/>
              <a:gdLst>
                <a:gd name="connsiteX0" fmla="*/ 24658 w 24658"/>
                <a:gd name="connsiteY0" fmla="*/ 42457 h 69823"/>
                <a:gd name="connsiteX1" fmla="*/ 24658 w 24658"/>
                <a:gd name="connsiteY1" fmla="*/ 62642 h 69823"/>
                <a:gd name="connsiteX2" fmla="*/ 0 w 24658"/>
                <a:gd name="connsiteY2" fmla="*/ 69823 h 69823"/>
                <a:gd name="connsiteX3" fmla="*/ 0 w 24658"/>
                <a:gd name="connsiteY3" fmla="*/ 0 h 69823"/>
                <a:gd name="connsiteX4" fmla="*/ 24658 w 24658"/>
                <a:gd name="connsiteY4" fmla="*/ 7170 h 69823"/>
                <a:gd name="connsiteX5" fmla="*/ 24658 w 24658"/>
                <a:gd name="connsiteY5" fmla="*/ 21115 h 698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4658" h="69823">
                  <a:moveTo>
                    <a:pt x="24658" y="42457"/>
                  </a:moveTo>
                  <a:lnTo>
                    <a:pt x="24658" y="62642"/>
                  </a:lnTo>
                  <a:lnTo>
                    <a:pt x="0" y="69823"/>
                  </a:lnTo>
                  <a:lnTo>
                    <a:pt x="0" y="0"/>
                  </a:lnTo>
                  <a:lnTo>
                    <a:pt x="24658" y="7170"/>
                  </a:lnTo>
                  <a:lnTo>
                    <a:pt x="24658" y="21115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38" name="Forma livre: Forma 1037">
              <a:extLst>
                <a:ext uri="{FF2B5EF4-FFF2-40B4-BE49-F238E27FC236}">
                  <a16:creationId xmlns:a16="http://schemas.microsoft.com/office/drawing/2014/main" id="{CFABE773-2187-26A4-8ECD-7F42AF5244A7}"/>
                </a:ext>
              </a:extLst>
            </p:cNvPr>
            <p:cNvSpPr/>
            <p:nvPr/>
          </p:nvSpPr>
          <p:spPr>
            <a:xfrm>
              <a:off x="6276687" y="3182275"/>
              <a:ext cx="203158" cy="192660"/>
            </a:xfrm>
            <a:custGeom>
              <a:avLst/>
              <a:gdLst>
                <a:gd name="connsiteX0" fmla="*/ 0 w 203158"/>
                <a:gd name="connsiteY0" fmla="*/ 0 h 192660"/>
                <a:gd name="connsiteX1" fmla="*/ 179300 w 203158"/>
                <a:gd name="connsiteY1" fmla="*/ 0 h 192660"/>
                <a:gd name="connsiteX2" fmla="*/ 203159 w 203158"/>
                <a:gd name="connsiteY2" fmla="*/ 22666 h 192660"/>
                <a:gd name="connsiteX3" fmla="*/ 179300 w 203158"/>
                <a:gd name="connsiteY3" fmla="*/ 45332 h 192660"/>
                <a:gd name="connsiteX4" fmla="*/ 80202 w 203158"/>
                <a:gd name="connsiteY4" fmla="*/ 45332 h 192660"/>
                <a:gd name="connsiteX5" fmla="*/ 27712 w 203158"/>
                <a:gd name="connsiteY5" fmla="*/ 96640 h 192660"/>
                <a:gd name="connsiteX6" fmla="*/ 80202 w 203158"/>
                <a:gd name="connsiteY6" fmla="*/ 147627 h 192660"/>
                <a:gd name="connsiteX7" fmla="*/ 179300 w 203158"/>
                <a:gd name="connsiteY7" fmla="*/ 147627 h 192660"/>
                <a:gd name="connsiteX8" fmla="*/ 203159 w 203158"/>
                <a:gd name="connsiteY8" fmla="*/ 169995 h 192660"/>
                <a:gd name="connsiteX9" fmla="*/ 179300 w 203158"/>
                <a:gd name="connsiteY9" fmla="*/ 192661 h 192660"/>
                <a:gd name="connsiteX10" fmla="*/ 21461 w 203158"/>
                <a:gd name="connsiteY10" fmla="*/ 192661 h 1926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03158" h="192660">
                  <a:moveTo>
                    <a:pt x="0" y="0"/>
                  </a:moveTo>
                  <a:lnTo>
                    <a:pt x="179300" y="0"/>
                  </a:lnTo>
                  <a:cubicBezTo>
                    <a:pt x="192458" y="0"/>
                    <a:pt x="203159" y="10164"/>
                    <a:pt x="203159" y="22666"/>
                  </a:cubicBezTo>
                  <a:cubicBezTo>
                    <a:pt x="203159" y="35168"/>
                    <a:pt x="192458" y="45332"/>
                    <a:pt x="179300" y="45332"/>
                  </a:cubicBezTo>
                  <a:lnTo>
                    <a:pt x="80202" y="45332"/>
                  </a:lnTo>
                  <a:cubicBezTo>
                    <a:pt x="51261" y="45332"/>
                    <a:pt x="27712" y="68356"/>
                    <a:pt x="27712" y="96640"/>
                  </a:cubicBezTo>
                  <a:cubicBezTo>
                    <a:pt x="27712" y="124925"/>
                    <a:pt x="51261" y="147627"/>
                    <a:pt x="80202" y="147627"/>
                  </a:cubicBezTo>
                  <a:lnTo>
                    <a:pt x="179300" y="147627"/>
                  </a:lnTo>
                  <a:cubicBezTo>
                    <a:pt x="192458" y="147627"/>
                    <a:pt x="203159" y="157493"/>
                    <a:pt x="203159" y="169995"/>
                  </a:cubicBezTo>
                  <a:cubicBezTo>
                    <a:pt x="203159" y="182497"/>
                    <a:pt x="192458" y="192661"/>
                    <a:pt x="179300" y="192661"/>
                  </a:cubicBezTo>
                  <a:lnTo>
                    <a:pt x="21461" y="192661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39" name="Forma livre: Forma 1038">
              <a:extLst>
                <a:ext uri="{FF2B5EF4-FFF2-40B4-BE49-F238E27FC236}">
                  <a16:creationId xmlns:a16="http://schemas.microsoft.com/office/drawing/2014/main" id="{492B370F-E385-FE13-7A3E-7735DA0943DD}"/>
                </a:ext>
              </a:extLst>
            </p:cNvPr>
            <p:cNvSpPr/>
            <p:nvPr/>
          </p:nvSpPr>
          <p:spPr>
            <a:xfrm>
              <a:off x="6276687" y="3153645"/>
              <a:ext cx="231789" cy="249922"/>
            </a:xfrm>
            <a:custGeom>
              <a:avLst/>
              <a:gdLst>
                <a:gd name="connsiteX0" fmla="*/ 20030 w 231789"/>
                <a:gd name="connsiteY0" fmla="*/ 0 h 249922"/>
                <a:gd name="connsiteX1" fmla="*/ 179300 w 231789"/>
                <a:gd name="connsiteY1" fmla="*/ 0 h 249922"/>
                <a:gd name="connsiteX2" fmla="*/ 231790 w 231789"/>
                <a:gd name="connsiteY2" fmla="*/ 51297 h 249922"/>
                <a:gd name="connsiteX3" fmla="*/ 179300 w 231789"/>
                <a:gd name="connsiteY3" fmla="*/ 102593 h 249922"/>
                <a:gd name="connsiteX4" fmla="*/ 80202 w 231789"/>
                <a:gd name="connsiteY4" fmla="*/ 102593 h 249922"/>
                <a:gd name="connsiteX5" fmla="*/ 56343 w 231789"/>
                <a:gd name="connsiteY5" fmla="*/ 125271 h 249922"/>
                <a:gd name="connsiteX6" fmla="*/ 80202 w 231789"/>
                <a:gd name="connsiteY6" fmla="*/ 147627 h 249922"/>
                <a:gd name="connsiteX7" fmla="*/ 179300 w 231789"/>
                <a:gd name="connsiteY7" fmla="*/ 147627 h 249922"/>
                <a:gd name="connsiteX8" fmla="*/ 231790 w 231789"/>
                <a:gd name="connsiteY8" fmla="*/ 198626 h 249922"/>
                <a:gd name="connsiteX9" fmla="*/ 179300 w 231789"/>
                <a:gd name="connsiteY9" fmla="*/ 249922 h 249922"/>
                <a:gd name="connsiteX10" fmla="*/ 0 w 231789"/>
                <a:gd name="connsiteY10" fmla="*/ 249922 h 2499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31789" h="249922">
                  <a:moveTo>
                    <a:pt x="20030" y="0"/>
                  </a:moveTo>
                  <a:lnTo>
                    <a:pt x="179300" y="0"/>
                  </a:lnTo>
                  <a:cubicBezTo>
                    <a:pt x="208241" y="0"/>
                    <a:pt x="231790" y="23012"/>
                    <a:pt x="231790" y="51297"/>
                  </a:cubicBezTo>
                  <a:cubicBezTo>
                    <a:pt x="231790" y="79581"/>
                    <a:pt x="208241" y="102593"/>
                    <a:pt x="179300" y="102593"/>
                  </a:cubicBezTo>
                  <a:lnTo>
                    <a:pt x="80202" y="102593"/>
                  </a:lnTo>
                  <a:cubicBezTo>
                    <a:pt x="67044" y="102593"/>
                    <a:pt x="56343" y="112769"/>
                    <a:pt x="56343" y="125271"/>
                  </a:cubicBezTo>
                  <a:cubicBezTo>
                    <a:pt x="56343" y="137773"/>
                    <a:pt x="67044" y="147627"/>
                    <a:pt x="80202" y="147627"/>
                  </a:cubicBezTo>
                  <a:lnTo>
                    <a:pt x="179300" y="147627"/>
                  </a:lnTo>
                  <a:cubicBezTo>
                    <a:pt x="208241" y="147627"/>
                    <a:pt x="231790" y="170341"/>
                    <a:pt x="231790" y="198626"/>
                  </a:cubicBezTo>
                  <a:cubicBezTo>
                    <a:pt x="231790" y="226910"/>
                    <a:pt x="208241" y="249922"/>
                    <a:pt x="179300" y="249922"/>
                  </a:cubicBezTo>
                  <a:lnTo>
                    <a:pt x="0" y="249922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040" name="Gráfico 9">
            <a:extLst>
              <a:ext uri="{FF2B5EF4-FFF2-40B4-BE49-F238E27FC236}">
                <a16:creationId xmlns:a16="http://schemas.microsoft.com/office/drawing/2014/main" id="{06821BF2-3D4B-8AF1-FDD3-A659B641F5AC}"/>
              </a:ext>
            </a:extLst>
          </p:cNvPr>
          <p:cNvGrpSpPr/>
          <p:nvPr/>
        </p:nvGrpSpPr>
        <p:grpSpPr>
          <a:xfrm>
            <a:off x="7512890" y="3138196"/>
            <a:ext cx="272683" cy="278696"/>
            <a:chOff x="7512890" y="3138196"/>
            <a:chExt cx="272683" cy="278696"/>
          </a:xfrm>
        </p:grpSpPr>
        <p:sp>
          <p:nvSpPr>
            <p:cNvPr id="1041" name="Forma livre: Forma 1040">
              <a:extLst>
                <a:ext uri="{FF2B5EF4-FFF2-40B4-BE49-F238E27FC236}">
                  <a16:creationId xmlns:a16="http://schemas.microsoft.com/office/drawing/2014/main" id="{82019088-90CC-41F7-8729-7259EF2565CA}"/>
                </a:ext>
              </a:extLst>
            </p:cNvPr>
            <p:cNvSpPr/>
            <p:nvPr/>
          </p:nvSpPr>
          <p:spPr>
            <a:xfrm>
              <a:off x="7552675" y="3327612"/>
              <a:ext cx="5737" cy="5726"/>
            </a:xfrm>
            <a:custGeom>
              <a:avLst/>
              <a:gdLst>
                <a:gd name="connsiteX0" fmla="*/ 5738 w 5737"/>
                <a:gd name="connsiteY0" fmla="*/ 2863 h 5726"/>
                <a:gd name="connsiteX1" fmla="*/ 2875 w 5737"/>
                <a:gd name="connsiteY1" fmla="*/ 5726 h 5726"/>
                <a:gd name="connsiteX2" fmla="*/ 0 w 5737"/>
                <a:gd name="connsiteY2" fmla="*/ 2863 h 5726"/>
                <a:gd name="connsiteX3" fmla="*/ 2875 w 5737"/>
                <a:gd name="connsiteY3" fmla="*/ 0 h 5726"/>
                <a:gd name="connsiteX4" fmla="*/ 5738 w 5737"/>
                <a:gd name="connsiteY4" fmla="*/ 2863 h 57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37" h="5726">
                  <a:moveTo>
                    <a:pt x="5738" y="2863"/>
                  </a:moveTo>
                  <a:cubicBezTo>
                    <a:pt x="5738" y="4450"/>
                    <a:pt x="4462" y="5726"/>
                    <a:pt x="2875" y="5726"/>
                  </a:cubicBezTo>
                  <a:cubicBezTo>
                    <a:pt x="1288" y="5726"/>
                    <a:pt x="0" y="4450"/>
                    <a:pt x="0" y="2863"/>
                  </a:cubicBezTo>
                  <a:cubicBezTo>
                    <a:pt x="0" y="1276"/>
                    <a:pt x="1288" y="0"/>
                    <a:pt x="2875" y="0"/>
                  </a:cubicBezTo>
                  <a:cubicBezTo>
                    <a:pt x="4462" y="0"/>
                    <a:pt x="5738" y="1276"/>
                    <a:pt x="5738" y="2863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42" name="Forma livre: Forma 1041">
              <a:extLst>
                <a:ext uri="{FF2B5EF4-FFF2-40B4-BE49-F238E27FC236}">
                  <a16:creationId xmlns:a16="http://schemas.microsoft.com/office/drawing/2014/main" id="{740BD0A0-8726-8080-C97E-656C1E40B10C}"/>
                </a:ext>
              </a:extLst>
            </p:cNvPr>
            <p:cNvSpPr/>
            <p:nvPr/>
          </p:nvSpPr>
          <p:spPr>
            <a:xfrm>
              <a:off x="7564604" y="3369759"/>
              <a:ext cx="5737" cy="5726"/>
            </a:xfrm>
            <a:custGeom>
              <a:avLst/>
              <a:gdLst>
                <a:gd name="connsiteX0" fmla="*/ 5738 w 5737"/>
                <a:gd name="connsiteY0" fmla="*/ 2863 h 5726"/>
                <a:gd name="connsiteX1" fmla="*/ 2875 w 5737"/>
                <a:gd name="connsiteY1" fmla="*/ 5726 h 5726"/>
                <a:gd name="connsiteX2" fmla="*/ 0 w 5737"/>
                <a:gd name="connsiteY2" fmla="*/ 2863 h 5726"/>
                <a:gd name="connsiteX3" fmla="*/ 2875 w 5737"/>
                <a:gd name="connsiteY3" fmla="*/ 0 h 5726"/>
                <a:gd name="connsiteX4" fmla="*/ 5738 w 5737"/>
                <a:gd name="connsiteY4" fmla="*/ 2863 h 57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37" h="5726">
                  <a:moveTo>
                    <a:pt x="5738" y="2863"/>
                  </a:moveTo>
                  <a:cubicBezTo>
                    <a:pt x="5738" y="4450"/>
                    <a:pt x="4462" y="5726"/>
                    <a:pt x="2875" y="5726"/>
                  </a:cubicBezTo>
                  <a:cubicBezTo>
                    <a:pt x="1288" y="5726"/>
                    <a:pt x="0" y="4450"/>
                    <a:pt x="0" y="2863"/>
                  </a:cubicBezTo>
                  <a:cubicBezTo>
                    <a:pt x="0" y="1277"/>
                    <a:pt x="1288" y="0"/>
                    <a:pt x="2875" y="0"/>
                  </a:cubicBezTo>
                  <a:cubicBezTo>
                    <a:pt x="4462" y="0"/>
                    <a:pt x="5738" y="1277"/>
                    <a:pt x="5738" y="2863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43" name="Forma livre: Forma 1042">
              <a:extLst>
                <a:ext uri="{FF2B5EF4-FFF2-40B4-BE49-F238E27FC236}">
                  <a16:creationId xmlns:a16="http://schemas.microsoft.com/office/drawing/2014/main" id="{8E585B7D-9108-DA93-3FA3-3E2159466345}"/>
                </a:ext>
              </a:extLst>
            </p:cNvPr>
            <p:cNvSpPr/>
            <p:nvPr/>
          </p:nvSpPr>
          <p:spPr>
            <a:xfrm>
              <a:off x="7619647" y="3387414"/>
              <a:ext cx="5726" cy="5726"/>
            </a:xfrm>
            <a:custGeom>
              <a:avLst/>
              <a:gdLst>
                <a:gd name="connsiteX0" fmla="*/ 5726 w 5726"/>
                <a:gd name="connsiteY0" fmla="*/ 2863 h 5726"/>
                <a:gd name="connsiteX1" fmla="*/ 2863 w 5726"/>
                <a:gd name="connsiteY1" fmla="*/ 5726 h 5726"/>
                <a:gd name="connsiteX2" fmla="*/ 0 w 5726"/>
                <a:gd name="connsiteY2" fmla="*/ 2863 h 5726"/>
                <a:gd name="connsiteX3" fmla="*/ 2863 w 5726"/>
                <a:gd name="connsiteY3" fmla="*/ 0 h 5726"/>
                <a:gd name="connsiteX4" fmla="*/ 5726 w 5726"/>
                <a:gd name="connsiteY4" fmla="*/ 2863 h 57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26" h="5726">
                  <a:moveTo>
                    <a:pt x="5726" y="2863"/>
                  </a:moveTo>
                  <a:cubicBezTo>
                    <a:pt x="5726" y="4450"/>
                    <a:pt x="4462" y="5726"/>
                    <a:pt x="2863" y="5726"/>
                  </a:cubicBezTo>
                  <a:cubicBezTo>
                    <a:pt x="1264" y="5726"/>
                    <a:pt x="0" y="4450"/>
                    <a:pt x="0" y="2863"/>
                  </a:cubicBezTo>
                  <a:cubicBezTo>
                    <a:pt x="0" y="1276"/>
                    <a:pt x="1288" y="0"/>
                    <a:pt x="2863" y="0"/>
                  </a:cubicBezTo>
                  <a:cubicBezTo>
                    <a:pt x="4438" y="0"/>
                    <a:pt x="5726" y="1276"/>
                    <a:pt x="5726" y="2863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44" name="Forma livre: Forma 1043">
              <a:extLst>
                <a:ext uri="{FF2B5EF4-FFF2-40B4-BE49-F238E27FC236}">
                  <a16:creationId xmlns:a16="http://schemas.microsoft.com/office/drawing/2014/main" id="{7102734A-A5A8-7F3C-E7D1-4518D208B6C1}"/>
                </a:ext>
              </a:extLst>
            </p:cNvPr>
            <p:cNvSpPr/>
            <p:nvPr/>
          </p:nvSpPr>
          <p:spPr>
            <a:xfrm>
              <a:off x="7659730" y="3334137"/>
              <a:ext cx="5737" cy="5726"/>
            </a:xfrm>
            <a:custGeom>
              <a:avLst/>
              <a:gdLst>
                <a:gd name="connsiteX0" fmla="*/ 5738 w 5737"/>
                <a:gd name="connsiteY0" fmla="*/ 2863 h 5726"/>
                <a:gd name="connsiteX1" fmla="*/ 2875 w 5737"/>
                <a:gd name="connsiteY1" fmla="*/ 5726 h 5726"/>
                <a:gd name="connsiteX2" fmla="*/ 0 w 5737"/>
                <a:gd name="connsiteY2" fmla="*/ 2863 h 5726"/>
                <a:gd name="connsiteX3" fmla="*/ 2875 w 5737"/>
                <a:gd name="connsiteY3" fmla="*/ 0 h 5726"/>
                <a:gd name="connsiteX4" fmla="*/ 5738 w 5737"/>
                <a:gd name="connsiteY4" fmla="*/ 2863 h 57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37" h="5726">
                  <a:moveTo>
                    <a:pt x="5738" y="2863"/>
                  </a:moveTo>
                  <a:cubicBezTo>
                    <a:pt x="5738" y="4450"/>
                    <a:pt x="4462" y="5726"/>
                    <a:pt x="2875" y="5726"/>
                  </a:cubicBezTo>
                  <a:cubicBezTo>
                    <a:pt x="1288" y="5726"/>
                    <a:pt x="0" y="4450"/>
                    <a:pt x="0" y="2863"/>
                  </a:cubicBezTo>
                  <a:cubicBezTo>
                    <a:pt x="0" y="1277"/>
                    <a:pt x="1288" y="0"/>
                    <a:pt x="2875" y="0"/>
                  </a:cubicBezTo>
                  <a:cubicBezTo>
                    <a:pt x="4462" y="0"/>
                    <a:pt x="5738" y="1277"/>
                    <a:pt x="5738" y="2863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45" name="Forma livre: Forma 1044">
              <a:extLst>
                <a:ext uri="{FF2B5EF4-FFF2-40B4-BE49-F238E27FC236}">
                  <a16:creationId xmlns:a16="http://schemas.microsoft.com/office/drawing/2014/main" id="{01F47AC0-194A-8841-9156-9ABDA8F929FE}"/>
                </a:ext>
              </a:extLst>
            </p:cNvPr>
            <p:cNvSpPr/>
            <p:nvPr/>
          </p:nvSpPr>
          <p:spPr>
            <a:xfrm>
              <a:off x="7649387" y="3361814"/>
              <a:ext cx="5726" cy="5726"/>
            </a:xfrm>
            <a:custGeom>
              <a:avLst/>
              <a:gdLst>
                <a:gd name="connsiteX0" fmla="*/ 5726 w 5726"/>
                <a:gd name="connsiteY0" fmla="*/ 2863 h 5726"/>
                <a:gd name="connsiteX1" fmla="*/ 2863 w 5726"/>
                <a:gd name="connsiteY1" fmla="*/ 5726 h 5726"/>
                <a:gd name="connsiteX2" fmla="*/ 0 w 5726"/>
                <a:gd name="connsiteY2" fmla="*/ 2863 h 5726"/>
                <a:gd name="connsiteX3" fmla="*/ 2863 w 5726"/>
                <a:gd name="connsiteY3" fmla="*/ 0 h 5726"/>
                <a:gd name="connsiteX4" fmla="*/ 5726 w 5726"/>
                <a:gd name="connsiteY4" fmla="*/ 2863 h 57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26" h="5726">
                  <a:moveTo>
                    <a:pt x="5726" y="2863"/>
                  </a:moveTo>
                  <a:cubicBezTo>
                    <a:pt x="5726" y="4450"/>
                    <a:pt x="4462" y="5726"/>
                    <a:pt x="2863" y="5726"/>
                  </a:cubicBezTo>
                  <a:cubicBezTo>
                    <a:pt x="1265" y="5726"/>
                    <a:pt x="0" y="4450"/>
                    <a:pt x="0" y="2863"/>
                  </a:cubicBezTo>
                  <a:cubicBezTo>
                    <a:pt x="0" y="1276"/>
                    <a:pt x="1288" y="0"/>
                    <a:pt x="2863" y="0"/>
                  </a:cubicBezTo>
                  <a:cubicBezTo>
                    <a:pt x="4438" y="0"/>
                    <a:pt x="5726" y="1276"/>
                    <a:pt x="5726" y="2863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46" name="Forma livre: Forma 1045">
              <a:extLst>
                <a:ext uri="{FF2B5EF4-FFF2-40B4-BE49-F238E27FC236}">
                  <a16:creationId xmlns:a16="http://schemas.microsoft.com/office/drawing/2014/main" id="{783D51EE-893B-6B43-F011-15D012AF504C}"/>
                </a:ext>
              </a:extLst>
            </p:cNvPr>
            <p:cNvSpPr/>
            <p:nvPr/>
          </p:nvSpPr>
          <p:spPr>
            <a:xfrm>
              <a:off x="7581222" y="3164930"/>
              <a:ext cx="155429" cy="200235"/>
            </a:xfrm>
            <a:custGeom>
              <a:avLst/>
              <a:gdLst>
                <a:gd name="connsiteX0" fmla="*/ 0 w 155429"/>
                <a:gd name="connsiteY0" fmla="*/ 0 h 200235"/>
                <a:gd name="connsiteX1" fmla="*/ 0 w 155429"/>
                <a:gd name="connsiteY1" fmla="*/ 174361 h 200235"/>
                <a:gd name="connsiteX2" fmla="*/ 25887 w 155429"/>
                <a:gd name="connsiteY2" fmla="*/ 200236 h 200235"/>
                <a:gd name="connsiteX3" fmla="*/ 27605 w 155429"/>
                <a:gd name="connsiteY3" fmla="*/ 200236 h 200235"/>
                <a:gd name="connsiteX4" fmla="*/ 53480 w 155429"/>
                <a:gd name="connsiteY4" fmla="*/ 174361 h 200235"/>
                <a:gd name="connsiteX5" fmla="*/ 53480 w 155429"/>
                <a:gd name="connsiteY5" fmla="*/ 85546 h 200235"/>
                <a:gd name="connsiteX6" fmla="*/ 131081 w 155429"/>
                <a:gd name="connsiteY6" fmla="*/ 7945 h 200235"/>
                <a:gd name="connsiteX7" fmla="*/ 155429 w 155429"/>
                <a:gd name="connsiteY7" fmla="*/ 7945 h 2002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55429" h="200235">
                  <a:moveTo>
                    <a:pt x="0" y="0"/>
                  </a:moveTo>
                  <a:lnTo>
                    <a:pt x="0" y="174361"/>
                  </a:lnTo>
                  <a:cubicBezTo>
                    <a:pt x="0" y="188629"/>
                    <a:pt x="11607" y="200236"/>
                    <a:pt x="25887" y="200236"/>
                  </a:cubicBezTo>
                  <a:lnTo>
                    <a:pt x="27605" y="200236"/>
                  </a:lnTo>
                  <a:cubicBezTo>
                    <a:pt x="41873" y="200236"/>
                    <a:pt x="53480" y="188629"/>
                    <a:pt x="53480" y="174361"/>
                  </a:cubicBezTo>
                  <a:lnTo>
                    <a:pt x="53480" y="85546"/>
                  </a:lnTo>
                  <a:cubicBezTo>
                    <a:pt x="53480" y="42755"/>
                    <a:pt x="88290" y="7945"/>
                    <a:pt x="131081" y="7945"/>
                  </a:cubicBezTo>
                  <a:lnTo>
                    <a:pt x="155429" y="7945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47" name="Forma livre: Forma 1046">
              <a:extLst>
                <a:ext uri="{FF2B5EF4-FFF2-40B4-BE49-F238E27FC236}">
                  <a16:creationId xmlns:a16="http://schemas.microsoft.com/office/drawing/2014/main" id="{A05E789E-89B0-C51C-6D00-9056DB5C3B36}"/>
                </a:ext>
              </a:extLst>
            </p:cNvPr>
            <p:cNvSpPr/>
            <p:nvPr/>
          </p:nvSpPr>
          <p:spPr>
            <a:xfrm>
              <a:off x="7529484" y="3185449"/>
              <a:ext cx="228866" cy="231443"/>
            </a:xfrm>
            <a:custGeom>
              <a:avLst/>
              <a:gdLst>
                <a:gd name="connsiteX0" fmla="*/ 0 w 228866"/>
                <a:gd name="connsiteY0" fmla="*/ 0 h 231443"/>
                <a:gd name="connsiteX1" fmla="*/ 0 w 228866"/>
                <a:gd name="connsiteY1" fmla="*/ 153830 h 231443"/>
                <a:gd name="connsiteX2" fmla="*/ 77613 w 228866"/>
                <a:gd name="connsiteY2" fmla="*/ 231443 h 231443"/>
                <a:gd name="connsiteX3" fmla="*/ 79331 w 228866"/>
                <a:gd name="connsiteY3" fmla="*/ 231443 h 231443"/>
                <a:gd name="connsiteX4" fmla="*/ 156944 w 228866"/>
                <a:gd name="connsiteY4" fmla="*/ 153830 h 231443"/>
                <a:gd name="connsiteX5" fmla="*/ 156944 w 228866"/>
                <a:gd name="connsiteY5" fmla="*/ 65016 h 231443"/>
                <a:gd name="connsiteX6" fmla="*/ 182795 w 228866"/>
                <a:gd name="connsiteY6" fmla="*/ 39141 h 231443"/>
                <a:gd name="connsiteX7" fmla="*/ 228867 w 228866"/>
                <a:gd name="connsiteY7" fmla="*/ 39141 h 2314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28866" h="231443">
                  <a:moveTo>
                    <a:pt x="0" y="0"/>
                  </a:moveTo>
                  <a:lnTo>
                    <a:pt x="0" y="153830"/>
                  </a:lnTo>
                  <a:cubicBezTo>
                    <a:pt x="0" y="196633"/>
                    <a:pt x="34822" y="231443"/>
                    <a:pt x="77613" y="231443"/>
                  </a:cubicBezTo>
                  <a:lnTo>
                    <a:pt x="79331" y="231443"/>
                  </a:lnTo>
                  <a:cubicBezTo>
                    <a:pt x="122122" y="231443"/>
                    <a:pt x="156944" y="196621"/>
                    <a:pt x="156944" y="153830"/>
                  </a:cubicBezTo>
                  <a:lnTo>
                    <a:pt x="156944" y="65016"/>
                  </a:lnTo>
                  <a:cubicBezTo>
                    <a:pt x="156944" y="50748"/>
                    <a:pt x="168551" y="39141"/>
                    <a:pt x="182795" y="39141"/>
                  </a:cubicBezTo>
                  <a:lnTo>
                    <a:pt x="228867" y="39141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48" name="Forma livre: Forma 1047">
              <a:extLst>
                <a:ext uri="{FF2B5EF4-FFF2-40B4-BE49-F238E27FC236}">
                  <a16:creationId xmlns:a16="http://schemas.microsoft.com/office/drawing/2014/main" id="{338B89E0-45C5-F543-C275-DC0A32EA5C16}"/>
                </a:ext>
              </a:extLst>
            </p:cNvPr>
            <p:cNvSpPr/>
            <p:nvPr/>
          </p:nvSpPr>
          <p:spPr>
            <a:xfrm>
              <a:off x="7512890" y="3138196"/>
              <a:ext cx="85033" cy="26733"/>
            </a:xfrm>
            <a:custGeom>
              <a:avLst/>
              <a:gdLst>
                <a:gd name="connsiteX0" fmla="*/ 46048 w 85033"/>
                <a:gd name="connsiteY0" fmla="*/ 26734 h 26733"/>
                <a:gd name="connsiteX1" fmla="*/ 77243 w 85033"/>
                <a:gd name="connsiteY1" fmla="*/ 26734 h 26733"/>
                <a:gd name="connsiteX2" fmla="*/ 85033 w 85033"/>
                <a:gd name="connsiteY2" fmla="*/ 0 h 26733"/>
                <a:gd name="connsiteX3" fmla="*/ 0 w 85033"/>
                <a:gd name="connsiteY3" fmla="*/ 0 h 26733"/>
                <a:gd name="connsiteX4" fmla="*/ 7790 w 85033"/>
                <a:gd name="connsiteY4" fmla="*/ 26734 h 26733"/>
                <a:gd name="connsiteX5" fmla="*/ 19803 w 85033"/>
                <a:gd name="connsiteY5" fmla="*/ 26734 h 267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85033" h="26733">
                  <a:moveTo>
                    <a:pt x="46048" y="26734"/>
                  </a:moveTo>
                  <a:lnTo>
                    <a:pt x="77243" y="26734"/>
                  </a:lnTo>
                  <a:lnTo>
                    <a:pt x="85033" y="0"/>
                  </a:lnTo>
                  <a:lnTo>
                    <a:pt x="0" y="0"/>
                  </a:lnTo>
                  <a:lnTo>
                    <a:pt x="7790" y="26734"/>
                  </a:lnTo>
                  <a:lnTo>
                    <a:pt x="19803" y="26734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49" name="Forma livre: Forma 1048">
              <a:extLst>
                <a:ext uri="{FF2B5EF4-FFF2-40B4-BE49-F238E27FC236}">
                  <a16:creationId xmlns:a16="http://schemas.microsoft.com/office/drawing/2014/main" id="{F5A039C8-77E8-C469-B38C-D43EE8A4315A}"/>
                </a:ext>
              </a:extLst>
            </p:cNvPr>
            <p:cNvSpPr/>
            <p:nvPr/>
          </p:nvSpPr>
          <p:spPr>
            <a:xfrm>
              <a:off x="7758852" y="3156902"/>
              <a:ext cx="26722" cy="85033"/>
            </a:xfrm>
            <a:custGeom>
              <a:avLst/>
              <a:gdLst>
                <a:gd name="connsiteX0" fmla="*/ 0 w 26722"/>
                <a:gd name="connsiteY0" fmla="*/ 46048 h 85033"/>
                <a:gd name="connsiteX1" fmla="*/ 0 w 26722"/>
                <a:gd name="connsiteY1" fmla="*/ 77243 h 85033"/>
                <a:gd name="connsiteX2" fmla="*/ 26722 w 26722"/>
                <a:gd name="connsiteY2" fmla="*/ 85033 h 85033"/>
                <a:gd name="connsiteX3" fmla="*/ 26722 w 26722"/>
                <a:gd name="connsiteY3" fmla="*/ 0 h 85033"/>
                <a:gd name="connsiteX4" fmla="*/ 0 w 26722"/>
                <a:gd name="connsiteY4" fmla="*/ 7790 h 85033"/>
                <a:gd name="connsiteX5" fmla="*/ 0 w 26722"/>
                <a:gd name="connsiteY5" fmla="*/ 19803 h 85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6722" h="85033">
                  <a:moveTo>
                    <a:pt x="0" y="46048"/>
                  </a:moveTo>
                  <a:lnTo>
                    <a:pt x="0" y="77243"/>
                  </a:lnTo>
                  <a:lnTo>
                    <a:pt x="26722" y="85033"/>
                  </a:lnTo>
                  <a:lnTo>
                    <a:pt x="26722" y="0"/>
                  </a:lnTo>
                  <a:lnTo>
                    <a:pt x="0" y="7790"/>
                  </a:lnTo>
                  <a:lnTo>
                    <a:pt x="0" y="19803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50" name="Forma livre: Forma 1049">
              <a:extLst>
                <a:ext uri="{FF2B5EF4-FFF2-40B4-BE49-F238E27FC236}">
                  <a16:creationId xmlns:a16="http://schemas.microsoft.com/office/drawing/2014/main" id="{A02960E6-3CC5-0E7F-5E5F-E5AD6CD4BB27}"/>
                </a:ext>
              </a:extLst>
            </p:cNvPr>
            <p:cNvSpPr/>
            <p:nvPr/>
          </p:nvSpPr>
          <p:spPr>
            <a:xfrm>
              <a:off x="7548714" y="3297550"/>
              <a:ext cx="31016" cy="1192"/>
            </a:xfrm>
            <a:custGeom>
              <a:avLst/>
              <a:gdLst>
                <a:gd name="connsiteX0" fmla="*/ 31017 w 31016"/>
                <a:gd name="connsiteY0" fmla="*/ 0 h 1192"/>
                <a:gd name="connsiteX1" fmla="*/ 0 w 31016"/>
                <a:gd name="connsiteY1" fmla="*/ 0 h 11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1016" h="1192">
                  <a:moveTo>
                    <a:pt x="31017" y="0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51" name="Forma livre: Forma 1050">
              <a:extLst>
                <a:ext uri="{FF2B5EF4-FFF2-40B4-BE49-F238E27FC236}">
                  <a16:creationId xmlns:a16="http://schemas.microsoft.com/office/drawing/2014/main" id="{BB7990CA-6F00-B6A7-EC0B-F2F7A5E81E5E}"/>
                </a:ext>
              </a:extLst>
            </p:cNvPr>
            <p:cNvSpPr/>
            <p:nvPr/>
          </p:nvSpPr>
          <p:spPr>
            <a:xfrm>
              <a:off x="7655280" y="3297550"/>
              <a:ext cx="31016" cy="1192"/>
            </a:xfrm>
            <a:custGeom>
              <a:avLst/>
              <a:gdLst>
                <a:gd name="connsiteX0" fmla="*/ 31017 w 31016"/>
                <a:gd name="connsiteY0" fmla="*/ 0 h 1192"/>
                <a:gd name="connsiteX1" fmla="*/ 0 w 31016"/>
                <a:gd name="connsiteY1" fmla="*/ 0 h 11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1016" h="1192">
                  <a:moveTo>
                    <a:pt x="31017" y="0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052" name="Gráfico 9">
            <a:extLst>
              <a:ext uri="{FF2B5EF4-FFF2-40B4-BE49-F238E27FC236}">
                <a16:creationId xmlns:a16="http://schemas.microsoft.com/office/drawing/2014/main" id="{0FEB1370-6A8B-230D-5744-D4504D13353C}"/>
              </a:ext>
            </a:extLst>
          </p:cNvPr>
          <p:cNvGrpSpPr/>
          <p:nvPr/>
        </p:nvGrpSpPr>
        <p:grpSpPr>
          <a:xfrm>
            <a:off x="6897831" y="2072740"/>
            <a:ext cx="233853" cy="282358"/>
            <a:chOff x="6897831" y="2072740"/>
            <a:chExt cx="233853" cy="282358"/>
          </a:xfrm>
        </p:grpSpPr>
        <p:grpSp>
          <p:nvGrpSpPr>
            <p:cNvPr id="1053" name="Gráfico 9">
              <a:extLst>
                <a:ext uri="{FF2B5EF4-FFF2-40B4-BE49-F238E27FC236}">
                  <a16:creationId xmlns:a16="http://schemas.microsoft.com/office/drawing/2014/main" id="{2E638886-FB60-2B04-3648-B5B3F8F5C0DC}"/>
                </a:ext>
              </a:extLst>
            </p:cNvPr>
            <p:cNvGrpSpPr/>
            <p:nvPr/>
          </p:nvGrpSpPr>
          <p:grpSpPr>
            <a:xfrm>
              <a:off x="6897831" y="2072740"/>
              <a:ext cx="233853" cy="282358"/>
              <a:chOff x="6897831" y="2072740"/>
              <a:chExt cx="233853" cy="282358"/>
            </a:xfrm>
          </p:grpSpPr>
          <p:sp>
            <p:nvSpPr>
              <p:cNvPr id="1054" name="Forma livre: Forma 1053">
                <a:extLst>
                  <a:ext uri="{FF2B5EF4-FFF2-40B4-BE49-F238E27FC236}">
                    <a16:creationId xmlns:a16="http://schemas.microsoft.com/office/drawing/2014/main" id="{92930B4D-8C4F-72D1-B8F4-A8853C4EF71A}"/>
                  </a:ext>
                </a:extLst>
              </p:cNvPr>
              <p:cNvSpPr/>
              <p:nvPr/>
            </p:nvSpPr>
            <p:spPr>
              <a:xfrm>
                <a:off x="6935516" y="2105856"/>
                <a:ext cx="36062" cy="1192"/>
              </a:xfrm>
              <a:custGeom>
                <a:avLst/>
                <a:gdLst>
                  <a:gd name="connsiteX0" fmla="*/ 0 w 36062"/>
                  <a:gd name="connsiteY0" fmla="*/ 0 h 1192"/>
                  <a:gd name="connsiteX1" fmla="*/ 36063 w 36062"/>
                  <a:gd name="connsiteY1" fmla="*/ 0 h 11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6062" h="1192">
                    <a:moveTo>
                      <a:pt x="0" y="0"/>
                    </a:moveTo>
                    <a:lnTo>
                      <a:pt x="36063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055" name="Forma livre: Forma 1054">
                <a:extLst>
                  <a:ext uri="{FF2B5EF4-FFF2-40B4-BE49-F238E27FC236}">
                    <a16:creationId xmlns:a16="http://schemas.microsoft.com/office/drawing/2014/main" id="{B4BE437E-C589-42D1-6105-890F2E4560C9}"/>
                  </a:ext>
                </a:extLst>
              </p:cNvPr>
              <p:cNvSpPr/>
              <p:nvPr/>
            </p:nvSpPr>
            <p:spPr>
              <a:xfrm>
                <a:off x="6897831" y="2072740"/>
                <a:ext cx="233853" cy="282358"/>
              </a:xfrm>
              <a:custGeom>
                <a:avLst/>
                <a:gdLst>
                  <a:gd name="connsiteX0" fmla="*/ 0 w 233853"/>
                  <a:gd name="connsiteY0" fmla="*/ 91058 h 282358"/>
                  <a:gd name="connsiteX1" fmla="*/ 0 w 233853"/>
                  <a:gd name="connsiteY1" fmla="*/ 263271 h 282358"/>
                  <a:gd name="connsiteX2" fmla="*/ 19087 w 233853"/>
                  <a:gd name="connsiteY2" fmla="*/ 282358 h 282358"/>
                  <a:gd name="connsiteX3" fmla="*/ 214766 w 233853"/>
                  <a:gd name="connsiteY3" fmla="*/ 282358 h 282358"/>
                  <a:gd name="connsiteX4" fmla="*/ 233853 w 233853"/>
                  <a:gd name="connsiteY4" fmla="*/ 263271 h 282358"/>
                  <a:gd name="connsiteX5" fmla="*/ 233853 w 233853"/>
                  <a:gd name="connsiteY5" fmla="*/ 19087 h 282358"/>
                  <a:gd name="connsiteX6" fmla="*/ 214766 w 233853"/>
                  <a:gd name="connsiteY6" fmla="*/ 0 h 282358"/>
                  <a:gd name="connsiteX7" fmla="*/ 19087 w 233853"/>
                  <a:gd name="connsiteY7" fmla="*/ 0 h 282358"/>
                  <a:gd name="connsiteX8" fmla="*/ 0 w 233853"/>
                  <a:gd name="connsiteY8" fmla="*/ 19087 h 282358"/>
                  <a:gd name="connsiteX9" fmla="*/ 0 w 233853"/>
                  <a:gd name="connsiteY9" fmla="*/ 67736 h 282358"/>
                  <a:gd name="connsiteX10" fmla="*/ 230871 w 233853"/>
                  <a:gd name="connsiteY10" fmla="*/ 67736 h 2823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233853" h="282358">
                    <a:moveTo>
                      <a:pt x="0" y="91058"/>
                    </a:moveTo>
                    <a:lnTo>
                      <a:pt x="0" y="263271"/>
                    </a:lnTo>
                    <a:cubicBezTo>
                      <a:pt x="0" y="273769"/>
                      <a:pt x="8589" y="282358"/>
                      <a:pt x="19087" y="282358"/>
                    </a:cubicBezTo>
                    <a:lnTo>
                      <a:pt x="214766" y="282358"/>
                    </a:lnTo>
                    <a:cubicBezTo>
                      <a:pt x="225264" y="282358"/>
                      <a:pt x="233853" y="273769"/>
                      <a:pt x="233853" y="263271"/>
                    </a:cubicBezTo>
                    <a:lnTo>
                      <a:pt x="233853" y="19087"/>
                    </a:lnTo>
                    <a:cubicBezTo>
                      <a:pt x="233853" y="8589"/>
                      <a:pt x="225264" y="0"/>
                      <a:pt x="214766" y="0"/>
                    </a:cubicBezTo>
                    <a:lnTo>
                      <a:pt x="19087" y="0"/>
                    </a:lnTo>
                    <a:cubicBezTo>
                      <a:pt x="8589" y="0"/>
                      <a:pt x="0" y="8589"/>
                      <a:pt x="0" y="19087"/>
                    </a:cubicBezTo>
                    <a:lnTo>
                      <a:pt x="0" y="67736"/>
                    </a:lnTo>
                    <a:lnTo>
                      <a:pt x="230871" y="67736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056" name="Forma livre: Forma 1055">
                <a:extLst>
                  <a:ext uri="{FF2B5EF4-FFF2-40B4-BE49-F238E27FC236}">
                    <a16:creationId xmlns:a16="http://schemas.microsoft.com/office/drawing/2014/main" id="{ABAC6AD4-E3A4-E3CE-534B-F4AB255067BE}"/>
                  </a:ext>
                </a:extLst>
              </p:cNvPr>
              <p:cNvSpPr/>
              <p:nvPr/>
            </p:nvSpPr>
            <p:spPr>
              <a:xfrm>
                <a:off x="7081783" y="2102075"/>
                <a:ext cx="7432" cy="7443"/>
              </a:xfrm>
              <a:custGeom>
                <a:avLst/>
                <a:gdLst>
                  <a:gd name="connsiteX0" fmla="*/ 7432 w 7432"/>
                  <a:gd name="connsiteY0" fmla="*/ 3722 h 7443"/>
                  <a:gd name="connsiteX1" fmla="*/ 3722 w 7432"/>
                  <a:gd name="connsiteY1" fmla="*/ 7444 h 7443"/>
                  <a:gd name="connsiteX2" fmla="*/ 0 w 7432"/>
                  <a:gd name="connsiteY2" fmla="*/ 3722 h 7443"/>
                  <a:gd name="connsiteX3" fmla="*/ 3722 w 7432"/>
                  <a:gd name="connsiteY3" fmla="*/ 0 h 7443"/>
                  <a:gd name="connsiteX4" fmla="*/ 7432 w 7432"/>
                  <a:gd name="connsiteY4" fmla="*/ 3722 h 74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432" h="7443">
                    <a:moveTo>
                      <a:pt x="7432" y="3722"/>
                    </a:moveTo>
                    <a:cubicBezTo>
                      <a:pt x="7432" y="5786"/>
                      <a:pt x="5786" y="7444"/>
                      <a:pt x="3722" y="7444"/>
                    </a:cubicBezTo>
                    <a:cubicBezTo>
                      <a:pt x="1658" y="7444"/>
                      <a:pt x="0" y="5786"/>
                      <a:pt x="0" y="3722"/>
                    </a:cubicBezTo>
                    <a:cubicBezTo>
                      <a:pt x="0" y="1658"/>
                      <a:pt x="1670" y="0"/>
                      <a:pt x="3722" y="0"/>
                    </a:cubicBezTo>
                    <a:cubicBezTo>
                      <a:pt x="5774" y="0"/>
                      <a:pt x="7432" y="1658"/>
                      <a:pt x="7432" y="3722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057" name="Forma livre: Forma 1056">
                <a:extLst>
                  <a:ext uri="{FF2B5EF4-FFF2-40B4-BE49-F238E27FC236}">
                    <a16:creationId xmlns:a16="http://schemas.microsoft.com/office/drawing/2014/main" id="{A2A0EEDA-66A1-C7D0-6BA8-4FFD24C8A9A7}"/>
                  </a:ext>
                </a:extLst>
              </p:cNvPr>
              <p:cNvSpPr/>
              <p:nvPr/>
            </p:nvSpPr>
            <p:spPr>
              <a:xfrm>
                <a:off x="7047164" y="2102075"/>
                <a:ext cx="7432" cy="7443"/>
              </a:xfrm>
              <a:custGeom>
                <a:avLst/>
                <a:gdLst>
                  <a:gd name="connsiteX0" fmla="*/ 7432 w 7432"/>
                  <a:gd name="connsiteY0" fmla="*/ 3722 h 7443"/>
                  <a:gd name="connsiteX1" fmla="*/ 3722 w 7432"/>
                  <a:gd name="connsiteY1" fmla="*/ 7444 h 7443"/>
                  <a:gd name="connsiteX2" fmla="*/ 0 w 7432"/>
                  <a:gd name="connsiteY2" fmla="*/ 3722 h 7443"/>
                  <a:gd name="connsiteX3" fmla="*/ 3722 w 7432"/>
                  <a:gd name="connsiteY3" fmla="*/ 0 h 7443"/>
                  <a:gd name="connsiteX4" fmla="*/ 7432 w 7432"/>
                  <a:gd name="connsiteY4" fmla="*/ 3722 h 74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432" h="7443">
                    <a:moveTo>
                      <a:pt x="7432" y="3722"/>
                    </a:moveTo>
                    <a:cubicBezTo>
                      <a:pt x="7432" y="5786"/>
                      <a:pt x="5774" y="7444"/>
                      <a:pt x="3722" y="7444"/>
                    </a:cubicBezTo>
                    <a:cubicBezTo>
                      <a:pt x="1670" y="7444"/>
                      <a:pt x="0" y="5786"/>
                      <a:pt x="0" y="3722"/>
                    </a:cubicBezTo>
                    <a:cubicBezTo>
                      <a:pt x="0" y="1658"/>
                      <a:pt x="1670" y="0"/>
                      <a:pt x="3722" y="0"/>
                    </a:cubicBezTo>
                    <a:cubicBezTo>
                      <a:pt x="5774" y="0"/>
                      <a:pt x="7432" y="1658"/>
                      <a:pt x="7432" y="3722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058" name="Gráfico 9">
              <a:extLst>
                <a:ext uri="{FF2B5EF4-FFF2-40B4-BE49-F238E27FC236}">
                  <a16:creationId xmlns:a16="http://schemas.microsoft.com/office/drawing/2014/main" id="{3E01A3D1-7BEC-452F-BCF5-83414B4137B1}"/>
                </a:ext>
              </a:extLst>
            </p:cNvPr>
            <p:cNvGrpSpPr/>
            <p:nvPr/>
          </p:nvGrpSpPr>
          <p:grpSpPr>
            <a:xfrm>
              <a:off x="6967307" y="2175799"/>
              <a:ext cx="106334" cy="147185"/>
              <a:chOff x="6967307" y="2175799"/>
              <a:chExt cx="106334" cy="147185"/>
            </a:xfrm>
            <a:noFill/>
          </p:grpSpPr>
          <p:sp>
            <p:nvSpPr>
              <p:cNvPr id="1059" name="Forma livre: Forma 1058">
                <a:extLst>
                  <a:ext uri="{FF2B5EF4-FFF2-40B4-BE49-F238E27FC236}">
                    <a16:creationId xmlns:a16="http://schemas.microsoft.com/office/drawing/2014/main" id="{6A3DA60B-8E3D-373D-887F-D6A2D097BF62}"/>
                  </a:ext>
                </a:extLst>
              </p:cNvPr>
              <p:cNvSpPr/>
              <p:nvPr/>
            </p:nvSpPr>
            <p:spPr>
              <a:xfrm>
                <a:off x="6973965" y="2322985"/>
                <a:ext cx="56855" cy="1192"/>
              </a:xfrm>
              <a:custGeom>
                <a:avLst/>
                <a:gdLst>
                  <a:gd name="connsiteX0" fmla="*/ 0 w 56855"/>
                  <a:gd name="connsiteY0" fmla="*/ 0 h 1192"/>
                  <a:gd name="connsiteX1" fmla="*/ 56856 w 56855"/>
                  <a:gd name="connsiteY1" fmla="*/ 0 h 11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6855" h="1192">
                    <a:moveTo>
                      <a:pt x="0" y="0"/>
                    </a:moveTo>
                    <a:lnTo>
                      <a:pt x="56856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1060" name="Gráfico 9">
                <a:extLst>
                  <a:ext uri="{FF2B5EF4-FFF2-40B4-BE49-F238E27FC236}">
                    <a16:creationId xmlns:a16="http://schemas.microsoft.com/office/drawing/2014/main" id="{C462C8FA-7EF0-281A-0631-4B8FAB5CADA0}"/>
                  </a:ext>
                </a:extLst>
              </p:cNvPr>
              <p:cNvGrpSpPr/>
              <p:nvPr/>
            </p:nvGrpSpPr>
            <p:grpSpPr>
              <a:xfrm>
                <a:off x="6967307" y="2175799"/>
                <a:ext cx="106334" cy="145491"/>
                <a:chOff x="6967307" y="2175799"/>
                <a:chExt cx="106334" cy="145491"/>
              </a:xfrm>
              <a:noFill/>
            </p:grpSpPr>
            <p:sp>
              <p:nvSpPr>
                <p:cNvPr id="1061" name="Forma livre: Forma 1060">
                  <a:extLst>
                    <a:ext uri="{FF2B5EF4-FFF2-40B4-BE49-F238E27FC236}">
                      <a16:creationId xmlns:a16="http://schemas.microsoft.com/office/drawing/2014/main" id="{4FC45E5E-8C9D-56C1-AED1-1A0FEDE96BC4}"/>
                    </a:ext>
                  </a:extLst>
                </p:cNvPr>
                <p:cNvSpPr/>
                <p:nvPr/>
              </p:nvSpPr>
              <p:spPr>
                <a:xfrm>
                  <a:off x="6967307" y="2198811"/>
                  <a:ext cx="70169" cy="76253"/>
                </a:xfrm>
                <a:custGeom>
                  <a:avLst/>
                  <a:gdLst>
                    <a:gd name="connsiteX0" fmla="*/ 70158 w 70169"/>
                    <a:gd name="connsiteY0" fmla="*/ 42588 h 76253"/>
                    <a:gd name="connsiteX1" fmla="*/ 35157 w 70169"/>
                    <a:gd name="connsiteY1" fmla="*/ 76253 h 76253"/>
                    <a:gd name="connsiteX2" fmla="*/ 35014 w 70169"/>
                    <a:gd name="connsiteY2" fmla="*/ 76253 h 76253"/>
                    <a:gd name="connsiteX3" fmla="*/ 132 w 70169"/>
                    <a:gd name="connsiteY3" fmla="*/ 40536 h 76253"/>
                    <a:gd name="connsiteX4" fmla="*/ 4343 w 70169"/>
                    <a:gd name="connsiteY4" fmla="*/ 0 h 76253"/>
                    <a:gd name="connsiteX5" fmla="*/ 40298 w 70169"/>
                    <a:gd name="connsiteY5" fmla="*/ 0 h 7625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70169" h="76253">
                      <a:moveTo>
                        <a:pt x="70158" y="42588"/>
                      </a:moveTo>
                      <a:cubicBezTo>
                        <a:pt x="70671" y="61687"/>
                        <a:pt x="53815" y="76253"/>
                        <a:pt x="35157" y="76253"/>
                      </a:cubicBezTo>
                      <a:lnTo>
                        <a:pt x="35014" y="76253"/>
                      </a:lnTo>
                      <a:cubicBezTo>
                        <a:pt x="15688" y="76253"/>
                        <a:pt x="-1693" y="60637"/>
                        <a:pt x="132" y="40536"/>
                      </a:cubicBezTo>
                      <a:lnTo>
                        <a:pt x="4343" y="0"/>
                      </a:lnTo>
                      <a:lnTo>
                        <a:pt x="40298" y="0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062" name="Forma livre: Forma 1061">
                  <a:extLst>
                    <a:ext uri="{FF2B5EF4-FFF2-40B4-BE49-F238E27FC236}">
                      <a16:creationId xmlns:a16="http://schemas.microsoft.com/office/drawing/2014/main" id="{9C5CAAD6-0693-EA01-1BAE-AFB1B51F8E1E}"/>
                    </a:ext>
                  </a:extLst>
                </p:cNvPr>
                <p:cNvSpPr/>
                <p:nvPr/>
              </p:nvSpPr>
              <p:spPr>
                <a:xfrm>
                  <a:off x="7002392" y="2276841"/>
                  <a:ext cx="1192" cy="44449"/>
                </a:xfrm>
                <a:custGeom>
                  <a:avLst/>
                  <a:gdLst>
                    <a:gd name="connsiteX0" fmla="*/ 0 w 1192"/>
                    <a:gd name="connsiteY0" fmla="*/ 0 h 44449"/>
                    <a:gd name="connsiteX1" fmla="*/ 0 w 1192"/>
                    <a:gd name="connsiteY1" fmla="*/ 44449 h 4444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192" h="44449">
                      <a:moveTo>
                        <a:pt x="0" y="0"/>
                      </a:moveTo>
                      <a:lnTo>
                        <a:pt x="0" y="44449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063" name="Forma livre: Forma 1062">
                  <a:extLst>
                    <a:ext uri="{FF2B5EF4-FFF2-40B4-BE49-F238E27FC236}">
                      <a16:creationId xmlns:a16="http://schemas.microsoft.com/office/drawing/2014/main" id="{FBF1EC6B-482C-BE71-AA8D-960C3047623C}"/>
                    </a:ext>
                  </a:extLst>
                </p:cNvPr>
                <p:cNvSpPr/>
                <p:nvPr/>
              </p:nvSpPr>
              <p:spPr>
                <a:xfrm>
                  <a:off x="7025138" y="2175799"/>
                  <a:ext cx="48504" cy="69250"/>
                </a:xfrm>
                <a:custGeom>
                  <a:avLst/>
                  <a:gdLst>
                    <a:gd name="connsiteX0" fmla="*/ 40087 w 48504"/>
                    <a:gd name="connsiteY0" fmla="*/ 23799 h 69250"/>
                    <a:gd name="connsiteX1" fmla="*/ 24269 w 48504"/>
                    <a:gd name="connsiteY1" fmla="*/ 0 h 69250"/>
                    <a:gd name="connsiteX2" fmla="*/ 8462 w 48504"/>
                    <a:gd name="connsiteY2" fmla="*/ 23799 h 69250"/>
                    <a:gd name="connsiteX3" fmla="*/ 24269 w 48504"/>
                    <a:gd name="connsiteY3" fmla="*/ 69251 h 69250"/>
                    <a:gd name="connsiteX4" fmla="*/ 40075 w 48504"/>
                    <a:gd name="connsiteY4" fmla="*/ 23799 h 692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48504" h="69250">
                      <a:moveTo>
                        <a:pt x="40087" y="23799"/>
                      </a:moveTo>
                      <a:cubicBezTo>
                        <a:pt x="25736" y="6943"/>
                        <a:pt x="24388" y="847"/>
                        <a:pt x="24269" y="0"/>
                      </a:cubicBezTo>
                      <a:cubicBezTo>
                        <a:pt x="24150" y="835"/>
                        <a:pt x="22813" y="6931"/>
                        <a:pt x="8462" y="23799"/>
                      </a:cubicBezTo>
                      <a:cubicBezTo>
                        <a:pt x="-8299" y="43483"/>
                        <a:pt x="1329" y="69191"/>
                        <a:pt x="24269" y="69251"/>
                      </a:cubicBezTo>
                      <a:cubicBezTo>
                        <a:pt x="47066" y="69191"/>
                        <a:pt x="56836" y="43483"/>
                        <a:pt x="40075" y="23799"/>
                      </a:cubicBezTo>
                      <a:close/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</p:grpSp>
      <p:grpSp>
        <p:nvGrpSpPr>
          <p:cNvPr id="1064" name="Gráfico 9">
            <a:extLst>
              <a:ext uri="{FF2B5EF4-FFF2-40B4-BE49-F238E27FC236}">
                <a16:creationId xmlns:a16="http://schemas.microsoft.com/office/drawing/2014/main" id="{8F5BC25A-9A25-0243-CE31-3CF1C12D8C2B}"/>
              </a:ext>
            </a:extLst>
          </p:cNvPr>
          <p:cNvGrpSpPr/>
          <p:nvPr/>
        </p:nvGrpSpPr>
        <p:grpSpPr>
          <a:xfrm>
            <a:off x="6263350" y="2072740"/>
            <a:ext cx="233853" cy="282358"/>
            <a:chOff x="6263350" y="2072740"/>
            <a:chExt cx="233853" cy="282358"/>
          </a:xfrm>
        </p:grpSpPr>
        <p:sp>
          <p:nvSpPr>
            <p:cNvPr id="1065" name="Forma livre: Forma 1064">
              <a:extLst>
                <a:ext uri="{FF2B5EF4-FFF2-40B4-BE49-F238E27FC236}">
                  <a16:creationId xmlns:a16="http://schemas.microsoft.com/office/drawing/2014/main" id="{27692AAC-7C26-DD20-041C-ABA91DD476FF}"/>
                </a:ext>
              </a:extLst>
            </p:cNvPr>
            <p:cNvSpPr/>
            <p:nvPr/>
          </p:nvSpPr>
          <p:spPr>
            <a:xfrm>
              <a:off x="6314909" y="2181513"/>
              <a:ext cx="130723" cy="130734"/>
            </a:xfrm>
            <a:custGeom>
              <a:avLst/>
              <a:gdLst>
                <a:gd name="connsiteX0" fmla="*/ 130723 w 130723"/>
                <a:gd name="connsiteY0" fmla="*/ 65361 h 130734"/>
                <a:gd name="connsiteX1" fmla="*/ 65362 w 130723"/>
                <a:gd name="connsiteY1" fmla="*/ 130735 h 130734"/>
                <a:gd name="connsiteX2" fmla="*/ 0 w 130723"/>
                <a:gd name="connsiteY2" fmla="*/ 65361 h 130734"/>
                <a:gd name="connsiteX3" fmla="*/ 65362 w 130723"/>
                <a:gd name="connsiteY3" fmla="*/ 0 h 130734"/>
                <a:gd name="connsiteX4" fmla="*/ 130723 w 130723"/>
                <a:gd name="connsiteY4" fmla="*/ 65361 h 1307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0723" h="130734">
                  <a:moveTo>
                    <a:pt x="130723" y="65361"/>
                  </a:moveTo>
                  <a:cubicBezTo>
                    <a:pt x="130723" y="101460"/>
                    <a:pt x="101448" y="130735"/>
                    <a:pt x="65362" y="130735"/>
                  </a:cubicBezTo>
                  <a:cubicBezTo>
                    <a:pt x="29275" y="130735"/>
                    <a:pt x="0" y="101460"/>
                    <a:pt x="0" y="65361"/>
                  </a:cubicBezTo>
                  <a:cubicBezTo>
                    <a:pt x="0" y="29263"/>
                    <a:pt x="29251" y="0"/>
                    <a:pt x="65362" y="0"/>
                  </a:cubicBezTo>
                  <a:cubicBezTo>
                    <a:pt x="101472" y="0"/>
                    <a:pt x="130723" y="29275"/>
                    <a:pt x="130723" y="65361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66" name="Forma livre: Forma 1065">
              <a:extLst>
                <a:ext uri="{FF2B5EF4-FFF2-40B4-BE49-F238E27FC236}">
                  <a16:creationId xmlns:a16="http://schemas.microsoft.com/office/drawing/2014/main" id="{277F91E0-17FB-B699-E17B-394D278F7F25}"/>
                </a:ext>
              </a:extLst>
            </p:cNvPr>
            <p:cNvSpPr/>
            <p:nvPr/>
          </p:nvSpPr>
          <p:spPr>
            <a:xfrm>
              <a:off x="6337623" y="2240490"/>
              <a:ext cx="105981" cy="22214"/>
            </a:xfrm>
            <a:custGeom>
              <a:avLst/>
              <a:gdLst>
                <a:gd name="connsiteX0" fmla="*/ 0 w 105981"/>
                <a:gd name="connsiteY0" fmla="*/ 1243 h 22214"/>
                <a:gd name="connsiteX1" fmla="*/ 36528 w 105981"/>
                <a:gd name="connsiteY1" fmla="*/ 9296 h 22214"/>
                <a:gd name="connsiteX2" fmla="*/ 105981 w 105981"/>
                <a:gd name="connsiteY2" fmla="*/ 7936 h 222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05981" h="22214">
                  <a:moveTo>
                    <a:pt x="0" y="1243"/>
                  </a:moveTo>
                  <a:cubicBezTo>
                    <a:pt x="10057" y="-1238"/>
                    <a:pt x="22905" y="-689"/>
                    <a:pt x="36528" y="9296"/>
                  </a:cubicBezTo>
                  <a:cubicBezTo>
                    <a:pt x="36528" y="9296"/>
                    <a:pt x="74643" y="39250"/>
                    <a:pt x="105981" y="7936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67" name="Forma livre: Forma 1066">
              <a:extLst>
                <a:ext uri="{FF2B5EF4-FFF2-40B4-BE49-F238E27FC236}">
                  <a16:creationId xmlns:a16="http://schemas.microsoft.com/office/drawing/2014/main" id="{A51EDDF6-61AE-9E3D-5E85-508AD8F608EB}"/>
                </a:ext>
              </a:extLst>
            </p:cNvPr>
            <p:cNvSpPr/>
            <p:nvPr/>
          </p:nvSpPr>
          <p:spPr>
            <a:xfrm>
              <a:off x="6301035" y="2105856"/>
              <a:ext cx="36062" cy="1192"/>
            </a:xfrm>
            <a:custGeom>
              <a:avLst/>
              <a:gdLst>
                <a:gd name="connsiteX0" fmla="*/ 0 w 36062"/>
                <a:gd name="connsiteY0" fmla="*/ 0 h 1192"/>
                <a:gd name="connsiteX1" fmla="*/ 36063 w 36062"/>
                <a:gd name="connsiteY1" fmla="*/ 0 h 11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6062" h="1192">
                  <a:moveTo>
                    <a:pt x="0" y="0"/>
                  </a:moveTo>
                  <a:lnTo>
                    <a:pt x="36063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68" name="Forma livre: Forma 1067">
              <a:extLst>
                <a:ext uri="{FF2B5EF4-FFF2-40B4-BE49-F238E27FC236}">
                  <a16:creationId xmlns:a16="http://schemas.microsoft.com/office/drawing/2014/main" id="{9CD5D2B8-4215-3D47-3DBF-D65D2C5F5CFE}"/>
                </a:ext>
              </a:extLst>
            </p:cNvPr>
            <p:cNvSpPr/>
            <p:nvPr/>
          </p:nvSpPr>
          <p:spPr>
            <a:xfrm>
              <a:off x="6263350" y="2072740"/>
              <a:ext cx="233853" cy="282358"/>
            </a:xfrm>
            <a:custGeom>
              <a:avLst/>
              <a:gdLst>
                <a:gd name="connsiteX0" fmla="*/ 0 w 233853"/>
                <a:gd name="connsiteY0" fmla="*/ 91058 h 282358"/>
                <a:gd name="connsiteX1" fmla="*/ 0 w 233853"/>
                <a:gd name="connsiteY1" fmla="*/ 263271 h 282358"/>
                <a:gd name="connsiteX2" fmla="*/ 19087 w 233853"/>
                <a:gd name="connsiteY2" fmla="*/ 282358 h 282358"/>
                <a:gd name="connsiteX3" fmla="*/ 214766 w 233853"/>
                <a:gd name="connsiteY3" fmla="*/ 282358 h 282358"/>
                <a:gd name="connsiteX4" fmla="*/ 233853 w 233853"/>
                <a:gd name="connsiteY4" fmla="*/ 263271 h 282358"/>
                <a:gd name="connsiteX5" fmla="*/ 233853 w 233853"/>
                <a:gd name="connsiteY5" fmla="*/ 19087 h 282358"/>
                <a:gd name="connsiteX6" fmla="*/ 214766 w 233853"/>
                <a:gd name="connsiteY6" fmla="*/ 0 h 282358"/>
                <a:gd name="connsiteX7" fmla="*/ 19087 w 233853"/>
                <a:gd name="connsiteY7" fmla="*/ 0 h 282358"/>
                <a:gd name="connsiteX8" fmla="*/ 0 w 233853"/>
                <a:gd name="connsiteY8" fmla="*/ 19087 h 282358"/>
                <a:gd name="connsiteX9" fmla="*/ 0 w 233853"/>
                <a:gd name="connsiteY9" fmla="*/ 67736 h 282358"/>
                <a:gd name="connsiteX10" fmla="*/ 230871 w 233853"/>
                <a:gd name="connsiteY10" fmla="*/ 67736 h 2823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33853" h="282358">
                  <a:moveTo>
                    <a:pt x="0" y="91058"/>
                  </a:moveTo>
                  <a:lnTo>
                    <a:pt x="0" y="263271"/>
                  </a:lnTo>
                  <a:cubicBezTo>
                    <a:pt x="0" y="273769"/>
                    <a:pt x="8589" y="282358"/>
                    <a:pt x="19087" y="282358"/>
                  </a:cubicBezTo>
                  <a:lnTo>
                    <a:pt x="214766" y="282358"/>
                  </a:lnTo>
                  <a:cubicBezTo>
                    <a:pt x="225264" y="282358"/>
                    <a:pt x="233853" y="273769"/>
                    <a:pt x="233853" y="263271"/>
                  </a:cubicBezTo>
                  <a:lnTo>
                    <a:pt x="233853" y="19087"/>
                  </a:lnTo>
                  <a:cubicBezTo>
                    <a:pt x="233853" y="8589"/>
                    <a:pt x="225264" y="0"/>
                    <a:pt x="214766" y="0"/>
                  </a:cubicBezTo>
                  <a:lnTo>
                    <a:pt x="19087" y="0"/>
                  </a:lnTo>
                  <a:cubicBezTo>
                    <a:pt x="8589" y="0"/>
                    <a:pt x="0" y="8589"/>
                    <a:pt x="0" y="19087"/>
                  </a:cubicBezTo>
                  <a:lnTo>
                    <a:pt x="0" y="67736"/>
                  </a:lnTo>
                  <a:lnTo>
                    <a:pt x="230871" y="67736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69" name="Forma livre: Forma 1068">
              <a:extLst>
                <a:ext uri="{FF2B5EF4-FFF2-40B4-BE49-F238E27FC236}">
                  <a16:creationId xmlns:a16="http://schemas.microsoft.com/office/drawing/2014/main" id="{9A6477B2-A432-9515-F414-2CC160DF1E6D}"/>
                </a:ext>
              </a:extLst>
            </p:cNvPr>
            <p:cNvSpPr/>
            <p:nvPr/>
          </p:nvSpPr>
          <p:spPr>
            <a:xfrm>
              <a:off x="6447303" y="2102075"/>
              <a:ext cx="7432" cy="7443"/>
            </a:xfrm>
            <a:custGeom>
              <a:avLst/>
              <a:gdLst>
                <a:gd name="connsiteX0" fmla="*/ 7432 w 7432"/>
                <a:gd name="connsiteY0" fmla="*/ 3722 h 7443"/>
                <a:gd name="connsiteX1" fmla="*/ 3722 w 7432"/>
                <a:gd name="connsiteY1" fmla="*/ 7444 h 7443"/>
                <a:gd name="connsiteX2" fmla="*/ 0 w 7432"/>
                <a:gd name="connsiteY2" fmla="*/ 3722 h 7443"/>
                <a:gd name="connsiteX3" fmla="*/ 3722 w 7432"/>
                <a:gd name="connsiteY3" fmla="*/ 0 h 7443"/>
                <a:gd name="connsiteX4" fmla="*/ 7432 w 7432"/>
                <a:gd name="connsiteY4" fmla="*/ 3722 h 74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432" h="7443">
                  <a:moveTo>
                    <a:pt x="7432" y="3722"/>
                  </a:moveTo>
                  <a:cubicBezTo>
                    <a:pt x="7432" y="5786"/>
                    <a:pt x="5786" y="7444"/>
                    <a:pt x="3722" y="7444"/>
                  </a:cubicBezTo>
                  <a:cubicBezTo>
                    <a:pt x="1658" y="7444"/>
                    <a:pt x="0" y="5786"/>
                    <a:pt x="0" y="3722"/>
                  </a:cubicBezTo>
                  <a:cubicBezTo>
                    <a:pt x="0" y="1658"/>
                    <a:pt x="1670" y="0"/>
                    <a:pt x="3722" y="0"/>
                  </a:cubicBezTo>
                  <a:cubicBezTo>
                    <a:pt x="5774" y="0"/>
                    <a:pt x="7432" y="1658"/>
                    <a:pt x="7432" y="3722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70" name="Forma livre: Forma 1069">
              <a:extLst>
                <a:ext uri="{FF2B5EF4-FFF2-40B4-BE49-F238E27FC236}">
                  <a16:creationId xmlns:a16="http://schemas.microsoft.com/office/drawing/2014/main" id="{65F84CAA-2B1F-4F4E-9911-8D224CB6BFFA}"/>
                </a:ext>
              </a:extLst>
            </p:cNvPr>
            <p:cNvSpPr/>
            <p:nvPr/>
          </p:nvSpPr>
          <p:spPr>
            <a:xfrm>
              <a:off x="6412683" y="2102075"/>
              <a:ext cx="7432" cy="7443"/>
            </a:xfrm>
            <a:custGeom>
              <a:avLst/>
              <a:gdLst>
                <a:gd name="connsiteX0" fmla="*/ 7432 w 7432"/>
                <a:gd name="connsiteY0" fmla="*/ 3722 h 7443"/>
                <a:gd name="connsiteX1" fmla="*/ 3722 w 7432"/>
                <a:gd name="connsiteY1" fmla="*/ 7444 h 7443"/>
                <a:gd name="connsiteX2" fmla="*/ 0 w 7432"/>
                <a:gd name="connsiteY2" fmla="*/ 3722 h 7443"/>
                <a:gd name="connsiteX3" fmla="*/ 3722 w 7432"/>
                <a:gd name="connsiteY3" fmla="*/ 0 h 7443"/>
                <a:gd name="connsiteX4" fmla="*/ 7432 w 7432"/>
                <a:gd name="connsiteY4" fmla="*/ 3722 h 74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432" h="7443">
                  <a:moveTo>
                    <a:pt x="7432" y="3722"/>
                  </a:moveTo>
                  <a:cubicBezTo>
                    <a:pt x="7432" y="5786"/>
                    <a:pt x="5774" y="7444"/>
                    <a:pt x="3722" y="7444"/>
                  </a:cubicBezTo>
                  <a:cubicBezTo>
                    <a:pt x="1670" y="7444"/>
                    <a:pt x="0" y="5786"/>
                    <a:pt x="0" y="3722"/>
                  </a:cubicBezTo>
                  <a:cubicBezTo>
                    <a:pt x="0" y="1658"/>
                    <a:pt x="1670" y="0"/>
                    <a:pt x="3722" y="0"/>
                  </a:cubicBezTo>
                  <a:cubicBezTo>
                    <a:pt x="5774" y="0"/>
                    <a:pt x="7432" y="1658"/>
                    <a:pt x="7432" y="3722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071" name="Gráfico 9">
            <a:extLst>
              <a:ext uri="{FF2B5EF4-FFF2-40B4-BE49-F238E27FC236}">
                <a16:creationId xmlns:a16="http://schemas.microsoft.com/office/drawing/2014/main" id="{8CBFFA88-C702-4A78-6FBE-003081D79B97}"/>
              </a:ext>
            </a:extLst>
          </p:cNvPr>
          <p:cNvGrpSpPr/>
          <p:nvPr/>
        </p:nvGrpSpPr>
        <p:grpSpPr>
          <a:xfrm>
            <a:off x="7474978" y="2093951"/>
            <a:ext cx="348519" cy="239949"/>
            <a:chOff x="7474978" y="2093951"/>
            <a:chExt cx="348519" cy="239949"/>
          </a:xfrm>
          <a:noFill/>
        </p:grpSpPr>
        <p:grpSp>
          <p:nvGrpSpPr>
            <p:cNvPr id="1072" name="Gráfico 9">
              <a:extLst>
                <a:ext uri="{FF2B5EF4-FFF2-40B4-BE49-F238E27FC236}">
                  <a16:creationId xmlns:a16="http://schemas.microsoft.com/office/drawing/2014/main" id="{283F3779-6630-73AE-4FEE-D15B26DA9875}"/>
                </a:ext>
              </a:extLst>
            </p:cNvPr>
            <p:cNvGrpSpPr/>
            <p:nvPr/>
          </p:nvGrpSpPr>
          <p:grpSpPr>
            <a:xfrm>
              <a:off x="7512127" y="2237438"/>
              <a:ext cx="181721" cy="1192"/>
              <a:chOff x="7512127" y="2237438"/>
              <a:chExt cx="181721" cy="1192"/>
            </a:xfrm>
          </p:grpSpPr>
          <p:sp>
            <p:nvSpPr>
              <p:cNvPr id="1073" name="Forma livre: Forma 1072">
                <a:extLst>
                  <a:ext uri="{FF2B5EF4-FFF2-40B4-BE49-F238E27FC236}">
                    <a16:creationId xmlns:a16="http://schemas.microsoft.com/office/drawing/2014/main" id="{C3CC532E-95B7-77FD-C3EB-96B56956B119}"/>
                  </a:ext>
                </a:extLst>
              </p:cNvPr>
              <p:cNvSpPr/>
              <p:nvPr/>
            </p:nvSpPr>
            <p:spPr>
              <a:xfrm>
                <a:off x="7512127" y="2237438"/>
                <a:ext cx="32006" cy="1192"/>
              </a:xfrm>
              <a:custGeom>
                <a:avLst/>
                <a:gdLst>
                  <a:gd name="connsiteX0" fmla="*/ 0 w 32006"/>
                  <a:gd name="connsiteY0" fmla="*/ 0 h 1192"/>
                  <a:gd name="connsiteX1" fmla="*/ 32007 w 32006"/>
                  <a:gd name="connsiteY1" fmla="*/ 0 h 11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2006" h="1192">
                    <a:moveTo>
                      <a:pt x="0" y="0"/>
                    </a:moveTo>
                    <a:lnTo>
                      <a:pt x="32007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074" name="Forma livre: Forma 1073">
                <a:extLst>
                  <a:ext uri="{FF2B5EF4-FFF2-40B4-BE49-F238E27FC236}">
                    <a16:creationId xmlns:a16="http://schemas.microsoft.com/office/drawing/2014/main" id="{3B5B0C51-6CAB-9F47-F675-E16CB6A72900}"/>
                  </a:ext>
                </a:extLst>
              </p:cNvPr>
              <p:cNvSpPr/>
              <p:nvPr/>
            </p:nvSpPr>
            <p:spPr>
              <a:xfrm>
                <a:off x="7640965" y="2237438"/>
                <a:ext cx="52883" cy="1192"/>
              </a:xfrm>
              <a:custGeom>
                <a:avLst/>
                <a:gdLst>
                  <a:gd name="connsiteX0" fmla="*/ 0 w 52883"/>
                  <a:gd name="connsiteY0" fmla="*/ 0 h 1192"/>
                  <a:gd name="connsiteX1" fmla="*/ 52883 w 52883"/>
                  <a:gd name="connsiteY1" fmla="*/ 0 h 11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2883" h="1192">
                    <a:moveTo>
                      <a:pt x="0" y="0"/>
                    </a:moveTo>
                    <a:lnTo>
                      <a:pt x="52883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075" name="Forma livre: Forma 1074">
              <a:extLst>
                <a:ext uri="{FF2B5EF4-FFF2-40B4-BE49-F238E27FC236}">
                  <a16:creationId xmlns:a16="http://schemas.microsoft.com/office/drawing/2014/main" id="{1B474071-9DBE-8852-EFC3-C6348DE45F3E}"/>
                </a:ext>
              </a:extLst>
            </p:cNvPr>
            <p:cNvSpPr/>
            <p:nvPr/>
          </p:nvSpPr>
          <p:spPr>
            <a:xfrm>
              <a:off x="7512377" y="2316972"/>
              <a:ext cx="181327" cy="1192"/>
            </a:xfrm>
            <a:custGeom>
              <a:avLst/>
              <a:gdLst>
                <a:gd name="connsiteX0" fmla="*/ 181328 w 181327"/>
                <a:gd name="connsiteY0" fmla="*/ 0 h 1192"/>
                <a:gd name="connsiteX1" fmla="*/ 0 w 181327"/>
                <a:gd name="connsiteY1" fmla="*/ 0 h 11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1327" h="1192">
                  <a:moveTo>
                    <a:pt x="181328" y="0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076" name="Gráfico 9">
              <a:extLst>
                <a:ext uri="{FF2B5EF4-FFF2-40B4-BE49-F238E27FC236}">
                  <a16:creationId xmlns:a16="http://schemas.microsoft.com/office/drawing/2014/main" id="{357E4548-E62A-E5D1-0FF1-E3875B1E7959}"/>
                </a:ext>
              </a:extLst>
            </p:cNvPr>
            <p:cNvGrpSpPr/>
            <p:nvPr/>
          </p:nvGrpSpPr>
          <p:grpSpPr>
            <a:xfrm>
              <a:off x="7474978" y="2217707"/>
              <a:ext cx="256018" cy="116192"/>
              <a:chOff x="7474978" y="2217707"/>
              <a:chExt cx="256018" cy="116192"/>
            </a:xfrm>
            <a:noFill/>
          </p:grpSpPr>
          <p:sp>
            <p:nvSpPr>
              <p:cNvPr id="1077" name="Forma livre: Forma 1076">
                <a:extLst>
                  <a:ext uri="{FF2B5EF4-FFF2-40B4-BE49-F238E27FC236}">
                    <a16:creationId xmlns:a16="http://schemas.microsoft.com/office/drawing/2014/main" id="{A6642963-C388-4804-964C-BE58E607DF2C}"/>
                  </a:ext>
                </a:extLst>
              </p:cNvPr>
              <p:cNvSpPr/>
              <p:nvPr/>
            </p:nvSpPr>
            <p:spPr>
              <a:xfrm>
                <a:off x="7694480" y="2217707"/>
                <a:ext cx="36516" cy="116192"/>
              </a:xfrm>
              <a:custGeom>
                <a:avLst/>
                <a:gdLst>
                  <a:gd name="connsiteX0" fmla="*/ 0 w 36516"/>
                  <a:gd name="connsiteY0" fmla="*/ 62916 h 116192"/>
                  <a:gd name="connsiteX1" fmla="*/ 0 w 36516"/>
                  <a:gd name="connsiteY1" fmla="*/ 105540 h 116192"/>
                  <a:gd name="connsiteX2" fmla="*/ 36516 w 36516"/>
                  <a:gd name="connsiteY2" fmla="*/ 116193 h 116192"/>
                  <a:gd name="connsiteX3" fmla="*/ 36516 w 36516"/>
                  <a:gd name="connsiteY3" fmla="*/ 0 h 116192"/>
                  <a:gd name="connsiteX4" fmla="*/ 0 w 36516"/>
                  <a:gd name="connsiteY4" fmla="*/ 10641 h 116192"/>
                  <a:gd name="connsiteX5" fmla="*/ 0 w 36516"/>
                  <a:gd name="connsiteY5" fmla="*/ 31351 h 1161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36516" h="116192">
                    <a:moveTo>
                      <a:pt x="0" y="62916"/>
                    </a:moveTo>
                    <a:lnTo>
                      <a:pt x="0" y="105540"/>
                    </a:lnTo>
                    <a:lnTo>
                      <a:pt x="36516" y="116193"/>
                    </a:lnTo>
                    <a:lnTo>
                      <a:pt x="36516" y="0"/>
                    </a:lnTo>
                    <a:lnTo>
                      <a:pt x="0" y="10641"/>
                    </a:lnTo>
                    <a:lnTo>
                      <a:pt x="0" y="31351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078" name="Forma livre: Forma 1077">
                <a:extLst>
                  <a:ext uri="{FF2B5EF4-FFF2-40B4-BE49-F238E27FC236}">
                    <a16:creationId xmlns:a16="http://schemas.microsoft.com/office/drawing/2014/main" id="{DA06890B-FDF9-C12C-94B2-E30BE54CB174}"/>
                  </a:ext>
                </a:extLst>
              </p:cNvPr>
              <p:cNvSpPr/>
              <p:nvPr/>
            </p:nvSpPr>
            <p:spPr>
              <a:xfrm>
                <a:off x="7474978" y="2217707"/>
                <a:ext cx="36516" cy="116192"/>
              </a:xfrm>
              <a:custGeom>
                <a:avLst/>
                <a:gdLst>
                  <a:gd name="connsiteX0" fmla="*/ 36516 w 36516"/>
                  <a:gd name="connsiteY0" fmla="*/ 62916 h 116192"/>
                  <a:gd name="connsiteX1" fmla="*/ 36516 w 36516"/>
                  <a:gd name="connsiteY1" fmla="*/ 105540 h 116192"/>
                  <a:gd name="connsiteX2" fmla="*/ 0 w 36516"/>
                  <a:gd name="connsiteY2" fmla="*/ 116193 h 116192"/>
                  <a:gd name="connsiteX3" fmla="*/ 0 w 36516"/>
                  <a:gd name="connsiteY3" fmla="*/ 0 h 116192"/>
                  <a:gd name="connsiteX4" fmla="*/ 36516 w 36516"/>
                  <a:gd name="connsiteY4" fmla="*/ 10641 h 116192"/>
                  <a:gd name="connsiteX5" fmla="*/ 36516 w 36516"/>
                  <a:gd name="connsiteY5" fmla="*/ 31351 h 1161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36516" h="116192">
                    <a:moveTo>
                      <a:pt x="36516" y="62916"/>
                    </a:moveTo>
                    <a:lnTo>
                      <a:pt x="36516" y="105540"/>
                    </a:lnTo>
                    <a:lnTo>
                      <a:pt x="0" y="116193"/>
                    </a:lnTo>
                    <a:lnTo>
                      <a:pt x="0" y="0"/>
                    </a:lnTo>
                    <a:lnTo>
                      <a:pt x="36516" y="10641"/>
                    </a:lnTo>
                    <a:lnTo>
                      <a:pt x="36516" y="31351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079" name="Forma livre: Forma 1078">
              <a:extLst>
                <a:ext uri="{FF2B5EF4-FFF2-40B4-BE49-F238E27FC236}">
                  <a16:creationId xmlns:a16="http://schemas.microsoft.com/office/drawing/2014/main" id="{2B46498D-C355-64FA-03D3-50A5A12A1167}"/>
                </a:ext>
              </a:extLst>
            </p:cNvPr>
            <p:cNvSpPr/>
            <p:nvPr/>
          </p:nvSpPr>
          <p:spPr>
            <a:xfrm>
              <a:off x="7566000" y="2182360"/>
              <a:ext cx="73962" cy="84699"/>
            </a:xfrm>
            <a:custGeom>
              <a:avLst/>
              <a:gdLst>
                <a:gd name="connsiteX0" fmla="*/ 73963 w 73962"/>
                <a:gd name="connsiteY0" fmla="*/ 0 h 84699"/>
                <a:gd name="connsiteX1" fmla="*/ 73963 w 73962"/>
                <a:gd name="connsiteY1" fmla="*/ 51297 h 84699"/>
                <a:gd name="connsiteX2" fmla="*/ 40560 w 73962"/>
                <a:gd name="connsiteY2" fmla="*/ 84699 h 84699"/>
                <a:gd name="connsiteX3" fmla="*/ 33403 w 73962"/>
                <a:gd name="connsiteY3" fmla="*/ 84699 h 84699"/>
                <a:gd name="connsiteX4" fmla="*/ 0 w 73962"/>
                <a:gd name="connsiteY4" fmla="*/ 51297 h 84699"/>
                <a:gd name="connsiteX5" fmla="*/ 0 w 73962"/>
                <a:gd name="connsiteY5" fmla="*/ 0 h 84699"/>
                <a:gd name="connsiteX6" fmla="*/ 73963 w 73962"/>
                <a:gd name="connsiteY6" fmla="*/ 0 h 846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3962" h="84699">
                  <a:moveTo>
                    <a:pt x="73963" y="0"/>
                  </a:moveTo>
                  <a:lnTo>
                    <a:pt x="73963" y="51297"/>
                  </a:lnTo>
                  <a:cubicBezTo>
                    <a:pt x="73963" y="69668"/>
                    <a:pt x="58932" y="84699"/>
                    <a:pt x="40560" y="84699"/>
                  </a:cubicBezTo>
                  <a:lnTo>
                    <a:pt x="33403" y="84699"/>
                  </a:lnTo>
                  <a:cubicBezTo>
                    <a:pt x="15031" y="84699"/>
                    <a:pt x="0" y="69668"/>
                    <a:pt x="0" y="51297"/>
                  </a:cubicBezTo>
                  <a:lnTo>
                    <a:pt x="0" y="0"/>
                  </a:lnTo>
                  <a:lnTo>
                    <a:pt x="73963" y="0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80" name="Forma livre: Forma 1079">
              <a:extLst>
                <a:ext uri="{FF2B5EF4-FFF2-40B4-BE49-F238E27FC236}">
                  <a16:creationId xmlns:a16="http://schemas.microsoft.com/office/drawing/2014/main" id="{5F9895AE-EFFE-2DC6-981A-0E14DC80151E}"/>
                </a:ext>
              </a:extLst>
            </p:cNvPr>
            <p:cNvSpPr/>
            <p:nvPr/>
          </p:nvSpPr>
          <p:spPr>
            <a:xfrm>
              <a:off x="7582701" y="2104139"/>
              <a:ext cx="40560" cy="23059"/>
            </a:xfrm>
            <a:custGeom>
              <a:avLst/>
              <a:gdLst>
                <a:gd name="connsiteX0" fmla="*/ 0 w 40560"/>
                <a:gd name="connsiteY0" fmla="*/ 23060 h 23059"/>
                <a:gd name="connsiteX1" fmla="*/ 0 w 40560"/>
                <a:gd name="connsiteY1" fmla="*/ 9544 h 23059"/>
                <a:gd name="connsiteX2" fmla="*/ 9544 w 40560"/>
                <a:gd name="connsiteY2" fmla="*/ 0 h 23059"/>
                <a:gd name="connsiteX3" fmla="*/ 31017 w 40560"/>
                <a:gd name="connsiteY3" fmla="*/ 0 h 23059"/>
                <a:gd name="connsiteX4" fmla="*/ 40560 w 40560"/>
                <a:gd name="connsiteY4" fmla="*/ 9544 h 23059"/>
                <a:gd name="connsiteX5" fmla="*/ 40560 w 40560"/>
                <a:gd name="connsiteY5" fmla="*/ 23060 h 230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0560" h="23059">
                  <a:moveTo>
                    <a:pt x="0" y="23060"/>
                  </a:moveTo>
                  <a:lnTo>
                    <a:pt x="0" y="9544"/>
                  </a:lnTo>
                  <a:cubicBezTo>
                    <a:pt x="0" y="4295"/>
                    <a:pt x="4295" y="0"/>
                    <a:pt x="9544" y="0"/>
                  </a:cubicBezTo>
                  <a:lnTo>
                    <a:pt x="31017" y="0"/>
                  </a:lnTo>
                  <a:cubicBezTo>
                    <a:pt x="36266" y="0"/>
                    <a:pt x="40560" y="4295"/>
                    <a:pt x="40560" y="9544"/>
                  </a:cubicBezTo>
                  <a:lnTo>
                    <a:pt x="40560" y="2306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081" name="Gráfico 9">
              <a:extLst>
                <a:ext uri="{FF2B5EF4-FFF2-40B4-BE49-F238E27FC236}">
                  <a16:creationId xmlns:a16="http://schemas.microsoft.com/office/drawing/2014/main" id="{F1488443-4EC0-7065-C64D-A7D2A3FA9836}"/>
                </a:ext>
              </a:extLst>
            </p:cNvPr>
            <p:cNvGrpSpPr/>
            <p:nvPr/>
          </p:nvGrpSpPr>
          <p:grpSpPr>
            <a:xfrm>
              <a:off x="7582677" y="2145939"/>
              <a:ext cx="40619" cy="36074"/>
              <a:chOff x="7582677" y="2145939"/>
              <a:chExt cx="40619" cy="36074"/>
            </a:xfrm>
          </p:grpSpPr>
          <p:sp>
            <p:nvSpPr>
              <p:cNvPr id="1082" name="Forma livre: Forma 1081">
                <a:extLst>
                  <a:ext uri="{FF2B5EF4-FFF2-40B4-BE49-F238E27FC236}">
                    <a16:creationId xmlns:a16="http://schemas.microsoft.com/office/drawing/2014/main" id="{6732E456-1825-5A04-7489-4FC468444C78}"/>
                  </a:ext>
                </a:extLst>
              </p:cNvPr>
              <p:cNvSpPr/>
              <p:nvPr/>
            </p:nvSpPr>
            <p:spPr>
              <a:xfrm>
                <a:off x="7582677" y="2145939"/>
                <a:ext cx="1192" cy="36074"/>
              </a:xfrm>
              <a:custGeom>
                <a:avLst/>
                <a:gdLst>
                  <a:gd name="connsiteX0" fmla="*/ 0 w 1192"/>
                  <a:gd name="connsiteY0" fmla="*/ 36075 h 36074"/>
                  <a:gd name="connsiteX1" fmla="*/ 0 w 1192"/>
                  <a:gd name="connsiteY1" fmla="*/ 0 h 360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2" h="36074">
                    <a:moveTo>
                      <a:pt x="0" y="36075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083" name="Forma livre: Forma 1082">
                <a:extLst>
                  <a:ext uri="{FF2B5EF4-FFF2-40B4-BE49-F238E27FC236}">
                    <a16:creationId xmlns:a16="http://schemas.microsoft.com/office/drawing/2014/main" id="{8595A6AB-7DD7-F5C9-3596-A075E696BB8A}"/>
                  </a:ext>
                </a:extLst>
              </p:cNvPr>
              <p:cNvSpPr/>
              <p:nvPr/>
            </p:nvSpPr>
            <p:spPr>
              <a:xfrm>
                <a:off x="7623297" y="2145939"/>
                <a:ext cx="1192" cy="36074"/>
              </a:xfrm>
              <a:custGeom>
                <a:avLst/>
                <a:gdLst>
                  <a:gd name="connsiteX0" fmla="*/ 0 w 1192"/>
                  <a:gd name="connsiteY0" fmla="*/ 36075 h 36074"/>
                  <a:gd name="connsiteX1" fmla="*/ 0 w 1192"/>
                  <a:gd name="connsiteY1" fmla="*/ 0 h 360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2" h="36074">
                    <a:moveTo>
                      <a:pt x="0" y="36075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084" name="Forma livre: Forma 1083">
              <a:extLst>
                <a:ext uri="{FF2B5EF4-FFF2-40B4-BE49-F238E27FC236}">
                  <a16:creationId xmlns:a16="http://schemas.microsoft.com/office/drawing/2014/main" id="{B4A92F6A-E025-5FED-6288-99AD31FE89A3}"/>
                </a:ext>
              </a:extLst>
            </p:cNvPr>
            <p:cNvSpPr/>
            <p:nvPr/>
          </p:nvSpPr>
          <p:spPr>
            <a:xfrm>
              <a:off x="7557697" y="2093951"/>
              <a:ext cx="265800" cy="51547"/>
            </a:xfrm>
            <a:custGeom>
              <a:avLst/>
              <a:gdLst>
                <a:gd name="connsiteX0" fmla="*/ 145229 w 265800"/>
                <a:gd name="connsiteY0" fmla="*/ 24181 h 51547"/>
                <a:gd name="connsiteX1" fmla="*/ 252917 w 265800"/>
                <a:gd name="connsiteY1" fmla="*/ 24181 h 51547"/>
                <a:gd name="connsiteX2" fmla="*/ 265800 w 265800"/>
                <a:gd name="connsiteY2" fmla="*/ 12085 h 51547"/>
                <a:gd name="connsiteX3" fmla="*/ 252917 w 265800"/>
                <a:gd name="connsiteY3" fmla="*/ 0 h 51547"/>
                <a:gd name="connsiteX4" fmla="*/ 136163 w 265800"/>
                <a:gd name="connsiteY4" fmla="*/ 0 h 51547"/>
                <a:gd name="connsiteX5" fmla="*/ 90664 w 265800"/>
                <a:gd name="connsiteY5" fmla="*/ 51547 h 51547"/>
                <a:gd name="connsiteX6" fmla="*/ 0 w 265800"/>
                <a:gd name="connsiteY6" fmla="*/ 51547 h 515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65800" h="51547">
                  <a:moveTo>
                    <a:pt x="145229" y="24181"/>
                  </a:moveTo>
                  <a:lnTo>
                    <a:pt x="252917" y="24181"/>
                  </a:lnTo>
                  <a:cubicBezTo>
                    <a:pt x="260790" y="24181"/>
                    <a:pt x="265800" y="19529"/>
                    <a:pt x="265800" y="12085"/>
                  </a:cubicBezTo>
                  <a:cubicBezTo>
                    <a:pt x="265800" y="4641"/>
                    <a:pt x="260790" y="0"/>
                    <a:pt x="252917" y="0"/>
                  </a:cubicBezTo>
                  <a:lnTo>
                    <a:pt x="136163" y="0"/>
                  </a:lnTo>
                  <a:lnTo>
                    <a:pt x="90664" y="51547"/>
                  </a:lnTo>
                  <a:lnTo>
                    <a:pt x="0" y="51547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086" name="Gráfico 10">
            <a:extLst>
              <a:ext uri="{FF2B5EF4-FFF2-40B4-BE49-F238E27FC236}">
                <a16:creationId xmlns:a16="http://schemas.microsoft.com/office/drawing/2014/main" id="{0FA72DCF-0CC3-A24B-7B61-525DD43FB796}"/>
              </a:ext>
            </a:extLst>
          </p:cNvPr>
          <p:cNvGrpSpPr/>
          <p:nvPr/>
        </p:nvGrpSpPr>
        <p:grpSpPr>
          <a:xfrm>
            <a:off x="8658269" y="1016325"/>
            <a:ext cx="336906" cy="266788"/>
            <a:chOff x="8658269" y="1016325"/>
            <a:chExt cx="336906" cy="266788"/>
          </a:xfrm>
          <a:noFill/>
        </p:grpSpPr>
        <p:grpSp>
          <p:nvGrpSpPr>
            <p:cNvPr id="1087" name="Gráfico 10">
              <a:extLst>
                <a:ext uri="{FF2B5EF4-FFF2-40B4-BE49-F238E27FC236}">
                  <a16:creationId xmlns:a16="http://schemas.microsoft.com/office/drawing/2014/main" id="{4CBCE498-945B-665F-9278-4E7A0BB2FFF2}"/>
                </a:ext>
              </a:extLst>
            </p:cNvPr>
            <p:cNvGrpSpPr/>
            <p:nvPr/>
          </p:nvGrpSpPr>
          <p:grpSpPr>
            <a:xfrm>
              <a:off x="8658269" y="1016325"/>
              <a:ext cx="336906" cy="199528"/>
              <a:chOff x="8658269" y="1016325"/>
              <a:chExt cx="336906" cy="199528"/>
            </a:xfrm>
            <a:noFill/>
          </p:grpSpPr>
          <p:sp>
            <p:nvSpPr>
              <p:cNvPr id="1088" name="Forma livre: Forma 1087">
                <a:extLst>
                  <a:ext uri="{FF2B5EF4-FFF2-40B4-BE49-F238E27FC236}">
                    <a16:creationId xmlns:a16="http://schemas.microsoft.com/office/drawing/2014/main" id="{A422C0E6-F52E-0129-1114-A2D256184B4A}"/>
                  </a:ext>
                </a:extLst>
              </p:cNvPr>
              <p:cNvSpPr/>
              <p:nvPr/>
            </p:nvSpPr>
            <p:spPr>
              <a:xfrm>
                <a:off x="8784402" y="1029006"/>
                <a:ext cx="75694" cy="48504"/>
              </a:xfrm>
              <a:custGeom>
                <a:avLst/>
                <a:gdLst>
                  <a:gd name="connsiteX0" fmla="*/ 75695 w 75694"/>
                  <a:gd name="connsiteY0" fmla="*/ 48505 h 48504"/>
                  <a:gd name="connsiteX1" fmla="*/ 0 w 75694"/>
                  <a:gd name="connsiteY1" fmla="*/ 0 h 48504"/>
                  <a:gd name="connsiteX2" fmla="*/ 23237 w 75694"/>
                  <a:gd name="connsiteY2" fmla="*/ 36229 h 485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75694" h="48504">
                    <a:moveTo>
                      <a:pt x="75695" y="48505"/>
                    </a:moveTo>
                    <a:cubicBezTo>
                      <a:pt x="59670" y="32229"/>
                      <a:pt x="30975" y="7356"/>
                      <a:pt x="0" y="0"/>
                    </a:cubicBezTo>
                    <a:lnTo>
                      <a:pt x="23237" y="36229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089" name="Forma livre: Forma 1088">
                <a:extLst>
                  <a:ext uri="{FF2B5EF4-FFF2-40B4-BE49-F238E27FC236}">
                    <a16:creationId xmlns:a16="http://schemas.microsoft.com/office/drawing/2014/main" id="{D0374724-F726-788C-E4E3-06D7523A538A}"/>
                  </a:ext>
                </a:extLst>
              </p:cNvPr>
              <p:cNvSpPr/>
              <p:nvPr/>
            </p:nvSpPr>
            <p:spPr>
              <a:xfrm>
                <a:off x="8868516" y="1156047"/>
                <a:ext cx="126539" cy="24081"/>
              </a:xfrm>
              <a:custGeom>
                <a:avLst/>
                <a:gdLst>
                  <a:gd name="connsiteX0" fmla="*/ 0 w 126539"/>
                  <a:gd name="connsiteY0" fmla="*/ 1146 h 24081"/>
                  <a:gd name="connsiteX1" fmla="*/ 98550 w 126539"/>
                  <a:gd name="connsiteY1" fmla="*/ 23584 h 24081"/>
                  <a:gd name="connsiteX2" fmla="*/ 126540 w 126539"/>
                  <a:gd name="connsiteY2" fmla="*/ 0 h 240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26539" h="24081">
                    <a:moveTo>
                      <a:pt x="0" y="1146"/>
                    </a:moveTo>
                    <a:lnTo>
                      <a:pt x="98550" y="23584"/>
                    </a:lnTo>
                    <a:cubicBezTo>
                      <a:pt x="115315" y="27202"/>
                      <a:pt x="125274" y="10269"/>
                      <a:pt x="126540" y="0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090" name="Forma livre: Forma 1089">
                <a:extLst>
                  <a:ext uri="{FF2B5EF4-FFF2-40B4-BE49-F238E27FC236}">
                    <a16:creationId xmlns:a16="http://schemas.microsoft.com/office/drawing/2014/main" id="{FC6D6B2F-F1D4-4D02-940A-38694E520487}"/>
                  </a:ext>
                </a:extLst>
              </p:cNvPr>
              <p:cNvSpPr/>
              <p:nvPr/>
            </p:nvSpPr>
            <p:spPr>
              <a:xfrm>
                <a:off x="8723075" y="1133073"/>
                <a:ext cx="160630" cy="82780"/>
              </a:xfrm>
              <a:custGeom>
                <a:avLst/>
                <a:gdLst>
                  <a:gd name="connsiteX0" fmla="*/ 74976 w 160630"/>
                  <a:gd name="connsiteY0" fmla="*/ 0 h 82780"/>
                  <a:gd name="connsiteX1" fmla="*/ 10 w 160630"/>
                  <a:gd name="connsiteY1" fmla="*/ 68840 h 82780"/>
                  <a:gd name="connsiteX2" fmla="*/ 49100 w 160630"/>
                  <a:gd name="connsiteY2" fmla="*/ 74620 h 82780"/>
                  <a:gd name="connsiteX3" fmla="*/ 160630 w 160630"/>
                  <a:gd name="connsiteY3" fmla="*/ 14341 h 827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60630" h="82780">
                    <a:moveTo>
                      <a:pt x="74976" y="0"/>
                    </a:moveTo>
                    <a:lnTo>
                      <a:pt x="10" y="68840"/>
                    </a:lnTo>
                    <a:cubicBezTo>
                      <a:pt x="10" y="68840"/>
                      <a:pt x="-1972" y="95899"/>
                      <a:pt x="49100" y="74620"/>
                    </a:cubicBezTo>
                    <a:lnTo>
                      <a:pt x="160630" y="14341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091" name="Forma livre: Forma 1090">
                <a:extLst>
                  <a:ext uri="{FF2B5EF4-FFF2-40B4-BE49-F238E27FC236}">
                    <a16:creationId xmlns:a16="http://schemas.microsoft.com/office/drawing/2014/main" id="{0CE6894C-9BD6-421E-B7C2-69AF99B4C3C6}"/>
                  </a:ext>
                </a:extLst>
              </p:cNvPr>
              <p:cNvSpPr/>
              <p:nvPr/>
            </p:nvSpPr>
            <p:spPr>
              <a:xfrm>
                <a:off x="8658269" y="1016325"/>
                <a:ext cx="336906" cy="139448"/>
              </a:xfrm>
              <a:custGeom>
                <a:avLst/>
                <a:gdLst>
                  <a:gd name="connsiteX0" fmla="*/ 301334 w 336906"/>
                  <a:gd name="connsiteY0" fmla="*/ 130910 h 139448"/>
                  <a:gd name="connsiteX1" fmla="*/ 336906 w 336906"/>
                  <a:gd name="connsiteY1" fmla="*/ 139448 h 139448"/>
                  <a:gd name="connsiteX2" fmla="*/ 329909 w 336906"/>
                  <a:gd name="connsiteY2" fmla="*/ 127567 h 139448"/>
                  <a:gd name="connsiteX3" fmla="*/ 271994 w 336906"/>
                  <a:gd name="connsiteY3" fmla="*/ 99183 h 139448"/>
                  <a:gd name="connsiteX4" fmla="*/ 71169 w 336906"/>
                  <a:gd name="connsiteY4" fmla="*/ 51944 h 139448"/>
                  <a:gd name="connsiteX5" fmla="*/ 25673 w 336906"/>
                  <a:gd name="connsiteY5" fmla="*/ 0 h 139448"/>
                  <a:gd name="connsiteX6" fmla="*/ 20718 w 336906"/>
                  <a:gd name="connsiteY6" fmla="*/ 1146 h 139448"/>
                  <a:gd name="connsiteX7" fmla="*/ 34343 w 336906"/>
                  <a:gd name="connsiteY7" fmla="*/ 60243 h 139448"/>
                  <a:gd name="connsiteX8" fmla="*/ 1731 w 336906"/>
                  <a:gd name="connsiteY8" fmla="*/ 53054 h 139448"/>
                  <a:gd name="connsiteX9" fmla="*/ 0 w 336906"/>
                  <a:gd name="connsiteY9" fmla="*/ 61927 h 139448"/>
                  <a:gd name="connsiteX10" fmla="*/ 102646 w 336906"/>
                  <a:gd name="connsiteY10" fmla="*/ 114826 h 1394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336906" h="139448">
                    <a:moveTo>
                      <a:pt x="301334" y="130910"/>
                    </a:moveTo>
                    <a:lnTo>
                      <a:pt x="336906" y="139448"/>
                    </a:lnTo>
                    <a:cubicBezTo>
                      <a:pt x="336082" y="136236"/>
                      <a:pt x="333694" y="132152"/>
                      <a:pt x="329909" y="127567"/>
                    </a:cubicBezTo>
                    <a:cubicBezTo>
                      <a:pt x="314349" y="108736"/>
                      <a:pt x="271994" y="99183"/>
                      <a:pt x="271994" y="99183"/>
                    </a:cubicBezTo>
                    <a:lnTo>
                      <a:pt x="71169" y="51944"/>
                    </a:lnTo>
                    <a:lnTo>
                      <a:pt x="25673" y="0"/>
                    </a:lnTo>
                    <a:lnTo>
                      <a:pt x="20718" y="1146"/>
                    </a:lnTo>
                    <a:lnTo>
                      <a:pt x="34343" y="60243"/>
                    </a:lnTo>
                    <a:lnTo>
                      <a:pt x="1731" y="53054"/>
                    </a:lnTo>
                    <a:lnTo>
                      <a:pt x="0" y="61927"/>
                    </a:lnTo>
                    <a:cubicBezTo>
                      <a:pt x="28874" y="91075"/>
                      <a:pt x="85200" y="109595"/>
                      <a:pt x="102646" y="114826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092" name="Forma livre: Forma 1091">
              <a:extLst>
                <a:ext uri="{FF2B5EF4-FFF2-40B4-BE49-F238E27FC236}">
                  <a16:creationId xmlns:a16="http://schemas.microsoft.com/office/drawing/2014/main" id="{71AE9842-87CF-9883-6670-92457F729AB1}"/>
                </a:ext>
              </a:extLst>
            </p:cNvPr>
            <p:cNvSpPr/>
            <p:nvPr/>
          </p:nvSpPr>
          <p:spPr>
            <a:xfrm>
              <a:off x="8692981" y="1283113"/>
              <a:ext cx="267456" cy="1194"/>
            </a:xfrm>
            <a:custGeom>
              <a:avLst/>
              <a:gdLst>
                <a:gd name="connsiteX0" fmla="*/ 0 w 267456"/>
                <a:gd name="connsiteY0" fmla="*/ 0 h 1194"/>
                <a:gd name="connsiteX1" fmla="*/ 267457 w 267456"/>
                <a:gd name="connsiteY1" fmla="*/ 0 h 11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67456" h="1194">
                  <a:moveTo>
                    <a:pt x="0" y="0"/>
                  </a:moveTo>
                  <a:lnTo>
                    <a:pt x="267457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093" name="Gráfico 10">
            <a:extLst>
              <a:ext uri="{FF2B5EF4-FFF2-40B4-BE49-F238E27FC236}">
                <a16:creationId xmlns:a16="http://schemas.microsoft.com/office/drawing/2014/main" id="{B47CD767-0FFD-AB86-AFD9-26EB1668BDE9}"/>
              </a:ext>
            </a:extLst>
          </p:cNvPr>
          <p:cNvGrpSpPr/>
          <p:nvPr/>
        </p:nvGrpSpPr>
        <p:grpSpPr>
          <a:xfrm>
            <a:off x="8679727" y="2597230"/>
            <a:ext cx="293965" cy="293894"/>
            <a:chOff x="8679727" y="2597230"/>
            <a:chExt cx="293965" cy="293894"/>
          </a:xfrm>
          <a:noFill/>
        </p:grpSpPr>
        <p:sp>
          <p:nvSpPr>
            <p:cNvPr id="1094" name="Forma livre: Forma 1093">
              <a:extLst>
                <a:ext uri="{FF2B5EF4-FFF2-40B4-BE49-F238E27FC236}">
                  <a16:creationId xmlns:a16="http://schemas.microsoft.com/office/drawing/2014/main" id="{0D7E3A2A-F2A3-A13C-AE8E-DFDF7704D6C3}"/>
                </a:ext>
              </a:extLst>
            </p:cNvPr>
            <p:cNvSpPr/>
            <p:nvPr/>
          </p:nvSpPr>
          <p:spPr>
            <a:xfrm>
              <a:off x="8679727" y="2597230"/>
              <a:ext cx="293965" cy="293894"/>
            </a:xfrm>
            <a:custGeom>
              <a:avLst/>
              <a:gdLst>
                <a:gd name="connsiteX0" fmla="*/ 59694 w 293965"/>
                <a:gd name="connsiteY0" fmla="*/ 28706 h 293894"/>
                <a:gd name="connsiteX1" fmla="*/ 146959 w 293965"/>
                <a:gd name="connsiteY1" fmla="*/ 0 h 293894"/>
                <a:gd name="connsiteX2" fmla="*/ 293966 w 293965"/>
                <a:gd name="connsiteY2" fmla="*/ 146959 h 293894"/>
                <a:gd name="connsiteX3" fmla="*/ 146959 w 293965"/>
                <a:gd name="connsiteY3" fmla="*/ 293894 h 293894"/>
                <a:gd name="connsiteX4" fmla="*/ 0 w 293965"/>
                <a:gd name="connsiteY4" fmla="*/ 146959 h 293894"/>
                <a:gd name="connsiteX5" fmla="*/ 37364 w 293965"/>
                <a:gd name="connsiteY5" fmla="*/ 49054 h 2938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93965" h="293894">
                  <a:moveTo>
                    <a:pt x="59694" y="28706"/>
                  </a:moveTo>
                  <a:cubicBezTo>
                    <a:pt x="84101" y="10675"/>
                    <a:pt x="114276" y="0"/>
                    <a:pt x="146959" y="0"/>
                  </a:cubicBezTo>
                  <a:cubicBezTo>
                    <a:pt x="228182" y="0"/>
                    <a:pt x="293966" y="65784"/>
                    <a:pt x="293966" y="146959"/>
                  </a:cubicBezTo>
                  <a:cubicBezTo>
                    <a:pt x="293966" y="228135"/>
                    <a:pt x="228182" y="293894"/>
                    <a:pt x="146959" y="293894"/>
                  </a:cubicBezTo>
                  <a:cubicBezTo>
                    <a:pt x="65736" y="293894"/>
                    <a:pt x="0" y="228111"/>
                    <a:pt x="0" y="146959"/>
                  </a:cubicBezTo>
                  <a:cubicBezTo>
                    <a:pt x="0" y="109345"/>
                    <a:pt x="14126" y="75038"/>
                    <a:pt x="37364" y="49054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095" name="Gráfico 10">
              <a:extLst>
                <a:ext uri="{FF2B5EF4-FFF2-40B4-BE49-F238E27FC236}">
                  <a16:creationId xmlns:a16="http://schemas.microsoft.com/office/drawing/2014/main" id="{2E65B885-1934-3E03-99E3-F33A5E271F74}"/>
                </a:ext>
              </a:extLst>
            </p:cNvPr>
            <p:cNvGrpSpPr/>
            <p:nvPr/>
          </p:nvGrpSpPr>
          <p:grpSpPr>
            <a:xfrm>
              <a:off x="8784856" y="2634952"/>
              <a:ext cx="83707" cy="215573"/>
              <a:chOff x="8784856" y="2634952"/>
              <a:chExt cx="83707" cy="215573"/>
            </a:xfrm>
            <a:noFill/>
          </p:grpSpPr>
          <p:sp>
            <p:nvSpPr>
              <p:cNvPr id="1096" name="Forma livre: Forma 1095">
                <a:extLst>
                  <a:ext uri="{FF2B5EF4-FFF2-40B4-BE49-F238E27FC236}">
                    <a16:creationId xmlns:a16="http://schemas.microsoft.com/office/drawing/2014/main" id="{67CA9B1D-29BE-4A41-F6F6-AF2D6A2A03B5}"/>
                  </a:ext>
                </a:extLst>
              </p:cNvPr>
              <p:cNvSpPr/>
              <p:nvPr/>
            </p:nvSpPr>
            <p:spPr>
              <a:xfrm>
                <a:off x="8784856" y="2708098"/>
                <a:ext cx="82666" cy="142427"/>
              </a:xfrm>
              <a:custGeom>
                <a:avLst/>
                <a:gdLst>
                  <a:gd name="connsiteX0" fmla="*/ 81785 w 82666"/>
                  <a:gd name="connsiteY0" fmla="*/ 113972 h 142427"/>
                  <a:gd name="connsiteX1" fmla="*/ 57401 w 82666"/>
                  <a:gd name="connsiteY1" fmla="*/ 132361 h 142427"/>
                  <a:gd name="connsiteX2" fmla="*/ 24646 w 82666"/>
                  <a:gd name="connsiteY2" fmla="*/ 142427 h 142427"/>
                  <a:gd name="connsiteX3" fmla="*/ 24288 w 82666"/>
                  <a:gd name="connsiteY3" fmla="*/ 142427 h 142427"/>
                  <a:gd name="connsiteX4" fmla="*/ 4585 w 82666"/>
                  <a:gd name="connsiteY4" fmla="*/ 133388 h 142427"/>
                  <a:gd name="connsiteX5" fmla="*/ 0 w 82666"/>
                  <a:gd name="connsiteY5" fmla="*/ 118354 h 142427"/>
                  <a:gd name="connsiteX6" fmla="*/ 6926 w 82666"/>
                  <a:gd name="connsiteY6" fmla="*/ 85898 h 142427"/>
                  <a:gd name="connsiteX7" fmla="*/ 18306 w 82666"/>
                  <a:gd name="connsiteY7" fmla="*/ 44188 h 142427"/>
                  <a:gd name="connsiteX8" fmla="*/ 21828 w 82666"/>
                  <a:gd name="connsiteY8" fmla="*/ 29632 h 142427"/>
                  <a:gd name="connsiteX9" fmla="*/ 20646 w 82666"/>
                  <a:gd name="connsiteY9" fmla="*/ 26945 h 142427"/>
                  <a:gd name="connsiteX10" fmla="*/ 13840 w 82666"/>
                  <a:gd name="connsiteY10" fmla="*/ 25978 h 142427"/>
                  <a:gd name="connsiteX11" fmla="*/ 10878 w 82666"/>
                  <a:gd name="connsiteY11" fmla="*/ 26037 h 142427"/>
                  <a:gd name="connsiteX12" fmla="*/ 6986 w 82666"/>
                  <a:gd name="connsiteY12" fmla="*/ 24545 h 142427"/>
                  <a:gd name="connsiteX13" fmla="*/ 5302 w 82666"/>
                  <a:gd name="connsiteY13" fmla="*/ 20700 h 142427"/>
                  <a:gd name="connsiteX14" fmla="*/ 5302 w 82666"/>
                  <a:gd name="connsiteY14" fmla="*/ 13153 h 142427"/>
                  <a:gd name="connsiteX15" fmla="*/ 10245 w 82666"/>
                  <a:gd name="connsiteY15" fmla="*/ 7851 h 142427"/>
                  <a:gd name="connsiteX16" fmla="*/ 65963 w 82666"/>
                  <a:gd name="connsiteY16" fmla="*/ 137 h 142427"/>
                  <a:gd name="connsiteX17" fmla="*/ 71014 w 82666"/>
                  <a:gd name="connsiteY17" fmla="*/ 1606 h 142427"/>
                  <a:gd name="connsiteX18" fmla="*/ 72315 w 82666"/>
                  <a:gd name="connsiteY18" fmla="*/ 6717 h 142427"/>
                  <a:gd name="connsiteX19" fmla="*/ 47203 w 82666"/>
                  <a:gd name="connsiteY19" fmla="*/ 99535 h 142427"/>
                  <a:gd name="connsiteX20" fmla="*/ 44707 w 82666"/>
                  <a:gd name="connsiteY20" fmla="*/ 111595 h 142427"/>
                  <a:gd name="connsiteX21" fmla="*/ 51729 w 82666"/>
                  <a:gd name="connsiteY21" fmla="*/ 108777 h 142427"/>
                  <a:gd name="connsiteX22" fmla="*/ 66655 w 82666"/>
                  <a:gd name="connsiteY22" fmla="*/ 101911 h 142427"/>
                  <a:gd name="connsiteX23" fmla="*/ 74023 w 82666"/>
                  <a:gd name="connsiteY23" fmla="*/ 101207 h 142427"/>
                  <a:gd name="connsiteX24" fmla="*/ 80185 w 82666"/>
                  <a:gd name="connsiteY24" fmla="*/ 106556 h 142427"/>
                  <a:gd name="connsiteX25" fmla="*/ 82513 w 82666"/>
                  <a:gd name="connsiteY25" fmla="*/ 109936 h 142427"/>
                  <a:gd name="connsiteX26" fmla="*/ 81773 w 82666"/>
                  <a:gd name="connsiteY26" fmla="*/ 113960 h 1424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82666" h="142427">
                    <a:moveTo>
                      <a:pt x="81785" y="113972"/>
                    </a:moveTo>
                    <a:cubicBezTo>
                      <a:pt x="72924" y="123704"/>
                      <a:pt x="67252" y="126988"/>
                      <a:pt x="57401" y="132361"/>
                    </a:cubicBezTo>
                    <a:cubicBezTo>
                      <a:pt x="47908" y="137543"/>
                      <a:pt x="36444" y="142487"/>
                      <a:pt x="24646" y="142427"/>
                    </a:cubicBezTo>
                    <a:lnTo>
                      <a:pt x="24288" y="142427"/>
                    </a:lnTo>
                    <a:cubicBezTo>
                      <a:pt x="15046" y="142427"/>
                      <a:pt x="8239" y="138582"/>
                      <a:pt x="4585" y="133388"/>
                    </a:cubicBezTo>
                    <a:cubicBezTo>
                      <a:pt x="872" y="128206"/>
                      <a:pt x="24" y="122474"/>
                      <a:pt x="0" y="118354"/>
                    </a:cubicBezTo>
                    <a:cubicBezTo>
                      <a:pt x="119" y="112169"/>
                      <a:pt x="3152" y="100335"/>
                      <a:pt x="6926" y="85898"/>
                    </a:cubicBezTo>
                    <a:cubicBezTo>
                      <a:pt x="10675" y="71676"/>
                      <a:pt x="15225" y="55735"/>
                      <a:pt x="18306" y="44188"/>
                    </a:cubicBezTo>
                    <a:cubicBezTo>
                      <a:pt x="20312" y="36808"/>
                      <a:pt x="21781" y="30706"/>
                      <a:pt x="21828" y="29632"/>
                    </a:cubicBezTo>
                    <a:cubicBezTo>
                      <a:pt x="21601" y="27184"/>
                      <a:pt x="21518" y="27626"/>
                      <a:pt x="20646" y="26945"/>
                    </a:cubicBezTo>
                    <a:cubicBezTo>
                      <a:pt x="19655" y="26348"/>
                      <a:pt x="16992" y="25906"/>
                      <a:pt x="13840" y="25978"/>
                    </a:cubicBezTo>
                    <a:cubicBezTo>
                      <a:pt x="12849" y="25978"/>
                      <a:pt x="11858" y="26002"/>
                      <a:pt x="10878" y="26037"/>
                    </a:cubicBezTo>
                    <a:cubicBezTo>
                      <a:pt x="9433" y="26085"/>
                      <a:pt x="8013" y="25560"/>
                      <a:pt x="6986" y="24545"/>
                    </a:cubicBezTo>
                    <a:cubicBezTo>
                      <a:pt x="5923" y="23554"/>
                      <a:pt x="5302" y="22157"/>
                      <a:pt x="5302" y="20700"/>
                    </a:cubicBezTo>
                    <a:lnTo>
                      <a:pt x="5302" y="13153"/>
                    </a:lnTo>
                    <a:cubicBezTo>
                      <a:pt x="5302" y="10359"/>
                      <a:pt x="7463" y="8054"/>
                      <a:pt x="10245" y="7851"/>
                    </a:cubicBezTo>
                    <a:cubicBezTo>
                      <a:pt x="21255" y="7003"/>
                      <a:pt x="47502" y="4472"/>
                      <a:pt x="65963" y="137"/>
                    </a:cubicBezTo>
                    <a:cubicBezTo>
                      <a:pt x="67778" y="-281"/>
                      <a:pt x="69676" y="269"/>
                      <a:pt x="71014" y="1606"/>
                    </a:cubicBezTo>
                    <a:cubicBezTo>
                      <a:pt x="72327" y="2979"/>
                      <a:pt x="72805" y="4914"/>
                      <a:pt x="72315" y="6717"/>
                    </a:cubicBezTo>
                    <a:cubicBezTo>
                      <a:pt x="64136" y="36773"/>
                      <a:pt x="52469" y="77516"/>
                      <a:pt x="47203" y="99535"/>
                    </a:cubicBezTo>
                    <a:cubicBezTo>
                      <a:pt x="45925" y="104777"/>
                      <a:pt x="45066" y="109219"/>
                      <a:pt x="44707" y="111595"/>
                    </a:cubicBezTo>
                    <a:cubicBezTo>
                      <a:pt x="44982" y="111416"/>
                      <a:pt x="49150" y="109756"/>
                      <a:pt x="51729" y="108777"/>
                    </a:cubicBezTo>
                    <a:cubicBezTo>
                      <a:pt x="60386" y="105494"/>
                      <a:pt x="61807" y="104359"/>
                      <a:pt x="66655" y="101911"/>
                    </a:cubicBezTo>
                    <a:cubicBezTo>
                      <a:pt x="69234" y="100610"/>
                      <a:pt x="71599" y="99666"/>
                      <a:pt x="74023" y="101207"/>
                    </a:cubicBezTo>
                    <a:lnTo>
                      <a:pt x="80185" y="106556"/>
                    </a:lnTo>
                    <a:cubicBezTo>
                      <a:pt x="81391" y="107345"/>
                      <a:pt x="82226" y="108527"/>
                      <a:pt x="82513" y="109936"/>
                    </a:cubicBezTo>
                    <a:cubicBezTo>
                      <a:pt x="82811" y="111309"/>
                      <a:pt x="82728" y="112909"/>
                      <a:pt x="81773" y="113960"/>
                    </a:cubicBezTo>
                    <a:close/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097" name="Forma livre: Forma 1096">
                <a:extLst>
                  <a:ext uri="{FF2B5EF4-FFF2-40B4-BE49-F238E27FC236}">
                    <a16:creationId xmlns:a16="http://schemas.microsoft.com/office/drawing/2014/main" id="{77D2F7D8-3A78-17BD-CAFA-7EE87B673C6C}"/>
                  </a:ext>
                </a:extLst>
              </p:cNvPr>
              <p:cNvSpPr/>
              <p:nvPr/>
            </p:nvSpPr>
            <p:spPr>
              <a:xfrm>
                <a:off x="8820130" y="2634952"/>
                <a:ext cx="48433" cy="48171"/>
              </a:xfrm>
              <a:custGeom>
                <a:avLst/>
                <a:gdLst>
                  <a:gd name="connsiteX0" fmla="*/ 23811 w 48433"/>
                  <a:gd name="connsiteY0" fmla="*/ 48171 h 48171"/>
                  <a:gd name="connsiteX1" fmla="*/ 23620 w 48433"/>
                  <a:gd name="connsiteY1" fmla="*/ 48171 h 48171"/>
                  <a:gd name="connsiteX2" fmla="*/ 5397 w 48433"/>
                  <a:gd name="connsiteY2" fmla="*/ 39311 h 48171"/>
                  <a:gd name="connsiteX3" fmla="*/ 0 w 48433"/>
                  <a:gd name="connsiteY3" fmla="*/ 23823 h 48171"/>
                  <a:gd name="connsiteX4" fmla="*/ 5684 w 48433"/>
                  <a:gd name="connsiteY4" fmla="*/ 8706 h 48171"/>
                  <a:gd name="connsiteX5" fmla="*/ 23799 w 48433"/>
                  <a:gd name="connsiteY5" fmla="*/ 1 h 48171"/>
                  <a:gd name="connsiteX6" fmla="*/ 48433 w 48433"/>
                  <a:gd name="connsiteY6" fmla="*/ 24372 h 48171"/>
                  <a:gd name="connsiteX7" fmla="*/ 23799 w 48433"/>
                  <a:gd name="connsiteY7" fmla="*/ 48171 h 481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8433" h="48171">
                    <a:moveTo>
                      <a:pt x="23811" y="48171"/>
                    </a:moveTo>
                    <a:cubicBezTo>
                      <a:pt x="23727" y="48171"/>
                      <a:pt x="23667" y="48171"/>
                      <a:pt x="23620" y="48171"/>
                    </a:cubicBezTo>
                    <a:cubicBezTo>
                      <a:pt x="15500" y="48171"/>
                      <a:pt x="9099" y="44207"/>
                      <a:pt x="5397" y="39311"/>
                    </a:cubicBezTo>
                    <a:cubicBezTo>
                      <a:pt x="1612" y="34343"/>
                      <a:pt x="12" y="28683"/>
                      <a:pt x="0" y="23823"/>
                    </a:cubicBezTo>
                    <a:cubicBezTo>
                      <a:pt x="60" y="18975"/>
                      <a:pt x="1863" y="13530"/>
                      <a:pt x="5684" y="8706"/>
                    </a:cubicBezTo>
                    <a:cubicBezTo>
                      <a:pt x="9445" y="3953"/>
                      <a:pt x="15762" y="-59"/>
                      <a:pt x="23799" y="1"/>
                    </a:cubicBezTo>
                    <a:cubicBezTo>
                      <a:pt x="37364" y="48"/>
                      <a:pt x="48373" y="10986"/>
                      <a:pt x="48433" y="24372"/>
                    </a:cubicBezTo>
                    <a:cubicBezTo>
                      <a:pt x="48385" y="37484"/>
                      <a:pt x="37483" y="48147"/>
                      <a:pt x="23799" y="48171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098" name="Gráfico 10">
            <a:extLst>
              <a:ext uri="{FF2B5EF4-FFF2-40B4-BE49-F238E27FC236}">
                <a16:creationId xmlns:a16="http://schemas.microsoft.com/office/drawing/2014/main" id="{2C5BB1A2-986E-E57C-45D6-CE2B2AE4F91D}"/>
              </a:ext>
            </a:extLst>
          </p:cNvPr>
          <p:cNvGrpSpPr/>
          <p:nvPr/>
        </p:nvGrpSpPr>
        <p:grpSpPr>
          <a:xfrm>
            <a:off x="8681864" y="1540503"/>
            <a:ext cx="289703" cy="281403"/>
            <a:chOff x="8681864" y="1540503"/>
            <a:chExt cx="289703" cy="281403"/>
          </a:xfrm>
          <a:noFill/>
        </p:grpSpPr>
        <p:sp>
          <p:nvSpPr>
            <p:cNvPr id="1099" name="Forma livre: Forma 1098">
              <a:extLst>
                <a:ext uri="{FF2B5EF4-FFF2-40B4-BE49-F238E27FC236}">
                  <a16:creationId xmlns:a16="http://schemas.microsoft.com/office/drawing/2014/main" id="{BCFC4F57-C953-74E2-49FF-94BCC27EC0DB}"/>
                </a:ext>
              </a:extLst>
            </p:cNvPr>
            <p:cNvSpPr/>
            <p:nvPr/>
          </p:nvSpPr>
          <p:spPr>
            <a:xfrm>
              <a:off x="8817933" y="1540503"/>
              <a:ext cx="128928" cy="132653"/>
            </a:xfrm>
            <a:custGeom>
              <a:avLst/>
              <a:gdLst>
                <a:gd name="connsiteX0" fmla="*/ 34235 w 128928"/>
                <a:gd name="connsiteY0" fmla="*/ 0 h 132653"/>
                <a:gd name="connsiteX1" fmla="*/ 0 w 128928"/>
                <a:gd name="connsiteY1" fmla="*/ 34235 h 132653"/>
                <a:gd name="connsiteX2" fmla="*/ 34235 w 128928"/>
                <a:gd name="connsiteY2" fmla="*/ 68482 h 132653"/>
                <a:gd name="connsiteX3" fmla="*/ 39955 w 128928"/>
                <a:gd name="connsiteY3" fmla="*/ 68482 h 132653"/>
                <a:gd name="connsiteX4" fmla="*/ 39955 w 128928"/>
                <a:gd name="connsiteY4" fmla="*/ 74393 h 132653"/>
                <a:gd name="connsiteX5" fmla="*/ 69079 w 128928"/>
                <a:gd name="connsiteY5" fmla="*/ 108855 h 132653"/>
                <a:gd name="connsiteX6" fmla="*/ 105595 w 128928"/>
                <a:gd name="connsiteY6" fmla="*/ 108855 h 132653"/>
                <a:gd name="connsiteX7" fmla="*/ 128928 w 128928"/>
                <a:gd name="connsiteY7" fmla="*/ 132654 h 132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8928" h="132653">
                  <a:moveTo>
                    <a:pt x="34235" y="0"/>
                  </a:moveTo>
                  <a:cubicBezTo>
                    <a:pt x="15320" y="0"/>
                    <a:pt x="0" y="15332"/>
                    <a:pt x="0" y="34235"/>
                  </a:cubicBezTo>
                  <a:cubicBezTo>
                    <a:pt x="0" y="53138"/>
                    <a:pt x="15332" y="68482"/>
                    <a:pt x="34235" y="68482"/>
                  </a:cubicBezTo>
                  <a:lnTo>
                    <a:pt x="39955" y="68482"/>
                  </a:lnTo>
                  <a:lnTo>
                    <a:pt x="39955" y="74393"/>
                  </a:lnTo>
                  <a:cubicBezTo>
                    <a:pt x="39955" y="74393"/>
                    <a:pt x="37865" y="108855"/>
                    <a:pt x="69079" y="108855"/>
                  </a:cubicBezTo>
                  <a:lnTo>
                    <a:pt x="105595" y="108855"/>
                  </a:lnTo>
                  <a:cubicBezTo>
                    <a:pt x="105595" y="108855"/>
                    <a:pt x="128928" y="107613"/>
                    <a:pt x="128928" y="132654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00" name="Forma livre: Forma 1099">
              <a:extLst>
                <a:ext uri="{FF2B5EF4-FFF2-40B4-BE49-F238E27FC236}">
                  <a16:creationId xmlns:a16="http://schemas.microsoft.com/office/drawing/2014/main" id="{BDC818A0-9BC7-7531-4394-50FB611A429A}"/>
                </a:ext>
              </a:extLst>
            </p:cNvPr>
            <p:cNvSpPr/>
            <p:nvPr/>
          </p:nvSpPr>
          <p:spPr>
            <a:xfrm>
              <a:off x="8882355" y="1557328"/>
              <a:ext cx="89211" cy="108329"/>
            </a:xfrm>
            <a:custGeom>
              <a:avLst/>
              <a:gdLst>
                <a:gd name="connsiteX0" fmla="*/ 89212 w 89211"/>
                <a:gd name="connsiteY0" fmla="*/ 108330 h 108329"/>
                <a:gd name="connsiteX1" fmla="*/ 56004 w 89211"/>
                <a:gd name="connsiteY1" fmla="*/ 58476 h 108329"/>
                <a:gd name="connsiteX2" fmla="*/ 21912 w 89211"/>
                <a:gd name="connsiteY2" fmla="*/ 58476 h 108329"/>
                <a:gd name="connsiteX3" fmla="*/ 0 w 89211"/>
                <a:gd name="connsiteY3" fmla="*/ 0 h 1083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9211" h="108329">
                  <a:moveTo>
                    <a:pt x="89212" y="108330"/>
                  </a:moveTo>
                  <a:cubicBezTo>
                    <a:pt x="89212" y="56326"/>
                    <a:pt x="56004" y="58476"/>
                    <a:pt x="56004" y="58476"/>
                  </a:cubicBezTo>
                  <a:lnTo>
                    <a:pt x="21912" y="58476"/>
                  </a:lnTo>
                  <a:cubicBezTo>
                    <a:pt x="21912" y="58476"/>
                    <a:pt x="61234" y="0"/>
                    <a:pt x="0" y="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01" name="Forma livre: Forma 1100">
              <a:extLst>
                <a:ext uri="{FF2B5EF4-FFF2-40B4-BE49-F238E27FC236}">
                  <a16:creationId xmlns:a16="http://schemas.microsoft.com/office/drawing/2014/main" id="{851E8728-47E5-29A0-AA7B-A766CBC0AC31}"/>
                </a:ext>
              </a:extLst>
            </p:cNvPr>
            <p:cNvSpPr/>
            <p:nvPr/>
          </p:nvSpPr>
          <p:spPr>
            <a:xfrm>
              <a:off x="8946873" y="1672751"/>
              <a:ext cx="1194" cy="9911"/>
            </a:xfrm>
            <a:custGeom>
              <a:avLst/>
              <a:gdLst>
                <a:gd name="connsiteX0" fmla="*/ 0 w 1194"/>
                <a:gd name="connsiteY0" fmla="*/ 0 h 9911"/>
                <a:gd name="connsiteX1" fmla="*/ 0 w 1194"/>
                <a:gd name="connsiteY1" fmla="*/ 9911 h 99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94" h="9911">
                  <a:moveTo>
                    <a:pt x="0" y="0"/>
                  </a:moveTo>
                  <a:lnTo>
                    <a:pt x="0" y="9911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02" name="Forma livre: Forma 1101">
              <a:extLst>
                <a:ext uri="{FF2B5EF4-FFF2-40B4-BE49-F238E27FC236}">
                  <a16:creationId xmlns:a16="http://schemas.microsoft.com/office/drawing/2014/main" id="{10D821B1-5C3F-EE20-293B-FB597492EF9D}"/>
                </a:ext>
              </a:extLst>
            </p:cNvPr>
            <p:cNvSpPr/>
            <p:nvPr/>
          </p:nvSpPr>
          <p:spPr>
            <a:xfrm>
              <a:off x="8971567" y="1665120"/>
              <a:ext cx="1194" cy="17541"/>
            </a:xfrm>
            <a:custGeom>
              <a:avLst/>
              <a:gdLst>
                <a:gd name="connsiteX0" fmla="*/ 0 w 1194"/>
                <a:gd name="connsiteY0" fmla="*/ 17541 h 17541"/>
                <a:gd name="connsiteX1" fmla="*/ 0 w 1194"/>
                <a:gd name="connsiteY1" fmla="*/ 0 h 175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94" h="17541">
                  <a:moveTo>
                    <a:pt x="0" y="17541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03" name="Forma livre: Forma 1102">
              <a:extLst>
                <a:ext uri="{FF2B5EF4-FFF2-40B4-BE49-F238E27FC236}">
                  <a16:creationId xmlns:a16="http://schemas.microsoft.com/office/drawing/2014/main" id="{2FAFCAA9-DEA1-0775-484D-E9CE699B7808}"/>
                </a:ext>
              </a:extLst>
            </p:cNvPr>
            <p:cNvSpPr/>
            <p:nvPr/>
          </p:nvSpPr>
          <p:spPr>
            <a:xfrm>
              <a:off x="8681864" y="1705971"/>
              <a:ext cx="120497" cy="32002"/>
            </a:xfrm>
            <a:custGeom>
              <a:avLst/>
              <a:gdLst>
                <a:gd name="connsiteX0" fmla="*/ 120498 w 120497"/>
                <a:gd name="connsiteY0" fmla="*/ 32002 h 32002"/>
                <a:gd name="connsiteX1" fmla="*/ 0 w 120497"/>
                <a:gd name="connsiteY1" fmla="*/ 32002 h 32002"/>
                <a:gd name="connsiteX2" fmla="*/ 0 w 120497"/>
                <a:gd name="connsiteY2" fmla="*/ 0 h 32002"/>
                <a:gd name="connsiteX3" fmla="*/ 103183 w 120497"/>
                <a:gd name="connsiteY3" fmla="*/ 0 h 320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0497" h="32002">
                  <a:moveTo>
                    <a:pt x="120498" y="32002"/>
                  </a:moveTo>
                  <a:lnTo>
                    <a:pt x="0" y="32002"/>
                  </a:lnTo>
                  <a:lnTo>
                    <a:pt x="0" y="0"/>
                  </a:lnTo>
                  <a:lnTo>
                    <a:pt x="103183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04" name="Forma livre: Forma 1103">
              <a:extLst>
                <a:ext uri="{FF2B5EF4-FFF2-40B4-BE49-F238E27FC236}">
                  <a16:creationId xmlns:a16="http://schemas.microsoft.com/office/drawing/2014/main" id="{AE19EEDE-B2C4-43D1-8CA0-CAA78EF54B46}"/>
                </a:ext>
              </a:extLst>
            </p:cNvPr>
            <p:cNvSpPr/>
            <p:nvPr/>
          </p:nvSpPr>
          <p:spPr>
            <a:xfrm>
              <a:off x="8811318" y="1705971"/>
              <a:ext cx="108938" cy="32002"/>
            </a:xfrm>
            <a:custGeom>
              <a:avLst/>
              <a:gdLst>
                <a:gd name="connsiteX0" fmla="*/ 0 w 108938"/>
                <a:gd name="connsiteY0" fmla="*/ 0 h 32002"/>
                <a:gd name="connsiteX1" fmla="*/ 108939 w 108938"/>
                <a:gd name="connsiteY1" fmla="*/ 0 h 32002"/>
                <a:gd name="connsiteX2" fmla="*/ 108939 w 108938"/>
                <a:gd name="connsiteY2" fmla="*/ 32002 h 32002"/>
                <a:gd name="connsiteX3" fmla="*/ 17315 w 108938"/>
                <a:gd name="connsiteY3" fmla="*/ 32002 h 320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8938" h="32002">
                  <a:moveTo>
                    <a:pt x="0" y="0"/>
                  </a:moveTo>
                  <a:lnTo>
                    <a:pt x="108939" y="0"/>
                  </a:lnTo>
                  <a:lnTo>
                    <a:pt x="108939" y="32002"/>
                  </a:lnTo>
                  <a:lnTo>
                    <a:pt x="17315" y="32002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05" name="Forma livre: Forma 1104">
              <a:extLst>
                <a:ext uri="{FF2B5EF4-FFF2-40B4-BE49-F238E27FC236}">
                  <a16:creationId xmlns:a16="http://schemas.microsoft.com/office/drawing/2014/main" id="{C653FF68-86CD-7265-FA81-8BF32E66165C}"/>
                </a:ext>
              </a:extLst>
            </p:cNvPr>
            <p:cNvSpPr/>
            <p:nvPr/>
          </p:nvSpPr>
          <p:spPr>
            <a:xfrm>
              <a:off x="8946873" y="1705720"/>
              <a:ext cx="1194" cy="32205"/>
            </a:xfrm>
            <a:custGeom>
              <a:avLst/>
              <a:gdLst>
                <a:gd name="connsiteX0" fmla="*/ 0 w 1194"/>
                <a:gd name="connsiteY0" fmla="*/ 0 h 32205"/>
                <a:gd name="connsiteX1" fmla="*/ 0 w 1194"/>
                <a:gd name="connsiteY1" fmla="*/ 32205 h 322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94" h="32205">
                  <a:moveTo>
                    <a:pt x="0" y="0"/>
                  </a:moveTo>
                  <a:lnTo>
                    <a:pt x="0" y="32205"/>
                  </a:lnTo>
                </a:path>
              </a:pathLst>
            </a:custGeom>
            <a:ln w="6350" cap="sq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06" name="Forma livre: Forma 1105">
              <a:extLst>
                <a:ext uri="{FF2B5EF4-FFF2-40B4-BE49-F238E27FC236}">
                  <a16:creationId xmlns:a16="http://schemas.microsoft.com/office/drawing/2014/main" id="{7A47146A-303F-4BC8-7E84-2C5028E2ADE2}"/>
                </a:ext>
              </a:extLst>
            </p:cNvPr>
            <p:cNvSpPr/>
            <p:nvPr/>
          </p:nvSpPr>
          <p:spPr>
            <a:xfrm>
              <a:off x="8971567" y="1705720"/>
              <a:ext cx="1194" cy="32205"/>
            </a:xfrm>
            <a:custGeom>
              <a:avLst/>
              <a:gdLst>
                <a:gd name="connsiteX0" fmla="*/ 0 w 1194"/>
                <a:gd name="connsiteY0" fmla="*/ 0 h 32205"/>
                <a:gd name="connsiteX1" fmla="*/ 0 w 1194"/>
                <a:gd name="connsiteY1" fmla="*/ 32205 h 322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94" h="32205">
                  <a:moveTo>
                    <a:pt x="0" y="0"/>
                  </a:moveTo>
                  <a:lnTo>
                    <a:pt x="0" y="32205"/>
                  </a:lnTo>
                </a:path>
              </a:pathLst>
            </a:custGeom>
            <a:ln w="6350" cap="sq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07" name="Forma livre: Forma 1106">
              <a:extLst>
                <a:ext uri="{FF2B5EF4-FFF2-40B4-BE49-F238E27FC236}">
                  <a16:creationId xmlns:a16="http://schemas.microsoft.com/office/drawing/2014/main" id="{6952E810-81B4-3809-4406-2A257D782F30}"/>
                </a:ext>
              </a:extLst>
            </p:cNvPr>
            <p:cNvSpPr/>
            <p:nvPr/>
          </p:nvSpPr>
          <p:spPr>
            <a:xfrm>
              <a:off x="8761941" y="1614633"/>
              <a:ext cx="112019" cy="207273"/>
            </a:xfrm>
            <a:custGeom>
              <a:avLst/>
              <a:gdLst>
                <a:gd name="connsiteX0" fmla="*/ 112019 w 112019"/>
                <a:gd name="connsiteY0" fmla="*/ 207274 h 207273"/>
                <a:gd name="connsiteX1" fmla="*/ 0 w 112019"/>
                <a:gd name="connsiteY1" fmla="*/ 0 h 2072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019" h="207273">
                  <a:moveTo>
                    <a:pt x="112019" y="207274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108" name="Gráfico 10">
            <a:extLst>
              <a:ext uri="{FF2B5EF4-FFF2-40B4-BE49-F238E27FC236}">
                <a16:creationId xmlns:a16="http://schemas.microsoft.com/office/drawing/2014/main" id="{2D869A90-071A-8349-AD4F-6AAE2C9DBCD9}"/>
              </a:ext>
            </a:extLst>
          </p:cNvPr>
          <p:cNvGrpSpPr/>
          <p:nvPr/>
        </p:nvGrpSpPr>
        <p:grpSpPr>
          <a:xfrm>
            <a:off x="8673959" y="3129970"/>
            <a:ext cx="305501" cy="291398"/>
            <a:chOff x="8673959" y="3129970"/>
            <a:chExt cx="305501" cy="291398"/>
          </a:xfrm>
        </p:grpSpPr>
        <p:grpSp>
          <p:nvGrpSpPr>
            <p:cNvPr id="1109" name="Gráfico 10">
              <a:extLst>
                <a:ext uri="{FF2B5EF4-FFF2-40B4-BE49-F238E27FC236}">
                  <a16:creationId xmlns:a16="http://schemas.microsoft.com/office/drawing/2014/main" id="{D9224426-3B06-ED67-3C58-7BFBB21EFB22}"/>
                </a:ext>
              </a:extLst>
            </p:cNvPr>
            <p:cNvGrpSpPr/>
            <p:nvPr/>
          </p:nvGrpSpPr>
          <p:grpSpPr>
            <a:xfrm>
              <a:off x="8695955" y="3190201"/>
              <a:ext cx="152487" cy="142218"/>
              <a:chOff x="8695955" y="3190201"/>
              <a:chExt cx="152487" cy="142218"/>
            </a:xfrm>
            <a:noFill/>
          </p:grpSpPr>
          <p:sp>
            <p:nvSpPr>
              <p:cNvPr id="1110" name="Forma livre: Forma 1109">
                <a:extLst>
                  <a:ext uri="{FF2B5EF4-FFF2-40B4-BE49-F238E27FC236}">
                    <a16:creationId xmlns:a16="http://schemas.microsoft.com/office/drawing/2014/main" id="{9A3C1143-DA51-0808-AC8B-E5B4ABE8F765}"/>
                  </a:ext>
                </a:extLst>
              </p:cNvPr>
              <p:cNvSpPr/>
              <p:nvPr/>
            </p:nvSpPr>
            <p:spPr>
              <a:xfrm>
                <a:off x="8695955" y="3227697"/>
                <a:ext cx="152487" cy="104723"/>
              </a:xfrm>
              <a:custGeom>
                <a:avLst/>
                <a:gdLst>
                  <a:gd name="connsiteX0" fmla="*/ 12813 w 152487"/>
                  <a:gd name="connsiteY0" fmla="*/ 104711 h 104723"/>
                  <a:gd name="connsiteX1" fmla="*/ 0 w 152487"/>
                  <a:gd name="connsiteY1" fmla="*/ 91887 h 104723"/>
                  <a:gd name="connsiteX2" fmla="*/ 0 w 152487"/>
                  <a:gd name="connsiteY2" fmla="*/ 12825 h 104723"/>
                  <a:gd name="connsiteX3" fmla="*/ 12813 w 152487"/>
                  <a:gd name="connsiteY3" fmla="*/ 0 h 104723"/>
                  <a:gd name="connsiteX4" fmla="*/ 139675 w 152487"/>
                  <a:gd name="connsiteY4" fmla="*/ 0 h 104723"/>
                  <a:gd name="connsiteX5" fmla="*/ 152488 w 152487"/>
                  <a:gd name="connsiteY5" fmla="*/ 12825 h 104723"/>
                  <a:gd name="connsiteX6" fmla="*/ 152488 w 152487"/>
                  <a:gd name="connsiteY6" fmla="*/ 91899 h 104723"/>
                  <a:gd name="connsiteX7" fmla="*/ 139675 w 152487"/>
                  <a:gd name="connsiteY7" fmla="*/ 104723 h 104723"/>
                  <a:gd name="connsiteX8" fmla="*/ 12813 w 152487"/>
                  <a:gd name="connsiteY8" fmla="*/ 104723 h 1047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52487" h="104723">
                    <a:moveTo>
                      <a:pt x="12813" y="104711"/>
                    </a:moveTo>
                    <a:cubicBezTo>
                      <a:pt x="5768" y="104711"/>
                      <a:pt x="0" y="98944"/>
                      <a:pt x="0" y="91887"/>
                    </a:cubicBezTo>
                    <a:lnTo>
                      <a:pt x="0" y="12825"/>
                    </a:lnTo>
                    <a:cubicBezTo>
                      <a:pt x="0" y="5767"/>
                      <a:pt x="5768" y="0"/>
                      <a:pt x="12813" y="0"/>
                    </a:cubicBezTo>
                    <a:lnTo>
                      <a:pt x="139675" y="0"/>
                    </a:lnTo>
                    <a:cubicBezTo>
                      <a:pt x="146720" y="0"/>
                      <a:pt x="152488" y="5767"/>
                      <a:pt x="152488" y="12825"/>
                    </a:cubicBezTo>
                    <a:lnTo>
                      <a:pt x="152488" y="91899"/>
                    </a:lnTo>
                    <a:cubicBezTo>
                      <a:pt x="152488" y="98956"/>
                      <a:pt x="146720" y="104723"/>
                      <a:pt x="139675" y="104723"/>
                    </a:cubicBezTo>
                    <a:lnTo>
                      <a:pt x="12813" y="104723"/>
                    </a:ln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111" name="Forma livre: Forma 1110">
                <a:extLst>
                  <a:ext uri="{FF2B5EF4-FFF2-40B4-BE49-F238E27FC236}">
                    <a16:creationId xmlns:a16="http://schemas.microsoft.com/office/drawing/2014/main" id="{CBC7D23F-33BB-BC48-4D10-401D42517FDF}"/>
                  </a:ext>
                </a:extLst>
              </p:cNvPr>
              <p:cNvSpPr/>
              <p:nvPr/>
            </p:nvSpPr>
            <p:spPr>
              <a:xfrm>
                <a:off x="8744089" y="3190201"/>
                <a:ext cx="56206" cy="19666"/>
              </a:xfrm>
              <a:custGeom>
                <a:avLst/>
                <a:gdLst>
                  <a:gd name="connsiteX0" fmla="*/ 0 w 56206"/>
                  <a:gd name="connsiteY0" fmla="*/ 19667 h 19666"/>
                  <a:gd name="connsiteX1" fmla="*/ 0 w 56206"/>
                  <a:gd name="connsiteY1" fmla="*/ 12825 h 19666"/>
                  <a:gd name="connsiteX2" fmla="*/ 12825 w 56206"/>
                  <a:gd name="connsiteY2" fmla="*/ 0 h 19666"/>
                  <a:gd name="connsiteX3" fmla="*/ 43382 w 56206"/>
                  <a:gd name="connsiteY3" fmla="*/ 0 h 19666"/>
                  <a:gd name="connsiteX4" fmla="*/ 56207 w 56206"/>
                  <a:gd name="connsiteY4" fmla="*/ 12825 h 19666"/>
                  <a:gd name="connsiteX5" fmla="*/ 56207 w 56206"/>
                  <a:gd name="connsiteY5" fmla="*/ 19667 h 196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56206" h="19666">
                    <a:moveTo>
                      <a:pt x="0" y="19667"/>
                    </a:moveTo>
                    <a:lnTo>
                      <a:pt x="0" y="12825"/>
                    </a:lnTo>
                    <a:cubicBezTo>
                      <a:pt x="0" y="5767"/>
                      <a:pt x="5780" y="0"/>
                      <a:pt x="12825" y="0"/>
                    </a:cubicBezTo>
                    <a:lnTo>
                      <a:pt x="43382" y="0"/>
                    </a:lnTo>
                    <a:cubicBezTo>
                      <a:pt x="50439" y="0"/>
                      <a:pt x="56207" y="5767"/>
                      <a:pt x="56207" y="12825"/>
                    </a:cubicBezTo>
                    <a:lnTo>
                      <a:pt x="56207" y="19667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112" name="Gráfico 10">
              <a:extLst>
                <a:ext uri="{FF2B5EF4-FFF2-40B4-BE49-F238E27FC236}">
                  <a16:creationId xmlns:a16="http://schemas.microsoft.com/office/drawing/2014/main" id="{32AB2B32-104D-1BF9-9DDC-6919BEDAEF1D}"/>
                </a:ext>
              </a:extLst>
            </p:cNvPr>
            <p:cNvGrpSpPr/>
            <p:nvPr/>
          </p:nvGrpSpPr>
          <p:grpSpPr>
            <a:xfrm>
              <a:off x="8673959" y="3359932"/>
              <a:ext cx="305501" cy="61436"/>
              <a:chOff x="8673959" y="3359932"/>
              <a:chExt cx="305501" cy="61436"/>
            </a:xfrm>
          </p:grpSpPr>
          <p:sp>
            <p:nvSpPr>
              <p:cNvPr id="1113" name="Forma livre: Forma 1112">
                <a:extLst>
                  <a:ext uri="{FF2B5EF4-FFF2-40B4-BE49-F238E27FC236}">
                    <a16:creationId xmlns:a16="http://schemas.microsoft.com/office/drawing/2014/main" id="{1507FE6D-2A9D-63BA-5721-9D27F8A5EABB}"/>
                  </a:ext>
                </a:extLst>
              </p:cNvPr>
              <p:cNvSpPr/>
              <p:nvPr/>
            </p:nvSpPr>
            <p:spPr>
              <a:xfrm>
                <a:off x="8673959" y="3359932"/>
                <a:ext cx="305501" cy="61436"/>
              </a:xfrm>
              <a:custGeom>
                <a:avLst/>
                <a:gdLst>
                  <a:gd name="connsiteX0" fmla="*/ 0 w 305501"/>
                  <a:gd name="connsiteY0" fmla="*/ 0 h 61436"/>
                  <a:gd name="connsiteX1" fmla="*/ 276842 w 305501"/>
                  <a:gd name="connsiteY1" fmla="*/ 0 h 61436"/>
                  <a:gd name="connsiteX2" fmla="*/ 305501 w 305501"/>
                  <a:gd name="connsiteY2" fmla="*/ 28659 h 61436"/>
                  <a:gd name="connsiteX3" fmla="*/ 305501 w 305501"/>
                  <a:gd name="connsiteY3" fmla="*/ 32778 h 61436"/>
                  <a:gd name="connsiteX4" fmla="*/ 276842 w 305501"/>
                  <a:gd name="connsiteY4" fmla="*/ 61437 h 61436"/>
                  <a:gd name="connsiteX5" fmla="*/ 0 w 305501"/>
                  <a:gd name="connsiteY5" fmla="*/ 61437 h 614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305501" h="61436">
                    <a:moveTo>
                      <a:pt x="0" y="0"/>
                    </a:moveTo>
                    <a:lnTo>
                      <a:pt x="276842" y="0"/>
                    </a:lnTo>
                    <a:cubicBezTo>
                      <a:pt x="292605" y="0"/>
                      <a:pt x="305501" y="12896"/>
                      <a:pt x="305501" y="28659"/>
                    </a:cubicBezTo>
                    <a:lnTo>
                      <a:pt x="305501" y="32778"/>
                    </a:lnTo>
                    <a:cubicBezTo>
                      <a:pt x="305501" y="48541"/>
                      <a:pt x="292605" y="61437"/>
                      <a:pt x="276842" y="61437"/>
                    </a:cubicBezTo>
                    <a:lnTo>
                      <a:pt x="0" y="61437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1114" name="Gráfico 10">
                <a:extLst>
                  <a:ext uri="{FF2B5EF4-FFF2-40B4-BE49-F238E27FC236}">
                    <a16:creationId xmlns:a16="http://schemas.microsoft.com/office/drawing/2014/main" id="{58F1BB7A-E057-B351-38B9-2B5E326A5E44}"/>
                  </a:ext>
                </a:extLst>
              </p:cNvPr>
              <p:cNvGrpSpPr/>
              <p:nvPr/>
            </p:nvGrpSpPr>
            <p:grpSpPr>
              <a:xfrm>
                <a:off x="8701054" y="3385331"/>
                <a:ext cx="242690" cy="10627"/>
                <a:chOff x="8701054" y="3385331"/>
                <a:chExt cx="242690" cy="10627"/>
              </a:xfrm>
              <a:solidFill>
                <a:srgbClr val="394553"/>
              </a:solidFill>
            </p:grpSpPr>
            <p:sp>
              <p:nvSpPr>
                <p:cNvPr id="1115" name="Forma livre: Forma 1114">
                  <a:extLst>
                    <a:ext uri="{FF2B5EF4-FFF2-40B4-BE49-F238E27FC236}">
                      <a16:creationId xmlns:a16="http://schemas.microsoft.com/office/drawing/2014/main" id="{89EEF368-9FF6-AD0C-4C59-E0E0C50D52EC}"/>
                    </a:ext>
                  </a:extLst>
                </p:cNvPr>
                <p:cNvSpPr/>
                <p:nvPr/>
              </p:nvSpPr>
              <p:spPr>
                <a:xfrm>
                  <a:off x="8701054" y="3385331"/>
                  <a:ext cx="10627" cy="10627"/>
                </a:xfrm>
                <a:custGeom>
                  <a:avLst/>
                  <a:gdLst>
                    <a:gd name="connsiteX0" fmla="*/ 10628 w 10627"/>
                    <a:gd name="connsiteY0" fmla="*/ 5314 h 10627"/>
                    <a:gd name="connsiteX1" fmla="*/ 5314 w 10627"/>
                    <a:gd name="connsiteY1" fmla="*/ 10627 h 10627"/>
                    <a:gd name="connsiteX2" fmla="*/ 0 w 10627"/>
                    <a:gd name="connsiteY2" fmla="*/ 5314 h 10627"/>
                    <a:gd name="connsiteX3" fmla="*/ 5314 w 10627"/>
                    <a:gd name="connsiteY3" fmla="*/ 0 h 10627"/>
                    <a:gd name="connsiteX4" fmla="*/ 10628 w 10627"/>
                    <a:gd name="connsiteY4" fmla="*/ 5314 h 1062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0627" h="10627">
                      <a:moveTo>
                        <a:pt x="10628" y="5314"/>
                      </a:moveTo>
                      <a:cubicBezTo>
                        <a:pt x="10628" y="8251"/>
                        <a:pt x="8263" y="10627"/>
                        <a:pt x="5314" y="10627"/>
                      </a:cubicBezTo>
                      <a:cubicBezTo>
                        <a:pt x="2364" y="10627"/>
                        <a:pt x="0" y="8263"/>
                        <a:pt x="0" y="5314"/>
                      </a:cubicBezTo>
                      <a:cubicBezTo>
                        <a:pt x="0" y="2364"/>
                        <a:pt x="2388" y="0"/>
                        <a:pt x="5314" y="0"/>
                      </a:cubicBezTo>
                      <a:cubicBezTo>
                        <a:pt x="8239" y="0"/>
                        <a:pt x="10628" y="2376"/>
                        <a:pt x="10628" y="5314"/>
                      </a:cubicBezTo>
                      <a:close/>
                    </a:path>
                  </a:pathLst>
                </a:custGeom>
                <a:solidFill>
                  <a:srgbClr val="394553"/>
                </a:solidFill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116" name="Forma livre: Forma 1115">
                  <a:extLst>
                    <a:ext uri="{FF2B5EF4-FFF2-40B4-BE49-F238E27FC236}">
                      <a16:creationId xmlns:a16="http://schemas.microsoft.com/office/drawing/2014/main" id="{466E5306-0C59-9012-FD94-F2A582A21926}"/>
                    </a:ext>
                  </a:extLst>
                </p:cNvPr>
                <p:cNvSpPr/>
                <p:nvPr/>
              </p:nvSpPr>
              <p:spPr>
                <a:xfrm>
                  <a:off x="8759063" y="3385331"/>
                  <a:ext cx="10627" cy="10627"/>
                </a:xfrm>
                <a:custGeom>
                  <a:avLst/>
                  <a:gdLst>
                    <a:gd name="connsiteX0" fmla="*/ 10628 w 10627"/>
                    <a:gd name="connsiteY0" fmla="*/ 5314 h 10627"/>
                    <a:gd name="connsiteX1" fmla="*/ 5314 w 10627"/>
                    <a:gd name="connsiteY1" fmla="*/ 10627 h 10627"/>
                    <a:gd name="connsiteX2" fmla="*/ 0 w 10627"/>
                    <a:gd name="connsiteY2" fmla="*/ 5314 h 10627"/>
                    <a:gd name="connsiteX3" fmla="*/ 5314 w 10627"/>
                    <a:gd name="connsiteY3" fmla="*/ 0 h 10627"/>
                    <a:gd name="connsiteX4" fmla="*/ 10628 w 10627"/>
                    <a:gd name="connsiteY4" fmla="*/ 5314 h 1062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0627" h="10627">
                      <a:moveTo>
                        <a:pt x="10628" y="5314"/>
                      </a:moveTo>
                      <a:cubicBezTo>
                        <a:pt x="10628" y="8251"/>
                        <a:pt x="8263" y="10627"/>
                        <a:pt x="5314" y="10627"/>
                      </a:cubicBezTo>
                      <a:cubicBezTo>
                        <a:pt x="2364" y="10627"/>
                        <a:pt x="0" y="8263"/>
                        <a:pt x="0" y="5314"/>
                      </a:cubicBezTo>
                      <a:cubicBezTo>
                        <a:pt x="0" y="2364"/>
                        <a:pt x="2376" y="0"/>
                        <a:pt x="5314" y="0"/>
                      </a:cubicBezTo>
                      <a:cubicBezTo>
                        <a:pt x="8251" y="0"/>
                        <a:pt x="10628" y="2376"/>
                        <a:pt x="10628" y="5314"/>
                      </a:cubicBezTo>
                      <a:close/>
                    </a:path>
                  </a:pathLst>
                </a:custGeom>
                <a:solidFill>
                  <a:srgbClr val="394553"/>
                </a:solidFill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117" name="Forma livre: Forma 1116">
                  <a:extLst>
                    <a:ext uri="{FF2B5EF4-FFF2-40B4-BE49-F238E27FC236}">
                      <a16:creationId xmlns:a16="http://schemas.microsoft.com/office/drawing/2014/main" id="{966B987F-AA51-FB66-8BE2-4AE268461CFA}"/>
                    </a:ext>
                  </a:extLst>
                </p:cNvPr>
                <p:cNvSpPr/>
                <p:nvPr/>
              </p:nvSpPr>
              <p:spPr>
                <a:xfrm>
                  <a:off x="8817085" y="3385331"/>
                  <a:ext cx="10627" cy="10627"/>
                </a:xfrm>
                <a:custGeom>
                  <a:avLst/>
                  <a:gdLst>
                    <a:gd name="connsiteX0" fmla="*/ 10628 w 10627"/>
                    <a:gd name="connsiteY0" fmla="*/ 5314 h 10627"/>
                    <a:gd name="connsiteX1" fmla="*/ 5314 w 10627"/>
                    <a:gd name="connsiteY1" fmla="*/ 10627 h 10627"/>
                    <a:gd name="connsiteX2" fmla="*/ 0 w 10627"/>
                    <a:gd name="connsiteY2" fmla="*/ 5314 h 10627"/>
                    <a:gd name="connsiteX3" fmla="*/ 5314 w 10627"/>
                    <a:gd name="connsiteY3" fmla="*/ 0 h 10627"/>
                    <a:gd name="connsiteX4" fmla="*/ 10628 w 10627"/>
                    <a:gd name="connsiteY4" fmla="*/ 5314 h 1062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0627" h="10627">
                      <a:moveTo>
                        <a:pt x="10628" y="5314"/>
                      </a:moveTo>
                      <a:cubicBezTo>
                        <a:pt x="10628" y="8251"/>
                        <a:pt x="8263" y="10627"/>
                        <a:pt x="5314" y="10627"/>
                      </a:cubicBezTo>
                      <a:cubicBezTo>
                        <a:pt x="2364" y="10627"/>
                        <a:pt x="0" y="8263"/>
                        <a:pt x="0" y="5314"/>
                      </a:cubicBezTo>
                      <a:cubicBezTo>
                        <a:pt x="0" y="2364"/>
                        <a:pt x="2388" y="0"/>
                        <a:pt x="5314" y="0"/>
                      </a:cubicBezTo>
                      <a:cubicBezTo>
                        <a:pt x="8239" y="0"/>
                        <a:pt x="10628" y="2376"/>
                        <a:pt x="10628" y="5314"/>
                      </a:cubicBezTo>
                      <a:close/>
                    </a:path>
                  </a:pathLst>
                </a:custGeom>
                <a:solidFill>
                  <a:srgbClr val="394553"/>
                </a:solidFill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118" name="Forma livre: Forma 1117">
                  <a:extLst>
                    <a:ext uri="{FF2B5EF4-FFF2-40B4-BE49-F238E27FC236}">
                      <a16:creationId xmlns:a16="http://schemas.microsoft.com/office/drawing/2014/main" id="{1F9171D5-EBAB-5466-F57A-D4327C32ECCD}"/>
                    </a:ext>
                  </a:extLst>
                </p:cNvPr>
                <p:cNvSpPr/>
                <p:nvPr/>
              </p:nvSpPr>
              <p:spPr>
                <a:xfrm>
                  <a:off x="8875107" y="3385331"/>
                  <a:ext cx="10627" cy="10627"/>
                </a:xfrm>
                <a:custGeom>
                  <a:avLst/>
                  <a:gdLst>
                    <a:gd name="connsiteX0" fmla="*/ 10628 w 10627"/>
                    <a:gd name="connsiteY0" fmla="*/ 5314 h 10627"/>
                    <a:gd name="connsiteX1" fmla="*/ 5314 w 10627"/>
                    <a:gd name="connsiteY1" fmla="*/ 10627 h 10627"/>
                    <a:gd name="connsiteX2" fmla="*/ 0 w 10627"/>
                    <a:gd name="connsiteY2" fmla="*/ 5314 h 10627"/>
                    <a:gd name="connsiteX3" fmla="*/ 5314 w 10627"/>
                    <a:gd name="connsiteY3" fmla="*/ 0 h 10627"/>
                    <a:gd name="connsiteX4" fmla="*/ 10628 w 10627"/>
                    <a:gd name="connsiteY4" fmla="*/ 5314 h 1062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0627" h="10627">
                      <a:moveTo>
                        <a:pt x="10628" y="5314"/>
                      </a:moveTo>
                      <a:cubicBezTo>
                        <a:pt x="10628" y="8251"/>
                        <a:pt x="8263" y="10627"/>
                        <a:pt x="5314" y="10627"/>
                      </a:cubicBezTo>
                      <a:cubicBezTo>
                        <a:pt x="2364" y="10627"/>
                        <a:pt x="0" y="8263"/>
                        <a:pt x="0" y="5314"/>
                      </a:cubicBezTo>
                      <a:cubicBezTo>
                        <a:pt x="0" y="2364"/>
                        <a:pt x="2388" y="0"/>
                        <a:pt x="5314" y="0"/>
                      </a:cubicBezTo>
                      <a:cubicBezTo>
                        <a:pt x="8239" y="0"/>
                        <a:pt x="10628" y="2376"/>
                        <a:pt x="10628" y="5314"/>
                      </a:cubicBezTo>
                      <a:close/>
                    </a:path>
                  </a:pathLst>
                </a:custGeom>
                <a:solidFill>
                  <a:srgbClr val="394553"/>
                </a:solidFill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119" name="Forma livre: Forma 1118">
                  <a:extLst>
                    <a:ext uri="{FF2B5EF4-FFF2-40B4-BE49-F238E27FC236}">
                      <a16:creationId xmlns:a16="http://schemas.microsoft.com/office/drawing/2014/main" id="{547CC704-1B3C-DA6F-F056-06F5E31E80FA}"/>
                    </a:ext>
                  </a:extLst>
                </p:cNvPr>
                <p:cNvSpPr/>
                <p:nvPr/>
              </p:nvSpPr>
              <p:spPr>
                <a:xfrm>
                  <a:off x="8933117" y="3385331"/>
                  <a:ext cx="10627" cy="10627"/>
                </a:xfrm>
                <a:custGeom>
                  <a:avLst/>
                  <a:gdLst>
                    <a:gd name="connsiteX0" fmla="*/ 10628 w 10627"/>
                    <a:gd name="connsiteY0" fmla="*/ 5314 h 10627"/>
                    <a:gd name="connsiteX1" fmla="*/ 5314 w 10627"/>
                    <a:gd name="connsiteY1" fmla="*/ 10627 h 10627"/>
                    <a:gd name="connsiteX2" fmla="*/ 0 w 10627"/>
                    <a:gd name="connsiteY2" fmla="*/ 5314 h 10627"/>
                    <a:gd name="connsiteX3" fmla="*/ 5314 w 10627"/>
                    <a:gd name="connsiteY3" fmla="*/ 0 h 10627"/>
                    <a:gd name="connsiteX4" fmla="*/ 10628 w 10627"/>
                    <a:gd name="connsiteY4" fmla="*/ 5314 h 1062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0627" h="10627">
                      <a:moveTo>
                        <a:pt x="10628" y="5314"/>
                      </a:moveTo>
                      <a:cubicBezTo>
                        <a:pt x="10628" y="8251"/>
                        <a:pt x="8263" y="10627"/>
                        <a:pt x="5314" y="10627"/>
                      </a:cubicBezTo>
                      <a:cubicBezTo>
                        <a:pt x="2364" y="10627"/>
                        <a:pt x="0" y="8263"/>
                        <a:pt x="0" y="5314"/>
                      </a:cubicBezTo>
                      <a:cubicBezTo>
                        <a:pt x="0" y="2364"/>
                        <a:pt x="2376" y="0"/>
                        <a:pt x="5314" y="0"/>
                      </a:cubicBezTo>
                      <a:cubicBezTo>
                        <a:pt x="8251" y="0"/>
                        <a:pt x="10628" y="2376"/>
                        <a:pt x="10628" y="5314"/>
                      </a:cubicBezTo>
                      <a:close/>
                    </a:path>
                  </a:pathLst>
                </a:custGeom>
                <a:solidFill>
                  <a:srgbClr val="394553"/>
                </a:solidFill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sp>
          <p:nvSpPr>
            <p:cNvPr id="1120" name="Forma livre: Forma 1119">
              <a:extLst>
                <a:ext uri="{FF2B5EF4-FFF2-40B4-BE49-F238E27FC236}">
                  <a16:creationId xmlns:a16="http://schemas.microsoft.com/office/drawing/2014/main" id="{408B4AB7-8342-4B63-BDF9-16431A09810F}"/>
                </a:ext>
              </a:extLst>
            </p:cNvPr>
            <p:cNvSpPr/>
            <p:nvPr/>
          </p:nvSpPr>
          <p:spPr>
            <a:xfrm>
              <a:off x="8918991" y="3230264"/>
              <a:ext cx="1194" cy="128450"/>
            </a:xfrm>
            <a:custGeom>
              <a:avLst/>
              <a:gdLst>
                <a:gd name="connsiteX0" fmla="*/ 0 w 1194"/>
                <a:gd name="connsiteY0" fmla="*/ 0 h 128450"/>
                <a:gd name="connsiteX1" fmla="*/ 0 w 1194"/>
                <a:gd name="connsiteY1" fmla="*/ 128450 h 128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94" h="128450">
                  <a:moveTo>
                    <a:pt x="0" y="0"/>
                  </a:moveTo>
                  <a:lnTo>
                    <a:pt x="0" y="12845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121" name="Gráfico 10">
              <a:extLst>
                <a:ext uri="{FF2B5EF4-FFF2-40B4-BE49-F238E27FC236}">
                  <a16:creationId xmlns:a16="http://schemas.microsoft.com/office/drawing/2014/main" id="{0D3690E9-28FD-4344-AF32-BABB80B9E1A8}"/>
                </a:ext>
              </a:extLst>
            </p:cNvPr>
            <p:cNvGrpSpPr/>
            <p:nvPr/>
          </p:nvGrpSpPr>
          <p:grpSpPr>
            <a:xfrm>
              <a:off x="8868492" y="3129970"/>
              <a:ext cx="101009" cy="101033"/>
              <a:chOff x="8868492" y="3129970"/>
              <a:chExt cx="101009" cy="101033"/>
            </a:xfrm>
            <a:noFill/>
          </p:grpSpPr>
          <p:sp>
            <p:nvSpPr>
              <p:cNvPr id="1122" name="Forma livre: Forma 1121">
                <a:extLst>
                  <a:ext uri="{FF2B5EF4-FFF2-40B4-BE49-F238E27FC236}">
                    <a16:creationId xmlns:a16="http://schemas.microsoft.com/office/drawing/2014/main" id="{84384529-507C-4828-2019-BD0437F37798}"/>
                  </a:ext>
                </a:extLst>
              </p:cNvPr>
              <p:cNvSpPr/>
              <p:nvPr/>
            </p:nvSpPr>
            <p:spPr>
              <a:xfrm>
                <a:off x="8868492" y="3129970"/>
                <a:ext cx="101009" cy="101033"/>
              </a:xfrm>
              <a:custGeom>
                <a:avLst/>
                <a:gdLst>
                  <a:gd name="connsiteX0" fmla="*/ 0 w 101009"/>
                  <a:gd name="connsiteY0" fmla="*/ 50523 h 101033"/>
                  <a:gd name="connsiteX1" fmla="*/ 50523 w 101009"/>
                  <a:gd name="connsiteY1" fmla="*/ 101034 h 101033"/>
                  <a:gd name="connsiteX2" fmla="*/ 101010 w 101009"/>
                  <a:gd name="connsiteY2" fmla="*/ 50523 h 101033"/>
                  <a:gd name="connsiteX3" fmla="*/ 50523 w 101009"/>
                  <a:gd name="connsiteY3" fmla="*/ 0 h 101033"/>
                  <a:gd name="connsiteX4" fmla="*/ 0 w 101009"/>
                  <a:gd name="connsiteY4" fmla="*/ 50523 h 101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01009" h="101033">
                    <a:moveTo>
                      <a:pt x="0" y="50523"/>
                    </a:moveTo>
                    <a:cubicBezTo>
                      <a:pt x="0" y="78429"/>
                      <a:pt x="22616" y="101034"/>
                      <a:pt x="50523" y="101034"/>
                    </a:cubicBezTo>
                    <a:cubicBezTo>
                      <a:pt x="78429" y="101034"/>
                      <a:pt x="101010" y="78417"/>
                      <a:pt x="101010" y="50523"/>
                    </a:cubicBezTo>
                    <a:cubicBezTo>
                      <a:pt x="101010" y="22628"/>
                      <a:pt x="78381" y="0"/>
                      <a:pt x="50523" y="0"/>
                    </a:cubicBezTo>
                    <a:cubicBezTo>
                      <a:pt x="22664" y="0"/>
                      <a:pt x="0" y="22617"/>
                      <a:pt x="0" y="50523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123" name="Forma livre: Forma 1122">
                <a:extLst>
                  <a:ext uri="{FF2B5EF4-FFF2-40B4-BE49-F238E27FC236}">
                    <a16:creationId xmlns:a16="http://schemas.microsoft.com/office/drawing/2014/main" id="{981F2737-EC65-614A-7759-9515C3FB5709}"/>
                  </a:ext>
                </a:extLst>
              </p:cNvPr>
              <p:cNvSpPr/>
              <p:nvPr/>
            </p:nvSpPr>
            <p:spPr>
              <a:xfrm>
                <a:off x="8919397" y="3164421"/>
                <a:ext cx="21696" cy="16060"/>
              </a:xfrm>
              <a:custGeom>
                <a:avLst/>
                <a:gdLst>
                  <a:gd name="connsiteX0" fmla="*/ 0 w 21696"/>
                  <a:gd name="connsiteY0" fmla="*/ 16061 h 16060"/>
                  <a:gd name="connsiteX1" fmla="*/ 21697 w 21696"/>
                  <a:gd name="connsiteY1" fmla="*/ 0 h 160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1696" h="16060">
                    <a:moveTo>
                      <a:pt x="0" y="16061"/>
                    </a:moveTo>
                    <a:lnTo>
                      <a:pt x="21697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124" name="Gráfico 10">
              <a:extLst>
                <a:ext uri="{FF2B5EF4-FFF2-40B4-BE49-F238E27FC236}">
                  <a16:creationId xmlns:a16="http://schemas.microsoft.com/office/drawing/2014/main" id="{CB8AE7A7-AAF5-6C0A-0D26-78AC2F78D709}"/>
                </a:ext>
              </a:extLst>
            </p:cNvPr>
            <p:cNvGrpSpPr/>
            <p:nvPr/>
          </p:nvGrpSpPr>
          <p:grpSpPr>
            <a:xfrm>
              <a:off x="8725784" y="3248940"/>
              <a:ext cx="92830" cy="60983"/>
              <a:chOff x="8725784" y="3248940"/>
              <a:chExt cx="92830" cy="60983"/>
            </a:xfrm>
          </p:grpSpPr>
          <p:sp>
            <p:nvSpPr>
              <p:cNvPr id="1125" name="Forma livre: Forma 1124">
                <a:extLst>
                  <a:ext uri="{FF2B5EF4-FFF2-40B4-BE49-F238E27FC236}">
                    <a16:creationId xmlns:a16="http://schemas.microsoft.com/office/drawing/2014/main" id="{9D4FC750-7695-8C35-1D55-5C25781DD94D}"/>
                  </a:ext>
                </a:extLst>
              </p:cNvPr>
              <p:cNvSpPr/>
              <p:nvPr/>
            </p:nvSpPr>
            <p:spPr>
              <a:xfrm>
                <a:off x="8725784" y="3248940"/>
                <a:ext cx="1194" cy="60983"/>
              </a:xfrm>
              <a:custGeom>
                <a:avLst/>
                <a:gdLst>
                  <a:gd name="connsiteX0" fmla="*/ 0 w 1194"/>
                  <a:gd name="connsiteY0" fmla="*/ 0 h 60983"/>
                  <a:gd name="connsiteX1" fmla="*/ 0 w 1194"/>
                  <a:gd name="connsiteY1" fmla="*/ 60983 h 609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4" h="60983">
                    <a:moveTo>
                      <a:pt x="0" y="0"/>
                    </a:moveTo>
                    <a:lnTo>
                      <a:pt x="0" y="60983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126" name="Forma livre: Forma 1125">
                <a:extLst>
                  <a:ext uri="{FF2B5EF4-FFF2-40B4-BE49-F238E27FC236}">
                    <a16:creationId xmlns:a16="http://schemas.microsoft.com/office/drawing/2014/main" id="{C25EBCFA-67DB-0E64-62A0-2CFD9B8B7571}"/>
                  </a:ext>
                </a:extLst>
              </p:cNvPr>
              <p:cNvSpPr/>
              <p:nvPr/>
            </p:nvSpPr>
            <p:spPr>
              <a:xfrm>
                <a:off x="8818614" y="3248940"/>
                <a:ext cx="1194" cy="60983"/>
              </a:xfrm>
              <a:custGeom>
                <a:avLst/>
                <a:gdLst>
                  <a:gd name="connsiteX0" fmla="*/ 0 w 1194"/>
                  <a:gd name="connsiteY0" fmla="*/ 0 h 60983"/>
                  <a:gd name="connsiteX1" fmla="*/ 0 w 1194"/>
                  <a:gd name="connsiteY1" fmla="*/ 60983 h 609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4" h="60983">
                    <a:moveTo>
                      <a:pt x="0" y="0"/>
                    </a:moveTo>
                    <a:lnTo>
                      <a:pt x="0" y="60983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127" name="Gráfico 10">
            <a:extLst>
              <a:ext uri="{FF2B5EF4-FFF2-40B4-BE49-F238E27FC236}">
                <a16:creationId xmlns:a16="http://schemas.microsoft.com/office/drawing/2014/main" id="{0EA6E3EC-4D7B-0A28-B06E-3D47DD742221}"/>
              </a:ext>
            </a:extLst>
          </p:cNvPr>
          <p:cNvGrpSpPr/>
          <p:nvPr/>
        </p:nvGrpSpPr>
        <p:grpSpPr>
          <a:xfrm>
            <a:off x="8703525" y="2052549"/>
            <a:ext cx="246368" cy="320284"/>
            <a:chOff x="8703525" y="2052549"/>
            <a:chExt cx="246368" cy="320284"/>
          </a:xfrm>
          <a:noFill/>
        </p:grpSpPr>
        <p:grpSp>
          <p:nvGrpSpPr>
            <p:cNvPr id="1128" name="Gráfico 10">
              <a:extLst>
                <a:ext uri="{FF2B5EF4-FFF2-40B4-BE49-F238E27FC236}">
                  <a16:creationId xmlns:a16="http://schemas.microsoft.com/office/drawing/2014/main" id="{3BC35C05-5775-2DF4-15F2-C068540E8A21}"/>
                </a:ext>
              </a:extLst>
            </p:cNvPr>
            <p:cNvGrpSpPr/>
            <p:nvPr/>
          </p:nvGrpSpPr>
          <p:grpSpPr>
            <a:xfrm>
              <a:off x="8703525" y="2136841"/>
              <a:ext cx="194030" cy="235991"/>
              <a:chOff x="8703525" y="2136841"/>
              <a:chExt cx="194030" cy="235991"/>
            </a:xfrm>
            <a:noFill/>
          </p:grpSpPr>
          <p:sp>
            <p:nvSpPr>
              <p:cNvPr id="1129" name="Forma livre: Forma 1128">
                <a:extLst>
                  <a:ext uri="{FF2B5EF4-FFF2-40B4-BE49-F238E27FC236}">
                    <a16:creationId xmlns:a16="http://schemas.microsoft.com/office/drawing/2014/main" id="{68949C25-8752-A51F-FC79-3CD61D5706E9}"/>
                  </a:ext>
                </a:extLst>
              </p:cNvPr>
              <p:cNvSpPr/>
              <p:nvPr/>
            </p:nvSpPr>
            <p:spPr>
              <a:xfrm>
                <a:off x="8762873" y="2338479"/>
                <a:ext cx="75348" cy="1194"/>
              </a:xfrm>
              <a:custGeom>
                <a:avLst/>
                <a:gdLst>
                  <a:gd name="connsiteX0" fmla="*/ 0 w 75348"/>
                  <a:gd name="connsiteY0" fmla="*/ 0 h 1194"/>
                  <a:gd name="connsiteX1" fmla="*/ 75348 w 75348"/>
                  <a:gd name="connsiteY1" fmla="*/ 0 h 11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75348" h="1194">
                    <a:moveTo>
                      <a:pt x="0" y="0"/>
                    </a:moveTo>
                    <a:lnTo>
                      <a:pt x="75348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130" name="Forma livre: Forma 1129">
                <a:extLst>
                  <a:ext uri="{FF2B5EF4-FFF2-40B4-BE49-F238E27FC236}">
                    <a16:creationId xmlns:a16="http://schemas.microsoft.com/office/drawing/2014/main" id="{B69CE3E4-986D-B8EE-3F7F-F09F12CF38A5}"/>
                  </a:ext>
                </a:extLst>
              </p:cNvPr>
              <p:cNvSpPr/>
              <p:nvPr/>
            </p:nvSpPr>
            <p:spPr>
              <a:xfrm>
                <a:off x="8703525" y="2136841"/>
                <a:ext cx="194030" cy="235991"/>
              </a:xfrm>
              <a:custGeom>
                <a:avLst/>
                <a:gdLst>
                  <a:gd name="connsiteX0" fmla="*/ 0 w 194030"/>
                  <a:gd name="connsiteY0" fmla="*/ 0 h 235991"/>
                  <a:gd name="connsiteX1" fmla="*/ 194031 w 194030"/>
                  <a:gd name="connsiteY1" fmla="*/ 0 h 235991"/>
                  <a:gd name="connsiteX2" fmla="*/ 194031 w 194030"/>
                  <a:gd name="connsiteY2" fmla="*/ 235992 h 235991"/>
                  <a:gd name="connsiteX3" fmla="*/ 0 w 194030"/>
                  <a:gd name="connsiteY3" fmla="*/ 235992 h 2359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94030" h="235991">
                    <a:moveTo>
                      <a:pt x="0" y="0"/>
                    </a:moveTo>
                    <a:lnTo>
                      <a:pt x="194031" y="0"/>
                    </a:lnTo>
                    <a:lnTo>
                      <a:pt x="194031" y="235992"/>
                    </a:lnTo>
                    <a:lnTo>
                      <a:pt x="0" y="235992"/>
                    </a:ln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1131" name="Gráfico 10">
                <a:extLst>
                  <a:ext uri="{FF2B5EF4-FFF2-40B4-BE49-F238E27FC236}">
                    <a16:creationId xmlns:a16="http://schemas.microsoft.com/office/drawing/2014/main" id="{244BAECF-C7A2-B5F7-6354-99BBB3B8D484}"/>
                  </a:ext>
                </a:extLst>
              </p:cNvPr>
              <p:cNvGrpSpPr/>
              <p:nvPr/>
            </p:nvGrpSpPr>
            <p:grpSpPr>
              <a:xfrm>
                <a:off x="8732029" y="2168844"/>
                <a:ext cx="137024" cy="137024"/>
                <a:chOff x="8732029" y="2168844"/>
                <a:chExt cx="137024" cy="137024"/>
              </a:xfrm>
              <a:noFill/>
            </p:grpSpPr>
            <p:sp>
              <p:nvSpPr>
                <p:cNvPr id="1132" name="Forma livre: Forma 1131">
                  <a:extLst>
                    <a:ext uri="{FF2B5EF4-FFF2-40B4-BE49-F238E27FC236}">
                      <a16:creationId xmlns:a16="http://schemas.microsoft.com/office/drawing/2014/main" id="{9A38FD68-B592-7BE2-DE8D-8C0006A85176}"/>
                    </a:ext>
                  </a:extLst>
                </p:cNvPr>
                <p:cNvSpPr/>
                <p:nvPr/>
              </p:nvSpPr>
              <p:spPr>
                <a:xfrm>
                  <a:off x="8800535" y="2168844"/>
                  <a:ext cx="1194" cy="137024"/>
                </a:xfrm>
                <a:custGeom>
                  <a:avLst/>
                  <a:gdLst>
                    <a:gd name="connsiteX0" fmla="*/ 0 w 1194"/>
                    <a:gd name="connsiteY0" fmla="*/ 137024 h 137024"/>
                    <a:gd name="connsiteX1" fmla="*/ 0 w 1194"/>
                    <a:gd name="connsiteY1" fmla="*/ 0 h 13702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194" h="137024">
                      <a:moveTo>
                        <a:pt x="0" y="137024"/>
                      </a:moveTo>
                      <a:lnTo>
                        <a:pt x="0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133" name="Forma livre: Forma 1132">
                  <a:extLst>
                    <a:ext uri="{FF2B5EF4-FFF2-40B4-BE49-F238E27FC236}">
                      <a16:creationId xmlns:a16="http://schemas.microsoft.com/office/drawing/2014/main" id="{C3F8792A-D81F-E7BB-9F2A-91E5DA5721B0}"/>
                    </a:ext>
                  </a:extLst>
                </p:cNvPr>
                <p:cNvSpPr/>
                <p:nvPr/>
              </p:nvSpPr>
              <p:spPr>
                <a:xfrm>
                  <a:off x="8732029" y="2238102"/>
                  <a:ext cx="137024" cy="1194"/>
                </a:xfrm>
                <a:custGeom>
                  <a:avLst/>
                  <a:gdLst>
                    <a:gd name="connsiteX0" fmla="*/ 137024 w 137024"/>
                    <a:gd name="connsiteY0" fmla="*/ 0 h 1194"/>
                    <a:gd name="connsiteX1" fmla="*/ 0 w 137024"/>
                    <a:gd name="connsiteY1" fmla="*/ 0 h 119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37024" h="1194">
                      <a:moveTo>
                        <a:pt x="137024" y="0"/>
                      </a:moveTo>
                      <a:lnTo>
                        <a:pt x="0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134" name="Forma livre: Forma 1133">
                  <a:extLst>
                    <a:ext uri="{FF2B5EF4-FFF2-40B4-BE49-F238E27FC236}">
                      <a16:creationId xmlns:a16="http://schemas.microsoft.com/office/drawing/2014/main" id="{3B786028-2B1E-5861-5AFC-1D265C34DBB3}"/>
                    </a:ext>
                  </a:extLst>
                </p:cNvPr>
                <p:cNvSpPr/>
                <p:nvPr/>
              </p:nvSpPr>
              <p:spPr>
                <a:xfrm>
                  <a:off x="8765919" y="2171590"/>
                  <a:ext cx="29194" cy="131949"/>
                </a:xfrm>
                <a:custGeom>
                  <a:avLst/>
                  <a:gdLst>
                    <a:gd name="connsiteX0" fmla="*/ 29195 w 29194"/>
                    <a:gd name="connsiteY0" fmla="*/ 0 h 131949"/>
                    <a:gd name="connsiteX1" fmla="*/ 29195 w 29194"/>
                    <a:gd name="connsiteY1" fmla="*/ 131949 h 13194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9194" h="131949">
                      <a:moveTo>
                        <a:pt x="29195" y="0"/>
                      </a:moveTo>
                      <a:cubicBezTo>
                        <a:pt x="29195" y="0"/>
                        <a:pt x="-36493" y="56983"/>
                        <a:pt x="29195" y="131949"/>
                      </a:cubicBez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135" name="Forma livre: Forma 1134">
                  <a:extLst>
                    <a:ext uri="{FF2B5EF4-FFF2-40B4-BE49-F238E27FC236}">
                      <a16:creationId xmlns:a16="http://schemas.microsoft.com/office/drawing/2014/main" id="{7CE99FE5-988F-F601-F5A2-3D4983C4CA39}"/>
                    </a:ext>
                  </a:extLst>
                </p:cNvPr>
                <p:cNvSpPr/>
                <p:nvPr/>
              </p:nvSpPr>
              <p:spPr>
                <a:xfrm>
                  <a:off x="8805968" y="2171590"/>
                  <a:ext cx="29199" cy="131949"/>
                </a:xfrm>
                <a:custGeom>
                  <a:avLst/>
                  <a:gdLst>
                    <a:gd name="connsiteX0" fmla="*/ 0 w 29199"/>
                    <a:gd name="connsiteY0" fmla="*/ 0 h 131949"/>
                    <a:gd name="connsiteX1" fmla="*/ 0 w 29199"/>
                    <a:gd name="connsiteY1" fmla="*/ 131949 h 13194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9199" h="131949">
                      <a:moveTo>
                        <a:pt x="0" y="0"/>
                      </a:moveTo>
                      <a:cubicBezTo>
                        <a:pt x="0" y="0"/>
                        <a:pt x="65700" y="56983"/>
                        <a:pt x="0" y="131949"/>
                      </a:cubicBez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136" name="Forma livre: Forma 1135">
                  <a:extLst>
                    <a:ext uri="{FF2B5EF4-FFF2-40B4-BE49-F238E27FC236}">
                      <a16:creationId xmlns:a16="http://schemas.microsoft.com/office/drawing/2014/main" id="{B19DF575-0982-54FC-4E56-628C30F0B650}"/>
                    </a:ext>
                  </a:extLst>
                </p:cNvPr>
                <p:cNvSpPr/>
                <p:nvPr/>
              </p:nvSpPr>
              <p:spPr>
                <a:xfrm>
                  <a:off x="8732960" y="2170503"/>
                  <a:ext cx="135149" cy="135125"/>
                </a:xfrm>
                <a:custGeom>
                  <a:avLst/>
                  <a:gdLst>
                    <a:gd name="connsiteX0" fmla="*/ 135149 w 135149"/>
                    <a:gd name="connsiteY0" fmla="*/ 67563 h 135125"/>
                    <a:gd name="connsiteX1" fmla="*/ 67575 w 135149"/>
                    <a:gd name="connsiteY1" fmla="*/ 135125 h 135125"/>
                    <a:gd name="connsiteX2" fmla="*/ 0 w 135149"/>
                    <a:gd name="connsiteY2" fmla="*/ 67563 h 135125"/>
                    <a:gd name="connsiteX3" fmla="*/ 67575 w 135149"/>
                    <a:gd name="connsiteY3" fmla="*/ 0 h 135125"/>
                    <a:gd name="connsiteX4" fmla="*/ 135149 w 135149"/>
                    <a:gd name="connsiteY4" fmla="*/ 67563 h 13512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35149" h="135125">
                      <a:moveTo>
                        <a:pt x="135149" y="67563"/>
                      </a:moveTo>
                      <a:cubicBezTo>
                        <a:pt x="135149" y="104877"/>
                        <a:pt x="104895" y="135125"/>
                        <a:pt x="67575" y="135125"/>
                      </a:cubicBezTo>
                      <a:cubicBezTo>
                        <a:pt x="30254" y="135125"/>
                        <a:pt x="0" y="104877"/>
                        <a:pt x="0" y="67563"/>
                      </a:cubicBezTo>
                      <a:cubicBezTo>
                        <a:pt x="0" y="30249"/>
                        <a:pt x="30254" y="0"/>
                        <a:pt x="67575" y="0"/>
                      </a:cubicBezTo>
                      <a:cubicBezTo>
                        <a:pt x="104895" y="0"/>
                        <a:pt x="135149" y="30249"/>
                        <a:pt x="135149" y="67563"/>
                      </a:cubicBezTo>
                      <a:close/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grpSp>
          <p:nvGrpSpPr>
            <p:cNvPr id="1137" name="Gráfico 10">
              <a:extLst>
                <a:ext uri="{FF2B5EF4-FFF2-40B4-BE49-F238E27FC236}">
                  <a16:creationId xmlns:a16="http://schemas.microsoft.com/office/drawing/2014/main" id="{B26A9CB2-5AF9-A1E3-292E-2A715B8823E9}"/>
                </a:ext>
              </a:extLst>
            </p:cNvPr>
            <p:cNvGrpSpPr/>
            <p:nvPr/>
          </p:nvGrpSpPr>
          <p:grpSpPr>
            <a:xfrm>
              <a:off x="8799711" y="2052549"/>
              <a:ext cx="150183" cy="320284"/>
              <a:chOff x="8799711" y="2052549"/>
              <a:chExt cx="150183" cy="320284"/>
            </a:xfrm>
            <a:noFill/>
          </p:grpSpPr>
          <p:grpSp>
            <p:nvGrpSpPr>
              <p:cNvPr id="1138" name="Gráfico 10">
                <a:extLst>
                  <a:ext uri="{FF2B5EF4-FFF2-40B4-BE49-F238E27FC236}">
                    <a16:creationId xmlns:a16="http://schemas.microsoft.com/office/drawing/2014/main" id="{1B7291BD-6D0A-3AD6-5433-59BF587E0E5A}"/>
                  </a:ext>
                </a:extLst>
              </p:cNvPr>
              <p:cNvGrpSpPr/>
              <p:nvPr/>
            </p:nvGrpSpPr>
            <p:grpSpPr>
              <a:xfrm>
                <a:off x="8840836" y="2111502"/>
                <a:ext cx="108938" cy="1194"/>
                <a:chOff x="8840836" y="2111502"/>
                <a:chExt cx="108938" cy="1194"/>
              </a:xfrm>
            </p:grpSpPr>
            <p:sp>
              <p:nvSpPr>
                <p:cNvPr id="1139" name="Forma livre: Forma 1138">
                  <a:extLst>
                    <a:ext uri="{FF2B5EF4-FFF2-40B4-BE49-F238E27FC236}">
                      <a16:creationId xmlns:a16="http://schemas.microsoft.com/office/drawing/2014/main" id="{94552C48-DC35-E183-2A81-17A8D1DD287B}"/>
                    </a:ext>
                  </a:extLst>
                </p:cNvPr>
                <p:cNvSpPr/>
                <p:nvPr/>
              </p:nvSpPr>
              <p:spPr>
                <a:xfrm>
                  <a:off x="8840836" y="2111502"/>
                  <a:ext cx="23882" cy="1194"/>
                </a:xfrm>
                <a:custGeom>
                  <a:avLst/>
                  <a:gdLst>
                    <a:gd name="connsiteX0" fmla="*/ 0 w 23882"/>
                    <a:gd name="connsiteY0" fmla="*/ 0 h 1194"/>
                    <a:gd name="connsiteX1" fmla="*/ 23882 w 23882"/>
                    <a:gd name="connsiteY1" fmla="*/ 0 h 119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3882" h="1194">
                      <a:moveTo>
                        <a:pt x="0" y="0"/>
                      </a:moveTo>
                      <a:lnTo>
                        <a:pt x="23882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140" name="Forma livre: Forma 1139">
                  <a:extLst>
                    <a:ext uri="{FF2B5EF4-FFF2-40B4-BE49-F238E27FC236}">
                      <a16:creationId xmlns:a16="http://schemas.microsoft.com/office/drawing/2014/main" id="{F7AC4BDC-A168-AC12-48F2-E3983E299E42}"/>
                    </a:ext>
                  </a:extLst>
                </p:cNvPr>
                <p:cNvSpPr/>
                <p:nvPr/>
              </p:nvSpPr>
              <p:spPr>
                <a:xfrm>
                  <a:off x="8883836" y="2111502"/>
                  <a:ext cx="23882" cy="1194"/>
                </a:xfrm>
                <a:custGeom>
                  <a:avLst/>
                  <a:gdLst>
                    <a:gd name="connsiteX0" fmla="*/ 0 w 23882"/>
                    <a:gd name="connsiteY0" fmla="*/ 0 h 1194"/>
                    <a:gd name="connsiteX1" fmla="*/ 23882 w 23882"/>
                    <a:gd name="connsiteY1" fmla="*/ 0 h 119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3882" h="1194">
                      <a:moveTo>
                        <a:pt x="0" y="0"/>
                      </a:moveTo>
                      <a:lnTo>
                        <a:pt x="23882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141" name="Forma livre: Forma 1140">
                  <a:extLst>
                    <a:ext uri="{FF2B5EF4-FFF2-40B4-BE49-F238E27FC236}">
                      <a16:creationId xmlns:a16="http://schemas.microsoft.com/office/drawing/2014/main" id="{FFE51ACB-E5BE-D3C5-A0A6-374207D98DAA}"/>
                    </a:ext>
                  </a:extLst>
                </p:cNvPr>
                <p:cNvSpPr/>
                <p:nvPr/>
              </p:nvSpPr>
              <p:spPr>
                <a:xfrm>
                  <a:off x="8926824" y="2111502"/>
                  <a:ext cx="22950" cy="1194"/>
                </a:xfrm>
                <a:custGeom>
                  <a:avLst/>
                  <a:gdLst>
                    <a:gd name="connsiteX0" fmla="*/ 0 w 22950"/>
                    <a:gd name="connsiteY0" fmla="*/ 0 h 1194"/>
                    <a:gd name="connsiteX1" fmla="*/ 22951 w 22950"/>
                    <a:gd name="connsiteY1" fmla="*/ 0 h 119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2950" h="1194">
                      <a:moveTo>
                        <a:pt x="0" y="0"/>
                      </a:moveTo>
                      <a:lnTo>
                        <a:pt x="22951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1142" name="Forma livre: Forma 1141">
                <a:extLst>
                  <a:ext uri="{FF2B5EF4-FFF2-40B4-BE49-F238E27FC236}">
                    <a16:creationId xmlns:a16="http://schemas.microsoft.com/office/drawing/2014/main" id="{B8645435-8527-D0D0-4569-8555874D439F}"/>
                  </a:ext>
                </a:extLst>
              </p:cNvPr>
              <p:cNvSpPr/>
              <p:nvPr/>
            </p:nvSpPr>
            <p:spPr>
              <a:xfrm>
                <a:off x="8799711" y="2052549"/>
                <a:ext cx="150183" cy="320284"/>
              </a:xfrm>
              <a:custGeom>
                <a:avLst/>
                <a:gdLst>
                  <a:gd name="connsiteX0" fmla="*/ 22019 w 150183"/>
                  <a:gd name="connsiteY0" fmla="*/ 58953 h 320284"/>
                  <a:gd name="connsiteX1" fmla="*/ 0 w 150183"/>
                  <a:gd name="connsiteY1" fmla="*/ 58953 h 320284"/>
                  <a:gd name="connsiteX2" fmla="*/ 0 w 150183"/>
                  <a:gd name="connsiteY2" fmla="*/ 22987 h 320284"/>
                  <a:gd name="connsiteX3" fmla="*/ 22987 w 150183"/>
                  <a:gd name="connsiteY3" fmla="*/ 0 h 320284"/>
                  <a:gd name="connsiteX4" fmla="*/ 127197 w 150183"/>
                  <a:gd name="connsiteY4" fmla="*/ 0 h 320284"/>
                  <a:gd name="connsiteX5" fmla="*/ 150183 w 150183"/>
                  <a:gd name="connsiteY5" fmla="*/ 22987 h 320284"/>
                  <a:gd name="connsiteX6" fmla="*/ 150183 w 150183"/>
                  <a:gd name="connsiteY6" fmla="*/ 297298 h 320284"/>
                  <a:gd name="connsiteX7" fmla="*/ 127197 w 150183"/>
                  <a:gd name="connsiteY7" fmla="*/ 320284 h 320284"/>
                  <a:gd name="connsiteX8" fmla="*/ 118695 w 150183"/>
                  <a:gd name="connsiteY8" fmla="*/ 320284 h 3202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50183" h="320284">
                    <a:moveTo>
                      <a:pt x="22019" y="58953"/>
                    </a:moveTo>
                    <a:lnTo>
                      <a:pt x="0" y="58953"/>
                    </a:lnTo>
                    <a:lnTo>
                      <a:pt x="0" y="22987"/>
                    </a:lnTo>
                    <a:cubicBezTo>
                      <a:pt x="0" y="10341"/>
                      <a:pt x="10341" y="0"/>
                      <a:pt x="22987" y="0"/>
                    </a:cubicBezTo>
                    <a:lnTo>
                      <a:pt x="127197" y="0"/>
                    </a:lnTo>
                    <a:cubicBezTo>
                      <a:pt x="139842" y="0"/>
                      <a:pt x="150183" y="10341"/>
                      <a:pt x="150183" y="22987"/>
                    </a:cubicBezTo>
                    <a:lnTo>
                      <a:pt x="150183" y="297298"/>
                    </a:lnTo>
                    <a:cubicBezTo>
                      <a:pt x="150183" y="309943"/>
                      <a:pt x="139842" y="320284"/>
                      <a:pt x="127197" y="320284"/>
                    </a:cubicBezTo>
                    <a:lnTo>
                      <a:pt x="118695" y="320284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143" name="Gráfico 10">
            <a:extLst>
              <a:ext uri="{FF2B5EF4-FFF2-40B4-BE49-F238E27FC236}">
                <a16:creationId xmlns:a16="http://schemas.microsoft.com/office/drawing/2014/main" id="{20076F94-969D-647E-C8C5-B55285E4330D}"/>
              </a:ext>
            </a:extLst>
          </p:cNvPr>
          <p:cNvGrpSpPr/>
          <p:nvPr/>
        </p:nvGrpSpPr>
        <p:grpSpPr>
          <a:xfrm>
            <a:off x="9305034" y="987043"/>
            <a:ext cx="288783" cy="325361"/>
            <a:chOff x="9305034" y="987043"/>
            <a:chExt cx="288783" cy="325361"/>
          </a:xfrm>
        </p:grpSpPr>
        <p:sp>
          <p:nvSpPr>
            <p:cNvPr id="1144" name="Forma livre: Forma 1143">
              <a:extLst>
                <a:ext uri="{FF2B5EF4-FFF2-40B4-BE49-F238E27FC236}">
                  <a16:creationId xmlns:a16="http://schemas.microsoft.com/office/drawing/2014/main" id="{3572F6A3-E460-31BA-8EF6-249D5B6FBDD5}"/>
                </a:ext>
              </a:extLst>
            </p:cNvPr>
            <p:cNvSpPr/>
            <p:nvPr/>
          </p:nvSpPr>
          <p:spPr>
            <a:xfrm>
              <a:off x="9361399" y="987043"/>
              <a:ext cx="160521" cy="105825"/>
            </a:xfrm>
            <a:custGeom>
              <a:avLst/>
              <a:gdLst>
                <a:gd name="connsiteX0" fmla="*/ 160521 w 160521"/>
                <a:gd name="connsiteY0" fmla="*/ 103866 h 105825"/>
                <a:gd name="connsiteX1" fmla="*/ 64933 w 160521"/>
                <a:gd name="connsiteY1" fmla="*/ 80557 h 105825"/>
                <a:gd name="connsiteX2" fmla="*/ 1573 w 160521"/>
                <a:gd name="connsiteY2" fmla="*/ 6570 h 105825"/>
                <a:gd name="connsiteX3" fmla="*/ 84289 w 160521"/>
                <a:gd name="connsiteY3" fmla="*/ 21687 h 1058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60521" h="105825">
                  <a:moveTo>
                    <a:pt x="160521" y="103866"/>
                  </a:moveTo>
                  <a:cubicBezTo>
                    <a:pt x="142992" y="108272"/>
                    <a:pt x="108637" y="107102"/>
                    <a:pt x="64933" y="80557"/>
                  </a:cubicBezTo>
                  <a:cubicBezTo>
                    <a:pt x="21240" y="54024"/>
                    <a:pt x="-7144" y="20887"/>
                    <a:pt x="1573" y="6570"/>
                  </a:cubicBezTo>
                  <a:cubicBezTo>
                    <a:pt x="9478" y="-6422"/>
                    <a:pt x="45134" y="492"/>
                    <a:pt x="84289" y="21687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45" name="Forma livre: Forma 1144">
              <a:extLst>
                <a:ext uri="{FF2B5EF4-FFF2-40B4-BE49-F238E27FC236}">
                  <a16:creationId xmlns:a16="http://schemas.microsoft.com/office/drawing/2014/main" id="{FF05DDA3-1F39-BA49-561C-12C02B1B3CC2}"/>
                </a:ext>
              </a:extLst>
            </p:cNvPr>
            <p:cNvSpPr/>
            <p:nvPr/>
          </p:nvSpPr>
          <p:spPr>
            <a:xfrm>
              <a:off x="9510302" y="1067395"/>
              <a:ext cx="39757" cy="46577"/>
            </a:xfrm>
            <a:custGeom>
              <a:avLst/>
              <a:gdLst>
                <a:gd name="connsiteX0" fmla="*/ 0 w 39757"/>
                <a:gd name="connsiteY0" fmla="*/ 6820 h 46577"/>
                <a:gd name="connsiteX1" fmla="*/ 1170 w 39757"/>
                <a:gd name="connsiteY1" fmla="*/ 5733 h 46577"/>
                <a:gd name="connsiteX2" fmla="*/ 32934 w 39757"/>
                <a:gd name="connsiteY2" fmla="*/ 6820 h 46577"/>
                <a:gd name="connsiteX3" fmla="*/ 32934 w 39757"/>
                <a:gd name="connsiteY3" fmla="*/ 39753 h 46577"/>
                <a:gd name="connsiteX4" fmla="*/ 4215 w 39757"/>
                <a:gd name="connsiteY4" fmla="*/ 43109 h 465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757" h="46577">
                  <a:moveTo>
                    <a:pt x="0" y="6820"/>
                  </a:moveTo>
                  <a:cubicBezTo>
                    <a:pt x="382" y="6449"/>
                    <a:pt x="764" y="6079"/>
                    <a:pt x="1170" y="5733"/>
                  </a:cubicBezTo>
                  <a:cubicBezTo>
                    <a:pt x="10317" y="-2256"/>
                    <a:pt x="24217" y="-1897"/>
                    <a:pt x="32934" y="6820"/>
                  </a:cubicBezTo>
                  <a:cubicBezTo>
                    <a:pt x="42033" y="15931"/>
                    <a:pt x="42033" y="30654"/>
                    <a:pt x="32934" y="39753"/>
                  </a:cubicBezTo>
                  <a:cubicBezTo>
                    <a:pt x="25148" y="47551"/>
                    <a:pt x="13207" y="48661"/>
                    <a:pt x="4215" y="43109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46" name="Forma livre: Forma 1145">
              <a:extLst>
                <a:ext uri="{FF2B5EF4-FFF2-40B4-BE49-F238E27FC236}">
                  <a16:creationId xmlns:a16="http://schemas.microsoft.com/office/drawing/2014/main" id="{3DDE9060-F006-12E1-D08B-8AE306509EB6}"/>
                </a:ext>
              </a:extLst>
            </p:cNvPr>
            <p:cNvSpPr/>
            <p:nvPr/>
          </p:nvSpPr>
          <p:spPr>
            <a:xfrm>
              <a:off x="9305034" y="1023621"/>
              <a:ext cx="288783" cy="288783"/>
            </a:xfrm>
            <a:custGeom>
              <a:avLst/>
              <a:gdLst>
                <a:gd name="connsiteX0" fmla="*/ 116509 w 288783"/>
                <a:gd name="connsiteY0" fmla="*/ 41901 h 288783"/>
                <a:gd name="connsiteX1" fmla="*/ 0 w 288783"/>
                <a:gd name="connsiteY1" fmla="*/ 158411 h 288783"/>
                <a:gd name="connsiteX2" fmla="*/ 130385 w 288783"/>
                <a:gd name="connsiteY2" fmla="*/ 288784 h 288783"/>
                <a:gd name="connsiteX3" fmla="*/ 288784 w 288783"/>
                <a:gd name="connsiteY3" fmla="*/ 130373 h 288783"/>
                <a:gd name="connsiteX4" fmla="*/ 287458 w 288783"/>
                <a:gd name="connsiteY4" fmla="*/ 51609 h 288783"/>
                <a:gd name="connsiteX5" fmla="*/ 237186 w 288783"/>
                <a:gd name="connsiteY5" fmla="*/ 1325 h 288783"/>
                <a:gd name="connsiteX6" fmla="*/ 158411 w 288783"/>
                <a:gd name="connsiteY6" fmla="*/ 0 h 288783"/>
                <a:gd name="connsiteX7" fmla="*/ 133227 w 288783"/>
                <a:gd name="connsiteY7" fmla="*/ 25184 h 2887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8783" h="288783">
                  <a:moveTo>
                    <a:pt x="116509" y="41901"/>
                  </a:moveTo>
                  <a:lnTo>
                    <a:pt x="0" y="158411"/>
                  </a:lnTo>
                  <a:lnTo>
                    <a:pt x="130385" y="288784"/>
                  </a:lnTo>
                  <a:lnTo>
                    <a:pt x="288784" y="130373"/>
                  </a:lnTo>
                  <a:lnTo>
                    <a:pt x="287458" y="51609"/>
                  </a:lnTo>
                  <a:lnTo>
                    <a:pt x="237186" y="1325"/>
                  </a:lnTo>
                  <a:lnTo>
                    <a:pt x="158411" y="0"/>
                  </a:lnTo>
                  <a:lnTo>
                    <a:pt x="133227" y="25184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47" name="Forma livre: Forma 1146">
              <a:extLst>
                <a:ext uri="{FF2B5EF4-FFF2-40B4-BE49-F238E27FC236}">
                  <a16:creationId xmlns:a16="http://schemas.microsoft.com/office/drawing/2014/main" id="{20414E5D-DDD7-EE29-626E-117F4DD3B74D}"/>
                </a:ext>
              </a:extLst>
            </p:cNvPr>
            <p:cNvSpPr/>
            <p:nvPr/>
          </p:nvSpPr>
          <p:spPr>
            <a:xfrm>
              <a:off x="9385828" y="1134067"/>
              <a:ext cx="97591" cy="97555"/>
            </a:xfrm>
            <a:custGeom>
              <a:avLst/>
              <a:gdLst>
                <a:gd name="connsiteX0" fmla="*/ 53568 w 97591"/>
                <a:gd name="connsiteY0" fmla="*/ 53051 h 97555"/>
                <a:gd name="connsiteX1" fmla="*/ 30068 w 97591"/>
                <a:gd name="connsiteY1" fmla="*/ 76539 h 97555"/>
                <a:gd name="connsiteX2" fmla="*/ 34557 w 97591"/>
                <a:gd name="connsiteY2" fmla="*/ 90319 h 97555"/>
                <a:gd name="connsiteX3" fmla="*/ 27393 w 97591"/>
                <a:gd name="connsiteY3" fmla="*/ 97377 h 97555"/>
                <a:gd name="connsiteX4" fmla="*/ 19356 w 97591"/>
                <a:gd name="connsiteY4" fmla="*/ 78104 h 97555"/>
                <a:gd name="connsiteX5" fmla="*/ 310 w 97591"/>
                <a:gd name="connsiteY5" fmla="*/ 70067 h 97555"/>
                <a:gd name="connsiteX6" fmla="*/ 7296 w 97591"/>
                <a:gd name="connsiteY6" fmla="*/ 63165 h 97555"/>
                <a:gd name="connsiteX7" fmla="*/ 20980 w 97591"/>
                <a:gd name="connsiteY7" fmla="*/ 67536 h 97555"/>
                <a:gd name="connsiteX8" fmla="*/ 44552 w 97591"/>
                <a:gd name="connsiteY8" fmla="*/ 43976 h 97555"/>
                <a:gd name="connsiteX9" fmla="*/ 0 w 97591"/>
                <a:gd name="connsiteY9" fmla="*/ 21730 h 97555"/>
                <a:gd name="connsiteX10" fmla="*/ 5696 w 97591"/>
                <a:gd name="connsiteY10" fmla="*/ 16046 h 97555"/>
                <a:gd name="connsiteX11" fmla="*/ 59455 w 97591"/>
                <a:gd name="connsiteY11" fmla="*/ 29086 h 97555"/>
                <a:gd name="connsiteX12" fmla="*/ 86668 w 97591"/>
                <a:gd name="connsiteY12" fmla="*/ 1872 h 97555"/>
                <a:gd name="connsiteX13" fmla="*/ 95720 w 97591"/>
                <a:gd name="connsiteY13" fmla="*/ 1872 h 97555"/>
                <a:gd name="connsiteX14" fmla="*/ 95720 w 97591"/>
                <a:gd name="connsiteY14" fmla="*/ 10911 h 97555"/>
                <a:gd name="connsiteX15" fmla="*/ 68458 w 97591"/>
                <a:gd name="connsiteY15" fmla="*/ 38161 h 97555"/>
                <a:gd name="connsiteX16" fmla="*/ 81367 w 97591"/>
                <a:gd name="connsiteY16" fmla="*/ 91920 h 97555"/>
                <a:gd name="connsiteX17" fmla="*/ 75826 w 97591"/>
                <a:gd name="connsiteY17" fmla="*/ 97556 h 97555"/>
                <a:gd name="connsiteX18" fmla="*/ 53568 w 97591"/>
                <a:gd name="connsiteY18" fmla="*/ 53051 h 975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97591" h="97555">
                  <a:moveTo>
                    <a:pt x="53568" y="53051"/>
                  </a:moveTo>
                  <a:lnTo>
                    <a:pt x="30068" y="76539"/>
                  </a:lnTo>
                  <a:lnTo>
                    <a:pt x="34557" y="90319"/>
                  </a:lnTo>
                  <a:lnTo>
                    <a:pt x="27393" y="97377"/>
                  </a:lnTo>
                  <a:lnTo>
                    <a:pt x="19356" y="78104"/>
                  </a:lnTo>
                  <a:lnTo>
                    <a:pt x="310" y="70067"/>
                  </a:lnTo>
                  <a:lnTo>
                    <a:pt x="7296" y="63165"/>
                  </a:lnTo>
                  <a:lnTo>
                    <a:pt x="20980" y="67536"/>
                  </a:lnTo>
                  <a:lnTo>
                    <a:pt x="44552" y="43976"/>
                  </a:lnTo>
                  <a:lnTo>
                    <a:pt x="0" y="21730"/>
                  </a:lnTo>
                  <a:lnTo>
                    <a:pt x="5696" y="16046"/>
                  </a:lnTo>
                  <a:lnTo>
                    <a:pt x="59455" y="29086"/>
                  </a:lnTo>
                  <a:lnTo>
                    <a:pt x="86668" y="1872"/>
                  </a:lnTo>
                  <a:cubicBezTo>
                    <a:pt x="89164" y="-624"/>
                    <a:pt x="93224" y="-624"/>
                    <a:pt x="95720" y="1872"/>
                  </a:cubicBezTo>
                  <a:cubicBezTo>
                    <a:pt x="98216" y="4367"/>
                    <a:pt x="98216" y="8415"/>
                    <a:pt x="95720" y="10911"/>
                  </a:cubicBezTo>
                  <a:lnTo>
                    <a:pt x="68458" y="38161"/>
                  </a:lnTo>
                  <a:lnTo>
                    <a:pt x="81367" y="91920"/>
                  </a:lnTo>
                  <a:lnTo>
                    <a:pt x="75826" y="97556"/>
                  </a:lnTo>
                  <a:lnTo>
                    <a:pt x="53568" y="53051"/>
                  </a:ln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148" name="Gráfico 10">
            <a:extLst>
              <a:ext uri="{FF2B5EF4-FFF2-40B4-BE49-F238E27FC236}">
                <a16:creationId xmlns:a16="http://schemas.microsoft.com/office/drawing/2014/main" id="{DF69449A-7C85-1858-3A04-C8DAA0AF23C3}"/>
              </a:ext>
            </a:extLst>
          </p:cNvPr>
          <p:cNvGrpSpPr/>
          <p:nvPr/>
        </p:nvGrpSpPr>
        <p:grpSpPr>
          <a:xfrm>
            <a:off x="9303317" y="2614091"/>
            <a:ext cx="292220" cy="260192"/>
            <a:chOff x="9303317" y="2614091"/>
            <a:chExt cx="292220" cy="260192"/>
          </a:xfrm>
          <a:noFill/>
        </p:grpSpPr>
        <p:sp>
          <p:nvSpPr>
            <p:cNvPr id="1149" name="Forma livre: Forma 1148">
              <a:extLst>
                <a:ext uri="{FF2B5EF4-FFF2-40B4-BE49-F238E27FC236}">
                  <a16:creationId xmlns:a16="http://schemas.microsoft.com/office/drawing/2014/main" id="{7290B8B6-A3FA-D2A4-5D1F-77512AB4B65F}"/>
                </a:ext>
              </a:extLst>
            </p:cNvPr>
            <p:cNvSpPr/>
            <p:nvPr/>
          </p:nvSpPr>
          <p:spPr>
            <a:xfrm>
              <a:off x="9475350" y="2677081"/>
              <a:ext cx="120187" cy="74703"/>
            </a:xfrm>
            <a:custGeom>
              <a:avLst/>
              <a:gdLst>
                <a:gd name="connsiteX0" fmla="*/ 0 w 120187"/>
                <a:gd name="connsiteY0" fmla="*/ 74703 h 74703"/>
                <a:gd name="connsiteX1" fmla="*/ 17613 w 120187"/>
                <a:gd name="connsiteY1" fmla="*/ 57090 h 74703"/>
                <a:gd name="connsiteX2" fmla="*/ 26629 w 120187"/>
                <a:gd name="connsiteY2" fmla="*/ 66106 h 74703"/>
                <a:gd name="connsiteX3" fmla="*/ 54093 w 120187"/>
                <a:gd name="connsiteY3" fmla="*/ 66106 h 74703"/>
                <a:gd name="connsiteX4" fmla="*/ 120187 w 120187"/>
                <a:gd name="connsiteY4" fmla="*/ 0 h 747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0187" h="74703">
                  <a:moveTo>
                    <a:pt x="0" y="74703"/>
                  </a:moveTo>
                  <a:lnTo>
                    <a:pt x="17613" y="57090"/>
                  </a:lnTo>
                  <a:lnTo>
                    <a:pt x="26629" y="66106"/>
                  </a:lnTo>
                  <a:cubicBezTo>
                    <a:pt x="34175" y="73653"/>
                    <a:pt x="46534" y="73653"/>
                    <a:pt x="54093" y="66106"/>
                  </a:cubicBezTo>
                  <a:lnTo>
                    <a:pt x="120187" y="0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50" name="Forma livre: Forma 1149">
              <a:extLst>
                <a:ext uri="{FF2B5EF4-FFF2-40B4-BE49-F238E27FC236}">
                  <a16:creationId xmlns:a16="http://schemas.microsoft.com/office/drawing/2014/main" id="{F83111C8-CE9B-A305-71B3-BE394B1C6FBB}"/>
                </a:ext>
              </a:extLst>
            </p:cNvPr>
            <p:cNvSpPr/>
            <p:nvPr/>
          </p:nvSpPr>
          <p:spPr>
            <a:xfrm>
              <a:off x="9331179" y="2771535"/>
              <a:ext cx="102341" cy="102615"/>
            </a:xfrm>
            <a:custGeom>
              <a:avLst/>
              <a:gdLst>
                <a:gd name="connsiteX0" fmla="*/ 80811 w 102341"/>
                <a:gd name="connsiteY0" fmla="*/ 0 h 102615"/>
                <a:gd name="connsiteX1" fmla="*/ 4173 w 102341"/>
                <a:gd name="connsiteY1" fmla="*/ 76638 h 102615"/>
                <a:gd name="connsiteX2" fmla="*/ 4173 w 102341"/>
                <a:gd name="connsiteY2" fmla="*/ 96902 h 102615"/>
                <a:gd name="connsiteX3" fmla="*/ 5714 w 102341"/>
                <a:gd name="connsiteY3" fmla="*/ 98442 h 102615"/>
                <a:gd name="connsiteX4" fmla="*/ 25978 w 102341"/>
                <a:gd name="connsiteY4" fmla="*/ 98442 h 102615"/>
                <a:gd name="connsiteX5" fmla="*/ 102341 w 102341"/>
                <a:gd name="connsiteY5" fmla="*/ 22079 h 1026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02341" h="102615">
                  <a:moveTo>
                    <a:pt x="80811" y="0"/>
                  </a:moveTo>
                  <a:lnTo>
                    <a:pt x="4173" y="76638"/>
                  </a:lnTo>
                  <a:cubicBezTo>
                    <a:pt x="-1391" y="82202"/>
                    <a:pt x="-1391" y="91325"/>
                    <a:pt x="4173" y="96902"/>
                  </a:cubicBezTo>
                  <a:lnTo>
                    <a:pt x="5714" y="98442"/>
                  </a:lnTo>
                  <a:cubicBezTo>
                    <a:pt x="11290" y="104007"/>
                    <a:pt x="20401" y="104007"/>
                    <a:pt x="25978" y="98442"/>
                  </a:cubicBezTo>
                  <a:lnTo>
                    <a:pt x="102341" y="22079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51" name="Forma livre: Forma 1150">
              <a:extLst>
                <a:ext uri="{FF2B5EF4-FFF2-40B4-BE49-F238E27FC236}">
                  <a16:creationId xmlns:a16="http://schemas.microsoft.com/office/drawing/2014/main" id="{ACB71AA1-EF5D-FC70-7956-99118E5C90B8}"/>
                </a:ext>
              </a:extLst>
            </p:cNvPr>
            <p:cNvSpPr/>
            <p:nvPr/>
          </p:nvSpPr>
          <p:spPr>
            <a:xfrm>
              <a:off x="9453689" y="2614091"/>
              <a:ext cx="78835" cy="115744"/>
            </a:xfrm>
            <a:custGeom>
              <a:avLst/>
              <a:gdLst>
                <a:gd name="connsiteX0" fmla="*/ 78835 w 78835"/>
                <a:gd name="connsiteY0" fmla="*/ 0 h 115744"/>
                <a:gd name="connsiteX1" fmla="*/ 12741 w 78835"/>
                <a:gd name="connsiteY1" fmla="*/ 66094 h 115744"/>
                <a:gd name="connsiteX2" fmla="*/ 12741 w 78835"/>
                <a:gd name="connsiteY2" fmla="*/ 93558 h 115744"/>
                <a:gd name="connsiteX3" fmla="*/ 17470 w 78835"/>
                <a:gd name="connsiteY3" fmla="*/ 98275 h 115744"/>
                <a:gd name="connsiteX4" fmla="*/ 0 w 78835"/>
                <a:gd name="connsiteY4" fmla="*/ 115745 h 1157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835" h="115744">
                  <a:moveTo>
                    <a:pt x="78835" y="0"/>
                  </a:moveTo>
                  <a:lnTo>
                    <a:pt x="12741" y="66094"/>
                  </a:lnTo>
                  <a:cubicBezTo>
                    <a:pt x="5182" y="73653"/>
                    <a:pt x="5182" y="86012"/>
                    <a:pt x="12741" y="93558"/>
                  </a:cubicBezTo>
                  <a:lnTo>
                    <a:pt x="17470" y="98275"/>
                  </a:lnTo>
                  <a:lnTo>
                    <a:pt x="0" y="115745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52" name="Forma livre: Forma 1151">
              <a:extLst>
                <a:ext uri="{FF2B5EF4-FFF2-40B4-BE49-F238E27FC236}">
                  <a16:creationId xmlns:a16="http://schemas.microsoft.com/office/drawing/2014/main" id="{231BB49A-3E90-EC7F-ABA5-3BEE86C4FB0A}"/>
                </a:ext>
              </a:extLst>
            </p:cNvPr>
            <p:cNvSpPr/>
            <p:nvPr/>
          </p:nvSpPr>
          <p:spPr>
            <a:xfrm>
              <a:off x="9504272" y="2635537"/>
              <a:ext cx="48504" cy="48516"/>
            </a:xfrm>
            <a:custGeom>
              <a:avLst/>
              <a:gdLst>
                <a:gd name="connsiteX0" fmla="*/ 0 w 48504"/>
                <a:gd name="connsiteY0" fmla="*/ 48517 h 48516"/>
                <a:gd name="connsiteX1" fmla="*/ 48505 w 48504"/>
                <a:gd name="connsiteY1" fmla="*/ 0 h 485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8504" h="48516">
                  <a:moveTo>
                    <a:pt x="0" y="48517"/>
                  </a:moveTo>
                  <a:lnTo>
                    <a:pt x="48505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53" name="Forma livre: Forma 1152">
              <a:extLst>
                <a:ext uri="{FF2B5EF4-FFF2-40B4-BE49-F238E27FC236}">
                  <a16:creationId xmlns:a16="http://schemas.microsoft.com/office/drawing/2014/main" id="{69F970E3-1460-41CB-F1AA-1797A5E38748}"/>
                </a:ext>
              </a:extLst>
            </p:cNvPr>
            <p:cNvSpPr/>
            <p:nvPr/>
          </p:nvSpPr>
          <p:spPr>
            <a:xfrm>
              <a:off x="9525348" y="2656613"/>
              <a:ext cx="48516" cy="48516"/>
            </a:xfrm>
            <a:custGeom>
              <a:avLst/>
              <a:gdLst>
                <a:gd name="connsiteX0" fmla="*/ 0 w 48516"/>
                <a:gd name="connsiteY0" fmla="*/ 48517 h 48516"/>
                <a:gd name="connsiteX1" fmla="*/ 48517 w 48516"/>
                <a:gd name="connsiteY1" fmla="*/ 0 h 485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8516" h="48516">
                  <a:moveTo>
                    <a:pt x="0" y="48517"/>
                  </a:moveTo>
                  <a:lnTo>
                    <a:pt x="48517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54" name="Forma livre: Forma 1153">
              <a:extLst>
                <a:ext uri="{FF2B5EF4-FFF2-40B4-BE49-F238E27FC236}">
                  <a16:creationId xmlns:a16="http://schemas.microsoft.com/office/drawing/2014/main" id="{67FD7F89-7231-BEAD-360E-04923192BD3B}"/>
                </a:ext>
              </a:extLst>
            </p:cNvPr>
            <p:cNvSpPr/>
            <p:nvPr/>
          </p:nvSpPr>
          <p:spPr>
            <a:xfrm>
              <a:off x="9303317" y="2625128"/>
              <a:ext cx="233239" cy="249154"/>
            </a:xfrm>
            <a:custGeom>
              <a:avLst/>
              <a:gdLst>
                <a:gd name="connsiteX0" fmla="*/ 23032 w 233239"/>
                <a:gd name="connsiteY0" fmla="*/ 10827 h 249154"/>
                <a:gd name="connsiteX1" fmla="*/ 4333 w 233239"/>
                <a:gd name="connsiteY1" fmla="*/ 3734 h 249154"/>
                <a:gd name="connsiteX2" fmla="*/ 5419 w 233239"/>
                <a:gd name="connsiteY2" fmla="*/ 44644 h 249154"/>
                <a:gd name="connsiteX3" fmla="*/ 77125 w 233239"/>
                <a:gd name="connsiteY3" fmla="*/ 134919 h 249154"/>
                <a:gd name="connsiteX4" fmla="*/ 94655 w 233239"/>
                <a:gd name="connsiteY4" fmla="*/ 130226 h 249154"/>
                <a:gd name="connsiteX5" fmla="*/ 207009 w 233239"/>
                <a:gd name="connsiteY5" fmla="*/ 244753 h 249154"/>
                <a:gd name="connsiteX6" fmla="*/ 227607 w 233239"/>
                <a:gd name="connsiteY6" fmla="*/ 245064 h 249154"/>
                <a:gd name="connsiteX7" fmla="*/ 228837 w 233239"/>
                <a:gd name="connsiteY7" fmla="*/ 243881 h 249154"/>
                <a:gd name="connsiteX8" fmla="*/ 229148 w 233239"/>
                <a:gd name="connsiteY8" fmla="*/ 223271 h 249154"/>
                <a:gd name="connsiteX9" fmla="*/ 23020 w 233239"/>
                <a:gd name="connsiteY9" fmla="*/ 10839 h 2491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33239" h="249154">
                  <a:moveTo>
                    <a:pt x="23032" y="10827"/>
                  </a:moveTo>
                  <a:cubicBezTo>
                    <a:pt x="15354" y="3173"/>
                    <a:pt x="8261" y="-4923"/>
                    <a:pt x="4333" y="3734"/>
                  </a:cubicBezTo>
                  <a:cubicBezTo>
                    <a:pt x="4333" y="3734"/>
                    <a:pt x="-6104" y="25216"/>
                    <a:pt x="5419" y="44644"/>
                  </a:cubicBezTo>
                  <a:lnTo>
                    <a:pt x="77125" y="134919"/>
                  </a:lnTo>
                  <a:lnTo>
                    <a:pt x="94655" y="130226"/>
                  </a:lnTo>
                  <a:lnTo>
                    <a:pt x="207009" y="244753"/>
                  </a:lnTo>
                  <a:cubicBezTo>
                    <a:pt x="212597" y="250497"/>
                    <a:pt x="221864" y="250640"/>
                    <a:pt x="227607" y="245064"/>
                  </a:cubicBezTo>
                  <a:lnTo>
                    <a:pt x="228837" y="243881"/>
                  </a:lnTo>
                  <a:cubicBezTo>
                    <a:pt x="234581" y="238293"/>
                    <a:pt x="234724" y="229027"/>
                    <a:pt x="229148" y="223271"/>
                  </a:cubicBezTo>
                  <a:lnTo>
                    <a:pt x="23020" y="10839"/>
                  </a:ln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155" name="Gráfico 10">
            <a:extLst>
              <a:ext uri="{FF2B5EF4-FFF2-40B4-BE49-F238E27FC236}">
                <a16:creationId xmlns:a16="http://schemas.microsoft.com/office/drawing/2014/main" id="{A502F538-DE61-2091-27CE-AADE146BDE8C}"/>
              </a:ext>
            </a:extLst>
          </p:cNvPr>
          <p:cNvGrpSpPr/>
          <p:nvPr/>
        </p:nvGrpSpPr>
        <p:grpSpPr>
          <a:xfrm>
            <a:off x="9282036" y="1558009"/>
            <a:ext cx="334804" cy="246392"/>
            <a:chOff x="9282036" y="1558009"/>
            <a:chExt cx="334804" cy="246392"/>
          </a:xfrm>
          <a:noFill/>
        </p:grpSpPr>
        <p:grpSp>
          <p:nvGrpSpPr>
            <p:cNvPr id="1156" name="Gráfico 10">
              <a:extLst>
                <a:ext uri="{FF2B5EF4-FFF2-40B4-BE49-F238E27FC236}">
                  <a16:creationId xmlns:a16="http://schemas.microsoft.com/office/drawing/2014/main" id="{BBEDF423-87F9-514B-1E8B-D0C0B8A81844}"/>
                </a:ext>
              </a:extLst>
            </p:cNvPr>
            <p:cNvGrpSpPr/>
            <p:nvPr/>
          </p:nvGrpSpPr>
          <p:grpSpPr>
            <a:xfrm>
              <a:off x="9327914" y="1688788"/>
              <a:ext cx="130062" cy="83671"/>
              <a:chOff x="9327914" y="1688788"/>
              <a:chExt cx="130062" cy="83671"/>
            </a:xfrm>
            <a:noFill/>
          </p:grpSpPr>
          <p:sp>
            <p:nvSpPr>
              <p:cNvPr id="1157" name="Forma livre: Forma 1156">
                <a:extLst>
                  <a:ext uri="{FF2B5EF4-FFF2-40B4-BE49-F238E27FC236}">
                    <a16:creationId xmlns:a16="http://schemas.microsoft.com/office/drawing/2014/main" id="{C24842DA-64FF-9711-6EE0-9DF808D91CD4}"/>
                  </a:ext>
                </a:extLst>
              </p:cNvPr>
              <p:cNvSpPr/>
              <p:nvPr/>
            </p:nvSpPr>
            <p:spPr>
              <a:xfrm>
                <a:off x="9396360" y="1688788"/>
                <a:ext cx="61616" cy="83671"/>
              </a:xfrm>
              <a:custGeom>
                <a:avLst/>
                <a:gdLst>
                  <a:gd name="connsiteX0" fmla="*/ 39967 w 61616"/>
                  <a:gd name="connsiteY0" fmla="*/ 83671 h 83671"/>
                  <a:gd name="connsiteX1" fmla="*/ 39967 w 61616"/>
                  <a:gd name="connsiteY1" fmla="*/ 0 h 83671"/>
                  <a:gd name="connsiteX2" fmla="*/ 0 w 61616"/>
                  <a:gd name="connsiteY2" fmla="*/ 56063 h 83671"/>
                  <a:gd name="connsiteX3" fmla="*/ 61616 w 61616"/>
                  <a:gd name="connsiteY3" fmla="*/ 56063 h 836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1616" h="83671">
                    <a:moveTo>
                      <a:pt x="39967" y="83671"/>
                    </a:moveTo>
                    <a:lnTo>
                      <a:pt x="39967" y="0"/>
                    </a:lnTo>
                    <a:lnTo>
                      <a:pt x="0" y="56063"/>
                    </a:lnTo>
                    <a:lnTo>
                      <a:pt x="61616" y="56063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1158" name="Gráfico 10">
                <a:extLst>
                  <a:ext uri="{FF2B5EF4-FFF2-40B4-BE49-F238E27FC236}">
                    <a16:creationId xmlns:a16="http://schemas.microsoft.com/office/drawing/2014/main" id="{56DB0D16-B0AD-9A39-0581-F23322E34D73}"/>
                  </a:ext>
                </a:extLst>
              </p:cNvPr>
              <p:cNvGrpSpPr/>
              <p:nvPr/>
            </p:nvGrpSpPr>
            <p:grpSpPr>
              <a:xfrm>
                <a:off x="9327914" y="1688788"/>
                <a:ext cx="47036" cy="79384"/>
                <a:chOff x="9327914" y="1688788"/>
                <a:chExt cx="47036" cy="79384"/>
              </a:xfrm>
              <a:noFill/>
            </p:grpSpPr>
            <p:sp>
              <p:nvSpPr>
                <p:cNvPr id="1159" name="Forma livre: Forma 1158">
                  <a:extLst>
                    <a:ext uri="{FF2B5EF4-FFF2-40B4-BE49-F238E27FC236}">
                      <a16:creationId xmlns:a16="http://schemas.microsoft.com/office/drawing/2014/main" id="{59C6545F-6767-12FD-9E96-03BFC33CB0F7}"/>
                    </a:ext>
                  </a:extLst>
                </p:cNvPr>
                <p:cNvSpPr/>
                <p:nvPr/>
              </p:nvSpPr>
              <p:spPr>
                <a:xfrm>
                  <a:off x="9327914" y="1688788"/>
                  <a:ext cx="47036" cy="79384"/>
                </a:xfrm>
                <a:custGeom>
                  <a:avLst/>
                  <a:gdLst>
                    <a:gd name="connsiteX0" fmla="*/ 47036 w 47036"/>
                    <a:gd name="connsiteY0" fmla="*/ 0 h 79384"/>
                    <a:gd name="connsiteX1" fmla="*/ 0 w 47036"/>
                    <a:gd name="connsiteY1" fmla="*/ 0 h 79384"/>
                    <a:gd name="connsiteX2" fmla="*/ 0 w 47036"/>
                    <a:gd name="connsiteY2" fmla="*/ 79384 h 79384"/>
                    <a:gd name="connsiteX3" fmla="*/ 47036 w 47036"/>
                    <a:gd name="connsiteY3" fmla="*/ 79384 h 7938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7036" h="79384">
                      <a:moveTo>
                        <a:pt x="47036" y="0"/>
                      </a:moveTo>
                      <a:lnTo>
                        <a:pt x="0" y="0"/>
                      </a:lnTo>
                      <a:lnTo>
                        <a:pt x="0" y="79384"/>
                      </a:lnTo>
                      <a:lnTo>
                        <a:pt x="47036" y="79384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160" name="Forma livre: Forma 1159">
                  <a:extLst>
                    <a:ext uri="{FF2B5EF4-FFF2-40B4-BE49-F238E27FC236}">
                      <a16:creationId xmlns:a16="http://schemas.microsoft.com/office/drawing/2014/main" id="{8EB2A93F-3559-CAF8-07AE-FC9FBE33FF68}"/>
                    </a:ext>
                  </a:extLst>
                </p:cNvPr>
                <p:cNvSpPr/>
                <p:nvPr/>
              </p:nvSpPr>
              <p:spPr>
                <a:xfrm>
                  <a:off x="9330994" y="1728480"/>
                  <a:ext cx="43955" cy="1194"/>
                </a:xfrm>
                <a:custGeom>
                  <a:avLst/>
                  <a:gdLst>
                    <a:gd name="connsiteX0" fmla="*/ 0 w 43955"/>
                    <a:gd name="connsiteY0" fmla="*/ 0 h 1194"/>
                    <a:gd name="connsiteX1" fmla="*/ 43955 w 43955"/>
                    <a:gd name="connsiteY1" fmla="*/ 0 h 119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3955" h="1194">
                      <a:moveTo>
                        <a:pt x="0" y="0"/>
                      </a:moveTo>
                      <a:lnTo>
                        <a:pt x="43955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sp>
          <p:nvSpPr>
            <p:cNvPr id="1161" name="Forma livre: Forma 1160">
              <a:extLst>
                <a:ext uri="{FF2B5EF4-FFF2-40B4-BE49-F238E27FC236}">
                  <a16:creationId xmlns:a16="http://schemas.microsoft.com/office/drawing/2014/main" id="{B3CB114C-3A3B-2F22-E694-6DA9BFCE70E1}"/>
                </a:ext>
              </a:extLst>
            </p:cNvPr>
            <p:cNvSpPr/>
            <p:nvPr/>
          </p:nvSpPr>
          <p:spPr>
            <a:xfrm>
              <a:off x="9494993" y="1729232"/>
              <a:ext cx="77175" cy="1194"/>
            </a:xfrm>
            <a:custGeom>
              <a:avLst/>
              <a:gdLst>
                <a:gd name="connsiteX0" fmla="*/ 0 w 77175"/>
                <a:gd name="connsiteY0" fmla="*/ 0 h 1194"/>
                <a:gd name="connsiteX1" fmla="*/ 77175 w 77175"/>
                <a:gd name="connsiteY1" fmla="*/ 0 h 11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7175" h="1194">
                  <a:moveTo>
                    <a:pt x="0" y="0"/>
                  </a:moveTo>
                  <a:lnTo>
                    <a:pt x="77175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62" name="Forma livre: Forma 1161">
              <a:extLst>
                <a:ext uri="{FF2B5EF4-FFF2-40B4-BE49-F238E27FC236}">
                  <a16:creationId xmlns:a16="http://schemas.microsoft.com/office/drawing/2014/main" id="{908E2D52-8D3E-DCC8-D56A-01892F41AE59}"/>
                </a:ext>
              </a:extLst>
            </p:cNvPr>
            <p:cNvSpPr/>
            <p:nvPr/>
          </p:nvSpPr>
          <p:spPr>
            <a:xfrm>
              <a:off x="9540907" y="1691785"/>
              <a:ext cx="37435" cy="74882"/>
            </a:xfrm>
            <a:custGeom>
              <a:avLst/>
              <a:gdLst>
                <a:gd name="connsiteX0" fmla="*/ 0 w 37435"/>
                <a:gd name="connsiteY0" fmla="*/ 0 h 74882"/>
                <a:gd name="connsiteX1" fmla="*/ 37435 w 37435"/>
                <a:gd name="connsiteY1" fmla="*/ 37447 h 74882"/>
                <a:gd name="connsiteX2" fmla="*/ 0 w 37435"/>
                <a:gd name="connsiteY2" fmla="*/ 74883 h 748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7435" h="74882">
                  <a:moveTo>
                    <a:pt x="0" y="0"/>
                  </a:moveTo>
                  <a:lnTo>
                    <a:pt x="37435" y="37447"/>
                  </a:lnTo>
                  <a:lnTo>
                    <a:pt x="0" y="74883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163" name="Gráfico 10">
              <a:extLst>
                <a:ext uri="{FF2B5EF4-FFF2-40B4-BE49-F238E27FC236}">
                  <a16:creationId xmlns:a16="http://schemas.microsoft.com/office/drawing/2014/main" id="{21141CAF-DA41-3C29-1F4A-BC554B2F98EE}"/>
                </a:ext>
              </a:extLst>
            </p:cNvPr>
            <p:cNvGrpSpPr/>
            <p:nvPr/>
          </p:nvGrpSpPr>
          <p:grpSpPr>
            <a:xfrm>
              <a:off x="9326433" y="1558009"/>
              <a:ext cx="245986" cy="1194"/>
              <a:chOff x="9326433" y="1558009"/>
              <a:chExt cx="245986" cy="1194"/>
            </a:xfrm>
          </p:grpSpPr>
          <p:sp>
            <p:nvSpPr>
              <p:cNvPr id="1164" name="Forma livre: Forma 1163">
                <a:extLst>
                  <a:ext uri="{FF2B5EF4-FFF2-40B4-BE49-F238E27FC236}">
                    <a16:creationId xmlns:a16="http://schemas.microsoft.com/office/drawing/2014/main" id="{ACA09788-6E96-9D74-6268-3C1522E2C1BA}"/>
                  </a:ext>
                </a:extLst>
              </p:cNvPr>
              <p:cNvSpPr/>
              <p:nvPr/>
            </p:nvSpPr>
            <p:spPr>
              <a:xfrm>
                <a:off x="9326433" y="1558009"/>
                <a:ext cx="58165" cy="1194"/>
              </a:xfrm>
              <a:custGeom>
                <a:avLst/>
                <a:gdLst>
                  <a:gd name="connsiteX0" fmla="*/ 0 w 58165"/>
                  <a:gd name="connsiteY0" fmla="*/ 0 h 1194"/>
                  <a:gd name="connsiteX1" fmla="*/ 58165 w 58165"/>
                  <a:gd name="connsiteY1" fmla="*/ 0 h 11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8165" h="1194">
                    <a:moveTo>
                      <a:pt x="0" y="0"/>
                    </a:moveTo>
                    <a:lnTo>
                      <a:pt x="58165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165" name="Forma livre: Forma 1164">
                <a:extLst>
                  <a:ext uri="{FF2B5EF4-FFF2-40B4-BE49-F238E27FC236}">
                    <a16:creationId xmlns:a16="http://schemas.microsoft.com/office/drawing/2014/main" id="{6EE0E124-A833-4610-D518-2D6F8A2427E9}"/>
                  </a:ext>
                </a:extLst>
              </p:cNvPr>
              <p:cNvSpPr/>
              <p:nvPr/>
            </p:nvSpPr>
            <p:spPr>
              <a:xfrm>
                <a:off x="9514266" y="1558009"/>
                <a:ext cx="58153" cy="1194"/>
              </a:xfrm>
              <a:custGeom>
                <a:avLst/>
                <a:gdLst>
                  <a:gd name="connsiteX0" fmla="*/ 0 w 58153"/>
                  <a:gd name="connsiteY0" fmla="*/ 0 h 1194"/>
                  <a:gd name="connsiteX1" fmla="*/ 58153 w 58153"/>
                  <a:gd name="connsiteY1" fmla="*/ 0 h 11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8153" h="1194">
                    <a:moveTo>
                      <a:pt x="0" y="0"/>
                    </a:moveTo>
                    <a:lnTo>
                      <a:pt x="58153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166" name="Forma livre: Forma 1165">
              <a:extLst>
                <a:ext uri="{FF2B5EF4-FFF2-40B4-BE49-F238E27FC236}">
                  <a16:creationId xmlns:a16="http://schemas.microsoft.com/office/drawing/2014/main" id="{4B78A371-48E3-F9F8-B7EE-791A808FBCB7}"/>
                </a:ext>
              </a:extLst>
            </p:cNvPr>
            <p:cNvSpPr/>
            <p:nvPr/>
          </p:nvSpPr>
          <p:spPr>
            <a:xfrm>
              <a:off x="9355509" y="1560361"/>
              <a:ext cx="165360" cy="90788"/>
            </a:xfrm>
            <a:custGeom>
              <a:avLst/>
              <a:gdLst>
                <a:gd name="connsiteX0" fmla="*/ 0 w 165360"/>
                <a:gd name="connsiteY0" fmla="*/ 0 h 90788"/>
                <a:gd name="connsiteX1" fmla="*/ 0 w 165360"/>
                <a:gd name="connsiteY1" fmla="*/ 90788 h 90788"/>
                <a:gd name="connsiteX2" fmla="*/ 0 w 165360"/>
                <a:gd name="connsiteY2" fmla="*/ 90788 h 90788"/>
                <a:gd name="connsiteX3" fmla="*/ 165360 w 165360"/>
                <a:gd name="connsiteY3" fmla="*/ 90788 h 907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65360" h="90788">
                  <a:moveTo>
                    <a:pt x="0" y="0"/>
                  </a:moveTo>
                  <a:lnTo>
                    <a:pt x="0" y="90788"/>
                  </a:lnTo>
                  <a:lnTo>
                    <a:pt x="0" y="90788"/>
                  </a:lnTo>
                  <a:lnTo>
                    <a:pt x="165360" y="90788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67" name="Forma livre: Forma 1166">
              <a:extLst>
                <a:ext uri="{FF2B5EF4-FFF2-40B4-BE49-F238E27FC236}">
                  <a16:creationId xmlns:a16="http://schemas.microsoft.com/office/drawing/2014/main" id="{6424BCF1-99EC-E976-E5C8-7FD050539E4B}"/>
                </a:ext>
              </a:extLst>
            </p:cNvPr>
            <p:cNvSpPr/>
            <p:nvPr/>
          </p:nvSpPr>
          <p:spPr>
            <a:xfrm>
              <a:off x="9282036" y="1560361"/>
              <a:ext cx="334804" cy="244040"/>
            </a:xfrm>
            <a:custGeom>
              <a:avLst/>
              <a:gdLst>
                <a:gd name="connsiteX0" fmla="*/ 51395 w 334804"/>
                <a:gd name="connsiteY0" fmla="*/ 90788 h 244040"/>
                <a:gd name="connsiteX1" fmla="*/ 18855 w 334804"/>
                <a:gd name="connsiteY1" fmla="*/ 90788 h 244040"/>
                <a:gd name="connsiteX2" fmla="*/ 0 w 334804"/>
                <a:gd name="connsiteY2" fmla="*/ 109655 h 244040"/>
                <a:gd name="connsiteX3" fmla="*/ 0 w 334804"/>
                <a:gd name="connsiteY3" fmla="*/ 225185 h 244040"/>
                <a:gd name="connsiteX4" fmla="*/ 18855 w 334804"/>
                <a:gd name="connsiteY4" fmla="*/ 244040 h 244040"/>
                <a:gd name="connsiteX5" fmla="*/ 315938 w 334804"/>
                <a:gd name="connsiteY5" fmla="*/ 244040 h 244040"/>
                <a:gd name="connsiteX6" fmla="*/ 334805 w 334804"/>
                <a:gd name="connsiteY6" fmla="*/ 225185 h 244040"/>
                <a:gd name="connsiteX7" fmla="*/ 334805 w 334804"/>
                <a:gd name="connsiteY7" fmla="*/ 109655 h 244040"/>
                <a:gd name="connsiteX8" fmla="*/ 315938 w 334804"/>
                <a:gd name="connsiteY8" fmla="*/ 90788 h 244040"/>
                <a:gd name="connsiteX9" fmla="*/ 261319 w 334804"/>
                <a:gd name="connsiteY9" fmla="*/ 90788 h 244040"/>
                <a:gd name="connsiteX10" fmla="*/ 261319 w 334804"/>
                <a:gd name="connsiteY10" fmla="*/ 0 h 2440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34804" h="244040">
                  <a:moveTo>
                    <a:pt x="51395" y="90788"/>
                  </a:moveTo>
                  <a:lnTo>
                    <a:pt x="18855" y="90788"/>
                  </a:lnTo>
                  <a:cubicBezTo>
                    <a:pt x="8478" y="90788"/>
                    <a:pt x="0" y="99278"/>
                    <a:pt x="0" y="109655"/>
                  </a:cubicBezTo>
                  <a:lnTo>
                    <a:pt x="0" y="225185"/>
                  </a:lnTo>
                  <a:cubicBezTo>
                    <a:pt x="0" y="235562"/>
                    <a:pt x="8490" y="244040"/>
                    <a:pt x="18855" y="244040"/>
                  </a:cubicBezTo>
                  <a:lnTo>
                    <a:pt x="315938" y="244040"/>
                  </a:lnTo>
                  <a:cubicBezTo>
                    <a:pt x="326314" y="244040"/>
                    <a:pt x="334805" y="235550"/>
                    <a:pt x="334805" y="225185"/>
                  </a:cubicBezTo>
                  <a:lnTo>
                    <a:pt x="334805" y="109655"/>
                  </a:lnTo>
                  <a:cubicBezTo>
                    <a:pt x="334805" y="99278"/>
                    <a:pt x="326314" y="90788"/>
                    <a:pt x="315938" y="90788"/>
                  </a:cubicBezTo>
                  <a:lnTo>
                    <a:pt x="261319" y="90788"/>
                  </a:lnTo>
                  <a:lnTo>
                    <a:pt x="261319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168" name="Gráfico 10">
            <a:extLst>
              <a:ext uri="{FF2B5EF4-FFF2-40B4-BE49-F238E27FC236}">
                <a16:creationId xmlns:a16="http://schemas.microsoft.com/office/drawing/2014/main" id="{CBE33AB0-8BF8-6F84-35F6-11BDB09412AF}"/>
              </a:ext>
            </a:extLst>
          </p:cNvPr>
          <p:cNvGrpSpPr/>
          <p:nvPr/>
        </p:nvGrpSpPr>
        <p:grpSpPr>
          <a:xfrm>
            <a:off x="9288651" y="3136240"/>
            <a:ext cx="321549" cy="278836"/>
            <a:chOff x="9288651" y="3136240"/>
            <a:chExt cx="321549" cy="278836"/>
          </a:xfrm>
          <a:noFill/>
        </p:grpSpPr>
        <p:sp>
          <p:nvSpPr>
            <p:cNvPr id="1169" name="Forma livre: Forma 1168">
              <a:extLst>
                <a:ext uri="{FF2B5EF4-FFF2-40B4-BE49-F238E27FC236}">
                  <a16:creationId xmlns:a16="http://schemas.microsoft.com/office/drawing/2014/main" id="{0358E90F-0533-7433-E45D-4DC961817AF4}"/>
                </a:ext>
              </a:extLst>
            </p:cNvPr>
            <p:cNvSpPr/>
            <p:nvPr/>
          </p:nvSpPr>
          <p:spPr>
            <a:xfrm>
              <a:off x="9481894" y="3366297"/>
              <a:ext cx="64840" cy="1194"/>
            </a:xfrm>
            <a:custGeom>
              <a:avLst/>
              <a:gdLst>
                <a:gd name="connsiteX0" fmla="*/ 0 w 64840"/>
                <a:gd name="connsiteY0" fmla="*/ 0 h 1194"/>
                <a:gd name="connsiteX1" fmla="*/ 64840 w 64840"/>
                <a:gd name="connsiteY1" fmla="*/ 0 h 11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4840" h="1194">
                  <a:moveTo>
                    <a:pt x="0" y="0"/>
                  </a:moveTo>
                  <a:lnTo>
                    <a:pt x="6484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170" name="Gráfico 10">
              <a:extLst>
                <a:ext uri="{FF2B5EF4-FFF2-40B4-BE49-F238E27FC236}">
                  <a16:creationId xmlns:a16="http://schemas.microsoft.com/office/drawing/2014/main" id="{D532397F-281B-9FB8-58D6-318AE80A067C}"/>
                </a:ext>
              </a:extLst>
            </p:cNvPr>
            <p:cNvGrpSpPr/>
            <p:nvPr/>
          </p:nvGrpSpPr>
          <p:grpSpPr>
            <a:xfrm>
              <a:off x="9437007" y="3388615"/>
              <a:ext cx="154625" cy="26461"/>
              <a:chOff x="9437007" y="3388615"/>
              <a:chExt cx="154625" cy="26461"/>
            </a:xfrm>
            <a:noFill/>
          </p:grpSpPr>
          <p:sp>
            <p:nvSpPr>
              <p:cNvPr id="1171" name="Forma livre: Forma 1170">
                <a:extLst>
                  <a:ext uri="{FF2B5EF4-FFF2-40B4-BE49-F238E27FC236}">
                    <a16:creationId xmlns:a16="http://schemas.microsoft.com/office/drawing/2014/main" id="{F62C1CEA-F4EE-373E-ECF8-7DBB03BE7853}"/>
                  </a:ext>
                </a:extLst>
              </p:cNvPr>
              <p:cNvSpPr/>
              <p:nvPr/>
            </p:nvSpPr>
            <p:spPr>
              <a:xfrm>
                <a:off x="9437007" y="3388615"/>
                <a:ext cx="33566" cy="26461"/>
              </a:xfrm>
              <a:custGeom>
                <a:avLst/>
                <a:gdLst>
                  <a:gd name="connsiteX0" fmla="*/ 33566 w 33566"/>
                  <a:gd name="connsiteY0" fmla="*/ 2794 h 26461"/>
                  <a:gd name="connsiteX1" fmla="*/ 33566 w 33566"/>
                  <a:gd name="connsiteY1" fmla="*/ 26461 h 26461"/>
                  <a:gd name="connsiteX2" fmla="*/ 0 w 33566"/>
                  <a:gd name="connsiteY2" fmla="*/ 26461 h 26461"/>
                  <a:gd name="connsiteX3" fmla="*/ 0 w 33566"/>
                  <a:gd name="connsiteY3" fmla="*/ 0 h 264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66" h="26461">
                    <a:moveTo>
                      <a:pt x="33566" y="2794"/>
                    </a:moveTo>
                    <a:lnTo>
                      <a:pt x="33566" y="26461"/>
                    </a:lnTo>
                    <a:lnTo>
                      <a:pt x="0" y="26461"/>
                    </a:lnTo>
                    <a:lnTo>
                      <a:pt x="0" y="0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172" name="Forma livre: Forma 1171">
                <a:extLst>
                  <a:ext uri="{FF2B5EF4-FFF2-40B4-BE49-F238E27FC236}">
                    <a16:creationId xmlns:a16="http://schemas.microsoft.com/office/drawing/2014/main" id="{75E08D5E-658E-A723-D229-761AEE738281}"/>
                  </a:ext>
                </a:extLst>
              </p:cNvPr>
              <p:cNvSpPr/>
              <p:nvPr/>
            </p:nvSpPr>
            <p:spPr>
              <a:xfrm>
                <a:off x="9558078" y="3388615"/>
                <a:ext cx="33554" cy="26461"/>
              </a:xfrm>
              <a:custGeom>
                <a:avLst/>
                <a:gdLst>
                  <a:gd name="connsiteX0" fmla="*/ 0 w 33554"/>
                  <a:gd name="connsiteY0" fmla="*/ 2794 h 26461"/>
                  <a:gd name="connsiteX1" fmla="*/ 0 w 33554"/>
                  <a:gd name="connsiteY1" fmla="*/ 26461 h 26461"/>
                  <a:gd name="connsiteX2" fmla="*/ 33554 w 33554"/>
                  <a:gd name="connsiteY2" fmla="*/ 26461 h 26461"/>
                  <a:gd name="connsiteX3" fmla="*/ 33554 w 33554"/>
                  <a:gd name="connsiteY3" fmla="*/ 0 h 264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54" h="26461">
                    <a:moveTo>
                      <a:pt x="0" y="2794"/>
                    </a:moveTo>
                    <a:lnTo>
                      <a:pt x="0" y="26461"/>
                    </a:lnTo>
                    <a:lnTo>
                      <a:pt x="33554" y="26461"/>
                    </a:lnTo>
                    <a:lnTo>
                      <a:pt x="33554" y="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173" name="Forma livre: Forma 1172">
              <a:extLst>
                <a:ext uri="{FF2B5EF4-FFF2-40B4-BE49-F238E27FC236}">
                  <a16:creationId xmlns:a16="http://schemas.microsoft.com/office/drawing/2014/main" id="{813E1797-2935-C8CF-D915-D2806FB01316}"/>
                </a:ext>
              </a:extLst>
            </p:cNvPr>
            <p:cNvSpPr/>
            <p:nvPr/>
          </p:nvSpPr>
          <p:spPr>
            <a:xfrm>
              <a:off x="9428875" y="3290089"/>
              <a:ext cx="170853" cy="98227"/>
            </a:xfrm>
            <a:custGeom>
              <a:avLst/>
              <a:gdLst>
                <a:gd name="connsiteX0" fmla="*/ 165563 w 170853"/>
                <a:gd name="connsiteY0" fmla="*/ 43215 h 98227"/>
                <a:gd name="connsiteX1" fmla="*/ 128319 w 170853"/>
                <a:gd name="connsiteY1" fmla="*/ 0 h 98227"/>
                <a:gd name="connsiteX2" fmla="*/ 42558 w 170853"/>
                <a:gd name="connsiteY2" fmla="*/ 0 h 98227"/>
                <a:gd name="connsiteX3" fmla="*/ 5314 w 170853"/>
                <a:gd name="connsiteY3" fmla="*/ 43215 h 98227"/>
                <a:gd name="connsiteX4" fmla="*/ 0 w 170853"/>
                <a:gd name="connsiteY4" fmla="*/ 58834 h 98227"/>
                <a:gd name="connsiteX5" fmla="*/ 0 w 170853"/>
                <a:gd name="connsiteY5" fmla="*/ 89546 h 98227"/>
                <a:gd name="connsiteX6" fmla="*/ 9159 w 170853"/>
                <a:gd name="connsiteY6" fmla="*/ 98227 h 98227"/>
                <a:gd name="connsiteX7" fmla="*/ 161683 w 170853"/>
                <a:gd name="connsiteY7" fmla="*/ 98227 h 98227"/>
                <a:gd name="connsiteX8" fmla="*/ 170853 w 170853"/>
                <a:gd name="connsiteY8" fmla="*/ 89546 h 98227"/>
                <a:gd name="connsiteX9" fmla="*/ 170853 w 170853"/>
                <a:gd name="connsiteY9" fmla="*/ 58834 h 98227"/>
                <a:gd name="connsiteX10" fmla="*/ 165539 w 170853"/>
                <a:gd name="connsiteY10" fmla="*/ 43215 h 982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70853" h="98227">
                  <a:moveTo>
                    <a:pt x="165563" y="43215"/>
                  </a:moveTo>
                  <a:cubicBezTo>
                    <a:pt x="165563" y="43215"/>
                    <a:pt x="147246" y="0"/>
                    <a:pt x="128319" y="0"/>
                  </a:cubicBezTo>
                  <a:lnTo>
                    <a:pt x="42558" y="0"/>
                  </a:lnTo>
                  <a:cubicBezTo>
                    <a:pt x="23631" y="0"/>
                    <a:pt x="5314" y="43215"/>
                    <a:pt x="5314" y="43215"/>
                  </a:cubicBezTo>
                  <a:cubicBezTo>
                    <a:pt x="1899" y="48039"/>
                    <a:pt x="0" y="54881"/>
                    <a:pt x="0" y="58834"/>
                  </a:cubicBezTo>
                  <a:lnTo>
                    <a:pt x="0" y="89546"/>
                  </a:lnTo>
                  <a:cubicBezTo>
                    <a:pt x="0" y="94072"/>
                    <a:pt x="3809" y="98227"/>
                    <a:pt x="9159" y="98227"/>
                  </a:cubicBezTo>
                  <a:lnTo>
                    <a:pt x="161683" y="98227"/>
                  </a:lnTo>
                  <a:cubicBezTo>
                    <a:pt x="167044" y="98227"/>
                    <a:pt x="170853" y="94072"/>
                    <a:pt x="170853" y="89546"/>
                  </a:cubicBezTo>
                  <a:lnTo>
                    <a:pt x="170853" y="58834"/>
                  </a:lnTo>
                  <a:cubicBezTo>
                    <a:pt x="170853" y="54893"/>
                    <a:pt x="168955" y="48039"/>
                    <a:pt x="165539" y="43215"/>
                  </a:cubicBez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74" name="Forma livre: Forma 1173">
              <a:extLst>
                <a:ext uri="{FF2B5EF4-FFF2-40B4-BE49-F238E27FC236}">
                  <a16:creationId xmlns:a16="http://schemas.microsoft.com/office/drawing/2014/main" id="{B4A6B0BB-5616-8FBB-E981-F378EFCA28DF}"/>
                </a:ext>
              </a:extLst>
            </p:cNvPr>
            <p:cNvSpPr/>
            <p:nvPr/>
          </p:nvSpPr>
          <p:spPr>
            <a:xfrm>
              <a:off x="9456436" y="3335811"/>
              <a:ext cx="115768" cy="4208"/>
            </a:xfrm>
            <a:custGeom>
              <a:avLst/>
              <a:gdLst>
                <a:gd name="connsiteX0" fmla="*/ 0 w 115768"/>
                <a:gd name="connsiteY0" fmla="*/ 0 h 4208"/>
                <a:gd name="connsiteX1" fmla="*/ 115769 w 115768"/>
                <a:gd name="connsiteY1" fmla="*/ 0 h 42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5768" h="4208">
                  <a:moveTo>
                    <a:pt x="0" y="0"/>
                  </a:moveTo>
                  <a:cubicBezTo>
                    <a:pt x="0" y="0"/>
                    <a:pt x="38367" y="9469"/>
                    <a:pt x="115769" y="0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175" name="Gráfico 10">
              <a:extLst>
                <a:ext uri="{FF2B5EF4-FFF2-40B4-BE49-F238E27FC236}">
                  <a16:creationId xmlns:a16="http://schemas.microsoft.com/office/drawing/2014/main" id="{61517CD5-674F-BD24-EF44-E038D6C667CE}"/>
                </a:ext>
              </a:extLst>
            </p:cNvPr>
            <p:cNvGrpSpPr/>
            <p:nvPr/>
          </p:nvGrpSpPr>
          <p:grpSpPr>
            <a:xfrm>
              <a:off x="9418427" y="3322927"/>
              <a:ext cx="191774" cy="6113"/>
              <a:chOff x="9418427" y="3322927"/>
              <a:chExt cx="191774" cy="6113"/>
            </a:xfrm>
          </p:grpSpPr>
          <p:sp>
            <p:nvSpPr>
              <p:cNvPr id="1176" name="Forma livre: Forma 1175">
                <a:extLst>
                  <a:ext uri="{FF2B5EF4-FFF2-40B4-BE49-F238E27FC236}">
                    <a16:creationId xmlns:a16="http://schemas.microsoft.com/office/drawing/2014/main" id="{7C5EF1E2-DD17-F970-7D13-98BA0492F259}"/>
                  </a:ext>
                </a:extLst>
              </p:cNvPr>
              <p:cNvSpPr/>
              <p:nvPr/>
            </p:nvSpPr>
            <p:spPr>
              <a:xfrm>
                <a:off x="9418427" y="3322927"/>
                <a:ext cx="16610" cy="6113"/>
              </a:xfrm>
              <a:custGeom>
                <a:avLst/>
                <a:gdLst>
                  <a:gd name="connsiteX0" fmla="*/ 0 w 16610"/>
                  <a:gd name="connsiteY0" fmla="*/ 0 h 6113"/>
                  <a:gd name="connsiteX1" fmla="*/ 16610 w 16610"/>
                  <a:gd name="connsiteY1" fmla="*/ 6114 h 61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6610" h="6113">
                    <a:moveTo>
                      <a:pt x="0" y="0"/>
                    </a:moveTo>
                    <a:lnTo>
                      <a:pt x="16610" y="6114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177" name="Forma livre: Forma 1176">
                <a:extLst>
                  <a:ext uri="{FF2B5EF4-FFF2-40B4-BE49-F238E27FC236}">
                    <a16:creationId xmlns:a16="http://schemas.microsoft.com/office/drawing/2014/main" id="{1BC2E8E2-DB68-7D81-E175-1DF893F1DE51}"/>
                  </a:ext>
                </a:extLst>
              </p:cNvPr>
              <p:cNvSpPr/>
              <p:nvPr/>
            </p:nvSpPr>
            <p:spPr>
              <a:xfrm>
                <a:off x="9593603" y="3322927"/>
                <a:ext cx="16598" cy="6113"/>
              </a:xfrm>
              <a:custGeom>
                <a:avLst/>
                <a:gdLst>
                  <a:gd name="connsiteX0" fmla="*/ 16598 w 16598"/>
                  <a:gd name="connsiteY0" fmla="*/ 0 h 6113"/>
                  <a:gd name="connsiteX1" fmla="*/ 0 w 16598"/>
                  <a:gd name="connsiteY1" fmla="*/ 6114 h 61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6598" h="6113">
                    <a:moveTo>
                      <a:pt x="16598" y="0"/>
                    </a:moveTo>
                    <a:lnTo>
                      <a:pt x="0" y="6114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178" name="Forma livre: Forma 1177">
              <a:extLst>
                <a:ext uri="{FF2B5EF4-FFF2-40B4-BE49-F238E27FC236}">
                  <a16:creationId xmlns:a16="http://schemas.microsoft.com/office/drawing/2014/main" id="{C4C31696-8515-E1C6-0CCE-3A11CDAE1E5D}"/>
                </a:ext>
              </a:extLst>
            </p:cNvPr>
            <p:cNvSpPr/>
            <p:nvPr/>
          </p:nvSpPr>
          <p:spPr>
            <a:xfrm>
              <a:off x="9288651" y="3136240"/>
              <a:ext cx="231669" cy="231657"/>
            </a:xfrm>
            <a:custGeom>
              <a:avLst/>
              <a:gdLst>
                <a:gd name="connsiteX0" fmla="*/ 114014 w 231669"/>
                <a:gd name="connsiteY0" fmla="*/ 231657 h 231657"/>
                <a:gd name="connsiteX1" fmla="*/ 27524 w 231669"/>
                <a:gd name="connsiteY1" fmla="*/ 231657 h 231657"/>
                <a:gd name="connsiteX2" fmla="*/ 0 w 231669"/>
                <a:gd name="connsiteY2" fmla="*/ 204133 h 231657"/>
                <a:gd name="connsiteX3" fmla="*/ 0 w 231669"/>
                <a:gd name="connsiteY3" fmla="*/ 27524 h 231657"/>
                <a:gd name="connsiteX4" fmla="*/ 27524 w 231669"/>
                <a:gd name="connsiteY4" fmla="*/ 0 h 231657"/>
                <a:gd name="connsiteX5" fmla="*/ 204145 w 231669"/>
                <a:gd name="connsiteY5" fmla="*/ 0 h 231657"/>
                <a:gd name="connsiteX6" fmla="*/ 231669 w 231669"/>
                <a:gd name="connsiteY6" fmla="*/ 27524 h 231657"/>
                <a:gd name="connsiteX7" fmla="*/ 231669 w 231669"/>
                <a:gd name="connsiteY7" fmla="*/ 130898 h 2316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31669" h="231657">
                  <a:moveTo>
                    <a:pt x="114014" y="231657"/>
                  </a:moveTo>
                  <a:lnTo>
                    <a:pt x="27524" y="231657"/>
                  </a:lnTo>
                  <a:cubicBezTo>
                    <a:pt x="12395" y="231657"/>
                    <a:pt x="0" y="219262"/>
                    <a:pt x="0" y="204133"/>
                  </a:cubicBezTo>
                  <a:lnTo>
                    <a:pt x="0" y="27524"/>
                  </a:lnTo>
                  <a:cubicBezTo>
                    <a:pt x="0" y="12383"/>
                    <a:pt x="12395" y="0"/>
                    <a:pt x="27524" y="0"/>
                  </a:cubicBezTo>
                  <a:lnTo>
                    <a:pt x="204145" y="0"/>
                  </a:lnTo>
                  <a:cubicBezTo>
                    <a:pt x="219274" y="0"/>
                    <a:pt x="231669" y="12395"/>
                    <a:pt x="231669" y="27524"/>
                  </a:cubicBezTo>
                  <a:lnTo>
                    <a:pt x="231669" y="130898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179" name="Gráfico 10">
              <a:extLst>
                <a:ext uri="{FF2B5EF4-FFF2-40B4-BE49-F238E27FC236}">
                  <a16:creationId xmlns:a16="http://schemas.microsoft.com/office/drawing/2014/main" id="{08919DBD-EE54-3546-AE90-0A7DB7677164}"/>
                </a:ext>
              </a:extLst>
            </p:cNvPr>
            <p:cNvGrpSpPr/>
            <p:nvPr/>
          </p:nvGrpSpPr>
          <p:grpSpPr>
            <a:xfrm>
              <a:off x="9350757" y="3177986"/>
              <a:ext cx="114312" cy="149657"/>
              <a:chOff x="9350757" y="3177986"/>
              <a:chExt cx="114312" cy="149657"/>
            </a:xfrm>
            <a:noFill/>
          </p:grpSpPr>
          <p:sp>
            <p:nvSpPr>
              <p:cNvPr id="1180" name="Forma livre: Forma 1179">
                <a:extLst>
                  <a:ext uri="{FF2B5EF4-FFF2-40B4-BE49-F238E27FC236}">
                    <a16:creationId xmlns:a16="http://schemas.microsoft.com/office/drawing/2014/main" id="{739092B8-EE17-2EF8-AF85-C50FC3634126}"/>
                  </a:ext>
                </a:extLst>
              </p:cNvPr>
              <p:cNvSpPr/>
              <p:nvPr/>
            </p:nvSpPr>
            <p:spPr>
              <a:xfrm>
                <a:off x="9350757" y="3177986"/>
                <a:ext cx="114312" cy="149657"/>
              </a:xfrm>
              <a:custGeom>
                <a:avLst/>
                <a:gdLst>
                  <a:gd name="connsiteX0" fmla="*/ 64160 w 114312"/>
                  <a:gd name="connsiteY0" fmla="*/ 0 h 149657"/>
                  <a:gd name="connsiteX1" fmla="*/ 0 w 114312"/>
                  <a:gd name="connsiteY1" fmla="*/ 0 h 149657"/>
                  <a:gd name="connsiteX2" fmla="*/ 0 w 114312"/>
                  <a:gd name="connsiteY2" fmla="*/ 149658 h 149657"/>
                  <a:gd name="connsiteX3" fmla="*/ 31047 w 114312"/>
                  <a:gd name="connsiteY3" fmla="*/ 149658 h 149657"/>
                  <a:gd name="connsiteX4" fmla="*/ 31047 w 114312"/>
                  <a:gd name="connsiteY4" fmla="*/ 94729 h 149657"/>
                  <a:gd name="connsiteX5" fmla="*/ 64160 w 114312"/>
                  <a:gd name="connsiteY5" fmla="*/ 94729 h 149657"/>
                  <a:gd name="connsiteX6" fmla="*/ 114312 w 114312"/>
                  <a:gd name="connsiteY6" fmla="*/ 47370 h 149657"/>
                  <a:gd name="connsiteX7" fmla="*/ 64160 w 114312"/>
                  <a:gd name="connsiteY7" fmla="*/ 0 h 1496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14312" h="149657">
                    <a:moveTo>
                      <a:pt x="64160" y="0"/>
                    </a:moveTo>
                    <a:lnTo>
                      <a:pt x="0" y="0"/>
                    </a:lnTo>
                    <a:lnTo>
                      <a:pt x="0" y="149658"/>
                    </a:lnTo>
                    <a:lnTo>
                      <a:pt x="31047" y="149658"/>
                    </a:lnTo>
                    <a:lnTo>
                      <a:pt x="31047" y="94729"/>
                    </a:lnTo>
                    <a:lnTo>
                      <a:pt x="64160" y="94729"/>
                    </a:lnTo>
                    <a:cubicBezTo>
                      <a:pt x="91815" y="94729"/>
                      <a:pt x="114312" y="73485"/>
                      <a:pt x="114312" y="47370"/>
                    </a:cubicBezTo>
                    <a:cubicBezTo>
                      <a:pt x="114312" y="21255"/>
                      <a:pt x="91815" y="0"/>
                      <a:pt x="64160" y="0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181" name="Forma livre: Forma 1180">
                <a:extLst>
                  <a:ext uri="{FF2B5EF4-FFF2-40B4-BE49-F238E27FC236}">
                    <a16:creationId xmlns:a16="http://schemas.microsoft.com/office/drawing/2014/main" id="{B6E202AA-2EFB-39FB-FA50-1B363F6F2EA6}"/>
                  </a:ext>
                </a:extLst>
              </p:cNvPr>
              <p:cNvSpPr/>
              <p:nvPr/>
            </p:nvSpPr>
            <p:spPr>
              <a:xfrm>
                <a:off x="9381804" y="3206644"/>
                <a:ext cx="54606" cy="37411"/>
              </a:xfrm>
              <a:custGeom>
                <a:avLst/>
                <a:gdLst>
                  <a:gd name="connsiteX0" fmla="*/ 0 w 54606"/>
                  <a:gd name="connsiteY0" fmla="*/ 0 h 37411"/>
                  <a:gd name="connsiteX1" fmla="*/ 33113 w 54606"/>
                  <a:gd name="connsiteY1" fmla="*/ 0 h 37411"/>
                  <a:gd name="connsiteX2" fmla="*/ 54607 w 54606"/>
                  <a:gd name="connsiteY2" fmla="*/ 18712 h 37411"/>
                  <a:gd name="connsiteX3" fmla="*/ 33113 w 54606"/>
                  <a:gd name="connsiteY3" fmla="*/ 37411 h 37411"/>
                  <a:gd name="connsiteX4" fmla="*/ 0 w 54606"/>
                  <a:gd name="connsiteY4" fmla="*/ 37411 h 37411"/>
                  <a:gd name="connsiteX5" fmla="*/ 0 w 54606"/>
                  <a:gd name="connsiteY5" fmla="*/ 0 h 374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54606" h="37411">
                    <a:moveTo>
                      <a:pt x="0" y="0"/>
                    </a:moveTo>
                    <a:lnTo>
                      <a:pt x="33113" y="0"/>
                    </a:lnTo>
                    <a:cubicBezTo>
                      <a:pt x="44767" y="0"/>
                      <a:pt x="54607" y="8574"/>
                      <a:pt x="54607" y="18712"/>
                    </a:cubicBezTo>
                    <a:cubicBezTo>
                      <a:pt x="54607" y="28850"/>
                      <a:pt x="44767" y="37411"/>
                      <a:pt x="33113" y="37411"/>
                    </a:cubicBezTo>
                    <a:lnTo>
                      <a:pt x="0" y="37411"/>
                    </a:lnTo>
                    <a:lnTo>
                      <a:pt x="0" y="0"/>
                    </a:ln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182" name="Gráfico 10">
            <a:extLst>
              <a:ext uri="{FF2B5EF4-FFF2-40B4-BE49-F238E27FC236}">
                <a16:creationId xmlns:a16="http://schemas.microsoft.com/office/drawing/2014/main" id="{82B3F561-238F-85D5-A209-F7250CA043BF}"/>
              </a:ext>
            </a:extLst>
          </p:cNvPr>
          <p:cNvGrpSpPr/>
          <p:nvPr/>
        </p:nvGrpSpPr>
        <p:grpSpPr>
          <a:xfrm>
            <a:off x="9260876" y="2083715"/>
            <a:ext cx="377099" cy="257939"/>
            <a:chOff x="9260876" y="2083715"/>
            <a:chExt cx="377099" cy="257939"/>
          </a:xfrm>
          <a:noFill/>
        </p:grpSpPr>
        <p:sp>
          <p:nvSpPr>
            <p:cNvPr id="1183" name="Forma livre: Forma 1182">
              <a:extLst>
                <a:ext uri="{FF2B5EF4-FFF2-40B4-BE49-F238E27FC236}">
                  <a16:creationId xmlns:a16="http://schemas.microsoft.com/office/drawing/2014/main" id="{563BF84B-09D0-B079-DF4A-D7F73700ADAF}"/>
                </a:ext>
              </a:extLst>
            </p:cNvPr>
            <p:cNvSpPr/>
            <p:nvPr/>
          </p:nvSpPr>
          <p:spPr>
            <a:xfrm>
              <a:off x="9380024" y="2307850"/>
              <a:ext cx="115446" cy="1194"/>
            </a:xfrm>
            <a:custGeom>
              <a:avLst/>
              <a:gdLst>
                <a:gd name="connsiteX0" fmla="*/ 115447 w 115446"/>
                <a:gd name="connsiteY0" fmla="*/ 0 h 1194"/>
                <a:gd name="connsiteX1" fmla="*/ 0 w 115446"/>
                <a:gd name="connsiteY1" fmla="*/ 0 h 11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5446" h="1194">
                  <a:moveTo>
                    <a:pt x="115447" y="0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84" name="Forma livre: Forma 1183">
              <a:extLst>
                <a:ext uri="{FF2B5EF4-FFF2-40B4-BE49-F238E27FC236}">
                  <a16:creationId xmlns:a16="http://schemas.microsoft.com/office/drawing/2014/main" id="{103416CE-55B4-3D8B-72CC-0DE3FB2DAB66}"/>
                </a:ext>
              </a:extLst>
            </p:cNvPr>
            <p:cNvSpPr/>
            <p:nvPr/>
          </p:nvSpPr>
          <p:spPr>
            <a:xfrm>
              <a:off x="9292938" y="2278391"/>
              <a:ext cx="291494" cy="29458"/>
            </a:xfrm>
            <a:custGeom>
              <a:avLst/>
              <a:gdLst>
                <a:gd name="connsiteX0" fmla="*/ 0 w 291494"/>
                <a:gd name="connsiteY0" fmla="*/ 29459 h 29458"/>
                <a:gd name="connsiteX1" fmla="*/ 0 w 291494"/>
                <a:gd name="connsiteY1" fmla="*/ 0 h 29458"/>
                <a:gd name="connsiteX2" fmla="*/ 273057 w 291494"/>
                <a:gd name="connsiteY2" fmla="*/ 0 h 29458"/>
                <a:gd name="connsiteX3" fmla="*/ 291494 w 291494"/>
                <a:gd name="connsiteY3" fmla="*/ 29459 h 294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91494" h="29458">
                  <a:moveTo>
                    <a:pt x="0" y="29459"/>
                  </a:moveTo>
                  <a:lnTo>
                    <a:pt x="0" y="0"/>
                  </a:lnTo>
                  <a:lnTo>
                    <a:pt x="273057" y="0"/>
                  </a:lnTo>
                  <a:lnTo>
                    <a:pt x="291494" y="29459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85" name="Forma livre: Forma 1184">
              <a:extLst>
                <a:ext uri="{FF2B5EF4-FFF2-40B4-BE49-F238E27FC236}">
                  <a16:creationId xmlns:a16="http://schemas.microsoft.com/office/drawing/2014/main" id="{BECAED07-EA8A-BC26-F734-975FF2AC3DE4}"/>
                </a:ext>
              </a:extLst>
            </p:cNvPr>
            <p:cNvSpPr/>
            <p:nvPr/>
          </p:nvSpPr>
          <p:spPr>
            <a:xfrm>
              <a:off x="9260876" y="2307850"/>
              <a:ext cx="58953" cy="1194"/>
            </a:xfrm>
            <a:custGeom>
              <a:avLst/>
              <a:gdLst>
                <a:gd name="connsiteX0" fmla="*/ 58953 w 58953"/>
                <a:gd name="connsiteY0" fmla="*/ 0 h 1194"/>
                <a:gd name="connsiteX1" fmla="*/ 0 w 58953"/>
                <a:gd name="connsiteY1" fmla="*/ 0 h 11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8953" h="1194">
                  <a:moveTo>
                    <a:pt x="58953" y="0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86" name="Forma livre: Forma 1185">
              <a:extLst>
                <a:ext uri="{FF2B5EF4-FFF2-40B4-BE49-F238E27FC236}">
                  <a16:creationId xmlns:a16="http://schemas.microsoft.com/office/drawing/2014/main" id="{1A7D95C5-42C4-98DA-4D27-879A0840FE2B}"/>
                </a:ext>
              </a:extLst>
            </p:cNvPr>
            <p:cNvSpPr/>
            <p:nvPr/>
          </p:nvSpPr>
          <p:spPr>
            <a:xfrm>
              <a:off x="9317262" y="2299384"/>
              <a:ext cx="42271" cy="42271"/>
            </a:xfrm>
            <a:custGeom>
              <a:avLst/>
              <a:gdLst>
                <a:gd name="connsiteX0" fmla="*/ 42272 w 42271"/>
                <a:gd name="connsiteY0" fmla="*/ 21136 h 42271"/>
                <a:gd name="connsiteX1" fmla="*/ 21136 w 42271"/>
                <a:gd name="connsiteY1" fmla="*/ 42272 h 42271"/>
                <a:gd name="connsiteX2" fmla="*/ 0 w 42271"/>
                <a:gd name="connsiteY2" fmla="*/ 21136 h 42271"/>
                <a:gd name="connsiteX3" fmla="*/ 21136 w 42271"/>
                <a:gd name="connsiteY3" fmla="*/ 0 h 42271"/>
                <a:gd name="connsiteX4" fmla="*/ 42272 w 42271"/>
                <a:gd name="connsiteY4" fmla="*/ 21136 h 422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2271" h="42271">
                  <a:moveTo>
                    <a:pt x="42272" y="21136"/>
                  </a:moveTo>
                  <a:cubicBezTo>
                    <a:pt x="42272" y="32814"/>
                    <a:pt x="32814" y="42272"/>
                    <a:pt x="21136" y="42272"/>
                  </a:cubicBezTo>
                  <a:cubicBezTo>
                    <a:pt x="9457" y="42272"/>
                    <a:pt x="0" y="32802"/>
                    <a:pt x="0" y="21136"/>
                  </a:cubicBezTo>
                  <a:cubicBezTo>
                    <a:pt x="0" y="9469"/>
                    <a:pt x="9457" y="0"/>
                    <a:pt x="21136" y="0"/>
                  </a:cubicBezTo>
                  <a:cubicBezTo>
                    <a:pt x="32814" y="0"/>
                    <a:pt x="42272" y="9469"/>
                    <a:pt x="42272" y="21136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87" name="Forma livre: Forma 1186">
              <a:extLst>
                <a:ext uri="{FF2B5EF4-FFF2-40B4-BE49-F238E27FC236}">
                  <a16:creationId xmlns:a16="http://schemas.microsoft.com/office/drawing/2014/main" id="{719B3370-DDB5-5F50-BF52-04F502D8AABE}"/>
                </a:ext>
              </a:extLst>
            </p:cNvPr>
            <p:cNvSpPr/>
            <p:nvPr/>
          </p:nvSpPr>
          <p:spPr>
            <a:xfrm>
              <a:off x="9515783" y="2299384"/>
              <a:ext cx="42271" cy="42271"/>
            </a:xfrm>
            <a:custGeom>
              <a:avLst/>
              <a:gdLst>
                <a:gd name="connsiteX0" fmla="*/ 42272 w 42271"/>
                <a:gd name="connsiteY0" fmla="*/ 21136 h 42271"/>
                <a:gd name="connsiteX1" fmla="*/ 21136 w 42271"/>
                <a:gd name="connsiteY1" fmla="*/ 42272 h 42271"/>
                <a:gd name="connsiteX2" fmla="*/ 0 w 42271"/>
                <a:gd name="connsiteY2" fmla="*/ 21136 h 42271"/>
                <a:gd name="connsiteX3" fmla="*/ 21136 w 42271"/>
                <a:gd name="connsiteY3" fmla="*/ 0 h 42271"/>
                <a:gd name="connsiteX4" fmla="*/ 42272 w 42271"/>
                <a:gd name="connsiteY4" fmla="*/ 21136 h 422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2271" h="42271">
                  <a:moveTo>
                    <a:pt x="42272" y="21136"/>
                  </a:moveTo>
                  <a:cubicBezTo>
                    <a:pt x="42272" y="32814"/>
                    <a:pt x="32814" y="42272"/>
                    <a:pt x="21136" y="42272"/>
                  </a:cubicBezTo>
                  <a:cubicBezTo>
                    <a:pt x="9457" y="42272"/>
                    <a:pt x="0" y="32802"/>
                    <a:pt x="0" y="21136"/>
                  </a:cubicBezTo>
                  <a:cubicBezTo>
                    <a:pt x="0" y="9469"/>
                    <a:pt x="9457" y="0"/>
                    <a:pt x="21136" y="0"/>
                  </a:cubicBezTo>
                  <a:cubicBezTo>
                    <a:pt x="32814" y="0"/>
                    <a:pt x="42272" y="9469"/>
                    <a:pt x="42272" y="21136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88" name="Forma livre: Forma 1187">
              <a:extLst>
                <a:ext uri="{FF2B5EF4-FFF2-40B4-BE49-F238E27FC236}">
                  <a16:creationId xmlns:a16="http://schemas.microsoft.com/office/drawing/2014/main" id="{BE5C641A-52E4-58FD-FB85-B4F9B59B2F9B}"/>
                </a:ext>
              </a:extLst>
            </p:cNvPr>
            <p:cNvSpPr/>
            <p:nvPr/>
          </p:nvSpPr>
          <p:spPr>
            <a:xfrm>
              <a:off x="9536274" y="2196427"/>
              <a:ext cx="101702" cy="111422"/>
            </a:xfrm>
            <a:custGeom>
              <a:avLst/>
              <a:gdLst>
                <a:gd name="connsiteX0" fmla="*/ 0 w 101702"/>
                <a:gd name="connsiteY0" fmla="*/ 64040 h 111422"/>
                <a:gd name="connsiteX1" fmla="*/ 0 w 101702"/>
                <a:gd name="connsiteY1" fmla="*/ 0 h 111422"/>
                <a:gd name="connsiteX2" fmla="*/ 47394 w 101702"/>
                <a:gd name="connsiteY2" fmla="*/ 0 h 111422"/>
                <a:gd name="connsiteX3" fmla="*/ 101702 w 101702"/>
                <a:gd name="connsiteY3" fmla="*/ 111422 h 111422"/>
                <a:gd name="connsiteX4" fmla="*/ 18353 w 101702"/>
                <a:gd name="connsiteY4" fmla="*/ 111422 h 1114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1702" h="111422">
                  <a:moveTo>
                    <a:pt x="0" y="64040"/>
                  </a:moveTo>
                  <a:lnTo>
                    <a:pt x="0" y="0"/>
                  </a:lnTo>
                  <a:lnTo>
                    <a:pt x="47394" y="0"/>
                  </a:lnTo>
                  <a:cubicBezTo>
                    <a:pt x="47394" y="0"/>
                    <a:pt x="101702" y="20491"/>
                    <a:pt x="101702" y="111422"/>
                  </a:cubicBezTo>
                  <a:lnTo>
                    <a:pt x="18353" y="111422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89" name="Forma livre: Forma 1188">
              <a:extLst>
                <a:ext uri="{FF2B5EF4-FFF2-40B4-BE49-F238E27FC236}">
                  <a16:creationId xmlns:a16="http://schemas.microsoft.com/office/drawing/2014/main" id="{4D13C945-1011-54E2-AEBE-1338F2600D50}"/>
                </a:ext>
              </a:extLst>
            </p:cNvPr>
            <p:cNvSpPr/>
            <p:nvPr/>
          </p:nvSpPr>
          <p:spPr>
            <a:xfrm>
              <a:off x="9558950" y="2253685"/>
              <a:ext cx="70822" cy="1194"/>
            </a:xfrm>
            <a:custGeom>
              <a:avLst/>
              <a:gdLst>
                <a:gd name="connsiteX0" fmla="*/ 70823 w 70822"/>
                <a:gd name="connsiteY0" fmla="*/ 0 h 1194"/>
                <a:gd name="connsiteX1" fmla="*/ 0 w 70822"/>
                <a:gd name="connsiteY1" fmla="*/ 0 h 11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0822" h="1194">
                  <a:moveTo>
                    <a:pt x="70823" y="0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90" name="Forma livre: Forma 1189">
              <a:extLst>
                <a:ext uri="{FF2B5EF4-FFF2-40B4-BE49-F238E27FC236}">
                  <a16:creationId xmlns:a16="http://schemas.microsoft.com/office/drawing/2014/main" id="{CFDFE16E-4BE2-9DEE-1C5A-26EAC2FB146F}"/>
                </a:ext>
              </a:extLst>
            </p:cNvPr>
            <p:cNvSpPr/>
            <p:nvPr/>
          </p:nvSpPr>
          <p:spPr>
            <a:xfrm>
              <a:off x="9300712" y="2083715"/>
              <a:ext cx="284257" cy="193397"/>
            </a:xfrm>
            <a:custGeom>
              <a:avLst/>
              <a:gdLst>
                <a:gd name="connsiteX0" fmla="*/ 0 w 284257"/>
                <a:gd name="connsiteY0" fmla="*/ 193398 h 193397"/>
                <a:gd name="connsiteX1" fmla="*/ 0 w 284257"/>
                <a:gd name="connsiteY1" fmla="*/ 140750 h 193397"/>
                <a:gd name="connsiteX2" fmla="*/ 185875 w 284257"/>
                <a:gd name="connsiteY2" fmla="*/ 4932 h 193397"/>
                <a:gd name="connsiteX3" fmla="*/ 200993 w 284257"/>
                <a:gd name="connsiteY3" fmla="*/ 0 h 193397"/>
                <a:gd name="connsiteX4" fmla="*/ 284258 w 284257"/>
                <a:gd name="connsiteY4" fmla="*/ 0 h 193397"/>
                <a:gd name="connsiteX5" fmla="*/ 284258 w 284257"/>
                <a:gd name="connsiteY5" fmla="*/ 23954 h 1933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84257" h="193397">
                  <a:moveTo>
                    <a:pt x="0" y="193398"/>
                  </a:moveTo>
                  <a:lnTo>
                    <a:pt x="0" y="140750"/>
                  </a:lnTo>
                  <a:lnTo>
                    <a:pt x="185875" y="4932"/>
                  </a:lnTo>
                  <a:cubicBezTo>
                    <a:pt x="190257" y="1731"/>
                    <a:pt x="195559" y="0"/>
                    <a:pt x="200993" y="0"/>
                  </a:cubicBezTo>
                  <a:lnTo>
                    <a:pt x="284258" y="0"/>
                  </a:lnTo>
                  <a:lnTo>
                    <a:pt x="284258" y="23954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91" name="Forma livre: Forma 1190">
              <a:extLst>
                <a:ext uri="{FF2B5EF4-FFF2-40B4-BE49-F238E27FC236}">
                  <a16:creationId xmlns:a16="http://schemas.microsoft.com/office/drawing/2014/main" id="{701184BC-D4B7-0AF3-4048-0B04A4D37E68}"/>
                </a:ext>
              </a:extLst>
            </p:cNvPr>
            <p:cNvSpPr/>
            <p:nvPr/>
          </p:nvSpPr>
          <p:spPr>
            <a:xfrm>
              <a:off x="9300425" y="2109329"/>
              <a:ext cx="299888" cy="168345"/>
            </a:xfrm>
            <a:custGeom>
              <a:avLst/>
              <a:gdLst>
                <a:gd name="connsiteX0" fmla="*/ 51203 w 299888"/>
                <a:gd name="connsiteY0" fmla="*/ 168346 h 168345"/>
                <a:gd name="connsiteX1" fmla="*/ 216731 w 299888"/>
                <a:gd name="connsiteY1" fmla="*/ 47394 h 168345"/>
                <a:gd name="connsiteX2" fmla="*/ 299889 w 299888"/>
                <a:gd name="connsiteY2" fmla="*/ 47394 h 168345"/>
                <a:gd name="connsiteX3" fmla="*/ 299889 w 299888"/>
                <a:gd name="connsiteY3" fmla="*/ 0 h 168345"/>
                <a:gd name="connsiteX4" fmla="*/ 201279 w 299888"/>
                <a:gd name="connsiteY4" fmla="*/ 0 h 168345"/>
                <a:gd name="connsiteX5" fmla="*/ 0 w 299888"/>
                <a:gd name="connsiteY5" fmla="*/ 147079 h 1683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99888" h="168345">
                  <a:moveTo>
                    <a:pt x="51203" y="168346"/>
                  </a:moveTo>
                  <a:lnTo>
                    <a:pt x="216731" y="47394"/>
                  </a:lnTo>
                  <a:lnTo>
                    <a:pt x="299889" y="47394"/>
                  </a:lnTo>
                  <a:lnTo>
                    <a:pt x="299889" y="0"/>
                  </a:lnTo>
                  <a:lnTo>
                    <a:pt x="201279" y="0"/>
                  </a:lnTo>
                  <a:lnTo>
                    <a:pt x="0" y="147079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92" name="Forma livre: Forma 1191">
              <a:extLst>
                <a:ext uri="{FF2B5EF4-FFF2-40B4-BE49-F238E27FC236}">
                  <a16:creationId xmlns:a16="http://schemas.microsoft.com/office/drawing/2014/main" id="{EEE9EA70-632C-8316-FF6E-30A68043DE2E}"/>
                </a:ext>
              </a:extLst>
            </p:cNvPr>
            <p:cNvSpPr/>
            <p:nvPr/>
          </p:nvSpPr>
          <p:spPr>
            <a:xfrm>
              <a:off x="9453164" y="2227964"/>
              <a:ext cx="36981" cy="48325"/>
            </a:xfrm>
            <a:custGeom>
              <a:avLst/>
              <a:gdLst>
                <a:gd name="connsiteX0" fmla="*/ 36982 w 36981"/>
                <a:gd name="connsiteY0" fmla="*/ 48326 h 48325"/>
                <a:gd name="connsiteX1" fmla="*/ 0 w 36981"/>
                <a:gd name="connsiteY1" fmla="*/ 0 h 483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6981" h="48325">
                  <a:moveTo>
                    <a:pt x="36982" y="48326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193" name="Gráfico 10">
            <a:extLst>
              <a:ext uri="{FF2B5EF4-FFF2-40B4-BE49-F238E27FC236}">
                <a16:creationId xmlns:a16="http://schemas.microsoft.com/office/drawing/2014/main" id="{B960D9B0-80EC-0991-4907-3F7DFD83B459}"/>
              </a:ext>
            </a:extLst>
          </p:cNvPr>
          <p:cNvGrpSpPr/>
          <p:nvPr/>
        </p:nvGrpSpPr>
        <p:grpSpPr>
          <a:xfrm>
            <a:off x="8030931" y="1028084"/>
            <a:ext cx="346123" cy="255028"/>
            <a:chOff x="8030931" y="1028084"/>
            <a:chExt cx="346123" cy="255028"/>
          </a:xfrm>
          <a:noFill/>
        </p:grpSpPr>
        <p:grpSp>
          <p:nvGrpSpPr>
            <p:cNvPr id="1194" name="Gráfico 10">
              <a:extLst>
                <a:ext uri="{FF2B5EF4-FFF2-40B4-BE49-F238E27FC236}">
                  <a16:creationId xmlns:a16="http://schemas.microsoft.com/office/drawing/2014/main" id="{080A04A4-F29F-6730-3D06-24F31D5E1111}"/>
                </a:ext>
              </a:extLst>
            </p:cNvPr>
            <p:cNvGrpSpPr/>
            <p:nvPr/>
          </p:nvGrpSpPr>
          <p:grpSpPr>
            <a:xfrm>
              <a:off x="8030931" y="1028084"/>
              <a:ext cx="346123" cy="191996"/>
              <a:chOff x="8030931" y="1028084"/>
              <a:chExt cx="346123" cy="191996"/>
            </a:xfrm>
            <a:noFill/>
          </p:grpSpPr>
          <p:sp>
            <p:nvSpPr>
              <p:cNvPr id="1195" name="Forma livre: Forma 1194">
                <a:extLst>
                  <a:ext uri="{FF2B5EF4-FFF2-40B4-BE49-F238E27FC236}">
                    <a16:creationId xmlns:a16="http://schemas.microsoft.com/office/drawing/2014/main" id="{EEB008A1-D10F-6A8C-D173-6BDD9BD6206E}"/>
                  </a:ext>
                </a:extLst>
              </p:cNvPr>
              <p:cNvSpPr/>
              <p:nvPr/>
            </p:nvSpPr>
            <p:spPr>
              <a:xfrm>
                <a:off x="8129899" y="1028084"/>
                <a:ext cx="89510" cy="24470"/>
              </a:xfrm>
              <a:custGeom>
                <a:avLst/>
                <a:gdLst>
                  <a:gd name="connsiteX0" fmla="*/ 89510 w 89510"/>
                  <a:gd name="connsiteY0" fmla="*/ 11323 h 24470"/>
                  <a:gd name="connsiteX1" fmla="*/ 0 w 89510"/>
                  <a:gd name="connsiteY1" fmla="*/ 2940 h 24470"/>
                  <a:gd name="connsiteX2" fmla="*/ 37268 w 89510"/>
                  <a:gd name="connsiteY2" fmla="*/ 24470 h 244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9510" h="24470">
                    <a:moveTo>
                      <a:pt x="89510" y="11323"/>
                    </a:moveTo>
                    <a:cubicBezTo>
                      <a:pt x="67814" y="4218"/>
                      <a:pt x="30904" y="-4726"/>
                      <a:pt x="0" y="2940"/>
                    </a:cubicBezTo>
                    <a:lnTo>
                      <a:pt x="37268" y="24470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196" name="Forma livre: Forma 1195">
                <a:extLst>
                  <a:ext uri="{FF2B5EF4-FFF2-40B4-BE49-F238E27FC236}">
                    <a16:creationId xmlns:a16="http://schemas.microsoft.com/office/drawing/2014/main" id="{BA53788C-7F0D-31A0-1843-109885C9A8A1}"/>
                  </a:ext>
                </a:extLst>
              </p:cNvPr>
              <p:cNvSpPr/>
              <p:nvPr/>
            </p:nvSpPr>
            <p:spPr>
              <a:xfrm>
                <a:off x="8263448" y="1047288"/>
                <a:ext cx="113606" cy="59060"/>
              </a:xfrm>
              <a:custGeom>
                <a:avLst/>
                <a:gdLst>
                  <a:gd name="connsiteX0" fmla="*/ 0 w 113606"/>
                  <a:gd name="connsiteY0" fmla="*/ 59061 h 59060"/>
                  <a:gd name="connsiteX1" fmla="*/ 97869 w 113606"/>
                  <a:gd name="connsiteY1" fmla="*/ 33793 h 59060"/>
                  <a:gd name="connsiteX2" fmla="*/ 111924 w 113606"/>
                  <a:gd name="connsiteY2" fmla="*/ 0 h 590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13606" h="59060">
                    <a:moveTo>
                      <a:pt x="0" y="59061"/>
                    </a:moveTo>
                    <a:lnTo>
                      <a:pt x="97869" y="33793"/>
                    </a:lnTo>
                    <a:cubicBezTo>
                      <a:pt x="114432" y="29303"/>
                      <a:pt x="115518" y="9708"/>
                      <a:pt x="111924" y="0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197" name="Forma livre: Forma 1196">
                <a:extLst>
                  <a:ext uri="{FF2B5EF4-FFF2-40B4-BE49-F238E27FC236}">
                    <a16:creationId xmlns:a16="http://schemas.microsoft.com/office/drawing/2014/main" id="{FBBB8EE4-4EEE-2C0E-E095-A48942B7693C}"/>
                  </a:ext>
                </a:extLst>
              </p:cNvPr>
              <p:cNvSpPr/>
              <p:nvPr/>
            </p:nvSpPr>
            <p:spPr>
              <a:xfrm>
                <a:off x="8154724" y="1090670"/>
                <a:ext cx="117715" cy="129410"/>
              </a:xfrm>
              <a:custGeom>
                <a:avLst/>
                <a:gdLst>
                  <a:gd name="connsiteX0" fmla="*/ 35035 w 117715"/>
                  <a:gd name="connsiteY0" fmla="*/ 26557 h 129410"/>
                  <a:gd name="connsiteX1" fmla="*/ 0 w 117715"/>
                  <a:gd name="connsiteY1" fmla="*/ 122110 h 129410"/>
                  <a:gd name="connsiteX2" fmla="*/ 46260 w 117715"/>
                  <a:gd name="connsiteY2" fmla="*/ 104723 h 129410"/>
                  <a:gd name="connsiteX3" fmla="*/ 117715 w 117715"/>
                  <a:gd name="connsiteY3" fmla="*/ 0 h 1294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7715" h="129410">
                    <a:moveTo>
                      <a:pt x="35035" y="26557"/>
                    </a:moveTo>
                    <a:lnTo>
                      <a:pt x="0" y="122110"/>
                    </a:lnTo>
                    <a:cubicBezTo>
                      <a:pt x="0" y="122110"/>
                      <a:pt x="10640" y="147055"/>
                      <a:pt x="46260" y="104723"/>
                    </a:cubicBezTo>
                    <a:lnTo>
                      <a:pt x="117715" y="0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198" name="Forma livre: Forma 1197">
                <a:extLst>
                  <a:ext uri="{FF2B5EF4-FFF2-40B4-BE49-F238E27FC236}">
                    <a16:creationId xmlns:a16="http://schemas.microsoft.com/office/drawing/2014/main" id="{B0004E6F-2A6D-7E16-D8EE-CD2835130EF7}"/>
                  </a:ext>
                </a:extLst>
              </p:cNvPr>
              <p:cNvSpPr/>
              <p:nvPr/>
            </p:nvSpPr>
            <p:spPr>
              <a:xfrm>
                <a:off x="8030931" y="1035717"/>
                <a:ext cx="344405" cy="103362"/>
              </a:xfrm>
              <a:custGeom>
                <a:avLst/>
                <a:gdLst>
                  <a:gd name="connsiteX0" fmla="*/ 308880 w 344405"/>
                  <a:gd name="connsiteY0" fmla="*/ 20001 h 103362"/>
                  <a:gd name="connsiteX1" fmla="*/ 344405 w 344405"/>
                  <a:gd name="connsiteY1" fmla="*/ 11272 h 103362"/>
                  <a:gd name="connsiteX2" fmla="*/ 332739 w 344405"/>
                  <a:gd name="connsiteY2" fmla="*/ 3941 h 103362"/>
                  <a:gd name="connsiteX3" fmla="*/ 268257 w 344405"/>
                  <a:gd name="connsiteY3" fmla="*/ 5278 h 103362"/>
                  <a:gd name="connsiteX4" fmla="*/ 68136 w 344405"/>
                  <a:gd name="connsiteY4" fmla="*/ 55419 h 103362"/>
                  <a:gd name="connsiteX5" fmla="*/ 3881 w 344405"/>
                  <a:gd name="connsiteY5" fmla="*/ 30127 h 103362"/>
                  <a:gd name="connsiteX6" fmla="*/ 0 w 344405"/>
                  <a:gd name="connsiteY6" fmla="*/ 33411 h 103362"/>
                  <a:gd name="connsiteX7" fmla="*/ 39215 w 344405"/>
                  <a:gd name="connsiteY7" fmla="*/ 79683 h 103362"/>
                  <a:gd name="connsiteX8" fmla="*/ 6938 w 344405"/>
                  <a:gd name="connsiteY8" fmla="*/ 88257 h 103362"/>
                  <a:gd name="connsiteX9" fmla="*/ 9469 w 344405"/>
                  <a:gd name="connsiteY9" fmla="*/ 96938 h 103362"/>
                  <a:gd name="connsiteX10" fmla="*/ 124952 w 344405"/>
                  <a:gd name="connsiteY10" fmla="*/ 96854 h 1033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344405" h="103362">
                    <a:moveTo>
                      <a:pt x="308880" y="20001"/>
                    </a:moveTo>
                    <a:lnTo>
                      <a:pt x="344405" y="11272"/>
                    </a:lnTo>
                    <a:cubicBezTo>
                      <a:pt x="342196" y="8801"/>
                      <a:pt x="338196" y="6269"/>
                      <a:pt x="332739" y="3941"/>
                    </a:cubicBezTo>
                    <a:cubicBezTo>
                      <a:pt x="310278" y="-5648"/>
                      <a:pt x="268257" y="5278"/>
                      <a:pt x="268257" y="5278"/>
                    </a:cubicBezTo>
                    <a:lnTo>
                      <a:pt x="68136" y="55419"/>
                    </a:lnTo>
                    <a:lnTo>
                      <a:pt x="3881" y="30127"/>
                    </a:lnTo>
                    <a:lnTo>
                      <a:pt x="0" y="33411"/>
                    </a:lnTo>
                    <a:lnTo>
                      <a:pt x="39215" y="79683"/>
                    </a:lnTo>
                    <a:lnTo>
                      <a:pt x="6938" y="88257"/>
                    </a:lnTo>
                    <a:lnTo>
                      <a:pt x="9469" y="96938"/>
                    </a:lnTo>
                    <a:cubicBezTo>
                      <a:pt x="48493" y="109595"/>
                      <a:pt x="107040" y="100222"/>
                      <a:pt x="124952" y="96854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199" name="Forma livre: Forma 1198">
              <a:extLst>
                <a:ext uri="{FF2B5EF4-FFF2-40B4-BE49-F238E27FC236}">
                  <a16:creationId xmlns:a16="http://schemas.microsoft.com/office/drawing/2014/main" id="{CCE81E82-84B5-5138-F299-ED431AFB267B}"/>
                </a:ext>
              </a:extLst>
            </p:cNvPr>
            <p:cNvSpPr/>
            <p:nvPr/>
          </p:nvSpPr>
          <p:spPr>
            <a:xfrm>
              <a:off x="8070253" y="1283113"/>
              <a:ext cx="267468" cy="1194"/>
            </a:xfrm>
            <a:custGeom>
              <a:avLst/>
              <a:gdLst>
                <a:gd name="connsiteX0" fmla="*/ 0 w 267468"/>
                <a:gd name="connsiteY0" fmla="*/ 0 h 1194"/>
                <a:gd name="connsiteX1" fmla="*/ 267469 w 267468"/>
                <a:gd name="connsiteY1" fmla="*/ 0 h 11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67468" h="1194">
                  <a:moveTo>
                    <a:pt x="0" y="0"/>
                  </a:moveTo>
                  <a:lnTo>
                    <a:pt x="267469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200" name="Gráfico 10">
            <a:extLst>
              <a:ext uri="{FF2B5EF4-FFF2-40B4-BE49-F238E27FC236}">
                <a16:creationId xmlns:a16="http://schemas.microsoft.com/office/drawing/2014/main" id="{A32F68D5-8F05-F2E1-253C-A218517CE5FE}"/>
              </a:ext>
            </a:extLst>
          </p:cNvPr>
          <p:cNvGrpSpPr/>
          <p:nvPr/>
        </p:nvGrpSpPr>
        <p:grpSpPr>
          <a:xfrm>
            <a:off x="8087568" y="2586627"/>
            <a:ext cx="232851" cy="315101"/>
            <a:chOff x="8087568" y="2586627"/>
            <a:chExt cx="232851" cy="315101"/>
          </a:xfrm>
          <a:noFill/>
        </p:grpSpPr>
        <p:grpSp>
          <p:nvGrpSpPr>
            <p:cNvPr id="1201" name="Gráfico 10">
              <a:extLst>
                <a:ext uri="{FF2B5EF4-FFF2-40B4-BE49-F238E27FC236}">
                  <a16:creationId xmlns:a16="http://schemas.microsoft.com/office/drawing/2014/main" id="{5C462466-60CE-0604-A789-883724BEE4CF}"/>
                </a:ext>
              </a:extLst>
            </p:cNvPr>
            <p:cNvGrpSpPr/>
            <p:nvPr/>
          </p:nvGrpSpPr>
          <p:grpSpPr>
            <a:xfrm>
              <a:off x="8116425" y="2671817"/>
              <a:ext cx="175120" cy="200870"/>
              <a:chOff x="8116425" y="2671817"/>
              <a:chExt cx="175120" cy="200870"/>
            </a:xfrm>
            <a:noFill/>
          </p:grpSpPr>
          <p:grpSp>
            <p:nvGrpSpPr>
              <p:cNvPr id="1202" name="Gráfico 10">
                <a:extLst>
                  <a:ext uri="{FF2B5EF4-FFF2-40B4-BE49-F238E27FC236}">
                    <a16:creationId xmlns:a16="http://schemas.microsoft.com/office/drawing/2014/main" id="{08FF680E-B223-4921-CB5D-A1B31272F66C}"/>
                  </a:ext>
                </a:extLst>
              </p:cNvPr>
              <p:cNvGrpSpPr/>
              <p:nvPr/>
            </p:nvGrpSpPr>
            <p:grpSpPr>
              <a:xfrm>
                <a:off x="8116425" y="2671817"/>
                <a:ext cx="64884" cy="200870"/>
                <a:chOff x="8116425" y="2671817"/>
                <a:chExt cx="64884" cy="200870"/>
              </a:xfrm>
              <a:noFill/>
            </p:grpSpPr>
            <p:sp>
              <p:nvSpPr>
                <p:cNvPr id="1203" name="Forma livre: Forma 1202">
                  <a:extLst>
                    <a:ext uri="{FF2B5EF4-FFF2-40B4-BE49-F238E27FC236}">
                      <a16:creationId xmlns:a16="http://schemas.microsoft.com/office/drawing/2014/main" id="{C3F6AB66-0138-2A7A-4720-5A2C539E8938}"/>
                    </a:ext>
                  </a:extLst>
                </p:cNvPr>
                <p:cNvSpPr/>
                <p:nvPr/>
              </p:nvSpPr>
              <p:spPr>
                <a:xfrm rot="-4844399">
                  <a:off x="8130672" y="2674508"/>
                  <a:ext cx="36396" cy="36396"/>
                </a:xfrm>
                <a:custGeom>
                  <a:avLst/>
                  <a:gdLst>
                    <a:gd name="connsiteX0" fmla="*/ 36396 w 36396"/>
                    <a:gd name="connsiteY0" fmla="*/ 18198 h 36396"/>
                    <a:gd name="connsiteX1" fmla="*/ 18198 w 36396"/>
                    <a:gd name="connsiteY1" fmla="*/ 36396 h 36396"/>
                    <a:gd name="connsiteX2" fmla="*/ 0 w 36396"/>
                    <a:gd name="connsiteY2" fmla="*/ 18198 h 36396"/>
                    <a:gd name="connsiteX3" fmla="*/ 18198 w 36396"/>
                    <a:gd name="connsiteY3" fmla="*/ 0 h 36396"/>
                    <a:gd name="connsiteX4" fmla="*/ 36396 w 36396"/>
                    <a:gd name="connsiteY4" fmla="*/ 18198 h 3639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6396" h="36396">
                      <a:moveTo>
                        <a:pt x="36396" y="18198"/>
                      </a:moveTo>
                      <a:cubicBezTo>
                        <a:pt x="36396" y="28249"/>
                        <a:pt x="28249" y="36396"/>
                        <a:pt x="18198" y="36396"/>
                      </a:cubicBezTo>
                      <a:cubicBezTo>
                        <a:pt x="8148" y="36396"/>
                        <a:pt x="0" y="28249"/>
                        <a:pt x="0" y="18198"/>
                      </a:cubicBezTo>
                      <a:cubicBezTo>
                        <a:pt x="0" y="8147"/>
                        <a:pt x="8148" y="0"/>
                        <a:pt x="18198" y="0"/>
                      </a:cubicBezTo>
                      <a:cubicBezTo>
                        <a:pt x="28249" y="0"/>
                        <a:pt x="36396" y="8147"/>
                        <a:pt x="36396" y="18198"/>
                      </a:cubicBezTo>
                      <a:close/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204" name="Forma livre: Forma 1203">
                  <a:extLst>
                    <a:ext uri="{FF2B5EF4-FFF2-40B4-BE49-F238E27FC236}">
                      <a16:creationId xmlns:a16="http://schemas.microsoft.com/office/drawing/2014/main" id="{DCEC7FB3-E54B-0FFE-0D14-412B4D02283A}"/>
                    </a:ext>
                  </a:extLst>
                </p:cNvPr>
                <p:cNvSpPr/>
                <p:nvPr/>
              </p:nvSpPr>
              <p:spPr>
                <a:xfrm>
                  <a:off x="8116425" y="2733371"/>
                  <a:ext cx="64884" cy="139316"/>
                </a:xfrm>
                <a:custGeom>
                  <a:avLst/>
                  <a:gdLst>
                    <a:gd name="connsiteX0" fmla="*/ 50575 w 64884"/>
                    <a:gd name="connsiteY0" fmla="*/ 139317 h 139316"/>
                    <a:gd name="connsiteX1" fmla="*/ 52151 w 64884"/>
                    <a:gd name="connsiteY1" fmla="*/ 74560 h 139316"/>
                    <a:gd name="connsiteX2" fmla="*/ 64844 w 64884"/>
                    <a:gd name="connsiteY2" fmla="*/ 60900 h 139316"/>
                    <a:gd name="connsiteX3" fmla="*/ 59877 w 64884"/>
                    <a:gd name="connsiteY3" fmla="*/ 11619 h 139316"/>
                    <a:gd name="connsiteX4" fmla="*/ 47028 w 64884"/>
                    <a:gd name="connsiteY4" fmla="*/ 0 h 139316"/>
                    <a:gd name="connsiteX5" fmla="*/ 17856 w 64884"/>
                    <a:gd name="connsiteY5" fmla="*/ 0 h 139316"/>
                    <a:gd name="connsiteX6" fmla="*/ 5008 w 64884"/>
                    <a:gd name="connsiteY6" fmla="*/ 11619 h 139316"/>
                    <a:gd name="connsiteX7" fmla="*/ 40 w 64884"/>
                    <a:gd name="connsiteY7" fmla="*/ 60900 h 139316"/>
                    <a:gd name="connsiteX8" fmla="*/ 12733 w 64884"/>
                    <a:gd name="connsiteY8" fmla="*/ 74560 h 139316"/>
                    <a:gd name="connsiteX9" fmla="*/ 14310 w 64884"/>
                    <a:gd name="connsiteY9" fmla="*/ 139317 h 13931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64884" h="139316">
                      <a:moveTo>
                        <a:pt x="50575" y="139317"/>
                      </a:moveTo>
                      <a:lnTo>
                        <a:pt x="52151" y="74560"/>
                      </a:lnTo>
                      <a:cubicBezTo>
                        <a:pt x="58229" y="72375"/>
                        <a:pt x="65489" y="67288"/>
                        <a:pt x="64844" y="60900"/>
                      </a:cubicBezTo>
                      <a:lnTo>
                        <a:pt x="59877" y="11619"/>
                      </a:lnTo>
                      <a:cubicBezTo>
                        <a:pt x="59232" y="5230"/>
                        <a:pt x="53453" y="0"/>
                        <a:pt x="47028" y="0"/>
                      </a:cubicBezTo>
                      <a:lnTo>
                        <a:pt x="17856" y="0"/>
                      </a:lnTo>
                      <a:cubicBezTo>
                        <a:pt x="11432" y="0"/>
                        <a:pt x="5652" y="5230"/>
                        <a:pt x="5008" y="11619"/>
                      </a:cubicBezTo>
                      <a:lnTo>
                        <a:pt x="40" y="60900"/>
                      </a:lnTo>
                      <a:cubicBezTo>
                        <a:pt x="-605" y="67288"/>
                        <a:pt x="6655" y="72375"/>
                        <a:pt x="12733" y="74560"/>
                      </a:cubicBezTo>
                      <a:lnTo>
                        <a:pt x="14310" y="139317"/>
                      </a:ln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1205" name="Gráfico 10">
                <a:extLst>
                  <a:ext uri="{FF2B5EF4-FFF2-40B4-BE49-F238E27FC236}">
                    <a16:creationId xmlns:a16="http://schemas.microsoft.com/office/drawing/2014/main" id="{C263B676-2AFA-D5BE-D73C-897A5C8D6DBD}"/>
                  </a:ext>
                </a:extLst>
              </p:cNvPr>
              <p:cNvGrpSpPr/>
              <p:nvPr/>
            </p:nvGrpSpPr>
            <p:grpSpPr>
              <a:xfrm>
                <a:off x="8210752" y="2674824"/>
                <a:ext cx="80793" cy="197863"/>
                <a:chOff x="8210752" y="2674824"/>
                <a:chExt cx="80793" cy="197863"/>
              </a:xfrm>
              <a:noFill/>
            </p:grpSpPr>
            <p:sp>
              <p:nvSpPr>
                <p:cNvPr id="1206" name="Forma livre: Forma 1205">
                  <a:extLst>
                    <a:ext uri="{FF2B5EF4-FFF2-40B4-BE49-F238E27FC236}">
                      <a16:creationId xmlns:a16="http://schemas.microsoft.com/office/drawing/2014/main" id="{7D35E0DF-B722-3238-7F32-F224F12EBD71}"/>
                    </a:ext>
                  </a:extLst>
                </p:cNvPr>
                <p:cNvSpPr/>
                <p:nvPr/>
              </p:nvSpPr>
              <p:spPr>
                <a:xfrm>
                  <a:off x="8232951" y="2674824"/>
                  <a:ext cx="36396" cy="36420"/>
                </a:xfrm>
                <a:custGeom>
                  <a:avLst/>
                  <a:gdLst>
                    <a:gd name="connsiteX0" fmla="*/ 36396 w 36396"/>
                    <a:gd name="connsiteY0" fmla="*/ 18210 h 36420"/>
                    <a:gd name="connsiteX1" fmla="*/ 18198 w 36396"/>
                    <a:gd name="connsiteY1" fmla="*/ 36420 h 36420"/>
                    <a:gd name="connsiteX2" fmla="*/ 0 w 36396"/>
                    <a:gd name="connsiteY2" fmla="*/ 18210 h 36420"/>
                    <a:gd name="connsiteX3" fmla="*/ 18198 w 36396"/>
                    <a:gd name="connsiteY3" fmla="*/ 0 h 36420"/>
                    <a:gd name="connsiteX4" fmla="*/ 36396 w 36396"/>
                    <a:gd name="connsiteY4" fmla="*/ 18210 h 3642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6396" h="36420">
                      <a:moveTo>
                        <a:pt x="36396" y="18210"/>
                      </a:moveTo>
                      <a:cubicBezTo>
                        <a:pt x="36396" y="28264"/>
                        <a:pt x="28253" y="36420"/>
                        <a:pt x="18198" y="36420"/>
                      </a:cubicBezTo>
                      <a:cubicBezTo>
                        <a:pt x="8144" y="36420"/>
                        <a:pt x="0" y="28264"/>
                        <a:pt x="0" y="18210"/>
                      </a:cubicBezTo>
                      <a:cubicBezTo>
                        <a:pt x="0" y="8156"/>
                        <a:pt x="8144" y="0"/>
                        <a:pt x="18198" y="0"/>
                      </a:cubicBezTo>
                      <a:cubicBezTo>
                        <a:pt x="28253" y="0"/>
                        <a:pt x="36396" y="8156"/>
                        <a:pt x="36396" y="18210"/>
                      </a:cubicBezTo>
                      <a:close/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207" name="Forma livre: Forma 1206">
                  <a:extLst>
                    <a:ext uri="{FF2B5EF4-FFF2-40B4-BE49-F238E27FC236}">
                      <a16:creationId xmlns:a16="http://schemas.microsoft.com/office/drawing/2014/main" id="{BF1DB2E9-D00D-2C84-2CB7-9287970EC633}"/>
                    </a:ext>
                  </a:extLst>
                </p:cNvPr>
                <p:cNvSpPr/>
                <p:nvPr/>
              </p:nvSpPr>
              <p:spPr>
                <a:xfrm>
                  <a:off x="8210752" y="2733371"/>
                  <a:ext cx="80793" cy="139316"/>
                </a:xfrm>
                <a:custGeom>
                  <a:avLst/>
                  <a:gdLst>
                    <a:gd name="connsiteX0" fmla="*/ 53986 w 80793"/>
                    <a:gd name="connsiteY0" fmla="*/ 139317 h 139316"/>
                    <a:gd name="connsiteX1" fmla="*/ 57293 w 80793"/>
                    <a:gd name="connsiteY1" fmla="*/ 84209 h 139316"/>
                    <a:gd name="connsiteX2" fmla="*/ 80793 w 80793"/>
                    <a:gd name="connsiteY2" fmla="*/ 84209 h 139316"/>
                    <a:gd name="connsiteX3" fmla="*/ 62822 w 80793"/>
                    <a:gd name="connsiteY3" fmla="*/ 8598 h 139316"/>
                    <a:gd name="connsiteX4" fmla="*/ 50678 w 80793"/>
                    <a:gd name="connsiteY4" fmla="*/ 0 h 139316"/>
                    <a:gd name="connsiteX5" fmla="*/ 30127 w 80793"/>
                    <a:gd name="connsiteY5" fmla="*/ 0 h 139316"/>
                    <a:gd name="connsiteX6" fmla="*/ 17983 w 80793"/>
                    <a:gd name="connsiteY6" fmla="*/ 8598 h 139316"/>
                    <a:gd name="connsiteX7" fmla="*/ 0 w 80793"/>
                    <a:gd name="connsiteY7" fmla="*/ 84209 h 139316"/>
                    <a:gd name="connsiteX8" fmla="*/ 23500 w 80793"/>
                    <a:gd name="connsiteY8" fmla="*/ 84209 h 139316"/>
                    <a:gd name="connsiteX9" fmla="*/ 26808 w 80793"/>
                    <a:gd name="connsiteY9" fmla="*/ 139317 h 13931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80793" h="139316">
                      <a:moveTo>
                        <a:pt x="53986" y="139317"/>
                      </a:moveTo>
                      <a:lnTo>
                        <a:pt x="57293" y="84209"/>
                      </a:lnTo>
                      <a:lnTo>
                        <a:pt x="80793" y="84209"/>
                      </a:lnTo>
                      <a:cubicBezTo>
                        <a:pt x="65784" y="47800"/>
                        <a:pt x="62822" y="8598"/>
                        <a:pt x="62822" y="8598"/>
                      </a:cubicBezTo>
                      <a:cubicBezTo>
                        <a:pt x="61043" y="3033"/>
                        <a:pt x="57102" y="0"/>
                        <a:pt x="50678" y="0"/>
                      </a:cubicBezTo>
                      <a:lnTo>
                        <a:pt x="30127" y="0"/>
                      </a:lnTo>
                      <a:cubicBezTo>
                        <a:pt x="23703" y="0"/>
                        <a:pt x="19763" y="3033"/>
                        <a:pt x="17983" y="8598"/>
                      </a:cubicBezTo>
                      <a:cubicBezTo>
                        <a:pt x="17983" y="8598"/>
                        <a:pt x="15022" y="47788"/>
                        <a:pt x="0" y="84209"/>
                      </a:cubicBezTo>
                      <a:lnTo>
                        <a:pt x="23500" y="84209"/>
                      </a:lnTo>
                      <a:lnTo>
                        <a:pt x="26808" y="139317"/>
                      </a:ln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sp>
          <p:nvSpPr>
            <p:cNvPr id="1208" name="Forma livre: Forma 1207">
              <a:extLst>
                <a:ext uri="{FF2B5EF4-FFF2-40B4-BE49-F238E27FC236}">
                  <a16:creationId xmlns:a16="http://schemas.microsoft.com/office/drawing/2014/main" id="{1168210C-10A9-45C9-0C96-F2A4EF1F5E58}"/>
                </a:ext>
              </a:extLst>
            </p:cNvPr>
            <p:cNvSpPr/>
            <p:nvPr/>
          </p:nvSpPr>
          <p:spPr>
            <a:xfrm>
              <a:off x="8087568" y="2642607"/>
              <a:ext cx="232851" cy="259121"/>
            </a:xfrm>
            <a:custGeom>
              <a:avLst/>
              <a:gdLst>
                <a:gd name="connsiteX0" fmla="*/ 208969 w 232851"/>
                <a:gd name="connsiteY0" fmla="*/ 0 h 259121"/>
                <a:gd name="connsiteX1" fmla="*/ 232851 w 232851"/>
                <a:gd name="connsiteY1" fmla="*/ 23882 h 259121"/>
                <a:gd name="connsiteX2" fmla="*/ 232851 w 232851"/>
                <a:gd name="connsiteY2" fmla="*/ 235240 h 259121"/>
                <a:gd name="connsiteX3" fmla="*/ 208969 w 232851"/>
                <a:gd name="connsiteY3" fmla="*/ 259122 h 259121"/>
                <a:gd name="connsiteX4" fmla="*/ 23882 w 232851"/>
                <a:gd name="connsiteY4" fmla="*/ 259122 h 259121"/>
                <a:gd name="connsiteX5" fmla="*/ 0 w 232851"/>
                <a:gd name="connsiteY5" fmla="*/ 235240 h 259121"/>
                <a:gd name="connsiteX6" fmla="*/ 0 w 232851"/>
                <a:gd name="connsiteY6" fmla="*/ 23882 h 259121"/>
                <a:gd name="connsiteX7" fmla="*/ 23882 w 232851"/>
                <a:gd name="connsiteY7" fmla="*/ 0 h 2591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32851" h="259121">
                  <a:moveTo>
                    <a:pt x="208969" y="0"/>
                  </a:moveTo>
                  <a:cubicBezTo>
                    <a:pt x="222159" y="0"/>
                    <a:pt x="232851" y="10692"/>
                    <a:pt x="232851" y="23882"/>
                  </a:cubicBezTo>
                  <a:lnTo>
                    <a:pt x="232851" y="235240"/>
                  </a:lnTo>
                  <a:cubicBezTo>
                    <a:pt x="232851" y="248429"/>
                    <a:pt x="222159" y="259122"/>
                    <a:pt x="208969" y="259122"/>
                  </a:cubicBezTo>
                  <a:lnTo>
                    <a:pt x="23882" y="259122"/>
                  </a:lnTo>
                  <a:cubicBezTo>
                    <a:pt x="10692" y="259122"/>
                    <a:pt x="0" y="248429"/>
                    <a:pt x="0" y="235240"/>
                  </a:cubicBezTo>
                  <a:lnTo>
                    <a:pt x="0" y="23882"/>
                  </a:lnTo>
                  <a:cubicBezTo>
                    <a:pt x="0" y="10692"/>
                    <a:pt x="10692" y="0"/>
                    <a:pt x="23882" y="0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209" name="Gráfico 10">
              <a:extLst>
                <a:ext uri="{FF2B5EF4-FFF2-40B4-BE49-F238E27FC236}">
                  <a16:creationId xmlns:a16="http://schemas.microsoft.com/office/drawing/2014/main" id="{354C1DB3-4192-B002-D7F2-E95CA1F9F48B}"/>
                </a:ext>
              </a:extLst>
            </p:cNvPr>
            <p:cNvGrpSpPr/>
            <p:nvPr/>
          </p:nvGrpSpPr>
          <p:grpSpPr>
            <a:xfrm>
              <a:off x="8131833" y="2586627"/>
              <a:ext cx="144308" cy="26282"/>
              <a:chOff x="8131833" y="2586627"/>
              <a:chExt cx="144308" cy="26282"/>
            </a:xfrm>
            <a:noFill/>
          </p:grpSpPr>
          <p:sp>
            <p:nvSpPr>
              <p:cNvPr id="1210" name="Forma livre: Forma 1209">
                <a:extLst>
                  <a:ext uri="{FF2B5EF4-FFF2-40B4-BE49-F238E27FC236}">
                    <a16:creationId xmlns:a16="http://schemas.microsoft.com/office/drawing/2014/main" id="{AB165EFE-3F69-4AFD-69FF-E7CE4181AF9C}"/>
                  </a:ext>
                </a:extLst>
              </p:cNvPr>
              <p:cNvSpPr/>
              <p:nvPr/>
            </p:nvSpPr>
            <p:spPr>
              <a:xfrm>
                <a:off x="8131833" y="2586627"/>
                <a:ext cx="59777" cy="26282"/>
              </a:xfrm>
              <a:custGeom>
                <a:avLst/>
                <a:gdLst>
                  <a:gd name="connsiteX0" fmla="*/ 59777 w 59777"/>
                  <a:gd name="connsiteY0" fmla="*/ 26282 h 26282"/>
                  <a:gd name="connsiteX1" fmla="*/ 29924 w 59777"/>
                  <a:gd name="connsiteY1" fmla="*/ 0 h 26282"/>
                  <a:gd name="connsiteX2" fmla="*/ 0 w 59777"/>
                  <a:gd name="connsiteY2" fmla="*/ 26282 h 262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59777" h="26282">
                    <a:moveTo>
                      <a:pt x="59777" y="26282"/>
                    </a:moveTo>
                    <a:lnTo>
                      <a:pt x="29924" y="0"/>
                    </a:lnTo>
                    <a:lnTo>
                      <a:pt x="0" y="26282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11" name="Forma livre: Forma 1210">
                <a:extLst>
                  <a:ext uri="{FF2B5EF4-FFF2-40B4-BE49-F238E27FC236}">
                    <a16:creationId xmlns:a16="http://schemas.microsoft.com/office/drawing/2014/main" id="{865234CE-2DFF-065E-28E7-6EEA112E8AF3}"/>
                  </a:ext>
                </a:extLst>
              </p:cNvPr>
              <p:cNvSpPr/>
              <p:nvPr/>
            </p:nvSpPr>
            <p:spPr>
              <a:xfrm>
                <a:off x="8216364" y="2586627"/>
                <a:ext cx="59777" cy="26282"/>
              </a:xfrm>
              <a:custGeom>
                <a:avLst/>
                <a:gdLst>
                  <a:gd name="connsiteX0" fmla="*/ 0 w 59777"/>
                  <a:gd name="connsiteY0" fmla="*/ 0 h 26282"/>
                  <a:gd name="connsiteX1" fmla="*/ 29853 w 59777"/>
                  <a:gd name="connsiteY1" fmla="*/ 26282 h 26282"/>
                  <a:gd name="connsiteX2" fmla="*/ 59777 w 59777"/>
                  <a:gd name="connsiteY2" fmla="*/ 0 h 262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59777" h="26282">
                    <a:moveTo>
                      <a:pt x="0" y="0"/>
                    </a:moveTo>
                    <a:lnTo>
                      <a:pt x="29853" y="26282"/>
                    </a:lnTo>
                    <a:lnTo>
                      <a:pt x="59777" y="0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212" name="Gráfico 10">
            <a:extLst>
              <a:ext uri="{FF2B5EF4-FFF2-40B4-BE49-F238E27FC236}">
                <a16:creationId xmlns:a16="http://schemas.microsoft.com/office/drawing/2014/main" id="{E483FB47-A7CE-BA84-F4A1-4510977D2D4D}"/>
              </a:ext>
            </a:extLst>
          </p:cNvPr>
          <p:cNvGrpSpPr/>
          <p:nvPr/>
        </p:nvGrpSpPr>
        <p:grpSpPr>
          <a:xfrm>
            <a:off x="8033188" y="1561675"/>
            <a:ext cx="341599" cy="239060"/>
            <a:chOff x="8033188" y="1561675"/>
            <a:chExt cx="341599" cy="239060"/>
          </a:xfrm>
        </p:grpSpPr>
        <p:sp>
          <p:nvSpPr>
            <p:cNvPr id="1213" name="Forma livre: Forma 1212">
              <a:extLst>
                <a:ext uri="{FF2B5EF4-FFF2-40B4-BE49-F238E27FC236}">
                  <a16:creationId xmlns:a16="http://schemas.microsoft.com/office/drawing/2014/main" id="{F7333289-C27C-C958-F494-5C0E29A5CB66}"/>
                </a:ext>
              </a:extLst>
            </p:cNvPr>
            <p:cNvSpPr/>
            <p:nvPr/>
          </p:nvSpPr>
          <p:spPr>
            <a:xfrm>
              <a:off x="8234109" y="1638193"/>
              <a:ext cx="1194" cy="161479"/>
            </a:xfrm>
            <a:custGeom>
              <a:avLst/>
              <a:gdLst>
                <a:gd name="connsiteX0" fmla="*/ 0 w 1194"/>
                <a:gd name="connsiteY0" fmla="*/ 0 h 161479"/>
                <a:gd name="connsiteX1" fmla="*/ 0 w 1194"/>
                <a:gd name="connsiteY1" fmla="*/ 161480 h 1614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94" h="161479">
                  <a:moveTo>
                    <a:pt x="0" y="0"/>
                  </a:moveTo>
                  <a:lnTo>
                    <a:pt x="0" y="161480"/>
                  </a:lnTo>
                </a:path>
              </a:pathLst>
            </a:custGeom>
            <a:ln w="6350" cap="flat">
              <a:solidFill>
                <a:schemeClr val="accent2"/>
              </a:solidFill>
              <a:custDash>
                <a:ds d="1800000" sp="990000"/>
              </a:custDash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14" name="Forma livre: Forma 1213">
              <a:extLst>
                <a:ext uri="{FF2B5EF4-FFF2-40B4-BE49-F238E27FC236}">
                  <a16:creationId xmlns:a16="http://schemas.microsoft.com/office/drawing/2014/main" id="{BF765BC0-18A4-0E23-3E45-2FAC861D7F0F}"/>
                </a:ext>
              </a:extLst>
            </p:cNvPr>
            <p:cNvSpPr/>
            <p:nvPr/>
          </p:nvSpPr>
          <p:spPr>
            <a:xfrm>
              <a:off x="8033188" y="1637142"/>
              <a:ext cx="300915" cy="163593"/>
            </a:xfrm>
            <a:custGeom>
              <a:avLst/>
              <a:gdLst>
                <a:gd name="connsiteX0" fmla="*/ 281810 w 300915"/>
                <a:gd name="connsiteY0" fmla="*/ 0 h 163593"/>
                <a:gd name="connsiteX1" fmla="*/ 300916 w 300915"/>
                <a:gd name="connsiteY1" fmla="*/ 19106 h 163593"/>
                <a:gd name="connsiteX2" fmla="*/ 300916 w 300915"/>
                <a:gd name="connsiteY2" fmla="*/ 144487 h 163593"/>
                <a:gd name="connsiteX3" fmla="*/ 281810 w 300915"/>
                <a:gd name="connsiteY3" fmla="*/ 163593 h 163593"/>
                <a:gd name="connsiteX4" fmla="*/ 19106 w 300915"/>
                <a:gd name="connsiteY4" fmla="*/ 163593 h 163593"/>
                <a:gd name="connsiteX5" fmla="*/ 0 w 300915"/>
                <a:gd name="connsiteY5" fmla="*/ 144487 h 163593"/>
                <a:gd name="connsiteX6" fmla="*/ 0 w 300915"/>
                <a:gd name="connsiteY6" fmla="*/ 19106 h 163593"/>
                <a:gd name="connsiteX7" fmla="*/ 19106 w 300915"/>
                <a:gd name="connsiteY7" fmla="*/ 0 h 1635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00915" h="163593">
                  <a:moveTo>
                    <a:pt x="281810" y="0"/>
                  </a:moveTo>
                  <a:cubicBezTo>
                    <a:pt x="292362" y="0"/>
                    <a:pt x="300916" y="8554"/>
                    <a:pt x="300916" y="19106"/>
                  </a:cubicBezTo>
                  <a:lnTo>
                    <a:pt x="300916" y="144487"/>
                  </a:lnTo>
                  <a:cubicBezTo>
                    <a:pt x="300916" y="155039"/>
                    <a:pt x="292362" y="163593"/>
                    <a:pt x="281810" y="163593"/>
                  </a:cubicBezTo>
                  <a:lnTo>
                    <a:pt x="19106" y="163593"/>
                  </a:lnTo>
                  <a:cubicBezTo>
                    <a:pt x="8554" y="163593"/>
                    <a:pt x="0" y="155039"/>
                    <a:pt x="0" y="144487"/>
                  </a:cubicBezTo>
                  <a:lnTo>
                    <a:pt x="0" y="19106"/>
                  </a:lnTo>
                  <a:cubicBezTo>
                    <a:pt x="0" y="8554"/>
                    <a:pt x="8554" y="0"/>
                    <a:pt x="19106" y="0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15" name="Forma livre: Forma 1214">
              <a:extLst>
                <a:ext uri="{FF2B5EF4-FFF2-40B4-BE49-F238E27FC236}">
                  <a16:creationId xmlns:a16="http://schemas.microsoft.com/office/drawing/2014/main" id="{ABEFB2AE-F56D-6B8D-6201-AB5A3159BA9A}"/>
                </a:ext>
              </a:extLst>
            </p:cNvPr>
            <p:cNvSpPr/>
            <p:nvPr/>
          </p:nvSpPr>
          <p:spPr>
            <a:xfrm>
              <a:off x="8073788" y="1561675"/>
              <a:ext cx="300915" cy="163593"/>
            </a:xfrm>
            <a:custGeom>
              <a:avLst/>
              <a:gdLst>
                <a:gd name="connsiteX0" fmla="*/ 0 w 300915"/>
                <a:gd name="connsiteY0" fmla="*/ 53616 h 163593"/>
                <a:gd name="connsiteX1" fmla="*/ 0 w 300915"/>
                <a:gd name="connsiteY1" fmla="*/ 19106 h 163593"/>
                <a:gd name="connsiteX2" fmla="*/ 19106 w 300915"/>
                <a:gd name="connsiteY2" fmla="*/ 0 h 163593"/>
                <a:gd name="connsiteX3" fmla="*/ 281810 w 300915"/>
                <a:gd name="connsiteY3" fmla="*/ 0 h 163593"/>
                <a:gd name="connsiteX4" fmla="*/ 300916 w 300915"/>
                <a:gd name="connsiteY4" fmla="*/ 19106 h 163593"/>
                <a:gd name="connsiteX5" fmla="*/ 300916 w 300915"/>
                <a:gd name="connsiteY5" fmla="*/ 144487 h 163593"/>
                <a:gd name="connsiteX6" fmla="*/ 281810 w 300915"/>
                <a:gd name="connsiteY6" fmla="*/ 163593 h 1635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00915" h="163593">
                  <a:moveTo>
                    <a:pt x="0" y="53616"/>
                  </a:moveTo>
                  <a:lnTo>
                    <a:pt x="0" y="19106"/>
                  </a:lnTo>
                  <a:cubicBezTo>
                    <a:pt x="0" y="8598"/>
                    <a:pt x="8598" y="0"/>
                    <a:pt x="19106" y="0"/>
                  </a:cubicBezTo>
                  <a:lnTo>
                    <a:pt x="281810" y="0"/>
                  </a:lnTo>
                  <a:cubicBezTo>
                    <a:pt x="292318" y="0"/>
                    <a:pt x="300916" y="8598"/>
                    <a:pt x="300916" y="19106"/>
                  </a:cubicBezTo>
                  <a:lnTo>
                    <a:pt x="300916" y="144487"/>
                  </a:lnTo>
                  <a:cubicBezTo>
                    <a:pt x="300916" y="154995"/>
                    <a:pt x="292318" y="163593"/>
                    <a:pt x="281810" y="163593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16" name="Forma livre: Forma 1215">
              <a:extLst>
                <a:ext uri="{FF2B5EF4-FFF2-40B4-BE49-F238E27FC236}">
                  <a16:creationId xmlns:a16="http://schemas.microsoft.com/office/drawing/2014/main" id="{69BED675-2942-279C-9C4D-0BB08228A6B1}"/>
                </a:ext>
              </a:extLst>
            </p:cNvPr>
            <p:cNvSpPr/>
            <p:nvPr/>
          </p:nvSpPr>
          <p:spPr>
            <a:xfrm>
              <a:off x="8077525" y="1665311"/>
              <a:ext cx="115840" cy="107242"/>
            </a:xfrm>
            <a:custGeom>
              <a:avLst/>
              <a:gdLst>
                <a:gd name="connsiteX0" fmla="*/ 49842 w 115840"/>
                <a:gd name="connsiteY0" fmla="*/ 60028 h 107242"/>
                <a:gd name="connsiteX1" fmla="*/ 16622 w 115840"/>
                <a:gd name="connsiteY1" fmla="*/ 60028 h 107242"/>
                <a:gd name="connsiteX2" fmla="*/ 10054 w 115840"/>
                <a:gd name="connsiteY2" fmla="*/ 72936 h 107242"/>
                <a:gd name="connsiteX3" fmla="*/ 0 w 115840"/>
                <a:gd name="connsiteY3" fmla="*/ 72865 h 107242"/>
                <a:gd name="connsiteX4" fmla="*/ 7941 w 115840"/>
                <a:gd name="connsiteY4" fmla="*/ 53556 h 107242"/>
                <a:gd name="connsiteX5" fmla="*/ 155 w 115840"/>
                <a:gd name="connsiteY5" fmla="*/ 34402 h 107242"/>
                <a:gd name="connsiteX6" fmla="*/ 9983 w 115840"/>
                <a:gd name="connsiteY6" fmla="*/ 34462 h 107242"/>
                <a:gd name="connsiteX7" fmla="*/ 16562 w 115840"/>
                <a:gd name="connsiteY7" fmla="*/ 47239 h 107242"/>
                <a:gd name="connsiteX8" fmla="*/ 49890 w 115840"/>
                <a:gd name="connsiteY8" fmla="*/ 47239 h 107242"/>
                <a:gd name="connsiteX9" fmla="*/ 34116 w 115840"/>
                <a:gd name="connsiteY9" fmla="*/ 0 h 107242"/>
                <a:gd name="connsiteX10" fmla="*/ 42164 w 115840"/>
                <a:gd name="connsiteY10" fmla="*/ 0 h 107242"/>
                <a:gd name="connsiteX11" fmla="*/ 70954 w 115840"/>
                <a:gd name="connsiteY11" fmla="*/ 47239 h 107242"/>
                <a:gd name="connsiteX12" fmla="*/ 109452 w 115840"/>
                <a:gd name="connsiteY12" fmla="*/ 47239 h 107242"/>
                <a:gd name="connsiteX13" fmla="*/ 115841 w 115840"/>
                <a:gd name="connsiteY13" fmla="*/ 53639 h 107242"/>
                <a:gd name="connsiteX14" fmla="*/ 109452 w 115840"/>
                <a:gd name="connsiteY14" fmla="*/ 60040 h 107242"/>
                <a:gd name="connsiteX15" fmla="*/ 70906 w 115840"/>
                <a:gd name="connsiteY15" fmla="*/ 60040 h 107242"/>
                <a:gd name="connsiteX16" fmla="*/ 42021 w 115840"/>
                <a:gd name="connsiteY16" fmla="*/ 107183 h 107242"/>
                <a:gd name="connsiteX17" fmla="*/ 34116 w 115840"/>
                <a:gd name="connsiteY17" fmla="*/ 107243 h 107242"/>
                <a:gd name="connsiteX18" fmla="*/ 49854 w 115840"/>
                <a:gd name="connsiteY18" fmla="*/ 60040 h 1072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15840" h="107242">
                  <a:moveTo>
                    <a:pt x="49842" y="60028"/>
                  </a:moveTo>
                  <a:lnTo>
                    <a:pt x="16622" y="60028"/>
                  </a:lnTo>
                  <a:cubicBezTo>
                    <a:pt x="16622" y="60028"/>
                    <a:pt x="10054" y="72936"/>
                    <a:pt x="10054" y="72936"/>
                  </a:cubicBezTo>
                  <a:lnTo>
                    <a:pt x="0" y="72865"/>
                  </a:lnTo>
                  <a:lnTo>
                    <a:pt x="7941" y="53556"/>
                  </a:lnTo>
                  <a:lnTo>
                    <a:pt x="155" y="34402"/>
                  </a:lnTo>
                  <a:lnTo>
                    <a:pt x="9983" y="34462"/>
                  </a:lnTo>
                  <a:lnTo>
                    <a:pt x="16562" y="47239"/>
                  </a:lnTo>
                  <a:lnTo>
                    <a:pt x="49890" y="47239"/>
                  </a:lnTo>
                  <a:lnTo>
                    <a:pt x="34116" y="0"/>
                  </a:lnTo>
                  <a:lnTo>
                    <a:pt x="42164" y="0"/>
                  </a:lnTo>
                  <a:cubicBezTo>
                    <a:pt x="42164" y="0"/>
                    <a:pt x="70954" y="47239"/>
                    <a:pt x="70954" y="47239"/>
                  </a:cubicBezTo>
                  <a:lnTo>
                    <a:pt x="109452" y="47239"/>
                  </a:lnTo>
                  <a:cubicBezTo>
                    <a:pt x="112975" y="47239"/>
                    <a:pt x="115853" y="50105"/>
                    <a:pt x="115841" y="53639"/>
                  </a:cubicBezTo>
                  <a:cubicBezTo>
                    <a:pt x="115841" y="57174"/>
                    <a:pt x="112975" y="60040"/>
                    <a:pt x="109452" y="60040"/>
                  </a:cubicBezTo>
                  <a:lnTo>
                    <a:pt x="70906" y="60040"/>
                  </a:lnTo>
                  <a:cubicBezTo>
                    <a:pt x="70906" y="60040"/>
                    <a:pt x="42021" y="107183"/>
                    <a:pt x="42021" y="107183"/>
                  </a:cubicBezTo>
                  <a:lnTo>
                    <a:pt x="34116" y="107243"/>
                  </a:lnTo>
                  <a:lnTo>
                    <a:pt x="49854" y="60040"/>
                  </a:ln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217" name="Gráfico 10">
              <a:extLst>
                <a:ext uri="{FF2B5EF4-FFF2-40B4-BE49-F238E27FC236}">
                  <a16:creationId xmlns:a16="http://schemas.microsoft.com/office/drawing/2014/main" id="{D8FBBA4B-E573-E38A-E86C-F5B7C848A29F}"/>
                </a:ext>
              </a:extLst>
            </p:cNvPr>
            <p:cNvGrpSpPr/>
            <p:nvPr/>
          </p:nvGrpSpPr>
          <p:grpSpPr>
            <a:xfrm>
              <a:off x="8259125" y="1672010"/>
              <a:ext cx="50379" cy="93845"/>
              <a:chOff x="8259125" y="1672010"/>
              <a:chExt cx="50379" cy="93845"/>
            </a:xfrm>
          </p:grpSpPr>
          <p:sp>
            <p:nvSpPr>
              <p:cNvPr id="1218" name="Forma livre: Forma 1217">
                <a:extLst>
                  <a:ext uri="{FF2B5EF4-FFF2-40B4-BE49-F238E27FC236}">
                    <a16:creationId xmlns:a16="http://schemas.microsoft.com/office/drawing/2014/main" id="{C0094DE7-2623-CF3E-CAD9-BFF80A79DF7D}"/>
                  </a:ext>
                </a:extLst>
              </p:cNvPr>
              <p:cNvSpPr/>
              <p:nvPr/>
            </p:nvSpPr>
            <p:spPr>
              <a:xfrm>
                <a:off x="8259125" y="1672010"/>
                <a:ext cx="50379" cy="1194"/>
              </a:xfrm>
              <a:custGeom>
                <a:avLst/>
                <a:gdLst>
                  <a:gd name="connsiteX0" fmla="*/ 0 w 50379"/>
                  <a:gd name="connsiteY0" fmla="*/ 0 h 1194"/>
                  <a:gd name="connsiteX1" fmla="*/ 50379 w 50379"/>
                  <a:gd name="connsiteY1" fmla="*/ 0 h 11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0379" h="1194">
                    <a:moveTo>
                      <a:pt x="0" y="0"/>
                    </a:moveTo>
                    <a:lnTo>
                      <a:pt x="50379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19" name="Forma livre: Forma 1218">
                <a:extLst>
                  <a:ext uri="{FF2B5EF4-FFF2-40B4-BE49-F238E27FC236}">
                    <a16:creationId xmlns:a16="http://schemas.microsoft.com/office/drawing/2014/main" id="{D7B6F6E5-2BC4-3F48-2DD5-CE2B595ECE32}"/>
                  </a:ext>
                </a:extLst>
              </p:cNvPr>
              <p:cNvSpPr/>
              <p:nvPr/>
            </p:nvSpPr>
            <p:spPr>
              <a:xfrm>
                <a:off x="8259125" y="1703296"/>
                <a:ext cx="50379" cy="1194"/>
              </a:xfrm>
              <a:custGeom>
                <a:avLst/>
                <a:gdLst>
                  <a:gd name="connsiteX0" fmla="*/ 0 w 50379"/>
                  <a:gd name="connsiteY0" fmla="*/ 0 h 1194"/>
                  <a:gd name="connsiteX1" fmla="*/ 50379 w 50379"/>
                  <a:gd name="connsiteY1" fmla="*/ 0 h 11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0379" h="1194">
                    <a:moveTo>
                      <a:pt x="0" y="0"/>
                    </a:moveTo>
                    <a:lnTo>
                      <a:pt x="50379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20" name="Forma livre: Forma 1219">
                <a:extLst>
                  <a:ext uri="{FF2B5EF4-FFF2-40B4-BE49-F238E27FC236}">
                    <a16:creationId xmlns:a16="http://schemas.microsoft.com/office/drawing/2014/main" id="{7E72CE44-6353-0AD3-E1E9-3FF2FF4ED4E4}"/>
                  </a:ext>
                </a:extLst>
              </p:cNvPr>
              <p:cNvSpPr/>
              <p:nvPr/>
            </p:nvSpPr>
            <p:spPr>
              <a:xfrm>
                <a:off x="8259125" y="1734570"/>
                <a:ext cx="50379" cy="1194"/>
              </a:xfrm>
              <a:custGeom>
                <a:avLst/>
                <a:gdLst>
                  <a:gd name="connsiteX0" fmla="*/ 0 w 50379"/>
                  <a:gd name="connsiteY0" fmla="*/ 0 h 1194"/>
                  <a:gd name="connsiteX1" fmla="*/ 50379 w 50379"/>
                  <a:gd name="connsiteY1" fmla="*/ 0 h 11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0379" h="1194">
                    <a:moveTo>
                      <a:pt x="0" y="0"/>
                    </a:moveTo>
                    <a:lnTo>
                      <a:pt x="50379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21" name="Forma livre: Forma 1220">
                <a:extLst>
                  <a:ext uri="{FF2B5EF4-FFF2-40B4-BE49-F238E27FC236}">
                    <a16:creationId xmlns:a16="http://schemas.microsoft.com/office/drawing/2014/main" id="{A28B8A75-A0BA-0DDA-D57F-5FE89CCB3E12}"/>
                  </a:ext>
                </a:extLst>
              </p:cNvPr>
              <p:cNvSpPr/>
              <p:nvPr/>
            </p:nvSpPr>
            <p:spPr>
              <a:xfrm>
                <a:off x="8259125" y="1765855"/>
                <a:ext cx="50379" cy="1194"/>
              </a:xfrm>
              <a:custGeom>
                <a:avLst/>
                <a:gdLst>
                  <a:gd name="connsiteX0" fmla="*/ 0 w 50379"/>
                  <a:gd name="connsiteY0" fmla="*/ 0 h 1194"/>
                  <a:gd name="connsiteX1" fmla="*/ 50379 w 50379"/>
                  <a:gd name="connsiteY1" fmla="*/ 0 h 11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0379" h="1194">
                    <a:moveTo>
                      <a:pt x="0" y="0"/>
                    </a:moveTo>
                    <a:lnTo>
                      <a:pt x="50379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222" name="Forma livre: Forma 1221">
              <a:extLst>
                <a:ext uri="{FF2B5EF4-FFF2-40B4-BE49-F238E27FC236}">
                  <a16:creationId xmlns:a16="http://schemas.microsoft.com/office/drawing/2014/main" id="{D54AC5DB-FB2A-FEE4-B026-E70A5923ADEC}"/>
                </a:ext>
              </a:extLst>
            </p:cNvPr>
            <p:cNvSpPr/>
            <p:nvPr/>
          </p:nvSpPr>
          <p:spPr>
            <a:xfrm>
              <a:off x="8072271" y="1593175"/>
              <a:ext cx="302515" cy="1194"/>
            </a:xfrm>
            <a:custGeom>
              <a:avLst/>
              <a:gdLst>
                <a:gd name="connsiteX0" fmla="*/ 0 w 302515"/>
                <a:gd name="connsiteY0" fmla="*/ 0 h 1194"/>
                <a:gd name="connsiteX1" fmla="*/ 302516 w 302515"/>
                <a:gd name="connsiteY1" fmla="*/ 0 h 11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02515" h="1194">
                  <a:moveTo>
                    <a:pt x="0" y="0"/>
                  </a:moveTo>
                  <a:lnTo>
                    <a:pt x="302516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223" name="Gráfico 10">
            <a:extLst>
              <a:ext uri="{FF2B5EF4-FFF2-40B4-BE49-F238E27FC236}">
                <a16:creationId xmlns:a16="http://schemas.microsoft.com/office/drawing/2014/main" id="{6E96DEA3-A502-34F3-3732-E7919FE619F4}"/>
              </a:ext>
            </a:extLst>
          </p:cNvPr>
          <p:cNvGrpSpPr/>
          <p:nvPr/>
        </p:nvGrpSpPr>
        <p:grpSpPr>
          <a:xfrm>
            <a:off x="8057010" y="3128717"/>
            <a:ext cx="293965" cy="293894"/>
            <a:chOff x="8057010" y="3128717"/>
            <a:chExt cx="293965" cy="293894"/>
          </a:xfrm>
          <a:noFill/>
        </p:grpSpPr>
        <p:sp>
          <p:nvSpPr>
            <p:cNvPr id="1224" name="Forma livre: Forma 1223">
              <a:extLst>
                <a:ext uri="{FF2B5EF4-FFF2-40B4-BE49-F238E27FC236}">
                  <a16:creationId xmlns:a16="http://schemas.microsoft.com/office/drawing/2014/main" id="{E6C80174-6052-4235-53BA-CE5882A3E743}"/>
                </a:ext>
              </a:extLst>
            </p:cNvPr>
            <p:cNvSpPr/>
            <p:nvPr/>
          </p:nvSpPr>
          <p:spPr>
            <a:xfrm>
              <a:off x="8057010" y="3128717"/>
              <a:ext cx="293965" cy="293894"/>
            </a:xfrm>
            <a:custGeom>
              <a:avLst/>
              <a:gdLst>
                <a:gd name="connsiteX0" fmla="*/ 293966 w 293965"/>
                <a:gd name="connsiteY0" fmla="*/ 146959 h 293894"/>
                <a:gd name="connsiteX1" fmla="*/ 146959 w 293965"/>
                <a:gd name="connsiteY1" fmla="*/ 293894 h 293894"/>
                <a:gd name="connsiteX2" fmla="*/ 0 w 293965"/>
                <a:gd name="connsiteY2" fmla="*/ 146959 h 293894"/>
                <a:gd name="connsiteX3" fmla="*/ 146959 w 293965"/>
                <a:gd name="connsiteY3" fmla="*/ 0 h 293894"/>
                <a:gd name="connsiteX4" fmla="*/ 293966 w 293965"/>
                <a:gd name="connsiteY4" fmla="*/ 146959 h 2938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93965" h="293894">
                  <a:moveTo>
                    <a:pt x="293966" y="146959"/>
                  </a:moveTo>
                  <a:cubicBezTo>
                    <a:pt x="293966" y="228111"/>
                    <a:pt x="228182" y="293894"/>
                    <a:pt x="146959" y="293894"/>
                  </a:cubicBezTo>
                  <a:cubicBezTo>
                    <a:pt x="65736" y="293894"/>
                    <a:pt x="0" y="228111"/>
                    <a:pt x="0" y="146959"/>
                  </a:cubicBezTo>
                  <a:cubicBezTo>
                    <a:pt x="0" y="65807"/>
                    <a:pt x="65795" y="0"/>
                    <a:pt x="146959" y="0"/>
                  </a:cubicBezTo>
                  <a:cubicBezTo>
                    <a:pt x="228123" y="0"/>
                    <a:pt x="293966" y="65783"/>
                    <a:pt x="293966" y="146959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225" name="Gráfico 10">
              <a:extLst>
                <a:ext uri="{FF2B5EF4-FFF2-40B4-BE49-F238E27FC236}">
                  <a16:creationId xmlns:a16="http://schemas.microsoft.com/office/drawing/2014/main" id="{F1410221-03FA-A17D-47EE-5510E9B8829A}"/>
                </a:ext>
              </a:extLst>
            </p:cNvPr>
            <p:cNvGrpSpPr/>
            <p:nvPr/>
          </p:nvGrpSpPr>
          <p:grpSpPr>
            <a:xfrm>
              <a:off x="8147894" y="3171466"/>
              <a:ext cx="116139" cy="210031"/>
              <a:chOff x="8147894" y="3171466"/>
              <a:chExt cx="116139" cy="210031"/>
            </a:xfrm>
            <a:noFill/>
          </p:grpSpPr>
          <p:sp>
            <p:nvSpPr>
              <p:cNvPr id="1226" name="Forma livre: Forma 1225">
                <a:extLst>
                  <a:ext uri="{FF2B5EF4-FFF2-40B4-BE49-F238E27FC236}">
                    <a16:creationId xmlns:a16="http://schemas.microsoft.com/office/drawing/2014/main" id="{5119D013-BA19-9A1D-3EFA-9FC9840288F3}"/>
                  </a:ext>
                </a:extLst>
              </p:cNvPr>
              <p:cNvSpPr/>
              <p:nvPr/>
            </p:nvSpPr>
            <p:spPr>
              <a:xfrm>
                <a:off x="8147894" y="3171466"/>
                <a:ext cx="116139" cy="113559"/>
              </a:xfrm>
              <a:custGeom>
                <a:avLst/>
                <a:gdLst>
                  <a:gd name="connsiteX0" fmla="*/ 0 w 116139"/>
                  <a:gd name="connsiteY0" fmla="*/ 113560 h 113559"/>
                  <a:gd name="connsiteX1" fmla="*/ 0 w 116139"/>
                  <a:gd name="connsiteY1" fmla="*/ 9505 h 113559"/>
                  <a:gd name="connsiteX2" fmla="*/ 9493 w 116139"/>
                  <a:gd name="connsiteY2" fmla="*/ 0 h 113559"/>
                  <a:gd name="connsiteX3" fmla="*/ 106634 w 116139"/>
                  <a:gd name="connsiteY3" fmla="*/ 0 h 113559"/>
                  <a:gd name="connsiteX4" fmla="*/ 116139 w 116139"/>
                  <a:gd name="connsiteY4" fmla="*/ 9505 h 113559"/>
                  <a:gd name="connsiteX5" fmla="*/ 116139 w 116139"/>
                  <a:gd name="connsiteY5" fmla="*/ 33232 h 1135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16139" h="113559">
                    <a:moveTo>
                      <a:pt x="0" y="113560"/>
                    </a:moveTo>
                    <a:lnTo>
                      <a:pt x="0" y="9505"/>
                    </a:lnTo>
                    <a:cubicBezTo>
                      <a:pt x="0" y="4275"/>
                      <a:pt x="4263" y="0"/>
                      <a:pt x="9493" y="0"/>
                    </a:cubicBezTo>
                    <a:lnTo>
                      <a:pt x="106634" y="0"/>
                    </a:lnTo>
                    <a:cubicBezTo>
                      <a:pt x="111864" y="0"/>
                      <a:pt x="116139" y="4275"/>
                      <a:pt x="116139" y="9505"/>
                    </a:cubicBezTo>
                    <a:lnTo>
                      <a:pt x="116139" y="33232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27" name="Forma livre: Forma 1226">
                <a:extLst>
                  <a:ext uri="{FF2B5EF4-FFF2-40B4-BE49-F238E27FC236}">
                    <a16:creationId xmlns:a16="http://schemas.microsoft.com/office/drawing/2014/main" id="{D1581B96-29D8-7DA4-F136-507E4A60CBA2}"/>
                  </a:ext>
                </a:extLst>
              </p:cNvPr>
              <p:cNvSpPr/>
              <p:nvPr/>
            </p:nvSpPr>
            <p:spPr>
              <a:xfrm>
                <a:off x="8147894" y="3232437"/>
                <a:ext cx="116139" cy="149060"/>
              </a:xfrm>
              <a:custGeom>
                <a:avLst/>
                <a:gdLst>
                  <a:gd name="connsiteX0" fmla="*/ 116139 w 116139"/>
                  <a:gd name="connsiteY0" fmla="*/ 0 h 149060"/>
                  <a:gd name="connsiteX1" fmla="*/ 116139 w 116139"/>
                  <a:gd name="connsiteY1" fmla="*/ 139257 h 149060"/>
                  <a:gd name="connsiteX2" fmla="*/ 106634 w 116139"/>
                  <a:gd name="connsiteY2" fmla="*/ 149061 h 149060"/>
                  <a:gd name="connsiteX3" fmla="*/ 9493 w 116139"/>
                  <a:gd name="connsiteY3" fmla="*/ 149061 h 149060"/>
                  <a:gd name="connsiteX4" fmla="*/ 0 w 116139"/>
                  <a:gd name="connsiteY4" fmla="*/ 139257 h 149060"/>
                  <a:gd name="connsiteX5" fmla="*/ 0 w 116139"/>
                  <a:gd name="connsiteY5" fmla="*/ 81426 h 1490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16139" h="149060">
                    <a:moveTo>
                      <a:pt x="116139" y="0"/>
                    </a:moveTo>
                    <a:lnTo>
                      <a:pt x="116139" y="139257"/>
                    </a:lnTo>
                    <a:cubicBezTo>
                      <a:pt x="116139" y="144487"/>
                      <a:pt x="111864" y="149061"/>
                      <a:pt x="106634" y="149061"/>
                    </a:cubicBezTo>
                    <a:lnTo>
                      <a:pt x="9493" y="149061"/>
                    </a:lnTo>
                    <a:cubicBezTo>
                      <a:pt x="4263" y="149061"/>
                      <a:pt x="0" y="144487"/>
                      <a:pt x="0" y="139257"/>
                    </a:cubicBezTo>
                    <a:lnTo>
                      <a:pt x="0" y="81426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28" name="Forma livre: Forma 1227">
                <a:extLst>
                  <a:ext uri="{FF2B5EF4-FFF2-40B4-BE49-F238E27FC236}">
                    <a16:creationId xmlns:a16="http://schemas.microsoft.com/office/drawing/2014/main" id="{1FE8D1B7-75FB-127C-3958-210EC27FCF0F}"/>
                  </a:ext>
                </a:extLst>
              </p:cNvPr>
              <p:cNvSpPr/>
              <p:nvPr/>
            </p:nvSpPr>
            <p:spPr>
              <a:xfrm>
                <a:off x="8148849" y="3337196"/>
                <a:ext cx="114228" cy="1194"/>
              </a:xfrm>
              <a:custGeom>
                <a:avLst/>
                <a:gdLst>
                  <a:gd name="connsiteX0" fmla="*/ 0 w 114228"/>
                  <a:gd name="connsiteY0" fmla="*/ 0 h 1194"/>
                  <a:gd name="connsiteX1" fmla="*/ 114229 w 114228"/>
                  <a:gd name="connsiteY1" fmla="*/ 0 h 11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4228" h="1194">
                    <a:moveTo>
                      <a:pt x="0" y="0"/>
                    </a:moveTo>
                    <a:lnTo>
                      <a:pt x="114229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29" name="Forma livre: Forma 1228">
                <a:extLst>
                  <a:ext uri="{FF2B5EF4-FFF2-40B4-BE49-F238E27FC236}">
                    <a16:creationId xmlns:a16="http://schemas.microsoft.com/office/drawing/2014/main" id="{B11BEF43-5901-EED8-48B1-6BE922E7F876}"/>
                  </a:ext>
                </a:extLst>
              </p:cNvPr>
              <p:cNvSpPr/>
              <p:nvPr/>
            </p:nvSpPr>
            <p:spPr>
              <a:xfrm>
                <a:off x="8198071" y="3358762"/>
                <a:ext cx="15786" cy="1194"/>
              </a:xfrm>
              <a:custGeom>
                <a:avLst/>
                <a:gdLst>
                  <a:gd name="connsiteX0" fmla="*/ 0 w 15786"/>
                  <a:gd name="connsiteY0" fmla="*/ 0 h 1194"/>
                  <a:gd name="connsiteX1" fmla="*/ 15786 w 15786"/>
                  <a:gd name="connsiteY1" fmla="*/ 0 h 11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5786" h="1194">
                    <a:moveTo>
                      <a:pt x="0" y="0"/>
                    </a:moveTo>
                    <a:lnTo>
                      <a:pt x="15786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230" name="Forma livre: Forma 1229">
              <a:extLst>
                <a:ext uri="{FF2B5EF4-FFF2-40B4-BE49-F238E27FC236}">
                  <a16:creationId xmlns:a16="http://schemas.microsoft.com/office/drawing/2014/main" id="{3F0B8FD6-73A7-9A62-2B53-3D4BB5FD4F13}"/>
                </a:ext>
              </a:extLst>
            </p:cNvPr>
            <p:cNvSpPr/>
            <p:nvPr/>
          </p:nvSpPr>
          <p:spPr>
            <a:xfrm>
              <a:off x="8082791" y="3192673"/>
              <a:ext cx="242404" cy="165981"/>
            </a:xfrm>
            <a:custGeom>
              <a:avLst/>
              <a:gdLst>
                <a:gd name="connsiteX0" fmla="*/ 242404 w 242404"/>
                <a:gd name="connsiteY0" fmla="*/ 0 h 165981"/>
                <a:gd name="connsiteX1" fmla="*/ 0 w 242404"/>
                <a:gd name="connsiteY1" fmla="*/ 165981 h 1659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42404" h="165981">
                  <a:moveTo>
                    <a:pt x="242404" y="0"/>
                  </a:moveTo>
                  <a:lnTo>
                    <a:pt x="0" y="165981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231" name="Gráfico 10">
            <a:extLst>
              <a:ext uri="{FF2B5EF4-FFF2-40B4-BE49-F238E27FC236}">
                <a16:creationId xmlns:a16="http://schemas.microsoft.com/office/drawing/2014/main" id="{C25DCF6D-8A1E-D135-62C5-57AB34B2F336}"/>
              </a:ext>
            </a:extLst>
          </p:cNvPr>
          <p:cNvGrpSpPr/>
          <p:nvPr/>
        </p:nvGrpSpPr>
        <p:grpSpPr>
          <a:xfrm>
            <a:off x="8100727" y="2043955"/>
            <a:ext cx="206521" cy="337463"/>
            <a:chOff x="8100727" y="2043955"/>
            <a:chExt cx="206521" cy="337463"/>
          </a:xfrm>
          <a:noFill/>
        </p:grpSpPr>
        <p:sp>
          <p:nvSpPr>
            <p:cNvPr id="1232" name="Forma livre: Forma 1231">
              <a:extLst>
                <a:ext uri="{FF2B5EF4-FFF2-40B4-BE49-F238E27FC236}">
                  <a16:creationId xmlns:a16="http://schemas.microsoft.com/office/drawing/2014/main" id="{C3DC49E4-E3CD-E2B7-AC8B-62CD223F21B7}"/>
                </a:ext>
              </a:extLst>
            </p:cNvPr>
            <p:cNvSpPr/>
            <p:nvPr/>
          </p:nvSpPr>
          <p:spPr>
            <a:xfrm>
              <a:off x="8122101" y="2208189"/>
              <a:ext cx="166017" cy="103589"/>
            </a:xfrm>
            <a:custGeom>
              <a:avLst/>
              <a:gdLst>
                <a:gd name="connsiteX0" fmla="*/ 29483 w 166017"/>
                <a:gd name="connsiteY0" fmla="*/ 23822 h 103589"/>
                <a:gd name="connsiteX1" fmla="*/ 149443 w 166017"/>
                <a:gd name="connsiteY1" fmla="*/ 23822 h 103589"/>
                <a:gd name="connsiteX2" fmla="*/ 126313 w 166017"/>
                <a:gd name="connsiteY2" fmla="*/ 0 h 103589"/>
                <a:gd name="connsiteX3" fmla="*/ 0 w 166017"/>
                <a:gd name="connsiteY3" fmla="*/ 0 h 103589"/>
                <a:gd name="connsiteX4" fmla="*/ 13493 w 166017"/>
                <a:gd name="connsiteY4" fmla="*/ 55944 h 103589"/>
                <a:gd name="connsiteX5" fmla="*/ 58870 w 166017"/>
                <a:gd name="connsiteY5" fmla="*/ 103589 h 103589"/>
                <a:gd name="connsiteX6" fmla="*/ 166017 w 166017"/>
                <a:gd name="connsiteY6" fmla="*/ 103589 h 103589"/>
                <a:gd name="connsiteX7" fmla="*/ 143842 w 166017"/>
                <a:gd name="connsiteY7" fmla="*/ 72769 h 103589"/>
                <a:gd name="connsiteX8" fmla="*/ 56768 w 166017"/>
                <a:gd name="connsiteY8" fmla="*/ 72769 h 103589"/>
                <a:gd name="connsiteX9" fmla="*/ 41245 w 166017"/>
                <a:gd name="connsiteY9" fmla="*/ 23834 h 1035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66017" h="103589">
                  <a:moveTo>
                    <a:pt x="29483" y="23822"/>
                  </a:moveTo>
                  <a:lnTo>
                    <a:pt x="149443" y="23822"/>
                  </a:lnTo>
                  <a:cubicBezTo>
                    <a:pt x="149443" y="23822"/>
                    <a:pt x="139699" y="0"/>
                    <a:pt x="126313" y="0"/>
                  </a:cubicBezTo>
                  <a:lnTo>
                    <a:pt x="0" y="0"/>
                  </a:lnTo>
                  <a:lnTo>
                    <a:pt x="13493" y="55944"/>
                  </a:lnTo>
                  <a:cubicBezTo>
                    <a:pt x="13493" y="55944"/>
                    <a:pt x="25530" y="103589"/>
                    <a:pt x="58870" y="103589"/>
                  </a:cubicBezTo>
                  <a:lnTo>
                    <a:pt x="166017" y="103589"/>
                  </a:lnTo>
                  <a:cubicBezTo>
                    <a:pt x="166017" y="103589"/>
                    <a:pt x="159103" y="72769"/>
                    <a:pt x="143842" y="72769"/>
                  </a:cubicBezTo>
                  <a:lnTo>
                    <a:pt x="56768" y="72769"/>
                  </a:lnTo>
                  <a:lnTo>
                    <a:pt x="41245" y="23834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33" name="Forma livre: Forma 1232">
              <a:extLst>
                <a:ext uri="{FF2B5EF4-FFF2-40B4-BE49-F238E27FC236}">
                  <a16:creationId xmlns:a16="http://schemas.microsoft.com/office/drawing/2014/main" id="{F0C23988-E775-B62F-D689-48553BDDF716}"/>
                </a:ext>
              </a:extLst>
            </p:cNvPr>
            <p:cNvSpPr/>
            <p:nvPr/>
          </p:nvSpPr>
          <p:spPr>
            <a:xfrm>
              <a:off x="8192028" y="2256611"/>
              <a:ext cx="115219" cy="36312"/>
            </a:xfrm>
            <a:custGeom>
              <a:avLst/>
              <a:gdLst>
                <a:gd name="connsiteX0" fmla="*/ 0 w 115219"/>
                <a:gd name="connsiteY0" fmla="*/ 0 h 36312"/>
                <a:gd name="connsiteX1" fmla="*/ 85916 w 115219"/>
                <a:gd name="connsiteY1" fmla="*/ 0 h 36312"/>
                <a:gd name="connsiteX2" fmla="*/ 115220 w 115219"/>
                <a:gd name="connsiteY2" fmla="*/ 36313 h 36312"/>
                <a:gd name="connsiteX3" fmla="*/ 89630 w 115219"/>
                <a:gd name="connsiteY3" fmla="*/ 36313 h 363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5219" h="36312">
                  <a:moveTo>
                    <a:pt x="0" y="0"/>
                  </a:moveTo>
                  <a:lnTo>
                    <a:pt x="85916" y="0"/>
                  </a:lnTo>
                  <a:cubicBezTo>
                    <a:pt x="106515" y="0"/>
                    <a:pt x="115220" y="25267"/>
                    <a:pt x="115220" y="36313"/>
                  </a:cubicBezTo>
                  <a:lnTo>
                    <a:pt x="89630" y="36313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34" name="Forma livre: Forma 1233">
              <a:extLst>
                <a:ext uri="{FF2B5EF4-FFF2-40B4-BE49-F238E27FC236}">
                  <a16:creationId xmlns:a16="http://schemas.microsoft.com/office/drawing/2014/main" id="{5C4BAD34-C0ED-EC17-FE26-CC7ED70DA34E}"/>
                </a:ext>
              </a:extLst>
            </p:cNvPr>
            <p:cNvSpPr/>
            <p:nvPr/>
          </p:nvSpPr>
          <p:spPr>
            <a:xfrm>
              <a:off x="8100727" y="2043955"/>
              <a:ext cx="50701" cy="167398"/>
            </a:xfrm>
            <a:custGeom>
              <a:avLst/>
              <a:gdLst>
                <a:gd name="connsiteX0" fmla="*/ 21852 w 50701"/>
                <a:gd name="connsiteY0" fmla="*/ 167399 h 167398"/>
                <a:gd name="connsiteX1" fmla="*/ 0 w 50701"/>
                <a:gd name="connsiteY1" fmla="*/ 76240 h 167398"/>
                <a:gd name="connsiteX2" fmla="*/ 0 w 50701"/>
                <a:gd name="connsiteY2" fmla="*/ 7125 h 167398"/>
                <a:gd name="connsiteX3" fmla="*/ 32265 w 50701"/>
                <a:gd name="connsiteY3" fmla="*/ 8475 h 167398"/>
                <a:gd name="connsiteX4" fmla="*/ 33280 w 50701"/>
                <a:gd name="connsiteY4" fmla="*/ 74031 h 167398"/>
                <a:gd name="connsiteX5" fmla="*/ 50702 w 50701"/>
                <a:gd name="connsiteY5" fmla="*/ 143230 h 1673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0701" h="167398">
                  <a:moveTo>
                    <a:pt x="21852" y="167399"/>
                  </a:moveTo>
                  <a:lnTo>
                    <a:pt x="0" y="76240"/>
                  </a:lnTo>
                  <a:lnTo>
                    <a:pt x="0" y="7125"/>
                  </a:lnTo>
                  <a:cubicBezTo>
                    <a:pt x="0" y="7125"/>
                    <a:pt x="18258" y="-9771"/>
                    <a:pt x="32265" y="8475"/>
                  </a:cubicBezTo>
                  <a:cubicBezTo>
                    <a:pt x="42701" y="22076"/>
                    <a:pt x="45209" y="49719"/>
                    <a:pt x="33280" y="74031"/>
                  </a:cubicBezTo>
                  <a:lnTo>
                    <a:pt x="50702" y="14323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35" name="Forma livre: Forma 1234">
              <a:extLst>
                <a:ext uri="{FF2B5EF4-FFF2-40B4-BE49-F238E27FC236}">
                  <a16:creationId xmlns:a16="http://schemas.microsoft.com/office/drawing/2014/main" id="{7C3AA0D9-2882-AC3A-B4F3-680B7A33F8DB}"/>
                </a:ext>
              </a:extLst>
            </p:cNvPr>
            <p:cNvSpPr/>
            <p:nvPr/>
          </p:nvSpPr>
          <p:spPr>
            <a:xfrm>
              <a:off x="8117265" y="2312674"/>
              <a:ext cx="145967" cy="68744"/>
            </a:xfrm>
            <a:custGeom>
              <a:avLst/>
              <a:gdLst>
                <a:gd name="connsiteX0" fmla="*/ 46618 w 145967"/>
                <a:gd name="connsiteY0" fmla="*/ 14389 h 68744"/>
                <a:gd name="connsiteX1" fmla="*/ 0 w 145967"/>
                <a:gd name="connsiteY1" fmla="*/ 68745 h 68744"/>
                <a:gd name="connsiteX2" fmla="*/ 145968 w 145967"/>
                <a:gd name="connsiteY2" fmla="*/ 68745 h 68744"/>
                <a:gd name="connsiteX3" fmla="*/ 102705 w 145967"/>
                <a:gd name="connsiteY3" fmla="*/ 0 h 687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5967" h="68744">
                  <a:moveTo>
                    <a:pt x="46618" y="14389"/>
                  </a:moveTo>
                  <a:cubicBezTo>
                    <a:pt x="30056" y="27632"/>
                    <a:pt x="6508" y="44301"/>
                    <a:pt x="0" y="68745"/>
                  </a:cubicBezTo>
                  <a:lnTo>
                    <a:pt x="145968" y="68745"/>
                  </a:lnTo>
                  <a:cubicBezTo>
                    <a:pt x="145968" y="68745"/>
                    <a:pt x="136546" y="15882"/>
                    <a:pt x="102705" y="0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36" name="Forma livre: Forma 1235">
              <a:extLst>
                <a:ext uri="{FF2B5EF4-FFF2-40B4-BE49-F238E27FC236}">
                  <a16:creationId xmlns:a16="http://schemas.microsoft.com/office/drawing/2014/main" id="{330C9C6E-4AE3-489F-7A49-CB04D0351CD9}"/>
                </a:ext>
              </a:extLst>
            </p:cNvPr>
            <p:cNvSpPr/>
            <p:nvPr/>
          </p:nvSpPr>
          <p:spPr>
            <a:xfrm>
              <a:off x="8216818" y="2051486"/>
              <a:ext cx="79957" cy="110443"/>
            </a:xfrm>
            <a:custGeom>
              <a:avLst/>
              <a:gdLst>
                <a:gd name="connsiteX0" fmla="*/ 32671 w 79957"/>
                <a:gd name="connsiteY0" fmla="*/ 110443 h 110443"/>
                <a:gd name="connsiteX1" fmla="*/ 0 w 79957"/>
                <a:gd name="connsiteY1" fmla="*/ 77772 h 110443"/>
                <a:gd name="connsiteX2" fmla="*/ 0 w 79957"/>
                <a:gd name="connsiteY2" fmla="*/ 32671 h 110443"/>
                <a:gd name="connsiteX3" fmla="*/ 32671 w 79957"/>
                <a:gd name="connsiteY3" fmla="*/ 0 h 110443"/>
                <a:gd name="connsiteX4" fmla="*/ 47287 w 79957"/>
                <a:gd name="connsiteY4" fmla="*/ 0 h 110443"/>
                <a:gd name="connsiteX5" fmla="*/ 79958 w 79957"/>
                <a:gd name="connsiteY5" fmla="*/ 32671 h 110443"/>
                <a:gd name="connsiteX6" fmla="*/ 79958 w 79957"/>
                <a:gd name="connsiteY6" fmla="*/ 77772 h 110443"/>
                <a:gd name="connsiteX7" fmla="*/ 47287 w 79957"/>
                <a:gd name="connsiteY7" fmla="*/ 110443 h 110443"/>
                <a:gd name="connsiteX8" fmla="*/ 32671 w 79957"/>
                <a:gd name="connsiteY8" fmla="*/ 110443 h 1104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9957" h="110443">
                  <a:moveTo>
                    <a:pt x="32671" y="110443"/>
                  </a:moveTo>
                  <a:cubicBezTo>
                    <a:pt x="14711" y="110443"/>
                    <a:pt x="0" y="95744"/>
                    <a:pt x="0" y="77772"/>
                  </a:cubicBezTo>
                  <a:lnTo>
                    <a:pt x="0" y="32671"/>
                  </a:lnTo>
                  <a:cubicBezTo>
                    <a:pt x="0" y="14699"/>
                    <a:pt x="14711" y="0"/>
                    <a:pt x="32671" y="0"/>
                  </a:cubicBezTo>
                  <a:lnTo>
                    <a:pt x="47287" y="0"/>
                  </a:lnTo>
                  <a:cubicBezTo>
                    <a:pt x="65258" y="0"/>
                    <a:pt x="79958" y="14699"/>
                    <a:pt x="79958" y="32671"/>
                  </a:cubicBezTo>
                  <a:lnTo>
                    <a:pt x="79958" y="77772"/>
                  </a:lnTo>
                  <a:cubicBezTo>
                    <a:pt x="79958" y="95744"/>
                    <a:pt x="65258" y="110443"/>
                    <a:pt x="47287" y="110443"/>
                  </a:cubicBezTo>
                  <a:lnTo>
                    <a:pt x="32671" y="110443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238" name="Gráfico 11">
            <a:extLst>
              <a:ext uri="{FF2B5EF4-FFF2-40B4-BE49-F238E27FC236}">
                <a16:creationId xmlns:a16="http://schemas.microsoft.com/office/drawing/2014/main" id="{80A5A552-50C6-6F18-4948-912945963FB2}"/>
              </a:ext>
            </a:extLst>
          </p:cNvPr>
          <p:cNvGrpSpPr/>
          <p:nvPr/>
        </p:nvGrpSpPr>
        <p:grpSpPr>
          <a:xfrm>
            <a:off x="10486196" y="988684"/>
            <a:ext cx="299766" cy="316936"/>
            <a:chOff x="10486196" y="988684"/>
            <a:chExt cx="299766" cy="316936"/>
          </a:xfrm>
          <a:noFill/>
        </p:grpSpPr>
        <p:sp>
          <p:nvSpPr>
            <p:cNvPr id="1239" name="Forma livre: Forma 1238">
              <a:extLst>
                <a:ext uri="{FF2B5EF4-FFF2-40B4-BE49-F238E27FC236}">
                  <a16:creationId xmlns:a16="http://schemas.microsoft.com/office/drawing/2014/main" id="{5070CA85-55D6-E0AD-45D5-9D8B3D4D02DA}"/>
                </a:ext>
              </a:extLst>
            </p:cNvPr>
            <p:cNvSpPr/>
            <p:nvPr/>
          </p:nvSpPr>
          <p:spPr>
            <a:xfrm>
              <a:off x="10486196" y="988684"/>
              <a:ext cx="299766" cy="272111"/>
            </a:xfrm>
            <a:custGeom>
              <a:avLst/>
              <a:gdLst>
                <a:gd name="connsiteX0" fmla="*/ 63205 w 299766"/>
                <a:gd name="connsiteY0" fmla="*/ 272111 h 272111"/>
                <a:gd name="connsiteX1" fmla="*/ 0 w 299766"/>
                <a:gd name="connsiteY1" fmla="*/ 149859 h 272111"/>
                <a:gd name="connsiteX2" fmla="*/ 149859 w 299766"/>
                <a:gd name="connsiteY2" fmla="*/ 0 h 272111"/>
                <a:gd name="connsiteX3" fmla="*/ 299766 w 299766"/>
                <a:gd name="connsiteY3" fmla="*/ 149859 h 272111"/>
                <a:gd name="connsiteX4" fmla="*/ 237232 w 299766"/>
                <a:gd name="connsiteY4" fmla="*/ 271644 h 2721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99766" h="272111">
                  <a:moveTo>
                    <a:pt x="63205" y="272111"/>
                  </a:moveTo>
                  <a:cubicBezTo>
                    <a:pt x="24959" y="244960"/>
                    <a:pt x="0" y="200327"/>
                    <a:pt x="0" y="149859"/>
                  </a:cubicBezTo>
                  <a:cubicBezTo>
                    <a:pt x="0" y="67087"/>
                    <a:pt x="67099" y="0"/>
                    <a:pt x="149859" y="0"/>
                  </a:cubicBezTo>
                  <a:cubicBezTo>
                    <a:pt x="232619" y="0"/>
                    <a:pt x="299766" y="67087"/>
                    <a:pt x="299766" y="149859"/>
                  </a:cubicBezTo>
                  <a:cubicBezTo>
                    <a:pt x="299766" y="200040"/>
                    <a:pt x="275107" y="244445"/>
                    <a:pt x="237232" y="271644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40" name="Forma livre: Forma 1239">
              <a:extLst>
                <a:ext uri="{FF2B5EF4-FFF2-40B4-BE49-F238E27FC236}">
                  <a16:creationId xmlns:a16="http://schemas.microsoft.com/office/drawing/2014/main" id="{437D990E-DA51-AC4A-8552-A740348934E4}"/>
                </a:ext>
              </a:extLst>
            </p:cNvPr>
            <p:cNvSpPr/>
            <p:nvPr/>
          </p:nvSpPr>
          <p:spPr>
            <a:xfrm>
              <a:off x="10562989" y="1047516"/>
              <a:ext cx="146180" cy="192910"/>
            </a:xfrm>
            <a:custGeom>
              <a:avLst/>
              <a:gdLst>
                <a:gd name="connsiteX0" fmla="*/ 127009 w 146180"/>
                <a:gd name="connsiteY0" fmla="*/ 0 h 192910"/>
                <a:gd name="connsiteX1" fmla="*/ 146181 w 146180"/>
                <a:gd name="connsiteY1" fmla="*/ 19171 h 192910"/>
                <a:gd name="connsiteX2" fmla="*/ 146181 w 146180"/>
                <a:gd name="connsiteY2" fmla="*/ 173739 h 192910"/>
                <a:gd name="connsiteX3" fmla="*/ 127009 w 146180"/>
                <a:gd name="connsiteY3" fmla="*/ 192910 h 192910"/>
                <a:gd name="connsiteX4" fmla="*/ 19171 w 146180"/>
                <a:gd name="connsiteY4" fmla="*/ 192910 h 192910"/>
                <a:gd name="connsiteX5" fmla="*/ 0 w 146180"/>
                <a:gd name="connsiteY5" fmla="*/ 173739 h 192910"/>
                <a:gd name="connsiteX6" fmla="*/ 0 w 146180"/>
                <a:gd name="connsiteY6" fmla="*/ 19171 h 192910"/>
                <a:gd name="connsiteX7" fmla="*/ 19171 w 146180"/>
                <a:gd name="connsiteY7" fmla="*/ 0 h 1929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46180" h="192910">
                  <a:moveTo>
                    <a:pt x="127009" y="0"/>
                  </a:moveTo>
                  <a:cubicBezTo>
                    <a:pt x="137597" y="0"/>
                    <a:pt x="146181" y="8583"/>
                    <a:pt x="146181" y="19171"/>
                  </a:cubicBezTo>
                  <a:lnTo>
                    <a:pt x="146181" y="173739"/>
                  </a:lnTo>
                  <a:cubicBezTo>
                    <a:pt x="146181" y="184327"/>
                    <a:pt x="137597" y="192910"/>
                    <a:pt x="127009" y="192910"/>
                  </a:cubicBezTo>
                  <a:lnTo>
                    <a:pt x="19171" y="192910"/>
                  </a:lnTo>
                  <a:cubicBezTo>
                    <a:pt x="8583" y="192910"/>
                    <a:pt x="0" y="184327"/>
                    <a:pt x="0" y="173739"/>
                  </a:cubicBezTo>
                  <a:lnTo>
                    <a:pt x="0" y="19171"/>
                  </a:lnTo>
                  <a:cubicBezTo>
                    <a:pt x="0" y="8583"/>
                    <a:pt x="8583" y="0"/>
                    <a:pt x="19171" y="0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41" name="Forma livre: Forma 1240">
              <a:extLst>
                <a:ext uri="{FF2B5EF4-FFF2-40B4-BE49-F238E27FC236}">
                  <a16:creationId xmlns:a16="http://schemas.microsoft.com/office/drawing/2014/main" id="{CB67FE88-23F2-3BC9-EA94-5C03FE3F2ECF}"/>
                </a:ext>
              </a:extLst>
            </p:cNvPr>
            <p:cNvSpPr/>
            <p:nvPr/>
          </p:nvSpPr>
          <p:spPr>
            <a:xfrm>
              <a:off x="10583934" y="1096414"/>
              <a:ext cx="122839" cy="1198"/>
            </a:xfrm>
            <a:custGeom>
              <a:avLst/>
              <a:gdLst>
                <a:gd name="connsiteX0" fmla="*/ 0 w 122839"/>
                <a:gd name="connsiteY0" fmla="*/ 0 h 1198"/>
                <a:gd name="connsiteX1" fmla="*/ 122840 w 122839"/>
                <a:gd name="connsiteY1" fmla="*/ 0 h 11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2839" h="1198">
                  <a:moveTo>
                    <a:pt x="0" y="0"/>
                  </a:moveTo>
                  <a:lnTo>
                    <a:pt x="12284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42" name="Forma livre: Forma 1241">
              <a:extLst>
                <a:ext uri="{FF2B5EF4-FFF2-40B4-BE49-F238E27FC236}">
                  <a16:creationId xmlns:a16="http://schemas.microsoft.com/office/drawing/2014/main" id="{54C33DAD-0BE2-C277-6478-2B0396DEB851}"/>
                </a:ext>
              </a:extLst>
            </p:cNvPr>
            <p:cNvSpPr/>
            <p:nvPr/>
          </p:nvSpPr>
          <p:spPr>
            <a:xfrm>
              <a:off x="10609719" y="1072450"/>
              <a:ext cx="52720" cy="1198"/>
            </a:xfrm>
            <a:custGeom>
              <a:avLst/>
              <a:gdLst>
                <a:gd name="connsiteX0" fmla="*/ 0 w 52720"/>
                <a:gd name="connsiteY0" fmla="*/ 0 h 1198"/>
                <a:gd name="connsiteX1" fmla="*/ 52721 w 52720"/>
                <a:gd name="connsiteY1" fmla="*/ 0 h 11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2720" h="1198">
                  <a:moveTo>
                    <a:pt x="0" y="0"/>
                  </a:moveTo>
                  <a:lnTo>
                    <a:pt x="52721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43" name="Forma livre: Forma 1242">
              <a:extLst>
                <a:ext uri="{FF2B5EF4-FFF2-40B4-BE49-F238E27FC236}">
                  <a16:creationId xmlns:a16="http://schemas.microsoft.com/office/drawing/2014/main" id="{20B78C55-7A1F-6016-6513-55DA1ECA00BF}"/>
                </a:ext>
              </a:extLst>
            </p:cNvPr>
            <p:cNvSpPr/>
            <p:nvPr/>
          </p:nvSpPr>
          <p:spPr>
            <a:xfrm>
              <a:off x="10583934" y="1181714"/>
              <a:ext cx="122839" cy="1198"/>
            </a:xfrm>
            <a:custGeom>
              <a:avLst/>
              <a:gdLst>
                <a:gd name="connsiteX0" fmla="*/ 0 w 122839"/>
                <a:gd name="connsiteY0" fmla="*/ 0 h 1198"/>
                <a:gd name="connsiteX1" fmla="*/ 122840 w 122839"/>
                <a:gd name="connsiteY1" fmla="*/ 0 h 11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2839" h="1198">
                  <a:moveTo>
                    <a:pt x="0" y="0"/>
                  </a:moveTo>
                  <a:lnTo>
                    <a:pt x="12284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244" name="Gráfico 11">
              <a:extLst>
                <a:ext uri="{FF2B5EF4-FFF2-40B4-BE49-F238E27FC236}">
                  <a16:creationId xmlns:a16="http://schemas.microsoft.com/office/drawing/2014/main" id="{4E8E185B-9EC3-5645-E0CB-0C67DBD75A20}"/>
                </a:ext>
              </a:extLst>
            </p:cNvPr>
            <p:cNvGrpSpPr/>
            <p:nvPr/>
          </p:nvGrpSpPr>
          <p:grpSpPr>
            <a:xfrm>
              <a:off x="10545387" y="1242835"/>
              <a:ext cx="181383" cy="62785"/>
              <a:chOff x="10545387" y="1242835"/>
              <a:chExt cx="181383" cy="62785"/>
            </a:xfrm>
          </p:grpSpPr>
          <p:sp>
            <p:nvSpPr>
              <p:cNvPr id="1245" name="Forma livre: Forma 1244">
                <a:extLst>
                  <a:ext uri="{FF2B5EF4-FFF2-40B4-BE49-F238E27FC236}">
                    <a16:creationId xmlns:a16="http://schemas.microsoft.com/office/drawing/2014/main" id="{F4CD40F2-D930-B8DF-A217-67F5505ABC82}"/>
                  </a:ext>
                </a:extLst>
              </p:cNvPr>
              <p:cNvSpPr/>
              <p:nvPr/>
            </p:nvSpPr>
            <p:spPr>
              <a:xfrm>
                <a:off x="10545387" y="1242835"/>
                <a:ext cx="39181" cy="62785"/>
              </a:xfrm>
              <a:custGeom>
                <a:avLst/>
                <a:gdLst>
                  <a:gd name="connsiteX0" fmla="*/ 39181 w 39181"/>
                  <a:gd name="connsiteY0" fmla="*/ 0 h 62785"/>
                  <a:gd name="connsiteX1" fmla="*/ 0 w 39181"/>
                  <a:gd name="connsiteY1" fmla="*/ 62786 h 627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9181" h="62785">
                    <a:moveTo>
                      <a:pt x="39181" y="0"/>
                    </a:moveTo>
                    <a:lnTo>
                      <a:pt x="0" y="62786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46" name="Forma livre: Forma 1245">
                <a:extLst>
                  <a:ext uri="{FF2B5EF4-FFF2-40B4-BE49-F238E27FC236}">
                    <a16:creationId xmlns:a16="http://schemas.microsoft.com/office/drawing/2014/main" id="{5CA102E9-2539-A274-C311-BA36C75697AA}"/>
                  </a:ext>
                </a:extLst>
              </p:cNvPr>
              <p:cNvSpPr/>
              <p:nvPr/>
            </p:nvSpPr>
            <p:spPr>
              <a:xfrm>
                <a:off x="10688800" y="1243434"/>
                <a:ext cx="37971" cy="62186"/>
              </a:xfrm>
              <a:custGeom>
                <a:avLst/>
                <a:gdLst>
                  <a:gd name="connsiteX0" fmla="*/ 37971 w 37971"/>
                  <a:gd name="connsiteY0" fmla="*/ 62187 h 62186"/>
                  <a:gd name="connsiteX1" fmla="*/ 0 w 37971"/>
                  <a:gd name="connsiteY1" fmla="*/ 0 h 621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7971" h="62186">
                    <a:moveTo>
                      <a:pt x="37971" y="62187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247" name="Forma livre: Forma 1246">
              <a:extLst>
                <a:ext uri="{FF2B5EF4-FFF2-40B4-BE49-F238E27FC236}">
                  <a16:creationId xmlns:a16="http://schemas.microsoft.com/office/drawing/2014/main" id="{0DCC0F39-EC18-6F20-4655-B9B8BB65E8DF}"/>
                </a:ext>
              </a:extLst>
            </p:cNvPr>
            <p:cNvSpPr/>
            <p:nvPr/>
          </p:nvSpPr>
          <p:spPr>
            <a:xfrm>
              <a:off x="10567782" y="1274695"/>
              <a:ext cx="136594" cy="1198"/>
            </a:xfrm>
            <a:custGeom>
              <a:avLst/>
              <a:gdLst>
                <a:gd name="connsiteX0" fmla="*/ 0 w 136594"/>
                <a:gd name="connsiteY0" fmla="*/ 0 h 1198"/>
                <a:gd name="connsiteX1" fmla="*/ 136595 w 136594"/>
                <a:gd name="connsiteY1" fmla="*/ 0 h 11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36594" h="1198">
                  <a:moveTo>
                    <a:pt x="0" y="0"/>
                  </a:moveTo>
                  <a:lnTo>
                    <a:pt x="136595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248" name="Gráfico 11">
              <a:extLst>
                <a:ext uri="{FF2B5EF4-FFF2-40B4-BE49-F238E27FC236}">
                  <a16:creationId xmlns:a16="http://schemas.microsoft.com/office/drawing/2014/main" id="{6A8B32B8-0E57-1E68-B7A0-42DD0168C5DF}"/>
                </a:ext>
              </a:extLst>
            </p:cNvPr>
            <p:cNvGrpSpPr/>
            <p:nvPr/>
          </p:nvGrpSpPr>
          <p:grpSpPr>
            <a:xfrm>
              <a:off x="10589110" y="1215276"/>
              <a:ext cx="93938" cy="1198"/>
              <a:chOff x="10589110" y="1215276"/>
              <a:chExt cx="93938" cy="1198"/>
            </a:xfrm>
          </p:grpSpPr>
          <p:sp>
            <p:nvSpPr>
              <p:cNvPr id="1249" name="Forma livre: Forma 1248">
                <a:extLst>
                  <a:ext uri="{FF2B5EF4-FFF2-40B4-BE49-F238E27FC236}">
                    <a16:creationId xmlns:a16="http://schemas.microsoft.com/office/drawing/2014/main" id="{3C1B926C-A8F4-4285-34A6-23A7C2B2F6BB}"/>
                  </a:ext>
                </a:extLst>
              </p:cNvPr>
              <p:cNvSpPr/>
              <p:nvPr/>
            </p:nvSpPr>
            <p:spPr>
              <a:xfrm>
                <a:off x="10589110" y="1215276"/>
                <a:ext cx="12461" cy="1198"/>
              </a:xfrm>
              <a:custGeom>
                <a:avLst/>
                <a:gdLst>
                  <a:gd name="connsiteX0" fmla="*/ 0 w 12461"/>
                  <a:gd name="connsiteY0" fmla="*/ 0 h 1198"/>
                  <a:gd name="connsiteX1" fmla="*/ 12461 w 12461"/>
                  <a:gd name="connsiteY1" fmla="*/ 0 h 11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461" h="1198">
                    <a:moveTo>
                      <a:pt x="0" y="0"/>
                    </a:moveTo>
                    <a:lnTo>
                      <a:pt x="12461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50" name="Forma livre: Forma 1249">
                <a:extLst>
                  <a:ext uri="{FF2B5EF4-FFF2-40B4-BE49-F238E27FC236}">
                    <a16:creationId xmlns:a16="http://schemas.microsoft.com/office/drawing/2014/main" id="{1BF4F2BF-848D-7FCC-9370-7C1171919BDA}"/>
                  </a:ext>
                </a:extLst>
              </p:cNvPr>
              <p:cNvSpPr/>
              <p:nvPr/>
            </p:nvSpPr>
            <p:spPr>
              <a:xfrm>
                <a:off x="10670587" y="1215276"/>
                <a:ext cx="12461" cy="1198"/>
              </a:xfrm>
              <a:custGeom>
                <a:avLst/>
                <a:gdLst>
                  <a:gd name="connsiteX0" fmla="*/ 0 w 12461"/>
                  <a:gd name="connsiteY0" fmla="*/ 0 h 1198"/>
                  <a:gd name="connsiteX1" fmla="*/ 12461 w 12461"/>
                  <a:gd name="connsiteY1" fmla="*/ 0 h 11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461" h="1198">
                    <a:moveTo>
                      <a:pt x="0" y="0"/>
                    </a:moveTo>
                    <a:lnTo>
                      <a:pt x="12461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251" name="Gráfico 11">
            <a:extLst>
              <a:ext uri="{FF2B5EF4-FFF2-40B4-BE49-F238E27FC236}">
                <a16:creationId xmlns:a16="http://schemas.microsoft.com/office/drawing/2014/main" id="{4BAE03EE-83D0-D2D0-B2FA-9161092267DB}"/>
              </a:ext>
            </a:extLst>
          </p:cNvPr>
          <p:cNvGrpSpPr/>
          <p:nvPr/>
        </p:nvGrpSpPr>
        <p:grpSpPr>
          <a:xfrm>
            <a:off x="9869032" y="987068"/>
            <a:ext cx="285752" cy="320157"/>
            <a:chOff x="9869032" y="987068"/>
            <a:chExt cx="285752" cy="320157"/>
          </a:xfrm>
        </p:grpSpPr>
        <p:grpSp>
          <p:nvGrpSpPr>
            <p:cNvPr id="1252" name="Gráfico 11">
              <a:extLst>
                <a:ext uri="{FF2B5EF4-FFF2-40B4-BE49-F238E27FC236}">
                  <a16:creationId xmlns:a16="http://schemas.microsoft.com/office/drawing/2014/main" id="{AACB6155-0009-F69D-27E6-33AEC3CFCF53}"/>
                </a:ext>
              </a:extLst>
            </p:cNvPr>
            <p:cNvGrpSpPr/>
            <p:nvPr/>
          </p:nvGrpSpPr>
          <p:grpSpPr>
            <a:xfrm>
              <a:off x="9869032" y="1148642"/>
              <a:ext cx="285752" cy="158584"/>
              <a:chOff x="9869032" y="1148642"/>
              <a:chExt cx="285752" cy="158584"/>
            </a:xfrm>
            <a:noFill/>
          </p:grpSpPr>
          <p:sp>
            <p:nvSpPr>
              <p:cNvPr id="1253" name="Forma livre: Forma 1252">
                <a:extLst>
                  <a:ext uri="{FF2B5EF4-FFF2-40B4-BE49-F238E27FC236}">
                    <a16:creationId xmlns:a16="http://schemas.microsoft.com/office/drawing/2014/main" id="{2361900D-1391-AAF3-02D1-7F59390BF63E}"/>
                  </a:ext>
                </a:extLst>
              </p:cNvPr>
              <p:cNvSpPr/>
              <p:nvPr/>
            </p:nvSpPr>
            <p:spPr>
              <a:xfrm>
                <a:off x="9869032" y="1148642"/>
                <a:ext cx="285752" cy="131684"/>
              </a:xfrm>
              <a:custGeom>
                <a:avLst/>
                <a:gdLst>
                  <a:gd name="connsiteX0" fmla="*/ 271171 w 285752"/>
                  <a:gd name="connsiteY0" fmla="*/ 130247 h 131684"/>
                  <a:gd name="connsiteX1" fmla="*/ 275880 w 285752"/>
                  <a:gd name="connsiteY1" fmla="*/ 128030 h 131684"/>
                  <a:gd name="connsiteX2" fmla="*/ 284963 w 285752"/>
                  <a:gd name="connsiteY2" fmla="*/ 96913 h 131684"/>
                  <a:gd name="connsiteX3" fmla="*/ 208505 w 285752"/>
                  <a:gd name="connsiteY3" fmla="*/ 47774 h 131684"/>
                  <a:gd name="connsiteX4" fmla="*/ 172092 w 285752"/>
                  <a:gd name="connsiteY4" fmla="*/ 5897 h 131684"/>
                  <a:gd name="connsiteX5" fmla="*/ 66519 w 285752"/>
                  <a:gd name="connsiteY5" fmla="*/ 8318 h 131684"/>
                  <a:gd name="connsiteX6" fmla="*/ 5279 w 285752"/>
                  <a:gd name="connsiteY6" fmla="*/ 58079 h 131684"/>
                  <a:gd name="connsiteX7" fmla="*/ 5231 w 285752"/>
                  <a:gd name="connsiteY7" fmla="*/ 87806 h 131684"/>
                  <a:gd name="connsiteX8" fmla="*/ 12204 w 285752"/>
                  <a:gd name="connsiteY8" fmla="*/ 131685 h 1316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85752" h="131684">
                    <a:moveTo>
                      <a:pt x="271171" y="130247"/>
                    </a:moveTo>
                    <a:cubicBezTo>
                      <a:pt x="274119" y="129408"/>
                      <a:pt x="275880" y="128030"/>
                      <a:pt x="275880" y="128030"/>
                    </a:cubicBezTo>
                    <a:cubicBezTo>
                      <a:pt x="289720" y="116132"/>
                      <a:pt x="284963" y="96913"/>
                      <a:pt x="284963" y="96913"/>
                    </a:cubicBezTo>
                    <a:cubicBezTo>
                      <a:pt x="282075" y="72206"/>
                      <a:pt x="208505" y="47774"/>
                      <a:pt x="208505" y="47774"/>
                    </a:cubicBezTo>
                    <a:lnTo>
                      <a:pt x="172092" y="5897"/>
                    </a:lnTo>
                    <a:cubicBezTo>
                      <a:pt x="125386" y="-8661"/>
                      <a:pt x="66519" y="8318"/>
                      <a:pt x="66519" y="8318"/>
                    </a:cubicBezTo>
                    <a:cubicBezTo>
                      <a:pt x="11893" y="21091"/>
                      <a:pt x="5279" y="58079"/>
                      <a:pt x="5279" y="58079"/>
                    </a:cubicBezTo>
                    <a:lnTo>
                      <a:pt x="5231" y="87806"/>
                    </a:lnTo>
                    <a:cubicBezTo>
                      <a:pt x="-6715" y="113759"/>
                      <a:pt x="4488" y="128461"/>
                      <a:pt x="12204" y="131685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54" name="Forma livre: Forma 1253">
                <a:extLst>
                  <a:ext uri="{FF2B5EF4-FFF2-40B4-BE49-F238E27FC236}">
                    <a16:creationId xmlns:a16="http://schemas.microsoft.com/office/drawing/2014/main" id="{EA3D1643-923B-656E-4014-9AB466F451D0}"/>
                  </a:ext>
                </a:extLst>
              </p:cNvPr>
              <p:cNvSpPr/>
              <p:nvPr/>
            </p:nvSpPr>
            <p:spPr>
              <a:xfrm>
                <a:off x="9955777" y="1285131"/>
                <a:ext cx="109503" cy="1198"/>
              </a:xfrm>
              <a:custGeom>
                <a:avLst/>
                <a:gdLst>
                  <a:gd name="connsiteX0" fmla="*/ 0 w 109503"/>
                  <a:gd name="connsiteY0" fmla="*/ 0 h 1198"/>
                  <a:gd name="connsiteX1" fmla="*/ 109504 w 109503"/>
                  <a:gd name="connsiteY1" fmla="*/ 0 h 11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09503" h="1198">
                    <a:moveTo>
                      <a:pt x="0" y="0"/>
                    </a:moveTo>
                    <a:lnTo>
                      <a:pt x="109504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55" name="Forma livre: Forma 1254">
                <a:extLst>
                  <a:ext uri="{FF2B5EF4-FFF2-40B4-BE49-F238E27FC236}">
                    <a16:creationId xmlns:a16="http://schemas.microsoft.com/office/drawing/2014/main" id="{4B3E83A9-F8E6-C5FD-0420-5392406A0B49}"/>
                  </a:ext>
                </a:extLst>
              </p:cNvPr>
              <p:cNvSpPr/>
              <p:nvPr/>
            </p:nvSpPr>
            <p:spPr>
              <a:xfrm>
                <a:off x="9913552" y="1201449"/>
                <a:ext cx="175716" cy="1198"/>
              </a:xfrm>
              <a:custGeom>
                <a:avLst/>
                <a:gdLst>
                  <a:gd name="connsiteX0" fmla="*/ 0 w 175716"/>
                  <a:gd name="connsiteY0" fmla="*/ 0 h 1198"/>
                  <a:gd name="connsiteX1" fmla="*/ 175716 w 175716"/>
                  <a:gd name="connsiteY1" fmla="*/ 0 h 11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75716" h="1198">
                    <a:moveTo>
                      <a:pt x="0" y="0"/>
                    </a:moveTo>
                    <a:lnTo>
                      <a:pt x="175716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56" name="Forma livre: Forma 1255">
                <a:extLst>
                  <a:ext uri="{FF2B5EF4-FFF2-40B4-BE49-F238E27FC236}">
                    <a16:creationId xmlns:a16="http://schemas.microsoft.com/office/drawing/2014/main" id="{B24F29F5-8823-9AA2-6D13-BC2A0020ED2E}"/>
                  </a:ext>
                </a:extLst>
              </p:cNvPr>
              <p:cNvSpPr/>
              <p:nvPr/>
            </p:nvSpPr>
            <p:spPr>
              <a:xfrm>
                <a:off x="9979501" y="1153401"/>
                <a:ext cx="1198" cy="41972"/>
              </a:xfrm>
              <a:custGeom>
                <a:avLst/>
                <a:gdLst>
                  <a:gd name="connsiteX0" fmla="*/ 0 w 1198"/>
                  <a:gd name="connsiteY0" fmla="*/ 41973 h 41972"/>
                  <a:gd name="connsiteX1" fmla="*/ 0 w 1198"/>
                  <a:gd name="connsiteY1" fmla="*/ 0 h 419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8" h="41972">
                    <a:moveTo>
                      <a:pt x="0" y="41973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57" name="Forma livre: Forma 1256">
                <a:extLst>
                  <a:ext uri="{FF2B5EF4-FFF2-40B4-BE49-F238E27FC236}">
                    <a16:creationId xmlns:a16="http://schemas.microsoft.com/office/drawing/2014/main" id="{BC6A1B5B-F8B4-3D54-67DA-51084E0FF60F}"/>
                  </a:ext>
                </a:extLst>
              </p:cNvPr>
              <p:cNvSpPr/>
              <p:nvPr/>
            </p:nvSpPr>
            <p:spPr>
              <a:xfrm>
                <a:off x="10066382" y="1256853"/>
                <a:ext cx="50384" cy="50372"/>
              </a:xfrm>
              <a:custGeom>
                <a:avLst/>
                <a:gdLst>
                  <a:gd name="connsiteX0" fmla="*/ 50384 w 50384"/>
                  <a:gd name="connsiteY0" fmla="*/ 25198 h 50372"/>
                  <a:gd name="connsiteX1" fmla="*/ 25186 w 50384"/>
                  <a:gd name="connsiteY1" fmla="*/ 50372 h 50372"/>
                  <a:gd name="connsiteX2" fmla="*/ 0 w 50384"/>
                  <a:gd name="connsiteY2" fmla="*/ 25198 h 50372"/>
                  <a:gd name="connsiteX3" fmla="*/ 25186 w 50384"/>
                  <a:gd name="connsiteY3" fmla="*/ 0 h 50372"/>
                  <a:gd name="connsiteX4" fmla="*/ 50384 w 50384"/>
                  <a:gd name="connsiteY4" fmla="*/ 25198 h 503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0384" h="50372">
                    <a:moveTo>
                      <a:pt x="50384" y="25198"/>
                    </a:moveTo>
                    <a:cubicBezTo>
                      <a:pt x="50384" y="39097"/>
                      <a:pt x="39109" y="50372"/>
                      <a:pt x="25186" y="50372"/>
                    </a:cubicBezTo>
                    <a:cubicBezTo>
                      <a:pt x="11263" y="50372"/>
                      <a:pt x="0" y="39097"/>
                      <a:pt x="0" y="25198"/>
                    </a:cubicBezTo>
                    <a:cubicBezTo>
                      <a:pt x="0" y="11299"/>
                      <a:pt x="11287" y="0"/>
                      <a:pt x="25186" y="0"/>
                    </a:cubicBezTo>
                    <a:cubicBezTo>
                      <a:pt x="39085" y="0"/>
                      <a:pt x="50384" y="11275"/>
                      <a:pt x="50384" y="25198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58" name="Forma livre: Forma 1257">
                <a:extLst>
                  <a:ext uri="{FF2B5EF4-FFF2-40B4-BE49-F238E27FC236}">
                    <a16:creationId xmlns:a16="http://schemas.microsoft.com/office/drawing/2014/main" id="{D01B353A-7842-68F8-EDD5-07A7EAE69995}"/>
                  </a:ext>
                </a:extLst>
              </p:cNvPr>
              <p:cNvSpPr/>
              <p:nvPr/>
            </p:nvSpPr>
            <p:spPr>
              <a:xfrm>
                <a:off x="9904673" y="1256853"/>
                <a:ext cx="50372" cy="50372"/>
              </a:xfrm>
              <a:custGeom>
                <a:avLst/>
                <a:gdLst>
                  <a:gd name="connsiteX0" fmla="*/ 50372 w 50372"/>
                  <a:gd name="connsiteY0" fmla="*/ 25198 h 50372"/>
                  <a:gd name="connsiteX1" fmla="*/ 25198 w 50372"/>
                  <a:gd name="connsiteY1" fmla="*/ 50372 h 50372"/>
                  <a:gd name="connsiteX2" fmla="*/ 0 w 50372"/>
                  <a:gd name="connsiteY2" fmla="*/ 25198 h 50372"/>
                  <a:gd name="connsiteX3" fmla="*/ 25198 w 50372"/>
                  <a:gd name="connsiteY3" fmla="*/ 0 h 50372"/>
                  <a:gd name="connsiteX4" fmla="*/ 50372 w 50372"/>
                  <a:gd name="connsiteY4" fmla="*/ 25198 h 503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0372" h="50372">
                    <a:moveTo>
                      <a:pt x="50372" y="25198"/>
                    </a:moveTo>
                    <a:cubicBezTo>
                      <a:pt x="50372" y="39097"/>
                      <a:pt x="39085" y="50372"/>
                      <a:pt x="25198" y="50372"/>
                    </a:cubicBezTo>
                    <a:cubicBezTo>
                      <a:pt x="11311" y="50372"/>
                      <a:pt x="0" y="39097"/>
                      <a:pt x="0" y="25198"/>
                    </a:cubicBezTo>
                    <a:cubicBezTo>
                      <a:pt x="0" y="11299"/>
                      <a:pt x="11287" y="0"/>
                      <a:pt x="25198" y="0"/>
                    </a:cubicBezTo>
                    <a:cubicBezTo>
                      <a:pt x="39109" y="0"/>
                      <a:pt x="50372" y="11275"/>
                      <a:pt x="50372" y="25198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259" name="Gráfico 11">
              <a:extLst>
                <a:ext uri="{FF2B5EF4-FFF2-40B4-BE49-F238E27FC236}">
                  <a16:creationId xmlns:a16="http://schemas.microsoft.com/office/drawing/2014/main" id="{DC0DBAC6-73A7-EDE7-B2A4-CE0529CC73E2}"/>
                </a:ext>
              </a:extLst>
            </p:cNvPr>
            <p:cNvGrpSpPr/>
            <p:nvPr/>
          </p:nvGrpSpPr>
          <p:grpSpPr>
            <a:xfrm>
              <a:off x="9886628" y="987068"/>
              <a:ext cx="250555" cy="136780"/>
              <a:chOff x="9886628" y="987068"/>
              <a:chExt cx="250555" cy="136780"/>
            </a:xfrm>
          </p:grpSpPr>
          <p:sp>
            <p:nvSpPr>
              <p:cNvPr id="1260" name="Forma livre: Forma 1259">
                <a:extLst>
                  <a:ext uri="{FF2B5EF4-FFF2-40B4-BE49-F238E27FC236}">
                    <a16:creationId xmlns:a16="http://schemas.microsoft.com/office/drawing/2014/main" id="{77A53B78-BE5B-0143-DE37-3CC179E29922}"/>
                  </a:ext>
                </a:extLst>
              </p:cNvPr>
              <p:cNvSpPr/>
              <p:nvPr/>
            </p:nvSpPr>
            <p:spPr>
              <a:xfrm>
                <a:off x="10060104" y="1059126"/>
                <a:ext cx="1198" cy="20908"/>
              </a:xfrm>
              <a:custGeom>
                <a:avLst/>
                <a:gdLst>
                  <a:gd name="connsiteX0" fmla="*/ 0 w 1198"/>
                  <a:gd name="connsiteY0" fmla="*/ 0 h 20908"/>
                  <a:gd name="connsiteX1" fmla="*/ 0 w 1198"/>
                  <a:gd name="connsiteY1" fmla="*/ 20909 h 209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8" h="20908">
                    <a:moveTo>
                      <a:pt x="0" y="0"/>
                    </a:moveTo>
                    <a:lnTo>
                      <a:pt x="0" y="20909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61" name="Forma livre: Forma 1260">
                <a:extLst>
                  <a:ext uri="{FF2B5EF4-FFF2-40B4-BE49-F238E27FC236}">
                    <a16:creationId xmlns:a16="http://schemas.microsoft.com/office/drawing/2014/main" id="{20077C56-8EF7-004A-086B-AF64195D74E4}"/>
                  </a:ext>
                </a:extLst>
              </p:cNvPr>
              <p:cNvSpPr/>
              <p:nvPr/>
            </p:nvSpPr>
            <p:spPr>
              <a:xfrm>
                <a:off x="10092252" y="1059126"/>
                <a:ext cx="1198" cy="20908"/>
              </a:xfrm>
              <a:custGeom>
                <a:avLst/>
                <a:gdLst>
                  <a:gd name="connsiteX0" fmla="*/ 0 w 1198"/>
                  <a:gd name="connsiteY0" fmla="*/ 0 h 20908"/>
                  <a:gd name="connsiteX1" fmla="*/ 0 w 1198"/>
                  <a:gd name="connsiteY1" fmla="*/ 20909 h 209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8" h="20908">
                    <a:moveTo>
                      <a:pt x="0" y="0"/>
                    </a:moveTo>
                    <a:lnTo>
                      <a:pt x="0" y="20909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62" name="Forma livre: Forma 1261">
                <a:extLst>
                  <a:ext uri="{FF2B5EF4-FFF2-40B4-BE49-F238E27FC236}">
                    <a16:creationId xmlns:a16="http://schemas.microsoft.com/office/drawing/2014/main" id="{DB032C2A-17A3-D860-404F-54E76B1DED91}"/>
                  </a:ext>
                </a:extLst>
              </p:cNvPr>
              <p:cNvSpPr/>
              <p:nvPr/>
            </p:nvSpPr>
            <p:spPr>
              <a:xfrm>
                <a:off x="10023463" y="1028692"/>
                <a:ext cx="113721" cy="53260"/>
              </a:xfrm>
              <a:custGeom>
                <a:avLst/>
                <a:gdLst>
                  <a:gd name="connsiteX0" fmla="*/ 20657 w 113721"/>
                  <a:gd name="connsiteY0" fmla="*/ 0 h 53260"/>
                  <a:gd name="connsiteX1" fmla="*/ 94167 w 113721"/>
                  <a:gd name="connsiteY1" fmla="*/ 0 h 53260"/>
                  <a:gd name="connsiteX2" fmla="*/ 113721 w 113721"/>
                  <a:gd name="connsiteY2" fmla="*/ 19567 h 53260"/>
                  <a:gd name="connsiteX3" fmla="*/ 113721 w 113721"/>
                  <a:gd name="connsiteY3" fmla="*/ 33693 h 53260"/>
                  <a:gd name="connsiteX4" fmla="*/ 94167 w 113721"/>
                  <a:gd name="connsiteY4" fmla="*/ 53260 h 53260"/>
                  <a:gd name="connsiteX5" fmla="*/ 0 w 113721"/>
                  <a:gd name="connsiteY5" fmla="*/ 53260 h 532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13721" h="53260">
                    <a:moveTo>
                      <a:pt x="20657" y="0"/>
                    </a:moveTo>
                    <a:lnTo>
                      <a:pt x="94167" y="0"/>
                    </a:lnTo>
                    <a:cubicBezTo>
                      <a:pt x="104915" y="0"/>
                      <a:pt x="113721" y="8807"/>
                      <a:pt x="113721" y="19567"/>
                    </a:cubicBezTo>
                    <a:lnTo>
                      <a:pt x="113721" y="33693"/>
                    </a:lnTo>
                    <a:cubicBezTo>
                      <a:pt x="113721" y="44453"/>
                      <a:pt x="104915" y="53260"/>
                      <a:pt x="94167" y="53260"/>
                    </a:cubicBezTo>
                    <a:lnTo>
                      <a:pt x="0" y="5326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63" name="Forma livre: Forma 1262">
                <a:extLst>
                  <a:ext uri="{FF2B5EF4-FFF2-40B4-BE49-F238E27FC236}">
                    <a16:creationId xmlns:a16="http://schemas.microsoft.com/office/drawing/2014/main" id="{A41D7D17-BE5B-18A9-D596-A5F843B814AB}"/>
                  </a:ext>
                </a:extLst>
              </p:cNvPr>
              <p:cNvSpPr/>
              <p:nvPr/>
            </p:nvSpPr>
            <p:spPr>
              <a:xfrm>
                <a:off x="9923569" y="1050415"/>
                <a:ext cx="10064" cy="10076"/>
              </a:xfrm>
              <a:custGeom>
                <a:avLst/>
                <a:gdLst>
                  <a:gd name="connsiteX0" fmla="*/ 10065 w 10064"/>
                  <a:gd name="connsiteY0" fmla="*/ 5044 h 10076"/>
                  <a:gd name="connsiteX1" fmla="*/ 5032 w 10064"/>
                  <a:gd name="connsiteY1" fmla="*/ 10077 h 10076"/>
                  <a:gd name="connsiteX2" fmla="*/ 0 w 10064"/>
                  <a:gd name="connsiteY2" fmla="*/ 5044 h 10076"/>
                  <a:gd name="connsiteX3" fmla="*/ 5032 w 10064"/>
                  <a:gd name="connsiteY3" fmla="*/ 0 h 10076"/>
                  <a:gd name="connsiteX4" fmla="*/ 10065 w 10064"/>
                  <a:gd name="connsiteY4" fmla="*/ 5044 h 100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0064" h="10076">
                    <a:moveTo>
                      <a:pt x="10065" y="5044"/>
                    </a:moveTo>
                    <a:cubicBezTo>
                      <a:pt x="10065" y="7836"/>
                      <a:pt x="7824" y="10077"/>
                      <a:pt x="5032" y="10077"/>
                    </a:cubicBezTo>
                    <a:cubicBezTo>
                      <a:pt x="2241" y="10077"/>
                      <a:pt x="0" y="7836"/>
                      <a:pt x="0" y="5044"/>
                    </a:cubicBezTo>
                    <a:cubicBezTo>
                      <a:pt x="0" y="2253"/>
                      <a:pt x="2253" y="0"/>
                      <a:pt x="5032" y="0"/>
                    </a:cubicBezTo>
                    <a:cubicBezTo>
                      <a:pt x="7812" y="0"/>
                      <a:pt x="10065" y="2241"/>
                      <a:pt x="10065" y="5044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64" name="Forma livre: Forma 1263">
                <a:extLst>
                  <a:ext uri="{FF2B5EF4-FFF2-40B4-BE49-F238E27FC236}">
                    <a16:creationId xmlns:a16="http://schemas.microsoft.com/office/drawing/2014/main" id="{3491C872-52D8-3F26-DEBA-4EEA6EC089E3}"/>
                  </a:ext>
                </a:extLst>
              </p:cNvPr>
              <p:cNvSpPr/>
              <p:nvPr/>
            </p:nvSpPr>
            <p:spPr>
              <a:xfrm>
                <a:off x="9886628" y="987068"/>
                <a:ext cx="136654" cy="136780"/>
              </a:xfrm>
              <a:custGeom>
                <a:avLst/>
                <a:gdLst>
                  <a:gd name="connsiteX0" fmla="*/ 115123 w 136654"/>
                  <a:gd name="connsiteY0" fmla="*/ 13179 h 136780"/>
                  <a:gd name="connsiteX1" fmla="*/ 50133 w 136654"/>
                  <a:gd name="connsiteY1" fmla="*/ 202 h 136780"/>
                  <a:gd name="connsiteX2" fmla="*/ 0 w 136654"/>
                  <a:gd name="connsiteY2" fmla="*/ 54073 h 136780"/>
                  <a:gd name="connsiteX3" fmla="*/ 0 w 136654"/>
                  <a:gd name="connsiteY3" fmla="*/ 82542 h 136780"/>
                  <a:gd name="connsiteX4" fmla="*/ 50133 w 136654"/>
                  <a:gd name="connsiteY4" fmla="*/ 136581 h 136780"/>
                  <a:gd name="connsiteX5" fmla="*/ 115123 w 136654"/>
                  <a:gd name="connsiteY5" fmla="*/ 123605 h 136780"/>
                  <a:gd name="connsiteX6" fmla="*/ 136655 w 136654"/>
                  <a:gd name="connsiteY6" fmla="*/ 82578 h 136780"/>
                  <a:gd name="connsiteX7" fmla="*/ 136655 w 136654"/>
                  <a:gd name="connsiteY7" fmla="*/ 54205 h 136780"/>
                  <a:gd name="connsiteX8" fmla="*/ 115123 w 136654"/>
                  <a:gd name="connsiteY8" fmla="*/ 13179 h 1367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36654" h="136780">
                    <a:moveTo>
                      <a:pt x="115123" y="13179"/>
                    </a:moveTo>
                    <a:lnTo>
                      <a:pt x="50133" y="202"/>
                    </a:lnTo>
                    <a:cubicBezTo>
                      <a:pt x="18740" y="-2626"/>
                      <a:pt x="192" y="24681"/>
                      <a:pt x="0" y="54073"/>
                    </a:cubicBezTo>
                    <a:lnTo>
                      <a:pt x="0" y="82542"/>
                    </a:lnTo>
                    <a:cubicBezTo>
                      <a:pt x="192" y="111946"/>
                      <a:pt x="18740" y="139397"/>
                      <a:pt x="50133" y="136581"/>
                    </a:cubicBezTo>
                    <a:lnTo>
                      <a:pt x="115123" y="123605"/>
                    </a:lnTo>
                    <a:cubicBezTo>
                      <a:pt x="134486" y="117937"/>
                      <a:pt x="136631" y="106662"/>
                      <a:pt x="136655" y="82578"/>
                    </a:cubicBezTo>
                    <a:lnTo>
                      <a:pt x="136655" y="54205"/>
                    </a:lnTo>
                    <a:cubicBezTo>
                      <a:pt x="136631" y="30109"/>
                      <a:pt x="134498" y="18846"/>
                      <a:pt x="115123" y="13179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265" name="Gráfico 11">
            <a:extLst>
              <a:ext uri="{FF2B5EF4-FFF2-40B4-BE49-F238E27FC236}">
                <a16:creationId xmlns:a16="http://schemas.microsoft.com/office/drawing/2014/main" id="{8754AFA9-1991-BFE3-29B6-A6D4D635F0F2}"/>
              </a:ext>
            </a:extLst>
          </p:cNvPr>
          <p:cNvGrpSpPr/>
          <p:nvPr/>
        </p:nvGrpSpPr>
        <p:grpSpPr>
          <a:xfrm>
            <a:off x="10489725" y="1515785"/>
            <a:ext cx="292714" cy="318213"/>
            <a:chOff x="10489725" y="1515785"/>
            <a:chExt cx="292714" cy="318213"/>
          </a:xfrm>
          <a:noFill/>
        </p:grpSpPr>
        <p:sp>
          <p:nvSpPr>
            <p:cNvPr id="1266" name="Forma livre: Forma 1265">
              <a:extLst>
                <a:ext uri="{FF2B5EF4-FFF2-40B4-BE49-F238E27FC236}">
                  <a16:creationId xmlns:a16="http://schemas.microsoft.com/office/drawing/2014/main" id="{CF3CB80D-E1AA-6B8E-9DC3-17C8210264AA}"/>
                </a:ext>
              </a:extLst>
            </p:cNvPr>
            <p:cNvSpPr/>
            <p:nvPr/>
          </p:nvSpPr>
          <p:spPr>
            <a:xfrm>
              <a:off x="10642203" y="1621059"/>
              <a:ext cx="83837" cy="212800"/>
            </a:xfrm>
            <a:custGeom>
              <a:avLst/>
              <a:gdLst>
                <a:gd name="connsiteX0" fmla="*/ 23124 w 83837"/>
                <a:gd name="connsiteY0" fmla="*/ 0 h 212800"/>
                <a:gd name="connsiteX1" fmla="*/ 8902 w 83837"/>
                <a:gd name="connsiteY1" fmla="*/ 53835 h 212800"/>
                <a:gd name="connsiteX2" fmla="*/ 9549 w 83837"/>
                <a:gd name="connsiteY2" fmla="*/ 100889 h 212800"/>
                <a:gd name="connsiteX3" fmla="*/ 56997 w 83837"/>
                <a:gd name="connsiteY3" fmla="*/ 141627 h 212800"/>
                <a:gd name="connsiteX4" fmla="*/ 83837 w 83837"/>
                <a:gd name="connsiteY4" fmla="*/ 212801 h 212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3837" h="212800">
                  <a:moveTo>
                    <a:pt x="23124" y="0"/>
                  </a:moveTo>
                  <a:lnTo>
                    <a:pt x="8902" y="53835"/>
                  </a:lnTo>
                  <a:cubicBezTo>
                    <a:pt x="8902" y="53835"/>
                    <a:pt x="-11552" y="78758"/>
                    <a:pt x="9549" y="100889"/>
                  </a:cubicBezTo>
                  <a:lnTo>
                    <a:pt x="56997" y="141627"/>
                  </a:lnTo>
                  <a:lnTo>
                    <a:pt x="83837" y="212801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67" name="Forma livre: Forma 1266">
              <a:extLst>
                <a:ext uri="{FF2B5EF4-FFF2-40B4-BE49-F238E27FC236}">
                  <a16:creationId xmlns:a16="http://schemas.microsoft.com/office/drawing/2014/main" id="{2AF367EF-B7BC-3CD7-0F30-4AC6DBB0A50F}"/>
                </a:ext>
              </a:extLst>
            </p:cNvPr>
            <p:cNvSpPr/>
            <p:nvPr/>
          </p:nvSpPr>
          <p:spPr>
            <a:xfrm>
              <a:off x="10674757" y="1686720"/>
              <a:ext cx="73329" cy="141615"/>
            </a:xfrm>
            <a:custGeom>
              <a:avLst/>
              <a:gdLst>
                <a:gd name="connsiteX0" fmla="*/ 0 w 73329"/>
                <a:gd name="connsiteY0" fmla="*/ 0 h 141615"/>
                <a:gd name="connsiteX1" fmla="*/ 46239 w 73329"/>
                <a:gd name="connsiteY1" fmla="*/ 52721 h 141615"/>
                <a:gd name="connsiteX2" fmla="*/ 73330 w 73329"/>
                <a:gd name="connsiteY2" fmla="*/ 141615 h 1416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73329" h="141615">
                  <a:moveTo>
                    <a:pt x="0" y="0"/>
                  </a:moveTo>
                  <a:lnTo>
                    <a:pt x="46239" y="52721"/>
                  </a:lnTo>
                  <a:lnTo>
                    <a:pt x="73330" y="141615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68" name="Forma livre: Forma 1267">
              <a:extLst>
                <a:ext uri="{FF2B5EF4-FFF2-40B4-BE49-F238E27FC236}">
                  <a16:creationId xmlns:a16="http://schemas.microsoft.com/office/drawing/2014/main" id="{D4340676-A0BE-5CCC-B07A-D784AED54635}"/>
                </a:ext>
              </a:extLst>
            </p:cNvPr>
            <p:cNvSpPr/>
            <p:nvPr/>
          </p:nvSpPr>
          <p:spPr>
            <a:xfrm>
              <a:off x="10593519" y="1740435"/>
              <a:ext cx="50983" cy="71604"/>
            </a:xfrm>
            <a:custGeom>
              <a:avLst/>
              <a:gdLst>
                <a:gd name="connsiteX0" fmla="*/ 50984 w 50983"/>
                <a:gd name="connsiteY0" fmla="*/ 0 h 71604"/>
                <a:gd name="connsiteX1" fmla="*/ 0 w 50983"/>
                <a:gd name="connsiteY1" fmla="*/ 71605 h 716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0983" h="71604">
                  <a:moveTo>
                    <a:pt x="50984" y="0"/>
                  </a:moveTo>
                  <a:cubicBezTo>
                    <a:pt x="44250" y="13743"/>
                    <a:pt x="24851" y="55908"/>
                    <a:pt x="0" y="71605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69" name="Forma livre: Forma 1268">
              <a:extLst>
                <a:ext uri="{FF2B5EF4-FFF2-40B4-BE49-F238E27FC236}">
                  <a16:creationId xmlns:a16="http://schemas.microsoft.com/office/drawing/2014/main" id="{6E40D52B-B214-6E98-29E4-A1C1CCD674B9}"/>
                </a:ext>
              </a:extLst>
            </p:cNvPr>
            <p:cNvSpPr/>
            <p:nvPr/>
          </p:nvSpPr>
          <p:spPr>
            <a:xfrm>
              <a:off x="10606472" y="1758900"/>
              <a:ext cx="61659" cy="69915"/>
            </a:xfrm>
            <a:custGeom>
              <a:avLst/>
              <a:gdLst>
                <a:gd name="connsiteX0" fmla="*/ 61659 w 61659"/>
                <a:gd name="connsiteY0" fmla="*/ 0 h 69915"/>
                <a:gd name="connsiteX1" fmla="*/ 0 w 61659"/>
                <a:gd name="connsiteY1" fmla="*/ 69915 h 699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1659" h="69915">
                  <a:moveTo>
                    <a:pt x="61659" y="0"/>
                  </a:moveTo>
                  <a:cubicBezTo>
                    <a:pt x="54374" y="11215"/>
                    <a:pt x="26480" y="52697"/>
                    <a:pt x="0" y="69915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70" name="Forma livre: Forma 1269">
              <a:extLst>
                <a:ext uri="{FF2B5EF4-FFF2-40B4-BE49-F238E27FC236}">
                  <a16:creationId xmlns:a16="http://schemas.microsoft.com/office/drawing/2014/main" id="{539F47E2-7479-21E4-30D7-7383E412BAD7}"/>
                </a:ext>
              </a:extLst>
            </p:cNvPr>
            <p:cNvSpPr/>
            <p:nvPr/>
          </p:nvSpPr>
          <p:spPr>
            <a:xfrm>
              <a:off x="10611001" y="1588286"/>
              <a:ext cx="102973" cy="112320"/>
            </a:xfrm>
            <a:custGeom>
              <a:avLst/>
              <a:gdLst>
                <a:gd name="connsiteX0" fmla="*/ 0 w 102973"/>
                <a:gd name="connsiteY0" fmla="*/ 89795 h 112320"/>
                <a:gd name="connsiteX1" fmla="*/ 18692 w 102973"/>
                <a:gd name="connsiteY1" fmla="*/ 36115 h 112320"/>
                <a:gd name="connsiteX2" fmla="*/ 31513 w 102973"/>
                <a:gd name="connsiteY2" fmla="*/ 15506 h 112320"/>
                <a:gd name="connsiteX3" fmla="*/ 86762 w 102973"/>
                <a:gd name="connsiteY3" fmla="*/ 2086 h 112320"/>
                <a:gd name="connsiteX4" fmla="*/ 97941 w 102973"/>
                <a:gd name="connsiteY4" fmla="*/ 50014 h 112320"/>
                <a:gd name="connsiteX5" fmla="*/ 76697 w 102973"/>
                <a:gd name="connsiteY5" fmla="*/ 112321 h 1123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02973" h="112320">
                  <a:moveTo>
                    <a:pt x="0" y="89795"/>
                  </a:moveTo>
                  <a:cubicBezTo>
                    <a:pt x="0" y="89795"/>
                    <a:pt x="10975" y="51320"/>
                    <a:pt x="18692" y="36115"/>
                  </a:cubicBezTo>
                  <a:cubicBezTo>
                    <a:pt x="26612" y="20539"/>
                    <a:pt x="31513" y="15506"/>
                    <a:pt x="31513" y="15506"/>
                  </a:cubicBezTo>
                  <a:cubicBezTo>
                    <a:pt x="54003" y="-7811"/>
                    <a:pt x="86762" y="2086"/>
                    <a:pt x="86762" y="2086"/>
                  </a:cubicBezTo>
                  <a:cubicBezTo>
                    <a:pt x="86762" y="2086"/>
                    <a:pt x="113913" y="8473"/>
                    <a:pt x="97941" y="50014"/>
                  </a:cubicBezTo>
                  <a:lnTo>
                    <a:pt x="76697" y="112321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71" name="Forma livre: Forma 1270">
              <a:extLst>
                <a:ext uri="{FF2B5EF4-FFF2-40B4-BE49-F238E27FC236}">
                  <a16:creationId xmlns:a16="http://schemas.microsoft.com/office/drawing/2014/main" id="{084CF983-74F3-6399-D6DC-AEEFA321FC2A}"/>
                </a:ext>
              </a:extLst>
            </p:cNvPr>
            <p:cNvSpPr/>
            <p:nvPr/>
          </p:nvSpPr>
          <p:spPr>
            <a:xfrm>
              <a:off x="10713100" y="1608034"/>
              <a:ext cx="69339" cy="86198"/>
            </a:xfrm>
            <a:custGeom>
              <a:avLst/>
              <a:gdLst>
                <a:gd name="connsiteX0" fmla="*/ 0 w 69339"/>
                <a:gd name="connsiteY0" fmla="*/ 0 h 86198"/>
                <a:gd name="connsiteX1" fmla="*/ 11634 w 69339"/>
                <a:gd name="connsiteY1" fmla="*/ 46107 h 86198"/>
                <a:gd name="connsiteX2" fmla="*/ 16775 w 69339"/>
                <a:gd name="connsiteY2" fmla="*/ 55525 h 86198"/>
                <a:gd name="connsiteX3" fmla="*/ 24923 w 69339"/>
                <a:gd name="connsiteY3" fmla="*/ 61623 h 86198"/>
                <a:gd name="connsiteX4" fmla="*/ 69340 w 69339"/>
                <a:gd name="connsiteY4" fmla="*/ 86199 h 861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9339" h="86198">
                  <a:moveTo>
                    <a:pt x="0" y="0"/>
                  </a:moveTo>
                  <a:lnTo>
                    <a:pt x="11634" y="46107"/>
                  </a:lnTo>
                  <a:cubicBezTo>
                    <a:pt x="11634" y="46107"/>
                    <a:pt x="13264" y="52014"/>
                    <a:pt x="16775" y="55525"/>
                  </a:cubicBezTo>
                  <a:cubicBezTo>
                    <a:pt x="20286" y="59035"/>
                    <a:pt x="24923" y="61623"/>
                    <a:pt x="24923" y="61623"/>
                  </a:cubicBezTo>
                  <a:lnTo>
                    <a:pt x="69340" y="86199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72" name="Forma livre: Forma 1271">
              <a:extLst>
                <a:ext uri="{FF2B5EF4-FFF2-40B4-BE49-F238E27FC236}">
                  <a16:creationId xmlns:a16="http://schemas.microsoft.com/office/drawing/2014/main" id="{68C28676-4CDA-7B18-99F3-2C21C22C38B7}"/>
                </a:ext>
              </a:extLst>
            </p:cNvPr>
            <p:cNvSpPr/>
            <p:nvPr/>
          </p:nvSpPr>
          <p:spPr>
            <a:xfrm>
              <a:off x="10684978" y="1515785"/>
              <a:ext cx="51127" cy="51115"/>
            </a:xfrm>
            <a:custGeom>
              <a:avLst/>
              <a:gdLst>
                <a:gd name="connsiteX0" fmla="*/ 51127 w 51127"/>
                <a:gd name="connsiteY0" fmla="*/ 25558 h 51115"/>
                <a:gd name="connsiteX1" fmla="*/ 25570 w 51127"/>
                <a:gd name="connsiteY1" fmla="*/ 51115 h 51115"/>
                <a:gd name="connsiteX2" fmla="*/ 0 w 51127"/>
                <a:gd name="connsiteY2" fmla="*/ 25558 h 51115"/>
                <a:gd name="connsiteX3" fmla="*/ 25570 w 51127"/>
                <a:gd name="connsiteY3" fmla="*/ 0 h 51115"/>
                <a:gd name="connsiteX4" fmla="*/ 51127 w 51127"/>
                <a:gd name="connsiteY4" fmla="*/ 25558 h 511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1127" h="51115">
                  <a:moveTo>
                    <a:pt x="51127" y="25558"/>
                  </a:moveTo>
                  <a:cubicBezTo>
                    <a:pt x="51127" y="39684"/>
                    <a:pt x="39684" y="51115"/>
                    <a:pt x="25570" y="51115"/>
                  </a:cubicBezTo>
                  <a:cubicBezTo>
                    <a:pt x="11455" y="51115"/>
                    <a:pt x="0" y="39672"/>
                    <a:pt x="0" y="25558"/>
                  </a:cubicBezTo>
                  <a:cubicBezTo>
                    <a:pt x="0" y="11443"/>
                    <a:pt x="11443" y="0"/>
                    <a:pt x="25570" y="0"/>
                  </a:cubicBezTo>
                  <a:cubicBezTo>
                    <a:pt x="39696" y="0"/>
                    <a:pt x="51127" y="11443"/>
                    <a:pt x="51127" y="25558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73" name="Forma livre: Forma 1272">
              <a:extLst>
                <a:ext uri="{FF2B5EF4-FFF2-40B4-BE49-F238E27FC236}">
                  <a16:creationId xmlns:a16="http://schemas.microsoft.com/office/drawing/2014/main" id="{8737810E-CBAC-8671-4D26-C985E04E2284}"/>
                </a:ext>
              </a:extLst>
            </p:cNvPr>
            <p:cNvSpPr/>
            <p:nvPr/>
          </p:nvSpPr>
          <p:spPr>
            <a:xfrm>
              <a:off x="10553176" y="1693837"/>
              <a:ext cx="53955" cy="96742"/>
            </a:xfrm>
            <a:custGeom>
              <a:avLst/>
              <a:gdLst>
                <a:gd name="connsiteX0" fmla="*/ 0 w 53955"/>
                <a:gd name="connsiteY0" fmla="*/ 96743 h 96742"/>
                <a:gd name="connsiteX1" fmla="*/ 53955 w 53955"/>
                <a:gd name="connsiteY1" fmla="*/ 0 h 967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3955" h="96742">
                  <a:moveTo>
                    <a:pt x="0" y="96743"/>
                  </a:moveTo>
                  <a:lnTo>
                    <a:pt x="53955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74" name="Forma livre: Forma 1273">
              <a:extLst>
                <a:ext uri="{FF2B5EF4-FFF2-40B4-BE49-F238E27FC236}">
                  <a16:creationId xmlns:a16="http://schemas.microsoft.com/office/drawing/2014/main" id="{CB30AED5-5C57-F63F-B1ED-089DF97B7FB4}"/>
                </a:ext>
              </a:extLst>
            </p:cNvPr>
            <p:cNvSpPr/>
            <p:nvPr/>
          </p:nvSpPr>
          <p:spPr>
            <a:xfrm>
              <a:off x="10522728" y="1803858"/>
              <a:ext cx="30138" cy="30140"/>
            </a:xfrm>
            <a:custGeom>
              <a:avLst/>
              <a:gdLst>
                <a:gd name="connsiteX0" fmla="*/ 2003 w 30138"/>
                <a:gd name="connsiteY0" fmla="*/ 7583 h 30140"/>
                <a:gd name="connsiteX1" fmla="*/ 7539 w 30138"/>
                <a:gd name="connsiteY1" fmla="*/ 28144 h 30140"/>
                <a:gd name="connsiteX2" fmla="*/ 28148 w 30138"/>
                <a:gd name="connsiteY2" fmla="*/ 22573 h 30140"/>
                <a:gd name="connsiteX3" fmla="*/ 22552 w 30138"/>
                <a:gd name="connsiteY3" fmla="*/ 1988 h 30140"/>
                <a:gd name="connsiteX4" fmla="*/ 2003 w 30138"/>
                <a:gd name="connsiteY4" fmla="*/ 7583 h 301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0138" h="30140">
                  <a:moveTo>
                    <a:pt x="2003" y="7583"/>
                  </a:moveTo>
                  <a:cubicBezTo>
                    <a:pt x="-2143" y="14808"/>
                    <a:pt x="361" y="24022"/>
                    <a:pt x="7539" y="28144"/>
                  </a:cubicBezTo>
                  <a:cubicBezTo>
                    <a:pt x="14716" y="32266"/>
                    <a:pt x="24014" y="29810"/>
                    <a:pt x="28148" y="22573"/>
                  </a:cubicBezTo>
                  <a:cubicBezTo>
                    <a:pt x="32305" y="15347"/>
                    <a:pt x="29717" y="6109"/>
                    <a:pt x="22552" y="1988"/>
                  </a:cubicBezTo>
                  <a:cubicBezTo>
                    <a:pt x="15351" y="-2134"/>
                    <a:pt x="6137" y="358"/>
                    <a:pt x="2003" y="7583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75" name="Forma livre: Forma 1274">
              <a:extLst>
                <a:ext uri="{FF2B5EF4-FFF2-40B4-BE49-F238E27FC236}">
                  <a16:creationId xmlns:a16="http://schemas.microsoft.com/office/drawing/2014/main" id="{862E571D-BBC2-D6DE-001B-F583004D6498}"/>
                </a:ext>
              </a:extLst>
            </p:cNvPr>
            <p:cNvSpPr/>
            <p:nvPr/>
          </p:nvSpPr>
          <p:spPr>
            <a:xfrm>
              <a:off x="10489725" y="1711083"/>
              <a:ext cx="92458" cy="97649"/>
            </a:xfrm>
            <a:custGeom>
              <a:avLst/>
              <a:gdLst>
                <a:gd name="connsiteX0" fmla="*/ 16169 w 92458"/>
                <a:gd name="connsiteY0" fmla="*/ 97650 h 97649"/>
                <a:gd name="connsiteX1" fmla="*/ 7291 w 92458"/>
                <a:gd name="connsiteY1" fmla="*/ 92629 h 97649"/>
                <a:gd name="connsiteX2" fmla="*/ 1851 w 92458"/>
                <a:gd name="connsiteY2" fmla="*/ 73039 h 97649"/>
                <a:gd name="connsiteX3" fmla="*/ 39007 w 92458"/>
                <a:gd name="connsiteY3" fmla="*/ 7293 h 97649"/>
                <a:gd name="connsiteX4" fmla="*/ 58598 w 92458"/>
                <a:gd name="connsiteY4" fmla="*/ 1853 h 97649"/>
                <a:gd name="connsiteX5" fmla="*/ 92459 w 92458"/>
                <a:gd name="connsiteY5" fmla="*/ 20857 h 976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2458" h="97649">
                  <a:moveTo>
                    <a:pt x="16169" y="97650"/>
                  </a:moveTo>
                  <a:lnTo>
                    <a:pt x="7291" y="92629"/>
                  </a:lnTo>
                  <a:cubicBezTo>
                    <a:pt x="413" y="88735"/>
                    <a:pt x="-2043" y="79928"/>
                    <a:pt x="1851" y="73039"/>
                  </a:cubicBezTo>
                  <a:lnTo>
                    <a:pt x="39007" y="7293"/>
                  </a:lnTo>
                  <a:cubicBezTo>
                    <a:pt x="42901" y="404"/>
                    <a:pt x="51720" y="-2041"/>
                    <a:pt x="58598" y="1853"/>
                  </a:cubicBezTo>
                  <a:lnTo>
                    <a:pt x="92459" y="20857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276" name="Gráfico 11">
            <a:extLst>
              <a:ext uri="{FF2B5EF4-FFF2-40B4-BE49-F238E27FC236}">
                <a16:creationId xmlns:a16="http://schemas.microsoft.com/office/drawing/2014/main" id="{14E7853C-3614-8246-90A3-2EC2622293B6}"/>
              </a:ext>
            </a:extLst>
          </p:cNvPr>
          <p:cNvGrpSpPr/>
          <p:nvPr/>
        </p:nvGrpSpPr>
        <p:grpSpPr>
          <a:xfrm>
            <a:off x="9874730" y="1510968"/>
            <a:ext cx="274352" cy="327851"/>
            <a:chOff x="9874730" y="1510968"/>
            <a:chExt cx="274352" cy="327851"/>
          </a:xfrm>
          <a:noFill/>
        </p:grpSpPr>
        <p:sp>
          <p:nvSpPr>
            <p:cNvPr id="1277" name="Forma livre: Forma 1276">
              <a:extLst>
                <a:ext uri="{FF2B5EF4-FFF2-40B4-BE49-F238E27FC236}">
                  <a16:creationId xmlns:a16="http://schemas.microsoft.com/office/drawing/2014/main" id="{A7290A46-D018-24E8-8C05-F406C5A0A90B}"/>
                </a:ext>
              </a:extLst>
            </p:cNvPr>
            <p:cNvSpPr/>
            <p:nvPr/>
          </p:nvSpPr>
          <p:spPr>
            <a:xfrm>
              <a:off x="10025859" y="1674391"/>
              <a:ext cx="123223" cy="30542"/>
            </a:xfrm>
            <a:custGeom>
              <a:avLst/>
              <a:gdLst>
                <a:gd name="connsiteX0" fmla="*/ 0 w 123223"/>
                <a:gd name="connsiteY0" fmla="*/ 0 h 30542"/>
                <a:gd name="connsiteX1" fmla="*/ 123223 w 123223"/>
                <a:gd name="connsiteY1" fmla="*/ 0 h 30542"/>
                <a:gd name="connsiteX2" fmla="*/ 123223 w 123223"/>
                <a:gd name="connsiteY2" fmla="*/ 30542 h 30542"/>
                <a:gd name="connsiteX3" fmla="*/ 49677 w 123223"/>
                <a:gd name="connsiteY3" fmla="*/ 30542 h 305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3223" h="30542">
                  <a:moveTo>
                    <a:pt x="0" y="0"/>
                  </a:moveTo>
                  <a:lnTo>
                    <a:pt x="123223" y="0"/>
                  </a:lnTo>
                  <a:lnTo>
                    <a:pt x="123223" y="30542"/>
                  </a:lnTo>
                  <a:lnTo>
                    <a:pt x="49677" y="30542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78" name="Forma livre: Forma 1277">
              <a:extLst>
                <a:ext uri="{FF2B5EF4-FFF2-40B4-BE49-F238E27FC236}">
                  <a16:creationId xmlns:a16="http://schemas.microsoft.com/office/drawing/2014/main" id="{9FC0917A-1359-D0E9-8589-32FEF2833268}"/>
                </a:ext>
              </a:extLst>
            </p:cNvPr>
            <p:cNvSpPr/>
            <p:nvPr/>
          </p:nvSpPr>
          <p:spPr>
            <a:xfrm>
              <a:off x="10110560" y="1706718"/>
              <a:ext cx="1198" cy="94094"/>
            </a:xfrm>
            <a:custGeom>
              <a:avLst/>
              <a:gdLst>
                <a:gd name="connsiteX0" fmla="*/ 0 w 1198"/>
                <a:gd name="connsiteY0" fmla="*/ 0 h 94094"/>
                <a:gd name="connsiteX1" fmla="*/ 0 w 1198"/>
                <a:gd name="connsiteY1" fmla="*/ 94095 h 940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98" h="94094">
                  <a:moveTo>
                    <a:pt x="0" y="0"/>
                  </a:moveTo>
                  <a:lnTo>
                    <a:pt x="0" y="94095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79" name="Forma livre: Forma 1278">
              <a:extLst>
                <a:ext uri="{FF2B5EF4-FFF2-40B4-BE49-F238E27FC236}">
                  <a16:creationId xmlns:a16="http://schemas.microsoft.com/office/drawing/2014/main" id="{E1EA5DDB-ED83-52CF-064C-8F139304B5A7}"/>
                </a:ext>
              </a:extLst>
            </p:cNvPr>
            <p:cNvSpPr/>
            <p:nvPr/>
          </p:nvSpPr>
          <p:spPr>
            <a:xfrm>
              <a:off x="10031443" y="1510968"/>
              <a:ext cx="56459" cy="56447"/>
            </a:xfrm>
            <a:custGeom>
              <a:avLst/>
              <a:gdLst>
                <a:gd name="connsiteX0" fmla="*/ 56459 w 56459"/>
                <a:gd name="connsiteY0" fmla="*/ 28218 h 56447"/>
                <a:gd name="connsiteX1" fmla="*/ 28242 w 56459"/>
                <a:gd name="connsiteY1" fmla="*/ 56447 h 56447"/>
                <a:gd name="connsiteX2" fmla="*/ 0 w 56459"/>
                <a:gd name="connsiteY2" fmla="*/ 28218 h 56447"/>
                <a:gd name="connsiteX3" fmla="*/ 28242 w 56459"/>
                <a:gd name="connsiteY3" fmla="*/ 0 h 56447"/>
                <a:gd name="connsiteX4" fmla="*/ 56459 w 56459"/>
                <a:gd name="connsiteY4" fmla="*/ 28218 h 564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6459" h="56447">
                  <a:moveTo>
                    <a:pt x="56459" y="28218"/>
                  </a:moveTo>
                  <a:cubicBezTo>
                    <a:pt x="56459" y="43818"/>
                    <a:pt x="43818" y="56447"/>
                    <a:pt x="28242" y="56447"/>
                  </a:cubicBezTo>
                  <a:cubicBezTo>
                    <a:pt x="12665" y="56447"/>
                    <a:pt x="0" y="43806"/>
                    <a:pt x="0" y="28218"/>
                  </a:cubicBezTo>
                  <a:cubicBezTo>
                    <a:pt x="0" y="12629"/>
                    <a:pt x="12641" y="0"/>
                    <a:pt x="28242" y="0"/>
                  </a:cubicBezTo>
                  <a:cubicBezTo>
                    <a:pt x="43842" y="0"/>
                    <a:pt x="56459" y="12641"/>
                    <a:pt x="56459" y="28218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80" name="Forma livre: Forma 1279">
              <a:extLst>
                <a:ext uri="{FF2B5EF4-FFF2-40B4-BE49-F238E27FC236}">
                  <a16:creationId xmlns:a16="http://schemas.microsoft.com/office/drawing/2014/main" id="{8DB472D9-3AE5-18E2-8C61-3691CF27A910}"/>
                </a:ext>
              </a:extLst>
            </p:cNvPr>
            <p:cNvSpPr/>
            <p:nvPr/>
          </p:nvSpPr>
          <p:spPr>
            <a:xfrm>
              <a:off x="10015998" y="1593596"/>
              <a:ext cx="108293" cy="59682"/>
            </a:xfrm>
            <a:custGeom>
              <a:avLst/>
              <a:gdLst>
                <a:gd name="connsiteX0" fmla="*/ 0 w 108293"/>
                <a:gd name="connsiteY0" fmla="*/ 3870 h 59682"/>
                <a:gd name="connsiteX1" fmla="*/ 16535 w 108293"/>
                <a:gd name="connsiteY1" fmla="*/ 0 h 59682"/>
                <a:gd name="connsiteX2" fmla="*/ 42416 w 108293"/>
                <a:gd name="connsiteY2" fmla="*/ 29739 h 59682"/>
                <a:gd name="connsiteX3" fmla="*/ 70814 w 108293"/>
                <a:gd name="connsiteY3" fmla="*/ 0 h 59682"/>
                <a:gd name="connsiteX4" fmla="*/ 108293 w 108293"/>
                <a:gd name="connsiteY4" fmla="*/ 37480 h 59682"/>
                <a:gd name="connsiteX5" fmla="*/ 108293 w 108293"/>
                <a:gd name="connsiteY5" fmla="*/ 59682 h 596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08293" h="59682">
                  <a:moveTo>
                    <a:pt x="0" y="3870"/>
                  </a:moveTo>
                  <a:cubicBezTo>
                    <a:pt x="4996" y="1390"/>
                    <a:pt x="10616" y="0"/>
                    <a:pt x="16535" y="0"/>
                  </a:cubicBezTo>
                  <a:lnTo>
                    <a:pt x="42416" y="29739"/>
                  </a:lnTo>
                  <a:lnTo>
                    <a:pt x="70814" y="0"/>
                  </a:lnTo>
                  <a:cubicBezTo>
                    <a:pt x="91423" y="0"/>
                    <a:pt x="108293" y="16871"/>
                    <a:pt x="108293" y="37480"/>
                  </a:cubicBezTo>
                  <a:lnTo>
                    <a:pt x="108293" y="59682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281" name="Gráfico 11">
              <a:extLst>
                <a:ext uri="{FF2B5EF4-FFF2-40B4-BE49-F238E27FC236}">
                  <a16:creationId xmlns:a16="http://schemas.microsoft.com/office/drawing/2014/main" id="{9E1DEF19-969E-FB5F-388B-596128D4B7BE}"/>
                </a:ext>
              </a:extLst>
            </p:cNvPr>
            <p:cNvGrpSpPr/>
            <p:nvPr/>
          </p:nvGrpSpPr>
          <p:grpSpPr>
            <a:xfrm>
              <a:off x="9874730" y="1510968"/>
              <a:ext cx="129249" cy="327851"/>
              <a:chOff x="9874730" y="1510968"/>
              <a:chExt cx="129249" cy="327851"/>
            </a:xfrm>
            <a:noFill/>
          </p:grpSpPr>
          <p:sp>
            <p:nvSpPr>
              <p:cNvPr id="1282" name="Forma livre: Forma 1281">
                <a:extLst>
                  <a:ext uri="{FF2B5EF4-FFF2-40B4-BE49-F238E27FC236}">
                    <a16:creationId xmlns:a16="http://schemas.microsoft.com/office/drawing/2014/main" id="{DEF2CBAA-27E0-6F54-AE68-4335BC2E37EF}"/>
                  </a:ext>
                </a:extLst>
              </p:cNvPr>
              <p:cNvSpPr/>
              <p:nvPr/>
            </p:nvSpPr>
            <p:spPr>
              <a:xfrm>
                <a:off x="9911120" y="1510968"/>
                <a:ext cx="56447" cy="56447"/>
              </a:xfrm>
              <a:custGeom>
                <a:avLst/>
                <a:gdLst>
                  <a:gd name="connsiteX0" fmla="*/ 56447 w 56447"/>
                  <a:gd name="connsiteY0" fmla="*/ 28218 h 56447"/>
                  <a:gd name="connsiteX1" fmla="*/ 28230 w 56447"/>
                  <a:gd name="connsiteY1" fmla="*/ 56447 h 56447"/>
                  <a:gd name="connsiteX2" fmla="*/ 0 w 56447"/>
                  <a:gd name="connsiteY2" fmla="*/ 28218 h 56447"/>
                  <a:gd name="connsiteX3" fmla="*/ 28230 w 56447"/>
                  <a:gd name="connsiteY3" fmla="*/ 0 h 56447"/>
                  <a:gd name="connsiteX4" fmla="*/ 56447 w 56447"/>
                  <a:gd name="connsiteY4" fmla="*/ 28218 h 564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6447" h="56447">
                    <a:moveTo>
                      <a:pt x="56447" y="28218"/>
                    </a:moveTo>
                    <a:cubicBezTo>
                      <a:pt x="56447" y="43818"/>
                      <a:pt x="43806" y="56447"/>
                      <a:pt x="28230" y="56447"/>
                    </a:cubicBezTo>
                    <a:cubicBezTo>
                      <a:pt x="12653" y="56447"/>
                      <a:pt x="0" y="43806"/>
                      <a:pt x="0" y="28218"/>
                    </a:cubicBezTo>
                    <a:cubicBezTo>
                      <a:pt x="0" y="12629"/>
                      <a:pt x="12641" y="0"/>
                      <a:pt x="28230" y="0"/>
                    </a:cubicBezTo>
                    <a:cubicBezTo>
                      <a:pt x="43818" y="0"/>
                      <a:pt x="56447" y="12641"/>
                      <a:pt x="56447" y="28218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83" name="Forma livre: Forma 1282">
                <a:extLst>
                  <a:ext uri="{FF2B5EF4-FFF2-40B4-BE49-F238E27FC236}">
                    <a16:creationId xmlns:a16="http://schemas.microsoft.com/office/drawing/2014/main" id="{FE180B76-1065-35E2-672C-53F5373B846C}"/>
                  </a:ext>
                </a:extLst>
              </p:cNvPr>
              <p:cNvSpPr/>
              <p:nvPr/>
            </p:nvSpPr>
            <p:spPr>
              <a:xfrm>
                <a:off x="9874730" y="1593596"/>
                <a:ext cx="129249" cy="134797"/>
              </a:xfrm>
              <a:custGeom>
                <a:avLst/>
                <a:gdLst>
                  <a:gd name="connsiteX0" fmla="*/ 27714 w 129249"/>
                  <a:gd name="connsiteY0" fmla="*/ 134798 h 134797"/>
                  <a:gd name="connsiteX1" fmla="*/ 0 w 129249"/>
                  <a:gd name="connsiteY1" fmla="*/ 97318 h 134797"/>
                  <a:gd name="connsiteX2" fmla="*/ 0 w 129249"/>
                  <a:gd name="connsiteY2" fmla="*/ 37480 h 134797"/>
                  <a:gd name="connsiteX3" fmla="*/ 37480 w 129249"/>
                  <a:gd name="connsiteY3" fmla="*/ 0 h 134797"/>
                  <a:gd name="connsiteX4" fmla="*/ 91758 w 129249"/>
                  <a:gd name="connsiteY4" fmla="*/ 0 h 134797"/>
                  <a:gd name="connsiteX5" fmla="*/ 129250 w 129249"/>
                  <a:gd name="connsiteY5" fmla="*/ 37480 h 134797"/>
                  <a:gd name="connsiteX6" fmla="*/ 129250 w 129249"/>
                  <a:gd name="connsiteY6" fmla="*/ 97318 h 134797"/>
                  <a:gd name="connsiteX7" fmla="*/ 101524 w 129249"/>
                  <a:gd name="connsiteY7" fmla="*/ 134798 h 1347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29249" h="134797">
                    <a:moveTo>
                      <a:pt x="27714" y="134798"/>
                    </a:moveTo>
                    <a:cubicBezTo>
                      <a:pt x="7105" y="134798"/>
                      <a:pt x="0" y="117927"/>
                      <a:pt x="0" y="97318"/>
                    </a:cubicBezTo>
                    <a:lnTo>
                      <a:pt x="0" y="37480"/>
                    </a:lnTo>
                    <a:cubicBezTo>
                      <a:pt x="0" y="16871"/>
                      <a:pt x="16859" y="0"/>
                      <a:pt x="37480" y="0"/>
                    </a:cubicBezTo>
                    <a:lnTo>
                      <a:pt x="91758" y="0"/>
                    </a:lnTo>
                    <a:cubicBezTo>
                      <a:pt x="112367" y="0"/>
                      <a:pt x="129250" y="16871"/>
                      <a:pt x="129250" y="37480"/>
                    </a:cubicBezTo>
                    <a:lnTo>
                      <a:pt x="129250" y="97318"/>
                    </a:lnTo>
                    <a:cubicBezTo>
                      <a:pt x="129250" y="117927"/>
                      <a:pt x="122145" y="134798"/>
                      <a:pt x="101524" y="134798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1284" name="Gráfico 11">
                <a:extLst>
                  <a:ext uri="{FF2B5EF4-FFF2-40B4-BE49-F238E27FC236}">
                    <a16:creationId xmlns:a16="http://schemas.microsoft.com/office/drawing/2014/main" id="{F49F5DB2-B69A-9CC4-B3A9-1C0733FADE51}"/>
                  </a:ext>
                </a:extLst>
              </p:cNvPr>
              <p:cNvGrpSpPr/>
              <p:nvPr/>
            </p:nvGrpSpPr>
            <p:grpSpPr>
              <a:xfrm>
                <a:off x="9902109" y="1642411"/>
                <a:ext cx="74480" cy="196409"/>
                <a:chOff x="9902109" y="1642411"/>
                <a:chExt cx="74480" cy="196409"/>
              </a:xfrm>
            </p:grpSpPr>
            <p:sp>
              <p:nvSpPr>
                <p:cNvPr id="1285" name="Forma livre: Forma 1284">
                  <a:extLst>
                    <a:ext uri="{FF2B5EF4-FFF2-40B4-BE49-F238E27FC236}">
                      <a16:creationId xmlns:a16="http://schemas.microsoft.com/office/drawing/2014/main" id="{DB8631CA-567C-0AB9-8E1D-22DABEA55F46}"/>
                    </a:ext>
                  </a:extLst>
                </p:cNvPr>
                <p:cNvSpPr/>
                <p:nvPr/>
              </p:nvSpPr>
              <p:spPr>
                <a:xfrm>
                  <a:off x="9976589" y="1642411"/>
                  <a:ext cx="1198" cy="196409"/>
                </a:xfrm>
                <a:custGeom>
                  <a:avLst/>
                  <a:gdLst>
                    <a:gd name="connsiteX0" fmla="*/ 0 w 1198"/>
                    <a:gd name="connsiteY0" fmla="*/ 0 h 196409"/>
                    <a:gd name="connsiteX1" fmla="*/ 0 w 1198"/>
                    <a:gd name="connsiteY1" fmla="*/ 196409 h 19640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198" h="196409">
                      <a:moveTo>
                        <a:pt x="0" y="0"/>
                      </a:moveTo>
                      <a:lnTo>
                        <a:pt x="0" y="196409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286" name="Forma livre: Forma 1285">
                  <a:extLst>
                    <a:ext uri="{FF2B5EF4-FFF2-40B4-BE49-F238E27FC236}">
                      <a16:creationId xmlns:a16="http://schemas.microsoft.com/office/drawing/2014/main" id="{60586267-3959-17E7-8308-4538EA3C6406}"/>
                    </a:ext>
                  </a:extLst>
                </p:cNvPr>
                <p:cNvSpPr/>
                <p:nvPr/>
              </p:nvSpPr>
              <p:spPr>
                <a:xfrm>
                  <a:off x="9939349" y="1730035"/>
                  <a:ext cx="1198" cy="108784"/>
                </a:xfrm>
                <a:custGeom>
                  <a:avLst/>
                  <a:gdLst>
                    <a:gd name="connsiteX0" fmla="*/ 0 w 1198"/>
                    <a:gd name="connsiteY0" fmla="*/ 0 h 108784"/>
                    <a:gd name="connsiteX1" fmla="*/ 0 w 1198"/>
                    <a:gd name="connsiteY1" fmla="*/ 108785 h 10878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198" h="108784">
                      <a:moveTo>
                        <a:pt x="0" y="0"/>
                      </a:moveTo>
                      <a:lnTo>
                        <a:pt x="0" y="108785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287" name="Forma livre: Forma 1286">
                  <a:extLst>
                    <a:ext uri="{FF2B5EF4-FFF2-40B4-BE49-F238E27FC236}">
                      <a16:creationId xmlns:a16="http://schemas.microsoft.com/office/drawing/2014/main" id="{4DCF66A0-AF38-1D5A-7157-3FFC55579F3F}"/>
                    </a:ext>
                  </a:extLst>
                </p:cNvPr>
                <p:cNvSpPr/>
                <p:nvPr/>
              </p:nvSpPr>
              <p:spPr>
                <a:xfrm>
                  <a:off x="9902109" y="1642411"/>
                  <a:ext cx="1198" cy="196409"/>
                </a:xfrm>
                <a:custGeom>
                  <a:avLst/>
                  <a:gdLst>
                    <a:gd name="connsiteX0" fmla="*/ 0 w 1198"/>
                    <a:gd name="connsiteY0" fmla="*/ 0 h 196409"/>
                    <a:gd name="connsiteX1" fmla="*/ 0 w 1198"/>
                    <a:gd name="connsiteY1" fmla="*/ 196409 h 19640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198" h="196409">
                      <a:moveTo>
                        <a:pt x="0" y="0"/>
                      </a:moveTo>
                      <a:lnTo>
                        <a:pt x="0" y="196409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</p:grpSp>
      <p:grpSp>
        <p:nvGrpSpPr>
          <p:cNvPr id="1288" name="Gráfico 11">
            <a:extLst>
              <a:ext uri="{FF2B5EF4-FFF2-40B4-BE49-F238E27FC236}">
                <a16:creationId xmlns:a16="http://schemas.microsoft.com/office/drawing/2014/main" id="{B7D67AC7-FAEE-DA28-803E-8B5950038234}"/>
              </a:ext>
            </a:extLst>
          </p:cNvPr>
          <p:cNvGrpSpPr/>
          <p:nvPr/>
        </p:nvGrpSpPr>
        <p:grpSpPr>
          <a:xfrm>
            <a:off x="11081991" y="1554618"/>
            <a:ext cx="356571" cy="240550"/>
            <a:chOff x="11081991" y="1554618"/>
            <a:chExt cx="356571" cy="240550"/>
          </a:xfrm>
          <a:noFill/>
        </p:grpSpPr>
        <p:sp>
          <p:nvSpPr>
            <p:cNvPr id="1289" name="Forma livre: Forma 1288">
              <a:extLst>
                <a:ext uri="{FF2B5EF4-FFF2-40B4-BE49-F238E27FC236}">
                  <a16:creationId xmlns:a16="http://schemas.microsoft.com/office/drawing/2014/main" id="{3188BF50-9102-9D9E-2FB7-3FE96CB490EF}"/>
                </a:ext>
              </a:extLst>
            </p:cNvPr>
            <p:cNvSpPr/>
            <p:nvPr/>
          </p:nvSpPr>
          <p:spPr>
            <a:xfrm>
              <a:off x="11119949" y="1554618"/>
              <a:ext cx="314312" cy="64918"/>
            </a:xfrm>
            <a:custGeom>
              <a:avLst/>
              <a:gdLst>
                <a:gd name="connsiteX0" fmla="*/ 0 w 314312"/>
                <a:gd name="connsiteY0" fmla="*/ 64918 h 64918"/>
                <a:gd name="connsiteX1" fmla="*/ 158702 w 314312"/>
                <a:gd name="connsiteY1" fmla="*/ 0 h 64918"/>
                <a:gd name="connsiteX2" fmla="*/ 314312 w 314312"/>
                <a:gd name="connsiteY2" fmla="*/ 0 h 649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14312" h="64918">
                  <a:moveTo>
                    <a:pt x="0" y="64918"/>
                  </a:moveTo>
                  <a:cubicBezTo>
                    <a:pt x="0" y="64918"/>
                    <a:pt x="36066" y="0"/>
                    <a:pt x="158702" y="0"/>
                  </a:cubicBezTo>
                  <a:lnTo>
                    <a:pt x="314312" y="0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90" name="Forma livre: Forma 1289">
              <a:extLst>
                <a:ext uri="{FF2B5EF4-FFF2-40B4-BE49-F238E27FC236}">
                  <a16:creationId xmlns:a16="http://schemas.microsoft.com/office/drawing/2014/main" id="{61E66CCA-2277-2485-4E03-43DBE893BD36}"/>
                </a:ext>
              </a:extLst>
            </p:cNvPr>
            <p:cNvSpPr/>
            <p:nvPr/>
          </p:nvSpPr>
          <p:spPr>
            <a:xfrm>
              <a:off x="11081991" y="1595094"/>
              <a:ext cx="352281" cy="137074"/>
            </a:xfrm>
            <a:custGeom>
              <a:avLst/>
              <a:gdLst>
                <a:gd name="connsiteX0" fmla="*/ 90643 w 352281"/>
                <a:gd name="connsiteY0" fmla="*/ 0 h 137074"/>
                <a:gd name="connsiteX1" fmla="*/ 113708 w 352281"/>
                <a:gd name="connsiteY1" fmla="*/ 0 h 137074"/>
                <a:gd name="connsiteX2" fmla="*/ 104889 w 352281"/>
                <a:gd name="connsiteY2" fmla="*/ 27259 h 137074"/>
                <a:gd name="connsiteX3" fmla="*/ 35154 w 352281"/>
                <a:gd name="connsiteY3" fmla="*/ 27259 h 137074"/>
                <a:gd name="connsiteX4" fmla="*/ 214 w 352281"/>
                <a:gd name="connsiteY4" fmla="*/ 56759 h 137074"/>
                <a:gd name="connsiteX5" fmla="*/ 140967 w 352281"/>
                <a:gd name="connsiteY5" fmla="*/ 135073 h 137074"/>
                <a:gd name="connsiteX6" fmla="*/ 197882 w 352281"/>
                <a:gd name="connsiteY6" fmla="*/ 137074 h 137074"/>
                <a:gd name="connsiteX7" fmla="*/ 352282 w 352281"/>
                <a:gd name="connsiteY7" fmla="*/ 137074 h 1370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52281" h="137074">
                  <a:moveTo>
                    <a:pt x="90643" y="0"/>
                  </a:moveTo>
                  <a:lnTo>
                    <a:pt x="113708" y="0"/>
                  </a:lnTo>
                  <a:lnTo>
                    <a:pt x="104889" y="27259"/>
                  </a:lnTo>
                  <a:lnTo>
                    <a:pt x="35154" y="27259"/>
                  </a:lnTo>
                  <a:cubicBezTo>
                    <a:pt x="35154" y="27259"/>
                    <a:pt x="2695" y="39289"/>
                    <a:pt x="214" y="56759"/>
                  </a:cubicBezTo>
                  <a:cubicBezTo>
                    <a:pt x="-1307" y="63337"/>
                    <a:pt x="1497" y="123451"/>
                    <a:pt x="140967" y="135073"/>
                  </a:cubicBezTo>
                  <a:cubicBezTo>
                    <a:pt x="140967" y="135073"/>
                    <a:pt x="169832" y="137074"/>
                    <a:pt x="197882" y="137074"/>
                  </a:cubicBezTo>
                  <a:lnTo>
                    <a:pt x="352282" y="137074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91" name="Forma livre: Forma 1290">
              <a:extLst>
                <a:ext uri="{FF2B5EF4-FFF2-40B4-BE49-F238E27FC236}">
                  <a16:creationId xmlns:a16="http://schemas.microsoft.com/office/drawing/2014/main" id="{FB94BB49-E001-7C1F-BC4F-C28AA989E020}"/>
                </a:ext>
              </a:extLst>
            </p:cNvPr>
            <p:cNvSpPr/>
            <p:nvPr/>
          </p:nvSpPr>
          <p:spPr>
            <a:xfrm>
              <a:off x="11231358" y="1597095"/>
              <a:ext cx="40487" cy="77343"/>
            </a:xfrm>
            <a:custGeom>
              <a:avLst/>
              <a:gdLst>
                <a:gd name="connsiteX0" fmla="*/ 26109 w 40487"/>
                <a:gd name="connsiteY0" fmla="*/ 0 h 77343"/>
                <a:gd name="connsiteX1" fmla="*/ 40487 w 40487"/>
                <a:gd name="connsiteY1" fmla="*/ 14378 h 77343"/>
                <a:gd name="connsiteX2" fmla="*/ 40487 w 40487"/>
                <a:gd name="connsiteY2" fmla="*/ 62965 h 77343"/>
                <a:gd name="connsiteX3" fmla="*/ 26109 w 40487"/>
                <a:gd name="connsiteY3" fmla="*/ 77344 h 77343"/>
                <a:gd name="connsiteX4" fmla="*/ 14378 w 40487"/>
                <a:gd name="connsiteY4" fmla="*/ 77344 h 77343"/>
                <a:gd name="connsiteX5" fmla="*/ 0 w 40487"/>
                <a:gd name="connsiteY5" fmla="*/ 62965 h 77343"/>
                <a:gd name="connsiteX6" fmla="*/ 0 w 40487"/>
                <a:gd name="connsiteY6" fmla="*/ 14378 h 77343"/>
                <a:gd name="connsiteX7" fmla="*/ 14378 w 40487"/>
                <a:gd name="connsiteY7" fmla="*/ 0 h 773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0487" h="77343">
                  <a:moveTo>
                    <a:pt x="26109" y="0"/>
                  </a:moveTo>
                  <a:cubicBezTo>
                    <a:pt x="34050" y="0"/>
                    <a:pt x="40487" y="6437"/>
                    <a:pt x="40487" y="14378"/>
                  </a:cubicBezTo>
                  <a:lnTo>
                    <a:pt x="40487" y="62965"/>
                  </a:lnTo>
                  <a:cubicBezTo>
                    <a:pt x="40487" y="70906"/>
                    <a:pt x="34050" y="77344"/>
                    <a:pt x="26109" y="77344"/>
                  </a:cubicBezTo>
                  <a:lnTo>
                    <a:pt x="14378" y="77344"/>
                  </a:lnTo>
                  <a:cubicBezTo>
                    <a:pt x="6437" y="77344"/>
                    <a:pt x="0" y="70906"/>
                    <a:pt x="0" y="62965"/>
                  </a:cubicBezTo>
                  <a:lnTo>
                    <a:pt x="0" y="14378"/>
                  </a:lnTo>
                  <a:cubicBezTo>
                    <a:pt x="0" y="6437"/>
                    <a:pt x="6437" y="0"/>
                    <a:pt x="14378" y="0"/>
                  </a:cubicBez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92" name="Forma livre: Forma 1291">
              <a:extLst>
                <a:ext uri="{FF2B5EF4-FFF2-40B4-BE49-F238E27FC236}">
                  <a16:creationId xmlns:a16="http://schemas.microsoft.com/office/drawing/2014/main" id="{E1158BCC-9839-C205-BC2E-D9F8A3B7D109}"/>
                </a:ext>
              </a:extLst>
            </p:cNvPr>
            <p:cNvSpPr/>
            <p:nvPr/>
          </p:nvSpPr>
          <p:spPr>
            <a:xfrm>
              <a:off x="11308318" y="1608801"/>
              <a:ext cx="1198" cy="14989"/>
            </a:xfrm>
            <a:custGeom>
              <a:avLst/>
              <a:gdLst>
                <a:gd name="connsiteX0" fmla="*/ 0 w 1198"/>
                <a:gd name="connsiteY0" fmla="*/ 0 h 14989"/>
                <a:gd name="connsiteX1" fmla="*/ 0 w 1198"/>
                <a:gd name="connsiteY1" fmla="*/ 14990 h 149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98" h="14989">
                  <a:moveTo>
                    <a:pt x="0" y="0"/>
                  </a:moveTo>
                  <a:lnTo>
                    <a:pt x="0" y="1499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93" name="Forma livre: Forma 1292">
              <a:extLst>
                <a:ext uri="{FF2B5EF4-FFF2-40B4-BE49-F238E27FC236}">
                  <a16:creationId xmlns:a16="http://schemas.microsoft.com/office/drawing/2014/main" id="{C13911B7-CD6C-792E-AD81-15C1A73D275D}"/>
                </a:ext>
              </a:extLst>
            </p:cNvPr>
            <p:cNvSpPr/>
            <p:nvPr/>
          </p:nvSpPr>
          <p:spPr>
            <a:xfrm>
              <a:off x="11332438" y="1608801"/>
              <a:ext cx="1198" cy="14989"/>
            </a:xfrm>
            <a:custGeom>
              <a:avLst/>
              <a:gdLst>
                <a:gd name="connsiteX0" fmla="*/ 0 w 1198"/>
                <a:gd name="connsiteY0" fmla="*/ 0 h 14989"/>
                <a:gd name="connsiteX1" fmla="*/ 0 w 1198"/>
                <a:gd name="connsiteY1" fmla="*/ 14990 h 149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98" h="14989">
                  <a:moveTo>
                    <a:pt x="0" y="0"/>
                  </a:moveTo>
                  <a:lnTo>
                    <a:pt x="0" y="1499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94" name="Forma livre: Forma 1293">
              <a:extLst>
                <a:ext uri="{FF2B5EF4-FFF2-40B4-BE49-F238E27FC236}">
                  <a16:creationId xmlns:a16="http://schemas.microsoft.com/office/drawing/2014/main" id="{B813D844-307C-6CB9-57AE-F0B0B84A0A21}"/>
                </a:ext>
              </a:extLst>
            </p:cNvPr>
            <p:cNvSpPr/>
            <p:nvPr/>
          </p:nvSpPr>
          <p:spPr>
            <a:xfrm>
              <a:off x="11356570" y="1608801"/>
              <a:ext cx="1198" cy="14989"/>
            </a:xfrm>
            <a:custGeom>
              <a:avLst/>
              <a:gdLst>
                <a:gd name="connsiteX0" fmla="*/ 0 w 1198"/>
                <a:gd name="connsiteY0" fmla="*/ 0 h 14989"/>
                <a:gd name="connsiteX1" fmla="*/ 0 w 1198"/>
                <a:gd name="connsiteY1" fmla="*/ 14990 h 149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98" h="14989">
                  <a:moveTo>
                    <a:pt x="0" y="0"/>
                  </a:moveTo>
                  <a:lnTo>
                    <a:pt x="0" y="1499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95" name="Forma livre: Forma 1294">
              <a:extLst>
                <a:ext uri="{FF2B5EF4-FFF2-40B4-BE49-F238E27FC236}">
                  <a16:creationId xmlns:a16="http://schemas.microsoft.com/office/drawing/2014/main" id="{38B72FB2-B629-6D99-F791-0FC4A5487D9A}"/>
                </a:ext>
              </a:extLst>
            </p:cNvPr>
            <p:cNvSpPr/>
            <p:nvPr/>
          </p:nvSpPr>
          <p:spPr>
            <a:xfrm>
              <a:off x="11380702" y="1608801"/>
              <a:ext cx="1198" cy="14989"/>
            </a:xfrm>
            <a:custGeom>
              <a:avLst/>
              <a:gdLst>
                <a:gd name="connsiteX0" fmla="*/ 0 w 1198"/>
                <a:gd name="connsiteY0" fmla="*/ 0 h 14989"/>
                <a:gd name="connsiteX1" fmla="*/ 0 w 1198"/>
                <a:gd name="connsiteY1" fmla="*/ 14990 h 149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98" h="14989">
                  <a:moveTo>
                    <a:pt x="0" y="0"/>
                  </a:moveTo>
                  <a:lnTo>
                    <a:pt x="0" y="1499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96" name="Forma livre: Forma 1295">
              <a:extLst>
                <a:ext uri="{FF2B5EF4-FFF2-40B4-BE49-F238E27FC236}">
                  <a16:creationId xmlns:a16="http://schemas.microsoft.com/office/drawing/2014/main" id="{78D61B70-E5F2-8304-F338-0FF7EC9ACF51}"/>
                </a:ext>
              </a:extLst>
            </p:cNvPr>
            <p:cNvSpPr/>
            <p:nvPr/>
          </p:nvSpPr>
          <p:spPr>
            <a:xfrm>
              <a:off x="11404833" y="1608801"/>
              <a:ext cx="1198" cy="14989"/>
            </a:xfrm>
            <a:custGeom>
              <a:avLst/>
              <a:gdLst>
                <a:gd name="connsiteX0" fmla="*/ 0 w 1198"/>
                <a:gd name="connsiteY0" fmla="*/ 0 h 14989"/>
                <a:gd name="connsiteX1" fmla="*/ 0 w 1198"/>
                <a:gd name="connsiteY1" fmla="*/ 14990 h 149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98" h="14989">
                  <a:moveTo>
                    <a:pt x="0" y="0"/>
                  </a:moveTo>
                  <a:lnTo>
                    <a:pt x="0" y="1499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97" name="Forma livre: Forma 1296">
              <a:extLst>
                <a:ext uri="{FF2B5EF4-FFF2-40B4-BE49-F238E27FC236}">
                  <a16:creationId xmlns:a16="http://schemas.microsoft.com/office/drawing/2014/main" id="{4DE3E8E3-96BC-8799-5F7C-B3F937473D64}"/>
                </a:ext>
              </a:extLst>
            </p:cNvPr>
            <p:cNvSpPr/>
            <p:nvPr/>
          </p:nvSpPr>
          <p:spPr>
            <a:xfrm>
              <a:off x="11428941" y="1608801"/>
              <a:ext cx="1198" cy="14989"/>
            </a:xfrm>
            <a:custGeom>
              <a:avLst/>
              <a:gdLst>
                <a:gd name="connsiteX0" fmla="*/ 0 w 1198"/>
                <a:gd name="connsiteY0" fmla="*/ 0 h 14989"/>
                <a:gd name="connsiteX1" fmla="*/ 0 w 1198"/>
                <a:gd name="connsiteY1" fmla="*/ 14990 h 149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98" h="14989">
                  <a:moveTo>
                    <a:pt x="0" y="0"/>
                  </a:moveTo>
                  <a:lnTo>
                    <a:pt x="0" y="1499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98" name="Forma livre: Forma 1297">
              <a:extLst>
                <a:ext uri="{FF2B5EF4-FFF2-40B4-BE49-F238E27FC236}">
                  <a16:creationId xmlns:a16="http://schemas.microsoft.com/office/drawing/2014/main" id="{E25D339E-D3B0-2ACE-F73B-6628E08C9C3E}"/>
                </a:ext>
              </a:extLst>
            </p:cNvPr>
            <p:cNvSpPr/>
            <p:nvPr/>
          </p:nvSpPr>
          <p:spPr>
            <a:xfrm>
              <a:off x="11112436" y="1648390"/>
              <a:ext cx="114919" cy="1198"/>
            </a:xfrm>
            <a:custGeom>
              <a:avLst/>
              <a:gdLst>
                <a:gd name="connsiteX0" fmla="*/ 0 w 114919"/>
                <a:gd name="connsiteY0" fmla="*/ 0 h 1198"/>
                <a:gd name="connsiteX1" fmla="*/ 114919 w 114919"/>
                <a:gd name="connsiteY1" fmla="*/ 0 h 11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4919" h="1198">
                  <a:moveTo>
                    <a:pt x="0" y="0"/>
                  </a:moveTo>
                  <a:lnTo>
                    <a:pt x="114919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99" name="Forma livre: Forma 1298">
              <a:extLst>
                <a:ext uri="{FF2B5EF4-FFF2-40B4-BE49-F238E27FC236}">
                  <a16:creationId xmlns:a16="http://schemas.microsoft.com/office/drawing/2014/main" id="{C6879F88-7555-2410-ADC8-9D19B87287A6}"/>
                </a:ext>
              </a:extLst>
            </p:cNvPr>
            <p:cNvSpPr/>
            <p:nvPr/>
          </p:nvSpPr>
          <p:spPr>
            <a:xfrm>
              <a:off x="11291723" y="1648390"/>
              <a:ext cx="146839" cy="1198"/>
            </a:xfrm>
            <a:custGeom>
              <a:avLst/>
              <a:gdLst>
                <a:gd name="connsiteX0" fmla="*/ 0 w 146839"/>
                <a:gd name="connsiteY0" fmla="*/ 0 h 1198"/>
                <a:gd name="connsiteX1" fmla="*/ 146840 w 146839"/>
                <a:gd name="connsiteY1" fmla="*/ 0 h 11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46839" h="1198">
                  <a:moveTo>
                    <a:pt x="0" y="0"/>
                  </a:moveTo>
                  <a:lnTo>
                    <a:pt x="14684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300" name="Gráfico 11">
              <a:extLst>
                <a:ext uri="{FF2B5EF4-FFF2-40B4-BE49-F238E27FC236}">
                  <a16:creationId xmlns:a16="http://schemas.microsoft.com/office/drawing/2014/main" id="{661F60C6-5787-9A42-B8CC-E5B5EE466EBC}"/>
                </a:ext>
              </a:extLst>
            </p:cNvPr>
            <p:cNvGrpSpPr/>
            <p:nvPr/>
          </p:nvGrpSpPr>
          <p:grpSpPr>
            <a:xfrm>
              <a:off x="11204147" y="1733354"/>
              <a:ext cx="31464" cy="59143"/>
              <a:chOff x="11204147" y="1733354"/>
              <a:chExt cx="31464" cy="59143"/>
            </a:xfrm>
            <a:noFill/>
          </p:grpSpPr>
          <p:sp>
            <p:nvSpPr>
              <p:cNvPr id="1301" name="Forma livre: Forma 1300">
                <a:extLst>
                  <a:ext uri="{FF2B5EF4-FFF2-40B4-BE49-F238E27FC236}">
                    <a16:creationId xmlns:a16="http://schemas.microsoft.com/office/drawing/2014/main" id="{A620F600-DA15-303B-7BC2-FA78F3AFBC43}"/>
                  </a:ext>
                </a:extLst>
              </p:cNvPr>
              <p:cNvSpPr/>
              <p:nvPr/>
            </p:nvSpPr>
            <p:spPr>
              <a:xfrm>
                <a:off x="11204147" y="1761021"/>
                <a:ext cx="31464" cy="31476"/>
              </a:xfrm>
              <a:custGeom>
                <a:avLst/>
                <a:gdLst>
                  <a:gd name="connsiteX0" fmla="*/ 31465 w 31464"/>
                  <a:gd name="connsiteY0" fmla="*/ 15732 h 31476"/>
                  <a:gd name="connsiteX1" fmla="*/ 15732 w 31464"/>
                  <a:gd name="connsiteY1" fmla="*/ 31477 h 31476"/>
                  <a:gd name="connsiteX2" fmla="*/ 0 w 31464"/>
                  <a:gd name="connsiteY2" fmla="*/ 15732 h 31476"/>
                  <a:gd name="connsiteX3" fmla="*/ 15732 w 31464"/>
                  <a:gd name="connsiteY3" fmla="*/ 0 h 31476"/>
                  <a:gd name="connsiteX4" fmla="*/ 31465 w 31464"/>
                  <a:gd name="connsiteY4" fmla="*/ 15732 h 314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1464" h="31476">
                    <a:moveTo>
                      <a:pt x="31465" y="15732"/>
                    </a:moveTo>
                    <a:cubicBezTo>
                      <a:pt x="31465" y="24431"/>
                      <a:pt x="24419" y="31477"/>
                      <a:pt x="15732" y="31477"/>
                    </a:cubicBezTo>
                    <a:cubicBezTo>
                      <a:pt x="7045" y="31477"/>
                      <a:pt x="0" y="24431"/>
                      <a:pt x="0" y="15732"/>
                    </a:cubicBezTo>
                    <a:cubicBezTo>
                      <a:pt x="0" y="7033"/>
                      <a:pt x="7045" y="0"/>
                      <a:pt x="15732" y="0"/>
                    </a:cubicBezTo>
                    <a:cubicBezTo>
                      <a:pt x="24419" y="0"/>
                      <a:pt x="31465" y="7045"/>
                      <a:pt x="31465" y="15732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302" name="Forma livre: Forma 1301">
                <a:extLst>
                  <a:ext uri="{FF2B5EF4-FFF2-40B4-BE49-F238E27FC236}">
                    <a16:creationId xmlns:a16="http://schemas.microsoft.com/office/drawing/2014/main" id="{F1326A9F-8E17-D0C4-B89A-E1148D1C34EC}"/>
                  </a:ext>
                </a:extLst>
              </p:cNvPr>
              <p:cNvSpPr/>
              <p:nvPr/>
            </p:nvSpPr>
            <p:spPr>
              <a:xfrm>
                <a:off x="11219879" y="1733354"/>
                <a:ext cx="1198" cy="25246"/>
              </a:xfrm>
              <a:custGeom>
                <a:avLst/>
                <a:gdLst>
                  <a:gd name="connsiteX0" fmla="*/ 0 w 1198"/>
                  <a:gd name="connsiteY0" fmla="*/ 25246 h 25246"/>
                  <a:gd name="connsiteX1" fmla="*/ 0 w 1198"/>
                  <a:gd name="connsiteY1" fmla="*/ 0 h 252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8" h="25246">
                    <a:moveTo>
                      <a:pt x="0" y="25246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303" name="Forma livre: Forma 1302">
              <a:extLst>
                <a:ext uri="{FF2B5EF4-FFF2-40B4-BE49-F238E27FC236}">
                  <a16:creationId xmlns:a16="http://schemas.microsoft.com/office/drawing/2014/main" id="{52F38E00-98D2-7FBB-5474-5C5517568B39}"/>
                </a:ext>
              </a:extLst>
            </p:cNvPr>
            <p:cNvSpPr/>
            <p:nvPr/>
          </p:nvSpPr>
          <p:spPr>
            <a:xfrm>
              <a:off x="11416324" y="1795169"/>
              <a:ext cx="17074" cy="1198"/>
            </a:xfrm>
            <a:custGeom>
              <a:avLst/>
              <a:gdLst>
                <a:gd name="connsiteX0" fmla="*/ 0 w 17074"/>
                <a:gd name="connsiteY0" fmla="*/ 0 h 1198"/>
                <a:gd name="connsiteX1" fmla="*/ 17074 w 17074"/>
                <a:gd name="connsiteY1" fmla="*/ 0 h 11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7074" h="1198">
                  <a:moveTo>
                    <a:pt x="0" y="0"/>
                  </a:moveTo>
                  <a:lnTo>
                    <a:pt x="17074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304" name="Forma livre: Forma 1303">
              <a:extLst>
                <a:ext uri="{FF2B5EF4-FFF2-40B4-BE49-F238E27FC236}">
                  <a16:creationId xmlns:a16="http://schemas.microsoft.com/office/drawing/2014/main" id="{43368194-A412-B995-CAA8-AF1D6D6E5830}"/>
                </a:ext>
              </a:extLst>
            </p:cNvPr>
            <p:cNvSpPr/>
            <p:nvPr/>
          </p:nvSpPr>
          <p:spPr>
            <a:xfrm>
              <a:off x="11149712" y="1795169"/>
              <a:ext cx="243857" cy="1198"/>
            </a:xfrm>
            <a:custGeom>
              <a:avLst/>
              <a:gdLst>
                <a:gd name="connsiteX0" fmla="*/ 0 w 243857"/>
                <a:gd name="connsiteY0" fmla="*/ 0 h 1198"/>
                <a:gd name="connsiteX1" fmla="*/ 243858 w 243857"/>
                <a:gd name="connsiteY1" fmla="*/ 0 h 11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43857" h="1198">
                  <a:moveTo>
                    <a:pt x="0" y="0"/>
                  </a:moveTo>
                  <a:lnTo>
                    <a:pt x="243858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305" name="Gráfico 11">
            <a:extLst>
              <a:ext uri="{FF2B5EF4-FFF2-40B4-BE49-F238E27FC236}">
                <a16:creationId xmlns:a16="http://schemas.microsoft.com/office/drawing/2014/main" id="{DEF68AC6-8604-1899-B0AC-D6F2CF69D932}"/>
              </a:ext>
            </a:extLst>
          </p:cNvPr>
          <p:cNvGrpSpPr/>
          <p:nvPr/>
        </p:nvGrpSpPr>
        <p:grpSpPr>
          <a:xfrm>
            <a:off x="10486196" y="3108266"/>
            <a:ext cx="299766" cy="299694"/>
            <a:chOff x="10486196" y="3108266"/>
            <a:chExt cx="299766" cy="299694"/>
          </a:xfrm>
        </p:grpSpPr>
        <p:sp>
          <p:nvSpPr>
            <p:cNvPr id="1306" name="Forma livre: Forma 1305">
              <a:extLst>
                <a:ext uri="{FF2B5EF4-FFF2-40B4-BE49-F238E27FC236}">
                  <a16:creationId xmlns:a16="http://schemas.microsoft.com/office/drawing/2014/main" id="{DA0C5C0B-AEB0-C7B3-728D-86912119D93A}"/>
                </a:ext>
              </a:extLst>
            </p:cNvPr>
            <p:cNvSpPr/>
            <p:nvPr/>
          </p:nvSpPr>
          <p:spPr>
            <a:xfrm>
              <a:off x="10486196" y="3108266"/>
              <a:ext cx="299766" cy="299694"/>
            </a:xfrm>
            <a:custGeom>
              <a:avLst/>
              <a:gdLst>
                <a:gd name="connsiteX0" fmla="*/ 299766 w 299766"/>
                <a:gd name="connsiteY0" fmla="*/ 149859 h 299694"/>
                <a:gd name="connsiteX1" fmla="*/ 149859 w 299766"/>
                <a:gd name="connsiteY1" fmla="*/ 299694 h 299694"/>
                <a:gd name="connsiteX2" fmla="*/ 0 w 299766"/>
                <a:gd name="connsiteY2" fmla="*/ 149859 h 299694"/>
                <a:gd name="connsiteX3" fmla="*/ 43890 w 299766"/>
                <a:gd name="connsiteY3" fmla="*/ 43890 h 299694"/>
                <a:gd name="connsiteX4" fmla="*/ 149859 w 299766"/>
                <a:gd name="connsiteY4" fmla="*/ 0 h 299694"/>
                <a:gd name="connsiteX5" fmla="*/ 299766 w 299766"/>
                <a:gd name="connsiteY5" fmla="*/ 149859 h 2996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99766" h="299694">
                  <a:moveTo>
                    <a:pt x="299766" y="149859"/>
                  </a:moveTo>
                  <a:cubicBezTo>
                    <a:pt x="299766" y="232619"/>
                    <a:pt x="232679" y="299694"/>
                    <a:pt x="149859" y="299694"/>
                  </a:cubicBezTo>
                  <a:cubicBezTo>
                    <a:pt x="67039" y="299694"/>
                    <a:pt x="0" y="232619"/>
                    <a:pt x="0" y="149859"/>
                  </a:cubicBezTo>
                  <a:cubicBezTo>
                    <a:pt x="0" y="108473"/>
                    <a:pt x="16775" y="71017"/>
                    <a:pt x="43890" y="43890"/>
                  </a:cubicBezTo>
                  <a:cubicBezTo>
                    <a:pt x="71005" y="16775"/>
                    <a:pt x="108473" y="0"/>
                    <a:pt x="149859" y="0"/>
                  </a:cubicBezTo>
                  <a:cubicBezTo>
                    <a:pt x="232679" y="0"/>
                    <a:pt x="299766" y="67087"/>
                    <a:pt x="299766" y="149859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307" name="Forma livre: Forma 1306">
              <a:extLst>
                <a:ext uri="{FF2B5EF4-FFF2-40B4-BE49-F238E27FC236}">
                  <a16:creationId xmlns:a16="http://schemas.microsoft.com/office/drawing/2014/main" id="{94DD3DBF-4213-5BA1-AECE-41289E669E01}"/>
                </a:ext>
              </a:extLst>
            </p:cNvPr>
            <p:cNvSpPr/>
            <p:nvPr/>
          </p:nvSpPr>
          <p:spPr>
            <a:xfrm>
              <a:off x="10534124" y="3258137"/>
              <a:ext cx="23808" cy="65397"/>
            </a:xfrm>
            <a:custGeom>
              <a:avLst/>
              <a:gdLst>
                <a:gd name="connsiteX0" fmla="*/ 23808 w 23808"/>
                <a:gd name="connsiteY0" fmla="*/ 65398 h 65397"/>
                <a:gd name="connsiteX1" fmla="*/ 0 w 23808"/>
                <a:gd name="connsiteY1" fmla="*/ 0 h 653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3808" h="65397">
                  <a:moveTo>
                    <a:pt x="23808" y="65398"/>
                  </a:moveTo>
                  <a:cubicBezTo>
                    <a:pt x="8951" y="47688"/>
                    <a:pt x="0" y="24875"/>
                    <a:pt x="0" y="0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308" name="Forma livre: Forma 1307">
              <a:extLst>
                <a:ext uri="{FF2B5EF4-FFF2-40B4-BE49-F238E27FC236}">
                  <a16:creationId xmlns:a16="http://schemas.microsoft.com/office/drawing/2014/main" id="{DDAB29CB-DD07-B701-5C52-5E60F677F974}"/>
                </a:ext>
              </a:extLst>
            </p:cNvPr>
            <p:cNvSpPr/>
            <p:nvPr/>
          </p:nvSpPr>
          <p:spPr>
            <a:xfrm>
              <a:off x="10594789" y="3193578"/>
              <a:ext cx="143256" cy="166454"/>
            </a:xfrm>
            <a:custGeom>
              <a:avLst/>
              <a:gdLst>
                <a:gd name="connsiteX0" fmla="*/ 120144 w 143256"/>
                <a:gd name="connsiteY0" fmla="*/ 0 h 166454"/>
                <a:gd name="connsiteX1" fmla="*/ 143257 w 143256"/>
                <a:gd name="connsiteY1" fmla="*/ 64547 h 166454"/>
                <a:gd name="connsiteX2" fmla="*/ 41278 w 143256"/>
                <a:gd name="connsiteY2" fmla="*/ 166454 h 166454"/>
                <a:gd name="connsiteX3" fmla="*/ 0 w 143256"/>
                <a:gd name="connsiteY3" fmla="*/ 157719 h 1664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3256" h="166454">
                  <a:moveTo>
                    <a:pt x="120144" y="0"/>
                  </a:moveTo>
                  <a:cubicBezTo>
                    <a:pt x="134582" y="17590"/>
                    <a:pt x="143257" y="40080"/>
                    <a:pt x="143257" y="64547"/>
                  </a:cubicBezTo>
                  <a:cubicBezTo>
                    <a:pt x="143257" y="120743"/>
                    <a:pt x="97510" y="166454"/>
                    <a:pt x="41278" y="166454"/>
                  </a:cubicBezTo>
                  <a:cubicBezTo>
                    <a:pt x="26600" y="166454"/>
                    <a:pt x="12629" y="163327"/>
                    <a:pt x="0" y="157719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309" name="Forma livre: Forma 1308">
              <a:extLst>
                <a:ext uri="{FF2B5EF4-FFF2-40B4-BE49-F238E27FC236}">
                  <a16:creationId xmlns:a16="http://schemas.microsoft.com/office/drawing/2014/main" id="{54BFA6C5-4163-D767-E0A9-A2B7A0CB3492}"/>
                </a:ext>
              </a:extLst>
            </p:cNvPr>
            <p:cNvSpPr/>
            <p:nvPr/>
          </p:nvSpPr>
          <p:spPr>
            <a:xfrm>
              <a:off x="10564007" y="3156206"/>
              <a:ext cx="111696" cy="29883"/>
            </a:xfrm>
            <a:custGeom>
              <a:avLst/>
              <a:gdLst>
                <a:gd name="connsiteX0" fmla="*/ 0 w 111696"/>
                <a:gd name="connsiteY0" fmla="*/ 29883 h 29883"/>
                <a:gd name="connsiteX1" fmla="*/ 72036 w 111696"/>
                <a:gd name="connsiteY1" fmla="*/ 0 h 29883"/>
                <a:gd name="connsiteX2" fmla="*/ 111696 w 111696"/>
                <a:gd name="connsiteY2" fmla="*/ 8016 h 298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11696" h="29883">
                  <a:moveTo>
                    <a:pt x="0" y="29883"/>
                  </a:moveTo>
                  <a:cubicBezTo>
                    <a:pt x="18464" y="11431"/>
                    <a:pt x="43938" y="0"/>
                    <a:pt x="72036" y="0"/>
                  </a:cubicBezTo>
                  <a:cubicBezTo>
                    <a:pt x="86091" y="0"/>
                    <a:pt x="99499" y="2852"/>
                    <a:pt x="111696" y="8016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310" name="Forma livre: Forma 1309">
              <a:extLst>
                <a:ext uri="{FF2B5EF4-FFF2-40B4-BE49-F238E27FC236}">
                  <a16:creationId xmlns:a16="http://schemas.microsoft.com/office/drawing/2014/main" id="{053579C2-7DCD-257B-EF21-A5F29EB05C2C}"/>
                </a:ext>
              </a:extLst>
            </p:cNvPr>
            <p:cNvSpPr/>
            <p:nvPr/>
          </p:nvSpPr>
          <p:spPr>
            <a:xfrm>
              <a:off x="10692551" y="3173113"/>
              <a:ext cx="8147" cy="8147"/>
            </a:xfrm>
            <a:custGeom>
              <a:avLst/>
              <a:gdLst>
                <a:gd name="connsiteX0" fmla="*/ 8148 w 8147"/>
                <a:gd name="connsiteY0" fmla="*/ 4074 h 8147"/>
                <a:gd name="connsiteX1" fmla="*/ 4074 w 8147"/>
                <a:gd name="connsiteY1" fmla="*/ 8148 h 8147"/>
                <a:gd name="connsiteX2" fmla="*/ 0 w 8147"/>
                <a:gd name="connsiteY2" fmla="*/ 4074 h 8147"/>
                <a:gd name="connsiteX3" fmla="*/ 4074 w 8147"/>
                <a:gd name="connsiteY3" fmla="*/ 0 h 8147"/>
                <a:gd name="connsiteX4" fmla="*/ 8148 w 8147"/>
                <a:gd name="connsiteY4" fmla="*/ 4074 h 81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147" h="8147">
                  <a:moveTo>
                    <a:pt x="8148" y="4074"/>
                  </a:moveTo>
                  <a:cubicBezTo>
                    <a:pt x="8148" y="6327"/>
                    <a:pt x="6326" y="8148"/>
                    <a:pt x="4074" y="8148"/>
                  </a:cubicBezTo>
                  <a:cubicBezTo>
                    <a:pt x="1821" y="8148"/>
                    <a:pt x="0" y="6327"/>
                    <a:pt x="0" y="4074"/>
                  </a:cubicBezTo>
                  <a:cubicBezTo>
                    <a:pt x="0" y="1821"/>
                    <a:pt x="1833" y="0"/>
                    <a:pt x="4074" y="0"/>
                  </a:cubicBezTo>
                  <a:cubicBezTo>
                    <a:pt x="6315" y="0"/>
                    <a:pt x="8148" y="1821"/>
                    <a:pt x="8148" y="4074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311" name="Forma livre: Forma 1310">
              <a:extLst>
                <a:ext uri="{FF2B5EF4-FFF2-40B4-BE49-F238E27FC236}">
                  <a16:creationId xmlns:a16="http://schemas.microsoft.com/office/drawing/2014/main" id="{C941EFC6-5D99-E89D-EFC0-6C05DB588C3A}"/>
                </a:ext>
              </a:extLst>
            </p:cNvPr>
            <p:cNvSpPr/>
            <p:nvPr/>
          </p:nvSpPr>
          <p:spPr>
            <a:xfrm>
              <a:off x="10684523" y="3267279"/>
              <a:ext cx="8147" cy="8147"/>
            </a:xfrm>
            <a:custGeom>
              <a:avLst/>
              <a:gdLst>
                <a:gd name="connsiteX0" fmla="*/ 8148 w 8147"/>
                <a:gd name="connsiteY0" fmla="*/ 4086 h 8147"/>
                <a:gd name="connsiteX1" fmla="*/ 4074 w 8147"/>
                <a:gd name="connsiteY1" fmla="*/ 8148 h 8147"/>
                <a:gd name="connsiteX2" fmla="*/ 0 w 8147"/>
                <a:gd name="connsiteY2" fmla="*/ 4086 h 8147"/>
                <a:gd name="connsiteX3" fmla="*/ 4074 w 8147"/>
                <a:gd name="connsiteY3" fmla="*/ 0 h 8147"/>
                <a:gd name="connsiteX4" fmla="*/ 8148 w 8147"/>
                <a:gd name="connsiteY4" fmla="*/ 4086 h 81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147" h="8147">
                  <a:moveTo>
                    <a:pt x="8148" y="4086"/>
                  </a:moveTo>
                  <a:cubicBezTo>
                    <a:pt x="8148" y="6338"/>
                    <a:pt x="6327" y="8148"/>
                    <a:pt x="4074" y="8148"/>
                  </a:cubicBezTo>
                  <a:cubicBezTo>
                    <a:pt x="1821" y="8148"/>
                    <a:pt x="0" y="6338"/>
                    <a:pt x="0" y="4086"/>
                  </a:cubicBezTo>
                  <a:cubicBezTo>
                    <a:pt x="0" y="1833"/>
                    <a:pt x="1821" y="0"/>
                    <a:pt x="4074" y="0"/>
                  </a:cubicBezTo>
                  <a:cubicBezTo>
                    <a:pt x="6327" y="0"/>
                    <a:pt x="8148" y="1821"/>
                    <a:pt x="8148" y="4086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312" name="Forma livre: Forma 1311">
              <a:extLst>
                <a:ext uri="{FF2B5EF4-FFF2-40B4-BE49-F238E27FC236}">
                  <a16:creationId xmlns:a16="http://schemas.microsoft.com/office/drawing/2014/main" id="{A9EC5F5F-8DD8-224B-0B91-F0BD0A682937}"/>
                </a:ext>
              </a:extLst>
            </p:cNvPr>
            <p:cNvSpPr/>
            <p:nvPr/>
          </p:nvSpPr>
          <p:spPr>
            <a:xfrm>
              <a:off x="10570094" y="3335097"/>
              <a:ext cx="8147" cy="8147"/>
            </a:xfrm>
            <a:custGeom>
              <a:avLst/>
              <a:gdLst>
                <a:gd name="connsiteX0" fmla="*/ 8148 w 8147"/>
                <a:gd name="connsiteY0" fmla="*/ 4086 h 8147"/>
                <a:gd name="connsiteX1" fmla="*/ 4074 w 8147"/>
                <a:gd name="connsiteY1" fmla="*/ 8148 h 8147"/>
                <a:gd name="connsiteX2" fmla="*/ 0 w 8147"/>
                <a:gd name="connsiteY2" fmla="*/ 4086 h 8147"/>
                <a:gd name="connsiteX3" fmla="*/ 4074 w 8147"/>
                <a:gd name="connsiteY3" fmla="*/ 0 h 8147"/>
                <a:gd name="connsiteX4" fmla="*/ 8148 w 8147"/>
                <a:gd name="connsiteY4" fmla="*/ 4086 h 81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147" h="8147">
                  <a:moveTo>
                    <a:pt x="8148" y="4086"/>
                  </a:moveTo>
                  <a:cubicBezTo>
                    <a:pt x="8148" y="6339"/>
                    <a:pt x="6327" y="8148"/>
                    <a:pt x="4074" y="8148"/>
                  </a:cubicBezTo>
                  <a:cubicBezTo>
                    <a:pt x="1821" y="8148"/>
                    <a:pt x="0" y="6327"/>
                    <a:pt x="0" y="4086"/>
                  </a:cubicBezTo>
                  <a:cubicBezTo>
                    <a:pt x="0" y="1845"/>
                    <a:pt x="1821" y="0"/>
                    <a:pt x="4074" y="0"/>
                  </a:cubicBezTo>
                  <a:cubicBezTo>
                    <a:pt x="6327" y="0"/>
                    <a:pt x="8148" y="1821"/>
                    <a:pt x="8148" y="4086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313" name="Forma livre: Forma 1312">
              <a:extLst>
                <a:ext uri="{FF2B5EF4-FFF2-40B4-BE49-F238E27FC236}">
                  <a16:creationId xmlns:a16="http://schemas.microsoft.com/office/drawing/2014/main" id="{653E54CB-FEAE-47EF-5CFB-8EFD5D7838AB}"/>
                </a:ext>
              </a:extLst>
            </p:cNvPr>
            <p:cNvSpPr/>
            <p:nvPr/>
          </p:nvSpPr>
          <p:spPr>
            <a:xfrm>
              <a:off x="10582040" y="3258125"/>
              <a:ext cx="96778" cy="53978"/>
            </a:xfrm>
            <a:custGeom>
              <a:avLst/>
              <a:gdLst>
                <a:gd name="connsiteX0" fmla="*/ 96779 w 96778"/>
                <a:gd name="connsiteY0" fmla="*/ 32975 h 53978"/>
                <a:gd name="connsiteX1" fmla="*/ 54003 w 96778"/>
                <a:gd name="connsiteY1" fmla="*/ 53979 h 53978"/>
                <a:gd name="connsiteX2" fmla="*/ 0 w 96778"/>
                <a:gd name="connsiteY2" fmla="*/ 0 h 539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6778" h="53978">
                  <a:moveTo>
                    <a:pt x="96779" y="32975"/>
                  </a:moveTo>
                  <a:cubicBezTo>
                    <a:pt x="86894" y="45747"/>
                    <a:pt x="71389" y="53979"/>
                    <a:pt x="54003" y="53979"/>
                  </a:cubicBezTo>
                  <a:cubicBezTo>
                    <a:pt x="24228" y="53979"/>
                    <a:pt x="0" y="29763"/>
                    <a:pt x="0" y="0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314" name="Forma livre: Forma 1313">
              <a:extLst>
                <a:ext uri="{FF2B5EF4-FFF2-40B4-BE49-F238E27FC236}">
                  <a16:creationId xmlns:a16="http://schemas.microsoft.com/office/drawing/2014/main" id="{7CB42ADC-BD0E-8A0E-73B8-4FEACA36B2B8}"/>
                </a:ext>
              </a:extLst>
            </p:cNvPr>
            <p:cNvSpPr/>
            <p:nvPr/>
          </p:nvSpPr>
          <p:spPr>
            <a:xfrm>
              <a:off x="10598671" y="3204134"/>
              <a:ext cx="90787" cy="45651"/>
            </a:xfrm>
            <a:custGeom>
              <a:avLst/>
              <a:gdLst>
                <a:gd name="connsiteX0" fmla="*/ 0 w 90787"/>
                <a:gd name="connsiteY0" fmla="*/ 15061 h 45651"/>
                <a:gd name="connsiteX1" fmla="*/ 37384 w 90787"/>
                <a:gd name="connsiteY1" fmla="*/ 0 h 45651"/>
                <a:gd name="connsiteX2" fmla="*/ 90788 w 90787"/>
                <a:gd name="connsiteY2" fmla="*/ 45652 h 456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0787" h="45651">
                  <a:moveTo>
                    <a:pt x="0" y="15061"/>
                  </a:moveTo>
                  <a:cubicBezTo>
                    <a:pt x="9717" y="5739"/>
                    <a:pt x="22898" y="0"/>
                    <a:pt x="37384" y="0"/>
                  </a:cubicBezTo>
                  <a:cubicBezTo>
                    <a:pt x="64343" y="0"/>
                    <a:pt x="86762" y="19830"/>
                    <a:pt x="90788" y="45652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315" name="Forma livre: Forma 1314">
              <a:extLst>
                <a:ext uri="{FF2B5EF4-FFF2-40B4-BE49-F238E27FC236}">
                  <a16:creationId xmlns:a16="http://schemas.microsoft.com/office/drawing/2014/main" id="{A97C2E85-C49A-E23A-C69C-197DC860F85A}"/>
                </a:ext>
              </a:extLst>
            </p:cNvPr>
            <p:cNvSpPr/>
            <p:nvPr/>
          </p:nvSpPr>
          <p:spPr>
            <a:xfrm>
              <a:off x="10530434" y="3152144"/>
              <a:ext cx="106639" cy="106639"/>
            </a:xfrm>
            <a:custGeom>
              <a:avLst/>
              <a:gdLst>
                <a:gd name="connsiteX0" fmla="*/ 0 w 106639"/>
                <a:gd name="connsiteY0" fmla="*/ 0 h 106639"/>
                <a:gd name="connsiteX1" fmla="*/ 106640 w 106639"/>
                <a:gd name="connsiteY1" fmla="*/ 106640 h 106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6639" h="106639">
                  <a:moveTo>
                    <a:pt x="0" y="0"/>
                  </a:moveTo>
                  <a:lnTo>
                    <a:pt x="106640" y="10664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316" name="Gráfico 11">
            <a:extLst>
              <a:ext uri="{FF2B5EF4-FFF2-40B4-BE49-F238E27FC236}">
                <a16:creationId xmlns:a16="http://schemas.microsoft.com/office/drawing/2014/main" id="{7E8FD3E3-530E-7318-D0AE-6350D7637A96}"/>
              </a:ext>
            </a:extLst>
          </p:cNvPr>
          <p:cNvGrpSpPr/>
          <p:nvPr/>
        </p:nvGrpSpPr>
        <p:grpSpPr>
          <a:xfrm>
            <a:off x="9882350" y="3092797"/>
            <a:ext cx="259123" cy="330644"/>
            <a:chOff x="9882350" y="3092797"/>
            <a:chExt cx="259123" cy="330644"/>
          </a:xfrm>
        </p:grpSpPr>
        <p:sp>
          <p:nvSpPr>
            <p:cNvPr id="1317" name="Forma livre: Forma 1316">
              <a:extLst>
                <a:ext uri="{FF2B5EF4-FFF2-40B4-BE49-F238E27FC236}">
                  <a16:creationId xmlns:a16="http://schemas.microsoft.com/office/drawing/2014/main" id="{D06EBDE8-7A1B-D9D0-EDD3-8CA8C05C8D18}"/>
                </a:ext>
              </a:extLst>
            </p:cNvPr>
            <p:cNvSpPr/>
            <p:nvPr/>
          </p:nvSpPr>
          <p:spPr>
            <a:xfrm>
              <a:off x="9898838" y="3287385"/>
              <a:ext cx="216586" cy="136055"/>
            </a:xfrm>
            <a:custGeom>
              <a:avLst/>
              <a:gdLst>
                <a:gd name="connsiteX0" fmla="*/ 216587 w 216586"/>
                <a:gd name="connsiteY0" fmla="*/ 0 h 136055"/>
                <a:gd name="connsiteX1" fmla="*/ 216587 w 216586"/>
                <a:gd name="connsiteY1" fmla="*/ 112032 h 136055"/>
                <a:gd name="connsiteX2" fmla="*/ 192563 w 216586"/>
                <a:gd name="connsiteY2" fmla="*/ 136056 h 136055"/>
                <a:gd name="connsiteX3" fmla="*/ 24024 w 216586"/>
                <a:gd name="connsiteY3" fmla="*/ 136056 h 136055"/>
                <a:gd name="connsiteX4" fmla="*/ 0 w 216586"/>
                <a:gd name="connsiteY4" fmla="*/ 112032 h 136055"/>
                <a:gd name="connsiteX5" fmla="*/ 0 w 216586"/>
                <a:gd name="connsiteY5" fmla="*/ 20813 h 1360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16586" h="136055">
                  <a:moveTo>
                    <a:pt x="216587" y="0"/>
                  </a:moveTo>
                  <a:lnTo>
                    <a:pt x="216587" y="112032"/>
                  </a:lnTo>
                  <a:cubicBezTo>
                    <a:pt x="216587" y="125248"/>
                    <a:pt x="205779" y="136056"/>
                    <a:pt x="192563" y="136056"/>
                  </a:cubicBezTo>
                  <a:lnTo>
                    <a:pt x="24024" y="136056"/>
                  </a:lnTo>
                  <a:cubicBezTo>
                    <a:pt x="10808" y="136056"/>
                    <a:pt x="0" y="125248"/>
                    <a:pt x="0" y="112032"/>
                  </a:cubicBezTo>
                  <a:lnTo>
                    <a:pt x="0" y="20813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318" name="Gráfico 11">
              <a:extLst>
                <a:ext uri="{FF2B5EF4-FFF2-40B4-BE49-F238E27FC236}">
                  <a16:creationId xmlns:a16="http://schemas.microsoft.com/office/drawing/2014/main" id="{AA0C56F6-FE6A-8533-C99D-607B4255BB36}"/>
                </a:ext>
              </a:extLst>
            </p:cNvPr>
            <p:cNvGrpSpPr/>
            <p:nvPr/>
          </p:nvGrpSpPr>
          <p:grpSpPr>
            <a:xfrm>
              <a:off x="9983922" y="3311409"/>
              <a:ext cx="44456" cy="86486"/>
              <a:chOff x="9983922" y="3311409"/>
              <a:chExt cx="44456" cy="86486"/>
            </a:xfrm>
          </p:grpSpPr>
          <p:sp>
            <p:nvSpPr>
              <p:cNvPr id="1319" name="Forma livre: Forma 1318">
                <a:extLst>
                  <a:ext uri="{FF2B5EF4-FFF2-40B4-BE49-F238E27FC236}">
                    <a16:creationId xmlns:a16="http://schemas.microsoft.com/office/drawing/2014/main" id="{0C8CFF2C-F9B4-BA39-9061-58B9FA0C3E75}"/>
                  </a:ext>
                </a:extLst>
              </p:cNvPr>
              <p:cNvSpPr/>
              <p:nvPr/>
            </p:nvSpPr>
            <p:spPr>
              <a:xfrm>
                <a:off x="9983922" y="3311409"/>
                <a:ext cx="44456" cy="62354"/>
              </a:xfrm>
              <a:custGeom>
                <a:avLst/>
                <a:gdLst>
                  <a:gd name="connsiteX0" fmla="*/ 0 w 44456"/>
                  <a:gd name="connsiteY0" fmla="*/ 19483 h 62354"/>
                  <a:gd name="connsiteX1" fmla="*/ 22227 w 44456"/>
                  <a:gd name="connsiteY1" fmla="*/ 0 h 62354"/>
                  <a:gd name="connsiteX2" fmla="*/ 44453 w 44456"/>
                  <a:gd name="connsiteY2" fmla="*/ 19483 h 62354"/>
                  <a:gd name="connsiteX3" fmla="*/ 33394 w 44456"/>
                  <a:gd name="connsiteY3" fmla="*/ 36270 h 62354"/>
                  <a:gd name="connsiteX4" fmla="*/ 19710 w 44456"/>
                  <a:gd name="connsiteY4" fmla="*/ 62354 h 623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4456" h="62354">
                    <a:moveTo>
                      <a:pt x="0" y="19483"/>
                    </a:moveTo>
                    <a:cubicBezTo>
                      <a:pt x="0" y="8723"/>
                      <a:pt x="9945" y="0"/>
                      <a:pt x="22227" y="0"/>
                    </a:cubicBezTo>
                    <a:cubicBezTo>
                      <a:pt x="34508" y="0"/>
                      <a:pt x="44453" y="8723"/>
                      <a:pt x="44453" y="19483"/>
                    </a:cubicBezTo>
                    <a:cubicBezTo>
                      <a:pt x="44453" y="19483"/>
                      <a:pt x="44945" y="28361"/>
                      <a:pt x="33394" y="36270"/>
                    </a:cubicBezTo>
                    <a:cubicBezTo>
                      <a:pt x="25701" y="42261"/>
                      <a:pt x="19710" y="51666"/>
                      <a:pt x="19710" y="62354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320" name="Forma livre: Forma 1319">
                <a:extLst>
                  <a:ext uri="{FF2B5EF4-FFF2-40B4-BE49-F238E27FC236}">
                    <a16:creationId xmlns:a16="http://schemas.microsoft.com/office/drawing/2014/main" id="{DF37A0AE-78EA-E64E-4729-460777FD861C}"/>
                  </a:ext>
                </a:extLst>
              </p:cNvPr>
              <p:cNvSpPr/>
              <p:nvPr/>
            </p:nvSpPr>
            <p:spPr>
              <a:xfrm>
                <a:off x="10000278" y="3390682"/>
                <a:ext cx="7201" cy="7213"/>
              </a:xfrm>
              <a:custGeom>
                <a:avLst/>
                <a:gdLst>
                  <a:gd name="connsiteX0" fmla="*/ 7201 w 7201"/>
                  <a:gd name="connsiteY0" fmla="*/ 3619 h 7213"/>
                  <a:gd name="connsiteX1" fmla="*/ 3607 w 7201"/>
                  <a:gd name="connsiteY1" fmla="*/ 7213 h 7213"/>
                  <a:gd name="connsiteX2" fmla="*/ 0 w 7201"/>
                  <a:gd name="connsiteY2" fmla="*/ 3619 h 7213"/>
                  <a:gd name="connsiteX3" fmla="*/ 3607 w 7201"/>
                  <a:gd name="connsiteY3" fmla="*/ 0 h 7213"/>
                  <a:gd name="connsiteX4" fmla="*/ 7201 w 7201"/>
                  <a:gd name="connsiteY4" fmla="*/ 3619 h 72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201" h="7213">
                    <a:moveTo>
                      <a:pt x="7201" y="3619"/>
                    </a:moveTo>
                    <a:cubicBezTo>
                      <a:pt x="7201" y="5619"/>
                      <a:pt x="5596" y="7213"/>
                      <a:pt x="3607" y="7213"/>
                    </a:cubicBezTo>
                    <a:cubicBezTo>
                      <a:pt x="1618" y="7213"/>
                      <a:pt x="0" y="5607"/>
                      <a:pt x="0" y="3619"/>
                    </a:cubicBezTo>
                    <a:cubicBezTo>
                      <a:pt x="0" y="1630"/>
                      <a:pt x="1618" y="0"/>
                      <a:pt x="3607" y="0"/>
                    </a:cubicBezTo>
                    <a:cubicBezTo>
                      <a:pt x="5596" y="0"/>
                      <a:pt x="7201" y="1618"/>
                      <a:pt x="7201" y="3619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321" name="Gráfico 11">
              <a:extLst>
                <a:ext uri="{FF2B5EF4-FFF2-40B4-BE49-F238E27FC236}">
                  <a16:creationId xmlns:a16="http://schemas.microsoft.com/office/drawing/2014/main" id="{40D5700D-F7EC-C2EE-1DF5-82D097B71FFE}"/>
                </a:ext>
              </a:extLst>
            </p:cNvPr>
            <p:cNvGrpSpPr/>
            <p:nvPr/>
          </p:nvGrpSpPr>
          <p:grpSpPr>
            <a:xfrm>
              <a:off x="10019856" y="3092797"/>
              <a:ext cx="121617" cy="170600"/>
              <a:chOff x="10019856" y="3092797"/>
              <a:chExt cx="121617" cy="170600"/>
            </a:xfrm>
            <a:noFill/>
          </p:grpSpPr>
          <p:sp>
            <p:nvSpPr>
              <p:cNvPr id="1322" name="Forma livre: Forma 1321">
                <a:extLst>
                  <a:ext uri="{FF2B5EF4-FFF2-40B4-BE49-F238E27FC236}">
                    <a16:creationId xmlns:a16="http://schemas.microsoft.com/office/drawing/2014/main" id="{4959DB82-BAC1-1AEE-4D3B-9970E1CA6499}"/>
                  </a:ext>
                </a:extLst>
              </p:cNvPr>
              <p:cNvSpPr/>
              <p:nvPr/>
            </p:nvSpPr>
            <p:spPr>
              <a:xfrm>
                <a:off x="10019856" y="3150670"/>
                <a:ext cx="121617" cy="112726"/>
              </a:xfrm>
              <a:custGeom>
                <a:avLst/>
                <a:gdLst>
                  <a:gd name="connsiteX0" fmla="*/ 0 w 121617"/>
                  <a:gd name="connsiteY0" fmla="*/ 110666 h 112726"/>
                  <a:gd name="connsiteX1" fmla="*/ 16559 w 121617"/>
                  <a:gd name="connsiteY1" fmla="*/ 0 h 112726"/>
                  <a:gd name="connsiteX2" fmla="*/ 121617 w 121617"/>
                  <a:gd name="connsiteY2" fmla="*/ 44681 h 112726"/>
                  <a:gd name="connsiteX3" fmla="*/ 69244 w 121617"/>
                  <a:gd name="connsiteY3" fmla="*/ 112727 h 1127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21617" h="112726">
                    <a:moveTo>
                      <a:pt x="0" y="110666"/>
                    </a:moveTo>
                    <a:lnTo>
                      <a:pt x="16559" y="0"/>
                    </a:lnTo>
                    <a:lnTo>
                      <a:pt x="121617" y="44681"/>
                    </a:lnTo>
                    <a:lnTo>
                      <a:pt x="69244" y="112727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323" name="Forma livre: Forma 1322">
                <a:extLst>
                  <a:ext uri="{FF2B5EF4-FFF2-40B4-BE49-F238E27FC236}">
                    <a16:creationId xmlns:a16="http://schemas.microsoft.com/office/drawing/2014/main" id="{40954A50-527C-F7C8-AD47-1F461F169F25}"/>
                  </a:ext>
                </a:extLst>
              </p:cNvPr>
              <p:cNvSpPr/>
              <p:nvPr/>
            </p:nvSpPr>
            <p:spPr>
              <a:xfrm>
                <a:off x="10074794" y="3092797"/>
                <a:ext cx="38502" cy="79501"/>
              </a:xfrm>
              <a:custGeom>
                <a:avLst/>
                <a:gdLst>
                  <a:gd name="connsiteX0" fmla="*/ 0 w 38502"/>
                  <a:gd name="connsiteY0" fmla="*/ 14475 h 79501"/>
                  <a:gd name="connsiteX1" fmla="*/ 27103 w 38502"/>
                  <a:gd name="connsiteY1" fmla="*/ 1390 h 79501"/>
                  <a:gd name="connsiteX2" fmla="*/ 36473 w 38502"/>
                  <a:gd name="connsiteY2" fmla="*/ 30003 h 79501"/>
                  <a:gd name="connsiteX3" fmla="*/ 15421 w 38502"/>
                  <a:gd name="connsiteY3" fmla="*/ 79501 h 795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8502" h="79501">
                    <a:moveTo>
                      <a:pt x="0" y="14475"/>
                    </a:moveTo>
                    <a:cubicBezTo>
                      <a:pt x="4877" y="3008"/>
                      <a:pt x="17074" y="-2875"/>
                      <a:pt x="27103" y="1390"/>
                    </a:cubicBezTo>
                    <a:cubicBezTo>
                      <a:pt x="37132" y="5656"/>
                      <a:pt x="41350" y="18525"/>
                      <a:pt x="36473" y="30003"/>
                    </a:cubicBezTo>
                    <a:lnTo>
                      <a:pt x="15421" y="79501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324" name="Forma livre: Forma 1323">
              <a:extLst>
                <a:ext uri="{FF2B5EF4-FFF2-40B4-BE49-F238E27FC236}">
                  <a16:creationId xmlns:a16="http://schemas.microsoft.com/office/drawing/2014/main" id="{3579C730-1183-4825-38B8-9F13ED15E1D6}"/>
                </a:ext>
              </a:extLst>
            </p:cNvPr>
            <p:cNvSpPr/>
            <p:nvPr/>
          </p:nvSpPr>
          <p:spPr>
            <a:xfrm>
              <a:off x="9927858" y="3190091"/>
              <a:ext cx="10951" cy="7021"/>
            </a:xfrm>
            <a:custGeom>
              <a:avLst/>
              <a:gdLst>
                <a:gd name="connsiteX0" fmla="*/ 10952 w 10951"/>
                <a:gd name="connsiteY0" fmla="*/ 0 h 7021"/>
                <a:gd name="connsiteX1" fmla="*/ 0 w 10951"/>
                <a:gd name="connsiteY1" fmla="*/ 7021 h 70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951" h="7021">
                  <a:moveTo>
                    <a:pt x="10952" y="0"/>
                  </a:moveTo>
                  <a:lnTo>
                    <a:pt x="0" y="7021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325" name="Forma livre: Forma 1324">
              <a:extLst>
                <a:ext uri="{FF2B5EF4-FFF2-40B4-BE49-F238E27FC236}">
                  <a16:creationId xmlns:a16="http://schemas.microsoft.com/office/drawing/2014/main" id="{8FFDCF4D-2EAE-E634-C77D-B7FB54EB599D}"/>
                </a:ext>
              </a:extLst>
            </p:cNvPr>
            <p:cNvSpPr/>
            <p:nvPr/>
          </p:nvSpPr>
          <p:spPr>
            <a:xfrm>
              <a:off x="9882350" y="3150240"/>
              <a:ext cx="121258" cy="112485"/>
            </a:xfrm>
            <a:custGeom>
              <a:avLst/>
              <a:gdLst>
                <a:gd name="connsiteX0" fmla="*/ 37864 w 121258"/>
                <a:gd name="connsiteY0" fmla="*/ 112486 h 112485"/>
                <a:gd name="connsiteX1" fmla="*/ 1271 w 121258"/>
                <a:gd name="connsiteY1" fmla="*/ 55440 h 112485"/>
                <a:gd name="connsiteX2" fmla="*/ 3499 w 121258"/>
                <a:gd name="connsiteY2" fmla="*/ 44404 h 112485"/>
                <a:gd name="connsiteX3" fmla="*/ 70862 w 121258"/>
                <a:gd name="connsiteY3" fmla="*/ 1173 h 112485"/>
                <a:gd name="connsiteX4" fmla="*/ 81826 w 121258"/>
                <a:gd name="connsiteY4" fmla="*/ 3749 h 112485"/>
                <a:gd name="connsiteX5" fmla="*/ 121259 w 121258"/>
                <a:gd name="connsiteY5" fmla="*/ 65229 h 1124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21258" h="112485">
                  <a:moveTo>
                    <a:pt x="37864" y="112486"/>
                  </a:moveTo>
                  <a:lnTo>
                    <a:pt x="1271" y="55440"/>
                  </a:lnTo>
                  <a:cubicBezTo>
                    <a:pt x="-1054" y="51821"/>
                    <a:pt x="-119" y="46729"/>
                    <a:pt x="3499" y="44404"/>
                  </a:cubicBezTo>
                  <a:lnTo>
                    <a:pt x="70862" y="1173"/>
                  </a:lnTo>
                  <a:cubicBezTo>
                    <a:pt x="74493" y="-1151"/>
                    <a:pt x="79501" y="119"/>
                    <a:pt x="81826" y="3749"/>
                  </a:cubicBezTo>
                  <a:lnTo>
                    <a:pt x="121259" y="65229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326" name="Forma livre: Forma 1325">
              <a:extLst>
                <a:ext uri="{FF2B5EF4-FFF2-40B4-BE49-F238E27FC236}">
                  <a16:creationId xmlns:a16="http://schemas.microsoft.com/office/drawing/2014/main" id="{76FA2BFF-815A-0E57-03CC-81193154561E}"/>
                </a:ext>
              </a:extLst>
            </p:cNvPr>
            <p:cNvSpPr/>
            <p:nvPr/>
          </p:nvSpPr>
          <p:spPr>
            <a:xfrm>
              <a:off x="9889612" y="3261947"/>
              <a:ext cx="235506" cy="25234"/>
            </a:xfrm>
            <a:custGeom>
              <a:avLst/>
              <a:gdLst>
                <a:gd name="connsiteX0" fmla="*/ 41817 w 235506"/>
                <a:gd name="connsiteY0" fmla="*/ 25234 h 25234"/>
                <a:gd name="connsiteX1" fmla="*/ 9610 w 235506"/>
                <a:gd name="connsiteY1" fmla="*/ 25234 h 25234"/>
                <a:gd name="connsiteX2" fmla="*/ 0 w 235506"/>
                <a:gd name="connsiteY2" fmla="*/ 15625 h 25234"/>
                <a:gd name="connsiteX3" fmla="*/ 0 w 235506"/>
                <a:gd name="connsiteY3" fmla="*/ 9610 h 25234"/>
                <a:gd name="connsiteX4" fmla="*/ 9610 w 235506"/>
                <a:gd name="connsiteY4" fmla="*/ 0 h 25234"/>
                <a:gd name="connsiteX5" fmla="*/ 225897 w 235506"/>
                <a:gd name="connsiteY5" fmla="*/ 0 h 25234"/>
                <a:gd name="connsiteX6" fmla="*/ 235506 w 235506"/>
                <a:gd name="connsiteY6" fmla="*/ 9610 h 25234"/>
                <a:gd name="connsiteX7" fmla="*/ 235506 w 235506"/>
                <a:gd name="connsiteY7" fmla="*/ 15625 h 25234"/>
                <a:gd name="connsiteX8" fmla="*/ 225897 w 235506"/>
                <a:gd name="connsiteY8" fmla="*/ 25234 h 25234"/>
                <a:gd name="connsiteX9" fmla="*/ 77859 w 235506"/>
                <a:gd name="connsiteY9" fmla="*/ 25234 h 252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35506" h="25234">
                  <a:moveTo>
                    <a:pt x="41817" y="25234"/>
                  </a:moveTo>
                  <a:lnTo>
                    <a:pt x="9610" y="25234"/>
                  </a:lnTo>
                  <a:cubicBezTo>
                    <a:pt x="4326" y="25234"/>
                    <a:pt x="0" y="20909"/>
                    <a:pt x="0" y="15625"/>
                  </a:cubicBezTo>
                  <a:lnTo>
                    <a:pt x="0" y="9610"/>
                  </a:lnTo>
                  <a:cubicBezTo>
                    <a:pt x="0" y="4325"/>
                    <a:pt x="4326" y="0"/>
                    <a:pt x="9610" y="0"/>
                  </a:cubicBezTo>
                  <a:lnTo>
                    <a:pt x="225897" y="0"/>
                  </a:lnTo>
                  <a:cubicBezTo>
                    <a:pt x="231181" y="0"/>
                    <a:pt x="235506" y="4325"/>
                    <a:pt x="235506" y="9610"/>
                  </a:cubicBezTo>
                  <a:lnTo>
                    <a:pt x="235506" y="15625"/>
                  </a:lnTo>
                  <a:cubicBezTo>
                    <a:pt x="235506" y="20909"/>
                    <a:pt x="231181" y="25234"/>
                    <a:pt x="225897" y="25234"/>
                  </a:cubicBezTo>
                  <a:lnTo>
                    <a:pt x="77859" y="25234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327" name="Gráfico 11">
            <a:extLst>
              <a:ext uri="{FF2B5EF4-FFF2-40B4-BE49-F238E27FC236}">
                <a16:creationId xmlns:a16="http://schemas.microsoft.com/office/drawing/2014/main" id="{1E3913B6-F963-3AF5-EAD4-5C8F74EF9835}"/>
              </a:ext>
            </a:extLst>
          </p:cNvPr>
          <p:cNvGrpSpPr/>
          <p:nvPr/>
        </p:nvGrpSpPr>
        <p:grpSpPr>
          <a:xfrm>
            <a:off x="11131739" y="3098920"/>
            <a:ext cx="257074" cy="318409"/>
            <a:chOff x="11131739" y="3098920"/>
            <a:chExt cx="257074" cy="318409"/>
          </a:xfrm>
          <a:noFill/>
        </p:grpSpPr>
        <p:grpSp>
          <p:nvGrpSpPr>
            <p:cNvPr id="1328" name="Gráfico 11">
              <a:extLst>
                <a:ext uri="{FF2B5EF4-FFF2-40B4-BE49-F238E27FC236}">
                  <a16:creationId xmlns:a16="http://schemas.microsoft.com/office/drawing/2014/main" id="{B3D8702D-62CD-197A-D113-EA6CBD25B20A}"/>
                </a:ext>
              </a:extLst>
            </p:cNvPr>
            <p:cNvGrpSpPr/>
            <p:nvPr/>
          </p:nvGrpSpPr>
          <p:grpSpPr>
            <a:xfrm>
              <a:off x="11155284" y="3244861"/>
              <a:ext cx="209984" cy="81238"/>
              <a:chOff x="11155284" y="3244861"/>
              <a:chExt cx="209984" cy="81238"/>
            </a:xfrm>
            <a:noFill/>
          </p:grpSpPr>
          <p:sp>
            <p:nvSpPr>
              <p:cNvPr id="1329" name="Forma livre: Forma 1328">
                <a:extLst>
                  <a:ext uri="{FF2B5EF4-FFF2-40B4-BE49-F238E27FC236}">
                    <a16:creationId xmlns:a16="http://schemas.microsoft.com/office/drawing/2014/main" id="{0E9C6FB3-F8B0-531C-52FC-6D35886A5579}"/>
                  </a:ext>
                </a:extLst>
              </p:cNvPr>
              <p:cNvSpPr/>
              <p:nvPr/>
            </p:nvSpPr>
            <p:spPr>
              <a:xfrm>
                <a:off x="11155284" y="3244861"/>
                <a:ext cx="104998" cy="81238"/>
              </a:xfrm>
              <a:custGeom>
                <a:avLst/>
                <a:gdLst>
                  <a:gd name="connsiteX0" fmla="*/ 0 w 104998"/>
                  <a:gd name="connsiteY0" fmla="*/ 81238 h 81238"/>
                  <a:gd name="connsiteX1" fmla="*/ 0 w 104998"/>
                  <a:gd name="connsiteY1" fmla="*/ 26612 h 81238"/>
                  <a:gd name="connsiteX2" fmla="*/ 26612 w 104998"/>
                  <a:gd name="connsiteY2" fmla="*/ 0 h 81238"/>
                  <a:gd name="connsiteX3" fmla="*/ 78374 w 104998"/>
                  <a:gd name="connsiteY3" fmla="*/ 0 h 81238"/>
                  <a:gd name="connsiteX4" fmla="*/ 104998 w 104998"/>
                  <a:gd name="connsiteY4" fmla="*/ 26612 h 812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04998" h="81238">
                    <a:moveTo>
                      <a:pt x="0" y="81238"/>
                    </a:moveTo>
                    <a:lnTo>
                      <a:pt x="0" y="26612"/>
                    </a:lnTo>
                    <a:cubicBezTo>
                      <a:pt x="0" y="11970"/>
                      <a:pt x="11970" y="0"/>
                      <a:pt x="26612" y="0"/>
                    </a:cubicBezTo>
                    <a:lnTo>
                      <a:pt x="78374" y="0"/>
                    </a:lnTo>
                    <a:cubicBezTo>
                      <a:pt x="93016" y="0"/>
                      <a:pt x="104998" y="11982"/>
                      <a:pt x="104998" y="26612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330" name="Forma livre: Forma 1329">
                <a:extLst>
                  <a:ext uri="{FF2B5EF4-FFF2-40B4-BE49-F238E27FC236}">
                    <a16:creationId xmlns:a16="http://schemas.microsoft.com/office/drawing/2014/main" id="{965343A5-6317-727D-8ADF-1200210F7F1D}"/>
                  </a:ext>
                </a:extLst>
              </p:cNvPr>
              <p:cNvSpPr/>
              <p:nvPr/>
            </p:nvSpPr>
            <p:spPr>
              <a:xfrm>
                <a:off x="11260282" y="3244861"/>
                <a:ext cx="104986" cy="81238"/>
              </a:xfrm>
              <a:custGeom>
                <a:avLst/>
                <a:gdLst>
                  <a:gd name="connsiteX0" fmla="*/ 0 w 104986"/>
                  <a:gd name="connsiteY0" fmla="*/ 81238 h 81238"/>
                  <a:gd name="connsiteX1" fmla="*/ 0 w 104986"/>
                  <a:gd name="connsiteY1" fmla="*/ 26612 h 81238"/>
                  <a:gd name="connsiteX2" fmla="*/ 26612 w 104986"/>
                  <a:gd name="connsiteY2" fmla="*/ 0 h 81238"/>
                  <a:gd name="connsiteX3" fmla="*/ 78374 w 104986"/>
                  <a:gd name="connsiteY3" fmla="*/ 0 h 81238"/>
                  <a:gd name="connsiteX4" fmla="*/ 104986 w 104986"/>
                  <a:gd name="connsiteY4" fmla="*/ 26612 h 81238"/>
                  <a:gd name="connsiteX5" fmla="*/ 104986 w 104986"/>
                  <a:gd name="connsiteY5" fmla="*/ 81238 h 812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04986" h="81238">
                    <a:moveTo>
                      <a:pt x="0" y="81238"/>
                    </a:moveTo>
                    <a:lnTo>
                      <a:pt x="0" y="26612"/>
                    </a:lnTo>
                    <a:cubicBezTo>
                      <a:pt x="0" y="11970"/>
                      <a:pt x="11970" y="0"/>
                      <a:pt x="26612" y="0"/>
                    </a:cubicBezTo>
                    <a:lnTo>
                      <a:pt x="78374" y="0"/>
                    </a:lnTo>
                    <a:cubicBezTo>
                      <a:pt x="93016" y="0"/>
                      <a:pt x="104986" y="11982"/>
                      <a:pt x="104986" y="26612"/>
                    </a:cubicBezTo>
                    <a:lnTo>
                      <a:pt x="104986" y="81238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331" name="Forma livre: Forma 1330">
              <a:extLst>
                <a:ext uri="{FF2B5EF4-FFF2-40B4-BE49-F238E27FC236}">
                  <a16:creationId xmlns:a16="http://schemas.microsoft.com/office/drawing/2014/main" id="{7D433152-DF15-434B-1DBD-8E1DA1DAB048}"/>
                </a:ext>
              </a:extLst>
            </p:cNvPr>
            <p:cNvSpPr/>
            <p:nvPr/>
          </p:nvSpPr>
          <p:spPr>
            <a:xfrm>
              <a:off x="11133740" y="3375046"/>
              <a:ext cx="253072" cy="1198"/>
            </a:xfrm>
            <a:custGeom>
              <a:avLst/>
              <a:gdLst>
                <a:gd name="connsiteX0" fmla="*/ 0 w 253072"/>
                <a:gd name="connsiteY0" fmla="*/ 0 h 1198"/>
                <a:gd name="connsiteX1" fmla="*/ 253072 w 253072"/>
                <a:gd name="connsiteY1" fmla="*/ 0 h 11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53072" h="1198">
                  <a:moveTo>
                    <a:pt x="0" y="0"/>
                  </a:moveTo>
                  <a:lnTo>
                    <a:pt x="253072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332" name="Gráfico 11">
              <a:extLst>
                <a:ext uri="{FF2B5EF4-FFF2-40B4-BE49-F238E27FC236}">
                  <a16:creationId xmlns:a16="http://schemas.microsoft.com/office/drawing/2014/main" id="{EBB0F3CD-BA3D-EE1F-8F81-52F334092C70}"/>
                </a:ext>
              </a:extLst>
            </p:cNvPr>
            <p:cNvGrpSpPr/>
            <p:nvPr/>
          </p:nvGrpSpPr>
          <p:grpSpPr>
            <a:xfrm>
              <a:off x="11131739" y="3302063"/>
              <a:ext cx="257074" cy="115266"/>
              <a:chOff x="11131739" y="3302063"/>
              <a:chExt cx="257074" cy="115266"/>
            </a:xfrm>
          </p:grpSpPr>
          <p:sp>
            <p:nvSpPr>
              <p:cNvPr id="1333" name="Forma livre: Forma 1332">
                <a:extLst>
                  <a:ext uri="{FF2B5EF4-FFF2-40B4-BE49-F238E27FC236}">
                    <a16:creationId xmlns:a16="http://schemas.microsoft.com/office/drawing/2014/main" id="{CCDDA37C-EEE4-C4AE-11DC-B30FFA35A08B}"/>
                  </a:ext>
                </a:extLst>
              </p:cNvPr>
              <p:cNvSpPr/>
              <p:nvPr/>
            </p:nvSpPr>
            <p:spPr>
              <a:xfrm>
                <a:off x="11131739" y="3302063"/>
                <a:ext cx="1198" cy="115266"/>
              </a:xfrm>
              <a:custGeom>
                <a:avLst/>
                <a:gdLst>
                  <a:gd name="connsiteX0" fmla="*/ 0 w 1198"/>
                  <a:gd name="connsiteY0" fmla="*/ 0 h 115266"/>
                  <a:gd name="connsiteX1" fmla="*/ 0 w 1198"/>
                  <a:gd name="connsiteY1" fmla="*/ 115267 h 1152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8" h="115266">
                    <a:moveTo>
                      <a:pt x="0" y="0"/>
                    </a:moveTo>
                    <a:lnTo>
                      <a:pt x="0" y="115267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334" name="Forma livre: Forma 1333">
                <a:extLst>
                  <a:ext uri="{FF2B5EF4-FFF2-40B4-BE49-F238E27FC236}">
                    <a16:creationId xmlns:a16="http://schemas.microsoft.com/office/drawing/2014/main" id="{05D25AFF-64DA-13B6-FF9A-8DD53863CF05}"/>
                  </a:ext>
                </a:extLst>
              </p:cNvPr>
              <p:cNvSpPr/>
              <p:nvPr/>
            </p:nvSpPr>
            <p:spPr>
              <a:xfrm>
                <a:off x="11388813" y="3302063"/>
                <a:ext cx="1198" cy="115266"/>
              </a:xfrm>
              <a:custGeom>
                <a:avLst/>
                <a:gdLst>
                  <a:gd name="connsiteX0" fmla="*/ 0 w 1198"/>
                  <a:gd name="connsiteY0" fmla="*/ 0 h 115266"/>
                  <a:gd name="connsiteX1" fmla="*/ 0 w 1198"/>
                  <a:gd name="connsiteY1" fmla="*/ 115267 h 1152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8" h="115266">
                    <a:moveTo>
                      <a:pt x="0" y="0"/>
                    </a:moveTo>
                    <a:lnTo>
                      <a:pt x="0" y="115267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335" name="Gráfico 11">
              <a:extLst>
                <a:ext uri="{FF2B5EF4-FFF2-40B4-BE49-F238E27FC236}">
                  <a16:creationId xmlns:a16="http://schemas.microsoft.com/office/drawing/2014/main" id="{60033048-3CA0-0A02-CD39-02D29DD7F451}"/>
                </a:ext>
              </a:extLst>
            </p:cNvPr>
            <p:cNvGrpSpPr/>
            <p:nvPr/>
          </p:nvGrpSpPr>
          <p:grpSpPr>
            <a:xfrm>
              <a:off x="11155284" y="3346720"/>
              <a:ext cx="209984" cy="28325"/>
              <a:chOff x="11155284" y="3346720"/>
              <a:chExt cx="209984" cy="28325"/>
            </a:xfrm>
            <a:noFill/>
          </p:grpSpPr>
          <p:sp>
            <p:nvSpPr>
              <p:cNvPr id="1336" name="Forma livre: Forma 1335">
                <a:extLst>
                  <a:ext uri="{FF2B5EF4-FFF2-40B4-BE49-F238E27FC236}">
                    <a16:creationId xmlns:a16="http://schemas.microsoft.com/office/drawing/2014/main" id="{E79F3E75-2BF9-D876-2B27-3E6128E113AD}"/>
                  </a:ext>
                </a:extLst>
              </p:cNvPr>
              <p:cNvSpPr/>
              <p:nvPr/>
            </p:nvSpPr>
            <p:spPr>
              <a:xfrm>
                <a:off x="11155284" y="3346720"/>
                <a:ext cx="104998" cy="28325"/>
              </a:xfrm>
              <a:custGeom>
                <a:avLst/>
                <a:gdLst>
                  <a:gd name="connsiteX0" fmla="*/ 8879 w 104998"/>
                  <a:gd name="connsiteY0" fmla="*/ 28325 h 28325"/>
                  <a:gd name="connsiteX1" fmla="*/ 0 w 104998"/>
                  <a:gd name="connsiteY1" fmla="*/ 19447 h 28325"/>
                  <a:gd name="connsiteX2" fmla="*/ 0 w 104998"/>
                  <a:gd name="connsiteY2" fmla="*/ 8867 h 28325"/>
                  <a:gd name="connsiteX3" fmla="*/ 8879 w 104998"/>
                  <a:gd name="connsiteY3" fmla="*/ 0 h 28325"/>
                  <a:gd name="connsiteX4" fmla="*/ 96120 w 104998"/>
                  <a:gd name="connsiteY4" fmla="*/ 0 h 28325"/>
                  <a:gd name="connsiteX5" fmla="*/ 104998 w 104998"/>
                  <a:gd name="connsiteY5" fmla="*/ 8867 h 28325"/>
                  <a:gd name="connsiteX6" fmla="*/ 104998 w 104998"/>
                  <a:gd name="connsiteY6" fmla="*/ 27427 h 283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04998" h="28325">
                    <a:moveTo>
                      <a:pt x="8879" y="28325"/>
                    </a:moveTo>
                    <a:cubicBezTo>
                      <a:pt x="3990" y="28325"/>
                      <a:pt x="0" y="24336"/>
                      <a:pt x="0" y="19447"/>
                    </a:cubicBezTo>
                    <a:lnTo>
                      <a:pt x="0" y="8867"/>
                    </a:lnTo>
                    <a:cubicBezTo>
                      <a:pt x="0" y="3990"/>
                      <a:pt x="3990" y="0"/>
                      <a:pt x="8879" y="0"/>
                    </a:cubicBezTo>
                    <a:lnTo>
                      <a:pt x="96120" y="0"/>
                    </a:lnTo>
                    <a:cubicBezTo>
                      <a:pt x="100996" y="0"/>
                      <a:pt x="104998" y="3990"/>
                      <a:pt x="104998" y="8867"/>
                    </a:cubicBezTo>
                    <a:lnTo>
                      <a:pt x="104998" y="27427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337" name="Forma livre: Forma 1336">
                <a:extLst>
                  <a:ext uri="{FF2B5EF4-FFF2-40B4-BE49-F238E27FC236}">
                    <a16:creationId xmlns:a16="http://schemas.microsoft.com/office/drawing/2014/main" id="{C191D33B-5B07-265A-E753-CA55847F0DB6}"/>
                  </a:ext>
                </a:extLst>
              </p:cNvPr>
              <p:cNvSpPr/>
              <p:nvPr/>
            </p:nvSpPr>
            <p:spPr>
              <a:xfrm>
                <a:off x="11260282" y="3346720"/>
                <a:ext cx="104986" cy="28325"/>
              </a:xfrm>
              <a:custGeom>
                <a:avLst/>
                <a:gdLst>
                  <a:gd name="connsiteX0" fmla="*/ 0 w 104986"/>
                  <a:gd name="connsiteY0" fmla="*/ 8867 h 28325"/>
                  <a:gd name="connsiteX1" fmla="*/ 8867 w 104986"/>
                  <a:gd name="connsiteY1" fmla="*/ 0 h 28325"/>
                  <a:gd name="connsiteX2" fmla="*/ 96108 w 104986"/>
                  <a:gd name="connsiteY2" fmla="*/ 0 h 28325"/>
                  <a:gd name="connsiteX3" fmla="*/ 104986 w 104986"/>
                  <a:gd name="connsiteY3" fmla="*/ 8867 h 28325"/>
                  <a:gd name="connsiteX4" fmla="*/ 104986 w 104986"/>
                  <a:gd name="connsiteY4" fmla="*/ 19447 h 28325"/>
                  <a:gd name="connsiteX5" fmla="*/ 96108 w 104986"/>
                  <a:gd name="connsiteY5" fmla="*/ 28325 h 283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04986" h="28325">
                    <a:moveTo>
                      <a:pt x="0" y="8867"/>
                    </a:moveTo>
                    <a:cubicBezTo>
                      <a:pt x="0" y="3990"/>
                      <a:pt x="3990" y="0"/>
                      <a:pt x="8867" y="0"/>
                    </a:cubicBezTo>
                    <a:lnTo>
                      <a:pt x="96108" y="0"/>
                    </a:lnTo>
                    <a:cubicBezTo>
                      <a:pt x="100996" y="0"/>
                      <a:pt x="104986" y="3990"/>
                      <a:pt x="104986" y="8867"/>
                    </a:cubicBezTo>
                    <a:lnTo>
                      <a:pt x="104986" y="19447"/>
                    </a:lnTo>
                    <a:cubicBezTo>
                      <a:pt x="104986" y="24324"/>
                      <a:pt x="100996" y="28325"/>
                      <a:pt x="96108" y="28325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338" name="Gráfico 11">
              <a:extLst>
                <a:ext uri="{FF2B5EF4-FFF2-40B4-BE49-F238E27FC236}">
                  <a16:creationId xmlns:a16="http://schemas.microsoft.com/office/drawing/2014/main" id="{75F52EA8-37E4-B44D-7817-C2859A2A74FD}"/>
                </a:ext>
              </a:extLst>
            </p:cNvPr>
            <p:cNvGrpSpPr/>
            <p:nvPr/>
          </p:nvGrpSpPr>
          <p:grpSpPr>
            <a:xfrm>
              <a:off x="11131787" y="3098920"/>
              <a:ext cx="256966" cy="110426"/>
              <a:chOff x="11131787" y="3098920"/>
              <a:chExt cx="256966" cy="110426"/>
            </a:xfrm>
            <a:noFill/>
          </p:grpSpPr>
          <p:sp>
            <p:nvSpPr>
              <p:cNvPr id="1339" name="Forma livre: Forma 1338">
                <a:extLst>
                  <a:ext uri="{FF2B5EF4-FFF2-40B4-BE49-F238E27FC236}">
                    <a16:creationId xmlns:a16="http://schemas.microsoft.com/office/drawing/2014/main" id="{98B5C14D-FFBC-EB87-B3E7-2DFAF31C22C6}"/>
                  </a:ext>
                </a:extLst>
              </p:cNvPr>
              <p:cNvSpPr/>
              <p:nvPr/>
            </p:nvSpPr>
            <p:spPr>
              <a:xfrm>
                <a:off x="11193231" y="3098920"/>
                <a:ext cx="112606" cy="28481"/>
              </a:xfrm>
              <a:custGeom>
                <a:avLst/>
                <a:gdLst>
                  <a:gd name="connsiteX0" fmla="*/ 0 w 112606"/>
                  <a:gd name="connsiteY0" fmla="*/ 0 h 28481"/>
                  <a:gd name="connsiteX1" fmla="*/ 0 w 112606"/>
                  <a:gd name="connsiteY1" fmla="*/ 28481 h 28481"/>
                  <a:gd name="connsiteX2" fmla="*/ 112607 w 112606"/>
                  <a:gd name="connsiteY2" fmla="*/ 28481 h 284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12606" h="28481">
                    <a:moveTo>
                      <a:pt x="0" y="0"/>
                    </a:moveTo>
                    <a:lnTo>
                      <a:pt x="0" y="28481"/>
                    </a:lnTo>
                    <a:lnTo>
                      <a:pt x="112607" y="28481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340" name="Forma livre: Forma 1339">
                <a:extLst>
                  <a:ext uri="{FF2B5EF4-FFF2-40B4-BE49-F238E27FC236}">
                    <a16:creationId xmlns:a16="http://schemas.microsoft.com/office/drawing/2014/main" id="{B6F6ECEA-28C9-11F9-09AC-8CE3D31A9DE0}"/>
                  </a:ext>
                </a:extLst>
              </p:cNvPr>
              <p:cNvSpPr/>
              <p:nvPr/>
            </p:nvSpPr>
            <p:spPr>
              <a:xfrm>
                <a:off x="11131787" y="3098920"/>
                <a:ext cx="256966" cy="110426"/>
              </a:xfrm>
              <a:custGeom>
                <a:avLst/>
                <a:gdLst>
                  <a:gd name="connsiteX0" fmla="*/ 39229 w 256966"/>
                  <a:gd name="connsiteY0" fmla="*/ 28481 h 110426"/>
                  <a:gd name="connsiteX1" fmla="*/ 0 w 256966"/>
                  <a:gd name="connsiteY1" fmla="*/ 28481 h 110426"/>
                  <a:gd name="connsiteX2" fmla="*/ 0 w 256966"/>
                  <a:gd name="connsiteY2" fmla="*/ 110426 h 110426"/>
                  <a:gd name="connsiteX3" fmla="*/ 256966 w 256966"/>
                  <a:gd name="connsiteY3" fmla="*/ 110426 h 110426"/>
                  <a:gd name="connsiteX4" fmla="*/ 256966 w 256966"/>
                  <a:gd name="connsiteY4" fmla="*/ 28481 h 110426"/>
                  <a:gd name="connsiteX5" fmla="*/ 195511 w 256966"/>
                  <a:gd name="connsiteY5" fmla="*/ 28481 h 110426"/>
                  <a:gd name="connsiteX6" fmla="*/ 195511 w 256966"/>
                  <a:gd name="connsiteY6" fmla="*/ 28074 h 110426"/>
                  <a:gd name="connsiteX7" fmla="*/ 195511 w 256966"/>
                  <a:gd name="connsiteY7" fmla="*/ 0 h 1104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56966" h="110426">
                    <a:moveTo>
                      <a:pt x="39229" y="28481"/>
                    </a:moveTo>
                    <a:lnTo>
                      <a:pt x="0" y="28481"/>
                    </a:lnTo>
                    <a:lnTo>
                      <a:pt x="0" y="110426"/>
                    </a:lnTo>
                    <a:lnTo>
                      <a:pt x="256966" y="110426"/>
                    </a:lnTo>
                    <a:lnTo>
                      <a:pt x="256966" y="28481"/>
                    </a:lnTo>
                    <a:lnTo>
                      <a:pt x="195511" y="28481"/>
                    </a:lnTo>
                    <a:lnTo>
                      <a:pt x="195511" y="28074"/>
                    </a:lnTo>
                    <a:lnTo>
                      <a:pt x="195511" y="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341" name="Forma livre: Forma 1340">
                <a:extLst>
                  <a:ext uri="{FF2B5EF4-FFF2-40B4-BE49-F238E27FC236}">
                    <a16:creationId xmlns:a16="http://schemas.microsoft.com/office/drawing/2014/main" id="{9F527BCA-999C-71B6-4DD3-B8C88325FA05}"/>
                  </a:ext>
                </a:extLst>
              </p:cNvPr>
              <p:cNvSpPr/>
              <p:nvPr/>
            </p:nvSpPr>
            <p:spPr>
              <a:xfrm>
                <a:off x="11163695" y="3168476"/>
                <a:ext cx="49509" cy="1198"/>
              </a:xfrm>
              <a:custGeom>
                <a:avLst/>
                <a:gdLst>
                  <a:gd name="connsiteX0" fmla="*/ 0 w 49509"/>
                  <a:gd name="connsiteY0" fmla="*/ 0 h 1198"/>
                  <a:gd name="connsiteX1" fmla="*/ 49510 w 49509"/>
                  <a:gd name="connsiteY1" fmla="*/ 0 h 11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9509" h="1198">
                    <a:moveTo>
                      <a:pt x="0" y="0"/>
                    </a:moveTo>
                    <a:lnTo>
                      <a:pt x="4951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1342" name="Gráfico 11">
                <a:extLst>
                  <a:ext uri="{FF2B5EF4-FFF2-40B4-BE49-F238E27FC236}">
                    <a16:creationId xmlns:a16="http://schemas.microsoft.com/office/drawing/2014/main" id="{5C982DEA-6A20-00A8-18BE-3323472BE6E4}"/>
                  </a:ext>
                </a:extLst>
              </p:cNvPr>
              <p:cNvGrpSpPr/>
              <p:nvPr/>
            </p:nvGrpSpPr>
            <p:grpSpPr>
              <a:xfrm>
                <a:off x="11179571" y="3148897"/>
                <a:ext cx="19578" cy="39145"/>
                <a:chOff x="11179571" y="3148897"/>
                <a:chExt cx="19578" cy="39145"/>
              </a:xfrm>
            </p:grpSpPr>
            <p:sp>
              <p:nvSpPr>
                <p:cNvPr id="1343" name="Forma livre: Forma 1342">
                  <a:extLst>
                    <a:ext uri="{FF2B5EF4-FFF2-40B4-BE49-F238E27FC236}">
                      <a16:creationId xmlns:a16="http://schemas.microsoft.com/office/drawing/2014/main" id="{49EDF262-99B2-C715-3983-C32B6B8D450D}"/>
                    </a:ext>
                  </a:extLst>
                </p:cNvPr>
                <p:cNvSpPr/>
                <p:nvPr/>
              </p:nvSpPr>
              <p:spPr>
                <a:xfrm>
                  <a:off x="11179571" y="3148897"/>
                  <a:ext cx="19578" cy="19578"/>
                </a:xfrm>
                <a:custGeom>
                  <a:avLst/>
                  <a:gdLst>
                    <a:gd name="connsiteX0" fmla="*/ 19579 w 19578"/>
                    <a:gd name="connsiteY0" fmla="*/ 19579 h 19578"/>
                    <a:gd name="connsiteX1" fmla="*/ 0 w 19578"/>
                    <a:gd name="connsiteY1" fmla="*/ 0 h 195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9578" h="19578">
                      <a:moveTo>
                        <a:pt x="19579" y="19579"/>
                      </a:moveTo>
                      <a:lnTo>
                        <a:pt x="0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344" name="Forma livre: Forma 1343">
                  <a:extLst>
                    <a:ext uri="{FF2B5EF4-FFF2-40B4-BE49-F238E27FC236}">
                      <a16:creationId xmlns:a16="http://schemas.microsoft.com/office/drawing/2014/main" id="{8450956F-B739-5FD0-CCB1-9FAE95EC7CD4}"/>
                    </a:ext>
                  </a:extLst>
                </p:cNvPr>
                <p:cNvSpPr/>
                <p:nvPr/>
              </p:nvSpPr>
              <p:spPr>
                <a:xfrm>
                  <a:off x="11179571" y="3168464"/>
                  <a:ext cx="19578" cy="19578"/>
                </a:xfrm>
                <a:custGeom>
                  <a:avLst/>
                  <a:gdLst>
                    <a:gd name="connsiteX0" fmla="*/ 0 w 19578"/>
                    <a:gd name="connsiteY0" fmla="*/ 19579 h 19578"/>
                    <a:gd name="connsiteX1" fmla="*/ 19579 w 19578"/>
                    <a:gd name="connsiteY1" fmla="*/ 0 h 195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9578" h="19578">
                      <a:moveTo>
                        <a:pt x="0" y="19579"/>
                      </a:moveTo>
                      <a:lnTo>
                        <a:pt x="19579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1345" name="Gráfico 11">
                <a:extLst>
                  <a:ext uri="{FF2B5EF4-FFF2-40B4-BE49-F238E27FC236}">
                    <a16:creationId xmlns:a16="http://schemas.microsoft.com/office/drawing/2014/main" id="{759D2024-4D33-F234-EC8D-B2EC697A6945}"/>
                  </a:ext>
                </a:extLst>
              </p:cNvPr>
              <p:cNvGrpSpPr/>
              <p:nvPr/>
            </p:nvGrpSpPr>
            <p:grpSpPr>
              <a:xfrm>
                <a:off x="11158303" y="3158375"/>
                <a:ext cx="4577" cy="20201"/>
                <a:chOff x="11158303" y="3158375"/>
                <a:chExt cx="4577" cy="20201"/>
              </a:xfrm>
            </p:grpSpPr>
            <p:sp>
              <p:nvSpPr>
                <p:cNvPr id="1346" name="Forma livre: Forma 1345">
                  <a:extLst>
                    <a:ext uri="{FF2B5EF4-FFF2-40B4-BE49-F238E27FC236}">
                      <a16:creationId xmlns:a16="http://schemas.microsoft.com/office/drawing/2014/main" id="{A95C8DA5-320B-5519-7C61-EC18D700FF79}"/>
                    </a:ext>
                  </a:extLst>
                </p:cNvPr>
                <p:cNvSpPr/>
                <p:nvPr/>
              </p:nvSpPr>
              <p:spPr>
                <a:xfrm>
                  <a:off x="11158315" y="3158375"/>
                  <a:ext cx="4565" cy="10100"/>
                </a:xfrm>
                <a:custGeom>
                  <a:avLst/>
                  <a:gdLst>
                    <a:gd name="connsiteX0" fmla="*/ 0 w 4565"/>
                    <a:gd name="connsiteY0" fmla="*/ 0 h 10100"/>
                    <a:gd name="connsiteX1" fmla="*/ 4565 w 4565"/>
                    <a:gd name="connsiteY1" fmla="*/ 10101 h 101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565" h="10100">
                      <a:moveTo>
                        <a:pt x="0" y="0"/>
                      </a:moveTo>
                      <a:lnTo>
                        <a:pt x="4565" y="10101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347" name="Forma livre: Forma 1346">
                  <a:extLst>
                    <a:ext uri="{FF2B5EF4-FFF2-40B4-BE49-F238E27FC236}">
                      <a16:creationId xmlns:a16="http://schemas.microsoft.com/office/drawing/2014/main" id="{A7E92734-D666-E0EE-1177-2475A0C2E899}"/>
                    </a:ext>
                  </a:extLst>
                </p:cNvPr>
                <p:cNvSpPr/>
                <p:nvPr/>
              </p:nvSpPr>
              <p:spPr>
                <a:xfrm>
                  <a:off x="11158303" y="3168476"/>
                  <a:ext cx="4577" cy="10100"/>
                </a:xfrm>
                <a:custGeom>
                  <a:avLst/>
                  <a:gdLst>
                    <a:gd name="connsiteX0" fmla="*/ 4577 w 4577"/>
                    <a:gd name="connsiteY0" fmla="*/ 0 h 10100"/>
                    <a:gd name="connsiteX1" fmla="*/ 0 w 4577"/>
                    <a:gd name="connsiteY1" fmla="*/ 10101 h 101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577" h="10100">
                      <a:moveTo>
                        <a:pt x="4577" y="0"/>
                      </a:moveTo>
                      <a:lnTo>
                        <a:pt x="0" y="10101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1348" name="Forma livre: Forma 1347">
                <a:extLst>
                  <a:ext uri="{FF2B5EF4-FFF2-40B4-BE49-F238E27FC236}">
                    <a16:creationId xmlns:a16="http://schemas.microsoft.com/office/drawing/2014/main" id="{D045CA62-F3D6-98C6-E459-E14F07C6649C}"/>
                  </a:ext>
                </a:extLst>
              </p:cNvPr>
              <p:cNvSpPr/>
              <p:nvPr/>
            </p:nvSpPr>
            <p:spPr>
              <a:xfrm>
                <a:off x="11324937" y="3168476"/>
                <a:ext cx="37443" cy="1198"/>
              </a:xfrm>
              <a:custGeom>
                <a:avLst/>
                <a:gdLst>
                  <a:gd name="connsiteX0" fmla="*/ 37444 w 37443"/>
                  <a:gd name="connsiteY0" fmla="*/ 0 h 1198"/>
                  <a:gd name="connsiteX1" fmla="*/ 0 w 37443"/>
                  <a:gd name="connsiteY1" fmla="*/ 0 h 11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7443" h="1198">
                    <a:moveTo>
                      <a:pt x="37444" y="0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349" name="Forma livre: Forma 1348">
                <a:extLst>
                  <a:ext uri="{FF2B5EF4-FFF2-40B4-BE49-F238E27FC236}">
                    <a16:creationId xmlns:a16="http://schemas.microsoft.com/office/drawing/2014/main" id="{13A48152-9A39-5ED3-49F0-37592BF90B3B}"/>
                  </a:ext>
                </a:extLst>
              </p:cNvPr>
              <p:cNvSpPr/>
              <p:nvPr/>
            </p:nvSpPr>
            <p:spPr>
              <a:xfrm>
                <a:off x="11345498" y="3151473"/>
                <a:ext cx="16930" cy="33992"/>
              </a:xfrm>
              <a:custGeom>
                <a:avLst/>
                <a:gdLst>
                  <a:gd name="connsiteX0" fmla="*/ 0 w 16930"/>
                  <a:gd name="connsiteY0" fmla="*/ 33993 h 33992"/>
                  <a:gd name="connsiteX1" fmla="*/ 16931 w 16930"/>
                  <a:gd name="connsiteY1" fmla="*/ 17062 h 33992"/>
                  <a:gd name="connsiteX2" fmla="*/ 0 w 16930"/>
                  <a:gd name="connsiteY2" fmla="*/ 0 h 339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6930" h="33992">
                    <a:moveTo>
                      <a:pt x="0" y="33993"/>
                    </a:moveTo>
                    <a:lnTo>
                      <a:pt x="16931" y="17062"/>
                    </a:lnTo>
                    <a:lnTo>
                      <a:pt x="0" y="0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350" name="Forma livre: Forma 1349">
                <a:extLst>
                  <a:ext uri="{FF2B5EF4-FFF2-40B4-BE49-F238E27FC236}">
                    <a16:creationId xmlns:a16="http://schemas.microsoft.com/office/drawing/2014/main" id="{A1DA0D25-F515-352A-FB5D-6DE88DEF387E}"/>
                  </a:ext>
                </a:extLst>
              </p:cNvPr>
              <p:cNvSpPr/>
              <p:nvPr/>
            </p:nvSpPr>
            <p:spPr>
              <a:xfrm>
                <a:off x="11236115" y="3156554"/>
                <a:ext cx="62677" cy="1198"/>
              </a:xfrm>
              <a:custGeom>
                <a:avLst/>
                <a:gdLst>
                  <a:gd name="connsiteX0" fmla="*/ 0 w 62677"/>
                  <a:gd name="connsiteY0" fmla="*/ 0 h 1198"/>
                  <a:gd name="connsiteX1" fmla="*/ 62678 w 62677"/>
                  <a:gd name="connsiteY1" fmla="*/ 0 h 11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2677" h="1198">
                    <a:moveTo>
                      <a:pt x="0" y="0"/>
                    </a:moveTo>
                    <a:lnTo>
                      <a:pt x="62678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351" name="Forma livre: Forma 1350">
                <a:extLst>
                  <a:ext uri="{FF2B5EF4-FFF2-40B4-BE49-F238E27FC236}">
                    <a16:creationId xmlns:a16="http://schemas.microsoft.com/office/drawing/2014/main" id="{28B0C4FE-4E2E-815D-7D3B-28192021E6CD}"/>
                  </a:ext>
                </a:extLst>
              </p:cNvPr>
              <p:cNvSpPr/>
              <p:nvPr/>
            </p:nvSpPr>
            <p:spPr>
              <a:xfrm>
                <a:off x="11236115" y="3180398"/>
                <a:ext cx="46502" cy="1198"/>
              </a:xfrm>
              <a:custGeom>
                <a:avLst/>
                <a:gdLst>
                  <a:gd name="connsiteX0" fmla="*/ 0 w 46502"/>
                  <a:gd name="connsiteY0" fmla="*/ 0 h 1198"/>
                  <a:gd name="connsiteX1" fmla="*/ 46502 w 46502"/>
                  <a:gd name="connsiteY1" fmla="*/ 0 h 11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6502" h="1198">
                    <a:moveTo>
                      <a:pt x="0" y="0"/>
                    </a:moveTo>
                    <a:lnTo>
                      <a:pt x="46502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352" name="Gráfico 11">
            <a:extLst>
              <a:ext uri="{FF2B5EF4-FFF2-40B4-BE49-F238E27FC236}">
                <a16:creationId xmlns:a16="http://schemas.microsoft.com/office/drawing/2014/main" id="{7377E4CA-C4A7-0A69-1513-EBC13FAC67FB}"/>
              </a:ext>
            </a:extLst>
          </p:cNvPr>
          <p:cNvGrpSpPr/>
          <p:nvPr/>
        </p:nvGrpSpPr>
        <p:grpSpPr>
          <a:xfrm>
            <a:off x="10476323" y="2570145"/>
            <a:ext cx="319500" cy="320455"/>
            <a:chOff x="10476323" y="2570145"/>
            <a:chExt cx="319500" cy="320455"/>
          </a:xfrm>
        </p:grpSpPr>
        <p:sp>
          <p:nvSpPr>
            <p:cNvPr id="1353" name="Forma livre: Forma 1352">
              <a:extLst>
                <a:ext uri="{FF2B5EF4-FFF2-40B4-BE49-F238E27FC236}">
                  <a16:creationId xmlns:a16="http://schemas.microsoft.com/office/drawing/2014/main" id="{559F4FFF-983D-3DBF-BEA5-8F439D70710A}"/>
                </a:ext>
              </a:extLst>
            </p:cNvPr>
            <p:cNvSpPr/>
            <p:nvPr/>
          </p:nvSpPr>
          <p:spPr>
            <a:xfrm>
              <a:off x="10536605" y="2599869"/>
              <a:ext cx="55764" cy="261806"/>
            </a:xfrm>
            <a:custGeom>
              <a:avLst/>
              <a:gdLst>
                <a:gd name="connsiteX0" fmla="*/ 42488 w 55764"/>
                <a:gd name="connsiteY0" fmla="*/ 189208 h 261806"/>
                <a:gd name="connsiteX1" fmla="*/ 20729 w 55764"/>
                <a:gd name="connsiteY1" fmla="*/ 193414 h 261806"/>
                <a:gd name="connsiteX2" fmla="*/ 0 w 55764"/>
                <a:gd name="connsiteY2" fmla="*/ 222434 h 261806"/>
                <a:gd name="connsiteX3" fmla="*/ 7261 w 55764"/>
                <a:gd name="connsiteY3" fmla="*/ 261807 h 261806"/>
                <a:gd name="connsiteX4" fmla="*/ 55764 w 55764"/>
                <a:gd name="connsiteY4" fmla="*/ 254138 h 261806"/>
                <a:gd name="connsiteX5" fmla="*/ 19710 w 55764"/>
                <a:gd name="connsiteY5" fmla="*/ 0 h 26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5764" h="261806">
                  <a:moveTo>
                    <a:pt x="42488" y="189208"/>
                  </a:moveTo>
                  <a:lnTo>
                    <a:pt x="20729" y="193414"/>
                  </a:lnTo>
                  <a:lnTo>
                    <a:pt x="0" y="222434"/>
                  </a:lnTo>
                  <a:lnTo>
                    <a:pt x="7261" y="261807"/>
                  </a:lnTo>
                  <a:lnTo>
                    <a:pt x="55764" y="254138"/>
                  </a:lnTo>
                  <a:lnTo>
                    <a:pt x="19710" y="0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354" name="Forma livre: Forma 1353">
              <a:extLst>
                <a:ext uri="{FF2B5EF4-FFF2-40B4-BE49-F238E27FC236}">
                  <a16:creationId xmlns:a16="http://schemas.microsoft.com/office/drawing/2014/main" id="{CBF49EA3-3724-68E5-B3DD-017944535428}"/>
                </a:ext>
              </a:extLst>
            </p:cNvPr>
            <p:cNvSpPr/>
            <p:nvPr/>
          </p:nvSpPr>
          <p:spPr>
            <a:xfrm>
              <a:off x="10594645" y="2811328"/>
              <a:ext cx="201178" cy="30661"/>
            </a:xfrm>
            <a:custGeom>
              <a:avLst/>
              <a:gdLst>
                <a:gd name="connsiteX0" fmla="*/ 0 w 201178"/>
                <a:gd name="connsiteY0" fmla="*/ 30662 h 30661"/>
                <a:gd name="connsiteX1" fmla="*/ 201178 w 201178"/>
                <a:gd name="connsiteY1" fmla="*/ 0 h 306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01178" h="30661">
                  <a:moveTo>
                    <a:pt x="0" y="30662"/>
                  </a:moveTo>
                  <a:lnTo>
                    <a:pt x="201178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355" name="Forma livre: Forma 1354">
              <a:extLst>
                <a:ext uri="{FF2B5EF4-FFF2-40B4-BE49-F238E27FC236}">
                  <a16:creationId xmlns:a16="http://schemas.microsoft.com/office/drawing/2014/main" id="{6236CE88-5F82-8B1B-21BD-A9BAF4236560}"/>
                </a:ext>
              </a:extLst>
            </p:cNvPr>
            <p:cNvSpPr/>
            <p:nvPr/>
          </p:nvSpPr>
          <p:spPr>
            <a:xfrm>
              <a:off x="10742959" y="2818984"/>
              <a:ext cx="14689" cy="40379"/>
            </a:xfrm>
            <a:custGeom>
              <a:avLst/>
              <a:gdLst>
                <a:gd name="connsiteX0" fmla="*/ 14690 w 14689"/>
                <a:gd name="connsiteY0" fmla="*/ 0 h 40379"/>
                <a:gd name="connsiteX1" fmla="*/ 0 w 14689"/>
                <a:gd name="connsiteY1" fmla="*/ 40379 h 403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4689" h="40379">
                  <a:moveTo>
                    <a:pt x="14690" y="0"/>
                  </a:moveTo>
                  <a:lnTo>
                    <a:pt x="0" y="40379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356" name="Forma livre: Forma 1355">
              <a:extLst>
                <a:ext uri="{FF2B5EF4-FFF2-40B4-BE49-F238E27FC236}">
                  <a16:creationId xmlns:a16="http://schemas.microsoft.com/office/drawing/2014/main" id="{E02B0EC8-7F3C-9022-5940-1E7D594D1325}"/>
                </a:ext>
              </a:extLst>
            </p:cNvPr>
            <p:cNvSpPr/>
            <p:nvPr/>
          </p:nvSpPr>
          <p:spPr>
            <a:xfrm>
              <a:off x="10598041" y="2684635"/>
              <a:ext cx="170099" cy="128260"/>
            </a:xfrm>
            <a:custGeom>
              <a:avLst/>
              <a:gdLst>
                <a:gd name="connsiteX0" fmla="*/ 27782 w 170099"/>
                <a:gd name="connsiteY0" fmla="*/ 128107 h 128260"/>
                <a:gd name="connsiteX1" fmla="*/ 12541 w 170099"/>
                <a:gd name="connsiteY1" fmla="*/ 116880 h 128260"/>
                <a:gd name="connsiteX2" fmla="*/ 151 w 170099"/>
                <a:gd name="connsiteY2" fmla="*/ 35270 h 128260"/>
                <a:gd name="connsiteX3" fmla="*/ 11378 w 170099"/>
                <a:gd name="connsiteY3" fmla="*/ 20029 h 128260"/>
                <a:gd name="connsiteX4" fmla="*/ 142318 w 170099"/>
                <a:gd name="connsiteY4" fmla="*/ 151 h 128260"/>
                <a:gd name="connsiteX5" fmla="*/ 157559 w 170099"/>
                <a:gd name="connsiteY5" fmla="*/ 11378 h 128260"/>
                <a:gd name="connsiteX6" fmla="*/ 169948 w 170099"/>
                <a:gd name="connsiteY6" fmla="*/ 92988 h 128260"/>
                <a:gd name="connsiteX7" fmla="*/ 158721 w 170099"/>
                <a:gd name="connsiteY7" fmla="*/ 108241 h 128260"/>
                <a:gd name="connsiteX8" fmla="*/ 27782 w 170099"/>
                <a:gd name="connsiteY8" fmla="*/ 128119 h 1282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70099" h="128260">
                  <a:moveTo>
                    <a:pt x="27782" y="128107"/>
                  </a:moveTo>
                  <a:cubicBezTo>
                    <a:pt x="20509" y="129221"/>
                    <a:pt x="13643" y="124165"/>
                    <a:pt x="12541" y="116880"/>
                  </a:cubicBezTo>
                  <a:lnTo>
                    <a:pt x="151" y="35270"/>
                  </a:lnTo>
                  <a:cubicBezTo>
                    <a:pt x="-951" y="27997"/>
                    <a:pt x="4093" y="21131"/>
                    <a:pt x="11378" y="20029"/>
                  </a:cubicBezTo>
                  <a:lnTo>
                    <a:pt x="142318" y="151"/>
                  </a:lnTo>
                  <a:cubicBezTo>
                    <a:pt x="149591" y="-951"/>
                    <a:pt x="156445" y="4105"/>
                    <a:pt x="157559" y="11378"/>
                  </a:cubicBezTo>
                  <a:lnTo>
                    <a:pt x="169948" y="92988"/>
                  </a:lnTo>
                  <a:cubicBezTo>
                    <a:pt x="171051" y="100273"/>
                    <a:pt x="165994" y="107138"/>
                    <a:pt x="158721" y="108241"/>
                  </a:cubicBezTo>
                  <a:lnTo>
                    <a:pt x="27782" y="128119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357" name="Forma livre: Forma 1356">
              <a:extLst>
                <a:ext uri="{FF2B5EF4-FFF2-40B4-BE49-F238E27FC236}">
                  <a16:creationId xmlns:a16="http://schemas.microsoft.com/office/drawing/2014/main" id="{1AE4486C-D387-C57B-9A78-741DE662B8EF}"/>
                </a:ext>
              </a:extLst>
            </p:cNvPr>
            <p:cNvSpPr/>
            <p:nvPr/>
          </p:nvSpPr>
          <p:spPr>
            <a:xfrm>
              <a:off x="10641847" y="2653469"/>
              <a:ext cx="59234" cy="27254"/>
            </a:xfrm>
            <a:custGeom>
              <a:avLst/>
              <a:gdLst>
                <a:gd name="connsiteX0" fmla="*/ 1229 w 59234"/>
                <a:gd name="connsiteY0" fmla="*/ 27255 h 27254"/>
                <a:gd name="connsiteX1" fmla="*/ 151 w 59234"/>
                <a:gd name="connsiteY1" fmla="*/ 20185 h 27254"/>
                <a:gd name="connsiteX2" fmla="*/ 11378 w 59234"/>
                <a:gd name="connsiteY2" fmla="*/ 4944 h 27254"/>
                <a:gd name="connsiteX3" fmla="*/ 42915 w 59234"/>
                <a:gd name="connsiteY3" fmla="*/ 151 h 27254"/>
                <a:gd name="connsiteX4" fmla="*/ 58156 w 59234"/>
                <a:gd name="connsiteY4" fmla="*/ 11378 h 27254"/>
                <a:gd name="connsiteX5" fmla="*/ 59234 w 59234"/>
                <a:gd name="connsiteY5" fmla="*/ 18448 h 272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9234" h="27254">
                  <a:moveTo>
                    <a:pt x="1229" y="27255"/>
                  </a:moveTo>
                  <a:lnTo>
                    <a:pt x="151" y="20185"/>
                  </a:lnTo>
                  <a:cubicBezTo>
                    <a:pt x="-951" y="12912"/>
                    <a:pt x="4105" y="6046"/>
                    <a:pt x="11378" y="4944"/>
                  </a:cubicBezTo>
                  <a:lnTo>
                    <a:pt x="42915" y="151"/>
                  </a:lnTo>
                  <a:cubicBezTo>
                    <a:pt x="50188" y="-951"/>
                    <a:pt x="57054" y="4093"/>
                    <a:pt x="58156" y="11378"/>
                  </a:cubicBezTo>
                  <a:lnTo>
                    <a:pt x="59234" y="18448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358" name="Forma livre: Forma 1357">
              <a:extLst>
                <a:ext uri="{FF2B5EF4-FFF2-40B4-BE49-F238E27FC236}">
                  <a16:creationId xmlns:a16="http://schemas.microsoft.com/office/drawing/2014/main" id="{034E82D3-97CB-F8E5-4741-995C49D7FBBD}"/>
                </a:ext>
              </a:extLst>
            </p:cNvPr>
            <p:cNvSpPr/>
            <p:nvPr/>
          </p:nvSpPr>
          <p:spPr>
            <a:xfrm>
              <a:off x="10630304" y="2723931"/>
              <a:ext cx="9561" cy="62941"/>
            </a:xfrm>
            <a:custGeom>
              <a:avLst/>
              <a:gdLst>
                <a:gd name="connsiteX0" fmla="*/ 0 w 9561"/>
                <a:gd name="connsiteY0" fmla="*/ 0 h 62941"/>
                <a:gd name="connsiteX1" fmla="*/ 9562 w 9561"/>
                <a:gd name="connsiteY1" fmla="*/ 62941 h 629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61" h="62941">
                  <a:moveTo>
                    <a:pt x="0" y="0"/>
                  </a:moveTo>
                  <a:lnTo>
                    <a:pt x="9562" y="62941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359" name="Forma livre: Forma 1358">
              <a:extLst>
                <a:ext uri="{FF2B5EF4-FFF2-40B4-BE49-F238E27FC236}">
                  <a16:creationId xmlns:a16="http://schemas.microsoft.com/office/drawing/2014/main" id="{F849C621-BAA4-09D8-57CE-E46BDF6D22FC}"/>
                </a:ext>
              </a:extLst>
            </p:cNvPr>
            <p:cNvSpPr/>
            <p:nvPr/>
          </p:nvSpPr>
          <p:spPr>
            <a:xfrm>
              <a:off x="10726112" y="2709373"/>
              <a:ext cx="9561" cy="62953"/>
            </a:xfrm>
            <a:custGeom>
              <a:avLst/>
              <a:gdLst>
                <a:gd name="connsiteX0" fmla="*/ 0 w 9561"/>
                <a:gd name="connsiteY0" fmla="*/ 0 h 62953"/>
                <a:gd name="connsiteX1" fmla="*/ 9562 w 9561"/>
                <a:gd name="connsiteY1" fmla="*/ 62953 h 629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61" h="62953">
                  <a:moveTo>
                    <a:pt x="0" y="0"/>
                  </a:moveTo>
                  <a:lnTo>
                    <a:pt x="9562" y="62953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360" name="Forma livre: Forma 1359">
              <a:extLst>
                <a:ext uri="{FF2B5EF4-FFF2-40B4-BE49-F238E27FC236}">
                  <a16:creationId xmlns:a16="http://schemas.microsoft.com/office/drawing/2014/main" id="{E6670274-A3EA-768E-9CF9-D6BEE4A5B221}"/>
                </a:ext>
              </a:extLst>
            </p:cNvPr>
            <p:cNvSpPr/>
            <p:nvPr/>
          </p:nvSpPr>
          <p:spPr>
            <a:xfrm>
              <a:off x="10539876" y="2570633"/>
              <a:ext cx="31033" cy="31021"/>
            </a:xfrm>
            <a:custGeom>
              <a:avLst/>
              <a:gdLst>
                <a:gd name="connsiteX0" fmla="*/ 31033 w 31033"/>
                <a:gd name="connsiteY0" fmla="*/ 15505 h 31021"/>
                <a:gd name="connsiteX1" fmla="*/ 15517 w 31033"/>
                <a:gd name="connsiteY1" fmla="*/ 31021 h 31021"/>
                <a:gd name="connsiteX2" fmla="*/ 0 w 31033"/>
                <a:gd name="connsiteY2" fmla="*/ 15505 h 31021"/>
                <a:gd name="connsiteX3" fmla="*/ 15517 w 31033"/>
                <a:gd name="connsiteY3" fmla="*/ 0 h 31021"/>
                <a:gd name="connsiteX4" fmla="*/ 31033 w 31033"/>
                <a:gd name="connsiteY4" fmla="*/ 15505 h 310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1033" h="31021">
                  <a:moveTo>
                    <a:pt x="31033" y="15505"/>
                  </a:moveTo>
                  <a:cubicBezTo>
                    <a:pt x="31033" y="24072"/>
                    <a:pt x="24084" y="31021"/>
                    <a:pt x="15517" y="31021"/>
                  </a:cubicBezTo>
                  <a:cubicBezTo>
                    <a:pt x="6950" y="31021"/>
                    <a:pt x="0" y="24072"/>
                    <a:pt x="0" y="15505"/>
                  </a:cubicBezTo>
                  <a:cubicBezTo>
                    <a:pt x="0" y="6938"/>
                    <a:pt x="6950" y="0"/>
                    <a:pt x="15517" y="0"/>
                  </a:cubicBezTo>
                  <a:cubicBezTo>
                    <a:pt x="24084" y="0"/>
                    <a:pt x="31033" y="6938"/>
                    <a:pt x="31033" y="15505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361" name="Forma livre: Forma 1360">
              <a:extLst>
                <a:ext uri="{FF2B5EF4-FFF2-40B4-BE49-F238E27FC236}">
                  <a16:creationId xmlns:a16="http://schemas.microsoft.com/office/drawing/2014/main" id="{1981E312-0D60-0476-8C67-955E160288C7}"/>
                </a:ext>
              </a:extLst>
            </p:cNvPr>
            <p:cNvSpPr/>
            <p:nvPr/>
          </p:nvSpPr>
          <p:spPr>
            <a:xfrm>
              <a:off x="10515246" y="2847573"/>
              <a:ext cx="57699" cy="42686"/>
            </a:xfrm>
            <a:custGeom>
              <a:avLst/>
              <a:gdLst>
                <a:gd name="connsiteX0" fmla="*/ 57545 w 57699"/>
                <a:gd name="connsiteY0" fmla="*/ 10832 h 42686"/>
                <a:gd name="connsiteX1" fmla="*/ 57688 w 57699"/>
                <a:gd name="connsiteY1" fmla="*/ 14462 h 42686"/>
                <a:gd name="connsiteX2" fmla="*/ 28225 w 57699"/>
                <a:gd name="connsiteY2" fmla="*/ 42680 h 42686"/>
                <a:gd name="connsiteX3" fmla="*/ 7 w 57699"/>
                <a:gd name="connsiteY3" fmla="*/ 13216 h 42686"/>
                <a:gd name="connsiteX4" fmla="*/ 3530 w 57699"/>
                <a:gd name="connsiteY4" fmla="*/ 0 h 426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699" h="42686">
                  <a:moveTo>
                    <a:pt x="57545" y="10832"/>
                  </a:moveTo>
                  <a:cubicBezTo>
                    <a:pt x="57676" y="12018"/>
                    <a:pt x="57724" y="13240"/>
                    <a:pt x="57688" y="14462"/>
                  </a:cubicBezTo>
                  <a:cubicBezTo>
                    <a:pt x="57341" y="30386"/>
                    <a:pt x="44149" y="43027"/>
                    <a:pt x="28225" y="42680"/>
                  </a:cubicBezTo>
                  <a:cubicBezTo>
                    <a:pt x="12301" y="42332"/>
                    <a:pt x="-340" y="29152"/>
                    <a:pt x="7" y="13216"/>
                  </a:cubicBezTo>
                  <a:cubicBezTo>
                    <a:pt x="115" y="8423"/>
                    <a:pt x="1373" y="3930"/>
                    <a:pt x="3530" y="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362" name="Forma livre: Forma 1361">
              <a:extLst>
                <a:ext uri="{FF2B5EF4-FFF2-40B4-BE49-F238E27FC236}">
                  <a16:creationId xmlns:a16="http://schemas.microsoft.com/office/drawing/2014/main" id="{E1B573A4-FDC6-6C49-2169-90B805663E4C}"/>
                </a:ext>
              </a:extLst>
            </p:cNvPr>
            <p:cNvSpPr/>
            <p:nvPr/>
          </p:nvSpPr>
          <p:spPr>
            <a:xfrm>
              <a:off x="10476323" y="2570145"/>
              <a:ext cx="78578" cy="38087"/>
            </a:xfrm>
            <a:custGeom>
              <a:avLst/>
              <a:gdLst>
                <a:gd name="connsiteX0" fmla="*/ 78578 w 78578"/>
                <a:gd name="connsiteY0" fmla="*/ 320 h 38087"/>
                <a:gd name="connsiteX1" fmla="*/ 0 w 78578"/>
                <a:gd name="connsiteY1" fmla="*/ 38087 h 380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8578" h="38087">
                  <a:moveTo>
                    <a:pt x="78578" y="320"/>
                  </a:moveTo>
                  <a:cubicBezTo>
                    <a:pt x="78578" y="320"/>
                    <a:pt x="32208" y="-6054"/>
                    <a:pt x="0" y="38087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363" name="Forma livre: Forma 1362">
              <a:extLst>
                <a:ext uri="{FF2B5EF4-FFF2-40B4-BE49-F238E27FC236}">
                  <a16:creationId xmlns:a16="http://schemas.microsoft.com/office/drawing/2014/main" id="{3E24BDCA-1508-4C28-638C-9797A73F9BF8}"/>
                </a:ext>
              </a:extLst>
            </p:cNvPr>
            <p:cNvSpPr/>
            <p:nvPr/>
          </p:nvSpPr>
          <p:spPr>
            <a:xfrm>
              <a:off x="10714154" y="2833986"/>
              <a:ext cx="58112" cy="56615"/>
            </a:xfrm>
            <a:custGeom>
              <a:avLst/>
              <a:gdLst>
                <a:gd name="connsiteX0" fmla="*/ 38295 w 58112"/>
                <a:gd name="connsiteY0" fmla="*/ 0 h 56615"/>
                <a:gd name="connsiteX1" fmla="*/ 58113 w 58112"/>
                <a:gd name="connsiteY1" fmla="*/ 27559 h 56615"/>
                <a:gd name="connsiteX2" fmla="*/ 29056 w 58112"/>
                <a:gd name="connsiteY2" fmla="*/ 56615 h 56615"/>
                <a:gd name="connsiteX3" fmla="*/ 0 w 58112"/>
                <a:gd name="connsiteY3" fmla="*/ 27559 h 56615"/>
                <a:gd name="connsiteX4" fmla="*/ 9478 w 58112"/>
                <a:gd name="connsiteY4" fmla="*/ 6075 h 566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8112" h="56615">
                  <a:moveTo>
                    <a:pt x="38295" y="0"/>
                  </a:moveTo>
                  <a:cubicBezTo>
                    <a:pt x="49821" y="3858"/>
                    <a:pt x="58113" y="14738"/>
                    <a:pt x="58113" y="27559"/>
                  </a:cubicBezTo>
                  <a:cubicBezTo>
                    <a:pt x="58113" y="43603"/>
                    <a:pt x="45100" y="56615"/>
                    <a:pt x="29056" y="56615"/>
                  </a:cubicBezTo>
                  <a:cubicBezTo>
                    <a:pt x="13013" y="56615"/>
                    <a:pt x="0" y="43603"/>
                    <a:pt x="0" y="27559"/>
                  </a:cubicBezTo>
                  <a:cubicBezTo>
                    <a:pt x="0" y="19051"/>
                    <a:pt x="3655" y="11395"/>
                    <a:pt x="9478" y="6075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364" name="Gráfico 11">
            <a:extLst>
              <a:ext uri="{FF2B5EF4-FFF2-40B4-BE49-F238E27FC236}">
                <a16:creationId xmlns:a16="http://schemas.microsoft.com/office/drawing/2014/main" id="{D3367074-5F7F-2E88-CABC-3F57EBDD3D58}"/>
              </a:ext>
            </a:extLst>
          </p:cNvPr>
          <p:cNvGrpSpPr/>
          <p:nvPr/>
        </p:nvGrpSpPr>
        <p:grpSpPr>
          <a:xfrm>
            <a:off x="9897891" y="2545950"/>
            <a:ext cx="228029" cy="368866"/>
            <a:chOff x="9897891" y="2545950"/>
            <a:chExt cx="228029" cy="368866"/>
          </a:xfrm>
          <a:noFill/>
        </p:grpSpPr>
        <p:grpSp>
          <p:nvGrpSpPr>
            <p:cNvPr id="1365" name="Gráfico 11">
              <a:extLst>
                <a:ext uri="{FF2B5EF4-FFF2-40B4-BE49-F238E27FC236}">
                  <a16:creationId xmlns:a16="http://schemas.microsoft.com/office/drawing/2014/main" id="{306CDC3E-2D5E-5308-7E11-AE8B31488B3C}"/>
                </a:ext>
              </a:extLst>
            </p:cNvPr>
            <p:cNvGrpSpPr/>
            <p:nvPr/>
          </p:nvGrpSpPr>
          <p:grpSpPr>
            <a:xfrm>
              <a:off x="9950385" y="2586234"/>
              <a:ext cx="83526" cy="42068"/>
              <a:chOff x="9950385" y="2586234"/>
              <a:chExt cx="83526" cy="42068"/>
            </a:xfrm>
          </p:grpSpPr>
          <p:sp>
            <p:nvSpPr>
              <p:cNvPr id="1366" name="Forma livre: Forma 1365">
                <a:extLst>
                  <a:ext uri="{FF2B5EF4-FFF2-40B4-BE49-F238E27FC236}">
                    <a16:creationId xmlns:a16="http://schemas.microsoft.com/office/drawing/2014/main" id="{CE82B9AC-5BC8-4799-4AF8-E042B296C204}"/>
                  </a:ext>
                </a:extLst>
              </p:cNvPr>
              <p:cNvSpPr/>
              <p:nvPr/>
            </p:nvSpPr>
            <p:spPr>
              <a:xfrm>
                <a:off x="9950385" y="2586234"/>
                <a:ext cx="1198" cy="42068"/>
              </a:xfrm>
              <a:custGeom>
                <a:avLst/>
                <a:gdLst>
                  <a:gd name="connsiteX0" fmla="*/ 0 w 1198"/>
                  <a:gd name="connsiteY0" fmla="*/ 42069 h 42068"/>
                  <a:gd name="connsiteX1" fmla="*/ 0 w 1198"/>
                  <a:gd name="connsiteY1" fmla="*/ 0 h 420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8" h="42068">
                    <a:moveTo>
                      <a:pt x="0" y="42069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367" name="Forma livre: Forma 1366">
                <a:extLst>
                  <a:ext uri="{FF2B5EF4-FFF2-40B4-BE49-F238E27FC236}">
                    <a16:creationId xmlns:a16="http://schemas.microsoft.com/office/drawing/2014/main" id="{37E37186-7051-0975-6F58-AB484955A877}"/>
                  </a:ext>
                </a:extLst>
              </p:cNvPr>
              <p:cNvSpPr/>
              <p:nvPr/>
            </p:nvSpPr>
            <p:spPr>
              <a:xfrm>
                <a:off x="10033911" y="2586234"/>
                <a:ext cx="1198" cy="42068"/>
              </a:xfrm>
              <a:custGeom>
                <a:avLst/>
                <a:gdLst>
                  <a:gd name="connsiteX0" fmla="*/ 0 w 1198"/>
                  <a:gd name="connsiteY0" fmla="*/ 42069 h 42068"/>
                  <a:gd name="connsiteX1" fmla="*/ 0 w 1198"/>
                  <a:gd name="connsiteY1" fmla="*/ 0 h 420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8" h="42068">
                    <a:moveTo>
                      <a:pt x="0" y="42069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368" name="Forma livre: Forma 1367">
              <a:extLst>
                <a:ext uri="{FF2B5EF4-FFF2-40B4-BE49-F238E27FC236}">
                  <a16:creationId xmlns:a16="http://schemas.microsoft.com/office/drawing/2014/main" id="{480D8BE8-AC22-FB73-4C37-1F6D7CD48E85}"/>
                </a:ext>
              </a:extLst>
            </p:cNvPr>
            <p:cNvSpPr/>
            <p:nvPr/>
          </p:nvSpPr>
          <p:spPr>
            <a:xfrm>
              <a:off x="9950157" y="2545950"/>
              <a:ext cx="83981" cy="25581"/>
            </a:xfrm>
            <a:custGeom>
              <a:avLst/>
              <a:gdLst>
                <a:gd name="connsiteX0" fmla="*/ 83982 w 83981"/>
                <a:gd name="connsiteY0" fmla="*/ 25582 h 25581"/>
                <a:gd name="connsiteX1" fmla="*/ 83982 w 83981"/>
                <a:gd name="connsiteY1" fmla="*/ 6794 h 25581"/>
                <a:gd name="connsiteX2" fmla="*/ 41997 w 83981"/>
                <a:gd name="connsiteY2" fmla="*/ 0 h 25581"/>
                <a:gd name="connsiteX3" fmla="*/ 0 w 83981"/>
                <a:gd name="connsiteY3" fmla="*/ 6794 h 25581"/>
                <a:gd name="connsiteX4" fmla="*/ 0 w 83981"/>
                <a:gd name="connsiteY4" fmla="*/ 25582 h 255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3981" h="25581">
                  <a:moveTo>
                    <a:pt x="83982" y="25582"/>
                  </a:moveTo>
                  <a:lnTo>
                    <a:pt x="83982" y="6794"/>
                  </a:lnTo>
                  <a:cubicBezTo>
                    <a:pt x="83982" y="6794"/>
                    <a:pt x="73342" y="0"/>
                    <a:pt x="41997" y="0"/>
                  </a:cubicBezTo>
                  <a:cubicBezTo>
                    <a:pt x="10652" y="0"/>
                    <a:pt x="0" y="6794"/>
                    <a:pt x="0" y="6794"/>
                  </a:cubicBezTo>
                  <a:lnTo>
                    <a:pt x="0" y="25582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369" name="Gráfico 11">
              <a:extLst>
                <a:ext uri="{FF2B5EF4-FFF2-40B4-BE49-F238E27FC236}">
                  <a16:creationId xmlns:a16="http://schemas.microsoft.com/office/drawing/2014/main" id="{1EDE750B-48DA-369F-2D2E-970DEA1F918E}"/>
                </a:ext>
              </a:extLst>
            </p:cNvPr>
            <p:cNvGrpSpPr/>
            <p:nvPr/>
          </p:nvGrpSpPr>
          <p:grpSpPr>
            <a:xfrm>
              <a:off x="9931273" y="2671138"/>
              <a:ext cx="121761" cy="153489"/>
              <a:chOff x="9931273" y="2671138"/>
              <a:chExt cx="121761" cy="153489"/>
            </a:xfrm>
          </p:grpSpPr>
          <p:sp>
            <p:nvSpPr>
              <p:cNvPr id="1370" name="Forma livre: Forma 1369">
                <a:extLst>
                  <a:ext uri="{FF2B5EF4-FFF2-40B4-BE49-F238E27FC236}">
                    <a16:creationId xmlns:a16="http://schemas.microsoft.com/office/drawing/2014/main" id="{C93BC61A-653B-7CBD-5F67-4036C16DA642}"/>
                  </a:ext>
                </a:extLst>
              </p:cNvPr>
              <p:cNvSpPr/>
              <p:nvPr/>
            </p:nvSpPr>
            <p:spPr>
              <a:xfrm>
                <a:off x="10053035" y="2671138"/>
                <a:ext cx="1198" cy="82400"/>
              </a:xfrm>
              <a:custGeom>
                <a:avLst/>
                <a:gdLst>
                  <a:gd name="connsiteX0" fmla="*/ 0 w 1198"/>
                  <a:gd name="connsiteY0" fmla="*/ 82400 h 82400"/>
                  <a:gd name="connsiteX1" fmla="*/ 0 w 1198"/>
                  <a:gd name="connsiteY1" fmla="*/ 0 h 82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8" h="82400">
                    <a:moveTo>
                      <a:pt x="0" y="82400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371" name="Forma livre: Forma 1370">
                <a:extLst>
                  <a:ext uri="{FF2B5EF4-FFF2-40B4-BE49-F238E27FC236}">
                    <a16:creationId xmlns:a16="http://schemas.microsoft.com/office/drawing/2014/main" id="{1069E378-3D3C-F613-08B0-F2C2587B3C38}"/>
                  </a:ext>
                </a:extLst>
              </p:cNvPr>
              <p:cNvSpPr/>
              <p:nvPr/>
            </p:nvSpPr>
            <p:spPr>
              <a:xfrm>
                <a:off x="9931273" y="2671138"/>
                <a:ext cx="1198" cy="153489"/>
              </a:xfrm>
              <a:custGeom>
                <a:avLst/>
                <a:gdLst>
                  <a:gd name="connsiteX0" fmla="*/ 0 w 1198"/>
                  <a:gd name="connsiteY0" fmla="*/ 153490 h 153489"/>
                  <a:gd name="connsiteX1" fmla="*/ 0 w 1198"/>
                  <a:gd name="connsiteY1" fmla="*/ 0 h 1534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8" h="153489">
                    <a:moveTo>
                      <a:pt x="0" y="153490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372" name="Forma livre: Forma 1371">
              <a:extLst>
                <a:ext uri="{FF2B5EF4-FFF2-40B4-BE49-F238E27FC236}">
                  <a16:creationId xmlns:a16="http://schemas.microsoft.com/office/drawing/2014/main" id="{2DD2D414-68BD-DD9A-5244-9EC28B314542}"/>
                </a:ext>
              </a:extLst>
            </p:cNvPr>
            <p:cNvSpPr/>
            <p:nvPr/>
          </p:nvSpPr>
          <p:spPr>
            <a:xfrm>
              <a:off x="9981766" y="2690753"/>
              <a:ext cx="20764" cy="1198"/>
            </a:xfrm>
            <a:custGeom>
              <a:avLst/>
              <a:gdLst>
                <a:gd name="connsiteX0" fmla="*/ 0 w 20764"/>
                <a:gd name="connsiteY0" fmla="*/ 0 h 1198"/>
                <a:gd name="connsiteX1" fmla="*/ 20765 w 20764"/>
                <a:gd name="connsiteY1" fmla="*/ 0 h 11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0764" h="1198">
                  <a:moveTo>
                    <a:pt x="0" y="0"/>
                  </a:moveTo>
                  <a:lnTo>
                    <a:pt x="20765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373" name="Forma livre: Forma 1372">
              <a:extLst>
                <a:ext uri="{FF2B5EF4-FFF2-40B4-BE49-F238E27FC236}">
                  <a16:creationId xmlns:a16="http://schemas.microsoft.com/office/drawing/2014/main" id="{079870B0-5747-7FD6-EAAB-F0525D453362}"/>
                </a:ext>
              </a:extLst>
            </p:cNvPr>
            <p:cNvSpPr/>
            <p:nvPr/>
          </p:nvSpPr>
          <p:spPr>
            <a:xfrm>
              <a:off x="9925402" y="2883400"/>
              <a:ext cx="27462" cy="18272"/>
            </a:xfrm>
            <a:custGeom>
              <a:avLst/>
              <a:gdLst>
                <a:gd name="connsiteX0" fmla="*/ 0 w 27462"/>
                <a:gd name="connsiteY0" fmla="*/ 0 h 18272"/>
                <a:gd name="connsiteX1" fmla="*/ 0 w 27462"/>
                <a:gd name="connsiteY1" fmla="*/ 4541 h 18272"/>
                <a:gd name="connsiteX2" fmla="*/ 13731 w 27462"/>
                <a:gd name="connsiteY2" fmla="*/ 18273 h 18272"/>
                <a:gd name="connsiteX3" fmla="*/ 27463 w 27462"/>
                <a:gd name="connsiteY3" fmla="*/ 4541 h 18272"/>
                <a:gd name="connsiteX4" fmla="*/ 27463 w 27462"/>
                <a:gd name="connsiteY4" fmla="*/ 0 h 182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7462" h="18272">
                  <a:moveTo>
                    <a:pt x="0" y="0"/>
                  </a:moveTo>
                  <a:lnTo>
                    <a:pt x="0" y="4541"/>
                  </a:lnTo>
                  <a:cubicBezTo>
                    <a:pt x="0" y="12126"/>
                    <a:pt x="6147" y="18273"/>
                    <a:pt x="13731" y="18273"/>
                  </a:cubicBezTo>
                  <a:cubicBezTo>
                    <a:pt x="21316" y="18273"/>
                    <a:pt x="27463" y="12126"/>
                    <a:pt x="27463" y="4541"/>
                  </a:cubicBezTo>
                  <a:lnTo>
                    <a:pt x="27463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374" name="Forma livre: Forma 1373">
              <a:extLst>
                <a:ext uri="{FF2B5EF4-FFF2-40B4-BE49-F238E27FC236}">
                  <a16:creationId xmlns:a16="http://schemas.microsoft.com/office/drawing/2014/main" id="{796B7B78-BD88-521B-EF0F-119D29599EF7}"/>
                </a:ext>
              </a:extLst>
            </p:cNvPr>
            <p:cNvSpPr/>
            <p:nvPr/>
          </p:nvSpPr>
          <p:spPr>
            <a:xfrm>
              <a:off x="9897891" y="2630591"/>
              <a:ext cx="188513" cy="235254"/>
            </a:xfrm>
            <a:custGeom>
              <a:avLst/>
              <a:gdLst>
                <a:gd name="connsiteX0" fmla="*/ 74684 w 188513"/>
                <a:gd name="connsiteY0" fmla="*/ 235255 h 235254"/>
                <a:gd name="connsiteX1" fmla="*/ 23964 w 188513"/>
                <a:gd name="connsiteY1" fmla="*/ 235255 h 235254"/>
                <a:gd name="connsiteX2" fmla="*/ 0 w 188513"/>
                <a:gd name="connsiteY2" fmla="*/ 211291 h 235254"/>
                <a:gd name="connsiteX3" fmla="*/ 0 w 188513"/>
                <a:gd name="connsiteY3" fmla="*/ 23964 h 235254"/>
                <a:gd name="connsiteX4" fmla="*/ 23964 w 188513"/>
                <a:gd name="connsiteY4" fmla="*/ 0 h 235254"/>
                <a:gd name="connsiteX5" fmla="*/ 164549 w 188513"/>
                <a:gd name="connsiteY5" fmla="*/ 0 h 235254"/>
                <a:gd name="connsiteX6" fmla="*/ 188513 w 188513"/>
                <a:gd name="connsiteY6" fmla="*/ 23964 h 235254"/>
                <a:gd name="connsiteX7" fmla="*/ 188513 w 188513"/>
                <a:gd name="connsiteY7" fmla="*/ 134199 h 2352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88513" h="235254">
                  <a:moveTo>
                    <a:pt x="74684" y="235255"/>
                  </a:moveTo>
                  <a:lnTo>
                    <a:pt x="23964" y="235255"/>
                  </a:lnTo>
                  <a:cubicBezTo>
                    <a:pt x="10784" y="235255"/>
                    <a:pt x="0" y="224471"/>
                    <a:pt x="0" y="211291"/>
                  </a:cubicBezTo>
                  <a:lnTo>
                    <a:pt x="0" y="23964"/>
                  </a:lnTo>
                  <a:cubicBezTo>
                    <a:pt x="0" y="10784"/>
                    <a:pt x="10784" y="0"/>
                    <a:pt x="23964" y="0"/>
                  </a:cubicBezTo>
                  <a:lnTo>
                    <a:pt x="164549" y="0"/>
                  </a:lnTo>
                  <a:cubicBezTo>
                    <a:pt x="177729" y="0"/>
                    <a:pt x="188513" y="10784"/>
                    <a:pt x="188513" y="23964"/>
                  </a:cubicBezTo>
                  <a:lnTo>
                    <a:pt x="188513" y="134199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375" name="Gráfico 11">
              <a:extLst>
                <a:ext uri="{FF2B5EF4-FFF2-40B4-BE49-F238E27FC236}">
                  <a16:creationId xmlns:a16="http://schemas.microsoft.com/office/drawing/2014/main" id="{7647D15A-9770-5385-F997-D00F873C4845}"/>
                </a:ext>
              </a:extLst>
            </p:cNvPr>
            <p:cNvGrpSpPr/>
            <p:nvPr/>
          </p:nvGrpSpPr>
          <p:grpSpPr>
            <a:xfrm>
              <a:off x="9989638" y="2778809"/>
              <a:ext cx="136283" cy="136007"/>
              <a:chOff x="9989638" y="2778809"/>
              <a:chExt cx="136283" cy="136007"/>
            </a:xfrm>
            <a:noFill/>
          </p:grpSpPr>
          <p:sp>
            <p:nvSpPr>
              <p:cNvPr id="1376" name="Forma livre: Forma 1375">
                <a:extLst>
                  <a:ext uri="{FF2B5EF4-FFF2-40B4-BE49-F238E27FC236}">
                    <a16:creationId xmlns:a16="http://schemas.microsoft.com/office/drawing/2014/main" id="{59581C13-93AE-A60D-42A3-0CF57A843BA8}"/>
                  </a:ext>
                </a:extLst>
              </p:cNvPr>
              <p:cNvSpPr/>
              <p:nvPr/>
            </p:nvSpPr>
            <p:spPr>
              <a:xfrm>
                <a:off x="9989638" y="2778809"/>
                <a:ext cx="117387" cy="117399"/>
              </a:xfrm>
              <a:custGeom>
                <a:avLst/>
                <a:gdLst>
                  <a:gd name="connsiteX0" fmla="*/ 117388 w 117387"/>
                  <a:gd name="connsiteY0" fmla="*/ 58700 h 117399"/>
                  <a:gd name="connsiteX1" fmla="*/ 58700 w 117387"/>
                  <a:gd name="connsiteY1" fmla="*/ 117400 h 117399"/>
                  <a:gd name="connsiteX2" fmla="*/ 0 w 117387"/>
                  <a:gd name="connsiteY2" fmla="*/ 58700 h 117399"/>
                  <a:gd name="connsiteX3" fmla="*/ 58700 w 117387"/>
                  <a:gd name="connsiteY3" fmla="*/ 0 h 117399"/>
                  <a:gd name="connsiteX4" fmla="*/ 117388 w 117387"/>
                  <a:gd name="connsiteY4" fmla="*/ 58700 h 1173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17387" h="117399">
                    <a:moveTo>
                      <a:pt x="117388" y="58700"/>
                    </a:moveTo>
                    <a:cubicBezTo>
                      <a:pt x="117388" y="91123"/>
                      <a:pt x="91111" y="117400"/>
                      <a:pt x="58700" y="117400"/>
                    </a:cubicBezTo>
                    <a:cubicBezTo>
                      <a:pt x="26289" y="117400"/>
                      <a:pt x="0" y="91123"/>
                      <a:pt x="0" y="58700"/>
                    </a:cubicBezTo>
                    <a:cubicBezTo>
                      <a:pt x="0" y="26277"/>
                      <a:pt x="26289" y="0"/>
                      <a:pt x="58700" y="0"/>
                    </a:cubicBezTo>
                    <a:cubicBezTo>
                      <a:pt x="91111" y="0"/>
                      <a:pt x="117388" y="26277"/>
                      <a:pt x="117388" y="58700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377" name="Forma livre: Forma 1376">
                <a:extLst>
                  <a:ext uri="{FF2B5EF4-FFF2-40B4-BE49-F238E27FC236}">
                    <a16:creationId xmlns:a16="http://schemas.microsoft.com/office/drawing/2014/main" id="{006E9EFE-8512-C016-F4D6-CA63FCFB36A3}"/>
                  </a:ext>
                </a:extLst>
              </p:cNvPr>
              <p:cNvSpPr/>
              <p:nvPr/>
            </p:nvSpPr>
            <p:spPr>
              <a:xfrm>
                <a:off x="10089436" y="2878319"/>
                <a:ext cx="36485" cy="36497"/>
              </a:xfrm>
              <a:custGeom>
                <a:avLst/>
                <a:gdLst>
                  <a:gd name="connsiteX0" fmla="*/ 0 w 36485"/>
                  <a:gd name="connsiteY0" fmla="*/ 0 h 36497"/>
                  <a:gd name="connsiteX1" fmla="*/ 36485 w 36485"/>
                  <a:gd name="connsiteY1" fmla="*/ 36497 h 364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6485" h="36497">
                    <a:moveTo>
                      <a:pt x="0" y="0"/>
                    </a:moveTo>
                    <a:lnTo>
                      <a:pt x="36485" y="36497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378" name="Forma livre: Forma 1377">
              <a:extLst>
                <a:ext uri="{FF2B5EF4-FFF2-40B4-BE49-F238E27FC236}">
                  <a16:creationId xmlns:a16="http://schemas.microsoft.com/office/drawing/2014/main" id="{8CA9BBAD-F17D-A24E-C17C-CEADC41C595D}"/>
                </a:ext>
              </a:extLst>
            </p:cNvPr>
            <p:cNvSpPr/>
            <p:nvPr/>
          </p:nvSpPr>
          <p:spPr>
            <a:xfrm>
              <a:off x="10021198" y="2816995"/>
              <a:ext cx="53895" cy="41757"/>
            </a:xfrm>
            <a:custGeom>
              <a:avLst/>
              <a:gdLst>
                <a:gd name="connsiteX0" fmla="*/ 0 w 53895"/>
                <a:gd name="connsiteY0" fmla="*/ 15517 h 41757"/>
                <a:gd name="connsiteX1" fmla="*/ 18956 w 53895"/>
                <a:gd name="connsiteY1" fmla="*/ 41757 h 41757"/>
                <a:gd name="connsiteX2" fmla="*/ 53895 w 53895"/>
                <a:gd name="connsiteY2" fmla="*/ 0 h 417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53895" h="41757">
                  <a:moveTo>
                    <a:pt x="0" y="15517"/>
                  </a:moveTo>
                  <a:lnTo>
                    <a:pt x="18956" y="41757"/>
                  </a:lnTo>
                  <a:lnTo>
                    <a:pt x="53895" y="0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379" name="Gráfico 11">
            <a:extLst>
              <a:ext uri="{FF2B5EF4-FFF2-40B4-BE49-F238E27FC236}">
                <a16:creationId xmlns:a16="http://schemas.microsoft.com/office/drawing/2014/main" id="{1F32EE06-10CF-7601-29DA-00B3778884B3}"/>
              </a:ext>
            </a:extLst>
          </p:cNvPr>
          <p:cNvGrpSpPr/>
          <p:nvPr/>
        </p:nvGrpSpPr>
        <p:grpSpPr>
          <a:xfrm>
            <a:off x="11104468" y="2573617"/>
            <a:ext cx="311604" cy="313521"/>
            <a:chOff x="11104468" y="2573617"/>
            <a:chExt cx="311604" cy="313521"/>
          </a:xfrm>
          <a:noFill/>
        </p:grpSpPr>
        <p:grpSp>
          <p:nvGrpSpPr>
            <p:cNvPr id="1380" name="Gráfico 11">
              <a:extLst>
                <a:ext uri="{FF2B5EF4-FFF2-40B4-BE49-F238E27FC236}">
                  <a16:creationId xmlns:a16="http://schemas.microsoft.com/office/drawing/2014/main" id="{CBDC04EA-0CAB-65B3-4889-C99E09FF80FE}"/>
                </a:ext>
              </a:extLst>
            </p:cNvPr>
            <p:cNvGrpSpPr/>
            <p:nvPr/>
          </p:nvGrpSpPr>
          <p:grpSpPr>
            <a:xfrm>
              <a:off x="11104468" y="2573617"/>
              <a:ext cx="212823" cy="310801"/>
              <a:chOff x="11104468" y="2573617"/>
              <a:chExt cx="212823" cy="310801"/>
            </a:xfrm>
            <a:noFill/>
          </p:grpSpPr>
          <p:sp>
            <p:nvSpPr>
              <p:cNvPr id="1381" name="Forma livre: Forma 1380">
                <a:extLst>
                  <a:ext uri="{FF2B5EF4-FFF2-40B4-BE49-F238E27FC236}">
                    <a16:creationId xmlns:a16="http://schemas.microsoft.com/office/drawing/2014/main" id="{D692E5AC-C003-C59A-9C33-66CA441F5277}"/>
                  </a:ext>
                </a:extLst>
              </p:cNvPr>
              <p:cNvSpPr/>
              <p:nvPr/>
            </p:nvSpPr>
            <p:spPr>
              <a:xfrm>
                <a:off x="11169087" y="2633862"/>
                <a:ext cx="128758" cy="14845"/>
              </a:xfrm>
              <a:custGeom>
                <a:avLst/>
                <a:gdLst>
                  <a:gd name="connsiteX0" fmla="*/ 0 w 128758"/>
                  <a:gd name="connsiteY0" fmla="*/ 14846 h 14845"/>
                  <a:gd name="connsiteX1" fmla="*/ 64379 w 128758"/>
                  <a:gd name="connsiteY1" fmla="*/ 0 h 14845"/>
                  <a:gd name="connsiteX2" fmla="*/ 128759 w 128758"/>
                  <a:gd name="connsiteY2" fmla="*/ 14846 h 148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28758" h="14845">
                    <a:moveTo>
                      <a:pt x="0" y="14846"/>
                    </a:moveTo>
                    <a:cubicBezTo>
                      <a:pt x="15145" y="6362"/>
                      <a:pt x="36761" y="0"/>
                      <a:pt x="64379" y="0"/>
                    </a:cubicBezTo>
                    <a:cubicBezTo>
                      <a:pt x="91998" y="0"/>
                      <a:pt x="113614" y="6362"/>
                      <a:pt x="128759" y="14846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1382" name="Gráfico 11">
                <a:extLst>
                  <a:ext uri="{FF2B5EF4-FFF2-40B4-BE49-F238E27FC236}">
                    <a16:creationId xmlns:a16="http://schemas.microsoft.com/office/drawing/2014/main" id="{F4FDD61D-BE37-9CB6-6F19-7CBD0E7612C9}"/>
                  </a:ext>
                </a:extLst>
              </p:cNvPr>
              <p:cNvGrpSpPr/>
              <p:nvPr/>
            </p:nvGrpSpPr>
            <p:grpSpPr>
              <a:xfrm>
                <a:off x="11170142" y="2649463"/>
                <a:ext cx="126649" cy="42643"/>
                <a:chOff x="11170142" y="2649463"/>
                <a:chExt cx="126649" cy="42643"/>
              </a:xfrm>
              <a:noFill/>
            </p:grpSpPr>
            <p:sp>
              <p:nvSpPr>
                <p:cNvPr id="1383" name="Forma livre: Forma 1382">
                  <a:extLst>
                    <a:ext uri="{FF2B5EF4-FFF2-40B4-BE49-F238E27FC236}">
                      <a16:creationId xmlns:a16="http://schemas.microsoft.com/office/drawing/2014/main" id="{D3DC73DA-F278-DB32-1821-6B536FDEC5D2}"/>
                    </a:ext>
                  </a:extLst>
                </p:cNvPr>
                <p:cNvSpPr/>
                <p:nvPr/>
              </p:nvSpPr>
              <p:spPr>
                <a:xfrm>
                  <a:off x="11170142" y="2649463"/>
                  <a:ext cx="126649" cy="42631"/>
                </a:xfrm>
                <a:custGeom>
                  <a:avLst/>
                  <a:gdLst>
                    <a:gd name="connsiteX0" fmla="*/ 0 w 126649"/>
                    <a:gd name="connsiteY0" fmla="*/ 0 h 42631"/>
                    <a:gd name="connsiteX1" fmla="*/ 1845 w 126649"/>
                    <a:gd name="connsiteY1" fmla="*/ 24647 h 42631"/>
                    <a:gd name="connsiteX2" fmla="*/ 63325 w 126649"/>
                    <a:gd name="connsiteY2" fmla="*/ 42632 h 42631"/>
                    <a:gd name="connsiteX3" fmla="*/ 124805 w 126649"/>
                    <a:gd name="connsiteY3" fmla="*/ 24647 h 42631"/>
                    <a:gd name="connsiteX4" fmla="*/ 126650 w 126649"/>
                    <a:gd name="connsiteY4" fmla="*/ 0 h 4263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26649" h="42631">
                      <a:moveTo>
                        <a:pt x="0" y="0"/>
                      </a:moveTo>
                      <a:lnTo>
                        <a:pt x="1845" y="24647"/>
                      </a:lnTo>
                      <a:cubicBezTo>
                        <a:pt x="7405" y="37612"/>
                        <a:pt x="36330" y="42632"/>
                        <a:pt x="63325" y="42632"/>
                      </a:cubicBezTo>
                      <a:cubicBezTo>
                        <a:pt x="90320" y="42632"/>
                        <a:pt x="119245" y="37600"/>
                        <a:pt x="124805" y="24647"/>
                      </a:cubicBezTo>
                      <a:lnTo>
                        <a:pt x="126650" y="0"/>
                      </a:ln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384" name="Forma livre: Forma 1383">
                  <a:extLst>
                    <a:ext uri="{FF2B5EF4-FFF2-40B4-BE49-F238E27FC236}">
                      <a16:creationId xmlns:a16="http://schemas.microsoft.com/office/drawing/2014/main" id="{85A2D424-4F8D-AA60-D4AE-4D9EB16CDB7F}"/>
                    </a:ext>
                  </a:extLst>
                </p:cNvPr>
                <p:cNvSpPr/>
                <p:nvPr/>
              </p:nvSpPr>
              <p:spPr>
                <a:xfrm>
                  <a:off x="11233455" y="2692107"/>
                  <a:ext cx="11" cy="1198"/>
                </a:xfrm>
                <a:custGeom>
                  <a:avLst/>
                  <a:gdLst>
                    <a:gd name="connsiteX0" fmla="*/ 12 w 11"/>
                    <a:gd name="connsiteY0" fmla="*/ 0 h 1198"/>
                    <a:gd name="connsiteX1" fmla="*/ 12 w 11"/>
                    <a:gd name="connsiteY1" fmla="*/ 0 h 1198"/>
                    <a:gd name="connsiteX2" fmla="*/ 0 w 11"/>
                    <a:gd name="connsiteY2" fmla="*/ 0 h 1198"/>
                    <a:gd name="connsiteX3" fmla="*/ 12 w 11"/>
                    <a:gd name="connsiteY3" fmla="*/ 0 h 11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1" h="1198">
                      <a:moveTo>
                        <a:pt x="12" y="0"/>
                      </a:moveTo>
                      <a:lnTo>
                        <a:pt x="12" y="0"/>
                      </a:lnTo>
                      <a:lnTo>
                        <a:pt x="0" y="0"/>
                      </a:lnTo>
                      <a:lnTo>
                        <a:pt x="12" y="0"/>
                      </a:lnTo>
                      <a:close/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1385" name="Forma livre: Forma 1384">
                <a:extLst>
                  <a:ext uri="{FF2B5EF4-FFF2-40B4-BE49-F238E27FC236}">
                    <a16:creationId xmlns:a16="http://schemas.microsoft.com/office/drawing/2014/main" id="{0C09D2BE-D8BF-F9F5-252D-8167F884E40F}"/>
                  </a:ext>
                </a:extLst>
              </p:cNvPr>
              <p:cNvSpPr/>
              <p:nvPr/>
            </p:nvSpPr>
            <p:spPr>
              <a:xfrm>
                <a:off x="11172981" y="2661109"/>
                <a:ext cx="120982" cy="7189"/>
              </a:xfrm>
              <a:custGeom>
                <a:avLst/>
                <a:gdLst>
                  <a:gd name="connsiteX0" fmla="*/ 0 w 120982"/>
                  <a:gd name="connsiteY0" fmla="*/ 7189 h 7189"/>
                  <a:gd name="connsiteX1" fmla="*/ 60581 w 120982"/>
                  <a:gd name="connsiteY1" fmla="*/ 0 h 7189"/>
                  <a:gd name="connsiteX2" fmla="*/ 120983 w 120982"/>
                  <a:gd name="connsiteY2" fmla="*/ 7129 h 71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20982" h="7189">
                    <a:moveTo>
                      <a:pt x="0" y="7189"/>
                    </a:moveTo>
                    <a:cubicBezTo>
                      <a:pt x="14714" y="2468"/>
                      <a:pt x="36401" y="0"/>
                      <a:pt x="60581" y="0"/>
                    </a:cubicBezTo>
                    <a:cubicBezTo>
                      <a:pt x="84761" y="0"/>
                      <a:pt x="106269" y="2444"/>
                      <a:pt x="120983" y="7129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386" name="Forma livre: Forma 1385">
                <a:extLst>
                  <a:ext uri="{FF2B5EF4-FFF2-40B4-BE49-F238E27FC236}">
                    <a16:creationId xmlns:a16="http://schemas.microsoft.com/office/drawing/2014/main" id="{6AEDC342-88A1-7359-A1F6-70FF85BC2305}"/>
                  </a:ext>
                </a:extLst>
              </p:cNvPr>
              <p:cNvSpPr/>
              <p:nvPr/>
            </p:nvSpPr>
            <p:spPr>
              <a:xfrm>
                <a:off x="11149641" y="2573617"/>
                <a:ext cx="167650" cy="75930"/>
              </a:xfrm>
              <a:custGeom>
                <a:avLst/>
                <a:gdLst>
                  <a:gd name="connsiteX0" fmla="*/ 150074 w 167650"/>
                  <a:gd name="connsiteY0" fmla="*/ 75930 h 75930"/>
                  <a:gd name="connsiteX1" fmla="*/ 167208 w 167650"/>
                  <a:gd name="connsiteY1" fmla="*/ 54650 h 75930"/>
                  <a:gd name="connsiteX2" fmla="*/ 129273 w 167650"/>
                  <a:gd name="connsiteY2" fmla="*/ 19854 h 75930"/>
                  <a:gd name="connsiteX3" fmla="*/ 83825 w 167650"/>
                  <a:gd name="connsiteY3" fmla="*/ 0 h 75930"/>
                  <a:gd name="connsiteX4" fmla="*/ 38377 w 167650"/>
                  <a:gd name="connsiteY4" fmla="*/ 19854 h 75930"/>
                  <a:gd name="connsiteX5" fmla="*/ 442 w 167650"/>
                  <a:gd name="connsiteY5" fmla="*/ 54650 h 75930"/>
                  <a:gd name="connsiteX6" fmla="*/ 17577 w 167650"/>
                  <a:gd name="connsiteY6" fmla="*/ 75930 h 759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7650" h="75930">
                    <a:moveTo>
                      <a:pt x="150074" y="75930"/>
                    </a:moveTo>
                    <a:cubicBezTo>
                      <a:pt x="157790" y="67423"/>
                      <a:pt x="163218" y="62630"/>
                      <a:pt x="167208" y="54650"/>
                    </a:cubicBezTo>
                    <a:cubicBezTo>
                      <a:pt x="171821" y="45424"/>
                      <a:pt x="139038" y="27115"/>
                      <a:pt x="129273" y="19854"/>
                    </a:cubicBezTo>
                    <a:cubicBezTo>
                      <a:pt x="105309" y="2085"/>
                      <a:pt x="102074" y="0"/>
                      <a:pt x="83825" y="0"/>
                    </a:cubicBezTo>
                    <a:cubicBezTo>
                      <a:pt x="65576" y="0"/>
                      <a:pt x="62341" y="2073"/>
                      <a:pt x="38377" y="19854"/>
                    </a:cubicBezTo>
                    <a:cubicBezTo>
                      <a:pt x="28600" y="27103"/>
                      <a:pt x="-4171" y="45424"/>
                      <a:pt x="442" y="54650"/>
                    </a:cubicBezTo>
                    <a:cubicBezTo>
                      <a:pt x="4432" y="62630"/>
                      <a:pt x="9860" y="67423"/>
                      <a:pt x="17577" y="75930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1387" name="Gráfico 11">
                <a:extLst>
                  <a:ext uri="{FF2B5EF4-FFF2-40B4-BE49-F238E27FC236}">
                    <a16:creationId xmlns:a16="http://schemas.microsoft.com/office/drawing/2014/main" id="{4581621A-DDCB-3D98-73A0-6803253AA56F}"/>
                  </a:ext>
                </a:extLst>
              </p:cNvPr>
              <p:cNvGrpSpPr/>
              <p:nvPr/>
            </p:nvGrpSpPr>
            <p:grpSpPr>
              <a:xfrm>
                <a:off x="11104468" y="2682569"/>
                <a:ext cx="192059" cy="201848"/>
                <a:chOff x="11104468" y="2682569"/>
                <a:chExt cx="192059" cy="201848"/>
              </a:xfrm>
              <a:noFill/>
            </p:grpSpPr>
            <p:sp>
              <p:nvSpPr>
                <p:cNvPr id="1388" name="Forma livre: Forma 1387">
                  <a:extLst>
                    <a:ext uri="{FF2B5EF4-FFF2-40B4-BE49-F238E27FC236}">
                      <a16:creationId xmlns:a16="http://schemas.microsoft.com/office/drawing/2014/main" id="{2DD76722-2F36-F3B3-710C-0E8A1D8B05D0}"/>
                    </a:ext>
                  </a:extLst>
                </p:cNvPr>
                <p:cNvSpPr/>
                <p:nvPr/>
              </p:nvSpPr>
              <p:spPr>
                <a:xfrm>
                  <a:off x="11184089" y="2682569"/>
                  <a:ext cx="104782" cy="75306"/>
                </a:xfrm>
                <a:custGeom>
                  <a:avLst/>
                  <a:gdLst>
                    <a:gd name="connsiteX0" fmla="*/ 0 w 104782"/>
                    <a:gd name="connsiteY0" fmla="*/ 27319 h 75306"/>
                    <a:gd name="connsiteX1" fmla="*/ 49366 w 104782"/>
                    <a:gd name="connsiteY1" fmla="*/ 75307 h 75306"/>
                    <a:gd name="connsiteX2" fmla="*/ 104783 w 104782"/>
                    <a:gd name="connsiteY2" fmla="*/ 0 h 7530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04782" h="75306">
                      <a:moveTo>
                        <a:pt x="0" y="27319"/>
                      </a:moveTo>
                      <a:cubicBezTo>
                        <a:pt x="9969" y="55333"/>
                        <a:pt x="29835" y="75307"/>
                        <a:pt x="49366" y="75307"/>
                      </a:cubicBezTo>
                      <a:cubicBezTo>
                        <a:pt x="74828" y="75307"/>
                        <a:pt x="100841" y="41398"/>
                        <a:pt x="104783" y="0"/>
                      </a:cubicBez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grpSp>
              <p:nvGrpSpPr>
                <p:cNvPr id="1389" name="Gráfico 11">
                  <a:extLst>
                    <a:ext uri="{FF2B5EF4-FFF2-40B4-BE49-F238E27FC236}">
                      <a16:creationId xmlns:a16="http://schemas.microsoft.com/office/drawing/2014/main" id="{78869EEB-F271-7CED-FDB1-9F97E214C65E}"/>
                    </a:ext>
                  </a:extLst>
                </p:cNvPr>
                <p:cNvGrpSpPr/>
                <p:nvPr/>
              </p:nvGrpSpPr>
              <p:grpSpPr>
                <a:xfrm>
                  <a:off x="11104468" y="2770613"/>
                  <a:ext cx="192059" cy="113805"/>
                  <a:chOff x="11104468" y="2770613"/>
                  <a:chExt cx="192059" cy="113805"/>
                </a:xfrm>
                <a:noFill/>
              </p:grpSpPr>
              <p:grpSp>
                <p:nvGrpSpPr>
                  <p:cNvPr id="1390" name="Gráfico 11">
                    <a:extLst>
                      <a:ext uri="{FF2B5EF4-FFF2-40B4-BE49-F238E27FC236}">
                        <a16:creationId xmlns:a16="http://schemas.microsoft.com/office/drawing/2014/main" id="{3565DEF2-872B-33A5-E18B-9CE0CD1280BD}"/>
                      </a:ext>
                    </a:extLst>
                  </p:cNvPr>
                  <p:cNvGrpSpPr/>
                  <p:nvPr/>
                </p:nvGrpSpPr>
                <p:grpSpPr>
                  <a:xfrm>
                    <a:off x="11216788" y="2822447"/>
                    <a:ext cx="33333" cy="61970"/>
                    <a:chOff x="11216788" y="2822447"/>
                    <a:chExt cx="33333" cy="61970"/>
                  </a:xfrm>
                </p:grpSpPr>
                <p:sp>
                  <p:nvSpPr>
                    <p:cNvPr id="1391" name="Forma livre: Forma 1390">
                      <a:extLst>
                        <a:ext uri="{FF2B5EF4-FFF2-40B4-BE49-F238E27FC236}">
                          <a16:creationId xmlns:a16="http://schemas.microsoft.com/office/drawing/2014/main" id="{D9C9B467-789B-5155-6775-1121A5822B54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216788" y="2822447"/>
                      <a:ext cx="7812" cy="61970"/>
                    </a:xfrm>
                    <a:custGeom>
                      <a:avLst/>
                      <a:gdLst>
                        <a:gd name="connsiteX0" fmla="*/ 7812 w 7812"/>
                        <a:gd name="connsiteY0" fmla="*/ 0 h 61970"/>
                        <a:gd name="connsiteX1" fmla="*/ 0 w 7812"/>
                        <a:gd name="connsiteY1" fmla="*/ 61971 h 6197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7812" h="61970">
                          <a:moveTo>
                            <a:pt x="7812" y="0"/>
                          </a:moveTo>
                          <a:lnTo>
                            <a:pt x="0" y="61971"/>
                          </a:lnTo>
                        </a:path>
                      </a:pathLst>
                    </a:custGeom>
                    <a:ln w="6350" cap="rnd">
                      <a:solidFill>
                        <a:schemeClr val="accent2"/>
                      </a:solidFill>
                      <a:prstDash val="solid"/>
                      <a:round/>
                    </a:ln>
                  </p:spPr>
                  <p:txBody>
                    <a:bodyPr rtlCol="0" anchor="ctr"/>
                    <a:lstStyle/>
                    <a:p>
                      <a:endParaRPr lang="pt-PT"/>
                    </a:p>
                  </p:txBody>
                </p:sp>
                <p:sp>
                  <p:nvSpPr>
                    <p:cNvPr id="1392" name="Forma livre: Forma 1391">
                      <a:extLst>
                        <a:ext uri="{FF2B5EF4-FFF2-40B4-BE49-F238E27FC236}">
                          <a16:creationId xmlns:a16="http://schemas.microsoft.com/office/drawing/2014/main" id="{48A87301-C02C-E919-FCDD-A2FC5BA9E5A5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242309" y="2822447"/>
                      <a:ext cx="7812" cy="61970"/>
                    </a:xfrm>
                    <a:custGeom>
                      <a:avLst/>
                      <a:gdLst>
                        <a:gd name="connsiteX0" fmla="*/ 0 w 7812"/>
                        <a:gd name="connsiteY0" fmla="*/ 0 h 61970"/>
                        <a:gd name="connsiteX1" fmla="*/ 7812 w 7812"/>
                        <a:gd name="connsiteY1" fmla="*/ 61971 h 6197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7812" h="61970">
                          <a:moveTo>
                            <a:pt x="0" y="0"/>
                          </a:moveTo>
                          <a:lnTo>
                            <a:pt x="7812" y="61971"/>
                          </a:lnTo>
                        </a:path>
                      </a:pathLst>
                    </a:custGeom>
                    <a:ln w="6350" cap="rnd">
                      <a:solidFill>
                        <a:schemeClr val="accent2"/>
                      </a:solidFill>
                      <a:prstDash val="solid"/>
                      <a:round/>
                    </a:ln>
                  </p:spPr>
                  <p:txBody>
                    <a:bodyPr rtlCol="0" anchor="ctr"/>
                    <a:lstStyle/>
                    <a:p>
                      <a:endParaRPr lang="pt-PT"/>
                    </a:p>
                  </p:txBody>
                </p:sp>
              </p:grpSp>
              <p:grpSp>
                <p:nvGrpSpPr>
                  <p:cNvPr id="1393" name="Gráfico 11">
                    <a:extLst>
                      <a:ext uri="{FF2B5EF4-FFF2-40B4-BE49-F238E27FC236}">
                        <a16:creationId xmlns:a16="http://schemas.microsoft.com/office/drawing/2014/main" id="{85DA35A1-0D64-60FF-B407-3870F3BDB46A}"/>
                      </a:ext>
                    </a:extLst>
                  </p:cNvPr>
                  <p:cNvGrpSpPr/>
                  <p:nvPr/>
                </p:nvGrpSpPr>
                <p:grpSpPr>
                  <a:xfrm>
                    <a:off x="11104468" y="2770613"/>
                    <a:ext cx="192059" cy="113805"/>
                    <a:chOff x="11104468" y="2770613"/>
                    <a:chExt cx="192059" cy="113805"/>
                  </a:xfrm>
                  <a:noFill/>
                </p:grpSpPr>
                <p:sp>
                  <p:nvSpPr>
                    <p:cNvPr id="1394" name="Forma livre: Forma 1393">
                      <a:extLst>
                        <a:ext uri="{FF2B5EF4-FFF2-40B4-BE49-F238E27FC236}">
                          <a16:creationId xmlns:a16="http://schemas.microsoft.com/office/drawing/2014/main" id="{B5A79562-1692-F5CD-66E5-059A55CF4E17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104468" y="2770613"/>
                      <a:ext cx="101847" cy="113805"/>
                    </a:xfrm>
                    <a:custGeom>
                      <a:avLst/>
                      <a:gdLst>
                        <a:gd name="connsiteX0" fmla="*/ 0 w 101847"/>
                        <a:gd name="connsiteY0" fmla="*/ 113805 h 113805"/>
                        <a:gd name="connsiteX1" fmla="*/ 4793 w 101847"/>
                        <a:gd name="connsiteY1" fmla="*/ 49869 h 113805"/>
                        <a:gd name="connsiteX2" fmla="*/ 30758 w 101847"/>
                        <a:gd name="connsiteY2" fmla="*/ 10628 h 113805"/>
                        <a:gd name="connsiteX3" fmla="*/ 80363 w 101847"/>
                        <a:gd name="connsiteY3" fmla="*/ 0 h 113805"/>
                        <a:gd name="connsiteX4" fmla="*/ 101847 w 101847"/>
                        <a:gd name="connsiteY4" fmla="*/ 43459 h 113805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101847" h="113805">
                          <a:moveTo>
                            <a:pt x="0" y="113805"/>
                          </a:moveTo>
                          <a:lnTo>
                            <a:pt x="4793" y="49869"/>
                          </a:lnTo>
                          <a:cubicBezTo>
                            <a:pt x="9538" y="14570"/>
                            <a:pt x="30758" y="10628"/>
                            <a:pt x="30758" y="10628"/>
                          </a:cubicBezTo>
                          <a:cubicBezTo>
                            <a:pt x="30758" y="10628"/>
                            <a:pt x="55824" y="4098"/>
                            <a:pt x="80363" y="0"/>
                          </a:cubicBezTo>
                          <a:lnTo>
                            <a:pt x="101847" y="43459"/>
                          </a:lnTo>
                        </a:path>
                      </a:pathLst>
                    </a:custGeom>
                    <a:noFill/>
                    <a:ln w="6350" cap="rnd">
                      <a:solidFill>
                        <a:schemeClr val="accent2"/>
                      </a:solidFill>
                      <a:prstDash val="solid"/>
                      <a:round/>
                    </a:ln>
                  </p:spPr>
                  <p:txBody>
                    <a:bodyPr rtlCol="0" anchor="ctr"/>
                    <a:lstStyle/>
                    <a:p>
                      <a:endParaRPr lang="pt-PT"/>
                    </a:p>
                  </p:txBody>
                </p:sp>
                <p:sp>
                  <p:nvSpPr>
                    <p:cNvPr id="1395" name="Forma livre: Forma 1394">
                      <a:extLst>
                        <a:ext uri="{FF2B5EF4-FFF2-40B4-BE49-F238E27FC236}">
                          <a16:creationId xmlns:a16="http://schemas.microsoft.com/office/drawing/2014/main" id="{32BEAE7D-DDE1-DF6F-50F2-826CAE548573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260606" y="2770613"/>
                      <a:ext cx="35922" cy="43458"/>
                    </a:xfrm>
                    <a:custGeom>
                      <a:avLst/>
                      <a:gdLst>
                        <a:gd name="connsiteX0" fmla="*/ 35922 w 35922"/>
                        <a:gd name="connsiteY0" fmla="*/ 2648 h 43458"/>
                        <a:gd name="connsiteX1" fmla="*/ 21472 w 35922"/>
                        <a:gd name="connsiteY1" fmla="*/ 0 h 43458"/>
                        <a:gd name="connsiteX2" fmla="*/ 0 w 35922"/>
                        <a:gd name="connsiteY2" fmla="*/ 43459 h 43458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</a:cxnLst>
                      <a:rect l="l" t="t" r="r" b="b"/>
                      <a:pathLst>
                        <a:path w="35922" h="43458">
                          <a:moveTo>
                            <a:pt x="35922" y="2648"/>
                          </a:moveTo>
                          <a:cubicBezTo>
                            <a:pt x="31213" y="1713"/>
                            <a:pt x="26336" y="803"/>
                            <a:pt x="21472" y="0"/>
                          </a:cubicBezTo>
                          <a:lnTo>
                            <a:pt x="0" y="43459"/>
                          </a:lnTo>
                        </a:path>
                      </a:pathLst>
                    </a:custGeom>
                    <a:noFill/>
                    <a:ln w="6350" cap="rnd">
                      <a:solidFill>
                        <a:schemeClr val="accent2"/>
                      </a:solidFill>
                      <a:prstDash val="solid"/>
                      <a:round/>
                    </a:ln>
                  </p:spPr>
                  <p:txBody>
                    <a:bodyPr rtlCol="0" anchor="ctr"/>
                    <a:lstStyle/>
                    <a:p>
                      <a:endParaRPr lang="pt-PT"/>
                    </a:p>
                  </p:txBody>
                </p:sp>
              </p:grpSp>
              <p:sp>
                <p:nvSpPr>
                  <p:cNvPr id="1396" name="Forma livre: Forma 1395">
                    <a:extLst>
                      <a:ext uri="{FF2B5EF4-FFF2-40B4-BE49-F238E27FC236}">
                        <a16:creationId xmlns:a16="http://schemas.microsoft.com/office/drawing/2014/main" id="{896409D6-75E6-E101-DFF0-03A9C5C7F4A8}"/>
                      </a:ext>
                    </a:extLst>
                  </p:cNvPr>
                  <p:cNvSpPr/>
                  <p:nvPr/>
                </p:nvSpPr>
                <p:spPr>
                  <a:xfrm>
                    <a:off x="11211048" y="2780414"/>
                    <a:ext cx="44812" cy="50767"/>
                  </a:xfrm>
                  <a:custGeom>
                    <a:avLst/>
                    <a:gdLst>
                      <a:gd name="connsiteX0" fmla="*/ 22478 w 44812"/>
                      <a:gd name="connsiteY0" fmla="*/ 50768 h 50767"/>
                      <a:gd name="connsiteX1" fmla="*/ 0 w 44812"/>
                      <a:gd name="connsiteY1" fmla="*/ 25378 h 50767"/>
                      <a:gd name="connsiteX2" fmla="*/ 22334 w 44812"/>
                      <a:gd name="connsiteY2" fmla="*/ 0 h 50767"/>
                      <a:gd name="connsiteX3" fmla="*/ 22478 w 44812"/>
                      <a:gd name="connsiteY3" fmla="*/ 0 h 50767"/>
                      <a:gd name="connsiteX4" fmla="*/ 44813 w 44812"/>
                      <a:gd name="connsiteY4" fmla="*/ 25378 h 50767"/>
                      <a:gd name="connsiteX5" fmla="*/ 22478 w 44812"/>
                      <a:gd name="connsiteY5" fmla="*/ 50768 h 5076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44812" h="50767">
                        <a:moveTo>
                          <a:pt x="22478" y="50768"/>
                        </a:moveTo>
                        <a:lnTo>
                          <a:pt x="0" y="25378"/>
                        </a:lnTo>
                        <a:lnTo>
                          <a:pt x="22334" y="0"/>
                        </a:lnTo>
                        <a:lnTo>
                          <a:pt x="22478" y="0"/>
                        </a:lnTo>
                        <a:lnTo>
                          <a:pt x="44813" y="25378"/>
                        </a:lnTo>
                        <a:lnTo>
                          <a:pt x="22478" y="50768"/>
                        </a:lnTo>
                        <a:close/>
                      </a:path>
                    </a:pathLst>
                  </a:custGeom>
                  <a:noFill/>
                  <a:ln w="6350" cap="rnd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</p:grpSp>
        </p:grpSp>
        <p:sp>
          <p:nvSpPr>
            <p:cNvPr id="1397" name="Forma livre: Forma 1396">
              <a:extLst>
                <a:ext uri="{FF2B5EF4-FFF2-40B4-BE49-F238E27FC236}">
                  <a16:creationId xmlns:a16="http://schemas.microsoft.com/office/drawing/2014/main" id="{4142D29A-7E50-EBC7-2E47-FAC1F3D56A61}"/>
                </a:ext>
              </a:extLst>
            </p:cNvPr>
            <p:cNvSpPr/>
            <p:nvPr/>
          </p:nvSpPr>
          <p:spPr>
            <a:xfrm>
              <a:off x="11317377" y="2726020"/>
              <a:ext cx="98695" cy="161117"/>
            </a:xfrm>
            <a:custGeom>
              <a:avLst/>
              <a:gdLst>
                <a:gd name="connsiteX0" fmla="*/ 75858 w 98695"/>
                <a:gd name="connsiteY0" fmla="*/ 27507 h 161117"/>
                <a:gd name="connsiteX1" fmla="*/ 75858 w 98695"/>
                <a:gd name="connsiteY1" fmla="*/ 6646 h 161117"/>
                <a:gd name="connsiteX2" fmla="*/ 68046 w 98695"/>
                <a:gd name="connsiteY2" fmla="*/ 295 h 161117"/>
                <a:gd name="connsiteX3" fmla="*/ 0 w 98695"/>
                <a:gd name="connsiteY3" fmla="*/ 30754 h 161117"/>
                <a:gd name="connsiteX4" fmla="*/ 0 w 98695"/>
                <a:gd name="connsiteY4" fmla="*/ 161118 h 161117"/>
                <a:gd name="connsiteX5" fmla="*/ 92082 w 98695"/>
                <a:gd name="connsiteY5" fmla="*/ 161118 h 161117"/>
                <a:gd name="connsiteX6" fmla="*/ 98696 w 98695"/>
                <a:gd name="connsiteY6" fmla="*/ 154504 h 161117"/>
                <a:gd name="connsiteX7" fmla="*/ 98696 w 98695"/>
                <a:gd name="connsiteY7" fmla="*/ 37368 h 161117"/>
                <a:gd name="connsiteX8" fmla="*/ 92082 w 98695"/>
                <a:gd name="connsiteY8" fmla="*/ 30754 h 161117"/>
                <a:gd name="connsiteX9" fmla="*/ 144 w 98695"/>
                <a:gd name="connsiteY9" fmla="*/ 30754 h 161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98695" h="161117">
                  <a:moveTo>
                    <a:pt x="75858" y="27507"/>
                  </a:moveTo>
                  <a:lnTo>
                    <a:pt x="75858" y="6646"/>
                  </a:lnTo>
                  <a:cubicBezTo>
                    <a:pt x="75858" y="1793"/>
                    <a:pt x="72096" y="-939"/>
                    <a:pt x="68046" y="295"/>
                  </a:cubicBezTo>
                  <a:lnTo>
                    <a:pt x="0" y="30754"/>
                  </a:lnTo>
                  <a:lnTo>
                    <a:pt x="0" y="161118"/>
                  </a:lnTo>
                  <a:lnTo>
                    <a:pt x="92082" y="161118"/>
                  </a:lnTo>
                  <a:cubicBezTo>
                    <a:pt x="95724" y="161118"/>
                    <a:pt x="98696" y="158146"/>
                    <a:pt x="98696" y="154504"/>
                  </a:cubicBezTo>
                  <a:lnTo>
                    <a:pt x="98696" y="37368"/>
                  </a:lnTo>
                  <a:cubicBezTo>
                    <a:pt x="98696" y="33725"/>
                    <a:pt x="95712" y="30754"/>
                    <a:pt x="92082" y="30754"/>
                  </a:cubicBezTo>
                  <a:lnTo>
                    <a:pt x="144" y="30754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398" name="Forma livre: Forma 1397">
              <a:extLst>
                <a:ext uri="{FF2B5EF4-FFF2-40B4-BE49-F238E27FC236}">
                  <a16:creationId xmlns:a16="http://schemas.microsoft.com/office/drawing/2014/main" id="{C9AC95FB-379F-5273-D1AF-7F3FAF569AE9}"/>
                </a:ext>
              </a:extLst>
            </p:cNvPr>
            <p:cNvSpPr/>
            <p:nvPr/>
          </p:nvSpPr>
          <p:spPr>
            <a:xfrm>
              <a:off x="11343557" y="2784189"/>
              <a:ext cx="46346" cy="46346"/>
            </a:xfrm>
            <a:custGeom>
              <a:avLst/>
              <a:gdLst>
                <a:gd name="connsiteX0" fmla="*/ 46346 w 46346"/>
                <a:gd name="connsiteY0" fmla="*/ 23173 h 46346"/>
                <a:gd name="connsiteX1" fmla="*/ 23173 w 46346"/>
                <a:gd name="connsiteY1" fmla="*/ 46346 h 46346"/>
                <a:gd name="connsiteX2" fmla="*/ 0 w 46346"/>
                <a:gd name="connsiteY2" fmla="*/ 23173 h 46346"/>
                <a:gd name="connsiteX3" fmla="*/ 23173 w 46346"/>
                <a:gd name="connsiteY3" fmla="*/ 0 h 46346"/>
                <a:gd name="connsiteX4" fmla="*/ 46346 w 46346"/>
                <a:gd name="connsiteY4" fmla="*/ 23173 h 463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6346" h="46346">
                  <a:moveTo>
                    <a:pt x="46346" y="23173"/>
                  </a:moveTo>
                  <a:cubicBezTo>
                    <a:pt x="46346" y="35970"/>
                    <a:pt x="35970" y="46346"/>
                    <a:pt x="23173" y="46346"/>
                  </a:cubicBezTo>
                  <a:cubicBezTo>
                    <a:pt x="10376" y="46346"/>
                    <a:pt x="0" y="35970"/>
                    <a:pt x="0" y="23173"/>
                  </a:cubicBezTo>
                  <a:cubicBezTo>
                    <a:pt x="0" y="10376"/>
                    <a:pt x="10376" y="0"/>
                    <a:pt x="23173" y="0"/>
                  </a:cubicBezTo>
                  <a:cubicBezTo>
                    <a:pt x="35970" y="0"/>
                    <a:pt x="46346" y="10376"/>
                    <a:pt x="46346" y="23173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399" name="Forma livre: Forma 1398">
              <a:extLst>
                <a:ext uri="{FF2B5EF4-FFF2-40B4-BE49-F238E27FC236}">
                  <a16:creationId xmlns:a16="http://schemas.microsoft.com/office/drawing/2014/main" id="{A81427DF-4DD2-CA1D-B9F2-B11E3F870E11}"/>
                </a:ext>
              </a:extLst>
            </p:cNvPr>
            <p:cNvSpPr/>
            <p:nvPr/>
          </p:nvSpPr>
          <p:spPr>
            <a:xfrm>
              <a:off x="11357145" y="2856248"/>
              <a:ext cx="19171" cy="1198"/>
            </a:xfrm>
            <a:custGeom>
              <a:avLst/>
              <a:gdLst>
                <a:gd name="connsiteX0" fmla="*/ 0 w 19171"/>
                <a:gd name="connsiteY0" fmla="*/ 0 h 1198"/>
                <a:gd name="connsiteX1" fmla="*/ 19171 w 19171"/>
                <a:gd name="connsiteY1" fmla="*/ 0 h 11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9171" h="1198">
                  <a:moveTo>
                    <a:pt x="0" y="0"/>
                  </a:moveTo>
                  <a:lnTo>
                    <a:pt x="19171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400" name="Gráfico 11">
            <a:extLst>
              <a:ext uri="{FF2B5EF4-FFF2-40B4-BE49-F238E27FC236}">
                <a16:creationId xmlns:a16="http://schemas.microsoft.com/office/drawing/2014/main" id="{94AF5464-5DAF-F7B2-6F30-6590209413A8}"/>
              </a:ext>
            </a:extLst>
          </p:cNvPr>
          <p:cNvGrpSpPr/>
          <p:nvPr/>
        </p:nvGrpSpPr>
        <p:grpSpPr>
          <a:xfrm>
            <a:off x="10470033" y="2035840"/>
            <a:ext cx="332088" cy="333583"/>
            <a:chOff x="10470033" y="2035840"/>
            <a:chExt cx="332088" cy="333583"/>
          </a:xfrm>
          <a:noFill/>
        </p:grpSpPr>
        <p:grpSp>
          <p:nvGrpSpPr>
            <p:cNvPr id="1401" name="Gráfico 11">
              <a:extLst>
                <a:ext uri="{FF2B5EF4-FFF2-40B4-BE49-F238E27FC236}">
                  <a16:creationId xmlns:a16="http://schemas.microsoft.com/office/drawing/2014/main" id="{232A72F7-390A-AE03-AC09-F1DEEAF9F74A}"/>
                </a:ext>
              </a:extLst>
            </p:cNvPr>
            <p:cNvGrpSpPr/>
            <p:nvPr/>
          </p:nvGrpSpPr>
          <p:grpSpPr>
            <a:xfrm>
              <a:off x="10502156" y="2035840"/>
              <a:ext cx="247177" cy="174026"/>
              <a:chOff x="10502156" y="2035840"/>
              <a:chExt cx="247177" cy="174026"/>
            </a:xfrm>
            <a:noFill/>
          </p:grpSpPr>
          <p:sp>
            <p:nvSpPr>
              <p:cNvPr id="1402" name="Forma livre: Forma 1401">
                <a:extLst>
                  <a:ext uri="{FF2B5EF4-FFF2-40B4-BE49-F238E27FC236}">
                    <a16:creationId xmlns:a16="http://schemas.microsoft.com/office/drawing/2014/main" id="{45A722E1-EDC9-26AF-E822-794839F5E4BF}"/>
                  </a:ext>
                </a:extLst>
              </p:cNvPr>
              <p:cNvSpPr/>
              <p:nvPr/>
            </p:nvSpPr>
            <p:spPr>
              <a:xfrm>
                <a:off x="10524215" y="2110296"/>
                <a:ext cx="203059" cy="1198"/>
              </a:xfrm>
              <a:custGeom>
                <a:avLst/>
                <a:gdLst>
                  <a:gd name="connsiteX0" fmla="*/ 0 w 203059"/>
                  <a:gd name="connsiteY0" fmla="*/ 0 h 1198"/>
                  <a:gd name="connsiteX1" fmla="*/ 203059 w 203059"/>
                  <a:gd name="connsiteY1" fmla="*/ 0 h 11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03059" h="1198">
                    <a:moveTo>
                      <a:pt x="0" y="0"/>
                    </a:moveTo>
                    <a:lnTo>
                      <a:pt x="203059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1403" name="Gráfico 11">
                <a:extLst>
                  <a:ext uri="{FF2B5EF4-FFF2-40B4-BE49-F238E27FC236}">
                    <a16:creationId xmlns:a16="http://schemas.microsoft.com/office/drawing/2014/main" id="{02966AF0-8EC6-D98F-DBE3-81CFA2D5678B}"/>
                  </a:ext>
                </a:extLst>
              </p:cNvPr>
              <p:cNvGrpSpPr/>
              <p:nvPr/>
            </p:nvGrpSpPr>
            <p:grpSpPr>
              <a:xfrm>
                <a:off x="10502156" y="2035840"/>
                <a:ext cx="247177" cy="174026"/>
                <a:chOff x="10502156" y="2035840"/>
                <a:chExt cx="247177" cy="174026"/>
              </a:xfrm>
              <a:noFill/>
            </p:grpSpPr>
            <p:sp>
              <p:nvSpPr>
                <p:cNvPr id="1404" name="Forma livre: Forma 1403">
                  <a:extLst>
                    <a:ext uri="{FF2B5EF4-FFF2-40B4-BE49-F238E27FC236}">
                      <a16:creationId xmlns:a16="http://schemas.microsoft.com/office/drawing/2014/main" id="{B5B9A617-4D6D-BD61-6A69-A80378941AFA}"/>
                    </a:ext>
                  </a:extLst>
                </p:cNvPr>
                <p:cNvSpPr/>
                <p:nvPr/>
              </p:nvSpPr>
              <p:spPr>
                <a:xfrm>
                  <a:off x="10502156" y="2058510"/>
                  <a:ext cx="54769" cy="119484"/>
                </a:xfrm>
                <a:custGeom>
                  <a:avLst/>
                  <a:gdLst>
                    <a:gd name="connsiteX0" fmla="*/ 0 w 54769"/>
                    <a:gd name="connsiteY0" fmla="*/ 119485 h 119484"/>
                    <a:gd name="connsiteX1" fmla="*/ 0 w 54769"/>
                    <a:gd name="connsiteY1" fmla="*/ 14594 h 119484"/>
                    <a:gd name="connsiteX2" fmla="*/ 14606 w 54769"/>
                    <a:gd name="connsiteY2" fmla="*/ 0 h 119484"/>
                    <a:gd name="connsiteX3" fmla="*/ 54770 w 54769"/>
                    <a:gd name="connsiteY3" fmla="*/ 0 h 11948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54769" h="119484">
                      <a:moveTo>
                        <a:pt x="0" y="119485"/>
                      </a:moveTo>
                      <a:lnTo>
                        <a:pt x="0" y="14594"/>
                      </a:lnTo>
                      <a:cubicBezTo>
                        <a:pt x="0" y="6566"/>
                        <a:pt x="6578" y="0"/>
                        <a:pt x="14606" y="0"/>
                      </a:cubicBezTo>
                      <a:lnTo>
                        <a:pt x="54770" y="0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405" name="Forma livre: Forma 1404">
                  <a:extLst>
                    <a:ext uri="{FF2B5EF4-FFF2-40B4-BE49-F238E27FC236}">
                      <a16:creationId xmlns:a16="http://schemas.microsoft.com/office/drawing/2014/main" id="{B54BBE60-8632-DBE6-29BB-51AB1967170E}"/>
                    </a:ext>
                  </a:extLst>
                </p:cNvPr>
                <p:cNvSpPr/>
                <p:nvPr/>
              </p:nvSpPr>
              <p:spPr>
                <a:xfrm>
                  <a:off x="10702088" y="2058498"/>
                  <a:ext cx="47245" cy="151368"/>
                </a:xfrm>
                <a:custGeom>
                  <a:avLst/>
                  <a:gdLst>
                    <a:gd name="connsiteX0" fmla="*/ 0 w 47245"/>
                    <a:gd name="connsiteY0" fmla="*/ 0 h 151368"/>
                    <a:gd name="connsiteX1" fmla="*/ 32639 w 47245"/>
                    <a:gd name="connsiteY1" fmla="*/ 0 h 151368"/>
                    <a:gd name="connsiteX2" fmla="*/ 47245 w 47245"/>
                    <a:gd name="connsiteY2" fmla="*/ 14594 h 151368"/>
                    <a:gd name="connsiteX3" fmla="*/ 47245 w 47245"/>
                    <a:gd name="connsiteY3" fmla="*/ 151369 h 15136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7245" h="151368">
                      <a:moveTo>
                        <a:pt x="0" y="0"/>
                      </a:moveTo>
                      <a:lnTo>
                        <a:pt x="32639" y="0"/>
                      </a:lnTo>
                      <a:cubicBezTo>
                        <a:pt x="40667" y="0"/>
                        <a:pt x="47245" y="6566"/>
                        <a:pt x="47245" y="14594"/>
                      </a:cubicBezTo>
                      <a:lnTo>
                        <a:pt x="47245" y="151369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406" name="Forma livre: Forma 1405">
                  <a:extLst>
                    <a:ext uri="{FF2B5EF4-FFF2-40B4-BE49-F238E27FC236}">
                      <a16:creationId xmlns:a16="http://schemas.microsoft.com/office/drawing/2014/main" id="{3F944338-DBDD-A15D-2D48-1B106FDA5E26}"/>
                    </a:ext>
                  </a:extLst>
                </p:cNvPr>
                <p:cNvSpPr/>
                <p:nvPr/>
              </p:nvSpPr>
              <p:spPr>
                <a:xfrm>
                  <a:off x="10641064" y="2058498"/>
                  <a:ext cx="40738" cy="1198"/>
                </a:xfrm>
                <a:custGeom>
                  <a:avLst/>
                  <a:gdLst>
                    <a:gd name="connsiteX0" fmla="*/ 0 w 40738"/>
                    <a:gd name="connsiteY0" fmla="*/ 0 h 1198"/>
                    <a:gd name="connsiteX1" fmla="*/ 40739 w 40738"/>
                    <a:gd name="connsiteY1" fmla="*/ 0 h 11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0738" h="1198">
                      <a:moveTo>
                        <a:pt x="0" y="0"/>
                      </a:moveTo>
                      <a:lnTo>
                        <a:pt x="40739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407" name="Forma livre: Forma 1406">
                  <a:extLst>
                    <a:ext uri="{FF2B5EF4-FFF2-40B4-BE49-F238E27FC236}">
                      <a16:creationId xmlns:a16="http://schemas.microsoft.com/office/drawing/2014/main" id="{B63A66CB-CCB5-0DCE-2A36-E2B7C53DF1F2}"/>
                    </a:ext>
                  </a:extLst>
                </p:cNvPr>
                <p:cNvSpPr/>
                <p:nvPr/>
              </p:nvSpPr>
              <p:spPr>
                <a:xfrm>
                  <a:off x="10578626" y="2058498"/>
                  <a:ext cx="39289" cy="1198"/>
                </a:xfrm>
                <a:custGeom>
                  <a:avLst/>
                  <a:gdLst>
                    <a:gd name="connsiteX0" fmla="*/ 0 w 39289"/>
                    <a:gd name="connsiteY0" fmla="*/ 0 h 1198"/>
                    <a:gd name="connsiteX1" fmla="*/ 39289 w 39289"/>
                    <a:gd name="connsiteY1" fmla="*/ 0 h 11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39289" h="1198">
                      <a:moveTo>
                        <a:pt x="0" y="0"/>
                      </a:moveTo>
                      <a:lnTo>
                        <a:pt x="39289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408" name="Forma livre: Forma 1407">
                  <a:extLst>
                    <a:ext uri="{FF2B5EF4-FFF2-40B4-BE49-F238E27FC236}">
                      <a16:creationId xmlns:a16="http://schemas.microsoft.com/office/drawing/2014/main" id="{BC0F0A5B-079C-7346-5EB0-51E34EB94AF4}"/>
                    </a:ext>
                  </a:extLst>
                </p:cNvPr>
                <p:cNvSpPr/>
                <p:nvPr/>
              </p:nvSpPr>
              <p:spPr>
                <a:xfrm>
                  <a:off x="10557933" y="2035840"/>
                  <a:ext cx="1198" cy="49653"/>
                </a:xfrm>
                <a:custGeom>
                  <a:avLst/>
                  <a:gdLst>
                    <a:gd name="connsiteX0" fmla="*/ 0 w 1198"/>
                    <a:gd name="connsiteY0" fmla="*/ 0 h 49653"/>
                    <a:gd name="connsiteX1" fmla="*/ 0 w 1198"/>
                    <a:gd name="connsiteY1" fmla="*/ 49653 h 4965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198" h="49653">
                      <a:moveTo>
                        <a:pt x="0" y="0"/>
                      </a:moveTo>
                      <a:lnTo>
                        <a:pt x="0" y="49653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409" name="Forma livre: Forma 1408">
                  <a:extLst>
                    <a:ext uri="{FF2B5EF4-FFF2-40B4-BE49-F238E27FC236}">
                      <a16:creationId xmlns:a16="http://schemas.microsoft.com/office/drawing/2014/main" id="{71F02BCF-CF3F-898C-E24D-59B1266EDA54}"/>
                    </a:ext>
                  </a:extLst>
                </p:cNvPr>
                <p:cNvSpPr/>
                <p:nvPr/>
              </p:nvSpPr>
              <p:spPr>
                <a:xfrm>
                  <a:off x="10679933" y="2035840"/>
                  <a:ext cx="1198" cy="49653"/>
                </a:xfrm>
                <a:custGeom>
                  <a:avLst/>
                  <a:gdLst>
                    <a:gd name="connsiteX0" fmla="*/ 0 w 1198"/>
                    <a:gd name="connsiteY0" fmla="*/ 0 h 49653"/>
                    <a:gd name="connsiteX1" fmla="*/ 0 w 1198"/>
                    <a:gd name="connsiteY1" fmla="*/ 49653 h 4965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198" h="49653">
                      <a:moveTo>
                        <a:pt x="0" y="0"/>
                      </a:moveTo>
                      <a:lnTo>
                        <a:pt x="0" y="49653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410" name="Forma livre: Forma 1409">
                  <a:extLst>
                    <a:ext uri="{FF2B5EF4-FFF2-40B4-BE49-F238E27FC236}">
                      <a16:creationId xmlns:a16="http://schemas.microsoft.com/office/drawing/2014/main" id="{A9200461-CAD2-4D89-1BD1-5E5B8326B921}"/>
                    </a:ext>
                  </a:extLst>
                </p:cNvPr>
                <p:cNvSpPr/>
                <p:nvPr/>
              </p:nvSpPr>
              <p:spPr>
                <a:xfrm>
                  <a:off x="10618933" y="2035840"/>
                  <a:ext cx="1198" cy="49653"/>
                </a:xfrm>
                <a:custGeom>
                  <a:avLst/>
                  <a:gdLst>
                    <a:gd name="connsiteX0" fmla="*/ 0 w 1198"/>
                    <a:gd name="connsiteY0" fmla="*/ 0 h 49653"/>
                    <a:gd name="connsiteX1" fmla="*/ 0 w 1198"/>
                    <a:gd name="connsiteY1" fmla="*/ 49653 h 4965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198" h="49653">
                      <a:moveTo>
                        <a:pt x="0" y="0"/>
                      </a:moveTo>
                      <a:lnTo>
                        <a:pt x="0" y="49653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grpSp>
          <p:nvGrpSpPr>
            <p:cNvPr id="1411" name="Gráfico 11">
              <a:extLst>
                <a:ext uri="{FF2B5EF4-FFF2-40B4-BE49-F238E27FC236}">
                  <a16:creationId xmlns:a16="http://schemas.microsoft.com/office/drawing/2014/main" id="{CB26E9E9-F070-1B0D-C6FC-059550B59A34}"/>
                </a:ext>
              </a:extLst>
            </p:cNvPr>
            <p:cNvGrpSpPr/>
            <p:nvPr/>
          </p:nvGrpSpPr>
          <p:grpSpPr>
            <a:xfrm>
              <a:off x="10470033" y="2184511"/>
              <a:ext cx="332088" cy="184913"/>
              <a:chOff x="10470033" y="2184511"/>
              <a:chExt cx="332088" cy="184913"/>
            </a:xfrm>
            <a:noFill/>
          </p:grpSpPr>
          <p:sp>
            <p:nvSpPr>
              <p:cNvPr id="1412" name="Forma livre: Forma 1411">
                <a:extLst>
                  <a:ext uri="{FF2B5EF4-FFF2-40B4-BE49-F238E27FC236}">
                    <a16:creationId xmlns:a16="http://schemas.microsoft.com/office/drawing/2014/main" id="{BFF970B7-65BB-0F7B-E062-E284C34EA59D}"/>
                  </a:ext>
                </a:extLst>
              </p:cNvPr>
              <p:cNvSpPr/>
              <p:nvPr/>
            </p:nvSpPr>
            <p:spPr>
              <a:xfrm>
                <a:off x="10576732" y="2184511"/>
                <a:ext cx="80531" cy="26710"/>
              </a:xfrm>
              <a:custGeom>
                <a:avLst/>
                <a:gdLst>
                  <a:gd name="connsiteX0" fmla="*/ 80531 w 80531"/>
                  <a:gd name="connsiteY0" fmla="*/ 26195 h 26710"/>
                  <a:gd name="connsiteX1" fmla="*/ 0 w 80531"/>
                  <a:gd name="connsiteY1" fmla="*/ 2 h 26710"/>
                  <a:gd name="connsiteX2" fmla="*/ 28865 w 80531"/>
                  <a:gd name="connsiteY2" fmla="*/ 26710 h 267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0531" h="26710">
                    <a:moveTo>
                      <a:pt x="80531" y="26195"/>
                    </a:moveTo>
                    <a:cubicBezTo>
                      <a:pt x="61899" y="14680"/>
                      <a:pt x="30554" y="-202"/>
                      <a:pt x="0" y="2"/>
                    </a:cubicBezTo>
                    <a:lnTo>
                      <a:pt x="28865" y="26710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413" name="Forma livre: Forma 1412">
                <a:extLst>
                  <a:ext uri="{FF2B5EF4-FFF2-40B4-BE49-F238E27FC236}">
                    <a16:creationId xmlns:a16="http://schemas.microsoft.com/office/drawing/2014/main" id="{5E1CF41B-3A6D-ECB7-0DD3-8C9A71CF8907}"/>
                  </a:ext>
                </a:extLst>
              </p:cNvPr>
              <p:cNvSpPr/>
              <p:nvPr/>
            </p:nvSpPr>
            <p:spPr>
              <a:xfrm>
                <a:off x="10684343" y="2254823"/>
                <a:ext cx="117778" cy="29140"/>
              </a:xfrm>
              <a:custGeom>
                <a:avLst/>
                <a:gdLst>
                  <a:gd name="connsiteX0" fmla="*/ 0 w 117778"/>
                  <a:gd name="connsiteY0" fmla="*/ 29140 h 29140"/>
                  <a:gd name="connsiteX1" fmla="*/ 96934 w 117778"/>
                  <a:gd name="connsiteY1" fmla="*/ 29140 h 29140"/>
                  <a:gd name="connsiteX2" fmla="*/ 117627 w 117778"/>
                  <a:gd name="connsiteY2" fmla="*/ 0 h 291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17778" h="29140">
                    <a:moveTo>
                      <a:pt x="0" y="29140"/>
                    </a:moveTo>
                    <a:lnTo>
                      <a:pt x="96934" y="29140"/>
                    </a:lnTo>
                    <a:cubicBezTo>
                      <a:pt x="113374" y="28673"/>
                      <a:pt x="118790" y="9861"/>
                      <a:pt x="117627" y="0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414" name="Forma livre: Forma 1413">
                <a:extLst>
                  <a:ext uri="{FF2B5EF4-FFF2-40B4-BE49-F238E27FC236}">
                    <a16:creationId xmlns:a16="http://schemas.microsoft.com/office/drawing/2014/main" id="{7979F1E8-4FE4-BE69-D0B5-97A4F056A89B}"/>
                  </a:ext>
                </a:extLst>
              </p:cNvPr>
              <p:cNvSpPr/>
              <p:nvPr/>
            </p:nvSpPr>
            <p:spPr>
              <a:xfrm>
                <a:off x="10559059" y="2272149"/>
                <a:ext cx="137182" cy="97274"/>
              </a:xfrm>
              <a:custGeom>
                <a:avLst/>
                <a:gdLst>
                  <a:gd name="connsiteX0" fmla="*/ 54135 w 137182"/>
                  <a:gd name="connsiteY0" fmla="*/ 6195 h 97274"/>
                  <a:gd name="connsiteX1" fmla="*/ 0 w 137182"/>
                  <a:gd name="connsiteY1" fmla="*/ 87421 h 97274"/>
                  <a:gd name="connsiteX2" fmla="*/ 47041 w 137182"/>
                  <a:gd name="connsiteY2" fmla="*/ 81597 h 97274"/>
                  <a:gd name="connsiteX3" fmla="*/ 137182 w 137182"/>
                  <a:gd name="connsiteY3" fmla="*/ 0 h 972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37182" h="97274">
                    <a:moveTo>
                      <a:pt x="54135" y="6195"/>
                    </a:moveTo>
                    <a:lnTo>
                      <a:pt x="0" y="87421"/>
                    </a:lnTo>
                    <a:cubicBezTo>
                      <a:pt x="0" y="87421"/>
                      <a:pt x="4326" y="113074"/>
                      <a:pt x="47041" y="81597"/>
                    </a:cubicBezTo>
                    <a:lnTo>
                      <a:pt x="137182" y="0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415" name="Forma livre: Forma 1414">
                <a:extLst>
                  <a:ext uri="{FF2B5EF4-FFF2-40B4-BE49-F238E27FC236}">
                    <a16:creationId xmlns:a16="http://schemas.microsoft.com/office/drawing/2014/main" id="{DAA1E9BE-677F-5E5D-CE06-A11D98588007}"/>
                  </a:ext>
                </a:extLst>
              </p:cNvPr>
              <p:cNvSpPr/>
              <p:nvPr/>
            </p:nvSpPr>
            <p:spPr>
              <a:xfrm>
                <a:off x="10470033" y="2195632"/>
                <a:ext cx="331961" cy="89409"/>
              </a:xfrm>
              <a:custGeom>
                <a:avLst/>
                <a:gdLst>
                  <a:gd name="connsiteX0" fmla="*/ 296878 w 331961"/>
                  <a:gd name="connsiteY0" fmla="*/ 59059 h 89409"/>
                  <a:gd name="connsiteX1" fmla="*/ 331962 w 331961"/>
                  <a:gd name="connsiteY1" fmla="*/ 58892 h 89409"/>
                  <a:gd name="connsiteX2" fmla="*/ 322724 w 331961"/>
                  <a:gd name="connsiteY2" fmla="*/ 49426 h 89409"/>
                  <a:gd name="connsiteX3" fmla="*/ 262298 w 331961"/>
                  <a:gd name="connsiteY3" fmla="*/ 37108 h 89409"/>
                  <a:gd name="connsiteX4" fmla="*/ 64439 w 331961"/>
                  <a:gd name="connsiteY4" fmla="*/ 37108 h 89409"/>
                  <a:gd name="connsiteX5" fmla="*/ 10209 w 331961"/>
                  <a:gd name="connsiteY5" fmla="*/ 0 h 89409"/>
                  <a:gd name="connsiteX6" fmla="*/ 5859 w 331961"/>
                  <a:gd name="connsiteY6" fmla="*/ 2193 h 89409"/>
                  <a:gd name="connsiteX7" fmla="*/ 32028 w 331961"/>
                  <a:gd name="connsiteY7" fmla="*/ 54147 h 89409"/>
                  <a:gd name="connsiteX8" fmla="*/ 0 w 331961"/>
                  <a:gd name="connsiteY8" fmla="*/ 54890 h 89409"/>
                  <a:gd name="connsiteX9" fmla="*/ 407 w 331961"/>
                  <a:gd name="connsiteY9" fmla="*/ 63552 h 89409"/>
                  <a:gd name="connsiteX10" fmla="*/ 108102 w 331961"/>
                  <a:gd name="connsiteY10" fmla="*/ 89410 h 894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331961" h="89409">
                    <a:moveTo>
                      <a:pt x="296878" y="59059"/>
                    </a:moveTo>
                    <a:lnTo>
                      <a:pt x="331962" y="58892"/>
                    </a:lnTo>
                    <a:cubicBezTo>
                      <a:pt x="330464" y="56088"/>
                      <a:pt x="327301" y="52829"/>
                      <a:pt x="322724" y="49426"/>
                    </a:cubicBezTo>
                    <a:cubicBezTo>
                      <a:pt x="303936" y="35443"/>
                      <a:pt x="262298" y="37108"/>
                      <a:pt x="262298" y="37108"/>
                    </a:cubicBezTo>
                    <a:lnTo>
                      <a:pt x="64439" y="37108"/>
                    </a:lnTo>
                    <a:lnTo>
                      <a:pt x="10209" y="0"/>
                    </a:lnTo>
                    <a:lnTo>
                      <a:pt x="5859" y="2193"/>
                    </a:lnTo>
                    <a:lnTo>
                      <a:pt x="32028" y="54147"/>
                    </a:lnTo>
                    <a:lnTo>
                      <a:pt x="0" y="54890"/>
                    </a:lnTo>
                    <a:lnTo>
                      <a:pt x="407" y="63552"/>
                    </a:lnTo>
                    <a:cubicBezTo>
                      <a:pt x="33945" y="84114"/>
                      <a:pt x="90656" y="88523"/>
                      <a:pt x="108102" y="89410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416" name="Gráfico 11">
            <a:extLst>
              <a:ext uri="{FF2B5EF4-FFF2-40B4-BE49-F238E27FC236}">
                <a16:creationId xmlns:a16="http://schemas.microsoft.com/office/drawing/2014/main" id="{8B958868-EA89-BCB4-6C62-8EAA057D0D01}"/>
              </a:ext>
            </a:extLst>
          </p:cNvPr>
          <p:cNvGrpSpPr/>
          <p:nvPr/>
        </p:nvGrpSpPr>
        <p:grpSpPr>
          <a:xfrm>
            <a:off x="9845866" y="2031407"/>
            <a:ext cx="332076" cy="342462"/>
            <a:chOff x="9845866" y="2031407"/>
            <a:chExt cx="332076" cy="342462"/>
          </a:xfrm>
          <a:noFill/>
        </p:grpSpPr>
        <p:grpSp>
          <p:nvGrpSpPr>
            <p:cNvPr id="1417" name="Gráfico 11">
              <a:extLst>
                <a:ext uri="{FF2B5EF4-FFF2-40B4-BE49-F238E27FC236}">
                  <a16:creationId xmlns:a16="http://schemas.microsoft.com/office/drawing/2014/main" id="{E26AB3EC-ECC0-E29F-BBD7-4F50A7E8E0BF}"/>
                </a:ext>
              </a:extLst>
            </p:cNvPr>
            <p:cNvGrpSpPr/>
            <p:nvPr/>
          </p:nvGrpSpPr>
          <p:grpSpPr>
            <a:xfrm>
              <a:off x="9845866" y="2188956"/>
              <a:ext cx="332076" cy="184913"/>
              <a:chOff x="9845866" y="2188956"/>
              <a:chExt cx="332076" cy="184913"/>
            </a:xfrm>
            <a:noFill/>
          </p:grpSpPr>
          <p:sp>
            <p:nvSpPr>
              <p:cNvPr id="1418" name="Forma livre: Forma 1417">
                <a:extLst>
                  <a:ext uri="{FF2B5EF4-FFF2-40B4-BE49-F238E27FC236}">
                    <a16:creationId xmlns:a16="http://schemas.microsoft.com/office/drawing/2014/main" id="{CAAE8597-ACC2-D622-175E-CC031CE40C9A}"/>
                  </a:ext>
                </a:extLst>
              </p:cNvPr>
              <p:cNvSpPr/>
              <p:nvPr/>
            </p:nvSpPr>
            <p:spPr>
              <a:xfrm>
                <a:off x="9952553" y="2188956"/>
                <a:ext cx="80531" cy="26710"/>
              </a:xfrm>
              <a:custGeom>
                <a:avLst/>
                <a:gdLst>
                  <a:gd name="connsiteX0" fmla="*/ 80531 w 80531"/>
                  <a:gd name="connsiteY0" fmla="*/ 26183 h 26710"/>
                  <a:gd name="connsiteX1" fmla="*/ 0 w 80531"/>
                  <a:gd name="connsiteY1" fmla="*/ 2 h 26710"/>
                  <a:gd name="connsiteX2" fmla="*/ 28865 w 80531"/>
                  <a:gd name="connsiteY2" fmla="*/ 26710 h 267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0531" h="26710">
                    <a:moveTo>
                      <a:pt x="80531" y="26183"/>
                    </a:moveTo>
                    <a:cubicBezTo>
                      <a:pt x="61899" y="14680"/>
                      <a:pt x="30554" y="-213"/>
                      <a:pt x="0" y="2"/>
                    </a:cubicBezTo>
                    <a:lnTo>
                      <a:pt x="28865" y="26710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419" name="Forma livre: Forma 1418">
                <a:extLst>
                  <a:ext uri="{FF2B5EF4-FFF2-40B4-BE49-F238E27FC236}">
                    <a16:creationId xmlns:a16="http://schemas.microsoft.com/office/drawing/2014/main" id="{09F10688-BABF-D113-34EB-CDF62DF5341E}"/>
                  </a:ext>
                </a:extLst>
              </p:cNvPr>
              <p:cNvSpPr/>
              <p:nvPr/>
            </p:nvSpPr>
            <p:spPr>
              <a:xfrm>
                <a:off x="10060164" y="2259257"/>
                <a:ext cx="117778" cy="29140"/>
              </a:xfrm>
              <a:custGeom>
                <a:avLst/>
                <a:gdLst>
                  <a:gd name="connsiteX0" fmla="*/ 0 w 117778"/>
                  <a:gd name="connsiteY0" fmla="*/ 29140 h 29140"/>
                  <a:gd name="connsiteX1" fmla="*/ 96934 w 117778"/>
                  <a:gd name="connsiteY1" fmla="*/ 29140 h 29140"/>
                  <a:gd name="connsiteX2" fmla="*/ 117627 w 117778"/>
                  <a:gd name="connsiteY2" fmla="*/ 0 h 291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17778" h="29140">
                    <a:moveTo>
                      <a:pt x="0" y="29140"/>
                    </a:moveTo>
                    <a:lnTo>
                      <a:pt x="96934" y="29140"/>
                    </a:lnTo>
                    <a:cubicBezTo>
                      <a:pt x="113374" y="28673"/>
                      <a:pt x="118790" y="9861"/>
                      <a:pt x="117627" y="0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420" name="Forma livre: Forma 1419">
                <a:extLst>
                  <a:ext uri="{FF2B5EF4-FFF2-40B4-BE49-F238E27FC236}">
                    <a16:creationId xmlns:a16="http://schemas.microsoft.com/office/drawing/2014/main" id="{439340AC-5746-89F1-2BDB-A77EF5CE0BEE}"/>
                  </a:ext>
                </a:extLst>
              </p:cNvPr>
              <p:cNvSpPr/>
              <p:nvPr/>
            </p:nvSpPr>
            <p:spPr>
              <a:xfrm>
                <a:off x="9934880" y="2276595"/>
                <a:ext cx="137182" cy="97274"/>
              </a:xfrm>
              <a:custGeom>
                <a:avLst/>
                <a:gdLst>
                  <a:gd name="connsiteX0" fmla="*/ 54135 w 137182"/>
                  <a:gd name="connsiteY0" fmla="*/ 6183 h 97274"/>
                  <a:gd name="connsiteX1" fmla="*/ 0 w 137182"/>
                  <a:gd name="connsiteY1" fmla="*/ 87421 h 97274"/>
                  <a:gd name="connsiteX2" fmla="*/ 47041 w 137182"/>
                  <a:gd name="connsiteY2" fmla="*/ 81597 h 97274"/>
                  <a:gd name="connsiteX3" fmla="*/ 137182 w 137182"/>
                  <a:gd name="connsiteY3" fmla="*/ 0 h 972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37182" h="97274">
                    <a:moveTo>
                      <a:pt x="54135" y="6183"/>
                    </a:moveTo>
                    <a:lnTo>
                      <a:pt x="0" y="87421"/>
                    </a:lnTo>
                    <a:cubicBezTo>
                      <a:pt x="0" y="87421"/>
                      <a:pt x="4326" y="113074"/>
                      <a:pt x="47041" y="81597"/>
                    </a:cubicBezTo>
                    <a:lnTo>
                      <a:pt x="137182" y="0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421" name="Forma livre: Forma 1420">
                <a:extLst>
                  <a:ext uri="{FF2B5EF4-FFF2-40B4-BE49-F238E27FC236}">
                    <a16:creationId xmlns:a16="http://schemas.microsoft.com/office/drawing/2014/main" id="{387A0A5C-19C7-A5A6-3BDD-BFD3F7CE4EA0}"/>
                  </a:ext>
                </a:extLst>
              </p:cNvPr>
              <p:cNvSpPr/>
              <p:nvPr/>
            </p:nvSpPr>
            <p:spPr>
              <a:xfrm>
                <a:off x="9845866" y="2200065"/>
                <a:ext cx="331961" cy="89409"/>
              </a:xfrm>
              <a:custGeom>
                <a:avLst/>
                <a:gdLst>
                  <a:gd name="connsiteX0" fmla="*/ 296878 w 331961"/>
                  <a:gd name="connsiteY0" fmla="*/ 59059 h 89409"/>
                  <a:gd name="connsiteX1" fmla="*/ 331962 w 331961"/>
                  <a:gd name="connsiteY1" fmla="*/ 58892 h 89409"/>
                  <a:gd name="connsiteX2" fmla="*/ 322724 w 331961"/>
                  <a:gd name="connsiteY2" fmla="*/ 49426 h 89409"/>
                  <a:gd name="connsiteX3" fmla="*/ 262298 w 331961"/>
                  <a:gd name="connsiteY3" fmla="*/ 37108 h 89409"/>
                  <a:gd name="connsiteX4" fmla="*/ 64439 w 331961"/>
                  <a:gd name="connsiteY4" fmla="*/ 37108 h 89409"/>
                  <a:gd name="connsiteX5" fmla="*/ 10209 w 331961"/>
                  <a:gd name="connsiteY5" fmla="*/ 0 h 89409"/>
                  <a:gd name="connsiteX6" fmla="*/ 5859 w 331961"/>
                  <a:gd name="connsiteY6" fmla="*/ 2205 h 89409"/>
                  <a:gd name="connsiteX7" fmla="*/ 32028 w 331961"/>
                  <a:gd name="connsiteY7" fmla="*/ 54147 h 89409"/>
                  <a:gd name="connsiteX8" fmla="*/ 0 w 331961"/>
                  <a:gd name="connsiteY8" fmla="*/ 54890 h 89409"/>
                  <a:gd name="connsiteX9" fmla="*/ 407 w 331961"/>
                  <a:gd name="connsiteY9" fmla="*/ 63553 h 89409"/>
                  <a:gd name="connsiteX10" fmla="*/ 108102 w 331961"/>
                  <a:gd name="connsiteY10" fmla="*/ 89410 h 894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331961" h="89409">
                    <a:moveTo>
                      <a:pt x="296878" y="59059"/>
                    </a:moveTo>
                    <a:lnTo>
                      <a:pt x="331962" y="58892"/>
                    </a:lnTo>
                    <a:cubicBezTo>
                      <a:pt x="330464" y="56088"/>
                      <a:pt x="327301" y="52829"/>
                      <a:pt x="322724" y="49426"/>
                    </a:cubicBezTo>
                    <a:cubicBezTo>
                      <a:pt x="303936" y="35443"/>
                      <a:pt x="262298" y="37108"/>
                      <a:pt x="262298" y="37108"/>
                    </a:cubicBezTo>
                    <a:lnTo>
                      <a:pt x="64439" y="37108"/>
                    </a:lnTo>
                    <a:lnTo>
                      <a:pt x="10209" y="0"/>
                    </a:lnTo>
                    <a:lnTo>
                      <a:pt x="5859" y="2205"/>
                    </a:lnTo>
                    <a:lnTo>
                      <a:pt x="32028" y="54147"/>
                    </a:lnTo>
                    <a:lnTo>
                      <a:pt x="0" y="54890"/>
                    </a:lnTo>
                    <a:lnTo>
                      <a:pt x="407" y="63553"/>
                    </a:lnTo>
                    <a:cubicBezTo>
                      <a:pt x="33945" y="84126"/>
                      <a:pt x="90656" y="88523"/>
                      <a:pt x="108102" y="89410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422" name="Gráfico 11">
              <a:extLst>
                <a:ext uri="{FF2B5EF4-FFF2-40B4-BE49-F238E27FC236}">
                  <a16:creationId xmlns:a16="http://schemas.microsoft.com/office/drawing/2014/main" id="{0F22FD10-F9FD-24C5-963C-3756B2BE9FC5}"/>
                </a:ext>
              </a:extLst>
            </p:cNvPr>
            <p:cNvGrpSpPr/>
            <p:nvPr/>
          </p:nvGrpSpPr>
          <p:grpSpPr>
            <a:xfrm>
              <a:off x="9888989" y="2035576"/>
              <a:ext cx="235806" cy="127931"/>
              <a:chOff x="9888989" y="2035576"/>
              <a:chExt cx="235806" cy="127931"/>
            </a:xfrm>
            <a:noFill/>
          </p:grpSpPr>
          <p:sp>
            <p:nvSpPr>
              <p:cNvPr id="1423" name="Forma livre: Forma 1422">
                <a:extLst>
                  <a:ext uri="{FF2B5EF4-FFF2-40B4-BE49-F238E27FC236}">
                    <a16:creationId xmlns:a16="http://schemas.microsoft.com/office/drawing/2014/main" id="{078F5904-59E6-7FFC-78F1-4AF808762D41}"/>
                  </a:ext>
                </a:extLst>
              </p:cNvPr>
              <p:cNvSpPr/>
              <p:nvPr/>
            </p:nvSpPr>
            <p:spPr>
              <a:xfrm>
                <a:off x="10006892" y="2035576"/>
                <a:ext cx="1198" cy="29715"/>
              </a:xfrm>
              <a:custGeom>
                <a:avLst/>
                <a:gdLst>
                  <a:gd name="connsiteX0" fmla="*/ 0 w 1198"/>
                  <a:gd name="connsiteY0" fmla="*/ 0 h 29715"/>
                  <a:gd name="connsiteX1" fmla="*/ 0 w 1198"/>
                  <a:gd name="connsiteY1" fmla="*/ 29715 h 297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8" h="29715">
                    <a:moveTo>
                      <a:pt x="0" y="0"/>
                    </a:moveTo>
                    <a:lnTo>
                      <a:pt x="0" y="29715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1424" name="Gráfico 11">
                <a:extLst>
                  <a:ext uri="{FF2B5EF4-FFF2-40B4-BE49-F238E27FC236}">
                    <a16:creationId xmlns:a16="http://schemas.microsoft.com/office/drawing/2014/main" id="{786573DA-AD6C-8365-97CD-BB86D6BB8EDB}"/>
                  </a:ext>
                </a:extLst>
              </p:cNvPr>
              <p:cNvGrpSpPr/>
              <p:nvPr/>
            </p:nvGrpSpPr>
            <p:grpSpPr>
              <a:xfrm>
                <a:off x="9888989" y="2150580"/>
                <a:ext cx="235806" cy="1198"/>
                <a:chOff x="9888989" y="2150580"/>
                <a:chExt cx="235806" cy="1198"/>
              </a:xfrm>
            </p:grpSpPr>
            <p:sp>
              <p:nvSpPr>
                <p:cNvPr id="1425" name="Forma livre: Forma 1424">
                  <a:extLst>
                    <a:ext uri="{FF2B5EF4-FFF2-40B4-BE49-F238E27FC236}">
                      <a16:creationId xmlns:a16="http://schemas.microsoft.com/office/drawing/2014/main" id="{3B108331-703D-EB96-96E0-C76B4A5BC20E}"/>
                    </a:ext>
                  </a:extLst>
                </p:cNvPr>
                <p:cNvSpPr/>
                <p:nvPr/>
              </p:nvSpPr>
              <p:spPr>
                <a:xfrm>
                  <a:off x="9888989" y="2150580"/>
                  <a:ext cx="29715" cy="1198"/>
                </a:xfrm>
                <a:custGeom>
                  <a:avLst/>
                  <a:gdLst>
                    <a:gd name="connsiteX0" fmla="*/ 29715 w 29715"/>
                    <a:gd name="connsiteY0" fmla="*/ 0 h 1198"/>
                    <a:gd name="connsiteX1" fmla="*/ 0 w 29715"/>
                    <a:gd name="connsiteY1" fmla="*/ 0 h 11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9715" h="1198">
                      <a:moveTo>
                        <a:pt x="29715" y="0"/>
                      </a:moveTo>
                      <a:lnTo>
                        <a:pt x="0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426" name="Forma livre: Forma 1425">
                  <a:extLst>
                    <a:ext uri="{FF2B5EF4-FFF2-40B4-BE49-F238E27FC236}">
                      <a16:creationId xmlns:a16="http://schemas.microsoft.com/office/drawing/2014/main" id="{3D6D9285-1DBA-5F31-7B0A-9BAA1B364022}"/>
                    </a:ext>
                  </a:extLst>
                </p:cNvPr>
                <p:cNvSpPr/>
                <p:nvPr/>
              </p:nvSpPr>
              <p:spPr>
                <a:xfrm>
                  <a:off x="10095079" y="2150580"/>
                  <a:ext cx="29715" cy="1198"/>
                </a:xfrm>
                <a:custGeom>
                  <a:avLst/>
                  <a:gdLst>
                    <a:gd name="connsiteX0" fmla="*/ 29715 w 29715"/>
                    <a:gd name="connsiteY0" fmla="*/ 0 h 1198"/>
                    <a:gd name="connsiteX1" fmla="*/ 0 w 29715"/>
                    <a:gd name="connsiteY1" fmla="*/ 0 h 11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9715" h="1198">
                      <a:moveTo>
                        <a:pt x="29715" y="0"/>
                      </a:moveTo>
                      <a:lnTo>
                        <a:pt x="0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1427" name="Forma livre: Forma 1426">
                <a:extLst>
                  <a:ext uri="{FF2B5EF4-FFF2-40B4-BE49-F238E27FC236}">
                    <a16:creationId xmlns:a16="http://schemas.microsoft.com/office/drawing/2014/main" id="{6C9B8C6A-DEB0-92EA-27DF-48026953C754}"/>
                  </a:ext>
                </a:extLst>
              </p:cNvPr>
              <p:cNvSpPr/>
              <p:nvPr/>
            </p:nvSpPr>
            <p:spPr>
              <a:xfrm>
                <a:off x="9966429" y="2101609"/>
                <a:ext cx="102278" cy="61899"/>
              </a:xfrm>
              <a:custGeom>
                <a:avLst/>
                <a:gdLst>
                  <a:gd name="connsiteX0" fmla="*/ 102278 w 102278"/>
                  <a:gd name="connsiteY0" fmla="*/ 0 h 61899"/>
                  <a:gd name="connsiteX1" fmla="*/ 40379 w 102278"/>
                  <a:gd name="connsiteY1" fmla="*/ 61899 h 61899"/>
                  <a:gd name="connsiteX2" fmla="*/ 0 w 102278"/>
                  <a:gd name="connsiteY2" fmla="*/ 23736 h 618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02278" h="61899">
                    <a:moveTo>
                      <a:pt x="102278" y="0"/>
                    </a:moveTo>
                    <a:lnTo>
                      <a:pt x="40379" y="61899"/>
                    </a:lnTo>
                    <a:lnTo>
                      <a:pt x="0" y="23736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428" name="Forma livre: Forma 1427">
              <a:extLst>
                <a:ext uri="{FF2B5EF4-FFF2-40B4-BE49-F238E27FC236}">
                  <a16:creationId xmlns:a16="http://schemas.microsoft.com/office/drawing/2014/main" id="{E4D70C40-0E51-5C34-87A4-E45DDDD6BDFF}"/>
                </a:ext>
              </a:extLst>
            </p:cNvPr>
            <p:cNvSpPr/>
            <p:nvPr/>
          </p:nvSpPr>
          <p:spPr>
            <a:xfrm>
              <a:off x="9887072" y="2031407"/>
              <a:ext cx="239640" cy="179190"/>
            </a:xfrm>
            <a:custGeom>
              <a:avLst/>
              <a:gdLst>
                <a:gd name="connsiteX0" fmla="*/ 10197 w 239640"/>
                <a:gd name="connsiteY0" fmla="*/ 168251 h 179190"/>
                <a:gd name="connsiteX1" fmla="*/ 0 w 239640"/>
                <a:gd name="connsiteY1" fmla="*/ 119820 h 179190"/>
                <a:gd name="connsiteX2" fmla="*/ 119820 w 239640"/>
                <a:gd name="connsiteY2" fmla="*/ 0 h 179190"/>
                <a:gd name="connsiteX3" fmla="*/ 239640 w 239640"/>
                <a:gd name="connsiteY3" fmla="*/ 119820 h 179190"/>
                <a:gd name="connsiteX4" fmla="*/ 223920 w 239640"/>
                <a:gd name="connsiteY4" fmla="*/ 179191 h 1791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9640" h="179190">
                  <a:moveTo>
                    <a:pt x="10197" y="168251"/>
                  </a:moveTo>
                  <a:cubicBezTo>
                    <a:pt x="3643" y="153442"/>
                    <a:pt x="0" y="137050"/>
                    <a:pt x="0" y="119820"/>
                  </a:cubicBezTo>
                  <a:cubicBezTo>
                    <a:pt x="0" y="53643"/>
                    <a:pt x="53643" y="0"/>
                    <a:pt x="119820" y="0"/>
                  </a:cubicBezTo>
                  <a:cubicBezTo>
                    <a:pt x="185997" y="0"/>
                    <a:pt x="239640" y="53643"/>
                    <a:pt x="239640" y="119820"/>
                  </a:cubicBezTo>
                  <a:cubicBezTo>
                    <a:pt x="239640" y="141412"/>
                    <a:pt x="233925" y="161685"/>
                    <a:pt x="223920" y="179191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429" name="Gráfico 11">
            <a:extLst>
              <a:ext uri="{FF2B5EF4-FFF2-40B4-BE49-F238E27FC236}">
                <a16:creationId xmlns:a16="http://schemas.microsoft.com/office/drawing/2014/main" id="{3D2BE26D-EF1C-D1FE-388C-D61D0F7B1A53}"/>
              </a:ext>
            </a:extLst>
          </p:cNvPr>
          <p:cNvGrpSpPr/>
          <p:nvPr/>
        </p:nvGrpSpPr>
        <p:grpSpPr>
          <a:xfrm>
            <a:off x="11107572" y="2047259"/>
            <a:ext cx="305409" cy="282008"/>
            <a:chOff x="11107572" y="2047259"/>
            <a:chExt cx="305409" cy="282008"/>
          </a:xfrm>
        </p:grpSpPr>
        <p:sp>
          <p:nvSpPr>
            <p:cNvPr id="1430" name="Forma livre: Forma 1429">
              <a:extLst>
                <a:ext uri="{FF2B5EF4-FFF2-40B4-BE49-F238E27FC236}">
                  <a16:creationId xmlns:a16="http://schemas.microsoft.com/office/drawing/2014/main" id="{F2639ACD-FD29-6F25-226B-882B8E4EC471}"/>
                </a:ext>
              </a:extLst>
            </p:cNvPr>
            <p:cNvSpPr/>
            <p:nvPr/>
          </p:nvSpPr>
          <p:spPr>
            <a:xfrm>
              <a:off x="11107572" y="2047259"/>
              <a:ext cx="289269" cy="215784"/>
            </a:xfrm>
            <a:custGeom>
              <a:avLst/>
              <a:gdLst>
                <a:gd name="connsiteX0" fmla="*/ 169989 w 289269"/>
                <a:gd name="connsiteY0" fmla="*/ 215784 h 215784"/>
                <a:gd name="connsiteX1" fmla="*/ 33550 w 289269"/>
                <a:gd name="connsiteY1" fmla="*/ 215784 h 215784"/>
                <a:gd name="connsiteX2" fmla="*/ 0 w 289269"/>
                <a:gd name="connsiteY2" fmla="*/ 182234 h 215784"/>
                <a:gd name="connsiteX3" fmla="*/ 0 w 289269"/>
                <a:gd name="connsiteY3" fmla="*/ 33550 h 215784"/>
                <a:gd name="connsiteX4" fmla="*/ 33550 w 289269"/>
                <a:gd name="connsiteY4" fmla="*/ 0 h 215784"/>
                <a:gd name="connsiteX5" fmla="*/ 255720 w 289269"/>
                <a:gd name="connsiteY5" fmla="*/ 0 h 215784"/>
                <a:gd name="connsiteX6" fmla="*/ 289270 w 289269"/>
                <a:gd name="connsiteY6" fmla="*/ 33550 h 2157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89269" h="215784">
                  <a:moveTo>
                    <a:pt x="169989" y="215784"/>
                  </a:moveTo>
                  <a:lnTo>
                    <a:pt x="33550" y="215784"/>
                  </a:lnTo>
                  <a:cubicBezTo>
                    <a:pt x="15097" y="215784"/>
                    <a:pt x="0" y="200687"/>
                    <a:pt x="0" y="182234"/>
                  </a:cubicBezTo>
                  <a:lnTo>
                    <a:pt x="0" y="33550"/>
                  </a:lnTo>
                  <a:cubicBezTo>
                    <a:pt x="0" y="15097"/>
                    <a:pt x="15097" y="0"/>
                    <a:pt x="33550" y="0"/>
                  </a:cubicBezTo>
                  <a:lnTo>
                    <a:pt x="255720" y="0"/>
                  </a:lnTo>
                  <a:cubicBezTo>
                    <a:pt x="274172" y="0"/>
                    <a:pt x="289270" y="15097"/>
                    <a:pt x="289270" y="33550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31" name="Forma livre: Forma 1430">
              <a:extLst>
                <a:ext uri="{FF2B5EF4-FFF2-40B4-BE49-F238E27FC236}">
                  <a16:creationId xmlns:a16="http://schemas.microsoft.com/office/drawing/2014/main" id="{CB38DC9F-775F-B4B8-0EC4-2EF01966A170}"/>
                </a:ext>
              </a:extLst>
            </p:cNvPr>
            <p:cNvSpPr/>
            <p:nvPr/>
          </p:nvSpPr>
          <p:spPr>
            <a:xfrm>
              <a:off x="11136328" y="2076016"/>
              <a:ext cx="110558" cy="158270"/>
            </a:xfrm>
            <a:custGeom>
              <a:avLst/>
              <a:gdLst>
                <a:gd name="connsiteX0" fmla="*/ 105765 w 110558"/>
                <a:gd name="connsiteY0" fmla="*/ 0 h 158270"/>
                <a:gd name="connsiteX1" fmla="*/ 110558 w 110558"/>
                <a:gd name="connsiteY1" fmla="*/ 4793 h 158270"/>
                <a:gd name="connsiteX2" fmla="*/ 110558 w 110558"/>
                <a:gd name="connsiteY2" fmla="*/ 153478 h 158270"/>
                <a:gd name="connsiteX3" fmla="*/ 105765 w 110558"/>
                <a:gd name="connsiteY3" fmla="*/ 158270 h 158270"/>
                <a:gd name="connsiteX4" fmla="*/ 4793 w 110558"/>
                <a:gd name="connsiteY4" fmla="*/ 158270 h 158270"/>
                <a:gd name="connsiteX5" fmla="*/ 0 w 110558"/>
                <a:gd name="connsiteY5" fmla="*/ 153478 h 158270"/>
                <a:gd name="connsiteX6" fmla="*/ 0 w 110558"/>
                <a:gd name="connsiteY6" fmla="*/ 4793 h 158270"/>
                <a:gd name="connsiteX7" fmla="*/ 4793 w 110558"/>
                <a:gd name="connsiteY7" fmla="*/ 0 h 1582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10558" h="158270">
                  <a:moveTo>
                    <a:pt x="105765" y="0"/>
                  </a:moveTo>
                  <a:cubicBezTo>
                    <a:pt x="108412" y="0"/>
                    <a:pt x="110558" y="2146"/>
                    <a:pt x="110558" y="4793"/>
                  </a:cubicBezTo>
                  <a:lnTo>
                    <a:pt x="110558" y="153478"/>
                  </a:lnTo>
                  <a:cubicBezTo>
                    <a:pt x="110558" y="156125"/>
                    <a:pt x="108412" y="158270"/>
                    <a:pt x="105765" y="158270"/>
                  </a:cubicBezTo>
                  <a:lnTo>
                    <a:pt x="4793" y="158270"/>
                  </a:lnTo>
                  <a:cubicBezTo>
                    <a:pt x="2146" y="158270"/>
                    <a:pt x="0" y="156125"/>
                    <a:pt x="0" y="153478"/>
                  </a:cubicBezTo>
                  <a:lnTo>
                    <a:pt x="0" y="4793"/>
                  </a:lnTo>
                  <a:cubicBezTo>
                    <a:pt x="0" y="2146"/>
                    <a:pt x="2146" y="0"/>
                    <a:pt x="4793" y="0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32" name="Forma livre: Forma 1431">
              <a:extLst>
                <a:ext uri="{FF2B5EF4-FFF2-40B4-BE49-F238E27FC236}">
                  <a16:creationId xmlns:a16="http://schemas.microsoft.com/office/drawing/2014/main" id="{DEBAB70E-E7D9-75DD-556D-0EE4725DC6BB}"/>
                </a:ext>
              </a:extLst>
            </p:cNvPr>
            <p:cNvSpPr/>
            <p:nvPr/>
          </p:nvSpPr>
          <p:spPr>
            <a:xfrm>
              <a:off x="11339064" y="2263043"/>
              <a:ext cx="30673" cy="1198"/>
            </a:xfrm>
            <a:custGeom>
              <a:avLst/>
              <a:gdLst>
                <a:gd name="connsiteX0" fmla="*/ 30674 w 30673"/>
                <a:gd name="connsiteY0" fmla="*/ 0 h 1198"/>
                <a:gd name="connsiteX1" fmla="*/ 0 w 30673"/>
                <a:gd name="connsiteY1" fmla="*/ 0 h 11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0673" h="1198">
                  <a:moveTo>
                    <a:pt x="30674" y="0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33" name="Forma livre: Forma 1432">
              <a:extLst>
                <a:ext uri="{FF2B5EF4-FFF2-40B4-BE49-F238E27FC236}">
                  <a16:creationId xmlns:a16="http://schemas.microsoft.com/office/drawing/2014/main" id="{0BBAB394-CD1B-C97B-28FA-C92908DDB5EA}"/>
                </a:ext>
              </a:extLst>
            </p:cNvPr>
            <p:cNvSpPr/>
            <p:nvPr/>
          </p:nvSpPr>
          <p:spPr>
            <a:xfrm>
              <a:off x="11136975" y="2154917"/>
              <a:ext cx="109275" cy="1198"/>
            </a:xfrm>
            <a:custGeom>
              <a:avLst/>
              <a:gdLst>
                <a:gd name="connsiteX0" fmla="*/ 0 w 109275"/>
                <a:gd name="connsiteY0" fmla="*/ 0 h 1198"/>
                <a:gd name="connsiteX1" fmla="*/ 109276 w 109275"/>
                <a:gd name="connsiteY1" fmla="*/ 0 h 11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9275" h="1198">
                  <a:moveTo>
                    <a:pt x="0" y="0"/>
                  </a:moveTo>
                  <a:lnTo>
                    <a:pt x="109276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434" name="Gráfico 11">
              <a:extLst>
                <a:ext uri="{FF2B5EF4-FFF2-40B4-BE49-F238E27FC236}">
                  <a16:creationId xmlns:a16="http://schemas.microsoft.com/office/drawing/2014/main" id="{870B3731-6C80-4284-ACBC-A01888EB3E4F}"/>
                </a:ext>
              </a:extLst>
            </p:cNvPr>
            <p:cNvGrpSpPr/>
            <p:nvPr/>
          </p:nvGrpSpPr>
          <p:grpSpPr>
            <a:xfrm>
              <a:off x="11275943" y="2094619"/>
              <a:ext cx="137038" cy="234648"/>
              <a:chOff x="11275943" y="2094619"/>
              <a:chExt cx="137038" cy="234648"/>
            </a:xfrm>
            <a:noFill/>
          </p:grpSpPr>
          <p:sp>
            <p:nvSpPr>
              <p:cNvPr id="1435" name="Forma livre: Forma 1434">
                <a:extLst>
                  <a:ext uri="{FF2B5EF4-FFF2-40B4-BE49-F238E27FC236}">
                    <a16:creationId xmlns:a16="http://schemas.microsoft.com/office/drawing/2014/main" id="{F255743A-CF9B-0982-329F-077C939621A8}"/>
                  </a:ext>
                </a:extLst>
              </p:cNvPr>
              <p:cNvSpPr/>
              <p:nvPr/>
            </p:nvSpPr>
            <p:spPr>
              <a:xfrm>
                <a:off x="11376172" y="2094619"/>
                <a:ext cx="36808" cy="234612"/>
              </a:xfrm>
              <a:custGeom>
                <a:avLst/>
                <a:gdLst>
                  <a:gd name="connsiteX0" fmla="*/ 36737 w 36808"/>
                  <a:gd name="connsiteY0" fmla="*/ 135150 h 234612"/>
                  <a:gd name="connsiteX1" fmla="*/ 36665 w 36808"/>
                  <a:gd name="connsiteY1" fmla="*/ 13377 h 234612"/>
                  <a:gd name="connsiteX2" fmla="*/ 30314 w 36808"/>
                  <a:gd name="connsiteY2" fmla="*/ 472 h 234612"/>
                  <a:gd name="connsiteX3" fmla="*/ 9598 w 36808"/>
                  <a:gd name="connsiteY3" fmla="*/ 21944 h 234612"/>
                  <a:gd name="connsiteX4" fmla="*/ 0 w 36808"/>
                  <a:gd name="connsiteY4" fmla="*/ 120352 h 234612"/>
                  <a:gd name="connsiteX5" fmla="*/ 12881 w 36808"/>
                  <a:gd name="connsiteY5" fmla="*/ 126631 h 234612"/>
                  <a:gd name="connsiteX6" fmla="*/ 13120 w 36808"/>
                  <a:gd name="connsiteY6" fmla="*/ 224236 h 234612"/>
                  <a:gd name="connsiteX7" fmla="*/ 25066 w 36808"/>
                  <a:gd name="connsiteY7" fmla="*/ 234612 h 234612"/>
                  <a:gd name="connsiteX8" fmla="*/ 36809 w 36808"/>
                  <a:gd name="connsiteY8" fmla="*/ 224224 h 234612"/>
                  <a:gd name="connsiteX9" fmla="*/ 36749 w 36808"/>
                  <a:gd name="connsiteY9" fmla="*/ 135126 h 2346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36808" h="234612">
                    <a:moveTo>
                      <a:pt x="36737" y="135150"/>
                    </a:moveTo>
                    <a:lnTo>
                      <a:pt x="36665" y="13377"/>
                    </a:lnTo>
                    <a:cubicBezTo>
                      <a:pt x="36533" y="5648"/>
                      <a:pt x="36929" y="-1996"/>
                      <a:pt x="30314" y="472"/>
                    </a:cubicBezTo>
                    <a:cubicBezTo>
                      <a:pt x="30314" y="472"/>
                      <a:pt x="12725" y="6056"/>
                      <a:pt x="9598" y="21944"/>
                    </a:cubicBezTo>
                    <a:lnTo>
                      <a:pt x="0" y="120352"/>
                    </a:lnTo>
                    <a:lnTo>
                      <a:pt x="12881" y="126631"/>
                    </a:lnTo>
                    <a:lnTo>
                      <a:pt x="13120" y="224236"/>
                    </a:lnTo>
                    <a:cubicBezTo>
                      <a:pt x="13120" y="229951"/>
                      <a:pt x="19063" y="234624"/>
                      <a:pt x="25066" y="234612"/>
                    </a:cubicBezTo>
                    <a:cubicBezTo>
                      <a:pt x="31057" y="234612"/>
                      <a:pt x="36797" y="229939"/>
                      <a:pt x="36809" y="224224"/>
                    </a:cubicBezTo>
                    <a:lnTo>
                      <a:pt x="36749" y="135126"/>
                    </a:lnTo>
                    <a:close/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1436" name="Gráfico 11">
                <a:extLst>
                  <a:ext uri="{FF2B5EF4-FFF2-40B4-BE49-F238E27FC236}">
                    <a16:creationId xmlns:a16="http://schemas.microsoft.com/office/drawing/2014/main" id="{F0DF9819-F22F-8D72-DB7C-37C2E319484D}"/>
                  </a:ext>
                </a:extLst>
              </p:cNvPr>
              <p:cNvGrpSpPr/>
              <p:nvPr/>
            </p:nvGrpSpPr>
            <p:grpSpPr>
              <a:xfrm>
                <a:off x="11275943" y="2101813"/>
                <a:ext cx="66643" cy="227454"/>
                <a:chOff x="11275943" y="2101813"/>
                <a:chExt cx="66643" cy="227454"/>
              </a:xfrm>
              <a:noFill/>
            </p:grpSpPr>
            <p:sp>
              <p:nvSpPr>
                <p:cNvPr id="1437" name="Forma livre: Forma 1436">
                  <a:extLst>
                    <a:ext uri="{FF2B5EF4-FFF2-40B4-BE49-F238E27FC236}">
                      <a16:creationId xmlns:a16="http://schemas.microsoft.com/office/drawing/2014/main" id="{6619332A-01E0-190B-AA44-C8F7E90CC33B}"/>
                    </a:ext>
                  </a:extLst>
                </p:cNvPr>
                <p:cNvSpPr/>
                <p:nvPr/>
              </p:nvSpPr>
              <p:spPr>
                <a:xfrm>
                  <a:off x="11275943" y="2101813"/>
                  <a:ext cx="66643" cy="227454"/>
                </a:xfrm>
                <a:custGeom>
                  <a:avLst/>
                  <a:gdLst>
                    <a:gd name="connsiteX0" fmla="*/ 0 w 66643"/>
                    <a:gd name="connsiteY0" fmla="*/ 12 h 227454"/>
                    <a:gd name="connsiteX1" fmla="*/ 0 w 66643"/>
                    <a:gd name="connsiteY1" fmla="*/ 76805 h 227454"/>
                    <a:gd name="connsiteX2" fmla="*/ 14522 w 66643"/>
                    <a:gd name="connsiteY2" fmla="*/ 90644 h 227454"/>
                    <a:gd name="connsiteX3" fmla="*/ 21795 w 66643"/>
                    <a:gd name="connsiteY3" fmla="*/ 90644 h 227454"/>
                    <a:gd name="connsiteX4" fmla="*/ 21795 w 66643"/>
                    <a:gd name="connsiteY4" fmla="*/ 217246 h 227454"/>
                    <a:gd name="connsiteX5" fmla="*/ 33322 w 66643"/>
                    <a:gd name="connsiteY5" fmla="*/ 227455 h 227454"/>
                    <a:gd name="connsiteX6" fmla="*/ 44861 w 66643"/>
                    <a:gd name="connsiteY6" fmla="*/ 217246 h 227454"/>
                    <a:gd name="connsiteX7" fmla="*/ 44861 w 66643"/>
                    <a:gd name="connsiteY7" fmla="*/ 90644 h 227454"/>
                    <a:gd name="connsiteX8" fmla="*/ 52122 w 66643"/>
                    <a:gd name="connsiteY8" fmla="*/ 90644 h 227454"/>
                    <a:gd name="connsiteX9" fmla="*/ 66644 w 66643"/>
                    <a:gd name="connsiteY9" fmla="*/ 76805 h 227454"/>
                    <a:gd name="connsiteX10" fmla="*/ 66644 w 66643"/>
                    <a:gd name="connsiteY10" fmla="*/ 0 h 22745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66643" h="227454">
                      <a:moveTo>
                        <a:pt x="0" y="12"/>
                      </a:moveTo>
                      <a:lnTo>
                        <a:pt x="0" y="76805"/>
                      </a:lnTo>
                      <a:cubicBezTo>
                        <a:pt x="0" y="84413"/>
                        <a:pt x="6530" y="90644"/>
                        <a:pt x="14522" y="90644"/>
                      </a:cubicBezTo>
                      <a:lnTo>
                        <a:pt x="21795" y="90644"/>
                      </a:lnTo>
                      <a:lnTo>
                        <a:pt x="21795" y="217246"/>
                      </a:lnTo>
                      <a:cubicBezTo>
                        <a:pt x="21795" y="222853"/>
                        <a:pt x="27427" y="227455"/>
                        <a:pt x="33322" y="227455"/>
                      </a:cubicBezTo>
                      <a:cubicBezTo>
                        <a:pt x="39217" y="227455"/>
                        <a:pt x="44861" y="222853"/>
                        <a:pt x="44861" y="217246"/>
                      </a:cubicBezTo>
                      <a:lnTo>
                        <a:pt x="44861" y="90644"/>
                      </a:lnTo>
                      <a:cubicBezTo>
                        <a:pt x="44861" y="90644"/>
                        <a:pt x="52122" y="90644"/>
                        <a:pt x="52122" y="90644"/>
                      </a:cubicBezTo>
                      <a:cubicBezTo>
                        <a:pt x="60102" y="90644"/>
                        <a:pt x="66644" y="84413"/>
                        <a:pt x="66644" y="76805"/>
                      </a:cubicBezTo>
                      <a:lnTo>
                        <a:pt x="66644" y="0"/>
                      </a:ln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438" name="Forma livre: Forma 1437">
                  <a:extLst>
                    <a:ext uri="{FF2B5EF4-FFF2-40B4-BE49-F238E27FC236}">
                      <a16:creationId xmlns:a16="http://schemas.microsoft.com/office/drawing/2014/main" id="{4D25597F-952D-AAE6-CA03-768425724B02}"/>
                    </a:ext>
                  </a:extLst>
                </p:cNvPr>
                <p:cNvSpPr/>
                <p:nvPr/>
              </p:nvSpPr>
              <p:spPr>
                <a:xfrm>
                  <a:off x="11295449" y="2151407"/>
                  <a:ext cx="27630" cy="1198"/>
                </a:xfrm>
                <a:custGeom>
                  <a:avLst/>
                  <a:gdLst>
                    <a:gd name="connsiteX0" fmla="*/ 0 w 27630"/>
                    <a:gd name="connsiteY0" fmla="*/ 0 h 1198"/>
                    <a:gd name="connsiteX1" fmla="*/ 27631 w 27630"/>
                    <a:gd name="connsiteY1" fmla="*/ 0 h 11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7630" h="1198">
                      <a:moveTo>
                        <a:pt x="0" y="0"/>
                      </a:moveTo>
                      <a:lnTo>
                        <a:pt x="27631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439" name="Forma livre: Forma 1438">
                  <a:extLst>
                    <a:ext uri="{FF2B5EF4-FFF2-40B4-BE49-F238E27FC236}">
                      <a16:creationId xmlns:a16="http://schemas.microsoft.com/office/drawing/2014/main" id="{8DD6B302-4709-7D53-EC81-33386CBF5EE9}"/>
                    </a:ext>
                  </a:extLst>
                </p:cNvPr>
                <p:cNvSpPr/>
                <p:nvPr/>
              </p:nvSpPr>
              <p:spPr>
                <a:xfrm>
                  <a:off x="11309253" y="2102424"/>
                  <a:ext cx="11" cy="45783"/>
                </a:xfrm>
                <a:custGeom>
                  <a:avLst/>
                  <a:gdLst>
                    <a:gd name="connsiteX0" fmla="*/ 0 w 11"/>
                    <a:gd name="connsiteY0" fmla="*/ 45783 h 45783"/>
                    <a:gd name="connsiteX1" fmla="*/ 12 w 11"/>
                    <a:gd name="connsiteY1" fmla="*/ 0 h 4578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1" h="45783">
                      <a:moveTo>
                        <a:pt x="0" y="45783"/>
                      </a:moveTo>
                      <a:lnTo>
                        <a:pt x="12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sp>
          <p:nvSpPr>
            <p:cNvPr id="1440" name="Forma livre: Forma 1439">
              <a:extLst>
                <a:ext uri="{FF2B5EF4-FFF2-40B4-BE49-F238E27FC236}">
                  <a16:creationId xmlns:a16="http://schemas.microsoft.com/office/drawing/2014/main" id="{94C1428A-C309-335C-C95D-D16E5BCAA9C6}"/>
                </a:ext>
              </a:extLst>
            </p:cNvPr>
            <p:cNvSpPr/>
            <p:nvPr/>
          </p:nvSpPr>
          <p:spPr>
            <a:xfrm>
              <a:off x="11162593" y="2178881"/>
              <a:ext cx="58675" cy="7333"/>
            </a:xfrm>
            <a:custGeom>
              <a:avLst/>
              <a:gdLst>
                <a:gd name="connsiteX0" fmla="*/ 58676 w 58675"/>
                <a:gd name="connsiteY0" fmla="*/ 0 h 7333"/>
                <a:gd name="connsiteX1" fmla="*/ 29524 w 58675"/>
                <a:gd name="connsiteY1" fmla="*/ 0 h 7333"/>
                <a:gd name="connsiteX2" fmla="*/ 29344 w 58675"/>
                <a:gd name="connsiteY2" fmla="*/ 0 h 7333"/>
                <a:gd name="connsiteX3" fmla="*/ 180 w 58675"/>
                <a:gd name="connsiteY3" fmla="*/ 0 h 7333"/>
                <a:gd name="connsiteX4" fmla="*/ 0 w 58675"/>
                <a:gd name="connsiteY4" fmla="*/ 0 h 73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8675" h="7333">
                  <a:moveTo>
                    <a:pt x="58676" y="0"/>
                  </a:moveTo>
                  <a:cubicBezTo>
                    <a:pt x="41769" y="16499"/>
                    <a:pt x="29524" y="0"/>
                    <a:pt x="29524" y="0"/>
                  </a:cubicBezTo>
                  <a:lnTo>
                    <a:pt x="29344" y="0"/>
                  </a:lnTo>
                  <a:cubicBezTo>
                    <a:pt x="12425" y="16499"/>
                    <a:pt x="180" y="0"/>
                    <a:pt x="180" y="0"/>
                  </a:cubicBezTo>
                  <a:lnTo>
                    <a:pt x="0" y="0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41" name="Forma livre: Forma 1440">
              <a:extLst>
                <a:ext uri="{FF2B5EF4-FFF2-40B4-BE49-F238E27FC236}">
                  <a16:creationId xmlns:a16="http://schemas.microsoft.com/office/drawing/2014/main" id="{910DFCA5-81B2-E25E-E5FA-8FEF37948446}"/>
                </a:ext>
              </a:extLst>
            </p:cNvPr>
            <p:cNvSpPr/>
            <p:nvPr/>
          </p:nvSpPr>
          <p:spPr>
            <a:xfrm>
              <a:off x="11162593" y="2204583"/>
              <a:ext cx="58675" cy="7333"/>
            </a:xfrm>
            <a:custGeom>
              <a:avLst/>
              <a:gdLst>
                <a:gd name="connsiteX0" fmla="*/ 58676 w 58675"/>
                <a:gd name="connsiteY0" fmla="*/ 0 h 7333"/>
                <a:gd name="connsiteX1" fmla="*/ 29524 w 58675"/>
                <a:gd name="connsiteY1" fmla="*/ 0 h 7333"/>
                <a:gd name="connsiteX2" fmla="*/ 29344 w 58675"/>
                <a:gd name="connsiteY2" fmla="*/ 0 h 7333"/>
                <a:gd name="connsiteX3" fmla="*/ 180 w 58675"/>
                <a:gd name="connsiteY3" fmla="*/ 0 h 7333"/>
                <a:gd name="connsiteX4" fmla="*/ 0 w 58675"/>
                <a:gd name="connsiteY4" fmla="*/ 0 h 73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8675" h="7333">
                  <a:moveTo>
                    <a:pt x="58676" y="0"/>
                  </a:moveTo>
                  <a:cubicBezTo>
                    <a:pt x="41769" y="16499"/>
                    <a:pt x="29524" y="0"/>
                    <a:pt x="29524" y="0"/>
                  </a:cubicBezTo>
                  <a:lnTo>
                    <a:pt x="29344" y="0"/>
                  </a:lnTo>
                  <a:cubicBezTo>
                    <a:pt x="12425" y="16499"/>
                    <a:pt x="180" y="0"/>
                    <a:pt x="180" y="0"/>
                  </a:cubicBezTo>
                  <a:lnTo>
                    <a:pt x="0" y="0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442" name="Gráfico 11">
              <a:extLst>
                <a:ext uri="{FF2B5EF4-FFF2-40B4-BE49-F238E27FC236}">
                  <a16:creationId xmlns:a16="http://schemas.microsoft.com/office/drawing/2014/main" id="{66067F94-84C3-31BF-96CE-02F836552A83}"/>
                </a:ext>
              </a:extLst>
            </p:cNvPr>
            <p:cNvGrpSpPr/>
            <p:nvPr/>
          </p:nvGrpSpPr>
          <p:grpSpPr>
            <a:xfrm>
              <a:off x="11158763" y="2099794"/>
              <a:ext cx="63407" cy="34729"/>
              <a:chOff x="11158763" y="2099794"/>
              <a:chExt cx="63407" cy="34729"/>
            </a:xfrm>
            <a:solidFill>
              <a:srgbClr val="394553"/>
            </a:solidFill>
          </p:grpSpPr>
          <p:sp>
            <p:nvSpPr>
              <p:cNvPr id="1443" name="Forma livre: Forma 1442">
                <a:extLst>
                  <a:ext uri="{FF2B5EF4-FFF2-40B4-BE49-F238E27FC236}">
                    <a16:creationId xmlns:a16="http://schemas.microsoft.com/office/drawing/2014/main" id="{DDC50450-C2B3-4A6E-8D7B-B2C6A5598F87}"/>
                  </a:ext>
                </a:extLst>
              </p:cNvPr>
              <p:cNvSpPr/>
              <p:nvPr/>
            </p:nvSpPr>
            <p:spPr>
              <a:xfrm>
                <a:off x="11215917" y="2122200"/>
                <a:ext cx="6253" cy="6247"/>
              </a:xfrm>
              <a:custGeom>
                <a:avLst/>
                <a:gdLst>
                  <a:gd name="connsiteX0" fmla="*/ 1302 w 6253"/>
                  <a:gd name="connsiteY0" fmla="*/ 593 h 6247"/>
                  <a:gd name="connsiteX1" fmla="*/ 5663 w 6253"/>
                  <a:gd name="connsiteY1" fmla="*/ 1300 h 6247"/>
                  <a:gd name="connsiteX2" fmla="*/ 4957 w 6253"/>
                  <a:gd name="connsiteY2" fmla="*/ 5662 h 6247"/>
                  <a:gd name="connsiteX3" fmla="*/ 595 w 6253"/>
                  <a:gd name="connsiteY3" fmla="*/ 4955 h 6247"/>
                  <a:gd name="connsiteX4" fmla="*/ 1302 w 6253"/>
                  <a:gd name="connsiteY4" fmla="*/ 605 h 62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253" h="6247">
                    <a:moveTo>
                      <a:pt x="1302" y="593"/>
                    </a:moveTo>
                    <a:cubicBezTo>
                      <a:pt x="2704" y="-413"/>
                      <a:pt x="4645" y="-114"/>
                      <a:pt x="5663" y="1300"/>
                    </a:cubicBezTo>
                    <a:cubicBezTo>
                      <a:pt x="6670" y="2702"/>
                      <a:pt x="6358" y="4655"/>
                      <a:pt x="4957" y="5662"/>
                    </a:cubicBezTo>
                    <a:cubicBezTo>
                      <a:pt x="3555" y="6668"/>
                      <a:pt x="1614" y="6345"/>
                      <a:pt x="595" y="4955"/>
                    </a:cubicBezTo>
                    <a:cubicBezTo>
                      <a:pt x="-424" y="3541"/>
                      <a:pt x="-100" y="1612"/>
                      <a:pt x="1302" y="605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444" name="Forma livre: Forma 1443">
                <a:extLst>
                  <a:ext uri="{FF2B5EF4-FFF2-40B4-BE49-F238E27FC236}">
                    <a16:creationId xmlns:a16="http://schemas.microsoft.com/office/drawing/2014/main" id="{1C19B8B6-836C-3BA2-EE06-EAA33356F9AA}"/>
                  </a:ext>
                </a:extLst>
              </p:cNvPr>
              <p:cNvSpPr/>
              <p:nvPr/>
            </p:nvSpPr>
            <p:spPr>
              <a:xfrm>
                <a:off x="11172099" y="2128275"/>
                <a:ext cx="6241" cy="6247"/>
              </a:xfrm>
              <a:custGeom>
                <a:avLst/>
                <a:gdLst>
                  <a:gd name="connsiteX0" fmla="*/ 1290 w 6241"/>
                  <a:gd name="connsiteY0" fmla="*/ 593 h 6247"/>
                  <a:gd name="connsiteX1" fmla="*/ 5651 w 6241"/>
                  <a:gd name="connsiteY1" fmla="*/ 1300 h 6247"/>
                  <a:gd name="connsiteX2" fmla="*/ 4944 w 6241"/>
                  <a:gd name="connsiteY2" fmla="*/ 5662 h 6247"/>
                  <a:gd name="connsiteX3" fmla="*/ 595 w 6241"/>
                  <a:gd name="connsiteY3" fmla="*/ 4955 h 6247"/>
                  <a:gd name="connsiteX4" fmla="*/ 1302 w 6241"/>
                  <a:gd name="connsiteY4" fmla="*/ 605 h 62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241" h="6247">
                    <a:moveTo>
                      <a:pt x="1290" y="593"/>
                    </a:moveTo>
                    <a:cubicBezTo>
                      <a:pt x="2692" y="-413"/>
                      <a:pt x="4633" y="-114"/>
                      <a:pt x="5651" y="1300"/>
                    </a:cubicBezTo>
                    <a:cubicBezTo>
                      <a:pt x="6658" y="2702"/>
                      <a:pt x="6346" y="4655"/>
                      <a:pt x="4944" y="5662"/>
                    </a:cubicBezTo>
                    <a:cubicBezTo>
                      <a:pt x="3554" y="6668"/>
                      <a:pt x="1601" y="6345"/>
                      <a:pt x="595" y="4955"/>
                    </a:cubicBezTo>
                    <a:cubicBezTo>
                      <a:pt x="-423" y="3541"/>
                      <a:pt x="-100" y="1612"/>
                      <a:pt x="1302" y="605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445" name="Forma livre: Forma 1444">
                <a:extLst>
                  <a:ext uri="{FF2B5EF4-FFF2-40B4-BE49-F238E27FC236}">
                    <a16:creationId xmlns:a16="http://schemas.microsoft.com/office/drawing/2014/main" id="{53578C0A-C2FF-7444-4904-DD1F6087DD1D}"/>
                  </a:ext>
                </a:extLst>
              </p:cNvPr>
              <p:cNvSpPr/>
              <p:nvPr/>
            </p:nvSpPr>
            <p:spPr>
              <a:xfrm>
                <a:off x="11194098" y="2103293"/>
                <a:ext cx="6253" cy="6251"/>
              </a:xfrm>
              <a:custGeom>
                <a:avLst/>
                <a:gdLst>
                  <a:gd name="connsiteX0" fmla="*/ 1302 w 6253"/>
                  <a:gd name="connsiteY0" fmla="*/ 593 h 6251"/>
                  <a:gd name="connsiteX1" fmla="*/ 5663 w 6253"/>
                  <a:gd name="connsiteY1" fmla="*/ 1300 h 6251"/>
                  <a:gd name="connsiteX2" fmla="*/ 4956 w 6253"/>
                  <a:gd name="connsiteY2" fmla="*/ 5662 h 6251"/>
                  <a:gd name="connsiteX3" fmla="*/ 595 w 6253"/>
                  <a:gd name="connsiteY3" fmla="*/ 4955 h 6251"/>
                  <a:gd name="connsiteX4" fmla="*/ 1302 w 6253"/>
                  <a:gd name="connsiteY4" fmla="*/ 605 h 62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253" h="6251">
                    <a:moveTo>
                      <a:pt x="1302" y="593"/>
                    </a:moveTo>
                    <a:cubicBezTo>
                      <a:pt x="2704" y="-413"/>
                      <a:pt x="4645" y="-114"/>
                      <a:pt x="5663" y="1300"/>
                    </a:cubicBezTo>
                    <a:cubicBezTo>
                      <a:pt x="6670" y="2702"/>
                      <a:pt x="6358" y="4655"/>
                      <a:pt x="4956" y="5662"/>
                    </a:cubicBezTo>
                    <a:cubicBezTo>
                      <a:pt x="3555" y="6668"/>
                      <a:pt x="1614" y="6357"/>
                      <a:pt x="595" y="4955"/>
                    </a:cubicBezTo>
                    <a:cubicBezTo>
                      <a:pt x="-423" y="3553"/>
                      <a:pt x="-100" y="1612"/>
                      <a:pt x="1302" y="605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446" name="Forma livre: Forma 1445">
                <a:extLst>
                  <a:ext uri="{FF2B5EF4-FFF2-40B4-BE49-F238E27FC236}">
                    <a16:creationId xmlns:a16="http://schemas.microsoft.com/office/drawing/2014/main" id="{4DA82AFB-CB9F-8F33-BA12-F8CBEEBAC157}"/>
                  </a:ext>
                </a:extLst>
              </p:cNvPr>
              <p:cNvSpPr/>
              <p:nvPr/>
            </p:nvSpPr>
            <p:spPr>
              <a:xfrm>
                <a:off x="11158763" y="2099794"/>
                <a:ext cx="6253" cy="6247"/>
              </a:xfrm>
              <a:custGeom>
                <a:avLst/>
                <a:gdLst>
                  <a:gd name="connsiteX0" fmla="*/ 1302 w 6253"/>
                  <a:gd name="connsiteY0" fmla="*/ 593 h 6247"/>
                  <a:gd name="connsiteX1" fmla="*/ 5663 w 6253"/>
                  <a:gd name="connsiteY1" fmla="*/ 1300 h 6247"/>
                  <a:gd name="connsiteX2" fmla="*/ 4956 w 6253"/>
                  <a:gd name="connsiteY2" fmla="*/ 5662 h 6247"/>
                  <a:gd name="connsiteX3" fmla="*/ 595 w 6253"/>
                  <a:gd name="connsiteY3" fmla="*/ 4955 h 6247"/>
                  <a:gd name="connsiteX4" fmla="*/ 1302 w 6253"/>
                  <a:gd name="connsiteY4" fmla="*/ 605 h 62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253" h="6247">
                    <a:moveTo>
                      <a:pt x="1302" y="593"/>
                    </a:moveTo>
                    <a:cubicBezTo>
                      <a:pt x="2704" y="-413"/>
                      <a:pt x="4645" y="-114"/>
                      <a:pt x="5663" y="1300"/>
                    </a:cubicBezTo>
                    <a:cubicBezTo>
                      <a:pt x="6670" y="2690"/>
                      <a:pt x="6358" y="4655"/>
                      <a:pt x="4956" y="5662"/>
                    </a:cubicBezTo>
                    <a:cubicBezTo>
                      <a:pt x="3566" y="6668"/>
                      <a:pt x="1613" y="6345"/>
                      <a:pt x="595" y="4955"/>
                    </a:cubicBezTo>
                    <a:cubicBezTo>
                      <a:pt x="-423" y="3541"/>
                      <a:pt x="-100" y="1612"/>
                      <a:pt x="1302" y="605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447" name="Gráfico 11">
            <a:extLst>
              <a:ext uri="{FF2B5EF4-FFF2-40B4-BE49-F238E27FC236}">
                <a16:creationId xmlns:a16="http://schemas.microsoft.com/office/drawing/2014/main" id="{6E9FD61E-1D28-8DE3-E0CA-D46C0C92DEC2}"/>
              </a:ext>
            </a:extLst>
          </p:cNvPr>
          <p:cNvGrpSpPr/>
          <p:nvPr/>
        </p:nvGrpSpPr>
        <p:grpSpPr>
          <a:xfrm>
            <a:off x="11118990" y="1001469"/>
            <a:ext cx="282368" cy="291678"/>
            <a:chOff x="11118990" y="1001469"/>
            <a:chExt cx="282368" cy="291678"/>
          </a:xfrm>
          <a:noFill/>
        </p:grpSpPr>
        <p:sp>
          <p:nvSpPr>
            <p:cNvPr id="1448" name="Forma livre: Forma 1447">
              <a:extLst>
                <a:ext uri="{FF2B5EF4-FFF2-40B4-BE49-F238E27FC236}">
                  <a16:creationId xmlns:a16="http://schemas.microsoft.com/office/drawing/2014/main" id="{1A47023C-A77F-C9E9-5C02-146DFB89BA28}"/>
                </a:ext>
              </a:extLst>
            </p:cNvPr>
            <p:cNvSpPr/>
            <p:nvPr/>
          </p:nvSpPr>
          <p:spPr>
            <a:xfrm>
              <a:off x="11180063" y="1266391"/>
              <a:ext cx="160235" cy="1198"/>
            </a:xfrm>
            <a:custGeom>
              <a:avLst/>
              <a:gdLst>
                <a:gd name="connsiteX0" fmla="*/ 0 w 160235"/>
                <a:gd name="connsiteY0" fmla="*/ 0 h 1198"/>
                <a:gd name="connsiteX1" fmla="*/ 160235 w 160235"/>
                <a:gd name="connsiteY1" fmla="*/ 0 h 11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60235" h="1198">
                  <a:moveTo>
                    <a:pt x="0" y="0"/>
                  </a:moveTo>
                  <a:lnTo>
                    <a:pt x="160235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49" name="Forma livre: Forma 1448">
              <a:extLst>
                <a:ext uri="{FF2B5EF4-FFF2-40B4-BE49-F238E27FC236}">
                  <a16:creationId xmlns:a16="http://schemas.microsoft.com/office/drawing/2014/main" id="{0BA8965E-040E-4C84-81A5-EC015505BD4D}"/>
                </a:ext>
              </a:extLst>
            </p:cNvPr>
            <p:cNvSpPr/>
            <p:nvPr/>
          </p:nvSpPr>
          <p:spPr>
            <a:xfrm>
              <a:off x="11218106" y="1242068"/>
              <a:ext cx="84137" cy="1198"/>
            </a:xfrm>
            <a:custGeom>
              <a:avLst/>
              <a:gdLst>
                <a:gd name="connsiteX0" fmla="*/ 0 w 84137"/>
                <a:gd name="connsiteY0" fmla="*/ 0 h 1198"/>
                <a:gd name="connsiteX1" fmla="*/ 84138 w 84137"/>
                <a:gd name="connsiteY1" fmla="*/ 0 h 11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4137" h="1198">
                  <a:moveTo>
                    <a:pt x="0" y="0"/>
                  </a:moveTo>
                  <a:lnTo>
                    <a:pt x="84138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50" name="Forma livre: Forma 1449">
              <a:extLst>
                <a:ext uri="{FF2B5EF4-FFF2-40B4-BE49-F238E27FC236}">
                  <a16:creationId xmlns:a16="http://schemas.microsoft.com/office/drawing/2014/main" id="{1D553584-3818-5EEB-29B4-FF01AFAB1D0A}"/>
                </a:ext>
              </a:extLst>
            </p:cNvPr>
            <p:cNvSpPr/>
            <p:nvPr/>
          </p:nvSpPr>
          <p:spPr>
            <a:xfrm>
              <a:off x="11163695" y="1181223"/>
              <a:ext cx="192970" cy="9537"/>
            </a:xfrm>
            <a:custGeom>
              <a:avLst/>
              <a:gdLst>
                <a:gd name="connsiteX0" fmla="*/ 0 w 192970"/>
                <a:gd name="connsiteY0" fmla="*/ 0 h 9537"/>
                <a:gd name="connsiteX1" fmla="*/ 97342 w 192970"/>
                <a:gd name="connsiteY1" fmla="*/ 9538 h 9537"/>
                <a:gd name="connsiteX2" fmla="*/ 192970 w 192970"/>
                <a:gd name="connsiteY2" fmla="*/ 168 h 95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92970" h="9537">
                  <a:moveTo>
                    <a:pt x="0" y="0"/>
                  </a:moveTo>
                  <a:cubicBezTo>
                    <a:pt x="0" y="0"/>
                    <a:pt x="38474" y="9538"/>
                    <a:pt x="97342" y="9538"/>
                  </a:cubicBezTo>
                  <a:cubicBezTo>
                    <a:pt x="156210" y="9538"/>
                    <a:pt x="192970" y="168"/>
                    <a:pt x="192970" y="168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451" name="Gráfico 11">
              <a:extLst>
                <a:ext uri="{FF2B5EF4-FFF2-40B4-BE49-F238E27FC236}">
                  <a16:creationId xmlns:a16="http://schemas.microsoft.com/office/drawing/2014/main" id="{16FFF174-B17F-E21E-23CF-ADB134C199E1}"/>
                </a:ext>
              </a:extLst>
            </p:cNvPr>
            <p:cNvGrpSpPr/>
            <p:nvPr/>
          </p:nvGrpSpPr>
          <p:grpSpPr>
            <a:xfrm>
              <a:off x="11166739" y="1225389"/>
              <a:ext cx="186871" cy="5883"/>
              <a:chOff x="11166739" y="1225389"/>
              <a:chExt cx="186871" cy="5883"/>
            </a:xfrm>
          </p:grpSpPr>
          <p:sp>
            <p:nvSpPr>
              <p:cNvPr id="1452" name="Forma livre: Forma 1451">
                <a:extLst>
                  <a:ext uri="{FF2B5EF4-FFF2-40B4-BE49-F238E27FC236}">
                    <a16:creationId xmlns:a16="http://schemas.microsoft.com/office/drawing/2014/main" id="{4AC3826F-2F2A-ED43-3273-2C258ED897C7}"/>
                  </a:ext>
                </a:extLst>
              </p:cNvPr>
              <p:cNvSpPr/>
              <p:nvPr/>
            </p:nvSpPr>
            <p:spPr>
              <a:xfrm>
                <a:off x="11166739" y="1225389"/>
                <a:ext cx="22250" cy="5883"/>
              </a:xfrm>
              <a:custGeom>
                <a:avLst/>
                <a:gdLst>
                  <a:gd name="connsiteX0" fmla="*/ 22251 w 22250"/>
                  <a:gd name="connsiteY0" fmla="*/ 5883 h 5883"/>
                  <a:gd name="connsiteX1" fmla="*/ 0 w 22250"/>
                  <a:gd name="connsiteY1" fmla="*/ 0 h 58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2250" h="5883">
                    <a:moveTo>
                      <a:pt x="22251" y="5883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453" name="Forma livre: Forma 1452">
                <a:extLst>
                  <a:ext uri="{FF2B5EF4-FFF2-40B4-BE49-F238E27FC236}">
                    <a16:creationId xmlns:a16="http://schemas.microsoft.com/office/drawing/2014/main" id="{C99B1082-A264-2E89-D3A7-0561766D6E11}"/>
                  </a:ext>
                </a:extLst>
              </p:cNvPr>
              <p:cNvSpPr/>
              <p:nvPr/>
            </p:nvSpPr>
            <p:spPr>
              <a:xfrm>
                <a:off x="11331372" y="1225389"/>
                <a:ext cx="22238" cy="5883"/>
              </a:xfrm>
              <a:custGeom>
                <a:avLst/>
                <a:gdLst>
                  <a:gd name="connsiteX0" fmla="*/ 0 w 22238"/>
                  <a:gd name="connsiteY0" fmla="*/ 5883 h 5883"/>
                  <a:gd name="connsiteX1" fmla="*/ 22239 w 22238"/>
                  <a:gd name="connsiteY1" fmla="*/ 0 h 58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2238" h="5883">
                    <a:moveTo>
                      <a:pt x="0" y="5883"/>
                    </a:moveTo>
                    <a:lnTo>
                      <a:pt x="22239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454" name="Forma livre: Forma 1453">
              <a:extLst>
                <a:ext uri="{FF2B5EF4-FFF2-40B4-BE49-F238E27FC236}">
                  <a16:creationId xmlns:a16="http://schemas.microsoft.com/office/drawing/2014/main" id="{A1E8F6F9-52D6-8EA0-6C97-D3EDF641524D}"/>
                </a:ext>
              </a:extLst>
            </p:cNvPr>
            <p:cNvSpPr/>
            <p:nvPr/>
          </p:nvSpPr>
          <p:spPr>
            <a:xfrm>
              <a:off x="11173113" y="1036301"/>
              <a:ext cx="174134" cy="1198"/>
            </a:xfrm>
            <a:custGeom>
              <a:avLst/>
              <a:gdLst>
                <a:gd name="connsiteX0" fmla="*/ 0 w 174134"/>
                <a:gd name="connsiteY0" fmla="*/ 0 h 1198"/>
                <a:gd name="connsiteX1" fmla="*/ 174135 w 174134"/>
                <a:gd name="connsiteY1" fmla="*/ 0 h 11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74134" h="1198">
                  <a:moveTo>
                    <a:pt x="0" y="0"/>
                  </a:moveTo>
                  <a:lnTo>
                    <a:pt x="174135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455" name="Gráfico 11">
              <a:extLst>
                <a:ext uri="{FF2B5EF4-FFF2-40B4-BE49-F238E27FC236}">
                  <a16:creationId xmlns:a16="http://schemas.microsoft.com/office/drawing/2014/main" id="{D12BC70A-2BB9-309E-823D-3CB91631FAF2}"/>
                </a:ext>
              </a:extLst>
            </p:cNvPr>
            <p:cNvGrpSpPr/>
            <p:nvPr/>
          </p:nvGrpSpPr>
          <p:grpSpPr>
            <a:xfrm>
              <a:off x="11144596" y="1067981"/>
              <a:ext cx="231168" cy="225165"/>
              <a:chOff x="11144596" y="1067981"/>
              <a:chExt cx="231168" cy="225165"/>
            </a:xfrm>
            <a:noFill/>
          </p:grpSpPr>
          <p:sp>
            <p:nvSpPr>
              <p:cNvPr id="1456" name="Forma livre: Forma 1455">
                <a:extLst>
                  <a:ext uri="{FF2B5EF4-FFF2-40B4-BE49-F238E27FC236}">
                    <a16:creationId xmlns:a16="http://schemas.microsoft.com/office/drawing/2014/main" id="{0B47FFED-593B-0FF6-DD5E-1C8A02A3B05B}"/>
                  </a:ext>
                </a:extLst>
              </p:cNvPr>
              <p:cNvSpPr/>
              <p:nvPr/>
            </p:nvSpPr>
            <p:spPr>
              <a:xfrm>
                <a:off x="11144596" y="1067981"/>
                <a:ext cx="54542" cy="225153"/>
              </a:xfrm>
              <a:custGeom>
                <a:avLst/>
                <a:gdLst>
                  <a:gd name="connsiteX0" fmla="*/ 54542 w 54542"/>
                  <a:gd name="connsiteY0" fmla="*/ 198626 h 225153"/>
                  <a:gd name="connsiteX1" fmla="*/ 54542 w 54542"/>
                  <a:gd name="connsiteY1" fmla="*/ 220421 h 225153"/>
                  <a:gd name="connsiteX2" fmla="*/ 49809 w 54542"/>
                  <a:gd name="connsiteY2" fmla="*/ 225154 h 225153"/>
                  <a:gd name="connsiteX3" fmla="*/ 12306 w 54542"/>
                  <a:gd name="connsiteY3" fmla="*/ 225154 h 225153"/>
                  <a:gd name="connsiteX4" fmla="*/ 7573 w 54542"/>
                  <a:gd name="connsiteY4" fmla="*/ 220421 h 225153"/>
                  <a:gd name="connsiteX5" fmla="*/ 7573 w 54542"/>
                  <a:gd name="connsiteY5" fmla="*/ 197607 h 225153"/>
                  <a:gd name="connsiteX6" fmla="*/ 0 w 54542"/>
                  <a:gd name="connsiteY6" fmla="*/ 186848 h 225153"/>
                  <a:gd name="connsiteX7" fmla="*/ 0 w 54542"/>
                  <a:gd name="connsiteY7" fmla="*/ 0 h 2251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54542" h="225153">
                    <a:moveTo>
                      <a:pt x="54542" y="198626"/>
                    </a:moveTo>
                    <a:lnTo>
                      <a:pt x="54542" y="220421"/>
                    </a:lnTo>
                    <a:cubicBezTo>
                      <a:pt x="54542" y="223021"/>
                      <a:pt x="52421" y="225154"/>
                      <a:pt x="49809" y="225154"/>
                    </a:cubicBezTo>
                    <a:lnTo>
                      <a:pt x="12306" y="225154"/>
                    </a:lnTo>
                    <a:cubicBezTo>
                      <a:pt x="9705" y="225154"/>
                      <a:pt x="7573" y="223033"/>
                      <a:pt x="7573" y="220421"/>
                    </a:cubicBezTo>
                    <a:lnTo>
                      <a:pt x="7573" y="197607"/>
                    </a:lnTo>
                    <a:cubicBezTo>
                      <a:pt x="3295" y="195918"/>
                      <a:pt x="0" y="191724"/>
                      <a:pt x="0" y="186848"/>
                    </a:cubicBezTo>
                    <a:lnTo>
                      <a:pt x="0" y="0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457" name="Forma livre: Forma 1456">
                <a:extLst>
                  <a:ext uri="{FF2B5EF4-FFF2-40B4-BE49-F238E27FC236}">
                    <a16:creationId xmlns:a16="http://schemas.microsoft.com/office/drawing/2014/main" id="{E7E4C884-A4BC-97DD-F075-534EBB242B76}"/>
                  </a:ext>
                </a:extLst>
              </p:cNvPr>
              <p:cNvSpPr/>
              <p:nvPr/>
            </p:nvSpPr>
            <p:spPr>
              <a:xfrm>
                <a:off x="11321534" y="1067981"/>
                <a:ext cx="54230" cy="225165"/>
              </a:xfrm>
              <a:custGeom>
                <a:avLst/>
                <a:gdLst>
                  <a:gd name="connsiteX0" fmla="*/ 54231 w 54230"/>
                  <a:gd name="connsiteY0" fmla="*/ 0 h 225165"/>
                  <a:gd name="connsiteX1" fmla="*/ 54231 w 54230"/>
                  <a:gd name="connsiteY1" fmla="*/ 186848 h 225165"/>
                  <a:gd name="connsiteX2" fmla="*/ 46970 w 54230"/>
                  <a:gd name="connsiteY2" fmla="*/ 197607 h 225165"/>
                  <a:gd name="connsiteX3" fmla="*/ 46970 w 54230"/>
                  <a:gd name="connsiteY3" fmla="*/ 220433 h 225165"/>
                  <a:gd name="connsiteX4" fmla="*/ 42237 w 54230"/>
                  <a:gd name="connsiteY4" fmla="*/ 225166 h 225165"/>
                  <a:gd name="connsiteX5" fmla="*/ 4733 w 54230"/>
                  <a:gd name="connsiteY5" fmla="*/ 225166 h 225165"/>
                  <a:gd name="connsiteX6" fmla="*/ 0 w 54230"/>
                  <a:gd name="connsiteY6" fmla="*/ 220433 h 225165"/>
                  <a:gd name="connsiteX7" fmla="*/ 0 w 54230"/>
                  <a:gd name="connsiteY7" fmla="*/ 198638 h 2251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54230" h="225165">
                    <a:moveTo>
                      <a:pt x="54231" y="0"/>
                    </a:moveTo>
                    <a:lnTo>
                      <a:pt x="54231" y="186848"/>
                    </a:lnTo>
                    <a:cubicBezTo>
                      <a:pt x="54231" y="191712"/>
                      <a:pt x="51259" y="195918"/>
                      <a:pt x="46970" y="197607"/>
                    </a:cubicBezTo>
                    <a:lnTo>
                      <a:pt x="46970" y="220433"/>
                    </a:lnTo>
                    <a:cubicBezTo>
                      <a:pt x="46970" y="223033"/>
                      <a:pt x="44849" y="225166"/>
                      <a:pt x="42237" y="225166"/>
                    </a:cubicBezTo>
                    <a:lnTo>
                      <a:pt x="4733" y="225166"/>
                    </a:lnTo>
                    <a:cubicBezTo>
                      <a:pt x="2133" y="225166"/>
                      <a:pt x="0" y="223045"/>
                      <a:pt x="0" y="220433"/>
                    </a:cubicBezTo>
                    <a:lnTo>
                      <a:pt x="0" y="198638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458" name="Forma livre: Forma 1457">
              <a:extLst>
                <a:ext uri="{FF2B5EF4-FFF2-40B4-BE49-F238E27FC236}">
                  <a16:creationId xmlns:a16="http://schemas.microsoft.com/office/drawing/2014/main" id="{5974F356-5CF6-F8BF-CEA8-D4302848F5D9}"/>
                </a:ext>
              </a:extLst>
            </p:cNvPr>
            <p:cNvSpPr/>
            <p:nvPr/>
          </p:nvSpPr>
          <p:spPr>
            <a:xfrm>
              <a:off x="11118990" y="1001469"/>
              <a:ext cx="282368" cy="89984"/>
            </a:xfrm>
            <a:custGeom>
              <a:avLst/>
              <a:gdLst>
                <a:gd name="connsiteX0" fmla="*/ 0 w 282368"/>
                <a:gd name="connsiteY0" fmla="*/ 89985 h 89984"/>
                <a:gd name="connsiteX1" fmla="*/ 0 w 282368"/>
                <a:gd name="connsiteY1" fmla="*/ 55357 h 89984"/>
                <a:gd name="connsiteX2" fmla="*/ 19171 w 282368"/>
                <a:gd name="connsiteY2" fmla="*/ 36186 h 89984"/>
                <a:gd name="connsiteX3" fmla="*/ 25594 w 282368"/>
                <a:gd name="connsiteY3" fmla="*/ 36186 h 89984"/>
                <a:gd name="connsiteX4" fmla="*/ 25594 w 282368"/>
                <a:gd name="connsiteY4" fmla="*/ 32112 h 89984"/>
                <a:gd name="connsiteX5" fmla="*/ 44345 w 282368"/>
                <a:gd name="connsiteY5" fmla="*/ 9418 h 89984"/>
                <a:gd name="connsiteX6" fmla="*/ 139986 w 282368"/>
                <a:gd name="connsiteY6" fmla="*/ 0 h 89984"/>
                <a:gd name="connsiteX7" fmla="*/ 237735 w 282368"/>
                <a:gd name="connsiteY7" fmla="*/ 9586 h 89984"/>
                <a:gd name="connsiteX8" fmla="*/ 256774 w 282368"/>
                <a:gd name="connsiteY8" fmla="*/ 32112 h 89984"/>
                <a:gd name="connsiteX9" fmla="*/ 256774 w 282368"/>
                <a:gd name="connsiteY9" fmla="*/ 36186 h 89984"/>
                <a:gd name="connsiteX10" fmla="*/ 263197 w 282368"/>
                <a:gd name="connsiteY10" fmla="*/ 36186 h 89984"/>
                <a:gd name="connsiteX11" fmla="*/ 282368 w 282368"/>
                <a:gd name="connsiteY11" fmla="*/ 55357 h 89984"/>
                <a:gd name="connsiteX12" fmla="*/ 282368 w 282368"/>
                <a:gd name="connsiteY12" fmla="*/ 89985 h 899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82368" h="89984">
                  <a:moveTo>
                    <a:pt x="0" y="89985"/>
                  </a:moveTo>
                  <a:lnTo>
                    <a:pt x="0" y="55357"/>
                  </a:lnTo>
                  <a:cubicBezTo>
                    <a:pt x="0" y="44813"/>
                    <a:pt x="8627" y="36186"/>
                    <a:pt x="19171" y="36186"/>
                  </a:cubicBezTo>
                  <a:lnTo>
                    <a:pt x="25594" y="36186"/>
                  </a:lnTo>
                  <a:cubicBezTo>
                    <a:pt x="25594" y="36186"/>
                    <a:pt x="25594" y="32112"/>
                    <a:pt x="25594" y="32112"/>
                  </a:cubicBezTo>
                  <a:cubicBezTo>
                    <a:pt x="25594" y="21568"/>
                    <a:pt x="33981" y="11359"/>
                    <a:pt x="44345" y="9418"/>
                  </a:cubicBezTo>
                  <a:cubicBezTo>
                    <a:pt x="44345" y="9418"/>
                    <a:pt x="80867" y="0"/>
                    <a:pt x="139986" y="0"/>
                  </a:cubicBezTo>
                  <a:cubicBezTo>
                    <a:pt x="199105" y="0"/>
                    <a:pt x="237735" y="9586"/>
                    <a:pt x="237735" y="9586"/>
                  </a:cubicBezTo>
                  <a:cubicBezTo>
                    <a:pt x="248111" y="11431"/>
                    <a:pt x="256774" y="21568"/>
                    <a:pt x="256774" y="32112"/>
                  </a:cubicBezTo>
                  <a:lnTo>
                    <a:pt x="256774" y="36186"/>
                  </a:lnTo>
                  <a:lnTo>
                    <a:pt x="263197" y="36186"/>
                  </a:lnTo>
                  <a:cubicBezTo>
                    <a:pt x="273741" y="36186"/>
                    <a:pt x="282368" y="44813"/>
                    <a:pt x="282368" y="55357"/>
                  </a:cubicBezTo>
                  <a:lnTo>
                    <a:pt x="282368" y="89985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460" name="Gráfico 13">
            <a:extLst>
              <a:ext uri="{FF2B5EF4-FFF2-40B4-BE49-F238E27FC236}">
                <a16:creationId xmlns:a16="http://schemas.microsoft.com/office/drawing/2014/main" id="{CA687FCE-8FCC-CC5C-9FD3-D6EA73EA74BC}"/>
              </a:ext>
            </a:extLst>
          </p:cNvPr>
          <p:cNvGrpSpPr/>
          <p:nvPr/>
        </p:nvGrpSpPr>
        <p:grpSpPr>
          <a:xfrm>
            <a:off x="1911320" y="4154285"/>
            <a:ext cx="375722" cy="224755"/>
            <a:chOff x="1911320" y="4154285"/>
            <a:chExt cx="375722" cy="224755"/>
          </a:xfrm>
          <a:noFill/>
        </p:grpSpPr>
        <p:sp>
          <p:nvSpPr>
            <p:cNvPr id="1461" name="Forma livre: Forma 1460">
              <a:extLst>
                <a:ext uri="{FF2B5EF4-FFF2-40B4-BE49-F238E27FC236}">
                  <a16:creationId xmlns:a16="http://schemas.microsoft.com/office/drawing/2014/main" id="{0D5469B0-12CD-79B2-E329-6E46991EC1A0}"/>
                </a:ext>
              </a:extLst>
            </p:cNvPr>
            <p:cNvSpPr/>
            <p:nvPr/>
          </p:nvSpPr>
          <p:spPr>
            <a:xfrm>
              <a:off x="2152407" y="4221889"/>
              <a:ext cx="105482" cy="45727"/>
            </a:xfrm>
            <a:custGeom>
              <a:avLst/>
              <a:gdLst>
                <a:gd name="connsiteX0" fmla="*/ 105483 w 105482"/>
                <a:gd name="connsiteY0" fmla="*/ 9138 h 45727"/>
                <a:gd name="connsiteX1" fmla="*/ 7117 w 105482"/>
                <a:gd name="connsiteY1" fmla="*/ 32556 h 45727"/>
                <a:gd name="connsiteX2" fmla="*/ 0 w 105482"/>
                <a:gd name="connsiteY2" fmla="*/ 45728 h 457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05482" h="45727">
                  <a:moveTo>
                    <a:pt x="105483" y="9138"/>
                  </a:moveTo>
                  <a:cubicBezTo>
                    <a:pt x="105483" y="9138"/>
                    <a:pt x="45288" y="-22729"/>
                    <a:pt x="7117" y="32556"/>
                  </a:cubicBezTo>
                  <a:cubicBezTo>
                    <a:pt x="7117" y="32556"/>
                    <a:pt x="2833" y="38504"/>
                    <a:pt x="0" y="45728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62" name="Forma livre: Forma 1461">
              <a:extLst>
                <a:ext uri="{FF2B5EF4-FFF2-40B4-BE49-F238E27FC236}">
                  <a16:creationId xmlns:a16="http://schemas.microsoft.com/office/drawing/2014/main" id="{4D982CD4-6ABF-5A16-8569-A930C18D66A3}"/>
                </a:ext>
              </a:extLst>
            </p:cNvPr>
            <p:cNvSpPr/>
            <p:nvPr/>
          </p:nvSpPr>
          <p:spPr>
            <a:xfrm>
              <a:off x="2183165" y="4275123"/>
              <a:ext cx="103877" cy="103877"/>
            </a:xfrm>
            <a:custGeom>
              <a:avLst/>
              <a:gdLst>
                <a:gd name="connsiteX0" fmla="*/ 27383 w 103877"/>
                <a:gd name="connsiteY0" fmla="*/ 6161 h 103877"/>
                <a:gd name="connsiteX1" fmla="*/ 51933 w 103877"/>
                <a:gd name="connsiteY1" fmla="*/ 0 h 103877"/>
                <a:gd name="connsiteX2" fmla="*/ 103877 w 103877"/>
                <a:gd name="connsiteY2" fmla="*/ 51945 h 103877"/>
                <a:gd name="connsiteX3" fmla="*/ 51933 w 103877"/>
                <a:gd name="connsiteY3" fmla="*/ 103877 h 103877"/>
                <a:gd name="connsiteX4" fmla="*/ 0 w 103877"/>
                <a:gd name="connsiteY4" fmla="*/ 51945 h 103877"/>
                <a:gd name="connsiteX5" fmla="*/ 8734 w 103877"/>
                <a:gd name="connsiteY5" fmla="*/ 23110 h 1038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03877" h="103877">
                  <a:moveTo>
                    <a:pt x="27383" y="6161"/>
                  </a:moveTo>
                  <a:cubicBezTo>
                    <a:pt x="34700" y="2231"/>
                    <a:pt x="43045" y="0"/>
                    <a:pt x="51933" y="0"/>
                  </a:cubicBezTo>
                  <a:cubicBezTo>
                    <a:pt x="80614" y="0"/>
                    <a:pt x="103877" y="23252"/>
                    <a:pt x="103877" y="51945"/>
                  </a:cubicBezTo>
                  <a:cubicBezTo>
                    <a:pt x="103877" y="80638"/>
                    <a:pt x="80626" y="103877"/>
                    <a:pt x="51933" y="103877"/>
                  </a:cubicBezTo>
                  <a:cubicBezTo>
                    <a:pt x="23240" y="103877"/>
                    <a:pt x="0" y="80626"/>
                    <a:pt x="0" y="51945"/>
                  </a:cubicBezTo>
                  <a:cubicBezTo>
                    <a:pt x="0" y="41275"/>
                    <a:pt x="3222" y="31360"/>
                    <a:pt x="8734" y="2311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63" name="Forma livre: Forma 1462">
              <a:extLst>
                <a:ext uri="{FF2B5EF4-FFF2-40B4-BE49-F238E27FC236}">
                  <a16:creationId xmlns:a16="http://schemas.microsoft.com/office/drawing/2014/main" id="{6996C691-69F3-0CB4-B205-D03255CDBA82}"/>
                </a:ext>
              </a:extLst>
            </p:cNvPr>
            <p:cNvSpPr/>
            <p:nvPr/>
          </p:nvSpPr>
          <p:spPr>
            <a:xfrm>
              <a:off x="1963230" y="4302435"/>
              <a:ext cx="86928" cy="24632"/>
            </a:xfrm>
            <a:custGeom>
              <a:avLst/>
              <a:gdLst>
                <a:gd name="connsiteX0" fmla="*/ 0 w 86928"/>
                <a:gd name="connsiteY0" fmla="*/ 24633 h 24632"/>
                <a:gd name="connsiteX1" fmla="*/ 86928 w 86928"/>
                <a:gd name="connsiteY1" fmla="*/ 0 h 246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6928" h="24632">
                  <a:moveTo>
                    <a:pt x="0" y="24633"/>
                  </a:moveTo>
                  <a:lnTo>
                    <a:pt x="86928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64" name="Forma livre: Forma 1463">
              <a:extLst>
                <a:ext uri="{FF2B5EF4-FFF2-40B4-BE49-F238E27FC236}">
                  <a16:creationId xmlns:a16="http://schemas.microsoft.com/office/drawing/2014/main" id="{183A46A1-19A5-A2FF-2CFE-85139F05D0B1}"/>
                </a:ext>
              </a:extLst>
            </p:cNvPr>
            <p:cNvSpPr/>
            <p:nvPr/>
          </p:nvSpPr>
          <p:spPr>
            <a:xfrm>
              <a:off x="1915039" y="4188501"/>
              <a:ext cx="282077" cy="37653"/>
            </a:xfrm>
            <a:custGeom>
              <a:avLst/>
              <a:gdLst>
                <a:gd name="connsiteX0" fmla="*/ 0 w 282077"/>
                <a:gd name="connsiteY0" fmla="*/ 20490 h 37653"/>
                <a:gd name="connsiteX1" fmla="*/ 64916 w 282077"/>
                <a:gd name="connsiteY1" fmla="*/ 20490 h 37653"/>
                <a:gd name="connsiteX2" fmla="*/ 201476 w 282077"/>
                <a:gd name="connsiteY2" fmla="*/ 16807 h 37653"/>
                <a:gd name="connsiteX3" fmla="*/ 213562 w 282077"/>
                <a:gd name="connsiteY3" fmla="*/ 1464 h 37653"/>
                <a:gd name="connsiteX4" fmla="*/ 239623 w 282077"/>
                <a:gd name="connsiteY4" fmla="*/ 83 h 37653"/>
                <a:gd name="connsiteX5" fmla="*/ 241263 w 282077"/>
                <a:gd name="connsiteY5" fmla="*/ 0 h 37653"/>
                <a:gd name="connsiteX6" fmla="*/ 263795 w 282077"/>
                <a:gd name="connsiteY6" fmla="*/ 1062 h 37653"/>
                <a:gd name="connsiteX7" fmla="*/ 282078 w 282077"/>
                <a:gd name="connsiteY7" fmla="*/ 34712 h 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2077" h="37653">
                  <a:moveTo>
                    <a:pt x="0" y="20490"/>
                  </a:moveTo>
                  <a:lnTo>
                    <a:pt x="64916" y="20490"/>
                  </a:lnTo>
                  <a:cubicBezTo>
                    <a:pt x="64916" y="20490"/>
                    <a:pt x="122160" y="61458"/>
                    <a:pt x="201476" y="16807"/>
                  </a:cubicBezTo>
                  <a:lnTo>
                    <a:pt x="213562" y="1464"/>
                  </a:lnTo>
                  <a:lnTo>
                    <a:pt x="239623" y="83"/>
                  </a:lnTo>
                  <a:lnTo>
                    <a:pt x="241263" y="0"/>
                  </a:lnTo>
                  <a:lnTo>
                    <a:pt x="263795" y="1062"/>
                  </a:lnTo>
                  <a:lnTo>
                    <a:pt x="282078" y="34712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65" name="Forma livre: Forma 1464">
              <a:extLst>
                <a:ext uri="{FF2B5EF4-FFF2-40B4-BE49-F238E27FC236}">
                  <a16:creationId xmlns:a16="http://schemas.microsoft.com/office/drawing/2014/main" id="{10490396-73F7-E43E-9927-80FD689BD362}"/>
                </a:ext>
              </a:extLst>
            </p:cNvPr>
            <p:cNvSpPr/>
            <p:nvPr/>
          </p:nvSpPr>
          <p:spPr>
            <a:xfrm>
              <a:off x="2194567" y="4251729"/>
              <a:ext cx="40519" cy="75337"/>
            </a:xfrm>
            <a:custGeom>
              <a:avLst/>
              <a:gdLst>
                <a:gd name="connsiteX0" fmla="*/ 0 w 40519"/>
                <a:gd name="connsiteY0" fmla="*/ 0 h 75337"/>
                <a:gd name="connsiteX1" fmla="*/ 40519 w 40519"/>
                <a:gd name="connsiteY1" fmla="*/ 75338 h 753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0519" h="75337">
                  <a:moveTo>
                    <a:pt x="0" y="0"/>
                  </a:moveTo>
                  <a:lnTo>
                    <a:pt x="40519" y="75338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66" name="Forma livre: Forma 1465">
              <a:extLst>
                <a:ext uri="{FF2B5EF4-FFF2-40B4-BE49-F238E27FC236}">
                  <a16:creationId xmlns:a16="http://schemas.microsoft.com/office/drawing/2014/main" id="{F927B0B8-2C2A-F91D-5A19-C82F452FC47A}"/>
                </a:ext>
              </a:extLst>
            </p:cNvPr>
            <p:cNvSpPr/>
            <p:nvPr/>
          </p:nvSpPr>
          <p:spPr>
            <a:xfrm>
              <a:off x="2116691" y="4154285"/>
              <a:ext cx="43635" cy="34051"/>
            </a:xfrm>
            <a:custGeom>
              <a:avLst/>
              <a:gdLst>
                <a:gd name="connsiteX0" fmla="*/ 0 w 43635"/>
                <a:gd name="connsiteY0" fmla="*/ 0 h 34051"/>
                <a:gd name="connsiteX1" fmla="*/ 27371 w 43635"/>
                <a:gd name="connsiteY1" fmla="*/ 0 h 34051"/>
                <a:gd name="connsiteX2" fmla="*/ 43635 w 43635"/>
                <a:gd name="connsiteY2" fmla="*/ 34051 h 340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3635" h="34051">
                  <a:moveTo>
                    <a:pt x="0" y="0"/>
                  </a:moveTo>
                  <a:lnTo>
                    <a:pt x="27371" y="0"/>
                  </a:lnTo>
                  <a:lnTo>
                    <a:pt x="43635" y="34051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67" name="Forma livre: Forma 1466">
              <a:extLst>
                <a:ext uri="{FF2B5EF4-FFF2-40B4-BE49-F238E27FC236}">
                  <a16:creationId xmlns:a16="http://schemas.microsoft.com/office/drawing/2014/main" id="{4E829E89-0515-8904-C73E-554564ED0B9C}"/>
                </a:ext>
              </a:extLst>
            </p:cNvPr>
            <p:cNvSpPr/>
            <p:nvPr/>
          </p:nvSpPr>
          <p:spPr>
            <a:xfrm>
              <a:off x="1952619" y="4210407"/>
              <a:ext cx="188480" cy="113697"/>
            </a:xfrm>
            <a:custGeom>
              <a:avLst/>
              <a:gdLst>
                <a:gd name="connsiteX0" fmla="*/ 142473 w 188480"/>
                <a:gd name="connsiteY0" fmla="*/ 63216 h 113697"/>
                <a:gd name="connsiteX1" fmla="*/ 188481 w 188480"/>
                <a:gd name="connsiteY1" fmla="*/ 78147 h 113697"/>
                <a:gd name="connsiteX2" fmla="*/ 188233 w 188480"/>
                <a:gd name="connsiteY2" fmla="*/ 78631 h 113697"/>
                <a:gd name="connsiteX3" fmla="*/ 184291 w 188480"/>
                <a:gd name="connsiteY3" fmla="*/ 85937 h 113697"/>
                <a:gd name="connsiteX4" fmla="*/ 151821 w 188480"/>
                <a:gd name="connsiteY4" fmla="*/ 113638 h 113697"/>
                <a:gd name="connsiteX5" fmla="*/ 101718 w 188480"/>
                <a:gd name="connsiteY5" fmla="*/ 113697 h 113697"/>
                <a:gd name="connsiteX6" fmla="*/ 84249 w 188480"/>
                <a:gd name="connsiteY6" fmla="*/ 66309 h 113697"/>
                <a:gd name="connsiteX7" fmla="*/ 0 w 188480"/>
                <a:gd name="connsiteY7" fmla="*/ 21989 h 113697"/>
                <a:gd name="connsiteX8" fmla="*/ 0 w 188480"/>
                <a:gd name="connsiteY8" fmla="*/ 0 h 1136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88480" h="113697">
                  <a:moveTo>
                    <a:pt x="142473" y="63216"/>
                  </a:moveTo>
                  <a:cubicBezTo>
                    <a:pt x="142473" y="63216"/>
                    <a:pt x="170387" y="58472"/>
                    <a:pt x="188481" y="78147"/>
                  </a:cubicBezTo>
                  <a:lnTo>
                    <a:pt x="188233" y="78631"/>
                  </a:lnTo>
                  <a:lnTo>
                    <a:pt x="184291" y="85937"/>
                  </a:lnTo>
                  <a:cubicBezTo>
                    <a:pt x="184291" y="85937"/>
                    <a:pt x="173066" y="113638"/>
                    <a:pt x="151821" y="113638"/>
                  </a:cubicBezTo>
                  <a:lnTo>
                    <a:pt x="101718" y="113697"/>
                  </a:lnTo>
                  <a:cubicBezTo>
                    <a:pt x="101718" y="113697"/>
                    <a:pt x="106108" y="78962"/>
                    <a:pt x="84249" y="66309"/>
                  </a:cubicBezTo>
                  <a:cubicBezTo>
                    <a:pt x="36979" y="38973"/>
                    <a:pt x="33839" y="38997"/>
                    <a:pt x="0" y="21989"/>
                  </a:cubicBezTo>
                  <a:lnTo>
                    <a:pt x="0" y="0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68" name="Forma livre: Forma 1467">
              <a:extLst>
                <a:ext uri="{FF2B5EF4-FFF2-40B4-BE49-F238E27FC236}">
                  <a16:creationId xmlns:a16="http://schemas.microsoft.com/office/drawing/2014/main" id="{D89324A0-19FE-6263-5E5F-E62E154CD7F8}"/>
                </a:ext>
              </a:extLst>
            </p:cNvPr>
            <p:cNvSpPr/>
            <p:nvPr/>
          </p:nvSpPr>
          <p:spPr>
            <a:xfrm>
              <a:off x="1911320" y="4275134"/>
              <a:ext cx="103900" cy="103905"/>
            </a:xfrm>
            <a:custGeom>
              <a:avLst/>
              <a:gdLst>
                <a:gd name="connsiteX0" fmla="*/ 102155 w 103900"/>
                <a:gd name="connsiteY0" fmla="*/ 38596 h 103905"/>
                <a:gd name="connsiteX1" fmla="*/ 102497 w 103900"/>
                <a:gd name="connsiteY1" fmla="*/ 63913 h 103905"/>
                <a:gd name="connsiteX2" fmla="*/ 40001 w 103900"/>
                <a:gd name="connsiteY2" fmla="*/ 102497 h 103905"/>
                <a:gd name="connsiteX3" fmla="*/ 1405 w 103900"/>
                <a:gd name="connsiteY3" fmla="*/ 40001 h 103905"/>
                <a:gd name="connsiteX4" fmla="*/ 63901 w 103900"/>
                <a:gd name="connsiteY4" fmla="*/ 1405 h 103905"/>
                <a:gd name="connsiteX5" fmla="*/ 89939 w 103900"/>
                <a:gd name="connsiteY5" fmla="*/ 16536 h 1039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03900" h="103905">
                  <a:moveTo>
                    <a:pt x="102155" y="38596"/>
                  </a:moveTo>
                  <a:cubicBezTo>
                    <a:pt x="104291" y="46622"/>
                    <a:pt x="104539" y="55262"/>
                    <a:pt x="102497" y="63913"/>
                  </a:cubicBezTo>
                  <a:cubicBezTo>
                    <a:pt x="95899" y="91827"/>
                    <a:pt x="67914" y="109107"/>
                    <a:pt x="40001" y="102497"/>
                  </a:cubicBezTo>
                  <a:cubicBezTo>
                    <a:pt x="12075" y="95899"/>
                    <a:pt x="-5193" y="67914"/>
                    <a:pt x="1405" y="40001"/>
                  </a:cubicBezTo>
                  <a:cubicBezTo>
                    <a:pt x="8003" y="12075"/>
                    <a:pt x="35988" y="-5193"/>
                    <a:pt x="63901" y="1405"/>
                  </a:cubicBezTo>
                  <a:cubicBezTo>
                    <a:pt x="74276" y="3860"/>
                    <a:pt x="83187" y="9266"/>
                    <a:pt x="89939" y="16536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469" name="Gráfico 13">
            <a:extLst>
              <a:ext uri="{FF2B5EF4-FFF2-40B4-BE49-F238E27FC236}">
                <a16:creationId xmlns:a16="http://schemas.microsoft.com/office/drawing/2014/main" id="{82EF32C0-4BEF-D959-0334-B59B06DD1A47}"/>
              </a:ext>
            </a:extLst>
          </p:cNvPr>
          <p:cNvGrpSpPr/>
          <p:nvPr/>
        </p:nvGrpSpPr>
        <p:grpSpPr>
          <a:xfrm>
            <a:off x="1858337" y="4675123"/>
            <a:ext cx="481676" cy="217822"/>
            <a:chOff x="1858337" y="4675123"/>
            <a:chExt cx="481676" cy="217822"/>
          </a:xfrm>
          <a:noFill/>
        </p:grpSpPr>
        <p:sp>
          <p:nvSpPr>
            <p:cNvPr id="1470" name="Forma livre: Forma 1469">
              <a:extLst>
                <a:ext uri="{FF2B5EF4-FFF2-40B4-BE49-F238E27FC236}">
                  <a16:creationId xmlns:a16="http://schemas.microsoft.com/office/drawing/2014/main" id="{124C6A73-C978-3CE1-C2AF-F3552E55AF0B}"/>
                </a:ext>
              </a:extLst>
            </p:cNvPr>
            <p:cNvSpPr/>
            <p:nvPr/>
          </p:nvSpPr>
          <p:spPr>
            <a:xfrm>
              <a:off x="1880055" y="4814882"/>
              <a:ext cx="459959" cy="53915"/>
            </a:xfrm>
            <a:custGeom>
              <a:avLst/>
              <a:gdLst>
                <a:gd name="connsiteX0" fmla="*/ 402739 w 459959"/>
                <a:gd name="connsiteY0" fmla="*/ 53916 h 53915"/>
                <a:gd name="connsiteX1" fmla="*/ 459959 w 459959"/>
                <a:gd name="connsiteY1" fmla="*/ 0 h 53915"/>
                <a:gd name="connsiteX2" fmla="*/ 0 w 459959"/>
                <a:gd name="connsiteY2" fmla="*/ 0 h 53915"/>
                <a:gd name="connsiteX3" fmla="*/ 0 w 459959"/>
                <a:gd name="connsiteY3" fmla="*/ 33095 h 53915"/>
                <a:gd name="connsiteX4" fmla="*/ 6574 w 459959"/>
                <a:gd name="connsiteY4" fmla="*/ 53715 h 539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59959" h="53915">
                  <a:moveTo>
                    <a:pt x="402739" y="53916"/>
                  </a:moveTo>
                  <a:lnTo>
                    <a:pt x="459959" y="0"/>
                  </a:lnTo>
                  <a:lnTo>
                    <a:pt x="0" y="0"/>
                  </a:lnTo>
                  <a:lnTo>
                    <a:pt x="0" y="33095"/>
                  </a:lnTo>
                  <a:cubicBezTo>
                    <a:pt x="0" y="33095"/>
                    <a:pt x="673" y="44792"/>
                    <a:pt x="6574" y="53715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71" name="Forma livre: Forma 1470">
              <a:extLst>
                <a:ext uri="{FF2B5EF4-FFF2-40B4-BE49-F238E27FC236}">
                  <a16:creationId xmlns:a16="http://schemas.microsoft.com/office/drawing/2014/main" id="{14FCCC2A-37AE-BE2B-F5C5-B7CE3623CFD4}"/>
                </a:ext>
              </a:extLst>
            </p:cNvPr>
            <p:cNvSpPr/>
            <p:nvPr/>
          </p:nvSpPr>
          <p:spPr>
            <a:xfrm>
              <a:off x="1892401" y="4716434"/>
              <a:ext cx="385742" cy="74972"/>
            </a:xfrm>
            <a:custGeom>
              <a:avLst/>
              <a:gdLst>
                <a:gd name="connsiteX0" fmla="*/ 385743 w 385742"/>
                <a:gd name="connsiteY0" fmla="*/ 74972 h 74972"/>
                <a:gd name="connsiteX1" fmla="*/ 377493 w 385742"/>
                <a:gd name="connsiteY1" fmla="*/ 46326 h 74972"/>
                <a:gd name="connsiteX2" fmla="*/ 351384 w 385742"/>
                <a:gd name="connsiteY2" fmla="*/ 46326 h 74972"/>
                <a:gd name="connsiteX3" fmla="*/ 345672 w 385742"/>
                <a:gd name="connsiteY3" fmla="*/ 23216 h 74972"/>
                <a:gd name="connsiteX4" fmla="*/ 317085 w 385742"/>
                <a:gd name="connsiteY4" fmla="*/ 23216 h 74972"/>
                <a:gd name="connsiteX5" fmla="*/ 310133 w 385742"/>
                <a:gd name="connsiteY5" fmla="*/ 0 h 74972"/>
                <a:gd name="connsiteX6" fmla="*/ 217787 w 385742"/>
                <a:gd name="connsiteY6" fmla="*/ 0 h 74972"/>
                <a:gd name="connsiteX7" fmla="*/ 205642 w 385742"/>
                <a:gd name="connsiteY7" fmla="*/ 22249 h 74972"/>
                <a:gd name="connsiteX8" fmla="*/ 137174 w 385742"/>
                <a:gd name="connsiteY8" fmla="*/ 22249 h 74972"/>
                <a:gd name="connsiteX9" fmla="*/ 121723 w 385742"/>
                <a:gd name="connsiteY9" fmla="*/ 0 h 74972"/>
                <a:gd name="connsiteX10" fmla="*/ 19982 w 385742"/>
                <a:gd name="connsiteY10" fmla="*/ 0 h 74972"/>
                <a:gd name="connsiteX11" fmla="*/ 0 w 385742"/>
                <a:gd name="connsiteY11" fmla="*/ 74972 h 749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85742" h="74972">
                  <a:moveTo>
                    <a:pt x="385743" y="74972"/>
                  </a:moveTo>
                  <a:lnTo>
                    <a:pt x="377493" y="46326"/>
                  </a:lnTo>
                  <a:lnTo>
                    <a:pt x="351384" y="46326"/>
                  </a:lnTo>
                  <a:lnTo>
                    <a:pt x="345672" y="23216"/>
                  </a:lnTo>
                  <a:lnTo>
                    <a:pt x="317085" y="23216"/>
                  </a:lnTo>
                  <a:lnTo>
                    <a:pt x="310133" y="0"/>
                  </a:lnTo>
                  <a:lnTo>
                    <a:pt x="217787" y="0"/>
                  </a:lnTo>
                  <a:lnTo>
                    <a:pt x="205642" y="22249"/>
                  </a:lnTo>
                  <a:lnTo>
                    <a:pt x="137174" y="22249"/>
                  </a:lnTo>
                  <a:lnTo>
                    <a:pt x="121723" y="0"/>
                  </a:lnTo>
                  <a:lnTo>
                    <a:pt x="19982" y="0"/>
                  </a:lnTo>
                  <a:lnTo>
                    <a:pt x="0" y="74972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72" name="Forma livre: Forma 1471">
              <a:extLst>
                <a:ext uri="{FF2B5EF4-FFF2-40B4-BE49-F238E27FC236}">
                  <a16:creationId xmlns:a16="http://schemas.microsoft.com/office/drawing/2014/main" id="{64DD59F0-AC8C-58C0-17D6-EB59737B3EF2}"/>
                </a:ext>
              </a:extLst>
            </p:cNvPr>
            <p:cNvSpPr/>
            <p:nvPr/>
          </p:nvSpPr>
          <p:spPr>
            <a:xfrm>
              <a:off x="1937559" y="4675123"/>
              <a:ext cx="44591" cy="40495"/>
            </a:xfrm>
            <a:custGeom>
              <a:avLst/>
              <a:gdLst>
                <a:gd name="connsiteX0" fmla="*/ 0 w 44591"/>
                <a:gd name="connsiteY0" fmla="*/ 22780 h 40495"/>
                <a:gd name="connsiteX1" fmla="*/ 0 w 44591"/>
                <a:gd name="connsiteY1" fmla="*/ 0 h 40495"/>
                <a:gd name="connsiteX2" fmla="*/ 25211 w 44591"/>
                <a:gd name="connsiteY2" fmla="*/ 0 h 40495"/>
                <a:gd name="connsiteX3" fmla="*/ 44591 w 44591"/>
                <a:gd name="connsiteY3" fmla="*/ 40496 h 404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4591" h="40495">
                  <a:moveTo>
                    <a:pt x="0" y="22780"/>
                  </a:moveTo>
                  <a:lnTo>
                    <a:pt x="0" y="0"/>
                  </a:lnTo>
                  <a:lnTo>
                    <a:pt x="25211" y="0"/>
                  </a:lnTo>
                  <a:lnTo>
                    <a:pt x="44591" y="40496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73" name="Forma livre: Forma 1472">
              <a:extLst>
                <a:ext uri="{FF2B5EF4-FFF2-40B4-BE49-F238E27FC236}">
                  <a16:creationId xmlns:a16="http://schemas.microsoft.com/office/drawing/2014/main" id="{9CE1EDC4-75A1-609D-8DFA-CF0A2621B89B}"/>
                </a:ext>
              </a:extLst>
            </p:cNvPr>
            <p:cNvSpPr/>
            <p:nvPr/>
          </p:nvSpPr>
          <p:spPr>
            <a:xfrm>
              <a:off x="1921259" y="4764141"/>
              <a:ext cx="300041" cy="1180"/>
            </a:xfrm>
            <a:custGeom>
              <a:avLst/>
              <a:gdLst>
                <a:gd name="connsiteX0" fmla="*/ 300042 w 300041"/>
                <a:gd name="connsiteY0" fmla="*/ 0 h 1180"/>
                <a:gd name="connsiteX1" fmla="*/ 0 w 300041"/>
                <a:gd name="connsiteY1" fmla="*/ 0 h 11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00041" h="1180">
                  <a:moveTo>
                    <a:pt x="300042" y="0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474" name="Gráfico 13">
              <a:extLst>
                <a:ext uri="{FF2B5EF4-FFF2-40B4-BE49-F238E27FC236}">
                  <a16:creationId xmlns:a16="http://schemas.microsoft.com/office/drawing/2014/main" id="{9E3AABE9-93BA-78BF-6821-531500DB0E43}"/>
                </a:ext>
              </a:extLst>
            </p:cNvPr>
            <p:cNvGrpSpPr/>
            <p:nvPr/>
          </p:nvGrpSpPr>
          <p:grpSpPr>
            <a:xfrm>
              <a:off x="1927502" y="4741420"/>
              <a:ext cx="260195" cy="1180"/>
              <a:chOff x="1927502" y="4741420"/>
              <a:chExt cx="260195" cy="1180"/>
            </a:xfrm>
          </p:grpSpPr>
          <p:sp>
            <p:nvSpPr>
              <p:cNvPr id="1475" name="Forma livre: Forma 1474">
                <a:extLst>
                  <a:ext uri="{FF2B5EF4-FFF2-40B4-BE49-F238E27FC236}">
                    <a16:creationId xmlns:a16="http://schemas.microsoft.com/office/drawing/2014/main" id="{9233F053-1164-EE49-DA32-99BF7C02B640}"/>
                  </a:ext>
                </a:extLst>
              </p:cNvPr>
              <p:cNvSpPr/>
              <p:nvPr/>
            </p:nvSpPr>
            <p:spPr>
              <a:xfrm>
                <a:off x="2121224" y="4741420"/>
                <a:ext cx="66473" cy="1180"/>
              </a:xfrm>
              <a:custGeom>
                <a:avLst/>
                <a:gdLst>
                  <a:gd name="connsiteX0" fmla="*/ 66474 w 66473"/>
                  <a:gd name="connsiteY0" fmla="*/ 0 h 1180"/>
                  <a:gd name="connsiteX1" fmla="*/ 0 w 66473"/>
                  <a:gd name="connsiteY1" fmla="*/ 0 h 11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6473" h="1180">
                    <a:moveTo>
                      <a:pt x="66474" y="0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476" name="Forma livre: Forma 1475">
                <a:extLst>
                  <a:ext uri="{FF2B5EF4-FFF2-40B4-BE49-F238E27FC236}">
                    <a16:creationId xmlns:a16="http://schemas.microsoft.com/office/drawing/2014/main" id="{E12F3507-BF80-BA3E-ABE5-6046206F035C}"/>
                  </a:ext>
                </a:extLst>
              </p:cNvPr>
              <p:cNvSpPr/>
              <p:nvPr/>
            </p:nvSpPr>
            <p:spPr>
              <a:xfrm>
                <a:off x="1927502" y="4741420"/>
                <a:ext cx="77887" cy="1180"/>
              </a:xfrm>
              <a:custGeom>
                <a:avLst/>
                <a:gdLst>
                  <a:gd name="connsiteX0" fmla="*/ 77887 w 77887"/>
                  <a:gd name="connsiteY0" fmla="*/ 0 h 1180"/>
                  <a:gd name="connsiteX1" fmla="*/ 0 w 77887"/>
                  <a:gd name="connsiteY1" fmla="*/ 0 h 11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77887" h="1180">
                    <a:moveTo>
                      <a:pt x="77887" y="0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477" name="Forma livre: Forma 1476">
              <a:extLst>
                <a:ext uri="{FF2B5EF4-FFF2-40B4-BE49-F238E27FC236}">
                  <a16:creationId xmlns:a16="http://schemas.microsoft.com/office/drawing/2014/main" id="{541BE2D0-82FB-BF69-1BFA-8AB5F94F83F9}"/>
                </a:ext>
              </a:extLst>
            </p:cNvPr>
            <p:cNvSpPr/>
            <p:nvPr/>
          </p:nvSpPr>
          <p:spPr>
            <a:xfrm>
              <a:off x="2011457" y="4842312"/>
              <a:ext cx="30180" cy="1180"/>
            </a:xfrm>
            <a:custGeom>
              <a:avLst/>
              <a:gdLst>
                <a:gd name="connsiteX0" fmla="*/ 0 w 30180"/>
                <a:gd name="connsiteY0" fmla="*/ 0 h 1180"/>
                <a:gd name="connsiteX1" fmla="*/ 30180 w 30180"/>
                <a:gd name="connsiteY1" fmla="*/ 0 h 11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0180" h="1180">
                  <a:moveTo>
                    <a:pt x="0" y="0"/>
                  </a:moveTo>
                  <a:lnTo>
                    <a:pt x="3018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78" name="Forma livre: Forma 1477">
              <a:extLst>
                <a:ext uri="{FF2B5EF4-FFF2-40B4-BE49-F238E27FC236}">
                  <a16:creationId xmlns:a16="http://schemas.microsoft.com/office/drawing/2014/main" id="{FE35F0A4-E848-920A-B5F6-5D0A812A873C}"/>
                </a:ext>
              </a:extLst>
            </p:cNvPr>
            <p:cNvSpPr/>
            <p:nvPr/>
          </p:nvSpPr>
          <p:spPr>
            <a:xfrm>
              <a:off x="2067627" y="4842312"/>
              <a:ext cx="30180" cy="1180"/>
            </a:xfrm>
            <a:custGeom>
              <a:avLst/>
              <a:gdLst>
                <a:gd name="connsiteX0" fmla="*/ 0 w 30180"/>
                <a:gd name="connsiteY0" fmla="*/ 0 h 1180"/>
                <a:gd name="connsiteX1" fmla="*/ 30180 w 30180"/>
                <a:gd name="connsiteY1" fmla="*/ 0 h 11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0180" h="1180">
                  <a:moveTo>
                    <a:pt x="0" y="0"/>
                  </a:moveTo>
                  <a:lnTo>
                    <a:pt x="3018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79" name="Forma livre: Forma 1478">
              <a:extLst>
                <a:ext uri="{FF2B5EF4-FFF2-40B4-BE49-F238E27FC236}">
                  <a16:creationId xmlns:a16="http://schemas.microsoft.com/office/drawing/2014/main" id="{6128F6C9-A8F6-C90D-4AE2-96C8E3B7B7C6}"/>
                </a:ext>
              </a:extLst>
            </p:cNvPr>
            <p:cNvSpPr/>
            <p:nvPr/>
          </p:nvSpPr>
          <p:spPr>
            <a:xfrm>
              <a:off x="2123797" y="4842312"/>
              <a:ext cx="30180" cy="1180"/>
            </a:xfrm>
            <a:custGeom>
              <a:avLst/>
              <a:gdLst>
                <a:gd name="connsiteX0" fmla="*/ 0 w 30180"/>
                <a:gd name="connsiteY0" fmla="*/ 0 h 1180"/>
                <a:gd name="connsiteX1" fmla="*/ 30180 w 30180"/>
                <a:gd name="connsiteY1" fmla="*/ 0 h 11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0180" h="1180">
                  <a:moveTo>
                    <a:pt x="0" y="0"/>
                  </a:moveTo>
                  <a:lnTo>
                    <a:pt x="3018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80" name="Forma livre: Forma 1479">
              <a:extLst>
                <a:ext uri="{FF2B5EF4-FFF2-40B4-BE49-F238E27FC236}">
                  <a16:creationId xmlns:a16="http://schemas.microsoft.com/office/drawing/2014/main" id="{39CEA5EF-F4D0-E519-24D2-3C90C8A91890}"/>
                </a:ext>
              </a:extLst>
            </p:cNvPr>
            <p:cNvSpPr/>
            <p:nvPr/>
          </p:nvSpPr>
          <p:spPr>
            <a:xfrm>
              <a:off x="1858337" y="4879680"/>
              <a:ext cx="454199" cy="13266"/>
            </a:xfrm>
            <a:custGeom>
              <a:avLst/>
              <a:gdLst>
                <a:gd name="connsiteX0" fmla="*/ 0 w 454199"/>
                <a:gd name="connsiteY0" fmla="*/ 0 h 13266"/>
                <a:gd name="connsiteX1" fmla="*/ 64491 w 454199"/>
                <a:gd name="connsiteY1" fmla="*/ 0 h 13266"/>
                <a:gd name="connsiteX2" fmla="*/ 65164 w 454199"/>
                <a:gd name="connsiteY2" fmla="*/ 0 h 13266"/>
                <a:gd name="connsiteX3" fmla="*/ 129643 w 454199"/>
                <a:gd name="connsiteY3" fmla="*/ 0 h 13266"/>
                <a:gd name="connsiteX4" fmla="*/ 130033 w 454199"/>
                <a:gd name="connsiteY4" fmla="*/ 0 h 13266"/>
                <a:gd name="connsiteX5" fmla="*/ 194559 w 454199"/>
                <a:gd name="connsiteY5" fmla="*/ 0 h 13266"/>
                <a:gd name="connsiteX6" fmla="*/ 194949 w 454199"/>
                <a:gd name="connsiteY6" fmla="*/ 0 h 13266"/>
                <a:gd name="connsiteX7" fmla="*/ 259428 w 454199"/>
                <a:gd name="connsiteY7" fmla="*/ 0 h 13266"/>
                <a:gd name="connsiteX8" fmla="*/ 259829 w 454199"/>
                <a:gd name="connsiteY8" fmla="*/ 0 h 13266"/>
                <a:gd name="connsiteX9" fmla="*/ 324344 w 454199"/>
                <a:gd name="connsiteY9" fmla="*/ 0 h 13266"/>
                <a:gd name="connsiteX10" fmla="*/ 324745 w 454199"/>
                <a:gd name="connsiteY10" fmla="*/ 0 h 13266"/>
                <a:gd name="connsiteX11" fmla="*/ 389260 w 454199"/>
                <a:gd name="connsiteY11" fmla="*/ 0 h 13266"/>
                <a:gd name="connsiteX12" fmla="*/ 389685 w 454199"/>
                <a:gd name="connsiteY12" fmla="*/ 0 h 13266"/>
                <a:gd name="connsiteX13" fmla="*/ 454200 w 454199"/>
                <a:gd name="connsiteY13" fmla="*/ 0 h 132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54199" h="13266">
                  <a:moveTo>
                    <a:pt x="0" y="0"/>
                  </a:moveTo>
                  <a:cubicBezTo>
                    <a:pt x="37392" y="29849"/>
                    <a:pt x="64491" y="0"/>
                    <a:pt x="64491" y="0"/>
                  </a:cubicBezTo>
                  <a:lnTo>
                    <a:pt x="65164" y="0"/>
                  </a:lnTo>
                  <a:cubicBezTo>
                    <a:pt x="102544" y="29849"/>
                    <a:pt x="129643" y="0"/>
                    <a:pt x="129643" y="0"/>
                  </a:cubicBezTo>
                  <a:lnTo>
                    <a:pt x="130033" y="0"/>
                  </a:lnTo>
                  <a:cubicBezTo>
                    <a:pt x="167460" y="29849"/>
                    <a:pt x="194559" y="0"/>
                    <a:pt x="194559" y="0"/>
                  </a:cubicBezTo>
                  <a:lnTo>
                    <a:pt x="194949" y="0"/>
                  </a:lnTo>
                  <a:cubicBezTo>
                    <a:pt x="232328" y="29849"/>
                    <a:pt x="259428" y="0"/>
                    <a:pt x="259428" y="0"/>
                  </a:cubicBezTo>
                  <a:lnTo>
                    <a:pt x="259829" y="0"/>
                  </a:lnTo>
                  <a:cubicBezTo>
                    <a:pt x="297244" y="29849"/>
                    <a:pt x="324344" y="0"/>
                    <a:pt x="324344" y="0"/>
                  </a:cubicBezTo>
                  <a:lnTo>
                    <a:pt x="324745" y="0"/>
                  </a:lnTo>
                  <a:cubicBezTo>
                    <a:pt x="362160" y="29849"/>
                    <a:pt x="389260" y="0"/>
                    <a:pt x="389260" y="0"/>
                  </a:cubicBezTo>
                  <a:lnTo>
                    <a:pt x="389685" y="0"/>
                  </a:lnTo>
                  <a:cubicBezTo>
                    <a:pt x="427100" y="29849"/>
                    <a:pt x="454200" y="0"/>
                    <a:pt x="454200" y="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81" name="Forma livre: Forma 1480">
              <a:extLst>
                <a:ext uri="{FF2B5EF4-FFF2-40B4-BE49-F238E27FC236}">
                  <a16:creationId xmlns:a16="http://schemas.microsoft.com/office/drawing/2014/main" id="{946521CF-7D78-0881-3B00-877109695082}"/>
                </a:ext>
              </a:extLst>
            </p:cNvPr>
            <p:cNvSpPr/>
            <p:nvPr/>
          </p:nvSpPr>
          <p:spPr>
            <a:xfrm>
              <a:off x="1915216" y="4786873"/>
              <a:ext cx="338849" cy="1180"/>
            </a:xfrm>
            <a:custGeom>
              <a:avLst/>
              <a:gdLst>
                <a:gd name="connsiteX0" fmla="*/ 338850 w 338849"/>
                <a:gd name="connsiteY0" fmla="*/ 0 h 1180"/>
                <a:gd name="connsiteX1" fmla="*/ 0 w 338849"/>
                <a:gd name="connsiteY1" fmla="*/ 0 h 11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38849" h="1180">
                  <a:moveTo>
                    <a:pt x="338850" y="0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482" name="Gráfico 13">
            <a:extLst>
              <a:ext uri="{FF2B5EF4-FFF2-40B4-BE49-F238E27FC236}">
                <a16:creationId xmlns:a16="http://schemas.microsoft.com/office/drawing/2014/main" id="{FB4C0650-73CD-0AB6-90DC-475D4F107707}"/>
              </a:ext>
            </a:extLst>
          </p:cNvPr>
          <p:cNvGrpSpPr/>
          <p:nvPr/>
        </p:nvGrpSpPr>
        <p:grpSpPr>
          <a:xfrm>
            <a:off x="1916785" y="5282938"/>
            <a:ext cx="364780" cy="214954"/>
            <a:chOff x="1916785" y="5282938"/>
            <a:chExt cx="364780" cy="214954"/>
          </a:xfrm>
          <a:noFill/>
        </p:grpSpPr>
        <p:grpSp>
          <p:nvGrpSpPr>
            <p:cNvPr id="1483" name="Gráfico 13">
              <a:extLst>
                <a:ext uri="{FF2B5EF4-FFF2-40B4-BE49-F238E27FC236}">
                  <a16:creationId xmlns:a16="http://schemas.microsoft.com/office/drawing/2014/main" id="{55010684-F112-061C-B1CD-9D6E39AD895B}"/>
                </a:ext>
              </a:extLst>
            </p:cNvPr>
            <p:cNvGrpSpPr/>
            <p:nvPr/>
          </p:nvGrpSpPr>
          <p:grpSpPr>
            <a:xfrm>
              <a:off x="1937913" y="5310179"/>
              <a:ext cx="343653" cy="187713"/>
              <a:chOff x="1937913" y="5310179"/>
              <a:chExt cx="343653" cy="187713"/>
            </a:xfrm>
            <a:noFill/>
          </p:grpSpPr>
          <p:sp>
            <p:nvSpPr>
              <p:cNvPr id="1484" name="Forma livre: Forma 1483">
                <a:extLst>
                  <a:ext uri="{FF2B5EF4-FFF2-40B4-BE49-F238E27FC236}">
                    <a16:creationId xmlns:a16="http://schemas.microsoft.com/office/drawing/2014/main" id="{AD5C019F-CB97-C40A-AD72-3519A9DC6A25}"/>
                  </a:ext>
                </a:extLst>
              </p:cNvPr>
              <p:cNvSpPr/>
              <p:nvPr/>
            </p:nvSpPr>
            <p:spPr>
              <a:xfrm>
                <a:off x="2091409" y="5469282"/>
                <a:ext cx="94269" cy="1180"/>
              </a:xfrm>
              <a:custGeom>
                <a:avLst/>
                <a:gdLst>
                  <a:gd name="connsiteX0" fmla="*/ 0 w 94269"/>
                  <a:gd name="connsiteY0" fmla="*/ 0 h 1180"/>
                  <a:gd name="connsiteX1" fmla="*/ 94270 w 94269"/>
                  <a:gd name="connsiteY1" fmla="*/ 0 h 11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4269" h="1180">
                    <a:moveTo>
                      <a:pt x="0" y="0"/>
                    </a:moveTo>
                    <a:lnTo>
                      <a:pt x="9427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485" name="Forma livre: Forma 1484">
                <a:extLst>
                  <a:ext uri="{FF2B5EF4-FFF2-40B4-BE49-F238E27FC236}">
                    <a16:creationId xmlns:a16="http://schemas.microsoft.com/office/drawing/2014/main" id="{BCB0A80E-53C7-D86A-E17E-868212B5EE77}"/>
                  </a:ext>
                </a:extLst>
              </p:cNvPr>
              <p:cNvSpPr/>
              <p:nvPr/>
            </p:nvSpPr>
            <p:spPr>
              <a:xfrm>
                <a:off x="2208978" y="5330704"/>
                <a:ext cx="41640" cy="35113"/>
              </a:xfrm>
              <a:custGeom>
                <a:avLst/>
                <a:gdLst>
                  <a:gd name="connsiteX0" fmla="*/ 41641 w 41640"/>
                  <a:gd name="connsiteY0" fmla="*/ 35114 h 35113"/>
                  <a:gd name="connsiteX1" fmla="*/ 0 w 41640"/>
                  <a:gd name="connsiteY1" fmla="*/ 35114 h 35113"/>
                  <a:gd name="connsiteX2" fmla="*/ 0 w 41640"/>
                  <a:gd name="connsiteY2" fmla="*/ 0 h 351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41640" h="35113">
                    <a:moveTo>
                      <a:pt x="41641" y="35114"/>
                    </a:moveTo>
                    <a:lnTo>
                      <a:pt x="0" y="35114"/>
                    </a:lnTo>
                    <a:lnTo>
                      <a:pt x="0" y="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486" name="Forma livre: Forma 1485">
                <a:extLst>
                  <a:ext uri="{FF2B5EF4-FFF2-40B4-BE49-F238E27FC236}">
                    <a16:creationId xmlns:a16="http://schemas.microsoft.com/office/drawing/2014/main" id="{102000D7-39B2-1C51-1A64-A7385462B020}"/>
                  </a:ext>
                </a:extLst>
              </p:cNvPr>
              <p:cNvSpPr/>
              <p:nvPr/>
            </p:nvSpPr>
            <p:spPr>
              <a:xfrm>
                <a:off x="2185467" y="5453207"/>
                <a:ext cx="44697" cy="44685"/>
              </a:xfrm>
              <a:custGeom>
                <a:avLst/>
                <a:gdLst>
                  <a:gd name="connsiteX0" fmla="*/ 0 w 44697"/>
                  <a:gd name="connsiteY0" fmla="*/ 22343 h 44685"/>
                  <a:gd name="connsiteX1" fmla="*/ 22343 w 44697"/>
                  <a:gd name="connsiteY1" fmla="*/ 44686 h 44685"/>
                  <a:gd name="connsiteX2" fmla="*/ 44698 w 44697"/>
                  <a:gd name="connsiteY2" fmla="*/ 22343 h 44685"/>
                  <a:gd name="connsiteX3" fmla="*/ 22343 w 44697"/>
                  <a:gd name="connsiteY3" fmla="*/ 0 h 44685"/>
                  <a:gd name="connsiteX4" fmla="*/ 0 w 44697"/>
                  <a:gd name="connsiteY4" fmla="*/ 22343 h 446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4697" h="44685">
                    <a:moveTo>
                      <a:pt x="0" y="22343"/>
                    </a:moveTo>
                    <a:cubicBezTo>
                      <a:pt x="0" y="34689"/>
                      <a:pt x="10009" y="44686"/>
                      <a:pt x="22343" y="44686"/>
                    </a:cubicBezTo>
                    <a:cubicBezTo>
                      <a:pt x="34677" y="44686"/>
                      <a:pt x="44698" y="34677"/>
                      <a:pt x="44698" y="22343"/>
                    </a:cubicBezTo>
                    <a:cubicBezTo>
                      <a:pt x="44698" y="10009"/>
                      <a:pt x="34689" y="0"/>
                      <a:pt x="22343" y="0"/>
                    </a:cubicBezTo>
                    <a:cubicBezTo>
                      <a:pt x="9997" y="0"/>
                      <a:pt x="0" y="10009"/>
                      <a:pt x="0" y="22343"/>
                    </a:cubicBezTo>
                    <a:close/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487" name="Forma livre: Forma 1486">
                <a:extLst>
                  <a:ext uri="{FF2B5EF4-FFF2-40B4-BE49-F238E27FC236}">
                    <a16:creationId xmlns:a16="http://schemas.microsoft.com/office/drawing/2014/main" id="{CBEED683-FE24-8698-EFD9-41250B154771}"/>
                  </a:ext>
                </a:extLst>
              </p:cNvPr>
              <p:cNvSpPr/>
              <p:nvPr/>
            </p:nvSpPr>
            <p:spPr>
              <a:xfrm>
                <a:off x="2028028" y="5453207"/>
                <a:ext cx="44697" cy="44685"/>
              </a:xfrm>
              <a:custGeom>
                <a:avLst/>
                <a:gdLst>
                  <a:gd name="connsiteX0" fmla="*/ 0 w 44697"/>
                  <a:gd name="connsiteY0" fmla="*/ 22343 h 44685"/>
                  <a:gd name="connsiteX1" fmla="*/ 22343 w 44697"/>
                  <a:gd name="connsiteY1" fmla="*/ 44686 h 44685"/>
                  <a:gd name="connsiteX2" fmla="*/ 44698 w 44697"/>
                  <a:gd name="connsiteY2" fmla="*/ 22343 h 44685"/>
                  <a:gd name="connsiteX3" fmla="*/ 22343 w 44697"/>
                  <a:gd name="connsiteY3" fmla="*/ 0 h 44685"/>
                  <a:gd name="connsiteX4" fmla="*/ 0 w 44697"/>
                  <a:gd name="connsiteY4" fmla="*/ 22343 h 446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4697" h="44685">
                    <a:moveTo>
                      <a:pt x="0" y="22343"/>
                    </a:moveTo>
                    <a:cubicBezTo>
                      <a:pt x="0" y="34689"/>
                      <a:pt x="10009" y="44686"/>
                      <a:pt x="22343" y="44686"/>
                    </a:cubicBezTo>
                    <a:cubicBezTo>
                      <a:pt x="34677" y="44686"/>
                      <a:pt x="44698" y="34677"/>
                      <a:pt x="44698" y="22343"/>
                    </a:cubicBezTo>
                    <a:cubicBezTo>
                      <a:pt x="44698" y="10009"/>
                      <a:pt x="34689" y="0"/>
                      <a:pt x="22343" y="0"/>
                    </a:cubicBezTo>
                    <a:cubicBezTo>
                      <a:pt x="9997" y="0"/>
                      <a:pt x="0" y="10009"/>
                      <a:pt x="0" y="22343"/>
                    </a:cubicBezTo>
                    <a:close/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488" name="Forma livre: Forma 1487">
                <a:extLst>
                  <a:ext uri="{FF2B5EF4-FFF2-40B4-BE49-F238E27FC236}">
                    <a16:creationId xmlns:a16="http://schemas.microsoft.com/office/drawing/2014/main" id="{32B50830-20DD-760E-862A-EAD2AC958C92}"/>
                  </a:ext>
                </a:extLst>
              </p:cNvPr>
              <p:cNvSpPr/>
              <p:nvPr/>
            </p:nvSpPr>
            <p:spPr>
              <a:xfrm>
                <a:off x="1963360" y="5453207"/>
                <a:ext cx="44709" cy="44685"/>
              </a:xfrm>
              <a:custGeom>
                <a:avLst/>
                <a:gdLst>
                  <a:gd name="connsiteX0" fmla="*/ 0 w 44709"/>
                  <a:gd name="connsiteY0" fmla="*/ 22343 h 44685"/>
                  <a:gd name="connsiteX1" fmla="*/ 22355 w 44709"/>
                  <a:gd name="connsiteY1" fmla="*/ 44686 h 44685"/>
                  <a:gd name="connsiteX2" fmla="*/ 44709 w 44709"/>
                  <a:gd name="connsiteY2" fmla="*/ 22343 h 44685"/>
                  <a:gd name="connsiteX3" fmla="*/ 22355 w 44709"/>
                  <a:gd name="connsiteY3" fmla="*/ 0 h 44685"/>
                  <a:gd name="connsiteX4" fmla="*/ 0 w 44709"/>
                  <a:gd name="connsiteY4" fmla="*/ 22343 h 446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4709" h="44685">
                    <a:moveTo>
                      <a:pt x="0" y="22343"/>
                    </a:moveTo>
                    <a:cubicBezTo>
                      <a:pt x="0" y="34689"/>
                      <a:pt x="10009" y="44686"/>
                      <a:pt x="22355" y="44686"/>
                    </a:cubicBezTo>
                    <a:cubicBezTo>
                      <a:pt x="34701" y="44686"/>
                      <a:pt x="44709" y="34677"/>
                      <a:pt x="44709" y="22343"/>
                    </a:cubicBezTo>
                    <a:cubicBezTo>
                      <a:pt x="44709" y="10009"/>
                      <a:pt x="34701" y="0"/>
                      <a:pt x="22355" y="0"/>
                    </a:cubicBezTo>
                    <a:cubicBezTo>
                      <a:pt x="10009" y="0"/>
                      <a:pt x="0" y="10009"/>
                      <a:pt x="0" y="22343"/>
                    </a:cubicBezTo>
                    <a:close/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489" name="Forma livre: Forma 1488">
                <a:extLst>
                  <a:ext uri="{FF2B5EF4-FFF2-40B4-BE49-F238E27FC236}">
                    <a16:creationId xmlns:a16="http://schemas.microsoft.com/office/drawing/2014/main" id="{227340EF-8CFB-F592-A40C-F2215E4051D1}"/>
                  </a:ext>
                </a:extLst>
              </p:cNvPr>
              <p:cNvSpPr/>
              <p:nvPr/>
            </p:nvSpPr>
            <p:spPr>
              <a:xfrm>
                <a:off x="1937913" y="5447317"/>
                <a:ext cx="24774" cy="24986"/>
              </a:xfrm>
              <a:custGeom>
                <a:avLst/>
                <a:gdLst>
                  <a:gd name="connsiteX0" fmla="*/ 0 w 24774"/>
                  <a:gd name="connsiteY0" fmla="*/ 0 h 24986"/>
                  <a:gd name="connsiteX1" fmla="*/ 0 w 24774"/>
                  <a:gd name="connsiteY1" fmla="*/ 24987 h 24986"/>
                  <a:gd name="connsiteX2" fmla="*/ 24774 w 24774"/>
                  <a:gd name="connsiteY2" fmla="*/ 24987 h 249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4774" h="24986">
                    <a:moveTo>
                      <a:pt x="0" y="0"/>
                    </a:moveTo>
                    <a:lnTo>
                      <a:pt x="0" y="24987"/>
                    </a:lnTo>
                    <a:lnTo>
                      <a:pt x="24774" y="24987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490" name="Forma livre: Forma 1489">
                <a:extLst>
                  <a:ext uri="{FF2B5EF4-FFF2-40B4-BE49-F238E27FC236}">
                    <a16:creationId xmlns:a16="http://schemas.microsoft.com/office/drawing/2014/main" id="{EC0A3D97-5C79-99E5-53AB-9F1EB7E97D9C}"/>
                  </a:ext>
                </a:extLst>
              </p:cNvPr>
              <p:cNvSpPr/>
              <p:nvPr/>
            </p:nvSpPr>
            <p:spPr>
              <a:xfrm>
                <a:off x="2192619" y="5310179"/>
                <a:ext cx="88946" cy="162750"/>
              </a:xfrm>
              <a:custGeom>
                <a:avLst/>
                <a:gdLst>
                  <a:gd name="connsiteX0" fmla="*/ 0 w 88946"/>
                  <a:gd name="connsiteY0" fmla="*/ 118324 h 162750"/>
                  <a:gd name="connsiteX1" fmla="*/ 46503 w 88946"/>
                  <a:gd name="connsiteY1" fmla="*/ 118324 h 162750"/>
                  <a:gd name="connsiteX2" fmla="*/ 62626 w 88946"/>
                  <a:gd name="connsiteY2" fmla="*/ 162585 h 162750"/>
                  <a:gd name="connsiteX3" fmla="*/ 88947 w 88946"/>
                  <a:gd name="connsiteY3" fmla="*/ 162750 h 162750"/>
                  <a:gd name="connsiteX4" fmla="*/ 88947 w 88946"/>
                  <a:gd name="connsiteY4" fmla="*/ 73355 h 162750"/>
                  <a:gd name="connsiteX5" fmla="*/ 51555 w 88946"/>
                  <a:gd name="connsiteY5" fmla="*/ 0 h 162750"/>
                  <a:gd name="connsiteX6" fmla="*/ 0 w 88946"/>
                  <a:gd name="connsiteY6" fmla="*/ 0 h 1627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88946" h="162750">
                    <a:moveTo>
                      <a:pt x="0" y="118324"/>
                    </a:moveTo>
                    <a:lnTo>
                      <a:pt x="46503" y="118324"/>
                    </a:lnTo>
                    <a:lnTo>
                      <a:pt x="62626" y="162585"/>
                    </a:lnTo>
                    <a:lnTo>
                      <a:pt x="88947" y="162750"/>
                    </a:lnTo>
                    <a:lnTo>
                      <a:pt x="88947" y="73355"/>
                    </a:lnTo>
                    <a:lnTo>
                      <a:pt x="51555" y="0"/>
                    </a:lnTo>
                    <a:lnTo>
                      <a:pt x="0" y="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491" name="Forma livre: Forma 1490">
                <a:extLst>
                  <a:ext uri="{FF2B5EF4-FFF2-40B4-BE49-F238E27FC236}">
                    <a16:creationId xmlns:a16="http://schemas.microsoft.com/office/drawing/2014/main" id="{1FE95FBE-82AD-E40D-F38F-DA983AA82434}"/>
                  </a:ext>
                </a:extLst>
              </p:cNvPr>
              <p:cNvSpPr/>
              <p:nvPr/>
            </p:nvSpPr>
            <p:spPr>
              <a:xfrm>
                <a:off x="2008624" y="5472127"/>
                <a:ext cx="18931" cy="1180"/>
              </a:xfrm>
              <a:custGeom>
                <a:avLst/>
                <a:gdLst>
                  <a:gd name="connsiteX0" fmla="*/ 0 w 18931"/>
                  <a:gd name="connsiteY0" fmla="*/ 0 h 1180"/>
                  <a:gd name="connsiteX1" fmla="*/ 18932 w 18931"/>
                  <a:gd name="connsiteY1" fmla="*/ 0 h 11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8931" h="1180">
                    <a:moveTo>
                      <a:pt x="0" y="0"/>
                    </a:moveTo>
                    <a:lnTo>
                      <a:pt x="18932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492" name="Forma livre: Forma 1491">
              <a:extLst>
                <a:ext uri="{FF2B5EF4-FFF2-40B4-BE49-F238E27FC236}">
                  <a16:creationId xmlns:a16="http://schemas.microsoft.com/office/drawing/2014/main" id="{6111D271-5BCC-3FA4-EF70-16D25F46122B}"/>
                </a:ext>
              </a:extLst>
            </p:cNvPr>
            <p:cNvSpPr/>
            <p:nvPr/>
          </p:nvSpPr>
          <p:spPr>
            <a:xfrm>
              <a:off x="1916785" y="5282938"/>
              <a:ext cx="255296" cy="145494"/>
            </a:xfrm>
            <a:custGeom>
              <a:avLst/>
              <a:gdLst>
                <a:gd name="connsiteX0" fmla="*/ 70227 w 255296"/>
                <a:gd name="connsiteY0" fmla="*/ 0 h 145494"/>
                <a:gd name="connsiteX1" fmla="*/ 51661 w 255296"/>
                <a:gd name="connsiteY1" fmla="*/ 0 h 145494"/>
                <a:gd name="connsiteX2" fmla="*/ 0 w 255296"/>
                <a:gd name="connsiteY2" fmla="*/ 44627 h 145494"/>
                <a:gd name="connsiteX3" fmla="*/ 0 w 255296"/>
                <a:gd name="connsiteY3" fmla="*/ 145495 h 145494"/>
                <a:gd name="connsiteX4" fmla="*/ 255297 w 255296"/>
                <a:gd name="connsiteY4" fmla="*/ 145495 h 145494"/>
                <a:gd name="connsiteX5" fmla="*/ 255297 w 255296"/>
                <a:gd name="connsiteY5" fmla="*/ 0 h 145494"/>
                <a:gd name="connsiteX6" fmla="*/ 91744 w 255296"/>
                <a:gd name="connsiteY6" fmla="*/ 0 h 145494"/>
                <a:gd name="connsiteX7" fmla="*/ 38666 w 255296"/>
                <a:gd name="connsiteY7" fmla="*/ 143099 h 1454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55296" h="145494">
                  <a:moveTo>
                    <a:pt x="70227" y="0"/>
                  </a:moveTo>
                  <a:lnTo>
                    <a:pt x="51661" y="0"/>
                  </a:lnTo>
                  <a:lnTo>
                    <a:pt x="0" y="44627"/>
                  </a:lnTo>
                  <a:lnTo>
                    <a:pt x="0" y="145495"/>
                  </a:lnTo>
                  <a:lnTo>
                    <a:pt x="255297" y="145495"/>
                  </a:lnTo>
                  <a:lnTo>
                    <a:pt x="255297" y="0"/>
                  </a:lnTo>
                  <a:lnTo>
                    <a:pt x="91744" y="0"/>
                  </a:lnTo>
                  <a:lnTo>
                    <a:pt x="38666" y="143099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93" name="Forma livre: Forma 1492">
              <a:extLst>
                <a:ext uri="{FF2B5EF4-FFF2-40B4-BE49-F238E27FC236}">
                  <a16:creationId xmlns:a16="http://schemas.microsoft.com/office/drawing/2014/main" id="{DED12195-CDD8-7501-BFA5-5BA68581124C}"/>
                </a:ext>
              </a:extLst>
            </p:cNvPr>
            <p:cNvSpPr/>
            <p:nvPr/>
          </p:nvSpPr>
          <p:spPr>
            <a:xfrm>
              <a:off x="2037270" y="5310828"/>
              <a:ext cx="1180" cy="89702"/>
            </a:xfrm>
            <a:custGeom>
              <a:avLst/>
              <a:gdLst>
                <a:gd name="connsiteX0" fmla="*/ 0 w 1180"/>
                <a:gd name="connsiteY0" fmla="*/ 0 h 89702"/>
                <a:gd name="connsiteX1" fmla="*/ 0 w 1180"/>
                <a:gd name="connsiteY1" fmla="*/ 89702 h 897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80" h="89702">
                  <a:moveTo>
                    <a:pt x="0" y="0"/>
                  </a:moveTo>
                  <a:lnTo>
                    <a:pt x="0" y="89702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94" name="Forma livre: Forma 1493">
              <a:extLst>
                <a:ext uri="{FF2B5EF4-FFF2-40B4-BE49-F238E27FC236}">
                  <a16:creationId xmlns:a16="http://schemas.microsoft.com/office/drawing/2014/main" id="{C99ED3D4-397D-A7EA-3F93-75A67957054D}"/>
                </a:ext>
              </a:extLst>
            </p:cNvPr>
            <p:cNvSpPr/>
            <p:nvPr/>
          </p:nvSpPr>
          <p:spPr>
            <a:xfrm>
              <a:off x="2003655" y="5364756"/>
              <a:ext cx="1180" cy="35774"/>
            </a:xfrm>
            <a:custGeom>
              <a:avLst/>
              <a:gdLst>
                <a:gd name="connsiteX0" fmla="*/ 0 w 1180"/>
                <a:gd name="connsiteY0" fmla="*/ 0 h 35774"/>
                <a:gd name="connsiteX1" fmla="*/ 0 w 1180"/>
                <a:gd name="connsiteY1" fmla="*/ 35775 h 357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80" h="35774">
                  <a:moveTo>
                    <a:pt x="0" y="0"/>
                  </a:moveTo>
                  <a:lnTo>
                    <a:pt x="0" y="35775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95" name="Forma livre: Forma 1494">
              <a:extLst>
                <a:ext uri="{FF2B5EF4-FFF2-40B4-BE49-F238E27FC236}">
                  <a16:creationId xmlns:a16="http://schemas.microsoft.com/office/drawing/2014/main" id="{D63F3D73-B5A7-61CC-D8BB-686F9DBEC2EB}"/>
                </a:ext>
              </a:extLst>
            </p:cNvPr>
            <p:cNvSpPr/>
            <p:nvPr/>
          </p:nvSpPr>
          <p:spPr>
            <a:xfrm>
              <a:off x="2070872" y="5310828"/>
              <a:ext cx="1180" cy="89702"/>
            </a:xfrm>
            <a:custGeom>
              <a:avLst/>
              <a:gdLst>
                <a:gd name="connsiteX0" fmla="*/ 0 w 1180"/>
                <a:gd name="connsiteY0" fmla="*/ 0 h 89702"/>
                <a:gd name="connsiteX1" fmla="*/ 0 w 1180"/>
                <a:gd name="connsiteY1" fmla="*/ 89702 h 897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80" h="89702">
                  <a:moveTo>
                    <a:pt x="0" y="0"/>
                  </a:moveTo>
                  <a:lnTo>
                    <a:pt x="0" y="89702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96" name="Forma livre: Forma 1495">
              <a:extLst>
                <a:ext uri="{FF2B5EF4-FFF2-40B4-BE49-F238E27FC236}">
                  <a16:creationId xmlns:a16="http://schemas.microsoft.com/office/drawing/2014/main" id="{42FCA66E-5DCA-67A8-BE44-D2E4B420DA61}"/>
                </a:ext>
              </a:extLst>
            </p:cNvPr>
            <p:cNvSpPr/>
            <p:nvPr/>
          </p:nvSpPr>
          <p:spPr>
            <a:xfrm>
              <a:off x="2104487" y="5310828"/>
              <a:ext cx="1180" cy="89702"/>
            </a:xfrm>
            <a:custGeom>
              <a:avLst/>
              <a:gdLst>
                <a:gd name="connsiteX0" fmla="*/ 0 w 1180"/>
                <a:gd name="connsiteY0" fmla="*/ 0 h 89702"/>
                <a:gd name="connsiteX1" fmla="*/ 0 w 1180"/>
                <a:gd name="connsiteY1" fmla="*/ 89702 h 897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80" h="89702">
                  <a:moveTo>
                    <a:pt x="0" y="0"/>
                  </a:moveTo>
                  <a:lnTo>
                    <a:pt x="0" y="89702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97" name="Forma livre: Forma 1496">
              <a:extLst>
                <a:ext uri="{FF2B5EF4-FFF2-40B4-BE49-F238E27FC236}">
                  <a16:creationId xmlns:a16="http://schemas.microsoft.com/office/drawing/2014/main" id="{9135C757-2F9D-7E85-C797-1CB20DA5F470}"/>
                </a:ext>
              </a:extLst>
            </p:cNvPr>
            <p:cNvSpPr/>
            <p:nvPr/>
          </p:nvSpPr>
          <p:spPr>
            <a:xfrm>
              <a:off x="2138090" y="5310828"/>
              <a:ext cx="1180" cy="89702"/>
            </a:xfrm>
            <a:custGeom>
              <a:avLst/>
              <a:gdLst>
                <a:gd name="connsiteX0" fmla="*/ 0 w 1180"/>
                <a:gd name="connsiteY0" fmla="*/ 0 h 89702"/>
                <a:gd name="connsiteX1" fmla="*/ 0 w 1180"/>
                <a:gd name="connsiteY1" fmla="*/ 89702 h 897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80" h="89702">
                  <a:moveTo>
                    <a:pt x="0" y="0"/>
                  </a:moveTo>
                  <a:lnTo>
                    <a:pt x="0" y="89702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498" name="Gráfico 13">
            <a:extLst>
              <a:ext uri="{FF2B5EF4-FFF2-40B4-BE49-F238E27FC236}">
                <a16:creationId xmlns:a16="http://schemas.microsoft.com/office/drawing/2014/main" id="{8552BD0F-F5D2-568D-8FFC-7C38E8B67027}"/>
              </a:ext>
            </a:extLst>
          </p:cNvPr>
          <p:cNvGrpSpPr/>
          <p:nvPr/>
        </p:nvGrpSpPr>
        <p:grpSpPr>
          <a:xfrm>
            <a:off x="1878993" y="5796388"/>
            <a:ext cx="440378" cy="180702"/>
            <a:chOff x="1878993" y="5796388"/>
            <a:chExt cx="440378" cy="180702"/>
          </a:xfrm>
          <a:noFill/>
        </p:grpSpPr>
        <p:sp>
          <p:nvSpPr>
            <p:cNvPr id="1499" name="Forma livre: Forma 1498">
              <a:extLst>
                <a:ext uri="{FF2B5EF4-FFF2-40B4-BE49-F238E27FC236}">
                  <a16:creationId xmlns:a16="http://schemas.microsoft.com/office/drawing/2014/main" id="{8C928FDF-F08B-A14F-E4A5-24BB4B9D9B17}"/>
                </a:ext>
              </a:extLst>
            </p:cNvPr>
            <p:cNvSpPr/>
            <p:nvPr/>
          </p:nvSpPr>
          <p:spPr>
            <a:xfrm>
              <a:off x="2247314" y="5892204"/>
              <a:ext cx="72056" cy="1180"/>
            </a:xfrm>
            <a:custGeom>
              <a:avLst/>
              <a:gdLst>
                <a:gd name="connsiteX0" fmla="*/ 0 w 72056"/>
                <a:gd name="connsiteY0" fmla="*/ 0 h 1180"/>
                <a:gd name="connsiteX1" fmla="*/ 72057 w 72056"/>
                <a:gd name="connsiteY1" fmla="*/ 0 h 11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2056" h="1180">
                  <a:moveTo>
                    <a:pt x="0" y="0"/>
                  </a:moveTo>
                  <a:lnTo>
                    <a:pt x="72057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00" name="Forma livre: Forma 1499">
              <a:extLst>
                <a:ext uri="{FF2B5EF4-FFF2-40B4-BE49-F238E27FC236}">
                  <a16:creationId xmlns:a16="http://schemas.microsoft.com/office/drawing/2014/main" id="{D4AFB986-8CF3-0B4A-1E46-EE7366E7E871}"/>
                </a:ext>
              </a:extLst>
            </p:cNvPr>
            <p:cNvSpPr/>
            <p:nvPr/>
          </p:nvSpPr>
          <p:spPr>
            <a:xfrm>
              <a:off x="2046794" y="5916400"/>
              <a:ext cx="141021" cy="1180"/>
            </a:xfrm>
            <a:custGeom>
              <a:avLst/>
              <a:gdLst>
                <a:gd name="connsiteX0" fmla="*/ 141021 w 141021"/>
                <a:gd name="connsiteY0" fmla="*/ 0 h 1180"/>
                <a:gd name="connsiteX1" fmla="*/ 0 w 141021"/>
                <a:gd name="connsiteY1" fmla="*/ 0 h 11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41021" h="1180">
                  <a:moveTo>
                    <a:pt x="141021" y="0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01" name="Forma livre: Forma 1500">
              <a:extLst>
                <a:ext uri="{FF2B5EF4-FFF2-40B4-BE49-F238E27FC236}">
                  <a16:creationId xmlns:a16="http://schemas.microsoft.com/office/drawing/2014/main" id="{05EEABFC-E1FA-070A-0B3C-3306219B195E}"/>
                </a:ext>
              </a:extLst>
            </p:cNvPr>
            <p:cNvSpPr/>
            <p:nvPr/>
          </p:nvSpPr>
          <p:spPr>
            <a:xfrm>
              <a:off x="1956160" y="5846949"/>
              <a:ext cx="129477" cy="32342"/>
            </a:xfrm>
            <a:custGeom>
              <a:avLst/>
              <a:gdLst>
                <a:gd name="connsiteX0" fmla="*/ 129478 w 129477"/>
                <a:gd name="connsiteY0" fmla="*/ 25367 h 32342"/>
                <a:gd name="connsiteX1" fmla="*/ 57752 w 129477"/>
                <a:gd name="connsiteY1" fmla="*/ 27 h 32342"/>
                <a:gd name="connsiteX2" fmla="*/ 0 w 129477"/>
                <a:gd name="connsiteY2" fmla="*/ 32343 h 323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9477" h="32342">
                  <a:moveTo>
                    <a:pt x="129478" y="25367"/>
                  </a:moveTo>
                  <a:cubicBezTo>
                    <a:pt x="114370" y="12833"/>
                    <a:pt x="94459" y="1112"/>
                    <a:pt x="57752" y="27"/>
                  </a:cubicBezTo>
                  <a:cubicBezTo>
                    <a:pt x="31384" y="-752"/>
                    <a:pt x="5677" y="15748"/>
                    <a:pt x="0" y="32343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02" name="Forma livre: Forma 1501">
              <a:extLst>
                <a:ext uri="{FF2B5EF4-FFF2-40B4-BE49-F238E27FC236}">
                  <a16:creationId xmlns:a16="http://schemas.microsoft.com/office/drawing/2014/main" id="{6DBA0461-AA6C-546C-FD03-143F2FFBCD95}"/>
                </a:ext>
              </a:extLst>
            </p:cNvPr>
            <p:cNvSpPr/>
            <p:nvPr/>
          </p:nvSpPr>
          <p:spPr>
            <a:xfrm>
              <a:off x="1907721" y="5796388"/>
              <a:ext cx="402609" cy="151148"/>
            </a:xfrm>
            <a:custGeom>
              <a:avLst/>
              <a:gdLst>
                <a:gd name="connsiteX0" fmla="*/ 93290 w 402609"/>
                <a:gd name="connsiteY0" fmla="*/ 151148 h 151148"/>
                <a:gd name="connsiteX1" fmla="*/ 12169 w 402609"/>
                <a:gd name="connsiteY1" fmla="*/ 132712 h 151148"/>
                <a:gd name="connsiteX2" fmla="*/ 0 w 402609"/>
                <a:gd name="connsiteY2" fmla="*/ 117309 h 151148"/>
                <a:gd name="connsiteX3" fmla="*/ 12169 w 402609"/>
                <a:gd name="connsiteY3" fmla="*/ 98366 h 151148"/>
                <a:gd name="connsiteX4" fmla="*/ 254093 w 402609"/>
                <a:gd name="connsiteY4" fmla="*/ 82455 h 151148"/>
                <a:gd name="connsiteX5" fmla="*/ 307855 w 402609"/>
                <a:gd name="connsiteY5" fmla="*/ 75798 h 151148"/>
                <a:gd name="connsiteX6" fmla="*/ 365595 w 402609"/>
                <a:gd name="connsiteY6" fmla="*/ 0 h 151148"/>
                <a:gd name="connsiteX7" fmla="*/ 402609 w 402609"/>
                <a:gd name="connsiteY7" fmla="*/ 0 h 151148"/>
                <a:gd name="connsiteX8" fmla="*/ 376584 w 402609"/>
                <a:gd name="connsiteY8" fmla="*/ 75114 h 1511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02609" h="151148">
                  <a:moveTo>
                    <a:pt x="93290" y="151148"/>
                  </a:moveTo>
                  <a:cubicBezTo>
                    <a:pt x="63523" y="148150"/>
                    <a:pt x="34748" y="142532"/>
                    <a:pt x="12169" y="132712"/>
                  </a:cubicBezTo>
                  <a:cubicBezTo>
                    <a:pt x="12169" y="132712"/>
                    <a:pt x="0" y="127342"/>
                    <a:pt x="0" y="117309"/>
                  </a:cubicBezTo>
                  <a:cubicBezTo>
                    <a:pt x="0" y="103547"/>
                    <a:pt x="12169" y="98366"/>
                    <a:pt x="12169" y="98366"/>
                  </a:cubicBezTo>
                  <a:cubicBezTo>
                    <a:pt x="93255" y="63110"/>
                    <a:pt x="254093" y="82455"/>
                    <a:pt x="254093" y="82455"/>
                  </a:cubicBezTo>
                  <a:lnTo>
                    <a:pt x="307855" y="75798"/>
                  </a:lnTo>
                  <a:lnTo>
                    <a:pt x="365595" y="0"/>
                  </a:lnTo>
                  <a:lnTo>
                    <a:pt x="402609" y="0"/>
                  </a:lnTo>
                  <a:lnTo>
                    <a:pt x="376584" y="75114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03" name="Forma livre: Forma 1502">
              <a:extLst>
                <a:ext uri="{FF2B5EF4-FFF2-40B4-BE49-F238E27FC236}">
                  <a16:creationId xmlns:a16="http://schemas.microsoft.com/office/drawing/2014/main" id="{6A4915AD-BA0C-0584-B36D-D4FE67D8594A}"/>
                </a:ext>
              </a:extLst>
            </p:cNvPr>
            <p:cNvSpPr/>
            <p:nvPr/>
          </p:nvSpPr>
          <p:spPr>
            <a:xfrm>
              <a:off x="2081200" y="5895250"/>
              <a:ext cx="208415" cy="55154"/>
            </a:xfrm>
            <a:custGeom>
              <a:avLst/>
              <a:gdLst>
                <a:gd name="connsiteX0" fmla="*/ 208416 w 208415"/>
                <a:gd name="connsiteY0" fmla="*/ 0 h 55154"/>
                <a:gd name="connsiteX1" fmla="*/ 171048 w 208415"/>
                <a:gd name="connsiteY1" fmla="*/ 35739 h 55154"/>
                <a:gd name="connsiteX2" fmla="*/ 80614 w 208415"/>
                <a:gd name="connsiteY2" fmla="*/ 50245 h 55154"/>
                <a:gd name="connsiteX3" fmla="*/ 0 w 208415"/>
                <a:gd name="connsiteY3" fmla="*/ 55155 h 551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8415" h="55154">
                  <a:moveTo>
                    <a:pt x="208416" y="0"/>
                  </a:moveTo>
                  <a:cubicBezTo>
                    <a:pt x="200980" y="32611"/>
                    <a:pt x="171048" y="35739"/>
                    <a:pt x="171048" y="35739"/>
                  </a:cubicBezTo>
                  <a:lnTo>
                    <a:pt x="80614" y="50245"/>
                  </a:lnTo>
                  <a:cubicBezTo>
                    <a:pt x="80614" y="50245"/>
                    <a:pt x="45595" y="54352"/>
                    <a:pt x="0" y="55155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04" name="Forma livre: Forma 1503">
              <a:extLst>
                <a:ext uri="{FF2B5EF4-FFF2-40B4-BE49-F238E27FC236}">
                  <a16:creationId xmlns:a16="http://schemas.microsoft.com/office/drawing/2014/main" id="{988CC64F-BAB7-E777-BEEA-FB281DADCFEA}"/>
                </a:ext>
              </a:extLst>
            </p:cNvPr>
            <p:cNvSpPr/>
            <p:nvPr/>
          </p:nvSpPr>
          <p:spPr>
            <a:xfrm>
              <a:off x="1966594" y="5883612"/>
              <a:ext cx="1180" cy="55532"/>
            </a:xfrm>
            <a:custGeom>
              <a:avLst/>
              <a:gdLst>
                <a:gd name="connsiteX0" fmla="*/ 0 w 1180"/>
                <a:gd name="connsiteY0" fmla="*/ 0 h 55532"/>
                <a:gd name="connsiteX1" fmla="*/ 0 w 1180"/>
                <a:gd name="connsiteY1" fmla="*/ 55533 h 555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80" h="55532">
                  <a:moveTo>
                    <a:pt x="0" y="0"/>
                  </a:moveTo>
                  <a:lnTo>
                    <a:pt x="0" y="55533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505" name="Gráfico 13">
              <a:extLst>
                <a:ext uri="{FF2B5EF4-FFF2-40B4-BE49-F238E27FC236}">
                  <a16:creationId xmlns:a16="http://schemas.microsoft.com/office/drawing/2014/main" id="{107F3E09-14FB-07FD-3F96-F16714FE5F7F}"/>
                </a:ext>
              </a:extLst>
            </p:cNvPr>
            <p:cNvGrpSpPr/>
            <p:nvPr/>
          </p:nvGrpSpPr>
          <p:grpSpPr>
            <a:xfrm>
              <a:off x="2019931" y="5950652"/>
              <a:ext cx="147548" cy="26438"/>
              <a:chOff x="2019931" y="5950652"/>
              <a:chExt cx="147548" cy="26438"/>
            </a:xfrm>
            <a:noFill/>
          </p:grpSpPr>
          <p:sp>
            <p:nvSpPr>
              <p:cNvPr id="1506" name="Forma livre: Forma 1505">
                <a:extLst>
                  <a:ext uri="{FF2B5EF4-FFF2-40B4-BE49-F238E27FC236}">
                    <a16:creationId xmlns:a16="http://schemas.microsoft.com/office/drawing/2014/main" id="{6ADF9CE0-1AFC-0E3B-649D-523B8CC1F393}"/>
                  </a:ext>
                </a:extLst>
              </p:cNvPr>
              <p:cNvSpPr/>
              <p:nvPr/>
            </p:nvSpPr>
            <p:spPr>
              <a:xfrm>
                <a:off x="2019931" y="5950652"/>
                <a:ext cx="147548" cy="26438"/>
              </a:xfrm>
              <a:custGeom>
                <a:avLst/>
                <a:gdLst>
                  <a:gd name="connsiteX0" fmla="*/ 110534 w 147548"/>
                  <a:gd name="connsiteY0" fmla="*/ 26439 h 26438"/>
                  <a:gd name="connsiteX1" fmla="*/ 147548 w 147548"/>
                  <a:gd name="connsiteY1" fmla="*/ 13219 h 26438"/>
                  <a:gd name="connsiteX2" fmla="*/ 110534 w 147548"/>
                  <a:gd name="connsiteY2" fmla="*/ 0 h 26438"/>
                  <a:gd name="connsiteX3" fmla="*/ 37014 w 147548"/>
                  <a:gd name="connsiteY3" fmla="*/ 0 h 26438"/>
                  <a:gd name="connsiteX4" fmla="*/ 0 w 147548"/>
                  <a:gd name="connsiteY4" fmla="*/ 13219 h 26438"/>
                  <a:gd name="connsiteX5" fmla="*/ 37014 w 147548"/>
                  <a:gd name="connsiteY5" fmla="*/ 26439 h 26438"/>
                  <a:gd name="connsiteX6" fmla="*/ 110534 w 147548"/>
                  <a:gd name="connsiteY6" fmla="*/ 26439 h 264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47548" h="26438">
                    <a:moveTo>
                      <a:pt x="110534" y="26439"/>
                    </a:moveTo>
                    <a:cubicBezTo>
                      <a:pt x="130894" y="26439"/>
                      <a:pt x="147548" y="18106"/>
                      <a:pt x="147548" y="13219"/>
                    </a:cubicBezTo>
                    <a:cubicBezTo>
                      <a:pt x="147548" y="8333"/>
                      <a:pt x="130894" y="0"/>
                      <a:pt x="110534" y="0"/>
                    </a:cubicBezTo>
                    <a:lnTo>
                      <a:pt x="37014" y="0"/>
                    </a:lnTo>
                    <a:cubicBezTo>
                      <a:pt x="16654" y="0"/>
                      <a:pt x="0" y="8203"/>
                      <a:pt x="0" y="13219"/>
                    </a:cubicBezTo>
                    <a:cubicBezTo>
                      <a:pt x="0" y="18235"/>
                      <a:pt x="16666" y="26439"/>
                      <a:pt x="37014" y="26439"/>
                    </a:cubicBezTo>
                    <a:lnTo>
                      <a:pt x="110534" y="26439"/>
                    </a:ln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507" name="Forma livre: Forma 1506">
                <a:extLst>
                  <a:ext uri="{FF2B5EF4-FFF2-40B4-BE49-F238E27FC236}">
                    <a16:creationId xmlns:a16="http://schemas.microsoft.com/office/drawing/2014/main" id="{51D85DEA-ABCF-67D1-7AF8-9BE9B1B7D2CC}"/>
                  </a:ext>
                </a:extLst>
              </p:cNvPr>
              <p:cNvSpPr/>
              <p:nvPr/>
            </p:nvSpPr>
            <p:spPr>
              <a:xfrm>
                <a:off x="2061253" y="5953733"/>
                <a:ext cx="1180" cy="20265"/>
              </a:xfrm>
              <a:custGeom>
                <a:avLst/>
                <a:gdLst>
                  <a:gd name="connsiteX0" fmla="*/ 0 w 1180"/>
                  <a:gd name="connsiteY0" fmla="*/ 0 h 20265"/>
                  <a:gd name="connsiteX1" fmla="*/ 0 w 1180"/>
                  <a:gd name="connsiteY1" fmla="*/ 20266 h 202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80" h="20265">
                    <a:moveTo>
                      <a:pt x="0" y="0"/>
                    </a:moveTo>
                    <a:lnTo>
                      <a:pt x="0" y="20266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508" name="Forma livre: Forma 1507">
              <a:extLst>
                <a:ext uri="{FF2B5EF4-FFF2-40B4-BE49-F238E27FC236}">
                  <a16:creationId xmlns:a16="http://schemas.microsoft.com/office/drawing/2014/main" id="{08AA1C91-3447-34A9-CDD5-83909B4326AA}"/>
                </a:ext>
              </a:extLst>
            </p:cNvPr>
            <p:cNvSpPr/>
            <p:nvPr/>
          </p:nvSpPr>
          <p:spPr>
            <a:xfrm>
              <a:off x="1878993" y="5912883"/>
              <a:ext cx="26261" cy="1180"/>
            </a:xfrm>
            <a:custGeom>
              <a:avLst/>
              <a:gdLst>
                <a:gd name="connsiteX0" fmla="*/ 26261 w 26261"/>
                <a:gd name="connsiteY0" fmla="*/ 0 h 1180"/>
                <a:gd name="connsiteX1" fmla="*/ 0 w 26261"/>
                <a:gd name="connsiteY1" fmla="*/ 0 h 11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6261" h="1180">
                  <a:moveTo>
                    <a:pt x="26261" y="0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509" name="Gráfico 13">
            <a:extLst>
              <a:ext uri="{FF2B5EF4-FFF2-40B4-BE49-F238E27FC236}">
                <a16:creationId xmlns:a16="http://schemas.microsoft.com/office/drawing/2014/main" id="{EA4914ED-DB1A-01CE-0CB8-48608E6BFF2D}"/>
              </a:ext>
            </a:extLst>
          </p:cNvPr>
          <p:cNvGrpSpPr/>
          <p:nvPr/>
        </p:nvGrpSpPr>
        <p:grpSpPr>
          <a:xfrm>
            <a:off x="1963183" y="3608955"/>
            <a:ext cx="271997" cy="284226"/>
            <a:chOff x="1963183" y="3608955"/>
            <a:chExt cx="271997" cy="284226"/>
          </a:xfrm>
        </p:grpSpPr>
        <p:grpSp>
          <p:nvGrpSpPr>
            <p:cNvPr id="1510" name="Gráfico 13">
              <a:extLst>
                <a:ext uri="{FF2B5EF4-FFF2-40B4-BE49-F238E27FC236}">
                  <a16:creationId xmlns:a16="http://schemas.microsoft.com/office/drawing/2014/main" id="{8380F339-A4B2-088D-2F35-390E5DCF370D}"/>
                </a:ext>
              </a:extLst>
            </p:cNvPr>
            <p:cNvGrpSpPr/>
            <p:nvPr/>
          </p:nvGrpSpPr>
          <p:grpSpPr>
            <a:xfrm>
              <a:off x="1990719" y="3846701"/>
              <a:ext cx="216913" cy="46479"/>
              <a:chOff x="1990719" y="3846701"/>
              <a:chExt cx="216913" cy="46479"/>
            </a:xfrm>
            <a:noFill/>
          </p:grpSpPr>
          <p:sp>
            <p:nvSpPr>
              <p:cNvPr id="1511" name="Forma livre: Forma 1510">
                <a:extLst>
                  <a:ext uri="{FF2B5EF4-FFF2-40B4-BE49-F238E27FC236}">
                    <a16:creationId xmlns:a16="http://schemas.microsoft.com/office/drawing/2014/main" id="{60C75C87-BD8A-AF74-71CE-1BB33AACDB09}"/>
                  </a:ext>
                </a:extLst>
              </p:cNvPr>
              <p:cNvSpPr/>
              <p:nvPr/>
            </p:nvSpPr>
            <p:spPr>
              <a:xfrm>
                <a:off x="1990719" y="3846701"/>
                <a:ext cx="36541" cy="46479"/>
              </a:xfrm>
              <a:custGeom>
                <a:avLst/>
                <a:gdLst>
                  <a:gd name="connsiteX0" fmla="*/ 36542 w 36541"/>
                  <a:gd name="connsiteY0" fmla="*/ 0 h 46479"/>
                  <a:gd name="connsiteX1" fmla="*/ 36518 w 36541"/>
                  <a:gd name="connsiteY1" fmla="*/ 31313 h 46479"/>
                  <a:gd name="connsiteX2" fmla="*/ 21328 w 36541"/>
                  <a:gd name="connsiteY2" fmla="*/ 46480 h 46479"/>
                  <a:gd name="connsiteX3" fmla="*/ 15167 w 36541"/>
                  <a:gd name="connsiteY3" fmla="*/ 46480 h 46479"/>
                  <a:gd name="connsiteX4" fmla="*/ 0 w 36541"/>
                  <a:gd name="connsiteY4" fmla="*/ 31278 h 46479"/>
                  <a:gd name="connsiteX5" fmla="*/ 24 w 36541"/>
                  <a:gd name="connsiteY5" fmla="*/ 19664 h 464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36541" h="46479">
                    <a:moveTo>
                      <a:pt x="36542" y="0"/>
                    </a:moveTo>
                    <a:lnTo>
                      <a:pt x="36518" y="31313"/>
                    </a:lnTo>
                    <a:cubicBezTo>
                      <a:pt x="36518" y="39658"/>
                      <a:pt x="29673" y="46492"/>
                      <a:pt x="21328" y="46480"/>
                    </a:cubicBezTo>
                    <a:lnTo>
                      <a:pt x="15167" y="46480"/>
                    </a:lnTo>
                    <a:cubicBezTo>
                      <a:pt x="6822" y="46468"/>
                      <a:pt x="-12" y="39634"/>
                      <a:pt x="0" y="31278"/>
                    </a:cubicBezTo>
                    <a:lnTo>
                      <a:pt x="24" y="19664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512" name="Forma livre: Forma 1511">
                <a:extLst>
                  <a:ext uri="{FF2B5EF4-FFF2-40B4-BE49-F238E27FC236}">
                    <a16:creationId xmlns:a16="http://schemas.microsoft.com/office/drawing/2014/main" id="{23BDBA06-9C1C-528D-D2E0-EFC59B569D9C}"/>
                  </a:ext>
                </a:extLst>
              </p:cNvPr>
              <p:cNvSpPr/>
              <p:nvPr/>
            </p:nvSpPr>
            <p:spPr>
              <a:xfrm>
                <a:off x="2171103" y="3846701"/>
                <a:ext cx="36530" cy="46479"/>
              </a:xfrm>
              <a:custGeom>
                <a:avLst/>
                <a:gdLst>
                  <a:gd name="connsiteX0" fmla="*/ 36530 w 36530"/>
                  <a:gd name="connsiteY0" fmla="*/ 0 h 46479"/>
                  <a:gd name="connsiteX1" fmla="*/ 36506 w 36530"/>
                  <a:gd name="connsiteY1" fmla="*/ 31313 h 46479"/>
                  <a:gd name="connsiteX2" fmla="*/ 21316 w 36530"/>
                  <a:gd name="connsiteY2" fmla="*/ 46480 h 46479"/>
                  <a:gd name="connsiteX3" fmla="*/ 15167 w 36530"/>
                  <a:gd name="connsiteY3" fmla="*/ 46480 h 46479"/>
                  <a:gd name="connsiteX4" fmla="*/ 0 w 36530"/>
                  <a:gd name="connsiteY4" fmla="*/ 31278 h 46479"/>
                  <a:gd name="connsiteX5" fmla="*/ 24 w 36530"/>
                  <a:gd name="connsiteY5" fmla="*/ 19664 h 464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36530" h="46479">
                    <a:moveTo>
                      <a:pt x="36530" y="0"/>
                    </a:moveTo>
                    <a:lnTo>
                      <a:pt x="36506" y="31313"/>
                    </a:lnTo>
                    <a:cubicBezTo>
                      <a:pt x="36506" y="39658"/>
                      <a:pt x="29661" y="46492"/>
                      <a:pt x="21316" y="46480"/>
                    </a:cubicBezTo>
                    <a:lnTo>
                      <a:pt x="15167" y="46480"/>
                    </a:lnTo>
                    <a:cubicBezTo>
                      <a:pt x="6810" y="46468"/>
                      <a:pt x="-12" y="39634"/>
                      <a:pt x="0" y="31278"/>
                    </a:cubicBezTo>
                    <a:lnTo>
                      <a:pt x="24" y="19664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513" name="Forma livre: Forma 1512">
              <a:extLst>
                <a:ext uri="{FF2B5EF4-FFF2-40B4-BE49-F238E27FC236}">
                  <a16:creationId xmlns:a16="http://schemas.microsoft.com/office/drawing/2014/main" id="{9E13D1F8-47F0-0421-2E04-F8CD349651B9}"/>
                </a:ext>
              </a:extLst>
            </p:cNvPr>
            <p:cNvSpPr/>
            <p:nvPr/>
          </p:nvSpPr>
          <p:spPr>
            <a:xfrm>
              <a:off x="2099164" y="3660451"/>
              <a:ext cx="35" cy="56004"/>
            </a:xfrm>
            <a:custGeom>
              <a:avLst/>
              <a:gdLst>
                <a:gd name="connsiteX0" fmla="*/ 35 w 35"/>
                <a:gd name="connsiteY0" fmla="*/ 0 h 56004"/>
                <a:gd name="connsiteX1" fmla="*/ 0 w 35"/>
                <a:gd name="connsiteY1" fmla="*/ 56005 h 560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5" h="56004">
                  <a:moveTo>
                    <a:pt x="35" y="0"/>
                  </a:moveTo>
                  <a:lnTo>
                    <a:pt x="0" y="56005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14" name="Forma livre: Forma 1513">
              <a:extLst>
                <a:ext uri="{FF2B5EF4-FFF2-40B4-BE49-F238E27FC236}">
                  <a16:creationId xmlns:a16="http://schemas.microsoft.com/office/drawing/2014/main" id="{159E9FD8-F8E9-4408-3BF2-CEBE8C7122B2}"/>
                </a:ext>
              </a:extLst>
            </p:cNvPr>
            <p:cNvSpPr/>
            <p:nvPr/>
          </p:nvSpPr>
          <p:spPr>
            <a:xfrm>
              <a:off x="2083206" y="3635523"/>
              <a:ext cx="31950" cy="23"/>
            </a:xfrm>
            <a:custGeom>
              <a:avLst/>
              <a:gdLst>
                <a:gd name="connsiteX0" fmla="*/ 0 w 31950"/>
                <a:gd name="connsiteY0" fmla="*/ 0 h 23"/>
                <a:gd name="connsiteX1" fmla="*/ 31950 w 31950"/>
                <a:gd name="connsiteY1" fmla="*/ 24 h 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1950" h="23">
                  <a:moveTo>
                    <a:pt x="0" y="0"/>
                  </a:moveTo>
                  <a:lnTo>
                    <a:pt x="31950" y="24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15" name="Forma livre: Forma 1514">
              <a:extLst>
                <a:ext uri="{FF2B5EF4-FFF2-40B4-BE49-F238E27FC236}">
                  <a16:creationId xmlns:a16="http://schemas.microsoft.com/office/drawing/2014/main" id="{0811B17D-AF45-985D-CCE2-437A5B1385CE}"/>
                </a:ext>
              </a:extLst>
            </p:cNvPr>
            <p:cNvSpPr/>
            <p:nvPr/>
          </p:nvSpPr>
          <p:spPr>
            <a:xfrm>
              <a:off x="2060840" y="3780427"/>
              <a:ext cx="76683" cy="1180"/>
            </a:xfrm>
            <a:custGeom>
              <a:avLst/>
              <a:gdLst>
                <a:gd name="connsiteX0" fmla="*/ 0 w 76683"/>
                <a:gd name="connsiteY0" fmla="*/ 0 h 1180"/>
                <a:gd name="connsiteX1" fmla="*/ 76684 w 76683"/>
                <a:gd name="connsiteY1" fmla="*/ 0 h 11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6683" h="1180">
                  <a:moveTo>
                    <a:pt x="0" y="0"/>
                  </a:moveTo>
                  <a:lnTo>
                    <a:pt x="76684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16" name="Forma livre: Forma 1515">
              <a:extLst>
                <a:ext uri="{FF2B5EF4-FFF2-40B4-BE49-F238E27FC236}">
                  <a16:creationId xmlns:a16="http://schemas.microsoft.com/office/drawing/2014/main" id="{81DF2B29-5DA2-5848-2343-5F0EF18AF6A8}"/>
                </a:ext>
              </a:extLst>
            </p:cNvPr>
            <p:cNvSpPr/>
            <p:nvPr/>
          </p:nvSpPr>
          <p:spPr>
            <a:xfrm>
              <a:off x="2060840" y="3808683"/>
              <a:ext cx="76683" cy="1180"/>
            </a:xfrm>
            <a:custGeom>
              <a:avLst/>
              <a:gdLst>
                <a:gd name="connsiteX0" fmla="*/ 0 w 76683"/>
                <a:gd name="connsiteY0" fmla="*/ 0 h 1180"/>
                <a:gd name="connsiteX1" fmla="*/ 76684 w 76683"/>
                <a:gd name="connsiteY1" fmla="*/ 0 h 11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6683" h="1180">
                  <a:moveTo>
                    <a:pt x="0" y="0"/>
                  </a:moveTo>
                  <a:lnTo>
                    <a:pt x="76684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17" name="Forma livre: Forma 1516">
              <a:extLst>
                <a:ext uri="{FF2B5EF4-FFF2-40B4-BE49-F238E27FC236}">
                  <a16:creationId xmlns:a16="http://schemas.microsoft.com/office/drawing/2014/main" id="{F8434E26-1DA1-41AF-8BD9-A6C6ABF08610}"/>
                </a:ext>
              </a:extLst>
            </p:cNvPr>
            <p:cNvSpPr/>
            <p:nvPr/>
          </p:nvSpPr>
          <p:spPr>
            <a:xfrm>
              <a:off x="1965095" y="3846406"/>
              <a:ext cx="268173" cy="1180"/>
            </a:xfrm>
            <a:custGeom>
              <a:avLst/>
              <a:gdLst>
                <a:gd name="connsiteX0" fmla="*/ 0 w 268173"/>
                <a:gd name="connsiteY0" fmla="*/ 0 h 1180"/>
                <a:gd name="connsiteX1" fmla="*/ 268174 w 268173"/>
                <a:gd name="connsiteY1" fmla="*/ 0 h 11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68173" h="1180">
                  <a:moveTo>
                    <a:pt x="0" y="0"/>
                  </a:moveTo>
                  <a:lnTo>
                    <a:pt x="268174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18" name="Forma livre: Forma 1517">
              <a:extLst>
                <a:ext uri="{FF2B5EF4-FFF2-40B4-BE49-F238E27FC236}">
                  <a16:creationId xmlns:a16="http://schemas.microsoft.com/office/drawing/2014/main" id="{D317BEAE-C9DF-2003-BDA5-0982D297E907}"/>
                </a:ext>
              </a:extLst>
            </p:cNvPr>
            <p:cNvSpPr/>
            <p:nvPr/>
          </p:nvSpPr>
          <p:spPr>
            <a:xfrm>
              <a:off x="1990152" y="3718191"/>
              <a:ext cx="218058" cy="1180"/>
            </a:xfrm>
            <a:custGeom>
              <a:avLst/>
              <a:gdLst>
                <a:gd name="connsiteX0" fmla="*/ 0 w 218058"/>
                <a:gd name="connsiteY0" fmla="*/ 0 h 1180"/>
                <a:gd name="connsiteX1" fmla="*/ 218059 w 218058"/>
                <a:gd name="connsiteY1" fmla="*/ 0 h 11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18058" h="1180">
                  <a:moveTo>
                    <a:pt x="0" y="0"/>
                  </a:moveTo>
                  <a:lnTo>
                    <a:pt x="218059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19" name="Forma livre: Forma 1518">
              <a:extLst>
                <a:ext uri="{FF2B5EF4-FFF2-40B4-BE49-F238E27FC236}">
                  <a16:creationId xmlns:a16="http://schemas.microsoft.com/office/drawing/2014/main" id="{72882C04-841E-10AF-AF4E-E468C4CD4253}"/>
                </a:ext>
              </a:extLst>
            </p:cNvPr>
            <p:cNvSpPr/>
            <p:nvPr/>
          </p:nvSpPr>
          <p:spPr>
            <a:xfrm>
              <a:off x="1988040" y="3608955"/>
              <a:ext cx="222272" cy="145223"/>
            </a:xfrm>
            <a:custGeom>
              <a:avLst/>
              <a:gdLst>
                <a:gd name="connsiteX0" fmla="*/ 222272 w 222272"/>
                <a:gd name="connsiteY0" fmla="*/ 145223 h 145223"/>
                <a:gd name="connsiteX1" fmla="*/ 222272 w 222272"/>
                <a:gd name="connsiteY1" fmla="*/ 26427 h 145223"/>
                <a:gd name="connsiteX2" fmla="*/ 112612 w 222272"/>
                <a:gd name="connsiteY2" fmla="*/ 0 h 145223"/>
                <a:gd name="connsiteX3" fmla="*/ 0 w 222272"/>
                <a:gd name="connsiteY3" fmla="*/ 26651 h 145223"/>
                <a:gd name="connsiteX4" fmla="*/ 0 w 222272"/>
                <a:gd name="connsiteY4" fmla="*/ 145223 h 1452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22272" h="145223">
                  <a:moveTo>
                    <a:pt x="222272" y="145223"/>
                  </a:moveTo>
                  <a:lnTo>
                    <a:pt x="222272" y="26427"/>
                  </a:lnTo>
                  <a:cubicBezTo>
                    <a:pt x="199705" y="14541"/>
                    <a:pt x="159316" y="24"/>
                    <a:pt x="112612" y="0"/>
                  </a:cubicBezTo>
                  <a:cubicBezTo>
                    <a:pt x="63452" y="-35"/>
                    <a:pt x="21729" y="13750"/>
                    <a:pt x="0" y="26651"/>
                  </a:cubicBezTo>
                  <a:lnTo>
                    <a:pt x="0" y="145223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520" name="Gráfico 13">
              <a:extLst>
                <a:ext uri="{FF2B5EF4-FFF2-40B4-BE49-F238E27FC236}">
                  <a16:creationId xmlns:a16="http://schemas.microsoft.com/office/drawing/2014/main" id="{B41720CF-63E9-44C9-3F09-1F6B9665B711}"/>
                </a:ext>
              </a:extLst>
            </p:cNvPr>
            <p:cNvGrpSpPr/>
            <p:nvPr/>
          </p:nvGrpSpPr>
          <p:grpSpPr>
            <a:xfrm>
              <a:off x="2007467" y="3807067"/>
              <a:ext cx="183417" cy="7884"/>
              <a:chOff x="2007467" y="3807067"/>
              <a:chExt cx="183417" cy="7884"/>
            </a:xfrm>
            <a:solidFill>
              <a:srgbClr val="394553"/>
            </a:solidFill>
          </p:grpSpPr>
          <p:sp>
            <p:nvSpPr>
              <p:cNvPr id="1521" name="Forma livre: Forma 1520">
                <a:extLst>
                  <a:ext uri="{FF2B5EF4-FFF2-40B4-BE49-F238E27FC236}">
                    <a16:creationId xmlns:a16="http://schemas.microsoft.com/office/drawing/2014/main" id="{52887075-1310-63BA-F8F3-F2337440A01B}"/>
                  </a:ext>
                </a:extLst>
              </p:cNvPr>
              <p:cNvSpPr/>
              <p:nvPr/>
            </p:nvSpPr>
            <p:spPr>
              <a:xfrm>
                <a:off x="2007467" y="3807067"/>
                <a:ext cx="7884" cy="7884"/>
              </a:xfrm>
              <a:custGeom>
                <a:avLst/>
                <a:gdLst>
                  <a:gd name="connsiteX0" fmla="*/ 7884 w 7884"/>
                  <a:gd name="connsiteY0" fmla="*/ 3942 h 7884"/>
                  <a:gd name="connsiteX1" fmla="*/ 3942 w 7884"/>
                  <a:gd name="connsiteY1" fmla="*/ 7884 h 7884"/>
                  <a:gd name="connsiteX2" fmla="*/ 0 w 7884"/>
                  <a:gd name="connsiteY2" fmla="*/ 3942 h 7884"/>
                  <a:gd name="connsiteX3" fmla="*/ 3942 w 7884"/>
                  <a:gd name="connsiteY3" fmla="*/ 0 h 7884"/>
                  <a:gd name="connsiteX4" fmla="*/ 7884 w 7884"/>
                  <a:gd name="connsiteY4" fmla="*/ 3942 h 78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884" h="7884">
                    <a:moveTo>
                      <a:pt x="7884" y="3942"/>
                    </a:moveTo>
                    <a:cubicBezTo>
                      <a:pt x="7884" y="6126"/>
                      <a:pt x="6138" y="7884"/>
                      <a:pt x="3942" y="7884"/>
                    </a:cubicBezTo>
                    <a:cubicBezTo>
                      <a:pt x="1747" y="7884"/>
                      <a:pt x="0" y="6126"/>
                      <a:pt x="0" y="3942"/>
                    </a:cubicBezTo>
                    <a:cubicBezTo>
                      <a:pt x="0" y="1759"/>
                      <a:pt x="1770" y="0"/>
                      <a:pt x="3942" y="0"/>
                    </a:cubicBezTo>
                    <a:cubicBezTo>
                      <a:pt x="6114" y="0"/>
                      <a:pt x="7884" y="1759"/>
                      <a:pt x="7884" y="3942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522" name="Forma livre: Forma 1521">
                <a:extLst>
                  <a:ext uri="{FF2B5EF4-FFF2-40B4-BE49-F238E27FC236}">
                    <a16:creationId xmlns:a16="http://schemas.microsoft.com/office/drawing/2014/main" id="{8A26B231-5679-C373-C6F2-ED69EB8E98C4}"/>
                  </a:ext>
                </a:extLst>
              </p:cNvPr>
              <p:cNvSpPr/>
              <p:nvPr/>
            </p:nvSpPr>
            <p:spPr>
              <a:xfrm>
                <a:off x="2183000" y="3807067"/>
                <a:ext cx="7884" cy="7884"/>
              </a:xfrm>
              <a:custGeom>
                <a:avLst/>
                <a:gdLst>
                  <a:gd name="connsiteX0" fmla="*/ 7884 w 7884"/>
                  <a:gd name="connsiteY0" fmla="*/ 3942 h 7884"/>
                  <a:gd name="connsiteX1" fmla="*/ 3942 w 7884"/>
                  <a:gd name="connsiteY1" fmla="*/ 7884 h 7884"/>
                  <a:gd name="connsiteX2" fmla="*/ 0 w 7884"/>
                  <a:gd name="connsiteY2" fmla="*/ 3942 h 7884"/>
                  <a:gd name="connsiteX3" fmla="*/ 3942 w 7884"/>
                  <a:gd name="connsiteY3" fmla="*/ 0 h 7884"/>
                  <a:gd name="connsiteX4" fmla="*/ 7884 w 7884"/>
                  <a:gd name="connsiteY4" fmla="*/ 3942 h 78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884" h="7884">
                    <a:moveTo>
                      <a:pt x="7884" y="3942"/>
                    </a:moveTo>
                    <a:cubicBezTo>
                      <a:pt x="7884" y="6126"/>
                      <a:pt x="6137" y="7884"/>
                      <a:pt x="3942" y="7884"/>
                    </a:cubicBezTo>
                    <a:cubicBezTo>
                      <a:pt x="1747" y="7884"/>
                      <a:pt x="0" y="6126"/>
                      <a:pt x="0" y="3942"/>
                    </a:cubicBezTo>
                    <a:cubicBezTo>
                      <a:pt x="0" y="1759"/>
                      <a:pt x="1770" y="0"/>
                      <a:pt x="3942" y="0"/>
                    </a:cubicBezTo>
                    <a:cubicBezTo>
                      <a:pt x="6114" y="0"/>
                      <a:pt x="7884" y="1759"/>
                      <a:pt x="7884" y="3942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523" name="Forma livre: Forma 1522">
              <a:extLst>
                <a:ext uri="{FF2B5EF4-FFF2-40B4-BE49-F238E27FC236}">
                  <a16:creationId xmlns:a16="http://schemas.microsoft.com/office/drawing/2014/main" id="{1E98DA8F-A6B3-4BC4-5143-B76196054007}"/>
                </a:ext>
              </a:extLst>
            </p:cNvPr>
            <p:cNvSpPr/>
            <p:nvPr/>
          </p:nvSpPr>
          <p:spPr>
            <a:xfrm>
              <a:off x="1976331" y="3746942"/>
              <a:ext cx="245701" cy="98825"/>
            </a:xfrm>
            <a:custGeom>
              <a:avLst/>
              <a:gdLst>
                <a:gd name="connsiteX0" fmla="*/ 245701 w 245701"/>
                <a:gd name="connsiteY0" fmla="*/ 98826 h 98825"/>
                <a:gd name="connsiteX1" fmla="*/ 245701 w 245701"/>
                <a:gd name="connsiteY1" fmla="*/ 46551 h 98825"/>
                <a:gd name="connsiteX2" fmla="*/ 227336 w 245701"/>
                <a:gd name="connsiteY2" fmla="*/ 28174 h 98825"/>
                <a:gd name="connsiteX3" fmla="*/ 200000 w 245701"/>
                <a:gd name="connsiteY3" fmla="*/ 28174 h 98825"/>
                <a:gd name="connsiteX4" fmla="*/ 200000 w 245701"/>
                <a:gd name="connsiteY4" fmla="*/ 20879 h 98825"/>
                <a:gd name="connsiteX5" fmla="*/ 174742 w 245701"/>
                <a:gd name="connsiteY5" fmla="*/ 0 h 98825"/>
                <a:gd name="connsiteX6" fmla="*/ 70971 w 245701"/>
                <a:gd name="connsiteY6" fmla="*/ 0 h 98825"/>
                <a:gd name="connsiteX7" fmla="*/ 45701 w 245701"/>
                <a:gd name="connsiteY7" fmla="*/ 20879 h 98825"/>
                <a:gd name="connsiteX8" fmla="*/ 45701 w 245701"/>
                <a:gd name="connsiteY8" fmla="*/ 28174 h 98825"/>
                <a:gd name="connsiteX9" fmla="*/ 18377 w 245701"/>
                <a:gd name="connsiteY9" fmla="*/ 28174 h 98825"/>
                <a:gd name="connsiteX10" fmla="*/ 0 w 245701"/>
                <a:gd name="connsiteY10" fmla="*/ 46551 h 98825"/>
                <a:gd name="connsiteX11" fmla="*/ 0 w 245701"/>
                <a:gd name="connsiteY11" fmla="*/ 98826 h 988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45701" h="98825">
                  <a:moveTo>
                    <a:pt x="245701" y="98826"/>
                  </a:moveTo>
                  <a:lnTo>
                    <a:pt x="245701" y="46551"/>
                  </a:lnTo>
                  <a:cubicBezTo>
                    <a:pt x="245701" y="27064"/>
                    <a:pt x="229767" y="28174"/>
                    <a:pt x="227336" y="28174"/>
                  </a:cubicBezTo>
                  <a:lnTo>
                    <a:pt x="200000" y="28174"/>
                  </a:lnTo>
                  <a:lnTo>
                    <a:pt x="200000" y="20879"/>
                  </a:lnTo>
                  <a:cubicBezTo>
                    <a:pt x="200000" y="6869"/>
                    <a:pt x="189803" y="0"/>
                    <a:pt x="174742" y="0"/>
                  </a:cubicBezTo>
                  <a:lnTo>
                    <a:pt x="70971" y="0"/>
                  </a:lnTo>
                  <a:cubicBezTo>
                    <a:pt x="55899" y="0"/>
                    <a:pt x="45713" y="6869"/>
                    <a:pt x="45701" y="20879"/>
                  </a:cubicBezTo>
                  <a:lnTo>
                    <a:pt x="45701" y="28174"/>
                  </a:lnTo>
                  <a:cubicBezTo>
                    <a:pt x="45701" y="28174"/>
                    <a:pt x="20820" y="28174"/>
                    <a:pt x="18377" y="28174"/>
                  </a:cubicBezTo>
                  <a:cubicBezTo>
                    <a:pt x="15934" y="28174"/>
                    <a:pt x="0" y="27064"/>
                    <a:pt x="0" y="46551"/>
                  </a:cubicBezTo>
                  <a:lnTo>
                    <a:pt x="0" y="98826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24" name="Forma livre: Forma 1523">
              <a:extLst>
                <a:ext uri="{FF2B5EF4-FFF2-40B4-BE49-F238E27FC236}">
                  <a16:creationId xmlns:a16="http://schemas.microsoft.com/office/drawing/2014/main" id="{B4A97CA3-C171-058A-C4F0-004D913A7C29}"/>
                </a:ext>
              </a:extLst>
            </p:cNvPr>
            <p:cNvSpPr/>
            <p:nvPr/>
          </p:nvSpPr>
          <p:spPr>
            <a:xfrm>
              <a:off x="1963183" y="3658940"/>
              <a:ext cx="271997" cy="36659"/>
            </a:xfrm>
            <a:custGeom>
              <a:avLst/>
              <a:gdLst>
                <a:gd name="connsiteX0" fmla="*/ 271998 w 271997"/>
                <a:gd name="connsiteY0" fmla="*/ 36660 h 36659"/>
                <a:gd name="connsiteX1" fmla="*/ 271998 w 271997"/>
                <a:gd name="connsiteY1" fmla="*/ 0 h 36659"/>
                <a:gd name="connsiteX2" fmla="*/ 0 w 271997"/>
                <a:gd name="connsiteY2" fmla="*/ 0 h 36659"/>
                <a:gd name="connsiteX3" fmla="*/ 0 w 271997"/>
                <a:gd name="connsiteY3" fmla="*/ 36660 h 366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71997" h="36659">
                  <a:moveTo>
                    <a:pt x="271998" y="36660"/>
                  </a:moveTo>
                  <a:lnTo>
                    <a:pt x="271998" y="0"/>
                  </a:lnTo>
                  <a:lnTo>
                    <a:pt x="0" y="0"/>
                  </a:lnTo>
                  <a:lnTo>
                    <a:pt x="0" y="36660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525" name="Gráfico 13">
            <a:extLst>
              <a:ext uri="{FF2B5EF4-FFF2-40B4-BE49-F238E27FC236}">
                <a16:creationId xmlns:a16="http://schemas.microsoft.com/office/drawing/2014/main" id="{A90D538C-CD2B-D2D9-9C2E-EA129DBF872A}"/>
              </a:ext>
            </a:extLst>
          </p:cNvPr>
          <p:cNvGrpSpPr/>
          <p:nvPr/>
        </p:nvGrpSpPr>
        <p:grpSpPr>
          <a:xfrm>
            <a:off x="658832" y="4164600"/>
            <a:ext cx="417043" cy="204119"/>
            <a:chOff x="658832" y="4164600"/>
            <a:chExt cx="417043" cy="204119"/>
          </a:xfrm>
          <a:noFill/>
        </p:grpSpPr>
        <p:sp>
          <p:nvSpPr>
            <p:cNvPr id="1526" name="Forma livre: Forma 1525">
              <a:extLst>
                <a:ext uri="{FF2B5EF4-FFF2-40B4-BE49-F238E27FC236}">
                  <a16:creationId xmlns:a16="http://schemas.microsoft.com/office/drawing/2014/main" id="{DA2E8229-75C5-3827-AA1C-D8A994A07001}"/>
                </a:ext>
              </a:extLst>
            </p:cNvPr>
            <p:cNvSpPr/>
            <p:nvPr/>
          </p:nvSpPr>
          <p:spPr>
            <a:xfrm>
              <a:off x="674352" y="4212390"/>
              <a:ext cx="355536" cy="126884"/>
            </a:xfrm>
            <a:custGeom>
              <a:avLst/>
              <a:gdLst>
                <a:gd name="connsiteX0" fmla="*/ 202266 w 355536"/>
                <a:gd name="connsiteY0" fmla="*/ 126079 h 126884"/>
                <a:gd name="connsiteX1" fmla="*/ 348162 w 355536"/>
                <a:gd name="connsiteY1" fmla="*/ 115987 h 126884"/>
                <a:gd name="connsiteX2" fmla="*/ 344373 w 355536"/>
                <a:gd name="connsiteY2" fmla="*/ 78171 h 126884"/>
                <a:gd name="connsiteX3" fmla="*/ 220868 w 355536"/>
                <a:gd name="connsiteY3" fmla="*/ 0 h 126884"/>
                <a:gd name="connsiteX4" fmla="*/ 137185 w 355536"/>
                <a:gd name="connsiteY4" fmla="*/ 68917 h 126884"/>
                <a:gd name="connsiteX5" fmla="*/ 21469 w 355536"/>
                <a:gd name="connsiteY5" fmla="*/ 68917 h 126884"/>
                <a:gd name="connsiteX6" fmla="*/ 0 w 355536"/>
                <a:gd name="connsiteY6" fmla="*/ 106238 h 1268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55536" h="126884">
                  <a:moveTo>
                    <a:pt x="202266" y="126079"/>
                  </a:moveTo>
                  <a:cubicBezTo>
                    <a:pt x="202266" y="126079"/>
                    <a:pt x="307820" y="131119"/>
                    <a:pt x="348162" y="115987"/>
                  </a:cubicBezTo>
                  <a:cubicBezTo>
                    <a:pt x="348162" y="115987"/>
                    <a:pt x="367047" y="109342"/>
                    <a:pt x="344373" y="78171"/>
                  </a:cubicBezTo>
                  <a:cubicBezTo>
                    <a:pt x="344373" y="78171"/>
                    <a:pt x="311845" y="20065"/>
                    <a:pt x="220868" y="0"/>
                  </a:cubicBezTo>
                  <a:cubicBezTo>
                    <a:pt x="220868" y="0"/>
                    <a:pt x="209466" y="68917"/>
                    <a:pt x="137185" y="68917"/>
                  </a:cubicBezTo>
                  <a:lnTo>
                    <a:pt x="21469" y="68917"/>
                  </a:lnTo>
                  <a:lnTo>
                    <a:pt x="0" y="106238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27" name="Forma livre: Forma 1526">
              <a:extLst>
                <a:ext uri="{FF2B5EF4-FFF2-40B4-BE49-F238E27FC236}">
                  <a16:creationId xmlns:a16="http://schemas.microsoft.com/office/drawing/2014/main" id="{AF552D4E-788B-E71C-B062-62EA101CB7B8}"/>
                </a:ext>
              </a:extLst>
            </p:cNvPr>
            <p:cNvSpPr/>
            <p:nvPr/>
          </p:nvSpPr>
          <p:spPr>
            <a:xfrm>
              <a:off x="867519" y="4164600"/>
              <a:ext cx="27913" cy="47176"/>
            </a:xfrm>
            <a:custGeom>
              <a:avLst/>
              <a:gdLst>
                <a:gd name="connsiteX0" fmla="*/ 0 w 27913"/>
                <a:gd name="connsiteY0" fmla="*/ 0 h 47176"/>
                <a:gd name="connsiteX1" fmla="*/ 27914 w 27913"/>
                <a:gd name="connsiteY1" fmla="*/ 47176 h 471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7913" h="47176">
                  <a:moveTo>
                    <a:pt x="0" y="0"/>
                  </a:moveTo>
                  <a:cubicBezTo>
                    <a:pt x="15745" y="15733"/>
                    <a:pt x="19782" y="26096"/>
                    <a:pt x="27914" y="47176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28" name="Forma livre: Forma 1527">
              <a:extLst>
                <a:ext uri="{FF2B5EF4-FFF2-40B4-BE49-F238E27FC236}">
                  <a16:creationId xmlns:a16="http://schemas.microsoft.com/office/drawing/2014/main" id="{3B2926D1-4822-D04F-A225-B3D3DFC9AF92}"/>
                </a:ext>
              </a:extLst>
            </p:cNvPr>
            <p:cNvSpPr/>
            <p:nvPr/>
          </p:nvSpPr>
          <p:spPr>
            <a:xfrm>
              <a:off x="943683" y="4263107"/>
              <a:ext cx="65883" cy="17161"/>
            </a:xfrm>
            <a:custGeom>
              <a:avLst/>
              <a:gdLst>
                <a:gd name="connsiteX0" fmla="*/ 0 w 65883"/>
                <a:gd name="connsiteY0" fmla="*/ 0 h 17161"/>
                <a:gd name="connsiteX1" fmla="*/ 16005 w 65883"/>
                <a:gd name="connsiteY1" fmla="*/ 17161 h 17161"/>
                <a:gd name="connsiteX2" fmla="*/ 65884 w 65883"/>
                <a:gd name="connsiteY2" fmla="*/ 17161 h 171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5883" h="17161">
                  <a:moveTo>
                    <a:pt x="0" y="0"/>
                  </a:moveTo>
                  <a:lnTo>
                    <a:pt x="16005" y="17161"/>
                  </a:lnTo>
                  <a:lnTo>
                    <a:pt x="65884" y="17161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29" name="Forma livre: Forma 1528">
              <a:extLst>
                <a:ext uri="{FF2B5EF4-FFF2-40B4-BE49-F238E27FC236}">
                  <a16:creationId xmlns:a16="http://schemas.microsoft.com/office/drawing/2014/main" id="{ADBD7011-B205-AC1E-CD77-6EFDD4582BDB}"/>
                </a:ext>
              </a:extLst>
            </p:cNvPr>
            <p:cNvSpPr/>
            <p:nvPr/>
          </p:nvSpPr>
          <p:spPr>
            <a:xfrm>
              <a:off x="956749" y="4340145"/>
              <a:ext cx="24609" cy="26816"/>
            </a:xfrm>
            <a:custGeom>
              <a:avLst/>
              <a:gdLst>
                <a:gd name="connsiteX0" fmla="*/ 0 w 24609"/>
                <a:gd name="connsiteY0" fmla="*/ 0 h 26816"/>
                <a:gd name="connsiteX1" fmla="*/ 24609 w 24609"/>
                <a:gd name="connsiteY1" fmla="*/ 26816 h 268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4609" h="26816">
                  <a:moveTo>
                    <a:pt x="0" y="0"/>
                  </a:moveTo>
                  <a:lnTo>
                    <a:pt x="24609" y="26816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30" name="Forma livre: Forma 1529">
              <a:extLst>
                <a:ext uri="{FF2B5EF4-FFF2-40B4-BE49-F238E27FC236}">
                  <a16:creationId xmlns:a16="http://schemas.microsoft.com/office/drawing/2014/main" id="{F9F38684-3153-A0C0-86AC-0BA11545B2C8}"/>
                </a:ext>
              </a:extLst>
            </p:cNvPr>
            <p:cNvSpPr/>
            <p:nvPr/>
          </p:nvSpPr>
          <p:spPr>
            <a:xfrm>
              <a:off x="910351" y="4345185"/>
              <a:ext cx="165523" cy="23535"/>
            </a:xfrm>
            <a:custGeom>
              <a:avLst/>
              <a:gdLst>
                <a:gd name="connsiteX0" fmla="*/ 0 w 165523"/>
                <a:gd name="connsiteY0" fmla="*/ 23535 h 23535"/>
                <a:gd name="connsiteX1" fmla="*/ 128534 w 165523"/>
                <a:gd name="connsiteY1" fmla="*/ 23535 h 23535"/>
                <a:gd name="connsiteX2" fmla="*/ 165524 w 165523"/>
                <a:gd name="connsiteY2" fmla="*/ 0 h 235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5523" h="23535">
                  <a:moveTo>
                    <a:pt x="0" y="23535"/>
                  </a:moveTo>
                  <a:lnTo>
                    <a:pt x="128534" y="23535"/>
                  </a:lnTo>
                  <a:cubicBezTo>
                    <a:pt x="128534" y="23535"/>
                    <a:pt x="150393" y="23535"/>
                    <a:pt x="165524" y="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31" name="Forma livre: Forma 1530">
              <a:extLst>
                <a:ext uri="{FF2B5EF4-FFF2-40B4-BE49-F238E27FC236}">
                  <a16:creationId xmlns:a16="http://schemas.microsoft.com/office/drawing/2014/main" id="{0B334D20-4132-CB3C-AC25-23BE62A3AD99}"/>
                </a:ext>
              </a:extLst>
            </p:cNvPr>
            <p:cNvSpPr/>
            <p:nvPr/>
          </p:nvSpPr>
          <p:spPr>
            <a:xfrm>
              <a:off x="700862" y="4246017"/>
              <a:ext cx="151903" cy="34499"/>
            </a:xfrm>
            <a:custGeom>
              <a:avLst/>
              <a:gdLst>
                <a:gd name="connsiteX0" fmla="*/ 0 w 151903"/>
                <a:gd name="connsiteY0" fmla="*/ 34500 h 34499"/>
                <a:gd name="connsiteX1" fmla="*/ 0 w 151903"/>
                <a:gd name="connsiteY1" fmla="*/ 14293 h 34499"/>
                <a:gd name="connsiteX2" fmla="*/ 14293 w 151903"/>
                <a:gd name="connsiteY2" fmla="*/ 0 h 34499"/>
                <a:gd name="connsiteX3" fmla="*/ 151903 w 151903"/>
                <a:gd name="connsiteY3" fmla="*/ 0 h 344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1903" h="34499">
                  <a:moveTo>
                    <a:pt x="0" y="34500"/>
                  </a:moveTo>
                  <a:lnTo>
                    <a:pt x="0" y="14293"/>
                  </a:lnTo>
                  <a:cubicBezTo>
                    <a:pt x="0" y="6433"/>
                    <a:pt x="6433" y="0"/>
                    <a:pt x="14293" y="0"/>
                  </a:cubicBezTo>
                  <a:lnTo>
                    <a:pt x="151903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32" name="Forma livre: Forma 1531">
              <a:extLst>
                <a:ext uri="{FF2B5EF4-FFF2-40B4-BE49-F238E27FC236}">
                  <a16:creationId xmlns:a16="http://schemas.microsoft.com/office/drawing/2014/main" id="{5C1FAE93-E85A-470B-5254-AC71E46047B5}"/>
                </a:ext>
              </a:extLst>
            </p:cNvPr>
            <p:cNvSpPr/>
            <p:nvPr/>
          </p:nvSpPr>
          <p:spPr>
            <a:xfrm>
              <a:off x="743836" y="4315418"/>
              <a:ext cx="1180" cy="18849"/>
            </a:xfrm>
            <a:custGeom>
              <a:avLst/>
              <a:gdLst>
                <a:gd name="connsiteX0" fmla="*/ 0 w 1180"/>
                <a:gd name="connsiteY0" fmla="*/ 18849 h 18849"/>
                <a:gd name="connsiteX1" fmla="*/ 0 w 1180"/>
                <a:gd name="connsiteY1" fmla="*/ 0 h 188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80" h="18849">
                  <a:moveTo>
                    <a:pt x="0" y="18849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33" name="Forma livre: Forma 1532">
              <a:extLst>
                <a:ext uri="{FF2B5EF4-FFF2-40B4-BE49-F238E27FC236}">
                  <a16:creationId xmlns:a16="http://schemas.microsoft.com/office/drawing/2014/main" id="{B62B7E2B-9D5A-AC2C-25E3-0B93EA3FC221}"/>
                </a:ext>
              </a:extLst>
            </p:cNvPr>
            <p:cNvSpPr/>
            <p:nvPr/>
          </p:nvSpPr>
          <p:spPr>
            <a:xfrm>
              <a:off x="769673" y="4315418"/>
              <a:ext cx="1180" cy="18849"/>
            </a:xfrm>
            <a:custGeom>
              <a:avLst/>
              <a:gdLst>
                <a:gd name="connsiteX0" fmla="*/ 0 w 1180"/>
                <a:gd name="connsiteY0" fmla="*/ 18849 h 18849"/>
                <a:gd name="connsiteX1" fmla="*/ 0 w 1180"/>
                <a:gd name="connsiteY1" fmla="*/ 0 h 188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80" h="18849">
                  <a:moveTo>
                    <a:pt x="0" y="18849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34" name="Forma livre: Forma 1533">
              <a:extLst>
                <a:ext uri="{FF2B5EF4-FFF2-40B4-BE49-F238E27FC236}">
                  <a16:creationId xmlns:a16="http://schemas.microsoft.com/office/drawing/2014/main" id="{80BBF02F-DA3F-621D-56D5-119E6FD20877}"/>
                </a:ext>
              </a:extLst>
            </p:cNvPr>
            <p:cNvSpPr/>
            <p:nvPr/>
          </p:nvSpPr>
          <p:spPr>
            <a:xfrm>
              <a:off x="743836" y="4350390"/>
              <a:ext cx="1180" cy="17940"/>
            </a:xfrm>
            <a:custGeom>
              <a:avLst/>
              <a:gdLst>
                <a:gd name="connsiteX0" fmla="*/ 0 w 1180"/>
                <a:gd name="connsiteY0" fmla="*/ 17940 h 17940"/>
                <a:gd name="connsiteX1" fmla="*/ 0 w 1180"/>
                <a:gd name="connsiteY1" fmla="*/ 0 h 179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80" h="17940">
                  <a:moveTo>
                    <a:pt x="0" y="17940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35" name="Forma livre: Forma 1534">
              <a:extLst>
                <a:ext uri="{FF2B5EF4-FFF2-40B4-BE49-F238E27FC236}">
                  <a16:creationId xmlns:a16="http://schemas.microsoft.com/office/drawing/2014/main" id="{F2850B32-3031-9669-FA62-65C3DF904C89}"/>
                </a:ext>
              </a:extLst>
            </p:cNvPr>
            <p:cNvSpPr/>
            <p:nvPr/>
          </p:nvSpPr>
          <p:spPr>
            <a:xfrm>
              <a:off x="769673" y="4350390"/>
              <a:ext cx="1180" cy="17940"/>
            </a:xfrm>
            <a:custGeom>
              <a:avLst/>
              <a:gdLst>
                <a:gd name="connsiteX0" fmla="*/ 0 w 1180"/>
                <a:gd name="connsiteY0" fmla="*/ 17940 h 17940"/>
                <a:gd name="connsiteX1" fmla="*/ 0 w 1180"/>
                <a:gd name="connsiteY1" fmla="*/ 0 h 179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80" h="17940">
                  <a:moveTo>
                    <a:pt x="0" y="17940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36" name="Forma livre: Forma 1535">
              <a:extLst>
                <a:ext uri="{FF2B5EF4-FFF2-40B4-BE49-F238E27FC236}">
                  <a16:creationId xmlns:a16="http://schemas.microsoft.com/office/drawing/2014/main" id="{6B25A7FC-AAF6-6CD6-50E5-EC07D8419724}"/>
                </a:ext>
              </a:extLst>
            </p:cNvPr>
            <p:cNvSpPr/>
            <p:nvPr/>
          </p:nvSpPr>
          <p:spPr>
            <a:xfrm>
              <a:off x="658832" y="4314934"/>
              <a:ext cx="53809" cy="53785"/>
            </a:xfrm>
            <a:custGeom>
              <a:avLst/>
              <a:gdLst>
                <a:gd name="connsiteX0" fmla="*/ 53809 w 53809"/>
                <a:gd name="connsiteY0" fmla="*/ 26934 h 53785"/>
                <a:gd name="connsiteX1" fmla="*/ 26840 w 53809"/>
                <a:gd name="connsiteY1" fmla="*/ 0 h 53785"/>
                <a:gd name="connsiteX2" fmla="*/ 0 w 53809"/>
                <a:gd name="connsiteY2" fmla="*/ 26769 h 53785"/>
                <a:gd name="connsiteX3" fmla="*/ 0 w 53809"/>
                <a:gd name="connsiteY3" fmla="*/ 27017 h 53785"/>
                <a:gd name="connsiteX4" fmla="*/ 26757 w 53809"/>
                <a:gd name="connsiteY4" fmla="*/ 53786 h 53785"/>
                <a:gd name="connsiteX5" fmla="*/ 26922 w 53809"/>
                <a:gd name="connsiteY5" fmla="*/ 53786 h 53785"/>
                <a:gd name="connsiteX6" fmla="*/ 53809 w 53809"/>
                <a:gd name="connsiteY6" fmla="*/ 26922 h 537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3809" h="53785">
                  <a:moveTo>
                    <a:pt x="53809" y="26934"/>
                  </a:moveTo>
                  <a:cubicBezTo>
                    <a:pt x="53809" y="12074"/>
                    <a:pt x="41688" y="0"/>
                    <a:pt x="26840" y="0"/>
                  </a:cubicBezTo>
                  <a:cubicBezTo>
                    <a:pt x="11992" y="0"/>
                    <a:pt x="0" y="12039"/>
                    <a:pt x="0" y="26769"/>
                  </a:cubicBezTo>
                  <a:lnTo>
                    <a:pt x="0" y="27017"/>
                  </a:lnTo>
                  <a:cubicBezTo>
                    <a:pt x="0" y="41747"/>
                    <a:pt x="12039" y="53786"/>
                    <a:pt x="26757" y="53786"/>
                  </a:cubicBezTo>
                  <a:lnTo>
                    <a:pt x="26922" y="53786"/>
                  </a:lnTo>
                  <a:cubicBezTo>
                    <a:pt x="41782" y="53786"/>
                    <a:pt x="53809" y="41771"/>
                    <a:pt x="53809" y="26922"/>
                  </a:cubicBez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537" name="Gráfico 13">
              <a:extLst>
                <a:ext uri="{FF2B5EF4-FFF2-40B4-BE49-F238E27FC236}">
                  <a16:creationId xmlns:a16="http://schemas.microsoft.com/office/drawing/2014/main" id="{668B8A37-B64E-399C-D03E-F12D89418BF1}"/>
                </a:ext>
              </a:extLst>
            </p:cNvPr>
            <p:cNvGrpSpPr/>
            <p:nvPr/>
          </p:nvGrpSpPr>
          <p:grpSpPr>
            <a:xfrm>
              <a:off x="683972" y="4314922"/>
              <a:ext cx="170906" cy="53797"/>
              <a:chOff x="683972" y="4314922"/>
              <a:chExt cx="170906" cy="53797"/>
            </a:xfrm>
            <a:noFill/>
          </p:grpSpPr>
          <p:sp>
            <p:nvSpPr>
              <p:cNvPr id="1538" name="Forma livre: Forma 1537">
                <a:extLst>
                  <a:ext uri="{FF2B5EF4-FFF2-40B4-BE49-F238E27FC236}">
                    <a16:creationId xmlns:a16="http://schemas.microsoft.com/office/drawing/2014/main" id="{AE6FBEEE-3AC5-7D90-B642-FD7C7EA0746C}"/>
                  </a:ext>
                </a:extLst>
              </p:cNvPr>
              <p:cNvSpPr/>
              <p:nvPr/>
            </p:nvSpPr>
            <p:spPr>
              <a:xfrm>
                <a:off x="683972" y="4314934"/>
                <a:ext cx="170906" cy="53785"/>
              </a:xfrm>
              <a:custGeom>
                <a:avLst/>
                <a:gdLst>
                  <a:gd name="connsiteX0" fmla="*/ 0 w 170906"/>
                  <a:gd name="connsiteY0" fmla="*/ 53786 h 53785"/>
                  <a:gd name="connsiteX1" fmla="*/ 144137 w 170906"/>
                  <a:gd name="connsiteY1" fmla="*/ 53786 h 53785"/>
                  <a:gd name="connsiteX2" fmla="*/ 170906 w 170906"/>
                  <a:gd name="connsiteY2" fmla="*/ 27017 h 53785"/>
                  <a:gd name="connsiteX3" fmla="*/ 170906 w 170906"/>
                  <a:gd name="connsiteY3" fmla="*/ 26769 h 53785"/>
                  <a:gd name="connsiteX4" fmla="*/ 144137 w 170906"/>
                  <a:gd name="connsiteY4" fmla="*/ 0 h 53785"/>
                  <a:gd name="connsiteX5" fmla="*/ 40213 w 170906"/>
                  <a:gd name="connsiteY5" fmla="*/ 0 h 537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70906" h="53785">
                    <a:moveTo>
                      <a:pt x="0" y="53786"/>
                    </a:moveTo>
                    <a:lnTo>
                      <a:pt x="144137" y="53786"/>
                    </a:lnTo>
                    <a:cubicBezTo>
                      <a:pt x="158867" y="53786"/>
                      <a:pt x="170906" y="41747"/>
                      <a:pt x="170906" y="27017"/>
                    </a:cubicBezTo>
                    <a:lnTo>
                      <a:pt x="170906" y="26769"/>
                    </a:lnTo>
                    <a:cubicBezTo>
                      <a:pt x="170906" y="12039"/>
                      <a:pt x="158867" y="0"/>
                      <a:pt x="144137" y="0"/>
                    </a:cubicBezTo>
                    <a:lnTo>
                      <a:pt x="40213" y="0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539" name="Forma livre: Forma 1538">
                <a:extLst>
                  <a:ext uri="{FF2B5EF4-FFF2-40B4-BE49-F238E27FC236}">
                    <a16:creationId xmlns:a16="http://schemas.microsoft.com/office/drawing/2014/main" id="{FEF20ED5-59B8-372A-8117-B2845CFA6B37}"/>
                  </a:ext>
                </a:extLst>
              </p:cNvPr>
              <p:cNvSpPr/>
              <p:nvPr/>
            </p:nvSpPr>
            <p:spPr>
              <a:xfrm>
                <a:off x="801304" y="4314922"/>
                <a:ext cx="26887" cy="53797"/>
              </a:xfrm>
              <a:custGeom>
                <a:avLst/>
                <a:gdLst>
                  <a:gd name="connsiteX0" fmla="*/ 26887 w 26887"/>
                  <a:gd name="connsiteY0" fmla="*/ 53798 h 53797"/>
                  <a:gd name="connsiteX1" fmla="*/ 0 w 26887"/>
                  <a:gd name="connsiteY1" fmla="*/ 26934 h 53797"/>
                  <a:gd name="connsiteX2" fmla="*/ 26887 w 26887"/>
                  <a:gd name="connsiteY2" fmla="*/ 0 h 537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6887" h="53797">
                    <a:moveTo>
                      <a:pt x="26887" y="53798"/>
                    </a:moveTo>
                    <a:cubicBezTo>
                      <a:pt x="12039" y="53798"/>
                      <a:pt x="0" y="41782"/>
                      <a:pt x="0" y="26934"/>
                    </a:cubicBezTo>
                    <a:cubicBezTo>
                      <a:pt x="0" y="12086"/>
                      <a:pt x="12039" y="0"/>
                      <a:pt x="26887" y="0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540" name="Forma livre: Forma 1539">
              <a:extLst>
                <a:ext uri="{FF2B5EF4-FFF2-40B4-BE49-F238E27FC236}">
                  <a16:creationId xmlns:a16="http://schemas.microsoft.com/office/drawing/2014/main" id="{26115BC9-71AC-593F-ADB5-9CD61780D7CF}"/>
                </a:ext>
              </a:extLst>
            </p:cNvPr>
            <p:cNvSpPr/>
            <p:nvPr/>
          </p:nvSpPr>
          <p:spPr>
            <a:xfrm>
              <a:off x="860933" y="4215896"/>
              <a:ext cx="28173" cy="10162"/>
            </a:xfrm>
            <a:custGeom>
              <a:avLst/>
              <a:gdLst>
                <a:gd name="connsiteX0" fmla="*/ 28174 w 28173"/>
                <a:gd name="connsiteY0" fmla="*/ 10162 h 10162"/>
                <a:gd name="connsiteX1" fmla="*/ 0 w 28173"/>
                <a:gd name="connsiteY1" fmla="*/ 0 h 101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8173" h="10162">
                  <a:moveTo>
                    <a:pt x="28174" y="10162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541" name="Gráfico 13">
            <a:extLst>
              <a:ext uri="{FF2B5EF4-FFF2-40B4-BE49-F238E27FC236}">
                <a16:creationId xmlns:a16="http://schemas.microsoft.com/office/drawing/2014/main" id="{15A6478F-FE23-23DF-8497-D95B0CD69D3F}"/>
              </a:ext>
            </a:extLst>
          </p:cNvPr>
          <p:cNvGrpSpPr/>
          <p:nvPr/>
        </p:nvGrpSpPr>
        <p:grpSpPr>
          <a:xfrm>
            <a:off x="650782" y="4740700"/>
            <a:ext cx="433143" cy="152251"/>
            <a:chOff x="650782" y="4740700"/>
            <a:chExt cx="433143" cy="152251"/>
          </a:xfrm>
          <a:noFill/>
        </p:grpSpPr>
        <p:sp>
          <p:nvSpPr>
            <p:cNvPr id="1542" name="Forma livre: Forma 1541">
              <a:extLst>
                <a:ext uri="{FF2B5EF4-FFF2-40B4-BE49-F238E27FC236}">
                  <a16:creationId xmlns:a16="http://schemas.microsoft.com/office/drawing/2014/main" id="{8249116E-EA2C-9C05-BFBC-6E09ED177308}"/>
                </a:ext>
              </a:extLst>
            </p:cNvPr>
            <p:cNvSpPr/>
            <p:nvPr/>
          </p:nvSpPr>
          <p:spPr>
            <a:xfrm>
              <a:off x="650782" y="4771187"/>
              <a:ext cx="426568" cy="93349"/>
            </a:xfrm>
            <a:custGeom>
              <a:avLst/>
              <a:gdLst>
                <a:gd name="connsiteX0" fmla="*/ 103594 w 426568"/>
                <a:gd name="connsiteY0" fmla="*/ 93349 h 93349"/>
                <a:gd name="connsiteX1" fmla="*/ 0 w 426568"/>
                <a:gd name="connsiteY1" fmla="*/ 0 h 93349"/>
                <a:gd name="connsiteX2" fmla="*/ 426569 w 426568"/>
                <a:gd name="connsiteY2" fmla="*/ 47755 h 933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26568" h="93349">
                  <a:moveTo>
                    <a:pt x="103594" y="93349"/>
                  </a:moveTo>
                  <a:cubicBezTo>
                    <a:pt x="77923" y="79103"/>
                    <a:pt x="17999" y="41735"/>
                    <a:pt x="0" y="0"/>
                  </a:cubicBezTo>
                  <a:lnTo>
                    <a:pt x="426569" y="47755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43" name="Forma livre: Forma 1542">
              <a:extLst>
                <a:ext uri="{FF2B5EF4-FFF2-40B4-BE49-F238E27FC236}">
                  <a16:creationId xmlns:a16="http://schemas.microsoft.com/office/drawing/2014/main" id="{BEB6BF3E-139F-67F2-19C8-6D0CDC042127}"/>
                </a:ext>
              </a:extLst>
            </p:cNvPr>
            <p:cNvSpPr/>
            <p:nvPr/>
          </p:nvSpPr>
          <p:spPr>
            <a:xfrm>
              <a:off x="745052" y="4740700"/>
              <a:ext cx="147500" cy="57385"/>
            </a:xfrm>
            <a:custGeom>
              <a:avLst/>
              <a:gdLst>
                <a:gd name="connsiteX0" fmla="*/ 0 w 147500"/>
                <a:gd name="connsiteY0" fmla="*/ 41086 h 57385"/>
                <a:gd name="connsiteX1" fmla="*/ 45547 w 147500"/>
                <a:gd name="connsiteY1" fmla="*/ 0 h 57385"/>
                <a:gd name="connsiteX2" fmla="*/ 147501 w 147500"/>
                <a:gd name="connsiteY2" fmla="*/ 57386 h 573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47500" h="57385">
                  <a:moveTo>
                    <a:pt x="0" y="41086"/>
                  </a:moveTo>
                  <a:lnTo>
                    <a:pt x="45547" y="0"/>
                  </a:lnTo>
                  <a:cubicBezTo>
                    <a:pt x="45547" y="0"/>
                    <a:pt x="86421" y="11697"/>
                    <a:pt x="147501" y="57386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44" name="Forma livre: Forma 1543">
              <a:extLst>
                <a:ext uri="{FF2B5EF4-FFF2-40B4-BE49-F238E27FC236}">
                  <a16:creationId xmlns:a16="http://schemas.microsoft.com/office/drawing/2014/main" id="{F168D01D-3838-91D0-229C-FDD0619F6BDD}"/>
                </a:ext>
              </a:extLst>
            </p:cNvPr>
            <p:cNvSpPr/>
            <p:nvPr/>
          </p:nvSpPr>
          <p:spPr>
            <a:xfrm>
              <a:off x="709466" y="4804094"/>
              <a:ext cx="308103" cy="34039"/>
            </a:xfrm>
            <a:custGeom>
              <a:avLst/>
              <a:gdLst>
                <a:gd name="connsiteX0" fmla="*/ 0 w 308103"/>
                <a:gd name="connsiteY0" fmla="*/ 0 h 34039"/>
                <a:gd name="connsiteX1" fmla="*/ 308103 w 308103"/>
                <a:gd name="connsiteY1" fmla="*/ 34040 h 340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08103" h="34039">
                  <a:moveTo>
                    <a:pt x="0" y="0"/>
                  </a:moveTo>
                  <a:lnTo>
                    <a:pt x="308103" y="3404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45" name="Forma livre: Forma 1544">
              <a:extLst>
                <a:ext uri="{FF2B5EF4-FFF2-40B4-BE49-F238E27FC236}">
                  <a16:creationId xmlns:a16="http://schemas.microsoft.com/office/drawing/2014/main" id="{EB6CC22F-39D1-C752-5741-48447FEE2B03}"/>
                </a:ext>
              </a:extLst>
            </p:cNvPr>
            <p:cNvSpPr/>
            <p:nvPr/>
          </p:nvSpPr>
          <p:spPr>
            <a:xfrm>
              <a:off x="1008021" y="4778512"/>
              <a:ext cx="69625" cy="39002"/>
            </a:xfrm>
            <a:custGeom>
              <a:avLst/>
              <a:gdLst>
                <a:gd name="connsiteX0" fmla="*/ 69448 w 69625"/>
                <a:gd name="connsiteY0" fmla="*/ 39002 h 39002"/>
                <a:gd name="connsiteX1" fmla="*/ 69625 w 69625"/>
                <a:gd name="connsiteY1" fmla="*/ 5859 h 39002"/>
                <a:gd name="connsiteX2" fmla="*/ 4308 w 69625"/>
                <a:gd name="connsiteY2" fmla="*/ 7949 h 39002"/>
                <a:gd name="connsiteX3" fmla="*/ 0 w 69625"/>
                <a:gd name="connsiteY3" fmla="*/ 31613 h 390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9625" h="39002">
                  <a:moveTo>
                    <a:pt x="69448" y="39002"/>
                  </a:moveTo>
                  <a:lnTo>
                    <a:pt x="69625" y="5859"/>
                  </a:lnTo>
                  <a:cubicBezTo>
                    <a:pt x="69625" y="5859"/>
                    <a:pt x="37864" y="-8623"/>
                    <a:pt x="4308" y="7949"/>
                  </a:cubicBezTo>
                  <a:lnTo>
                    <a:pt x="0" y="31613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46" name="Forma livre: Forma 1545">
              <a:extLst>
                <a:ext uri="{FF2B5EF4-FFF2-40B4-BE49-F238E27FC236}">
                  <a16:creationId xmlns:a16="http://schemas.microsoft.com/office/drawing/2014/main" id="{61A2E0D3-772D-26D7-F759-B23330B6C77C}"/>
                </a:ext>
              </a:extLst>
            </p:cNvPr>
            <p:cNvSpPr/>
            <p:nvPr/>
          </p:nvSpPr>
          <p:spPr>
            <a:xfrm>
              <a:off x="1040089" y="4817384"/>
              <a:ext cx="17255" cy="50244"/>
            </a:xfrm>
            <a:custGeom>
              <a:avLst/>
              <a:gdLst>
                <a:gd name="connsiteX0" fmla="*/ 17256 w 17255"/>
                <a:gd name="connsiteY0" fmla="*/ 0 h 50244"/>
                <a:gd name="connsiteX1" fmla="*/ 0 w 17255"/>
                <a:gd name="connsiteY1" fmla="*/ 50245 h 502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7255" h="50244">
                  <a:moveTo>
                    <a:pt x="17256" y="0"/>
                  </a:moveTo>
                  <a:lnTo>
                    <a:pt x="0" y="50245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bevel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547" name="Gráfico 13">
              <a:extLst>
                <a:ext uri="{FF2B5EF4-FFF2-40B4-BE49-F238E27FC236}">
                  <a16:creationId xmlns:a16="http://schemas.microsoft.com/office/drawing/2014/main" id="{D29EF881-FD16-031C-2593-23C661C45AA5}"/>
                </a:ext>
              </a:extLst>
            </p:cNvPr>
            <p:cNvGrpSpPr/>
            <p:nvPr/>
          </p:nvGrpSpPr>
          <p:grpSpPr>
            <a:xfrm>
              <a:off x="700248" y="4878500"/>
              <a:ext cx="383677" cy="14451"/>
              <a:chOff x="700248" y="4878500"/>
              <a:chExt cx="383677" cy="14451"/>
            </a:xfrm>
            <a:noFill/>
          </p:grpSpPr>
          <p:sp>
            <p:nvSpPr>
              <p:cNvPr id="1548" name="Forma livre: Forma 1547">
                <a:extLst>
                  <a:ext uri="{FF2B5EF4-FFF2-40B4-BE49-F238E27FC236}">
                    <a16:creationId xmlns:a16="http://schemas.microsoft.com/office/drawing/2014/main" id="{5BFC2FC0-79EF-F53E-637E-354DFC74E0AE}"/>
                  </a:ext>
                </a:extLst>
              </p:cNvPr>
              <p:cNvSpPr/>
              <p:nvPr/>
            </p:nvSpPr>
            <p:spPr>
              <a:xfrm>
                <a:off x="700248" y="4878500"/>
                <a:ext cx="306852" cy="14451"/>
              </a:xfrm>
              <a:custGeom>
                <a:avLst/>
                <a:gdLst>
                  <a:gd name="connsiteX0" fmla="*/ 0 w 306852"/>
                  <a:gd name="connsiteY0" fmla="*/ 0 h 14451"/>
                  <a:gd name="connsiteX1" fmla="*/ 76365 w 306852"/>
                  <a:gd name="connsiteY1" fmla="*/ 0 h 14451"/>
                  <a:gd name="connsiteX2" fmla="*/ 76825 w 306852"/>
                  <a:gd name="connsiteY2" fmla="*/ 0 h 14451"/>
                  <a:gd name="connsiteX3" fmla="*/ 153190 w 306852"/>
                  <a:gd name="connsiteY3" fmla="*/ 0 h 14451"/>
                  <a:gd name="connsiteX4" fmla="*/ 153662 w 306852"/>
                  <a:gd name="connsiteY4" fmla="*/ 0 h 14451"/>
                  <a:gd name="connsiteX5" fmla="*/ 230015 w 306852"/>
                  <a:gd name="connsiteY5" fmla="*/ 0 h 14451"/>
                  <a:gd name="connsiteX6" fmla="*/ 230487 w 306852"/>
                  <a:gd name="connsiteY6" fmla="*/ 0 h 14451"/>
                  <a:gd name="connsiteX7" fmla="*/ 306852 w 306852"/>
                  <a:gd name="connsiteY7" fmla="*/ 0 h 144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06852" h="14451">
                    <a:moveTo>
                      <a:pt x="0" y="0"/>
                    </a:moveTo>
                    <a:cubicBezTo>
                      <a:pt x="0" y="0"/>
                      <a:pt x="32080" y="32517"/>
                      <a:pt x="76365" y="0"/>
                    </a:cubicBezTo>
                    <a:lnTo>
                      <a:pt x="76825" y="0"/>
                    </a:lnTo>
                    <a:cubicBezTo>
                      <a:pt x="76825" y="0"/>
                      <a:pt x="108905" y="32517"/>
                      <a:pt x="153190" y="0"/>
                    </a:cubicBezTo>
                    <a:lnTo>
                      <a:pt x="153662" y="0"/>
                    </a:lnTo>
                    <a:cubicBezTo>
                      <a:pt x="153662" y="0"/>
                      <a:pt x="185742" y="32517"/>
                      <a:pt x="230015" y="0"/>
                    </a:cubicBezTo>
                    <a:lnTo>
                      <a:pt x="230487" y="0"/>
                    </a:lnTo>
                    <a:cubicBezTo>
                      <a:pt x="230487" y="0"/>
                      <a:pt x="262567" y="32517"/>
                      <a:pt x="306852" y="0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549" name="Forma livre: Forma 1548">
                <a:extLst>
                  <a:ext uri="{FF2B5EF4-FFF2-40B4-BE49-F238E27FC236}">
                    <a16:creationId xmlns:a16="http://schemas.microsoft.com/office/drawing/2014/main" id="{B986B8DE-80B4-E74B-2F2B-12627A01F15A}"/>
                  </a:ext>
                </a:extLst>
              </p:cNvPr>
              <p:cNvSpPr/>
              <p:nvPr/>
            </p:nvSpPr>
            <p:spPr>
              <a:xfrm>
                <a:off x="1007560" y="4878500"/>
                <a:ext cx="76364" cy="14451"/>
              </a:xfrm>
              <a:custGeom>
                <a:avLst/>
                <a:gdLst>
                  <a:gd name="connsiteX0" fmla="*/ 0 w 76364"/>
                  <a:gd name="connsiteY0" fmla="*/ 0 h 14451"/>
                  <a:gd name="connsiteX1" fmla="*/ 76365 w 76364"/>
                  <a:gd name="connsiteY1" fmla="*/ 0 h 144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76364" h="14451">
                    <a:moveTo>
                      <a:pt x="0" y="0"/>
                    </a:moveTo>
                    <a:cubicBezTo>
                      <a:pt x="0" y="0"/>
                      <a:pt x="32080" y="32517"/>
                      <a:pt x="76365" y="0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550" name="Forma livre: Forma 1549">
              <a:extLst>
                <a:ext uri="{FF2B5EF4-FFF2-40B4-BE49-F238E27FC236}">
                  <a16:creationId xmlns:a16="http://schemas.microsoft.com/office/drawing/2014/main" id="{6D8FA819-EEE5-C63E-C957-BCC3289A553B}"/>
                </a:ext>
              </a:extLst>
            </p:cNvPr>
            <p:cNvSpPr/>
            <p:nvPr/>
          </p:nvSpPr>
          <p:spPr>
            <a:xfrm>
              <a:off x="1016094" y="4813902"/>
              <a:ext cx="10835" cy="43092"/>
            </a:xfrm>
            <a:custGeom>
              <a:avLst/>
              <a:gdLst>
                <a:gd name="connsiteX0" fmla="*/ 0 w 10835"/>
                <a:gd name="connsiteY0" fmla="*/ 43092 h 43092"/>
                <a:gd name="connsiteX1" fmla="*/ 10835 w 10835"/>
                <a:gd name="connsiteY1" fmla="*/ 0 h 430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835" h="43092">
                  <a:moveTo>
                    <a:pt x="0" y="43092"/>
                  </a:moveTo>
                  <a:lnTo>
                    <a:pt x="10835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551" name="Gráfico 13">
            <a:extLst>
              <a:ext uri="{FF2B5EF4-FFF2-40B4-BE49-F238E27FC236}">
                <a16:creationId xmlns:a16="http://schemas.microsoft.com/office/drawing/2014/main" id="{A8C4F939-1167-72D8-AC87-AC94E176BDD4}"/>
              </a:ext>
            </a:extLst>
          </p:cNvPr>
          <p:cNvGrpSpPr/>
          <p:nvPr/>
        </p:nvGrpSpPr>
        <p:grpSpPr>
          <a:xfrm>
            <a:off x="681776" y="5238854"/>
            <a:ext cx="371166" cy="259038"/>
            <a:chOff x="681776" y="5238854"/>
            <a:chExt cx="371166" cy="259038"/>
          </a:xfrm>
          <a:noFill/>
        </p:grpSpPr>
        <p:grpSp>
          <p:nvGrpSpPr>
            <p:cNvPr id="1552" name="Gráfico 13">
              <a:extLst>
                <a:ext uri="{FF2B5EF4-FFF2-40B4-BE49-F238E27FC236}">
                  <a16:creationId xmlns:a16="http://schemas.microsoft.com/office/drawing/2014/main" id="{0664961B-214D-764A-B2D1-B831B5DE9A9A}"/>
                </a:ext>
              </a:extLst>
            </p:cNvPr>
            <p:cNvGrpSpPr/>
            <p:nvPr/>
          </p:nvGrpSpPr>
          <p:grpSpPr>
            <a:xfrm>
              <a:off x="681776" y="5238854"/>
              <a:ext cx="371166" cy="259038"/>
              <a:chOff x="681776" y="5238854"/>
              <a:chExt cx="371166" cy="259038"/>
            </a:xfrm>
            <a:noFill/>
          </p:grpSpPr>
          <p:sp>
            <p:nvSpPr>
              <p:cNvPr id="1553" name="Forma livre: Forma 1552">
                <a:extLst>
                  <a:ext uri="{FF2B5EF4-FFF2-40B4-BE49-F238E27FC236}">
                    <a16:creationId xmlns:a16="http://schemas.microsoft.com/office/drawing/2014/main" id="{03A9A01F-AC13-722B-247E-708E2DF02482}"/>
                  </a:ext>
                </a:extLst>
              </p:cNvPr>
              <p:cNvSpPr/>
              <p:nvPr/>
            </p:nvSpPr>
            <p:spPr>
              <a:xfrm>
                <a:off x="681776" y="5411531"/>
                <a:ext cx="229177" cy="53573"/>
              </a:xfrm>
              <a:custGeom>
                <a:avLst/>
                <a:gdLst>
                  <a:gd name="connsiteX0" fmla="*/ 30581 w 229177"/>
                  <a:gd name="connsiteY0" fmla="*/ 53573 h 53573"/>
                  <a:gd name="connsiteX1" fmla="*/ 0 w 229177"/>
                  <a:gd name="connsiteY1" fmla="*/ 53573 h 53573"/>
                  <a:gd name="connsiteX2" fmla="*/ 0 w 229177"/>
                  <a:gd name="connsiteY2" fmla="*/ 0 h 53573"/>
                  <a:gd name="connsiteX3" fmla="*/ 229177 w 229177"/>
                  <a:gd name="connsiteY3" fmla="*/ 0 h 535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29177" h="53573">
                    <a:moveTo>
                      <a:pt x="30581" y="53573"/>
                    </a:moveTo>
                    <a:lnTo>
                      <a:pt x="0" y="53573"/>
                    </a:lnTo>
                    <a:lnTo>
                      <a:pt x="0" y="0"/>
                    </a:lnTo>
                    <a:lnTo>
                      <a:pt x="229177" y="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554" name="Forma livre: Forma 1553">
                <a:extLst>
                  <a:ext uri="{FF2B5EF4-FFF2-40B4-BE49-F238E27FC236}">
                    <a16:creationId xmlns:a16="http://schemas.microsoft.com/office/drawing/2014/main" id="{E81F96F6-2935-32B7-7F2A-D234DBC96CD3}"/>
                  </a:ext>
                </a:extLst>
              </p:cNvPr>
              <p:cNvSpPr/>
              <p:nvPr/>
            </p:nvSpPr>
            <p:spPr>
              <a:xfrm>
                <a:off x="792134" y="5465104"/>
                <a:ext cx="141245" cy="1180"/>
              </a:xfrm>
              <a:custGeom>
                <a:avLst/>
                <a:gdLst>
                  <a:gd name="connsiteX0" fmla="*/ 141245 w 141245"/>
                  <a:gd name="connsiteY0" fmla="*/ 0 h 1180"/>
                  <a:gd name="connsiteX1" fmla="*/ 0 w 141245"/>
                  <a:gd name="connsiteY1" fmla="*/ 0 h 11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41245" h="1180">
                    <a:moveTo>
                      <a:pt x="141245" y="0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555" name="Forma livre: Forma 1554">
                <a:extLst>
                  <a:ext uri="{FF2B5EF4-FFF2-40B4-BE49-F238E27FC236}">
                    <a16:creationId xmlns:a16="http://schemas.microsoft.com/office/drawing/2014/main" id="{2654C2C4-69A3-E8A1-0004-FEFAED943A18}"/>
                  </a:ext>
                </a:extLst>
              </p:cNvPr>
              <p:cNvSpPr/>
              <p:nvPr/>
            </p:nvSpPr>
            <p:spPr>
              <a:xfrm>
                <a:off x="928917" y="5310014"/>
                <a:ext cx="124024" cy="155109"/>
              </a:xfrm>
              <a:custGeom>
                <a:avLst/>
                <a:gdLst>
                  <a:gd name="connsiteX0" fmla="*/ 0 w 124024"/>
                  <a:gd name="connsiteY0" fmla="*/ 131709 h 155109"/>
                  <a:gd name="connsiteX1" fmla="*/ 0 w 124024"/>
                  <a:gd name="connsiteY1" fmla="*/ 0 h 155109"/>
                  <a:gd name="connsiteX2" fmla="*/ 59262 w 124024"/>
                  <a:gd name="connsiteY2" fmla="*/ 0 h 155109"/>
                  <a:gd name="connsiteX3" fmla="*/ 90965 w 124024"/>
                  <a:gd name="connsiteY3" fmla="*/ 63110 h 155109"/>
                  <a:gd name="connsiteX4" fmla="*/ 116211 w 124024"/>
                  <a:gd name="connsiteY4" fmla="*/ 71939 h 155109"/>
                  <a:gd name="connsiteX5" fmla="*/ 124025 w 124024"/>
                  <a:gd name="connsiteY5" fmla="*/ 85406 h 155109"/>
                  <a:gd name="connsiteX6" fmla="*/ 124025 w 124024"/>
                  <a:gd name="connsiteY6" fmla="*/ 143028 h 155109"/>
                  <a:gd name="connsiteX7" fmla="*/ 114323 w 124024"/>
                  <a:gd name="connsiteY7" fmla="*/ 155090 h 155109"/>
                  <a:gd name="connsiteX8" fmla="*/ 85429 w 124024"/>
                  <a:gd name="connsiteY8" fmla="*/ 155090 h 1551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24024" h="155109">
                    <a:moveTo>
                      <a:pt x="0" y="131709"/>
                    </a:moveTo>
                    <a:lnTo>
                      <a:pt x="0" y="0"/>
                    </a:lnTo>
                    <a:lnTo>
                      <a:pt x="59262" y="0"/>
                    </a:lnTo>
                    <a:cubicBezTo>
                      <a:pt x="81310" y="25400"/>
                      <a:pt x="90965" y="63110"/>
                      <a:pt x="90965" y="63110"/>
                    </a:cubicBezTo>
                    <a:lnTo>
                      <a:pt x="116211" y="71939"/>
                    </a:lnTo>
                    <a:cubicBezTo>
                      <a:pt x="116211" y="71939"/>
                      <a:pt x="124025" y="74630"/>
                      <a:pt x="124025" y="85406"/>
                    </a:cubicBezTo>
                    <a:lnTo>
                      <a:pt x="124025" y="143028"/>
                    </a:lnTo>
                    <a:cubicBezTo>
                      <a:pt x="124025" y="156129"/>
                      <a:pt x="114323" y="155090"/>
                      <a:pt x="114323" y="155090"/>
                    </a:cubicBezTo>
                    <a:lnTo>
                      <a:pt x="85429" y="15509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556" name="Forma livre: Forma 1555">
                <a:extLst>
                  <a:ext uri="{FF2B5EF4-FFF2-40B4-BE49-F238E27FC236}">
                    <a16:creationId xmlns:a16="http://schemas.microsoft.com/office/drawing/2014/main" id="{9AB22BA7-68D8-7CBE-11DB-43CE10B86250}"/>
                  </a:ext>
                </a:extLst>
              </p:cNvPr>
              <p:cNvSpPr/>
              <p:nvPr/>
            </p:nvSpPr>
            <p:spPr>
              <a:xfrm>
                <a:off x="957351" y="5335980"/>
                <a:ext cx="37025" cy="38819"/>
              </a:xfrm>
              <a:custGeom>
                <a:avLst/>
                <a:gdLst>
                  <a:gd name="connsiteX0" fmla="*/ 19900 w 37025"/>
                  <a:gd name="connsiteY0" fmla="*/ 0 h 38819"/>
                  <a:gd name="connsiteX1" fmla="*/ 37026 w 37025"/>
                  <a:gd name="connsiteY1" fmla="*/ 38820 h 38819"/>
                  <a:gd name="connsiteX2" fmla="*/ 0 w 37025"/>
                  <a:gd name="connsiteY2" fmla="*/ 38820 h 388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7025" h="38819">
                    <a:moveTo>
                      <a:pt x="19900" y="0"/>
                    </a:moveTo>
                    <a:cubicBezTo>
                      <a:pt x="19900" y="0"/>
                      <a:pt x="34394" y="24279"/>
                      <a:pt x="37026" y="38820"/>
                    </a:cubicBezTo>
                    <a:lnTo>
                      <a:pt x="0" y="38820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557" name="Forma livre: Forma 1556">
                <a:extLst>
                  <a:ext uri="{FF2B5EF4-FFF2-40B4-BE49-F238E27FC236}">
                    <a16:creationId xmlns:a16="http://schemas.microsoft.com/office/drawing/2014/main" id="{9CB977AD-0772-7A6E-FF01-32398762660D}"/>
                  </a:ext>
                </a:extLst>
              </p:cNvPr>
              <p:cNvSpPr/>
              <p:nvPr/>
            </p:nvSpPr>
            <p:spPr>
              <a:xfrm>
                <a:off x="955344" y="5439775"/>
                <a:ext cx="58129" cy="58117"/>
              </a:xfrm>
              <a:custGeom>
                <a:avLst/>
                <a:gdLst>
                  <a:gd name="connsiteX0" fmla="*/ 58129 w 58129"/>
                  <a:gd name="connsiteY0" fmla="*/ 29059 h 58117"/>
                  <a:gd name="connsiteX1" fmla="*/ 29059 w 58129"/>
                  <a:gd name="connsiteY1" fmla="*/ 58118 h 58117"/>
                  <a:gd name="connsiteX2" fmla="*/ 0 w 58129"/>
                  <a:gd name="connsiteY2" fmla="*/ 29059 h 58117"/>
                  <a:gd name="connsiteX3" fmla="*/ 29059 w 58129"/>
                  <a:gd name="connsiteY3" fmla="*/ 0 h 58117"/>
                  <a:gd name="connsiteX4" fmla="*/ 58129 w 58129"/>
                  <a:gd name="connsiteY4" fmla="*/ 29059 h 581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8129" h="58117">
                    <a:moveTo>
                      <a:pt x="58129" y="29059"/>
                    </a:moveTo>
                    <a:cubicBezTo>
                      <a:pt x="58129" y="45111"/>
                      <a:pt x="45111" y="58118"/>
                      <a:pt x="29059" y="58118"/>
                    </a:cubicBezTo>
                    <a:cubicBezTo>
                      <a:pt x="13007" y="58118"/>
                      <a:pt x="0" y="45111"/>
                      <a:pt x="0" y="29059"/>
                    </a:cubicBezTo>
                    <a:cubicBezTo>
                      <a:pt x="0" y="13007"/>
                      <a:pt x="13007" y="0"/>
                      <a:pt x="29059" y="0"/>
                    </a:cubicBezTo>
                    <a:cubicBezTo>
                      <a:pt x="45111" y="0"/>
                      <a:pt x="58129" y="13007"/>
                      <a:pt x="58129" y="29059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558" name="Forma livre: Forma 1557">
                <a:extLst>
                  <a:ext uri="{FF2B5EF4-FFF2-40B4-BE49-F238E27FC236}">
                    <a16:creationId xmlns:a16="http://schemas.microsoft.com/office/drawing/2014/main" id="{CE003B27-7E91-B998-C97E-A78D2180159C}"/>
                  </a:ext>
                </a:extLst>
              </p:cNvPr>
              <p:cNvSpPr/>
              <p:nvPr/>
            </p:nvSpPr>
            <p:spPr>
              <a:xfrm>
                <a:off x="714164" y="5439775"/>
                <a:ext cx="58129" cy="58117"/>
              </a:xfrm>
              <a:custGeom>
                <a:avLst/>
                <a:gdLst>
                  <a:gd name="connsiteX0" fmla="*/ 58129 w 58129"/>
                  <a:gd name="connsiteY0" fmla="*/ 29059 h 58117"/>
                  <a:gd name="connsiteX1" fmla="*/ 29071 w 58129"/>
                  <a:gd name="connsiteY1" fmla="*/ 58118 h 58117"/>
                  <a:gd name="connsiteX2" fmla="*/ 0 w 58129"/>
                  <a:gd name="connsiteY2" fmla="*/ 29059 h 58117"/>
                  <a:gd name="connsiteX3" fmla="*/ 29071 w 58129"/>
                  <a:gd name="connsiteY3" fmla="*/ 0 h 58117"/>
                  <a:gd name="connsiteX4" fmla="*/ 58129 w 58129"/>
                  <a:gd name="connsiteY4" fmla="*/ 29059 h 581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8129" h="58117">
                    <a:moveTo>
                      <a:pt x="58129" y="29059"/>
                    </a:moveTo>
                    <a:cubicBezTo>
                      <a:pt x="58129" y="45111"/>
                      <a:pt x="45123" y="58118"/>
                      <a:pt x="29071" y="58118"/>
                    </a:cubicBezTo>
                    <a:cubicBezTo>
                      <a:pt x="13019" y="58118"/>
                      <a:pt x="0" y="45111"/>
                      <a:pt x="0" y="29059"/>
                    </a:cubicBezTo>
                    <a:cubicBezTo>
                      <a:pt x="0" y="13007"/>
                      <a:pt x="13019" y="0"/>
                      <a:pt x="29071" y="0"/>
                    </a:cubicBezTo>
                    <a:cubicBezTo>
                      <a:pt x="45123" y="0"/>
                      <a:pt x="58129" y="13007"/>
                      <a:pt x="58129" y="29059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559" name="Forma livre: Forma 1558">
                <a:extLst>
                  <a:ext uri="{FF2B5EF4-FFF2-40B4-BE49-F238E27FC236}">
                    <a16:creationId xmlns:a16="http://schemas.microsoft.com/office/drawing/2014/main" id="{40C0B636-F318-CA34-239A-C0C98FFDCB89}"/>
                  </a:ext>
                </a:extLst>
              </p:cNvPr>
              <p:cNvSpPr/>
              <p:nvPr/>
            </p:nvSpPr>
            <p:spPr>
              <a:xfrm>
                <a:off x="727524" y="5238854"/>
                <a:ext cx="171449" cy="149802"/>
              </a:xfrm>
              <a:custGeom>
                <a:avLst/>
                <a:gdLst>
                  <a:gd name="connsiteX0" fmla="*/ 171449 w 171449"/>
                  <a:gd name="connsiteY0" fmla="*/ 149803 h 149802"/>
                  <a:gd name="connsiteX1" fmla="*/ 31797 w 171449"/>
                  <a:gd name="connsiteY1" fmla="*/ 0 h 149802"/>
                  <a:gd name="connsiteX2" fmla="*/ 0 w 171449"/>
                  <a:gd name="connsiteY2" fmla="*/ 0 h 149802"/>
                  <a:gd name="connsiteX3" fmla="*/ 113355 w 171449"/>
                  <a:gd name="connsiteY3" fmla="*/ 149803 h 1498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71449" h="149802">
                    <a:moveTo>
                      <a:pt x="171449" y="149803"/>
                    </a:moveTo>
                    <a:lnTo>
                      <a:pt x="31797" y="0"/>
                    </a:lnTo>
                    <a:lnTo>
                      <a:pt x="0" y="0"/>
                    </a:lnTo>
                    <a:lnTo>
                      <a:pt x="113355" y="149803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560" name="Forma livre: Forma 1559">
                <a:extLst>
                  <a:ext uri="{FF2B5EF4-FFF2-40B4-BE49-F238E27FC236}">
                    <a16:creationId xmlns:a16="http://schemas.microsoft.com/office/drawing/2014/main" id="{03D13783-900F-FAEC-6FB0-8858A3EF8E6E}"/>
                  </a:ext>
                </a:extLst>
              </p:cNvPr>
              <p:cNvSpPr/>
              <p:nvPr/>
            </p:nvSpPr>
            <p:spPr>
              <a:xfrm>
                <a:off x="708923" y="5269790"/>
                <a:ext cx="35337" cy="84555"/>
              </a:xfrm>
              <a:custGeom>
                <a:avLst/>
                <a:gdLst>
                  <a:gd name="connsiteX0" fmla="*/ 0 w 35337"/>
                  <a:gd name="connsiteY0" fmla="*/ 66887 h 84555"/>
                  <a:gd name="connsiteX1" fmla="*/ 17669 w 35337"/>
                  <a:gd name="connsiteY1" fmla="*/ 84556 h 84555"/>
                  <a:gd name="connsiteX2" fmla="*/ 35338 w 35337"/>
                  <a:gd name="connsiteY2" fmla="*/ 66887 h 84555"/>
                  <a:gd name="connsiteX3" fmla="*/ 17669 w 35337"/>
                  <a:gd name="connsiteY3" fmla="*/ 49218 h 84555"/>
                  <a:gd name="connsiteX4" fmla="*/ 17669 w 35337"/>
                  <a:gd name="connsiteY4" fmla="*/ 0 h 845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5337" h="84555">
                    <a:moveTo>
                      <a:pt x="0" y="66887"/>
                    </a:moveTo>
                    <a:cubicBezTo>
                      <a:pt x="0" y="76648"/>
                      <a:pt x="7908" y="84556"/>
                      <a:pt x="17669" y="84556"/>
                    </a:cubicBezTo>
                    <a:cubicBezTo>
                      <a:pt x="27430" y="84556"/>
                      <a:pt x="35338" y="76648"/>
                      <a:pt x="35338" y="66887"/>
                    </a:cubicBezTo>
                    <a:cubicBezTo>
                      <a:pt x="35338" y="57126"/>
                      <a:pt x="27430" y="49218"/>
                      <a:pt x="17669" y="49218"/>
                    </a:cubicBezTo>
                    <a:lnTo>
                      <a:pt x="17669" y="0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561" name="Forma livre: Forma 1560">
              <a:extLst>
                <a:ext uri="{FF2B5EF4-FFF2-40B4-BE49-F238E27FC236}">
                  <a16:creationId xmlns:a16="http://schemas.microsoft.com/office/drawing/2014/main" id="{B80B0D58-7238-31EE-338F-CB6905073E28}"/>
                </a:ext>
              </a:extLst>
            </p:cNvPr>
            <p:cNvSpPr/>
            <p:nvPr/>
          </p:nvSpPr>
          <p:spPr>
            <a:xfrm>
              <a:off x="941440" y="5272492"/>
              <a:ext cx="30286" cy="20407"/>
            </a:xfrm>
            <a:custGeom>
              <a:avLst/>
              <a:gdLst>
                <a:gd name="connsiteX0" fmla="*/ 0 w 30286"/>
                <a:gd name="connsiteY0" fmla="*/ 20407 h 20407"/>
                <a:gd name="connsiteX1" fmla="*/ 0 w 30286"/>
                <a:gd name="connsiteY1" fmla="*/ 14541 h 20407"/>
                <a:gd name="connsiteX2" fmla="*/ 14541 w 30286"/>
                <a:gd name="connsiteY2" fmla="*/ 0 h 20407"/>
                <a:gd name="connsiteX3" fmla="*/ 15745 w 30286"/>
                <a:gd name="connsiteY3" fmla="*/ 0 h 20407"/>
                <a:gd name="connsiteX4" fmla="*/ 30286 w 30286"/>
                <a:gd name="connsiteY4" fmla="*/ 14541 h 20407"/>
                <a:gd name="connsiteX5" fmla="*/ 30286 w 30286"/>
                <a:gd name="connsiteY5" fmla="*/ 20407 h 204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0286" h="20407">
                  <a:moveTo>
                    <a:pt x="0" y="20407"/>
                  </a:moveTo>
                  <a:lnTo>
                    <a:pt x="0" y="14541"/>
                  </a:lnTo>
                  <a:cubicBezTo>
                    <a:pt x="0" y="6539"/>
                    <a:pt x="6539" y="0"/>
                    <a:pt x="14541" y="0"/>
                  </a:cubicBezTo>
                  <a:lnTo>
                    <a:pt x="15745" y="0"/>
                  </a:lnTo>
                  <a:cubicBezTo>
                    <a:pt x="23747" y="0"/>
                    <a:pt x="30286" y="6539"/>
                    <a:pt x="30286" y="14541"/>
                  </a:cubicBezTo>
                  <a:lnTo>
                    <a:pt x="30286" y="20407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562" name="Gráfico 13">
            <a:extLst>
              <a:ext uri="{FF2B5EF4-FFF2-40B4-BE49-F238E27FC236}">
                <a16:creationId xmlns:a16="http://schemas.microsoft.com/office/drawing/2014/main" id="{85971A08-8A48-C204-0CE4-AF93E65BE819}"/>
              </a:ext>
            </a:extLst>
          </p:cNvPr>
          <p:cNvGrpSpPr/>
          <p:nvPr/>
        </p:nvGrpSpPr>
        <p:grpSpPr>
          <a:xfrm>
            <a:off x="670387" y="5785659"/>
            <a:ext cx="393933" cy="202148"/>
            <a:chOff x="670387" y="5785659"/>
            <a:chExt cx="393933" cy="202148"/>
          </a:xfrm>
        </p:grpSpPr>
        <p:sp>
          <p:nvSpPr>
            <p:cNvPr id="1563" name="Forma livre: Forma 1562">
              <a:extLst>
                <a:ext uri="{FF2B5EF4-FFF2-40B4-BE49-F238E27FC236}">
                  <a16:creationId xmlns:a16="http://schemas.microsoft.com/office/drawing/2014/main" id="{6A657EC9-11CB-FF78-3379-E5E0701F1514}"/>
                </a:ext>
              </a:extLst>
            </p:cNvPr>
            <p:cNvSpPr/>
            <p:nvPr/>
          </p:nvSpPr>
          <p:spPr>
            <a:xfrm>
              <a:off x="695267" y="5857221"/>
              <a:ext cx="362927" cy="87199"/>
            </a:xfrm>
            <a:custGeom>
              <a:avLst/>
              <a:gdLst>
                <a:gd name="connsiteX0" fmla="*/ 14801 w 362927"/>
                <a:gd name="connsiteY0" fmla="*/ 75550 h 87199"/>
                <a:gd name="connsiteX1" fmla="*/ 0 w 362927"/>
                <a:gd name="connsiteY1" fmla="*/ 75550 h 87199"/>
                <a:gd name="connsiteX2" fmla="*/ 0 w 362927"/>
                <a:gd name="connsiteY2" fmla="*/ 0 h 87199"/>
                <a:gd name="connsiteX3" fmla="*/ 82136 w 362927"/>
                <a:gd name="connsiteY3" fmla="*/ 0 h 87199"/>
                <a:gd name="connsiteX4" fmla="*/ 126220 w 362927"/>
                <a:gd name="connsiteY4" fmla="*/ 19463 h 87199"/>
                <a:gd name="connsiteX5" fmla="*/ 154760 w 362927"/>
                <a:gd name="connsiteY5" fmla="*/ 53042 h 87199"/>
                <a:gd name="connsiteX6" fmla="*/ 201924 w 362927"/>
                <a:gd name="connsiteY6" fmla="*/ 53042 h 87199"/>
                <a:gd name="connsiteX7" fmla="*/ 219676 w 362927"/>
                <a:gd name="connsiteY7" fmla="*/ 30534 h 87199"/>
                <a:gd name="connsiteX8" fmla="*/ 219676 w 362927"/>
                <a:gd name="connsiteY8" fmla="*/ 2030 h 87199"/>
                <a:gd name="connsiteX9" fmla="*/ 348988 w 362927"/>
                <a:gd name="connsiteY9" fmla="*/ 2030 h 87199"/>
                <a:gd name="connsiteX10" fmla="*/ 358608 w 362927"/>
                <a:gd name="connsiteY10" fmla="*/ 4780 h 87199"/>
                <a:gd name="connsiteX11" fmla="*/ 362928 w 362927"/>
                <a:gd name="connsiteY11" fmla="*/ 12735 h 87199"/>
                <a:gd name="connsiteX12" fmla="*/ 362928 w 362927"/>
                <a:gd name="connsiteY12" fmla="*/ 35692 h 87199"/>
                <a:gd name="connsiteX13" fmla="*/ 284639 w 362927"/>
                <a:gd name="connsiteY13" fmla="*/ 35692 h 87199"/>
                <a:gd name="connsiteX14" fmla="*/ 254884 w 362927"/>
                <a:gd name="connsiteY14" fmla="*/ 87200 h 87199"/>
                <a:gd name="connsiteX15" fmla="*/ 129537 w 362927"/>
                <a:gd name="connsiteY15" fmla="*/ 87200 h 871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62927" h="87199">
                  <a:moveTo>
                    <a:pt x="14801" y="75550"/>
                  </a:moveTo>
                  <a:lnTo>
                    <a:pt x="0" y="75550"/>
                  </a:lnTo>
                  <a:lnTo>
                    <a:pt x="0" y="0"/>
                  </a:lnTo>
                  <a:lnTo>
                    <a:pt x="82136" y="0"/>
                  </a:lnTo>
                  <a:cubicBezTo>
                    <a:pt x="118005" y="0"/>
                    <a:pt x="120224" y="9313"/>
                    <a:pt x="126220" y="19463"/>
                  </a:cubicBezTo>
                  <a:cubicBezTo>
                    <a:pt x="133373" y="31573"/>
                    <a:pt x="140136" y="53042"/>
                    <a:pt x="154760" y="53042"/>
                  </a:cubicBezTo>
                  <a:lnTo>
                    <a:pt x="201924" y="53042"/>
                  </a:lnTo>
                  <a:cubicBezTo>
                    <a:pt x="201924" y="53042"/>
                    <a:pt x="219676" y="53137"/>
                    <a:pt x="219676" y="30534"/>
                  </a:cubicBezTo>
                  <a:lnTo>
                    <a:pt x="219676" y="2030"/>
                  </a:lnTo>
                  <a:lnTo>
                    <a:pt x="348988" y="2030"/>
                  </a:lnTo>
                  <a:cubicBezTo>
                    <a:pt x="348988" y="2030"/>
                    <a:pt x="354701" y="1393"/>
                    <a:pt x="358608" y="4780"/>
                  </a:cubicBezTo>
                  <a:cubicBezTo>
                    <a:pt x="362963" y="8533"/>
                    <a:pt x="362928" y="12735"/>
                    <a:pt x="362928" y="12735"/>
                  </a:cubicBezTo>
                  <a:lnTo>
                    <a:pt x="362928" y="35692"/>
                  </a:lnTo>
                  <a:lnTo>
                    <a:pt x="284639" y="35692"/>
                  </a:lnTo>
                  <a:lnTo>
                    <a:pt x="254884" y="87200"/>
                  </a:lnTo>
                  <a:lnTo>
                    <a:pt x="129537" y="8720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64" name="Forma livre: Forma 1563">
              <a:extLst>
                <a:ext uri="{FF2B5EF4-FFF2-40B4-BE49-F238E27FC236}">
                  <a16:creationId xmlns:a16="http://schemas.microsoft.com/office/drawing/2014/main" id="{D37967C8-94DA-9B08-1262-236EFC680799}"/>
                </a:ext>
              </a:extLst>
            </p:cNvPr>
            <p:cNvSpPr/>
            <p:nvPr/>
          </p:nvSpPr>
          <p:spPr>
            <a:xfrm>
              <a:off x="898962" y="5785659"/>
              <a:ext cx="17173" cy="74393"/>
            </a:xfrm>
            <a:custGeom>
              <a:avLst/>
              <a:gdLst>
                <a:gd name="connsiteX0" fmla="*/ 17173 w 17173"/>
                <a:gd name="connsiteY0" fmla="*/ 74394 h 74393"/>
                <a:gd name="connsiteX1" fmla="*/ 0 w 17173"/>
                <a:gd name="connsiteY1" fmla="*/ 0 h 743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7173" h="74393">
                  <a:moveTo>
                    <a:pt x="17173" y="74394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65" name="Forma livre: Forma 1564">
              <a:extLst>
                <a:ext uri="{FF2B5EF4-FFF2-40B4-BE49-F238E27FC236}">
                  <a16:creationId xmlns:a16="http://schemas.microsoft.com/office/drawing/2014/main" id="{2EA9D40F-9261-BF99-E4EA-946A6182303F}"/>
                </a:ext>
              </a:extLst>
            </p:cNvPr>
            <p:cNvSpPr/>
            <p:nvPr/>
          </p:nvSpPr>
          <p:spPr>
            <a:xfrm>
              <a:off x="878130" y="5855509"/>
              <a:ext cx="35892" cy="29318"/>
            </a:xfrm>
            <a:custGeom>
              <a:avLst/>
              <a:gdLst>
                <a:gd name="connsiteX0" fmla="*/ 35893 w 35892"/>
                <a:gd name="connsiteY0" fmla="*/ 29318 h 29318"/>
                <a:gd name="connsiteX1" fmla="*/ 0 w 35892"/>
                <a:gd name="connsiteY1" fmla="*/ 0 h 293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5892" h="29318">
                  <a:moveTo>
                    <a:pt x="35893" y="29318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66" name="Forma livre: Forma 1565">
              <a:extLst>
                <a:ext uri="{FF2B5EF4-FFF2-40B4-BE49-F238E27FC236}">
                  <a16:creationId xmlns:a16="http://schemas.microsoft.com/office/drawing/2014/main" id="{2091BFAB-93BB-58DF-E31F-69378E8360BA}"/>
                </a:ext>
              </a:extLst>
            </p:cNvPr>
            <p:cNvSpPr/>
            <p:nvPr/>
          </p:nvSpPr>
          <p:spPr>
            <a:xfrm>
              <a:off x="864426" y="5839091"/>
              <a:ext cx="25635" cy="31383"/>
            </a:xfrm>
            <a:custGeom>
              <a:avLst/>
              <a:gdLst>
                <a:gd name="connsiteX0" fmla="*/ 0 w 25635"/>
                <a:gd name="connsiteY0" fmla="*/ 31384 h 31383"/>
                <a:gd name="connsiteX1" fmla="*/ 25636 w 25635"/>
                <a:gd name="connsiteY1" fmla="*/ 0 h 313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5635" h="31383">
                  <a:moveTo>
                    <a:pt x="0" y="31384"/>
                  </a:moveTo>
                  <a:lnTo>
                    <a:pt x="25636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67" name="Forma livre: Forma 1566">
              <a:extLst>
                <a:ext uri="{FF2B5EF4-FFF2-40B4-BE49-F238E27FC236}">
                  <a16:creationId xmlns:a16="http://schemas.microsoft.com/office/drawing/2014/main" id="{2898EA8C-CAB4-30C9-1BDC-5AB7BB86BB62}"/>
                </a:ext>
              </a:extLst>
            </p:cNvPr>
            <p:cNvSpPr/>
            <p:nvPr/>
          </p:nvSpPr>
          <p:spPr>
            <a:xfrm>
              <a:off x="670387" y="5831880"/>
              <a:ext cx="1180" cy="79882"/>
            </a:xfrm>
            <a:custGeom>
              <a:avLst/>
              <a:gdLst>
                <a:gd name="connsiteX0" fmla="*/ 0 w 1180"/>
                <a:gd name="connsiteY0" fmla="*/ 79882 h 79882"/>
                <a:gd name="connsiteX1" fmla="*/ 0 w 1180"/>
                <a:gd name="connsiteY1" fmla="*/ 0 h 798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80" h="79882">
                  <a:moveTo>
                    <a:pt x="0" y="79882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68" name="Forma livre: Forma 1567">
              <a:extLst>
                <a:ext uri="{FF2B5EF4-FFF2-40B4-BE49-F238E27FC236}">
                  <a16:creationId xmlns:a16="http://schemas.microsoft.com/office/drawing/2014/main" id="{8C39259C-1AD8-AD7B-E35A-3515920C78AD}"/>
                </a:ext>
              </a:extLst>
            </p:cNvPr>
            <p:cNvSpPr/>
            <p:nvPr/>
          </p:nvSpPr>
          <p:spPr>
            <a:xfrm>
              <a:off x="720100" y="5881263"/>
              <a:ext cx="69283" cy="1180"/>
            </a:xfrm>
            <a:custGeom>
              <a:avLst/>
              <a:gdLst>
                <a:gd name="connsiteX0" fmla="*/ 0 w 69283"/>
                <a:gd name="connsiteY0" fmla="*/ 0 h 1180"/>
                <a:gd name="connsiteX1" fmla="*/ 69283 w 69283"/>
                <a:gd name="connsiteY1" fmla="*/ 0 h 11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9283" h="1180">
                  <a:moveTo>
                    <a:pt x="0" y="0"/>
                  </a:moveTo>
                  <a:lnTo>
                    <a:pt x="69283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569" name="Gráfico 13">
              <a:extLst>
                <a:ext uri="{FF2B5EF4-FFF2-40B4-BE49-F238E27FC236}">
                  <a16:creationId xmlns:a16="http://schemas.microsoft.com/office/drawing/2014/main" id="{0B19FAB2-FC7F-A2FD-A99C-91C5BEF1C257}"/>
                </a:ext>
              </a:extLst>
            </p:cNvPr>
            <p:cNvGrpSpPr/>
            <p:nvPr/>
          </p:nvGrpSpPr>
          <p:grpSpPr>
            <a:xfrm>
              <a:off x="725813" y="5907666"/>
              <a:ext cx="80129" cy="80129"/>
              <a:chOff x="725813" y="5907666"/>
              <a:chExt cx="80129" cy="80129"/>
            </a:xfrm>
          </p:grpSpPr>
          <p:sp>
            <p:nvSpPr>
              <p:cNvPr id="1570" name="Forma livre: Forma 1569">
                <a:extLst>
                  <a:ext uri="{FF2B5EF4-FFF2-40B4-BE49-F238E27FC236}">
                    <a16:creationId xmlns:a16="http://schemas.microsoft.com/office/drawing/2014/main" id="{B97B587F-3E81-E73F-8B52-F1DDD4A8ED33}"/>
                  </a:ext>
                </a:extLst>
              </p:cNvPr>
              <p:cNvSpPr/>
              <p:nvPr/>
            </p:nvSpPr>
            <p:spPr>
              <a:xfrm>
                <a:off x="762426" y="5944267"/>
                <a:ext cx="6916" cy="6928"/>
              </a:xfrm>
              <a:custGeom>
                <a:avLst/>
                <a:gdLst>
                  <a:gd name="connsiteX0" fmla="*/ 6917 w 6916"/>
                  <a:gd name="connsiteY0" fmla="*/ 3482 h 6928"/>
                  <a:gd name="connsiteX1" fmla="*/ 3458 w 6916"/>
                  <a:gd name="connsiteY1" fmla="*/ 6928 h 6928"/>
                  <a:gd name="connsiteX2" fmla="*/ 0 w 6916"/>
                  <a:gd name="connsiteY2" fmla="*/ 3482 h 6928"/>
                  <a:gd name="connsiteX3" fmla="*/ 3458 w 6916"/>
                  <a:gd name="connsiteY3" fmla="*/ 0 h 6928"/>
                  <a:gd name="connsiteX4" fmla="*/ 6917 w 6916"/>
                  <a:gd name="connsiteY4" fmla="*/ 3482 h 69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916" h="6928">
                    <a:moveTo>
                      <a:pt x="6917" y="3482"/>
                    </a:moveTo>
                    <a:cubicBezTo>
                      <a:pt x="6917" y="5394"/>
                      <a:pt x="5382" y="6928"/>
                      <a:pt x="3458" y="6928"/>
                    </a:cubicBezTo>
                    <a:cubicBezTo>
                      <a:pt x="1534" y="6928"/>
                      <a:pt x="0" y="5406"/>
                      <a:pt x="0" y="3482"/>
                    </a:cubicBezTo>
                    <a:cubicBezTo>
                      <a:pt x="0" y="1558"/>
                      <a:pt x="1546" y="0"/>
                      <a:pt x="3458" y="0"/>
                    </a:cubicBezTo>
                    <a:cubicBezTo>
                      <a:pt x="5370" y="0"/>
                      <a:pt x="6917" y="1546"/>
                      <a:pt x="6917" y="3482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571" name="Forma livre: Forma 1570">
                <a:extLst>
                  <a:ext uri="{FF2B5EF4-FFF2-40B4-BE49-F238E27FC236}">
                    <a16:creationId xmlns:a16="http://schemas.microsoft.com/office/drawing/2014/main" id="{FFFB25EC-AB7E-FFF8-07AE-1C1B517F82B2}"/>
                  </a:ext>
                </a:extLst>
              </p:cNvPr>
              <p:cNvSpPr/>
              <p:nvPr/>
            </p:nvSpPr>
            <p:spPr>
              <a:xfrm>
                <a:off x="725813" y="5907666"/>
                <a:ext cx="80129" cy="80129"/>
              </a:xfrm>
              <a:custGeom>
                <a:avLst/>
                <a:gdLst>
                  <a:gd name="connsiteX0" fmla="*/ 80130 w 80129"/>
                  <a:gd name="connsiteY0" fmla="*/ 40059 h 80129"/>
                  <a:gd name="connsiteX1" fmla="*/ 40059 w 80129"/>
                  <a:gd name="connsiteY1" fmla="*/ 80130 h 80129"/>
                  <a:gd name="connsiteX2" fmla="*/ 0 w 80129"/>
                  <a:gd name="connsiteY2" fmla="*/ 40059 h 80129"/>
                  <a:gd name="connsiteX3" fmla="*/ 40059 w 80129"/>
                  <a:gd name="connsiteY3" fmla="*/ 0 h 80129"/>
                  <a:gd name="connsiteX4" fmla="*/ 80130 w 80129"/>
                  <a:gd name="connsiteY4" fmla="*/ 40059 h 801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0129" h="80129">
                    <a:moveTo>
                      <a:pt x="80130" y="40059"/>
                    </a:moveTo>
                    <a:cubicBezTo>
                      <a:pt x="80130" y="62189"/>
                      <a:pt x="62190" y="80130"/>
                      <a:pt x="40059" y="80130"/>
                    </a:cubicBezTo>
                    <a:cubicBezTo>
                      <a:pt x="17929" y="80130"/>
                      <a:pt x="0" y="62189"/>
                      <a:pt x="0" y="40059"/>
                    </a:cubicBezTo>
                    <a:cubicBezTo>
                      <a:pt x="0" y="17929"/>
                      <a:pt x="17940" y="0"/>
                      <a:pt x="40059" y="0"/>
                    </a:cubicBezTo>
                    <a:cubicBezTo>
                      <a:pt x="62178" y="0"/>
                      <a:pt x="80130" y="17940"/>
                      <a:pt x="80130" y="40059"/>
                    </a:cubicBezTo>
                    <a:close/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572" name="Gráfico 13">
              <a:extLst>
                <a:ext uri="{FF2B5EF4-FFF2-40B4-BE49-F238E27FC236}">
                  <a16:creationId xmlns:a16="http://schemas.microsoft.com/office/drawing/2014/main" id="{648659EE-A940-72C5-E792-2838F95525B5}"/>
                </a:ext>
              </a:extLst>
            </p:cNvPr>
            <p:cNvGrpSpPr/>
            <p:nvPr/>
          </p:nvGrpSpPr>
          <p:grpSpPr>
            <a:xfrm>
              <a:off x="984202" y="5911715"/>
              <a:ext cx="80118" cy="76093"/>
              <a:chOff x="984202" y="5911715"/>
              <a:chExt cx="80118" cy="76093"/>
            </a:xfrm>
          </p:grpSpPr>
          <p:sp>
            <p:nvSpPr>
              <p:cNvPr id="1573" name="Forma livre: Forma 1572">
                <a:extLst>
                  <a:ext uri="{FF2B5EF4-FFF2-40B4-BE49-F238E27FC236}">
                    <a16:creationId xmlns:a16="http://schemas.microsoft.com/office/drawing/2014/main" id="{998FFD4E-1086-B290-ABB8-CC6BB5F2C01A}"/>
                  </a:ext>
                </a:extLst>
              </p:cNvPr>
              <p:cNvSpPr/>
              <p:nvPr/>
            </p:nvSpPr>
            <p:spPr>
              <a:xfrm>
                <a:off x="1020791" y="5944267"/>
                <a:ext cx="6928" cy="6928"/>
              </a:xfrm>
              <a:custGeom>
                <a:avLst/>
                <a:gdLst>
                  <a:gd name="connsiteX0" fmla="*/ 6928 w 6928"/>
                  <a:gd name="connsiteY0" fmla="*/ 3482 h 6928"/>
                  <a:gd name="connsiteX1" fmla="*/ 3470 w 6928"/>
                  <a:gd name="connsiteY1" fmla="*/ 6928 h 6928"/>
                  <a:gd name="connsiteX2" fmla="*/ 0 w 6928"/>
                  <a:gd name="connsiteY2" fmla="*/ 3482 h 6928"/>
                  <a:gd name="connsiteX3" fmla="*/ 3470 w 6928"/>
                  <a:gd name="connsiteY3" fmla="*/ 0 h 6928"/>
                  <a:gd name="connsiteX4" fmla="*/ 6928 w 6928"/>
                  <a:gd name="connsiteY4" fmla="*/ 3482 h 69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928" h="6928">
                    <a:moveTo>
                      <a:pt x="6928" y="3482"/>
                    </a:moveTo>
                    <a:cubicBezTo>
                      <a:pt x="6928" y="5394"/>
                      <a:pt x="5394" y="6928"/>
                      <a:pt x="3470" y="6928"/>
                    </a:cubicBezTo>
                    <a:cubicBezTo>
                      <a:pt x="1546" y="6928"/>
                      <a:pt x="0" y="5406"/>
                      <a:pt x="0" y="3482"/>
                    </a:cubicBezTo>
                    <a:cubicBezTo>
                      <a:pt x="0" y="1558"/>
                      <a:pt x="1558" y="0"/>
                      <a:pt x="3470" y="0"/>
                    </a:cubicBezTo>
                    <a:cubicBezTo>
                      <a:pt x="5382" y="0"/>
                      <a:pt x="6928" y="1546"/>
                      <a:pt x="6928" y="3482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574" name="Forma livre: Forma 1573">
                <a:extLst>
                  <a:ext uri="{FF2B5EF4-FFF2-40B4-BE49-F238E27FC236}">
                    <a16:creationId xmlns:a16="http://schemas.microsoft.com/office/drawing/2014/main" id="{E279E2B5-137B-7DD8-FFF8-57C784E453FA}"/>
                  </a:ext>
                </a:extLst>
              </p:cNvPr>
              <p:cNvSpPr/>
              <p:nvPr/>
            </p:nvSpPr>
            <p:spPr>
              <a:xfrm>
                <a:off x="984202" y="5911715"/>
                <a:ext cx="80118" cy="76093"/>
              </a:xfrm>
              <a:custGeom>
                <a:avLst/>
                <a:gdLst>
                  <a:gd name="connsiteX0" fmla="*/ 57610 w 80118"/>
                  <a:gd name="connsiteY0" fmla="*/ 0 h 76093"/>
                  <a:gd name="connsiteX1" fmla="*/ 80118 w 80118"/>
                  <a:gd name="connsiteY1" fmla="*/ 36022 h 76093"/>
                  <a:gd name="connsiteX2" fmla="*/ 40059 w 80118"/>
                  <a:gd name="connsiteY2" fmla="*/ 76093 h 76093"/>
                  <a:gd name="connsiteX3" fmla="*/ 0 w 80118"/>
                  <a:gd name="connsiteY3" fmla="*/ 36022 h 76093"/>
                  <a:gd name="connsiteX4" fmla="*/ 21009 w 80118"/>
                  <a:gd name="connsiteY4" fmla="*/ 779 h 760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0118" h="76093">
                    <a:moveTo>
                      <a:pt x="57610" y="0"/>
                    </a:moveTo>
                    <a:cubicBezTo>
                      <a:pt x="70935" y="6515"/>
                      <a:pt x="80118" y="20195"/>
                      <a:pt x="80118" y="36022"/>
                    </a:cubicBezTo>
                    <a:cubicBezTo>
                      <a:pt x="80118" y="58153"/>
                      <a:pt x="62178" y="76093"/>
                      <a:pt x="40059" y="76093"/>
                    </a:cubicBezTo>
                    <a:cubicBezTo>
                      <a:pt x="17940" y="76093"/>
                      <a:pt x="0" y="58153"/>
                      <a:pt x="0" y="36022"/>
                    </a:cubicBezTo>
                    <a:cubicBezTo>
                      <a:pt x="0" y="20797"/>
                      <a:pt x="8498" y="7554"/>
                      <a:pt x="21009" y="779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575" name="Gráfico 13">
            <a:extLst>
              <a:ext uri="{FF2B5EF4-FFF2-40B4-BE49-F238E27FC236}">
                <a16:creationId xmlns:a16="http://schemas.microsoft.com/office/drawing/2014/main" id="{F9164133-3DB3-FE65-3D10-228D0BF2FF0C}"/>
              </a:ext>
            </a:extLst>
          </p:cNvPr>
          <p:cNvGrpSpPr/>
          <p:nvPr/>
        </p:nvGrpSpPr>
        <p:grpSpPr>
          <a:xfrm>
            <a:off x="745488" y="3560067"/>
            <a:ext cx="243730" cy="333101"/>
            <a:chOff x="745488" y="3560067"/>
            <a:chExt cx="243730" cy="333101"/>
          </a:xfrm>
          <a:noFill/>
        </p:grpSpPr>
        <p:sp>
          <p:nvSpPr>
            <p:cNvPr id="1576" name="Forma livre: Forma 1575">
              <a:extLst>
                <a:ext uri="{FF2B5EF4-FFF2-40B4-BE49-F238E27FC236}">
                  <a16:creationId xmlns:a16="http://schemas.microsoft.com/office/drawing/2014/main" id="{20E76873-BE7B-2CCE-6CB2-29F681620431}"/>
                </a:ext>
              </a:extLst>
            </p:cNvPr>
            <p:cNvSpPr/>
            <p:nvPr/>
          </p:nvSpPr>
          <p:spPr>
            <a:xfrm>
              <a:off x="755002" y="3862835"/>
              <a:ext cx="224703" cy="1180"/>
            </a:xfrm>
            <a:custGeom>
              <a:avLst/>
              <a:gdLst>
                <a:gd name="connsiteX0" fmla="*/ 0 w 224703"/>
                <a:gd name="connsiteY0" fmla="*/ 0 h 1180"/>
                <a:gd name="connsiteX1" fmla="*/ 224704 w 224703"/>
                <a:gd name="connsiteY1" fmla="*/ 0 h 11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24703" h="1180">
                  <a:moveTo>
                    <a:pt x="0" y="0"/>
                  </a:moveTo>
                  <a:lnTo>
                    <a:pt x="224704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77" name="Forma livre: Forma 1576">
              <a:extLst>
                <a:ext uri="{FF2B5EF4-FFF2-40B4-BE49-F238E27FC236}">
                  <a16:creationId xmlns:a16="http://schemas.microsoft.com/office/drawing/2014/main" id="{21A19FE5-EA8C-22E2-1A8D-ADF75B36C662}"/>
                </a:ext>
              </a:extLst>
            </p:cNvPr>
            <p:cNvSpPr/>
            <p:nvPr/>
          </p:nvSpPr>
          <p:spPr>
            <a:xfrm>
              <a:off x="746964" y="3816816"/>
              <a:ext cx="240779" cy="1180"/>
            </a:xfrm>
            <a:custGeom>
              <a:avLst/>
              <a:gdLst>
                <a:gd name="connsiteX0" fmla="*/ 0 w 240779"/>
                <a:gd name="connsiteY0" fmla="*/ 0 h 1180"/>
                <a:gd name="connsiteX1" fmla="*/ 240779 w 240779"/>
                <a:gd name="connsiteY1" fmla="*/ 0 h 11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40779" h="1180">
                  <a:moveTo>
                    <a:pt x="0" y="0"/>
                  </a:moveTo>
                  <a:lnTo>
                    <a:pt x="240779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578" name="Gráfico 13">
              <a:extLst>
                <a:ext uri="{FF2B5EF4-FFF2-40B4-BE49-F238E27FC236}">
                  <a16:creationId xmlns:a16="http://schemas.microsoft.com/office/drawing/2014/main" id="{55C934B9-8F74-6592-CD78-BE624AE5A504}"/>
                </a:ext>
              </a:extLst>
            </p:cNvPr>
            <p:cNvGrpSpPr/>
            <p:nvPr/>
          </p:nvGrpSpPr>
          <p:grpSpPr>
            <a:xfrm>
              <a:off x="765081" y="3791912"/>
              <a:ext cx="204544" cy="1180"/>
              <a:chOff x="765081" y="3791912"/>
              <a:chExt cx="204544" cy="1180"/>
            </a:xfrm>
          </p:grpSpPr>
          <p:sp>
            <p:nvSpPr>
              <p:cNvPr id="1579" name="Forma livre: Forma 1578">
                <a:extLst>
                  <a:ext uri="{FF2B5EF4-FFF2-40B4-BE49-F238E27FC236}">
                    <a16:creationId xmlns:a16="http://schemas.microsoft.com/office/drawing/2014/main" id="{EAAACD0F-E8C2-3511-065C-A29C5A56495F}"/>
                  </a:ext>
                </a:extLst>
              </p:cNvPr>
              <p:cNvSpPr/>
              <p:nvPr/>
            </p:nvSpPr>
            <p:spPr>
              <a:xfrm>
                <a:off x="765081" y="3791912"/>
                <a:ext cx="33815" cy="1180"/>
              </a:xfrm>
              <a:custGeom>
                <a:avLst/>
                <a:gdLst>
                  <a:gd name="connsiteX0" fmla="*/ 0 w 33815"/>
                  <a:gd name="connsiteY0" fmla="*/ 0 h 1180"/>
                  <a:gd name="connsiteX1" fmla="*/ 33815 w 33815"/>
                  <a:gd name="connsiteY1" fmla="*/ 0 h 11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3815" h="1180">
                    <a:moveTo>
                      <a:pt x="0" y="0"/>
                    </a:moveTo>
                    <a:lnTo>
                      <a:pt x="33815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580" name="Forma livre: Forma 1579">
                <a:extLst>
                  <a:ext uri="{FF2B5EF4-FFF2-40B4-BE49-F238E27FC236}">
                    <a16:creationId xmlns:a16="http://schemas.microsoft.com/office/drawing/2014/main" id="{DF3296D2-72C5-B443-C12D-1E18B1715963}"/>
                  </a:ext>
                </a:extLst>
              </p:cNvPr>
              <p:cNvSpPr/>
              <p:nvPr/>
            </p:nvSpPr>
            <p:spPr>
              <a:xfrm>
                <a:off x="935999" y="3791912"/>
                <a:ext cx="33626" cy="1180"/>
              </a:xfrm>
              <a:custGeom>
                <a:avLst/>
                <a:gdLst>
                  <a:gd name="connsiteX0" fmla="*/ 0 w 33626"/>
                  <a:gd name="connsiteY0" fmla="*/ 0 h 1180"/>
                  <a:gd name="connsiteX1" fmla="*/ 33627 w 33626"/>
                  <a:gd name="connsiteY1" fmla="*/ 0 h 11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3626" h="1180">
                    <a:moveTo>
                      <a:pt x="0" y="0"/>
                    </a:moveTo>
                    <a:lnTo>
                      <a:pt x="33627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581" name="Gráfico 13">
              <a:extLst>
                <a:ext uri="{FF2B5EF4-FFF2-40B4-BE49-F238E27FC236}">
                  <a16:creationId xmlns:a16="http://schemas.microsoft.com/office/drawing/2014/main" id="{216A9671-FC7B-CA58-E376-332F99B2BEE6}"/>
                </a:ext>
              </a:extLst>
            </p:cNvPr>
            <p:cNvGrpSpPr/>
            <p:nvPr/>
          </p:nvGrpSpPr>
          <p:grpSpPr>
            <a:xfrm>
              <a:off x="767005" y="3560067"/>
              <a:ext cx="200696" cy="167046"/>
              <a:chOff x="767005" y="3560067"/>
              <a:chExt cx="200696" cy="167046"/>
            </a:xfrm>
            <a:noFill/>
          </p:grpSpPr>
          <p:sp>
            <p:nvSpPr>
              <p:cNvPr id="1582" name="Forma livre: Forma 1581">
                <a:extLst>
                  <a:ext uri="{FF2B5EF4-FFF2-40B4-BE49-F238E27FC236}">
                    <a16:creationId xmlns:a16="http://schemas.microsoft.com/office/drawing/2014/main" id="{964D1B1E-10EF-AAAA-AD20-53DA2489CA90}"/>
                  </a:ext>
                </a:extLst>
              </p:cNvPr>
              <p:cNvSpPr/>
              <p:nvPr/>
            </p:nvSpPr>
            <p:spPr>
              <a:xfrm>
                <a:off x="767005" y="3560067"/>
                <a:ext cx="13103" cy="167046"/>
              </a:xfrm>
              <a:custGeom>
                <a:avLst/>
                <a:gdLst>
                  <a:gd name="connsiteX0" fmla="*/ 13066 w 13103"/>
                  <a:gd name="connsiteY0" fmla="*/ 167047 h 167046"/>
                  <a:gd name="connsiteX1" fmla="*/ 13066 w 13103"/>
                  <a:gd name="connsiteY1" fmla="*/ 27383 h 167046"/>
                  <a:gd name="connsiteX2" fmla="*/ 0 w 13103"/>
                  <a:gd name="connsiteY2" fmla="*/ 0 h 1670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3103" h="167046">
                    <a:moveTo>
                      <a:pt x="13066" y="167047"/>
                    </a:moveTo>
                    <a:lnTo>
                      <a:pt x="13066" y="27383"/>
                    </a:lnTo>
                    <a:cubicBezTo>
                      <a:pt x="13066" y="27383"/>
                      <a:pt x="14482" y="12039"/>
                      <a:pt x="0" y="0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583" name="Forma livre: Forma 1582">
                <a:extLst>
                  <a:ext uri="{FF2B5EF4-FFF2-40B4-BE49-F238E27FC236}">
                    <a16:creationId xmlns:a16="http://schemas.microsoft.com/office/drawing/2014/main" id="{269D45E4-DEF9-7BC0-72AB-7818DD7DD99A}"/>
                  </a:ext>
                </a:extLst>
              </p:cNvPr>
              <p:cNvSpPr/>
              <p:nvPr/>
            </p:nvSpPr>
            <p:spPr>
              <a:xfrm>
                <a:off x="954598" y="3560067"/>
                <a:ext cx="13103" cy="167046"/>
              </a:xfrm>
              <a:custGeom>
                <a:avLst/>
                <a:gdLst>
                  <a:gd name="connsiteX0" fmla="*/ 38 w 13103"/>
                  <a:gd name="connsiteY0" fmla="*/ 167047 h 167046"/>
                  <a:gd name="connsiteX1" fmla="*/ 38 w 13103"/>
                  <a:gd name="connsiteY1" fmla="*/ 27383 h 167046"/>
                  <a:gd name="connsiteX2" fmla="*/ 13104 w 13103"/>
                  <a:gd name="connsiteY2" fmla="*/ 0 h 1670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3103" h="167046">
                    <a:moveTo>
                      <a:pt x="38" y="167047"/>
                    </a:moveTo>
                    <a:lnTo>
                      <a:pt x="38" y="27383"/>
                    </a:lnTo>
                    <a:cubicBezTo>
                      <a:pt x="38" y="27383"/>
                      <a:pt x="-1378" y="12039"/>
                      <a:pt x="13104" y="0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584" name="Forma livre: Forma 1583">
              <a:extLst>
                <a:ext uri="{FF2B5EF4-FFF2-40B4-BE49-F238E27FC236}">
                  <a16:creationId xmlns:a16="http://schemas.microsoft.com/office/drawing/2014/main" id="{C7C280F3-3DA8-71FC-4132-AEAB38A6B6E2}"/>
                </a:ext>
              </a:extLst>
            </p:cNvPr>
            <p:cNvSpPr/>
            <p:nvPr/>
          </p:nvSpPr>
          <p:spPr>
            <a:xfrm>
              <a:off x="816991" y="3714921"/>
              <a:ext cx="100726" cy="100714"/>
            </a:xfrm>
            <a:custGeom>
              <a:avLst/>
              <a:gdLst>
                <a:gd name="connsiteX0" fmla="*/ 100726 w 100726"/>
                <a:gd name="connsiteY0" fmla="*/ 100714 h 100714"/>
                <a:gd name="connsiteX1" fmla="*/ 100726 w 100726"/>
                <a:gd name="connsiteY1" fmla="*/ 16524 h 100714"/>
                <a:gd name="connsiteX2" fmla="*/ 50363 w 100726"/>
                <a:gd name="connsiteY2" fmla="*/ 0 h 100714"/>
                <a:gd name="connsiteX3" fmla="*/ 0 w 100726"/>
                <a:gd name="connsiteY3" fmla="*/ 16524 h 100714"/>
                <a:gd name="connsiteX4" fmla="*/ 0 w 100726"/>
                <a:gd name="connsiteY4" fmla="*/ 100714 h 100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0726" h="100714">
                  <a:moveTo>
                    <a:pt x="100726" y="100714"/>
                  </a:moveTo>
                  <a:lnTo>
                    <a:pt x="100726" y="16524"/>
                  </a:lnTo>
                  <a:cubicBezTo>
                    <a:pt x="100726" y="16524"/>
                    <a:pt x="85772" y="0"/>
                    <a:pt x="50363" y="0"/>
                  </a:cubicBezTo>
                  <a:cubicBezTo>
                    <a:pt x="14954" y="0"/>
                    <a:pt x="0" y="16524"/>
                    <a:pt x="0" y="16524"/>
                  </a:cubicBezTo>
                  <a:lnTo>
                    <a:pt x="0" y="100714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585" name="Gráfico 13">
              <a:extLst>
                <a:ext uri="{FF2B5EF4-FFF2-40B4-BE49-F238E27FC236}">
                  <a16:creationId xmlns:a16="http://schemas.microsoft.com/office/drawing/2014/main" id="{7FB1CFB6-BB77-13E3-104B-F4A5E883E727}"/>
                </a:ext>
              </a:extLst>
            </p:cNvPr>
            <p:cNvGrpSpPr/>
            <p:nvPr/>
          </p:nvGrpSpPr>
          <p:grpSpPr>
            <a:xfrm>
              <a:off x="841387" y="3746388"/>
              <a:ext cx="51932" cy="45641"/>
              <a:chOff x="841387" y="3746388"/>
              <a:chExt cx="51932" cy="45641"/>
            </a:xfrm>
          </p:grpSpPr>
          <p:sp>
            <p:nvSpPr>
              <p:cNvPr id="1586" name="Forma livre: Forma 1585">
                <a:extLst>
                  <a:ext uri="{FF2B5EF4-FFF2-40B4-BE49-F238E27FC236}">
                    <a16:creationId xmlns:a16="http://schemas.microsoft.com/office/drawing/2014/main" id="{6D917281-0DD4-3970-F11C-EFFDB8716409}"/>
                  </a:ext>
                </a:extLst>
              </p:cNvPr>
              <p:cNvSpPr/>
              <p:nvPr/>
            </p:nvSpPr>
            <p:spPr>
              <a:xfrm>
                <a:off x="841387" y="3746388"/>
                <a:ext cx="1180" cy="45641"/>
              </a:xfrm>
              <a:custGeom>
                <a:avLst/>
                <a:gdLst>
                  <a:gd name="connsiteX0" fmla="*/ 0 w 1180"/>
                  <a:gd name="connsiteY0" fmla="*/ 0 h 45641"/>
                  <a:gd name="connsiteX1" fmla="*/ 0 w 1180"/>
                  <a:gd name="connsiteY1" fmla="*/ 45642 h 456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80" h="45641">
                    <a:moveTo>
                      <a:pt x="0" y="0"/>
                    </a:moveTo>
                    <a:lnTo>
                      <a:pt x="0" y="45642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587" name="Forma livre: Forma 1586">
                <a:extLst>
                  <a:ext uri="{FF2B5EF4-FFF2-40B4-BE49-F238E27FC236}">
                    <a16:creationId xmlns:a16="http://schemas.microsoft.com/office/drawing/2014/main" id="{4275896A-9173-FFDB-3608-DF7745F0B824}"/>
                  </a:ext>
                </a:extLst>
              </p:cNvPr>
              <p:cNvSpPr/>
              <p:nvPr/>
            </p:nvSpPr>
            <p:spPr>
              <a:xfrm>
                <a:off x="867354" y="3746388"/>
                <a:ext cx="1180" cy="45641"/>
              </a:xfrm>
              <a:custGeom>
                <a:avLst/>
                <a:gdLst>
                  <a:gd name="connsiteX0" fmla="*/ 0 w 1180"/>
                  <a:gd name="connsiteY0" fmla="*/ 0 h 45641"/>
                  <a:gd name="connsiteX1" fmla="*/ 0 w 1180"/>
                  <a:gd name="connsiteY1" fmla="*/ 45642 h 456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80" h="45641">
                    <a:moveTo>
                      <a:pt x="0" y="0"/>
                    </a:moveTo>
                    <a:lnTo>
                      <a:pt x="0" y="45642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588" name="Forma livre: Forma 1587">
                <a:extLst>
                  <a:ext uri="{FF2B5EF4-FFF2-40B4-BE49-F238E27FC236}">
                    <a16:creationId xmlns:a16="http://schemas.microsoft.com/office/drawing/2014/main" id="{FDB41AB9-14BD-C836-E31F-38A818BE58CB}"/>
                  </a:ext>
                </a:extLst>
              </p:cNvPr>
              <p:cNvSpPr/>
              <p:nvPr/>
            </p:nvSpPr>
            <p:spPr>
              <a:xfrm>
                <a:off x="893320" y="3746388"/>
                <a:ext cx="1180" cy="45641"/>
              </a:xfrm>
              <a:custGeom>
                <a:avLst/>
                <a:gdLst>
                  <a:gd name="connsiteX0" fmla="*/ 0 w 1180"/>
                  <a:gd name="connsiteY0" fmla="*/ 0 h 45641"/>
                  <a:gd name="connsiteX1" fmla="*/ 0 w 1180"/>
                  <a:gd name="connsiteY1" fmla="*/ 45642 h 456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80" h="45641">
                    <a:moveTo>
                      <a:pt x="0" y="0"/>
                    </a:moveTo>
                    <a:lnTo>
                      <a:pt x="0" y="45642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589" name="Gráfico 13">
              <a:extLst>
                <a:ext uri="{FF2B5EF4-FFF2-40B4-BE49-F238E27FC236}">
                  <a16:creationId xmlns:a16="http://schemas.microsoft.com/office/drawing/2014/main" id="{07A2771D-059A-6B45-3AAC-3F2E6EDB1A7F}"/>
                </a:ext>
              </a:extLst>
            </p:cNvPr>
            <p:cNvGrpSpPr/>
            <p:nvPr/>
          </p:nvGrpSpPr>
          <p:grpSpPr>
            <a:xfrm>
              <a:off x="764279" y="3728294"/>
              <a:ext cx="206149" cy="21847"/>
              <a:chOff x="764279" y="3728294"/>
              <a:chExt cx="206149" cy="21847"/>
            </a:xfrm>
            <a:noFill/>
          </p:grpSpPr>
          <p:sp>
            <p:nvSpPr>
              <p:cNvPr id="1590" name="Forma livre: Forma 1589">
                <a:extLst>
                  <a:ext uri="{FF2B5EF4-FFF2-40B4-BE49-F238E27FC236}">
                    <a16:creationId xmlns:a16="http://schemas.microsoft.com/office/drawing/2014/main" id="{BF4F6D55-EC6C-9B4C-7A40-636CE4F24DE0}"/>
                  </a:ext>
                </a:extLst>
              </p:cNvPr>
              <p:cNvSpPr/>
              <p:nvPr/>
            </p:nvSpPr>
            <p:spPr>
              <a:xfrm>
                <a:off x="764279" y="3728294"/>
                <a:ext cx="34842" cy="21847"/>
              </a:xfrm>
              <a:custGeom>
                <a:avLst/>
                <a:gdLst>
                  <a:gd name="connsiteX0" fmla="*/ 34842 w 34842"/>
                  <a:gd name="connsiteY0" fmla="*/ 0 h 21847"/>
                  <a:gd name="connsiteX1" fmla="*/ 0 w 34842"/>
                  <a:gd name="connsiteY1" fmla="*/ 0 h 21847"/>
                  <a:gd name="connsiteX2" fmla="*/ 0 w 34842"/>
                  <a:gd name="connsiteY2" fmla="*/ 21847 h 218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4842" h="21847">
                    <a:moveTo>
                      <a:pt x="34842" y="0"/>
                    </a:moveTo>
                    <a:lnTo>
                      <a:pt x="0" y="0"/>
                    </a:lnTo>
                    <a:lnTo>
                      <a:pt x="0" y="21847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591" name="Forma livre: Forma 1590">
                <a:extLst>
                  <a:ext uri="{FF2B5EF4-FFF2-40B4-BE49-F238E27FC236}">
                    <a16:creationId xmlns:a16="http://schemas.microsoft.com/office/drawing/2014/main" id="{26BCCD79-979D-CA3E-C873-B2D1926FD671}"/>
                  </a:ext>
                </a:extLst>
              </p:cNvPr>
              <p:cNvSpPr/>
              <p:nvPr/>
            </p:nvSpPr>
            <p:spPr>
              <a:xfrm>
                <a:off x="935586" y="3728294"/>
                <a:ext cx="34842" cy="21847"/>
              </a:xfrm>
              <a:custGeom>
                <a:avLst/>
                <a:gdLst>
                  <a:gd name="connsiteX0" fmla="*/ 0 w 34842"/>
                  <a:gd name="connsiteY0" fmla="*/ 0 h 21847"/>
                  <a:gd name="connsiteX1" fmla="*/ 34842 w 34842"/>
                  <a:gd name="connsiteY1" fmla="*/ 0 h 21847"/>
                  <a:gd name="connsiteX2" fmla="*/ 34842 w 34842"/>
                  <a:gd name="connsiteY2" fmla="*/ 21847 h 218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4842" h="21847">
                    <a:moveTo>
                      <a:pt x="0" y="0"/>
                    </a:moveTo>
                    <a:lnTo>
                      <a:pt x="34842" y="0"/>
                    </a:lnTo>
                    <a:lnTo>
                      <a:pt x="34842" y="21847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592" name="Gráfico 13">
              <a:extLst>
                <a:ext uri="{FF2B5EF4-FFF2-40B4-BE49-F238E27FC236}">
                  <a16:creationId xmlns:a16="http://schemas.microsoft.com/office/drawing/2014/main" id="{B14D80F0-8469-2A49-3D09-2E52DA6BFA87}"/>
                </a:ext>
              </a:extLst>
            </p:cNvPr>
            <p:cNvGrpSpPr/>
            <p:nvPr/>
          </p:nvGrpSpPr>
          <p:grpSpPr>
            <a:xfrm>
              <a:off x="745488" y="3767114"/>
              <a:ext cx="243730" cy="126055"/>
              <a:chOff x="745488" y="3767114"/>
              <a:chExt cx="243730" cy="126055"/>
            </a:xfrm>
            <a:noFill/>
          </p:grpSpPr>
          <p:sp>
            <p:nvSpPr>
              <p:cNvPr id="1593" name="Forma livre: Forma 1592">
                <a:extLst>
                  <a:ext uri="{FF2B5EF4-FFF2-40B4-BE49-F238E27FC236}">
                    <a16:creationId xmlns:a16="http://schemas.microsoft.com/office/drawing/2014/main" id="{0EFB1FD2-BD44-BA71-F993-A9C2E957CB89}"/>
                  </a:ext>
                </a:extLst>
              </p:cNvPr>
              <p:cNvSpPr/>
              <p:nvPr/>
            </p:nvSpPr>
            <p:spPr>
              <a:xfrm>
                <a:off x="745488" y="3767114"/>
                <a:ext cx="56146" cy="126055"/>
              </a:xfrm>
              <a:custGeom>
                <a:avLst/>
                <a:gdLst>
                  <a:gd name="connsiteX0" fmla="*/ 56146 w 56146"/>
                  <a:gd name="connsiteY0" fmla="*/ 112954 h 126055"/>
                  <a:gd name="connsiteX1" fmla="*/ 56146 w 56146"/>
                  <a:gd name="connsiteY1" fmla="*/ 121192 h 126055"/>
                  <a:gd name="connsiteX2" fmla="*/ 51272 w 56146"/>
                  <a:gd name="connsiteY2" fmla="*/ 126055 h 126055"/>
                  <a:gd name="connsiteX3" fmla="*/ 12688 w 56146"/>
                  <a:gd name="connsiteY3" fmla="*/ 126055 h 126055"/>
                  <a:gd name="connsiteX4" fmla="*/ 7814 w 56146"/>
                  <a:gd name="connsiteY4" fmla="*/ 121192 h 126055"/>
                  <a:gd name="connsiteX5" fmla="*/ 7814 w 56146"/>
                  <a:gd name="connsiteY5" fmla="*/ 94895 h 126055"/>
                  <a:gd name="connsiteX6" fmla="*/ 0 w 56146"/>
                  <a:gd name="connsiteY6" fmla="*/ 83824 h 126055"/>
                  <a:gd name="connsiteX7" fmla="*/ 0 w 56146"/>
                  <a:gd name="connsiteY7" fmla="*/ 14163 h 126055"/>
                  <a:gd name="connsiteX8" fmla="*/ 14045 w 56146"/>
                  <a:gd name="connsiteY8" fmla="*/ 0 h 126055"/>
                  <a:gd name="connsiteX9" fmla="*/ 53231 w 56146"/>
                  <a:gd name="connsiteY9" fmla="*/ 0 h 1260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56146" h="126055">
                    <a:moveTo>
                      <a:pt x="56146" y="112954"/>
                    </a:moveTo>
                    <a:lnTo>
                      <a:pt x="56146" y="121192"/>
                    </a:lnTo>
                    <a:cubicBezTo>
                      <a:pt x="56146" y="123872"/>
                      <a:pt x="53951" y="126055"/>
                      <a:pt x="51272" y="126055"/>
                    </a:cubicBezTo>
                    <a:lnTo>
                      <a:pt x="12688" y="126055"/>
                    </a:lnTo>
                    <a:cubicBezTo>
                      <a:pt x="10009" y="126055"/>
                      <a:pt x="7814" y="123872"/>
                      <a:pt x="7814" y="121192"/>
                    </a:cubicBezTo>
                    <a:lnTo>
                      <a:pt x="7814" y="94895"/>
                    </a:lnTo>
                    <a:cubicBezTo>
                      <a:pt x="3411" y="93160"/>
                      <a:pt x="0" y="88841"/>
                      <a:pt x="0" y="83824"/>
                    </a:cubicBezTo>
                    <a:lnTo>
                      <a:pt x="0" y="14163"/>
                    </a:lnTo>
                    <a:cubicBezTo>
                      <a:pt x="0" y="6374"/>
                      <a:pt x="6256" y="0"/>
                      <a:pt x="14045" y="0"/>
                    </a:cubicBezTo>
                    <a:lnTo>
                      <a:pt x="53231" y="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594" name="Forma livre: Forma 1593">
                <a:extLst>
                  <a:ext uri="{FF2B5EF4-FFF2-40B4-BE49-F238E27FC236}">
                    <a16:creationId xmlns:a16="http://schemas.microsoft.com/office/drawing/2014/main" id="{15B58CE7-675D-B378-FCA9-0CD88D7C4BB4}"/>
                  </a:ext>
                </a:extLst>
              </p:cNvPr>
              <p:cNvSpPr/>
              <p:nvPr/>
            </p:nvSpPr>
            <p:spPr>
              <a:xfrm>
                <a:off x="933072" y="3767114"/>
                <a:ext cx="56146" cy="126055"/>
              </a:xfrm>
              <a:custGeom>
                <a:avLst/>
                <a:gdLst>
                  <a:gd name="connsiteX0" fmla="*/ 0 w 56146"/>
                  <a:gd name="connsiteY0" fmla="*/ 112954 h 126055"/>
                  <a:gd name="connsiteX1" fmla="*/ 0 w 56146"/>
                  <a:gd name="connsiteY1" fmla="*/ 121192 h 126055"/>
                  <a:gd name="connsiteX2" fmla="*/ 4875 w 56146"/>
                  <a:gd name="connsiteY2" fmla="*/ 126055 h 126055"/>
                  <a:gd name="connsiteX3" fmla="*/ 43458 w 56146"/>
                  <a:gd name="connsiteY3" fmla="*/ 126055 h 126055"/>
                  <a:gd name="connsiteX4" fmla="*/ 48333 w 56146"/>
                  <a:gd name="connsiteY4" fmla="*/ 121192 h 126055"/>
                  <a:gd name="connsiteX5" fmla="*/ 48333 w 56146"/>
                  <a:gd name="connsiteY5" fmla="*/ 94895 h 126055"/>
                  <a:gd name="connsiteX6" fmla="*/ 56146 w 56146"/>
                  <a:gd name="connsiteY6" fmla="*/ 83824 h 126055"/>
                  <a:gd name="connsiteX7" fmla="*/ 56146 w 56146"/>
                  <a:gd name="connsiteY7" fmla="*/ 14163 h 126055"/>
                  <a:gd name="connsiteX8" fmla="*/ 42101 w 56146"/>
                  <a:gd name="connsiteY8" fmla="*/ 0 h 126055"/>
                  <a:gd name="connsiteX9" fmla="*/ 2750 w 56146"/>
                  <a:gd name="connsiteY9" fmla="*/ 0 h 1260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56146" h="126055">
                    <a:moveTo>
                      <a:pt x="0" y="112954"/>
                    </a:moveTo>
                    <a:lnTo>
                      <a:pt x="0" y="121192"/>
                    </a:lnTo>
                    <a:cubicBezTo>
                      <a:pt x="0" y="123872"/>
                      <a:pt x="2195" y="126055"/>
                      <a:pt x="4875" y="126055"/>
                    </a:cubicBezTo>
                    <a:lnTo>
                      <a:pt x="43458" y="126055"/>
                    </a:lnTo>
                    <a:cubicBezTo>
                      <a:pt x="46138" y="126055"/>
                      <a:pt x="48333" y="123872"/>
                      <a:pt x="48333" y="121192"/>
                    </a:cubicBezTo>
                    <a:lnTo>
                      <a:pt x="48333" y="94895"/>
                    </a:lnTo>
                    <a:cubicBezTo>
                      <a:pt x="52735" y="93160"/>
                      <a:pt x="56146" y="88841"/>
                      <a:pt x="56146" y="83824"/>
                    </a:cubicBezTo>
                    <a:lnTo>
                      <a:pt x="56146" y="14163"/>
                    </a:lnTo>
                    <a:cubicBezTo>
                      <a:pt x="56146" y="6374"/>
                      <a:pt x="49891" y="0"/>
                      <a:pt x="42101" y="0"/>
                    </a:cubicBezTo>
                    <a:lnTo>
                      <a:pt x="2750" y="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595" name="Forma livre: Forma 1594">
              <a:extLst>
                <a:ext uri="{FF2B5EF4-FFF2-40B4-BE49-F238E27FC236}">
                  <a16:creationId xmlns:a16="http://schemas.microsoft.com/office/drawing/2014/main" id="{65EC70AB-18B2-9FF5-B864-0FF20C9F245B}"/>
                </a:ext>
              </a:extLst>
            </p:cNvPr>
            <p:cNvSpPr/>
            <p:nvPr/>
          </p:nvSpPr>
          <p:spPr>
            <a:xfrm>
              <a:off x="867354" y="3664676"/>
              <a:ext cx="1180" cy="49336"/>
            </a:xfrm>
            <a:custGeom>
              <a:avLst/>
              <a:gdLst>
                <a:gd name="connsiteX0" fmla="*/ 0 w 1180"/>
                <a:gd name="connsiteY0" fmla="*/ 49336 h 49336"/>
                <a:gd name="connsiteX1" fmla="*/ 0 w 1180"/>
                <a:gd name="connsiteY1" fmla="*/ 0 h 493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80" h="49336">
                  <a:moveTo>
                    <a:pt x="0" y="49336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96" name="Forma livre: Forma 1595">
              <a:extLst>
                <a:ext uri="{FF2B5EF4-FFF2-40B4-BE49-F238E27FC236}">
                  <a16:creationId xmlns:a16="http://schemas.microsoft.com/office/drawing/2014/main" id="{57C78221-DC5A-ED62-5C17-0F31E67C5737}"/>
                </a:ext>
              </a:extLst>
            </p:cNvPr>
            <p:cNvSpPr/>
            <p:nvPr/>
          </p:nvSpPr>
          <p:spPr>
            <a:xfrm>
              <a:off x="780295" y="3614773"/>
              <a:ext cx="174116" cy="19887"/>
            </a:xfrm>
            <a:custGeom>
              <a:avLst/>
              <a:gdLst>
                <a:gd name="connsiteX0" fmla="*/ 174116 w 174116"/>
                <a:gd name="connsiteY0" fmla="*/ 19888 h 19887"/>
                <a:gd name="connsiteX1" fmla="*/ 87058 w 174116"/>
                <a:gd name="connsiteY1" fmla="*/ 0 h 19887"/>
                <a:gd name="connsiteX2" fmla="*/ 0 w 174116"/>
                <a:gd name="connsiteY2" fmla="*/ 19888 h 198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74116" h="19887">
                  <a:moveTo>
                    <a:pt x="174116" y="19888"/>
                  </a:moveTo>
                  <a:cubicBezTo>
                    <a:pt x="174116" y="1818"/>
                    <a:pt x="87164" y="0"/>
                    <a:pt x="87058" y="0"/>
                  </a:cubicBezTo>
                  <a:cubicBezTo>
                    <a:pt x="86952" y="0"/>
                    <a:pt x="0" y="1818"/>
                    <a:pt x="0" y="19888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97" name="Forma livre: Forma 1596">
              <a:extLst>
                <a:ext uri="{FF2B5EF4-FFF2-40B4-BE49-F238E27FC236}">
                  <a16:creationId xmlns:a16="http://schemas.microsoft.com/office/drawing/2014/main" id="{E9311B14-A73E-F818-4390-3BE454F2F58E}"/>
                </a:ext>
              </a:extLst>
            </p:cNvPr>
            <p:cNvSpPr/>
            <p:nvPr/>
          </p:nvSpPr>
          <p:spPr>
            <a:xfrm>
              <a:off x="754164" y="3664558"/>
              <a:ext cx="226391" cy="42018"/>
            </a:xfrm>
            <a:custGeom>
              <a:avLst/>
              <a:gdLst>
                <a:gd name="connsiteX0" fmla="*/ 201842 w 226391"/>
                <a:gd name="connsiteY0" fmla="*/ 42018 h 42018"/>
                <a:gd name="connsiteX1" fmla="*/ 221670 w 226391"/>
                <a:gd name="connsiteY1" fmla="*/ 42018 h 42018"/>
                <a:gd name="connsiteX2" fmla="*/ 226392 w 226391"/>
                <a:gd name="connsiteY2" fmla="*/ 37297 h 42018"/>
                <a:gd name="connsiteX3" fmla="*/ 226392 w 226391"/>
                <a:gd name="connsiteY3" fmla="*/ 4721 h 42018"/>
                <a:gd name="connsiteX4" fmla="*/ 221670 w 226391"/>
                <a:gd name="connsiteY4" fmla="*/ 0 h 42018"/>
                <a:gd name="connsiteX5" fmla="*/ 4721 w 226391"/>
                <a:gd name="connsiteY5" fmla="*/ 0 h 42018"/>
                <a:gd name="connsiteX6" fmla="*/ 0 w 226391"/>
                <a:gd name="connsiteY6" fmla="*/ 4721 h 42018"/>
                <a:gd name="connsiteX7" fmla="*/ 0 w 226391"/>
                <a:gd name="connsiteY7" fmla="*/ 37297 h 42018"/>
                <a:gd name="connsiteX8" fmla="*/ 4721 w 226391"/>
                <a:gd name="connsiteY8" fmla="*/ 42018 h 42018"/>
                <a:gd name="connsiteX9" fmla="*/ 24550 w 226391"/>
                <a:gd name="connsiteY9" fmla="*/ 42018 h 420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26391" h="42018">
                  <a:moveTo>
                    <a:pt x="201842" y="42018"/>
                  </a:moveTo>
                  <a:lnTo>
                    <a:pt x="221670" y="42018"/>
                  </a:lnTo>
                  <a:cubicBezTo>
                    <a:pt x="224267" y="42018"/>
                    <a:pt x="226392" y="39894"/>
                    <a:pt x="226392" y="37297"/>
                  </a:cubicBezTo>
                  <a:lnTo>
                    <a:pt x="226392" y="4721"/>
                  </a:lnTo>
                  <a:cubicBezTo>
                    <a:pt x="226392" y="2125"/>
                    <a:pt x="224267" y="0"/>
                    <a:pt x="221670" y="0"/>
                  </a:cubicBezTo>
                  <a:lnTo>
                    <a:pt x="4721" y="0"/>
                  </a:lnTo>
                  <a:cubicBezTo>
                    <a:pt x="2125" y="0"/>
                    <a:pt x="0" y="2125"/>
                    <a:pt x="0" y="4721"/>
                  </a:cubicBezTo>
                  <a:lnTo>
                    <a:pt x="0" y="37297"/>
                  </a:lnTo>
                  <a:cubicBezTo>
                    <a:pt x="0" y="39894"/>
                    <a:pt x="2125" y="42018"/>
                    <a:pt x="4721" y="42018"/>
                  </a:cubicBezTo>
                  <a:lnTo>
                    <a:pt x="24550" y="42018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598" name="Gráfico 13">
            <a:extLst>
              <a:ext uri="{FF2B5EF4-FFF2-40B4-BE49-F238E27FC236}">
                <a16:creationId xmlns:a16="http://schemas.microsoft.com/office/drawing/2014/main" id="{F717258E-2729-B76D-F688-D8BBBC359A5F}"/>
              </a:ext>
            </a:extLst>
          </p:cNvPr>
          <p:cNvGrpSpPr/>
          <p:nvPr/>
        </p:nvGrpSpPr>
        <p:grpSpPr>
          <a:xfrm>
            <a:off x="1289060" y="4156987"/>
            <a:ext cx="388398" cy="219345"/>
            <a:chOff x="1289060" y="4156987"/>
            <a:chExt cx="388398" cy="219345"/>
          </a:xfrm>
          <a:noFill/>
        </p:grpSpPr>
        <p:grpSp>
          <p:nvGrpSpPr>
            <p:cNvPr id="1599" name="Gráfico 13">
              <a:extLst>
                <a:ext uri="{FF2B5EF4-FFF2-40B4-BE49-F238E27FC236}">
                  <a16:creationId xmlns:a16="http://schemas.microsoft.com/office/drawing/2014/main" id="{44992C67-53F1-A155-697D-DA4EAC9FC384}"/>
                </a:ext>
              </a:extLst>
            </p:cNvPr>
            <p:cNvGrpSpPr/>
            <p:nvPr/>
          </p:nvGrpSpPr>
          <p:grpSpPr>
            <a:xfrm>
              <a:off x="1289060" y="4185397"/>
              <a:ext cx="388398" cy="190935"/>
              <a:chOff x="1289060" y="4185397"/>
              <a:chExt cx="388398" cy="190935"/>
            </a:xfrm>
            <a:noFill/>
          </p:grpSpPr>
          <p:sp>
            <p:nvSpPr>
              <p:cNvPr id="1600" name="Forma livre: Forma 1599">
                <a:extLst>
                  <a:ext uri="{FF2B5EF4-FFF2-40B4-BE49-F238E27FC236}">
                    <a16:creationId xmlns:a16="http://schemas.microsoft.com/office/drawing/2014/main" id="{5A851249-6845-8681-4B78-D9A09F9D921A}"/>
                  </a:ext>
                </a:extLst>
              </p:cNvPr>
              <p:cNvSpPr/>
              <p:nvPr/>
            </p:nvSpPr>
            <p:spPr>
              <a:xfrm>
                <a:off x="1411987" y="4185397"/>
                <a:ext cx="1180" cy="32363"/>
              </a:xfrm>
              <a:custGeom>
                <a:avLst/>
                <a:gdLst>
                  <a:gd name="connsiteX0" fmla="*/ 0 w 1180"/>
                  <a:gd name="connsiteY0" fmla="*/ 32364 h 32363"/>
                  <a:gd name="connsiteX1" fmla="*/ 0 w 1180"/>
                  <a:gd name="connsiteY1" fmla="*/ 0 h 323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80" h="32363">
                    <a:moveTo>
                      <a:pt x="0" y="32364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601" name="Forma livre: Forma 1600">
                <a:extLst>
                  <a:ext uri="{FF2B5EF4-FFF2-40B4-BE49-F238E27FC236}">
                    <a16:creationId xmlns:a16="http://schemas.microsoft.com/office/drawing/2014/main" id="{1F73857A-54F4-157F-1822-70E00024FDBC}"/>
                  </a:ext>
                </a:extLst>
              </p:cNvPr>
              <p:cNvSpPr/>
              <p:nvPr/>
            </p:nvSpPr>
            <p:spPr>
              <a:xfrm>
                <a:off x="1289060" y="4361697"/>
                <a:ext cx="388398" cy="14635"/>
              </a:xfrm>
              <a:custGeom>
                <a:avLst/>
                <a:gdLst>
                  <a:gd name="connsiteX0" fmla="*/ 0 w 388398"/>
                  <a:gd name="connsiteY0" fmla="*/ 0 h 14635"/>
                  <a:gd name="connsiteX1" fmla="*/ 77533 w 388398"/>
                  <a:gd name="connsiteY1" fmla="*/ 0 h 14635"/>
                  <a:gd name="connsiteX2" fmla="*/ 155314 w 388398"/>
                  <a:gd name="connsiteY2" fmla="*/ 0 h 14635"/>
                  <a:gd name="connsiteX3" fmla="*/ 233084 w 388398"/>
                  <a:gd name="connsiteY3" fmla="*/ 0 h 14635"/>
                  <a:gd name="connsiteX4" fmla="*/ 310853 w 388398"/>
                  <a:gd name="connsiteY4" fmla="*/ 0 h 14635"/>
                  <a:gd name="connsiteX5" fmla="*/ 388398 w 388398"/>
                  <a:gd name="connsiteY5" fmla="*/ 0 h 146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388398" h="14635">
                    <a:moveTo>
                      <a:pt x="0" y="0"/>
                    </a:moveTo>
                    <a:cubicBezTo>
                      <a:pt x="0" y="0"/>
                      <a:pt x="32706" y="32930"/>
                      <a:pt x="77533" y="0"/>
                    </a:cubicBezTo>
                    <a:cubicBezTo>
                      <a:pt x="77533" y="0"/>
                      <a:pt x="110475" y="32930"/>
                      <a:pt x="155314" y="0"/>
                    </a:cubicBezTo>
                    <a:cubicBezTo>
                      <a:pt x="155314" y="0"/>
                      <a:pt x="188256" y="32930"/>
                      <a:pt x="233084" y="0"/>
                    </a:cubicBezTo>
                    <a:cubicBezTo>
                      <a:pt x="233084" y="0"/>
                      <a:pt x="266038" y="32930"/>
                      <a:pt x="310853" y="0"/>
                    </a:cubicBezTo>
                    <a:cubicBezTo>
                      <a:pt x="310853" y="0"/>
                      <a:pt x="343559" y="32930"/>
                      <a:pt x="388398" y="0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602" name="Forma livre: Forma 1601">
                <a:extLst>
                  <a:ext uri="{FF2B5EF4-FFF2-40B4-BE49-F238E27FC236}">
                    <a16:creationId xmlns:a16="http://schemas.microsoft.com/office/drawing/2014/main" id="{A8C21A19-8855-D3A9-AD4D-653FE5706FD3}"/>
                  </a:ext>
                </a:extLst>
              </p:cNvPr>
              <p:cNvSpPr/>
              <p:nvPr/>
            </p:nvSpPr>
            <p:spPr>
              <a:xfrm>
                <a:off x="1324256" y="4286206"/>
                <a:ext cx="344762" cy="64644"/>
              </a:xfrm>
              <a:custGeom>
                <a:avLst/>
                <a:gdLst>
                  <a:gd name="connsiteX0" fmla="*/ 303382 w 344762"/>
                  <a:gd name="connsiteY0" fmla="*/ 63181 h 64644"/>
                  <a:gd name="connsiteX1" fmla="*/ 344763 w 344762"/>
                  <a:gd name="connsiteY1" fmla="*/ 0 h 64644"/>
                  <a:gd name="connsiteX2" fmla="*/ 273485 w 344762"/>
                  <a:gd name="connsiteY2" fmla="*/ 0 h 64644"/>
                  <a:gd name="connsiteX3" fmla="*/ 242927 w 344762"/>
                  <a:gd name="connsiteY3" fmla="*/ 26745 h 64644"/>
                  <a:gd name="connsiteX4" fmla="*/ 102862 w 344762"/>
                  <a:gd name="connsiteY4" fmla="*/ 26745 h 64644"/>
                  <a:gd name="connsiteX5" fmla="*/ 79941 w 344762"/>
                  <a:gd name="connsiteY5" fmla="*/ 130 h 64644"/>
                  <a:gd name="connsiteX6" fmla="*/ 0 w 344762"/>
                  <a:gd name="connsiteY6" fmla="*/ 130 h 64644"/>
                  <a:gd name="connsiteX7" fmla="*/ 0 w 344762"/>
                  <a:gd name="connsiteY7" fmla="*/ 33261 h 64644"/>
                  <a:gd name="connsiteX8" fmla="*/ 11484 w 344762"/>
                  <a:gd name="connsiteY8" fmla="*/ 64645 h 646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44762" h="64644">
                    <a:moveTo>
                      <a:pt x="303382" y="63181"/>
                    </a:moveTo>
                    <a:lnTo>
                      <a:pt x="344763" y="0"/>
                    </a:lnTo>
                    <a:lnTo>
                      <a:pt x="273485" y="0"/>
                    </a:lnTo>
                    <a:lnTo>
                      <a:pt x="242927" y="26745"/>
                    </a:lnTo>
                    <a:lnTo>
                      <a:pt x="102862" y="26745"/>
                    </a:lnTo>
                    <a:lnTo>
                      <a:pt x="79941" y="130"/>
                    </a:lnTo>
                    <a:lnTo>
                      <a:pt x="0" y="130"/>
                    </a:lnTo>
                    <a:lnTo>
                      <a:pt x="0" y="33261"/>
                    </a:lnTo>
                    <a:cubicBezTo>
                      <a:pt x="0" y="36943"/>
                      <a:pt x="0" y="52794"/>
                      <a:pt x="11484" y="64645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603" name="Forma livre: Forma 1602">
                <a:extLst>
                  <a:ext uri="{FF2B5EF4-FFF2-40B4-BE49-F238E27FC236}">
                    <a16:creationId xmlns:a16="http://schemas.microsoft.com/office/drawing/2014/main" id="{7644FFAD-5421-A4B9-9087-AFD5978DDA17}"/>
                  </a:ext>
                </a:extLst>
              </p:cNvPr>
              <p:cNvSpPr/>
              <p:nvPr/>
            </p:nvSpPr>
            <p:spPr>
              <a:xfrm>
                <a:off x="1347696" y="4219814"/>
                <a:ext cx="84284" cy="64644"/>
              </a:xfrm>
              <a:custGeom>
                <a:avLst/>
                <a:gdLst>
                  <a:gd name="connsiteX0" fmla="*/ 84285 w 84284"/>
                  <a:gd name="connsiteY0" fmla="*/ 64645 h 64644"/>
                  <a:gd name="connsiteX1" fmla="*/ 84285 w 84284"/>
                  <a:gd name="connsiteY1" fmla="*/ 0 h 64644"/>
                  <a:gd name="connsiteX2" fmla="*/ 18483 w 84284"/>
                  <a:gd name="connsiteY2" fmla="*/ 0 h 64644"/>
                  <a:gd name="connsiteX3" fmla="*/ 0 w 84284"/>
                  <a:gd name="connsiteY3" fmla="*/ 64645 h 646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4284" h="64644">
                    <a:moveTo>
                      <a:pt x="84285" y="64645"/>
                    </a:moveTo>
                    <a:lnTo>
                      <a:pt x="84285" y="0"/>
                    </a:lnTo>
                    <a:lnTo>
                      <a:pt x="18483" y="0"/>
                    </a:lnTo>
                    <a:lnTo>
                      <a:pt x="0" y="64645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604" name="Forma livre: Forma 1603">
                <a:extLst>
                  <a:ext uri="{FF2B5EF4-FFF2-40B4-BE49-F238E27FC236}">
                    <a16:creationId xmlns:a16="http://schemas.microsoft.com/office/drawing/2014/main" id="{6A887711-038D-6A47-CDD7-BCB0C03F2858}"/>
                  </a:ext>
                </a:extLst>
              </p:cNvPr>
              <p:cNvSpPr/>
              <p:nvPr/>
            </p:nvSpPr>
            <p:spPr>
              <a:xfrm>
                <a:off x="1407761" y="4242417"/>
                <a:ext cx="1180" cy="21540"/>
              </a:xfrm>
              <a:custGeom>
                <a:avLst/>
                <a:gdLst>
                  <a:gd name="connsiteX0" fmla="*/ 0 w 1180"/>
                  <a:gd name="connsiteY0" fmla="*/ 0 h 21540"/>
                  <a:gd name="connsiteX1" fmla="*/ 0 w 1180"/>
                  <a:gd name="connsiteY1" fmla="*/ 21540 h 215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80" h="21540">
                    <a:moveTo>
                      <a:pt x="0" y="0"/>
                    </a:moveTo>
                    <a:lnTo>
                      <a:pt x="0" y="2154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605" name="Forma livre: Forma 1604">
                <a:extLst>
                  <a:ext uri="{FF2B5EF4-FFF2-40B4-BE49-F238E27FC236}">
                    <a16:creationId xmlns:a16="http://schemas.microsoft.com/office/drawing/2014/main" id="{5644BAA9-8EFB-7F94-7112-559D6FDD7361}"/>
                  </a:ext>
                </a:extLst>
              </p:cNvPr>
              <p:cNvSpPr/>
              <p:nvPr/>
            </p:nvSpPr>
            <p:spPr>
              <a:xfrm>
                <a:off x="1383837" y="4242417"/>
                <a:ext cx="1180" cy="21540"/>
              </a:xfrm>
              <a:custGeom>
                <a:avLst/>
                <a:gdLst>
                  <a:gd name="connsiteX0" fmla="*/ 0 w 1180"/>
                  <a:gd name="connsiteY0" fmla="*/ 0 h 21540"/>
                  <a:gd name="connsiteX1" fmla="*/ 0 w 1180"/>
                  <a:gd name="connsiteY1" fmla="*/ 21540 h 215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80" h="21540">
                    <a:moveTo>
                      <a:pt x="0" y="0"/>
                    </a:moveTo>
                    <a:lnTo>
                      <a:pt x="0" y="2154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606" name="Forma livre: Forma 1605">
              <a:extLst>
                <a:ext uri="{FF2B5EF4-FFF2-40B4-BE49-F238E27FC236}">
                  <a16:creationId xmlns:a16="http://schemas.microsoft.com/office/drawing/2014/main" id="{0B2A7E18-E2F5-0480-4220-CACFCAEC0697}"/>
                </a:ext>
              </a:extLst>
            </p:cNvPr>
            <p:cNvSpPr/>
            <p:nvPr/>
          </p:nvSpPr>
          <p:spPr>
            <a:xfrm>
              <a:off x="1475947" y="4221006"/>
              <a:ext cx="70640" cy="16217"/>
            </a:xfrm>
            <a:custGeom>
              <a:avLst/>
              <a:gdLst>
                <a:gd name="connsiteX0" fmla="*/ 0 w 70640"/>
                <a:gd name="connsiteY0" fmla="*/ 16217 h 16217"/>
                <a:gd name="connsiteX1" fmla="*/ 23818 w 70640"/>
                <a:gd name="connsiteY1" fmla="*/ 16217 h 16217"/>
                <a:gd name="connsiteX2" fmla="*/ 40024 w 70640"/>
                <a:gd name="connsiteY2" fmla="*/ 0 h 16217"/>
                <a:gd name="connsiteX3" fmla="*/ 56229 w 70640"/>
                <a:gd name="connsiteY3" fmla="*/ 16217 h 16217"/>
                <a:gd name="connsiteX4" fmla="*/ 70640 w 70640"/>
                <a:gd name="connsiteY4" fmla="*/ 16217 h 162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0640" h="16217">
                  <a:moveTo>
                    <a:pt x="0" y="16217"/>
                  </a:moveTo>
                  <a:lnTo>
                    <a:pt x="23818" y="16217"/>
                  </a:lnTo>
                  <a:cubicBezTo>
                    <a:pt x="23818" y="7259"/>
                    <a:pt x="31077" y="0"/>
                    <a:pt x="40024" y="0"/>
                  </a:cubicBezTo>
                  <a:cubicBezTo>
                    <a:pt x="48970" y="0"/>
                    <a:pt x="56229" y="7259"/>
                    <a:pt x="56229" y="16217"/>
                  </a:cubicBezTo>
                  <a:lnTo>
                    <a:pt x="70640" y="16217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07" name="Forma livre: Forma 1606">
              <a:extLst>
                <a:ext uri="{FF2B5EF4-FFF2-40B4-BE49-F238E27FC236}">
                  <a16:creationId xmlns:a16="http://schemas.microsoft.com/office/drawing/2014/main" id="{6FC27363-57A2-7DAE-2708-F62CD0C4C2C2}"/>
                </a:ext>
              </a:extLst>
            </p:cNvPr>
            <p:cNvSpPr/>
            <p:nvPr/>
          </p:nvSpPr>
          <p:spPr>
            <a:xfrm>
              <a:off x="1551285" y="4156987"/>
              <a:ext cx="63381" cy="13242"/>
            </a:xfrm>
            <a:custGeom>
              <a:avLst/>
              <a:gdLst>
                <a:gd name="connsiteX0" fmla="*/ 63382 w 63381"/>
                <a:gd name="connsiteY0" fmla="*/ 13243 h 13242"/>
                <a:gd name="connsiteX1" fmla="*/ 50552 w 63381"/>
                <a:gd name="connsiteY1" fmla="*/ 13243 h 13242"/>
                <a:gd name="connsiteX2" fmla="*/ 37309 w 63381"/>
                <a:gd name="connsiteY2" fmla="*/ 0 h 13242"/>
                <a:gd name="connsiteX3" fmla="*/ 24066 w 63381"/>
                <a:gd name="connsiteY3" fmla="*/ 13243 h 13242"/>
                <a:gd name="connsiteX4" fmla="*/ 0 w 63381"/>
                <a:gd name="connsiteY4" fmla="*/ 13243 h 132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381" h="13242">
                  <a:moveTo>
                    <a:pt x="63382" y="13243"/>
                  </a:moveTo>
                  <a:lnTo>
                    <a:pt x="50552" y="13243"/>
                  </a:lnTo>
                  <a:cubicBezTo>
                    <a:pt x="50552" y="5925"/>
                    <a:pt x="44627" y="0"/>
                    <a:pt x="37309" y="0"/>
                  </a:cubicBezTo>
                  <a:cubicBezTo>
                    <a:pt x="29991" y="0"/>
                    <a:pt x="24066" y="5925"/>
                    <a:pt x="24066" y="13243"/>
                  </a:cubicBezTo>
                  <a:lnTo>
                    <a:pt x="0" y="13243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08" name="Forma livre: Forma 1607">
              <a:extLst>
                <a:ext uri="{FF2B5EF4-FFF2-40B4-BE49-F238E27FC236}">
                  <a16:creationId xmlns:a16="http://schemas.microsoft.com/office/drawing/2014/main" id="{FA526975-E262-AF5E-3357-485ED288AAC1}"/>
                </a:ext>
              </a:extLst>
            </p:cNvPr>
            <p:cNvSpPr/>
            <p:nvPr/>
          </p:nvSpPr>
          <p:spPr>
            <a:xfrm>
              <a:off x="1615221" y="4192255"/>
              <a:ext cx="26462" cy="1180"/>
            </a:xfrm>
            <a:custGeom>
              <a:avLst/>
              <a:gdLst>
                <a:gd name="connsiteX0" fmla="*/ 0 w 26462"/>
                <a:gd name="connsiteY0" fmla="*/ 0 h 1180"/>
                <a:gd name="connsiteX1" fmla="*/ 26462 w 26462"/>
                <a:gd name="connsiteY1" fmla="*/ 0 h 11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6462" h="1180">
                  <a:moveTo>
                    <a:pt x="0" y="0"/>
                  </a:moveTo>
                  <a:lnTo>
                    <a:pt x="26462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09" name="Forma livre: Forma 1608">
              <a:extLst>
                <a:ext uri="{FF2B5EF4-FFF2-40B4-BE49-F238E27FC236}">
                  <a16:creationId xmlns:a16="http://schemas.microsoft.com/office/drawing/2014/main" id="{9D454358-93A5-5E42-7F2E-5BFBFDB7FFD4}"/>
                </a:ext>
              </a:extLst>
            </p:cNvPr>
            <p:cNvSpPr/>
            <p:nvPr/>
          </p:nvSpPr>
          <p:spPr>
            <a:xfrm>
              <a:off x="1578254" y="4197625"/>
              <a:ext cx="11047" cy="1180"/>
            </a:xfrm>
            <a:custGeom>
              <a:avLst/>
              <a:gdLst>
                <a:gd name="connsiteX0" fmla="*/ 0 w 11047"/>
                <a:gd name="connsiteY0" fmla="*/ 0 h 1180"/>
                <a:gd name="connsiteX1" fmla="*/ 11047 w 11047"/>
                <a:gd name="connsiteY1" fmla="*/ 0 h 11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047" h="1180">
                  <a:moveTo>
                    <a:pt x="0" y="0"/>
                  </a:moveTo>
                  <a:lnTo>
                    <a:pt x="11047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610" name="Gráfico 13">
            <a:extLst>
              <a:ext uri="{FF2B5EF4-FFF2-40B4-BE49-F238E27FC236}">
                <a16:creationId xmlns:a16="http://schemas.microsoft.com/office/drawing/2014/main" id="{A6D8B8A2-4542-5248-28E1-006B44674CD6}"/>
              </a:ext>
            </a:extLst>
          </p:cNvPr>
          <p:cNvGrpSpPr/>
          <p:nvPr/>
        </p:nvGrpSpPr>
        <p:grpSpPr>
          <a:xfrm>
            <a:off x="1240101" y="4708254"/>
            <a:ext cx="486315" cy="184690"/>
            <a:chOff x="1240101" y="4708254"/>
            <a:chExt cx="486315" cy="184690"/>
          </a:xfrm>
        </p:grpSpPr>
        <p:sp>
          <p:nvSpPr>
            <p:cNvPr id="1611" name="Forma livre: Forma 1610">
              <a:extLst>
                <a:ext uri="{FF2B5EF4-FFF2-40B4-BE49-F238E27FC236}">
                  <a16:creationId xmlns:a16="http://schemas.microsoft.com/office/drawing/2014/main" id="{5A1E0AD4-F06D-2F09-828D-654FC69ADD60}"/>
                </a:ext>
              </a:extLst>
            </p:cNvPr>
            <p:cNvSpPr/>
            <p:nvPr/>
          </p:nvSpPr>
          <p:spPr>
            <a:xfrm>
              <a:off x="1266882" y="4794368"/>
              <a:ext cx="459534" cy="74241"/>
            </a:xfrm>
            <a:custGeom>
              <a:avLst/>
              <a:gdLst>
                <a:gd name="connsiteX0" fmla="*/ 0 w 459534"/>
                <a:gd name="connsiteY0" fmla="*/ 70995 h 74241"/>
                <a:gd name="connsiteX1" fmla="*/ 14624 w 459534"/>
                <a:gd name="connsiteY1" fmla="*/ 41394 h 74241"/>
                <a:gd name="connsiteX2" fmla="*/ 459534 w 459534"/>
                <a:gd name="connsiteY2" fmla="*/ 449 h 74241"/>
                <a:gd name="connsiteX3" fmla="*/ 386144 w 459534"/>
                <a:gd name="connsiteY3" fmla="*/ 74241 h 742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59534" h="74241">
                  <a:moveTo>
                    <a:pt x="0" y="70995"/>
                  </a:moveTo>
                  <a:cubicBezTo>
                    <a:pt x="8132" y="50930"/>
                    <a:pt x="14624" y="41394"/>
                    <a:pt x="14624" y="41394"/>
                  </a:cubicBezTo>
                  <a:cubicBezTo>
                    <a:pt x="174825" y="-7282"/>
                    <a:pt x="459534" y="449"/>
                    <a:pt x="459534" y="449"/>
                  </a:cubicBezTo>
                  <a:cubicBezTo>
                    <a:pt x="459534" y="449"/>
                    <a:pt x="429036" y="34430"/>
                    <a:pt x="386144" y="74241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12" name="Forma livre: Forma 1611">
              <a:extLst>
                <a:ext uri="{FF2B5EF4-FFF2-40B4-BE49-F238E27FC236}">
                  <a16:creationId xmlns:a16="http://schemas.microsoft.com/office/drawing/2014/main" id="{0621E25B-F9EF-6E52-814E-3AC7A3EEC082}"/>
                </a:ext>
              </a:extLst>
            </p:cNvPr>
            <p:cNvSpPr/>
            <p:nvPr/>
          </p:nvSpPr>
          <p:spPr>
            <a:xfrm>
              <a:off x="1285259" y="4725373"/>
              <a:ext cx="269542" cy="53049"/>
            </a:xfrm>
            <a:custGeom>
              <a:avLst/>
              <a:gdLst>
                <a:gd name="connsiteX0" fmla="*/ 230133 w 269542"/>
                <a:gd name="connsiteY0" fmla="*/ 19635 h 53049"/>
                <a:gd name="connsiteX1" fmla="*/ 126775 w 269542"/>
                <a:gd name="connsiteY1" fmla="*/ 30022 h 53049"/>
                <a:gd name="connsiteX2" fmla="*/ 137587 w 269542"/>
                <a:gd name="connsiteY2" fmla="*/ 53049 h 53049"/>
                <a:gd name="connsiteX3" fmla="*/ 265329 w 269542"/>
                <a:gd name="connsiteY3" fmla="*/ 42875 h 53049"/>
                <a:gd name="connsiteX4" fmla="*/ 269543 w 269542"/>
                <a:gd name="connsiteY4" fmla="*/ 42840 h 53049"/>
                <a:gd name="connsiteX5" fmla="*/ 140396 w 269542"/>
                <a:gd name="connsiteY5" fmla="*/ 963 h 53049"/>
                <a:gd name="connsiteX6" fmla="*/ 0 w 269542"/>
                <a:gd name="connsiteY6" fmla="*/ 29290 h 53049"/>
                <a:gd name="connsiteX7" fmla="*/ 80614 w 269542"/>
                <a:gd name="connsiteY7" fmla="*/ 38024 h 530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69542" h="53049">
                  <a:moveTo>
                    <a:pt x="230133" y="19635"/>
                  </a:moveTo>
                  <a:cubicBezTo>
                    <a:pt x="186698" y="19635"/>
                    <a:pt x="126775" y="30022"/>
                    <a:pt x="126775" y="30022"/>
                  </a:cubicBezTo>
                  <a:lnTo>
                    <a:pt x="137587" y="53049"/>
                  </a:lnTo>
                  <a:cubicBezTo>
                    <a:pt x="168498" y="47644"/>
                    <a:pt x="232411" y="42875"/>
                    <a:pt x="265329" y="42875"/>
                  </a:cubicBezTo>
                  <a:lnTo>
                    <a:pt x="269543" y="42840"/>
                  </a:lnTo>
                  <a:cubicBezTo>
                    <a:pt x="246232" y="25973"/>
                    <a:pt x="193249" y="-5942"/>
                    <a:pt x="140396" y="963"/>
                  </a:cubicBezTo>
                  <a:cubicBezTo>
                    <a:pt x="140396" y="963"/>
                    <a:pt x="60254" y="11196"/>
                    <a:pt x="0" y="29290"/>
                  </a:cubicBezTo>
                  <a:lnTo>
                    <a:pt x="80614" y="38024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13" name="Forma livre: Forma 1612">
              <a:extLst>
                <a:ext uri="{FF2B5EF4-FFF2-40B4-BE49-F238E27FC236}">
                  <a16:creationId xmlns:a16="http://schemas.microsoft.com/office/drawing/2014/main" id="{C4D14627-4697-29C4-9B01-4E6D6C191020}"/>
                </a:ext>
              </a:extLst>
            </p:cNvPr>
            <p:cNvSpPr/>
            <p:nvPr/>
          </p:nvSpPr>
          <p:spPr>
            <a:xfrm>
              <a:off x="1320196" y="4708254"/>
              <a:ext cx="23865" cy="30557"/>
            </a:xfrm>
            <a:custGeom>
              <a:avLst/>
              <a:gdLst>
                <a:gd name="connsiteX0" fmla="*/ 23865 w 23865"/>
                <a:gd name="connsiteY0" fmla="*/ 30558 h 30557"/>
                <a:gd name="connsiteX1" fmla="*/ 0 w 23865"/>
                <a:gd name="connsiteY1" fmla="*/ 0 h 305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3865" h="30557">
                  <a:moveTo>
                    <a:pt x="23865" y="30558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14" name="Forma livre: Forma 1613">
              <a:extLst>
                <a:ext uri="{FF2B5EF4-FFF2-40B4-BE49-F238E27FC236}">
                  <a16:creationId xmlns:a16="http://schemas.microsoft.com/office/drawing/2014/main" id="{7D283382-A5E1-FFB6-98C2-2AC1C3189930}"/>
                </a:ext>
              </a:extLst>
            </p:cNvPr>
            <p:cNvSpPr/>
            <p:nvPr/>
          </p:nvSpPr>
          <p:spPr>
            <a:xfrm>
              <a:off x="1333816" y="4761533"/>
              <a:ext cx="9831" cy="37745"/>
            </a:xfrm>
            <a:custGeom>
              <a:avLst/>
              <a:gdLst>
                <a:gd name="connsiteX0" fmla="*/ 7294 w 9831"/>
                <a:gd name="connsiteY0" fmla="*/ 0 h 37745"/>
                <a:gd name="connsiteX1" fmla="*/ 0 w 9831"/>
                <a:gd name="connsiteY1" fmla="*/ 37746 h 377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831" h="37745">
                  <a:moveTo>
                    <a:pt x="7294" y="0"/>
                  </a:moveTo>
                  <a:cubicBezTo>
                    <a:pt x="7294" y="0"/>
                    <a:pt x="16441" y="17114"/>
                    <a:pt x="0" y="37746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15" name="Forma livre: Forma 1614">
              <a:extLst>
                <a:ext uri="{FF2B5EF4-FFF2-40B4-BE49-F238E27FC236}">
                  <a16:creationId xmlns:a16="http://schemas.microsoft.com/office/drawing/2014/main" id="{37D278A3-BC53-EFC4-EBD4-59198F1E5124}"/>
                </a:ext>
              </a:extLst>
            </p:cNvPr>
            <p:cNvSpPr/>
            <p:nvPr/>
          </p:nvSpPr>
          <p:spPr>
            <a:xfrm>
              <a:off x="1240101" y="4878818"/>
              <a:ext cx="449997" cy="14126"/>
            </a:xfrm>
            <a:custGeom>
              <a:avLst/>
              <a:gdLst>
                <a:gd name="connsiteX0" fmla="*/ 0 w 449997"/>
                <a:gd name="connsiteY0" fmla="*/ 0 h 14126"/>
                <a:gd name="connsiteX1" fmla="*/ 74618 w 449997"/>
                <a:gd name="connsiteY1" fmla="*/ 0 h 14126"/>
                <a:gd name="connsiteX2" fmla="*/ 75102 w 449997"/>
                <a:gd name="connsiteY2" fmla="*/ 0 h 14126"/>
                <a:gd name="connsiteX3" fmla="*/ 149708 w 449997"/>
                <a:gd name="connsiteY3" fmla="*/ 0 h 14126"/>
                <a:gd name="connsiteX4" fmla="*/ 150168 w 449997"/>
                <a:gd name="connsiteY4" fmla="*/ 0 h 14126"/>
                <a:gd name="connsiteX5" fmla="*/ 224798 w 449997"/>
                <a:gd name="connsiteY5" fmla="*/ 0 h 14126"/>
                <a:gd name="connsiteX6" fmla="*/ 225247 w 449997"/>
                <a:gd name="connsiteY6" fmla="*/ 0 h 14126"/>
                <a:gd name="connsiteX7" fmla="*/ 299865 w 449997"/>
                <a:gd name="connsiteY7" fmla="*/ 0 h 14126"/>
                <a:gd name="connsiteX8" fmla="*/ 300313 w 449997"/>
                <a:gd name="connsiteY8" fmla="*/ 0 h 14126"/>
                <a:gd name="connsiteX9" fmla="*/ 374931 w 449997"/>
                <a:gd name="connsiteY9" fmla="*/ 0 h 14126"/>
                <a:gd name="connsiteX10" fmla="*/ 375380 w 449997"/>
                <a:gd name="connsiteY10" fmla="*/ 0 h 14126"/>
                <a:gd name="connsiteX11" fmla="*/ 449998 w 449997"/>
                <a:gd name="connsiteY11" fmla="*/ 0 h 141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449997" h="14126">
                  <a:moveTo>
                    <a:pt x="0" y="0"/>
                  </a:moveTo>
                  <a:cubicBezTo>
                    <a:pt x="0" y="0"/>
                    <a:pt x="31349" y="31785"/>
                    <a:pt x="74618" y="0"/>
                  </a:cubicBezTo>
                  <a:lnTo>
                    <a:pt x="75102" y="0"/>
                  </a:lnTo>
                  <a:cubicBezTo>
                    <a:pt x="75102" y="0"/>
                    <a:pt x="106439" y="31785"/>
                    <a:pt x="149708" y="0"/>
                  </a:cubicBezTo>
                  <a:lnTo>
                    <a:pt x="150168" y="0"/>
                  </a:lnTo>
                  <a:cubicBezTo>
                    <a:pt x="150168" y="0"/>
                    <a:pt x="181505" y="31785"/>
                    <a:pt x="224798" y="0"/>
                  </a:cubicBezTo>
                  <a:lnTo>
                    <a:pt x="225247" y="0"/>
                  </a:lnTo>
                  <a:cubicBezTo>
                    <a:pt x="225247" y="0"/>
                    <a:pt x="256583" y="31785"/>
                    <a:pt x="299865" y="0"/>
                  </a:cubicBezTo>
                  <a:lnTo>
                    <a:pt x="300313" y="0"/>
                  </a:lnTo>
                  <a:cubicBezTo>
                    <a:pt x="300313" y="0"/>
                    <a:pt x="331650" y="31785"/>
                    <a:pt x="374931" y="0"/>
                  </a:cubicBezTo>
                  <a:lnTo>
                    <a:pt x="375380" y="0"/>
                  </a:lnTo>
                  <a:cubicBezTo>
                    <a:pt x="375380" y="0"/>
                    <a:pt x="406716" y="31785"/>
                    <a:pt x="449998" y="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16" name="Forma livre: Forma 1615">
              <a:extLst>
                <a:ext uri="{FF2B5EF4-FFF2-40B4-BE49-F238E27FC236}">
                  <a16:creationId xmlns:a16="http://schemas.microsoft.com/office/drawing/2014/main" id="{9E03AABA-E3D5-6841-90F7-4646C637191F}"/>
                </a:ext>
              </a:extLst>
            </p:cNvPr>
            <p:cNvSpPr/>
            <p:nvPr/>
          </p:nvSpPr>
          <p:spPr>
            <a:xfrm>
              <a:off x="1629042" y="4828219"/>
              <a:ext cx="7353" cy="7365"/>
            </a:xfrm>
            <a:custGeom>
              <a:avLst/>
              <a:gdLst>
                <a:gd name="connsiteX0" fmla="*/ 7353 w 7353"/>
                <a:gd name="connsiteY0" fmla="*/ 3683 h 7365"/>
                <a:gd name="connsiteX1" fmla="*/ 3683 w 7353"/>
                <a:gd name="connsiteY1" fmla="*/ 7365 h 7365"/>
                <a:gd name="connsiteX2" fmla="*/ 0 w 7353"/>
                <a:gd name="connsiteY2" fmla="*/ 3683 h 7365"/>
                <a:gd name="connsiteX3" fmla="*/ 3683 w 7353"/>
                <a:gd name="connsiteY3" fmla="*/ 0 h 7365"/>
                <a:gd name="connsiteX4" fmla="*/ 7353 w 7353"/>
                <a:gd name="connsiteY4" fmla="*/ 3683 h 73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353" h="7365">
                  <a:moveTo>
                    <a:pt x="7353" y="3683"/>
                  </a:moveTo>
                  <a:cubicBezTo>
                    <a:pt x="7353" y="5713"/>
                    <a:pt x="5713" y="7365"/>
                    <a:pt x="3683" y="7365"/>
                  </a:cubicBezTo>
                  <a:cubicBezTo>
                    <a:pt x="1652" y="7365"/>
                    <a:pt x="0" y="5725"/>
                    <a:pt x="0" y="3683"/>
                  </a:cubicBezTo>
                  <a:cubicBezTo>
                    <a:pt x="0" y="1641"/>
                    <a:pt x="1652" y="0"/>
                    <a:pt x="3683" y="0"/>
                  </a:cubicBezTo>
                  <a:cubicBezTo>
                    <a:pt x="5713" y="0"/>
                    <a:pt x="7353" y="1641"/>
                    <a:pt x="7353" y="3683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17" name="Forma livre: Forma 1616">
              <a:extLst>
                <a:ext uri="{FF2B5EF4-FFF2-40B4-BE49-F238E27FC236}">
                  <a16:creationId xmlns:a16="http://schemas.microsoft.com/office/drawing/2014/main" id="{CA5CB319-D2E2-9616-108A-F1154DDD15F2}"/>
                </a:ext>
              </a:extLst>
            </p:cNvPr>
            <p:cNvSpPr/>
            <p:nvPr/>
          </p:nvSpPr>
          <p:spPr>
            <a:xfrm>
              <a:off x="1569933" y="4828679"/>
              <a:ext cx="7353" cy="7365"/>
            </a:xfrm>
            <a:custGeom>
              <a:avLst/>
              <a:gdLst>
                <a:gd name="connsiteX0" fmla="*/ 7353 w 7353"/>
                <a:gd name="connsiteY0" fmla="*/ 3683 h 7365"/>
                <a:gd name="connsiteX1" fmla="*/ 3683 w 7353"/>
                <a:gd name="connsiteY1" fmla="*/ 7365 h 7365"/>
                <a:gd name="connsiteX2" fmla="*/ 0 w 7353"/>
                <a:gd name="connsiteY2" fmla="*/ 3683 h 7365"/>
                <a:gd name="connsiteX3" fmla="*/ 3683 w 7353"/>
                <a:gd name="connsiteY3" fmla="*/ 0 h 7365"/>
                <a:gd name="connsiteX4" fmla="*/ 7353 w 7353"/>
                <a:gd name="connsiteY4" fmla="*/ 3683 h 73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353" h="7365">
                  <a:moveTo>
                    <a:pt x="7353" y="3683"/>
                  </a:moveTo>
                  <a:cubicBezTo>
                    <a:pt x="7353" y="5713"/>
                    <a:pt x="5713" y="7365"/>
                    <a:pt x="3683" y="7365"/>
                  </a:cubicBezTo>
                  <a:cubicBezTo>
                    <a:pt x="1652" y="7365"/>
                    <a:pt x="0" y="5725"/>
                    <a:pt x="0" y="3683"/>
                  </a:cubicBezTo>
                  <a:cubicBezTo>
                    <a:pt x="0" y="1641"/>
                    <a:pt x="1652" y="0"/>
                    <a:pt x="3683" y="0"/>
                  </a:cubicBezTo>
                  <a:cubicBezTo>
                    <a:pt x="5713" y="0"/>
                    <a:pt x="7353" y="1641"/>
                    <a:pt x="7353" y="3683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618" name="Gráfico 13">
            <a:extLst>
              <a:ext uri="{FF2B5EF4-FFF2-40B4-BE49-F238E27FC236}">
                <a16:creationId xmlns:a16="http://schemas.microsoft.com/office/drawing/2014/main" id="{68F20642-1DA4-9001-3DFF-638AD8023343}"/>
              </a:ext>
            </a:extLst>
          </p:cNvPr>
          <p:cNvGrpSpPr/>
          <p:nvPr/>
        </p:nvGrpSpPr>
        <p:grpSpPr>
          <a:xfrm>
            <a:off x="1319842" y="5170043"/>
            <a:ext cx="326834" cy="327861"/>
            <a:chOff x="1319842" y="5170043"/>
            <a:chExt cx="326834" cy="327861"/>
          </a:xfrm>
        </p:grpSpPr>
        <p:sp>
          <p:nvSpPr>
            <p:cNvPr id="1619" name="Forma livre: Forma 1618">
              <a:extLst>
                <a:ext uri="{FF2B5EF4-FFF2-40B4-BE49-F238E27FC236}">
                  <a16:creationId xmlns:a16="http://schemas.microsoft.com/office/drawing/2014/main" id="{82F27D61-24D0-87C5-63D6-74A1ABEF534B}"/>
                </a:ext>
              </a:extLst>
            </p:cNvPr>
            <p:cNvSpPr/>
            <p:nvPr/>
          </p:nvSpPr>
          <p:spPr>
            <a:xfrm>
              <a:off x="1363748" y="5340300"/>
              <a:ext cx="127365" cy="38725"/>
            </a:xfrm>
            <a:custGeom>
              <a:avLst/>
              <a:gdLst>
                <a:gd name="connsiteX0" fmla="*/ 0 w 127365"/>
                <a:gd name="connsiteY0" fmla="*/ 18802 h 38725"/>
                <a:gd name="connsiteX1" fmla="*/ 20997 w 127365"/>
                <a:gd name="connsiteY1" fmla="*/ 38725 h 38725"/>
                <a:gd name="connsiteX2" fmla="*/ 42207 w 127365"/>
                <a:gd name="connsiteY2" fmla="*/ 18802 h 38725"/>
                <a:gd name="connsiteX3" fmla="*/ 63429 w 127365"/>
                <a:gd name="connsiteY3" fmla="*/ 38725 h 38725"/>
                <a:gd name="connsiteX4" fmla="*/ 84686 w 127365"/>
                <a:gd name="connsiteY4" fmla="*/ 18802 h 38725"/>
                <a:gd name="connsiteX5" fmla="*/ 106144 w 127365"/>
                <a:gd name="connsiteY5" fmla="*/ 38725 h 38725"/>
                <a:gd name="connsiteX6" fmla="*/ 127365 w 127365"/>
                <a:gd name="connsiteY6" fmla="*/ 18802 h 38725"/>
                <a:gd name="connsiteX7" fmla="*/ 127365 w 127365"/>
                <a:gd name="connsiteY7" fmla="*/ 0 h 38725"/>
                <a:gd name="connsiteX8" fmla="*/ 106 w 127365"/>
                <a:gd name="connsiteY8" fmla="*/ 0 h 387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27365" h="38725">
                  <a:moveTo>
                    <a:pt x="0" y="18802"/>
                  </a:moveTo>
                  <a:cubicBezTo>
                    <a:pt x="0" y="29802"/>
                    <a:pt x="9277" y="38725"/>
                    <a:pt x="20997" y="38725"/>
                  </a:cubicBezTo>
                  <a:cubicBezTo>
                    <a:pt x="32718" y="38725"/>
                    <a:pt x="42207" y="29802"/>
                    <a:pt x="42207" y="18802"/>
                  </a:cubicBezTo>
                  <a:cubicBezTo>
                    <a:pt x="42207" y="29802"/>
                    <a:pt x="51709" y="38725"/>
                    <a:pt x="63429" y="38725"/>
                  </a:cubicBezTo>
                  <a:cubicBezTo>
                    <a:pt x="75149" y="38725"/>
                    <a:pt x="84686" y="29802"/>
                    <a:pt x="84686" y="18802"/>
                  </a:cubicBezTo>
                  <a:cubicBezTo>
                    <a:pt x="84686" y="29802"/>
                    <a:pt x="94423" y="38725"/>
                    <a:pt x="106144" y="38725"/>
                  </a:cubicBezTo>
                  <a:cubicBezTo>
                    <a:pt x="117864" y="38725"/>
                    <a:pt x="127365" y="29802"/>
                    <a:pt x="127365" y="18802"/>
                  </a:cubicBezTo>
                  <a:lnTo>
                    <a:pt x="127365" y="0"/>
                  </a:lnTo>
                  <a:lnTo>
                    <a:pt x="106" y="0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20" name="Forma livre: Forma 1619">
              <a:extLst>
                <a:ext uri="{FF2B5EF4-FFF2-40B4-BE49-F238E27FC236}">
                  <a16:creationId xmlns:a16="http://schemas.microsoft.com/office/drawing/2014/main" id="{3FCE09F3-BE01-D546-6DEA-5DFDDF60402E}"/>
                </a:ext>
              </a:extLst>
            </p:cNvPr>
            <p:cNvSpPr/>
            <p:nvPr/>
          </p:nvSpPr>
          <p:spPr>
            <a:xfrm>
              <a:off x="1431119" y="5468350"/>
              <a:ext cx="104798" cy="1180"/>
            </a:xfrm>
            <a:custGeom>
              <a:avLst/>
              <a:gdLst>
                <a:gd name="connsiteX0" fmla="*/ 0 w 104798"/>
                <a:gd name="connsiteY0" fmla="*/ 0 h 1180"/>
                <a:gd name="connsiteX1" fmla="*/ 104798 w 104798"/>
                <a:gd name="connsiteY1" fmla="*/ 0 h 11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4798" h="1180">
                  <a:moveTo>
                    <a:pt x="0" y="0"/>
                  </a:moveTo>
                  <a:lnTo>
                    <a:pt x="104798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21" name="Forma livre: Forma 1620">
              <a:extLst>
                <a:ext uri="{FF2B5EF4-FFF2-40B4-BE49-F238E27FC236}">
                  <a16:creationId xmlns:a16="http://schemas.microsoft.com/office/drawing/2014/main" id="{46BBABA8-4018-3838-96DA-ABBA5412C469}"/>
                </a:ext>
              </a:extLst>
            </p:cNvPr>
            <p:cNvSpPr/>
            <p:nvPr/>
          </p:nvSpPr>
          <p:spPr>
            <a:xfrm>
              <a:off x="1610948" y="5445004"/>
              <a:ext cx="35727" cy="23346"/>
            </a:xfrm>
            <a:custGeom>
              <a:avLst/>
              <a:gdLst>
                <a:gd name="connsiteX0" fmla="*/ 0 w 35727"/>
                <a:gd name="connsiteY0" fmla="*/ 23346 h 23346"/>
                <a:gd name="connsiteX1" fmla="*/ 35727 w 35727"/>
                <a:gd name="connsiteY1" fmla="*/ 23346 h 23346"/>
                <a:gd name="connsiteX2" fmla="*/ 35727 w 35727"/>
                <a:gd name="connsiteY2" fmla="*/ 0 h 23346"/>
                <a:gd name="connsiteX3" fmla="*/ 16689 w 35727"/>
                <a:gd name="connsiteY3" fmla="*/ 0 h 233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5727" h="23346">
                  <a:moveTo>
                    <a:pt x="0" y="23346"/>
                  </a:moveTo>
                  <a:lnTo>
                    <a:pt x="35727" y="23346"/>
                  </a:lnTo>
                  <a:lnTo>
                    <a:pt x="35727" y="0"/>
                  </a:lnTo>
                  <a:lnTo>
                    <a:pt x="16689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22" name="Forma livre: Forma 1621">
              <a:extLst>
                <a:ext uri="{FF2B5EF4-FFF2-40B4-BE49-F238E27FC236}">
                  <a16:creationId xmlns:a16="http://schemas.microsoft.com/office/drawing/2014/main" id="{CF8D90ED-EA87-DE1D-11E3-C8981C5A804A}"/>
                </a:ext>
              </a:extLst>
            </p:cNvPr>
            <p:cNvSpPr/>
            <p:nvPr/>
          </p:nvSpPr>
          <p:spPr>
            <a:xfrm>
              <a:off x="1319842" y="5445004"/>
              <a:ext cx="36116" cy="23346"/>
            </a:xfrm>
            <a:custGeom>
              <a:avLst/>
              <a:gdLst>
                <a:gd name="connsiteX0" fmla="*/ 19522 w 36116"/>
                <a:gd name="connsiteY0" fmla="*/ 0 h 23346"/>
                <a:gd name="connsiteX1" fmla="*/ 0 w 36116"/>
                <a:gd name="connsiteY1" fmla="*/ 0 h 23346"/>
                <a:gd name="connsiteX2" fmla="*/ 0 w 36116"/>
                <a:gd name="connsiteY2" fmla="*/ 23346 h 23346"/>
                <a:gd name="connsiteX3" fmla="*/ 36117 w 36116"/>
                <a:gd name="connsiteY3" fmla="*/ 23346 h 233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116" h="23346">
                  <a:moveTo>
                    <a:pt x="19522" y="0"/>
                  </a:moveTo>
                  <a:lnTo>
                    <a:pt x="0" y="0"/>
                  </a:lnTo>
                  <a:lnTo>
                    <a:pt x="0" y="23346"/>
                  </a:lnTo>
                  <a:lnTo>
                    <a:pt x="36117" y="23346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23" name="Forma livre: Forma 1622">
              <a:extLst>
                <a:ext uri="{FF2B5EF4-FFF2-40B4-BE49-F238E27FC236}">
                  <a16:creationId xmlns:a16="http://schemas.microsoft.com/office/drawing/2014/main" id="{070F3A6F-91C5-8960-92C5-4CFD2DE3A534}"/>
                </a:ext>
              </a:extLst>
            </p:cNvPr>
            <p:cNvSpPr/>
            <p:nvPr/>
          </p:nvSpPr>
          <p:spPr>
            <a:xfrm>
              <a:off x="1526015" y="5336948"/>
              <a:ext cx="46586" cy="32410"/>
            </a:xfrm>
            <a:custGeom>
              <a:avLst/>
              <a:gdLst>
                <a:gd name="connsiteX0" fmla="*/ 46586 w 46586"/>
                <a:gd name="connsiteY0" fmla="*/ 32411 h 32410"/>
                <a:gd name="connsiteX1" fmla="*/ 0 w 46586"/>
                <a:gd name="connsiteY1" fmla="*/ 32411 h 32410"/>
                <a:gd name="connsiteX2" fmla="*/ 0 w 46586"/>
                <a:gd name="connsiteY2" fmla="*/ 0 h 324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6586" h="32410">
                  <a:moveTo>
                    <a:pt x="46586" y="32411"/>
                  </a:moveTo>
                  <a:lnTo>
                    <a:pt x="0" y="32411"/>
                  </a:lnTo>
                  <a:lnTo>
                    <a:pt x="0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24" name="Forma livre: Forma 1623">
              <a:extLst>
                <a:ext uri="{FF2B5EF4-FFF2-40B4-BE49-F238E27FC236}">
                  <a16:creationId xmlns:a16="http://schemas.microsoft.com/office/drawing/2014/main" id="{94E5472B-862D-4747-49E6-4B0022DC772D}"/>
                </a:ext>
              </a:extLst>
            </p:cNvPr>
            <p:cNvSpPr/>
            <p:nvPr/>
          </p:nvSpPr>
          <p:spPr>
            <a:xfrm>
              <a:off x="1557021" y="5446349"/>
              <a:ext cx="51555" cy="51555"/>
            </a:xfrm>
            <a:custGeom>
              <a:avLst/>
              <a:gdLst>
                <a:gd name="connsiteX0" fmla="*/ 51555 w 51555"/>
                <a:gd name="connsiteY0" fmla="*/ 25778 h 51555"/>
                <a:gd name="connsiteX1" fmla="*/ 25778 w 51555"/>
                <a:gd name="connsiteY1" fmla="*/ 51555 h 51555"/>
                <a:gd name="connsiteX2" fmla="*/ 0 w 51555"/>
                <a:gd name="connsiteY2" fmla="*/ 25778 h 51555"/>
                <a:gd name="connsiteX3" fmla="*/ 25778 w 51555"/>
                <a:gd name="connsiteY3" fmla="*/ 0 h 51555"/>
                <a:gd name="connsiteX4" fmla="*/ 51555 w 51555"/>
                <a:gd name="connsiteY4" fmla="*/ 25778 h 515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1555" h="51555">
                  <a:moveTo>
                    <a:pt x="51555" y="25778"/>
                  </a:moveTo>
                  <a:cubicBezTo>
                    <a:pt x="51555" y="40012"/>
                    <a:pt x="40012" y="51555"/>
                    <a:pt x="25778" y="51555"/>
                  </a:cubicBezTo>
                  <a:cubicBezTo>
                    <a:pt x="11543" y="51555"/>
                    <a:pt x="0" y="40012"/>
                    <a:pt x="0" y="25778"/>
                  </a:cubicBezTo>
                  <a:cubicBezTo>
                    <a:pt x="0" y="11543"/>
                    <a:pt x="11543" y="0"/>
                    <a:pt x="25778" y="0"/>
                  </a:cubicBezTo>
                  <a:cubicBezTo>
                    <a:pt x="40012" y="0"/>
                    <a:pt x="51555" y="11543"/>
                    <a:pt x="51555" y="25778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25" name="Forma livre: Forma 1624">
              <a:extLst>
                <a:ext uri="{FF2B5EF4-FFF2-40B4-BE49-F238E27FC236}">
                  <a16:creationId xmlns:a16="http://schemas.microsoft.com/office/drawing/2014/main" id="{6940C64E-4E84-3FE8-1645-589209998C36}"/>
                </a:ext>
              </a:extLst>
            </p:cNvPr>
            <p:cNvSpPr/>
            <p:nvPr/>
          </p:nvSpPr>
          <p:spPr>
            <a:xfrm>
              <a:off x="1359712" y="5446349"/>
              <a:ext cx="51555" cy="51555"/>
            </a:xfrm>
            <a:custGeom>
              <a:avLst/>
              <a:gdLst>
                <a:gd name="connsiteX0" fmla="*/ 51555 w 51555"/>
                <a:gd name="connsiteY0" fmla="*/ 25778 h 51555"/>
                <a:gd name="connsiteX1" fmla="*/ 25778 w 51555"/>
                <a:gd name="connsiteY1" fmla="*/ 51555 h 51555"/>
                <a:gd name="connsiteX2" fmla="*/ 0 w 51555"/>
                <a:gd name="connsiteY2" fmla="*/ 25778 h 51555"/>
                <a:gd name="connsiteX3" fmla="*/ 25778 w 51555"/>
                <a:gd name="connsiteY3" fmla="*/ 0 h 51555"/>
                <a:gd name="connsiteX4" fmla="*/ 51555 w 51555"/>
                <a:gd name="connsiteY4" fmla="*/ 25778 h 515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1555" h="51555">
                  <a:moveTo>
                    <a:pt x="51555" y="25778"/>
                  </a:moveTo>
                  <a:cubicBezTo>
                    <a:pt x="51555" y="40012"/>
                    <a:pt x="40012" y="51555"/>
                    <a:pt x="25778" y="51555"/>
                  </a:cubicBezTo>
                  <a:cubicBezTo>
                    <a:pt x="11543" y="51555"/>
                    <a:pt x="0" y="40012"/>
                    <a:pt x="0" y="25778"/>
                  </a:cubicBezTo>
                  <a:cubicBezTo>
                    <a:pt x="0" y="11543"/>
                    <a:pt x="11543" y="0"/>
                    <a:pt x="25778" y="0"/>
                  </a:cubicBezTo>
                  <a:cubicBezTo>
                    <a:pt x="40012" y="0"/>
                    <a:pt x="51555" y="11543"/>
                    <a:pt x="51555" y="25778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26" name="Forma livre: Forma 1625">
              <a:extLst>
                <a:ext uri="{FF2B5EF4-FFF2-40B4-BE49-F238E27FC236}">
                  <a16:creationId xmlns:a16="http://schemas.microsoft.com/office/drawing/2014/main" id="{FF6C4FC9-8378-F71B-49E4-640E1B0164E2}"/>
                </a:ext>
              </a:extLst>
            </p:cNvPr>
            <p:cNvSpPr/>
            <p:nvPr/>
          </p:nvSpPr>
          <p:spPr>
            <a:xfrm>
              <a:off x="1454940" y="5257531"/>
              <a:ext cx="6708" cy="6709"/>
            </a:xfrm>
            <a:custGeom>
              <a:avLst/>
              <a:gdLst>
                <a:gd name="connsiteX0" fmla="*/ 33 w 6708"/>
                <a:gd name="connsiteY0" fmla="*/ 3808 h 6709"/>
                <a:gd name="connsiteX1" fmla="*/ 2901 w 6708"/>
                <a:gd name="connsiteY1" fmla="*/ 31 h 6709"/>
                <a:gd name="connsiteX2" fmla="*/ 6678 w 6708"/>
                <a:gd name="connsiteY2" fmla="*/ 2899 h 6709"/>
                <a:gd name="connsiteX3" fmla="*/ 3798 w 6708"/>
                <a:gd name="connsiteY3" fmla="*/ 6676 h 6709"/>
                <a:gd name="connsiteX4" fmla="*/ 33 w 6708"/>
                <a:gd name="connsiteY4" fmla="*/ 3808 h 67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708" h="6709">
                  <a:moveTo>
                    <a:pt x="33" y="3808"/>
                  </a:moveTo>
                  <a:cubicBezTo>
                    <a:pt x="-226" y="1955"/>
                    <a:pt x="1060" y="255"/>
                    <a:pt x="2901" y="31"/>
                  </a:cubicBezTo>
                  <a:cubicBezTo>
                    <a:pt x="4731" y="-217"/>
                    <a:pt x="6431" y="1046"/>
                    <a:pt x="6678" y="2899"/>
                  </a:cubicBezTo>
                  <a:cubicBezTo>
                    <a:pt x="6926" y="4729"/>
                    <a:pt x="5628" y="6440"/>
                    <a:pt x="3798" y="6676"/>
                  </a:cubicBezTo>
                  <a:cubicBezTo>
                    <a:pt x="1969" y="6936"/>
                    <a:pt x="269" y="5661"/>
                    <a:pt x="33" y="3808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27" name="Forma livre: Forma 1626">
              <a:extLst>
                <a:ext uri="{FF2B5EF4-FFF2-40B4-BE49-F238E27FC236}">
                  <a16:creationId xmlns:a16="http://schemas.microsoft.com/office/drawing/2014/main" id="{5B9A9FD0-21C8-0D27-8208-77838D5E623E}"/>
                </a:ext>
              </a:extLst>
            </p:cNvPr>
            <p:cNvSpPr/>
            <p:nvPr/>
          </p:nvSpPr>
          <p:spPr>
            <a:xfrm>
              <a:off x="1405592" y="5264011"/>
              <a:ext cx="6708" cy="6709"/>
            </a:xfrm>
            <a:custGeom>
              <a:avLst/>
              <a:gdLst>
                <a:gd name="connsiteX0" fmla="*/ 33 w 6708"/>
                <a:gd name="connsiteY0" fmla="*/ 3808 h 6709"/>
                <a:gd name="connsiteX1" fmla="*/ 2901 w 6708"/>
                <a:gd name="connsiteY1" fmla="*/ 31 h 6709"/>
                <a:gd name="connsiteX2" fmla="*/ 6678 w 6708"/>
                <a:gd name="connsiteY2" fmla="*/ 2899 h 6709"/>
                <a:gd name="connsiteX3" fmla="*/ 3798 w 6708"/>
                <a:gd name="connsiteY3" fmla="*/ 6676 h 6709"/>
                <a:gd name="connsiteX4" fmla="*/ 33 w 6708"/>
                <a:gd name="connsiteY4" fmla="*/ 3808 h 67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708" h="6709">
                  <a:moveTo>
                    <a:pt x="33" y="3808"/>
                  </a:moveTo>
                  <a:cubicBezTo>
                    <a:pt x="-226" y="1943"/>
                    <a:pt x="1060" y="255"/>
                    <a:pt x="2901" y="31"/>
                  </a:cubicBezTo>
                  <a:cubicBezTo>
                    <a:pt x="4731" y="-217"/>
                    <a:pt x="6431" y="1046"/>
                    <a:pt x="6678" y="2899"/>
                  </a:cubicBezTo>
                  <a:cubicBezTo>
                    <a:pt x="6926" y="4729"/>
                    <a:pt x="5628" y="6440"/>
                    <a:pt x="3798" y="6676"/>
                  </a:cubicBezTo>
                  <a:cubicBezTo>
                    <a:pt x="1969" y="6936"/>
                    <a:pt x="269" y="5649"/>
                    <a:pt x="33" y="3808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28" name="Forma livre: Forma 1627">
              <a:extLst>
                <a:ext uri="{FF2B5EF4-FFF2-40B4-BE49-F238E27FC236}">
                  <a16:creationId xmlns:a16="http://schemas.microsoft.com/office/drawing/2014/main" id="{0DF25617-07B5-1EE0-CD09-F6DF58D8617C}"/>
                </a:ext>
              </a:extLst>
            </p:cNvPr>
            <p:cNvSpPr/>
            <p:nvPr/>
          </p:nvSpPr>
          <p:spPr>
            <a:xfrm>
              <a:off x="1350812" y="5170043"/>
              <a:ext cx="164710" cy="120307"/>
            </a:xfrm>
            <a:custGeom>
              <a:avLst/>
              <a:gdLst>
                <a:gd name="connsiteX0" fmla="*/ 111856 w 164710"/>
                <a:gd name="connsiteY0" fmla="*/ 34736 h 120307"/>
                <a:gd name="connsiteX1" fmla="*/ 140502 w 164710"/>
                <a:gd name="connsiteY1" fmla="*/ 120307 h 120307"/>
                <a:gd name="connsiteX2" fmla="*/ 164710 w 164710"/>
                <a:gd name="connsiteY2" fmla="*/ 120307 h 120307"/>
                <a:gd name="connsiteX3" fmla="*/ 113320 w 164710"/>
                <a:gd name="connsiteY3" fmla="*/ 0 h 120307"/>
                <a:gd name="connsiteX4" fmla="*/ 0 w 164710"/>
                <a:gd name="connsiteY4" fmla="*/ 120307 h 120307"/>
                <a:gd name="connsiteX5" fmla="*/ 118560 w 164710"/>
                <a:gd name="connsiteY5" fmla="*/ 120307 h 1203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64710" h="120307">
                  <a:moveTo>
                    <a:pt x="111856" y="34736"/>
                  </a:moveTo>
                  <a:cubicBezTo>
                    <a:pt x="129974" y="58826"/>
                    <a:pt x="140431" y="89006"/>
                    <a:pt x="140502" y="120307"/>
                  </a:cubicBezTo>
                  <a:lnTo>
                    <a:pt x="164710" y="120307"/>
                  </a:lnTo>
                  <a:cubicBezTo>
                    <a:pt x="164816" y="74110"/>
                    <a:pt x="145553" y="30876"/>
                    <a:pt x="113320" y="0"/>
                  </a:cubicBezTo>
                  <a:lnTo>
                    <a:pt x="0" y="120307"/>
                  </a:lnTo>
                  <a:lnTo>
                    <a:pt x="118560" y="120307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29" name="Forma livre: Forma 1628">
              <a:extLst>
                <a:ext uri="{FF2B5EF4-FFF2-40B4-BE49-F238E27FC236}">
                  <a16:creationId xmlns:a16="http://schemas.microsoft.com/office/drawing/2014/main" id="{193E56FD-69F3-1818-ABA3-3987A0EB9413}"/>
                </a:ext>
              </a:extLst>
            </p:cNvPr>
            <p:cNvSpPr/>
            <p:nvPr/>
          </p:nvSpPr>
          <p:spPr>
            <a:xfrm>
              <a:off x="1417157" y="5216463"/>
              <a:ext cx="24666" cy="28833"/>
            </a:xfrm>
            <a:custGeom>
              <a:avLst/>
              <a:gdLst>
                <a:gd name="connsiteX0" fmla="*/ 0 w 24666"/>
                <a:gd name="connsiteY0" fmla="*/ 4286 h 28833"/>
                <a:gd name="connsiteX1" fmla="*/ 13078 w 24666"/>
                <a:gd name="connsiteY1" fmla="*/ 284 h 28833"/>
                <a:gd name="connsiteX2" fmla="*/ 24385 w 24666"/>
                <a:gd name="connsiteY2" fmla="*/ 17233 h 28833"/>
                <a:gd name="connsiteX3" fmla="*/ 7424 w 24666"/>
                <a:gd name="connsiteY3" fmla="*/ 28552 h 288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666" h="28833">
                  <a:moveTo>
                    <a:pt x="0" y="4286"/>
                  </a:moveTo>
                  <a:cubicBezTo>
                    <a:pt x="3293" y="957"/>
                    <a:pt x="8132" y="-707"/>
                    <a:pt x="13078" y="284"/>
                  </a:cubicBezTo>
                  <a:cubicBezTo>
                    <a:pt x="20879" y="1831"/>
                    <a:pt x="25943" y="9432"/>
                    <a:pt x="24385" y="17233"/>
                  </a:cubicBezTo>
                  <a:cubicBezTo>
                    <a:pt x="22827" y="25035"/>
                    <a:pt x="15249" y="30110"/>
                    <a:pt x="7424" y="28552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30" name="Forma livre: Forma 1629">
              <a:extLst>
                <a:ext uri="{FF2B5EF4-FFF2-40B4-BE49-F238E27FC236}">
                  <a16:creationId xmlns:a16="http://schemas.microsoft.com/office/drawing/2014/main" id="{5327DB09-68E1-3F37-0473-6D33CDEC145B}"/>
                </a:ext>
              </a:extLst>
            </p:cNvPr>
            <p:cNvSpPr/>
            <p:nvPr/>
          </p:nvSpPr>
          <p:spPr>
            <a:xfrm>
              <a:off x="1362143" y="5390793"/>
              <a:ext cx="130469" cy="26237"/>
            </a:xfrm>
            <a:custGeom>
              <a:avLst/>
              <a:gdLst>
                <a:gd name="connsiteX0" fmla="*/ 130469 w 130469"/>
                <a:gd name="connsiteY0" fmla="*/ 0 h 26237"/>
                <a:gd name="connsiteX1" fmla="*/ 130469 w 130469"/>
                <a:gd name="connsiteY1" fmla="*/ 26238 h 26237"/>
                <a:gd name="connsiteX2" fmla="*/ 0 w 130469"/>
                <a:gd name="connsiteY2" fmla="*/ 26238 h 26237"/>
                <a:gd name="connsiteX3" fmla="*/ 0 w 130469"/>
                <a:gd name="connsiteY3" fmla="*/ 0 h 262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0469" h="26237">
                  <a:moveTo>
                    <a:pt x="130469" y="0"/>
                  </a:moveTo>
                  <a:lnTo>
                    <a:pt x="130469" y="26238"/>
                  </a:lnTo>
                  <a:lnTo>
                    <a:pt x="0" y="26238"/>
                  </a:lnTo>
                  <a:lnTo>
                    <a:pt x="0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31" name="Forma livre: Forma 1630">
              <a:extLst>
                <a:ext uri="{FF2B5EF4-FFF2-40B4-BE49-F238E27FC236}">
                  <a16:creationId xmlns:a16="http://schemas.microsoft.com/office/drawing/2014/main" id="{CBB2D1AC-CAE7-75AF-C647-3EE91D3D4179}"/>
                </a:ext>
              </a:extLst>
            </p:cNvPr>
            <p:cNvSpPr/>
            <p:nvPr/>
          </p:nvSpPr>
          <p:spPr>
            <a:xfrm>
              <a:off x="1327183" y="5316506"/>
              <a:ext cx="309625" cy="109566"/>
            </a:xfrm>
            <a:custGeom>
              <a:avLst/>
              <a:gdLst>
                <a:gd name="connsiteX0" fmla="*/ 0 w 309625"/>
                <a:gd name="connsiteY0" fmla="*/ 109555 h 109566"/>
                <a:gd name="connsiteX1" fmla="*/ 0 w 309625"/>
                <a:gd name="connsiteY1" fmla="*/ 14376 h 109566"/>
                <a:gd name="connsiteX2" fmla="*/ 14376 w 309625"/>
                <a:gd name="connsiteY2" fmla="*/ 0 h 109566"/>
                <a:gd name="connsiteX3" fmla="*/ 238891 w 309625"/>
                <a:gd name="connsiteY3" fmla="*/ 0 h 109566"/>
                <a:gd name="connsiteX4" fmla="*/ 257103 w 309625"/>
                <a:gd name="connsiteY4" fmla="*/ 15733 h 109566"/>
                <a:gd name="connsiteX5" fmla="*/ 267100 w 309625"/>
                <a:gd name="connsiteY5" fmla="*/ 54010 h 109566"/>
                <a:gd name="connsiteX6" fmla="*/ 291603 w 309625"/>
                <a:gd name="connsiteY6" fmla="*/ 67595 h 109566"/>
                <a:gd name="connsiteX7" fmla="*/ 309626 w 309625"/>
                <a:gd name="connsiteY7" fmla="*/ 85972 h 109566"/>
                <a:gd name="connsiteX8" fmla="*/ 309626 w 309625"/>
                <a:gd name="connsiteY8" fmla="*/ 109566 h 1095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09625" h="109566">
                  <a:moveTo>
                    <a:pt x="0" y="109555"/>
                  </a:moveTo>
                  <a:lnTo>
                    <a:pt x="0" y="14376"/>
                  </a:lnTo>
                  <a:cubicBezTo>
                    <a:pt x="0" y="6468"/>
                    <a:pt x="6468" y="0"/>
                    <a:pt x="14376" y="0"/>
                  </a:cubicBezTo>
                  <a:lnTo>
                    <a:pt x="238891" y="0"/>
                  </a:lnTo>
                  <a:cubicBezTo>
                    <a:pt x="247094" y="0"/>
                    <a:pt x="255025" y="5701"/>
                    <a:pt x="257103" y="15733"/>
                  </a:cubicBezTo>
                  <a:lnTo>
                    <a:pt x="267100" y="54010"/>
                  </a:lnTo>
                  <a:lnTo>
                    <a:pt x="291603" y="67595"/>
                  </a:lnTo>
                  <a:cubicBezTo>
                    <a:pt x="302237" y="74547"/>
                    <a:pt x="309626" y="77628"/>
                    <a:pt x="309626" y="85972"/>
                  </a:cubicBezTo>
                  <a:lnTo>
                    <a:pt x="309626" y="109566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632" name="Gráfico 13">
            <a:extLst>
              <a:ext uri="{FF2B5EF4-FFF2-40B4-BE49-F238E27FC236}">
                <a16:creationId xmlns:a16="http://schemas.microsoft.com/office/drawing/2014/main" id="{C15021CE-9419-FDDF-4D6B-CDFCA8D83BDF}"/>
              </a:ext>
            </a:extLst>
          </p:cNvPr>
          <p:cNvGrpSpPr/>
          <p:nvPr/>
        </p:nvGrpSpPr>
        <p:grpSpPr>
          <a:xfrm>
            <a:off x="1297204" y="5777232"/>
            <a:ext cx="372086" cy="218991"/>
            <a:chOff x="1297204" y="5777232"/>
            <a:chExt cx="372086" cy="218991"/>
          </a:xfrm>
        </p:grpSpPr>
        <p:sp>
          <p:nvSpPr>
            <p:cNvPr id="1633" name="Forma livre: Forma 1632">
              <a:extLst>
                <a:ext uri="{FF2B5EF4-FFF2-40B4-BE49-F238E27FC236}">
                  <a16:creationId xmlns:a16="http://schemas.microsoft.com/office/drawing/2014/main" id="{CFF7B207-A5C9-5D31-A033-CF64C4A7F464}"/>
                </a:ext>
              </a:extLst>
            </p:cNvPr>
            <p:cNvSpPr/>
            <p:nvPr/>
          </p:nvSpPr>
          <p:spPr>
            <a:xfrm>
              <a:off x="1297204" y="5907855"/>
              <a:ext cx="372086" cy="88368"/>
            </a:xfrm>
            <a:custGeom>
              <a:avLst/>
              <a:gdLst>
                <a:gd name="connsiteX0" fmla="*/ 88085 w 372086"/>
                <a:gd name="connsiteY0" fmla="*/ 0 h 88368"/>
                <a:gd name="connsiteX1" fmla="*/ 24102 w 372086"/>
                <a:gd name="connsiteY1" fmla="*/ 0 h 88368"/>
                <a:gd name="connsiteX2" fmla="*/ 0 w 372086"/>
                <a:gd name="connsiteY2" fmla="*/ 23653 h 88368"/>
                <a:gd name="connsiteX3" fmla="*/ 5122 w 372086"/>
                <a:gd name="connsiteY3" fmla="*/ 38194 h 88368"/>
                <a:gd name="connsiteX4" fmla="*/ 43057 w 372086"/>
                <a:gd name="connsiteY4" fmla="*/ 75869 h 88368"/>
                <a:gd name="connsiteX5" fmla="*/ 57457 w 372086"/>
                <a:gd name="connsiteY5" fmla="*/ 86917 h 88368"/>
                <a:gd name="connsiteX6" fmla="*/ 69838 w 372086"/>
                <a:gd name="connsiteY6" fmla="*/ 88368 h 88368"/>
                <a:gd name="connsiteX7" fmla="*/ 302249 w 372086"/>
                <a:gd name="connsiteY7" fmla="*/ 88368 h 88368"/>
                <a:gd name="connsiteX8" fmla="*/ 314630 w 372086"/>
                <a:gd name="connsiteY8" fmla="*/ 86917 h 88368"/>
                <a:gd name="connsiteX9" fmla="*/ 329030 w 372086"/>
                <a:gd name="connsiteY9" fmla="*/ 75869 h 88368"/>
                <a:gd name="connsiteX10" fmla="*/ 366964 w 372086"/>
                <a:gd name="connsiteY10" fmla="*/ 38194 h 88368"/>
                <a:gd name="connsiteX11" fmla="*/ 372087 w 372086"/>
                <a:gd name="connsiteY11" fmla="*/ 23653 h 88368"/>
                <a:gd name="connsiteX12" fmla="*/ 347985 w 372086"/>
                <a:gd name="connsiteY12" fmla="*/ 0 h 88368"/>
                <a:gd name="connsiteX13" fmla="*/ 120838 w 372086"/>
                <a:gd name="connsiteY13" fmla="*/ 0 h 883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2086" h="88368">
                  <a:moveTo>
                    <a:pt x="88085" y="0"/>
                  </a:moveTo>
                  <a:lnTo>
                    <a:pt x="24102" y="0"/>
                  </a:lnTo>
                  <a:cubicBezTo>
                    <a:pt x="10847" y="0"/>
                    <a:pt x="0" y="10646"/>
                    <a:pt x="0" y="23653"/>
                  </a:cubicBezTo>
                  <a:cubicBezTo>
                    <a:pt x="0" y="27666"/>
                    <a:pt x="449" y="33237"/>
                    <a:pt x="5122" y="38194"/>
                  </a:cubicBezTo>
                  <a:cubicBezTo>
                    <a:pt x="8722" y="41995"/>
                    <a:pt x="29755" y="62768"/>
                    <a:pt x="43057" y="75869"/>
                  </a:cubicBezTo>
                  <a:cubicBezTo>
                    <a:pt x="47755" y="80496"/>
                    <a:pt x="52393" y="84650"/>
                    <a:pt x="57457" y="86917"/>
                  </a:cubicBezTo>
                  <a:cubicBezTo>
                    <a:pt x="60691" y="88368"/>
                    <a:pt x="69838" y="88368"/>
                    <a:pt x="69838" y="88368"/>
                  </a:cubicBezTo>
                  <a:lnTo>
                    <a:pt x="302249" y="88368"/>
                  </a:lnTo>
                  <a:cubicBezTo>
                    <a:pt x="302249" y="88368"/>
                    <a:pt x="311396" y="88368"/>
                    <a:pt x="314630" y="86917"/>
                  </a:cubicBezTo>
                  <a:cubicBezTo>
                    <a:pt x="319682" y="84650"/>
                    <a:pt x="324320" y="80496"/>
                    <a:pt x="329030" y="75869"/>
                  </a:cubicBezTo>
                  <a:cubicBezTo>
                    <a:pt x="342332" y="62780"/>
                    <a:pt x="363364" y="41995"/>
                    <a:pt x="366964" y="38194"/>
                  </a:cubicBezTo>
                  <a:cubicBezTo>
                    <a:pt x="371650" y="33249"/>
                    <a:pt x="372087" y="27666"/>
                    <a:pt x="372087" y="23653"/>
                  </a:cubicBezTo>
                  <a:cubicBezTo>
                    <a:pt x="372087" y="10646"/>
                    <a:pt x="361240" y="0"/>
                    <a:pt x="347985" y="0"/>
                  </a:cubicBezTo>
                  <a:lnTo>
                    <a:pt x="120838" y="0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34" name="Forma livre: Forma 1633">
              <a:extLst>
                <a:ext uri="{FF2B5EF4-FFF2-40B4-BE49-F238E27FC236}">
                  <a16:creationId xmlns:a16="http://schemas.microsoft.com/office/drawing/2014/main" id="{CEC11F38-4281-75D6-F7FF-37BCD61DAAC2}"/>
                </a:ext>
              </a:extLst>
            </p:cNvPr>
            <p:cNvSpPr/>
            <p:nvPr/>
          </p:nvSpPr>
          <p:spPr>
            <a:xfrm>
              <a:off x="1455658" y="5862921"/>
              <a:ext cx="171567" cy="42915"/>
            </a:xfrm>
            <a:custGeom>
              <a:avLst/>
              <a:gdLst>
                <a:gd name="connsiteX0" fmla="*/ 0 w 171567"/>
                <a:gd name="connsiteY0" fmla="*/ 0 h 42915"/>
                <a:gd name="connsiteX1" fmla="*/ 100773 w 171567"/>
                <a:gd name="connsiteY1" fmla="*/ 0 h 42915"/>
                <a:gd name="connsiteX2" fmla="*/ 171567 w 171567"/>
                <a:gd name="connsiteY2" fmla="*/ 42915 h 429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71567" h="42915">
                  <a:moveTo>
                    <a:pt x="0" y="0"/>
                  </a:moveTo>
                  <a:lnTo>
                    <a:pt x="100773" y="0"/>
                  </a:lnTo>
                  <a:lnTo>
                    <a:pt x="171567" y="42915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35" name="Forma livre: Forma 1634">
              <a:extLst>
                <a:ext uri="{FF2B5EF4-FFF2-40B4-BE49-F238E27FC236}">
                  <a16:creationId xmlns:a16="http://schemas.microsoft.com/office/drawing/2014/main" id="{15E72E94-C86B-EF5B-7051-B625CC1599BD}"/>
                </a:ext>
              </a:extLst>
            </p:cNvPr>
            <p:cNvSpPr/>
            <p:nvPr/>
          </p:nvSpPr>
          <p:spPr>
            <a:xfrm>
              <a:off x="1325637" y="5862921"/>
              <a:ext cx="95284" cy="42915"/>
            </a:xfrm>
            <a:custGeom>
              <a:avLst/>
              <a:gdLst>
                <a:gd name="connsiteX0" fmla="*/ 0 w 95284"/>
                <a:gd name="connsiteY0" fmla="*/ 42915 h 42915"/>
                <a:gd name="connsiteX1" fmla="*/ 34866 w 95284"/>
                <a:gd name="connsiteY1" fmla="*/ 0 h 42915"/>
                <a:gd name="connsiteX2" fmla="*/ 95285 w 95284"/>
                <a:gd name="connsiteY2" fmla="*/ 0 h 429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5284" h="42915">
                  <a:moveTo>
                    <a:pt x="0" y="42915"/>
                  </a:moveTo>
                  <a:lnTo>
                    <a:pt x="34866" y="0"/>
                  </a:lnTo>
                  <a:lnTo>
                    <a:pt x="95285" y="0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36" name="Forma livre: Forma 1635">
              <a:extLst>
                <a:ext uri="{FF2B5EF4-FFF2-40B4-BE49-F238E27FC236}">
                  <a16:creationId xmlns:a16="http://schemas.microsoft.com/office/drawing/2014/main" id="{6ED5903F-8F4F-0088-DFDD-072B69E7529C}"/>
                </a:ext>
              </a:extLst>
            </p:cNvPr>
            <p:cNvSpPr/>
            <p:nvPr/>
          </p:nvSpPr>
          <p:spPr>
            <a:xfrm>
              <a:off x="1390694" y="5800189"/>
              <a:ext cx="132582" cy="59616"/>
            </a:xfrm>
            <a:custGeom>
              <a:avLst/>
              <a:gdLst>
                <a:gd name="connsiteX0" fmla="*/ 0 w 132582"/>
                <a:gd name="connsiteY0" fmla="*/ 39929 h 59616"/>
                <a:gd name="connsiteX1" fmla="*/ 7719 w 132582"/>
                <a:gd name="connsiteY1" fmla="*/ 20041 h 59616"/>
                <a:gd name="connsiteX2" fmla="*/ 34299 w 132582"/>
                <a:gd name="connsiteY2" fmla="*/ 0 h 59616"/>
                <a:gd name="connsiteX3" fmla="*/ 92665 w 132582"/>
                <a:gd name="connsiteY3" fmla="*/ 0 h 59616"/>
                <a:gd name="connsiteX4" fmla="*/ 119233 w 132582"/>
                <a:gd name="connsiteY4" fmla="*/ 20041 h 59616"/>
                <a:gd name="connsiteX5" fmla="*/ 132582 w 132582"/>
                <a:gd name="connsiteY5" fmla="*/ 59617 h 596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32582" h="59616">
                  <a:moveTo>
                    <a:pt x="0" y="39929"/>
                  </a:moveTo>
                  <a:lnTo>
                    <a:pt x="7719" y="20041"/>
                  </a:lnTo>
                  <a:cubicBezTo>
                    <a:pt x="10870" y="9017"/>
                    <a:pt x="22827" y="0"/>
                    <a:pt x="34299" y="0"/>
                  </a:cubicBezTo>
                  <a:lnTo>
                    <a:pt x="92665" y="0"/>
                  </a:lnTo>
                  <a:cubicBezTo>
                    <a:pt x="104125" y="0"/>
                    <a:pt x="116082" y="9017"/>
                    <a:pt x="119233" y="20041"/>
                  </a:cubicBezTo>
                  <a:lnTo>
                    <a:pt x="132582" y="59617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37" name="Forma livre: Forma 1636">
              <a:extLst>
                <a:ext uri="{FF2B5EF4-FFF2-40B4-BE49-F238E27FC236}">
                  <a16:creationId xmlns:a16="http://schemas.microsoft.com/office/drawing/2014/main" id="{BF2FC84C-1F57-D388-E6A4-991E397C32BA}"/>
                </a:ext>
              </a:extLst>
            </p:cNvPr>
            <p:cNvSpPr/>
            <p:nvPr/>
          </p:nvSpPr>
          <p:spPr>
            <a:xfrm>
              <a:off x="1513940" y="5828622"/>
              <a:ext cx="146119" cy="1180"/>
            </a:xfrm>
            <a:custGeom>
              <a:avLst/>
              <a:gdLst>
                <a:gd name="connsiteX0" fmla="*/ 0 w 146119"/>
                <a:gd name="connsiteY0" fmla="*/ 0 h 1180"/>
                <a:gd name="connsiteX1" fmla="*/ 146120 w 146119"/>
                <a:gd name="connsiteY1" fmla="*/ 0 h 11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46119" h="1180">
                  <a:moveTo>
                    <a:pt x="0" y="0"/>
                  </a:moveTo>
                  <a:lnTo>
                    <a:pt x="14612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638" name="Gráfico 13">
              <a:extLst>
                <a:ext uri="{FF2B5EF4-FFF2-40B4-BE49-F238E27FC236}">
                  <a16:creationId xmlns:a16="http://schemas.microsoft.com/office/drawing/2014/main" id="{0C128FCA-FEC3-297E-7830-27E062096FAA}"/>
                </a:ext>
              </a:extLst>
            </p:cNvPr>
            <p:cNvGrpSpPr/>
            <p:nvPr/>
          </p:nvGrpSpPr>
          <p:grpSpPr>
            <a:xfrm>
              <a:off x="1345796" y="5932039"/>
              <a:ext cx="60938" cy="60950"/>
              <a:chOff x="1345796" y="5932039"/>
              <a:chExt cx="60938" cy="60950"/>
            </a:xfrm>
          </p:grpSpPr>
          <p:sp>
            <p:nvSpPr>
              <p:cNvPr id="1639" name="Forma livre: Forma 1638">
                <a:extLst>
                  <a:ext uri="{FF2B5EF4-FFF2-40B4-BE49-F238E27FC236}">
                    <a16:creationId xmlns:a16="http://schemas.microsoft.com/office/drawing/2014/main" id="{F5D52DF6-44BF-FEC7-719E-16ABF5E64EF7}"/>
                  </a:ext>
                </a:extLst>
              </p:cNvPr>
              <p:cNvSpPr/>
              <p:nvPr/>
            </p:nvSpPr>
            <p:spPr>
              <a:xfrm>
                <a:off x="1345796" y="5932039"/>
                <a:ext cx="60938" cy="60950"/>
              </a:xfrm>
              <a:custGeom>
                <a:avLst/>
                <a:gdLst>
                  <a:gd name="connsiteX0" fmla="*/ 60938 w 60938"/>
                  <a:gd name="connsiteY0" fmla="*/ 30475 h 60950"/>
                  <a:gd name="connsiteX1" fmla="*/ 30475 w 60938"/>
                  <a:gd name="connsiteY1" fmla="*/ 60950 h 60950"/>
                  <a:gd name="connsiteX2" fmla="*/ 0 w 60938"/>
                  <a:gd name="connsiteY2" fmla="*/ 30475 h 60950"/>
                  <a:gd name="connsiteX3" fmla="*/ 30475 w 60938"/>
                  <a:gd name="connsiteY3" fmla="*/ 0 h 60950"/>
                  <a:gd name="connsiteX4" fmla="*/ 60938 w 60938"/>
                  <a:gd name="connsiteY4" fmla="*/ 30475 h 609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0938" h="60950">
                    <a:moveTo>
                      <a:pt x="60938" y="30475"/>
                    </a:moveTo>
                    <a:cubicBezTo>
                      <a:pt x="60938" y="47306"/>
                      <a:pt x="47306" y="60950"/>
                      <a:pt x="30475" y="60950"/>
                    </a:cubicBezTo>
                    <a:cubicBezTo>
                      <a:pt x="13644" y="60950"/>
                      <a:pt x="0" y="47306"/>
                      <a:pt x="0" y="30475"/>
                    </a:cubicBezTo>
                    <a:cubicBezTo>
                      <a:pt x="0" y="13644"/>
                      <a:pt x="13644" y="0"/>
                      <a:pt x="30475" y="0"/>
                    </a:cubicBezTo>
                    <a:cubicBezTo>
                      <a:pt x="47306" y="0"/>
                      <a:pt x="60938" y="13644"/>
                      <a:pt x="60938" y="30475"/>
                    </a:cubicBezTo>
                    <a:close/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640" name="Forma livre: Forma 1639">
                <a:extLst>
                  <a:ext uri="{FF2B5EF4-FFF2-40B4-BE49-F238E27FC236}">
                    <a16:creationId xmlns:a16="http://schemas.microsoft.com/office/drawing/2014/main" id="{24763F24-0977-F460-30B0-06F1F4A6DAAE}"/>
                  </a:ext>
                </a:extLst>
              </p:cNvPr>
              <p:cNvSpPr/>
              <p:nvPr/>
            </p:nvSpPr>
            <p:spPr>
              <a:xfrm>
                <a:off x="1372624" y="5958867"/>
                <a:ext cx="7294" cy="7294"/>
              </a:xfrm>
              <a:custGeom>
                <a:avLst/>
                <a:gdLst>
                  <a:gd name="connsiteX0" fmla="*/ 7294 w 7294"/>
                  <a:gd name="connsiteY0" fmla="*/ 3647 h 7294"/>
                  <a:gd name="connsiteX1" fmla="*/ 3647 w 7294"/>
                  <a:gd name="connsiteY1" fmla="*/ 7294 h 7294"/>
                  <a:gd name="connsiteX2" fmla="*/ 0 w 7294"/>
                  <a:gd name="connsiteY2" fmla="*/ 3647 h 7294"/>
                  <a:gd name="connsiteX3" fmla="*/ 3647 w 7294"/>
                  <a:gd name="connsiteY3" fmla="*/ 0 h 7294"/>
                  <a:gd name="connsiteX4" fmla="*/ 7294 w 7294"/>
                  <a:gd name="connsiteY4" fmla="*/ 3647 h 72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294" h="7294">
                    <a:moveTo>
                      <a:pt x="7294" y="3647"/>
                    </a:moveTo>
                    <a:cubicBezTo>
                      <a:pt x="7294" y="5665"/>
                      <a:pt x="5665" y="7294"/>
                      <a:pt x="3647" y="7294"/>
                    </a:cubicBezTo>
                    <a:cubicBezTo>
                      <a:pt x="1629" y="7294"/>
                      <a:pt x="0" y="5665"/>
                      <a:pt x="0" y="3647"/>
                    </a:cubicBezTo>
                    <a:cubicBezTo>
                      <a:pt x="0" y="1629"/>
                      <a:pt x="1641" y="0"/>
                      <a:pt x="3647" y="0"/>
                    </a:cubicBezTo>
                    <a:cubicBezTo>
                      <a:pt x="5654" y="0"/>
                      <a:pt x="7294" y="1629"/>
                      <a:pt x="7294" y="3647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641" name="Gráfico 13">
              <a:extLst>
                <a:ext uri="{FF2B5EF4-FFF2-40B4-BE49-F238E27FC236}">
                  <a16:creationId xmlns:a16="http://schemas.microsoft.com/office/drawing/2014/main" id="{8D3F6666-75CB-A91C-2EED-973FF1E85515}"/>
                </a:ext>
              </a:extLst>
            </p:cNvPr>
            <p:cNvGrpSpPr/>
            <p:nvPr/>
          </p:nvGrpSpPr>
          <p:grpSpPr>
            <a:xfrm>
              <a:off x="1416177" y="5932039"/>
              <a:ext cx="60938" cy="60950"/>
              <a:chOff x="1416177" y="5932039"/>
              <a:chExt cx="60938" cy="60950"/>
            </a:xfrm>
          </p:grpSpPr>
          <p:sp>
            <p:nvSpPr>
              <p:cNvPr id="1642" name="Forma livre: Forma 1641">
                <a:extLst>
                  <a:ext uri="{FF2B5EF4-FFF2-40B4-BE49-F238E27FC236}">
                    <a16:creationId xmlns:a16="http://schemas.microsoft.com/office/drawing/2014/main" id="{3B0F55AD-DC3A-47A0-37B0-3F57F2761B98}"/>
                  </a:ext>
                </a:extLst>
              </p:cNvPr>
              <p:cNvSpPr/>
              <p:nvPr/>
            </p:nvSpPr>
            <p:spPr>
              <a:xfrm>
                <a:off x="1416177" y="5932039"/>
                <a:ext cx="60938" cy="60950"/>
              </a:xfrm>
              <a:custGeom>
                <a:avLst/>
                <a:gdLst>
                  <a:gd name="connsiteX0" fmla="*/ 60938 w 60938"/>
                  <a:gd name="connsiteY0" fmla="*/ 30475 h 60950"/>
                  <a:gd name="connsiteX1" fmla="*/ 30475 w 60938"/>
                  <a:gd name="connsiteY1" fmla="*/ 60950 h 60950"/>
                  <a:gd name="connsiteX2" fmla="*/ 0 w 60938"/>
                  <a:gd name="connsiteY2" fmla="*/ 30475 h 60950"/>
                  <a:gd name="connsiteX3" fmla="*/ 30475 w 60938"/>
                  <a:gd name="connsiteY3" fmla="*/ 0 h 60950"/>
                  <a:gd name="connsiteX4" fmla="*/ 60938 w 60938"/>
                  <a:gd name="connsiteY4" fmla="*/ 30475 h 609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0938" h="60950">
                    <a:moveTo>
                      <a:pt x="60938" y="30475"/>
                    </a:moveTo>
                    <a:cubicBezTo>
                      <a:pt x="60938" y="47306"/>
                      <a:pt x="47306" y="60950"/>
                      <a:pt x="30475" y="60950"/>
                    </a:cubicBezTo>
                    <a:cubicBezTo>
                      <a:pt x="13644" y="60950"/>
                      <a:pt x="0" y="47306"/>
                      <a:pt x="0" y="30475"/>
                    </a:cubicBezTo>
                    <a:cubicBezTo>
                      <a:pt x="0" y="13644"/>
                      <a:pt x="13644" y="0"/>
                      <a:pt x="30475" y="0"/>
                    </a:cubicBezTo>
                    <a:cubicBezTo>
                      <a:pt x="47306" y="0"/>
                      <a:pt x="60938" y="13644"/>
                      <a:pt x="60938" y="30475"/>
                    </a:cubicBezTo>
                    <a:close/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643" name="Forma livre: Forma 1642">
                <a:extLst>
                  <a:ext uri="{FF2B5EF4-FFF2-40B4-BE49-F238E27FC236}">
                    <a16:creationId xmlns:a16="http://schemas.microsoft.com/office/drawing/2014/main" id="{0FAF5ADF-AB44-C82F-42A3-9F8768ECD4A2}"/>
                  </a:ext>
                </a:extLst>
              </p:cNvPr>
              <p:cNvSpPr/>
              <p:nvPr/>
            </p:nvSpPr>
            <p:spPr>
              <a:xfrm>
                <a:off x="1442993" y="5958867"/>
                <a:ext cx="7294" cy="7294"/>
              </a:xfrm>
              <a:custGeom>
                <a:avLst/>
                <a:gdLst>
                  <a:gd name="connsiteX0" fmla="*/ 7294 w 7294"/>
                  <a:gd name="connsiteY0" fmla="*/ 3647 h 7294"/>
                  <a:gd name="connsiteX1" fmla="*/ 3647 w 7294"/>
                  <a:gd name="connsiteY1" fmla="*/ 7294 h 7294"/>
                  <a:gd name="connsiteX2" fmla="*/ 0 w 7294"/>
                  <a:gd name="connsiteY2" fmla="*/ 3647 h 7294"/>
                  <a:gd name="connsiteX3" fmla="*/ 3647 w 7294"/>
                  <a:gd name="connsiteY3" fmla="*/ 0 h 7294"/>
                  <a:gd name="connsiteX4" fmla="*/ 7294 w 7294"/>
                  <a:gd name="connsiteY4" fmla="*/ 3647 h 72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294" h="7294">
                    <a:moveTo>
                      <a:pt x="7294" y="3647"/>
                    </a:moveTo>
                    <a:cubicBezTo>
                      <a:pt x="7294" y="5665"/>
                      <a:pt x="5665" y="7294"/>
                      <a:pt x="3647" y="7294"/>
                    </a:cubicBezTo>
                    <a:cubicBezTo>
                      <a:pt x="1629" y="7294"/>
                      <a:pt x="0" y="5665"/>
                      <a:pt x="0" y="3647"/>
                    </a:cubicBezTo>
                    <a:cubicBezTo>
                      <a:pt x="0" y="1629"/>
                      <a:pt x="1641" y="0"/>
                      <a:pt x="3647" y="0"/>
                    </a:cubicBezTo>
                    <a:cubicBezTo>
                      <a:pt x="5654" y="0"/>
                      <a:pt x="7294" y="1629"/>
                      <a:pt x="7294" y="3647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644" name="Gráfico 13">
              <a:extLst>
                <a:ext uri="{FF2B5EF4-FFF2-40B4-BE49-F238E27FC236}">
                  <a16:creationId xmlns:a16="http://schemas.microsoft.com/office/drawing/2014/main" id="{3554863E-4CF1-B2E1-78E2-5F92ABB888BD}"/>
                </a:ext>
              </a:extLst>
            </p:cNvPr>
            <p:cNvGrpSpPr/>
            <p:nvPr/>
          </p:nvGrpSpPr>
          <p:grpSpPr>
            <a:xfrm>
              <a:off x="1486558" y="5932039"/>
              <a:ext cx="60938" cy="60950"/>
              <a:chOff x="1486558" y="5932039"/>
              <a:chExt cx="60938" cy="60950"/>
            </a:xfrm>
          </p:grpSpPr>
          <p:sp>
            <p:nvSpPr>
              <p:cNvPr id="1645" name="Forma livre: Forma 1644">
                <a:extLst>
                  <a:ext uri="{FF2B5EF4-FFF2-40B4-BE49-F238E27FC236}">
                    <a16:creationId xmlns:a16="http://schemas.microsoft.com/office/drawing/2014/main" id="{A3578A8B-522B-6F57-3359-411A89C50CC8}"/>
                  </a:ext>
                </a:extLst>
              </p:cNvPr>
              <p:cNvSpPr/>
              <p:nvPr/>
            </p:nvSpPr>
            <p:spPr>
              <a:xfrm>
                <a:off x="1486558" y="5932039"/>
                <a:ext cx="60938" cy="60950"/>
              </a:xfrm>
              <a:custGeom>
                <a:avLst/>
                <a:gdLst>
                  <a:gd name="connsiteX0" fmla="*/ 60938 w 60938"/>
                  <a:gd name="connsiteY0" fmla="*/ 30475 h 60950"/>
                  <a:gd name="connsiteX1" fmla="*/ 30475 w 60938"/>
                  <a:gd name="connsiteY1" fmla="*/ 60950 h 60950"/>
                  <a:gd name="connsiteX2" fmla="*/ 0 w 60938"/>
                  <a:gd name="connsiteY2" fmla="*/ 30475 h 60950"/>
                  <a:gd name="connsiteX3" fmla="*/ 30475 w 60938"/>
                  <a:gd name="connsiteY3" fmla="*/ 0 h 60950"/>
                  <a:gd name="connsiteX4" fmla="*/ 60938 w 60938"/>
                  <a:gd name="connsiteY4" fmla="*/ 30475 h 609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0938" h="60950">
                    <a:moveTo>
                      <a:pt x="60938" y="30475"/>
                    </a:moveTo>
                    <a:cubicBezTo>
                      <a:pt x="60938" y="47306"/>
                      <a:pt x="47306" y="60950"/>
                      <a:pt x="30475" y="60950"/>
                    </a:cubicBezTo>
                    <a:cubicBezTo>
                      <a:pt x="13644" y="60950"/>
                      <a:pt x="0" y="47306"/>
                      <a:pt x="0" y="30475"/>
                    </a:cubicBezTo>
                    <a:cubicBezTo>
                      <a:pt x="0" y="13644"/>
                      <a:pt x="13644" y="0"/>
                      <a:pt x="30475" y="0"/>
                    </a:cubicBezTo>
                    <a:cubicBezTo>
                      <a:pt x="47306" y="0"/>
                      <a:pt x="60938" y="13644"/>
                      <a:pt x="60938" y="30475"/>
                    </a:cubicBezTo>
                    <a:close/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646" name="Forma livre: Forma 1645">
                <a:extLst>
                  <a:ext uri="{FF2B5EF4-FFF2-40B4-BE49-F238E27FC236}">
                    <a16:creationId xmlns:a16="http://schemas.microsoft.com/office/drawing/2014/main" id="{59A2DE52-283F-75FE-86B8-3341BA15ADD9}"/>
                  </a:ext>
                </a:extLst>
              </p:cNvPr>
              <p:cNvSpPr/>
              <p:nvPr/>
            </p:nvSpPr>
            <p:spPr>
              <a:xfrm>
                <a:off x="1513374" y="5958867"/>
                <a:ext cx="7294" cy="7294"/>
              </a:xfrm>
              <a:custGeom>
                <a:avLst/>
                <a:gdLst>
                  <a:gd name="connsiteX0" fmla="*/ 7294 w 7294"/>
                  <a:gd name="connsiteY0" fmla="*/ 3647 h 7294"/>
                  <a:gd name="connsiteX1" fmla="*/ 3647 w 7294"/>
                  <a:gd name="connsiteY1" fmla="*/ 7294 h 7294"/>
                  <a:gd name="connsiteX2" fmla="*/ 0 w 7294"/>
                  <a:gd name="connsiteY2" fmla="*/ 3647 h 7294"/>
                  <a:gd name="connsiteX3" fmla="*/ 3647 w 7294"/>
                  <a:gd name="connsiteY3" fmla="*/ 0 h 7294"/>
                  <a:gd name="connsiteX4" fmla="*/ 7294 w 7294"/>
                  <a:gd name="connsiteY4" fmla="*/ 3647 h 72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294" h="7294">
                    <a:moveTo>
                      <a:pt x="7294" y="3647"/>
                    </a:moveTo>
                    <a:cubicBezTo>
                      <a:pt x="7294" y="5665"/>
                      <a:pt x="5665" y="7294"/>
                      <a:pt x="3647" y="7294"/>
                    </a:cubicBezTo>
                    <a:cubicBezTo>
                      <a:pt x="1629" y="7294"/>
                      <a:pt x="0" y="5665"/>
                      <a:pt x="0" y="3647"/>
                    </a:cubicBezTo>
                    <a:cubicBezTo>
                      <a:pt x="0" y="1629"/>
                      <a:pt x="1641" y="0"/>
                      <a:pt x="3647" y="0"/>
                    </a:cubicBezTo>
                    <a:cubicBezTo>
                      <a:pt x="5654" y="0"/>
                      <a:pt x="7294" y="1629"/>
                      <a:pt x="7294" y="3647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647" name="Gráfico 13">
              <a:extLst>
                <a:ext uri="{FF2B5EF4-FFF2-40B4-BE49-F238E27FC236}">
                  <a16:creationId xmlns:a16="http://schemas.microsoft.com/office/drawing/2014/main" id="{7FA486B0-30AB-3924-0654-B3FE5922BE78}"/>
                </a:ext>
              </a:extLst>
            </p:cNvPr>
            <p:cNvGrpSpPr/>
            <p:nvPr/>
          </p:nvGrpSpPr>
          <p:grpSpPr>
            <a:xfrm>
              <a:off x="1556927" y="5932039"/>
              <a:ext cx="60950" cy="60950"/>
              <a:chOff x="1556927" y="5932039"/>
              <a:chExt cx="60950" cy="60950"/>
            </a:xfrm>
          </p:grpSpPr>
          <p:sp>
            <p:nvSpPr>
              <p:cNvPr id="1648" name="Forma livre: Forma 1647">
                <a:extLst>
                  <a:ext uri="{FF2B5EF4-FFF2-40B4-BE49-F238E27FC236}">
                    <a16:creationId xmlns:a16="http://schemas.microsoft.com/office/drawing/2014/main" id="{6945C272-E946-5F7E-379B-0EB85932D94D}"/>
                  </a:ext>
                </a:extLst>
              </p:cNvPr>
              <p:cNvSpPr/>
              <p:nvPr/>
            </p:nvSpPr>
            <p:spPr>
              <a:xfrm>
                <a:off x="1556927" y="5932039"/>
                <a:ext cx="60950" cy="60950"/>
              </a:xfrm>
              <a:custGeom>
                <a:avLst/>
                <a:gdLst>
                  <a:gd name="connsiteX0" fmla="*/ 60950 w 60950"/>
                  <a:gd name="connsiteY0" fmla="*/ 30475 h 60950"/>
                  <a:gd name="connsiteX1" fmla="*/ 30475 w 60950"/>
                  <a:gd name="connsiteY1" fmla="*/ 60950 h 60950"/>
                  <a:gd name="connsiteX2" fmla="*/ 0 w 60950"/>
                  <a:gd name="connsiteY2" fmla="*/ 30475 h 60950"/>
                  <a:gd name="connsiteX3" fmla="*/ 30475 w 60950"/>
                  <a:gd name="connsiteY3" fmla="*/ 0 h 60950"/>
                  <a:gd name="connsiteX4" fmla="*/ 60950 w 60950"/>
                  <a:gd name="connsiteY4" fmla="*/ 30475 h 609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0950" h="60950">
                    <a:moveTo>
                      <a:pt x="60950" y="30475"/>
                    </a:moveTo>
                    <a:cubicBezTo>
                      <a:pt x="60950" y="47306"/>
                      <a:pt x="47318" y="60950"/>
                      <a:pt x="30475" y="60950"/>
                    </a:cubicBezTo>
                    <a:cubicBezTo>
                      <a:pt x="13632" y="60950"/>
                      <a:pt x="0" y="47306"/>
                      <a:pt x="0" y="30475"/>
                    </a:cubicBezTo>
                    <a:cubicBezTo>
                      <a:pt x="0" y="13644"/>
                      <a:pt x="13644" y="0"/>
                      <a:pt x="30475" y="0"/>
                    </a:cubicBezTo>
                    <a:cubicBezTo>
                      <a:pt x="47306" y="0"/>
                      <a:pt x="60950" y="13644"/>
                      <a:pt x="60950" y="30475"/>
                    </a:cubicBezTo>
                    <a:close/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649" name="Forma livre: Forma 1648">
                <a:extLst>
                  <a:ext uri="{FF2B5EF4-FFF2-40B4-BE49-F238E27FC236}">
                    <a16:creationId xmlns:a16="http://schemas.microsoft.com/office/drawing/2014/main" id="{949C3596-1827-05DA-DBA9-F1845550B7F7}"/>
                  </a:ext>
                </a:extLst>
              </p:cNvPr>
              <p:cNvSpPr/>
              <p:nvPr/>
            </p:nvSpPr>
            <p:spPr>
              <a:xfrm>
                <a:off x="1583755" y="5958867"/>
                <a:ext cx="7294" cy="7294"/>
              </a:xfrm>
              <a:custGeom>
                <a:avLst/>
                <a:gdLst>
                  <a:gd name="connsiteX0" fmla="*/ 7294 w 7294"/>
                  <a:gd name="connsiteY0" fmla="*/ 3647 h 7294"/>
                  <a:gd name="connsiteX1" fmla="*/ 3647 w 7294"/>
                  <a:gd name="connsiteY1" fmla="*/ 7294 h 7294"/>
                  <a:gd name="connsiteX2" fmla="*/ 0 w 7294"/>
                  <a:gd name="connsiteY2" fmla="*/ 3647 h 7294"/>
                  <a:gd name="connsiteX3" fmla="*/ 3647 w 7294"/>
                  <a:gd name="connsiteY3" fmla="*/ 0 h 7294"/>
                  <a:gd name="connsiteX4" fmla="*/ 7294 w 7294"/>
                  <a:gd name="connsiteY4" fmla="*/ 3647 h 72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294" h="7294">
                    <a:moveTo>
                      <a:pt x="7294" y="3647"/>
                    </a:moveTo>
                    <a:cubicBezTo>
                      <a:pt x="7294" y="5665"/>
                      <a:pt x="5654" y="7294"/>
                      <a:pt x="3647" y="7294"/>
                    </a:cubicBezTo>
                    <a:cubicBezTo>
                      <a:pt x="1641" y="7294"/>
                      <a:pt x="0" y="5665"/>
                      <a:pt x="0" y="3647"/>
                    </a:cubicBezTo>
                    <a:cubicBezTo>
                      <a:pt x="0" y="1629"/>
                      <a:pt x="1629" y="0"/>
                      <a:pt x="3647" y="0"/>
                    </a:cubicBezTo>
                    <a:cubicBezTo>
                      <a:pt x="5665" y="0"/>
                      <a:pt x="7294" y="1629"/>
                      <a:pt x="7294" y="3647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650" name="Forma livre: Forma 1649">
              <a:extLst>
                <a:ext uri="{FF2B5EF4-FFF2-40B4-BE49-F238E27FC236}">
                  <a16:creationId xmlns:a16="http://schemas.microsoft.com/office/drawing/2014/main" id="{CE4EB18B-B38C-F206-0059-23DB28A80C8B}"/>
                </a:ext>
              </a:extLst>
            </p:cNvPr>
            <p:cNvSpPr/>
            <p:nvPr/>
          </p:nvSpPr>
          <p:spPr>
            <a:xfrm>
              <a:off x="1434153" y="5777232"/>
              <a:ext cx="39339" cy="1180"/>
            </a:xfrm>
            <a:custGeom>
              <a:avLst/>
              <a:gdLst>
                <a:gd name="connsiteX0" fmla="*/ 0 w 39339"/>
                <a:gd name="connsiteY0" fmla="*/ 0 h 1180"/>
                <a:gd name="connsiteX1" fmla="*/ 39339 w 39339"/>
                <a:gd name="connsiteY1" fmla="*/ 0 h 11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9339" h="1180">
                  <a:moveTo>
                    <a:pt x="0" y="0"/>
                  </a:moveTo>
                  <a:lnTo>
                    <a:pt x="39339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651" name="Gráfico 13">
            <a:extLst>
              <a:ext uri="{FF2B5EF4-FFF2-40B4-BE49-F238E27FC236}">
                <a16:creationId xmlns:a16="http://schemas.microsoft.com/office/drawing/2014/main" id="{BB688497-B2BD-CBC5-3DC2-2631439B9869}"/>
              </a:ext>
            </a:extLst>
          </p:cNvPr>
          <p:cNvGrpSpPr/>
          <p:nvPr/>
        </p:nvGrpSpPr>
        <p:grpSpPr>
          <a:xfrm>
            <a:off x="1344179" y="3605886"/>
            <a:ext cx="278147" cy="287306"/>
            <a:chOff x="1344179" y="3605886"/>
            <a:chExt cx="278147" cy="287306"/>
          </a:xfrm>
          <a:noFill/>
        </p:grpSpPr>
        <p:sp>
          <p:nvSpPr>
            <p:cNvPr id="1652" name="Forma livre: Forma 1651">
              <a:extLst>
                <a:ext uri="{FF2B5EF4-FFF2-40B4-BE49-F238E27FC236}">
                  <a16:creationId xmlns:a16="http://schemas.microsoft.com/office/drawing/2014/main" id="{62B08DD8-42C8-7E2A-4DDD-BC2F3584DEC0}"/>
                </a:ext>
              </a:extLst>
            </p:cNvPr>
            <p:cNvSpPr/>
            <p:nvPr/>
          </p:nvSpPr>
          <p:spPr>
            <a:xfrm>
              <a:off x="1404339" y="3866836"/>
              <a:ext cx="157840" cy="1180"/>
            </a:xfrm>
            <a:custGeom>
              <a:avLst/>
              <a:gdLst>
                <a:gd name="connsiteX0" fmla="*/ 0 w 157840"/>
                <a:gd name="connsiteY0" fmla="*/ 0 h 1180"/>
                <a:gd name="connsiteX1" fmla="*/ 157840 w 157840"/>
                <a:gd name="connsiteY1" fmla="*/ 0 h 11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7840" h="1180">
                  <a:moveTo>
                    <a:pt x="0" y="0"/>
                  </a:moveTo>
                  <a:lnTo>
                    <a:pt x="15784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53" name="Forma livre: Forma 1652">
              <a:extLst>
                <a:ext uri="{FF2B5EF4-FFF2-40B4-BE49-F238E27FC236}">
                  <a16:creationId xmlns:a16="http://schemas.microsoft.com/office/drawing/2014/main" id="{6C94E0BB-242F-B07C-E306-ACD56CC0422A}"/>
                </a:ext>
              </a:extLst>
            </p:cNvPr>
            <p:cNvSpPr/>
            <p:nvPr/>
          </p:nvSpPr>
          <p:spPr>
            <a:xfrm>
              <a:off x="1441825" y="3842888"/>
              <a:ext cx="82868" cy="1180"/>
            </a:xfrm>
            <a:custGeom>
              <a:avLst/>
              <a:gdLst>
                <a:gd name="connsiteX0" fmla="*/ 0 w 82868"/>
                <a:gd name="connsiteY0" fmla="*/ 0 h 1180"/>
                <a:gd name="connsiteX1" fmla="*/ 82868 w 82868"/>
                <a:gd name="connsiteY1" fmla="*/ 0 h 11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2868" h="1180">
                  <a:moveTo>
                    <a:pt x="0" y="0"/>
                  </a:moveTo>
                  <a:lnTo>
                    <a:pt x="82868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54" name="Forma livre: Forma 1653">
              <a:extLst>
                <a:ext uri="{FF2B5EF4-FFF2-40B4-BE49-F238E27FC236}">
                  <a16:creationId xmlns:a16="http://schemas.microsoft.com/office/drawing/2014/main" id="{BC599E52-2D36-F1D1-1936-62B26606220F}"/>
                </a:ext>
              </a:extLst>
            </p:cNvPr>
            <p:cNvSpPr/>
            <p:nvPr/>
          </p:nvSpPr>
          <p:spPr>
            <a:xfrm>
              <a:off x="1388216" y="3782953"/>
              <a:ext cx="190085" cy="9395"/>
            </a:xfrm>
            <a:custGeom>
              <a:avLst/>
              <a:gdLst>
                <a:gd name="connsiteX0" fmla="*/ 0 w 190085"/>
                <a:gd name="connsiteY0" fmla="*/ 0 h 9395"/>
                <a:gd name="connsiteX1" fmla="*/ 95887 w 190085"/>
                <a:gd name="connsiteY1" fmla="*/ 9395 h 9395"/>
                <a:gd name="connsiteX2" fmla="*/ 190086 w 190085"/>
                <a:gd name="connsiteY2" fmla="*/ 165 h 93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90085" h="9395">
                  <a:moveTo>
                    <a:pt x="0" y="0"/>
                  </a:moveTo>
                  <a:cubicBezTo>
                    <a:pt x="0" y="0"/>
                    <a:pt x="37899" y="9395"/>
                    <a:pt x="95887" y="9395"/>
                  </a:cubicBezTo>
                  <a:cubicBezTo>
                    <a:pt x="153875" y="9395"/>
                    <a:pt x="190086" y="165"/>
                    <a:pt x="190086" y="165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655" name="Gráfico 13">
              <a:extLst>
                <a:ext uri="{FF2B5EF4-FFF2-40B4-BE49-F238E27FC236}">
                  <a16:creationId xmlns:a16="http://schemas.microsoft.com/office/drawing/2014/main" id="{2C85BD8F-6334-65B2-0DCF-7BAA0D5BEB2B}"/>
                </a:ext>
              </a:extLst>
            </p:cNvPr>
            <p:cNvGrpSpPr/>
            <p:nvPr/>
          </p:nvGrpSpPr>
          <p:grpSpPr>
            <a:xfrm>
              <a:off x="1391214" y="3826447"/>
              <a:ext cx="184078" cy="5807"/>
              <a:chOff x="1391214" y="3826447"/>
              <a:chExt cx="184078" cy="5807"/>
            </a:xfrm>
          </p:grpSpPr>
          <p:sp>
            <p:nvSpPr>
              <p:cNvPr id="1656" name="Forma livre: Forma 1655">
                <a:extLst>
                  <a:ext uri="{FF2B5EF4-FFF2-40B4-BE49-F238E27FC236}">
                    <a16:creationId xmlns:a16="http://schemas.microsoft.com/office/drawing/2014/main" id="{6A0084A7-763E-03D8-8BE8-73CB50996025}"/>
                  </a:ext>
                </a:extLst>
              </p:cNvPr>
              <p:cNvSpPr/>
              <p:nvPr/>
            </p:nvSpPr>
            <p:spPr>
              <a:xfrm>
                <a:off x="1391214" y="3826447"/>
                <a:ext cx="21917" cy="5807"/>
              </a:xfrm>
              <a:custGeom>
                <a:avLst/>
                <a:gdLst>
                  <a:gd name="connsiteX0" fmla="*/ 21918 w 21917"/>
                  <a:gd name="connsiteY0" fmla="*/ 5807 h 5807"/>
                  <a:gd name="connsiteX1" fmla="*/ 0 w 21917"/>
                  <a:gd name="connsiteY1" fmla="*/ 0 h 58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1917" h="5807">
                    <a:moveTo>
                      <a:pt x="21918" y="5807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657" name="Forma livre: Forma 1656">
                <a:extLst>
                  <a:ext uri="{FF2B5EF4-FFF2-40B4-BE49-F238E27FC236}">
                    <a16:creationId xmlns:a16="http://schemas.microsoft.com/office/drawing/2014/main" id="{97CBE4EE-5B7A-7639-0BFD-07BB38AC125D}"/>
                  </a:ext>
                </a:extLst>
              </p:cNvPr>
              <p:cNvSpPr/>
              <p:nvPr/>
            </p:nvSpPr>
            <p:spPr>
              <a:xfrm>
                <a:off x="1553386" y="3826447"/>
                <a:ext cx="21906" cy="5807"/>
              </a:xfrm>
              <a:custGeom>
                <a:avLst/>
                <a:gdLst>
                  <a:gd name="connsiteX0" fmla="*/ 0 w 21906"/>
                  <a:gd name="connsiteY0" fmla="*/ 5807 h 5807"/>
                  <a:gd name="connsiteX1" fmla="*/ 21906 w 21906"/>
                  <a:gd name="connsiteY1" fmla="*/ 0 h 58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1906" h="5807">
                    <a:moveTo>
                      <a:pt x="0" y="5807"/>
                    </a:moveTo>
                    <a:lnTo>
                      <a:pt x="21906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658" name="Forma livre: Forma 1657">
              <a:extLst>
                <a:ext uri="{FF2B5EF4-FFF2-40B4-BE49-F238E27FC236}">
                  <a16:creationId xmlns:a16="http://schemas.microsoft.com/office/drawing/2014/main" id="{3800FBFC-A71A-2765-2D34-EAE51392006D}"/>
                </a:ext>
              </a:extLst>
            </p:cNvPr>
            <p:cNvSpPr/>
            <p:nvPr/>
          </p:nvSpPr>
          <p:spPr>
            <a:xfrm>
              <a:off x="1397493" y="3640185"/>
              <a:ext cx="171531" cy="1180"/>
            </a:xfrm>
            <a:custGeom>
              <a:avLst/>
              <a:gdLst>
                <a:gd name="connsiteX0" fmla="*/ 0 w 171531"/>
                <a:gd name="connsiteY0" fmla="*/ 0 h 1180"/>
                <a:gd name="connsiteX1" fmla="*/ 171532 w 171531"/>
                <a:gd name="connsiteY1" fmla="*/ 0 h 11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71531" h="1180">
                  <a:moveTo>
                    <a:pt x="0" y="0"/>
                  </a:moveTo>
                  <a:lnTo>
                    <a:pt x="171532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659" name="Gráfico 13">
              <a:extLst>
                <a:ext uri="{FF2B5EF4-FFF2-40B4-BE49-F238E27FC236}">
                  <a16:creationId xmlns:a16="http://schemas.microsoft.com/office/drawing/2014/main" id="{F463770C-F548-49CA-5013-2EEF832BD349}"/>
                </a:ext>
              </a:extLst>
            </p:cNvPr>
            <p:cNvGrpSpPr/>
            <p:nvPr/>
          </p:nvGrpSpPr>
          <p:grpSpPr>
            <a:xfrm>
              <a:off x="1369402" y="3671392"/>
              <a:ext cx="227713" cy="221800"/>
              <a:chOff x="1369402" y="3671392"/>
              <a:chExt cx="227713" cy="221800"/>
            </a:xfrm>
            <a:noFill/>
          </p:grpSpPr>
          <p:sp>
            <p:nvSpPr>
              <p:cNvPr id="1660" name="Forma livre: Forma 1659">
                <a:extLst>
                  <a:ext uri="{FF2B5EF4-FFF2-40B4-BE49-F238E27FC236}">
                    <a16:creationId xmlns:a16="http://schemas.microsoft.com/office/drawing/2014/main" id="{89E0A0AD-AF42-DD9B-02AD-571EF335B424}"/>
                  </a:ext>
                </a:extLst>
              </p:cNvPr>
              <p:cNvSpPr/>
              <p:nvPr/>
            </p:nvSpPr>
            <p:spPr>
              <a:xfrm>
                <a:off x="1369402" y="3671392"/>
                <a:ext cx="53726" cy="221788"/>
              </a:xfrm>
              <a:custGeom>
                <a:avLst/>
                <a:gdLst>
                  <a:gd name="connsiteX0" fmla="*/ 53727 w 53726"/>
                  <a:gd name="connsiteY0" fmla="*/ 195657 h 221788"/>
                  <a:gd name="connsiteX1" fmla="*/ 53727 w 53726"/>
                  <a:gd name="connsiteY1" fmla="*/ 217126 h 221788"/>
                  <a:gd name="connsiteX2" fmla="*/ 49065 w 53726"/>
                  <a:gd name="connsiteY2" fmla="*/ 221789 h 221788"/>
                  <a:gd name="connsiteX3" fmla="*/ 12122 w 53726"/>
                  <a:gd name="connsiteY3" fmla="*/ 221789 h 221788"/>
                  <a:gd name="connsiteX4" fmla="*/ 7459 w 53726"/>
                  <a:gd name="connsiteY4" fmla="*/ 217126 h 221788"/>
                  <a:gd name="connsiteX5" fmla="*/ 7459 w 53726"/>
                  <a:gd name="connsiteY5" fmla="*/ 194654 h 221788"/>
                  <a:gd name="connsiteX6" fmla="*/ 0 w 53726"/>
                  <a:gd name="connsiteY6" fmla="*/ 184055 h 221788"/>
                  <a:gd name="connsiteX7" fmla="*/ 0 w 53726"/>
                  <a:gd name="connsiteY7" fmla="*/ 0 h 2217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53726" h="221788">
                    <a:moveTo>
                      <a:pt x="53727" y="195657"/>
                    </a:moveTo>
                    <a:lnTo>
                      <a:pt x="53727" y="217126"/>
                    </a:lnTo>
                    <a:cubicBezTo>
                      <a:pt x="53727" y="219688"/>
                      <a:pt x="51638" y="221789"/>
                      <a:pt x="49065" y="221789"/>
                    </a:cubicBezTo>
                    <a:lnTo>
                      <a:pt x="12122" y="221789"/>
                    </a:lnTo>
                    <a:cubicBezTo>
                      <a:pt x="9560" y="221789"/>
                      <a:pt x="7459" y="219699"/>
                      <a:pt x="7459" y="217126"/>
                    </a:cubicBezTo>
                    <a:lnTo>
                      <a:pt x="7459" y="194654"/>
                    </a:lnTo>
                    <a:cubicBezTo>
                      <a:pt x="3246" y="192989"/>
                      <a:pt x="0" y="188858"/>
                      <a:pt x="0" y="184055"/>
                    </a:cubicBezTo>
                    <a:lnTo>
                      <a:pt x="0" y="0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661" name="Forma livre: Forma 1660">
                <a:extLst>
                  <a:ext uri="{FF2B5EF4-FFF2-40B4-BE49-F238E27FC236}">
                    <a16:creationId xmlns:a16="http://schemas.microsoft.com/office/drawing/2014/main" id="{9E2D60D1-8E62-02F1-3D87-3159BE4544B8}"/>
                  </a:ext>
                </a:extLst>
              </p:cNvPr>
              <p:cNvSpPr/>
              <p:nvPr/>
            </p:nvSpPr>
            <p:spPr>
              <a:xfrm>
                <a:off x="1543696" y="3671392"/>
                <a:ext cx="53419" cy="221800"/>
              </a:xfrm>
              <a:custGeom>
                <a:avLst/>
                <a:gdLst>
                  <a:gd name="connsiteX0" fmla="*/ 53420 w 53419"/>
                  <a:gd name="connsiteY0" fmla="*/ 0 h 221800"/>
                  <a:gd name="connsiteX1" fmla="*/ 53420 w 53419"/>
                  <a:gd name="connsiteY1" fmla="*/ 184055 h 221800"/>
                  <a:gd name="connsiteX2" fmla="*/ 46267 w 53419"/>
                  <a:gd name="connsiteY2" fmla="*/ 194654 h 221800"/>
                  <a:gd name="connsiteX3" fmla="*/ 46267 w 53419"/>
                  <a:gd name="connsiteY3" fmla="*/ 217138 h 221800"/>
                  <a:gd name="connsiteX4" fmla="*/ 41605 w 53419"/>
                  <a:gd name="connsiteY4" fmla="*/ 221800 h 221800"/>
                  <a:gd name="connsiteX5" fmla="*/ 4662 w 53419"/>
                  <a:gd name="connsiteY5" fmla="*/ 221800 h 221800"/>
                  <a:gd name="connsiteX6" fmla="*/ 0 w 53419"/>
                  <a:gd name="connsiteY6" fmla="*/ 217138 h 221800"/>
                  <a:gd name="connsiteX7" fmla="*/ 0 w 53419"/>
                  <a:gd name="connsiteY7" fmla="*/ 195669 h 2218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53419" h="221800">
                    <a:moveTo>
                      <a:pt x="53420" y="0"/>
                    </a:moveTo>
                    <a:lnTo>
                      <a:pt x="53420" y="184055"/>
                    </a:lnTo>
                    <a:cubicBezTo>
                      <a:pt x="53420" y="188847"/>
                      <a:pt x="50493" y="192989"/>
                      <a:pt x="46267" y="194654"/>
                    </a:cubicBezTo>
                    <a:lnTo>
                      <a:pt x="46267" y="217138"/>
                    </a:lnTo>
                    <a:cubicBezTo>
                      <a:pt x="46267" y="219699"/>
                      <a:pt x="44178" y="221800"/>
                      <a:pt x="41605" y="221800"/>
                    </a:cubicBezTo>
                    <a:lnTo>
                      <a:pt x="4662" y="221800"/>
                    </a:lnTo>
                    <a:cubicBezTo>
                      <a:pt x="2101" y="221800"/>
                      <a:pt x="0" y="219711"/>
                      <a:pt x="0" y="217138"/>
                    </a:cubicBezTo>
                    <a:lnTo>
                      <a:pt x="0" y="195669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662" name="Forma livre: Forma 1661">
              <a:extLst>
                <a:ext uri="{FF2B5EF4-FFF2-40B4-BE49-F238E27FC236}">
                  <a16:creationId xmlns:a16="http://schemas.microsoft.com/office/drawing/2014/main" id="{4E142CEA-2BCC-4804-F141-39FDDFAAB9FA}"/>
                </a:ext>
              </a:extLst>
            </p:cNvPr>
            <p:cNvSpPr/>
            <p:nvPr/>
          </p:nvSpPr>
          <p:spPr>
            <a:xfrm>
              <a:off x="1344179" y="3605886"/>
              <a:ext cx="278147" cy="88639"/>
            </a:xfrm>
            <a:custGeom>
              <a:avLst/>
              <a:gdLst>
                <a:gd name="connsiteX0" fmla="*/ 0 w 278147"/>
                <a:gd name="connsiteY0" fmla="*/ 88640 h 88639"/>
                <a:gd name="connsiteX1" fmla="*/ 0 w 278147"/>
                <a:gd name="connsiteY1" fmla="*/ 54529 h 88639"/>
                <a:gd name="connsiteX2" fmla="*/ 18885 w 278147"/>
                <a:gd name="connsiteY2" fmla="*/ 35645 h 88639"/>
                <a:gd name="connsiteX3" fmla="*/ 25211 w 278147"/>
                <a:gd name="connsiteY3" fmla="*/ 35645 h 88639"/>
                <a:gd name="connsiteX4" fmla="*/ 25211 w 278147"/>
                <a:gd name="connsiteY4" fmla="*/ 31632 h 88639"/>
                <a:gd name="connsiteX5" fmla="*/ 43683 w 278147"/>
                <a:gd name="connsiteY5" fmla="*/ 9277 h 88639"/>
                <a:gd name="connsiteX6" fmla="*/ 137893 w 278147"/>
                <a:gd name="connsiteY6" fmla="*/ 0 h 88639"/>
                <a:gd name="connsiteX7" fmla="*/ 234182 w 278147"/>
                <a:gd name="connsiteY7" fmla="*/ 9442 h 88639"/>
                <a:gd name="connsiteX8" fmla="*/ 252936 w 278147"/>
                <a:gd name="connsiteY8" fmla="*/ 31632 h 88639"/>
                <a:gd name="connsiteX9" fmla="*/ 252936 w 278147"/>
                <a:gd name="connsiteY9" fmla="*/ 35645 h 88639"/>
                <a:gd name="connsiteX10" fmla="*/ 259263 w 278147"/>
                <a:gd name="connsiteY10" fmla="*/ 35645 h 88639"/>
                <a:gd name="connsiteX11" fmla="*/ 278147 w 278147"/>
                <a:gd name="connsiteY11" fmla="*/ 54529 h 88639"/>
                <a:gd name="connsiteX12" fmla="*/ 278147 w 278147"/>
                <a:gd name="connsiteY12" fmla="*/ 88640 h 88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78147" h="88639">
                  <a:moveTo>
                    <a:pt x="0" y="88640"/>
                  </a:moveTo>
                  <a:lnTo>
                    <a:pt x="0" y="54529"/>
                  </a:lnTo>
                  <a:cubicBezTo>
                    <a:pt x="0" y="44143"/>
                    <a:pt x="8498" y="35645"/>
                    <a:pt x="18885" y="35645"/>
                  </a:cubicBezTo>
                  <a:lnTo>
                    <a:pt x="25211" y="35645"/>
                  </a:lnTo>
                  <a:cubicBezTo>
                    <a:pt x="25211" y="35645"/>
                    <a:pt x="25211" y="31632"/>
                    <a:pt x="25211" y="31632"/>
                  </a:cubicBezTo>
                  <a:cubicBezTo>
                    <a:pt x="25211" y="21245"/>
                    <a:pt x="33473" y="11189"/>
                    <a:pt x="43683" y="9277"/>
                  </a:cubicBezTo>
                  <a:cubicBezTo>
                    <a:pt x="43683" y="9277"/>
                    <a:pt x="79658" y="0"/>
                    <a:pt x="137893" y="0"/>
                  </a:cubicBezTo>
                  <a:cubicBezTo>
                    <a:pt x="196129" y="0"/>
                    <a:pt x="234182" y="9442"/>
                    <a:pt x="234182" y="9442"/>
                  </a:cubicBezTo>
                  <a:cubicBezTo>
                    <a:pt x="244403" y="11260"/>
                    <a:pt x="252936" y="21245"/>
                    <a:pt x="252936" y="31632"/>
                  </a:cubicBezTo>
                  <a:lnTo>
                    <a:pt x="252936" y="35645"/>
                  </a:lnTo>
                  <a:lnTo>
                    <a:pt x="259263" y="35645"/>
                  </a:lnTo>
                  <a:cubicBezTo>
                    <a:pt x="269649" y="35645"/>
                    <a:pt x="278147" y="44143"/>
                    <a:pt x="278147" y="54529"/>
                  </a:cubicBezTo>
                  <a:lnTo>
                    <a:pt x="278147" y="88640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664" name="Gráfico 14">
            <a:extLst>
              <a:ext uri="{FF2B5EF4-FFF2-40B4-BE49-F238E27FC236}">
                <a16:creationId xmlns:a16="http://schemas.microsoft.com/office/drawing/2014/main" id="{545BF47C-4799-0654-1FD5-FEBC5FD3F5C1}"/>
              </a:ext>
            </a:extLst>
          </p:cNvPr>
          <p:cNvGrpSpPr/>
          <p:nvPr/>
        </p:nvGrpSpPr>
        <p:grpSpPr>
          <a:xfrm>
            <a:off x="3166468" y="4148940"/>
            <a:ext cx="342472" cy="172324"/>
            <a:chOff x="3166468" y="4148940"/>
            <a:chExt cx="342472" cy="172324"/>
          </a:xfrm>
          <a:noFill/>
        </p:grpSpPr>
        <p:sp>
          <p:nvSpPr>
            <p:cNvPr id="1665" name="Forma livre: Forma 1664">
              <a:extLst>
                <a:ext uri="{FF2B5EF4-FFF2-40B4-BE49-F238E27FC236}">
                  <a16:creationId xmlns:a16="http://schemas.microsoft.com/office/drawing/2014/main" id="{F4DDC242-2C9D-F2F5-6345-E177A178DE5D}"/>
                </a:ext>
              </a:extLst>
            </p:cNvPr>
            <p:cNvSpPr/>
            <p:nvPr/>
          </p:nvSpPr>
          <p:spPr>
            <a:xfrm>
              <a:off x="3166468" y="4148940"/>
              <a:ext cx="342472" cy="153462"/>
            </a:xfrm>
            <a:custGeom>
              <a:avLst/>
              <a:gdLst>
                <a:gd name="connsiteX0" fmla="*/ 300775 w 342472"/>
                <a:gd name="connsiteY0" fmla="*/ 153462 h 153462"/>
                <a:gd name="connsiteX1" fmla="*/ 325858 w 342472"/>
                <a:gd name="connsiteY1" fmla="*/ 153462 h 153462"/>
                <a:gd name="connsiteX2" fmla="*/ 342473 w 342472"/>
                <a:gd name="connsiteY2" fmla="*/ 133985 h 153462"/>
                <a:gd name="connsiteX3" fmla="*/ 342473 w 342472"/>
                <a:gd name="connsiteY3" fmla="*/ 96486 h 153462"/>
                <a:gd name="connsiteX4" fmla="*/ 260473 w 342472"/>
                <a:gd name="connsiteY4" fmla="*/ 59815 h 153462"/>
                <a:gd name="connsiteX5" fmla="*/ 169829 w 342472"/>
                <a:gd name="connsiteY5" fmla="*/ 36 h 153462"/>
                <a:gd name="connsiteX6" fmla="*/ 76016 w 342472"/>
                <a:gd name="connsiteY6" fmla="*/ 36 h 153462"/>
                <a:gd name="connsiteX7" fmla="*/ 16769 w 342472"/>
                <a:gd name="connsiteY7" fmla="*/ 26596 h 153462"/>
                <a:gd name="connsiteX8" fmla="*/ 0 w 342472"/>
                <a:gd name="connsiteY8" fmla="*/ 65751 h 153462"/>
                <a:gd name="connsiteX9" fmla="*/ 0 w 342472"/>
                <a:gd name="connsiteY9" fmla="*/ 127103 h 153462"/>
                <a:gd name="connsiteX10" fmla="*/ 34117 w 342472"/>
                <a:gd name="connsiteY10" fmla="*/ 147159 h 1534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42472" h="153462">
                  <a:moveTo>
                    <a:pt x="300775" y="153462"/>
                  </a:moveTo>
                  <a:lnTo>
                    <a:pt x="325858" y="153462"/>
                  </a:lnTo>
                  <a:cubicBezTo>
                    <a:pt x="325858" y="153462"/>
                    <a:pt x="342473" y="151748"/>
                    <a:pt x="342473" y="133985"/>
                  </a:cubicBezTo>
                  <a:lnTo>
                    <a:pt x="342473" y="96486"/>
                  </a:lnTo>
                  <a:cubicBezTo>
                    <a:pt x="342473" y="96486"/>
                    <a:pt x="340912" y="74384"/>
                    <a:pt x="260473" y="59815"/>
                  </a:cubicBezTo>
                  <a:cubicBezTo>
                    <a:pt x="260473" y="59815"/>
                    <a:pt x="216340" y="7367"/>
                    <a:pt x="169829" y="36"/>
                  </a:cubicBezTo>
                  <a:lnTo>
                    <a:pt x="76016" y="36"/>
                  </a:lnTo>
                  <a:cubicBezTo>
                    <a:pt x="76016" y="36"/>
                    <a:pt x="39746" y="-2093"/>
                    <a:pt x="16769" y="26596"/>
                  </a:cubicBezTo>
                  <a:cubicBezTo>
                    <a:pt x="16769" y="26596"/>
                    <a:pt x="0" y="42040"/>
                    <a:pt x="0" y="65751"/>
                  </a:cubicBezTo>
                  <a:lnTo>
                    <a:pt x="0" y="127103"/>
                  </a:lnTo>
                  <a:cubicBezTo>
                    <a:pt x="0" y="127103"/>
                    <a:pt x="1750" y="147159"/>
                    <a:pt x="34117" y="147159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66" name="Forma livre: Forma 1665">
              <a:extLst>
                <a:ext uri="{FF2B5EF4-FFF2-40B4-BE49-F238E27FC236}">
                  <a16:creationId xmlns:a16="http://schemas.microsoft.com/office/drawing/2014/main" id="{7BEF77CD-0BE9-4133-2C9E-9EC05B158C5B}"/>
                </a:ext>
              </a:extLst>
            </p:cNvPr>
            <p:cNvSpPr/>
            <p:nvPr/>
          </p:nvSpPr>
          <p:spPr>
            <a:xfrm>
              <a:off x="3274957" y="4297826"/>
              <a:ext cx="117772" cy="1182"/>
            </a:xfrm>
            <a:custGeom>
              <a:avLst/>
              <a:gdLst>
                <a:gd name="connsiteX0" fmla="*/ 0 w 117772"/>
                <a:gd name="connsiteY0" fmla="*/ 0 h 1182"/>
                <a:gd name="connsiteX1" fmla="*/ 117772 w 117772"/>
                <a:gd name="connsiteY1" fmla="*/ 0 h 11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772" h="1182">
                  <a:moveTo>
                    <a:pt x="0" y="0"/>
                  </a:moveTo>
                  <a:lnTo>
                    <a:pt x="117772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67" name="Forma livre: Forma 1666">
              <a:extLst>
                <a:ext uri="{FF2B5EF4-FFF2-40B4-BE49-F238E27FC236}">
                  <a16:creationId xmlns:a16="http://schemas.microsoft.com/office/drawing/2014/main" id="{48C72BB7-6271-B5D9-2F77-0367835C1E08}"/>
                </a:ext>
              </a:extLst>
            </p:cNvPr>
            <p:cNvSpPr/>
            <p:nvPr/>
          </p:nvSpPr>
          <p:spPr>
            <a:xfrm>
              <a:off x="3199792" y="4265116"/>
              <a:ext cx="56160" cy="56148"/>
            </a:xfrm>
            <a:custGeom>
              <a:avLst/>
              <a:gdLst>
                <a:gd name="connsiteX0" fmla="*/ 56160 w 56160"/>
                <a:gd name="connsiteY0" fmla="*/ 28062 h 56148"/>
                <a:gd name="connsiteX1" fmla="*/ 28086 w 56160"/>
                <a:gd name="connsiteY1" fmla="*/ 56148 h 56148"/>
                <a:gd name="connsiteX2" fmla="*/ 0 w 56160"/>
                <a:gd name="connsiteY2" fmla="*/ 28062 h 56148"/>
                <a:gd name="connsiteX3" fmla="*/ 28086 w 56160"/>
                <a:gd name="connsiteY3" fmla="*/ 0 h 56148"/>
                <a:gd name="connsiteX4" fmla="*/ 56160 w 56160"/>
                <a:gd name="connsiteY4" fmla="*/ 28062 h 561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6160" h="56148">
                  <a:moveTo>
                    <a:pt x="56160" y="28062"/>
                  </a:moveTo>
                  <a:cubicBezTo>
                    <a:pt x="56160" y="43578"/>
                    <a:pt x="43590" y="56148"/>
                    <a:pt x="28086" y="56148"/>
                  </a:cubicBezTo>
                  <a:cubicBezTo>
                    <a:pt x="12583" y="56148"/>
                    <a:pt x="0" y="43578"/>
                    <a:pt x="0" y="28062"/>
                  </a:cubicBezTo>
                  <a:cubicBezTo>
                    <a:pt x="0" y="12547"/>
                    <a:pt x="12571" y="0"/>
                    <a:pt x="28086" y="0"/>
                  </a:cubicBezTo>
                  <a:cubicBezTo>
                    <a:pt x="43601" y="0"/>
                    <a:pt x="56160" y="12559"/>
                    <a:pt x="56160" y="28062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68" name="Forma livre: Forma 1667">
              <a:extLst>
                <a:ext uri="{FF2B5EF4-FFF2-40B4-BE49-F238E27FC236}">
                  <a16:creationId xmlns:a16="http://schemas.microsoft.com/office/drawing/2014/main" id="{2FEF9BEC-4D98-817D-5897-F078B6515ACE}"/>
                </a:ext>
              </a:extLst>
            </p:cNvPr>
            <p:cNvSpPr/>
            <p:nvPr/>
          </p:nvSpPr>
          <p:spPr>
            <a:xfrm>
              <a:off x="3411851" y="4265116"/>
              <a:ext cx="56148" cy="56148"/>
            </a:xfrm>
            <a:custGeom>
              <a:avLst/>
              <a:gdLst>
                <a:gd name="connsiteX0" fmla="*/ 56148 w 56148"/>
                <a:gd name="connsiteY0" fmla="*/ 28062 h 56148"/>
                <a:gd name="connsiteX1" fmla="*/ 28062 w 56148"/>
                <a:gd name="connsiteY1" fmla="*/ 56148 h 56148"/>
                <a:gd name="connsiteX2" fmla="*/ 0 w 56148"/>
                <a:gd name="connsiteY2" fmla="*/ 28062 h 56148"/>
                <a:gd name="connsiteX3" fmla="*/ 28062 w 56148"/>
                <a:gd name="connsiteY3" fmla="*/ 0 h 56148"/>
                <a:gd name="connsiteX4" fmla="*/ 56148 w 56148"/>
                <a:gd name="connsiteY4" fmla="*/ 28062 h 561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6148" h="56148">
                  <a:moveTo>
                    <a:pt x="56148" y="28062"/>
                  </a:moveTo>
                  <a:cubicBezTo>
                    <a:pt x="56148" y="43578"/>
                    <a:pt x="43578" y="56148"/>
                    <a:pt x="28062" y="56148"/>
                  </a:cubicBezTo>
                  <a:cubicBezTo>
                    <a:pt x="12547" y="56148"/>
                    <a:pt x="0" y="43578"/>
                    <a:pt x="0" y="28062"/>
                  </a:cubicBezTo>
                  <a:cubicBezTo>
                    <a:pt x="0" y="12547"/>
                    <a:pt x="12559" y="0"/>
                    <a:pt x="28062" y="0"/>
                  </a:cubicBezTo>
                  <a:cubicBezTo>
                    <a:pt x="43566" y="0"/>
                    <a:pt x="56148" y="12559"/>
                    <a:pt x="56148" y="28062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69" name="Forma livre: Forma 1668">
              <a:extLst>
                <a:ext uri="{FF2B5EF4-FFF2-40B4-BE49-F238E27FC236}">
                  <a16:creationId xmlns:a16="http://schemas.microsoft.com/office/drawing/2014/main" id="{AA6AD67D-21CE-094E-8B0D-90D8D0156F88}"/>
                </a:ext>
              </a:extLst>
            </p:cNvPr>
            <p:cNvSpPr/>
            <p:nvPr/>
          </p:nvSpPr>
          <p:spPr>
            <a:xfrm>
              <a:off x="3229948" y="4172249"/>
              <a:ext cx="165654" cy="41910"/>
            </a:xfrm>
            <a:custGeom>
              <a:avLst/>
              <a:gdLst>
                <a:gd name="connsiteX0" fmla="*/ 165655 w 165654"/>
                <a:gd name="connsiteY0" fmla="*/ 41910 h 41910"/>
                <a:gd name="connsiteX1" fmla="*/ 0 w 165654"/>
                <a:gd name="connsiteY1" fmla="*/ 29553 h 41910"/>
                <a:gd name="connsiteX2" fmla="*/ 6871 w 165654"/>
                <a:gd name="connsiteY2" fmla="*/ 0 h 419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5654" h="41910">
                  <a:moveTo>
                    <a:pt x="165655" y="41910"/>
                  </a:moveTo>
                  <a:lnTo>
                    <a:pt x="0" y="29553"/>
                  </a:lnTo>
                  <a:lnTo>
                    <a:pt x="6871" y="0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70" name="Forma livre: Forma 1669">
              <a:extLst>
                <a:ext uri="{FF2B5EF4-FFF2-40B4-BE49-F238E27FC236}">
                  <a16:creationId xmlns:a16="http://schemas.microsoft.com/office/drawing/2014/main" id="{7CA63961-E65A-42CD-7177-6D5F8A7D4BE9}"/>
                </a:ext>
              </a:extLst>
            </p:cNvPr>
            <p:cNvSpPr/>
            <p:nvPr/>
          </p:nvSpPr>
          <p:spPr>
            <a:xfrm>
              <a:off x="3307785" y="4148987"/>
              <a:ext cx="1182" cy="58076"/>
            </a:xfrm>
            <a:custGeom>
              <a:avLst/>
              <a:gdLst>
                <a:gd name="connsiteX0" fmla="*/ 0 w 1182"/>
                <a:gd name="connsiteY0" fmla="*/ 58076 h 58076"/>
                <a:gd name="connsiteX1" fmla="*/ 0 w 1182"/>
                <a:gd name="connsiteY1" fmla="*/ 0 h 580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82" h="58076">
                  <a:moveTo>
                    <a:pt x="0" y="58076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71" name="Forma livre: Forma 1670">
              <a:extLst>
                <a:ext uri="{FF2B5EF4-FFF2-40B4-BE49-F238E27FC236}">
                  <a16:creationId xmlns:a16="http://schemas.microsoft.com/office/drawing/2014/main" id="{AC2BA59B-7FAD-2A0C-9CFA-EF1430CDDC78}"/>
                </a:ext>
              </a:extLst>
            </p:cNvPr>
            <p:cNvSpPr/>
            <p:nvPr/>
          </p:nvSpPr>
          <p:spPr>
            <a:xfrm>
              <a:off x="3167875" y="4259132"/>
              <a:ext cx="21913" cy="1182"/>
            </a:xfrm>
            <a:custGeom>
              <a:avLst/>
              <a:gdLst>
                <a:gd name="connsiteX0" fmla="*/ 21913 w 21913"/>
                <a:gd name="connsiteY0" fmla="*/ 0 h 1182"/>
                <a:gd name="connsiteX1" fmla="*/ 0 w 21913"/>
                <a:gd name="connsiteY1" fmla="*/ 0 h 11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1913" h="1182">
                  <a:moveTo>
                    <a:pt x="21913" y="0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72" name="Forma livre: Forma 1671">
              <a:extLst>
                <a:ext uri="{FF2B5EF4-FFF2-40B4-BE49-F238E27FC236}">
                  <a16:creationId xmlns:a16="http://schemas.microsoft.com/office/drawing/2014/main" id="{DB3EC455-33F3-83A1-F9F3-29E5143DA577}"/>
                </a:ext>
              </a:extLst>
            </p:cNvPr>
            <p:cNvSpPr/>
            <p:nvPr/>
          </p:nvSpPr>
          <p:spPr>
            <a:xfrm>
              <a:off x="3484568" y="4261923"/>
              <a:ext cx="23332" cy="1182"/>
            </a:xfrm>
            <a:custGeom>
              <a:avLst/>
              <a:gdLst>
                <a:gd name="connsiteX0" fmla="*/ 23332 w 23332"/>
                <a:gd name="connsiteY0" fmla="*/ 0 h 1182"/>
                <a:gd name="connsiteX1" fmla="*/ 0 w 23332"/>
                <a:gd name="connsiteY1" fmla="*/ 0 h 11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3332" h="1182">
                  <a:moveTo>
                    <a:pt x="23332" y="0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673" name="Gráfico 14">
            <a:extLst>
              <a:ext uri="{FF2B5EF4-FFF2-40B4-BE49-F238E27FC236}">
                <a16:creationId xmlns:a16="http://schemas.microsoft.com/office/drawing/2014/main" id="{32BBCD9E-FEEE-E754-4261-BC44D2ADF5BA}"/>
              </a:ext>
            </a:extLst>
          </p:cNvPr>
          <p:cNvGrpSpPr/>
          <p:nvPr/>
        </p:nvGrpSpPr>
        <p:grpSpPr>
          <a:xfrm>
            <a:off x="3183272" y="5650263"/>
            <a:ext cx="308852" cy="345677"/>
            <a:chOff x="3183272" y="5650263"/>
            <a:chExt cx="308852" cy="345677"/>
          </a:xfrm>
          <a:noFill/>
        </p:grpSpPr>
        <p:grpSp>
          <p:nvGrpSpPr>
            <p:cNvPr id="1674" name="Gráfico 14">
              <a:extLst>
                <a:ext uri="{FF2B5EF4-FFF2-40B4-BE49-F238E27FC236}">
                  <a16:creationId xmlns:a16="http://schemas.microsoft.com/office/drawing/2014/main" id="{4B843045-8EB6-5456-C2FB-2BD094A334D3}"/>
                </a:ext>
              </a:extLst>
            </p:cNvPr>
            <p:cNvGrpSpPr/>
            <p:nvPr/>
          </p:nvGrpSpPr>
          <p:grpSpPr>
            <a:xfrm>
              <a:off x="3232420" y="5650263"/>
              <a:ext cx="214447" cy="345677"/>
              <a:chOff x="3232420" y="5650263"/>
              <a:chExt cx="214447" cy="345677"/>
            </a:xfrm>
            <a:noFill/>
          </p:grpSpPr>
          <p:sp>
            <p:nvSpPr>
              <p:cNvPr id="1675" name="Forma livre: Forma 1674">
                <a:extLst>
                  <a:ext uri="{FF2B5EF4-FFF2-40B4-BE49-F238E27FC236}">
                    <a16:creationId xmlns:a16="http://schemas.microsoft.com/office/drawing/2014/main" id="{83D7CF84-6E52-D3C8-6C1E-083D16BFF45D}"/>
                  </a:ext>
                </a:extLst>
              </p:cNvPr>
              <p:cNvSpPr/>
              <p:nvPr/>
            </p:nvSpPr>
            <p:spPr>
              <a:xfrm>
                <a:off x="3340909" y="5654402"/>
                <a:ext cx="56136" cy="257008"/>
              </a:xfrm>
              <a:custGeom>
                <a:avLst/>
                <a:gdLst>
                  <a:gd name="connsiteX0" fmla="*/ 0 w 56136"/>
                  <a:gd name="connsiteY0" fmla="*/ 0 h 257008"/>
                  <a:gd name="connsiteX1" fmla="*/ 56137 w 56136"/>
                  <a:gd name="connsiteY1" fmla="*/ 105308 h 257008"/>
                  <a:gd name="connsiteX2" fmla="*/ 35856 w 56136"/>
                  <a:gd name="connsiteY2" fmla="*/ 181135 h 257008"/>
                  <a:gd name="connsiteX3" fmla="*/ 25248 w 56136"/>
                  <a:gd name="connsiteY3" fmla="*/ 210581 h 257008"/>
                  <a:gd name="connsiteX4" fmla="*/ 13741 w 56136"/>
                  <a:gd name="connsiteY4" fmla="*/ 257008 h 2570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6136" h="257008">
                    <a:moveTo>
                      <a:pt x="0" y="0"/>
                    </a:moveTo>
                    <a:cubicBezTo>
                      <a:pt x="31977" y="9484"/>
                      <a:pt x="56137" y="53026"/>
                      <a:pt x="56137" y="105308"/>
                    </a:cubicBezTo>
                    <a:cubicBezTo>
                      <a:pt x="56137" y="134920"/>
                      <a:pt x="48828" y="152126"/>
                      <a:pt x="35856" y="181135"/>
                    </a:cubicBezTo>
                    <a:cubicBezTo>
                      <a:pt x="35856" y="181135"/>
                      <a:pt x="31740" y="191210"/>
                      <a:pt x="25248" y="210581"/>
                    </a:cubicBezTo>
                    <a:cubicBezTo>
                      <a:pt x="19926" y="226451"/>
                      <a:pt x="15894" y="242498"/>
                      <a:pt x="13741" y="257008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676" name="Forma livre: Forma 1675">
                <a:extLst>
                  <a:ext uri="{FF2B5EF4-FFF2-40B4-BE49-F238E27FC236}">
                    <a16:creationId xmlns:a16="http://schemas.microsoft.com/office/drawing/2014/main" id="{9C3BB9B3-ACA5-0803-7535-C1E665B729A8}"/>
                  </a:ext>
                </a:extLst>
              </p:cNvPr>
              <p:cNvSpPr/>
              <p:nvPr/>
            </p:nvSpPr>
            <p:spPr>
              <a:xfrm>
                <a:off x="3232420" y="5697258"/>
                <a:ext cx="83383" cy="246743"/>
              </a:xfrm>
              <a:custGeom>
                <a:avLst/>
                <a:gdLst>
                  <a:gd name="connsiteX0" fmla="*/ 20376 w 83383"/>
                  <a:gd name="connsiteY0" fmla="*/ 0 h 246743"/>
                  <a:gd name="connsiteX1" fmla="*/ 0 w 83383"/>
                  <a:gd name="connsiteY1" fmla="*/ 62901 h 246743"/>
                  <a:gd name="connsiteX2" fmla="*/ 31397 w 83383"/>
                  <a:gd name="connsiteY2" fmla="*/ 138716 h 246743"/>
                  <a:gd name="connsiteX3" fmla="*/ 76690 w 83383"/>
                  <a:gd name="connsiteY3" fmla="*/ 217711 h 246743"/>
                  <a:gd name="connsiteX4" fmla="*/ 83383 w 83383"/>
                  <a:gd name="connsiteY4" fmla="*/ 246744 h 2467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3383" h="246743">
                    <a:moveTo>
                      <a:pt x="20376" y="0"/>
                    </a:moveTo>
                    <a:cubicBezTo>
                      <a:pt x="7557" y="17668"/>
                      <a:pt x="0" y="39403"/>
                      <a:pt x="0" y="62901"/>
                    </a:cubicBezTo>
                    <a:cubicBezTo>
                      <a:pt x="0" y="92513"/>
                      <a:pt x="11991" y="119322"/>
                      <a:pt x="31397" y="138716"/>
                    </a:cubicBezTo>
                    <a:cubicBezTo>
                      <a:pt x="31397" y="138716"/>
                      <a:pt x="76690" y="190891"/>
                      <a:pt x="76690" y="217711"/>
                    </a:cubicBezTo>
                    <a:lnTo>
                      <a:pt x="83383" y="246744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677" name="Forma livre: Forma 1676">
                <a:extLst>
                  <a:ext uri="{FF2B5EF4-FFF2-40B4-BE49-F238E27FC236}">
                    <a16:creationId xmlns:a16="http://schemas.microsoft.com/office/drawing/2014/main" id="{EE35894C-439D-CEB0-63AD-95686B98C58F}"/>
                  </a:ext>
                </a:extLst>
              </p:cNvPr>
              <p:cNvSpPr/>
              <p:nvPr/>
            </p:nvSpPr>
            <p:spPr>
              <a:xfrm>
                <a:off x="3269091" y="5652935"/>
                <a:ext cx="177776" cy="291066"/>
              </a:xfrm>
              <a:custGeom>
                <a:avLst/>
                <a:gdLst>
                  <a:gd name="connsiteX0" fmla="*/ 94381 w 177776"/>
                  <a:gd name="connsiteY0" fmla="*/ 291066 h 291066"/>
                  <a:gd name="connsiteX1" fmla="*/ 101074 w 177776"/>
                  <a:gd name="connsiteY1" fmla="*/ 262034 h 291066"/>
                  <a:gd name="connsiteX2" fmla="*/ 146367 w 177776"/>
                  <a:gd name="connsiteY2" fmla="*/ 183039 h 291066"/>
                  <a:gd name="connsiteX3" fmla="*/ 177776 w 177776"/>
                  <a:gd name="connsiteY3" fmla="*/ 107224 h 291066"/>
                  <a:gd name="connsiteX4" fmla="*/ 70552 w 177776"/>
                  <a:gd name="connsiteY4" fmla="*/ 0 h 291066"/>
                  <a:gd name="connsiteX5" fmla="*/ 0 w 177776"/>
                  <a:gd name="connsiteY5" fmla="*/ 26490 h 2910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77776" h="291066">
                    <a:moveTo>
                      <a:pt x="94381" y="291066"/>
                    </a:moveTo>
                    <a:lnTo>
                      <a:pt x="101074" y="262034"/>
                    </a:lnTo>
                    <a:cubicBezTo>
                      <a:pt x="101074" y="235225"/>
                      <a:pt x="146367" y="183039"/>
                      <a:pt x="146367" y="183039"/>
                    </a:cubicBezTo>
                    <a:cubicBezTo>
                      <a:pt x="165773" y="163632"/>
                      <a:pt x="177776" y="136835"/>
                      <a:pt x="177776" y="107224"/>
                    </a:cubicBezTo>
                    <a:cubicBezTo>
                      <a:pt x="177776" y="48012"/>
                      <a:pt x="129764" y="0"/>
                      <a:pt x="70552" y="0"/>
                    </a:cubicBezTo>
                    <a:cubicBezTo>
                      <a:pt x="43531" y="0"/>
                      <a:pt x="18850" y="9993"/>
                      <a:pt x="0" y="26490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678" name="Forma livre: Forma 1677">
                <a:extLst>
                  <a:ext uri="{FF2B5EF4-FFF2-40B4-BE49-F238E27FC236}">
                    <a16:creationId xmlns:a16="http://schemas.microsoft.com/office/drawing/2014/main" id="{EB2FA747-34F8-23E0-E6E3-F172D38CB2C4}"/>
                  </a:ext>
                </a:extLst>
              </p:cNvPr>
              <p:cNvSpPr/>
              <p:nvPr/>
            </p:nvSpPr>
            <p:spPr>
              <a:xfrm>
                <a:off x="3339643" y="5650263"/>
                <a:ext cx="1182" cy="294862"/>
              </a:xfrm>
              <a:custGeom>
                <a:avLst/>
                <a:gdLst>
                  <a:gd name="connsiteX0" fmla="*/ 0 w 1182"/>
                  <a:gd name="connsiteY0" fmla="*/ 0 h 294862"/>
                  <a:gd name="connsiteX1" fmla="*/ 0 w 1182"/>
                  <a:gd name="connsiteY1" fmla="*/ 294862 h 2948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82" h="294862">
                    <a:moveTo>
                      <a:pt x="0" y="0"/>
                    </a:moveTo>
                    <a:lnTo>
                      <a:pt x="0" y="294862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679" name="Forma livre: Forma 1678">
                <a:extLst>
                  <a:ext uri="{FF2B5EF4-FFF2-40B4-BE49-F238E27FC236}">
                    <a16:creationId xmlns:a16="http://schemas.microsoft.com/office/drawing/2014/main" id="{1E19E3C0-FFE1-5198-8723-1D737B412750}"/>
                  </a:ext>
                </a:extLst>
              </p:cNvPr>
              <p:cNvSpPr/>
              <p:nvPr/>
            </p:nvSpPr>
            <p:spPr>
              <a:xfrm>
                <a:off x="3302889" y="5947916"/>
                <a:ext cx="73496" cy="1182"/>
              </a:xfrm>
              <a:custGeom>
                <a:avLst/>
                <a:gdLst>
                  <a:gd name="connsiteX0" fmla="*/ 0 w 73496"/>
                  <a:gd name="connsiteY0" fmla="*/ 0 h 1182"/>
                  <a:gd name="connsiteX1" fmla="*/ 73497 w 73496"/>
                  <a:gd name="connsiteY1" fmla="*/ 0 h 11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73496" h="1182">
                    <a:moveTo>
                      <a:pt x="0" y="0"/>
                    </a:moveTo>
                    <a:lnTo>
                      <a:pt x="73497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680" name="Forma livre: Forma 1679">
                <a:extLst>
                  <a:ext uri="{FF2B5EF4-FFF2-40B4-BE49-F238E27FC236}">
                    <a16:creationId xmlns:a16="http://schemas.microsoft.com/office/drawing/2014/main" id="{F0717BDA-7605-4CC4-8C55-6D14E83A7F49}"/>
                  </a:ext>
                </a:extLst>
              </p:cNvPr>
              <p:cNvSpPr/>
              <p:nvPr/>
            </p:nvSpPr>
            <p:spPr>
              <a:xfrm>
                <a:off x="3308364" y="5951274"/>
                <a:ext cx="62546" cy="44665"/>
              </a:xfrm>
              <a:custGeom>
                <a:avLst/>
                <a:gdLst>
                  <a:gd name="connsiteX0" fmla="*/ 62546 w 62546"/>
                  <a:gd name="connsiteY0" fmla="*/ 0 h 44665"/>
                  <a:gd name="connsiteX1" fmla="*/ 62546 w 62546"/>
                  <a:gd name="connsiteY1" fmla="*/ 44666 h 44665"/>
                  <a:gd name="connsiteX2" fmla="*/ 0 w 62546"/>
                  <a:gd name="connsiteY2" fmla="*/ 44666 h 44665"/>
                  <a:gd name="connsiteX3" fmla="*/ 0 w 62546"/>
                  <a:gd name="connsiteY3" fmla="*/ 13954 h 446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2546" h="44665">
                    <a:moveTo>
                      <a:pt x="62546" y="0"/>
                    </a:moveTo>
                    <a:lnTo>
                      <a:pt x="62546" y="44666"/>
                    </a:lnTo>
                    <a:lnTo>
                      <a:pt x="0" y="44666"/>
                    </a:lnTo>
                    <a:lnTo>
                      <a:pt x="0" y="13954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681" name="Forma livre: Forma 1680">
                <a:extLst>
                  <a:ext uri="{FF2B5EF4-FFF2-40B4-BE49-F238E27FC236}">
                    <a16:creationId xmlns:a16="http://schemas.microsoft.com/office/drawing/2014/main" id="{DBC212E5-5B72-E949-8E98-1B55D0D80EA8}"/>
                  </a:ext>
                </a:extLst>
              </p:cNvPr>
              <p:cNvSpPr/>
              <p:nvPr/>
            </p:nvSpPr>
            <p:spPr>
              <a:xfrm>
                <a:off x="3309299" y="5912285"/>
                <a:ext cx="60677" cy="1182"/>
              </a:xfrm>
              <a:custGeom>
                <a:avLst/>
                <a:gdLst>
                  <a:gd name="connsiteX0" fmla="*/ 0 w 60677"/>
                  <a:gd name="connsiteY0" fmla="*/ 0 h 1182"/>
                  <a:gd name="connsiteX1" fmla="*/ 60678 w 60677"/>
                  <a:gd name="connsiteY1" fmla="*/ 0 h 11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0677" h="1182">
                    <a:moveTo>
                      <a:pt x="0" y="0"/>
                    </a:moveTo>
                    <a:lnTo>
                      <a:pt x="60678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682" name="Forma livre: Forma 1681">
                <a:extLst>
                  <a:ext uri="{FF2B5EF4-FFF2-40B4-BE49-F238E27FC236}">
                    <a16:creationId xmlns:a16="http://schemas.microsoft.com/office/drawing/2014/main" id="{C199AD0F-82C2-CEE3-A1EE-CC9DD1BC80F1}"/>
                  </a:ext>
                </a:extLst>
              </p:cNvPr>
              <p:cNvSpPr/>
              <p:nvPr/>
            </p:nvSpPr>
            <p:spPr>
              <a:xfrm>
                <a:off x="3282170" y="5717858"/>
                <a:ext cx="42336" cy="193078"/>
              </a:xfrm>
              <a:custGeom>
                <a:avLst/>
                <a:gdLst>
                  <a:gd name="connsiteX0" fmla="*/ 5463 w 42336"/>
                  <a:gd name="connsiteY0" fmla="*/ 0 h 193078"/>
                  <a:gd name="connsiteX1" fmla="*/ 0 w 42336"/>
                  <a:gd name="connsiteY1" fmla="*/ 41839 h 193078"/>
                  <a:gd name="connsiteX2" fmla="*/ 20281 w 42336"/>
                  <a:gd name="connsiteY2" fmla="*/ 117666 h 193078"/>
                  <a:gd name="connsiteX3" fmla="*/ 30889 w 42336"/>
                  <a:gd name="connsiteY3" fmla="*/ 147112 h 193078"/>
                  <a:gd name="connsiteX4" fmla="*/ 42336 w 42336"/>
                  <a:gd name="connsiteY4" fmla="*/ 193079 h 1930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2336" h="193078">
                    <a:moveTo>
                      <a:pt x="5463" y="0"/>
                    </a:moveTo>
                    <a:cubicBezTo>
                      <a:pt x="1939" y="12855"/>
                      <a:pt x="0" y="26998"/>
                      <a:pt x="0" y="41839"/>
                    </a:cubicBezTo>
                    <a:cubicBezTo>
                      <a:pt x="0" y="71451"/>
                      <a:pt x="7308" y="88657"/>
                      <a:pt x="20281" y="117666"/>
                    </a:cubicBezTo>
                    <a:cubicBezTo>
                      <a:pt x="20281" y="117666"/>
                      <a:pt x="24396" y="127741"/>
                      <a:pt x="30889" y="147112"/>
                    </a:cubicBezTo>
                    <a:cubicBezTo>
                      <a:pt x="36151" y="162816"/>
                      <a:pt x="40160" y="178710"/>
                      <a:pt x="42336" y="193079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683" name="Forma livre: Forma 1682">
                <a:extLst>
                  <a:ext uri="{FF2B5EF4-FFF2-40B4-BE49-F238E27FC236}">
                    <a16:creationId xmlns:a16="http://schemas.microsoft.com/office/drawing/2014/main" id="{7CBB65FD-3C4B-2D3F-3FD6-9AF48180FDFB}"/>
                  </a:ext>
                </a:extLst>
              </p:cNvPr>
              <p:cNvSpPr/>
              <p:nvPr/>
            </p:nvSpPr>
            <p:spPr>
              <a:xfrm>
                <a:off x="3296326" y="5654402"/>
                <a:ext cx="41981" cy="40337"/>
              </a:xfrm>
              <a:custGeom>
                <a:avLst/>
                <a:gdLst>
                  <a:gd name="connsiteX0" fmla="*/ 41981 w 41981"/>
                  <a:gd name="connsiteY0" fmla="*/ 0 h 40337"/>
                  <a:gd name="connsiteX1" fmla="*/ 0 w 41981"/>
                  <a:gd name="connsiteY1" fmla="*/ 40338 h 403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1981" h="40337">
                    <a:moveTo>
                      <a:pt x="41981" y="0"/>
                    </a:moveTo>
                    <a:cubicBezTo>
                      <a:pt x="24952" y="5061"/>
                      <a:pt x="10135" y="19784"/>
                      <a:pt x="0" y="40338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684" name="Forma livre: Forma 1683">
              <a:extLst>
                <a:ext uri="{FF2B5EF4-FFF2-40B4-BE49-F238E27FC236}">
                  <a16:creationId xmlns:a16="http://schemas.microsoft.com/office/drawing/2014/main" id="{15D6D0E4-093E-4128-2936-F6DD65DE7888}"/>
                </a:ext>
              </a:extLst>
            </p:cNvPr>
            <p:cNvSpPr/>
            <p:nvPr/>
          </p:nvSpPr>
          <p:spPr>
            <a:xfrm>
              <a:off x="3421347" y="5859093"/>
              <a:ext cx="70776" cy="16248"/>
            </a:xfrm>
            <a:custGeom>
              <a:avLst/>
              <a:gdLst>
                <a:gd name="connsiteX0" fmla="*/ 0 w 70776"/>
                <a:gd name="connsiteY0" fmla="*/ 16249 h 16248"/>
                <a:gd name="connsiteX1" fmla="*/ 23864 w 70776"/>
                <a:gd name="connsiteY1" fmla="*/ 16249 h 16248"/>
                <a:gd name="connsiteX2" fmla="*/ 40101 w 70776"/>
                <a:gd name="connsiteY2" fmla="*/ 0 h 16248"/>
                <a:gd name="connsiteX3" fmla="*/ 56338 w 70776"/>
                <a:gd name="connsiteY3" fmla="*/ 16249 h 16248"/>
                <a:gd name="connsiteX4" fmla="*/ 70777 w 70776"/>
                <a:gd name="connsiteY4" fmla="*/ 16249 h 162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0776" h="16248">
                  <a:moveTo>
                    <a:pt x="0" y="16249"/>
                  </a:moveTo>
                  <a:lnTo>
                    <a:pt x="23864" y="16249"/>
                  </a:lnTo>
                  <a:cubicBezTo>
                    <a:pt x="23864" y="7273"/>
                    <a:pt x="31137" y="0"/>
                    <a:pt x="40101" y="0"/>
                  </a:cubicBezTo>
                  <a:cubicBezTo>
                    <a:pt x="49065" y="0"/>
                    <a:pt x="56338" y="7273"/>
                    <a:pt x="56338" y="16249"/>
                  </a:cubicBezTo>
                  <a:lnTo>
                    <a:pt x="70777" y="16249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85" name="Forma livre: Forma 1684">
              <a:extLst>
                <a:ext uri="{FF2B5EF4-FFF2-40B4-BE49-F238E27FC236}">
                  <a16:creationId xmlns:a16="http://schemas.microsoft.com/office/drawing/2014/main" id="{B776BF8D-0FA8-5C5B-1D43-0597399F3F88}"/>
                </a:ext>
              </a:extLst>
            </p:cNvPr>
            <p:cNvSpPr/>
            <p:nvPr/>
          </p:nvSpPr>
          <p:spPr>
            <a:xfrm>
              <a:off x="3183272" y="5897858"/>
              <a:ext cx="63504" cy="13268"/>
            </a:xfrm>
            <a:custGeom>
              <a:avLst/>
              <a:gdLst>
                <a:gd name="connsiteX0" fmla="*/ 63504 w 63504"/>
                <a:gd name="connsiteY0" fmla="*/ 13268 h 13268"/>
                <a:gd name="connsiteX1" fmla="*/ 50650 w 63504"/>
                <a:gd name="connsiteY1" fmla="*/ 13268 h 13268"/>
                <a:gd name="connsiteX2" fmla="*/ 37381 w 63504"/>
                <a:gd name="connsiteY2" fmla="*/ 0 h 13268"/>
                <a:gd name="connsiteX3" fmla="*/ 24113 w 63504"/>
                <a:gd name="connsiteY3" fmla="*/ 13268 h 13268"/>
                <a:gd name="connsiteX4" fmla="*/ 0 w 63504"/>
                <a:gd name="connsiteY4" fmla="*/ 13268 h 132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504" h="13268">
                  <a:moveTo>
                    <a:pt x="63504" y="13268"/>
                  </a:moveTo>
                  <a:lnTo>
                    <a:pt x="50650" y="13268"/>
                  </a:lnTo>
                  <a:cubicBezTo>
                    <a:pt x="50650" y="5937"/>
                    <a:pt x="44713" y="0"/>
                    <a:pt x="37381" y="0"/>
                  </a:cubicBezTo>
                  <a:cubicBezTo>
                    <a:pt x="30049" y="0"/>
                    <a:pt x="24113" y="5937"/>
                    <a:pt x="24113" y="13268"/>
                  </a:cubicBezTo>
                  <a:lnTo>
                    <a:pt x="0" y="13268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86" name="Forma livre: Forma 1685">
              <a:extLst>
                <a:ext uri="{FF2B5EF4-FFF2-40B4-BE49-F238E27FC236}">
                  <a16:creationId xmlns:a16="http://schemas.microsoft.com/office/drawing/2014/main" id="{DCEC738C-9ADF-9E87-FB1C-BF8EF3CB7A9C}"/>
                </a:ext>
              </a:extLst>
            </p:cNvPr>
            <p:cNvSpPr/>
            <p:nvPr/>
          </p:nvSpPr>
          <p:spPr>
            <a:xfrm>
              <a:off x="3252547" y="5926913"/>
              <a:ext cx="25023" cy="1182"/>
            </a:xfrm>
            <a:custGeom>
              <a:avLst/>
              <a:gdLst>
                <a:gd name="connsiteX0" fmla="*/ 0 w 25023"/>
                <a:gd name="connsiteY0" fmla="*/ 0 h 1182"/>
                <a:gd name="connsiteX1" fmla="*/ 25023 w 25023"/>
                <a:gd name="connsiteY1" fmla="*/ 0 h 11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5023" h="1182">
                  <a:moveTo>
                    <a:pt x="0" y="0"/>
                  </a:moveTo>
                  <a:lnTo>
                    <a:pt x="25023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87" name="Forma livre: Forma 1686">
              <a:extLst>
                <a:ext uri="{FF2B5EF4-FFF2-40B4-BE49-F238E27FC236}">
                  <a16:creationId xmlns:a16="http://schemas.microsoft.com/office/drawing/2014/main" id="{B8B8CE14-32A8-66A2-EA22-857D706EA244}"/>
                </a:ext>
              </a:extLst>
            </p:cNvPr>
            <p:cNvSpPr/>
            <p:nvPr/>
          </p:nvSpPr>
          <p:spPr>
            <a:xfrm>
              <a:off x="3210294" y="5938574"/>
              <a:ext cx="11068" cy="1182"/>
            </a:xfrm>
            <a:custGeom>
              <a:avLst/>
              <a:gdLst>
                <a:gd name="connsiteX0" fmla="*/ 0 w 11068"/>
                <a:gd name="connsiteY0" fmla="*/ 0 h 1182"/>
                <a:gd name="connsiteX1" fmla="*/ 11069 w 11068"/>
                <a:gd name="connsiteY1" fmla="*/ 0 h 11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068" h="1182">
                  <a:moveTo>
                    <a:pt x="0" y="0"/>
                  </a:moveTo>
                  <a:lnTo>
                    <a:pt x="11069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688" name="Gráfico 14">
            <a:extLst>
              <a:ext uri="{FF2B5EF4-FFF2-40B4-BE49-F238E27FC236}">
                <a16:creationId xmlns:a16="http://schemas.microsoft.com/office/drawing/2014/main" id="{86FAEFED-3977-3658-5536-710237A30BBD}"/>
              </a:ext>
            </a:extLst>
          </p:cNvPr>
          <p:cNvGrpSpPr/>
          <p:nvPr/>
        </p:nvGrpSpPr>
        <p:grpSpPr>
          <a:xfrm>
            <a:off x="3179062" y="3565696"/>
            <a:ext cx="317307" cy="258285"/>
            <a:chOff x="3179062" y="3565696"/>
            <a:chExt cx="317307" cy="258285"/>
          </a:xfrm>
          <a:noFill/>
        </p:grpSpPr>
        <p:sp>
          <p:nvSpPr>
            <p:cNvPr id="1689" name="Forma livre: Forma 1688">
              <a:extLst>
                <a:ext uri="{FF2B5EF4-FFF2-40B4-BE49-F238E27FC236}">
                  <a16:creationId xmlns:a16="http://schemas.microsoft.com/office/drawing/2014/main" id="{311D4CA1-6165-32C3-5559-8C1C3833F295}"/>
                </a:ext>
              </a:extLst>
            </p:cNvPr>
            <p:cNvSpPr/>
            <p:nvPr/>
          </p:nvSpPr>
          <p:spPr>
            <a:xfrm>
              <a:off x="3202252" y="3767833"/>
              <a:ext cx="56160" cy="56148"/>
            </a:xfrm>
            <a:custGeom>
              <a:avLst/>
              <a:gdLst>
                <a:gd name="connsiteX0" fmla="*/ 56160 w 56160"/>
                <a:gd name="connsiteY0" fmla="*/ 28062 h 56148"/>
                <a:gd name="connsiteX1" fmla="*/ 28086 w 56160"/>
                <a:gd name="connsiteY1" fmla="*/ 56149 h 56148"/>
                <a:gd name="connsiteX2" fmla="*/ 0 w 56160"/>
                <a:gd name="connsiteY2" fmla="*/ 28062 h 56148"/>
                <a:gd name="connsiteX3" fmla="*/ 28086 w 56160"/>
                <a:gd name="connsiteY3" fmla="*/ 0 h 56148"/>
                <a:gd name="connsiteX4" fmla="*/ 56160 w 56160"/>
                <a:gd name="connsiteY4" fmla="*/ 28062 h 561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6160" h="56148">
                  <a:moveTo>
                    <a:pt x="56160" y="28062"/>
                  </a:moveTo>
                  <a:cubicBezTo>
                    <a:pt x="56160" y="43578"/>
                    <a:pt x="43590" y="56149"/>
                    <a:pt x="28086" y="56149"/>
                  </a:cubicBezTo>
                  <a:cubicBezTo>
                    <a:pt x="12583" y="56149"/>
                    <a:pt x="0" y="43578"/>
                    <a:pt x="0" y="28062"/>
                  </a:cubicBezTo>
                  <a:cubicBezTo>
                    <a:pt x="0" y="12547"/>
                    <a:pt x="12571" y="0"/>
                    <a:pt x="28086" y="0"/>
                  </a:cubicBezTo>
                  <a:cubicBezTo>
                    <a:pt x="43601" y="0"/>
                    <a:pt x="56160" y="12559"/>
                    <a:pt x="56160" y="28062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90" name="Forma livre: Forma 1689">
              <a:extLst>
                <a:ext uri="{FF2B5EF4-FFF2-40B4-BE49-F238E27FC236}">
                  <a16:creationId xmlns:a16="http://schemas.microsoft.com/office/drawing/2014/main" id="{442B9731-4F63-8B82-9FCA-CE65BEBF6A3A}"/>
                </a:ext>
              </a:extLst>
            </p:cNvPr>
            <p:cNvSpPr/>
            <p:nvPr/>
          </p:nvSpPr>
          <p:spPr>
            <a:xfrm>
              <a:off x="3426941" y="3767833"/>
              <a:ext cx="56160" cy="56148"/>
            </a:xfrm>
            <a:custGeom>
              <a:avLst/>
              <a:gdLst>
                <a:gd name="connsiteX0" fmla="*/ 56160 w 56160"/>
                <a:gd name="connsiteY0" fmla="*/ 28062 h 56148"/>
                <a:gd name="connsiteX1" fmla="*/ 28086 w 56160"/>
                <a:gd name="connsiteY1" fmla="*/ 56149 h 56148"/>
                <a:gd name="connsiteX2" fmla="*/ 0 w 56160"/>
                <a:gd name="connsiteY2" fmla="*/ 28062 h 56148"/>
                <a:gd name="connsiteX3" fmla="*/ 28086 w 56160"/>
                <a:gd name="connsiteY3" fmla="*/ 0 h 56148"/>
                <a:gd name="connsiteX4" fmla="*/ 56160 w 56160"/>
                <a:gd name="connsiteY4" fmla="*/ 28062 h 561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6160" h="56148">
                  <a:moveTo>
                    <a:pt x="56160" y="28062"/>
                  </a:moveTo>
                  <a:cubicBezTo>
                    <a:pt x="56160" y="43578"/>
                    <a:pt x="43590" y="56149"/>
                    <a:pt x="28086" y="56149"/>
                  </a:cubicBezTo>
                  <a:cubicBezTo>
                    <a:pt x="12583" y="56149"/>
                    <a:pt x="0" y="43578"/>
                    <a:pt x="0" y="28062"/>
                  </a:cubicBezTo>
                  <a:cubicBezTo>
                    <a:pt x="0" y="12547"/>
                    <a:pt x="12571" y="0"/>
                    <a:pt x="28086" y="0"/>
                  </a:cubicBezTo>
                  <a:cubicBezTo>
                    <a:pt x="43601" y="0"/>
                    <a:pt x="56160" y="12559"/>
                    <a:pt x="56160" y="28062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91" name="Forma livre: Forma 1690">
              <a:extLst>
                <a:ext uri="{FF2B5EF4-FFF2-40B4-BE49-F238E27FC236}">
                  <a16:creationId xmlns:a16="http://schemas.microsoft.com/office/drawing/2014/main" id="{9980ED3C-6A80-B3AE-8190-10A9DAE7578B}"/>
                </a:ext>
              </a:extLst>
            </p:cNvPr>
            <p:cNvSpPr/>
            <p:nvPr/>
          </p:nvSpPr>
          <p:spPr>
            <a:xfrm>
              <a:off x="3282963" y="3747019"/>
              <a:ext cx="213406" cy="47302"/>
            </a:xfrm>
            <a:custGeom>
              <a:avLst/>
              <a:gdLst>
                <a:gd name="connsiteX0" fmla="*/ 0 w 213406"/>
                <a:gd name="connsiteY0" fmla="*/ 47303 h 47302"/>
                <a:gd name="connsiteX1" fmla="*/ 117619 w 213406"/>
                <a:gd name="connsiteY1" fmla="*/ 47303 h 47302"/>
                <a:gd name="connsiteX2" fmla="*/ 213407 w 213406"/>
                <a:gd name="connsiteY2" fmla="*/ 9461 h 473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13406" h="47302">
                  <a:moveTo>
                    <a:pt x="0" y="47303"/>
                  </a:moveTo>
                  <a:lnTo>
                    <a:pt x="117619" y="47303"/>
                  </a:lnTo>
                  <a:cubicBezTo>
                    <a:pt x="141270" y="-28382"/>
                    <a:pt x="213407" y="9461"/>
                    <a:pt x="213407" y="9461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92" name="Forma livre: Forma 1691">
              <a:extLst>
                <a:ext uri="{FF2B5EF4-FFF2-40B4-BE49-F238E27FC236}">
                  <a16:creationId xmlns:a16="http://schemas.microsoft.com/office/drawing/2014/main" id="{06335169-66D2-1841-FF5F-074F6FF7F902}"/>
                </a:ext>
              </a:extLst>
            </p:cNvPr>
            <p:cNvSpPr/>
            <p:nvPr/>
          </p:nvSpPr>
          <p:spPr>
            <a:xfrm>
              <a:off x="3179062" y="3694986"/>
              <a:ext cx="311394" cy="99182"/>
            </a:xfrm>
            <a:custGeom>
              <a:avLst/>
              <a:gdLst>
                <a:gd name="connsiteX0" fmla="*/ 311395 w 311394"/>
                <a:gd name="connsiteY0" fmla="*/ 58183 h 99182"/>
                <a:gd name="connsiteX1" fmla="*/ 229407 w 311394"/>
                <a:gd name="connsiteY1" fmla="*/ 0 h 99182"/>
                <a:gd name="connsiteX2" fmla="*/ 204183 w 311394"/>
                <a:gd name="connsiteY2" fmla="*/ 73000 h 99182"/>
                <a:gd name="connsiteX3" fmla="*/ 138597 w 311394"/>
                <a:gd name="connsiteY3" fmla="*/ 73000 h 99182"/>
                <a:gd name="connsiteX4" fmla="*/ 132294 w 311394"/>
                <a:gd name="connsiteY4" fmla="*/ 42573 h 99182"/>
                <a:gd name="connsiteX5" fmla="*/ 33112 w 311394"/>
                <a:gd name="connsiteY5" fmla="*/ 20340 h 99182"/>
                <a:gd name="connsiteX6" fmla="*/ 7888 w 311394"/>
                <a:gd name="connsiteY6" fmla="*/ 36104 h 99182"/>
                <a:gd name="connsiteX7" fmla="*/ 0 w 311394"/>
                <a:gd name="connsiteY7" fmla="*/ 99182 h 991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11394" h="99182">
                  <a:moveTo>
                    <a:pt x="311395" y="58183"/>
                  </a:moveTo>
                  <a:cubicBezTo>
                    <a:pt x="301934" y="5913"/>
                    <a:pt x="229407" y="0"/>
                    <a:pt x="229407" y="0"/>
                  </a:cubicBezTo>
                  <a:lnTo>
                    <a:pt x="204183" y="73000"/>
                  </a:lnTo>
                  <a:lnTo>
                    <a:pt x="138597" y="73000"/>
                  </a:lnTo>
                  <a:lnTo>
                    <a:pt x="132294" y="42573"/>
                  </a:lnTo>
                  <a:lnTo>
                    <a:pt x="33112" y="20340"/>
                  </a:lnTo>
                  <a:cubicBezTo>
                    <a:pt x="33112" y="20340"/>
                    <a:pt x="15764" y="14037"/>
                    <a:pt x="7888" y="36104"/>
                  </a:cubicBezTo>
                  <a:lnTo>
                    <a:pt x="0" y="99182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93" name="Forma livre: Forma 1692">
              <a:extLst>
                <a:ext uri="{FF2B5EF4-FFF2-40B4-BE49-F238E27FC236}">
                  <a16:creationId xmlns:a16="http://schemas.microsoft.com/office/drawing/2014/main" id="{45793498-A568-D07F-E9F1-0BCDA9E10B8D}"/>
                </a:ext>
              </a:extLst>
            </p:cNvPr>
            <p:cNvSpPr/>
            <p:nvPr/>
          </p:nvSpPr>
          <p:spPr>
            <a:xfrm>
              <a:off x="3238498" y="3567268"/>
              <a:ext cx="1182" cy="153261"/>
            </a:xfrm>
            <a:custGeom>
              <a:avLst/>
              <a:gdLst>
                <a:gd name="connsiteX0" fmla="*/ 0 w 1182"/>
                <a:gd name="connsiteY0" fmla="*/ 153261 h 153261"/>
                <a:gd name="connsiteX1" fmla="*/ 0 w 1182"/>
                <a:gd name="connsiteY1" fmla="*/ 0 h 1532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82" h="153261">
                  <a:moveTo>
                    <a:pt x="0" y="153261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94" name="Forma livre: Forma 1693">
              <a:extLst>
                <a:ext uri="{FF2B5EF4-FFF2-40B4-BE49-F238E27FC236}">
                  <a16:creationId xmlns:a16="http://schemas.microsoft.com/office/drawing/2014/main" id="{E1664BBD-A7AA-2CC6-A1FC-77463728A51B}"/>
                </a:ext>
              </a:extLst>
            </p:cNvPr>
            <p:cNvSpPr/>
            <p:nvPr/>
          </p:nvSpPr>
          <p:spPr>
            <a:xfrm>
              <a:off x="3216573" y="3565696"/>
              <a:ext cx="193622" cy="1182"/>
            </a:xfrm>
            <a:custGeom>
              <a:avLst/>
              <a:gdLst>
                <a:gd name="connsiteX0" fmla="*/ 0 w 193622"/>
                <a:gd name="connsiteY0" fmla="*/ 0 h 1182"/>
                <a:gd name="connsiteX1" fmla="*/ 193623 w 193622"/>
                <a:gd name="connsiteY1" fmla="*/ 0 h 11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93622" h="1182">
                  <a:moveTo>
                    <a:pt x="0" y="0"/>
                  </a:moveTo>
                  <a:lnTo>
                    <a:pt x="193623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95" name="Forma livre: Forma 1694">
              <a:extLst>
                <a:ext uri="{FF2B5EF4-FFF2-40B4-BE49-F238E27FC236}">
                  <a16:creationId xmlns:a16="http://schemas.microsoft.com/office/drawing/2014/main" id="{F52CCB6A-1923-52D0-59C5-334EB923DF39}"/>
                </a:ext>
              </a:extLst>
            </p:cNvPr>
            <p:cNvSpPr/>
            <p:nvPr/>
          </p:nvSpPr>
          <p:spPr>
            <a:xfrm>
              <a:off x="3384971" y="3566086"/>
              <a:ext cx="54634" cy="134813"/>
            </a:xfrm>
            <a:custGeom>
              <a:avLst/>
              <a:gdLst>
                <a:gd name="connsiteX0" fmla="*/ 0 w 54634"/>
                <a:gd name="connsiteY0" fmla="*/ 0 h 134813"/>
                <a:gd name="connsiteX1" fmla="*/ 54635 w 54634"/>
                <a:gd name="connsiteY1" fmla="*/ 134813 h 1348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4634" h="134813">
                  <a:moveTo>
                    <a:pt x="0" y="0"/>
                  </a:moveTo>
                  <a:lnTo>
                    <a:pt x="54635" y="134813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96" name="Forma livre: Forma 1695">
              <a:extLst>
                <a:ext uri="{FF2B5EF4-FFF2-40B4-BE49-F238E27FC236}">
                  <a16:creationId xmlns:a16="http://schemas.microsoft.com/office/drawing/2014/main" id="{B8C45101-4FE6-CC00-B98E-68D13C42922E}"/>
                </a:ext>
              </a:extLst>
            </p:cNvPr>
            <p:cNvSpPr/>
            <p:nvPr/>
          </p:nvSpPr>
          <p:spPr>
            <a:xfrm>
              <a:off x="3262303" y="3657144"/>
              <a:ext cx="1182" cy="46203"/>
            </a:xfrm>
            <a:custGeom>
              <a:avLst/>
              <a:gdLst>
                <a:gd name="connsiteX0" fmla="*/ 0 w 1182"/>
                <a:gd name="connsiteY0" fmla="*/ 0 h 46203"/>
                <a:gd name="connsiteX1" fmla="*/ 0 w 1182"/>
                <a:gd name="connsiteY1" fmla="*/ 46203 h 46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82" h="46203">
                  <a:moveTo>
                    <a:pt x="0" y="0"/>
                  </a:moveTo>
                  <a:lnTo>
                    <a:pt x="0" y="46203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97" name="Forma livre: Forma 1696">
              <a:extLst>
                <a:ext uri="{FF2B5EF4-FFF2-40B4-BE49-F238E27FC236}">
                  <a16:creationId xmlns:a16="http://schemas.microsoft.com/office/drawing/2014/main" id="{9A17A116-09CC-7573-A1C9-025D30F6829B}"/>
                </a:ext>
              </a:extLst>
            </p:cNvPr>
            <p:cNvSpPr/>
            <p:nvPr/>
          </p:nvSpPr>
          <p:spPr>
            <a:xfrm>
              <a:off x="3348808" y="3672979"/>
              <a:ext cx="52340" cy="42773"/>
            </a:xfrm>
            <a:custGeom>
              <a:avLst/>
              <a:gdLst>
                <a:gd name="connsiteX0" fmla="*/ 52341 w 52340"/>
                <a:gd name="connsiteY0" fmla="*/ 42774 h 42773"/>
                <a:gd name="connsiteX1" fmla="*/ 0 w 52340"/>
                <a:gd name="connsiteY1" fmla="*/ 0 h 427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2340" h="42773">
                  <a:moveTo>
                    <a:pt x="52341" y="42774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98" name="Forma livre: Forma 1697">
              <a:extLst>
                <a:ext uri="{FF2B5EF4-FFF2-40B4-BE49-F238E27FC236}">
                  <a16:creationId xmlns:a16="http://schemas.microsoft.com/office/drawing/2014/main" id="{30654439-C97E-6EBD-8509-28297DA72042}"/>
                </a:ext>
              </a:extLst>
            </p:cNvPr>
            <p:cNvSpPr/>
            <p:nvPr/>
          </p:nvSpPr>
          <p:spPr>
            <a:xfrm>
              <a:off x="3336498" y="3658244"/>
              <a:ext cx="23036" cy="28192"/>
            </a:xfrm>
            <a:custGeom>
              <a:avLst/>
              <a:gdLst>
                <a:gd name="connsiteX0" fmla="*/ 0 w 23036"/>
                <a:gd name="connsiteY0" fmla="*/ 28193 h 28192"/>
                <a:gd name="connsiteX1" fmla="*/ 23037 w 23036"/>
                <a:gd name="connsiteY1" fmla="*/ 0 h 281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3036" h="28192">
                  <a:moveTo>
                    <a:pt x="0" y="28193"/>
                  </a:moveTo>
                  <a:lnTo>
                    <a:pt x="23037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99" name="Forma livre: Forma 1698">
              <a:extLst>
                <a:ext uri="{FF2B5EF4-FFF2-40B4-BE49-F238E27FC236}">
                  <a16:creationId xmlns:a16="http://schemas.microsoft.com/office/drawing/2014/main" id="{765C1567-A4F2-59C1-ECEF-68C9B52440B7}"/>
                </a:ext>
              </a:extLst>
            </p:cNvPr>
            <p:cNvSpPr/>
            <p:nvPr/>
          </p:nvSpPr>
          <p:spPr>
            <a:xfrm>
              <a:off x="3208532" y="3657144"/>
              <a:ext cx="28381" cy="1182"/>
            </a:xfrm>
            <a:custGeom>
              <a:avLst/>
              <a:gdLst>
                <a:gd name="connsiteX0" fmla="*/ 28382 w 28381"/>
                <a:gd name="connsiteY0" fmla="*/ 0 h 1182"/>
                <a:gd name="connsiteX1" fmla="*/ 0 w 28381"/>
                <a:gd name="connsiteY1" fmla="*/ 0 h 11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8381" h="1182">
                  <a:moveTo>
                    <a:pt x="28382" y="0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700" name="Gráfico 14">
            <a:extLst>
              <a:ext uri="{FF2B5EF4-FFF2-40B4-BE49-F238E27FC236}">
                <a16:creationId xmlns:a16="http://schemas.microsoft.com/office/drawing/2014/main" id="{36EC18AF-2CA3-5A05-08C3-AF037DF57538}"/>
              </a:ext>
            </a:extLst>
          </p:cNvPr>
          <p:cNvGrpSpPr/>
          <p:nvPr/>
        </p:nvGrpSpPr>
        <p:grpSpPr>
          <a:xfrm>
            <a:off x="3156297" y="5181609"/>
            <a:ext cx="362813" cy="231618"/>
            <a:chOff x="3156297" y="5181609"/>
            <a:chExt cx="362813" cy="231618"/>
          </a:xfrm>
          <a:noFill/>
        </p:grpSpPr>
        <p:sp>
          <p:nvSpPr>
            <p:cNvPr id="1701" name="Forma livre: Forma 1700">
              <a:extLst>
                <a:ext uri="{FF2B5EF4-FFF2-40B4-BE49-F238E27FC236}">
                  <a16:creationId xmlns:a16="http://schemas.microsoft.com/office/drawing/2014/main" id="{D92FA048-C6F4-ADB6-9BD7-45E606ABD7D4}"/>
                </a:ext>
              </a:extLst>
            </p:cNvPr>
            <p:cNvSpPr/>
            <p:nvPr/>
          </p:nvSpPr>
          <p:spPr>
            <a:xfrm>
              <a:off x="3295533" y="5181609"/>
              <a:ext cx="203875" cy="205767"/>
            </a:xfrm>
            <a:custGeom>
              <a:avLst/>
              <a:gdLst>
                <a:gd name="connsiteX0" fmla="*/ 122987 w 203875"/>
                <a:gd name="connsiteY0" fmla="*/ 0 h 205767"/>
                <a:gd name="connsiteX1" fmla="*/ 203875 w 203875"/>
                <a:gd name="connsiteY1" fmla="*/ 93187 h 205767"/>
                <a:gd name="connsiteX2" fmla="*/ 99336 w 203875"/>
                <a:gd name="connsiteY2" fmla="*/ 205768 h 205767"/>
                <a:gd name="connsiteX3" fmla="*/ 0 w 203875"/>
                <a:gd name="connsiteY3" fmla="*/ 205768 h 2057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3875" h="205767">
                  <a:moveTo>
                    <a:pt x="122987" y="0"/>
                  </a:moveTo>
                  <a:cubicBezTo>
                    <a:pt x="122987" y="0"/>
                    <a:pt x="179751" y="27199"/>
                    <a:pt x="203875" y="93187"/>
                  </a:cubicBezTo>
                  <a:cubicBezTo>
                    <a:pt x="203875" y="93187"/>
                    <a:pt x="122987" y="96971"/>
                    <a:pt x="99336" y="205768"/>
                  </a:cubicBezTo>
                  <a:lnTo>
                    <a:pt x="0" y="205768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02" name="Forma livre: Forma 1701">
              <a:extLst>
                <a:ext uri="{FF2B5EF4-FFF2-40B4-BE49-F238E27FC236}">
                  <a16:creationId xmlns:a16="http://schemas.microsoft.com/office/drawing/2014/main" id="{618A372F-AC49-B09E-CBFB-6F4B8499990C}"/>
                </a:ext>
              </a:extLst>
            </p:cNvPr>
            <p:cNvSpPr/>
            <p:nvPr/>
          </p:nvSpPr>
          <p:spPr>
            <a:xfrm>
              <a:off x="3469620" y="5282849"/>
              <a:ext cx="43033" cy="30108"/>
            </a:xfrm>
            <a:custGeom>
              <a:avLst/>
              <a:gdLst>
                <a:gd name="connsiteX0" fmla="*/ 2507 w 43033"/>
                <a:gd name="connsiteY0" fmla="*/ 0 h 30108"/>
                <a:gd name="connsiteX1" fmla="*/ 43034 w 43033"/>
                <a:gd name="connsiteY1" fmla="*/ 30108 h 30108"/>
                <a:gd name="connsiteX2" fmla="*/ 0 w 43033"/>
                <a:gd name="connsiteY2" fmla="*/ 27270 h 301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3033" h="30108">
                  <a:moveTo>
                    <a:pt x="2507" y="0"/>
                  </a:moveTo>
                  <a:cubicBezTo>
                    <a:pt x="2507" y="0"/>
                    <a:pt x="36719" y="12772"/>
                    <a:pt x="43034" y="30108"/>
                  </a:cubicBezTo>
                  <a:cubicBezTo>
                    <a:pt x="43034" y="30108"/>
                    <a:pt x="17490" y="22540"/>
                    <a:pt x="0" y="2727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03" name="Forma livre: Forma 1702">
              <a:extLst>
                <a:ext uri="{FF2B5EF4-FFF2-40B4-BE49-F238E27FC236}">
                  <a16:creationId xmlns:a16="http://schemas.microsoft.com/office/drawing/2014/main" id="{59A07132-7513-61E1-1A1B-9020AA5EDA62}"/>
                </a:ext>
              </a:extLst>
            </p:cNvPr>
            <p:cNvSpPr/>
            <p:nvPr/>
          </p:nvSpPr>
          <p:spPr>
            <a:xfrm>
              <a:off x="3445330" y="5304609"/>
              <a:ext cx="20967" cy="56597"/>
            </a:xfrm>
            <a:custGeom>
              <a:avLst/>
              <a:gdLst>
                <a:gd name="connsiteX0" fmla="*/ 0 w 20967"/>
                <a:gd name="connsiteY0" fmla="*/ 0 h 56597"/>
                <a:gd name="connsiteX1" fmla="*/ 20967 w 20967"/>
                <a:gd name="connsiteY1" fmla="*/ 56598 h 565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0967" h="56597">
                  <a:moveTo>
                    <a:pt x="0" y="0"/>
                  </a:moveTo>
                  <a:lnTo>
                    <a:pt x="20967" y="56598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04" name="Forma livre: Forma 1703">
              <a:extLst>
                <a:ext uri="{FF2B5EF4-FFF2-40B4-BE49-F238E27FC236}">
                  <a16:creationId xmlns:a16="http://schemas.microsoft.com/office/drawing/2014/main" id="{94EA51AC-88FA-D47E-DE6D-387AAA113A1B}"/>
                </a:ext>
              </a:extLst>
            </p:cNvPr>
            <p:cNvSpPr/>
            <p:nvPr/>
          </p:nvSpPr>
          <p:spPr>
            <a:xfrm>
              <a:off x="3418852" y="5334445"/>
              <a:ext cx="100258" cy="78782"/>
            </a:xfrm>
            <a:custGeom>
              <a:avLst/>
              <a:gdLst>
                <a:gd name="connsiteX0" fmla="*/ 92867 w 100258"/>
                <a:gd name="connsiteY0" fmla="*/ 0 h 78782"/>
                <a:gd name="connsiteX1" fmla="*/ 100258 w 100258"/>
                <a:gd name="connsiteY1" fmla="*/ 26750 h 78782"/>
                <a:gd name="connsiteX2" fmla="*/ 48225 w 100258"/>
                <a:gd name="connsiteY2" fmla="*/ 78783 h 78782"/>
                <a:gd name="connsiteX3" fmla="*/ 0 w 100258"/>
                <a:gd name="connsiteY3" fmla="*/ 46321 h 787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0258" h="78782">
                  <a:moveTo>
                    <a:pt x="92867" y="0"/>
                  </a:moveTo>
                  <a:cubicBezTo>
                    <a:pt x="97562" y="7817"/>
                    <a:pt x="100258" y="16970"/>
                    <a:pt x="100258" y="26750"/>
                  </a:cubicBezTo>
                  <a:cubicBezTo>
                    <a:pt x="100258" y="55486"/>
                    <a:pt x="76962" y="78783"/>
                    <a:pt x="48225" y="78783"/>
                  </a:cubicBezTo>
                  <a:cubicBezTo>
                    <a:pt x="26407" y="78783"/>
                    <a:pt x="7734" y="65372"/>
                    <a:pt x="0" y="46321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05" name="Forma livre: Forma 1704">
              <a:extLst>
                <a:ext uri="{FF2B5EF4-FFF2-40B4-BE49-F238E27FC236}">
                  <a16:creationId xmlns:a16="http://schemas.microsoft.com/office/drawing/2014/main" id="{672BD15D-55CB-F741-8A6D-031248CDD532}"/>
                </a:ext>
              </a:extLst>
            </p:cNvPr>
            <p:cNvSpPr/>
            <p:nvPr/>
          </p:nvSpPr>
          <p:spPr>
            <a:xfrm>
              <a:off x="3164351" y="5309162"/>
              <a:ext cx="104066" cy="104066"/>
            </a:xfrm>
            <a:custGeom>
              <a:avLst/>
              <a:gdLst>
                <a:gd name="connsiteX0" fmla="*/ 100921 w 104066"/>
                <a:gd name="connsiteY0" fmla="*/ 34188 h 104066"/>
                <a:gd name="connsiteX1" fmla="*/ 104066 w 104066"/>
                <a:gd name="connsiteY1" fmla="*/ 52033 h 104066"/>
                <a:gd name="connsiteX2" fmla="*/ 52033 w 104066"/>
                <a:gd name="connsiteY2" fmla="*/ 104066 h 104066"/>
                <a:gd name="connsiteX3" fmla="*/ 0 w 104066"/>
                <a:gd name="connsiteY3" fmla="*/ 52033 h 104066"/>
                <a:gd name="connsiteX4" fmla="*/ 52033 w 104066"/>
                <a:gd name="connsiteY4" fmla="*/ 0 h 104066"/>
                <a:gd name="connsiteX5" fmla="*/ 87865 w 104066"/>
                <a:gd name="connsiteY5" fmla="*/ 14309 h 1040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04066" h="104066">
                  <a:moveTo>
                    <a:pt x="100921" y="34188"/>
                  </a:moveTo>
                  <a:cubicBezTo>
                    <a:pt x="102955" y="39758"/>
                    <a:pt x="104066" y="45765"/>
                    <a:pt x="104066" y="52033"/>
                  </a:cubicBezTo>
                  <a:cubicBezTo>
                    <a:pt x="104066" y="80770"/>
                    <a:pt x="80770" y="104066"/>
                    <a:pt x="52033" y="104066"/>
                  </a:cubicBezTo>
                  <a:cubicBezTo>
                    <a:pt x="23297" y="104066"/>
                    <a:pt x="0" y="80770"/>
                    <a:pt x="0" y="52033"/>
                  </a:cubicBezTo>
                  <a:cubicBezTo>
                    <a:pt x="0" y="23297"/>
                    <a:pt x="23297" y="0"/>
                    <a:pt x="52033" y="0"/>
                  </a:cubicBezTo>
                  <a:cubicBezTo>
                    <a:pt x="65917" y="0"/>
                    <a:pt x="78535" y="5440"/>
                    <a:pt x="87865" y="14309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06" name="Forma livre: Forma 1705">
              <a:extLst>
                <a:ext uri="{FF2B5EF4-FFF2-40B4-BE49-F238E27FC236}">
                  <a16:creationId xmlns:a16="http://schemas.microsoft.com/office/drawing/2014/main" id="{78619528-1C1E-5AF6-25FB-934BEE0D52B2}"/>
                </a:ext>
              </a:extLst>
            </p:cNvPr>
            <p:cNvSpPr/>
            <p:nvPr/>
          </p:nvSpPr>
          <p:spPr>
            <a:xfrm>
              <a:off x="3325488" y="5243268"/>
              <a:ext cx="130402" cy="121402"/>
            </a:xfrm>
            <a:custGeom>
              <a:avLst/>
              <a:gdLst>
                <a:gd name="connsiteX0" fmla="*/ 0 w 130402"/>
                <a:gd name="connsiteY0" fmla="*/ 121403 h 121402"/>
                <a:gd name="connsiteX1" fmla="*/ 26809 w 130402"/>
                <a:gd name="connsiteY1" fmla="*/ 114000 h 121402"/>
                <a:gd name="connsiteX2" fmla="*/ 41000 w 130402"/>
                <a:gd name="connsiteY2" fmla="*/ 59755 h 121402"/>
                <a:gd name="connsiteX3" fmla="*/ 130402 w 130402"/>
                <a:gd name="connsiteY3" fmla="*/ 0 h 1214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0402" h="121402">
                  <a:moveTo>
                    <a:pt x="0" y="121403"/>
                  </a:moveTo>
                  <a:lnTo>
                    <a:pt x="26809" y="114000"/>
                  </a:lnTo>
                  <a:cubicBezTo>
                    <a:pt x="73048" y="102884"/>
                    <a:pt x="45848" y="75093"/>
                    <a:pt x="41000" y="59755"/>
                  </a:cubicBezTo>
                  <a:cubicBezTo>
                    <a:pt x="26951" y="15279"/>
                    <a:pt x="130402" y="0"/>
                    <a:pt x="130402" y="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07" name="Forma livre: Forma 1706">
              <a:extLst>
                <a:ext uri="{FF2B5EF4-FFF2-40B4-BE49-F238E27FC236}">
                  <a16:creationId xmlns:a16="http://schemas.microsoft.com/office/drawing/2014/main" id="{0A1A3A9E-2722-43E2-B2BB-C8FAC750046F}"/>
                </a:ext>
              </a:extLst>
            </p:cNvPr>
            <p:cNvSpPr/>
            <p:nvPr/>
          </p:nvSpPr>
          <p:spPr>
            <a:xfrm>
              <a:off x="3399351" y="5206845"/>
              <a:ext cx="29564" cy="20493"/>
            </a:xfrm>
            <a:custGeom>
              <a:avLst/>
              <a:gdLst>
                <a:gd name="connsiteX0" fmla="*/ 29564 w 29564"/>
                <a:gd name="connsiteY0" fmla="*/ 20494 h 20493"/>
                <a:gd name="connsiteX1" fmla="*/ 13801 w 29564"/>
                <a:gd name="connsiteY1" fmla="*/ 0 h 20493"/>
                <a:gd name="connsiteX2" fmla="*/ 0 w 29564"/>
                <a:gd name="connsiteY2" fmla="*/ 1963 h 204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9564" h="20493">
                  <a:moveTo>
                    <a:pt x="29564" y="20494"/>
                  </a:moveTo>
                  <a:lnTo>
                    <a:pt x="13801" y="0"/>
                  </a:lnTo>
                  <a:lnTo>
                    <a:pt x="0" y="1963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08" name="Forma livre: Forma 1707">
              <a:extLst>
                <a:ext uri="{FF2B5EF4-FFF2-40B4-BE49-F238E27FC236}">
                  <a16:creationId xmlns:a16="http://schemas.microsoft.com/office/drawing/2014/main" id="{646B5B3B-A295-324B-877D-51020F5BF5D2}"/>
                </a:ext>
              </a:extLst>
            </p:cNvPr>
            <p:cNvSpPr/>
            <p:nvPr/>
          </p:nvSpPr>
          <p:spPr>
            <a:xfrm>
              <a:off x="3156297" y="5215514"/>
              <a:ext cx="241090" cy="141743"/>
            </a:xfrm>
            <a:custGeom>
              <a:avLst/>
              <a:gdLst>
                <a:gd name="connsiteX0" fmla="*/ 241091 w 241090"/>
                <a:gd name="connsiteY0" fmla="*/ 23344 h 141743"/>
                <a:gd name="connsiteX1" fmla="*/ 198365 w 241090"/>
                <a:gd name="connsiteY1" fmla="*/ 2365 h 141743"/>
                <a:gd name="connsiteX2" fmla="*/ 142074 w 241090"/>
                <a:gd name="connsiteY2" fmla="*/ 32331 h 141743"/>
                <a:gd name="connsiteX3" fmla="*/ 74277 w 241090"/>
                <a:gd name="connsiteY3" fmla="*/ 32331 h 141743"/>
                <a:gd name="connsiteX4" fmla="*/ 58514 w 241090"/>
                <a:gd name="connsiteY4" fmla="*/ 0 h 141743"/>
                <a:gd name="connsiteX5" fmla="*/ 0 w 241090"/>
                <a:gd name="connsiteY5" fmla="*/ 0 h 141743"/>
                <a:gd name="connsiteX6" fmla="*/ 61186 w 241090"/>
                <a:gd name="connsiteY6" fmla="*/ 58336 h 141743"/>
                <a:gd name="connsiteX7" fmla="*/ 138917 w 241090"/>
                <a:gd name="connsiteY7" fmla="*/ 141743 h 1417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41090" h="141743">
                  <a:moveTo>
                    <a:pt x="241091" y="23344"/>
                  </a:moveTo>
                  <a:cubicBezTo>
                    <a:pt x="241091" y="23344"/>
                    <a:pt x="240937" y="2365"/>
                    <a:pt x="198365" y="2365"/>
                  </a:cubicBezTo>
                  <a:cubicBezTo>
                    <a:pt x="198365" y="2365"/>
                    <a:pt x="170456" y="781"/>
                    <a:pt x="142074" y="32331"/>
                  </a:cubicBezTo>
                  <a:lnTo>
                    <a:pt x="74277" y="32331"/>
                  </a:lnTo>
                  <a:lnTo>
                    <a:pt x="58514" y="0"/>
                  </a:lnTo>
                  <a:lnTo>
                    <a:pt x="0" y="0"/>
                  </a:lnTo>
                  <a:lnTo>
                    <a:pt x="61186" y="58336"/>
                  </a:lnTo>
                  <a:cubicBezTo>
                    <a:pt x="61186" y="58336"/>
                    <a:pt x="134021" y="68743"/>
                    <a:pt x="138917" y="141743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09" name="Forma livre: Forma 1708">
              <a:extLst>
                <a:ext uri="{FF2B5EF4-FFF2-40B4-BE49-F238E27FC236}">
                  <a16:creationId xmlns:a16="http://schemas.microsoft.com/office/drawing/2014/main" id="{EA81F2E4-19E3-82C7-4D8D-BAA677F365CE}"/>
                </a:ext>
              </a:extLst>
            </p:cNvPr>
            <p:cNvSpPr/>
            <p:nvPr/>
          </p:nvSpPr>
          <p:spPr>
            <a:xfrm>
              <a:off x="3216372" y="5333451"/>
              <a:ext cx="71119" cy="27754"/>
            </a:xfrm>
            <a:custGeom>
              <a:avLst/>
              <a:gdLst>
                <a:gd name="connsiteX0" fmla="*/ 71120 w 71119"/>
                <a:gd name="connsiteY0" fmla="*/ 0 h 27754"/>
                <a:gd name="connsiteX1" fmla="*/ 0 w 71119"/>
                <a:gd name="connsiteY1" fmla="*/ 27755 h 277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1119" h="27754">
                  <a:moveTo>
                    <a:pt x="71120" y="0"/>
                  </a:moveTo>
                  <a:lnTo>
                    <a:pt x="0" y="27755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10" name="Forma livre: Forma 1709">
              <a:extLst>
                <a:ext uri="{FF2B5EF4-FFF2-40B4-BE49-F238E27FC236}">
                  <a16:creationId xmlns:a16="http://schemas.microsoft.com/office/drawing/2014/main" id="{62BF64AC-F526-CB3E-836D-B5E785106799}"/>
                </a:ext>
              </a:extLst>
            </p:cNvPr>
            <p:cNvSpPr/>
            <p:nvPr/>
          </p:nvSpPr>
          <p:spPr>
            <a:xfrm>
              <a:off x="3223006" y="5227339"/>
              <a:ext cx="71344" cy="1182"/>
            </a:xfrm>
            <a:custGeom>
              <a:avLst/>
              <a:gdLst>
                <a:gd name="connsiteX0" fmla="*/ 0 w 71344"/>
                <a:gd name="connsiteY0" fmla="*/ 0 h 1182"/>
                <a:gd name="connsiteX1" fmla="*/ 71345 w 71344"/>
                <a:gd name="connsiteY1" fmla="*/ 0 h 11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1344" h="1182">
                  <a:moveTo>
                    <a:pt x="0" y="0"/>
                  </a:moveTo>
                  <a:lnTo>
                    <a:pt x="71345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11" name="Forma livre: Forma 1710">
              <a:extLst>
                <a:ext uri="{FF2B5EF4-FFF2-40B4-BE49-F238E27FC236}">
                  <a16:creationId xmlns:a16="http://schemas.microsoft.com/office/drawing/2014/main" id="{D013CCD9-0472-F059-6E73-3C77BD7E3206}"/>
                </a:ext>
              </a:extLst>
            </p:cNvPr>
            <p:cNvSpPr/>
            <p:nvPr/>
          </p:nvSpPr>
          <p:spPr>
            <a:xfrm>
              <a:off x="3312799" y="5305306"/>
              <a:ext cx="35477" cy="35477"/>
            </a:xfrm>
            <a:custGeom>
              <a:avLst/>
              <a:gdLst>
                <a:gd name="connsiteX0" fmla="*/ 35477 w 35477"/>
                <a:gd name="connsiteY0" fmla="*/ 17739 h 35477"/>
                <a:gd name="connsiteX1" fmla="*/ 17739 w 35477"/>
                <a:gd name="connsiteY1" fmla="*/ 35477 h 35477"/>
                <a:gd name="connsiteX2" fmla="*/ 0 w 35477"/>
                <a:gd name="connsiteY2" fmla="*/ 17739 h 35477"/>
                <a:gd name="connsiteX3" fmla="*/ 17739 w 35477"/>
                <a:gd name="connsiteY3" fmla="*/ 0 h 35477"/>
                <a:gd name="connsiteX4" fmla="*/ 35477 w 35477"/>
                <a:gd name="connsiteY4" fmla="*/ 17739 h 354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5477" h="35477">
                  <a:moveTo>
                    <a:pt x="35477" y="17739"/>
                  </a:moveTo>
                  <a:cubicBezTo>
                    <a:pt x="35477" y="27535"/>
                    <a:pt x="27535" y="35477"/>
                    <a:pt x="17739" y="35477"/>
                  </a:cubicBezTo>
                  <a:cubicBezTo>
                    <a:pt x="7942" y="35477"/>
                    <a:pt x="0" y="27535"/>
                    <a:pt x="0" y="17739"/>
                  </a:cubicBezTo>
                  <a:cubicBezTo>
                    <a:pt x="0" y="7942"/>
                    <a:pt x="7942" y="0"/>
                    <a:pt x="17739" y="0"/>
                  </a:cubicBezTo>
                  <a:cubicBezTo>
                    <a:pt x="27535" y="0"/>
                    <a:pt x="35477" y="7942"/>
                    <a:pt x="35477" y="17739"/>
                  </a:cubicBez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712" name="Gráfico 14">
            <a:extLst>
              <a:ext uri="{FF2B5EF4-FFF2-40B4-BE49-F238E27FC236}">
                <a16:creationId xmlns:a16="http://schemas.microsoft.com/office/drawing/2014/main" id="{BDEE43DD-A269-3DEF-2470-5149FCB23A5C}"/>
              </a:ext>
            </a:extLst>
          </p:cNvPr>
          <p:cNvGrpSpPr/>
          <p:nvPr/>
        </p:nvGrpSpPr>
        <p:grpSpPr>
          <a:xfrm>
            <a:off x="3189776" y="4621673"/>
            <a:ext cx="295855" cy="312813"/>
            <a:chOff x="3189776" y="4621673"/>
            <a:chExt cx="295855" cy="312813"/>
          </a:xfrm>
          <a:noFill/>
        </p:grpSpPr>
        <p:sp>
          <p:nvSpPr>
            <p:cNvPr id="1713" name="Forma livre: Forma 1712">
              <a:extLst>
                <a:ext uri="{FF2B5EF4-FFF2-40B4-BE49-F238E27FC236}">
                  <a16:creationId xmlns:a16="http://schemas.microsoft.com/office/drawing/2014/main" id="{BE34F3D5-9D3C-E67D-B244-B3A1E3FC59D1}"/>
                </a:ext>
              </a:extLst>
            </p:cNvPr>
            <p:cNvSpPr/>
            <p:nvPr/>
          </p:nvSpPr>
          <p:spPr>
            <a:xfrm>
              <a:off x="3189776" y="4621673"/>
              <a:ext cx="295855" cy="268573"/>
            </a:xfrm>
            <a:custGeom>
              <a:avLst/>
              <a:gdLst>
                <a:gd name="connsiteX0" fmla="*/ 62381 w 295855"/>
                <a:gd name="connsiteY0" fmla="*/ 268574 h 268573"/>
                <a:gd name="connsiteX1" fmla="*/ 0 w 295855"/>
                <a:gd name="connsiteY1" fmla="*/ 147904 h 268573"/>
                <a:gd name="connsiteX2" fmla="*/ 147904 w 295855"/>
                <a:gd name="connsiteY2" fmla="*/ 0 h 268573"/>
                <a:gd name="connsiteX3" fmla="*/ 295856 w 295855"/>
                <a:gd name="connsiteY3" fmla="*/ 147904 h 268573"/>
                <a:gd name="connsiteX4" fmla="*/ 234137 w 295855"/>
                <a:gd name="connsiteY4" fmla="*/ 268101 h 2685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95855" h="268573">
                  <a:moveTo>
                    <a:pt x="62381" y="268574"/>
                  </a:moveTo>
                  <a:cubicBezTo>
                    <a:pt x="24633" y="241777"/>
                    <a:pt x="0" y="197726"/>
                    <a:pt x="0" y="147904"/>
                  </a:cubicBezTo>
                  <a:cubicBezTo>
                    <a:pt x="0" y="66212"/>
                    <a:pt x="66224" y="0"/>
                    <a:pt x="147904" y="0"/>
                  </a:cubicBezTo>
                  <a:cubicBezTo>
                    <a:pt x="229584" y="0"/>
                    <a:pt x="295856" y="66200"/>
                    <a:pt x="295856" y="147904"/>
                  </a:cubicBezTo>
                  <a:cubicBezTo>
                    <a:pt x="295856" y="197430"/>
                    <a:pt x="271519" y="241256"/>
                    <a:pt x="234137" y="268101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14" name="Forma livre: Forma 1713">
              <a:extLst>
                <a:ext uri="{FF2B5EF4-FFF2-40B4-BE49-F238E27FC236}">
                  <a16:creationId xmlns:a16="http://schemas.microsoft.com/office/drawing/2014/main" id="{3FA24AEA-4B84-E556-4393-019F72B7FCC3}"/>
                </a:ext>
              </a:extLst>
            </p:cNvPr>
            <p:cNvSpPr/>
            <p:nvPr/>
          </p:nvSpPr>
          <p:spPr>
            <a:xfrm>
              <a:off x="3265567" y="4679749"/>
              <a:ext cx="144273" cy="190394"/>
            </a:xfrm>
            <a:custGeom>
              <a:avLst/>
              <a:gdLst>
                <a:gd name="connsiteX0" fmla="*/ 125353 w 144273"/>
                <a:gd name="connsiteY0" fmla="*/ 0 h 190394"/>
                <a:gd name="connsiteX1" fmla="*/ 144274 w 144273"/>
                <a:gd name="connsiteY1" fmla="*/ 18921 h 190394"/>
                <a:gd name="connsiteX2" fmla="*/ 144274 w 144273"/>
                <a:gd name="connsiteY2" fmla="*/ 171473 h 190394"/>
                <a:gd name="connsiteX3" fmla="*/ 125353 w 144273"/>
                <a:gd name="connsiteY3" fmla="*/ 190394 h 190394"/>
                <a:gd name="connsiteX4" fmla="*/ 18921 w 144273"/>
                <a:gd name="connsiteY4" fmla="*/ 190394 h 190394"/>
                <a:gd name="connsiteX5" fmla="*/ 0 w 144273"/>
                <a:gd name="connsiteY5" fmla="*/ 171473 h 190394"/>
                <a:gd name="connsiteX6" fmla="*/ 0 w 144273"/>
                <a:gd name="connsiteY6" fmla="*/ 18921 h 190394"/>
                <a:gd name="connsiteX7" fmla="*/ 18921 w 144273"/>
                <a:gd name="connsiteY7" fmla="*/ 0 h 1903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44273" h="190394">
                  <a:moveTo>
                    <a:pt x="125353" y="0"/>
                  </a:moveTo>
                  <a:cubicBezTo>
                    <a:pt x="135802" y="0"/>
                    <a:pt x="144274" y="8471"/>
                    <a:pt x="144274" y="18921"/>
                  </a:cubicBezTo>
                  <a:lnTo>
                    <a:pt x="144274" y="171473"/>
                  </a:lnTo>
                  <a:cubicBezTo>
                    <a:pt x="144274" y="181923"/>
                    <a:pt x="135802" y="190394"/>
                    <a:pt x="125353" y="190394"/>
                  </a:cubicBezTo>
                  <a:lnTo>
                    <a:pt x="18921" y="190394"/>
                  </a:lnTo>
                  <a:cubicBezTo>
                    <a:pt x="8471" y="190394"/>
                    <a:pt x="0" y="181923"/>
                    <a:pt x="0" y="171473"/>
                  </a:cubicBezTo>
                  <a:lnTo>
                    <a:pt x="0" y="18921"/>
                  </a:lnTo>
                  <a:cubicBezTo>
                    <a:pt x="0" y="8471"/>
                    <a:pt x="8471" y="0"/>
                    <a:pt x="18921" y="0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15" name="Forma livre: Forma 1714">
              <a:extLst>
                <a:ext uri="{FF2B5EF4-FFF2-40B4-BE49-F238E27FC236}">
                  <a16:creationId xmlns:a16="http://schemas.microsoft.com/office/drawing/2014/main" id="{D987FBA5-5C5B-733D-55B2-B5C1D42E06EA}"/>
                </a:ext>
              </a:extLst>
            </p:cNvPr>
            <p:cNvSpPr/>
            <p:nvPr/>
          </p:nvSpPr>
          <p:spPr>
            <a:xfrm>
              <a:off x="3286238" y="4728010"/>
              <a:ext cx="121237" cy="1182"/>
            </a:xfrm>
            <a:custGeom>
              <a:avLst/>
              <a:gdLst>
                <a:gd name="connsiteX0" fmla="*/ 0 w 121237"/>
                <a:gd name="connsiteY0" fmla="*/ 0 h 1182"/>
                <a:gd name="connsiteX1" fmla="*/ 121237 w 121237"/>
                <a:gd name="connsiteY1" fmla="*/ 0 h 11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1237" h="1182">
                  <a:moveTo>
                    <a:pt x="0" y="0"/>
                  </a:moveTo>
                  <a:lnTo>
                    <a:pt x="121237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16" name="Forma livre: Forma 1715">
              <a:extLst>
                <a:ext uri="{FF2B5EF4-FFF2-40B4-BE49-F238E27FC236}">
                  <a16:creationId xmlns:a16="http://schemas.microsoft.com/office/drawing/2014/main" id="{7B23D857-E2D0-873A-B5BC-04A852E215DB}"/>
                </a:ext>
              </a:extLst>
            </p:cNvPr>
            <p:cNvSpPr/>
            <p:nvPr/>
          </p:nvSpPr>
          <p:spPr>
            <a:xfrm>
              <a:off x="3311687" y="4704359"/>
              <a:ext cx="52033" cy="1182"/>
            </a:xfrm>
            <a:custGeom>
              <a:avLst/>
              <a:gdLst>
                <a:gd name="connsiteX0" fmla="*/ 0 w 52033"/>
                <a:gd name="connsiteY0" fmla="*/ 0 h 1182"/>
                <a:gd name="connsiteX1" fmla="*/ 52033 w 52033"/>
                <a:gd name="connsiteY1" fmla="*/ 0 h 11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2033" h="1182">
                  <a:moveTo>
                    <a:pt x="0" y="0"/>
                  </a:moveTo>
                  <a:lnTo>
                    <a:pt x="52033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17" name="Forma livre: Forma 1716">
              <a:extLst>
                <a:ext uri="{FF2B5EF4-FFF2-40B4-BE49-F238E27FC236}">
                  <a16:creationId xmlns:a16="http://schemas.microsoft.com/office/drawing/2014/main" id="{3F6D37F9-86D1-43E0-C00E-0B3DFC7C36C4}"/>
                </a:ext>
              </a:extLst>
            </p:cNvPr>
            <p:cNvSpPr/>
            <p:nvPr/>
          </p:nvSpPr>
          <p:spPr>
            <a:xfrm>
              <a:off x="3286238" y="4812197"/>
              <a:ext cx="121237" cy="1182"/>
            </a:xfrm>
            <a:custGeom>
              <a:avLst/>
              <a:gdLst>
                <a:gd name="connsiteX0" fmla="*/ 0 w 121237"/>
                <a:gd name="connsiteY0" fmla="*/ 0 h 1182"/>
                <a:gd name="connsiteX1" fmla="*/ 121237 w 121237"/>
                <a:gd name="connsiteY1" fmla="*/ 0 h 11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1237" h="1182">
                  <a:moveTo>
                    <a:pt x="0" y="0"/>
                  </a:moveTo>
                  <a:lnTo>
                    <a:pt x="121237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718" name="Gráfico 14">
              <a:extLst>
                <a:ext uri="{FF2B5EF4-FFF2-40B4-BE49-F238E27FC236}">
                  <a16:creationId xmlns:a16="http://schemas.microsoft.com/office/drawing/2014/main" id="{559FEF7C-0130-F649-3591-F06CD61CAC99}"/>
                </a:ext>
              </a:extLst>
            </p:cNvPr>
            <p:cNvGrpSpPr/>
            <p:nvPr/>
          </p:nvGrpSpPr>
          <p:grpSpPr>
            <a:xfrm>
              <a:off x="3248195" y="4872509"/>
              <a:ext cx="179017" cy="61978"/>
              <a:chOff x="3248195" y="4872509"/>
              <a:chExt cx="179017" cy="61978"/>
            </a:xfrm>
          </p:grpSpPr>
          <p:sp>
            <p:nvSpPr>
              <p:cNvPr id="1719" name="Forma livre: Forma 1718">
                <a:extLst>
                  <a:ext uri="{FF2B5EF4-FFF2-40B4-BE49-F238E27FC236}">
                    <a16:creationId xmlns:a16="http://schemas.microsoft.com/office/drawing/2014/main" id="{AB360937-7CB5-E88C-F6EF-97379FC178E0}"/>
                  </a:ext>
                </a:extLst>
              </p:cNvPr>
              <p:cNvSpPr/>
              <p:nvPr/>
            </p:nvSpPr>
            <p:spPr>
              <a:xfrm>
                <a:off x="3248195" y="4872509"/>
                <a:ext cx="38670" cy="61978"/>
              </a:xfrm>
              <a:custGeom>
                <a:avLst/>
                <a:gdLst>
                  <a:gd name="connsiteX0" fmla="*/ 38670 w 38670"/>
                  <a:gd name="connsiteY0" fmla="*/ 0 h 61978"/>
                  <a:gd name="connsiteX1" fmla="*/ 0 w 38670"/>
                  <a:gd name="connsiteY1" fmla="*/ 61979 h 619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8670" h="61978">
                    <a:moveTo>
                      <a:pt x="38670" y="0"/>
                    </a:moveTo>
                    <a:lnTo>
                      <a:pt x="0" y="61979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720" name="Forma livre: Forma 1719">
                <a:extLst>
                  <a:ext uri="{FF2B5EF4-FFF2-40B4-BE49-F238E27FC236}">
                    <a16:creationId xmlns:a16="http://schemas.microsoft.com/office/drawing/2014/main" id="{115D6E5E-1C80-C820-9ACB-EF53BA74A1DE}"/>
                  </a:ext>
                </a:extLst>
              </p:cNvPr>
              <p:cNvSpPr/>
              <p:nvPr/>
            </p:nvSpPr>
            <p:spPr>
              <a:xfrm>
                <a:off x="3389749" y="4873100"/>
                <a:ext cx="37463" cy="61387"/>
              </a:xfrm>
              <a:custGeom>
                <a:avLst/>
                <a:gdLst>
                  <a:gd name="connsiteX0" fmla="*/ 37464 w 37463"/>
                  <a:gd name="connsiteY0" fmla="*/ 61387 h 61387"/>
                  <a:gd name="connsiteX1" fmla="*/ 0 w 37463"/>
                  <a:gd name="connsiteY1" fmla="*/ 0 h 613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7463" h="61387">
                    <a:moveTo>
                      <a:pt x="37464" y="61387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721" name="Forma livre: Forma 1720">
              <a:extLst>
                <a:ext uri="{FF2B5EF4-FFF2-40B4-BE49-F238E27FC236}">
                  <a16:creationId xmlns:a16="http://schemas.microsoft.com/office/drawing/2014/main" id="{6BF476C6-9DD5-43B8-AF53-2E6524BE3192}"/>
                </a:ext>
              </a:extLst>
            </p:cNvPr>
            <p:cNvSpPr/>
            <p:nvPr/>
          </p:nvSpPr>
          <p:spPr>
            <a:xfrm>
              <a:off x="3270297" y="4903977"/>
              <a:ext cx="134813" cy="1182"/>
            </a:xfrm>
            <a:custGeom>
              <a:avLst/>
              <a:gdLst>
                <a:gd name="connsiteX0" fmla="*/ 0 w 134813"/>
                <a:gd name="connsiteY0" fmla="*/ 0 h 1182"/>
                <a:gd name="connsiteX1" fmla="*/ 134813 w 134813"/>
                <a:gd name="connsiteY1" fmla="*/ 0 h 11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34813" h="1182">
                  <a:moveTo>
                    <a:pt x="0" y="0"/>
                  </a:moveTo>
                  <a:lnTo>
                    <a:pt x="134813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722" name="Gráfico 14">
              <a:extLst>
                <a:ext uri="{FF2B5EF4-FFF2-40B4-BE49-F238E27FC236}">
                  <a16:creationId xmlns:a16="http://schemas.microsoft.com/office/drawing/2014/main" id="{59A978DD-FE0A-8796-CEBB-BF75B952F846}"/>
                </a:ext>
              </a:extLst>
            </p:cNvPr>
            <p:cNvGrpSpPr/>
            <p:nvPr/>
          </p:nvGrpSpPr>
          <p:grpSpPr>
            <a:xfrm>
              <a:off x="3291347" y="4845309"/>
              <a:ext cx="92713" cy="1182"/>
              <a:chOff x="3291347" y="4845309"/>
              <a:chExt cx="92713" cy="1182"/>
            </a:xfrm>
          </p:grpSpPr>
          <p:sp>
            <p:nvSpPr>
              <p:cNvPr id="1723" name="Forma livre: Forma 1722">
                <a:extLst>
                  <a:ext uri="{FF2B5EF4-FFF2-40B4-BE49-F238E27FC236}">
                    <a16:creationId xmlns:a16="http://schemas.microsoft.com/office/drawing/2014/main" id="{F309FEFD-42B0-1ADA-EDD4-D6650E1E9DAD}"/>
                  </a:ext>
                </a:extLst>
              </p:cNvPr>
              <p:cNvSpPr/>
              <p:nvPr/>
            </p:nvSpPr>
            <p:spPr>
              <a:xfrm>
                <a:off x="3291347" y="4845309"/>
                <a:ext cx="12298" cy="1182"/>
              </a:xfrm>
              <a:custGeom>
                <a:avLst/>
                <a:gdLst>
                  <a:gd name="connsiteX0" fmla="*/ 0 w 12298"/>
                  <a:gd name="connsiteY0" fmla="*/ 0 h 1182"/>
                  <a:gd name="connsiteX1" fmla="*/ 12299 w 12298"/>
                  <a:gd name="connsiteY1" fmla="*/ 0 h 11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298" h="1182">
                    <a:moveTo>
                      <a:pt x="0" y="0"/>
                    </a:moveTo>
                    <a:lnTo>
                      <a:pt x="12299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724" name="Forma livre: Forma 1723">
                <a:extLst>
                  <a:ext uri="{FF2B5EF4-FFF2-40B4-BE49-F238E27FC236}">
                    <a16:creationId xmlns:a16="http://schemas.microsoft.com/office/drawing/2014/main" id="{BE237AD4-E77B-E02A-1357-0F2E5F7FE6FD}"/>
                  </a:ext>
                </a:extLst>
              </p:cNvPr>
              <p:cNvSpPr/>
              <p:nvPr/>
            </p:nvSpPr>
            <p:spPr>
              <a:xfrm>
                <a:off x="3371762" y="4845309"/>
                <a:ext cx="12298" cy="1182"/>
              </a:xfrm>
              <a:custGeom>
                <a:avLst/>
                <a:gdLst>
                  <a:gd name="connsiteX0" fmla="*/ 0 w 12298"/>
                  <a:gd name="connsiteY0" fmla="*/ 0 h 1182"/>
                  <a:gd name="connsiteX1" fmla="*/ 12299 w 12298"/>
                  <a:gd name="connsiteY1" fmla="*/ 0 h 11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298" h="1182">
                    <a:moveTo>
                      <a:pt x="0" y="0"/>
                    </a:moveTo>
                    <a:lnTo>
                      <a:pt x="12299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725" name="Gráfico 14">
            <a:extLst>
              <a:ext uri="{FF2B5EF4-FFF2-40B4-BE49-F238E27FC236}">
                <a16:creationId xmlns:a16="http://schemas.microsoft.com/office/drawing/2014/main" id="{9FDA102A-A6B3-30F3-A681-D97E1BEB5379}"/>
              </a:ext>
            </a:extLst>
          </p:cNvPr>
          <p:cNvGrpSpPr/>
          <p:nvPr/>
        </p:nvGrpSpPr>
        <p:grpSpPr>
          <a:xfrm>
            <a:off x="3750125" y="4160328"/>
            <a:ext cx="409464" cy="160936"/>
            <a:chOff x="3750125" y="4160328"/>
            <a:chExt cx="409464" cy="160936"/>
          </a:xfrm>
          <a:noFill/>
        </p:grpSpPr>
        <p:sp>
          <p:nvSpPr>
            <p:cNvPr id="1726" name="Forma livre: Forma 1725">
              <a:extLst>
                <a:ext uri="{FF2B5EF4-FFF2-40B4-BE49-F238E27FC236}">
                  <a16:creationId xmlns:a16="http://schemas.microsoft.com/office/drawing/2014/main" id="{CAE99D58-F96D-5533-6C01-B492AE34A301}"/>
                </a:ext>
              </a:extLst>
            </p:cNvPr>
            <p:cNvSpPr/>
            <p:nvPr/>
          </p:nvSpPr>
          <p:spPr>
            <a:xfrm>
              <a:off x="3750125" y="4160328"/>
              <a:ext cx="409464" cy="142074"/>
            </a:xfrm>
            <a:custGeom>
              <a:avLst/>
              <a:gdLst>
                <a:gd name="connsiteX0" fmla="*/ 349061 w 409464"/>
                <a:gd name="connsiteY0" fmla="*/ 142074 h 142074"/>
                <a:gd name="connsiteX1" fmla="*/ 392579 w 409464"/>
                <a:gd name="connsiteY1" fmla="*/ 142074 h 142074"/>
                <a:gd name="connsiteX2" fmla="*/ 409194 w 409464"/>
                <a:gd name="connsiteY2" fmla="*/ 122597 h 142074"/>
                <a:gd name="connsiteX3" fmla="*/ 409194 w 409464"/>
                <a:gd name="connsiteY3" fmla="*/ 85098 h 142074"/>
                <a:gd name="connsiteX4" fmla="*/ 321530 w 409464"/>
                <a:gd name="connsiteY4" fmla="*/ 48426 h 142074"/>
                <a:gd name="connsiteX5" fmla="*/ 180379 w 409464"/>
                <a:gd name="connsiteY5" fmla="*/ 0 h 142074"/>
                <a:gd name="connsiteX6" fmla="*/ 122764 w 409464"/>
                <a:gd name="connsiteY6" fmla="*/ 0 h 142074"/>
                <a:gd name="connsiteX7" fmla="*/ 83526 w 409464"/>
                <a:gd name="connsiteY7" fmla="*/ 17762 h 142074"/>
                <a:gd name="connsiteX8" fmla="*/ 8645 w 409464"/>
                <a:gd name="connsiteY8" fmla="*/ 35832 h 142074"/>
                <a:gd name="connsiteX9" fmla="*/ 48 w 409464"/>
                <a:gd name="connsiteY9" fmla="*/ 47279 h 142074"/>
                <a:gd name="connsiteX10" fmla="*/ 48 w 409464"/>
                <a:gd name="connsiteY10" fmla="*/ 115715 h 142074"/>
                <a:gd name="connsiteX11" fmla="*/ 35584 w 409464"/>
                <a:gd name="connsiteY11" fmla="*/ 135771 h 142074"/>
                <a:gd name="connsiteX12" fmla="*/ 52566 w 409464"/>
                <a:gd name="connsiteY12" fmla="*/ 135771 h 1420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09464" h="142074">
                  <a:moveTo>
                    <a:pt x="349061" y="142074"/>
                  </a:moveTo>
                  <a:lnTo>
                    <a:pt x="392579" y="142074"/>
                  </a:lnTo>
                  <a:cubicBezTo>
                    <a:pt x="392579" y="142074"/>
                    <a:pt x="409194" y="140359"/>
                    <a:pt x="409194" y="122597"/>
                  </a:cubicBezTo>
                  <a:lnTo>
                    <a:pt x="409194" y="85098"/>
                  </a:lnTo>
                  <a:cubicBezTo>
                    <a:pt x="409194" y="85098"/>
                    <a:pt x="418927" y="70209"/>
                    <a:pt x="321530" y="48426"/>
                  </a:cubicBezTo>
                  <a:cubicBezTo>
                    <a:pt x="321530" y="48426"/>
                    <a:pt x="270360" y="0"/>
                    <a:pt x="180379" y="0"/>
                  </a:cubicBezTo>
                  <a:lnTo>
                    <a:pt x="122764" y="0"/>
                  </a:lnTo>
                  <a:cubicBezTo>
                    <a:pt x="122764" y="0"/>
                    <a:pt x="104292" y="2613"/>
                    <a:pt x="83526" y="17762"/>
                  </a:cubicBezTo>
                  <a:cubicBezTo>
                    <a:pt x="75189" y="23852"/>
                    <a:pt x="57367" y="35832"/>
                    <a:pt x="8645" y="35832"/>
                  </a:cubicBezTo>
                  <a:cubicBezTo>
                    <a:pt x="8645" y="35832"/>
                    <a:pt x="48" y="35832"/>
                    <a:pt x="48" y="47279"/>
                  </a:cubicBezTo>
                  <a:lnTo>
                    <a:pt x="48" y="115715"/>
                  </a:lnTo>
                  <a:cubicBezTo>
                    <a:pt x="48" y="115715"/>
                    <a:pt x="-2814" y="135771"/>
                    <a:pt x="35584" y="135771"/>
                  </a:cubicBezTo>
                  <a:lnTo>
                    <a:pt x="52566" y="135771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27" name="Forma livre: Forma 1726">
              <a:extLst>
                <a:ext uri="{FF2B5EF4-FFF2-40B4-BE49-F238E27FC236}">
                  <a16:creationId xmlns:a16="http://schemas.microsoft.com/office/drawing/2014/main" id="{F91672F0-F0C9-E558-41A9-6CAFC89C23F8}"/>
                </a:ext>
              </a:extLst>
            </p:cNvPr>
            <p:cNvSpPr/>
            <p:nvPr/>
          </p:nvSpPr>
          <p:spPr>
            <a:xfrm>
              <a:off x="3878541" y="4297826"/>
              <a:ext cx="146130" cy="1182"/>
            </a:xfrm>
            <a:custGeom>
              <a:avLst/>
              <a:gdLst>
                <a:gd name="connsiteX0" fmla="*/ 0 w 146130"/>
                <a:gd name="connsiteY0" fmla="*/ 0 h 1182"/>
                <a:gd name="connsiteX1" fmla="*/ 146130 w 146130"/>
                <a:gd name="connsiteY1" fmla="*/ 0 h 11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46130" h="1182">
                  <a:moveTo>
                    <a:pt x="0" y="0"/>
                  </a:moveTo>
                  <a:lnTo>
                    <a:pt x="14613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28" name="Forma livre: Forma 1727">
              <a:extLst>
                <a:ext uri="{FF2B5EF4-FFF2-40B4-BE49-F238E27FC236}">
                  <a16:creationId xmlns:a16="http://schemas.microsoft.com/office/drawing/2014/main" id="{E8688722-7FDC-EBE4-25B2-D589F4EC26D7}"/>
                </a:ext>
              </a:extLst>
            </p:cNvPr>
            <p:cNvSpPr/>
            <p:nvPr/>
          </p:nvSpPr>
          <p:spPr>
            <a:xfrm>
              <a:off x="3803365" y="4265116"/>
              <a:ext cx="56160" cy="56148"/>
            </a:xfrm>
            <a:custGeom>
              <a:avLst/>
              <a:gdLst>
                <a:gd name="connsiteX0" fmla="*/ 56160 w 56160"/>
                <a:gd name="connsiteY0" fmla="*/ 28062 h 56148"/>
                <a:gd name="connsiteX1" fmla="*/ 28086 w 56160"/>
                <a:gd name="connsiteY1" fmla="*/ 56148 h 56148"/>
                <a:gd name="connsiteX2" fmla="*/ 0 w 56160"/>
                <a:gd name="connsiteY2" fmla="*/ 28062 h 56148"/>
                <a:gd name="connsiteX3" fmla="*/ 28086 w 56160"/>
                <a:gd name="connsiteY3" fmla="*/ 0 h 56148"/>
                <a:gd name="connsiteX4" fmla="*/ 56160 w 56160"/>
                <a:gd name="connsiteY4" fmla="*/ 28062 h 561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6160" h="56148">
                  <a:moveTo>
                    <a:pt x="56160" y="28062"/>
                  </a:moveTo>
                  <a:cubicBezTo>
                    <a:pt x="56160" y="43578"/>
                    <a:pt x="43590" y="56148"/>
                    <a:pt x="28086" y="56148"/>
                  </a:cubicBezTo>
                  <a:cubicBezTo>
                    <a:pt x="12583" y="56148"/>
                    <a:pt x="0" y="43578"/>
                    <a:pt x="0" y="28062"/>
                  </a:cubicBezTo>
                  <a:cubicBezTo>
                    <a:pt x="0" y="12547"/>
                    <a:pt x="12571" y="0"/>
                    <a:pt x="28086" y="0"/>
                  </a:cubicBezTo>
                  <a:cubicBezTo>
                    <a:pt x="43601" y="0"/>
                    <a:pt x="56160" y="12559"/>
                    <a:pt x="56160" y="28062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29" name="Forma livre: Forma 1728">
              <a:extLst>
                <a:ext uri="{FF2B5EF4-FFF2-40B4-BE49-F238E27FC236}">
                  <a16:creationId xmlns:a16="http://schemas.microsoft.com/office/drawing/2014/main" id="{6265BAB9-FB63-CE9D-861C-D6CB134A45D9}"/>
                </a:ext>
              </a:extLst>
            </p:cNvPr>
            <p:cNvSpPr/>
            <p:nvPr/>
          </p:nvSpPr>
          <p:spPr>
            <a:xfrm>
              <a:off x="4043794" y="4265116"/>
              <a:ext cx="56148" cy="56148"/>
            </a:xfrm>
            <a:custGeom>
              <a:avLst/>
              <a:gdLst>
                <a:gd name="connsiteX0" fmla="*/ 56149 w 56148"/>
                <a:gd name="connsiteY0" fmla="*/ 28062 h 56148"/>
                <a:gd name="connsiteX1" fmla="*/ 28063 w 56148"/>
                <a:gd name="connsiteY1" fmla="*/ 56148 h 56148"/>
                <a:gd name="connsiteX2" fmla="*/ 0 w 56148"/>
                <a:gd name="connsiteY2" fmla="*/ 28062 h 56148"/>
                <a:gd name="connsiteX3" fmla="*/ 28063 w 56148"/>
                <a:gd name="connsiteY3" fmla="*/ 0 h 56148"/>
                <a:gd name="connsiteX4" fmla="*/ 56149 w 56148"/>
                <a:gd name="connsiteY4" fmla="*/ 28062 h 561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6148" h="56148">
                  <a:moveTo>
                    <a:pt x="56149" y="28062"/>
                  </a:moveTo>
                  <a:cubicBezTo>
                    <a:pt x="56149" y="43578"/>
                    <a:pt x="43578" y="56148"/>
                    <a:pt x="28063" y="56148"/>
                  </a:cubicBezTo>
                  <a:cubicBezTo>
                    <a:pt x="12547" y="56148"/>
                    <a:pt x="0" y="43578"/>
                    <a:pt x="0" y="28062"/>
                  </a:cubicBezTo>
                  <a:cubicBezTo>
                    <a:pt x="0" y="12547"/>
                    <a:pt x="12559" y="0"/>
                    <a:pt x="28063" y="0"/>
                  </a:cubicBezTo>
                  <a:cubicBezTo>
                    <a:pt x="43566" y="0"/>
                    <a:pt x="56149" y="12559"/>
                    <a:pt x="56149" y="28062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30" name="Forma livre: Forma 1729">
              <a:extLst>
                <a:ext uri="{FF2B5EF4-FFF2-40B4-BE49-F238E27FC236}">
                  <a16:creationId xmlns:a16="http://schemas.microsoft.com/office/drawing/2014/main" id="{E8FE0BD8-EF75-29B0-593C-F6B33DF8C9EF}"/>
                </a:ext>
              </a:extLst>
            </p:cNvPr>
            <p:cNvSpPr/>
            <p:nvPr/>
          </p:nvSpPr>
          <p:spPr>
            <a:xfrm>
              <a:off x="3847617" y="4199140"/>
              <a:ext cx="192700" cy="15018"/>
            </a:xfrm>
            <a:custGeom>
              <a:avLst/>
              <a:gdLst>
                <a:gd name="connsiteX0" fmla="*/ 192700 w 192700"/>
                <a:gd name="connsiteY0" fmla="*/ 15019 h 15018"/>
                <a:gd name="connsiteX1" fmla="*/ 14758 w 192700"/>
                <a:gd name="connsiteY1" fmla="*/ 15019 h 15018"/>
                <a:gd name="connsiteX2" fmla="*/ 0 w 192700"/>
                <a:gd name="connsiteY2" fmla="*/ 0 h 150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92700" h="15018">
                  <a:moveTo>
                    <a:pt x="192700" y="15019"/>
                  </a:moveTo>
                  <a:lnTo>
                    <a:pt x="14758" y="15019"/>
                  </a:lnTo>
                  <a:lnTo>
                    <a:pt x="0" y="0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31" name="Forma livre: Forma 1730">
              <a:extLst>
                <a:ext uri="{FF2B5EF4-FFF2-40B4-BE49-F238E27FC236}">
                  <a16:creationId xmlns:a16="http://schemas.microsoft.com/office/drawing/2014/main" id="{1FF474F4-DB3A-2741-1F92-FF756E27D9A1}"/>
                </a:ext>
              </a:extLst>
            </p:cNvPr>
            <p:cNvSpPr/>
            <p:nvPr/>
          </p:nvSpPr>
          <p:spPr>
            <a:xfrm>
              <a:off x="3929806" y="4160328"/>
              <a:ext cx="1182" cy="53830"/>
            </a:xfrm>
            <a:custGeom>
              <a:avLst/>
              <a:gdLst>
                <a:gd name="connsiteX0" fmla="*/ 0 w 1182"/>
                <a:gd name="connsiteY0" fmla="*/ 53831 h 53830"/>
                <a:gd name="connsiteX1" fmla="*/ 0 w 1182"/>
                <a:gd name="connsiteY1" fmla="*/ 0 h 53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82" h="53830">
                  <a:moveTo>
                    <a:pt x="0" y="53831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32" name="Forma livre: Forma 1731">
              <a:extLst>
                <a:ext uri="{FF2B5EF4-FFF2-40B4-BE49-F238E27FC236}">
                  <a16:creationId xmlns:a16="http://schemas.microsoft.com/office/drawing/2014/main" id="{3CE5DF2A-6BED-EDAA-88E9-83933BE5E913}"/>
                </a:ext>
              </a:extLst>
            </p:cNvPr>
            <p:cNvSpPr/>
            <p:nvPr/>
          </p:nvSpPr>
          <p:spPr>
            <a:xfrm>
              <a:off x="3751604" y="4259132"/>
              <a:ext cx="27589" cy="1182"/>
            </a:xfrm>
            <a:custGeom>
              <a:avLst/>
              <a:gdLst>
                <a:gd name="connsiteX0" fmla="*/ 27589 w 27589"/>
                <a:gd name="connsiteY0" fmla="*/ 0 h 1182"/>
                <a:gd name="connsiteX1" fmla="*/ 0 w 27589"/>
                <a:gd name="connsiteY1" fmla="*/ 0 h 11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7589" h="1182">
                  <a:moveTo>
                    <a:pt x="27589" y="0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33" name="Forma livre: Forma 1732">
              <a:extLst>
                <a:ext uri="{FF2B5EF4-FFF2-40B4-BE49-F238E27FC236}">
                  <a16:creationId xmlns:a16="http://schemas.microsoft.com/office/drawing/2014/main" id="{614B123E-9077-8AFE-D51C-26F64B7AB678}"/>
                </a:ext>
              </a:extLst>
            </p:cNvPr>
            <p:cNvSpPr/>
            <p:nvPr/>
          </p:nvSpPr>
          <p:spPr>
            <a:xfrm>
              <a:off x="4130689" y="4261923"/>
              <a:ext cx="27589" cy="1182"/>
            </a:xfrm>
            <a:custGeom>
              <a:avLst/>
              <a:gdLst>
                <a:gd name="connsiteX0" fmla="*/ 27589 w 27589"/>
                <a:gd name="connsiteY0" fmla="*/ 0 h 1182"/>
                <a:gd name="connsiteX1" fmla="*/ 0 w 27589"/>
                <a:gd name="connsiteY1" fmla="*/ 0 h 11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7589" h="1182">
                  <a:moveTo>
                    <a:pt x="27589" y="0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734" name="Gráfico 14">
            <a:extLst>
              <a:ext uri="{FF2B5EF4-FFF2-40B4-BE49-F238E27FC236}">
                <a16:creationId xmlns:a16="http://schemas.microsoft.com/office/drawing/2014/main" id="{466F32A8-13BD-7D57-2F95-134F05E1C3A4}"/>
              </a:ext>
            </a:extLst>
          </p:cNvPr>
          <p:cNvGrpSpPr/>
          <p:nvPr/>
        </p:nvGrpSpPr>
        <p:grpSpPr>
          <a:xfrm>
            <a:off x="3763666" y="5711821"/>
            <a:ext cx="382420" cy="239595"/>
            <a:chOff x="3763666" y="5711821"/>
            <a:chExt cx="382420" cy="239595"/>
          </a:xfrm>
        </p:grpSpPr>
        <p:sp>
          <p:nvSpPr>
            <p:cNvPr id="1735" name="Forma livre: Forma 1734">
              <a:extLst>
                <a:ext uri="{FF2B5EF4-FFF2-40B4-BE49-F238E27FC236}">
                  <a16:creationId xmlns:a16="http://schemas.microsoft.com/office/drawing/2014/main" id="{90D3DC0D-3C1C-D654-3D6A-ADA3545EBAA4}"/>
                </a:ext>
              </a:extLst>
            </p:cNvPr>
            <p:cNvSpPr/>
            <p:nvPr/>
          </p:nvSpPr>
          <p:spPr>
            <a:xfrm>
              <a:off x="3840191" y="5896226"/>
              <a:ext cx="198825" cy="55190"/>
            </a:xfrm>
            <a:custGeom>
              <a:avLst/>
              <a:gdLst>
                <a:gd name="connsiteX0" fmla="*/ 198826 w 198825"/>
                <a:gd name="connsiteY0" fmla="*/ 20033 h 55190"/>
                <a:gd name="connsiteX1" fmla="*/ 160037 w 198825"/>
                <a:gd name="connsiteY1" fmla="*/ 0 h 55190"/>
                <a:gd name="connsiteX2" fmla="*/ 99241 w 198825"/>
                <a:gd name="connsiteY2" fmla="*/ 24 h 55190"/>
                <a:gd name="connsiteX3" fmla="*/ 0 w 198825"/>
                <a:gd name="connsiteY3" fmla="*/ 55191 h 551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8825" h="55190">
                  <a:moveTo>
                    <a:pt x="198826" y="20033"/>
                  </a:moveTo>
                  <a:lnTo>
                    <a:pt x="160037" y="0"/>
                  </a:lnTo>
                  <a:lnTo>
                    <a:pt x="99241" y="24"/>
                  </a:lnTo>
                  <a:lnTo>
                    <a:pt x="0" y="55191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36" name="Forma livre: Forma 1735">
              <a:extLst>
                <a:ext uri="{FF2B5EF4-FFF2-40B4-BE49-F238E27FC236}">
                  <a16:creationId xmlns:a16="http://schemas.microsoft.com/office/drawing/2014/main" id="{C361A3F8-6170-81D8-227A-619753A0BAE7}"/>
                </a:ext>
              </a:extLst>
            </p:cNvPr>
            <p:cNvSpPr/>
            <p:nvPr/>
          </p:nvSpPr>
          <p:spPr>
            <a:xfrm>
              <a:off x="4018676" y="5867063"/>
              <a:ext cx="127410" cy="72527"/>
            </a:xfrm>
            <a:custGeom>
              <a:avLst/>
              <a:gdLst>
                <a:gd name="connsiteX0" fmla="*/ 127410 w 127410"/>
                <a:gd name="connsiteY0" fmla="*/ 0 h 72527"/>
                <a:gd name="connsiteX1" fmla="*/ 41946 w 127410"/>
                <a:gd name="connsiteY1" fmla="*/ 23805 h 72527"/>
                <a:gd name="connsiteX2" fmla="*/ 0 w 127410"/>
                <a:gd name="connsiteY2" fmla="*/ 72527 h 725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7410" h="72527">
                  <a:moveTo>
                    <a:pt x="127410" y="0"/>
                  </a:moveTo>
                  <a:lnTo>
                    <a:pt x="41946" y="23805"/>
                  </a:lnTo>
                  <a:lnTo>
                    <a:pt x="0" y="72527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37" name="Forma livre: Forma 1736">
              <a:extLst>
                <a:ext uri="{FF2B5EF4-FFF2-40B4-BE49-F238E27FC236}">
                  <a16:creationId xmlns:a16="http://schemas.microsoft.com/office/drawing/2014/main" id="{57592902-12CB-88E2-F991-68E0CFBA6540}"/>
                </a:ext>
              </a:extLst>
            </p:cNvPr>
            <p:cNvSpPr/>
            <p:nvPr/>
          </p:nvSpPr>
          <p:spPr>
            <a:xfrm>
              <a:off x="3810674" y="5763600"/>
              <a:ext cx="100175" cy="35406"/>
            </a:xfrm>
            <a:custGeom>
              <a:avLst/>
              <a:gdLst>
                <a:gd name="connsiteX0" fmla="*/ 100176 w 100175"/>
                <a:gd name="connsiteY0" fmla="*/ 15362 h 35406"/>
                <a:gd name="connsiteX1" fmla="*/ 7675 w 100175"/>
                <a:gd name="connsiteY1" fmla="*/ 35406 h 35406"/>
                <a:gd name="connsiteX2" fmla="*/ 0 w 100175"/>
                <a:gd name="connsiteY2" fmla="*/ 0 h 354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00175" h="35406">
                  <a:moveTo>
                    <a:pt x="100176" y="15362"/>
                  </a:moveTo>
                  <a:lnTo>
                    <a:pt x="7675" y="35406"/>
                  </a:lnTo>
                  <a:lnTo>
                    <a:pt x="0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38" name="Forma livre: Forma 1737">
              <a:extLst>
                <a:ext uri="{FF2B5EF4-FFF2-40B4-BE49-F238E27FC236}">
                  <a16:creationId xmlns:a16="http://schemas.microsoft.com/office/drawing/2014/main" id="{F85FA638-9166-98C2-06F6-25323D179AAE}"/>
                </a:ext>
              </a:extLst>
            </p:cNvPr>
            <p:cNvSpPr/>
            <p:nvPr/>
          </p:nvSpPr>
          <p:spPr>
            <a:xfrm>
              <a:off x="3931154" y="5762288"/>
              <a:ext cx="56657" cy="12275"/>
            </a:xfrm>
            <a:custGeom>
              <a:avLst/>
              <a:gdLst>
                <a:gd name="connsiteX0" fmla="*/ 56657 w 56657"/>
                <a:gd name="connsiteY0" fmla="*/ 0 h 12275"/>
                <a:gd name="connsiteX1" fmla="*/ 0 w 56657"/>
                <a:gd name="connsiteY1" fmla="*/ 12275 h 12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6657" h="12275">
                  <a:moveTo>
                    <a:pt x="56657" y="0"/>
                  </a:moveTo>
                  <a:lnTo>
                    <a:pt x="0" y="12275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39" name="Forma livre: Forma 1738">
              <a:extLst>
                <a:ext uri="{FF2B5EF4-FFF2-40B4-BE49-F238E27FC236}">
                  <a16:creationId xmlns:a16="http://schemas.microsoft.com/office/drawing/2014/main" id="{C9B00915-7579-7A02-482F-7F328BD63DD3}"/>
                </a:ext>
              </a:extLst>
            </p:cNvPr>
            <p:cNvSpPr/>
            <p:nvPr/>
          </p:nvSpPr>
          <p:spPr>
            <a:xfrm>
              <a:off x="3832785" y="5847547"/>
              <a:ext cx="72498" cy="72500"/>
            </a:xfrm>
            <a:custGeom>
              <a:avLst/>
              <a:gdLst>
                <a:gd name="connsiteX0" fmla="*/ 71667 w 72498"/>
                <a:gd name="connsiteY0" fmla="*/ 28575 h 72500"/>
                <a:gd name="connsiteX1" fmla="*/ 43924 w 72498"/>
                <a:gd name="connsiteY1" fmla="*/ 71668 h 72500"/>
                <a:gd name="connsiteX2" fmla="*/ 831 w 72498"/>
                <a:gd name="connsiteY2" fmla="*/ 43925 h 72500"/>
                <a:gd name="connsiteX3" fmla="*/ 28574 w 72498"/>
                <a:gd name="connsiteY3" fmla="*/ 832 h 72500"/>
                <a:gd name="connsiteX4" fmla="*/ 71679 w 72498"/>
                <a:gd name="connsiteY4" fmla="*/ 28575 h 72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2498" h="72500">
                  <a:moveTo>
                    <a:pt x="71667" y="28575"/>
                  </a:moveTo>
                  <a:cubicBezTo>
                    <a:pt x="75912" y="48135"/>
                    <a:pt x="63484" y="67423"/>
                    <a:pt x="43924" y="71668"/>
                  </a:cubicBezTo>
                  <a:cubicBezTo>
                    <a:pt x="24364" y="75914"/>
                    <a:pt x="5065" y="63497"/>
                    <a:pt x="831" y="43925"/>
                  </a:cubicBezTo>
                  <a:cubicBezTo>
                    <a:pt x="-3414" y="24365"/>
                    <a:pt x="9026" y="5077"/>
                    <a:pt x="28574" y="832"/>
                  </a:cubicBezTo>
                  <a:cubicBezTo>
                    <a:pt x="48134" y="-3413"/>
                    <a:pt x="67434" y="9004"/>
                    <a:pt x="71679" y="28575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40" name="Forma livre: Forma 1739">
              <a:extLst>
                <a:ext uri="{FF2B5EF4-FFF2-40B4-BE49-F238E27FC236}">
                  <a16:creationId xmlns:a16="http://schemas.microsoft.com/office/drawing/2014/main" id="{DC6ACD97-1E98-AF9D-226C-384C6941A5B5}"/>
                </a:ext>
              </a:extLst>
            </p:cNvPr>
            <p:cNvSpPr/>
            <p:nvPr/>
          </p:nvSpPr>
          <p:spPr>
            <a:xfrm>
              <a:off x="3865449" y="5880228"/>
              <a:ext cx="7157" cy="7155"/>
            </a:xfrm>
            <a:custGeom>
              <a:avLst/>
              <a:gdLst>
                <a:gd name="connsiteX0" fmla="*/ 7073 w 7157"/>
                <a:gd name="connsiteY0" fmla="*/ 2836 h 7155"/>
                <a:gd name="connsiteX1" fmla="*/ 4342 w 7157"/>
                <a:gd name="connsiteY1" fmla="*/ 7070 h 7155"/>
                <a:gd name="connsiteX2" fmla="*/ 84 w 7157"/>
                <a:gd name="connsiteY2" fmla="*/ 4350 h 7155"/>
                <a:gd name="connsiteX3" fmla="*/ 2828 w 7157"/>
                <a:gd name="connsiteY3" fmla="*/ 81 h 7155"/>
                <a:gd name="connsiteX4" fmla="*/ 7073 w 7157"/>
                <a:gd name="connsiteY4" fmla="*/ 2836 h 71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57" h="7155">
                  <a:moveTo>
                    <a:pt x="7073" y="2836"/>
                  </a:moveTo>
                  <a:cubicBezTo>
                    <a:pt x="7499" y="4775"/>
                    <a:pt x="6269" y="6644"/>
                    <a:pt x="4342" y="7070"/>
                  </a:cubicBezTo>
                  <a:cubicBezTo>
                    <a:pt x="2414" y="7495"/>
                    <a:pt x="510" y="6289"/>
                    <a:pt x="84" y="4350"/>
                  </a:cubicBezTo>
                  <a:cubicBezTo>
                    <a:pt x="-341" y="2410"/>
                    <a:pt x="888" y="506"/>
                    <a:pt x="2828" y="81"/>
                  </a:cubicBezTo>
                  <a:cubicBezTo>
                    <a:pt x="4767" y="-333"/>
                    <a:pt x="6659" y="885"/>
                    <a:pt x="7073" y="2836"/>
                  </a:cubicBezTo>
                  <a:close/>
                </a:path>
              </a:pathLst>
            </a:custGeom>
            <a:solidFill>
              <a:srgbClr val="FF8B00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741" name="Gráfico 14">
              <a:extLst>
                <a:ext uri="{FF2B5EF4-FFF2-40B4-BE49-F238E27FC236}">
                  <a16:creationId xmlns:a16="http://schemas.microsoft.com/office/drawing/2014/main" id="{122F406A-7729-0B8E-6D8D-2733E4F1A63F}"/>
                </a:ext>
              </a:extLst>
            </p:cNvPr>
            <p:cNvGrpSpPr/>
            <p:nvPr/>
          </p:nvGrpSpPr>
          <p:grpSpPr>
            <a:xfrm>
              <a:off x="4048013" y="5800906"/>
              <a:ext cx="72498" cy="72496"/>
              <a:chOff x="4048013" y="5800906"/>
              <a:chExt cx="72498" cy="72496"/>
            </a:xfrm>
          </p:grpSpPr>
          <p:sp>
            <p:nvSpPr>
              <p:cNvPr id="1742" name="Forma livre: Forma 1741">
                <a:extLst>
                  <a:ext uri="{FF2B5EF4-FFF2-40B4-BE49-F238E27FC236}">
                    <a16:creationId xmlns:a16="http://schemas.microsoft.com/office/drawing/2014/main" id="{E4F18F47-2ECD-2273-F9BA-D706688DF67E}"/>
                  </a:ext>
                </a:extLst>
              </p:cNvPr>
              <p:cNvSpPr/>
              <p:nvPr/>
            </p:nvSpPr>
            <p:spPr>
              <a:xfrm>
                <a:off x="4048013" y="5800906"/>
                <a:ext cx="72498" cy="72496"/>
              </a:xfrm>
              <a:custGeom>
                <a:avLst/>
                <a:gdLst>
                  <a:gd name="connsiteX0" fmla="*/ 71667 w 72498"/>
                  <a:gd name="connsiteY0" fmla="*/ 28564 h 72496"/>
                  <a:gd name="connsiteX1" fmla="*/ 43924 w 72498"/>
                  <a:gd name="connsiteY1" fmla="*/ 71668 h 72496"/>
                  <a:gd name="connsiteX2" fmla="*/ 831 w 72498"/>
                  <a:gd name="connsiteY2" fmla="*/ 43925 h 72496"/>
                  <a:gd name="connsiteX3" fmla="*/ 28574 w 72498"/>
                  <a:gd name="connsiteY3" fmla="*/ 832 h 72496"/>
                  <a:gd name="connsiteX4" fmla="*/ 71667 w 72498"/>
                  <a:gd name="connsiteY4" fmla="*/ 28564 h 724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2498" h="72496">
                    <a:moveTo>
                      <a:pt x="71667" y="28564"/>
                    </a:moveTo>
                    <a:cubicBezTo>
                      <a:pt x="75912" y="48123"/>
                      <a:pt x="63484" y="67423"/>
                      <a:pt x="43924" y="71668"/>
                    </a:cubicBezTo>
                    <a:cubicBezTo>
                      <a:pt x="24364" y="75902"/>
                      <a:pt x="5065" y="63485"/>
                      <a:pt x="831" y="43925"/>
                    </a:cubicBezTo>
                    <a:cubicBezTo>
                      <a:pt x="-3414" y="24365"/>
                      <a:pt x="9026" y="5066"/>
                      <a:pt x="28574" y="832"/>
                    </a:cubicBezTo>
                    <a:cubicBezTo>
                      <a:pt x="48134" y="-3413"/>
                      <a:pt x="67434" y="9004"/>
                      <a:pt x="71667" y="28564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743" name="Forma livre: Forma 1742">
                <a:extLst>
                  <a:ext uri="{FF2B5EF4-FFF2-40B4-BE49-F238E27FC236}">
                    <a16:creationId xmlns:a16="http://schemas.microsoft.com/office/drawing/2014/main" id="{0DA0E368-F201-C39E-470E-252572E38EC2}"/>
                  </a:ext>
                </a:extLst>
              </p:cNvPr>
              <p:cNvSpPr/>
              <p:nvPr/>
            </p:nvSpPr>
            <p:spPr>
              <a:xfrm>
                <a:off x="4080677" y="5833572"/>
                <a:ext cx="7157" cy="7155"/>
              </a:xfrm>
              <a:custGeom>
                <a:avLst/>
                <a:gdLst>
                  <a:gd name="connsiteX0" fmla="*/ 7073 w 7157"/>
                  <a:gd name="connsiteY0" fmla="*/ 2840 h 7155"/>
                  <a:gd name="connsiteX1" fmla="*/ 4342 w 7157"/>
                  <a:gd name="connsiteY1" fmla="*/ 7073 h 7155"/>
                  <a:gd name="connsiteX2" fmla="*/ 84 w 7157"/>
                  <a:gd name="connsiteY2" fmla="*/ 4353 h 7155"/>
                  <a:gd name="connsiteX3" fmla="*/ 2828 w 7157"/>
                  <a:gd name="connsiteY3" fmla="*/ 84 h 7155"/>
                  <a:gd name="connsiteX4" fmla="*/ 7073 w 7157"/>
                  <a:gd name="connsiteY4" fmla="*/ 2840 h 71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157" h="7155">
                    <a:moveTo>
                      <a:pt x="7073" y="2840"/>
                    </a:moveTo>
                    <a:cubicBezTo>
                      <a:pt x="7499" y="4767"/>
                      <a:pt x="6269" y="6659"/>
                      <a:pt x="4342" y="7073"/>
                    </a:cubicBezTo>
                    <a:cubicBezTo>
                      <a:pt x="2414" y="7487"/>
                      <a:pt x="510" y="6293"/>
                      <a:pt x="84" y="4353"/>
                    </a:cubicBezTo>
                    <a:cubicBezTo>
                      <a:pt x="-341" y="2402"/>
                      <a:pt x="888" y="498"/>
                      <a:pt x="2828" y="84"/>
                    </a:cubicBezTo>
                    <a:cubicBezTo>
                      <a:pt x="4767" y="-342"/>
                      <a:pt x="6659" y="888"/>
                      <a:pt x="7073" y="2840"/>
                    </a:cubicBezTo>
                    <a:close/>
                  </a:path>
                </a:pathLst>
              </a:custGeom>
              <a:solidFill>
                <a:srgbClr val="FF8B00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744" name="Forma livre: Forma 1743">
              <a:extLst>
                <a:ext uri="{FF2B5EF4-FFF2-40B4-BE49-F238E27FC236}">
                  <a16:creationId xmlns:a16="http://schemas.microsoft.com/office/drawing/2014/main" id="{66F5D223-7CF9-8DA0-CE4F-3250D9003F15}"/>
                </a:ext>
              </a:extLst>
            </p:cNvPr>
            <p:cNvSpPr/>
            <p:nvPr/>
          </p:nvSpPr>
          <p:spPr>
            <a:xfrm>
              <a:off x="3783884" y="5711821"/>
              <a:ext cx="349892" cy="155653"/>
            </a:xfrm>
            <a:custGeom>
              <a:avLst/>
              <a:gdLst>
                <a:gd name="connsiteX0" fmla="*/ 349892 w 349892"/>
                <a:gd name="connsiteY0" fmla="*/ 91147 h 155653"/>
                <a:gd name="connsiteX1" fmla="*/ 340325 w 349892"/>
                <a:gd name="connsiteY1" fmla="*/ 47002 h 155653"/>
                <a:gd name="connsiteX2" fmla="*/ 301194 w 349892"/>
                <a:gd name="connsiteY2" fmla="*/ 28376 h 155653"/>
                <a:gd name="connsiteX3" fmla="*/ 226999 w 349892"/>
                <a:gd name="connsiteY3" fmla="*/ 44471 h 155653"/>
                <a:gd name="connsiteX4" fmla="*/ 189748 w 349892"/>
                <a:gd name="connsiteY4" fmla="*/ 6558 h 155653"/>
                <a:gd name="connsiteX5" fmla="*/ 174339 w 349892"/>
                <a:gd name="connsiteY5" fmla="*/ 219 h 155653"/>
                <a:gd name="connsiteX6" fmla="*/ 7455 w 349892"/>
                <a:gd name="connsiteY6" fmla="*/ 36394 h 155653"/>
                <a:gd name="connsiteX7" fmla="*/ 217 w 349892"/>
                <a:gd name="connsiteY7" fmla="*/ 47640 h 155653"/>
                <a:gd name="connsiteX8" fmla="*/ 22012 w 349892"/>
                <a:gd name="connsiteY8" fmla="*/ 148194 h 155653"/>
                <a:gd name="connsiteX9" fmla="*/ 33258 w 349892"/>
                <a:gd name="connsiteY9" fmla="*/ 155444 h 155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49892" h="155653">
                  <a:moveTo>
                    <a:pt x="349892" y="91147"/>
                  </a:moveTo>
                  <a:lnTo>
                    <a:pt x="340325" y="47002"/>
                  </a:lnTo>
                  <a:cubicBezTo>
                    <a:pt x="336151" y="27738"/>
                    <a:pt x="315609" y="25254"/>
                    <a:pt x="301194" y="28376"/>
                  </a:cubicBezTo>
                  <a:lnTo>
                    <a:pt x="226999" y="44471"/>
                  </a:lnTo>
                  <a:lnTo>
                    <a:pt x="189748" y="6558"/>
                  </a:lnTo>
                  <a:cubicBezTo>
                    <a:pt x="185207" y="2301"/>
                    <a:pt x="179424" y="-880"/>
                    <a:pt x="174339" y="219"/>
                  </a:cubicBezTo>
                  <a:lnTo>
                    <a:pt x="7455" y="36394"/>
                  </a:lnTo>
                  <a:cubicBezTo>
                    <a:pt x="2370" y="37494"/>
                    <a:pt x="-894" y="42555"/>
                    <a:pt x="217" y="47640"/>
                  </a:cubicBezTo>
                  <a:lnTo>
                    <a:pt x="22012" y="148194"/>
                  </a:lnTo>
                  <a:cubicBezTo>
                    <a:pt x="23112" y="153280"/>
                    <a:pt x="28173" y="156532"/>
                    <a:pt x="33258" y="155444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45" name="Forma livre: Forma 1744">
              <a:extLst>
                <a:ext uri="{FF2B5EF4-FFF2-40B4-BE49-F238E27FC236}">
                  <a16:creationId xmlns:a16="http://schemas.microsoft.com/office/drawing/2014/main" id="{B3BC59B0-9028-2CE0-543A-9A94072E3B99}"/>
                </a:ext>
              </a:extLst>
            </p:cNvPr>
            <p:cNvSpPr/>
            <p:nvPr/>
          </p:nvSpPr>
          <p:spPr>
            <a:xfrm>
              <a:off x="3763666" y="5786578"/>
              <a:ext cx="15444" cy="71273"/>
            </a:xfrm>
            <a:custGeom>
              <a:avLst/>
              <a:gdLst>
                <a:gd name="connsiteX0" fmla="*/ 0 w 15444"/>
                <a:gd name="connsiteY0" fmla="*/ 0 h 71273"/>
                <a:gd name="connsiteX1" fmla="*/ 15444 w 15444"/>
                <a:gd name="connsiteY1" fmla="*/ 71274 h 712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444" h="71273">
                  <a:moveTo>
                    <a:pt x="0" y="0"/>
                  </a:moveTo>
                  <a:lnTo>
                    <a:pt x="15444" y="71274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46" name="Forma livre: Forma 1745">
              <a:extLst>
                <a:ext uri="{FF2B5EF4-FFF2-40B4-BE49-F238E27FC236}">
                  <a16:creationId xmlns:a16="http://schemas.microsoft.com/office/drawing/2014/main" id="{485B46EC-3FFC-F064-6339-1CBF4453A9E8}"/>
                </a:ext>
              </a:extLst>
            </p:cNvPr>
            <p:cNvSpPr/>
            <p:nvPr/>
          </p:nvSpPr>
          <p:spPr>
            <a:xfrm>
              <a:off x="3826437" y="5776153"/>
              <a:ext cx="280860" cy="80704"/>
            </a:xfrm>
            <a:custGeom>
              <a:avLst/>
              <a:gdLst>
                <a:gd name="connsiteX0" fmla="*/ 0 w 280860"/>
                <a:gd name="connsiteY0" fmla="*/ 72096 h 80704"/>
                <a:gd name="connsiteX1" fmla="*/ 2093 w 280860"/>
                <a:gd name="connsiteY1" fmla="*/ 65237 h 80704"/>
                <a:gd name="connsiteX2" fmla="*/ 7036 w 280860"/>
                <a:gd name="connsiteY2" fmla="*/ 57314 h 80704"/>
                <a:gd name="connsiteX3" fmla="*/ 18945 w 280860"/>
                <a:gd name="connsiteY3" fmla="*/ 52713 h 80704"/>
                <a:gd name="connsiteX4" fmla="*/ 47740 w 280860"/>
                <a:gd name="connsiteY4" fmla="*/ 46469 h 80704"/>
                <a:gd name="connsiteX5" fmla="*/ 60489 w 280860"/>
                <a:gd name="connsiteY5" fmla="*/ 45724 h 80704"/>
                <a:gd name="connsiteX6" fmla="*/ 68258 w 280860"/>
                <a:gd name="connsiteY6" fmla="*/ 50904 h 80704"/>
                <a:gd name="connsiteX7" fmla="*/ 94523 w 280860"/>
                <a:gd name="connsiteY7" fmla="*/ 80705 h 80704"/>
                <a:gd name="connsiteX8" fmla="*/ 198388 w 280860"/>
                <a:gd name="connsiteY8" fmla="*/ 58189 h 80704"/>
                <a:gd name="connsiteX9" fmla="*/ 209954 w 280860"/>
                <a:gd name="connsiteY9" fmla="*/ 20181 h 80704"/>
                <a:gd name="connsiteX10" fmla="*/ 214897 w 280860"/>
                <a:gd name="connsiteY10" fmla="*/ 12258 h 80704"/>
                <a:gd name="connsiteX11" fmla="*/ 226806 w 280860"/>
                <a:gd name="connsiteY11" fmla="*/ 7657 h 80704"/>
                <a:gd name="connsiteX12" fmla="*/ 255589 w 280860"/>
                <a:gd name="connsiteY12" fmla="*/ 1425 h 80704"/>
                <a:gd name="connsiteX13" fmla="*/ 268337 w 280860"/>
                <a:gd name="connsiteY13" fmla="*/ 668 h 80704"/>
                <a:gd name="connsiteX14" fmla="*/ 276119 w 280860"/>
                <a:gd name="connsiteY14" fmla="*/ 5848 h 80704"/>
                <a:gd name="connsiteX15" fmla="*/ 280861 w 280860"/>
                <a:gd name="connsiteY15" fmla="*/ 11229 h 807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280860" h="80704">
                  <a:moveTo>
                    <a:pt x="0" y="72096"/>
                  </a:moveTo>
                  <a:lnTo>
                    <a:pt x="2093" y="65237"/>
                  </a:lnTo>
                  <a:cubicBezTo>
                    <a:pt x="2093" y="65237"/>
                    <a:pt x="3004" y="60944"/>
                    <a:pt x="7036" y="57314"/>
                  </a:cubicBezTo>
                  <a:cubicBezTo>
                    <a:pt x="10584" y="54121"/>
                    <a:pt x="14132" y="53754"/>
                    <a:pt x="18945" y="52713"/>
                  </a:cubicBezTo>
                  <a:cubicBezTo>
                    <a:pt x="23758" y="51673"/>
                    <a:pt x="42916" y="47522"/>
                    <a:pt x="47740" y="46469"/>
                  </a:cubicBezTo>
                  <a:cubicBezTo>
                    <a:pt x="52553" y="45429"/>
                    <a:pt x="55936" y="44294"/>
                    <a:pt x="60489" y="45724"/>
                  </a:cubicBezTo>
                  <a:cubicBezTo>
                    <a:pt x="65656" y="47356"/>
                    <a:pt x="68258" y="50904"/>
                    <a:pt x="68258" y="50904"/>
                  </a:cubicBezTo>
                  <a:lnTo>
                    <a:pt x="94523" y="80705"/>
                  </a:lnTo>
                  <a:lnTo>
                    <a:pt x="198388" y="58189"/>
                  </a:lnTo>
                  <a:lnTo>
                    <a:pt x="209954" y="20181"/>
                  </a:lnTo>
                  <a:cubicBezTo>
                    <a:pt x="209954" y="20181"/>
                    <a:pt x="210864" y="15876"/>
                    <a:pt x="214897" y="12258"/>
                  </a:cubicBezTo>
                  <a:cubicBezTo>
                    <a:pt x="218445" y="9065"/>
                    <a:pt x="221992" y="8698"/>
                    <a:pt x="226806" y="7657"/>
                  </a:cubicBezTo>
                  <a:cubicBezTo>
                    <a:pt x="231619" y="6617"/>
                    <a:pt x="250776" y="2466"/>
                    <a:pt x="255589" y="1425"/>
                  </a:cubicBezTo>
                  <a:cubicBezTo>
                    <a:pt x="260402" y="373"/>
                    <a:pt x="263784" y="-751"/>
                    <a:pt x="268337" y="668"/>
                  </a:cubicBezTo>
                  <a:cubicBezTo>
                    <a:pt x="273517" y="2300"/>
                    <a:pt x="276119" y="5848"/>
                    <a:pt x="276119" y="5848"/>
                  </a:cubicBezTo>
                  <a:lnTo>
                    <a:pt x="280861" y="11229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47" name="Forma livre: Forma 1746">
              <a:extLst>
                <a:ext uri="{FF2B5EF4-FFF2-40B4-BE49-F238E27FC236}">
                  <a16:creationId xmlns:a16="http://schemas.microsoft.com/office/drawing/2014/main" id="{07A21137-794B-35BA-C438-3ADE76165181}"/>
                </a:ext>
              </a:extLst>
            </p:cNvPr>
            <p:cNvSpPr/>
            <p:nvPr/>
          </p:nvSpPr>
          <p:spPr>
            <a:xfrm>
              <a:off x="3923361" y="5739180"/>
              <a:ext cx="24219" cy="111729"/>
            </a:xfrm>
            <a:custGeom>
              <a:avLst/>
              <a:gdLst>
                <a:gd name="connsiteX0" fmla="*/ 0 w 24219"/>
                <a:gd name="connsiteY0" fmla="*/ 0 h 111729"/>
                <a:gd name="connsiteX1" fmla="*/ 24219 w 24219"/>
                <a:gd name="connsiteY1" fmla="*/ 111729 h 1117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4219" h="111729">
                  <a:moveTo>
                    <a:pt x="0" y="0"/>
                  </a:moveTo>
                  <a:lnTo>
                    <a:pt x="24219" y="111729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748" name="Gráfico 14">
            <a:extLst>
              <a:ext uri="{FF2B5EF4-FFF2-40B4-BE49-F238E27FC236}">
                <a16:creationId xmlns:a16="http://schemas.microsoft.com/office/drawing/2014/main" id="{322AA3BE-4B3C-E67A-CF41-9D03EAD4BE35}"/>
              </a:ext>
            </a:extLst>
          </p:cNvPr>
          <p:cNvGrpSpPr/>
          <p:nvPr/>
        </p:nvGrpSpPr>
        <p:grpSpPr>
          <a:xfrm>
            <a:off x="3776592" y="3560078"/>
            <a:ext cx="356569" cy="269508"/>
            <a:chOff x="3776592" y="3560078"/>
            <a:chExt cx="356569" cy="269508"/>
          </a:xfrm>
          <a:noFill/>
        </p:grpSpPr>
        <p:sp>
          <p:nvSpPr>
            <p:cNvPr id="1749" name="Forma livre: Forma 1748">
              <a:extLst>
                <a:ext uri="{FF2B5EF4-FFF2-40B4-BE49-F238E27FC236}">
                  <a16:creationId xmlns:a16="http://schemas.microsoft.com/office/drawing/2014/main" id="{C6DE2D94-762C-CD6B-310E-ED25C62EB0B4}"/>
                </a:ext>
              </a:extLst>
            </p:cNvPr>
            <p:cNvSpPr/>
            <p:nvPr/>
          </p:nvSpPr>
          <p:spPr>
            <a:xfrm>
              <a:off x="3778898" y="3664440"/>
              <a:ext cx="179443" cy="139176"/>
            </a:xfrm>
            <a:custGeom>
              <a:avLst/>
              <a:gdLst>
                <a:gd name="connsiteX0" fmla="*/ 33786 w 179443"/>
                <a:gd name="connsiteY0" fmla="*/ 139177 h 139176"/>
                <a:gd name="connsiteX1" fmla="*/ 0 w 179443"/>
                <a:gd name="connsiteY1" fmla="*/ 139177 h 139176"/>
                <a:gd name="connsiteX2" fmla="*/ 0 w 179443"/>
                <a:gd name="connsiteY2" fmla="*/ 9709 h 139176"/>
                <a:gd name="connsiteX3" fmla="*/ 9709 w 179443"/>
                <a:gd name="connsiteY3" fmla="*/ 0 h 139176"/>
                <a:gd name="connsiteX4" fmla="*/ 179444 w 179443"/>
                <a:gd name="connsiteY4" fmla="*/ 0 h 139176"/>
                <a:gd name="connsiteX5" fmla="*/ 179444 w 179443"/>
                <a:gd name="connsiteY5" fmla="*/ 82224 h 1391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79443" h="139176">
                  <a:moveTo>
                    <a:pt x="33786" y="139177"/>
                  </a:moveTo>
                  <a:lnTo>
                    <a:pt x="0" y="139177"/>
                  </a:lnTo>
                  <a:lnTo>
                    <a:pt x="0" y="9709"/>
                  </a:lnTo>
                  <a:cubicBezTo>
                    <a:pt x="0" y="4364"/>
                    <a:pt x="4376" y="0"/>
                    <a:pt x="9709" y="0"/>
                  </a:cubicBezTo>
                  <a:lnTo>
                    <a:pt x="179444" y="0"/>
                  </a:lnTo>
                  <a:lnTo>
                    <a:pt x="179444" y="82224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750" name="Gráfico 14">
              <a:extLst>
                <a:ext uri="{FF2B5EF4-FFF2-40B4-BE49-F238E27FC236}">
                  <a16:creationId xmlns:a16="http://schemas.microsoft.com/office/drawing/2014/main" id="{58E53AAC-910A-026B-EB74-137147584F6D}"/>
                </a:ext>
              </a:extLst>
            </p:cNvPr>
            <p:cNvGrpSpPr/>
            <p:nvPr/>
          </p:nvGrpSpPr>
          <p:grpSpPr>
            <a:xfrm>
              <a:off x="3801828" y="3641510"/>
              <a:ext cx="331333" cy="188076"/>
              <a:chOff x="3801828" y="3641510"/>
              <a:chExt cx="331333" cy="188076"/>
            </a:xfrm>
            <a:noFill/>
          </p:grpSpPr>
          <p:sp>
            <p:nvSpPr>
              <p:cNvPr id="1751" name="Forma livre: Forma 1750">
                <a:extLst>
                  <a:ext uri="{FF2B5EF4-FFF2-40B4-BE49-F238E27FC236}">
                    <a16:creationId xmlns:a16="http://schemas.microsoft.com/office/drawing/2014/main" id="{80E0B24A-F4B0-F95B-BFB5-8D2BE76DEEDA}"/>
                  </a:ext>
                </a:extLst>
              </p:cNvPr>
              <p:cNvSpPr/>
              <p:nvPr/>
            </p:nvSpPr>
            <p:spPr>
              <a:xfrm>
                <a:off x="3801828" y="3760051"/>
                <a:ext cx="233392" cy="44464"/>
              </a:xfrm>
              <a:custGeom>
                <a:avLst/>
                <a:gdLst>
                  <a:gd name="connsiteX0" fmla="*/ 233392 w 233392"/>
                  <a:gd name="connsiteY0" fmla="*/ 44465 h 44464"/>
                  <a:gd name="connsiteX1" fmla="*/ 147124 w 233392"/>
                  <a:gd name="connsiteY1" fmla="*/ 44465 h 44464"/>
                  <a:gd name="connsiteX2" fmla="*/ 130887 w 233392"/>
                  <a:gd name="connsiteY2" fmla="*/ 0 h 44464"/>
                  <a:gd name="connsiteX3" fmla="*/ 84294 w 233392"/>
                  <a:gd name="connsiteY3" fmla="*/ 0 h 44464"/>
                  <a:gd name="connsiteX4" fmla="*/ 50815 w 233392"/>
                  <a:gd name="connsiteY4" fmla="*/ 0 h 44464"/>
                  <a:gd name="connsiteX5" fmla="*/ 5629 w 233392"/>
                  <a:gd name="connsiteY5" fmla="*/ 0 h 44464"/>
                  <a:gd name="connsiteX6" fmla="*/ 0 w 233392"/>
                  <a:gd name="connsiteY6" fmla="*/ 15444 h 444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33392" h="44464">
                    <a:moveTo>
                      <a:pt x="233392" y="44465"/>
                    </a:moveTo>
                    <a:lnTo>
                      <a:pt x="147124" y="44465"/>
                    </a:lnTo>
                    <a:lnTo>
                      <a:pt x="130887" y="0"/>
                    </a:lnTo>
                    <a:lnTo>
                      <a:pt x="84294" y="0"/>
                    </a:lnTo>
                    <a:lnTo>
                      <a:pt x="50815" y="0"/>
                    </a:lnTo>
                    <a:lnTo>
                      <a:pt x="5629" y="0"/>
                    </a:lnTo>
                    <a:lnTo>
                      <a:pt x="0" y="15444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752" name="Forma livre: Forma 1751">
                <a:extLst>
                  <a:ext uri="{FF2B5EF4-FFF2-40B4-BE49-F238E27FC236}">
                    <a16:creationId xmlns:a16="http://schemas.microsoft.com/office/drawing/2014/main" id="{2EF73961-E3CF-738A-D181-E66B9E1C4151}"/>
                  </a:ext>
                </a:extLst>
              </p:cNvPr>
              <p:cNvSpPr/>
              <p:nvPr/>
            </p:nvSpPr>
            <p:spPr>
              <a:xfrm>
                <a:off x="4051918" y="3660656"/>
                <a:ext cx="48804" cy="36600"/>
              </a:xfrm>
              <a:custGeom>
                <a:avLst/>
                <a:gdLst>
                  <a:gd name="connsiteX0" fmla="*/ 48805 w 48804"/>
                  <a:gd name="connsiteY0" fmla="*/ 36601 h 36600"/>
                  <a:gd name="connsiteX1" fmla="*/ 0 w 48804"/>
                  <a:gd name="connsiteY1" fmla="*/ 36601 h 36600"/>
                  <a:gd name="connsiteX2" fmla="*/ 0 w 48804"/>
                  <a:gd name="connsiteY2" fmla="*/ 0 h 366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48804" h="36600">
                    <a:moveTo>
                      <a:pt x="48805" y="36601"/>
                    </a:moveTo>
                    <a:lnTo>
                      <a:pt x="0" y="36601"/>
                    </a:lnTo>
                    <a:lnTo>
                      <a:pt x="0" y="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753" name="Forma livre: Forma 1752">
                <a:extLst>
                  <a:ext uri="{FF2B5EF4-FFF2-40B4-BE49-F238E27FC236}">
                    <a16:creationId xmlns:a16="http://schemas.microsoft.com/office/drawing/2014/main" id="{842D1266-73CF-F7D8-66D4-094BAED96972}"/>
                  </a:ext>
                </a:extLst>
              </p:cNvPr>
              <p:cNvSpPr/>
              <p:nvPr/>
            </p:nvSpPr>
            <p:spPr>
              <a:xfrm>
                <a:off x="4036864" y="3784814"/>
                <a:ext cx="44795" cy="44772"/>
              </a:xfrm>
              <a:custGeom>
                <a:avLst/>
                <a:gdLst>
                  <a:gd name="connsiteX0" fmla="*/ 0 w 44795"/>
                  <a:gd name="connsiteY0" fmla="*/ 22386 h 44772"/>
                  <a:gd name="connsiteX1" fmla="*/ 22398 w 44795"/>
                  <a:gd name="connsiteY1" fmla="*/ 44772 h 44772"/>
                  <a:gd name="connsiteX2" fmla="*/ 44796 w 44795"/>
                  <a:gd name="connsiteY2" fmla="*/ 22386 h 44772"/>
                  <a:gd name="connsiteX3" fmla="*/ 22398 w 44795"/>
                  <a:gd name="connsiteY3" fmla="*/ 0 h 44772"/>
                  <a:gd name="connsiteX4" fmla="*/ 0 w 44795"/>
                  <a:gd name="connsiteY4" fmla="*/ 22386 h 447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4795" h="44772">
                    <a:moveTo>
                      <a:pt x="0" y="22386"/>
                    </a:moveTo>
                    <a:cubicBezTo>
                      <a:pt x="0" y="34756"/>
                      <a:pt x="10028" y="44772"/>
                      <a:pt x="22398" y="44772"/>
                    </a:cubicBezTo>
                    <a:cubicBezTo>
                      <a:pt x="34768" y="44772"/>
                      <a:pt x="44796" y="34744"/>
                      <a:pt x="44796" y="22386"/>
                    </a:cubicBezTo>
                    <a:cubicBezTo>
                      <a:pt x="44796" y="10028"/>
                      <a:pt x="34768" y="0"/>
                      <a:pt x="22398" y="0"/>
                    </a:cubicBezTo>
                    <a:cubicBezTo>
                      <a:pt x="10028" y="0"/>
                      <a:pt x="0" y="10028"/>
                      <a:pt x="0" y="22386"/>
                    </a:cubicBezTo>
                    <a:close/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754" name="Forma livre: Forma 1753">
                <a:extLst>
                  <a:ext uri="{FF2B5EF4-FFF2-40B4-BE49-F238E27FC236}">
                    <a16:creationId xmlns:a16="http://schemas.microsoft.com/office/drawing/2014/main" id="{9D2F4DAA-D571-5F09-FF66-186654F2E017}"/>
                  </a:ext>
                </a:extLst>
              </p:cNvPr>
              <p:cNvSpPr/>
              <p:nvPr/>
            </p:nvSpPr>
            <p:spPr>
              <a:xfrm>
                <a:off x="3879133" y="3784814"/>
                <a:ext cx="44783" cy="44772"/>
              </a:xfrm>
              <a:custGeom>
                <a:avLst/>
                <a:gdLst>
                  <a:gd name="connsiteX0" fmla="*/ 0 w 44783"/>
                  <a:gd name="connsiteY0" fmla="*/ 22386 h 44772"/>
                  <a:gd name="connsiteX1" fmla="*/ 22386 w 44783"/>
                  <a:gd name="connsiteY1" fmla="*/ 44772 h 44772"/>
                  <a:gd name="connsiteX2" fmla="*/ 44784 w 44783"/>
                  <a:gd name="connsiteY2" fmla="*/ 22386 h 44772"/>
                  <a:gd name="connsiteX3" fmla="*/ 22386 w 44783"/>
                  <a:gd name="connsiteY3" fmla="*/ 0 h 44772"/>
                  <a:gd name="connsiteX4" fmla="*/ 0 w 44783"/>
                  <a:gd name="connsiteY4" fmla="*/ 22386 h 447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4783" h="44772">
                    <a:moveTo>
                      <a:pt x="0" y="22386"/>
                    </a:moveTo>
                    <a:cubicBezTo>
                      <a:pt x="0" y="34756"/>
                      <a:pt x="10028" y="44772"/>
                      <a:pt x="22386" y="44772"/>
                    </a:cubicBezTo>
                    <a:cubicBezTo>
                      <a:pt x="34744" y="44772"/>
                      <a:pt x="44784" y="34744"/>
                      <a:pt x="44784" y="22386"/>
                    </a:cubicBezTo>
                    <a:cubicBezTo>
                      <a:pt x="44784" y="10028"/>
                      <a:pt x="34756" y="0"/>
                      <a:pt x="22386" y="0"/>
                    </a:cubicBezTo>
                    <a:cubicBezTo>
                      <a:pt x="10016" y="0"/>
                      <a:pt x="0" y="10028"/>
                      <a:pt x="0" y="22386"/>
                    </a:cubicBezTo>
                    <a:close/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755" name="Forma livre: Forma 1754">
                <a:extLst>
                  <a:ext uri="{FF2B5EF4-FFF2-40B4-BE49-F238E27FC236}">
                    <a16:creationId xmlns:a16="http://schemas.microsoft.com/office/drawing/2014/main" id="{F8DFC3FA-05CC-7CEE-F849-4B58DDB0DB3B}"/>
                  </a:ext>
                </a:extLst>
              </p:cNvPr>
              <p:cNvSpPr/>
              <p:nvPr/>
            </p:nvSpPr>
            <p:spPr>
              <a:xfrm>
                <a:off x="3814328" y="3784814"/>
                <a:ext cx="44783" cy="44772"/>
              </a:xfrm>
              <a:custGeom>
                <a:avLst/>
                <a:gdLst>
                  <a:gd name="connsiteX0" fmla="*/ 0 w 44783"/>
                  <a:gd name="connsiteY0" fmla="*/ 22386 h 44772"/>
                  <a:gd name="connsiteX1" fmla="*/ 22386 w 44783"/>
                  <a:gd name="connsiteY1" fmla="*/ 44772 h 44772"/>
                  <a:gd name="connsiteX2" fmla="*/ 44784 w 44783"/>
                  <a:gd name="connsiteY2" fmla="*/ 22386 h 44772"/>
                  <a:gd name="connsiteX3" fmla="*/ 22386 w 44783"/>
                  <a:gd name="connsiteY3" fmla="*/ 0 h 44772"/>
                  <a:gd name="connsiteX4" fmla="*/ 0 w 44783"/>
                  <a:gd name="connsiteY4" fmla="*/ 22386 h 447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4783" h="44772">
                    <a:moveTo>
                      <a:pt x="0" y="22386"/>
                    </a:moveTo>
                    <a:cubicBezTo>
                      <a:pt x="0" y="34756"/>
                      <a:pt x="10028" y="44772"/>
                      <a:pt x="22386" y="44772"/>
                    </a:cubicBezTo>
                    <a:cubicBezTo>
                      <a:pt x="34744" y="44772"/>
                      <a:pt x="44784" y="34744"/>
                      <a:pt x="44784" y="22386"/>
                    </a:cubicBezTo>
                    <a:cubicBezTo>
                      <a:pt x="44784" y="10028"/>
                      <a:pt x="34756" y="0"/>
                      <a:pt x="22386" y="0"/>
                    </a:cubicBezTo>
                    <a:cubicBezTo>
                      <a:pt x="10016" y="0"/>
                      <a:pt x="0" y="10028"/>
                      <a:pt x="0" y="22386"/>
                    </a:cubicBezTo>
                    <a:close/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756" name="Forma livre: Forma 1755">
                <a:extLst>
                  <a:ext uri="{FF2B5EF4-FFF2-40B4-BE49-F238E27FC236}">
                    <a16:creationId xmlns:a16="http://schemas.microsoft.com/office/drawing/2014/main" id="{6C6CA17E-BF92-3596-AD7E-BE0221E2A134}"/>
                  </a:ext>
                </a:extLst>
              </p:cNvPr>
              <p:cNvSpPr/>
              <p:nvPr/>
            </p:nvSpPr>
            <p:spPr>
              <a:xfrm>
                <a:off x="4026138" y="3641510"/>
                <a:ext cx="107022" cy="162982"/>
              </a:xfrm>
              <a:custGeom>
                <a:avLst/>
                <a:gdLst>
                  <a:gd name="connsiteX0" fmla="*/ 19311 w 107022"/>
                  <a:gd name="connsiteY0" fmla="*/ 118541 h 162982"/>
                  <a:gd name="connsiteX1" fmla="*/ 64498 w 107022"/>
                  <a:gd name="connsiteY1" fmla="*/ 118541 h 162982"/>
                  <a:gd name="connsiteX2" fmla="*/ 80651 w 107022"/>
                  <a:gd name="connsiteY2" fmla="*/ 162982 h 162982"/>
                  <a:gd name="connsiteX3" fmla="*/ 107023 w 107022"/>
                  <a:gd name="connsiteY3" fmla="*/ 162982 h 162982"/>
                  <a:gd name="connsiteX4" fmla="*/ 107023 w 107022"/>
                  <a:gd name="connsiteY4" fmla="*/ 73497 h 162982"/>
                  <a:gd name="connsiteX5" fmla="*/ 69559 w 107022"/>
                  <a:gd name="connsiteY5" fmla="*/ 0 h 162982"/>
                  <a:gd name="connsiteX6" fmla="*/ 0 w 107022"/>
                  <a:gd name="connsiteY6" fmla="*/ 0 h 162982"/>
                  <a:gd name="connsiteX7" fmla="*/ 0 w 107022"/>
                  <a:gd name="connsiteY7" fmla="*/ 133725 h 1629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07022" h="162982">
                    <a:moveTo>
                      <a:pt x="19311" y="118541"/>
                    </a:moveTo>
                    <a:lnTo>
                      <a:pt x="64498" y="118541"/>
                    </a:lnTo>
                    <a:lnTo>
                      <a:pt x="80651" y="162982"/>
                    </a:lnTo>
                    <a:lnTo>
                      <a:pt x="107023" y="162982"/>
                    </a:lnTo>
                    <a:lnTo>
                      <a:pt x="107023" y="73497"/>
                    </a:lnTo>
                    <a:lnTo>
                      <a:pt x="69559" y="0"/>
                    </a:lnTo>
                    <a:lnTo>
                      <a:pt x="0" y="0"/>
                    </a:lnTo>
                    <a:lnTo>
                      <a:pt x="0" y="133725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757" name="Forma livre: Forma 1756">
                <a:extLst>
                  <a:ext uri="{FF2B5EF4-FFF2-40B4-BE49-F238E27FC236}">
                    <a16:creationId xmlns:a16="http://schemas.microsoft.com/office/drawing/2014/main" id="{EE69CC00-8179-6BE2-49E6-108EEAEEB013}"/>
                  </a:ext>
                </a:extLst>
              </p:cNvPr>
              <p:cNvSpPr/>
              <p:nvPr/>
            </p:nvSpPr>
            <p:spPr>
              <a:xfrm>
                <a:off x="3859679" y="3803771"/>
                <a:ext cx="18968" cy="1182"/>
              </a:xfrm>
              <a:custGeom>
                <a:avLst/>
                <a:gdLst>
                  <a:gd name="connsiteX0" fmla="*/ 0 w 18968"/>
                  <a:gd name="connsiteY0" fmla="*/ 0 h 1182"/>
                  <a:gd name="connsiteX1" fmla="*/ 18969 w 18968"/>
                  <a:gd name="connsiteY1" fmla="*/ 0 h 11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8968" h="1182">
                    <a:moveTo>
                      <a:pt x="0" y="0"/>
                    </a:moveTo>
                    <a:lnTo>
                      <a:pt x="18969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758" name="Gráfico 14">
              <a:extLst>
                <a:ext uri="{FF2B5EF4-FFF2-40B4-BE49-F238E27FC236}">
                  <a16:creationId xmlns:a16="http://schemas.microsoft.com/office/drawing/2014/main" id="{4F36A2C2-F1DE-9853-3EB7-EEF0F34C3B4A}"/>
                </a:ext>
              </a:extLst>
            </p:cNvPr>
            <p:cNvGrpSpPr/>
            <p:nvPr/>
          </p:nvGrpSpPr>
          <p:grpSpPr>
            <a:xfrm>
              <a:off x="4027510" y="3560078"/>
              <a:ext cx="70055" cy="61895"/>
              <a:chOff x="4027510" y="3560078"/>
              <a:chExt cx="70055" cy="61895"/>
            </a:xfrm>
            <a:noFill/>
          </p:grpSpPr>
          <p:sp>
            <p:nvSpPr>
              <p:cNvPr id="1759" name="Forma livre: Forma 1758">
                <a:extLst>
                  <a:ext uri="{FF2B5EF4-FFF2-40B4-BE49-F238E27FC236}">
                    <a16:creationId xmlns:a16="http://schemas.microsoft.com/office/drawing/2014/main" id="{C319DD0D-16F6-03A5-5221-8381EB855BB9}"/>
                  </a:ext>
                </a:extLst>
              </p:cNvPr>
              <p:cNvSpPr/>
              <p:nvPr/>
            </p:nvSpPr>
            <p:spPr>
              <a:xfrm>
                <a:off x="4047354" y="3601528"/>
                <a:ext cx="30356" cy="20446"/>
              </a:xfrm>
              <a:custGeom>
                <a:avLst/>
                <a:gdLst>
                  <a:gd name="connsiteX0" fmla="*/ 30357 w 30356"/>
                  <a:gd name="connsiteY0" fmla="*/ 20447 h 20446"/>
                  <a:gd name="connsiteX1" fmla="*/ 30357 w 30356"/>
                  <a:gd name="connsiteY1" fmla="*/ 14569 h 20446"/>
                  <a:gd name="connsiteX2" fmla="*/ 15172 w 30356"/>
                  <a:gd name="connsiteY2" fmla="*/ 0 h 20446"/>
                  <a:gd name="connsiteX3" fmla="*/ 0 w 30356"/>
                  <a:gd name="connsiteY3" fmla="*/ 14569 h 20446"/>
                  <a:gd name="connsiteX4" fmla="*/ 0 w 30356"/>
                  <a:gd name="connsiteY4" fmla="*/ 20447 h 204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0356" h="20446">
                    <a:moveTo>
                      <a:pt x="30357" y="20447"/>
                    </a:moveTo>
                    <a:lnTo>
                      <a:pt x="30357" y="14569"/>
                    </a:lnTo>
                    <a:cubicBezTo>
                      <a:pt x="30357" y="6551"/>
                      <a:pt x="23202" y="0"/>
                      <a:pt x="15172" y="0"/>
                    </a:cubicBezTo>
                    <a:cubicBezTo>
                      <a:pt x="7143" y="0"/>
                      <a:pt x="0" y="6551"/>
                      <a:pt x="0" y="14569"/>
                    </a:cubicBezTo>
                    <a:lnTo>
                      <a:pt x="0" y="20447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760" name="Forma livre: Forma 1759">
                <a:extLst>
                  <a:ext uri="{FF2B5EF4-FFF2-40B4-BE49-F238E27FC236}">
                    <a16:creationId xmlns:a16="http://schemas.microsoft.com/office/drawing/2014/main" id="{B93814BA-0045-218D-A281-F30A20E74A1D}"/>
                  </a:ext>
                </a:extLst>
              </p:cNvPr>
              <p:cNvSpPr/>
              <p:nvPr/>
            </p:nvSpPr>
            <p:spPr>
              <a:xfrm>
                <a:off x="4062538" y="3560078"/>
                <a:ext cx="1182" cy="17608"/>
              </a:xfrm>
              <a:custGeom>
                <a:avLst/>
                <a:gdLst>
                  <a:gd name="connsiteX0" fmla="*/ 0 w 1182"/>
                  <a:gd name="connsiteY0" fmla="*/ 17608 h 17608"/>
                  <a:gd name="connsiteX1" fmla="*/ 0 w 1182"/>
                  <a:gd name="connsiteY1" fmla="*/ 0 h 176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82" h="17608">
                    <a:moveTo>
                      <a:pt x="0" y="17608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1761" name="Gráfico 14">
                <a:extLst>
                  <a:ext uri="{FF2B5EF4-FFF2-40B4-BE49-F238E27FC236}">
                    <a16:creationId xmlns:a16="http://schemas.microsoft.com/office/drawing/2014/main" id="{3E6E02E1-3520-F94C-EBF8-86DE3AC12BEF}"/>
                  </a:ext>
                </a:extLst>
              </p:cNvPr>
              <p:cNvGrpSpPr/>
              <p:nvPr/>
            </p:nvGrpSpPr>
            <p:grpSpPr>
              <a:xfrm>
                <a:off x="4027510" y="3571005"/>
                <a:ext cx="70055" cy="12334"/>
                <a:chOff x="4027510" y="3571005"/>
                <a:chExt cx="70055" cy="12334"/>
              </a:xfrm>
            </p:grpSpPr>
            <p:sp>
              <p:nvSpPr>
                <p:cNvPr id="1762" name="Forma livre: Forma 1761">
                  <a:extLst>
                    <a:ext uri="{FF2B5EF4-FFF2-40B4-BE49-F238E27FC236}">
                      <a16:creationId xmlns:a16="http://schemas.microsoft.com/office/drawing/2014/main" id="{1DFCEDE2-80BA-F414-1FBD-B12AEAACEC3E}"/>
                    </a:ext>
                  </a:extLst>
                </p:cNvPr>
                <p:cNvSpPr/>
                <p:nvPr/>
              </p:nvSpPr>
              <p:spPr>
                <a:xfrm>
                  <a:off x="4085007" y="3571005"/>
                  <a:ext cx="12558" cy="12334"/>
                </a:xfrm>
                <a:custGeom>
                  <a:avLst/>
                  <a:gdLst>
                    <a:gd name="connsiteX0" fmla="*/ 0 w 12558"/>
                    <a:gd name="connsiteY0" fmla="*/ 12334 h 12334"/>
                    <a:gd name="connsiteX1" fmla="*/ 12559 w 12558"/>
                    <a:gd name="connsiteY1" fmla="*/ 0 h 1233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2558" h="12334">
                      <a:moveTo>
                        <a:pt x="0" y="12334"/>
                      </a:moveTo>
                      <a:lnTo>
                        <a:pt x="12559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763" name="Forma livre: Forma 1762">
                  <a:extLst>
                    <a:ext uri="{FF2B5EF4-FFF2-40B4-BE49-F238E27FC236}">
                      <a16:creationId xmlns:a16="http://schemas.microsoft.com/office/drawing/2014/main" id="{C9BAFDBA-C23C-9743-E8F5-E79F015C510F}"/>
                    </a:ext>
                  </a:extLst>
                </p:cNvPr>
                <p:cNvSpPr/>
                <p:nvPr/>
              </p:nvSpPr>
              <p:spPr>
                <a:xfrm>
                  <a:off x="4027510" y="3571005"/>
                  <a:ext cx="12582" cy="12334"/>
                </a:xfrm>
                <a:custGeom>
                  <a:avLst/>
                  <a:gdLst>
                    <a:gd name="connsiteX0" fmla="*/ 12582 w 12582"/>
                    <a:gd name="connsiteY0" fmla="*/ 12334 h 12334"/>
                    <a:gd name="connsiteX1" fmla="*/ 0 w 12582"/>
                    <a:gd name="connsiteY1" fmla="*/ 0 h 1233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2582" h="12334">
                      <a:moveTo>
                        <a:pt x="12582" y="12334"/>
                      </a:moveTo>
                      <a:lnTo>
                        <a:pt x="0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sp>
          <p:nvSpPr>
            <p:cNvPr id="1764" name="Forma livre: Forma 1763">
              <a:extLst>
                <a:ext uri="{FF2B5EF4-FFF2-40B4-BE49-F238E27FC236}">
                  <a16:creationId xmlns:a16="http://schemas.microsoft.com/office/drawing/2014/main" id="{CE1730F8-BB5A-071C-B20E-C4AF010DA0BF}"/>
                </a:ext>
              </a:extLst>
            </p:cNvPr>
            <p:cNvSpPr/>
            <p:nvPr/>
          </p:nvSpPr>
          <p:spPr>
            <a:xfrm>
              <a:off x="3959441" y="3696997"/>
              <a:ext cx="64804" cy="1182"/>
            </a:xfrm>
            <a:custGeom>
              <a:avLst/>
              <a:gdLst>
                <a:gd name="connsiteX0" fmla="*/ 0 w 64804"/>
                <a:gd name="connsiteY0" fmla="*/ 0 h 1182"/>
                <a:gd name="connsiteX1" fmla="*/ 64805 w 64804"/>
                <a:gd name="connsiteY1" fmla="*/ 0 h 11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4804" h="1182">
                  <a:moveTo>
                    <a:pt x="0" y="0"/>
                  </a:moveTo>
                  <a:lnTo>
                    <a:pt x="64805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65" name="Forma livre: Forma 1764">
              <a:extLst>
                <a:ext uri="{FF2B5EF4-FFF2-40B4-BE49-F238E27FC236}">
                  <a16:creationId xmlns:a16="http://schemas.microsoft.com/office/drawing/2014/main" id="{B2DEADD2-7811-4C51-71AC-F73113132B3C}"/>
                </a:ext>
              </a:extLst>
            </p:cNvPr>
            <p:cNvSpPr/>
            <p:nvPr/>
          </p:nvSpPr>
          <p:spPr>
            <a:xfrm>
              <a:off x="3980574" y="3722848"/>
              <a:ext cx="1182" cy="17348"/>
            </a:xfrm>
            <a:custGeom>
              <a:avLst/>
              <a:gdLst>
                <a:gd name="connsiteX0" fmla="*/ 0 w 1182"/>
                <a:gd name="connsiteY0" fmla="*/ 0 h 17348"/>
                <a:gd name="connsiteX1" fmla="*/ 0 w 1182"/>
                <a:gd name="connsiteY1" fmla="*/ 17348 h 173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82" h="17348">
                  <a:moveTo>
                    <a:pt x="0" y="0"/>
                  </a:moveTo>
                  <a:lnTo>
                    <a:pt x="0" y="17348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66" name="Forma livre: Forma 1765">
              <a:extLst>
                <a:ext uri="{FF2B5EF4-FFF2-40B4-BE49-F238E27FC236}">
                  <a16:creationId xmlns:a16="http://schemas.microsoft.com/office/drawing/2014/main" id="{D40A71D7-373A-E089-AA72-9665E004F641}"/>
                </a:ext>
              </a:extLst>
            </p:cNvPr>
            <p:cNvSpPr/>
            <p:nvPr/>
          </p:nvSpPr>
          <p:spPr>
            <a:xfrm>
              <a:off x="4003906" y="3722848"/>
              <a:ext cx="1182" cy="17348"/>
            </a:xfrm>
            <a:custGeom>
              <a:avLst/>
              <a:gdLst>
                <a:gd name="connsiteX0" fmla="*/ 0 w 1182"/>
                <a:gd name="connsiteY0" fmla="*/ 0 h 17348"/>
                <a:gd name="connsiteX1" fmla="*/ 0 w 1182"/>
                <a:gd name="connsiteY1" fmla="*/ 17348 h 173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82" h="17348">
                  <a:moveTo>
                    <a:pt x="0" y="0"/>
                  </a:moveTo>
                  <a:lnTo>
                    <a:pt x="0" y="17348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767" name="Gráfico 14">
              <a:extLst>
                <a:ext uri="{FF2B5EF4-FFF2-40B4-BE49-F238E27FC236}">
                  <a16:creationId xmlns:a16="http://schemas.microsoft.com/office/drawing/2014/main" id="{613B2DA0-298E-945C-75D0-69A7B256F9BD}"/>
                </a:ext>
              </a:extLst>
            </p:cNvPr>
            <p:cNvGrpSpPr/>
            <p:nvPr/>
          </p:nvGrpSpPr>
          <p:grpSpPr>
            <a:xfrm>
              <a:off x="3776592" y="3600960"/>
              <a:ext cx="228768" cy="39415"/>
              <a:chOff x="3776592" y="3600960"/>
              <a:chExt cx="228768" cy="39415"/>
            </a:xfrm>
          </p:grpSpPr>
          <p:sp>
            <p:nvSpPr>
              <p:cNvPr id="1768" name="Forma livre: Forma 1767">
                <a:extLst>
                  <a:ext uri="{FF2B5EF4-FFF2-40B4-BE49-F238E27FC236}">
                    <a16:creationId xmlns:a16="http://schemas.microsoft.com/office/drawing/2014/main" id="{73B4B911-AAD9-A5FC-1DD6-C2AA2F5E4A6E}"/>
                  </a:ext>
                </a:extLst>
              </p:cNvPr>
              <p:cNvSpPr/>
              <p:nvPr/>
            </p:nvSpPr>
            <p:spPr>
              <a:xfrm>
                <a:off x="3776592" y="3640375"/>
                <a:ext cx="228768" cy="1182"/>
              </a:xfrm>
              <a:custGeom>
                <a:avLst/>
                <a:gdLst>
                  <a:gd name="connsiteX0" fmla="*/ 0 w 228768"/>
                  <a:gd name="connsiteY0" fmla="*/ 0 h 1182"/>
                  <a:gd name="connsiteX1" fmla="*/ 228769 w 228768"/>
                  <a:gd name="connsiteY1" fmla="*/ 0 h 11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28768" h="1182">
                    <a:moveTo>
                      <a:pt x="0" y="0"/>
                    </a:moveTo>
                    <a:lnTo>
                      <a:pt x="228769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769" name="Forma livre: Forma 1768">
                <a:extLst>
                  <a:ext uri="{FF2B5EF4-FFF2-40B4-BE49-F238E27FC236}">
                    <a16:creationId xmlns:a16="http://schemas.microsoft.com/office/drawing/2014/main" id="{03BCB0E6-F192-AF56-02C2-E1ADEF3C67A7}"/>
                  </a:ext>
                </a:extLst>
              </p:cNvPr>
              <p:cNvSpPr/>
              <p:nvPr/>
            </p:nvSpPr>
            <p:spPr>
              <a:xfrm>
                <a:off x="3776592" y="3600960"/>
                <a:ext cx="228768" cy="1182"/>
              </a:xfrm>
              <a:custGeom>
                <a:avLst/>
                <a:gdLst>
                  <a:gd name="connsiteX0" fmla="*/ 0 w 228768"/>
                  <a:gd name="connsiteY0" fmla="*/ 0 h 1182"/>
                  <a:gd name="connsiteX1" fmla="*/ 228769 w 228768"/>
                  <a:gd name="connsiteY1" fmla="*/ 0 h 11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28768" h="1182">
                    <a:moveTo>
                      <a:pt x="0" y="0"/>
                    </a:moveTo>
                    <a:lnTo>
                      <a:pt x="228769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770" name="Gráfico 14">
              <a:extLst>
                <a:ext uri="{FF2B5EF4-FFF2-40B4-BE49-F238E27FC236}">
                  <a16:creationId xmlns:a16="http://schemas.microsoft.com/office/drawing/2014/main" id="{5AD70619-AA53-9C7D-0567-57164F3D055B}"/>
                </a:ext>
              </a:extLst>
            </p:cNvPr>
            <p:cNvGrpSpPr/>
            <p:nvPr/>
          </p:nvGrpSpPr>
          <p:grpSpPr>
            <a:xfrm>
              <a:off x="3810567" y="3596703"/>
              <a:ext cx="160829" cy="39426"/>
              <a:chOff x="3810567" y="3596703"/>
              <a:chExt cx="160829" cy="39426"/>
            </a:xfrm>
          </p:grpSpPr>
          <p:sp>
            <p:nvSpPr>
              <p:cNvPr id="1771" name="Forma livre: Forma 1770">
                <a:extLst>
                  <a:ext uri="{FF2B5EF4-FFF2-40B4-BE49-F238E27FC236}">
                    <a16:creationId xmlns:a16="http://schemas.microsoft.com/office/drawing/2014/main" id="{CD8E8AA1-460C-8550-27CE-FE207C0CBA2D}"/>
                  </a:ext>
                </a:extLst>
              </p:cNvPr>
              <p:cNvSpPr/>
              <p:nvPr/>
            </p:nvSpPr>
            <p:spPr>
              <a:xfrm>
                <a:off x="3810567" y="3596703"/>
                <a:ext cx="1182" cy="39426"/>
              </a:xfrm>
              <a:custGeom>
                <a:avLst/>
                <a:gdLst>
                  <a:gd name="connsiteX0" fmla="*/ 0 w 1182"/>
                  <a:gd name="connsiteY0" fmla="*/ 0 h 39426"/>
                  <a:gd name="connsiteX1" fmla="*/ 0 w 1182"/>
                  <a:gd name="connsiteY1" fmla="*/ 39427 h 394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82" h="39426">
                    <a:moveTo>
                      <a:pt x="0" y="0"/>
                    </a:moveTo>
                    <a:lnTo>
                      <a:pt x="0" y="39427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772" name="Forma livre: Forma 1771">
                <a:extLst>
                  <a:ext uri="{FF2B5EF4-FFF2-40B4-BE49-F238E27FC236}">
                    <a16:creationId xmlns:a16="http://schemas.microsoft.com/office/drawing/2014/main" id="{B24F67E9-F496-6BD0-857D-DCC035ADA71E}"/>
                  </a:ext>
                </a:extLst>
              </p:cNvPr>
              <p:cNvSpPr/>
              <p:nvPr/>
            </p:nvSpPr>
            <p:spPr>
              <a:xfrm>
                <a:off x="3864173" y="3596703"/>
                <a:ext cx="1182" cy="39426"/>
              </a:xfrm>
              <a:custGeom>
                <a:avLst/>
                <a:gdLst>
                  <a:gd name="connsiteX0" fmla="*/ 0 w 1182"/>
                  <a:gd name="connsiteY0" fmla="*/ 0 h 39426"/>
                  <a:gd name="connsiteX1" fmla="*/ 0 w 1182"/>
                  <a:gd name="connsiteY1" fmla="*/ 39427 h 394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82" h="39426">
                    <a:moveTo>
                      <a:pt x="0" y="0"/>
                    </a:moveTo>
                    <a:lnTo>
                      <a:pt x="0" y="39427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773" name="Forma livre: Forma 1772">
                <a:extLst>
                  <a:ext uri="{FF2B5EF4-FFF2-40B4-BE49-F238E27FC236}">
                    <a16:creationId xmlns:a16="http://schemas.microsoft.com/office/drawing/2014/main" id="{AA84D42C-BF9A-FDCE-C5EE-2E47D6B7431D}"/>
                  </a:ext>
                </a:extLst>
              </p:cNvPr>
              <p:cNvSpPr/>
              <p:nvPr/>
            </p:nvSpPr>
            <p:spPr>
              <a:xfrm>
                <a:off x="3917791" y="3596703"/>
                <a:ext cx="1182" cy="39426"/>
              </a:xfrm>
              <a:custGeom>
                <a:avLst/>
                <a:gdLst>
                  <a:gd name="connsiteX0" fmla="*/ 0 w 1182"/>
                  <a:gd name="connsiteY0" fmla="*/ 0 h 39426"/>
                  <a:gd name="connsiteX1" fmla="*/ 0 w 1182"/>
                  <a:gd name="connsiteY1" fmla="*/ 39427 h 394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82" h="39426">
                    <a:moveTo>
                      <a:pt x="0" y="0"/>
                    </a:moveTo>
                    <a:lnTo>
                      <a:pt x="0" y="39427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774" name="Forma livre: Forma 1773">
                <a:extLst>
                  <a:ext uri="{FF2B5EF4-FFF2-40B4-BE49-F238E27FC236}">
                    <a16:creationId xmlns:a16="http://schemas.microsoft.com/office/drawing/2014/main" id="{0778133E-0AB6-0E1D-8DB3-0B037ACEE519}"/>
                  </a:ext>
                </a:extLst>
              </p:cNvPr>
              <p:cNvSpPr/>
              <p:nvPr/>
            </p:nvSpPr>
            <p:spPr>
              <a:xfrm>
                <a:off x="3971397" y="3596703"/>
                <a:ext cx="1182" cy="39426"/>
              </a:xfrm>
              <a:custGeom>
                <a:avLst/>
                <a:gdLst>
                  <a:gd name="connsiteX0" fmla="*/ 0 w 1182"/>
                  <a:gd name="connsiteY0" fmla="*/ 0 h 39426"/>
                  <a:gd name="connsiteX1" fmla="*/ 0 w 1182"/>
                  <a:gd name="connsiteY1" fmla="*/ 39427 h 394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82" h="39426">
                    <a:moveTo>
                      <a:pt x="0" y="0"/>
                    </a:moveTo>
                    <a:lnTo>
                      <a:pt x="0" y="39427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775" name="Gráfico 14">
            <a:extLst>
              <a:ext uri="{FF2B5EF4-FFF2-40B4-BE49-F238E27FC236}">
                <a16:creationId xmlns:a16="http://schemas.microsoft.com/office/drawing/2014/main" id="{0A1439C1-3489-5463-3540-2829F7EF19A8}"/>
              </a:ext>
            </a:extLst>
          </p:cNvPr>
          <p:cNvGrpSpPr/>
          <p:nvPr/>
        </p:nvGrpSpPr>
        <p:grpSpPr>
          <a:xfrm>
            <a:off x="3771046" y="5178913"/>
            <a:ext cx="367649" cy="237011"/>
            <a:chOff x="3771046" y="5178913"/>
            <a:chExt cx="367649" cy="237011"/>
          </a:xfrm>
          <a:noFill/>
        </p:grpSpPr>
        <p:sp>
          <p:nvSpPr>
            <p:cNvPr id="1776" name="Forma livre: Forma 1775">
              <a:extLst>
                <a:ext uri="{FF2B5EF4-FFF2-40B4-BE49-F238E27FC236}">
                  <a16:creationId xmlns:a16="http://schemas.microsoft.com/office/drawing/2014/main" id="{8CE908E3-0894-8207-1076-6BACEBDFDBBF}"/>
                </a:ext>
              </a:extLst>
            </p:cNvPr>
            <p:cNvSpPr/>
            <p:nvPr/>
          </p:nvSpPr>
          <p:spPr>
            <a:xfrm>
              <a:off x="3786667" y="5197692"/>
              <a:ext cx="88539" cy="16248"/>
            </a:xfrm>
            <a:custGeom>
              <a:avLst/>
              <a:gdLst>
                <a:gd name="connsiteX0" fmla="*/ 0 w 88539"/>
                <a:gd name="connsiteY0" fmla="*/ 16249 h 16248"/>
                <a:gd name="connsiteX1" fmla="*/ 41626 w 88539"/>
                <a:gd name="connsiteY1" fmla="*/ 16249 h 16248"/>
                <a:gd name="connsiteX2" fmla="*/ 57863 w 88539"/>
                <a:gd name="connsiteY2" fmla="*/ 0 h 16248"/>
                <a:gd name="connsiteX3" fmla="*/ 74100 w 88539"/>
                <a:gd name="connsiteY3" fmla="*/ 16249 h 16248"/>
                <a:gd name="connsiteX4" fmla="*/ 88539 w 88539"/>
                <a:gd name="connsiteY4" fmla="*/ 16249 h 162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539" h="16248">
                  <a:moveTo>
                    <a:pt x="0" y="16249"/>
                  </a:moveTo>
                  <a:lnTo>
                    <a:pt x="41626" y="16249"/>
                  </a:lnTo>
                  <a:cubicBezTo>
                    <a:pt x="41626" y="7273"/>
                    <a:pt x="48899" y="0"/>
                    <a:pt x="57863" y="0"/>
                  </a:cubicBezTo>
                  <a:cubicBezTo>
                    <a:pt x="66827" y="0"/>
                    <a:pt x="74100" y="7273"/>
                    <a:pt x="74100" y="16249"/>
                  </a:cubicBezTo>
                  <a:lnTo>
                    <a:pt x="88539" y="16249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77" name="Forma livre: Forma 1776">
              <a:extLst>
                <a:ext uri="{FF2B5EF4-FFF2-40B4-BE49-F238E27FC236}">
                  <a16:creationId xmlns:a16="http://schemas.microsoft.com/office/drawing/2014/main" id="{9F8AE6F1-B1B2-3F6A-350F-3958D43C5F55}"/>
                </a:ext>
              </a:extLst>
            </p:cNvPr>
            <p:cNvSpPr/>
            <p:nvPr/>
          </p:nvSpPr>
          <p:spPr>
            <a:xfrm>
              <a:off x="3944978" y="5178913"/>
              <a:ext cx="63504" cy="13268"/>
            </a:xfrm>
            <a:custGeom>
              <a:avLst/>
              <a:gdLst>
                <a:gd name="connsiteX0" fmla="*/ 63504 w 63504"/>
                <a:gd name="connsiteY0" fmla="*/ 13268 h 13268"/>
                <a:gd name="connsiteX1" fmla="*/ 50650 w 63504"/>
                <a:gd name="connsiteY1" fmla="*/ 13268 h 13268"/>
                <a:gd name="connsiteX2" fmla="*/ 37381 w 63504"/>
                <a:gd name="connsiteY2" fmla="*/ 0 h 13268"/>
                <a:gd name="connsiteX3" fmla="*/ 24113 w 63504"/>
                <a:gd name="connsiteY3" fmla="*/ 13268 h 13268"/>
                <a:gd name="connsiteX4" fmla="*/ 0 w 63504"/>
                <a:gd name="connsiteY4" fmla="*/ 13268 h 132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504" h="13268">
                  <a:moveTo>
                    <a:pt x="63504" y="13268"/>
                  </a:moveTo>
                  <a:lnTo>
                    <a:pt x="50650" y="13268"/>
                  </a:lnTo>
                  <a:cubicBezTo>
                    <a:pt x="50650" y="5937"/>
                    <a:pt x="44713" y="0"/>
                    <a:pt x="37381" y="0"/>
                  </a:cubicBezTo>
                  <a:cubicBezTo>
                    <a:pt x="30049" y="0"/>
                    <a:pt x="24113" y="5937"/>
                    <a:pt x="24113" y="13268"/>
                  </a:cubicBezTo>
                  <a:lnTo>
                    <a:pt x="0" y="13268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78" name="Forma livre: Forma 1777">
              <a:extLst>
                <a:ext uri="{FF2B5EF4-FFF2-40B4-BE49-F238E27FC236}">
                  <a16:creationId xmlns:a16="http://schemas.microsoft.com/office/drawing/2014/main" id="{BBCDFF96-32D4-AB71-F64F-2923648FAFFF}"/>
                </a:ext>
              </a:extLst>
            </p:cNvPr>
            <p:cNvSpPr/>
            <p:nvPr/>
          </p:nvSpPr>
          <p:spPr>
            <a:xfrm>
              <a:off x="3914184" y="5210807"/>
              <a:ext cx="25035" cy="1182"/>
            </a:xfrm>
            <a:custGeom>
              <a:avLst/>
              <a:gdLst>
                <a:gd name="connsiteX0" fmla="*/ 25035 w 25035"/>
                <a:gd name="connsiteY0" fmla="*/ 0 h 1182"/>
                <a:gd name="connsiteX1" fmla="*/ 0 w 25035"/>
                <a:gd name="connsiteY1" fmla="*/ 0 h 11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5035" h="1182">
                  <a:moveTo>
                    <a:pt x="25035" y="0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79" name="Forma livre: Forma 1778">
              <a:extLst>
                <a:ext uri="{FF2B5EF4-FFF2-40B4-BE49-F238E27FC236}">
                  <a16:creationId xmlns:a16="http://schemas.microsoft.com/office/drawing/2014/main" id="{76268141-D00B-339F-98FE-7FBEFC3A6EEE}"/>
                </a:ext>
              </a:extLst>
            </p:cNvPr>
            <p:cNvSpPr/>
            <p:nvPr/>
          </p:nvSpPr>
          <p:spPr>
            <a:xfrm>
              <a:off x="3970392" y="5222479"/>
              <a:ext cx="11080" cy="1182"/>
            </a:xfrm>
            <a:custGeom>
              <a:avLst/>
              <a:gdLst>
                <a:gd name="connsiteX0" fmla="*/ 11081 w 11080"/>
                <a:gd name="connsiteY0" fmla="*/ 0 h 1182"/>
                <a:gd name="connsiteX1" fmla="*/ 0 w 11080"/>
                <a:gd name="connsiteY1" fmla="*/ 0 h 11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080" h="1182">
                  <a:moveTo>
                    <a:pt x="11081" y="0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80" name="Forma livre: Forma 1779">
              <a:extLst>
                <a:ext uri="{FF2B5EF4-FFF2-40B4-BE49-F238E27FC236}">
                  <a16:creationId xmlns:a16="http://schemas.microsoft.com/office/drawing/2014/main" id="{8CC684D9-ABAE-8FC0-30C8-002EB393A8B9}"/>
                </a:ext>
              </a:extLst>
            </p:cNvPr>
            <p:cNvSpPr/>
            <p:nvPr/>
          </p:nvSpPr>
          <p:spPr>
            <a:xfrm>
              <a:off x="3809870" y="5254444"/>
              <a:ext cx="328825" cy="136468"/>
            </a:xfrm>
            <a:custGeom>
              <a:avLst/>
              <a:gdLst>
                <a:gd name="connsiteX0" fmla="*/ 79741 w 328825"/>
                <a:gd name="connsiteY0" fmla="*/ 136469 h 136468"/>
                <a:gd name="connsiteX1" fmla="*/ 293432 w 328825"/>
                <a:gd name="connsiteY1" fmla="*/ 136469 h 136468"/>
                <a:gd name="connsiteX2" fmla="*/ 328826 w 328825"/>
                <a:gd name="connsiteY2" fmla="*/ 101063 h 136468"/>
                <a:gd name="connsiteX3" fmla="*/ 328826 w 328825"/>
                <a:gd name="connsiteY3" fmla="*/ 97751 h 136468"/>
                <a:gd name="connsiteX4" fmla="*/ 191872 w 328825"/>
                <a:gd name="connsiteY4" fmla="*/ 0 h 136468"/>
                <a:gd name="connsiteX5" fmla="*/ 0 w 328825"/>
                <a:gd name="connsiteY5" fmla="*/ 0 h 1364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28825" h="136468">
                  <a:moveTo>
                    <a:pt x="79741" y="136469"/>
                  </a:moveTo>
                  <a:lnTo>
                    <a:pt x="293432" y="136469"/>
                  </a:lnTo>
                  <a:cubicBezTo>
                    <a:pt x="312897" y="136469"/>
                    <a:pt x="328826" y="120539"/>
                    <a:pt x="328826" y="101063"/>
                  </a:cubicBezTo>
                  <a:lnTo>
                    <a:pt x="328826" y="97751"/>
                  </a:lnTo>
                  <a:cubicBezTo>
                    <a:pt x="328826" y="78274"/>
                    <a:pt x="279276" y="0"/>
                    <a:pt x="191872" y="0"/>
                  </a:cubicBezTo>
                  <a:lnTo>
                    <a:pt x="0" y="0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81" name="Forma livre: Forma 1780">
              <a:extLst>
                <a:ext uri="{FF2B5EF4-FFF2-40B4-BE49-F238E27FC236}">
                  <a16:creationId xmlns:a16="http://schemas.microsoft.com/office/drawing/2014/main" id="{E0173D46-5CB4-90AD-07ED-4EF7C8AF4715}"/>
                </a:ext>
              </a:extLst>
            </p:cNvPr>
            <p:cNvSpPr/>
            <p:nvPr/>
          </p:nvSpPr>
          <p:spPr>
            <a:xfrm>
              <a:off x="4010753" y="5274678"/>
              <a:ext cx="103108" cy="61659"/>
            </a:xfrm>
            <a:custGeom>
              <a:avLst/>
              <a:gdLst>
                <a:gd name="connsiteX0" fmla="*/ 103108 w 103108"/>
                <a:gd name="connsiteY0" fmla="*/ 61659 h 61659"/>
                <a:gd name="connsiteX1" fmla="*/ 44252 w 103108"/>
                <a:gd name="connsiteY1" fmla="*/ 61659 h 61659"/>
                <a:gd name="connsiteX2" fmla="*/ 0 w 103108"/>
                <a:gd name="connsiteY2" fmla="*/ 17407 h 61659"/>
                <a:gd name="connsiteX3" fmla="*/ 0 w 103108"/>
                <a:gd name="connsiteY3" fmla="*/ 0 h 616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3108" h="61659">
                  <a:moveTo>
                    <a:pt x="103108" y="61659"/>
                  </a:moveTo>
                  <a:lnTo>
                    <a:pt x="44252" y="61659"/>
                  </a:lnTo>
                  <a:cubicBezTo>
                    <a:pt x="19914" y="61659"/>
                    <a:pt x="0" y="41745"/>
                    <a:pt x="0" y="17407"/>
                  </a:cubicBezTo>
                  <a:lnTo>
                    <a:pt x="0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82" name="Forma livre: Forma 1781">
              <a:extLst>
                <a:ext uri="{FF2B5EF4-FFF2-40B4-BE49-F238E27FC236}">
                  <a16:creationId xmlns:a16="http://schemas.microsoft.com/office/drawing/2014/main" id="{00391151-1699-AEE9-D878-91F393CC47EE}"/>
                </a:ext>
              </a:extLst>
            </p:cNvPr>
            <p:cNvSpPr/>
            <p:nvPr/>
          </p:nvSpPr>
          <p:spPr>
            <a:xfrm>
              <a:off x="3885980" y="5280283"/>
              <a:ext cx="64154" cy="33182"/>
            </a:xfrm>
            <a:custGeom>
              <a:avLst/>
              <a:gdLst>
                <a:gd name="connsiteX0" fmla="*/ 0 w 64154"/>
                <a:gd name="connsiteY0" fmla="*/ 24337 h 33182"/>
                <a:gd name="connsiteX1" fmla="*/ 8846 w 64154"/>
                <a:gd name="connsiteY1" fmla="*/ 33183 h 33182"/>
                <a:gd name="connsiteX2" fmla="*/ 55309 w 64154"/>
                <a:gd name="connsiteY2" fmla="*/ 33183 h 33182"/>
                <a:gd name="connsiteX3" fmla="*/ 64155 w 64154"/>
                <a:gd name="connsiteY3" fmla="*/ 24337 h 33182"/>
                <a:gd name="connsiteX4" fmla="*/ 64155 w 64154"/>
                <a:gd name="connsiteY4" fmla="*/ 8857 h 33182"/>
                <a:gd name="connsiteX5" fmla="*/ 55309 w 64154"/>
                <a:gd name="connsiteY5" fmla="*/ 0 h 33182"/>
                <a:gd name="connsiteX6" fmla="*/ 8846 w 64154"/>
                <a:gd name="connsiteY6" fmla="*/ 0 h 33182"/>
                <a:gd name="connsiteX7" fmla="*/ 0 w 64154"/>
                <a:gd name="connsiteY7" fmla="*/ 8857 h 33182"/>
                <a:gd name="connsiteX8" fmla="*/ 0 w 64154"/>
                <a:gd name="connsiteY8" fmla="*/ 24337 h 331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64154" h="33182">
                  <a:moveTo>
                    <a:pt x="0" y="24337"/>
                  </a:moveTo>
                  <a:cubicBezTo>
                    <a:pt x="0" y="29209"/>
                    <a:pt x="3985" y="33183"/>
                    <a:pt x="8846" y="33183"/>
                  </a:cubicBezTo>
                  <a:lnTo>
                    <a:pt x="55309" y="33183"/>
                  </a:lnTo>
                  <a:cubicBezTo>
                    <a:pt x="60169" y="33183"/>
                    <a:pt x="64155" y="29198"/>
                    <a:pt x="64155" y="24337"/>
                  </a:cubicBezTo>
                  <a:lnTo>
                    <a:pt x="64155" y="8857"/>
                  </a:lnTo>
                  <a:cubicBezTo>
                    <a:pt x="64155" y="3985"/>
                    <a:pt x="60169" y="0"/>
                    <a:pt x="55309" y="0"/>
                  </a:cubicBezTo>
                  <a:lnTo>
                    <a:pt x="8846" y="0"/>
                  </a:lnTo>
                  <a:cubicBezTo>
                    <a:pt x="3985" y="0"/>
                    <a:pt x="0" y="3985"/>
                    <a:pt x="0" y="8857"/>
                  </a:cubicBezTo>
                  <a:lnTo>
                    <a:pt x="0" y="24337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83" name="Forma livre: Forma 1782">
              <a:extLst>
                <a:ext uri="{FF2B5EF4-FFF2-40B4-BE49-F238E27FC236}">
                  <a16:creationId xmlns:a16="http://schemas.microsoft.com/office/drawing/2014/main" id="{D3ED4648-F270-A3E1-535E-C40F7EDFD48B}"/>
                </a:ext>
              </a:extLst>
            </p:cNvPr>
            <p:cNvSpPr/>
            <p:nvPr/>
          </p:nvSpPr>
          <p:spPr>
            <a:xfrm>
              <a:off x="3799510" y="5280117"/>
              <a:ext cx="55308" cy="33348"/>
            </a:xfrm>
            <a:custGeom>
              <a:avLst/>
              <a:gdLst>
                <a:gd name="connsiteX0" fmla="*/ 0 w 55308"/>
                <a:gd name="connsiteY0" fmla="*/ 33348 h 33348"/>
                <a:gd name="connsiteX1" fmla="*/ 46463 w 55308"/>
                <a:gd name="connsiteY1" fmla="*/ 33348 h 33348"/>
                <a:gd name="connsiteX2" fmla="*/ 55309 w 55308"/>
                <a:gd name="connsiteY2" fmla="*/ 24503 h 33348"/>
                <a:gd name="connsiteX3" fmla="*/ 55309 w 55308"/>
                <a:gd name="connsiteY3" fmla="*/ 9023 h 33348"/>
                <a:gd name="connsiteX4" fmla="*/ 46463 w 55308"/>
                <a:gd name="connsiteY4" fmla="*/ 0 h 33348"/>
                <a:gd name="connsiteX5" fmla="*/ 12760 w 55308"/>
                <a:gd name="connsiteY5" fmla="*/ 0 h 333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5308" h="33348">
                  <a:moveTo>
                    <a:pt x="0" y="33348"/>
                  </a:moveTo>
                  <a:lnTo>
                    <a:pt x="46463" y="33348"/>
                  </a:lnTo>
                  <a:cubicBezTo>
                    <a:pt x="51324" y="33348"/>
                    <a:pt x="55309" y="29363"/>
                    <a:pt x="55309" y="24503"/>
                  </a:cubicBezTo>
                  <a:lnTo>
                    <a:pt x="55309" y="9023"/>
                  </a:lnTo>
                  <a:cubicBezTo>
                    <a:pt x="55309" y="4151"/>
                    <a:pt x="51324" y="0"/>
                    <a:pt x="46463" y="0"/>
                  </a:cubicBezTo>
                  <a:lnTo>
                    <a:pt x="12760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84" name="Forma livre: Forma 1783">
              <a:extLst>
                <a:ext uri="{FF2B5EF4-FFF2-40B4-BE49-F238E27FC236}">
                  <a16:creationId xmlns:a16="http://schemas.microsoft.com/office/drawing/2014/main" id="{46914CBB-BB06-C85A-1672-794F3741A230}"/>
                </a:ext>
              </a:extLst>
            </p:cNvPr>
            <p:cNvSpPr/>
            <p:nvPr/>
          </p:nvSpPr>
          <p:spPr>
            <a:xfrm>
              <a:off x="3802585" y="5415924"/>
              <a:ext cx="292994" cy="1182"/>
            </a:xfrm>
            <a:custGeom>
              <a:avLst/>
              <a:gdLst>
                <a:gd name="connsiteX0" fmla="*/ 0 w 292994"/>
                <a:gd name="connsiteY0" fmla="*/ 0 h 1182"/>
                <a:gd name="connsiteX1" fmla="*/ 292994 w 292994"/>
                <a:gd name="connsiteY1" fmla="*/ 0 h 11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92994" h="1182">
                  <a:moveTo>
                    <a:pt x="0" y="0"/>
                  </a:moveTo>
                  <a:lnTo>
                    <a:pt x="292994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85" name="Forma livre: Forma 1784">
              <a:extLst>
                <a:ext uri="{FF2B5EF4-FFF2-40B4-BE49-F238E27FC236}">
                  <a16:creationId xmlns:a16="http://schemas.microsoft.com/office/drawing/2014/main" id="{3D79E833-85A9-16FB-3AC8-134F1AF61860}"/>
                </a:ext>
              </a:extLst>
            </p:cNvPr>
            <p:cNvSpPr/>
            <p:nvPr/>
          </p:nvSpPr>
          <p:spPr>
            <a:xfrm>
              <a:off x="3860223" y="5346211"/>
              <a:ext cx="62652" cy="1182"/>
            </a:xfrm>
            <a:custGeom>
              <a:avLst/>
              <a:gdLst>
                <a:gd name="connsiteX0" fmla="*/ 62653 w 62652"/>
                <a:gd name="connsiteY0" fmla="*/ 0 h 1182"/>
                <a:gd name="connsiteX1" fmla="*/ 0 w 62652"/>
                <a:gd name="connsiteY1" fmla="*/ 0 h 11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652" h="1182">
                  <a:moveTo>
                    <a:pt x="62653" y="0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86" name="Forma livre: Forma 1785">
              <a:extLst>
                <a:ext uri="{FF2B5EF4-FFF2-40B4-BE49-F238E27FC236}">
                  <a16:creationId xmlns:a16="http://schemas.microsoft.com/office/drawing/2014/main" id="{873DDB25-1D29-A28E-6F39-59C095B347B6}"/>
                </a:ext>
              </a:extLst>
            </p:cNvPr>
            <p:cNvSpPr/>
            <p:nvPr/>
          </p:nvSpPr>
          <p:spPr>
            <a:xfrm>
              <a:off x="3835378" y="5390830"/>
              <a:ext cx="32307" cy="1182"/>
            </a:xfrm>
            <a:custGeom>
              <a:avLst/>
              <a:gdLst>
                <a:gd name="connsiteX0" fmla="*/ 32308 w 32307"/>
                <a:gd name="connsiteY0" fmla="*/ 0 h 1182"/>
                <a:gd name="connsiteX1" fmla="*/ 0 w 32307"/>
                <a:gd name="connsiteY1" fmla="*/ 0 h 11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2307" h="1182">
                  <a:moveTo>
                    <a:pt x="32308" y="0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87" name="Forma livre: Forma 1786">
              <a:extLst>
                <a:ext uri="{FF2B5EF4-FFF2-40B4-BE49-F238E27FC236}">
                  <a16:creationId xmlns:a16="http://schemas.microsoft.com/office/drawing/2014/main" id="{68783A21-5C15-A694-F2AB-FB6FACC1061D}"/>
                </a:ext>
              </a:extLst>
            </p:cNvPr>
            <p:cNvSpPr/>
            <p:nvPr/>
          </p:nvSpPr>
          <p:spPr>
            <a:xfrm>
              <a:off x="3771046" y="5254444"/>
              <a:ext cx="16591" cy="1182"/>
            </a:xfrm>
            <a:custGeom>
              <a:avLst/>
              <a:gdLst>
                <a:gd name="connsiteX0" fmla="*/ 16591 w 16591"/>
                <a:gd name="connsiteY0" fmla="*/ 0 h 1182"/>
                <a:gd name="connsiteX1" fmla="*/ 0 w 16591"/>
                <a:gd name="connsiteY1" fmla="*/ 0 h 11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6591" h="1182">
                  <a:moveTo>
                    <a:pt x="16591" y="0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88" name="Forma livre: Forma 1787">
              <a:extLst>
                <a:ext uri="{FF2B5EF4-FFF2-40B4-BE49-F238E27FC236}">
                  <a16:creationId xmlns:a16="http://schemas.microsoft.com/office/drawing/2014/main" id="{15E50A5F-3C10-9AA7-B658-184053FCBAB7}"/>
                </a:ext>
              </a:extLst>
            </p:cNvPr>
            <p:cNvSpPr/>
            <p:nvPr/>
          </p:nvSpPr>
          <p:spPr>
            <a:xfrm>
              <a:off x="3822334" y="5346211"/>
              <a:ext cx="16603" cy="1182"/>
            </a:xfrm>
            <a:custGeom>
              <a:avLst/>
              <a:gdLst>
                <a:gd name="connsiteX0" fmla="*/ 16603 w 16603"/>
                <a:gd name="connsiteY0" fmla="*/ 0 h 1182"/>
                <a:gd name="connsiteX1" fmla="*/ 0 w 16603"/>
                <a:gd name="connsiteY1" fmla="*/ 0 h 11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6603" h="1182">
                  <a:moveTo>
                    <a:pt x="16603" y="0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89" name="Forma livre: Forma 1788">
              <a:extLst>
                <a:ext uri="{FF2B5EF4-FFF2-40B4-BE49-F238E27FC236}">
                  <a16:creationId xmlns:a16="http://schemas.microsoft.com/office/drawing/2014/main" id="{F788C0C2-9F25-9E80-3C89-69851E2ECC5F}"/>
                </a:ext>
              </a:extLst>
            </p:cNvPr>
            <p:cNvSpPr/>
            <p:nvPr/>
          </p:nvSpPr>
          <p:spPr>
            <a:xfrm>
              <a:off x="3794153" y="5346211"/>
              <a:ext cx="6894" cy="1182"/>
            </a:xfrm>
            <a:custGeom>
              <a:avLst/>
              <a:gdLst>
                <a:gd name="connsiteX0" fmla="*/ 6894 w 6894"/>
                <a:gd name="connsiteY0" fmla="*/ 0 h 1182"/>
                <a:gd name="connsiteX1" fmla="*/ 0 w 6894"/>
                <a:gd name="connsiteY1" fmla="*/ 0 h 11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894" h="1182">
                  <a:moveTo>
                    <a:pt x="6894" y="0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90" name="Forma livre: Forma 1789">
              <a:extLst>
                <a:ext uri="{FF2B5EF4-FFF2-40B4-BE49-F238E27FC236}">
                  <a16:creationId xmlns:a16="http://schemas.microsoft.com/office/drawing/2014/main" id="{567274BB-261E-ABD3-3A7E-F0107CC0039D}"/>
                </a:ext>
              </a:extLst>
            </p:cNvPr>
            <p:cNvSpPr/>
            <p:nvPr/>
          </p:nvSpPr>
          <p:spPr>
            <a:xfrm>
              <a:off x="3788832" y="5280106"/>
              <a:ext cx="6894" cy="1182"/>
            </a:xfrm>
            <a:custGeom>
              <a:avLst/>
              <a:gdLst>
                <a:gd name="connsiteX0" fmla="*/ 6894 w 6894"/>
                <a:gd name="connsiteY0" fmla="*/ 0 h 1182"/>
                <a:gd name="connsiteX1" fmla="*/ 0 w 6894"/>
                <a:gd name="connsiteY1" fmla="*/ 0 h 11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894" h="1182">
                  <a:moveTo>
                    <a:pt x="6894" y="0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791" name="Gráfico 14">
            <a:extLst>
              <a:ext uri="{FF2B5EF4-FFF2-40B4-BE49-F238E27FC236}">
                <a16:creationId xmlns:a16="http://schemas.microsoft.com/office/drawing/2014/main" id="{CC217BBE-5438-4DAC-63FA-705B90ED5062}"/>
              </a:ext>
            </a:extLst>
          </p:cNvPr>
          <p:cNvGrpSpPr/>
          <p:nvPr/>
        </p:nvGrpSpPr>
        <p:grpSpPr>
          <a:xfrm>
            <a:off x="3858509" y="4609000"/>
            <a:ext cx="192723" cy="325486"/>
            <a:chOff x="3858509" y="4609000"/>
            <a:chExt cx="192723" cy="325486"/>
          </a:xfrm>
          <a:noFill/>
        </p:grpSpPr>
        <p:sp>
          <p:nvSpPr>
            <p:cNvPr id="1792" name="Forma livre: Forma 1791">
              <a:extLst>
                <a:ext uri="{FF2B5EF4-FFF2-40B4-BE49-F238E27FC236}">
                  <a16:creationId xmlns:a16="http://schemas.microsoft.com/office/drawing/2014/main" id="{BD1D5B9C-7E98-9AB1-CBE9-218ADB3E0C9F}"/>
                </a:ext>
              </a:extLst>
            </p:cNvPr>
            <p:cNvSpPr/>
            <p:nvPr/>
          </p:nvSpPr>
          <p:spPr>
            <a:xfrm>
              <a:off x="3898089" y="4609000"/>
              <a:ext cx="113586" cy="11064"/>
            </a:xfrm>
            <a:custGeom>
              <a:avLst/>
              <a:gdLst>
                <a:gd name="connsiteX0" fmla="*/ 0 w 113586"/>
                <a:gd name="connsiteY0" fmla="*/ 11065 h 11064"/>
                <a:gd name="connsiteX1" fmla="*/ 24349 w 113586"/>
                <a:gd name="connsiteY1" fmla="*/ 8 h 11064"/>
                <a:gd name="connsiteX2" fmla="*/ 89249 w 113586"/>
                <a:gd name="connsiteY2" fmla="*/ 8 h 11064"/>
                <a:gd name="connsiteX3" fmla="*/ 113586 w 113586"/>
                <a:gd name="connsiteY3" fmla="*/ 11065 h 110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3586" h="11064">
                  <a:moveTo>
                    <a:pt x="0" y="11065"/>
                  </a:moveTo>
                  <a:cubicBezTo>
                    <a:pt x="6114" y="-678"/>
                    <a:pt x="10962" y="8"/>
                    <a:pt x="24349" y="8"/>
                  </a:cubicBezTo>
                  <a:lnTo>
                    <a:pt x="89249" y="8"/>
                  </a:lnTo>
                  <a:cubicBezTo>
                    <a:pt x="102635" y="8"/>
                    <a:pt x="108099" y="1344"/>
                    <a:pt x="113586" y="11065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793" name="Gráfico 14">
              <a:extLst>
                <a:ext uri="{FF2B5EF4-FFF2-40B4-BE49-F238E27FC236}">
                  <a16:creationId xmlns:a16="http://schemas.microsoft.com/office/drawing/2014/main" id="{F92FD4AC-AA67-D12E-0E04-C7C55FB05E10}"/>
                </a:ext>
              </a:extLst>
            </p:cNvPr>
            <p:cNvGrpSpPr/>
            <p:nvPr/>
          </p:nvGrpSpPr>
          <p:grpSpPr>
            <a:xfrm>
              <a:off x="3928517" y="4612366"/>
              <a:ext cx="52707" cy="22705"/>
              <a:chOff x="3928517" y="4612366"/>
              <a:chExt cx="52707" cy="22705"/>
            </a:xfrm>
          </p:grpSpPr>
          <p:sp>
            <p:nvSpPr>
              <p:cNvPr id="1794" name="Forma livre: Forma 1793">
                <a:extLst>
                  <a:ext uri="{FF2B5EF4-FFF2-40B4-BE49-F238E27FC236}">
                    <a16:creationId xmlns:a16="http://schemas.microsoft.com/office/drawing/2014/main" id="{48495E1F-05D7-E5BB-BB0F-8062628A461B}"/>
                  </a:ext>
                </a:extLst>
              </p:cNvPr>
              <p:cNvSpPr/>
              <p:nvPr/>
            </p:nvSpPr>
            <p:spPr>
              <a:xfrm>
                <a:off x="3928517" y="4612366"/>
                <a:ext cx="1182" cy="22705"/>
              </a:xfrm>
              <a:custGeom>
                <a:avLst/>
                <a:gdLst>
                  <a:gd name="connsiteX0" fmla="*/ 0 w 1182"/>
                  <a:gd name="connsiteY0" fmla="*/ 22705 h 22705"/>
                  <a:gd name="connsiteX1" fmla="*/ 0 w 1182"/>
                  <a:gd name="connsiteY1" fmla="*/ 0 h 227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82" h="22705">
                    <a:moveTo>
                      <a:pt x="0" y="22705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795" name="Forma livre: Forma 1794">
                <a:extLst>
                  <a:ext uri="{FF2B5EF4-FFF2-40B4-BE49-F238E27FC236}">
                    <a16:creationId xmlns:a16="http://schemas.microsoft.com/office/drawing/2014/main" id="{AA1C961C-49E2-30E8-8C60-97D22B76D3AD}"/>
                  </a:ext>
                </a:extLst>
              </p:cNvPr>
              <p:cNvSpPr/>
              <p:nvPr/>
            </p:nvSpPr>
            <p:spPr>
              <a:xfrm>
                <a:off x="3981224" y="4612366"/>
                <a:ext cx="1182" cy="22705"/>
              </a:xfrm>
              <a:custGeom>
                <a:avLst/>
                <a:gdLst>
                  <a:gd name="connsiteX0" fmla="*/ 0 w 1182"/>
                  <a:gd name="connsiteY0" fmla="*/ 22705 h 22705"/>
                  <a:gd name="connsiteX1" fmla="*/ 0 w 1182"/>
                  <a:gd name="connsiteY1" fmla="*/ 0 h 227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82" h="22705">
                    <a:moveTo>
                      <a:pt x="0" y="22705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796" name="Forma livre: Forma 1795">
              <a:extLst>
                <a:ext uri="{FF2B5EF4-FFF2-40B4-BE49-F238E27FC236}">
                  <a16:creationId xmlns:a16="http://schemas.microsoft.com/office/drawing/2014/main" id="{24A97BC7-CF89-30E6-049E-729F2E5BAC98}"/>
                </a:ext>
              </a:extLst>
            </p:cNvPr>
            <p:cNvSpPr/>
            <p:nvPr/>
          </p:nvSpPr>
          <p:spPr>
            <a:xfrm>
              <a:off x="3921374" y="4679063"/>
              <a:ext cx="67004" cy="1182"/>
            </a:xfrm>
            <a:custGeom>
              <a:avLst/>
              <a:gdLst>
                <a:gd name="connsiteX0" fmla="*/ 0 w 67004"/>
                <a:gd name="connsiteY0" fmla="*/ 0 h 1182"/>
                <a:gd name="connsiteX1" fmla="*/ 67004 w 67004"/>
                <a:gd name="connsiteY1" fmla="*/ 0 h 11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7004" h="1182">
                  <a:moveTo>
                    <a:pt x="0" y="0"/>
                  </a:moveTo>
                  <a:lnTo>
                    <a:pt x="67004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797" name="Gráfico 14">
              <a:extLst>
                <a:ext uri="{FF2B5EF4-FFF2-40B4-BE49-F238E27FC236}">
                  <a16:creationId xmlns:a16="http://schemas.microsoft.com/office/drawing/2014/main" id="{A84DE125-85CB-CE5D-8569-D8653866704B}"/>
                </a:ext>
              </a:extLst>
            </p:cNvPr>
            <p:cNvGrpSpPr/>
            <p:nvPr/>
          </p:nvGrpSpPr>
          <p:grpSpPr>
            <a:xfrm>
              <a:off x="3861974" y="4654466"/>
              <a:ext cx="185794" cy="218255"/>
              <a:chOff x="3861974" y="4654466"/>
              <a:chExt cx="185794" cy="218255"/>
            </a:xfrm>
            <a:noFill/>
          </p:grpSpPr>
          <p:sp>
            <p:nvSpPr>
              <p:cNvPr id="1798" name="Forma livre: Forma 1797">
                <a:extLst>
                  <a:ext uri="{FF2B5EF4-FFF2-40B4-BE49-F238E27FC236}">
                    <a16:creationId xmlns:a16="http://schemas.microsoft.com/office/drawing/2014/main" id="{A9C2A536-E0A2-3595-8BF2-76E6943852C4}"/>
                  </a:ext>
                </a:extLst>
              </p:cNvPr>
              <p:cNvSpPr/>
              <p:nvPr/>
            </p:nvSpPr>
            <p:spPr>
              <a:xfrm>
                <a:off x="3861974" y="4654466"/>
                <a:ext cx="185794" cy="218255"/>
              </a:xfrm>
              <a:custGeom>
                <a:avLst/>
                <a:gdLst>
                  <a:gd name="connsiteX0" fmla="*/ 185794 w 185794"/>
                  <a:gd name="connsiteY0" fmla="*/ 193883 h 218255"/>
                  <a:gd name="connsiteX1" fmla="*/ 161421 w 185794"/>
                  <a:gd name="connsiteY1" fmla="*/ 218255 h 218255"/>
                  <a:gd name="connsiteX2" fmla="*/ 24361 w 185794"/>
                  <a:gd name="connsiteY2" fmla="*/ 218255 h 218255"/>
                  <a:gd name="connsiteX3" fmla="*/ 0 w 185794"/>
                  <a:gd name="connsiteY3" fmla="*/ 193883 h 218255"/>
                  <a:gd name="connsiteX4" fmla="*/ 0 w 185794"/>
                  <a:gd name="connsiteY4" fmla="*/ 24373 h 218255"/>
                  <a:gd name="connsiteX5" fmla="*/ 24361 w 185794"/>
                  <a:gd name="connsiteY5" fmla="*/ 0 h 218255"/>
                  <a:gd name="connsiteX6" fmla="*/ 161421 w 185794"/>
                  <a:gd name="connsiteY6" fmla="*/ 0 h 218255"/>
                  <a:gd name="connsiteX7" fmla="*/ 185794 w 185794"/>
                  <a:gd name="connsiteY7" fmla="*/ 24373 h 218255"/>
                  <a:gd name="connsiteX8" fmla="*/ 185794 w 185794"/>
                  <a:gd name="connsiteY8" fmla="*/ 193883 h 2182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85794" h="218255">
                    <a:moveTo>
                      <a:pt x="185794" y="193883"/>
                    </a:moveTo>
                    <a:cubicBezTo>
                      <a:pt x="185794" y="207281"/>
                      <a:pt x="174832" y="218255"/>
                      <a:pt x="161421" y="218255"/>
                    </a:cubicBezTo>
                    <a:lnTo>
                      <a:pt x="24361" y="218255"/>
                    </a:lnTo>
                    <a:cubicBezTo>
                      <a:pt x="10962" y="218255"/>
                      <a:pt x="0" y="207293"/>
                      <a:pt x="0" y="193883"/>
                    </a:cubicBezTo>
                    <a:lnTo>
                      <a:pt x="0" y="24373"/>
                    </a:lnTo>
                    <a:cubicBezTo>
                      <a:pt x="0" y="10962"/>
                      <a:pt x="10962" y="0"/>
                      <a:pt x="24361" y="0"/>
                    </a:cubicBezTo>
                    <a:lnTo>
                      <a:pt x="161421" y="0"/>
                    </a:lnTo>
                    <a:cubicBezTo>
                      <a:pt x="174832" y="0"/>
                      <a:pt x="185794" y="10962"/>
                      <a:pt x="185794" y="24373"/>
                    </a:cubicBezTo>
                    <a:lnTo>
                      <a:pt x="185794" y="193883"/>
                    </a:ln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799" name="Forma livre: Forma 1798">
                <a:extLst>
                  <a:ext uri="{FF2B5EF4-FFF2-40B4-BE49-F238E27FC236}">
                    <a16:creationId xmlns:a16="http://schemas.microsoft.com/office/drawing/2014/main" id="{83941220-FBF6-5027-1FD8-F90C83D4CDD2}"/>
                  </a:ext>
                </a:extLst>
              </p:cNvPr>
              <p:cNvSpPr/>
              <p:nvPr/>
            </p:nvSpPr>
            <p:spPr>
              <a:xfrm>
                <a:off x="3885755" y="4703850"/>
                <a:ext cx="160747" cy="1182"/>
              </a:xfrm>
              <a:custGeom>
                <a:avLst/>
                <a:gdLst>
                  <a:gd name="connsiteX0" fmla="*/ 0 w 160747"/>
                  <a:gd name="connsiteY0" fmla="*/ 0 h 1182"/>
                  <a:gd name="connsiteX1" fmla="*/ 160747 w 160747"/>
                  <a:gd name="connsiteY1" fmla="*/ 0 h 11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60747" h="1182">
                    <a:moveTo>
                      <a:pt x="0" y="0"/>
                    </a:moveTo>
                    <a:lnTo>
                      <a:pt x="160747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800" name="Forma livre: Forma 1799">
                <a:extLst>
                  <a:ext uri="{FF2B5EF4-FFF2-40B4-BE49-F238E27FC236}">
                    <a16:creationId xmlns:a16="http://schemas.microsoft.com/office/drawing/2014/main" id="{5A0A9E04-BE03-401E-136A-A1245731F23E}"/>
                  </a:ext>
                </a:extLst>
              </p:cNvPr>
              <p:cNvSpPr/>
              <p:nvPr/>
            </p:nvSpPr>
            <p:spPr>
              <a:xfrm>
                <a:off x="3885755" y="4798089"/>
                <a:ext cx="160747" cy="1182"/>
              </a:xfrm>
              <a:custGeom>
                <a:avLst/>
                <a:gdLst>
                  <a:gd name="connsiteX0" fmla="*/ 0 w 160747"/>
                  <a:gd name="connsiteY0" fmla="*/ 0 h 1182"/>
                  <a:gd name="connsiteX1" fmla="*/ 160747 w 160747"/>
                  <a:gd name="connsiteY1" fmla="*/ 0 h 11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60747" h="1182">
                    <a:moveTo>
                      <a:pt x="0" y="0"/>
                    </a:moveTo>
                    <a:lnTo>
                      <a:pt x="160747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801" name="Gráfico 14">
              <a:extLst>
                <a:ext uri="{FF2B5EF4-FFF2-40B4-BE49-F238E27FC236}">
                  <a16:creationId xmlns:a16="http://schemas.microsoft.com/office/drawing/2014/main" id="{4E8E6DD4-43AD-2BAE-71AF-5CE5C8168B59}"/>
                </a:ext>
              </a:extLst>
            </p:cNvPr>
            <p:cNvGrpSpPr/>
            <p:nvPr/>
          </p:nvGrpSpPr>
          <p:grpSpPr>
            <a:xfrm>
              <a:off x="3858509" y="4875631"/>
              <a:ext cx="192723" cy="58856"/>
              <a:chOff x="3858509" y="4875631"/>
              <a:chExt cx="192723" cy="58856"/>
            </a:xfrm>
          </p:grpSpPr>
          <p:sp>
            <p:nvSpPr>
              <p:cNvPr id="1802" name="Forma livre: Forma 1801">
                <a:extLst>
                  <a:ext uri="{FF2B5EF4-FFF2-40B4-BE49-F238E27FC236}">
                    <a16:creationId xmlns:a16="http://schemas.microsoft.com/office/drawing/2014/main" id="{01FD9156-2EAC-C9A8-659B-119FB1D6D1B3}"/>
                  </a:ext>
                </a:extLst>
              </p:cNvPr>
              <p:cNvSpPr/>
              <p:nvPr/>
            </p:nvSpPr>
            <p:spPr>
              <a:xfrm>
                <a:off x="3858509" y="4875631"/>
                <a:ext cx="36730" cy="58856"/>
              </a:xfrm>
              <a:custGeom>
                <a:avLst/>
                <a:gdLst>
                  <a:gd name="connsiteX0" fmla="*/ 36731 w 36730"/>
                  <a:gd name="connsiteY0" fmla="*/ 0 h 58856"/>
                  <a:gd name="connsiteX1" fmla="*/ 0 w 36730"/>
                  <a:gd name="connsiteY1" fmla="*/ 58857 h 588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6730" h="58856">
                    <a:moveTo>
                      <a:pt x="36731" y="0"/>
                    </a:moveTo>
                    <a:lnTo>
                      <a:pt x="0" y="58857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803" name="Forma livre: Forma 1802">
                <a:extLst>
                  <a:ext uri="{FF2B5EF4-FFF2-40B4-BE49-F238E27FC236}">
                    <a16:creationId xmlns:a16="http://schemas.microsoft.com/office/drawing/2014/main" id="{244446B8-7AB2-6D23-10D7-47FBE8A395F0}"/>
                  </a:ext>
                </a:extLst>
              </p:cNvPr>
              <p:cNvSpPr/>
              <p:nvPr/>
            </p:nvSpPr>
            <p:spPr>
              <a:xfrm>
                <a:off x="4015637" y="4876186"/>
                <a:ext cx="35595" cy="58300"/>
              </a:xfrm>
              <a:custGeom>
                <a:avLst/>
                <a:gdLst>
                  <a:gd name="connsiteX0" fmla="*/ 35595 w 35595"/>
                  <a:gd name="connsiteY0" fmla="*/ 58301 h 58300"/>
                  <a:gd name="connsiteX1" fmla="*/ 0 w 35595"/>
                  <a:gd name="connsiteY1" fmla="*/ 0 h 583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5595" h="58300">
                    <a:moveTo>
                      <a:pt x="35595" y="58301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804" name="Forma livre: Forma 1803">
                <a:extLst>
                  <a:ext uri="{FF2B5EF4-FFF2-40B4-BE49-F238E27FC236}">
                    <a16:creationId xmlns:a16="http://schemas.microsoft.com/office/drawing/2014/main" id="{913E64E4-0F93-A864-51CE-AB0C2C50E05D}"/>
                  </a:ext>
                </a:extLst>
              </p:cNvPr>
              <p:cNvSpPr/>
              <p:nvPr/>
            </p:nvSpPr>
            <p:spPr>
              <a:xfrm>
                <a:off x="3879499" y="4905502"/>
                <a:ext cx="150742" cy="1182"/>
              </a:xfrm>
              <a:custGeom>
                <a:avLst/>
                <a:gdLst>
                  <a:gd name="connsiteX0" fmla="*/ 0 w 150742"/>
                  <a:gd name="connsiteY0" fmla="*/ 0 h 1182"/>
                  <a:gd name="connsiteX1" fmla="*/ 150742 w 150742"/>
                  <a:gd name="connsiteY1" fmla="*/ 0 h 11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50742" h="1182">
                    <a:moveTo>
                      <a:pt x="0" y="0"/>
                    </a:moveTo>
                    <a:lnTo>
                      <a:pt x="150742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805" name="Gráfico 14">
              <a:extLst>
                <a:ext uri="{FF2B5EF4-FFF2-40B4-BE49-F238E27FC236}">
                  <a16:creationId xmlns:a16="http://schemas.microsoft.com/office/drawing/2014/main" id="{818F33AB-DF12-A046-E9C2-DC80BC839F63}"/>
                </a:ext>
              </a:extLst>
            </p:cNvPr>
            <p:cNvGrpSpPr/>
            <p:nvPr/>
          </p:nvGrpSpPr>
          <p:grpSpPr>
            <a:xfrm>
              <a:off x="3890911" y="4840733"/>
              <a:ext cx="127918" cy="1182"/>
              <a:chOff x="3890911" y="4840733"/>
              <a:chExt cx="127918" cy="1182"/>
            </a:xfrm>
          </p:grpSpPr>
          <p:sp>
            <p:nvSpPr>
              <p:cNvPr id="1806" name="Forma livre: Forma 1805">
                <a:extLst>
                  <a:ext uri="{FF2B5EF4-FFF2-40B4-BE49-F238E27FC236}">
                    <a16:creationId xmlns:a16="http://schemas.microsoft.com/office/drawing/2014/main" id="{F3A1DA37-3C0F-7CC7-D438-06DAA6584510}"/>
                  </a:ext>
                </a:extLst>
              </p:cNvPr>
              <p:cNvSpPr/>
              <p:nvPr/>
            </p:nvSpPr>
            <p:spPr>
              <a:xfrm>
                <a:off x="3890911" y="4840733"/>
                <a:ext cx="20103" cy="1182"/>
              </a:xfrm>
              <a:custGeom>
                <a:avLst/>
                <a:gdLst>
                  <a:gd name="connsiteX0" fmla="*/ 0 w 20103"/>
                  <a:gd name="connsiteY0" fmla="*/ 0 h 1182"/>
                  <a:gd name="connsiteX1" fmla="*/ 20104 w 20103"/>
                  <a:gd name="connsiteY1" fmla="*/ 0 h 11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0103" h="1182">
                    <a:moveTo>
                      <a:pt x="0" y="0"/>
                    </a:moveTo>
                    <a:lnTo>
                      <a:pt x="20104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807" name="Forma livre: Forma 1806">
                <a:extLst>
                  <a:ext uri="{FF2B5EF4-FFF2-40B4-BE49-F238E27FC236}">
                    <a16:creationId xmlns:a16="http://schemas.microsoft.com/office/drawing/2014/main" id="{3D1F8C62-6674-2F81-9225-780238226490}"/>
                  </a:ext>
                </a:extLst>
              </p:cNvPr>
              <p:cNvSpPr/>
              <p:nvPr/>
            </p:nvSpPr>
            <p:spPr>
              <a:xfrm>
                <a:off x="3998726" y="4840733"/>
                <a:ext cx="20103" cy="1182"/>
              </a:xfrm>
              <a:custGeom>
                <a:avLst/>
                <a:gdLst>
                  <a:gd name="connsiteX0" fmla="*/ 0 w 20103"/>
                  <a:gd name="connsiteY0" fmla="*/ 0 h 1182"/>
                  <a:gd name="connsiteX1" fmla="*/ 20104 w 20103"/>
                  <a:gd name="connsiteY1" fmla="*/ 0 h 11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0103" h="1182">
                    <a:moveTo>
                      <a:pt x="0" y="0"/>
                    </a:moveTo>
                    <a:lnTo>
                      <a:pt x="20104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808" name="Gráfico 14">
            <a:extLst>
              <a:ext uri="{FF2B5EF4-FFF2-40B4-BE49-F238E27FC236}">
                <a16:creationId xmlns:a16="http://schemas.microsoft.com/office/drawing/2014/main" id="{229E95AE-6EE8-2F96-AF19-DC89B4DBB067}"/>
              </a:ext>
            </a:extLst>
          </p:cNvPr>
          <p:cNvGrpSpPr/>
          <p:nvPr/>
        </p:nvGrpSpPr>
        <p:grpSpPr>
          <a:xfrm>
            <a:off x="2505770" y="4136795"/>
            <a:ext cx="429547" cy="184469"/>
            <a:chOff x="2505770" y="4136795"/>
            <a:chExt cx="429547" cy="184469"/>
          </a:xfrm>
        </p:grpSpPr>
        <p:sp>
          <p:nvSpPr>
            <p:cNvPr id="1809" name="Forma livre: Forma 1808">
              <a:extLst>
                <a:ext uri="{FF2B5EF4-FFF2-40B4-BE49-F238E27FC236}">
                  <a16:creationId xmlns:a16="http://schemas.microsoft.com/office/drawing/2014/main" id="{E94FC352-788B-6E89-6409-589C2A7BAD38}"/>
                </a:ext>
              </a:extLst>
            </p:cNvPr>
            <p:cNvSpPr/>
            <p:nvPr/>
          </p:nvSpPr>
          <p:spPr>
            <a:xfrm>
              <a:off x="2885855" y="4255312"/>
              <a:ext cx="49462" cy="30604"/>
            </a:xfrm>
            <a:custGeom>
              <a:avLst/>
              <a:gdLst>
                <a:gd name="connsiteX0" fmla="*/ 0 w 49462"/>
                <a:gd name="connsiteY0" fmla="*/ 30605 h 30604"/>
                <a:gd name="connsiteX1" fmla="*/ 33822 w 49462"/>
                <a:gd name="connsiteY1" fmla="*/ 30605 h 30604"/>
                <a:gd name="connsiteX2" fmla="*/ 49266 w 49462"/>
                <a:gd name="connsiteY2" fmla="*/ 0 h 30604"/>
                <a:gd name="connsiteX3" fmla="*/ 13789 w 49462"/>
                <a:gd name="connsiteY3" fmla="*/ 0 h 306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9462" h="30604">
                  <a:moveTo>
                    <a:pt x="0" y="30605"/>
                  </a:moveTo>
                  <a:lnTo>
                    <a:pt x="33822" y="30605"/>
                  </a:lnTo>
                  <a:cubicBezTo>
                    <a:pt x="52376" y="30605"/>
                    <a:pt x="49266" y="0"/>
                    <a:pt x="49266" y="0"/>
                  </a:cubicBezTo>
                  <a:lnTo>
                    <a:pt x="13789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10" name="Forma livre: Forma 1809">
              <a:extLst>
                <a:ext uri="{FF2B5EF4-FFF2-40B4-BE49-F238E27FC236}">
                  <a16:creationId xmlns:a16="http://schemas.microsoft.com/office/drawing/2014/main" id="{AFEAAB6A-41A1-0CDB-57FC-4DD6F8F02A37}"/>
                </a:ext>
              </a:extLst>
            </p:cNvPr>
            <p:cNvSpPr/>
            <p:nvPr/>
          </p:nvSpPr>
          <p:spPr>
            <a:xfrm>
              <a:off x="2505770" y="4255312"/>
              <a:ext cx="44376" cy="30640"/>
            </a:xfrm>
            <a:custGeom>
              <a:avLst/>
              <a:gdLst>
                <a:gd name="connsiteX0" fmla="*/ 44377 w 44376"/>
                <a:gd name="connsiteY0" fmla="*/ 30640 h 30640"/>
                <a:gd name="connsiteX1" fmla="*/ 15640 w 44376"/>
                <a:gd name="connsiteY1" fmla="*/ 30640 h 30640"/>
                <a:gd name="connsiteX2" fmla="*/ 196 w 44376"/>
                <a:gd name="connsiteY2" fmla="*/ 0 h 30640"/>
                <a:gd name="connsiteX3" fmla="*/ 34077 w 44376"/>
                <a:gd name="connsiteY3" fmla="*/ 0 h 306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4376" h="30640">
                  <a:moveTo>
                    <a:pt x="44377" y="30640"/>
                  </a:moveTo>
                  <a:lnTo>
                    <a:pt x="15640" y="30640"/>
                  </a:lnTo>
                  <a:cubicBezTo>
                    <a:pt x="-2914" y="30640"/>
                    <a:pt x="196" y="0"/>
                    <a:pt x="196" y="0"/>
                  </a:cubicBezTo>
                  <a:lnTo>
                    <a:pt x="34077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11" name="Forma livre: Forma 1810">
              <a:extLst>
                <a:ext uri="{FF2B5EF4-FFF2-40B4-BE49-F238E27FC236}">
                  <a16:creationId xmlns:a16="http://schemas.microsoft.com/office/drawing/2014/main" id="{BEABA551-1F72-0FAC-68BA-69FB03B4020C}"/>
                </a:ext>
              </a:extLst>
            </p:cNvPr>
            <p:cNvSpPr/>
            <p:nvPr/>
          </p:nvSpPr>
          <p:spPr>
            <a:xfrm>
              <a:off x="2691878" y="4155054"/>
              <a:ext cx="34791" cy="34188"/>
            </a:xfrm>
            <a:custGeom>
              <a:avLst/>
              <a:gdLst>
                <a:gd name="connsiteX0" fmla="*/ 34791 w 34791"/>
                <a:gd name="connsiteY0" fmla="*/ 34188 h 34188"/>
                <a:gd name="connsiteX1" fmla="*/ 0 w 34791"/>
                <a:gd name="connsiteY1" fmla="*/ 34188 h 34188"/>
                <a:gd name="connsiteX2" fmla="*/ 0 w 34791"/>
                <a:gd name="connsiteY2" fmla="*/ 0 h 341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4791" h="34188">
                  <a:moveTo>
                    <a:pt x="34791" y="34188"/>
                  </a:moveTo>
                  <a:lnTo>
                    <a:pt x="0" y="34188"/>
                  </a:lnTo>
                  <a:lnTo>
                    <a:pt x="0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12" name="Forma livre: Forma 1811">
              <a:extLst>
                <a:ext uri="{FF2B5EF4-FFF2-40B4-BE49-F238E27FC236}">
                  <a16:creationId xmlns:a16="http://schemas.microsoft.com/office/drawing/2014/main" id="{EEDC598E-889F-A982-5CC4-986ACAFE2250}"/>
                </a:ext>
              </a:extLst>
            </p:cNvPr>
            <p:cNvSpPr/>
            <p:nvPr/>
          </p:nvSpPr>
          <p:spPr>
            <a:xfrm>
              <a:off x="2726669" y="4155054"/>
              <a:ext cx="72136" cy="34188"/>
            </a:xfrm>
            <a:custGeom>
              <a:avLst/>
              <a:gdLst>
                <a:gd name="connsiteX0" fmla="*/ 72137 w 72136"/>
                <a:gd name="connsiteY0" fmla="*/ 34188 h 34188"/>
                <a:gd name="connsiteX1" fmla="*/ 0 w 72136"/>
                <a:gd name="connsiteY1" fmla="*/ 34188 h 34188"/>
                <a:gd name="connsiteX2" fmla="*/ 0 w 72136"/>
                <a:gd name="connsiteY2" fmla="*/ 0 h 341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72136" h="34188">
                  <a:moveTo>
                    <a:pt x="72137" y="34188"/>
                  </a:moveTo>
                  <a:lnTo>
                    <a:pt x="0" y="34188"/>
                  </a:lnTo>
                  <a:lnTo>
                    <a:pt x="0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13" name="Forma livre: Forma 1812">
              <a:extLst>
                <a:ext uri="{FF2B5EF4-FFF2-40B4-BE49-F238E27FC236}">
                  <a16:creationId xmlns:a16="http://schemas.microsoft.com/office/drawing/2014/main" id="{D08ACC55-4009-CAAB-DA17-D9E537D5546C}"/>
                </a:ext>
              </a:extLst>
            </p:cNvPr>
            <p:cNvSpPr/>
            <p:nvPr/>
          </p:nvSpPr>
          <p:spPr>
            <a:xfrm>
              <a:off x="2552015" y="4248796"/>
              <a:ext cx="72479" cy="72467"/>
            </a:xfrm>
            <a:custGeom>
              <a:avLst/>
              <a:gdLst>
                <a:gd name="connsiteX0" fmla="*/ 72480 w 72479"/>
                <a:gd name="connsiteY0" fmla="*/ 36234 h 72467"/>
                <a:gd name="connsiteX1" fmla="*/ 36234 w 72479"/>
                <a:gd name="connsiteY1" fmla="*/ 72468 h 72467"/>
                <a:gd name="connsiteX2" fmla="*/ 0 w 72479"/>
                <a:gd name="connsiteY2" fmla="*/ 36234 h 72467"/>
                <a:gd name="connsiteX3" fmla="*/ 36234 w 72479"/>
                <a:gd name="connsiteY3" fmla="*/ 0 h 72467"/>
                <a:gd name="connsiteX4" fmla="*/ 72480 w 72479"/>
                <a:gd name="connsiteY4" fmla="*/ 36234 h 724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2479" h="72467">
                  <a:moveTo>
                    <a:pt x="72480" y="36234"/>
                  </a:moveTo>
                  <a:cubicBezTo>
                    <a:pt x="72480" y="56255"/>
                    <a:pt x="56255" y="72468"/>
                    <a:pt x="36234" y="72468"/>
                  </a:cubicBezTo>
                  <a:cubicBezTo>
                    <a:pt x="16213" y="72468"/>
                    <a:pt x="0" y="56243"/>
                    <a:pt x="0" y="36234"/>
                  </a:cubicBezTo>
                  <a:cubicBezTo>
                    <a:pt x="0" y="16225"/>
                    <a:pt x="16237" y="0"/>
                    <a:pt x="36234" y="0"/>
                  </a:cubicBezTo>
                  <a:cubicBezTo>
                    <a:pt x="56231" y="0"/>
                    <a:pt x="72480" y="16225"/>
                    <a:pt x="72480" y="36234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14" name="Forma livre: Forma 1813">
              <a:extLst>
                <a:ext uri="{FF2B5EF4-FFF2-40B4-BE49-F238E27FC236}">
                  <a16:creationId xmlns:a16="http://schemas.microsoft.com/office/drawing/2014/main" id="{A2138CA2-A26A-01EF-5F96-10DCFF529809}"/>
                </a:ext>
              </a:extLst>
            </p:cNvPr>
            <p:cNvSpPr/>
            <p:nvPr/>
          </p:nvSpPr>
          <p:spPr>
            <a:xfrm>
              <a:off x="2584678" y="4281447"/>
              <a:ext cx="7154" cy="7154"/>
            </a:xfrm>
            <a:custGeom>
              <a:avLst/>
              <a:gdLst>
                <a:gd name="connsiteX0" fmla="*/ 7155 w 7154"/>
                <a:gd name="connsiteY0" fmla="*/ 3595 h 7154"/>
                <a:gd name="connsiteX1" fmla="*/ 3583 w 7154"/>
                <a:gd name="connsiteY1" fmla="*/ 7155 h 7154"/>
                <a:gd name="connsiteX2" fmla="*/ 0 w 7154"/>
                <a:gd name="connsiteY2" fmla="*/ 3595 h 7154"/>
                <a:gd name="connsiteX3" fmla="*/ 3583 w 7154"/>
                <a:gd name="connsiteY3" fmla="*/ 0 h 7154"/>
                <a:gd name="connsiteX4" fmla="*/ 7155 w 7154"/>
                <a:gd name="connsiteY4" fmla="*/ 3595 h 71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54" h="7154">
                  <a:moveTo>
                    <a:pt x="7155" y="3595"/>
                  </a:moveTo>
                  <a:cubicBezTo>
                    <a:pt x="7155" y="5570"/>
                    <a:pt x="5570" y="7155"/>
                    <a:pt x="3583" y="7155"/>
                  </a:cubicBezTo>
                  <a:cubicBezTo>
                    <a:pt x="1596" y="7155"/>
                    <a:pt x="0" y="5570"/>
                    <a:pt x="0" y="3595"/>
                  </a:cubicBezTo>
                  <a:cubicBezTo>
                    <a:pt x="0" y="1620"/>
                    <a:pt x="1608" y="0"/>
                    <a:pt x="3583" y="0"/>
                  </a:cubicBezTo>
                  <a:cubicBezTo>
                    <a:pt x="5558" y="0"/>
                    <a:pt x="7155" y="1596"/>
                    <a:pt x="7155" y="3595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15" name="Forma livre: Forma 1814">
              <a:extLst>
                <a:ext uri="{FF2B5EF4-FFF2-40B4-BE49-F238E27FC236}">
                  <a16:creationId xmlns:a16="http://schemas.microsoft.com/office/drawing/2014/main" id="{5C80D8AE-BFA9-55B3-25CB-F4322F309F27}"/>
                </a:ext>
              </a:extLst>
            </p:cNvPr>
            <p:cNvSpPr/>
            <p:nvPr/>
          </p:nvSpPr>
          <p:spPr>
            <a:xfrm>
              <a:off x="2813375" y="4248796"/>
              <a:ext cx="72479" cy="72467"/>
            </a:xfrm>
            <a:custGeom>
              <a:avLst/>
              <a:gdLst>
                <a:gd name="connsiteX0" fmla="*/ 72480 w 72479"/>
                <a:gd name="connsiteY0" fmla="*/ 36234 h 72467"/>
                <a:gd name="connsiteX1" fmla="*/ 36234 w 72479"/>
                <a:gd name="connsiteY1" fmla="*/ 72468 h 72467"/>
                <a:gd name="connsiteX2" fmla="*/ 0 w 72479"/>
                <a:gd name="connsiteY2" fmla="*/ 36234 h 72467"/>
                <a:gd name="connsiteX3" fmla="*/ 36234 w 72479"/>
                <a:gd name="connsiteY3" fmla="*/ 0 h 72467"/>
                <a:gd name="connsiteX4" fmla="*/ 72480 w 72479"/>
                <a:gd name="connsiteY4" fmla="*/ 36234 h 724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2479" h="72467">
                  <a:moveTo>
                    <a:pt x="72480" y="36234"/>
                  </a:moveTo>
                  <a:cubicBezTo>
                    <a:pt x="72480" y="56255"/>
                    <a:pt x="56255" y="72468"/>
                    <a:pt x="36234" y="72468"/>
                  </a:cubicBezTo>
                  <a:cubicBezTo>
                    <a:pt x="16213" y="72468"/>
                    <a:pt x="0" y="56243"/>
                    <a:pt x="0" y="36234"/>
                  </a:cubicBezTo>
                  <a:cubicBezTo>
                    <a:pt x="0" y="16225"/>
                    <a:pt x="16237" y="0"/>
                    <a:pt x="36234" y="0"/>
                  </a:cubicBezTo>
                  <a:cubicBezTo>
                    <a:pt x="56231" y="0"/>
                    <a:pt x="72480" y="16225"/>
                    <a:pt x="72480" y="36234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16" name="Forma livre: Forma 1815">
              <a:extLst>
                <a:ext uri="{FF2B5EF4-FFF2-40B4-BE49-F238E27FC236}">
                  <a16:creationId xmlns:a16="http://schemas.microsoft.com/office/drawing/2014/main" id="{229B474C-CB33-F7D6-A49E-7E3E15C8A328}"/>
                </a:ext>
              </a:extLst>
            </p:cNvPr>
            <p:cNvSpPr/>
            <p:nvPr/>
          </p:nvSpPr>
          <p:spPr>
            <a:xfrm>
              <a:off x="2846026" y="4281447"/>
              <a:ext cx="7154" cy="7154"/>
            </a:xfrm>
            <a:custGeom>
              <a:avLst/>
              <a:gdLst>
                <a:gd name="connsiteX0" fmla="*/ 7155 w 7154"/>
                <a:gd name="connsiteY0" fmla="*/ 3595 h 7154"/>
                <a:gd name="connsiteX1" fmla="*/ 3583 w 7154"/>
                <a:gd name="connsiteY1" fmla="*/ 7155 h 7154"/>
                <a:gd name="connsiteX2" fmla="*/ 0 w 7154"/>
                <a:gd name="connsiteY2" fmla="*/ 3595 h 7154"/>
                <a:gd name="connsiteX3" fmla="*/ 3583 w 7154"/>
                <a:gd name="connsiteY3" fmla="*/ 0 h 7154"/>
                <a:gd name="connsiteX4" fmla="*/ 7155 w 7154"/>
                <a:gd name="connsiteY4" fmla="*/ 3595 h 71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54" h="7154">
                  <a:moveTo>
                    <a:pt x="7155" y="3595"/>
                  </a:moveTo>
                  <a:cubicBezTo>
                    <a:pt x="7155" y="5570"/>
                    <a:pt x="5570" y="7155"/>
                    <a:pt x="3583" y="7155"/>
                  </a:cubicBezTo>
                  <a:cubicBezTo>
                    <a:pt x="1596" y="7155"/>
                    <a:pt x="0" y="5570"/>
                    <a:pt x="0" y="3595"/>
                  </a:cubicBezTo>
                  <a:cubicBezTo>
                    <a:pt x="0" y="1620"/>
                    <a:pt x="1608" y="0"/>
                    <a:pt x="3583" y="0"/>
                  </a:cubicBezTo>
                  <a:cubicBezTo>
                    <a:pt x="5558" y="0"/>
                    <a:pt x="7155" y="1596"/>
                    <a:pt x="7155" y="3595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17" name="Forma livre: Forma 1816">
              <a:extLst>
                <a:ext uri="{FF2B5EF4-FFF2-40B4-BE49-F238E27FC236}">
                  <a16:creationId xmlns:a16="http://schemas.microsoft.com/office/drawing/2014/main" id="{6CA75CF3-F58C-D422-E572-762918439056}"/>
                </a:ext>
              </a:extLst>
            </p:cNvPr>
            <p:cNvSpPr/>
            <p:nvPr/>
          </p:nvSpPr>
          <p:spPr>
            <a:xfrm>
              <a:off x="2666748" y="4136795"/>
              <a:ext cx="258273" cy="99608"/>
            </a:xfrm>
            <a:custGeom>
              <a:avLst/>
              <a:gdLst>
                <a:gd name="connsiteX0" fmla="*/ 258274 w 258273"/>
                <a:gd name="connsiteY0" fmla="*/ 98674 h 99608"/>
                <a:gd name="connsiteX1" fmla="*/ 216493 w 258273"/>
                <a:gd name="connsiteY1" fmla="*/ 52944 h 99608"/>
                <a:gd name="connsiteX2" fmla="*/ 155000 w 258273"/>
                <a:gd name="connsiteY2" fmla="*/ 42691 h 99608"/>
                <a:gd name="connsiteX3" fmla="*/ 65597 w 258273"/>
                <a:gd name="connsiteY3" fmla="*/ 119 h 99608"/>
                <a:gd name="connsiteX4" fmla="*/ 0 w 258273"/>
                <a:gd name="connsiteY4" fmla="*/ 119 h 99608"/>
                <a:gd name="connsiteX5" fmla="*/ 0 w 258273"/>
                <a:gd name="connsiteY5" fmla="*/ 99608 h 996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58273" h="99608">
                  <a:moveTo>
                    <a:pt x="258274" y="98674"/>
                  </a:moveTo>
                  <a:cubicBezTo>
                    <a:pt x="258274" y="52152"/>
                    <a:pt x="216493" y="52944"/>
                    <a:pt x="216493" y="52944"/>
                  </a:cubicBezTo>
                  <a:lnTo>
                    <a:pt x="155000" y="42691"/>
                  </a:lnTo>
                  <a:cubicBezTo>
                    <a:pt x="107898" y="-4422"/>
                    <a:pt x="82946" y="119"/>
                    <a:pt x="65597" y="119"/>
                  </a:cubicBezTo>
                  <a:lnTo>
                    <a:pt x="0" y="119"/>
                  </a:lnTo>
                  <a:lnTo>
                    <a:pt x="0" y="99608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18" name="Forma livre: Forma 1817">
              <a:extLst>
                <a:ext uri="{FF2B5EF4-FFF2-40B4-BE49-F238E27FC236}">
                  <a16:creationId xmlns:a16="http://schemas.microsoft.com/office/drawing/2014/main" id="{76A24B86-EA21-BB9E-472F-E7B8A8B90FB3}"/>
                </a:ext>
              </a:extLst>
            </p:cNvPr>
            <p:cNvSpPr/>
            <p:nvPr/>
          </p:nvSpPr>
          <p:spPr>
            <a:xfrm>
              <a:off x="2520417" y="4191146"/>
              <a:ext cx="126464" cy="45268"/>
            </a:xfrm>
            <a:custGeom>
              <a:avLst/>
              <a:gdLst>
                <a:gd name="connsiteX0" fmla="*/ 0 w 126464"/>
                <a:gd name="connsiteY0" fmla="*/ 45269 h 45268"/>
                <a:gd name="connsiteX1" fmla="*/ 0 w 126464"/>
                <a:gd name="connsiteY1" fmla="*/ 0 h 45268"/>
                <a:gd name="connsiteX2" fmla="*/ 126464 w 126464"/>
                <a:gd name="connsiteY2" fmla="*/ 0 h 452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6464" h="45268">
                  <a:moveTo>
                    <a:pt x="0" y="45269"/>
                  </a:moveTo>
                  <a:lnTo>
                    <a:pt x="0" y="0"/>
                  </a:lnTo>
                  <a:lnTo>
                    <a:pt x="126464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19" name="Forma livre: Forma 1818">
              <a:extLst>
                <a:ext uri="{FF2B5EF4-FFF2-40B4-BE49-F238E27FC236}">
                  <a16:creationId xmlns:a16="http://schemas.microsoft.com/office/drawing/2014/main" id="{E1E8A876-6CF0-1B92-164B-8F53BC924DBC}"/>
                </a:ext>
              </a:extLst>
            </p:cNvPr>
            <p:cNvSpPr/>
            <p:nvPr/>
          </p:nvSpPr>
          <p:spPr>
            <a:xfrm>
              <a:off x="2643652" y="4284900"/>
              <a:ext cx="149950" cy="1182"/>
            </a:xfrm>
            <a:custGeom>
              <a:avLst/>
              <a:gdLst>
                <a:gd name="connsiteX0" fmla="*/ 0 w 149950"/>
                <a:gd name="connsiteY0" fmla="*/ 0 h 1182"/>
                <a:gd name="connsiteX1" fmla="*/ 149950 w 149950"/>
                <a:gd name="connsiteY1" fmla="*/ 0 h 11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49950" h="1182">
                  <a:moveTo>
                    <a:pt x="0" y="0"/>
                  </a:moveTo>
                  <a:lnTo>
                    <a:pt x="14995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20" name="Forma livre: Forma 1819">
              <a:extLst>
                <a:ext uri="{FF2B5EF4-FFF2-40B4-BE49-F238E27FC236}">
                  <a16:creationId xmlns:a16="http://schemas.microsoft.com/office/drawing/2014/main" id="{EA6B46C3-DF0F-4825-164F-F93BDBD33C84}"/>
                </a:ext>
              </a:extLst>
            </p:cNvPr>
            <p:cNvSpPr/>
            <p:nvPr/>
          </p:nvSpPr>
          <p:spPr>
            <a:xfrm>
              <a:off x="2637976" y="4255312"/>
              <a:ext cx="161302" cy="1182"/>
            </a:xfrm>
            <a:custGeom>
              <a:avLst/>
              <a:gdLst>
                <a:gd name="connsiteX0" fmla="*/ 0 w 161302"/>
                <a:gd name="connsiteY0" fmla="*/ 0 h 1182"/>
                <a:gd name="connsiteX1" fmla="*/ 161303 w 161302"/>
                <a:gd name="connsiteY1" fmla="*/ 0 h 11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61302" h="1182">
                  <a:moveTo>
                    <a:pt x="0" y="0"/>
                  </a:moveTo>
                  <a:lnTo>
                    <a:pt x="161303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21" name="Forma livre: Forma 1820">
              <a:extLst>
                <a:ext uri="{FF2B5EF4-FFF2-40B4-BE49-F238E27FC236}">
                  <a16:creationId xmlns:a16="http://schemas.microsoft.com/office/drawing/2014/main" id="{3E90DABA-1D2E-1A70-3081-2529D056DAFA}"/>
                </a:ext>
              </a:extLst>
            </p:cNvPr>
            <p:cNvSpPr/>
            <p:nvPr/>
          </p:nvSpPr>
          <p:spPr>
            <a:xfrm>
              <a:off x="2886080" y="4215436"/>
              <a:ext cx="32638" cy="1182"/>
            </a:xfrm>
            <a:custGeom>
              <a:avLst/>
              <a:gdLst>
                <a:gd name="connsiteX0" fmla="*/ 0 w 32638"/>
                <a:gd name="connsiteY0" fmla="*/ 0 h 1182"/>
                <a:gd name="connsiteX1" fmla="*/ 32639 w 32638"/>
                <a:gd name="connsiteY1" fmla="*/ 0 h 11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2638" h="1182">
                  <a:moveTo>
                    <a:pt x="0" y="0"/>
                  </a:moveTo>
                  <a:lnTo>
                    <a:pt x="32639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822" name="Gráfico 14">
            <a:extLst>
              <a:ext uri="{FF2B5EF4-FFF2-40B4-BE49-F238E27FC236}">
                <a16:creationId xmlns:a16="http://schemas.microsoft.com/office/drawing/2014/main" id="{AFC082A1-1FB3-0BBF-0685-20116BFB90F4}"/>
              </a:ext>
            </a:extLst>
          </p:cNvPr>
          <p:cNvGrpSpPr/>
          <p:nvPr/>
        </p:nvGrpSpPr>
        <p:grpSpPr>
          <a:xfrm>
            <a:off x="2583814" y="5694881"/>
            <a:ext cx="273457" cy="273469"/>
            <a:chOff x="2583814" y="5694881"/>
            <a:chExt cx="273457" cy="273469"/>
          </a:xfrm>
          <a:noFill/>
        </p:grpSpPr>
        <p:sp>
          <p:nvSpPr>
            <p:cNvPr id="1823" name="Forma livre: Forma 1822">
              <a:extLst>
                <a:ext uri="{FF2B5EF4-FFF2-40B4-BE49-F238E27FC236}">
                  <a16:creationId xmlns:a16="http://schemas.microsoft.com/office/drawing/2014/main" id="{163F9371-8E02-E840-0E40-E8BED243A5CD}"/>
                </a:ext>
              </a:extLst>
            </p:cNvPr>
            <p:cNvSpPr/>
            <p:nvPr/>
          </p:nvSpPr>
          <p:spPr>
            <a:xfrm>
              <a:off x="2594675" y="5764097"/>
              <a:ext cx="251736" cy="85854"/>
            </a:xfrm>
            <a:custGeom>
              <a:avLst/>
              <a:gdLst>
                <a:gd name="connsiteX0" fmla="*/ 93797 w 251736"/>
                <a:gd name="connsiteY0" fmla="*/ 0 h 85854"/>
                <a:gd name="connsiteX1" fmla="*/ 17214 w 251736"/>
                <a:gd name="connsiteY1" fmla="*/ 0 h 85854"/>
                <a:gd name="connsiteX2" fmla="*/ 941 w 251736"/>
                <a:gd name="connsiteY2" fmla="*/ 18554 h 85854"/>
                <a:gd name="connsiteX3" fmla="*/ 4726 w 251736"/>
                <a:gd name="connsiteY3" fmla="*/ 34839 h 85854"/>
                <a:gd name="connsiteX4" fmla="*/ 40309 w 251736"/>
                <a:gd name="connsiteY4" fmla="*/ 70801 h 85854"/>
                <a:gd name="connsiteX5" fmla="*/ 125868 w 251736"/>
                <a:gd name="connsiteY5" fmla="*/ 85855 h 85854"/>
                <a:gd name="connsiteX6" fmla="*/ 211427 w 251736"/>
                <a:gd name="connsiteY6" fmla="*/ 70801 h 85854"/>
                <a:gd name="connsiteX7" fmla="*/ 247011 w 251736"/>
                <a:gd name="connsiteY7" fmla="*/ 34839 h 85854"/>
                <a:gd name="connsiteX8" fmla="*/ 250795 w 251736"/>
                <a:gd name="connsiteY8" fmla="*/ 18554 h 85854"/>
                <a:gd name="connsiteX9" fmla="*/ 234523 w 251736"/>
                <a:gd name="connsiteY9" fmla="*/ 0 h 85854"/>
                <a:gd name="connsiteX10" fmla="*/ 120535 w 251736"/>
                <a:gd name="connsiteY10" fmla="*/ 0 h 858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51736" h="85854">
                  <a:moveTo>
                    <a:pt x="93797" y="0"/>
                  </a:moveTo>
                  <a:lnTo>
                    <a:pt x="17214" y="0"/>
                  </a:lnTo>
                  <a:cubicBezTo>
                    <a:pt x="-5882" y="0"/>
                    <a:pt x="941" y="18554"/>
                    <a:pt x="941" y="18554"/>
                  </a:cubicBezTo>
                  <a:lnTo>
                    <a:pt x="4726" y="34839"/>
                  </a:lnTo>
                  <a:cubicBezTo>
                    <a:pt x="11573" y="65893"/>
                    <a:pt x="40309" y="70801"/>
                    <a:pt x="40309" y="70801"/>
                  </a:cubicBezTo>
                  <a:lnTo>
                    <a:pt x="125868" y="85855"/>
                  </a:lnTo>
                  <a:lnTo>
                    <a:pt x="211427" y="70801"/>
                  </a:lnTo>
                  <a:cubicBezTo>
                    <a:pt x="211427" y="70801"/>
                    <a:pt x="240176" y="65893"/>
                    <a:pt x="247011" y="34839"/>
                  </a:cubicBezTo>
                  <a:lnTo>
                    <a:pt x="250795" y="18554"/>
                  </a:lnTo>
                  <a:cubicBezTo>
                    <a:pt x="250795" y="18554"/>
                    <a:pt x="257619" y="0"/>
                    <a:pt x="234523" y="0"/>
                  </a:cubicBezTo>
                  <a:lnTo>
                    <a:pt x="120535" y="0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824" name="Gráfico 14">
              <a:extLst>
                <a:ext uri="{FF2B5EF4-FFF2-40B4-BE49-F238E27FC236}">
                  <a16:creationId xmlns:a16="http://schemas.microsoft.com/office/drawing/2014/main" id="{45433A63-AFE5-6EA8-F2BB-489E186E6C5C}"/>
                </a:ext>
              </a:extLst>
            </p:cNvPr>
            <p:cNvGrpSpPr/>
            <p:nvPr/>
          </p:nvGrpSpPr>
          <p:grpSpPr>
            <a:xfrm>
              <a:off x="2699139" y="5800733"/>
              <a:ext cx="42797" cy="25011"/>
              <a:chOff x="2699139" y="5800733"/>
              <a:chExt cx="42797" cy="25011"/>
            </a:xfrm>
          </p:grpSpPr>
          <p:sp>
            <p:nvSpPr>
              <p:cNvPr id="1825" name="Forma livre: Forma 1824">
                <a:extLst>
                  <a:ext uri="{FF2B5EF4-FFF2-40B4-BE49-F238E27FC236}">
                    <a16:creationId xmlns:a16="http://schemas.microsoft.com/office/drawing/2014/main" id="{B41450FE-8EB8-FF73-91B7-97509BB8DA64}"/>
                  </a:ext>
                </a:extLst>
              </p:cNvPr>
              <p:cNvSpPr/>
              <p:nvPr/>
            </p:nvSpPr>
            <p:spPr>
              <a:xfrm>
                <a:off x="2699139" y="5800733"/>
                <a:ext cx="1182" cy="25011"/>
              </a:xfrm>
              <a:custGeom>
                <a:avLst/>
                <a:gdLst>
                  <a:gd name="connsiteX0" fmla="*/ 0 w 1182"/>
                  <a:gd name="connsiteY0" fmla="*/ 0 h 25011"/>
                  <a:gd name="connsiteX1" fmla="*/ 0 w 1182"/>
                  <a:gd name="connsiteY1" fmla="*/ 25011 h 250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82" h="25011">
                    <a:moveTo>
                      <a:pt x="0" y="0"/>
                    </a:moveTo>
                    <a:lnTo>
                      <a:pt x="0" y="25011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826" name="Forma livre: Forma 1825">
                <a:extLst>
                  <a:ext uri="{FF2B5EF4-FFF2-40B4-BE49-F238E27FC236}">
                    <a16:creationId xmlns:a16="http://schemas.microsoft.com/office/drawing/2014/main" id="{11F8A1C4-D384-9A86-D23B-216B262351DF}"/>
                  </a:ext>
                </a:extLst>
              </p:cNvPr>
              <p:cNvSpPr/>
              <p:nvPr/>
            </p:nvSpPr>
            <p:spPr>
              <a:xfrm>
                <a:off x="2720543" y="5800733"/>
                <a:ext cx="1182" cy="25011"/>
              </a:xfrm>
              <a:custGeom>
                <a:avLst/>
                <a:gdLst>
                  <a:gd name="connsiteX0" fmla="*/ 0 w 1182"/>
                  <a:gd name="connsiteY0" fmla="*/ 0 h 25011"/>
                  <a:gd name="connsiteX1" fmla="*/ 0 w 1182"/>
                  <a:gd name="connsiteY1" fmla="*/ 25011 h 250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82" h="25011">
                    <a:moveTo>
                      <a:pt x="0" y="0"/>
                    </a:moveTo>
                    <a:lnTo>
                      <a:pt x="0" y="25011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827" name="Forma livre: Forma 1826">
                <a:extLst>
                  <a:ext uri="{FF2B5EF4-FFF2-40B4-BE49-F238E27FC236}">
                    <a16:creationId xmlns:a16="http://schemas.microsoft.com/office/drawing/2014/main" id="{DA34F07C-6A16-5D5A-B215-4B745846BF94}"/>
                  </a:ext>
                </a:extLst>
              </p:cNvPr>
              <p:cNvSpPr/>
              <p:nvPr/>
            </p:nvSpPr>
            <p:spPr>
              <a:xfrm>
                <a:off x="2741936" y="5800733"/>
                <a:ext cx="1182" cy="25011"/>
              </a:xfrm>
              <a:custGeom>
                <a:avLst/>
                <a:gdLst>
                  <a:gd name="connsiteX0" fmla="*/ 0 w 1182"/>
                  <a:gd name="connsiteY0" fmla="*/ 0 h 25011"/>
                  <a:gd name="connsiteX1" fmla="*/ 0 w 1182"/>
                  <a:gd name="connsiteY1" fmla="*/ 25011 h 250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82" h="25011">
                    <a:moveTo>
                      <a:pt x="0" y="0"/>
                    </a:moveTo>
                    <a:lnTo>
                      <a:pt x="0" y="25011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828" name="Gráfico 14">
              <a:extLst>
                <a:ext uri="{FF2B5EF4-FFF2-40B4-BE49-F238E27FC236}">
                  <a16:creationId xmlns:a16="http://schemas.microsoft.com/office/drawing/2014/main" id="{797E5DC8-5243-9054-EDDB-D9E44D09DCD1}"/>
                </a:ext>
              </a:extLst>
            </p:cNvPr>
            <p:cNvGrpSpPr/>
            <p:nvPr/>
          </p:nvGrpSpPr>
          <p:grpSpPr>
            <a:xfrm>
              <a:off x="2622342" y="5787547"/>
              <a:ext cx="196389" cy="29658"/>
              <a:chOff x="2622342" y="5787547"/>
              <a:chExt cx="196389" cy="29658"/>
            </a:xfrm>
            <a:noFill/>
          </p:grpSpPr>
          <p:sp>
            <p:nvSpPr>
              <p:cNvPr id="1829" name="Forma livre: Forma 1828">
                <a:extLst>
                  <a:ext uri="{FF2B5EF4-FFF2-40B4-BE49-F238E27FC236}">
                    <a16:creationId xmlns:a16="http://schemas.microsoft.com/office/drawing/2014/main" id="{58E668E8-1A82-25EB-F80B-CBF349C761EC}"/>
                  </a:ext>
                </a:extLst>
              </p:cNvPr>
              <p:cNvSpPr/>
              <p:nvPr/>
            </p:nvSpPr>
            <p:spPr>
              <a:xfrm>
                <a:off x="2622342" y="5787547"/>
                <a:ext cx="52151" cy="29658"/>
              </a:xfrm>
              <a:custGeom>
                <a:avLst/>
                <a:gdLst>
                  <a:gd name="connsiteX0" fmla="*/ 24822 w 52151"/>
                  <a:gd name="connsiteY0" fmla="*/ 0 h 29658"/>
                  <a:gd name="connsiteX1" fmla="*/ 0 w 52151"/>
                  <a:gd name="connsiteY1" fmla="*/ 0 h 29658"/>
                  <a:gd name="connsiteX2" fmla="*/ 1466 w 52151"/>
                  <a:gd name="connsiteY2" fmla="*/ 6339 h 29658"/>
                  <a:gd name="connsiteX3" fmla="*/ 18365 w 52151"/>
                  <a:gd name="connsiteY3" fmla="*/ 24278 h 29658"/>
                  <a:gd name="connsiteX4" fmla="*/ 52151 w 52151"/>
                  <a:gd name="connsiteY4" fmla="*/ 29659 h 29658"/>
                  <a:gd name="connsiteX5" fmla="*/ 52151 w 52151"/>
                  <a:gd name="connsiteY5" fmla="*/ 0 h 296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52151" h="29658">
                    <a:moveTo>
                      <a:pt x="24822" y="0"/>
                    </a:moveTo>
                    <a:lnTo>
                      <a:pt x="0" y="0"/>
                    </a:lnTo>
                    <a:lnTo>
                      <a:pt x="1466" y="6339"/>
                    </a:lnTo>
                    <a:cubicBezTo>
                      <a:pt x="4529" y="20210"/>
                      <a:pt x="15645" y="23640"/>
                      <a:pt x="18365" y="24278"/>
                    </a:cubicBezTo>
                    <a:lnTo>
                      <a:pt x="52151" y="29659"/>
                    </a:lnTo>
                    <a:lnTo>
                      <a:pt x="52151" y="0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830" name="Forma livre: Forma 1829">
                <a:extLst>
                  <a:ext uri="{FF2B5EF4-FFF2-40B4-BE49-F238E27FC236}">
                    <a16:creationId xmlns:a16="http://schemas.microsoft.com/office/drawing/2014/main" id="{F8EE9FD9-51DD-00EF-59D6-5794DFA13D5E}"/>
                  </a:ext>
                </a:extLst>
              </p:cNvPr>
              <p:cNvSpPr/>
              <p:nvPr/>
            </p:nvSpPr>
            <p:spPr>
              <a:xfrm>
                <a:off x="2766581" y="5787547"/>
                <a:ext cx="52151" cy="29658"/>
              </a:xfrm>
              <a:custGeom>
                <a:avLst/>
                <a:gdLst>
                  <a:gd name="connsiteX0" fmla="*/ 27329 w 52151"/>
                  <a:gd name="connsiteY0" fmla="*/ 0 h 29658"/>
                  <a:gd name="connsiteX1" fmla="*/ 52151 w 52151"/>
                  <a:gd name="connsiteY1" fmla="*/ 0 h 29658"/>
                  <a:gd name="connsiteX2" fmla="*/ 50685 w 52151"/>
                  <a:gd name="connsiteY2" fmla="*/ 6339 h 29658"/>
                  <a:gd name="connsiteX3" fmla="*/ 33786 w 52151"/>
                  <a:gd name="connsiteY3" fmla="*/ 24278 h 29658"/>
                  <a:gd name="connsiteX4" fmla="*/ 0 w 52151"/>
                  <a:gd name="connsiteY4" fmla="*/ 29659 h 29658"/>
                  <a:gd name="connsiteX5" fmla="*/ 0 w 52151"/>
                  <a:gd name="connsiteY5" fmla="*/ 0 h 296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52151" h="29658">
                    <a:moveTo>
                      <a:pt x="27329" y="0"/>
                    </a:moveTo>
                    <a:lnTo>
                      <a:pt x="52151" y="0"/>
                    </a:lnTo>
                    <a:lnTo>
                      <a:pt x="50685" y="6339"/>
                    </a:lnTo>
                    <a:cubicBezTo>
                      <a:pt x="47622" y="20210"/>
                      <a:pt x="36506" y="23640"/>
                      <a:pt x="33786" y="24278"/>
                    </a:cubicBezTo>
                    <a:lnTo>
                      <a:pt x="0" y="29659"/>
                    </a:lnTo>
                    <a:lnTo>
                      <a:pt x="0" y="0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831" name="Forma livre: Forma 1830">
              <a:extLst>
                <a:ext uri="{FF2B5EF4-FFF2-40B4-BE49-F238E27FC236}">
                  <a16:creationId xmlns:a16="http://schemas.microsoft.com/office/drawing/2014/main" id="{329E6AFB-6545-0087-4B2F-7B8BB57A5C1F}"/>
                </a:ext>
              </a:extLst>
            </p:cNvPr>
            <p:cNvSpPr/>
            <p:nvPr/>
          </p:nvSpPr>
          <p:spPr>
            <a:xfrm>
              <a:off x="2657110" y="5719597"/>
              <a:ext cx="126854" cy="44500"/>
            </a:xfrm>
            <a:custGeom>
              <a:avLst/>
              <a:gdLst>
                <a:gd name="connsiteX0" fmla="*/ 126855 w 126854"/>
                <a:gd name="connsiteY0" fmla="*/ 44500 h 44500"/>
                <a:gd name="connsiteX1" fmla="*/ 100471 w 126854"/>
                <a:gd name="connsiteY1" fmla="*/ 0 h 44500"/>
                <a:gd name="connsiteX2" fmla="*/ 26383 w 126854"/>
                <a:gd name="connsiteY2" fmla="*/ 0 h 44500"/>
                <a:gd name="connsiteX3" fmla="*/ 0 w 126854"/>
                <a:gd name="connsiteY3" fmla="*/ 44500 h 44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6854" h="44500">
                  <a:moveTo>
                    <a:pt x="126855" y="44500"/>
                  </a:moveTo>
                  <a:lnTo>
                    <a:pt x="100471" y="0"/>
                  </a:lnTo>
                  <a:lnTo>
                    <a:pt x="26383" y="0"/>
                  </a:lnTo>
                  <a:lnTo>
                    <a:pt x="0" y="44500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832" name="Gráfico 14">
              <a:extLst>
                <a:ext uri="{FF2B5EF4-FFF2-40B4-BE49-F238E27FC236}">
                  <a16:creationId xmlns:a16="http://schemas.microsoft.com/office/drawing/2014/main" id="{62D42F51-D87F-4974-EE0B-20F31A63FF9F}"/>
                </a:ext>
              </a:extLst>
            </p:cNvPr>
            <p:cNvGrpSpPr/>
            <p:nvPr/>
          </p:nvGrpSpPr>
          <p:grpSpPr>
            <a:xfrm>
              <a:off x="2637385" y="5850283"/>
              <a:ext cx="166305" cy="75057"/>
              <a:chOff x="2637385" y="5850283"/>
              <a:chExt cx="166305" cy="75057"/>
            </a:xfrm>
          </p:grpSpPr>
          <p:sp>
            <p:nvSpPr>
              <p:cNvPr id="1833" name="Forma livre: Forma 1832">
                <a:extLst>
                  <a:ext uri="{FF2B5EF4-FFF2-40B4-BE49-F238E27FC236}">
                    <a16:creationId xmlns:a16="http://schemas.microsoft.com/office/drawing/2014/main" id="{AA8C928C-D63B-2D1A-08EE-09BB152B2DED}"/>
                  </a:ext>
                </a:extLst>
              </p:cNvPr>
              <p:cNvSpPr/>
              <p:nvPr/>
            </p:nvSpPr>
            <p:spPr>
              <a:xfrm>
                <a:off x="2637385" y="5894227"/>
                <a:ext cx="46747" cy="31113"/>
              </a:xfrm>
              <a:custGeom>
                <a:avLst/>
                <a:gdLst>
                  <a:gd name="connsiteX0" fmla="*/ 46747 w 46747"/>
                  <a:gd name="connsiteY0" fmla="*/ 0 h 31113"/>
                  <a:gd name="connsiteX1" fmla="*/ 0 w 46747"/>
                  <a:gd name="connsiteY1" fmla="*/ 31113 h 311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6747" h="31113">
                    <a:moveTo>
                      <a:pt x="46747" y="0"/>
                    </a:moveTo>
                    <a:lnTo>
                      <a:pt x="0" y="31113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834" name="Forma livre: Forma 1833">
                <a:extLst>
                  <a:ext uri="{FF2B5EF4-FFF2-40B4-BE49-F238E27FC236}">
                    <a16:creationId xmlns:a16="http://schemas.microsoft.com/office/drawing/2014/main" id="{FAAEE7AB-7ED3-79C9-82E4-B01B807C2EF9}"/>
                  </a:ext>
                </a:extLst>
              </p:cNvPr>
              <p:cNvSpPr/>
              <p:nvPr/>
            </p:nvSpPr>
            <p:spPr>
              <a:xfrm>
                <a:off x="2756955" y="5894227"/>
                <a:ext cx="46735" cy="31113"/>
              </a:xfrm>
              <a:custGeom>
                <a:avLst/>
                <a:gdLst>
                  <a:gd name="connsiteX0" fmla="*/ 0 w 46735"/>
                  <a:gd name="connsiteY0" fmla="*/ 0 h 31113"/>
                  <a:gd name="connsiteX1" fmla="*/ 46735 w 46735"/>
                  <a:gd name="connsiteY1" fmla="*/ 31113 h 311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6735" h="31113">
                    <a:moveTo>
                      <a:pt x="0" y="0"/>
                    </a:moveTo>
                    <a:lnTo>
                      <a:pt x="46735" y="31113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835" name="Forma livre: Forma 1834">
                <a:extLst>
                  <a:ext uri="{FF2B5EF4-FFF2-40B4-BE49-F238E27FC236}">
                    <a16:creationId xmlns:a16="http://schemas.microsoft.com/office/drawing/2014/main" id="{CB928A15-6A38-9A0B-51A9-B92AA8894B66}"/>
                  </a:ext>
                </a:extLst>
              </p:cNvPr>
              <p:cNvSpPr/>
              <p:nvPr/>
            </p:nvSpPr>
            <p:spPr>
              <a:xfrm>
                <a:off x="2637385" y="5850448"/>
                <a:ext cx="41543" cy="27210"/>
              </a:xfrm>
              <a:custGeom>
                <a:avLst/>
                <a:gdLst>
                  <a:gd name="connsiteX0" fmla="*/ 41544 w 41543"/>
                  <a:gd name="connsiteY0" fmla="*/ 0 h 27210"/>
                  <a:gd name="connsiteX1" fmla="*/ 0 w 41543"/>
                  <a:gd name="connsiteY1" fmla="*/ 27211 h 272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1543" h="27210">
                    <a:moveTo>
                      <a:pt x="41544" y="0"/>
                    </a:moveTo>
                    <a:lnTo>
                      <a:pt x="0" y="27211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836" name="Forma livre: Forma 1835">
                <a:extLst>
                  <a:ext uri="{FF2B5EF4-FFF2-40B4-BE49-F238E27FC236}">
                    <a16:creationId xmlns:a16="http://schemas.microsoft.com/office/drawing/2014/main" id="{4FD297D6-42BB-93EC-5522-02B7033AD964}"/>
                  </a:ext>
                </a:extLst>
              </p:cNvPr>
              <p:cNvSpPr/>
              <p:nvPr/>
            </p:nvSpPr>
            <p:spPr>
              <a:xfrm>
                <a:off x="2761898" y="5850283"/>
                <a:ext cx="41792" cy="27376"/>
              </a:xfrm>
              <a:custGeom>
                <a:avLst/>
                <a:gdLst>
                  <a:gd name="connsiteX0" fmla="*/ 0 w 41792"/>
                  <a:gd name="connsiteY0" fmla="*/ 0 h 27376"/>
                  <a:gd name="connsiteX1" fmla="*/ 41792 w 41792"/>
                  <a:gd name="connsiteY1" fmla="*/ 27377 h 273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1792" h="27376">
                    <a:moveTo>
                      <a:pt x="0" y="0"/>
                    </a:moveTo>
                    <a:lnTo>
                      <a:pt x="41792" y="27377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837" name="Gráfico 14">
              <a:extLst>
                <a:ext uri="{FF2B5EF4-FFF2-40B4-BE49-F238E27FC236}">
                  <a16:creationId xmlns:a16="http://schemas.microsoft.com/office/drawing/2014/main" id="{4B59CEB9-B3D9-5624-4CE5-CC9D446689FA}"/>
                </a:ext>
              </a:extLst>
            </p:cNvPr>
            <p:cNvGrpSpPr/>
            <p:nvPr/>
          </p:nvGrpSpPr>
          <p:grpSpPr>
            <a:xfrm>
              <a:off x="2609523" y="5694881"/>
              <a:ext cx="222039" cy="44724"/>
              <a:chOff x="2609523" y="5694881"/>
              <a:chExt cx="222039" cy="44724"/>
            </a:xfrm>
            <a:noFill/>
          </p:grpSpPr>
          <p:sp>
            <p:nvSpPr>
              <p:cNvPr id="1838" name="Forma livre: Forma 1837">
                <a:extLst>
                  <a:ext uri="{FF2B5EF4-FFF2-40B4-BE49-F238E27FC236}">
                    <a16:creationId xmlns:a16="http://schemas.microsoft.com/office/drawing/2014/main" id="{F1F95C20-3517-2785-5D51-EA2682A10B2D}"/>
                  </a:ext>
                </a:extLst>
              </p:cNvPr>
              <p:cNvSpPr/>
              <p:nvPr/>
            </p:nvSpPr>
            <p:spPr>
              <a:xfrm>
                <a:off x="2609523" y="5694881"/>
                <a:ext cx="58158" cy="44724"/>
              </a:xfrm>
              <a:custGeom>
                <a:avLst/>
                <a:gdLst>
                  <a:gd name="connsiteX0" fmla="*/ 58159 w 58158"/>
                  <a:gd name="connsiteY0" fmla="*/ 44725 h 44724"/>
                  <a:gd name="connsiteX1" fmla="*/ 40952 w 58158"/>
                  <a:gd name="connsiteY1" fmla="*/ 0 h 44724"/>
                  <a:gd name="connsiteX2" fmla="*/ 0 w 58158"/>
                  <a:gd name="connsiteY2" fmla="*/ 0 h 447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58158" h="44724">
                    <a:moveTo>
                      <a:pt x="58159" y="44725"/>
                    </a:moveTo>
                    <a:lnTo>
                      <a:pt x="40952" y="0"/>
                    </a:lnTo>
                    <a:lnTo>
                      <a:pt x="0" y="0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839" name="Forma livre: Forma 1838">
                <a:extLst>
                  <a:ext uri="{FF2B5EF4-FFF2-40B4-BE49-F238E27FC236}">
                    <a16:creationId xmlns:a16="http://schemas.microsoft.com/office/drawing/2014/main" id="{87BB2981-F430-CA21-C468-E6151CBA6696}"/>
                  </a:ext>
                </a:extLst>
              </p:cNvPr>
              <p:cNvSpPr/>
              <p:nvPr/>
            </p:nvSpPr>
            <p:spPr>
              <a:xfrm>
                <a:off x="2773404" y="5694881"/>
                <a:ext cx="58158" cy="44724"/>
              </a:xfrm>
              <a:custGeom>
                <a:avLst/>
                <a:gdLst>
                  <a:gd name="connsiteX0" fmla="*/ 0 w 58158"/>
                  <a:gd name="connsiteY0" fmla="*/ 44725 h 44724"/>
                  <a:gd name="connsiteX1" fmla="*/ 17195 w 58158"/>
                  <a:gd name="connsiteY1" fmla="*/ 0 h 44724"/>
                  <a:gd name="connsiteX2" fmla="*/ 58159 w 58158"/>
                  <a:gd name="connsiteY2" fmla="*/ 0 h 447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58158" h="44724">
                    <a:moveTo>
                      <a:pt x="0" y="44725"/>
                    </a:moveTo>
                    <a:lnTo>
                      <a:pt x="17195" y="0"/>
                    </a:lnTo>
                    <a:lnTo>
                      <a:pt x="58159" y="0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840" name="Forma livre: Forma 1839">
              <a:extLst>
                <a:ext uri="{FF2B5EF4-FFF2-40B4-BE49-F238E27FC236}">
                  <a16:creationId xmlns:a16="http://schemas.microsoft.com/office/drawing/2014/main" id="{DBBBFDB1-37C3-2FE1-F4C9-1DC2AC8001EB}"/>
                </a:ext>
              </a:extLst>
            </p:cNvPr>
            <p:cNvSpPr/>
            <p:nvPr/>
          </p:nvSpPr>
          <p:spPr>
            <a:xfrm>
              <a:off x="2678822" y="5844346"/>
              <a:ext cx="83442" cy="64875"/>
            </a:xfrm>
            <a:custGeom>
              <a:avLst/>
              <a:gdLst>
                <a:gd name="connsiteX0" fmla="*/ 0 w 83442"/>
                <a:gd name="connsiteY0" fmla="*/ 0 h 64875"/>
                <a:gd name="connsiteX1" fmla="*/ 14215 w 83442"/>
                <a:gd name="connsiteY1" fmla="*/ 64876 h 64875"/>
                <a:gd name="connsiteX2" fmla="*/ 69216 w 83442"/>
                <a:gd name="connsiteY2" fmla="*/ 64876 h 64875"/>
                <a:gd name="connsiteX3" fmla="*/ 83442 w 83442"/>
                <a:gd name="connsiteY3" fmla="*/ 0 h 64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3442" h="64875">
                  <a:moveTo>
                    <a:pt x="0" y="0"/>
                  </a:moveTo>
                  <a:lnTo>
                    <a:pt x="14215" y="64876"/>
                  </a:lnTo>
                  <a:lnTo>
                    <a:pt x="69216" y="64876"/>
                  </a:lnTo>
                  <a:lnTo>
                    <a:pt x="83442" y="0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841" name="Gráfico 14">
              <a:extLst>
                <a:ext uri="{FF2B5EF4-FFF2-40B4-BE49-F238E27FC236}">
                  <a16:creationId xmlns:a16="http://schemas.microsoft.com/office/drawing/2014/main" id="{2DA6FDA3-7CB1-DA3E-D575-D0C6C1DCE474}"/>
                </a:ext>
              </a:extLst>
            </p:cNvPr>
            <p:cNvGrpSpPr/>
            <p:nvPr/>
          </p:nvGrpSpPr>
          <p:grpSpPr>
            <a:xfrm>
              <a:off x="2583814" y="5840940"/>
              <a:ext cx="273457" cy="127410"/>
              <a:chOff x="2583814" y="5840940"/>
              <a:chExt cx="273457" cy="127410"/>
            </a:xfrm>
            <a:noFill/>
          </p:grpSpPr>
          <p:grpSp>
            <p:nvGrpSpPr>
              <p:cNvPr id="1842" name="Gráfico 14">
                <a:extLst>
                  <a:ext uri="{FF2B5EF4-FFF2-40B4-BE49-F238E27FC236}">
                    <a16:creationId xmlns:a16="http://schemas.microsoft.com/office/drawing/2014/main" id="{B8F3BFA5-113B-1BE0-A225-3FE66C61E30A}"/>
                  </a:ext>
                </a:extLst>
              </p:cNvPr>
              <p:cNvGrpSpPr/>
              <p:nvPr/>
            </p:nvGrpSpPr>
            <p:grpSpPr>
              <a:xfrm>
                <a:off x="2583814" y="5840952"/>
                <a:ext cx="50803" cy="127398"/>
                <a:chOff x="2583814" y="5840952"/>
                <a:chExt cx="50803" cy="127398"/>
              </a:xfrm>
              <a:noFill/>
            </p:grpSpPr>
            <p:sp>
              <p:nvSpPr>
                <p:cNvPr id="1843" name="Forma livre: Forma 1842">
                  <a:extLst>
                    <a:ext uri="{FF2B5EF4-FFF2-40B4-BE49-F238E27FC236}">
                      <a16:creationId xmlns:a16="http://schemas.microsoft.com/office/drawing/2014/main" id="{2299B7FC-811F-8BDA-2430-A3586DFC0C4F}"/>
                    </a:ext>
                  </a:extLst>
                </p:cNvPr>
                <p:cNvSpPr/>
                <p:nvPr/>
              </p:nvSpPr>
              <p:spPr>
                <a:xfrm>
                  <a:off x="2583814" y="5840952"/>
                  <a:ext cx="50803" cy="127398"/>
                </a:xfrm>
                <a:custGeom>
                  <a:avLst/>
                  <a:gdLst>
                    <a:gd name="connsiteX0" fmla="*/ 50803 w 50803"/>
                    <a:gd name="connsiteY0" fmla="*/ 15314 h 127398"/>
                    <a:gd name="connsiteX1" fmla="*/ 50803 w 50803"/>
                    <a:gd name="connsiteY1" fmla="*/ 118080 h 127398"/>
                    <a:gd name="connsiteX2" fmla="*/ 41425 w 50803"/>
                    <a:gd name="connsiteY2" fmla="*/ 127398 h 127398"/>
                    <a:gd name="connsiteX3" fmla="*/ 9378 w 50803"/>
                    <a:gd name="connsiteY3" fmla="*/ 127398 h 127398"/>
                    <a:gd name="connsiteX4" fmla="*/ 0 w 50803"/>
                    <a:gd name="connsiteY4" fmla="*/ 118080 h 127398"/>
                    <a:gd name="connsiteX5" fmla="*/ 0 w 50803"/>
                    <a:gd name="connsiteY5" fmla="*/ 9319 h 127398"/>
                    <a:gd name="connsiteX6" fmla="*/ 9378 w 50803"/>
                    <a:gd name="connsiteY6" fmla="*/ 0 h 127398"/>
                    <a:gd name="connsiteX7" fmla="*/ 18921 w 50803"/>
                    <a:gd name="connsiteY7" fmla="*/ 0 h 1273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50803" h="127398">
                      <a:moveTo>
                        <a:pt x="50803" y="15314"/>
                      </a:moveTo>
                      <a:lnTo>
                        <a:pt x="50803" y="118080"/>
                      </a:lnTo>
                      <a:cubicBezTo>
                        <a:pt x="50803" y="123212"/>
                        <a:pt x="46582" y="127398"/>
                        <a:pt x="41425" y="127398"/>
                      </a:cubicBezTo>
                      <a:lnTo>
                        <a:pt x="9378" y="127398"/>
                      </a:lnTo>
                      <a:cubicBezTo>
                        <a:pt x="4222" y="127398"/>
                        <a:pt x="0" y="123200"/>
                        <a:pt x="0" y="118080"/>
                      </a:cubicBezTo>
                      <a:lnTo>
                        <a:pt x="0" y="9319"/>
                      </a:lnTo>
                      <a:cubicBezTo>
                        <a:pt x="0" y="4198"/>
                        <a:pt x="4222" y="0"/>
                        <a:pt x="9378" y="0"/>
                      </a:cubicBezTo>
                      <a:lnTo>
                        <a:pt x="18921" y="0"/>
                      </a:ln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grpSp>
              <p:nvGrpSpPr>
                <p:cNvPr id="1844" name="Gráfico 14">
                  <a:extLst>
                    <a:ext uri="{FF2B5EF4-FFF2-40B4-BE49-F238E27FC236}">
                      <a16:creationId xmlns:a16="http://schemas.microsoft.com/office/drawing/2014/main" id="{8D7B6D75-15D8-F2E3-4283-68E6593B57FB}"/>
                    </a:ext>
                  </a:extLst>
                </p:cNvPr>
                <p:cNvGrpSpPr/>
                <p:nvPr/>
              </p:nvGrpSpPr>
              <p:grpSpPr>
                <a:xfrm>
                  <a:off x="2585766" y="5869310"/>
                  <a:ext cx="46900" cy="70658"/>
                  <a:chOff x="2585766" y="5869310"/>
                  <a:chExt cx="46900" cy="70658"/>
                </a:xfrm>
              </p:grpSpPr>
              <p:grpSp>
                <p:nvGrpSpPr>
                  <p:cNvPr id="1845" name="Gráfico 14">
                    <a:extLst>
                      <a:ext uri="{FF2B5EF4-FFF2-40B4-BE49-F238E27FC236}">
                        <a16:creationId xmlns:a16="http://schemas.microsoft.com/office/drawing/2014/main" id="{A062A645-91FE-6478-16C7-4F8600CED381}"/>
                      </a:ext>
                    </a:extLst>
                  </p:cNvPr>
                  <p:cNvGrpSpPr/>
                  <p:nvPr/>
                </p:nvGrpSpPr>
                <p:grpSpPr>
                  <a:xfrm>
                    <a:off x="2585766" y="5869310"/>
                    <a:ext cx="14072" cy="70658"/>
                    <a:chOff x="2585766" y="5869310"/>
                    <a:chExt cx="14072" cy="70658"/>
                  </a:xfrm>
                </p:grpSpPr>
                <p:sp>
                  <p:nvSpPr>
                    <p:cNvPr id="1846" name="Forma livre: Forma 1845">
                      <a:extLst>
                        <a:ext uri="{FF2B5EF4-FFF2-40B4-BE49-F238E27FC236}">
                          <a16:creationId xmlns:a16="http://schemas.microsoft.com/office/drawing/2014/main" id="{FC642BA7-6781-EF03-B6B0-14050BCDB5B7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2585766" y="5939969"/>
                      <a:ext cx="14072" cy="1182"/>
                    </a:xfrm>
                    <a:custGeom>
                      <a:avLst/>
                      <a:gdLst>
                        <a:gd name="connsiteX0" fmla="*/ 0 w 14072"/>
                        <a:gd name="connsiteY0" fmla="*/ 0 h 1182"/>
                        <a:gd name="connsiteX1" fmla="*/ 14073 w 14072"/>
                        <a:gd name="connsiteY1" fmla="*/ 0 h 1182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14072" h="1182">
                          <a:moveTo>
                            <a:pt x="0" y="0"/>
                          </a:moveTo>
                          <a:lnTo>
                            <a:pt x="14073" y="0"/>
                          </a:lnTo>
                        </a:path>
                      </a:pathLst>
                    </a:custGeom>
                    <a:ln w="6350" cap="flat">
                      <a:solidFill>
                        <a:schemeClr val="accent2"/>
                      </a:solidFill>
                      <a:prstDash val="solid"/>
                      <a:round/>
                    </a:ln>
                  </p:spPr>
                  <p:txBody>
                    <a:bodyPr rtlCol="0" anchor="ctr"/>
                    <a:lstStyle/>
                    <a:p>
                      <a:endParaRPr lang="pt-PT"/>
                    </a:p>
                  </p:txBody>
                </p:sp>
                <p:sp>
                  <p:nvSpPr>
                    <p:cNvPr id="1847" name="Forma livre: Forma 1846">
                      <a:extLst>
                        <a:ext uri="{FF2B5EF4-FFF2-40B4-BE49-F238E27FC236}">
                          <a16:creationId xmlns:a16="http://schemas.microsoft.com/office/drawing/2014/main" id="{2E641C4F-D048-6898-E87E-CA710EFCB5B0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2585766" y="5904646"/>
                      <a:ext cx="14072" cy="1182"/>
                    </a:xfrm>
                    <a:custGeom>
                      <a:avLst/>
                      <a:gdLst>
                        <a:gd name="connsiteX0" fmla="*/ 0 w 14072"/>
                        <a:gd name="connsiteY0" fmla="*/ 0 h 1182"/>
                        <a:gd name="connsiteX1" fmla="*/ 14073 w 14072"/>
                        <a:gd name="connsiteY1" fmla="*/ 0 h 1182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14072" h="1182">
                          <a:moveTo>
                            <a:pt x="0" y="0"/>
                          </a:moveTo>
                          <a:lnTo>
                            <a:pt x="14073" y="0"/>
                          </a:lnTo>
                        </a:path>
                      </a:pathLst>
                    </a:custGeom>
                    <a:ln w="6350" cap="flat">
                      <a:solidFill>
                        <a:schemeClr val="accent2"/>
                      </a:solidFill>
                      <a:prstDash val="solid"/>
                      <a:round/>
                    </a:ln>
                  </p:spPr>
                  <p:txBody>
                    <a:bodyPr rtlCol="0" anchor="ctr"/>
                    <a:lstStyle/>
                    <a:p>
                      <a:endParaRPr lang="pt-PT"/>
                    </a:p>
                  </p:txBody>
                </p:sp>
                <p:sp>
                  <p:nvSpPr>
                    <p:cNvPr id="1848" name="Forma livre: Forma 1847">
                      <a:extLst>
                        <a:ext uri="{FF2B5EF4-FFF2-40B4-BE49-F238E27FC236}">
                          <a16:creationId xmlns:a16="http://schemas.microsoft.com/office/drawing/2014/main" id="{BBB5FC80-2BC9-ADE3-DF84-D61623E8B878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2585766" y="5869310"/>
                      <a:ext cx="14072" cy="1182"/>
                    </a:xfrm>
                    <a:custGeom>
                      <a:avLst/>
                      <a:gdLst>
                        <a:gd name="connsiteX0" fmla="*/ 0 w 14072"/>
                        <a:gd name="connsiteY0" fmla="*/ 0 h 1182"/>
                        <a:gd name="connsiteX1" fmla="*/ 14073 w 14072"/>
                        <a:gd name="connsiteY1" fmla="*/ 0 h 1182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14072" h="1182">
                          <a:moveTo>
                            <a:pt x="0" y="0"/>
                          </a:moveTo>
                          <a:lnTo>
                            <a:pt x="14073" y="0"/>
                          </a:lnTo>
                        </a:path>
                      </a:pathLst>
                    </a:custGeom>
                    <a:ln w="6350" cap="flat">
                      <a:solidFill>
                        <a:schemeClr val="accent2"/>
                      </a:solidFill>
                      <a:prstDash val="solid"/>
                      <a:round/>
                    </a:ln>
                  </p:spPr>
                  <p:txBody>
                    <a:bodyPr rtlCol="0" anchor="ctr"/>
                    <a:lstStyle/>
                    <a:p>
                      <a:endParaRPr lang="pt-PT"/>
                    </a:p>
                  </p:txBody>
                </p:sp>
              </p:grpSp>
              <p:grpSp>
                <p:nvGrpSpPr>
                  <p:cNvPr id="1849" name="Gráfico 14">
                    <a:extLst>
                      <a:ext uri="{FF2B5EF4-FFF2-40B4-BE49-F238E27FC236}">
                        <a16:creationId xmlns:a16="http://schemas.microsoft.com/office/drawing/2014/main" id="{8107B4EF-E2A7-AA63-638F-FFFDE7D157D9}"/>
                      </a:ext>
                    </a:extLst>
                  </p:cNvPr>
                  <p:cNvGrpSpPr/>
                  <p:nvPr/>
                </p:nvGrpSpPr>
                <p:grpSpPr>
                  <a:xfrm>
                    <a:off x="2618594" y="5869310"/>
                    <a:ext cx="14072" cy="70658"/>
                    <a:chOff x="2618594" y="5869310"/>
                    <a:chExt cx="14072" cy="70658"/>
                  </a:xfrm>
                </p:grpSpPr>
                <p:sp>
                  <p:nvSpPr>
                    <p:cNvPr id="1850" name="Forma livre: Forma 1849">
                      <a:extLst>
                        <a:ext uri="{FF2B5EF4-FFF2-40B4-BE49-F238E27FC236}">
                          <a16:creationId xmlns:a16="http://schemas.microsoft.com/office/drawing/2014/main" id="{C600711A-D325-DE67-9CB9-D3AAF45556FF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2618594" y="5939969"/>
                      <a:ext cx="14072" cy="1182"/>
                    </a:xfrm>
                    <a:custGeom>
                      <a:avLst/>
                      <a:gdLst>
                        <a:gd name="connsiteX0" fmla="*/ 0 w 14072"/>
                        <a:gd name="connsiteY0" fmla="*/ 0 h 1182"/>
                        <a:gd name="connsiteX1" fmla="*/ 14073 w 14072"/>
                        <a:gd name="connsiteY1" fmla="*/ 0 h 1182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14072" h="1182">
                          <a:moveTo>
                            <a:pt x="0" y="0"/>
                          </a:moveTo>
                          <a:lnTo>
                            <a:pt x="14073" y="0"/>
                          </a:lnTo>
                        </a:path>
                      </a:pathLst>
                    </a:custGeom>
                    <a:ln w="6350" cap="flat">
                      <a:solidFill>
                        <a:schemeClr val="accent2"/>
                      </a:solidFill>
                      <a:prstDash val="solid"/>
                      <a:round/>
                    </a:ln>
                  </p:spPr>
                  <p:txBody>
                    <a:bodyPr rtlCol="0" anchor="ctr"/>
                    <a:lstStyle/>
                    <a:p>
                      <a:endParaRPr lang="pt-PT"/>
                    </a:p>
                  </p:txBody>
                </p:sp>
                <p:sp>
                  <p:nvSpPr>
                    <p:cNvPr id="1851" name="Forma livre: Forma 1850">
                      <a:extLst>
                        <a:ext uri="{FF2B5EF4-FFF2-40B4-BE49-F238E27FC236}">
                          <a16:creationId xmlns:a16="http://schemas.microsoft.com/office/drawing/2014/main" id="{11DB2E91-90F0-29D1-2D1B-0CF443CD510D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2618594" y="5904646"/>
                      <a:ext cx="14072" cy="1182"/>
                    </a:xfrm>
                    <a:custGeom>
                      <a:avLst/>
                      <a:gdLst>
                        <a:gd name="connsiteX0" fmla="*/ 0 w 14072"/>
                        <a:gd name="connsiteY0" fmla="*/ 0 h 1182"/>
                        <a:gd name="connsiteX1" fmla="*/ 14073 w 14072"/>
                        <a:gd name="connsiteY1" fmla="*/ 0 h 1182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14072" h="1182">
                          <a:moveTo>
                            <a:pt x="0" y="0"/>
                          </a:moveTo>
                          <a:lnTo>
                            <a:pt x="14073" y="0"/>
                          </a:lnTo>
                        </a:path>
                      </a:pathLst>
                    </a:custGeom>
                    <a:ln w="6350" cap="flat">
                      <a:solidFill>
                        <a:schemeClr val="accent2"/>
                      </a:solidFill>
                      <a:prstDash val="solid"/>
                      <a:round/>
                    </a:ln>
                  </p:spPr>
                  <p:txBody>
                    <a:bodyPr rtlCol="0" anchor="ctr"/>
                    <a:lstStyle/>
                    <a:p>
                      <a:endParaRPr lang="pt-PT"/>
                    </a:p>
                  </p:txBody>
                </p:sp>
                <p:sp>
                  <p:nvSpPr>
                    <p:cNvPr id="1852" name="Forma livre: Forma 1851">
                      <a:extLst>
                        <a:ext uri="{FF2B5EF4-FFF2-40B4-BE49-F238E27FC236}">
                          <a16:creationId xmlns:a16="http://schemas.microsoft.com/office/drawing/2014/main" id="{3040CABE-2BDE-8D63-0AE7-B1D932EFCD24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2618594" y="5869310"/>
                      <a:ext cx="14072" cy="1182"/>
                    </a:xfrm>
                    <a:custGeom>
                      <a:avLst/>
                      <a:gdLst>
                        <a:gd name="connsiteX0" fmla="*/ 0 w 14072"/>
                        <a:gd name="connsiteY0" fmla="*/ 0 h 1182"/>
                        <a:gd name="connsiteX1" fmla="*/ 14073 w 14072"/>
                        <a:gd name="connsiteY1" fmla="*/ 0 h 1182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14072" h="1182">
                          <a:moveTo>
                            <a:pt x="0" y="0"/>
                          </a:moveTo>
                          <a:lnTo>
                            <a:pt x="14073" y="0"/>
                          </a:lnTo>
                        </a:path>
                      </a:pathLst>
                    </a:custGeom>
                    <a:ln w="6350" cap="flat">
                      <a:solidFill>
                        <a:schemeClr val="accent2"/>
                      </a:solidFill>
                      <a:prstDash val="solid"/>
                      <a:round/>
                    </a:ln>
                  </p:spPr>
                  <p:txBody>
                    <a:bodyPr rtlCol="0" anchor="ctr"/>
                    <a:lstStyle/>
                    <a:p>
                      <a:endParaRPr lang="pt-PT"/>
                    </a:p>
                  </p:txBody>
                </p:sp>
              </p:grpSp>
            </p:grpSp>
          </p:grpSp>
          <p:grpSp>
            <p:nvGrpSpPr>
              <p:cNvPr id="1853" name="Gráfico 14">
                <a:extLst>
                  <a:ext uri="{FF2B5EF4-FFF2-40B4-BE49-F238E27FC236}">
                    <a16:creationId xmlns:a16="http://schemas.microsoft.com/office/drawing/2014/main" id="{40117C44-109F-07DA-F150-40A9937173A1}"/>
                  </a:ext>
                </a:extLst>
              </p:cNvPr>
              <p:cNvGrpSpPr/>
              <p:nvPr/>
            </p:nvGrpSpPr>
            <p:grpSpPr>
              <a:xfrm>
                <a:off x="2806469" y="5840940"/>
                <a:ext cx="50803" cy="127398"/>
                <a:chOff x="2806469" y="5840940"/>
                <a:chExt cx="50803" cy="127398"/>
              </a:xfrm>
              <a:noFill/>
            </p:grpSpPr>
            <p:sp>
              <p:nvSpPr>
                <p:cNvPr id="1854" name="Forma livre: Forma 1853">
                  <a:extLst>
                    <a:ext uri="{FF2B5EF4-FFF2-40B4-BE49-F238E27FC236}">
                      <a16:creationId xmlns:a16="http://schemas.microsoft.com/office/drawing/2014/main" id="{25573DB4-538D-7337-0787-25D8CCC7A1E4}"/>
                    </a:ext>
                  </a:extLst>
                </p:cNvPr>
                <p:cNvSpPr/>
                <p:nvPr/>
              </p:nvSpPr>
              <p:spPr>
                <a:xfrm>
                  <a:off x="2806469" y="5840940"/>
                  <a:ext cx="50803" cy="127398"/>
                </a:xfrm>
                <a:custGeom>
                  <a:avLst/>
                  <a:gdLst>
                    <a:gd name="connsiteX0" fmla="*/ 0 w 50803"/>
                    <a:gd name="connsiteY0" fmla="*/ 12512 h 127398"/>
                    <a:gd name="connsiteX1" fmla="*/ 0 w 50803"/>
                    <a:gd name="connsiteY1" fmla="*/ 118080 h 127398"/>
                    <a:gd name="connsiteX2" fmla="*/ 9378 w 50803"/>
                    <a:gd name="connsiteY2" fmla="*/ 127398 h 127398"/>
                    <a:gd name="connsiteX3" fmla="*/ 41425 w 50803"/>
                    <a:gd name="connsiteY3" fmla="*/ 127398 h 127398"/>
                    <a:gd name="connsiteX4" fmla="*/ 50803 w 50803"/>
                    <a:gd name="connsiteY4" fmla="*/ 118080 h 127398"/>
                    <a:gd name="connsiteX5" fmla="*/ 50803 w 50803"/>
                    <a:gd name="connsiteY5" fmla="*/ 9319 h 127398"/>
                    <a:gd name="connsiteX6" fmla="*/ 41425 w 50803"/>
                    <a:gd name="connsiteY6" fmla="*/ 0 h 127398"/>
                    <a:gd name="connsiteX7" fmla="*/ 31882 w 50803"/>
                    <a:gd name="connsiteY7" fmla="*/ 0 h 1273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50803" h="127398">
                      <a:moveTo>
                        <a:pt x="0" y="12512"/>
                      </a:moveTo>
                      <a:lnTo>
                        <a:pt x="0" y="118080"/>
                      </a:lnTo>
                      <a:cubicBezTo>
                        <a:pt x="0" y="123212"/>
                        <a:pt x="4222" y="127398"/>
                        <a:pt x="9378" y="127398"/>
                      </a:cubicBezTo>
                      <a:lnTo>
                        <a:pt x="41425" y="127398"/>
                      </a:lnTo>
                      <a:cubicBezTo>
                        <a:pt x="46582" y="127398"/>
                        <a:pt x="50803" y="123200"/>
                        <a:pt x="50803" y="118080"/>
                      </a:cubicBezTo>
                      <a:lnTo>
                        <a:pt x="50803" y="9319"/>
                      </a:lnTo>
                      <a:cubicBezTo>
                        <a:pt x="50803" y="4198"/>
                        <a:pt x="46582" y="0"/>
                        <a:pt x="41425" y="0"/>
                      </a:cubicBezTo>
                      <a:lnTo>
                        <a:pt x="31882" y="0"/>
                      </a:ln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grpSp>
              <p:nvGrpSpPr>
                <p:cNvPr id="1855" name="Gráfico 14">
                  <a:extLst>
                    <a:ext uri="{FF2B5EF4-FFF2-40B4-BE49-F238E27FC236}">
                      <a16:creationId xmlns:a16="http://schemas.microsoft.com/office/drawing/2014/main" id="{B13B9685-D44D-D466-73C2-ADD12312290F}"/>
                    </a:ext>
                  </a:extLst>
                </p:cNvPr>
                <p:cNvGrpSpPr/>
                <p:nvPr/>
              </p:nvGrpSpPr>
              <p:grpSpPr>
                <a:xfrm>
                  <a:off x="2808420" y="5869310"/>
                  <a:ext cx="46900" cy="70658"/>
                  <a:chOff x="2808420" y="5869310"/>
                  <a:chExt cx="46900" cy="70658"/>
                </a:xfrm>
              </p:grpSpPr>
              <p:grpSp>
                <p:nvGrpSpPr>
                  <p:cNvPr id="1856" name="Gráfico 14">
                    <a:extLst>
                      <a:ext uri="{FF2B5EF4-FFF2-40B4-BE49-F238E27FC236}">
                        <a16:creationId xmlns:a16="http://schemas.microsoft.com/office/drawing/2014/main" id="{CF09ED5F-2B34-8348-4366-AD67BA203B02}"/>
                      </a:ext>
                    </a:extLst>
                  </p:cNvPr>
                  <p:cNvGrpSpPr/>
                  <p:nvPr/>
                </p:nvGrpSpPr>
                <p:grpSpPr>
                  <a:xfrm>
                    <a:off x="2841248" y="5869310"/>
                    <a:ext cx="14072" cy="70658"/>
                    <a:chOff x="2841248" y="5869310"/>
                    <a:chExt cx="14072" cy="70658"/>
                  </a:xfrm>
                </p:grpSpPr>
                <p:sp>
                  <p:nvSpPr>
                    <p:cNvPr id="1857" name="Forma livre: Forma 1856">
                      <a:extLst>
                        <a:ext uri="{FF2B5EF4-FFF2-40B4-BE49-F238E27FC236}">
                          <a16:creationId xmlns:a16="http://schemas.microsoft.com/office/drawing/2014/main" id="{9868E78C-0470-981A-840F-98587082A4E5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2841248" y="5939969"/>
                      <a:ext cx="14072" cy="1182"/>
                    </a:xfrm>
                    <a:custGeom>
                      <a:avLst/>
                      <a:gdLst>
                        <a:gd name="connsiteX0" fmla="*/ 14073 w 14072"/>
                        <a:gd name="connsiteY0" fmla="*/ 0 h 1182"/>
                        <a:gd name="connsiteX1" fmla="*/ 0 w 14072"/>
                        <a:gd name="connsiteY1" fmla="*/ 0 h 1182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14072" h="1182">
                          <a:moveTo>
                            <a:pt x="14073" y="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6350" cap="flat">
                      <a:solidFill>
                        <a:schemeClr val="accent2"/>
                      </a:solidFill>
                      <a:prstDash val="solid"/>
                      <a:round/>
                    </a:ln>
                  </p:spPr>
                  <p:txBody>
                    <a:bodyPr rtlCol="0" anchor="ctr"/>
                    <a:lstStyle/>
                    <a:p>
                      <a:endParaRPr lang="pt-PT"/>
                    </a:p>
                  </p:txBody>
                </p:sp>
                <p:sp>
                  <p:nvSpPr>
                    <p:cNvPr id="1858" name="Forma livre: Forma 1857">
                      <a:extLst>
                        <a:ext uri="{FF2B5EF4-FFF2-40B4-BE49-F238E27FC236}">
                          <a16:creationId xmlns:a16="http://schemas.microsoft.com/office/drawing/2014/main" id="{094320DC-B17A-F584-4639-676C8E92C171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2841248" y="5904646"/>
                      <a:ext cx="14072" cy="1182"/>
                    </a:xfrm>
                    <a:custGeom>
                      <a:avLst/>
                      <a:gdLst>
                        <a:gd name="connsiteX0" fmla="*/ 14073 w 14072"/>
                        <a:gd name="connsiteY0" fmla="*/ 0 h 1182"/>
                        <a:gd name="connsiteX1" fmla="*/ 0 w 14072"/>
                        <a:gd name="connsiteY1" fmla="*/ 0 h 1182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14072" h="1182">
                          <a:moveTo>
                            <a:pt x="14073" y="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6350" cap="flat">
                      <a:solidFill>
                        <a:schemeClr val="accent2"/>
                      </a:solidFill>
                      <a:prstDash val="solid"/>
                      <a:round/>
                    </a:ln>
                  </p:spPr>
                  <p:txBody>
                    <a:bodyPr rtlCol="0" anchor="ctr"/>
                    <a:lstStyle/>
                    <a:p>
                      <a:endParaRPr lang="pt-PT"/>
                    </a:p>
                  </p:txBody>
                </p:sp>
                <p:sp>
                  <p:nvSpPr>
                    <p:cNvPr id="1859" name="Forma livre: Forma 1858">
                      <a:extLst>
                        <a:ext uri="{FF2B5EF4-FFF2-40B4-BE49-F238E27FC236}">
                          <a16:creationId xmlns:a16="http://schemas.microsoft.com/office/drawing/2014/main" id="{AF49E054-1EDD-A318-8CED-64D60FBBA530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2841248" y="5869310"/>
                      <a:ext cx="14072" cy="1182"/>
                    </a:xfrm>
                    <a:custGeom>
                      <a:avLst/>
                      <a:gdLst>
                        <a:gd name="connsiteX0" fmla="*/ 14073 w 14072"/>
                        <a:gd name="connsiteY0" fmla="*/ 0 h 1182"/>
                        <a:gd name="connsiteX1" fmla="*/ 0 w 14072"/>
                        <a:gd name="connsiteY1" fmla="*/ 0 h 1182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14072" h="1182">
                          <a:moveTo>
                            <a:pt x="14073" y="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6350" cap="flat">
                      <a:solidFill>
                        <a:schemeClr val="accent2"/>
                      </a:solidFill>
                      <a:prstDash val="solid"/>
                      <a:round/>
                    </a:ln>
                  </p:spPr>
                  <p:txBody>
                    <a:bodyPr rtlCol="0" anchor="ctr"/>
                    <a:lstStyle/>
                    <a:p>
                      <a:endParaRPr lang="pt-PT"/>
                    </a:p>
                  </p:txBody>
                </p:sp>
              </p:grpSp>
              <p:grpSp>
                <p:nvGrpSpPr>
                  <p:cNvPr id="1860" name="Gráfico 14">
                    <a:extLst>
                      <a:ext uri="{FF2B5EF4-FFF2-40B4-BE49-F238E27FC236}">
                        <a16:creationId xmlns:a16="http://schemas.microsoft.com/office/drawing/2014/main" id="{CD2B359F-2CA5-AC5A-9794-447366899823}"/>
                      </a:ext>
                    </a:extLst>
                  </p:cNvPr>
                  <p:cNvGrpSpPr/>
                  <p:nvPr/>
                </p:nvGrpSpPr>
                <p:grpSpPr>
                  <a:xfrm>
                    <a:off x="2808420" y="5869310"/>
                    <a:ext cx="14072" cy="70658"/>
                    <a:chOff x="2808420" y="5869310"/>
                    <a:chExt cx="14072" cy="70658"/>
                  </a:xfrm>
                </p:grpSpPr>
                <p:sp>
                  <p:nvSpPr>
                    <p:cNvPr id="1861" name="Forma livre: Forma 1860">
                      <a:extLst>
                        <a:ext uri="{FF2B5EF4-FFF2-40B4-BE49-F238E27FC236}">
                          <a16:creationId xmlns:a16="http://schemas.microsoft.com/office/drawing/2014/main" id="{D1F9E538-1AEF-83B9-133E-0B5ECDBCFD2B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2808420" y="5939969"/>
                      <a:ext cx="14072" cy="1182"/>
                    </a:xfrm>
                    <a:custGeom>
                      <a:avLst/>
                      <a:gdLst>
                        <a:gd name="connsiteX0" fmla="*/ 14073 w 14072"/>
                        <a:gd name="connsiteY0" fmla="*/ 0 h 1182"/>
                        <a:gd name="connsiteX1" fmla="*/ 0 w 14072"/>
                        <a:gd name="connsiteY1" fmla="*/ 0 h 1182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14072" h="1182">
                          <a:moveTo>
                            <a:pt x="14073" y="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6350" cap="flat">
                      <a:solidFill>
                        <a:schemeClr val="accent2"/>
                      </a:solidFill>
                      <a:prstDash val="solid"/>
                      <a:round/>
                    </a:ln>
                  </p:spPr>
                  <p:txBody>
                    <a:bodyPr rtlCol="0" anchor="ctr"/>
                    <a:lstStyle/>
                    <a:p>
                      <a:endParaRPr lang="pt-PT"/>
                    </a:p>
                  </p:txBody>
                </p:sp>
                <p:sp>
                  <p:nvSpPr>
                    <p:cNvPr id="1862" name="Forma livre: Forma 1861">
                      <a:extLst>
                        <a:ext uri="{FF2B5EF4-FFF2-40B4-BE49-F238E27FC236}">
                          <a16:creationId xmlns:a16="http://schemas.microsoft.com/office/drawing/2014/main" id="{F7791152-CAF0-492F-3C76-8155A804DFF3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2808420" y="5904646"/>
                      <a:ext cx="14072" cy="1182"/>
                    </a:xfrm>
                    <a:custGeom>
                      <a:avLst/>
                      <a:gdLst>
                        <a:gd name="connsiteX0" fmla="*/ 14073 w 14072"/>
                        <a:gd name="connsiteY0" fmla="*/ 0 h 1182"/>
                        <a:gd name="connsiteX1" fmla="*/ 0 w 14072"/>
                        <a:gd name="connsiteY1" fmla="*/ 0 h 1182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14072" h="1182">
                          <a:moveTo>
                            <a:pt x="14073" y="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6350" cap="flat">
                      <a:solidFill>
                        <a:schemeClr val="accent2"/>
                      </a:solidFill>
                      <a:prstDash val="solid"/>
                      <a:round/>
                    </a:ln>
                  </p:spPr>
                  <p:txBody>
                    <a:bodyPr rtlCol="0" anchor="ctr"/>
                    <a:lstStyle/>
                    <a:p>
                      <a:endParaRPr lang="pt-PT"/>
                    </a:p>
                  </p:txBody>
                </p:sp>
                <p:sp>
                  <p:nvSpPr>
                    <p:cNvPr id="1863" name="Forma livre: Forma 1862">
                      <a:extLst>
                        <a:ext uri="{FF2B5EF4-FFF2-40B4-BE49-F238E27FC236}">
                          <a16:creationId xmlns:a16="http://schemas.microsoft.com/office/drawing/2014/main" id="{46A3D94B-46D4-70DC-6B59-B05FB92BB608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2808420" y="5869310"/>
                      <a:ext cx="14072" cy="1182"/>
                    </a:xfrm>
                    <a:custGeom>
                      <a:avLst/>
                      <a:gdLst>
                        <a:gd name="connsiteX0" fmla="*/ 14073 w 14072"/>
                        <a:gd name="connsiteY0" fmla="*/ 0 h 1182"/>
                        <a:gd name="connsiteX1" fmla="*/ 0 w 14072"/>
                        <a:gd name="connsiteY1" fmla="*/ 0 h 1182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14072" h="1182">
                          <a:moveTo>
                            <a:pt x="14073" y="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6350" cap="flat">
                      <a:solidFill>
                        <a:schemeClr val="accent2"/>
                      </a:solidFill>
                      <a:prstDash val="solid"/>
                      <a:round/>
                    </a:ln>
                  </p:spPr>
                  <p:txBody>
                    <a:bodyPr rtlCol="0" anchor="ctr"/>
                    <a:lstStyle/>
                    <a:p>
                      <a:endParaRPr lang="pt-PT"/>
                    </a:p>
                  </p:txBody>
                </p:sp>
              </p:grpSp>
            </p:grpSp>
          </p:grpSp>
        </p:grpSp>
      </p:grpSp>
      <p:grpSp>
        <p:nvGrpSpPr>
          <p:cNvPr id="1864" name="Gráfico 14">
            <a:extLst>
              <a:ext uri="{FF2B5EF4-FFF2-40B4-BE49-F238E27FC236}">
                <a16:creationId xmlns:a16="http://schemas.microsoft.com/office/drawing/2014/main" id="{AA9109CD-4C9B-A2D6-2E53-D95BAEC8739F}"/>
              </a:ext>
            </a:extLst>
          </p:cNvPr>
          <p:cNvGrpSpPr/>
          <p:nvPr/>
        </p:nvGrpSpPr>
        <p:grpSpPr>
          <a:xfrm>
            <a:off x="2534584" y="3562254"/>
            <a:ext cx="371918" cy="265168"/>
            <a:chOff x="2534584" y="3562254"/>
            <a:chExt cx="371918" cy="265168"/>
          </a:xfrm>
          <a:noFill/>
        </p:grpSpPr>
        <p:sp>
          <p:nvSpPr>
            <p:cNvPr id="1865" name="Forma livre: Forma 1864">
              <a:extLst>
                <a:ext uri="{FF2B5EF4-FFF2-40B4-BE49-F238E27FC236}">
                  <a16:creationId xmlns:a16="http://schemas.microsoft.com/office/drawing/2014/main" id="{62BC604A-624C-0B88-64FF-734892310F84}"/>
                </a:ext>
              </a:extLst>
            </p:cNvPr>
            <p:cNvSpPr/>
            <p:nvPr/>
          </p:nvSpPr>
          <p:spPr>
            <a:xfrm>
              <a:off x="2639541" y="3613696"/>
              <a:ext cx="162004" cy="193693"/>
            </a:xfrm>
            <a:custGeom>
              <a:avLst/>
              <a:gdLst>
                <a:gd name="connsiteX0" fmla="*/ 161713 w 162004"/>
                <a:gd name="connsiteY0" fmla="*/ 121651 h 193693"/>
                <a:gd name="connsiteX1" fmla="*/ 95867 w 162004"/>
                <a:gd name="connsiteY1" fmla="*/ 193693 h 193693"/>
                <a:gd name="connsiteX2" fmla="*/ 66137 w 162004"/>
                <a:gd name="connsiteY2" fmla="*/ 193693 h 193693"/>
                <a:gd name="connsiteX3" fmla="*/ 292 w 162004"/>
                <a:gd name="connsiteY3" fmla="*/ 121651 h 193693"/>
                <a:gd name="connsiteX4" fmla="*/ 4762 w 162004"/>
                <a:gd name="connsiteY4" fmla="*/ 72042 h 193693"/>
                <a:gd name="connsiteX5" fmla="*/ 81002 w 162004"/>
                <a:gd name="connsiteY5" fmla="*/ 0 h 193693"/>
                <a:gd name="connsiteX6" fmla="*/ 157255 w 162004"/>
                <a:gd name="connsiteY6" fmla="*/ 72042 h 193693"/>
                <a:gd name="connsiteX7" fmla="*/ 161713 w 162004"/>
                <a:gd name="connsiteY7" fmla="*/ 121651 h 1936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62004" h="193693">
                  <a:moveTo>
                    <a:pt x="161713" y="121651"/>
                  </a:moveTo>
                  <a:cubicBezTo>
                    <a:pt x="165284" y="161279"/>
                    <a:pt x="135649" y="193693"/>
                    <a:pt x="95867" y="193693"/>
                  </a:cubicBezTo>
                  <a:lnTo>
                    <a:pt x="66137" y="193693"/>
                  </a:lnTo>
                  <a:cubicBezTo>
                    <a:pt x="26356" y="193693"/>
                    <a:pt x="-3280" y="161279"/>
                    <a:pt x="292" y="121651"/>
                  </a:cubicBezTo>
                  <a:lnTo>
                    <a:pt x="4762" y="72042"/>
                  </a:lnTo>
                  <a:cubicBezTo>
                    <a:pt x="8333" y="32414"/>
                    <a:pt x="42640" y="0"/>
                    <a:pt x="81002" y="0"/>
                  </a:cubicBezTo>
                  <a:cubicBezTo>
                    <a:pt x="119365" y="0"/>
                    <a:pt x="153683" y="32426"/>
                    <a:pt x="157255" y="72042"/>
                  </a:cubicBezTo>
                  <a:lnTo>
                    <a:pt x="161713" y="121651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66" name="Forma livre: Forma 1865">
              <a:extLst>
                <a:ext uri="{FF2B5EF4-FFF2-40B4-BE49-F238E27FC236}">
                  <a16:creationId xmlns:a16="http://schemas.microsoft.com/office/drawing/2014/main" id="{9EB4367A-72EA-9AD3-7CCF-7760E15214B1}"/>
                </a:ext>
              </a:extLst>
            </p:cNvPr>
            <p:cNvSpPr/>
            <p:nvPr/>
          </p:nvSpPr>
          <p:spPr>
            <a:xfrm>
              <a:off x="2643499" y="3648901"/>
              <a:ext cx="154100" cy="44240"/>
            </a:xfrm>
            <a:custGeom>
              <a:avLst/>
              <a:gdLst>
                <a:gd name="connsiteX0" fmla="*/ 0 w 154100"/>
                <a:gd name="connsiteY0" fmla="*/ 44240 h 44240"/>
                <a:gd name="connsiteX1" fmla="*/ 32190 w 154100"/>
                <a:gd name="connsiteY1" fmla="*/ 9472 h 44240"/>
                <a:gd name="connsiteX2" fmla="*/ 77045 w 154100"/>
                <a:gd name="connsiteY2" fmla="*/ 0 h 44240"/>
                <a:gd name="connsiteX3" fmla="*/ 154101 w 154100"/>
                <a:gd name="connsiteY3" fmla="*/ 44240 h 442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4100" h="44240">
                  <a:moveTo>
                    <a:pt x="0" y="44240"/>
                  </a:moveTo>
                  <a:cubicBezTo>
                    <a:pt x="2081" y="30179"/>
                    <a:pt x="14546" y="17585"/>
                    <a:pt x="32190" y="9472"/>
                  </a:cubicBezTo>
                  <a:cubicBezTo>
                    <a:pt x="45056" y="3548"/>
                    <a:pt x="60678" y="0"/>
                    <a:pt x="77045" y="0"/>
                  </a:cubicBezTo>
                  <a:cubicBezTo>
                    <a:pt x="115821" y="0"/>
                    <a:pt x="150494" y="19915"/>
                    <a:pt x="154101" y="44240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67" name="Forma livre: Forma 1866">
              <a:extLst>
                <a:ext uri="{FF2B5EF4-FFF2-40B4-BE49-F238E27FC236}">
                  <a16:creationId xmlns:a16="http://schemas.microsoft.com/office/drawing/2014/main" id="{9A652558-F4D3-0C2A-844E-838BCB56AC05}"/>
                </a:ext>
              </a:extLst>
            </p:cNvPr>
            <p:cNvSpPr/>
            <p:nvPr/>
          </p:nvSpPr>
          <p:spPr>
            <a:xfrm>
              <a:off x="2660469" y="3729103"/>
              <a:ext cx="139117" cy="1182"/>
            </a:xfrm>
            <a:custGeom>
              <a:avLst/>
              <a:gdLst>
                <a:gd name="connsiteX0" fmla="*/ 0 w 139117"/>
                <a:gd name="connsiteY0" fmla="*/ 0 h 1182"/>
                <a:gd name="connsiteX1" fmla="*/ 139118 w 139117"/>
                <a:gd name="connsiteY1" fmla="*/ 0 h 11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39117" h="1182">
                  <a:moveTo>
                    <a:pt x="0" y="0"/>
                  </a:moveTo>
                  <a:lnTo>
                    <a:pt x="139118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68" name="Forma livre: Forma 1867">
              <a:extLst>
                <a:ext uri="{FF2B5EF4-FFF2-40B4-BE49-F238E27FC236}">
                  <a16:creationId xmlns:a16="http://schemas.microsoft.com/office/drawing/2014/main" id="{E924E6DC-A4C2-D8A2-9622-0327C6F0244E}"/>
                </a:ext>
              </a:extLst>
            </p:cNvPr>
            <p:cNvSpPr/>
            <p:nvPr/>
          </p:nvSpPr>
          <p:spPr>
            <a:xfrm>
              <a:off x="2720543" y="3653880"/>
              <a:ext cx="1182" cy="74738"/>
            </a:xfrm>
            <a:custGeom>
              <a:avLst/>
              <a:gdLst>
                <a:gd name="connsiteX0" fmla="*/ 0 w 1182"/>
                <a:gd name="connsiteY0" fmla="*/ 0 h 74738"/>
                <a:gd name="connsiteX1" fmla="*/ 0 w 1182"/>
                <a:gd name="connsiteY1" fmla="*/ 74739 h 747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82" h="74738">
                  <a:moveTo>
                    <a:pt x="0" y="0"/>
                  </a:moveTo>
                  <a:lnTo>
                    <a:pt x="0" y="74739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69" name="Forma livre: Forma 1868">
              <a:extLst>
                <a:ext uri="{FF2B5EF4-FFF2-40B4-BE49-F238E27FC236}">
                  <a16:creationId xmlns:a16="http://schemas.microsoft.com/office/drawing/2014/main" id="{ED2B8788-A122-614A-8E9B-A3F12FD3058B}"/>
                </a:ext>
              </a:extLst>
            </p:cNvPr>
            <p:cNvSpPr/>
            <p:nvPr/>
          </p:nvSpPr>
          <p:spPr>
            <a:xfrm>
              <a:off x="2616382" y="3786494"/>
              <a:ext cx="36163" cy="40928"/>
            </a:xfrm>
            <a:custGeom>
              <a:avLst/>
              <a:gdLst>
                <a:gd name="connsiteX0" fmla="*/ 36163 w 36163"/>
                <a:gd name="connsiteY0" fmla="*/ 0 h 40928"/>
                <a:gd name="connsiteX1" fmla="*/ 0 w 36163"/>
                <a:gd name="connsiteY1" fmla="*/ 40929 h 409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6163" h="40928">
                  <a:moveTo>
                    <a:pt x="36163" y="0"/>
                  </a:moveTo>
                  <a:cubicBezTo>
                    <a:pt x="36163" y="0"/>
                    <a:pt x="10466" y="2850"/>
                    <a:pt x="0" y="40929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70" name="Forma livre: Forma 1869">
              <a:extLst>
                <a:ext uri="{FF2B5EF4-FFF2-40B4-BE49-F238E27FC236}">
                  <a16:creationId xmlns:a16="http://schemas.microsoft.com/office/drawing/2014/main" id="{A73F858D-7E14-2A9A-58B8-7BC7BB3715DA}"/>
                </a:ext>
              </a:extLst>
            </p:cNvPr>
            <p:cNvSpPr/>
            <p:nvPr/>
          </p:nvSpPr>
          <p:spPr>
            <a:xfrm>
              <a:off x="2788529" y="3786494"/>
              <a:ext cx="36163" cy="40928"/>
            </a:xfrm>
            <a:custGeom>
              <a:avLst/>
              <a:gdLst>
                <a:gd name="connsiteX0" fmla="*/ 0 w 36163"/>
                <a:gd name="connsiteY0" fmla="*/ 0 h 40928"/>
                <a:gd name="connsiteX1" fmla="*/ 36163 w 36163"/>
                <a:gd name="connsiteY1" fmla="*/ 40929 h 409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6163" h="40928">
                  <a:moveTo>
                    <a:pt x="0" y="0"/>
                  </a:moveTo>
                  <a:cubicBezTo>
                    <a:pt x="0" y="0"/>
                    <a:pt x="25697" y="2850"/>
                    <a:pt x="36163" y="40929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71" name="Forma livre: Forma 1870">
              <a:extLst>
                <a:ext uri="{FF2B5EF4-FFF2-40B4-BE49-F238E27FC236}">
                  <a16:creationId xmlns:a16="http://schemas.microsoft.com/office/drawing/2014/main" id="{E9629506-746E-3A16-9AA6-6AC19800EE1A}"/>
                </a:ext>
              </a:extLst>
            </p:cNvPr>
            <p:cNvSpPr/>
            <p:nvPr/>
          </p:nvSpPr>
          <p:spPr>
            <a:xfrm>
              <a:off x="2706069" y="3585409"/>
              <a:ext cx="28925" cy="28689"/>
            </a:xfrm>
            <a:custGeom>
              <a:avLst/>
              <a:gdLst>
                <a:gd name="connsiteX0" fmla="*/ 0 w 28925"/>
                <a:gd name="connsiteY0" fmla="*/ 28689 h 28689"/>
                <a:gd name="connsiteX1" fmla="*/ 0 w 28925"/>
                <a:gd name="connsiteY1" fmla="*/ 14463 h 28689"/>
                <a:gd name="connsiteX2" fmla="*/ 14463 w 28925"/>
                <a:gd name="connsiteY2" fmla="*/ 0 h 28689"/>
                <a:gd name="connsiteX3" fmla="*/ 14463 w 28925"/>
                <a:gd name="connsiteY3" fmla="*/ 0 h 28689"/>
                <a:gd name="connsiteX4" fmla="*/ 28926 w 28925"/>
                <a:gd name="connsiteY4" fmla="*/ 14463 h 28689"/>
                <a:gd name="connsiteX5" fmla="*/ 28926 w 28925"/>
                <a:gd name="connsiteY5" fmla="*/ 28689 h 286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8925" h="28689">
                  <a:moveTo>
                    <a:pt x="0" y="28689"/>
                  </a:moveTo>
                  <a:lnTo>
                    <a:pt x="0" y="14463"/>
                  </a:lnTo>
                  <a:cubicBezTo>
                    <a:pt x="0" y="6504"/>
                    <a:pt x="6504" y="0"/>
                    <a:pt x="14463" y="0"/>
                  </a:cubicBezTo>
                  <a:lnTo>
                    <a:pt x="14463" y="0"/>
                  </a:lnTo>
                  <a:cubicBezTo>
                    <a:pt x="22422" y="0"/>
                    <a:pt x="28926" y="6504"/>
                    <a:pt x="28926" y="14463"/>
                  </a:cubicBezTo>
                  <a:lnTo>
                    <a:pt x="28926" y="28689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72" name="Forma livre: Forma 1871">
              <a:extLst>
                <a:ext uri="{FF2B5EF4-FFF2-40B4-BE49-F238E27FC236}">
                  <a16:creationId xmlns:a16="http://schemas.microsoft.com/office/drawing/2014/main" id="{9A944A6D-7A03-22B0-C832-99A28A4C50A6}"/>
                </a:ext>
              </a:extLst>
            </p:cNvPr>
            <p:cNvSpPr/>
            <p:nvPr/>
          </p:nvSpPr>
          <p:spPr>
            <a:xfrm>
              <a:off x="2720543" y="3562254"/>
              <a:ext cx="1182" cy="18684"/>
            </a:xfrm>
            <a:custGeom>
              <a:avLst/>
              <a:gdLst>
                <a:gd name="connsiteX0" fmla="*/ 0 w 1182"/>
                <a:gd name="connsiteY0" fmla="*/ 18685 h 18684"/>
                <a:gd name="connsiteX1" fmla="*/ 0 w 1182"/>
                <a:gd name="connsiteY1" fmla="*/ 0 h 186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82" h="18684">
                  <a:moveTo>
                    <a:pt x="0" y="18685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873" name="Gráfico 14">
              <a:extLst>
                <a:ext uri="{FF2B5EF4-FFF2-40B4-BE49-F238E27FC236}">
                  <a16:creationId xmlns:a16="http://schemas.microsoft.com/office/drawing/2014/main" id="{FB99A727-53CD-35E9-6E98-D54A3500AB45}"/>
                </a:ext>
              </a:extLst>
            </p:cNvPr>
            <p:cNvGrpSpPr/>
            <p:nvPr/>
          </p:nvGrpSpPr>
          <p:grpSpPr>
            <a:xfrm>
              <a:off x="2534584" y="3582027"/>
              <a:ext cx="371918" cy="1182"/>
              <a:chOff x="2534584" y="3582027"/>
              <a:chExt cx="371918" cy="1182"/>
            </a:xfrm>
          </p:grpSpPr>
          <p:sp>
            <p:nvSpPr>
              <p:cNvPr id="1874" name="Forma livre: Forma 1873">
                <a:extLst>
                  <a:ext uri="{FF2B5EF4-FFF2-40B4-BE49-F238E27FC236}">
                    <a16:creationId xmlns:a16="http://schemas.microsoft.com/office/drawing/2014/main" id="{C868281B-B589-B108-592D-1B5F38A2DDBC}"/>
                  </a:ext>
                </a:extLst>
              </p:cNvPr>
              <p:cNvSpPr/>
              <p:nvPr/>
            </p:nvSpPr>
            <p:spPr>
              <a:xfrm>
                <a:off x="2534584" y="3582027"/>
                <a:ext cx="156726" cy="1182"/>
              </a:xfrm>
              <a:custGeom>
                <a:avLst/>
                <a:gdLst>
                  <a:gd name="connsiteX0" fmla="*/ 156726 w 156726"/>
                  <a:gd name="connsiteY0" fmla="*/ 0 h 1182"/>
                  <a:gd name="connsiteX1" fmla="*/ 0 w 156726"/>
                  <a:gd name="connsiteY1" fmla="*/ 0 h 11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56726" h="1182">
                    <a:moveTo>
                      <a:pt x="156726" y="0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875" name="Forma livre: Forma 1874">
                <a:extLst>
                  <a:ext uri="{FF2B5EF4-FFF2-40B4-BE49-F238E27FC236}">
                    <a16:creationId xmlns:a16="http://schemas.microsoft.com/office/drawing/2014/main" id="{F470E814-50CF-0BE1-BC74-D049A9A6C704}"/>
                  </a:ext>
                </a:extLst>
              </p:cNvPr>
              <p:cNvSpPr/>
              <p:nvPr/>
            </p:nvSpPr>
            <p:spPr>
              <a:xfrm>
                <a:off x="2749776" y="3582027"/>
                <a:ext cx="156726" cy="1182"/>
              </a:xfrm>
              <a:custGeom>
                <a:avLst/>
                <a:gdLst>
                  <a:gd name="connsiteX0" fmla="*/ 156726 w 156726"/>
                  <a:gd name="connsiteY0" fmla="*/ 0 h 1182"/>
                  <a:gd name="connsiteX1" fmla="*/ 0 w 156726"/>
                  <a:gd name="connsiteY1" fmla="*/ 0 h 11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56726" h="1182">
                    <a:moveTo>
                      <a:pt x="156726" y="0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876" name="Gráfico 14">
            <a:extLst>
              <a:ext uri="{FF2B5EF4-FFF2-40B4-BE49-F238E27FC236}">
                <a16:creationId xmlns:a16="http://schemas.microsoft.com/office/drawing/2014/main" id="{9E95C54C-453A-3123-F67B-ECCF94FED264}"/>
              </a:ext>
            </a:extLst>
          </p:cNvPr>
          <p:cNvGrpSpPr/>
          <p:nvPr/>
        </p:nvGrpSpPr>
        <p:grpSpPr>
          <a:xfrm>
            <a:off x="2530823" y="5192678"/>
            <a:ext cx="379451" cy="209504"/>
            <a:chOff x="2530823" y="5192678"/>
            <a:chExt cx="379451" cy="209504"/>
          </a:xfrm>
          <a:noFill/>
        </p:grpSpPr>
        <p:grpSp>
          <p:nvGrpSpPr>
            <p:cNvPr id="1877" name="Gráfico 14">
              <a:extLst>
                <a:ext uri="{FF2B5EF4-FFF2-40B4-BE49-F238E27FC236}">
                  <a16:creationId xmlns:a16="http://schemas.microsoft.com/office/drawing/2014/main" id="{211DE219-6DA9-BD3E-AB5B-D1B11092670E}"/>
                </a:ext>
              </a:extLst>
            </p:cNvPr>
            <p:cNvGrpSpPr/>
            <p:nvPr/>
          </p:nvGrpSpPr>
          <p:grpSpPr>
            <a:xfrm>
              <a:off x="2648406" y="5206881"/>
              <a:ext cx="144273" cy="71912"/>
              <a:chOff x="2648406" y="5206881"/>
              <a:chExt cx="144273" cy="71912"/>
            </a:xfrm>
          </p:grpSpPr>
          <p:sp>
            <p:nvSpPr>
              <p:cNvPr id="1878" name="Forma livre: Forma 1877">
                <a:extLst>
                  <a:ext uri="{FF2B5EF4-FFF2-40B4-BE49-F238E27FC236}">
                    <a16:creationId xmlns:a16="http://schemas.microsoft.com/office/drawing/2014/main" id="{EB9BEC96-7545-E775-933F-4E6EE91AA66B}"/>
                  </a:ext>
                </a:extLst>
              </p:cNvPr>
              <p:cNvSpPr/>
              <p:nvPr/>
            </p:nvSpPr>
            <p:spPr>
              <a:xfrm>
                <a:off x="2648406" y="5208300"/>
                <a:ext cx="1182" cy="70493"/>
              </a:xfrm>
              <a:custGeom>
                <a:avLst/>
                <a:gdLst>
                  <a:gd name="connsiteX0" fmla="*/ 0 w 1182"/>
                  <a:gd name="connsiteY0" fmla="*/ 70493 h 70493"/>
                  <a:gd name="connsiteX1" fmla="*/ 0 w 1182"/>
                  <a:gd name="connsiteY1" fmla="*/ 0 h 704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82" h="70493">
                    <a:moveTo>
                      <a:pt x="0" y="70493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879" name="Forma livre: Forma 1878">
                <a:extLst>
                  <a:ext uri="{FF2B5EF4-FFF2-40B4-BE49-F238E27FC236}">
                    <a16:creationId xmlns:a16="http://schemas.microsoft.com/office/drawing/2014/main" id="{95E42BCF-8916-FA64-6394-9CFB110B87A2}"/>
                  </a:ext>
                </a:extLst>
              </p:cNvPr>
              <p:cNvSpPr/>
              <p:nvPr/>
            </p:nvSpPr>
            <p:spPr>
              <a:xfrm>
                <a:off x="2792680" y="5206881"/>
                <a:ext cx="1182" cy="71912"/>
              </a:xfrm>
              <a:custGeom>
                <a:avLst/>
                <a:gdLst>
                  <a:gd name="connsiteX0" fmla="*/ 0 w 1182"/>
                  <a:gd name="connsiteY0" fmla="*/ 71912 h 71912"/>
                  <a:gd name="connsiteX1" fmla="*/ 0 w 1182"/>
                  <a:gd name="connsiteY1" fmla="*/ 0 h 719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82" h="71912">
                    <a:moveTo>
                      <a:pt x="0" y="71912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880" name="Forma livre: Forma 1879">
              <a:extLst>
                <a:ext uri="{FF2B5EF4-FFF2-40B4-BE49-F238E27FC236}">
                  <a16:creationId xmlns:a16="http://schemas.microsoft.com/office/drawing/2014/main" id="{4CF0E4B6-7E51-3157-8FE8-094016F433CF}"/>
                </a:ext>
              </a:extLst>
            </p:cNvPr>
            <p:cNvSpPr/>
            <p:nvPr/>
          </p:nvSpPr>
          <p:spPr>
            <a:xfrm>
              <a:off x="2651245" y="5220126"/>
              <a:ext cx="138597" cy="1182"/>
            </a:xfrm>
            <a:custGeom>
              <a:avLst/>
              <a:gdLst>
                <a:gd name="connsiteX0" fmla="*/ 0 w 138597"/>
                <a:gd name="connsiteY0" fmla="*/ 0 h 1182"/>
                <a:gd name="connsiteX1" fmla="*/ 138597 w 138597"/>
                <a:gd name="connsiteY1" fmla="*/ 0 h 11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38597" h="1182">
                  <a:moveTo>
                    <a:pt x="0" y="0"/>
                  </a:moveTo>
                  <a:lnTo>
                    <a:pt x="138597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881" name="Gráfico 14">
              <a:extLst>
                <a:ext uri="{FF2B5EF4-FFF2-40B4-BE49-F238E27FC236}">
                  <a16:creationId xmlns:a16="http://schemas.microsoft.com/office/drawing/2014/main" id="{4A9C42E9-D959-F7BF-6835-7833B5864C81}"/>
                </a:ext>
              </a:extLst>
            </p:cNvPr>
            <p:cNvGrpSpPr/>
            <p:nvPr/>
          </p:nvGrpSpPr>
          <p:grpSpPr>
            <a:xfrm>
              <a:off x="2651422" y="5249654"/>
              <a:ext cx="138242" cy="1182"/>
              <a:chOff x="2651422" y="5249654"/>
              <a:chExt cx="138242" cy="1182"/>
            </a:xfrm>
          </p:grpSpPr>
          <p:sp>
            <p:nvSpPr>
              <p:cNvPr id="1882" name="Forma livre: Forma 1881">
                <a:extLst>
                  <a:ext uri="{FF2B5EF4-FFF2-40B4-BE49-F238E27FC236}">
                    <a16:creationId xmlns:a16="http://schemas.microsoft.com/office/drawing/2014/main" id="{72BC6DB4-DB05-8F73-B49B-4727A03DB494}"/>
                  </a:ext>
                </a:extLst>
              </p:cNvPr>
              <p:cNvSpPr/>
              <p:nvPr/>
            </p:nvSpPr>
            <p:spPr>
              <a:xfrm>
                <a:off x="2651422" y="5249654"/>
                <a:ext cx="32993" cy="1182"/>
              </a:xfrm>
              <a:custGeom>
                <a:avLst/>
                <a:gdLst>
                  <a:gd name="connsiteX0" fmla="*/ 0 w 32993"/>
                  <a:gd name="connsiteY0" fmla="*/ 0 h 1182"/>
                  <a:gd name="connsiteX1" fmla="*/ 32994 w 32993"/>
                  <a:gd name="connsiteY1" fmla="*/ 0 h 11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2993" h="1182">
                    <a:moveTo>
                      <a:pt x="0" y="0"/>
                    </a:moveTo>
                    <a:lnTo>
                      <a:pt x="32994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883" name="Forma livre: Forma 1882">
                <a:extLst>
                  <a:ext uri="{FF2B5EF4-FFF2-40B4-BE49-F238E27FC236}">
                    <a16:creationId xmlns:a16="http://schemas.microsoft.com/office/drawing/2014/main" id="{A8C2436B-9278-43E1-12DC-3803653EDC79}"/>
                  </a:ext>
                </a:extLst>
              </p:cNvPr>
              <p:cNvSpPr/>
              <p:nvPr/>
            </p:nvSpPr>
            <p:spPr>
              <a:xfrm>
                <a:off x="2756671" y="5249654"/>
                <a:ext cx="32993" cy="1182"/>
              </a:xfrm>
              <a:custGeom>
                <a:avLst/>
                <a:gdLst>
                  <a:gd name="connsiteX0" fmla="*/ 0 w 32993"/>
                  <a:gd name="connsiteY0" fmla="*/ 0 h 1182"/>
                  <a:gd name="connsiteX1" fmla="*/ 32994 w 32993"/>
                  <a:gd name="connsiteY1" fmla="*/ 0 h 11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2993" h="1182">
                    <a:moveTo>
                      <a:pt x="0" y="0"/>
                    </a:moveTo>
                    <a:lnTo>
                      <a:pt x="32994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884" name="Forma livre: Forma 1883">
              <a:extLst>
                <a:ext uri="{FF2B5EF4-FFF2-40B4-BE49-F238E27FC236}">
                  <a16:creationId xmlns:a16="http://schemas.microsoft.com/office/drawing/2014/main" id="{935F8E7A-D6C9-AC0E-39D0-00A8746E91EA}"/>
                </a:ext>
              </a:extLst>
            </p:cNvPr>
            <p:cNvSpPr/>
            <p:nvPr/>
          </p:nvSpPr>
          <p:spPr>
            <a:xfrm>
              <a:off x="2720543" y="5196226"/>
              <a:ext cx="1182" cy="20103"/>
            </a:xfrm>
            <a:custGeom>
              <a:avLst/>
              <a:gdLst>
                <a:gd name="connsiteX0" fmla="*/ 0 w 1182"/>
                <a:gd name="connsiteY0" fmla="*/ 20104 h 20103"/>
                <a:gd name="connsiteX1" fmla="*/ 0 w 1182"/>
                <a:gd name="connsiteY1" fmla="*/ 0 h 201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82" h="20103">
                  <a:moveTo>
                    <a:pt x="0" y="20104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85" name="Forma livre: Forma 1884">
              <a:extLst>
                <a:ext uri="{FF2B5EF4-FFF2-40B4-BE49-F238E27FC236}">
                  <a16:creationId xmlns:a16="http://schemas.microsoft.com/office/drawing/2014/main" id="{7DEB1198-70E6-51AE-6987-8D2F8289A172}"/>
                </a:ext>
              </a:extLst>
            </p:cNvPr>
            <p:cNvSpPr/>
            <p:nvPr/>
          </p:nvSpPr>
          <p:spPr>
            <a:xfrm>
              <a:off x="2708008" y="5192678"/>
              <a:ext cx="25070" cy="1182"/>
            </a:xfrm>
            <a:custGeom>
              <a:avLst/>
              <a:gdLst>
                <a:gd name="connsiteX0" fmla="*/ 0 w 25070"/>
                <a:gd name="connsiteY0" fmla="*/ 0 h 1182"/>
                <a:gd name="connsiteX1" fmla="*/ 25071 w 25070"/>
                <a:gd name="connsiteY1" fmla="*/ 0 h 11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5070" h="1182">
                  <a:moveTo>
                    <a:pt x="0" y="0"/>
                  </a:moveTo>
                  <a:lnTo>
                    <a:pt x="25071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86" name="Forma livre: Forma 1885">
              <a:extLst>
                <a:ext uri="{FF2B5EF4-FFF2-40B4-BE49-F238E27FC236}">
                  <a16:creationId xmlns:a16="http://schemas.microsoft.com/office/drawing/2014/main" id="{9EB973E4-8280-E679-BEEC-24C4C346670B}"/>
                </a:ext>
              </a:extLst>
            </p:cNvPr>
            <p:cNvSpPr/>
            <p:nvPr/>
          </p:nvSpPr>
          <p:spPr>
            <a:xfrm>
              <a:off x="2696100" y="5249229"/>
              <a:ext cx="48887" cy="24431"/>
            </a:xfrm>
            <a:custGeom>
              <a:avLst/>
              <a:gdLst>
                <a:gd name="connsiteX0" fmla="*/ 0 w 48887"/>
                <a:gd name="connsiteY0" fmla="*/ 24432 h 24431"/>
                <a:gd name="connsiteX1" fmla="*/ 24444 w 48887"/>
                <a:gd name="connsiteY1" fmla="*/ 0 h 24431"/>
                <a:gd name="connsiteX2" fmla="*/ 48888 w 48887"/>
                <a:gd name="connsiteY2" fmla="*/ 24432 h 244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8887" h="24431">
                  <a:moveTo>
                    <a:pt x="0" y="24432"/>
                  </a:moveTo>
                  <a:cubicBezTo>
                    <a:pt x="0" y="10939"/>
                    <a:pt x="10939" y="0"/>
                    <a:pt x="24444" y="0"/>
                  </a:cubicBezTo>
                  <a:cubicBezTo>
                    <a:pt x="37949" y="0"/>
                    <a:pt x="48888" y="10939"/>
                    <a:pt x="48888" y="24432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887" name="Gráfico 14">
              <a:extLst>
                <a:ext uri="{FF2B5EF4-FFF2-40B4-BE49-F238E27FC236}">
                  <a16:creationId xmlns:a16="http://schemas.microsoft.com/office/drawing/2014/main" id="{D88320C8-12A0-2B78-A783-12DE10E686B4}"/>
                </a:ext>
              </a:extLst>
            </p:cNvPr>
            <p:cNvGrpSpPr/>
            <p:nvPr/>
          </p:nvGrpSpPr>
          <p:grpSpPr>
            <a:xfrm>
              <a:off x="2645509" y="5305034"/>
              <a:ext cx="150068" cy="1182"/>
              <a:chOff x="2645509" y="5305034"/>
              <a:chExt cx="150068" cy="1182"/>
            </a:xfrm>
          </p:grpSpPr>
          <p:sp>
            <p:nvSpPr>
              <p:cNvPr id="1888" name="Forma livre: Forma 1887">
                <a:extLst>
                  <a:ext uri="{FF2B5EF4-FFF2-40B4-BE49-F238E27FC236}">
                    <a16:creationId xmlns:a16="http://schemas.microsoft.com/office/drawing/2014/main" id="{66294563-7BB2-9CB4-A909-6B26136BDA9F}"/>
                  </a:ext>
                </a:extLst>
              </p:cNvPr>
              <p:cNvSpPr/>
              <p:nvPr/>
            </p:nvSpPr>
            <p:spPr>
              <a:xfrm>
                <a:off x="2645509" y="5305034"/>
                <a:ext cx="16733" cy="1182"/>
              </a:xfrm>
              <a:custGeom>
                <a:avLst/>
                <a:gdLst>
                  <a:gd name="connsiteX0" fmla="*/ 0 w 16733"/>
                  <a:gd name="connsiteY0" fmla="*/ 0 h 1182"/>
                  <a:gd name="connsiteX1" fmla="*/ 16733 w 16733"/>
                  <a:gd name="connsiteY1" fmla="*/ 0 h 11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6733" h="1182">
                    <a:moveTo>
                      <a:pt x="0" y="0"/>
                    </a:moveTo>
                    <a:lnTo>
                      <a:pt x="16733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889" name="Forma livre: Forma 1888">
                <a:extLst>
                  <a:ext uri="{FF2B5EF4-FFF2-40B4-BE49-F238E27FC236}">
                    <a16:creationId xmlns:a16="http://schemas.microsoft.com/office/drawing/2014/main" id="{9891ECE0-5D14-375D-CD7C-65B60CAD578A}"/>
                  </a:ext>
                </a:extLst>
              </p:cNvPr>
              <p:cNvSpPr/>
              <p:nvPr/>
            </p:nvSpPr>
            <p:spPr>
              <a:xfrm>
                <a:off x="2778844" y="5305034"/>
                <a:ext cx="16733" cy="1182"/>
              </a:xfrm>
              <a:custGeom>
                <a:avLst/>
                <a:gdLst>
                  <a:gd name="connsiteX0" fmla="*/ 0 w 16733"/>
                  <a:gd name="connsiteY0" fmla="*/ 0 h 1182"/>
                  <a:gd name="connsiteX1" fmla="*/ 16733 w 16733"/>
                  <a:gd name="connsiteY1" fmla="*/ 0 h 11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6733" h="1182">
                    <a:moveTo>
                      <a:pt x="0" y="0"/>
                    </a:moveTo>
                    <a:lnTo>
                      <a:pt x="16733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890" name="Gráfico 14">
              <a:extLst>
                <a:ext uri="{FF2B5EF4-FFF2-40B4-BE49-F238E27FC236}">
                  <a16:creationId xmlns:a16="http://schemas.microsoft.com/office/drawing/2014/main" id="{C21B7C17-27C6-6660-AA89-E6AE8B101FCA}"/>
                </a:ext>
              </a:extLst>
            </p:cNvPr>
            <p:cNvGrpSpPr/>
            <p:nvPr/>
          </p:nvGrpSpPr>
          <p:grpSpPr>
            <a:xfrm>
              <a:off x="2621498" y="5273341"/>
              <a:ext cx="198095" cy="101713"/>
              <a:chOff x="2621498" y="5273341"/>
              <a:chExt cx="198095" cy="101713"/>
            </a:xfrm>
            <a:noFill/>
          </p:grpSpPr>
          <p:sp>
            <p:nvSpPr>
              <p:cNvPr id="1891" name="Forma livre: Forma 1890">
                <a:extLst>
                  <a:ext uri="{FF2B5EF4-FFF2-40B4-BE49-F238E27FC236}">
                    <a16:creationId xmlns:a16="http://schemas.microsoft.com/office/drawing/2014/main" id="{5F2660EC-0A16-CEA4-E819-13E943C94267}"/>
                  </a:ext>
                </a:extLst>
              </p:cNvPr>
              <p:cNvSpPr/>
              <p:nvPr/>
            </p:nvSpPr>
            <p:spPr>
              <a:xfrm>
                <a:off x="2621498" y="5273341"/>
                <a:ext cx="198095" cy="73650"/>
              </a:xfrm>
              <a:custGeom>
                <a:avLst/>
                <a:gdLst>
                  <a:gd name="connsiteX0" fmla="*/ 191557 w 198095"/>
                  <a:gd name="connsiteY0" fmla="*/ 73639 h 73650"/>
                  <a:gd name="connsiteX1" fmla="*/ 193923 w 198095"/>
                  <a:gd name="connsiteY1" fmla="*/ 38564 h 73650"/>
                  <a:gd name="connsiteX2" fmla="*/ 194703 w 198095"/>
                  <a:gd name="connsiteY2" fmla="*/ 18460 h 73650"/>
                  <a:gd name="connsiteX3" fmla="*/ 177367 w 198095"/>
                  <a:gd name="connsiteY3" fmla="*/ 12547 h 73650"/>
                  <a:gd name="connsiteX4" fmla="*/ 145059 w 198095"/>
                  <a:gd name="connsiteY4" fmla="*/ 12547 h 73650"/>
                  <a:gd name="connsiteX5" fmla="*/ 99057 w 198095"/>
                  <a:gd name="connsiteY5" fmla="*/ 0 h 73650"/>
                  <a:gd name="connsiteX6" fmla="*/ 71574 w 198095"/>
                  <a:gd name="connsiteY6" fmla="*/ 3418 h 73650"/>
                  <a:gd name="connsiteX7" fmla="*/ 53055 w 198095"/>
                  <a:gd name="connsiteY7" fmla="*/ 12559 h 73650"/>
                  <a:gd name="connsiteX8" fmla="*/ 20735 w 198095"/>
                  <a:gd name="connsiteY8" fmla="*/ 12559 h 73650"/>
                  <a:gd name="connsiteX9" fmla="*/ 3387 w 198095"/>
                  <a:gd name="connsiteY9" fmla="*/ 18472 h 73650"/>
                  <a:gd name="connsiteX10" fmla="*/ 4179 w 198095"/>
                  <a:gd name="connsiteY10" fmla="*/ 38575 h 73650"/>
                  <a:gd name="connsiteX11" fmla="*/ 6544 w 198095"/>
                  <a:gd name="connsiteY11" fmla="*/ 73651 h 736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98095" h="73650">
                    <a:moveTo>
                      <a:pt x="191557" y="73639"/>
                    </a:moveTo>
                    <a:cubicBezTo>
                      <a:pt x="179330" y="55108"/>
                      <a:pt x="193923" y="38564"/>
                      <a:pt x="193923" y="38564"/>
                    </a:cubicBezTo>
                    <a:cubicBezTo>
                      <a:pt x="200226" y="31858"/>
                      <a:pt x="198464" y="22989"/>
                      <a:pt x="194703" y="18460"/>
                    </a:cubicBezTo>
                    <a:cubicBezTo>
                      <a:pt x="190138" y="12925"/>
                      <a:pt x="181506" y="12547"/>
                      <a:pt x="177367" y="12547"/>
                    </a:cubicBezTo>
                    <a:lnTo>
                      <a:pt x="145059" y="12547"/>
                    </a:lnTo>
                    <a:cubicBezTo>
                      <a:pt x="137348" y="5168"/>
                      <a:pt x="119669" y="0"/>
                      <a:pt x="99057" y="0"/>
                    </a:cubicBezTo>
                    <a:cubicBezTo>
                      <a:pt x="88898" y="0"/>
                      <a:pt x="79461" y="1265"/>
                      <a:pt x="71574" y="3418"/>
                    </a:cubicBezTo>
                    <a:cubicBezTo>
                      <a:pt x="63449" y="5641"/>
                      <a:pt x="56969" y="8810"/>
                      <a:pt x="53055" y="12559"/>
                    </a:cubicBezTo>
                    <a:lnTo>
                      <a:pt x="20735" y="12559"/>
                    </a:lnTo>
                    <a:cubicBezTo>
                      <a:pt x="16596" y="12559"/>
                      <a:pt x="7963" y="12937"/>
                      <a:pt x="3387" y="18472"/>
                    </a:cubicBezTo>
                    <a:cubicBezTo>
                      <a:pt x="-362" y="23001"/>
                      <a:pt x="-2136" y="31870"/>
                      <a:pt x="4179" y="38575"/>
                    </a:cubicBezTo>
                    <a:cubicBezTo>
                      <a:pt x="4179" y="38575"/>
                      <a:pt x="18760" y="55132"/>
                      <a:pt x="6544" y="73651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892" name="Forma livre: Forma 1891">
                <a:extLst>
                  <a:ext uri="{FF2B5EF4-FFF2-40B4-BE49-F238E27FC236}">
                    <a16:creationId xmlns:a16="http://schemas.microsoft.com/office/drawing/2014/main" id="{19A10B4A-9105-EA83-2E58-D308F5D773AD}"/>
                  </a:ext>
                </a:extLst>
              </p:cNvPr>
              <p:cNvSpPr/>
              <p:nvPr/>
            </p:nvSpPr>
            <p:spPr>
              <a:xfrm>
                <a:off x="2685870" y="5285888"/>
                <a:ext cx="84104" cy="89165"/>
              </a:xfrm>
              <a:custGeom>
                <a:avLst/>
                <a:gdLst>
                  <a:gd name="connsiteX0" fmla="*/ 84105 w 84104"/>
                  <a:gd name="connsiteY0" fmla="*/ 0 h 89165"/>
                  <a:gd name="connsiteX1" fmla="*/ 69382 w 84104"/>
                  <a:gd name="connsiteY1" fmla="*/ 19784 h 89165"/>
                  <a:gd name="connsiteX2" fmla="*/ 58052 w 84104"/>
                  <a:gd name="connsiteY2" fmla="*/ 80888 h 89165"/>
                  <a:gd name="connsiteX3" fmla="*/ 46239 w 84104"/>
                  <a:gd name="connsiteY3" fmla="*/ 89166 h 89165"/>
                  <a:gd name="connsiteX4" fmla="*/ 23143 w 84104"/>
                  <a:gd name="connsiteY4" fmla="*/ 89166 h 89165"/>
                  <a:gd name="connsiteX5" fmla="*/ 11329 w 84104"/>
                  <a:gd name="connsiteY5" fmla="*/ 80888 h 89165"/>
                  <a:gd name="connsiteX6" fmla="*/ 0 w 84104"/>
                  <a:gd name="connsiteY6" fmla="*/ 19784 h 891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84104" h="89165">
                    <a:moveTo>
                      <a:pt x="84105" y="0"/>
                    </a:moveTo>
                    <a:cubicBezTo>
                      <a:pt x="84105" y="0"/>
                      <a:pt x="73367" y="3701"/>
                      <a:pt x="69382" y="19784"/>
                    </a:cubicBezTo>
                    <a:lnTo>
                      <a:pt x="58052" y="80888"/>
                    </a:lnTo>
                    <a:cubicBezTo>
                      <a:pt x="56551" y="85370"/>
                      <a:pt x="51442" y="89166"/>
                      <a:pt x="46239" y="89166"/>
                    </a:cubicBezTo>
                    <a:lnTo>
                      <a:pt x="23143" y="89166"/>
                    </a:lnTo>
                    <a:cubicBezTo>
                      <a:pt x="17940" y="89166"/>
                      <a:pt x="12831" y="85370"/>
                      <a:pt x="11329" y="80888"/>
                    </a:cubicBezTo>
                    <a:lnTo>
                      <a:pt x="0" y="19784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893" name="Forma livre: Forma 1892">
              <a:extLst>
                <a:ext uri="{FF2B5EF4-FFF2-40B4-BE49-F238E27FC236}">
                  <a16:creationId xmlns:a16="http://schemas.microsoft.com/office/drawing/2014/main" id="{12464543-A553-EC41-2F86-D64021198E60}"/>
                </a:ext>
              </a:extLst>
            </p:cNvPr>
            <p:cNvSpPr/>
            <p:nvPr/>
          </p:nvSpPr>
          <p:spPr>
            <a:xfrm>
              <a:off x="2715813" y="5353603"/>
              <a:ext cx="9460" cy="1182"/>
            </a:xfrm>
            <a:custGeom>
              <a:avLst/>
              <a:gdLst>
                <a:gd name="connsiteX0" fmla="*/ 0 w 9460"/>
                <a:gd name="connsiteY0" fmla="*/ 0 h 1182"/>
                <a:gd name="connsiteX1" fmla="*/ 9461 w 9460"/>
                <a:gd name="connsiteY1" fmla="*/ 0 h 11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460" h="1182">
                  <a:moveTo>
                    <a:pt x="0" y="0"/>
                  </a:moveTo>
                  <a:lnTo>
                    <a:pt x="9461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894" name="Gráfico 14">
              <a:extLst>
                <a:ext uri="{FF2B5EF4-FFF2-40B4-BE49-F238E27FC236}">
                  <a16:creationId xmlns:a16="http://schemas.microsoft.com/office/drawing/2014/main" id="{FDFBCB6A-237F-F3AE-6B8D-52B6CC7358CA}"/>
                </a:ext>
              </a:extLst>
            </p:cNvPr>
            <p:cNvGrpSpPr/>
            <p:nvPr/>
          </p:nvGrpSpPr>
          <p:grpSpPr>
            <a:xfrm>
              <a:off x="2530823" y="5288656"/>
              <a:ext cx="379451" cy="113526"/>
              <a:chOff x="2530823" y="5288656"/>
              <a:chExt cx="379451" cy="113526"/>
            </a:xfrm>
            <a:noFill/>
          </p:grpSpPr>
          <p:grpSp>
            <p:nvGrpSpPr>
              <p:cNvPr id="1895" name="Gráfico 14">
                <a:extLst>
                  <a:ext uri="{FF2B5EF4-FFF2-40B4-BE49-F238E27FC236}">
                    <a16:creationId xmlns:a16="http://schemas.microsoft.com/office/drawing/2014/main" id="{6A23B6DE-9895-1FFF-F8B1-8DCCA338827A}"/>
                  </a:ext>
                </a:extLst>
              </p:cNvPr>
              <p:cNvGrpSpPr/>
              <p:nvPr/>
            </p:nvGrpSpPr>
            <p:grpSpPr>
              <a:xfrm>
                <a:off x="2530823" y="5288656"/>
                <a:ext cx="146674" cy="113526"/>
                <a:chOff x="2530823" y="5288656"/>
                <a:chExt cx="146674" cy="113526"/>
              </a:xfrm>
              <a:noFill/>
            </p:grpSpPr>
            <p:sp>
              <p:nvSpPr>
                <p:cNvPr id="1896" name="Forma livre: Forma 1895">
                  <a:extLst>
                    <a:ext uri="{FF2B5EF4-FFF2-40B4-BE49-F238E27FC236}">
                      <a16:creationId xmlns:a16="http://schemas.microsoft.com/office/drawing/2014/main" id="{758A104D-77D6-2BEB-C88D-75B25DFBF154}"/>
                    </a:ext>
                  </a:extLst>
                </p:cNvPr>
                <p:cNvSpPr/>
                <p:nvPr/>
              </p:nvSpPr>
              <p:spPr>
                <a:xfrm>
                  <a:off x="2530823" y="5288656"/>
                  <a:ext cx="67796" cy="113526"/>
                </a:xfrm>
                <a:custGeom>
                  <a:avLst/>
                  <a:gdLst>
                    <a:gd name="connsiteX0" fmla="*/ 67797 w 67796"/>
                    <a:gd name="connsiteY0" fmla="*/ 88291 h 113526"/>
                    <a:gd name="connsiteX1" fmla="*/ 67797 w 67796"/>
                    <a:gd name="connsiteY1" fmla="*/ 104066 h 113526"/>
                    <a:gd name="connsiteX2" fmla="*/ 58336 w 67796"/>
                    <a:gd name="connsiteY2" fmla="*/ 113527 h 113526"/>
                    <a:gd name="connsiteX3" fmla="*/ 9461 w 67796"/>
                    <a:gd name="connsiteY3" fmla="*/ 113527 h 113526"/>
                    <a:gd name="connsiteX4" fmla="*/ 0 w 67796"/>
                    <a:gd name="connsiteY4" fmla="*/ 104066 h 113526"/>
                    <a:gd name="connsiteX5" fmla="*/ 0 w 67796"/>
                    <a:gd name="connsiteY5" fmla="*/ 9461 h 113526"/>
                    <a:gd name="connsiteX6" fmla="*/ 9461 w 67796"/>
                    <a:gd name="connsiteY6" fmla="*/ 0 h 113526"/>
                    <a:gd name="connsiteX7" fmla="*/ 58336 w 67796"/>
                    <a:gd name="connsiteY7" fmla="*/ 0 h 113526"/>
                    <a:gd name="connsiteX8" fmla="*/ 67797 w 67796"/>
                    <a:gd name="connsiteY8" fmla="*/ 9461 h 113526"/>
                    <a:gd name="connsiteX9" fmla="*/ 67797 w 67796"/>
                    <a:gd name="connsiteY9" fmla="*/ 35666 h 11352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67796" h="113526">
                      <a:moveTo>
                        <a:pt x="67797" y="88291"/>
                      </a:moveTo>
                      <a:lnTo>
                        <a:pt x="67797" y="104066"/>
                      </a:lnTo>
                      <a:cubicBezTo>
                        <a:pt x="67797" y="109270"/>
                        <a:pt x="63540" y="113527"/>
                        <a:pt x="58336" y="113527"/>
                      </a:cubicBezTo>
                      <a:lnTo>
                        <a:pt x="9461" y="113527"/>
                      </a:lnTo>
                      <a:cubicBezTo>
                        <a:pt x="4257" y="113527"/>
                        <a:pt x="0" y="109270"/>
                        <a:pt x="0" y="104066"/>
                      </a:cubicBezTo>
                      <a:lnTo>
                        <a:pt x="0" y="9461"/>
                      </a:lnTo>
                      <a:cubicBezTo>
                        <a:pt x="0" y="4257"/>
                        <a:pt x="4257" y="0"/>
                        <a:pt x="9461" y="0"/>
                      </a:cubicBezTo>
                      <a:lnTo>
                        <a:pt x="58336" y="0"/>
                      </a:lnTo>
                      <a:cubicBezTo>
                        <a:pt x="63540" y="0"/>
                        <a:pt x="67797" y="4257"/>
                        <a:pt x="67797" y="9461"/>
                      </a:cubicBezTo>
                      <a:lnTo>
                        <a:pt x="67797" y="35666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897" name="Forma livre: Forma 1896">
                  <a:extLst>
                    <a:ext uri="{FF2B5EF4-FFF2-40B4-BE49-F238E27FC236}">
                      <a16:creationId xmlns:a16="http://schemas.microsoft.com/office/drawing/2014/main" id="{76FBB8F0-E281-88A1-ACBB-C660312753F5}"/>
                    </a:ext>
                  </a:extLst>
                </p:cNvPr>
                <p:cNvSpPr/>
                <p:nvPr/>
              </p:nvSpPr>
              <p:spPr>
                <a:xfrm>
                  <a:off x="2559406" y="5342652"/>
                  <a:ext cx="118091" cy="33112"/>
                </a:xfrm>
                <a:custGeom>
                  <a:avLst/>
                  <a:gdLst>
                    <a:gd name="connsiteX0" fmla="*/ 96770 w 118091"/>
                    <a:gd name="connsiteY0" fmla="*/ 15007 h 33112"/>
                    <a:gd name="connsiteX1" fmla="*/ 50531 w 118091"/>
                    <a:gd name="connsiteY1" fmla="*/ 0 h 33112"/>
                    <a:gd name="connsiteX2" fmla="*/ 0 w 118091"/>
                    <a:gd name="connsiteY2" fmla="*/ 0 h 33112"/>
                    <a:gd name="connsiteX3" fmla="*/ 0 w 118091"/>
                    <a:gd name="connsiteY3" fmla="*/ 33112 h 33112"/>
                    <a:gd name="connsiteX4" fmla="*/ 118092 w 118091"/>
                    <a:gd name="connsiteY4" fmla="*/ 33112 h 3311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18091" h="33112">
                      <a:moveTo>
                        <a:pt x="96770" y="15007"/>
                      </a:moveTo>
                      <a:cubicBezTo>
                        <a:pt x="80036" y="8337"/>
                        <a:pt x="64486" y="3973"/>
                        <a:pt x="50531" y="0"/>
                      </a:cubicBezTo>
                      <a:lnTo>
                        <a:pt x="0" y="0"/>
                      </a:lnTo>
                      <a:lnTo>
                        <a:pt x="0" y="33112"/>
                      </a:lnTo>
                      <a:lnTo>
                        <a:pt x="118092" y="33112"/>
                      </a:ln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1898" name="Gráfico 14">
                <a:extLst>
                  <a:ext uri="{FF2B5EF4-FFF2-40B4-BE49-F238E27FC236}">
                    <a16:creationId xmlns:a16="http://schemas.microsoft.com/office/drawing/2014/main" id="{C334E8DA-9E64-D112-386A-BC40EF4E6EAD}"/>
                  </a:ext>
                </a:extLst>
              </p:cNvPr>
              <p:cNvGrpSpPr/>
              <p:nvPr/>
            </p:nvGrpSpPr>
            <p:grpSpPr>
              <a:xfrm>
                <a:off x="2763589" y="5288656"/>
                <a:ext cx="146686" cy="113526"/>
                <a:chOff x="2763589" y="5288656"/>
                <a:chExt cx="146686" cy="113526"/>
              </a:xfrm>
              <a:noFill/>
            </p:grpSpPr>
            <p:sp>
              <p:nvSpPr>
                <p:cNvPr id="1899" name="Forma livre: Forma 1898">
                  <a:extLst>
                    <a:ext uri="{FF2B5EF4-FFF2-40B4-BE49-F238E27FC236}">
                      <a16:creationId xmlns:a16="http://schemas.microsoft.com/office/drawing/2014/main" id="{F0AD2580-BB13-176A-434D-40DE5E1A7EF9}"/>
                    </a:ext>
                  </a:extLst>
                </p:cNvPr>
                <p:cNvSpPr/>
                <p:nvPr/>
              </p:nvSpPr>
              <p:spPr>
                <a:xfrm>
                  <a:off x="2842466" y="5288656"/>
                  <a:ext cx="67808" cy="113526"/>
                </a:xfrm>
                <a:custGeom>
                  <a:avLst/>
                  <a:gdLst>
                    <a:gd name="connsiteX0" fmla="*/ 0 w 67808"/>
                    <a:gd name="connsiteY0" fmla="*/ 88291 h 113526"/>
                    <a:gd name="connsiteX1" fmla="*/ 0 w 67808"/>
                    <a:gd name="connsiteY1" fmla="*/ 104066 h 113526"/>
                    <a:gd name="connsiteX2" fmla="*/ 9461 w 67808"/>
                    <a:gd name="connsiteY2" fmla="*/ 113527 h 113526"/>
                    <a:gd name="connsiteX3" fmla="*/ 58348 w 67808"/>
                    <a:gd name="connsiteY3" fmla="*/ 113527 h 113526"/>
                    <a:gd name="connsiteX4" fmla="*/ 67809 w 67808"/>
                    <a:gd name="connsiteY4" fmla="*/ 104066 h 113526"/>
                    <a:gd name="connsiteX5" fmla="*/ 67809 w 67808"/>
                    <a:gd name="connsiteY5" fmla="*/ 9461 h 113526"/>
                    <a:gd name="connsiteX6" fmla="*/ 58348 w 67808"/>
                    <a:gd name="connsiteY6" fmla="*/ 0 h 113526"/>
                    <a:gd name="connsiteX7" fmla="*/ 9461 w 67808"/>
                    <a:gd name="connsiteY7" fmla="*/ 0 h 113526"/>
                    <a:gd name="connsiteX8" fmla="*/ 0 w 67808"/>
                    <a:gd name="connsiteY8" fmla="*/ 9461 h 113526"/>
                    <a:gd name="connsiteX9" fmla="*/ 0 w 67808"/>
                    <a:gd name="connsiteY9" fmla="*/ 35666 h 11352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67808" h="113526">
                      <a:moveTo>
                        <a:pt x="0" y="88291"/>
                      </a:moveTo>
                      <a:lnTo>
                        <a:pt x="0" y="104066"/>
                      </a:lnTo>
                      <a:cubicBezTo>
                        <a:pt x="0" y="109270"/>
                        <a:pt x="4257" y="113527"/>
                        <a:pt x="9461" y="113527"/>
                      </a:cubicBezTo>
                      <a:lnTo>
                        <a:pt x="58348" y="113527"/>
                      </a:lnTo>
                      <a:cubicBezTo>
                        <a:pt x="63551" y="113527"/>
                        <a:pt x="67809" y="109270"/>
                        <a:pt x="67809" y="104066"/>
                      </a:cubicBezTo>
                      <a:lnTo>
                        <a:pt x="67809" y="9461"/>
                      </a:lnTo>
                      <a:cubicBezTo>
                        <a:pt x="67809" y="4257"/>
                        <a:pt x="63551" y="0"/>
                        <a:pt x="58348" y="0"/>
                      </a:cubicBezTo>
                      <a:lnTo>
                        <a:pt x="9461" y="0"/>
                      </a:lnTo>
                      <a:cubicBezTo>
                        <a:pt x="4257" y="0"/>
                        <a:pt x="0" y="4257"/>
                        <a:pt x="0" y="9461"/>
                      </a:cubicBezTo>
                      <a:lnTo>
                        <a:pt x="0" y="35666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900" name="Forma livre: Forma 1899">
                  <a:extLst>
                    <a:ext uri="{FF2B5EF4-FFF2-40B4-BE49-F238E27FC236}">
                      <a16:creationId xmlns:a16="http://schemas.microsoft.com/office/drawing/2014/main" id="{36B0BBC7-FCA6-2A23-34C1-53262F898DEC}"/>
                    </a:ext>
                  </a:extLst>
                </p:cNvPr>
                <p:cNvSpPr/>
                <p:nvPr/>
              </p:nvSpPr>
              <p:spPr>
                <a:xfrm>
                  <a:off x="2763589" y="5342652"/>
                  <a:ext cx="118091" cy="33112"/>
                </a:xfrm>
                <a:custGeom>
                  <a:avLst/>
                  <a:gdLst>
                    <a:gd name="connsiteX0" fmla="*/ 21322 w 118091"/>
                    <a:gd name="connsiteY0" fmla="*/ 15007 h 33112"/>
                    <a:gd name="connsiteX1" fmla="*/ 67560 w 118091"/>
                    <a:gd name="connsiteY1" fmla="*/ 0 h 33112"/>
                    <a:gd name="connsiteX2" fmla="*/ 118092 w 118091"/>
                    <a:gd name="connsiteY2" fmla="*/ 0 h 33112"/>
                    <a:gd name="connsiteX3" fmla="*/ 118092 w 118091"/>
                    <a:gd name="connsiteY3" fmla="*/ 33112 h 33112"/>
                    <a:gd name="connsiteX4" fmla="*/ 0 w 118091"/>
                    <a:gd name="connsiteY4" fmla="*/ 33112 h 3311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18091" h="33112">
                      <a:moveTo>
                        <a:pt x="21322" y="15007"/>
                      </a:moveTo>
                      <a:cubicBezTo>
                        <a:pt x="38055" y="8337"/>
                        <a:pt x="53606" y="3973"/>
                        <a:pt x="67560" y="0"/>
                      </a:cubicBezTo>
                      <a:lnTo>
                        <a:pt x="118092" y="0"/>
                      </a:lnTo>
                      <a:lnTo>
                        <a:pt x="118092" y="33112"/>
                      </a:lnTo>
                      <a:lnTo>
                        <a:pt x="0" y="33112"/>
                      </a:ln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</p:grpSp>
      <p:grpSp>
        <p:nvGrpSpPr>
          <p:cNvPr id="1901" name="Gráfico 14">
            <a:extLst>
              <a:ext uri="{FF2B5EF4-FFF2-40B4-BE49-F238E27FC236}">
                <a16:creationId xmlns:a16="http://schemas.microsoft.com/office/drawing/2014/main" id="{B3AF0D99-7105-6E70-42DF-3DFCD10C5560}"/>
              </a:ext>
            </a:extLst>
          </p:cNvPr>
          <p:cNvGrpSpPr/>
          <p:nvPr/>
        </p:nvGrpSpPr>
        <p:grpSpPr>
          <a:xfrm>
            <a:off x="2617834" y="4591972"/>
            <a:ext cx="205423" cy="342515"/>
            <a:chOff x="2617834" y="4591972"/>
            <a:chExt cx="205423" cy="342515"/>
          </a:xfrm>
          <a:noFill/>
        </p:grpSpPr>
        <p:sp>
          <p:nvSpPr>
            <p:cNvPr id="1902" name="Forma livre: Forma 1901">
              <a:extLst>
                <a:ext uri="{FF2B5EF4-FFF2-40B4-BE49-F238E27FC236}">
                  <a16:creationId xmlns:a16="http://schemas.microsoft.com/office/drawing/2014/main" id="{3BBEAE61-3512-CD9F-8FBF-4AC89072A62D}"/>
                </a:ext>
              </a:extLst>
            </p:cNvPr>
            <p:cNvSpPr/>
            <p:nvPr/>
          </p:nvSpPr>
          <p:spPr>
            <a:xfrm>
              <a:off x="2663744" y="4591972"/>
              <a:ext cx="113586" cy="11076"/>
            </a:xfrm>
            <a:custGeom>
              <a:avLst/>
              <a:gdLst>
                <a:gd name="connsiteX0" fmla="*/ 0 w 113586"/>
                <a:gd name="connsiteY0" fmla="*/ 11076 h 11076"/>
                <a:gd name="connsiteX1" fmla="*/ 24349 w 113586"/>
                <a:gd name="connsiteY1" fmla="*/ 7 h 11076"/>
                <a:gd name="connsiteX2" fmla="*/ 89249 w 113586"/>
                <a:gd name="connsiteY2" fmla="*/ 7 h 11076"/>
                <a:gd name="connsiteX3" fmla="*/ 113586 w 113586"/>
                <a:gd name="connsiteY3" fmla="*/ 11076 h 110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3586" h="11076">
                  <a:moveTo>
                    <a:pt x="0" y="11076"/>
                  </a:moveTo>
                  <a:cubicBezTo>
                    <a:pt x="6114" y="-667"/>
                    <a:pt x="10962" y="7"/>
                    <a:pt x="24349" y="7"/>
                  </a:cubicBezTo>
                  <a:lnTo>
                    <a:pt x="89249" y="7"/>
                  </a:lnTo>
                  <a:cubicBezTo>
                    <a:pt x="102635" y="7"/>
                    <a:pt x="108099" y="1355"/>
                    <a:pt x="113586" y="11076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03" name="Forma livre: Forma 1902">
              <a:extLst>
                <a:ext uri="{FF2B5EF4-FFF2-40B4-BE49-F238E27FC236}">
                  <a16:creationId xmlns:a16="http://schemas.microsoft.com/office/drawing/2014/main" id="{1A4D9984-EB31-AFC8-372D-7BAE7E1A0F26}"/>
                </a:ext>
              </a:extLst>
            </p:cNvPr>
            <p:cNvSpPr/>
            <p:nvPr/>
          </p:nvSpPr>
          <p:spPr>
            <a:xfrm>
              <a:off x="2720531" y="4595349"/>
              <a:ext cx="1182" cy="22693"/>
            </a:xfrm>
            <a:custGeom>
              <a:avLst/>
              <a:gdLst>
                <a:gd name="connsiteX0" fmla="*/ 0 w 1182"/>
                <a:gd name="connsiteY0" fmla="*/ 22694 h 22693"/>
                <a:gd name="connsiteX1" fmla="*/ 0 w 1182"/>
                <a:gd name="connsiteY1" fmla="*/ 0 h 226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82" h="22693">
                  <a:moveTo>
                    <a:pt x="0" y="22694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904" name="Gráfico 14">
              <a:extLst>
                <a:ext uri="{FF2B5EF4-FFF2-40B4-BE49-F238E27FC236}">
                  <a16:creationId xmlns:a16="http://schemas.microsoft.com/office/drawing/2014/main" id="{5CDBBECF-A7F0-6D9C-3C16-B69FDF87C093}"/>
                </a:ext>
              </a:extLst>
            </p:cNvPr>
            <p:cNvGrpSpPr/>
            <p:nvPr/>
          </p:nvGrpSpPr>
          <p:grpSpPr>
            <a:xfrm>
              <a:off x="2624175" y="4875631"/>
              <a:ext cx="192711" cy="58856"/>
              <a:chOff x="2624175" y="4875631"/>
              <a:chExt cx="192711" cy="58856"/>
            </a:xfrm>
          </p:grpSpPr>
          <p:sp>
            <p:nvSpPr>
              <p:cNvPr id="1905" name="Forma livre: Forma 1904">
                <a:extLst>
                  <a:ext uri="{FF2B5EF4-FFF2-40B4-BE49-F238E27FC236}">
                    <a16:creationId xmlns:a16="http://schemas.microsoft.com/office/drawing/2014/main" id="{0F35F976-33DC-9016-0872-4DD48F0C1C82}"/>
                  </a:ext>
                </a:extLst>
              </p:cNvPr>
              <p:cNvSpPr/>
              <p:nvPr/>
            </p:nvSpPr>
            <p:spPr>
              <a:xfrm>
                <a:off x="2624175" y="4875631"/>
                <a:ext cx="36718" cy="58856"/>
              </a:xfrm>
              <a:custGeom>
                <a:avLst/>
                <a:gdLst>
                  <a:gd name="connsiteX0" fmla="*/ 36719 w 36718"/>
                  <a:gd name="connsiteY0" fmla="*/ 0 h 58856"/>
                  <a:gd name="connsiteX1" fmla="*/ 0 w 36718"/>
                  <a:gd name="connsiteY1" fmla="*/ 58857 h 588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6718" h="58856">
                    <a:moveTo>
                      <a:pt x="36719" y="0"/>
                    </a:moveTo>
                    <a:lnTo>
                      <a:pt x="0" y="58857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906" name="Forma livre: Forma 1905">
                <a:extLst>
                  <a:ext uri="{FF2B5EF4-FFF2-40B4-BE49-F238E27FC236}">
                    <a16:creationId xmlns:a16="http://schemas.microsoft.com/office/drawing/2014/main" id="{BE1D740E-1DCB-9C6C-13D4-193B28004A0B}"/>
                  </a:ext>
                </a:extLst>
              </p:cNvPr>
              <p:cNvSpPr/>
              <p:nvPr/>
            </p:nvSpPr>
            <p:spPr>
              <a:xfrm>
                <a:off x="2781292" y="4876186"/>
                <a:ext cx="35595" cy="58300"/>
              </a:xfrm>
              <a:custGeom>
                <a:avLst/>
                <a:gdLst>
                  <a:gd name="connsiteX0" fmla="*/ 35595 w 35595"/>
                  <a:gd name="connsiteY0" fmla="*/ 58301 h 58300"/>
                  <a:gd name="connsiteX1" fmla="*/ 0 w 35595"/>
                  <a:gd name="connsiteY1" fmla="*/ 0 h 583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5595" h="58300">
                    <a:moveTo>
                      <a:pt x="35595" y="58301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907" name="Forma livre: Forma 1906">
                <a:extLst>
                  <a:ext uri="{FF2B5EF4-FFF2-40B4-BE49-F238E27FC236}">
                    <a16:creationId xmlns:a16="http://schemas.microsoft.com/office/drawing/2014/main" id="{A038AE61-CECD-1296-B170-4E3D84B5FE48}"/>
                  </a:ext>
                </a:extLst>
              </p:cNvPr>
              <p:cNvSpPr/>
              <p:nvPr/>
            </p:nvSpPr>
            <p:spPr>
              <a:xfrm>
                <a:off x="2645166" y="4905502"/>
                <a:ext cx="150730" cy="1182"/>
              </a:xfrm>
              <a:custGeom>
                <a:avLst/>
                <a:gdLst>
                  <a:gd name="connsiteX0" fmla="*/ 0 w 150730"/>
                  <a:gd name="connsiteY0" fmla="*/ 0 h 1182"/>
                  <a:gd name="connsiteX1" fmla="*/ 150731 w 150730"/>
                  <a:gd name="connsiteY1" fmla="*/ 0 h 11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50730" h="1182">
                    <a:moveTo>
                      <a:pt x="0" y="0"/>
                    </a:moveTo>
                    <a:lnTo>
                      <a:pt x="150731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908" name="Gráfico 14">
              <a:extLst>
                <a:ext uri="{FF2B5EF4-FFF2-40B4-BE49-F238E27FC236}">
                  <a16:creationId xmlns:a16="http://schemas.microsoft.com/office/drawing/2014/main" id="{F3705967-8644-8EF3-8D62-A6957D41D043}"/>
                </a:ext>
              </a:extLst>
            </p:cNvPr>
            <p:cNvGrpSpPr/>
            <p:nvPr/>
          </p:nvGrpSpPr>
          <p:grpSpPr>
            <a:xfrm>
              <a:off x="2617834" y="4637106"/>
              <a:ext cx="205423" cy="229028"/>
              <a:chOff x="2617834" y="4637106"/>
              <a:chExt cx="205423" cy="229028"/>
            </a:xfrm>
            <a:noFill/>
          </p:grpSpPr>
          <p:sp>
            <p:nvSpPr>
              <p:cNvPr id="1909" name="Forma livre: Forma 1908">
                <a:extLst>
                  <a:ext uri="{FF2B5EF4-FFF2-40B4-BE49-F238E27FC236}">
                    <a16:creationId xmlns:a16="http://schemas.microsoft.com/office/drawing/2014/main" id="{7E63BD18-6A6A-E244-B90E-00D6C654D4C6}"/>
                  </a:ext>
                </a:extLst>
              </p:cNvPr>
              <p:cNvSpPr/>
              <p:nvPr/>
            </p:nvSpPr>
            <p:spPr>
              <a:xfrm>
                <a:off x="2617834" y="4637106"/>
                <a:ext cx="205423" cy="229028"/>
              </a:xfrm>
              <a:custGeom>
                <a:avLst/>
                <a:gdLst>
                  <a:gd name="connsiteX0" fmla="*/ 192999 w 205423"/>
                  <a:gd name="connsiteY0" fmla="*/ 38623 h 229028"/>
                  <a:gd name="connsiteX1" fmla="*/ 148250 w 205423"/>
                  <a:gd name="connsiteY1" fmla="*/ 0 h 229028"/>
                  <a:gd name="connsiteX2" fmla="*/ 57168 w 205423"/>
                  <a:gd name="connsiteY2" fmla="*/ 0 h 229028"/>
                  <a:gd name="connsiteX3" fmla="*/ 12420 w 205423"/>
                  <a:gd name="connsiteY3" fmla="*/ 38623 h 229028"/>
                  <a:gd name="connsiteX4" fmla="*/ 1209 w 205423"/>
                  <a:gd name="connsiteY4" fmla="*/ 114556 h 229028"/>
                  <a:gd name="connsiteX5" fmla="*/ 101408 w 205423"/>
                  <a:gd name="connsiteY5" fmla="*/ 229029 h 229028"/>
                  <a:gd name="connsiteX6" fmla="*/ 104010 w 205423"/>
                  <a:gd name="connsiteY6" fmla="*/ 229029 h 229028"/>
                  <a:gd name="connsiteX7" fmla="*/ 204209 w 205423"/>
                  <a:gd name="connsiteY7" fmla="*/ 114520 h 229028"/>
                  <a:gd name="connsiteX8" fmla="*/ 192999 w 205423"/>
                  <a:gd name="connsiteY8" fmla="*/ 38623 h 2290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05423" h="229028">
                    <a:moveTo>
                      <a:pt x="192999" y="38623"/>
                    </a:moveTo>
                    <a:cubicBezTo>
                      <a:pt x="189865" y="17384"/>
                      <a:pt x="169726" y="0"/>
                      <a:pt x="148250" y="0"/>
                    </a:cubicBezTo>
                    <a:lnTo>
                      <a:pt x="57168" y="0"/>
                    </a:lnTo>
                    <a:cubicBezTo>
                      <a:pt x="35693" y="0"/>
                      <a:pt x="15566" y="17384"/>
                      <a:pt x="12420" y="38623"/>
                    </a:cubicBezTo>
                    <a:lnTo>
                      <a:pt x="1209" y="114556"/>
                    </a:lnTo>
                    <a:cubicBezTo>
                      <a:pt x="-8062" y="177528"/>
                      <a:pt x="37006" y="229029"/>
                      <a:pt x="101408" y="229029"/>
                    </a:cubicBezTo>
                    <a:lnTo>
                      <a:pt x="104010" y="229029"/>
                    </a:lnTo>
                    <a:cubicBezTo>
                      <a:pt x="168425" y="229029"/>
                      <a:pt x="213504" y="177504"/>
                      <a:pt x="204209" y="114520"/>
                    </a:cubicBezTo>
                    <a:lnTo>
                      <a:pt x="192999" y="38623"/>
                    </a:lnTo>
                    <a:close/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910" name="Forma livre: Forma 1909">
                <a:extLst>
                  <a:ext uri="{FF2B5EF4-FFF2-40B4-BE49-F238E27FC236}">
                    <a16:creationId xmlns:a16="http://schemas.microsoft.com/office/drawing/2014/main" id="{9716EBA0-B580-4F54-8EBA-59AC05AE041F}"/>
                  </a:ext>
                </a:extLst>
              </p:cNvPr>
              <p:cNvSpPr/>
              <p:nvPr/>
            </p:nvSpPr>
            <p:spPr>
              <a:xfrm>
                <a:off x="2645426" y="4730009"/>
                <a:ext cx="174625" cy="93364"/>
              </a:xfrm>
              <a:custGeom>
                <a:avLst/>
                <a:gdLst>
                  <a:gd name="connsiteX0" fmla="*/ 0 w 174625"/>
                  <a:gd name="connsiteY0" fmla="*/ 67726 h 93364"/>
                  <a:gd name="connsiteX1" fmla="*/ 73402 w 174625"/>
                  <a:gd name="connsiteY1" fmla="*/ 93364 h 93364"/>
                  <a:gd name="connsiteX2" fmla="*/ 76371 w 174625"/>
                  <a:gd name="connsiteY2" fmla="*/ 93364 h 93364"/>
                  <a:gd name="connsiteX3" fmla="*/ 173448 w 174625"/>
                  <a:gd name="connsiteY3" fmla="*/ 0 h 933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74625" h="93364">
                    <a:moveTo>
                      <a:pt x="0" y="67726"/>
                    </a:moveTo>
                    <a:cubicBezTo>
                      <a:pt x="17573" y="83596"/>
                      <a:pt x="43318" y="93364"/>
                      <a:pt x="73402" y="93364"/>
                    </a:cubicBezTo>
                    <a:lnTo>
                      <a:pt x="76371" y="93364"/>
                    </a:lnTo>
                    <a:cubicBezTo>
                      <a:pt x="138775" y="93364"/>
                      <a:pt x="182459" y="51347"/>
                      <a:pt x="173448" y="0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911" name="Forma livre: Forma 1910">
              <a:extLst>
                <a:ext uri="{FF2B5EF4-FFF2-40B4-BE49-F238E27FC236}">
                  <a16:creationId xmlns:a16="http://schemas.microsoft.com/office/drawing/2014/main" id="{41151360-9683-206A-6B53-797B07FC4028}"/>
                </a:ext>
              </a:extLst>
            </p:cNvPr>
            <p:cNvSpPr/>
            <p:nvPr/>
          </p:nvSpPr>
          <p:spPr>
            <a:xfrm>
              <a:off x="2647709" y="4664447"/>
              <a:ext cx="145645" cy="80048"/>
            </a:xfrm>
            <a:custGeom>
              <a:avLst/>
              <a:gdLst>
                <a:gd name="connsiteX0" fmla="*/ 71274 w 145645"/>
                <a:gd name="connsiteY0" fmla="*/ 74561 h 80048"/>
                <a:gd name="connsiteX1" fmla="*/ 74396 w 145645"/>
                <a:gd name="connsiteY1" fmla="*/ 74561 h 80048"/>
                <a:gd name="connsiteX2" fmla="*/ 145646 w 145645"/>
                <a:gd name="connsiteY2" fmla="*/ 80048 h 80048"/>
                <a:gd name="connsiteX3" fmla="*/ 136079 w 145645"/>
                <a:gd name="connsiteY3" fmla="*/ 15291 h 80048"/>
                <a:gd name="connsiteX4" fmla="*/ 118364 w 145645"/>
                <a:gd name="connsiteY4" fmla="*/ 0 h 80048"/>
                <a:gd name="connsiteX5" fmla="*/ 27282 w 145645"/>
                <a:gd name="connsiteY5" fmla="*/ 0 h 80048"/>
                <a:gd name="connsiteX6" fmla="*/ 9567 w 145645"/>
                <a:gd name="connsiteY6" fmla="*/ 15291 h 80048"/>
                <a:gd name="connsiteX7" fmla="*/ 0 w 145645"/>
                <a:gd name="connsiteY7" fmla="*/ 80048 h 80048"/>
                <a:gd name="connsiteX8" fmla="*/ 71262 w 145645"/>
                <a:gd name="connsiteY8" fmla="*/ 74573 h 80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5645" h="80048">
                  <a:moveTo>
                    <a:pt x="71274" y="74561"/>
                  </a:moveTo>
                  <a:lnTo>
                    <a:pt x="74396" y="74561"/>
                  </a:lnTo>
                  <a:cubicBezTo>
                    <a:pt x="101642" y="74561"/>
                    <a:pt x="125991" y="76583"/>
                    <a:pt x="145646" y="80048"/>
                  </a:cubicBezTo>
                  <a:lnTo>
                    <a:pt x="136079" y="15291"/>
                  </a:lnTo>
                  <a:cubicBezTo>
                    <a:pt x="134920" y="7427"/>
                    <a:pt x="126311" y="0"/>
                    <a:pt x="118364" y="0"/>
                  </a:cubicBezTo>
                  <a:lnTo>
                    <a:pt x="27282" y="0"/>
                  </a:lnTo>
                  <a:cubicBezTo>
                    <a:pt x="19335" y="0"/>
                    <a:pt x="10726" y="7427"/>
                    <a:pt x="9567" y="15291"/>
                  </a:cubicBezTo>
                  <a:lnTo>
                    <a:pt x="0" y="80048"/>
                  </a:lnTo>
                  <a:cubicBezTo>
                    <a:pt x="19666" y="76583"/>
                    <a:pt x="44004" y="74573"/>
                    <a:pt x="71262" y="74573"/>
                  </a:cubicBez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912" name="Gráfico 14">
              <a:extLst>
                <a:ext uri="{FF2B5EF4-FFF2-40B4-BE49-F238E27FC236}">
                  <a16:creationId xmlns:a16="http://schemas.microsoft.com/office/drawing/2014/main" id="{2F61D491-FAB8-1C36-3E11-52F0AC208642}"/>
                </a:ext>
              </a:extLst>
            </p:cNvPr>
            <p:cNvGrpSpPr/>
            <p:nvPr/>
          </p:nvGrpSpPr>
          <p:grpSpPr>
            <a:xfrm>
              <a:off x="2656247" y="4775195"/>
              <a:ext cx="128592" cy="11825"/>
              <a:chOff x="2656247" y="4775195"/>
              <a:chExt cx="128592" cy="11825"/>
            </a:xfrm>
          </p:grpSpPr>
          <p:sp>
            <p:nvSpPr>
              <p:cNvPr id="1913" name="Forma livre: Forma 1912">
                <a:extLst>
                  <a:ext uri="{FF2B5EF4-FFF2-40B4-BE49-F238E27FC236}">
                    <a16:creationId xmlns:a16="http://schemas.microsoft.com/office/drawing/2014/main" id="{91C4AE5A-9397-3B16-F6C9-0D0F0FFEBF89}"/>
                  </a:ext>
                </a:extLst>
              </p:cNvPr>
              <p:cNvSpPr/>
              <p:nvPr/>
            </p:nvSpPr>
            <p:spPr>
              <a:xfrm>
                <a:off x="2768591" y="4775195"/>
                <a:ext cx="16248" cy="11825"/>
              </a:xfrm>
              <a:custGeom>
                <a:avLst/>
                <a:gdLst>
                  <a:gd name="connsiteX0" fmla="*/ 0 w 16248"/>
                  <a:gd name="connsiteY0" fmla="*/ 11826 h 11825"/>
                  <a:gd name="connsiteX1" fmla="*/ 16249 w 16248"/>
                  <a:gd name="connsiteY1" fmla="*/ 0 h 118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6248" h="11825">
                    <a:moveTo>
                      <a:pt x="0" y="11826"/>
                    </a:moveTo>
                    <a:lnTo>
                      <a:pt x="16249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914" name="Forma livre: Forma 1913">
                <a:extLst>
                  <a:ext uri="{FF2B5EF4-FFF2-40B4-BE49-F238E27FC236}">
                    <a16:creationId xmlns:a16="http://schemas.microsoft.com/office/drawing/2014/main" id="{E63DD1E2-53F0-760C-3C7A-9C41B67E09B4}"/>
                  </a:ext>
                </a:extLst>
              </p:cNvPr>
              <p:cNvSpPr/>
              <p:nvPr/>
            </p:nvSpPr>
            <p:spPr>
              <a:xfrm>
                <a:off x="2656247" y="4775195"/>
                <a:ext cx="16260" cy="11825"/>
              </a:xfrm>
              <a:custGeom>
                <a:avLst/>
                <a:gdLst>
                  <a:gd name="connsiteX0" fmla="*/ 16260 w 16260"/>
                  <a:gd name="connsiteY0" fmla="*/ 11826 h 11825"/>
                  <a:gd name="connsiteX1" fmla="*/ 0 w 16260"/>
                  <a:gd name="connsiteY1" fmla="*/ 0 h 118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6260" h="11825">
                    <a:moveTo>
                      <a:pt x="16260" y="11826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916" name="Gráfico 15">
            <a:extLst>
              <a:ext uri="{FF2B5EF4-FFF2-40B4-BE49-F238E27FC236}">
                <a16:creationId xmlns:a16="http://schemas.microsoft.com/office/drawing/2014/main" id="{5BAEBE21-9B2C-0F80-3001-71E8C5DD7851}"/>
              </a:ext>
            </a:extLst>
          </p:cNvPr>
          <p:cNvGrpSpPr/>
          <p:nvPr/>
        </p:nvGrpSpPr>
        <p:grpSpPr>
          <a:xfrm>
            <a:off x="5592052" y="4676372"/>
            <a:ext cx="344934" cy="235112"/>
            <a:chOff x="5592052" y="4676372"/>
            <a:chExt cx="344934" cy="235112"/>
          </a:xfrm>
          <a:noFill/>
        </p:grpSpPr>
        <p:sp>
          <p:nvSpPr>
            <p:cNvPr id="1917" name="Forma livre: Forma 1916">
              <a:extLst>
                <a:ext uri="{FF2B5EF4-FFF2-40B4-BE49-F238E27FC236}">
                  <a16:creationId xmlns:a16="http://schemas.microsoft.com/office/drawing/2014/main" id="{CFD6DC76-E913-D27E-348E-2C60B678D722}"/>
                </a:ext>
              </a:extLst>
            </p:cNvPr>
            <p:cNvSpPr/>
            <p:nvPr/>
          </p:nvSpPr>
          <p:spPr>
            <a:xfrm>
              <a:off x="5781316" y="4676372"/>
              <a:ext cx="52791" cy="1190"/>
            </a:xfrm>
            <a:custGeom>
              <a:avLst/>
              <a:gdLst>
                <a:gd name="connsiteX0" fmla="*/ 0 w 52791"/>
                <a:gd name="connsiteY0" fmla="*/ 0 h 1190"/>
                <a:gd name="connsiteX1" fmla="*/ 52791 w 52791"/>
                <a:gd name="connsiteY1" fmla="*/ 0 h 11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2791" h="1190">
                  <a:moveTo>
                    <a:pt x="0" y="0"/>
                  </a:moveTo>
                  <a:lnTo>
                    <a:pt x="52791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918" name="Gráfico 15">
              <a:extLst>
                <a:ext uri="{FF2B5EF4-FFF2-40B4-BE49-F238E27FC236}">
                  <a16:creationId xmlns:a16="http://schemas.microsoft.com/office/drawing/2014/main" id="{DB42A2FA-D759-9CA1-F7FC-754111E30E49}"/>
                </a:ext>
              </a:extLst>
            </p:cNvPr>
            <p:cNvGrpSpPr/>
            <p:nvPr/>
          </p:nvGrpSpPr>
          <p:grpSpPr>
            <a:xfrm>
              <a:off x="5602365" y="4680957"/>
              <a:ext cx="324320" cy="146774"/>
              <a:chOff x="5602365" y="4680957"/>
              <a:chExt cx="324320" cy="146774"/>
            </a:xfrm>
            <a:noFill/>
          </p:grpSpPr>
          <p:sp>
            <p:nvSpPr>
              <p:cNvPr id="1919" name="Forma livre: Forma 1918">
                <a:extLst>
                  <a:ext uri="{FF2B5EF4-FFF2-40B4-BE49-F238E27FC236}">
                    <a16:creationId xmlns:a16="http://schemas.microsoft.com/office/drawing/2014/main" id="{7B00551A-45FE-5F1B-B62A-AE36DEA1BC61}"/>
                  </a:ext>
                </a:extLst>
              </p:cNvPr>
              <p:cNvSpPr/>
              <p:nvPr/>
            </p:nvSpPr>
            <p:spPr>
              <a:xfrm>
                <a:off x="5602365" y="4700368"/>
                <a:ext cx="324320" cy="127363"/>
              </a:xfrm>
              <a:custGeom>
                <a:avLst/>
                <a:gdLst>
                  <a:gd name="connsiteX0" fmla="*/ 81003 w 324320"/>
                  <a:gd name="connsiteY0" fmla="*/ 0 h 127363"/>
                  <a:gd name="connsiteX1" fmla="*/ 271684 w 324320"/>
                  <a:gd name="connsiteY1" fmla="*/ 0 h 127363"/>
                  <a:gd name="connsiteX2" fmla="*/ 324320 w 324320"/>
                  <a:gd name="connsiteY2" fmla="*/ 52636 h 127363"/>
                  <a:gd name="connsiteX3" fmla="*/ 324320 w 324320"/>
                  <a:gd name="connsiteY3" fmla="*/ 74739 h 127363"/>
                  <a:gd name="connsiteX4" fmla="*/ 271684 w 324320"/>
                  <a:gd name="connsiteY4" fmla="*/ 127363 h 127363"/>
                  <a:gd name="connsiteX5" fmla="*/ 52636 w 324320"/>
                  <a:gd name="connsiteY5" fmla="*/ 127363 h 127363"/>
                  <a:gd name="connsiteX6" fmla="*/ 0 w 324320"/>
                  <a:gd name="connsiteY6" fmla="*/ 74739 h 127363"/>
                  <a:gd name="connsiteX7" fmla="*/ 0 w 324320"/>
                  <a:gd name="connsiteY7" fmla="*/ 52636 h 127363"/>
                  <a:gd name="connsiteX8" fmla="*/ 52636 w 324320"/>
                  <a:gd name="connsiteY8" fmla="*/ 0 h 127363"/>
                  <a:gd name="connsiteX9" fmla="*/ 61496 w 324320"/>
                  <a:gd name="connsiteY9" fmla="*/ 0 h 1273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324320" h="127363">
                    <a:moveTo>
                      <a:pt x="81003" y="0"/>
                    </a:moveTo>
                    <a:lnTo>
                      <a:pt x="271684" y="0"/>
                    </a:lnTo>
                    <a:cubicBezTo>
                      <a:pt x="300622" y="0"/>
                      <a:pt x="324320" y="23674"/>
                      <a:pt x="324320" y="52636"/>
                    </a:cubicBezTo>
                    <a:lnTo>
                      <a:pt x="324320" y="74739"/>
                    </a:lnTo>
                    <a:cubicBezTo>
                      <a:pt x="324320" y="103677"/>
                      <a:pt x="300634" y="127363"/>
                      <a:pt x="271684" y="127363"/>
                    </a:cubicBezTo>
                    <a:lnTo>
                      <a:pt x="52636" y="127363"/>
                    </a:lnTo>
                    <a:cubicBezTo>
                      <a:pt x="23686" y="127363"/>
                      <a:pt x="0" y="103689"/>
                      <a:pt x="0" y="74739"/>
                    </a:cubicBezTo>
                    <a:lnTo>
                      <a:pt x="0" y="52636"/>
                    </a:lnTo>
                    <a:cubicBezTo>
                      <a:pt x="0" y="23686"/>
                      <a:pt x="23674" y="0"/>
                      <a:pt x="52636" y="0"/>
                    </a:cubicBezTo>
                    <a:lnTo>
                      <a:pt x="61496" y="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920" name="Forma livre: Forma 1919">
                <a:extLst>
                  <a:ext uri="{FF2B5EF4-FFF2-40B4-BE49-F238E27FC236}">
                    <a16:creationId xmlns:a16="http://schemas.microsoft.com/office/drawing/2014/main" id="{3AD8BD3F-C764-667D-7F09-82F292A75EB7}"/>
                  </a:ext>
                </a:extLst>
              </p:cNvPr>
              <p:cNvSpPr/>
              <p:nvPr/>
            </p:nvSpPr>
            <p:spPr>
              <a:xfrm>
                <a:off x="5664647" y="4680957"/>
                <a:ext cx="1190" cy="144737"/>
              </a:xfrm>
              <a:custGeom>
                <a:avLst/>
                <a:gdLst>
                  <a:gd name="connsiteX0" fmla="*/ 0 w 1190"/>
                  <a:gd name="connsiteY0" fmla="*/ 0 h 144737"/>
                  <a:gd name="connsiteX1" fmla="*/ 0 w 1190"/>
                  <a:gd name="connsiteY1" fmla="*/ 144738 h 1447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0" h="144737">
                    <a:moveTo>
                      <a:pt x="0" y="0"/>
                    </a:moveTo>
                    <a:lnTo>
                      <a:pt x="0" y="144738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921" name="Forma livre: Forma 1920">
                <a:extLst>
                  <a:ext uri="{FF2B5EF4-FFF2-40B4-BE49-F238E27FC236}">
                    <a16:creationId xmlns:a16="http://schemas.microsoft.com/office/drawing/2014/main" id="{C70E6649-DE71-0D45-948E-F2D92A5756AE}"/>
                  </a:ext>
                </a:extLst>
              </p:cNvPr>
              <p:cNvSpPr/>
              <p:nvPr/>
            </p:nvSpPr>
            <p:spPr>
              <a:xfrm>
                <a:off x="5706661" y="4680957"/>
                <a:ext cx="1190" cy="144737"/>
              </a:xfrm>
              <a:custGeom>
                <a:avLst/>
                <a:gdLst>
                  <a:gd name="connsiteX0" fmla="*/ 0 w 1190"/>
                  <a:gd name="connsiteY0" fmla="*/ 0 h 144737"/>
                  <a:gd name="connsiteX1" fmla="*/ 0 w 1190"/>
                  <a:gd name="connsiteY1" fmla="*/ 144738 h 1447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0" h="144737">
                    <a:moveTo>
                      <a:pt x="0" y="0"/>
                    </a:moveTo>
                    <a:lnTo>
                      <a:pt x="0" y="144738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922" name="Forma livre: Forma 1921">
                <a:extLst>
                  <a:ext uri="{FF2B5EF4-FFF2-40B4-BE49-F238E27FC236}">
                    <a16:creationId xmlns:a16="http://schemas.microsoft.com/office/drawing/2014/main" id="{E8E4436C-F0AE-0E06-5708-3B15A5238B89}"/>
                  </a:ext>
                </a:extLst>
              </p:cNvPr>
              <p:cNvSpPr/>
              <p:nvPr/>
            </p:nvSpPr>
            <p:spPr>
              <a:xfrm>
                <a:off x="5683367" y="4732116"/>
                <a:ext cx="20661" cy="1190"/>
              </a:xfrm>
              <a:custGeom>
                <a:avLst/>
                <a:gdLst>
                  <a:gd name="connsiteX0" fmla="*/ 0 w 20661"/>
                  <a:gd name="connsiteY0" fmla="*/ 0 h 1190"/>
                  <a:gd name="connsiteX1" fmla="*/ 20661 w 20661"/>
                  <a:gd name="connsiteY1" fmla="*/ 0 h 11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0661" h="1190">
                    <a:moveTo>
                      <a:pt x="0" y="0"/>
                    </a:moveTo>
                    <a:lnTo>
                      <a:pt x="20661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923" name="Forma livre: Forma 1922">
                <a:extLst>
                  <a:ext uri="{FF2B5EF4-FFF2-40B4-BE49-F238E27FC236}">
                    <a16:creationId xmlns:a16="http://schemas.microsoft.com/office/drawing/2014/main" id="{DA5A55C2-702A-176A-CC88-6953EA7FEEF7}"/>
                  </a:ext>
                </a:extLst>
              </p:cNvPr>
              <p:cNvSpPr/>
              <p:nvPr/>
            </p:nvSpPr>
            <p:spPr>
              <a:xfrm>
                <a:off x="5683367" y="4763912"/>
                <a:ext cx="20661" cy="1190"/>
              </a:xfrm>
              <a:custGeom>
                <a:avLst/>
                <a:gdLst>
                  <a:gd name="connsiteX0" fmla="*/ 0 w 20661"/>
                  <a:gd name="connsiteY0" fmla="*/ 0 h 1190"/>
                  <a:gd name="connsiteX1" fmla="*/ 20661 w 20661"/>
                  <a:gd name="connsiteY1" fmla="*/ 0 h 11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0661" h="1190">
                    <a:moveTo>
                      <a:pt x="0" y="0"/>
                    </a:moveTo>
                    <a:lnTo>
                      <a:pt x="20661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924" name="Forma livre: Forma 1923">
                <a:extLst>
                  <a:ext uri="{FF2B5EF4-FFF2-40B4-BE49-F238E27FC236}">
                    <a16:creationId xmlns:a16="http://schemas.microsoft.com/office/drawing/2014/main" id="{F748AF9F-8D57-CA56-6FD5-5B4952DDA371}"/>
                  </a:ext>
                </a:extLst>
              </p:cNvPr>
              <p:cNvSpPr/>
              <p:nvPr/>
            </p:nvSpPr>
            <p:spPr>
              <a:xfrm>
                <a:off x="5683367" y="4795708"/>
                <a:ext cx="20661" cy="1190"/>
              </a:xfrm>
              <a:custGeom>
                <a:avLst/>
                <a:gdLst>
                  <a:gd name="connsiteX0" fmla="*/ 0 w 20661"/>
                  <a:gd name="connsiteY0" fmla="*/ 0 h 1190"/>
                  <a:gd name="connsiteX1" fmla="*/ 20661 w 20661"/>
                  <a:gd name="connsiteY1" fmla="*/ 0 h 11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0661" h="1190">
                    <a:moveTo>
                      <a:pt x="0" y="0"/>
                    </a:moveTo>
                    <a:lnTo>
                      <a:pt x="20661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925" name="Forma livre: Forma 1924">
              <a:extLst>
                <a:ext uri="{FF2B5EF4-FFF2-40B4-BE49-F238E27FC236}">
                  <a16:creationId xmlns:a16="http://schemas.microsoft.com/office/drawing/2014/main" id="{6AEDF8BF-F371-02BE-A768-529DC4307AA7}"/>
                </a:ext>
              </a:extLst>
            </p:cNvPr>
            <p:cNvSpPr/>
            <p:nvPr/>
          </p:nvSpPr>
          <p:spPr>
            <a:xfrm>
              <a:off x="5615214" y="4851965"/>
              <a:ext cx="298621" cy="35904"/>
            </a:xfrm>
            <a:custGeom>
              <a:avLst/>
              <a:gdLst>
                <a:gd name="connsiteX0" fmla="*/ 18792 w 298621"/>
                <a:gd name="connsiteY0" fmla="*/ 35905 h 35904"/>
                <a:gd name="connsiteX1" fmla="*/ 0 w 298621"/>
                <a:gd name="connsiteY1" fmla="*/ 35905 h 35904"/>
                <a:gd name="connsiteX2" fmla="*/ 0 w 298621"/>
                <a:gd name="connsiteY2" fmla="*/ 0 h 35904"/>
                <a:gd name="connsiteX3" fmla="*/ 298621 w 298621"/>
                <a:gd name="connsiteY3" fmla="*/ 0 h 35904"/>
                <a:gd name="connsiteX4" fmla="*/ 298621 w 298621"/>
                <a:gd name="connsiteY4" fmla="*/ 34035 h 35904"/>
                <a:gd name="connsiteX5" fmla="*/ 279282 w 298621"/>
                <a:gd name="connsiteY5" fmla="*/ 34035 h 359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98621" h="35904">
                  <a:moveTo>
                    <a:pt x="18792" y="35905"/>
                  </a:moveTo>
                  <a:lnTo>
                    <a:pt x="0" y="35905"/>
                  </a:lnTo>
                  <a:lnTo>
                    <a:pt x="0" y="0"/>
                  </a:lnTo>
                  <a:lnTo>
                    <a:pt x="298621" y="0"/>
                  </a:lnTo>
                  <a:lnTo>
                    <a:pt x="298621" y="34035"/>
                  </a:lnTo>
                  <a:lnTo>
                    <a:pt x="279282" y="34035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926" name="Gráfico 15">
              <a:extLst>
                <a:ext uri="{FF2B5EF4-FFF2-40B4-BE49-F238E27FC236}">
                  <a16:creationId xmlns:a16="http://schemas.microsoft.com/office/drawing/2014/main" id="{CECE86B3-D335-20BD-83A2-712E064D3823}"/>
                </a:ext>
              </a:extLst>
            </p:cNvPr>
            <p:cNvGrpSpPr/>
            <p:nvPr/>
          </p:nvGrpSpPr>
          <p:grpSpPr>
            <a:xfrm>
              <a:off x="5592052" y="4852465"/>
              <a:ext cx="344934" cy="34904"/>
              <a:chOff x="5592052" y="4852465"/>
              <a:chExt cx="344934" cy="34904"/>
            </a:xfrm>
          </p:grpSpPr>
          <p:grpSp>
            <p:nvGrpSpPr>
              <p:cNvPr id="1927" name="Gráfico 15">
                <a:extLst>
                  <a:ext uri="{FF2B5EF4-FFF2-40B4-BE49-F238E27FC236}">
                    <a16:creationId xmlns:a16="http://schemas.microsoft.com/office/drawing/2014/main" id="{C80D7AF8-08E2-ED1B-9985-69892A64AB7E}"/>
                  </a:ext>
                </a:extLst>
              </p:cNvPr>
              <p:cNvGrpSpPr/>
              <p:nvPr/>
            </p:nvGrpSpPr>
            <p:grpSpPr>
              <a:xfrm>
                <a:off x="5592052" y="4852465"/>
                <a:ext cx="21614" cy="34904"/>
                <a:chOff x="5592052" y="4852465"/>
                <a:chExt cx="21614" cy="34904"/>
              </a:xfrm>
            </p:grpSpPr>
            <p:sp>
              <p:nvSpPr>
                <p:cNvPr id="1928" name="Forma livre: Forma 1927">
                  <a:extLst>
                    <a:ext uri="{FF2B5EF4-FFF2-40B4-BE49-F238E27FC236}">
                      <a16:creationId xmlns:a16="http://schemas.microsoft.com/office/drawing/2014/main" id="{A024A8D6-B8E8-3EA3-EB50-DB6959E88103}"/>
                    </a:ext>
                  </a:extLst>
                </p:cNvPr>
                <p:cNvSpPr/>
                <p:nvPr/>
              </p:nvSpPr>
              <p:spPr>
                <a:xfrm>
                  <a:off x="5593231" y="4869911"/>
                  <a:ext cx="20435" cy="1190"/>
                </a:xfrm>
                <a:custGeom>
                  <a:avLst/>
                  <a:gdLst>
                    <a:gd name="connsiteX0" fmla="*/ 20435 w 20435"/>
                    <a:gd name="connsiteY0" fmla="*/ 0 h 1190"/>
                    <a:gd name="connsiteX1" fmla="*/ 0 w 20435"/>
                    <a:gd name="connsiteY1" fmla="*/ 0 h 11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0435" h="1190">
                      <a:moveTo>
                        <a:pt x="20435" y="0"/>
                      </a:moveTo>
                      <a:lnTo>
                        <a:pt x="0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929" name="Forma livre: Forma 1928">
                  <a:extLst>
                    <a:ext uri="{FF2B5EF4-FFF2-40B4-BE49-F238E27FC236}">
                      <a16:creationId xmlns:a16="http://schemas.microsoft.com/office/drawing/2014/main" id="{75BF28C8-9ADA-9E5E-7FCF-4F10AFFEBC6B}"/>
                    </a:ext>
                  </a:extLst>
                </p:cNvPr>
                <p:cNvSpPr/>
                <p:nvPr/>
              </p:nvSpPr>
              <p:spPr>
                <a:xfrm>
                  <a:off x="5592052" y="4852465"/>
                  <a:ext cx="1190" cy="34904"/>
                </a:xfrm>
                <a:custGeom>
                  <a:avLst/>
                  <a:gdLst>
                    <a:gd name="connsiteX0" fmla="*/ 0 w 1190"/>
                    <a:gd name="connsiteY0" fmla="*/ 0 h 34904"/>
                    <a:gd name="connsiteX1" fmla="*/ 0 w 1190"/>
                    <a:gd name="connsiteY1" fmla="*/ 34904 h 3490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190" h="34904">
                      <a:moveTo>
                        <a:pt x="0" y="0"/>
                      </a:moveTo>
                      <a:lnTo>
                        <a:pt x="0" y="34904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1930" name="Gráfico 15">
                <a:extLst>
                  <a:ext uri="{FF2B5EF4-FFF2-40B4-BE49-F238E27FC236}">
                    <a16:creationId xmlns:a16="http://schemas.microsoft.com/office/drawing/2014/main" id="{93711C46-EE80-647B-0DDE-BFD9A8ACEE3C}"/>
                  </a:ext>
                </a:extLst>
              </p:cNvPr>
              <p:cNvGrpSpPr/>
              <p:nvPr/>
            </p:nvGrpSpPr>
            <p:grpSpPr>
              <a:xfrm>
                <a:off x="5915372" y="4852465"/>
                <a:ext cx="21614" cy="34904"/>
                <a:chOff x="5915372" y="4852465"/>
                <a:chExt cx="21614" cy="34904"/>
              </a:xfrm>
            </p:grpSpPr>
            <p:sp>
              <p:nvSpPr>
                <p:cNvPr id="1931" name="Forma livre: Forma 1930">
                  <a:extLst>
                    <a:ext uri="{FF2B5EF4-FFF2-40B4-BE49-F238E27FC236}">
                      <a16:creationId xmlns:a16="http://schemas.microsoft.com/office/drawing/2014/main" id="{60FD125E-BA36-959B-A8E2-F897192F4E03}"/>
                    </a:ext>
                  </a:extLst>
                </p:cNvPr>
                <p:cNvSpPr/>
                <p:nvPr/>
              </p:nvSpPr>
              <p:spPr>
                <a:xfrm>
                  <a:off x="5915372" y="4869911"/>
                  <a:ext cx="20447" cy="1190"/>
                </a:xfrm>
                <a:custGeom>
                  <a:avLst/>
                  <a:gdLst>
                    <a:gd name="connsiteX0" fmla="*/ 0 w 20447"/>
                    <a:gd name="connsiteY0" fmla="*/ 0 h 1190"/>
                    <a:gd name="connsiteX1" fmla="*/ 20447 w 20447"/>
                    <a:gd name="connsiteY1" fmla="*/ 0 h 11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0447" h="1190">
                      <a:moveTo>
                        <a:pt x="0" y="0"/>
                      </a:moveTo>
                      <a:lnTo>
                        <a:pt x="20447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932" name="Forma livre: Forma 1931">
                  <a:extLst>
                    <a:ext uri="{FF2B5EF4-FFF2-40B4-BE49-F238E27FC236}">
                      <a16:creationId xmlns:a16="http://schemas.microsoft.com/office/drawing/2014/main" id="{6AFD3777-264F-8F75-F8AC-ABC8680B725E}"/>
                    </a:ext>
                  </a:extLst>
                </p:cNvPr>
                <p:cNvSpPr/>
                <p:nvPr/>
              </p:nvSpPr>
              <p:spPr>
                <a:xfrm>
                  <a:off x="5936986" y="4852465"/>
                  <a:ext cx="1190" cy="34904"/>
                </a:xfrm>
                <a:custGeom>
                  <a:avLst/>
                  <a:gdLst>
                    <a:gd name="connsiteX0" fmla="*/ 0 w 1190"/>
                    <a:gd name="connsiteY0" fmla="*/ 34904 h 34904"/>
                    <a:gd name="connsiteX1" fmla="*/ 0 w 1190"/>
                    <a:gd name="connsiteY1" fmla="*/ 0 h 3490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190" h="34904">
                      <a:moveTo>
                        <a:pt x="0" y="34904"/>
                      </a:moveTo>
                      <a:lnTo>
                        <a:pt x="0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grpSp>
          <p:nvGrpSpPr>
            <p:cNvPr id="1933" name="Gráfico 15">
              <a:extLst>
                <a:ext uri="{FF2B5EF4-FFF2-40B4-BE49-F238E27FC236}">
                  <a16:creationId xmlns:a16="http://schemas.microsoft.com/office/drawing/2014/main" id="{9B8DFE1D-EFA5-71AE-D180-4399F2C5DDE3}"/>
                </a:ext>
              </a:extLst>
            </p:cNvPr>
            <p:cNvGrpSpPr/>
            <p:nvPr/>
          </p:nvGrpSpPr>
          <p:grpSpPr>
            <a:xfrm>
              <a:off x="5634148" y="4874579"/>
              <a:ext cx="260764" cy="36905"/>
              <a:chOff x="5634148" y="4874579"/>
              <a:chExt cx="260764" cy="36905"/>
            </a:xfrm>
            <a:noFill/>
          </p:grpSpPr>
          <p:grpSp>
            <p:nvGrpSpPr>
              <p:cNvPr id="1934" name="Gráfico 15">
                <a:extLst>
                  <a:ext uri="{FF2B5EF4-FFF2-40B4-BE49-F238E27FC236}">
                    <a16:creationId xmlns:a16="http://schemas.microsoft.com/office/drawing/2014/main" id="{994785D0-50F9-DE3D-5650-5868B6681FF3}"/>
                  </a:ext>
                </a:extLst>
              </p:cNvPr>
              <p:cNvGrpSpPr/>
              <p:nvPr/>
            </p:nvGrpSpPr>
            <p:grpSpPr>
              <a:xfrm>
                <a:off x="5634148" y="4874579"/>
                <a:ext cx="97747" cy="36905"/>
                <a:chOff x="5634148" y="4874579"/>
                <a:chExt cx="97747" cy="36905"/>
              </a:xfrm>
              <a:noFill/>
            </p:grpSpPr>
            <p:grpSp>
              <p:nvGrpSpPr>
                <p:cNvPr id="1935" name="Gráfico 15">
                  <a:extLst>
                    <a:ext uri="{FF2B5EF4-FFF2-40B4-BE49-F238E27FC236}">
                      <a16:creationId xmlns:a16="http://schemas.microsoft.com/office/drawing/2014/main" id="{36C0D6A6-BEAB-EEDC-DC14-5C0D5019418F}"/>
                    </a:ext>
                  </a:extLst>
                </p:cNvPr>
                <p:cNvGrpSpPr/>
                <p:nvPr/>
              </p:nvGrpSpPr>
              <p:grpSpPr>
                <a:xfrm>
                  <a:off x="5634148" y="4874579"/>
                  <a:ext cx="97747" cy="36905"/>
                  <a:chOff x="5634148" y="4874579"/>
                  <a:chExt cx="97747" cy="36905"/>
                </a:xfrm>
                <a:noFill/>
              </p:grpSpPr>
              <p:sp>
                <p:nvSpPr>
                  <p:cNvPr id="1936" name="Forma livre: Forma 1935">
                    <a:extLst>
                      <a:ext uri="{FF2B5EF4-FFF2-40B4-BE49-F238E27FC236}">
                        <a16:creationId xmlns:a16="http://schemas.microsoft.com/office/drawing/2014/main" id="{49121636-FB14-0FE5-3520-1FA1CE9D0F60}"/>
                      </a:ext>
                    </a:extLst>
                  </p:cNvPr>
                  <p:cNvSpPr/>
                  <p:nvPr/>
                </p:nvSpPr>
                <p:spPr>
                  <a:xfrm>
                    <a:off x="5695013" y="4874591"/>
                    <a:ext cx="36882" cy="36894"/>
                  </a:xfrm>
                  <a:custGeom>
                    <a:avLst/>
                    <a:gdLst>
                      <a:gd name="connsiteX0" fmla="*/ 1 w 36882"/>
                      <a:gd name="connsiteY0" fmla="*/ 18602 h 36894"/>
                      <a:gd name="connsiteX1" fmla="*/ 18590 w 36882"/>
                      <a:gd name="connsiteY1" fmla="*/ 36894 h 36894"/>
                      <a:gd name="connsiteX2" fmla="*/ 36882 w 36882"/>
                      <a:gd name="connsiteY2" fmla="*/ 18304 h 36894"/>
                      <a:gd name="connsiteX3" fmla="*/ 18292 w 36882"/>
                      <a:gd name="connsiteY3" fmla="*/ 1 h 36894"/>
                      <a:gd name="connsiteX4" fmla="*/ 1 w 36882"/>
                      <a:gd name="connsiteY4" fmla="*/ 18614 h 3689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36882" h="36894">
                        <a:moveTo>
                          <a:pt x="1" y="18602"/>
                        </a:moveTo>
                        <a:cubicBezTo>
                          <a:pt x="84" y="28784"/>
                          <a:pt x="8408" y="36965"/>
                          <a:pt x="18590" y="36894"/>
                        </a:cubicBezTo>
                        <a:cubicBezTo>
                          <a:pt x="28772" y="36810"/>
                          <a:pt x="36965" y="28474"/>
                          <a:pt x="36882" y="18304"/>
                        </a:cubicBezTo>
                        <a:cubicBezTo>
                          <a:pt x="36798" y="8134"/>
                          <a:pt x="28486" y="-83"/>
                          <a:pt x="18292" y="1"/>
                        </a:cubicBezTo>
                        <a:cubicBezTo>
                          <a:pt x="8110" y="84"/>
                          <a:pt x="-83" y="8444"/>
                          <a:pt x="1" y="18614"/>
                        </a:cubicBezTo>
                        <a:close/>
                      </a:path>
                    </a:pathLst>
                  </a:custGeom>
                  <a:noFill/>
                  <a:ln w="6350" cap="rnd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1937" name="Forma livre: Forma 1936">
                    <a:extLst>
                      <a:ext uri="{FF2B5EF4-FFF2-40B4-BE49-F238E27FC236}">
                        <a16:creationId xmlns:a16="http://schemas.microsoft.com/office/drawing/2014/main" id="{9A0B0159-9812-3191-F573-F05E22870C7F}"/>
                      </a:ext>
                    </a:extLst>
                  </p:cNvPr>
                  <p:cNvSpPr/>
                  <p:nvPr/>
                </p:nvSpPr>
                <p:spPr>
                  <a:xfrm>
                    <a:off x="5634148" y="4874579"/>
                    <a:ext cx="36870" cy="36894"/>
                  </a:xfrm>
                  <a:custGeom>
                    <a:avLst/>
                    <a:gdLst>
                      <a:gd name="connsiteX0" fmla="*/ 1 w 36870"/>
                      <a:gd name="connsiteY0" fmla="*/ 18614 h 36894"/>
                      <a:gd name="connsiteX1" fmla="*/ 18578 w 36870"/>
                      <a:gd name="connsiteY1" fmla="*/ 36894 h 36894"/>
                      <a:gd name="connsiteX2" fmla="*/ 36870 w 36870"/>
                      <a:gd name="connsiteY2" fmla="*/ 18316 h 36894"/>
                      <a:gd name="connsiteX3" fmla="*/ 18280 w 36870"/>
                      <a:gd name="connsiteY3" fmla="*/ 1 h 36894"/>
                      <a:gd name="connsiteX4" fmla="*/ 1 w 36870"/>
                      <a:gd name="connsiteY4" fmla="*/ 18614 h 3689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36870" h="36894">
                        <a:moveTo>
                          <a:pt x="1" y="18614"/>
                        </a:moveTo>
                        <a:cubicBezTo>
                          <a:pt x="84" y="28796"/>
                          <a:pt x="8396" y="36977"/>
                          <a:pt x="18578" y="36894"/>
                        </a:cubicBezTo>
                        <a:cubicBezTo>
                          <a:pt x="28760" y="36822"/>
                          <a:pt x="36953" y="28486"/>
                          <a:pt x="36870" y="18316"/>
                        </a:cubicBezTo>
                        <a:cubicBezTo>
                          <a:pt x="36786" y="8146"/>
                          <a:pt x="28462" y="-83"/>
                          <a:pt x="18280" y="1"/>
                        </a:cubicBezTo>
                        <a:cubicBezTo>
                          <a:pt x="8098" y="84"/>
                          <a:pt x="-83" y="8444"/>
                          <a:pt x="1" y="18614"/>
                        </a:cubicBezTo>
                        <a:close/>
                      </a:path>
                    </a:pathLst>
                  </a:custGeom>
                  <a:noFill/>
                  <a:ln w="6350" cap="rnd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  <p:sp>
              <p:nvSpPr>
                <p:cNvPr id="1938" name="Forma livre: Forma 1937">
                  <a:extLst>
                    <a:ext uri="{FF2B5EF4-FFF2-40B4-BE49-F238E27FC236}">
                      <a16:creationId xmlns:a16="http://schemas.microsoft.com/office/drawing/2014/main" id="{F2B6525B-D1AA-A78A-0FC4-3E733B326ED2}"/>
                    </a:ext>
                  </a:extLst>
                </p:cNvPr>
                <p:cNvSpPr/>
                <p:nvPr/>
              </p:nvSpPr>
              <p:spPr>
                <a:xfrm>
                  <a:off x="5652357" y="4874579"/>
                  <a:ext cx="61317" cy="1190"/>
                </a:xfrm>
                <a:custGeom>
                  <a:avLst/>
                  <a:gdLst>
                    <a:gd name="connsiteX0" fmla="*/ 0 w 61317"/>
                    <a:gd name="connsiteY0" fmla="*/ 0 h 1190"/>
                    <a:gd name="connsiteX1" fmla="*/ 61318 w 61317"/>
                    <a:gd name="connsiteY1" fmla="*/ 0 h 11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61317" h="1190">
                      <a:moveTo>
                        <a:pt x="0" y="0"/>
                      </a:moveTo>
                      <a:lnTo>
                        <a:pt x="61318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1939" name="Gráfico 15">
                <a:extLst>
                  <a:ext uri="{FF2B5EF4-FFF2-40B4-BE49-F238E27FC236}">
                    <a16:creationId xmlns:a16="http://schemas.microsoft.com/office/drawing/2014/main" id="{EA4C5378-0C37-55A0-EEC9-34192F5A4B36}"/>
                  </a:ext>
                </a:extLst>
              </p:cNvPr>
              <p:cNvGrpSpPr/>
              <p:nvPr/>
            </p:nvGrpSpPr>
            <p:grpSpPr>
              <a:xfrm>
                <a:off x="5797166" y="4874579"/>
                <a:ext cx="97747" cy="36905"/>
                <a:chOff x="5797166" y="4874579"/>
                <a:chExt cx="97747" cy="36905"/>
              </a:xfrm>
              <a:noFill/>
            </p:grpSpPr>
            <p:grpSp>
              <p:nvGrpSpPr>
                <p:cNvPr id="1940" name="Gráfico 15">
                  <a:extLst>
                    <a:ext uri="{FF2B5EF4-FFF2-40B4-BE49-F238E27FC236}">
                      <a16:creationId xmlns:a16="http://schemas.microsoft.com/office/drawing/2014/main" id="{03DF5C2F-D73F-3445-4F60-3EE90A64567D}"/>
                    </a:ext>
                  </a:extLst>
                </p:cNvPr>
                <p:cNvGrpSpPr/>
                <p:nvPr/>
              </p:nvGrpSpPr>
              <p:grpSpPr>
                <a:xfrm>
                  <a:off x="5797166" y="4874579"/>
                  <a:ext cx="97747" cy="36905"/>
                  <a:chOff x="5797166" y="4874579"/>
                  <a:chExt cx="97747" cy="36905"/>
                </a:xfrm>
                <a:noFill/>
              </p:grpSpPr>
              <p:sp>
                <p:nvSpPr>
                  <p:cNvPr id="1941" name="Forma livre: Forma 1940">
                    <a:extLst>
                      <a:ext uri="{FF2B5EF4-FFF2-40B4-BE49-F238E27FC236}">
                        <a16:creationId xmlns:a16="http://schemas.microsoft.com/office/drawing/2014/main" id="{F4BF7A55-D02F-9E00-377A-0000FFDB4C0A}"/>
                      </a:ext>
                    </a:extLst>
                  </p:cNvPr>
                  <p:cNvSpPr/>
                  <p:nvPr/>
                </p:nvSpPr>
                <p:spPr>
                  <a:xfrm>
                    <a:off x="5858031" y="4874591"/>
                    <a:ext cx="36882" cy="36894"/>
                  </a:xfrm>
                  <a:custGeom>
                    <a:avLst/>
                    <a:gdLst>
                      <a:gd name="connsiteX0" fmla="*/ 1 w 36882"/>
                      <a:gd name="connsiteY0" fmla="*/ 18602 h 36894"/>
                      <a:gd name="connsiteX1" fmla="*/ 18590 w 36882"/>
                      <a:gd name="connsiteY1" fmla="*/ 36894 h 36894"/>
                      <a:gd name="connsiteX2" fmla="*/ 36882 w 36882"/>
                      <a:gd name="connsiteY2" fmla="*/ 18304 h 36894"/>
                      <a:gd name="connsiteX3" fmla="*/ 18292 w 36882"/>
                      <a:gd name="connsiteY3" fmla="*/ 1 h 36894"/>
                      <a:gd name="connsiteX4" fmla="*/ 1 w 36882"/>
                      <a:gd name="connsiteY4" fmla="*/ 18614 h 3689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36882" h="36894">
                        <a:moveTo>
                          <a:pt x="1" y="18602"/>
                        </a:moveTo>
                        <a:cubicBezTo>
                          <a:pt x="84" y="28784"/>
                          <a:pt x="8408" y="36965"/>
                          <a:pt x="18590" y="36894"/>
                        </a:cubicBezTo>
                        <a:cubicBezTo>
                          <a:pt x="28772" y="36810"/>
                          <a:pt x="36965" y="28474"/>
                          <a:pt x="36882" y="18304"/>
                        </a:cubicBezTo>
                        <a:cubicBezTo>
                          <a:pt x="36798" y="8134"/>
                          <a:pt x="28486" y="-83"/>
                          <a:pt x="18292" y="1"/>
                        </a:cubicBezTo>
                        <a:cubicBezTo>
                          <a:pt x="8110" y="84"/>
                          <a:pt x="-83" y="8444"/>
                          <a:pt x="1" y="18614"/>
                        </a:cubicBezTo>
                        <a:close/>
                      </a:path>
                    </a:pathLst>
                  </a:custGeom>
                  <a:noFill/>
                  <a:ln w="6350" cap="rnd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1942" name="Forma livre: Forma 1941">
                    <a:extLst>
                      <a:ext uri="{FF2B5EF4-FFF2-40B4-BE49-F238E27FC236}">
                        <a16:creationId xmlns:a16="http://schemas.microsoft.com/office/drawing/2014/main" id="{B9D4E2C2-111F-EFAA-0FF3-5E1632920AB1}"/>
                      </a:ext>
                    </a:extLst>
                  </p:cNvPr>
                  <p:cNvSpPr/>
                  <p:nvPr/>
                </p:nvSpPr>
                <p:spPr>
                  <a:xfrm>
                    <a:off x="5797166" y="4874579"/>
                    <a:ext cx="36870" cy="36894"/>
                  </a:xfrm>
                  <a:custGeom>
                    <a:avLst/>
                    <a:gdLst>
                      <a:gd name="connsiteX0" fmla="*/ 1 w 36870"/>
                      <a:gd name="connsiteY0" fmla="*/ 18614 h 36894"/>
                      <a:gd name="connsiteX1" fmla="*/ 18578 w 36870"/>
                      <a:gd name="connsiteY1" fmla="*/ 36894 h 36894"/>
                      <a:gd name="connsiteX2" fmla="*/ 36870 w 36870"/>
                      <a:gd name="connsiteY2" fmla="*/ 18316 h 36894"/>
                      <a:gd name="connsiteX3" fmla="*/ 18280 w 36870"/>
                      <a:gd name="connsiteY3" fmla="*/ 1 h 36894"/>
                      <a:gd name="connsiteX4" fmla="*/ 1 w 36870"/>
                      <a:gd name="connsiteY4" fmla="*/ 18614 h 3689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36870" h="36894">
                        <a:moveTo>
                          <a:pt x="1" y="18614"/>
                        </a:moveTo>
                        <a:cubicBezTo>
                          <a:pt x="84" y="28796"/>
                          <a:pt x="8396" y="36977"/>
                          <a:pt x="18578" y="36894"/>
                        </a:cubicBezTo>
                        <a:cubicBezTo>
                          <a:pt x="28760" y="36822"/>
                          <a:pt x="36953" y="28486"/>
                          <a:pt x="36870" y="18316"/>
                        </a:cubicBezTo>
                        <a:cubicBezTo>
                          <a:pt x="36786" y="8146"/>
                          <a:pt x="28462" y="-83"/>
                          <a:pt x="18280" y="1"/>
                        </a:cubicBezTo>
                        <a:cubicBezTo>
                          <a:pt x="8098" y="84"/>
                          <a:pt x="-83" y="8444"/>
                          <a:pt x="1" y="18614"/>
                        </a:cubicBezTo>
                        <a:close/>
                      </a:path>
                    </a:pathLst>
                  </a:custGeom>
                  <a:noFill/>
                  <a:ln w="6350" cap="rnd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  <p:sp>
              <p:nvSpPr>
                <p:cNvPr id="1943" name="Forma livre: Forma 1942">
                  <a:extLst>
                    <a:ext uri="{FF2B5EF4-FFF2-40B4-BE49-F238E27FC236}">
                      <a16:creationId xmlns:a16="http://schemas.microsoft.com/office/drawing/2014/main" id="{5A0102D0-966A-E78A-4C81-165353C6904C}"/>
                    </a:ext>
                  </a:extLst>
                </p:cNvPr>
                <p:cNvSpPr/>
                <p:nvPr/>
              </p:nvSpPr>
              <p:spPr>
                <a:xfrm>
                  <a:off x="5815375" y="4874579"/>
                  <a:ext cx="61317" cy="1190"/>
                </a:xfrm>
                <a:custGeom>
                  <a:avLst/>
                  <a:gdLst>
                    <a:gd name="connsiteX0" fmla="*/ 0 w 61317"/>
                    <a:gd name="connsiteY0" fmla="*/ 0 h 1190"/>
                    <a:gd name="connsiteX1" fmla="*/ 61318 w 61317"/>
                    <a:gd name="connsiteY1" fmla="*/ 0 h 11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61317" h="1190">
                      <a:moveTo>
                        <a:pt x="0" y="0"/>
                      </a:moveTo>
                      <a:lnTo>
                        <a:pt x="61318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sp>
          <p:nvSpPr>
            <p:cNvPr id="1944" name="Forma livre: Forma 1943">
              <a:extLst>
                <a:ext uri="{FF2B5EF4-FFF2-40B4-BE49-F238E27FC236}">
                  <a16:creationId xmlns:a16="http://schemas.microsoft.com/office/drawing/2014/main" id="{AD1AEFC5-E823-9AF6-6F4A-9147E1034FC5}"/>
                </a:ext>
              </a:extLst>
            </p:cNvPr>
            <p:cNvSpPr/>
            <p:nvPr/>
          </p:nvSpPr>
          <p:spPr>
            <a:xfrm>
              <a:off x="5744090" y="4874568"/>
              <a:ext cx="40882" cy="1190"/>
            </a:xfrm>
            <a:custGeom>
              <a:avLst/>
              <a:gdLst>
                <a:gd name="connsiteX0" fmla="*/ 0 w 40882"/>
                <a:gd name="connsiteY0" fmla="*/ 0 h 1190"/>
                <a:gd name="connsiteX1" fmla="*/ 40882 w 40882"/>
                <a:gd name="connsiteY1" fmla="*/ 0 h 11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0882" h="1190">
                  <a:moveTo>
                    <a:pt x="0" y="0"/>
                  </a:moveTo>
                  <a:lnTo>
                    <a:pt x="40882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945" name="Gráfico 15">
            <a:extLst>
              <a:ext uri="{FF2B5EF4-FFF2-40B4-BE49-F238E27FC236}">
                <a16:creationId xmlns:a16="http://schemas.microsoft.com/office/drawing/2014/main" id="{A1ADFEE7-08B5-2517-C1A8-99D8950AFB64}"/>
              </a:ext>
            </a:extLst>
          </p:cNvPr>
          <p:cNvGrpSpPr/>
          <p:nvPr/>
        </p:nvGrpSpPr>
        <p:grpSpPr>
          <a:xfrm>
            <a:off x="4359185" y="4653591"/>
            <a:ext cx="322545" cy="280663"/>
            <a:chOff x="4359185" y="4653591"/>
            <a:chExt cx="322545" cy="280663"/>
          </a:xfrm>
          <a:noFill/>
        </p:grpSpPr>
        <p:sp>
          <p:nvSpPr>
            <p:cNvPr id="1946" name="Forma livre: Forma 1945">
              <a:extLst>
                <a:ext uri="{FF2B5EF4-FFF2-40B4-BE49-F238E27FC236}">
                  <a16:creationId xmlns:a16="http://schemas.microsoft.com/office/drawing/2014/main" id="{B24378C6-07EB-237D-25DE-9654CA8126FB}"/>
                </a:ext>
              </a:extLst>
            </p:cNvPr>
            <p:cNvSpPr/>
            <p:nvPr/>
          </p:nvSpPr>
          <p:spPr>
            <a:xfrm>
              <a:off x="4359185" y="4872329"/>
              <a:ext cx="61877" cy="61924"/>
            </a:xfrm>
            <a:custGeom>
              <a:avLst/>
              <a:gdLst>
                <a:gd name="connsiteX0" fmla="*/ 52577 w 61877"/>
                <a:gd name="connsiteY0" fmla="*/ 53124 h 61924"/>
                <a:gd name="connsiteX1" fmla="*/ 30962 w 61877"/>
                <a:gd name="connsiteY1" fmla="*/ 61925 h 61924"/>
                <a:gd name="connsiteX2" fmla="*/ 0 w 61877"/>
                <a:gd name="connsiteY2" fmla="*/ 30962 h 61924"/>
                <a:gd name="connsiteX3" fmla="*/ 30962 w 61877"/>
                <a:gd name="connsiteY3" fmla="*/ 0 h 61924"/>
                <a:gd name="connsiteX4" fmla="*/ 61877 w 61877"/>
                <a:gd name="connsiteY4" fmla="*/ 29390 h 619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1877" h="61924">
                  <a:moveTo>
                    <a:pt x="52577" y="53124"/>
                  </a:moveTo>
                  <a:cubicBezTo>
                    <a:pt x="46992" y="58567"/>
                    <a:pt x="39370" y="61925"/>
                    <a:pt x="30962" y="61925"/>
                  </a:cubicBezTo>
                  <a:cubicBezTo>
                    <a:pt x="13862" y="61925"/>
                    <a:pt x="0" y="48063"/>
                    <a:pt x="0" y="30962"/>
                  </a:cubicBezTo>
                  <a:cubicBezTo>
                    <a:pt x="0" y="13862"/>
                    <a:pt x="13862" y="0"/>
                    <a:pt x="30962" y="0"/>
                  </a:cubicBezTo>
                  <a:cubicBezTo>
                    <a:pt x="48063" y="0"/>
                    <a:pt x="61079" y="13028"/>
                    <a:pt x="61877" y="2939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47" name="Forma livre: Forma 1946">
              <a:extLst>
                <a:ext uri="{FF2B5EF4-FFF2-40B4-BE49-F238E27FC236}">
                  <a16:creationId xmlns:a16="http://schemas.microsoft.com/office/drawing/2014/main" id="{AD486F1B-9D14-442D-E041-8C6A85F1ACED}"/>
                </a:ext>
              </a:extLst>
            </p:cNvPr>
            <p:cNvSpPr/>
            <p:nvPr/>
          </p:nvSpPr>
          <p:spPr>
            <a:xfrm>
              <a:off x="4619806" y="4872329"/>
              <a:ext cx="61924" cy="61924"/>
            </a:xfrm>
            <a:custGeom>
              <a:avLst/>
              <a:gdLst>
                <a:gd name="connsiteX0" fmla="*/ 25675 w 61924"/>
                <a:gd name="connsiteY0" fmla="*/ 452 h 61924"/>
                <a:gd name="connsiteX1" fmla="*/ 30963 w 61924"/>
                <a:gd name="connsiteY1" fmla="*/ 0 h 61924"/>
                <a:gd name="connsiteX2" fmla="*/ 61925 w 61924"/>
                <a:gd name="connsiteY2" fmla="*/ 30962 h 61924"/>
                <a:gd name="connsiteX3" fmla="*/ 30963 w 61924"/>
                <a:gd name="connsiteY3" fmla="*/ 61925 h 61924"/>
                <a:gd name="connsiteX4" fmla="*/ 0 w 61924"/>
                <a:gd name="connsiteY4" fmla="*/ 30962 h 61924"/>
                <a:gd name="connsiteX5" fmla="*/ 3311 w 61924"/>
                <a:gd name="connsiteY5" fmla="*/ 17029 h 619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1924" h="61924">
                  <a:moveTo>
                    <a:pt x="25675" y="452"/>
                  </a:moveTo>
                  <a:cubicBezTo>
                    <a:pt x="27390" y="155"/>
                    <a:pt x="29164" y="0"/>
                    <a:pt x="30963" y="0"/>
                  </a:cubicBezTo>
                  <a:cubicBezTo>
                    <a:pt x="48063" y="0"/>
                    <a:pt x="61925" y="13862"/>
                    <a:pt x="61925" y="30962"/>
                  </a:cubicBezTo>
                  <a:cubicBezTo>
                    <a:pt x="61925" y="48063"/>
                    <a:pt x="48063" y="61925"/>
                    <a:pt x="30963" y="61925"/>
                  </a:cubicBezTo>
                  <a:cubicBezTo>
                    <a:pt x="13862" y="61925"/>
                    <a:pt x="0" y="48063"/>
                    <a:pt x="0" y="30962"/>
                  </a:cubicBezTo>
                  <a:cubicBezTo>
                    <a:pt x="0" y="25949"/>
                    <a:pt x="1191" y="21209"/>
                    <a:pt x="3311" y="17029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48" name="Forma livre: Forma 1947">
              <a:extLst>
                <a:ext uri="{FF2B5EF4-FFF2-40B4-BE49-F238E27FC236}">
                  <a16:creationId xmlns:a16="http://schemas.microsoft.com/office/drawing/2014/main" id="{9AACEA2C-0C5B-81EC-7E5D-6CFC011D6C61}"/>
                </a:ext>
              </a:extLst>
            </p:cNvPr>
            <p:cNvSpPr/>
            <p:nvPr/>
          </p:nvSpPr>
          <p:spPr>
            <a:xfrm>
              <a:off x="4557262" y="4653591"/>
              <a:ext cx="93518" cy="249700"/>
            </a:xfrm>
            <a:custGeom>
              <a:avLst/>
              <a:gdLst>
                <a:gd name="connsiteX0" fmla="*/ 93519 w 93518"/>
                <a:gd name="connsiteY0" fmla="*/ 249701 h 249700"/>
                <a:gd name="connsiteX1" fmla="*/ 40096 w 93518"/>
                <a:gd name="connsiteY1" fmla="*/ 17470 h 249700"/>
                <a:gd name="connsiteX2" fmla="*/ 0 w 93518"/>
                <a:gd name="connsiteY2" fmla="*/ 0 h 2497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3518" h="249700">
                  <a:moveTo>
                    <a:pt x="93519" y="249701"/>
                  </a:moveTo>
                  <a:lnTo>
                    <a:pt x="40096" y="17470"/>
                  </a:lnTo>
                  <a:lnTo>
                    <a:pt x="0" y="0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49" name="Forma livre: Forma 1948">
              <a:extLst>
                <a:ext uri="{FF2B5EF4-FFF2-40B4-BE49-F238E27FC236}">
                  <a16:creationId xmlns:a16="http://schemas.microsoft.com/office/drawing/2014/main" id="{FB2B10DF-618C-4AEA-C4AE-D45EBE7FBC32}"/>
                </a:ext>
              </a:extLst>
            </p:cNvPr>
            <p:cNvSpPr/>
            <p:nvPr/>
          </p:nvSpPr>
          <p:spPr>
            <a:xfrm>
              <a:off x="4360698" y="4846928"/>
              <a:ext cx="85801" cy="55399"/>
            </a:xfrm>
            <a:custGeom>
              <a:avLst/>
              <a:gdLst>
                <a:gd name="connsiteX0" fmla="*/ 0 w 85801"/>
                <a:gd name="connsiteY0" fmla="*/ 8288 h 55399"/>
                <a:gd name="connsiteX1" fmla="*/ 29450 w 85801"/>
                <a:gd name="connsiteY1" fmla="*/ 0 h 55399"/>
                <a:gd name="connsiteX2" fmla="*/ 85802 w 85801"/>
                <a:gd name="connsiteY2" fmla="*/ 55399 h 553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85801" h="55399">
                  <a:moveTo>
                    <a:pt x="0" y="8288"/>
                  </a:moveTo>
                  <a:cubicBezTo>
                    <a:pt x="8574" y="3025"/>
                    <a:pt x="18661" y="0"/>
                    <a:pt x="29450" y="0"/>
                  </a:cubicBezTo>
                  <a:cubicBezTo>
                    <a:pt x="60246" y="0"/>
                    <a:pt x="85290" y="24710"/>
                    <a:pt x="85802" y="55399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50" name="Forma livre: Forma 1949">
              <a:extLst>
                <a:ext uri="{FF2B5EF4-FFF2-40B4-BE49-F238E27FC236}">
                  <a16:creationId xmlns:a16="http://schemas.microsoft.com/office/drawing/2014/main" id="{1AE9DB57-9B53-3178-2405-0C50CBB45DD1}"/>
                </a:ext>
              </a:extLst>
            </p:cNvPr>
            <p:cNvSpPr/>
            <p:nvPr/>
          </p:nvSpPr>
          <p:spPr>
            <a:xfrm>
              <a:off x="4390148" y="4826099"/>
              <a:ext cx="241971" cy="77191"/>
            </a:xfrm>
            <a:custGeom>
              <a:avLst/>
              <a:gdLst>
                <a:gd name="connsiteX0" fmla="*/ 0 w 241971"/>
                <a:gd name="connsiteY0" fmla="*/ 77192 h 77191"/>
                <a:gd name="connsiteX1" fmla="*/ 182750 w 241971"/>
                <a:gd name="connsiteY1" fmla="*/ 77192 h 77191"/>
                <a:gd name="connsiteX2" fmla="*/ 241972 w 241971"/>
                <a:gd name="connsiteY2" fmla="*/ 0 h 771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41971" h="77191">
                  <a:moveTo>
                    <a:pt x="0" y="77192"/>
                  </a:moveTo>
                  <a:lnTo>
                    <a:pt x="182750" y="77192"/>
                  </a:lnTo>
                  <a:lnTo>
                    <a:pt x="241972" y="0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951" name="Gráfico 15">
            <a:extLst>
              <a:ext uri="{FF2B5EF4-FFF2-40B4-BE49-F238E27FC236}">
                <a16:creationId xmlns:a16="http://schemas.microsoft.com/office/drawing/2014/main" id="{A9BE45CE-34E0-1019-37E5-ECBB91CBDF5C}"/>
              </a:ext>
            </a:extLst>
          </p:cNvPr>
          <p:cNvGrpSpPr/>
          <p:nvPr/>
        </p:nvGrpSpPr>
        <p:grpSpPr>
          <a:xfrm>
            <a:off x="4970766" y="4612137"/>
            <a:ext cx="343445" cy="363571"/>
            <a:chOff x="4970766" y="4612137"/>
            <a:chExt cx="343445" cy="363571"/>
          </a:xfrm>
          <a:noFill/>
        </p:grpSpPr>
        <p:sp>
          <p:nvSpPr>
            <p:cNvPr id="1952" name="Forma livre: Forma 1951">
              <a:extLst>
                <a:ext uri="{FF2B5EF4-FFF2-40B4-BE49-F238E27FC236}">
                  <a16:creationId xmlns:a16="http://schemas.microsoft.com/office/drawing/2014/main" id="{FC95C061-7519-7818-02A3-FB6555D422ED}"/>
                </a:ext>
              </a:extLst>
            </p:cNvPr>
            <p:cNvSpPr/>
            <p:nvPr/>
          </p:nvSpPr>
          <p:spPr>
            <a:xfrm>
              <a:off x="5087518" y="4742596"/>
              <a:ext cx="117335" cy="233111"/>
            </a:xfrm>
            <a:custGeom>
              <a:avLst/>
              <a:gdLst>
                <a:gd name="connsiteX0" fmla="*/ 112132 w 117335"/>
                <a:gd name="connsiteY0" fmla="*/ 0 h 233111"/>
                <a:gd name="connsiteX1" fmla="*/ 117336 w 117335"/>
                <a:gd name="connsiteY1" fmla="*/ 51326 h 233111"/>
                <a:gd name="connsiteX2" fmla="*/ 54970 w 117335"/>
                <a:gd name="connsiteY2" fmla="*/ 233112 h 233111"/>
                <a:gd name="connsiteX3" fmla="*/ 0 w 117335"/>
                <a:gd name="connsiteY3" fmla="*/ 112775 h 2331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7335" h="233111">
                  <a:moveTo>
                    <a:pt x="112132" y="0"/>
                  </a:moveTo>
                  <a:cubicBezTo>
                    <a:pt x="115371" y="16279"/>
                    <a:pt x="117336" y="33499"/>
                    <a:pt x="117336" y="51326"/>
                  </a:cubicBezTo>
                  <a:cubicBezTo>
                    <a:pt x="117336" y="151716"/>
                    <a:pt x="54970" y="233112"/>
                    <a:pt x="54970" y="233112"/>
                  </a:cubicBezTo>
                  <a:cubicBezTo>
                    <a:pt x="54970" y="233112"/>
                    <a:pt x="16517" y="182941"/>
                    <a:pt x="0" y="112775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53" name="Forma livre: Forma 1952">
              <a:extLst>
                <a:ext uri="{FF2B5EF4-FFF2-40B4-BE49-F238E27FC236}">
                  <a16:creationId xmlns:a16="http://schemas.microsoft.com/office/drawing/2014/main" id="{9C69179D-EF01-E2B3-434A-4F5F63A42748}"/>
                </a:ext>
              </a:extLst>
            </p:cNvPr>
            <p:cNvSpPr/>
            <p:nvPr/>
          </p:nvSpPr>
          <p:spPr>
            <a:xfrm>
              <a:off x="5080123" y="4612137"/>
              <a:ext cx="113191" cy="215046"/>
            </a:xfrm>
            <a:custGeom>
              <a:avLst/>
              <a:gdLst>
                <a:gd name="connsiteX0" fmla="*/ 2215 w 113191"/>
                <a:gd name="connsiteY0" fmla="*/ 215046 h 215046"/>
                <a:gd name="connsiteX1" fmla="*/ 0 w 113191"/>
                <a:gd name="connsiteY1" fmla="*/ 181786 h 215046"/>
                <a:gd name="connsiteX2" fmla="*/ 62366 w 113191"/>
                <a:gd name="connsiteY2" fmla="*/ 0 h 215046"/>
                <a:gd name="connsiteX3" fmla="*/ 113192 w 113191"/>
                <a:gd name="connsiteY3" fmla="*/ 104629 h 215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3191" h="215046">
                  <a:moveTo>
                    <a:pt x="2215" y="215046"/>
                  </a:moveTo>
                  <a:cubicBezTo>
                    <a:pt x="798" y="204269"/>
                    <a:pt x="0" y="193146"/>
                    <a:pt x="0" y="181786"/>
                  </a:cubicBezTo>
                  <a:cubicBezTo>
                    <a:pt x="0" y="81396"/>
                    <a:pt x="62366" y="0"/>
                    <a:pt x="62366" y="0"/>
                  </a:cubicBezTo>
                  <a:cubicBezTo>
                    <a:pt x="62366" y="0"/>
                    <a:pt x="95162" y="42812"/>
                    <a:pt x="113192" y="104629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54" name="Forma livre: Forma 1953">
              <a:extLst>
                <a:ext uri="{FF2B5EF4-FFF2-40B4-BE49-F238E27FC236}">
                  <a16:creationId xmlns:a16="http://schemas.microsoft.com/office/drawing/2014/main" id="{FA95621B-D65E-4619-BAF7-081D62FCA8D5}"/>
                </a:ext>
              </a:extLst>
            </p:cNvPr>
            <p:cNvSpPr/>
            <p:nvPr/>
          </p:nvSpPr>
          <p:spPr>
            <a:xfrm>
              <a:off x="5106143" y="4746502"/>
              <a:ext cx="51921" cy="55339"/>
            </a:xfrm>
            <a:custGeom>
              <a:avLst/>
              <a:gdLst>
                <a:gd name="connsiteX0" fmla="*/ 500 w 51921"/>
                <a:gd name="connsiteY0" fmla="*/ 55339 h 55339"/>
                <a:gd name="connsiteX1" fmla="*/ 0 w 51921"/>
                <a:gd name="connsiteY1" fmla="*/ 47432 h 55339"/>
                <a:gd name="connsiteX2" fmla="*/ 36357 w 51921"/>
                <a:gd name="connsiteY2" fmla="*/ 0 h 55339"/>
                <a:gd name="connsiteX3" fmla="*/ 51922 w 51921"/>
                <a:gd name="connsiteY3" fmla="*/ 4549 h 553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1921" h="55339">
                  <a:moveTo>
                    <a:pt x="500" y="55339"/>
                  </a:moveTo>
                  <a:cubicBezTo>
                    <a:pt x="167" y="52767"/>
                    <a:pt x="0" y="50123"/>
                    <a:pt x="0" y="47432"/>
                  </a:cubicBezTo>
                  <a:cubicBezTo>
                    <a:pt x="0" y="21233"/>
                    <a:pt x="16267" y="0"/>
                    <a:pt x="36357" y="0"/>
                  </a:cubicBezTo>
                  <a:cubicBezTo>
                    <a:pt x="41930" y="0"/>
                    <a:pt x="47206" y="1631"/>
                    <a:pt x="51922" y="4549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55" name="Forma livre: Forma 1954">
              <a:extLst>
                <a:ext uri="{FF2B5EF4-FFF2-40B4-BE49-F238E27FC236}">
                  <a16:creationId xmlns:a16="http://schemas.microsoft.com/office/drawing/2014/main" id="{CABB091C-29D7-E63C-CE15-CF606338F44C}"/>
                </a:ext>
              </a:extLst>
            </p:cNvPr>
            <p:cNvSpPr/>
            <p:nvPr/>
          </p:nvSpPr>
          <p:spPr>
            <a:xfrm>
              <a:off x="5116849" y="4769426"/>
              <a:ext cx="61984" cy="71928"/>
            </a:xfrm>
            <a:custGeom>
              <a:avLst/>
              <a:gdLst>
                <a:gd name="connsiteX0" fmla="*/ 56769 w 61984"/>
                <a:gd name="connsiteY0" fmla="*/ 0 h 71928"/>
                <a:gd name="connsiteX1" fmla="*/ 61985 w 61984"/>
                <a:gd name="connsiteY1" fmla="*/ 24508 h 71928"/>
                <a:gd name="connsiteX2" fmla="*/ 25639 w 61984"/>
                <a:gd name="connsiteY2" fmla="*/ 71928 h 71928"/>
                <a:gd name="connsiteX3" fmla="*/ 0 w 61984"/>
                <a:gd name="connsiteY3" fmla="*/ 58126 h 719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1984" h="71928">
                  <a:moveTo>
                    <a:pt x="56769" y="0"/>
                  </a:moveTo>
                  <a:cubicBezTo>
                    <a:pt x="60079" y="7157"/>
                    <a:pt x="61985" y="15541"/>
                    <a:pt x="61985" y="24508"/>
                  </a:cubicBezTo>
                  <a:cubicBezTo>
                    <a:pt x="61985" y="50695"/>
                    <a:pt x="45717" y="71928"/>
                    <a:pt x="25639" y="71928"/>
                  </a:cubicBezTo>
                  <a:cubicBezTo>
                    <a:pt x="15636" y="71928"/>
                    <a:pt x="6574" y="66653"/>
                    <a:pt x="0" y="58126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956" name="Gráfico 15">
              <a:extLst>
                <a:ext uri="{FF2B5EF4-FFF2-40B4-BE49-F238E27FC236}">
                  <a16:creationId xmlns:a16="http://schemas.microsoft.com/office/drawing/2014/main" id="{BF7A1078-B190-561D-9B40-7537C15CB0AA}"/>
                </a:ext>
              </a:extLst>
            </p:cNvPr>
            <p:cNvGrpSpPr/>
            <p:nvPr/>
          </p:nvGrpSpPr>
          <p:grpSpPr>
            <a:xfrm>
              <a:off x="4970766" y="4627225"/>
              <a:ext cx="343445" cy="343421"/>
              <a:chOff x="4970766" y="4627225"/>
              <a:chExt cx="343445" cy="343421"/>
            </a:xfrm>
            <a:noFill/>
          </p:grpSpPr>
          <p:sp>
            <p:nvSpPr>
              <p:cNvPr id="1957" name="Forma livre: Forma 1956">
                <a:extLst>
                  <a:ext uri="{FF2B5EF4-FFF2-40B4-BE49-F238E27FC236}">
                    <a16:creationId xmlns:a16="http://schemas.microsoft.com/office/drawing/2014/main" id="{9F32AD82-0FC7-931E-3637-BAF8CF9D19A8}"/>
                  </a:ext>
                </a:extLst>
              </p:cNvPr>
              <p:cNvSpPr/>
              <p:nvPr/>
            </p:nvSpPr>
            <p:spPr>
              <a:xfrm>
                <a:off x="5008397" y="4664821"/>
                <a:ext cx="268837" cy="267587"/>
              </a:xfrm>
              <a:custGeom>
                <a:avLst/>
                <a:gdLst>
                  <a:gd name="connsiteX0" fmla="*/ 268838 w 268837"/>
                  <a:gd name="connsiteY0" fmla="*/ 0 h 267587"/>
                  <a:gd name="connsiteX1" fmla="*/ 0 w 268837"/>
                  <a:gd name="connsiteY1" fmla="*/ 267587 h 2675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68837" h="267587">
                    <a:moveTo>
                      <a:pt x="268838" y="0"/>
                    </a:moveTo>
                    <a:lnTo>
                      <a:pt x="0" y="267587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958" name="Forma livre: Forma 1957">
                <a:extLst>
                  <a:ext uri="{FF2B5EF4-FFF2-40B4-BE49-F238E27FC236}">
                    <a16:creationId xmlns:a16="http://schemas.microsoft.com/office/drawing/2014/main" id="{B3713D7C-C6F5-0D9A-3C4F-E305BE57CD25}"/>
                  </a:ext>
                </a:extLst>
              </p:cNvPr>
              <p:cNvSpPr/>
              <p:nvPr/>
            </p:nvSpPr>
            <p:spPr>
              <a:xfrm>
                <a:off x="5225754" y="4627225"/>
                <a:ext cx="88457" cy="88540"/>
              </a:xfrm>
              <a:custGeom>
                <a:avLst/>
                <a:gdLst>
                  <a:gd name="connsiteX0" fmla="*/ 14600 w 88457"/>
                  <a:gd name="connsiteY0" fmla="*/ 88541 h 88540"/>
                  <a:gd name="connsiteX1" fmla="*/ 0 w 88457"/>
                  <a:gd name="connsiteY1" fmla="*/ 73869 h 88540"/>
                  <a:gd name="connsiteX2" fmla="*/ 13373 w 88457"/>
                  <a:gd name="connsiteY2" fmla="*/ 37298 h 88540"/>
                  <a:gd name="connsiteX3" fmla="*/ 50862 w 88457"/>
                  <a:gd name="connsiteY3" fmla="*/ 0 h 88540"/>
                  <a:gd name="connsiteX4" fmla="*/ 73131 w 88457"/>
                  <a:gd name="connsiteY4" fmla="*/ 14600 h 88540"/>
                  <a:gd name="connsiteX5" fmla="*/ 88457 w 88457"/>
                  <a:gd name="connsiteY5" fmla="*/ 37774 h 88540"/>
                  <a:gd name="connsiteX6" fmla="*/ 50159 w 88457"/>
                  <a:gd name="connsiteY6" fmla="*/ 75882 h 88540"/>
                  <a:gd name="connsiteX7" fmla="*/ 14600 w 88457"/>
                  <a:gd name="connsiteY7" fmla="*/ 88541 h 885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88457" h="88540">
                    <a:moveTo>
                      <a:pt x="14600" y="88541"/>
                    </a:moveTo>
                    <a:lnTo>
                      <a:pt x="0" y="73869"/>
                    </a:lnTo>
                    <a:lnTo>
                      <a:pt x="13373" y="37298"/>
                    </a:lnTo>
                    <a:lnTo>
                      <a:pt x="50862" y="0"/>
                    </a:lnTo>
                    <a:lnTo>
                      <a:pt x="73131" y="14600"/>
                    </a:lnTo>
                    <a:lnTo>
                      <a:pt x="88457" y="37774"/>
                    </a:lnTo>
                    <a:lnTo>
                      <a:pt x="50159" y="75882"/>
                    </a:lnTo>
                    <a:lnTo>
                      <a:pt x="14600" y="88541"/>
                    </a:lnTo>
                    <a:close/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959" name="Forma livre: Forma 1958">
                <a:extLst>
                  <a:ext uri="{FF2B5EF4-FFF2-40B4-BE49-F238E27FC236}">
                    <a16:creationId xmlns:a16="http://schemas.microsoft.com/office/drawing/2014/main" id="{88FC642E-6143-42C6-26EB-F7CBB598F557}"/>
                  </a:ext>
                </a:extLst>
              </p:cNvPr>
              <p:cNvSpPr/>
              <p:nvPr/>
            </p:nvSpPr>
            <p:spPr>
              <a:xfrm>
                <a:off x="4970766" y="4882106"/>
                <a:ext cx="88457" cy="88540"/>
              </a:xfrm>
              <a:custGeom>
                <a:avLst/>
                <a:gdLst>
                  <a:gd name="connsiteX0" fmla="*/ 73869 w 88457"/>
                  <a:gd name="connsiteY0" fmla="*/ 0 h 88540"/>
                  <a:gd name="connsiteX1" fmla="*/ 88457 w 88457"/>
                  <a:gd name="connsiteY1" fmla="*/ 14683 h 88540"/>
                  <a:gd name="connsiteX2" fmla="*/ 75084 w 88457"/>
                  <a:gd name="connsiteY2" fmla="*/ 51243 h 88540"/>
                  <a:gd name="connsiteX3" fmla="*/ 37596 w 88457"/>
                  <a:gd name="connsiteY3" fmla="*/ 88541 h 88540"/>
                  <a:gd name="connsiteX4" fmla="*/ 15338 w 88457"/>
                  <a:gd name="connsiteY4" fmla="*/ 73929 h 88540"/>
                  <a:gd name="connsiteX5" fmla="*/ 0 w 88457"/>
                  <a:gd name="connsiteY5" fmla="*/ 50767 h 88540"/>
                  <a:gd name="connsiteX6" fmla="*/ 38298 w 88457"/>
                  <a:gd name="connsiteY6" fmla="*/ 12659 h 88540"/>
                  <a:gd name="connsiteX7" fmla="*/ 73869 w 88457"/>
                  <a:gd name="connsiteY7" fmla="*/ 0 h 885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88457" h="88540">
                    <a:moveTo>
                      <a:pt x="73869" y="0"/>
                    </a:moveTo>
                    <a:lnTo>
                      <a:pt x="88457" y="14683"/>
                    </a:lnTo>
                    <a:lnTo>
                      <a:pt x="75084" y="51243"/>
                    </a:lnTo>
                    <a:lnTo>
                      <a:pt x="37596" y="88541"/>
                    </a:lnTo>
                    <a:lnTo>
                      <a:pt x="15338" y="73929"/>
                    </a:lnTo>
                    <a:lnTo>
                      <a:pt x="0" y="50767"/>
                    </a:lnTo>
                    <a:lnTo>
                      <a:pt x="38298" y="12659"/>
                    </a:lnTo>
                    <a:lnTo>
                      <a:pt x="73869" y="0"/>
                    </a:lnTo>
                    <a:close/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960" name="Gráfico 15">
            <a:extLst>
              <a:ext uri="{FF2B5EF4-FFF2-40B4-BE49-F238E27FC236}">
                <a16:creationId xmlns:a16="http://schemas.microsoft.com/office/drawing/2014/main" id="{02C21D33-61E8-0699-9AED-205BFB7310EF}"/>
              </a:ext>
            </a:extLst>
          </p:cNvPr>
          <p:cNvGrpSpPr/>
          <p:nvPr/>
        </p:nvGrpSpPr>
        <p:grpSpPr>
          <a:xfrm>
            <a:off x="5582477" y="4102780"/>
            <a:ext cx="364095" cy="291773"/>
            <a:chOff x="5582477" y="4102780"/>
            <a:chExt cx="364095" cy="291773"/>
          </a:xfrm>
          <a:noFill/>
        </p:grpSpPr>
        <p:grpSp>
          <p:nvGrpSpPr>
            <p:cNvPr id="1961" name="Gráfico 15">
              <a:extLst>
                <a:ext uri="{FF2B5EF4-FFF2-40B4-BE49-F238E27FC236}">
                  <a16:creationId xmlns:a16="http://schemas.microsoft.com/office/drawing/2014/main" id="{5E3A39DF-CCD2-1546-0C4C-C777E9944FB9}"/>
                </a:ext>
              </a:extLst>
            </p:cNvPr>
            <p:cNvGrpSpPr/>
            <p:nvPr/>
          </p:nvGrpSpPr>
          <p:grpSpPr>
            <a:xfrm>
              <a:off x="5582477" y="4102780"/>
              <a:ext cx="364095" cy="291773"/>
              <a:chOff x="5582477" y="4102780"/>
              <a:chExt cx="364095" cy="291773"/>
            </a:xfrm>
            <a:noFill/>
          </p:grpSpPr>
          <p:grpSp>
            <p:nvGrpSpPr>
              <p:cNvPr id="1962" name="Gráfico 15">
                <a:extLst>
                  <a:ext uri="{FF2B5EF4-FFF2-40B4-BE49-F238E27FC236}">
                    <a16:creationId xmlns:a16="http://schemas.microsoft.com/office/drawing/2014/main" id="{9B82FD3F-E8C8-C4CF-ECAE-FF3493166CBD}"/>
                  </a:ext>
                </a:extLst>
              </p:cNvPr>
              <p:cNvGrpSpPr/>
              <p:nvPr/>
            </p:nvGrpSpPr>
            <p:grpSpPr>
              <a:xfrm>
                <a:off x="5748591" y="4102780"/>
                <a:ext cx="70546" cy="62329"/>
                <a:chOff x="5748591" y="4102780"/>
                <a:chExt cx="70546" cy="62329"/>
              </a:xfrm>
              <a:noFill/>
            </p:grpSpPr>
            <p:sp>
              <p:nvSpPr>
                <p:cNvPr id="1963" name="Forma livre: Forma 1962">
                  <a:extLst>
                    <a:ext uri="{FF2B5EF4-FFF2-40B4-BE49-F238E27FC236}">
                      <a16:creationId xmlns:a16="http://schemas.microsoft.com/office/drawing/2014/main" id="{A0A173C7-37C8-5F2D-91A1-AD0A9E4EC857}"/>
                    </a:ext>
                  </a:extLst>
                </p:cNvPr>
                <p:cNvSpPr/>
                <p:nvPr/>
              </p:nvSpPr>
              <p:spPr>
                <a:xfrm>
                  <a:off x="5766442" y="4144520"/>
                  <a:ext cx="34832" cy="20590"/>
                </a:xfrm>
                <a:custGeom>
                  <a:avLst/>
                  <a:gdLst>
                    <a:gd name="connsiteX0" fmla="*/ 0 w 34832"/>
                    <a:gd name="connsiteY0" fmla="*/ 20590 h 20590"/>
                    <a:gd name="connsiteX1" fmla="*/ 0 w 34832"/>
                    <a:gd name="connsiteY1" fmla="*/ 14671 h 20590"/>
                    <a:gd name="connsiteX2" fmla="*/ 14671 w 34832"/>
                    <a:gd name="connsiteY2" fmla="*/ 0 h 20590"/>
                    <a:gd name="connsiteX3" fmla="*/ 20161 w 34832"/>
                    <a:gd name="connsiteY3" fmla="*/ 0 h 20590"/>
                    <a:gd name="connsiteX4" fmla="*/ 34833 w 34832"/>
                    <a:gd name="connsiteY4" fmla="*/ 14671 h 20590"/>
                    <a:gd name="connsiteX5" fmla="*/ 34833 w 34832"/>
                    <a:gd name="connsiteY5" fmla="*/ 20590 h 205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34832" h="20590">
                      <a:moveTo>
                        <a:pt x="0" y="20590"/>
                      </a:moveTo>
                      <a:lnTo>
                        <a:pt x="0" y="14671"/>
                      </a:lnTo>
                      <a:cubicBezTo>
                        <a:pt x="0" y="6597"/>
                        <a:pt x="6597" y="0"/>
                        <a:pt x="14671" y="0"/>
                      </a:cubicBezTo>
                      <a:lnTo>
                        <a:pt x="20161" y="0"/>
                      </a:lnTo>
                      <a:cubicBezTo>
                        <a:pt x="28235" y="0"/>
                        <a:pt x="34833" y="6597"/>
                        <a:pt x="34833" y="14671"/>
                      </a:cubicBezTo>
                      <a:lnTo>
                        <a:pt x="34833" y="20590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964" name="Forma livre: Forma 1963">
                  <a:extLst>
                    <a:ext uri="{FF2B5EF4-FFF2-40B4-BE49-F238E27FC236}">
                      <a16:creationId xmlns:a16="http://schemas.microsoft.com/office/drawing/2014/main" id="{7A273647-6A78-00FE-A0E3-BA381FCDE6B7}"/>
                    </a:ext>
                  </a:extLst>
                </p:cNvPr>
                <p:cNvSpPr/>
                <p:nvPr/>
              </p:nvSpPr>
              <p:spPr>
                <a:xfrm>
                  <a:off x="5783864" y="4102780"/>
                  <a:ext cx="1190" cy="17731"/>
                </a:xfrm>
                <a:custGeom>
                  <a:avLst/>
                  <a:gdLst>
                    <a:gd name="connsiteX0" fmla="*/ 0 w 1190"/>
                    <a:gd name="connsiteY0" fmla="*/ 17732 h 17731"/>
                    <a:gd name="connsiteX1" fmla="*/ 0 w 1190"/>
                    <a:gd name="connsiteY1" fmla="*/ 0 h 1773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190" h="17731">
                      <a:moveTo>
                        <a:pt x="0" y="17732"/>
                      </a:moveTo>
                      <a:lnTo>
                        <a:pt x="0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grpSp>
              <p:nvGrpSpPr>
                <p:cNvPr id="1965" name="Gráfico 15">
                  <a:extLst>
                    <a:ext uri="{FF2B5EF4-FFF2-40B4-BE49-F238E27FC236}">
                      <a16:creationId xmlns:a16="http://schemas.microsoft.com/office/drawing/2014/main" id="{5A6D9603-818E-4A76-24F9-67C04E101B6D}"/>
                    </a:ext>
                  </a:extLst>
                </p:cNvPr>
                <p:cNvGrpSpPr/>
                <p:nvPr/>
              </p:nvGrpSpPr>
              <p:grpSpPr>
                <a:xfrm>
                  <a:off x="5748591" y="4113783"/>
                  <a:ext cx="70546" cy="12420"/>
                  <a:chOff x="5748591" y="4113783"/>
                  <a:chExt cx="70546" cy="12420"/>
                </a:xfrm>
              </p:grpSpPr>
              <p:sp>
                <p:nvSpPr>
                  <p:cNvPr id="1966" name="Forma livre: Forma 1965">
                    <a:extLst>
                      <a:ext uri="{FF2B5EF4-FFF2-40B4-BE49-F238E27FC236}">
                        <a16:creationId xmlns:a16="http://schemas.microsoft.com/office/drawing/2014/main" id="{4973C132-72F9-C478-E1F4-F097CE3E8D9C}"/>
                      </a:ext>
                    </a:extLst>
                  </p:cNvPr>
                  <p:cNvSpPr/>
                  <p:nvPr/>
                </p:nvSpPr>
                <p:spPr>
                  <a:xfrm>
                    <a:off x="5806479" y="4113783"/>
                    <a:ext cx="12658" cy="12420"/>
                  </a:xfrm>
                  <a:custGeom>
                    <a:avLst/>
                    <a:gdLst>
                      <a:gd name="connsiteX0" fmla="*/ 0 w 12658"/>
                      <a:gd name="connsiteY0" fmla="*/ 12421 h 12420"/>
                      <a:gd name="connsiteX1" fmla="*/ 12659 w 12658"/>
                      <a:gd name="connsiteY1" fmla="*/ 0 h 1242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2658" h="12420">
                        <a:moveTo>
                          <a:pt x="0" y="12421"/>
                        </a:moveTo>
                        <a:lnTo>
                          <a:pt x="12659" y="0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1967" name="Forma livre: Forma 1966">
                    <a:extLst>
                      <a:ext uri="{FF2B5EF4-FFF2-40B4-BE49-F238E27FC236}">
                        <a16:creationId xmlns:a16="http://schemas.microsoft.com/office/drawing/2014/main" id="{B7CE052C-B73E-2DAF-BFD2-99BD7EA8FB9F}"/>
                      </a:ext>
                    </a:extLst>
                  </p:cNvPr>
                  <p:cNvSpPr/>
                  <p:nvPr/>
                </p:nvSpPr>
                <p:spPr>
                  <a:xfrm>
                    <a:off x="5748591" y="4113783"/>
                    <a:ext cx="12670" cy="12420"/>
                  </a:xfrm>
                  <a:custGeom>
                    <a:avLst/>
                    <a:gdLst>
                      <a:gd name="connsiteX0" fmla="*/ 12671 w 12670"/>
                      <a:gd name="connsiteY0" fmla="*/ 12421 h 12420"/>
                      <a:gd name="connsiteX1" fmla="*/ 0 w 12670"/>
                      <a:gd name="connsiteY1" fmla="*/ 0 h 1242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2670" h="12420">
                        <a:moveTo>
                          <a:pt x="12671" y="12421"/>
                        </a:moveTo>
                        <a:lnTo>
                          <a:pt x="0" y="0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</p:grpSp>
          <p:grpSp>
            <p:nvGrpSpPr>
              <p:cNvPr id="1968" name="Gráfico 15">
                <a:extLst>
                  <a:ext uri="{FF2B5EF4-FFF2-40B4-BE49-F238E27FC236}">
                    <a16:creationId xmlns:a16="http://schemas.microsoft.com/office/drawing/2014/main" id="{52D8EFE9-42F1-F9E9-432F-A7F32547DEE7}"/>
                  </a:ext>
                </a:extLst>
              </p:cNvPr>
              <p:cNvGrpSpPr/>
              <p:nvPr/>
            </p:nvGrpSpPr>
            <p:grpSpPr>
              <a:xfrm>
                <a:off x="5621168" y="4338869"/>
                <a:ext cx="325403" cy="55684"/>
                <a:chOff x="5621168" y="4338869"/>
                <a:chExt cx="325403" cy="55684"/>
              </a:xfrm>
              <a:noFill/>
            </p:grpSpPr>
            <p:sp>
              <p:nvSpPr>
                <p:cNvPr id="1969" name="Forma livre: Forma 1968">
                  <a:extLst>
                    <a:ext uri="{FF2B5EF4-FFF2-40B4-BE49-F238E27FC236}">
                      <a16:creationId xmlns:a16="http://schemas.microsoft.com/office/drawing/2014/main" id="{2940FC0A-1283-471D-E973-9669CA3DA8D1}"/>
                    </a:ext>
                  </a:extLst>
                </p:cNvPr>
                <p:cNvSpPr/>
                <p:nvPr/>
              </p:nvSpPr>
              <p:spPr>
                <a:xfrm>
                  <a:off x="5696348" y="4363448"/>
                  <a:ext cx="132174" cy="1190"/>
                </a:xfrm>
                <a:custGeom>
                  <a:avLst/>
                  <a:gdLst>
                    <a:gd name="connsiteX0" fmla="*/ 0 w 132174"/>
                    <a:gd name="connsiteY0" fmla="*/ 0 h 1190"/>
                    <a:gd name="connsiteX1" fmla="*/ 132174 w 132174"/>
                    <a:gd name="connsiteY1" fmla="*/ 0 h 11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32174" h="1190">
                      <a:moveTo>
                        <a:pt x="0" y="0"/>
                      </a:moveTo>
                      <a:lnTo>
                        <a:pt x="132174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970" name="Forma livre: Forma 1969">
                  <a:extLst>
                    <a:ext uri="{FF2B5EF4-FFF2-40B4-BE49-F238E27FC236}">
                      <a16:creationId xmlns:a16="http://schemas.microsoft.com/office/drawing/2014/main" id="{B82791A8-C845-1A70-F93E-41523EC46CE1}"/>
                    </a:ext>
                  </a:extLst>
                </p:cNvPr>
                <p:cNvSpPr/>
                <p:nvPr/>
              </p:nvSpPr>
              <p:spPr>
                <a:xfrm>
                  <a:off x="5907500" y="4338869"/>
                  <a:ext cx="39072" cy="24579"/>
                </a:xfrm>
                <a:custGeom>
                  <a:avLst/>
                  <a:gdLst>
                    <a:gd name="connsiteX0" fmla="*/ 0 w 39072"/>
                    <a:gd name="connsiteY0" fmla="*/ 24579 h 24579"/>
                    <a:gd name="connsiteX1" fmla="*/ 39072 w 39072"/>
                    <a:gd name="connsiteY1" fmla="*/ 24579 h 24579"/>
                    <a:gd name="connsiteX2" fmla="*/ 39072 w 39072"/>
                    <a:gd name="connsiteY2" fmla="*/ 0 h 24579"/>
                    <a:gd name="connsiteX3" fmla="*/ 13159 w 39072"/>
                    <a:gd name="connsiteY3" fmla="*/ 0 h 2457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39072" h="24579">
                      <a:moveTo>
                        <a:pt x="0" y="24579"/>
                      </a:moveTo>
                      <a:lnTo>
                        <a:pt x="39072" y="24579"/>
                      </a:lnTo>
                      <a:lnTo>
                        <a:pt x="39072" y="0"/>
                      </a:lnTo>
                      <a:lnTo>
                        <a:pt x="13159" y="0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971" name="Forma livre: Forma 1970">
                  <a:extLst>
                    <a:ext uri="{FF2B5EF4-FFF2-40B4-BE49-F238E27FC236}">
                      <a16:creationId xmlns:a16="http://schemas.microsoft.com/office/drawing/2014/main" id="{C24FDA54-EA11-6A17-177F-A29636636685}"/>
                    </a:ext>
                  </a:extLst>
                </p:cNvPr>
                <p:cNvSpPr/>
                <p:nvPr/>
              </p:nvSpPr>
              <p:spPr>
                <a:xfrm>
                  <a:off x="5850720" y="4340274"/>
                  <a:ext cx="54279" cy="54279"/>
                </a:xfrm>
                <a:custGeom>
                  <a:avLst/>
                  <a:gdLst>
                    <a:gd name="connsiteX0" fmla="*/ 54280 w 54279"/>
                    <a:gd name="connsiteY0" fmla="*/ 27140 h 54279"/>
                    <a:gd name="connsiteX1" fmla="*/ 27140 w 54279"/>
                    <a:gd name="connsiteY1" fmla="*/ 54280 h 54279"/>
                    <a:gd name="connsiteX2" fmla="*/ 0 w 54279"/>
                    <a:gd name="connsiteY2" fmla="*/ 27140 h 54279"/>
                    <a:gd name="connsiteX3" fmla="*/ 27140 w 54279"/>
                    <a:gd name="connsiteY3" fmla="*/ 0 h 54279"/>
                    <a:gd name="connsiteX4" fmla="*/ 54280 w 54279"/>
                    <a:gd name="connsiteY4" fmla="*/ 27140 h 5427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4279" h="54279">
                      <a:moveTo>
                        <a:pt x="54280" y="27140"/>
                      </a:moveTo>
                      <a:cubicBezTo>
                        <a:pt x="54280" y="42133"/>
                        <a:pt x="42133" y="54280"/>
                        <a:pt x="27140" y="54280"/>
                      </a:cubicBezTo>
                      <a:cubicBezTo>
                        <a:pt x="12147" y="54280"/>
                        <a:pt x="0" y="42133"/>
                        <a:pt x="0" y="27140"/>
                      </a:cubicBezTo>
                      <a:cubicBezTo>
                        <a:pt x="0" y="12147"/>
                        <a:pt x="12147" y="0"/>
                        <a:pt x="27140" y="0"/>
                      </a:cubicBezTo>
                      <a:cubicBezTo>
                        <a:pt x="42133" y="0"/>
                        <a:pt x="54280" y="12147"/>
                        <a:pt x="54280" y="27140"/>
                      </a:cubicBezTo>
                      <a:close/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972" name="Forma livre: Forma 1971">
                  <a:extLst>
                    <a:ext uri="{FF2B5EF4-FFF2-40B4-BE49-F238E27FC236}">
                      <a16:creationId xmlns:a16="http://schemas.microsoft.com/office/drawing/2014/main" id="{0C36F4E3-9266-09D4-D941-B9DAC6F36D31}"/>
                    </a:ext>
                  </a:extLst>
                </p:cNvPr>
                <p:cNvSpPr/>
                <p:nvPr/>
              </p:nvSpPr>
              <p:spPr>
                <a:xfrm>
                  <a:off x="5621168" y="4340274"/>
                  <a:ext cx="54279" cy="54279"/>
                </a:xfrm>
                <a:custGeom>
                  <a:avLst/>
                  <a:gdLst>
                    <a:gd name="connsiteX0" fmla="*/ 54280 w 54279"/>
                    <a:gd name="connsiteY0" fmla="*/ 27140 h 54279"/>
                    <a:gd name="connsiteX1" fmla="*/ 27140 w 54279"/>
                    <a:gd name="connsiteY1" fmla="*/ 54280 h 54279"/>
                    <a:gd name="connsiteX2" fmla="*/ 0 w 54279"/>
                    <a:gd name="connsiteY2" fmla="*/ 27140 h 54279"/>
                    <a:gd name="connsiteX3" fmla="*/ 27140 w 54279"/>
                    <a:gd name="connsiteY3" fmla="*/ 0 h 54279"/>
                    <a:gd name="connsiteX4" fmla="*/ 54280 w 54279"/>
                    <a:gd name="connsiteY4" fmla="*/ 27140 h 5427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4279" h="54279">
                      <a:moveTo>
                        <a:pt x="54280" y="27140"/>
                      </a:moveTo>
                      <a:cubicBezTo>
                        <a:pt x="54280" y="42133"/>
                        <a:pt x="42133" y="54280"/>
                        <a:pt x="27140" y="54280"/>
                      </a:cubicBezTo>
                      <a:cubicBezTo>
                        <a:pt x="12147" y="54280"/>
                        <a:pt x="0" y="42133"/>
                        <a:pt x="0" y="27140"/>
                      </a:cubicBezTo>
                      <a:cubicBezTo>
                        <a:pt x="0" y="12147"/>
                        <a:pt x="12147" y="0"/>
                        <a:pt x="27140" y="0"/>
                      </a:cubicBezTo>
                      <a:cubicBezTo>
                        <a:pt x="42133" y="0"/>
                        <a:pt x="54280" y="12147"/>
                        <a:pt x="54280" y="27140"/>
                      </a:cubicBezTo>
                      <a:close/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1973" name="Forma livre: Forma 1972">
                <a:extLst>
                  <a:ext uri="{FF2B5EF4-FFF2-40B4-BE49-F238E27FC236}">
                    <a16:creationId xmlns:a16="http://schemas.microsoft.com/office/drawing/2014/main" id="{C2598F49-FDA3-0AB4-5343-2C7894651965}"/>
                  </a:ext>
                </a:extLst>
              </p:cNvPr>
              <p:cNvSpPr/>
              <p:nvPr/>
            </p:nvSpPr>
            <p:spPr>
              <a:xfrm>
                <a:off x="5808873" y="4225284"/>
                <a:ext cx="131328" cy="113025"/>
              </a:xfrm>
              <a:custGeom>
                <a:avLst/>
                <a:gdLst>
                  <a:gd name="connsiteX0" fmla="*/ 131329 w 131328"/>
                  <a:gd name="connsiteY0" fmla="*/ 113025 h 113025"/>
                  <a:gd name="connsiteX1" fmla="*/ 131329 w 131328"/>
                  <a:gd name="connsiteY1" fmla="*/ 81586 h 113025"/>
                  <a:gd name="connsiteX2" fmla="*/ 73393 w 131328"/>
                  <a:gd name="connsiteY2" fmla="*/ 57185 h 113025"/>
                  <a:gd name="connsiteX3" fmla="*/ 32213 w 131328"/>
                  <a:gd name="connsiteY3" fmla="*/ 0 h 113025"/>
                  <a:gd name="connsiteX4" fmla="*/ 0 w 131328"/>
                  <a:gd name="connsiteY4" fmla="*/ 0 h 1130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31328" h="113025">
                    <a:moveTo>
                      <a:pt x="131329" y="113025"/>
                    </a:moveTo>
                    <a:lnTo>
                      <a:pt x="131329" y="81586"/>
                    </a:lnTo>
                    <a:lnTo>
                      <a:pt x="73393" y="57185"/>
                    </a:lnTo>
                    <a:lnTo>
                      <a:pt x="32213" y="0"/>
                    </a:lnTo>
                    <a:lnTo>
                      <a:pt x="0" y="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974" name="Forma livre: Forma 1973">
                <a:extLst>
                  <a:ext uri="{FF2B5EF4-FFF2-40B4-BE49-F238E27FC236}">
                    <a16:creationId xmlns:a16="http://schemas.microsoft.com/office/drawing/2014/main" id="{E051F3E5-C387-310B-FAA1-954AC0A2CD6E}"/>
                  </a:ext>
                </a:extLst>
              </p:cNvPr>
              <p:cNvSpPr/>
              <p:nvPr/>
            </p:nvSpPr>
            <p:spPr>
              <a:xfrm>
                <a:off x="5829475" y="4282469"/>
                <a:ext cx="52791" cy="1190"/>
              </a:xfrm>
              <a:custGeom>
                <a:avLst/>
                <a:gdLst>
                  <a:gd name="connsiteX0" fmla="*/ 52791 w 52791"/>
                  <a:gd name="connsiteY0" fmla="*/ 0 h 1190"/>
                  <a:gd name="connsiteX1" fmla="*/ 0 w 52791"/>
                  <a:gd name="connsiteY1" fmla="*/ 0 h 11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2791" h="1190">
                    <a:moveTo>
                      <a:pt x="52791" y="0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975" name="Forma livre: Forma 1974">
                <a:extLst>
                  <a:ext uri="{FF2B5EF4-FFF2-40B4-BE49-F238E27FC236}">
                    <a16:creationId xmlns:a16="http://schemas.microsoft.com/office/drawing/2014/main" id="{48B11204-3C4F-1A47-1AA1-3D0091DF9153}"/>
                  </a:ext>
                </a:extLst>
              </p:cNvPr>
              <p:cNvSpPr/>
              <p:nvPr/>
            </p:nvSpPr>
            <p:spPr>
              <a:xfrm>
                <a:off x="5582477" y="4185521"/>
                <a:ext cx="224251" cy="178629"/>
              </a:xfrm>
              <a:custGeom>
                <a:avLst/>
                <a:gdLst>
                  <a:gd name="connsiteX0" fmla="*/ 37655 w 224251"/>
                  <a:gd name="connsiteY0" fmla="*/ 178630 h 178629"/>
                  <a:gd name="connsiteX1" fmla="*/ 9777 w 224251"/>
                  <a:gd name="connsiteY1" fmla="*/ 178630 h 178629"/>
                  <a:gd name="connsiteX2" fmla="*/ 0 w 224251"/>
                  <a:gd name="connsiteY2" fmla="*/ 168853 h 178629"/>
                  <a:gd name="connsiteX3" fmla="*/ 0 w 224251"/>
                  <a:gd name="connsiteY3" fmla="*/ 9777 h 178629"/>
                  <a:gd name="connsiteX4" fmla="*/ 9777 w 224251"/>
                  <a:gd name="connsiteY4" fmla="*/ 0 h 178629"/>
                  <a:gd name="connsiteX5" fmla="*/ 214475 w 224251"/>
                  <a:gd name="connsiteY5" fmla="*/ 0 h 178629"/>
                  <a:gd name="connsiteX6" fmla="*/ 224252 w 224251"/>
                  <a:gd name="connsiteY6" fmla="*/ 9777 h 178629"/>
                  <a:gd name="connsiteX7" fmla="*/ 224252 w 224251"/>
                  <a:gd name="connsiteY7" fmla="*/ 127030 h 1786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24251" h="178629">
                    <a:moveTo>
                      <a:pt x="37655" y="178630"/>
                    </a:moveTo>
                    <a:lnTo>
                      <a:pt x="9777" y="178630"/>
                    </a:lnTo>
                    <a:cubicBezTo>
                      <a:pt x="4394" y="178630"/>
                      <a:pt x="0" y="174224"/>
                      <a:pt x="0" y="168853"/>
                    </a:cubicBezTo>
                    <a:lnTo>
                      <a:pt x="0" y="9777"/>
                    </a:lnTo>
                    <a:cubicBezTo>
                      <a:pt x="0" y="4394"/>
                      <a:pt x="4406" y="0"/>
                      <a:pt x="9777" y="0"/>
                    </a:cubicBezTo>
                    <a:lnTo>
                      <a:pt x="214475" y="0"/>
                    </a:lnTo>
                    <a:cubicBezTo>
                      <a:pt x="219857" y="0"/>
                      <a:pt x="224252" y="4406"/>
                      <a:pt x="224252" y="9777"/>
                    </a:cubicBezTo>
                    <a:lnTo>
                      <a:pt x="224252" y="12703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976" name="Forma livre: Forma 1975">
                <a:extLst>
                  <a:ext uri="{FF2B5EF4-FFF2-40B4-BE49-F238E27FC236}">
                    <a16:creationId xmlns:a16="http://schemas.microsoft.com/office/drawing/2014/main" id="{3059259F-AF5D-6D44-5AFC-FB639DC9DE8B}"/>
                  </a:ext>
                </a:extLst>
              </p:cNvPr>
              <p:cNvSpPr/>
              <p:nvPr/>
            </p:nvSpPr>
            <p:spPr>
              <a:xfrm>
                <a:off x="5652786" y="4224820"/>
                <a:ext cx="84908" cy="84896"/>
              </a:xfrm>
              <a:custGeom>
                <a:avLst/>
                <a:gdLst>
                  <a:gd name="connsiteX0" fmla="*/ 84909 w 84908"/>
                  <a:gd name="connsiteY0" fmla="*/ 28092 h 84896"/>
                  <a:gd name="connsiteX1" fmla="*/ 56804 w 84908"/>
                  <a:gd name="connsiteY1" fmla="*/ 28092 h 84896"/>
                  <a:gd name="connsiteX2" fmla="*/ 56804 w 84908"/>
                  <a:gd name="connsiteY2" fmla="*/ 0 h 84896"/>
                  <a:gd name="connsiteX3" fmla="*/ 28081 w 84908"/>
                  <a:gd name="connsiteY3" fmla="*/ 0 h 84896"/>
                  <a:gd name="connsiteX4" fmla="*/ 28081 w 84908"/>
                  <a:gd name="connsiteY4" fmla="*/ 28092 h 84896"/>
                  <a:gd name="connsiteX5" fmla="*/ 0 w 84908"/>
                  <a:gd name="connsiteY5" fmla="*/ 28092 h 84896"/>
                  <a:gd name="connsiteX6" fmla="*/ 0 w 84908"/>
                  <a:gd name="connsiteY6" fmla="*/ 56804 h 84896"/>
                  <a:gd name="connsiteX7" fmla="*/ 28081 w 84908"/>
                  <a:gd name="connsiteY7" fmla="*/ 56804 h 84896"/>
                  <a:gd name="connsiteX8" fmla="*/ 28081 w 84908"/>
                  <a:gd name="connsiteY8" fmla="*/ 84897 h 84896"/>
                  <a:gd name="connsiteX9" fmla="*/ 56804 w 84908"/>
                  <a:gd name="connsiteY9" fmla="*/ 84897 h 84896"/>
                  <a:gd name="connsiteX10" fmla="*/ 56804 w 84908"/>
                  <a:gd name="connsiteY10" fmla="*/ 56804 h 84896"/>
                  <a:gd name="connsiteX11" fmla="*/ 84909 w 84908"/>
                  <a:gd name="connsiteY11" fmla="*/ 56804 h 84896"/>
                  <a:gd name="connsiteX12" fmla="*/ 84909 w 84908"/>
                  <a:gd name="connsiteY12" fmla="*/ 28092 h 848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84908" h="84896">
                    <a:moveTo>
                      <a:pt x="84909" y="28092"/>
                    </a:moveTo>
                    <a:lnTo>
                      <a:pt x="56804" y="28092"/>
                    </a:lnTo>
                    <a:lnTo>
                      <a:pt x="56804" y="0"/>
                    </a:lnTo>
                    <a:lnTo>
                      <a:pt x="28081" y="0"/>
                    </a:lnTo>
                    <a:lnTo>
                      <a:pt x="28081" y="28092"/>
                    </a:lnTo>
                    <a:lnTo>
                      <a:pt x="0" y="28092"/>
                    </a:lnTo>
                    <a:lnTo>
                      <a:pt x="0" y="56804"/>
                    </a:lnTo>
                    <a:lnTo>
                      <a:pt x="28081" y="56804"/>
                    </a:lnTo>
                    <a:lnTo>
                      <a:pt x="28081" y="84897"/>
                    </a:lnTo>
                    <a:lnTo>
                      <a:pt x="56804" y="84897"/>
                    </a:lnTo>
                    <a:lnTo>
                      <a:pt x="56804" y="56804"/>
                    </a:lnTo>
                    <a:lnTo>
                      <a:pt x="84909" y="56804"/>
                    </a:lnTo>
                    <a:lnTo>
                      <a:pt x="84909" y="28092"/>
                    </a:ln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977" name="Forma livre: Forma 1976">
              <a:extLst>
                <a:ext uri="{FF2B5EF4-FFF2-40B4-BE49-F238E27FC236}">
                  <a16:creationId xmlns:a16="http://schemas.microsoft.com/office/drawing/2014/main" id="{AA5A6E92-62E6-5F96-CB8D-70596D060488}"/>
                </a:ext>
              </a:extLst>
            </p:cNvPr>
            <p:cNvSpPr/>
            <p:nvPr/>
          </p:nvSpPr>
          <p:spPr>
            <a:xfrm>
              <a:off x="5759142" y="4266345"/>
              <a:ext cx="46205" cy="1190"/>
            </a:xfrm>
            <a:custGeom>
              <a:avLst/>
              <a:gdLst>
                <a:gd name="connsiteX0" fmla="*/ 0 w 46205"/>
                <a:gd name="connsiteY0" fmla="*/ 0 h 1190"/>
                <a:gd name="connsiteX1" fmla="*/ 46206 w 46205"/>
                <a:gd name="connsiteY1" fmla="*/ 0 h 11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6205" h="1190">
                  <a:moveTo>
                    <a:pt x="0" y="0"/>
                  </a:moveTo>
                  <a:lnTo>
                    <a:pt x="46206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78" name="Forma livre: Forma 1977">
              <a:extLst>
                <a:ext uri="{FF2B5EF4-FFF2-40B4-BE49-F238E27FC236}">
                  <a16:creationId xmlns:a16="http://schemas.microsoft.com/office/drawing/2014/main" id="{E1139216-D327-0C81-0A62-67D61EA454FE}"/>
                </a:ext>
              </a:extLst>
            </p:cNvPr>
            <p:cNvSpPr/>
            <p:nvPr/>
          </p:nvSpPr>
          <p:spPr>
            <a:xfrm>
              <a:off x="5585038" y="4266345"/>
              <a:ext cx="45967" cy="1190"/>
            </a:xfrm>
            <a:custGeom>
              <a:avLst/>
              <a:gdLst>
                <a:gd name="connsiteX0" fmla="*/ 45967 w 45967"/>
                <a:gd name="connsiteY0" fmla="*/ 0 h 1190"/>
                <a:gd name="connsiteX1" fmla="*/ 0 w 45967"/>
                <a:gd name="connsiteY1" fmla="*/ 0 h 11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5967" h="1190">
                  <a:moveTo>
                    <a:pt x="45967" y="0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979" name="Gráfico 15">
            <a:extLst>
              <a:ext uri="{FF2B5EF4-FFF2-40B4-BE49-F238E27FC236}">
                <a16:creationId xmlns:a16="http://schemas.microsoft.com/office/drawing/2014/main" id="{6F85D7AA-C40E-0E9E-021F-B8E0BFABFE6E}"/>
              </a:ext>
            </a:extLst>
          </p:cNvPr>
          <p:cNvGrpSpPr/>
          <p:nvPr/>
        </p:nvGrpSpPr>
        <p:grpSpPr>
          <a:xfrm>
            <a:off x="4339524" y="4134766"/>
            <a:ext cx="361880" cy="227800"/>
            <a:chOff x="4339524" y="4134766"/>
            <a:chExt cx="361880" cy="227800"/>
          </a:xfrm>
          <a:noFill/>
        </p:grpSpPr>
        <p:grpSp>
          <p:nvGrpSpPr>
            <p:cNvPr id="1980" name="Gráfico 15">
              <a:extLst>
                <a:ext uri="{FF2B5EF4-FFF2-40B4-BE49-F238E27FC236}">
                  <a16:creationId xmlns:a16="http://schemas.microsoft.com/office/drawing/2014/main" id="{A8CFD2AE-E816-6F2C-1346-2BB1A46C0944}"/>
                </a:ext>
              </a:extLst>
            </p:cNvPr>
            <p:cNvGrpSpPr/>
            <p:nvPr/>
          </p:nvGrpSpPr>
          <p:grpSpPr>
            <a:xfrm>
              <a:off x="4373059" y="4179031"/>
              <a:ext cx="328345" cy="183536"/>
              <a:chOff x="4373059" y="4179031"/>
              <a:chExt cx="328345" cy="183536"/>
            </a:xfrm>
            <a:noFill/>
          </p:grpSpPr>
          <p:sp>
            <p:nvSpPr>
              <p:cNvPr id="1981" name="Forma livre: Forma 1980">
                <a:extLst>
                  <a:ext uri="{FF2B5EF4-FFF2-40B4-BE49-F238E27FC236}">
                    <a16:creationId xmlns:a16="http://schemas.microsoft.com/office/drawing/2014/main" id="{BEA9EBDB-4E86-AC82-1D51-E8D324F24BC5}"/>
                  </a:ext>
                </a:extLst>
              </p:cNvPr>
              <p:cNvSpPr/>
              <p:nvPr/>
            </p:nvSpPr>
            <p:spPr>
              <a:xfrm>
                <a:off x="4412464" y="4297372"/>
                <a:ext cx="195194" cy="37239"/>
              </a:xfrm>
              <a:custGeom>
                <a:avLst/>
                <a:gdLst>
                  <a:gd name="connsiteX0" fmla="*/ 0 w 195194"/>
                  <a:gd name="connsiteY0" fmla="*/ 19 h 37239"/>
                  <a:gd name="connsiteX1" fmla="*/ 125362 w 195194"/>
                  <a:gd name="connsiteY1" fmla="*/ 19 h 37239"/>
                  <a:gd name="connsiteX2" fmla="*/ 138736 w 195194"/>
                  <a:gd name="connsiteY2" fmla="*/ 37221 h 37239"/>
                  <a:gd name="connsiteX3" fmla="*/ 195195 w 195194"/>
                  <a:gd name="connsiteY3" fmla="*/ 37221 h 372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95194" h="37239">
                    <a:moveTo>
                      <a:pt x="0" y="19"/>
                    </a:moveTo>
                    <a:lnTo>
                      <a:pt x="125362" y="19"/>
                    </a:lnTo>
                    <a:cubicBezTo>
                      <a:pt x="125362" y="-982"/>
                      <a:pt x="138807" y="38210"/>
                      <a:pt x="138736" y="37221"/>
                    </a:cubicBezTo>
                    <a:lnTo>
                      <a:pt x="195195" y="37221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982" name="Forma livre: Forma 1981">
                <a:extLst>
                  <a:ext uri="{FF2B5EF4-FFF2-40B4-BE49-F238E27FC236}">
                    <a16:creationId xmlns:a16="http://schemas.microsoft.com/office/drawing/2014/main" id="{B087401A-8540-1B81-24D8-786F5B11C75D}"/>
                  </a:ext>
                </a:extLst>
              </p:cNvPr>
              <p:cNvSpPr/>
              <p:nvPr/>
            </p:nvSpPr>
            <p:spPr>
              <a:xfrm>
                <a:off x="4630166" y="4198525"/>
                <a:ext cx="40203" cy="34904"/>
              </a:xfrm>
              <a:custGeom>
                <a:avLst/>
                <a:gdLst>
                  <a:gd name="connsiteX0" fmla="*/ 40204 w 40203"/>
                  <a:gd name="connsiteY0" fmla="*/ 34904 h 34904"/>
                  <a:gd name="connsiteX1" fmla="*/ 0 w 40203"/>
                  <a:gd name="connsiteY1" fmla="*/ 34904 h 34904"/>
                  <a:gd name="connsiteX2" fmla="*/ 0 w 40203"/>
                  <a:gd name="connsiteY2" fmla="*/ 0 h 349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40203" h="34904">
                    <a:moveTo>
                      <a:pt x="40204" y="34904"/>
                    </a:moveTo>
                    <a:lnTo>
                      <a:pt x="0" y="34904"/>
                    </a:lnTo>
                    <a:lnTo>
                      <a:pt x="0" y="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983" name="Forma livre: Forma 1982">
                <a:extLst>
                  <a:ext uri="{FF2B5EF4-FFF2-40B4-BE49-F238E27FC236}">
                    <a16:creationId xmlns:a16="http://schemas.microsoft.com/office/drawing/2014/main" id="{D06D353E-F011-5589-7159-68134A593D72}"/>
                  </a:ext>
                </a:extLst>
              </p:cNvPr>
              <p:cNvSpPr/>
              <p:nvPr/>
            </p:nvSpPr>
            <p:spPr>
              <a:xfrm>
                <a:off x="4607433" y="4318874"/>
                <a:ext cx="43716" cy="43692"/>
              </a:xfrm>
              <a:custGeom>
                <a:avLst/>
                <a:gdLst>
                  <a:gd name="connsiteX0" fmla="*/ 0 w 43716"/>
                  <a:gd name="connsiteY0" fmla="*/ 21840 h 43692"/>
                  <a:gd name="connsiteX1" fmla="*/ 21864 w 43716"/>
                  <a:gd name="connsiteY1" fmla="*/ 43693 h 43692"/>
                  <a:gd name="connsiteX2" fmla="*/ 43717 w 43716"/>
                  <a:gd name="connsiteY2" fmla="*/ 21840 h 43692"/>
                  <a:gd name="connsiteX3" fmla="*/ 21864 w 43716"/>
                  <a:gd name="connsiteY3" fmla="*/ 0 h 43692"/>
                  <a:gd name="connsiteX4" fmla="*/ 0 w 43716"/>
                  <a:gd name="connsiteY4" fmla="*/ 21840 h 436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3716" h="43692">
                    <a:moveTo>
                      <a:pt x="0" y="21840"/>
                    </a:moveTo>
                    <a:cubicBezTo>
                      <a:pt x="0" y="33904"/>
                      <a:pt x="9789" y="43693"/>
                      <a:pt x="21864" y="43693"/>
                    </a:cubicBezTo>
                    <a:cubicBezTo>
                      <a:pt x="33940" y="43693"/>
                      <a:pt x="43717" y="33904"/>
                      <a:pt x="43717" y="21840"/>
                    </a:cubicBezTo>
                    <a:cubicBezTo>
                      <a:pt x="43717" y="9777"/>
                      <a:pt x="33940" y="0"/>
                      <a:pt x="21864" y="0"/>
                    </a:cubicBezTo>
                    <a:cubicBezTo>
                      <a:pt x="9789" y="0"/>
                      <a:pt x="0" y="9789"/>
                      <a:pt x="0" y="21840"/>
                    </a:cubicBezTo>
                    <a:close/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984" name="Forma livre: Forma 1983">
                <a:extLst>
                  <a:ext uri="{FF2B5EF4-FFF2-40B4-BE49-F238E27FC236}">
                    <a16:creationId xmlns:a16="http://schemas.microsoft.com/office/drawing/2014/main" id="{F1C04EDF-A0D0-9D3F-6640-A8629A567B24}"/>
                  </a:ext>
                </a:extLst>
              </p:cNvPr>
              <p:cNvSpPr/>
              <p:nvPr/>
            </p:nvSpPr>
            <p:spPr>
              <a:xfrm>
                <a:off x="4477855" y="4318874"/>
                <a:ext cx="43692" cy="43692"/>
              </a:xfrm>
              <a:custGeom>
                <a:avLst/>
                <a:gdLst>
                  <a:gd name="connsiteX0" fmla="*/ 0 w 43692"/>
                  <a:gd name="connsiteY0" fmla="*/ 21840 h 43692"/>
                  <a:gd name="connsiteX1" fmla="*/ 21840 w 43692"/>
                  <a:gd name="connsiteY1" fmla="*/ 43693 h 43692"/>
                  <a:gd name="connsiteX2" fmla="*/ 43693 w 43692"/>
                  <a:gd name="connsiteY2" fmla="*/ 21840 h 43692"/>
                  <a:gd name="connsiteX3" fmla="*/ 21840 w 43692"/>
                  <a:gd name="connsiteY3" fmla="*/ 0 h 43692"/>
                  <a:gd name="connsiteX4" fmla="*/ 0 w 43692"/>
                  <a:gd name="connsiteY4" fmla="*/ 21840 h 436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3692" h="43692">
                    <a:moveTo>
                      <a:pt x="0" y="21840"/>
                    </a:moveTo>
                    <a:cubicBezTo>
                      <a:pt x="0" y="33904"/>
                      <a:pt x="9777" y="43693"/>
                      <a:pt x="21840" y="43693"/>
                    </a:cubicBezTo>
                    <a:cubicBezTo>
                      <a:pt x="33904" y="43693"/>
                      <a:pt x="43693" y="33904"/>
                      <a:pt x="43693" y="21840"/>
                    </a:cubicBezTo>
                    <a:cubicBezTo>
                      <a:pt x="43693" y="9777"/>
                      <a:pt x="33916" y="0"/>
                      <a:pt x="21840" y="0"/>
                    </a:cubicBezTo>
                    <a:cubicBezTo>
                      <a:pt x="9765" y="0"/>
                      <a:pt x="0" y="9789"/>
                      <a:pt x="0" y="21840"/>
                    </a:cubicBezTo>
                    <a:close/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985" name="Forma livre: Forma 1984">
                <a:extLst>
                  <a:ext uri="{FF2B5EF4-FFF2-40B4-BE49-F238E27FC236}">
                    <a16:creationId xmlns:a16="http://schemas.microsoft.com/office/drawing/2014/main" id="{769633D6-2A51-0B19-8832-638726B83DC1}"/>
                  </a:ext>
                </a:extLst>
              </p:cNvPr>
              <p:cNvSpPr/>
              <p:nvPr/>
            </p:nvSpPr>
            <p:spPr>
              <a:xfrm>
                <a:off x="4399901" y="4318874"/>
                <a:ext cx="43704" cy="43692"/>
              </a:xfrm>
              <a:custGeom>
                <a:avLst/>
                <a:gdLst>
                  <a:gd name="connsiteX0" fmla="*/ 0 w 43704"/>
                  <a:gd name="connsiteY0" fmla="*/ 21840 h 43692"/>
                  <a:gd name="connsiteX1" fmla="*/ 21852 w 43704"/>
                  <a:gd name="connsiteY1" fmla="*/ 43693 h 43692"/>
                  <a:gd name="connsiteX2" fmla="*/ 43705 w 43704"/>
                  <a:gd name="connsiteY2" fmla="*/ 21840 h 43692"/>
                  <a:gd name="connsiteX3" fmla="*/ 21852 w 43704"/>
                  <a:gd name="connsiteY3" fmla="*/ 0 h 43692"/>
                  <a:gd name="connsiteX4" fmla="*/ 0 w 43704"/>
                  <a:gd name="connsiteY4" fmla="*/ 21840 h 436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3704" h="43692">
                    <a:moveTo>
                      <a:pt x="0" y="21840"/>
                    </a:moveTo>
                    <a:cubicBezTo>
                      <a:pt x="0" y="33904"/>
                      <a:pt x="9777" y="43693"/>
                      <a:pt x="21852" y="43693"/>
                    </a:cubicBezTo>
                    <a:cubicBezTo>
                      <a:pt x="33928" y="43693"/>
                      <a:pt x="43705" y="33904"/>
                      <a:pt x="43705" y="21840"/>
                    </a:cubicBezTo>
                    <a:cubicBezTo>
                      <a:pt x="43705" y="9777"/>
                      <a:pt x="33928" y="0"/>
                      <a:pt x="21852" y="0"/>
                    </a:cubicBezTo>
                    <a:cubicBezTo>
                      <a:pt x="9777" y="0"/>
                      <a:pt x="0" y="9789"/>
                      <a:pt x="0" y="21840"/>
                    </a:cubicBezTo>
                    <a:close/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986" name="Forma livre: Forma 1985">
                <a:extLst>
                  <a:ext uri="{FF2B5EF4-FFF2-40B4-BE49-F238E27FC236}">
                    <a16:creationId xmlns:a16="http://schemas.microsoft.com/office/drawing/2014/main" id="{E4501C59-E3E3-2BFE-83A0-2B73592B0C7C}"/>
                  </a:ext>
                </a:extLst>
              </p:cNvPr>
              <p:cNvSpPr/>
              <p:nvPr/>
            </p:nvSpPr>
            <p:spPr>
              <a:xfrm>
                <a:off x="4373059" y="4295557"/>
                <a:ext cx="26187" cy="41989"/>
              </a:xfrm>
              <a:custGeom>
                <a:avLst/>
                <a:gdLst>
                  <a:gd name="connsiteX0" fmla="*/ 0 w 26187"/>
                  <a:gd name="connsiteY0" fmla="*/ 0 h 41989"/>
                  <a:gd name="connsiteX1" fmla="*/ 0 w 26187"/>
                  <a:gd name="connsiteY1" fmla="*/ 41990 h 41989"/>
                  <a:gd name="connsiteX2" fmla="*/ 26187 w 26187"/>
                  <a:gd name="connsiteY2" fmla="*/ 41990 h 419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6187" h="41989">
                    <a:moveTo>
                      <a:pt x="0" y="0"/>
                    </a:moveTo>
                    <a:lnTo>
                      <a:pt x="0" y="41990"/>
                    </a:lnTo>
                    <a:lnTo>
                      <a:pt x="26187" y="41990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987" name="Forma livre: Forma 1986">
                <a:extLst>
                  <a:ext uri="{FF2B5EF4-FFF2-40B4-BE49-F238E27FC236}">
                    <a16:creationId xmlns:a16="http://schemas.microsoft.com/office/drawing/2014/main" id="{99AD0162-AB6C-8ACE-15B9-06A69071896B}"/>
                  </a:ext>
                </a:extLst>
              </p:cNvPr>
              <p:cNvSpPr/>
              <p:nvPr/>
            </p:nvSpPr>
            <p:spPr>
              <a:xfrm>
                <a:off x="4588915" y="4179031"/>
                <a:ext cx="112489" cy="159111"/>
              </a:xfrm>
              <a:custGeom>
                <a:avLst/>
                <a:gdLst>
                  <a:gd name="connsiteX0" fmla="*/ 0 w 112489"/>
                  <a:gd name="connsiteY0" fmla="*/ 118360 h 159111"/>
                  <a:gd name="connsiteX1" fmla="*/ 70987 w 112489"/>
                  <a:gd name="connsiteY1" fmla="*/ 118360 h 159111"/>
                  <a:gd name="connsiteX2" fmla="*/ 86766 w 112489"/>
                  <a:gd name="connsiteY2" fmla="*/ 158945 h 159111"/>
                  <a:gd name="connsiteX3" fmla="*/ 112489 w 112489"/>
                  <a:gd name="connsiteY3" fmla="*/ 159111 h 159111"/>
                  <a:gd name="connsiteX4" fmla="*/ 112489 w 112489"/>
                  <a:gd name="connsiteY4" fmla="*/ 71714 h 159111"/>
                  <a:gd name="connsiteX5" fmla="*/ 75930 w 112489"/>
                  <a:gd name="connsiteY5" fmla="*/ 0 h 159111"/>
                  <a:gd name="connsiteX6" fmla="*/ 8693 w 112489"/>
                  <a:gd name="connsiteY6" fmla="*/ 0 h 159111"/>
                  <a:gd name="connsiteX7" fmla="*/ 8693 w 112489"/>
                  <a:gd name="connsiteY7" fmla="*/ 88970 h 1591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12489" h="159111">
                    <a:moveTo>
                      <a:pt x="0" y="118360"/>
                    </a:moveTo>
                    <a:lnTo>
                      <a:pt x="70987" y="118360"/>
                    </a:lnTo>
                    <a:lnTo>
                      <a:pt x="86766" y="158945"/>
                    </a:lnTo>
                    <a:lnTo>
                      <a:pt x="112489" y="159111"/>
                    </a:lnTo>
                    <a:lnTo>
                      <a:pt x="112489" y="71714"/>
                    </a:lnTo>
                    <a:lnTo>
                      <a:pt x="75930" y="0"/>
                    </a:lnTo>
                    <a:lnTo>
                      <a:pt x="8693" y="0"/>
                    </a:lnTo>
                    <a:lnTo>
                      <a:pt x="8693" y="88970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988" name="Forma livre: Forma 1987">
                <a:extLst>
                  <a:ext uri="{FF2B5EF4-FFF2-40B4-BE49-F238E27FC236}">
                    <a16:creationId xmlns:a16="http://schemas.microsoft.com/office/drawing/2014/main" id="{1EDD057A-1167-EE73-FBC1-1BEE2553E23D}"/>
                  </a:ext>
                </a:extLst>
              </p:cNvPr>
              <p:cNvSpPr/>
              <p:nvPr/>
            </p:nvSpPr>
            <p:spPr>
              <a:xfrm>
                <a:off x="4444153" y="4337368"/>
                <a:ext cx="33237" cy="1190"/>
              </a:xfrm>
              <a:custGeom>
                <a:avLst/>
                <a:gdLst>
                  <a:gd name="connsiteX0" fmla="*/ 0 w 33237"/>
                  <a:gd name="connsiteY0" fmla="*/ 0 h 1190"/>
                  <a:gd name="connsiteX1" fmla="*/ 33237 w 33237"/>
                  <a:gd name="connsiteY1" fmla="*/ 0 h 11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3237" h="1190">
                    <a:moveTo>
                      <a:pt x="0" y="0"/>
                    </a:moveTo>
                    <a:lnTo>
                      <a:pt x="33237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989" name="Forma livre: Forma 1988">
              <a:extLst>
                <a:ext uri="{FF2B5EF4-FFF2-40B4-BE49-F238E27FC236}">
                  <a16:creationId xmlns:a16="http://schemas.microsoft.com/office/drawing/2014/main" id="{0CF6A8D2-4BE9-ADD9-6565-3F19D7A066A8}"/>
                </a:ext>
              </a:extLst>
            </p:cNvPr>
            <p:cNvSpPr/>
            <p:nvPr/>
          </p:nvSpPr>
          <p:spPr>
            <a:xfrm>
              <a:off x="4339524" y="4157631"/>
              <a:ext cx="233087" cy="116073"/>
            </a:xfrm>
            <a:custGeom>
              <a:avLst/>
              <a:gdLst>
                <a:gd name="connsiteX0" fmla="*/ 47968 w 233087"/>
                <a:gd name="connsiteY0" fmla="*/ 0 h 116073"/>
                <a:gd name="connsiteX1" fmla="*/ 0 w 233087"/>
                <a:gd name="connsiteY1" fmla="*/ 47968 h 116073"/>
                <a:gd name="connsiteX2" fmla="*/ 0 w 233087"/>
                <a:gd name="connsiteY2" fmla="*/ 68106 h 116073"/>
                <a:gd name="connsiteX3" fmla="*/ 47968 w 233087"/>
                <a:gd name="connsiteY3" fmla="*/ 116074 h 116073"/>
                <a:gd name="connsiteX4" fmla="*/ 185120 w 233087"/>
                <a:gd name="connsiteY4" fmla="*/ 116074 h 116073"/>
                <a:gd name="connsiteX5" fmla="*/ 233088 w 233087"/>
                <a:gd name="connsiteY5" fmla="*/ 68106 h 116073"/>
                <a:gd name="connsiteX6" fmla="*/ 233088 w 233087"/>
                <a:gd name="connsiteY6" fmla="*/ 47968 h 116073"/>
                <a:gd name="connsiteX7" fmla="*/ 185120 w 233087"/>
                <a:gd name="connsiteY7" fmla="*/ 0 h 116073"/>
                <a:gd name="connsiteX8" fmla="*/ 67593 w 233087"/>
                <a:gd name="connsiteY8" fmla="*/ 0 h 1160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33087" h="116073">
                  <a:moveTo>
                    <a:pt x="47968" y="0"/>
                  </a:moveTo>
                  <a:cubicBezTo>
                    <a:pt x="21590" y="0"/>
                    <a:pt x="0" y="21579"/>
                    <a:pt x="0" y="47968"/>
                  </a:cubicBezTo>
                  <a:lnTo>
                    <a:pt x="0" y="68106"/>
                  </a:lnTo>
                  <a:cubicBezTo>
                    <a:pt x="0" y="94495"/>
                    <a:pt x="21590" y="116074"/>
                    <a:pt x="47968" y="116074"/>
                  </a:cubicBezTo>
                  <a:lnTo>
                    <a:pt x="185120" y="116074"/>
                  </a:lnTo>
                  <a:cubicBezTo>
                    <a:pt x="211510" y="116074"/>
                    <a:pt x="233088" y="94495"/>
                    <a:pt x="233088" y="68106"/>
                  </a:cubicBezTo>
                  <a:lnTo>
                    <a:pt x="233088" y="47968"/>
                  </a:lnTo>
                  <a:cubicBezTo>
                    <a:pt x="233088" y="21579"/>
                    <a:pt x="211510" y="0"/>
                    <a:pt x="185120" y="0"/>
                  </a:cubicBezTo>
                  <a:lnTo>
                    <a:pt x="67593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90" name="Forma livre: Forma 1989">
              <a:extLst>
                <a:ext uri="{FF2B5EF4-FFF2-40B4-BE49-F238E27FC236}">
                  <a16:creationId xmlns:a16="http://schemas.microsoft.com/office/drawing/2014/main" id="{1B9B1846-C32A-90E6-26C2-2AD7F6AD0CC7}"/>
                </a:ext>
              </a:extLst>
            </p:cNvPr>
            <p:cNvSpPr/>
            <p:nvPr/>
          </p:nvSpPr>
          <p:spPr>
            <a:xfrm>
              <a:off x="4477843" y="4134766"/>
              <a:ext cx="34177" cy="1190"/>
            </a:xfrm>
            <a:custGeom>
              <a:avLst/>
              <a:gdLst>
                <a:gd name="connsiteX0" fmla="*/ 0 w 34177"/>
                <a:gd name="connsiteY0" fmla="*/ 0 h 1190"/>
                <a:gd name="connsiteX1" fmla="*/ 34178 w 34177"/>
                <a:gd name="connsiteY1" fmla="*/ 0 h 11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4177" h="1190">
                  <a:moveTo>
                    <a:pt x="0" y="0"/>
                  </a:moveTo>
                  <a:lnTo>
                    <a:pt x="34178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91" name="Forma livre: Forma 1990">
              <a:extLst>
                <a:ext uri="{FF2B5EF4-FFF2-40B4-BE49-F238E27FC236}">
                  <a16:creationId xmlns:a16="http://schemas.microsoft.com/office/drawing/2014/main" id="{80CFEE57-8243-B1F9-DA59-8E5952354F88}"/>
                </a:ext>
              </a:extLst>
            </p:cNvPr>
            <p:cNvSpPr/>
            <p:nvPr/>
          </p:nvSpPr>
          <p:spPr>
            <a:xfrm>
              <a:off x="4390064" y="4139935"/>
              <a:ext cx="1190" cy="131912"/>
            </a:xfrm>
            <a:custGeom>
              <a:avLst/>
              <a:gdLst>
                <a:gd name="connsiteX0" fmla="*/ 0 w 1190"/>
                <a:gd name="connsiteY0" fmla="*/ 0 h 131912"/>
                <a:gd name="connsiteX1" fmla="*/ 0 w 1190"/>
                <a:gd name="connsiteY1" fmla="*/ 131912 h 1319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90" h="131912">
                  <a:moveTo>
                    <a:pt x="0" y="0"/>
                  </a:moveTo>
                  <a:lnTo>
                    <a:pt x="0" y="131912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92" name="Forma livre: Forma 1991">
              <a:extLst>
                <a:ext uri="{FF2B5EF4-FFF2-40B4-BE49-F238E27FC236}">
                  <a16:creationId xmlns:a16="http://schemas.microsoft.com/office/drawing/2014/main" id="{0FBCE16C-79BF-6FF7-8FB0-31CC2574B337}"/>
                </a:ext>
              </a:extLst>
            </p:cNvPr>
            <p:cNvSpPr/>
            <p:nvPr/>
          </p:nvSpPr>
          <p:spPr>
            <a:xfrm>
              <a:off x="4428351" y="4139935"/>
              <a:ext cx="1190" cy="131912"/>
            </a:xfrm>
            <a:custGeom>
              <a:avLst/>
              <a:gdLst>
                <a:gd name="connsiteX0" fmla="*/ 0 w 1190"/>
                <a:gd name="connsiteY0" fmla="*/ 0 h 131912"/>
                <a:gd name="connsiteX1" fmla="*/ 0 w 1190"/>
                <a:gd name="connsiteY1" fmla="*/ 131912 h 1319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90" h="131912">
                  <a:moveTo>
                    <a:pt x="0" y="0"/>
                  </a:moveTo>
                  <a:lnTo>
                    <a:pt x="0" y="131912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93" name="Forma livre: Forma 1992">
              <a:extLst>
                <a:ext uri="{FF2B5EF4-FFF2-40B4-BE49-F238E27FC236}">
                  <a16:creationId xmlns:a16="http://schemas.microsoft.com/office/drawing/2014/main" id="{DB3CA906-DFD6-F141-F946-9A119E085750}"/>
                </a:ext>
              </a:extLst>
            </p:cNvPr>
            <p:cNvSpPr/>
            <p:nvPr/>
          </p:nvSpPr>
          <p:spPr>
            <a:xfrm>
              <a:off x="4407117" y="4186569"/>
              <a:ext cx="18827" cy="1190"/>
            </a:xfrm>
            <a:custGeom>
              <a:avLst/>
              <a:gdLst>
                <a:gd name="connsiteX0" fmla="*/ 0 w 18827"/>
                <a:gd name="connsiteY0" fmla="*/ 0 h 1190"/>
                <a:gd name="connsiteX1" fmla="*/ 18828 w 18827"/>
                <a:gd name="connsiteY1" fmla="*/ 0 h 11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827" h="1190">
                  <a:moveTo>
                    <a:pt x="0" y="0"/>
                  </a:moveTo>
                  <a:lnTo>
                    <a:pt x="18828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94" name="Forma livre: Forma 1993">
              <a:extLst>
                <a:ext uri="{FF2B5EF4-FFF2-40B4-BE49-F238E27FC236}">
                  <a16:creationId xmlns:a16="http://schemas.microsoft.com/office/drawing/2014/main" id="{C2F01ADE-AF9B-1FEE-ECF5-EF8A758F14AE}"/>
                </a:ext>
              </a:extLst>
            </p:cNvPr>
            <p:cNvSpPr/>
            <p:nvPr/>
          </p:nvSpPr>
          <p:spPr>
            <a:xfrm>
              <a:off x="4407117" y="4215543"/>
              <a:ext cx="18827" cy="1190"/>
            </a:xfrm>
            <a:custGeom>
              <a:avLst/>
              <a:gdLst>
                <a:gd name="connsiteX0" fmla="*/ 0 w 18827"/>
                <a:gd name="connsiteY0" fmla="*/ 0 h 1190"/>
                <a:gd name="connsiteX1" fmla="*/ 18828 w 18827"/>
                <a:gd name="connsiteY1" fmla="*/ 0 h 11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827" h="1190">
                  <a:moveTo>
                    <a:pt x="0" y="0"/>
                  </a:moveTo>
                  <a:lnTo>
                    <a:pt x="18828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95" name="Forma livre: Forma 1994">
              <a:extLst>
                <a:ext uri="{FF2B5EF4-FFF2-40B4-BE49-F238E27FC236}">
                  <a16:creationId xmlns:a16="http://schemas.microsoft.com/office/drawing/2014/main" id="{4FEC9C37-7A67-CC20-2F92-8C628019BB38}"/>
                </a:ext>
              </a:extLst>
            </p:cNvPr>
            <p:cNvSpPr/>
            <p:nvPr/>
          </p:nvSpPr>
          <p:spPr>
            <a:xfrm>
              <a:off x="4407117" y="4244529"/>
              <a:ext cx="18827" cy="1190"/>
            </a:xfrm>
            <a:custGeom>
              <a:avLst/>
              <a:gdLst>
                <a:gd name="connsiteX0" fmla="*/ 0 w 18827"/>
                <a:gd name="connsiteY0" fmla="*/ 0 h 1190"/>
                <a:gd name="connsiteX1" fmla="*/ 18828 w 18827"/>
                <a:gd name="connsiteY1" fmla="*/ 0 h 11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827" h="1190">
                  <a:moveTo>
                    <a:pt x="0" y="0"/>
                  </a:moveTo>
                  <a:lnTo>
                    <a:pt x="18828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996" name="Gráfico 15">
            <a:extLst>
              <a:ext uri="{FF2B5EF4-FFF2-40B4-BE49-F238E27FC236}">
                <a16:creationId xmlns:a16="http://schemas.microsoft.com/office/drawing/2014/main" id="{B92FFC9B-78A9-B414-4534-D05F59F9CF01}"/>
              </a:ext>
            </a:extLst>
          </p:cNvPr>
          <p:cNvGrpSpPr/>
          <p:nvPr/>
        </p:nvGrpSpPr>
        <p:grpSpPr>
          <a:xfrm>
            <a:off x="4946555" y="4152344"/>
            <a:ext cx="391865" cy="192652"/>
            <a:chOff x="4946555" y="4152344"/>
            <a:chExt cx="391865" cy="192652"/>
          </a:xfrm>
          <a:noFill/>
        </p:grpSpPr>
        <p:sp>
          <p:nvSpPr>
            <p:cNvPr id="1997" name="Forma livre: Forma 1996">
              <a:extLst>
                <a:ext uri="{FF2B5EF4-FFF2-40B4-BE49-F238E27FC236}">
                  <a16:creationId xmlns:a16="http://schemas.microsoft.com/office/drawing/2014/main" id="{326E6B09-C3D1-8C31-6375-3B4C9F082478}"/>
                </a:ext>
              </a:extLst>
            </p:cNvPr>
            <p:cNvSpPr/>
            <p:nvPr/>
          </p:nvSpPr>
          <p:spPr>
            <a:xfrm>
              <a:off x="5070572" y="4152344"/>
              <a:ext cx="1190" cy="32641"/>
            </a:xfrm>
            <a:custGeom>
              <a:avLst/>
              <a:gdLst>
                <a:gd name="connsiteX0" fmla="*/ 0 w 1190"/>
                <a:gd name="connsiteY0" fmla="*/ 32642 h 32641"/>
                <a:gd name="connsiteX1" fmla="*/ 0 w 1190"/>
                <a:gd name="connsiteY1" fmla="*/ 0 h 32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90" h="32641">
                  <a:moveTo>
                    <a:pt x="0" y="32642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98" name="Forma livre: Forma 1997">
              <a:extLst>
                <a:ext uri="{FF2B5EF4-FFF2-40B4-BE49-F238E27FC236}">
                  <a16:creationId xmlns:a16="http://schemas.microsoft.com/office/drawing/2014/main" id="{B5691535-0095-6DF1-B4CE-3F66EA83FDA9}"/>
                </a:ext>
              </a:extLst>
            </p:cNvPr>
            <p:cNvSpPr/>
            <p:nvPr/>
          </p:nvSpPr>
          <p:spPr>
            <a:xfrm>
              <a:off x="4946555" y="4330235"/>
              <a:ext cx="391865" cy="14761"/>
            </a:xfrm>
            <a:custGeom>
              <a:avLst/>
              <a:gdLst>
                <a:gd name="connsiteX0" fmla="*/ 391866 w 391865"/>
                <a:gd name="connsiteY0" fmla="*/ 0 h 14761"/>
                <a:gd name="connsiteX1" fmla="*/ 313864 w 391865"/>
                <a:gd name="connsiteY1" fmla="*/ 0 h 14761"/>
                <a:gd name="connsiteX2" fmla="*/ 313400 w 391865"/>
                <a:gd name="connsiteY2" fmla="*/ 0 h 14761"/>
                <a:gd name="connsiteX3" fmla="*/ 235398 w 391865"/>
                <a:gd name="connsiteY3" fmla="*/ 0 h 14761"/>
                <a:gd name="connsiteX4" fmla="*/ 234922 w 391865"/>
                <a:gd name="connsiteY4" fmla="*/ 0 h 14761"/>
                <a:gd name="connsiteX5" fmla="*/ 156932 w 391865"/>
                <a:gd name="connsiteY5" fmla="*/ 0 h 14761"/>
                <a:gd name="connsiteX6" fmla="*/ 156468 w 391865"/>
                <a:gd name="connsiteY6" fmla="*/ 0 h 14761"/>
                <a:gd name="connsiteX7" fmla="*/ 78466 w 391865"/>
                <a:gd name="connsiteY7" fmla="*/ 0 h 14761"/>
                <a:gd name="connsiteX8" fmla="*/ 78002 w 391865"/>
                <a:gd name="connsiteY8" fmla="*/ 0 h 14761"/>
                <a:gd name="connsiteX9" fmla="*/ 0 w 391865"/>
                <a:gd name="connsiteY9" fmla="*/ 0 h 147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91865" h="14761">
                  <a:moveTo>
                    <a:pt x="391866" y="0"/>
                  </a:moveTo>
                  <a:cubicBezTo>
                    <a:pt x="346637" y="33213"/>
                    <a:pt x="313864" y="0"/>
                    <a:pt x="313864" y="0"/>
                  </a:cubicBezTo>
                  <a:lnTo>
                    <a:pt x="313400" y="0"/>
                  </a:lnTo>
                  <a:cubicBezTo>
                    <a:pt x="268171" y="33213"/>
                    <a:pt x="235398" y="0"/>
                    <a:pt x="235398" y="0"/>
                  </a:cubicBezTo>
                  <a:lnTo>
                    <a:pt x="234922" y="0"/>
                  </a:lnTo>
                  <a:cubicBezTo>
                    <a:pt x="189693" y="33213"/>
                    <a:pt x="156932" y="0"/>
                    <a:pt x="156932" y="0"/>
                  </a:cubicBezTo>
                  <a:lnTo>
                    <a:pt x="156468" y="0"/>
                  </a:lnTo>
                  <a:cubicBezTo>
                    <a:pt x="111227" y="33213"/>
                    <a:pt x="78466" y="0"/>
                    <a:pt x="78466" y="0"/>
                  </a:cubicBezTo>
                  <a:lnTo>
                    <a:pt x="78002" y="0"/>
                  </a:lnTo>
                  <a:cubicBezTo>
                    <a:pt x="32761" y="33213"/>
                    <a:pt x="0" y="0"/>
                    <a:pt x="0" y="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99" name="Forma livre: Forma 1998">
              <a:extLst>
                <a:ext uri="{FF2B5EF4-FFF2-40B4-BE49-F238E27FC236}">
                  <a16:creationId xmlns:a16="http://schemas.microsoft.com/office/drawing/2014/main" id="{0D766357-5163-B80D-02FA-4F9F99D8A53B}"/>
                </a:ext>
              </a:extLst>
            </p:cNvPr>
            <p:cNvSpPr/>
            <p:nvPr/>
          </p:nvSpPr>
          <p:spPr>
            <a:xfrm>
              <a:off x="4982067" y="4254186"/>
              <a:ext cx="282187" cy="65080"/>
            </a:xfrm>
            <a:custGeom>
              <a:avLst/>
              <a:gdLst>
                <a:gd name="connsiteX0" fmla="*/ 282187 w 282187"/>
                <a:gd name="connsiteY0" fmla="*/ 1298 h 65080"/>
                <a:gd name="connsiteX1" fmla="*/ 252785 w 282187"/>
                <a:gd name="connsiteY1" fmla="*/ 26854 h 65080"/>
                <a:gd name="connsiteX2" fmla="*/ 103784 w 282187"/>
                <a:gd name="connsiteY2" fmla="*/ 26854 h 65080"/>
                <a:gd name="connsiteX3" fmla="*/ 80657 w 282187"/>
                <a:gd name="connsiteY3" fmla="*/ 0 h 65080"/>
                <a:gd name="connsiteX4" fmla="*/ 0 w 282187"/>
                <a:gd name="connsiteY4" fmla="*/ 0 h 65080"/>
                <a:gd name="connsiteX5" fmla="*/ 0 w 282187"/>
                <a:gd name="connsiteY5" fmla="*/ 33416 h 65080"/>
                <a:gd name="connsiteX6" fmla="*/ 11587 w 282187"/>
                <a:gd name="connsiteY6" fmla="*/ 65081 h 650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82187" h="65080">
                  <a:moveTo>
                    <a:pt x="282187" y="1298"/>
                  </a:moveTo>
                  <a:lnTo>
                    <a:pt x="252785" y="26854"/>
                  </a:lnTo>
                  <a:lnTo>
                    <a:pt x="103784" y="26854"/>
                  </a:lnTo>
                  <a:lnTo>
                    <a:pt x="80657" y="0"/>
                  </a:lnTo>
                  <a:lnTo>
                    <a:pt x="0" y="0"/>
                  </a:lnTo>
                  <a:lnTo>
                    <a:pt x="0" y="33416"/>
                  </a:lnTo>
                  <a:cubicBezTo>
                    <a:pt x="0" y="37131"/>
                    <a:pt x="0" y="53124"/>
                    <a:pt x="11587" y="65081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00" name="Forma livre: Forma 1999">
              <a:extLst>
                <a:ext uri="{FF2B5EF4-FFF2-40B4-BE49-F238E27FC236}">
                  <a16:creationId xmlns:a16="http://schemas.microsoft.com/office/drawing/2014/main" id="{DD21AEC2-CD0F-B11F-AF94-8DE7A2376A69}"/>
                </a:ext>
              </a:extLst>
            </p:cNvPr>
            <p:cNvSpPr/>
            <p:nvPr/>
          </p:nvSpPr>
          <p:spPr>
            <a:xfrm>
              <a:off x="5005706" y="4187069"/>
              <a:ext cx="85051" cy="65211"/>
            </a:xfrm>
            <a:custGeom>
              <a:avLst/>
              <a:gdLst>
                <a:gd name="connsiteX0" fmla="*/ 85052 w 85051"/>
                <a:gd name="connsiteY0" fmla="*/ 65212 h 65211"/>
                <a:gd name="connsiteX1" fmla="*/ 85052 w 85051"/>
                <a:gd name="connsiteY1" fmla="*/ 0 h 65211"/>
                <a:gd name="connsiteX2" fmla="*/ 18649 w 85051"/>
                <a:gd name="connsiteY2" fmla="*/ 0 h 65211"/>
                <a:gd name="connsiteX3" fmla="*/ 0 w 85051"/>
                <a:gd name="connsiteY3" fmla="*/ 65212 h 652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5051" h="65211">
                  <a:moveTo>
                    <a:pt x="85052" y="65212"/>
                  </a:moveTo>
                  <a:lnTo>
                    <a:pt x="85052" y="0"/>
                  </a:lnTo>
                  <a:lnTo>
                    <a:pt x="18649" y="0"/>
                  </a:lnTo>
                  <a:lnTo>
                    <a:pt x="0" y="65212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01" name="Forma livre: Forma 2000">
              <a:extLst>
                <a:ext uri="{FF2B5EF4-FFF2-40B4-BE49-F238E27FC236}">
                  <a16:creationId xmlns:a16="http://schemas.microsoft.com/office/drawing/2014/main" id="{F18694DA-8011-4B47-4320-69E3DC41066C}"/>
                </a:ext>
              </a:extLst>
            </p:cNvPr>
            <p:cNvSpPr/>
            <p:nvPr/>
          </p:nvSpPr>
          <p:spPr>
            <a:xfrm>
              <a:off x="5135915" y="4219139"/>
              <a:ext cx="152097" cy="60960"/>
            </a:xfrm>
            <a:custGeom>
              <a:avLst/>
              <a:gdLst>
                <a:gd name="connsiteX0" fmla="*/ 152097 w 152097"/>
                <a:gd name="connsiteY0" fmla="*/ 0 h 60960"/>
                <a:gd name="connsiteX1" fmla="*/ 0 w 152097"/>
                <a:gd name="connsiteY1" fmla="*/ 0 h 60960"/>
                <a:gd name="connsiteX2" fmla="*/ 0 w 152097"/>
                <a:gd name="connsiteY2" fmla="*/ 60960 h 609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52097" h="60960">
                  <a:moveTo>
                    <a:pt x="152097" y="0"/>
                  </a:moveTo>
                  <a:lnTo>
                    <a:pt x="0" y="0"/>
                  </a:lnTo>
                  <a:lnTo>
                    <a:pt x="0" y="6096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02" name="Forma livre: Forma 2001">
              <a:extLst>
                <a:ext uri="{FF2B5EF4-FFF2-40B4-BE49-F238E27FC236}">
                  <a16:creationId xmlns:a16="http://schemas.microsoft.com/office/drawing/2014/main" id="{A8200D19-F916-A426-E0B6-35115CE2DB39}"/>
                </a:ext>
              </a:extLst>
            </p:cNvPr>
            <p:cNvSpPr/>
            <p:nvPr/>
          </p:nvSpPr>
          <p:spPr>
            <a:xfrm>
              <a:off x="5186527" y="4183521"/>
              <a:ext cx="101628" cy="96864"/>
            </a:xfrm>
            <a:custGeom>
              <a:avLst/>
              <a:gdLst>
                <a:gd name="connsiteX0" fmla="*/ 101628 w 101628"/>
                <a:gd name="connsiteY0" fmla="*/ 70535 h 96864"/>
                <a:gd name="connsiteX1" fmla="*/ 101628 w 101628"/>
                <a:gd name="connsiteY1" fmla="*/ 0 h 96864"/>
                <a:gd name="connsiteX2" fmla="*/ 0 w 101628"/>
                <a:gd name="connsiteY2" fmla="*/ 0 h 96864"/>
                <a:gd name="connsiteX3" fmla="*/ 0 w 101628"/>
                <a:gd name="connsiteY3" fmla="*/ 96865 h 968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1628" h="96864">
                  <a:moveTo>
                    <a:pt x="101628" y="70535"/>
                  </a:moveTo>
                  <a:lnTo>
                    <a:pt x="101628" y="0"/>
                  </a:lnTo>
                  <a:lnTo>
                    <a:pt x="0" y="0"/>
                  </a:lnTo>
                  <a:lnTo>
                    <a:pt x="0" y="96865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03" name="Forma livre: Forma 2002">
              <a:extLst>
                <a:ext uri="{FF2B5EF4-FFF2-40B4-BE49-F238E27FC236}">
                  <a16:creationId xmlns:a16="http://schemas.microsoft.com/office/drawing/2014/main" id="{6F8DE1CB-8F05-FE59-618D-29E7F6941169}"/>
                </a:ext>
              </a:extLst>
            </p:cNvPr>
            <p:cNvSpPr/>
            <p:nvPr/>
          </p:nvSpPr>
          <p:spPr>
            <a:xfrm>
              <a:off x="5066309" y="4209874"/>
              <a:ext cx="1190" cy="18625"/>
            </a:xfrm>
            <a:custGeom>
              <a:avLst/>
              <a:gdLst>
                <a:gd name="connsiteX0" fmla="*/ 0 w 1190"/>
                <a:gd name="connsiteY0" fmla="*/ 0 h 18625"/>
                <a:gd name="connsiteX1" fmla="*/ 0 w 1190"/>
                <a:gd name="connsiteY1" fmla="*/ 18625 h 186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90" h="18625">
                  <a:moveTo>
                    <a:pt x="0" y="0"/>
                  </a:moveTo>
                  <a:lnTo>
                    <a:pt x="0" y="18625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04" name="Forma livre: Forma 2003">
              <a:extLst>
                <a:ext uri="{FF2B5EF4-FFF2-40B4-BE49-F238E27FC236}">
                  <a16:creationId xmlns:a16="http://schemas.microsoft.com/office/drawing/2014/main" id="{8EF1E2D7-7E17-D281-5563-A6BE7A247999}"/>
                </a:ext>
              </a:extLst>
            </p:cNvPr>
            <p:cNvSpPr/>
            <p:nvPr/>
          </p:nvSpPr>
          <p:spPr>
            <a:xfrm>
              <a:off x="5042170" y="4209874"/>
              <a:ext cx="1190" cy="18625"/>
            </a:xfrm>
            <a:custGeom>
              <a:avLst/>
              <a:gdLst>
                <a:gd name="connsiteX0" fmla="*/ 0 w 1190"/>
                <a:gd name="connsiteY0" fmla="*/ 0 h 18625"/>
                <a:gd name="connsiteX1" fmla="*/ 0 w 1190"/>
                <a:gd name="connsiteY1" fmla="*/ 18625 h 186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90" h="18625">
                  <a:moveTo>
                    <a:pt x="0" y="0"/>
                  </a:moveTo>
                  <a:lnTo>
                    <a:pt x="0" y="18625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05" name="Forma livre: Forma 2004">
              <a:extLst>
                <a:ext uri="{FF2B5EF4-FFF2-40B4-BE49-F238E27FC236}">
                  <a16:creationId xmlns:a16="http://schemas.microsoft.com/office/drawing/2014/main" id="{D10601E5-3981-A3A8-9B46-92CA3461326F}"/>
                </a:ext>
              </a:extLst>
            </p:cNvPr>
            <p:cNvSpPr/>
            <p:nvPr/>
          </p:nvSpPr>
          <p:spPr>
            <a:xfrm>
              <a:off x="5237341" y="4183640"/>
              <a:ext cx="1190" cy="70415"/>
            </a:xfrm>
            <a:custGeom>
              <a:avLst/>
              <a:gdLst>
                <a:gd name="connsiteX0" fmla="*/ 0 w 1190"/>
                <a:gd name="connsiteY0" fmla="*/ 0 h 70415"/>
                <a:gd name="connsiteX1" fmla="*/ 0 w 1190"/>
                <a:gd name="connsiteY1" fmla="*/ 70416 h 704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90" h="70415">
                  <a:moveTo>
                    <a:pt x="0" y="0"/>
                  </a:moveTo>
                  <a:lnTo>
                    <a:pt x="0" y="70416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06" name="Forma livre: Forma 2005">
              <a:extLst>
                <a:ext uri="{FF2B5EF4-FFF2-40B4-BE49-F238E27FC236}">
                  <a16:creationId xmlns:a16="http://schemas.microsoft.com/office/drawing/2014/main" id="{F730BB44-17A8-8F3A-33A1-404F44A89F59}"/>
                </a:ext>
              </a:extLst>
            </p:cNvPr>
            <p:cNvSpPr/>
            <p:nvPr/>
          </p:nvSpPr>
          <p:spPr>
            <a:xfrm>
              <a:off x="5136451" y="4254055"/>
              <a:ext cx="193456" cy="63746"/>
            </a:xfrm>
            <a:custGeom>
              <a:avLst/>
              <a:gdLst>
                <a:gd name="connsiteX0" fmla="*/ 151704 w 193456"/>
                <a:gd name="connsiteY0" fmla="*/ 63747 h 63746"/>
                <a:gd name="connsiteX1" fmla="*/ 193456 w 193456"/>
                <a:gd name="connsiteY1" fmla="*/ 0 h 63746"/>
                <a:gd name="connsiteX2" fmla="*/ 0 w 193456"/>
                <a:gd name="connsiteY2" fmla="*/ 0 h 637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93456" h="63746">
                  <a:moveTo>
                    <a:pt x="151704" y="63747"/>
                  </a:moveTo>
                  <a:lnTo>
                    <a:pt x="193456" y="0"/>
                  </a:lnTo>
                  <a:lnTo>
                    <a:pt x="0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2007" name="Gráfico 15">
            <a:extLst>
              <a:ext uri="{FF2B5EF4-FFF2-40B4-BE49-F238E27FC236}">
                <a16:creationId xmlns:a16="http://schemas.microsoft.com/office/drawing/2014/main" id="{335247E4-3BBD-4919-3E3B-7336B055C7EC}"/>
              </a:ext>
            </a:extLst>
          </p:cNvPr>
          <p:cNvGrpSpPr/>
          <p:nvPr/>
        </p:nvGrpSpPr>
        <p:grpSpPr>
          <a:xfrm>
            <a:off x="5633411" y="5208045"/>
            <a:ext cx="262225" cy="262276"/>
            <a:chOff x="5633411" y="5208045"/>
            <a:chExt cx="262225" cy="262276"/>
          </a:xfrm>
          <a:noFill/>
        </p:grpSpPr>
        <p:grpSp>
          <p:nvGrpSpPr>
            <p:cNvPr id="2008" name="Gráfico 15">
              <a:extLst>
                <a:ext uri="{FF2B5EF4-FFF2-40B4-BE49-F238E27FC236}">
                  <a16:creationId xmlns:a16="http://schemas.microsoft.com/office/drawing/2014/main" id="{905F5E6C-702B-B306-6095-3C2AFBB0A263}"/>
                </a:ext>
              </a:extLst>
            </p:cNvPr>
            <p:cNvGrpSpPr/>
            <p:nvPr/>
          </p:nvGrpSpPr>
          <p:grpSpPr>
            <a:xfrm>
              <a:off x="5650702" y="5385306"/>
              <a:ext cx="67724" cy="67724"/>
              <a:chOff x="5650702" y="5385306"/>
              <a:chExt cx="67724" cy="67724"/>
            </a:xfrm>
          </p:grpSpPr>
          <p:sp>
            <p:nvSpPr>
              <p:cNvPr id="2009" name="Forma livre: Forma 2008">
                <a:extLst>
                  <a:ext uri="{FF2B5EF4-FFF2-40B4-BE49-F238E27FC236}">
                    <a16:creationId xmlns:a16="http://schemas.microsoft.com/office/drawing/2014/main" id="{EA7696AC-73CB-003C-970F-6025F2CB82FD}"/>
                  </a:ext>
                </a:extLst>
              </p:cNvPr>
              <p:cNvSpPr/>
              <p:nvPr/>
            </p:nvSpPr>
            <p:spPr>
              <a:xfrm>
                <a:off x="5657645" y="5385306"/>
                <a:ext cx="20482" cy="20470"/>
              </a:xfrm>
              <a:custGeom>
                <a:avLst/>
                <a:gdLst>
                  <a:gd name="connsiteX0" fmla="*/ 20483 w 20482"/>
                  <a:gd name="connsiteY0" fmla="*/ 0 h 20470"/>
                  <a:gd name="connsiteX1" fmla="*/ 0 w 20482"/>
                  <a:gd name="connsiteY1" fmla="*/ 20471 h 204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0482" h="20470">
                    <a:moveTo>
                      <a:pt x="20483" y="0"/>
                    </a:moveTo>
                    <a:lnTo>
                      <a:pt x="0" y="20471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010" name="Forma livre: Forma 2009">
                <a:extLst>
                  <a:ext uri="{FF2B5EF4-FFF2-40B4-BE49-F238E27FC236}">
                    <a16:creationId xmlns:a16="http://schemas.microsoft.com/office/drawing/2014/main" id="{F991371D-8C4F-ABB7-7530-93562C523E69}"/>
                  </a:ext>
                </a:extLst>
              </p:cNvPr>
              <p:cNvSpPr/>
              <p:nvPr/>
            </p:nvSpPr>
            <p:spPr>
              <a:xfrm>
                <a:off x="5650702" y="5405455"/>
                <a:ext cx="47586" cy="47575"/>
              </a:xfrm>
              <a:custGeom>
                <a:avLst/>
                <a:gdLst>
                  <a:gd name="connsiteX0" fmla="*/ 47587 w 47586"/>
                  <a:gd name="connsiteY0" fmla="*/ 0 h 47575"/>
                  <a:gd name="connsiteX1" fmla="*/ 0 w 47586"/>
                  <a:gd name="connsiteY1" fmla="*/ 47575 h 475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586" h="47575">
                    <a:moveTo>
                      <a:pt x="47587" y="0"/>
                    </a:moveTo>
                    <a:lnTo>
                      <a:pt x="0" y="47575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011" name="Forma livre: Forma 2010">
                <a:extLst>
                  <a:ext uri="{FF2B5EF4-FFF2-40B4-BE49-F238E27FC236}">
                    <a16:creationId xmlns:a16="http://schemas.microsoft.com/office/drawing/2014/main" id="{CE32183A-BB00-6B88-E518-7B1295D0F827}"/>
                  </a:ext>
                </a:extLst>
              </p:cNvPr>
              <p:cNvSpPr/>
              <p:nvPr/>
            </p:nvSpPr>
            <p:spPr>
              <a:xfrm>
                <a:off x="5697003" y="5425593"/>
                <a:ext cx="21423" cy="21435"/>
              </a:xfrm>
              <a:custGeom>
                <a:avLst/>
                <a:gdLst>
                  <a:gd name="connsiteX0" fmla="*/ 21424 w 21423"/>
                  <a:gd name="connsiteY0" fmla="*/ 0 h 21435"/>
                  <a:gd name="connsiteX1" fmla="*/ 0 w 21423"/>
                  <a:gd name="connsiteY1" fmla="*/ 21436 h 214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1423" h="21435">
                    <a:moveTo>
                      <a:pt x="21424" y="0"/>
                    </a:moveTo>
                    <a:lnTo>
                      <a:pt x="0" y="21436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2012" name="Forma livre: Forma 2011">
              <a:extLst>
                <a:ext uri="{FF2B5EF4-FFF2-40B4-BE49-F238E27FC236}">
                  <a16:creationId xmlns:a16="http://schemas.microsoft.com/office/drawing/2014/main" id="{5799990C-CDF2-23BA-6686-8C5B43EAE640}"/>
                </a:ext>
              </a:extLst>
            </p:cNvPr>
            <p:cNvSpPr/>
            <p:nvPr/>
          </p:nvSpPr>
          <p:spPr>
            <a:xfrm>
              <a:off x="5782602" y="5268911"/>
              <a:ext cx="52207" cy="52207"/>
            </a:xfrm>
            <a:custGeom>
              <a:avLst/>
              <a:gdLst>
                <a:gd name="connsiteX0" fmla="*/ 26104 w 52207"/>
                <a:gd name="connsiteY0" fmla="*/ 0 h 52207"/>
                <a:gd name="connsiteX1" fmla="*/ 52208 w 52207"/>
                <a:gd name="connsiteY1" fmla="*/ 26104 h 52207"/>
                <a:gd name="connsiteX2" fmla="*/ 26104 w 52207"/>
                <a:gd name="connsiteY2" fmla="*/ 52208 h 52207"/>
                <a:gd name="connsiteX3" fmla="*/ 0 w 52207"/>
                <a:gd name="connsiteY3" fmla="*/ 26104 h 52207"/>
                <a:gd name="connsiteX4" fmla="*/ 26104 w 52207"/>
                <a:gd name="connsiteY4" fmla="*/ 0 h 522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2207" h="52207">
                  <a:moveTo>
                    <a:pt x="26104" y="0"/>
                  </a:moveTo>
                  <a:cubicBezTo>
                    <a:pt x="40513" y="0"/>
                    <a:pt x="52208" y="11682"/>
                    <a:pt x="52208" y="26104"/>
                  </a:cubicBezTo>
                  <a:cubicBezTo>
                    <a:pt x="52208" y="40525"/>
                    <a:pt x="40513" y="52208"/>
                    <a:pt x="26104" y="52208"/>
                  </a:cubicBezTo>
                  <a:cubicBezTo>
                    <a:pt x="11694" y="52208"/>
                    <a:pt x="0" y="40525"/>
                    <a:pt x="0" y="26104"/>
                  </a:cubicBezTo>
                  <a:cubicBezTo>
                    <a:pt x="0" y="11682"/>
                    <a:pt x="11682" y="0"/>
                    <a:pt x="26104" y="0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13" name="Forma livre: Forma 2012">
              <a:extLst>
                <a:ext uri="{FF2B5EF4-FFF2-40B4-BE49-F238E27FC236}">
                  <a16:creationId xmlns:a16="http://schemas.microsoft.com/office/drawing/2014/main" id="{C576896F-D449-C600-04DA-A2650A277B1E}"/>
                </a:ext>
              </a:extLst>
            </p:cNvPr>
            <p:cNvSpPr/>
            <p:nvPr/>
          </p:nvSpPr>
          <p:spPr>
            <a:xfrm>
              <a:off x="5841621" y="5235102"/>
              <a:ext cx="41846" cy="41846"/>
            </a:xfrm>
            <a:custGeom>
              <a:avLst/>
              <a:gdLst>
                <a:gd name="connsiteX0" fmla="*/ 0 w 41846"/>
                <a:gd name="connsiteY0" fmla="*/ 0 h 41846"/>
                <a:gd name="connsiteX1" fmla="*/ 41847 w 41846"/>
                <a:gd name="connsiteY1" fmla="*/ 41847 h 41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1846" h="41846">
                  <a:moveTo>
                    <a:pt x="0" y="0"/>
                  </a:moveTo>
                  <a:lnTo>
                    <a:pt x="41847" y="41847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14" name="Forma livre: Forma 2013">
              <a:extLst>
                <a:ext uri="{FF2B5EF4-FFF2-40B4-BE49-F238E27FC236}">
                  <a16:creationId xmlns:a16="http://schemas.microsoft.com/office/drawing/2014/main" id="{A895B987-3839-6E9E-EA53-A1910DABC736}"/>
                </a:ext>
              </a:extLst>
            </p:cNvPr>
            <p:cNvSpPr/>
            <p:nvPr/>
          </p:nvSpPr>
          <p:spPr>
            <a:xfrm>
              <a:off x="5693168" y="5208045"/>
              <a:ext cx="202468" cy="202507"/>
            </a:xfrm>
            <a:custGeom>
              <a:avLst/>
              <a:gdLst>
                <a:gd name="connsiteX0" fmla="*/ 200506 w 202468"/>
                <a:gd name="connsiteY0" fmla="*/ 1930 h 202507"/>
                <a:gd name="connsiteX1" fmla="*/ 0 w 202468"/>
                <a:gd name="connsiteY1" fmla="*/ 158445 h 202507"/>
                <a:gd name="connsiteX2" fmla="*/ 44062 w 202468"/>
                <a:gd name="connsiteY2" fmla="*/ 202507 h 202507"/>
                <a:gd name="connsiteX3" fmla="*/ 200506 w 202468"/>
                <a:gd name="connsiteY3" fmla="*/ 1930 h 2025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2468" h="202507">
                  <a:moveTo>
                    <a:pt x="200506" y="1930"/>
                  </a:moveTo>
                  <a:cubicBezTo>
                    <a:pt x="185763" y="-1750"/>
                    <a:pt x="93471" y="-16493"/>
                    <a:pt x="0" y="158445"/>
                  </a:cubicBezTo>
                  <a:lnTo>
                    <a:pt x="44062" y="202507"/>
                  </a:lnTo>
                  <a:cubicBezTo>
                    <a:pt x="219536" y="108738"/>
                    <a:pt x="204114" y="16232"/>
                    <a:pt x="200506" y="1930"/>
                  </a:cubicBez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2015" name="Gráfico 15">
              <a:extLst>
                <a:ext uri="{FF2B5EF4-FFF2-40B4-BE49-F238E27FC236}">
                  <a16:creationId xmlns:a16="http://schemas.microsoft.com/office/drawing/2014/main" id="{8B20819F-B83D-8427-3C5B-549493F280FD}"/>
                </a:ext>
              </a:extLst>
            </p:cNvPr>
            <p:cNvGrpSpPr/>
            <p:nvPr/>
          </p:nvGrpSpPr>
          <p:grpSpPr>
            <a:xfrm>
              <a:off x="5633411" y="5287107"/>
              <a:ext cx="183202" cy="183214"/>
              <a:chOff x="5633411" y="5287107"/>
              <a:chExt cx="183202" cy="183214"/>
            </a:xfrm>
            <a:noFill/>
          </p:grpSpPr>
          <p:sp>
            <p:nvSpPr>
              <p:cNvPr id="2016" name="Forma livre: Forma 2015">
                <a:extLst>
                  <a:ext uri="{FF2B5EF4-FFF2-40B4-BE49-F238E27FC236}">
                    <a16:creationId xmlns:a16="http://schemas.microsoft.com/office/drawing/2014/main" id="{9F0E21ED-ACD7-6F89-41EA-B0B8A35EF52F}"/>
                  </a:ext>
                </a:extLst>
              </p:cNvPr>
              <p:cNvSpPr/>
              <p:nvPr/>
            </p:nvSpPr>
            <p:spPr>
              <a:xfrm>
                <a:off x="5633411" y="5287107"/>
                <a:ext cx="82491" cy="56708"/>
              </a:xfrm>
              <a:custGeom>
                <a:avLst/>
                <a:gdLst>
                  <a:gd name="connsiteX0" fmla="*/ 82491 w 82491"/>
                  <a:gd name="connsiteY0" fmla="*/ 0 h 56708"/>
                  <a:gd name="connsiteX1" fmla="*/ 0 w 82491"/>
                  <a:gd name="connsiteY1" fmla="*/ 56709 h 56708"/>
                  <a:gd name="connsiteX2" fmla="*/ 47337 w 82491"/>
                  <a:gd name="connsiteY2" fmla="*/ 54411 h 567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2491" h="56708">
                    <a:moveTo>
                      <a:pt x="82491" y="0"/>
                    </a:moveTo>
                    <a:cubicBezTo>
                      <a:pt x="61806" y="2477"/>
                      <a:pt x="29200" y="13266"/>
                      <a:pt x="0" y="56709"/>
                    </a:cubicBezTo>
                    <a:cubicBezTo>
                      <a:pt x="0" y="56709"/>
                      <a:pt x="17220" y="48825"/>
                      <a:pt x="47337" y="54411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017" name="Forma livre: Forma 2016">
                <a:extLst>
                  <a:ext uri="{FF2B5EF4-FFF2-40B4-BE49-F238E27FC236}">
                    <a16:creationId xmlns:a16="http://schemas.microsoft.com/office/drawing/2014/main" id="{2F658D46-E211-F921-167C-15354E8757FD}"/>
                  </a:ext>
                </a:extLst>
              </p:cNvPr>
              <p:cNvSpPr/>
              <p:nvPr/>
            </p:nvSpPr>
            <p:spPr>
              <a:xfrm>
                <a:off x="5759916" y="5387830"/>
                <a:ext cx="56697" cy="82491"/>
              </a:xfrm>
              <a:custGeom>
                <a:avLst/>
                <a:gdLst>
                  <a:gd name="connsiteX0" fmla="*/ 56697 w 56697"/>
                  <a:gd name="connsiteY0" fmla="*/ 0 h 82491"/>
                  <a:gd name="connsiteX1" fmla="*/ 0 w 56697"/>
                  <a:gd name="connsiteY1" fmla="*/ 82491 h 82491"/>
                  <a:gd name="connsiteX2" fmla="*/ 2310 w 56697"/>
                  <a:gd name="connsiteY2" fmla="*/ 35142 h 824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56697" h="82491">
                    <a:moveTo>
                      <a:pt x="56697" y="0"/>
                    </a:moveTo>
                    <a:cubicBezTo>
                      <a:pt x="54220" y="20685"/>
                      <a:pt x="43419" y="53291"/>
                      <a:pt x="0" y="82491"/>
                    </a:cubicBezTo>
                    <a:cubicBezTo>
                      <a:pt x="0" y="82491"/>
                      <a:pt x="7884" y="65271"/>
                      <a:pt x="2310" y="35142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2018" name="Gráfico 15">
            <a:extLst>
              <a:ext uri="{FF2B5EF4-FFF2-40B4-BE49-F238E27FC236}">
                <a16:creationId xmlns:a16="http://schemas.microsoft.com/office/drawing/2014/main" id="{C39ADEE8-A8E3-8260-C119-C565F0A9391C}"/>
              </a:ext>
            </a:extLst>
          </p:cNvPr>
          <p:cNvGrpSpPr/>
          <p:nvPr/>
        </p:nvGrpSpPr>
        <p:grpSpPr>
          <a:xfrm>
            <a:off x="4398686" y="5187253"/>
            <a:ext cx="243543" cy="303873"/>
            <a:chOff x="4398686" y="5187253"/>
            <a:chExt cx="243543" cy="303873"/>
          </a:xfrm>
          <a:noFill/>
        </p:grpSpPr>
        <p:sp>
          <p:nvSpPr>
            <p:cNvPr id="2019" name="Forma livre: Forma 2018">
              <a:extLst>
                <a:ext uri="{FF2B5EF4-FFF2-40B4-BE49-F238E27FC236}">
                  <a16:creationId xmlns:a16="http://schemas.microsoft.com/office/drawing/2014/main" id="{41FA38EC-5EF9-206F-1FC9-37F9BFF1B524}"/>
                </a:ext>
              </a:extLst>
            </p:cNvPr>
            <p:cNvSpPr/>
            <p:nvPr/>
          </p:nvSpPr>
          <p:spPr>
            <a:xfrm>
              <a:off x="4427481" y="5187253"/>
              <a:ext cx="185965" cy="56959"/>
            </a:xfrm>
            <a:custGeom>
              <a:avLst/>
              <a:gdLst>
                <a:gd name="connsiteX0" fmla="*/ 0 w 185965"/>
                <a:gd name="connsiteY0" fmla="*/ 56959 h 56959"/>
                <a:gd name="connsiteX1" fmla="*/ 0 w 185965"/>
                <a:gd name="connsiteY1" fmla="*/ 0 h 56959"/>
                <a:gd name="connsiteX2" fmla="*/ 185965 w 185965"/>
                <a:gd name="connsiteY2" fmla="*/ 0 h 56959"/>
                <a:gd name="connsiteX3" fmla="*/ 185965 w 185965"/>
                <a:gd name="connsiteY3" fmla="*/ 56959 h 569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5965" h="56959">
                  <a:moveTo>
                    <a:pt x="0" y="56959"/>
                  </a:moveTo>
                  <a:lnTo>
                    <a:pt x="0" y="0"/>
                  </a:lnTo>
                  <a:lnTo>
                    <a:pt x="185965" y="0"/>
                  </a:lnTo>
                  <a:lnTo>
                    <a:pt x="185965" y="56959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20" name="Forma livre: Forma 2019">
              <a:extLst>
                <a:ext uri="{FF2B5EF4-FFF2-40B4-BE49-F238E27FC236}">
                  <a16:creationId xmlns:a16="http://schemas.microsoft.com/office/drawing/2014/main" id="{BE84BC10-9595-04CE-9670-5B48F8E85E95}"/>
                </a:ext>
              </a:extLst>
            </p:cNvPr>
            <p:cNvSpPr/>
            <p:nvPr/>
          </p:nvSpPr>
          <p:spPr>
            <a:xfrm>
              <a:off x="4427017" y="5266577"/>
              <a:ext cx="186870" cy="145380"/>
            </a:xfrm>
            <a:custGeom>
              <a:avLst/>
              <a:gdLst>
                <a:gd name="connsiteX0" fmla="*/ 0 w 186870"/>
                <a:gd name="connsiteY0" fmla="*/ 145381 h 145380"/>
                <a:gd name="connsiteX1" fmla="*/ 0 w 186870"/>
                <a:gd name="connsiteY1" fmla="*/ 9789 h 145380"/>
                <a:gd name="connsiteX2" fmla="*/ 9789 w 186870"/>
                <a:gd name="connsiteY2" fmla="*/ 0 h 145380"/>
                <a:gd name="connsiteX3" fmla="*/ 177094 w 186870"/>
                <a:gd name="connsiteY3" fmla="*/ 0 h 145380"/>
                <a:gd name="connsiteX4" fmla="*/ 186871 w 186870"/>
                <a:gd name="connsiteY4" fmla="*/ 9789 h 145380"/>
                <a:gd name="connsiteX5" fmla="*/ 186871 w 186870"/>
                <a:gd name="connsiteY5" fmla="*/ 142844 h 1453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6870" h="145380">
                  <a:moveTo>
                    <a:pt x="0" y="145381"/>
                  </a:moveTo>
                  <a:lnTo>
                    <a:pt x="0" y="9789"/>
                  </a:lnTo>
                  <a:cubicBezTo>
                    <a:pt x="0" y="4394"/>
                    <a:pt x="4406" y="0"/>
                    <a:pt x="9789" y="0"/>
                  </a:cubicBezTo>
                  <a:lnTo>
                    <a:pt x="177094" y="0"/>
                  </a:lnTo>
                  <a:cubicBezTo>
                    <a:pt x="182476" y="0"/>
                    <a:pt x="186871" y="4394"/>
                    <a:pt x="186871" y="9789"/>
                  </a:cubicBezTo>
                  <a:lnTo>
                    <a:pt x="186871" y="142844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21" name="Forma livre: Forma 2020">
              <a:extLst>
                <a:ext uri="{FF2B5EF4-FFF2-40B4-BE49-F238E27FC236}">
                  <a16:creationId xmlns:a16="http://schemas.microsoft.com/office/drawing/2014/main" id="{3D9E8D8B-32D4-5D22-7C06-529C728491FA}"/>
                </a:ext>
              </a:extLst>
            </p:cNvPr>
            <p:cNvSpPr/>
            <p:nvPr/>
          </p:nvSpPr>
          <p:spPr>
            <a:xfrm>
              <a:off x="4446916" y="5296574"/>
              <a:ext cx="166018" cy="1190"/>
            </a:xfrm>
            <a:custGeom>
              <a:avLst/>
              <a:gdLst>
                <a:gd name="connsiteX0" fmla="*/ 0 w 166018"/>
                <a:gd name="connsiteY0" fmla="*/ 0 h 1190"/>
                <a:gd name="connsiteX1" fmla="*/ 166018 w 166018"/>
                <a:gd name="connsiteY1" fmla="*/ 0 h 11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66018" h="1190">
                  <a:moveTo>
                    <a:pt x="0" y="0"/>
                  </a:moveTo>
                  <a:lnTo>
                    <a:pt x="166018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22" name="Forma livre: Forma 2021">
              <a:extLst>
                <a:ext uri="{FF2B5EF4-FFF2-40B4-BE49-F238E27FC236}">
                  <a16:creationId xmlns:a16="http://schemas.microsoft.com/office/drawing/2014/main" id="{E261B4E7-BA89-D028-7D75-5CB84E9E301C}"/>
                </a:ext>
              </a:extLst>
            </p:cNvPr>
            <p:cNvSpPr/>
            <p:nvPr/>
          </p:nvSpPr>
          <p:spPr>
            <a:xfrm>
              <a:off x="4446916" y="5365371"/>
              <a:ext cx="166018" cy="1190"/>
            </a:xfrm>
            <a:custGeom>
              <a:avLst/>
              <a:gdLst>
                <a:gd name="connsiteX0" fmla="*/ 0 w 166018"/>
                <a:gd name="connsiteY0" fmla="*/ 0 h 1190"/>
                <a:gd name="connsiteX1" fmla="*/ 166018 w 166018"/>
                <a:gd name="connsiteY1" fmla="*/ 0 h 11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66018" h="1190">
                  <a:moveTo>
                    <a:pt x="0" y="0"/>
                  </a:moveTo>
                  <a:lnTo>
                    <a:pt x="166018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2023" name="Gráfico 15">
              <a:extLst>
                <a:ext uri="{FF2B5EF4-FFF2-40B4-BE49-F238E27FC236}">
                  <a16:creationId xmlns:a16="http://schemas.microsoft.com/office/drawing/2014/main" id="{83A31664-087F-A940-11D3-CF8FAD9EE30D}"/>
                </a:ext>
              </a:extLst>
            </p:cNvPr>
            <p:cNvGrpSpPr/>
            <p:nvPr/>
          </p:nvGrpSpPr>
          <p:grpSpPr>
            <a:xfrm>
              <a:off x="4398686" y="5318713"/>
              <a:ext cx="243543" cy="46836"/>
              <a:chOff x="4398686" y="5318713"/>
              <a:chExt cx="243543" cy="46836"/>
            </a:xfrm>
            <a:noFill/>
          </p:grpSpPr>
          <p:sp>
            <p:nvSpPr>
              <p:cNvPr id="2024" name="Forma livre: Forma 2023">
                <a:extLst>
                  <a:ext uri="{FF2B5EF4-FFF2-40B4-BE49-F238E27FC236}">
                    <a16:creationId xmlns:a16="http://schemas.microsoft.com/office/drawing/2014/main" id="{977F28B5-4146-B6A9-EE87-4F24C4234093}"/>
                  </a:ext>
                </a:extLst>
              </p:cNvPr>
              <p:cNvSpPr/>
              <p:nvPr/>
            </p:nvSpPr>
            <p:spPr>
              <a:xfrm>
                <a:off x="4614911" y="5318713"/>
                <a:ext cx="27318" cy="46836"/>
              </a:xfrm>
              <a:custGeom>
                <a:avLst/>
                <a:gdLst>
                  <a:gd name="connsiteX0" fmla="*/ 0 w 27318"/>
                  <a:gd name="connsiteY0" fmla="*/ 0 h 46836"/>
                  <a:gd name="connsiteX1" fmla="*/ 27318 w 27318"/>
                  <a:gd name="connsiteY1" fmla="*/ 0 h 46836"/>
                  <a:gd name="connsiteX2" fmla="*/ 27318 w 27318"/>
                  <a:gd name="connsiteY2" fmla="*/ 46837 h 46836"/>
                  <a:gd name="connsiteX3" fmla="*/ 0 w 27318"/>
                  <a:gd name="connsiteY3" fmla="*/ 46837 h 468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7318" h="46836">
                    <a:moveTo>
                      <a:pt x="0" y="0"/>
                    </a:moveTo>
                    <a:lnTo>
                      <a:pt x="27318" y="0"/>
                    </a:lnTo>
                    <a:lnTo>
                      <a:pt x="27318" y="46837"/>
                    </a:lnTo>
                    <a:lnTo>
                      <a:pt x="0" y="46837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025" name="Forma livre: Forma 2024">
                <a:extLst>
                  <a:ext uri="{FF2B5EF4-FFF2-40B4-BE49-F238E27FC236}">
                    <a16:creationId xmlns:a16="http://schemas.microsoft.com/office/drawing/2014/main" id="{9C75A2DC-217E-3728-7996-FD58A60BA2BD}"/>
                  </a:ext>
                </a:extLst>
              </p:cNvPr>
              <p:cNvSpPr/>
              <p:nvPr/>
            </p:nvSpPr>
            <p:spPr>
              <a:xfrm>
                <a:off x="4398686" y="5318713"/>
                <a:ext cx="27318" cy="46836"/>
              </a:xfrm>
              <a:custGeom>
                <a:avLst/>
                <a:gdLst>
                  <a:gd name="connsiteX0" fmla="*/ 27318 w 27318"/>
                  <a:gd name="connsiteY0" fmla="*/ 0 h 46836"/>
                  <a:gd name="connsiteX1" fmla="*/ 0 w 27318"/>
                  <a:gd name="connsiteY1" fmla="*/ 0 h 46836"/>
                  <a:gd name="connsiteX2" fmla="*/ 0 w 27318"/>
                  <a:gd name="connsiteY2" fmla="*/ 46837 h 46836"/>
                  <a:gd name="connsiteX3" fmla="*/ 27318 w 27318"/>
                  <a:gd name="connsiteY3" fmla="*/ 46837 h 468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7318" h="46836">
                    <a:moveTo>
                      <a:pt x="27318" y="0"/>
                    </a:moveTo>
                    <a:lnTo>
                      <a:pt x="0" y="0"/>
                    </a:lnTo>
                    <a:lnTo>
                      <a:pt x="0" y="46837"/>
                    </a:lnTo>
                    <a:lnTo>
                      <a:pt x="27318" y="46837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2026" name="Gráfico 15">
              <a:extLst>
                <a:ext uri="{FF2B5EF4-FFF2-40B4-BE49-F238E27FC236}">
                  <a16:creationId xmlns:a16="http://schemas.microsoft.com/office/drawing/2014/main" id="{0794B1B2-B8CB-C0E1-3CC8-3D83ADF1E40A}"/>
                </a:ext>
              </a:extLst>
            </p:cNvPr>
            <p:cNvGrpSpPr/>
            <p:nvPr/>
          </p:nvGrpSpPr>
          <p:grpSpPr>
            <a:xfrm>
              <a:off x="4470090" y="5389617"/>
              <a:ext cx="100747" cy="21757"/>
              <a:chOff x="4470090" y="5389617"/>
              <a:chExt cx="100747" cy="21757"/>
            </a:xfrm>
          </p:grpSpPr>
          <p:sp>
            <p:nvSpPr>
              <p:cNvPr id="2027" name="Forma livre: Forma 2026">
                <a:extLst>
                  <a:ext uri="{FF2B5EF4-FFF2-40B4-BE49-F238E27FC236}">
                    <a16:creationId xmlns:a16="http://schemas.microsoft.com/office/drawing/2014/main" id="{D0FDACBD-1853-1999-F206-A2E509267A73}"/>
                  </a:ext>
                </a:extLst>
              </p:cNvPr>
              <p:cNvSpPr/>
              <p:nvPr/>
            </p:nvSpPr>
            <p:spPr>
              <a:xfrm>
                <a:off x="4470090" y="5411374"/>
                <a:ext cx="100747" cy="1190"/>
              </a:xfrm>
              <a:custGeom>
                <a:avLst/>
                <a:gdLst>
                  <a:gd name="connsiteX0" fmla="*/ 0 w 100747"/>
                  <a:gd name="connsiteY0" fmla="*/ 0 h 1190"/>
                  <a:gd name="connsiteX1" fmla="*/ 100747 w 100747"/>
                  <a:gd name="connsiteY1" fmla="*/ 0 h 11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00747" h="1190">
                    <a:moveTo>
                      <a:pt x="0" y="0"/>
                    </a:moveTo>
                    <a:lnTo>
                      <a:pt x="100747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028" name="Forma livre: Forma 2027">
                <a:extLst>
                  <a:ext uri="{FF2B5EF4-FFF2-40B4-BE49-F238E27FC236}">
                    <a16:creationId xmlns:a16="http://schemas.microsoft.com/office/drawing/2014/main" id="{E9BD410D-A387-68AB-E7A4-CB124AFD48D5}"/>
                  </a:ext>
                </a:extLst>
              </p:cNvPr>
              <p:cNvSpPr/>
              <p:nvPr/>
            </p:nvSpPr>
            <p:spPr>
              <a:xfrm>
                <a:off x="4470090" y="5389617"/>
                <a:ext cx="100747" cy="1190"/>
              </a:xfrm>
              <a:custGeom>
                <a:avLst/>
                <a:gdLst>
                  <a:gd name="connsiteX0" fmla="*/ 0 w 100747"/>
                  <a:gd name="connsiteY0" fmla="*/ 0 h 1190"/>
                  <a:gd name="connsiteX1" fmla="*/ 100747 w 100747"/>
                  <a:gd name="connsiteY1" fmla="*/ 0 h 11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00747" h="1190">
                    <a:moveTo>
                      <a:pt x="0" y="0"/>
                    </a:moveTo>
                    <a:lnTo>
                      <a:pt x="100747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2029" name="Gráfico 15">
              <a:extLst>
                <a:ext uri="{FF2B5EF4-FFF2-40B4-BE49-F238E27FC236}">
                  <a16:creationId xmlns:a16="http://schemas.microsoft.com/office/drawing/2014/main" id="{4EBFF96E-5695-7200-C8A5-C17DE05CC530}"/>
                </a:ext>
              </a:extLst>
            </p:cNvPr>
            <p:cNvGrpSpPr/>
            <p:nvPr/>
          </p:nvGrpSpPr>
          <p:grpSpPr>
            <a:xfrm>
              <a:off x="4427005" y="5433631"/>
              <a:ext cx="188347" cy="57494"/>
              <a:chOff x="4427005" y="5433631"/>
              <a:chExt cx="188347" cy="57494"/>
            </a:xfrm>
            <a:noFill/>
          </p:grpSpPr>
          <p:sp>
            <p:nvSpPr>
              <p:cNvPr id="2030" name="Forma livre: Forma 2029">
                <a:extLst>
                  <a:ext uri="{FF2B5EF4-FFF2-40B4-BE49-F238E27FC236}">
                    <a16:creationId xmlns:a16="http://schemas.microsoft.com/office/drawing/2014/main" id="{96CA3AA0-99A7-C04A-4438-88C787A4FB42}"/>
                  </a:ext>
                </a:extLst>
              </p:cNvPr>
              <p:cNvSpPr/>
              <p:nvPr/>
            </p:nvSpPr>
            <p:spPr>
              <a:xfrm>
                <a:off x="4427005" y="5433631"/>
                <a:ext cx="188347" cy="57494"/>
              </a:xfrm>
              <a:custGeom>
                <a:avLst/>
                <a:gdLst>
                  <a:gd name="connsiteX0" fmla="*/ 134449 w 188347"/>
                  <a:gd name="connsiteY0" fmla="*/ 52791 h 57494"/>
                  <a:gd name="connsiteX1" fmla="*/ 139153 w 188347"/>
                  <a:gd name="connsiteY1" fmla="*/ 57495 h 57494"/>
                  <a:gd name="connsiteX2" fmla="*/ 176427 w 188347"/>
                  <a:gd name="connsiteY2" fmla="*/ 57495 h 57494"/>
                  <a:gd name="connsiteX3" fmla="*/ 181131 w 188347"/>
                  <a:gd name="connsiteY3" fmla="*/ 52791 h 57494"/>
                  <a:gd name="connsiteX4" fmla="*/ 181131 w 188347"/>
                  <a:gd name="connsiteY4" fmla="*/ 30117 h 57494"/>
                  <a:gd name="connsiteX5" fmla="*/ 188347 w 188347"/>
                  <a:gd name="connsiteY5" fmla="*/ 19423 h 57494"/>
                  <a:gd name="connsiteX6" fmla="*/ 188347 w 188347"/>
                  <a:gd name="connsiteY6" fmla="*/ 0 h 57494"/>
                  <a:gd name="connsiteX7" fmla="*/ 0 w 188347"/>
                  <a:gd name="connsiteY7" fmla="*/ 0 h 57494"/>
                  <a:gd name="connsiteX8" fmla="*/ 0 w 188347"/>
                  <a:gd name="connsiteY8" fmla="*/ 19435 h 57494"/>
                  <a:gd name="connsiteX9" fmla="*/ 7526 w 188347"/>
                  <a:gd name="connsiteY9" fmla="*/ 30129 h 57494"/>
                  <a:gd name="connsiteX10" fmla="*/ 181071 w 188347"/>
                  <a:gd name="connsiteY10" fmla="*/ 30129 h 574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188347" h="57494">
                    <a:moveTo>
                      <a:pt x="134449" y="52791"/>
                    </a:moveTo>
                    <a:cubicBezTo>
                      <a:pt x="134449" y="55387"/>
                      <a:pt x="136556" y="57495"/>
                      <a:pt x="139153" y="57495"/>
                    </a:cubicBezTo>
                    <a:lnTo>
                      <a:pt x="176427" y="57495"/>
                    </a:lnTo>
                    <a:cubicBezTo>
                      <a:pt x="179023" y="57495"/>
                      <a:pt x="181131" y="55387"/>
                      <a:pt x="181131" y="52791"/>
                    </a:cubicBezTo>
                    <a:lnTo>
                      <a:pt x="181131" y="30117"/>
                    </a:lnTo>
                    <a:cubicBezTo>
                      <a:pt x="185394" y="28438"/>
                      <a:pt x="188347" y="24270"/>
                      <a:pt x="188347" y="19423"/>
                    </a:cubicBezTo>
                    <a:lnTo>
                      <a:pt x="188347" y="0"/>
                    </a:lnTo>
                    <a:lnTo>
                      <a:pt x="0" y="0"/>
                    </a:lnTo>
                    <a:lnTo>
                      <a:pt x="0" y="19435"/>
                    </a:lnTo>
                    <a:cubicBezTo>
                      <a:pt x="0" y="24270"/>
                      <a:pt x="3263" y="28450"/>
                      <a:pt x="7526" y="30129"/>
                    </a:cubicBezTo>
                    <a:lnTo>
                      <a:pt x="181071" y="30129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031" name="Forma livre: Forma 2030">
                <a:extLst>
                  <a:ext uri="{FF2B5EF4-FFF2-40B4-BE49-F238E27FC236}">
                    <a16:creationId xmlns:a16="http://schemas.microsoft.com/office/drawing/2014/main" id="{E6321FE0-0AA9-CDD6-E80C-36A44A829AEE}"/>
                  </a:ext>
                </a:extLst>
              </p:cNvPr>
              <p:cNvSpPr/>
              <p:nvPr/>
            </p:nvSpPr>
            <p:spPr>
              <a:xfrm>
                <a:off x="4434543" y="5464760"/>
                <a:ext cx="46681" cy="26365"/>
              </a:xfrm>
              <a:custGeom>
                <a:avLst/>
                <a:gdLst>
                  <a:gd name="connsiteX0" fmla="*/ 46682 w 46681"/>
                  <a:gd name="connsiteY0" fmla="*/ 0 h 26365"/>
                  <a:gd name="connsiteX1" fmla="*/ 46682 w 46681"/>
                  <a:gd name="connsiteY1" fmla="*/ 21662 h 26365"/>
                  <a:gd name="connsiteX2" fmla="*/ 41978 w 46681"/>
                  <a:gd name="connsiteY2" fmla="*/ 26366 h 26365"/>
                  <a:gd name="connsiteX3" fmla="*/ 4704 w 46681"/>
                  <a:gd name="connsiteY3" fmla="*/ 26366 h 26365"/>
                  <a:gd name="connsiteX4" fmla="*/ 0 w 46681"/>
                  <a:gd name="connsiteY4" fmla="*/ 21662 h 263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6681" h="26365">
                    <a:moveTo>
                      <a:pt x="46682" y="0"/>
                    </a:moveTo>
                    <a:lnTo>
                      <a:pt x="46682" y="21662"/>
                    </a:lnTo>
                    <a:cubicBezTo>
                      <a:pt x="46682" y="24258"/>
                      <a:pt x="44574" y="26366"/>
                      <a:pt x="41978" y="26366"/>
                    </a:cubicBezTo>
                    <a:lnTo>
                      <a:pt x="4704" y="26366"/>
                    </a:lnTo>
                    <a:cubicBezTo>
                      <a:pt x="2120" y="26366"/>
                      <a:pt x="0" y="24258"/>
                      <a:pt x="0" y="21662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2032" name="Gráfico 15">
            <a:extLst>
              <a:ext uri="{FF2B5EF4-FFF2-40B4-BE49-F238E27FC236}">
                <a16:creationId xmlns:a16="http://schemas.microsoft.com/office/drawing/2014/main" id="{444745E7-81CE-4391-0945-41FDABFDEBCC}"/>
              </a:ext>
            </a:extLst>
          </p:cNvPr>
          <p:cNvGrpSpPr/>
          <p:nvPr/>
        </p:nvGrpSpPr>
        <p:grpSpPr>
          <a:xfrm>
            <a:off x="4975827" y="5204890"/>
            <a:ext cx="333311" cy="268599"/>
            <a:chOff x="4975827" y="5204890"/>
            <a:chExt cx="333311" cy="268599"/>
          </a:xfrm>
        </p:grpSpPr>
        <p:sp>
          <p:nvSpPr>
            <p:cNvPr id="2033" name="Forma livre: Forma 2032">
              <a:extLst>
                <a:ext uri="{FF2B5EF4-FFF2-40B4-BE49-F238E27FC236}">
                  <a16:creationId xmlns:a16="http://schemas.microsoft.com/office/drawing/2014/main" id="{FB9353DE-E8DA-0C0E-2850-163B049CBE5D}"/>
                </a:ext>
              </a:extLst>
            </p:cNvPr>
            <p:cNvSpPr/>
            <p:nvPr/>
          </p:nvSpPr>
          <p:spPr>
            <a:xfrm>
              <a:off x="4975827" y="5302195"/>
              <a:ext cx="333311" cy="120217"/>
            </a:xfrm>
            <a:custGeom>
              <a:avLst/>
              <a:gdLst>
                <a:gd name="connsiteX0" fmla="*/ 294918 w 333311"/>
                <a:gd name="connsiteY0" fmla="*/ 0 h 120217"/>
                <a:gd name="connsiteX1" fmla="*/ 333311 w 333311"/>
                <a:gd name="connsiteY1" fmla="*/ 46849 h 120217"/>
                <a:gd name="connsiteX2" fmla="*/ 166626 w 333311"/>
                <a:gd name="connsiteY2" fmla="*/ 120218 h 120217"/>
                <a:gd name="connsiteX3" fmla="*/ 0 w 333311"/>
                <a:gd name="connsiteY3" fmla="*/ 46849 h 120217"/>
                <a:gd name="connsiteX4" fmla="*/ 38191 w 333311"/>
                <a:gd name="connsiteY4" fmla="*/ 95 h 1202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3311" h="120217">
                  <a:moveTo>
                    <a:pt x="294918" y="0"/>
                  </a:moveTo>
                  <a:cubicBezTo>
                    <a:pt x="318902" y="12706"/>
                    <a:pt x="333311" y="29045"/>
                    <a:pt x="333311" y="46849"/>
                  </a:cubicBezTo>
                  <a:cubicBezTo>
                    <a:pt x="333311" y="87374"/>
                    <a:pt x="258715" y="120218"/>
                    <a:pt x="166626" y="120218"/>
                  </a:cubicBezTo>
                  <a:cubicBezTo>
                    <a:pt x="74536" y="120218"/>
                    <a:pt x="0" y="87362"/>
                    <a:pt x="0" y="46849"/>
                  </a:cubicBezTo>
                  <a:cubicBezTo>
                    <a:pt x="0" y="29081"/>
                    <a:pt x="14338" y="12790"/>
                    <a:pt x="38191" y="95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34" name="Forma livre: Forma 2033">
              <a:extLst>
                <a:ext uri="{FF2B5EF4-FFF2-40B4-BE49-F238E27FC236}">
                  <a16:creationId xmlns:a16="http://schemas.microsoft.com/office/drawing/2014/main" id="{98AA5CE5-C7C5-A046-F885-17FE84C1E297}"/>
                </a:ext>
              </a:extLst>
            </p:cNvPr>
            <p:cNvSpPr/>
            <p:nvPr/>
          </p:nvSpPr>
          <p:spPr>
            <a:xfrm>
              <a:off x="5039598" y="5204890"/>
              <a:ext cx="205781" cy="157789"/>
            </a:xfrm>
            <a:custGeom>
              <a:avLst/>
              <a:gdLst>
                <a:gd name="connsiteX0" fmla="*/ 13433 w 205781"/>
                <a:gd name="connsiteY0" fmla="*/ 136795 h 157789"/>
                <a:gd name="connsiteX1" fmla="*/ 102903 w 205781"/>
                <a:gd name="connsiteY1" fmla="*/ 157790 h 157789"/>
                <a:gd name="connsiteX2" fmla="*/ 205781 w 205781"/>
                <a:gd name="connsiteY2" fmla="*/ 116360 h 157789"/>
                <a:gd name="connsiteX3" fmla="*/ 205722 w 205781"/>
                <a:gd name="connsiteY3" fmla="*/ 102843 h 157789"/>
                <a:gd name="connsiteX4" fmla="*/ 102843 w 205781"/>
                <a:gd name="connsiteY4" fmla="*/ 0 h 157789"/>
                <a:gd name="connsiteX5" fmla="*/ 0 w 205781"/>
                <a:gd name="connsiteY5" fmla="*/ 102843 h 157789"/>
                <a:gd name="connsiteX6" fmla="*/ 71 w 205781"/>
                <a:gd name="connsiteY6" fmla="*/ 116360 h 1577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5781" h="157789">
                  <a:moveTo>
                    <a:pt x="13433" y="136795"/>
                  </a:moveTo>
                  <a:cubicBezTo>
                    <a:pt x="31117" y="149335"/>
                    <a:pt x="64557" y="157790"/>
                    <a:pt x="102903" y="157790"/>
                  </a:cubicBezTo>
                  <a:cubicBezTo>
                    <a:pt x="159743" y="157790"/>
                    <a:pt x="205781" y="139248"/>
                    <a:pt x="205781" y="116360"/>
                  </a:cubicBezTo>
                  <a:lnTo>
                    <a:pt x="205722" y="102843"/>
                  </a:lnTo>
                  <a:cubicBezTo>
                    <a:pt x="205722" y="46039"/>
                    <a:pt x="159683" y="0"/>
                    <a:pt x="102843" y="0"/>
                  </a:cubicBezTo>
                  <a:cubicBezTo>
                    <a:pt x="46003" y="0"/>
                    <a:pt x="0" y="46039"/>
                    <a:pt x="0" y="102843"/>
                  </a:cubicBezTo>
                  <a:lnTo>
                    <a:pt x="71" y="116360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35" name="Forma livre: Forma 2034">
              <a:extLst>
                <a:ext uri="{FF2B5EF4-FFF2-40B4-BE49-F238E27FC236}">
                  <a16:creationId xmlns:a16="http://schemas.microsoft.com/office/drawing/2014/main" id="{C541EFEB-C101-FBE7-2EE7-1CB4FAEFC6A9}"/>
                </a:ext>
              </a:extLst>
            </p:cNvPr>
            <p:cNvSpPr/>
            <p:nvPr/>
          </p:nvSpPr>
          <p:spPr>
            <a:xfrm>
              <a:off x="5152134" y="5232482"/>
              <a:ext cx="20030" cy="5382"/>
            </a:xfrm>
            <a:custGeom>
              <a:avLst/>
              <a:gdLst>
                <a:gd name="connsiteX0" fmla="*/ 0 w 20030"/>
                <a:gd name="connsiteY0" fmla="*/ 0 h 5382"/>
                <a:gd name="connsiteX1" fmla="*/ 20030 w 20030"/>
                <a:gd name="connsiteY1" fmla="*/ 5383 h 53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0030" h="5382">
                  <a:moveTo>
                    <a:pt x="0" y="0"/>
                  </a:moveTo>
                  <a:cubicBezTo>
                    <a:pt x="7014" y="869"/>
                    <a:pt x="13743" y="2715"/>
                    <a:pt x="20030" y="5383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36" name="Forma livre: Forma 2035">
              <a:extLst>
                <a:ext uri="{FF2B5EF4-FFF2-40B4-BE49-F238E27FC236}">
                  <a16:creationId xmlns:a16="http://schemas.microsoft.com/office/drawing/2014/main" id="{6D0BBEE7-D40B-642E-8D32-36F9063D6C6A}"/>
                </a:ext>
              </a:extLst>
            </p:cNvPr>
            <p:cNvSpPr/>
            <p:nvPr/>
          </p:nvSpPr>
          <p:spPr>
            <a:xfrm>
              <a:off x="5068798" y="5233935"/>
              <a:ext cx="56304" cy="56482"/>
            </a:xfrm>
            <a:custGeom>
              <a:avLst/>
              <a:gdLst>
                <a:gd name="connsiteX0" fmla="*/ 0 w 56304"/>
                <a:gd name="connsiteY0" fmla="*/ 56483 h 56482"/>
                <a:gd name="connsiteX1" fmla="*/ 50600 w 56304"/>
                <a:gd name="connsiteY1" fmla="*/ 1596 h 56482"/>
                <a:gd name="connsiteX2" fmla="*/ 56304 w 56304"/>
                <a:gd name="connsiteY2" fmla="*/ 0 h 5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56304" h="56482">
                  <a:moveTo>
                    <a:pt x="0" y="56483"/>
                  </a:moveTo>
                  <a:cubicBezTo>
                    <a:pt x="6050" y="30581"/>
                    <a:pt x="25473" y="9717"/>
                    <a:pt x="50600" y="1596"/>
                  </a:cubicBezTo>
                  <a:cubicBezTo>
                    <a:pt x="52470" y="1000"/>
                    <a:pt x="54375" y="464"/>
                    <a:pt x="56304" y="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2037" name="Gráfico 15">
              <a:extLst>
                <a:ext uri="{FF2B5EF4-FFF2-40B4-BE49-F238E27FC236}">
                  <a16:creationId xmlns:a16="http://schemas.microsoft.com/office/drawing/2014/main" id="{0867EA29-E584-82AD-0A53-C70DB7057806}"/>
                </a:ext>
              </a:extLst>
            </p:cNvPr>
            <p:cNvGrpSpPr/>
            <p:nvPr/>
          </p:nvGrpSpPr>
          <p:grpSpPr>
            <a:xfrm>
              <a:off x="5108930" y="5311948"/>
              <a:ext cx="67117" cy="6287"/>
              <a:chOff x="5108930" y="5311948"/>
              <a:chExt cx="67117" cy="6287"/>
            </a:xfrm>
          </p:grpSpPr>
          <p:sp>
            <p:nvSpPr>
              <p:cNvPr id="2038" name="Forma livre: Forma 2037">
                <a:extLst>
                  <a:ext uri="{FF2B5EF4-FFF2-40B4-BE49-F238E27FC236}">
                    <a16:creationId xmlns:a16="http://schemas.microsoft.com/office/drawing/2014/main" id="{4791F911-46BE-E5E8-941D-397483593A0D}"/>
                  </a:ext>
                </a:extLst>
              </p:cNvPr>
              <p:cNvSpPr/>
              <p:nvPr/>
            </p:nvSpPr>
            <p:spPr>
              <a:xfrm>
                <a:off x="5108930" y="5311948"/>
                <a:ext cx="20030" cy="6287"/>
              </a:xfrm>
              <a:custGeom>
                <a:avLst/>
                <a:gdLst>
                  <a:gd name="connsiteX0" fmla="*/ 20030 w 20030"/>
                  <a:gd name="connsiteY0" fmla="*/ 6288 h 6287"/>
                  <a:gd name="connsiteX1" fmla="*/ 0 w 20030"/>
                  <a:gd name="connsiteY1" fmla="*/ 0 h 6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0030" h="6287">
                    <a:moveTo>
                      <a:pt x="20030" y="6288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039" name="Forma livre: Forma 2038">
                <a:extLst>
                  <a:ext uri="{FF2B5EF4-FFF2-40B4-BE49-F238E27FC236}">
                    <a16:creationId xmlns:a16="http://schemas.microsoft.com/office/drawing/2014/main" id="{98E90673-965E-41CE-5A62-4AB15F7ECD82}"/>
                  </a:ext>
                </a:extLst>
              </p:cNvPr>
              <p:cNvSpPr/>
              <p:nvPr/>
            </p:nvSpPr>
            <p:spPr>
              <a:xfrm>
                <a:off x="5156017" y="5311948"/>
                <a:ext cx="20030" cy="6287"/>
              </a:xfrm>
              <a:custGeom>
                <a:avLst/>
                <a:gdLst>
                  <a:gd name="connsiteX0" fmla="*/ 0 w 20030"/>
                  <a:gd name="connsiteY0" fmla="*/ 6288 h 6287"/>
                  <a:gd name="connsiteX1" fmla="*/ 20030 w 20030"/>
                  <a:gd name="connsiteY1" fmla="*/ 0 h 6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0030" h="6287">
                    <a:moveTo>
                      <a:pt x="0" y="6288"/>
                    </a:moveTo>
                    <a:lnTo>
                      <a:pt x="2003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2040" name="Forma livre: Forma 2039">
              <a:extLst>
                <a:ext uri="{FF2B5EF4-FFF2-40B4-BE49-F238E27FC236}">
                  <a16:creationId xmlns:a16="http://schemas.microsoft.com/office/drawing/2014/main" id="{C4ED8F8B-3DF8-1AD5-5C9E-24297011A967}"/>
                </a:ext>
              </a:extLst>
            </p:cNvPr>
            <p:cNvSpPr/>
            <p:nvPr/>
          </p:nvSpPr>
          <p:spPr>
            <a:xfrm>
              <a:off x="5142488" y="5423973"/>
              <a:ext cx="1190" cy="49516"/>
            </a:xfrm>
            <a:custGeom>
              <a:avLst/>
              <a:gdLst>
                <a:gd name="connsiteX0" fmla="*/ 0 w 1190"/>
                <a:gd name="connsiteY0" fmla="*/ 0 h 49516"/>
                <a:gd name="connsiteX1" fmla="*/ 0 w 1190"/>
                <a:gd name="connsiteY1" fmla="*/ 49516 h 495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90" h="49516">
                  <a:moveTo>
                    <a:pt x="0" y="0"/>
                  </a:moveTo>
                  <a:lnTo>
                    <a:pt x="0" y="49516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2041" name="Gráfico 15">
              <a:extLst>
                <a:ext uri="{FF2B5EF4-FFF2-40B4-BE49-F238E27FC236}">
                  <a16:creationId xmlns:a16="http://schemas.microsoft.com/office/drawing/2014/main" id="{C417E9B5-B901-B7D3-D14D-20725FCB817D}"/>
                </a:ext>
              </a:extLst>
            </p:cNvPr>
            <p:cNvGrpSpPr/>
            <p:nvPr/>
          </p:nvGrpSpPr>
          <p:grpSpPr>
            <a:xfrm>
              <a:off x="5012172" y="5350354"/>
              <a:ext cx="260632" cy="34594"/>
              <a:chOff x="5012172" y="5350354"/>
              <a:chExt cx="260632" cy="34594"/>
            </a:xfrm>
            <a:solidFill>
              <a:srgbClr val="394553"/>
            </a:solidFill>
          </p:grpSpPr>
          <p:grpSp>
            <p:nvGrpSpPr>
              <p:cNvPr id="2042" name="Gráfico 15">
                <a:extLst>
                  <a:ext uri="{FF2B5EF4-FFF2-40B4-BE49-F238E27FC236}">
                    <a16:creationId xmlns:a16="http://schemas.microsoft.com/office/drawing/2014/main" id="{64052718-75C2-B99C-85F5-11BAEEA5813E}"/>
                  </a:ext>
                </a:extLst>
              </p:cNvPr>
              <p:cNvGrpSpPr/>
              <p:nvPr/>
            </p:nvGrpSpPr>
            <p:grpSpPr>
              <a:xfrm>
                <a:off x="5012172" y="5350354"/>
                <a:ext cx="57232" cy="34594"/>
                <a:chOff x="5012172" y="5350354"/>
                <a:chExt cx="57232" cy="34594"/>
              </a:xfrm>
              <a:solidFill>
                <a:srgbClr val="394553"/>
              </a:solidFill>
            </p:grpSpPr>
            <p:sp>
              <p:nvSpPr>
                <p:cNvPr id="2043" name="Forma livre: Forma 2042">
                  <a:extLst>
                    <a:ext uri="{FF2B5EF4-FFF2-40B4-BE49-F238E27FC236}">
                      <a16:creationId xmlns:a16="http://schemas.microsoft.com/office/drawing/2014/main" id="{6CDB97A9-FCF7-62AC-50B1-445F16AB781F}"/>
                    </a:ext>
                  </a:extLst>
                </p:cNvPr>
                <p:cNvSpPr/>
                <p:nvPr/>
              </p:nvSpPr>
              <p:spPr>
                <a:xfrm>
                  <a:off x="5012172" y="5350354"/>
                  <a:ext cx="7740" cy="7716"/>
                </a:xfrm>
                <a:custGeom>
                  <a:avLst/>
                  <a:gdLst>
                    <a:gd name="connsiteX0" fmla="*/ 0 w 7740"/>
                    <a:gd name="connsiteY0" fmla="*/ 3858 h 7716"/>
                    <a:gd name="connsiteX1" fmla="*/ 3858 w 7740"/>
                    <a:gd name="connsiteY1" fmla="*/ 7717 h 7716"/>
                    <a:gd name="connsiteX2" fmla="*/ 7741 w 7740"/>
                    <a:gd name="connsiteY2" fmla="*/ 3858 h 7716"/>
                    <a:gd name="connsiteX3" fmla="*/ 3858 w 7740"/>
                    <a:gd name="connsiteY3" fmla="*/ 0 h 7716"/>
                    <a:gd name="connsiteX4" fmla="*/ 0 w 7740"/>
                    <a:gd name="connsiteY4" fmla="*/ 3858 h 771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7740" h="7716">
                      <a:moveTo>
                        <a:pt x="0" y="3858"/>
                      </a:moveTo>
                      <a:cubicBezTo>
                        <a:pt x="0" y="5990"/>
                        <a:pt x="1727" y="7717"/>
                        <a:pt x="3858" y="7717"/>
                      </a:cubicBezTo>
                      <a:cubicBezTo>
                        <a:pt x="5990" y="7717"/>
                        <a:pt x="7741" y="5990"/>
                        <a:pt x="7741" y="3858"/>
                      </a:cubicBezTo>
                      <a:cubicBezTo>
                        <a:pt x="7741" y="1727"/>
                        <a:pt x="5990" y="0"/>
                        <a:pt x="3858" y="0"/>
                      </a:cubicBezTo>
                      <a:cubicBezTo>
                        <a:pt x="1727" y="0"/>
                        <a:pt x="0" y="1727"/>
                        <a:pt x="0" y="3858"/>
                      </a:cubicBezTo>
                      <a:close/>
                    </a:path>
                  </a:pathLst>
                </a:custGeom>
                <a:solidFill>
                  <a:srgbClr val="394553"/>
                </a:solidFill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044" name="Forma livre: Forma 2043">
                  <a:extLst>
                    <a:ext uri="{FF2B5EF4-FFF2-40B4-BE49-F238E27FC236}">
                      <a16:creationId xmlns:a16="http://schemas.microsoft.com/office/drawing/2014/main" id="{F268B4ED-EC50-0951-F8AB-4B1652D98B60}"/>
                    </a:ext>
                  </a:extLst>
                </p:cNvPr>
                <p:cNvSpPr/>
                <p:nvPr/>
              </p:nvSpPr>
              <p:spPr>
                <a:xfrm>
                  <a:off x="5061676" y="5377220"/>
                  <a:ext cx="7728" cy="7728"/>
                </a:xfrm>
                <a:custGeom>
                  <a:avLst/>
                  <a:gdLst>
                    <a:gd name="connsiteX0" fmla="*/ 0 w 7728"/>
                    <a:gd name="connsiteY0" fmla="*/ 3870 h 7728"/>
                    <a:gd name="connsiteX1" fmla="*/ 3846 w 7728"/>
                    <a:gd name="connsiteY1" fmla="*/ 7729 h 7728"/>
                    <a:gd name="connsiteX2" fmla="*/ 7729 w 7728"/>
                    <a:gd name="connsiteY2" fmla="*/ 3870 h 7728"/>
                    <a:gd name="connsiteX3" fmla="*/ 3846 w 7728"/>
                    <a:gd name="connsiteY3" fmla="*/ 0 h 7728"/>
                    <a:gd name="connsiteX4" fmla="*/ 0 w 7728"/>
                    <a:gd name="connsiteY4" fmla="*/ 3870 h 772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7728" h="7728">
                      <a:moveTo>
                        <a:pt x="0" y="3870"/>
                      </a:moveTo>
                      <a:cubicBezTo>
                        <a:pt x="0" y="6002"/>
                        <a:pt x="1727" y="7729"/>
                        <a:pt x="3846" y="7729"/>
                      </a:cubicBezTo>
                      <a:cubicBezTo>
                        <a:pt x="5966" y="7729"/>
                        <a:pt x="7729" y="6002"/>
                        <a:pt x="7729" y="3870"/>
                      </a:cubicBezTo>
                      <a:cubicBezTo>
                        <a:pt x="7729" y="1739"/>
                        <a:pt x="5978" y="0"/>
                        <a:pt x="3846" y="0"/>
                      </a:cubicBezTo>
                      <a:cubicBezTo>
                        <a:pt x="1715" y="0"/>
                        <a:pt x="0" y="1727"/>
                        <a:pt x="0" y="3870"/>
                      </a:cubicBezTo>
                      <a:close/>
                    </a:path>
                  </a:pathLst>
                </a:custGeom>
                <a:solidFill>
                  <a:srgbClr val="394553"/>
                </a:solidFill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2045" name="Gráfico 15">
                <a:extLst>
                  <a:ext uri="{FF2B5EF4-FFF2-40B4-BE49-F238E27FC236}">
                    <a16:creationId xmlns:a16="http://schemas.microsoft.com/office/drawing/2014/main" id="{B98E0655-E522-D4DD-C11D-F61534515E58}"/>
                  </a:ext>
                </a:extLst>
              </p:cNvPr>
              <p:cNvGrpSpPr/>
              <p:nvPr/>
            </p:nvGrpSpPr>
            <p:grpSpPr>
              <a:xfrm>
                <a:off x="5215560" y="5350354"/>
                <a:ext cx="57244" cy="34594"/>
                <a:chOff x="5215560" y="5350354"/>
                <a:chExt cx="57244" cy="34594"/>
              </a:xfrm>
              <a:solidFill>
                <a:srgbClr val="394553"/>
              </a:solidFill>
            </p:grpSpPr>
            <p:sp>
              <p:nvSpPr>
                <p:cNvPr id="2046" name="Forma livre: Forma 2045">
                  <a:extLst>
                    <a:ext uri="{FF2B5EF4-FFF2-40B4-BE49-F238E27FC236}">
                      <a16:creationId xmlns:a16="http://schemas.microsoft.com/office/drawing/2014/main" id="{9492AD3C-A083-8278-BB0A-3A9F156DE98F}"/>
                    </a:ext>
                  </a:extLst>
                </p:cNvPr>
                <p:cNvSpPr/>
                <p:nvPr/>
              </p:nvSpPr>
              <p:spPr>
                <a:xfrm>
                  <a:off x="5265064" y="5350354"/>
                  <a:ext cx="7740" cy="7716"/>
                </a:xfrm>
                <a:custGeom>
                  <a:avLst/>
                  <a:gdLst>
                    <a:gd name="connsiteX0" fmla="*/ 7741 w 7740"/>
                    <a:gd name="connsiteY0" fmla="*/ 3858 h 7716"/>
                    <a:gd name="connsiteX1" fmla="*/ 3882 w 7740"/>
                    <a:gd name="connsiteY1" fmla="*/ 7717 h 7716"/>
                    <a:gd name="connsiteX2" fmla="*/ 0 w 7740"/>
                    <a:gd name="connsiteY2" fmla="*/ 3858 h 7716"/>
                    <a:gd name="connsiteX3" fmla="*/ 3882 w 7740"/>
                    <a:gd name="connsiteY3" fmla="*/ 0 h 7716"/>
                    <a:gd name="connsiteX4" fmla="*/ 7741 w 7740"/>
                    <a:gd name="connsiteY4" fmla="*/ 3858 h 771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7740" h="7716">
                      <a:moveTo>
                        <a:pt x="7741" y="3858"/>
                      </a:moveTo>
                      <a:cubicBezTo>
                        <a:pt x="7741" y="5990"/>
                        <a:pt x="6014" y="7717"/>
                        <a:pt x="3882" y="7717"/>
                      </a:cubicBezTo>
                      <a:cubicBezTo>
                        <a:pt x="1751" y="7717"/>
                        <a:pt x="0" y="5990"/>
                        <a:pt x="0" y="3858"/>
                      </a:cubicBezTo>
                      <a:cubicBezTo>
                        <a:pt x="0" y="1727"/>
                        <a:pt x="1751" y="0"/>
                        <a:pt x="3882" y="0"/>
                      </a:cubicBezTo>
                      <a:cubicBezTo>
                        <a:pt x="6014" y="0"/>
                        <a:pt x="7741" y="1727"/>
                        <a:pt x="7741" y="3858"/>
                      </a:cubicBezTo>
                      <a:close/>
                    </a:path>
                  </a:pathLst>
                </a:custGeom>
                <a:solidFill>
                  <a:srgbClr val="394553"/>
                </a:solidFill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047" name="Forma livre: Forma 2046">
                  <a:extLst>
                    <a:ext uri="{FF2B5EF4-FFF2-40B4-BE49-F238E27FC236}">
                      <a16:creationId xmlns:a16="http://schemas.microsoft.com/office/drawing/2014/main" id="{98A30909-72AD-AA72-8379-D1F1F9A33B71}"/>
                    </a:ext>
                  </a:extLst>
                </p:cNvPr>
                <p:cNvSpPr/>
                <p:nvPr/>
              </p:nvSpPr>
              <p:spPr>
                <a:xfrm>
                  <a:off x="5215560" y="5377220"/>
                  <a:ext cx="7740" cy="7728"/>
                </a:xfrm>
                <a:custGeom>
                  <a:avLst/>
                  <a:gdLst>
                    <a:gd name="connsiteX0" fmla="*/ 7741 w 7740"/>
                    <a:gd name="connsiteY0" fmla="*/ 3870 h 7728"/>
                    <a:gd name="connsiteX1" fmla="*/ 3882 w 7740"/>
                    <a:gd name="connsiteY1" fmla="*/ 7729 h 7728"/>
                    <a:gd name="connsiteX2" fmla="*/ 0 w 7740"/>
                    <a:gd name="connsiteY2" fmla="*/ 3870 h 7728"/>
                    <a:gd name="connsiteX3" fmla="*/ 3882 w 7740"/>
                    <a:gd name="connsiteY3" fmla="*/ 0 h 7728"/>
                    <a:gd name="connsiteX4" fmla="*/ 7741 w 7740"/>
                    <a:gd name="connsiteY4" fmla="*/ 3870 h 772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7740" h="7728">
                      <a:moveTo>
                        <a:pt x="7741" y="3870"/>
                      </a:moveTo>
                      <a:cubicBezTo>
                        <a:pt x="7741" y="6002"/>
                        <a:pt x="6014" y="7729"/>
                        <a:pt x="3882" y="7729"/>
                      </a:cubicBezTo>
                      <a:cubicBezTo>
                        <a:pt x="1751" y="7729"/>
                        <a:pt x="0" y="6002"/>
                        <a:pt x="0" y="3870"/>
                      </a:cubicBezTo>
                      <a:cubicBezTo>
                        <a:pt x="0" y="1739"/>
                        <a:pt x="1751" y="0"/>
                        <a:pt x="3882" y="0"/>
                      </a:cubicBezTo>
                      <a:cubicBezTo>
                        <a:pt x="6014" y="0"/>
                        <a:pt x="7741" y="1727"/>
                        <a:pt x="7741" y="3870"/>
                      </a:cubicBezTo>
                      <a:close/>
                    </a:path>
                  </a:pathLst>
                </a:custGeom>
                <a:solidFill>
                  <a:srgbClr val="394553"/>
                </a:solidFill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sp>
          <p:nvSpPr>
            <p:cNvPr id="2048" name="Forma livre: Forma 2047">
              <a:extLst>
                <a:ext uri="{FF2B5EF4-FFF2-40B4-BE49-F238E27FC236}">
                  <a16:creationId xmlns:a16="http://schemas.microsoft.com/office/drawing/2014/main" id="{04B10C94-7F53-8CEF-E34B-BB654E153E91}"/>
                </a:ext>
              </a:extLst>
            </p:cNvPr>
            <p:cNvSpPr/>
            <p:nvPr/>
          </p:nvSpPr>
          <p:spPr>
            <a:xfrm>
              <a:off x="5138618" y="5388081"/>
              <a:ext cx="7740" cy="7716"/>
            </a:xfrm>
            <a:custGeom>
              <a:avLst/>
              <a:gdLst>
                <a:gd name="connsiteX0" fmla="*/ 0 w 7740"/>
                <a:gd name="connsiteY0" fmla="*/ 3858 h 7716"/>
                <a:gd name="connsiteX1" fmla="*/ 3858 w 7740"/>
                <a:gd name="connsiteY1" fmla="*/ 7717 h 7716"/>
                <a:gd name="connsiteX2" fmla="*/ 7741 w 7740"/>
                <a:gd name="connsiteY2" fmla="*/ 3858 h 7716"/>
                <a:gd name="connsiteX3" fmla="*/ 3858 w 7740"/>
                <a:gd name="connsiteY3" fmla="*/ 0 h 7716"/>
                <a:gd name="connsiteX4" fmla="*/ 0 w 7740"/>
                <a:gd name="connsiteY4" fmla="*/ 3858 h 77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740" h="7716">
                  <a:moveTo>
                    <a:pt x="0" y="3858"/>
                  </a:moveTo>
                  <a:cubicBezTo>
                    <a:pt x="0" y="5990"/>
                    <a:pt x="1727" y="7717"/>
                    <a:pt x="3858" y="7717"/>
                  </a:cubicBezTo>
                  <a:cubicBezTo>
                    <a:pt x="5990" y="7717"/>
                    <a:pt x="7741" y="5990"/>
                    <a:pt x="7741" y="3858"/>
                  </a:cubicBezTo>
                  <a:cubicBezTo>
                    <a:pt x="7741" y="1727"/>
                    <a:pt x="5990" y="0"/>
                    <a:pt x="3858" y="0"/>
                  </a:cubicBezTo>
                  <a:cubicBezTo>
                    <a:pt x="1727" y="0"/>
                    <a:pt x="0" y="1727"/>
                    <a:pt x="0" y="3858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2049" name="Gráfico 15">
              <a:extLst>
                <a:ext uri="{FF2B5EF4-FFF2-40B4-BE49-F238E27FC236}">
                  <a16:creationId xmlns:a16="http://schemas.microsoft.com/office/drawing/2014/main" id="{6202A521-3D10-92FD-AEEE-352938BF9933}"/>
                </a:ext>
              </a:extLst>
            </p:cNvPr>
            <p:cNvGrpSpPr/>
            <p:nvPr/>
          </p:nvGrpSpPr>
          <p:grpSpPr>
            <a:xfrm>
              <a:off x="5020008" y="5407277"/>
              <a:ext cx="244960" cy="47860"/>
              <a:chOff x="5020008" y="5407277"/>
              <a:chExt cx="244960" cy="47860"/>
            </a:xfrm>
          </p:grpSpPr>
          <p:sp>
            <p:nvSpPr>
              <p:cNvPr id="2050" name="Forma livre: Forma 2049">
                <a:extLst>
                  <a:ext uri="{FF2B5EF4-FFF2-40B4-BE49-F238E27FC236}">
                    <a16:creationId xmlns:a16="http://schemas.microsoft.com/office/drawing/2014/main" id="{5C2CADB9-DD47-8F87-6C50-7DC23132A47B}"/>
                  </a:ext>
                </a:extLst>
              </p:cNvPr>
              <p:cNvSpPr/>
              <p:nvPr/>
            </p:nvSpPr>
            <p:spPr>
              <a:xfrm>
                <a:off x="5020008" y="5407277"/>
                <a:ext cx="19482" cy="47860"/>
              </a:xfrm>
              <a:custGeom>
                <a:avLst/>
                <a:gdLst>
                  <a:gd name="connsiteX0" fmla="*/ 19483 w 19482"/>
                  <a:gd name="connsiteY0" fmla="*/ 0 h 47860"/>
                  <a:gd name="connsiteX1" fmla="*/ 0 w 19482"/>
                  <a:gd name="connsiteY1" fmla="*/ 47861 h 478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9482" h="47860">
                    <a:moveTo>
                      <a:pt x="19483" y="0"/>
                    </a:moveTo>
                    <a:lnTo>
                      <a:pt x="0" y="47861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051" name="Forma livre: Forma 2050">
                <a:extLst>
                  <a:ext uri="{FF2B5EF4-FFF2-40B4-BE49-F238E27FC236}">
                    <a16:creationId xmlns:a16="http://schemas.microsoft.com/office/drawing/2014/main" id="{81C2CA3E-B453-BDED-BA71-0603881BB3A6}"/>
                  </a:ext>
                </a:extLst>
              </p:cNvPr>
              <p:cNvSpPr/>
              <p:nvPr/>
            </p:nvSpPr>
            <p:spPr>
              <a:xfrm>
                <a:off x="5245474" y="5407277"/>
                <a:ext cx="19494" cy="47860"/>
              </a:xfrm>
              <a:custGeom>
                <a:avLst/>
                <a:gdLst>
                  <a:gd name="connsiteX0" fmla="*/ 0 w 19494"/>
                  <a:gd name="connsiteY0" fmla="*/ 0 h 47860"/>
                  <a:gd name="connsiteX1" fmla="*/ 19494 w 19494"/>
                  <a:gd name="connsiteY1" fmla="*/ 47861 h 478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9494" h="47860">
                    <a:moveTo>
                      <a:pt x="0" y="0"/>
                    </a:moveTo>
                    <a:lnTo>
                      <a:pt x="19494" y="47861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2052" name="Forma livre: Forma 2051">
              <a:extLst>
                <a:ext uri="{FF2B5EF4-FFF2-40B4-BE49-F238E27FC236}">
                  <a16:creationId xmlns:a16="http://schemas.microsoft.com/office/drawing/2014/main" id="{E85A0BEC-A542-EAC4-C99C-066E3B54E2F4}"/>
                </a:ext>
              </a:extLst>
            </p:cNvPr>
            <p:cNvSpPr/>
            <p:nvPr/>
          </p:nvSpPr>
          <p:spPr>
            <a:xfrm>
              <a:off x="5104310" y="5273710"/>
              <a:ext cx="76344" cy="86385"/>
            </a:xfrm>
            <a:custGeom>
              <a:avLst/>
              <a:gdLst>
                <a:gd name="connsiteX0" fmla="*/ 57566 w 76344"/>
                <a:gd name="connsiteY0" fmla="*/ 86385 h 86385"/>
                <a:gd name="connsiteX1" fmla="*/ 75298 w 76344"/>
                <a:gd name="connsiteY1" fmla="*/ 42704 h 86385"/>
                <a:gd name="connsiteX2" fmla="*/ 38167 w 76344"/>
                <a:gd name="connsiteY2" fmla="*/ 0 h 86385"/>
                <a:gd name="connsiteX3" fmla="*/ 1047 w 76344"/>
                <a:gd name="connsiteY3" fmla="*/ 42704 h 86385"/>
                <a:gd name="connsiteX4" fmla="*/ 18779 w 76344"/>
                <a:gd name="connsiteY4" fmla="*/ 86385 h 863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344" h="86385">
                  <a:moveTo>
                    <a:pt x="57566" y="86385"/>
                  </a:moveTo>
                  <a:cubicBezTo>
                    <a:pt x="64354" y="74858"/>
                    <a:pt x="72666" y="58293"/>
                    <a:pt x="75298" y="42704"/>
                  </a:cubicBezTo>
                  <a:cubicBezTo>
                    <a:pt x="80716" y="10611"/>
                    <a:pt x="64616" y="0"/>
                    <a:pt x="38167" y="0"/>
                  </a:cubicBezTo>
                  <a:cubicBezTo>
                    <a:pt x="11717" y="0"/>
                    <a:pt x="-4371" y="10611"/>
                    <a:pt x="1047" y="42704"/>
                  </a:cubicBezTo>
                  <a:cubicBezTo>
                    <a:pt x="3679" y="58305"/>
                    <a:pt x="11991" y="74858"/>
                    <a:pt x="18779" y="86385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2053" name="Gráfico 15">
            <a:extLst>
              <a:ext uri="{FF2B5EF4-FFF2-40B4-BE49-F238E27FC236}">
                <a16:creationId xmlns:a16="http://schemas.microsoft.com/office/drawing/2014/main" id="{AED8A715-601C-A40D-46CC-A1CC03454C0D}"/>
              </a:ext>
            </a:extLst>
          </p:cNvPr>
          <p:cNvGrpSpPr/>
          <p:nvPr/>
        </p:nvGrpSpPr>
        <p:grpSpPr>
          <a:xfrm>
            <a:off x="5602841" y="3572726"/>
            <a:ext cx="323379" cy="261359"/>
            <a:chOff x="5602841" y="3572726"/>
            <a:chExt cx="323379" cy="261359"/>
          </a:xfrm>
          <a:noFill/>
        </p:grpSpPr>
        <p:grpSp>
          <p:nvGrpSpPr>
            <p:cNvPr id="2054" name="Gráfico 15">
              <a:extLst>
                <a:ext uri="{FF2B5EF4-FFF2-40B4-BE49-F238E27FC236}">
                  <a16:creationId xmlns:a16="http://schemas.microsoft.com/office/drawing/2014/main" id="{40BA1DCA-6603-1803-110B-90C5E3024A4D}"/>
                </a:ext>
              </a:extLst>
            </p:cNvPr>
            <p:cNvGrpSpPr/>
            <p:nvPr/>
          </p:nvGrpSpPr>
          <p:grpSpPr>
            <a:xfrm>
              <a:off x="5602841" y="3604677"/>
              <a:ext cx="323379" cy="229408"/>
              <a:chOff x="5602841" y="3604677"/>
              <a:chExt cx="323379" cy="229408"/>
            </a:xfrm>
            <a:noFill/>
          </p:grpSpPr>
          <p:grpSp>
            <p:nvGrpSpPr>
              <p:cNvPr id="2055" name="Gráfico 15">
                <a:extLst>
                  <a:ext uri="{FF2B5EF4-FFF2-40B4-BE49-F238E27FC236}">
                    <a16:creationId xmlns:a16="http://schemas.microsoft.com/office/drawing/2014/main" id="{2E9D546A-9ABC-C4C4-F246-D60111B92BCC}"/>
                  </a:ext>
                </a:extLst>
              </p:cNvPr>
              <p:cNvGrpSpPr/>
              <p:nvPr/>
            </p:nvGrpSpPr>
            <p:grpSpPr>
              <a:xfrm>
                <a:off x="5633708" y="3720929"/>
                <a:ext cx="261632" cy="27830"/>
                <a:chOff x="5633708" y="3720929"/>
                <a:chExt cx="261632" cy="27830"/>
              </a:xfrm>
              <a:noFill/>
            </p:grpSpPr>
            <p:sp>
              <p:nvSpPr>
                <p:cNvPr id="2056" name="Forma livre: Forma 2055">
                  <a:extLst>
                    <a:ext uri="{FF2B5EF4-FFF2-40B4-BE49-F238E27FC236}">
                      <a16:creationId xmlns:a16="http://schemas.microsoft.com/office/drawing/2014/main" id="{98392963-9D56-C039-BADB-1D18FDC7F3BC}"/>
                    </a:ext>
                  </a:extLst>
                </p:cNvPr>
                <p:cNvSpPr/>
                <p:nvPr/>
              </p:nvSpPr>
              <p:spPr>
                <a:xfrm>
                  <a:off x="5633708" y="3720929"/>
                  <a:ext cx="63544" cy="27830"/>
                </a:xfrm>
                <a:custGeom>
                  <a:avLst/>
                  <a:gdLst>
                    <a:gd name="connsiteX0" fmla="*/ 0 w 63544"/>
                    <a:gd name="connsiteY0" fmla="*/ 27831 h 27830"/>
                    <a:gd name="connsiteX1" fmla="*/ 63545 w 63544"/>
                    <a:gd name="connsiteY1" fmla="*/ 27831 h 27830"/>
                    <a:gd name="connsiteX2" fmla="*/ 43907 w 63544"/>
                    <a:gd name="connsiteY2" fmla="*/ 0 h 27830"/>
                    <a:gd name="connsiteX3" fmla="*/ 27056 w 63544"/>
                    <a:gd name="connsiteY3" fmla="*/ 0 h 2783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63544" h="27830">
                      <a:moveTo>
                        <a:pt x="0" y="27831"/>
                      </a:moveTo>
                      <a:lnTo>
                        <a:pt x="63545" y="27831"/>
                      </a:lnTo>
                      <a:cubicBezTo>
                        <a:pt x="63545" y="27831"/>
                        <a:pt x="60996" y="0"/>
                        <a:pt x="43907" y="0"/>
                      </a:cubicBezTo>
                      <a:lnTo>
                        <a:pt x="27056" y="0"/>
                      </a:ln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057" name="Forma livre: Forma 2056">
                  <a:extLst>
                    <a:ext uri="{FF2B5EF4-FFF2-40B4-BE49-F238E27FC236}">
                      <a16:creationId xmlns:a16="http://schemas.microsoft.com/office/drawing/2014/main" id="{DFC92172-BD6A-D911-E0F8-00CF7812BFA7}"/>
                    </a:ext>
                  </a:extLst>
                </p:cNvPr>
                <p:cNvSpPr/>
                <p:nvPr/>
              </p:nvSpPr>
              <p:spPr>
                <a:xfrm>
                  <a:off x="5831821" y="3720929"/>
                  <a:ext cx="63520" cy="27830"/>
                </a:xfrm>
                <a:custGeom>
                  <a:avLst/>
                  <a:gdLst>
                    <a:gd name="connsiteX0" fmla="*/ 63521 w 63520"/>
                    <a:gd name="connsiteY0" fmla="*/ 27831 h 27830"/>
                    <a:gd name="connsiteX1" fmla="*/ 0 w 63520"/>
                    <a:gd name="connsiteY1" fmla="*/ 27831 h 27830"/>
                    <a:gd name="connsiteX2" fmla="*/ 19625 w 63520"/>
                    <a:gd name="connsiteY2" fmla="*/ 0 h 27830"/>
                    <a:gd name="connsiteX3" fmla="*/ 36607 w 63520"/>
                    <a:gd name="connsiteY3" fmla="*/ 0 h 2783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63520" h="27830">
                      <a:moveTo>
                        <a:pt x="63521" y="27831"/>
                      </a:moveTo>
                      <a:lnTo>
                        <a:pt x="0" y="27831"/>
                      </a:lnTo>
                      <a:cubicBezTo>
                        <a:pt x="0" y="27831"/>
                        <a:pt x="2537" y="0"/>
                        <a:pt x="19625" y="0"/>
                      </a:cubicBezTo>
                      <a:lnTo>
                        <a:pt x="36607" y="0"/>
                      </a:ln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2058" name="Forma livre: Forma 2057">
                <a:extLst>
                  <a:ext uri="{FF2B5EF4-FFF2-40B4-BE49-F238E27FC236}">
                    <a16:creationId xmlns:a16="http://schemas.microsoft.com/office/drawing/2014/main" id="{25CF7830-E509-0C77-2671-CDE9E8FD3919}"/>
                  </a:ext>
                </a:extLst>
              </p:cNvPr>
              <p:cNvSpPr/>
              <p:nvPr/>
            </p:nvSpPr>
            <p:spPr>
              <a:xfrm>
                <a:off x="5681129" y="3664184"/>
                <a:ext cx="189276" cy="8824"/>
              </a:xfrm>
              <a:custGeom>
                <a:avLst/>
                <a:gdLst>
                  <a:gd name="connsiteX0" fmla="*/ 0 w 189276"/>
                  <a:gd name="connsiteY0" fmla="*/ 8812 h 8824"/>
                  <a:gd name="connsiteX1" fmla="*/ 166233 w 189276"/>
                  <a:gd name="connsiteY1" fmla="*/ 8812 h 8824"/>
                  <a:gd name="connsiteX2" fmla="*/ 189276 w 189276"/>
                  <a:gd name="connsiteY2" fmla="*/ 0 h 88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89276" h="8824">
                    <a:moveTo>
                      <a:pt x="0" y="8812"/>
                    </a:moveTo>
                    <a:lnTo>
                      <a:pt x="166233" y="8812"/>
                    </a:lnTo>
                    <a:cubicBezTo>
                      <a:pt x="166233" y="8812"/>
                      <a:pt x="182726" y="9527"/>
                      <a:pt x="189276" y="0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059" name="Forma livre: Forma 2058">
                <a:extLst>
                  <a:ext uri="{FF2B5EF4-FFF2-40B4-BE49-F238E27FC236}">
                    <a16:creationId xmlns:a16="http://schemas.microsoft.com/office/drawing/2014/main" id="{2982F5E1-ADC7-712E-D617-5BC204E91A66}"/>
                  </a:ext>
                </a:extLst>
              </p:cNvPr>
              <p:cNvSpPr/>
              <p:nvPr/>
            </p:nvSpPr>
            <p:spPr>
              <a:xfrm>
                <a:off x="5641175" y="3803408"/>
                <a:ext cx="247509" cy="1190"/>
              </a:xfrm>
              <a:custGeom>
                <a:avLst/>
                <a:gdLst>
                  <a:gd name="connsiteX0" fmla="*/ 0 w 247509"/>
                  <a:gd name="connsiteY0" fmla="*/ 0 h 1190"/>
                  <a:gd name="connsiteX1" fmla="*/ 247509 w 247509"/>
                  <a:gd name="connsiteY1" fmla="*/ 0 h 11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47509" h="1190">
                    <a:moveTo>
                      <a:pt x="0" y="0"/>
                    </a:moveTo>
                    <a:lnTo>
                      <a:pt x="247509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060" name="Forma livre: Forma 2059">
                <a:extLst>
                  <a:ext uri="{FF2B5EF4-FFF2-40B4-BE49-F238E27FC236}">
                    <a16:creationId xmlns:a16="http://schemas.microsoft.com/office/drawing/2014/main" id="{5FCA202E-37A0-6D2E-1E69-CE89BA0531A7}"/>
                  </a:ext>
                </a:extLst>
              </p:cNvPr>
              <p:cNvSpPr/>
              <p:nvPr/>
            </p:nvSpPr>
            <p:spPr>
              <a:xfrm>
                <a:off x="5631839" y="3604677"/>
                <a:ext cx="265372" cy="229408"/>
              </a:xfrm>
              <a:custGeom>
                <a:avLst/>
                <a:gdLst>
                  <a:gd name="connsiteX0" fmla="*/ 62497 w 265372"/>
                  <a:gd name="connsiteY0" fmla="*/ 214796 h 229408"/>
                  <a:gd name="connsiteX1" fmla="*/ 62497 w 265372"/>
                  <a:gd name="connsiteY1" fmla="*/ 223990 h 229408"/>
                  <a:gd name="connsiteX2" fmla="*/ 57066 w 265372"/>
                  <a:gd name="connsiteY2" fmla="*/ 229408 h 229408"/>
                  <a:gd name="connsiteX3" fmla="*/ 14017 w 265372"/>
                  <a:gd name="connsiteY3" fmla="*/ 229408 h 229408"/>
                  <a:gd name="connsiteX4" fmla="*/ 8586 w 265372"/>
                  <a:gd name="connsiteY4" fmla="*/ 223990 h 229408"/>
                  <a:gd name="connsiteX5" fmla="*/ 8586 w 265372"/>
                  <a:gd name="connsiteY5" fmla="*/ 197815 h 229408"/>
                  <a:gd name="connsiteX6" fmla="*/ 0 w 265372"/>
                  <a:gd name="connsiteY6" fmla="*/ 185465 h 229408"/>
                  <a:gd name="connsiteX7" fmla="*/ 0 w 265372"/>
                  <a:gd name="connsiteY7" fmla="*/ 121051 h 229408"/>
                  <a:gd name="connsiteX8" fmla="*/ 2953 w 265372"/>
                  <a:gd name="connsiteY8" fmla="*/ 106904 h 229408"/>
                  <a:gd name="connsiteX9" fmla="*/ 22698 w 265372"/>
                  <a:gd name="connsiteY9" fmla="*/ 63902 h 229408"/>
                  <a:gd name="connsiteX10" fmla="*/ 34345 w 265372"/>
                  <a:gd name="connsiteY10" fmla="*/ 27664 h 229408"/>
                  <a:gd name="connsiteX11" fmla="*/ 72393 w 265372"/>
                  <a:gd name="connsiteY11" fmla="*/ 0 h 229408"/>
                  <a:gd name="connsiteX12" fmla="*/ 192980 w 265372"/>
                  <a:gd name="connsiteY12" fmla="*/ 0 h 229408"/>
                  <a:gd name="connsiteX13" fmla="*/ 231028 w 265372"/>
                  <a:gd name="connsiteY13" fmla="*/ 27664 h 229408"/>
                  <a:gd name="connsiteX14" fmla="*/ 242674 w 265372"/>
                  <a:gd name="connsiteY14" fmla="*/ 63902 h 229408"/>
                  <a:gd name="connsiteX15" fmla="*/ 262407 w 265372"/>
                  <a:gd name="connsiteY15" fmla="*/ 106904 h 229408"/>
                  <a:gd name="connsiteX16" fmla="*/ 265372 w 265372"/>
                  <a:gd name="connsiteY16" fmla="*/ 121051 h 229408"/>
                  <a:gd name="connsiteX17" fmla="*/ 265372 w 265372"/>
                  <a:gd name="connsiteY17" fmla="*/ 185465 h 229408"/>
                  <a:gd name="connsiteX18" fmla="*/ 256846 w 265372"/>
                  <a:gd name="connsiteY18" fmla="*/ 197803 h 229408"/>
                  <a:gd name="connsiteX19" fmla="*/ 256846 w 265372"/>
                  <a:gd name="connsiteY19" fmla="*/ 223990 h 229408"/>
                  <a:gd name="connsiteX20" fmla="*/ 251415 w 265372"/>
                  <a:gd name="connsiteY20" fmla="*/ 229408 h 229408"/>
                  <a:gd name="connsiteX21" fmla="*/ 208366 w 265372"/>
                  <a:gd name="connsiteY21" fmla="*/ 229408 h 229408"/>
                  <a:gd name="connsiteX22" fmla="*/ 202947 w 265372"/>
                  <a:gd name="connsiteY22" fmla="*/ 223990 h 229408"/>
                  <a:gd name="connsiteX23" fmla="*/ 202947 w 265372"/>
                  <a:gd name="connsiteY23" fmla="*/ 214796 h 2294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</a:cxnLst>
                <a:rect l="l" t="t" r="r" b="b"/>
                <a:pathLst>
                  <a:path w="265372" h="229408">
                    <a:moveTo>
                      <a:pt x="62497" y="214796"/>
                    </a:moveTo>
                    <a:lnTo>
                      <a:pt x="62497" y="223990"/>
                    </a:lnTo>
                    <a:cubicBezTo>
                      <a:pt x="62497" y="226979"/>
                      <a:pt x="60055" y="229408"/>
                      <a:pt x="57066" y="229408"/>
                    </a:cubicBezTo>
                    <a:lnTo>
                      <a:pt x="14017" y="229408"/>
                    </a:lnTo>
                    <a:cubicBezTo>
                      <a:pt x="11027" y="229408"/>
                      <a:pt x="8586" y="226967"/>
                      <a:pt x="8586" y="223990"/>
                    </a:cubicBezTo>
                    <a:lnTo>
                      <a:pt x="8586" y="197815"/>
                    </a:lnTo>
                    <a:cubicBezTo>
                      <a:pt x="3680" y="195885"/>
                      <a:pt x="0" y="191062"/>
                      <a:pt x="0" y="185465"/>
                    </a:cubicBezTo>
                    <a:lnTo>
                      <a:pt x="0" y="121051"/>
                    </a:lnTo>
                    <a:cubicBezTo>
                      <a:pt x="0" y="121051"/>
                      <a:pt x="679" y="114704"/>
                      <a:pt x="2953" y="106904"/>
                    </a:cubicBezTo>
                    <a:lnTo>
                      <a:pt x="22698" y="63902"/>
                    </a:lnTo>
                    <a:lnTo>
                      <a:pt x="34345" y="27664"/>
                    </a:lnTo>
                    <a:cubicBezTo>
                      <a:pt x="37584" y="9658"/>
                      <a:pt x="61615" y="0"/>
                      <a:pt x="72393" y="0"/>
                    </a:cubicBezTo>
                    <a:lnTo>
                      <a:pt x="192980" y="0"/>
                    </a:lnTo>
                    <a:cubicBezTo>
                      <a:pt x="203757" y="0"/>
                      <a:pt x="227789" y="9670"/>
                      <a:pt x="231028" y="27664"/>
                    </a:cubicBezTo>
                    <a:lnTo>
                      <a:pt x="242674" y="63902"/>
                    </a:lnTo>
                    <a:lnTo>
                      <a:pt x="262407" y="106904"/>
                    </a:lnTo>
                    <a:cubicBezTo>
                      <a:pt x="264705" y="114716"/>
                      <a:pt x="265372" y="121051"/>
                      <a:pt x="265372" y="121051"/>
                    </a:cubicBezTo>
                    <a:lnTo>
                      <a:pt x="265372" y="185465"/>
                    </a:lnTo>
                    <a:cubicBezTo>
                      <a:pt x="265372" y="191050"/>
                      <a:pt x="261776" y="195873"/>
                      <a:pt x="256846" y="197803"/>
                    </a:cubicBezTo>
                    <a:lnTo>
                      <a:pt x="256846" y="223990"/>
                    </a:lnTo>
                    <a:cubicBezTo>
                      <a:pt x="256846" y="226979"/>
                      <a:pt x="254404" y="229408"/>
                      <a:pt x="251415" y="229408"/>
                    </a:cubicBezTo>
                    <a:lnTo>
                      <a:pt x="208366" y="229408"/>
                    </a:lnTo>
                    <a:cubicBezTo>
                      <a:pt x="205377" y="229408"/>
                      <a:pt x="202947" y="226967"/>
                      <a:pt x="202947" y="223990"/>
                    </a:cubicBezTo>
                    <a:lnTo>
                      <a:pt x="202947" y="214796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2061" name="Gráfico 15">
                <a:extLst>
                  <a:ext uri="{FF2B5EF4-FFF2-40B4-BE49-F238E27FC236}">
                    <a16:creationId xmlns:a16="http://schemas.microsoft.com/office/drawing/2014/main" id="{40BFC95E-0C92-4283-F0C4-58F1890E6112}"/>
                  </a:ext>
                </a:extLst>
              </p:cNvPr>
              <p:cNvGrpSpPr/>
              <p:nvPr/>
            </p:nvGrpSpPr>
            <p:grpSpPr>
              <a:xfrm>
                <a:off x="5602841" y="3658897"/>
                <a:ext cx="323379" cy="26079"/>
                <a:chOff x="5602841" y="3658897"/>
                <a:chExt cx="323379" cy="26079"/>
              </a:xfrm>
              <a:noFill/>
            </p:grpSpPr>
            <p:sp>
              <p:nvSpPr>
                <p:cNvPr id="2062" name="Forma livre: Forma 2061">
                  <a:extLst>
                    <a:ext uri="{FF2B5EF4-FFF2-40B4-BE49-F238E27FC236}">
                      <a16:creationId xmlns:a16="http://schemas.microsoft.com/office/drawing/2014/main" id="{A87E0127-2549-0CD1-8586-FEC213A2C014}"/>
                    </a:ext>
                  </a:extLst>
                </p:cNvPr>
                <p:cNvSpPr/>
                <p:nvPr/>
              </p:nvSpPr>
              <p:spPr>
                <a:xfrm>
                  <a:off x="5602841" y="3658897"/>
                  <a:ext cx="42299" cy="26068"/>
                </a:xfrm>
                <a:custGeom>
                  <a:avLst/>
                  <a:gdLst>
                    <a:gd name="connsiteX0" fmla="*/ 31772 w 42299"/>
                    <a:gd name="connsiteY0" fmla="*/ 0 h 26068"/>
                    <a:gd name="connsiteX1" fmla="*/ 16613 w 42299"/>
                    <a:gd name="connsiteY1" fmla="*/ 0 h 26068"/>
                    <a:gd name="connsiteX2" fmla="*/ 0 w 42299"/>
                    <a:gd name="connsiteY2" fmla="*/ 22341 h 26068"/>
                    <a:gd name="connsiteX3" fmla="*/ 42300 w 42299"/>
                    <a:gd name="connsiteY3" fmla="*/ 26068 h 2606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2299" h="26068">
                      <a:moveTo>
                        <a:pt x="31772" y="0"/>
                      </a:moveTo>
                      <a:lnTo>
                        <a:pt x="16613" y="0"/>
                      </a:lnTo>
                      <a:cubicBezTo>
                        <a:pt x="1691" y="0"/>
                        <a:pt x="0" y="22341"/>
                        <a:pt x="0" y="22341"/>
                      </a:cubicBezTo>
                      <a:lnTo>
                        <a:pt x="42300" y="26068"/>
                      </a:ln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063" name="Forma livre: Forma 2062">
                  <a:extLst>
                    <a:ext uri="{FF2B5EF4-FFF2-40B4-BE49-F238E27FC236}">
                      <a16:creationId xmlns:a16="http://schemas.microsoft.com/office/drawing/2014/main" id="{C502793F-2FEC-83AB-1F38-8197A8E5A924}"/>
                    </a:ext>
                  </a:extLst>
                </p:cNvPr>
                <p:cNvSpPr/>
                <p:nvPr/>
              </p:nvSpPr>
              <p:spPr>
                <a:xfrm>
                  <a:off x="5883921" y="3658909"/>
                  <a:ext cx="42299" cy="26068"/>
                </a:xfrm>
                <a:custGeom>
                  <a:avLst/>
                  <a:gdLst>
                    <a:gd name="connsiteX0" fmla="*/ 0 w 42299"/>
                    <a:gd name="connsiteY0" fmla="*/ 26068 h 26068"/>
                    <a:gd name="connsiteX1" fmla="*/ 42300 w 42299"/>
                    <a:gd name="connsiteY1" fmla="*/ 22341 h 26068"/>
                    <a:gd name="connsiteX2" fmla="*/ 25687 w 42299"/>
                    <a:gd name="connsiteY2" fmla="*/ 0 h 26068"/>
                    <a:gd name="connsiteX3" fmla="*/ 10527 w 42299"/>
                    <a:gd name="connsiteY3" fmla="*/ 0 h 2606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2299" h="26068">
                      <a:moveTo>
                        <a:pt x="0" y="26068"/>
                      </a:moveTo>
                      <a:lnTo>
                        <a:pt x="42300" y="22341"/>
                      </a:lnTo>
                      <a:cubicBezTo>
                        <a:pt x="42300" y="22341"/>
                        <a:pt x="40608" y="0"/>
                        <a:pt x="25687" y="0"/>
                      </a:cubicBezTo>
                      <a:lnTo>
                        <a:pt x="10527" y="0"/>
                      </a:ln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2064" name="Forma livre: Forma 2063">
                <a:extLst>
                  <a:ext uri="{FF2B5EF4-FFF2-40B4-BE49-F238E27FC236}">
                    <a16:creationId xmlns:a16="http://schemas.microsoft.com/office/drawing/2014/main" id="{78203564-DCF0-5A28-F4E3-46AC3B679E29}"/>
                  </a:ext>
                </a:extLst>
              </p:cNvPr>
              <p:cNvSpPr/>
              <p:nvPr/>
            </p:nvSpPr>
            <p:spPr>
              <a:xfrm>
                <a:off x="5716247" y="3775494"/>
                <a:ext cx="96543" cy="27842"/>
              </a:xfrm>
              <a:custGeom>
                <a:avLst/>
                <a:gdLst>
                  <a:gd name="connsiteX0" fmla="*/ 0 w 96543"/>
                  <a:gd name="connsiteY0" fmla="*/ 27842 h 27842"/>
                  <a:gd name="connsiteX1" fmla="*/ 0 w 96543"/>
                  <a:gd name="connsiteY1" fmla="*/ 0 h 27842"/>
                  <a:gd name="connsiteX2" fmla="*/ 96544 w 96543"/>
                  <a:gd name="connsiteY2" fmla="*/ 0 h 27842"/>
                  <a:gd name="connsiteX3" fmla="*/ 96544 w 96543"/>
                  <a:gd name="connsiteY3" fmla="*/ 27842 h 278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6543" h="27842">
                    <a:moveTo>
                      <a:pt x="0" y="27842"/>
                    </a:moveTo>
                    <a:lnTo>
                      <a:pt x="0" y="0"/>
                    </a:lnTo>
                    <a:lnTo>
                      <a:pt x="96544" y="0"/>
                    </a:lnTo>
                    <a:lnTo>
                      <a:pt x="96544" y="27842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2065" name="Gráfico 15">
              <a:extLst>
                <a:ext uri="{FF2B5EF4-FFF2-40B4-BE49-F238E27FC236}">
                  <a16:creationId xmlns:a16="http://schemas.microsoft.com/office/drawing/2014/main" id="{AFAB99E0-4CEE-123C-F820-AF24F4900795}"/>
                </a:ext>
              </a:extLst>
            </p:cNvPr>
            <p:cNvGrpSpPr/>
            <p:nvPr/>
          </p:nvGrpSpPr>
          <p:grpSpPr>
            <a:xfrm>
              <a:off x="5634780" y="3775101"/>
              <a:ext cx="259489" cy="1190"/>
              <a:chOff x="5634780" y="3775101"/>
              <a:chExt cx="259489" cy="1190"/>
            </a:xfrm>
          </p:grpSpPr>
          <p:sp>
            <p:nvSpPr>
              <p:cNvPr id="2066" name="Forma livre: Forma 2065">
                <a:extLst>
                  <a:ext uri="{FF2B5EF4-FFF2-40B4-BE49-F238E27FC236}">
                    <a16:creationId xmlns:a16="http://schemas.microsoft.com/office/drawing/2014/main" id="{75867B5A-D974-4141-87DE-07FD3351BE78}"/>
                  </a:ext>
                </a:extLst>
              </p:cNvPr>
              <p:cNvSpPr/>
              <p:nvPr/>
            </p:nvSpPr>
            <p:spPr>
              <a:xfrm>
                <a:off x="5634780" y="3775101"/>
                <a:ext cx="61567" cy="1190"/>
              </a:xfrm>
              <a:custGeom>
                <a:avLst/>
                <a:gdLst>
                  <a:gd name="connsiteX0" fmla="*/ 0 w 61567"/>
                  <a:gd name="connsiteY0" fmla="*/ 0 h 1190"/>
                  <a:gd name="connsiteX1" fmla="*/ 61568 w 61567"/>
                  <a:gd name="connsiteY1" fmla="*/ 0 h 11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1567" h="1190">
                    <a:moveTo>
                      <a:pt x="0" y="0"/>
                    </a:moveTo>
                    <a:lnTo>
                      <a:pt x="61568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067" name="Forma livre: Forma 2066">
                <a:extLst>
                  <a:ext uri="{FF2B5EF4-FFF2-40B4-BE49-F238E27FC236}">
                    <a16:creationId xmlns:a16="http://schemas.microsoft.com/office/drawing/2014/main" id="{C93FB67B-C279-AA29-9375-29DA4DC9E147}"/>
                  </a:ext>
                </a:extLst>
              </p:cNvPr>
              <p:cNvSpPr/>
              <p:nvPr/>
            </p:nvSpPr>
            <p:spPr>
              <a:xfrm>
                <a:off x="5832702" y="3775101"/>
                <a:ext cx="61567" cy="1190"/>
              </a:xfrm>
              <a:custGeom>
                <a:avLst/>
                <a:gdLst>
                  <a:gd name="connsiteX0" fmla="*/ 0 w 61567"/>
                  <a:gd name="connsiteY0" fmla="*/ 0 h 1190"/>
                  <a:gd name="connsiteX1" fmla="*/ 61568 w 61567"/>
                  <a:gd name="connsiteY1" fmla="*/ 0 h 11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1567" h="1190">
                    <a:moveTo>
                      <a:pt x="0" y="0"/>
                    </a:moveTo>
                    <a:lnTo>
                      <a:pt x="61568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2068" name="Forma livre: Forma 2067">
              <a:extLst>
                <a:ext uri="{FF2B5EF4-FFF2-40B4-BE49-F238E27FC236}">
                  <a16:creationId xmlns:a16="http://schemas.microsoft.com/office/drawing/2014/main" id="{A9EC248E-2FC5-DDB8-6D71-BB83F2F66EFC}"/>
                </a:ext>
              </a:extLst>
            </p:cNvPr>
            <p:cNvSpPr/>
            <p:nvPr/>
          </p:nvSpPr>
          <p:spPr>
            <a:xfrm>
              <a:off x="5727382" y="3572726"/>
              <a:ext cx="74298" cy="30974"/>
            </a:xfrm>
            <a:custGeom>
              <a:avLst/>
              <a:gdLst>
                <a:gd name="connsiteX0" fmla="*/ 0 w 74298"/>
                <a:gd name="connsiteY0" fmla="*/ 30974 h 30974"/>
                <a:gd name="connsiteX1" fmla="*/ 4632 w 74298"/>
                <a:gd name="connsiteY1" fmla="*/ 10134 h 30974"/>
                <a:gd name="connsiteX2" fmla="*/ 16803 w 74298"/>
                <a:gd name="connsiteY2" fmla="*/ 0 h 30974"/>
                <a:gd name="connsiteX3" fmla="*/ 57471 w 74298"/>
                <a:gd name="connsiteY3" fmla="*/ 0 h 30974"/>
                <a:gd name="connsiteX4" fmla="*/ 69654 w 74298"/>
                <a:gd name="connsiteY4" fmla="*/ 10134 h 30974"/>
                <a:gd name="connsiteX5" fmla="*/ 74298 w 74298"/>
                <a:gd name="connsiteY5" fmla="*/ 30974 h 309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4298" h="30974">
                  <a:moveTo>
                    <a:pt x="0" y="30974"/>
                  </a:moveTo>
                  <a:lnTo>
                    <a:pt x="4632" y="10134"/>
                  </a:lnTo>
                  <a:cubicBezTo>
                    <a:pt x="5597" y="4573"/>
                    <a:pt x="11063" y="0"/>
                    <a:pt x="16803" y="0"/>
                  </a:cubicBezTo>
                  <a:lnTo>
                    <a:pt x="57471" y="0"/>
                  </a:lnTo>
                  <a:cubicBezTo>
                    <a:pt x="63211" y="0"/>
                    <a:pt x="68689" y="4561"/>
                    <a:pt x="69654" y="10134"/>
                  </a:cubicBezTo>
                  <a:lnTo>
                    <a:pt x="74298" y="30974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2069" name="Gráfico 15">
            <a:extLst>
              <a:ext uri="{FF2B5EF4-FFF2-40B4-BE49-F238E27FC236}">
                <a16:creationId xmlns:a16="http://schemas.microsoft.com/office/drawing/2014/main" id="{50AB6E7D-5E17-16A3-AEB9-B90BBBC896D6}"/>
              </a:ext>
            </a:extLst>
          </p:cNvPr>
          <p:cNvGrpSpPr/>
          <p:nvPr/>
        </p:nvGrpSpPr>
        <p:grpSpPr>
          <a:xfrm>
            <a:off x="4338131" y="3585802"/>
            <a:ext cx="364654" cy="235231"/>
            <a:chOff x="4338131" y="3585802"/>
            <a:chExt cx="364654" cy="235231"/>
          </a:xfrm>
          <a:noFill/>
        </p:grpSpPr>
        <p:sp>
          <p:nvSpPr>
            <p:cNvPr id="2070" name="Forma livre: Forma 2069">
              <a:extLst>
                <a:ext uri="{FF2B5EF4-FFF2-40B4-BE49-F238E27FC236}">
                  <a16:creationId xmlns:a16="http://schemas.microsoft.com/office/drawing/2014/main" id="{842C873D-8284-2F44-5BFB-D04EA677B997}"/>
                </a:ext>
              </a:extLst>
            </p:cNvPr>
            <p:cNvSpPr/>
            <p:nvPr/>
          </p:nvSpPr>
          <p:spPr>
            <a:xfrm>
              <a:off x="4369689" y="3786069"/>
              <a:ext cx="62972" cy="34951"/>
            </a:xfrm>
            <a:custGeom>
              <a:avLst/>
              <a:gdLst>
                <a:gd name="connsiteX0" fmla="*/ 62973 w 62972"/>
                <a:gd name="connsiteY0" fmla="*/ 0 h 34951"/>
                <a:gd name="connsiteX1" fmla="*/ 28021 w 62972"/>
                <a:gd name="connsiteY1" fmla="*/ 34952 h 34951"/>
                <a:gd name="connsiteX2" fmla="*/ 0 w 62972"/>
                <a:gd name="connsiteY2" fmla="*/ 20888 h 349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2972" h="34951">
                  <a:moveTo>
                    <a:pt x="62973" y="0"/>
                  </a:moveTo>
                  <a:cubicBezTo>
                    <a:pt x="62973" y="19292"/>
                    <a:pt x="47325" y="34952"/>
                    <a:pt x="28021" y="34952"/>
                  </a:cubicBezTo>
                  <a:cubicBezTo>
                    <a:pt x="16553" y="34952"/>
                    <a:pt x="6371" y="29426"/>
                    <a:pt x="0" y="20888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71" name="Forma livre: Forma 2070">
              <a:extLst>
                <a:ext uri="{FF2B5EF4-FFF2-40B4-BE49-F238E27FC236}">
                  <a16:creationId xmlns:a16="http://schemas.microsoft.com/office/drawing/2014/main" id="{B7FAA5E6-5A1F-8880-8889-AED5CE25B8F0}"/>
                </a:ext>
              </a:extLst>
            </p:cNvPr>
            <p:cNvSpPr/>
            <p:nvPr/>
          </p:nvSpPr>
          <p:spPr>
            <a:xfrm>
              <a:off x="4338131" y="3624433"/>
              <a:ext cx="305075" cy="158385"/>
            </a:xfrm>
            <a:custGeom>
              <a:avLst/>
              <a:gdLst>
                <a:gd name="connsiteX0" fmla="*/ 51838 w 305075"/>
                <a:gd name="connsiteY0" fmla="*/ 73167 h 158385"/>
                <a:gd name="connsiteX1" fmla="*/ 51838 w 305075"/>
                <a:gd name="connsiteY1" fmla="*/ 63926 h 158385"/>
                <a:gd name="connsiteX2" fmla="*/ 75477 w 305075"/>
                <a:gd name="connsiteY2" fmla="*/ 42264 h 158385"/>
                <a:gd name="connsiteX3" fmla="*/ 164220 w 305075"/>
                <a:gd name="connsiteY3" fmla="*/ 42264 h 158385"/>
                <a:gd name="connsiteX4" fmla="*/ 187847 w 305075"/>
                <a:gd name="connsiteY4" fmla="*/ 63926 h 158385"/>
                <a:gd name="connsiteX5" fmla="*/ 187847 w 305075"/>
                <a:gd name="connsiteY5" fmla="*/ 70285 h 158385"/>
                <a:gd name="connsiteX6" fmla="*/ 71535 w 305075"/>
                <a:gd name="connsiteY6" fmla="*/ 70285 h 158385"/>
                <a:gd name="connsiteX7" fmla="*/ 0 w 305075"/>
                <a:gd name="connsiteY7" fmla="*/ 158385 h 158385"/>
                <a:gd name="connsiteX8" fmla="*/ 240531 w 305075"/>
                <a:gd name="connsiteY8" fmla="*/ 158385 h 158385"/>
                <a:gd name="connsiteX9" fmla="*/ 257941 w 305075"/>
                <a:gd name="connsiteY9" fmla="*/ 149073 h 158385"/>
                <a:gd name="connsiteX10" fmla="*/ 305076 w 305075"/>
                <a:gd name="connsiteY10" fmla="*/ 77204 h 158385"/>
                <a:gd name="connsiteX11" fmla="*/ 255238 w 305075"/>
                <a:gd name="connsiteY11" fmla="*/ 0 h 1583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05075" h="158385">
                  <a:moveTo>
                    <a:pt x="51838" y="73167"/>
                  </a:moveTo>
                  <a:lnTo>
                    <a:pt x="51838" y="63926"/>
                  </a:lnTo>
                  <a:cubicBezTo>
                    <a:pt x="51838" y="52005"/>
                    <a:pt x="62473" y="42264"/>
                    <a:pt x="75477" y="42264"/>
                  </a:cubicBezTo>
                  <a:lnTo>
                    <a:pt x="164220" y="42264"/>
                  </a:lnTo>
                  <a:cubicBezTo>
                    <a:pt x="177213" y="42264"/>
                    <a:pt x="187847" y="52017"/>
                    <a:pt x="187847" y="63926"/>
                  </a:cubicBezTo>
                  <a:lnTo>
                    <a:pt x="187847" y="70285"/>
                  </a:lnTo>
                  <a:lnTo>
                    <a:pt x="71535" y="70285"/>
                  </a:lnTo>
                  <a:cubicBezTo>
                    <a:pt x="51267" y="70285"/>
                    <a:pt x="0" y="96079"/>
                    <a:pt x="0" y="158385"/>
                  </a:cubicBezTo>
                  <a:lnTo>
                    <a:pt x="240531" y="158385"/>
                  </a:lnTo>
                  <a:cubicBezTo>
                    <a:pt x="250058" y="158385"/>
                    <a:pt x="255202" y="153169"/>
                    <a:pt x="257941" y="149073"/>
                  </a:cubicBezTo>
                  <a:cubicBezTo>
                    <a:pt x="260668" y="144976"/>
                    <a:pt x="305076" y="77204"/>
                    <a:pt x="305076" y="77204"/>
                  </a:cubicBezTo>
                  <a:cubicBezTo>
                    <a:pt x="289702" y="36655"/>
                    <a:pt x="255238" y="0"/>
                    <a:pt x="255238" y="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72" name="Forma livre: Forma 2071">
              <a:extLst>
                <a:ext uri="{FF2B5EF4-FFF2-40B4-BE49-F238E27FC236}">
                  <a16:creationId xmlns:a16="http://schemas.microsoft.com/office/drawing/2014/main" id="{ADD1852F-B261-277F-26E7-F23415C747AE}"/>
                </a:ext>
              </a:extLst>
            </p:cNvPr>
            <p:cNvSpPr/>
            <p:nvPr/>
          </p:nvSpPr>
          <p:spPr>
            <a:xfrm>
              <a:off x="4629738" y="3716130"/>
              <a:ext cx="73047" cy="104903"/>
            </a:xfrm>
            <a:custGeom>
              <a:avLst/>
              <a:gdLst>
                <a:gd name="connsiteX0" fmla="*/ 31641 w 73047"/>
                <a:gd name="connsiteY0" fmla="*/ 0 h 104903"/>
                <a:gd name="connsiteX1" fmla="*/ 73048 w 73047"/>
                <a:gd name="connsiteY1" fmla="*/ 26532 h 104903"/>
                <a:gd name="connsiteX2" fmla="*/ 7741 w 73047"/>
                <a:gd name="connsiteY2" fmla="*/ 48004 h 104903"/>
                <a:gd name="connsiteX3" fmla="*/ 274 w 73047"/>
                <a:gd name="connsiteY3" fmla="*/ 65629 h 104903"/>
                <a:gd name="connsiteX4" fmla="*/ 0 w 73047"/>
                <a:gd name="connsiteY4" fmla="*/ 69951 h 104903"/>
                <a:gd name="connsiteX5" fmla="*/ 34952 w 73047"/>
                <a:gd name="connsiteY5" fmla="*/ 104903 h 104903"/>
                <a:gd name="connsiteX6" fmla="*/ 69904 w 73047"/>
                <a:gd name="connsiteY6" fmla="*/ 69951 h 104903"/>
                <a:gd name="connsiteX7" fmla="*/ 65902 w 73047"/>
                <a:gd name="connsiteY7" fmla="*/ 53732 h 1049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3047" h="104903">
                  <a:moveTo>
                    <a:pt x="31641" y="0"/>
                  </a:moveTo>
                  <a:cubicBezTo>
                    <a:pt x="48397" y="2703"/>
                    <a:pt x="63366" y="12016"/>
                    <a:pt x="73048" y="26532"/>
                  </a:cubicBezTo>
                  <a:lnTo>
                    <a:pt x="7741" y="48004"/>
                  </a:lnTo>
                  <a:cubicBezTo>
                    <a:pt x="3823" y="52922"/>
                    <a:pt x="1072" y="59079"/>
                    <a:pt x="274" y="65629"/>
                  </a:cubicBezTo>
                  <a:cubicBezTo>
                    <a:pt x="95" y="67046"/>
                    <a:pt x="0" y="68487"/>
                    <a:pt x="0" y="69951"/>
                  </a:cubicBezTo>
                  <a:cubicBezTo>
                    <a:pt x="0" y="89243"/>
                    <a:pt x="15648" y="104903"/>
                    <a:pt x="34952" y="104903"/>
                  </a:cubicBezTo>
                  <a:cubicBezTo>
                    <a:pt x="54256" y="104903"/>
                    <a:pt x="69904" y="89255"/>
                    <a:pt x="69904" y="69951"/>
                  </a:cubicBezTo>
                  <a:cubicBezTo>
                    <a:pt x="69904" y="64092"/>
                    <a:pt x="68463" y="58567"/>
                    <a:pt x="65902" y="53732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73" name="Forma livre: Forma 2072">
              <a:extLst>
                <a:ext uri="{FF2B5EF4-FFF2-40B4-BE49-F238E27FC236}">
                  <a16:creationId xmlns:a16="http://schemas.microsoft.com/office/drawing/2014/main" id="{2BA9F576-9FC2-4651-DAEF-462820DE8F52}"/>
                </a:ext>
              </a:extLst>
            </p:cNvPr>
            <p:cNvSpPr/>
            <p:nvPr/>
          </p:nvSpPr>
          <p:spPr>
            <a:xfrm>
              <a:off x="4512830" y="3585802"/>
              <a:ext cx="102831" cy="169591"/>
            </a:xfrm>
            <a:custGeom>
              <a:avLst/>
              <a:gdLst>
                <a:gd name="connsiteX0" fmla="*/ 4978 w 102831"/>
                <a:gd name="connsiteY0" fmla="*/ 112108 h 169591"/>
                <a:gd name="connsiteX1" fmla="*/ 858 w 102831"/>
                <a:gd name="connsiteY1" fmla="*/ 136461 h 169591"/>
                <a:gd name="connsiteX2" fmla="*/ 28129 w 102831"/>
                <a:gd name="connsiteY2" fmla="*/ 169591 h 169591"/>
                <a:gd name="connsiteX3" fmla="*/ 42705 w 102831"/>
                <a:gd name="connsiteY3" fmla="*/ 169591 h 169591"/>
                <a:gd name="connsiteX4" fmla="*/ 78097 w 102831"/>
                <a:gd name="connsiteY4" fmla="*/ 129816 h 169591"/>
                <a:gd name="connsiteX5" fmla="*/ 43717 w 102831"/>
                <a:gd name="connsiteY5" fmla="*/ 17482 h 169591"/>
                <a:gd name="connsiteX6" fmla="*/ 63068 w 102831"/>
                <a:gd name="connsiteY6" fmla="*/ 0 h 169591"/>
                <a:gd name="connsiteX7" fmla="*/ 92269 w 102831"/>
                <a:gd name="connsiteY7" fmla="*/ 0 h 169591"/>
                <a:gd name="connsiteX8" fmla="*/ 102831 w 102831"/>
                <a:gd name="connsiteY8" fmla="*/ 20078 h 1695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02831" h="169591">
                  <a:moveTo>
                    <a:pt x="4978" y="112108"/>
                  </a:moveTo>
                  <a:lnTo>
                    <a:pt x="858" y="136461"/>
                  </a:lnTo>
                  <a:cubicBezTo>
                    <a:pt x="858" y="136461"/>
                    <a:pt x="-7526" y="169591"/>
                    <a:pt x="28129" y="169591"/>
                  </a:cubicBezTo>
                  <a:lnTo>
                    <a:pt x="42705" y="169591"/>
                  </a:lnTo>
                  <a:cubicBezTo>
                    <a:pt x="55733" y="169591"/>
                    <a:pt x="76906" y="159790"/>
                    <a:pt x="78097" y="129816"/>
                  </a:cubicBezTo>
                  <a:cubicBezTo>
                    <a:pt x="78097" y="129816"/>
                    <a:pt x="81193" y="82706"/>
                    <a:pt x="43717" y="17482"/>
                  </a:cubicBezTo>
                  <a:lnTo>
                    <a:pt x="63068" y="0"/>
                  </a:lnTo>
                  <a:lnTo>
                    <a:pt x="92269" y="0"/>
                  </a:lnTo>
                  <a:lnTo>
                    <a:pt x="102831" y="20078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74" name="Forma livre: Forma 2073">
              <a:extLst>
                <a:ext uri="{FF2B5EF4-FFF2-40B4-BE49-F238E27FC236}">
                  <a16:creationId xmlns:a16="http://schemas.microsoft.com/office/drawing/2014/main" id="{36228633-363C-DB22-0027-375AD1CDCCCE}"/>
                </a:ext>
              </a:extLst>
            </p:cNvPr>
            <p:cNvSpPr/>
            <p:nvPr/>
          </p:nvSpPr>
          <p:spPr>
            <a:xfrm>
              <a:off x="4452025" y="3694718"/>
              <a:ext cx="23769" cy="56768"/>
            </a:xfrm>
            <a:custGeom>
              <a:avLst/>
              <a:gdLst>
                <a:gd name="connsiteX0" fmla="*/ 0 w 23769"/>
                <a:gd name="connsiteY0" fmla="*/ 0 h 56768"/>
                <a:gd name="connsiteX1" fmla="*/ 23770 w 23769"/>
                <a:gd name="connsiteY1" fmla="*/ 33809 h 56768"/>
                <a:gd name="connsiteX2" fmla="*/ 10694 w 23769"/>
                <a:gd name="connsiteY2" fmla="*/ 56769 h 567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3769" h="56768">
                  <a:moveTo>
                    <a:pt x="0" y="0"/>
                  </a:moveTo>
                  <a:cubicBezTo>
                    <a:pt x="2537" y="0"/>
                    <a:pt x="23770" y="6323"/>
                    <a:pt x="23770" y="33809"/>
                  </a:cubicBezTo>
                  <a:cubicBezTo>
                    <a:pt x="23770" y="46468"/>
                    <a:pt x="16255" y="53160"/>
                    <a:pt x="10694" y="56769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75" name="Forma livre: Forma 2074">
              <a:extLst>
                <a:ext uri="{FF2B5EF4-FFF2-40B4-BE49-F238E27FC236}">
                  <a16:creationId xmlns:a16="http://schemas.microsoft.com/office/drawing/2014/main" id="{D823C1F9-F97C-14B6-8A72-D564147E55F9}"/>
                </a:ext>
              </a:extLst>
            </p:cNvPr>
            <p:cNvSpPr/>
            <p:nvPr/>
          </p:nvSpPr>
          <p:spPr>
            <a:xfrm>
              <a:off x="4532182" y="3603426"/>
              <a:ext cx="22674" cy="1190"/>
            </a:xfrm>
            <a:custGeom>
              <a:avLst/>
              <a:gdLst>
                <a:gd name="connsiteX0" fmla="*/ 22674 w 22674"/>
                <a:gd name="connsiteY0" fmla="*/ 0 h 1190"/>
                <a:gd name="connsiteX1" fmla="*/ 0 w 22674"/>
                <a:gd name="connsiteY1" fmla="*/ 0 h 11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2674" h="1190">
                  <a:moveTo>
                    <a:pt x="22674" y="0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2076" name="Gráfico 15">
            <a:extLst>
              <a:ext uri="{FF2B5EF4-FFF2-40B4-BE49-F238E27FC236}">
                <a16:creationId xmlns:a16="http://schemas.microsoft.com/office/drawing/2014/main" id="{92AC1A06-B773-72CD-9CF4-838AE1350C24}"/>
              </a:ext>
            </a:extLst>
          </p:cNvPr>
          <p:cNvGrpSpPr/>
          <p:nvPr/>
        </p:nvGrpSpPr>
        <p:grpSpPr>
          <a:xfrm>
            <a:off x="4913223" y="3580407"/>
            <a:ext cx="458530" cy="246008"/>
            <a:chOff x="4913223" y="3580407"/>
            <a:chExt cx="458530" cy="246008"/>
          </a:xfrm>
          <a:noFill/>
        </p:grpSpPr>
        <p:grpSp>
          <p:nvGrpSpPr>
            <p:cNvPr id="2077" name="Gráfico 15">
              <a:extLst>
                <a:ext uri="{FF2B5EF4-FFF2-40B4-BE49-F238E27FC236}">
                  <a16:creationId xmlns:a16="http://schemas.microsoft.com/office/drawing/2014/main" id="{7E5EFF15-D38E-4763-C119-E083C3E906BD}"/>
                </a:ext>
              </a:extLst>
            </p:cNvPr>
            <p:cNvGrpSpPr/>
            <p:nvPr/>
          </p:nvGrpSpPr>
          <p:grpSpPr>
            <a:xfrm>
              <a:off x="5027832" y="3580407"/>
              <a:ext cx="230039" cy="246008"/>
              <a:chOff x="5027832" y="3580407"/>
              <a:chExt cx="230039" cy="246008"/>
            </a:xfrm>
            <a:noFill/>
          </p:grpSpPr>
          <p:sp>
            <p:nvSpPr>
              <p:cNvPr id="2078" name="Forma livre: Forma 2077">
                <a:extLst>
                  <a:ext uri="{FF2B5EF4-FFF2-40B4-BE49-F238E27FC236}">
                    <a16:creationId xmlns:a16="http://schemas.microsoft.com/office/drawing/2014/main" id="{17E65BEC-20EF-5C90-E396-8885225C11D5}"/>
                  </a:ext>
                </a:extLst>
              </p:cNvPr>
              <p:cNvSpPr/>
              <p:nvPr/>
            </p:nvSpPr>
            <p:spPr>
              <a:xfrm>
                <a:off x="5027832" y="3657087"/>
                <a:ext cx="230039" cy="1190"/>
              </a:xfrm>
              <a:custGeom>
                <a:avLst/>
                <a:gdLst>
                  <a:gd name="connsiteX0" fmla="*/ 0 w 230039"/>
                  <a:gd name="connsiteY0" fmla="*/ 0 h 1190"/>
                  <a:gd name="connsiteX1" fmla="*/ 230039 w 230039"/>
                  <a:gd name="connsiteY1" fmla="*/ 0 h 11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30039" h="1190">
                    <a:moveTo>
                      <a:pt x="0" y="0"/>
                    </a:moveTo>
                    <a:lnTo>
                      <a:pt x="230039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079" name="Forma livre: Forma 2078">
                <a:extLst>
                  <a:ext uri="{FF2B5EF4-FFF2-40B4-BE49-F238E27FC236}">
                    <a16:creationId xmlns:a16="http://schemas.microsoft.com/office/drawing/2014/main" id="{0BA62067-065F-E40C-91C8-B09B82605142}"/>
                  </a:ext>
                </a:extLst>
              </p:cNvPr>
              <p:cNvSpPr/>
              <p:nvPr/>
            </p:nvSpPr>
            <p:spPr>
              <a:xfrm>
                <a:off x="5142858" y="3580407"/>
                <a:ext cx="1190" cy="70415"/>
              </a:xfrm>
              <a:custGeom>
                <a:avLst/>
                <a:gdLst>
                  <a:gd name="connsiteX0" fmla="*/ 0 w 1190"/>
                  <a:gd name="connsiteY0" fmla="*/ 70416 h 70415"/>
                  <a:gd name="connsiteX1" fmla="*/ 0 w 1190"/>
                  <a:gd name="connsiteY1" fmla="*/ 0 h 704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0" h="70415">
                    <a:moveTo>
                      <a:pt x="0" y="70416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080" name="Forma livre: Forma 2079">
                <a:extLst>
                  <a:ext uri="{FF2B5EF4-FFF2-40B4-BE49-F238E27FC236}">
                    <a16:creationId xmlns:a16="http://schemas.microsoft.com/office/drawing/2014/main" id="{CD46D7B5-1A04-AE20-DDF2-01C26F54A2E5}"/>
                  </a:ext>
                </a:extLst>
              </p:cNvPr>
              <p:cNvSpPr/>
              <p:nvPr/>
            </p:nvSpPr>
            <p:spPr>
              <a:xfrm>
                <a:off x="5063344" y="3657408"/>
                <a:ext cx="159039" cy="169007"/>
              </a:xfrm>
              <a:custGeom>
                <a:avLst/>
                <a:gdLst>
                  <a:gd name="connsiteX0" fmla="*/ 159040 w 159039"/>
                  <a:gd name="connsiteY0" fmla="*/ 89482 h 169007"/>
                  <a:gd name="connsiteX1" fmla="*/ 79514 w 159039"/>
                  <a:gd name="connsiteY1" fmla="*/ 169008 h 169007"/>
                  <a:gd name="connsiteX2" fmla="*/ 0 w 159039"/>
                  <a:gd name="connsiteY2" fmla="*/ 89482 h 169007"/>
                  <a:gd name="connsiteX3" fmla="*/ 79990 w 159039"/>
                  <a:gd name="connsiteY3" fmla="*/ 0 h 169007"/>
                  <a:gd name="connsiteX4" fmla="*/ 159040 w 159039"/>
                  <a:gd name="connsiteY4" fmla="*/ 89482 h 1690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59039" h="169007">
                    <a:moveTo>
                      <a:pt x="159040" y="89482"/>
                    </a:moveTo>
                    <a:cubicBezTo>
                      <a:pt x="159040" y="133401"/>
                      <a:pt x="123433" y="169008"/>
                      <a:pt x="79514" y="169008"/>
                    </a:cubicBezTo>
                    <a:cubicBezTo>
                      <a:pt x="35595" y="169008"/>
                      <a:pt x="0" y="133389"/>
                      <a:pt x="0" y="89482"/>
                    </a:cubicBezTo>
                    <a:cubicBezTo>
                      <a:pt x="0" y="45574"/>
                      <a:pt x="43026" y="0"/>
                      <a:pt x="79990" y="0"/>
                    </a:cubicBezTo>
                    <a:cubicBezTo>
                      <a:pt x="116955" y="0"/>
                      <a:pt x="159040" y="45563"/>
                      <a:pt x="159040" y="89482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081" name="Forma livre: Forma 2080">
                <a:extLst>
                  <a:ext uri="{FF2B5EF4-FFF2-40B4-BE49-F238E27FC236}">
                    <a16:creationId xmlns:a16="http://schemas.microsoft.com/office/drawing/2014/main" id="{DA373468-5BE1-8875-EF2E-6F6609ADFAA2}"/>
                  </a:ext>
                </a:extLst>
              </p:cNvPr>
              <p:cNvSpPr/>
              <p:nvPr/>
            </p:nvSpPr>
            <p:spPr>
              <a:xfrm>
                <a:off x="5095806" y="3694778"/>
                <a:ext cx="94102" cy="38107"/>
              </a:xfrm>
              <a:custGeom>
                <a:avLst/>
                <a:gdLst>
                  <a:gd name="connsiteX0" fmla="*/ 23889 w 94102"/>
                  <a:gd name="connsiteY0" fmla="*/ 38108 h 38107"/>
                  <a:gd name="connsiteX1" fmla="*/ 94102 w 94102"/>
                  <a:gd name="connsiteY1" fmla="*/ 38108 h 38107"/>
                  <a:gd name="connsiteX2" fmla="*/ 46575 w 94102"/>
                  <a:gd name="connsiteY2" fmla="*/ 0 h 38107"/>
                  <a:gd name="connsiteX3" fmla="*/ 0 w 94102"/>
                  <a:gd name="connsiteY3" fmla="*/ 38108 h 381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4102" h="38107">
                    <a:moveTo>
                      <a:pt x="23889" y="38108"/>
                    </a:moveTo>
                    <a:lnTo>
                      <a:pt x="94102" y="38108"/>
                    </a:lnTo>
                    <a:cubicBezTo>
                      <a:pt x="94102" y="10813"/>
                      <a:pt x="66462" y="0"/>
                      <a:pt x="46575" y="0"/>
                    </a:cubicBezTo>
                    <a:cubicBezTo>
                      <a:pt x="29141" y="0"/>
                      <a:pt x="0" y="10813"/>
                      <a:pt x="0" y="38108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2082" name="Gráfico 15">
              <a:extLst>
                <a:ext uri="{FF2B5EF4-FFF2-40B4-BE49-F238E27FC236}">
                  <a16:creationId xmlns:a16="http://schemas.microsoft.com/office/drawing/2014/main" id="{B5F647B9-5D2B-4BCD-D3DA-85FD10426B94}"/>
                </a:ext>
              </a:extLst>
            </p:cNvPr>
            <p:cNvGrpSpPr/>
            <p:nvPr/>
          </p:nvGrpSpPr>
          <p:grpSpPr>
            <a:xfrm>
              <a:off x="4913223" y="3765051"/>
              <a:ext cx="151644" cy="47027"/>
              <a:chOff x="4913223" y="3765051"/>
              <a:chExt cx="151644" cy="47027"/>
            </a:xfrm>
            <a:noFill/>
          </p:grpSpPr>
          <p:sp>
            <p:nvSpPr>
              <p:cNvPr id="2083" name="Forma livre: Forma 2082">
                <a:extLst>
                  <a:ext uri="{FF2B5EF4-FFF2-40B4-BE49-F238E27FC236}">
                    <a16:creationId xmlns:a16="http://schemas.microsoft.com/office/drawing/2014/main" id="{F4D1BFAF-268B-15D1-1607-EB447F07C872}"/>
                  </a:ext>
                </a:extLst>
              </p:cNvPr>
              <p:cNvSpPr/>
              <p:nvPr/>
            </p:nvSpPr>
            <p:spPr>
              <a:xfrm>
                <a:off x="5034346" y="3765051"/>
                <a:ext cx="30521" cy="1190"/>
              </a:xfrm>
              <a:custGeom>
                <a:avLst/>
                <a:gdLst>
                  <a:gd name="connsiteX0" fmla="*/ 0 w 30521"/>
                  <a:gd name="connsiteY0" fmla="*/ 0 h 1190"/>
                  <a:gd name="connsiteX1" fmla="*/ 30522 w 30521"/>
                  <a:gd name="connsiteY1" fmla="*/ 0 h 11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0521" h="1190">
                    <a:moveTo>
                      <a:pt x="0" y="0"/>
                    </a:moveTo>
                    <a:lnTo>
                      <a:pt x="30522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084" name="Forma livre: Forma 2083">
                <a:extLst>
                  <a:ext uri="{FF2B5EF4-FFF2-40B4-BE49-F238E27FC236}">
                    <a16:creationId xmlns:a16="http://schemas.microsoft.com/office/drawing/2014/main" id="{8D55FE1A-3668-5EBB-9DF9-4DD28395751C}"/>
                  </a:ext>
                </a:extLst>
              </p:cNvPr>
              <p:cNvSpPr/>
              <p:nvPr/>
            </p:nvSpPr>
            <p:spPr>
              <a:xfrm>
                <a:off x="4931360" y="3765051"/>
                <a:ext cx="26818" cy="1190"/>
              </a:xfrm>
              <a:custGeom>
                <a:avLst/>
                <a:gdLst>
                  <a:gd name="connsiteX0" fmla="*/ 0 w 26818"/>
                  <a:gd name="connsiteY0" fmla="*/ 0 h 1190"/>
                  <a:gd name="connsiteX1" fmla="*/ 26818 w 26818"/>
                  <a:gd name="connsiteY1" fmla="*/ 0 h 11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6818" h="1190">
                    <a:moveTo>
                      <a:pt x="0" y="0"/>
                    </a:moveTo>
                    <a:lnTo>
                      <a:pt x="26818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085" name="Forma livre: Forma 2084">
                <a:extLst>
                  <a:ext uri="{FF2B5EF4-FFF2-40B4-BE49-F238E27FC236}">
                    <a16:creationId xmlns:a16="http://schemas.microsoft.com/office/drawing/2014/main" id="{388DDA4F-B2F8-34E2-370D-298248F6E40E}"/>
                  </a:ext>
                </a:extLst>
              </p:cNvPr>
              <p:cNvSpPr/>
              <p:nvPr/>
            </p:nvSpPr>
            <p:spPr>
              <a:xfrm>
                <a:off x="4913223" y="3765051"/>
                <a:ext cx="22900" cy="1190"/>
              </a:xfrm>
              <a:custGeom>
                <a:avLst/>
                <a:gdLst>
                  <a:gd name="connsiteX0" fmla="*/ 0 w 22900"/>
                  <a:gd name="connsiteY0" fmla="*/ 0 h 1190"/>
                  <a:gd name="connsiteX1" fmla="*/ 22900 w 22900"/>
                  <a:gd name="connsiteY1" fmla="*/ 0 h 11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2900" h="1190">
                    <a:moveTo>
                      <a:pt x="0" y="0"/>
                    </a:moveTo>
                    <a:lnTo>
                      <a:pt x="2290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086" name="Forma livre: Forma 2085">
                <a:extLst>
                  <a:ext uri="{FF2B5EF4-FFF2-40B4-BE49-F238E27FC236}">
                    <a16:creationId xmlns:a16="http://schemas.microsoft.com/office/drawing/2014/main" id="{E8073E44-7779-F497-7153-8C003D501426}"/>
                  </a:ext>
                </a:extLst>
              </p:cNvPr>
              <p:cNvSpPr/>
              <p:nvPr/>
            </p:nvSpPr>
            <p:spPr>
              <a:xfrm>
                <a:off x="4972707" y="3765134"/>
                <a:ext cx="46943" cy="46943"/>
              </a:xfrm>
              <a:custGeom>
                <a:avLst/>
                <a:gdLst>
                  <a:gd name="connsiteX0" fmla="*/ 46944 w 46943"/>
                  <a:gd name="connsiteY0" fmla="*/ 23472 h 46943"/>
                  <a:gd name="connsiteX1" fmla="*/ 23472 w 46943"/>
                  <a:gd name="connsiteY1" fmla="*/ 46944 h 46943"/>
                  <a:gd name="connsiteX2" fmla="*/ 0 w 46943"/>
                  <a:gd name="connsiteY2" fmla="*/ 23472 h 46943"/>
                  <a:gd name="connsiteX3" fmla="*/ 23472 w 46943"/>
                  <a:gd name="connsiteY3" fmla="*/ 0 h 46943"/>
                  <a:gd name="connsiteX4" fmla="*/ 46944 w 46943"/>
                  <a:gd name="connsiteY4" fmla="*/ 23472 h 469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6943" h="46943">
                    <a:moveTo>
                      <a:pt x="46944" y="23472"/>
                    </a:moveTo>
                    <a:cubicBezTo>
                      <a:pt x="46944" y="36440"/>
                      <a:pt x="36441" y="46944"/>
                      <a:pt x="23472" y="46944"/>
                    </a:cubicBezTo>
                    <a:cubicBezTo>
                      <a:pt x="10503" y="46944"/>
                      <a:pt x="0" y="36440"/>
                      <a:pt x="0" y="23472"/>
                    </a:cubicBezTo>
                    <a:cubicBezTo>
                      <a:pt x="0" y="10503"/>
                      <a:pt x="10503" y="0"/>
                      <a:pt x="23472" y="0"/>
                    </a:cubicBezTo>
                    <a:cubicBezTo>
                      <a:pt x="36441" y="0"/>
                      <a:pt x="46944" y="10503"/>
                      <a:pt x="46944" y="23472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2087" name="Gráfico 15">
              <a:extLst>
                <a:ext uri="{FF2B5EF4-FFF2-40B4-BE49-F238E27FC236}">
                  <a16:creationId xmlns:a16="http://schemas.microsoft.com/office/drawing/2014/main" id="{0AD66BC3-1E7C-0BF2-AEE4-659E4DC86828}"/>
                </a:ext>
              </a:extLst>
            </p:cNvPr>
            <p:cNvGrpSpPr/>
            <p:nvPr/>
          </p:nvGrpSpPr>
          <p:grpSpPr>
            <a:xfrm>
              <a:off x="5220097" y="3765051"/>
              <a:ext cx="151656" cy="47027"/>
              <a:chOff x="5220097" y="3765051"/>
              <a:chExt cx="151656" cy="47027"/>
            </a:xfrm>
            <a:noFill/>
          </p:grpSpPr>
          <p:sp>
            <p:nvSpPr>
              <p:cNvPr id="2088" name="Forma livre: Forma 2087">
                <a:extLst>
                  <a:ext uri="{FF2B5EF4-FFF2-40B4-BE49-F238E27FC236}">
                    <a16:creationId xmlns:a16="http://schemas.microsoft.com/office/drawing/2014/main" id="{17AB0019-9474-7C3F-325A-0671CCCBCEBB}"/>
                  </a:ext>
                </a:extLst>
              </p:cNvPr>
              <p:cNvSpPr/>
              <p:nvPr/>
            </p:nvSpPr>
            <p:spPr>
              <a:xfrm>
                <a:off x="5220097" y="3765051"/>
                <a:ext cx="30533" cy="1190"/>
              </a:xfrm>
              <a:custGeom>
                <a:avLst/>
                <a:gdLst>
                  <a:gd name="connsiteX0" fmla="*/ 30534 w 30533"/>
                  <a:gd name="connsiteY0" fmla="*/ 0 h 1190"/>
                  <a:gd name="connsiteX1" fmla="*/ 0 w 30533"/>
                  <a:gd name="connsiteY1" fmla="*/ 0 h 11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0533" h="1190">
                    <a:moveTo>
                      <a:pt x="30534" y="0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089" name="Forma livre: Forma 2088">
                <a:extLst>
                  <a:ext uri="{FF2B5EF4-FFF2-40B4-BE49-F238E27FC236}">
                    <a16:creationId xmlns:a16="http://schemas.microsoft.com/office/drawing/2014/main" id="{523A3EB3-F5CF-F8D6-DC32-F0F27DE2606F}"/>
                  </a:ext>
                </a:extLst>
              </p:cNvPr>
              <p:cNvSpPr/>
              <p:nvPr/>
            </p:nvSpPr>
            <p:spPr>
              <a:xfrm>
                <a:off x="5326799" y="3765051"/>
                <a:ext cx="26818" cy="1190"/>
              </a:xfrm>
              <a:custGeom>
                <a:avLst/>
                <a:gdLst>
                  <a:gd name="connsiteX0" fmla="*/ 26818 w 26818"/>
                  <a:gd name="connsiteY0" fmla="*/ 0 h 1190"/>
                  <a:gd name="connsiteX1" fmla="*/ 0 w 26818"/>
                  <a:gd name="connsiteY1" fmla="*/ 0 h 11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6818" h="1190">
                    <a:moveTo>
                      <a:pt x="26818" y="0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090" name="Forma livre: Forma 2089">
                <a:extLst>
                  <a:ext uri="{FF2B5EF4-FFF2-40B4-BE49-F238E27FC236}">
                    <a16:creationId xmlns:a16="http://schemas.microsoft.com/office/drawing/2014/main" id="{E4383513-E7E8-C96A-3A18-B7824D19C0B5}"/>
                  </a:ext>
                </a:extLst>
              </p:cNvPr>
              <p:cNvSpPr/>
              <p:nvPr/>
            </p:nvSpPr>
            <p:spPr>
              <a:xfrm>
                <a:off x="5348853" y="3765051"/>
                <a:ext cx="22900" cy="1190"/>
              </a:xfrm>
              <a:custGeom>
                <a:avLst/>
                <a:gdLst>
                  <a:gd name="connsiteX0" fmla="*/ 22900 w 22900"/>
                  <a:gd name="connsiteY0" fmla="*/ 0 h 1190"/>
                  <a:gd name="connsiteX1" fmla="*/ 0 w 22900"/>
                  <a:gd name="connsiteY1" fmla="*/ 0 h 11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2900" h="1190">
                    <a:moveTo>
                      <a:pt x="22900" y="0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091" name="Forma livre: Forma 2090">
                <a:extLst>
                  <a:ext uri="{FF2B5EF4-FFF2-40B4-BE49-F238E27FC236}">
                    <a16:creationId xmlns:a16="http://schemas.microsoft.com/office/drawing/2014/main" id="{46170A0A-52CF-72D0-37F9-06F9CE414F90}"/>
                  </a:ext>
                </a:extLst>
              </p:cNvPr>
              <p:cNvSpPr/>
              <p:nvPr/>
            </p:nvSpPr>
            <p:spPr>
              <a:xfrm>
                <a:off x="5265314" y="3765134"/>
                <a:ext cx="46943" cy="46943"/>
              </a:xfrm>
              <a:custGeom>
                <a:avLst/>
                <a:gdLst>
                  <a:gd name="connsiteX0" fmla="*/ 0 w 46943"/>
                  <a:gd name="connsiteY0" fmla="*/ 23472 h 46943"/>
                  <a:gd name="connsiteX1" fmla="*/ 23472 w 46943"/>
                  <a:gd name="connsiteY1" fmla="*/ 46944 h 46943"/>
                  <a:gd name="connsiteX2" fmla="*/ 46944 w 46943"/>
                  <a:gd name="connsiteY2" fmla="*/ 23472 h 46943"/>
                  <a:gd name="connsiteX3" fmla="*/ 23472 w 46943"/>
                  <a:gd name="connsiteY3" fmla="*/ 0 h 46943"/>
                  <a:gd name="connsiteX4" fmla="*/ 0 w 46943"/>
                  <a:gd name="connsiteY4" fmla="*/ 23472 h 469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6943" h="46943">
                    <a:moveTo>
                      <a:pt x="0" y="23472"/>
                    </a:moveTo>
                    <a:cubicBezTo>
                      <a:pt x="0" y="36440"/>
                      <a:pt x="10503" y="46944"/>
                      <a:pt x="23472" y="46944"/>
                    </a:cubicBezTo>
                    <a:cubicBezTo>
                      <a:pt x="36440" y="46944"/>
                      <a:pt x="46944" y="36440"/>
                      <a:pt x="46944" y="23472"/>
                    </a:cubicBezTo>
                    <a:cubicBezTo>
                      <a:pt x="46944" y="10503"/>
                      <a:pt x="36440" y="0"/>
                      <a:pt x="23472" y="0"/>
                    </a:cubicBezTo>
                    <a:cubicBezTo>
                      <a:pt x="10503" y="0"/>
                      <a:pt x="0" y="10503"/>
                      <a:pt x="0" y="23472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2092" name="Gráfico 15">
            <a:extLst>
              <a:ext uri="{FF2B5EF4-FFF2-40B4-BE49-F238E27FC236}">
                <a16:creationId xmlns:a16="http://schemas.microsoft.com/office/drawing/2014/main" id="{DAC37B44-FB9F-7C01-010F-24E2276FFF32}"/>
              </a:ext>
            </a:extLst>
          </p:cNvPr>
          <p:cNvGrpSpPr/>
          <p:nvPr/>
        </p:nvGrpSpPr>
        <p:grpSpPr>
          <a:xfrm>
            <a:off x="5566401" y="5779611"/>
            <a:ext cx="396224" cy="209666"/>
            <a:chOff x="5566401" y="5779611"/>
            <a:chExt cx="396224" cy="209666"/>
          </a:xfrm>
          <a:noFill/>
        </p:grpSpPr>
        <p:sp>
          <p:nvSpPr>
            <p:cNvPr id="2093" name="Forma livre: Forma 2092">
              <a:extLst>
                <a:ext uri="{FF2B5EF4-FFF2-40B4-BE49-F238E27FC236}">
                  <a16:creationId xmlns:a16="http://schemas.microsoft.com/office/drawing/2014/main" id="{2F4D20AA-8010-B462-0271-C7DB9681F84C}"/>
                </a:ext>
              </a:extLst>
            </p:cNvPr>
            <p:cNvSpPr/>
            <p:nvPr/>
          </p:nvSpPr>
          <p:spPr>
            <a:xfrm>
              <a:off x="5578214" y="5779611"/>
              <a:ext cx="373812" cy="157172"/>
            </a:xfrm>
            <a:custGeom>
              <a:avLst/>
              <a:gdLst>
                <a:gd name="connsiteX0" fmla="*/ 373669 w 373812"/>
                <a:gd name="connsiteY0" fmla="*/ 157173 h 157172"/>
                <a:gd name="connsiteX1" fmla="*/ 373669 w 373812"/>
                <a:gd name="connsiteY1" fmla="*/ 57057 h 157172"/>
                <a:gd name="connsiteX2" fmla="*/ 319831 w 373812"/>
                <a:gd name="connsiteY2" fmla="*/ 3 h 157172"/>
                <a:gd name="connsiteX3" fmla="*/ 85182 w 373812"/>
                <a:gd name="connsiteY3" fmla="*/ 3 h 157172"/>
                <a:gd name="connsiteX4" fmla="*/ 2739 w 373812"/>
                <a:gd name="connsiteY4" fmla="*/ 75539 h 157172"/>
                <a:gd name="connsiteX5" fmla="*/ 0 w 373812"/>
                <a:gd name="connsiteY5" fmla="*/ 139334 h 1571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73812" h="157172">
                  <a:moveTo>
                    <a:pt x="373669" y="157173"/>
                  </a:moveTo>
                  <a:lnTo>
                    <a:pt x="373669" y="57057"/>
                  </a:lnTo>
                  <a:cubicBezTo>
                    <a:pt x="373669" y="57057"/>
                    <a:pt x="379302" y="3"/>
                    <a:pt x="319831" y="3"/>
                  </a:cubicBezTo>
                  <a:lnTo>
                    <a:pt x="85182" y="3"/>
                  </a:lnTo>
                  <a:cubicBezTo>
                    <a:pt x="85182" y="3"/>
                    <a:pt x="15600" y="-1605"/>
                    <a:pt x="2739" y="75539"/>
                  </a:cubicBezTo>
                  <a:cubicBezTo>
                    <a:pt x="2739" y="75539"/>
                    <a:pt x="0" y="98618"/>
                    <a:pt x="0" y="139334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94" name="Forma livre: Forma 2093">
              <a:extLst>
                <a:ext uri="{FF2B5EF4-FFF2-40B4-BE49-F238E27FC236}">
                  <a16:creationId xmlns:a16="http://schemas.microsoft.com/office/drawing/2014/main" id="{CAA1EDD1-F360-1EDC-945B-9B4B0647C58E}"/>
                </a:ext>
              </a:extLst>
            </p:cNvPr>
            <p:cNvSpPr/>
            <p:nvPr/>
          </p:nvSpPr>
          <p:spPr>
            <a:xfrm>
              <a:off x="5697765" y="5962828"/>
              <a:ext cx="138866" cy="1190"/>
            </a:xfrm>
            <a:custGeom>
              <a:avLst/>
              <a:gdLst>
                <a:gd name="connsiteX0" fmla="*/ 0 w 138866"/>
                <a:gd name="connsiteY0" fmla="*/ 0 h 1190"/>
                <a:gd name="connsiteX1" fmla="*/ 138867 w 138866"/>
                <a:gd name="connsiteY1" fmla="*/ 0 h 11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38866" h="1190">
                  <a:moveTo>
                    <a:pt x="0" y="0"/>
                  </a:moveTo>
                  <a:lnTo>
                    <a:pt x="138867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95" name="Forma livre: Forma 2094">
              <a:extLst>
                <a:ext uri="{FF2B5EF4-FFF2-40B4-BE49-F238E27FC236}">
                  <a16:creationId xmlns:a16="http://schemas.microsoft.com/office/drawing/2014/main" id="{DEDAA113-FBF6-0957-E9E8-E304EEE66AC8}"/>
                </a:ext>
              </a:extLst>
            </p:cNvPr>
            <p:cNvSpPr/>
            <p:nvPr/>
          </p:nvSpPr>
          <p:spPr>
            <a:xfrm>
              <a:off x="5625075" y="5936688"/>
              <a:ext cx="52600" cy="52588"/>
            </a:xfrm>
            <a:custGeom>
              <a:avLst/>
              <a:gdLst>
                <a:gd name="connsiteX0" fmla="*/ 0 w 52600"/>
                <a:gd name="connsiteY0" fmla="*/ 26294 h 52588"/>
                <a:gd name="connsiteX1" fmla="*/ 26306 w 52600"/>
                <a:gd name="connsiteY1" fmla="*/ 52589 h 52588"/>
                <a:gd name="connsiteX2" fmla="*/ 52600 w 52600"/>
                <a:gd name="connsiteY2" fmla="*/ 26294 h 52588"/>
                <a:gd name="connsiteX3" fmla="*/ 26306 w 52600"/>
                <a:gd name="connsiteY3" fmla="*/ 0 h 52588"/>
                <a:gd name="connsiteX4" fmla="*/ 0 w 52600"/>
                <a:gd name="connsiteY4" fmla="*/ 26294 h 525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2600" h="52588">
                  <a:moveTo>
                    <a:pt x="0" y="26294"/>
                  </a:moveTo>
                  <a:cubicBezTo>
                    <a:pt x="0" y="40823"/>
                    <a:pt x="11778" y="52589"/>
                    <a:pt x="26306" y="52589"/>
                  </a:cubicBezTo>
                  <a:cubicBezTo>
                    <a:pt x="40835" y="52589"/>
                    <a:pt x="52600" y="40823"/>
                    <a:pt x="52600" y="26294"/>
                  </a:cubicBezTo>
                  <a:cubicBezTo>
                    <a:pt x="52600" y="11766"/>
                    <a:pt x="40835" y="0"/>
                    <a:pt x="26306" y="0"/>
                  </a:cubicBezTo>
                  <a:cubicBezTo>
                    <a:pt x="11778" y="0"/>
                    <a:pt x="0" y="11790"/>
                    <a:pt x="0" y="26294"/>
                  </a:cubicBez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96" name="Forma livre: Forma 2095">
              <a:extLst>
                <a:ext uri="{FF2B5EF4-FFF2-40B4-BE49-F238E27FC236}">
                  <a16:creationId xmlns:a16="http://schemas.microsoft.com/office/drawing/2014/main" id="{3BF24421-87E5-53DE-37A2-457A40DF77A4}"/>
                </a:ext>
              </a:extLst>
            </p:cNvPr>
            <p:cNvSpPr/>
            <p:nvPr/>
          </p:nvSpPr>
          <p:spPr>
            <a:xfrm>
              <a:off x="5857281" y="5936688"/>
              <a:ext cx="52600" cy="52588"/>
            </a:xfrm>
            <a:custGeom>
              <a:avLst/>
              <a:gdLst>
                <a:gd name="connsiteX0" fmla="*/ 0 w 52600"/>
                <a:gd name="connsiteY0" fmla="*/ 26294 h 52588"/>
                <a:gd name="connsiteX1" fmla="*/ 26306 w 52600"/>
                <a:gd name="connsiteY1" fmla="*/ 52589 h 52588"/>
                <a:gd name="connsiteX2" fmla="*/ 52600 w 52600"/>
                <a:gd name="connsiteY2" fmla="*/ 26294 h 52588"/>
                <a:gd name="connsiteX3" fmla="*/ 26306 w 52600"/>
                <a:gd name="connsiteY3" fmla="*/ 0 h 52588"/>
                <a:gd name="connsiteX4" fmla="*/ 0 w 52600"/>
                <a:gd name="connsiteY4" fmla="*/ 26294 h 525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2600" h="52588">
                  <a:moveTo>
                    <a:pt x="0" y="26294"/>
                  </a:moveTo>
                  <a:cubicBezTo>
                    <a:pt x="0" y="40823"/>
                    <a:pt x="11766" y="52589"/>
                    <a:pt x="26306" y="52589"/>
                  </a:cubicBezTo>
                  <a:cubicBezTo>
                    <a:pt x="40847" y="52589"/>
                    <a:pt x="52600" y="40823"/>
                    <a:pt x="52600" y="26294"/>
                  </a:cubicBezTo>
                  <a:cubicBezTo>
                    <a:pt x="52600" y="11766"/>
                    <a:pt x="40823" y="0"/>
                    <a:pt x="26306" y="0"/>
                  </a:cubicBezTo>
                  <a:cubicBezTo>
                    <a:pt x="11790" y="0"/>
                    <a:pt x="0" y="11790"/>
                    <a:pt x="0" y="26294"/>
                  </a:cubicBez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97" name="Forma livre: Forma 2096">
              <a:extLst>
                <a:ext uri="{FF2B5EF4-FFF2-40B4-BE49-F238E27FC236}">
                  <a16:creationId xmlns:a16="http://schemas.microsoft.com/office/drawing/2014/main" id="{9638D187-5127-7E1A-51D9-BA360BDB6FDE}"/>
                </a:ext>
              </a:extLst>
            </p:cNvPr>
            <p:cNvSpPr/>
            <p:nvPr/>
          </p:nvSpPr>
          <p:spPr>
            <a:xfrm>
              <a:off x="5693442" y="5806777"/>
              <a:ext cx="1190" cy="47539"/>
            </a:xfrm>
            <a:custGeom>
              <a:avLst/>
              <a:gdLst>
                <a:gd name="connsiteX0" fmla="*/ 0 w 1190"/>
                <a:gd name="connsiteY0" fmla="*/ 47539 h 47539"/>
                <a:gd name="connsiteX1" fmla="*/ 0 w 1190"/>
                <a:gd name="connsiteY1" fmla="*/ 0 h 475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90" h="47539">
                  <a:moveTo>
                    <a:pt x="0" y="47539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98" name="Forma livre: Forma 2097">
              <a:extLst>
                <a:ext uri="{FF2B5EF4-FFF2-40B4-BE49-F238E27FC236}">
                  <a16:creationId xmlns:a16="http://schemas.microsoft.com/office/drawing/2014/main" id="{CFA8B593-7724-34C7-CB8E-A59F2E406173}"/>
                </a:ext>
              </a:extLst>
            </p:cNvPr>
            <p:cNvSpPr/>
            <p:nvPr/>
          </p:nvSpPr>
          <p:spPr>
            <a:xfrm>
              <a:off x="5749115" y="5806777"/>
              <a:ext cx="1190" cy="47539"/>
            </a:xfrm>
            <a:custGeom>
              <a:avLst/>
              <a:gdLst>
                <a:gd name="connsiteX0" fmla="*/ 0 w 1190"/>
                <a:gd name="connsiteY0" fmla="*/ 47539 h 47539"/>
                <a:gd name="connsiteX1" fmla="*/ 0 w 1190"/>
                <a:gd name="connsiteY1" fmla="*/ 0 h 475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90" h="47539">
                  <a:moveTo>
                    <a:pt x="0" y="47539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99" name="Forma livre: Forma 2098">
              <a:extLst>
                <a:ext uri="{FF2B5EF4-FFF2-40B4-BE49-F238E27FC236}">
                  <a16:creationId xmlns:a16="http://schemas.microsoft.com/office/drawing/2014/main" id="{142136B8-5298-E1DF-7406-68EAAA257EBA}"/>
                </a:ext>
              </a:extLst>
            </p:cNvPr>
            <p:cNvSpPr/>
            <p:nvPr/>
          </p:nvSpPr>
          <p:spPr>
            <a:xfrm>
              <a:off x="5804788" y="5806777"/>
              <a:ext cx="1190" cy="47539"/>
            </a:xfrm>
            <a:custGeom>
              <a:avLst/>
              <a:gdLst>
                <a:gd name="connsiteX0" fmla="*/ 0 w 1190"/>
                <a:gd name="connsiteY0" fmla="*/ 47539 h 47539"/>
                <a:gd name="connsiteX1" fmla="*/ 0 w 1190"/>
                <a:gd name="connsiteY1" fmla="*/ 0 h 475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90" h="47539">
                  <a:moveTo>
                    <a:pt x="0" y="47539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00" name="Forma livre: Forma 2099">
              <a:extLst>
                <a:ext uri="{FF2B5EF4-FFF2-40B4-BE49-F238E27FC236}">
                  <a16:creationId xmlns:a16="http://schemas.microsoft.com/office/drawing/2014/main" id="{A3CC73EC-59B2-02E3-D521-64EDA273F531}"/>
                </a:ext>
              </a:extLst>
            </p:cNvPr>
            <p:cNvSpPr/>
            <p:nvPr/>
          </p:nvSpPr>
          <p:spPr>
            <a:xfrm>
              <a:off x="5578702" y="5805848"/>
              <a:ext cx="332239" cy="91577"/>
            </a:xfrm>
            <a:custGeom>
              <a:avLst/>
              <a:gdLst>
                <a:gd name="connsiteX0" fmla="*/ 29355 w 332239"/>
                <a:gd name="connsiteY0" fmla="*/ 0 h 91577"/>
                <a:gd name="connsiteX1" fmla="*/ 312566 w 332239"/>
                <a:gd name="connsiteY1" fmla="*/ 0 h 91577"/>
                <a:gd name="connsiteX2" fmla="*/ 332239 w 332239"/>
                <a:gd name="connsiteY2" fmla="*/ 26961 h 91577"/>
                <a:gd name="connsiteX3" fmla="*/ 332239 w 332239"/>
                <a:gd name="connsiteY3" fmla="*/ 49540 h 91577"/>
                <a:gd name="connsiteX4" fmla="*/ 72464 w 332239"/>
                <a:gd name="connsiteY4" fmla="*/ 49540 h 91577"/>
                <a:gd name="connsiteX5" fmla="*/ 0 w 332239"/>
                <a:gd name="connsiteY5" fmla="*/ 91578 h 915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32239" h="91577">
                  <a:moveTo>
                    <a:pt x="29355" y="0"/>
                  </a:moveTo>
                  <a:lnTo>
                    <a:pt x="312566" y="0"/>
                  </a:lnTo>
                  <a:cubicBezTo>
                    <a:pt x="312566" y="0"/>
                    <a:pt x="332239" y="-226"/>
                    <a:pt x="332239" y="26961"/>
                  </a:cubicBezTo>
                  <a:lnTo>
                    <a:pt x="332239" y="49540"/>
                  </a:lnTo>
                  <a:lnTo>
                    <a:pt x="72464" y="49540"/>
                  </a:lnTo>
                  <a:cubicBezTo>
                    <a:pt x="72464" y="49540"/>
                    <a:pt x="21519" y="52196"/>
                    <a:pt x="0" y="91578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01" name="Forma livre: Forma 2100">
              <a:extLst>
                <a:ext uri="{FF2B5EF4-FFF2-40B4-BE49-F238E27FC236}">
                  <a16:creationId xmlns:a16="http://schemas.microsoft.com/office/drawing/2014/main" id="{9E79FB01-5252-A2F1-CE33-F2EFA31D67F5}"/>
                </a:ext>
              </a:extLst>
            </p:cNvPr>
            <p:cNvSpPr/>
            <p:nvPr/>
          </p:nvSpPr>
          <p:spPr>
            <a:xfrm>
              <a:off x="5912144" y="5938236"/>
              <a:ext cx="50480" cy="24722"/>
            </a:xfrm>
            <a:custGeom>
              <a:avLst/>
              <a:gdLst>
                <a:gd name="connsiteX0" fmla="*/ 20352 w 50480"/>
                <a:gd name="connsiteY0" fmla="*/ 0 h 24722"/>
                <a:gd name="connsiteX1" fmla="*/ 38429 w 50480"/>
                <a:gd name="connsiteY1" fmla="*/ 0 h 24722"/>
                <a:gd name="connsiteX2" fmla="*/ 50481 w 50480"/>
                <a:gd name="connsiteY2" fmla="*/ 12361 h 24722"/>
                <a:gd name="connsiteX3" fmla="*/ 38429 w 50480"/>
                <a:gd name="connsiteY3" fmla="*/ 24722 h 24722"/>
                <a:gd name="connsiteX4" fmla="*/ 0 w 50480"/>
                <a:gd name="connsiteY4" fmla="*/ 24722 h 247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480" h="24722">
                  <a:moveTo>
                    <a:pt x="20352" y="0"/>
                  </a:moveTo>
                  <a:lnTo>
                    <a:pt x="38429" y="0"/>
                  </a:lnTo>
                  <a:cubicBezTo>
                    <a:pt x="45062" y="0"/>
                    <a:pt x="50481" y="5561"/>
                    <a:pt x="50481" y="12361"/>
                  </a:cubicBezTo>
                  <a:cubicBezTo>
                    <a:pt x="50481" y="19161"/>
                    <a:pt x="45062" y="24722"/>
                    <a:pt x="38429" y="24722"/>
                  </a:cubicBezTo>
                  <a:lnTo>
                    <a:pt x="0" y="24722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02" name="Forma livre: Forma 2101">
              <a:extLst>
                <a:ext uri="{FF2B5EF4-FFF2-40B4-BE49-F238E27FC236}">
                  <a16:creationId xmlns:a16="http://schemas.microsoft.com/office/drawing/2014/main" id="{21B66597-2F16-E1F3-48E5-D51FCB5C3444}"/>
                </a:ext>
              </a:extLst>
            </p:cNvPr>
            <p:cNvSpPr/>
            <p:nvPr/>
          </p:nvSpPr>
          <p:spPr>
            <a:xfrm>
              <a:off x="5566401" y="5938224"/>
              <a:ext cx="58673" cy="24722"/>
            </a:xfrm>
            <a:custGeom>
              <a:avLst/>
              <a:gdLst>
                <a:gd name="connsiteX0" fmla="*/ 58674 w 58673"/>
                <a:gd name="connsiteY0" fmla="*/ 24722 h 24722"/>
                <a:gd name="connsiteX1" fmla="*/ 12052 w 58673"/>
                <a:gd name="connsiteY1" fmla="*/ 24722 h 24722"/>
                <a:gd name="connsiteX2" fmla="*/ 0 w 58673"/>
                <a:gd name="connsiteY2" fmla="*/ 12361 h 24722"/>
                <a:gd name="connsiteX3" fmla="*/ 12052 w 58673"/>
                <a:gd name="connsiteY3" fmla="*/ 0 h 24722"/>
                <a:gd name="connsiteX4" fmla="*/ 30141 w 58673"/>
                <a:gd name="connsiteY4" fmla="*/ 0 h 247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8673" h="24722">
                  <a:moveTo>
                    <a:pt x="58674" y="24722"/>
                  </a:moveTo>
                  <a:lnTo>
                    <a:pt x="12052" y="24722"/>
                  </a:lnTo>
                  <a:cubicBezTo>
                    <a:pt x="5430" y="24722"/>
                    <a:pt x="0" y="19161"/>
                    <a:pt x="0" y="12361"/>
                  </a:cubicBezTo>
                  <a:cubicBezTo>
                    <a:pt x="0" y="5561"/>
                    <a:pt x="5418" y="0"/>
                    <a:pt x="12052" y="0"/>
                  </a:cubicBezTo>
                  <a:lnTo>
                    <a:pt x="30141" y="0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03" name="Forma livre: Forma 2102">
              <a:extLst>
                <a:ext uri="{FF2B5EF4-FFF2-40B4-BE49-F238E27FC236}">
                  <a16:creationId xmlns:a16="http://schemas.microsoft.com/office/drawing/2014/main" id="{15D6D474-BE82-2970-446C-A60DF13BE16F}"/>
                </a:ext>
              </a:extLst>
            </p:cNvPr>
            <p:cNvSpPr/>
            <p:nvPr/>
          </p:nvSpPr>
          <p:spPr>
            <a:xfrm>
              <a:off x="5860461" y="5806777"/>
              <a:ext cx="1190" cy="47539"/>
            </a:xfrm>
            <a:custGeom>
              <a:avLst/>
              <a:gdLst>
                <a:gd name="connsiteX0" fmla="*/ 0 w 1190"/>
                <a:gd name="connsiteY0" fmla="*/ 47539 h 47539"/>
                <a:gd name="connsiteX1" fmla="*/ 0 w 1190"/>
                <a:gd name="connsiteY1" fmla="*/ 0 h 475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90" h="47539">
                  <a:moveTo>
                    <a:pt x="0" y="47539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2104" name="Gráfico 15">
            <a:extLst>
              <a:ext uri="{FF2B5EF4-FFF2-40B4-BE49-F238E27FC236}">
                <a16:creationId xmlns:a16="http://schemas.microsoft.com/office/drawing/2014/main" id="{C40C44E8-AE24-E74A-4BEF-DA69A12B3CD2}"/>
              </a:ext>
            </a:extLst>
          </p:cNvPr>
          <p:cNvGrpSpPr/>
          <p:nvPr/>
        </p:nvGrpSpPr>
        <p:grpSpPr>
          <a:xfrm>
            <a:off x="4326246" y="5772670"/>
            <a:ext cx="388436" cy="223537"/>
            <a:chOff x="4326246" y="5772670"/>
            <a:chExt cx="388436" cy="223537"/>
          </a:xfrm>
          <a:noFill/>
        </p:grpSpPr>
        <p:grpSp>
          <p:nvGrpSpPr>
            <p:cNvPr id="2105" name="Gráfico 15">
              <a:extLst>
                <a:ext uri="{FF2B5EF4-FFF2-40B4-BE49-F238E27FC236}">
                  <a16:creationId xmlns:a16="http://schemas.microsoft.com/office/drawing/2014/main" id="{274276E2-167B-00D7-A743-C1CC0E6AFEE0}"/>
                </a:ext>
              </a:extLst>
            </p:cNvPr>
            <p:cNvGrpSpPr/>
            <p:nvPr/>
          </p:nvGrpSpPr>
          <p:grpSpPr>
            <a:xfrm>
              <a:off x="4326246" y="5772670"/>
              <a:ext cx="388436" cy="223537"/>
              <a:chOff x="4326246" y="5772670"/>
              <a:chExt cx="388436" cy="223537"/>
            </a:xfrm>
            <a:noFill/>
          </p:grpSpPr>
          <p:sp>
            <p:nvSpPr>
              <p:cNvPr id="2106" name="Forma livre: Forma 2105">
                <a:extLst>
                  <a:ext uri="{FF2B5EF4-FFF2-40B4-BE49-F238E27FC236}">
                    <a16:creationId xmlns:a16="http://schemas.microsoft.com/office/drawing/2014/main" id="{416C55B6-E9A3-0B63-15CF-0D389A68AC75}"/>
                  </a:ext>
                </a:extLst>
              </p:cNvPr>
              <p:cNvSpPr/>
              <p:nvPr/>
            </p:nvSpPr>
            <p:spPr>
              <a:xfrm>
                <a:off x="4584271" y="5861949"/>
                <a:ext cx="96293" cy="60484"/>
              </a:xfrm>
              <a:custGeom>
                <a:avLst/>
                <a:gdLst>
                  <a:gd name="connsiteX0" fmla="*/ 0 w 96293"/>
                  <a:gd name="connsiteY0" fmla="*/ 0 h 60484"/>
                  <a:gd name="connsiteX1" fmla="*/ 12599 w 96293"/>
                  <a:gd name="connsiteY1" fmla="*/ 39644 h 60484"/>
                  <a:gd name="connsiteX2" fmla="*/ 34630 w 96293"/>
                  <a:gd name="connsiteY2" fmla="*/ 60484 h 60484"/>
                  <a:gd name="connsiteX3" fmla="*/ 96293 w 96293"/>
                  <a:gd name="connsiteY3" fmla="*/ 60484 h 604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6293" h="60484">
                    <a:moveTo>
                      <a:pt x="0" y="0"/>
                    </a:moveTo>
                    <a:lnTo>
                      <a:pt x="12599" y="39644"/>
                    </a:lnTo>
                    <a:cubicBezTo>
                      <a:pt x="12599" y="39644"/>
                      <a:pt x="18744" y="60484"/>
                      <a:pt x="34630" y="60484"/>
                    </a:cubicBezTo>
                    <a:lnTo>
                      <a:pt x="96293" y="60484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107" name="Forma livre: Forma 2106">
                <a:extLst>
                  <a:ext uri="{FF2B5EF4-FFF2-40B4-BE49-F238E27FC236}">
                    <a16:creationId xmlns:a16="http://schemas.microsoft.com/office/drawing/2014/main" id="{36F1C8B6-02F4-299F-D645-19AA3E69B7DF}"/>
                  </a:ext>
                </a:extLst>
              </p:cNvPr>
              <p:cNvSpPr/>
              <p:nvPr/>
            </p:nvSpPr>
            <p:spPr>
              <a:xfrm>
                <a:off x="4326246" y="5824985"/>
                <a:ext cx="71963" cy="78311"/>
              </a:xfrm>
              <a:custGeom>
                <a:avLst/>
                <a:gdLst>
                  <a:gd name="connsiteX0" fmla="*/ 61282 w 71963"/>
                  <a:gd name="connsiteY0" fmla="*/ 71476 h 78311"/>
                  <a:gd name="connsiteX1" fmla="*/ 39168 w 71963"/>
                  <a:gd name="connsiteY1" fmla="*/ 78311 h 78311"/>
                  <a:gd name="connsiteX2" fmla="*/ 0 w 71963"/>
                  <a:gd name="connsiteY2" fmla="*/ 39156 h 78311"/>
                  <a:gd name="connsiteX3" fmla="*/ 39168 w 71963"/>
                  <a:gd name="connsiteY3" fmla="*/ 0 h 78311"/>
                  <a:gd name="connsiteX4" fmla="*/ 71964 w 71963"/>
                  <a:gd name="connsiteY4" fmla="*/ 17756 h 783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1963" h="78311">
                    <a:moveTo>
                      <a:pt x="61282" y="71476"/>
                    </a:moveTo>
                    <a:cubicBezTo>
                      <a:pt x="54982" y="75787"/>
                      <a:pt x="47361" y="78311"/>
                      <a:pt x="39168" y="78311"/>
                    </a:cubicBezTo>
                    <a:cubicBezTo>
                      <a:pt x="17541" y="78311"/>
                      <a:pt x="0" y="60782"/>
                      <a:pt x="0" y="39156"/>
                    </a:cubicBezTo>
                    <a:cubicBezTo>
                      <a:pt x="0" y="17529"/>
                      <a:pt x="17541" y="0"/>
                      <a:pt x="39168" y="0"/>
                    </a:cubicBezTo>
                    <a:cubicBezTo>
                      <a:pt x="52898" y="0"/>
                      <a:pt x="64985" y="7062"/>
                      <a:pt x="71964" y="17756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108" name="Forma livre: Forma 2107">
                <a:extLst>
                  <a:ext uri="{FF2B5EF4-FFF2-40B4-BE49-F238E27FC236}">
                    <a16:creationId xmlns:a16="http://schemas.microsoft.com/office/drawing/2014/main" id="{B798E890-ACB9-EBB0-D4FB-D26227105BD0}"/>
                  </a:ext>
                </a:extLst>
              </p:cNvPr>
              <p:cNvSpPr/>
              <p:nvPr/>
            </p:nvSpPr>
            <p:spPr>
              <a:xfrm>
                <a:off x="4364794" y="5826151"/>
                <a:ext cx="318863" cy="140106"/>
              </a:xfrm>
              <a:custGeom>
                <a:avLst/>
                <a:gdLst>
                  <a:gd name="connsiteX0" fmla="*/ 312459 w 318863"/>
                  <a:gd name="connsiteY0" fmla="*/ 78265 h 140106"/>
                  <a:gd name="connsiteX1" fmla="*/ 210795 w 318863"/>
                  <a:gd name="connsiteY1" fmla="*/ 5813 h 140106"/>
                  <a:gd name="connsiteX2" fmla="*/ 177236 w 318863"/>
                  <a:gd name="connsiteY2" fmla="*/ 775 h 140106"/>
                  <a:gd name="connsiteX3" fmla="*/ 110989 w 318863"/>
                  <a:gd name="connsiteY3" fmla="*/ 37644 h 140106"/>
                  <a:gd name="connsiteX4" fmla="*/ 0 w 318863"/>
                  <a:gd name="connsiteY4" fmla="*/ 37644 h 140106"/>
                  <a:gd name="connsiteX5" fmla="*/ 108881 w 318863"/>
                  <a:gd name="connsiteY5" fmla="*/ 86363 h 140106"/>
                  <a:gd name="connsiteX6" fmla="*/ 178022 w 318863"/>
                  <a:gd name="connsiteY6" fmla="*/ 140106 h 140106"/>
                  <a:gd name="connsiteX7" fmla="*/ 272017 w 318863"/>
                  <a:gd name="connsiteY7" fmla="*/ 140106 h 140106"/>
                  <a:gd name="connsiteX8" fmla="*/ 312459 w 318863"/>
                  <a:gd name="connsiteY8" fmla="*/ 78265 h 1401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18863" h="140106">
                    <a:moveTo>
                      <a:pt x="312459" y="78265"/>
                    </a:moveTo>
                    <a:cubicBezTo>
                      <a:pt x="295406" y="44254"/>
                      <a:pt x="249653" y="11648"/>
                      <a:pt x="210795" y="5813"/>
                    </a:cubicBezTo>
                    <a:lnTo>
                      <a:pt x="177236" y="775"/>
                    </a:lnTo>
                    <a:cubicBezTo>
                      <a:pt x="147012" y="-3762"/>
                      <a:pt x="121028" y="12017"/>
                      <a:pt x="110989" y="37644"/>
                    </a:cubicBezTo>
                    <a:lnTo>
                      <a:pt x="0" y="37644"/>
                    </a:lnTo>
                    <a:lnTo>
                      <a:pt x="108881" y="86363"/>
                    </a:lnTo>
                    <a:cubicBezTo>
                      <a:pt x="116836" y="117123"/>
                      <a:pt x="144869" y="140106"/>
                      <a:pt x="178022" y="140106"/>
                    </a:cubicBezTo>
                    <a:lnTo>
                      <a:pt x="272017" y="140106"/>
                    </a:lnTo>
                    <a:cubicBezTo>
                      <a:pt x="311316" y="140106"/>
                      <a:pt x="329512" y="112276"/>
                      <a:pt x="312459" y="78265"/>
                    </a:cubicBezTo>
                    <a:close/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109" name="Forma livre: Forma 2108">
                <a:extLst>
                  <a:ext uri="{FF2B5EF4-FFF2-40B4-BE49-F238E27FC236}">
                    <a16:creationId xmlns:a16="http://schemas.microsoft.com/office/drawing/2014/main" id="{3892E06A-1073-4521-DC61-0E144147A777}"/>
                  </a:ext>
                </a:extLst>
              </p:cNvPr>
              <p:cNvSpPr/>
              <p:nvPr/>
            </p:nvSpPr>
            <p:spPr>
              <a:xfrm>
                <a:off x="4494563" y="5982751"/>
                <a:ext cx="200815" cy="13456"/>
              </a:xfrm>
              <a:custGeom>
                <a:avLst/>
                <a:gdLst>
                  <a:gd name="connsiteX0" fmla="*/ 0 w 200815"/>
                  <a:gd name="connsiteY0" fmla="*/ 13457 h 13456"/>
                  <a:gd name="connsiteX1" fmla="*/ 170377 w 200815"/>
                  <a:gd name="connsiteY1" fmla="*/ 13457 h 13456"/>
                  <a:gd name="connsiteX2" fmla="*/ 200816 w 200815"/>
                  <a:gd name="connsiteY2" fmla="*/ 0 h 134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00815" h="13456">
                    <a:moveTo>
                      <a:pt x="0" y="13457"/>
                    </a:moveTo>
                    <a:lnTo>
                      <a:pt x="170377" y="13457"/>
                    </a:lnTo>
                    <a:cubicBezTo>
                      <a:pt x="188728" y="13457"/>
                      <a:pt x="200816" y="0"/>
                      <a:pt x="200816" y="0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110" name="Forma livre: Forma 2109">
                <a:extLst>
                  <a:ext uri="{FF2B5EF4-FFF2-40B4-BE49-F238E27FC236}">
                    <a16:creationId xmlns:a16="http://schemas.microsoft.com/office/drawing/2014/main" id="{B5EC6F37-360A-A72C-CB1E-C19D0E7F7DDE}"/>
                  </a:ext>
                </a:extLst>
              </p:cNvPr>
              <p:cNvSpPr/>
              <p:nvPr/>
            </p:nvSpPr>
            <p:spPr>
              <a:xfrm>
                <a:off x="4554975" y="5772670"/>
                <a:ext cx="1190" cy="54946"/>
              </a:xfrm>
              <a:custGeom>
                <a:avLst/>
                <a:gdLst>
                  <a:gd name="connsiteX0" fmla="*/ 0 w 1190"/>
                  <a:gd name="connsiteY0" fmla="*/ 54947 h 54946"/>
                  <a:gd name="connsiteX1" fmla="*/ 0 w 1190"/>
                  <a:gd name="connsiteY1" fmla="*/ 0 h 549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0" h="54946">
                    <a:moveTo>
                      <a:pt x="0" y="54947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2111" name="Gráfico 15">
                <a:extLst>
                  <a:ext uri="{FF2B5EF4-FFF2-40B4-BE49-F238E27FC236}">
                    <a16:creationId xmlns:a16="http://schemas.microsoft.com/office/drawing/2014/main" id="{AEEE1134-EA10-8DD0-FF50-AEECD1F1F21E}"/>
                  </a:ext>
                </a:extLst>
              </p:cNvPr>
              <p:cNvGrpSpPr/>
              <p:nvPr/>
            </p:nvGrpSpPr>
            <p:grpSpPr>
              <a:xfrm>
                <a:off x="4395268" y="5790986"/>
                <a:ext cx="319413" cy="1190"/>
                <a:chOff x="4395268" y="5790986"/>
                <a:chExt cx="319413" cy="1190"/>
              </a:xfrm>
            </p:grpSpPr>
            <p:sp>
              <p:nvSpPr>
                <p:cNvPr id="2112" name="Forma livre: Forma 2111">
                  <a:extLst>
                    <a:ext uri="{FF2B5EF4-FFF2-40B4-BE49-F238E27FC236}">
                      <a16:creationId xmlns:a16="http://schemas.microsoft.com/office/drawing/2014/main" id="{8B419F50-D0E0-91F9-B695-097C111918F6}"/>
                    </a:ext>
                  </a:extLst>
                </p:cNvPr>
                <p:cNvSpPr/>
                <p:nvPr/>
              </p:nvSpPr>
              <p:spPr>
                <a:xfrm>
                  <a:off x="4395268" y="5790986"/>
                  <a:ext cx="134377" cy="1190"/>
                </a:xfrm>
                <a:custGeom>
                  <a:avLst/>
                  <a:gdLst>
                    <a:gd name="connsiteX0" fmla="*/ 0 w 134377"/>
                    <a:gd name="connsiteY0" fmla="*/ 0 h 1190"/>
                    <a:gd name="connsiteX1" fmla="*/ 134377 w 134377"/>
                    <a:gd name="connsiteY1" fmla="*/ 0 h 11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34377" h="1190">
                      <a:moveTo>
                        <a:pt x="0" y="0"/>
                      </a:moveTo>
                      <a:lnTo>
                        <a:pt x="134377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113" name="Forma livre: Forma 2112">
                  <a:extLst>
                    <a:ext uri="{FF2B5EF4-FFF2-40B4-BE49-F238E27FC236}">
                      <a16:creationId xmlns:a16="http://schemas.microsoft.com/office/drawing/2014/main" id="{E4870B94-DD08-5C97-1D97-794BD7D8FCCC}"/>
                    </a:ext>
                  </a:extLst>
                </p:cNvPr>
                <p:cNvSpPr/>
                <p:nvPr/>
              </p:nvSpPr>
              <p:spPr>
                <a:xfrm>
                  <a:off x="4580293" y="5790986"/>
                  <a:ext cx="134389" cy="1190"/>
                </a:xfrm>
                <a:custGeom>
                  <a:avLst/>
                  <a:gdLst>
                    <a:gd name="connsiteX0" fmla="*/ 0 w 134389"/>
                    <a:gd name="connsiteY0" fmla="*/ 0 h 1190"/>
                    <a:gd name="connsiteX1" fmla="*/ 134389 w 134389"/>
                    <a:gd name="connsiteY1" fmla="*/ 0 h 11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34389" h="1190">
                      <a:moveTo>
                        <a:pt x="0" y="0"/>
                      </a:moveTo>
                      <a:lnTo>
                        <a:pt x="134389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sp>
          <p:nvSpPr>
            <p:cNvPr id="2114" name="Forma livre: Forma 2113">
              <a:extLst>
                <a:ext uri="{FF2B5EF4-FFF2-40B4-BE49-F238E27FC236}">
                  <a16:creationId xmlns:a16="http://schemas.microsoft.com/office/drawing/2014/main" id="{A6ED478E-9A00-1E79-D530-6258A6D3E012}"/>
                </a:ext>
              </a:extLst>
            </p:cNvPr>
            <p:cNvSpPr/>
            <p:nvPr/>
          </p:nvSpPr>
          <p:spPr>
            <a:xfrm>
              <a:off x="4548116" y="5968591"/>
              <a:ext cx="7943" cy="23817"/>
            </a:xfrm>
            <a:custGeom>
              <a:avLst/>
              <a:gdLst>
                <a:gd name="connsiteX0" fmla="*/ 0 w 7943"/>
                <a:gd name="connsiteY0" fmla="*/ 0 h 23817"/>
                <a:gd name="connsiteX1" fmla="*/ 7943 w 7943"/>
                <a:gd name="connsiteY1" fmla="*/ 23817 h 238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943" h="23817">
                  <a:moveTo>
                    <a:pt x="0" y="0"/>
                  </a:moveTo>
                  <a:lnTo>
                    <a:pt x="7943" y="23817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15" name="Forma livre: Forma 2114">
              <a:extLst>
                <a:ext uri="{FF2B5EF4-FFF2-40B4-BE49-F238E27FC236}">
                  <a16:creationId xmlns:a16="http://schemas.microsoft.com/office/drawing/2014/main" id="{5302C352-0623-DD95-FBC0-A9CA07CA1336}"/>
                </a:ext>
              </a:extLst>
            </p:cNvPr>
            <p:cNvSpPr/>
            <p:nvPr/>
          </p:nvSpPr>
          <p:spPr>
            <a:xfrm>
              <a:off x="4625915" y="5968591"/>
              <a:ext cx="7943" cy="23817"/>
            </a:xfrm>
            <a:custGeom>
              <a:avLst/>
              <a:gdLst>
                <a:gd name="connsiteX0" fmla="*/ 0 w 7943"/>
                <a:gd name="connsiteY0" fmla="*/ 0 h 23817"/>
                <a:gd name="connsiteX1" fmla="*/ 7943 w 7943"/>
                <a:gd name="connsiteY1" fmla="*/ 23817 h 238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943" h="23817">
                  <a:moveTo>
                    <a:pt x="0" y="0"/>
                  </a:moveTo>
                  <a:lnTo>
                    <a:pt x="7943" y="23817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2116" name="Gráfico 15">
            <a:extLst>
              <a:ext uri="{FF2B5EF4-FFF2-40B4-BE49-F238E27FC236}">
                <a16:creationId xmlns:a16="http://schemas.microsoft.com/office/drawing/2014/main" id="{AC6A50DC-A7B0-5077-771C-61646204CEE5}"/>
              </a:ext>
            </a:extLst>
          </p:cNvPr>
          <p:cNvGrpSpPr/>
          <p:nvPr/>
        </p:nvGrpSpPr>
        <p:grpSpPr>
          <a:xfrm>
            <a:off x="4957964" y="5777053"/>
            <a:ext cx="369037" cy="214772"/>
            <a:chOff x="4957964" y="5777053"/>
            <a:chExt cx="369037" cy="214772"/>
          </a:xfrm>
          <a:noFill/>
        </p:grpSpPr>
        <p:sp>
          <p:nvSpPr>
            <p:cNvPr id="2117" name="Forma livre: Forma 2116">
              <a:extLst>
                <a:ext uri="{FF2B5EF4-FFF2-40B4-BE49-F238E27FC236}">
                  <a16:creationId xmlns:a16="http://schemas.microsoft.com/office/drawing/2014/main" id="{DBC3ED0A-43B4-DA51-64FE-4DB916CFD986}"/>
                </a:ext>
              </a:extLst>
            </p:cNvPr>
            <p:cNvSpPr/>
            <p:nvPr/>
          </p:nvSpPr>
          <p:spPr>
            <a:xfrm>
              <a:off x="5025367" y="5777053"/>
              <a:ext cx="301634" cy="179558"/>
            </a:xfrm>
            <a:custGeom>
              <a:avLst/>
              <a:gdLst>
                <a:gd name="connsiteX0" fmla="*/ 0 w 301634"/>
                <a:gd name="connsiteY0" fmla="*/ 65367 h 179558"/>
                <a:gd name="connsiteX1" fmla="*/ 147941 w 301634"/>
                <a:gd name="connsiteY1" fmla="*/ 0 h 179558"/>
                <a:gd name="connsiteX2" fmla="*/ 301634 w 301634"/>
                <a:gd name="connsiteY2" fmla="*/ 89779 h 179558"/>
                <a:gd name="connsiteX3" fmla="*/ 147941 w 301634"/>
                <a:gd name="connsiteY3" fmla="*/ 179559 h 1795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01634" h="179558">
                  <a:moveTo>
                    <a:pt x="0" y="65367"/>
                  </a:moveTo>
                  <a:cubicBezTo>
                    <a:pt x="18208" y="27640"/>
                    <a:pt x="77549" y="0"/>
                    <a:pt x="147941" y="0"/>
                  </a:cubicBezTo>
                  <a:cubicBezTo>
                    <a:pt x="232826" y="0"/>
                    <a:pt x="301634" y="40192"/>
                    <a:pt x="301634" y="89779"/>
                  </a:cubicBezTo>
                  <a:cubicBezTo>
                    <a:pt x="301634" y="139367"/>
                    <a:pt x="232814" y="179559"/>
                    <a:pt x="147941" y="179559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18" name="Forma livre: Forma 2117">
              <a:extLst>
                <a:ext uri="{FF2B5EF4-FFF2-40B4-BE49-F238E27FC236}">
                  <a16:creationId xmlns:a16="http://schemas.microsoft.com/office/drawing/2014/main" id="{CBA56DD3-97F8-1BB3-B235-732769AE2B34}"/>
                </a:ext>
              </a:extLst>
            </p:cNvPr>
            <p:cNvSpPr/>
            <p:nvPr/>
          </p:nvSpPr>
          <p:spPr>
            <a:xfrm>
              <a:off x="5189539" y="5807741"/>
              <a:ext cx="76108" cy="20887"/>
            </a:xfrm>
            <a:custGeom>
              <a:avLst/>
              <a:gdLst>
                <a:gd name="connsiteX0" fmla="*/ 76108 w 76108"/>
                <a:gd name="connsiteY0" fmla="*/ 20888 h 20887"/>
                <a:gd name="connsiteX1" fmla="*/ 0 w 76108"/>
                <a:gd name="connsiteY1" fmla="*/ 0 h 208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6108" h="20887">
                  <a:moveTo>
                    <a:pt x="76108" y="20888"/>
                  </a:moveTo>
                  <a:cubicBezTo>
                    <a:pt x="57138" y="10182"/>
                    <a:pt x="30689" y="2143"/>
                    <a:pt x="0" y="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19" name="Forma livre: Forma 2118">
              <a:extLst>
                <a:ext uri="{FF2B5EF4-FFF2-40B4-BE49-F238E27FC236}">
                  <a16:creationId xmlns:a16="http://schemas.microsoft.com/office/drawing/2014/main" id="{D67D6136-007D-9C3D-21D2-59EE7ABED4D2}"/>
                </a:ext>
              </a:extLst>
            </p:cNvPr>
            <p:cNvSpPr/>
            <p:nvPr/>
          </p:nvSpPr>
          <p:spPr>
            <a:xfrm>
              <a:off x="5019639" y="5868452"/>
              <a:ext cx="124147" cy="86504"/>
            </a:xfrm>
            <a:custGeom>
              <a:avLst/>
              <a:gdLst>
                <a:gd name="connsiteX0" fmla="*/ 124148 w 124147"/>
                <a:gd name="connsiteY0" fmla="*/ 86504 h 86504"/>
                <a:gd name="connsiteX1" fmla="*/ 0 w 124147"/>
                <a:gd name="connsiteY1" fmla="*/ 0 h 865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4147" h="86504">
                  <a:moveTo>
                    <a:pt x="124148" y="86504"/>
                  </a:moveTo>
                  <a:cubicBezTo>
                    <a:pt x="54268" y="78561"/>
                    <a:pt x="1298" y="42966"/>
                    <a:pt x="0" y="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20" name="Forma livre: Forma 2119">
              <a:extLst>
                <a:ext uri="{FF2B5EF4-FFF2-40B4-BE49-F238E27FC236}">
                  <a16:creationId xmlns:a16="http://schemas.microsoft.com/office/drawing/2014/main" id="{42E4C4B0-EEF6-06B4-41C6-08BA4CAC72CC}"/>
                </a:ext>
              </a:extLst>
            </p:cNvPr>
            <p:cNvSpPr/>
            <p:nvPr/>
          </p:nvSpPr>
          <p:spPr>
            <a:xfrm>
              <a:off x="5116778" y="5951538"/>
              <a:ext cx="108714" cy="40286"/>
            </a:xfrm>
            <a:custGeom>
              <a:avLst/>
              <a:gdLst>
                <a:gd name="connsiteX0" fmla="*/ 108714 w 108714"/>
                <a:gd name="connsiteY0" fmla="*/ 0 h 40286"/>
                <a:gd name="connsiteX1" fmla="*/ 99652 w 108714"/>
                <a:gd name="connsiteY1" fmla="*/ 40287 h 40286"/>
                <a:gd name="connsiteX2" fmla="*/ 9074 w 108714"/>
                <a:gd name="connsiteY2" fmla="*/ 40287 h 40286"/>
                <a:gd name="connsiteX3" fmla="*/ 0 w 108714"/>
                <a:gd name="connsiteY3" fmla="*/ 0 h 40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8714" h="40286">
                  <a:moveTo>
                    <a:pt x="108714" y="0"/>
                  </a:moveTo>
                  <a:lnTo>
                    <a:pt x="99652" y="40287"/>
                  </a:lnTo>
                  <a:lnTo>
                    <a:pt x="9074" y="40287"/>
                  </a:lnTo>
                  <a:lnTo>
                    <a:pt x="0" y="0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2121" name="Gráfico 15">
              <a:extLst>
                <a:ext uri="{FF2B5EF4-FFF2-40B4-BE49-F238E27FC236}">
                  <a16:creationId xmlns:a16="http://schemas.microsoft.com/office/drawing/2014/main" id="{6B73BAD1-38F1-9455-5D55-1743A0D1756A}"/>
                </a:ext>
              </a:extLst>
            </p:cNvPr>
            <p:cNvGrpSpPr/>
            <p:nvPr/>
          </p:nvGrpSpPr>
          <p:grpSpPr>
            <a:xfrm>
              <a:off x="4959726" y="5785663"/>
              <a:ext cx="81895" cy="162338"/>
              <a:chOff x="4959726" y="5785663"/>
              <a:chExt cx="81895" cy="162338"/>
            </a:xfrm>
            <a:noFill/>
          </p:grpSpPr>
          <p:sp>
            <p:nvSpPr>
              <p:cNvPr id="2122" name="Forma livre: Forma 2121">
                <a:extLst>
                  <a:ext uri="{FF2B5EF4-FFF2-40B4-BE49-F238E27FC236}">
                    <a16:creationId xmlns:a16="http://schemas.microsoft.com/office/drawing/2014/main" id="{B7FD41AC-A669-79F1-DB6F-E8860B05DF2B}"/>
                  </a:ext>
                </a:extLst>
              </p:cNvPr>
              <p:cNvSpPr/>
              <p:nvPr/>
            </p:nvSpPr>
            <p:spPr>
              <a:xfrm>
                <a:off x="4959726" y="5785663"/>
                <a:ext cx="81895" cy="57709"/>
              </a:xfrm>
              <a:custGeom>
                <a:avLst/>
                <a:gdLst>
                  <a:gd name="connsiteX0" fmla="*/ 27259 w 81895"/>
                  <a:gd name="connsiteY0" fmla="*/ 57709 h 57709"/>
                  <a:gd name="connsiteX1" fmla="*/ 0 w 81895"/>
                  <a:gd name="connsiteY1" fmla="*/ 0 h 57709"/>
                  <a:gd name="connsiteX2" fmla="*/ 65307 w 81895"/>
                  <a:gd name="connsiteY2" fmla="*/ 0 h 57709"/>
                  <a:gd name="connsiteX3" fmla="*/ 81896 w 81895"/>
                  <a:gd name="connsiteY3" fmla="*/ 35131 h 577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1895" h="57709">
                    <a:moveTo>
                      <a:pt x="27259" y="57709"/>
                    </a:moveTo>
                    <a:lnTo>
                      <a:pt x="0" y="0"/>
                    </a:lnTo>
                    <a:lnTo>
                      <a:pt x="65307" y="0"/>
                    </a:lnTo>
                    <a:lnTo>
                      <a:pt x="81896" y="35131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123" name="Forma livre: Forma 2122">
                <a:extLst>
                  <a:ext uri="{FF2B5EF4-FFF2-40B4-BE49-F238E27FC236}">
                    <a16:creationId xmlns:a16="http://schemas.microsoft.com/office/drawing/2014/main" id="{02A6933A-4873-A70C-DB10-CCC7C9DBDF70}"/>
                  </a:ext>
                </a:extLst>
              </p:cNvPr>
              <p:cNvSpPr/>
              <p:nvPr/>
            </p:nvSpPr>
            <p:spPr>
              <a:xfrm>
                <a:off x="4959726" y="5868237"/>
                <a:ext cx="80383" cy="79764"/>
              </a:xfrm>
              <a:custGeom>
                <a:avLst/>
                <a:gdLst>
                  <a:gd name="connsiteX0" fmla="*/ 37786 w 80383"/>
                  <a:gd name="connsiteY0" fmla="*/ 0 h 79764"/>
                  <a:gd name="connsiteX1" fmla="*/ 0 w 80383"/>
                  <a:gd name="connsiteY1" fmla="*/ 79764 h 79764"/>
                  <a:gd name="connsiteX2" fmla="*/ 65307 w 80383"/>
                  <a:gd name="connsiteY2" fmla="*/ 79764 h 79764"/>
                  <a:gd name="connsiteX3" fmla="*/ 80383 w 80383"/>
                  <a:gd name="connsiteY3" fmla="*/ 46146 h 797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383" h="79764">
                    <a:moveTo>
                      <a:pt x="37786" y="0"/>
                    </a:moveTo>
                    <a:lnTo>
                      <a:pt x="0" y="79764"/>
                    </a:lnTo>
                    <a:lnTo>
                      <a:pt x="65307" y="79764"/>
                    </a:lnTo>
                    <a:lnTo>
                      <a:pt x="80383" y="46146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2124" name="Forma livre: Forma 2123">
              <a:extLst>
                <a:ext uri="{FF2B5EF4-FFF2-40B4-BE49-F238E27FC236}">
                  <a16:creationId xmlns:a16="http://schemas.microsoft.com/office/drawing/2014/main" id="{48B540EC-59FC-D91C-773E-186E292CCAD1}"/>
                </a:ext>
              </a:extLst>
            </p:cNvPr>
            <p:cNvSpPr/>
            <p:nvPr/>
          </p:nvSpPr>
          <p:spPr>
            <a:xfrm>
              <a:off x="4957964" y="5866832"/>
              <a:ext cx="109619" cy="1190"/>
            </a:xfrm>
            <a:custGeom>
              <a:avLst/>
              <a:gdLst>
                <a:gd name="connsiteX0" fmla="*/ 0 w 109619"/>
                <a:gd name="connsiteY0" fmla="*/ 0 h 1190"/>
                <a:gd name="connsiteX1" fmla="*/ 109619 w 109619"/>
                <a:gd name="connsiteY1" fmla="*/ 0 h 11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9619" h="1190">
                  <a:moveTo>
                    <a:pt x="0" y="0"/>
                  </a:moveTo>
                  <a:lnTo>
                    <a:pt x="109619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2126" name="Gráfico 16">
            <a:extLst>
              <a:ext uri="{FF2B5EF4-FFF2-40B4-BE49-F238E27FC236}">
                <a16:creationId xmlns:a16="http://schemas.microsoft.com/office/drawing/2014/main" id="{FF85BC9D-6030-11B0-6337-016E1CE17840}"/>
              </a:ext>
            </a:extLst>
          </p:cNvPr>
          <p:cNvGrpSpPr/>
          <p:nvPr/>
        </p:nvGrpSpPr>
        <p:grpSpPr>
          <a:xfrm>
            <a:off x="6949173" y="5155705"/>
            <a:ext cx="244512" cy="302039"/>
            <a:chOff x="6949173" y="5155705"/>
            <a:chExt cx="244512" cy="302039"/>
          </a:xfrm>
          <a:noFill/>
        </p:grpSpPr>
        <p:grpSp>
          <p:nvGrpSpPr>
            <p:cNvPr id="2127" name="Gráfico 16">
              <a:extLst>
                <a:ext uri="{FF2B5EF4-FFF2-40B4-BE49-F238E27FC236}">
                  <a16:creationId xmlns:a16="http://schemas.microsoft.com/office/drawing/2014/main" id="{2A93733C-DC45-90D6-B42A-AD6A1BEBC2F8}"/>
                </a:ext>
              </a:extLst>
            </p:cNvPr>
            <p:cNvGrpSpPr/>
            <p:nvPr/>
          </p:nvGrpSpPr>
          <p:grpSpPr>
            <a:xfrm>
              <a:off x="6949173" y="5155705"/>
              <a:ext cx="244512" cy="274473"/>
              <a:chOff x="6949173" y="5155705"/>
              <a:chExt cx="244512" cy="274473"/>
            </a:xfrm>
            <a:noFill/>
          </p:grpSpPr>
          <p:sp>
            <p:nvSpPr>
              <p:cNvPr id="2128" name="Forma livre: Forma 2127">
                <a:extLst>
                  <a:ext uri="{FF2B5EF4-FFF2-40B4-BE49-F238E27FC236}">
                    <a16:creationId xmlns:a16="http://schemas.microsoft.com/office/drawing/2014/main" id="{279C31C0-64EC-6582-FB6B-E7B5B78E889E}"/>
                  </a:ext>
                </a:extLst>
              </p:cNvPr>
              <p:cNvSpPr/>
              <p:nvPr/>
            </p:nvSpPr>
            <p:spPr>
              <a:xfrm>
                <a:off x="7071430" y="5276797"/>
                <a:ext cx="1212" cy="153381"/>
              </a:xfrm>
              <a:custGeom>
                <a:avLst/>
                <a:gdLst>
                  <a:gd name="connsiteX0" fmla="*/ 0 w 1212"/>
                  <a:gd name="connsiteY0" fmla="*/ 0 h 153381"/>
                  <a:gd name="connsiteX1" fmla="*/ 0 w 1212"/>
                  <a:gd name="connsiteY1" fmla="*/ 153381 h 1533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12" h="153381">
                    <a:moveTo>
                      <a:pt x="0" y="0"/>
                    </a:moveTo>
                    <a:lnTo>
                      <a:pt x="0" y="153381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129" name="Forma livre: Forma 2128">
                <a:extLst>
                  <a:ext uri="{FF2B5EF4-FFF2-40B4-BE49-F238E27FC236}">
                    <a16:creationId xmlns:a16="http://schemas.microsoft.com/office/drawing/2014/main" id="{6C1C1C10-17BC-C51C-C703-86D320DD5BC6}"/>
                  </a:ext>
                </a:extLst>
              </p:cNvPr>
              <p:cNvSpPr/>
              <p:nvPr/>
            </p:nvSpPr>
            <p:spPr>
              <a:xfrm>
                <a:off x="6949173" y="5273924"/>
                <a:ext cx="244512" cy="145597"/>
              </a:xfrm>
              <a:custGeom>
                <a:avLst/>
                <a:gdLst>
                  <a:gd name="connsiteX0" fmla="*/ 213400 w 244512"/>
                  <a:gd name="connsiteY0" fmla="*/ 145597 h 145597"/>
                  <a:gd name="connsiteX1" fmla="*/ 244513 w 244512"/>
                  <a:gd name="connsiteY1" fmla="*/ 42619 h 145597"/>
                  <a:gd name="connsiteX2" fmla="*/ 124172 w 244512"/>
                  <a:gd name="connsiteY2" fmla="*/ 0 h 145597"/>
                  <a:gd name="connsiteX3" fmla="*/ 120341 w 244512"/>
                  <a:gd name="connsiteY3" fmla="*/ 0 h 145597"/>
                  <a:gd name="connsiteX4" fmla="*/ 0 w 244512"/>
                  <a:gd name="connsiteY4" fmla="*/ 42619 h 145597"/>
                  <a:gd name="connsiteX5" fmla="*/ 30894 w 244512"/>
                  <a:gd name="connsiteY5" fmla="*/ 144833 h 1455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44512" h="145597">
                    <a:moveTo>
                      <a:pt x="213400" y="145597"/>
                    </a:moveTo>
                    <a:lnTo>
                      <a:pt x="244513" y="42619"/>
                    </a:lnTo>
                    <a:lnTo>
                      <a:pt x="124172" y="0"/>
                    </a:lnTo>
                    <a:lnTo>
                      <a:pt x="120341" y="0"/>
                    </a:lnTo>
                    <a:lnTo>
                      <a:pt x="0" y="42619"/>
                    </a:lnTo>
                    <a:lnTo>
                      <a:pt x="30894" y="144833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130" name="Forma livre: Forma 2129">
                <a:extLst>
                  <a:ext uri="{FF2B5EF4-FFF2-40B4-BE49-F238E27FC236}">
                    <a16:creationId xmlns:a16="http://schemas.microsoft.com/office/drawing/2014/main" id="{5A17A855-AF64-F92D-476E-23EFFDC026AB}"/>
                  </a:ext>
                </a:extLst>
              </p:cNvPr>
              <p:cNvSpPr/>
              <p:nvPr/>
            </p:nvSpPr>
            <p:spPr>
              <a:xfrm>
                <a:off x="6990568" y="5235039"/>
                <a:ext cx="161711" cy="64007"/>
              </a:xfrm>
              <a:custGeom>
                <a:avLst/>
                <a:gdLst>
                  <a:gd name="connsiteX0" fmla="*/ 0 w 161711"/>
                  <a:gd name="connsiteY0" fmla="*/ 64008 h 64007"/>
                  <a:gd name="connsiteX1" fmla="*/ 0 w 161711"/>
                  <a:gd name="connsiteY1" fmla="*/ 0 h 64007"/>
                  <a:gd name="connsiteX2" fmla="*/ 161711 w 161711"/>
                  <a:gd name="connsiteY2" fmla="*/ 0 h 64007"/>
                  <a:gd name="connsiteX3" fmla="*/ 161711 w 161711"/>
                  <a:gd name="connsiteY3" fmla="*/ 63972 h 640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61711" h="64007">
                    <a:moveTo>
                      <a:pt x="0" y="64008"/>
                    </a:moveTo>
                    <a:lnTo>
                      <a:pt x="0" y="0"/>
                    </a:lnTo>
                    <a:lnTo>
                      <a:pt x="161711" y="0"/>
                    </a:lnTo>
                    <a:lnTo>
                      <a:pt x="161711" y="63972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131" name="Forma livre: Forma 2130">
                <a:extLst>
                  <a:ext uri="{FF2B5EF4-FFF2-40B4-BE49-F238E27FC236}">
                    <a16:creationId xmlns:a16="http://schemas.microsoft.com/office/drawing/2014/main" id="{BFABE323-2E95-BB32-B417-D151327E9B61}"/>
                  </a:ext>
                </a:extLst>
              </p:cNvPr>
              <p:cNvSpPr/>
              <p:nvPr/>
            </p:nvSpPr>
            <p:spPr>
              <a:xfrm>
                <a:off x="7018153" y="5181143"/>
                <a:ext cx="106554" cy="31076"/>
              </a:xfrm>
              <a:custGeom>
                <a:avLst/>
                <a:gdLst>
                  <a:gd name="connsiteX0" fmla="*/ 0 w 106554"/>
                  <a:gd name="connsiteY0" fmla="*/ 31076 h 31076"/>
                  <a:gd name="connsiteX1" fmla="*/ 0 w 106554"/>
                  <a:gd name="connsiteY1" fmla="*/ 0 h 31076"/>
                  <a:gd name="connsiteX2" fmla="*/ 106554 w 106554"/>
                  <a:gd name="connsiteY2" fmla="*/ 0 h 31076"/>
                  <a:gd name="connsiteX3" fmla="*/ 106554 w 106554"/>
                  <a:gd name="connsiteY3" fmla="*/ 31076 h 310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06554" h="31076">
                    <a:moveTo>
                      <a:pt x="0" y="31076"/>
                    </a:moveTo>
                    <a:lnTo>
                      <a:pt x="0" y="0"/>
                    </a:lnTo>
                    <a:lnTo>
                      <a:pt x="106554" y="0"/>
                    </a:lnTo>
                    <a:lnTo>
                      <a:pt x="106554" y="31076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132" name="Forma livre: Forma 2131">
                <a:extLst>
                  <a:ext uri="{FF2B5EF4-FFF2-40B4-BE49-F238E27FC236}">
                    <a16:creationId xmlns:a16="http://schemas.microsoft.com/office/drawing/2014/main" id="{678E48FE-7071-70E4-A7EE-065614EC31B1}"/>
                  </a:ext>
                </a:extLst>
              </p:cNvPr>
              <p:cNvSpPr/>
              <p:nvPr/>
            </p:nvSpPr>
            <p:spPr>
              <a:xfrm>
                <a:off x="7071430" y="5155705"/>
                <a:ext cx="1212" cy="23716"/>
              </a:xfrm>
              <a:custGeom>
                <a:avLst/>
                <a:gdLst>
                  <a:gd name="connsiteX0" fmla="*/ 0 w 1212"/>
                  <a:gd name="connsiteY0" fmla="*/ 23717 h 23716"/>
                  <a:gd name="connsiteX1" fmla="*/ 0 w 1212"/>
                  <a:gd name="connsiteY1" fmla="*/ 0 h 237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12" h="23716">
                    <a:moveTo>
                      <a:pt x="0" y="23717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2133" name="Gráfico 16">
                <a:extLst>
                  <a:ext uri="{FF2B5EF4-FFF2-40B4-BE49-F238E27FC236}">
                    <a16:creationId xmlns:a16="http://schemas.microsoft.com/office/drawing/2014/main" id="{F2590A0F-C052-B0DB-B10B-8F5A85239972}"/>
                  </a:ext>
                </a:extLst>
              </p:cNvPr>
              <p:cNvGrpSpPr/>
              <p:nvPr/>
            </p:nvGrpSpPr>
            <p:grpSpPr>
              <a:xfrm>
                <a:off x="7022990" y="5316567"/>
                <a:ext cx="96878" cy="6959"/>
                <a:chOff x="7022990" y="5316567"/>
                <a:chExt cx="96878" cy="6959"/>
              </a:xfrm>
            </p:grpSpPr>
            <p:sp>
              <p:nvSpPr>
                <p:cNvPr id="2134" name="Forma livre: Forma 2133">
                  <a:extLst>
                    <a:ext uri="{FF2B5EF4-FFF2-40B4-BE49-F238E27FC236}">
                      <a16:creationId xmlns:a16="http://schemas.microsoft.com/office/drawing/2014/main" id="{F1E4C11C-5603-44D9-2C1F-E4FD80874FE2}"/>
                    </a:ext>
                  </a:extLst>
                </p:cNvPr>
                <p:cNvSpPr/>
                <p:nvPr/>
              </p:nvSpPr>
              <p:spPr>
                <a:xfrm>
                  <a:off x="7022990" y="5316567"/>
                  <a:ext cx="18417" cy="6959"/>
                </a:xfrm>
                <a:custGeom>
                  <a:avLst/>
                  <a:gdLst>
                    <a:gd name="connsiteX0" fmla="*/ 18418 w 18417"/>
                    <a:gd name="connsiteY0" fmla="*/ 0 h 6959"/>
                    <a:gd name="connsiteX1" fmla="*/ 0 w 18417"/>
                    <a:gd name="connsiteY1" fmla="*/ 6960 h 695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8417" h="6959">
                      <a:moveTo>
                        <a:pt x="18418" y="0"/>
                      </a:moveTo>
                      <a:lnTo>
                        <a:pt x="0" y="696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135" name="Forma livre: Forma 2134">
                  <a:extLst>
                    <a:ext uri="{FF2B5EF4-FFF2-40B4-BE49-F238E27FC236}">
                      <a16:creationId xmlns:a16="http://schemas.microsoft.com/office/drawing/2014/main" id="{425E91D0-939E-7ADF-E3FB-D3F83C0C1F48}"/>
                    </a:ext>
                  </a:extLst>
                </p:cNvPr>
                <p:cNvSpPr/>
                <p:nvPr/>
              </p:nvSpPr>
              <p:spPr>
                <a:xfrm>
                  <a:off x="7101439" y="5316567"/>
                  <a:ext cx="18430" cy="6959"/>
                </a:xfrm>
                <a:custGeom>
                  <a:avLst/>
                  <a:gdLst>
                    <a:gd name="connsiteX0" fmla="*/ 0 w 18430"/>
                    <a:gd name="connsiteY0" fmla="*/ 0 h 6959"/>
                    <a:gd name="connsiteX1" fmla="*/ 18430 w 18430"/>
                    <a:gd name="connsiteY1" fmla="*/ 6960 h 695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8430" h="6959">
                      <a:moveTo>
                        <a:pt x="0" y="0"/>
                      </a:moveTo>
                      <a:lnTo>
                        <a:pt x="18430" y="696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sp>
          <p:nvSpPr>
            <p:cNvPr id="2136" name="Forma livre: Forma 2135">
              <a:extLst>
                <a:ext uri="{FF2B5EF4-FFF2-40B4-BE49-F238E27FC236}">
                  <a16:creationId xmlns:a16="http://schemas.microsoft.com/office/drawing/2014/main" id="{BF3D51E7-24BC-2B8E-1DAE-91FCB03A3844}"/>
                </a:ext>
              </a:extLst>
            </p:cNvPr>
            <p:cNvSpPr/>
            <p:nvPr/>
          </p:nvSpPr>
          <p:spPr>
            <a:xfrm>
              <a:off x="6952799" y="5442898"/>
              <a:ext cx="237249" cy="14846"/>
            </a:xfrm>
            <a:custGeom>
              <a:avLst/>
              <a:gdLst>
                <a:gd name="connsiteX0" fmla="*/ 237250 w 237249"/>
                <a:gd name="connsiteY0" fmla="*/ 0 h 14846"/>
                <a:gd name="connsiteX1" fmla="*/ 236777 w 237249"/>
                <a:gd name="connsiteY1" fmla="*/ 0 h 14846"/>
                <a:gd name="connsiteX2" fmla="*/ 158328 w 237249"/>
                <a:gd name="connsiteY2" fmla="*/ 0 h 14846"/>
                <a:gd name="connsiteX3" fmla="*/ 157843 w 237249"/>
                <a:gd name="connsiteY3" fmla="*/ 0 h 14846"/>
                <a:gd name="connsiteX4" fmla="*/ 79395 w 237249"/>
                <a:gd name="connsiteY4" fmla="*/ 0 h 14846"/>
                <a:gd name="connsiteX5" fmla="*/ 78922 w 237249"/>
                <a:gd name="connsiteY5" fmla="*/ 0 h 14846"/>
                <a:gd name="connsiteX6" fmla="*/ 473 w 237249"/>
                <a:gd name="connsiteY6" fmla="*/ 0 h 14846"/>
                <a:gd name="connsiteX7" fmla="*/ 0 w 237249"/>
                <a:gd name="connsiteY7" fmla="*/ 0 h 14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37249" h="14846">
                  <a:moveTo>
                    <a:pt x="237250" y="0"/>
                  </a:moveTo>
                  <a:lnTo>
                    <a:pt x="236777" y="0"/>
                  </a:lnTo>
                  <a:cubicBezTo>
                    <a:pt x="191284" y="33404"/>
                    <a:pt x="158328" y="0"/>
                    <a:pt x="158328" y="0"/>
                  </a:cubicBezTo>
                  <a:lnTo>
                    <a:pt x="157843" y="0"/>
                  </a:lnTo>
                  <a:cubicBezTo>
                    <a:pt x="112350" y="33404"/>
                    <a:pt x="79395" y="0"/>
                    <a:pt x="79395" y="0"/>
                  </a:cubicBezTo>
                  <a:lnTo>
                    <a:pt x="78922" y="0"/>
                  </a:lnTo>
                  <a:cubicBezTo>
                    <a:pt x="33429" y="33404"/>
                    <a:pt x="473" y="0"/>
                    <a:pt x="473" y="0"/>
                  </a:cubicBezTo>
                  <a:lnTo>
                    <a:pt x="0" y="0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2137" name="Gráfico 16">
            <a:extLst>
              <a:ext uri="{FF2B5EF4-FFF2-40B4-BE49-F238E27FC236}">
                <a16:creationId xmlns:a16="http://schemas.microsoft.com/office/drawing/2014/main" id="{8AB5B6F3-7FEC-A816-83CB-D9A2E76013BE}"/>
              </a:ext>
            </a:extLst>
          </p:cNvPr>
          <p:cNvGrpSpPr/>
          <p:nvPr/>
        </p:nvGrpSpPr>
        <p:grpSpPr>
          <a:xfrm>
            <a:off x="6886596" y="3555035"/>
            <a:ext cx="369654" cy="209956"/>
            <a:chOff x="6886596" y="3555035"/>
            <a:chExt cx="369654" cy="209956"/>
          </a:xfrm>
          <a:noFill/>
        </p:grpSpPr>
        <p:sp>
          <p:nvSpPr>
            <p:cNvPr id="2138" name="Forma livre: Forma 2137">
              <a:extLst>
                <a:ext uri="{FF2B5EF4-FFF2-40B4-BE49-F238E27FC236}">
                  <a16:creationId xmlns:a16="http://schemas.microsoft.com/office/drawing/2014/main" id="{7F4E5FC6-5B8A-3FB7-FCD2-5027B29BF4D1}"/>
                </a:ext>
              </a:extLst>
            </p:cNvPr>
            <p:cNvSpPr/>
            <p:nvPr/>
          </p:nvSpPr>
          <p:spPr>
            <a:xfrm>
              <a:off x="7121494" y="3630234"/>
              <a:ext cx="134757" cy="134757"/>
            </a:xfrm>
            <a:custGeom>
              <a:avLst/>
              <a:gdLst>
                <a:gd name="connsiteX0" fmla="*/ 52962 w 134757"/>
                <a:gd name="connsiteY0" fmla="*/ 1540 h 134757"/>
                <a:gd name="connsiteX1" fmla="*/ 67379 w 134757"/>
                <a:gd name="connsiteY1" fmla="*/ 0 h 134757"/>
                <a:gd name="connsiteX2" fmla="*/ 134757 w 134757"/>
                <a:gd name="connsiteY2" fmla="*/ 67379 h 134757"/>
                <a:gd name="connsiteX3" fmla="*/ 67379 w 134757"/>
                <a:gd name="connsiteY3" fmla="*/ 134757 h 134757"/>
                <a:gd name="connsiteX4" fmla="*/ 0 w 134757"/>
                <a:gd name="connsiteY4" fmla="*/ 67379 h 134757"/>
                <a:gd name="connsiteX5" fmla="*/ 16599 w 134757"/>
                <a:gd name="connsiteY5" fmla="*/ 23098 h 1347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34757" h="134757">
                  <a:moveTo>
                    <a:pt x="52962" y="1540"/>
                  </a:moveTo>
                  <a:cubicBezTo>
                    <a:pt x="57606" y="533"/>
                    <a:pt x="62432" y="0"/>
                    <a:pt x="67379" y="0"/>
                  </a:cubicBezTo>
                  <a:cubicBezTo>
                    <a:pt x="104590" y="0"/>
                    <a:pt x="134757" y="30167"/>
                    <a:pt x="134757" y="67379"/>
                  </a:cubicBezTo>
                  <a:cubicBezTo>
                    <a:pt x="134757" y="104590"/>
                    <a:pt x="104590" y="134757"/>
                    <a:pt x="67379" y="134757"/>
                  </a:cubicBezTo>
                  <a:cubicBezTo>
                    <a:pt x="30167" y="134757"/>
                    <a:pt x="0" y="104590"/>
                    <a:pt x="0" y="67379"/>
                  </a:cubicBezTo>
                  <a:cubicBezTo>
                    <a:pt x="0" y="50428"/>
                    <a:pt x="6256" y="34944"/>
                    <a:pt x="16599" y="23098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39" name="Forma livre: Forma 2138">
              <a:extLst>
                <a:ext uri="{FF2B5EF4-FFF2-40B4-BE49-F238E27FC236}">
                  <a16:creationId xmlns:a16="http://schemas.microsoft.com/office/drawing/2014/main" id="{E47DA695-A3C6-EE99-31F3-ECA7C4F2CC64}"/>
                </a:ext>
              </a:extLst>
            </p:cNvPr>
            <p:cNvSpPr/>
            <p:nvPr/>
          </p:nvSpPr>
          <p:spPr>
            <a:xfrm>
              <a:off x="6948955" y="3605159"/>
              <a:ext cx="185439" cy="95229"/>
            </a:xfrm>
            <a:custGeom>
              <a:avLst/>
              <a:gdLst>
                <a:gd name="connsiteX0" fmla="*/ 185440 w 185439"/>
                <a:gd name="connsiteY0" fmla="*/ 0 h 95229"/>
                <a:gd name="connsiteX1" fmla="*/ 65936 w 185439"/>
                <a:gd name="connsiteY1" fmla="*/ 0 h 95229"/>
                <a:gd name="connsiteX2" fmla="*/ 0 w 185439"/>
                <a:gd name="connsiteY2" fmla="*/ 95230 h 95229"/>
                <a:gd name="connsiteX3" fmla="*/ 117746 w 185439"/>
                <a:gd name="connsiteY3" fmla="*/ 95230 h 95229"/>
                <a:gd name="connsiteX4" fmla="*/ 185440 w 185439"/>
                <a:gd name="connsiteY4" fmla="*/ 0 h 952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5439" h="95229">
                  <a:moveTo>
                    <a:pt x="185440" y="0"/>
                  </a:moveTo>
                  <a:lnTo>
                    <a:pt x="65936" y="0"/>
                  </a:lnTo>
                  <a:lnTo>
                    <a:pt x="0" y="95230"/>
                  </a:lnTo>
                  <a:lnTo>
                    <a:pt x="117746" y="95230"/>
                  </a:lnTo>
                  <a:lnTo>
                    <a:pt x="185440" y="0"/>
                  </a:ln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40" name="Forma livre: Forma 2139">
              <a:extLst>
                <a:ext uri="{FF2B5EF4-FFF2-40B4-BE49-F238E27FC236}">
                  <a16:creationId xmlns:a16="http://schemas.microsoft.com/office/drawing/2014/main" id="{2C75C176-D739-00EA-129E-6403B69AC3D0}"/>
                </a:ext>
              </a:extLst>
            </p:cNvPr>
            <p:cNvSpPr/>
            <p:nvPr/>
          </p:nvSpPr>
          <p:spPr>
            <a:xfrm>
              <a:off x="6989028" y="3555520"/>
              <a:ext cx="76229" cy="143414"/>
            </a:xfrm>
            <a:custGeom>
              <a:avLst/>
              <a:gdLst>
                <a:gd name="connsiteX0" fmla="*/ 76230 w 76229"/>
                <a:gd name="connsiteY0" fmla="*/ 143415 h 143414"/>
                <a:gd name="connsiteX1" fmla="*/ 0 w 76229"/>
                <a:gd name="connsiteY1" fmla="*/ 0 h 1434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6229" h="143414">
                  <a:moveTo>
                    <a:pt x="76230" y="143415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41" name="Forma livre: Forma 2140">
              <a:extLst>
                <a:ext uri="{FF2B5EF4-FFF2-40B4-BE49-F238E27FC236}">
                  <a16:creationId xmlns:a16="http://schemas.microsoft.com/office/drawing/2014/main" id="{D7F41A10-B56F-EB2E-7AD2-BE8F4496CEB4}"/>
                </a:ext>
              </a:extLst>
            </p:cNvPr>
            <p:cNvSpPr/>
            <p:nvPr/>
          </p:nvSpPr>
          <p:spPr>
            <a:xfrm>
              <a:off x="7107041" y="3555289"/>
              <a:ext cx="83710" cy="144166"/>
            </a:xfrm>
            <a:custGeom>
              <a:avLst/>
              <a:gdLst>
                <a:gd name="connsiteX0" fmla="*/ 81832 w 83710"/>
                <a:gd name="connsiteY0" fmla="*/ 144166 h 144166"/>
                <a:gd name="connsiteX1" fmla="*/ 0 w 83710"/>
                <a:gd name="connsiteY1" fmla="*/ 0 h 144166"/>
                <a:gd name="connsiteX2" fmla="*/ 60528 w 83710"/>
                <a:gd name="connsiteY2" fmla="*/ 48 h 144166"/>
                <a:gd name="connsiteX3" fmla="*/ 83711 w 83710"/>
                <a:gd name="connsiteY3" fmla="*/ 20831 h 144166"/>
                <a:gd name="connsiteX4" fmla="*/ 83711 w 83710"/>
                <a:gd name="connsiteY4" fmla="*/ 22916 h 144166"/>
                <a:gd name="connsiteX5" fmla="*/ 60528 w 83710"/>
                <a:gd name="connsiteY5" fmla="*/ 43699 h 1441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83710" h="144166">
                  <a:moveTo>
                    <a:pt x="81832" y="144166"/>
                  </a:moveTo>
                  <a:lnTo>
                    <a:pt x="0" y="0"/>
                  </a:lnTo>
                  <a:lnTo>
                    <a:pt x="60528" y="48"/>
                  </a:lnTo>
                  <a:cubicBezTo>
                    <a:pt x="73284" y="48"/>
                    <a:pt x="83711" y="9397"/>
                    <a:pt x="83711" y="20831"/>
                  </a:cubicBezTo>
                  <a:lnTo>
                    <a:pt x="83711" y="22916"/>
                  </a:lnTo>
                  <a:cubicBezTo>
                    <a:pt x="83711" y="34338"/>
                    <a:pt x="73284" y="43699"/>
                    <a:pt x="60528" y="43699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42" name="Forma livre: Forma 2141">
              <a:extLst>
                <a:ext uri="{FF2B5EF4-FFF2-40B4-BE49-F238E27FC236}">
                  <a16:creationId xmlns:a16="http://schemas.microsoft.com/office/drawing/2014/main" id="{D63DDAC5-9804-91C7-2137-3315499A9777}"/>
                </a:ext>
              </a:extLst>
            </p:cNvPr>
            <p:cNvSpPr/>
            <p:nvPr/>
          </p:nvSpPr>
          <p:spPr>
            <a:xfrm>
              <a:off x="6971423" y="3555035"/>
              <a:ext cx="55629" cy="1212"/>
            </a:xfrm>
            <a:custGeom>
              <a:avLst/>
              <a:gdLst>
                <a:gd name="connsiteX0" fmla="*/ 0 w 55629"/>
                <a:gd name="connsiteY0" fmla="*/ 0 h 1212"/>
                <a:gd name="connsiteX1" fmla="*/ 55630 w 55629"/>
                <a:gd name="connsiteY1" fmla="*/ 0 h 12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5629" h="1212">
                  <a:moveTo>
                    <a:pt x="0" y="0"/>
                  </a:moveTo>
                  <a:lnTo>
                    <a:pt x="5563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43" name="Forma livre: Forma 2142">
              <a:extLst>
                <a:ext uri="{FF2B5EF4-FFF2-40B4-BE49-F238E27FC236}">
                  <a16:creationId xmlns:a16="http://schemas.microsoft.com/office/drawing/2014/main" id="{DDFDF052-1D4A-D733-5CE9-CFB835AAA761}"/>
                </a:ext>
              </a:extLst>
            </p:cNvPr>
            <p:cNvSpPr/>
            <p:nvPr/>
          </p:nvSpPr>
          <p:spPr>
            <a:xfrm>
              <a:off x="6886596" y="3630234"/>
              <a:ext cx="134769" cy="134757"/>
            </a:xfrm>
            <a:custGeom>
              <a:avLst/>
              <a:gdLst>
                <a:gd name="connsiteX0" fmla="*/ 134769 w 134769"/>
                <a:gd name="connsiteY0" fmla="*/ 67379 h 134757"/>
                <a:gd name="connsiteX1" fmla="*/ 134721 w 134769"/>
                <a:gd name="connsiteY1" fmla="*/ 69864 h 134757"/>
                <a:gd name="connsiteX2" fmla="*/ 67379 w 134769"/>
                <a:gd name="connsiteY2" fmla="*/ 134757 h 134757"/>
                <a:gd name="connsiteX3" fmla="*/ 0 w 134769"/>
                <a:gd name="connsiteY3" fmla="*/ 67379 h 134757"/>
                <a:gd name="connsiteX4" fmla="*/ 67379 w 134769"/>
                <a:gd name="connsiteY4" fmla="*/ 0 h 134757"/>
                <a:gd name="connsiteX5" fmla="*/ 80704 w 134769"/>
                <a:gd name="connsiteY5" fmla="*/ 1322 h 1347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34769" h="134757">
                  <a:moveTo>
                    <a:pt x="134769" y="67379"/>
                  </a:moveTo>
                  <a:cubicBezTo>
                    <a:pt x="134769" y="68203"/>
                    <a:pt x="134757" y="69040"/>
                    <a:pt x="134721" y="69864"/>
                  </a:cubicBezTo>
                  <a:cubicBezTo>
                    <a:pt x="133411" y="105924"/>
                    <a:pt x="103766" y="134757"/>
                    <a:pt x="67379" y="134757"/>
                  </a:cubicBezTo>
                  <a:cubicBezTo>
                    <a:pt x="30992" y="134757"/>
                    <a:pt x="0" y="104590"/>
                    <a:pt x="0" y="67379"/>
                  </a:cubicBezTo>
                  <a:cubicBezTo>
                    <a:pt x="0" y="30167"/>
                    <a:pt x="30167" y="0"/>
                    <a:pt x="67379" y="0"/>
                  </a:cubicBezTo>
                  <a:cubicBezTo>
                    <a:pt x="71938" y="0"/>
                    <a:pt x="76400" y="461"/>
                    <a:pt x="80704" y="1322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44" name="Forma livre: Forma 2143">
              <a:extLst>
                <a:ext uri="{FF2B5EF4-FFF2-40B4-BE49-F238E27FC236}">
                  <a16:creationId xmlns:a16="http://schemas.microsoft.com/office/drawing/2014/main" id="{84F08B4D-9173-CD30-266F-F045D8026C62}"/>
                </a:ext>
              </a:extLst>
            </p:cNvPr>
            <p:cNvSpPr/>
            <p:nvPr/>
          </p:nvSpPr>
          <p:spPr>
            <a:xfrm>
              <a:off x="6987416" y="3639097"/>
              <a:ext cx="31488" cy="40436"/>
            </a:xfrm>
            <a:custGeom>
              <a:avLst/>
              <a:gdLst>
                <a:gd name="connsiteX0" fmla="*/ 0 w 31488"/>
                <a:gd name="connsiteY0" fmla="*/ 0 h 40436"/>
                <a:gd name="connsiteX1" fmla="*/ 31489 w 31488"/>
                <a:gd name="connsiteY1" fmla="*/ 40437 h 404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1488" h="40436">
                  <a:moveTo>
                    <a:pt x="0" y="0"/>
                  </a:moveTo>
                  <a:cubicBezTo>
                    <a:pt x="15205" y="8706"/>
                    <a:pt x="26711" y="23183"/>
                    <a:pt x="31489" y="40437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2145" name="Gráfico 16">
            <a:extLst>
              <a:ext uri="{FF2B5EF4-FFF2-40B4-BE49-F238E27FC236}">
                <a16:creationId xmlns:a16="http://schemas.microsoft.com/office/drawing/2014/main" id="{21BB394D-3654-7497-C79D-CF8B09D414CB}"/>
              </a:ext>
            </a:extLst>
          </p:cNvPr>
          <p:cNvGrpSpPr/>
          <p:nvPr/>
        </p:nvGrpSpPr>
        <p:grpSpPr>
          <a:xfrm>
            <a:off x="6854550" y="5774795"/>
            <a:ext cx="433747" cy="206937"/>
            <a:chOff x="6854550" y="5774795"/>
            <a:chExt cx="433747" cy="206937"/>
          </a:xfrm>
        </p:grpSpPr>
        <p:sp>
          <p:nvSpPr>
            <p:cNvPr id="2146" name="Forma livre: Forma 2145">
              <a:extLst>
                <a:ext uri="{FF2B5EF4-FFF2-40B4-BE49-F238E27FC236}">
                  <a16:creationId xmlns:a16="http://schemas.microsoft.com/office/drawing/2014/main" id="{769DB919-AA2E-1189-E9F5-B19DA26EC234}"/>
                </a:ext>
              </a:extLst>
            </p:cNvPr>
            <p:cNvSpPr/>
            <p:nvPr/>
          </p:nvSpPr>
          <p:spPr>
            <a:xfrm>
              <a:off x="7016503" y="5934749"/>
              <a:ext cx="126779" cy="1212"/>
            </a:xfrm>
            <a:custGeom>
              <a:avLst/>
              <a:gdLst>
                <a:gd name="connsiteX0" fmla="*/ 0 w 126779"/>
                <a:gd name="connsiteY0" fmla="*/ 0 h 1212"/>
                <a:gd name="connsiteX1" fmla="*/ 126779 w 126779"/>
                <a:gd name="connsiteY1" fmla="*/ 0 h 12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6779" h="1212">
                  <a:moveTo>
                    <a:pt x="0" y="0"/>
                  </a:moveTo>
                  <a:lnTo>
                    <a:pt x="126779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47" name="Forma livre: Forma 2146">
              <a:extLst>
                <a:ext uri="{FF2B5EF4-FFF2-40B4-BE49-F238E27FC236}">
                  <a16:creationId xmlns:a16="http://schemas.microsoft.com/office/drawing/2014/main" id="{2C34F028-A2DA-8CBF-F8A0-9D2E5CA68772}"/>
                </a:ext>
              </a:extLst>
            </p:cNvPr>
            <p:cNvSpPr/>
            <p:nvPr/>
          </p:nvSpPr>
          <p:spPr>
            <a:xfrm>
              <a:off x="7066410" y="5774795"/>
              <a:ext cx="203506" cy="137788"/>
            </a:xfrm>
            <a:custGeom>
              <a:avLst/>
              <a:gdLst>
                <a:gd name="connsiteX0" fmla="*/ 203506 w 203506"/>
                <a:gd name="connsiteY0" fmla="*/ 120110 h 137788"/>
                <a:gd name="connsiteX1" fmla="*/ 203506 w 203506"/>
                <a:gd name="connsiteY1" fmla="*/ 79710 h 137788"/>
                <a:gd name="connsiteX2" fmla="*/ 181293 w 203506"/>
                <a:gd name="connsiteY2" fmla="*/ 58964 h 137788"/>
                <a:gd name="connsiteX3" fmla="*/ 127337 w 203506"/>
                <a:gd name="connsiteY3" fmla="*/ 58964 h 137788"/>
                <a:gd name="connsiteX4" fmla="*/ 102856 w 203506"/>
                <a:gd name="connsiteY4" fmla="*/ 16769 h 137788"/>
                <a:gd name="connsiteX5" fmla="*/ 81892 w 203506"/>
                <a:gd name="connsiteY5" fmla="*/ 0 h 137788"/>
                <a:gd name="connsiteX6" fmla="*/ 16757 w 203506"/>
                <a:gd name="connsiteY6" fmla="*/ 0 h 137788"/>
                <a:gd name="connsiteX7" fmla="*/ 0 w 203506"/>
                <a:gd name="connsiteY7" fmla="*/ 16769 h 137788"/>
                <a:gd name="connsiteX8" fmla="*/ 0 w 203506"/>
                <a:gd name="connsiteY8" fmla="*/ 137789 h 1377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03506" h="137788">
                  <a:moveTo>
                    <a:pt x="203506" y="120110"/>
                  </a:moveTo>
                  <a:lnTo>
                    <a:pt x="203506" y="79710"/>
                  </a:lnTo>
                  <a:cubicBezTo>
                    <a:pt x="203506" y="68943"/>
                    <a:pt x="196668" y="58964"/>
                    <a:pt x="181293" y="58964"/>
                  </a:cubicBezTo>
                  <a:lnTo>
                    <a:pt x="127337" y="58964"/>
                  </a:lnTo>
                  <a:lnTo>
                    <a:pt x="102856" y="16769"/>
                  </a:lnTo>
                  <a:cubicBezTo>
                    <a:pt x="97873" y="9082"/>
                    <a:pt x="91119" y="0"/>
                    <a:pt x="81892" y="0"/>
                  </a:cubicBezTo>
                  <a:lnTo>
                    <a:pt x="16757" y="0"/>
                  </a:lnTo>
                  <a:cubicBezTo>
                    <a:pt x="7530" y="0"/>
                    <a:pt x="0" y="7554"/>
                    <a:pt x="0" y="16769"/>
                  </a:cubicBezTo>
                  <a:lnTo>
                    <a:pt x="0" y="137789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48" name="Forma livre: Forma 2147">
              <a:extLst>
                <a:ext uri="{FF2B5EF4-FFF2-40B4-BE49-F238E27FC236}">
                  <a16:creationId xmlns:a16="http://schemas.microsoft.com/office/drawing/2014/main" id="{8BDBFC3F-C9E2-1588-39EC-172617D9BD4E}"/>
                </a:ext>
              </a:extLst>
            </p:cNvPr>
            <p:cNvSpPr/>
            <p:nvPr/>
          </p:nvSpPr>
          <p:spPr>
            <a:xfrm>
              <a:off x="7263744" y="5914924"/>
              <a:ext cx="24553" cy="25632"/>
            </a:xfrm>
            <a:custGeom>
              <a:avLst/>
              <a:gdLst>
                <a:gd name="connsiteX0" fmla="*/ 0 w 24553"/>
                <a:gd name="connsiteY0" fmla="*/ 25632 h 25632"/>
                <a:gd name="connsiteX1" fmla="*/ 24553 w 24553"/>
                <a:gd name="connsiteY1" fmla="*/ 25632 h 25632"/>
                <a:gd name="connsiteX2" fmla="*/ 24553 w 24553"/>
                <a:gd name="connsiteY2" fmla="*/ 0 h 25632"/>
                <a:gd name="connsiteX3" fmla="*/ 0 w 24553"/>
                <a:gd name="connsiteY3" fmla="*/ 0 h 256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553" h="25632">
                  <a:moveTo>
                    <a:pt x="0" y="25632"/>
                  </a:moveTo>
                  <a:lnTo>
                    <a:pt x="24553" y="25632"/>
                  </a:lnTo>
                  <a:lnTo>
                    <a:pt x="24553" y="0"/>
                  </a:lnTo>
                  <a:lnTo>
                    <a:pt x="0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49" name="Forma livre: Forma 2148">
              <a:extLst>
                <a:ext uri="{FF2B5EF4-FFF2-40B4-BE49-F238E27FC236}">
                  <a16:creationId xmlns:a16="http://schemas.microsoft.com/office/drawing/2014/main" id="{3C4B89B2-3A92-DB38-D37A-CF03D1087F8E}"/>
                </a:ext>
              </a:extLst>
            </p:cNvPr>
            <p:cNvSpPr/>
            <p:nvPr/>
          </p:nvSpPr>
          <p:spPr>
            <a:xfrm>
              <a:off x="6854550" y="5914924"/>
              <a:ext cx="32664" cy="25632"/>
            </a:xfrm>
            <a:custGeom>
              <a:avLst/>
              <a:gdLst>
                <a:gd name="connsiteX0" fmla="*/ 17108 w 32664"/>
                <a:gd name="connsiteY0" fmla="*/ 0 h 25632"/>
                <a:gd name="connsiteX1" fmla="*/ 0 w 32664"/>
                <a:gd name="connsiteY1" fmla="*/ 0 h 25632"/>
                <a:gd name="connsiteX2" fmla="*/ 0 w 32664"/>
                <a:gd name="connsiteY2" fmla="*/ 25632 h 25632"/>
                <a:gd name="connsiteX3" fmla="*/ 32665 w 32664"/>
                <a:gd name="connsiteY3" fmla="*/ 25632 h 256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2664" h="25632">
                  <a:moveTo>
                    <a:pt x="17108" y="0"/>
                  </a:moveTo>
                  <a:lnTo>
                    <a:pt x="0" y="0"/>
                  </a:lnTo>
                  <a:lnTo>
                    <a:pt x="0" y="25632"/>
                  </a:lnTo>
                  <a:lnTo>
                    <a:pt x="32665" y="25632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50" name="Forma livre: Forma 2149">
              <a:extLst>
                <a:ext uri="{FF2B5EF4-FFF2-40B4-BE49-F238E27FC236}">
                  <a16:creationId xmlns:a16="http://schemas.microsoft.com/office/drawing/2014/main" id="{26A76622-D771-ED87-72CE-1F10F80D7AA9}"/>
                </a:ext>
              </a:extLst>
            </p:cNvPr>
            <p:cNvSpPr/>
            <p:nvPr/>
          </p:nvSpPr>
          <p:spPr>
            <a:xfrm>
              <a:off x="6865171" y="5861744"/>
              <a:ext cx="180638" cy="33622"/>
            </a:xfrm>
            <a:custGeom>
              <a:avLst/>
              <a:gdLst>
                <a:gd name="connsiteX0" fmla="*/ 180638 w 180638"/>
                <a:gd name="connsiteY0" fmla="*/ 0 h 33622"/>
                <a:gd name="connsiteX1" fmla="*/ 0 w 180638"/>
                <a:gd name="connsiteY1" fmla="*/ 0 h 33622"/>
                <a:gd name="connsiteX2" fmla="*/ 0 w 180638"/>
                <a:gd name="connsiteY2" fmla="*/ 33623 h 336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80638" h="33622">
                  <a:moveTo>
                    <a:pt x="180638" y="0"/>
                  </a:moveTo>
                  <a:lnTo>
                    <a:pt x="0" y="0"/>
                  </a:lnTo>
                  <a:lnTo>
                    <a:pt x="0" y="33623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51" name="Forma livre: Forma 2150">
              <a:extLst>
                <a:ext uri="{FF2B5EF4-FFF2-40B4-BE49-F238E27FC236}">
                  <a16:creationId xmlns:a16="http://schemas.microsoft.com/office/drawing/2014/main" id="{47E27B88-3589-F88B-145E-4BDA5DFE5E87}"/>
                </a:ext>
              </a:extLst>
            </p:cNvPr>
            <p:cNvSpPr/>
            <p:nvPr/>
          </p:nvSpPr>
          <p:spPr>
            <a:xfrm>
              <a:off x="6891483" y="5788994"/>
              <a:ext cx="1212" cy="72556"/>
            </a:xfrm>
            <a:custGeom>
              <a:avLst/>
              <a:gdLst>
                <a:gd name="connsiteX0" fmla="*/ 0 w 1212"/>
                <a:gd name="connsiteY0" fmla="*/ 72556 h 72556"/>
                <a:gd name="connsiteX1" fmla="*/ 0 w 1212"/>
                <a:gd name="connsiteY1" fmla="*/ 0 h 725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12" h="72556">
                  <a:moveTo>
                    <a:pt x="0" y="72556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52" name="Forma livre: Forma 2151">
              <a:extLst>
                <a:ext uri="{FF2B5EF4-FFF2-40B4-BE49-F238E27FC236}">
                  <a16:creationId xmlns:a16="http://schemas.microsoft.com/office/drawing/2014/main" id="{027D7FBB-20BF-BF38-5DE4-0ECA9A8D28FC}"/>
                </a:ext>
              </a:extLst>
            </p:cNvPr>
            <p:cNvSpPr/>
            <p:nvPr/>
          </p:nvSpPr>
          <p:spPr>
            <a:xfrm>
              <a:off x="6952871" y="5788994"/>
              <a:ext cx="1212" cy="72556"/>
            </a:xfrm>
            <a:custGeom>
              <a:avLst/>
              <a:gdLst>
                <a:gd name="connsiteX0" fmla="*/ 0 w 1212"/>
                <a:gd name="connsiteY0" fmla="*/ 72556 h 72556"/>
                <a:gd name="connsiteX1" fmla="*/ 0 w 1212"/>
                <a:gd name="connsiteY1" fmla="*/ 0 h 725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12" h="72556">
                  <a:moveTo>
                    <a:pt x="0" y="72556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53" name="Forma livre: Forma 2152">
              <a:extLst>
                <a:ext uri="{FF2B5EF4-FFF2-40B4-BE49-F238E27FC236}">
                  <a16:creationId xmlns:a16="http://schemas.microsoft.com/office/drawing/2014/main" id="{A31F44ED-BB52-C60A-45BC-453159245EDE}"/>
                </a:ext>
              </a:extLst>
            </p:cNvPr>
            <p:cNvSpPr/>
            <p:nvPr/>
          </p:nvSpPr>
          <p:spPr>
            <a:xfrm>
              <a:off x="7014236" y="5788994"/>
              <a:ext cx="1212" cy="72556"/>
            </a:xfrm>
            <a:custGeom>
              <a:avLst/>
              <a:gdLst>
                <a:gd name="connsiteX0" fmla="*/ 0 w 1212"/>
                <a:gd name="connsiteY0" fmla="*/ 72556 h 72556"/>
                <a:gd name="connsiteX1" fmla="*/ 0 w 1212"/>
                <a:gd name="connsiteY1" fmla="*/ 0 h 725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12" h="72556">
                  <a:moveTo>
                    <a:pt x="0" y="72556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54" name="Forma livre: Forma 2153">
              <a:extLst>
                <a:ext uri="{FF2B5EF4-FFF2-40B4-BE49-F238E27FC236}">
                  <a16:creationId xmlns:a16="http://schemas.microsoft.com/office/drawing/2014/main" id="{E86C905A-9071-8BAC-3E80-B4DAF003F86D}"/>
                </a:ext>
              </a:extLst>
            </p:cNvPr>
            <p:cNvSpPr/>
            <p:nvPr/>
          </p:nvSpPr>
          <p:spPr>
            <a:xfrm>
              <a:off x="6859897" y="5835821"/>
              <a:ext cx="185912" cy="1212"/>
            </a:xfrm>
            <a:custGeom>
              <a:avLst/>
              <a:gdLst>
                <a:gd name="connsiteX0" fmla="*/ 0 w 185912"/>
                <a:gd name="connsiteY0" fmla="*/ 0 h 1212"/>
                <a:gd name="connsiteX1" fmla="*/ 185913 w 185912"/>
                <a:gd name="connsiteY1" fmla="*/ 0 h 12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5912" h="1212">
                  <a:moveTo>
                    <a:pt x="0" y="0"/>
                  </a:moveTo>
                  <a:lnTo>
                    <a:pt x="185913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55" name="Forma livre: Forma 2154">
              <a:extLst>
                <a:ext uri="{FF2B5EF4-FFF2-40B4-BE49-F238E27FC236}">
                  <a16:creationId xmlns:a16="http://schemas.microsoft.com/office/drawing/2014/main" id="{0DEF6199-F14D-30E5-3FAD-376BE60CB32D}"/>
                </a:ext>
              </a:extLst>
            </p:cNvPr>
            <p:cNvSpPr/>
            <p:nvPr/>
          </p:nvSpPr>
          <p:spPr>
            <a:xfrm>
              <a:off x="6859897" y="5808503"/>
              <a:ext cx="185912" cy="1212"/>
            </a:xfrm>
            <a:custGeom>
              <a:avLst/>
              <a:gdLst>
                <a:gd name="connsiteX0" fmla="*/ 0 w 185912"/>
                <a:gd name="connsiteY0" fmla="*/ 0 h 1212"/>
                <a:gd name="connsiteX1" fmla="*/ 185913 w 185912"/>
                <a:gd name="connsiteY1" fmla="*/ 0 h 12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5912" h="1212">
                  <a:moveTo>
                    <a:pt x="0" y="0"/>
                  </a:moveTo>
                  <a:lnTo>
                    <a:pt x="185913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56" name="Forma livre: Forma 2155">
              <a:extLst>
                <a:ext uri="{FF2B5EF4-FFF2-40B4-BE49-F238E27FC236}">
                  <a16:creationId xmlns:a16="http://schemas.microsoft.com/office/drawing/2014/main" id="{2CBB74E6-6F00-8DAF-DF29-E48AFB09C6A4}"/>
                </a:ext>
              </a:extLst>
            </p:cNvPr>
            <p:cNvSpPr/>
            <p:nvPr/>
          </p:nvSpPr>
          <p:spPr>
            <a:xfrm>
              <a:off x="7094540" y="5796718"/>
              <a:ext cx="72834" cy="37041"/>
            </a:xfrm>
            <a:custGeom>
              <a:avLst/>
              <a:gdLst>
                <a:gd name="connsiteX0" fmla="*/ 72835 w 72834"/>
                <a:gd name="connsiteY0" fmla="*/ 37042 h 37041"/>
                <a:gd name="connsiteX1" fmla="*/ 0 w 72834"/>
                <a:gd name="connsiteY1" fmla="*/ 37042 h 37041"/>
                <a:gd name="connsiteX2" fmla="*/ 0 w 72834"/>
                <a:gd name="connsiteY2" fmla="*/ 0 h 370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72834" h="37041">
                  <a:moveTo>
                    <a:pt x="72835" y="37042"/>
                  </a:moveTo>
                  <a:lnTo>
                    <a:pt x="0" y="37042"/>
                  </a:lnTo>
                  <a:lnTo>
                    <a:pt x="0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57" name="Forma livre: Forma 2156">
              <a:extLst>
                <a:ext uri="{FF2B5EF4-FFF2-40B4-BE49-F238E27FC236}">
                  <a16:creationId xmlns:a16="http://schemas.microsoft.com/office/drawing/2014/main" id="{143EEAC8-6F84-BEBB-5534-EBEC135BACD4}"/>
                </a:ext>
              </a:extLst>
            </p:cNvPr>
            <p:cNvSpPr/>
            <p:nvPr/>
          </p:nvSpPr>
          <p:spPr>
            <a:xfrm>
              <a:off x="6886633" y="5887025"/>
              <a:ext cx="129592" cy="70458"/>
            </a:xfrm>
            <a:custGeom>
              <a:avLst/>
              <a:gdLst>
                <a:gd name="connsiteX0" fmla="*/ 129592 w 129592"/>
                <a:gd name="connsiteY0" fmla="*/ 70458 h 70458"/>
                <a:gd name="connsiteX1" fmla="*/ 127288 w 129592"/>
                <a:gd name="connsiteY1" fmla="*/ 32277 h 70458"/>
                <a:gd name="connsiteX2" fmla="*/ 79722 w 129592"/>
                <a:gd name="connsiteY2" fmla="*/ 0 h 70458"/>
                <a:gd name="connsiteX3" fmla="*/ 49870 w 129592"/>
                <a:gd name="connsiteY3" fmla="*/ 0 h 70458"/>
                <a:gd name="connsiteX4" fmla="*/ 2304 w 129592"/>
                <a:gd name="connsiteY4" fmla="*/ 32277 h 70458"/>
                <a:gd name="connsiteX5" fmla="*/ 0 w 129592"/>
                <a:gd name="connsiteY5" fmla="*/ 70458 h 704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29592" h="70458">
                  <a:moveTo>
                    <a:pt x="129592" y="70458"/>
                  </a:moveTo>
                  <a:lnTo>
                    <a:pt x="127288" y="32277"/>
                  </a:lnTo>
                  <a:cubicBezTo>
                    <a:pt x="126415" y="13398"/>
                    <a:pt x="109695" y="0"/>
                    <a:pt x="79722" y="0"/>
                  </a:cubicBezTo>
                  <a:lnTo>
                    <a:pt x="49870" y="0"/>
                  </a:lnTo>
                  <a:cubicBezTo>
                    <a:pt x="19909" y="0"/>
                    <a:pt x="3189" y="13398"/>
                    <a:pt x="2304" y="32277"/>
                  </a:cubicBezTo>
                  <a:lnTo>
                    <a:pt x="0" y="70458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58" name="Forma livre: Forma 2157">
              <a:extLst>
                <a:ext uri="{FF2B5EF4-FFF2-40B4-BE49-F238E27FC236}">
                  <a16:creationId xmlns:a16="http://schemas.microsoft.com/office/drawing/2014/main" id="{06C82389-A746-1664-F8FB-DE2563CE7F54}"/>
                </a:ext>
              </a:extLst>
            </p:cNvPr>
            <p:cNvSpPr/>
            <p:nvPr/>
          </p:nvSpPr>
          <p:spPr>
            <a:xfrm>
              <a:off x="7144034" y="5887025"/>
              <a:ext cx="134478" cy="70458"/>
            </a:xfrm>
            <a:custGeom>
              <a:avLst/>
              <a:gdLst>
                <a:gd name="connsiteX0" fmla="*/ 134478 w 134478"/>
                <a:gd name="connsiteY0" fmla="*/ 29803 h 70458"/>
                <a:gd name="connsiteX1" fmla="*/ 102202 w 134478"/>
                <a:gd name="connsiteY1" fmla="*/ 0 h 70458"/>
                <a:gd name="connsiteX2" fmla="*/ 49870 w 134478"/>
                <a:gd name="connsiteY2" fmla="*/ 0 h 70458"/>
                <a:gd name="connsiteX3" fmla="*/ 2304 w 134478"/>
                <a:gd name="connsiteY3" fmla="*/ 32277 h 70458"/>
                <a:gd name="connsiteX4" fmla="*/ 0 w 134478"/>
                <a:gd name="connsiteY4" fmla="*/ 70458 h 704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4478" h="70458">
                  <a:moveTo>
                    <a:pt x="134478" y="29803"/>
                  </a:moveTo>
                  <a:cubicBezTo>
                    <a:pt x="134478" y="12052"/>
                    <a:pt x="119965" y="0"/>
                    <a:pt x="102202" y="0"/>
                  </a:cubicBezTo>
                  <a:lnTo>
                    <a:pt x="49870" y="0"/>
                  </a:lnTo>
                  <a:cubicBezTo>
                    <a:pt x="19909" y="0"/>
                    <a:pt x="3189" y="13398"/>
                    <a:pt x="2304" y="32277"/>
                  </a:cubicBezTo>
                  <a:lnTo>
                    <a:pt x="0" y="70458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2159" name="Gráfico 16">
              <a:extLst>
                <a:ext uri="{FF2B5EF4-FFF2-40B4-BE49-F238E27FC236}">
                  <a16:creationId xmlns:a16="http://schemas.microsoft.com/office/drawing/2014/main" id="{B759C085-FD6E-149C-A4E7-ECCDF7125F60}"/>
                </a:ext>
              </a:extLst>
            </p:cNvPr>
            <p:cNvGrpSpPr/>
            <p:nvPr/>
          </p:nvGrpSpPr>
          <p:grpSpPr>
            <a:xfrm>
              <a:off x="7172116" y="5909031"/>
              <a:ext cx="72701" cy="72701"/>
              <a:chOff x="7172116" y="5909031"/>
              <a:chExt cx="72701" cy="72701"/>
            </a:xfrm>
          </p:grpSpPr>
          <p:sp>
            <p:nvSpPr>
              <p:cNvPr id="2160" name="Forma livre: Forma 2159">
                <a:extLst>
                  <a:ext uri="{FF2B5EF4-FFF2-40B4-BE49-F238E27FC236}">
                    <a16:creationId xmlns:a16="http://schemas.microsoft.com/office/drawing/2014/main" id="{229EA53B-2D3C-A400-0077-79B7C7272C9B}"/>
                  </a:ext>
                </a:extLst>
              </p:cNvPr>
              <p:cNvSpPr/>
              <p:nvPr/>
            </p:nvSpPr>
            <p:spPr>
              <a:xfrm>
                <a:off x="7172116" y="5909031"/>
                <a:ext cx="72701" cy="72701"/>
              </a:xfrm>
              <a:custGeom>
                <a:avLst/>
                <a:gdLst>
                  <a:gd name="connsiteX0" fmla="*/ 72702 w 72701"/>
                  <a:gd name="connsiteY0" fmla="*/ 36351 h 72701"/>
                  <a:gd name="connsiteX1" fmla="*/ 36351 w 72701"/>
                  <a:gd name="connsiteY1" fmla="*/ 72701 h 72701"/>
                  <a:gd name="connsiteX2" fmla="*/ 0 w 72701"/>
                  <a:gd name="connsiteY2" fmla="*/ 36351 h 72701"/>
                  <a:gd name="connsiteX3" fmla="*/ 36351 w 72701"/>
                  <a:gd name="connsiteY3" fmla="*/ 0 h 72701"/>
                  <a:gd name="connsiteX4" fmla="*/ 72702 w 72701"/>
                  <a:gd name="connsiteY4" fmla="*/ 36351 h 727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2701" h="72701">
                    <a:moveTo>
                      <a:pt x="72702" y="36351"/>
                    </a:moveTo>
                    <a:cubicBezTo>
                      <a:pt x="72702" y="56430"/>
                      <a:pt x="56418" y="72701"/>
                      <a:pt x="36351" y="72701"/>
                    </a:cubicBezTo>
                    <a:cubicBezTo>
                      <a:pt x="16284" y="72701"/>
                      <a:pt x="0" y="56430"/>
                      <a:pt x="0" y="36351"/>
                    </a:cubicBezTo>
                    <a:cubicBezTo>
                      <a:pt x="0" y="16272"/>
                      <a:pt x="16284" y="0"/>
                      <a:pt x="36351" y="0"/>
                    </a:cubicBezTo>
                    <a:cubicBezTo>
                      <a:pt x="56418" y="0"/>
                      <a:pt x="72702" y="16284"/>
                      <a:pt x="72702" y="36351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161" name="Forma livre: Forma 2160">
                <a:extLst>
                  <a:ext uri="{FF2B5EF4-FFF2-40B4-BE49-F238E27FC236}">
                    <a16:creationId xmlns:a16="http://schemas.microsoft.com/office/drawing/2014/main" id="{7853B1FE-D048-6555-9527-BA0CB32EF247}"/>
                  </a:ext>
                </a:extLst>
              </p:cNvPr>
              <p:cNvSpPr/>
              <p:nvPr/>
            </p:nvSpPr>
            <p:spPr>
              <a:xfrm>
                <a:off x="7204793" y="5941720"/>
                <a:ext cx="7335" cy="7335"/>
              </a:xfrm>
              <a:custGeom>
                <a:avLst/>
                <a:gdLst>
                  <a:gd name="connsiteX0" fmla="*/ 7336 w 7335"/>
                  <a:gd name="connsiteY0" fmla="*/ 3686 h 7335"/>
                  <a:gd name="connsiteX1" fmla="*/ 3674 w 7335"/>
                  <a:gd name="connsiteY1" fmla="*/ 7336 h 7335"/>
                  <a:gd name="connsiteX2" fmla="*/ 0 w 7335"/>
                  <a:gd name="connsiteY2" fmla="*/ 3686 h 7335"/>
                  <a:gd name="connsiteX3" fmla="*/ 3674 w 7335"/>
                  <a:gd name="connsiteY3" fmla="*/ 0 h 7335"/>
                  <a:gd name="connsiteX4" fmla="*/ 7336 w 7335"/>
                  <a:gd name="connsiteY4" fmla="*/ 3686 h 73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335" h="7335">
                    <a:moveTo>
                      <a:pt x="7336" y="3686"/>
                    </a:moveTo>
                    <a:cubicBezTo>
                      <a:pt x="7336" y="5723"/>
                      <a:pt x="5711" y="7336"/>
                      <a:pt x="3674" y="7336"/>
                    </a:cubicBezTo>
                    <a:cubicBezTo>
                      <a:pt x="1637" y="7336"/>
                      <a:pt x="0" y="5711"/>
                      <a:pt x="0" y="3686"/>
                    </a:cubicBezTo>
                    <a:cubicBezTo>
                      <a:pt x="0" y="1661"/>
                      <a:pt x="1649" y="0"/>
                      <a:pt x="3674" y="0"/>
                    </a:cubicBezTo>
                    <a:cubicBezTo>
                      <a:pt x="5699" y="0"/>
                      <a:pt x="7336" y="1637"/>
                      <a:pt x="7336" y="3686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2162" name="Gráfico 16">
              <a:extLst>
                <a:ext uri="{FF2B5EF4-FFF2-40B4-BE49-F238E27FC236}">
                  <a16:creationId xmlns:a16="http://schemas.microsoft.com/office/drawing/2014/main" id="{0CBB6B69-9473-814B-1CF9-1E0297A05EF1}"/>
                </a:ext>
              </a:extLst>
            </p:cNvPr>
            <p:cNvGrpSpPr/>
            <p:nvPr/>
          </p:nvGrpSpPr>
          <p:grpSpPr>
            <a:xfrm>
              <a:off x="6914314" y="5909031"/>
              <a:ext cx="72701" cy="72701"/>
              <a:chOff x="6914314" y="5909031"/>
              <a:chExt cx="72701" cy="72701"/>
            </a:xfrm>
          </p:grpSpPr>
          <p:sp>
            <p:nvSpPr>
              <p:cNvPr id="2163" name="Forma livre: Forma 2162">
                <a:extLst>
                  <a:ext uri="{FF2B5EF4-FFF2-40B4-BE49-F238E27FC236}">
                    <a16:creationId xmlns:a16="http://schemas.microsoft.com/office/drawing/2014/main" id="{C5AF70F2-39D7-78B1-EFE9-AA7A68CA06E9}"/>
                  </a:ext>
                </a:extLst>
              </p:cNvPr>
              <p:cNvSpPr/>
              <p:nvPr/>
            </p:nvSpPr>
            <p:spPr>
              <a:xfrm>
                <a:off x="6914314" y="5909031"/>
                <a:ext cx="72701" cy="72701"/>
              </a:xfrm>
              <a:custGeom>
                <a:avLst/>
                <a:gdLst>
                  <a:gd name="connsiteX0" fmla="*/ 72701 w 72701"/>
                  <a:gd name="connsiteY0" fmla="*/ 36351 h 72701"/>
                  <a:gd name="connsiteX1" fmla="*/ 36351 w 72701"/>
                  <a:gd name="connsiteY1" fmla="*/ 72701 h 72701"/>
                  <a:gd name="connsiteX2" fmla="*/ 0 w 72701"/>
                  <a:gd name="connsiteY2" fmla="*/ 36351 h 72701"/>
                  <a:gd name="connsiteX3" fmla="*/ 36351 w 72701"/>
                  <a:gd name="connsiteY3" fmla="*/ 0 h 72701"/>
                  <a:gd name="connsiteX4" fmla="*/ 72701 w 72701"/>
                  <a:gd name="connsiteY4" fmla="*/ 36351 h 727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2701" h="72701">
                    <a:moveTo>
                      <a:pt x="72701" y="36351"/>
                    </a:moveTo>
                    <a:cubicBezTo>
                      <a:pt x="72701" y="56430"/>
                      <a:pt x="56418" y="72701"/>
                      <a:pt x="36351" y="72701"/>
                    </a:cubicBezTo>
                    <a:cubicBezTo>
                      <a:pt x="16284" y="72701"/>
                      <a:pt x="0" y="56430"/>
                      <a:pt x="0" y="36351"/>
                    </a:cubicBezTo>
                    <a:cubicBezTo>
                      <a:pt x="0" y="16272"/>
                      <a:pt x="16272" y="0"/>
                      <a:pt x="36351" y="0"/>
                    </a:cubicBezTo>
                    <a:cubicBezTo>
                      <a:pt x="56430" y="0"/>
                      <a:pt x="72701" y="16284"/>
                      <a:pt x="72701" y="36351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164" name="Forma livre: Forma 2163">
                <a:extLst>
                  <a:ext uri="{FF2B5EF4-FFF2-40B4-BE49-F238E27FC236}">
                    <a16:creationId xmlns:a16="http://schemas.microsoft.com/office/drawing/2014/main" id="{C25E36CD-71CE-AD46-71AE-80096B68B3F8}"/>
                  </a:ext>
                </a:extLst>
              </p:cNvPr>
              <p:cNvSpPr/>
              <p:nvPr/>
            </p:nvSpPr>
            <p:spPr>
              <a:xfrm>
                <a:off x="6947003" y="5941720"/>
                <a:ext cx="7323" cy="7335"/>
              </a:xfrm>
              <a:custGeom>
                <a:avLst/>
                <a:gdLst>
                  <a:gd name="connsiteX0" fmla="*/ 7324 w 7323"/>
                  <a:gd name="connsiteY0" fmla="*/ 3686 h 7335"/>
                  <a:gd name="connsiteX1" fmla="*/ 3662 w 7323"/>
                  <a:gd name="connsiteY1" fmla="*/ 7336 h 7335"/>
                  <a:gd name="connsiteX2" fmla="*/ 0 w 7323"/>
                  <a:gd name="connsiteY2" fmla="*/ 3686 h 7335"/>
                  <a:gd name="connsiteX3" fmla="*/ 3662 w 7323"/>
                  <a:gd name="connsiteY3" fmla="*/ 0 h 7335"/>
                  <a:gd name="connsiteX4" fmla="*/ 7324 w 7323"/>
                  <a:gd name="connsiteY4" fmla="*/ 3686 h 73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323" h="7335">
                    <a:moveTo>
                      <a:pt x="7324" y="3686"/>
                    </a:moveTo>
                    <a:cubicBezTo>
                      <a:pt x="7324" y="5723"/>
                      <a:pt x="5699" y="7336"/>
                      <a:pt x="3662" y="7336"/>
                    </a:cubicBezTo>
                    <a:cubicBezTo>
                      <a:pt x="1625" y="7336"/>
                      <a:pt x="0" y="5711"/>
                      <a:pt x="0" y="3686"/>
                    </a:cubicBezTo>
                    <a:cubicBezTo>
                      <a:pt x="0" y="1661"/>
                      <a:pt x="1637" y="0"/>
                      <a:pt x="3662" y="0"/>
                    </a:cubicBezTo>
                    <a:cubicBezTo>
                      <a:pt x="5687" y="0"/>
                      <a:pt x="7324" y="1637"/>
                      <a:pt x="7324" y="3686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2165" name="Gráfico 16">
            <a:extLst>
              <a:ext uri="{FF2B5EF4-FFF2-40B4-BE49-F238E27FC236}">
                <a16:creationId xmlns:a16="http://schemas.microsoft.com/office/drawing/2014/main" id="{AA479278-CC75-7B24-23EC-31D6BC82D2E5}"/>
              </a:ext>
            </a:extLst>
          </p:cNvPr>
          <p:cNvGrpSpPr/>
          <p:nvPr/>
        </p:nvGrpSpPr>
        <p:grpSpPr>
          <a:xfrm>
            <a:off x="6886075" y="4651414"/>
            <a:ext cx="370697" cy="212818"/>
            <a:chOff x="6886075" y="4651414"/>
            <a:chExt cx="370697" cy="212818"/>
          </a:xfrm>
          <a:noFill/>
        </p:grpSpPr>
        <p:grpSp>
          <p:nvGrpSpPr>
            <p:cNvPr id="2166" name="Gráfico 16">
              <a:extLst>
                <a:ext uri="{FF2B5EF4-FFF2-40B4-BE49-F238E27FC236}">
                  <a16:creationId xmlns:a16="http://schemas.microsoft.com/office/drawing/2014/main" id="{EE1FCD72-3684-36AE-15E5-8022E14F42B5}"/>
                </a:ext>
              </a:extLst>
            </p:cNvPr>
            <p:cNvGrpSpPr/>
            <p:nvPr/>
          </p:nvGrpSpPr>
          <p:grpSpPr>
            <a:xfrm>
              <a:off x="6886075" y="4651414"/>
              <a:ext cx="370697" cy="212818"/>
              <a:chOff x="6886075" y="4651414"/>
              <a:chExt cx="370697" cy="212818"/>
            </a:xfrm>
            <a:noFill/>
          </p:grpSpPr>
          <p:grpSp>
            <p:nvGrpSpPr>
              <p:cNvPr id="2167" name="Gráfico 16">
                <a:extLst>
                  <a:ext uri="{FF2B5EF4-FFF2-40B4-BE49-F238E27FC236}">
                    <a16:creationId xmlns:a16="http://schemas.microsoft.com/office/drawing/2014/main" id="{61AD52EF-5A0C-CD6E-C7CD-E9137F25E93D}"/>
                  </a:ext>
                </a:extLst>
              </p:cNvPr>
              <p:cNvGrpSpPr/>
              <p:nvPr/>
            </p:nvGrpSpPr>
            <p:grpSpPr>
              <a:xfrm>
                <a:off x="6925469" y="4807547"/>
                <a:ext cx="331303" cy="56684"/>
                <a:chOff x="6925469" y="4807547"/>
                <a:chExt cx="331303" cy="56684"/>
              </a:xfrm>
              <a:noFill/>
            </p:grpSpPr>
            <p:sp>
              <p:nvSpPr>
                <p:cNvPr id="2168" name="Forma livre: Forma 2167">
                  <a:extLst>
                    <a:ext uri="{FF2B5EF4-FFF2-40B4-BE49-F238E27FC236}">
                      <a16:creationId xmlns:a16="http://schemas.microsoft.com/office/drawing/2014/main" id="{23EDC8FF-0170-50FD-7A84-012E17310626}"/>
                    </a:ext>
                  </a:extLst>
                </p:cNvPr>
                <p:cNvSpPr/>
                <p:nvPr/>
              </p:nvSpPr>
              <p:spPr>
                <a:xfrm>
                  <a:off x="7002014" y="4832561"/>
                  <a:ext cx="134575" cy="1212"/>
                </a:xfrm>
                <a:custGeom>
                  <a:avLst/>
                  <a:gdLst>
                    <a:gd name="connsiteX0" fmla="*/ 0 w 134575"/>
                    <a:gd name="connsiteY0" fmla="*/ 0 h 1212"/>
                    <a:gd name="connsiteX1" fmla="*/ 134575 w 134575"/>
                    <a:gd name="connsiteY1" fmla="*/ 0 h 121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34575" h="1212">
                      <a:moveTo>
                        <a:pt x="0" y="0"/>
                      </a:moveTo>
                      <a:lnTo>
                        <a:pt x="134575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169" name="Forma livre: Forma 2168">
                  <a:extLst>
                    <a:ext uri="{FF2B5EF4-FFF2-40B4-BE49-F238E27FC236}">
                      <a16:creationId xmlns:a16="http://schemas.microsoft.com/office/drawing/2014/main" id="{E61F3B43-3981-1BD3-4A64-4FE16F4C7055}"/>
                    </a:ext>
                  </a:extLst>
                </p:cNvPr>
                <p:cNvSpPr/>
                <p:nvPr/>
              </p:nvSpPr>
              <p:spPr>
                <a:xfrm>
                  <a:off x="7217003" y="4807547"/>
                  <a:ext cx="39769" cy="25013"/>
                </a:xfrm>
                <a:custGeom>
                  <a:avLst/>
                  <a:gdLst>
                    <a:gd name="connsiteX0" fmla="*/ 0 w 39769"/>
                    <a:gd name="connsiteY0" fmla="*/ 25014 h 25013"/>
                    <a:gd name="connsiteX1" fmla="*/ 39770 w 39769"/>
                    <a:gd name="connsiteY1" fmla="*/ 25014 h 25013"/>
                    <a:gd name="connsiteX2" fmla="*/ 39770 w 39769"/>
                    <a:gd name="connsiteY2" fmla="*/ 0 h 25013"/>
                    <a:gd name="connsiteX3" fmla="*/ 13398 w 39769"/>
                    <a:gd name="connsiteY3" fmla="*/ 0 h 2501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39769" h="25013">
                      <a:moveTo>
                        <a:pt x="0" y="25014"/>
                      </a:moveTo>
                      <a:lnTo>
                        <a:pt x="39770" y="25014"/>
                      </a:lnTo>
                      <a:lnTo>
                        <a:pt x="39770" y="0"/>
                      </a:lnTo>
                      <a:lnTo>
                        <a:pt x="13398" y="0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170" name="Forma livre: Forma 2169">
                  <a:extLst>
                    <a:ext uri="{FF2B5EF4-FFF2-40B4-BE49-F238E27FC236}">
                      <a16:creationId xmlns:a16="http://schemas.microsoft.com/office/drawing/2014/main" id="{2B1D1264-4C1B-1AF2-12AE-302E014E8ADD}"/>
                    </a:ext>
                  </a:extLst>
                </p:cNvPr>
                <p:cNvSpPr/>
                <p:nvPr/>
              </p:nvSpPr>
              <p:spPr>
                <a:xfrm>
                  <a:off x="7159190" y="4808966"/>
                  <a:ext cx="55265" cy="55265"/>
                </a:xfrm>
                <a:custGeom>
                  <a:avLst/>
                  <a:gdLst>
                    <a:gd name="connsiteX0" fmla="*/ 55266 w 55265"/>
                    <a:gd name="connsiteY0" fmla="*/ 27633 h 55265"/>
                    <a:gd name="connsiteX1" fmla="*/ 27633 w 55265"/>
                    <a:gd name="connsiteY1" fmla="*/ 55266 h 55265"/>
                    <a:gd name="connsiteX2" fmla="*/ 0 w 55265"/>
                    <a:gd name="connsiteY2" fmla="*/ 27633 h 55265"/>
                    <a:gd name="connsiteX3" fmla="*/ 27633 w 55265"/>
                    <a:gd name="connsiteY3" fmla="*/ 0 h 55265"/>
                    <a:gd name="connsiteX4" fmla="*/ 55266 w 55265"/>
                    <a:gd name="connsiteY4" fmla="*/ 27633 h 5526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5265" h="55265">
                      <a:moveTo>
                        <a:pt x="55266" y="27633"/>
                      </a:moveTo>
                      <a:cubicBezTo>
                        <a:pt x="55266" y="42898"/>
                        <a:pt x="42898" y="55266"/>
                        <a:pt x="27633" y="55266"/>
                      </a:cubicBezTo>
                      <a:cubicBezTo>
                        <a:pt x="12368" y="55266"/>
                        <a:pt x="0" y="42898"/>
                        <a:pt x="0" y="27633"/>
                      </a:cubicBezTo>
                      <a:cubicBezTo>
                        <a:pt x="0" y="12367"/>
                        <a:pt x="12368" y="0"/>
                        <a:pt x="27633" y="0"/>
                      </a:cubicBezTo>
                      <a:cubicBezTo>
                        <a:pt x="42898" y="0"/>
                        <a:pt x="55266" y="12367"/>
                        <a:pt x="55266" y="27633"/>
                      </a:cubicBezTo>
                      <a:close/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171" name="Forma livre: Forma 2170">
                  <a:extLst>
                    <a:ext uri="{FF2B5EF4-FFF2-40B4-BE49-F238E27FC236}">
                      <a16:creationId xmlns:a16="http://schemas.microsoft.com/office/drawing/2014/main" id="{72750674-0B7D-24B8-C3F5-C84B824FAD4E}"/>
                    </a:ext>
                  </a:extLst>
                </p:cNvPr>
                <p:cNvSpPr/>
                <p:nvPr/>
              </p:nvSpPr>
              <p:spPr>
                <a:xfrm>
                  <a:off x="6925469" y="4808966"/>
                  <a:ext cx="55265" cy="55265"/>
                </a:xfrm>
                <a:custGeom>
                  <a:avLst/>
                  <a:gdLst>
                    <a:gd name="connsiteX0" fmla="*/ 55266 w 55265"/>
                    <a:gd name="connsiteY0" fmla="*/ 27633 h 55265"/>
                    <a:gd name="connsiteX1" fmla="*/ 27633 w 55265"/>
                    <a:gd name="connsiteY1" fmla="*/ 55266 h 55265"/>
                    <a:gd name="connsiteX2" fmla="*/ 0 w 55265"/>
                    <a:gd name="connsiteY2" fmla="*/ 27633 h 55265"/>
                    <a:gd name="connsiteX3" fmla="*/ 27633 w 55265"/>
                    <a:gd name="connsiteY3" fmla="*/ 0 h 55265"/>
                    <a:gd name="connsiteX4" fmla="*/ 55266 w 55265"/>
                    <a:gd name="connsiteY4" fmla="*/ 27633 h 5526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5265" h="55265">
                      <a:moveTo>
                        <a:pt x="55266" y="27633"/>
                      </a:moveTo>
                      <a:cubicBezTo>
                        <a:pt x="55266" y="42898"/>
                        <a:pt x="42898" y="55266"/>
                        <a:pt x="27633" y="55266"/>
                      </a:cubicBezTo>
                      <a:cubicBezTo>
                        <a:pt x="12367" y="55266"/>
                        <a:pt x="0" y="42898"/>
                        <a:pt x="0" y="27633"/>
                      </a:cubicBezTo>
                      <a:cubicBezTo>
                        <a:pt x="0" y="12367"/>
                        <a:pt x="12367" y="0"/>
                        <a:pt x="27633" y="0"/>
                      </a:cubicBezTo>
                      <a:cubicBezTo>
                        <a:pt x="42898" y="0"/>
                        <a:pt x="55266" y="12367"/>
                        <a:pt x="55266" y="27633"/>
                      </a:cubicBezTo>
                      <a:close/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2172" name="Forma livre: Forma 2171">
                <a:extLst>
                  <a:ext uri="{FF2B5EF4-FFF2-40B4-BE49-F238E27FC236}">
                    <a16:creationId xmlns:a16="http://schemas.microsoft.com/office/drawing/2014/main" id="{EE90C2F6-CC55-5B0B-26BF-44CC74980CC6}"/>
                  </a:ext>
                </a:extLst>
              </p:cNvPr>
              <p:cNvSpPr/>
              <p:nvPr/>
            </p:nvSpPr>
            <p:spPr>
              <a:xfrm>
                <a:off x="7113673" y="4691887"/>
                <a:ext cx="136624" cy="110713"/>
              </a:xfrm>
              <a:custGeom>
                <a:avLst/>
                <a:gdLst>
                  <a:gd name="connsiteX0" fmla="*/ 136625 w 136624"/>
                  <a:gd name="connsiteY0" fmla="*/ 110713 h 110713"/>
                  <a:gd name="connsiteX1" fmla="*/ 136625 w 136624"/>
                  <a:gd name="connsiteY1" fmla="*/ 83068 h 110713"/>
                  <a:gd name="connsiteX2" fmla="*/ 77624 w 136624"/>
                  <a:gd name="connsiteY2" fmla="*/ 58224 h 110713"/>
                  <a:gd name="connsiteX3" fmla="*/ 35708 w 136624"/>
                  <a:gd name="connsiteY3" fmla="*/ 0 h 110713"/>
                  <a:gd name="connsiteX4" fmla="*/ 0 w 136624"/>
                  <a:gd name="connsiteY4" fmla="*/ 0 h 1107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36624" h="110713">
                    <a:moveTo>
                      <a:pt x="136625" y="110713"/>
                    </a:moveTo>
                    <a:lnTo>
                      <a:pt x="136625" y="83068"/>
                    </a:lnTo>
                    <a:lnTo>
                      <a:pt x="77624" y="58224"/>
                    </a:lnTo>
                    <a:lnTo>
                      <a:pt x="35708" y="0"/>
                    </a:lnTo>
                    <a:lnTo>
                      <a:pt x="0" y="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173" name="Forma livre: Forma 2172">
                <a:extLst>
                  <a:ext uri="{FF2B5EF4-FFF2-40B4-BE49-F238E27FC236}">
                    <a16:creationId xmlns:a16="http://schemas.microsoft.com/office/drawing/2014/main" id="{22B24847-1649-75BE-6F87-9DC49D76BDD0}"/>
                  </a:ext>
                </a:extLst>
              </p:cNvPr>
              <p:cNvSpPr/>
              <p:nvPr/>
            </p:nvSpPr>
            <p:spPr>
              <a:xfrm>
                <a:off x="7137560" y="4750111"/>
                <a:ext cx="53738" cy="1212"/>
              </a:xfrm>
              <a:custGeom>
                <a:avLst/>
                <a:gdLst>
                  <a:gd name="connsiteX0" fmla="*/ 53738 w 53738"/>
                  <a:gd name="connsiteY0" fmla="*/ 0 h 1212"/>
                  <a:gd name="connsiteX1" fmla="*/ 0 w 53738"/>
                  <a:gd name="connsiteY1" fmla="*/ 0 h 12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3738" h="1212">
                    <a:moveTo>
                      <a:pt x="53738" y="0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174" name="Forma livre: Forma 2173">
                <a:extLst>
                  <a:ext uri="{FF2B5EF4-FFF2-40B4-BE49-F238E27FC236}">
                    <a16:creationId xmlns:a16="http://schemas.microsoft.com/office/drawing/2014/main" id="{015AD5CA-5FA9-D122-E0BD-92678158CE42}"/>
                  </a:ext>
                </a:extLst>
              </p:cNvPr>
              <p:cNvSpPr/>
              <p:nvPr/>
            </p:nvSpPr>
            <p:spPr>
              <a:xfrm>
                <a:off x="6886075" y="4651414"/>
                <a:ext cx="228325" cy="181874"/>
              </a:xfrm>
              <a:custGeom>
                <a:avLst/>
                <a:gdLst>
                  <a:gd name="connsiteX0" fmla="*/ 38339 w 228325"/>
                  <a:gd name="connsiteY0" fmla="*/ 181875 h 181874"/>
                  <a:gd name="connsiteX1" fmla="*/ 9955 w 228325"/>
                  <a:gd name="connsiteY1" fmla="*/ 181875 h 181874"/>
                  <a:gd name="connsiteX2" fmla="*/ 0 w 228325"/>
                  <a:gd name="connsiteY2" fmla="*/ 171908 h 181874"/>
                  <a:gd name="connsiteX3" fmla="*/ 0 w 228325"/>
                  <a:gd name="connsiteY3" fmla="*/ 9955 h 181874"/>
                  <a:gd name="connsiteX4" fmla="*/ 9955 w 228325"/>
                  <a:gd name="connsiteY4" fmla="*/ 0 h 181874"/>
                  <a:gd name="connsiteX5" fmla="*/ 218371 w 228325"/>
                  <a:gd name="connsiteY5" fmla="*/ 0 h 181874"/>
                  <a:gd name="connsiteX6" fmla="*/ 228326 w 228325"/>
                  <a:gd name="connsiteY6" fmla="*/ 9955 h 181874"/>
                  <a:gd name="connsiteX7" fmla="*/ 228326 w 228325"/>
                  <a:gd name="connsiteY7" fmla="*/ 147901 h 1818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28325" h="181874">
                    <a:moveTo>
                      <a:pt x="38339" y="181875"/>
                    </a:moveTo>
                    <a:lnTo>
                      <a:pt x="9955" y="181875"/>
                    </a:lnTo>
                    <a:cubicBezTo>
                      <a:pt x="4474" y="181875"/>
                      <a:pt x="0" y="177389"/>
                      <a:pt x="0" y="171908"/>
                    </a:cubicBezTo>
                    <a:lnTo>
                      <a:pt x="0" y="9955"/>
                    </a:lnTo>
                    <a:cubicBezTo>
                      <a:pt x="0" y="4474"/>
                      <a:pt x="4486" y="0"/>
                      <a:pt x="9955" y="0"/>
                    </a:cubicBezTo>
                    <a:lnTo>
                      <a:pt x="218371" y="0"/>
                    </a:lnTo>
                    <a:cubicBezTo>
                      <a:pt x="223852" y="0"/>
                      <a:pt x="228326" y="4486"/>
                      <a:pt x="228326" y="9955"/>
                    </a:cubicBezTo>
                    <a:lnTo>
                      <a:pt x="228326" y="147901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2175" name="Forma livre: Forma 2174">
              <a:extLst>
                <a:ext uri="{FF2B5EF4-FFF2-40B4-BE49-F238E27FC236}">
                  <a16:creationId xmlns:a16="http://schemas.microsoft.com/office/drawing/2014/main" id="{631816CF-A8CC-F2DC-79DE-A194B13C3C1C}"/>
                </a:ext>
              </a:extLst>
            </p:cNvPr>
            <p:cNvSpPr/>
            <p:nvPr/>
          </p:nvSpPr>
          <p:spPr>
            <a:xfrm>
              <a:off x="6908300" y="4780642"/>
              <a:ext cx="181887" cy="1212"/>
            </a:xfrm>
            <a:custGeom>
              <a:avLst/>
              <a:gdLst>
                <a:gd name="connsiteX0" fmla="*/ 0 w 181887"/>
                <a:gd name="connsiteY0" fmla="*/ 0 h 1212"/>
                <a:gd name="connsiteX1" fmla="*/ 181887 w 181887"/>
                <a:gd name="connsiteY1" fmla="*/ 0 h 12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1887" h="1212">
                  <a:moveTo>
                    <a:pt x="0" y="0"/>
                  </a:moveTo>
                  <a:lnTo>
                    <a:pt x="181887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2176" name="Gráfico 16">
            <a:extLst>
              <a:ext uri="{FF2B5EF4-FFF2-40B4-BE49-F238E27FC236}">
                <a16:creationId xmlns:a16="http://schemas.microsoft.com/office/drawing/2014/main" id="{6F9415C7-A69F-2B34-37AD-A7E908F55392}"/>
              </a:ext>
            </a:extLst>
          </p:cNvPr>
          <p:cNvGrpSpPr/>
          <p:nvPr/>
        </p:nvGrpSpPr>
        <p:grpSpPr>
          <a:xfrm>
            <a:off x="6894283" y="4074433"/>
            <a:ext cx="354280" cy="268968"/>
            <a:chOff x="6894283" y="4074433"/>
            <a:chExt cx="354280" cy="268968"/>
          </a:xfrm>
          <a:noFill/>
        </p:grpSpPr>
        <p:sp>
          <p:nvSpPr>
            <p:cNvPr id="2177" name="Forma livre: Forma 2176">
              <a:extLst>
                <a:ext uri="{FF2B5EF4-FFF2-40B4-BE49-F238E27FC236}">
                  <a16:creationId xmlns:a16="http://schemas.microsoft.com/office/drawing/2014/main" id="{AAC9D832-5939-D7B9-1E8E-12ED19D7D1B9}"/>
                </a:ext>
              </a:extLst>
            </p:cNvPr>
            <p:cNvSpPr/>
            <p:nvPr/>
          </p:nvSpPr>
          <p:spPr>
            <a:xfrm>
              <a:off x="7119530" y="4206099"/>
              <a:ext cx="43662" cy="4110"/>
            </a:xfrm>
            <a:custGeom>
              <a:avLst/>
              <a:gdLst>
                <a:gd name="connsiteX0" fmla="*/ 43662 w 43662"/>
                <a:gd name="connsiteY0" fmla="*/ 4110 h 4110"/>
                <a:gd name="connsiteX1" fmla="*/ 0 w 43662"/>
                <a:gd name="connsiteY1" fmla="*/ 0 h 41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3662" h="4110">
                  <a:moveTo>
                    <a:pt x="43662" y="4110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78" name="Forma livre: Forma 2177">
              <a:extLst>
                <a:ext uri="{FF2B5EF4-FFF2-40B4-BE49-F238E27FC236}">
                  <a16:creationId xmlns:a16="http://schemas.microsoft.com/office/drawing/2014/main" id="{68316B90-F801-1AF9-40A5-7C595BF13B52}"/>
                </a:ext>
              </a:extLst>
            </p:cNvPr>
            <p:cNvSpPr/>
            <p:nvPr/>
          </p:nvSpPr>
          <p:spPr>
            <a:xfrm>
              <a:off x="7067889" y="4077513"/>
              <a:ext cx="174022" cy="171944"/>
            </a:xfrm>
            <a:custGeom>
              <a:avLst/>
              <a:gdLst>
                <a:gd name="connsiteX0" fmla="*/ 0 w 174022"/>
                <a:gd name="connsiteY0" fmla="*/ 0 h 171944"/>
                <a:gd name="connsiteX1" fmla="*/ 18903 w 174022"/>
                <a:gd name="connsiteY1" fmla="*/ 96988 h 171944"/>
                <a:gd name="connsiteX2" fmla="*/ 157346 w 174022"/>
                <a:gd name="connsiteY2" fmla="*/ 112241 h 171944"/>
                <a:gd name="connsiteX3" fmla="*/ 173460 w 174022"/>
                <a:gd name="connsiteY3" fmla="*/ 133775 h 171944"/>
                <a:gd name="connsiteX4" fmla="*/ 162233 w 174022"/>
                <a:gd name="connsiteY4" fmla="*/ 171945 h 171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4022" h="171944">
                  <a:moveTo>
                    <a:pt x="0" y="0"/>
                  </a:moveTo>
                  <a:lnTo>
                    <a:pt x="18903" y="96988"/>
                  </a:lnTo>
                  <a:lnTo>
                    <a:pt x="157346" y="112241"/>
                  </a:lnTo>
                  <a:cubicBezTo>
                    <a:pt x="157346" y="112241"/>
                    <a:pt x="177619" y="113066"/>
                    <a:pt x="173460" y="133775"/>
                  </a:cubicBezTo>
                  <a:lnTo>
                    <a:pt x="162233" y="171945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79" name="Forma livre: Forma 2178">
              <a:extLst>
                <a:ext uri="{FF2B5EF4-FFF2-40B4-BE49-F238E27FC236}">
                  <a16:creationId xmlns:a16="http://schemas.microsoft.com/office/drawing/2014/main" id="{6640F55B-3E3B-1154-6F82-D00BD988CD09}"/>
                </a:ext>
              </a:extLst>
            </p:cNvPr>
            <p:cNvSpPr/>
            <p:nvPr/>
          </p:nvSpPr>
          <p:spPr>
            <a:xfrm>
              <a:off x="6942420" y="4076931"/>
              <a:ext cx="14453" cy="82389"/>
            </a:xfrm>
            <a:custGeom>
              <a:avLst/>
              <a:gdLst>
                <a:gd name="connsiteX0" fmla="*/ 14453 w 14453"/>
                <a:gd name="connsiteY0" fmla="*/ 0 h 82389"/>
                <a:gd name="connsiteX1" fmla="*/ 0 w 14453"/>
                <a:gd name="connsiteY1" fmla="*/ 82389 h 823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4453" h="82389">
                  <a:moveTo>
                    <a:pt x="14453" y="0"/>
                  </a:moveTo>
                  <a:lnTo>
                    <a:pt x="0" y="82389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80" name="Forma livre: Forma 2179">
              <a:extLst>
                <a:ext uri="{FF2B5EF4-FFF2-40B4-BE49-F238E27FC236}">
                  <a16:creationId xmlns:a16="http://schemas.microsoft.com/office/drawing/2014/main" id="{DEDFE08E-9886-977B-57FD-D56805D49068}"/>
                </a:ext>
              </a:extLst>
            </p:cNvPr>
            <p:cNvSpPr/>
            <p:nvPr/>
          </p:nvSpPr>
          <p:spPr>
            <a:xfrm>
              <a:off x="7001784" y="4074433"/>
              <a:ext cx="1212" cy="84729"/>
            </a:xfrm>
            <a:custGeom>
              <a:avLst/>
              <a:gdLst>
                <a:gd name="connsiteX0" fmla="*/ 0 w 1212"/>
                <a:gd name="connsiteY0" fmla="*/ 0 h 84729"/>
                <a:gd name="connsiteX1" fmla="*/ 0 w 1212"/>
                <a:gd name="connsiteY1" fmla="*/ 84730 h 847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12" h="84729">
                  <a:moveTo>
                    <a:pt x="0" y="0"/>
                  </a:moveTo>
                  <a:lnTo>
                    <a:pt x="0" y="8473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81" name="Forma livre: Forma 2180">
              <a:extLst>
                <a:ext uri="{FF2B5EF4-FFF2-40B4-BE49-F238E27FC236}">
                  <a16:creationId xmlns:a16="http://schemas.microsoft.com/office/drawing/2014/main" id="{FE68A878-AF93-DFBB-20C6-6F8E2438830F}"/>
                </a:ext>
              </a:extLst>
            </p:cNvPr>
            <p:cNvSpPr/>
            <p:nvPr/>
          </p:nvSpPr>
          <p:spPr>
            <a:xfrm>
              <a:off x="6942056" y="4074688"/>
              <a:ext cx="125833" cy="1212"/>
            </a:xfrm>
            <a:custGeom>
              <a:avLst/>
              <a:gdLst>
                <a:gd name="connsiteX0" fmla="*/ 0 w 125833"/>
                <a:gd name="connsiteY0" fmla="*/ 0 h 1212"/>
                <a:gd name="connsiteX1" fmla="*/ 125833 w 125833"/>
                <a:gd name="connsiteY1" fmla="*/ 0 h 12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833" h="1212">
                  <a:moveTo>
                    <a:pt x="0" y="0"/>
                  </a:moveTo>
                  <a:lnTo>
                    <a:pt x="125833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82" name="Forma livre: Forma 2181">
              <a:extLst>
                <a:ext uri="{FF2B5EF4-FFF2-40B4-BE49-F238E27FC236}">
                  <a16:creationId xmlns:a16="http://schemas.microsoft.com/office/drawing/2014/main" id="{D06AA6B3-B139-2CE1-30C5-35E9C5B40295}"/>
                </a:ext>
              </a:extLst>
            </p:cNvPr>
            <p:cNvSpPr/>
            <p:nvPr/>
          </p:nvSpPr>
          <p:spPr>
            <a:xfrm>
              <a:off x="6901364" y="4202437"/>
              <a:ext cx="140953" cy="140965"/>
            </a:xfrm>
            <a:custGeom>
              <a:avLst/>
              <a:gdLst>
                <a:gd name="connsiteX0" fmla="*/ 140953 w 140953"/>
                <a:gd name="connsiteY0" fmla="*/ 70483 h 140965"/>
                <a:gd name="connsiteX1" fmla="*/ 70471 w 140953"/>
                <a:gd name="connsiteY1" fmla="*/ 140965 h 140965"/>
                <a:gd name="connsiteX2" fmla="*/ 0 w 140953"/>
                <a:gd name="connsiteY2" fmla="*/ 70483 h 140965"/>
                <a:gd name="connsiteX3" fmla="*/ 70471 w 140953"/>
                <a:gd name="connsiteY3" fmla="*/ 0 h 140965"/>
                <a:gd name="connsiteX4" fmla="*/ 140953 w 140953"/>
                <a:gd name="connsiteY4" fmla="*/ 70483 h 1409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0953" h="140965">
                  <a:moveTo>
                    <a:pt x="140953" y="70483"/>
                  </a:moveTo>
                  <a:cubicBezTo>
                    <a:pt x="140953" y="109416"/>
                    <a:pt x="109392" y="140965"/>
                    <a:pt x="70471" y="140965"/>
                  </a:cubicBezTo>
                  <a:cubicBezTo>
                    <a:pt x="31549" y="140965"/>
                    <a:pt x="0" y="109416"/>
                    <a:pt x="0" y="70483"/>
                  </a:cubicBezTo>
                  <a:cubicBezTo>
                    <a:pt x="0" y="31549"/>
                    <a:pt x="31549" y="0"/>
                    <a:pt x="70471" y="0"/>
                  </a:cubicBezTo>
                  <a:cubicBezTo>
                    <a:pt x="109392" y="0"/>
                    <a:pt x="140953" y="31549"/>
                    <a:pt x="140953" y="70483"/>
                  </a:cubicBez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83" name="Forma livre: Forma 2182">
              <a:extLst>
                <a:ext uri="{FF2B5EF4-FFF2-40B4-BE49-F238E27FC236}">
                  <a16:creationId xmlns:a16="http://schemas.microsoft.com/office/drawing/2014/main" id="{768EFE75-D535-1A9F-4582-3BF4ACA88972}"/>
                </a:ext>
              </a:extLst>
            </p:cNvPr>
            <p:cNvSpPr/>
            <p:nvPr/>
          </p:nvSpPr>
          <p:spPr>
            <a:xfrm>
              <a:off x="6941280" y="4242353"/>
              <a:ext cx="61122" cy="61109"/>
            </a:xfrm>
            <a:custGeom>
              <a:avLst/>
              <a:gdLst>
                <a:gd name="connsiteX0" fmla="*/ 16526 w 61122"/>
                <a:gd name="connsiteY0" fmla="*/ 3407 h 61109"/>
                <a:gd name="connsiteX1" fmla="*/ 30555 w 61122"/>
                <a:gd name="connsiteY1" fmla="*/ 0 h 61109"/>
                <a:gd name="connsiteX2" fmla="*/ 61122 w 61122"/>
                <a:gd name="connsiteY2" fmla="*/ 30555 h 61109"/>
                <a:gd name="connsiteX3" fmla="*/ 30555 w 61122"/>
                <a:gd name="connsiteY3" fmla="*/ 61110 h 61109"/>
                <a:gd name="connsiteX4" fmla="*/ 0 w 61122"/>
                <a:gd name="connsiteY4" fmla="*/ 30555 h 61109"/>
                <a:gd name="connsiteX5" fmla="*/ 1176 w 61122"/>
                <a:gd name="connsiteY5" fmla="*/ 22104 h 611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1122" h="61109">
                  <a:moveTo>
                    <a:pt x="16526" y="3407"/>
                  </a:moveTo>
                  <a:cubicBezTo>
                    <a:pt x="20722" y="1225"/>
                    <a:pt x="25499" y="0"/>
                    <a:pt x="30555" y="0"/>
                  </a:cubicBezTo>
                  <a:cubicBezTo>
                    <a:pt x="47445" y="0"/>
                    <a:pt x="61122" y="13677"/>
                    <a:pt x="61122" y="30555"/>
                  </a:cubicBezTo>
                  <a:cubicBezTo>
                    <a:pt x="61122" y="47433"/>
                    <a:pt x="47445" y="61110"/>
                    <a:pt x="30555" y="61110"/>
                  </a:cubicBezTo>
                  <a:cubicBezTo>
                    <a:pt x="13665" y="61110"/>
                    <a:pt x="0" y="47433"/>
                    <a:pt x="0" y="30555"/>
                  </a:cubicBezTo>
                  <a:cubicBezTo>
                    <a:pt x="0" y="27633"/>
                    <a:pt x="412" y="24784"/>
                    <a:pt x="1176" y="22104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84" name="Forma livre: Forma 2183">
              <a:extLst>
                <a:ext uri="{FF2B5EF4-FFF2-40B4-BE49-F238E27FC236}">
                  <a16:creationId xmlns:a16="http://schemas.microsoft.com/office/drawing/2014/main" id="{884589EA-E5A1-CAA9-B93E-5CBAA00C1E7A}"/>
                </a:ext>
              </a:extLst>
            </p:cNvPr>
            <p:cNvSpPr/>
            <p:nvPr/>
          </p:nvSpPr>
          <p:spPr>
            <a:xfrm>
              <a:off x="7147102" y="4241928"/>
              <a:ext cx="101462" cy="101462"/>
            </a:xfrm>
            <a:custGeom>
              <a:avLst/>
              <a:gdLst>
                <a:gd name="connsiteX0" fmla="*/ 101462 w 101462"/>
                <a:gd name="connsiteY0" fmla="*/ 50731 h 101462"/>
                <a:gd name="connsiteX1" fmla="*/ 50731 w 101462"/>
                <a:gd name="connsiteY1" fmla="*/ 101462 h 101462"/>
                <a:gd name="connsiteX2" fmla="*/ 0 w 101462"/>
                <a:gd name="connsiteY2" fmla="*/ 50731 h 101462"/>
                <a:gd name="connsiteX3" fmla="*/ 50731 w 101462"/>
                <a:gd name="connsiteY3" fmla="*/ 0 h 101462"/>
                <a:gd name="connsiteX4" fmla="*/ 101462 w 101462"/>
                <a:gd name="connsiteY4" fmla="*/ 50731 h 1014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1462" h="101462">
                  <a:moveTo>
                    <a:pt x="101462" y="50731"/>
                  </a:moveTo>
                  <a:cubicBezTo>
                    <a:pt x="101462" y="78752"/>
                    <a:pt x="78752" y="101462"/>
                    <a:pt x="50731" y="101462"/>
                  </a:cubicBezTo>
                  <a:cubicBezTo>
                    <a:pt x="22710" y="101462"/>
                    <a:pt x="0" y="78752"/>
                    <a:pt x="0" y="50731"/>
                  </a:cubicBezTo>
                  <a:cubicBezTo>
                    <a:pt x="0" y="22710"/>
                    <a:pt x="22710" y="0"/>
                    <a:pt x="50731" y="0"/>
                  </a:cubicBezTo>
                  <a:cubicBezTo>
                    <a:pt x="78752" y="0"/>
                    <a:pt x="101462" y="22710"/>
                    <a:pt x="101462" y="50731"/>
                  </a:cubicBez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85" name="Forma livre: Forma 2184">
              <a:extLst>
                <a:ext uri="{FF2B5EF4-FFF2-40B4-BE49-F238E27FC236}">
                  <a16:creationId xmlns:a16="http://schemas.microsoft.com/office/drawing/2014/main" id="{772CCCAC-3725-66E9-19F1-915F162930A7}"/>
                </a:ext>
              </a:extLst>
            </p:cNvPr>
            <p:cNvSpPr/>
            <p:nvPr/>
          </p:nvSpPr>
          <p:spPr>
            <a:xfrm>
              <a:off x="7178300" y="4273114"/>
              <a:ext cx="39090" cy="39091"/>
            </a:xfrm>
            <a:custGeom>
              <a:avLst/>
              <a:gdLst>
                <a:gd name="connsiteX0" fmla="*/ 13580 w 39090"/>
                <a:gd name="connsiteY0" fmla="*/ 934 h 39091"/>
                <a:gd name="connsiteX1" fmla="*/ 19546 w 39090"/>
                <a:gd name="connsiteY1" fmla="*/ 0 h 39091"/>
                <a:gd name="connsiteX2" fmla="*/ 39091 w 39090"/>
                <a:gd name="connsiteY2" fmla="*/ 19546 h 39091"/>
                <a:gd name="connsiteX3" fmla="*/ 19546 w 39090"/>
                <a:gd name="connsiteY3" fmla="*/ 39091 h 39091"/>
                <a:gd name="connsiteX4" fmla="*/ 0 w 39090"/>
                <a:gd name="connsiteY4" fmla="*/ 19546 h 390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090" h="39091">
                  <a:moveTo>
                    <a:pt x="13580" y="934"/>
                  </a:moveTo>
                  <a:cubicBezTo>
                    <a:pt x="15459" y="327"/>
                    <a:pt x="17460" y="0"/>
                    <a:pt x="19546" y="0"/>
                  </a:cubicBezTo>
                  <a:cubicBezTo>
                    <a:pt x="30349" y="0"/>
                    <a:pt x="39091" y="8742"/>
                    <a:pt x="39091" y="19546"/>
                  </a:cubicBezTo>
                  <a:cubicBezTo>
                    <a:pt x="39091" y="30349"/>
                    <a:pt x="30349" y="39091"/>
                    <a:pt x="19546" y="39091"/>
                  </a:cubicBezTo>
                  <a:cubicBezTo>
                    <a:pt x="8742" y="39091"/>
                    <a:pt x="0" y="30337"/>
                    <a:pt x="0" y="19546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86" name="Forma livre: Forma 2185">
              <a:extLst>
                <a:ext uri="{FF2B5EF4-FFF2-40B4-BE49-F238E27FC236}">
                  <a16:creationId xmlns:a16="http://schemas.microsoft.com/office/drawing/2014/main" id="{10EAEC42-A714-29BF-063A-1C1E7EE8F0E2}"/>
                </a:ext>
              </a:extLst>
            </p:cNvPr>
            <p:cNvSpPr/>
            <p:nvPr/>
          </p:nvSpPr>
          <p:spPr>
            <a:xfrm>
              <a:off x="7092382" y="4286609"/>
              <a:ext cx="34010" cy="1212"/>
            </a:xfrm>
            <a:custGeom>
              <a:avLst/>
              <a:gdLst>
                <a:gd name="connsiteX0" fmla="*/ 34011 w 34010"/>
                <a:gd name="connsiteY0" fmla="*/ 0 h 1212"/>
                <a:gd name="connsiteX1" fmla="*/ 0 w 34010"/>
                <a:gd name="connsiteY1" fmla="*/ 0 h 12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4010" h="1212">
                  <a:moveTo>
                    <a:pt x="34011" y="0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87" name="Forma livre: Forma 2186">
              <a:extLst>
                <a:ext uri="{FF2B5EF4-FFF2-40B4-BE49-F238E27FC236}">
                  <a16:creationId xmlns:a16="http://schemas.microsoft.com/office/drawing/2014/main" id="{0FB6411B-8F35-1428-7905-B97E42BA04FC}"/>
                </a:ext>
              </a:extLst>
            </p:cNvPr>
            <p:cNvSpPr/>
            <p:nvPr/>
          </p:nvSpPr>
          <p:spPr>
            <a:xfrm>
              <a:off x="6894283" y="4175398"/>
              <a:ext cx="149671" cy="37733"/>
            </a:xfrm>
            <a:custGeom>
              <a:avLst/>
              <a:gdLst>
                <a:gd name="connsiteX0" fmla="*/ 0 w 149671"/>
                <a:gd name="connsiteY0" fmla="*/ 37733 h 37733"/>
                <a:gd name="connsiteX1" fmla="*/ 78558 w 149671"/>
                <a:gd name="connsiteY1" fmla="*/ 0 h 37733"/>
                <a:gd name="connsiteX2" fmla="*/ 149671 w 149671"/>
                <a:gd name="connsiteY2" fmla="*/ 29427 h 377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49671" h="37733">
                  <a:moveTo>
                    <a:pt x="0" y="37733"/>
                  </a:moveTo>
                  <a:cubicBezTo>
                    <a:pt x="18442" y="14732"/>
                    <a:pt x="46778" y="0"/>
                    <a:pt x="78558" y="0"/>
                  </a:cubicBezTo>
                  <a:cubicBezTo>
                    <a:pt x="106324" y="0"/>
                    <a:pt x="131459" y="11252"/>
                    <a:pt x="149671" y="29427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88" name="Forma livre: Forma 2187">
              <a:extLst>
                <a:ext uri="{FF2B5EF4-FFF2-40B4-BE49-F238E27FC236}">
                  <a16:creationId xmlns:a16="http://schemas.microsoft.com/office/drawing/2014/main" id="{F446E90C-0BA6-1469-7C0D-4BAF03B1A2A4}"/>
                </a:ext>
              </a:extLst>
            </p:cNvPr>
            <p:cNvSpPr/>
            <p:nvPr/>
          </p:nvSpPr>
          <p:spPr>
            <a:xfrm>
              <a:off x="7124913" y="4088911"/>
              <a:ext cx="17472" cy="88985"/>
            </a:xfrm>
            <a:custGeom>
              <a:avLst/>
              <a:gdLst>
                <a:gd name="connsiteX0" fmla="*/ 17472 w 17472"/>
                <a:gd name="connsiteY0" fmla="*/ 0 h 88985"/>
                <a:gd name="connsiteX1" fmla="*/ 0 w 17472"/>
                <a:gd name="connsiteY1" fmla="*/ 16636 h 88985"/>
                <a:gd name="connsiteX2" fmla="*/ 0 w 17472"/>
                <a:gd name="connsiteY2" fmla="*/ 88985 h 889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7472" h="88985">
                  <a:moveTo>
                    <a:pt x="17472" y="0"/>
                  </a:moveTo>
                  <a:cubicBezTo>
                    <a:pt x="6499" y="0"/>
                    <a:pt x="0" y="5650"/>
                    <a:pt x="0" y="16636"/>
                  </a:cubicBezTo>
                  <a:lnTo>
                    <a:pt x="0" y="88985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89" name="Forma livre: Forma 2188">
              <a:extLst>
                <a:ext uri="{FF2B5EF4-FFF2-40B4-BE49-F238E27FC236}">
                  <a16:creationId xmlns:a16="http://schemas.microsoft.com/office/drawing/2014/main" id="{2F7AC7BC-3CB9-11DE-30E9-B35DA967F05A}"/>
                </a:ext>
              </a:extLst>
            </p:cNvPr>
            <p:cNvSpPr/>
            <p:nvPr/>
          </p:nvSpPr>
          <p:spPr>
            <a:xfrm>
              <a:off x="7087605" y="4173082"/>
              <a:ext cx="1212" cy="59279"/>
            </a:xfrm>
            <a:custGeom>
              <a:avLst/>
              <a:gdLst>
                <a:gd name="connsiteX0" fmla="*/ 0 w 1212"/>
                <a:gd name="connsiteY0" fmla="*/ 0 h 59279"/>
                <a:gd name="connsiteX1" fmla="*/ 0 w 1212"/>
                <a:gd name="connsiteY1" fmla="*/ 59279 h 592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12" h="59279">
                  <a:moveTo>
                    <a:pt x="0" y="0"/>
                  </a:moveTo>
                  <a:lnTo>
                    <a:pt x="0" y="59279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90" name="Forma livre: Forma 2189">
              <a:extLst>
                <a:ext uri="{FF2B5EF4-FFF2-40B4-BE49-F238E27FC236}">
                  <a16:creationId xmlns:a16="http://schemas.microsoft.com/office/drawing/2014/main" id="{C5A10E26-E408-68EE-3090-453DA3FEE855}"/>
                </a:ext>
              </a:extLst>
            </p:cNvPr>
            <p:cNvSpPr/>
            <p:nvPr/>
          </p:nvSpPr>
          <p:spPr>
            <a:xfrm>
              <a:off x="7059644" y="4262723"/>
              <a:ext cx="28845" cy="40752"/>
            </a:xfrm>
            <a:custGeom>
              <a:avLst/>
              <a:gdLst>
                <a:gd name="connsiteX0" fmla="*/ 28845 w 28845"/>
                <a:gd name="connsiteY0" fmla="*/ 0 h 40752"/>
                <a:gd name="connsiteX1" fmla="*/ 28845 w 28845"/>
                <a:gd name="connsiteY1" fmla="*/ 40752 h 40752"/>
                <a:gd name="connsiteX2" fmla="*/ 0 w 28845"/>
                <a:gd name="connsiteY2" fmla="*/ 40752 h 407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8845" h="40752">
                  <a:moveTo>
                    <a:pt x="28845" y="0"/>
                  </a:moveTo>
                  <a:lnTo>
                    <a:pt x="28845" y="40752"/>
                  </a:lnTo>
                  <a:lnTo>
                    <a:pt x="0" y="40752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2191" name="Gráfico 16">
            <a:extLst>
              <a:ext uri="{FF2B5EF4-FFF2-40B4-BE49-F238E27FC236}">
                <a16:creationId xmlns:a16="http://schemas.microsoft.com/office/drawing/2014/main" id="{DA65095F-23E2-4B15-7FFF-EE40F8724F58}"/>
              </a:ext>
            </a:extLst>
          </p:cNvPr>
          <p:cNvGrpSpPr/>
          <p:nvPr/>
        </p:nvGrpSpPr>
        <p:grpSpPr>
          <a:xfrm>
            <a:off x="7617867" y="5144077"/>
            <a:ext cx="170926" cy="325289"/>
            <a:chOff x="7617867" y="5144077"/>
            <a:chExt cx="170926" cy="325289"/>
          </a:xfrm>
          <a:noFill/>
        </p:grpSpPr>
        <p:grpSp>
          <p:nvGrpSpPr>
            <p:cNvPr id="2192" name="Gráfico 16">
              <a:extLst>
                <a:ext uri="{FF2B5EF4-FFF2-40B4-BE49-F238E27FC236}">
                  <a16:creationId xmlns:a16="http://schemas.microsoft.com/office/drawing/2014/main" id="{18822269-564E-DF03-23FE-D1950FC8C7B3}"/>
                </a:ext>
              </a:extLst>
            </p:cNvPr>
            <p:cNvGrpSpPr/>
            <p:nvPr/>
          </p:nvGrpSpPr>
          <p:grpSpPr>
            <a:xfrm>
              <a:off x="7624488" y="5196784"/>
              <a:ext cx="157673" cy="191647"/>
              <a:chOff x="7624488" y="5196784"/>
              <a:chExt cx="157673" cy="191647"/>
            </a:xfrm>
            <a:noFill/>
          </p:grpSpPr>
          <p:sp>
            <p:nvSpPr>
              <p:cNvPr id="2193" name="Forma livre: Forma 2192">
                <a:extLst>
                  <a:ext uri="{FF2B5EF4-FFF2-40B4-BE49-F238E27FC236}">
                    <a16:creationId xmlns:a16="http://schemas.microsoft.com/office/drawing/2014/main" id="{1A00C52F-E85E-65AC-F8E8-D5E128DF41A1}"/>
                  </a:ext>
                </a:extLst>
              </p:cNvPr>
              <p:cNvSpPr/>
              <p:nvPr/>
            </p:nvSpPr>
            <p:spPr>
              <a:xfrm>
                <a:off x="7727392" y="5196784"/>
                <a:ext cx="54768" cy="191647"/>
              </a:xfrm>
              <a:custGeom>
                <a:avLst/>
                <a:gdLst>
                  <a:gd name="connsiteX0" fmla="*/ 0 w 54768"/>
                  <a:gd name="connsiteY0" fmla="*/ 0 h 191647"/>
                  <a:gd name="connsiteX1" fmla="*/ 6269 w 54768"/>
                  <a:gd name="connsiteY1" fmla="*/ 0 h 191647"/>
                  <a:gd name="connsiteX2" fmla="*/ 54769 w 54768"/>
                  <a:gd name="connsiteY2" fmla="*/ 48500 h 191647"/>
                  <a:gd name="connsiteX3" fmla="*/ 54769 w 54768"/>
                  <a:gd name="connsiteY3" fmla="*/ 167640 h 191647"/>
                  <a:gd name="connsiteX4" fmla="*/ 33901 w 54768"/>
                  <a:gd name="connsiteY4" fmla="*/ 191648 h 1916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4768" h="191647">
                    <a:moveTo>
                      <a:pt x="0" y="0"/>
                    </a:moveTo>
                    <a:lnTo>
                      <a:pt x="6269" y="0"/>
                    </a:lnTo>
                    <a:cubicBezTo>
                      <a:pt x="32944" y="0"/>
                      <a:pt x="54769" y="21825"/>
                      <a:pt x="54769" y="48500"/>
                    </a:cubicBezTo>
                    <a:lnTo>
                      <a:pt x="54769" y="167640"/>
                    </a:lnTo>
                    <a:cubicBezTo>
                      <a:pt x="54769" y="179826"/>
                      <a:pt x="45651" y="189999"/>
                      <a:pt x="33901" y="191648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194" name="Forma livre: Forma 2193">
                <a:extLst>
                  <a:ext uri="{FF2B5EF4-FFF2-40B4-BE49-F238E27FC236}">
                    <a16:creationId xmlns:a16="http://schemas.microsoft.com/office/drawing/2014/main" id="{4CBD3558-32FA-EBF6-C8A3-CC291AD3B650}"/>
                  </a:ext>
                </a:extLst>
              </p:cNvPr>
              <p:cNvSpPr/>
              <p:nvPr/>
            </p:nvSpPr>
            <p:spPr>
              <a:xfrm>
                <a:off x="7624488" y="5196784"/>
                <a:ext cx="53095" cy="191465"/>
              </a:xfrm>
              <a:custGeom>
                <a:avLst/>
                <a:gdLst>
                  <a:gd name="connsiteX0" fmla="*/ 19739 w 53095"/>
                  <a:gd name="connsiteY0" fmla="*/ 191466 h 191465"/>
                  <a:gd name="connsiteX1" fmla="*/ 0 w 53095"/>
                  <a:gd name="connsiteY1" fmla="*/ 167640 h 191465"/>
                  <a:gd name="connsiteX2" fmla="*/ 0 w 53095"/>
                  <a:gd name="connsiteY2" fmla="*/ 48500 h 191465"/>
                  <a:gd name="connsiteX3" fmla="*/ 48500 w 53095"/>
                  <a:gd name="connsiteY3" fmla="*/ 0 h 191465"/>
                  <a:gd name="connsiteX4" fmla="*/ 53095 w 53095"/>
                  <a:gd name="connsiteY4" fmla="*/ 0 h 1914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3095" h="191465">
                    <a:moveTo>
                      <a:pt x="19739" y="191466"/>
                    </a:moveTo>
                    <a:cubicBezTo>
                      <a:pt x="8548" y="189344"/>
                      <a:pt x="0" y="179438"/>
                      <a:pt x="0" y="167640"/>
                    </a:cubicBezTo>
                    <a:lnTo>
                      <a:pt x="0" y="48500"/>
                    </a:lnTo>
                    <a:cubicBezTo>
                      <a:pt x="0" y="21825"/>
                      <a:pt x="21825" y="0"/>
                      <a:pt x="48500" y="0"/>
                    </a:cubicBezTo>
                    <a:lnTo>
                      <a:pt x="53095" y="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2195" name="Gráfico 16">
              <a:extLst>
                <a:ext uri="{FF2B5EF4-FFF2-40B4-BE49-F238E27FC236}">
                  <a16:creationId xmlns:a16="http://schemas.microsoft.com/office/drawing/2014/main" id="{0B6136AF-1981-2C69-C661-1A2146CF8F42}"/>
                </a:ext>
              </a:extLst>
            </p:cNvPr>
            <p:cNvGrpSpPr/>
            <p:nvPr/>
          </p:nvGrpSpPr>
          <p:grpSpPr>
            <a:xfrm>
              <a:off x="7617867" y="5174256"/>
              <a:ext cx="170926" cy="1212"/>
              <a:chOff x="7617867" y="5174256"/>
              <a:chExt cx="170926" cy="1212"/>
            </a:xfrm>
          </p:grpSpPr>
          <p:sp>
            <p:nvSpPr>
              <p:cNvPr id="2196" name="Forma livre: Forma 2195">
                <a:extLst>
                  <a:ext uri="{FF2B5EF4-FFF2-40B4-BE49-F238E27FC236}">
                    <a16:creationId xmlns:a16="http://schemas.microsoft.com/office/drawing/2014/main" id="{8369A39F-7E06-4426-FD55-FAF2EAEDE994}"/>
                  </a:ext>
                </a:extLst>
              </p:cNvPr>
              <p:cNvSpPr/>
              <p:nvPr/>
            </p:nvSpPr>
            <p:spPr>
              <a:xfrm>
                <a:off x="7617867" y="5174256"/>
                <a:ext cx="52913" cy="1212"/>
              </a:xfrm>
              <a:custGeom>
                <a:avLst/>
                <a:gdLst>
                  <a:gd name="connsiteX0" fmla="*/ 0 w 52913"/>
                  <a:gd name="connsiteY0" fmla="*/ 0 h 1212"/>
                  <a:gd name="connsiteX1" fmla="*/ 52913 w 52913"/>
                  <a:gd name="connsiteY1" fmla="*/ 0 h 12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2913" h="1212">
                    <a:moveTo>
                      <a:pt x="0" y="0"/>
                    </a:moveTo>
                    <a:lnTo>
                      <a:pt x="52913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197" name="Forma livre: Forma 2196">
                <a:extLst>
                  <a:ext uri="{FF2B5EF4-FFF2-40B4-BE49-F238E27FC236}">
                    <a16:creationId xmlns:a16="http://schemas.microsoft.com/office/drawing/2014/main" id="{4D4597CF-D9BE-2A27-C920-B244F198CD11}"/>
                  </a:ext>
                </a:extLst>
              </p:cNvPr>
              <p:cNvSpPr/>
              <p:nvPr/>
            </p:nvSpPr>
            <p:spPr>
              <a:xfrm>
                <a:off x="7735880" y="5174256"/>
                <a:ext cx="52913" cy="1212"/>
              </a:xfrm>
              <a:custGeom>
                <a:avLst/>
                <a:gdLst>
                  <a:gd name="connsiteX0" fmla="*/ 0 w 52913"/>
                  <a:gd name="connsiteY0" fmla="*/ 0 h 1212"/>
                  <a:gd name="connsiteX1" fmla="*/ 52914 w 52913"/>
                  <a:gd name="connsiteY1" fmla="*/ 0 h 12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2913" h="1212">
                    <a:moveTo>
                      <a:pt x="0" y="0"/>
                    </a:moveTo>
                    <a:lnTo>
                      <a:pt x="52914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2198" name="Forma livre: Forma 2197">
              <a:extLst>
                <a:ext uri="{FF2B5EF4-FFF2-40B4-BE49-F238E27FC236}">
                  <a16:creationId xmlns:a16="http://schemas.microsoft.com/office/drawing/2014/main" id="{9FE2225E-0D5F-D625-0EE9-E127F7596513}"/>
                </a:ext>
              </a:extLst>
            </p:cNvPr>
            <p:cNvSpPr/>
            <p:nvPr/>
          </p:nvSpPr>
          <p:spPr>
            <a:xfrm>
              <a:off x="7667580" y="5329396"/>
              <a:ext cx="71501" cy="74871"/>
            </a:xfrm>
            <a:custGeom>
              <a:avLst/>
              <a:gdLst>
                <a:gd name="connsiteX0" fmla="*/ 71501 w 71501"/>
                <a:gd name="connsiteY0" fmla="*/ 74872 h 74871"/>
                <a:gd name="connsiteX1" fmla="*/ 71501 w 71501"/>
                <a:gd name="connsiteY1" fmla="*/ 28191 h 74871"/>
                <a:gd name="connsiteX2" fmla="*/ 44002 w 71501"/>
                <a:gd name="connsiteY2" fmla="*/ 0 h 74871"/>
                <a:gd name="connsiteX3" fmla="*/ 27512 w 71501"/>
                <a:gd name="connsiteY3" fmla="*/ 0 h 74871"/>
                <a:gd name="connsiteX4" fmla="*/ 0 w 71501"/>
                <a:gd name="connsiteY4" fmla="*/ 28191 h 74871"/>
                <a:gd name="connsiteX5" fmla="*/ 0 w 71501"/>
                <a:gd name="connsiteY5" fmla="*/ 74872 h 74871"/>
                <a:gd name="connsiteX6" fmla="*/ 71501 w 71501"/>
                <a:gd name="connsiteY6" fmla="*/ 74872 h 748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1501" h="74871">
                  <a:moveTo>
                    <a:pt x="71501" y="74872"/>
                  </a:moveTo>
                  <a:lnTo>
                    <a:pt x="71501" y="28191"/>
                  </a:lnTo>
                  <a:cubicBezTo>
                    <a:pt x="71501" y="12695"/>
                    <a:pt x="59134" y="0"/>
                    <a:pt x="44002" y="0"/>
                  </a:cubicBezTo>
                  <a:lnTo>
                    <a:pt x="27512" y="0"/>
                  </a:lnTo>
                  <a:cubicBezTo>
                    <a:pt x="12380" y="0"/>
                    <a:pt x="0" y="12695"/>
                    <a:pt x="0" y="28191"/>
                  </a:cubicBezTo>
                  <a:lnTo>
                    <a:pt x="0" y="74872"/>
                  </a:lnTo>
                  <a:lnTo>
                    <a:pt x="71501" y="74872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99" name="Forma livre: Forma 2198">
              <a:extLst>
                <a:ext uri="{FF2B5EF4-FFF2-40B4-BE49-F238E27FC236}">
                  <a16:creationId xmlns:a16="http://schemas.microsoft.com/office/drawing/2014/main" id="{12DF1566-7370-AC1F-9667-D01D3A5CBFAA}"/>
                </a:ext>
              </a:extLst>
            </p:cNvPr>
            <p:cNvSpPr/>
            <p:nvPr/>
          </p:nvSpPr>
          <p:spPr>
            <a:xfrm>
              <a:off x="7683888" y="5426856"/>
              <a:ext cx="38860" cy="42510"/>
            </a:xfrm>
            <a:custGeom>
              <a:avLst/>
              <a:gdLst>
                <a:gd name="connsiteX0" fmla="*/ 38861 w 38860"/>
                <a:gd name="connsiteY0" fmla="*/ 0 h 42510"/>
                <a:gd name="connsiteX1" fmla="*/ 38861 w 38860"/>
                <a:gd name="connsiteY1" fmla="*/ 25450 h 42510"/>
                <a:gd name="connsiteX2" fmla="*/ 19824 w 38860"/>
                <a:gd name="connsiteY2" fmla="*/ 42510 h 42510"/>
                <a:gd name="connsiteX3" fmla="*/ 19036 w 38860"/>
                <a:gd name="connsiteY3" fmla="*/ 42510 h 42510"/>
                <a:gd name="connsiteX4" fmla="*/ 0 w 38860"/>
                <a:gd name="connsiteY4" fmla="*/ 25450 h 42510"/>
                <a:gd name="connsiteX5" fmla="*/ 0 w 38860"/>
                <a:gd name="connsiteY5" fmla="*/ 0 h 425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8860" h="42510">
                  <a:moveTo>
                    <a:pt x="38861" y="0"/>
                  </a:moveTo>
                  <a:lnTo>
                    <a:pt x="38861" y="25450"/>
                  </a:lnTo>
                  <a:cubicBezTo>
                    <a:pt x="38861" y="34823"/>
                    <a:pt x="30288" y="42510"/>
                    <a:pt x="19824" y="42510"/>
                  </a:cubicBezTo>
                  <a:lnTo>
                    <a:pt x="19036" y="42510"/>
                  </a:lnTo>
                  <a:cubicBezTo>
                    <a:pt x="8572" y="42510"/>
                    <a:pt x="0" y="34823"/>
                    <a:pt x="0" y="25450"/>
                  </a:cubicBezTo>
                  <a:lnTo>
                    <a:pt x="0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200" name="Forma livre: Forma 2199">
              <a:extLst>
                <a:ext uri="{FF2B5EF4-FFF2-40B4-BE49-F238E27FC236}">
                  <a16:creationId xmlns:a16="http://schemas.microsoft.com/office/drawing/2014/main" id="{6B739E52-EA80-A591-7F1B-D9DCEFDFD6AA}"/>
                </a:ext>
              </a:extLst>
            </p:cNvPr>
            <p:cNvSpPr/>
            <p:nvPr/>
          </p:nvSpPr>
          <p:spPr>
            <a:xfrm>
              <a:off x="7671229" y="5144077"/>
              <a:ext cx="64214" cy="64213"/>
            </a:xfrm>
            <a:custGeom>
              <a:avLst/>
              <a:gdLst>
                <a:gd name="connsiteX0" fmla="*/ 64214 w 64214"/>
                <a:gd name="connsiteY0" fmla="*/ 32107 h 64213"/>
                <a:gd name="connsiteX1" fmla="*/ 32107 w 64214"/>
                <a:gd name="connsiteY1" fmla="*/ 64214 h 64213"/>
                <a:gd name="connsiteX2" fmla="*/ 0 w 64214"/>
                <a:gd name="connsiteY2" fmla="*/ 32107 h 64213"/>
                <a:gd name="connsiteX3" fmla="*/ 32107 w 64214"/>
                <a:gd name="connsiteY3" fmla="*/ 0 h 64213"/>
                <a:gd name="connsiteX4" fmla="*/ 64214 w 64214"/>
                <a:gd name="connsiteY4" fmla="*/ 32107 h 642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4214" h="64213">
                  <a:moveTo>
                    <a:pt x="64214" y="32107"/>
                  </a:moveTo>
                  <a:cubicBezTo>
                    <a:pt x="64214" y="49834"/>
                    <a:pt x="49834" y="64214"/>
                    <a:pt x="32107" y="64214"/>
                  </a:cubicBezTo>
                  <a:cubicBezTo>
                    <a:pt x="14380" y="64214"/>
                    <a:pt x="0" y="49834"/>
                    <a:pt x="0" y="32107"/>
                  </a:cubicBezTo>
                  <a:cubicBezTo>
                    <a:pt x="0" y="14380"/>
                    <a:pt x="14380" y="0"/>
                    <a:pt x="32107" y="0"/>
                  </a:cubicBezTo>
                  <a:cubicBezTo>
                    <a:pt x="49834" y="0"/>
                    <a:pt x="64214" y="14368"/>
                    <a:pt x="64214" y="32107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201" name="Forma livre: Forma 2200">
              <a:extLst>
                <a:ext uri="{FF2B5EF4-FFF2-40B4-BE49-F238E27FC236}">
                  <a16:creationId xmlns:a16="http://schemas.microsoft.com/office/drawing/2014/main" id="{796889C4-60B2-0315-4E07-C552DA994925}"/>
                </a:ext>
              </a:extLst>
            </p:cNvPr>
            <p:cNvSpPr/>
            <p:nvPr/>
          </p:nvSpPr>
          <p:spPr>
            <a:xfrm>
              <a:off x="7703324" y="5238058"/>
              <a:ext cx="1212" cy="60867"/>
            </a:xfrm>
            <a:custGeom>
              <a:avLst/>
              <a:gdLst>
                <a:gd name="connsiteX0" fmla="*/ 0 w 1212"/>
                <a:gd name="connsiteY0" fmla="*/ 0 h 60867"/>
                <a:gd name="connsiteX1" fmla="*/ 0 w 1212"/>
                <a:gd name="connsiteY1" fmla="*/ 60867 h 608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12" h="60867">
                  <a:moveTo>
                    <a:pt x="0" y="0"/>
                  </a:moveTo>
                  <a:lnTo>
                    <a:pt x="0" y="60867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2202" name="Gráfico 16">
            <a:extLst>
              <a:ext uri="{FF2B5EF4-FFF2-40B4-BE49-F238E27FC236}">
                <a16:creationId xmlns:a16="http://schemas.microsoft.com/office/drawing/2014/main" id="{CB8C2CB4-DA97-8BAA-F65E-68F19F876F05}"/>
              </a:ext>
            </a:extLst>
          </p:cNvPr>
          <p:cNvGrpSpPr/>
          <p:nvPr/>
        </p:nvGrpSpPr>
        <p:grpSpPr>
          <a:xfrm>
            <a:off x="7525184" y="3538108"/>
            <a:ext cx="356281" cy="243809"/>
            <a:chOff x="7525184" y="3538108"/>
            <a:chExt cx="356281" cy="243809"/>
          </a:xfrm>
        </p:grpSpPr>
        <p:sp>
          <p:nvSpPr>
            <p:cNvPr id="2203" name="Forma livre: Forma 2202">
              <a:extLst>
                <a:ext uri="{FF2B5EF4-FFF2-40B4-BE49-F238E27FC236}">
                  <a16:creationId xmlns:a16="http://schemas.microsoft.com/office/drawing/2014/main" id="{3609243E-98BA-8555-7526-3F0BB2E2A7F7}"/>
                </a:ext>
              </a:extLst>
            </p:cNvPr>
            <p:cNvSpPr/>
            <p:nvPr/>
          </p:nvSpPr>
          <p:spPr>
            <a:xfrm>
              <a:off x="7525184" y="3538108"/>
              <a:ext cx="318296" cy="217534"/>
            </a:xfrm>
            <a:custGeom>
              <a:avLst/>
              <a:gdLst>
                <a:gd name="connsiteX0" fmla="*/ 180202 w 318296"/>
                <a:gd name="connsiteY0" fmla="*/ 217535 h 217534"/>
                <a:gd name="connsiteX1" fmla="*/ 282901 w 318296"/>
                <a:gd name="connsiteY1" fmla="*/ 217535 h 217534"/>
                <a:gd name="connsiteX2" fmla="*/ 313383 w 318296"/>
                <a:gd name="connsiteY2" fmla="*/ 108773 h 217534"/>
                <a:gd name="connsiteX3" fmla="*/ 192351 w 318296"/>
                <a:gd name="connsiteY3" fmla="*/ 0 h 217534"/>
                <a:gd name="connsiteX4" fmla="*/ 119310 w 318296"/>
                <a:gd name="connsiteY4" fmla="*/ 0 h 217534"/>
                <a:gd name="connsiteX5" fmla="*/ 0 w 318296"/>
                <a:gd name="connsiteY5" fmla="*/ 108773 h 217534"/>
                <a:gd name="connsiteX6" fmla="*/ 79007 w 318296"/>
                <a:gd name="connsiteY6" fmla="*/ 217535 h 217534"/>
                <a:gd name="connsiteX7" fmla="*/ 87324 w 318296"/>
                <a:gd name="connsiteY7" fmla="*/ 217535 h 2175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18296" h="217534">
                  <a:moveTo>
                    <a:pt x="180202" y="217535"/>
                  </a:moveTo>
                  <a:lnTo>
                    <a:pt x="282901" y="217535"/>
                  </a:lnTo>
                  <a:cubicBezTo>
                    <a:pt x="329339" y="217535"/>
                    <a:pt x="318621" y="187756"/>
                    <a:pt x="313383" y="108773"/>
                  </a:cubicBezTo>
                  <a:cubicBezTo>
                    <a:pt x="309406" y="49082"/>
                    <a:pt x="257887" y="0"/>
                    <a:pt x="192351" y="0"/>
                  </a:cubicBezTo>
                  <a:lnTo>
                    <a:pt x="119310" y="0"/>
                  </a:lnTo>
                  <a:cubicBezTo>
                    <a:pt x="53811" y="0"/>
                    <a:pt x="0" y="48949"/>
                    <a:pt x="0" y="108773"/>
                  </a:cubicBezTo>
                  <a:cubicBezTo>
                    <a:pt x="0" y="168598"/>
                    <a:pt x="4219" y="217535"/>
                    <a:pt x="79007" y="217535"/>
                  </a:cubicBezTo>
                  <a:lnTo>
                    <a:pt x="87324" y="217535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204" name="Forma livre: Forma 2203">
              <a:extLst>
                <a:ext uri="{FF2B5EF4-FFF2-40B4-BE49-F238E27FC236}">
                  <a16:creationId xmlns:a16="http://schemas.microsoft.com/office/drawing/2014/main" id="{D4AE2167-1DF5-9DDA-2905-6F8CBF8F4277}"/>
                </a:ext>
              </a:extLst>
            </p:cNvPr>
            <p:cNvSpPr/>
            <p:nvPr/>
          </p:nvSpPr>
          <p:spPr>
            <a:xfrm>
              <a:off x="7842628" y="3720068"/>
              <a:ext cx="38836" cy="15726"/>
            </a:xfrm>
            <a:custGeom>
              <a:avLst/>
              <a:gdLst>
                <a:gd name="connsiteX0" fmla="*/ 0 w 38836"/>
                <a:gd name="connsiteY0" fmla="*/ 15726 h 15726"/>
                <a:gd name="connsiteX1" fmla="*/ 38836 w 38836"/>
                <a:gd name="connsiteY1" fmla="*/ 15726 h 15726"/>
                <a:gd name="connsiteX2" fmla="*/ 38836 w 38836"/>
                <a:gd name="connsiteY2" fmla="*/ 0 h 157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8836" h="15726">
                  <a:moveTo>
                    <a:pt x="0" y="15726"/>
                  </a:moveTo>
                  <a:lnTo>
                    <a:pt x="38836" y="15726"/>
                  </a:lnTo>
                  <a:lnTo>
                    <a:pt x="38836" y="0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205" name="Forma livre: Forma 2204">
              <a:extLst>
                <a:ext uri="{FF2B5EF4-FFF2-40B4-BE49-F238E27FC236}">
                  <a16:creationId xmlns:a16="http://schemas.microsoft.com/office/drawing/2014/main" id="{9BFC7483-A6EF-7BCE-39A2-53AD09386C77}"/>
                </a:ext>
              </a:extLst>
            </p:cNvPr>
            <p:cNvSpPr/>
            <p:nvPr/>
          </p:nvSpPr>
          <p:spPr>
            <a:xfrm>
              <a:off x="7635327" y="3734630"/>
              <a:ext cx="47287" cy="47287"/>
            </a:xfrm>
            <a:custGeom>
              <a:avLst/>
              <a:gdLst>
                <a:gd name="connsiteX0" fmla="*/ 47287 w 47287"/>
                <a:gd name="connsiteY0" fmla="*/ 23644 h 47287"/>
                <a:gd name="connsiteX1" fmla="*/ 23644 w 47287"/>
                <a:gd name="connsiteY1" fmla="*/ 47288 h 47287"/>
                <a:gd name="connsiteX2" fmla="*/ 0 w 47287"/>
                <a:gd name="connsiteY2" fmla="*/ 23644 h 47287"/>
                <a:gd name="connsiteX3" fmla="*/ 23644 w 47287"/>
                <a:gd name="connsiteY3" fmla="*/ 0 h 47287"/>
                <a:gd name="connsiteX4" fmla="*/ 47287 w 47287"/>
                <a:gd name="connsiteY4" fmla="*/ 23644 h 472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7287" h="47287">
                  <a:moveTo>
                    <a:pt x="47287" y="23644"/>
                  </a:moveTo>
                  <a:cubicBezTo>
                    <a:pt x="47287" y="36702"/>
                    <a:pt x="36702" y="47288"/>
                    <a:pt x="23644" y="47288"/>
                  </a:cubicBezTo>
                  <a:cubicBezTo>
                    <a:pt x="10586" y="47288"/>
                    <a:pt x="0" y="36702"/>
                    <a:pt x="0" y="23644"/>
                  </a:cubicBezTo>
                  <a:cubicBezTo>
                    <a:pt x="0" y="10586"/>
                    <a:pt x="10586" y="0"/>
                    <a:pt x="23644" y="0"/>
                  </a:cubicBezTo>
                  <a:cubicBezTo>
                    <a:pt x="36702" y="0"/>
                    <a:pt x="47287" y="10586"/>
                    <a:pt x="47287" y="23644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206" name="Forma livre: Forma 2205">
              <a:extLst>
                <a:ext uri="{FF2B5EF4-FFF2-40B4-BE49-F238E27FC236}">
                  <a16:creationId xmlns:a16="http://schemas.microsoft.com/office/drawing/2014/main" id="{01999F80-C37D-3A54-CAB4-CC915F094334}"/>
                </a:ext>
              </a:extLst>
            </p:cNvPr>
            <p:cNvSpPr/>
            <p:nvPr/>
          </p:nvSpPr>
          <p:spPr>
            <a:xfrm>
              <a:off x="7728666" y="3599946"/>
              <a:ext cx="62067" cy="132489"/>
            </a:xfrm>
            <a:custGeom>
              <a:avLst/>
              <a:gdLst>
                <a:gd name="connsiteX0" fmla="*/ 0 w 62067"/>
                <a:gd name="connsiteY0" fmla="*/ 132490 h 132489"/>
                <a:gd name="connsiteX1" fmla="*/ 0 w 62067"/>
                <a:gd name="connsiteY1" fmla="*/ 17545 h 132489"/>
                <a:gd name="connsiteX2" fmla="*/ 17545 w 62067"/>
                <a:gd name="connsiteY2" fmla="*/ 0 h 132489"/>
                <a:gd name="connsiteX3" fmla="*/ 44523 w 62067"/>
                <a:gd name="connsiteY3" fmla="*/ 0 h 132489"/>
                <a:gd name="connsiteX4" fmla="*/ 62068 w 62067"/>
                <a:gd name="connsiteY4" fmla="*/ 17545 h 132489"/>
                <a:gd name="connsiteX5" fmla="*/ 62068 w 62067"/>
                <a:gd name="connsiteY5" fmla="*/ 132490 h 1324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2067" h="132489">
                  <a:moveTo>
                    <a:pt x="0" y="132490"/>
                  </a:moveTo>
                  <a:lnTo>
                    <a:pt x="0" y="17545"/>
                  </a:lnTo>
                  <a:cubicBezTo>
                    <a:pt x="0" y="7893"/>
                    <a:pt x="7881" y="0"/>
                    <a:pt x="17545" y="0"/>
                  </a:cubicBezTo>
                  <a:lnTo>
                    <a:pt x="44523" y="0"/>
                  </a:lnTo>
                  <a:cubicBezTo>
                    <a:pt x="54199" y="0"/>
                    <a:pt x="62068" y="7893"/>
                    <a:pt x="62068" y="17545"/>
                  </a:cubicBezTo>
                  <a:lnTo>
                    <a:pt x="62068" y="13249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207" name="Forma livre: Forma 2206">
              <a:extLst>
                <a:ext uri="{FF2B5EF4-FFF2-40B4-BE49-F238E27FC236}">
                  <a16:creationId xmlns:a16="http://schemas.microsoft.com/office/drawing/2014/main" id="{14AE4E8A-FD62-16AB-B0E6-AE446F4AD1BA}"/>
                </a:ext>
              </a:extLst>
            </p:cNvPr>
            <p:cNvSpPr/>
            <p:nvPr/>
          </p:nvSpPr>
          <p:spPr>
            <a:xfrm>
              <a:off x="7585857" y="3599946"/>
              <a:ext cx="94890" cy="57799"/>
            </a:xfrm>
            <a:custGeom>
              <a:avLst/>
              <a:gdLst>
                <a:gd name="connsiteX0" fmla="*/ 0 w 94890"/>
                <a:gd name="connsiteY0" fmla="*/ 17545 h 57799"/>
                <a:gd name="connsiteX1" fmla="*/ 17545 w 94890"/>
                <a:gd name="connsiteY1" fmla="*/ 0 h 57799"/>
                <a:gd name="connsiteX2" fmla="*/ 77345 w 94890"/>
                <a:gd name="connsiteY2" fmla="*/ 0 h 57799"/>
                <a:gd name="connsiteX3" fmla="*/ 94890 w 94890"/>
                <a:gd name="connsiteY3" fmla="*/ 17545 h 57799"/>
                <a:gd name="connsiteX4" fmla="*/ 94890 w 94890"/>
                <a:gd name="connsiteY4" fmla="*/ 40243 h 57799"/>
                <a:gd name="connsiteX5" fmla="*/ 77345 w 94890"/>
                <a:gd name="connsiteY5" fmla="*/ 57800 h 57799"/>
                <a:gd name="connsiteX6" fmla="*/ 17545 w 94890"/>
                <a:gd name="connsiteY6" fmla="*/ 57800 h 57799"/>
                <a:gd name="connsiteX7" fmla="*/ 0 w 94890"/>
                <a:gd name="connsiteY7" fmla="*/ 40243 h 57799"/>
                <a:gd name="connsiteX8" fmla="*/ 0 w 94890"/>
                <a:gd name="connsiteY8" fmla="*/ 17545 h 577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94890" h="57799">
                  <a:moveTo>
                    <a:pt x="0" y="17545"/>
                  </a:moveTo>
                  <a:cubicBezTo>
                    <a:pt x="0" y="7893"/>
                    <a:pt x="7881" y="0"/>
                    <a:pt x="17545" y="0"/>
                  </a:cubicBezTo>
                  <a:lnTo>
                    <a:pt x="77345" y="0"/>
                  </a:lnTo>
                  <a:cubicBezTo>
                    <a:pt x="87009" y="0"/>
                    <a:pt x="94890" y="7893"/>
                    <a:pt x="94890" y="17545"/>
                  </a:cubicBezTo>
                  <a:lnTo>
                    <a:pt x="94890" y="40243"/>
                  </a:lnTo>
                  <a:cubicBezTo>
                    <a:pt x="94890" y="49894"/>
                    <a:pt x="87009" y="57800"/>
                    <a:pt x="77345" y="57800"/>
                  </a:cubicBezTo>
                  <a:lnTo>
                    <a:pt x="17545" y="57800"/>
                  </a:lnTo>
                  <a:cubicBezTo>
                    <a:pt x="7881" y="57800"/>
                    <a:pt x="0" y="49907"/>
                    <a:pt x="0" y="40243"/>
                  </a:cubicBezTo>
                  <a:lnTo>
                    <a:pt x="0" y="17545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208" name="Forma livre: Forma 2207">
              <a:extLst>
                <a:ext uri="{FF2B5EF4-FFF2-40B4-BE49-F238E27FC236}">
                  <a16:creationId xmlns:a16="http://schemas.microsoft.com/office/drawing/2014/main" id="{B64C8088-8AE9-4BEA-8DA1-5B88D3525C1A}"/>
                </a:ext>
              </a:extLst>
            </p:cNvPr>
            <p:cNvSpPr/>
            <p:nvPr/>
          </p:nvSpPr>
          <p:spPr>
            <a:xfrm>
              <a:off x="7556078" y="3698376"/>
              <a:ext cx="149768" cy="1212"/>
            </a:xfrm>
            <a:custGeom>
              <a:avLst/>
              <a:gdLst>
                <a:gd name="connsiteX0" fmla="*/ 0 w 149768"/>
                <a:gd name="connsiteY0" fmla="*/ 0 h 1212"/>
                <a:gd name="connsiteX1" fmla="*/ 149768 w 149768"/>
                <a:gd name="connsiteY1" fmla="*/ 0 h 12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49768" h="1212">
                  <a:moveTo>
                    <a:pt x="0" y="0"/>
                  </a:moveTo>
                  <a:lnTo>
                    <a:pt x="149768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209" name="Forma livre: Forma 2208">
              <a:extLst>
                <a:ext uri="{FF2B5EF4-FFF2-40B4-BE49-F238E27FC236}">
                  <a16:creationId xmlns:a16="http://schemas.microsoft.com/office/drawing/2014/main" id="{4C7901AC-8642-D358-9D58-606F2663CA13}"/>
                </a:ext>
              </a:extLst>
            </p:cNvPr>
            <p:cNvSpPr/>
            <p:nvPr/>
          </p:nvSpPr>
          <p:spPr>
            <a:xfrm>
              <a:off x="7811564" y="3698376"/>
              <a:ext cx="29694" cy="1212"/>
            </a:xfrm>
            <a:custGeom>
              <a:avLst/>
              <a:gdLst>
                <a:gd name="connsiteX0" fmla="*/ 0 w 29694"/>
                <a:gd name="connsiteY0" fmla="*/ 0 h 1212"/>
                <a:gd name="connsiteX1" fmla="*/ 29694 w 29694"/>
                <a:gd name="connsiteY1" fmla="*/ 0 h 12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9694" h="1212">
                  <a:moveTo>
                    <a:pt x="0" y="0"/>
                  </a:moveTo>
                  <a:lnTo>
                    <a:pt x="29694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210" name="Forma livre: Forma 2209">
              <a:extLst>
                <a:ext uri="{FF2B5EF4-FFF2-40B4-BE49-F238E27FC236}">
                  <a16:creationId xmlns:a16="http://schemas.microsoft.com/office/drawing/2014/main" id="{77217EC0-1370-3E5E-8373-0159C3ACE09E}"/>
                </a:ext>
              </a:extLst>
            </p:cNvPr>
            <p:cNvSpPr/>
            <p:nvPr/>
          </p:nvSpPr>
          <p:spPr>
            <a:xfrm>
              <a:off x="7766981" y="3667167"/>
              <a:ext cx="1212" cy="14550"/>
            </a:xfrm>
            <a:custGeom>
              <a:avLst/>
              <a:gdLst>
                <a:gd name="connsiteX0" fmla="*/ 0 w 1212"/>
                <a:gd name="connsiteY0" fmla="*/ 0 h 14550"/>
                <a:gd name="connsiteX1" fmla="*/ 0 w 1212"/>
                <a:gd name="connsiteY1" fmla="*/ 14550 h 145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12" h="14550">
                  <a:moveTo>
                    <a:pt x="0" y="0"/>
                  </a:moveTo>
                  <a:lnTo>
                    <a:pt x="0" y="1455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2211" name="Gráfico 16">
            <a:extLst>
              <a:ext uri="{FF2B5EF4-FFF2-40B4-BE49-F238E27FC236}">
                <a16:creationId xmlns:a16="http://schemas.microsoft.com/office/drawing/2014/main" id="{BF643111-D7CB-F60C-A466-5F6D761A8875}"/>
              </a:ext>
            </a:extLst>
          </p:cNvPr>
          <p:cNvGrpSpPr/>
          <p:nvPr/>
        </p:nvGrpSpPr>
        <p:grpSpPr>
          <a:xfrm>
            <a:off x="7532907" y="5693570"/>
            <a:ext cx="340838" cy="306617"/>
            <a:chOff x="7532907" y="5693570"/>
            <a:chExt cx="340838" cy="306617"/>
          </a:xfrm>
          <a:noFill/>
        </p:grpSpPr>
        <p:grpSp>
          <p:nvGrpSpPr>
            <p:cNvPr id="2212" name="Gráfico 16">
              <a:extLst>
                <a:ext uri="{FF2B5EF4-FFF2-40B4-BE49-F238E27FC236}">
                  <a16:creationId xmlns:a16="http://schemas.microsoft.com/office/drawing/2014/main" id="{926277A1-5063-37F0-57B3-9CF77E3E9DF9}"/>
                </a:ext>
              </a:extLst>
            </p:cNvPr>
            <p:cNvGrpSpPr/>
            <p:nvPr/>
          </p:nvGrpSpPr>
          <p:grpSpPr>
            <a:xfrm>
              <a:off x="7532907" y="5731121"/>
              <a:ext cx="340838" cy="269065"/>
              <a:chOff x="7532907" y="5731121"/>
              <a:chExt cx="340838" cy="269065"/>
            </a:xfrm>
            <a:noFill/>
          </p:grpSpPr>
          <p:grpSp>
            <p:nvGrpSpPr>
              <p:cNvPr id="2213" name="Gráfico 16">
                <a:extLst>
                  <a:ext uri="{FF2B5EF4-FFF2-40B4-BE49-F238E27FC236}">
                    <a16:creationId xmlns:a16="http://schemas.microsoft.com/office/drawing/2014/main" id="{13F7723D-5B15-A1D4-51D4-3A76B3B25AB2}"/>
                  </a:ext>
                </a:extLst>
              </p:cNvPr>
              <p:cNvGrpSpPr/>
              <p:nvPr/>
            </p:nvGrpSpPr>
            <p:grpSpPr>
              <a:xfrm>
                <a:off x="7587756" y="5841560"/>
                <a:ext cx="285989" cy="158627"/>
                <a:chOff x="7587756" y="5841560"/>
                <a:chExt cx="285989" cy="158627"/>
              </a:xfrm>
              <a:noFill/>
            </p:grpSpPr>
            <p:sp>
              <p:nvSpPr>
                <p:cNvPr id="2214" name="Forma livre: Forma 2213">
                  <a:extLst>
                    <a:ext uri="{FF2B5EF4-FFF2-40B4-BE49-F238E27FC236}">
                      <a16:creationId xmlns:a16="http://schemas.microsoft.com/office/drawing/2014/main" id="{1992742B-B073-12AD-A712-2D2144FD2BE1}"/>
                    </a:ext>
                  </a:extLst>
                </p:cNvPr>
                <p:cNvSpPr/>
                <p:nvPr/>
              </p:nvSpPr>
              <p:spPr>
                <a:xfrm>
                  <a:off x="7587756" y="5841560"/>
                  <a:ext cx="285989" cy="135177"/>
                </a:xfrm>
                <a:custGeom>
                  <a:avLst/>
                  <a:gdLst>
                    <a:gd name="connsiteX0" fmla="*/ 109166 w 285989"/>
                    <a:gd name="connsiteY0" fmla="*/ 135178 h 135177"/>
                    <a:gd name="connsiteX1" fmla="*/ 269556 w 285989"/>
                    <a:gd name="connsiteY1" fmla="*/ 131091 h 135177"/>
                    <a:gd name="connsiteX2" fmla="*/ 276128 w 285989"/>
                    <a:gd name="connsiteY2" fmla="*/ 128060 h 135177"/>
                    <a:gd name="connsiteX3" fmla="*/ 285197 w 285989"/>
                    <a:gd name="connsiteY3" fmla="*/ 96935 h 135177"/>
                    <a:gd name="connsiteX4" fmla="*/ 208737 w 285989"/>
                    <a:gd name="connsiteY4" fmla="*/ 47781 h 135177"/>
                    <a:gd name="connsiteX5" fmla="*/ 172313 w 285989"/>
                    <a:gd name="connsiteY5" fmla="*/ 5901 h 135177"/>
                    <a:gd name="connsiteX6" fmla="*/ 66717 w 285989"/>
                    <a:gd name="connsiteY6" fmla="*/ 8314 h 135177"/>
                    <a:gd name="connsiteX7" fmla="*/ 5461 w 285989"/>
                    <a:gd name="connsiteY7" fmla="*/ 58099 h 135177"/>
                    <a:gd name="connsiteX8" fmla="*/ 5425 w 285989"/>
                    <a:gd name="connsiteY8" fmla="*/ 87817 h 135177"/>
                    <a:gd name="connsiteX9" fmla="*/ 13549 w 285989"/>
                    <a:gd name="connsiteY9" fmla="*/ 132801 h 13517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285989" h="135177">
                      <a:moveTo>
                        <a:pt x="109166" y="135178"/>
                      </a:moveTo>
                      <a:lnTo>
                        <a:pt x="269556" y="131091"/>
                      </a:lnTo>
                      <a:cubicBezTo>
                        <a:pt x="273606" y="130279"/>
                        <a:pt x="276128" y="128060"/>
                        <a:pt x="276128" y="128060"/>
                      </a:cubicBezTo>
                      <a:cubicBezTo>
                        <a:pt x="289962" y="116166"/>
                        <a:pt x="285197" y="96935"/>
                        <a:pt x="285197" y="96935"/>
                      </a:cubicBezTo>
                      <a:cubicBezTo>
                        <a:pt x="282311" y="72237"/>
                        <a:pt x="208737" y="47781"/>
                        <a:pt x="208737" y="47781"/>
                      </a:cubicBezTo>
                      <a:lnTo>
                        <a:pt x="172313" y="5901"/>
                      </a:lnTo>
                      <a:cubicBezTo>
                        <a:pt x="125608" y="-8661"/>
                        <a:pt x="66717" y="8314"/>
                        <a:pt x="66717" y="8314"/>
                      </a:cubicBezTo>
                      <a:cubicBezTo>
                        <a:pt x="12094" y="21093"/>
                        <a:pt x="5461" y="58099"/>
                        <a:pt x="5461" y="58099"/>
                      </a:cubicBezTo>
                      <a:lnTo>
                        <a:pt x="5425" y="87817"/>
                      </a:lnTo>
                      <a:cubicBezTo>
                        <a:pt x="-7440" y="115753"/>
                        <a:pt x="5582" y="128133"/>
                        <a:pt x="13549" y="132801"/>
                      </a:cubicBez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215" name="Forma livre: Forma 2214">
                  <a:extLst>
                    <a:ext uri="{FF2B5EF4-FFF2-40B4-BE49-F238E27FC236}">
                      <a16:creationId xmlns:a16="http://schemas.microsoft.com/office/drawing/2014/main" id="{3564CFE9-6935-3628-64AA-A75603B4B7EC}"/>
                    </a:ext>
                  </a:extLst>
                </p:cNvPr>
                <p:cNvSpPr/>
                <p:nvPr/>
              </p:nvSpPr>
              <p:spPr>
                <a:xfrm>
                  <a:off x="7674746" y="5978083"/>
                  <a:ext cx="111428" cy="1212"/>
                </a:xfrm>
                <a:custGeom>
                  <a:avLst/>
                  <a:gdLst>
                    <a:gd name="connsiteX0" fmla="*/ 0 w 111428"/>
                    <a:gd name="connsiteY0" fmla="*/ 0 h 1212"/>
                    <a:gd name="connsiteX1" fmla="*/ 111429 w 111428"/>
                    <a:gd name="connsiteY1" fmla="*/ 0 h 121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11428" h="1212">
                      <a:moveTo>
                        <a:pt x="0" y="0"/>
                      </a:moveTo>
                      <a:lnTo>
                        <a:pt x="111429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216" name="Forma livre: Forma 2215">
                  <a:extLst>
                    <a:ext uri="{FF2B5EF4-FFF2-40B4-BE49-F238E27FC236}">
                      <a16:creationId xmlns:a16="http://schemas.microsoft.com/office/drawing/2014/main" id="{8D03532F-B6AD-4B9E-9D30-0224072FDFD0}"/>
                    </a:ext>
                  </a:extLst>
                </p:cNvPr>
                <p:cNvSpPr/>
                <p:nvPr/>
              </p:nvSpPr>
              <p:spPr>
                <a:xfrm>
                  <a:off x="7632502" y="5894397"/>
                  <a:ext cx="175727" cy="1212"/>
                </a:xfrm>
                <a:custGeom>
                  <a:avLst/>
                  <a:gdLst>
                    <a:gd name="connsiteX0" fmla="*/ 0 w 175727"/>
                    <a:gd name="connsiteY0" fmla="*/ 0 h 1212"/>
                    <a:gd name="connsiteX1" fmla="*/ 175728 w 175727"/>
                    <a:gd name="connsiteY1" fmla="*/ 0 h 121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75727" h="1212">
                      <a:moveTo>
                        <a:pt x="0" y="0"/>
                      </a:moveTo>
                      <a:lnTo>
                        <a:pt x="175728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217" name="Forma livre: Forma 2216">
                  <a:extLst>
                    <a:ext uri="{FF2B5EF4-FFF2-40B4-BE49-F238E27FC236}">
                      <a16:creationId xmlns:a16="http://schemas.microsoft.com/office/drawing/2014/main" id="{6A74A25F-01B4-D90E-F326-08415990EC0B}"/>
                    </a:ext>
                  </a:extLst>
                </p:cNvPr>
                <p:cNvSpPr/>
                <p:nvPr/>
              </p:nvSpPr>
              <p:spPr>
                <a:xfrm>
                  <a:off x="7698450" y="5843302"/>
                  <a:ext cx="1212" cy="50124"/>
                </a:xfrm>
                <a:custGeom>
                  <a:avLst/>
                  <a:gdLst>
                    <a:gd name="connsiteX0" fmla="*/ 0 w 1212"/>
                    <a:gd name="connsiteY0" fmla="*/ 50125 h 50124"/>
                    <a:gd name="connsiteX1" fmla="*/ 0 w 1212"/>
                    <a:gd name="connsiteY1" fmla="*/ 0 h 5012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212" h="50124">
                      <a:moveTo>
                        <a:pt x="0" y="50125"/>
                      </a:moveTo>
                      <a:lnTo>
                        <a:pt x="0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218" name="Forma livre: Forma 2217">
                  <a:extLst>
                    <a:ext uri="{FF2B5EF4-FFF2-40B4-BE49-F238E27FC236}">
                      <a16:creationId xmlns:a16="http://schemas.microsoft.com/office/drawing/2014/main" id="{8CC8F78F-F570-85CF-13F6-4D09BF0F1298}"/>
                    </a:ext>
                  </a:extLst>
                </p:cNvPr>
                <p:cNvSpPr/>
                <p:nvPr/>
              </p:nvSpPr>
              <p:spPr>
                <a:xfrm>
                  <a:off x="7785338" y="5949796"/>
                  <a:ext cx="50379" cy="50391"/>
                </a:xfrm>
                <a:custGeom>
                  <a:avLst/>
                  <a:gdLst>
                    <a:gd name="connsiteX0" fmla="*/ 50379 w 50379"/>
                    <a:gd name="connsiteY0" fmla="*/ 25208 h 50391"/>
                    <a:gd name="connsiteX1" fmla="*/ 25184 w 50379"/>
                    <a:gd name="connsiteY1" fmla="*/ 50391 h 50391"/>
                    <a:gd name="connsiteX2" fmla="*/ 0 w 50379"/>
                    <a:gd name="connsiteY2" fmla="*/ 25208 h 50391"/>
                    <a:gd name="connsiteX3" fmla="*/ 25184 w 50379"/>
                    <a:gd name="connsiteY3" fmla="*/ 0 h 50391"/>
                    <a:gd name="connsiteX4" fmla="*/ 50379 w 50379"/>
                    <a:gd name="connsiteY4" fmla="*/ 25208 h 5039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0379" h="50391">
                      <a:moveTo>
                        <a:pt x="50379" y="25208"/>
                      </a:moveTo>
                      <a:cubicBezTo>
                        <a:pt x="50379" y="39103"/>
                        <a:pt x="39115" y="50391"/>
                        <a:pt x="25184" y="50391"/>
                      </a:cubicBezTo>
                      <a:cubicBezTo>
                        <a:pt x="11252" y="50391"/>
                        <a:pt x="0" y="39103"/>
                        <a:pt x="0" y="25208"/>
                      </a:cubicBezTo>
                      <a:cubicBezTo>
                        <a:pt x="0" y="11313"/>
                        <a:pt x="11276" y="0"/>
                        <a:pt x="25184" y="0"/>
                      </a:cubicBezTo>
                      <a:cubicBezTo>
                        <a:pt x="39091" y="0"/>
                        <a:pt x="50379" y="11288"/>
                        <a:pt x="50379" y="25208"/>
                      </a:cubicBezTo>
                      <a:close/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219" name="Forma livre: Forma 2218">
                  <a:extLst>
                    <a:ext uri="{FF2B5EF4-FFF2-40B4-BE49-F238E27FC236}">
                      <a16:creationId xmlns:a16="http://schemas.microsoft.com/office/drawing/2014/main" id="{1B5A5243-9888-0869-3176-C9C29198EAA5}"/>
                    </a:ext>
                  </a:extLst>
                </p:cNvPr>
                <p:cNvSpPr/>
                <p:nvPr/>
              </p:nvSpPr>
              <p:spPr>
                <a:xfrm>
                  <a:off x="7623627" y="5949796"/>
                  <a:ext cx="50379" cy="50391"/>
                </a:xfrm>
                <a:custGeom>
                  <a:avLst/>
                  <a:gdLst>
                    <a:gd name="connsiteX0" fmla="*/ 50379 w 50379"/>
                    <a:gd name="connsiteY0" fmla="*/ 25208 h 50391"/>
                    <a:gd name="connsiteX1" fmla="*/ 25184 w 50379"/>
                    <a:gd name="connsiteY1" fmla="*/ 50391 h 50391"/>
                    <a:gd name="connsiteX2" fmla="*/ 0 w 50379"/>
                    <a:gd name="connsiteY2" fmla="*/ 25208 h 50391"/>
                    <a:gd name="connsiteX3" fmla="*/ 25184 w 50379"/>
                    <a:gd name="connsiteY3" fmla="*/ 0 h 50391"/>
                    <a:gd name="connsiteX4" fmla="*/ 50379 w 50379"/>
                    <a:gd name="connsiteY4" fmla="*/ 25208 h 5039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0379" h="50391">
                      <a:moveTo>
                        <a:pt x="50379" y="25208"/>
                      </a:moveTo>
                      <a:cubicBezTo>
                        <a:pt x="50379" y="39103"/>
                        <a:pt x="39091" y="50391"/>
                        <a:pt x="25184" y="50391"/>
                      </a:cubicBezTo>
                      <a:cubicBezTo>
                        <a:pt x="11276" y="50391"/>
                        <a:pt x="0" y="39103"/>
                        <a:pt x="0" y="25208"/>
                      </a:cubicBezTo>
                      <a:cubicBezTo>
                        <a:pt x="0" y="11313"/>
                        <a:pt x="11276" y="0"/>
                        <a:pt x="25184" y="0"/>
                      </a:cubicBezTo>
                      <a:cubicBezTo>
                        <a:pt x="39091" y="0"/>
                        <a:pt x="50379" y="11288"/>
                        <a:pt x="50379" y="25208"/>
                      </a:cubicBezTo>
                      <a:close/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2220" name="Forma livre: Forma 2219">
                <a:extLst>
                  <a:ext uri="{FF2B5EF4-FFF2-40B4-BE49-F238E27FC236}">
                    <a16:creationId xmlns:a16="http://schemas.microsoft.com/office/drawing/2014/main" id="{1AACC914-7910-1BA8-0608-6D9A2A51434A}"/>
                  </a:ext>
                </a:extLst>
              </p:cNvPr>
              <p:cNvSpPr/>
              <p:nvPr/>
            </p:nvSpPr>
            <p:spPr>
              <a:xfrm>
                <a:off x="7532907" y="5731121"/>
                <a:ext cx="251860" cy="196837"/>
              </a:xfrm>
              <a:custGeom>
                <a:avLst/>
                <a:gdLst>
                  <a:gd name="connsiteX0" fmla="*/ 57497 w 251860"/>
                  <a:gd name="connsiteY0" fmla="*/ 196837 h 196837"/>
                  <a:gd name="connsiteX1" fmla="*/ 0 w 251860"/>
                  <a:gd name="connsiteY1" fmla="*/ 136843 h 196837"/>
                  <a:gd name="connsiteX2" fmla="*/ 63050 w 251860"/>
                  <a:gd name="connsiteY2" fmla="*/ 76375 h 196837"/>
                  <a:gd name="connsiteX3" fmla="*/ 212430 w 251860"/>
                  <a:gd name="connsiteY3" fmla="*/ 76375 h 196837"/>
                  <a:gd name="connsiteX4" fmla="*/ 251861 w 251860"/>
                  <a:gd name="connsiteY4" fmla="*/ 38060 h 196837"/>
                  <a:gd name="connsiteX5" fmla="*/ 212430 w 251860"/>
                  <a:gd name="connsiteY5" fmla="*/ 0 h 196837"/>
                  <a:gd name="connsiteX6" fmla="*/ 192400 w 251860"/>
                  <a:gd name="connsiteY6" fmla="*/ 0 h 1968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51860" h="196837">
                    <a:moveTo>
                      <a:pt x="57497" y="196837"/>
                    </a:moveTo>
                    <a:cubicBezTo>
                      <a:pt x="25390" y="194133"/>
                      <a:pt x="0" y="168186"/>
                      <a:pt x="0" y="136843"/>
                    </a:cubicBezTo>
                    <a:cubicBezTo>
                      <a:pt x="0" y="103717"/>
                      <a:pt x="28373" y="76375"/>
                      <a:pt x="63050" y="76375"/>
                    </a:cubicBezTo>
                    <a:lnTo>
                      <a:pt x="212430" y="76375"/>
                    </a:lnTo>
                    <a:cubicBezTo>
                      <a:pt x="234110" y="76375"/>
                      <a:pt x="251861" y="59000"/>
                      <a:pt x="251861" y="38060"/>
                    </a:cubicBezTo>
                    <a:cubicBezTo>
                      <a:pt x="251861" y="17121"/>
                      <a:pt x="234110" y="0"/>
                      <a:pt x="212430" y="0"/>
                    </a:cubicBezTo>
                    <a:lnTo>
                      <a:pt x="192400" y="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2221" name="Forma livre: Forma 2220">
              <a:extLst>
                <a:ext uri="{FF2B5EF4-FFF2-40B4-BE49-F238E27FC236}">
                  <a16:creationId xmlns:a16="http://schemas.microsoft.com/office/drawing/2014/main" id="{F83D6D2D-C934-900D-44A8-BBE2FE3934BD}"/>
                </a:ext>
              </a:extLst>
            </p:cNvPr>
            <p:cNvSpPr/>
            <p:nvPr/>
          </p:nvSpPr>
          <p:spPr>
            <a:xfrm>
              <a:off x="7644421" y="5693570"/>
              <a:ext cx="60879" cy="77115"/>
            </a:xfrm>
            <a:custGeom>
              <a:avLst/>
              <a:gdLst>
                <a:gd name="connsiteX0" fmla="*/ 42062 w 60879"/>
                <a:gd name="connsiteY0" fmla="*/ 77115 h 77115"/>
                <a:gd name="connsiteX1" fmla="*/ 60880 w 60879"/>
                <a:gd name="connsiteY1" fmla="*/ 58309 h 77115"/>
                <a:gd name="connsiteX2" fmla="*/ 60880 w 60879"/>
                <a:gd name="connsiteY2" fmla="*/ 18818 h 77115"/>
                <a:gd name="connsiteX3" fmla="*/ 42062 w 60879"/>
                <a:gd name="connsiteY3" fmla="*/ 0 h 77115"/>
                <a:gd name="connsiteX4" fmla="*/ 0 w 60879"/>
                <a:gd name="connsiteY4" fmla="*/ 0 h 77115"/>
                <a:gd name="connsiteX5" fmla="*/ 0 w 60879"/>
                <a:gd name="connsiteY5" fmla="*/ 77115 h 77115"/>
                <a:gd name="connsiteX6" fmla="*/ 42062 w 60879"/>
                <a:gd name="connsiteY6" fmla="*/ 77115 h 771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0879" h="77115">
                  <a:moveTo>
                    <a:pt x="42062" y="77115"/>
                  </a:moveTo>
                  <a:cubicBezTo>
                    <a:pt x="52392" y="77115"/>
                    <a:pt x="60880" y="68652"/>
                    <a:pt x="60880" y="58309"/>
                  </a:cubicBezTo>
                  <a:lnTo>
                    <a:pt x="60880" y="18818"/>
                  </a:lnTo>
                  <a:cubicBezTo>
                    <a:pt x="60880" y="8463"/>
                    <a:pt x="52404" y="0"/>
                    <a:pt x="42062" y="0"/>
                  </a:cubicBezTo>
                  <a:lnTo>
                    <a:pt x="0" y="0"/>
                  </a:lnTo>
                  <a:lnTo>
                    <a:pt x="0" y="77115"/>
                  </a:lnTo>
                  <a:lnTo>
                    <a:pt x="42062" y="77115"/>
                  </a:ln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2222" name="Gráfico 16">
              <a:extLst>
                <a:ext uri="{FF2B5EF4-FFF2-40B4-BE49-F238E27FC236}">
                  <a16:creationId xmlns:a16="http://schemas.microsoft.com/office/drawing/2014/main" id="{A82CA7E0-F27C-3230-5EA0-4800A871D2B1}"/>
                </a:ext>
              </a:extLst>
            </p:cNvPr>
            <p:cNvGrpSpPr/>
            <p:nvPr/>
          </p:nvGrpSpPr>
          <p:grpSpPr>
            <a:xfrm>
              <a:off x="7610507" y="5712716"/>
              <a:ext cx="33792" cy="38836"/>
              <a:chOff x="7610507" y="5712716"/>
              <a:chExt cx="33792" cy="38836"/>
            </a:xfrm>
          </p:grpSpPr>
          <p:sp>
            <p:nvSpPr>
              <p:cNvPr id="2223" name="Forma livre: Forma 2222">
                <a:extLst>
                  <a:ext uri="{FF2B5EF4-FFF2-40B4-BE49-F238E27FC236}">
                    <a16:creationId xmlns:a16="http://schemas.microsoft.com/office/drawing/2014/main" id="{640129D5-271D-5F21-7D37-77CEA0580045}"/>
                  </a:ext>
                </a:extLst>
              </p:cNvPr>
              <p:cNvSpPr/>
              <p:nvPr/>
            </p:nvSpPr>
            <p:spPr>
              <a:xfrm>
                <a:off x="7610507" y="5712716"/>
                <a:ext cx="33780" cy="1212"/>
              </a:xfrm>
              <a:custGeom>
                <a:avLst/>
                <a:gdLst>
                  <a:gd name="connsiteX0" fmla="*/ 33780 w 33780"/>
                  <a:gd name="connsiteY0" fmla="*/ 0 h 1212"/>
                  <a:gd name="connsiteX1" fmla="*/ 0 w 33780"/>
                  <a:gd name="connsiteY1" fmla="*/ 0 h 12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3780" h="1212">
                    <a:moveTo>
                      <a:pt x="33780" y="0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224" name="Forma livre: Forma 2223">
                <a:extLst>
                  <a:ext uri="{FF2B5EF4-FFF2-40B4-BE49-F238E27FC236}">
                    <a16:creationId xmlns:a16="http://schemas.microsoft.com/office/drawing/2014/main" id="{3B1DF905-17CD-B20E-BD3C-9F526B9A01A1}"/>
                  </a:ext>
                </a:extLst>
              </p:cNvPr>
              <p:cNvSpPr/>
              <p:nvPr/>
            </p:nvSpPr>
            <p:spPr>
              <a:xfrm>
                <a:off x="7610507" y="5751552"/>
                <a:ext cx="33792" cy="1212"/>
              </a:xfrm>
              <a:custGeom>
                <a:avLst/>
                <a:gdLst>
                  <a:gd name="connsiteX0" fmla="*/ 33792 w 33792"/>
                  <a:gd name="connsiteY0" fmla="*/ 0 h 1212"/>
                  <a:gd name="connsiteX1" fmla="*/ 0 w 33792"/>
                  <a:gd name="connsiteY1" fmla="*/ 0 h 12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3792" h="1212">
                    <a:moveTo>
                      <a:pt x="33792" y="0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2225" name="Gráfico 16">
            <a:extLst>
              <a:ext uri="{FF2B5EF4-FFF2-40B4-BE49-F238E27FC236}">
                <a16:creationId xmlns:a16="http://schemas.microsoft.com/office/drawing/2014/main" id="{C739B4A6-2539-3F76-BC5F-E4A153AD9B59}"/>
              </a:ext>
            </a:extLst>
          </p:cNvPr>
          <p:cNvGrpSpPr/>
          <p:nvPr/>
        </p:nvGrpSpPr>
        <p:grpSpPr>
          <a:xfrm>
            <a:off x="7514114" y="4647400"/>
            <a:ext cx="378433" cy="220832"/>
            <a:chOff x="7514114" y="4647400"/>
            <a:chExt cx="378433" cy="220832"/>
          </a:xfrm>
          <a:noFill/>
        </p:grpSpPr>
        <p:grpSp>
          <p:nvGrpSpPr>
            <p:cNvPr id="2226" name="Gráfico 16">
              <a:extLst>
                <a:ext uri="{FF2B5EF4-FFF2-40B4-BE49-F238E27FC236}">
                  <a16:creationId xmlns:a16="http://schemas.microsoft.com/office/drawing/2014/main" id="{FE68DF4B-69B3-7344-A3CF-F4E35D0E020C}"/>
                </a:ext>
              </a:extLst>
            </p:cNvPr>
            <p:cNvGrpSpPr/>
            <p:nvPr/>
          </p:nvGrpSpPr>
          <p:grpSpPr>
            <a:xfrm>
              <a:off x="7514793" y="4679750"/>
              <a:ext cx="377754" cy="188483"/>
              <a:chOff x="7514793" y="4679750"/>
              <a:chExt cx="377754" cy="188483"/>
            </a:xfrm>
            <a:noFill/>
          </p:grpSpPr>
          <p:sp>
            <p:nvSpPr>
              <p:cNvPr id="2227" name="Forma livre: Forma 2226">
                <a:extLst>
                  <a:ext uri="{FF2B5EF4-FFF2-40B4-BE49-F238E27FC236}">
                    <a16:creationId xmlns:a16="http://schemas.microsoft.com/office/drawing/2014/main" id="{BA24CF27-9A83-E641-2FBB-7BAF4E01E3D4}"/>
                  </a:ext>
                </a:extLst>
              </p:cNvPr>
              <p:cNvSpPr/>
              <p:nvPr/>
            </p:nvSpPr>
            <p:spPr>
              <a:xfrm>
                <a:off x="7672478" y="4838842"/>
                <a:ext cx="121565" cy="1212"/>
              </a:xfrm>
              <a:custGeom>
                <a:avLst/>
                <a:gdLst>
                  <a:gd name="connsiteX0" fmla="*/ 0 w 121565"/>
                  <a:gd name="connsiteY0" fmla="*/ 0 h 1212"/>
                  <a:gd name="connsiteX1" fmla="*/ 121565 w 121565"/>
                  <a:gd name="connsiteY1" fmla="*/ 0 h 12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1565" h="1212">
                    <a:moveTo>
                      <a:pt x="0" y="0"/>
                    </a:moveTo>
                    <a:lnTo>
                      <a:pt x="121565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228" name="Forma livre: Forma 2227">
                <a:extLst>
                  <a:ext uri="{FF2B5EF4-FFF2-40B4-BE49-F238E27FC236}">
                    <a16:creationId xmlns:a16="http://schemas.microsoft.com/office/drawing/2014/main" id="{BEC93C7E-9B72-F6AB-5FD7-F0972B52B280}"/>
                  </a:ext>
                </a:extLst>
              </p:cNvPr>
              <p:cNvSpPr/>
              <p:nvPr/>
            </p:nvSpPr>
            <p:spPr>
              <a:xfrm>
                <a:off x="7817978" y="4700835"/>
                <a:ext cx="42764" cy="36084"/>
              </a:xfrm>
              <a:custGeom>
                <a:avLst/>
                <a:gdLst>
                  <a:gd name="connsiteX0" fmla="*/ 42765 w 42764"/>
                  <a:gd name="connsiteY0" fmla="*/ 36084 h 36084"/>
                  <a:gd name="connsiteX1" fmla="*/ 0 w 42764"/>
                  <a:gd name="connsiteY1" fmla="*/ 36084 h 36084"/>
                  <a:gd name="connsiteX2" fmla="*/ 0 w 42764"/>
                  <a:gd name="connsiteY2" fmla="*/ 0 h 360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42764" h="36084">
                    <a:moveTo>
                      <a:pt x="42765" y="36084"/>
                    </a:moveTo>
                    <a:lnTo>
                      <a:pt x="0" y="36084"/>
                    </a:lnTo>
                    <a:lnTo>
                      <a:pt x="0" y="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229" name="Forma livre: Forma 2228">
                <a:extLst>
                  <a:ext uri="{FF2B5EF4-FFF2-40B4-BE49-F238E27FC236}">
                    <a16:creationId xmlns:a16="http://schemas.microsoft.com/office/drawing/2014/main" id="{893CEDA0-85C3-5BB1-2388-72C239A33148}"/>
                  </a:ext>
                </a:extLst>
              </p:cNvPr>
              <p:cNvSpPr/>
              <p:nvPr/>
            </p:nvSpPr>
            <p:spPr>
              <a:xfrm>
                <a:off x="7793813" y="4822328"/>
                <a:ext cx="45929" cy="45905"/>
              </a:xfrm>
              <a:custGeom>
                <a:avLst/>
                <a:gdLst>
                  <a:gd name="connsiteX0" fmla="*/ 0 w 45929"/>
                  <a:gd name="connsiteY0" fmla="*/ 22953 h 45905"/>
                  <a:gd name="connsiteX1" fmla="*/ 22965 w 45929"/>
                  <a:gd name="connsiteY1" fmla="*/ 45905 h 45905"/>
                  <a:gd name="connsiteX2" fmla="*/ 45929 w 45929"/>
                  <a:gd name="connsiteY2" fmla="*/ 22953 h 45905"/>
                  <a:gd name="connsiteX3" fmla="*/ 22965 w 45929"/>
                  <a:gd name="connsiteY3" fmla="*/ 0 h 45905"/>
                  <a:gd name="connsiteX4" fmla="*/ 0 w 45929"/>
                  <a:gd name="connsiteY4" fmla="*/ 22953 h 459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5929" h="45905">
                    <a:moveTo>
                      <a:pt x="0" y="22953"/>
                    </a:moveTo>
                    <a:cubicBezTo>
                      <a:pt x="0" y="35635"/>
                      <a:pt x="10282" y="45905"/>
                      <a:pt x="22965" y="45905"/>
                    </a:cubicBezTo>
                    <a:cubicBezTo>
                      <a:pt x="35647" y="45905"/>
                      <a:pt x="45929" y="35623"/>
                      <a:pt x="45929" y="22953"/>
                    </a:cubicBezTo>
                    <a:cubicBezTo>
                      <a:pt x="45929" y="10282"/>
                      <a:pt x="35647" y="0"/>
                      <a:pt x="22965" y="0"/>
                    </a:cubicBezTo>
                    <a:cubicBezTo>
                      <a:pt x="10282" y="0"/>
                      <a:pt x="0" y="10282"/>
                      <a:pt x="0" y="22953"/>
                    </a:cubicBezTo>
                    <a:close/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230" name="Forma livre: Forma 2229">
                <a:extLst>
                  <a:ext uri="{FF2B5EF4-FFF2-40B4-BE49-F238E27FC236}">
                    <a16:creationId xmlns:a16="http://schemas.microsoft.com/office/drawing/2014/main" id="{7A4AE5FC-AADB-0F26-0732-9974DC3D5F38}"/>
                  </a:ext>
                </a:extLst>
              </p:cNvPr>
              <p:cNvSpPr/>
              <p:nvPr/>
            </p:nvSpPr>
            <p:spPr>
              <a:xfrm>
                <a:off x="7607367" y="4822328"/>
                <a:ext cx="45917" cy="45905"/>
              </a:xfrm>
              <a:custGeom>
                <a:avLst/>
                <a:gdLst>
                  <a:gd name="connsiteX0" fmla="*/ 0 w 45917"/>
                  <a:gd name="connsiteY0" fmla="*/ 22953 h 45905"/>
                  <a:gd name="connsiteX1" fmla="*/ 22953 w 45917"/>
                  <a:gd name="connsiteY1" fmla="*/ 45905 h 45905"/>
                  <a:gd name="connsiteX2" fmla="*/ 45917 w 45917"/>
                  <a:gd name="connsiteY2" fmla="*/ 22953 h 45905"/>
                  <a:gd name="connsiteX3" fmla="*/ 22953 w 45917"/>
                  <a:gd name="connsiteY3" fmla="*/ 0 h 45905"/>
                  <a:gd name="connsiteX4" fmla="*/ 0 w 45917"/>
                  <a:gd name="connsiteY4" fmla="*/ 22953 h 459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5917" h="45905">
                    <a:moveTo>
                      <a:pt x="0" y="22953"/>
                    </a:moveTo>
                    <a:cubicBezTo>
                      <a:pt x="0" y="35635"/>
                      <a:pt x="10282" y="45905"/>
                      <a:pt x="22953" y="45905"/>
                    </a:cubicBezTo>
                    <a:cubicBezTo>
                      <a:pt x="35623" y="45905"/>
                      <a:pt x="45917" y="35623"/>
                      <a:pt x="45917" y="22953"/>
                    </a:cubicBezTo>
                    <a:cubicBezTo>
                      <a:pt x="45917" y="10282"/>
                      <a:pt x="35635" y="0"/>
                      <a:pt x="22953" y="0"/>
                    </a:cubicBezTo>
                    <a:cubicBezTo>
                      <a:pt x="10270" y="0"/>
                      <a:pt x="0" y="10282"/>
                      <a:pt x="0" y="22953"/>
                    </a:cubicBezTo>
                    <a:close/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231" name="Forma livre: Forma 2230">
                <a:extLst>
                  <a:ext uri="{FF2B5EF4-FFF2-40B4-BE49-F238E27FC236}">
                    <a16:creationId xmlns:a16="http://schemas.microsoft.com/office/drawing/2014/main" id="{41E62E18-9B94-AE10-02DA-2B20623D1DE5}"/>
                  </a:ext>
                </a:extLst>
              </p:cNvPr>
              <p:cNvSpPr/>
              <p:nvPr/>
            </p:nvSpPr>
            <p:spPr>
              <a:xfrm>
                <a:off x="7540934" y="4822328"/>
                <a:ext cx="45917" cy="45905"/>
              </a:xfrm>
              <a:custGeom>
                <a:avLst/>
                <a:gdLst>
                  <a:gd name="connsiteX0" fmla="*/ 0 w 45917"/>
                  <a:gd name="connsiteY0" fmla="*/ 22953 h 45905"/>
                  <a:gd name="connsiteX1" fmla="*/ 22953 w 45917"/>
                  <a:gd name="connsiteY1" fmla="*/ 45905 h 45905"/>
                  <a:gd name="connsiteX2" fmla="*/ 45917 w 45917"/>
                  <a:gd name="connsiteY2" fmla="*/ 22953 h 45905"/>
                  <a:gd name="connsiteX3" fmla="*/ 22953 w 45917"/>
                  <a:gd name="connsiteY3" fmla="*/ 0 h 45905"/>
                  <a:gd name="connsiteX4" fmla="*/ 0 w 45917"/>
                  <a:gd name="connsiteY4" fmla="*/ 22953 h 459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5917" h="45905">
                    <a:moveTo>
                      <a:pt x="0" y="22953"/>
                    </a:moveTo>
                    <a:cubicBezTo>
                      <a:pt x="0" y="35635"/>
                      <a:pt x="10282" y="45905"/>
                      <a:pt x="22953" y="45905"/>
                    </a:cubicBezTo>
                    <a:cubicBezTo>
                      <a:pt x="35623" y="45905"/>
                      <a:pt x="45917" y="35623"/>
                      <a:pt x="45917" y="22953"/>
                    </a:cubicBezTo>
                    <a:cubicBezTo>
                      <a:pt x="45917" y="10282"/>
                      <a:pt x="35635" y="0"/>
                      <a:pt x="22953" y="0"/>
                    </a:cubicBezTo>
                    <a:cubicBezTo>
                      <a:pt x="10270" y="0"/>
                      <a:pt x="0" y="10282"/>
                      <a:pt x="0" y="22953"/>
                    </a:cubicBezTo>
                    <a:close/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232" name="Forma livre: Forma 2231">
                <a:extLst>
                  <a:ext uri="{FF2B5EF4-FFF2-40B4-BE49-F238E27FC236}">
                    <a16:creationId xmlns:a16="http://schemas.microsoft.com/office/drawing/2014/main" id="{9E0C4213-7D48-176C-3D41-0432F4977F7F}"/>
                  </a:ext>
                </a:extLst>
              </p:cNvPr>
              <p:cNvSpPr/>
              <p:nvPr/>
            </p:nvSpPr>
            <p:spPr>
              <a:xfrm>
                <a:off x="7514793" y="4816265"/>
                <a:ext cx="25450" cy="25680"/>
              </a:xfrm>
              <a:custGeom>
                <a:avLst/>
                <a:gdLst>
                  <a:gd name="connsiteX0" fmla="*/ 0 w 25450"/>
                  <a:gd name="connsiteY0" fmla="*/ 0 h 25680"/>
                  <a:gd name="connsiteX1" fmla="*/ 0 w 25450"/>
                  <a:gd name="connsiteY1" fmla="*/ 25681 h 25680"/>
                  <a:gd name="connsiteX2" fmla="*/ 25451 w 25450"/>
                  <a:gd name="connsiteY2" fmla="*/ 25681 h 256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5450" h="25680">
                    <a:moveTo>
                      <a:pt x="0" y="0"/>
                    </a:moveTo>
                    <a:lnTo>
                      <a:pt x="0" y="25681"/>
                    </a:lnTo>
                    <a:lnTo>
                      <a:pt x="25451" y="25681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233" name="Forma livre: Forma 2232">
                <a:extLst>
                  <a:ext uri="{FF2B5EF4-FFF2-40B4-BE49-F238E27FC236}">
                    <a16:creationId xmlns:a16="http://schemas.microsoft.com/office/drawing/2014/main" id="{BACBD324-6979-5582-BF0C-35A0F309E086}"/>
                  </a:ext>
                </a:extLst>
              </p:cNvPr>
              <p:cNvSpPr/>
              <p:nvPr/>
            </p:nvSpPr>
            <p:spPr>
              <a:xfrm>
                <a:off x="7792443" y="4679750"/>
                <a:ext cx="100103" cy="162826"/>
              </a:xfrm>
              <a:custGeom>
                <a:avLst/>
                <a:gdLst>
                  <a:gd name="connsiteX0" fmla="*/ 11628 w 100103"/>
                  <a:gd name="connsiteY0" fmla="*/ 117188 h 162826"/>
                  <a:gd name="connsiteX1" fmla="*/ 56502 w 100103"/>
                  <a:gd name="connsiteY1" fmla="*/ 117188 h 162826"/>
                  <a:gd name="connsiteX2" fmla="*/ 73065 w 100103"/>
                  <a:gd name="connsiteY2" fmla="*/ 162657 h 162826"/>
                  <a:gd name="connsiteX3" fmla="*/ 100104 w 100103"/>
                  <a:gd name="connsiteY3" fmla="*/ 162827 h 162826"/>
                  <a:gd name="connsiteX4" fmla="*/ 100104 w 100103"/>
                  <a:gd name="connsiteY4" fmla="*/ 73902 h 162826"/>
                  <a:gd name="connsiteX5" fmla="*/ 61692 w 100103"/>
                  <a:gd name="connsiteY5" fmla="*/ 0 h 162826"/>
                  <a:gd name="connsiteX6" fmla="*/ 0 w 100103"/>
                  <a:gd name="connsiteY6" fmla="*/ 0 h 162826"/>
                  <a:gd name="connsiteX7" fmla="*/ 0 w 100103"/>
                  <a:gd name="connsiteY7" fmla="*/ 91241 h 1628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00103" h="162826">
                    <a:moveTo>
                      <a:pt x="11628" y="117188"/>
                    </a:moveTo>
                    <a:lnTo>
                      <a:pt x="56502" y="117188"/>
                    </a:lnTo>
                    <a:lnTo>
                      <a:pt x="73065" y="162657"/>
                    </a:lnTo>
                    <a:lnTo>
                      <a:pt x="100104" y="162827"/>
                    </a:lnTo>
                    <a:lnTo>
                      <a:pt x="100104" y="73902"/>
                    </a:lnTo>
                    <a:lnTo>
                      <a:pt x="61692" y="0"/>
                    </a:lnTo>
                    <a:lnTo>
                      <a:pt x="0" y="0"/>
                    </a:lnTo>
                    <a:lnTo>
                      <a:pt x="0" y="91241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234" name="Forma livre: Forma 2233">
                <a:extLst>
                  <a:ext uri="{FF2B5EF4-FFF2-40B4-BE49-F238E27FC236}">
                    <a16:creationId xmlns:a16="http://schemas.microsoft.com/office/drawing/2014/main" id="{DDB9DAF8-5FF8-F029-8F1D-12A385948775}"/>
                  </a:ext>
                </a:extLst>
              </p:cNvPr>
              <p:cNvSpPr/>
              <p:nvPr/>
            </p:nvSpPr>
            <p:spPr>
              <a:xfrm>
                <a:off x="7587434" y="4841752"/>
                <a:ext cx="19436" cy="1212"/>
              </a:xfrm>
              <a:custGeom>
                <a:avLst/>
                <a:gdLst>
                  <a:gd name="connsiteX0" fmla="*/ 0 w 19436"/>
                  <a:gd name="connsiteY0" fmla="*/ 0 h 1212"/>
                  <a:gd name="connsiteX1" fmla="*/ 19436 w 19436"/>
                  <a:gd name="connsiteY1" fmla="*/ 0 h 12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9436" h="1212">
                    <a:moveTo>
                      <a:pt x="0" y="0"/>
                    </a:moveTo>
                    <a:lnTo>
                      <a:pt x="19436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2235" name="Gráfico 16">
              <a:extLst>
                <a:ext uri="{FF2B5EF4-FFF2-40B4-BE49-F238E27FC236}">
                  <a16:creationId xmlns:a16="http://schemas.microsoft.com/office/drawing/2014/main" id="{8D8F9772-5E32-9902-041E-4EF3D60F8EC0}"/>
                </a:ext>
              </a:extLst>
            </p:cNvPr>
            <p:cNvGrpSpPr/>
            <p:nvPr/>
          </p:nvGrpSpPr>
          <p:grpSpPr>
            <a:xfrm>
              <a:off x="7514114" y="4647400"/>
              <a:ext cx="251545" cy="149452"/>
              <a:chOff x="7514114" y="4647400"/>
              <a:chExt cx="251545" cy="149452"/>
            </a:xfrm>
            <a:noFill/>
          </p:grpSpPr>
          <p:grpSp>
            <p:nvGrpSpPr>
              <p:cNvPr id="2236" name="Gráfico 16">
                <a:extLst>
                  <a:ext uri="{FF2B5EF4-FFF2-40B4-BE49-F238E27FC236}">
                    <a16:creationId xmlns:a16="http://schemas.microsoft.com/office/drawing/2014/main" id="{AD335420-5A04-F759-EF43-2C42A598C0EA}"/>
                  </a:ext>
                </a:extLst>
              </p:cNvPr>
              <p:cNvGrpSpPr/>
              <p:nvPr/>
            </p:nvGrpSpPr>
            <p:grpSpPr>
              <a:xfrm>
                <a:off x="7549300" y="4676064"/>
                <a:ext cx="181171" cy="92150"/>
                <a:chOff x="7549300" y="4676064"/>
                <a:chExt cx="181171" cy="92150"/>
              </a:xfrm>
            </p:grpSpPr>
            <p:sp>
              <p:nvSpPr>
                <p:cNvPr id="2237" name="Forma livre: Forma 2236">
                  <a:extLst>
                    <a:ext uri="{FF2B5EF4-FFF2-40B4-BE49-F238E27FC236}">
                      <a16:creationId xmlns:a16="http://schemas.microsoft.com/office/drawing/2014/main" id="{2C3FFF76-5565-024A-5D90-6B4F28CDE374}"/>
                    </a:ext>
                  </a:extLst>
                </p:cNvPr>
                <p:cNvSpPr/>
                <p:nvPr/>
              </p:nvSpPr>
              <p:spPr>
                <a:xfrm>
                  <a:off x="7621772" y="4676064"/>
                  <a:ext cx="1212" cy="92150"/>
                </a:xfrm>
                <a:custGeom>
                  <a:avLst/>
                  <a:gdLst>
                    <a:gd name="connsiteX0" fmla="*/ 0 w 1212"/>
                    <a:gd name="connsiteY0" fmla="*/ 0 h 92150"/>
                    <a:gd name="connsiteX1" fmla="*/ 0 w 1212"/>
                    <a:gd name="connsiteY1" fmla="*/ 92150 h 921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212" h="92150">
                      <a:moveTo>
                        <a:pt x="0" y="0"/>
                      </a:moveTo>
                      <a:lnTo>
                        <a:pt x="0" y="9215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238" name="Forma livre: Forma 2237">
                  <a:extLst>
                    <a:ext uri="{FF2B5EF4-FFF2-40B4-BE49-F238E27FC236}">
                      <a16:creationId xmlns:a16="http://schemas.microsoft.com/office/drawing/2014/main" id="{32F40149-BBB4-9EFB-3CEC-C05BC6AE0D81}"/>
                    </a:ext>
                  </a:extLst>
                </p:cNvPr>
                <p:cNvSpPr/>
                <p:nvPr/>
              </p:nvSpPr>
              <p:spPr>
                <a:xfrm>
                  <a:off x="7585542" y="4676064"/>
                  <a:ext cx="1212" cy="92150"/>
                </a:xfrm>
                <a:custGeom>
                  <a:avLst/>
                  <a:gdLst>
                    <a:gd name="connsiteX0" fmla="*/ 0 w 1212"/>
                    <a:gd name="connsiteY0" fmla="*/ 0 h 92150"/>
                    <a:gd name="connsiteX1" fmla="*/ 0 w 1212"/>
                    <a:gd name="connsiteY1" fmla="*/ 92150 h 921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212" h="92150">
                      <a:moveTo>
                        <a:pt x="0" y="0"/>
                      </a:moveTo>
                      <a:lnTo>
                        <a:pt x="0" y="9215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239" name="Forma livre: Forma 2238">
                  <a:extLst>
                    <a:ext uri="{FF2B5EF4-FFF2-40B4-BE49-F238E27FC236}">
                      <a16:creationId xmlns:a16="http://schemas.microsoft.com/office/drawing/2014/main" id="{9AEEC90B-E012-0555-9B5D-C3130BEE9DF2}"/>
                    </a:ext>
                  </a:extLst>
                </p:cNvPr>
                <p:cNvSpPr/>
                <p:nvPr/>
              </p:nvSpPr>
              <p:spPr>
                <a:xfrm>
                  <a:off x="7549300" y="4676064"/>
                  <a:ext cx="1212" cy="92150"/>
                </a:xfrm>
                <a:custGeom>
                  <a:avLst/>
                  <a:gdLst>
                    <a:gd name="connsiteX0" fmla="*/ 0 w 1212"/>
                    <a:gd name="connsiteY0" fmla="*/ 0 h 92150"/>
                    <a:gd name="connsiteX1" fmla="*/ 0 w 1212"/>
                    <a:gd name="connsiteY1" fmla="*/ 92150 h 921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212" h="92150">
                      <a:moveTo>
                        <a:pt x="0" y="0"/>
                      </a:moveTo>
                      <a:lnTo>
                        <a:pt x="0" y="9215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240" name="Forma livre: Forma 2239">
                  <a:extLst>
                    <a:ext uri="{FF2B5EF4-FFF2-40B4-BE49-F238E27FC236}">
                      <a16:creationId xmlns:a16="http://schemas.microsoft.com/office/drawing/2014/main" id="{493FC382-F743-0352-AF71-DECC8D1BB3FE}"/>
                    </a:ext>
                  </a:extLst>
                </p:cNvPr>
                <p:cNvSpPr/>
                <p:nvPr/>
              </p:nvSpPr>
              <p:spPr>
                <a:xfrm>
                  <a:off x="7658013" y="4676064"/>
                  <a:ext cx="1212" cy="92150"/>
                </a:xfrm>
                <a:custGeom>
                  <a:avLst/>
                  <a:gdLst>
                    <a:gd name="connsiteX0" fmla="*/ 0 w 1212"/>
                    <a:gd name="connsiteY0" fmla="*/ 0 h 92150"/>
                    <a:gd name="connsiteX1" fmla="*/ 0 w 1212"/>
                    <a:gd name="connsiteY1" fmla="*/ 92150 h 921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212" h="92150">
                      <a:moveTo>
                        <a:pt x="0" y="0"/>
                      </a:moveTo>
                      <a:lnTo>
                        <a:pt x="0" y="9215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241" name="Forma livre: Forma 2240">
                  <a:extLst>
                    <a:ext uri="{FF2B5EF4-FFF2-40B4-BE49-F238E27FC236}">
                      <a16:creationId xmlns:a16="http://schemas.microsoft.com/office/drawing/2014/main" id="{E9A43F92-CA52-729E-701C-8912CA035B59}"/>
                    </a:ext>
                  </a:extLst>
                </p:cNvPr>
                <p:cNvSpPr/>
                <p:nvPr/>
              </p:nvSpPr>
              <p:spPr>
                <a:xfrm>
                  <a:off x="7694243" y="4676064"/>
                  <a:ext cx="1212" cy="92150"/>
                </a:xfrm>
                <a:custGeom>
                  <a:avLst/>
                  <a:gdLst>
                    <a:gd name="connsiteX0" fmla="*/ 0 w 1212"/>
                    <a:gd name="connsiteY0" fmla="*/ 0 h 92150"/>
                    <a:gd name="connsiteX1" fmla="*/ 0 w 1212"/>
                    <a:gd name="connsiteY1" fmla="*/ 92150 h 921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212" h="92150">
                      <a:moveTo>
                        <a:pt x="0" y="0"/>
                      </a:moveTo>
                      <a:lnTo>
                        <a:pt x="0" y="9215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242" name="Forma livre: Forma 2241">
                  <a:extLst>
                    <a:ext uri="{FF2B5EF4-FFF2-40B4-BE49-F238E27FC236}">
                      <a16:creationId xmlns:a16="http://schemas.microsoft.com/office/drawing/2014/main" id="{04251B07-9D0B-A755-718E-A578DA9CB881}"/>
                    </a:ext>
                  </a:extLst>
                </p:cNvPr>
                <p:cNvSpPr/>
                <p:nvPr/>
              </p:nvSpPr>
              <p:spPr>
                <a:xfrm>
                  <a:off x="7730472" y="4676064"/>
                  <a:ext cx="1212" cy="92150"/>
                </a:xfrm>
                <a:custGeom>
                  <a:avLst/>
                  <a:gdLst>
                    <a:gd name="connsiteX0" fmla="*/ 0 w 1212"/>
                    <a:gd name="connsiteY0" fmla="*/ 0 h 92150"/>
                    <a:gd name="connsiteX1" fmla="*/ 0 w 1212"/>
                    <a:gd name="connsiteY1" fmla="*/ 92150 h 921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212" h="92150">
                      <a:moveTo>
                        <a:pt x="0" y="0"/>
                      </a:moveTo>
                      <a:lnTo>
                        <a:pt x="0" y="9215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2243" name="Forma livre: Forma 2242">
                <a:extLst>
                  <a:ext uri="{FF2B5EF4-FFF2-40B4-BE49-F238E27FC236}">
                    <a16:creationId xmlns:a16="http://schemas.microsoft.com/office/drawing/2014/main" id="{D3E8B556-461B-8C48-BCBB-0C477E2DAACB}"/>
                  </a:ext>
                </a:extLst>
              </p:cNvPr>
              <p:cNvSpPr/>
              <p:nvPr/>
            </p:nvSpPr>
            <p:spPr>
              <a:xfrm>
                <a:off x="7514114" y="4647400"/>
                <a:ext cx="251545" cy="149452"/>
              </a:xfrm>
              <a:custGeom>
                <a:avLst/>
                <a:gdLst>
                  <a:gd name="connsiteX0" fmla="*/ 0 w 251545"/>
                  <a:gd name="connsiteY0" fmla="*/ 0 h 149452"/>
                  <a:gd name="connsiteX1" fmla="*/ 251545 w 251545"/>
                  <a:gd name="connsiteY1" fmla="*/ 0 h 149452"/>
                  <a:gd name="connsiteX2" fmla="*/ 251545 w 251545"/>
                  <a:gd name="connsiteY2" fmla="*/ 149453 h 149452"/>
                  <a:gd name="connsiteX3" fmla="*/ 0 w 251545"/>
                  <a:gd name="connsiteY3" fmla="*/ 149453 h 1494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51545" h="149452">
                    <a:moveTo>
                      <a:pt x="0" y="0"/>
                    </a:moveTo>
                    <a:lnTo>
                      <a:pt x="251545" y="0"/>
                    </a:lnTo>
                    <a:lnTo>
                      <a:pt x="251545" y="149453"/>
                    </a:lnTo>
                    <a:lnTo>
                      <a:pt x="0" y="149453"/>
                    </a:ln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2244" name="Gráfico 16">
            <a:extLst>
              <a:ext uri="{FF2B5EF4-FFF2-40B4-BE49-F238E27FC236}">
                <a16:creationId xmlns:a16="http://schemas.microsoft.com/office/drawing/2014/main" id="{CCDCF4E0-0F38-2523-A539-CD595A901C61}"/>
              </a:ext>
            </a:extLst>
          </p:cNvPr>
          <p:cNvGrpSpPr/>
          <p:nvPr/>
        </p:nvGrpSpPr>
        <p:grpSpPr>
          <a:xfrm>
            <a:off x="7506614" y="4085564"/>
            <a:ext cx="388237" cy="256154"/>
            <a:chOff x="7506614" y="4085564"/>
            <a:chExt cx="388237" cy="256154"/>
          </a:xfrm>
        </p:grpSpPr>
        <p:sp>
          <p:nvSpPr>
            <p:cNvPr id="2245" name="Forma livre: Forma 2244">
              <a:extLst>
                <a:ext uri="{FF2B5EF4-FFF2-40B4-BE49-F238E27FC236}">
                  <a16:creationId xmlns:a16="http://schemas.microsoft.com/office/drawing/2014/main" id="{EBC003B3-C04A-2346-C6E3-73974C046E86}"/>
                </a:ext>
              </a:extLst>
            </p:cNvPr>
            <p:cNvSpPr/>
            <p:nvPr/>
          </p:nvSpPr>
          <p:spPr>
            <a:xfrm>
              <a:off x="7547809" y="4207214"/>
              <a:ext cx="347041" cy="77636"/>
            </a:xfrm>
            <a:custGeom>
              <a:avLst/>
              <a:gdLst>
                <a:gd name="connsiteX0" fmla="*/ 323155 w 347041"/>
                <a:gd name="connsiteY0" fmla="*/ 77636 h 77636"/>
                <a:gd name="connsiteX1" fmla="*/ 335790 w 347041"/>
                <a:gd name="connsiteY1" fmla="*/ 77636 h 77636"/>
                <a:gd name="connsiteX2" fmla="*/ 347042 w 347041"/>
                <a:gd name="connsiteY2" fmla="*/ 66384 h 77636"/>
                <a:gd name="connsiteX3" fmla="*/ 347042 w 347041"/>
                <a:gd name="connsiteY3" fmla="*/ 58746 h 77636"/>
                <a:gd name="connsiteX4" fmla="*/ 335790 w 347041"/>
                <a:gd name="connsiteY4" fmla="*/ 47542 h 77636"/>
                <a:gd name="connsiteX5" fmla="*/ 296808 w 347041"/>
                <a:gd name="connsiteY5" fmla="*/ 47542 h 77636"/>
                <a:gd name="connsiteX6" fmla="*/ 211266 w 347041"/>
                <a:gd name="connsiteY6" fmla="*/ 31513 h 77636"/>
                <a:gd name="connsiteX7" fmla="*/ 153781 w 347041"/>
                <a:gd name="connsiteY7" fmla="*/ 53580 h 77636"/>
                <a:gd name="connsiteX8" fmla="*/ 79564 w 347041"/>
                <a:gd name="connsiteY8" fmla="*/ 53580 h 77636"/>
                <a:gd name="connsiteX9" fmla="*/ 0 w 347041"/>
                <a:gd name="connsiteY9" fmla="*/ 0 h 776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47041" h="77636">
                  <a:moveTo>
                    <a:pt x="323155" y="77636"/>
                  </a:moveTo>
                  <a:lnTo>
                    <a:pt x="335790" y="77636"/>
                  </a:lnTo>
                  <a:cubicBezTo>
                    <a:pt x="341986" y="77636"/>
                    <a:pt x="347042" y="72568"/>
                    <a:pt x="347042" y="66384"/>
                  </a:cubicBezTo>
                  <a:lnTo>
                    <a:pt x="347042" y="58746"/>
                  </a:lnTo>
                  <a:cubicBezTo>
                    <a:pt x="347042" y="52550"/>
                    <a:pt x="341986" y="47542"/>
                    <a:pt x="335790" y="47542"/>
                  </a:cubicBezTo>
                  <a:lnTo>
                    <a:pt x="296808" y="47542"/>
                  </a:lnTo>
                  <a:cubicBezTo>
                    <a:pt x="259718" y="14138"/>
                    <a:pt x="211266" y="31513"/>
                    <a:pt x="211266" y="31513"/>
                  </a:cubicBezTo>
                  <a:lnTo>
                    <a:pt x="153781" y="53580"/>
                  </a:lnTo>
                  <a:lnTo>
                    <a:pt x="79564" y="53580"/>
                  </a:lnTo>
                  <a:cubicBezTo>
                    <a:pt x="72617" y="14283"/>
                    <a:pt x="27221" y="2740"/>
                    <a:pt x="0" y="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246" name="Forma livre: Forma 2245">
              <a:extLst>
                <a:ext uri="{FF2B5EF4-FFF2-40B4-BE49-F238E27FC236}">
                  <a16:creationId xmlns:a16="http://schemas.microsoft.com/office/drawing/2014/main" id="{5C28E89A-BF49-C279-321F-DF9F4D198101}"/>
                </a:ext>
              </a:extLst>
            </p:cNvPr>
            <p:cNvSpPr/>
            <p:nvPr/>
          </p:nvSpPr>
          <p:spPr>
            <a:xfrm rot="-4603200">
              <a:off x="7516096" y="4238801"/>
              <a:ext cx="93435" cy="93435"/>
            </a:xfrm>
            <a:custGeom>
              <a:avLst/>
              <a:gdLst>
                <a:gd name="connsiteX0" fmla="*/ 93435 w 93435"/>
                <a:gd name="connsiteY0" fmla="*/ 46718 h 93435"/>
                <a:gd name="connsiteX1" fmla="*/ 46718 w 93435"/>
                <a:gd name="connsiteY1" fmla="*/ 93435 h 93435"/>
                <a:gd name="connsiteX2" fmla="*/ 0 w 93435"/>
                <a:gd name="connsiteY2" fmla="*/ 46718 h 93435"/>
                <a:gd name="connsiteX3" fmla="*/ 46718 w 93435"/>
                <a:gd name="connsiteY3" fmla="*/ 0 h 93435"/>
                <a:gd name="connsiteX4" fmla="*/ 93435 w 93435"/>
                <a:gd name="connsiteY4" fmla="*/ 46718 h 934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3435" h="93435">
                  <a:moveTo>
                    <a:pt x="93435" y="46718"/>
                  </a:moveTo>
                  <a:cubicBezTo>
                    <a:pt x="93435" y="72519"/>
                    <a:pt x="72519" y="93435"/>
                    <a:pt x="46718" y="93435"/>
                  </a:cubicBezTo>
                  <a:cubicBezTo>
                    <a:pt x="20916" y="93435"/>
                    <a:pt x="0" y="72519"/>
                    <a:pt x="0" y="46718"/>
                  </a:cubicBezTo>
                  <a:cubicBezTo>
                    <a:pt x="0" y="20916"/>
                    <a:pt x="20916" y="0"/>
                    <a:pt x="46718" y="0"/>
                  </a:cubicBezTo>
                  <a:cubicBezTo>
                    <a:pt x="72519" y="0"/>
                    <a:pt x="93435" y="20916"/>
                    <a:pt x="93435" y="46718"/>
                  </a:cubicBez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247" name="Forma livre: Forma 2246">
              <a:extLst>
                <a:ext uri="{FF2B5EF4-FFF2-40B4-BE49-F238E27FC236}">
                  <a16:creationId xmlns:a16="http://schemas.microsoft.com/office/drawing/2014/main" id="{119AC54A-6224-F610-3536-572979713651}"/>
                </a:ext>
              </a:extLst>
            </p:cNvPr>
            <p:cNvSpPr/>
            <p:nvPr/>
          </p:nvSpPr>
          <p:spPr>
            <a:xfrm>
              <a:off x="7541007" y="4263693"/>
              <a:ext cx="43722" cy="43722"/>
            </a:xfrm>
            <a:custGeom>
              <a:avLst/>
              <a:gdLst>
                <a:gd name="connsiteX0" fmla="*/ 13653 w 43722"/>
                <a:gd name="connsiteY0" fmla="*/ 1588 h 43722"/>
                <a:gd name="connsiteX1" fmla="*/ 21861 w 43722"/>
                <a:gd name="connsiteY1" fmla="*/ 0 h 43722"/>
                <a:gd name="connsiteX2" fmla="*/ 43723 w 43722"/>
                <a:gd name="connsiteY2" fmla="*/ 21861 h 43722"/>
                <a:gd name="connsiteX3" fmla="*/ 21861 w 43722"/>
                <a:gd name="connsiteY3" fmla="*/ 43723 h 43722"/>
                <a:gd name="connsiteX4" fmla="*/ 0 w 43722"/>
                <a:gd name="connsiteY4" fmla="*/ 21861 h 437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3722" h="43722">
                  <a:moveTo>
                    <a:pt x="13653" y="1588"/>
                  </a:moveTo>
                  <a:cubicBezTo>
                    <a:pt x="16187" y="558"/>
                    <a:pt x="18951" y="0"/>
                    <a:pt x="21861" y="0"/>
                  </a:cubicBezTo>
                  <a:cubicBezTo>
                    <a:pt x="33938" y="0"/>
                    <a:pt x="43723" y="9797"/>
                    <a:pt x="43723" y="21861"/>
                  </a:cubicBezTo>
                  <a:cubicBezTo>
                    <a:pt x="43723" y="33926"/>
                    <a:pt x="33938" y="43723"/>
                    <a:pt x="21861" y="43723"/>
                  </a:cubicBezTo>
                  <a:cubicBezTo>
                    <a:pt x="9785" y="43723"/>
                    <a:pt x="0" y="33926"/>
                    <a:pt x="0" y="21861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248" name="Forma livre: Forma 2247">
              <a:extLst>
                <a:ext uri="{FF2B5EF4-FFF2-40B4-BE49-F238E27FC236}">
                  <a16:creationId xmlns:a16="http://schemas.microsoft.com/office/drawing/2014/main" id="{361F1595-EB7E-3458-8510-BD75FF4556FD}"/>
                </a:ext>
              </a:extLst>
            </p:cNvPr>
            <p:cNvSpPr/>
            <p:nvPr/>
          </p:nvSpPr>
          <p:spPr>
            <a:xfrm>
              <a:off x="7511822" y="4120630"/>
              <a:ext cx="364720" cy="131519"/>
            </a:xfrm>
            <a:custGeom>
              <a:avLst/>
              <a:gdLst>
                <a:gd name="connsiteX0" fmla="*/ 364720 w 364720"/>
                <a:gd name="connsiteY0" fmla="*/ 131520 h 131519"/>
                <a:gd name="connsiteX1" fmla="*/ 354135 w 364720"/>
                <a:gd name="connsiteY1" fmla="*/ 71356 h 131519"/>
                <a:gd name="connsiteX2" fmla="*/ 307999 w 364720"/>
                <a:gd name="connsiteY2" fmla="*/ 33283 h 131519"/>
                <a:gd name="connsiteX3" fmla="*/ 201772 w 364720"/>
                <a:gd name="connsiteY3" fmla="*/ 0 h 131519"/>
                <a:gd name="connsiteX4" fmla="*/ 177061 w 364720"/>
                <a:gd name="connsiteY4" fmla="*/ 46560 h 131519"/>
                <a:gd name="connsiteX5" fmla="*/ 197250 w 364720"/>
                <a:gd name="connsiteY5" fmla="*/ 90962 h 131519"/>
                <a:gd name="connsiteX6" fmla="*/ 192642 w 364720"/>
                <a:gd name="connsiteY6" fmla="*/ 109610 h 131519"/>
                <a:gd name="connsiteX7" fmla="*/ 125833 w 364720"/>
                <a:gd name="connsiteY7" fmla="*/ 109610 h 131519"/>
                <a:gd name="connsiteX8" fmla="*/ 104978 w 364720"/>
                <a:gd name="connsiteY8" fmla="*/ 57909 h 131519"/>
                <a:gd name="connsiteX9" fmla="*/ 28069 w 364720"/>
                <a:gd name="connsiteY9" fmla="*/ 57909 h 131519"/>
                <a:gd name="connsiteX10" fmla="*/ 13071 w 364720"/>
                <a:gd name="connsiteY10" fmla="*/ 66336 h 131519"/>
                <a:gd name="connsiteX11" fmla="*/ 0 w 364720"/>
                <a:gd name="connsiteY11" fmla="*/ 118061 h 1315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64720" h="131519">
                  <a:moveTo>
                    <a:pt x="364720" y="131520"/>
                  </a:moveTo>
                  <a:lnTo>
                    <a:pt x="354135" y="71356"/>
                  </a:lnTo>
                  <a:cubicBezTo>
                    <a:pt x="348946" y="46560"/>
                    <a:pt x="307999" y="33283"/>
                    <a:pt x="307999" y="33283"/>
                  </a:cubicBezTo>
                  <a:lnTo>
                    <a:pt x="201772" y="0"/>
                  </a:lnTo>
                  <a:lnTo>
                    <a:pt x="177061" y="46560"/>
                  </a:lnTo>
                  <a:lnTo>
                    <a:pt x="197250" y="90962"/>
                  </a:lnTo>
                  <a:cubicBezTo>
                    <a:pt x="197250" y="90962"/>
                    <a:pt x="204937" y="101923"/>
                    <a:pt x="192642" y="109610"/>
                  </a:cubicBezTo>
                  <a:lnTo>
                    <a:pt x="125833" y="109610"/>
                  </a:lnTo>
                  <a:lnTo>
                    <a:pt x="104978" y="57909"/>
                  </a:lnTo>
                  <a:lnTo>
                    <a:pt x="28069" y="57909"/>
                  </a:lnTo>
                  <a:cubicBezTo>
                    <a:pt x="13653" y="57909"/>
                    <a:pt x="13071" y="66336"/>
                    <a:pt x="13071" y="66336"/>
                  </a:cubicBezTo>
                  <a:lnTo>
                    <a:pt x="0" y="118061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249" name="Forma livre: Forma 2248">
              <a:extLst>
                <a:ext uri="{FF2B5EF4-FFF2-40B4-BE49-F238E27FC236}">
                  <a16:creationId xmlns:a16="http://schemas.microsoft.com/office/drawing/2014/main" id="{3B9D6C1A-C14F-9658-11EC-E94F267BAA5C}"/>
                </a:ext>
              </a:extLst>
            </p:cNvPr>
            <p:cNvSpPr/>
            <p:nvPr/>
          </p:nvSpPr>
          <p:spPr>
            <a:xfrm>
              <a:off x="7670417" y="4111196"/>
              <a:ext cx="27742" cy="37138"/>
            </a:xfrm>
            <a:custGeom>
              <a:avLst/>
              <a:gdLst>
                <a:gd name="connsiteX0" fmla="*/ 27742 w 27742"/>
                <a:gd name="connsiteY0" fmla="*/ 37139 h 37138"/>
                <a:gd name="connsiteX1" fmla="*/ 0 w 27742"/>
                <a:gd name="connsiteY1" fmla="*/ 0 h 37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7742" h="37138">
                  <a:moveTo>
                    <a:pt x="27742" y="37139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250" name="Forma livre: Forma 2249">
              <a:extLst>
                <a:ext uri="{FF2B5EF4-FFF2-40B4-BE49-F238E27FC236}">
                  <a16:creationId xmlns:a16="http://schemas.microsoft.com/office/drawing/2014/main" id="{2909D97B-03E4-BB46-9953-2F9B80705FB0}"/>
                </a:ext>
              </a:extLst>
            </p:cNvPr>
            <p:cNvSpPr/>
            <p:nvPr/>
          </p:nvSpPr>
          <p:spPr>
            <a:xfrm>
              <a:off x="7643512" y="4098586"/>
              <a:ext cx="53071" cy="23061"/>
            </a:xfrm>
            <a:custGeom>
              <a:avLst/>
              <a:gdLst>
                <a:gd name="connsiteX0" fmla="*/ 53071 w 53071"/>
                <a:gd name="connsiteY0" fmla="*/ 0 h 23061"/>
                <a:gd name="connsiteX1" fmla="*/ 0 w 53071"/>
                <a:gd name="connsiteY1" fmla="*/ 23062 h 230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3071" h="23061">
                  <a:moveTo>
                    <a:pt x="53071" y="0"/>
                  </a:moveTo>
                  <a:lnTo>
                    <a:pt x="0" y="23062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251" name="Forma livre: Forma 2250">
              <a:extLst>
                <a:ext uri="{FF2B5EF4-FFF2-40B4-BE49-F238E27FC236}">
                  <a16:creationId xmlns:a16="http://schemas.microsoft.com/office/drawing/2014/main" id="{6FE28B73-510E-B189-C679-E9BDA3CE8904}"/>
                </a:ext>
              </a:extLst>
            </p:cNvPr>
            <p:cNvSpPr/>
            <p:nvPr/>
          </p:nvSpPr>
          <p:spPr>
            <a:xfrm>
              <a:off x="7810073" y="4179557"/>
              <a:ext cx="57096" cy="31912"/>
            </a:xfrm>
            <a:custGeom>
              <a:avLst/>
              <a:gdLst>
                <a:gd name="connsiteX0" fmla="*/ 16417 w 57096"/>
                <a:gd name="connsiteY0" fmla="*/ 0 h 31912"/>
                <a:gd name="connsiteX1" fmla="*/ 0 w 57096"/>
                <a:gd name="connsiteY1" fmla="*/ 20758 h 31912"/>
                <a:gd name="connsiteX2" fmla="*/ 57097 w 57096"/>
                <a:gd name="connsiteY2" fmla="*/ 31913 h 319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57096" h="31912">
                  <a:moveTo>
                    <a:pt x="16417" y="0"/>
                  </a:moveTo>
                  <a:lnTo>
                    <a:pt x="0" y="20758"/>
                  </a:lnTo>
                  <a:lnTo>
                    <a:pt x="57097" y="31913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252" name="Forma livre: Forma 2251">
              <a:extLst>
                <a:ext uri="{FF2B5EF4-FFF2-40B4-BE49-F238E27FC236}">
                  <a16:creationId xmlns:a16="http://schemas.microsoft.com/office/drawing/2014/main" id="{03F55D90-D084-49C1-0820-99A1F0304407}"/>
                </a:ext>
              </a:extLst>
            </p:cNvPr>
            <p:cNvSpPr/>
            <p:nvPr/>
          </p:nvSpPr>
          <p:spPr>
            <a:xfrm>
              <a:off x="7517606" y="4085564"/>
              <a:ext cx="88500" cy="70373"/>
            </a:xfrm>
            <a:custGeom>
              <a:avLst/>
              <a:gdLst>
                <a:gd name="connsiteX0" fmla="*/ 0 w 88500"/>
                <a:gd name="connsiteY0" fmla="*/ 0 h 70373"/>
                <a:gd name="connsiteX1" fmla="*/ 9809 w 88500"/>
                <a:gd name="connsiteY1" fmla="*/ 43262 h 70373"/>
                <a:gd name="connsiteX2" fmla="*/ 38642 w 88500"/>
                <a:gd name="connsiteY2" fmla="*/ 70374 h 70373"/>
                <a:gd name="connsiteX3" fmla="*/ 88500 w 88500"/>
                <a:gd name="connsiteY3" fmla="*/ 70374 h 703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8500" h="70373">
                  <a:moveTo>
                    <a:pt x="0" y="0"/>
                  </a:moveTo>
                  <a:lnTo>
                    <a:pt x="9809" y="43262"/>
                  </a:lnTo>
                  <a:cubicBezTo>
                    <a:pt x="9809" y="43262"/>
                    <a:pt x="15496" y="70374"/>
                    <a:pt x="38642" y="70374"/>
                  </a:cubicBezTo>
                  <a:lnTo>
                    <a:pt x="88500" y="70374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253" name="Forma livre: Forma 2252">
              <a:extLst>
                <a:ext uri="{FF2B5EF4-FFF2-40B4-BE49-F238E27FC236}">
                  <a16:creationId xmlns:a16="http://schemas.microsoft.com/office/drawing/2014/main" id="{E15BDFBE-2145-92C4-DA1D-B1DC4577ED59}"/>
                </a:ext>
              </a:extLst>
            </p:cNvPr>
            <p:cNvSpPr/>
            <p:nvPr/>
          </p:nvSpPr>
          <p:spPr>
            <a:xfrm>
              <a:off x="7629835" y="4307318"/>
              <a:ext cx="130889" cy="24953"/>
            </a:xfrm>
            <a:custGeom>
              <a:avLst/>
              <a:gdLst>
                <a:gd name="connsiteX0" fmla="*/ 66760 w 130889"/>
                <a:gd name="connsiteY0" fmla="*/ 0 h 24953"/>
                <a:gd name="connsiteX1" fmla="*/ 117055 w 130889"/>
                <a:gd name="connsiteY1" fmla="*/ 0 h 24953"/>
                <a:gd name="connsiteX2" fmla="*/ 130890 w 130889"/>
                <a:gd name="connsiteY2" fmla="*/ 13847 h 24953"/>
                <a:gd name="connsiteX3" fmla="*/ 130890 w 130889"/>
                <a:gd name="connsiteY3" fmla="*/ 24953 h 24953"/>
                <a:gd name="connsiteX4" fmla="*/ 0 w 130889"/>
                <a:gd name="connsiteY4" fmla="*/ 24953 h 24953"/>
                <a:gd name="connsiteX5" fmla="*/ 0 w 130889"/>
                <a:gd name="connsiteY5" fmla="*/ 13847 h 24953"/>
                <a:gd name="connsiteX6" fmla="*/ 13847 w 130889"/>
                <a:gd name="connsiteY6" fmla="*/ 0 h 24953"/>
                <a:gd name="connsiteX7" fmla="*/ 39661 w 130889"/>
                <a:gd name="connsiteY7" fmla="*/ 0 h 249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30889" h="24953">
                  <a:moveTo>
                    <a:pt x="66760" y="0"/>
                  </a:moveTo>
                  <a:lnTo>
                    <a:pt x="117055" y="0"/>
                  </a:lnTo>
                  <a:cubicBezTo>
                    <a:pt x="124669" y="0"/>
                    <a:pt x="130890" y="6232"/>
                    <a:pt x="130890" y="13847"/>
                  </a:cubicBezTo>
                  <a:lnTo>
                    <a:pt x="130890" y="24953"/>
                  </a:lnTo>
                  <a:lnTo>
                    <a:pt x="0" y="24953"/>
                  </a:lnTo>
                  <a:lnTo>
                    <a:pt x="0" y="13847"/>
                  </a:lnTo>
                  <a:cubicBezTo>
                    <a:pt x="0" y="6232"/>
                    <a:pt x="6232" y="0"/>
                    <a:pt x="13847" y="0"/>
                  </a:cubicBezTo>
                  <a:lnTo>
                    <a:pt x="39661" y="0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2254" name="Gráfico 16">
              <a:extLst>
                <a:ext uri="{FF2B5EF4-FFF2-40B4-BE49-F238E27FC236}">
                  <a16:creationId xmlns:a16="http://schemas.microsoft.com/office/drawing/2014/main" id="{0C289297-BEF9-6A82-4442-5C485BF19FB4}"/>
                </a:ext>
              </a:extLst>
            </p:cNvPr>
            <p:cNvGrpSpPr/>
            <p:nvPr/>
          </p:nvGrpSpPr>
          <p:grpSpPr>
            <a:xfrm>
              <a:off x="7629410" y="4283687"/>
              <a:ext cx="131774" cy="23292"/>
              <a:chOff x="7629410" y="4283687"/>
              <a:chExt cx="131774" cy="23292"/>
            </a:xfrm>
            <a:noFill/>
          </p:grpSpPr>
          <p:sp>
            <p:nvSpPr>
              <p:cNvPr id="2255" name="Forma livre: Forma 2254">
                <a:extLst>
                  <a:ext uri="{FF2B5EF4-FFF2-40B4-BE49-F238E27FC236}">
                    <a16:creationId xmlns:a16="http://schemas.microsoft.com/office/drawing/2014/main" id="{C130E08B-14C1-901F-4D2A-735EF89A51BF}"/>
                  </a:ext>
                </a:extLst>
              </p:cNvPr>
              <p:cNvSpPr/>
              <p:nvPr/>
            </p:nvSpPr>
            <p:spPr>
              <a:xfrm>
                <a:off x="7736583" y="4283687"/>
                <a:ext cx="24601" cy="23292"/>
              </a:xfrm>
              <a:custGeom>
                <a:avLst/>
                <a:gdLst>
                  <a:gd name="connsiteX0" fmla="*/ 0 w 24601"/>
                  <a:gd name="connsiteY0" fmla="*/ 23292 h 23292"/>
                  <a:gd name="connsiteX1" fmla="*/ 0 w 24601"/>
                  <a:gd name="connsiteY1" fmla="*/ 0 h 23292"/>
                  <a:gd name="connsiteX2" fmla="*/ 24602 w 24601"/>
                  <a:gd name="connsiteY2" fmla="*/ 0 h 232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4601" h="23292">
                    <a:moveTo>
                      <a:pt x="0" y="23292"/>
                    </a:moveTo>
                    <a:lnTo>
                      <a:pt x="0" y="0"/>
                    </a:lnTo>
                    <a:lnTo>
                      <a:pt x="24602" y="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256" name="Forma livre: Forma 2255">
                <a:extLst>
                  <a:ext uri="{FF2B5EF4-FFF2-40B4-BE49-F238E27FC236}">
                    <a16:creationId xmlns:a16="http://schemas.microsoft.com/office/drawing/2014/main" id="{FFF78DC4-28E9-F8F3-5918-98A564F51307}"/>
                  </a:ext>
                </a:extLst>
              </p:cNvPr>
              <p:cNvSpPr/>
              <p:nvPr/>
            </p:nvSpPr>
            <p:spPr>
              <a:xfrm>
                <a:off x="7629410" y="4283687"/>
                <a:ext cx="24601" cy="23292"/>
              </a:xfrm>
              <a:custGeom>
                <a:avLst/>
                <a:gdLst>
                  <a:gd name="connsiteX0" fmla="*/ 24602 w 24601"/>
                  <a:gd name="connsiteY0" fmla="*/ 23292 h 23292"/>
                  <a:gd name="connsiteX1" fmla="*/ 24602 w 24601"/>
                  <a:gd name="connsiteY1" fmla="*/ 0 h 23292"/>
                  <a:gd name="connsiteX2" fmla="*/ 0 w 24601"/>
                  <a:gd name="connsiteY2" fmla="*/ 0 h 232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4601" h="23292">
                    <a:moveTo>
                      <a:pt x="24602" y="23292"/>
                    </a:moveTo>
                    <a:lnTo>
                      <a:pt x="24602" y="0"/>
                    </a:lnTo>
                    <a:lnTo>
                      <a:pt x="0" y="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2257" name="Gráfico 16">
              <a:extLst>
                <a:ext uri="{FF2B5EF4-FFF2-40B4-BE49-F238E27FC236}">
                  <a16:creationId xmlns:a16="http://schemas.microsoft.com/office/drawing/2014/main" id="{D5F487CD-EA90-2713-3C92-F62B8C2AB17B}"/>
                </a:ext>
              </a:extLst>
            </p:cNvPr>
            <p:cNvGrpSpPr/>
            <p:nvPr/>
          </p:nvGrpSpPr>
          <p:grpSpPr>
            <a:xfrm>
              <a:off x="7776752" y="4259861"/>
              <a:ext cx="77429" cy="77429"/>
              <a:chOff x="7776752" y="4259861"/>
              <a:chExt cx="77429" cy="77429"/>
            </a:xfrm>
          </p:grpSpPr>
          <p:sp>
            <p:nvSpPr>
              <p:cNvPr id="2258" name="Forma livre: Forma 2257">
                <a:extLst>
                  <a:ext uri="{FF2B5EF4-FFF2-40B4-BE49-F238E27FC236}">
                    <a16:creationId xmlns:a16="http://schemas.microsoft.com/office/drawing/2014/main" id="{B68E3BF8-A079-1AD0-821F-556327D27D98}"/>
                  </a:ext>
                </a:extLst>
              </p:cNvPr>
              <p:cNvSpPr/>
              <p:nvPr/>
            </p:nvSpPr>
            <p:spPr>
              <a:xfrm rot="-4846799">
                <a:off x="7781723" y="4264831"/>
                <a:ext cx="67487" cy="67487"/>
              </a:xfrm>
              <a:custGeom>
                <a:avLst/>
                <a:gdLst>
                  <a:gd name="connsiteX0" fmla="*/ 67488 w 67487"/>
                  <a:gd name="connsiteY0" fmla="*/ 33744 h 67487"/>
                  <a:gd name="connsiteX1" fmla="*/ 33744 w 67487"/>
                  <a:gd name="connsiteY1" fmla="*/ 67488 h 67487"/>
                  <a:gd name="connsiteX2" fmla="*/ 0 w 67487"/>
                  <a:gd name="connsiteY2" fmla="*/ 33744 h 67487"/>
                  <a:gd name="connsiteX3" fmla="*/ 33744 w 67487"/>
                  <a:gd name="connsiteY3" fmla="*/ 0 h 67487"/>
                  <a:gd name="connsiteX4" fmla="*/ 67488 w 67487"/>
                  <a:gd name="connsiteY4" fmla="*/ 33744 h 674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7487" h="67487">
                    <a:moveTo>
                      <a:pt x="67488" y="33744"/>
                    </a:moveTo>
                    <a:cubicBezTo>
                      <a:pt x="67488" y="52380"/>
                      <a:pt x="52380" y="67488"/>
                      <a:pt x="33744" y="67488"/>
                    </a:cubicBezTo>
                    <a:cubicBezTo>
                      <a:pt x="15108" y="67488"/>
                      <a:pt x="0" y="52380"/>
                      <a:pt x="0" y="33744"/>
                    </a:cubicBezTo>
                    <a:cubicBezTo>
                      <a:pt x="0" y="15108"/>
                      <a:pt x="15108" y="0"/>
                      <a:pt x="33744" y="0"/>
                    </a:cubicBezTo>
                    <a:cubicBezTo>
                      <a:pt x="52380" y="0"/>
                      <a:pt x="67488" y="15108"/>
                      <a:pt x="67488" y="33744"/>
                    </a:cubicBezTo>
                    <a:close/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259" name="Forma livre: Forma 2258">
                <a:extLst>
                  <a:ext uri="{FF2B5EF4-FFF2-40B4-BE49-F238E27FC236}">
                    <a16:creationId xmlns:a16="http://schemas.microsoft.com/office/drawing/2014/main" id="{62EE282D-E77B-3273-9C6E-4A55E1F5EB69}"/>
                  </a:ext>
                </a:extLst>
              </p:cNvPr>
              <p:cNvSpPr/>
              <p:nvPr/>
            </p:nvSpPr>
            <p:spPr>
              <a:xfrm>
                <a:off x="7812013" y="4295121"/>
                <a:ext cx="6802" cy="6814"/>
              </a:xfrm>
              <a:custGeom>
                <a:avLst/>
                <a:gdLst>
                  <a:gd name="connsiteX0" fmla="*/ 6802 w 6802"/>
                  <a:gd name="connsiteY0" fmla="*/ 3419 h 6814"/>
                  <a:gd name="connsiteX1" fmla="*/ 3407 w 6802"/>
                  <a:gd name="connsiteY1" fmla="*/ 6814 h 6814"/>
                  <a:gd name="connsiteX2" fmla="*/ 0 w 6802"/>
                  <a:gd name="connsiteY2" fmla="*/ 3419 h 6814"/>
                  <a:gd name="connsiteX3" fmla="*/ 3407 w 6802"/>
                  <a:gd name="connsiteY3" fmla="*/ 0 h 6814"/>
                  <a:gd name="connsiteX4" fmla="*/ 6802 w 6802"/>
                  <a:gd name="connsiteY4" fmla="*/ 3419 h 68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802" h="6814">
                    <a:moveTo>
                      <a:pt x="6802" y="3419"/>
                    </a:moveTo>
                    <a:cubicBezTo>
                      <a:pt x="6802" y="5299"/>
                      <a:pt x="5287" y="6814"/>
                      <a:pt x="3407" y="6814"/>
                    </a:cubicBezTo>
                    <a:cubicBezTo>
                      <a:pt x="1528" y="6814"/>
                      <a:pt x="0" y="5311"/>
                      <a:pt x="0" y="3419"/>
                    </a:cubicBezTo>
                    <a:cubicBezTo>
                      <a:pt x="0" y="1528"/>
                      <a:pt x="1528" y="0"/>
                      <a:pt x="3407" y="0"/>
                    </a:cubicBezTo>
                    <a:cubicBezTo>
                      <a:pt x="5287" y="0"/>
                      <a:pt x="6802" y="1528"/>
                      <a:pt x="6802" y="3419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2260" name="Gráfico 16">
            <a:extLst>
              <a:ext uri="{FF2B5EF4-FFF2-40B4-BE49-F238E27FC236}">
                <a16:creationId xmlns:a16="http://schemas.microsoft.com/office/drawing/2014/main" id="{391D963F-AE69-AEDD-E1BA-A542D66C8AC2}"/>
              </a:ext>
            </a:extLst>
          </p:cNvPr>
          <p:cNvGrpSpPr/>
          <p:nvPr/>
        </p:nvGrpSpPr>
        <p:grpSpPr>
          <a:xfrm>
            <a:off x="6293817" y="5142149"/>
            <a:ext cx="291424" cy="329145"/>
            <a:chOff x="6293817" y="5142149"/>
            <a:chExt cx="291424" cy="329145"/>
          </a:xfrm>
          <a:noFill/>
        </p:grpSpPr>
        <p:grpSp>
          <p:nvGrpSpPr>
            <p:cNvPr id="2261" name="Gráfico 16">
              <a:extLst>
                <a:ext uri="{FF2B5EF4-FFF2-40B4-BE49-F238E27FC236}">
                  <a16:creationId xmlns:a16="http://schemas.microsoft.com/office/drawing/2014/main" id="{575C4D14-523A-00DA-BFD5-0879B4E87B1B}"/>
                </a:ext>
              </a:extLst>
            </p:cNvPr>
            <p:cNvGrpSpPr/>
            <p:nvPr/>
          </p:nvGrpSpPr>
          <p:grpSpPr>
            <a:xfrm>
              <a:off x="6337455" y="5142149"/>
              <a:ext cx="203118" cy="242560"/>
              <a:chOff x="6337455" y="5142149"/>
              <a:chExt cx="203118" cy="242560"/>
            </a:xfrm>
            <a:noFill/>
          </p:grpSpPr>
          <p:sp>
            <p:nvSpPr>
              <p:cNvPr id="2262" name="Forma livre: Forma 2261">
                <a:extLst>
                  <a:ext uri="{FF2B5EF4-FFF2-40B4-BE49-F238E27FC236}">
                    <a16:creationId xmlns:a16="http://schemas.microsoft.com/office/drawing/2014/main" id="{FC55C239-2F62-5660-DBD4-7AC44AB563C2}"/>
                  </a:ext>
                </a:extLst>
              </p:cNvPr>
              <p:cNvSpPr/>
              <p:nvPr/>
            </p:nvSpPr>
            <p:spPr>
              <a:xfrm>
                <a:off x="6393351" y="5142149"/>
                <a:ext cx="91349" cy="242560"/>
              </a:xfrm>
              <a:custGeom>
                <a:avLst/>
                <a:gdLst>
                  <a:gd name="connsiteX0" fmla="*/ 45663 w 91349"/>
                  <a:gd name="connsiteY0" fmla="*/ 0 h 242560"/>
                  <a:gd name="connsiteX1" fmla="*/ 0 w 91349"/>
                  <a:gd name="connsiteY1" fmla="*/ 68482 h 242560"/>
                  <a:gd name="connsiteX2" fmla="*/ 0 w 91349"/>
                  <a:gd name="connsiteY2" fmla="*/ 242561 h 242560"/>
                  <a:gd name="connsiteX3" fmla="*/ 91350 w 91349"/>
                  <a:gd name="connsiteY3" fmla="*/ 242561 h 242560"/>
                  <a:gd name="connsiteX4" fmla="*/ 91350 w 91349"/>
                  <a:gd name="connsiteY4" fmla="*/ 68482 h 242560"/>
                  <a:gd name="connsiteX5" fmla="*/ 45675 w 91349"/>
                  <a:gd name="connsiteY5" fmla="*/ 0 h 2425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91349" h="242560">
                    <a:moveTo>
                      <a:pt x="45663" y="0"/>
                    </a:moveTo>
                    <a:cubicBezTo>
                      <a:pt x="45663" y="0"/>
                      <a:pt x="0" y="48136"/>
                      <a:pt x="0" y="68482"/>
                    </a:cubicBezTo>
                    <a:lnTo>
                      <a:pt x="0" y="242561"/>
                    </a:lnTo>
                    <a:lnTo>
                      <a:pt x="91350" y="242561"/>
                    </a:lnTo>
                    <a:lnTo>
                      <a:pt x="91350" y="68482"/>
                    </a:lnTo>
                    <a:cubicBezTo>
                      <a:pt x="91350" y="48136"/>
                      <a:pt x="45675" y="0"/>
                      <a:pt x="45675" y="0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2263" name="Gráfico 16">
                <a:extLst>
                  <a:ext uri="{FF2B5EF4-FFF2-40B4-BE49-F238E27FC236}">
                    <a16:creationId xmlns:a16="http://schemas.microsoft.com/office/drawing/2014/main" id="{865B52DC-BB1B-9FCF-0A86-F19E4F3ACA6F}"/>
                  </a:ext>
                </a:extLst>
              </p:cNvPr>
              <p:cNvGrpSpPr/>
              <p:nvPr/>
            </p:nvGrpSpPr>
            <p:grpSpPr>
              <a:xfrm>
                <a:off x="6337455" y="5252535"/>
                <a:ext cx="203118" cy="115805"/>
                <a:chOff x="6337455" y="5252535"/>
                <a:chExt cx="203118" cy="115805"/>
              </a:xfrm>
              <a:noFill/>
            </p:grpSpPr>
            <p:sp>
              <p:nvSpPr>
                <p:cNvPr id="2264" name="Forma livre: Forma 2263">
                  <a:extLst>
                    <a:ext uri="{FF2B5EF4-FFF2-40B4-BE49-F238E27FC236}">
                      <a16:creationId xmlns:a16="http://schemas.microsoft.com/office/drawing/2014/main" id="{82A4C86E-D906-41FB-E4D5-608B77765188}"/>
                    </a:ext>
                  </a:extLst>
                </p:cNvPr>
                <p:cNvSpPr/>
                <p:nvPr/>
              </p:nvSpPr>
              <p:spPr>
                <a:xfrm>
                  <a:off x="6337455" y="5252535"/>
                  <a:ext cx="55847" cy="115805"/>
                </a:xfrm>
                <a:custGeom>
                  <a:avLst/>
                  <a:gdLst>
                    <a:gd name="connsiteX0" fmla="*/ 55848 w 55847"/>
                    <a:gd name="connsiteY0" fmla="*/ 0 h 115805"/>
                    <a:gd name="connsiteX1" fmla="*/ 17060 w 55847"/>
                    <a:gd name="connsiteY1" fmla="*/ 57521 h 115805"/>
                    <a:gd name="connsiteX2" fmla="*/ 3334 w 55847"/>
                    <a:gd name="connsiteY2" fmla="*/ 71416 h 115805"/>
                    <a:gd name="connsiteX3" fmla="*/ 0 w 55847"/>
                    <a:gd name="connsiteY3" fmla="*/ 89628 h 115805"/>
                    <a:gd name="connsiteX4" fmla="*/ 0 w 55847"/>
                    <a:gd name="connsiteY4" fmla="*/ 115806 h 115805"/>
                    <a:gd name="connsiteX5" fmla="*/ 32362 w 55847"/>
                    <a:gd name="connsiteY5" fmla="*/ 115806 h 11580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55847" h="115805">
                      <a:moveTo>
                        <a:pt x="55848" y="0"/>
                      </a:moveTo>
                      <a:cubicBezTo>
                        <a:pt x="55848" y="12368"/>
                        <a:pt x="43189" y="36508"/>
                        <a:pt x="17060" y="57521"/>
                      </a:cubicBezTo>
                      <a:cubicBezTo>
                        <a:pt x="11943" y="61631"/>
                        <a:pt x="6644" y="65960"/>
                        <a:pt x="3334" y="71416"/>
                      </a:cubicBezTo>
                      <a:cubicBezTo>
                        <a:pt x="218" y="76521"/>
                        <a:pt x="0" y="83517"/>
                        <a:pt x="0" y="89628"/>
                      </a:cubicBezTo>
                      <a:lnTo>
                        <a:pt x="0" y="115806"/>
                      </a:lnTo>
                      <a:lnTo>
                        <a:pt x="32362" y="115806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265" name="Forma livre: Forma 2264">
                  <a:extLst>
                    <a:ext uri="{FF2B5EF4-FFF2-40B4-BE49-F238E27FC236}">
                      <a16:creationId xmlns:a16="http://schemas.microsoft.com/office/drawing/2014/main" id="{58EF6AF3-43EA-A142-EB7B-9BADCB9FF727}"/>
                    </a:ext>
                  </a:extLst>
                </p:cNvPr>
                <p:cNvSpPr/>
                <p:nvPr/>
              </p:nvSpPr>
              <p:spPr>
                <a:xfrm>
                  <a:off x="6484713" y="5252535"/>
                  <a:ext cx="55859" cy="115805"/>
                </a:xfrm>
                <a:custGeom>
                  <a:avLst/>
                  <a:gdLst>
                    <a:gd name="connsiteX0" fmla="*/ 0 w 55859"/>
                    <a:gd name="connsiteY0" fmla="*/ 0 h 115805"/>
                    <a:gd name="connsiteX1" fmla="*/ 38788 w 55859"/>
                    <a:gd name="connsiteY1" fmla="*/ 57521 h 115805"/>
                    <a:gd name="connsiteX2" fmla="*/ 52526 w 55859"/>
                    <a:gd name="connsiteY2" fmla="*/ 71416 h 115805"/>
                    <a:gd name="connsiteX3" fmla="*/ 55860 w 55859"/>
                    <a:gd name="connsiteY3" fmla="*/ 89628 h 115805"/>
                    <a:gd name="connsiteX4" fmla="*/ 55860 w 55859"/>
                    <a:gd name="connsiteY4" fmla="*/ 115806 h 115805"/>
                    <a:gd name="connsiteX5" fmla="*/ 22540 w 55859"/>
                    <a:gd name="connsiteY5" fmla="*/ 115806 h 11580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55859" h="115805">
                      <a:moveTo>
                        <a:pt x="0" y="0"/>
                      </a:moveTo>
                      <a:cubicBezTo>
                        <a:pt x="0" y="12368"/>
                        <a:pt x="12659" y="36508"/>
                        <a:pt x="38788" y="57521"/>
                      </a:cubicBezTo>
                      <a:cubicBezTo>
                        <a:pt x="43905" y="61631"/>
                        <a:pt x="49203" y="65960"/>
                        <a:pt x="52526" y="71416"/>
                      </a:cubicBezTo>
                      <a:cubicBezTo>
                        <a:pt x="55630" y="76521"/>
                        <a:pt x="55860" y="83517"/>
                        <a:pt x="55860" y="89628"/>
                      </a:cubicBezTo>
                      <a:lnTo>
                        <a:pt x="55860" y="115806"/>
                      </a:lnTo>
                      <a:lnTo>
                        <a:pt x="22540" y="115806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2266" name="Forma livre: Forma 2265">
                <a:extLst>
                  <a:ext uri="{FF2B5EF4-FFF2-40B4-BE49-F238E27FC236}">
                    <a16:creationId xmlns:a16="http://schemas.microsoft.com/office/drawing/2014/main" id="{2B754AEC-9A6E-489E-4B06-777F2BB2F814}"/>
                  </a:ext>
                </a:extLst>
              </p:cNvPr>
              <p:cNvSpPr/>
              <p:nvPr/>
            </p:nvSpPr>
            <p:spPr>
              <a:xfrm>
                <a:off x="6422306" y="5218221"/>
                <a:ext cx="33392" cy="7723"/>
              </a:xfrm>
              <a:custGeom>
                <a:avLst/>
                <a:gdLst>
                  <a:gd name="connsiteX0" fmla="*/ 33392 w 33392"/>
                  <a:gd name="connsiteY0" fmla="*/ 7724 h 7723"/>
                  <a:gd name="connsiteX1" fmla="*/ 16696 w 33392"/>
                  <a:gd name="connsiteY1" fmla="*/ 0 h 7723"/>
                  <a:gd name="connsiteX2" fmla="*/ 0 w 33392"/>
                  <a:gd name="connsiteY2" fmla="*/ 7724 h 77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3392" h="7723">
                    <a:moveTo>
                      <a:pt x="33392" y="7724"/>
                    </a:moveTo>
                    <a:cubicBezTo>
                      <a:pt x="30640" y="3177"/>
                      <a:pt x="24214" y="0"/>
                      <a:pt x="16696" y="0"/>
                    </a:cubicBezTo>
                    <a:cubicBezTo>
                      <a:pt x="9179" y="0"/>
                      <a:pt x="2764" y="3177"/>
                      <a:pt x="0" y="7724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2267" name="Gráfico 16">
              <a:extLst>
                <a:ext uri="{FF2B5EF4-FFF2-40B4-BE49-F238E27FC236}">
                  <a16:creationId xmlns:a16="http://schemas.microsoft.com/office/drawing/2014/main" id="{931D370B-7E9D-E7FA-83B3-D694AA6D9BA4}"/>
                </a:ext>
              </a:extLst>
            </p:cNvPr>
            <p:cNvGrpSpPr/>
            <p:nvPr/>
          </p:nvGrpSpPr>
          <p:grpSpPr>
            <a:xfrm>
              <a:off x="6293817" y="5389123"/>
              <a:ext cx="291424" cy="82171"/>
              <a:chOff x="6293817" y="5389123"/>
              <a:chExt cx="291424" cy="82171"/>
            </a:xfrm>
            <a:noFill/>
          </p:grpSpPr>
          <p:grpSp>
            <p:nvGrpSpPr>
              <p:cNvPr id="2268" name="Gráfico 16">
                <a:extLst>
                  <a:ext uri="{FF2B5EF4-FFF2-40B4-BE49-F238E27FC236}">
                    <a16:creationId xmlns:a16="http://schemas.microsoft.com/office/drawing/2014/main" id="{0C72AE06-7387-2A81-81D7-9F2EC9D41118}"/>
                  </a:ext>
                </a:extLst>
              </p:cNvPr>
              <p:cNvGrpSpPr/>
              <p:nvPr/>
            </p:nvGrpSpPr>
            <p:grpSpPr>
              <a:xfrm>
                <a:off x="6457892" y="5389135"/>
                <a:ext cx="127348" cy="82159"/>
                <a:chOff x="6457892" y="5389135"/>
                <a:chExt cx="127348" cy="82159"/>
              </a:xfrm>
              <a:noFill/>
            </p:grpSpPr>
            <p:sp>
              <p:nvSpPr>
                <p:cNvPr id="2269" name="Forma livre: Forma 2268">
                  <a:extLst>
                    <a:ext uri="{FF2B5EF4-FFF2-40B4-BE49-F238E27FC236}">
                      <a16:creationId xmlns:a16="http://schemas.microsoft.com/office/drawing/2014/main" id="{4A39E887-02A7-E15E-765A-A3E28AA30D7F}"/>
                    </a:ext>
                  </a:extLst>
                </p:cNvPr>
                <p:cNvSpPr/>
                <p:nvPr/>
              </p:nvSpPr>
              <p:spPr>
                <a:xfrm>
                  <a:off x="6457892" y="5389135"/>
                  <a:ext cx="69536" cy="82159"/>
                </a:xfrm>
                <a:custGeom>
                  <a:avLst/>
                  <a:gdLst>
                    <a:gd name="connsiteX0" fmla="*/ 0 w 69536"/>
                    <a:gd name="connsiteY0" fmla="*/ 0 h 82159"/>
                    <a:gd name="connsiteX1" fmla="*/ 29015 w 69536"/>
                    <a:gd name="connsiteY1" fmla="*/ 82159 h 82159"/>
                    <a:gd name="connsiteX2" fmla="*/ 43044 w 69536"/>
                    <a:gd name="connsiteY2" fmla="*/ 55666 h 82159"/>
                    <a:gd name="connsiteX3" fmla="*/ 59473 w 69536"/>
                    <a:gd name="connsiteY3" fmla="*/ 57339 h 82159"/>
                    <a:gd name="connsiteX4" fmla="*/ 69537 w 69536"/>
                    <a:gd name="connsiteY4" fmla="*/ 69707 h 8215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69536" h="82159">
                      <a:moveTo>
                        <a:pt x="0" y="0"/>
                      </a:moveTo>
                      <a:cubicBezTo>
                        <a:pt x="0" y="0"/>
                        <a:pt x="1152" y="70689"/>
                        <a:pt x="29015" y="82159"/>
                      </a:cubicBezTo>
                      <a:cubicBezTo>
                        <a:pt x="25572" y="70968"/>
                        <a:pt x="31852" y="59109"/>
                        <a:pt x="43044" y="55666"/>
                      </a:cubicBezTo>
                      <a:cubicBezTo>
                        <a:pt x="48743" y="53920"/>
                        <a:pt x="54623" y="54696"/>
                        <a:pt x="59473" y="57339"/>
                      </a:cubicBezTo>
                      <a:cubicBezTo>
                        <a:pt x="64129" y="59898"/>
                        <a:pt x="67852" y="64214"/>
                        <a:pt x="69537" y="69707"/>
                      </a:cubicBez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270" name="Forma livre: Forma 2269">
                  <a:extLst>
                    <a:ext uri="{FF2B5EF4-FFF2-40B4-BE49-F238E27FC236}">
                      <a16:creationId xmlns:a16="http://schemas.microsoft.com/office/drawing/2014/main" id="{94DA3677-768B-D9F3-8AFD-4627F64266CD}"/>
                    </a:ext>
                  </a:extLst>
                </p:cNvPr>
                <p:cNvSpPr/>
                <p:nvPr/>
              </p:nvSpPr>
              <p:spPr>
                <a:xfrm>
                  <a:off x="6516602" y="5420702"/>
                  <a:ext cx="68639" cy="33569"/>
                </a:xfrm>
                <a:custGeom>
                  <a:avLst/>
                  <a:gdLst>
                    <a:gd name="connsiteX0" fmla="*/ 68640 w 68639"/>
                    <a:gd name="connsiteY0" fmla="*/ 33569 h 33569"/>
                    <a:gd name="connsiteX1" fmla="*/ 57691 w 68639"/>
                    <a:gd name="connsiteY1" fmla="*/ 9574 h 33569"/>
                    <a:gd name="connsiteX2" fmla="*/ 32119 w 68639"/>
                    <a:gd name="connsiteY2" fmla="*/ 31 h 33569"/>
                    <a:gd name="connsiteX3" fmla="*/ 0 w 68639"/>
                    <a:gd name="connsiteY3" fmla="*/ 25057 h 3356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68639" h="33569">
                      <a:moveTo>
                        <a:pt x="68640" y="33569"/>
                      </a:moveTo>
                      <a:cubicBezTo>
                        <a:pt x="68240" y="24075"/>
                        <a:pt x="64093" y="15624"/>
                        <a:pt x="57691" y="9574"/>
                      </a:cubicBezTo>
                      <a:cubicBezTo>
                        <a:pt x="51046" y="3293"/>
                        <a:pt x="41989" y="-381"/>
                        <a:pt x="32119" y="31"/>
                      </a:cubicBezTo>
                      <a:cubicBezTo>
                        <a:pt x="16769" y="686"/>
                        <a:pt x="4135" y="11114"/>
                        <a:pt x="0" y="25057"/>
                      </a:cubicBez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2271" name="Gráfico 16">
                <a:extLst>
                  <a:ext uri="{FF2B5EF4-FFF2-40B4-BE49-F238E27FC236}">
                    <a16:creationId xmlns:a16="http://schemas.microsoft.com/office/drawing/2014/main" id="{9AD21661-ED33-3297-D26F-5EBBEB3CE819}"/>
                  </a:ext>
                </a:extLst>
              </p:cNvPr>
              <p:cNvGrpSpPr/>
              <p:nvPr/>
            </p:nvGrpSpPr>
            <p:grpSpPr>
              <a:xfrm>
                <a:off x="6293817" y="5389123"/>
                <a:ext cx="127336" cy="82159"/>
                <a:chOff x="6293817" y="5389123"/>
                <a:chExt cx="127336" cy="82159"/>
              </a:xfrm>
              <a:noFill/>
            </p:grpSpPr>
            <p:sp>
              <p:nvSpPr>
                <p:cNvPr id="2272" name="Forma livre: Forma 2271">
                  <a:extLst>
                    <a:ext uri="{FF2B5EF4-FFF2-40B4-BE49-F238E27FC236}">
                      <a16:creationId xmlns:a16="http://schemas.microsoft.com/office/drawing/2014/main" id="{AE831D54-6568-6A02-05F8-943BABABE9E8}"/>
                    </a:ext>
                  </a:extLst>
                </p:cNvPr>
                <p:cNvSpPr/>
                <p:nvPr/>
              </p:nvSpPr>
              <p:spPr>
                <a:xfrm>
                  <a:off x="6351617" y="5389123"/>
                  <a:ext cx="69536" cy="82159"/>
                </a:xfrm>
                <a:custGeom>
                  <a:avLst/>
                  <a:gdLst>
                    <a:gd name="connsiteX0" fmla="*/ 0 w 69536"/>
                    <a:gd name="connsiteY0" fmla="*/ 69707 h 82159"/>
                    <a:gd name="connsiteX1" fmla="*/ 10064 w 69536"/>
                    <a:gd name="connsiteY1" fmla="*/ 57339 h 82159"/>
                    <a:gd name="connsiteX2" fmla="*/ 26493 w 69536"/>
                    <a:gd name="connsiteY2" fmla="*/ 55666 h 82159"/>
                    <a:gd name="connsiteX3" fmla="*/ 40522 w 69536"/>
                    <a:gd name="connsiteY3" fmla="*/ 82159 h 82159"/>
                    <a:gd name="connsiteX4" fmla="*/ 69537 w 69536"/>
                    <a:gd name="connsiteY4" fmla="*/ 0 h 8215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69536" h="82159">
                      <a:moveTo>
                        <a:pt x="0" y="69707"/>
                      </a:moveTo>
                      <a:cubicBezTo>
                        <a:pt x="1685" y="64214"/>
                        <a:pt x="5408" y="59910"/>
                        <a:pt x="10064" y="57339"/>
                      </a:cubicBezTo>
                      <a:cubicBezTo>
                        <a:pt x="14914" y="54684"/>
                        <a:pt x="20782" y="53920"/>
                        <a:pt x="26493" y="55666"/>
                      </a:cubicBezTo>
                      <a:cubicBezTo>
                        <a:pt x="37685" y="59109"/>
                        <a:pt x="43965" y="70968"/>
                        <a:pt x="40522" y="82159"/>
                      </a:cubicBezTo>
                      <a:cubicBezTo>
                        <a:pt x="68906" y="73368"/>
                        <a:pt x="69537" y="0"/>
                        <a:pt x="69537" y="0"/>
                      </a:cubicBez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273" name="Forma livre: Forma 2272">
                  <a:extLst>
                    <a:ext uri="{FF2B5EF4-FFF2-40B4-BE49-F238E27FC236}">
                      <a16:creationId xmlns:a16="http://schemas.microsoft.com/office/drawing/2014/main" id="{42D4716A-F077-450B-1568-C83DD57D552D}"/>
                    </a:ext>
                  </a:extLst>
                </p:cNvPr>
                <p:cNvSpPr/>
                <p:nvPr/>
              </p:nvSpPr>
              <p:spPr>
                <a:xfrm>
                  <a:off x="6293817" y="5420702"/>
                  <a:ext cx="47954" cy="33569"/>
                </a:xfrm>
                <a:custGeom>
                  <a:avLst/>
                  <a:gdLst>
                    <a:gd name="connsiteX0" fmla="*/ 0 w 47954"/>
                    <a:gd name="connsiteY0" fmla="*/ 33569 h 33569"/>
                    <a:gd name="connsiteX1" fmla="*/ 10949 w 47954"/>
                    <a:gd name="connsiteY1" fmla="*/ 9574 h 33569"/>
                    <a:gd name="connsiteX2" fmla="*/ 36521 w 47954"/>
                    <a:gd name="connsiteY2" fmla="*/ 31 h 33569"/>
                    <a:gd name="connsiteX3" fmla="*/ 47954 w 47954"/>
                    <a:gd name="connsiteY3" fmla="*/ 2456 h 3356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7954" h="33569">
                      <a:moveTo>
                        <a:pt x="0" y="33569"/>
                      </a:moveTo>
                      <a:cubicBezTo>
                        <a:pt x="412" y="24075"/>
                        <a:pt x="4547" y="15624"/>
                        <a:pt x="10949" y="9574"/>
                      </a:cubicBezTo>
                      <a:cubicBezTo>
                        <a:pt x="17593" y="3293"/>
                        <a:pt x="26663" y="-381"/>
                        <a:pt x="36521" y="31"/>
                      </a:cubicBezTo>
                      <a:cubicBezTo>
                        <a:pt x="40558" y="201"/>
                        <a:pt x="44402" y="1050"/>
                        <a:pt x="47954" y="2456"/>
                      </a:cubicBez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sp>
          <p:nvSpPr>
            <p:cNvPr id="2274" name="Forma livre: Forma 2273">
              <a:extLst>
                <a:ext uri="{FF2B5EF4-FFF2-40B4-BE49-F238E27FC236}">
                  <a16:creationId xmlns:a16="http://schemas.microsoft.com/office/drawing/2014/main" id="{94CFED8A-6D13-CA52-4F57-E0AAD8834671}"/>
                </a:ext>
              </a:extLst>
            </p:cNvPr>
            <p:cNvSpPr/>
            <p:nvPr/>
          </p:nvSpPr>
          <p:spPr>
            <a:xfrm>
              <a:off x="6439014" y="5312360"/>
              <a:ext cx="1212" cy="45092"/>
            </a:xfrm>
            <a:custGeom>
              <a:avLst/>
              <a:gdLst>
                <a:gd name="connsiteX0" fmla="*/ 0 w 1212"/>
                <a:gd name="connsiteY0" fmla="*/ 45093 h 45092"/>
                <a:gd name="connsiteX1" fmla="*/ 0 w 1212"/>
                <a:gd name="connsiteY1" fmla="*/ 0 h 450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12" h="45092">
                  <a:moveTo>
                    <a:pt x="0" y="45093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2275" name="Gráfico 16">
            <a:extLst>
              <a:ext uri="{FF2B5EF4-FFF2-40B4-BE49-F238E27FC236}">
                <a16:creationId xmlns:a16="http://schemas.microsoft.com/office/drawing/2014/main" id="{7C2BF844-33CF-9505-CB59-D787C1A2B25F}"/>
              </a:ext>
            </a:extLst>
          </p:cNvPr>
          <p:cNvGrpSpPr/>
          <p:nvPr/>
        </p:nvGrpSpPr>
        <p:grpSpPr>
          <a:xfrm>
            <a:off x="6251200" y="3550120"/>
            <a:ext cx="376650" cy="219793"/>
            <a:chOff x="6251200" y="3550120"/>
            <a:chExt cx="376650" cy="219793"/>
          </a:xfrm>
          <a:noFill/>
        </p:grpSpPr>
        <p:sp>
          <p:nvSpPr>
            <p:cNvPr id="2276" name="Forma livre: Forma 2275">
              <a:extLst>
                <a:ext uri="{FF2B5EF4-FFF2-40B4-BE49-F238E27FC236}">
                  <a16:creationId xmlns:a16="http://schemas.microsoft.com/office/drawing/2014/main" id="{28FFDA55-132B-0E7C-0C86-9AA488765E9D}"/>
                </a:ext>
              </a:extLst>
            </p:cNvPr>
            <p:cNvSpPr/>
            <p:nvPr/>
          </p:nvSpPr>
          <p:spPr>
            <a:xfrm>
              <a:off x="6559815" y="3608991"/>
              <a:ext cx="68035" cy="131907"/>
            </a:xfrm>
            <a:custGeom>
              <a:avLst/>
              <a:gdLst>
                <a:gd name="connsiteX0" fmla="*/ 0 w 68035"/>
                <a:gd name="connsiteY0" fmla="*/ 0 h 131907"/>
                <a:gd name="connsiteX1" fmla="*/ 32059 w 68035"/>
                <a:gd name="connsiteY1" fmla="*/ 59061 h 131907"/>
                <a:gd name="connsiteX2" fmla="*/ 51725 w 68035"/>
                <a:gd name="connsiteY2" fmla="*/ 64153 h 131907"/>
                <a:gd name="connsiteX3" fmla="*/ 64044 w 68035"/>
                <a:gd name="connsiteY3" fmla="*/ 71635 h 131907"/>
                <a:gd name="connsiteX4" fmla="*/ 67936 w 68035"/>
                <a:gd name="connsiteY4" fmla="*/ 90804 h 131907"/>
                <a:gd name="connsiteX5" fmla="*/ 67936 w 68035"/>
                <a:gd name="connsiteY5" fmla="*/ 131908 h 131907"/>
                <a:gd name="connsiteX6" fmla="*/ 29852 w 68035"/>
                <a:gd name="connsiteY6" fmla="*/ 131908 h 1319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8035" h="131907">
                  <a:moveTo>
                    <a:pt x="0" y="0"/>
                  </a:moveTo>
                  <a:lnTo>
                    <a:pt x="32059" y="59061"/>
                  </a:lnTo>
                  <a:lnTo>
                    <a:pt x="51725" y="64153"/>
                  </a:lnTo>
                  <a:cubicBezTo>
                    <a:pt x="51725" y="64153"/>
                    <a:pt x="59219" y="65681"/>
                    <a:pt x="64044" y="71635"/>
                  </a:cubicBezTo>
                  <a:cubicBezTo>
                    <a:pt x="69016" y="77746"/>
                    <a:pt x="67936" y="90804"/>
                    <a:pt x="67936" y="90804"/>
                  </a:cubicBezTo>
                  <a:lnTo>
                    <a:pt x="67936" y="131908"/>
                  </a:lnTo>
                  <a:lnTo>
                    <a:pt x="29852" y="131908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277" name="Forma livre: Forma 2276">
              <a:extLst>
                <a:ext uri="{FF2B5EF4-FFF2-40B4-BE49-F238E27FC236}">
                  <a16:creationId xmlns:a16="http://schemas.microsoft.com/office/drawing/2014/main" id="{FD58CE4E-8E41-74A2-2FEC-8610F4B23815}"/>
                </a:ext>
              </a:extLst>
            </p:cNvPr>
            <p:cNvSpPr/>
            <p:nvPr/>
          </p:nvSpPr>
          <p:spPr>
            <a:xfrm>
              <a:off x="6251200" y="3550120"/>
              <a:ext cx="369205" cy="191323"/>
            </a:xfrm>
            <a:custGeom>
              <a:avLst/>
              <a:gdLst>
                <a:gd name="connsiteX0" fmla="*/ 237066 w 369205"/>
                <a:gd name="connsiteY0" fmla="*/ 168214 h 191323"/>
                <a:gd name="connsiteX1" fmla="*/ 237066 w 369205"/>
                <a:gd name="connsiteY1" fmla="*/ 54445 h 191323"/>
                <a:gd name="connsiteX2" fmla="*/ 351817 w 369205"/>
                <a:gd name="connsiteY2" fmla="*/ 54445 h 191323"/>
                <a:gd name="connsiteX3" fmla="*/ 368331 w 369205"/>
                <a:gd name="connsiteY3" fmla="*/ 34402 h 191323"/>
                <a:gd name="connsiteX4" fmla="*/ 298236 w 369205"/>
                <a:gd name="connsiteY4" fmla="*/ 64 h 191323"/>
                <a:gd name="connsiteX5" fmla="*/ 17858 w 369205"/>
                <a:gd name="connsiteY5" fmla="*/ 64 h 191323"/>
                <a:gd name="connsiteX6" fmla="*/ 34 w 369205"/>
                <a:gd name="connsiteY6" fmla="*/ 19331 h 191323"/>
                <a:gd name="connsiteX7" fmla="*/ 34 w 369205"/>
                <a:gd name="connsiteY7" fmla="*/ 173888 h 191323"/>
                <a:gd name="connsiteX8" fmla="*/ 18294 w 369205"/>
                <a:gd name="connsiteY8" fmla="*/ 191324 h 191323"/>
                <a:gd name="connsiteX9" fmla="*/ 33948 w 369205"/>
                <a:gd name="connsiteY9" fmla="*/ 191239 h 1913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69205" h="191323">
                  <a:moveTo>
                    <a:pt x="237066" y="168214"/>
                  </a:moveTo>
                  <a:lnTo>
                    <a:pt x="237066" y="54445"/>
                  </a:lnTo>
                  <a:lnTo>
                    <a:pt x="351817" y="54445"/>
                  </a:lnTo>
                  <a:cubicBezTo>
                    <a:pt x="374939" y="54445"/>
                    <a:pt x="368331" y="34402"/>
                    <a:pt x="368331" y="34402"/>
                  </a:cubicBezTo>
                  <a:cubicBezTo>
                    <a:pt x="358437" y="-2397"/>
                    <a:pt x="298236" y="64"/>
                    <a:pt x="298236" y="64"/>
                  </a:cubicBezTo>
                  <a:lnTo>
                    <a:pt x="17858" y="64"/>
                  </a:lnTo>
                  <a:cubicBezTo>
                    <a:pt x="17858" y="64"/>
                    <a:pt x="34" y="-2143"/>
                    <a:pt x="34" y="19331"/>
                  </a:cubicBezTo>
                  <a:lnTo>
                    <a:pt x="34" y="173888"/>
                  </a:lnTo>
                  <a:cubicBezTo>
                    <a:pt x="34" y="173888"/>
                    <a:pt x="-1627" y="191324"/>
                    <a:pt x="18294" y="191324"/>
                  </a:cubicBezTo>
                  <a:lnTo>
                    <a:pt x="33948" y="191239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278" name="Forma livre: Forma 2277">
              <a:extLst>
                <a:ext uri="{FF2B5EF4-FFF2-40B4-BE49-F238E27FC236}">
                  <a16:creationId xmlns:a16="http://schemas.microsoft.com/office/drawing/2014/main" id="{5BCF5955-1112-C2A0-AD68-B3CB77113423}"/>
                </a:ext>
              </a:extLst>
            </p:cNvPr>
            <p:cNvSpPr/>
            <p:nvPr/>
          </p:nvSpPr>
          <p:spPr>
            <a:xfrm>
              <a:off x="6362469" y="3741032"/>
              <a:ext cx="150519" cy="1212"/>
            </a:xfrm>
            <a:custGeom>
              <a:avLst/>
              <a:gdLst>
                <a:gd name="connsiteX0" fmla="*/ 0 w 150519"/>
                <a:gd name="connsiteY0" fmla="*/ 0 h 1212"/>
                <a:gd name="connsiteX1" fmla="*/ 150520 w 150519"/>
                <a:gd name="connsiteY1" fmla="*/ 0 h 12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0519" h="1212">
                  <a:moveTo>
                    <a:pt x="0" y="0"/>
                  </a:moveTo>
                  <a:lnTo>
                    <a:pt x="15052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279" name="Forma livre: Forma 2278">
              <a:extLst>
                <a:ext uri="{FF2B5EF4-FFF2-40B4-BE49-F238E27FC236}">
                  <a16:creationId xmlns:a16="http://schemas.microsoft.com/office/drawing/2014/main" id="{70612735-B204-8CDF-DBFF-D823A2987E92}"/>
                </a:ext>
              </a:extLst>
            </p:cNvPr>
            <p:cNvSpPr/>
            <p:nvPr/>
          </p:nvSpPr>
          <p:spPr>
            <a:xfrm>
              <a:off x="6519924" y="3625250"/>
              <a:ext cx="72798" cy="42376"/>
            </a:xfrm>
            <a:custGeom>
              <a:avLst/>
              <a:gdLst>
                <a:gd name="connsiteX0" fmla="*/ 72799 w 72798"/>
                <a:gd name="connsiteY0" fmla="*/ 42377 h 42376"/>
                <a:gd name="connsiteX1" fmla="*/ 0 w 72798"/>
                <a:gd name="connsiteY1" fmla="*/ 42377 h 42376"/>
                <a:gd name="connsiteX2" fmla="*/ 0 w 72798"/>
                <a:gd name="connsiteY2" fmla="*/ 0 h 423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72798" h="42376">
                  <a:moveTo>
                    <a:pt x="72799" y="42377"/>
                  </a:moveTo>
                  <a:lnTo>
                    <a:pt x="0" y="42377"/>
                  </a:lnTo>
                  <a:lnTo>
                    <a:pt x="0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280" name="Forma livre: Forma 2279">
              <a:extLst>
                <a:ext uri="{FF2B5EF4-FFF2-40B4-BE49-F238E27FC236}">
                  <a16:creationId xmlns:a16="http://schemas.microsoft.com/office/drawing/2014/main" id="{27689261-AA5B-B22D-426C-0B5117427E98}"/>
                </a:ext>
              </a:extLst>
            </p:cNvPr>
            <p:cNvSpPr/>
            <p:nvPr/>
          </p:nvSpPr>
          <p:spPr>
            <a:xfrm>
              <a:off x="6307215" y="3717025"/>
              <a:ext cx="52901" cy="52889"/>
            </a:xfrm>
            <a:custGeom>
              <a:avLst/>
              <a:gdLst>
                <a:gd name="connsiteX0" fmla="*/ 0 w 52901"/>
                <a:gd name="connsiteY0" fmla="*/ 26445 h 52889"/>
                <a:gd name="connsiteX1" fmla="*/ 26457 w 52901"/>
                <a:gd name="connsiteY1" fmla="*/ 52889 h 52889"/>
                <a:gd name="connsiteX2" fmla="*/ 52901 w 52901"/>
                <a:gd name="connsiteY2" fmla="*/ 26445 h 52889"/>
                <a:gd name="connsiteX3" fmla="*/ 26457 w 52901"/>
                <a:gd name="connsiteY3" fmla="*/ 0 h 52889"/>
                <a:gd name="connsiteX4" fmla="*/ 0 w 52901"/>
                <a:gd name="connsiteY4" fmla="*/ 26445 h 528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2901" h="52889">
                  <a:moveTo>
                    <a:pt x="0" y="26445"/>
                  </a:moveTo>
                  <a:cubicBezTo>
                    <a:pt x="0" y="41055"/>
                    <a:pt x="11846" y="52889"/>
                    <a:pt x="26457" y="52889"/>
                  </a:cubicBezTo>
                  <a:cubicBezTo>
                    <a:pt x="41067" y="52889"/>
                    <a:pt x="52901" y="41055"/>
                    <a:pt x="52901" y="26445"/>
                  </a:cubicBezTo>
                  <a:cubicBezTo>
                    <a:pt x="52901" y="11834"/>
                    <a:pt x="41055" y="0"/>
                    <a:pt x="26457" y="0"/>
                  </a:cubicBezTo>
                  <a:cubicBezTo>
                    <a:pt x="11858" y="0"/>
                    <a:pt x="0" y="11858"/>
                    <a:pt x="0" y="26445"/>
                  </a:cubicBez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281" name="Forma livre: Forma 2280">
              <a:extLst>
                <a:ext uri="{FF2B5EF4-FFF2-40B4-BE49-F238E27FC236}">
                  <a16:creationId xmlns:a16="http://schemas.microsoft.com/office/drawing/2014/main" id="{B9B4844C-64A9-A47A-644F-DF06C3295ABA}"/>
                </a:ext>
              </a:extLst>
            </p:cNvPr>
            <p:cNvSpPr/>
            <p:nvPr/>
          </p:nvSpPr>
          <p:spPr>
            <a:xfrm>
              <a:off x="6535929" y="3717025"/>
              <a:ext cx="52901" cy="52889"/>
            </a:xfrm>
            <a:custGeom>
              <a:avLst/>
              <a:gdLst>
                <a:gd name="connsiteX0" fmla="*/ 0 w 52901"/>
                <a:gd name="connsiteY0" fmla="*/ 26445 h 52889"/>
                <a:gd name="connsiteX1" fmla="*/ 26457 w 52901"/>
                <a:gd name="connsiteY1" fmla="*/ 52889 h 52889"/>
                <a:gd name="connsiteX2" fmla="*/ 52901 w 52901"/>
                <a:gd name="connsiteY2" fmla="*/ 26445 h 52889"/>
                <a:gd name="connsiteX3" fmla="*/ 26457 w 52901"/>
                <a:gd name="connsiteY3" fmla="*/ 0 h 52889"/>
                <a:gd name="connsiteX4" fmla="*/ 0 w 52901"/>
                <a:gd name="connsiteY4" fmla="*/ 26445 h 528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2901" h="52889">
                  <a:moveTo>
                    <a:pt x="0" y="26445"/>
                  </a:moveTo>
                  <a:cubicBezTo>
                    <a:pt x="0" y="41055"/>
                    <a:pt x="11846" y="52889"/>
                    <a:pt x="26457" y="52889"/>
                  </a:cubicBezTo>
                  <a:cubicBezTo>
                    <a:pt x="41067" y="52889"/>
                    <a:pt x="52901" y="41055"/>
                    <a:pt x="52901" y="26445"/>
                  </a:cubicBezTo>
                  <a:cubicBezTo>
                    <a:pt x="52901" y="11834"/>
                    <a:pt x="41055" y="0"/>
                    <a:pt x="26457" y="0"/>
                  </a:cubicBezTo>
                  <a:cubicBezTo>
                    <a:pt x="11858" y="0"/>
                    <a:pt x="0" y="11858"/>
                    <a:pt x="0" y="26445"/>
                  </a:cubicBez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282" name="Forma livre: Forma 2281">
              <a:extLst>
                <a:ext uri="{FF2B5EF4-FFF2-40B4-BE49-F238E27FC236}">
                  <a16:creationId xmlns:a16="http://schemas.microsoft.com/office/drawing/2014/main" id="{26423746-B4C9-07C8-F8D1-C988EA1A93AB}"/>
                </a:ext>
              </a:extLst>
            </p:cNvPr>
            <p:cNvSpPr/>
            <p:nvPr/>
          </p:nvSpPr>
          <p:spPr>
            <a:xfrm>
              <a:off x="6399692" y="3603680"/>
              <a:ext cx="54320" cy="114654"/>
            </a:xfrm>
            <a:custGeom>
              <a:avLst/>
              <a:gdLst>
                <a:gd name="connsiteX0" fmla="*/ 0 w 54320"/>
                <a:gd name="connsiteY0" fmla="*/ 114654 h 114654"/>
                <a:gd name="connsiteX1" fmla="*/ 0 w 54320"/>
                <a:gd name="connsiteY1" fmla="*/ 0 h 114654"/>
                <a:gd name="connsiteX2" fmla="*/ 54320 w 54320"/>
                <a:gd name="connsiteY2" fmla="*/ 0 h 114654"/>
                <a:gd name="connsiteX3" fmla="*/ 54320 w 54320"/>
                <a:gd name="connsiteY3" fmla="*/ 114654 h 1146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4320" h="114654">
                  <a:moveTo>
                    <a:pt x="0" y="114654"/>
                  </a:moveTo>
                  <a:lnTo>
                    <a:pt x="0" y="0"/>
                  </a:lnTo>
                  <a:lnTo>
                    <a:pt x="54320" y="0"/>
                  </a:lnTo>
                  <a:lnTo>
                    <a:pt x="54320" y="114654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283" name="Forma livre: Forma 2282">
              <a:extLst>
                <a:ext uri="{FF2B5EF4-FFF2-40B4-BE49-F238E27FC236}">
                  <a16:creationId xmlns:a16="http://schemas.microsoft.com/office/drawing/2014/main" id="{FC71BCCC-C746-2C48-5ACC-3F9777D55530}"/>
                </a:ext>
              </a:extLst>
            </p:cNvPr>
            <p:cNvSpPr/>
            <p:nvPr/>
          </p:nvSpPr>
          <p:spPr>
            <a:xfrm>
              <a:off x="6292059" y="3605317"/>
              <a:ext cx="66626" cy="50670"/>
            </a:xfrm>
            <a:custGeom>
              <a:avLst/>
              <a:gdLst>
                <a:gd name="connsiteX0" fmla="*/ 0 w 66626"/>
                <a:gd name="connsiteY0" fmla="*/ 24323 h 50670"/>
                <a:gd name="connsiteX1" fmla="*/ 0 w 66626"/>
                <a:gd name="connsiteY1" fmla="*/ 50670 h 50670"/>
                <a:gd name="connsiteX2" fmla="*/ 66627 w 66626"/>
                <a:gd name="connsiteY2" fmla="*/ 50670 h 50670"/>
                <a:gd name="connsiteX3" fmla="*/ 66627 w 66626"/>
                <a:gd name="connsiteY3" fmla="*/ 0 h 50670"/>
                <a:gd name="connsiteX4" fmla="*/ 0 w 66626"/>
                <a:gd name="connsiteY4" fmla="*/ 0 h 506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6626" h="50670">
                  <a:moveTo>
                    <a:pt x="0" y="24323"/>
                  </a:moveTo>
                  <a:lnTo>
                    <a:pt x="0" y="50670"/>
                  </a:lnTo>
                  <a:lnTo>
                    <a:pt x="66627" y="50670"/>
                  </a:lnTo>
                  <a:lnTo>
                    <a:pt x="66627" y="0"/>
                  </a:lnTo>
                  <a:lnTo>
                    <a:pt x="0" y="0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284" name="Forma livre: Forma 2283">
              <a:extLst>
                <a:ext uri="{FF2B5EF4-FFF2-40B4-BE49-F238E27FC236}">
                  <a16:creationId xmlns:a16="http://schemas.microsoft.com/office/drawing/2014/main" id="{50A33E4F-C0B8-0066-5990-2AF5965B1EFB}"/>
                </a:ext>
              </a:extLst>
            </p:cNvPr>
            <p:cNvSpPr/>
            <p:nvPr/>
          </p:nvSpPr>
          <p:spPr>
            <a:xfrm>
              <a:off x="6535153" y="3576666"/>
              <a:ext cx="26129" cy="1212"/>
            </a:xfrm>
            <a:custGeom>
              <a:avLst/>
              <a:gdLst>
                <a:gd name="connsiteX0" fmla="*/ 26129 w 26129"/>
                <a:gd name="connsiteY0" fmla="*/ 0 h 1212"/>
                <a:gd name="connsiteX1" fmla="*/ 0 w 26129"/>
                <a:gd name="connsiteY1" fmla="*/ 0 h 12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6129" h="1212">
                  <a:moveTo>
                    <a:pt x="26129" y="0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2285" name="Gráfico 16">
            <a:extLst>
              <a:ext uri="{FF2B5EF4-FFF2-40B4-BE49-F238E27FC236}">
                <a16:creationId xmlns:a16="http://schemas.microsoft.com/office/drawing/2014/main" id="{2CE6F7C5-5D31-2646-9453-06A99CA04719}"/>
              </a:ext>
            </a:extLst>
          </p:cNvPr>
          <p:cNvGrpSpPr/>
          <p:nvPr/>
        </p:nvGrpSpPr>
        <p:grpSpPr>
          <a:xfrm>
            <a:off x="6274902" y="5699657"/>
            <a:ext cx="329254" cy="311891"/>
            <a:chOff x="6274902" y="5699657"/>
            <a:chExt cx="329254" cy="311891"/>
          </a:xfrm>
          <a:noFill/>
        </p:grpSpPr>
        <p:grpSp>
          <p:nvGrpSpPr>
            <p:cNvPr id="2286" name="Gráfico 16">
              <a:extLst>
                <a:ext uri="{FF2B5EF4-FFF2-40B4-BE49-F238E27FC236}">
                  <a16:creationId xmlns:a16="http://schemas.microsoft.com/office/drawing/2014/main" id="{788ED20D-974C-57AD-E42F-019FE30E3F7E}"/>
                </a:ext>
              </a:extLst>
            </p:cNvPr>
            <p:cNvGrpSpPr/>
            <p:nvPr/>
          </p:nvGrpSpPr>
          <p:grpSpPr>
            <a:xfrm>
              <a:off x="6274902" y="5777960"/>
              <a:ext cx="329254" cy="233588"/>
              <a:chOff x="6274902" y="5777960"/>
              <a:chExt cx="329254" cy="233588"/>
            </a:xfrm>
            <a:noFill/>
          </p:grpSpPr>
          <p:grpSp>
            <p:nvGrpSpPr>
              <p:cNvPr id="2287" name="Gráfico 16">
                <a:extLst>
                  <a:ext uri="{FF2B5EF4-FFF2-40B4-BE49-F238E27FC236}">
                    <a16:creationId xmlns:a16="http://schemas.microsoft.com/office/drawing/2014/main" id="{BEA2FE0E-C5F1-DB29-D097-70DF13AD2866}"/>
                  </a:ext>
                </a:extLst>
              </p:cNvPr>
              <p:cNvGrpSpPr/>
              <p:nvPr/>
            </p:nvGrpSpPr>
            <p:grpSpPr>
              <a:xfrm>
                <a:off x="6306330" y="5896325"/>
                <a:ext cx="266386" cy="28348"/>
                <a:chOff x="6306330" y="5896325"/>
                <a:chExt cx="266386" cy="28348"/>
              </a:xfrm>
              <a:noFill/>
            </p:grpSpPr>
            <p:sp>
              <p:nvSpPr>
                <p:cNvPr id="2288" name="Forma livre: Forma 2287">
                  <a:extLst>
                    <a:ext uri="{FF2B5EF4-FFF2-40B4-BE49-F238E27FC236}">
                      <a16:creationId xmlns:a16="http://schemas.microsoft.com/office/drawing/2014/main" id="{223ED09E-4304-AD41-FEC8-A3773C1BAFF7}"/>
                    </a:ext>
                  </a:extLst>
                </p:cNvPr>
                <p:cNvSpPr/>
                <p:nvPr/>
              </p:nvSpPr>
              <p:spPr>
                <a:xfrm>
                  <a:off x="6306330" y="5896325"/>
                  <a:ext cx="64699" cy="28348"/>
                </a:xfrm>
                <a:custGeom>
                  <a:avLst/>
                  <a:gdLst>
                    <a:gd name="connsiteX0" fmla="*/ 0 w 64699"/>
                    <a:gd name="connsiteY0" fmla="*/ 28348 h 28348"/>
                    <a:gd name="connsiteX1" fmla="*/ 64699 w 64699"/>
                    <a:gd name="connsiteY1" fmla="*/ 28348 h 28348"/>
                    <a:gd name="connsiteX2" fmla="*/ 44705 w 64699"/>
                    <a:gd name="connsiteY2" fmla="*/ 0 h 28348"/>
                    <a:gd name="connsiteX3" fmla="*/ 27548 w 64699"/>
                    <a:gd name="connsiteY3" fmla="*/ 0 h 283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64699" h="28348">
                      <a:moveTo>
                        <a:pt x="0" y="28348"/>
                      </a:moveTo>
                      <a:lnTo>
                        <a:pt x="64699" y="28348"/>
                      </a:lnTo>
                      <a:cubicBezTo>
                        <a:pt x="64699" y="28348"/>
                        <a:pt x="62104" y="0"/>
                        <a:pt x="44705" y="0"/>
                      </a:cubicBezTo>
                      <a:lnTo>
                        <a:pt x="27548" y="0"/>
                      </a:ln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289" name="Forma livre: Forma 2288">
                  <a:extLst>
                    <a:ext uri="{FF2B5EF4-FFF2-40B4-BE49-F238E27FC236}">
                      <a16:creationId xmlns:a16="http://schemas.microsoft.com/office/drawing/2014/main" id="{545FFD68-539D-8F9D-8C96-73870B0A6A7C}"/>
                    </a:ext>
                  </a:extLst>
                </p:cNvPr>
                <p:cNvSpPr/>
                <p:nvPr/>
              </p:nvSpPr>
              <p:spPr>
                <a:xfrm>
                  <a:off x="6508041" y="5896325"/>
                  <a:ext cx="64674" cy="28348"/>
                </a:xfrm>
                <a:custGeom>
                  <a:avLst/>
                  <a:gdLst>
                    <a:gd name="connsiteX0" fmla="*/ 64675 w 64674"/>
                    <a:gd name="connsiteY0" fmla="*/ 28348 h 28348"/>
                    <a:gd name="connsiteX1" fmla="*/ 0 w 64674"/>
                    <a:gd name="connsiteY1" fmla="*/ 28348 h 28348"/>
                    <a:gd name="connsiteX2" fmla="*/ 19982 w 64674"/>
                    <a:gd name="connsiteY2" fmla="*/ 0 h 28348"/>
                    <a:gd name="connsiteX3" fmla="*/ 37272 w 64674"/>
                    <a:gd name="connsiteY3" fmla="*/ 0 h 283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64674" h="28348">
                      <a:moveTo>
                        <a:pt x="64675" y="28348"/>
                      </a:moveTo>
                      <a:lnTo>
                        <a:pt x="0" y="28348"/>
                      </a:lnTo>
                      <a:cubicBezTo>
                        <a:pt x="0" y="28348"/>
                        <a:pt x="2583" y="0"/>
                        <a:pt x="19982" y="0"/>
                      </a:cubicBezTo>
                      <a:lnTo>
                        <a:pt x="37272" y="0"/>
                      </a:ln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2290" name="Forma livre: Forma 2289">
                <a:extLst>
                  <a:ext uri="{FF2B5EF4-FFF2-40B4-BE49-F238E27FC236}">
                    <a16:creationId xmlns:a16="http://schemas.microsoft.com/office/drawing/2014/main" id="{DEF9E921-3962-5DAB-D12F-5AC1FEEB27A0}"/>
                  </a:ext>
                </a:extLst>
              </p:cNvPr>
              <p:cNvSpPr/>
              <p:nvPr/>
            </p:nvSpPr>
            <p:spPr>
              <a:xfrm>
                <a:off x="6354612" y="5838537"/>
                <a:ext cx="192714" cy="8996"/>
              </a:xfrm>
              <a:custGeom>
                <a:avLst/>
                <a:gdLst>
                  <a:gd name="connsiteX0" fmla="*/ 0 w 192714"/>
                  <a:gd name="connsiteY0" fmla="*/ 8985 h 8996"/>
                  <a:gd name="connsiteX1" fmla="*/ 169253 w 192714"/>
                  <a:gd name="connsiteY1" fmla="*/ 8985 h 8996"/>
                  <a:gd name="connsiteX2" fmla="*/ 192715 w 192714"/>
                  <a:gd name="connsiteY2" fmla="*/ 0 h 89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92714" h="8996">
                    <a:moveTo>
                      <a:pt x="0" y="8985"/>
                    </a:moveTo>
                    <a:lnTo>
                      <a:pt x="169253" y="8985"/>
                    </a:lnTo>
                    <a:cubicBezTo>
                      <a:pt x="169253" y="8985"/>
                      <a:pt x="186046" y="9700"/>
                      <a:pt x="192715" y="0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291" name="Forma livre: Forma 2290">
                <a:extLst>
                  <a:ext uri="{FF2B5EF4-FFF2-40B4-BE49-F238E27FC236}">
                    <a16:creationId xmlns:a16="http://schemas.microsoft.com/office/drawing/2014/main" id="{50538FCA-5F72-E268-9400-5C155A9FEA8A}"/>
                  </a:ext>
                </a:extLst>
              </p:cNvPr>
              <p:cNvSpPr/>
              <p:nvPr/>
            </p:nvSpPr>
            <p:spPr>
              <a:xfrm>
                <a:off x="6313932" y="5980302"/>
                <a:ext cx="252006" cy="1212"/>
              </a:xfrm>
              <a:custGeom>
                <a:avLst/>
                <a:gdLst>
                  <a:gd name="connsiteX0" fmla="*/ 0 w 252006"/>
                  <a:gd name="connsiteY0" fmla="*/ 0 h 1212"/>
                  <a:gd name="connsiteX1" fmla="*/ 252006 w 252006"/>
                  <a:gd name="connsiteY1" fmla="*/ 0 h 12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52006" h="1212">
                    <a:moveTo>
                      <a:pt x="0" y="0"/>
                    </a:moveTo>
                    <a:lnTo>
                      <a:pt x="252006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292" name="Forma livre: Forma 2291">
                <a:extLst>
                  <a:ext uri="{FF2B5EF4-FFF2-40B4-BE49-F238E27FC236}">
                    <a16:creationId xmlns:a16="http://schemas.microsoft.com/office/drawing/2014/main" id="{9B5F3F60-10DB-0DCA-9E23-3E24AB9ABDCE}"/>
                  </a:ext>
                </a:extLst>
              </p:cNvPr>
              <p:cNvSpPr/>
              <p:nvPr/>
            </p:nvSpPr>
            <p:spPr>
              <a:xfrm>
                <a:off x="6304438" y="5777960"/>
                <a:ext cx="270193" cy="233588"/>
              </a:xfrm>
              <a:custGeom>
                <a:avLst/>
                <a:gdLst>
                  <a:gd name="connsiteX0" fmla="*/ 63632 w 270193"/>
                  <a:gd name="connsiteY0" fmla="*/ 218699 h 233588"/>
                  <a:gd name="connsiteX1" fmla="*/ 63632 w 270193"/>
                  <a:gd name="connsiteY1" fmla="*/ 228059 h 233588"/>
                  <a:gd name="connsiteX2" fmla="*/ 58103 w 270193"/>
                  <a:gd name="connsiteY2" fmla="*/ 233576 h 233588"/>
                  <a:gd name="connsiteX3" fmla="*/ 14271 w 270193"/>
                  <a:gd name="connsiteY3" fmla="*/ 233576 h 233588"/>
                  <a:gd name="connsiteX4" fmla="*/ 8742 w 270193"/>
                  <a:gd name="connsiteY4" fmla="*/ 228059 h 233588"/>
                  <a:gd name="connsiteX5" fmla="*/ 8742 w 270193"/>
                  <a:gd name="connsiteY5" fmla="*/ 201408 h 233588"/>
                  <a:gd name="connsiteX6" fmla="*/ 0 w 270193"/>
                  <a:gd name="connsiteY6" fmla="*/ 188835 h 233588"/>
                  <a:gd name="connsiteX7" fmla="*/ 0 w 270193"/>
                  <a:gd name="connsiteY7" fmla="*/ 123251 h 233588"/>
                  <a:gd name="connsiteX8" fmla="*/ 3007 w 270193"/>
                  <a:gd name="connsiteY8" fmla="*/ 108846 h 233588"/>
                  <a:gd name="connsiteX9" fmla="*/ 23110 w 270193"/>
                  <a:gd name="connsiteY9" fmla="*/ 65063 h 233588"/>
                  <a:gd name="connsiteX10" fmla="*/ 34969 w 270193"/>
                  <a:gd name="connsiteY10" fmla="*/ 28166 h 233588"/>
                  <a:gd name="connsiteX11" fmla="*/ 73708 w 270193"/>
                  <a:gd name="connsiteY11" fmla="*/ 0 h 233588"/>
                  <a:gd name="connsiteX12" fmla="*/ 196486 w 270193"/>
                  <a:gd name="connsiteY12" fmla="*/ 0 h 233588"/>
                  <a:gd name="connsiteX13" fmla="*/ 235225 w 270193"/>
                  <a:gd name="connsiteY13" fmla="*/ 28166 h 233588"/>
                  <a:gd name="connsiteX14" fmla="*/ 247083 w 270193"/>
                  <a:gd name="connsiteY14" fmla="*/ 65063 h 233588"/>
                  <a:gd name="connsiteX15" fmla="*/ 267174 w 270193"/>
                  <a:gd name="connsiteY15" fmla="*/ 108846 h 233588"/>
                  <a:gd name="connsiteX16" fmla="*/ 270194 w 270193"/>
                  <a:gd name="connsiteY16" fmla="*/ 123251 h 233588"/>
                  <a:gd name="connsiteX17" fmla="*/ 270194 w 270193"/>
                  <a:gd name="connsiteY17" fmla="*/ 188835 h 233588"/>
                  <a:gd name="connsiteX18" fmla="*/ 261512 w 270193"/>
                  <a:gd name="connsiteY18" fmla="*/ 201408 h 233588"/>
                  <a:gd name="connsiteX19" fmla="*/ 261512 w 270193"/>
                  <a:gd name="connsiteY19" fmla="*/ 228071 h 233588"/>
                  <a:gd name="connsiteX20" fmla="*/ 255983 w 270193"/>
                  <a:gd name="connsiteY20" fmla="*/ 233588 h 233588"/>
                  <a:gd name="connsiteX21" fmla="*/ 212151 w 270193"/>
                  <a:gd name="connsiteY21" fmla="*/ 233588 h 233588"/>
                  <a:gd name="connsiteX22" fmla="*/ 206634 w 270193"/>
                  <a:gd name="connsiteY22" fmla="*/ 228071 h 233588"/>
                  <a:gd name="connsiteX23" fmla="*/ 206634 w 270193"/>
                  <a:gd name="connsiteY23" fmla="*/ 218711 h 2335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</a:cxnLst>
                <a:rect l="l" t="t" r="r" b="b"/>
                <a:pathLst>
                  <a:path w="270193" h="233588">
                    <a:moveTo>
                      <a:pt x="63632" y="218699"/>
                    </a:moveTo>
                    <a:lnTo>
                      <a:pt x="63632" y="228059"/>
                    </a:lnTo>
                    <a:cubicBezTo>
                      <a:pt x="63632" y="231103"/>
                      <a:pt x="61146" y="233576"/>
                      <a:pt x="58103" y="233576"/>
                    </a:cubicBezTo>
                    <a:lnTo>
                      <a:pt x="14271" y="233576"/>
                    </a:lnTo>
                    <a:cubicBezTo>
                      <a:pt x="11228" y="233576"/>
                      <a:pt x="8742" y="231090"/>
                      <a:pt x="8742" y="228059"/>
                    </a:cubicBezTo>
                    <a:lnTo>
                      <a:pt x="8742" y="201408"/>
                    </a:lnTo>
                    <a:cubicBezTo>
                      <a:pt x="3747" y="199444"/>
                      <a:pt x="0" y="194534"/>
                      <a:pt x="0" y="188835"/>
                    </a:cubicBezTo>
                    <a:lnTo>
                      <a:pt x="0" y="123251"/>
                    </a:lnTo>
                    <a:cubicBezTo>
                      <a:pt x="0" y="123251"/>
                      <a:pt x="691" y="116788"/>
                      <a:pt x="3007" y="108846"/>
                    </a:cubicBezTo>
                    <a:lnTo>
                      <a:pt x="23110" y="65063"/>
                    </a:lnTo>
                    <a:lnTo>
                      <a:pt x="34969" y="28166"/>
                    </a:lnTo>
                    <a:cubicBezTo>
                      <a:pt x="38267" y="9833"/>
                      <a:pt x="62735" y="0"/>
                      <a:pt x="73708" y="0"/>
                    </a:cubicBezTo>
                    <a:lnTo>
                      <a:pt x="196486" y="0"/>
                    </a:lnTo>
                    <a:cubicBezTo>
                      <a:pt x="207459" y="0"/>
                      <a:pt x="231927" y="9845"/>
                      <a:pt x="235225" y="28166"/>
                    </a:cubicBezTo>
                    <a:lnTo>
                      <a:pt x="247083" y="65063"/>
                    </a:lnTo>
                    <a:lnTo>
                      <a:pt x="267174" y="108846"/>
                    </a:lnTo>
                    <a:cubicBezTo>
                      <a:pt x="269515" y="116788"/>
                      <a:pt x="270194" y="123251"/>
                      <a:pt x="270194" y="123251"/>
                    </a:cubicBezTo>
                    <a:lnTo>
                      <a:pt x="270194" y="188835"/>
                    </a:lnTo>
                    <a:cubicBezTo>
                      <a:pt x="270194" y="194534"/>
                      <a:pt x="266532" y="199432"/>
                      <a:pt x="261512" y="201408"/>
                    </a:cubicBezTo>
                    <a:lnTo>
                      <a:pt x="261512" y="228071"/>
                    </a:lnTo>
                    <a:cubicBezTo>
                      <a:pt x="261512" y="231115"/>
                      <a:pt x="259026" y="233588"/>
                      <a:pt x="255983" y="233588"/>
                    </a:cubicBezTo>
                    <a:lnTo>
                      <a:pt x="212151" y="233588"/>
                    </a:lnTo>
                    <a:cubicBezTo>
                      <a:pt x="209108" y="233588"/>
                      <a:pt x="206634" y="231103"/>
                      <a:pt x="206634" y="228071"/>
                    </a:cubicBezTo>
                    <a:lnTo>
                      <a:pt x="206634" y="218711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2293" name="Gráfico 16">
                <a:extLst>
                  <a:ext uri="{FF2B5EF4-FFF2-40B4-BE49-F238E27FC236}">
                    <a16:creationId xmlns:a16="http://schemas.microsoft.com/office/drawing/2014/main" id="{999ACFFF-3E90-B917-3014-C64ACCB1B91D}"/>
                  </a:ext>
                </a:extLst>
              </p:cNvPr>
              <p:cNvGrpSpPr/>
              <p:nvPr/>
            </p:nvGrpSpPr>
            <p:grpSpPr>
              <a:xfrm>
                <a:off x="6274902" y="5833177"/>
                <a:ext cx="329254" cy="26541"/>
                <a:chOff x="6274902" y="5833177"/>
                <a:chExt cx="329254" cy="26541"/>
              </a:xfrm>
              <a:noFill/>
            </p:grpSpPr>
            <p:sp>
              <p:nvSpPr>
                <p:cNvPr id="2294" name="Forma livre: Forma 2293">
                  <a:extLst>
                    <a:ext uri="{FF2B5EF4-FFF2-40B4-BE49-F238E27FC236}">
                      <a16:creationId xmlns:a16="http://schemas.microsoft.com/office/drawing/2014/main" id="{60157126-FA80-A579-9CDF-2C4A29514B33}"/>
                    </a:ext>
                  </a:extLst>
                </p:cNvPr>
                <p:cNvSpPr/>
                <p:nvPr/>
              </p:nvSpPr>
              <p:spPr>
                <a:xfrm>
                  <a:off x="6274902" y="5833177"/>
                  <a:ext cx="43068" cy="26541"/>
                </a:xfrm>
                <a:custGeom>
                  <a:avLst/>
                  <a:gdLst>
                    <a:gd name="connsiteX0" fmla="*/ 32350 w 43068"/>
                    <a:gd name="connsiteY0" fmla="*/ 0 h 26541"/>
                    <a:gd name="connsiteX1" fmla="*/ 16914 w 43068"/>
                    <a:gd name="connsiteY1" fmla="*/ 0 h 26541"/>
                    <a:gd name="connsiteX2" fmla="*/ 0 w 43068"/>
                    <a:gd name="connsiteY2" fmla="*/ 22747 h 26541"/>
                    <a:gd name="connsiteX3" fmla="*/ 43068 w 43068"/>
                    <a:gd name="connsiteY3" fmla="*/ 26542 h 2654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3068" h="26541">
                      <a:moveTo>
                        <a:pt x="32350" y="0"/>
                      </a:moveTo>
                      <a:lnTo>
                        <a:pt x="16914" y="0"/>
                      </a:lnTo>
                      <a:cubicBezTo>
                        <a:pt x="1722" y="0"/>
                        <a:pt x="0" y="22747"/>
                        <a:pt x="0" y="22747"/>
                      </a:cubicBezTo>
                      <a:lnTo>
                        <a:pt x="43068" y="26542"/>
                      </a:ln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295" name="Forma livre: Forma 2294">
                  <a:extLst>
                    <a:ext uri="{FF2B5EF4-FFF2-40B4-BE49-F238E27FC236}">
                      <a16:creationId xmlns:a16="http://schemas.microsoft.com/office/drawing/2014/main" id="{9B797AC5-3F4B-8BEC-7383-9539B799F459}"/>
                    </a:ext>
                  </a:extLst>
                </p:cNvPr>
                <p:cNvSpPr/>
                <p:nvPr/>
              </p:nvSpPr>
              <p:spPr>
                <a:xfrm>
                  <a:off x="6561088" y="5833177"/>
                  <a:ext cx="43067" cy="26541"/>
                </a:xfrm>
                <a:custGeom>
                  <a:avLst/>
                  <a:gdLst>
                    <a:gd name="connsiteX0" fmla="*/ 0 w 43067"/>
                    <a:gd name="connsiteY0" fmla="*/ 26542 h 26541"/>
                    <a:gd name="connsiteX1" fmla="*/ 43068 w 43067"/>
                    <a:gd name="connsiteY1" fmla="*/ 22747 h 26541"/>
                    <a:gd name="connsiteX2" fmla="*/ 26154 w 43067"/>
                    <a:gd name="connsiteY2" fmla="*/ 0 h 26541"/>
                    <a:gd name="connsiteX3" fmla="*/ 10718 w 43067"/>
                    <a:gd name="connsiteY3" fmla="*/ 0 h 2654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3067" h="26541">
                      <a:moveTo>
                        <a:pt x="0" y="26542"/>
                      </a:moveTo>
                      <a:lnTo>
                        <a:pt x="43068" y="22747"/>
                      </a:lnTo>
                      <a:cubicBezTo>
                        <a:pt x="43068" y="22747"/>
                        <a:pt x="41346" y="0"/>
                        <a:pt x="26154" y="0"/>
                      </a:cubicBezTo>
                      <a:lnTo>
                        <a:pt x="10718" y="0"/>
                      </a:ln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2296" name="Forma livre: Forma 2295">
                <a:extLst>
                  <a:ext uri="{FF2B5EF4-FFF2-40B4-BE49-F238E27FC236}">
                    <a16:creationId xmlns:a16="http://schemas.microsoft.com/office/drawing/2014/main" id="{94AC6805-EDAB-AE7C-F9D3-65D03E2FE780}"/>
                  </a:ext>
                </a:extLst>
              </p:cNvPr>
              <p:cNvSpPr/>
              <p:nvPr/>
            </p:nvSpPr>
            <p:spPr>
              <a:xfrm>
                <a:off x="6390380" y="5951893"/>
                <a:ext cx="98297" cy="28336"/>
              </a:xfrm>
              <a:custGeom>
                <a:avLst/>
                <a:gdLst>
                  <a:gd name="connsiteX0" fmla="*/ 0 w 98297"/>
                  <a:gd name="connsiteY0" fmla="*/ 28336 h 28336"/>
                  <a:gd name="connsiteX1" fmla="*/ 0 w 98297"/>
                  <a:gd name="connsiteY1" fmla="*/ 0 h 28336"/>
                  <a:gd name="connsiteX2" fmla="*/ 98297 w 98297"/>
                  <a:gd name="connsiteY2" fmla="*/ 0 h 28336"/>
                  <a:gd name="connsiteX3" fmla="*/ 98297 w 98297"/>
                  <a:gd name="connsiteY3" fmla="*/ 28336 h 283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8297" h="28336">
                    <a:moveTo>
                      <a:pt x="0" y="28336"/>
                    </a:moveTo>
                    <a:lnTo>
                      <a:pt x="0" y="0"/>
                    </a:lnTo>
                    <a:lnTo>
                      <a:pt x="98297" y="0"/>
                    </a:lnTo>
                    <a:lnTo>
                      <a:pt x="98297" y="28336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2297" name="Forma livre: Forma 2296">
              <a:extLst>
                <a:ext uri="{FF2B5EF4-FFF2-40B4-BE49-F238E27FC236}">
                  <a16:creationId xmlns:a16="http://schemas.microsoft.com/office/drawing/2014/main" id="{1AF6792E-BAF0-87EB-4DE8-9A836BEA2C2D}"/>
                </a:ext>
              </a:extLst>
            </p:cNvPr>
            <p:cNvSpPr/>
            <p:nvPr/>
          </p:nvSpPr>
          <p:spPr>
            <a:xfrm>
              <a:off x="6439523" y="5699657"/>
              <a:ext cx="1212" cy="20952"/>
            </a:xfrm>
            <a:custGeom>
              <a:avLst/>
              <a:gdLst>
                <a:gd name="connsiteX0" fmla="*/ 0 w 1212"/>
                <a:gd name="connsiteY0" fmla="*/ 20952 h 20952"/>
                <a:gd name="connsiteX1" fmla="*/ 0 w 1212"/>
                <a:gd name="connsiteY1" fmla="*/ 0 h 209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12" h="20952">
                  <a:moveTo>
                    <a:pt x="0" y="20952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2298" name="Gráfico 16">
              <a:extLst>
                <a:ext uri="{FF2B5EF4-FFF2-40B4-BE49-F238E27FC236}">
                  <a16:creationId xmlns:a16="http://schemas.microsoft.com/office/drawing/2014/main" id="{645992CB-C536-4446-02DC-4FA0693783F5}"/>
                </a:ext>
              </a:extLst>
            </p:cNvPr>
            <p:cNvGrpSpPr/>
            <p:nvPr/>
          </p:nvGrpSpPr>
          <p:grpSpPr>
            <a:xfrm>
              <a:off x="6353617" y="5712570"/>
              <a:ext cx="171823" cy="14816"/>
              <a:chOff x="6353617" y="5712570"/>
              <a:chExt cx="171823" cy="14816"/>
            </a:xfrm>
          </p:grpSpPr>
          <p:sp>
            <p:nvSpPr>
              <p:cNvPr id="2299" name="Forma livre: Forma 2298">
                <a:extLst>
                  <a:ext uri="{FF2B5EF4-FFF2-40B4-BE49-F238E27FC236}">
                    <a16:creationId xmlns:a16="http://schemas.microsoft.com/office/drawing/2014/main" id="{8C138761-8128-8751-415F-FC6E5927282A}"/>
                  </a:ext>
                </a:extLst>
              </p:cNvPr>
              <p:cNvSpPr/>
              <p:nvPr/>
            </p:nvSpPr>
            <p:spPr>
              <a:xfrm>
                <a:off x="6510624" y="5712570"/>
                <a:ext cx="14816" cy="14816"/>
              </a:xfrm>
              <a:custGeom>
                <a:avLst/>
                <a:gdLst>
                  <a:gd name="connsiteX0" fmla="*/ 0 w 14816"/>
                  <a:gd name="connsiteY0" fmla="*/ 14817 h 14816"/>
                  <a:gd name="connsiteX1" fmla="*/ 14817 w 14816"/>
                  <a:gd name="connsiteY1" fmla="*/ 0 h 148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4816" h="14816">
                    <a:moveTo>
                      <a:pt x="0" y="14817"/>
                    </a:moveTo>
                    <a:lnTo>
                      <a:pt x="14817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300" name="Forma livre: Forma 2299">
                <a:extLst>
                  <a:ext uri="{FF2B5EF4-FFF2-40B4-BE49-F238E27FC236}">
                    <a16:creationId xmlns:a16="http://schemas.microsoft.com/office/drawing/2014/main" id="{1E0044F9-4D5C-E73E-DD8D-E2AA1BC5BA01}"/>
                  </a:ext>
                </a:extLst>
              </p:cNvPr>
              <p:cNvSpPr/>
              <p:nvPr/>
            </p:nvSpPr>
            <p:spPr>
              <a:xfrm>
                <a:off x="6353617" y="5712570"/>
                <a:ext cx="14804" cy="14816"/>
              </a:xfrm>
              <a:custGeom>
                <a:avLst/>
                <a:gdLst>
                  <a:gd name="connsiteX0" fmla="*/ 14805 w 14804"/>
                  <a:gd name="connsiteY0" fmla="*/ 14817 h 14816"/>
                  <a:gd name="connsiteX1" fmla="*/ 0 w 14804"/>
                  <a:gd name="connsiteY1" fmla="*/ 0 h 148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4804" h="14816">
                    <a:moveTo>
                      <a:pt x="14805" y="14817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2301" name="Forma livre: Forma 2300">
              <a:extLst>
                <a:ext uri="{FF2B5EF4-FFF2-40B4-BE49-F238E27FC236}">
                  <a16:creationId xmlns:a16="http://schemas.microsoft.com/office/drawing/2014/main" id="{97F95E5B-27CB-7907-6075-A90669863417}"/>
                </a:ext>
              </a:extLst>
            </p:cNvPr>
            <p:cNvSpPr/>
            <p:nvPr/>
          </p:nvSpPr>
          <p:spPr>
            <a:xfrm>
              <a:off x="6369501" y="5746278"/>
              <a:ext cx="140055" cy="31379"/>
            </a:xfrm>
            <a:custGeom>
              <a:avLst/>
              <a:gdLst>
                <a:gd name="connsiteX0" fmla="*/ 0 w 140055"/>
                <a:gd name="connsiteY0" fmla="*/ 31380 h 31379"/>
                <a:gd name="connsiteX1" fmla="*/ 4122 w 140055"/>
                <a:gd name="connsiteY1" fmla="*/ 9700 h 31379"/>
                <a:gd name="connsiteX2" fmla="*/ 13823 w 140055"/>
                <a:gd name="connsiteY2" fmla="*/ 0 h 31379"/>
                <a:gd name="connsiteX3" fmla="*/ 126100 w 140055"/>
                <a:gd name="connsiteY3" fmla="*/ 0 h 31379"/>
                <a:gd name="connsiteX4" fmla="*/ 135800 w 140055"/>
                <a:gd name="connsiteY4" fmla="*/ 9700 h 31379"/>
                <a:gd name="connsiteX5" fmla="*/ 140056 w 140055"/>
                <a:gd name="connsiteY5" fmla="*/ 31380 h 313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40055" h="31379">
                  <a:moveTo>
                    <a:pt x="0" y="31380"/>
                  </a:moveTo>
                  <a:lnTo>
                    <a:pt x="4122" y="9700"/>
                  </a:lnTo>
                  <a:cubicBezTo>
                    <a:pt x="4122" y="4365"/>
                    <a:pt x="8488" y="0"/>
                    <a:pt x="13823" y="0"/>
                  </a:cubicBezTo>
                  <a:lnTo>
                    <a:pt x="126100" y="0"/>
                  </a:lnTo>
                  <a:cubicBezTo>
                    <a:pt x="131435" y="0"/>
                    <a:pt x="135800" y="4365"/>
                    <a:pt x="135800" y="9700"/>
                  </a:cubicBezTo>
                  <a:lnTo>
                    <a:pt x="140056" y="3138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2302" name="Gráfico 16">
              <a:extLst>
                <a:ext uri="{FF2B5EF4-FFF2-40B4-BE49-F238E27FC236}">
                  <a16:creationId xmlns:a16="http://schemas.microsoft.com/office/drawing/2014/main" id="{D5230104-157B-002C-C77B-145FDDE4D152}"/>
                </a:ext>
              </a:extLst>
            </p:cNvPr>
            <p:cNvGrpSpPr/>
            <p:nvPr/>
          </p:nvGrpSpPr>
          <p:grpSpPr>
            <a:xfrm>
              <a:off x="6422875" y="5747211"/>
              <a:ext cx="33307" cy="29839"/>
              <a:chOff x="6422875" y="5747211"/>
              <a:chExt cx="33307" cy="29839"/>
            </a:xfrm>
          </p:grpSpPr>
          <p:sp>
            <p:nvSpPr>
              <p:cNvPr id="2303" name="Forma livre: Forma 2302">
                <a:extLst>
                  <a:ext uri="{FF2B5EF4-FFF2-40B4-BE49-F238E27FC236}">
                    <a16:creationId xmlns:a16="http://schemas.microsoft.com/office/drawing/2014/main" id="{8BB3D01D-2500-59DF-646F-6AB4B37F57BA}"/>
                  </a:ext>
                </a:extLst>
              </p:cNvPr>
              <p:cNvSpPr/>
              <p:nvPr/>
            </p:nvSpPr>
            <p:spPr>
              <a:xfrm>
                <a:off x="6422875" y="5747211"/>
                <a:ext cx="1212" cy="29839"/>
              </a:xfrm>
              <a:custGeom>
                <a:avLst/>
                <a:gdLst>
                  <a:gd name="connsiteX0" fmla="*/ 0 w 1212"/>
                  <a:gd name="connsiteY0" fmla="*/ 0 h 29839"/>
                  <a:gd name="connsiteX1" fmla="*/ 0 w 1212"/>
                  <a:gd name="connsiteY1" fmla="*/ 29840 h 298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12" h="29839">
                    <a:moveTo>
                      <a:pt x="0" y="0"/>
                    </a:moveTo>
                    <a:lnTo>
                      <a:pt x="0" y="2984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304" name="Forma livre: Forma 2303">
                <a:extLst>
                  <a:ext uri="{FF2B5EF4-FFF2-40B4-BE49-F238E27FC236}">
                    <a16:creationId xmlns:a16="http://schemas.microsoft.com/office/drawing/2014/main" id="{78B98062-E93C-B26E-69A9-D8A69BCDC248}"/>
                  </a:ext>
                </a:extLst>
              </p:cNvPr>
              <p:cNvSpPr/>
              <p:nvPr/>
            </p:nvSpPr>
            <p:spPr>
              <a:xfrm>
                <a:off x="6456183" y="5747211"/>
                <a:ext cx="1212" cy="29839"/>
              </a:xfrm>
              <a:custGeom>
                <a:avLst/>
                <a:gdLst>
                  <a:gd name="connsiteX0" fmla="*/ 0 w 1212"/>
                  <a:gd name="connsiteY0" fmla="*/ 0 h 29839"/>
                  <a:gd name="connsiteX1" fmla="*/ 0 w 1212"/>
                  <a:gd name="connsiteY1" fmla="*/ 29840 h 298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12" h="29839">
                    <a:moveTo>
                      <a:pt x="0" y="0"/>
                    </a:moveTo>
                    <a:lnTo>
                      <a:pt x="0" y="2984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2305" name="Gráfico 16">
              <a:extLst>
                <a:ext uri="{FF2B5EF4-FFF2-40B4-BE49-F238E27FC236}">
                  <a16:creationId xmlns:a16="http://schemas.microsoft.com/office/drawing/2014/main" id="{3ECF4B99-8386-305E-027B-7F00BDC07807}"/>
                </a:ext>
              </a:extLst>
            </p:cNvPr>
            <p:cNvGrpSpPr/>
            <p:nvPr/>
          </p:nvGrpSpPr>
          <p:grpSpPr>
            <a:xfrm>
              <a:off x="6305978" y="5951493"/>
              <a:ext cx="267101" cy="1212"/>
              <a:chOff x="6305978" y="5951493"/>
              <a:chExt cx="267101" cy="1212"/>
            </a:xfrm>
          </p:grpSpPr>
          <p:sp>
            <p:nvSpPr>
              <p:cNvPr id="2306" name="Forma livre: Forma 2305">
                <a:extLst>
                  <a:ext uri="{FF2B5EF4-FFF2-40B4-BE49-F238E27FC236}">
                    <a16:creationId xmlns:a16="http://schemas.microsoft.com/office/drawing/2014/main" id="{B0B0CF93-C4D4-EB5B-0E54-A01E15BFE3D3}"/>
                  </a:ext>
                </a:extLst>
              </p:cNvPr>
              <p:cNvSpPr/>
              <p:nvPr/>
            </p:nvSpPr>
            <p:spPr>
              <a:xfrm>
                <a:off x="6305978" y="5951493"/>
                <a:ext cx="64129" cy="1212"/>
              </a:xfrm>
              <a:custGeom>
                <a:avLst/>
                <a:gdLst>
                  <a:gd name="connsiteX0" fmla="*/ 0 w 64129"/>
                  <a:gd name="connsiteY0" fmla="*/ 0 h 1212"/>
                  <a:gd name="connsiteX1" fmla="*/ 64129 w 64129"/>
                  <a:gd name="connsiteY1" fmla="*/ 0 h 12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4129" h="1212">
                    <a:moveTo>
                      <a:pt x="0" y="0"/>
                    </a:moveTo>
                    <a:lnTo>
                      <a:pt x="64129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307" name="Forma livre: Forma 2306">
                <a:extLst>
                  <a:ext uri="{FF2B5EF4-FFF2-40B4-BE49-F238E27FC236}">
                    <a16:creationId xmlns:a16="http://schemas.microsoft.com/office/drawing/2014/main" id="{9EBB8737-365C-4640-220A-4E5953CED2C0}"/>
                  </a:ext>
                </a:extLst>
              </p:cNvPr>
              <p:cNvSpPr/>
              <p:nvPr/>
            </p:nvSpPr>
            <p:spPr>
              <a:xfrm>
                <a:off x="6508939" y="5951493"/>
                <a:ext cx="64141" cy="1212"/>
              </a:xfrm>
              <a:custGeom>
                <a:avLst/>
                <a:gdLst>
                  <a:gd name="connsiteX0" fmla="*/ 0 w 64141"/>
                  <a:gd name="connsiteY0" fmla="*/ 0 h 1212"/>
                  <a:gd name="connsiteX1" fmla="*/ 64141 w 64141"/>
                  <a:gd name="connsiteY1" fmla="*/ 0 h 12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4141" h="1212">
                    <a:moveTo>
                      <a:pt x="0" y="0"/>
                    </a:moveTo>
                    <a:lnTo>
                      <a:pt x="64141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2308" name="Gráfico 16">
            <a:extLst>
              <a:ext uri="{FF2B5EF4-FFF2-40B4-BE49-F238E27FC236}">
                <a16:creationId xmlns:a16="http://schemas.microsoft.com/office/drawing/2014/main" id="{28429B76-026C-72FC-36EC-25A3C8B18AD9}"/>
              </a:ext>
            </a:extLst>
          </p:cNvPr>
          <p:cNvGrpSpPr/>
          <p:nvPr/>
        </p:nvGrpSpPr>
        <p:grpSpPr>
          <a:xfrm>
            <a:off x="6229590" y="4643436"/>
            <a:ext cx="419827" cy="228774"/>
            <a:chOff x="6229590" y="4643436"/>
            <a:chExt cx="419827" cy="228774"/>
          </a:xfrm>
        </p:grpSpPr>
        <p:sp>
          <p:nvSpPr>
            <p:cNvPr id="2309" name="Forma livre: Forma 2308">
              <a:extLst>
                <a:ext uri="{FF2B5EF4-FFF2-40B4-BE49-F238E27FC236}">
                  <a16:creationId xmlns:a16="http://schemas.microsoft.com/office/drawing/2014/main" id="{43B55801-8CBD-3137-9E22-51136380A4F4}"/>
                </a:ext>
              </a:extLst>
            </p:cNvPr>
            <p:cNvSpPr/>
            <p:nvPr/>
          </p:nvSpPr>
          <p:spPr>
            <a:xfrm>
              <a:off x="6229590" y="4707201"/>
              <a:ext cx="419827" cy="145669"/>
            </a:xfrm>
            <a:custGeom>
              <a:avLst/>
              <a:gdLst>
                <a:gd name="connsiteX0" fmla="*/ 357895 w 419827"/>
                <a:gd name="connsiteY0" fmla="*/ 145670 h 145669"/>
                <a:gd name="connsiteX1" fmla="*/ 402515 w 419827"/>
                <a:gd name="connsiteY1" fmla="*/ 145670 h 145669"/>
                <a:gd name="connsiteX2" fmla="*/ 419550 w 419827"/>
                <a:gd name="connsiteY2" fmla="*/ 125700 h 145669"/>
                <a:gd name="connsiteX3" fmla="*/ 419550 w 419827"/>
                <a:gd name="connsiteY3" fmla="*/ 87252 h 145669"/>
                <a:gd name="connsiteX4" fmla="*/ 329668 w 419827"/>
                <a:gd name="connsiteY4" fmla="*/ 49652 h 145669"/>
                <a:gd name="connsiteX5" fmla="*/ 184944 w 419827"/>
                <a:gd name="connsiteY5" fmla="*/ 0 h 145669"/>
                <a:gd name="connsiteX6" fmla="*/ 125871 w 419827"/>
                <a:gd name="connsiteY6" fmla="*/ 0 h 145669"/>
                <a:gd name="connsiteX7" fmla="*/ 85640 w 419827"/>
                <a:gd name="connsiteY7" fmla="*/ 18212 h 145669"/>
                <a:gd name="connsiteX8" fmla="*/ 8864 w 419827"/>
                <a:gd name="connsiteY8" fmla="*/ 36739 h 145669"/>
                <a:gd name="connsiteX9" fmla="*/ 49 w 419827"/>
                <a:gd name="connsiteY9" fmla="*/ 48476 h 145669"/>
                <a:gd name="connsiteX10" fmla="*/ 49 w 419827"/>
                <a:gd name="connsiteY10" fmla="*/ 118643 h 145669"/>
                <a:gd name="connsiteX11" fmla="*/ 36485 w 419827"/>
                <a:gd name="connsiteY11" fmla="*/ 139207 h 145669"/>
                <a:gd name="connsiteX12" fmla="*/ 53897 w 419827"/>
                <a:gd name="connsiteY12" fmla="*/ 139207 h 1456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19827" h="145669">
                  <a:moveTo>
                    <a:pt x="357895" y="145670"/>
                  </a:moveTo>
                  <a:lnTo>
                    <a:pt x="402515" y="145670"/>
                  </a:lnTo>
                  <a:cubicBezTo>
                    <a:pt x="402515" y="145670"/>
                    <a:pt x="419550" y="143912"/>
                    <a:pt x="419550" y="125700"/>
                  </a:cubicBezTo>
                  <a:lnTo>
                    <a:pt x="419550" y="87252"/>
                  </a:lnTo>
                  <a:cubicBezTo>
                    <a:pt x="419550" y="87252"/>
                    <a:pt x="429529" y="71986"/>
                    <a:pt x="329668" y="49652"/>
                  </a:cubicBezTo>
                  <a:cubicBezTo>
                    <a:pt x="329668" y="49652"/>
                    <a:pt x="277203" y="0"/>
                    <a:pt x="184944" y="0"/>
                  </a:cubicBezTo>
                  <a:lnTo>
                    <a:pt x="125871" y="0"/>
                  </a:lnTo>
                  <a:cubicBezTo>
                    <a:pt x="125871" y="0"/>
                    <a:pt x="106931" y="2680"/>
                    <a:pt x="85640" y="18212"/>
                  </a:cubicBezTo>
                  <a:cubicBezTo>
                    <a:pt x="77092" y="24456"/>
                    <a:pt x="58819" y="36739"/>
                    <a:pt x="8864" y="36739"/>
                  </a:cubicBezTo>
                  <a:cubicBezTo>
                    <a:pt x="8864" y="36739"/>
                    <a:pt x="49" y="36739"/>
                    <a:pt x="49" y="48476"/>
                  </a:cubicBezTo>
                  <a:lnTo>
                    <a:pt x="49" y="118643"/>
                  </a:lnTo>
                  <a:cubicBezTo>
                    <a:pt x="49" y="118643"/>
                    <a:pt x="-2885" y="139207"/>
                    <a:pt x="36485" y="139207"/>
                  </a:cubicBezTo>
                  <a:lnTo>
                    <a:pt x="53897" y="139207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310" name="Forma livre: Forma 2309">
              <a:extLst>
                <a:ext uri="{FF2B5EF4-FFF2-40B4-BE49-F238E27FC236}">
                  <a16:creationId xmlns:a16="http://schemas.microsoft.com/office/drawing/2014/main" id="{81D12B0B-2A4A-8146-8544-9039C2A6A210}"/>
                </a:ext>
              </a:extLst>
            </p:cNvPr>
            <p:cNvSpPr/>
            <p:nvPr/>
          </p:nvSpPr>
          <p:spPr>
            <a:xfrm>
              <a:off x="6361268" y="4848166"/>
              <a:ext cx="148373" cy="1212"/>
            </a:xfrm>
            <a:custGeom>
              <a:avLst/>
              <a:gdLst>
                <a:gd name="connsiteX0" fmla="*/ 0 w 148373"/>
                <a:gd name="connsiteY0" fmla="*/ 0 h 1212"/>
                <a:gd name="connsiteX1" fmla="*/ 148374 w 148373"/>
                <a:gd name="connsiteY1" fmla="*/ 0 h 12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48373" h="1212">
                  <a:moveTo>
                    <a:pt x="0" y="0"/>
                  </a:moveTo>
                  <a:lnTo>
                    <a:pt x="148374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311" name="Forma livre: Forma 2310">
              <a:extLst>
                <a:ext uri="{FF2B5EF4-FFF2-40B4-BE49-F238E27FC236}">
                  <a16:creationId xmlns:a16="http://schemas.microsoft.com/office/drawing/2014/main" id="{340AFF2B-39A9-3693-9528-A7AE7DEA3609}"/>
                </a:ext>
              </a:extLst>
            </p:cNvPr>
            <p:cNvSpPr/>
            <p:nvPr/>
          </p:nvSpPr>
          <p:spPr>
            <a:xfrm>
              <a:off x="6284190" y="4814641"/>
              <a:ext cx="57581" cy="57569"/>
            </a:xfrm>
            <a:custGeom>
              <a:avLst/>
              <a:gdLst>
                <a:gd name="connsiteX0" fmla="*/ 57582 w 57581"/>
                <a:gd name="connsiteY0" fmla="*/ 28773 h 57569"/>
                <a:gd name="connsiteX1" fmla="*/ 28797 w 57581"/>
                <a:gd name="connsiteY1" fmla="*/ 57570 h 57569"/>
                <a:gd name="connsiteX2" fmla="*/ 0 w 57581"/>
                <a:gd name="connsiteY2" fmla="*/ 28773 h 57569"/>
                <a:gd name="connsiteX3" fmla="*/ 28797 w 57581"/>
                <a:gd name="connsiteY3" fmla="*/ 0 h 57569"/>
                <a:gd name="connsiteX4" fmla="*/ 57582 w 57581"/>
                <a:gd name="connsiteY4" fmla="*/ 28773 h 575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581" h="57569">
                  <a:moveTo>
                    <a:pt x="57582" y="28773"/>
                  </a:moveTo>
                  <a:cubicBezTo>
                    <a:pt x="57582" y="44681"/>
                    <a:pt x="44693" y="57570"/>
                    <a:pt x="28797" y="57570"/>
                  </a:cubicBezTo>
                  <a:cubicBezTo>
                    <a:pt x="12901" y="57570"/>
                    <a:pt x="0" y="44681"/>
                    <a:pt x="0" y="28773"/>
                  </a:cubicBezTo>
                  <a:cubicBezTo>
                    <a:pt x="0" y="12865"/>
                    <a:pt x="12889" y="0"/>
                    <a:pt x="28797" y="0"/>
                  </a:cubicBezTo>
                  <a:cubicBezTo>
                    <a:pt x="44705" y="0"/>
                    <a:pt x="57582" y="12877"/>
                    <a:pt x="57582" y="28773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312" name="Forma livre: Forma 2311">
              <a:extLst>
                <a:ext uri="{FF2B5EF4-FFF2-40B4-BE49-F238E27FC236}">
                  <a16:creationId xmlns:a16="http://schemas.microsoft.com/office/drawing/2014/main" id="{BB9FD662-2732-ADBE-207D-63D909AB450A}"/>
                </a:ext>
              </a:extLst>
            </p:cNvPr>
            <p:cNvSpPr/>
            <p:nvPr/>
          </p:nvSpPr>
          <p:spPr>
            <a:xfrm>
              <a:off x="6530691" y="4814641"/>
              <a:ext cx="57569" cy="57569"/>
            </a:xfrm>
            <a:custGeom>
              <a:avLst/>
              <a:gdLst>
                <a:gd name="connsiteX0" fmla="*/ 57570 w 57569"/>
                <a:gd name="connsiteY0" fmla="*/ 28773 h 57569"/>
                <a:gd name="connsiteX1" fmla="*/ 28773 w 57569"/>
                <a:gd name="connsiteY1" fmla="*/ 57570 h 57569"/>
                <a:gd name="connsiteX2" fmla="*/ 0 w 57569"/>
                <a:gd name="connsiteY2" fmla="*/ 28773 h 57569"/>
                <a:gd name="connsiteX3" fmla="*/ 28773 w 57569"/>
                <a:gd name="connsiteY3" fmla="*/ 0 h 57569"/>
                <a:gd name="connsiteX4" fmla="*/ 57570 w 57569"/>
                <a:gd name="connsiteY4" fmla="*/ 28773 h 575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569" h="57569">
                  <a:moveTo>
                    <a:pt x="57570" y="28773"/>
                  </a:moveTo>
                  <a:cubicBezTo>
                    <a:pt x="57570" y="44681"/>
                    <a:pt x="44681" y="57570"/>
                    <a:pt x="28773" y="57570"/>
                  </a:cubicBezTo>
                  <a:cubicBezTo>
                    <a:pt x="12865" y="57570"/>
                    <a:pt x="0" y="44681"/>
                    <a:pt x="0" y="28773"/>
                  </a:cubicBezTo>
                  <a:cubicBezTo>
                    <a:pt x="0" y="12865"/>
                    <a:pt x="12877" y="0"/>
                    <a:pt x="28773" y="0"/>
                  </a:cubicBezTo>
                  <a:cubicBezTo>
                    <a:pt x="44669" y="0"/>
                    <a:pt x="57570" y="12877"/>
                    <a:pt x="57570" y="28773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313" name="Forma livre: Forma 2312">
              <a:extLst>
                <a:ext uri="{FF2B5EF4-FFF2-40B4-BE49-F238E27FC236}">
                  <a16:creationId xmlns:a16="http://schemas.microsoft.com/office/drawing/2014/main" id="{E0FCDC43-D5E5-ADAE-8F7A-FEEA0A169F4A}"/>
                </a:ext>
              </a:extLst>
            </p:cNvPr>
            <p:cNvSpPr/>
            <p:nvPr/>
          </p:nvSpPr>
          <p:spPr>
            <a:xfrm>
              <a:off x="6329549" y="4746983"/>
              <a:ext cx="197576" cy="15410"/>
            </a:xfrm>
            <a:custGeom>
              <a:avLst/>
              <a:gdLst>
                <a:gd name="connsiteX0" fmla="*/ 197577 w 197576"/>
                <a:gd name="connsiteY0" fmla="*/ 15411 h 15410"/>
                <a:gd name="connsiteX1" fmla="*/ 15132 w 197576"/>
                <a:gd name="connsiteY1" fmla="*/ 15411 h 15410"/>
                <a:gd name="connsiteX2" fmla="*/ 0 w 197576"/>
                <a:gd name="connsiteY2" fmla="*/ 0 h 154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97576" h="15410">
                  <a:moveTo>
                    <a:pt x="197577" y="15411"/>
                  </a:moveTo>
                  <a:lnTo>
                    <a:pt x="15132" y="15411"/>
                  </a:lnTo>
                  <a:lnTo>
                    <a:pt x="0" y="0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314" name="Forma livre: Forma 2313">
              <a:extLst>
                <a:ext uri="{FF2B5EF4-FFF2-40B4-BE49-F238E27FC236}">
                  <a16:creationId xmlns:a16="http://schemas.microsoft.com/office/drawing/2014/main" id="{2E798D21-F824-5BB9-72AC-CFA7B51D942D}"/>
                </a:ext>
              </a:extLst>
            </p:cNvPr>
            <p:cNvSpPr/>
            <p:nvPr/>
          </p:nvSpPr>
          <p:spPr>
            <a:xfrm>
              <a:off x="6413818" y="4707201"/>
              <a:ext cx="1212" cy="55193"/>
            </a:xfrm>
            <a:custGeom>
              <a:avLst/>
              <a:gdLst>
                <a:gd name="connsiteX0" fmla="*/ 0 w 1212"/>
                <a:gd name="connsiteY0" fmla="*/ 55193 h 55193"/>
                <a:gd name="connsiteX1" fmla="*/ 0 w 1212"/>
                <a:gd name="connsiteY1" fmla="*/ 0 h 551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12" h="55193">
                  <a:moveTo>
                    <a:pt x="0" y="55193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315" name="Forma livre: Forma 2314">
              <a:extLst>
                <a:ext uri="{FF2B5EF4-FFF2-40B4-BE49-F238E27FC236}">
                  <a16:creationId xmlns:a16="http://schemas.microsoft.com/office/drawing/2014/main" id="{57A18489-7C7D-2E68-CDB0-11823B62102A}"/>
                </a:ext>
              </a:extLst>
            </p:cNvPr>
            <p:cNvSpPr/>
            <p:nvPr/>
          </p:nvSpPr>
          <p:spPr>
            <a:xfrm>
              <a:off x="6398347" y="4678368"/>
              <a:ext cx="30942" cy="27499"/>
            </a:xfrm>
            <a:custGeom>
              <a:avLst/>
              <a:gdLst>
                <a:gd name="connsiteX0" fmla="*/ 30943 w 30942"/>
                <a:gd name="connsiteY0" fmla="*/ 27500 h 27499"/>
                <a:gd name="connsiteX1" fmla="*/ 30943 w 30942"/>
                <a:gd name="connsiteY1" fmla="*/ 15459 h 27499"/>
                <a:gd name="connsiteX2" fmla="*/ 15471 w 30942"/>
                <a:gd name="connsiteY2" fmla="*/ 0 h 27499"/>
                <a:gd name="connsiteX3" fmla="*/ 0 w 30942"/>
                <a:gd name="connsiteY3" fmla="*/ 15459 h 27499"/>
                <a:gd name="connsiteX4" fmla="*/ 0 w 30942"/>
                <a:gd name="connsiteY4" fmla="*/ 27500 h 274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0942" h="27499">
                  <a:moveTo>
                    <a:pt x="30943" y="27500"/>
                  </a:moveTo>
                  <a:lnTo>
                    <a:pt x="30943" y="15459"/>
                  </a:lnTo>
                  <a:cubicBezTo>
                    <a:pt x="30943" y="6960"/>
                    <a:pt x="23971" y="0"/>
                    <a:pt x="15471" y="0"/>
                  </a:cubicBezTo>
                  <a:cubicBezTo>
                    <a:pt x="6972" y="0"/>
                    <a:pt x="0" y="6960"/>
                    <a:pt x="0" y="15459"/>
                  </a:cubicBezTo>
                  <a:lnTo>
                    <a:pt x="0" y="2750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316" name="Forma livre: Forma 2315">
              <a:extLst>
                <a:ext uri="{FF2B5EF4-FFF2-40B4-BE49-F238E27FC236}">
                  <a16:creationId xmlns:a16="http://schemas.microsoft.com/office/drawing/2014/main" id="{0D6578D1-F1AF-77A3-8839-BAE138158F99}"/>
                </a:ext>
              </a:extLst>
            </p:cNvPr>
            <p:cNvSpPr/>
            <p:nvPr/>
          </p:nvSpPr>
          <p:spPr>
            <a:xfrm>
              <a:off x="6413818" y="4643436"/>
              <a:ext cx="1212" cy="12913"/>
            </a:xfrm>
            <a:custGeom>
              <a:avLst/>
              <a:gdLst>
                <a:gd name="connsiteX0" fmla="*/ 0 w 1212"/>
                <a:gd name="connsiteY0" fmla="*/ 12913 h 12913"/>
                <a:gd name="connsiteX1" fmla="*/ 0 w 1212"/>
                <a:gd name="connsiteY1" fmla="*/ 0 h 129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12" h="12913">
                  <a:moveTo>
                    <a:pt x="0" y="12913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2317" name="Gráfico 16">
              <a:extLst>
                <a:ext uri="{FF2B5EF4-FFF2-40B4-BE49-F238E27FC236}">
                  <a16:creationId xmlns:a16="http://schemas.microsoft.com/office/drawing/2014/main" id="{0561F90E-1E9D-82C7-B664-96E1161D22F6}"/>
                </a:ext>
              </a:extLst>
            </p:cNvPr>
            <p:cNvGrpSpPr/>
            <p:nvPr/>
          </p:nvGrpSpPr>
          <p:grpSpPr>
            <a:xfrm>
              <a:off x="6378753" y="4656482"/>
              <a:ext cx="70118" cy="9130"/>
              <a:chOff x="6378753" y="4656482"/>
              <a:chExt cx="70118" cy="9130"/>
            </a:xfrm>
          </p:grpSpPr>
          <p:sp>
            <p:nvSpPr>
              <p:cNvPr id="2318" name="Forma livre: Forma 2317">
                <a:extLst>
                  <a:ext uri="{FF2B5EF4-FFF2-40B4-BE49-F238E27FC236}">
                    <a16:creationId xmlns:a16="http://schemas.microsoft.com/office/drawing/2014/main" id="{5B428657-6524-9E94-8E5F-BF2F7C8E3664}"/>
                  </a:ext>
                </a:extLst>
              </p:cNvPr>
              <p:cNvSpPr/>
              <p:nvPr/>
            </p:nvSpPr>
            <p:spPr>
              <a:xfrm>
                <a:off x="6439729" y="4656482"/>
                <a:ext cx="9142" cy="9130"/>
              </a:xfrm>
              <a:custGeom>
                <a:avLst/>
                <a:gdLst>
                  <a:gd name="connsiteX0" fmla="*/ 0 w 9142"/>
                  <a:gd name="connsiteY0" fmla="*/ 9130 h 9130"/>
                  <a:gd name="connsiteX1" fmla="*/ 9142 w 9142"/>
                  <a:gd name="connsiteY1" fmla="*/ 0 h 91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142" h="9130">
                    <a:moveTo>
                      <a:pt x="0" y="9130"/>
                    </a:moveTo>
                    <a:lnTo>
                      <a:pt x="9142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319" name="Forma livre: Forma 2318">
                <a:extLst>
                  <a:ext uri="{FF2B5EF4-FFF2-40B4-BE49-F238E27FC236}">
                    <a16:creationId xmlns:a16="http://schemas.microsoft.com/office/drawing/2014/main" id="{9D58A579-049F-E9E6-2E3F-0F29D7437D3F}"/>
                  </a:ext>
                </a:extLst>
              </p:cNvPr>
              <p:cNvSpPr/>
              <p:nvPr/>
            </p:nvSpPr>
            <p:spPr>
              <a:xfrm>
                <a:off x="6378753" y="4656482"/>
                <a:ext cx="9142" cy="9130"/>
              </a:xfrm>
              <a:custGeom>
                <a:avLst/>
                <a:gdLst>
                  <a:gd name="connsiteX0" fmla="*/ 9142 w 9142"/>
                  <a:gd name="connsiteY0" fmla="*/ 9130 h 9130"/>
                  <a:gd name="connsiteX1" fmla="*/ 0 w 9142"/>
                  <a:gd name="connsiteY1" fmla="*/ 0 h 91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142" h="9130">
                    <a:moveTo>
                      <a:pt x="9142" y="9130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2320" name="Forma livre: Forma 2319">
              <a:extLst>
                <a:ext uri="{FF2B5EF4-FFF2-40B4-BE49-F238E27FC236}">
                  <a16:creationId xmlns:a16="http://schemas.microsoft.com/office/drawing/2014/main" id="{6256A2B7-EF9B-4BCA-8794-425A2306210E}"/>
                </a:ext>
              </a:extLst>
            </p:cNvPr>
            <p:cNvSpPr/>
            <p:nvPr/>
          </p:nvSpPr>
          <p:spPr>
            <a:xfrm>
              <a:off x="6231119" y="4808493"/>
              <a:ext cx="28275" cy="1212"/>
            </a:xfrm>
            <a:custGeom>
              <a:avLst/>
              <a:gdLst>
                <a:gd name="connsiteX0" fmla="*/ 28276 w 28275"/>
                <a:gd name="connsiteY0" fmla="*/ 0 h 1212"/>
                <a:gd name="connsiteX1" fmla="*/ 0 w 28275"/>
                <a:gd name="connsiteY1" fmla="*/ 0 h 12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8275" h="1212">
                  <a:moveTo>
                    <a:pt x="28276" y="0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321" name="Forma livre: Forma 2320">
              <a:extLst>
                <a:ext uri="{FF2B5EF4-FFF2-40B4-BE49-F238E27FC236}">
                  <a16:creationId xmlns:a16="http://schemas.microsoft.com/office/drawing/2014/main" id="{D4ACC06E-C421-BE92-AB4D-833D46B6B4A5}"/>
                </a:ext>
              </a:extLst>
            </p:cNvPr>
            <p:cNvSpPr/>
            <p:nvPr/>
          </p:nvSpPr>
          <p:spPr>
            <a:xfrm>
              <a:off x="6619785" y="4811367"/>
              <a:ext cx="28287" cy="1212"/>
            </a:xfrm>
            <a:custGeom>
              <a:avLst/>
              <a:gdLst>
                <a:gd name="connsiteX0" fmla="*/ 28288 w 28287"/>
                <a:gd name="connsiteY0" fmla="*/ 0 h 1212"/>
                <a:gd name="connsiteX1" fmla="*/ 0 w 28287"/>
                <a:gd name="connsiteY1" fmla="*/ 0 h 12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8287" h="1212">
                  <a:moveTo>
                    <a:pt x="28288" y="0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322" name="Forma livre: Forma 2321">
              <a:extLst>
                <a:ext uri="{FF2B5EF4-FFF2-40B4-BE49-F238E27FC236}">
                  <a16:creationId xmlns:a16="http://schemas.microsoft.com/office/drawing/2014/main" id="{C924C0F1-D1BB-F5E8-6A4B-B746EED14B08}"/>
                </a:ext>
              </a:extLst>
            </p:cNvPr>
            <p:cNvSpPr/>
            <p:nvPr/>
          </p:nvSpPr>
          <p:spPr>
            <a:xfrm>
              <a:off x="6407634" y="4785541"/>
              <a:ext cx="42437" cy="40364"/>
            </a:xfrm>
            <a:custGeom>
              <a:avLst/>
              <a:gdLst>
                <a:gd name="connsiteX0" fmla="*/ 21219 w 42437"/>
                <a:gd name="connsiteY0" fmla="*/ 31464 h 40364"/>
                <a:gd name="connsiteX1" fmla="*/ 8112 w 42437"/>
                <a:gd name="connsiteY1" fmla="*/ 40364 h 40364"/>
                <a:gd name="connsiteX2" fmla="*/ 12513 w 42437"/>
                <a:gd name="connsiteY2" fmla="*/ 25147 h 40364"/>
                <a:gd name="connsiteX3" fmla="*/ 0 w 42437"/>
                <a:gd name="connsiteY3" fmla="*/ 15411 h 40364"/>
                <a:gd name="connsiteX4" fmla="*/ 15835 w 42437"/>
                <a:gd name="connsiteY4" fmla="*/ 14902 h 40364"/>
                <a:gd name="connsiteX5" fmla="*/ 21219 w 42437"/>
                <a:gd name="connsiteY5" fmla="*/ 0 h 40364"/>
                <a:gd name="connsiteX6" fmla="*/ 26602 w 42437"/>
                <a:gd name="connsiteY6" fmla="*/ 14902 h 40364"/>
                <a:gd name="connsiteX7" fmla="*/ 42438 w 42437"/>
                <a:gd name="connsiteY7" fmla="*/ 15411 h 40364"/>
                <a:gd name="connsiteX8" fmla="*/ 29925 w 42437"/>
                <a:gd name="connsiteY8" fmla="*/ 25147 h 40364"/>
                <a:gd name="connsiteX9" fmla="*/ 34326 w 42437"/>
                <a:gd name="connsiteY9" fmla="*/ 40364 h 40364"/>
                <a:gd name="connsiteX10" fmla="*/ 21219 w 42437"/>
                <a:gd name="connsiteY10" fmla="*/ 31464 h 403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42437" h="40364">
                  <a:moveTo>
                    <a:pt x="21219" y="31464"/>
                  </a:moveTo>
                  <a:lnTo>
                    <a:pt x="8112" y="40364"/>
                  </a:lnTo>
                  <a:lnTo>
                    <a:pt x="12513" y="25147"/>
                  </a:lnTo>
                  <a:lnTo>
                    <a:pt x="0" y="15411"/>
                  </a:lnTo>
                  <a:lnTo>
                    <a:pt x="15835" y="14902"/>
                  </a:lnTo>
                  <a:lnTo>
                    <a:pt x="21219" y="0"/>
                  </a:lnTo>
                  <a:lnTo>
                    <a:pt x="26602" y="14902"/>
                  </a:lnTo>
                  <a:lnTo>
                    <a:pt x="42438" y="15411"/>
                  </a:lnTo>
                  <a:lnTo>
                    <a:pt x="29925" y="25147"/>
                  </a:lnTo>
                  <a:lnTo>
                    <a:pt x="34326" y="40364"/>
                  </a:lnTo>
                  <a:lnTo>
                    <a:pt x="21219" y="31464"/>
                  </a:lnTo>
                  <a:close/>
                </a:path>
              </a:pathLst>
            </a:custGeom>
            <a:solidFill>
              <a:srgbClr val="394553"/>
            </a:solidFill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2323" name="Gráfico 16">
            <a:extLst>
              <a:ext uri="{FF2B5EF4-FFF2-40B4-BE49-F238E27FC236}">
                <a16:creationId xmlns:a16="http://schemas.microsoft.com/office/drawing/2014/main" id="{E865AB84-1465-01F8-FE57-E60DA6A9AD18}"/>
              </a:ext>
            </a:extLst>
          </p:cNvPr>
          <p:cNvGrpSpPr/>
          <p:nvPr/>
        </p:nvGrpSpPr>
        <p:grpSpPr>
          <a:xfrm>
            <a:off x="6270549" y="4070177"/>
            <a:ext cx="337905" cy="277480"/>
            <a:chOff x="6270549" y="4070177"/>
            <a:chExt cx="337905" cy="277480"/>
          </a:xfrm>
          <a:noFill/>
        </p:grpSpPr>
        <p:sp>
          <p:nvSpPr>
            <p:cNvPr id="2324" name="Forma livre: Forma 2323">
              <a:extLst>
                <a:ext uri="{FF2B5EF4-FFF2-40B4-BE49-F238E27FC236}">
                  <a16:creationId xmlns:a16="http://schemas.microsoft.com/office/drawing/2014/main" id="{759FD5C0-861C-BE39-3E7F-F23C0043C063}"/>
                </a:ext>
              </a:extLst>
            </p:cNvPr>
            <p:cNvSpPr/>
            <p:nvPr/>
          </p:nvSpPr>
          <p:spPr>
            <a:xfrm rot="-586202">
              <a:off x="6508345" y="4165949"/>
              <a:ext cx="92901" cy="92889"/>
            </a:xfrm>
            <a:custGeom>
              <a:avLst/>
              <a:gdLst>
                <a:gd name="connsiteX0" fmla="*/ 0 w 92901"/>
                <a:gd name="connsiteY0" fmla="*/ 0 h 92889"/>
                <a:gd name="connsiteX1" fmla="*/ 92902 w 92901"/>
                <a:gd name="connsiteY1" fmla="*/ 0 h 92889"/>
                <a:gd name="connsiteX2" fmla="*/ 92902 w 92901"/>
                <a:gd name="connsiteY2" fmla="*/ 92890 h 92889"/>
                <a:gd name="connsiteX3" fmla="*/ 0 w 92901"/>
                <a:gd name="connsiteY3" fmla="*/ 92890 h 928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2901" h="92889">
                  <a:moveTo>
                    <a:pt x="0" y="0"/>
                  </a:moveTo>
                  <a:lnTo>
                    <a:pt x="92902" y="0"/>
                  </a:lnTo>
                  <a:lnTo>
                    <a:pt x="92902" y="92890"/>
                  </a:lnTo>
                  <a:lnTo>
                    <a:pt x="0" y="92890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325" name="Forma livre: Forma 2324">
              <a:extLst>
                <a:ext uri="{FF2B5EF4-FFF2-40B4-BE49-F238E27FC236}">
                  <a16:creationId xmlns:a16="http://schemas.microsoft.com/office/drawing/2014/main" id="{F0BEB86C-9D34-1DFD-A3E0-90E379C112A3}"/>
                </a:ext>
              </a:extLst>
            </p:cNvPr>
            <p:cNvSpPr/>
            <p:nvPr/>
          </p:nvSpPr>
          <p:spPr>
            <a:xfrm>
              <a:off x="6451115" y="4070177"/>
              <a:ext cx="33950" cy="196922"/>
            </a:xfrm>
            <a:custGeom>
              <a:avLst/>
              <a:gdLst>
                <a:gd name="connsiteX0" fmla="*/ 33950 w 33950"/>
                <a:gd name="connsiteY0" fmla="*/ 196922 h 196922"/>
                <a:gd name="connsiteX1" fmla="*/ 0 w 33950"/>
                <a:gd name="connsiteY1" fmla="*/ 0 h 1969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3950" h="196922">
                  <a:moveTo>
                    <a:pt x="33950" y="196922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326" name="Forma livre: Forma 2325">
              <a:extLst>
                <a:ext uri="{FF2B5EF4-FFF2-40B4-BE49-F238E27FC236}">
                  <a16:creationId xmlns:a16="http://schemas.microsoft.com/office/drawing/2014/main" id="{E166CBA5-75D8-2E5C-4E4B-736A5BCA03B7}"/>
                </a:ext>
              </a:extLst>
            </p:cNvPr>
            <p:cNvSpPr/>
            <p:nvPr/>
          </p:nvSpPr>
          <p:spPr>
            <a:xfrm>
              <a:off x="6514492" y="4280498"/>
              <a:ext cx="89543" cy="14853"/>
            </a:xfrm>
            <a:custGeom>
              <a:avLst/>
              <a:gdLst>
                <a:gd name="connsiteX0" fmla="*/ 89543 w 89543"/>
                <a:gd name="connsiteY0" fmla="*/ 0 h 14853"/>
                <a:gd name="connsiteX1" fmla="*/ 0 w 89543"/>
                <a:gd name="connsiteY1" fmla="*/ 14853 h 148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9543" h="14853">
                  <a:moveTo>
                    <a:pt x="89543" y="0"/>
                  </a:moveTo>
                  <a:lnTo>
                    <a:pt x="0" y="14853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327" name="Forma livre: Forma 2326">
              <a:extLst>
                <a:ext uri="{FF2B5EF4-FFF2-40B4-BE49-F238E27FC236}">
                  <a16:creationId xmlns:a16="http://schemas.microsoft.com/office/drawing/2014/main" id="{0379232E-F428-BAAC-BE05-EEF8066DD4A5}"/>
                </a:ext>
              </a:extLst>
            </p:cNvPr>
            <p:cNvSpPr/>
            <p:nvPr/>
          </p:nvSpPr>
          <p:spPr>
            <a:xfrm>
              <a:off x="6545132" y="4166644"/>
              <a:ext cx="5165" cy="32980"/>
            </a:xfrm>
            <a:custGeom>
              <a:avLst/>
              <a:gdLst>
                <a:gd name="connsiteX0" fmla="*/ 0 w 5165"/>
                <a:gd name="connsiteY0" fmla="*/ 0 h 32980"/>
                <a:gd name="connsiteX1" fmla="*/ 5165 w 5165"/>
                <a:gd name="connsiteY1" fmla="*/ 32980 h 329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165" h="32980">
                  <a:moveTo>
                    <a:pt x="0" y="0"/>
                  </a:moveTo>
                  <a:lnTo>
                    <a:pt x="5165" y="3298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328" name="Forma livre: Forma 2327">
              <a:extLst>
                <a:ext uri="{FF2B5EF4-FFF2-40B4-BE49-F238E27FC236}">
                  <a16:creationId xmlns:a16="http://schemas.microsoft.com/office/drawing/2014/main" id="{CA9AC6C4-363B-2FB2-5199-E2717E56A7A6}"/>
                </a:ext>
              </a:extLst>
            </p:cNvPr>
            <p:cNvSpPr/>
            <p:nvPr/>
          </p:nvSpPr>
          <p:spPr>
            <a:xfrm>
              <a:off x="6270549" y="4082508"/>
              <a:ext cx="181911" cy="197310"/>
            </a:xfrm>
            <a:custGeom>
              <a:avLst/>
              <a:gdLst>
                <a:gd name="connsiteX0" fmla="*/ 0 w 181911"/>
                <a:gd name="connsiteY0" fmla="*/ 197310 h 197310"/>
                <a:gd name="connsiteX1" fmla="*/ 0 w 181911"/>
                <a:gd name="connsiteY1" fmla="*/ 147149 h 197310"/>
                <a:gd name="connsiteX2" fmla="*/ 33550 w 181911"/>
                <a:gd name="connsiteY2" fmla="*/ 110362 h 197310"/>
                <a:gd name="connsiteX3" fmla="*/ 80898 w 181911"/>
                <a:gd name="connsiteY3" fmla="*/ 110362 h 197310"/>
                <a:gd name="connsiteX4" fmla="*/ 108179 w 181911"/>
                <a:gd name="connsiteY4" fmla="*/ 137728 h 197310"/>
                <a:gd name="connsiteX5" fmla="*/ 126864 w 181911"/>
                <a:gd name="connsiteY5" fmla="*/ 172866 h 197310"/>
                <a:gd name="connsiteX6" fmla="*/ 181911 w 181911"/>
                <a:gd name="connsiteY6" fmla="*/ 172866 h 197310"/>
                <a:gd name="connsiteX7" fmla="*/ 137170 w 181911"/>
                <a:gd name="connsiteY7" fmla="*/ 15605 h 197310"/>
                <a:gd name="connsiteX8" fmla="*/ 45736 w 181911"/>
                <a:gd name="connsiteY8" fmla="*/ 3201 h 197310"/>
                <a:gd name="connsiteX9" fmla="*/ 45736 w 181911"/>
                <a:gd name="connsiteY9" fmla="*/ 88561 h 1973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81911" h="197310">
                  <a:moveTo>
                    <a:pt x="0" y="197310"/>
                  </a:moveTo>
                  <a:lnTo>
                    <a:pt x="0" y="147149"/>
                  </a:lnTo>
                  <a:cubicBezTo>
                    <a:pt x="473" y="108980"/>
                    <a:pt x="33550" y="110362"/>
                    <a:pt x="33550" y="110362"/>
                  </a:cubicBezTo>
                  <a:lnTo>
                    <a:pt x="80898" y="110362"/>
                  </a:lnTo>
                  <a:cubicBezTo>
                    <a:pt x="80898" y="110362"/>
                    <a:pt x="91035" y="114824"/>
                    <a:pt x="108179" y="137728"/>
                  </a:cubicBezTo>
                  <a:cubicBezTo>
                    <a:pt x="123420" y="158098"/>
                    <a:pt x="126864" y="172866"/>
                    <a:pt x="126864" y="172866"/>
                  </a:cubicBezTo>
                  <a:lnTo>
                    <a:pt x="181911" y="172866"/>
                  </a:lnTo>
                  <a:lnTo>
                    <a:pt x="137170" y="15605"/>
                  </a:lnTo>
                  <a:cubicBezTo>
                    <a:pt x="93702" y="-9469"/>
                    <a:pt x="45736" y="3201"/>
                    <a:pt x="45736" y="3201"/>
                  </a:cubicBezTo>
                  <a:lnTo>
                    <a:pt x="45736" y="88561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329" name="Forma livre: Forma 2328">
              <a:extLst>
                <a:ext uri="{FF2B5EF4-FFF2-40B4-BE49-F238E27FC236}">
                  <a16:creationId xmlns:a16="http://schemas.microsoft.com/office/drawing/2014/main" id="{79AAB95C-D6DD-DC72-523A-973436762B9D}"/>
                </a:ext>
              </a:extLst>
            </p:cNvPr>
            <p:cNvSpPr/>
            <p:nvPr/>
          </p:nvSpPr>
          <p:spPr>
            <a:xfrm>
              <a:off x="6337564" y="4322838"/>
              <a:ext cx="92998" cy="1212"/>
            </a:xfrm>
            <a:custGeom>
              <a:avLst/>
              <a:gdLst>
                <a:gd name="connsiteX0" fmla="*/ 0 w 92998"/>
                <a:gd name="connsiteY0" fmla="*/ 0 h 1212"/>
                <a:gd name="connsiteX1" fmla="*/ 92999 w 92998"/>
                <a:gd name="connsiteY1" fmla="*/ 0 h 12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2998" h="1212">
                  <a:moveTo>
                    <a:pt x="0" y="0"/>
                  </a:moveTo>
                  <a:lnTo>
                    <a:pt x="92999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330" name="Forma livre: Forma 2329">
              <a:extLst>
                <a:ext uri="{FF2B5EF4-FFF2-40B4-BE49-F238E27FC236}">
                  <a16:creationId xmlns:a16="http://schemas.microsoft.com/office/drawing/2014/main" id="{63A554C4-86A8-3F29-A112-351FDA9EEEED}"/>
                </a:ext>
              </a:extLst>
            </p:cNvPr>
            <p:cNvSpPr/>
            <p:nvPr/>
          </p:nvSpPr>
          <p:spPr>
            <a:xfrm>
              <a:off x="6344851" y="4127650"/>
              <a:ext cx="1212" cy="22128"/>
            </a:xfrm>
            <a:custGeom>
              <a:avLst/>
              <a:gdLst>
                <a:gd name="connsiteX0" fmla="*/ 0 w 1212"/>
                <a:gd name="connsiteY0" fmla="*/ 22128 h 22128"/>
                <a:gd name="connsiteX1" fmla="*/ 0 w 1212"/>
                <a:gd name="connsiteY1" fmla="*/ 0 h 221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12" h="22128">
                  <a:moveTo>
                    <a:pt x="0" y="22128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331" name="Forma livre: Forma 2330">
              <a:extLst>
                <a:ext uri="{FF2B5EF4-FFF2-40B4-BE49-F238E27FC236}">
                  <a16:creationId xmlns:a16="http://schemas.microsoft.com/office/drawing/2014/main" id="{F899C1CC-65EC-B2E8-EC09-9F09EAEB61AD}"/>
                </a:ext>
              </a:extLst>
            </p:cNvPr>
            <p:cNvSpPr/>
            <p:nvPr/>
          </p:nvSpPr>
          <p:spPr>
            <a:xfrm>
              <a:off x="6344851" y="4142915"/>
              <a:ext cx="1212" cy="28166"/>
            </a:xfrm>
            <a:custGeom>
              <a:avLst/>
              <a:gdLst>
                <a:gd name="connsiteX0" fmla="*/ 0 w 1212"/>
                <a:gd name="connsiteY0" fmla="*/ 28166 h 28166"/>
                <a:gd name="connsiteX1" fmla="*/ 0 w 1212"/>
                <a:gd name="connsiteY1" fmla="*/ 0 h 281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12" h="28166">
                  <a:moveTo>
                    <a:pt x="0" y="28166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332" name="Forma livre: Forma 2331">
              <a:extLst>
                <a:ext uri="{FF2B5EF4-FFF2-40B4-BE49-F238E27FC236}">
                  <a16:creationId xmlns:a16="http://schemas.microsoft.com/office/drawing/2014/main" id="{A4179AE7-BAA7-9CFE-AA1E-0FA45C95706D}"/>
                </a:ext>
              </a:extLst>
            </p:cNvPr>
            <p:cNvSpPr/>
            <p:nvPr/>
          </p:nvSpPr>
          <p:spPr>
            <a:xfrm>
              <a:off x="6431812" y="4287033"/>
              <a:ext cx="60625" cy="60625"/>
            </a:xfrm>
            <a:custGeom>
              <a:avLst/>
              <a:gdLst>
                <a:gd name="connsiteX0" fmla="*/ 60625 w 60625"/>
                <a:gd name="connsiteY0" fmla="*/ 30312 h 60625"/>
                <a:gd name="connsiteX1" fmla="*/ 30313 w 60625"/>
                <a:gd name="connsiteY1" fmla="*/ 60625 h 60625"/>
                <a:gd name="connsiteX2" fmla="*/ 0 w 60625"/>
                <a:gd name="connsiteY2" fmla="*/ 30312 h 60625"/>
                <a:gd name="connsiteX3" fmla="*/ 30313 w 60625"/>
                <a:gd name="connsiteY3" fmla="*/ 0 h 60625"/>
                <a:gd name="connsiteX4" fmla="*/ 60625 w 60625"/>
                <a:gd name="connsiteY4" fmla="*/ 30312 h 606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625" h="60625">
                  <a:moveTo>
                    <a:pt x="60625" y="30312"/>
                  </a:moveTo>
                  <a:cubicBezTo>
                    <a:pt x="60625" y="47054"/>
                    <a:pt x="47054" y="60625"/>
                    <a:pt x="30313" y="60625"/>
                  </a:cubicBezTo>
                  <a:cubicBezTo>
                    <a:pt x="13571" y="60625"/>
                    <a:pt x="0" y="47054"/>
                    <a:pt x="0" y="30312"/>
                  </a:cubicBezTo>
                  <a:cubicBezTo>
                    <a:pt x="0" y="13571"/>
                    <a:pt x="13571" y="0"/>
                    <a:pt x="30313" y="0"/>
                  </a:cubicBezTo>
                  <a:cubicBezTo>
                    <a:pt x="47054" y="0"/>
                    <a:pt x="60625" y="13571"/>
                    <a:pt x="60625" y="30312"/>
                  </a:cubicBez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333" name="Forma livre: Forma 2332">
              <a:extLst>
                <a:ext uri="{FF2B5EF4-FFF2-40B4-BE49-F238E27FC236}">
                  <a16:creationId xmlns:a16="http://schemas.microsoft.com/office/drawing/2014/main" id="{CF19B627-4183-FDA5-FE85-7CB4E2E7AA00}"/>
                </a:ext>
              </a:extLst>
            </p:cNvPr>
            <p:cNvSpPr/>
            <p:nvPr/>
          </p:nvSpPr>
          <p:spPr>
            <a:xfrm>
              <a:off x="6275629" y="4287033"/>
              <a:ext cx="60625" cy="60625"/>
            </a:xfrm>
            <a:custGeom>
              <a:avLst/>
              <a:gdLst>
                <a:gd name="connsiteX0" fmla="*/ 60625 w 60625"/>
                <a:gd name="connsiteY0" fmla="*/ 30312 h 60625"/>
                <a:gd name="connsiteX1" fmla="*/ 30313 w 60625"/>
                <a:gd name="connsiteY1" fmla="*/ 60625 h 60625"/>
                <a:gd name="connsiteX2" fmla="*/ 0 w 60625"/>
                <a:gd name="connsiteY2" fmla="*/ 30312 h 60625"/>
                <a:gd name="connsiteX3" fmla="*/ 30313 w 60625"/>
                <a:gd name="connsiteY3" fmla="*/ 0 h 60625"/>
                <a:gd name="connsiteX4" fmla="*/ 60625 w 60625"/>
                <a:gd name="connsiteY4" fmla="*/ 30312 h 606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625" h="60625">
                  <a:moveTo>
                    <a:pt x="60625" y="30312"/>
                  </a:moveTo>
                  <a:cubicBezTo>
                    <a:pt x="60625" y="47054"/>
                    <a:pt x="47054" y="60625"/>
                    <a:pt x="30313" y="60625"/>
                  </a:cubicBezTo>
                  <a:cubicBezTo>
                    <a:pt x="13571" y="60625"/>
                    <a:pt x="0" y="47054"/>
                    <a:pt x="0" y="30312"/>
                  </a:cubicBezTo>
                  <a:cubicBezTo>
                    <a:pt x="0" y="13571"/>
                    <a:pt x="13571" y="0"/>
                    <a:pt x="30313" y="0"/>
                  </a:cubicBezTo>
                  <a:cubicBezTo>
                    <a:pt x="47054" y="0"/>
                    <a:pt x="60625" y="13571"/>
                    <a:pt x="60625" y="30312"/>
                  </a:cubicBez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2335" name="Gráfico 17">
            <a:extLst>
              <a:ext uri="{FF2B5EF4-FFF2-40B4-BE49-F238E27FC236}">
                <a16:creationId xmlns:a16="http://schemas.microsoft.com/office/drawing/2014/main" id="{86F2FB21-A8FB-AF99-6815-3E84CBC03B57}"/>
              </a:ext>
            </a:extLst>
          </p:cNvPr>
          <p:cNvGrpSpPr/>
          <p:nvPr/>
        </p:nvGrpSpPr>
        <p:grpSpPr>
          <a:xfrm>
            <a:off x="8080229" y="5690289"/>
            <a:ext cx="290722" cy="312696"/>
            <a:chOff x="8080229" y="5690289"/>
            <a:chExt cx="290722" cy="312696"/>
          </a:xfrm>
          <a:noFill/>
        </p:grpSpPr>
        <p:grpSp>
          <p:nvGrpSpPr>
            <p:cNvPr id="2336" name="Gráfico 17">
              <a:extLst>
                <a:ext uri="{FF2B5EF4-FFF2-40B4-BE49-F238E27FC236}">
                  <a16:creationId xmlns:a16="http://schemas.microsoft.com/office/drawing/2014/main" id="{301EC5E2-20FE-4869-051F-6FBA0CF5C7A9}"/>
                </a:ext>
              </a:extLst>
            </p:cNvPr>
            <p:cNvGrpSpPr/>
            <p:nvPr/>
          </p:nvGrpSpPr>
          <p:grpSpPr>
            <a:xfrm>
              <a:off x="8170521" y="5788105"/>
              <a:ext cx="141658" cy="121015"/>
              <a:chOff x="8170521" y="5788105"/>
              <a:chExt cx="141658" cy="121015"/>
            </a:xfrm>
            <a:noFill/>
          </p:grpSpPr>
          <p:sp>
            <p:nvSpPr>
              <p:cNvPr id="2337" name="Forma livre: Forma 2336">
                <a:extLst>
                  <a:ext uri="{FF2B5EF4-FFF2-40B4-BE49-F238E27FC236}">
                    <a16:creationId xmlns:a16="http://schemas.microsoft.com/office/drawing/2014/main" id="{A081B6AD-58ED-3E5F-9D90-FF11E56DC592}"/>
                  </a:ext>
                </a:extLst>
              </p:cNvPr>
              <p:cNvSpPr/>
              <p:nvPr/>
            </p:nvSpPr>
            <p:spPr>
              <a:xfrm>
                <a:off x="8219496" y="5788105"/>
                <a:ext cx="43132" cy="121015"/>
              </a:xfrm>
              <a:custGeom>
                <a:avLst/>
                <a:gdLst>
                  <a:gd name="connsiteX0" fmla="*/ 7865 w 43132"/>
                  <a:gd name="connsiteY0" fmla="*/ 96879 h 121015"/>
                  <a:gd name="connsiteX1" fmla="*/ 0 w 43132"/>
                  <a:gd name="connsiteY1" fmla="*/ 60508 h 121015"/>
                  <a:gd name="connsiteX2" fmla="*/ 21566 w 43132"/>
                  <a:gd name="connsiteY2" fmla="*/ 0 h 121015"/>
                  <a:gd name="connsiteX3" fmla="*/ 43132 w 43132"/>
                  <a:gd name="connsiteY3" fmla="*/ 60508 h 121015"/>
                  <a:gd name="connsiteX4" fmla="*/ 21566 w 43132"/>
                  <a:gd name="connsiteY4" fmla="*/ 121015 h 1210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3132" h="121015">
                    <a:moveTo>
                      <a:pt x="7865" y="96879"/>
                    </a:moveTo>
                    <a:cubicBezTo>
                      <a:pt x="3602" y="86757"/>
                      <a:pt x="0" y="74149"/>
                      <a:pt x="0" y="60508"/>
                    </a:cubicBezTo>
                    <a:cubicBezTo>
                      <a:pt x="0" y="27090"/>
                      <a:pt x="21566" y="0"/>
                      <a:pt x="21566" y="0"/>
                    </a:cubicBezTo>
                    <a:cubicBezTo>
                      <a:pt x="21566" y="0"/>
                      <a:pt x="43132" y="27090"/>
                      <a:pt x="43132" y="60508"/>
                    </a:cubicBezTo>
                    <a:cubicBezTo>
                      <a:pt x="43132" y="93926"/>
                      <a:pt x="21566" y="121015"/>
                      <a:pt x="21566" y="121015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338" name="Forma livre: Forma 2337">
                <a:extLst>
                  <a:ext uri="{FF2B5EF4-FFF2-40B4-BE49-F238E27FC236}">
                    <a16:creationId xmlns:a16="http://schemas.microsoft.com/office/drawing/2014/main" id="{B9351D09-FA15-A27A-B478-F0529EB2FE5F}"/>
                  </a:ext>
                </a:extLst>
              </p:cNvPr>
              <p:cNvSpPr/>
              <p:nvPr/>
            </p:nvSpPr>
            <p:spPr>
              <a:xfrm>
                <a:off x="8170521" y="5816072"/>
                <a:ext cx="141658" cy="93036"/>
              </a:xfrm>
              <a:custGeom>
                <a:avLst/>
                <a:gdLst>
                  <a:gd name="connsiteX0" fmla="*/ 27613 w 141658"/>
                  <a:gd name="connsiteY0" fmla="*/ 12932 h 93036"/>
                  <a:gd name="connsiteX1" fmla="*/ 271 w 141658"/>
                  <a:gd name="connsiteY1" fmla="*/ 0 h 93036"/>
                  <a:gd name="connsiteX2" fmla="*/ 16109 w 141658"/>
                  <a:gd name="connsiteY2" fmla="*/ 63317 h 93036"/>
                  <a:gd name="connsiteX3" fmla="*/ 70829 w 141658"/>
                  <a:gd name="connsiteY3" fmla="*/ 93037 h 93036"/>
                  <a:gd name="connsiteX4" fmla="*/ 125549 w 141658"/>
                  <a:gd name="connsiteY4" fmla="*/ 63317 h 93036"/>
                  <a:gd name="connsiteX5" fmla="*/ 141387 w 141658"/>
                  <a:gd name="connsiteY5" fmla="*/ 0 h 93036"/>
                  <a:gd name="connsiteX6" fmla="*/ 92299 w 141658"/>
                  <a:gd name="connsiteY6" fmla="*/ 31797 h 930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41658" h="93036">
                    <a:moveTo>
                      <a:pt x="27613" y="12932"/>
                    </a:moveTo>
                    <a:cubicBezTo>
                      <a:pt x="13168" y="3650"/>
                      <a:pt x="271" y="0"/>
                      <a:pt x="271" y="0"/>
                    </a:cubicBezTo>
                    <a:cubicBezTo>
                      <a:pt x="271" y="0"/>
                      <a:pt x="-3379" y="36168"/>
                      <a:pt x="16109" y="63317"/>
                    </a:cubicBezTo>
                    <a:cubicBezTo>
                      <a:pt x="35610" y="90467"/>
                      <a:pt x="54523" y="93037"/>
                      <a:pt x="70829" y="93037"/>
                    </a:cubicBezTo>
                    <a:cubicBezTo>
                      <a:pt x="87136" y="93037"/>
                      <a:pt x="106060" y="90467"/>
                      <a:pt x="125549" y="63317"/>
                    </a:cubicBezTo>
                    <a:cubicBezTo>
                      <a:pt x="145038" y="36168"/>
                      <a:pt x="141387" y="0"/>
                      <a:pt x="141387" y="0"/>
                    </a:cubicBezTo>
                    <a:cubicBezTo>
                      <a:pt x="141387" y="0"/>
                      <a:pt x="112016" y="8322"/>
                      <a:pt x="92299" y="31797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2339" name="Forma livre: Forma 2338">
              <a:extLst>
                <a:ext uri="{FF2B5EF4-FFF2-40B4-BE49-F238E27FC236}">
                  <a16:creationId xmlns:a16="http://schemas.microsoft.com/office/drawing/2014/main" id="{035E049D-1F38-03E8-FC26-B1CAED844F0C}"/>
                </a:ext>
              </a:extLst>
            </p:cNvPr>
            <p:cNvSpPr/>
            <p:nvPr/>
          </p:nvSpPr>
          <p:spPr>
            <a:xfrm>
              <a:off x="8333295" y="5712300"/>
              <a:ext cx="37656" cy="1200"/>
            </a:xfrm>
            <a:custGeom>
              <a:avLst/>
              <a:gdLst>
                <a:gd name="connsiteX0" fmla="*/ 0 w 37656"/>
                <a:gd name="connsiteY0" fmla="*/ 0 h 1200"/>
                <a:gd name="connsiteX1" fmla="*/ 37657 w 37656"/>
                <a:gd name="connsiteY1" fmla="*/ 0 h 1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7656" h="1200">
                  <a:moveTo>
                    <a:pt x="0" y="0"/>
                  </a:moveTo>
                  <a:lnTo>
                    <a:pt x="37657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340" name="Forma livre: Forma 2339">
              <a:extLst>
                <a:ext uri="{FF2B5EF4-FFF2-40B4-BE49-F238E27FC236}">
                  <a16:creationId xmlns:a16="http://schemas.microsoft.com/office/drawing/2014/main" id="{6F87F5AE-59E1-2F7F-8434-1DBF1B9F4D6B}"/>
                </a:ext>
              </a:extLst>
            </p:cNvPr>
            <p:cNvSpPr/>
            <p:nvPr/>
          </p:nvSpPr>
          <p:spPr>
            <a:xfrm>
              <a:off x="8193403" y="5712300"/>
              <a:ext cx="117076" cy="1200"/>
            </a:xfrm>
            <a:custGeom>
              <a:avLst/>
              <a:gdLst>
                <a:gd name="connsiteX0" fmla="*/ 0 w 117076"/>
                <a:gd name="connsiteY0" fmla="*/ 0 h 1200"/>
                <a:gd name="connsiteX1" fmla="*/ 117077 w 117076"/>
                <a:gd name="connsiteY1" fmla="*/ 0 h 1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076" h="1200">
                  <a:moveTo>
                    <a:pt x="0" y="0"/>
                  </a:moveTo>
                  <a:lnTo>
                    <a:pt x="117077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341" name="Forma livre: Forma 2340">
              <a:extLst>
                <a:ext uri="{FF2B5EF4-FFF2-40B4-BE49-F238E27FC236}">
                  <a16:creationId xmlns:a16="http://schemas.microsoft.com/office/drawing/2014/main" id="{C16EFF9A-900E-24EB-8FFE-73D427281240}"/>
                </a:ext>
              </a:extLst>
            </p:cNvPr>
            <p:cNvSpPr/>
            <p:nvPr/>
          </p:nvSpPr>
          <p:spPr>
            <a:xfrm>
              <a:off x="8080229" y="5712300"/>
              <a:ext cx="88185" cy="290686"/>
            </a:xfrm>
            <a:custGeom>
              <a:avLst/>
              <a:gdLst>
                <a:gd name="connsiteX0" fmla="*/ 0 w 88185"/>
                <a:gd name="connsiteY0" fmla="*/ 290686 h 290686"/>
                <a:gd name="connsiteX1" fmla="*/ 0 w 88185"/>
                <a:gd name="connsiteY1" fmla="*/ 45750 h 290686"/>
                <a:gd name="connsiteX2" fmla="*/ 45750 w 88185"/>
                <a:gd name="connsiteY2" fmla="*/ 0 h 290686"/>
                <a:gd name="connsiteX3" fmla="*/ 88186 w 88185"/>
                <a:gd name="connsiteY3" fmla="*/ 0 h 2906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8185" h="290686">
                  <a:moveTo>
                    <a:pt x="0" y="290686"/>
                  </a:moveTo>
                  <a:lnTo>
                    <a:pt x="0" y="45750"/>
                  </a:lnTo>
                  <a:cubicBezTo>
                    <a:pt x="0" y="20581"/>
                    <a:pt x="20593" y="0"/>
                    <a:pt x="45750" y="0"/>
                  </a:cubicBezTo>
                  <a:lnTo>
                    <a:pt x="88186" y="0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342" name="Forma livre: Forma 2341">
              <a:extLst>
                <a:ext uri="{FF2B5EF4-FFF2-40B4-BE49-F238E27FC236}">
                  <a16:creationId xmlns:a16="http://schemas.microsoft.com/office/drawing/2014/main" id="{B4F3335A-C698-D4DC-A1D9-BB9368102298}"/>
                </a:ext>
              </a:extLst>
            </p:cNvPr>
            <p:cNvSpPr/>
            <p:nvPr/>
          </p:nvSpPr>
          <p:spPr>
            <a:xfrm>
              <a:off x="8125331" y="5753763"/>
              <a:ext cx="232075" cy="188823"/>
            </a:xfrm>
            <a:custGeom>
              <a:avLst/>
              <a:gdLst>
                <a:gd name="connsiteX0" fmla="*/ 0 w 232075"/>
                <a:gd name="connsiteY0" fmla="*/ 0 h 188823"/>
                <a:gd name="connsiteX1" fmla="*/ 232076 w 232075"/>
                <a:gd name="connsiteY1" fmla="*/ 0 h 188823"/>
                <a:gd name="connsiteX2" fmla="*/ 232076 w 232075"/>
                <a:gd name="connsiteY2" fmla="*/ 188823 h 188823"/>
                <a:gd name="connsiteX3" fmla="*/ 0 w 232075"/>
                <a:gd name="connsiteY3" fmla="*/ 188823 h 1888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2075" h="188823">
                  <a:moveTo>
                    <a:pt x="0" y="0"/>
                  </a:moveTo>
                  <a:lnTo>
                    <a:pt x="232076" y="0"/>
                  </a:lnTo>
                  <a:lnTo>
                    <a:pt x="232076" y="188823"/>
                  </a:lnTo>
                  <a:lnTo>
                    <a:pt x="0" y="188823"/>
                  </a:ln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2343" name="Gráfico 17">
              <a:extLst>
                <a:ext uri="{FF2B5EF4-FFF2-40B4-BE49-F238E27FC236}">
                  <a16:creationId xmlns:a16="http://schemas.microsoft.com/office/drawing/2014/main" id="{1837089F-3740-D76B-42B9-AF1728D5384A}"/>
                </a:ext>
              </a:extLst>
            </p:cNvPr>
            <p:cNvGrpSpPr/>
            <p:nvPr/>
          </p:nvGrpSpPr>
          <p:grpSpPr>
            <a:xfrm>
              <a:off x="8171297" y="5690289"/>
              <a:ext cx="140131" cy="63737"/>
              <a:chOff x="8171297" y="5690289"/>
              <a:chExt cx="140131" cy="63737"/>
            </a:xfrm>
          </p:grpSpPr>
          <p:sp>
            <p:nvSpPr>
              <p:cNvPr id="2344" name="Forma livre: Forma 2343">
                <a:extLst>
                  <a:ext uri="{FF2B5EF4-FFF2-40B4-BE49-F238E27FC236}">
                    <a16:creationId xmlns:a16="http://schemas.microsoft.com/office/drawing/2014/main" id="{D93316B3-E363-0BAC-3B7A-F59AAB656BDA}"/>
                  </a:ext>
                </a:extLst>
              </p:cNvPr>
              <p:cNvSpPr/>
              <p:nvPr/>
            </p:nvSpPr>
            <p:spPr>
              <a:xfrm>
                <a:off x="8171297" y="5690289"/>
                <a:ext cx="1200" cy="63737"/>
              </a:xfrm>
              <a:custGeom>
                <a:avLst/>
                <a:gdLst>
                  <a:gd name="connsiteX0" fmla="*/ 0 w 1200"/>
                  <a:gd name="connsiteY0" fmla="*/ 0 h 63737"/>
                  <a:gd name="connsiteX1" fmla="*/ 0 w 1200"/>
                  <a:gd name="connsiteY1" fmla="*/ 63738 h 637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00" h="63737">
                    <a:moveTo>
                      <a:pt x="0" y="0"/>
                    </a:moveTo>
                    <a:lnTo>
                      <a:pt x="0" y="63738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345" name="Forma livre: Forma 2344">
                <a:extLst>
                  <a:ext uri="{FF2B5EF4-FFF2-40B4-BE49-F238E27FC236}">
                    <a16:creationId xmlns:a16="http://schemas.microsoft.com/office/drawing/2014/main" id="{C134D01B-5F4D-41DB-3CA7-426C85DF5E7E}"/>
                  </a:ext>
                </a:extLst>
              </p:cNvPr>
              <p:cNvSpPr/>
              <p:nvPr/>
            </p:nvSpPr>
            <p:spPr>
              <a:xfrm>
                <a:off x="8311428" y="5690289"/>
                <a:ext cx="1200" cy="63737"/>
              </a:xfrm>
              <a:custGeom>
                <a:avLst/>
                <a:gdLst>
                  <a:gd name="connsiteX0" fmla="*/ 0 w 1200"/>
                  <a:gd name="connsiteY0" fmla="*/ 0 h 63737"/>
                  <a:gd name="connsiteX1" fmla="*/ 0 w 1200"/>
                  <a:gd name="connsiteY1" fmla="*/ 63738 h 637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00" h="63737">
                    <a:moveTo>
                      <a:pt x="0" y="0"/>
                    </a:moveTo>
                    <a:lnTo>
                      <a:pt x="0" y="63738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2346" name="Gráfico 17">
            <a:extLst>
              <a:ext uri="{FF2B5EF4-FFF2-40B4-BE49-F238E27FC236}">
                <a16:creationId xmlns:a16="http://schemas.microsoft.com/office/drawing/2014/main" id="{11D2344F-D848-8197-D9B1-5F0BFFCC46AC}"/>
              </a:ext>
            </a:extLst>
          </p:cNvPr>
          <p:cNvGrpSpPr/>
          <p:nvPr/>
        </p:nvGrpSpPr>
        <p:grpSpPr>
          <a:xfrm>
            <a:off x="8125769" y="5147136"/>
            <a:ext cx="199660" cy="334024"/>
            <a:chOff x="8125769" y="5147136"/>
            <a:chExt cx="199660" cy="334024"/>
          </a:xfrm>
          <a:noFill/>
        </p:grpSpPr>
        <p:grpSp>
          <p:nvGrpSpPr>
            <p:cNvPr id="2347" name="Gráfico 17">
              <a:extLst>
                <a:ext uri="{FF2B5EF4-FFF2-40B4-BE49-F238E27FC236}">
                  <a16:creationId xmlns:a16="http://schemas.microsoft.com/office/drawing/2014/main" id="{4FC92D3D-FF04-2F89-77E3-77AAECC0BCFC}"/>
                </a:ext>
              </a:extLst>
            </p:cNvPr>
            <p:cNvGrpSpPr/>
            <p:nvPr/>
          </p:nvGrpSpPr>
          <p:grpSpPr>
            <a:xfrm>
              <a:off x="8125769" y="5147136"/>
              <a:ext cx="199660" cy="334024"/>
              <a:chOff x="8125769" y="5147136"/>
              <a:chExt cx="199660" cy="334024"/>
            </a:xfrm>
            <a:noFill/>
          </p:grpSpPr>
          <p:sp>
            <p:nvSpPr>
              <p:cNvPr id="2348" name="Forma livre: Forma 2347">
                <a:extLst>
                  <a:ext uri="{FF2B5EF4-FFF2-40B4-BE49-F238E27FC236}">
                    <a16:creationId xmlns:a16="http://schemas.microsoft.com/office/drawing/2014/main" id="{F18207B5-1669-A04D-132F-BE088392C1DA}"/>
                  </a:ext>
                </a:extLst>
              </p:cNvPr>
              <p:cNvSpPr/>
              <p:nvPr/>
            </p:nvSpPr>
            <p:spPr>
              <a:xfrm>
                <a:off x="8139572" y="5406388"/>
                <a:ext cx="98680" cy="1200"/>
              </a:xfrm>
              <a:custGeom>
                <a:avLst/>
                <a:gdLst>
                  <a:gd name="connsiteX0" fmla="*/ 98681 w 98680"/>
                  <a:gd name="connsiteY0" fmla="*/ 0 h 1200"/>
                  <a:gd name="connsiteX1" fmla="*/ 0 w 98680"/>
                  <a:gd name="connsiteY1" fmla="*/ 0 h 12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8680" h="1200">
                    <a:moveTo>
                      <a:pt x="98681" y="0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349" name="Forma livre: Forma 2348">
                <a:extLst>
                  <a:ext uri="{FF2B5EF4-FFF2-40B4-BE49-F238E27FC236}">
                    <a16:creationId xmlns:a16="http://schemas.microsoft.com/office/drawing/2014/main" id="{F89B2852-BEAE-1DB3-BB78-C0CE15E749A2}"/>
                  </a:ext>
                </a:extLst>
              </p:cNvPr>
              <p:cNvSpPr/>
              <p:nvPr/>
            </p:nvSpPr>
            <p:spPr>
              <a:xfrm>
                <a:off x="8125769" y="5222965"/>
                <a:ext cx="175056" cy="258195"/>
              </a:xfrm>
              <a:custGeom>
                <a:avLst/>
                <a:gdLst>
                  <a:gd name="connsiteX0" fmla="*/ 175057 w 175056"/>
                  <a:gd name="connsiteY0" fmla="*/ 258195 h 258195"/>
                  <a:gd name="connsiteX1" fmla="*/ 128526 w 175056"/>
                  <a:gd name="connsiteY1" fmla="*/ 160944 h 258195"/>
                  <a:gd name="connsiteX2" fmla="*/ 55098 w 175056"/>
                  <a:gd name="connsiteY2" fmla="*/ 160848 h 258195"/>
                  <a:gd name="connsiteX3" fmla="*/ 17682 w 175056"/>
                  <a:gd name="connsiteY3" fmla="*/ 124164 h 258195"/>
                  <a:gd name="connsiteX4" fmla="*/ 714 w 175056"/>
                  <a:gd name="connsiteY4" fmla="*/ 33348 h 258195"/>
                  <a:gd name="connsiteX5" fmla="*/ 34264 w 175056"/>
                  <a:gd name="connsiteY5" fmla="*/ 3377 h 258195"/>
                  <a:gd name="connsiteX6" fmla="*/ 69832 w 175056"/>
                  <a:gd name="connsiteY6" fmla="*/ 88849 h 258195"/>
                  <a:gd name="connsiteX7" fmla="*/ 126185 w 175056"/>
                  <a:gd name="connsiteY7" fmla="*/ 98695 h 258195"/>
                  <a:gd name="connsiteX8" fmla="*/ 136511 w 175056"/>
                  <a:gd name="connsiteY8" fmla="*/ 122074 h 2581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75056" h="258195">
                    <a:moveTo>
                      <a:pt x="175057" y="258195"/>
                    </a:moveTo>
                    <a:lnTo>
                      <a:pt x="128526" y="160944"/>
                    </a:lnTo>
                    <a:lnTo>
                      <a:pt x="55098" y="160848"/>
                    </a:lnTo>
                    <a:cubicBezTo>
                      <a:pt x="18414" y="160848"/>
                      <a:pt x="20864" y="137564"/>
                      <a:pt x="17682" y="124164"/>
                    </a:cubicBezTo>
                    <a:cubicBezTo>
                      <a:pt x="11245" y="97134"/>
                      <a:pt x="2684" y="47277"/>
                      <a:pt x="714" y="33348"/>
                    </a:cubicBezTo>
                    <a:cubicBezTo>
                      <a:pt x="-5373" y="-9652"/>
                      <a:pt x="29305" y="-82"/>
                      <a:pt x="34264" y="3377"/>
                    </a:cubicBezTo>
                    <a:cubicBezTo>
                      <a:pt x="62699" y="23165"/>
                      <a:pt x="53417" y="48430"/>
                      <a:pt x="69832" y="88849"/>
                    </a:cubicBezTo>
                    <a:lnTo>
                      <a:pt x="126185" y="98695"/>
                    </a:lnTo>
                    <a:cubicBezTo>
                      <a:pt x="126185" y="98695"/>
                      <a:pt x="141435" y="101277"/>
                      <a:pt x="136511" y="122074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350" name="Forma livre: Forma 2349">
                <a:extLst>
                  <a:ext uri="{FF2B5EF4-FFF2-40B4-BE49-F238E27FC236}">
                    <a16:creationId xmlns:a16="http://schemas.microsoft.com/office/drawing/2014/main" id="{C73D0F37-E71A-6074-0A7E-C0243A5AE816}"/>
                  </a:ext>
                </a:extLst>
              </p:cNvPr>
              <p:cNvSpPr/>
              <p:nvPr/>
            </p:nvSpPr>
            <p:spPr>
              <a:xfrm>
                <a:off x="8135124" y="5147136"/>
                <a:ext cx="53788" cy="53794"/>
              </a:xfrm>
              <a:custGeom>
                <a:avLst/>
                <a:gdLst>
                  <a:gd name="connsiteX0" fmla="*/ 40111 w 53788"/>
                  <a:gd name="connsiteY0" fmla="*/ 3485 h 53794"/>
                  <a:gd name="connsiteX1" fmla="*/ 50318 w 53788"/>
                  <a:gd name="connsiteY1" fmla="*/ 40121 h 53794"/>
                  <a:gd name="connsiteX2" fmla="*/ 13670 w 53788"/>
                  <a:gd name="connsiteY2" fmla="*/ 50315 h 53794"/>
                  <a:gd name="connsiteX3" fmla="*/ 3487 w 53788"/>
                  <a:gd name="connsiteY3" fmla="*/ 13667 h 53794"/>
                  <a:gd name="connsiteX4" fmla="*/ 40123 w 53788"/>
                  <a:gd name="connsiteY4" fmla="*/ 3485 h 537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3788" h="53794">
                    <a:moveTo>
                      <a:pt x="40111" y="3485"/>
                    </a:moveTo>
                    <a:cubicBezTo>
                      <a:pt x="53044" y="10786"/>
                      <a:pt x="57607" y="27200"/>
                      <a:pt x="50318" y="40121"/>
                    </a:cubicBezTo>
                    <a:cubicBezTo>
                      <a:pt x="43005" y="53053"/>
                      <a:pt x="26602" y="57616"/>
                      <a:pt x="13670" y="50315"/>
                    </a:cubicBezTo>
                    <a:cubicBezTo>
                      <a:pt x="737" y="43015"/>
                      <a:pt x="-3825" y="26600"/>
                      <a:pt x="3487" y="13667"/>
                    </a:cubicBezTo>
                    <a:cubicBezTo>
                      <a:pt x="10788" y="747"/>
                      <a:pt x="27203" y="-3828"/>
                      <a:pt x="40123" y="3485"/>
                    </a:cubicBezTo>
                    <a:close/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351" name="Forma livre: Forma 2350">
                <a:extLst>
                  <a:ext uri="{FF2B5EF4-FFF2-40B4-BE49-F238E27FC236}">
                    <a16:creationId xmlns:a16="http://schemas.microsoft.com/office/drawing/2014/main" id="{896C4B7C-7045-A200-E306-577BFF629B92}"/>
                  </a:ext>
                </a:extLst>
              </p:cNvPr>
              <p:cNvSpPr/>
              <p:nvPr/>
            </p:nvSpPr>
            <p:spPr>
              <a:xfrm>
                <a:off x="8155650" y="5283859"/>
                <a:ext cx="169779" cy="189916"/>
              </a:xfrm>
              <a:custGeom>
                <a:avLst/>
                <a:gdLst>
                  <a:gd name="connsiteX0" fmla="*/ 169779 w 169779"/>
                  <a:gd name="connsiteY0" fmla="*/ 189916 h 189916"/>
                  <a:gd name="connsiteX1" fmla="*/ 122384 w 169779"/>
                  <a:gd name="connsiteY1" fmla="*/ 73476 h 189916"/>
                  <a:gd name="connsiteX2" fmla="*/ 103268 w 169779"/>
                  <a:gd name="connsiteY2" fmla="*/ 61120 h 189916"/>
                  <a:gd name="connsiteX3" fmla="*/ 18780 w 169779"/>
                  <a:gd name="connsiteY3" fmla="*/ 53543 h 189916"/>
                  <a:gd name="connsiteX4" fmla="*/ 0 w 169779"/>
                  <a:gd name="connsiteY4" fmla="*/ 0 h 1899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9779" h="189916">
                    <a:moveTo>
                      <a:pt x="169779" y="189916"/>
                    </a:moveTo>
                    <a:lnTo>
                      <a:pt x="122384" y="73476"/>
                    </a:lnTo>
                    <a:cubicBezTo>
                      <a:pt x="117713" y="61912"/>
                      <a:pt x="103268" y="61120"/>
                      <a:pt x="103268" y="61120"/>
                    </a:cubicBezTo>
                    <a:lnTo>
                      <a:pt x="18780" y="53543"/>
                    </a:lnTo>
                    <a:lnTo>
                      <a:pt x="0" y="0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2352" name="Forma livre: Forma 2351">
              <a:extLst>
                <a:ext uri="{FF2B5EF4-FFF2-40B4-BE49-F238E27FC236}">
                  <a16:creationId xmlns:a16="http://schemas.microsoft.com/office/drawing/2014/main" id="{3F6754D4-E777-B945-53B2-98F0CF2AD3B3}"/>
                </a:ext>
              </a:extLst>
            </p:cNvPr>
            <p:cNvSpPr/>
            <p:nvPr/>
          </p:nvSpPr>
          <p:spPr>
            <a:xfrm>
              <a:off x="8233515" y="5161199"/>
              <a:ext cx="14232" cy="112081"/>
            </a:xfrm>
            <a:custGeom>
              <a:avLst/>
              <a:gdLst>
                <a:gd name="connsiteX0" fmla="*/ 6407 w 14232"/>
                <a:gd name="connsiteY0" fmla="*/ 112081 h 112081"/>
                <a:gd name="connsiteX1" fmla="*/ 13864 w 14232"/>
                <a:gd name="connsiteY1" fmla="*/ 76994 h 112081"/>
                <a:gd name="connsiteX2" fmla="*/ 6983 w 14232"/>
                <a:gd name="connsiteY2" fmla="*/ 59847 h 112081"/>
                <a:gd name="connsiteX3" fmla="*/ 487 w 14232"/>
                <a:gd name="connsiteY3" fmla="*/ 42796 h 112081"/>
                <a:gd name="connsiteX4" fmla="*/ 10934 w 14232"/>
                <a:gd name="connsiteY4" fmla="*/ 0 h 1120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232" h="112081">
                  <a:moveTo>
                    <a:pt x="6407" y="112081"/>
                  </a:moveTo>
                  <a:lnTo>
                    <a:pt x="13864" y="76994"/>
                  </a:lnTo>
                  <a:cubicBezTo>
                    <a:pt x="15341" y="69958"/>
                    <a:pt x="12255" y="62237"/>
                    <a:pt x="6983" y="59847"/>
                  </a:cubicBezTo>
                  <a:cubicBezTo>
                    <a:pt x="1700" y="57458"/>
                    <a:pt x="-1218" y="49785"/>
                    <a:pt x="487" y="42796"/>
                  </a:cubicBezTo>
                  <a:lnTo>
                    <a:pt x="10934" y="0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353" name="Forma livre: Forma 2352">
              <a:extLst>
                <a:ext uri="{FF2B5EF4-FFF2-40B4-BE49-F238E27FC236}">
                  <a16:creationId xmlns:a16="http://schemas.microsoft.com/office/drawing/2014/main" id="{0F0C1D07-A21B-5090-93FB-98BF96CDB65A}"/>
                </a:ext>
              </a:extLst>
            </p:cNvPr>
            <p:cNvSpPr/>
            <p:nvPr/>
          </p:nvSpPr>
          <p:spPr>
            <a:xfrm>
              <a:off x="8285695" y="5161199"/>
              <a:ext cx="14244" cy="112081"/>
            </a:xfrm>
            <a:custGeom>
              <a:avLst/>
              <a:gdLst>
                <a:gd name="connsiteX0" fmla="*/ 6425 w 14244"/>
                <a:gd name="connsiteY0" fmla="*/ 112081 h 112081"/>
                <a:gd name="connsiteX1" fmla="*/ 13870 w 14244"/>
                <a:gd name="connsiteY1" fmla="*/ 76994 h 112081"/>
                <a:gd name="connsiteX2" fmla="*/ 6989 w 14244"/>
                <a:gd name="connsiteY2" fmla="*/ 59847 h 112081"/>
                <a:gd name="connsiteX3" fmla="*/ 481 w 14244"/>
                <a:gd name="connsiteY3" fmla="*/ 42796 h 112081"/>
                <a:gd name="connsiteX4" fmla="*/ 10928 w 14244"/>
                <a:gd name="connsiteY4" fmla="*/ 0 h 1120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244" h="112081">
                  <a:moveTo>
                    <a:pt x="6425" y="112081"/>
                  </a:moveTo>
                  <a:lnTo>
                    <a:pt x="13870" y="76994"/>
                  </a:lnTo>
                  <a:cubicBezTo>
                    <a:pt x="15359" y="69958"/>
                    <a:pt x="12273" y="62237"/>
                    <a:pt x="6989" y="59847"/>
                  </a:cubicBezTo>
                  <a:cubicBezTo>
                    <a:pt x="1706" y="57458"/>
                    <a:pt x="-1212" y="49785"/>
                    <a:pt x="481" y="42796"/>
                  </a:cubicBezTo>
                  <a:lnTo>
                    <a:pt x="10928" y="0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2354" name="Gráfico 17">
            <a:extLst>
              <a:ext uri="{FF2B5EF4-FFF2-40B4-BE49-F238E27FC236}">
                <a16:creationId xmlns:a16="http://schemas.microsoft.com/office/drawing/2014/main" id="{5193C10B-CF29-916B-7BA1-CBA5B6C15181}"/>
              </a:ext>
            </a:extLst>
          </p:cNvPr>
          <p:cNvGrpSpPr/>
          <p:nvPr/>
        </p:nvGrpSpPr>
        <p:grpSpPr>
          <a:xfrm>
            <a:off x="8095203" y="3554812"/>
            <a:ext cx="260774" cy="323611"/>
            <a:chOff x="8095203" y="3554812"/>
            <a:chExt cx="260774" cy="323611"/>
          </a:xfrm>
          <a:noFill/>
        </p:grpSpPr>
        <p:sp>
          <p:nvSpPr>
            <p:cNvPr id="2355" name="Forma livre: Forma 2354">
              <a:extLst>
                <a:ext uri="{FF2B5EF4-FFF2-40B4-BE49-F238E27FC236}">
                  <a16:creationId xmlns:a16="http://schemas.microsoft.com/office/drawing/2014/main" id="{4035F10F-35FC-F31B-277F-160215819F7C}"/>
                </a:ext>
              </a:extLst>
            </p:cNvPr>
            <p:cNvSpPr/>
            <p:nvPr/>
          </p:nvSpPr>
          <p:spPr>
            <a:xfrm>
              <a:off x="8199083" y="3878424"/>
              <a:ext cx="62825" cy="1200"/>
            </a:xfrm>
            <a:custGeom>
              <a:avLst/>
              <a:gdLst>
                <a:gd name="connsiteX0" fmla="*/ 0 w 62825"/>
                <a:gd name="connsiteY0" fmla="*/ 0 h 1200"/>
                <a:gd name="connsiteX1" fmla="*/ 62825 w 62825"/>
                <a:gd name="connsiteY1" fmla="*/ 0 h 1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825" h="1200">
                  <a:moveTo>
                    <a:pt x="0" y="0"/>
                  </a:moveTo>
                  <a:lnTo>
                    <a:pt x="62825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2356" name="Gráfico 17">
              <a:extLst>
                <a:ext uri="{FF2B5EF4-FFF2-40B4-BE49-F238E27FC236}">
                  <a16:creationId xmlns:a16="http://schemas.microsoft.com/office/drawing/2014/main" id="{83628CD5-6B6F-0607-6DD6-AA6464E3D9D1}"/>
                </a:ext>
              </a:extLst>
            </p:cNvPr>
            <p:cNvGrpSpPr/>
            <p:nvPr/>
          </p:nvGrpSpPr>
          <p:grpSpPr>
            <a:xfrm>
              <a:off x="8095203" y="3554812"/>
              <a:ext cx="260774" cy="323611"/>
              <a:chOff x="8095203" y="3554812"/>
              <a:chExt cx="260774" cy="323611"/>
            </a:xfrm>
            <a:noFill/>
          </p:grpSpPr>
          <p:sp>
            <p:nvSpPr>
              <p:cNvPr id="2357" name="Forma livre: Forma 2356">
                <a:extLst>
                  <a:ext uri="{FF2B5EF4-FFF2-40B4-BE49-F238E27FC236}">
                    <a16:creationId xmlns:a16="http://schemas.microsoft.com/office/drawing/2014/main" id="{48358CFE-4606-45DE-2CB6-08261899A33A}"/>
                  </a:ext>
                </a:extLst>
              </p:cNvPr>
              <p:cNvSpPr/>
              <p:nvPr/>
            </p:nvSpPr>
            <p:spPr>
              <a:xfrm>
                <a:off x="8210382" y="3554812"/>
                <a:ext cx="1200" cy="85099"/>
              </a:xfrm>
              <a:custGeom>
                <a:avLst/>
                <a:gdLst>
                  <a:gd name="connsiteX0" fmla="*/ 0 w 1200"/>
                  <a:gd name="connsiteY0" fmla="*/ 85100 h 85099"/>
                  <a:gd name="connsiteX1" fmla="*/ 0 w 1200"/>
                  <a:gd name="connsiteY1" fmla="*/ 0 h 850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00" h="85099">
                    <a:moveTo>
                      <a:pt x="0" y="85100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358" name="Forma livre: Forma 2357">
                <a:extLst>
                  <a:ext uri="{FF2B5EF4-FFF2-40B4-BE49-F238E27FC236}">
                    <a16:creationId xmlns:a16="http://schemas.microsoft.com/office/drawing/2014/main" id="{E18981A3-887F-8468-148B-1F81DF871AE6}"/>
                  </a:ext>
                </a:extLst>
              </p:cNvPr>
              <p:cNvSpPr/>
              <p:nvPr/>
            </p:nvSpPr>
            <p:spPr>
              <a:xfrm>
                <a:off x="8210382" y="3662331"/>
                <a:ext cx="1200" cy="85243"/>
              </a:xfrm>
              <a:custGeom>
                <a:avLst/>
                <a:gdLst>
                  <a:gd name="connsiteX0" fmla="*/ 0 w 1200"/>
                  <a:gd name="connsiteY0" fmla="*/ 85244 h 85243"/>
                  <a:gd name="connsiteX1" fmla="*/ 0 w 1200"/>
                  <a:gd name="connsiteY1" fmla="*/ 0 h 852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00" h="85243">
                    <a:moveTo>
                      <a:pt x="0" y="85244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359" name="Forma livre: Forma 2358">
                <a:extLst>
                  <a:ext uri="{FF2B5EF4-FFF2-40B4-BE49-F238E27FC236}">
                    <a16:creationId xmlns:a16="http://schemas.microsoft.com/office/drawing/2014/main" id="{144827EE-43D5-A8B5-3155-C43080BC775E}"/>
                  </a:ext>
                </a:extLst>
              </p:cNvPr>
              <p:cNvSpPr/>
              <p:nvPr/>
            </p:nvSpPr>
            <p:spPr>
              <a:xfrm>
                <a:off x="8210382" y="3770798"/>
                <a:ext cx="1200" cy="85051"/>
              </a:xfrm>
              <a:custGeom>
                <a:avLst/>
                <a:gdLst>
                  <a:gd name="connsiteX0" fmla="*/ 0 w 1200"/>
                  <a:gd name="connsiteY0" fmla="*/ 85052 h 85051"/>
                  <a:gd name="connsiteX1" fmla="*/ 0 w 1200"/>
                  <a:gd name="connsiteY1" fmla="*/ 0 h 850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00" h="85051">
                    <a:moveTo>
                      <a:pt x="0" y="85052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360" name="Forma livre: Forma 2359">
                <a:extLst>
                  <a:ext uri="{FF2B5EF4-FFF2-40B4-BE49-F238E27FC236}">
                    <a16:creationId xmlns:a16="http://schemas.microsoft.com/office/drawing/2014/main" id="{23091753-733D-A29C-AA0A-4943306B8DC7}"/>
                  </a:ext>
                </a:extLst>
              </p:cNvPr>
              <p:cNvSpPr/>
              <p:nvPr/>
            </p:nvSpPr>
            <p:spPr>
              <a:xfrm>
                <a:off x="8250608" y="3555533"/>
                <a:ext cx="1200" cy="322891"/>
              </a:xfrm>
              <a:custGeom>
                <a:avLst/>
                <a:gdLst>
                  <a:gd name="connsiteX0" fmla="*/ 0 w 1200"/>
                  <a:gd name="connsiteY0" fmla="*/ 0 h 322891"/>
                  <a:gd name="connsiteX1" fmla="*/ 0 w 1200"/>
                  <a:gd name="connsiteY1" fmla="*/ 322891 h 3228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00" h="322891">
                    <a:moveTo>
                      <a:pt x="0" y="0"/>
                    </a:moveTo>
                    <a:lnTo>
                      <a:pt x="0" y="322891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361" name="Forma livre: Forma 2360">
                <a:extLst>
                  <a:ext uri="{FF2B5EF4-FFF2-40B4-BE49-F238E27FC236}">
                    <a16:creationId xmlns:a16="http://schemas.microsoft.com/office/drawing/2014/main" id="{6D73B788-72A0-7DA0-FFD2-6A6325D262C4}"/>
                  </a:ext>
                </a:extLst>
              </p:cNvPr>
              <p:cNvSpPr/>
              <p:nvPr/>
            </p:nvSpPr>
            <p:spPr>
              <a:xfrm>
                <a:off x="8199083" y="3554860"/>
                <a:ext cx="62825" cy="1200"/>
              </a:xfrm>
              <a:custGeom>
                <a:avLst/>
                <a:gdLst>
                  <a:gd name="connsiteX0" fmla="*/ 0 w 62825"/>
                  <a:gd name="connsiteY0" fmla="*/ 0 h 1200"/>
                  <a:gd name="connsiteX1" fmla="*/ 62825 w 62825"/>
                  <a:gd name="connsiteY1" fmla="*/ 0 h 12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2825" h="1200">
                    <a:moveTo>
                      <a:pt x="0" y="0"/>
                    </a:moveTo>
                    <a:lnTo>
                      <a:pt x="62825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362" name="Forma livre: Forma 2361">
                <a:extLst>
                  <a:ext uri="{FF2B5EF4-FFF2-40B4-BE49-F238E27FC236}">
                    <a16:creationId xmlns:a16="http://schemas.microsoft.com/office/drawing/2014/main" id="{BF702755-B6C8-9265-0634-C142CBA599C7}"/>
                  </a:ext>
                </a:extLst>
              </p:cNvPr>
              <p:cNvSpPr/>
              <p:nvPr/>
            </p:nvSpPr>
            <p:spPr>
              <a:xfrm>
                <a:off x="8199083" y="3662715"/>
                <a:ext cx="62825" cy="1200"/>
              </a:xfrm>
              <a:custGeom>
                <a:avLst/>
                <a:gdLst>
                  <a:gd name="connsiteX0" fmla="*/ 0 w 62825"/>
                  <a:gd name="connsiteY0" fmla="*/ 0 h 1200"/>
                  <a:gd name="connsiteX1" fmla="*/ 62825 w 62825"/>
                  <a:gd name="connsiteY1" fmla="*/ 0 h 12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2825" h="1200">
                    <a:moveTo>
                      <a:pt x="0" y="0"/>
                    </a:moveTo>
                    <a:lnTo>
                      <a:pt x="62825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363" name="Forma livre: Forma 2362">
                <a:extLst>
                  <a:ext uri="{FF2B5EF4-FFF2-40B4-BE49-F238E27FC236}">
                    <a16:creationId xmlns:a16="http://schemas.microsoft.com/office/drawing/2014/main" id="{FC5E7D46-D8DA-E7C9-8E1C-24D8544439DE}"/>
                  </a:ext>
                </a:extLst>
              </p:cNvPr>
              <p:cNvSpPr/>
              <p:nvPr/>
            </p:nvSpPr>
            <p:spPr>
              <a:xfrm>
                <a:off x="8199083" y="3770570"/>
                <a:ext cx="62825" cy="1200"/>
              </a:xfrm>
              <a:custGeom>
                <a:avLst/>
                <a:gdLst>
                  <a:gd name="connsiteX0" fmla="*/ 0 w 62825"/>
                  <a:gd name="connsiteY0" fmla="*/ 0 h 1200"/>
                  <a:gd name="connsiteX1" fmla="*/ 62825 w 62825"/>
                  <a:gd name="connsiteY1" fmla="*/ 0 h 12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2825" h="1200">
                    <a:moveTo>
                      <a:pt x="0" y="0"/>
                    </a:moveTo>
                    <a:lnTo>
                      <a:pt x="62825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364" name="Forma livre: Forma 2363">
                <a:extLst>
                  <a:ext uri="{FF2B5EF4-FFF2-40B4-BE49-F238E27FC236}">
                    <a16:creationId xmlns:a16="http://schemas.microsoft.com/office/drawing/2014/main" id="{CA1A8621-AF00-0613-E1CD-B04E5F6C09ED}"/>
                  </a:ext>
                </a:extLst>
              </p:cNvPr>
              <p:cNvSpPr/>
              <p:nvPr/>
            </p:nvSpPr>
            <p:spPr>
              <a:xfrm>
                <a:off x="8095203" y="3577789"/>
                <a:ext cx="112171" cy="46302"/>
              </a:xfrm>
              <a:custGeom>
                <a:avLst/>
                <a:gdLst>
                  <a:gd name="connsiteX0" fmla="*/ 111961 w 112171"/>
                  <a:gd name="connsiteY0" fmla="*/ 39440 h 46302"/>
                  <a:gd name="connsiteX1" fmla="*/ 47419 w 112171"/>
                  <a:gd name="connsiteY1" fmla="*/ 34997 h 46302"/>
                  <a:gd name="connsiteX2" fmla="*/ 0 w 112171"/>
                  <a:gd name="connsiteY2" fmla="*/ 1387 h 46302"/>
                  <a:gd name="connsiteX3" fmla="*/ 57998 w 112171"/>
                  <a:gd name="connsiteY3" fmla="*/ 3765 h 46302"/>
                  <a:gd name="connsiteX4" fmla="*/ 111949 w 112171"/>
                  <a:gd name="connsiteY4" fmla="*/ 39440 h 463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12171" h="46302">
                    <a:moveTo>
                      <a:pt x="111961" y="39440"/>
                    </a:moveTo>
                    <a:cubicBezTo>
                      <a:pt x="108575" y="50307"/>
                      <a:pt x="73668" y="47857"/>
                      <a:pt x="47419" y="34997"/>
                    </a:cubicBezTo>
                    <a:cubicBezTo>
                      <a:pt x="13557" y="18390"/>
                      <a:pt x="0" y="1387"/>
                      <a:pt x="0" y="1387"/>
                    </a:cubicBezTo>
                    <a:cubicBezTo>
                      <a:pt x="0" y="1387"/>
                      <a:pt x="24280" y="-2972"/>
                      <a:pt x="57998" y="3765"/>
                    </a:cubicBezTo>
                    <a:cubicBezTo>
                      <a:pt x="86661" y="9504"/>
                      <a:pt x="114975" y="29786"/>
                      <a:pt x="111949" y="39440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365" name="Forma livre: Forma 2364">
                <a:extLst>
                  <a:ext uri="{FF2B5EF4-FFF2-40B4-BE49-F238E27FC236}">
                    <a16:creationId xmlns:a16="http://schemas.microsoft.com/office/drawing/2014/main" id="{A53CBBB5-45B2-C37B-6A0A-9A13834BEA30}"/>
                  </a:ext>
                </a:extLst>
              </p:cNvPr>
              <p:cNvSpPr/>
              <p:nvPr/>
            </p:nvSpPr>
            <p:spPr>
              <a:xfrm>
                <a:off x="8303455" y="3672669"/>
                <a:ext cx="51789" cy="40490"/>
              </a:xfrm>
              <a:custGeom>
                <a:avLst/>
                <a:gdLst>
                  <a:gd name="connsiteX0" fmla="*/ 0 w 51789"/>
                  <a:gd name="connsiteY0" fmla="*/ 18360 h 40490"/>
                  <a:gd name="connsiteX1" fmla="*/ 4695 w 51789"/>
                  <a:gd name="connsiteY1" fmla="*/ 15706 h 40490"/>
                  <a:gd name="connsiteX2" fmla="*/ 51790 w 51789"/>
                  <a:gd name="connsiteY2" fmla="*/ 0 h 40490"/>
                  <a:gd name="connsiteX3" fmla="*/ 19417 w 51789"/>
                  <a:gd name="connsiteY3" fmla="*/ 40490 h 404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1789" h="40490">
                    <a:moveTo>
                      <a:pt x="0" y="18360"/>
                    </a:moveTo>
                    <a:cubicBezTo>
                      <a:pt x="1549" y="17423"/>
                      <a:pt x="3110" y="16535"/>
                      <a:pt x="4695" y="15706"/>
                    </a:cubicBezTo>
                    <a:cubicBezTo>
                      <a:pt x="33226" y="756"/>
                      <a:pt x="51790" y="0"/>
                      <a:pt x="51790" y="0"/>
                    </a:cubicBezTo>
                    <a:cubicBezTo>
                      <a:pt x="51790" y="0"/>
                      <a:pt x="41079" y="20666"/>
                      <a:pt x="19417" y="40490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366" name="Forma livre: Forma 2365">
                <a:extLst>
                  <a:ext uri="{FF2B5EF4-FFF2-40B4-BE49-F238E27FC236}">
                    <a16:creationId xmlns:a16="http://schemas.microsoft.com/office/drawing/2014/main" id="{8F071FA0-A9A3-6DB7-C7E3-EAD325441C8A}"/>
                  </a:ext>
                </a:extLst>
              </p:cNvPr>
              <p:cNvSpPr/>
              <p:nvPr/>
            </p:nvSpPr>
            <p:spPr>
              <a:xfrm>
                <a:off x="8253404" y="3713514"/>
                <a:ext cx="102573" cy="31271"/>
              </a:xfrm>
              <a:custGeom>
                <a:avLst/>
                <a:gdLst>
                  <a:gd name="connsiteX0" fmla="*/ 50 w 102573"/>
                  <a:gd name="connsiteY0" fmla="*/ 20672 h 31271"/>
                  <a:gd name="connsiteX1" fmla="*/ 52596 w 102573"/>
                  <a:gd name="connsiteY1" fmla="*/ 6 h 31271"/>
                  <a:gd name="connsiteX2" fmla="*/ 102573 w 102573"/>
                  <a:gd name="connsiteY2" fmla="*/ 8748 h 31271"/>
                  <a:gd name="connsiteX3" fmla="*/ 55947 w 102573"/>
                  <a:gd name="connsiteY3" fmla="*/ 28585 h 31271"/>
                  <a:gd name="connsiteX4" fmla="*/ 50 w 102573"/>
                  <a:gd name="connsiteY4" fmla="*/ 20672 h 312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02573" h="31271">
                    <a:moveTo>
                      <a:pt x="50" y="20672"/>
                    </a:moveTo>
                    <a:cubicBezTo>
                      <a:pt x="-1355" y="10825"/>
                      <a:pt x="27092" y="-306"/>
                      <a:pt x="52596" y="6"/>
                    </a:cubicBezTo>
                    <a:cubicBezTo>
                      <a:pt x="85522" y="415"/>
                      <a:pt x="102573" y="8748"/>
                      <a:pt x="102573" y="8748"/>
                    </a:cubicBezTo>
                    <a:cubicBezTo>
                      <a:pt x="102573" y="8748"/>
                      <a:pt x="85054" y="21284"/>
                      <a:pt x="55947" y="28585"/>
                    </a:cubicBezTo>
                    <a:cubicBezTo>
                      <a:pt x="31198" y="34805"/>
                      <a:pt x="1287" y="29414"/>
                      <a:pt x="50" y="20672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367" name="Forma livre: Forma 2366">
                <a:extLst>
                  <a:ext uri="{FF2B5EF4-FFF2-40B4-BE49-F238E27FC236}">
                    <a16:creationId xmlns:a16="http://schemas.microsoft.com/office/drawing/2014/main" id="{A7C4C486-0475-AFFC-3601-2D117873FC1F}"/>
                  </a:ext>
                </a:extLst>
              </p:cNvPr>
              <p:cNvSpPr/>
              <p:nvPr/>
            </p:nvSpPr>
            <p:spPr>
              <a:xfrm>
                <a:off x="8103452" y="3793226"/>
                <a:ext cx="80863" cy="43291"/>
              </a:xfrm>
              <a:custGeom>
                <a:avLst/>
                <a:gdLst>
                  <a:gd name="connsiteX0" fmla="*/ 80236 w 80863"/>
                  <a:gd name="connsiteY0" fmla="*/ 4217 h 43291"/>
                  <a:gd name="connsiteX1" fmla="*/ 43949 w 80863"/>
                  <a:gd name="connsiteY1" fmla="*/ 37371 h 43291"/>
                  <a:gd name="connsiteX2" fmla="*/ 0 w 80863"/>
                  <a:gd name="connsiteY2" fmla="*/ 42738 h 43291"/>
                  <a:gd name="connsiteX3" fmla="*/ 31689 w 80863"/>
                  <a:gd name="connsiteY3" fmla="*/ 11926 h 43291"/>
                  <a:gd name="connsiteX4" fmla="*/ 80224 w 80863"/>
                  <a:gd name="connsiteY4" fmla="*/ 4217 h 432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0863" h="43291">
                    <a:moveTo>
                      <a:pt x="80236" y="4217"/>
                    </a:moveTo>
                    <a:cubicBezTo>
                      <a:pt x="84655" y="12898"/>
                      <a:pt x="65011" y="30802"/>
                      <a:pt x="43949" y="37371"/>
                    </a:cubicBezTo>
                    <a:cubicBezTo>
                      <a:pt x="16787" y="45836"/>
                      <a:pt x="0" y="42738"/>
                      <a:pt x="0" y="42738"/>
                    </a:cubicBezTo>
                    <a:cubicBezTo>
                      <a:pt x="0" y="42738"/>
                      <a:pt x="10219" y="26491"/>
                      <a:pt x="31689" y="11926"/>
                    </a:cubicBezTo>
                    <a:cubicBezTo>
                      <a:pt x="49953" y="-442"/>
                      <a:pt x="76310" y="-3504"/>
                      <a:pt x="80224" y="4217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2368" name="Gráfico 17">
            <a:extLst>
              <a:ext uri="{FF2B5EF4-FFF2-40B4-BE49-F238E27FC236}">
                <a16:creationId xmlns:a16="http://schemas.microsoft.com/office/drawing/2014/main" id="{CDB5DD17-05C4-FF4B-D88F-977464039F03}"/>
              </a:ext>
            </a:extLst>
          </p:cNvPr>
          <p:cNvGrpSpPr/>
          <p:nvPr/>
        </p:nvGrpSpPr>
        <p:grpSpPr>
          <a:xfrm>
            <a:off x="8082037" y="4619465"/>
            <a:ext cx="287104" cy="324343"/>
            <a:chOff x="8082037" y="4619465"/>
            <a:chExt cx="287104" cy="324343"/>
          </a:xfrm>
        </p:grpSpPr>
        <p:sp>
          <p:nvSpPr>
            <p:cNvPr id="2369" name="Forma livre: Forma 2368">
              <a:extLst>
                <a:ext uri="{FF2B5EF4-FFF2-40B4-BE49-F238E27FC236}">
                  <a16:creationId xmlns:a16="http://schemas.microsoft.com/office/drawing/2014/main" id="{14106097-4501-0BBD-343E-5D8578D10C42}"/>
                </a:ext>
              </a:extLst>
            </p:cNvPr>
            <p:cNvSpPr/>
            <p:nvPr/>
          </p:nvSpPr>
          <p:spPr>
            <a:xfrm>
              <a:off x="8163516" y="4639746"/>
              <a:ext cx="7480" cy="7480"/>
            </a:xfrm>
            <a:custGeom>
              <a:avLst/>
              <a:gdLst>
                <a:gd name="connsiteX0" fmla="*/ 7481 w 7480"/>
                <a:gd name="connsiteY0" fmla="*/ 3746 h 7480"/>
                <a:gd name="connsiteX1" fmla="*/ 3746 w 7480"/>
                <a:gd name="connsiteY1" fmla="*/ 7481 h 7480"/>
                <a:gd name="connsiteX2" fmla="*/ 0 w 7480"/>
                <a:gd name="connsiteY2" fmla="*/ 3746 h 7480"/>
                <a:gd name="connsiteX3" fmla="*/ 3746 w 7480"/>
                <a:gd name="connsiteY3" fmla="*/ 0 h 7480"/>
                <a:gd name="connsiteX4" fmla="*/ 7481 w 7480"/>
                <a:gd name="connsiteY4" fmla="*/ 3746 h 74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480" h="7480">
                  <a:moveTo>
                    <a:pt x="7481" y="3746"/>
                  </a:moveTo>
                  <a:cubicBezTo>
                    <a:pt x="7481" y="5812"/>
                    <a:pt x="5824" y="7481"/>
                    <a:pt x="3746" y="7481"/>
                  </a:cubicBezTo>
                  <a:cubicBezTo>
                    <a:pt x="1669" y="7481"/>
                    <a:pt x="0" y="5812"/>
                    <a:pt x="0" y="3746"/>
                  </a:cubicBezTo>
                  <a:cubicBezTo>
                    <a:pt x="0" y="1681"/>
                    <a:pt x="1681" y="0"/>
                    <a:pt x="3746" y="0"/>
                  </a:cubicBezTo>
                  <a:cubicBezTo>
                    <a:pt x="5812" y="0"/>
                    <a:pt x="7481" y="1669"/>
                    <a:pt x="7481" y="3746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370" name="Forma livre: Forma 2369">
              <a:extLst>
                <a:ext uri="{FF2B5EF4-FFF2-40B4-BE49-F238E27FC236}">
                  <a16:creationId xmlns:a16="http://schemas.microsoft.com/office/drawing/2014/main" id="{843DB6DF-306D-E6EF-DB40-DA3E1CD8B68E}"/>
                </a:ext>
              </a:extLst>
            </p:cNvPr>
            <p:cNvSpPr/>
            <p:nvPr/>
          </p:nvSpPr>
          <p:spPr>
            <a:xfrm>
              <a:off x="8112830" y="4731546"/>
              <a:ext cx="29563" cy="44513"/>
            </a:xfrm>
            <a:custGeom>
              <a:avLst/>
              <a:gdLst>
                <a:gd name="connsiteX0" fmla="*/ 11468 w 29563"/>
                <a:gd name="connsiteY0" fmla="*/ 44513 h 44513"/>
                <a:gd name="connsiteX1" fmla="*/ 0 w 29563"/>
                <a:gd name="connsiteY1" fmla="*/ 24016 h 44513"/>
                <a:gd name="connsiteX2" fmla="*/ 24016 w 29563"/>
                <a:gd name="connsiteY2" fmla="*/ 0 h 44513"/>
                <a:gd name="connsiteX3" fmla="*/ 29563 w 29563"/>
                <a:gd name="connsiteY3" fmla="*/ 648 h 445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9563" h="44513">
                  <a:moveTo>
                    <a:pt x="11468" y="44513"/>
                  </a:moveTo>
                  <a:cubicBezTo>
                    <a:pt x="4587" y="40286"/>
                    <a:pt x="0" y="32697"/>
                    <a:pt x="0" y="24016"/>
                  </a:cubicBezTo>
                  <a:cubicBezTo>
                    <a:pt x="0" y="10747"/>
                    <a:pt x="10747" y="0"/>
                    <a:pt x="24016" y="0"/>
                  </a:cubicBezTo>
                  <a:cubicBezTo>
                    <a:pt x="25925" y="0"/>
                    <a:pt x="27786" y="228"/>
                    <a:pt x="29563" y="648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371" name="Forma livre: Forma 2370">
              <a:extLst>
                <a:ext uri="{FF2B5EF4-FFF2-40B4-BE49-F238E27FC236}">
                  <a16:creationId xmlns:a16="http://schemas.microsoft.com/office/drawing/2014/main" id="{6419F7BF-3ECA-F636-2074-85EBF015B7A9}"/>
                </a:ext>
              </a:extLst>
            </p:cNvPr>
            <p:cNvSpPr/>
            <p:nvPr/>
          </p:nvSpPr>
          <p:spPr>
            <a:xfrm>
              <a:off x="8296358" y="4689711"/>
              <a:ext cx="63449" cy="55380"/>
            </a:xfrm>
            <a:custGeom>
              <a:avLst/>
              <a:gdLst>
                <a:gd name="connsiteX0" fmla="*/ 0 w 63449"/>
                <a:gd name="connsiteY0" fmla="*/ 24196 h 55380"/>
                <a:gd name="connsiteX1" fmla="*/ 31220 w 63449"/>
                <a:gd name="connsiteY1" fmla="*/ 0 h 55380"/>
                <a:gd name="connsiteX2" fmla="*/ 63449 w 63449"/>
                <a:gd name="connsiteY2" fmla="*/ 32229 h 55380"/>
                <a:gd name="connsiteX3" fmla="*/ 53639 w 63449"/>
                <a:gd name="connsiteY3" fmla="*/ 55380 h 553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3449" h="55380">
                  <a:moveTo>
                    <a:pt x="0" y="24196"/>
                  </a:moveTo>
                  <a:cubicBezTo>
                    <a:pt x="3578" y="10291"/>
                    <a:pt x="16187" y="0"/>
                    <a:pt x="31220" y="0"/>
                  </a:cubicBezTo>
                  <a:cubicBezTo>
                    <a:pt x="49016" y="0"/>
                    <a:pt x="63449" y="14433"/>
                    <a:pt x="63449" y="32229"/>
                  </a:cubicBezTo>
                  <a:cubicBezTo>
                    <a:pt x="63449" y="41319"/>
                    <a:pt x="59691" y="49532"/>
                    <a:pt x="53639" y="55380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372" name="Forma livre: Forma 2371">
              <a:extLst>
                <a:ext uri="{FF2B5EF4-FFF2-40B4-BE49-F238E27FC236}">
                  <a16:creationId xmlns:a16="http://schemas.microsoft.com/office/drawing/2014/main" id="{E3BAEF6A-6061-345D-5877-C4766A6B9815}"/>
                </a:ext>
              </a:extLst>
            </p:cNvPr>
            <p:cNvSpPr/>
            <p:nvPr/>
          </p:nvSpPr>
          <p:spPr>
            <a:xfrm>
              <a:off x="8088625" y="4705362"/>
              <a:ext cx="272208" cy="166759"/>
            </a:xfrm>
            <a:custGeom>
              <a:avLst/>
              <a:gdLst>
                <a:gd name="connsiteX0" fmla="*/ 147778 w 272208"/>
                <a:gd name="connsiteY0" fmla="*/ 3478 h 166759"/>
                <a:gd name="connsiteX1" fmla="*/ 204803 w 272208"/>
                <a:gd name="connsiteY1" fmla="*/ 7824 h 166759"/>
                <a:gd name="connsiteX2" fmla="*/ 257062 w 272208"/>
                <a:gd name="connsiteY2" fmla="*/ 37304 h 166759"/>
                <a:gd name="connsiteX3" fmla="*/ 258611 w 272208"/>
                <a:gd name="connsiteY3" fmla="*/ 79956 h 166759"/>
                <a:gd name="connsiteX4" fmla="*/ 143143 w 272208"/>
                <a:gd name="connsiteY4" fmla="*/ 156614 h 166759"/>
                <a:gd name="connsiteX5" fmla="*/ 73486 w 272208"/>
                <a:gd name="connsiteY5" fmla="*/ 159219 h 166759"/>
                <a:gd name="connsiteX6" fmla="*/ 14983 w 272208"/>
                <a:gd name="connsiteY6" fmla="*/ 126390 h 166759"/>
                <a:gd name="connsiteX7" fmla="*/ 13999 w 272208"/>
                <a:gd name="connsiteY7" fmla="*/ 84771 h 166759"/>
                <a:gd name="connsiteX8" fmla="*/ 66065 w 272208"/>
                <a:gd name="connsiteY8" fmla="*/ 52217 h 1667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72208" h="166759">
                  <a:moveTo>
                    <a:pt x="147778" y="3478"/>
                  </a:moveTo>
                  <a:cubicBezTo>
                    <a:pt x="166186" y="-2286"/>
                    <a:pt x="189277" y="-917"/>
                    <a:pt x="204803" y="7824"/>
                  </a:cubicBezTo>
                  <a:lnTo>
                    <a:pt x="257062" y="37304"/>
                  </a:lnTo>
                  <a:cubicBezTo>
                    <a:pt x="276634" y="48339"/>
                    <a:pt x="277331" y="67539"/>
                    <a:pt x="258611" y="79956"/>
                  </a:cubicBezTo>
                  <a:lnTo>
                    <a:pt x="143143" y="156614"/>
                  </a:lnTo>
                  <a:cubicBezTo>
                    <a:pt x="124423" y="169042"/>
                    <a:pt x="93070" y="170219"/>
                    <a:pt x="73486" y="159219"/>
                  </a:cubicBezTo>
                  <a:lnTo>
                    <a:pt x="14983" y="126390"/>
                  </a:lnTo>
                  <a:cubicBezTo>
                    <a:pt x="-4602" y="115403"/>
                    <a:pt x="-5046" y="96671"/>
                    <a:pt x="13999" y="84771"/>
                  </a:cubicBezTo>
                  <a:lnTo>
                    <a:pt x="66065" y="52217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373" name="Forma livre: Forma 2372">
              <a:extLst>
                <a:ext uri="{FF2B5EF4-FFF2-40B4-BE49-F238E27FC236}">
                  <a16:creationId xmlns:a16="http://schemas.microsoft.com/office/drawing/2014/main" id="{30040C2E-809D-F9D8-1738-DD3577694FDA}"/>
                </a:ext>
              </a:extLst>
            </p:cNvPr>
            <p:cNvSpPr/>
            <p:nvPr/>
          </p:nvSpPr>
          <p:spPr>
            <a:xfrm>
              <a:off x="8082037" y="4758912"/>
              <a:ext cx="287104" cy="184896"/>
            </a:xfrm>
            <a:custGeom>
              <a:avLst/>
              <a:gdLst>
                <a:gd name="connsiteX0" fmla="*/ 278059 w 287104"/>
                <a:gd name="connsiteY0" fmla="*/ 0 h 184896"/>
                <a:gd name="connsiteX1" fmla="*/ 265067 w 287104"/>
                <a:gd name="connsiteY1" fmla="*/ 98104 h 184896"/>
                <a:gd name="connsiteX2" fmla="*/ 149731 w 287104"/>
                <a:gd name="connsiteY2" fmla="*/ 174762 h 184896"/>
                <a:gd name="connsiteX3" fmla="*/ 80074 w 287104"/>
                <a:gd name="connsiteY3" fmla="*/ 177356 h 184896"/>
                <a:gd name="connsiteX4" fmla="*/ 21571 w 287104"/>
                <a:gd name="connsiteY4" fmla="*/ 144539 h 184896"/>
                <a:gd name="connsiteX5" fmla="*/ 7426 w 287104"/>
                <a:gd name="connsiteY5" fmla="*/ 130093 h 184896"/>
                <a:gd name="connsiteX6" fmla="*/ 53 w 287104"/>
                <a:gd name="connsiteY6" fmla="*/ 86805 h 1848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87104" h="184896">
                  <a:moveTo>
                    <a:pt x="278059" y="0"/>
                  </a:moveTo>
                  <a:cubicBezTo>
                    <a:pt x="278059" y="0"/>
                    <a:pt x="305377" y="67196"/>
                    <a:pt x="265067" y="98104"/>
                  </a:cubicBezTo>
                  <a:lnTo>
                    <a:pt x="149731" y="174762"/>
                  </a:lnTo>
                  <a:cubicBezTo>
                    <a:pt x="131011" y="187178"/>
                    <a:pt x="99658" y="188355"/>
                    <a:pt x="80074" y="177356"/>
                  </a:cubicBezTo>
                  <a:cubicBezTo>
                    <a:pt x="80074" y="177356"/>
                    <a:pt x="28019" y="148429"/>
                    <a:pt x="21571" y="144539"/>
                  </a:cubicBezTo>
                  <a:cubicBezTo>
                    <a:pt x="11425" y="138415"/>
                    <a:pt x="7426" y="130093"/>
                    <a:pt x="7426" y="130093"/>
                  </a:cubicBezTo>
                  <a:cubicBezTo>
                    <a:pt x="1290" y="115191"/>
                    <a:pt x="-331" y="100013"/>
                    <a:pt x="53" y="86805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374" name="Forma livre: Forma 2373">
              <a:extLst>
                <a:ext uri="{FF2B5EF4-FFF2-40B4-BE49-F238E27FC236}">
                  <a16:creationId xmlns:a16="http://schemas.microsoft.com/office/drawing/2014/main" id="{217691E0-9B28-5997-0FFD-3EFE4BBBC800}"/>
                </a:ext>
              </a:extLst>
            </p:cNvPr>
            <p:cNvSpPr/>
            <p:nvPr/>
          </p:nvSpPr>
          <p:spPr>
            <a:xfrm>
              <a:off x="8213696" y="4619465"/>
              <a:ext cx="48043" cy="48043"/>
            </a:xfrm>
            <a:custGeom>
              <a:avLst/>
              <a:gdLst>
                <a:gd name="connsiteX0" fmla="*/ 48043 w 48043"/>
                <a:gd name="connsiteY0" fmla="*/ 24028 h 48043"/>
                <a:gd name="connsiteX1" fmla="*/ 24016 w 48043"/>
                <a:gd name="connsiteY1" fmla="*/ 48043 h 48043"/>
                <a:gd name="connsiteX2" fmla="*/ 0 w 48043"/>
                <a:gd name="connsiteY2" fmla="*/ 24028 h 48043"/>
                <a:gd name="connsiteX3" fmla="*/ 24016 w 48043"/>
                <a:gd name="connsiteY3" fmla="*/ 0 h 48043"/>
                <a:gd name="connsiteX4" fmla="*/ 48043 w 48043"/>
                <a:gd name="connsiteY4" fmla="*/ 24028 h 480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8043" h="48043">
                  <a:moveTo>
                    <a:pt x="48043" y="24028"/>
                  </a:moveTo>
                  <a:cubicBezTo>
                    <a:pt x="48043" y="37296"/>
                    <a:pt x="37284" y="48043"/>
                    <a:pt x="24016" y="48043"/>
                  </a:cubicBezTo>
                  <a:cubicBezTo>
                    <a:pt x="10747" y="48043"/>
                    <a:pt x="0" y="37296"/>
                    <a:pt x="0" y="24028"/>
                  </a:cubicBezTo>
                  <a:cubicBezTo>
                    <a:pt x="0" y="10759"/>
                    <a:pt x="10747" y="0"/>
                    <a:pt x="24016" y="0"/>
                  </a:cubicBezTo>
                  <a:cubicBezTo>
                    <a:pt x="37284" y="0"/>
                    <a:pt x="48043" y="10759"/>
                    <a:pt x="48043" y="24028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375" name="Forma livre: Forma 2374">
              <a:extLst>
                <a:ext uri="{FF2B5EF4-FFF2-40B4-BE49-F238E27FC236}">
                  <a16:creationId xmlns:a16="http://schemas.microsoft.com/office/drawing/2014/main" id="{ABB73F85-175B-C7C9-818D-DB6BF7E95498}"/>
                </a:ext>
              </a:extLst>
            </p:cNvPr>
            <p:cNvSpPr/>
            <p:nvPr/>
          </p:nvSpPr>
          <p:spPr>
            <a:xfrm>
              <a:off x="8249972" y="4760425"/>
              <a:ext cx="7480" cy="7480"/>
            </a:xfrm>
            <a:custGeom>
              <a:avLst/>
              <a:gdLst>
                <a:gd name="connsiteX0" fmla="*/ 7481 w 7480"/>
                <a:gd name="connsiteY0" fmla="*/ 3746 h 7480"/>
                <a:gd name="connsiteX1" fmla="*/ 3746 w 7480"/>
                <a:gd name="connsiteY1" fmla="*/ 7481 h 7480"/>
                <a:gd name="connsiteX2" fmla="*/ 0 w 7480"/>
                <a:gd name="connsiteY2" fmla="*/ 3746 h 7480"/>
                <a:gd name="connsiteX3" fmla="*/ 3746 w 7480"/>
                <a:gd name="connsiteY3" fmla="*/ 0 h 7480"/>
                <a:gd name="connsiteX4" fmla="*/ 7481 w 7480"/>
                <a:gd name="connsiteY4" fmla="*/ 3746 h 74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480" h="7480">
                  <a:moveTo>
                    <a:pt x="7481" y="3746"/>
                  </a:moveTo>
                  <a:cubicBezTo>
                    <a:pt x="7481" y="5812"/>
                    <a:pt x="5824" y="7481"/>
                    <a:pt x="3746" y="7481"/>
                  </a:cubicBezTo>
                  <a:cubicBezTo>
                    <a:pt x="1669" y="7481"/>
                    <a:pt x="0" y="5812"/>
                    <a:pt x="0" y="3746"/>
                  </a:cubicBezTo>
                  <a:cubicBezTo>
                    <a:pt x="0" y="1681"/>
                    <a:pt x="1681" y="0"/>
                    <a:pt x="3746" y="0"/>
                  </a:cubicBezTo>
                  <a:cubicBezTo>
                    <a:pt x="5812" y="0"/>
                    <a:pt x="7481" y="1669"/>
                    <a:pt x="7481" y="3746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376" name="Forma livre: Forma 2375">
              <a:extLst>
                <a:ext uri="{FF2B5EF4-FFF2-40B4-BE49-F238E27FC236}">
                  <a16:creationId xmlns:a16="http://schemas.microsoft.com/office/drawing/2014/main" id="{9D65C259-FE58-076B-6902-B1F133EA8C29}"/>
                </a:ext>
              </a:extLst>
            </p:cNvPr>
            <p:cNvSpPr/>
            <p:nvPr/>
          </p:nvSpPr>
          <p:spPr>
            <a:xfrm rot="-2700000">
              <a:off x="8144046" y="4693914"/>
              <a:ext cx="72863" cy="72863"/>
            </a:xfrm>
            <a:custGeom>
              <a:avLst/>
              <a:gdLst>
                <a:gd name="connsiteX0" fmla="*/ 72864 w 72863"/>
                <a:gd name="connsiteY0" fmla="*/ 36432 h 72863"/>
                <a:gd name="connsiteX1" fmla="*/ 36432 w 72863"/>
                <a:gd name="connsiteY1" fmla="*/ 72864 h 72863"/>
                <a:gd name="connsiteX2" fmla="*/ 0 w 72863"/>
                <a:gd name="connsiteY2" fmla="*/ 36432 h 72863"/>
                <a:gd name="connsiteX3" fmla="*/ 36432 w 72863"/>
                <a:gd name="connsiteY3" fmla="*/ 0 h 72863"/>
                <a:gd name="connsiteX4" fmla="*/ 72864 w 72863"/>
                <a:gd name="connsiteY4" fmla="*/ 36432 h 728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2863" h="72863">
                  <a:moveTo>
                    <a:pt x="72864" y="36432"/>
                  </a:moveTo>
                  <a:cubicBezTo>
                    <a:pt x="72864" y="56553"/>
                    <a:pt x="56553" y="72864"/>
                    <a:pt x="36432" y="72864"/>
                  </a:cubicBezTo>
                  <a:cubicBezTo>
                    <a:pt x="16311" y="72864"/>
                    <a:pt x="0" y="56553"/>
                    <a:pt x="0" y="36432"/>
                  </a:cubicBezTo>
                  <a:cubicBezTo>
                    <a:pt x="0" y="16311"/>
                    <a:pt x="16311" y="0"/>
                    <a:pt x="36432" y="0"/>
                  </a:cubicBezTo>
                  <a:cubicBezTo>
                    <a:pt x="56553" y="0"/>
                    <a:pt x="72864" y="16311"/>
                    <a:pt x="72864" y="36432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2377" name="Gráfico 17">
            <a:extLst>
              <a:ext uri="{FF2B5EF4-FFF2-40B4-BE49-F238E27FC236}">
                <a16:creationId xmlns:a16="http://schemas.microsoft.com/office/drawing/2014/main" id="{7A1D9CDA-1DB4-7D79-43DB-F42A7E50348C}"/>
              </a:ext>
            </a:extLst>
          </p:cNvPr>
          <p:cNvGrpSpPr/>
          <p:nvPr/>
        </p:nvGrpSpPr>
        <p:grpSpPr>
          <a:xfrm>
            <a:off x="9355139" y="5681356"/>
            <a:ext cx="246857" cy="330552"/>
            <a:chOff x="9355139" y="5681356"/>
            <a:chExt cx="246857" cy="330552"/>
          </a:xfrm>
          <a:noFill/>
        </p:grpSpPr>
        <p:sp>
          <p:nvSpPr>
            <p:cNvPr id="2378" name="Forma livre: Forma 2377">
              <a:extLst>
                <a:ext uri="{FF2B5EF4-FFF2-40B4-BE49-F238E27FC236}">
                  <a16:creationId xmlns:a16="http://schemas.microsoft.com/office/drawing/2014/main" id="{5B6FF1A8-5814-E312-0D6F-53AF5A6DC88D}"/>
                </a:ext>
              </a:extLst>
            </p:cNvPr>
            <p:cNvSpPr/>
            <p:nvPr/>
          </p:nvSpPr>
          <p:spPr>
            <a:xfrm>
              <a:off x="9448224" y="5681356"/>
              <a:ext cx="80848" cy="69993"/>
            </a:xfrm>
            <a:custGeom>
              <a:avLst/>
              <a:gdLst>
                <a:gd name="connsiteX0" fmla="*/ 80849 w 80848"/>
                <a:gd name="connsiteY0" fmla="*/ 0 h 69993"/>
                <a:gd name="connsiteX1" fmla="*/ 15226 w 80848"/>
                <a:gd name="connsiteY1" fmla="*/ 0 h 69993"/>
                <a:gd name="connsiteX2" fmla="*/ 0 w 80848"/>
                <a:gd name="connsiteY2" fmla="*/ 15874 h 69993"/>
                <a:gd name="connsiteX3" fmla="*/ 15226 w 80848"/>
                <a:gd name="connsiteY3" fmla="*/ 31737 h 69993"/>
                <a:gd name="connsiteX4" fmla="*/ 44633 w 80848"/>
                <a:gd name="connsiteY4" fmla="*/ 31737 h 69993"/>
                <a:gd name="connsiteX5" fmla="*/ 56497 w 80848"/>
                <a:gd name="connsiteY5" fmla="*/ 43925 h 69993"/>
                <a:gd name="connsiteX6" fmla="*/ 44633 w 80848"/>
                <a:gd name="connsiteY6" fmla="*/ 56149 h 69993"/>
                <a:gd name="connsiteX7" fmla="*/ 31725 w 80848"/>
                <a:gd name="connsiteY7" fmla="*/ 56149 h 69993"/>
                <a:gd name="connsiteX8" fmla="*/ 19873 w 80848"/>
                <a:gd name="connsiteY8" fmla="*/ 68000 h 69993"/>
                <a:gd name="connsiteX9" fmla="*/ 19873 w 80848"/>
                <a:gd name="connsiteY9" fmla="*/ 69994 h 699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0848" h="69993">
                  <a:moveTo>
                    <a:pt x="80849" y="0"/>
                  </a:moveTo>
                  <a:lnTo>
                    <a:pt x="15226" y="0"/>
                  </a:lnTo>
                  <a:cubicBezTo>
                    <a:pt x="6845" y="0"/>
                    <a:pt x="0" y="7505"/>
                    <a:pt x="0" y="15874"/>
                  </a:cubicBezTo>
                  <a:cubicBezTo>
                    <a:pt x="0" y="24244"/>
                    <a:pt x="6845" y="31737"/>
                    <a:pt x="15226" y="31737"/>
                  </a:cubicBezTo>
                  <a:lnTo>
                    <a:pt x="44633" y="31737"/>
                  </a:lnTo>
                  <a:cubicBezTo>
                    <a:pt x="51154" y="31737"/>
                    <a:pt x="56497" y="37392"/>
                    <a:pt x="56497" y="43925"/>
                  </a:cubicBezTo>
                  <a:cubicBezTo>
                    <a:pt x="56497" y="50457"/>
                    <a:pt x="51154" y="56149"/>
                    <a:pt x="44633" y="56149"/>
                  </a:cubicBezTo>
                  <a:lnTo>
                    <a:pt x="31725" y="56149"/>
                  </a:lnTo>
                  <a:cubicBezTo>
                    <a:pt x="25204" y="56149"/>
                    <a:pt x="19873" y="61480"/>
                    <a:pt x="19873" y="68000"/>
                  </a:cubicBezTo>
                  <a:lnTo>
                    <a:pt x="19873" y="69994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379" name="Forma livre: Forma 2378">
              <a:extLst>
                <a:ext uri="{FF2B5EF4-FFF2-40B4-BE49-F238E27FC236}">
                  <a16:creationId xmlns:a16="http://schemas.microsoft.com/office/drawing/2014/main" id="{8CE75145-D742-8291-5E5F-5D2E1CE376B4}"/>
                </a:ext>
              </a:extLst>
            </p:cNvPr>
            <p:cNvSpPr/>
            <p:nvPr/>
          </p:nvSpPr>
          <p:spPr>
            <a:xfrm>
              <a:off x="9391991" y="5868966"/>
              <a:ext cx="173129" cy="140960"/>
            </a:xfrm>
            <a:custGeom>
              <a:avLst/>
              <a:gdLst>
                <a:gd name="connsiteX0" fmla="*/ 162346 w 173129"/>
                <a:gd name="connsiteY0" fmla="*/ 140960 h 140960"/>
                <a:gd name="connsiteX1" fmla="*/ 173129 w 173129"/>
                <a:gd name="connsiteY1" fmla="*/ 86565 h 140960"/>
                <a:gd name="connsiteX2" fmla="*/ 86565 w 173129"/>
                <a:gd name="connsiteY2" fmla="*/ 0 h 140960"/>
                <a:gd name="connsiteX3" fmla="*/ 0 w 173129"/>
                <a:gd name="connsiteY3" fmla="*/ 86565 h 140960"/>
                <a:gd name="connsiteX4" fmla="*/ 4263 w 173129"/>
                <a:gd name="connsiteY4" fmla="*/ 118734 h 1409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3129" h="140960">
                  <a:moveTo>
                    <a:pt x="162346" y="140960"/>
                  </a:moveTo>
                  <a:cubicBezTo>
                    <a:pt x="169215" y="121315"/>
                    <a:pt x="173129" y="101755"/>
                    <a:pt x="173129" y="86565"/>
                  </a:cubicBezTo>
                  <a:cubicBezTo>
                    <a:pt x="173129" y="38761"/>
                    <a:pt x="134368" y="0"/>
                    <a:pt x="86565" y="0"/>
                  </a:cubicBezTo>
                  <a:cubicBezTo>
                    <a:pt x="38761" y="0"/>
                    <a:pt x="0" y="38749"/>
                    <a:pt x="0" y="86565"/>
                  </a:cubicBezTo>
                  <a:cubicBezTo>
                    <a:pt x="0" y="95955"/>
                    <a:pt x="1501" y="107014"/>
                    <a:pt x="4263" y="118734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380" name="Forma livre: Forma 2379">
              <a:extLst>
                <a:ext uri="{FF2B5EF4-FFF2-40B4-BE49-F238E27FC236}">
                  <a16:creationId xmlns:a16="http://schemas.microsoft.com/office/drawing/2014/main" id="{7202C4CF-32AD-30CF-ECF4-BB8D5894FDA5}"/>
                </a:ext>
              </a:extLst>
            </p:cNvPr>
            <p:cNvSpPr/>
            <p:nvPr/>
          </p:nvSpPr>
          <p:spPr>
            <a:xfrm>
              <a:off x="9355139" y="5775737"/>
              <a:ext cx="246857" cy="236170"/>
            </a:xfrm>
            <a:custGeom>
              <a:avLst/>
              <a:gdLst>
                <a:gd name="connsiteX0" fmla="*/ 167630 w 246857"/>
                <a:gd name="connsiteY0" fmla="*/ 43360 h 236170"/>
                <a:gd name="connsiteX1" fmla="*/ 170199 w 246857"/>
                <a:gd name="connsiteY1" fmla="*/ 43360 h 236170"/>
                <a:gd name="connsiteX2" fmla="*/ 233589 w 246857"/>
                <a:gd name="connsiteY2" fmla="*/ 0 h 236170"/>
                <a:gd name="connsiteX3" fmla="*/ 13269 w 246857"/>
                <a:gd name="connsiteY3" fmla="*/ 0 h 236170"/>
                <a:gd name="connsiteX4" fmla="*/ 76658 w 246857"/>
                <a:gd name="connsiteY4" fmla="*/ 43360 h 236170"/>
                <a:gd name="connsiteX5" fmla="*/ 79228 w 246857"/>
                <a:gd name="connsiteY5" fmla="*/ 43360 h 236170"/>
                <a:gd name="connsiteX6" fmla="*/ 0 w 246857"/>
                <a:gd name="connsiteY6" fmla="*/ 158612 h 236170"/>
                <a:gd name="connsiteX7" fmla="*/ 15370 w 246857"/>
                <a:gd name="connsiteY7" fmla="*/ 236170 h 236170"/>
                <a:gd name="connsiteX8" fmla="*/ 231475 w 246857"/>
                <a:gd name="connsiteY8" fmla="*/ 236170 h 236170"/>
                <a:gd name="connsiteX9" fmla="*/ 246857 w 246857"/>
                <a:gd name="connsiteY9" fmla="*/ 158612 h 236170"/>
                <a:gd name="connsiteX10" fmla="*/ 167618 w 246857"/>
                <a:gd name="connsiteY10" fmla="*/ 43360 h 2361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46857" h="236170">
                  <a:moveTo>
                    <a:pt x="167630" y="43360"/>
                  </a:moveTo>
                  <a:lnTo>
                    <a:pt x="170199" y="43360"/>
                  </a:lnTo>
                  <a:cubicBezTo>
                    <a:pt x="226912" y="31677"/>
                    <a:pt x="233589" y="0"/>
                    <a:pt x="233589" y="0"/>
                  </a:cubicBezTo>
                  <a:lnTo>
                    <a:pt x="13269" y="0"/>
                  </a:lnTo>
                  <a:cubicBezTo>
                    <a:pt x="13269" y="0"/>
                    <a:pt x="19945" y="31689"/>
                    <a:pt x="76658" y="43360"/>
                  </a:cubicBezTo>
                  <a:lnTo>
                    <a:pt x="79228" y="43360"/>
                  </a:lnTo>
                  <a:cubicBezTo>
                    <a:pt x="32901" y="61156"/>
                    <a:pt x="0" y="106029"/>
                    <a:pt x="0" y="158612"/>
                  </a:cubicBezTo>
                  <a:cubicBezTo>
                    <a:pt x="0" y="180250"/>
                    <a:pt x="5584" y="208168"/>
                    <a:pt x="15370" y="236170"/>
                  </a:cubicBezTo>
                  <a:lnTo>
                    <a:pt x="231475" y="236170"/>
                  </a:lnTo>
                  <a:cubicBezTo>
                    <a:pt x="241274" y="208156"/>
                    <a:pt x="246857" y="180250"/>
                    <a:pt x="246857" y="158612"/>
                  </a:cubicBezTo>
                  <a:cubicBezTo>
                    <a:pt x="246857" y="106017"/>
                    <a:pt x="213944" y="61144"/>
                    <a:pt x="167618" y="43360"/>
                  </a:cubicBez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2381" name="Gráfico 17">
              <a:extLst>
                <a:ext uri="{FF2B5EF4-FFF2-40B4-BE49-F238E27FC236}">
                  <a16:creationId xmlns:a16="http://schemas.microsoft.com/office/drawing/2014/main" id="{1A84AD44-F806-0A44-948C-FA73B110F4B4}"/>
                </a:ext>
              </a:extLst>
            </p:cNvPr>
            <p:cNvGrpSpPr/>
            <p:nvPr/>
          </p:nvGrpSpPr>
          <p:grpSpPr>
            <a:xfrm>
              <a:off x="9442856" y="5942779"/>
              <a:ext cx="71422" cy="64782"/>
              <a:chOff x="9442856" y="5942779"/>
              <a:chExt cx="71422" cy="64782"/>
            </a:xfrm>
            <a:noFill/>
          </p:grpSpPr>
          <p:sp>
            <p:nvSpPr>
              <p:cNvPr id="2382" name="Forma livre: Forma 2381">
                <a:extLst>
                  <a:ext uri="{FF2B5EF4-FFF2-40B4-BE49-F238E27FC236}">
                    <a16:creationId xmlns:a16="http://schemas.microsoft.com/office/drawing/2014/main" id="{C8329634-2699-63B1-A4AA-11EF0903DAAB}"/>
                  </a:ext>
                </a:extLst>
              </p:cNvPr>
              <p:cNvSpPr/>
              <p:nvPr/>
            </p:nvSpPr>
            <p:spPr>
              <a:xfrm>
                <a:off x="9478568" y="5942779"/>
                <a:ext cx="1200" cy="34594"/>
              </a:xfrm>
              <a:custGeom>
                <a:avLst/>
                <a:gdLst>
                  <a:gd name="connsiteX0" fmla="*/ 0 w 1200"/>
                  <a:gd name="connsiteY0" fmla="*/ 34595 h 34594"/>
                  <a:gd name="connsiteX1" fmla="*/ 0 w 1200"/>
                  <a:gd name="connsiteY1" fmla="*/ 0 h 345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00" h="34594">
                    <a:moveTo>
                      <a:pt x="0" y="34595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383" name="Forma livre: Forma 2382">
                <a:extLst>
                  <a:ext uri="{FF2B5EF4-FFF2-40B4-BE49-F238E27FC236}">
                    <a16:creationId xmlns:a16="http://schemas.microsoft.com/office/drawing/2014/main" id="{3731B8A7-D9B9-9120-C92D-48BFE57685EE}"/>
                  </a:ext>
                </a:extLst>
              </p:cNvPr>
              <p:cNvSpPr/>
              <p:nvPr/>
            </p:nvSpPr>
            <p:spPr>
              <a:xfrm>
                <a:off x="9442856" y="5980159"/>
                <a:ext cx="71422" cy="27402"/>
              </a:xfrm>
              <a:custGeom>
                <a:avLst/>
                <a:gdLst>
                  <a:gd name="connsiteX0" fmla="*/ 71423 w 71422"/>
                  <a:gd name="connsiteY0" fmla="*/ 27402 h 27402"/>
                  <a:gd name="connsiteX1" fmla="*/ 71423 w 71422"/>
                  <a:gd name="connsiteY1" fmla="*/ 0 h 27402"/>
                  <a:gd name="connsiteX2" fmla="*/ 0 w 71422"/>
                  <a:gd name="connsiteY2" fmla="*/ 0 h 27402"/>
                  <a:gd name="connsiteX3" fmla="*/ 0 w 71422"/>
                  <a:gd name="connsiteY3" fmla="*/ 14037 h 274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1422" h="27402">
                    <a:moveTo>
                      <a:pt x="71423" y="27402"/>
                    </a:moveTo>
                    <a:lnTo>
                      <a:pt x="71423" y="0"/>
                    </a:lnTo>
                    <a:lnTo>
                      <a:pt x="0" y="0"/>
                    </a:lnTo>
                    <a:lnTo>
                      <a:pt x="0" y="14037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2384" name="Forma livre: Forma 2383">
              <a:extLst>
                <a:ext uri="{FF2B5EF4-FFF2-40B4-BE49-F238E27FC236}">
                  <a16:creationId xmlns:a16="http://schemas.microsoft.com/office/drawing/2014/main" id="{8F61B0AD-799A-B7F0-FFEA-F9231E9340AF}"/>
                </a:ext>
              </a:extLst>
            </p:cNvPr>
            <p:cNvSpPr/>
            <p:nvPr/>
          </p:nvSpPr>
          <p:spPr>
            <a:xfrm>
              <a:off x="9483071" y="5819098"/>
              <a:ext cx="41415" cy="1200"/>
            </a:xfrm>
            <a:custGeom>
              <a:avLst/>
              <a:gdLst>
                <a:gd name="connsiteX0" fmla="*/ 41415 w 41415"/>
                <a:gd name="connsiteY0" fmla="*/ 0 h 1200"/>
                <a:gd name="connsiteX1" fmla="*/ 0 w 41415"/>
                <a:gd name="connsiteY1" fmla="*/ 0 h 1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1415" h="1200">
                  <a:moveTo>
                    <a:pt x="41415" y="0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385" name="Forma livre: Forma 2384">
              <a:extLst>
                <a:ext uri="{FF2B5EF4-FFF2-40B4-BE49-F238E27FC236}">
                  <a16:creationId xmlns:a16="http://schemas.microsoft.com/office/drawing/2014/main" id="{526F6EBE-AFB4-20D7-ECC9-CDF87272BB19}"/>
                </a:ext>
              </a:extLst>
            </p:cNvPr>
            <p:cNvSpPr/>
            <p:nvPr/>
          </p:nvSpPr>
          <p:spPr>
            <a:xfrm>
              <a:off x="9454852" y="5895516"/>
              <a:ext cx="47431" cy="64710"/>
            </a:xfrm>
            <a:custGeom>
              <a:avLst/>
              <a:gdLst>
                <a:gd name="connsiteX0" fmla="*/ 3987 w 47431"/>
                <a:gd name="connsiteY0" fmla="*/ 54155 h 64710"/>
                <a:gd name="connsiteX1" fmla="*/ 0 w 47431"/>
                <a:gd name="connsiteY1" fmla="*/ 40995 h 64710"/>
                <a:gd name="connsiteX2" fmla="*/ 23716 w 47431"/>
                <a:gd name="connsiteY2" fmla="*/ 0 h 64710"/>
                <a:gd name="connsiteX3" fmla="*/ 47431 w 47431"/>
                <a:gd name="connsiteY3" fmla="*/ 40995 h 64710"/>
                <a:gd name="connsiteX4" fmla="*/ 23716 w 47431"/>
                <a:gd name="connsiteY4" fmla="*/ 64710 h 647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7431" h="64710">
                  <a:moveTo>
                    <a:pt x="3987" y="54155"/>
                  </a:moveTo>
                  <a:cubicBezTo>
                    <a:pt x="1477" y="50385"/>
                    <a:pt x="0" y="45858"/>
                    <a:pt x="0" y="40995"/>
                  </a:cubicBezTo>
                  <a:cubicBezTo>
                    <a:pt x="0" y="27906"/>
                    <a:pt x="23716" y="0"/>
                    <a:pt x="23716" y="0"/>
                  </a:cubicBezTo>
                  <a:cubicBezTo>
                    <a:pt x="23716" y="0"/>
                    <a:pt x="47431" y="27894"/>
                    <a:pt x="47431" y="40995"/>
                  </a:cubicBezTo>
                  <a:cubicBezTo>
                    <a:pt x="47431" y="54095"/>
                    <a:pt x="36816" y="64710"/>
                    <a:pt x="23716" y="6471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2386" name="Gráfico 17">
            <a:extLst>
              <a:ext uri="{FF2B5EF4-FFF2-40B4-BE49-F238E27FC236}">
                <a16:creationId xmlns:a16="http://schemas.microsoft.com/office/drawing/2014/main" id="{5ED23EBF-17AB-F1B4-F461-0E75A75F2742}"/>
              </a:ext>
            </a:extLst>
          </p:cNvPr>
          <p:cNvGrpSpPr/>
          <p:nvPr/>
        </p:nvGrpSpPr>
        <p:grpSpPr>
          <a:xfrm>
            <a:off x="9297261" y="5199732"/>
            <a:ext cx="362601" cy="228842"/>
            <a:chOff x="9297261" y="5199732"/>
            <a:chExt cx="362601" cy="228842"/>
          </a:xfrm>
          <a:noFill/>
        </p:grpSpPr>
        <p:sp>
          <p:nvSpPr>
            <p:cNvPr id="2387" name="Forma livre: Forma 2386">
              <a:extLst>
                <a:ext uri="{FF2B5EF4-FFF2-40B4-BE49-F238E27FC236}">
                  <a16:creationId xmlns:a16="http://schemas.microsoft.com/office/drawing/2014/main" id="{7ED6D53E-B542-5E38-9353-2EF2CCD7B75E}"/>
                </a:ext>
              </a:extLst>
            </p:cNvPr>
            <p:cNvSpPr/>
            <p:nvPr/>
          </p:nvSpPr>
          <p:spPr>
            <a:xfrm>
              <a:off x="9434463" y="5199732"/>
              <a:ext cx="88209" cy="227056"/>
            </a:xfrm>
            <a:custGeom>
              <a:avLst/>
              <a:gdLst>
                <a:gd name="connsiteX0" fmla="*/ 44105 w 88209"/>
                <a:gd name="connsiteY0" fmla="*/ 227057 h 227056"/>
                <a:gd name="connsiteX1" fmla="*/ 88210 w 88209"/>
                <a:gd name="connsiteY1" fmla="*/ 130670 h 227056"/>
                <a:gd name="connsiteX2" fmla="*/ 44105 w 88209"/>
                <a:gd name="connsiteY2" fmla="*/ 0 h 227056"/>
                <a:gd name="connsiteX3" fmla="*/ 0 w 88209"/>
                <a:gd name="connsiteY3" fmla="*/ 130670 h 227056"/>
                <a:gd name="connsiteX4" fmla="*/ 7349 w 88209"/>
                <a:gd name="connsiteY4" fmla="*/ 182856 h 227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209" h="227056">
                  <a:moveTo>
                    <a:pt x="44105" y="227057"/>
                  </a:moveTo>
                  <a:cubicBezTo>
                    <a:pt x="61504" y="227057"/>
                    <a:pt x="88210" y="193387"/>
                    <a:pt x="88210" y="130670"/>
                  </a:cubicBezTo>
                  <a:cubicBezTo>
                    <a:pt x="88210" y="67953"/>
                    <a:pt x="44105" y="0"/>
                    <a:pt x="44105" y="0"/>
                  </a:cubicBezTo>
                  <a:cubicBezTo>
                    <a:pt x="44105" y="0"/>
                    <a:pt x="0" y="67988"/>
                    <a:pt x="0" y="130670"/>
                  </a:cubicBezTo>
                  <a:cubicBezTo>
                    <a:pt x="0" y="151251"/>
                    <a:pt x="2870" y="168710"/>
                    <a:pt x="7349" y="182856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388" name="Forma livre: Forma 2387">
              <a:extLst>
                <a:ext uri="{FF2B5EF4-FFF2-40B4-BE49-F238E27FC236}">
                  <a16:creationId xmlns:a16="http://schemas.microsoft.com/office/drawing/2014/main" id="{480FE025-792A-E49A-DD69-ABC7C0CCD3EA}"/>
                </a:ext>
              </a:extLst>
            </p:cNvPr>
            <p:cNvSpPr/>
            <p:nvPr/>
          </p:nvSpPr>
          <p:spPr>
            <a:xfrm>
              <a:off x="9370778" y="5228179"/>
              <a:ext cx="215577" cy="198730"/>
            </a:xfrm>
            <a:custGeom>
              <a:avLst/>
              <a:gdLst>
                <a:gd name="connsiteX0" fmla="*/ 51701 w 215577"/>
                <a:gd name="connsiteY0" fmla="*/ 33838 h 198730"/>
                <a:gd name="connsiteX1" fmla="*/ 175 w 215577"/>
                <a:gd name="connsiteY1" fmla="*/ 0 h 198730"/>
                <a:gd name="connsiteX2" fmla="*/ 27517 w 215577"/>
                <a:gd name="connsiteY2" fmla="*/ 135172 h 198730"/>
                <a:gd name="connsiteX3" fmla="*/ 103983 w 215577"/>
                <a:gd name="connsiteY3" fmla="*/ 198730 h 198730"/>
                <a:gd name="connsiteX4" fmla="*/ 111596 w 215577"/>
                <a:gd name="connsiteY4" fmla="*/ 198730 h 198730"/>
                <a:gd name="connsiteX5" fmla="*/ 188062 w 215577"/>
                <a:gd name="connsiteY5" fmla="*/ 135172 h 198730"/>
                <a:gd name="connsiteX6" fmla="*/ 215404 w 215577"/>
                <a:gd name="connsiteY6" fmla="*/ 0 h 198730"/>
                <a:gd name="connsiteX7" fmla="*/ 145266 w 215577"/>
                <a:gd name="connsiteY7" fmla="*/ 49929 h 198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15577" h="198730">
                  <a:moveTo>
                    <a:pt x="51701" y="33838"/>
                  </a:moveTo>
                  <a:cubicBezTo>
                    <a:pt x="24899" y="12548"/>
                    <a:pt x="175" y="0"/>
                    <a:pt x="175" y="0"/>
                  </a:cubicBezTo>
                  <a:cubicBezTo>
                    <a:pt x="175" y="0"/>
                    <a:pt x="-3920" y="80933"/>
                    <a:pt x="27517" y="135172"/>
                  </a:cubicBezTo>
                  <a:cubicBezTo>
                    <a:pt x="53454" y="179950"/>
                    <a:pt x="85215" y="198514"/>
                    <a:pt x="103983" y="198730"/>
                  </a:cubicBezTo>
                  <a:lnTo>
                    <a:pt x="111596" y="198730"/>
                  </a:lnTo>
                  <a:cubicBezTo>
                    <a:pt x="130364" y="198514"/>
                    <a:pt x="162125" y="179962"/>
                    <a:pt x="188062" y="135172"/>
                  </a:cubicBezTo>
                  <a:cubicBezTo>
                    <a:pt x="219486" y="80921"/>
                    <a:pt x="215404" y="0"/>
                    <a:pt x="215404" y="0"/>
                  </a:cubicBezTo>
                  <a:cubicBezTo>
                    <a:pt x="215404" y="0"/>
                    <a:pt x="177963" y="19020"/>
                    <a:pt x="145266" y="49929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2389" name="Gráfico 17">
              <a:extLst>
                <a:ext uri="{FF2B5EF4-FFF2-40B4-BE49-F238E27FC236}">
                  <a16:creationId xmlns:a16="http://schemas.microsoft.com/office/drawing/2014/main" id="{44571002-4796-2834-82B8-2685A79B0830}"/>
                </a:ext>
              </a:extLst>
            </p:cNvPr>
            <p:cNvGrpSpPr/>
            <p:nvPr/>
          </p:nvGrpSpPr>
          <p:grpSpPr>
            <a:xfrm>
              <a:off x="9297261" y="5301450"/>
              <a:ext cx="362601" cy="127124"/>
              <a:chOff x="9297261" y="5301450"/>
              <a:chExt cx="362601" cy="127124"/>
            </a:xfrm>
            <a:noFill/>
          </p:grpSpPr>
          <p:sp>
            <p:nvSpPr>
              <p:cNvPr id="2390" name="Forma livre: Forma 2389">
                <a:extLst>
                  <a:ext uri="{FF2B5EF4-FFF2-40B4-BE49-F238E27FC236}">
                    <a16:creationId xmlns:a16="http://schemas.microsoft.com/office/drawing/2014/main" id="{FA31B295-FFB3-3B2D-08BF-600078FBE4C0}"/>
                  </a:ext>
                </a:extLst>
              </p:cNvPr>
              <p:cNvSpPr/>
              <p:nvPr/>
            </p:nvSpPr>
            <p:spPr>
              <a:xfrm>
                <a:off x="9297261" y="5301453"/>
                <a:ext cx="175879" cy="127122"/>
              </a:xfrm>
              <a:custGeom>
                <a:avLst/>
                <a:gdLst>
                  <a:gd name="connsiteX0" fmla="*/ 54287 w 175879"/>
                  <a:gd name="connsiteY0" fmla="*/ 3108 h 127122"/>
                  <a:gd name="connsiteX1" fmla="*/ 0 w 175879"/>
                  <a:gd name="connsiteY1" fmla="*/ 131 h 127122"/>
                  <a:gd name="connsiteX2" fmla="*/ 90479 w 175879"/>
                  <a:gd name="connsiteY2" fmla="*/ 104239 h 127122"/>
                  <a:gd name="connsiteX3" fmla="*/ 175879 w 175879"/>
                  <a:gd name="connsiteY3" fmla="*/ 126009 h 1271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75879" h="127122">
                    <a:moveTo>
                      <a:pt x="54287" y="3108"/>
                    </a:moveTo>
                    <a:cubicBezTo>
                      <a:pt x="23836" y="-950"/>
                      <a:pt x="0" y="131"/>
                      <a:pt x="0" y="131"/>
                    </a:cubicBezTo>
                    <a:cubicBezTo>
                      <a:pt x="0" y="131"/>
                      <a:pt x="36372" y="72550"/>
                      <a:pt x="90479" y="104239"/>
                    </a:cubicBezTo>
                    <a:cubicBezTo>
                      <a:pt x="126034" y="125060"/>
                      <a:pt x="156594" y="129599"/>
                      <a:pt x="175879" y="126009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391" name="Forma livre: Forma 2390">
                <a:extLst>
                  <a:ext uri="{FF2B5EF4-FFF2-40B4-BE49-F238E27FC236}">
                    <a16:creationId xmlns:a16="http://schemas.microsoft.com/office/drawing/2014/main" id="{7C08BFC2-DFCB-3E91-E50F-5E6582B45DE8}"/>
                  </a:ext>
                </a:extLst>
              </p:cNvPr>
              <p:cNvSpPr/>
              <p:nvPr/>
            </p:nvSpPr>
            <p:spPr>
              <a:xfrm>
                <a:off x="9482326" y="5301450"/>
                <a:ext cx="177536" cy="127124"/>
              </a:xfrm>
              <a:custGeom>
                <a:avLst/>
                <a:gdLst>
                  <a:gd name="connsiteX0" fmla="*/ 98140 w 177536"/>
                  <a:gd name="connsiteY0" fmla="*/ 7518 h 127124"/>
                  <a:gd name="connsiteX1" fmla="*/ 177536 w 177536"/>
                  <a:gd name="connsiteY1" fmla="*/ 133 h 127124"/>
                  <a:gd name="connsiteX2" fmla="*/ 87057 w 177536"/>
                  <a:gd name="connsiteY2" fmla="*/ 104241 h 127124"/>
                  <a:gd name="connsiteX3" fmla="*/ 0 w 177536"/>
                  <a:gd name="connsiteY3" fmla="*/ 125675 h 1271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77536" h="127124">
                    <a:moveTo>
                      <a:pt x="98140" y="7518"/>
                    </a:moveTo>
                    <a:cubicBezTo>
                      <a:pt x="139495" y="-1608"/>
                      <a:pt x="177536" y="133"/>
                      <a:pt x="177536" y="133"/>
                    </a:cubicBezTo>
                    <a:cubicBezTo>
                      <a:pt x="177536" y="133"/>
                      <a:pt x="141164" y="72552"/>
                      <a:pt x="87057" y="104241"/>
                    </a:cubicBezTo>
                    <a:cubicBezTo>
                      <a:pt x="50469" y="125675"/>
                      <a:pt x="19153" y="129854"/>
                      <a:pt x="0" y="125675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2392" name="Gráfico 17">
            <a:extLst>
              <a:ext uri="{FF2B5EF4-FFF2-40B4-BE49-F238E27FC236}">
                <a16:creationId xmlns:a16="http://schemas.microsoft.com/office/drawing/2014/main" id="{547513DF-CAFD-48BA-9921-B57594C27AD1}"/>
              </a:ext>
            </a:extLst>
          </p:cNvPr>
          <p:cNvGrpSpPr/>
          <p:nvPr/>
        </p:nvGrpSpPr>
        <p:grpSpPr>
          <a:xfrm>
            <a:off x="9360823" y="4085358"/>
            <a:ext cx="235489" cy="327535"/>
            <a:chOff x="9360823" y="4085358"/>
            <a:chExt cx="235489" cy="327535"/>
          </a:xfrm>
          <a:noFill/>
        </p:grpSpPr>
        <p:sp>
          <p:nvSpPr>
            <p:cNvPr id="2393" name="Forma livre: Forma 2392">
              <a:extLst>
                <a:ext uri="{FF2B5EF4-FFF2-40B4-BE49-F238E27FC236}">
                  <a16:creationId xmlns:a16="http://schemas.microsoft.com/office/drawing/2014/main" id="{7A559299-CE85-BBA7-4455-5F7E0419452D}"/>
                </a:ext>
              </a:extLst>
            </p:cNvPr>
            <p:cNvSpPr/>
            <p:nvPr/>
          </p:nvSpPr>
          <p:spPr>
            <a:xfrm>
              <a:off x="9420825" y="4085358"/>
              <a:ext cx="155185" cy="223103"/>
            </a:xfrm>
            <a:custGeom>
              <a:avLst/>
              <a:gdLst>
                <a:gd name="connsiteX0" fmla="*/ 147657 w 155185"/>
                <a:gd name="connsiteY0" fmla="*/ 223104 h 223103"/>
                <a:gd name="connsiteX1" fmla="*/ 79032 w 155185"/>
                <a:gd name="connsiteY1" fmla="*/ 141474 h 223103"/>
                <a:gd name="connsiteX2" fmla="*/ 21 w 155185"/>
                <a:gd name="connsiteY2" fmla="*/ 58620 h 223103"/>
                <a:gd name="connsiteX3" fmla="*/ 65823 w 155185"/>
                <a:gd name="connsiteY3" fmla="*/ 22 h 223103"/>
                <a:gd name="connsiteX4" fmla="*/ 150119 w 155185"/>
                <a:gd name="connsiteY4" fmla="*/ 62474 h 223103"/>
                <a:gd name="connsiteX5" fmla="*/ 154682 w 155185"/>
                <a:gd name="connsiteY5" fmla="*/ 99459 h 2231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55185" h="223103">
                  <a:moveTo>
                    <a:pt x="147657" y="223104"/>
                  </a:moveTo>
                  <a:cubicBezTo>
                    <a:pt x="149038" y="176249"/>
                    <a:pt x="79032" y="141474"/>
                    <a:pt x="79032" y="141474"/>
                  </a:cubicBezTo>
                  <a:cubicBezTo>
                    <a:pt x="-2213" y="103613"/>
                    <a:pt x="21" y="58620"/>
                    <a:pt x="21" y="58620"/>
                  </a:cubicBezTo>
                  <a:cubicBezTo>
                    <a:pt x="-1180" y="4585"/>
                    <a:pt x="50622" y="346"/>
                    <a:pt x="65823" y="22"/>
                  </a:cubicBezTo>
                  <a:cubicBezTo>
                    <a:pt x="73040" y="-123"/>
                    <a:pt x="123701" y="-1167"/>
                    <a:pt x="150119" y="62474"/>
                  </a:cubicBezTo>
                  <a:cubicBezTo>
                    <a:pt x="150119" y="62474"/>
                    <a:pt x="157083" y="81207"/>
                    <a:pt x="154682" y="99459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394" name="Forma livre: Forma 2393">
              <a:extLst>
                <a:ext uri="{FF2B5EF4-FFF2-40B4-BE49-F238E27FC236}">
                  <a16:creationId xmlns:a16="http://schemas.microsoft.com/office/drawing/2014/main" id="{B9BFD230-03D9-B270-207C-5C5C17AAD22F}"/>
                </a:ext>
              </a:extLst>
            </p:cNvPr>
            <p:cNvSpPr/>
            <p:nvPr/>
          </p:nvSpPr>
          <p:spPr>
            <a:xfrm>
              <a:off x="9508863" y="4131370"/>
              <a:ext cx="87449" cy="178316"/>
            </a:xfrm>
            <a:custGeom>
              <a:avLst/>
              <a:gdLst>
                <a:gd name="connsiteX0" fmla="*/ 0 w 87449"/>
                <a:gd name="connsiteY0" fmla="*/ 0 h 178316"/>
                <a:gd name="connsiteX1" fmla="*/ 87057 w 87449"/>
                <a:gd name="connsiteY1" fmla="*/ 120679 h 178316"/>
                <a:gd name="connsiteX2" fmla="*/ 60400 w 87449"/>
                <a:gd name="connsiteY2" fmla="*/ 178317 h 1783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87449" h="178316">
                  <a:moveTo>
                    <a:pt x="0" y="0"/>
                  </a:moveTo>
                  <a:cubicBezTo>
                    <a:pt x="0" y="0"/>
                    <a:pt x="94262" y="45029"/>
                    <a:pt x="87057" y="120679"/>
                  </a:cubicBezTo>
                  <a:cubicBezTo>
                    <a:pt x="87057" y="120679"/>
                    <a:pt x="85616" y="152500"/>
                    <a:pt x="60400" y="178317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395" name="Forma livre: Forma 2394">
              <a:extLst>
                <a:ext uri="{FF2B5EF4-FFF2-40B4-BE49-F238E27FC236}">
                  <a16:creationId xmlns:a16="http://schemas.microsoft.com/office/drawing/2014/main" id="{2B8BEFA0-E418-4DC4-F9BE-EEDBCA5BA2AD}"/>
                </a:ext>
              </a:extLst>
            </p:cNvPr>
            <p:cNvSpPr/>
            <p:nvPr/>
          </p:nvSpPr>
          <p:spPr>
            <a:xfrm>
              <a:off x="9360823" y="4145851"/>
              <a:ext cx="39020" cy="170559"/>
            </a:xfrm>
            <a:custGeom>
              <a:avLst/>
              <a:gdLst>
                <a:gd name="connsiteX0" fmla="*/ 36127 w 39020"/>
                <a:gd name="connsiteY0" fmla="*/ 0 h 170559"/>
                <a:gd name="connsiteX1" fmla="*/ 39021 w 39020"/>
                <a:gd name="connsiteY1" fmla="*/ 170560 h 1705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9020" h="170559">
                  <a:moveTo>
                    <a:pt x="36127" y="0"/>
                  </a:moveTo>
                  <a:cubicBezTo>
                    <a:pt x="8917" y="22179"/>
                    <a:pt x="-30721" y="81125"/>
                    <a:pt x="39021" y="17056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396" name="Forma livre: Forma 2395">
              <a:extLst>
                <a:ext uri="{FF2B5EF4-FFF2-40B4-BE49-F238E27FC236}">
                  <a16:creationId xmlns:a16="http://schemas.microsoft.com/office/drawing/2014/main" id="{4B17E77D-390D-25D6-8499-D3C7DD7B7760}"/>
                </a:ext>
              </a:extLst>
            </p:cNvPr>
            <p:cNvSpPr/>
            <p:nvPr/>
          </p:nvSpPr>
          <p:spPr>
            <a:xfrm>
              <a:off x="9398468" y="4226124"/>
              <a:ext cx="54270" cy="84163"/>
            </a:xfrm>
            <a:custGeom>
              <a:avLst/>
              <a:gdLst>
                <a:gd name="connsiteX0" fmla="*/ 54270 w 54270"/>
                <a:gd name="connsiteY0" fmla="*/ 0 h 84163"/>
                <a:gd name="connsiteX1" fmla="*/ 523 w 54270"/>
                <a:gd name="connsiteY1" fmla="*/ 84163 h 841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4270" h="84163">
                  <a:moveTo>
                    <a:pt x="54270" y="0"/>
                  </a:moveTo>
                  <a:cubicBezTo>
                    <a:pt x="35826" y="7205"/>
                    <a:pt x="-5084" y="29527"/>
                    <a:pt x="523" y="84163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397" name="Forma livre: Forma 2396">
              <a:extLst>
                <a:ext uri="{FF2B5EF4-FFF2-40B4-BE49-F238E27FC236}">
                  <a16:creationId xmlns:a16="http://schemas.microsoft.com/office/drawing/2014/main" id="{DD29D38C-DB4C-C36D-CC8A-658BD28C9823}"/>
                </a:ext>
              </a:extLst>
            </p:cNvPr>
            <p:cNvSpPr/>
            <p:nvPr/>
          </p:nvSpPr>
          <p:spPr>
            <a:xfrm>
              <a:off x="9451788" y="4088333"/>
              <a:ext cx="30465" cy="70450"/>
            </a:xfrm>
            <a:custGeom>
              <a:avLst/>
              <a:gdLst>
                <a:gd name="connsiteX0" fmla="*/ 12850 w 30465"/>
                <a:gd name="connsiteY0" fmla="*/ 0 h 70450"/>
                <a:gd name="connsiteX1" fmla="*/ 30466 w 30465"/>
                <a:gd name="connsiteY1" fmla="*/ 70450 h 70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0465" h="70450">
                  <a:moveTo>
                    <a:pt x="12850" y="0"/>
                  </a:moveTo>
                  <a:cubicBezTo>
                    <a:pt x="12850" y="0"/>
                    <a:pt x="-25575" y="27222"/>
                    <a:pt x="30466" y="7045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398" name="Forma livre: Forma 2397">
              <a:extLst>
                <a:ext uri="{FF2B5EF4-FFF2-40B4-BE49-F238E27FC236}">
                  <a16:creationId xmlns:a16="http://schemas.microsoft.com/office/drawing/2014/main" id="{57877C90-A08C-1DF6-287B-6BE2260CEB1F}"/>
                </a:ext>
              </a:extLst>
            </p:cNvPr>
            <p:cNvSpPr/>
            <p:nvPr/>
          </p:nvSpPr>
          <p:spPr>
            <a:xfrm>
              <a:off x="9565985" y="4230999"/>
              <a:ext cx="26741" cy="37308"/>
            </a:xfrm>
            <a:custGeom>
              <a:avLst/>
              <a:gdLst>
                <a:gd name="connsiteX0" fmla="*/ 0 w 26741"/>
                <a:gd name="connsiteY0" fmla="*/ 0 h 37308"/>
                <a:gd name="connsiteX1" fmla="*/ 26742 w 26741"/>
                <a:gd name="connsiteY1" fmla="*/ 37308 h 373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6741" h="37308">
                  <a:moveTo>
                    <a:pt x="0" y="0"/>
                  </a:moveTo>
                  <a:cubicBezTo>
                    <a:pt x="0" y="0"/>
                    <a:pt x="23535" y="19693"/>
                    <a:pt x="26742" y="37308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2399" name="Gráfico 17">
              <a:extLst>
                <a:ext uri="{FF2B5EF4-FFF2-40B4-BE49-F238E27FC236}">
                  <a16:creationId xmlns:a16="http://schemas.microsoft.com/office/drawing/2014/main" id="{1843D407-BB89-95BF-7181-20A1C681DD12}"/>
                </a:ext>
              </a:extLst>
            </p:cNvPr>
            <p:cNvGrpSpPr/>
            <p:nvPr/>
          </p:nvGrpSpPr>
          <p:grpSpPr>
            <a:xfrm>
              <a:off x="9398007" y="4294232"/>
              <a:ext cx="170295" cy="118661"/>
              <a:chOff x="9398007" y="4294232"/>
              <a:chExt cx="170295" cy="118661"/>
            </a:xfrm>
            <a:noFill/>
          </p:grpSpPr>
          <p:grpSp>
            <p:nvGrpSpPr>
              <p:cNvPr id="2400" name="Gráfico 17">
                <a:extLst>
                  <a:ext uri="{FF2B5EF4-FFF2-40B4-BE49-F238E27FC236}">
                    <a16:creationId xmlns:a16="http://schemas.microsoft.com/office/drawing/2014/main" id="{AA716EDA-7514-635B-67F7-000640308656}"/>
                  </a:ext>
                </a:extLst>
              </p:cNvPr>
              <p:cNvGrpSpPr/>
              <p:nvPr/>
            </p:nvGrpSpPr>
            <p:grpSpPr>
              <a:xfrm>
                <a:off x="9398007" y="4308461"/>
                <a:ext cx="170295" cy="104432"/>
                <a:chOff x="9398007" y="4308461"/>
                <a:chExt cx="170295" cy="104432"/>
              </a:xfrm>
              <a:noFill/>
            </p:grpSpPr>
            <p:sp>
              <p:nvSpPr>
                <p:cNvPr id="2401" name="Forma livre: Forma 2400">
                  <a:extLst>
                    <a:ext uri="{FF2B5EF4-FFF2-40B4-BE49-F238E27FC236}">
                      <a16:creationId xmlns:a16="http://schemas.microsoft.com/office/drawing/2014/main" id="{D6E480AD-9695-32CF-EC02-9E50CD0CFE1B}"/>
                    </a:ext>
                  </a:extLst>
                </p:cNvPr>
                <p:cNvSpPr/>
                <p:nvPr/>
              </p:nvSpPr>
              <p:spPr>
                <a:xfrm>
                  <a:off x="9481702" y="4412882"/>
                  <a:ext cx="24" cy="1200"/>
                </a:xfrm>
                <a:custGeom>
                  <a:avLst/>
                  <a:gdLst>
                    <a:gd name="connsiteX0" fmla="*/ 24 w 24"/>
                    <a:gd name="connsiteY0" fmla="*/ 0 h 1200"/>
                    <a:gd name="connsiteX1" fmla="*/ 12 w 24"/>
                    <a:gd name="connsiteY1" fmla="*/ 0 h 1200"/>
                    <a:gd name="connsiteX2" fmla="*/ 0 w 24"/>
                    <a:gd name="connsiteY2" fmla="*/ 0 h 1200"/>
                    <a:gd name="connsiteX3" fmla="*/ 24 w 24"/>
                    <a:gd name="connsiteY3" fmla="*/ 0 h 12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24" h="1200">
                      <a:moveTo>
                        <a:pt x="24" y="0"/>
                      </a:moveTo>
                      <a:lnTo>
                        <a:pt x="12" y="0"/>
                      </a:lnTo>
                      <a:lnTo>
                        <a:pt x="0" y="0"/>
                      </a:lnTo>
                      <a:lnTo>
                        <a:pt x="24" y="0"/>
                      </a:lnTo>
                      <a:close/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402" name="Forma livre: Forma 2401">
                  <a:extLst>
                    <a:ext uri="{FF2B5EF4-FFF2-40B4-BE49-F238E27FC236}">
                      <a16:creationId xmlns:a16="http://schemas.microsoft.com/office/drawing/2014/main" id="{C2CBCB95-B035-F5B2-4F9B-21DD66FDCC65}"/>
                    </a:ext>
                  </a:extLst>
                </p:cNvPr>
                <p:cNvSpPr/>
                <p:nvPr/>
              </p:nvSpPr>
              <p:spPr>
                <a:xfrm>
                  <a:off x="9398007" y="4308461"/>
                  <a:ext cx="170295" cy="104432"/>
                </a:xfrm>
                <a:custGeom>
                  <a:avLst/>
                  <a:gdLst>
                    <a:gd name="connsiteX0" fmla="*/ 0 w 170295"/>
                    <a:gd name="connsiteY0" fmla="*/ 0 h 104432"/>
                    <a:gd name="connsiteX1" fmla="*/ 85148 w 170295"/>
                    <a:gd name="connsiteY1" fmla="*/ 104432 h 104432"/>
                    <a:gd name="connsiteX2" fmla="*/ 170295 w 170295"/>
                    <a:gd name="connsiteY2" fmla="*/ 0 h 10443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70295" h="104432">
                      <a:moveTo>
                        <a:pt x="0" y="0"/>
                      </a:moveTo>
                      <a:cubicBezTo>
                        <a:pt x="0" y="0"/>
                        <a:pt x="23631" y="104420"/>
                        <a:pt x="85148" y="104432"/>
                      </a:cubicBezTo>
                      <a:cubicBezTo>
                        <a:pt x="146664" y="104432"/>
                        <a:pt x="170295" y="0"/>
                        <a:pt x="170295" y="0"/>
                      </a:cubicBez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2403" name="Gráfico 17">
                <a:extLst>
                  <a:ext uri="{FF2B5EF4-FFF2-40B4-BE49-F238E27FC236}">
                    <a16:creationId xmlns:a16="http://schemas.microsoft.com/office/drawing/2014/main" id="{8B8E6A5D-7BA8-C7CD-0325-73FC7C26F9C9}"/>
                  </a:ext>
                </a:extLst>
              </p:cNvPr>
              <p:cNvGrpSpPr/>
              <p:nvPr/>
            </p:nvGrpSpPr>
            <p:grpSpPr>
              <a:xfrm>
                <a:off x="9429347" y="4294232"/>
                <a:ext cx="107602" cy="5156"/>
                <a:chOff x="9429347" y="4294232"/>
                <a:chExt cx="107602" cy="5156"/>
              </a:xfrm>
              <a:noFill/>
            </p:grpSpPr>
            <p:sp>
              <p:nvSpPr>
                <p:cNvPr id="2404" name="Forma livre: Forma 2403">
                  <a:extLst>
                    <a:ext uri="{FF2B5EF4-FFF2-40B4-BE49-F238E27FC236}">
                      <a16:creationId xmlns:a16="http://schemas.microsoft.com/office/drawing/2014/main" id="{D6A3449C-109D-5683-6F36-4581D37DDD92}"/>
                    </a:ext>
                  </a:extLst>
                </p:cNvPr>
                <p:cNvSpPr/>
                <p:nvPr/>
              </p:nvSpPr>
              <p:spPr>
                <a:xfrm>
                  <a:off x="9429347" y="4294232"/>
                  <a:ext cx="27377" cy="5156"/>
                </a:xfrm>
                <a:custGeom>
                  <a:avLst/>
                  <a:gdLst>
                    <a:gd name="connsiteX0" fmla="*/ 27378 w 27377"/>
                    <a:gd name="connsiteY0" fmla="*/ 0 h 5156"/>
                    <a:gd name="connsiteX1" fmla="*/ 0 w 27377"/>
                    <a:gd name="connsiteY1" fmla="*/ 5127 h 515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7377" h="5156">
                      <a:moveTo>
                        <a:pt x="27378" y="0"/>
                      </a:moveTo>
                      <a:cubicBezTo>
                        <a:pt x="27378" y="0"/>
                        <a:pt x="16811" y="5608"/>
                        <a:pt x="0" y="5127"/>
                      </a:cubicBez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405" name="Forma livre: Forma 2404">
                  <a:extLst>
                    <a:ext uri="{FF2B5EF4-FFF2-40B4-BE49-F238E27FC236}">
                      <a16:creationId xmlns:a16="http://schemas.microsoft.com/office/drawing/2014/main" id="{A2BF7A54-7855-8897-EB75-D9FB5568DA1A}"/>
                    </a:ext>
                  </a:extLst>
                </p:cNvPr>
                <p:cNvSpPr/>
                <p:nvPr/>
              </p:nvSpPr>
              <p:spPr>
                <a:xfrm>
                  <a:off x="9509572" y="4294232"/>
                  <a:ext cx="27377" cy="5156"/>
                </a:xfrm>
                <a:custGeom>
                  <a:avLst/>
                  <a:gdLst>
                    <a:gd name="connsiteX0" fmla="*/ 0 w 27377"/>
                    <a:gd name="connsiteY0" fmla="*/ 0 h 5156"/>
                    <a:gd name="connsiteX1" fmla="*/ 27378 w 27377"/>
                    <a:gd name="connsiteY1" fmla="*/ 5127 h 515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7377" h="5156">
                      <a:moveTo>
                        <a:pt x="0" y="0"/>
                      </a:moveTo>
                      <a:cubicBezTo>
                        <a:pt x="0" y="0"/>
                        <a:pt x="10567" y="5608"/>
                        <a:pt x="27378" y="5127"/>
                      </a:cubicBez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2406" name="Forma livre: Forma 2405">
                <a:extLst>
                  <a:ext uri="{FF2B5EF4-FFF2-40B4-BE49-F238E27FC236}">
                    <a16:creationId xmlns:a16="http://schemas.microsoft.com/office/drawing/2014/main" id="{25333F8C-E1E1-242C-610B-7B7915CA83D1}"/>
                  </a:ext>
                </a:extLst>
              </p:cNvPr>
              <p:cNvSpPr/>
              <p:nvPr/>
            </p:nvSpPr>
            <p:spPr>
              <a:xfrm>
                <a:off x="9471135" y="4367324"/>
                <a:ext cx="24015" cy="1200"/>
              </a:xfrm>
              <a:custGeom>
                <a:avLst/>
                <a:gdLst>
                  <a:gd name="connsiteX0" fmla="*/ 0 w 24015"/>
                  <a:gd name="connsiteY0" fmla="*/ 0 h 1200"/>
                  <a:gd name="connsiteX1" fmla="*/ 24016 w 24015"/>
                  <a:gd name="connsiteY1" fmla="*/ 0 h 12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4015" h="1200">
                    <a:moveTo>
                      <a:pt x="0" y="0"/>
                    </a:moveTo>
                    <a:lnTo>
                      <a:pt x="24016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2407" name="Gráfico 17">
            <a:extLst>
              <a:ext uri="{FF2B5EF4-FFF2-40B4-BE49-F238E27FC236}">
                <a16:creationId xmlns:a16="http://schemas.microsoft.com/office/drawing/2014/main" id="{0826C966-A8D6-4633-9BB0-4B0D09D78B96}"/>
              </a:ext>
            </a:extLst>
          </p:cNvPr>
          <p:cNvGrpSpPr/>
          <p:nvPr/>
        </p:nvGrpSpPr>
        <p:grpSpPr>
          <a:xfrm>
            <a:off x="9317494" y="3569654"/>
            <a:ext cx="322146" cy="293928"/>
            <a:chOff x="9317494" y="3569654"/>
            <a:chExt cx="322146" cy="293928"/>
          </a:xfrm>
          <a:noFill/>
        </p:grpSpPr>
        <p:sp>
          <p:nvSpPr>
            <p:cNvPr id="2408" name="Forma livre: Forma 2407">
              <a:extLst>
                <a:ext uri="{FF2B5EF4-FFF2-40B4-BE49-F238E27FC236}">
                  <a16:creationId xmlns:a16="http://schemas.microsoft.com/office/drawing/2014/main" id="{215BF372-5906-BC06-BC32-CE6C23FB5DAF}"/>
                </a:ext>
              </a:extLst>
            </p:cNvPr>
            <p:cNvSpPr/>
            <p:nvPr/>
          </p:nvSpPr>
          <p:spPr>
            <a:xfrm>
              <a:off x="9324783" y="3810904"/>
              <a:ext cx="314857" cy="25144"/>
            </a:xfrm>
            <a:custGeom>
              <a:avLst/>
              <a:gdLst>
                <a:gd name="connsiteX0" fmla="*/ 0 w 314857"/>
                <a:gd name="connsiteY0" fmla="*/ 0 h 25144"/>
                <a:gd name="connsiteX1" fmla="*/ 314858 w 314857"/>
                <a:gd name="connsiteY1" fmla="*/ 0 h 25144"/>
                <a:gd name="connsiteX2" fmla="*/ 314858 w 314857"/>
                <a:gd name="connsiteY2" fmla="*/ 25144 h 25144"/>
                <a:gd name="connsiteX3" fmla="*/ 0 w 314857"/>
                <a:gd name="connsiteY3" fmla="*/ 25144 h 251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14857" h="25144">
                  <a:moveTo>
                    <a:pt x="0" y="0"/>
                  </a:moveTo>
                  <a:lnTo>
                    <a:pt x="314858" y="0"/>
                  </a:lnTo>
                  <a:lnTo>
                    <a:pt x="314858" y="25144"/>
                  </a:lnTo>
                  <a:lnTo>
                    <a:pt x="0" y="25144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2409" name="Gráfico 17">
              <a:extLst>
                <a:ext uri="{FF2B5EF4-FFF2-40B4-BE49-F238E27FC236}">
                  <a16:creationId xmlns:a16="http://schemas.microsoft.com/office/drawing/2014/main" id="{A1FBE8A3-2676-433E-F42B-02AAF5496BBB}"/>
                </a:ext>
              </a:extLst>
            </p:cNvPr>
            <p:cNvGrpSpPr/>
            <p:nvPr/>
          </p:nvGrpSpPr>
          <p:grpSpPr>
            <a:xfrm>
              <a:off x="9355343" y="3838438"/>
              <a:ext cx="250783" cy="25144"/>
              <a:chOff x="9355343" y="3838438"/>
              <a:chExt cx="250783" cy="25144"/>
            </a:xfrm>
            <a:noFill/>
          </p:grpSpPr>
          <p:sp>
            <p:nvSpPr>
              <p:cNvPr id="2410" name="Forma livre: Forma 2409">
                <a:extLst>
                  <a:ext uri="{FF2B5EF4-FFF2-40B4-BE49-F238E27FC236}">
                    <a16:creationId xmlns:a16="http://schemas.microsoft.com/office/drawing/2014/main" id="{09FE5E61-8BFB-BE95-0028-71B89D4FC194}"/>
                  </a:ext>
                </a:extLst>
              </p:cNvPr>
              <p:cNvSpPr/>
              <p:nvPr/>
            </p:nvSpPr>
            <p:spPr>
              <a:xfrm>
                <a:off x="9355343" y="3838438"/>
                <a:ext cx="56376" cy="25144"/>
              </a:xfrm>
              <a:custGeom>
                <a:avLst/>
                <a:gdLst>
                  <a:gd name="connsiteX0" fmla="*/ 56377 w 56376"/>
                  <a:gd name="connsiteY0" fmla="*/ 0 h 25144"/>
                  <a:gd name="connsiteX1" fmla="*/ 56377 w 56376"/>
                  <a:gd name="connsiteY1" fmla="*/ 25144 h 25144"/>
                  <a:gd name="connsiteX2" fmla="*/ 0 w 56376"/>
                  <a:gd name="connsiteY2" fmla="*/ 25144 h 251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56376" h="25144">
                    <a:moveTo>
                      <a:pt x="56377" y="0"/>
                    </a:moveTo>
                    <a:lnTo>
                      <a:pt x="56377" y="25144"/>
                    </a:lnTo>
                    <a:lnTo>
                      <a:pt x="0" y="25144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411" name="Forma livre: Forma 2410">
                <a:extLst>
                  <a:ext uri="{FF2B5EF4-FFF2-40B4-BE49-F238E27FC236}">
                    <a16:creationId xmlns:a16="http://schemas.microsoft.com/office/drawing/2014/main" id="{ACE6BE0C-8C3D-B6BF-3C4C-6972AD82382F}"/>
                  </a:ext>
                </a:extLst>
              </p:cNvPr>
              <p:cNvSpPr/>
              <p:nvPr/>
            </p:nvSpPr>
            <p:spPr>
              <a:xfrm>
                <a:off x="9549738" y="3838438"/>
                <a:ext cx="56388" cy="25144"/>
              </a:xfrm>
              <a:custGeom>
                <a:avLst/>
                <a:gdLst>
                  <a:gd name="connsiteX0" fmla="*/ 56389 w 56388"/>
                  <a:gd name="connsiteY0" fmla="*/ 0 h 25144"/>
                  <a:gd name="connsiteX1" fmla="*/ 56389 w 56388"/>
                  <a:gd name="connsiteY1" fmla="*/ 25144 h 25144"/>
                  <a:gd name="connsiteX2" fmla="*/ 0 w 56388"/>
                  <a:gd name="connsiteY2" fmla="*/ 25144 h 251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56388" h="25144">
                    <a:moveTo>
                      <a:pt x="56389" y="0"/>
                    </a:moveTo>
                    <a:lnTo>
                      <a:pt x="56389" y="25144"/>
                    </a:lnTo>
                    <a:lnTo>
                      <a:pt x="0" y="25144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2412" name="Forma livre: Forma 2411">
              <a:extLst>
                <a:ext uri="{FF2B5EF4-FFF2-40B4-BE49-F238E27FC236}">
                  <a16:creationId xmlns:a16="http://schemas.microsoft.com/office/drawing/2014/main" id="{38A02230-331B-9974-44B7-A2516C170716}"/>
                </a:ext>
              </a:extLst>
            </p:cNvPr>
            <p:cNvSpPr/>
            <p:nvPr/>
          </p:nvSpPr>
          <p:spPr>
            <a:xfrm>
              <a:off x="9514356" y="3755500"/>
              <a:ext cx="105982" cy="55884"/>
            </a:xfrm>
            <a:custGeom>
              <a:avLst/>
              <a:gdLst>
                <a:gd name="connsiteX0" fmla="*/ 73111 w 105982"/>
                <a:gd name="connsiteY0" fmla="*/ 55885 h 55884"/>
                <a:gd name="connsiteX1" fmla="*/ 105856 w 105982"/>
                <a:gd name="connsiteY1" fmla="*/ 0 h 55884"/>
                <a:gd name="connsiteX2" fmla="*/ 127 w 105982"/>
                <a:gd name="connsiteY2" fmla="*/ 0 h 55884"/>
                <a:gd name="connsiteX3" fmla="*/ 32860 w 105982"/>
                <a:gd name="connsiteY3" fmla="*/ 55885 h 558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5982" h="55884">
                  <a:moveTo>
                    <a:pt x="73111" y="55885"/>
                  </a:moveTo>
                  <a:cubicBezTo>
                    <a:pt x="109843" y="36720"/>
                    <a:pt x="105856" y="0"/>
                    <a:pt x="105856" y="0"/>
                  </a:cubicBezTo>
                  <a:lnTo>
                    <a:pt x="127" y="0"/>
                  </a:lnTo>
                  <a:cubicBezTo>
                    <a:pt x="127" y="0"/>
                    <a:pt x="-3860" y="36720"/>
                    <a:pt x="32860" y="55885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413" name="Forma livre: Forma 2412">
              <a:extLst>
                <a:ext uri="{FF2B5EF4-FFF2-40B4-BE49-F238E27FC236}">
                  <a16:creationId xmlns:a16="http://schemas.microsoft.com/office/drawing/2014/main" id="{18D43C8C-62F6-6FA1-323D-B3029834E2DF}"/>
                </a:ext>
              </a:extLst>
            </p:cNvPr>
            <p:cNvSpPr/>
            <p:nvPr/>
          </p:nvSpPr>
          <p:spPr>
            <a:xfrm>
              <a:off x="9317494" y="3679670"/>
              <a:ext cx="63257" cy="104984"/>
            </a:xfrm>
            <a:custGeom>
              <a:avLst/>
              <a:gdLst>
                <a:gd name="connsiteX0" fmla="*/ 41559 w 63257"/>
                <a:gd name="connsiteY0" fmla="*/ 21410 h 104984"/>
                <a:gd name="connsiteX1" fmla="*/ 0 w 63257"/>
                <a:gd name="connsiteY1" fmla="*/ 0 h 104984"/>
                <a:gd name="connsiteX2" fmla="*/ 0 w 63257"/>
                <a:gd name="connsiteY2" fmla="*/ 27162 h 104984"/>
                <a:gd name="connsiteX3" fmla="*/ 22383 w 63257"/>
                <a:gd name="connsiteY3" fmla="*/ 57542 h 104984"/>
                <a:gd name="connsiteX4" fmla="*/ 54888 w 63257"/>
                <a:gd name="connsiteY4" fmla="*/ 103688 h 104984"/>
                <a:gd name="connsiteX5" fmla="*/ 63257 w 63257"/>
                <a:gd name="connsiteY5" fmla="*/ 104985 h 1049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3257" h="104984">
                  <a:moveTo>
                    <a:pt x="41559" y="21410"/>
                  </a:moveTo>
                  <a:cubicBezTo>
                    <a:pt x="23247" y="9955"/>
                    <a:pt x="0" y="0"/>
                    <a:pt x="0" y="0"/>
                  </a:cubicBezTo>
                  <a:lnTo>
                    <a:pt x="0" y="27162"/>
                  </a:lnTo>
                  <a:cubicBezTo>
                    <a:pt x="0" y="27162"/>
                    <a:pt x="19717" y="36780"/>
                    <a:pt x="22383" y="57542"/>
                  </a:cubicBezTo>
                  <a:cubicBezTo>
                    <a:pt x="22383" y="57542"/>
                    <a:pt x="22383" y="96987"/>
                    <a:pt x="54888" y="103688"/>
                  </a:cubicBezTo>
                  <a:lnTo>
                    <a:pt x="63257" y="104985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414" name="Forma livre: Forma 2413">
              <a:extLst>
                <a:ext uri="{FF2B5EF4-FFF2-40B4-BE49-F238E27FC236}">
                  <a16:creationId xmlns:a16="http://schemas.microsoft.com/office/drawing/2014/main" id="{C3097C8C-F822-63DD-5D99-F54E49BC1F56}"/>
                </a:ext>
              </a:extLst>
            </p:cNvPr>
            <p:cNvSpPr/>
            <p:nvPr/>
          </p:nvSpPr>
          <p:spPr>
            <a:xfrm>
              <a:off x="9367207" y="3696193"/>
              <a:ext cx="192954" cy="115179"/>
            </a:xfrm>
            <a:custGeom>
              <a:avLst/>
              <a:gdLst>
                <a:gd name="connsiteX0" fmla="*/ 192954 w 192954"/>
                <a:gd name="connsiteY0" fmla="*/ 38317 h 115179"/>
                <a:gd name="connsiteX1" fmla="*/ 171472 w 192954"/>
                <a:gd name="connsiteY1" fmla="*/ 0 h 115179"/>
                <a:gd name="connsiteX2" fmla="*/ 22371 w 192954"/>
                <a:gd name="connsiteY2" fmla="*/ 0 h 115179"/>
                <a:gd name="connsiteX3" fmla="*/ 0 w 192954"/>
                <a:gd name="connsiteY3" fmla="*/ 48644 h 115179"/>
                <a:gd name="connsiteX4" fmla="*/ 49833 w 192954"/>
                <a:gd name="connsiteY4" fmla="*/ 115179 h 1151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2954" h="115179">
                  <a:moveTo>
                    <a:pt x="192954" y="38317"/>
                  </a:moveTo>
                  <a:cubicBezTo>
                    <a:pt x="190445" y="23848"/>
                    <a:pt x="182784" y="10687"/>
                    <a:pt x="171472" y="0"/>
                  </a:cubicBezTo>
                  <a:lnTo>
                    <a:pt x="22371" y="0"/>
                  </a:lnTo>
                  <a:cubicBezTo>
                    <a:pt x="8405" y="13185"/>
                    <a:pt x="0" y="30140"/>
                    <a:pt x="0" y="48644"/>
                  </a:cubicBezTo>
                  <a:cubicBezTo>
                    <a:pt x="0" y="77259"/>
                    <a:pt x="20113" y="102187"/>
                    <a:pt x="49833" y="115179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415" name="Forma livre: Forma 2414">
              <a:extLst>
                <a:ext uri="{FF2B5EF4-FFF2-40B4-BE49-F238E27FC236}">
                  <a16:creationId xmlns:a16="http://schemas.microsoft.com/office/drawing/2014/main" id="{9AF470CC-CA38-B239-81C6-FC8BA02DF635}"/>
                </a:ext>
              </a:extLst>
            </p:cNvPr>
            <p:cNvSpPr/>
            <p:nvPr/>
          </p:nvSpPr>
          <p:spPr>
            <a:xfrm>
              <a:off x="9404251" y="3648870"/>
              <a:ext cx="119706" cy="26405"/>
            </a:xfrm>
            <a:custGeom>
              <a:avLst/>
              <a:gdLst>
                <a:gd name="connsiteX0" fmla="*/ 119706 w 119706"/>
                <a:gd name="connsiteY0" fmla="*/ 26405 h 26405"/>
                <a:gd name="connsiteX1" fmla="*/ 59847 w 119706"/>
                <a:gd name="connsiteY1" fmla="*/ 0 h 26405"/>
                <a:gd name="connsiteX2" fmla="*/ 0 w 119706"/>
                <a:gd name="connsiteY2" fmla="*/ 26405 h 264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19706" h="26405">
                  <a:moveTo>
                    <a:pt x="119706" y="26405"/>
                  </a:moveTo>
                  <a:cubicBezTo>
                    <a:pt x="111265" y="11071"/>
                    <a:pt x="87681" y="0"/>
                    <a:pt x="59847" y="0"/>
                  </a:cubicBezTo>
                  <a:cubicBezTo>
                    <a:pt x="32013" y="0"/>
                    <a:pt x="8454" y="11071"/>
                    <a:pt x="0" y="26405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416" name="Forma livre: Forma 2415">
              <a:extLst>
                <a:ext uri="{FF2B5EF4-FFF2-40B4-BE49-F238E27FC236}">
                  <a16:creationId xmlns:a16="http://schemas.microsoft.com/office/drawing/2014/main" id="{92E9D5C4-5EEB-10F6-E926-0E2209A7F4F7}"/>
                </a:ext>
              </a:extLst>
            </p:cNvPr>
            <p:cNvSpPr/>
            <p:nvPr/>
          </p:nvSpPr>
          <p:spPr>
            <a:xfrm>
              <a:off x="9449557" y="3617794"/>
              <a:ext cx="29107" cy="29095"/>
            </a:xfrm>
            <a:custGeom>
              <a:avLst/>
              <a:gdLst>
                <a:gd name="connsiteX0" fmla="*/ 29107 w 29107"/>
                <a:gd name="connsiteY0" fmla="*/ 14554 h 29095"/>
                <a:gd name="connsiteX1" fmla="*/ 14554 w 29107"/>
                <a:gd name="connsiteY1" fmla="*/ 29095 h 29095"/>
                <a:gd name="connsiteX2" fmla="*/ 0 w 29107"/>
                <a:gd name="connsiteY2" fmla="*/ 14554 h 29095"/>
                <a:gd name="connsiteX3" fmla="*/ 14554 w 29107"/>
                <a:gd name="connsiteY3" fmla="*/ 0 h 29095"/>
                <a:gd name="connsiteX4" fmla="*/ 29107 w 29107"/>
                <a:gd name="connsiteY4" fmla="*/ 14554 h 290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9107" h="29095">
                  <a:moveTo>
                    <a:pt x="29107" y="14554"/>
                  </a:moveTo>
                  <a:cubicBezTo>
                    <a:pt x="29107" y="22599"/>
                    <a:pt x="22587" y="29095"/>
                    <a:pt x="14554" y="29095"/>
                  </a:cubicBezTo>
                  <a:cubicBezTo>
                    <a:pt x="6520" y="29095"/>
                    <a:pt x="0" y="22599"/>
                    <a:pt x="0" y="14554"/>
                  </a:cubicBezTo>
                  <a:cubicBezTo>
                    <a:pt x="0" y="6508"/>
                    <a:pt x="6508" y="0"/>
                    <a:pt x="14554" y="0"/>
                  </a:cubicBezTo>
                  <a:cubicBezTo>
                    <a:pt x="22599" y="0"/>
                    <a:pt x="29107" y="6520"/>
                    <a:pt x="29107" y="14554"/>
                  </a:cubicBez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417" name="Forma livre: Forma 2416">
              <a:extLst>
                <a:ext uri="{FF2B5EF4-FFF2-40B4-BE49-F238E27FC236}">
                  <a16:creationId xmlns:a16="http://schemas.microsoft.com/office/drawing/2014/main" id="{3FBBCA6C-362D-075C-10B1-CE378A758182}"/>
                </a:ext>
              </a:extLst>
            </p:cNvPr>
            <p:cNvSpPr/>
            <p:nvPr/>
          </p:nvSpPr>
          <p:spPr>
            <a:xfrm>
              <a:off x="9370857" y="3569654"/>
              <a:ext cx="186505" cy="105489"/>
            </a:xfrm>
            <a:custGeom>
              <a:avLst/>
              <a:gdLst>
                <a:gd name="connsiteX0" fmla="*/ 173898 w 186505"/>
                <a:gd name="connsiteY0" fmla="*/ 105489 h 105489"/>
                <a:gd name="connsiteX1" fmla="*/ 173898 w 186505"/>
                <a:gd name="connsiteY1" fmla="*/ 96591 h 105489"/>
                <a:gd name="connsiteX2" fmla="*/ 183528 w 186505"/>
                <a:gd name="connsiteY2" fmla="*/ 66235 h 105489"/>
                <a:gd name="connsiteX3" fmla="*/ 186506 w 186505"/>
                <a:gd name="connsiteY3" fmla="*/ 46915 h 105489"/>
                <a:gd name="connsiteX4" fmla="*/ 93253 w 186505"/>
                <a:gd name="connsiteY4" fmla="*/ 0 h 105489"/>
                <a:gd name="connsiteX5" fmla="*/ 93253 w 186505"/>
                <a:gd name="connsiteY5" fmla="*/ 0 h 105489"/>
                <a:gd name="connsiteX6" fmla="*/ 0 w 186505"/>
                <a:gd name="connsiteY6" fmla="*/ 46915 h 105489"/>
                <a:gd name="connsiteX7" fmla="*/ 2978 w 186505"/>
                <a:gd name="connsiteY7" fmla="*/ 66235 h 105489"/>
                <a:gd name="connsiteX8" fmla="*/ 12608 w 186505"/>
                <a:gd name="connsiteY8" fmla="*/ 96591 h 105489"/>
                <a:gd name="connsiteX9" fmla="*/ 12608 w 186505"/>
                <a:gd name="connsiteY9" fmla="*/ 105489 h 1054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86505" h="105489">
                  <a:moveTo>
                    <a:pt x="173898" y="105489"/>
                  </a:moveTo>
                  <a:lnTo>
                    <a:pt x="173898" y="96591"/>
                  </a:lnTo>
                  <a:cubicBezTo>
                    <a:pt x="173898" y="84535"/>
                    <a:pt x="178785" y="78651"/>
                    <a:pt x="183528" y="66235"/>
                  </a:cubicBezTo>
                  <a:cubicBezTo>
                    <a:pt x="183528" y="66235"/>
                    <a:pt x="186506" y="58478"/>
                    <a:pt x="186506" y="46915"/>
                  </a:cubicBezTo>
                  <a:cubicBezTo>
                    <a:pt x="186506" y="24472"/>
                    <a:pt x="167317" y="0"/>
                    <a:pt x="93253" y="0"/>
                  </a:cubicBezTo>
                  <a:lnTo>
                    <a:pt x="93253" y="0"/>
                  </a:lnTo>
                  <a:cubicBezTo>
                    <a:pt x="19189" y="0"/>
                    <a:pt x="0" y="24472"/>
                    <a:pt x="0" y="46915"/>
                  </a:cubicBezTo>
                  <a:cubicBezTo>
                    <a:pt x="0" y="58478"/>
                    <a:pt x="2978" y="66235"/>
                    <a:pt x="2978" y="66235"/>
                  </a:cubicBezTo>
                  <a:cubicBezTo>
                    <a:pt x="7721" y="78651"/>
                    <a:pt x="12608" y="84523"/>
                    <a:pt x="12608" y="96591"/>
                  </a:cubicBezTo>
                  <a:lnTo>
                    <a:pt x="12608" y="105489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2418" name="Gráfico 17">
            <a:extLst>
              <a:ext uri="{FF2B5EF4-FFF2-40B4-BE49-F238E27FC236}">
                <a16:creationId xmlns:a16="http://schemas.microsoft.com/office/drawing/2014/main" id="{6D4605F4-5929-29F2-D19A-64BC6E92A93F}"/>
              </a:ext>
            </a:extLst>
          </p:cNvPr>
          <p:cNvGrpSpPr/>
          <p:nvPr/>
        </p:nvGrpSpPr>
        <p:grpSpPr>
          <a:xfrm>
            <a:off x="9334581" y="4624124"/>
            <a:ext cx="287972" cy="315038"/>
            <a:chOff x="9334581" y="4624124"/>
            <a:chExt cx="287972" cy="315038"/>
          </a:xfrm>
          <a:noFill/>
        </p:grpSpPr>
        <p:sp>
          <p:nvSpPr>
            <p:cNvPr id="2419" name="Forma livre: Forma 2418">
              <a:extLst>
                <a:ext uri="{FF2B5EF4-FFF2-40B4-BE49-F238E27FC236}">
                  <a16:creationId xmlns:a16="http://schemas.microsoft.com/office/drawing/2014/main" id="{87367A55-EC05-4B65-EFA8-D96560B18E2A}"/>
                </a:ext>
              </a:extLst>
            </p:cNvPr>
            <p:cNvSpPr/>
            <p:nvPr/>
          </p:nvSpPr>
          <p:spPr>
            <a:xfrm>
              <a:off x="9441355" y="4624124"/>
              <a:ext cx="68840" cy="68853"/>
            </a:xfrm>
            <a:custGeom>
              <a:avLst/>
              <a:gdLst>
                <a:gd name="connsiteX0" fmla="*/ 68841 w 68840"/>
                <a:gd name="connsiteY0" fmla="*/ 34415 h 68853"/>
                <a:gd name="connsiteX1" fmla="*/ 34427 w 68840"/>
                <a:gd name="connsiteY1" fmla="*/ 68853 h 68853"/>
                <a:gd name="connsiteX2" fmla="*/ 0 w 68840"/>
                <a:gd name="connsiteY2" fmla="*/ 34415 h 68853"/>
                <a:gd name="connsiteX3" fmla="*/ 34427 w 68840"/>
                <a:gd name="connsiteY3" fmla="*/ 0 h 68853"/>
                <a:gd name="connsiteX4" fmla="*/ 68841 w 68840"/>
                <a:gd name="connsiteY4" fmla="*/ 34415 h 688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8840" h="68853">
                  <a:moveTo>
                    <a:pt x="68841" y="34415"/>
                  </a:moveTo>
                  <a:cubicBezTo>
                    <a:pt x="68841" y="53435"/>
                    <a:pt x="53423" y="68853"/>
                    <a:pt x="34427" y="68853"/>
                  </a:cubicBezTo>
                  <a:cubicBezTo>
                    <a:pt x="15430" y="68853"/>
                    <a:pt x="0" y="53435"/>
                    <a:pt x="0" y="34415"/>
                  </a:cubicBezTo>
                  <a:cubicBezTo>
                    <a:pt x="0" y="15394"/>
                    <a:pt x="15418" y="0"/>
                    <a:pt x="34427" y="0"/>
                  </a:cubicBezTo>
                  <a:cubicBezTo>
                    <a:pt x="53435" y="0"/>
                    <a:pt x="68841" y="15418"/>
                    <a:pt x="68841" y="34415"/>
                  </a:cubicBez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420" name="Forma livre: Forma 2419">
              <a:extLst>
                <a:ext uri="{FF2B5EF4-FFF2-40B4-BE49-F238E27FC236}">
                  <a16:creationId xmlns:a16="http://schemas.microsoft.com/office/drawing/2014/main" id="{A1A39EBC-BEF2-76B9-D3AF-6E225E3C2493}"/>
                </a:ext>
              </a:extLst>
            </p:cNvPr>
            <p:cNvSpPr/>
            <p:nvPr/>
          </p:nvSpPr>
          <p:spPr>
            <a:xfrm>
              <a:off x="9334581" y="4722260"/>
              <a:ext cx="287972" cy="160884"/>
            </a:xfrm>
            <a:custGeom>
              <a:avLst/>
              <a:gdLst>
                <a:gd name="connsiteX0" fmla="*/ 287972 w 287972"/>
                <a:gd name="connsiteY0" fmla="*/ 160885 h 160884"/>
                <a:gd name="connsiteX1" fmla="*/ 214556 w 287972"/>
                <a:gd name="connsiteY1" fmla="*/ 117164 h 160884"/>
                <a:gd name="connsiteX2" fmla="*/ 217390 w 287972"/>
                <a:gd name="connsiteY2" fmla="*/ 39738 h 160884"/>
                <a:gd name="connsiteX3" fmla="*/ 180298 w 287972"/>
                <a:gd name="connsiteY3" fmla="*/ 4 h 160884"/>
                <a:gd name="connsiteX4" fmla="*/ 107687 w 287972"/>
                <a:gd name="connsiteY4" fmla="*/ 4 h 160884"/>
                <a:gd name="connsiteX5" fmla="*/ 70594 w 287972"/>
                <a:gd name="connsiteY5" fmla="*/ 39738 h 160884"/>
                <a:gd name="connsiteX6" fmla="*/ 73404 w 287972"/>
                <a:gd name="connsiteY6" fmla="*/ 117164 h 160884"/>
                <a:gd name="connsiteX7" fmla="*/ 0 w 287972"/>
                <a:gd name="connsiteY7" fmla="*/ 160885 h 1608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7972" h="160884">
                  <a:moveTo>
                    <a:pt x="287972" y="160885"/>
                  </a:moveTo>
                  <a:lnTo>
                    <a:pt x="214556" y="117164"/>
                  </a:lnTo>
                  <a:lnTo>
                    <a:pt x="217390" y="39738"/>
                  </a:lnTo>
                  <a:cubicBezTo>
                    <a:pt x="219552" y="-1197"/>
                    <a:pt x="180298" y="4"/>
                    <a:pt x="180298" y="4"/>
                  </a:cubicBezTo>
                  <a:lnTo>
                    <a:pt x="107687" y="4"/>
                  </a:lnTo>
                  <a:cubicBezTo>
                    <a:pt x="107687" y="4"/>
                    <a:pt x="68421" y="-1185"/>
                    <a:pt x="70594" y="39738"/>
                  </a:cubicBezTo>
                  <a:lnTo>
                    <a:pt x="73404" y="117164"/>
                  </a:lnTo>
                  <a:lnTo>
                    <a:pt x="0" y="160885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421" name="Forma livre: Forma 2420">
              <a:extLst>
                <a:ext uri="{FF2B5EF4-FFF2-40B4-BE49-F238E27FC236}">
                  <a16:creationId xmlns:a16="http://schemas.microsoft.com/office/drawing/2014/main" id="{020DCAD9-AE22-4D3E-6A2F-B33CA7F9A56F}"/>
                </a:ext>
              </a:extLst>
            </p:cNvPr>
            <p:cNvSpPr/>
            <p:nvPr/>
          </p:nvSpPr>
          <p:spPr>
            <a:xfrm>
              <a:off x="9355139" y="4763499"/>
              <a:ext cx="83082" cy="175650"/>
            </a:xfrm>
            <a:custGeom>
              <a:avLst/>
              <a:gdLst>
                <a:gd name="connsiteX0" fmla="*/ 52078 w 83082"/>
                <a:gd name="connsiteY0" fmla="*/ 175651 h 175650"/>
                <a:gd name="connsiteX1" fmla="*/ 21614 w 83082"/>
                <a:gd name="connsiteY1" fmla="*/ 175651 h 175650"/>
                <a:gd name="connsiteX2" fmla="*/ 0 w 83082"/>
                <a:gd name="connsiteY2" fmla="*/ 154037 h 175650"/>
                <a:gd name="connsiteX3" fmla="*/ 0 w 83082"/>
                <a:gd name="connsiteY3" fmla="*/ 154037 h 175650"/>
                <a:gd name="connsiteX4" fmla="*/ 20005 w 83082"/>
                <a:gd name="connsiteY4" fmla="*/ 127523 h 175650"/>
                <a:gd name="connsiteX5" fmla="*/ 83082 w 83082"/>
                <a:gd name="connsiteY5" fmla="*/ 92400 h 175650"/>
                <a:gd name="connsiteX6" fmla="*/ 80056 w 83082"/>
                <a:gd name="connsiteY6" fmla="*/ 0 h 1756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3082" h="175650">
                  <a:moveTo>
                    <a:pt x="52078" y="175651"/>
                  </a:moveTo>
                  <a:lnTo>
                    <a:pt x="21614" y="175651"/>
                  </a:lnTo>
                  <a:cubicBezTo>
                    <a:pt x="9726" y="175651"/>
                    <a:pt x="0" y="165924"/>
                    <a:pt x="0" y="154037"/>
                  </a:cubicBezTo>
                  <a:lnTo>
                    <a:pt x="0" y="154037"/>
                  </a:lnTo>
                  <a:cubicBezTo>
                    <a:pt x="0" y="142137"/>
                    <a:pt x="5812" y="136229"/>
                    <a:pt x="20005" y="127523"/>
                  </a:cubicBezTo>
                  <a:lnTo>
                    <a:pt x="83082" y="92400"/>
                  </a:lnTo>
                  <a:lnTo>
                    <a:pt x="80056" y="0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422" name="Forma livre: Forma 2421">
              <a:extLst>
                <a:ext uri="{FF2B5EF4-FFF2-40B4-BE49-F238E27FC236}">
                  <a16:creationId xmlns:a16="http://schemas.microsoft.com/office/drawing/2014/main" id="{83355BEC-027A-0763-1F91-A9864347ECC6}"/>
                </a:ext>
              </a:extLst>
            </p:cNvPr>
            <p:cNvSpPr/>
            <p:nvPr/>
          </p:nvSpPr>
          <p:spPr>
            <a:xfrm>
              <a:off x="9428542" y="4763511"/>
              <a:ext cx="173442" cy="175650"/>
            </a:xfrm>
            <a:custGeom>
              <a:avLst/>
              <a:gdLst>
                <a:gd name="connsiteX0" fmla="*/ 93386 w 173442"/>
                <a:gd name="connsiteY0" fmla="*/ 0 h 175650"/>
                <a:gd name="connsiteX1" fmla="*/ 90360 w 173442"/>
                <a:gd name="connsiteY1" fmla="*/ 92400 h 175650"/>
                <a:gd name="connsiteX2" fmla="*/ 153426 w 173442"/>
                <a:gd name="connsiteY2" fmla="*/ 127523 h 175650"/>
                <a:gd name="connsiteX3" fmla="*/ 173443 w 173442"/>
                <a:gd name="connsiteY3" fmla="*/ 154037 h 175650"/>
                <a:gd name="connsiteX4" fmla="*/ 173443 w 173442"/>
                <a:gd name="connsiteY4" fmla="*/ 154037 h 175650"/>
                <a:gd name="connsiteX5" fmla="*/ 151829 w 173442"/>
                <a:gd name="connsiteY5" fmla="*/ 175651 h 175650"/>
                <a:gd name="connsiteX6" fmla="*/ 20463 w 173442"/>
                <a:gd name="connsiteY6" fmla="*/ 175651 h 175650"/>
                <a:gd name="connsiteX7" fmla="*/ 4576 w 173442"/>
                <a:gd name="connsiteY7" fmla="*/ 167822 h 175650"/>
                <a:gd name="connsiteX8" fmla="*/ 28820 w 173442"/>
                <a:gd name="connsiteY8" fmla="*/ 132278 h 175650"/>
                <a:gd name="connsiteX9" fmla="*/ 77644 w 173442"/>
                <a:gd name="connsiteY9" fmla="*/ 132278 h 1756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73442" h="175650">
                  <a:moveTo>
                    <a:pt x="93386" y="0"/>
                  </a:moveTo>
                  <a:lnTo>
                    <a:pt x="90360" y="92400"/>
                  </a:lnTo>
                  <a:lnTo>
                    <a:pt x="153426" y="127523"/>
                  </a:lnTo>
                  <a:cubicBezTo>
                    <a:pt x="167643" y="136229"/>
                    <a:pt x="173443" y="142137"/>
                    <a:pt x="173443" y="154037"/>
                  </a:cubicBezTo>
                  <a:lnTo>
                    <a:pt x="173443" y="154037"/>
                  </a:lnTo>
                  <a:cubicBezTo>
                    <a:pt x="173443" y="165924"/>
                    <a:pt x="163717" y="175651"/>
                    <a:pt x="151829" y="175651"/>
                  </a:cubicBezTo>
                  <a:lnTo>
                    <a:pt x="20463" y="175651"/>
                  </a:lnTo>
                  <a:cubicBezTo>
                    <a:pt x="7879" y="175651"/>
                    <a:pt x="4576" y="167822"/>
                    <a:pt x="4576" y="167822"/>
                  </a:cubicBezTo>
                  <a:cubicBezTo>
                    <a:pt x="-13736" y="130898"/>
                    <a:pt x="28820" y="132278"/>
                    <a:pt x="28820" y="132278"/>
                  </a:cubicBezTo>
                  <a:lnTo>
                    <a:pt x="77644" y="132278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2423" name="Gráfico 17">
            <a:extLst>
              <a:ext uri="{FF2B5EF4-FFF2-40B4-BE49-F238E27FC236}">
                <a16:creationId xmlns:a16="http://schemas.microsoft.com/office/drawing/2014/main" id="{775AF4FE-CFCC-68CF-0A61-A3D7FE3599C4}"/>
              </a:ext>
            </a:extLst>
          </p:cNvPr>
          <p:cNvGrpSpPr/>
          <p:nvPr/>
        </p:nvGrpSpPr>
        <p:grpSpPr>
          <a:xfrm>
            <a:off x="8703485" y="5691538"/>
            <a:ext cx="297194" cy="310198"/>
            <a:chOff x="8703485" y="5691538"/>
            <a:chExt cx="297194" cy="310198"/>
          </a:xfrm>
        </p:grpSpPr>
        <p:sp>
          <p:nvSpPr>
            <p:cNvPr id="2424" name="Forma livre: Forma 2423">
              <a:extLst>
                <a:ext uri="{FF2B5EF4-FFF2-40B4-BE49-F238E27FC236}">
                  <a16:creationId xmlns:a16="http://schemas.microsoft.com/office/drawing/2014/main" id="{A2EC4373-808B-8D78-E23A-6D828A17B896}"/>
                </a:ext>
              </a:extLst>
            </p:cNvPr>
            <p:cNvSpPr/>
            <p:nvPr/>
          </p:nvSpPr>
          <p:spPr>
            <a:xfrm>
              <a:off x="8716970" y="5763189"/>
              <a:ext cx="7204" cy="7204"/>
            </a:xfrm>
            <a:custGeom>
              <a:avLst/>
              <a:gdLst>
                <a:gd name="connsiteX0" fmla="*/ 0 w 7204"/>
                <a:gd name="connsiteY0" fmla="*/ 3602 h 7204"/>
                <a:gd name="connsiteX1" fmla="*/ 3590 w 7204"/>
                <a:gd name="connsiteY1" fmla="*/ 7205 h 7204"/>
                <a:gd name="connsiteX2" fmla="*/ 7205 w 7204"/>
                <a:gd name="connsiteY2" fmla="*/ 3602 h 7204"/>
                <a:gd name="connsiteX3" fmla="*/ 3590 w 7204"/>
                <a:gd name="connsiteY3" fmla="*/ 0 h 7204"/>
                <a:gd name="connsiteX4" fmla="*/ 0 w 7204"/>
                <a:gd name="connsiteY4" fmla="*/ 3602 h 72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204" h="7204">
                  <a:moveTo>
                    <a:pt x="0" y="3602"/>
                  </a:moveTo>
                  <a:cubicBezTo>
                    <a:pt x="0" y="5596"/>
                    <a:pt x="1609" y="7205"/>
                    <a:pt x="3590" y="7205"/>
                  </a:cubicBezTo>
                  <a:cubicBezTo>
                    <a:pt x="5572" y="7205"/>
                    <a:pt x="7205" y="5596"/>
                    <a:pt x="7205" y="3602"/>
                  </a:cubicBezTo>
                  <a:cubicBezTo>
                    <a:pt x="7205" y="1609"/>
                    <a:pt x="5572" y="0"/>
                    <a:pt x="3590" y="0"/>
                  </a:cubicBezTo>
                  <a:cubicBezTo>
                    <a:pt x="1609" y="0"/>
                    <a:pt x="0" y="1609"/>
                    <a:pt x="0" y="3602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425" name="Forma livre: Forma 2424">
              <a:extLst>
                <a:ext uri="{FF2B5EF4-FFF2-40B4-BE49-F238E27FC236}">
                  <a16:creationId xmlns:a16="http://schemas.microsoft.com/office/drawing/2014/main" id="{B015AEE5-5F68-C840-C012-CA1B344513F1}"/>
                </a:ext>
              </a:extLst>
            </p:cNvPr>
            <p:cNvSpPr/>
            <p:nvPr/>
          </p:nvSpPr>
          <p:spPr>
            <a:xfrm>
              <a:off x="8837528" y="5695945"/>
              <a:ext cx="7204" cy="7204"/>
            </a:xfrm>
            <a:custGeom>
              <a:avLst/>
              <a:gdLst>
                <a:gd name="connsiteX0" fmla="*/ 0 w 7204"/>
                <a:gd name="connsiteY0" fmla="*/ 3602 h 7204"/>
                <a:gd name="connsiteX1" fmla="*/ 3590 w 7204"/>
                <a:gd name="connsiteY1" fmla="*/ 7205 h 7204"/>
                <a:gd name="connsiteX2" fmla="*/ 7205 w 7204"/>
                <a:gd name="connsiteY2" fmla="*/ 3602 h 7204"/>
                <a:gd name="connsiteX3" fmla="*/ 3590 w 7204"/>
                <a:gd name="connsiteY3" fmla="*/ 0 h 7204"/>
                <a:gd name="connsiteX4" fmla="*/ 0 w 7204"/>
                <a:gd name="connsiteY4" fmla="*/ 3602 h 72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204" h="7204">
                  <a:moveTo>
                    <a:pt x="0" y="3602"/>
                  </a:moveTo>
                  <a:cubicBezTo>
                    <a:pt x="0" y="5596"/>
                    <a:pt x="1609" y="7205"/>
                    <a:pt x="3590" y="7205"/>
                  </a:cubicBezTo>
                  <a:cubicBezTo>
                    <a:pt x="5572" y="7205"/>
                    <a:pt x="7205" y="5596"/>
                    <a:pt x="7205" y="3602"/>
                  </a:cubicBezTo>
                  <a:cubicBezTo>
                    <a:pt x="7205" y="1609"/>
                    <a:pt x="5572" y="0"/>
                    <a:pt x="3590" y="0"/>
                  </a:cubicBezTo>
                  <a:cubicBezTo>
                    <a:pt x="1609" y="0"/>
                    <a:pt x="0" y="1609"/>
                    <a:pt x="0" y="3602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426" name="Forma livre: Forma 2425">
              <a:extLst>
                <a:ext uri="{FF2B5EF4-FFF2-40B4-BE49-F238E27FC236}">
                  <a16:creationId xmlns:a16="http://schemas.microsoft.com/office/drawing/2014/main" id="{97E1FCC4-3C76-FEC1-AA39-BEC38A1DF4F0}"/>
                </a:ext>
              </a:extLst>
            </p:cNvPr>
            <p:cNvSpPr/>
            <p:nvPr/>
          </p:nvSpPr>
          <p:spPr>
            <a:xfrm>
              <a:off x="8742979" y="5691538"/>
              <a:ext cx="89986" cy="89986"/>
            </a:xfrm>
            <a:custGeom>
              <a:avLst/>
              <a:gdLst>
                <a:gd name="connsiteX0" fmla="*/ 44993 w 89986"/>
                <a:gd name="connsiteY0" fmla="*/ 89987 h 89986"/>
                <a:gd name="connsiteX1" fmla="*/ 0 w 89986"/>
                <a:gd name="connsiteY1" fmla="*/ 44993 h 89986"/>
                <a:gd name="connsiteX2" fmla="*/ 44993 w 89986"/>
                <a:gd name="connsiteY2" fmla="*/ 0 h 89986"/>
                <a:gd name="connsiteX3" fmla="*/ 89987 w 89986"/>
                <a:gd name="connsiteY3" fmla="*/ 44993 h 89986"/>
                <a:gd name="connsiteX4" fmla="*/ 44993 w 89986"/>
                <a:gd name="connsiteY4" fmla="*/ 89987 h 899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9986" h="89986">
                  <a:moveTo>
                    <a:pt x="44993" y="89987"/>
                  </a:moveTo>
                  <a:cubicBezTo>
                    <a:pt x="30200" y="56401"/>
                    <a:pt x="33586" y="59799"/>
                    <a:pt x="0" y="44993"/>
                  </a:cubicBezTo>
                  <a:cubicBezTo>
                    <a:pt x="33586" y="30188"/>
                    <a:pt x="30200" y="33586"/>
                    <a:pt x="44993" y="0"/>
                  </a:cubicBezTo>
                  <a:cubicBezTo>
                    <a:pt x="59787" y="33574"/>
                    <a:pt x="56401" y="30188"/>
                    <a:pt x="89987" y="44993"/>
                  </a:cubicBezTo>
                  <a:cubicBezTo>
                    <a:pt x="56401" y="59799"/>
                    <a:pt x="59775" y="56401"/>
                    <a:pt x="44993" y="89987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2427" name="Gráfico 17">
              <a:extLst>
                <a:ext uri="{FF2B5EF4-FFF2-40B4-BE49-F238E27FC236}">
                  <a16:creationId xmlns:a16="http://schemas.microsoft.com/office/drawing/2014/main" id="{F8819D1B-1618-8E6B-2AD7-9E851F515534}"/>
                </a:ext>
              </a:extLst>
            </p:cNvPr>
            <p:cNvGrpSpPr/>
            <p:nvPr/>
          </p:nvGrpSpPr>
          <p:grpSpPr>
            <a:xfrm>
              <a:off x="8823671" y="5763885"/>
              <a:ext cx="54971" cy="54983"/>
              <a:chOff x="8823671" y="5763885"/>
              <a:chExt cx="54971" cy="54983"/>
            </a:xfrm>
          </p:grpSpPr>
          <p:sp>
            <p:nvSpPr>
              <p:cNvPr id="2428" name="Forma livre: Forma 2427">
                <a:extLst>
                  <a:ext uri="{FF2B5EF4-FFF2-40B4-BE49-F238E27FC236}">
                    <a16:creationId xmlns:a16="http://schemas.microsoft.com/office/drawing/2014/main" id="{1BE7B217-15F1-83DE-D110-AD4BB6139850}"/>
                  </a:ext>
                </a:extLst>
              </p:cNvPr>
              <p:cNvSpPr/>
              <p:nvPr/>
            </p:nvSpPr>
            <p:spPr>
              <a:xfrm>
                <a:off x="8851157" y="5763885"/>
                <a:ext cx="1200" cy="17507"/>
              </a:xfrm>
              <a:custGeom>
                <a:avLst/>
                <a:gdLst>
                  <a:gd name="connsiteX0" fmla="*/ 0 w 1200"/>
                  <a:gd name="connsiteY0" fmla="*/ 0 h 17507"/>
                  <a:gd name="connsiteX1" fmla="*/ 0 w 1200"/>
                  <a:gd name="connsiteY1" fmla="*/ 17507 h 175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00" h="17507">
                    <a:moveTo>
                      <a:pt x="0" y="0"/>
                    </a:moveTo>
                    <a:lnTo>
                      <a:pt x="0" y="17507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429" name="Forma livre: Forma 2428">
                <a:extLst>
                  <a:ext uri="{FF2B5EF4-FFF2-40B4-BE49-F238E27FC236}">
                    <a16:creationId xmlns:a16="http://schemas.microsoft.com/office/drawing/2014/main" id="{5ACF7D17-EDB9-DF86-01A4-4B6BDE14A576}"/>
                  </a:ext>
                </a:extLst>
              </p:cNvPr>
              <p:cNvSpPr/>
              <p:nvPr/>
            </p:nvSpPr>
            <p:spPr>
              <a:xfrm>
                <a:off x="8851157" y="5801362"/>
                <a:ext cx="1200" cy="17507"/>
              </a:xfrm>
              <a:custGeom>
                <a:avLst/>
                <a:gdLst>
                  <a:gd name="connsiteX0" fmla="*/ 0 w 1200"/>
                  <a:gd name="connsiteY0" fmla="*/ 0 h 17507"/>
                  <a:gd name="connsiteX1" fmla="*/ 0 w 1200"/>
                  <a:gd name="connsiteY1" fmla="*/ 17507 h 175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00" h="17507">
                    <a:moveTo>
                      <a:pt x="0" y="0"/>
                    </a:moveTo>
                    <a:lnTo>
                      <a:pt x="0" y="17507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430" name="Forma livre: Forma 2429">
                <a:extLst>
                  <a:ext uri="{FF2B5EF4-FFF2-40B4-BE49-F238E27FC236}">
                    <a16:creationId xmlns:a16="http://schemas.microsoft.com/office/drawing/2014/main" id="{E8D339E9-16CE-0A3E-780B-ABF19740CA55}"/>
                  </a:ext>
                </a:extLst>
              </p:cNvPr>
              <p:cNvSpPr/>
              <p:nvPr/>
            </p:nvSpPr>
            <p:spPr>
              <a:xfrm>
                <a:off x="8861148" y="5791371"/>
                <a:ext cx="17495" cy="1200"/>
              </a:xfrm>
              <a:custGeom>
                <a:avLst/>
                <a:gdLst>
                  <a:gd name="connsiteX0" fmla="*/ 17495 w 17495"/>
                  <a:gd name="connsiteY0" fmla="*/ 0 h 1200"/>
                  <a:gd name="connsiteX1" fmla="*/ 0 w 17495"/>
                  <a:gd name="connsiteY1" fmla="*/ 0 h 12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7495" h="1200">
                    <a:moveTo>
                      <a:pt x="17495" y="0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431" name="Forma livre: Forma 2430">
                <a:extLst>
                  <a:ext uri="{FF2B5EF4-FFF2-40B4-BE49-F238E27FC236}">
                    <a16:creationId xmlns:a16="http://schemas.microsoft.com/office/drawing/2014/main" id="{F6B30592-7640-9067-9852-BA404F801EEC}"/>
                  </a:ext>
                </a:extLst>
              </p:cNvPr>
              <p:cNvSpPr/>
              <p:nvPr/>
            </p:nvSpPr>
            <p:spPr>
              <a:xfrm>
                <a:off x="8823671" y="5791371"/>
                <a:ext cx="17507" cy="1200"/>
              </a:xfrm>
              <a:custGeom>
                <a:avLst/>
                <a:gdLst>
                  <a:gd name="connsiteX0" fmla="*/ 17507 w 17507"/>
                  <a:gd name="connsiteY0" fmla="*/ 0 h 1200"/>
                  <a:gd name="connsiteX1" fmla="*/ 0 w 17507"/>
                  <a:gd name="connsiteY1" fmla="*/ 0 h 12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7507" h="1200">
                    <a:moveTo>
                      <a:pt x="17507" y="0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2432" name="Gráfico 17">
              <a:extLst>
                <a:ext uri="{FF2B5EF4-FFF2-40B4-BE49-F238E27FC236}">
                  <a16:creationId xmlns:a16="http://schemas.microsoft.com/office/drawing/2014/main" id="{8D1CD92A-9FB0-4943-6366-4DF50B4460A6}"/>
                </a:ext>
              </a:extLst>
            </p:cNvPr>
            <p:cNvGrpSpPr/>
            <p:nvPr/>
          </p:nvGrpSpPr>
          <p:grpSpPr>
            <a:xfrm>
              <a:off x="8703485" y="5735043"/>
              <a:ext cx="297194" cy="266694"/>
              <a:chOff x="8703485" y="5735043"/>
              <a:chExt cx="297194" cy="266694"/>
            </a:xfrm>
            <a:noFill/>
          </p:grpSpPr>
          <p:sp>
            <p:nvSpPr>
              <p:cNvPr id="2433" name="Forma livre: Forma 2432">
                <a:extLst>
                  <a:ext uri="{FF2B5EF4-FFF2-40B4-BE49-F238E27FC236}">
                    <a16:creationId xmlns:a16="http://schemas.microsoft.com/office/drawing/2014/main" id="{36984BB9-5655-49C5-ED0F-801B2C9928B9}"/>
                  </a:ext>
                </a:extLst>
              </p:cNvPr>
              <p:cNvSpPr/>
              <p:nvPr/>
            </p:nvSpPr>
            <p:spPr>
              <a:xfrm>
                <a:off x="8710942" y="5778799"/>
                <a:ext cx="47094" cy="88822"/>
              </a:xfrm>
              <a:custGeom>
                <a:avLst/>
                <a:gdLst>
                  <a:gd name="connsiteX0" fmla="*/ 47095 w 47094"/>
                  <a:gd name="connsiteY0" fmla="*/ 0 h 88822"/>
                  <a:gd name="connsiteX1" fmla="*/ 0 w 47094"/>
                  <a:gd name="connsiteY1" fmla="*/ 88822 h 888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094" h="88822">
                    <a:moveTo>
                      <a:pt x="47095" y="0"/>
                    </a:moveTo>
                    <a:lnTo>
                      <a:pt x="0" y="88822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434" name="Forma livre: Forma 2433">
                <a:extLst>
                  <a:ext uri="{FF2B5EF4-FFF2-40B4-BE49-F238E27FC236}">
                    <a16:creationId xmlns:a16="http://schemas.microsoft.com/office/drawing/2014/main" id="{7C09062B-403D-47F6-8AAB-D351AE275F52}"/>
                  </a:ext>
                </a:extLst>
              </p:cNvPr>
              <p:cNvSpPr/>
              <p:nvPr/>
            </p:nvSpPr>
            <p:spPr>
              <a:xfrm>
                <a:off x="8857954" y="5735043"/>
                <a:ext cx="142725" cy="172600"/>
              </a:xfrm>
              <a:custGeom>
                <a:avLst/>
                <a:gdLst>
                  <a:gd name="connsiteX0" fmla="*/ 74497 w 142725"/>
                  <a:gd name="connsiteY0" fmla="*/ 172601 h 172600"/>
                  <a:gd name="connsiteX1" fmla="*/ 138571 w 142725"/>
                  <a:gd name="connsiteY1" fmla="*/ 52474 h 172600"/>
                  <a:gd name="connsiteX2" fmla="*/ 142725 w 142725"/>
                  <a:gd name="connsiteY2" fmla="*/ 35831 h 172600"/>
                  <a:gd name="connsiteX3" fmla="*/ 106762 w 142725"/>
                  <a:gd name="connsiteY3" fmla="*/ 0 h 172600"/>
                  <a:gd name="connsiteX4" fmla="*/ 0 w 142725"/>
                  <a:gd name="connsiteY4" fmla="*/ 0 h 1726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42725" h="172600">
                    <a:moveTo>
                      <a:pt x="74497" y="172601"/>
                    </a:moveTo>
                    <a:lnTo>
                      <a:pt x="138571" y="52474"/>
                    </a:lnTo>
                    <a:cubicBezTo>
                      <a:pt x="141224" y="47491"/>
                      <a:pt x="142725" y="41823"/>
                      <a:pt x="142725" y="35831"/>
                    </a:cubicBezTo>
                    <a:cubicBezTo>
                      <a:pt x="142725" y="16103"/>
                      <a:pt x="126551" y="0"/>
                      <a:pt x="106762" y="0"/>
                    </a:cubicBezTo>
                    <a:lnTo>
                      <a:pt x="0" y="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435" name="Forma livre: Forma 2434">
                <a:extLst>
                  <a:ext uri="{FF2B5EF4-FFF2-40B4-BE49-F238E27FC236}">
                    <a16:creationId xmlns:a16="http://schemas.microsoft.com/office/drawing/2014/main" id="{C199AE7B-ABC8-9ED4-EB90-08AB9519AF3F}"/>
                  </a:ext>
                </a:extLst>
              </p:cNvPr>
              <p:cNvSpPr/>
              <p:nvPr/>
            </p:nvSpPr>
            <p:spPr>
              <a:xfrm>
                <a:off x="8703485" y="5929702"/>
                <a:ext cx="231715" cy="72035"/>
              </a:xfrm>
              <a:custGeom>
                <a:avLst/>
                <a:gdLst>
                  <a:gd name="connsiteX0" fmla="*/ 195752 w 231715"/>
                  <a:gd name="connsiteY0" fmla="*/ 0 h 72035"/>
                  <a:gd name="connsiteX1" fmla="*/ 231716 w 231715"/>
                  <a:gd name="connsiteY1" fmla="*/ 36228 h 72035"/>
                  <a:gd name="connsiteX2" fmla="*/ 195752 w 231715"/>
                  <a:gd name="connsiteY2" fmla="*/ 72035 h 72035"/>
                  <a:gd name="connsiteX3" fmla="*/ 0 w 231715"/>
                  <a:gd name="connsiteY3" fmla="*/ 72035 h 720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31715" h="72035">
                    <a:moveTo>
                      <a:pt x="195752" y="0"/>
                    </a:moveTo>
                    <a:cubicBezTo>
                      <a:pt x="215541" y="0"/>
                      <a:pt x="231716" y="16511"/>
                      <a:pt x="231716" y="36228"/>
                    </a:cubicBezTo>
                    <a:cubicBezTo>
                      <a:pt x="231716" y="55945"/>
                      <a:pt x="215529" y="72035"/>
                      <a:pt x="195752" y="72035"/>
                    </a:cubicBezTo>
                    <a:lnTo>
                      <a:pt x="0" y="72035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436" name="Forma livre: Forma 2435">
                <a:extLst>
                  <a:ext uri="{FF2B5EF4-FFF2-40B4-BE49-F238E27FC236}">
                    <a16:creationId xmlns:a16="http://schemas.microsoft.com/office/drawing/2014/main" id="{340788AE-8F12-DA3A-6041-B2BADB44FB13}"/>
                  </a:ext>
                </a:extLst>
              </p:cNvPr>
              <p:cNvSpPr/>
              <p:nvPr/>
            </p:nvSpPr>
            <p:spPr>
              <a:xfrm>
                <a:off x="8708348" y="5858051"/>
                <a:ext cx="226852" cy="109031"/>
              </a:xfrm>
              <a:custGeom>
                <a:avLst/>
                <a:gdLst>
                  <a:gd name="connsiteX0" fmla="*/ 179566 w 226852"/>
                  <a:gd name="connsiteY0" fmla="*/ 109031 h 109031"/>
                  <a:gd name="connsiteX1" fmla="*/ 20557 w 226852"/>
                  <a:gd name="connsiteY1" fmla="*/ 109031 h 109031"/>
                  <a:gd name="connsiteX2" fmla="*/ 0 w 226852"/>
                  <a:gd name="connsiteY2" fmla="*/ 90347 h 109031"/>
                  <a:gd name="connsiteX3" fmla="*/ 20557 w 226852"/>
                  <a:gd name="connsiteY3" fmla="*/ 71651 h 109031"/>
                  <a:gd name="connsiteX4" fmla="*/ 190889 w 226852"/>
                  <a:gd name="connsiteY4" fmla="*/ 71651 h 109031"/>
                  <a:gd name="connsiteX5" fmla="*/ 226852 w 226852"/>
                  <a:gd name="connsiteY5" fmla="*/ 35832 h 109031"/>
                  <a:gd name="connsiteX6" fmla="*/ 190889 w 226852"/>
                  <a:gd name="connsiteY6" fmla="*/ 0 h 109031"/>
                  <a:gd name="connsiteX7" fmla="*/ 20557 w 226852"/>
                  <a:gd name="connsiteY7" fmla="*/ 0 h 109031"/>
                  <a:gd name="connsiteX8" fmla="*/ 0 w 226852"/>
                  <a:gd name="connsiteY8" fmla="*/ 18708 h 109031"/>
                  <a:gd name="connsiteX9" fmla="*/ 20557 w 226852"/>
                  <a:gd name="connsiteY9" fmla="*/ 37404 h 109031"/>
                  <a:gd name="connsiteX10" fmla="*/ 179566 w 226852"/>
                  <a:gd name="connsiteY10" fmla="*/ 37404 h 1090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226852" h="109031">
                    <a:moveTo>
                      <a:pt x="179566" y="109031"/>
                    </a:moveTo>
                    <a:lnTo>
                      <a:pt x="20557" y="109031"/>
                    </a:lnTo>
                    <a:cubicBezTo>
                      <a:pt x="9246" y="109031"/>
                      <a:pt x="0" y="100626"/>
                      <a:pt x="0" y="90347"/>
                    </a:cubicBezTo>
                    <a:cubicBezTo>
                      <a:pt x="0" y="80068"/>
                      <a:pt x="9246" y="71651"/>
                      <a:pt x="20557" y="71651"/>
                    </a:cubicBezTo>
                    <a:lnTo>
                      <a:pt x="190889" y="71651"/>
                    </a:lnTo>
                    <a:cubicBezTo>
                      <a:pt x="210678" y="71651"/>
                      <a:pt x="226852" y="55536"/>
                      <a:pt x="226852" y="35832"/>
                    </a:cubicBezTo>
                    <a:cubicBezTo>
                      <a:pt x="226852" y="16127"/>
                      <a:pt x="210666" y="0"/>
                      <a:pt x="190889" y="0"/>
                    </a:cubicBezTo>
                    <a:lnTo>
                      <a:pt x="20557" y="0"/>
                    </a:lnTo>
                    <a:cubicBezTo>
                      <a:pt x="9246" y="0"/>
                      <a:pt x="0" y="8405"/>
                      <a:pt x="0" y="18708"/>
                    </a:cubicBezTo>
                    <a:cubicBezTo>
                      <a:pt x="0" y="29011"/>
                      <a:pt x="9246" y="37404"/>
                      <a:pt x="20557" y="37404"/>
                    </a:cubicBezTo>
                    <a:lnTo>
                      <a:pt x="179566" y="37404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437" name="Forma livre: Forma 2436">
                <a:extLst>
                  <a:ext uri="{FF2B5EF4-FFF2-40B4-BE49-F238E27FC236}">
                    <a16:creationId xmlns:a16="http://schemas.microsoft.com/office/drawing/2014/main" id="{E8BE2465-3E04-498F-4498-FCE0F43DCEB7}"/>
                  </a:ext>
                </a:extLst>
              </p:cNvPr>
              <p:cNvSpPr/>
              <p:nvPr/>
            </p:nvSpPr>
            <p:spPr>
              <a:xfrm>
                <a:off x="8932979" y="5812433"/>
                <a:ext cx="67688" cy="166296"/>
              </a:xfrm>
              <a:custGeom>
                <a:avLst/>
                <a:gdLst>
                  <a:gd name="connsiteX0" fmla="*/ 50613 w 67688"/>
                  <a:gd name="connsiteY0" fmla="*/ 0 h 166296"/>
                  <a:gd name="connsiteX1" fmla="*/ 54408 w 67688"/>
                  <a:gd name="connsiteY1" fmla="*/ 2714 h 166296"/>
                  <a:gd name="connsiteX2" fmla="*/ 67688 w 67688"/>
                  <a:gd name="connsiteY2" fmla="*/ 30476 h 166296"/>
                  <a:gd name="connsiteX3" fmla="*/ 63534 w 67688"/>
                  <a:gd name="connsiteY3" fmla="*/ 47143 h 166296"/>
                  <a:gd name="connsiteX4" fmla="*/ 0 w 67688"/>
                  <a:gd name="connsiteY4" fmla="*/ 166297 h 1662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7688" h="166296">
                    <a:moveTo>
                      <a:pt x="50613" y="0"/>
                    </a:moveTo>
                    <a:cubicBezTo>
                      <a:pt x="51934" y="817"/>
                      <a:pt x="53207" y="1729"/>
                      <a:pt x="54408" y="2714"/>
                    </a:cubicBezTo>
                    <a:cubicBezTo>
                      <a:pt x="62501" y="9294"/>
                      <a:pt x="67688" y="19309"/>
                      <a:pt x="67688" y="30476"/>
                    </a:cubicBezTo>
                    <a:cubicBezTo>
                      <a:pt x="67688" y="36468"/>
                      <a:pt x="66187" y="42136"/>
                      <a:pt x="63534" y="47143"/>
                    </a:cubicBezTo>
                    <a:lnTo>
                      <a:pt x="0" y="166297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2438" name="Gráfico 17">
            <a:extLst>
              <a:ext uri="{FF2B5EF4-FFF2-40B4-BE49-F238E27FC236}">
                <a16:creationId xmlns:a16="http://schemas.microsoft.com/office/drawing/2014/main" id="{35D502F9-538D-D703-1BBB-298DF4359943}"/>
              </a:ext>
            </a:extLst>
          </p:cNvPr>
          <p:cNvGrpSpPr/>
          <p:nvPr/>
        </p:nvGrpSpPr>
        <p:grpSpPr>
          <a:xfrm>
            <a:off x="8698069" y="5169124"/>
            <a:ext cx="308025" cy="290061"/>
            <a:chOff x="8698069" y="5169124"/>
            <a:chExt cx="308025" cy="290061"/>
          </a:xfrm>
          <a:noFill/>
        </p:grpSpPr>
        <p:sp>
          <p:nvSpPr>
            <p:cNvPr id="2439" name="Forma livre: Forma 2438">
              <a:extLst>
                <a:ext uri="{FF2B5EF4-FFF2-40B4-BE49-F238E27FC236}">
                  <a16:creationId xmlns:a16="http://schemas.microsoft.com/office/drawing/2014/main" id="{B27DED31-0A45-1B72-6A17-185CD9099957}"/>
                </a:ext>
              </a:extLst>
            </p:cNvPr>
            <p:cNvSpPr/>
            <p:nvPr/>
          </p:nvSpPr>
          <p:spPr>
            <a:xfrm>
              <a:off x="8698069" y="5355102"/>
              <a:ext cx="96915" cy="104084"/>
            </a:xfrm>
            <a:custGeom>
              <a:avLst/>
              <a:gdLst>
                <a:gd name="connsiteX0" fmla="*/ 96915 w 96915"/>
                <a:gd name="connsiteY0" fmla="*/ 104084 h 104084"/>
                <a:gd name="connsiteX1" fmla="*/ 68889 w 96915"/>
                <a:gd name="connsiteY1" fmla="*/ 98224 h 104084"/>
                <a:gd name="connsiteX2" fmla="*/ 0 w 96915"/>
                <a:gd name="connsiteY2" fmla="*/ 46915 h 104084"/>
                <a:gd name="connsiteX3" fmla="*/ 54276 w 96915"/>
                <a:gd name="connsiteY3" fmla="*/ 0 h 1040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6915" h="104084">
                  <a:moveTo>
                    <a:pt x="96915" y="104084"/>
                  </a:moveTo>
                  <a:cubicBezTo>
                    <a:pt x="87033" y="102511"/>
                    <a:pt x="77643" y="100542"/>
                    <a:pt x="68889" y="98224"/>
                  </a:cubicBezTo>
                  <a:cubicBezTo>
                    <a:pt x="27390" y="87225"/>
                    <a:pt x="0" y="68349"/>
                    <a:pt x="0" y="46915"/>
                  </a:cubicBezTo>
                  <a:cubicBezTo>
                    <a:pt x="0" y="28110"/>
                    <a:pt x="21074" y="11275"/>
                    <a:pt x="54276" y="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440" name="Forma livre: Forma 2439">
              <a:extLst>
                <a:ext uri="{FF2B5EF4-FFF2-40B4-BE49-F238E27FC236}">
                  <a16:creationId xmlns:a16="http://schemas.microsoft.com/office/drawing/2014/main" id="{9A1C3A20-5544-28DE-115D-52904D181BA7}"/>
                </a:ext>
              </a:extLst>
            </p:cNvPr>
            <p:cNvSpPr/>
            <p:nvPr/>
          </p:nvSpPr>
          <p:spPr>
            <a:xfrm>
              <a:off x="8773340" y="5169124"/>
              <a:ext cx="157403" cy="224390"/>
            </a:xfrm>
            <a:custGeom>
              <a:avLst/>
              <a:gdLst>
                <a:gd name="connsiteX0" fmla="*/ 129992 w 157403"/>
                <a:gd name="connsiteY0" fmla="*/ 77103 h 224390"/>
                <a:gd name="connsiteX1" fmla="*/ 78766 w 157403"/>
                <a:gd name="connsiteY1" fmla="*/ 0 h 224390"/>
                <a:gd name="connsiteX2" fmla="*/ 78730 w 157403"/>
                <a:gd name="connsiteY2" fmla="*/ 0 h 224390"/>
                <a:gd name="connsiteX3" fmla="*/ 27541 w 157403"/>
                <a:gd name="connsiteY3" fmla="*/ 77103 h 224390"/>
                <a:gd name="connsiteX4" fmla="*/ 78346 w 157403"/>
                <a:gd name="connsiteY4" fmla="*/ 224391 h 224390"/>
                <a:gd name="connsiteX5" fmla="*/ 79163 w 157403"/>
                <a:gd name="connsiteY5" fmla="*/ 224391 h 224390"/>
                <a:gd name="connsiteX6" fmla="*/ 129992 w 157403"/>
                <a:gd name="connsiteY6" fmla="*/ 77103 h 2243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57403" h="224390">
                  <a:moveTo>
                    <a:pt x="129992" y="77103"/>
                  </a:moveTo>
                  <a:cubicBezTo>
                    <a:pt x="83497" y="22455"/>
                    <a:pt x="79163" y="2714"/>
                    <a:pt x="78766" y="0"/>
                  </a:cubicBezTo>
                  <a:lnTo>
                    <a:pt x="78730" y="0"/>
                  </a:lnTo>
                  <a:cubicBezTo>
                    <a:pt x="78346" y="2714"/>
                    <a:pt x="74035" y="22455"/>
                    <a:pt x="27541" y="77103"/>
                  </a:cubicBezTo>
                  <a:cubicBezTo>
                    <a:pt x="-26771" y="140900"/>
                    <a:pt x="3993" y="224175"/>
                    <a:pt x="78346" y="224391"/>
                  </a:cubicBezTo>
                  <a:lnTo>
                    <a:pt x="79163" y="224391"/>
                  </a:lnTo>
                  <a:cubicBezTo>
                    <a:pt x="153023" y="224175"/>
                    <a:pt x="184291" y="140900"/>
                    <a:pt x="129992" y="77103"/>
                  </a:cubicBez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441" name="Forma livre: Forma 2440">
              <a:extLst>
                <a:ext uri="{FF2B5EF4-FFF2-40B4-BE49-F238E27FC236}">
                  <a16:creationId xmlns:a16="http://schemas.microsoft.com/office/drawing/2014/main" id="{A037677F-54A4-A695-D7B3-A9DE03D3090F}"/>
                </a:ext>
              </a:extLst>
            </p:cNvPr>
            <p:cNvSpPr/>
            <p:nvPr/>
          </p:nvSpPr>
          <p:spPr>
            <a:xfrm>
              <a:off x="8808169" y="5316052"/>
              <a:ext cx="21806" cy="36047"/>
            </a:xfrm>
            <a:custGeom>
              <a:avLst/>
              <a:gdLst>
                <a:gd name="connsiteX0" fmla="*/ 0 w 21806"/>
                <a:gd name="connsiteY0" fmla="*/ 0 h 36047"/>
                <a:gd name="connsiteX1" fmla="*/ 21806 w 21806"/>
                <a:gd name="connsiteY1" fmla="*/ 36048 h 360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1806" h="36047">
                  <a:moveTo>
                    <a:pt x="0" y="0"/>
                  </a:moveTo>
                  <a:cubicBezTo>
                    <a:pt x="0" y="0"/>
                    <a:pt x="336" y="23956"/>
                    <a:pt x="21806" y="36048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442" name="Forma livre: Forma 2441">
              <a:extLst>
                <a:ext uri="{FF2B5EF4-FFF2-40B4-BE49-F238E27FC236}">
                  <a16:creationId xmlns:a16="http://schemas.microsoft.com/office/drawing/2014/main" id="{96024363-BCDF-4778-78B1-B72F0BE88806}"/>
                </a:ext>
              </a:extLst>
            </p:cNvPr>
            <p:cNvSpPr/>
            <p:nvPr/>
          </p:nvSpPr>
          <p:spPr>
            <a:xfrm>
              <a:off x="8909179" y="5355102"/>
              <a:ext cx="96915" cy="104084"/>
            </a:xfrm>
            <a:custGeom>
              <a:avLst/>
              <a:gdLst>
                <a:gd name="connsiteX0" fmla="*/ 0 w 96915"/>
                <a:gd name="connsiteY0" fmla="*/ 104084 h 104084"/>
                <a:gd name="connsiteX1" fmla="*/ 28026 w 96915"/>
                <a:gd name="connsiteY1" fmla="*/ 98224 h 104084"/>
                <a:gd name="connsiteX2" fmla="*/ 96915 w 96915"/>
                <a:gd name="connsiteY2" fmla="*/ 46915 h 104084"/>
                <a:gd name="connsiteX3" fmla="*/ 42652 w 96915"/>
                <a:gd name="connsiteY3" fmla="*/ 0 h 1040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6915" h="104084">
                  <a:moveTo>
                    <a:pt x="0" y="104084"/>
                  </a:moveTo>
                  <a:cubicBezTo>
                    <a:pt x="9883" y="102511"/>
                    <a:pt x="19273" y="100542"/>
                    <a:pt x="28026" y="98224"/>
                  </a:cubicBezTo>
                  <a:cubicBezTo>
                    <a:pt x="69538" y="87225"/>
                    <a:pt x="96915" y="68349"/>
                    <a:pt x="96915" y="46915"/>
                  </a:cubicBezTo>
                  <a:cubicBezTo>
                    <a:pt x="96915" y="28110"/>
                    <a:pt x="75854" y="11275"/>
                    <a:pt x="42652" y="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443" name="Forma livre: Forma 2442">
              <a:extLst>
                <a:ext uri="{FF2B5EF4-FFF2-40B4-BE49-F238E27FC236}">
                  <a16:creationId xmlns:a16="http://schemas.microsoft.com/office/drawing/2014/main" id="{66A35F31-1DB4-2DAB-1820-AECE0CB2F82C}"/>
                </a:ext>
              </a:extLst>
            </p:cNvPr>
            <p:cNvSpPr/>
            <p:nvPr/>
          </p:nvSpPr>
          <p:spPr>
            <a:xfrm>
              <a:off x="8754866" y="5385998"/>
              <a:ext cx="194443" cy="45701"/>
            </a:xfrm>
            <a:custGeom>
              <a:avLst/>
              <a:gdLst>
                <a:gd name="connsiteX0" fmla="*/ 178989 w 194443"/>
                <a:gd name="connsiteY0" fmla="*/ 0 h 45701"/>
                <a:gd name="connsiteX1" fmla="*/ 194443 w 194443"/>
                <a:gd name="connsiteY1" fmla="*/ 16007 h 45701"/>
                <a:gd name="connsiteX2" fmla="*/ 97672 w 194443"/>
                <a:gd name="connsiteY2" fmla="*/ 45570 h 45701"/>
                <a:gd name="connsiteX3" fmla="*/ 96771 w 194443"/>
                <a:gd name="connsiteY3" fmla="*/ 45702 h 45701"/>
                <a:gd name="connsiteX4" fmla="*/ 0 w 194443"/>
                <a:gd name="connsiteY4" fmla="*/ 16007 h 45701"/>
                <a:gd name="connsiteX5" fmla="*/ 15454 w 194443"/>
                <a:gd name="connsiteY5" fmla="*/ 0 h 457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94443" h="45701">
                  <a:moveTo>
                    <a:pt x="178989" y="0"/>
                  </a:moveTo>
                  <a:cubicBezTo>
                    <a:pt x="188763" y="4611"/>
                    <a:pt x="194443" y="10099"/>
                    <a:pt x="194443" y="16007"/>
                  </a:cubicBezTo>
                  <a:cubicBezTo>
                    <a:pt x="194443" y="32325"/>
                    <a:pt x="151347" y="45570"/>
                    <a:pt x="97672" y="45570"/>
                  </a:cubicBezTo>
                  <a:lnTo>
                    <a:pt x="96771" y="45702"/>
                  </a:lnTo>
                  <a:cubicBezTo>
                    <a:pt x="43096" y="45702"/>
                    <a:pt x="0" y="32325"/>
                    <a:pt x="0" y="16007"/>
                  </a:cubicBezTo>
                  <a:cubicBezTo>
                    <a:pt x="0" y="10111"/>
                    <a:pt x="5680" y="4623"/>
                    <a:pt x="15454" y="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2444" name="Gráfico 17">
            <a:extLst>
              <a:ext uri="{FF2B5EF4-FFF2-40B4-BE49-F238E27FC236}">
                <a16:creationId xmlns:a16="http://schemas.microsoft.com/office/drawing/2014/main" id="{DCCFFF8F-8107-D6BB-27C6-0B90639FD61C}"/>
              </a:ext>
            </a:extLst>
          </p:cNvPr>
          <p:cNvGrpSpPr/>
          <p:nvPr/>
        </p:nvGrpSpPr>
        <p:grpSpPr>
          <a:xfrm>
            <a:off x="8703305" y="4105200"/>
            <a:ext cx="297565" cy="287825"/>
            <a:chOff x="8703305" y="4105200"/>
            <a:chExt cx="297565" cy="287825"/>
          </a:xfrm>
          <a:noFill/>
        </p:grpSpPr>
        <p:grpSp>
          <p:nvGrpSpPr>
            <p:cNvPr id="2445" name="Gráfico 17">
              <a:extLst>
                <a:ext uri="{FF2B5EF4-FFF2-40B4-BE49-F238E27FC236}">
                  <a16:creationId xmlns:a16="http://schemas.microsoft.com/office/drawing/2014/main" id="{B45A7055-9618-3113-62FA-F8ECA4B8F100}"/>
                </a:ext>
              </a:extLst>
            </p:cNvPr>
            <p:cNvGrpSpPr/>
            <p:nvPr/>
          </p:nvGrpSpPr>
          <p:grpSpPr>
            <a:xfrm>
              <a:off x="8704914" y="4105200"/>
              <a:ext cx="295955" cy="281612"/>
              <a:chOff x="8704914" y="4105200"/>
              <a:chExt cx="295955" cy="281612"/>
            </a:xfrm>
            <a:noFill/>
          </p:grpSpPr>
          <p:sp>
            <p:nvSpPr>
              <p:cNvPr id="2446" name="Forma livre: Forma 2445">
                <a:extLst>
                  <a:ext uri="{FF2B5EF4-FFF2-40B4-BE49-F238E27FC236}">
                    <a16:creationId xmlns:a16="http://schemas.microsoft.com/office/drawing/2014/main" id="{F6FA2468-963D-00D0-DCB5-F51F977461AD}"/>
                  </a:ext>
                </a:extLst>
              </p:cNvPr>
              <p:cNvSpPr/>
              <p:nvPr/>
            </p:nvSpPr>
            <p:spPr>
              <a:xfrm>
                <a:off x="8891636" y="4105200"/>
                <a:ext cx="109233" cy="88682"/>
              </a:xfrm>
              <a:custGeom>
                <a:avLst/>
                <a:gdLst>
                  <a:gd name="connsiteX0" fmla="*/ 56365 w 109233"/>
                  <a:gd name="connsiteY0" fmla="*/ 88310 h 88682"/>
                  <a:gd name="connsiteX1" fmla="*/ 81906 w 109233"/>
                  <a:gd name="connsiteY1" fmla="*/ 55937 h 88682"/>
                  <a:gd name="connsiteX2" fmla="*/ 102475 w 109233"/>
                  <a:gd name="connsiteY2" fmla="*/ 46246 h 88682"/>
                  <a:gd name="connsiteX3" fmla="*/ 99497 w 109233"/>
                  <a:gd name="connsiteY3" fmla="*/ 6777 h 88682"/>
                  <a:gd name="connsiteX4" fmla="*/ 60015 w 109233"/>
                  <a:gd name="connsiteY4" fmla="*/ 9755 h 88682"/>
                  <a:gd name="connsiteX5" fmla="*/ 53483 w 109233"/>
                  <a:gd name="connsiteY5" fmla="*/ 31369 h 88682"/>
                  <a:gd name="connsiteX6" fmla="*/ 0 w 109233"/>
                  <a:gd name="connsiteY6" fmla="*/ 88682 h 886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09233" h="88682">
                    <a:moveTo>
                      <a:pt x="56365" y="88310"/>
                    </a:moveTo>
                    <a:lnTo>
                      <a:pt x="81906" y="55937"/>
                    </a:lnTo>
                    <a:cubicBezTo>
                      <a:pt x="89543" y="55769"/>
                      <a:pt x="97083" y="52491"/>
                      <a:pt x="102475" y="46246"/>
                    </a:cubicBezTo>
                    <a:cubicBezTo>
                      <a:pt x="112538" y="34515"/>
                      <a:pt x="111217" y="16851"/>
                      <a:pt x="99497" y="6777"/>
                    </a:cubicBezTo>
                    <a:cubicBezTo>
                      <a:pt x="87765" y="-3310"/>
                      <a:pt x="70102" y="-1989"/>
                      <a:pt x="60015" y="9755"/>
                    </a:cubicBezTo>
                    <a:cubicBezTo>
                      <a:pt x="54672" y="15951"/>
                      <a:pt x="52570" y="23840"/>
                      <a:pt x="53483" y="31369"/>
                    </a:cubicBezTo>
                    <a:lnTo>
                      <a:pt x="0" y="88682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447" name="Forma livre: Forma 2446">
                <a:extLst>
                  <a:ext uri="{FF2B5EF4-FFF2-40B4-BE49-F238E27FC236}">
                    <a16:creationId xmlns:a16="http://schemas.microsoft.com/office/drawing/2014/main" id="{741A89B6-970E-E7F3-B45C-C9BC53569286}"/>
                  </a:ext>
                </a:extLst>
              </p:cNvPr>
              <p:cNvSpPr/>
              <p:nvPr/>
            </p:nvSpPr>
            <p:spPr>
              <a:xfrm>
                <a:off x="8854435" y="4247630"/>
                <a:ext cx="115347" cy="139183"/>
              </a:xfrm>
              <a:custGeom>
                <a:avLst/>
                <a:gdLst>
                  <a:gd name="connsiteX0" fmla="*/ 0 w 115347"/>
                  <a:gd name="connsiteY0" fmla="*/ 139183 h 139183"/>
                  <a:gd name="connsiteX1" fmla="*/ 84571 w 115347"/>
                  <a:gd name="connsiteY1" fmla="*/ 139183 h 139183"/>
                  <a:gd name="connsiteX2" fmla="*/ 45666 w 115347"/>
                  <a:gd name="connsiteY2" fmla="*/ 108287 h 139183"/>
                  <a:gd name="connsiteX3" fmla="*/ 115347 w 115347"/>
                  <a:gd name="connsiteY3" fmla="*/ 0 h 1391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5347" h="139183">
                    <a:moveTo>
                      <a:pt x="0" y="139183"/>
                    </a:moveTo>
                    <a:lnTo>
                      <a:pt x="84571" y="139183"/>
                    </a:lnTo>
                    <a:cubicBezTo>
                      <a:pt x="73752" y="127091"/>
                      <a:pt x="60532" y="115251"/>
                      <a:pt x="45666" y="108287"/>
                    </a:cubicBezTo>
                    <a:cubicBezTo>
                      <a:pt x="86841" y="88978"/>
                      <a:pt x="115347" y="48464"/>
                      <a:pt x="115347" y="0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448" name="Forma livre: Forma 2447">
                <a:extLst>
                  <a:ext uri="{FF2B5EF4-FFF2-40B4-BE49-F238E27FC236}">
                    <a16:creationId xmlns:a16="http://schemas.microsoft.com/office/drawing/2014/main" id="{B75E99B6-413B-B2B8-EC21-FFBB3D31B06F}"/>
                  </a:ext>
                </a:extLst>
              </p:cNvPr>
              <p:cNvSpPr/>
              <p:nvPr/>
            </p:nvSpPr>
            <p:spPr>
              <a:xfrm>
                <a:off x="8704914" y="4216913"/>
                <a:ext cx="287816" cy="29611"/>
              </a:xfrm>
              <a:custGeom>
                <a:avLst/>
                <a:gdLst>
                  <a:gd name="connsiteX0" fmla="*/ 54996 w 287816"/>
                  <a:gd name="connsiteY0" fmla="*/ 29611 h 29611"/>
                  <a:gd name="connsiteX1" fmla="*/ 16271 w 287816"/>
                  <a:gd name="connsiteY1" fmla="*/ 29611 h 29611"/>
                  <a:gd name="connsiteX2" fmla="*/ 0 w 287816"/>
                  <a:gd name="connsiteY2" fmla="*/ 14818 h 29611"/>
                  <a:gd name="connsiteX3" fmla="*/ 16271 w 287816"/>
                  <a:gd name="connsiteY3" fmla="*/ 0 h 29611"/>
                  <a:gd name="connsiteX4" fmla="*/ 271546 w 287816"/>
                  <a:gd name="connsiteY4" fmla="*/ 0 h 29611"/>
                  <a:gd name="connsiteX5" fmla="*/ 287816 w 287816"/>
                  <a:gd name="connsiteY5" fmla="*/ 14818 h 29611"/>
                  <a:gd name="connsiteX6" fmla="*/ 271546 w 287816"/>
                  <a:gd name="connsiteY6" fmla="*/ 29611 h 29611"/>
                  <a:gd name="connsiteX7" fmla="*/ 172097 w 287816"/>
                  <a:gd name="connsiteY7" fmla="*/ 29611 h 296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87816" h="29611">
                    <a:moveTo>
                      <a:pt x="54996" y="29611"/>
                    </a:moveTo>
                    <a:lnTo>
                      <a:pt x="16271" y="29611"/>
                    </a:lnTo>
                    <a:cubicBezTo>
                      <a:pt x="7313" y="29611"/>
                      <a:pt x="0" y="22947"/>
                      <a:pt x="0" y="14818"/>
                    </a:cubicBezTo>
                    <a:cubicBezTo>
                      <a:pt x="0" y="6688"/>
                      <a:pt x="7313" y="0"/>
                      <a:pt x="16271" y="0"/>
                    </a:cubicBezTo>
                    <a:lnTo>
                      <a:pt x="271546" y="0"/>
                    </a:lnTo>
                    <a:cubicBezTo>
                      <a:pt x="280492" y="0"/>
                      <a:pt x="287816" y="6664"/>
                      <a:pt x="287816" y="14818"/>
                    </a:cubicBezTo>
                    <a:cubicBezTo>
                      <a:pt x="287816" y="22971"/>
                      <a:pt x="280492" y="29611"/>
                      <a:pt x="271546" y="29611"/>
                    </a:cubicBezTo>
                    <a:lnTo>
                      <a:pt x="172097" y="29611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2449" name="Forma livre: Forma 2448">
              <a:extLst>
                <a:ext uri="{FF2B5EF4-FFF2-40B4-BE49-F238E27FC236}">
                  <a16:creationId xmlns:a16="http://schemas.microsoft.com/office/drawing/2014/main" id="{CBBEB8E7-A6C8-8B89-8A20-D5D8183A1CAD}"/>
                </a:ext>
              </a:extLst>
            </p:cNvPr>
            <p:cNvSpPr/>
            <p:nvPr/>
          </p:nvSpPr>
          <p:spPr>
            <a:xfrm>
              <a:off x="8728449" y="4247630"/>
              <a:ext cx="9618" cy="46974"/>
            </a:xfrm>
            <a:custGeom>
              <a:avLst/>
              <a:gdLst>
                <a:gd name="connsiteX0" fmla="*/ 9618 w 9618"/>
                <a:gd name="connsiteY0" fmla="*/ 46975 h 46974"/>
                <a:gd name="connsiteX1" fmla="*/ 0 w 9618"/>
                <a:gd name="connsiteY1" fmla="*/ 0 h 469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618" h="46974">
                  <a:moveTo>
                    <a:pt x="9618" y="46975"/>
                  </a:moveTo>
                  <a:cubicBezTo>
                    <a:pt x="3422" y="32649"/>
                    <a:pt x="0" y="16799"/>
                    <a:pt x="0" y="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450" name="Forma livre: Forma 2449">
              <a:extLst>
                <a:ext uri="{FF2B5EF4-FFF2-40B4-BE49-F238E27FC236}">
                  <a16:creationId xmlns:a16="http://schemas.microsoft.com/office/drawing/2014/main" id="{89A10BE7-4957-77D0-BCC6-785E7155F943}"/>
                </a:ext>
              </a:extLst>
            </p:cNvPr>
            <p:cNvSpPr/>
            <p:nvPr/>
          </p:nvSpPr>
          <p:spPr>
            <a:xfrm>
              <a:off x="8962926" y="4153020"/>
              <a:ext cx="10614" cy="8117"/>
            </a:xfrm>
            <a:custGeom>
              <a:avLst/>
              <a:gdLst>
                <a:gd name="connsiteX0" fmla="*/ 10615 w 10614"/>
                <a:gd name="connsiteY0" fmla="*/ 8117 h 8117"/>
                <a:gd name="connsiteX1" fmla="*/ 0 w 10614"/>
                <a:gd name="connsiteY1" fmla="*/ 0 h 8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614" h="8117">
                  <a:moveTo>
                    <a:pt x="10615" y="8117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2451" name="Gráfico 17">
              <a:extLst>
                <a:ext uri="{FF2B5EF4-FFF2-40B4-BE49-F238E27FC236}">
                  <a16:creationId xmlns:a16="http://schemas.microsoft.com/office/drawing/2014/main" id="{0D4341B0-8640-7651-EEBD-2FD5E61CBB8B}"/>
                </a:ext>
              </a:extLst>
            </p:cNvPr>
            <p:cNvGrpSpPr/>
            <p:nvPr/>
          </p:nvGrpSpPr>
          <p:grpSpPr>
            <a:xfrm>
              <a:off x="8703305" y="4296187"/>
              <a:ext cx="164651" cy="96838"/>
              <a:chOff x="8703305" y="4296187"/>
              <a:chExt cx="164651" cy="96838"/>
            </a:xfrm>
            <a:noFill/>
          </p:grpSpPr>
          <p:sp>
            <p:nvSpPr>
              <p:cNvPr id="2452" name="Forma livre: Forma 2451">
                <a:extLst>
                  <a:ext uri="{FF2B5EF4-FFF2-40B4-BE49-F238E27FC236}">
                    <a16:creationId xmlns:a16="http://schemas.microsoft.com/office/drawing/2014/main" id="{1631AE03-690B-0DEC-71FA-02E55DE3E506}"/>
                  </a:ext>
                </a:extLst>
              </p:cNvPr>
              <p:cNvSpPr/>
              <p:nvPr/>
            </p:nvSpPr>
            <p:spPr>
              <a:xfrm>
                <a:off x="8730923" y="4296187"/>
                <a:ext cx="137033" cy="96838"/>
              </a:xfrm>
              <a:custGeom>
                <a:avLst/>
                <a:gdLst>
                  <a:gd name="connsiteX0" fmla="*/ 0 w 137033"/>
                  <a:gd name="connsiteY0" fmla="*/ 57243 h 96838"/>
                  <a:gd name="connsiteX1" fmla="*/ 53831 w 137033"/>
                  <a:gd name="connsiteY1" fmla="*/ 2524 h 96838"/>
                  <a:gd name="connsiteX2" fmla="*/ 137034 w 137033"/>
                  <a:gd name="connsiteY2" fmla="*/ 12094 h 96838"/>
                  <a:gd name="connsiteX3" fmla="*/ 95270 w 137033"/>
                  <a:gd name="connsiteY3" fmla="*/ 82736 h 96838"/>
                  <a:gd name="connsiteX4" fmla="*/ 8021 w 137033"/>
                  <a:gd name="connsiteY4" fmla="*/ 84369 h 968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37033" h="96838">
                    <a:moveTo>
                      <a:pt x="0" y="57243"/>
                    </a:moveTo>
                    <a:cubicBezTo>
                      <a:pt x="2366" y="29349"/>
                      <a:pt x="27282" y="7603"/>
                      <a:pt x="53831" y="2524"/>
                    </a:cubicBezTo>
                    <a:cubicBezTo>
                      <a:pt x="101779" y="-6638"/>
                      <a:pt x="137034" y="12094"/>
                      <a:pt x="137034" y="12094"/>
                    </a:cubicBezTo>
                    <a:cubicBezTo>
                      <a:pt x="137034" y="12094"/>
                      <a:pt x="129769" y="54602"/>
                      <a:pt x="95270" y="82736"/>
                    </a:cubicBezTo>
                    <a:cubicBezTo>
                      <a:pt x="72095" y="101636"/>
                      <a:pt x="27186" y="100892"/>
                      <a:pt x="8021" y="84369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453" name="Forma livre: Forma 2452">
                <a:extLst>
                  <a:ext uri="{FF2B5EF4-FFF2-40B4-BE49-F238E27FC236}">
                    <a16:creationId xmlns:a16="http://schemas.microsoft.com/office/drawing/2014/main" id="{C6B26B36-22B6-6C25-E7D3-4DCEF5AA4A27}"/>
                  </a:ext>
                </a:extLst>
              </p:cNvPr>
              <p:cNvSpPr/>
              <p:nvPr/>
            </p:nvSpPr>
            <p:spPr>
              <a:xfrm>
                <a:off x="8703305" y="4331925"/>
                <a:ext cx="120114" cy="52906"/>
              </a:xfrm>
              <a:custGeom>
                <a:avLst/>
                <a:gdLst>
                  <a:gd name="connsiteX0" fmla="*/ 120115 w 120114"/>
                  <a:gd name="connsiteY0" fmla="*/ 0 h 52906"/>
                  <a:gd name="connsiteX1" fmla="*/ 0 w 120114"/>
                  <a:gd name="connsiteY1" fmla="*/ 52907 h 529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0114" h="52906">
                    <a:moveTo>
                      <a:pt x="120115" y="0"/>
                    </a:moveTo>
                    <a:cubicBezTo>
                      <a:pt x="120115" y="0"/>
                      <a:pt x="77499" y="38665"/>
                      <a:pt x="0" y="52907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2454" name="Gráfico 17">
            <a:extLst>
              <a:ext uri="{FF2B5EF4-FFF2-40B4-BE49-F238E27FC236}">
                <a16:creationId xmlns:a16="http://schemas.microsoft.com/office/drawing/2014/main" id="{020776AF-0F0A-FC04-42D7-DAEF0CE6C540}"/>
              </a:ext>
            </a:extLst>
          </p:cNvPr>
          <p:cNvGrpSpPr/>
          <p:nvPr/>
        </p:nvGrpSpPr>
        <p:grpSpPr>
          <a:xfrm>
            <a:off x="8701696" y="3538049"/>
            <a:ext cx="300780" cy="357149"/>
            <a:chOff x="8701696" y="3538049"/>
            <a:chExt cx="300780" cy="357149"/>
          </a:xfrm>
        </p:grpSpPr>
        <p:sp>
          <p:nvSpPr>
            <p:cNvPr id="2455" name="Forma livre: Forma 2454">
              <a:extLst>
                <a:ext uri="{FF2B5EF4-FFF2-40B4-BE49-F238E27FC236}">
                  <a16:creationId xmlns:a16="http://schemas.microsoft.com/office/drawing/2014/main" id="{FC358C96-EC32-7D70-5CCE-D6104E4EC9C6}"/>
                </a:ext>
              </a:extLst>
            </p:cNvPr>
            <p:cNvSpPr/>
            <p:nvPr/>
          </p:nvSpPr>
          <p:spPr>
            <a:xfrm>
              <a:off x="8925234" y="3609928"/>
              <a:ext cx="7204" cy="7204"/>
            </a:xfrm>
            <a:custGeom>
              <a:avLst/>
              <a:gdLst>
                <a:gd name="connsiteX0" fmla="*/ 0 w 7204"/>
                <a:gd name="connsiteY0" fmla="*/ 3602 h 7204"/>
                <a:gd name="connsiteX1" fmla="*/ 3590 w 7204"/>
                <a:gd name="connsiteY1" fmla="*/ 7205 h 7204"/>
                <a:gd name="connsiteX2" fmla="*/ 7205 w 7204"/>
                <a:gd name="connsiteY2" fmla="*/ 3602 h 7204"/>
                <a:gd name="connsiteX3" fmla="*/ 3590 w 7204"/>
                <a:gd name="connsiteY3" fmla="*/ 0 h 7204"/>
                <a:gd name="connsiteX4" fmla="*/ 0 w 7204"/>
                <a:gd name="connsiteY4" fmla="*/ 3602 h 72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204" h="7204">
                  <a:moveTo>
                    <a:pt x="0" y="3602"/>
                  </a:moveTo>
                  <a:cubicBezTo>
                    <a:pt x="0" y="5596"/>
                    <a:pt x="1609" y="7205"/>
                    <a:pt x="3590" y="7205"/>
                  </a:cubicBezTo>
                  <a:cubicBezTo>
                    <a:pt x="5572" y="7205"/>
                    <a:pt x="7205" y="5596"/>
                    <a:pt x="7205" y="3602"/>
                  </a:cubicBezTo>
                  <a:cubicBezTo>
                    <a:pt x="7205" y="1609"/>
                    <a:pt x="5572" y="0"/>
                    <a:pt x="3590" y="0"/>
                  </a:cubicBezTo>
                  <a:cubicBezTo>
                    <a:pt x="1609" y="0"/>
                    <a:pt x="0" y="1609"/>
                    <a:pt x="0" y="3602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2456" name="Gráfico 17">
              <a:extLst>
                <a:ext uri="{FF2B5EF4-FFF2-40B4-BE49-F238E27FC236}">
                  <a16:creationId xmlns:a16="http://schemas.microsoft.com/office/drawing/2014/main" id="{0B412BC2-9F8F-8058-D9DE-C3B473399430}"/>
                </a:ext>
              </a:extLst>
            </p:cNvPr>
            <p:cNvGrpSpPr/>
            <p:nvPr/>
          </p:nvGrpSpPr>
          <p:grpSpPr>
            <a:xfrm>
              <a:off x="8935344" y="3643671"/>
              <a:ext cx="54971" cy="54983"/>
              <a:chOff x="8935344" y="3643671"/>
              <a:chExt cx="54971" cy="54983"/>
            </a:xfrm>
          </p:grpSpPr>
          <p:sp>
            <p:nvSpPr>
              <p:cNvPr id="2457" name="Forma livre: Forma 2456">
                <a:extLst>
                  <a:ext uri="{FF2B5EF4-FFF2-40B4-BE49-F238E27FC236}">
                    <a16:creationId xmlns:a16="http://schemas.microsoft.com/office/drawing/2014/main" id="{8447A0C4-2112-356B-FE55-64106017FCCD}"/>
                  </a:ext>
                </a:extLst>
              </p:cNvPr>
              <p:cNvSpPr/>
              <p:nvPr/>
            </p:nvSpPr>
            <p:spPr>
              <a:xfrm>
                <a:off x="8962830" y="3643671"/>
                <a:ext cx="1200" cy="17519"/>
              </a:xfrm>
              <a:custGeom>
                <a:avLst/>
                <a:gdLst>
                  <a:gd name="connsiteX0" fmla="*/ 0 w 1200"/>
                  <a:gd name="connsiteY0" fmla="*/ 0 h 17519"/>
                  <a:gd name="connsiteX1" fmla="*/ 0 w 1200"/>
                  <a:gd name="connsiteY1" fmla="*/ 17519 h 175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00" h="17519">
                    <a:moveTo>
                      <a:pt x="0" y="0"/>
                    </a:moveTo>
                    <a:lnTo>
                      <a:pt x="0" y="17519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458" name="Forma livre: Forma 2457">
                <a:extLst>
                  <a:ext uri="{FF2B5EF4-FFF2-40B4-BE49-F238E27FC236}">
                    <a16:creationId xmlns:a16="http://schemas.microsoft.com/office/drawing/2014/main" id="{338F7257-E6EB-BC91-D799-393FF1B258C0}"/>
                  </a:ext>
                </a:extLst>
              </p:cNvPr>
              <p:cNvSpPr/>
              <p:nvPr/>
            </p:nvSpPr>
            <p:spPr>
              <a:xfrm>
                <a:off x="8962830" y="3681147"/>
                <a:ext cx="1200" cy="17507"/>
              </a:xfrm>
              <a:custGeom>
                <a:avLst/>
                <a:gdLst>
                  <a:gd name="connsiteX0" fmla="*/ 0 w 1200"/>
                  <a:gd name="connsiteY0" fmla="*/ 0 h 17507"/>
                  <a:gd name="connsiteX1" fmla="*/ 0 w 1200"/>
                  <a:gd name="connsiteY1" fmla="*/ 17507 h 175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00" h="17507">
                    <a:moveTo>
                      <a:pt x="0" y="0"/>
                    </a:moveTo>
                    <a:lnTo>
                      <a:pt x="0" y="17507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459" name="Forma livre: Forma 2458">
                <a:extLst>
                  <a:ext uri="{FF2B5EF4-FFF2-40B4-BE49-F238E27FC236}">
                    <a16:creationId xmlns:a16="http://schemas.microsoft.com/office/drawing/2014/main" id="{28F0E424-5B11-3475-9838-78EE29C75D68}"/>
                  </a:ext>
                </a:extLst>
              </p:cNvPr>
              <p:cNvSpPr/>
              <p:nvPr/>
            </p:nvSpPr>
            <p:spPr>
              <a:xfrm>
                <a:off x="8972809" y="3671169"/>
                <a:ext cx="17507" cy="1200"/>
              </a:xfrm>
              <a:custGeom>
                <a:avLst/>
                <a:gdLst>
                  <a:gd name="connsiteX0" fmla="*/ 17507 w 17507"/>
                  <a:gd name="connsiteY0" fmla="*/ 0 h 1200"/>
                  <a:gd name="connsiteX1" fmla="*/ 0 w 17507"/>
                  <a:gd name="connsiteY1" fmla="*/ 0 h 12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7507" h="1200">
                    <a:moveTo>
                      <a:pt x="17507" y="0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460" name="Forma livre: Forma 2459">
                <a:extLst>
                  <a:ext uri="{FF2B5EF4-FFF2-40B4-BE49-F238E27FC236}">
                    <a16:creationId xmlns:a16="http://schemas.microsoft.com/office/drawing/2014/main" id="{A7454E29-ED30-067F-5805-74EEEC046785}"/>
                  </a:ext>
                </a:extLst>
              </p:cNvPr>
              <p:cNvSpPr/>
              <p:nvPr/>
            </p:nvSpPr>
            <p:spPr>
              <a:xfrm>
                <a:off x="8935344" y="3671169"/>
                <a:ext cx="17507" cy="1200"/>
              </a:xfrm>
              <a:custGeom>
                <a:avLst/>
                <a:gdLst>
                  <a:gd name="connsiteX0" fmla="*/ 17507 w 17507"/>
                  <a:gd name="connsiteY0" fmla="*/ 0 h 1200"/>
                  <a:gd name="connsiteX1" fmla="*/ 0 w 17507"/>
                  <a:gd name="connsiteY1" fmla="*/ 0 h 12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7507" h="1200">
                    <a:moveTo>
                      <a:pt x="17507" y="0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2461" name="Gráfico 17">
              <a:extLst>
                <a:ext uri="{FF2B5EF4-FFF2-40B4-BE49-F238E27FC236}">
                  <a16:creationId xmlns:a16="http://schemas.microsoft.com/office/drawing/2014/main" id="{D93B5ED7-4440-829D-67E1-BF8ECFFF8078}"/>
                </a:ext>
              </a:extLst>
            </p:cNvPr>
            <p:cNvGrpSpPr/>
            <p:nvPr/>
          </p:nvGrpSpPr>
          <p:grpSpPr>
            <a:xfrm>
              <a:off x="8701696" y="3538049"/>
              <a:ext cx="300780" cy="357149"/>
              <a:chOff x="8701696" y="3538049"/>
              <a:chExt cx="300780" cy="357149"/>
            </a:xfrm>
            <a:noFill/>
          </p:grpSpPr>
          <p:grpSp>
            <p:nvGrpSpPr>
              <p:cNvPr id="2462" name="Gráfico 17">
                <a:extLst>
                  <a:ext uri="{FF2B5EF4-FFF2-40B4-BE49-F238E27FC236}">
                    <a16:creationId xmlns:a16="http://schemas.microsoft.com/office/drawing/2014/main" id="{559CF529-8813-E704-CBC3-2AEA4650E20A}"/>
                  </a:ext>
                </a:extLst>
              </p:cNvPr>
              <p:cNvGrpSpPr/>
              <p:nvPr/>
            </p:nvGrpSpPr>
            <p:grpSpPr>
              <a:xfrm>
                <a:off x="8701696" y="3538049"/>
                <a:ext cx="197721" cy="357149"/>
                <a:chOff x="8701696" y="3538049"/>
                <a:chExt cx="197721" cy="357149"/>
              </a:xfrm>
              <a:noFill/>
            </p:grpSpPr>
            <p:grpSp>
              <p:nvGrpSpPr>
                <p:cNvPr id="2463" name="Gráfico 17">
                  <a:extLst>
                    <a:ext uri="{FF2B5EF4-FFF2-40B4-BE49-F238E27FC236}">
                      <a16:creationId xmlns:a16="http://schemas.microsoft.com/office/drawing/2014/main" id="{60166335-246E-3D29-3B7D-A3A99613EF0B}"/>
                    </a:ext>
                  </a:extLst>
                </p:cNvPr>
                <p:cNvGrpSpPr/>
                <p:nvPr/>
              </p:nvGrpSpPr>
              <p:grpSpPr>
                <a:xfrm>
                  <a:off x="8759898" y="3538049"/>
                  <a:ext cx="139519" cy="186037"/>
                  <a:chOff x="8759898" y="3538049"/>
                  <a:chExt cx="139519" cy="186037"/>
                </a:xfrm>
                <a:noFill/>
              </p:grpSpPr>
              <p:sp>
                <p:nvSpPr>
                  <p:cNvPr id="2464" name="Forma livre: Forma 2463">
                    <a:extLst>
                      <a:ext uri="{FF2B5EF4-FFF2-40B4-BE49-F238E27FC236}">
                        <a16:creationId xmlns:a16="http://schemas.microsoft.com/office/drawing/2014/main" id="{74A50F85-5809-346C-466B-272780A23936}"/>
                      </a:ext>
                    </a:extLst>
                  </p:cNvPr>
                  <p:cNvSpPr/>
                  <p:nvPr/>
                </p:nvSpPr>
                <p:spPr>
                  <a:xfrm>
                    <a:off x="8829663" y="3589083"/>
                    <a:ext cx="1200" cy="39001"/>
                  </a:xfrm>
                  <a:custGeom>
                    <a:avLst/>
                    <a:gdLst>
                      <a:gd name="connsiteX0" fmla="*/ 0 w 1200"/>
                      <a:gd name="connsiteY0" fmla="*/ 39002 h 39001"/>
                      <a:gd name="connsiteX1" fmla="*/ 0 w 1200"/>
                      <a:gd name="connsiteY1" fmla="*/ 0 h 3900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200" h="39001">
                        <a:moveTo>
                          <a:pt x="0" y="39002"/>
                        </a:moveTo>
                        <a:lnTo>
                          <a:pt x="0" y="0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2465" name="Forma livre: Forma 2464">
                    <a:extLst>
                      <a:ext uri="{FF2B5EF4-FFF2-40B4-BE49-F238E27FC236}">
                        <a16:creationId xmlns:a16="http://schemas.microsoft.com/office/drawing/2014/main" id="{C7A83791-D200-2A41-1254-D7B3AFA619A4}"/>
                      </a:ext>
                    </a:extLst>
                  </p:cNvPr>
                  <p:cNvSpPr/>
                  <p:nvPr/>
                </p:nvSpPr>
                <p:spPr>
                  <a:xfrm>
                    <a:off x="8759898" y="3631374"/>
                    <a:ext cx="139519" cy="92712"/>
                  </a:xfrm>
                  <a:custGeom>
                    <a:avLst/>
                    <a:gdLst>
                      <a:gd name="connsiteX0" fmla="*/ 0 w 139519"/>
                      <a:gd name="connsiteY0" fmla="*/ 67496 h 92712"/>
                      <a:gd name="connsiteX1" fmla="*/ 0 w 139519"/>
                      <a:gd name="connsiteY1" fmla="*/ 30824 h 92712"/>
                      <a:gd name="connsiteX2" fmla="*/ 68085 w 139519"/>
                      <a:gd name="connsiteY2" fmla="*/ 0 h 92712"/>
                      <a:gd name="connsiteX3" fmla="*/ 139519 w 139519"/>
                      <a:gd name="connsiteY3" fmla="*/ 30824 h 92712"/>
                      <a:gd name="connsiteX4" fmla="*/ 139519 w 139519"/>
                      <a:gd name="connsiteY4" fmla="*/ 92713 h 9271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139519" h="92712">
                        <a:moveTo>
                          <a:pt x="0" y="67496"/>
                        </a:moveTo>
                        <a:lnTo>
                          <a:pt x="0" y="30824"/>
                        </a:lnTo>
                        <a:cubicBezTo>
                          <a:pt x="18300" y="10711"/>
                          <a:pt x="53567" y="0"/>
                          <a:pt x="68085" y="0"/>
                        </a:cubicBezTo>
                        <a:cubicBezTo>
                          <a:pt x="82602" y="0"/>
                          <a:pt x="120403" y="9822"/>
                          <a:pt x="139519" y="30824"/>
                        </a:cubicBezTo>
                        <a:cubicBezTo>
                          <a:pt x="139519" y="112682"/>
                          <a:pt x="139519" y="10855"/>
                          <a:pt x="139519" y="92713"/>
                        </a:cubicBezTo>
                      </a:path>
                    </a:pathLst>
                  </a:custGeom>
                  <a:noFill/>
                  <a:ln w="6350" cap="flat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2466" name="Forma livre: Forma 2465">
                    <a:extLst>
                      <a:ext uri="{FF2B5EF4-FFF2-40B4-BE49-F238E27FC236}">
                        <a16:creationId xmlns:a16="http://schemas.microsoft.com/office/drawing/2014/main" id="{42E9726D-6595-B987-5591-C211BC1D5808}"/>
                      </a:ext>
                    </a:extLst>
                  </p:cNvPr>
                  <p:cNvSpPr/>
                  <p:nvPr/>
                </p:nvSpPr>
                <p:spPr>
                  <a:xfrm>
                    <a:off x="8788068" y="3667770"/>
                    <a:ext cx="110508" cy="1200"/>
                  </a:xfrm>
                  <a:custGeom>
                    <a:avLst/>
                    <a:gdLst>
                      <a:gd name="connsiteX0" fmla="*/ 110508 w 110508"/>
                      <a:gd name="connsiteY0" fmla="*/ 0 h 1200"/>
                      <a:gd name="connsiteX1" fmla="*/ 0 w 110508"/>
                      <a:gd name="connsiteY1" fmla="*/ 0 h 120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10508" h="1200">
                        <a:moveTo>
                          <a:pt x="110508" y="0"/>
                        </a:moveTo>
                        <a:lnTo>
                          <a:pt x="0" y="0"/>
                        </a:lnTo>
                      </a:path>
                    </a:pathLst>
                  </a:custGeom>
                  <a:ln w="6350" cap="flat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2467" name="Forma livre: Forma 2466">
                    <a:extLst>
                      <a:ext uri="{FF2B5EF4-FFF2-40B4-BE49-F238E27FC236}">
                        <a16:creationId xmlns:a16="http://schemas.microsoft.com/office/drawing/2014/main" id="{FC5C8C1F-AA66-A6E8-78C1-EFACBC8E2615}"/>
                      </a:ext>
                    </a:extLst>
                  </p:cNvPr>
                  <p:cNvSpPr/>
                  <p:nvPr/>
                </p:nvSpPr>
                <p:spPr>
                  <a:xfrm>
                    <a:off x="8805250" y="3538049"/>
                    <a:ext cx="48827" cy="78171"/>
                  </a:xfrm>
                  <a:custGeom>
                    <a:avLst/>
                    <a:gdLst>
                      <a:gd name="connsiteX0" fmla="*/ 26431 w 48827"/>
                      <a:gd name="connsiteY0" fmla="*/ 78171 h 78171"/>
                      <a:gd name="connsiteX1" fmla="*/ 41345 w 48827"/>
                      <a:gd name="connsiteY1" fmla="*/ 69093 h 78171"/>
                      <a:gd name="connsiteX2" fmla="*/ 46808 w 48827"/>
                      <a:gd name="connsiteY2" fmla="*/ 60532 h 78171"/>
                      <a:gd name="connsiteX3" fmla="*/ 40684 w 48827"/>
                      <a:gd name="connsiteY3" fmla="*/ 25937 h 78171"/>
                      <a:gd name="connsiteX4" fmla="*/ 24413 w 48827"/>
                      <a:gd name="connsiteY4" fmla="*/ 0 h 78171"/>
                      <a:gd name="connsiteX5" fmla="*/ 8155 w 48827"/>
                      <a:gd name="connsiteY5" fmla="*/ 25937 h 78171"/>
                      <a:gd name="connsiteX6" fmla="*/ 2019 w 48827"/>
                      <a:gd name="connsiteY6" fmla="*/ 60532 h 78171"/>
                      <a:gd name="connsiteX7" fmla="*/ 5297 w 48827"/>
                      <a:gd name="connsiteY7" fmla="*/ 66524 h 7817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48827" h="78171">
                        <a:moveTo>
                          <a:pt x="26431" y="78171"/>
                        </a:moveTo>
                        <a:cubicBezTo>
                          <a:pt x="26431" y="78171"/>
                          <a:pt x="35881" y="75109"/>
                          <a:pt x="41345" y="69093"/>
                        </a:cubicBezTo>
                        <a:cubicBezTo>
                          <a:pt x="43530" y="66800"/>
                          <a:pt x="45607" y="63642"/>
                          <a:pt x="46808" y="60532"/>
                        </a:cubicBezTo>
                        <a:cubicBezTo>
                          <a:pt x="50651" y="50601"/>
                          <a:pt x="49222" y="37356"/>
                          <a:pt x="40684" y="25937"/>
                        </a:cubicBezTo>
                        <a:cubicBezTo>
                          <a:pt x="26899" y="7565"/>
                          <a:pt x="27668" y="3831"/>
                          <a:pt x="24413" y="0"/>
                        </a:cubicBezTo>
                        <a:cubicBezTo>
                          <a:pt x="21171" y="3831"/>
                          <a:pt x="21928" y="7565"/>
                          <a:pt x="8155" y="25937"/>
                        </a:cubicBezTo>
                        <a:cubicBezTo>
                          <a:pt x="-395" y="37344"/>
                          <a:pt x="-1824" y="50601"/>
                          <a:pt x="2019" y="60532"/>
                        </a:cubicBezTo>
                        <a:cubicBezTo>
                          <a:pt x="2859" y="62705"/>
                          <a:pt x="3964" y="64722"/>
                          <a:pt x="5297" y="66524"/>
                        </a:cubicBezTo>
                      </a:path>
                    </a:pathLst>
                  </a:custGeom>
                  <a:noFill/>
                  <a:ln w="6350" cap="rnd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  <p:grpSp>
              <p:nvGrpSpPr>
                <p:cNvPr id="2468" name="Gráfico 17">
                  <a:extLst>
                    <a:ext uri="{FF2B5EF4-FFF2-40B4-BE49-F238E27FC236}">
                      <a16:creationId xmlns:a16="http://schemas.microsoft.com/office/drawing/2014/main" id="{D38DF411-1E9F-190B-090C-2D3853D362CC}"/>
                    </a:ext>
                  </a:extLst>
                </p:cNvPr>
                <p:cNvGrpSpPr/>
                <p:nvPr/>
              </p:nvGrpSpPr>
              <p:grpSpPr>
                <a:xfrm>
                  <a:off x="8701696" y="3719848"/>
                  <a:ext cx="145811" cy="175350"/>
                  <a:chOff x="8701696" y="3719848"/>
                  <a:chExt cx="145811" cy="175350"/>
                </a:xfrm>
                <a:noFill/>
              </p:grpSpPr>
              <p:sp>
                <p:nvSpPr>
                  <p:cNvPr id="2469" name="Forma livre: Forma 2468">
                    <a:extLst>
                      <a:ext uri="{FF2B5EF4-FFF2-40B4-BE49-F238E27FC236}">
                        <a16:creationId xmlns:a16="http://schemas.microsoft.com/office/drawing/2014/main" id="{87E1E243-8EAC-530C-9C27-28F4F5E84031}"/>
                      </a:ext>
                    </a:extLst>
                  </p:cNvPr>
                  <p:cNvSpPr/>
                  <p:nvPr/>
                </p:nvSpPr>
                <p:spPr>
                  <a:xfrm>
                    <a:off x="8760246" y="3762668"/>
                    <a:ext cx="1200" cy="31220"/>
                  </a:xfrm>
                  <a:custGeom>
                    <a:avLst/>
                    <a:gdLst>
                      <a:gd name="connsiteX0" fmla="*/ 0 w 1200"/>
                      <a:gd name="connsiteY0" fmla="*/ 31220 h 31220"/>
                      <a:gd name="connsiteX1" fmla="*/ 0 w 1200"/>
                      <a:gd name="connsiteY1" fmla="*/ 0 h 3122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200" h="31220">
                        <a:moveTo>
                          <a:pt x="0" y="31220"/>
                        </a:moveTo>
                        <a:lnTo>
                          <a:pt x="0" y="0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2470" name="Forma livre: Forma 2469">
                    <a:extLst>
                      <a:ext uri="{FF2B5EF4-FFF2-40B4-BE49-F238E27FC236}">
                        <a16:creationId xmlns:a16="http://schemas.microsoft.com/office/drawing/2014/main" id="{0F10C20D-2672-8889-5AD9-E6DC20F664E3}"/>
                      </a:ext>
                    </a:extLst>
                  </p:cNvPr>
                  <p:cNvSpPr/>
                  <p:nvPr/>
                </p:nvSpPr>
                <p:spPr>
                  <a:xfrm>
                    <a:off x="8701696" y="3798152"/>
                    <a:ext cx="145811" cy="97047"/>
                  </a:xfrm>
                  <a:custGeom>
                    <a:avLst/>
                    <a:gdLst>
                      <a:gd name="connsiteX0" fmla="*/ 117077 w 145811"/>
                      <a:gd name="connsiteY0" fmla="*/ 94526 h 97047"/>
                      <a:gd name="connsiteX1" fmla="*/ 117077 w 145811"/>
                      <a:gd name="connsiteY1" fmla="*/ 25865 h 97047"/>
                      <a:gd name="connsiteX2" fmla="*/ 57133 w 145811"/>
                      <a:gd name="connsiteY2" fmla="*/ 0 h 97047"/>
                      <a:gd name="connsiteX3" fmla="*/ 0 w 145811"/>
                      <a:gd name="connsiteY3" fmla="*/ 25865 h 97047"/>
                      <a:gd name="connsiteX4" fmla="*/ 0 w 145811"/>
                      <a:gd name="connsiteY4" fmla="*/ 97047 h 97047"/>
                      <a:gd name="connsiteX5" fmla="*/ 145811 w 145811"/>
                      <a:gd name="connsiteY5" fmla="*/ 97047 h 9704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145811" h="97047">
                        <a:moveTo>
                          <a:pt x="117077" y="94526"/>
                        </a:moveTo>
                        <a:cubicBezTo>
                          <a:pt x="117077" y="61444"/>
                          <a:pt x="117077" y="85580"/>
                          <a:pt x="117077" y="25865"/>
                        </a:cubicBezTo>
                        <a:cubicBezTo>
                          <a:pt x="101034" y="8237"/>
                          <a:pt x="69309" y="0"/>
                          <a:pt x="57133" y="0"/>
                        </a:cubicBezTo>
                        <a:cubicBezTo>
                          <a:pt x="44957" y="0"/>
                          <a:pt x="15358" y="8994"/>
                          <a:pt x="0" y="25865"/>
                        </a:cubicBezTo>
                        <a:lnTo>
                          <a:pt x="0" y="97047"/>
                        </a:lnTo>
                        <a:lnTo>
                          <a:pt x="145811" y="97047"/>
                        </a:lnTo>
                      </a:path>
                    </a:pathLst>
                  </a:custGeom>
                  <a:noFill/>
                  <a:ln w="6350" cap="flat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2471" name="Forma livre: Forma 2470">
                    <a:extLst>
                      <a:ext uri="{FF2B5EF4-FFF2-40B4-BE49-F238E27FC236}">
                        <a16:creationId xmlns:a16="http://schemas.microsoft.com/office/drawing/2014/main" id="{1441C11C-00ED-3CD7-682F-4F0E2AB51BD3}"/>
                      </a:ext>
                    </a:extLst>
                  </p:cNvPr>
                  <p:cNvSpPr/>
                  <p:nvPr/>
                </p:nvSpPr>
                <p:spPr>
                  <a:xfrm>
                    <a:off x="8729674" y="3833010"/>
                    <a:ext cx="88401" cy="1200"/>
                  </a:xfrm>
                  <a:custGeom>
                    <a:avLst/>
                    <a:gdLst>
                      <a:gd name="connsiteX0" fmla="*/ 88402 w 88401"/>
                      <a:gd name="connsiteY0" fmla="*/ 0 h 1200"/>
                      <a:gd name="connsiteX1" fmla="*/ 0 w 88401"/>
                      <a:gd name="connsiteY1" fmla="*/ 0 h 120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88401" h="1200">
                        <a:moveTo>
                          <a:pt x="88402" y="0"/>
                        </a:moveTo>
                        <a:lnTo>
                          <a:pt x="0" y="0"/>
                        </a:lnTo>
                      </a:path>
                    </a:pathLst>
                  </a:custGeom>
                  <a:ln w="6350" cap="flat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2472" name="Forma livre: Forma 2471">
                    <a:extLst>
                      <a:ext uri="{FF2B5EF4-FFF2-40B4-BE49-F238E27FC236}">
                        <a16:creationId xmlns:a16="http://schemas.microsoft.com/office/drawing/2014/main" id="{86BE802A-C989-89B8-545B-B51DCE0BDA97}"/>
                      </a:ext>
                    </a:extLst>
                  </p:cNvPr>
                  <p:cNvSpPr/>
                  <p:nvPr/>
                </p:nvSpPr>
                <p:spPr>
                  <a:xfrm>
                    <a:off x="8739765" y="3719848"/>
                    <a:ext cx="40982" cy="65598"/>
                  </a:xfrm>
                  <a:custGeom>
                    <a:avLst/>
                    <a:gdLst>
                      <a:gd name="connsiteX0" fmla="*/ 22174 w 40982"/>
                      <a:gd name="connsiteY0" fmla="*/ 65599 h 65598"/>
                      <a:gd name="connsiteX1" fmla="*/ 34698 w 40982"/>
                      <a:gd name="connsiteY1" fmla="*/ 57974 h 65598"/>
                      <a:gd name="connsiteX2" fmla="*/ 39285 w 40982"/>
                      <a:gd name="connsiteY2" fmla="*/ 50793 h 65598"/>
                      <a:gd name="connsiteX3" fmla="*/ 34134 w 40982"/>
                      <a:gd name="connsiteY3" fmla="*/ 21758 h 65598"/>
                      <a:gd name="connsiteX4" fmla="*/ 20493 w 40982"/>
                      <a:gd name="connsiteY4" fmla="*/ 0 h 65598"/>
                      <a:gd name="connsiteX5" fmla="*/ 6840 w 40982"/>
                      <a:gd name="connsiteY5" fmla="*/ 21758 h 65598"/>
                      <a:gd name="connsiteX6" fmla="*/ 1701 w 40982"/>
                      <a:gd name="connsiteY6" fmla="*/ 50793 h 6559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40982" h="65598">
                        <a:moveTo>
                          <a:pt x="22174" y="65599"/>
                        </a:moveTo>
                        <a:cubicBezTo>
                          <a:pt x="22174" y="65599"/>
                          <a:pt x="30111" y="63029"/>
                          <a:pt x="34698" y="57974"/>
                        </a:cubicBezTo>
                        <a:cubicBezTo>
                          <a:pt x="36536" y="56053"/>
                          <a:pt x="38265" y="53411"/>
                          <a:pt x="39285" y="50793"/>
                        </a:cubicBezTo>
                        <a:cubicBezTo>
                          <a:pt x="42515" y="42460"/>
                          <a:pt x="41315" y="31341"/>
                          <a:pt x="34134" y="21758"/>
                        </a:cubicBezTo>
                        <a:cubicBezTo>
                          <a:pt x="22558" y="6340"/>
                          <a:pt x="23207" y="3206"/>
                          <a:pt x="20493" y="0"/>
                        </a:cubicBezTo>
                        <a:cubicBezTo>
                          <a:pt x="17767" y="3218"/>
                          <a:pt x="18404" y="6352"/>
                          <a:pt x="6840" y="21758"/>
                        </a:cubicBezTo>
                        <a:cubicBezTo>
                          <a:pt x="-341" y="31341"/>
                          <a:pt x="-1529" y="42460"/>
                          <a:pt x="1701" y="50793"/>
                        </a:cubicBezTo>
                      </a:path>
                    </a:pathLst>
                  </a:custGeom>
                  <a:noFill/>
                  <a:ln w="6350" cap="rnd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</p:grpSp>
          <p:grpSp>
            <p:nvGrpSpPr>
              <p:cNvPr id="2473" name="Gráfico 17">
                <a:extLst>
                  <a:ext uri="{FF2B5EF4-FFF2-40B4-BE49-F238E27FC236}">
                    <a16:creationId xmlns:a16="http://schemas.microsoft.com/office/drawing/2014/main" id="{0CF32618-1DE8-AF00-CF3E-02144F9A739E}"/>
                  </a:ext>
                </a:extLst>
              </p:cNvPr>
              <p:cNvGrpSpPr/>
              <p:nvPr/>
            </p:nvGrpSpPr>
            <p:grpSpPr>
              <a:xfrm>
                <a:off x="8842106" y="3741595"/>
                <a:ext cx="160370" cy="153597"/>
                <a:chOff x="8842106" y="3741595"/>
                <a:chExt cx="160370" cy="153597"/>
              </a:xfrm>
              <a:noFill/>
            </p:grpSpPr>
            <p:sp>
              <p:nvSpPr>
                <p:cNvPr id="2474" name="Forma livre: Forma 2473">
                  <a:extLst>
                    <a:ext uri="{FF2B5EF4-FFF2-40B4-BE49-F238E27FC236}">
                      <a16:creationId xmlns:a16="http://schemas.microsoft.com/office/drawing/2014/main" id="{100B2971-8014-F72D-9AB2-7B1596637AE3}"/>
                    </a:ext>
                  </a:extLst>
                </p:cNvPr>
                <p:cNvSpPr/>
                <p:nvPr/>
              </p:nvSpPr>
              <p:spPr>
                <a:xfrm>
                  <a:off x="8922208" y="3777702"/>
                  <a:ext cx="1200" cy="27389"/>
                </a:xfrm>
                <a:custGeom>
                  <a:avLst/>
                  <a:gdLst>
                    <a:gd name="connsiteX0" fmla="*/ 0 w 1200"/>
                    <a:gd name="connsiteY0" fmla="*/ 27390 h 27389"/>
                    <a:gd name="connsiteX1" fmla="*/ 0 w 1200"/>
                    <a:gd name="connsiteY1" fmla="*/ 0 h 2738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200" h="27389">
                      <a:moveTo>
                        <a:pt x="0" y="27390"/>
                      </a:moveTo>
                      <a:lnTo>
                        <a:pt x="0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475" name="Forma livre: Forma 2474">
                  <a:extLst>
                    <a:ext uri="{FF2B5EF4-FFF2-40B4-BE49-F238E27FC236}">
                      <a16:creationId xmlns:a16="http://schemas.microsoft.com/office/drawing/2014/main" id="{C5034E80-A224-6A00-47BB-4542A7E65A1D}"/>
                    </a:ext>
                  </a:extLst>
                </p:cNvPr>
                <p:cNvSpPr/>
                <p:nvPr/>
              </p:nvSpPr>
              <p:spPr>
                <a:xfrm>
                  <a:off x="8879988" y="3808574"/>
                  <a:ext cx="24880" cy="8093"/>
                </a:xfrm>
                <a:custGeom>
                  <a:avLst/>
                  <a:gdLst>
                    <a:gd name="connsiteX0" fmla="*/ 24880 w 24880"/>
                    <a:gd name="connsiteY0" fmla="*/ 8093 h 8093"/>
                    <a:gd name="connsiteX1" fmla="*/ 0 w 24880"/>
                    <a:gd name="connsiteY1" fmla="*/ 0 h 809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4880" h="8093">
                      <a:moveTo>
                        <a:pt x="24880" y="8093"/>
                      </a:moveTo>
                      <a:lnTo>
                        <a:pt x="0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476" name="Forma livre: Forma 2475">
                  <a:extLst>
                    <a:ext uri="{FF2B5EF4-FFF2-40B4-BE49-F238E27FC236}">
                      <a16:creationId xmlns:a16="http://schemas.microsoft.com/office/drawing/2014/main" id="{3144EE9A-AE4F-A950-D12E-ADD429E6FEFE}"/>
                    </a:ext>
                  </a:extLst>
                </p:cNvPr>
                <p:cNvSpPr/>
                <p:nvPr/>
              </p:nvSpPr>
              <p:spPr>
                <a:xfrm>
                  <a:off x="8938166" y="3808574"/>
                  <a:ext cx="26417" cy="8585"/>
                </a:xfrm>
                <a:custGeom>
                  <a:avLst/>
                  <a:gdLst>
                    <a:gd name="connsiteX0" fmla="*/ 0 w 26417"/>
                    <a:gd name="connsiteY0" fmla="*/ 8586 h 8585"/>
                    <a:gd name="connsiteX1" fmla="*/ 26417 w 26417"/>
                    <a:gd name="connsiteY1" fmla="*/ 0 h 858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6417" h="8585">
                      <a:moveTo>
                        <a:pt x="0" y="8586"/>
                      </a:moveTo>
                      <a:lnTo>
                        <a:pt x="26417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477" name="Forma livre: Forma 2476">
                  <a:extLst>
                    <a:ext uri="{FF2B5EF4-FFF2-40B4-BE49-F238E27FC236}">
                      <a16:creationId xmlns:a16="http://schemas.microsoft.com/office/drawing/2014/main" id="{4832FEAC-B91C-0B37-95D8-2650CBBBD638}"/>
                    </a:ext>
                  </a:extLst>
                </p:cNvPr>
                <p:cNvSpPr/>
                <p:nvPr/>
              </p:nvSpPr>
              <p:spPr>
                <a:xfrm>
                  <a:off x="8932523" y="3836601"/>
                  <a:ext cx="15970" cy="21998"/>
                </a:xfrm>
                <a:custGeom>
                  <a:avLst/>
                  <a:gdLst>
                    <a:gd name="connsiteX0" fmla="*/ 0 w 15970"/>
                    <a:gd name="connsiteY0" fmla="*/ 0 h 21998"/>
                    <a:gd name="connsiteX1" fmla="*/ 15970 w 15970"/>
                    <a:gd name="connsiteY1" fmla="*/ 21998 h 219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5970" h="21998">
                      <a:moveTo>
                        <a:pt x="0" y="0"/>
                      </a:moveTo>
                      <a:lnTo>
                        <a:pt x="15970" y="21998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478" name="Forma livre: Forma 2477">
                  <a:extLst>
                    <a:ext uri="{FF2B5EF4-FFF2-40B4-BE49-F238E27FC236}">
                      <a16:creationId xmlns:a16="http://schemas.microsoft.com/office/drawing/2014/main" id="{9184BC16-FA7B-7529-7AA5-2161988DF7C1}"/>
                    </a:ext>
                  </a:extLst>
                </p:cNvPr>
                <p:cNvSpPr/>
                <p:nvPr/>
              </p:nvSpPr>
              <p:spPr>
                <a:xfrm>
                  <a:off x="8896067" y="3837021"/>
                  <a:ext cx="15682" cy="21578"/>
                </a:xfrm>
                <a:custGeom>
                  <a:avLst/>
                  <a:gdLst>
                    <a:gd name="connsiteX0" fmla="*/ 15682 w 15682"/>
                    <a:gd name="connsiteY0" fmla="*/ 0 h 21578"/>
                    <a:gd name="connsiteX1" fmla="*/ 0 w 15682"/>
                    <a:gd name="connsiteY1" fmla="*/ 21578 h 215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5682" h="21578">
                      <a:moveTo>
                        <a:pt x="15682" y="0"/>
                      </a:moveTo>
                      <a:lnTo>
                        <a:pt x="0" y="21578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479" name="Forma livre: Forma 2478">
                  <a:extLst>
                    <a:ext uri="{FF2B5EF4-FFF2-40B4-BE49-F238E27FC236}">
                      <a16:creationId xmlns:a16="http://schemas.microsoft.com/office/drawing/2014/main" id="{86C130F7-FBFD-BEDD-C16F-5AB409427147}"/>
                    </a:ext>
                  </a:extLst>
                </p:cNvPr>
                <p:cNvSpPr/>
                <p:nvPr/>
              </p:nvSpPr>
              <p:spPr>
                <a:xfrm>
                  <a:off x="8860786" y="3741595"/>
                  <a:ext cx="141690" cy="153597"/>
                </a:xfrm>
                <a:custGeom>
                  <a:avLst/>
                  <a:gdLst>
                    <a:gd name="connsiteX0" fmla="*/ 2115 w 141690"/>
                    <a:gd name="connsiteY0" fmla="*/ 113943 h 153597"/>
                    <a:gd name="connsiteX1" fmla="*/ 14627 w 141690"/>
                    <a:gd name="connsiteY1" fmla="*/ 147673 h 153597"/>
                    <a:gd name="connsiteX2" fmla="*/ 58864 w 141690"/>
                    <a:gd name="connsiteY2" fmla="*/ 130045 h 153597"/>
                    <a:gd name="connsiteX3" fmla="*/ 61506 w 141690"/>
                    <a:gd name="connsiteY3" fmla="*/ 116056 h 153597"/>
                    <a:gd name="connsiteX4" fmla="*/ 64148 w 141690"/>
                    <a:gd name="connsiteY4" fmla="*/ 130045 h 153597"/>
                    <a:gd name="connsiteX5" fmla="*/ 108385 w 141690"/>
                    <a:gd name="connsiteY5" fmla="*/ 147673 h 153597"/>
                    <a:gd name="connsiteX6" fmla="*/ 109466 w 141690"/>
                    <a:gd name="connsiteY6" fmla="*/ 100350 h 153597"/>
                    <a:gd name="connsiteX7" fmla="*/ 97722 w 141690"/>
                    <a:gd name="connsiteY7" fmla="*/ 92569 h 153597"/>
                    <a:gd name="connsiteX8" fmla="*/ 111975 w 141690"/>
                    <a:gd name="connsiteY8" fmla="*/ 93313 h 153597"/>
                    <a:gd name="connsiteX9" fmla="*/ 139377 w 141690"/>
                    <a:gd name="connsiteY9" fmla="*/ 54360 h 153597"/>
                    <a:gd name="connsiteX10" fmla="*/ 93579 w 141690"/>
                    <a:gd name="connsiteY10" fmla="*/ 42340 h 153597"/>
                    <a:gd name="connsiteX11" fmla="*/ 83132 w 141690"/>
                    <a:gd name="connsiteY11" fmla="*/ 52054 h 153597"/>
                    <a:gd name="connsiteX12" fmla="*/ 88488 w 141690"/>
                    <a:gd name="connsiteY12" fmla="*/ 38978 h 153597"/>
                    <a:gd name="connsiteX13" fmla="*/ 61158 w 141690"/>
                    <a:gd name="connsiteY13" fmla="*/ 0 h 153597"/>
                    <a:gd name="connsiteX14" fmla="*/ 32988 w 141690"/>
                    <a:gd name="connsiteY14" fmla="*/ 18036 h 15359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</a:cxnLst>
                  <a:rect l="l" t="t" r="r" b="b"/>
                  <a:pathLst>
                    <a:path w="141690" h="153597">
                      <a:moveTo>
                        <a:pt x="2115" y="113943"/>
                      </a:moveTo>
                      <a:cubicBezTo>
                        <a:pt x="-3012" y="125686"/>
                        <a:pt x="1191" y="138859"/>
                        <a:pt x="14627" y="147673"/>
                      </a:cubicBezTo>
                      <a:cubicBezTo>
                        <a:pt x="33708" y="160173"/>
                        <a:pt x="53605" y="152236"/>
                        <a:pt x="58864" y="130045"/>
                      </a:cubicBezTo>
                      <a:cubicBezTo>
                        <a:pt x="59993" y="125290"/>
                        <a:pt x="60906" y="120571"/>
                        <a:pt x="61506" y="116056"/>
                      </a:cubicBezTo>
                      <a:cubicBezTo>
                        <a:pt x="62107" y="120571"/>
                        <a:pt x="63019" y="125290"/>
                        <a:pt x="64148" y="130045"/>
                      </a:cubicBezTo>
                      <a:cubicBezTo>
                        <a:pt x="69395" y="152236"/>
                        <a:pt x="89304" y="160173"/>
                        <a:pt x="108385" y="147673"/>
                      </a:cubicBezTo>
                      <a:cubicBezTo>
                        <a:pt x="127465" y="135172"/>
                        <a:pt x="127958" y="113858"/>
                        <a:pt x="109466" y="100350"/>
                      </a:cubicBezTo>
                      <a:cubicBezTo>
                        <a:pt x="105551" y="97468"/>
                        <a:pt x="101612" y="94874"/>
                        <a:pt x="97722" y="92569"/>
                      </a:cubicBezTo>
                      <a:cubicBezTo>
                        <a:pt x="102249" y="93025"/>
                        <a:pt x="107076" y="93289"/>
                        <a:pt x="111975" y="93313"/>
                      </a:cubicBezTo>
                      <a:cubicBezTo>
                        <a:pt x="134778" y="93337"/>
                        <a:pt x="147122" y="75830"/>
                        <a:pt x="139377" y="54360"/>
                      </a:cubicBezTo>
                      <a:cubicBezTo>
                        <a:pt x="131632" y="32902"/>
                        <a:pt x="111027" y="27486"/>
                        <a:pt x="93579" y="42340"/>
                      </a:cubicBezTo>
                      <a:cubicBezTo>
                        <a:pt x="89893" y="45486"/>
                        <a:pt x="86278" y="48800"/>
                        <a:pt x="83132" y="52054"/>
                      </a:cubicBezTo>
                      <a:cubicBezTo>
                        <a:pt x="85102" y="47947"/>
                        <a:pt x="86831" y="43589"/>
                        <a:pt x="88488" y="38978"/>
                      </a:cubicBezTo>
                      <a:cubicBezTo>
                        <a:pt x="96269" y="17543"/>
                        <a:pt x="83973" y="0"/>
                        <a:pt x="61158" y="0"/>
                      </a:cubicBezTo>
                      <a:cubicBezTo>
                        <a:pt x="46532" y="0"/>
                        <a:pt x="36302" y="7205"/>
                        <a:pt x="32988" y="18036"/>
                      </a:cubicBez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480" name="Forma livre: Forma 2479">
                  <a:extLst>
                    <a:ext uri="{FF2B5EF4-FFF2-40B4-BE49-F238E27FC236}">
                      <a16:creationId xmlns:a16="http://schemas.microsoft.com/office/drawing/2014/main" id="{DD6C01B4-930E-C7EF-DE85-A7FCA4D86233}"/>
                    </a:ext>
                  </a:extLst>
                </p:cNvPr>
                <p:cNvSpPr/>
                <p:nvPr/>
              </p:nvSpPr>
              <p:spPr>
                <a:xfrm>
                  <a:off x="8842106" y="3775550"/>
                  <a:ext cx="58487" cy="59358"/>
                </a:xfrm>
                <a:custGeom>
                  <a:avLst/>
                  <a:gdLst>
                    <a:gd name="connsiteX0" fmla="*/ 58488 w 58487"/>
                    <a:gd name="connsiteY0" fmla="*/ 18027 h 59358"/>
                    <a:gd name="connsiteX1" fmla="*/ 48113 w 58487"/>
                    <a:gd name="connsiteY1" fmla="*/ 8385 h 59358"/>
                    <a:gd name="connsiteX2" fmla="*/ 2315 w 58487"/>
                    <a:gd name="connsiteY2" fmla="*/ 20405 h 59358"/>
                    <a:gd name="connsiteX3" fmla="*/ 29717 w 58487"/>
                    <a:gd name="connsiteY3" fmla="*/ 59358 h 59358"/>
                    <a:gd name="connsiteX4" fmla="*/ 43970 w 58487"/>
                    <a:gd name="connsiteY4" fmla="*/ 58614 h 5935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8487" h="59358">
                      <a:moveTo>
                        <a:pt x="58488" y="18027"/>
                      </a:moveTo>
                      <a:cubicBezTo>
                        <a:pt x="55342" y="14773"/>
                        <a:pt x="51799" y="11531"/>
                        <a:pt x="48113" y="8385"/>
                      </a:cubicBezTo>
                      <a:cubicBezTo>
                        <a:pt x="30665" y="-6469"/>
                        <a:pt x="10060" y="-1054"/>
                        <a:pt x="2315" y="20405"/>
                      </a:cubicBezTo>
                      <a:cubicBezTo>
                        <a:pt x="-5430" y="41875"/>
                        <a:pt x="6902" y="59382"/>
                        <a:pt x="29717" y="59358"/>
                      </a:cubicBezTo>
                      <a:cubicBezTo>
                        <a:pt x="34604" y="59334"/>
                        <a:pt x="39443" y="59082"/>
                        <a:pt x="43970" y="58614"/>
                      </a:cubicBez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481" name="Forma livre: Forma 2480">
                  <a:extLst>
                    <a:ext uri="{FF2B5EF4-FFF2-40B4-BE49-F238E27FC236}">
                      <a16:creationId xmlns:a16="http://schemas.microsoft.com/office/drawing/2014/main" id="{23A28F10-67CB-06BE-D08F-35046EA2CE84}"/>
                    </a:ext>
                  </a:extLst>
                </p:cNvPr>
                <p:cNvSpPr/>
                <p:nvPr/>
              </p:nvSpPr>
              <p:spPr>
                <a:xfrm>
                  <a:off x="8906610" y="3806989"/>
                  <a:ext cx="31196" cy="31184"/>
                </a:xfrm>
                <a:custGeom>
                  <a:avLst/>
                  <a:gdLst>
                    <a:gd name="connsiteX0" fmla="*/ 31196 w 31196"/>
                    <a:gd name="connsiteY0" fmla="*/ 15586 h 31184"/>
                    <a:gd name="connsiteX1" fmla="*/ 15598 w 31196"/>
                    <a:gd name="connsiteY1" fmla="*/ 31184 h 31184"/>
                    <a:gd name="connsiteX2" fmla="*/ 0 w 31196"/>
                    <a:gd name="connsiteY2" fmla="*/ 15586 h 31184"/>
                    <a:gd name="connsiteX3" fmla="*/ 15598 w 31196"/>
                    <a:gd name="connsiteY3" fmla="*/ 0 h 31184"/>
                    <a:gd name="connsiteX4" fmla="*/ 31196 w 31196"/>
                    <a:gd name="connsiteY4" fmla="*/ 15586 h 3118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1196" h="31184">
                      <a:moveTo>
                        <a:pt x="31196" y="15586"/>
                      </a:moveTo>
                      <a:cubicBezTo>
                        <a:pt x="31196" y="24208"/>
                        <a:pt x="24208" y="31184"/>
                        <a:pt x="15598" y="31184"/>
                      </a:cubicBezTo>
                      <a:cubicBezTo>
                        <a:pt x="6989" y="31184"/>
                        <a:pt x="0" y="24208"/>
                        <a:pt x="0" y="15586"/>
                      </a:cubicBezTo>
                      <a:cubicBezTo>
                        <a:pt x="0" y="6965"/>
                        <a:pt x="6989" y="0"/>
                        <a:pt x="15598" y="0"/>
                      </a:cubicBezTo>
                      <a:cubicBezTo>
                        <a:pt x="24208" y="0"/>
                        <a:pt x="31196" y="6989"/>
                        <a:pt x="31196" y="15586"/>
                      </a:cubicBezTo>
                      <a:close/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</p:grpSp>
      <p:grpSp>
        <p:nvGrpSpPr>
          <p:cNvPr id="2482" name="Gráfico 17">
            <a:extLst>
              <a:ext uri="{FF2B5EF4-FFF2-40B4-BE49-F238E27FC236}">
                <a16:creationId xmlns:a16="http://schemas.microsoft.com/office/drawing/2014/main" id="{BB316226-5B92-545D-835F-F79689E4FF42}"/>
              </a:ext>
            </a:extLst>
          </p:cNvPr>
          <p:cNvGrpSpPr/>
          <p:nvPr/>
        </p:nvGrpSpPr>
        <p:grpSpPr>
          <a:xfrm>
            <a:off x="8694647" y="4629672"/>
            <a:ext cx="314857" cy="303930"/>
            <a:chOff x="8694647" y="4629672"/>
            <a:chExt cx="314857" cy="303930"/>
          </a:xfrm>
          <a:noFill/>
        </p:grpSpPr>
        <p:grpSp>
          <p:nvGrpSpPr>
            <p:cNvPr id="2483" name="Gráfico 17">
              <a:extLst>
                <a:ext uri="{FF2B5EF4-FFF2-40B4-BE49-F238E27FC236}">
                  <a16:creationId xmlns:a16="http://schemas.microsoft.com/office/drawing/2014/main" id="{F1B42D4D-6366-B242-4B2B-CDAAA78EAFE2}"/>
                </a:ext>
              </a:extLst>
            </p:cNvPr>
            <p:cNvGrpSpPr/>
            <p:nvPr/>
          </p:nvGrpSpPr>
          <p:grpSpPr>
            <a:xfrm>
              <a:off x="8743597" y="4671839"/>
              <a:ext cx="206034" cy="209073"/>
              <a:chOff x="8743597" y="4671839"/>
              <a:chExt cx="206034" cy="209073"/>
            </a:xfrm>
            <a:noFill/>
          </p:grpSpPr>
          <p:sp>
            <p:nvSpPr>
              <p:cNvPr id="2484" name="Forma livre: Forma 2483">
                <a:extLst>
                  <a:ext uri="{FF2B5EF4-FFF2-40B4-BE49-F238E27FC236}">
                    <a16:creationId xmlns:a16="http://schemas.microsoft.com/office/drawing/2014/main" id="{84110F1D-7F39-2E56-C1B0-56367A0F9E5C}"/>
                  </a:ext>
                </a:extLst>
              </p:cNvPr>
              <p:cNvSpPr/>
              <p:nvPr/>
            </p:nvSpPr>
            <p:spPr>
              <a:xfrm>
                <a:off x="8856249" y="4786014"/>
                <a:ext cx="93382" cy="94897"/>
              </a:xfrm>
              <a:custGeom>
                <a:avLst/>
                <a:gdLst>
                  <a:gd name="connsiteX0" fmla="*/ 34378 w 93382"/>
                  <a:gd name="connsiteY0" fmla="*/ 94898 h 94897"/>
                  <a:gd name="connsiteX1" fmla="*/ 93169 w 93382"/>
                  <a:gd name="connsiteY1" fmla="*/ 60423 h 94897"/>
                  <a:gd name="connsiteX2" fmla="*/ 58430 w 93382"/>
                  <a:gd name="connsiteY2" fmla="*/ 23848 h 94897"/>
                  <a:gd name="connsiteX3" fmla="*/ 0 w 93382"/>
                  <a:gd name="connsiteY3" fmla="*/ 0 h 948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3382" h="94897">
                    <a:moveTo>
                      <a:pt x="34378" y="94898"/>
                    </a:moveTo>
                    <a:cubicBezTo>
                      <a:pt x="70342" y="90995"/>
                      <a:pt x="96003" y="79336"/>
                      <a:pt x="93169" y="60423"/>
                    </a:cubicBezTo>
                    <a:cubicBezTo>
                      <a:pt x="91476" y="47359"/>
                      <a:pt x="76010" y="34414"/>
                      <a:pt x="58430" y="23848"/>
                    </a:cubicBezTo>
                    <a:cubicBezTo>
                      <a:pt x="40466" y="13221"/>
                      <a:pt x="20389" y="5007"/>
                      <a:pt x="0" y="0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485" name="Forma livre: Forma 2484">
                <a:extLst>
                  <a:ext uri="{FF2B5EF4-FFF2-40B4-BE49-F238E27FC236}">
                    <a16:creationId xmlns:a16="http://schemas.microsoft.com/office/drawing/2014/main" id="{79391936-7C29-F7F9-D051-D6B5D2D2489C}"/>
                  </a:ext>
                </a:extLst>
              </p:cNvPr>
              <p:cNvSpPr/>
              <p:nvPr/>
            </p:nvSpPr>
            <p:spPr>
              <a:xfrm>
                <a:off x="8743597" y="4797073"/>
                <a:ext cx="73698" cy="83826"/>
              </a:xfrm>
              <a:custGeom>
                <a:avLst/>
                <a:gdLst>
                  <a:gd name="connsiteX0" fmla="*/ 26472 w 73698"/>
                  <a:gd name="connsiteY0" fmla="*/ 0 h 83826"/>
                  <a:gd name="connsiteX1" fmla="*/ 2348 w 73698"/>
                  <a:gd name="connsiteY1" fmla="*/ 25469 h 83826"/>
                  <a:gd name="connsiteX2" fmla="*/ 23662 w 73698"/>
                  <a:gd name="connsiteY2" fmla="*/ 68469 h 83826"/>
                  <a:gd name="connsiteX3" fmla="*/ 73699 w 73698"/>
                  <a:gd name="connsiteY3" fmla="*/ 83827 h 838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3698" h="83826">
                    <a:moveTo>
                      <a:pt x="26472" y="0"/>
                    </a:moveTo>
                    <a:cubicBezTo>
                      <a:pt x="15389" y="6556"/>
                      <a:pt x="6311" y="15226"/>
                      <a:pt x="2348" y="25469"/>
                    </a:cubicBezTo>
                    <a:cubicBezTo>
                      <a:pt x="-4809" y="42472"/>
                      <a:pt x="4990" y="58442"/>
                      <a:pt x="23662" y="68469"/>
                    </a:cubicBezTo>
                    <a:cubicBezTo>
                      <a:pt x="35153" y="74821"/>
                      <a:pt x="57488" y="83827"/>
                      <a:pt x="73699" y="83827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486" name="Forma livre: Forma 2485">
                <a:extLst>
                  <a:ext uri="{FF2B5EF4-FFF2-40B4-BE49-F238E27FC236}">
                    <a16:creationId xmlns:a16="http://schemas.microsoft.com/office/drawing/2014/main" id="{50161582-B314-9D5E-2760-04D6DB6A5CF1}"/>
                  </a:ext>
                </a:extLst>
              </p:cNvPr>
              <p:cNvSpPr/>
              <p:nvPr/>
            </p:nvSpPr>
            <p:spPr>
              <a:xfrm>
                <a:off x="8769683" y="4823406"/>
                <a:ext cx="36900" cy="28206"/>
              </a:xfrm>
              <a:custGeom>
                <a:avLst/>
                <a:gdLst>
                  <a:gd name="connsiteX0" fmla="*/ 7686 w 36900"/>
                  <a:gd name="connsiteY0" fmla="*/ 0 h 28206"/>
                  <a:gd name="connsiteX1" fmla="*/ 433 w 36900"/>
                  <a:gd name="connsiteY1" fmla="*/ 8489 h 28206"/>
                  <a:gd name="connsiteX2" fmla="*/ 301 w 36900"/>
                  <a:gd name="connsiteY2" fmla="*/ 8850 h 28206"/>
                  <a:gd name="connsiteX3" fmla="*/ 157 w 36900"/>
                  <a:gd name="connsiteY3" fmla="*/ 9210 h 28206"/>
                  <a:gd name="connsiteX4" fmla="*/ 9847 w 36900"/>
                  <a:gd name="connsiteY4" fmla="*/ 19333 h 28206"/>
                  <a:gd name="connsiteX5" fmla="*/ 21867 w 36900"/>
                  <a:gd name="connsiteY5" fmla="*/ 24412 h 28206"/>
                  <a:gd name="connsiteX6" fmla="*/ 36901 w 36900"/>
                  <a:gd name="connsiteY6" fmla="*/ 28206 h 282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6900" h="28206">
                    <a:moveTo>
                      <a:pt x="7686" y="0"/>
                    </a:moveTo>
                    <a:cubicBezTo>
                      <a:pt x="4023" y="2894"/>
                      <a:pt x="1430" y="5884"/>
                      <a:pt x="433" y="8489"/>
                    </a:cubicBezTo>
                    <a:lnTo>
                      <a:pt x="301" y="8850"/>
                    </a:lnTo>
                    <a:lnTo>
                      <a:pt x="157" y="9210"/>
                    </a:lnTo>
                    <a:cubicBezTo>
                      <a:pt x="-1224" y="12488"/>
                      <a:pt x="6893" y="17747"/>
                      <a:pt x="9847" y="19333"/>
                    </a:cubicBezTo>
                    <a:cubicBezTo>
                      <a:pt x="12825" y="20978"/>
                      <a:pt x="16728" y="22731"/>
                      <a:pt x="21867" y="24412"/>
                    </a:cubicBezTo>
                    <a:cubicBezTo>
                      <a:pt x="26022" y="25757"/>
                      <a:pt x="30981" y="27066"/>
                      <a:pt x="36901" y="28206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487" name="Forma livre: Forma 2486">
                <a:extLst>
                  <a:ext uri="{FF2B5EF4-FFF2-40B4-BE49-F238E27FC236}">
                    <a16:creationId xmlns:a16="http://schemas.microsoft.com/office/drawing/2014/main" id="{D5324463-8815-A8ED-1D53-6EC1BA8BCB87}"/>
                  </a:ext>
                </a:extLst>
              </p:cNvPr>
              <p:cNvSpPr/>
              <p:nvPr/>
            </p:nvSpPr>
            <p:spPr>
              <a:xfrm>
                <a:off x="8761608" y="4722192"/>
                <a:ext cx="163828" cy="64020"/>
              </a:xfrm>
              <a:custGeom>
                <a:avLst/>
                <a:gdLst>
                  <a:gd name="connsiteX0" fmla="*/ 96213 w 163828"/>
                  <a:gd name="connsiteY0" fmla="*/ 0 h 64020"/>
                  <a:gd name="connsiteX1" fmla="*/ 129451 w 163828"/>
                  <a:gd name="connsiteY1" fmla="*/ 6856 h 64020"/>
                  <a:gd name="connsiteX2" fmla="*/ 163025 w 163828"/>
                  <a:gd name="connsiteY2" fmla="*/ 34475 h 64020"/>
                  <a:gd name="connsiteX3" fmla="*/ 141495 w 163828"/>
                  <a:gd name="connsiteY3" fmla="*/ 59967 h 64020"/>
                  <a:gd name="connsiteX4" fmla="*/ 80495 w 163828"/>
                  <a:gd name="connsiteY4" fmla="*/ 62657 h 64020"/>
                  <a:gd name="connsiteX5" fmla="*/ 619 w 163828"/>
                  <a:gd name="connsiteY5" fmla="*/ 29647 h 64020"/>
                  <a:gd name="connsiteX6" fmla="*/ 31971 w 163828"/>
                  <a:gd name="connsiteY6" fmla="*/ 9594 h 64020"/>
                  <a:gd name="connsiteX7" fmla="*/ 36774 w 163828"/>
                  <a:gd name="connsiteY7" fmla="*/ 8081 h 640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63828" h="64020">
                    <a:moveTo>
                      <a:pt x="96213" y="0"/>
                    </a:moveTo>
                    <a:cubicBezTo>
                      <a:pt x="107465" y="600"/>
                      <a:pt x="118596" y="2714"/>
                      <a:pt x="129451" y="6856"/>
                    </a:cubicBezTo>
                    <a:cubicBezTo>
                      <a:pt x="144893" y="12728"/>
                      <a:pt x="159747" y="22887"/>
                      <a:pt x="163025" y="34475"/>
                    </a:cubicBezTo>
                    <a:cubicBezTo>
                      <a:pt x="166735" y="46098"/>
                      <a:pt x="157261" y="55380"/>
                      <a:pt x="141495" y="59967"/>
                    </a:cubicBezTo>
                    <a:cubicBezTo>
                      <a:pt x="125645" y="64746"/>
                      <a:pt x="103526" y="64818"/>
                      <a:pt x="80495" y="62657"/>
                    </a:cubicBezTo>
                    <a:cubicBezTo>
                      <a:pt x="34589" y="58130"/>
                      <a:pt x="-5493" y="46338"/>
                      <a:pt x="619" y="29647"/>
                    </a:cubicBezTo>
                    <a:cubicBezTo>
                      <a:pt x="3405" y="21410"/>
                      <a:pt x="16997" y="14638"/>
                      <a:pt x="31971" y="9594"/>
                    </a:cubicBezTo>
                    <a:cubicBezTo>
                      <a:pt x="33556" y="9066"/>
                      <a:pt x="35153" y="8562"/>
                      <a:pt x="36774" y="8081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488" name="Forma livre: Forma 2487">
                <a:extLst>
                  <a:ext uri="{FF2B5EF4-FFF2-40B4-BE49-F238E27FC236}">
                    <a16:creationId xmlns:a16="http://schemas.microsoft.com/office/drawing/2014/main" id="{6CC9D0C9-1CD9-0255-1051-9E654A8925D6}"/>
                  </a:ext>
                </a:extLst>
              </p:cNvPr>
              <p:cNvSpPr/>
              <p:nvPr/>
            </p:nvSpPr>
            <p:spPr>
              <a:xfrm>
                <a:off x="8807084" y="4671839"/>
                <a:ext cx="104182" cy="50961"/>
              </a:xfrm>
              <a:custGeom>
                <a:avLst/>
                <a:gdLst>
                  <a:gd name="connsiteX0" fmla="*/ 51615 w 104182"/>
                  <a:gd name="connsiteY0" fmla="*/ 50377 h 50961"/>
                  <a:gd name="connsiteX1" fmla="*/ 341 w 104182"/>
                  <a:gd name="connsiteY1" fmla="*/ 25773 h 50961"/>
                  <a:gd name="connsiteX2" fmla="*/ 19938 w 104182"/>
                  <a:gd name="connsiteY2" fmla="*/ 9070 h 50961"/>
                  <a:gd name="connsiteX3" fmla="*/ 50606 w 104182"/>
                  <a:gd name="connsiteY3" fmla="*/ 449 h 50961"/>
                  <a:gd name="connsiteX4" fmla="*/ 81814 w 104182"/>
                  <a:gd name="connsiteY4" fmla="*/ 4796 h 50961"/>
                  <a:gd name="connsiteX5" fmla="*/ 103584 w 104182"/>
                  <a:gd name="connsiteY5" fmla="*/ 26098 h 50961"/>
                  <a:gd name="connsiteX6" fmla="*/ 90316 w 104182"/>
                  <a:gd name="connsiteY6" fmla="*/ 46919 h 50961"/>
                  <a:gd name="connsiteX7" fmla="*/ 51615 w 104182"/>
                  <a:gd name="connsiteY7" fmla="*/ 50377 h 509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04182" h="50961">
                    <a:moveTo>
                      <a:pt x="51615" y="50377"/>
                    </a:moveTo>
                    <a:cubicBezTo>
                      <a:pt x="22387" y="47760"/>
                      <a:pt x="-3273" y="39210"/>
                      <a:pt x="341" y="25773"/>
                    </a:cubicBezTo>
                    <a:cubicBezTo>
                      <a:pt x="1986" y="19133"/>
                      <a:pt x="10512" y="13429"/>
                      <a:pt x="19938" y="9070"/>
                    </a:cubicBezTo>
                    <a:cubicBezTo>
                      <a:pt x="29580" y="4748"/>
                      <a:pt x="40111" y="1758"/>
                      <a:pt x="50606" y="449"/>
                    </a:cubicBezTo>
                    <a:cubicBezTo>
                      <a:pt x="61137" y="-728"/>
                      <a:pt x="71632" y="305"/>
                      <a:pt x="81814" y="4796"/>
                    </a:cubicBezTo>
                    <a:cubicBezTo>
                      <a:pt x="91709" y="9143"/>
                      <a:pt x="101315" y="16912"/>
                      <a:pt x="103584" y="26098"/>
                    </a:cubicBezTo>
                    <a:cubicBezTo>
                      <a:pt x="106142" y="35296"/>
                      <a:pt x="100270" y="42909"/>
                      <a:pt x="90316" y="46919"/>
                    </a:cubicBezTo>
                    <a:cubicBezTo>
                      <a:pt x="80325" y="51074"/>
                      <a:pt x="66276" y="51614"/>
                      <a:pt x="51615" y="50377"/>
                    </a:cubicBezTo>
                    <a:close/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2489" name="Forma livre: Forma 2488">
              <a:extLst>
                <a:ext uri="{FF2B5EF4-FFF2-40B4-BE49-F238E27FC236}">
                  <a16:creationId xmlns:a16="http://schemas.microsoft.com/office/drawing/2014/main" id="{34CC628B-AE70-CAD1-6F33-8FF87724DA2F}"/>
                </a:ext>
              </a:extLst>
            </p:cNvPr>
            <p:cNvSpPr/>
            <p:nvPr/>
          </p:nvSpPr>
          <p:spPr>
            <a:xfrm>
              <a:off x="8923433" y="4629672"/>
              <a:ext cx="80848" cy="70005"/>
            </a:xfrm>
            <a:custGeom>
              <a:avLst/>
              <a:gdLst>
                <a:gd name="connsiteX0" fmla="*/ 80849 w 80848"/>
                <a:gd name="connsiteY0" fmla="*/ 0 h 70005"/>
                <a:gd name="connsiteX1" fmla="*/ 15226 w 80848"/>
                <a:gd name="connsiteY1" fmla="*/ 0 h 70005"/>
                <a:gd name="connsiteX2" fmla="*/ 0 w 80848"/>
                <a:gd name="connsiteY2" fmla="*/ 15874 h 70005"/>
                <a:gd name="connsiteX3" fmla="*/ 15226 w 80848"/>
                <a:gd name="connsiteY3" fmla="*/ 31737 h 70005"/>
                <a:gd name="connsiteX4" fmla="*/ 44645 w 80848"/>
                <a:gd name="connsiteY4" fmla="*/ 31737 h 70005"/>
                <a:gd name="connsiteX5" fmla="*/ 56497 w 80848"/>
                <a:gd name="connsiteY5" fmla="*/ 43925 h 70005"/>
                <a:gd name="connsiteX6" fmla="*/ 44645 w 80848"/>
                <a:gd name="connsiteY6" fmla="*/ 56161 h 70005"/>
                <a:gd name="connsiteX7" fmla="*/ 31737 w 80848"/>
                <a:gd name="connsiteY7" fmla="*/ 56161 h 70005"/>
                <a:gd name="connsiteX8" fmla="*/ 19897 w 80848"/>
                <a:gd name="connsiteY8" fmla="*/ 68012 h 70005"/>
                <a:gd name="connsiteX9" fmla="*/ 19897 w 80848"/>
                <a:gd name="connsiteY9" fmla="*/ 70006 h 700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0848" h="70005">
                  <a:moveTo>
                    <a:pt x="80849" y="0"/>
                  </a:moveTo>
                  <a:lnTo>
                    <a:pt x="15226" y="0"/>
                  </a:lnTo>
                  <a:cubicBezTo>
                    <a:pt x="6844" y="0"/>
                    <a:pt x="0" y="7493"/>
                    <a:pt x="0" y="15874"/>
                  </a:cubicBezTo>
                  <a:cubicBezTo>
                    <a:pt x="0" y="24256"/>
                    <a:pt x="6844" y="31737"/>
                    <a:pt x="15226" y="31737"/>
                  </a:cubicBezTo>
                  <a:lnTo>
                    <a:pt x="44645" y="31737"/>
                  </a:lnTo>
                  <a:cubicBezTo>
                    <a:pt x="51166" y="31737"/>
                    <a:pt x="56497" y="37404"/>
                    <a:pt x="56497" y="43925"/>
                  </a:cubicBezTo>
                  <a:cubicBezTo>
                    <a:pt x="56497" y="50445"/>
                    <a:pt x="51154" y="56161"/>
                    <a:pt x="44645" y="56161"/>
                  </a:cubicBezTo>
                  <a:lnTo>
                    <a:pt x="31737" y="56161"/>
                  </a:lnTo>
                  <a:cubicBezTo>
                    <a:pt x="25216" y="56161"/>
                    <a:pt x="19897" y="61492"/>
                    <a:pt x="19897" y="68012"/>
                  </a:cubicBezTo>
                  <a:lnTo>
                    <a:pt x="19897" y="70006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490" name="Forma livre: Forma 2489">
              <a:extLst>
                <a:ext uri="{FF2B5EF4-FFF2-40B4-BE49-F238E27FC236}">
                  <a16:creationId xmlns:a16="http://schemas.microsoft.com/office/drawing/2014/main" id="{23D1158B-AD35-5ED6-9786-4D684F2FC2A2}"/>
                </a:ext>
              </a:extLst>
            </p:cNvPr>
            <p:cNvSpPr/>
            <p:nvPr/>
          </p:nvSpPr>
          <p:spPr>
            <a:xfrm>
              <a:off x="8694647" y="4880912"/>
              <a:ext cx="314857" cy="25144"/>
            </a:xfrm>
            <a:custGeom>
              <a:avLst/>
              <a:gdLst>
                <a:gd name="connsiteX0" fmla="*/ 0 w 314857"/>
                <a:gd name="connsiteY0" fmla="*/ 0 h 25144"/>
                <a:gd name="connsiteX1" fmla="*/ 314858 w 314857"/>
                <a:gd name="connsiteY1" fmla="*/ 0 h 25144"/>
                <a:gd name="connsiteX2" fmla="*/ 314858 w 314857"/>
                <a:gd name="connsiteY2" fmla="*/ 25144 h 25144"/>
                <a:gd name="connsiteX3" fmla="*/ 0 w 314857"/>
                <a:gd name="connsiteY3" fmla="*/ 25144 h 251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14857" h="25144">
                  <a:moveTo>
                    <a:pt x="0" y="0"/>
                  </a:moveTo>
                  <a:lnTo>
                    <a:pt x="314858" y="0"/>
                  </a:lnTo>
                  <a:lnTo>
                    <a:pt x="314858" y="25144"/>
                  </a:lnTo>
                  <a:lnTo>
                    <a:pt x="0" y="25144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2491" name="Gráfico 17">
              <a:extLst>
                <a:ext uri="{FF2B5EF4-FFF2-40B4-BE49-F238E27FC236}">
                  <a16:creationId xmlns:a16="http://schemas.microsoft.com/office/drawing/2014/main" id="{6E5DA6C6-5259-8DA5-EBDC-6FB5F901C5DE}"/>
                </a:ext>
              </a:extLst>
            </p:cNvPr>
            <p:cNvGrpSpPr/>
            <p:nvPr/>
          </p:nvGrpSpPr>
          <p:grpSpPr>
            <a:xfrm>
              <a:off x="8725207" y="4908446"/>
              <a:ext cx="250783" cy="25156"/>
              <a:chOff x="8725207" y="4908446"/>
              <a:chExt cx="250783" cy="25156"/>
            </a:xfrm>
            <a:noFill/>
          </p:grpSpPr>
          <p:sp>
            <p:nvSpPr>
              <p:cNvPr id="2492" name="Forma livre: Forma 2491">
                <a:extLst>
                  <a:ext uri="{FF2B5EF4-FFF2-40B4-BE49-F238E27FC236}">
                    <a16:creationId xmlns:a16="http://schemas.microsoft.com/office/drawing/2014/main" id="{A3372BA6-2D45-02F5-C8F4-054CA3F01033}"/>
                  </a:ext>
                </a:extLst>
              </p:cNvPr>
              <p:cNvSpPr/>
              <p:nvPr/>
            </p:nvSpPr>
            <p:spPr>
              <a:xfrm>
                <a:off x="8725207" y="4908446"/>
                <a:ext cx="56376" cy="25156"/>
              </a:xfrm>
              <a:custGeom>
                <a:avLst/>
                <a:gdLst>
                  <a:gd name="connsiteX0" fmla="*/ 56377 w 56376"/>
                  <a:gd name="connsiteY0" fmla="*/ 0 h 25156"/>
                  <a:gd name="connsiteX1" fmla="*/ 56377 w 56376"/>
                  <a:gd name="connsiteY1" fmla="*/ 25156 h 25156"/>
                  <a:gd name="connsiteX2" fmla="*/ 0 w 56376"/>
                  <a:gd name="connsiteY2" fmla="*/ 25156 h 251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56376" h="25156">
                    <a:moveTo>
                      <a:pt x="56377" y="0"/>
                    </a:moveTo>
                    <a:lnTo>
                      <a:pt x="56377" y="25156"/>
                    </a:lnTo>
                    <a:lnTo>
                      <a:pt x="0" y="25156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493" name="Forma livre: Forma 2492">
                <a:extLst>
                  <a:ext uri="{FF2B5EF4-FFF2-40B4-BE49-F238E27FC236}">
                    <a16:creationId xmlns:a16="http://schemas.microsoft.com/office/drawing/2014/main" id="{C592D808-F6FF-E08C-5BA0-94BB34C80B44}"/>
                  </a:ext>
                </a:extLst>
              </p:cNvPr>
              <p:cNvSpPr/>
              <p:nvPr/>
            </p:nvSpPr>
            <p:spPr>
              <a:xfrm>
                <a:off x="8919602" y="4908446"/>
                <a:ext cx="56388" cy="25156"/>
              </a:xfrm>
              <a:custGeom>
                <a:avLst/>
                <a:gdLst>
                  <a:gd name="connsiteX0" fmla="*/ 56389 w 56388"/>
                  <a:gd name="connsiteY0" fmla="*/ 0 h 25156"/>
                  <a:gd name="connsiteX1" fmla="*/ 56389 w 56388"/>
                  <a:gd name="connsiteY1" fmla="*/ 25156 h 25156"/>
                  <a:gd name="connsiteX2" fmla="*/ 0 w 56388"/>
                  <a:gd name="connsiteY2" fmla="*/ 25156 h 251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56388" h="25156">
                    <a:moveTo>
                      <a:pt x="56389" y="0"/>
                    </a:moveTo>
                    <a:lnTo>
                      <a:pt x="56389" y="25156"/>
                    </a:lnTo>
                    <a:lnTo>
                      <a:pt x="0" y="25156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2494" name="Gráfico 17">
            <a:extLst>
              <a:ext uri="{FF2B5EF4-FFF2-40B4-BE49-F238E27FC236}">
                <a16:creationId xmlns:a16="http://schemas.microsoft.com/office/drawing/2014/main" id="{8B64418A-17C5-47FB-33F3-EEF5CA9DF1AF}"/>
              </a:ext>
            </a:extLst>
          </p:cNvPr>
          <p:cNvGrpSpPr/>
          <p:nvPr/>
        </p:nvGrpSpPr>
        <p:grpSpPr>
          <a:xfrm>
            <a:off x="8077727" y="4107486"/>
            <a:ext cx="295725" cy="283273"/>
            <a:chOff x="8077727" y="4107486"/>
            <a:chExt cx="295725" cy="283273"/>
          </a:xfrm>
          <a:noFill/>
        </p:grpSpPr>
        <p:grpSp>
          <p:nvGrpSpPr>
            <p:cNvPr id="2495" name="Gráfico 17">
              <a:extLst>
                <a:ext uri="{FF2B5EF4-FFF2-40B4-BE49-F238E27FC236}">
                  <a16:creationId xmlns:a16="http://schemas.microsoft.com/office/drawing/2014/main" id="{6E23B627-EED1-709D-5C92-252793052772}"/>
                </a:ext>
              </a:extLst>
            </p:cNvPr>
            <p:cNvGrpSpPr/>
            <p:nvPr/>
          </p:nvGrpSpPr>
          <p:grpSpPr>
            <a:xfrm>
              <a:off x="8077727" y="4107486"/>
              <a:ext cx="295725" cy="283273"/>
              <a:chOff x="8077727" y="4107486"/>
              <a:chExt cx="295725" cy="283273"/>
            </a:xfrm>
            <a:noFill/>
          </p:grpSpPr>
          <p:sp>
            <p:nvSpPr>
              <p:cNvPr id="2496" name="Forma livre: Forma 2495">
                <a:extLst>
                  <a:ext uri="{FF2B5EF4-FFF2-40B4-BE49-F238E27FC236}">
                    <a16:creationId xmlns:a16="http://schemas.microsoft.com/office/drawing/2014/main" id="{26446254-D923-DCA1-9918-5316887B2BD0}"/>
                  </a:ext>
                </a:extLst>
              </p:cNvPr>
              <p:cNvSpPr/>
              <p:nvPr/>
            </p:nvSpPr>
            <p:spPr>
              <a:xfrm>
                <a:off x="8199635" y="4231023"/>
                <a:ext cx="51633" cy="51633"/>
              </a:xfrm>
              <a:custGeom>
                <a:avLst/>
                <a:gdLst>
                  <a:gd name="connsiteX0" fmla="*/ 51634 w 51633"/>
                  <a:gd name="connsiteY0" fmla="*/ 25817 h 51633"/>
                  <a:gd name="connsiteX1" fmla="*/ 25817 w 51633"/>
                  <a:gd name="connsiteY1" fmla="*/ 51634 h 51633"/>
                  <a:gd name="connsiteX2" fmla="*/ 0 w 51633"/>
                  <a:gd name="connsiteY2" fmla="*/ 25817 h 51633"/>
                  <a:gd name="connsiteX3" fmla="*/ 25817 w 51633"/>
                  <a:gd name="connsiteY3" fmla="*/ 0 h 51633"/>
                  <a:gd name="connsiteX4" fmla="*/ 51634 w 51633"/>
                  <a:gd name="connsiteY4" fmla="*/ 25817 h 516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1633" h="51633">
                    <a:moveTo>
                      <a:pt x="51634" y="25817"/>
                    </a:moveTo>
                    <a:cubicBezTo>
                      <a:pt x="51634" y="40070"/>
                      <a:pt x="40070" y="51634"/>
                      <a:pt x="25817" y="51634"/>
                    </a:cubicBezTo>
                    <a:cubicBezTo>
                      <a:pt x="11564" y="51634"/>
                      <a:pt x="0" y="40070"/>
                      <a:pt x="0" y="25817"/>
                    </a:cubicBezTo>
                    <a:cubicBezTo>
                      <a:pt x="0" y="11564"/>
                      <a:pt x="11552" y="0"/>
                      <a:pt x="25817" y="0"/>
                    </a:cubicBezTo>
                    <a:cubicBezTo>
                      <a:pt x="40082" y="0"/>
                      <a:pt x="51634" y="11552"/>
                      <a:pt x="51634" y="25817"/>
                    </a:cubicBezTo>
                    <a:close/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2497" name="Gráfico 17">
                <a:extLst>
                  <a:ext uri="{FF2B5EF4-FFF2-40B4-BE49-F238E27FC236}">
                    <a16:creationId xmlns:a16="http://schemas.microsoft.com/office/drawing/2014/main" id="{B5830043-ACCF-09DB-E96A-6BD2E09453E6}"/>
                  </a:ext>
                </a:extLst>
              </p:cNvPr>
              <p:cNvGrpSpPr/>
              <p:nvPr/>
            </p:nvGrpSpPr>
            <p:grpSpPr>
              <a:xfrm>
                <a:off x="8077727" y="4107486"/>
                <a:ext cx="295725" cy="283273"/>
                <a:chOff x="8077727" y="4107486"/>
                <a:chExt cx="295725" cy="283273"/>
              </a:xfrm>
              <a:noFill/>
            </p:grpSpPr>
            <p:sp>
              <p:nvSpPr>
                <p:cNvPr id="2498" name="Forma livre: Forma 2497">
                  <a:extLst>
                    <a:ext uri="{FF2B5EF4-FFF2-40B4-BE49-F238E27FC236}">
                      <a16:creationId xmlns:a16="http://schemas.microsoft.com/office/drawing/2014/main" id="{39F61988-CC37-5C80-0E36-AB0726F80971}"/>
                    </a:ext>
                  </a:extLst>
                </p:cNvPr>
                <p:cNvSpPr/>
                <p:nvPr/>
              </p:nvSpPr>
              <p:spPr>
                <a:xfrm>
                  <a:off x="8112161" y="4107486"/>
                  <a:ext cx="261291" cy="283273"/>
                </a:xfrm>
                <a:custGeom>
                  <a:avLst/>
                  <a:gdLst>
                    <a:gd name="connsiteX0" fmla="*/ 13758 w 261291"/>
                    <a:gd name="connsiteY0" fmla="*/ 195116 h 283273"/>
                    <a:gd name="connsiteX1" fmla="*/ 26991 w 261291"/>
                    <a:gd name="connsiteY1" fmla="*/ 272338 h 283273"/>
                    <a:gd name="connsiteX2" fmla="*/ 108572 w 261291"/>
                    <a:gd name="connsiteY2" fmla="*/ 239821 h 283273"/>
                    <a:gd name="connsiteX3" fmla="*/ 113435 w 261291"/>
                    <a:gd name="connsiteY3" fmla="*/ 214028 h 283273"/>
                    <a:gd name="connsiteX4" fmla="*/ 118299 w 261291"/>
                    <a:gd name="connsiteY4" fmla="*/ 239821 h 283273"/>
                    <a:gd name="connsiteX5" fmla="*/ 199880 w 261291"/>
                    <a:gd name="connsiteY5" fmla="*/ 272338 h 283273"/>
                    <a:gd name="connsiteX6" fmla="*/ 201873 w 261291"/>
                    <a:gd name="connsiteY6" fmla="*/ 185041 h 283273"/>
                    <a:gd name="connsiteX7" fmla="*/ 180211 w 261291"/>
                    <a:gd name="connsiteY7" fmla="*/ 170704 h 283273"/>
                    <a:gd name="connsiteX8" fmla="*/ 206496 w 261291"/>
                    <a:gd name="connsiteY8" fmla="*/ 172073 h 283273"/>
                    <a:gd name="connsiteX9" fmla="*/ 257025 w 261291"/>
                    <a:gd name="connsiteY9" fmla="*/ 100242 h 283273"/>
                    <a:gd name="connsiteX10" fmla="*/ 172562 w 261291"/>
                    <a:gd name="connsiteY10" fmla="*/ 78087 h 283273"/>
                    <a:gd name="connsiteX11" fmla="*/ 153302 w 261291"/>
                    <a:gd name="connsiteY11" fmla="*/ 96003 h 283273"/>
                    <a:gd name="connsiteX12" fmla="*/ 163184 w 261291"/>
                    <a:gd name="connsiteY12" fmla="*/ 71903 h 283273"/>
                    <a:gd name="connsiteX13" fmla="*/ 112775 w 261291"/>
                    <a:gd name="connsiteY13" fmla="*/ 0 h 283273"/>
                    <a:gd name="connsiteX14" fmla="*/ 58656 w 261291"/>
                    <a:gd name="connsiteY14" fmla="*/ 48548 h 28327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</a:cxnLst>
                  <a:rect l="l" t="t" r="r" b="b"/>
                  <a:pathLst>
                    <a:path w="261291" h="283273">
                      <a:moveTo>
                        <a:pt x="13758" y="195116"/>
                      </a:moveTo>
                      <a:cubicBezTo>
                        <a:pt x="-8324" y="219648"/>
                        <a:pt x="-3761" y="252189"/>
                        <a:pt x="26991" y="272338"/>
                      </a:cubicBezTo>
                      <a:cubicBezTo>
                        <a:pt x="62174" y="295405"/>
                        <a:pt x="98894" y="280768"/>
                        <a:pt x="108572" y="239821"/>
                      </a:cubicBezTo>
                      <a:cubicBezTo>
                        <a:pt x="110650" y="231055"/>
                        <a:pt x="112331" y="222349"/>
                        <a:pt x="113435" y="214028"/>
                      </a:cubicBezTo>
                      <a:cubicBezTo>
                        <a:pt x="114540" y="222349"/>
                        <a:pt x="116221" y="231043"/>
                        <a:pt x="118299" y="239821"/>
                      </a:cubicBezTo>
                      <a:cubicBezTo>
                        <a:pt x="127977" y="280768"/>
                        <a:pt x="164685" y="295405"/>
                        <a:pt x="199880" y="272338"/>
                      </a:cubicBezTo>
                      <a:cubicBezTo>
                        <a:pt x="235063" y="249271"/>
                        <a:pt x="235964" y="209993"/>
                        <a:pt x="201873" y="185041"/>
                      </a:cubicBezTo>
                      <a:cubicBezTo>
                        <a:pt x="194657" y="179746"/>
                        <a:pt x="187404" y="174954"/>
                        <a:pt x="180211" y="170704"/>
                      </a:cubicBezTo>
                      <a:cubicBezTo>
                        <a:pt x="188557" y="171556"/>
                        <a:pt x="197478" y="172049"/>
                        <a:pt x="206496" y="172073"/>
                      </a:cubicBezTo>
                      <a:cubicBezTo>
                        <a:pt x="248560" y="172133"/>
                        <a:pt x="271303" y="139819"/>
                        <a:pt x="257025" y="100242"/>
                      </a:cubicBezTo>
                      <a:cubicBezTo>
                        <a:pt x="242736" y="60676"/>
                        <a:pt x="204731" y="50697"/>
                        <a:pt x="172562" y="78087"/>
                      </a:cubicBezTo>
                      <a:cubicBezTo>
                        <a:pt x="165754" y="83887"/>
                        <a:pt x="159101" y="89999"/>
                        <a:pt x="153302" y="96003"/>
                      </a:cubicBezTo>
                      <a:cubicBezTo>
                        <a:pt x="156928" y="88438"/>
                        <a:pt x="160122" y="80381"/>
                        <a:pt x="163184" y="71903"/>
                      </a:cubicBezTo>
                      <a:cubicBezTo>
                        <a:pt x="177533" y="32361"/>
                        <a:pt x="154851" y="0"/>
                        <a:pt x="112775" y="0"/>
                      </a:cubicBezTo>
                      <a:cubicBezTo>
                        <a:pt x="79393" y="0"/>
                        <a:pt x="58464" y="20365"/>
                        <a:pt x="58656" y="48548"/>
                      </a:cubicBez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499" name="Forma livre: Forma 2498">
                  <a:extLst>
                    <a:ext uri="{FF2B5EF4-FFF2-40B4-BE49-F238E27FC236}">
                      <a16:creationId xmlns:a16="http://schemas.microsoft.com/office/drawing/2014/main" id="{905C1282-E4A6-3BA1-F1FC-46842BAC720E}"/>
                    </a:ext>
                  </a:extLst>
                </p:cNvPr>
                <p:cNvSpPr/>
                <p:nvPr/>
              </p:nvSpPr>
              <p:spPr>
                <a:xfrm>
                  <a:off x="8077727" y="4170103"/>
                  <a:ext cx="107871" cy="109444"/>
                </a:xfrm>
                <a:custGeom>
                  <a:avLst/>
                  <a:gdLst>
                    <a:gd name="connsiteX0" fmla="*/ 107871 w 107871"/>
                    <a:gd name="connsiteY0" fmla="*/ 33254 h 109444"/>
                    <a:gd name="connsiteX1" fmla="*/ 88719 w 107871"/>
                    <a:gd name="connsiteY1" fmla="*/ 15458 h 109444"/>
                    <a:gd name="connsiteX2" fmla="*/ 4267 w 107871"/>
                    <a:gd name="connsiteY2" fmla="*/ 37613 h 109444"/>
                    <a:gd name="connsiteX3" fmla="*/ 54797 w 107871"/>
                    <a:gd name="connsiteY3" fmla="*/ 109444 h 109444"/>
                    <a:gd name="connsiteX4" fmla="*/ 81082 w 107871"/>
                    <a:gd name="connsiteY4" fmla="*/ 108075 h 10944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07871" h="109444">
                      <a:moveTo>
                        <a:pt x="107871" y="33254"/>
                      </a:moveTo>
                      <a:cubicBezTo>
                        <a:pt x="102071" y="27250"/>
                        <a:pt x="95539" y="21258"/>
                        <a:pt x="88719" y="15458"/>
                      </a:cubicBezTo>
                      <a:cubicBezTo>
                        <a:pt x="56550" y="-11919"/>
                        <a:pt x="18545" y="-1953"/>
                        <a:pt x="4267" y="37613"/>
                      </a:cubicBezTo>
                      <a:cubicBezTo>
                        <a:pt x="-10010" y="77191"/>
                        <a:pt x="12721" y="109516"/>
                        <a:pt x="54797" y="109444"/>
                      </a:cubicBezTo>
                      <a:cubicBezTo>
                        <a:pt x="63814" y="109420"/>
                        <a:pt x="72736" y="108928"/>
                        <a:pt x="81082" y="108075"/>
                      </a:cubicBez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sp>
          <p:nvSpPr>
            <p:cNvPr id="2500" name="Forma livre: Forma 2499">
              <a:extLst>
                <a:ext uri="{FF2B5EF4-FFF2-40B4-BE49-F238E27FC236}">
                  <a16:creationId xmlns:a16="http://schemas.microsoft.com/office/drawing/2014/main" id="{595D197B-0FD7-1FB4-538C-EDE9A46DEC36}"/>
                </a:ext>
              </a:extLst>
            </p:cNvPr>
            <p:cNvSpPr/>
            <p:nvPr/>
          </p:nvSpPr>
          <p:spPr>
            <a:xfrm>
              <a:off x="8225452" y="4174069"/>
              <a:ext cx="1200" cy="54419"/>
            </a:xfrm>
            <a:custGeom>
              <a:avLst/>
              <a:gdLst>
                <a:gd name="connsiteX0" fmla="*/ 0 w 1200"/>
                <a:gd name="connsiteY0" fmla="*/ 54420 h 54419"/>
                <a:gd name="connsiteX1" fmla="*/ 0 w 1200"/>
                <a:gd name="connsiteY1" fmla="*/ 0 h 544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0" h="54419">
                  <a:moveTo>
                    <a:pt x="0" y="54420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501" name="Forma livre: Forma 2500">
              <a:extLst>
                <a:ext uri="{FF2B5EF4-FFF2-40B4-BE49-F238E27FC236}">
                  <a16:creationId xmlns:a16="http://schemas.microsoft.com/office/drawing/2014/main" id="{C470D7E4-07F4-5062-0E3A-4EDA4D0B2F69}"/>
                </a:ext>
              </a:extLst>
            </p:cNvPr>
            <p:cNvSpPr/>
            <p:nvPr/>
          </p:nvSpPr>
          <p:spPr>
            <a:xfrm>
              <a:off x="8147593" y="4231023"/>
              <a:ext cx="51285" cy="16666"/>
            </a:xfrm>
            <a:custGeom>
              <a:avLst/>
              <a:gdLst>
                <a:gd name="connsiteX0" fmla="*/ 51286 w 51285"/>
                <a:gd name="connsiteY0" fmla="*/ 16667 h 16666"/>
                <a:gd name="connsiteX1" fmla="*/ 0 w 51285"/>
                <a:gd name="connsiteY1" fmla="*/ 0 h 166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1285" h="16666">
                  <a:moveTo>
                    <a:pt x="51286" y="16667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502" name="Forma livre: Forma 2501">
              <a:extLst>
                <a:ext uri="{FF2B5EF4-FFF2-40B4-BE49-F238E27FC236}">
                  <a16:creationId xmlns:a16="http://schemas.microsoft.com/office/drawing/2014/main" id="{FA153BC4-89F9-7BE4-6EA8-0B5E35E91456}"/>
                </a:ext>
              </a:extLst>
            </p:cNvPr>
            <p:cNvSpPr/>
            <p:nvPr/>
          </p:nvSpPr>
          <p:spPr>
            <a:xfrm>
              <a:off x="8251749" y="4231023"/>
              <a:ext cx="51861" cy="16847"/>
            </a:xfrm>
            <a:custGeom>
              <a:avLst/>
              <a:gdLst>
                <a:gd name="connsiteX0" fmla="*/ 0 w 51861"/>
                <a:gd name="connsiteY0" fmla="*/ 16847 h 16847"/>
                <a:gd name="connsiteX1" fmla="*/ 51862 w 51861"/>
                <a:gd name="connsiteY1" fmla="*/ 0 h 168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1861" h="16847">
                  <a:moveTo>
                    <a:pt x="0" y="16847"/>
                  </a:moveTo>
                  <a:lnTo>
                    <a:pt x="51862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503" name="Forma livre: Forma 2502">
              <a:extLst>
                <a:ext uri="{FF2B5EF4-FFF2-40B4-BE49-F238E27FC236}">
                  <a16:creationId xmlns:a16="http://schemas.microsoft.com/office/drawing/2014/main" id="{E1070EEB-37BF-F363-0CCF-E4B2EFAACCA9}"/>
                </a:ext>
              </a:extLst>
            </p:cNvPr>
            <p:cNvSpPr/>
            <p:nvPr/>
          </p:nvSpPr>
          <p:spPr>
            <a:xfrm>
              <a:off x="8241903" y="4279150"/>
              <a:ext cx="32048" cy="44116"/>
            </a:xfrm>
            <a:custGeom>
              <a:avLst/>
              <a:gdLst>
                <a:gd name="connsiteX0" fmla="*/ 0 w 32048"/>
                <a:gd name="connsiteY0" fmla="*/ 0 h 44116"/>
                <a:gd name="connsiteX1" fmla="*/ 32049 w 32048"/>
                <a:gd name="connsiteY1" fmla="*/ 44117 h 441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2048" h="44116">
                  <a:moveTo>
                    <a:pt x="0" y="0"/>
                  </a:moveTo>
                  <a:lnTo>
                    <a:pt x="32049" y="44117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504" name="Forma livre: Forma 2503">
              <a:extLst>
                <a:ext uri="{FF2B5EF4-FFF2-40B4-BE49-F238E27FC236}">
                  <a16:creationId xmlns:a16="http://schemas.microsoft.com/office/drawing/2014/main" id="{F82B4E29-C9C4-F8DF-90FD-4BE3840BC738}"/>
                </a:ext>
              </a:extLst>
            </p:cNvPr>
            <p:cNvSpPr/>
            <p:nvPr/>
          </p:nvSpPr>
          <p:spPr>
            <a:xfrm>
              <a:off x="8177253" y="4280219"/>
              <a:ext cx="31280" cy="43048"/>
            </a:xfrm>
            <a:custGeom>
              <a:avLst/>
              <a:gdLst>
                <a:gd name="connsiteX0" fmla="*/ 31280 w 31280"/>
                <a:gd name="connsiteY0" fmla="*/ 0 h 43048"/>
                <a:gd name="connsiteX1" fmla="*/ 0 w 31280"/>
                <a:gd name="connsiteY1" fmla="*/ 43048 h 43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1280" h="43048">
                  <a:moveTo>
                    <a:pt x="31280" y="0"/>
                  </a:moveTo>
                  <a:lnTo>
                    <a:pt x="0" y="43048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2506" name="Gráfico 18">
            <a:extLst>
              <a:ext uri="{FF2B5EF4-FFF2-40B4-BE49-F238E27FC236}">
                <a16:creationId xmlns:a16="http://schemas.microsoft.com/office/drawing/2014/main" id="{544BC8ED-B215-6382-78EB-8B163168472D}"/>
              </a:ext>
            </a:extLst>
          </p:cNvPr>
          <p:cNvGrpSpPr/>
          <p:nvPr/>
        </p:nvGrpSpPr>
        <p:grpSpPr>
          <a:xfrm>
            <a:off x="11181649" y="4098503"/>
            <a:ext cx="169747" cy="325457"/>
            <a:chOff x="11181649" y="4098503"/>
            <a:chExt cx="169747" cy="325457"/>
          </a:xfrm>
          <a:noFill/>
        </p:grpSpPr>
        <p:sp>
          <p:nvSpPr>
            <p:cNvPr id="2507" name="Forma livre: Forma 2506">
              <a:extLst>
                <a:ext uri="{FF2B5EF4-FFF2-40B4-BE49-F238E27FC236}">
                  <a16:creationId xmlns:a16="http://schemas.microsoft.com/office/drawing/2014/main" id="{78050A7D-632A-E4A0-4169-3B80DE06089B}"/>
                </a:ext>
              </a:extLst>
            </p:cNvPr>
            <p:cNvSpPr/>
            <p:nvPr/>
          </p:nvSpPr>
          <p:spPr>
            <a:xfrm>
              <a:off x="11204668" y="4295481"/>
              <a:ext cx="123684" cy="128479"/>
            </a:xfrm>
            <a:custGeom>
              <a:avLst/>
              <a:gdLst>
                <a:gd name="connsiteX0" fmla="*/ 46456 w 123684"/>
                <a:gd name="connsiteY0" fmla="*/ 102431 h 128479"/>
                <a:gd name="connsiteX1" fmla="*/ 0 w 123684"/>
                <a:gd name="connsiteY1" fmla="*/ 128480 h 128479"/>
                <a:gd name="connsiteX2" fmla="*/ 123685 w 123684"/>
                <a:gd name="connsiteY2" fmla="*/ 128480 h 128479"/>
                <a:gd name="connsiteX3" fmla="*/ 61842 w 123684"/>
                <a:gd name="connsiteY3" fmla="*/ 78457 h 128479"/>
                <a:gd name="connsiteX4" fmla="*/ 61842 w 123684"/>
                <a:gd name="connsiteY4" fmla="*/ 0 h 1284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3684" h="128479">
                  <a:moveTo>
                    <a:pt x="46456" y="102431"/>
                  </a:moveTo>
                  <a:cubicBezTo>
                    <a:pt x="34255" y="114930"/>
                    <a:pt x="11653" y="123387"/>
                    <a:pt x="0" y="128480"/>
                  </a:cubicBezTo>
                  <a:lnTo>
                    <a:pt x="123685" y="128480"/>
                  </a:lnTo>
                  <a:cubicBezTo>
                    <a:pt x="103480" y="119665"/>
                    <a:pt x="61842" y="92066"/>
                    <a:pt x="61842" y="78457"/>
                  </a:cubicBezTo>
                  <a:lnTo>
                    <a:pt x="61842" y="0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508" name="Forma livre: Forma 2507">
              <a:extLst>
                <a:ext uri="{FF2B5EF4-FFF2-40B4-BE49-F238E27FC236}">
                  <a16:creationId xmlns:a16="http://schemas.microsoft.com/office/drawing/2014/main" id="{1F89FAC6-3937-063E-A994-CFAD771CA128}"/>
                </a:ext>
              </a:extLst>
            </p:cNvPr>
            <p:cNvSpPr/>
            <p:nvPr/>
          </p:nvSpPr>
          <p:spPr>
            <a:xfrm>
              <a:off x="11216083" y="4172392"/>
              <a:ext cx="129684" cy="1192"/>
            </a:xfrm>
            <a:custGeom>
              <a:avLst/>
              <a:gdLst>
                <a:gd name="connsiteX0" fmla="*/ 0 w 129684"/>
                <a:gd name="connsiteY0" fmla="*/ 0 h 1192"/>
                <a:gd name="connsiteX1" fmla="*/ 129684 w 129684"/>
                <a:gd name="connsiteY1" fmla="*/ 0 h 11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9684" h="1192">
                  <a:moveTo>
                    <a:pt x="0" y="0"/>
                  </a:moveTo>
                  <a:lnTo>
                    <a:pt x="129684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509" name="Forma livre: Forma 2508">
              <a:extLst>
                <a:ext uri="{FF2B5EF4-FFF2-40B4-BE49-F238E27FC236}">
                  <a16:creationId xmlns:a16="http://schemas.microsoft.com/office/drawing/2014/main" id="{D2363AD5-F519-99C7-2B77-88DC98F52C02}"/>
                </a:ext>
              </a:extLst>
            </p:cNvPr>
            <p:cNvSpPr/>
            <p:nvPr/>
          </p:nvSpPr>
          <p:spPr>
            <a:xfrm>
              <a:off x="11181649" y="4098503"/>
              <a:ext cx="169747" cy="195963"/>
            </a:xfrm>
            <a:custGeom>
              <a:avLst/>
              <a:gdLst>
                <a:gd name="connsiteX0" fmla="*/ 0 w 169747"/>
                <a:gd name="connsiteY0" fmla="*/ 112497 h 195963"/>
                <a:gd name="connsiteX1" fmla="*/ 84874 w 169747"/>
                <a:gd name="connsiteY1" fmla="*/ 195964 h 195963"/>
                <a:gd name="connsiteX2" fmla="*/ 169748 w 169747"/>
                <a:gd name="connsiteY2" fmla="*/ 112497 h 195963"/>
                <a:gd name="connsiteX3" fmla="*/ 144080 w 169747"/>
                <a:gd name="connsiteY3" fmla="*/ 0 h 195963"/>
                <a:gd name="connsiteX4" fmla="*/ 25667 w 169747"/>
                <a:gd name="connsiteY4" fmla="*/ 0 h 195963"/>
                <a:gd name="connsiteX5" fmla="*/ 0 w 169747"/>
                <a:gd name="connsiteY5" fmla="*/ 112497 h 1959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69747" h="195963">
                  <a:moveTo>
                    <a:pt x="0" y="112497"/>
                  </a:moveTo>
                  <a:cubicBezTo>
                    <a:pt x="0" y="158596"/>
                    <a:pt x="38000" y="195964"/>
                    <a:pt x="84874" y="195964"/>
                  </a:cubicBezTo>
                  <a:cubicBezTo>
                    <a:pt x="131748" y="195964"/>
                    <a:pt x="169748" y="158596"/>
                    <a:pt x="169748" y="112497"/>
                  </a:cubicBezTo>
                  <a:cubicBezTo>
                    <a:pt x="169748" y="89048"/>
                    <a:pt x="159908" y="41292"/>
                    <a:pt x="144080" y="0"/>
                  </a:cubicBezTo>
                  <a:lnTo>
                    <a:pt x="25667" y="0"/>
                  </a:lnTo>
                  <a:cubicBezTo>
                    <a:pt x="9840" y="41292"/>
                    <a:pt x="0" y="89048"/>
                    <a:pt x="0" y="112497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2510" name="Gráfico 18">
            <a:extLst>
              <a:ext uri="{FF2B5EF4-FFF2-40B4-BE49-F238E27FC236}">
                <a16:creationId xmlns:a16="http://schemas.microsoft.com/office/drawing/2014/main" id="{9DA16BAB-9107-24BE-EE39-8212086AC381}"/>
              </a:ext>
            </a:extLst>
          </p:cNvPr>
          <p:cNvGrpSpPr/>
          <p:nvPr/>
        </p:nvGrpSpPr>
        <p:grpSpPr>
          <a:xfrm>
            <a:off x="11098922" y="5175004"/>
            <a:ext cx="335189" cy="299241"/>
            <a:chOff x="11098922" y="5175004"/>
            <a:chExt cx="335189" cy="299241"/>
          </a:xfrm>
          <a:noFill/>
        </p:grpSpPr>
        <p:grpSp>
          <p:nvGrpSpPr>
            <p:cNvPr id="2511" name="Gráfico 18">
              <a:extLst>
                <a:ext uri="{FF2B5EF4-FFF2-40B4-BE49-F238E27FC236}">
                  <a16:creationId xmlns:a16="http://schemas.microsoft.com/office/drawing/2014/main" id="{715BA5F9-94AE-9659-A2D6-7A3EC65ACCB9}"/>
                </a:ext>
              </a:extLst>
            </p:cNvPr>
            <p:cNvGrpSpPr/>
            <p:nvPr/>
          </p:nvGrpSpPr>
          <p:grpSpPr>
            <a:xfrm>
              <a:off x="11273011" y="5241176"/>
              <a:ext cx="161100" cy="233069"/>
              <a:chOff x="11273011" y="5241176"/>
              <a:chExt cx="161100" cy="233069"/>
            </a:xfrm>
            <a:noFill/>
          </p:grpSpPr>
          <p:sp>
            <p:nvSpPr>
              <p:cNvPr id="2512" name="Forma livre: Forma 2511">
                <a:extLst>
                  <a:ext uri="{FF2B5EF4-FFF2-40B4-BE49-F238E27FC236}">
                    <a16:creationId xmlns:a16="http://schemas.microsoft.com/office/drawing/2014/main" id="{61300C98-3421-1B8A-89BC-0FBD7282515B}"/>
                  </a:ext>
                </a:extLst>
              </p:cNvPr>
              <p:cNvSpPr/>
              <p:nvPr/>
            </p:nvSpPr>
            <p:spPr>
              <a:xfrm>
                <a:off x="11318633" y="5325728"/>
                <a:ext cx="55592" cy="55580"/>
              </a:xfrm>
              <a:custGeom>
                <a:avLst/>
                <a:gdLst>
                  <a:gd name="connsiteX0" fmla="*/ 55593 w 55592"/>
                  <a:gd name="connsiteY0" fmla="*/ 27790 h 55580"/>
                  <a:gd name="connsiteX1" fmla="*/ 27802 w 55592"/>
                  <a:gd name="connsiteY1" fmla="*/ 55581 h 55580"/>
                  <a:gd name="connsiteX2" fmla="*/ 0 w 55592"/>
                  <a:gd name="connsiteY2" fmla="*/ 27790 h 55580"/>
                  <a:gd name="connsiteX3" fmla="*/ 27802 w 55592"/>
                  <a:gd name="connsiteY3" fmla="*/ 0 h 55580"/>
                  <a:gd name="connsiteX4" fmla="*/ 55593 w 55592"/>
                  <a:gd name="connsiteY4" fmla="*/ 27790 h 555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592" h="55580">
                    <a:moveTo>
                      <a:pt x="55593" y="27790"/>
                    </a:moveTo>
                    <a:cubicBezTo>
                      <a:pt x="55593" y="43141"/>
                      <a:pt x="43152" y="55581"/>
                      <a:pt x="27802" y="55581"/>
                    </a:cubicBezTo>
                    <a:cubicBezTo>
                      <a:pt x="12452" y="55581"/>
                      <a:pt x="0" y="43141"/>
                      <a:pt x="0" y="27790"/>
                    </a:cubicBezTo>
                    <a:cubicBezTo>
                      <a:pt x="0" y="12440"/>
                      <a:pt x="12452" y="0"/>
                      <a:pt x="27802" y="0"/>
                    </a:cubicBezTo>
                    <a:cubicBezTo>
                      <a:pt x="43152" y="0"/>
                      <a:pt x="55593" y="12440"/>
                      <a:pt x="55593" y="27790"/>
                    </a:cubicBezTo>
                    <a:close/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513" name="Forma livre: Forma 2512">
                <a:extLst>
                  <a:ext uri="{FF2B5EF4-FFF2-40B4-BE49-F238E27FC236}">
                    <a16:creationId xmlns:a16="http://schemas.microsoft.com/office/drawing/2014/main" id="{DC6CE99C-A44D-085C-4B62-582C85F053D5}"/>
                  </a:ext>
                </a:extLst>
              </p:cNvPr>
              <p:cNvSpPr/>
              <p:nvPr/>
            </p:nvSpPr>
            <p:spPr>
              <a:xfrm>
                <a:off x="11365649" y="5341591"/>
                <a:ext cx="54924" cy="55580"/>
              </a:xfrm>
              <a:custGeom>
                <a:avLst/>
                <a:gdLst>
                  <a:gd name="connsiteX0" fmla="*/ 10627 w 54924"/>
                  <a:gd name="connsiteY0" fmla="*/ 5415 h 55580"/>
                  <a:gd name="connsiteX1" fmla="*/ 27134 w 54924"/>
                  <a:gd name="connsiteY1" fmla="*/ 0 h 55580"/>
                  <a:gd name="connsiteX2" fmla="*/ 54925 w 54924"/>
                  <a:gd name="connsiteY2" fmla="*/ 27790 h 55580"/>
                  <a:gd name="connsiteX3" fmla="*/ 27134 w 54924"/>
                  <a:gd name="connsiteY3" fmla="*/ 55581 h 55580"/>
                  <a:gd name="connsiteX4" fmla="*/ 8838 w 54924"/>
                  <a:gd name="connsiteY4" fmla="*/ 48711 h 55580"/>
                  <a:gd name="connsiteX5" fmla="*/ 0 w 54924"/>
                  <a:gd name="connsiteY5" fmla="*/ 33802 h 555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54924" h="55580">
                    <a:moveTo>
                      <a:pt x="10627" y="5415"/>
                    </a:moveTo>
                    <a:cubicBezTo>
                      <a:pt x="15243" y="2004"/>
                      <a:pt x="20956" y="0"/>
                      <a:pt x="27134" y="0"/>
                    </a:cubicBezTo>
                    <a:cubicBezTo>
                      <a:pt x="42485" y="0"/>
                      <a:pt x="54925" y="12440"/>
                      <a:pt x="54925" y="27790"/>
                    </a:cubicBezTo>
                    <a:cubicBezTo>
                      <a:pt x="54925" y="43141"/>
                      <a:pt x="42485" y="55581"/>
                      <a:pt x="27134" y="55581"/>
                    </a:cubicBezTo>
                    <a:cubicBezTo>
                      <a:pt x="20121" y="55581"/>
                      <a:pt x="13728" y="52992"/>
                      <a:pt x="8838" y="48711"/>
                    </a:cubicBezTo>
                    <a:cubicBezTo>
                      <a:pt x="4461" y="44882"/>
                      <a:pt x="1288" y="39694"/>
                      <a:pt x="0" y="33802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514" name="Forma livre: Forma 2513">
                <a:extLst>
                  <a:ext uri="{FF2B5EF4-FFF2-40B4-BE49-F238E27FC236}">
                    <a16:creationId xmlns:a16="http://schemas.microsoft.com/office/drawing/2014/main" id="{BB887497-3991-7DF9-3E11-1A02ACC801E2}"/>
                  </a:ext>
                </a:extLst>
              </p:cNvPr>
              <p:cNvSpPr/>
              <p:nvPr/>
            </p:nvSpPr>
            <p:spPr>
              <a:xfrm>
                <a:off x="11273011" y="5341579"/>
                <a:ext cx="55127" cy="55580"/>
              </a:xfrm>
              <a:custGeom>
                <a:avLst/>
                <a:gdLst>
                  <a:gd name="connsiteX0" fmla="*/ 55127 w 55127"/>
                  <a:gd name="connsiteY0" fmla="*/ 32812 h 55580"/>
                  <a:gd name="connsiteX1" fmla="*/ 27790 w 55127"/>
                  <a:gd name="connsiteY1" fmla="*/ 55581 h 55580"/>
                  <a:gd name="connsiteX2" fmla="*/ 0 w 55127"/>
                  <a:gd name="connsiteY2" fmla="*/ 27790 h 55580"/>
                  <a:gd name="connsiteX3" fmla="*/ 27790 w 55127"/>
                  <a:gd name="connsiteY3" fmla="*/ 0 h 555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5127" h="55580">
                    <a:moveTo>
                      <a:pt x="55127" y="32812"/>
                    </a:moveTo>
                    <a:cubicBezTo>
                      <a:pt x="52766" y="45765"/>
                      <a:pt x="41423" y="55581"/>
                      <a:pt x="27790" y="55581"/>
                    </a:cubicBezTo>
                    <a:cubicBezTo>
                      <a:pt x="12440" y="55581"/>
                      <a:pt x="0" y="43129"/>
                      <a:pt x="0" y="27790"/>
                    </a:cubicBezTo>
                    <a:cubicBezTo>
                      <a:pt x="0" y="12452"/>
                      <a:pt x="12440" y="0"/>
                      <a:pt x="27790" y="0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2515" name="Gráfico 18">
                <a:extLst>
                  <a:ext uri="{FF2B5EF4-FFF2-40B4-BE49-F238E27FC236}">
                    <a16:creationId xmlns:a16="http://schemas.microsoft.com/office/drawing/2014/main" id="{DA52B5A0-2E64-1B5A-9413-D80FCC4D26D4}"/>
                  </a:ext>
                </a:extLst>
              </p:cNvPr>
              <p:cNvGrpSpPr/>
              <p:nvPr/>
            </p:nvGrpSpPr>
            <p:grpSpPr>
              <a:xfrm>
                <a:off x="11300694" y="5379269"/>
                <a:ext cx="98542" cy="94976"/>
                <a:chOff x="11300694" y="5379269"/>
                <a:chExt cx="98542" cy="94976"/>
              </a:xfrm>
              <a:noFill/>
            </p:grpSpPr>
            <p:sp>
              <p:nvSpPr>
                <p:cNvPr id="2516" name="Forma livre: Forma 2515">
                  <a:extLst>
                    <a:ext uri="{FF2B5EF4-FFF2-40B4-BE49-F238E27FC236}">
                      <a16:creationId xmlns:a16="http://schemas.microsoft.com/office/drawing/2014/main" id="{30B3B087-75B4-ABB8-FD97-F517287C3A9E}"/>
                    </a:ext>
                  </a:extLst>
                </p:cNvPr>
                <p:cNvSpPr/>
                <p:nvPr/>
              </p:nvSpPr>
              <p:spPr>
                <a:xfrm>
                  <a:off x="11348391" y="5397124"/>
                  <a:ext cx="50845" cy="35590"/>
                </a:xfrm>
                <a:custGeom>
                  <a:avLst/>
                  <a:gdLst>
                    <a:gd name="connsiteX0" fmla="*/ 49736 w 50845"/>
                    <a:gd name="connsiteY0" fmla="*/ 0 h 35590"/>
                    <a:gd name="connsiteX1" fmla="*/ 50846 w 50845"/>
                    <a:gd name="connsiteY1" fmla="*/ 7800 h 35590"/>
                    <a:gd name="connsiteX2" fmla="*/ 23055 w 50845"/>
                    <a:gd name="connsiteY2" fmla="*/ 35591 h 35590"/>
                    <a:gd name="connsiteX3" fmla="*/ 0 w 50845"/>
                    <a:gd name="connsiteY3" fmla="*/ 23342 h 355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50845" h="35590">
                      <a:moveTo>
                        <a:pt x="49736" y="0"/>
                      </a:moveTo>
                      <a:cubicBezTo>
                        <a:pt x="50452" y="2469"/>
                        <a:pt x="50846" y="5093"/>
                        <a:pt x="50846" y="7800"/>
                      </a:cubicBezTo>
                      <a:cubicBezTo>
                        <a:pt x="50846" y="23139"/>
                        <a:pt x="38394" y="35591"/>
                        <a:pt x="23055" y="35591"/>
                      </a:cubicBezTo>
                      <a:cubicBezTo>
                        <a:pt x="13454" y="35591"/>
                        <a:pt x="5009" y="30736"/>
                        <a:pt x="0" y="23342"/>
                      </a:cubicBez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517" name="Forma livre: Forma 2516">
                  <a:extLst>
                    <a:ext uri="{FF2B5EF4-FFF2-40B4-BE49-F238E27FC236}">
                      <a16:creationId xmlns:a16="http://schemas.microsoft.com/office/drawing/2014/main" id="{9DC604F3-EB3B-3D7C-748A-A896A77AC1B2}"/>
                    </a:ext>
                  </a:extLst>
                </p:cNvPr>
                <p:cNvSpPr/>
                <p:nvPr/>
              </p:nvSpPr>
              <p:spPr>
                <a:xfrm>
                  <a:off x="11319813" y="5433144"/>
                  <a:ext cx="55413" cy="41101"/>
                </a:xfrm>
                <a:custGeom>
                  <a:avLst/>
                  <a:gdLst>
                    <a:gd name="connsiteX0" fmla="*/ 52026 w 55413"/>
                    <a:gd name="connsiteY0" fmla="*/ 0 h 41101"/>
                    <a:gd name="connsiteX1" fmla="*/ 55414 w 55413"/>
                    <a:gd name="connsiteY1" fmla="*/ 13311 h 41101"/>
                    <a:gd name="connsiteX2" fmla="*/ 27623 w 55413"/>
                    <a:gd name="connsiteY2" fmla="*/ 41101 h 41101"/>
                    <a:gd name="connsiteX3" fmla="*/ 119 w 55413"/>
                    <a:gd name="connsiteY3" fmla="*/ 17211 h 41101"/>
                    <a:gd name="connsiteX4" fmla="*/ 0 w 55413"/>
                    <a:gd name="connsiteY4" fmla="*/ 16316 h 4110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5413" h="41101">
                      <a:moveTo>
                        <a:pt x="52026" y="0"/>
                      </a:moveTo>
                      <a:cubicBezTo>
                        <a:pt x="54185" y="3960"/>
                        <a:pt x="55414" y="8492"/>
                        <a:pt x="55414" y="13311"/>
                      </a:cubicBezTo>
                      <a:cubicBezTo>
                        <a:pt x="55414" y="28661"/>
                        <a:pt x="42974" y="41101"/>
                        <a:pt x="27623" y="41101"/>
                      </a:cubicBezTo>
                      <a:cubicBezTo>
                        <a:pt x="13609" y="41101"/>
                        <a:pt x="2004" y="30724"/>
                        <a:pt x="119" y="17211"/>
                      </a:cubicBezTo>
                      <a:cubicBezTo>
                        <a:pt x="71" y="16913"/>
                        <a:pt x="36" y="16614"/>
                        <a:pt x="0" y="16316"/>
                      </a:cubicBez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518" name="Forma livre: Forma 2517">
                  <a:extLst>
                    <a:ext uri="{FF2B5EF4-FFF2-40B4-BE49-F238E27FC236}">
                      <a16:creationId xmlns:a16="http://schemas.microsoft.com/office/drawing/2014/main" id="{8E461778-85BA-7D85-2CA9-FCBABC18D179}"/>
                    </a:ext>
                  </a:extLst>
                </p:cNvPr>
                <p:cNvSpPr/>
                <p:nvPr/>
              </p:nvSpPr>
              <p:spPr>
                <a:xfrm>
                  <a:off x="11300694" y="5379269"/>
                  <a:ext cx="53684" cy="53875"/>
                </a:xfrm>
                <a:custGeom>
                  <a:avLst/>
                  <a:gdLst>
                    <a:gd name="connsiteX0" fmla="*/ 35519 w 53684"/>
                    <a:gd name="connsiteY0" fmla="*/ 0 h 53875"/>
                    <a:gd name="connsiteX1" fmla="*/ 53684 w 53684"/>
                    <a:gd name="connsiteY1" fmla="*/ 26085 h 53875"/>
                    <a:gd name="connsiteX2" fmla="*/ 25894 w 53684"/>
                    <a:gd name="connsiteY2" fmla="*/ 53875 h 53875"/>
                    <a:gd name="connsiteX3" fmla="*/ 0 w 53684"/>
                    <a:gd name="connsiteY3" fmla="*/ 36187 h 538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53684" h="53875">
                      <a:moveTo>
                        <a:pt x="35519" y="0"/>
                      </a:moveTo>
                      <a:cubicBezTo>
                        <a:pt x="46122" y="3924"/>
                        <a:pt x="53684" y="14122"/>
                        <a:pt x="53684" y="26085"/>
                      </a:cubicBezTo>
                      <a:cubicBezTo>
                        <a:pt x="53684" y="41435"/>
                        <a:pt x="41232" y="53875"/>
                        <a:pt x="25894" y="53875"/>
                      </a:cubicBezTo>
                      <a:cubicBezTo>
                        <a:pt x="14110" y="53875"/>
                        <a:pt x="4031" y="46540"/>
                        <a:pt x="0" y="36187"/>
                      </a:cubicBez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2519" name="Gráfico 18">
                <a:extLst>
                  <a:ext uri="{FF2B5EF4-FFF2-40B4-BE49-F238E27FC236}">
                    <a16:creationId xmlns:a16="http://schemas.microsoft.com/office/drawing/2014/main" id="{4DE2CB39-4391-2282-2E6A-26D5319C0666}"/>
                  </a:ext>
                </a:extLst>
              </p:cNvPr>
              <p:cNvGrpSpPr/>
              <p:nvPr/>
            </p:nvGrpSpPr>
            <p:grpSpPr>
              <a:xfrm>
                <a:off x="11306336" y="5241176"/>
                <a:ext cx="127775" cy="88774"/>
                <a:chOff x="11306336" y="5241176"/>
                <a:chExt cx="127775" cy="88774"/>
              </a:xfrm>
              <a:noFill/>
            </p:grpSpPr>
            <p:sp>
              <p:nvSpPr>
                <p:cNvPr id="2520" name="Forma livre: Forma 2519">
                  <a:extLst>
                    <a:ext uri="{FF2B5EF4-FFF2-40B4-BE49-F238E27FC236}">
                      <a16:creationId xmlns:a16="http://schemas.microsoft.com/office/drawing/2014/main" id="{07BC636C-8B24-8328-A3B8-9E64FFF182E2}"/>
                    </a:ext>
                  </a:extLst>
                </p:cNvPr>
                <p:cNvSpPr/>
                <p:nvPr/>
              </p:nvSpPr>
              <p:spPr>
                <a:xfrm>
                  <a:off x="11364576" y="5241176"/>
                  <a:ext cx="50122" cy="54745"/>
                </a:xfrm>
                <a:custGeom>
                  <a:avLst/>
                  <a:gdLst>
                    <a:gd name="connsiteX0" fmla="*/ 39443 w 50122"/>
                    <a:gd name="connsiteY0" fmla="*/ 54746 h 54745"/>
                    <a:gd name="connsiteX1" fmla="*/ 48246 w 50122"/>
                    <a:gd name="connsiteY1" fmla="*/ 0 h 54745"/>
                    <a:gd name="connsiteX2" fmla="*/ 0 w 50122"/>
                    <a:gd name="connsiteY2" fmla="*/ 27337 h 5474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50122" h="54745">
                      <a:moveTo>
                        <a:pt x="39443" y="54746"/>
                      </a:moveTo>
                      <a:cubicBezTo>
                        <a:pt x="39443" y="54746"/>
                        <a:pt x="55485" y="40207"/>
                        <a:pt x="48246" y="0"/>
                      </a:cubicBezTo>
                      <a:cubicBezTo>
                        <a:pt x="8051" y="7240"/>
                        <a:pt x="0" y="27337"/>
                        <a:pt x="0" y="27337"/>
                      </a:cubicBez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521" name="Forma livre: Forma 2520">
                  <a:extLst>
                    <a:ext uri="{FF2B5EF4-FFF2-40B4-BE49-F238E27FC236}">
                      <a16:creationId xmlns:a16="http://schemas.microsoft.com/office/drawing/2014/main" id="{6A7DC0B4-97E3-E6FB-A397-9898743E6CE9}"/>
                    </a:ext>
                  </a:extLst>
                </p:cNvPr>
                <p:cNvSpPr/>
                <p:nvPr/>
              </p:nvSpPr>
              <p:spPr>
                <a:xfrm>
                  <a:off x="11327568" y="5249990"/>
                  <a:ext cx="37008" cy="39824"/>
                </a:xfrm>
                <a:custGeom>
                  <a:avLst/>
                  <a:gdLst>
                    <a:gd name="connsiteX0" fmla="*/ 37008 w 37008"/>
                    <a:gd name="connsiteY0" fmla="*/ 18511 h 39824"/>
                    <a:gd name="connsiteX1" fmla="*/ 821 w 37008"/>
                    <a:gd name="connsiteY1" fmla="*/ 0 h 39824"/>
                    <a:gd name="connsiteX2" fmla="*/ 8979 w 37008"/>
                    <a:gd name="connsiteY2" fmla="*/ 39825 h 3982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37008" h="39824">
                      <a:moveTo>
                        <a:pt x="37008" y="18511"/>
                      </a:moveTo>
                      <a:cubicBezTo>
                        <a:pt x="37008" y="18511"/>
                        <a:pt x="30484" y="4055"/>
                        <a:pt x="821" y="0"/>
                      </a:cubicBezTo>
                      <a:cubicBezTo>
                        <a:pt x="-3222" y="29675"/>
                        <a:pt x="8979" y="39825"/>
                        <a:pt x="8979" y="39825"/>
                      </a:cubicBez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522" name="Forma livre: Forma 2521">
                  <a:extLst>
                    <a:ext uri="{FF2B5EF4-FFF2-40B4-BE49-F238E27FC236}">
                      <a16:creationId xmlns:a16="http://schemas.microsoft.com/office/drawing/2014/main" id="{EF736602-2DF1-53A6-3549-830D516141AE}"/>
                    </a:ext>
                  </a:extLst>
                </p:cNvPr>
                <p:cNvSpPr/>
                <p:nvPr/>
              </p:nvSpPr>
              <p:spPr>
                <a:xfrm>
                  <a:off x="11306336" y="5289539"/>
                  <a:ext cx="30307" cy="23772"/>
                </a:xfrm>
                <a:custGeom>
                  <a:avLst/>
                  <a:gdLst>
                    <a:gd name="connsiteX0" fmla="*/ 30307 w 30307"/>
                    <a:gd name="connsiteY0" fmla="*/ 503 h 23772"/>
                    <a:gd name="connsiteX1" fmla="*/ 0 w 30307"/>
                    <a:gd name="connsiteY1" fmla="*/ 11440 h 23772"/>
                    <a:gd name="connsiteX2" fmla="*/ 13490 w 30307"/>
                    <a:gd name="connsiteY2" fmla="*/ 23773 h 237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30307" h="23772">
                      <a:moveTo>
                        <a:pt x="30307" y="503"/>
                      </a:moveTo>
                      <a:cubicBezTo>
                        <a:pt x="30307" y="503"/>
                        <a:pt x="18404" y="-3564"/>
                        <a:pt x="0" y="11440"/>
                      </a:cubicBezTo>
                      <a:cubicBezTo>
                        <a:pt x="4878" y="17415"/>
                        <a:pt x="9482" y="21280"/>
                        <a:pt x="13490" y="23773"/>
                      </a:cubicBez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523" name="Forma livre: Forma 2522">
                  <a:extLst>
                    <a:ext uri="{FF2B5EF4-FFF2-40B4-BE49-F238E27FC236}">
                      <a16:creationId xmlns:a16="http://schemas.microsoft.com/office/drawing/2014/main" id="{7F27DB54-77C5-65BC-7D9B-425C3C8F027F}"/>
                    </a:ext>
                  </a:extLst>
                </p:cNvPr>
                <p:cNvSpPr/>
                <p:nvPr/>
              </p:nvSpPr>
              <p:spPr>
                <a:xfrm>
                  <a:off x="11404139" y="5295993"/>
                  <a:ext cx="29973" cy="33956"/>
                </a:xfrm>
                <a:custGeom>
                  <a:avLst/>
                  <a:gdLst>
                    <a:gd name="connsiteX0" fmla="*/ 0 w 29973"/>
                    <a:gd name="connsiteY0" fmla="*/ 0 h 33956"/>
                    <a:gd name="connsiteX1" fmla="*/ 29973 w 29973"/>
                    <a:gd name="connsiteY1" fmla="*/ 27480 h 33956"/>
                    <a:gd name="connsiteX2" fmla="*/ 14277 w 29973"/>
                    <a:gd name="connsiteY2" fmla="*/ 33957 h 3395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29973" h="33956">
                      <a:moveTo>
                        <a:pt x="0" y="0"/>
                      </a:moveTo>
                      <a:cubicBezTo>
                        <a:pt x="0" y="0"/>
                        <a:pt x="15827" y="1073"/>
                        <a:pt x="29973" y="27480"/>
                      </a:cubicBezTo>
                      <a:cubicBezTo>
                        <a:pt x="24117" y="30617"/>
                        <a:pt x="18881" y="32668"/>
                        <a:pt x="14277" y="33957"/>
                      </a:cubicBez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524" name="Forma livre: Forma 2523">
                  <a:extLst>
                    <a:ext uri="{FF2B5EF4-FFF2-40B4-BE49-F238E27FC236}">
                      <a16:creationId xmlns:a16="http://schemas.microsoft.com/office/drawing/2014/main" id="{BB397597-FB3F-27DB-A9CD-A2CA1135EDBB}"/>
                    </a:ext>
                  </a:extLst>
                </p:cNvPr>
                <p:cNvSpPr/>
                <p:nvPr/>
              </p:nvSpPr>
              <p:spPr>
                <a:xfrm>
                  <a:off x="11358374" y="5285736"/>
                  <a:ext cx="24164" cy="42544"/>
                </a:xfrm>
                <a:custGeom>
                  <a:avLst/>
                  <a:gdLst>
                    <a:gd name="connsiteX0" fmla="*/ 24164 w 24164"/>
                    <a:gd name="connsiteY0" fmla="*/ 0 h 42544"/>
                    <a:gd name="connsiteX1" fmla="*/ 0 w 24164"/>
                    <a:gd name="connsiteY1" fmla="*/ 42544 h 4254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4164" h="42544">
                      <a:moveTo>
                        <a:pt x="24164" y="0"/>
                      </a:moveTo>
                      <a:cubicBezTo>
                        <a:pt x="24164" y="0"/>
                        <a:pt x="6071" y="18893"/>
                        <a:pt x="0" y="42544"/>
                      </a:cubicBez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grpSp>
          <p:nvGrpSpPr>
            <p:cNvPr id="2525" name="Gráfico 18">
              <a:extLst>
                <a:ext uri="{FF2B5EF4-FFF2-40B4-BE49-F238E27FC236}">
                  <a16:creationId xmlns:a16="http://schemas.microsoft.com/office/drawing/2014/main" id="{A0FA780A-2489-0AF9-9943-71C16F0F760A}"/>
                </a:ext>
              </a:extLst>
            </p:cNvPr>
            <p:cNvGrpSpPr/>
            <p:nvPr/>
          </p:nvGrpSpPr>
          <p:grpSpPr>
            <a:xfrm>
              <a:off x="11098922" y="5175004"/>
              <a:ext cx="245592" cy="245497"/>
              <a:chOff x="11098922" y="5175004"/>
              <a:chExt cx="245592" cy="245497"/>
            </a:xfrm>
            <a:noFill/>
          </p:grpSpPr>
          <p:sp>
            <p:nvSpPr>
              <p:cNvPr id="2526" name="Forma livre: Forma 2525">
                <a:extLst>
                  <a:ext uri="{FF2B5EF4-FFF2-40B4-BE49-F238E27FC236}">
                    <a16:creationId xmlns:a16="http://schemas.microsoft.com/office/drawing/2014/main" id="{F8458FAF-4653-306F-74A2-9742E5508E31}"/>
                  </a:ext>
                </a:extLst>
              </p:cNvPr>
              <p:cNvSpPr/>
              <p:nvPr/>
            </p:nvSpPr>
            <p:spPr>
              <a:xfrm>
                <a:off x="11120343" y="5247294"/>
                <a:ext cx="185694" cy="1192"/>
              </a:xfrm>
              <a:custGeom>
                <a:avLst/>
                <a:gdLst>
                  <a:gd name="connsiteX0" fmla="*/ 0 w 185694"/>
                  <a:gd name="connsiteY0" fmla="*/ 0 h 1192"/>
                  <a:gd name="connsiteX1" fmla="*/ 185694 w 185694"/>
                  <a:gd name="connsiteY1" fmla="*/ 0 h 11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85694" h="1192">
                    <a:moveTo>
                      <a:pt x="0" y="0"/>
                    </a:moveTo>
                    <a:lnTo>
                      <a:pt x="185694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527" name="Forma livre: Forma 2526">
                <a:extLst>
                  <a:ext uri="{FF2B5EF4-FFF2-40B4-BE49-F238E27FC236}">
                    <a16:creationId xmlns:a16="http://schemas.microsoft.com/office/drawing/2014/main" id="{469C2815-5397-6281-1AB5-7996A2AE229C}"/>
                  </a:ext>
                </a:extLst>
              </p:cNvPr>
              <p:cNvSpPr/>
              <p:nvPr/>
            </p:nvSpPr>
            <p:spPr>
              <a:xfrm>
                <a:off x="11098922" y="5197009"/>
                <a:ext cx="179504" cy="223491"/>
              </a:xfrm>
              <a:custGeom>
                <a:avLst/>
                <a:gdLst>
                  <a:gd name="connsiteX0" fmla="*/ 179504 w 179504"/>
                  <a:gd name="connsiteY0" fmla="*/ 223492 h 223491"/>
                  <a:gd name="connsiteX1" fmla="*/ 14181 w 179504"/>
                  <a:gd name="connsiteY1" fmla="*/ 223492 h 223491"/>
                  <a:gd name="connsiteX2" fmla="*/ 0 w 179504"/>
                  <a:gd name="connsiteY2" fmla="*/ 209239 h 223491"/>
                  <a:gd name="connsiteX3" fmla="*/ 0 w 179504"/>
                  <a:gd name="connsiteY3" fmla="*/ 14170 h 223491"/>
                  <a:gd name="connsiteX4" fmla="*/ 14181 w 179504"/>
                  <a:gd name="connsiteY4" fmla="*/ 0 h 223491"/>
                  <a:gd name="connsiteX5" fmla="*/ 53183 w 179504"/>
                  <a:gd name="connsiteY5" fmla="*/ 0 h 2234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79504" h="223491">
                    <a:moveTo>
                      <a:pt x="179504" y="223492"/>
                    </a:moveTo>
                    <a:lnTo>
                      <a:pt x="14181" y="223492"/>
                    </a:lnTo>
                    <a:cubicBezTo>
                      <a:pt x="6393" y="223492"/>
                      <a:pt x="0" y="217039"/>
                      <a:pt x="0" y="209239"/>
                    </a:cubicBezTo>
                    <a:lnTo>
                      <a:pt x="0" y="14170"/>
                    </a:lnTo>
                    <a:cubicBezTo>
                      <a:pt x="0" y="6381"/>
                      <a:pt x="6393" y="0"/>
                      <a:pt x="14181" y="0"/>
                    </a:cubicBezTo>
                    <a:lnTo>
                      <a:pt x="53183" y="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528" name="Forma livre: Forma 2527">
                <a:extLst>
                  <a:ext uri="{FF2B5EF4-FFF2-40B4-BE49-F238E27FC236}">
                    <a16:creationId xmlns:a16="http://schemas.microsoft.com/office/drawing/2014/main" id="{67934F3C-20E3-2404-170F-D90A88AF8ACC}"/>
                  </a:ext>
                </a:extLst>
              </p:cNvPr>
              <p:cNvSpPr/>
              <p:nvPr/>
            </p:nvSpPr>
            <p:spPr>
              <a:xfrm>
                <a:off x="11304213" y="5197009"/>
                <a:ext cx="40302" cy="35221"/>
              </a:xfrm>
              <a:custGeom>
                <a:avLst/>
                <a:gdLst>
                  <a:gd name="connsiteX0" fmla="*/ 0 w 40302"/>
                  <a:gd name="connsiteY0" fmla="*/ 0 h 35221"/>
                  <a:gd name="connsiteX1" fmla="*/ 26133 w 40302"/>
                  <a:gd name="connsiteY1" fmla="*/ 0 h 35221"/>
                  <a:gd name="connsiteX2" fmla="*/ 40302 w 40302"/>
                  <a:gd name="connsiteY2" fmla="*/ 14170 h 35221"/>
                  <a:gd name="connsiteX3" fmla="*/ 40302 w 40302"/>
                  <a:gd name="connsiteY3" fmla="*/ 35221 h 352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0302" h="35221">
                    <a:moveTo>
                      <a:pt x="0" y="0"/>
                    </a:moveTo>
                    <a:lnTo>
                      <a:pt x="26133" y="0"/>
                    </a:lnTo>
                    <a:cubicBezTo>
                      <a:pt x="33921" y="0"/>
                      <a:pt x="40302" y="6381"/>
                      <a:pt x="40302" y="14170"/>
                    </a:cubicBezTo>
                    <a:lnTo>
                      <a:pt x="40302" y="35221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529" name="Forma livre: Forma 2528">
                <a:extLst>
                  <a:ext uri="{FF2B5EF4-FFF2-40B4-BE49-F238E27FC236}">
                    <a16:creationId xmlns:a16="http://schemas.microsoft.com/office/drawing/2014/main" id="{FF12E311-5E81-021C-2D61-621F174102F5}"/>
                  </a:ext>
                </a:extLst>
              </p:cNvPr>
              <p:cNvSpPr/>
              <p:nvPr/>
            </p:nvSpPr>
            <p:spPr>
              <a:xfrm>
                <a:off x="11242179" y="5197009"/>
                <a:ext cx="33968" cy="1192"/>
              </a:xfrm>
              <a:custGeom>
                <a:avLst/>
                <a:gdLst>
                  <a:gd name="connsiteX0" fmla="*/ 0 w 33968"/>
                  <a:gd name="connsiteY0" fmla="*/ 0 h 1192"/>
                  <a:gd name="connsiteX1" fmla="*/ 33969 w 33968"/>
                  <a:gd name="connsiteY1" fmla="*/ 0 h 11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3968" h="1192">
                    <a:moveTo>
                      <a:pt x="0" y="0"/>
                    </a:moveTo>
                    <a:lnTo>
                      <a:pt x="33969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530" name="Forma livre: Forma 2529">
                <a:extLst>
                  <a:ext uri="{FF2B5EF4-FFF2-40B4-BE49-F238E27FC236}">
                    <a16:creationId xmlns:a16="http://schemas.microsoft.com/office/drawing/2014/main" id="{75FF43F4-D22D-E5AE-EFD0-FB34CB173468}"/>
                  </a:ext>
                </a:extLst>
              </p:cNvPr>
              <p:cNvSpPr/>
              <p:nvPr/>
            </p:nvSpPr>
            <p:spPr>
              <a:xfrm>
                <a:off x="11180158" y="5197009"/>
                <a:ext cx="33956" cy="1192"/>
              </a:xfrm>
              <a:custGeom>
                <a:avLst/>
                <a:gdLst>
                  <a:gd name="connsiteX0" fmla="*/ 0 w 33956"/>
                  <a:gd name="connsiteY0" fmla="*/ 0 h 1192"/>
                  <a:gd name="connsiteX1" fmla="*/ 33957 w 33956"/>
                  <a:gd name="connsiteY1" fmla="*/ 0 h 11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3956" h="1192">
                    <a:moveTo>
                      <a:pt x="0" y="0"/>
                    </a:moveTo>
                    <a:lnTo>
                      <a:pt x="33957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531" name="Forma livre: Forma 2530">
                <a:extLst>
                  <a:ext uri="{FF2B5EF4-FFF2-40B4-BE49-F238E27FC236}">
                    <a16:creationId xmlns:a16="http://schemas.microsoft.com/office/drawing/2014/main" id="{30D15AF8-A60A-158C-15DD-A8766DCD3D7A}"/>
                  </a:ext>
                </a:extLst>
              </p:cNvPr>
              <p:cNvSpPr/>
              <p:nvPr/>
            </p:nvSpPr>
            <p:spPr>
              <a:xfrm>
                <a:off x="11153071" y="5175004"/>
                <a:ext cx="1192" cy="48209"/>
              </a:xfrm>
              <a:custGeom>
                <a:avLst/>
                <a:gdLst>
                  <a:gd name="connsiteX0" fmla="*/ 0 w 1192"/>
                  <a:gd name="connsiteY0" fmla="*/ 0 h 48209"/>
                  <a:gd name="connsiteX1" fmla="*/ 0 w 1192"/>
                  <a:gd name="connsiteY1" fmla="*/ 48210 h 482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2" h="48209">
                    <a:moveTo>
                      <a:pt x="0" y="0"/>
                    </a:moveTo>
                    <a:lnTo>
                      <a:pt x="0" y="4821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532" name="Forma livre: Forma 2531">
                <a:extLst>
                  <a:ext uri="{FF2B5EF4-FFF2-40B4-BE49-F238E27FC236}">
                    <a16:creationId xmlns:a16="http://schemas.microsoft.com/office/drawing/2014/main" id="{2458DD0F-7D0E-A4F2-A31E-F06791026649}"/>
                  </a:ext>
                </a:extLst>
              </p:cNvPr>
              <p:cNvSpPr/>
              <p:nvPr/>
            </p:nvSpPr>
            <p:spPr>
              <a:xfrm>
                <a:off x="11277126" y="5175004"/>
                <a:ext cx="1192" cy="48209"/>
              </a:xfrm>
              <a:custGeom>
                <a:avLst/>
                <a:gdLst>
                  <a:gd name="connsiteX0" fmla="*/ 0 w 1192"/>
                  <a:gd name="connsiteY0" fmla="*/ 0 h 48209"/>
                  <a:gd name="connsiteX1" fmla="*/ 0 w 1192"/>
                  <a:gd name="connsiteY1" fmla="*/ 48210 h 482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2" h="48209">
                    <a:moveTo>
                      <a:pt x="0" y="0"/>
                    </a:moveTo>
                    <a:lnTo>
                      <a:pt x="0" y="4821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533" name="Forma livre: Forma 2532">
                <a:extLst>
                  <a:ext uri="{FF2B5EF4-FFF2-40B4-BE49-F238E27FC236}">
                    <a16:creationId xmlns:a16="http://schemas.microsoft.com/office/drawing/2014/main" id="{F6B9D02C-8D9D-D3BF-D848-A1F85D71C471}"/>
                  </a:ext>
                </a:extLst>
              </p:cNvPr>
              <p:cNvSpPr/>
              <p:nvPr/>
            </p:nvSpPr>
            <p:spPr>
              <a:xfrm>
                <a:off x="11215105" y="5175004"/>
                <a:ext cx="1192" cy="48209"/>
              </a:xfrm>
              <a:custGeom>
                <a:avLst/>
                <a:gdLst>
                  <a:gd name="connsiteX0" fmla="*/ 0 w 1192"/>
                  <a:gd name="connsiteY0" fmla="*/ 0 h 48209"/>
                  <a:gd name="connsiteX1" fmla="*/ 0 w 1192"/>
                  <a:gd name="connsiteY1" fmla="*/ 48210 h 482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2" h="48209">
                    <a:moveTo>
                      <a:pt x="0" y="0"/>
                    </a:moveTo>
                    <a:lnTo>
                      <a:pt x="0" y="4821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534" name="Forma livre: Forma 2533">
                <a:extLst>
                  <a:ext uri="{FF2B5EF4-FFF2-40B4-BE49-F238E27FC236}">
                    <a16:creationId xmlns:a16="http://schemas.microsoft.com/office/drawing/2014/main" id="{5A6719F5-405B-CA7D-536A-76A8C9BBFFC4}"/>
                  </a:ext>
                </a:extLst>
              </p:cNvPr>
              <p:cNvSpPr/>
              <p:nvPr/>
            </p:nvSpPr>
            <p:spPr>
              <a:xfrm>
                <a:off x="11138413" y="5311379"/>
                <a:ext cx="149960" cy="1192"/>
              </a:xfrm>
              <a:custGeom>
                <a:avLst/>
                <a:gdLst>
                  <a:gd name="connsiteX0" fmla="*/ 0 w 149960"/>
                  <a:gd name="connsiteY0" fmla="*/ 0 h 1192"/>
                  <a:gd name="connsiteX1" fmla="*/ 149961 w 149960"/>
                  <a:gd name="connsiteY1" fmla="*/ 0 h 11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49960" h="1192">
                    <a:moveTo>
                      <a:pt x="0" y="0"/>
                    </a:moveTo>
                    <a:lnTo>
                      <a:pt x="149961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535" name="Forma livre: Forma 2534">
                <a:extLst>
                  <a:ext uri="{FF2B5EF4-FFF2-40B4-BE49-F238E27FC236}">
                    <a16:creationId xmlns:a16="http://schemas.microsoft.com/office/drawing/2014/main" id="{F635BDF1-DD2F-A6AB-E5EA-95D9D568F3EA}"/>
                  </a:ext>
                </a:extLst>
              </p:cNvPr>
              <p:cNvSpPr/>
              <p:nvPr/>
            </p:nvSpPr>
            <p:spPr>
              <a:xfrm>
                <a:off x="11138413" y="5357800"/>
                <a:ext cx="114763" cy="1192"/>
              </a:xfrm>
              <a:custGeom>
                <a:avLst/>
                <a:gdLst>
                  <a:gd name="connsiteX0" fmla="*/ 0 w 114763"/>
                  <a:gd name="connsiteY0" fmla="*/ 0 h 1192"/>
                  <a:gd name="connsiteX1" fmla="*/ 114763 w 114763"/>
                  <a:gd name="connsiteY1" fmla="*/ 0 h 11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4763" h="1192">
                    <a:moveTo>
                      <a:pt x="0" y="0"/>
                    </a:moveTo>
                    <a:lnTo>
                      <a:pt x="114763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536" name="Forma livre: Forma 2535">
                <a:extLst>
                  <a:ext uri="{FF2B5EF4-FFF2-40B4-BE49-F238E27FC236}">
                    <a16:creationId xmlns:a16="http://schemas.microsoft.com/office/drawing/2014/main" id="{461925C2-A627-8BCC-64B1-4801CF9690CC}"/>
                  </a:ext>
                </a:extLst>
              </p:cNvPr>
              <p:cNvSpPr/>
              <p:nvPr/>
            </p:nvSpPr>
            <p:spPr>
              <a:xfrm>
                <a:off x="11221712" y="5274703"/>
                <a:ext cx="1192" cy="119772"/>
              </a:xfrm>
              <a:custGeom>
                <a:avLst/>
                <a:gdLst>
                  <a:gd name="connsiteX0" fmla="*/ 0 w 1192"/>
                  <a:gd name="connsiteY0" fmla="*/ 119773 h 119772"/>
                  <a:gd name="connsiteX1" fmla="*/ 0 w 1192"/>
                  <a:gd name="connsiteY1" fmla="*/ 0 h 1197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2" h="119772">
                    <a:moveTo>
                      <a:pt x="0" y="119773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537" name="Forma livre: Forma 2536">
                <a:extLst>
                  <a:ext uri="{FF2B5EF4-FFF2-40B4-BE49-F238E27FC236}">
                    <a16:creationId xmlns:a16="http://schemas.microsoft.com/office/drawing/2014/main" id="{08421C54-257F-F9D3-AC9C-416046F405BA}"/>
                  </a:ext>
                </a:extLst>
              </p:cNvPr>
              <p:cNvSpPr/>
              <p:nvPr/>
            </p:nvSpPr>
            <p:spPr>
              <a:xfrm>
                <a:off x="11175292" y="5274703"/>
                <a:ext cx="1192" cy="119772"/>
              </a:xfrm>
              <a:custGeom>
                <a:avLst/>
                <a:gdLst>
                  <a:gd name="connsiteX0" fmla="*/ 0 w 1192"/>
                  <a:gd name="connsiteY0" fmla="*/ 119773 h 119772"/>
                  <a:gd name="connsiteX1" fmla="*/ 0 w 1192"/>
                  <a:gd name="connsiteY1" fmla="*/ 0 h 1197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2" h="119772">
                    <a:moveTo>
                      <a:pt x="0" y="119773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538" name="Forma livre: Forma 2537">
                <a:extLst>
                  <a:ext uri="{FF2B5EF4-FFF2-40B4-BE49-F238E27FC236}">
                    <a16:creationId xmlns:a16="http://schemas.microsoft.com/office/drawing/2014/main" id="{D70A1065-8DB6-528B-B750-676A0107F5CE}"/>
                  </a:ext>
                </a:extLst>
              </p:cNvPr>
              <p:cNvSpPr/>
              <p:nvPr/>
            </p:nvSpPr>
            <p:spPr>
              <a:xfrm>
                <a:off x="11268133" y="5274703"/>
                <a:ext cx="1192" cy="57608"/>
              </a:xfrm>
              <a:custGeom>
                <a:avLst/>
                <a:gdLst>
                  <a:gd name="connsiteX0" fmla="*/ 0 w 1192"/>
                  <a:gd name="connsiteY0" fmla="*/ 57608 h 57608"/>
                  <a:gd name="connsiteX1" fmla="*/ 0 w 1192"/>
                  <a:gd name="connsiteY1" fmla="*/ 0 h 576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2" h="57608">
                    <a:moveTo>
                      <a:pt x="0" y="57608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2539" name="Gráfico 18">
            <a:extLst>
              <a:ext uri="{FF2B5EF4-FFF2-40B4-BE49-F238E27FC236}">
                <a16:creationId xmlns:a16="http://schemas.microsoft.com/office/drawing/2014/main" id="{970A7E74-28F3-776F-0AC3-3E7F85BB8DC3}"/>
              </a:ext>
            </a:extLst>
          </p:cNvPr>
          <p:cNvGrpSpPr/>
          <p:nvPr/>
        </p:nvGrpSpPr>
        <p:grpSpPr>
          <a:xfrm>
            <a:off x="11156065" y="3538009"/>
            <a:ext cx="220900" cy="383148"/>
            <a:chOff x="11156065" y="3538009"/>
            <a:chExt cx="220900" cy="383148"/>
          </a:xfrm>
        </p:grpSpPr>
        <p:grpSp>
          <p:nvGrpSpPr>
            <p:cNvPr id="2540" name="Gráfico 18">
              <a:extLst>
                <a:ext uri="{FF2B5EF4-FFF2-40B4-BE49-F238E27FC236}">
                  <a16:creationId xmlns:a16="http://schemas.microsoft.com/office/drawing/2014/main" id="{2B7E3EBF-BB08-C5DC-C6E9-CDAD05BF3C41}"/>
                </a:ext>
              </a:extLst>
            </p:cNvPr>
            <p:cNvGrpSpPr/>
            <p:nvPr/>
          </p:nvGrpSpPr>
          <p:grpSpPr>
            <a:xfrm>
              <a:off x="11285023" y="3703594"/>
              <a:ext cx="91942" cy="217563"/>
              <a:chOff x="11285023" y="3703594"/>
              <a:chExt cx="91942" cy="217563"/>
            </a:xfrm>
          </p:grpSpPr>
          <p:sp>
            <p:nvSpPr>
              <p:cNvPr id="2541" name="Forma livre: Forma 2540">
                <a:extLst>
                  <a:ext uri="{FF2B5EF4-FFF2-40B4-BE49-F238E27FC236}">
                    <a16:creationId xmlns:a16="http://schemas.microsoft.com/office/drawing/2014/main" id="{F69E54E9-6F87-A4A2-CD8C-BBE4B91EF722}"/>
                  </a:ext>
                </a:extLst>
              </p:cNvPr>
              <p:cNvSpPr/>
              <p:nvPr/>
            </p:nvSpPr>
            <p:spPr>
              <a:xfrm>
                <a:off x="11331001" y="3879318"/>
                <a:ext cx="1192" cy="41363"/>
              </a:xfrm>
              <a:custGeom>
                <a:avLst/>
                <a:gdLst>
                  <a:gd name="connsiteX0" fmla="*/ 0 w 1192"/>
                  <a:gd name="connsiteY0" fmla="*/ 0 h 41363"/>
                  <a:gd name="connsiteX1" fmla="*/ 0 w 1192"/>
                  <a:gd name="connsiteY1" fmla="*/ 41363 h 413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2" h="41363">
                    <a:moveTo>
                      <a:pt x="0" y="0"/>
                    </a:moveTo>
                    <a:lnTo>
                      <a:pt x="0" y="41363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542" name="Forma livre: Forma 2541">
                <a:extLst>
                  <a:ext uri="{FF2B5EF4-FFF2-40B4-BE49-F238E27FC236}">
                    <a16:creationId xmlns:a16="http://schemas.microsoft.com/office/drawing/2014/main" id="{302DF608-51C9-A5B0-FE32-762E21FB02AC}"/>
                  </a:ext>
                </a:extLst>
              </p:cNvPr>
              <p:cNvSpPr/>
              <p:nvPr/>
            </p:nvSpPr>
            <p:spPr>
              <a:xfrm>
                <a:off x="11298022" y="3921158"/>
                <a:ext cx="65957" cy="1192"/>
              </a:xfrm>
              <a:custGeom>
                <a:avLst/>
                <a:gdLst>
                  <a:gd name="connsiteX0" fmla="*/ 0 w 65957"/>
                  <a:gd name="connsiteY0" fmla="*/ 0 h 1192"/>
                  <a:gd name="connsiteX1" fmla="*/ 65957 w 65957"/>
                  <a:gd name="connsiteY1" fmla="*/ 0 h 11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5957" h="1192">
                    <a:moveTo>
                      <a:pt x="0" y="0"/>
                    </a:moveTo>
                    <a:lnTo>
                      <a:pt x="65957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543" name="Forma livre: Forma 2542">
                <a:extLst>
                  <a:ext uri="{FF2B5EF4-FFF2-40B4-BE49-F238E27FC236}">
                    <a16:creationId xmlns:a16="http://schemas.microsoft.com/office/drawing/2014/main" id="{7D949078-74DA-8764-2E8B-78CB03E0E559}"/>
                  </a:ext>
                </a:extLst>
              </p:cNvPr>
              <p:cNvSpPr/>
              <p:nvPr/>
            </p:nvSpPr>
            <p:spPr>
              <a:xfrm>
                <a:off x="11285023" y="3703594"/>
                <a:ext cx="91942" cy="174470"/>
              </a:xfrm>
              <a:custGeom>
                <a:avLst/>
                <a:gdLst>
                  <a:gd name="connsiteX0" fmla="*/ 91731 w 91942"/>
                  <a:gd name="connsiteY0" fmla="*/ 120548 h 174470"/>
                  <a:gd name="connsiteX1" fmla="*/ 76392 w 91942"/>
                  <a:gd name="connsiteY1" fmla="*/ 0 h 174470"/>
                  <a:gd name="connsiteX2" fmla="*/ 15552 w 91942"/>
                  <a:gd name="connsiteY2" fmla="*/ 0 h 174470"/>
                  <a:gd name="connsiteX3" fmla="*/ 225 w 91942"/>
                  <a:gd name="connsiteY3" fmla="*/ 120548 h 174470"/>
                  <a:gd name="connsiteX4" fmla="*/ 45954 w 91942"/>
                  <a:gd name="connsiteY4" fmla="*/ 174471 h 174470"/>
                  <a:gd name="connsiteX5" fmla="*/ 45978 w 91942"/>
                  <a:gd name="connsiteY5" fmla="*/ 174471 h 174470"/>
                  <a:gd name="connsiteX6" fmla="*/ 91719 w 91942"/>
                  <a:gd name="connsiteY6" fmla="*/ 120548 h 1744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91942" h="174470">
                    <a:moveTo>
                      <a:pt x="91731" y="120548"/>
                    </a:moveTo>
                    <a:lnTo>
                      <a:pt x="76392" y="0"/>
                    </a:lnTo>
                    <a:lnTo>
                      <a:pt x="15552" y="0"/>
                    </a:lnTo>
                    <a:lnTo>
                      <a:pt x="225" y="120548"/>
                    </a:lnTo>
                    <a:cubicBezTo>
                      <a:pt x="-2518" y="154910"/>
                      <a:pt x="20203" y="174471"/>
                      <a:pt x="45954" y="174471"/>
                    </a:cubicBezTo>
                    <a:lnTo>
                      <a:pt x="45978" y="174471"/>
                    </a:lnTo>
                    <a:cubicBezTo>
                      <a:pt x="71729" y="174471"/>
                      <a:pt x="94450" y="154910"/>
                      <a:pt x="91719" y="120548"/>
                    </a:cubicBezTo>
                    <a:close/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544" name="Forma livre: Forma 2543">
                <a:extLst>
                  <a:ext uri="{FF2B5EF4-FFF2-40B4-BE49-F238E27FC236}">
                    <a16:creationId xmlns:a16="http://schemas.microsoft.com/office/drawing/2014/main" id="{748BA2B1-8EE1-FC88-8405-0914D7AA86FD}"/>
                  </a:ext>
                </a:extLst>
              </p:cNvPr>
              <p:cNvSpPr/>
              <p:nvPr/>
            </p:nvSpPr>
            <p:spPr>
              <a:xfrm>
                <a:off x="11321817" y="3754142"/>
                <a:ext cx="45192" cy="1192"/>
              </a:xfrm>
              <a:custGeom>
                <a:avLst/>
                <a:gdLst>
                  <a:gd name="connsiteX0" fmla="*/ 0 w 45192"/>
                  <a:gd name="connsiteY0" fmla="*/ 0 h 1192"/>
                  <a:gd name="connsiteX1" fmla="*/ 45192 w 45192"/>
                  <a:gd name="connsiteY1" fmla="*/ 0 h 11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5192" h="1192">
                    <a:moveTo>
                      <a:pt x="0" y="0"/>
                    </a:moveTo>
                    <a:lnTo>
                      <a:pt x="45192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545" name="Forma livre: Forma 2544">
                <a:extLst>
                  <a:ext uri="{FF2B5EF4-FFF2-40B4-BE49-F238E27FC236}">
                    <a16:creationId xmlns:a16="http://schemas.microsoft.com/office/drawing/2014/main" id="{90F26DE9-1FC6-EA0D-12CF-FB0D03ED9DC9}"/>
                  </a:ext>
                </a:extLst>
              </p:cNvPr>
              <p:cNvSpPr/>
              <p:nvPr/>
            </p:nvSpPr>
            <p:spPr>
              <a:xfrm>
                <a:off x="11332563" y="3787311"/>
                <a:ext cx="4949" cy="4937"/>
              </a:xfrm>
              <a:custGeom>
                <a:avLst/>
                <a:gdLst>
                  <a:gd name="connsiteX0" fmla="*/ 4950 w 4949"/>
                  <a:gd name="connsiteY0" fmla="*/ 2469 h 4937"/>
                  <a:gd name="connsiteX1" fmla="*/ 2481 w 4949"/>
                  <a:gd name="connsiteY1" fmla="*/ 4938 h 4937"/>
                  <a:gd name="connsiteX2" fmla="*/ 0 w 4949"/>
                  <a:gd name="connsiteY2" fmla="*/ 2469 h 4937"/>
                  <a:gd name="connsiteX3" fmla="*/ 2481 w 4949"/>
                  <a:gd name="connsiteY3" fmla="*/ 0 h 4937"/>
                  <a:gd name="connsiteX4" fmla="*/ 4950 w 4949"/>
                  <a:gd name="connsiteY4" fmla="*/ 2469 h 49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949" h="4937">
                    <a:moveTo>
                      <a:pt x="4950" y="2469"/>
                    </a:moveTo>
                    <a:cubicBezTo>
                      <a:pt x="4950" y="3829"/>
                      <a:pt x="3841" y="4938"/>
                      <a:pt x="2481" y="4938"/>
                    </a:cubicBezTo>
                    <a:cubicBezTo>
                      <a:pt x="1121" y="4938"/>
                      <a:pt x="0" y="3829"/>
                      <a:pt x="0" y="2469"/>
                    </a:cubicBezTo>
                    <a:cubicBezTo>
                      <a:pt x="0" y="1109"/>
                      <a:pt x="1109" y="0"/>
                      <a:pt x="2481" y="0"/>
                    </a:cubicBezTo>
                    <a:cubicBezTo>
                      <a:pt x="3852" y="0"/>
                      <a:pt x="4950" y="1097"/>
                      <a:pt x="4950" y="2469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546" name="Forma livre: Forma 2545">
                <a:extLst>
                  <a:ext uri="{FF2B5EF4-FFF2-40B4-BE49-F238E27FC236}">
                    <a16:creationId xmlns:a16="http://schemas.microsoft.com/office/drawing/2014/main" id="{B7C09D7D-0CDC-9858-E328-E2C49299E478}"/>
                  </a:ext>
                </a:extLst>
              </p:cNvPr>
              <p:cNvSpPr/>
              <p:nvPr/>
            </p:nvSpPr>
            <p:spPr>
              <a:xfrm>
                <a:off x="11315865" y="3819503"/>
                <a:ext cx="4949" cy="4949"/>
              </a:xfrm>
              <a:custGeom>
                <a:avLst/>
                <a:gdLst>
                  <a:gd name="connsiteX0" fmla="*/ 4950 w 4949"/>
                  <a:gd name="connsiteY0" fmla="*/ 2481 h 4949"/>
                  <a:gd name="connsiteX1" fmla="*/ 2469 w 4949"/>
                  <a:gd name="connsiteY1" fmla="*/ 4950 h 4949"/>
                  <a:gd name="connsiteX2" fmla="*/ 0 w 4949"/>
                  <a:gd name="connsiteY2" fmla="*/ 2481 h 4949"/>
                  <a:gd name="connsiteX3" fmla="*/ 2469 w 4949"/>
                  <a:gd name="connsiteY3" fmla="*/ 0 h 4949"/>
                  <a:gd name="connsiteX4" fmla="*/ 4950 w 4949"/>
                  <a:gd name="connsiteY4" fmla="*/ 2481 h 49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949" h="4949">
                    <a:moveTo>
                      <a:pt x="4950" y="2481"/>
                    </a:moveTo>
                    <a:cubicBezTo>
                      <a:pt x="4950" y="3852"/>
                      <a:pt x="3841" y="4950"/>
                      <a:pt x="2469" y="4950"/>
                    </a:cubicBezTo>
                    <a:cubicBezTo>
                      <a:pt x="1097" y="4950"/>
                      <a:pt x="0" y="3852"/>
                      <a:pt x="0" y="2481"/>
                    </a:cubicBezTo>
                    <a:cubicBezTo>
                      <a:pt x="0" y="1109"/>
                      <a:pt x="1109" y="0"/>
                      <a:pt x="2469" y="0"/>
                    </a:cubicBezTo>
                    <a:cubicBezTo>
                      <a:pt x="3829" y="0"/>
                      <a:pt x="4950" y="1109"/>
                      <a:pt x="4950" y="2481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547" name="Forma livre: Forma 2546">
                <a:extLst>
                  <a:ext uri="{FF2B5EF4-FFF2-40B4-BE49-F238E27FC236}">
                    <a16:creationId xmlns:a16="http://schemas.microsoft.com/office/drawing/2014/main" id="{76DFF792-9707-A596-93EA-19253260AA5F}"/>
                  </a:ext>
                </a:extLst>
              </p:cNvPr>
              <p:cNvSpPr/>
              <p:nvPr/>
            </p:nvSpPr>
            <p:spPr>
              <a:xfrm>
                <a:off x="11341044" y="3838956"/>
                <a:ext cx="4949" cy="4937"/>
              </a:xfrm>
              <a:custGeom>
                <a:avLst/>
                <a:gdLst>
                  <a:gd name="connsiteX0" fmla="*/ 4950 w 4949"/>
                  <a:gd name="connsiteY0" fmla="*/ 2469 h 4937"/>
                  <a:gd name="connsiteX1" fmla="*/ 2481 w 4949"/>
                  <a:gd name="connsiteY1" fmla="*/ 4938 h 4937"/>
                  <a:gd name="connsiteX2" fmla="*/ 0 w 4949"/>
                  <a:gd name="connsiteY2" fmla="*/ 2469 h 4937"/>
                  <a:gd name="connsiteX3" fmla="*/ 2481 w 4949"/>
                  <a:gd name="connsiteY3" fmla="*/ 0 h 4937"/>
                  <a:gd name="connsiteX4" fmla="*/ 4950 w 4949"/>
                  <a:gd name="connsiteY4" fmla="*/ 2469 h 49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949" h="4937">
                    <a:moveTo>
                      <a:pt x="4950" y="2469"/>
                    </a:moveTo>
                    <a:cubicBezTo>
                      <a:pt x="4950" y="3841"/>
                      <a:pt x="3841" y="4938"/>
                      <a:pt x="2481" y="4938"/>
                    </a:cubicBezTo>
                    <a:cubicBezTo>
                      <a:pt x="1121" y="4938"/>
                      <a:pt x="0" y="3829"/>
                      <a:pt x="0" y="2469"/>
                    </a:cubicBezTo>
                    <a:cubicBezTo>
                      <a:pt x="0" y="1109"/>
                      <a:pt x="1109" y="0"/>
                      <a:pt x="2481" y="0"/>
                    </a:cubicBezTo>
                    <a:cubicBezTo>
                      <a:pt x="3852" y="0"/>
                      <a:pt x="4950" y="1097"/>
                      <a:pt x="4950" y="2469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2548" name="Gráfico 18">
              <a:extLst>
                <a:ext uri="{FF2B5EF4-FFF2-40B4-BE49-F238E27FC236}">
                  <a16:creationId xmlns:a16="http://schemas.microsoft.com/office/drawing/2014/main" id="{60D0CDF6-208C-F660-0FF6-FDD5844430B9}"/>
                </a:ext>
              </a:extLst>
            </p:cNvPr>
            <p:cNvGrpSpPr/>
            <p:nvPr/>
          </p:nvGrpSpPr>
          <p:grpSpPr>
            <a:xfrm>
              <a:off x="11156065" y="3538009"/>
              <a:ext cx="122766" cy="383148"/>
              <a:chOff x="11156065" y="3538009"/>
              <a:chExt cx="122766" cy="383148"/>
            </a:xfrm>
            <a:noFill/>
          </p:grpSpPr>
          <p:grpSp>
            <p:nvGrpSpPr>
              <p:cNvPr id="2549" name="Gráfico 18">
                <a:extLst>
                  <a:ext uri="{FF2B5EF4-FFF2-40B4-BE49-F238E27FC236}">
                    <a16:creationId xmlns:a16="http://schemas.microsoft.com/office/drawing/2014/main" id="{892177C7-4418-2BFC-23BC-2604F82F26B6}"/>
                  </a:ext>
                </a:extLst>
              </p:cNvPr>
              <p:cNvGrpSpPr/>
              <p:nvPr/>
            </p:nvGrpSpPr>
            <p:grpSpPr>
              <a:xfrm>
                <a:off x="11156065" y="3538009"/>
                <a:ext cx="122766" cy="383148"/>
                <a:chOff x="11156065" y="3538009"/>
                <a:chExt cx="122766" cy="383148"/>
              </a:xfrm>
              <a:noFill/>
            </p:grpSpPr>
            <p:sp>
              <p:nvSpPr>
                <p:cNvPr id="2550" name="Forma livre: Forma 2549">
                  <a:extLst>
                    <a:ext uri="{FF2B5EF4-FFF2-40B4-BE49-F238E27FC236}">
                      <a16:creationId xmlns:a16="http://schemas.microsoft.com/office/drawing/2014/main" id="{C368C78A-6092-20D3-8946-94744A4A443C}"/>
                    </a:ext>
                  </a:extLst>
                </p:cNvPr>
                <p:cNvSpPr/>
                <p:nvPr/>
              </p:nvSpPr>
              <p:spPr>
                <a:xfrm>
                  <a:off x="11198657" y="3538009"/>
                  <a:ext cx="80174" cy="179611"/>
                </a:xfrm>
                <a:custGeom>
                  <a:avLst/>
                  <a:gdLst>
                    <a:gd name="connsiteX0" fmla="*/ 80175 w 80174"/>
                    <a:gd name="connsiteY0" fmla="*/ 179612 h 179611"/>
                    <a:gd name="connsiteX1" fmla="*/ 62677 w 80174"/>
                    <a:gd name="connsiteY1" fmla="*/ 152978 h 179611"/>
                    <a:gd name="connsiteX2" fmla="*/ 46301 w 80174"/>
                    <a:gd name="connsiteY2" fmla="*/ 55724 h 179611"/>
                    <a:gd name="connsiteX3" fmla="*/ 54376 w 80174"/>
                    <a:gd name="connsiteY3" fmla="*/ 55724 h 179611"/>
                    <a:gd name="connsiteX4" fmla="*/ 54376 w 80174"/>
                    <a:gd name="connsiteY4" fmla="*/ 22733 h 179611"/>
                    <a:gd name="connsiteX5" fmla="*/ 31655 w 80174"/>
                    <a:gd name="connsiteY5" fmla="*/ 0 h 179611"/>
                    <a:gd name="connsiteX6" fmla="*/ 22733 w 80174"/>
                    <a:gd name="connsiteY6" fmla="*/ 0 h 179611"/>
                    <a:gd name="connsiteX7" fmla="*/ 0 w 80174"/>
                    <a:gd name="connsiteY7" fmla="*/ 22733 h 179611"/>
                    <a:gd name="connsiteX8" fmla="*/ 0 w 80174"/>
                    <a:gd name="connsiteY8" fmla="*/ 55724 h 179611"/>
                    <a:gd name="connsiteX9" fmla="*/ 23556 w 80174"/>
                    <a:gd name="connsiteY9" fmla="*/ 55724 h 17961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80174" h="179611">
                      <a:moveTo>
                        <a:pt x="80175" y="179612"/>
                      </a:moveTo>
                      <a:cubicBezTo>
                        <a:pt x="75058" y="169819"/>
                        <a:pt x="69082" y="160790"/>
                        <a:pt x="62677" y="152978"/>
                      </a:cubicBezTo>
                      <a:cubicBezTo>
                        <a:pt x="48639" y="135815"/>
                        <a:pt x="48210" y="98817"/>
                        <a:pt x="46301" y="55724"/>
                      </a:cubicBezTo>
                      <a:lnTo>
                        <a:pt x="54376" y="55724"/>
                      </a:lnTo>
                      <a:lnTo>
                        <a:pt x="54376" y="22733"/>
                      </a:lnTo>
                      <a:cubicBezTo>
                        <a:pt x="54376" y="10234"/>
                        <a:pt x="44154" y="0"/>
                        <a:pt x="31655" y="0"/>
                      </a:cubicBezTo>
                      <a:lnTo>
                        <a:pt x="22733" y="0"/>
                      </a:lnTo>
                      <a:cubicBezTo>
                        <a:pt x="10234" y="0"/>
                        <a:pt x="0" y="10234"/>
                        <a:pt x="0" y="22733"/>
                      </a:cubicBezTo>
                      <a:lnTo>
                        <a:pt x="0" y="55724"/>
                      </a:lnTo>
                      <a:lnTo>
                        <a:pt x="23556" y="55724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551" name="Forma livre: Forma 2550">
                  <a:extLst>
                    <a:ext uri="{FF2B5EF4-FFF2-40B4-BE49-F238E27FC236}">
                      <a16:creationId xmlns:a16="http://schemas.microsoft.com/office/drawing/2014/main" id="{76D8E2EC-D57A-FD11-A67A-B35EB129B0EA}"/>
                    </a:ext>
                  </a:extLst>
                </p:cNvPr>
                <p:cNvSpPr/>
                <p:nvPr/>
              </p:nvSpPr>
              <p:spPr>
                <a:xfrm>
                  <a:off x="11156065" y="3614856"/>
                  <a:ext cx="122456" cy="306302"/>
                </a:xfrm>
                <a:custGeom>
                  <a:avLst/>
                  <a:gdLst>
                    <a:gd name="connsiteX0" fmla="*/ 49641 w 122456"/>
                    <a:gd name="connsiteY0" fmla="*/ 0 h 306302"/>
                    <a:gd name="connsiteX1" fmla="*/ 34279 w 122456"/>
                    <a:gd name="connsiteY1" fmla="*/ 76119 h 306302"/>
                    <a:gd name="connsiteX2" fmla="*/ 0 w 122456"/>
                    <a:gd name="connsiteY2" fmla="*/ 165681 h 306302"/>
                    <a:gd name="connsiteX3" fmla="*/ 0 w 122456"/>
                    <a:gd name="connsiteY3" fmla="*/ 291560 h 306302"/>
                    <a:gd name="connsiteX4" fmla="*/ 14921 w 122456"/>
                    <a:gd name="connsiteY4" fmla="*/ 306302 h 306302"/>
                    <a:gd name="connsiteX5" fmla="*/ 122456 w 122456"/>
                    <a:gd name="connsiteY5" fmla="*/ 306302 h 30630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122456" h="306302">
                      <a:moveTo>
                        <a:pt x="49641" y="0"/>
                      </a:moveTo>
                      <a:cubicBezTo>
                        <a:pt x="48102" y="32812"/>
                        <a:pt x="45693" y="62212"/>
                        <a:pt x="34279" y="76119"/>
                      </a:cubicBezTo>
                      <a:cubicBezTo>
                        <a:pt x="15303" y="99318"/>
                        <a:pt x="12" y="133286"/>
                        <a:pt x="0" y="165681"/>
                      </a:cubicBezTo>
                      <a:cubicBezTo>
                        <a:pt x="0" y="198075"/>
                        <a:pt x="0" y="291560"/>
                        <a:pt x="0" y="291560"/>
                      </a:cubicBezTo>
                      <a:cubicBezTo>
                        <a:pt x="0" y="299671"/>
                        <a:pt x="6810" y="306302"/>
                        <a:pt x="14921" y="306302"/>
                      </a:cubicBezTo>
                      <a:lnTo>
                        <a:pt x="122456" y="306302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2552" name="Forma livre: Forma 2551">
                <a:extLst>
                  <a:ext uri="{FF2B5EF4-FFF2-40B4-BE49-F238E27FC236}">
                    <a16:creationId xmlns:a16="http://schemas.microsoft.com/office/drawing/2014/main" id="{4EDA360D-0CEC-E436-74BA-FDB2E47F58DE}"/>
                  </a:ext>
                </a:extLst>
              </p:cNvPr>
              <p:cNvSpPr/>
              <p:nvPr/>
            </p:nvSpPr>
            <p:spPr>
              <a:xfrm>
                <a:off x="11167622" y="3730490"/>
                <a:ext cx="106951" cy="37212"/>
              </a:xfrm>
              <a:custGeom>
                <a:avLst/>
                <a:gdLst>
                  <a:gd name="connsiteX0" fmla="*/ 106951 w 106951"/>
                  <a:gd name="connsiteY0" fmla="*/ 9017 h 37212"/>
                  <a:gd name="connsiteX1" fmla="*/ 59910 w 106951"/>
                  <a:gd name="connsiteY1" fmla="*/ 37213 h 37212"/>
                  <a:gd name="connsiteX2" fmla="*/ 0 w 106951"/>
                  <a:gd name="connsiteY2" fmla="*/ 0 h 372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06951" h="37212">
                    <a:moveTo>
                      <a:pt x="106951" y="9017"/>
                    </a:moveTo>
                    <a:lnTo>
                      <a:pt x="59910" y="37213"/>
                    </a:lnTo>
                    <a:lnTo>
                      <a:pt x="0" y="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553" name="Forma livre: Forma 2552">
                <a:extLst>
                  <a:ext uri="{FF2B5EF4-FFF2-40B4-BE49-F238E27FC236}">
                    <a16:creationId xmlns:a16="http://schemas.microsoft.com/office/drawing/2014/main" id="{963442BC-6FCD-2282-8730-C9860B13CE35}"/>
                  </a:ext>
                </a:extLst>
              </p:cNvPr>
              <p:cNvSpPr/>
              <p:nvPr/>
            </p:nvSpPr>
            <p:spPr>
              <a:xfrm>
                <a:off x="11186670" y="3696724"/>
                <a:ext cx="78945" cy="24665"/>
              </a:xfrm>
              <a:custGeom>
                <a:avLst/>
                <a:gdLst>
                  <a:gd name="connsiteX0" fmla="*/ 78946 w 78945"/>
                  <a:gd name="connsiteY0" fmla="*/ 1097 h 24665"/>
                  <a:gd name="connsiteX1" fmla="*/ 39706 w 78945"/>
                  <a:gd name="connsiteY1" fmla="*/ 24665 h 24665"/>
                  <a:gd name="connsiteX2" fmla="*/ 0 w 78945"/>
                  <a:gd name="connsiteY2" fmla="*/ 0 h 246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78945" h="24665">
                    <a:moveTo>
                      <a:pt x="78946" y="1097"/>
                    </a:moveTo>
                    <a:lnTo>
                      <a:pt x="39706" y="24665"/>
                    </a:lnTo>
                    <a:lnTo>
                      <a:pt x="0" y="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554" name="Forma livre: Forma 2553">
                <a:extLst>
                  <a:ext uri="{FF2B5EF4-FFF2-40B4-BE49-F238E27FC236}">
                    <a16:creationId xmlns:a16="http://schemas.microsoft.com/office/drawing/2014/main" id="{68AEBE02-A4B9-09E7-37F3-B65CE224063A}"/>
                  </a:ext>
                </a:extLst>
              </p:cNvPr>
              <p:cNvSpPr/>
              <p:nvPr/>
            </p:nvSpPr>
            <p:spPr>
              <a:xfrm>
                <a:off x="11189819" y="3810629"/>
                <a:ext cx="72040" cy="55986"/>
              </a:xfrm>
              <a:custGeom>
                <a:avLst/>
                <a:gdLst>
                  <a:gd name="connsiteX0" fmla="*/ 72040 w 72040"/>
                  <a:gd name="connsiteY0" fmla="*/ 55986 h 55986"/>
                  <a:gd name="connsiteX1" fmla="*/ 0 w 72040"/>
                  <a:gd name="connsiteY1" fmla="*/ 55986 h 55986"/>
                  <a:gd name="connsiteX2" fmla="*/ 12 w 72040"/>
                  <a:gd name="connsiteY2" fmla="*/ 12 h 55986"/>
                  <a:gd name="connsiteX3" fmla="*/ 72040 w 72040"/>
                  <a:gd name="connsiteY3" fmla="*/ 0 h 55986"/>
                  <a:gd name="connsiteX4" fmla="*/ 72040 w 72040"/>
                  <a:gd name="connsiteY4" fmla="*/ 55986 h 559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2040" h="55986">
                    <a:moveTo>
                      <a:pt x="72040" y="55986"/>
                    </a:moveTo>
                    <a:lnTo>
                      <a:pt x="0" y="55986"/>
                    </a:lnTo>
                    <a:lnTo>
                      <a:pt x="12" y="12"/>
                    </a:lnTo>
                    <a:lnTo>
                      <a:pt x="72040" y="0"/>
                    </a:lnTo>
                    <a:lnTo>
                      <a:pt x="72040" y="55986"/>
                    </a:ln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2555" name="Gráfico 18">
            <a:extLst>
              <a:ext uri="{FF2B5EF4-FFF2-40B4-BE49-F238E27FC236}">
                <a16:creationId xmlns:a16="http://schemas.microsoft.com/office/drawing/2014/main" id="{8015A84F-5078-152E-BF70-C4B428472FE3}"/>
              </a:ext>
            </a:extLst>
          </p:cNvPr>
          <p:cNvGrpSpPr/>
          <p:nvPr/>
        </p:nvGrpSpPr>
        <p:grpSpPr>
          <a:xfrm>
            <a:off x="11111469" y="5700950"/>
            <a:ext cx="310101" cy="310912"/>
            <a:chOff x="11111469" y="5700950"/>
            <a:chExt cx="310101" cy="310912"/>
          </a:xfrm>
        </p:grpSpPr>
        <p:grpSp>
          <p:nvGrpSpPr>
            <p:cNvPr id="2556" name="Gráfico 18">
              <a:extLst>
                <a:ext uri="{FF2B5EF4-FFF2-40B4-BE49-F238E27FC236}">
                  <a16:creationId xmlns:a16="http://schemas.microsoft.com/office/drawing/2014/main" id="{4D590474-49FF-3131-4690-30BFD90C22DB}"/>
                </a:ext>
              </a:extLst>
            </p:cNvPr>
            <p:cNvGrpSpPr/>
            <p:nvPr/>
          </p:nvGrpSpPr>
          <p:grpSpPr>
            <a:xfrm>
              <a:off x="11111469" y="5868069"/>
              <a:ext cx="143591" cy="143794"/>
              <a:chOff x="11111469" y="5868069"/>
              <a:chExt cx="143591" cy="143794"/>
            </a:xfrm>
            <a:noFill/>
          </p:grpSpPr>
          <p:sp>
            <p:nvSpPr>
              <p:cNvPr id="2557" name="Forma livre: Forma 2556">
                <a:extLst>
                  <a:ext uri="{FF2B5EF4-FFF2-40B4-BE49-F238E27FC236}">
                    <a16:creationId xmlns:a16="http://schemas.microsoft.com/office/drawing/2014/main" id="{2264BD83-CFDF-27D5-4665-1B43D42E7912}"/>
                  </a:ext>
                </a:extLst>
              </p:cNvPr>
              <p:cNvSpPr/>
              <p:nvPr/>
            </p:nvSpPr>
            <p:spPr>
              <a:xfrm>
                <a:off x="11111469" y="5876549"/>
                <a:ext cx="135111" cy="135313"/>
              </a:xfrm>
              <a:custGeom>
                <a:avLst/>
                <a:gdLst>
                  <a:gd name="connsiteX0" fmla="*/ 135111 w 135111"/>
                  <a:gd name="connsiteY0" fmla="*/ 0 h 135313"/>
                  <a:gd name="connsiteX1" fmla="*/ 118449 w 135111"/>
                  <a:gd name="connsiteY1" fmla="*/ 16662 h 135313"/>
                  <a:gd name="connsiteX2" fmla="*/ 125713 w 135111"/>
                  <a:gd name="connsiteY2" fmla="*/ 44274 h 135313"/>
                  <a:gd name="connsiteX3" fmla="*/ 125713 w 135111"/>
                  <a:gd name="connsiteY3" fmla="*/ 44274 h 135313"/>
                  <a:gd name="connsiteX4" fmla="*/ 85900 w 135111"/>
                  <a:gd name="connsiteY4" fmla="*/ 31082 h 135313"/>
                  <a:gd name="connsiteX5" fmla="*/ 99163 w 135111"/>
                  <a:gd name="connsiteY5" fmla="*/ 70931 h 135313"/>
                  <a:gd name="connsiteX6" fmla="*/ 59362 w 135111"/>
                  <a:gd name="connsiteY6" fmla="*/ 57632 h 135313"/>
                  <a:gd name="connsiteX7" fmla="*/ 72816 w 135111"/>
                  <a:gd name="connsiteY7" fmla="*/ 97839 h 135313"/>
                  <a:gd name="connsiteX8" fmla="*/ 32609 w 135111"/>
                  <a:gd name="connsiteY8" fmla="*/ 84397 h 135313"/>
                  <a:gd name="connsiteX9" fmla="*/ 45967 w 135111"/>
                  <a:gd name="connsiteY9" fmla="*/ 124126 h 135313"/>
                  <a:gd name="connsiteX10" fmla="*/ 18463 w 135111"/>
                  <a:gd name="connsiteY10" fmla="*/ 116839 h 135313"/>
                  <a:gd name="connsiteX11" fmla="*/ 0 w 135111"/>
                  <a:gd name="connsiteY11" fmla="*/ 135314 h 1353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35111" h="135313">
                    <a:moveTo>
                      <a:pt x="135111" y="0"/>
                    </a:moveTo>
                    <a:lnTo>
                      <a:pt x="118449" y="16662"/>
                    </a:lnTo>
                    <a:lnTo>
                      <a:pt x="125713" y="44274"/>
                    </a:lnTo>
                    <a:lnTo>
                      <a:pt x="125713" y="44274"/>
                    </a:lnTo>
                    <a:lnTo>
                      <a:pt x="85900" y="31082"/>
                    </a:lnTo>
                    <a:lnTo>
                      <a:pt x="99163" y="70931"/>
                    </a:lnTo>
                    <a:lnTo>
                      <a:pt x="59362" y="57632"/>
                    </a:lnTo>
                    <a:lnTo>
                      <a:pt x="72816" y="97839"/>
                    </a:lnTo>
                    <a:lnTo>
                      <a:pt x="32609" y="84397"/>
                    </a:lnTo>
                    <a:lnTo>
                      <a:pt x="45967" y="124126"/>
                    </a:lnTo>
                    <a:lnTo>
                      <a:pt x="18463" y="116839"/>
                    </a:lnTo>
                    <a:lnTo>
                      <a:pt x="0" y="135314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558" name="Forma livre: Forma 2557">
                <a:extLst>
                  <a:ext uri="{FF2B5EF4-FFF2-40B4-BE49-F238E27FC236}">
                    <a16:creationId xmlns:a16="http://schemas.microsoft.com/office/drawing/2014/main" id="{D45167E6-AFCC-109E-D3B5-A012B214C070}"/>
                  </a:ext>
                </a:extLst>
              </p:cNvPr>
              <p:cNvSpPr/>
              <p:nvPr/>
            </p:nvSpPr>
            <p:spPr>
              <a:xfrm>
                <a:off x="11239042" y="5868069"/>
                <a:ext cx="16018" cy="16030"/>
              </a:xfrm>
              <a:custGeom>
                <a:avLst/>
                <a:gdLst>
                  <a:gd name="connsiteX0" fmla="*/ 0 w 16018"/>
                  <a:gd name="connsiteY0" fmla="*/ 16030 h 16030"/>
                  <a:gd name="connsiteX1" fmla="*/ 16018 w 16018"/>
                  <a:gd name="connsiteY1" fmla="*/ 0 h 160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6018" h="16030">
                    <a:moveTo>
                      <a:pt x="0" y="16030"/>
                    </a:moveTo>
                    <a:lnTo>
                      <a:pt x="16018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2559" name="Gráfico 18">
              <a:extLst>
                <a:ext uri="{FF2B5EF4-FFF2-40B4-BE49-F238E27FC236}">
                  <a16:creationId xmlns:a16="http://schemas.microsoft.com/office/drawing/2014/main" id="{79A03D54-4CD4-C3A8-6BEF-C9C6F537A3FC}"/>
                </a:ext>
              </a:extLst>
            </p:cNvPr>
            <p:cNvGrpSpPr/>
            <p:nvPr/>
          </p:nvGrpSpPr>
          <p:grpSpPr>
            <a:xfrm>
              <a:off x="11174788" y="5700950"/>
              <a:ext cx="246783" cy="246786"/>
              <a:chOff x="11174788" y="5700950"/>
              <a:chExt cx="246783" cy="246786"/>
            </a:xfrm>
          </p:grpSpPr>
          <p:grpSp>
            <p:nvGrpSpPr>
              <p:cNvPr id="2560" name="Gráfico 18">
                <a:extLst>
                  <a:ext uri="{FF2B5EF4-FFF2-40B4-BE49-F238E27FC236}">
                    <a16:creationId xmlns:a16="http://schemas.microsoft.com/office/drawing/2014/main" id="{6B5239C2-2BCE-1247-0356-1050E16E234E}"/>
                  </a:ext>
                </a:extLst>
              </p:cNvPr>
              <p:cNvGrpSpPr/>
              <p:nvPr/>
            </p:nvGrpSpPr>
            <p:grpSpPr>
              <a:xfrm>
                <a:off x="11174788" y="5700950"/>
                <a:ext cx="246783" cy="246786"/>
                <a:chOff x="11174788" y="5700950"/>
                <a:chExt cx="246783" cy="246786"/>
              </a:xfrm>
              <a:noFill/>
            </p:grpSpPr>
            <p:sp>
              <p:nvSpPr>
                <p:cNvPr id="2561" name="Forma livre: Forma 2560">
                  <a:extLst>
                    <a:ext uri="{FF2B5EF4-FFF2-40B4-BE49-F238E27FC236}">
                      <a16:creationId xmlns:a16="http://schemas.microsoft.com/office/drawing/2014/main" id="{79735A1B-860D-C53F-B33A-9C50024627D7}"/>
                    </a:ext>
                  </a:extLst>
                </p:cNvPr>
                <p:cNvSpPr/>
                <p:nvPr/>
              </p:nvSpPr>
              <p:spPr>
                <a:xfrm>
                  <a:off x="11174788" y="5700950"/>
                  <a:ext cx="246783" cy="246786"/>
                </a:xfrm>
                <a:custGeom>
                  <a:avLst/>
                  <a:gdLst>
                    <a:gd name="connsiteX0" fmla="*/ 52673 w 246783"/>
                    <a:gd name="connsiteY0" fmla="*/ 48610 h 246786"/>
                    <a:gd name="connsiteX1" fmla="*/ 74524 w 246783"/>
                    <a:gd name="connsiteY1" fmla="*/ 19925 h 246786"/>
                    <a:gd name="connsiteX2" fmla="*/ 68155 w 246783"/>
                    <a:gd name="connsiteY2" fmla="*/ 11087 h 246786"/>
                    <a:gd name="connsiteX3" fmla="*/ 16582 w 246783"/>
                    <a:gd name="connsiteY3" fmla="*/ 16585 h 246786"/>
                    <a:gd name="connsiteX4" fmla="*/ 11083 w 246783"/>
                    <a:gd name="connsiteY4" fmla="*/ 68158 h 246786"/>
                    <a:gd name="connsiteX5" fmla="*/ 36035 w 246783"/>
                    <a:gd name="connsiteY5" fmla="*/ 80372 h 246786"/>
                    <a:gd name="connsiteX6" fmla="*/ 63718 w 246783"/>
                    <a:gd name="connsiteY6" fmla="*/ 108639 h 246786"/>
                    <a:gd name="connsiteX7" fmla="*/ 94848 w 246783"/>
                    <a:gd name="connsiteY7" fmla="*/ 151923 h 246786"/>
                    <a:gd name="connsiteX8" fmla="*/ 138144 w 246783"/>
                    <a:gd name="connsiteY8" fmla="*/ 183065 h 246786"/>
                    <a:gd name="connsiteX9" fmla="*/ 166411 w 246783"/>
                    <a:gd name="connsiteY9" fmla="*/ 210736 h 246786"/>
                    <a:gd name="connsiteX10" fmla="*/ 178625 w 246783"/>
                    <a:gd name="connsiteY10" fmla="*/ 235700 h 246786"/>
                    <a:gd name="connsiteX11" fmla="*/ 230198 w 246783"/>
                    <a:gd name="connsiteY11" fmla="*/ 230201 h 246786"/>
                    <a:gd name="connsiteX12" fmla="*/ 235696 w 246783"/>
                    <a:gd name="connsiteY12" fmla="*/ 178628 h 246786"/>
                    <a:gd name="connsiteX13" fmla="*/ 210745 w 246783"/>
                    <a:gd name="connsiteY13" fmla="*/ 166403 h 246786"/>
                    <a:gd name="connsiteX14" fmla="*/ 183073 w 246783"/>
                    <a:gd name="connsiteY14" fmla="*/ 138135 h 246786"/>
                    <a:gd name="connsiteX15" fmla="*/ 151931 w 246783"/>
                    <a:gd name="connsiteY15" fmla="*/ 94851 h 246786"/>
                    <a:gd name="connsiteX16" fmla="*/ 108648 w 246783"/>
                    <a:gd name="connsiteY16" fmla="*/ 63710 h 246786"/>
                    <a:gd name="connsiteX17" fmla="*/ 84758 w 246783"/>
                    <a:gd name="connsiteY17" fmla="*/ 43195 h 24678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</a:cxnLst>
                  <a:rect l="l" t="t" r="r" b="b"/>
                  <a:pathLst>
                    <a:path w="246783" h="246786">
                      <a:moveTo>
                        <a:pt x="52673" y="48610"/>
                      </a:moveTo>
                      <a:cubicBezTo>
                        <a:pt x="67857" y="33426"/>
                        <a:pt x="74524" y="19925"/>
                        <a:pt x="74524" y="19925"/>
                      </a:cubicBezTo>
                      <a:cubicBezTo>
                        <a:pt x="73391" y="17253"/>
                        <a:pt x="71578" y="14510"/>
                        <a:pt x="68155" y="11087"/>
                      </a:cubicBezTo>
                      <a:cubicBezTo>
                        <a:pt x="48511" y="-8545"/>
                        <a:pt x="32349" y="818"/>
                        <a:pt x="16582" y="16585"/>
                      </a:cubicBezTo>
                      <a:cubicBezTo>
                        <a:pt x="826" y="32353"/>
                        <a:pt x="-8549" y="48526"/>
                        <a:pt x="11083" y="68158"/>
                      </a:cubicBezTo>
                      <a:cubicBezTo>
                        <a:pt x="20244" y="77319"/>
                        <a:pt x="24334" y="74361"/>
                        <a:pt x="36035" y="80372"/>
                      </a:cubicBezTo>
                      <a:cubicBezTo>
                        <a:pt x="47759" y="86395"/>
                        <a:pt x="58744" y="97523"/>
                        <a:pt x="63718" y="108639"/>
                      </a:cubicBezTo>
                      <a:cubicBezTo>
                        <a:pt x="63718" y="108639"/>
                        <a:pt x="73558" y="130633"/>
                        <a:pt x="94848" y="151923"/>
                      </a:cubicBezTo>
                      <a:cubicBezTo>
                        <a:pt x="116138" y="173213"/>
                        <a:pt x="138144" y="183065"/>
                        <a:pt x="138144" y="183065"/>
                      </a:cubicBezTo>
                      <a:cubicBezTo>
                        <a:pt x="149248" y="188039"/>
                        <a:pt x="160400" y="199023"/>
                        <a:pt x="166411" y="210736"/>
                      </a:cubicBezTo>
                      <a:cubicBezTo>
                        <a:pt x="172434" y="222448"/>
                        <a:pt x="169465" y="226528"/>
                        <a:pt x="178625" y="235700"/>
                      </a:cubicBezTo>
                      <a:cubicBezTo>
                        <a:pt x="198257" y="255332"/>
                        <a:pt x="214442" y="245969"/>
                        <a:pt x="230198" y="230201"/>
                      </a:cubicBezTo>
                      <a:cubicBezTo>
                        <a:pt x="245966" y="214445"/>
                        <a:pt x="255328" y="198260"/>
                        <a:pt x="235696" y="178628"/>
                      </a:cubicBezTo>
                      <a:cubicBezTo>
                        <a:pt x="226524" y="169468"/>
                        <a:pt x="222457" y="172438"/>
                        <a:pt x="210745" y="166403"/>
                      </a:cubicBezTo>
                      <a:cubicBezTo>
                        <a:pt x="199044" y="160391"/>
                        <a:pt x="188047" y="149251"/>
                        <a:pt x="183073" y="138135"/>
                      </a:cubicBezTo>
                      <a:cubicBezTo>
                        <a:pt x="183073" y="138135"/>
                        <a:pt x="173210" y="116141"/>
                        <a:pt x="151931" y="94851"/>
                      </a:cubicBezTo>
                      <a:cubicBezTo>
                        <a:pt x="130641" y="73561"/>
                        <a:pt x="108648" y="63710"/>
                        <a:pt x="108648" y="63710"/>
                      </a:cubicBezTo>
                      <a:cubicBezTo>
                        <a:pt x="99846" y="59774"/>
                        <a:pt x="91031" y="52069"/>
                        <a:pt x="84758" y="43195"/>
                      </a:cubicBez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562" name="Forma livre: Forma 2561">
                  <a:extLst>
                    <a:ext uri="{FF2B5EF4-FFF2-40B4-BE49-F238E27FC236}">
                      <a16:creationId xmlns:a16="http://schemas.microsoft.com/office/drawing/2014/main" id="{5D99EECA-074B-010E-8B8E-830B81D45D89}"/>
                    </a:ext>
                  </a:extLst>
                </p:cNvPr>
                <p:cNvSpPr/>
                <p:nvPr/>
              </p:nvSpPr>
              <p:spPr>
                <a:xfrm>
                  <a:off x="11378865" y="5877467"/>
                  <a:ext cx="28672" cy="21922"/>
                </a:xfrm>
                <a:custGeom>
                  <a:avLst/>
                  <a:gdLst>
                    <a:gd name="connsiteX0" fmla="*/ 28673 w 28672"/>
                    <a:gd name="connsiteY0" fmla="*/ 0 h 21922"/>
                    <a:gd name="connsiteX1" fmla="*/ 0 w 28672"/>
                    <a:gd name="connsiteY1" fmla="*/ 21922 h 219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8672" h="21922">
                      <a:moveTo>
                        <a:pt x="28673" y="0"/>
                      </a:moveTo>
                      <a:cubicBezTo>
                        <a:pt x="28673" y="0"/>
                        <a:pt x="15183" y="6751"/>
                        <a:pt x="0" y="21922"/>
                      </a:cubicBez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2563" name="Forma livre: Forma 2562">
                <a:extLst>
                  <a:ext uri="{FF2B5EF4-FFF2-40B4-BE49-F238E27FC236}">
                    <a16:creationId xmlns:a16="http://schemas.microsoft.com/office/drawing/2014/main" id="{6FA573AF-44D5-B5C5-6AD3-BFA21DFBFCC3}"/>
                  </a:ext>
                </a:extLst>
              </p:cNvPr>
              <p:cNvSpPr/>
              <p:nvPr/>
            </p:nvSpPr>
            <p:spPr>
              <a:xfrm>
                <a:off x="11294492" y="5820637"/>
                <a:ext cx="7379" cy="7388"/>
              </a:xfrm>
              <a:custGeom>
                <a:avLst/>
                <a:gdLst>
                  <a:gd name="connsiteX0" fmla="*/ 6298 w 7379"/>
                  <a:gd name="connsiteY0" fmla="*/ 6306 h 7388"/>
                  <a:gd name="connsiteX1" fmla="*/ 1073 w 7379"/>
                  <a:gd name="connsiteY1" fmla="*/ 6306 h 7388"/>
                  <a:gd name="connsiteX2" fmla="*/ 1073 w 7379"/>
                  <a:gd name="connsiteY2" fmla="*/ 1082 h 7388"/>
                  <a:gd name="connsiteX3" fmla="*/ 6298 w 7379"/>
                  <a:gd name="connsiteY3" fmla="*/ 1082 h 7388"/>
                  <a:gd name="connsiteX4" fmla="*/ 6298 w 7379"/>
                  <a:gd name="connsiteY4" fmla="*/ 6306 h 73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379" h="7388">
                    <a:moveTo>
                      <a:pt x="6298" y="6306"/>
                    </a:moveTo>
                    <a:cubicBezTo>
                      <a:pt x="4854" y="7750"/>
                      <a:pt x="2529" y="7750"/>
                      <a:pt x="1073" y="6306"/>
                    </a:cubicBezTo>
                    <a:cubicBezTo>
                      <a:pt x="-358" y="4863"/>
                      <a:pt x="-358" y="2526"/>
                      <a:pt x="1073" y="1082"/>
                    </a:cubicBezTo>
                    <a:cubicBezTo>
                      <a:pt x="2517" y="-361"/>
                      <a:pt x="4842" y="-361"/>
                      <a:pt x="6298" y="1082"/>
                    </a:cubicBezTo>
                    <a:cubicBezTo>
                      <a:pt x="7741" y="2526"/>
                      <a:pt x="7741" y="4851"/>
                      <a:pt x="6298" y="6306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2564" name="Gráfico 18">
            <a:extLst>
              <a:ext uri="{FF2B5EF4-FFF2-40B4-BE49-F238E27FC236}">
                <a16:creationId xmlns:a16="http://schemas.microsoft.com/office/drawing/2014/main" id="{E35FFA3C-BBB2-8C04-5E37-F218D6B959A1}"/>
              </a:ext>
            </a:extLst>
          </p:cNvPr>
          <p:cNvGrpSpPr/>
          <p:nvPr/>
        </p:nvGrpSpPr>
        <p:grpSpPr>
          <a:xfrm>
            <a:off x="11132354" y="4599338"/>
            <a:ext cx="268313" cy="387180"/>
            <a:chOff x="11132354" y="4599338"/>
            <a:chExt cx="268313" cy="387180"/>
          </a:xfrm>
          <a:noFill/>
        </p:grpSpPr>
        <p:grpSp>
          <p:nvGrpSpPr>
            <p:cNvPr id="2565" name="Gráfico 18">
              <a:extLst>
                <a:ext uri="{FF2B5EF4-FFF2-40B4-BE49-F238E27FC236}">
                  <a16:creationId xmlns:a16="http://schemas.microsoft.com/office/drawing/2014/main" id="{DF775A71-34A9-FDEB-D05B-85D517EB992C}"/>
                </a:ext>
              </a:extLst>
            </p:cNvPr>
            <p:cNvGrpSpPr/>
            <p:nvPr/>
          </p:nvGrpSpPr>
          <p:grpSpPr>
            <a:xfrm>
              <a:off x="11204239" y="4599338"/>
              <a:ext cx="128666" cy="238949"/>
              <a:chOff x="11204239" y="4599338"/>
              <a:chExt cx="128666" cy="238949"/>
            </a:xfrm>
            <a:noFill/>
          </p:grpSpPr>
          <p:grpSp>
            <p:nvGrpSpPr>
              <p:cNvPr id="2566" name="Gráfico 18">
                <a:extLst>
                  <a:ext uri="{FF2B5EF4-FFF2-40B4-BE49-F238E27FC236}">
                    <a16:creationId xmlns:a16="http://schemas.microsoft.com/office/drawing/2014/main" id="{4F8032A7-C21A-D098-3EFB-1702C605189D}"/>
                  </a:ext>
                </a:extLst>
              </p:cNvPr>
              <p:cNvGrpSpPr/>
              <p:nvPr/>
            </p:nvGrpSpPr>
            <p:grpSpPr>
              <a:xfrm>
                <a:off x="11259216" y="4708663"/>
                <a:ext cx="73689" cy="129624"/>
                <a:chOff x="11259216" y="4708663"/>
                <a:chExt cx="73689" cy="129624"/>
              </a:xfrm>
              <a:noFill/>
            </p:grpSpPr>
            <p:sp>
              <p:nvSpPr>
                <p:cNvPr id="2567" name="Forma livre: Forma 2566">
                  <a:extLst>
                    <a:ext uri="{FF2B5EF4-FFF2-40B4-BE49-F238E27FC236}">
                      <a16:creationId xmlns:a16="http://schemas.microsoft.com/office/drawing/2014/main" id="{6EBF5C32-A0A2-32A3-D568-A19C815A6147}"/>
                    </a:ext>
                  </a:extLst>
                </p:cNvPr>
                <p:cNvSpPr/>
                <p:nvPr/>
              </p:nvSpPr>
              <p:spPr>
                <a:xfrm>
                  <a:off x="11285749" y="4744587"/>
                  <a:ext cx="44667" cy="1192"/>
                </a:xfrm>
                <a:custGeom>
                  <a:avLst/>
                  <a:gdLst>
                    <a:gd name="connsiteX0" fmla="*/ 0 w 44667"/>
                    <a:gd name="connsiteY0" fmla="*/ 0 h 1192"/>
                    <a:gd name="connsiteX1" fmla="*/ 44667 w 44667"/>
                    <a:gd name="connsiteY1" fmla="*/ 0 h 11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4667" h="1192">
                      <a:moveTo>
                        <a:pt x="0" y="0"/>
                      </a:moveTo>
                      <a:lnTo>
                        <a:pt x="44667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568" name="Forma livre: Forma 2567">
                  <a:extLst>
                    <a:ext uri="{FF2B5EF4-FFF2-40B4-BE49-F238E27FC236}">
                      <a16:creationId xmlns:a16="http://schemas.microsoft.com/office/drawing/2014/main" id="{9A88DF9F-374D-A2BA-7117-5E5E5C41E686}"/>
                    </a:ext>
                  </a:extLst>
                </p:cNvPr>
                <p:cNvSpPr/>
                <p:nvPr/>
              </p:nvSpPr>
              <p:spPr>
                <a:xfrm>
                  <a:off x="11259216" y="4708663"/>
                  <a:ext cx="73689" cy="81892"/>
                </a:xfrm>
                <a:custGeom>
                  <a:avLst/>
                  <a:gdLst>
                    <a:gd name="connsiteX0" fmla="*/ 73562 w 73689"/>
                    <a:gd name="connsiteY0" fmla="*/ 43534 h 81892"/>
                    <a:gd name="connsiteX1" fmla="*/ 69149 w 73689"/>
                    <a:gd name="connsiteY1" fmla="*/ 0 h 81892"/>
                    <a:gd name="connsiteX2" fmla="*/ 4564 w 73689"/>
                    <a:gd name="connsiteY2" fmla="*/ 0 h 81892"/>
                    <a:gd name="connsiteX3" fmla="*/ 139 w 73689"/>
                    <a:gd name="connsiteY3" fmla="*/ 43534 h 81892"/>
                    <a:gd name="connsiteX4" fmla="*/ 36851 w 73689"/>
                    <a:gd name="connsiteY4" fmla="*/ 81892 h 81892"/>
                    <a:gd name="connsiteX5" fmla="*/ 73551 w 73689"/>
                    <a:gd name="connsiteY5" fmla="*/ 43534 h 818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73689" h="81892">
                      <a:moveTo>
                        <a:pt x="73562" y="43534"/>
                      </a:moveTo>
                      <a:lnTo>
                        <a:pt x="69149" y="0"/>
                      </a:lnTo>
                      <a:lnTo>
                        <a:pt x="4564" y="0"/>
                      </a:lnTo>
                      <a:lnTo>
                        <a:pt x="139" y="43534"/>
                      </a:lnTo>
                      <a:cubicBezTo>
                        <a:pt x="-1782" y="65110"/>
                        <a:pt x="16539" y="81892"/>
                        <a:pt x="36851" y="81892"/>
                      </a:cubicBezTo>
                      <a:cubicBezTo>
                        <a:pt x="57163" y="81892"/>
                        <a:pt x="75471" y="65099"/>
                        <a:pt x="73551" y="43534"/>
                      </a:cubicBezTo>
                      <a:close/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569" name="Forma livre: Forma 2568">
                  <a:extLst>
                    <a:ext uri="{FF2B5EF4-FFF2-40B4-BE49-F238E27FC236}">
                      <a16:creationId xmlns:a16="http://schemas.microsoft.com/office/drawing/2014/main" id="{00F17ACD-CE1E-4374-213D-B07CEAB924FF}"/>
                    </a:ext>
                  </a:extLst>
                </p:cNvPr>
                <p:cNvSpPr/>
                <p:nvPr/>
              </p:nvSpPr>
              <p:spPr>
                <a:xfrm>
                  <a:off x="11296078" y="4791676"/>
                  <a:ext cx="1192" cy="46611"/>
                </a:xfrm>
                <a:custGeom>
                  <a:avLst/>
                  <a:gdLst>
                    <a:gd name="connsiteX0" fmla="*/ 0 w 1192"/>
                    <a:gd name="connsiteY0" fmla="*/ 0 h 46611"/>
                    <a:gd name="connsiteX1" fmla="*/ 0 w 1192"/>
                    <a:gd name="connsiteY1" fmla="*/ 46612 h 4661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192" h="46611">
                      <a:moveTo>
                        <a:pt x="0" y="0"/>
                      </a:moveTo>
                      <a:lnTo>
                        <a:pt x="0" y="46612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2570" name="Forma livre: Forma 2569">
                <a:extLst>
                  <a:ext uri="{FF2B5EF4-FFF2-40B4-BE49-F238E27FC236}">
                    <a16:creationId xmlns:a16="http://schemas.microsoft.com/office/drawing/2014/main" id="{0518C432-1AD3-CCD4-A26C-84B837BC9292}"/>
                  </a:ext>
                </a:extLst>
              </p:cNvPr>
              <p:cNvSpPr/>
              <p:nvPr/>
            </p:nvSpPr>
            <p:spPr>
              <a:xfrm>
                <a:off x="11204239" y="4599338"/>
                <a:ext cx="74103" cy="218792"/>
              </a:xfrm>
              <a:custGeom>
                <a:avLst/>
                <a:gdLst>
                  <a:gd name="connsiteX0" fmla="*/ 0 w 74103"/>
                  <a:gd name="connsiteY0" fmla="*/ 218792 h 218792"/>
                  <a:gd name="connsiteX1" fmla="*/ 0 w 74103"/>
                  <a:gd name="connsiteY1" fmla="*/ 104935 h 218792"/>
                  <a:gd name="connsiteX2" fmla="*/ 23258 w 74103"/>
                  <a:gd name="connsiteY2" fmla="*/ 68164 h 218792"/>
                  <a:gd name="connsiteX3" fmla="*/ 23258 w 74103"/>
                  <a:gd name="connsiteY3" fmla="*/ 7753 h 218792"/>
                  <a:gd name="connsiteX4" fmla="*/ 31011 w 74103"/>
                  <a:gd name="connsiteY4" fmla="*/ 0 h 218792"/>
                  <a:gd name="connsiteX5" fmla="*/ 47554 w 74103"/>
                  <a:gd name="connsiteY5" fmla="*/ 0 h 218792"/>
                  <a:gd name="connsiteX6" fmla="*/ 55306 w 74103"/>
                  <a:gd name="connsiteY6" fmla="*/ 7753 h 218792"/>
                  <a:gd name="connsiteX7" fmla="*/ 55306 w 74103"/>
                  <a:gd name="connsiteY7" fmla="*/ 68164 h 218792"/>
                  <a:gd name="connsiteX8" fmla="*/ 74104 w 74103"/>
                  <a:gd name="connsiteY8" fmla="*/ 86353 h 2187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74103" h="218792">
                    <a:moveTo>
                      <a:pt x="0" y="218792"/>
                    </a:moveTo>
                    <a:lnTo>
                      <a:pt x="0" y="104935"/>
                    </a:lnTo>
                    <a:cubicBezTo>
                      <a:pt x="0" y="88607"/>
                      <a:pt x="9590" y="74497"/>
                      <a:pt x="23258" y="68164"/>
                    </a:cubicBezTo>
                    <a:lnTo>
                      <a:pt x="23258" y="7753"/>
                    </a:lnTo>
                    <a:cubicBezTo>
                      <a:pt x="23258" y="3471"/>
                      <a:pt x="26741" y="0"/>
                      <a:pt x="31011" y="0"/>
                    </a:cubicBezTo>
                    <a:lnTo>
                      <a:pt x="47554" y="0"/>
                    </a:lnTo>
                    <a:cubicBezTo>
                      <a:pt x="51824" y="0"/>
                      <a:pt x="55306" y="3471"/>
                      <a:pt x="55306" y="7753"/>
                    </a:cubicBezTo>
                    <a:lnTo>
                      <a:pt x="55306" y="68164"/>
                    </a:lnTo>
                    <a:cubicBezTo>
                      <a:pt x="63369" y="71909"/>
                      <a:pt x="70013" y="78350"/>
                      <a:pt x="74104" y="86353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2571" name="Gráfico 18">
              <a:extLst>
                <a:ext uri="{FF2B5EF4-FFF2-40B4-BE49-F238E27FC236}">
                  <a16:creationId xmlns:a16="http://schemas.microsoft.com/office/drawing/2014/main" id="{6902CF3C-F5C1-A83F-6376-9CB6932CE36A}"/>
                </a:ext>
              </a:extLst>
            </p:cNvPr>
            <p:cNvGrpSpPr/>
            <p:nvPr/>
          </p:nvGrpSpPr>
          <p:grpSpPr>
            <a:xfrm>
              <a:off x="11132354" y="4829545"/>
              <a:ext cx="268313" cy="156973"/>
              <a:chOff x="11132354" y="4829545"/>
              <a:chExt cx="268313" cy="156973"/>
            </a:xfrm>
            <a:noFill/>
          </p:grpSpPr>
          <p:sp>
            <p:nvSpPr>
              <p:cNvPr id="2572" name="Forma livre: Forma 2571">
                <a:extLst>
                  <a:ext uri="{FF2B5EF4-FFF2-40B4-BE49-F238E27FC236}">
                    <a16:creationId xmlns:a16="http://schemas.microsoft.com/office/drawing/2014/main" id="{5B047CA2-E343-010A-D7C0-1E67AE52B595}"/>
                  </a:ext>
                </a:extLst>
              </p:cNvPr>
              <p:cNvSpPr/>
              <p:nvPr/>
            </p:nvSpPr>
            <p:spPr>
              <a:xfrm>
                <a:off x="11335884" y="4841376"/>
                <a:ext cx="11242" cy="66362"/>
              </a:xfrm>
              <a:custGeom>
                <a:avLst/>
                <a:gdLst>
                  <a:gd name="connsiteX0" fmla="*/ 11243 w 11242"/>
                  <a:gd name="connsiteY0" fmla="*/ 66363 h 66362"/>
                  <a:gd name="connsiteX1" fmla="*/ 318 w 11242"/>
                  <a:gd name="connsiteY1" fmla="*/ 36116 h 66362"/>
                  <a:gd name="connsiteX2" fmla="*/ 5721 w 11242"/>
                  <a:gd name="connsiteY2" fmla="*/ 0 h 663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1242" h="66362">
                    <a:moveTo>
                      <a:pt x="11243" y="66363"/>
                    </a:moveTo>
                    <a:cubicBezTo>
                      <a:pt x="-2915" y="52647"/>
                      <a:pt x="318" y="36116"/>
                      <a:pt x="318" y="36116"/>
                    </a:cubicBezTo>
                    <a:lnTo>
                      <a:pt x="5721" y="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573" name="Forma livre: Forma 2572">
                <a:extLst>
                  <a:ext uri="{FF2B5EF4-FFF2-40B4-BE49-F238E27FC236}">
                    <a16:creationId xmlns:a16="http://schemas.microsoft.com/office/drawing/2014/main" id="{58C89B3B-D6A1-9D67-5406-9CE541462359}"/>
                  </a:ext>
                </a:extLst>
              </p:cNvPr>
              <p:cNvSpPr/>
              <p:nvPr/>
            </p:nvSpPr>
            <p:spPr>
              <a:xfrm>
                <a:off x="11132354" y="4829545"/>
                <a:ext cx="268313" cy="9827"/>
              </a:xfrm>
              <a:custGeom>
                <a:avLst/>
                <a:gdLst>
                  <a:gd name="connsiteX0" fmla="*/ 268314 w 268313"/>
                  <a:gd name="connsiteY0" fmla="*/ 0 h 9827"/>
                  <a:gd name="connsiteX1" fmla="*/ 252761 w 268313"/>
                  <a:gd name="connsiteY1" fmla="*/ 9828 h 9827"/>
                  <a:gd name="connsiteX2" fmla="*/ 15553 w 268313"/>
                  <a:gd name="connsiteY2" fmla="*/ 9828 h 9827"/>
                  <a:gd name="connsiteX3" fmla="*/ 0 w 268313"/>
                  <a:gd name="connsiteY3" fmla="*/ 0 h 98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68313" h="9827">
                    <a:moveTo>
                      <a:pt x="268314" y="0"/>
                    </a:moveTo>
                    <a:lnTo>
                      <a:pt x="252761" y="9828"/>
                    </a:lnTo>
                    <a:lnTo>
                      <a:pt x="15553" y="9828"/>
                    </a:lnTo>
                    <a:lnTo>
                      <a:pt x="0" y="0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574" name="Forma livre: Forma 2573">
                <a:extLst>
                  <a:ext uri="{FF2B5EF4-FFF2-40B4-BE49-F238E27FC236}">
                    <a16:creationId xmlns:a16="http://schemas.microsoft.com/office/drawing/2014/main" id="{2733BF62-4C9C-3C97-FB8E-A49F9CAF5305}"/>
                  </a:ext>
                </a:extLst>
              </p:cNvPr>
              <p:cNvSpPr/>
              <p:nvPr/>
            </p:nvSpPr>
            <p:spPr>
              <a:xfrm>
                <a:off x="11186658" y="4839516"/>
                <a:ext cx="142374" cy="115944"/>
              </a:xfrm>
              <a:custGeom>
                <a:avLst/>
                <a:gdLst>
                  <a:gd name="connsiteX0" fmla="*/ 0 w 142374"/>
                  <a:gd name="connsiteY0" fmla="*/ 0 h 115944"/>
                  <a:gd name="connsiteX1" fmla="*/ 61497 w 142374"/>
                  <a:gd name="connsiteY1" fmla="*/ 68164 h 115944"/>
                  <a:gd name="connsiteX2" fmla="*/ 142375 w 142374"/>
                  <a:gd name="connsiteY2" fmla="*/ 115944 h 1159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42374" h="115944">
                    <a:moveTo>
                      <a:pt x="0" y="0"/>
                    </a:moveTo>
                    <a:lnTo>
                      <a:pt x="61497" y="68164"/>
                    </a:lnTo>
                    <a:lnTo>
                      <a:pt x="142375" y="115944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575" name="Forma livre: Forma 2574">
                <a:extLst>
                  <a:ext uri="{FF2B5EF4-FFF2-40B4-BE49-F238E27FC236}">
                    <a16:creationId xmlns:a16="http://schemas.microsoft.com/office/drawing/2014/main" id="{8EABF33E-E64C-5A32-1F2D-023D91A680D2}"/>
                  </a:ext>
                </a:extLst>
              </p:cNvPr>
              <p:cNvSpPr/>
              <p:nvPr/>
            </p:nvSpPr>
            <p:spPr>
              <a:xfrm>
                <a:off x="11216106" y="4839993"/>
                <a:ext cx="101858" cy="38621"/>
              </a:xfrm>
              <a:custGeom>
                <a:avLst/>
                <a:gdLst>
                  <a:gd name="connsiteX0" fmla="*/ 0 w 101858"/>
                  <a:gd name="connsiteY0" fmla="*/ 0 h 38621"/>
                  <a:gd name="connsiteX1" fmla="*/ 49307 w 101858"/>
                  <a:gd name="connsiteY1" fmla="*/ 35483 h 38621"/>
                  <a:gd name="connsiteX2" fmla="*/ 91255 w 101858"/>
                  <a:gd name="connsiteY2" fmla="*/ 30939 h 38621"/>
                  <a:gd name="connsiteX3" fmla="*/ 101858 w 101858"/>
                  <a:gd name="connsiteY3" fmla="*/ 501 h 386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01858" h="38621">
                    <a:moveTo>
                      <a:pt x="0" y="0"/>
                    </a:moveTo>
                    <a:lnTo>
                      <a:pt x="49307" y="35483"/>
                    </a:lnTo>
                    <a:cubicBezTo>
                      <a:pt x="49307" y="35483"/>
                      <a:pt x="68450" y="44977"/>
                      <a:pt x="91255" y="30939"/>
                    </a:cubicBezTo>
                    <a:lnTo>
                      <a:pt x="101858" y="501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576" name="Forma livre: Forma 2575">
                <a:extLst>
                  <a:ext uri="{FF2B5EF4-FFF2-40B4-BE49-F238E27FC236}">
                    <a16:creationId xmlns:a16="http://schemas.microsoft.com/office/drawing/2014/main" id="{3950AFF6-08B7-4FE4-C077-33F4D260433D}"/>
                  </a:ext>
                </a:extLst>
              </p:cNvPr>
              <p:cNvSpPr/>
              <p:nvPr/>
            </p:nvSpPr>
            <p:spPr>
              <a:xfrm>
                <a:off x="11343894" y="4907584"/>
                <a:ext cx="51871" cy="78934"/>
              </a:xfrm>
              <a:custGeom>
                <a:avLst/>
                <a:gdLst>
                  <a:gd name="connsiteX0" fmla="*/ 24952 w 51871"/>
                  <a:gd name="connsiteY0" fmla="*/ 78934 h 78934"/>
                  <a:gd name="connsiteX1" fmla="*/ 0 w 51871"/>
                  <a:gd name="connsiteY1" fmla="*/ 69237 h 78934"/>
                  <a:gd name="connsiteX2" fmla="*/ 26932 w 51871"/>
                  <a:gd name="connsiteY2" fmla="*/ 0 h 78934"/>
                  <a:gd name="connsiteX3" fmla="*/ 51871 w 51871"/>
                  <a:gd name="connsiteY3" fmla="*/ 9697 h 789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1871" h="78934">
                    <a:moveTo>
                      <a:pt x="24952" y="78934"/>
                    </a:moveTo>
                    <a:lnTo>
                      <a:pt x="0" y="69237"/>
                    </a:lnTo>
                    <a:lnTo>
                      <a:pt x="26932" y="0"/>
                    </a:lnTo>
                    <a:lnTo>
                      <a:pt x="51871" y="9697"/>
                    </a:lnTo>
                  </a:path>
                </a:pathLst>
              </a:custGeom>
              <a:noFill/>
              <a:ln w="6350" cap="sq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2577" name="Gráfico 18">
            <a:extLst>
              <a:ext uri="{FF2B5EF4-FFF2-40B4-BE49-F238E27FC236}">
                <a16:creationId xmlns:a16="http://schemas.microsoft.com/office/drawing/2014/main" id="{0846DB7F-DE11-9F3F-2847-DC582EFE0DB9}"/>
              </a:ext>
            </a:extLst>
          </p:cNvPr>
          <p:cNvGrpSpPr/>
          <p:nvPr/>
        </p:nvGrpSpPr>
        <p:grpSpPr>
          <a:xfrm>
            <a:off x="9872521" y="4111194"/>
            <a:ext cx="292084" cy="300064"/>
            <a:chOff x="9872521" y="4111194"/>
            <a:chExt cx="292084" cy="300064"/>
          </a:xfrm>
        </p:grpSpPr>
        <p:grpSp>
          <p:nvGrpSpPr>
            <p:cNvPr id="2578" name="Gráfico 18">
              <a:extLst>
                <a:ext uri="{FF2B5EF4-FFF2-40B4-BE49-F238E27FC236}">
                  <a16:creationId xmlns:a16="http://schemas.microsoft.com/office/drawing/2014/main" id="{9A4DF69C-0E58-5182-C6D0-ED39244BDFA8}"/>
                </a:ext>
              </a:extLst>
            </p:cNvPr>
            <p:cNvGrpSpPr/>
            <p:nvPr/>
          </p:nvGrpSpPr>
          <p:grpSpPr>
            <a:xfrm>
              <a:off x="9872521" y="4268573"/>
              <a:ext cx="292084" cy="142684"/>
              <a:chOff x="9872521" y="4268573"/>
              <a:chExt cx="292084" cy="142684"/>
            </a:xfrm>
            <a:noFill/>
          </p:grpSpPr>
          <p:sp>
            <p:nvSpPr>
              <p:cNvPr id="2579" name="Forma livre: Forma 2578">
                <a:extLst>
                  <a:ext uri="{FF2B5EF4-FFF2-40B4-BE49-F238E27FC236}">
                    <a16:creationId xmlns:a16="http://schemas.microsoft.com/office/drawing/2014/main" id="{5A176D6F-E4C5-48C0-B329-EE54F578BF90}"/>
                  </a:ext>
                </a:extLst>
              </p:cNvPr>
              <p:cNvSpPr/>
              <p:nvPr/>
            </p:nvSpPr>
            <p:spPr>
              <a:xfrm>
                <a:off x="9872521" y="4268573"/>
                <a:ext cx="292084" cy="63798"/>
              </a:xfrm>
              <a:custGeom>
                <a:avLst/>
                <a:gdLst>
                  <a:gd name="connsiteX0" fmla="*/ 0 w 292084"/>
                  <a:gd name="connsiteY0" fmla="*/ 63799 h 63798"/>
                  <a:gd name="connsiteX1" fmla="*/ 0 w 292084"/>
                  <a:gd name="connsiteY1" fmla="*/ 0 h 63798"/>
                  <a:gd name="connsiteX2" fmla="*/ 292085 w 292084"/>
                  <a:gd name="connsiteY2" fmla="*/ 0 h 63798"/>
                  <a:gd name="connsiteX3" fmla="*/ 292085 w 292084"/>
                  <a:gd name="connsiteY3" fmla="*/ 63799 h 637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92084" h="63798">
                    <a:moveTo>
                      <a:pt x="0" y="63799"/>
                    </a:moveTo>
                    <a:lnTo>
                      <a:pt x="0" y="0"/>
                    </a:lnTo>
                    <a:lnTo>
                      <a:pt x="292085" y="0"/>
                    </a:lnTo>
                    <a:lnTo>
                      <a:pt x="292085" y="63799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580" name="Forma livre: Forma 2579">
                <a:extLst>
                  <a:ext uri="{FF2B5EF4-FFF2-40B4-BE49-F238E27FC236}">
                    <a16:creationId xmlns:a16="http://schemas.microsoft.com/office/drawing/2014/main" id="{4A0418E7-318B-F274-14D4-A7B508CCD434}"/>
                  </a:ext>
                </a:extLst>
              </p:cNvPr>
              <p:cNvSpPr/>
              <p:nvPr/>
            </p:nvSpPr>
            <p:spPr>
              <a:xfrm>
                <a:off x="9872521" y="4348712"/>
                <a:ext cx="292084" cy="62546"/>
              </a:xfrm>
              <a:custGeom>
                <a:avLst/>
                <a:gdLst>
                  <a:gd name="connsiteX0" fmla="*/ 292085 w 292084"/>
                  <a:gd name="connsiteY0" fmla="*/ 0 h 62546"/>
                  <a:gd name="connsiteX1" fmla="*/ 292085 w 292084"/>
                  <a:gd name="connsiteY1" fmla="*/ 62546 h 62546"/>
                  <a:gd name="connsiteX2" fmla="*/ 0 w 292084"/>
                  <a:gd name="connsiteY2" fmla="*/ 62546 h 62546"/>
                  <a:gd name="connsiteX3" fmla="*/ 0 w 292084"/>
                  <a:gd name="connsiteY3" fmla="*/ 0 h 625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92084" h="62546">
                    <a:moveTo>
                      <a:pt x="292085" y="0"/>
                    </a:moveTo>
                    <a:lnTo>
                      <a:pt x="292085" y="62546"/>
                    </a:lnTo>
                    <a:lnTo>
                      <a:pt x="0" y="62546"/>
                    </a:lnTo>
                    <a:lnTo>
                      <a:pt x="0" y="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2581" name="Forma livre: Forma 2580">
              <a:extLst>
                <a:ext uri="{FF2B5EF4-FFF2-40B4-BE49-F238E27FC236}">
                  <a16:creationId xmlns:a16="http://schemas.microsoft.com/office/drawing/2014/main" id="{A67A33EF-CD58-C1A9-CEBD-D957AE54CBFB}"/>
                </a:ext>
              </a:extLst>
            </p:cNvPr>
            <p:cNvSpPr/>
            <p:nvPr/>
          </p:nvSpPr>
          <p:spPr>
            <a:xfrm>
              <a:off x="9896971" y="4339910"/>
              <a:ext cx="243183" cy="1192"/>
            </a:xfrm>
            <a:custGeom>
              <a:avLst/>
              <a:gdLst>
                <a:gd name="connsiteX0" fmla="*/ 0 w 243183"/>
                <a:gd name="connsiteY0" fmla="*/ 0 h 1192"/>
                <a:gd name="connsiteX1" fmla="*/ 243183 w 243183"/>
                <a:gd name="connsiteY1" fmla="*/ 0 h 11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43183" h="1192">
                  <a:moveTo>
                    <a:pt x="0" y="0"/>
                  </a:moveTo>
                  <a:lnTo>
                    <a:pt x="243183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2582" name="Gráfico 18">
              <a:extLst>
                <a:ext uri="{FF2B5EF4-FFF2-40B4-BE49-F238E27FC236}">
                  <a16:creationId xmlns:a16="http://schemas.microsoft.com/office/drawing/2014/main" id="{08822E21-5006-877F-17A6-77AB8630C188}"/>
                </a:ext>
              </a:extLst>
            </p:cNvPr>
            <p:cNvGrpSpPr/>
            <p:nvPr/>
          </p:nvGrpSpPr>
          <p:grpSpPr>
            <a:xfrm>
              <a:off x="9908839" y="4301218"/>
              <a:ext cx="219424" cy="77383"/>
              <a:chOff x="9908839" y="4301218"/>
              <a:chExt cx="219424" cy="77383"/>
            </a:xfrm>
            <a:solidFill>
              <a:srgbClr val="394553"/>
            </a:solidFill>
          </p:grpSpPr>
          <p:grpSp>
            <p:nvGrpSpPr>
              <p:cNvPr id="2583" name="Gráfico 18">
                <a:extLst>
                  <a:ext uri="{FF2B5EF4-FFF2-40B4-BE49-F238E27FC236}">
                    <a16:creationId xmlns:a16="http://schemas.microsoft.com/office/drawing/2014/main" id="{1C130799-7747-81F9-DE51-1798D03105CA}"/>
                  </a:ext>
                </a:extLst>
              </p:cNvPr>
              <p:cNvGrpSpPr/>
              <p:nvPr/>
            </p:nvGrpSpPr>
            <p:grpSpPr>
              <a:xfrm>
                <a:off x="9908839" y="4301218"/>
                <a:ext cx="219424" cy="7394"/>
                <a:chOff x="9908839" y="4301218"/>
                <a:chExt cx="219424" cy="7394"/>
              </a:xfrm>
              <a:solidFill>
                <a:srgbClr val="394553"/>
              </a:solidFill>
            </p:grpSpPr>
            <p:sp>
              <p:nvSpPr>
                <p:cNvPr id="2584" name="Forma livre: Forma 2583">
                  <a:extLst>
                    <a:ext uri="{FF2B5EF4-FFF2-40B4-BE49-F238E27FC236}">
                      <a16:creationId xmlns:a16="http://schemas.microsoft.com/office/drawing/2014/main" id="{47175351-B176-3A13-68B6-BC807239B93A}"/>
                    </a:ext>
                  </a:extLst>
                </p:cNvPr>
                <p:cNvSpPr/>
                <p:nvPr/>
              </p:nvSpPr>
              <p:spPr>
                <a:xfrm>
                  <a:off x="9908839" y="4301218"/>
                  <a:ext cx="7394" cy="7394"/>
                </a:xfrm>
                <a:custGeom>
                  <a:avLst/>
                  <a:gdLst>
                    <a:gd name="connsiteX0" fmla="*/ 7395 w 7394"/>
                    <a:gd name="connsiteY0" fmla="*/ 3709 h 7394"/>
                    <a:gd name="connsiteX1" fmla="*/ 3697 w 7394"/>
                    <a:gd name="connsiteY1" fmla="*/ 7395 h 7394"/>
                    <a:gd name="connsiteX2" fmla="*/ 0 w 7394"/>
                    <a:gd name="connsiteY2" fmla="*/ 3709 h 7394"/>
                    <a:gd name="connsiteX3" fmla="*/ 3697 w 7394"/>
                    <a:gd name="connsiteY3" fmla="*/ 0 h 7394"/>
                    <a:gd name="connsiteX4" fmla="*/ 7395 w 7394"/>
                    <a:gd name="connsiteY4" fmla="*/ 3709 h 739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7394" h="7394">
                      <a:moveTo>
                        <a:pt x="7395" y="3709"/>
                      </a:moveTo>
                      <a:cubicBezTo>
                        <a:pt x="7395" y="5749"/>
                        <a:pt x="5749" y="7395"/>
                        <a:pt x="3697" y="7395"/>
                      </a:cubicBezTo>
                      <a:cubicBezTo>
                        <a:pt x="1646" y="7395"/>
                        <a:pt x="0" y="5749"/>
                        <a:pt x="0" y="3709"/>
                      </a:cubicBezTo>
                      <a:cubicBezTo>
                        <a:pt x="0" y="1670"/>
                        <a:pt x="1658" y="0"/>
                        <a:pt x="3697" y="0"/>
                      </a:cubicBezTo>
                      <a:cubicBezTo>
                        <a:pt x="5737" y="0"/>
                        <a:pt x="7395" y="1646"/>
                        <a:pt x="7395" y="3709"/>
                      </a:cubicBezTo>
                      <a:close/>
                    </a:path>
                  </a:pathLst>
                </a:custGeom>
                <a:solidFill>
                  <a:srgbClr val="394553"/>
                </a:solidFill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585" name="Forma livre: Forma 2584">
                  <a:extLst>
                    <a:ext uri="{FF2B5EF4-FFF2-40B4-BE49-F238E27FC236}">
                      <a16:creationId xmlns:a16="http://schemas.microsoft.com/office/drawing/2014/main" id="{6642F94E-9DDC-7959-9EF4-554DDCEFC59A}"/>
                    </a:ext>
                  </a:extLst>
                </p:cNvPr>
                <p:cNvSpPr/>
                <p:nvPr/>
              </p:nvSpPr>
              <p:spPr>
                <a:xfrm>
                  <a:off x="10120881" y="4301218"/>
                  <a:ext cx="7382" cy="7394"/>
                </a:xfrm>
                <a:custGeom>
                  <a:avLst/>
                  <a:gdLst>
                    <a:gd name="connsiteX0" fmla="*/ 7383 w 7382"/>
                    <a:gd name="connsiteY0" fmla="*/ 3709 h 7394"/>
                    <a:gd name="connsiteX1" fmla="*/ 3697 w 7382"/>
                    <a:gd name="connsiteY1" fmla="*/ 7395 h 7394"/>
                    <a:gd name="connsiteX2" fmla="*/ 0 w 7382"/>
                    <a:gd name="connsiteY2" fmla="*/ 3709 h 7394"/>
                    <a:gd name="connsiteX3" fmla="*/ 3697 w 7382"/>
                    <a:gd name="connsiteY3" fmla="*/ 0 h 7394"/>
                    <a:gd name="connsiteX4" fmla="*/ 7383 w 7382"/>
                    <a:gd name="connsiteY4" fmla="*/ 3709 h 739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7382" h="7394">
                      <a:moveTo>
                        <a:pt x="7383" y="3709"/>
                      </a:moveTo>
                      <a:cubicBezTo>
                        <a:pt x="7383" y="5749"/>
                        <a:pt x="5737" y="7395"/>
                        <a:pt x="3697" y="7395"/>
                      </a:cubicBezTo>
                      <a:cubicBezTo>
                        <a:pt x="1658" y="7395"/>
                        <a:pt x="0" y="5749"/>
                        <a:pt x="0" y="3709"/>
                      </a:cubicBezTo>
                      <a:cubicBezTo>
                        <a:pt x="0" y="1670"/>
                        <a:pt x="1658" y="0"/>
                        <a:pt x="3697" y="0"/>
                      </a:cubicBezTo>
                      <a:cubicBezTo>
                        <a:pt x="5737" y="0"/>
                        <a:pt x="7383" y="1646"/>
                        <a:pt x="7383" y="3709"/>
                      </a:cubicBezTo>
                      <a:close/>
                    </a:path>
                  </a:pathLst>
                </a:custGeom>
                <a:solidFill>
                  <a:srgbClr val="394553"/>
                </a:solidFill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2586" name="Gráfico 18">
                <a:extLst>
                  <a:ext uri="{FF2B5EF4-FFF2-40B4-BE49-F238E27FC236}">
                    <a16:creationId xmlns:a16="http://schemas.microsoft.com/office/drawing/2014/main" id="{0826E7C2-4775-E3F8-6CCF-2BD4B3C82E2B}"/>
                  </a:ext>
                </a:extLst>
              </p:cNvPr>
              <p:cNvGrpSpPr/>
              <p:nvPr/>
            </p:nvGrpSpPr>
            <p:grpSpPr>
              <a:xfrm>
                <a:off x="9908839" y="4371219"/>
                <a:ext cx="219424" cy="7382"/>
                <a:chOff x="9908839" y="4371219"/>
                <a:chExt cx="219424" cy="7382"/>
              </a:xfrm>
              <a:solidFill>
                <a:srgbClr val="394553"/>
              </a:solidFill>
            </p:grpSpPr>
            <p:sp>
              <p:nvSpPr>
                <p:cNvPr id="2587" name="Forma livre: Forma 2586">
                  <a:extLst>
                    <a:ext uri="{FF2B5EF4-FFF2-40B4-BE49-F238E27FC236}">
                      <a16:creationId xmlns:a16="http://schemas.microsoft.com/office/drawing/2014/main" id="{03A2D2A7-D748-8BD1-5A91-FB791161A836}"/>
                    </a:ext>
                  </a:extLst>
                </p:cNvPr>
                <p:cNvSpPr/>
                <p:nvPr/>
              </p:nvSpPr>
              <p:spPr>
                <a:xfrm>
                  <a:off x="9908839" y="4371219"/>
                  <a:ext cx="7394" cy="7382"/>
                </a:xfrm>
                <a:custGeom>
                  <a:avLst/>
                  <a:gdLst>
                    <a:gd name="connsiteX0" fmla="*/ 7395 w 7394"/>
                    <a:gd name="connsiteY0" fmla="*/ 3697 h 7382"/>
                    <a:gd name="connsiteX1" fmla="*/ 3697 w 7394"/>
                    <a:gd name="connsiteY1" fmla="*/ 7383 h 7382"/>
                    <a:gd name="connsiteX2" fmla="*/ 0 w 7394"/>
                    <a:gd name="connsiteY2" fmla="*/ 3697 h 7382"/>
                    <a:gd name="connsiteX3" fmla="*/ 3697 w 7394"/>
                    <a:gd name="connsiteY3" fmla="*/ 0 h 7382"/>
                    <a:gd name="connsiteX4" fmla="*/ 7395 w 7394"/>
                    <a:gd name="connsiteY4" fmla="*/ 3697 h 738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7394" h="7382">
                      <a:moveTo>
                        <a:pt x="7395" y="3697"/>
                      </a:moveTo>
                      <a:cubicBezTo>
                        <a:pt x="7395" y="5737"/>
                        <a:pt x="5749" y="7383"/>
                        <a:pt x="3697" y="7383"/>
                      </a:cubicBezTo>
                      <a:cubicBezTo>
                        <a:pt x="1646" y="7383"/>
                        <a:pt x="0" y="5737"/>
                        <a:pt x="0" y="3697"/>
                      </a:cubicBezTo>
                      <a:cubicBezTo>
                        <a:pt x="0" y="1658"/>
                        <a:pt x="1658" y="0"/>
                        <a:pt x="3697" y="0"/>
                      </a:cubicBezTo>
                      <a:cubicBezTo>
                        <a:pt x="5737" y="0"/>
                        <a:pt x="7395" y="1646"/>
                        <a:pt x="7395" y="3697"/>
                      </a:cubicBezTo>
                      <a:close/>
                    </a:path>
                  </a:pathLst>
                </a:custGeom>
                <a:solidFill>
                  <a:srgbClr val="394553"/>
                </a:solidFill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588" name="Forma livre: Forma 2587">
                  <a:extLst>
                    <a:ext uri="{FF2B5EF4-FFF2-40B4-BE49-F238E27FC236}">
                      <a16:creationId xmlns:a16="http://schemas.microsoft.com/office/drawing/2014/main" id="{D674ECFF-46F1-C67B-F4D1-4E56CBD611E6}"/>
                    </a:ext>
                  </a:extLst>
                </p:cNvPr>
                <p:cNvSpPr/>
                <p:nvPr/>
              </p:nvSpPr>
              <p:spPr>
                <a:xfrm>
                  <a:off x="10120881" y="4371219"/>
                  <a:ext cx="7382" cy="7382"/>
                </a:xfrm>
                <a:custGeom>
                  <a:avLst/>
                  <a:gdLst>
                    <a:gd name="connsiteX0" fmla="*/ 7383 w 7382"/>
                    <a:gd name="connsiteY0" fmla="*/ 3697 h 7382"/>
                    <a:gd name="connsiteX1" fmla="*/ 3697 w 7382"/>
                    <a:gd name="connsiteY1" fmla="*/ 7383 h 7382"/>
                    <a:gd name="connsiteX2" fmla="*/ 0 w 7382"/>
                    <a:gd name="connsiteY2" fmla="*/ 3697 h 7382"/>
                    <a:gd name="connsiteX3" fmla="*/ 3697 w 7382"/>
                    <a:gd name="connsiteY3" fmla="*/ 0 h 7382"/>
                    <a:gd name="connsiteX4" fmla="*/ 7383 w 7382"/>
                    <a:gd name="connsiteY4" fmla="*/ 3697 h 738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7382" h="7382">
                      <a:moveTo>
                        <a:pt x="7383" y="3697"/>
                      </a:moveTo>
                      <a:cubicBezTo>
                        <a:pt x="7383" y="5737"/>
                        <a:pt x="5737" y="7383"/>
                        <a:pt x="3697" y="7383"/>
                      </a:cubicBezTo>
                      <a:cubicBezTo>
                        <a:pt x="1658" y="7383"/>
                        <a:pt x="0" y="5737"/>
                        <a:pt x="0" y="3697"/>
                      </a:cubicBezTo>
                      <a:cubicBezTo>
                        <a:pt x="0" y="1658"/>
                        <a:pt x="1658" y="0"/>
                        <a:pt x="3697" y="0"/>
                      </a:cubicBezTo>
                      <a:cubicBezTo>
                        <a:pt x="5737" y="0"/>
                        <a:pt x="7383" y="1646"/>
                        <a:pt x="7383" y="3697"/>
                      </a:cubicBezTo>
                      <a:close/>
                    </a:path>
                  </a:pathLst>
                </a:custGeom>
                <a:solidFill>
                  <a:srgbClr val="394553"/>
                </a:solidFill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grpSp>
          <p:nvGrpSpPr>
            <p:cNvPr id="2589" name="Gráfico 18">
              <a:extLst>
                <a:ext uri="{FF2B5EF4-FFF2-40B4-BE49-F238E27FC236}">
                  <a16:creationId xmlns:a16="http://schemas.microsoft.com/office/drawing/2014/main" id="{74E6CB4E-B2F1-A709-4698-280090226DA4}"/>
                </a:ext>
              </a:extLst>
            </p:cNvPr>
            <p:cNvGrpSpPr/>
            <p:nvPr/>
          </p:nvGrpSpPr>
          <p:grpSpPr>
            <a:xfrm>
              <a:off x="9973401" y="4111206"/>
              <a:ext cx="90324" cy="152262"/>
              <a:chOff x="9973401" y="4111206"/>
              <a:chExt cx="90324" cy="152262"/>
            </a:xfrm>
            <a:noFill/>
          </p:grpSpPr>
          <p:sp>
            <p:nvSpPr>
              <p:cNvPr id="2590" name="Forma livre: Forma 2589">
                <a:extLst>
                  <a:ext uri="{FF2B5EF4-FFF2-40B4-BE49-F238E27FC236}">
                    <a16:creationId xmlns:a16="http://schemas.microsoft.com/office/drawing/2014/main" id="{EB5E8B55-A7F2-5068-4D03-61AB82AA15B8}"/>
                  </a:ext>
                </a:extLst>
              </p:cNvPr>
              <p:cNvSpPr/>
              <p:nvPr/>
            </p:nvSpPr>
            <p:spPr>
              <a:xfrm>
                <a:off x="9973401" y="4111206"/>
                <a:ext cx="90324" cy="152262"/>
              </a:xfrm>
              <a:custGeom>
                <a:avLst/>
                <a:gdLst>
                  <a:gd name="connsiteX0" fmla="*/ 90325 w 90324"/>
                  <a:gd name="connsiteY0" fmla="*/ 152262 h 152262"/>
                  <a:gd name="connsiteX1" fmla="*/ 90325 w 90324"/>
                  <a:gd name="connsiteY1" fmla="*/ 114239 h 152262"/>
                  <a:gd name="connsiteX2" fmla="*/ 63584 w 90324"/>
                  <a:gd name="connsiteY2" fmla="*/ 74223 h 152262"/>
                  <a:gd name="connsiteX3" fmla="*/ 63584 w 90324"/>
                  <a:gd name="connsiteY3" fmla="*/ 8433 h 152262"/>
                  <a:gd name="connsiteX4" fmla="*/ 54674 w 90324"/>
                  <a:gd name="connsiteY4" fmla="*/ 0 h 152262"/>
                  <a:gd name="connsiteX5" fmla="*/ 35662 w 90324"/>
                  <a:gd name="connsiteY5" fmla="*/ 0 h 152262"/>
                  <a:gd name="connsiteX6" fmla="*/ 26741 w 90324"/>
                  <a:gd name="connsiteY6" fmla="*/ 8433 h 152262"/>
                  <a:gd name="connsiteX7" fmla="*/ 26741 w 90324"/>
                  <a:gd name="connsiteY7" fmla="*/ 74211 h 152262"/>
                  <a:gd name="connsiteX8" fmla="*/ 0 w 90324"/>
                  <a:gd name="connsiteY8" fmla="*/ 114227 h 152262"/>
                  <a:gd name="connsiteX9" fmla="*/ 0 w 90324"/>
                  <a:gd name="connsiteY9" fmla="*/ 152251 h 1522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90324" h="152262">
                    <a:moveTo>
                      <a:pt x="90325" y="152262"/>
                    </a:moveTo>
                    <a:lnTo>
                      <a:pt x="90325" y="114239"/>
                    </a:lnTo>
                    <a:cubicBezTo>
                      <a:pt x="90325" y="96467"/>
                      <a:pt x="79304" y="81105"/>
                      <a:pt x="63584" y="74223"/>
                    </a:cubicBezTo>
                    <a:lnTo>
                      <a:pt x="63584" y="8433"/>
                    </a:lnTo>
                    <a:cubicBezTo>
                      <a:pt x="63584" y="3793"/>
                      <a:pt x="59576" y="0"/>
                      <a:pt x="54674" y="0"/>
                    </a:cubicBezTo>
                    <a:lnTo>
                      <a:pt x="35662" y="0"/>
                    </a:lnTo>
                    <a:cubicBezTo>
                      <a:pt x="30760" y="0"/>
                      <a:pt x="26741" y="3793"/>
                      <a:pt x="26741" y="8433"/>
                    </a:cubicBezTo>
                    <a:lnTo>
                      <a:pt x="26741" y="74211"/>
                    </a:lnTo>
                    <a:cubicBezTo>
                      <a:pt x="11033" y="81093"/>
                      <a:pt x="0" y="96455"/>
                      <a:pt x="0" y="114227"/>
                    </a:cubicBezTo>
                    <a:lnTo>
                      <a:pt x="0" y="152251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591" name="Forma livre: Forma 2590">
                <a:extLst>
                  <a:ext uri="{FF2B5EF4-FFF2-40B4-BE49-F238E27FC236}">
                    <a16:creationId xmlns:a16="http://schemas.microsoft.com/office/drawing/2014/main" id="{6ED93C63-48BC-030A-5FB8-9A2C354B4D76}"/>
                  </a:ext>
                </a:extLst>
              </p:cNvPr>
              <p:cNvSpPr/>
              <p:nvPr/>
            </p:nvSpPr>
            <p:spPr>
              <a:xfrm>
                <a:off x="10017889" y="4164091"/>
                <a:ext cx="17020" cy="1192"/>
              </a:xfrm>
              <a:custGeom>
                <a:avLst/>
                <a:gdLst>
                  <a:gd name="connsiteX0" fmla="*/ 0 w 17020"/>
                  <a:gd name="connsiteY0" fmla="*/ 0 h 1192"/>
                  <a:gd name="connsiteX1" fmla="*/ 17020 w 17020"/>
                  <a:gd name="connsiteY1" fmla="*/ 0 h 11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7020" h="1192">
                    <a:moveTo>
                      <a:pt x="0" y="0"/>
                    </a:moveTo>
                    <a:lnTo>
                      <a:pt x="1702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592" name="Forma livre: Forma 2591">
                <a:extLst>
                  <a:ext uri="{FF2B5EF4-FFF2-40B4-BE49-F238E27FC236}">
                    <a16:creationId xmlns:a16="http://schemas.microsoft.com/office/drawing/2014/main" id="{DB294DF9-6327-58AB-1E4C-79528120E759}"/>
                  </a:ext>
                </a:extLst>
              </p:cNvPr>
              <p:cNvSpPr/>
              <p:nvPr/>
            </p:nvSpPr>
            <p:spPr>
              <a:xfrm>
                <a:off x="9973711" y="4233042"/>
                <a:ext cx="48126" cy="16877"/>
              </a:xfrm>
              <a:custGeom>
                <a:avLst/>
                <a:gdLst>
                  <a:gd name="connsiteX0" fmla="*/ 0 w 48126"/>
                  <a:gd name="connsiteY0" fmla="*/ 0 h 16877"/>
                  <a:gd name="connsiteX1" fmla="*/ 48126 w 48126"/>
                  <a:gd name="connsiteY1" fmla="*/ 0 h 16877"/>
                  <a:gd name="connsiteX2" fmla="*/ 48126 w 48126"/>
                  <a:gd name="connsiteY2" fmla="*/ 16877 h 168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48126" h="16877">
                    <a:moveTo>
                      <a:pt x="0" y="0"/>
                    </a:moveTo>
                    <a:lnTo>
                      <a:pt x="48126" y="0"/>
                    </a:lnTo>
                    <a:lnTo>
                      <a:pt x="48126" y="16877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2593" name="Gráfico 18">
              <a:extLst>
                <a:ext uri="{FF2B5EF4-FFF2-40B4-BE49-F238E27FC236}">
                  <a16:creationId xmlns:a16="http://schemas.microsoft.com/office/drawing/2014/main" id="{DF45C6E6-0FE8-5E6C-0285-D8FB19D5AA43}"/>
                </a:ext>
              </a:extLst>
            </p:cNvPr>
            <p:cNvGrpSpPr/>
            <p:nvPr/>
          </p:nvGrpSpPr>
          <p:grpSpPr>
            <a:xfrm>
              <a:off x="9885593" y="4111194"/>
              <a:ext cx="76775" cy="152250"/>
              <a:chOff x="9885593" y="4111194"/>
              <a:chExt cx="76775" cy="152250"/>
            </a:xfrm>
            <a:noFill/>
          </p:grpSpPr>
          <p:sp>
            <p:nvSpPr>
              <p:cNvPr id="2594" name="Forma livre: Forma 2593">
                <a:extLst>
                  <a:ext uri="{FF2B5EF4-FFF2-40B4-BE49-F238E27FC236}">
                    <a16:creationId xmlns:a16="http://schemas.microsoft.com/office/drawing/2014/main" id="{7D7C976C-B4A8-348A-C9DC-7D3130F6B354}"/>
                  </a:ext>
                </a:extLst>
              </p:cNvPr>
              <p:cNvSpPr/>
              <p:nvPr/>
            </p:nvSpPr>
            <p:spPr>
              <a:xfrm>
                <a:off x="9885593" y="4111194"/>
                <a:ext cx="76775" cy="152250"/>
              </a:xfrm>
              <a:custGeom>
                <a:avLst/>
                <a:gdLst>
                  <a:gd name="connsiteX0" fmla="*/ 76775 w 76775"/>
                  <a:gd name="connsiteY0" fmla="*/ 83013 h 152250"/>
                  <a:gd name="connsiteX1" fmla="*/ 63572 w 76775"/>
                  <a:gd name="connsiteY1" fmla="*/ 74223 h 152250"/>
                  <a:gd name="connsiteX2" fmla="*/ 63572 w 76775"/>
                  <a:gd name="connsiteY2" fmla="*/ 8433 h 152250"/>
                  <a:gd name="connsiteX3" fmla="*/ 54662 w 76775"/>
                  <a:gd name="connsiteY3" fmla="*/ 0 h 152250"/>
                  <a:gd name="connsiteX4" fmla="*/ 35650 w 76775"/>
                  <a:gd name="connsiteY4" fmla="*/ 0 h 152250"/>
                  <a:gd name="connsiteX5" fmla="*/ 26741 w 76775"/>
                  <a:gd name="connsiteY5" fmla="*/ 8433 h 152250"/>
                  <a:gd name="connsiteX6" fmla="*/ 26741 w 76775"/>
                  <a:gd name="connsiteY6" fmla="*/ 74211 h 152250"/>
                  <a:gd name="connsiteX7" fmla="*/ 0 w 76775"/>
                  <a:gd name="connsiteY7" fmla="*/ 114227 h 152250"/>
                  <a:gd name="connsiteX8" fmla="*/ 0 w 76775"/>
                  <a:gd name="connsiteY8" fmla="*/ 152251 h 1522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76775" h="152250">
                    <a:moveTo>
                      <a:pt x="76775" y="83013"/>
                    </a:moveTo>
                    <a:cubicBezTo>
                      <a:pt x="72959" y="79375"/>
                      <a:pt x="68498" y="76382"/>
                      <a:pt x="63572" y="74223"/>
                    </a:cubicBezTo>
                    <a:lnTo>
                      <a:pt x="63572" y="8433"/>
                    </a:lnTo>
                    <a:cubicBezTo>
                      <a:pt x="63572" y="3793"/>
                      <a:pt x="59564" y="0"/>
                      <a:pt x="54662" y="0"/>
                    </a:cubicBezTo>
                    <a:lnTo>
                      <a:pt x="35650" y="0"/>
                    </a:lnTo>
                    <a:cubicBezTo>
                      <a:pt x="30748" y="0"/>
                      <a:pt x="26741" y="3793"/>
                      <a:pt x="26741" y="8433"/>
                    </a:cubicBezTo>
                    <a:lnTo>
                      <a:pt x="26741" y="74211"/>
                    </a:lnTo>
                    <a:cubicBezTo>
                      <a:pt x="11021" y="81093"/>
                      <a:pt x="0" y="96455"/>
                      <a:pt x="0" y="114227"/>
                    </a:cubicBezTo>
                    <a:lnTo>
                      <a:pt x="0" y="152251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595" name="Forma livre: Forma 2594">
                <a:extLst>
                  <a:ext uri="{FF2B5EF4-FFF2-40B4-BE49-F238E27FC236}">
                    <a16:creationId xmlns:a16="http://schemas.microsoft.com/office/drawing/2014/main" id="{7A17AF3A-708B-E7CB-5228-2DC3A6531472}"/>
                  </a:ext>
                </a:extLst>
              </p:cNvPr>
              <p:cNvSpPr/>
              <p:nvPr/>
            </p:nvSpPr>
            <p:spPr>
              <a:xfrm>
                <a:off x="9930069" y="4164091"/>
                <a:ext cx="17020" cy="1192"/>
              </a:xfrm>
              <a:custGeom>
                <a:avLst/>
                <a:gdLst>
                  <a:gd name="connsiteX0" fmla="*/ 0 w 17020"/>
                  <a:gd name="connsiteY0" fmla="*/ 0 h 1192"/>
                  <a:gd name="connsiteX1" fmla="*/ 17020 w 17020"/>
                  <a:gd name="connsiteY1" fmla="*/ 0 h 11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7020" h="1192">
                    <a:moveTo>
                      <a:pt x="0" y="0"/>
                    </a:moveTo>
                    <a:lnTo>
                      <a:pt x="1702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596" name="Forma livre: Forma 2595">
                <a:extLst>
                  <a:ext uri="{FF2B5EF4-FFF2-40B4-BE49-F238E27FC236}">
                    <a16:creationId xmlns:a16="http://schemas.microsoft.com/office/drawing/2014/main" id="{65A09B47-C7CF-9A4C-305B-3CB38ABB6208}"/>
                  </a:ext>
                </a:extLst>
              </p:cNvPr>
              <p:cNvSpPr/>
              <p:nvPr/>
            </p:nvSpPr>
            <p:spPr>
              <a:xfrm>
                <a:off x="9885891" y="4233042"/>
                <a:ext cx="48126" cy="16877"/>
              </a:xfrm>
              <a:custGeom>
                <a:avLst/>
                <a:gdLst>
                  <a:gd name="connsiteX0" fmla="*/ 0 w 48126"/>
                  <a:gd name="connsiteY0" fmla="*/ 0 h 16877"/>
                  <a:gd name="connsiteX1" fmla="*/ 48126 w 48126"/>
                  <a:gd name="connsiteY1" fmla="*/ 0 h 16877"/>
                  <a:gd name="connsiteX2" fmla="*/ 48126 w 48126"/>
                  <a:gd name="connsiteY2" fmla="*/ 16877 h 168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48126" h="16877">
                    <a:moveTo>
                      <a:pt x="0" y="0"/>
                    </a:moveTo>
                    <a:lnTo>
                      <a:pt x="48126" y="0"/>
                    </a:lnTo>
                    <a:lnTo>
                      <a:pt x="48126" y="16877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2597" name="Gráfico 18">
              <a:extLst>
                <a:ext uri="{FF2B5EF4-FFF2-40B4-BE49-F238E27FC236}">
                  <a16:creationId xmlns:a16="http://schemas.microsoft.com/office/drawing/2014/main" id="{687296C3-0B7F-7750-91A0-F6D29DBB0776}"/>
                </a:ext>
              </a:extLst>
            </p:cNvPr>
            <p:cNvGrpSpPr/>
            <p:nvPr/>
          </p:nvGrpSpPr>
          <p:grpSpPr>
            <a:xfrm>
              <a:off x="10064310" y="4111194"/>
              <a:ext cx="87640" cy="152250"/>
              <a:chOff x="10064310" y="4111194"/>
              <a:chExt cx="87640" cy="152250"/>
            </a:xfrm>
            <a:noFill/>
          </p:grpSpPr>
          <p:sp>
            <p:nvSpPr>
              <p:cNvPr id="2598" name="Forma livre: Forma 2597">
                <a:extLst>
                  <a:ext uri="{FF2B5EF4-FFF2-40B4-BE49-F238E27FC236}">
                    <a16:creationId xmlns:a16="http://schemas.microsoft.com/office/drawing/2014/main" id="{5CEC3CF7-2906-5D7D-FABF-78398B0B7824}"/>
                  </a:ext>
                </a:extLst>
              </p:cNvPr>
              <p:cNvSpPr/>
              <p:nvPr/>
            </p:nvSpPr>
            <p:spPr>
              <a:xfrm>
                <a:off x="10075187" y="4111194"/>
                <a:ext cx="76763" cy="152250"/>
              </a:xfrm>
              <a:custGeom>
                <a:avLst/>
                <a:gdLst>
                  <a:gd name="connsiteX0" fmla="*/ 0 w 76763"/>
                  <a:gd name="connsiteY0" fmla="*/ 83013 h 152250"/>
                  <a:gd name="connsiteX1" fmla="*/ 13191 w 76763"/>
                  <a:gd name="connsiteY1" fmla="*/ 74223 h 152250"/>
                  <a:gd name="connsiteX2" fmla="*/ 13191 w 76763"/>
                  <a:gd name="connsiteY2" fmla="*/ 8433 h 152250"/>
                  <a:gd name="connsiteX3" fmla="*/ 22101 w 76763"/>
                  <a:gd name="connsiteY3" fmla="*/ 0 h 152250"/>
                  <a:gd name="connsiteX4" fmla="*/ 41113 w 76763"/>
                  <a:gd name="connsiteY4" fmla="*/ 0 h 152250"/>
                  <a:gd name="connsiteX5" fmla="*/ 50023 w 76763"/>
                  <a:gd name="connsiteY5" fmla="*/ 8433 h 152250"/>
                  <a:gd name="connsiteX6" fmla="*/ 50023 w 76763"/>
                  <a:gd name="connsiteY6" fmla="*/ 74211 h 152250"/>
                  <a:gd name="connsiteX7" fmla="*/ 76763 w 76763"/>
                  <a:gd name="connsiteY7" fmla="*/ 114227 h 152250"/>
                  <a:gd name="connsiteX8" fmla="*/ 76763 w 76763"/>
                  <a:gd name="connsiteY8" fmla="*/ 152251 h 1522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76763" h="152250">
                    <a:moveTo>
                      <a:pt x="0" y="83013"/>
                    </a:moveTo>
                    <a:cubicBezTo>
                      <a:pt x="3805" y="79375"/>
                      <a:pt x="8266" y="76382"/>
                      <a:pt x="13191" y="74223"/>
                    </a:cubicBezTo>
                    <a:lnTo>
                      <a:pt x="13191" y="8433"/>
                    </a:lnTo>
                    <a:cubicBezTo>
                      <a:pt x="13191" y="3793"/>
                      <a:pt x="17199" y="0"/>
                      <a:pt x="22101" y="0"/>
                    </a:cubicBezTo>
                    <a:lnTo>
                      <a:pt x="41113" y="0"/>
                    </a:lnTo>
                    <a:cubicBezTo>
                      <a:pt x="46015" y="0"/>
                      <a:pt x="50023" y="3793"/>
                      <a:pt x="50023" y="8433"/>
                    </a:cubicBezTo>
                    <a:lnTo>
                      <a:pt x="50023" y="74211"/>
                    </a:lnTo>
                    <a:cubicBezTo>
                      <a:pt x="65743" y="81093"/>
                      <a:pt x="76763" y="96455"/>
                      <a:pt x="76763" y="114227"/>
                    </a:cubicBezTo>
                    <a:lnTo>
                      <a:pt x="76763" y="152251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599" name="Forma livre: Forma 2598">
                <a:extLst>
                  <a:ext uri="{FF2B5EF4-FFF2-40B4-BE49-F238E27FC236}">
                    <a16:creationId xmlns:a16="http://schemas.microsoft.com/office/drawing/2014/main" id="{CBF03424-B0AD-45BA-9031-E06EC60D7E83}"/>
                  </a:ext>
                </a:extLst>
              </p:cNvPr>
              <p:cNvSpPr/>
              <p:nvPr/>
            </p:nvSpPr>
            <p:spPr>
              <a:xfrm>
                <a:off x="10090466" y="4164091"/>
                <a:ext cx="17008" cy="1192"/>
              </a:xfrm>
              <a:custGeom>
                <a:avLst/>
                <a:gdLst>
                  <a:gd name="connsiteX0" fmla="*/ 17008 w 17008"/>
                  <a:gd name="connsiteY0" fmla="*/ 0 h 1192"/>
                  <a:gd name="connsiteX1" fmla="*/ 0 w 17008"/>
                  <a:gd name="connsiteY1" fmla="*/ 0 h 11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7008" h="1192">
                    <a:moveTo>
                      <a:pt x="17008" y="0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600" name="Forma livre: Forma 2599">
                <a:extLst>
                  <a:ext uri="{FF2B5EF4-FFF2-40B4-BE49-F238E27FC236}">
                    <a16:creationId xmlns:a16="http://schemas.microsoft.com/office/drawing/2014/main" id="{0BF6BB48-496A-8A90-3B32-CCCB49DFE905}"/>
                  </a:ext>
                </a:extLst>
              </p:cNvPr>
              <p:cNvSpPr/>
              <p:nvPr/>
            </p:nvSpPr>
            <p:spPr>
              <a:xfrm>
                <a:off x="10064310" y="4233042"/>
                <a:ext cx="48138" cy="16877"/>
              </a:xfrm>
              <a:custGeom>
                <a:avLst/>
                <a:gdLst>
                  <a:gd name="connsiteX0" fmla="*/ 0 w 48138"/>
                  <a:gd name="connsiteY0" fmla="*/ 0 h 16877"/>
                  <a:gd name="connsiteX1" fmla="*/ 48138 w 48138"/>
                  <a:gd name="connsiteY1" fmla="*/ 0 h 16877"/>
                  <a:gd name="connsiteX2" fmla="*/ 48138 w 48138"/>
                  <a:gd name="connsiteY2" fmla="*/ 16877 h 168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48138" h="16877">
                    <a:moveTo>
                      <a:pt x="0" y="0"/>
                    </a:moveTo>
                    <a:lnTo>
                      <a:pt x="48138" y="0"/>
                    </a:lnTo>
                    <a:lnTo>
                      <a:pt x="48138" y="16877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2601" name="Gráfico 18">
            <a:extLst>
              <a:ext uri="{FF2B5EF4-FFF2-40B4-BE49-F238E27FC236}">
                <a16:creationId xmlns:a16="http://schemas.microsoft.com/office/drawing/2014/main" id="{C2008AE1-BCE5-9C3C-F3A1-2D43C7993F9C}"/>
              </a:ext>
            </a:extLst>
          </p:cNvPr>
          <p:cNvGrpSpPr/>
          <p:nvPr/>
        </p:nvGrpSpPr>
        <p:grpSpPr>
          <a:xfrm>
            <a:off x="9863217" y="5188064"/>
            <a:ext cx="310689" cy="273108"/>
            <a:chOff x="9863217" y="5188064"/>
            <a:chExt cx="310689" cy="273108"/>
          </a:xfrm>
          <a:noFill/>
        </p:grpSpPr>
        <p:grpSp>
          <p:nvGrpSpPr>
            <p:cNvPr id="2602" name="Gráfico 18">
              <a:extLst>
                <a:ext uri="{FF2B5EF4-FFF2-40B4-BE49-F238E27FC236}">
                  <a16:creationId xmlns:a16="http://schemas.microsoft.com/office/drawing/2014/main" id="{4DEFA82E-BBFA-6F0F-5019-AB45D2B9ED23}"/>
                </a:ext>
              </a:extLst>
            </p:cNvPr>
            <p:cNvGrpSpPr/>
            <p:nvPr/>
          </p:nvGrpSpPr>
          <p:grpSpPr>
            <a:xfrm>
              <a:off x="10086675" y="5331357"/>
              <a:ext cx="87231" cy="129815"/>
              <a:chOff x="10086675" y="5331357"/>
              <a:chExt cx="87231" cy="129815"/>
            </a:xfrm>
            <a:noFill/>
          </p:grpSpPr>
          <p:sp>
            <p:nvSpPr>
              <p:cNvPr id="2603" name="Forma livre: Forma 2602">
                <a:extLst>
                  <a:ext uri="{FF2B5EF4-FFF2-40B4-BE49-F238E27FC236}">
                    <a16:creationId xmlns:a16="http://schemas.microsoft.com/office/drawing/2014/main" id="{2D428011-C1E5-BBAD-669E-C74A93D39E37}"/>
                  </a:ext>
                </a:extLst>
              </p:cNvPr>
              <p:cNvSpPr/>
              <p:nvPr/>
            </p:nvSpPr>
            <p:spPr>
              <a:xfrm>
                <a:off x="10113223" y="5369035"/>
                <a:ext cx="57298" cy="1192"/>
              </a:xfrm>
              <a:custGeom>
                <a:avLst/>
                <a:gdLst>
                  <a:gd name="connsiteX0" fmla="*/ 0 w 57298"/>
                  <a:gd name="connsiteY0" fmla="*/ 0 h 1192"/>
                  <a:gd name="connsiteX1" fmla="*/ 57298 w 57298"/>
                  <a:gd name="connsiteY1" fmla="*/ 0 h 11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7298" h="1192">
                    <a:moveTo>
                      <a:pt x="0" y="0"/>
                    </a:moveTo>
                    <a:lnTo>
                      <a:pt x="57298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604" name="Forma livre: Forma 2603">
                <a:extLst>
                  <a:ext uri="{FF2B5EF4-FFF2-40B4-BE49-F238E27FC236}">
                    <a16:creationId xmlns:a16="http://schemas.microsoft.com/office/drawing/2014/main" id="{E4BF6C49-B4A9-F864-75A6-4C437BA7A872}"/>
                  </a:ext>
                </a:extLst>
              </p:cNvPr>
              <p:cNvSpPr/>
              <p:nvPr/>
            </p:nvSpPr>
            <p:spPr>
              <a:xfrm>
                <a:off x="10086675" y="5331357"/>
                <a:ext cx="87231" cy="96932"/>
              </a:xfrm>
              <a:custGeom>
                <a:avLst/>
                <a:gdLst>
                  <a:gd name="connsiteX0" fmla="*/ 87066 w 87231"/>
                  <a:gd name="connsiteY0" fmla="*/ 51526 h 96932"/>
                  <a:gd name="connsiteX1" fmla="*/ 81842 w 87231"/>
                  <a:gd name="connsiteY1" fmla="*/ 0 h 96932"/>
                  <a:gd name="connsiteX2" fmla="*/ 5389 w 87231"/>
                  <a:gd name="connsiteY2" fmla="*/ 0 h 96932"/>
                  <a:gd name="connsiteX3" fmla="*/ 165 w 87231"/>
                  <a:gd name="connsiteY3" fmla="*/ 51526 h 96932"/>
                  <a:gd name="connsiteX4" fmla="*/ 43616 w 87231"/>
                  <a:gd name="connsiteY4" fmla="*/ 96932 h 96932"/>
                  <a:gd name="connsiteX5" fmla="*/ 87066 w 87231"/>
                  <a:gd name="connsiteY5" fmla="*/ 51526 h 969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87231" h="96932">
                    <a:moveTo>
                      <a:pt x="87066" y="51526"/>
                    </a:moveTo>
                    <a:lnTo>
                      <a:pt x="81842" y="0"/>
                    </a:lnTo>
                    <a:lnTo>
                      <a:pt x="5389" y="0"/>
                    </a:lnTo>
                    <a:lnTo>
                      <a:pt x="165" y="51526"/>
                    </a:lnTo>
                    <a:cubicBezTo>
                      <a:pt x="-2113" y="77062"/>
                      <a:pt x="19570" y="96932"/>
                      <a:pt x="43616" y="96932"/>
                    </a:cubicBezTo>
                    <a:cubicBezTo>
                      <a:pt x="67661" y="96932"/>
                      <a:pt x="89344" y="77073"/>
                      <a:pt x="87066" y="51526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605" name="Forma livre: Forma 2604">
                <a:extLst>
                  <a:ext uri="{FF2B5EF4-FFF2-40B4-BE49-F238E27FC236}">
                    <a16:creationId xmlns:a16="http://schemas.microsoft.com/office/drawing/2014/main" id="{4C9B841D-EACC-F139-9D6C-001E48D979CB}"/>
                  </a:ext>
                </a:extLst>
              </p:cNvPr>
              <p:cNvSpPr/>
              <p:nvPr/>
            </p:nvSpPr>
            <p:spPr>
              <a:xfrm>
                <a:off x="10094486" y="5461173"/>
                <a:ext cx="71610" cy="1192"/>
              </a:xfrm>
              <a:custGeom>
                <a:avLst/>
                <a:gdLst>
                  <a:gd name="connsiteX0" fmla="*/ 0 w 71610"/>
                  <a:gd name="connsiteY0" fmla="*/ 0 h 1192"/>
                  <a:gd name="connsiteX1" fmla="*/ 71611 w 71610"/>
                  <a:gd name="connsiteY1" fmla="*/ 0 h 11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71610" h="1192">
                    <a:moveTo>
                      <a:pt x="0" y="0"/>
                    </a:moveTo>
                    <a:lnTo>
                      <a:pt x="71611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606" name="Forma livre: Forma 2605">
                <a:extLst>
                  <a:ext uri="{FF2B5EF4-FFF2-40B4-BE49-F238E27FC236}">
                    <a16:creationId xmlns:a16="http://schemas.microsoft.com/office/drawing/2014/main" id="{23967A5B-1BB0-BFAD-E4D1-ECE8871E53A9}"/>
                  </a:ext>
                </a:extLst>
              </p:cNvPr>
              <p:cNvSpPr/>
              <p:nvPr/>
            </p:nvSpPr>
            <p:spPr>
              <a:xfrm>
                <a:off x="10130291" y="5429625"/>
                <a:ext cx="1192" cy="30700"/>
              </a:xfrm>
              <a:custGeom>
                <a:avLst/>
                <a:gdLst>
                  <a:gd name="connsiteX0" fmla="*/ 0 w 1192"/>
                  <a:gd name="connsiteY0" fmla="*/ 0 h 30700"/>
                  <a:gd name="connsiteX1" fmla="*/ 0 w 1192"/>
                  <a:gd name="connsiteY1" fmla="*/ 30701 h 307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2" h="30700">
                    <a:moveTo>
                      <a:pt x="0" y="0"/>
                    </a:moveTo>
                    <a:lnTo>
                      <a:pt x="0" y="30701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2607" name="Gráfico 18">
              <a:extLst>
                <a:ext uri="{FF2B5EF4-FFF2-40B4-BE49-F238E27FC236}">
                  <a16:creationId xmlns:a16="http://schemas.microsoft.com/office/drawing/2014/main" id="{4B1ED247-ACE1-50EB-B4B1-BF36C15FBB72}"/>
                </a:ext>
              </a:extLst>
            </p:cNvPr>
            <p:cNvGrpSpPr/>
            <p:nvPr/>
          </p:nvGrpSpPr>
          <p:grpSpPr>
            <a:xfrm>
              <a:off x="9863217" y="5188064"/>
              <a:ext cx="293062" cy="273108"/>
              <a:chOff x="9863217" y="5188064"/>
              <a:chExt cx="293062" cy="273108"/>
            </a:xfrm>
            <a:noFill/>
          </p:grpSpPr>
          <p:sp>
            <p:nvSpPr>
              <p:cNvPr id="2608" name="Forma livre: Forma 2607">
                <a:extLst>
                  <a:ext uri="{FF2B5EF4-FFF2-40B4-BE49-F238E27FC236}">
                    <a16:creationId xmlns:a16="http://schemas.microsoft.com/office/drawing/2014/main" id="{A2A62E7A-7AF6-6A34-2542-A2FC705FF522}"/>
                  </a:ext>
                </a:extLst>
              </p:cNvPr>
              <p:cNvSpPr/>
              <p:nvPr/>
            </p:nvSpPr>
            <p:spPr>
              <a:xfrm>
                <a:off x="9886941" y="5323366"/>
                <a:ext cx="1192" cy="137341"/>
              </a:xfrm>
              <a:custGeom>
                <a:avLst/>
                <a:gdLst>
                  <a:gd name="connsiteX0" fmla="*/ 0 w 1192"/>
                  <a:gd name="connsiteY0" fmla="*/ 137342 h 137341"/>
                  <a:gd name="connsiteX1" fmla="*/ 0 w 1192"/>
                  <a:gd name="connsiteY1" fmla="*/ 0 h 1373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2" h="137341">
                    <a:moveTo>
                      <a:pt x="0" y="137342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609" name="Forma livre: Forma 2608">
                <a:extLst>
                  <a:ext uri="{FF2B5EF4-FFF2-40B4-BE49-F238E27FC236}">
                    <a16:creationId xmlns:a16="http://schemas.microsoft.com/office/drawing/2014/main" id="{CA079DAF-D666-91C9-6A08-F816FE1A1988}"/>
                  </a:ext>
                </a:extLst>
              </p:cNvPr>
              <p:cNvSpPr/>
              <p:nvPr/>
            </p:nvSpPr>
            <p:spPr>
              <a:xfrm>
                <a:off x="9966507" y="5323366"/>
                <a:ext cx="1192" cy="136959"/>
              </a:xfrm>
              <a:custGeom>
                <a:avLst/>
                <a:gdLst>
                  <a:gd name="connsiteX0" fmla="*/ 0 w 1192"/>
                  <a:gd name="connsiteY0" fmla="*/ 0 h 136959"/>
                  <a:gd name="connsiteX1" fmla="*/ 0 w 1192"/>
                  <a:gd name="connsiteY1" fmla="*/ 136960 h 1369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2" h="136959">
                    <a:moveTo>
                      <a:pt x="0" y="0"/>
                    </a:moveTo>
                    <a:lnTo>
                      <a:pt x="0" y="13696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610" name="Forma livre: Forma 2609">
                <a:extLst>
                  <a:ext uri="{FF2B5EF4-FFF2-40B4-BE49-F238E27FC236}">
                    <a16:creationId xmlns:a16="http://schemas.microsoft.com/office/drawing/2014/main" id="{A97BC68F-E3FC-1559-CE25-BEDFF3E02866}"/>
                  </a:ext>
                </a:extLst>
              </p:cNvPr>
              <p:cNvSpPr/>
              <p:nvPr/>
            </p:nvSpPr>
            <p:spPr>
              <a:xfrm>
                <a:off x="9939074" y="5367771"/>
                <a:ext cx="1192" cy="18534"/>
              </a:xfrm>
              <a:custGeom>
                <a:avLst/>
                <a:gdLst>
                  <a:gd name="connsiteX0" fmla="*/ 0 w 1192"/>
                  <a:gd name="connsiteY0" fmla="*/ 0 h 18534"/>
                  <a:gd name="connsiteX1" fmla="*/ 0 w 1192"/>
                  <a:gd name="connsiteY1" fmla="*/ 18535 h 185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2" h="18534">
                    <a:moveTo>
                      <a:pt x="0" y="0"/>
                    </a:moveTo>
                    <a:lnTo>
                      <a:pt x="0" y="18535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611" name="Forma livre: Forma 2610">
                <a:extLst>
                  <a:ext uri="{FF2B5EF4-FFF2-40B4-BE49-F238E27FC236}">
                    <a16:creationId xmlns:a16="http://schemas.microsoft.com/office/drawing/2014/main" id="{7B5C2AB9-DB6A-F3D4-D015-D33523343883}"/>
                  </a:ext>
                </a:extLst>
              </p:cNvPr>
              <p:cNvSpPr/>
              <p:nvPr/>
            </p:nvSpPr>
            <p:spPr>
              <a:xfrm>
                <a:off x="9927171" y="5274262"/>
                <a:ext cx="56904" cy="28589"/>
              </a:xfrm>
              <a:custGeom>
                <a:avLst/>
                <a:gdLst>
                  <a:gd name="connsiteX0" fmla="*/ 56905 w 56904"/>
                  <a:gd name="connsiteY0" fmla="*/ 0 h 28589"/>
                  <a:gd name="connsiteX1" fmla="*/ 28303 w 56904"/>
                  <a:gd name="connsiteY1" fmla="*/ 28590 h 28589"/>
                  <a:gd name="connsiteX2" fmla="*/ 0 w 56904"/>
                  <a:gd name="connsiteY2" fmla="*/ 0 h 285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56904" h="28589">
                    <a:moveTo>
                      <a:pt x="56905" y="0"/>
                    </a:moveTo>
                    <a:cubicBezTo>
                      <a:pt x="56905" y="15792"/>
                      <a:pt x="44095" y="28590"/>
                      <a:pt x="28303" y="28590"/>
                    </a:cubicBezTo>
                    <a:cubicBezTo>
                      <a:pt x="12512" y="28590"/>
                      <a:pt x="0" y="15792"/>
                      <a:pt x="0" y="0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612" name="Forma livre: Forma 2611">
                <a:extLst>
                  <a:ext uri="{FF2B5EF4-FFF2-40B4-BE49-F238E27FC236}">
                    <a16:creationId xmlns:a16="http://schemas.microsoft.com/office/drawing/2014/main" id="{9326FF6E-DA40-2631-9DC4-4DC852A88699}"/>
                  </a:ext>
                </a:extLst>
              </p:cNvPr>
              <p:cNvSpPr/>
              <p:nvPr/>
            </p:nvSpPr>
            <p:spPr>
              <a:xfrm>
                <a:off x="9984076" y="5274262"/>
                <a:ext cx="57202" cy="28589"/>
              </a:xfrm>
              <a:custGeom>
                <a:avLst/>
                <a:gdLst>
                  <a:gd name="connsiteX0" fmla="*/ 57203 w 57202"/>
                  <a:gd name="connsiteY0" fmla="*/ 0 h 28589"/>
                  <a:gd name="connsiteX1" fmla="*/ 28601 w 57202"/>
                  <a:gd name="connsiteY1" fmla="*/ 28590 h 28589"/>
                  <a:gd name="connsiteX2" fmla="*/ 0 w 57202"/>
                  <a:gd name="connsiteY2" fmla="*/ 0 h 285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57202" h="28589">
                    <a:moveTo>
                      <a:pt x="57203" y="0"/>
                    </a:moveTo>
                    <a:cubicBezTo>
                      <a:pt x="57203" y="15792"/>
                      <a:pt x="44405" y="28590"/>
                      <a:pt x="28601" y="28590"/>
                    </a:cubicBezTo>
                    <a:cubicBezTo>
                      <a:pt x="12798" y="28590"/>
                      <a:pt x="0" y="15792"/>
                      <a:pt x="0" y="0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613" name="Forma livre: Forma 2612">
                <a:extLst>
                  <a:ext uri="{FF2B5EF4-FFF2-40B4-BE49-F238E27FC236}">
                    <a16:creationId xmlns:a16="http://schemas.microsoft.com/office/drawing/2014/main" id="{E3767368-8D4D-21BF-730F-98ED67973A1A}"/>
                  </a:ext>
                </a:extLst>
              </p:cNvPr>
              <p:cNvSpPr/>
              <p:nvPr/>
            </p:nvSpPr>
            <p:spPr>
              <a:xfrm>
                <a:off x="10041278" y="5274262"/>
                <a:ext cx="57500" cy="28589"/>
              </a:xfrm>
              <a:custGeom>
                <a:avLst/>
                <a:gdLst>
                  <a:gd name="connsiteX0" fmla="*/ 57501 w 57500"/>
                  <a:gd name="connsiteY0" fmla="*/ 0 h 28589"/>
                  <a:gd name="connsiteX1" fmla="*/ 28601 w 57500"/>
                  <a:gd name="connsiteY1" fmla="*/ 28590 h 28589"/>
                  <a:gd name="connsiteX2" fmla="*/ 0 w 57500"/>
                  <a:gd name="connsiteY2" fmla="*/ 0 h 285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57500" h="28589">
                    <a:moveTo>
                      <a:pt x="57501" y="0"/>
                    </a:moveTo>
                    <a:cubicBezTo>
                      <a:pt x="57501" y="15792"/>
                      <a:pt x="44393" y="28590"/>
                      <a:pt x="28601" y="28590"/>
                    </a:cubicBezTo>
                    <a:cubicBezTo>
                      <a:pt x="12810" y="28590"/>
                      <a:pt x="0" y="15792"/>
                      <a:pt x="0" y="0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614" name="Forma livre: Forma 2613">
                <a:extLst>
                  <a:ext uri="{FF2B5EF4-FFF2-40B4-BE49-F238E27FC236}">
                    <a16:creationId xmlns:a16="http://schemas.microsoft.com/office/drawing/2014/main" id="{44DBD90D-680D-00B1-D696-F4DE890D6FBD}"/>
                  </a:ext>
                </a:extLst>
              </p:cNvPr>
              <p:cNvSpPr/>
              <p:nvPr/>
            </p:nvSpPr>
            <p:spPr>
              <a:xfrm>
                <a:off x="9901742" y="5249298"/>
                <a:ext cx="253333" cy="1192"/>
              </a:xfrm>
              <a:custGeom>
                <a:avLst/>
                <a:gdLst>
                  <a:gd name="connsiteX0" fmla="*/ 253333 w 253333"/>
                  <a:gd name="connsiteY0" fmla="*/ 0 h 1192"/>
                  <a:gd name="connsiteX1" fmla="*/ 0 w 253333"/>
                  <a:gd name="connsiteY1" fmla="*/ 0 h 11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53333" h="1192">
                    <a:moveTo>
                      <a:pt x="253333" y="0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615" name="Forma livre: Forma 2614">
                <a:extLst>
                  <a:ext uri="{FF2B5EF4-FFF2-40B4-BE49-F238E27FC236}">
                    <a16:creationId xmlns:a16="http://schemas.microsoft.com/office/drawing/2014/main" id="{2F900628-D9A5-4BC3-0DEC-051FD64A1B9C}"/>
                  </a:ext>
                </a:extLst>
              </p:cNvPr>
              <p:cNvSpPr/>
              <p:nvPr/>
            </p:nvSpPr>
            <p:spPr>
              <a:xfrm>
                <a:off x="9870266" y="5188064"/>
                <a:ext cx="286013" cy="114787"/>
              </a:xfrm>
              <a:custGeom>
                <a:avLst/>
                <a:gdLst>
                  <a:gd name="connsiteX0" fmla="*/ 228513 w 286013"/>
                  <a:gd name="connsiteY0" fmla="*/ 86198 h 114787"/>
                  <a:gd name="connsiteX1" fmla="*/ 257413 w 286013"/>
                  <a:gd name="connsiteY1" fmla="*/ 114787 h 114787"/>
                  <a:gd name="connsiteX2" fmla="*/ 286014 w 286013"/>
                  <a:gd name="connsiteY2" fmla="*/ 86198 h 114787"/>
                  <a:gd name="connsiteX3" fmla="*/ 286014 w 286013"/>
                  <a:gd name="connsiteY3" fmla="*/ 61365 h 114787"/>
                  <a:gd name="connsiteX4" fmla="*/ 251139 w 286013"/>
                  <a:gd name="connsiteY4" fmla="*/ 0 h 114787"/>
                  <a:gd name="connsiteX5" fmla="*/ 35591 w 286013"/>
                  <a:gd name="connsiteY5" fmla="*/ 0 h 114787"/>
                  <a:gd name="connsiteX6" fmla="*/ 0 w 286013"/>
                  <a:gd name="connsiteY6" fmla="*/ 61354 h 114787"/>
                  <a:gd name="connsiteX7" fmla="*/ 0 w 286013"/>
                  <a:gd name="connsiteY7" fmla="*/ 86186 h 114787"/>
                  <a:gd name="connsiteX8" fmla="*/ 28613 w 286013"/>
                  <a:gd name="connsiteY8" fmla="*/ 114775 h 114787"/>
                  <a:gd name="connsiteX9" fmla="*/ 56917 w 286013"/>
                  <a:gd name="connsiteY9" fmla="*/ 86186 h 1147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86013" h="114787">
                    <a:moveTo>
                      <a:pt x="228513" y="86198"/>
                    </a:moveTo>
                    <a:cubicBezTo>
                      <a:pt x="228513" y="101989"/>
                      <a:pt x="241609" y="114787"/>
                      <a:pt x="257413" y="114787"/>
                    </a:cubicBezTo>
                    <a:cubicBezTo>
                      <a:pt x="273216" y="114787"/>
                      <a:pt x="286014" y="101989"/>
                      <a:pt x="286014" y="86198"/>
                    </a:cubicBezTo>
                    <a:lnTo>
                      <a:pt x="286014" y="61365"/>
                    </a:lnTo>
                    <a:lnTo>
                      <a:pt x="251139" y="0"/>
                    </a:lnTo>
                    <a:lnTo>
                      <a:pt x="35591" y="0"/>
                    </a:lnTo>
                    <a:lnTo>
                      <a:pt x="0" y="61354"/>
                    </a:lnTo>
                    <a:lnTo>
                      <a:pt x="0" y="86186"/>
                    </a:lnTo>
                    <a:cubicBezTo>
                      <a:pt x="0" y="101977"/>
                      <a:pt x="12822" y="114775"/>
                      <a:pt x="28613" y="114775"/>
                    </a:cubicBezTo>
                    <a:cubicBezTo>
                      <a:pt x="44405" y="114775"/>
                      <a:pt x="56917" y="101977"/>
                      <a:pt x="56917" y="86186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616" name="Forma livre: Forma 2615">
                <a:extLst>
                  <a:ext uri="{FF2B5EF4-FFF2-40B4-BE49-F238E27FC236}">
                    <a16:creationId xmlns:a16="http://schemas.microsoft.com/office/drawing/2014/main" id="{9DB12E90-2CD5-26BC-7464-AF3EF25130CC}"/>
                  </a:ext>
                </a:extLst>
              </p:cNvPr>
              <p:cNvSpPr/>
              <p:nvPr/>
            </p:nvSpPr>
            <p:spPr>
              <a:xfrm>
                <a:off x="9988095" y="5188589"/>
                <a:ext cx="2158" cy="34290"/>
              </a:xfrm>
              <a:custGeom>
                <a:avLst/>
                <a:gdLst>
                  <a:gd name="connsiteX0" fmla="*/ 0 w 2158"/>
                  <a:gd name="connsiteY0" fmla="*/ 34291 h 34290"/>
                  <a:gd name="connsiteX1" fmla="*/ 2159 w 2158"/>
                  <a:gd name="connsiteY1" fmla="*/ 0 h 342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158" h="34290">
                    <a:moveTo>
                      <a:pt x="0" y="34291"/>
                    </a:moveTo>
                    <a:lnTo>
                      <a:pt x="2159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617" name="Forma livre: Forma 2616">
                <a:extLst>
                  <a:ext uri="{FF2B5EF4-FFF2-40B4-BE49-F238E27FC236}">
                    <a16:creationId xmlns:a16="http://schemas.microsoft.com/office/drawing/2014/main" id="{43B36AFF-2E58-D728-6D8C-F00A000E318A}"/>
                  </a:ext>
                </a:extLst>
              </p:cNvPr>
              <p:cNvSpPr/>
              <p:nvPr/>
            </p:nvSpPr>
            <p:spPr>
              <a:xfrm>
                <a:off x="9938144" y="5188589"/>
                <a:ext cx="8098" cy="34290"/>
              </a:xfrm>
              <a:custGeom>
                <a:avLst/>
                <a:gdLst>
                  <a:gd name="connsiteX0" fmla="*/ 0 w 8098"/>
                  <a:gd name="connsiteY0" fmla="*/ 34291 h 34290"/>
                  <a:gd name="connsiteX1" fmla="*/ 8099 w 8098"/>
                  <a:gd name="connsiteY1" fmla="*/ 0 h 342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8098" h="34290">
                    <a:moveTo>
                      <a:pt x="0" y="34291"/>
                    </a:moveTo>
                    <a:lnTo>
                      <a:pt x="8099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618" name="Forma livre: Forma 2617">
                <a:extLst>
                  <a:ext uri="{FF2B5EF4-FFF2-40B4-BE49-F238E27FC236}">
                    <a16:creationId xmlns:a16="http://schemas.microsoft.com/office/drawing/2014/main" id="{6F16C4E0-AF5F-6E8D-7EB4-C51C8F1240EF}"/>
                  </a:ext>
                </a:extLst>
              </p:cNvPr>
              <p:cNvSpPr/>
              <p:nvPr/>
            </p:nvSpPr>
            <p:spPr>
              <a:xfrm>
                <a:off x="10035088" y="5188589"/>
                <a:ext cx="2158" cy="34290"/>
              </a:xfrm>
              <a:custGeom>
                <a:avLst/>
                <a:gdLst>
                  <a:gd name="connsiteX0" fmla="*/ 2159 w 2158"/>
                  <a:gd name="connsiteY0" fmla="*/ 34291 h 34290"/>
                  <a:gd name="connsiteX1" fmla="*/ 0 w 2158"/>
                  <a:gd name="connsiteY1" fmla="*/ 0 h 342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158" h="34290">
                    <a:moveTo>
                      <a:pt x="2159" y="34291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619" name="Forma livre: Forma 2618">
                <a:extLst>
                  <a:ext uri="{FF2B5EF4-FFF2-40B4-BE49-F238E27FC236}">
                    <a16:creationId xmlns:a16="http://schemas.microsoft.com/office/drawing/2014/main" id="{C2CD0978-0868-E2A3-0001-D90A167C7DCE}"/>
                  </a:ext>
                </a:extLst>
              </p:cNvPr>
              <p:cNvSpPr/>
              <p:nvPr/>
            </p:nvSpPr>
            <p:spPr>
              <a:xfrm>
                <a:off x="10079088" y="5188589"/>
                <a:ext cx="8098" cy="34290"/>
              </a:xfrm>
              <a:custGeom>
                <a:avLst/>
                <a:gdLst>
                  <a:gd name="connsiteX0" fmla="*/ 8099 w 8098"/>
                  <a:gd name="connsiteY0" fmla="*/ 34291 h 34290"/>
                  <a:gd name="connsiteX1" fmla="*/ 0 w 8098"/>
                  <a:gd name="connsiteY1" fmla="*/ 0 h 342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8098" h="34290">
                    <a:moveTo>
                      <a:pt x="8099" y="34291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620" name="Forma livre: Forma 2619">
                <a:extLst>
                  <a:ext uri="{FF2B5EF4-FFF2-40B4-BE49-F238E27FC236}">
                    <a16:creationId xmlns:a16="http://schemas.microsoft.com/office/drawing/2014/main" id="{4EBEB4FB-4A00-1935-42A9-C5FF2554AD22}"/>
                  </a:ext>
                </a:extLst>
              </p:cNvPr>
              <p:cNvSpPr/>
              <p:nvPr/>
            </p:nvSpPr>
            <p:spPr>
              <a:xfrm>
                <a:off x="9863217" y="5461173"/>
                <a:ext cx="204765" cy="1192"/>
              </a:xfrm>
              <a:custGeom>
                <a:avLst/>
                <a:gdLst>
                  <a:gd name="connsiteX0" fmla="*/ 0 w 204765"/>
                  <a:gd name="connsiteY0" fmla="*/ 0 h 1192"/>
                  <a:gd name="connsiteX1" fmla="*/ 204766 w 204765"/>
                  <a:gd name="connsiteY1" fmla="*/ 0 h 11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04765" h="1192">
                    <a:moveTo>
                      <a:pt x="0" y="0"/>
                    </a:moveTo>
                    <a:lnTo>
                      <a:pt x="204766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2621" name="Gráfico 18">
            <a:extLst>
              <a:ext uri="{FF2B5EF4-FFF2-40B4-BE49-F238E27FC236}">
                <a16:creationId xmlns:a16="http://schemas.microsoft.com/office/drawing/2014/main" id="{97581866-8EBD-B11D-A079-782A4570AB3D}"/>
              </a:ext>
            </a:extLst>
          </p:cNvPr>
          <p:cNvGrpSpPr/>
          <p:nvPr/>
        </p:nvGrpSpPr>
        <p:grpSpPr>
          <a:xfrm>
            <a:off x="9858697" y="3601694"/>
            <a:ext cx="319732" cy="255784"/>
            <a:chOff x="9858697" y="3601694"/>
            <a:chExt cx="319732" cy="255784"/>
          </a:xfrm>
          <a:noFill/>
        </p:grpSpPr>
        <p:grpSp>
          <p:nvGrpSpPr>
            <p:cNvPr id="2622" name="Gráfico 18">
              <a:extLst>
                <a:ext uri="{FF2B5EF4-FFF2-40B4-BE49-F238E27FC236}">
                  <a16:creationId xmlns:a16="http://schemas.microsoft.com/office/drawing/2014/main" id="{A9B5BA05-8786-D526-427A-C78C6DD599E3}"/>
                </a:ext>
              </a:extLst>
            </p:cNvPr>
            <p:cNvGrpSpPr/>
            <p:nvPr/>
          </p:nvGrpSpPr>
          <p:grpSpPr>
            <a:xfrm>
              <a:off x="9906692" y="3601694"/>
              <a:ext cx="271737" cy="230576"/>
              <a:chOff x="9906692" y="3601694"/>
              <a:chExt cx="271737" cy="230576"/>
            </a:xfrm>
            <a:noFill/>
          </p:grpSpPr>
          <p:sp>
            <p:nvSpPr>
              <p:cNvPr id="2623" name="Forma livre: Forma 2622">
                <a:extLst>
                  <a:ext uri="{FF2B5EF4-FFF2-40B4-BE49-F238E27FC236}">
                    <a16:creationId xmlns:a16="http://schemas.microsoft.com/office/drawing/2014/main" id="{A3AAED2A-961A-E6B6-6C7A-1F0309E80486}"/>
                  </a:ext>
                </a:extLst>
              </p:cNvPr>
              <p:cNvSpPr/>
              <p:nvPr/>
            </p:nvSpPr>
            <p:spPr>
              <a:xfrm>
                <a:off x="9906692" y="3601694"/>
                <a:ext cx="270472" cy="230576"/>
              </a:xfrm>
              <a:custGeom>
                <a:avLst/>
                <a:gdLst>
                  <a:gd name="connsiteX0" fmla="*/ 270473 w 270472"/>
                  <a:gd name="connsiteY0" fmla="*/ 190483 h 230576"/>
                  <a:gd name="connsiteX1" fmla="*/ 0 w 270472"/>
                  <a:gd name="connsiteY1" fmla="*/ 190483 h 230576"/>
                  <a:gd name="connsiteX2" fmla="*/ 0 w 270472"/>
                  <a:gd name="connsiteY2" fmla="*/ 40093 h 230576"/>
                  <a:gd name="connsiteX3" fmla="*/ 270473 w 270472"/>
                  <a:gd name="connsiteY3" fmla="*/ 40093 h 230576"/>
                  <a:gd name="connsiteX4" fmla="*/ 270473 w 270472"/>
                  <a:gd name="connsiteY4" fmla="*/ 190483 h 2305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70472" h="230576">
                    <a:moveTo>
                      <a:pt x="270473" y="190483"/>
                    </a:moveTo>
                    <a:cubicBezTo>
                      <a:pt x="188843" y="243941"/>
                      <a:pt x="81630" y="243941"/>
                      <a:pt x="0" y="190483"/>
                    </a:cubicBezTo>
                    <a:lnTo>
                      <a:pt x="0" y="40093"/>
                    </a:lnTo>
                    <a:cubicBezTo>
                      <a:pt x="81630" y="-13364"/>
                      <a:pt x="188843" y="-13364"/>
                      <a:pt x="270473" y="40093"/>
                    </a:cubicBezTo>
                    <a:lnTo>
                      <a:pt x="270473" y="190483"/>
                    </a:lnTo>
                    <a:close/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2624" name="Gráfico 18">
                <a:extLst>
                  <a:ext uri="{FF2B5EF4-FFF2-40B4-BE49-F238E27FC236}">
                    <a16:creationId xmlns:a16="http://schemas.microsoft.com/office/drawing/2014/main" id="{8645121D-5A8E-4790-06C5-51E28E234207}"/>
                  </a:ext>
                </a:extLst>
              </p:cNvPr>
              <p:cNvGrpSpPr/>
              <p:nvPr/>
            </p:nvGrpSpPr>
            <p:grpSpPr>
              <a:xfrm>
                <a:off x="9963740" y="3605863"/>
                <a:ext cx="32084" cy="222239"/>
                <a:chOff x="9963740" y="3605863"/>
                <a:chExt cx="32084" cy="222239"/>
              </a:xfrm>
            </p:grpSpPr>
            <p:sp>
              <p:nvSpPr>
                <p:cNvPr id="2625" name="Forma livre: Forma 2624">
                  <a:extLst>
                    <a:ext uri="{FF2B5EF4-FFF2-40B4-BE49-F238E27FC236}">
                      <a16:creationId xmlns:a16="http://schemas.microsoft.com/office/drawing/2014/main" id="{BD456F9E-ACDC-EB0B-29A6-559299BD621D}"/>
                    </a:ext>
                  </a:extLst>
                </p:cNvPr>
                <p:cNvSpPr/>
                <p:nvPr/>
              </p:nvSpPr>
              <p:spPr>
                <a:xfrm>
                  <a:off x="9963740" y="3614331"/>
                  <a:ext cx="1192" cy="205302"/>
                </a:xfrm>
                <a:custGeom>
                  <a:avLst/>
                  <a:gdLst>
                    <a:gd name="connsiteX0" fmla="*/ 0 w 1192"/>
                    <a:gd name="connsiteY0" fmla="*/ 0 h 205302"/>
                    <a:gd name="connsiteX1" fmla="*/ 0 w 1192"/>
                    <a:gd name="connsiteY1" fmla="*/ 205303 h 20530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192" h="205302">
                      <a:moveTo>
                        <a:pt x="0" y="0"/>
                      </a:moveTo>
                      <a:lnTo>
                        <a:pt x="0" y="205303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626" name="Forma livre: Forma 2625">
                  <a:extLst>
                    <a:ext uri="{FF2B5EF4-FFF2-40B4-BE49-F238E27FC236}">
                      <a16:creationId xmlns:a16="http://schemas.microsoft.com/office/drawing/2014/main" id="{2ED9FCC8-D6D4-F15E-CA89-0F017548E344}"/>
                    </a:ext>
                  </a:extLst>
                </p:cNvPr>
                <p:cNvSpPr/>
                <p:nvPr/>
              </p:nvSpPr>
              <p:spPr>
                <a:xfrm>
                  <a:off x="9995824" y="3605863"/>
                  <a:ext cx="1192" cy="222239"/>
                </a:xfrm>
                <a:custGeom>
                  <a:avLst/>
                  <a:gdLst>
                    <a:gd name="connsiteX0" fmla="*/ 0 w 1192"/>
                    <a:gd name="connsiteY0" fmla="*/ 0 h 222239"/>
                    <a:gd name="connsiteX1" fmla="*/ 0 w 1192"/>
                    <a:gd name="connsiteY1" fmla="*/ 222239 h 22223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192" h="222239">
                      <a:moveTo>
                        <a:pt x="0" y="0"/>
                      </a:moveTo>
                      <a:lnTo>
                        <a:pt x="0" y="222239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2627" name="Gráfico 18">
                <a:extLst>
                  <a:ext uri="{FF2B5EF4-FFF2-40B4-BE49-F238E27FC236}">
                    <a16:creationId xmlns:a16="http://schemas.microsoft.com/office/drawing/2014/main" id="{7576AE83-D4D5-07F2-7885-3E9E4E2303E2}"/>
                  </a:ext>
                </a:extLst>
              </p:cNvPr>
              <p:cNvGrpSpPr/>
              <p:nvPr/>
            </p:nvGrpSpPr>
            <p:grpSpPr>
              <a:xfrm>
                <a:off x="10088033" y="3605863"/>
                <a:ext cx="32072" cy="222239"/>
                <a:chOff x="10088033" y="3605863"/>
                <a:chExt cx="32072" cy="222239"/>
              </a:xfrm>
            </p:grpSpPr>
            <p:sp>
              <p:nvSpPr>
                <p:cNvPr id="2628" name="Forma livre: Forma 2627">
                  <a:extLst>
                    <a:ext uri="{FF2B5EF4-FFF2-40B4-BE49-F238E27FC236}">
                      <a16:creationId xmlns:a16="http://schemas.microsoft.com/office/drawing/2014/main" id="{5ABCFBFC-BD85-EE26-09B7-03A44622CE3B}"/>
                    </a:ext>
                  </a:extLst>
                </p:cNvPr>
                <p:cNvSpPr/>
                <p:nvPr/>
              </p:nvSpPr>
              <p:spPr>
                <a:xfrm>
                  <a:off x="10120105" y="3614331"/>
                  <a:ext cx="1192" cy="205302"/>
                </a:xfrm>
                <a:custGeom>
                  <a:avLst/>
                  <a:gdLst>
                    <a:gd name="connsiteX0" fmla="*/ 0 w 1192"/>
                    <a:gd name="connsiteY0" fmla="*/ 0 h 205302"/>
                    <a:gd name="connsiteX1" fmla="*/ 0 w 1192"/>
                    <a:gd name="connsiteY1" fmla="*/ 205303 h 20530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192" h="205302">
                      <a:moveTo>
                        <a:pt x="0" y="0"/>
                      </a:moveTo>
                      <a:lnTo>
                        <a:pt x="0" y="205303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629" name="Forma livre: Forma 2628">
                  <a:extLst>
                    <a:ext uri="{FF2B5EF4-FFF2-40B4-BE49-F238E27FC236}">
                      <a16:creationId xmlns:a16="http://schemas.microsoft.com/office/drawing/2014/main" id="{54137DF0-6C01-C5FE-4049-C87A50447CD6}"/>
                    </a:ext>
                  </a:extLst>
                </p:cNvPr>
                <p:cNvSpPr/>
                <p:nvPr/>
              </p:nvSpPr>
              <p:spPr>
                <a:xfrm>
                  <a:off x="10088033" y="3605863"/>
                  <a:ext cx="1192" cy="222239"/>
                </a:xfrm>
                <a:custGeom>
                  <a:avLst/>
                  <a:gdLst>
                    <a:gd name="connsiteX0" fmla="*/ 0 w 1192"/>
                    <a:gd name="connsiteY0" fmla="*/ 0 h 222239"/>
                    <a:gd name="connsiteX1" fmla="*/ 0 w 1192"/>
                    <a:gd name="connsiteY1" fmla="*/ 222239 h 22223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192" h="222239">
                      <a:moveTo>
                        <a:pt x="0" y="0"/>
                      </a:moveTo>
                      <a:lnTo>
                        <a:pt x="0" y="222239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2630" name="Forma livre: Forma 2629">
                <a:extLst>
                  <a:ext uri="{FF2B5EF4-FFF2-40B4-BE49-F238E27FC236}">
                    <a16:creationId xmlns:a16="http://schemas.microsoft.com/office/drawing/2014/main" id="{EC92FD97-CE41-1882-DA15-672CC6022EB6}"/>
                  </a:ext>
                </a:extLst>
              </p:cNvPr>
              <p:cNvSpPr/>
              <p:nvPr/>
            </p:nvSpPr>
            <p:spPr>
              <a:xfrm>
                <a:off x="9997160" y="3716977"/>
                <a:ext cx="69988" cy="1192"/>
              </a:xfrm>
              <a:custGeom>
                <a:avLst/>
                <a:gdLst>
                  <a:gd name="connsiteX0" fmla="*/ 0 w 69988"/>
                  <a:gd name="connsiteY0" fmla="*/ 0 h 1192"/>
                  <a:gd name="connsiteX1" fmla="*/ 69989 w 69988"/>
                  <a:gd name="connsiteY1" fmla="*/ 0 h 11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9988" h="1192">
                    <a:moveTo>
                      <a:pt x="0" y="0"/>
                    </a:moveTo>
                    <a:lnTo>
                      <a:pt x="69989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631" name="Forma livre: Forma 2630">
                <a:extLst>
                  <a:ext uri="{FF2B5EF4-FFF2-40B4-BE49-F238E27FC236}">
                    <a16:creationId xmlns:a16="http://schemas.microsoft.com/office/drawing/2014/main" id="{C80AE049-EBC3-00D1-BC8F-C9A6E8C3C129}"/>
                  </a:ext>
                </a:extLst>
              </p:cNvPr>
              <p:cNvSpPr/>
              <p:nvPr/>
            </p:nvSpPr>
            <p:spPr>
              <a:xfrm>
                <a:off x="10121322" y="3716977"/>
                <a:ext cx="57107" cy="1192"/>
              </a:xfrm>
              <a:custGeom>
                <a:avLst/>
                <a:gdLst>
                  <a:gd name="connsiteX0" fmla="*/ 0 w 57107"/>
                  <a:gd name="connsiteY0" fmla="*/ 0 h 1192"/>
                  <a:gd name="connsiteX1" fmla="*/ 57107 w 57107"/>
                  <a:gd name="connsiteY1" fmla="*/ 0 h 11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7107" h="1192">
                    <a:moveTo>
                      <a:pt x="0" y="0"/>
                    </a:moveTo>
                    <a:lnTo>
                      <a:pt x="57107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632" name="Forma livre: Forma 2631">
                <a:extLst>
                  <a:ext uri="{FF2B5EF4-FFF2-40B4-BE49-F238E27FC236}">
                    <a16:creationId xmlns:a16="http://schemas.microsoft.com/office/drawing/2014/main" id="{AF48E55A-34B1-C72A-1901-9DB3645CB2CB}"/>
                  </a:ext>
                </a:extLst>
              </p:cNvPr>
              <p:cNvSpPr/>
              <p:nvPr/>
            </p:nvSpPr>
            <p:spPr>
              <a:xfrm>
                <a:off x="9928233" y="3716977"/>
                <a:ext cx="35113" cy="1192"/>
              </a:xfrm>
              <a:custGeom>
                <a:avLst/>
                <a:gdLst>
                  <a:gd name="connsiteX0" fmla="*/ 0 w 35113"/>
                  <a:gd name="connsiteY0" fmla="*/ 0 h 1192"/>
                  <a:gd name="connsiteX1" fmla="*/ 35114 w 35113"/>
                  <a:gd name="connsiteY1" fmla="*/ 0 h 11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5113" h="1192">
                    <a:moveTo>
                      <a:pt x="0" y="0"/>
                    </a:moveTo>
                    <a:lnTo>
                      <a:pt x="35114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2633" name="Gráfico 18">
                <a:extLst>
                  <a:ext uri="{FF2B5EF4-FFF2-40B4-BE49-F238E27FC236}">
                    <a16:creationId xmlns:a16="http://schemas.microsoft.com/office/drawing/2014/main" id="{C20599A4-E2A6-411D-3799-E1333CD17E3E}"/>
                  </a:ext>
                </a:extLst>
              </p:cNvPr>
              <p:cNvGrpSpPr/>
              <p:nvPr/>
            </p:nvGrpSpPr>
            <p:grpSpPr>
              <a:xfrm>
                <a:off x="9929211" y="3660374"/>
                <a:ext cx="247930" cy="113213"/>
                <a:chOff x="9929211" y="3660374"/>
                <a:chExt cx="247930" cy="113213"/>
              </a:xfrm>
              <a:noFill/>
            </p:grpSpPr>
            <p:sp>
              <p:nvSpPr>
                <p:cNvPr id="2634" name="Forma livre: Forma 2633">
                  <a:extLst>
                    <a:ext uri="{FF2B5EF4-FFF2-40B4-BE49-F238E27FC236}">
                      <a16:creationId xmlns:a16="http://schemas.microsoft.com/office/drawing/2014/main" id="{78E4AA5E-4205-662B-A616-43C998B4A50D}"/>
                    </a:ext>
                  </a:extLst>
                </p:cNvPr>
                <p:cNvSpPr/>
                <p:nvPr/>
              </p:nvSpPr>
              <p:spPr>
                <a:xfrm>
                  <a:off x="10120332" y="3667049"/>
                  <a:ext cx="56809" cy="13728"/>
                </a:xfrm>
                <a:custGeom>
                  <a:avLst/>
                  <a:gdLst>
                    <a:gd name="connsiteX0" fmla="*/ 0 w 56809"/>
                    <a:gd name="connsiteY0" fmla="*/ 0 h 13728"/>
                    <a:gd name="connsiteX1" fmla="*/ 56809 w 56809"/>
                    <a:gd name="connsiteY1" fmla="*/ 13728 h 1372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56809" h="13728">
                      <a:moveTo>
                        <a:pt x="0" y="0"/>
                      </a:moveTo>
                      <a:cubicBezTo>
                        <a:pt x="19286" y="3328"/>
                        <a:pt x="38286" y="7908"/>
                        <a:pt x="56809" y="13728"/>
                      </a:cubicBez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635" name="Forma livre: Forma 2634">
                  <a:extLst>
                    <a:ext uri="{FF2B5EF4-FFF2-40B4-BE49-F238E27FC236}">
                      <a16:creationId xmlns:a16="http://schemas.microsoft.com/office/drawing/2014/main" id="{B00BA0CD-FFEA-F649-E8EF-51CCA58D7930}"/>
                    </a:ext>
                  </a:extLst>
                </p:cNvPr>
                <p:cNvSpPr/>
                <p:nvPr/>
              </p:nvSpPr>
              <p:spPr>
                <a:xfrm>
                  <a:off x="9996480" y="3660374"/>
                  <a:ext cx="70823" cy="2226"/>
                </a:xfrm>
                <a:custGeom>
                  <a:avLst/>
                  <a:gdLst>
                    <a:gd name="connsiteX0" fmla="*/ 0 w 70823"/>
                    <a:gd name="connsiteY0" fmla="*/ 2226 h 2226"/>
                    <a:gd name="connsiteX1" fmla="*/ 70824 w 70823"/>
                    <a:gd name="connsiteY1" fmla="*/ 545 h 222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70823" h="2226">
                      <a:moveTo>
                        <a:pt x="0" y="2226"/>
                      </a:moveTo>
                      <a:cubicBezTo>
                        <a:pt x="22542" y="8"/>
                        <a:pt x="48162" y="-553"/>
                        <a:pt x="70824" y="545"/>
                      </a:cubicBez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636" name="Forma livre: Forma 2635">
                  <a:extLst>
                    <a:ext uri="{FF2B5EF4-FFF2-40B4-BE49-F238E27FC236}">
                      <a16:creationId xmlns:a16="http://schemas.microsoft.com/office/drawing/2014/main" id="{75D843EC-CD35-E1F4-57D1-525C07F90DF0}"/>
                    </a:ext>
                  </a:extLst>
                </p:cNvPr>
                <p:cNvSpPr/>
                <p:nvPr/>
              </p:nvSpPr>
              <p:spPr>
                <a:xfrm>
                  <a:off x="9929962" y="3667169"/>
                  <a:ext cx="32942" cy="7025"/>
                </a:xfrm>
                <a:custGeom>
                  <a:avLst/>
                  <a:gdLst>
                    <a:gd name="connsiteX0" fmla="*/ 0 w 32942"/>
                    <a:gd name="connsiteY0" fmla="*/ 7025 h 7025"/>
                    <a:gd name="connsiteX1" fmla="*/ 32943 w 32942"/>
                    <a:gd name="connsiteY1" fmla="*/ 0 h 702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32942" h="7025">
                      <a:moveTo>
                        <a:pt x="0" y="7025"/>
                      </a:moveTo>
                      <a:cubicBezTo>
                        <a:pt x="10866" y="4282"/>
                        <a:pt x="21851" y="1932"/>
                        <a:pt x="32943" y="0"/>
                      </a:cubicBez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637" name="Forma livre: Forma 2636">
                  <a:extLst>
                    <a:ext uri="{FF2B5EF4-FFF2-40B4-BE49-F238E27FC236}">
                      <a16:creationId xmlns:a16="http://schemas.microsoft.com/office/drawing/2014/main" id="{7483DD45-B3E5-FBE6-BD45-28D1AB57775F}"/>
                    </a:ext>
                  </a:extLst>
                </p:cNvPr>
                <p:cNvSpPr/>
                <p:nvPr/>
              </p:nvSpPr>
              <p:spPr>
                <a:xfrm>
                  <a:off x="10121334" y="3753187"/>
                  <a:ext cx="55807" cy="13561"/>
                </a:xfrm>
                <a:custGeom>
                  <a:avLst/>
                  <a:gdLst>
                    <a:gd name="connsiteX0" fmla="*/ 0 w 55807"/>
                    <a:gd name="connsiteY0" fmla="*/ 13561 h 13561"/>
                    <a:gd name="connsiteX1" fmla="*/ 55807 w 55807"/>
                    <a:gd name="connsiteY1" fmla="*/ 0 h 1356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55807" h="13561">
                      <a:moveTo>
                        <a:pt x="0" y="13561"/>
                      </a:moveTo>
                      <a:cubicBezTo>
                        <a:pt x="18940" y="10234"/>
                        <a:pt x="37606" y="5725"/>
                        <a:pt x="55807" y="0"/>
                      </a:cubicBez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638" name="Forma livre: Forma 2637">
                  <a:extLst>
                    <a:ext uri="{FF2B5EF4-FFF2-40B4-BE49-F238E27FC236}">
                      <a16:creationId xmlns:a16="http://schemas.microsoft.com/office/drawing/2014/main" id="{85F59A65-BE5C-0242-FA34-F3F6FAB024BA}"/>
                    </a:ext>
                  </a:extLst>
                </p:cNvPr>
                <p:cNvSpPr/>
                <p:nvPr/>
              </p:nvSpPr>
              <p:spPr>
                <a:xfrm>
                  <a:off x="9998496" y="3771555"/>
                  <a:ext cx="68652" cy="2032"/>
                </a:xfrm>
                <a:custGeom>
                  <a:avLst/>
                  <a:gdLst>
                    <a:gd name="connsiteX0" fmla="*/ 0 w 68652"/>
                    <a:gd name="connsiteY0" fmla="*/ 0 h 2032"/>
                    <a:gd name="connsiteX1" fmla="*/ 68653 w 68652"/>
                    <a:gd name="connsiteY1" fmla="*/ 1491 h 203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68652" h="2032">
                      <a:moveTo>
                        <a:pt x="0" y="0"/>
                      </a:moveTo>
                      <a:cubicBezTo>
                        <a:pt x="21839" y="2051"/>
                        <a:pt x="46731" y="2552"/>
                        <a:pt x="68653" y="1491"/>
                      </a:cubicBez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639" name="Forma livre: Forma 2638">
                  <a:extLst>
                    <a:ext uri="{FF2B5EF4-FFF2-40B4-BE49-F238E27FC236}">
                      <a16:creationId xmlns:a16="http://schemas.microsoft.com/office/drawing/2014/main" id="{1ED3BF7D-77D8-8B7D-508D-A952B19288FA}"/>
                    </a:ext>
                  </a:extLst>
                </p:cNvPr>
                <p:cNvSpPr/>
                <p:nvPr/>
              </p:nvSpPr>
              <p:spPr>
                <a:xfrm>
                  <a:off x="9929211" y="3759592"/>
                  <a:ext cx="34433" cy="7347"/>
                </a:xfrm>
                <a:custGeom>
                  <a:avLst/>
                  <a:gdLst>
                    <a:gd name="connsiteX0" fmla="*/ 0 w 34433"/>
                    <a:gd name="connsiteY0" fmla="*/ 0 h 7347"/>
                    <a:gd name="connsiteX1" fmla="*/ 34434 w 34433"/>
                    <a:gd name="connsiteY1" fmla="*/ 7347 h 734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34433" h="7347">
                      <a:moveTo>
                        <a:pt x="0" y="0"/>
                      </a:moveTo>
                      <a:cubicBezTo>
                        <a:pt x="11343" y="2898"/>
                        <a:pt x="22841" y="5343"/>
                        <a:pt x="34434" y="7347"/>
                      </a:cubicBez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grpSp>
          <p:nvGrpSpPr>
            <p:cNvPr id="2640" name="Gráfico 18">
              <a:extLst>
                <a:ext uri="{FF2B5EF4-FFF2-40B4-BE49-F238E27FC236}">
                  <a16:creationId xmlns:a16="http://schemas.microsoft.com/office/drawing/2014/main" id="{3E100AED-682E-173E-6EC9-FAC470F335D3}"/>
                </a:ext>
              </a:extLst>
            </p:cNvPr>
            <p:cNvGrpSpPr/>
            <p:nvPr/>
          </p:nvGrpSpPr>
          <p:grpSpPr>
            <a:xfrm>
              <a:off x="9914993" y="3805107"/>
              <a:ext cx="253870" cy="52372"/>
              <a:chOff x="9914993" y="3805107"/>
              <a:chExt cx="253870" cy="52372"/>
            </a:xfrm>
            <a:noFill/>
          </p:grpSpPr>
          <p:sp>
            <p:nvSpPr>
              <p:cNvPr id="2641" name="Forma livre: Forma 2640">
                <a:extLst>
                  <a:ext uri="{FF2B5EF4-FFF2-40B4-BE49-F238E27FC236}">
                    <a16:creationId xmlns:a16="http://schemas.microsoft.com/office/drawing/2014/main" id="{C17C5D86-66F2-3C86-6B31-97B18DECD395}"/>
                  </a:ext>
                </a:extLst>
              </p:cNvPr>
              <p:cNvSpPr/>
              <p:nvPr/>
            </p:nvSpPr>
            <p:spPr>
              <a:xfrm>
                <a:off x="10112460" y="3805107"/>
                <a:ext cx="56403" cy="52372"/>
              </a:xfrm>
              <a:custGeom>
                <a:avLst/>
                <a:gdLst>
                  <a:gd name="connsiteX0" fmla="*/ 0 w 56403"/>
                  <a:gd name="connsiteY0" fmla="*/ 17056 h 52372"/>
                  <a:gd name="connsiteX1" fmla="*/ 26705 w 56403"/>
                  <a:gd name="connsiteY1" fmla="*/ 52372 h 52372"/>
                  <a:gd name="connsiteX2" fmla="*/ 56404 w 56403"/>
                  <a:gd name="connsiteY2" fmla="*/ 52372 h 52372"/>
                  <a:gd name="connsiteX3" fmla="*/ 42640 w 56403"/>
                  <a:gd name="connsiteY3" fmla="*/ 0 h 523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6403" h="52372">
                    <a:moveTo>
                      <a:pt x="0" y="17056"/>
                    </a:moveTo>
                    <a:lnTo>
                      <a:pt x="26705" y="52372"/>
                    </a:lnTo>
                    <a:lnTo>
                      <a:pt x="56404" y="52372"/>
                    </a:lnTo>
                    <a:lnTo>
                      <a:pt x="42640" y="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642" name="Forma livre: Forma 2641">
                <a:extLst>
                  <a:ext uri="{FF2B5EF4-FFF2-40B4-BE49-F238E27FC236}">
                    <a16:creationId xmlns:a16="http://schemas.microsoft.com/office/drawing/2014/main" id="{5C69395C-073B-8C31-5FF8-8EC0D3477F9E}"/>
                  </a:ext>
                </a:extLst>
              </p:cNvPr>
              <p:cNvSpPr/>
              <p:nvPr/>
            </p:nvSpPr>
            <p:spPr>
              <a:xfrm>
                <a:off x="9914993" y="3822162"/>
                <a:ext cx="56403" cy="35316"/>
              </a:xfrm>
              <a:custGeom>
                <a:avLst/>
                <a:gdLst>
                  <a:gd name="connsiteX0" fmla="*/ 56404 w 56403"/>
                  <a:gd name="connsiteY0" fmla="*/ 0 h 35316"/>
                  <a:gd name="connsiteX1" fmla="*/ 29699 w 56403"/>
                  <a:gd name="connsiteY1" fmla="*/ 35316 h 35316"/>
                  <a:gd name="connsiteX2" fmla="*/ 0 w 56403"/>
                  <a:gd name="connsiteY2" fmla="*/ 35316 h 35316"/>
                  <a:gd name="connsiteX3" fmla="*/ 8993 w 56403"/>
                  <a:gd name="connsiteY3" fmla="*/ 3745 h 353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6403" h="35316">
                    <a:moveTo>
                      <a:pt x="56404" y="0"/>
                    </a:moveTo>
                    <a:lnTo>
                      <a:pt x="29699" y="35316"/>
                    </a:lnTo>
                    <a:lnTo>
                      <a:pt x="0" y="35316"/>
                    </a:lnTo>
                    <a:lnTo>
                      <a:pt x="8993" y="3745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2643" name="Forma livre: Forma 2642">
              <a:extLst>
                <a:ext uri="{FF2B5EF4-FFF2-40B4-BE49-F238E27FC236}">
                  <a16:creationId xmlns:a16="http://schemas.microsoft.com/office/drawing/2014/main" id="{5CB28C8D-505F-6D3A-8041-9E051D19C075}"/>
                </a:ext>
              </a:extLst>
            </p:cNvPr>
            <p:cNvSpPr/>
            <p:nvPr/>
          </p:nvSpPr>
          <p:spPr>
            <a:xfrm>
              <a:off x="9858697" y="3735511"/>
              <a:ext cx="46241" cy="22864"/>
            </a:xfrm>
            <a:custGeom>
              <a:avLst/>
              <a:gdLst>
                <a:gd name="connsiteX0" fmla="*/ 0 w 46241"/>
                <a:gd name="connsiteY0" fmla="*/ 22864 h 22864"/>
                <a:gd name="connsiteX1" fmla="*/ 0 w 46241"/>
                <a:gd name="connsiteY1" fmla="*/ 9828 h 22864"/>
                <a:gd name="connsiteX2" fmla="*/ 9840 w 46241"/>
                <a:gd name="connsiteY2" fmla="*/ 0 h 22864"/>
                <a:gd name="connsiteX3" fmla="*/ 46242 w 46241"/>
                <a:gd name="connsiteY3" fmla="*/ 0 h 228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6241" h="22864">
                  <a:moveTo>
                    <a:pt x="0" y="22864"/>
                  </a:moveTo>
                  <a:lnTo>
                    <a:pt x="0" y="9828"/>
                  </a:lnTo>
                  <a:cubicBezTo>
                    <a:pt x="0" y="4413"/>
                    <a:pt x="4425" y="0"/>
                    <a:pt x="9840" y="0"/>
                  </a:cubicBezTo>
                  <a:lnTo>
                    <a:pt x="46242" y="0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2644" name="Gráfico 18">
              <a:extLst>
                <a:ext uri="{FF2B5EF4-FFF2-40B4-BE49-F238E27FC236}">
                  <a16:creationId xmlns:a16="http://schemas.microsoft.com/office/drawing/2014/main" id="{D6192BAA-D1B6-B281-632C-C26253DEDE15}"/>
                </a:ext>
              </a:extLst>
            </p:cNvPr>
            <p:cNvGrpSpPr/>
            <p:nvPr/>
          </p:nvGrpSpPr>
          <p:grpSpPr>
            <a:xfrm>
              <a:off x="9862072" y="3713601"/>
              <a:ext cx="23365" cy="20908"/>
              <a:chOff x="9862072" y="3713601"/>
              <a:chExt cx="23365" cy="20908"/>
            </a:xfrm>
          </p:grpSpPr>
          <p:sp>
            <p:nvSpPr>
              <p:cNvPr id="2645" name="Forma livre: Forma 2644">
                <a:extLst>
                  <a:ext uri="{FF2B5EF4-FFF2-40B4-BE49-F238E27FC236}">
                    <a16:creationId xmlns:a16="http://schemas.microsoft.com/office/drawing/2014/main" id="{184DC88A-D088-D092-6D12-8DB5790BFCF8}"/>
                  </a:ext>
                </a:extLst>
              </p:cNvPr>
              <p:cNvSpPr/>
              <p:nvPr/>
            </p:nvSpPr>
            <p:spPr>
              <a:xfrm>
                <a:off x="9862072" y="3713601"/>
                <a:ext cx="23365" cy="1192"/>
              </a:xfrm>
              <a:custGeom>
                <a:avLst/>
                <a:gdLst>
                  <a:gd name="connsiteX0" fmla="*/ 0 w 23365"/>
                  <a:gd name="connsiteY0" fmla="*/ 0 h 1192"/>
                  <a:gd name="connsiteX1" fmla="*/ 23365 w 23365"/>
                  <a:gd name="connsiteY1" fmla="*/ 0 h 11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3365" h="1192">
                    <a:moveTo>
                      <a:pt x="0" y="0"/>
                    </a:moveTo>
                    <a:lnTo>
                      <a:pt x="23365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646" name="Forma livre: Forma 2645">
                <a:extLst>
                  <a:ext uri="{FF2B5EF4-FFF2-40B4-BE49-F238E27FC236}">
                    <a16:creationId xmlns:a16="http://schemas.microsoft.com/office/drawing/2014/main" id="{AF6F5537-10B7-B6B8-3B91-BBEAFB3D6951}"/>
                  </a:ext>
                </a:extLst>
              </p:cNvPr>
              <p:cNvSpPr/>
              <p:nvPr/>
            </p:nvSpPr>
            <p:spPr>
              <a:xfrm>
                <a:off x="9873761" y="3716070"/>
                <a:ext cx="1192" cy="18439"/>
              </a:xfrm>
              <a:custGeom>
                <a:avLst/>
                <a:gdLst>
                  <a:gd name="connsiteX0" fmla="*/ 0 w 1192"/>
                  <a:gd name="connsiteY0" fmla="*/ 18439 h 18439"/>
                  <a:gd name="connsiteX1" fmla="*/ 0 w 1192"/>
                  <a:gd name="connsiteY1" fmla="*/ 0 h 184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2" h="18439">
                    <a:moveTo>
                      <a:pt x="0" y="18439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2647" name="Gráfico 18">
            <a:extLst>
              <a:ext uri="{FF2B5EF4-FFF2-40B4-BE49-F238E27FC236}">
                <a16:creationId xmlns:a16="http://schemas.microsoft.com/office/drawing/2014/main" id="{3EF9F719-A749-0464-E1B7-576E059190CE}"/>
              </a:ext>
            </a:extLst>
          </p:cNvPr>
          <p:cNvGrpSpPr/>
          <p:nvPr/>
        </p:nvGrpSpPr>
        <p:grpSpPr>
          <a:xfrm>
            <a:off x="9865770" y="5730868"/>
            <a:ext cx="305586" cy="251070"/>
            <a:chOff x="9865770" y="5730868"/>
            <a:chExt cx="305586" cy="251070"/>
          </a:xfrm>
          <a:noFill/>
        </p:grpSpPr>
        <p:sp>
          <p:nvSpPr>
            <p:cNvPr id="2648" name="Forma livre: Forma 2647">
              <a:extLst>
                <a:ext uri="{FF2B5EF4-FFF2-40B4-BE49-F238E27FC236}">
                  <a16:creationId xmlns:a16="http://schemas.microsoft.com/office/drawing/2014/main" id="{F9A859B4-99DF-CCEE-9A7C-B06FE853AE2E}"/>
                </a:ext>
              </a:extLst>
            </p:cNvPr>
            <p:cNvSpPr/>
            <p:nvPr/>
          </p:nvSpPr>
          <p:spPr>
            <a:xfrm>
              <a:off x="9966411" y="5730868"/>
              <a:ext cx="169596" cy="131893"/>
            </a:xfrm>
            <a:custGeom>
              <a:avLst/>
              <a:gdLst>
                <a:gd name="connsiteX0" fmla="*/ 0 w 169596"/>
                <a:gd name="connsiteY0" fmla="*/ 83254 h 131893"/>
                <a:gd name="connsiteX1" fmla="*/ 30987 w 169596"/>
                <a:gd name="connsiteY1" fmla="*/ 31574 h 131893"/>
                <a:gd name="connsiteX2" fmla="*/ 131044 w 169596"/>
                <a:gd name="connsiteY2" fmla="*/ 6932 h 131893"/>
                <a:gd name="connsiteX3" fmla="*/ 133513 w 169596"/>
                <a:gd name="connsiteY3" fmla="*/ 7887 h 131893"/>
                <a:gd name="connsiteX4" fmla="*/ 158155 w 169596"/>
                <a:gd name="connsiteY4" fmla="*/ 108838 h 131893"/>
                <a:gd name="connsiteX5" fmla="*/ 144140 w 169596"/>
                <a:gd name="connsiteY5" fmla="*/ 131894 h 1318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69596" h="131893">
                  <a:moveTo>
                    <a:pt x="0" y="83254"/>
                  </a:moveTo>
                  <a:lnTo>
                    <a:pt x="30987" y="31574"/>
                  </a:lnTo>
                  <a:cubicBezTo>
                    <a:pt x="51633" y="146"/>
                    <a:pt x="88047" y="-7309"/>
                    <a:pt x="131044" y="6932"/>
                  </a:cubicBezTo>
                  <a:lnTo>
                    <a:pt x="133513" y="7887"/>
                  </a:lnTo>
                  <a:cubicBezTo>
                    <a:pt x="172515" y="21388"/>
                    <a:pt x="178526" y="75323"/>
                    <a:pt x="158155" y="108838"/>
                  </a:cubicBezTo>
                  <a:lnTo>
                    <a:pt x="144140" y="131894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649" name="Forma livre: Forma 2648">
              <a:extLst>
                <a:ext uri="{FF2B5EF4-FFF2-40B4-BE49-F238E27FC236}">
                  <a16:creationId xmlns:a16="http://schemas.microsoft.com/office/drawing/2014/main" id="{6E96E448-CAA1-6AF5-4530-D8C73DC62988}"/>
                </a:ext>
              </a:extLst>
            </p:cNvPr>
            <p:cNvSpPr/>
            <p:nvPr/>
          </p:nvSpPr>
          <p:spPr>
            <a:xfrm>
              <a:off x="9865770" y="5747807"/>
              <a:ext cx="305586" cy="234130"/>
            </a:xfrm>
            <a:custGeom>
              <a:avLst/>
              <a:gdLst>
                <a:gd name="connsiteX0" fmla="*/ 250459 w 305586"/>
                <a:gd name="connsiteY0" fmla="*/ 0 h 234130"/>
                <a:gd name="connsiteX1" fmla="*/ 305586 w 305586"/>
                <a:gd name="connsiteY1" fmla="*/ 157558 h 234130"/>
                <a:gd name="connsiteX2" fmla="*/ 305586 w 305586"/>
                <a:gd name="connsiteY2" fmla="*/ 234131 h 234130"/>
                <a:gd name="connsiteX3" fmla="*/ 138964 w 305586"/>
                <a:gd name="connsiteY3" fmla="*/ 234131 h 234130"/>
                <a:gd name="connsiteX4" fmla="*/ 107273 w 305586"/>
                <a:gd name="connsiteY4" fmla="*/ 210217 h 234130"/>
                <a:gd name="connsiteX5" fmla="*/ 75571 w 305586"/>
                <a:gd name="connsiteY5" fmla="*/ 234131 h 234130"/>
                <a:gd name="connsiteX6" fmla="*/ 0 w 305586"/>
                <a:gd name="connsiteY6" fmla="*/ 234131 h 234130"/>
                <a:gd name="connsiteX7" fmla="*/ 44965 w 305586"/>
                <a:gd name="connsiteY7" fmla="*/ 159359 h 234130"/>
                <a:gd name="connsiteX8" fmla="*/ 94952 w 305586"/>
                <a:gd name="connsiteY8" fmla="*/ 144069 h 234130"/>
                <a:gd name="connsiteX9" fmla="*/ 87200 w 305586"/>
                <a:gd name="connsiteY9" fmla="*/ 88714 h 2341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05586" h="234130">
                  <a:moveTo>
                    <a:pt x="250459" y="0"/>
                  </a:moveTo>
                  <a:cubicBezTo>
                    <a:pt x="250459" y="0"/>
                    <a:pt x="305586" y="26848"/>
                    <a:pt x="305586" y="157558"/>
                  </a:cubicBezTo>
                  <a:lnTo>
                    <a:pt x="305586" y="234131"/>
                  </a:lnTo>
                  <a:lnTo>
                    <a:pt x="138964" y="234131"/>
                  </a:lnTo>
                  <a:cubicBezTo>
                    <a:pt x="138964" y="221070"/>
                    <a:pt x="124770" y="210217"/>
                    <a:pt x="107273" y="210217"/>
                  </a:cubicBezTo>
                  <a:cubicBezTo>
                    <a:pt x="89776" y="210217"/>
                    <a:pt x="75571" y="221070"/>
                    <a:pt x="75571" y="234131"/>
                  </a:cubicBezTo>
                  <a:lnTo>
                    <a:pt x="0" y="234131"/>
                  </a:lnTo>
                  <a:lnTo>
                    <a:pt x="44965" y="159359"/>
                  </a:lnTo>
                  <a:cubicBezTo>
                    <a:pt x="59898" y="169521"/>
                    <a:pt x="82298" y="162687"/>
                    <a:pt x="94952" y="144069"/>
                  </a:cubicBezTo>
                  <a:cubicBezTo>
                    <a:pt x="107607" y="125450"/>
                    <a:pt x="102144" y="98888"/>
                    <a:pt x="87200" y="88714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650" name="Forma livre: Forma 2649">
              <a:extLst>
                <a:ext uri="{FF2B5EF4-FFF2-40B4-BE49-F238E27FC236}">
                  <a16:creationId xmlns:a16="http://schemas.microsoft.com/office/drawing/2014/main" id="{ED554CAB-8F00-D4AB-C2C1-AFF7A242D1BD}"/>
                </a:ext>
              </a:extLst>
            </p:cNvPr>
            <p:cNvSpPr/>
            <p:nvPr/>
          </p:nvSpPr>
          <p:spPr>
            <a:xfrm>
              <a:off x="10039072" y="5930126"/>
              <a:ext cx="29984" cy="51799"/>
            </a:xfrm>
            <a:custGeom>
              <a:avLst/>
              <a:gdLst>
                <a:gd name="connsiteX0" fmla="*/ 29985 w 29984"/>
                <a:gd name="connsiteY0" fmla="*/ 0 h 51799"/>
                <a:gd name="connsiteX1" fmla="*/ 0 w 29984"/>
                <a:gd name="connsiteY1" fmla="*/ 51800 h 517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9984" h="51799">
                  <a:moveTo>
                    <a:pt x="29985" y="0"/>
                  </a:moveTo>
                  <a:lnTo>
                    <a:pt x="0" y="5180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651" name="Forma livre: Forma 2650">
              <a:extLst>
                <a:ext uri="{FF2B5EF4-FFF2-40B4-BE49-F238E27FC236}">
                  <a16:creationId xmlns:a16="http://schemas.microsoft.com/office/drawing/2014/main" id="{826A6EB5-6F99-ECAB-B34F-00074F8700C8}"/>
                </a:ext>
              </a:extLst>
            </p:cNvPr>
            <p:cNvSpPr/>
            <p:nvPr/>
          </p:nvSpPr>
          <p:spPr>
            <a:xfrm>
              <a:off x="10013261" y="5786034"/>
              <a:ext cx="52813" cy="44786"/>
            </a:xfrm>
            <a:custGeom>
              <a:avLst/>
              <a:gdLst>
                <a:gd name="connsiteX0" fmla="*/ 22399 w 52813"/>
                <a:gd name="connsiteY0" fmla="*/ 262 h 44786"/>
                <a:gd name="connsiteX1" fmla="*/ 26419 w 52813"/>
                <a:gd name="connsiteY1" fmla="*/ 0 h 44786"/>
                <a:gd name="connsiteX2" fmla="*/ 52814 w 52813"/>
                <a:gd name="connsiteY2" fmla="*/ 22387 h 44786"/>
                <a:gd name="connsiteX3" fmla="*/ 26419 w 52813"/>
                <a:gd name="connsiteY3" fmla="*/ 44787 h 44786"/>
                <a:gd name="connsiteX4" fmla="*/ 0 w 52813"/>
                <a:gd name="connsiteY4" fmla="*/ 22387 h 44786"/>
                <a:gd name="connsiteX5" fmla="*/ 3626 w 52813"/>
                <a:gd name="connsiteY5" fmla="*/ 11057 h 447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2813" h="44786">
                  <a:moveTo>
                    <a:pt x="22399" y="262"/>
                  </a:moveTo>
                  <a:cubicBezTo>
                    <a:pt x="23711" y="95"/>
                    <a:pt x="25059" y="0"/>
                    <a:pt x="26419" y="0"/>
                  </a:cubicBezTo>
                  <a:cubicBezTo>
                    <a:pt x="41006" y="0"/>
                    <a:pt x="52814" y="10019"/>
                    <a:pt x="52814" y="22387"/>
                  </a:cubicBezTo>
                  <a:cubicBezTo>
                    <a:pt x="52814" y="34756"/>
                    <a:pt x="40994" y="44787"/>
                    <a:pt x="26419" y="44787"/>
                  </a:cubicBezTo>
                  <a:cubicBezTo>
                    <a:pt x="11844" y="44787"/>
                    <a:pt x="0" y="34756"/>
                    <a:pt x="0" y="22387"/>
                  </a:cubicBezTo>
                  <a:cubicBezTo>
                    <a:pt x="0" y="18249"/>
                    <a:pt x="1324" y="14372"/>
                    <a:pt x="3626" y="11057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652" name="Forma livre: Forma 2651">
              <a:extLst>
                <a:ext uri="{FF2B5EF4-FFF2-40B4-BE49-F238E27FC236}">
                  <a16:creationId xmlns:a16="http://schemas.microsoft.com/office/drawing/2014/main" id="{1E04485D-76E0-CC87-D7B8-8CD8AE221276}"/>
                </a:ext>
              </a:extLst>
            </p:cNvPr>
            <p:cNvSpPr/>
            <p:nvPr/>
          </p:nvSpPr>
          <p:spPr>
            <a:xfrm>
              <a:off x="10056398" y="5859142"/>
              <a:ext cx="63201" cy="72029"/>
            </a:xfrm>
            <a:custGeom>
              <a:avLst/>
              <a:gdLst>
                <a:gd name="connsiteX0" fmla="*/ 27687 w 63201"/>
                <a:gd name="connsiteY0" fmla="*/ 2498 h 72029"/>
                <a:gd name="connsiteX1" fmla="*/ 51351 w 63201"/>
                <a:gd name="connsiteY1" fmla="*/ 3202 h 72029"/>
                <a:gd name="connsiteX2" fmla="*/ 56265 w 63201"/>
                <a:gd name="connsiteY2" fmla="*/ 50863 h 72029"/>
                <a:gd name="connsiteX3" fmla="*/ 11860 w 63201"/>
                <a:gd name="connsiteY3" fmla="*/ 68813 h 72029"/>
                <a:gd name="connsiteX4" fmla="*/ 6922 w 63201"/>
                <a:gd name="connsiteY4" fmla="*/ 21164 h 720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201" h="72029">
                  <a:moveTo>
                    <a:pt x="27687" y="2498"/>
                  </a:moveTo>
                  <a:cubicBezTo>
                    <a:pt x="35845" y="-925"/>
                    <a:pt x="44409" y="-961"/>
                    <a:pt x="51351" y="3202"/>
                  </a:cubicBezTo>
                  <a:cubicBezTo>
                    <a:pt x="64972" y="11420"/>
                    <a:pt x="67178" y="32734"/>
                    <a:pt x="56265" y="50863"/>
                  </a:cubicBezTo>
                  <a:cubicBezTo>
                    <a:pt x="45363" y="68980"/>
                    <a:pt x="25493" y="77019"/>
                    <a:pt x="11860" y="68813"/>
                  </a:cubicBezTo>
                  <a:cubicBezTo>
                    <a:pt x="-1761" y="60631"/>
                    <a:pt x="-3979" y="39294"/>
                    <a:pt x="6922" y="21164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653" name="Forma livre: Forma 2652">
              <a:extLst>
                <a:ext uri="{FF2B5EF4-FFF2-40B4-BE49-F238E27FC236}">
                  <a16:creationId xmlns:a16="http://schemas.microsoft.com/office/drawing/2014/main" id="{6C3ECF8A-45BB-CACD-F864-B2E19F7346C6}"/>
                </a:ext>
              </a:extLst>
            </p:cNvPr>
            <p:cNvSpPr/>
            <p:nvPr/>
          </p:nvSpPr>
          <p:spPr>
            <a:xfrm>
              <a:off x="9984481" y="5899187"/>
              <a:ext cx="36592" cy="31010"/>
            </a:xfrm>
            <a:custGeom>
              <a:avLst/>
              <a:gdLst>
                <a:gd name="connsiteX0" fmla="*/ 36593 w 36592"/>
                <a:gd name="connsiteY0" fmla="*/ 15505 h 31010"/>
                <a:gd name="connsiteX1" fmla="*/ 18296 w 36592"/>
                <a:gd name="connsiteY1" fmla="*/ 31011 h 31010"/>
                <a:gd name="connsiteX2" fmla="*/ 0 w 36592"/>
                <a:gd name="connsiteY2" fmla="*/ 15505 h 31010"/>
                <a:gd name="connsiteX3" fmla="*/ 18296 w 36592"/>
                <a:gd name="connsiteY3" fmla="*/ 0 h 31010"/>
                <a:gd name="connsiteX4" fmla="*/ 36593 w 36592"/>
                <a:gd name="connsiteY4" fmla="*/ 15505 h 310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6592" h="31010">
                  <a:moveTo>
                    <a:pt x="36593" y="15505"/>
                  </a:moveTo>
                  <a:cubicBezTo>
                    <a:pt x="36593" y="24057"/>
                    <a:pt x="28399" y="31011"/>
                    <a:pt x="18296" y="31011"/>
                  </a:cubicBezTo>
                  <a:cubicBezTo>
                    <a:pt x="8194" y="31011"/>
                    <a:pt x="0" y="24069"/>
                    <a:pt x="0" y="15505"/>
                  </a:cubicBezTo>
                  <a:cubicBezTo>
                    <a:pt x="0" y="6942"/>
                    <a:pt x="8194" y="0"/>
                    <a:pt x="18296" y="0"/>
                  </a:cubicBezTo>
                  <a:cubicBezTo>
                    <a:pt x="28399" y="0"/>
                    <a:pt x="36593" y="6953"/>
                    <a:pt x="36593" y="15505"/>
                  </a:cubicBez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2654" name="Gráfico 18">
            <a:extLst>
              <a:ext uri="{FF2B5EF4-FFF2-40B4-BE49-F238E27FC236}">
                <a16:creationId xmlns:a16="http://schemas.microsoft.com/office/drawing/2014/main" id="{C40ED955-2559-84EF-8820-A4F156FE00A6}"/>
              </a:ext>
            </a:extLst>
          </p:cNvPr>
          <p:cNvGrpSpPr/>
          <p:nvPr/>
        </p:nvGrpSpPr>
        <p:grpSpPr>
          <a:xfrm>
            <a:off x="9843621" y="4621296"/>
            <a:ext cx="349885" cy="343252"/>
            <a:chOff x="9843621" y="4621296"/>
            <a:chExt cx="349885" cy="343252"/>
          </a:xfrm>
          <a:noFill/>
        </p:grpSpPr>
        <p:grpSp>
          <p:nvGrpSpPr>
            <p:cNvPr id="2655" name="Gráfico 18">
              <a:extLst>
                <a:ext uri="{FF2B5EF4-FFF2-40B4-BE49-F238E27FC236}">
                  <a16:creationId xmlns:a16="http://schemas.microsoft.com/office/drawing/2014/main" id="{3D41FD92-1D67-7582-D647-3FD263DF0AC0}"/>
                </a:ext>
              </a:extLst>
            </p:cNvPr>
            <p:cNvGrpSpPr/>
            <p:nvPr/>
          </p:nvGrpSpPr>
          <p:grpSpPr>
            <a:xfrm>
              <a:off x="9962318" y="4621296"/>
              <a:ext cx="179518" cy="343252"/>
              <a:chOff x="9962318" y="4621296"/>
              <a:chExt cx="179518" cy="343252"/>
            </a:xfrm>
            <a:noFill/>
          </p:grpSpPr>
          <p:sp>
            <p:nvSpPr>
              <p:cNvPr id="2656" name="Forma livre: Forma 2655">
                <a:extLst>
                  <a:ext uri="{FF2B5EF4-FFF2-40B4-BE49-F238E27FC236}">
                    <a16:creationId xmlns:a16="http://schemas.microsoft.com/office/drawing/2014/main" id="{FF369E17-A809-70D6-D5D9-8818702DA476}"/>
                  </a:ext>
                </a:extLst>
              </p:cNvPr>
              <p:cNvSpPr/>
              <p:nvPr/>
            </p:nvSpPr>
            <p:spPr>
              <a:xfrm>
                <a:off x="10019619" y="4881738"/>
                <a:ext cx="122217" cy="82810"/>
              </a:xfrm>
              <a:custGeom>
                <a:avLst/>
                <a:gdLst>
                  <a:gd name="connsiteX0" fmla="*/ 41888 w 122217"/>
                  <a:gd name="connsiteY0" fmla="*/ 49951 h 82810"/>
                  <a:gd name="connsiteX1" fmla="*/ 0 w 122217"/>
                  <a:gd name="connsiteY1" fmla="*/ 82811 h 82810"/>
                  <a:gd name="connsiteX2" fmla="*/ 122218 w 122217"/>
                  <a:gd name="connsiteY2" fmla="*/ 63822 h 82810"/>
                  <a:gd name="connsiteX3" fmla="*/ 53422 w 122217"/>
                  <a:gd name="connsiteY3" fmla="*/ 23890 h 82810"/>
                  <a:gd name="connsiteX4" fmla="*/ 49438 w 122217"/>
                  <a:gd name="connsiteY4" fmla="*/ 0 h 828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2217" h="82810">
                    <a:moveTo>
                      <a:pt x="41888" y="49951"/>
                    </a:moveTo>
                    <a:cubicBezTo>
                      <a:pt x="31750" y="64180"/>
                      <a:pt x="10711" y="76012"/>
                      <a:pt x="0" y="82811"/>
                    </a:cubicBezTo>
                    <a:lnTo>
                      <a:pt x="122218" y="63822"/>
                    </a:lnTo>
                    <a:cubicBezTo>
                      <a:pt x="100904" y="58205"/>
                      <a:pt x="55509" y="37344"/>
                      <a:pt x="53422" y="23890"/>
                    </a:cubicBezTo>
                    <a:cubicBezTo>
                      <a:pt x="52158" y="15756"/>
                      <a:pt x="49438" y="0"/>
                      <a:pt x="49438" y="0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657" name="Forma livre: Forma 2656">
                <a:extLst>
                  <a:ext uri="{FF2B5EF4-FFF2-40B4-BE49-F238E27FC236}">
                    <a16:creationId xmlns:a16="http://schemas.microsoft.com/office/drawing/2014/main" id="{5A37DAA6-1F8C-AB66-4DC7-BA89FC0C5B71}"/>
                  </a:ext>
                </a:extLst>
              </p:cNvPr>
              <p:cNvSpPr/>
              <p:nvPr/>
            </p:nvSpPr>
            <p:spPr>
              <a:xfrm>
                <a:off x="10002706" y="4709843"/>
                <a:ext cx="121931" cy="1192"/>
              </a:xfrm>
              <a:custGeom>
                <a:avLst/>
                <a:gdLst>
                  <a:gd name="connsiteX0" fmla="*/ 0 w 121931"/>
                  <a:gd name="connsiteY0" fmla="*/ 0 h 1192"/>
                  <a:gd name="connsiteX1" fmla="*/ 121932 w 121931"/>
                  <a:gd name="connsiteY1" fmla="*/ 0 h 11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1931" h="1192">
                    <a:moveTo>
                      <a:pt x="0" y="0"/>
                    </a:moveTo>
                    <a:lnTo>
                      <a:pt x="121932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658" name="Forma livre: Forma 2657">
                <a:extLst>
                  <a:ext uri="{FF2B5EF4-FFF2-40B4-BE49-F238E27FC236}">
                    <a16:creationId xmlns:a16="http://schemas.microsoft.com/office/drawing/2014/main" id="{106AC8AC-5CDD-0029-FB83-2BBF7145C209}"/>
                  </a:ext>
                </a:extLst>
              </p:cNvPr>
              <p:cNvSpPr/>
              <p:nvPr/>
            </p:nvSpPr>
            <p:spPr>
              <a:xfrm>
                <a:off x="9962318" y="4621296"/>
                <a:ext cx="170308" cy="160027"/>
              </a:xfrm>
              <a:custGeom>
                <a:avLst/>
                <a:gdLst>
                  <a:gd name="connsiteX0" fmla="*/ 165302 w 170308"/>
                  <a:gd name="connsiteY0" fmla="*/ 148148 h 160027"/>
                  <a:gd name="connsiteX1" fmla="*/ 169321 w 170308"/>
                  <a:gd name="connsiteY1" fmla="*/ 107214 h 160027"/>
                  <a:gd name="connsiteX2" fmla="*/ 126681 w 170308"/>
                  <a:gd name="connsiteY2" fmla="*/ 0 h 160027"/>
                  <a:gd name="connsiteX3" fmla="*/ 9676 w 170308"/>
                  <a:gd name="connsiteY3" fmla="*/ 18177 h 160027"/>
                  <a:gd name="connsiteX4" fmla="*/ 1601 w 170308"/>
                  <a:gd name="connsiteY4" fmla="*/ 133298 h 160027"/>
                  <a:gd name="connsiteX5" fmla="*/ 10630 w 170308"/>
                  <a:gd name="connsiteY5" fmla="*/ 160027 h 1600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70308" h="160027">
                    <a:moveTo>
                      <a:pt x="165302" y="148148"/>
                    </a:moveTo>
                    <a:cubicBezTo>
                      <a:pt x="169941" y="135445"/>
                      <a:pt x="171540" y="121467"/>
                      <a:pt x="169321" y="107214"/>
                    </a:cubicBezTo>
                    <a:cubicBezTo>
                      <a:pt x="165719" y="84051"/>
                      <a:pt x="148663" y="38370"/>
                      <a:pt x="126681" y="0"/>
                    </a:cubicBezTo>
                    <a:lnTo>
                      <a:pt x="9676" y="18177"/>
                    </a:lnTo>
                    <a:cubicBezTo>
                      <a:pt x="384" y="61425"/>
                      <a:pt x="-2001" y="110124"/>
                      <a:pt x="1601" y="133298"/>
                    </a:cubicBezTo>
                    <a:cubicBezTo>
                      <a:pt x="3104" y="142923"/>
                      <a:pt x="6217" y="151905"/>
                      <a:pt x="10630" y="160027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2659" name="Gráfico 18">
              <a:extLst>
                <a:ext uri="{FF2B5EF4-FFF2-40B4-BE49-F238E27FC236}">
                  <a16:creationId xmlns:a16="http://schemas.microsoft.com/office/drawing/2014/main" id="{69A18546-74F0-F897-FAB8-140395EB72DE}"/>
                </a:ext>
              </a:extLst>
            </p:cNvPr>
            <p:cNvGrpSpPr/>
            <p:nvPr/>
          </p:nvGrpSpPr>
          <p:grpSpPr>
            <a:xfrm>
              <a:off x="9893000" y="4772633"/>
              <a:ext cx="300506" cy="144993"/>
              <a:chOff x="9893000" y="4772633"/>
              <a:chExt cx="300506" cy="144993"/>
            </a:xfrm>
            <a:noFill/>
          </p:grpSpPr>
          <p:sp>
            <p:nvSpPr>
              <p:cNvPr id="2660" name="Forma livre: Forma 2659">
                <a:extLst>
                  <a:ext uri="{FF2B5EF4-FFF2-40B4-BE49-F238E27FC236}">
                    <a16:creationId xmlns:a16="http://schemas.microsoft.com/office/drawing/2014/main" id="{9011CDB0-2EF6-023D-C193-CBA5493F83BB}"/>
                  </a:ext>
                </a:extLst>
              </p:cNvPr>
              <p:cNvSpPr/>
              <p:nvPr/>
            </p:nvSpPr>
            <p:spPr>
              <a:xfrm>
                <a:off x="9919144" y="4772633"/>
                <a:ext cx="274362" cy="144993"/>
              </a:xfrm>
              <a:custGeom>
                <a:avLst/>
                <a:gdLst>
                  <a:gd name="connsiteX0" fmla="*/ 185325 w 274362"/>
                  <a:gd name="connsiteY0" fmla="*/ 37076 h 144993"/>
                  <a:gd name="connsiteX1" fmla="*/ 241454 w 274362"/>
                  <a:gd name="connsiteY1" fmla="*/ 4038 h 144993"/>
                  <a:gd name="connsiteX2" fmla="*/ 271558 w 274362"/>
                  <a:gd name="connsiteY2" fmla="*/ 8737 h 144993"/>
                  <a:gd name="connsiteX3" fmla="*/ 262780 w 274362"/>
                  <a:gd name="connsiteY3" fmla="*/ 38615 h 144993"/>
                  <a:gd name="connsiteX4" fmla="*/ 146502 w 274362"/>
                  <a:gd name="connsiteY4" fmla="*/ 110166 h 144993"/>
                  <a:gd name="connsiteX5" fmla="*/ 140240 w 274362"/>
                  <a:gd name="connsiteY5" fmla="*/ 112146 h 144993"/>
                  <a:gd name="connsiteX6" fmla="*/ 28387 w 274362"/>
                  <a:gd name="connsiteY6" fmla="*/ 121855 h 144993"/>
                  <a:gd name="connsiteX7" fmla="*/ 0 w 274362"/>
                  <a:gd name="connsiteY7" fmla="*/ 144993 h 1449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74362" h="144993">
                    <a:moveTo>
                      <a:pt x="185325" y="37076"/>
                    </a:moveTo>
                    <a:lnTo>
                      <a:pt x="241454" y="4038"/>
                    </a:lnTo>
                    <a:cubicBezTo>
                      <a:pt x="252284" y="-2641"/>
                      <a:pt x="265547" y="-1007"/>
                      <a:pt x="271558" y="8737"/>
                    </a:cubicBezTo>
                    <a:cubicBezTo>
                      <a:pt x="277558" y="18494"/>
                      <a:pt x="273610" y="31936"/>
                      <a:pt x="262780" y="38615"/>
                    </a:cubicBezTo>
                    <a:lnTo>
                      <a:pt x="146502" y="110166"/>
                    </a:lnTo>
                    <a:lnTo>
                      <a:pt x="140240" y="112146"/>
                    </a:lnTo>
                    <a:lnTo>
                      <a:pt x="28387" y="121855"/>
                    </a:lnTo>
                    <a:cubicBezTo>
                      <a:pt x="28387" y="121855"/>
                      <a:pt x="15326" y="126363"/>
                      <a:pt x="0" y="144993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661" name="Forma livre: Forma 2660">
                <a:extLst>
                  <a:ext uri="{FF2B5EF4-FFF2-40B4-BE49-F238E27FC236}">
                    <a16:creationId xmlns:a16="http://schemas.microsoft.com/office/drawing/2014/main" id="{6E9B1B4B-86DD-233A-F0B4-EBA2A71778DA}"/>
                  </a:ext>
                </a:extLst>
              </p:cNvPr>
              <p:cNvSpPr/>
              <p:nvPr/>
            </p:nvSpPr>
            <p:spPr>
              <a:xfrm>
                <a:off x="9893000" y="4801447"/>
                <a:ext cx="192560" cy="46274"/>
              </a:xfrm>
              <a:custGeom>
                <a:avLst/>
                <a:gdLst>
                  <a:gd name="connsiteX0" fmla="*/ 0 w 192560"/>
                  <a:gd name="connsiteY0" fmla="*/ 41408 h 46274"/>
                  <a:gd name="connsiteX1" fmla="*/ 28661 w 192560"/>
                  <a:gd name="connsiteY1" fmla="*/ 12270 h 46274"/>
                  <a:gd name="connsiteX2" fmla="*/ 82500 w 192560"/>
                  <a:gd name="connsiteY2" fmla="*/ 1523 h 46274"/>
                  <a:gd name="connsiteX3" fmla="*/ 123518 w 192560"/>
                  <a:gd name="connsiteY3" fmla="*/ 3694 h 46274"/>
                  <a:gd name="connsiteX4" fmla="*/ 167482 w 192560"/>
                  <a:gd name="connsiteY4" fmla="*/ 1070 h 46274"/>
                  <a:gd name="connsiteX5" fmla="*/ 192529 w 192560"/>
                  <a:gd name="connsiteY5" fmla="*/ 20428 h 46274"/>
                  <a:gd name="connsiteX6" fmla="*/ 169962 w 192560"/>
                  <a:gd name="connsiteY6" fmla="*/ 42648 h 46274"/>
                  <a:gd name="connsiteX7" fmla="*/ 109134 w 192560"/>
                  <a:gd name="connsiteY7" fmla="*/ 46274 h 462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92560" h="46274">
                    <a:moveTo>
                      <a:pt x="0" y="41408"/>
                    </a:moveTo>
                    <a:lnTo>
                      <a:pt x="28661" y="12270"/>
                    </a:lnTo>
                    <a:cubicBezTo>
                      <a:pt x="52492" y="-5967"/>
                      <a:pt x="82500" y="1523"/>
                      <a:pt x="82500" y="1523"/>
                    </a:cubicBezTo>
                    <a:cubicBezTo>
                      <a:pt x="96980" y="4422"/>
                      <a:pt x="123518" y="3694"/>
                      <a:pt x="123518" y="3694"/>
                    </a:cubicBezTo>
                    <a:lnTo>
                      <a:pt x="167482" y="1070"/>
                    </a:lnTo>
                    <a:cubicBezTo>
                      <a:pt x="180578" y="295"/>
                      <a:pt x="191849" y="9002"/>
                      <a:pt x="192529" y="20428"/>
                    </a:cubicBezTo>
                    <a:cubicBezTo>
                      <a:pt x="193209" y="31866"/>
                      <a:pt x="183047" y="41861"/>
                      <a:pt x="169962" y="42648"/>
                    </a:cubicBezTo>
                    <a:lnTo>
                      <a:pt x="109134" y="46274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2662" name="Forma livre: Forma 2661">
              <a:extLst>
                <a:ext uri="{FF2B5EF4-FFF2-40B4-BE49-F238E27FC236}">
                  <a16:creationId xmlns:a16="http://schemas.microsoft.com/office/drawing/2014/main" id="{C7BF2015-5DCB-0A84-3E1F-92905D3A0573}"/>
                </a:ext>
              </a:extLst>
            </p:cNvPr>
            <p:cNvSpPr/>
            <p:nvPr/>
          </p:nvSpPr>
          <p:spPr>
            <a:xfrm>
              <a:off x="9843621" y="4846195"/>
              <a:ext cx="90157" cy="107487"/>
            </a:xfrm>
            <a:custGeom>
              <a:avLst/>
              <a:gdLst>
                <a:gd name="connsiteX0" fmla="*/ 0 w 90157"/>
                <a:gd name="connsiteY0" fmla="*/ 16972 h 107487"/>
                <a:gd name="connsiteX1" fmla="*/ 22793 w 90157"/>
                <a:gd name="connsiteY1" fmla="*/ 0 h 107487"/>
                <a:gd name="connsiteX2" fmla="*/ 90158 w 90157"/>
                <a:gd name="connsiteY2" fmla="*/ 90527 h 107487"/>
                <a:gd name="connsiteX3" fmla="*/ 67365 w 90157"/>
                <a:gd name="connsiteY3" fmla="*/ 107488 h 1074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0157" h="107487">
                  <a:moveTo>
                    <a:pt x="0" y="16972"/>
                  </a:moveTo>
                  <a:lnTo>
                    <a:pt x="22793" y="0"/>
                  </a:lnTo>
                  <a:lnTo>
                    <a:pt x="90158" y="90527"/>
                  </a:lnTo>
                  <a:lnTo>
                    <a:pt x="67365" y="107488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2663" name="Gráfico 18">
            <a:extLst>
              <a:ext uri="{FF2B5EF4-FFF2-40B4-BE49-F238E27FC236}">
                <a16:creationId xmlns:a16="http://schemas.microsoft.com/office/drawing/2014/main" id="{47EC83FE-8BEB-F6FC-B53B-44C1DA328592}"/>
              </a:ext>
            </a:extLst>
          </p:cNvPr>
          <p:cNvGrpSpPr/>
          <p:nvPr/>
        </p:nvGrpSpPr>
        <p:grpSpPr>
          <a:xfrm>
            <a:off x="10454997" y="4140678"/>
            <a:ext cx="375086" cy="241131"/>
            <a:chOff x="10454997" y="4140678"/>
            <a:chExt cx="375086" cy="241131"/>
          </a:xfrm>
          <a:noFill/>
        </p:grpSpPr>
        <p:sp>
          <p:nvSpPr>
            <p:cNvPr id="2664" name="Forma livre: Forma 2663">
              <a:extLst>
                <a:ext uri="{FF2B5EF4-FFF2-40B4-BE49-F238E27FC236}">
                  <a16:creationId xmlns:a16="http://schemas.microsoft.com/office/drawing/2014/main" id="{D167E878-4732-E352-794D-2DDF26D43745}"/>
                </a:ext>
              </a:extLst>
            </p:cNvPr>
            <p:cNvSpPr/>
            <p:nvPr/>
          </p:nvSpPr>
          <p:spPr>
            <a:xfrm>
              <a:off x="10702164" y="4328257"/>
              <a:ext cx="1192" cy="20872"/>
            </a:xfrm>
            <a:custGeom>
              <a:avLst/>
              <a:gdLst>
                <a:gd name="connsiteX0" fmla="*/ 0 w 1192"/>
                <a:gd name="connsiteY0" fmla="*/ 0 h 20872"/>
                <a:gd name="connsiteX1" fmla="*/ 0 w 1192"/>
                <a:gd name="connsiteY1" fmla="*/ 20873 h 208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92" h="20872">
                  <a:moveTo>
                    <a:pt x="0" y="0"/>
                  </a:moveTo>
                  <a:lnTo>
                    <a:pt x="0" y="20873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665" name="Forma livre: Forma 2664">
              <a:extLst>
                <a:ext uri="{FF2B5EF4-FFF2-40B4-BE49-F238E27FC236}">
                  <a16:creationId xmlns:a16="http://schemas.microsoft.com/office/drawing/2014/main" id="{A3F58E31-EA2A-FD60-D7B8-7D69112FA298}"/>
                </a:ext>
              </a:extLst>
            </p:cNvPr>
            <p:cNvSpPr/>
            <p:nvPr/>
          </p:nvSpPr>
          <p:spPr>
            <a:xfrm>
              <a:off x="10454997" y="4279439"/>
              <a:ext cx="310464" cy="102371"/>
            </a:xfrm>
            <a:custGeom>
              <a:avLst/>
              <a:gdLst>
                <a:gd name="connsiteX0" fmla="*/ 12118 w 310464"/>
                <a:gd name="connsiteY0" fmla="*/ 102359 h 102371"/>
                <a:gd name="connsiteX1" fmla="*/ 0 w 310464"/>
                <a:gd name="connsiteY1" fmla="*/ 90241 h 102371"/>
                <a:gd name="connsiteX2" fmla="*/ 0 w 310464"/>
                <a:gd name="connsiteY2" fmla="*/ 12118 h 102371"/>
                <a:gd name="connsiteX3" fmla="*/ 12118 w 310464"/>
                <a:gd name="connsiteY3" fmla="*/ 0 h 102371"/>
                <a:gd name="connsiteX4" fmla="*/ 173755 w 310464"/>
                <a:gd name="connsiteY4" fmla="*/ 0 h 102371"/>
                <a:gd name="connsiteX5" fmla="*/ 221643 w 310464"/>
                <a:gd name="connsiteY5" fmla="*/ 30307 h 102371"/>
                <a:gd name="connsiteX6" fmla="*/ 300362 w 310464"/>
                <a:gd name="connsiteY6" fmla="*/ 30307 h 102371"/>
                <a:gd name="connsiteX7" fmla="*/ 310465 w 310464"/>
                <a:gd name="connsiteY7" fmla="*/ 40409 h 102371"/>
                <a:gd name="connsiteX8" fmla="*/ 310465 w 310464"/>
                <a:gd name="connsiteY8" fmla="*/ 61962 h 102371"/>
                <a:gd name="connsiteX9" fmla="*/ 300362 w 310464"/>
                <a:gd name="connsiteY9" fmla="*/ 72064 h 102371"/>
                <a:gd name="connsiteX10" fmla="*/ 221643 w 310464"/>
                <a:gd name="connsiteY10" fmla="*/ 72064 h 102371"/>
                <a:gd name="connsiteX11" fmla="*/ 173755 w 310464"/>
                <a:gd name="connsiteY11" fmla="*/ 102371 h 102371"/>
                <a:gd name="connsiteX12" fmla="*/ 12118 w 310464"/>
                <a:gd name="connsiteY12" fmla="*/ 102371 h 1023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10464" h="102371">
                  <a:moveTo>
                    <a:pt x="12118" y="102359"/>
                  </a:moveTo>
                  <a:cubicBezTo>
                    <a:pt x="5451" y="102359"/>
                    <a:pt x="0" y="96908"/>
                    <a:pt x="0" y="90241"/>
                  </a:cubicBezTo>
                  <a:lnTo>
                    <a:pt x="0" y="12118"/>
                  </a:lnTo>
                  <a:cubicBezTo>
                    <a:pt x="0" y="5451"/>
                    <a:pt x="5451" y="0"/>
                    <a:pt x="12118" y="0"/>
                  </a:cubicBezTo>
                  <a:lnTo>
                    <a:pt x="173755" y="0"/>
                  </a:lnTo>
                  <a:cubicBezTo>
                    <a:pt x="195021" y="0"/>
                    <a:pt x="213389" y="12500"/>
                    <a:pt x="221643" y="30307"/>
                  </a:cubicBezTo>
                  <a:lnTo>
                    <a:pt x="300362" y="30307"/>
                  </a:lnTo>
                  <a:cubicBezTo>
                    <a:pt x="305920" y="30307"/>
                    <a:pt x="310465" y="34863"/>
                    <a:pt x="310465" y="40409"/>
                  </a:cubicBezTo>
                  <a:lnTo>
                    <a:pt x="310465" y="61962"/>
                  </a:lnTo>
                  <a:cubicBezTo>
                    <a:pt x="310465" y="67520"/>
                    <a:pt x="305920" y="72064"/>
                    <a:pt x="300362" y="72064"/>
                  </a:cubicBezTo>
                  <a:lnTo>
                    <a:pt x="221643" y="72064"/>
                  </a:lnTo>
                  <a:cubicBezTo>
                    <a:pt x="213401" y="89871"/>
                    <a:pt x="195010" y="102371"/>
                    <a:pt x="173755" y="102371"/>
                  </a:cubicBezTo>
                  <a:lnTo>
                    <a:pt x="12118" y="102371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666" name="Forma livre: Forma 2665">
              <a:extLst>
                <a:ext uri="{FF2B5EF4-FFF2-40B4-BE49-F238E27FC236}">
                  <a16:creationId xmlns:a16="http://schemas.microsoft.com/office/drawing/2014/main" id="{70866D1C-13AA-F8F1-4DA2-B4593F8050AB}"/>
                </a:ext>
              </a:extLst>
            </p:cNvPr>
            <p:cNvSpPr/>
            <p:nvPr/>
          </p:nvSpPr>
          <p:spPr>
            <a:xfrm>
              <a:off x="10514299" y="4281204"/>
              <a:ext cx="90956" cy="39669"/>
            </a:xfrm>
            <a:custGeom>
              <a:avLst/>
              <a:gdLst>
                <a:gd name="connsiteX0" fmla="*/ 90957 w 90956"/>
                <a:gd name="connsiteY0" fmla="*/ 0 h 39669"/>
                <a:gd name="connsiteX1" fmla="*/ 90957 w 90956"/>
                <a:gd name="connsiteY1" fmla="*/ 39670 h 39669"/>
                <a:gd name="connsiteX2" fmla="*/ 0 w 90956"/>
                <a:gd name="connsiteY2" fmla="*/ 39670 h 39669"/>
                <a:gd name="connsiteX3" fmla="*/ 0 w 90956"/>
                <a:gd name="connsiteY3" fmla="*/ 17163 h 396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0956" h="39669">
                  <a:moveTo>
                    <a:pt x="90957" y="0"/>
                  </a:moveTo>
                  <a:lnTo>
                    <a:pt x="90957" y="39670"/>
                  </a:lnTo>
                  <a:lnTo>
                    <a:pt x="0" y="39670"/>
                  </a:lnTo>
                  <a:lnTo>
                    <a:pt x="0" y="17163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2667" name="Gráfico 18">
              <a:extLst>
                <a:ext uri="{FF2B5EF4-FFF2-40B4-BE49-F238E27FC236}">
                  <a16:creationId xmlns:a16="http://schemas.microsoft.com/office/drawing/2014/main" id="{B6022AAD-C574-2785-3F5D-F1F88C551553}"/>
                </a:ext>
              </a:extLst>
            </p:cNvPr>
            <p:cNvGrpSpPr/>
            <p:nvPr/>
          </p:nvGrpSpPr>
          <p:grpSpPr>
            <a:xfrm>
              <a:off x="10487808" y="4210643"/>
              <a:ext cx="310464" cy="98912"/>
              <a:chOff x="10487808" y="4210643"/>
              <a:chExt cx="310464" cy="98912"/>
            </a:xfrm>
            <a:noFill/>
          </p:grpSpPr>
          <p:sp>
            <p:nvSpPr>
              <p:cNvPr id="2668" name="Forma livre: Forma 2667">
                <a:extLst>
                  <a:ext uri="{FF2B5EF4-FFF2-40B4-BE49-F238E27FC236}">
                    <a16:creationId xmlns:a16="http://schemas.microsoft.com/office/drawing/2014/main" id="{FBBB4F08-242A-DFCE-1AF9-69070958CF4A}"/>
                  </a:ext>
                </a:extLst>
              </p:cNvPr>
              <p:cNvSpPr/>
              <p:nvPr/>
            </p:nvSpPr>
            <p:spPr>
              <a:xfrm>
                <a:off x="10734976" y="4259461"/>
                <a:ext cx="1192" cy="20884"/>
              </a:xfrm>
              <a:custGeom>
                <a:avLst/>
                <a:gdLst>
                  <a:gd name="connsiteX0" fmla="*/ 0 w 1192"/>
                  <a:gd name="connsiteY0" fmla="*/ 0 h 20884"/>
                  <a:gd name="connsiteX1" fmla="*/ 0 w 1192"/>
                  <a:gd name="connsiteY1" fmla="*/ 20885 h 208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2" h="20884">
                    <a:moveTo>
                      <a:pt x="0" y="0"/>
                    </a:moveTo>
                    <a:lnTo>
                      <a:pt x="0" y="20885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669" name="Forma livre: Forma 2668">
                <a:extLst>
                  <a:ext uri="{FF2B5EF4-FFF2-40B4-BE49-F238E27FC236}">
                    <a16:creationId xmlns:a16="http://schemas.microsoft.com/office/drawing/2014/main" id="{DA2C8706-6C57-E02D-C315-7F7031F5950C}"/>
                  </a:ext>
                </a:extLst>
              </p:cNvPr>
              <p:cNvSpPr/>
              <p:nvPr/>
            </p:nvSpPr>
            <p:spPr>
              <a:xfrm>
                <a:off x="10487808" y="4210643"/>
                <a:ext cx="310464" cy="98912"/>
              </a:xfrm>
              <a:custGeom>
                <a:avLst/>
                <a:gdLst>
                  <a:gd name="connsiteX0" fmla="*/ 0 w 310464"/>
                  <a:gd name="connsiteY0" fmla="*/ 48758 h 98912"/>
                  <a:gd name="connsiteX1" fmla="*/ 0 w 310464"/>
                  <a:gd name="connsiteY1" fmla="*/ 12118 h 98912"/>
                  <a:gd name="connsiteX2" fmla="*/ 12118 w 310464"/>
                  <a:gd name="connsiteY2" fmla="*/ 0 h 98912"/>
                  <a:gd name="connsiteX3" fmla="*/ 173755 w 310464"/>
                  <a:gd name="connsiteY3" fmla="*/ 0 h 98912"/>
                  <a:gd name="connsiteX4" fmla="*/ 221643 w 310464"/>
                  <a:gd name="connsiteY4" fmla="*/ 30307 h 98912"/>
                  <a:gd name="connsiteX5" fmla="*/ 300362 w 310464"/>
                  <a:gd name="connsiteY5" fmla="*/ 30307 h 98912"/>
                  <a:gd name="connsiteX6" fmla="*/ 310465 w 310464"/>
                  <a:gd name="connsiteY6" fmla="*/ 40409 h 98912"/>
                  <a:gd name="connsiteX7" fmla="*/ 310465 w 310464"/>
                  <a:gd name="connsiteY7" fmla="*/ 61962 h 98912"/>
                  <a:gd name="connsiteX8" fmla="*/ 300362 w 310464"/>
                  <a:gd name="connsiteY8" fmla="*/ 72064 h 98912"/>
                  <a:gd name="connsiteX9" fmla="*/ 221643 w 310464"/>
                  <a:gd name="connsiteY9" fmla="*/ 72064 h 98912"/>
                  <a:gd name="connsiteX10" fmla="*/ 192684 w 310464"/>
                  <a:gd name="connsiteY10" fmla="*/ 98912 h 989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310464" h="98912">
                    <a:moveTo>
                      <a:pt x="0" y="48758"/>
                    </a:moveTo>
                    <a:lnTo>
                      <a:pt x="0" y="12118"/>
                    </a:lnTo>
                    <a:cubicBezTo>
                      <a:pt x="0" y="5451"/>
                      <a:pt x="5451" y="0"/>
                      <a:pt x="12118" y="0"/>
                    </a:cubicBezTo>
                    <a:lnTo>
                      <a:pt x="173755" y="0"/>
                    </a:lnTo>
                    <a:cubicBezTo>
                      <a:pt x="195021" y="0"/>
                      <a:pt x="213389" y="12500"/>
                      <a:pt x="221643" y="30307"/>
                    </a:cubicBezTo>
                    <a:lnTo>
                      <a:pt x="300362" y="30307"/>
                    </a:lnTo>
                    <a:cubicBezTo>
                      <a:pt x="305921" y="30307"/>
                      <a:pt x="310465" y="34863"/>
                      <a:pt x="310465" y="40409"/>
                    </a:cubicBezTo>
                    <a:lnTo>
                      <a:pt x="310465" y="61962"/>
                    </a:lnTo>
                    <a:cubicBezTo>
                      <a:pt x="310465" y="67520"/>
                      <a:pt x="305921" y="72064"/>
                      <a:pt x="300362" y="72064"/>
                    </a:cubicBezTo>
                    <a:lnTo>
                      <a:pt x="221643" y="72064"/>
                    </a:lnTo>
                    <a:cubicBezTo>
                      <a:pt x="215978" y="84289"/>
                      <a:pt x="205553" y="93998"/>
                      <a:pt x="192684" y="98912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670" name="Forma livre: Forma 2669">
                <a:extLst>
                  <a:ext uri="{FF2B5EF4-FFF2-40B4-BE49-F238E27FC236}">
                    <a16:creationId xmlns:a16="http://schemas.microsoft.com/office/drawing/2014/main" id="{CD225E65-8A4F-1AA6-3F55-64E8DD75DC65}"/>
                  </a:ext>
                </a:extLst>
              </p:cNvPr>
              <p:cNvSpPr/>
              <p:nvPr/>
            </p:nvSpPr>
            <p:spPr>
              <a:xfrm>
                <a:off x="10547110" y="4212408"/>
                <a:ext cx="90956" cy="39669"/>
              </a:xfrm>
              <a:custGeom>
                <a:avLst/>
                <a:gdLst>
                  <a:gd name="connsiteX0" fmla="*/ 90957 w 90956"/>
                  <a:gd name="connsiteY0" fmla="*/ 0 h 39669"/>
                  <a:gd name="connsiteX1" fmla="*/ 90957 w 90956"/>
                  <a:gd name="connsiteY1" fmla="*/ 39670 h 39669"/>
                  <a:gd name="connsiteX2" fmla="*/ 0 w 90956"/>
                  <a:gd name="connsiteY2" fmla="*/ 39670 h 39669"/>
                  <a:gd name="connsiteX3" fmla="*/ 0 w 90956"/>
                  <a:gd name="connsiteY3" fmla="*/ 17163 h 396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0956" h="39669">
                    <a:moveTo>
                      <a:pt x="90957" y="0"/>
                    </a:moveTo>
                    <a:lnTo>
                      <a:pt x="90957" y="39670"/>
                    </a:lnTo>
                    <a:lnTo>
                      <a:pt x="0" y="39670"/>
                    </a:lnTo>
                    <a:lnTo>
                      <a:pt x="0" y="17163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2671" name="Gráfico 18">
              <a:extLst>
                <a:ext uri="{FF2B5EF4-FFF2-40B4-BE49-F238E27FC236}">
                  <a16:creationId xmlns:a16="http://schemas.microsoft.com/office/drawing/2014/main" id="{FC11BEEB-03D6-D7E5-6A9B-EC71BC54D5F1}"/>
                </a:ext>
              </a:extLst>
            </p:cNvPr>
            <p:cNvGrpSpPr/>
            <p:nvPr/>
          </p:nvGrpSpPr>
          <p:grpSpPr>
            <a:xfrm>
              <a:off x="10519618" y="4140678"/>
              <a:ext cx="310464" cy="99377"/>
              <a:chOff x="10519618" y="4140678"/>
              <a:chExt cx="310464" cy="99377"/>
            </a:xfrm>
            <a:noFill/>
          </p:grpSpPr>
          <p:sp>
            <p:nvSpPr>
              <p:cNvPr id="2672" name="Forma livre: Forma 2671">
                <a:extLst>
                  <a:ext uri="{FF2B5EF4-FFF2-40B4-BE49-F238E27FC236}">
                    <a16:creationId xmlns:a16="http://schemas.microsoft.com/office/drawing/2014/main" id="{47559F67-3542-1DF3-7624-2EBCE8A91C8B}"/>
                  </a:ext>
                </a:extLst>
              </p:cNvPr>
              <p:cNvSpPr/>
              <p:nvPr/>
            </p:nvSpPr>
            <p:spPr>
              <a:xfrm>
                <a:off x="10766785" y="4189496"/>
                <a:ext cx="1192" cy="20872"/>
              </a:xfrm>
              <a:custGeom>
                <a:avLst/>
                <a:gdLst>
                  <a:gd name="connsiteX0" fmla="*/ 0 w 1192"/>
                  <a:gd name="connsiteY0" fmla="*/ 0 h 20872"/>
                  <a:gd name="connsiteX1" fmla="*/ 0 w 1192"/>
                  <a:gd name="connsiteY1" fmla="*/ 20873 h 208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2" h="20872">
                    <a:moveTo>
                      <a:pt x="0" y="0"/>
                    </a:moveTo>
                    <a:lnTo>
                      <a:pt x="0" y="20873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673" name="Forma livre: Forma 2672">
                <a:extLst>
                  <a:ext uri="{FF2B5EF4-FFF2-40B4-BE49-F238E27FC236}">
                    <a16:creationId xmlns:a16="http://schemas.microsoft.com/office/drawing/2014/main" id="{18F2E0C4-ECCD-268F-0E11-54E7F1F71C5D}"/>
                  </a:ext>
                </a:extLst>
              </p:cNvPr>
              <p:cNvSpPr/>
              <p:nvPr/>
            </p:nvSpPr>
            <p:spPr>
              <a:xfrm>
                <a:off x="10519618" y="4140678"/>
                <a:ext cx="310464" cy="99377"/>
              </a:xfrm>
              <a:custGeom>
                <a:avLst/>
                <a:gdLst>
                  <a:gd name="connsiteX0" fmla="*/ 0 w 310464"/>
                  <a:gd name="connsiteY0" fmla="*/ 48758 h 99377"/>
                  <a:gd name="connsiteX1" fmla="*/ 0 w 310464"/>
                  <a:gd name="connsiteY1" fmla="*/ 12118 h 99377"/>
                  <a:gd name="connsiteX2" fmla="*/ 12118 w 310464"/>
                  <a:gd name="connsiteY2" fmla="*/ 0 h 99377"/>
                  <a:gd name="connsiteX3" fmla="*/ 173755 w 310464"/>
                  <a:gd name="connsiteY3" fmla="*/ 0 h 99377"/>
                  <a:gd name="connsiteX4" fmla="*/ 221643 w 310464"/>
                  <a:gd name="connsiteY4" fmla="*/ 30307 h 99377"/>
                  <a:gd name="connsiteX5" fmla="*/ 300362 w 310464"/>
                  <a:gd name="connsiteY5" fmla="*/ 30307 h 99377"/>
                  <a:gd name="connsiteX6" fmla="*/ 310465 w 310464"/>
                  <a:gd name="connsiteY6" fmla="*/ 40409 h 99377"/>
                  <a:gd name="connsiteX7" fmla="*/ 310465 w 310464"/>
                  <a:gd name="connsiteY7" fmla="*/ 61962 h 99377"/>
                  <a:gd name="connsiteX8" fmla="*/ 300362 w 310464"/>
                  <a:gd name="connsiteY8" fmla="*/ 72064 h 99377"/>
                  <a:gd name="connsiteX9" fmla="*/ 221643 w 310464"/>
                  <a:gd name="connsiteY9" fmla="*/ 72064 h 99377"/>
                  <a:gd name="connsiteX10" fmla="*/ 191384 w 310464"/>
                  <a:gd name="connsiteY10" fmla="*/ 99377 h 993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310464" h="99377">
                    <a:moveTo>
                      <a:pt x="0" y="48758"/>
                    </a:moveTo>
                    <a:lnTo>
                      <a:pt x="0" y="12118"/>
                    </a:lnTo>
                    <a:cubicBezTo>
                      <a:pt x="0" y="5451"/>
                      <a:pt x="5451" y="0"/>
                      <a:pt x="12118" y="0"/>
                    </a:cubicBezTo>
                    <a:lnTo>
                      <a:pt x="173755" y="0"/>
                    </a:lnTo>
                    <a:cubicBezTo>
                      <a:pt x="195021" y="0"/>
                      <a:pt x="213389" y="12500"/>
                      <a:pt x="221643" y="30307"/>
                    </a:cubicBezTo>
                    <a:lnTo>
                      <a:pt x="300362" y="30307"/>
                    </a:lnTo>
                    <a:cubicBezTo>
                      <a:pt x="305920" y="30307"/>
                      <a:pt x="310465" y="34863"/>
                      <a:pt x="310465" y="40409"/>
                    </a:cubicBezTo>
                    <a:lnTo>
                      <a:pt x="310465" y="61962"/>
                    </a:lnTo>
                    <a:cubicBezTo>
                      <a:pt x="310465" y="67520"/>
                      <a:pt x="305920" y="72064"/>
                      <a:pt x="300362" y="72064"/>
                    </a:cubicBezTo>
                    <a:lnTo>
                      <a:pt x="221643" y="72064"/>
                    </a:lnTo>
                    <a:cubicBezTo>
                      <a:pt x="215787" y="84695"/>
                      <a:pt x="204838" y="94666"/>
                      <a:pt x="191384" y="99377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674" name="Forma livre: Forma 2673">
                <a:extLst>
                  <a:ext uri="{FF2B5EF4-FFF2-40B4-BE49-F238E27FC236}">
                    <a16:creationId xmlns:a16="http://schemas.microsoft.com/office/drawing/2014/main" id="{BD77E7F9-5ED5-6700-80C5-4E49AC379F2E}"/>
                  </a:ext>
                </a:extLst>
              </p:cNvPr>
              <p:cNvSpPr/>
              <p:nvPr/>
            </p:nvSpPr>
            <p:spPr>
              <a:xfrm>
                <a:off x="10578920" y="4142443"/>
                <a:ext cx="90956" cy="39669"/>
              </a:xfrm>
              <a:custGeom>
                <a:avLst/>
                <a:gdLst>
                  <a:gd name="connsiteX0" fmla="*/ 90957 w 90956"/>
                  <a:gd name="connsiteY0" fmla="*/ 0 h 39669"/>
                  <a:gd name="connsiteX1" fmla="*/ 90957 w 90956"/>
                  <a:gd name="connsiteY1" fmla="*/ 39670 h 39669"/>
                  <a:gd name="connsiteX2" fmla="*/ 0 w 90956"/>
                  <a:gd name="connsiteY2" fmla="*/ 39670 h 39669"/>
                  <a:gd name="connsiteX3" fmla="*/ 0 w 90956"/>
                  <a:gd name="connsiteY3" fmla="*/ 17163 h 396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0956" h="39669">
                    <a:moveTo>
                      <a:pt x="90957" y="0"/>
                    </a:moveTo>
                    <a:lnTo>
                      <a:pt x="90957" y="39670"/>
                    </a:lnTo>
                    <a:lnTo>
                      <a:pt x="0" y="39670"/>
                    </a:lnTo>
                    <a:lnTo>
                      <a:pt x="0" y="17163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2675" name="Gráfico 18">
            <a:extLst>
              <a:ext uri="{FF2B5EF4-FFF2-40B4-BE49-F238E27FC236}">
                <a16:creationId xmlns:a16="http://schemas.microsoft.com/office/drawing/2014/main" id="{0B00C899-E2CF-8694-FD94-73AC60A46831}"/>
              </a:ext>
            </a:extLst>
          </p:cNvPr>
          <p:cNvGrpSpPr/>
          <p:nvPr/>
        </p:nvGrpSpPr>
        <p:grpSpPr>
          <a:xfrm>
            <a:off x="10477849" y="5195065"/>
            <a:ext cx="329381" cy="259129"/>
            <a:chOff x="10477849" y="5195065"/>
            <a:chExt cx="329381" cy="259129"/>
          </a:xfrm>
          <a:noFill/>
        </p:grpSpPr>
        <p:grpSp>
          <p:nvGrpSpPr>
            <p:cNvPr id="2676" name="Gráfico 18">
              <a:extLst>
                <a:ext uri="{FF2B5EF4-FFF2-40B4-BE49-F238E27FC236}">
                  <a16:creationId xmlns:a16="http://schemas.microsoft.com/office/drawing/2014/main" id="{1FA89071-5F5D-88FB-4056-8974EFE17A84}"/>
                </a:ext>
              </a:extLst>
            </p:cNvPr>
            <p:cNvGrpSpPr/>
            <p:nvPr/>
          </p:nvGrpSpPr>
          <p:grpSpPr>
            <a:xfrm>
              <a:off x="10536535" y="5241880"/>
              <a:ext cx="74179" cy="127549"/>
              <a:chOff x="10536535" y="5241880"/>
              <a:chExt cx="74179" cy="127549"/>
            </a:xfrm>
            <a:noFill/>
          </p:grpSpPr>
          <p:sp>
            <p:nvSpPr>
              <p:cNvPr id="2677" name="Forma livre: Forma 2676">
                <a:extLst>
                  <a:ext uri="{FF2B5EF4-FFF2-40B4-BE49-F238E27FC236}">
                    <a16:creationId xmlns:a16="http://schemas.microsoft.com/office/drawing/2014/main" id="{C4463B57-DAF6-6D29-1853-1A381999FAB6}"/>
                  </a:ext>
                </a:extLst>
              </p:cNvPr>
              <p:cNvSpPr/>
              <p:nvPr/>
            </p:nvSpPr>
            <p:spPr>
              <a:xfrm>
                <a:off x="10561101" y="5280202"/>
                <a:ext cx="47350" cy="1192"/>
              </a:xfrm>
              <a:custGeom>
                <a:avLst/>
                <a:gdLst>
                  <a:gd name="connsiteX0" fmla="*/ 0 w 47350"/>
                  <a:gd name="connsiteY0" fmla="*/ 0 h 1192"/>
                  <a:gd name="connsiteX1" fmla="*/ 47351 w 47350"/>
                  <a:gd name="connsiteY1" fmla="*/ 0 h 11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350" h="1192">
                    <a:moveTo>
                      <a:pt x="0" y="0"/>
                    </a:moveTo>
                    <a:lnTo>
                      <a:pt x="47351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678" name="Forma livre: Forma 2677">
                <a:extLst>
                  <a:ext uri="{FF2B5EF4-FFF2-40B4-BE49-F238E27FC236}">
                    <a16:creationId xmlns:a16="http://schemas.microsoft.com/office/drawing/2014/main" id="{A92EAC68-5ED3-E602-5BD1-DE488C1B9094}"/>
                  </a:ext>
                </a:extLst>
              </p:cNvPr>
              <p:cNvSpPr/>
              <p:nvPr/>
            </p:nvSpPr>
            <p:spPr>
              <a:xfrm>
                <a:off x="10536535" y="5241880"/>
                <a:ext cx="74179" cy="82440"/>
              </a:xfrm>
              <a:custGeom>
                <a:avLst/>
                <a:gdLst>
                  <a:gd name="connsiteX0" fmla="*/ 74052 w 74179"/>
                  <a:gd name="connsiteY0" fmla="*/ 43832 h 82440"/>
                  <a:gd name="connsiteX1" fmla="*/ 69603 w 74179"/>
                  <a:gd name="connsiteY1" fmla="*/ 0 h 82440"/>
                  <a:gd name="connsiteX2" fmla="*/ 4588 w 74179"/>
                  <a:gd name="connsiteY2" fmla="*/ 0 h 82440"/>
                  <a:gd name="connsiteX3" fmla="*/ 139 w 74179"/>
                  <a:gd name="connsiteY3" fmla="*/ 43832 h 82440"/>
                  <a:gd name="connsiteX4" fmla="*/ 37090 w 74179"/>
                  <a:gd name="connsiteY4" fmla="*/ 82441 h 82440"/>
                  <a:gd name="connsiteX5" fmla="*/ 74040 w 74179"/>
                  <a:gd name="connsiteY5" fmla="*/ 43832 h 824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74179" h="82440">
                    <a:moveTo>
                      <a:pt x="74052" y="43832"/>
                    </a:moveTo>
                    <a:lnTo>
                      <a:pt x="69603" y="0"/>
                    </a:lnTo>
                    <a:lnTo>
                      <a:pt x="4588" y="0"/>
                    </a:lnTo>
                    <a:lnTo>
                      <a:pt x="139" y="43832"/>
                    </a:lnTo>
                    <a:cubicBezTo>
                      <a:pt x="-1793" y="65552"/>
                      <a:pt x="16647" y="82441"/>
                      <a:pt x="37090" y="82441"/>
                    </a:cubicBezTo>
                    <a:cubicBezTo>
                      <a:pt x="57533" y="82441"/>
                      <a:pt x="75973" y="65552"/>
                      <a:pt x="74040" y="43832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679" name="Forma livre: Forma 2678">
                <a:extLst>
                  <a:ext uri="{FF2B5EF4-FFF2-40B4-BE49-F238E27FC236}">
                    <a16:creationId xmlns:a16="http://schemas.microsoft.com/office/drawing/2014/main" id="{AFDCDA5B-B647-E48D-899B-63F010F96F98}"/>
                  </a:ext>
                </a:extLst>
              </p:cNvPr>
              <p:cNvSpPr/>
              <p:nvPr/>
            </p:nvSpPr>
            <p:spPr>
              <a:xfrm>
                <a:off x="10543186" y="5369429"/>
                <a:ext cx="60900" cy="1192"/>
              </a:xfrm>
              <a:custGeom>
                <a:avLst/>
                <a:gdLst>
                  <a:gd name="connsiteX0" fmla="*/ 0 w 60900"/>
                  <a:gd name="connsiteY0" fmla="*/ 0 h 1192"/>
                  <a:gd name="connsiteX1" fmla="*/ 60900 w 60900"/>
                  <a:gd name="connsiteY1" fmla="*/ 0 h 11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0900" h="1192">
                    <a:moveTo>
                      <a:pt x="0" y="0"/>
                    </a:moveTo>
                    <a:lnTo>
                      <a:pt x="6090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680" name="Forma livre: Forma 2679">
                <a:extLst>
                  <a:ext uri="{FF2B5EF4-FFF2-40B4-BE49-F238E27FC236}">
                    <a16:creationId xmlns:a16="http://schemas.microsoft.com/office/drawing/2014/main" id="{810B6336-F6EC-B302-507D-C3697BDE6F48}"/>
                  </a:ext>
                </a:extLst>
              </p:cNvPr>
              <p:cNvSpPr/>
              <p:nvPr/>
            </p:nvSpPr>
            <p:spPr>
              <a:xfrm>
                <a:off x="10573637" y="5325453"/>
                <a:ext cx="1192" cy="43247"/>
              </a:xfrm>
              <a:custGeom>
                <a:avLst/>
                <a:gdLst>
                  <a:gd name="connsiteX0" fmla="*/ 0 w 1192"/>
                  <a:gd name="connsiteY0" fmla="*/ 0 h 43247"/>
                  <a:gd name="connsiteX1" fmla="*/ 0 w 1192"/>
                  <a:gd name="connsiteY1" fmla="*/ 43248 h 432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2" h="43247">
                    <a:moveTo>
                      <a:pt x="0" y="0"/>
                    </a:moveTo>
                    <a:lnTo>
                      <a:pt x="0" y="43248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2681" name="Gráfico 18">
              <a:extLst>
                <a:ext uri="{FF2B5EF4-FFF2-40B4-BE49-F238E27FC236}">
                  <a16:creationId xmlns:a16="http://schemas.microsoft.com/office/drawing/2014/main" id="{8CA8E65B-5178-A205-475E-A9284EBA9A77}"/>
                </a:ext>
              </a:extLst>
            </p:cNvPr>
            <p:cNvGrpSpPr/>
            <p:nvPr/>
          </p:nvGrpSpPr>
          <p:grpSpPr>
            <a:xfrm>
              <a:off x="10477849" y="5195065"/>
              <a:ext cx="329381" cy="259129"/>
              <a:chOff x="10477849" y="5195065"/>
              <a:chExt cx="329381" cy="259129"/>
            </a:xfrm>
            <a:noFill/>
          </p:grpSpPr>
          <p:grpSp>
            <p:nvGrpSpPr>
              <p:cNvPr id="2682" name="Gráfico 18">
                <a:extLst>
                  <a:ext uri="{FF2B5EF4-FFF2-40B4-BE49-F238E27FC236}">
                    <a16:creationId xmlns:a16="http://schemas.microsoft.com/office/drawing/2014/main" id="{2BCB6EBC-1C8F-90E5-EA77-FEF2B5010A0B}"/>
                  </a:ext>
                </a:extLst>
              </p:cNvPr>
              <p:cNvGrpSpPr/>
              <p:nvPr/>
            </p:nvGrpSpPr>
            <p:grpSpPr>
              <a:xfrm>
                <a:off x="10504972" y="5195065"/>
                <a:ext cx="275136" cy="236587"/>
                <a:chOff x="10504972" y="5195065"/>
                <a:chExt cx="275136" cy="236587"/>
              </a:xfrm>
              <a:noFill/>
            </p:grpSpPr>
            <p:sp>
              <p:nvSpPr>
                <p:cNvPr id="2683" name="Forma livre: Forma 2682">
                  <a:extLst>
                    <a:ext uri="{FF2B5EF4-FFF2-40B4-BE49-F238E27FC236}">
                      <a16:creationId xmlns:a16="http://schemas.microsoft.com/office/drawing/2014/main" id="{E2A9FCCC-8FC3-A955-1699-E34045880EEC}"/>
                    </a:ext>
                  </a:extLst>
                </p:cNvPr>
                <p:cNvSpPr/>
                <p:nvPr/>
              </p:nvSpPr>
              <p:spPr>
                <a:xfrm>
                  <a:off x="10642540" y="5195065"/>
                  <a:ext cx="137568" cy="236587"/>
                </a:xfrm>
                <a:custGeom>
                  <a:avLst/>
                  <a:gdLst>
                    <a:gd name="connsiteX0" fmla="*/ 74115 w 137568"/>
                    <a:gd name="connsiteY0" fmla="*/ 48 h 236587"/>
                    <a:gd name="connsiteX1" fmla="*/ 0 w 137568"/>
                    <a:gd name="connsiteY1" fmla="*/ 19393 h 236587"/>
                    <a:gd name="connsiteX2" fmla="*/ 0 w 137568"/>
                    <a:gd name="connsiteY2" fmla="*/ 236588 h 236587"/>
                    <a:gd name="connsiteX3" fmla="*/ 74115 w 137568"/>
                    <a:gd name="connsiteY3" fmla="*/ 217242 h 236587"/>
                    <a:gd name="connsiteX4" fmla="*/ 137568 w 137568"/>
                    <a:gd name="connsiteY4" fmla="*/ 217194 h 236587"/>
                    <a:gd name="connsiteX5" fmla="*/ 137568 w 137568"/>
                    <a:gd name="connsiteY5" fmla="*/ 0 h 236587"/>
                    <a:gd name="connsiteX6" fmla="*/ 74115 w 137568"/>
                    <a:gd name="connsiteY6" fmla="*/ 48 h 2365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37568" h="236587">
                      <a:moveTo>
                        <a:pt x="74115" y="48"/>
                      </a:moveTo>
                      <a:cubicBezTo>
                        <a:pt x="35627" y="48"/>
                        <a:pt x="16937" y="-1121"/>
                        <a:pt x="0" y="19393"/>
                      </a:cubicBezTo>
                      <a:lnTo>
                        <a:pt x="0" y="236588"/>
                      </a:lnTo>
                      <a:cubicBezTo>
                        <a:pt x="16937" y="216061"/>
                        <a:pt x="35627" y="217242"/>
                        <a:pt x="74115" y="217242"/>
                      </a:cubicBezTo>
                      <a:lnTo>
                        <a:pt x="137568" y="217194"/>
                      </a:lnTo>
                      <a:lnTo>
                        <a:pt x="137568" y="0"/>
                      </a:lnTo>
                      <a:lnTo>
                        <a:pt x="74115" y="48"/>
                      </a:lnTo>
                      <a:close/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684" name="Forma livre: Forma 2683">
                  <a:extLst>
                    <a:ext uri="{FF2B5EF4-FFF2-40B4-BE49-F238E27FC236}">
                      <a16:creationId xmlns:a16="http://schemas.microsoft.com/office/drawing/2014/main" id="{51B358B4-3E63-2E4B-D6AA-54542B3754DA}"/>
                    </a:ext>
                  </a:extLst>
                </p:cNvPr>
                <p:cNvSpPr/>
                <p:nvPr/>
              </p:nvSpPr>
              <p:spPr>
                <a:xfrm>
                  <a:off x="10504972" y="5195065"/>
                  <a:ext cx="137568" cy="236587"/>
                </a:xfrm>
                <a:custGeom>
                  <a:avLst/>
                  <a:gdLst>
                    <a:gd name="connsiteX0" fmla="*/ 63453 w 137568"/>
                    <a:gd name="connsiteY0" fmla="*/ 48 h 236587"/>
                    <a:gd name="connsiteX1" fmla="*/ 137568 w 137568"/>
                    <a:gd name="connsiteY1" fmla="*/ 19393 h 236587"/>
                    <a:gd name="connsiteX2" fmla="*/ 137568 w 137568"/>
                    <a:gd name="connsiteY2" fmla="*/ 236588 h 236587"/>
                    <a:gd name="connsiteX3" fmla="*/ 63453 w 137568"/>
                    <a:gd name="connsiteY3" fmla="*/ 217242 h 236587"/>
                    <a:gd name="connsiteX4" fmla="*/ 0 w 137568"/>
                    <a:gd name="connsiteY4" fmla="*/ 217194 h 236587"/>
                    <a:gd name="connsiteX5" fmla="*/ 0 w 137568"/>
                    <a:gd name="connsiteY5" fmla="*/ 0 h 236587"/>
                    <a:gd name="connsiteX6" fmla="*/ 63453 w 137568"/>
                    <a:gd name="connsiteY6" fmla="*/ 48 h 2365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37568" h="236587">
                      <a:moveTo>
                        <a:pt x="63453" y="48"/>
                      </a:moveTo>
                      <a:cubicBezTo>
                        <a:pt x="101942" y="48"/>
                        <a:pt x="120632" y="-1121"/>
                        <a:pt x="137568" y="19393"/>
                      </a:cubicBezTo>
                      <a:lnTo>
                        <a:pt x="137568" y="236588"/>
                      </a:lnTo>
                      <a:cubicBezTo>
                        <a:pt x="120632" y="216061"/>
                        <a:pt x="101942" y="217242"/>
                        <a:pt x="63453" y="217242"/>
                      </a:cubicBezTo>
                      <a:lnTo>
                        <a:pt x="0" y="217194"/>
                      </a:lnTo>
                      <a:lnTo>
                        <a:pt x="0" y="0"/>
                      </a:lnTo>
                      <a:lnTo>
                        <a:pt x="63453" y="48"/>
                      </a:lnTo>
                      <a:close/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2685" name="Forma livre: Forma 2684">
                <a:extLst>
                  <a:ext uri="{FF2B5EF4-FFF2-40B4-BE49-F238E27FC236}">
                    <a16:creationId xmlns:a16="http://schemas.microsoft.com/office/drawing/2014/main" id="{8A4B43E2-23B3-A57E-105D-8460A9A3434A}"/>
                  </a:ext>
                </a:extLst>
              </p:cNvPr>
              <p:cNvSpPr/>
              <p:nvPr/>
            </p:nvSpPr>
            <p:spPr>
              <a:xfrm>
                <a:off x="10477849" y="5229523"/>
                <a:ext cx="329381" cy="224672"/>
              </a:xfrm>
              <a:custGeom>
                <a:avLst/>
                <a:gdLst>
                  <a:gd name="connsiteX0" fmla="*/ 0 w 329381"/>
                  <a:gd name="connsiteY0" fmla="*/ 0 h 224672"/>
                  <a:gd name="connsiteX1" fmla="*/ 0 w 329381"/>
                  <a:gd name="connsiteY1" fmla="*/ 208941 h 224672"/>
                  <a:gd name="connsiteX2" fmla="*/ 133859 w 329381"/>
                  <a:gd name="connsiteY2" fmla="*/ 208941 h 224672"/>
                  <a:gd name="connsiteX3" fmla="*/ 148863 w 329381"/>
                  <a:gd name="connsiteY3" fmla="*/ 224672 h 224672"/>
                  <a:gd name="connsiteX4" fmla="*/ 149114 w 329381"/>
                  <a:gd name="connsiteY4" fmla="*/ 224672 h 224672"/>
                  <a:gd name="connsiteX5" fmla="*/ 180268 w 329381"/>
                  <a:gd name="connsiteY5" fmla="*/ 224672 h 224672"/>
                  <a:gd name="connsiteX6" fmla="*/ 180518 w 329381"/>
                  <a:gd name="connsiteY6" fmla="*/ 224672 h 224672"/>
                  <a:gd name="connsiteX7" fmla="*/ 195522 w 329381"/>
                  <a:gd name="connsiteY7" fmla="*/ 208941 h 224672"/>
                  <a:gd name="connsiteX8" fmla="*/ 329381 w 329381"/>
                  <a:gd name="connsiteY8" fmla="*/ 208941 h 224672"/>
                  <a:gd name="connsiteX9" fmla="*/ 329381 w 329381"/>
                  <a:gd name="connsiteY9" fmla="*/ 0 h 2246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329381" h="224672">
                    <a:moveTo>
                      <a:pt x="0" y="0"/>
                    </a:moveTo>
                    <a:lnTo>
                      <a:pt x="0" y="208941"/>
                    </a:lnTo>
                    <a:lnTo>
                      <a:pt x="133859" y="208941"/>
                    </a:lnTo>
                    <a:cubicBezTo>
                      <a:pt x="133859" y="208941"/>
                      <a:pt x="140550" y="224672"/>
                      <a:pt x="148863" y="224672"/>
                    </a:cubicBezTo>
                    <a:cubicBezTo>
                      <a:pt x="149126" y="224672"/>
                      <a:pt x="149173" y="224672"/>
                      <a:pt x="149114" y="224672"/>
                    </a:cubicBezTo>
                    <a:lnTo>
                      <a:pt x="180268" y="224672"/>
                    </a:lnTo>
                    <a:cubicBezTo>
                      <a:pt x="180208" y="224672"/>
                      <a:pt x="180268" y="224672"/>
                      <a:pt x="180518" y="224672"/>
                    </a:cubicBezTo>
                    <a:cubicBezTo>
                      <a:pt x="188831" y="224672"/>
                      <a:pt x="195522" y="208941"/>
                      <a:pt x="195522" y="208941"/>
                    </a:cubicBezTo>
                    <a:lnTo>
                      <a:pt x="329381" y="208941"/>
                    </a:lnTo>
                    <a:lnTo>
                      <a:pt x="329381" y="0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2686" name="Gráfico 18">
              <a:extLst>
                <a:ext uri="{FF2B5EF4-FFF2-40B4-BE49-F238E27FC236}">
                  <a16:creationId xmlns:a16="http://schemas.microsoft.com/office/drawing/2014/main" id="{6CAD8519-AC76-5A5A-CBC3-8B5E62D3FE5D}"/>
                </a:ext>
              </a:extLst>
            </p:cNvPr>
            <p:cNvGrpSpPr/>
            <p:nvPr/>
          </p:nvGrpSpPr>
          <p:grpSpPr>
            <a:xfrm>
              <a:off x="10691107" y="5233006"/>
              <a:ext cx="54865" cy="142589"/>
              <a:chOff x="10691107" y="5233006"/>
              <a:chExt cx="54865" cy="142589"/>
            </a:xfrm>
          </p:grpSpPr>
          <p:sp>
            <p:nvSpPr>
              <p:cNvPr id="2687" name="Forma livre: Forma 2686">
                <a:extLst>
                  <a:ext uri="{FF2B5EF4-FFF2-40B4-BE49-F238E27FC236}">
                    <a16:creationId xmlns:a16="http://schemas.microsoft.com/office/drawing/2014/main" id="{CAE14D71-290C-4BBB-22AA-722338CAC72C}"/>
                  </a:ext>
                </a:extLst>
              </p:cNvPr>
              <p:cNvSpPr/>
              <p:nvPr/>
            </p:nvSpPr>
            <p:spPr>
              <a:xfrm>
                <a:off x="10691107" y="5233006"/>
                <a:ext cx="54865" cy="1192"/>
              </a:xfrm>
              <a:custGeom>
                <a:avLst/>
                <a:gdLst>
                  <a:gd name="connsiteX0" fmla="*/ 54865 w 54865"/>
                  <a:gd name="connsiteY0" fmla="*/ 0 h 1192"/>
                  <a:gd name="connsiteX1" fmla="*/ 0 w 54865"/>
                  <a:gd name="connsiteY1" fmla="*/ 0 h 11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4865" h="1192">
                    <a:moveTo>
                      <a:pt x="54865" y="0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688" name="Forma livre: Forma 2687">
                <a:extLst>
                  <a:ext uri="{FF2B5EF4-FFF2-40B4-BE49-F238E27FC236}">
                    <a16:creationId xmlns:a16="http://schemas.microsoft.com/office/drawing/2014/main" id="{9CEEF408-EF38-E02E-0100-671B774BB2F1}"/>
                  </a:ext>
                </a:extLst>
              </p:cNvPr>
              <p:cNvSpPr/>
              <p:nvPr/>
            </p:nvSpPr>
            <p:spPr>
              <a:xfrm>
                <a:off x="10691107" y="5268656"/>
                <a:ext cx="54865" cy="1192"/>
              </a:xfrm>
              <a:custGeom>
                <a:avLst/>
                <a:gdLst>
                  <a:gd name="connsiteX0" fmla="*/ 54865 w 54865"/>
                  <a:gd name="connsiteY0" fmla="*/ 0 h 1192"/>
                  <a:gd name="connsiteX1" fmla="*/ 0 w 54865"/>
                  <a:gd name="connsiteY1" fmla="*/ 0 h 11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4865" h="1192">
                    <a:moveTo>
                      <a:pt x="54865" y="0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689" name="Forma livre: Forma 2688">
                <a:extLst>
                  <a:ext uri="{FF2B5EF4-FFF2-40B4-BE49-F238E27FC236}">
                    <a16:creationId xmlns:a16="http://schemas.microsoft.com/office/drawing/2014/main" id="{C25C8246-A06C-D068-30B2-7C15D331282F}"/>
                  </a:ext>
                </a:extLst>
              </p:cNvPr>
              <p:cNvSpPr/>
              <p:nvPr/>
            </p:nvSpPr>
            <p:spPr>
              <a:xfrm>
                <a:off x="10691107" y="5304306"/>
                <a:ext cx="54865" cy="1192"/>
              </a:xfrm>
              <a:custGeom>
                <a:avLst/>
                <a:gdLst>
                  <a:gd name="connsiteX0" fmla="*/ 54865 w 54865"/>
                  <a:gd name="connsiteY0" fmla="*/ 0 h 1192"/>
                  <a:gd name="connsiteX1" fmla="*/ 0 w 54865"/>
                  <a:gd name="connsiteY1" fmla="*/ 0 h 11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4865" h="1192">
                    <a:moveTo>
                      <a:pt x="54865" y="0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690" name="Forma livre: Forma 2689">
                <a:extLst>
                  <a:ext uri="{FF2B5EF4-FFF2-40B4-BE49-F238E27FC236}">
                    <a16:creationId xmlns:a16="http://schemas.microsoft.com/office/drawing/2014/main" id="{89A3187C-C3DD-D20A-3099-D182E3CD7D7B}"/>
                  </a:ext>
                </a:extLst>
              </p:cNvPr>
              <p:cNvSpPr/>
              <p:nvPr/>
            </p:nvSpPr>
            <p:spPr>
              <a:xfrm>
                <a:off x="10691107" y="5339945"/>
                <a:ext cx="54865" cy="1192"/>
              </a:xfrm>
              <a:custGeom>
                <a:avLst/>
                <a:gdLst>
                  <a:gd name="connsiteX0" fmla="*/ 54865 w 54865"/>
                  <a:gd name="connsiteY0" fmla="*/ 0 h 1192"/>
                  <a:gd name="connsiteX1" fmla="*/ 0 w 54865"/>
                  <a:gd name="connsiteY1" fmla="*/ 0 h 11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4865" h="1192">
                    <a:moveTo>
                      <a:pt x="54865" y="0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691" name="Forma livre: Forma 2690">
                <a:extLst>
                  <a:ext uri="{FF2B5EF4-FFF2-40B4-BE49-F238E27FC236}">
                    <a16:creationId xmlns:a16="http://schemas.microsoft.com/office/drawing/2014/main" id="{21770A55-9E8E-F097-74E6-185E21C34521}"/>
                  </a:ext>
                </a:extLst>
              </p:cNvPr>
              <p:cNvSpPr/>
              <p:nvPr/>
            </p:nvSpPr>
            <p:spPr>
              <a:xfrm>
                <a:off x="10691107" y="5375595"/>
                <a:ext cx="54865" cy="1192"/>
              </a:xfrm>
              <a:custGeom>
                <a:avLst/>
                <a:gdLst>
                  <a:gd name="connsiteX0" fmla="*/ 54865 w 54865"/>
                  <a:gd name="connsiteY0" fmla="*/ 0 h 1192"/>
                  <a:gd name="connsiteX1" fmla="*/ 0 w 54865"/>
                  <a:gd name="connsiteY1" fmla="*/ 0 h 11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4865" h="1192">
                    <a:moveTo>
                      <a:pt x="54865" y="0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2692" name="Gráfico 18">
            <a:extLst>
              <a:ext uri="{FF2B5EF4-FFF2-40B4-BE49-F238E27FC236}">
                <a16:creationId xmlns:a16="http://schemas.microsoft.com/office/drawing/2014/main" id="{29AB36BD-A31B-19E3-BFD9-228A10748EC9}"/>
              </a:ext>
            </a:extLst>
          </p:cNvPr>
          <p:cNvGrpSpPr/>
          <p:nvPr/>
        </p:nvGrpSpPr>
        <p:grpSpPr>
          <a:xfrm>
            <a:off x="10535887" y="3541933"/>
            <a:ext cx="213301" cy="375300"/>
            <a:chOff x="10535887" y="3541933"/>
            <a:chExt cx="213301" cy="375300"/>
          </a:xfrm>
          <a:noFill/>
        </p:grpSpPr>
        <p:grpSp>
          <p:nvGrpSpPr>
            <p:cNvPr id="2693" name="Gráfico 18">
              <a:extLst>
                <a:ext uri="{FF2B5EF4-FFF2-40B4-BE49-F238E27FC236}">
                  <a16:creationId xmlns:a16="http://schemas.microsoft.com/office/drawing/2014/main" id="{51CA6646-CE6A-A310-95AF-3E0C01E5AED5}"/>
                </a:ext>
              </a:extLst>
            </p:cNvPr>
            <p:cNvGrpSpPr/>
            <p:nvPr/>
          </p:nvGrpSpPr>
          <p:grpSpPr>
            <a:xfrm>
              <a:off x="10535887" y="3541933"/>
              <a:ext cx="120750" cy="375300"/>
              <a:chOff x="10535887" y="3541933"/>
              <a:chExt cx="120750" cy="375300"/>
            </a:xfrm>
            <a:noFill/>
          </p:grpSpPr>
          <p:sp>
            <p:nvSpPr>
              <p:cNvPr id="2694" name="Forma livre: Forma 2693">
                <a:extLst>
                  <a:ext uri="{FF2B5EF4-FFF2-40B4-BE49-F238E27FC236}">
                    <a16:creationId xmlns:a16="http://schemas.microsoft.com/office/drawing/2014/main" id="{EDCA25EF-8068-671B-78F4-6E4D688341DF}"/>
                  </a:ext>
                </a:extLst>
              </p:cNvPr>
              <p:cNvSpPr/>
              <p:nvPr/>
            </p:nvSpPr>
            <p:spPr>
              <a:xfrm>
                <a:off x="10594915" y="3618458"/>
                <a:ext cx="27134" cy="1192"/>
              </a:xfrm>
              <a:custGeom>
                <a:avLst/>
                <a:gdLst>
                  <a:gd name="connsiteX0" fmla="*/ 0 w 27134"/>
                  <a:gd name="connsiteY0" fmla="*/ 0 h 1192"/>
                  <a:gd name="connsiteX1" fmla="*/ 27134 w 27134"/>
                  <a:gd name="connsiteY1" fmla="*/ 0 h 11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7134" h="1192">
                    <a:moveTo>
                      <a:pt x="0" y="0"/>
                    </a:moveTo>
                    <a:lnTo>
                      <a:pt x="27134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695" name="Forma livre: Forma 2694">
                <a:extLst>
                  <a:ext uri="{FF2B5EF4-FFF2-40B4-BE49-F238E27FC236}">
                    <a16:creationId xmlns:a16="http://schemas.microsoft.com/office/drawing/2014/main" id="{179740DD-119D-6886-A30D-F46CFDF691F9}"/>
                  </a:ext>
                </a:extLst>
              </p:cNvPr>
              <p:cNvSpPr/>
              <p:nvPr/>
            </p:nvSpPr>
            <p:spPr>
              <a:xfrm>
                <a:off x="10535887" y="3541933"/>
                <a:ext cx="120750" cy="375300"/>
              </a:xfrm>
              <a:custGeom>
                <a:avLst/>
                <a:gdLst>
                  <a:gd name="connsiteX0" fmla="*/ 96026 w 120750"/>
                  <a:gd name="connsiteY0" fmla="*/ 375301 h 375300"/>
                  <a:gd name="connsiteX1" fmla="*/ 14659 w 120750"/>
                  <a:gd name="connsiteY1" fmla="*/ 375301 h 375300"/>
                  <a:gd name="connsiteX2" fmla="*/ 0 w 120750"/>
                  <a:gd name="connsiteY2" fmla="*/ 360654 h 375300"/>
                  <a:gd name="connsiteX3" fmla="*/ 0 w 120750"/>
                  <a:gd name="connsiteY3" fmla="*/ 165251 h 375300"/>
                  <a:gd name="connsiteX4" fmla="*/ 36628 w 120750"/>
                  <a:gd name="connsiteY4" fmla="*/ 107369 h 375300"/>
                  <a:gd name="connsiteX5" fmla="*/ 36628 w 120750"/>
                  <a:gd name="connsiteY5" fmla="*/ 12213 h 375300"/>
                  <a:gd name="connsiteX6" fmla="*/ 48842 w 120750"/>
                  <a:gd name="connsiteY6" fmla="*/ 0 h 375300"/>
                  <a:gd name="connsiteX7" fmla="*/ 74891 w 120750"/>
                  <a:gd name="connsiteY7" fmla="*/ 0 h 375300"/>
                  <a:gd name="connsiteX8" fmla="*/ 87104 w 120750"/>
                  <a:gd name="connsiteY8" fmla="*/ 12213 h 375300"/>
                  <a:gd name="connsiteX9" fmla="*/ 87104 w 120750"/>
                  <a:gd name="connsiteY9" fmla="*/ 107369 h 375300"/>
                  <a:gd name="connsiteX10" fmla="*/ 120751 w 120750"/>
                  <a:gd name="connsiteY10" fmla="*/ 145846 h 3753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120750" h="375300">
                    <a:moveTo>
                      <a:pt x="96026" y="375301"/>
                    </a:moveTo>
                    <a:lnTo>
                      <a:pt x="14659" y="375301"/>
                    </a:lnTo>
                    <a:cubicBezTo>
                      <a:pt x="6608" y="375301"/>
                      <a:pt x="0" y="368705"/>
                      <a:pt x="0" y="360654"/>
                    </a:cubicBezTo>
                    <a:lnTo>
                      <a:pt x="0" y="165251"/>
                    </a:lnTo>
                    <a:cubicBezTo>
                      <a:pt x="0" y="139548"/>
                      <a:pt x="15100" y="117340"/>
                      <a:pt x="36628" y="107369"/>
                    </a:cubicBezTo>
                    <a:lnTo>
                      <a:pt x="36628" y="12213"/>
                    </a:lnTo>
                    <a:cubicBezTo>
                      <a:pt x="36628" y="5498"/>
                      <a:pt x="42127" y="0"/>
                      <a:pt x="48842" y="0"/>
                    </a:cubicBezTo>
                    <a:lnTo>
                      <a:pt x="74891" y="0"/>
                    </a:lnTo>
                    <a:cubicBezTo>
                      <a:pt x="81606" y="0"/>
                      <a:pt x="87104" y="5498"/>
                      <a:pt x="87104" y="12213"/>
                    </a:cubicBezTo>
                    <a:lnTo>
                      <a:pt x="87104" y="107369"/>
                    </a:lnTo>
                    <a:cubicBezTo>
                      <a:pt x="102955" y="114716"/>
                      <a:pt x="115336" y="128706"/>
                      <a:pt x="120751" y="145846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696" name="Forma livre: Forma 2695">
                <a:extLst>
                  <a:ext uri="{FF2B5EF4-FFF2-40B4-BE49-F238E27FC236}">
                    <a16:creationId xmlns:a16="http://schemas.microsoft.com/office/drawing/2014/main" id="{E9AAB12D-5A14-9550-1894-268203459ADB}"/>
                  </a:ext>
                </a:extLst>
              </p:cNvPr>
              <p:cNvSpPr/>
              <p:nvPr/>
            </p:nvSpPr>
            <p:spPr>
              <a:xfrm>
                <a:off x="10536293" y="3727902"/>
                <a:ext cx="72171" cy="114763"/>
              </a:xfrm>
              <a:custGeom>
                <a:avLst/>
                <a:gdLst>
                  <a:gd name="connsiteX0" fmla="*/ 0 w 72171"/>
                  <a:gd name="connsiteY0" fmla="*/ 0 h 114763"/>
                  <a:gd name="connsiteX1" fmla="*/ 72171 w 72171"/>
                  <a:gd name="connsiteY1" fmla="*/ 0 h 114763"/>
                  <a:gd name="connsiteX2" fmla="*/ 72171 w 72171"/>
                  <a:gd name="connsiteY2" fmla="*/ 114763 h 114763"/>
                  <a:gd name="connsiteX3" fmla="*/ 0 w 72171"/>
                  <a:gd name="connsiteY3" fmla="*/ 114763 h 1147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2171" h="114763">
                    <a:moveTo>
                      <a:pt x="0" y="0"/>
                    </a:moveTo>
                    <a:lnTo>
                      <a:pt x="72171" y="0"/>
                    </a:lnTo>
                    <a:lnTo>
                      <a:pt x="72171" y="114763"/>
                    </a:lnTo>
                    <a:lnTo>
                      <a:pt x="0" y="114763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2697" name="Gráfico 18">
              <a:extLst>
                <a:ext uri="{FF2B5EF4-FFF2-40B4-BE49-F238E27FC236}">
                  <a16:creationId xmlns:a16="http://schemas.microsoft.com/office/drawing/2014/main" id="{13BCAD4A-81F3-9BF1-7E54-CF7DD0936AF7}"/>
                </a:ext>
              </a:extLst>
            </p:cNvPr>
            <p:cNvGrpSpPr/>
            <p:nvPr/>
          </p:nvGrpSpPr>
          <p:grpSpPr>
            <a:xfrm>
              <a:off x="10637822" y="3710965"/>
              <a:ext cx="111366" cy="206268"/>
              <a:chOff x="10637822" y="3710965"/>
              <a:chExt cx="111366" cy="206268"/>
            </a:xfrm>
            <a:noFill/>
          </p:grpSpPr>
          <p:sp>
            <p:nvSpPr>
              <p:cNvPr id="2698" name="Forma livre: Forma 2697">
                <a:extLst>
                  <a:ext uri="{FF2B5EF4-FFF2-40B4-BE49-F238E27FC236}">
                    <a16:creationId xmlns:a16="http://schemas.microsoft.com/office/drawing/2014/main" id="{61E45C1C-8E3A-DC3C-6347-3016E2319774}"/>
                  </a:ext>
                </a:extLst>
              </p:cNvPr>
              <p:cNvSpPr/>
              <p:nvPr/>
            </p:nvSpPr>
            <p:spPr>
              <a:xfrm>
                <a:off x="10693517" y="3835342"/>
                <a:ext cx="1192" cy="80460"/>
              </a:xfrm>
              <a:custGeom>
                <a:avLst/>
                <a:gdLst>
                  <a:gd name="connsiteX0" fmla="*/ 0 w 1192"/>
                  <a:gd name="connsiteY0" fmla="*/ 80461 h 80460"/>
                  <a:gd name="connsiteX1" fmla="*/ 0 w 1192"/>
                  <a:gd name="connsiteY1" fmla="*/ 0 h 804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2" h="80460">
                    <a:moveTo>
                      <a:pt x="0" y="80461"/>
                    </a:moveTo>
                    <a:lnTo>
                      <a:pt x="0" y="0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699" name="Forma livre: Forma 2698">
                <a:extLst>
                  <a:ext uri="{FF2B5EF4-FFF2-40B4-BE49-F238E27FC236}">
                    <a16:creationId xmlns:a16="http://schemas.microsoft.com/office/drawing/2014/main" id="{331694CA-18EF-D4C3-49A1-B37D834C0F76}"/>
                  </a:ext>
                </a:extLst>
              </p:cNvPr>
              <p:cNvSpPr/>
              <p:nvPr/>
            </p:nvSpPr>
            <p:spPr>
              <a:xfrm>
                <a:off x="10653859" y="3917234"/>
                <a:ext cx="79077" cy="1192"/>
              </a:xfrm>
              <a:custGeom>
                <a:avLst/>
                <a:gdLst>
                  <a:gd name="connsiteX0" fmla="*/ 0 w 79077"/>
                  <a:gd name="connsiteY0" fmla="*/ 0 h 1192"/>
                  <a:gd name="connsiteX1" fmla="*/ 79077 w 79077"/>
                  <a:gd name="connsiteY1" fmla="*/ 0 h 11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79077" h="1192">
                    <a:moveTo>
                      <a:pt x="0" y="0"/>
                    </a:moveTo>
                    <a:lnTo>
                      <a:pt x="79077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700" name="Forma livre: Forma 2699">
                <a:extLst>
                  <a:ext uri="{FF2B5EF4-FFF2-40B4-BE49-F238E27FC236}">
                    <a16:creationId xmlns:a16="http://schemas.microsoft.com/office/drawing/2014/main" id="{5E21F6B9-F18C-2AA3-D78A-071F12EC392F}"/>
                  </a:ext>
                </a:extLst>
              </p:cNvPr>
              <p:cNvSpPr/>
              <p:nvPr/>
            </p:nvSpPr>
            <p:spPr>
              <a:xfrm>
                <a:off x="10637822" y="3710965"/>
                <a:ext cx="111366" cy="123768"/>
              </a:xfrm>
              <a:custGeom>
                <a:avLst/>
                <a:gdLst>
                  <a:gd name="connsiteX0" fmla="*/ 111168 w 111366"/>
                  <a:gd name="connsiteY0" fmla="*/ 65802 h 123768"/>
                  <a:gd name="connsiteX1" fmla="*/ 104500 w 111366"/>
                  <a:gd name="connsiteY1" fmla="*/ 0 h 123768"/>
                  <a:gd name="connsiteX2" fmla="*/ 6888 w 111366"/>
                  <a:gd name="connsiteY2" fmla="*/ 0 h 123768"/>
                  <a:gd name="connsiteX3" fmla="*/ 209 w 111366"/>
                  <a:gd name="connsiteY3" fmla="*/ 65802 h 123768"/>
                  <a:gd name="connsiteX4" fmla="*/ 55682 w 111366"/>
                  <a:gd name="connsiteY4" fmla="*/ 123768 h 123768"/>
                  <a:gd name="connsiteX5" fmla="*/ 111156 w 111366"/>
                  <a:gd name="connsiteY5" fmla="*/ 65802 h 1237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11366" h="123768">
                    <a:moveTo>
                      <a:pt x="111168" y="65802"/>
                    </a:moveTo>
                    <a:lnTo>
                      <a:pt x="104500" y="0"/>
                    </a:lnTo>
                    <a:lnTo>
                      <a:pt x="6888" y="0"/>
                    </a:lnTo>
                    <a:lnTo>
                      <a:pt x="209" y="65802"/>
                    </a:lnTo>
                    <a:cubicBezTo>
                      <a:pt x="-2689" y="98411"/>
                      <a:pt x="24994" y="123768"/>
                      <a:pt x="55682" y="123768"/>
                    </a:cubicBezTo>
                    <a:cubicBezTo>
                      <a:pt x="86371" y="123768"/>
                      <a:pt x="114066" y="98423"/>
                      <a:pt x="111156" y="65802"/>
                    </a:cubicBezTo>
                    <a:close/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701" name="Forma livre: Forma 2700">
                <a:extLst>
                  <a:ext uri="{FF2B5EF4-FFF2-40B4-BE49-F238E27FC236}">
                    <a16:creationId xmlns:a16="http://schemas.microsoft.com/office/drawing/2014/main" id="{211BAB58-FA2E-A3A9-330C-FC3228D8A1D4}"/>
                  </a:ext>
                </a:extLst>
              </p:cNvPr>
              <p:cNvSpPr/>
              <p:nvPr/>
            </p:nvSpPr>
            <p:spPr>
              <a:xfrm>
                <a:off x="10662756" y="3756873"/>
                <a:ext cx="82452" cy="1192"/>
              </a:xfrm>
              <a:custGeom>
                <a:avLst/>
                <a:gdLst>
                  <a:gd name="connsiteX0" fmla="*/ 0 w 82452"/>
                  <a:gd name="connsiteY0" fmla="*/ 0 h 1192"/>
                  <a:gd name="connsiteX1" fmla="*/ 82453 w 82452"/>
                  <a:gd name="connsiteY1" fmla="*/ 0 h 11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82452" h="1192">
                    <a:moveTo>
                      <a:pt x="0" y="0"/>
                    </a:moveTo>
                    <a:lnTo>
                      <a:pt x="82453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2702" name="Gráfico 18">
            <a:extLst>
              <a:ext uri="{FF2B5EF4-FFF2-40B4-BE49-F238E27FC236}">
                <a16:creationId xmlns:a16="http://schemas.microsoft.com/office/drawing/2014/main" id="{CAEB8D97-52AD-6F6E-FD3E-2028E7B9E6FE}"/>
              </a:ext>
            </a:extLst>
          </p:cNvPr>
          <p:cNvGrpSpPr/>
          <p:nvPr/>
        </p:nvGrpSpPr>
        <p:grpSpPr>
          <a:xfrm>
            <a:off x="10457120" y="5716164"/>
            <a:ext cx="370841" cy="280468"/>
            <a:chOff x="10457120" y="5716164"/>
            <a:chExt cx="370841" cy="280468"/>
          </a:xfrm>
          <a:noFill/>
        </p:grpSpPr>
        <p:grpSp>
          <p:nvGrpSpPr>
            <p:cNvPr id="2703" name="Gráfico 18">
              <a:extLst>
                <a:ext uri="{FF2B5EF4-FFF2-40B4-BE49-F238E27FC236}">
                  <a16:creationId xmlns:a16="http://schemas.microsoft.com/office/drawing/2014/main" id="{78AD66C0-6ED9-0856-D2F5-FC61456700E1}"/>
                </a:ext>
              </a:extLst>
            </p:cNvPr>
            <p:cNvGrpSpPr/>
            <p:nvPr/>
          </p:nvGrpSpPr>
          <p:grpSpPr>
            <a:xfrm>
              <a:off x="10668064" y="5716164"/>
              <a:ext cx="159897" cy="280468"/>
              <a:chOff x="10668064" y="5716164"/>
              <a:chExt cx="159897" cy="280468"/>
            </a:xfrm>
            <a:noFill/>
          </p:grpSpPr>
          <p:grpSp>
            <p:nvGrpSpPr>
              <p:cNvPr id="2704" name="Gráfico 18">
                <a:extLst>
                  <a:ext uri="{FF2B5EF4-FFF2-40B4-BE49-F238E27FC236}">
                    <a16:creationId xmlns:a16="http://schemas.microsoft.com/office/drawing/2014/main" id="{F2692881-8902-9B9A-3286-8408FCB2C45D}"/>
                  </a:ext>
                </a:extLst>
              </p:cNvPr>
              <p:cNvGrpSpPr/>
              <p:nvPr/>
            </p:nvGrpSpPr>
            <p:grpSpPr>
              <a:xfrm>
                <a:off x="10668064" y="5716164"/>
                <a:ext cx="88308" cy="280468"/>
                <a:chOff x="10668064" y="5716164"/>
                <a:chExt cx="88308" cy="280468"/>
              </a:xfrm>
              <a:noFill/>
            </p:grpSpPr>
            <p:sp>
              <p:nvSpPr>
                <p:cNvPr id="2705" name="Forma livre: Forma 2704">
                  <a:extLst>
                    <a:ext uri="{FF2B5EF4-FFF2-40B4-BE49-F238E27FC236}">
                      <a16:creationId xmlns:a16="http://schemas.microsoft.com/office/drawing/2014/main" id="{BCB3AF89-8EC4-BBFD-250B-0F96B927809A}"/>
                    </a:ext>
                  </a:extLst>
                </p:cNvPr>
                <p:cNvSpPr/>
                <p:nvPr/>
              </p:nvSpPr>
              <p:spPr>
                <a:xfrm>
                  <a:off x="10713614" y="5773355"/>
                  <a:ext cx="17413" cy="1192"/>
                </a:xfrm>
                <a:custGeom>
                  <a:avLst/>
                  <a:gdLst>
                    <a:gd name="connsiteX0" fmla="*/ 0 w 17413"/>
                    <a:gd name="connsiteY0" fmla="*/ 0 h 1192"/>
                    <a:gd name="connsiteX1" fmla="*/ 17414 w 17413"/>
                    <a:gd name="connsiteY1" fmla="*/ 0 h 11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7413" h="1192">
                      <a:moveTo>
                        <a:pt x="0" y="0"/>
                      </a:moveTo>
                      <a:lnTo>
                        <a:pt x="17414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706" name="Forma livre: Forma 2705">
                  <a:extLst>
                    <a:ext uri="{FF2B5EF4-FFF2-40B4-BE49-F238E27FC236}">
                      <a16:creationId xmlns:a16="http://schemas.microsoft.com/office/drawing/2014/main" id="{69505570-2819-B7BD-1ABA-3566CAB4A343}"/>
                    </a:ext>
                  </a:extLst>
                </p:cNvPr>
                <p:cNvSpPr/>
                <p:nvPr/>
              </p:nvSpPr>
              <p:spPr>
                <a:xfrm>
                  <a:off x="10668064" y="5716164"/>
                  <a:ext cx="88308" cy="280468"/>
                </a:xfrm>
                <a:custGeom>
                  <a:avLst/>
                  <a:gdLst>
                    <a:gd name="connsiteX0" fmla="*/ 68152 w 88308"/>
                    <a:gd name="connsiteY0" fmla="*/ 280468 h 280468"/>
                    <a:gd name="connsiteX1" fmla="*/ 10949 w 88308"/>
                    <a:gd name="connsiteY1" fmla="*/ 280468 h 280468"/>
                    <a:gd name="connsiteX2" fmla="*/ 0 w 88308"/>
                    <a:gd name="connsiteY2" fmla="*/ 269531 h 280468"/>
                    <a:gd name="connsiteX3" fmla="*/ 0 w 88308"/>
                    <a:gd name="connsiteY3" fmla="*/ 123494 h 280468"/>
                    <a:gd name="connsiteX4" fmla="*/ 27373 w 88308"/>
                    <a:gd name="connsiteY4" fmla="*/ 80234 h 280468"/>
                    <a:gd name="connsiteX5" fmla="*/ 27373 w 88308"/>
                    <a:gd name="connsiteY5" fmla="*/ 9112 h 280468"/>
                    <a:gd name="connsiteX6" fmla="*/ 36497 w 88308"/>
                    <a:gd name="connsiteY6" fmla="*/ 0 h 280468"/>
                    <a:gd name="connsiteX7" fmla="*/ 55974 w 88308"/>
                    <a:gd name="connsiteY7" fmla="*/ 0 h 280468"/>
                    <a:gd name="connsiteX8" fmla="*/ 65099 w 88308"/>
                    <a:gd name="connsiteY8" fmla="*/ 9112 h 280468"/>
                    <a:gd name="connsiteX9" fmla="*/ 65099 w 88308"/>
                    <a:gd name="connsiteY9" fmla="*/ 80234 h 280468"/>
                    <a:gd name="connsiteX10" fmla="*/ 88309 w 88308"/>
                    <a:gd name="connsiteY10" fmla="*/ 103886 h 28046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88308" h="280468">
                      <a:moveTo>
                        <a:pt x="68152" y="280468"/>
                      </a:moveTo>
                      <a:lnTo>
                        <a:pt x="10949" y="280468"/>
                      </a:lnTo>
                      <a:cubicBezTo>
                        <a:pt x="4926" y="280468"/>
                        <a:pt x="0" y="275542"/>
                        <a:pt x="0" y="269531"/>
                      </a:cubicBezTo>
                      <a:lnTo>
                        <a:pt x="0" y="123494"/>
                      </a:lnTo>
                      <a:cubicBezTo>
                        <a:pt x="0" y="104291"/>
                        <a:pt x="11283" y="87689"/>
                        <a:pt x="27373" y="80234"/>
                      </a:cubicBezTo>
                      <a:lnTo>
                        <a:pt x="27373" y="9112"/>
                      </a:lnTo>
                      <a:cubicBezTo>
                        <a:pt x="27373" y="4091"/>
                        <a:pt x="31488" y="0"/>
                        <a:pt x="36497" y="0"/>
                      </a:cubicBezTo>
                      <a:lnTo>
                        <a:pt x="55974" y="0"/>
                      </a:lnTo>
                      <a:cubicBezTo>
                        <a:pt x="60996" y="0"/>
                        <a:pt x="65099" y="4103"/>
                        <a:pt x="65099" y="9112"/>
                      </a:cubicBezTo>
                      <a:lnTo>
                        <a:pt x="65099" y="80234"/>
                      </a:lnTo>
                      <a:cubicBezTo>
                        <a:pt x="75344" y="84981"/>
                        <a:pt x="83633" y="93414"/>
                        <a:pt x="88309" y="103886"/>
                      </a:cubicBez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707" name="Forma livre: Forma 2706">
                  <a:extLst>
                    <a:ext uri="{FF2B5EF4-FFF2-40B4-BE49-F238E27FC236}">
                      <a16:creationId xmlns:a16="http://schemas.microsoft.com/office/drawing/2014/main" id="{6586067A-297F-DC6A-D914-45FA93D5705D}"/>
                    </a:ext>
                  </a:extLst>
                </p:cNvPr>
                <p:cNvSpPr/>
                <p:nvPr/>
              </p:nvSpPr>
              <p:spPr>
                <a:xfrm>
                  <a:off x="10668362" y="5855152"/>
                  <a:ext cx="50809" cy="85756"/>
                </a:xfrm>
                <a:custGeom>
                  <a:avLst/>
                  <a:gdLst>
                    <a:gd name="connsiteX0" fmla="*/ 0 w 50809"/>
                    <a:gd name="connsiteY0" fmla="*/ 0 h 85756"/>
                    <a:gd name="connsiteX1" fmla="*/ 50810 w 50809"/>
                    <a:gd name="connsiteY1" fmla="*/ 0 h 85756"/>
                    <a:gd name="connsiteX2" fmla="*/ 50810 w 50809"/>
                    <a:gd name="connsiteY2" fmla="*/ 85757 h 85756"/>
                    <a:gd name="connsiteX3" fmla="*/ 0 w 50809"/>
                    <a:gd name="connsiteY3" fmla="*/ 85757 h 8575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50809" h="85756">
                      <a:moveTo>
                        <a:pt x="0" y="0"/>
                      </a:moveTo>
                      <a:lnTo>
                        <a:pt x="50810" y="0"/>
                      </a:lnTo>
                      <a:lnTo>
                        <a:pt x="50810" y="85757"/>
                      </a:lnTo>
                      <a:lnTo>
                        <a:pt x="0" y="85757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2708" name="Gráfico 18">
                <a:extLst>
                  <a:ext uri="{FF2B5EF4-FFF2-40B4-BE49-F238E27FC236}">
                    <a16:creationId xmlns:a16="http://schemas.microsoft.com/office/drawing/2014/main" id="{B9D79D25-A6B2-13C9-DC90-BBC5BC6BB08E}"/>
                  </a:ext>
                </a:extLst>
              </p:cNvPr>
              <p:cNvGrpSpPr/>
              <p:nvPr/>
            </p:nvGrpSpPr>
            <p:grpSpPr>
              <a:xfrm>
                <a:off x="10744730" y="5842485"/>
                <a:ext cx="83231" cy="154146"/>
                <a:chOff x="10744730" y="5842485"/>
                <a:chExt cx="83231" cy="154146"/>
              </a:xfrm>
              <a:noFill/>
            </p:grpSpPr>
            <p:sp>
              <p:nvSpPr>
                <p:cNvPr id="2709" name="Forma livre: Forma 2708">
                  <a:extLst>
                    <a:ext uri="{FF2B5EF4-FFF2-40B4-BE49-F238E27FC236}">
                      <a16:creationId xmlns:a16="http://schemas.microsoft.com/office/drawing/2014/main" id="{664BF0AD-967F-89A3-D0F0-242AD8BAAE15}"/>
                    </a:ext>
                  </a:extLst>
                </p:cNvPr>
                <p:cNvSpPr/>
                <p:nvPr/>
              </p:nvSpPr>
              <p:spPr>
                <a:xfrm>
                  <a:off x="10786334" y="5935434"/>
                  <a:ext cx="1192" cy="60124"/>
                </a:xfrm>
                <a:custGeom>
                  <a:avLst/>
                  <a:gdLst>
                    <a:gd name="connsiteX0" fmla="*/ 0 w 1192"/>
                    <a:gd name="connsiteY0" fmla="*/ 60125 h 60124"/>
                    <a:gd name="connsiteX1" fmla="*/ 0 w 1192"/>
                    <a:gd name="connsiteY1" fmla="*/ 0 h 6012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192" h="60124">
                      <a:moveTo>
                        <a:pt x="0" y="60125"/>
                      </a:moveTo>
                      <a:lnTo>
                        <a:pt x="0" y="0"/>
                      </a:ln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710" name="Forma livre: Forma 2709">
                  <a:extLst>
                    <a:ext uri="{FF2B5EF4-FFF2-40B4-BE49-F238E27FC236}">
                      <a16:creationId xmlns:a16="http://schemas.microsoft.com/office/drawing/2014/main" id="{754887B8-02BF-812B-53AE-AA7BCE90718A}"/>
                    </a:ext>
                  </a:extLst>
                </p:cNvPr>
                <p:cNvSpPr/>
                <p:nvPr/>
              </p:nvSpPr>
              <p:spPr>
                <a:xfrm>
                  <a:off x="10756707" y="5996632"/>
                  <a:ext cx="59087" cy="1192"/>
                </a:xfrm>
                <a:custGeom>
                  <a:avLst/>
                  <a:gdLst>
                    <a:gd name="connsiteX0" fmla="*/ 0 w 59087"/>
                    <a:gd name="connsiteY0" fmla="*/ 0 h 1192"/>
                    <a:gd name="connsiteX1" fmla="*/ 59087 w 59087"/>
                    <a:gd name="connsiteY1" fmla="*/ 0 h 11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59087" h="1192">
                      <a:moveTo>
                        <a:pt x="0" y="0"/>
                      </a:moveTo>
                      <a:lnTo>
                        <a:pt x="59087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711" name="Forma livre: Forma 2710">
                  <a:extLst>
                    <a:ext uri="{FF2B5EF4-FFF2-40B4-BE49-F238E27FC236}">
                      <a16:creationId xmlns:a16="http://schemas.microsoft.com/office/drawing/2014/main" id="{4960FB83-BB0A-7BEC-7567-AE57E5C004AE}"/>
                    </a:ext>
                  </a:extLst>
                </p:cNvPr>
                <p:cNvSpPr/>
                <p:nvPr/>
              </p:nvSpPr>
              <p:spPr>
                <a:xfrm>
                  <a:off x="10744730" y="5842485"/>
                  <a:ext cx="83231" cy="92483"/>
                </a:xfrm>
                <a:custGeom>
                  <a:avLst/>
                  <a:gdLst>
                    <a:gd name="connsiteX0" fmla="*/ 83075 w 83231"/>
                    <a:gd name="connsiteY0" fmla="*/ 49176 h 92483"/>
                    <a:gd name="connsiteX1" fmla="*/ 78089 w 83231"/>
                    <a:gd name="connsiteY1" fmla="*/ 0 h 92483"/>
                    <a:gd name="connsiteX2" fmla="*/ 5142 w 83231"/>
                    <a:gd name="connsiteY2" fmla="*/ 0 h 92483"/>
                    <a:gd name="connsiteX3" fmla="*/ 157 w 83231"/>
                    <a:gd name="connsiteY3" fmla="*/ 49176 h 92483"/>
                    <a:gd name="connsiteX4" fmla="*/ 41616 w 83231"/>
                    <a:gd name="connsiteY4" fmla="*/ 92483 h 92483"/>
                    <a:gd name="connsiteX5" fmla="*/ 83075 w 83231"/>
                    <a:gd name="connsiteY5" fmla="*/ 49176 h 9248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83231" h="92483">
                      <a:moveTo>
                        <a:pt x="83075" y="49176"/>
                      </a:moveTo>
                      <a:lnTo>
                        <a:pt x="78089" y="0"/>
                      </a:lnTo>
                      <a:lnTo>
                        <a:pt x="5142" y="0"/>
                      </a:lnTo>
                      <a:lnTo>
                        <a:pt x="157" y="49176"/>
                      </a:lnTo>
                      <a:cubicBezTo>
                        <a:pt x="-2014" y="73543"/>
                        <a:pt x="18680" y="92483"/>
                        <a:pt x="41616" y="92483"/>
                      </a:cubicBezTo>
                      <a:cubicBezTo>
                        <a:pt x="64552" y="92483"/>
                        <a:pt x="85245" y="73543"/>
                        <a:pt x="83075" y="49176"/>
                      </a:cubicBezTo>
                      <a:close/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712" name="Forma livre: Forma 2711">
                  <a:extLst>
                    <a:ext uri="{FF2B5EF4-FFF2-40B4-BE49-F238E27FC236}">
                      <a16:creationId xmlns:a16="http://schemas.microsoft.com/office/drawing/2014/main" id="{47409BFB-9201-996C-0DEA-F7AE9EFFDC6E}"/>
                    </a:ext>
                  </a:extLst>
                </p:cNvPr>
                <p:cNvSpPr/>
                <p:nvPr/>
              </p:nvSpPr>
              <p:spPr>
                <a:xfrm>
                  <a:off x="10769421" y="5876788"/>
                  <a:ext cx="55556" cy="1192"/>
                </a:xfrm>
                <a:custGeom>
                  <a:avLst/>
                  <a:gdLst>
                    <a:gd name="connsiteX0" fmla="*/ 0 w 55556"/>
                    <a:gd name="connsiteY0" fmla="*/ 0 h 1192"/>
                    <a:gd name="connsiteX1" fmla="*/ 55557 w 55556"/>
                    <a:gd name="connsiteY1" fmla="*/ 0 h 11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55556" h="1192">
                      <a:moveTo>
                        <a:pt x="0" y="0"/>
                      </a:moveTo>
                      <a:lnTo>
                        <a:pt x="55557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sp>
          <p:nvSpPr>
            <p:cNvPr id="2713" name="Forma livre: Forma 2712">
              <a:extLst>
                <a:ext uri="{FF2B5EF4-FFF2-40B4-BE49-F238E27FC236}">
                  <a16:creationId xmlns:a16="http://schemas.microsoft.com/office/drawing/2014/main" id="{FE285190-5C54-AB77-BEB6-92C3F4A19F18}"/>
                </a:ext>
              </a:extLst>
            </p:cNvPr>
            <p:cNvSpPr/>
            <p:nvPr/>
          </p:nvSpPr>
          <p:spPr>
            <a:xfrm>
              <a:off x="10576439" y="5868176"/>
              <a:ext cx="39562" cy="39562"/>
            </a:xfrm>
            <a:custGeom>
              <a:avLst/>
              <a:gdLst>
                <a:gd name="connsiteX0" fmla="*/ 39563 w 39562"/>
                <a:gd name="connsiteY0" fmla="*/ 19775 h 39562"/>
                <a:gd name="connsiteX1" fmla="*/ 19775 w 39562"/>
                <a:gd name="connsiteY1" fmla="*/ 39562 h 39562"/>
                <a:gd name="connsiteX2" fmla="*/ 0 w 39562"/>
                <a:gd name="connsiteY2" fmla="*/ 19775 h 39562"/>
                <a:gd name="connsiteX3" fmla="*/ 19775 w 39562"/>
                <a:gd name="connsiteY3" fmla="*/ 0 h 39562"/>
                <a:gd name="connsiteX4" fmla="*/ 39563 w 39562"/>
                <a:gd name="connsiteY4" fmla="*/ 19775 h 395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562" h="39562">
                  <a:moveTo>
                    <a:pt x="39563" y="19775"/>
                  </a:moveTo>
                  <a:cubicBezTo>
                    <a:pt x="39563" y="30713"/>
                    <a:pt x="30701" y="39562"/>
                    <a:pt x="19775" y="39562"/>
                  </a:cubicBezTo>
                  <a:cubicBezTo>
                    <a:pt x="8850" y="39562"/>
                    <a:pt x="0" y="30713"/>
                    <a:pt x="0" y="19775"/>
                  </a:cubicBezTo>
                  <a:cubicBezTo>
                    <a:pt x="0" y="8838"/>
                    <a:pt x="8850" y="0"/>
                    <a:pt x="19775" y="0"/>
                  </a:cubicBezTo>
                  <a:cubicBezTo>
                    <a:pt x="30701" y="0"/>
                    <a:pt x="39563" y="8850"/>
                    <a:pt x="39563" y="19775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714" name="Forma livre: Forma 2713">
              <a:extLst>
                <a:ext uri="{FF2B5EF4-FFF2-40B4-BE49-F238E27FC236}">
                  <a16:creationId xmlns:a16="http://schemas.microsoft.com/office/drawing/2014/main" id="{2CF4FEA0-D25C-70DB-FFE2-EE0FFA9F1649}"/>
                </a:ext>
              </a:extLst>
            </p:cNvPr>
            <p:cNvSpPr/>
            <p:nvPr/>
          </p:nvSpPr>
          <p:spPr>
            <a:xfrm>
              <a:off x="10620403" y="5758291"/>
              <a:ext cx="1192" cy="89024"/>
            </a:xfrm>
            <a:custGeom>
              <a:avLst/>
              <a:gdLst>
                <a:gd name="connsiteX0" fmla="*/ 0 w 1192"/>
                <a:gd name="connsiteY0" fmla="*/ 0 h 89024"/>
                <a:gd name="connsiteX1" fmla="*/ 0 w 1192"/>
                <a:gd name="connsiteY1" fmla="*/ 89025 h 89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92" h="89024">
                  <a:moveTo>
                    <a:pt x="0" y="0"/>
                  </a:moveTo>
                  <a:lnTo>
                    <a:pt x="0" y="89025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715" name="Forma livre: Forma 2714">
              <a:extLst>
                <a:ext uri="{FF2B5EF4-FFF2-40B4-BE49-F238E27FC236}">
                  <a16:creationId xmlns:a16="http://schemas.microsoft.com/office/drawing/2014/main" id="{A21BE5D1-1B69-BCAB-1542-A5DA704A4A8E}"/>
                </a:ext>
              </a:extLst>
            </p:cNvPr>
            <p:cNvSpPr/>
            <p:nvPr/>
          </p:nvSpPr>
          <p:spPr>
            <a:xfrm>
              <a:off x="10620403" y="5927991"/>
              <a:ext cx="1192" cy="33336"/>
            </a:xfrm>
            <a:custGeom>
              <a:avLst/>
              <a:gdLst>
                <a:gd name="connsiteX0" fmla="*/ 0 w 1192"/>
                <a:gd name="connsiteY0" fmla="*/ 0 h 33336"/>
                <a:gd name="connsiteX1" fmla="*/ 0 w 1192"/>
                <a:gd name="connsiteY1" fmla="*/ 33337 h 333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92" h="33336">
                  <a:moveTo>
                    <a:pt x="0" y="0"/>
                  </a:moveTo>
                  <a:lnTo>
                    <a:pt x="0" y="33337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716" name="Forma livre: Forma 2715">
              <a:extLst>
                <a:ext uri="{FF2B5EF4-FFF2-40B4-BE49-F238E27FC236}">
                  <a16:creationId xmlns:a16="http://schemas.microsoft.com/office/drawing/2014/main" id="{87FCDE2B-FE3F-0B34-094A-98D203A45DEB}"/>
                </a:ext>
              </a:extLst>
            </p:cNvPr>
            <p:cNvSpPr/>
            <p:nvPr/>
          </p:nvSpPr>
          <p:spPr>
            <a:xfrm>
              <a:off x="10572730" y="5756848"/>
              <a:ext cx="1192" cy="90467"/>
            </a:xfrm>
            <a:custGeom>
              <a:avLst/>
              <a:gdLst>
                <a:gd name="connsiteX0" fmla="*/ 0 w 1192"/>
                <a:gd name="connsiteY0" fmla="*/ 0 h 90467"/>
                <a:gd name="connsiteX1" fmla="*/ 0 w 1192"/>
                <a:gd name="connsiteY1" fmla="*/ 90468 h 904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92" h="90467">
                  <a:moveTo>
                    <a:pt x="0" y="0"/>
                  </a:moveTo>
                  <a:lnTo>
                    <a:pt x="0" y="90468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717" name="Forma livre: Forma 2716">
              <a:extLst>
                <a:ext uri="{FF2B5EF4-FFF2-40B4-BE49-F238E27FC236}">
                  <a16:creationId xmlns:a16="http://schemas.microsoft.com/office/drawing/2014/main" id="{A1B7B809-E3A3-1287-011A-33665C6C4788}"/>
                </a:ext>
              </a:extLst>
            </p:cNvPr>
            <p:cNvSpPr/>
            <p:nvPr/>
          </p:nvSpPr>
          <p:spPr>
            <a:xfrm>
              <a:off x="10572730" y="5926548"/>
              <a:ext cx="1192" cy="35018"/>
            </a:xfrm>
            <a:custGeom>
              <a:avLst/>
              <a:gdLst>
                <a:gd name="connsiteX0" fmla="*/ 0 w 1192"/>
                <a:gd name="connsiteY0" fmla="*/ 0 h 35018"/>
                <a:gd name="connsiteX1" fmla="*/ 0 w 1192"/>
                <a:gd name="connsiteY1" fmla="*/ 35018 h 350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92" h="35018">
                  <a:moveTo>
                    <a:pt x="0" y="0"/>
                  </a:moveTo>
                  <a:lnTo>
                    <a:pt x="0" y="35018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718" name="Forma livre: Forma 2717">
              <a:extLst>
                <a:ext uri="{FF2B5EF4-FFF2-40B4-BE49-F238E27FC236}">
                  <a16:creationId xmlns:a16="http://schemas.microsoft.com/office/drawing/2014/main" id="{DE083546-13B6-1F99-0423-42B82B70FCDF}"/>
                </a:ext>
              </a:extLst>
            </p:cNvPr>
            <p:cNvSpPr/>
            <p:nvPr/>
          </p:nvSpPr>
          <p:spPr>
            <a:xfrm>
              <a:off x="10525069" y="5777708"/>
              <a:ext cx="1192" cy="158297"/>
            </a:xfrm>
            <a:custGeom>
              <a:avLst/>
              <a:gdLst>
                <a:gd name="connsiteX0" fmla="*/ 0 w 1192"/>
                <a:gd name="connsiteY0" fmla="*/ 0 h 158297"/>
                <a:gd name="connsiteX1" fmla="*/ 0 w 1192"/>
                <a:gd name="connsiteY1" fmla="*/ 158298 h 1582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92" h="158297">
                  <a:moveTo>
                    <a:pt x="0" y="0"/>
                  </a:moveTo>
                  <a:lnTo>
                    <a:pt x="0" y="158298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719" name="Forma livre: Forma 2718">
              <a:extLst>
                <a:ext uri="{FF2B5EF4-FFF2-40B4-BE49-F238E27FC236}">
                  <a16:creationId xmlns:a16="http://schemas.microsoft.com/office/drawing/2014/main" id="{8301CA37-446A-2B5C-5772-AF9212332CEC}"/>
                </a:ext>
              </a:extLst>
            </p:cNvPr>
            <p:cNvSpPr/>
            <p:nvPr/>
          </p:nvSpPr>
          <p:spPr>
            <a:xfrm>
              <a:off x="10488942" y="5749608"/>
              <a:ext cx="180506" cy="214689"/>
            </a:xfrm>
            <a:custGeom>
              <a:avLst/>
              <a:gdLst>
                <a:gd name="connsiteX0" fmla="*/ 152155 w 180506"/>
                <a:gd name="connsiteY0" fmla="*/ 204897 h 214689"/>
                <a:gd name="connsiteX1" fmla="*/ 107345 w 180506"/>
                <a:gd name="connsiteY1" fmla="*/ 214689 h 214689"/>
                <a:gd name="connsiteX2" fmla="*/ 0 w 180506"/>
                <a:gd name="connsiteY2" fmla="*/ 107345 h 214689"/>
                <a:gd name="connsiteX3" fmla="*/ 107345 w 180506"/>
                <a:gd name="connsiteY3" fmla="*/ 0 h 214689"/>
                <a:gd name="connsiteX4" fmla="*/ 180506 w 180506"/>
                <a:gd name="connsiteY4" fmla="*/ 28792 h 2146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0506" h="214689">
                  <a:moveTo>
                    <a:pt x="152155" y="204897"/>
                  </a:moveTo>
                  <a:cubicBezTo>
                    <a:pt x="138522" y="211183"/>
                    <a:pt x="123339" y="214689"/>
                    <a:pt x="107345" y="214689"/>
                  </a:cubicBezTo>
                  <a:cubicBezTo>
                    <a:pt x="48055" y="214689"/>
                    <a:pt x="0" y="166635"/>
                    <a:pt x="0" y="107345"/>
                  </a:cubicBezTo>
                  <a:cubicBezTo>
                    <a:pt x="0" y="48055"/>
                    <a:pt x="48055" y="0"/>
                    <a:pt x="107345" y="0"/>
                  </a:cubicBezTo>
                  <a:cubicBezTo>
                    <a:pt x="135624" y="0"/>
                    <a:pt x="161339" y="10925"/>
                    <a:pt x="180506" y="28792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720" name="Forma livre: Forma 2719">
              <a:extLst>
                <a:ext uri="{FF2B5EF4-FFF2-40B4-BE49-F238E27FC236}">
                  <a16:creationId xmlns:a16="http://schemas.microsoft.com/office/drawing/2014/main" id="{C9D7AC3F-00DB-6864-8D9B-F736E45D2115}"/>
                </a:ext>
              </a:extLst>
            </p:cNvPr>
            <p:cNvSpPr/>
            <p:nvPr/>
          </p:nvSpPr>
          <p:spPr>
            <a:xfrm>
              <a:off x="10457120" y="5750371"/>
              <a:ext cx="186147" cy="245747"/>
            </a:xfrm>
            <a:custGeom>
              <a:avLst/>
              <a:gdLst>
                <a:gd name="connsiteX0" fmla="*/ 186148 w 186147"/>
                <a:gd name="connsiteY0" fmla="*/ 237637 h 245747"/>
                <a:gd name="connsiteX1" fmla="*/ 139166 w 186147"/>
                <a:gd name="connsiteY1" fmla="*/ 245748 h 245747"/>
                <a:gd name="connsiteX2" fmla="*/ 0 w 186147"/>
                <a:gd name="connsiteY2" fmla="*/ 106581 h 245747"/>
                <a:gd name="connsiteX3" fmla="*/ 49665 w 186147"/>
                <a:gd name="connsiteY3" fmla="*/ 0 h 245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6147" h="245747">
                  <a:moveTo>
                    <a:pt x="186148" y="237637"/>
                  </a:moveTo>
                  <a:cubicBezTo>
                    <a:pt x="171465" y="242897"/>
                    <a:pt x="155650" y="245748"/>
                    <a:pt x="139166" y="245748"/>
                  </a:cubicBezTo>
                  <a:cubicBezTo>
                    <a:pt x="62320" y="245748"/>
                    <a:pt x="0" y="183440"/>
                    <a:pt x="0" y="106581"/>
                  </a:cubicBezTo>
                  <a:cubicBezTo>
                    <a:pt x="0" y="63799"/>
                    <a:pt x="19298" y="25536"/>
                    <a:pt x="49665" y="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721" name="Forma livre: Forma 2720">
              <a:extLst>
                <a:ext uri="{FF2B5EF4-FFF2-40B4-BE49-F238E27FC236}">
                  <a16:creationId xmlns:a16="http://schemas.microsoft.com/office/drawing/2014/main" id="{05311A81-EFE7-D293-F4F5-79FB682FBCC0}"/>
                </a:ext>
              </a:extLst>
            </p:cNvPr>
            <p:cNvSpPr/>
            <p:nvPr/>
          </p:nvSpPr>
          <p:spPr>
            <a:xfrm>
              <a:off x="10526476" y="5717798"/>
              <a:ext cx="142911" cy="20717"/>
            </a:xfrm>
            <a:custGeom>
              <a:avLst/>
              <a:gdLst>
                <a:gd name="connsiteX0" fmla="*/ 0 w 142911"/>
                <a:gd name="connsiteY0" fmla="*/ 18750 h 20717"/>
                <a:gd name="connsiteX1" fmla="*/ 69810 w 142911"/>
                <a:gd name="connsiteY1" fmla="*/ 0 h 20717"/>
                <a:gd name="connsiteX2" fmla="*/ 142912 w 142911"/>
                <a:gd name="connsiteY2" fmla="*/ 20718 h 207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42911" h="20717">
                  <a:moveTo>
                    <a:pt x="0" y="18750"/>
                  </a:moveTo>
                  <a:cubicBezTo>
                    <a:pt x="20527" y="6822"/>
                    <a:pt x="44369" y="0"/>
                    <a:pt x="69810" y="0"/>
                  </a:cubicBezTo>
                  <a:cubicBezTo>
                    <a:pt x="96622" y="0"/>
                    <a:pt x="121669" y="7586"/>
                    <a:pt x="142912" y="20718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2722" name="Gráfico 18">
            <a:extLst>
              <a:ext uri="{FF2B5EF4-FFF2-40B4-BE49-F238E27FC236}">
                <a16:creationId xmlns:a16="http://schemas.microsoft.com/office/drawing/2014/main" id="{D7728A35-5B5C-64CF-DAEA-89790442FE52}"/>
              </a:ext>
            </a:extLst>
          </p:cNvPr>
          <p:cNvGrpSpPr/>
          <p:nvPr/>
        </p:nvGrpSpPr>
        <p:grpSpPr>
          <a:xfrm>
            <a:off x="10441877" y="4640916"/>
            <a:ext cx="401337" cy="304023"/>
            <a:chOff x="10441877" y="4640916"/>
            <a:chExt cx="401337" cy="304023"/>
          </a:xfrm>
          <a:noFill/>
        </p:grpSpPr>
        <p:sp>
          <p:nvSpPr>
            <p:cNvPr id="2723" name="Forma livre: Forma 2722">
              <a:extLst>
                <a:ext uri="{FF2B5EF4-FFF2-40B4-BE49-F238E27FC236}">
                  <a16:creationId xmlns:a16="http://schemas.microsoft.com/office/drawing/2014/main" id="{8361A1AF-2E67-D357-A483-E6B7CD49C926}"/>
                </a:ext>
              </a:extLst>
            </p:cNvPr>
            <p:cNvSpPr/>
            <p:nvPr/>
          </p:nvSpPr>
          <p:spPr>
            <a:xfrm>
              <a:off x="10441877" y="4777247"/>
              <a:ext cx="177870" cy="15025"/>
            </a:xfrm>
            <a:custGeom>
              <a:avLst/>
              <a:gdLst>
                <a:gd name="connsiteX0" fmla="*/ 0 w 177870"/>
                <a:gd name="connsiteY0" fmla="*/ 15025 h 15025"/>
                <a:gd name="connsiteX1" fmla="*/ 177870 w 177870"/>
                <a:gd name="connsiteY1" fmla="*/ 11614 h 15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77870" h="15025">
                  <a:moveTo>
                    <a:pt x="0" y="15025"/>
                  </a:moveTo>
                  <a:cubicBezTo>
                    <a:pt x="48043" y="-3199"/>
                    <a:pt x="111782" y="-5454"/>
                    <a:pt x="177870" y="11614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724" name="Forma livre: Forma 2723">
              <a:extLst>
                <a:ext uri="{FF2B5EF4-FFF2-40B4-BE49-F238E27FC236}">
                  <a16:creationId xmlns:a16="http://schemas.microsoft.com/office/drawing/2014/main" id="{F67FB345-FE84-E780-BF29-CF7B9E980F7B}"/>
                </a:ext>
              </a:extLst>
            </p:cNvPr>
            <p:cNvSpPr/>
            <p:nvPr/>
          </p:nvSpPr>
          <p:spPr>
            <a:xfrm>
              <a:off x="10473460" y="4812274"/>
              <a:ext cx="90264" cy="6762"/>
            </a:xfrm>
            <a:custGeom>
              <a:avLst/>
              <a:gdLst>
                <a:gd name="connsiteX0" fmla="*/ 0 w 90264"/>
                <a:gd name="connsiteY0" fmla="*/ 6763 h 6762"/>
                <a:gd name="connsiteX1" fmla="*/ 57871 w 90264"/>
                <a:gd name="connsiteY1" fmla="*/ 0 h 6762"/>
                <a:gd name="connsiteX2" fmla="*/ 90265 w 90264"/>
                <a:gd name="connsiteY2" fmla="*/ 1813 h 67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0264" h="6762">
                  <a:moveTo>
                    <a:pt x="0" y="6763"/>
                  </a:moveTo>
                  <a:cubicBezTo>
                    <a:pt x="17354" y="2350"/>
                    <a:pt x="36867" y="0"/>
                    <a:pt x="57871" y="0"/>
                  </a:cubicBezTo>
                  <a:cubicBezTo>
                    <a:pt x="68450" y="0"/>
                    <a:pt x="79292" y="620"/>
                    <a:pt x="90265" y="1813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725" name="Forma livre: Forma 2724">
              <a:extLst>
                <a:ext uri="{FF2B5EF4-FFF2-40B4-BE49-F238E27FC236}">
                  <a16:creationId xmlns:a16="http://schemas.microsoft.com/office/drawing/2014/main" id="{36C72E12-8C94-77EE-2F38-3902AD87F945}"/>
                </a:ext>
              </a:extLst>
            </p:cNvPr>
            <p:cNvSpPr/>
            <p:nvPr/>
          </p:nvSpPr>
          <p:spPr>
            <a:xfrm>
              <a:off x="10513178" y="4772867"/>
              <a:ext cx="330037" cy="81999"/>
            </a:xfrm>
            <a:custGeom>
              <a:avLst/>
              <a:gdLst>
                <a:gd name="connsiteX0" fmla="*/ 0 w 330037"/>
                <a:gd name="connsiteY0" fmla="*/ 81999 h 81999"/>
                <a:gd name="connsiteX1" fmla="*/ 216121 w 330037"/>
                <a:gd name="connsiteY1" fmla="*/ 0 h 81999"/>
                <a:gd name="connsiteX2" fmla="*/ 330037 w 330037"/>
                <a:gd name="connsiteY2" fmla="*/ 17736 h 819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30037" h="81999">
                  <a:moveTo>
                    <a:pt x="0" y="81999"/>
                  </a:moveTo>
                  <a:cubicBezTo>
                    <a:pt x="41125" y="33217"/>
                    <a:pt x="122480" y="0"/>
                    <a:pt x="216121" y="0"/>
                  </a:cubicBezTo>
                  <a:cubicBezTo>
                    <a:pt x="257246" y="0"/>
                    <a:pt x="296009" y="6417"/>
                    <a:pt x="330037" y="17736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726" name="Forma livre: Forma 2725">
              <a:extLst>
                <a:ext uri="{FF2B5EF4-FFF2-40B4-BE49-F238E27FC236}">
                  <a16:creationId xmlns:a16="http://schemas.microsoft.com/office/drawing/2014/main" id="{79927639-244A-09EC-B002-0E88D1697D5D}"/>
                </a:ext>
              </a:extLst>
            </p:cNvPr>
            <p:cNvSpPr/>
            <p:nvPr/>
          </p:nvSpPr>
          <p:spPr>
            <a:xfrm>
              <a:off x="10539477" y="4807885"/>
              <a:ext cx="288435" cy="69654"/>
            </a:xfrm>
            <a:custGeom>
              <a:avLst/>
              <a:gdLst>
                <a:gd name="connsiteX0" fmla="*/ 0 w 288435"/>
                <a:gd name="connsiteY0" fmla="*/ 69655 h 69654"/>
                <a:gd name="connsiteX1" fmla="*/ 189821 w 288435"/>
                <a:gd name="connsiteY1" fmla="*/ 0 h 69654"/>
                <a:gd name="connsiteX2" fmla="*/ 288435 w 288435"/>
                <a:gd name="connsiteY2" fmla="*/ 14551 h 696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88435" h="69654">
                  <a:moveTo>
                    <a:pt x="0" y="69655"/>
                  </a:moveTo>
                  <a:cubicBezTo>
                    <a:pt x="33826" y="28947"/>
                    <a:pt x="107154" y="0"/>
                    <a:pt x="189821" y="0"/>
                  </a:cubicBezTo>
                  <a:cubicBezTo>
                    <a:pt x="225185" y="0"/>
                    <a:pt x="258844" y="5296"/>
                    <a:pt x="288435" y="14551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727" name="Forma livre: Forma 2726">
              <a:extLst>
                <a:ext uri="{FF2B5EF4-FFF2-40B4-BE49-F238E27FC236}">
                  <a16:creationId xmlns:a16="http://schemas.microsoft.com/office/drawing/2014/main" id="{66AEBB94-4350-8F6E-54CA-B3A8BA34643B}"/>
                </a:ext>
              </a:extLst>
            </p:cNvPr>
            <p:cNvSpPr/>
            <p:nvPr/>
          </p:nvSpPr>
          <p:spPr>
            <a:xfrm>
              <a:off x="10565776" y="4842915"/>
              <a:ext cx="247095" cy="57548"/>
            </a:xfrm>
            <a:custGeom>
              <a:avLst/>
              <a:gdLst>
                <a:gd name="connsiteX0" fmla="*/ 0 w 247095"/>
                <a:gd name="connsiteY0" fmla="*/ 57549 h 57548"/>
                <a:gd name="connsiteX1" fmla="*/ 163522 w 247095"/>
                <a:gd name="connsiteY1" fmla="*/ 0 h 57548"/>
                <a:gd name="connsiteX2" fmla="*/ 247096 w 247095"/>
                <a:gd name="connsiteY2" fmla="*/ 11557 h 575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47095" h="57548">
                  <a:moveTo>
                    <a:pt x="0" y="57549"/>
                  </a:moveTo>
                  <a:cubicBezTo>
                    <a:pt x="24534" y="27170"/>
                    <a:pt x="87426" y="0"/>
                    <a:pt x="163522" y="0"/>
                  </a:cubicBezTo>
                  <a:cubicBezTo>
                    <a:pt x="194043" y="0"/>
                    <a:pt x="222442" y="4365"/>
                    <a:pt x="247096" y="11557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728" name="Forma livre: Forma 2727">
              <a:extLst>
                <a:ext uri="{FF2B5EF4-FFF2-40B4-BE49-F238E27FC236}">
                  <a16:creationId xmlns:a16="http://schemas.microsoft.com/office/drawing/2014/main" id="{D52414E9-978E-E25B-DC38-BF4689DF5668}"/>
                </a:ext>
              </a:extLst>
            </p:cNvPr>
            <p:cNvSpPr/>
            <p:nvPr/>
          </p:nvSpPr>
          <p:spPr>
            <a:xfrm>
              <a:off x="10612209" y="4892294"/>
              <a:ext cx="15636" cy="52646"/>
            </a:xfrm>
            <a:custGeom>
              <a:avLst/>
              <a:gdLst>
                <a:gd name="connsiteX0" fmla="*/ 0 w 15636"/>
                <a:gd name="connsiteY0" fmla="*/ 0 h 52646"/>
                <a:gd name="connsiteX1" fmla="*/ 15637 w 15636"/>
                <a:gd name="connsiteY1" fmla="*/ 52647 h 52646"/>
                <a:gd name="connsiteX2" fmla="*/ 0 w 15636"/>
                <a:gd name="connsiteY2" fmla="*/ 0 h 526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5636" h="52646">
                  <a:moveTo>
                    <a:pt x="0" y="0"/>
                  </a:moveTo>
                  <a:cubicBezTo>
                    <a:pt x="6429" y="15124"/>
                    <a:pt x="11712" y="32859"/>
                    <a:pt x="15637" y="52647"/>
                  </a:cubicBezTo>
                  <a:cubicBezTo>
                    <a:pt x="11712" y="32859"/>
                    <a:pt x="6429" y="15124"/>
                    <a:pt x="0" y="0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729" name="Forma livre: Forma 2728">
              <a:extLst>
                <a:ext uri="{FF2B5EF4-FFF2-40B4-BE49-F238E27FC236}">
                  <a16:creationId xmlns:a16="http://schemas.microsoft.com/office/drawing/2014/main" id="{B0DEFB7D-6E26-198A-5653-2E4D2B06950F}"/>
                </a:ext>
              </a:extLst>
            </p:cNvPr>
            <p:cNvSpPr/>
            <p:nvPr/>
          </p:nvSpPr>
          <p:spPr>
            <a:xfrm>
              <a:off x="10658952" y="4873926"/>
              <a:ext cx="20216" cy="51000"/>
            </a:xfrm>
            <a:custGeom>
              <a:avLst/>
              <a:gdLst>
                <a:gd name="connsiteX0" fmla="*/ 0 w 20216"/>
                <a:gd name="connsiteY0" fmla="*/ 0 h 51000"/>
                <a:gd name="connsiteX1" fmla="*/ 20217 w 20216"/>
                <a:gd name="connsiteY1" fmla="*/ 51001 h 51000"/>
                <a:gd name="connsiteX2" fmla="*/ 0 w 20216"/>
                <a:gd name="connsiteY2" fmla="*/ 0 h 51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0216" h="51000">
                  <a:moveTo>
                    <a:pt x="0" y="0"/>
                  </a:moveTo>
                  <a:cubicBezTo>
                    <a:pt x="8087" y="13812"/>
                    <a:pt x="14921" y="31046"/>
                    <a:pt x="20217" y="51001"/>
                  </a:cubicBezTo>
                  <a:cubicBezTo>
                    <a:pt x="14933" y="31046"/>
                    <a:pt x="8099" y="13812"/>
                    <a:pt x="0" y="0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730" name="Forma livre: Forma 2729">
              <a:extLst>
                <a:ext uri="{FF2B5EF4-FFF2-40B4-BE49-F238E27FC236}">
                  <a16:creationId xmlns:a16="http://schemas.microsoft.com/office/drawing/2014/main" id="{A5F1A898-002D-DA38-F279-F43CDC310481}"/>
                </a:ext>
              </a:extLst>
            </p:cNvPr>
            <p:cNvSpPr/>
            <p:nvPr/>
          </p:nvSpPr>
          <p:spPr>
            <a:xfrm>
              <a:off x="10709654" y="4865696"/>
              <a:ext cx="22947" cy="50404"/>
            </a:xfrm>
            <a:custGeom>
              <a:avLst/>
              <a:gdLst>
                <a:gd name="connsiteX0" fmla="*/ 0 w 22947"/>
                <a:gd name="connsiteY0" fmla="*/ 0 h 50404"/>
                <a:gd name="connsiteX1" fmla="*/ 22948 w 22947"/>
                <a:gd name="connsiteY1" fmla="*/ 50404 h 50404"/>
                <a:gd name="connsiteX2" fmla="*/ 0 w 22947"/>
                <a:gd name="connsiteY2" fmla="*/ 0 h 504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2947" h="50404">
                  <a:moveTo>
                    <a:pt x="0" y="0"/>
                  </a:moveTo>
                  <a:cubicBezTo>
                    <a:pt x="9124" y="13036"/>
                    <a:pt x="16865" y="30164"/>
                    <a:pt x="22948" y="50404"/>
                  </a:cubicBezTo>
                  <a:cubicBezTo>
                    <a:pt x="16865" y="30164"/>
                    <a:pt x="9124" y="13048"/>
                    <a:pt x="0" y="0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731" name="Forma livre: Forma 2730">
              <a:extLst>
                <a:ext uri="{FF2B5EF4-FFF2-40B4-BE49-F238E27FC236}">
                  <a16:creationId xmlns:a16="http://schemas.microsoft.com/office/drawing/2014/main" id="{0647CE71-904E-8C20-43FE-B53C8C9B4F31}"/>
                </a:ext>
              </a:extLst>
            </p:cNvPr>
            <p:cNvSpPr/>
            <p:nvPr/>
          </p:nvSpPr>
          <p:spPr>
            <a:xfrm>
              <a:off x="10766821" y="4867557"/>
              <a:ext cx="21922" cy="49307"/>
            </a:xfrm>
            <a:custGeom>
              <a:avLst/>
              <a:gdLst>
                <a:gd name="connsiteX0" fmla="*/ 0 w 21922"/>
                <a:gd name="connsiteY0" fmla="*/ 0 h 49307"/>
                <a:gd name="connsiteX1" fmla="*/ 21922 w 21922"/>
                <a:gd name="connsiteY1" fmla="*/ 49307 h 49307"/>
                <a:gd name="connsiteX2" fmla="*/ 0 w 21922"/>
                <a:gd name="connsiteY2" fmla="*/ 0 h 493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1922" h="49307">
                  <a:moveTo>
                    <a:pt x="0" y="0"/>
                  </a:moveTo>
                  <a:cubicBezTo>
                    <a:pt x="8695" y="12965"/>
                    <a:pt x="16102" y="29663"/>
                    <a:pt x="21922" y="49307"/>
                  </a:cubicBezTo>
                  <a:cubicBezTo>
                    <a:pt x="16090" y="29663"/>
                    <a:pt x="8683" y="12977"/>
                    <a:pt x="0" y="0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2732" name="Gráfico 18">
              <a:extLst>
                <a:ext uri="{FF2B5EF4-FFF2-40B4-BE49-F238E27FC236}">
                  <a16:creationId xmlns:a16="http://schemas.microsoft.com/office/drawing/2014/main" id="{6152F7AA-0C97-56BE-DECB-1639E8C196DD}"/>
                </a:ext>
              </a:extLst>
            </p:cNvPr>
            <p:cNvGrpSpPr/>
            <p:nvPr/>
          </p:nvGrpSpPr>
          <p:grpSpPr>
            <a:xfrm>
              <a:off x="10517615" y="4640916"/>
              <a:ext cx="203143" cy="136828"/>
              <a:chOff x="10517615" y="4640916"/>
              <a:chExt cx="203143" cy="136828"/>
            </a:xfrm>
            <a:noFill/>
          </p:grpSpPr>
          <p:grpSp>
            <p:nvGrpSpPr>
              <p:cNvPr id="2733" name="Gráfico 18">
                <a:extLst>
                  <a:ext uri="{FF2B5EF4-FFF2-40B4-BE49-F238E27FC236}">
                    <a16:creationId xmlns:a16="http://schemas.microsoft.com/office/drawing/2014/main" id="{7EF0A9E1-AF55-F54F-4023-B761A9A5BCC4}"/>
                  </a:ext>
                </a:extLst>
              </p:cNvPr>
              <p:cNvGrpSpPr/>
              <p:nvPr/>
            </p:nvGrpSpPr>
            <p:grpSpPr>
              <a:xfrm>
                <a:off x="10517615" y="4640916"/>
                <a:ext cx="46122" cy="136828"/>
                <a:chOff x="10517615" y="4640916"/>
                <a:chExt cx="46122" cy="136828"/>
              </a:xfrm>
              <a:noFill/>
            </p:grpSpPr>
            <p:grpSp>
              <p:nvGrpSpPr>
                <p:cNvPr id="2734" name="Gráfico 18">
                  <a:extLst>
                    <a:ext uri="{FF2B5EF4-FFF2-40B4-BE49-F238E27FC236}">
                      <a16:creationId xmlns:a16="http://schemas.microsoft.com/office/drawing/2014/main" id="{5C431295-F316-0335-224C-39BD63D325B4}"/>
                    </a:ext>
                  </a:extLst>
                </p:cNvPr>
                <p:cNvGrpSpPr/>
                <p:nvPr/>
              </p:nvGrpSpPr>
              <p:grpSpPr>
                <a:xfrm>
                  <a:off x="10525570" y="4695221"/>
                  <a:ext cx="30211" cy="82524"/>
                  <a:chOff x="10525570" y="4695221"/>
                  <a:chExt cx="30211" cy="82524"/>
                </a:xfrm>
              </p:grpSpPr>
              <p:sp>
                <p:nvSpPr>
                  <p:cNvPr id="2735" name="Forma livre: Forma 2734">
                    <a:extLst>
                      <a:ext uri="{FF2B5EF4-FFF2-40B4-BE49-F238E27FC236}">
                        <a16:creationId xmlns:a16="http://schemas.microsoft.com/office/drawing/2014/main" id="{1B59B874-12EB-D7D6-DAA5-52C1C1CF833F}"/>
                      </a:ext>
                    </a:extLst>
                  </p:cNvPr>
                  <p:cNvSpPr/>
                  <p:nvPr/>
                </p:nvSpPr>
                <p:spPr>
                  <a:xfrm>
                    <a:off x="10555782" y="4695221"/>
                    <a:ext cx="1192" cy="82524"/>
                  </a:xfrm>
                  <a:custGeom>
                    <a:avLst/>
                    <a:gdLst>
                      <a:gd name="connsiteX0" fmla="*/ 0 w 1192"/>
                      <a:gd name="connsiteY0" fmla="*/ 0 h 82524"/>
                      <a:gd name="connsiteX1" fmla="*/ 0 w 1192"/>
                      <a:gd name="connsiteY1" fmla="*/ 82524 h 8252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192" h="82524">
                        <a:moveTo>
                          <a:pt x="0" y="0"/>
                        </a:moveTo>
                        <a:lnTo>
                          <a:pt x="0" y="82524"/>
                        </a:lnTo>
                      </a:path>
                    </a:pathLst>
                  </a:custGeom>
                  <a:ln w="6350" cap="flat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2736" name="Forma livre: Forma 2735">
                    <a:extLst>
                      <a:ext uri="{FF2B5EF4-FFF2-40B4-BE49-F238E27FC236}">
                        <a16:creationId xmlns:a16="http://schemas.microsoft.com/office/drawing/2014/main" id="{48E122CC-D64F-8487-A9BB-A5C06ED88339}"/>
                      </a:ext>
                    </a:extLst>
                  </p:cNvPr>
                  <p:cNvSpPr/>
                  <p:nvPr/>
                </p:nvSpPr>
                <p:spPr>
                  <a:xfrm>
                    <a:off x="10525570" y="4714435"/>
                    <a:ext cx="1192" cy="43045"/>
                  </a:xfrm>
                  <a:custGeom>
                    <a:avLst/>
                    <a:gdLst>
                      <a:gd name="connsiteX0" fmla="*/ 0 w 1192"/>
                      <a:gd name="connsiteY0" fmla="*/ 43045 h 43045"/>
                      <a:gd name="connsiteX1" fmla="*/ 0 w 1192"/>
                      <a:gd name="connsiteY1" fmla="*/ 0 h 4304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192" h="43045">
                        <a:moveTo>
                          <a:pt x="0" y="43045"/>
                        </a:moveTo>
                        <a:lnTo>
                          <a:pt x="0" y="0"/>
                        </a:lnTo>
                      </a:path>
                    </a:pathLst>
                  </a:custGeom>
                  <a:ln w="6350" cap="flat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  <p:sp>
              <p:nvSpPr>
                <p:cNvPr id="2737" name="Forma livre: Forma 2736">
                  <a:extLst>
                    <a:ext uri="{FF2B5EF4-FFF2-40B4-BE49-F238E27FC236}">
                      <a16:creationId xmlns:a16="http://schemas.microsoft.com/office/drawing/2014/main" id="{9F27961D-79BF-461D-5313-B06135284750}"/>
                    </a:ext>
                  </a:extLst>
                </p:cNvPr>
                <p:cNvSpPr/>
                <p:nvPr/>
              </p:nvSpPr>
              <p:spPr>
                <a:xfrm>
                  <a:off x="10517615" y="4640916"/>
                  <a:ext cx="46122" cy="53827"/>
                </a:xfrm>
                <a:custGeom>
                  <a:avLst/>
                  <a:gdLst>
                    <a:gd name="connsiteX0" fmla="*/ 46122 w 46122"/>
                    <a:gd name="connsiteY0" fmla="*/ 53827 h 53827"/>
                    <a:gd name="connsiteX1" fmla="*/ 0 w 46122"/>
                    <a:gd name="connsiteY1" fmla="*/ 53827 h 53827"/>
                    <a:gd name="connsiteX2" fmla="*/ 13621 w 46122"/>
                    <a:gd name="connsiteY2" fmla="*/ 0 h 53827"/>
                    <a:gd name="connsiteX3" fmla="*/ 32502 w 46122"/>
                    <a:gd name="connsiteY3" fmla="*/ 0 h 53827"/>
                    <a:gd name="connsiteX4" fmla="*/ 46122 w 46122"/>
                    <a:gd name="connsiteY4" fmla="*/ 53827 h 5382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46122" h="53827">
                      <a:moveTo>
                        <a:pt x="46122" y="53827"/>
                      </a:moveTo>
                      <a:lnTo>
                        <a:pt x="0" y="53827"/>
                      </a:lnTo>
                      <a:lnTo>
                        <a:pt x="13621" y="0"/>
                      </a:lnTo>
                      <a:lnTo>
                        <a:pt x="32502" y="0"/>
                      </a:lnTo>
                      <a:lnTo>
                        <a:pt x="46122" y="53827"/>
                      </a:lnTo>
                      <a:close/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2738" name="Gráfico 18">
                <a:extLst>
                  <a:ext uri="{FF2B5EF4-FFF2-40B4-BE49-F238E27FC236}">
                    <a16:creationId xmlns:a16="http://schemas.microsoft.com/office/drawing/2014/main" id="{2EB49D02-D06E-D126-8619-21707333D40B}"/>
                  </a:ext>
                </a:extLst>
              </p:cNvPr>
              <p:cNvGrpSpPr/>
              <p:nvPr/>
            </p:nvGrpSpPr>
            <p:grpSpPr>
              <a:xfrm>
                <a:off x="10674648" y="4640916"/>
                <a:ext cx="46110" cy="131759"/>
                <a:chOff x="10674648" y="4640916"/>
                <a:chExt cx="46110" cy="131759"/>
              </a:xfrm>
              <a:noFill/>
            </p:grpSpPr>
            <p:grpSp>
              <p:nvGrpSpPr>
                <p:cNvPr id="2739" name="Gráfico 18">
                  <a:extLst>
                    <a:ext uri="{FF2B5EF4-FFF2-40B4-BE49-F238E27FC236}">
                      <a16:creationId xmlns:a16="http://schemas.microsoft.com/office/drawing/2014/main" id="{4CEB808D-8174-C181-8DF5-E6647EA02A16}"/>
                    </a:ext>
                  </a:extLst>
                </p:cNvPr>
                <p:cNvGrpSpPr/>
                <p:nvPr/>
              </p:nvGrpSpPr>
              <p:grpSpPr>
                <a:xfrm>
                  <a:off x="10682603" y="4694744"/>
                  <a:ext cx="30223" cy="77932"/>
                  <a:chOff x="10682603" y="4694744"/>
                  <a:chExt cx="30223" cy="77932"/>
                </a:xfrm>
              </p:grpSpPr>
              <p:sp>
                <p:nvSpPr>
                  <p:cNvPr id="2740" name="Forma livre: Forma 2739">
                    <a:extLst>
                      <a:ext uri="{FF2B5EF4-FFF2-40B4-BE49-F238E27FC236}">
                        <a16:creationId xmlns:a16="http://schemas.microsoft.com/office/drawing/2014/main" id="{0DA82B39-CBAC-8FB8-60C6-A4397A6F0315}"/>
                      </a:ext>
                    </a:extLst>
                  </p:cNvPr>
                  <p:cNvSpPr/>
                  <p:nvPr/>
                </p:nvSpPr>
                <p:spPr>
                  <a:xfrm>
                    <a:off x="10712827" y="4694744"/>
                    <a:ext cx="1192" cy="77932"/>
                  </a:xfrm>
                  <a:custGeom>
                    <a:avLst/>
                    <a:gdLst>
                      <a:gd name="connsiteX0" fmla="*/ 0 w 1192"/>
                      <a:gd name="connsiteY0" fmla="*/ 0 h 77932"/>
                      <a:gd name="connsiteX1" fmla="*/ 0 w 1192"/>
                      <a:gd name="connsiteY1" fmla="*/ 77932 h 7793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192" h="77932">
                        <a:moveTo>
                          <a:pt x="0" y="0"/>
                        </a:moveTo>
                        <a:lnTo>
                          <a:pt x="0" y="77932"/>
                        </a:lnTo>
                      </a:path>
                    </a:pathLst>
                  </a:custGeom>
                  <a:ln w="6350" cap="flat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2741" name="Forma livre: Forma 2740">
                    <a:extLst>
                      <a:ext uri="{FF2B5EF4-FFF2-40B4-BE49-F238E27FC236}">
                        <a16:creationId xmlns:a16="http://schemas.microsoft.com/office/drawing/2014/main" id="{FB9F2883-85BA-F035-443D-CF200E06E297}"/>
                      </a:ext>
                    </a:extLst>
                  </p:cNvPr>
                  <p:cNvSpPr/>
                  <p:nvPr/>
                </p:nvSpPr>
                <p:spPr>
                  <a:xfrm>
                    <a:off x="10682603" y="4695101"/>
                    <a:ext cx="1192" cy="61198"/>
                  </a:xfrm>
                  <a:custGeom>
                    <a:avLst/>
                    <a:gdLst>
                      <a:gd name="connsiteX0" fmla="*/ 0 w 1192"/>
                      <a:gd name="connsiteY0" fmla="*/ 61198 h 61198"/>
                      <a:gd name="connsiteX1" fmla="*/ 0 w 1192"/>
                      <a:gd name="connsiteY1" fmla="*/ 0 h 6119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192" h="61198">
                        <a:moveTo>
                          <a:pt x="0" y="61198"/>
                        </a:moveTo>
                        <a:lnTo>
                          <a:pt x="0" y="0"/>
                        </a:lnTo>
                      </a:path>
                    </a:pathLst>
                  </a:custGeom>
                  <a:ln w="6350" cap="flat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  <p:sp>
              <p:nvSpPr>
                <p:cNvPr id="2742" name="Forma livre: Forma 2741">
                  <a:extLst>
                    <a:ext uri="{FF2B5EF4-FFF2-40B4-BE49-F238E27FC236}">
                      <a16:creationId xmlns:a16="http://schemas.microsoft.com/office/drawing/2014/main" id="{44E1F7C0-8362-1002-6ADA-09F3F0B02EEF}"/>
                    </a:ext>
                  </a:extLst>
                </p:cNvPr>
                <p:cNvSpPr/>
                <p:nvPr/>
              </p:nvSpPr>
              <p:spPr>
                <a:xfrm>
                  <a:off x="10674648" y="4640916"/>
                  <a:ext cx="46110" cy="53827"/>
                </a:xfrm>
                <a:custGeom>
                  <a:avLst/>
                  <a:gdLst>
                    <a:gd name="connsiteX0" fmla="*/ 46110 w 46110"/>
                    <a:gd name="connsiteY0" fmla="*/ 53827 h 53827"/>
                    <a:gd name="connsiteX1" fmla="*/ 0 w 46110"/>
                    <a:gd name="connsiteY1" fmla="*/ 53827 h 53827"/>
                    <a:gd name="connsiteX2" fmla="*/ 13609 w 46110"/>
                    <a:gd name="connsiteY2" fmla="*/ 0 h 53827"/>
                    <a:gd name="connsiteX3" fmla="*/ 32502 w 46110"/>
                    <a:gd name="connsiteY3" fmla="*/ 0 h 53827"/>
                    <a:gd name="connsiteX4" fmla="*/ 46110 w 46110"/>
                    <a:gd name="connsiteY4" fmla="*/ 53827 h 5382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46110" h="53827">
                      <a:moveTo>
                        <a:pt x="46110" y="53827"/>
                      </a:moveTo>
                      <a:lnTo>
                        <a:pt x="0" y="53827"/>
                      </a:lnTo>
                      <a:lnTo>
                        <a:pt x="13609" y="0"/>
                      </a:lnTo>
                      <a:lnTo>
                        <a:pt x="32502" y="0"/>
                      </a:lnTo>
                      <a:lnTo>
                        <a:pt x="46110" y="53827"/>
                      </a:lnTo>
                      <a:close/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sp>
          <p:nvSpPr>
            <p:cNvPr id="2743" name="Forma livre: Forma 2742">
              <a:extLst>
                <a:ext uri="{FF2B5EF4-FFF2-40B4-BE49-F238E27FC236}">
                  <a16:creationId xmlns:a16="http://schemas.microsoft.com/office/drawing/2014/main" id="{8348B9C9-E201-F73B-D265-02748AA5C12B}"/>
                </a:ext>
              </a:extLst>
            </p:cNvPr>
            <p:cNvSpPr/>
            <p:nvPr/>
          </p:nvSpPr>
          <p:spPr>
            <a:xfrm>
              <a:off x="10574817" y="4718956"/>
              <a:ext cx="107833" cy="1192"/>
            </a:xfrm>
            <a:custGeom>
              <a:avLst/>
              <a:gdLst>
                <a:gd name="connsiteX0" fmla="*/ 0 w 107833"/>
                <a:gd name="connsiteY0" fmla="*/ 0 h 1192"/>
                <a:gd name="connsiteX1" fmla="*/ 107834 w 107833"/>
                <a:gd name="connsiteY1" fmla="*/ 0 h 11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7833" h="1192">
                  <a:moveTo>
                    <a:pt x="0" y="0"/>
                  </a:moveTo>
                  <a:lnTo>
                    <a:pt x="107834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744" name="Forma livre: Forma 2743">
              <a:extLst>
                <a:ext uri="{FF2B5EF4-FFF2-40B4-BE49-F238E27FC236}">
                  <a16:creationId xmlns:a16="http://schemas.microsoft.com/office/drawing/2014/main" id="{C979F050-2FA5-8244-5CF8-F38684F63647}"/>
                </a:ext>
              </a:extLst>
            </p:cNvPr>
            <p:cNvSpPr/>
            <p:nvPr/>
          </p:nvSpPr>
          <p:spPr>
            <a:xfrm>
              <a:off x="10578884" y="4669076"/>
              <a:ext cx="100355" cy="1192"/>
            </a:xfrm>
            <a:custGeom>
              <a:avLst/>
              <a:gdLst>
                <a:gd name="connsiteX0" fmla="*/ 0 w 100355"/>
                <a:gd name="connsiteY0" fmla="*/ 0 h 1192"/>
                <a:gd name="connsiteX1" fmla="*/ 100355 w 100355"/>
                <a:gd name="connsiteY1" fmla="*/ 0 h 11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0355" h="1192">
                  <a:moveTo>
                    <a:pt x="0" y="0"/>
                  </a:moveTo>
                  <a:lnTo>
                    <a:pt x="100355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2745" name="Gráfico 18">
              <a:extLst>
                <a:ext uri="{FF2B5EF4-FFF2-40B4-BE49-F238E27FC236}">
                  <a16:creationId xmlns:a16="http://schemas.microsoft.com/office/drawing/2014/main" id="{3565EE48-FC42-EFDF-9141-996899CC53C2}"/>
                </a:ext>
              </a:extLst>
            </p:cNvPr>
            <p:cNvGrpSpPr/>
            <p:nvPr/>
          </p:nvGrpSpPr>
          <p:grpSpPr>
            <a:xfrm>
              <a:off x="10585790" y="4742178"/>
              <a:ext cx="66792" cy="12726"/>
              <a:chOff x="10585790" y="4742178"/>
              <a:chExt cx="66792" cy="12726"/>
            </a:xfrm>
          </p:grpSpPr>
          <p:sp>
            <p:nvSpPr>
              <p:cNvPr id="2746" name="Forma livre: Forma 2745">
                <a:extLst>
                  <a:ext uri="{FF2B5EF4-FFF2-40B4-BE49-F238E27FC236}">
                    <a16:creationId xmlns:a16="http://schemas.microsoft.com/office/drawing/2014/main" id="{C9F85386-0485-397A-611A-D09E56F74756}"/>
                  </a:ext>
                </a:extLst>
              </p:cNvPr>
              <p:cNvSpPr/>
              <p:nvPr/>
            </p:nvSpPr>
            <p:spPr>
              <a:xfrm>
                <a:off x="10585790" y="4742178"/>
                <a:ext cx="1192" cy="12726"/>
              </a:xfrm>
              <a:custGeom>
                <a:avLst/>
                <a:gdLst>
                  <a:gd name="connsiteX0" fmla="*/ 0 w 1192"/>
                  <a:gd name="connsiteY0" fmla="*/ 0 h 12726"/>
                  <a:gd name="connsiteX1" fmla="*/ 0 w 1192"/>
                  <a:gd name="connsiteY1" fmla="*/ 12726 h 127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2" h="12726">
                    <a:moveTo>
                      <a:pt x="0" y="0"/>
                    </a:moveTo>
                    <a:lnTo>
                      <a:pt x="0" y="12726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747" name="Forma livre: Forma 2746">
                <a:extLst>
                  <a:ext uri="{FF2B5EF4-FFF2-40B4-BE49-F238E27FC236}">
                    <a16:creationId xmlns:a16="http://schemas.microsoft.com/office/drawing/2014/main" id="{ADAE7318-DC0A-96B5-B3A4-73F8014A23CC}"/>
                  </a:ext>
                </a:extLst>
              </p:cNvPr>
              <p:cNvSpPr/>
              <p:nvPr/>
            </p:nvSpPr>
            <p:spPr>
              <a:xfrm>
                <a:off x="10619186" y="4742178"/>
                <a:ext cx="1192" cy="12726"/>
              </a:xfrm>
              <a:custGeom>
                <a:avLst/>
                <a:gdLst>
                  <a:gd name="connsiteX0" fmla="*/ 0 w 1192"/>
                  <a:gd name="connsiteY0" fmla="*/ 0 h 12726"/>
                  <a:gd name="connsiteX1" fmla="*/ 0 w 1192"/>
                  <a:gd name="connsiteY1" fmla="*/ 12726 h 127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2" h="12726">
                    <a:moveTo>
                      <a:pt x="0" y="0"/>
                    </a:moveTo>
                    <a:lnTo>
                      <a:pt x="0" y="12726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748" name="Forma livre: Forma 2747">
                <a:extLst>
                  <a:ext uri="{FF2B5EF4-FFF2-40B4-BE49-F238E27FC236}">
                    <a16:creationId xmlns:a16="http://schemas.microsoft.com/office/drawing/2014/main" id="{E83C7BB7-AFFB-58E4-E439-1175F868CC59}"/>
                  </a:ext>
                </a:extLst>
              </p:cNvPr>
              <p:cNvSpPr/>
              <p:nvPr/>
            </p:nvSpPr>
            <p:spPr>
              <a:xfrm>
                <a:off x="10652583" y="4742178"/>
                <a:ext cx="1192" cy="12726"/>
              </a:xfrm>
              <a:custGeom>
                <a:avLst/>
                <a:gdLst>
                  <a:gd name="connsiteX0" fmla="*/ 0 w 1192"/>
                  <a:gd name="connsiteY0" fmla="*/ 0 h 12726"/>
                  <a:gd name="connsiteX1" fmla="*/ 0 w 1192"/>
                  <a:gd name="connsiteY1" fmla="*/ 12726 h 127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2" h="12726">
                    <a:moveTo>
                      <a:pt x="0" y="0"/>
                    </a:moveTo>
                    <a:lnTo>
                      <a:pt x="0" y="12726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6859868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áfico 2">
            <a:extLst>
              <a:ext uri="{FF2B5EF4-FFF2-40B4-BE49-F238E27FC236}">
                <a16:creationId xmlns:a16="http://schemas.microsoft.com/office/drawing/2014/main" id="{AC42826D-ACB4-F8DC-01EC-190338B3D10B}"/>
              </a:ext>
            </a:extLst>
          </p:cNvPr>
          <p:cNvGrpSpPr/>
          <p:nvPr/>
        </p:nvGrpSpPr>
        <p:grpSpPr>
          <a:xfrm>
            <a:off x="2022932" y="2591537"/>
            <a:ext cx="224213" cy="274224"/>
            <a:chOff x="2022932" y="2591537"/>
            <a:chExt cx="224213" cy="274224"/>
          </a:xfrm>
        </p:grpSpPr>
        <p:sp>
          <p:nvSpPr>
            <p:cNvPr id="23" name="Forma livre: Forma 22">
              <a:extLst>
                <a:ext uri="{FF2B5EF4-FFF2-40B4-BE49-F238E27FC236}">
                  <a16:creationId xmlns:a16="http://schemas.microsoft.com/office/drawing/2014/main" id="{3CD882EC-2212-564F-3969-6ED48CABE593}"/>
                </a:ext>
              </a:extLst>
            </p:cNvPr>
            <p:cNvSpPr/>
            <p:nvPr/>
          </p:nvSpPr>
          <p:spPr>
            <a:xfrm>
              <a:off x="2076198" y="2865762"/>
              <a:ext cx="152773" cy="1196"/>
            </a:xfrm>
            <a:custGeom>
              <a:avLst/>
              <a:gdLst>
                <a:gd name="connsiteX0" fmla="*/ 0 w 152773"/>
                <a:gd name="connsiteY0" fmla="*/ 0 h 1196"/>
                <a:gd name="connsiteX1" fmla="*/ 152774 w 152773"/>
                <a:gd name="connsiteY1" fmla="*/ 0 h 11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2773" h="1196">
                  <a:moveTo>
                    <a:pt x="0" y="0"/>
                  </a:moveTo>
                  <a:lnTo>
                    <a:pt x="152774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4" name="Forma livre: Forma 23">
              <a:extLst>
                <a:ext uri="{FF2B5EF4-FFF2-40B4-BE49-F238E27FC236}">
                  <a16:creationId xmlns:a16="http://schemas.microsoft.com/office/drawing/2014/main" id="{2789A97B-9118-348D-DE84-498D0E7AE18D}"/>
                </a:ext>
              </a:extLst>
            </p:cNvPr>
            <p:cNvSpPr/>
            <p:nvPr/>
          </p:nvSpPr>
          <p:spPr>
            <a:xfrm>
              <a:off x="2023100" y="2720394"/>
              <a:ext cx="170792" cy="142975"/>
            </a:xfrm>
            <a:custGeom>
              <a:avLst/>
              <a:gdLst>
                <a:gd name="connsiteX0" fmla="*/ 0 w 170792"/>
                <a:gd name="connsiteY0" fmla="*/ 142975 h 142975"/>
                <a:gd name="connsiteX1" fmla="*/ 122396 w 170792"/>
                <a:gd name="connsiteY1" fmla="*/ 97056 h 142975"/>
                <a:gd name="connsiteX2" fmla="*/ 170792 w 170792"/>
                <a:gd name="connsiteY2" fmla="*/ 0 h 142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70792" h="142975">
                  <a:moveTo>
                    <a:pt x="0" y="142975"/>
                  </a:moveTo>
                  <a:cubicBezTo>
                    <a:pt x="0" y="142975"/>
                    <a:pt x="69035" y="106424"/>
                    <a:pt x="122396" y="97056"/>
                  </a:cubicBezTo>
                  <a:lnTo>
                    <a:pt x="170792" y="0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5" name="Forma livre: Forma 24">
              <a:extLst>
                <a:ext uri="{FF2B5EF4-FFF2-40B4-BE49-F238E27FC236}">
                  <a16:creationId xmlns:a16="http://schemas.microsoft.com/office/drawing/2014/main" id="{600F4D29-DC05-6A77-445C-80285AB85E35}"/>
                </a:ext>
              </a:extLst>
            </p:cNvPr>
            <p:cNvSpPr/>
            <p:nvPr/>
          </p:nvSpPr>
          <p:spPr>
            <a:xfrm>
              <a:off x="2022932" y="2656229"/>
              <a:ext cx="79491" cy="206972"/>
            </a:xfrm>
            <a:custGeom>
              <a:avLst/>
              <a:gdLst>
                <a:gd name="connsiteX0" fmla="*/ 0 w 79491"/>
                <a:gd name="connsiteY0" fmla="*/ 206973 h 206972"/>
                <a:gd name="connsiteX1" fmla="*/ 5695 w 79491"/>
                <a:gd name="connsiteY1" fmla="*/ 79240 h 206972"/>
                <a:gd name="connsiteX2" fmla="*/ 79492 w 79491"/>
                <a:gd name="connsiteY2" fmla="*/ 0 h 2069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79491" h="206972">
                  <a:moveTo>
                    <a:pt x="0" y="206973"/>
                  </a:moveTo>
                  <a:cubicBezTo>
                    <a:pt x="0" y="206973"/>
                    <a:pt x="15063" y="132602"/>
                    <a:pt x="5695" y="79240"/>
                  </a:cubicBezTo>
                  <a:lnTo>
                    <a:pt x="79492" y="0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6" name="Forma livre: Forma 25">
              <a:extLst>
                <a:ext uri="{FF2B5EF4-FFF2-40B4-BE49-F238E27FC236}">
                  <a16:creationId xmlns:a16="http://schemas.microsoft.com/office/drawing/2014/main" id="{49C4078E-19FF-837B-EE95-0142841F743E}"/>
                </a:ext>
              </a:extLst>
            </p:cNvPr>
            <p:cNvSpPr/>
            <p:nvPr/>
          </p:nvSpPr>
          <p:spPr>
            <a:xfrm>
              <a:off x="2022968" y="2765680"/>
              <a:ext cx="72061" cy="97689"/>
            </a:xfrm>
            <a:custGeom>
              <a:avLst/>
              <a:gdLst>
                <a:gd name="connsiteX0" fmla="*/ 72062 w 72061"/>
                <a:gd name="connsiteY0" fmla="*/ 0 h 97689"/>
                <a:gd name="connsiteX1" fmla="*/ 0 w 72061"/>
                <a:gd name="connsiteY1" fmla="*/ 97690 h 976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2061" h="97689">
                  <a:moveTo>
                    <a:pt x="72062" y="0"/>
                  </a:moveTo>
                  <a:lnTo>
                    <a:pt x="0" y="9769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7" name="Forma livre: Forma 26">
              <a:extLst>
                <a:ext uri="{FF2B5EF4-FFF2-40B4-BE49-F238E27FC236}">
                  <a16:creationId xmlns:a16="http://schemas.microsoft.com/office/drawing/2014/main" id="{F6FF01D5-BE50-D579-89BC-B2C861317A46}"/>
                </a:ext>
              </a:extLst>
            </p:cNvPr>
            <p:cNvSpPr/>
            <p:nvPr/>
          </p:nvSpPr>
          <p:spPr>
            <a:xfrm>
              <a:off x="2103286" y="2591537"/>
              <a:ext cx="143860" cy="118220"/>
            </a:xfrm>
            <a:custGeom>
              <a:avLst/>
              <a:gdLst>
                <a:gd name="connsiteX0" fmla="*/ 24025 w 143860"/>
                <a:gd name="connsiteY0" fmla="*/ 0 h 118220"/>
                <a:gd name="connsiteX1" fmla="*/ 0 w 143860"/>
                <a:gd name="connsiteY1" fmla="*/ 34254 h 118220"/>
                <a:gd name="connsiteX2" fmla="*/ 119704 w 143860"/>
                <a:gd name="connsiteY2" fmla="*/ 118221 h 118220"/>
                <a:gd name="connsiteX3" fmla="*/ 143860 w 143860"/>
                <a:gd name="connsiteY3" fmla="*/ 83775 h 1182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3860" h="118220">
                  <a:moveTo>
                    <a:pt x="24025" y="0"/>
                  </a:moveTo>
                  <a:lnTo>
                    <a:pt x="0" y="34254"/>
                  </a:lnTo>
                  <a:lnTo>
                    <a:pt x="119704" y="118221"/>
                  </a:lnTo>
                  <a:lnTo>
                    <a:pt x="143860" y="83775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8" name="Forma livre: Forma 27">
              <a:extLst>
                <a:ext uri="{FF2B5EF4-FFF2-40B4-BE49-F238E27FC236}">
                  <a16:creationId xmlns:a16="http://schemas.microsoft.com/office/drawing/2014/main" id="{77A364F3-ADCF-ABAD-2086-860AA7FA2A5B}"/>
                </a:ext>
              </a:extLst>
            </p:cNvPr>
            <p:cNvSpPr/>
            <p:nvPr/>
          </p:nvSpPr>
          <p:spPr>
            <a:xfrm>
              <a:off x="2090926" y="2754302"/>
              <a:ext cx="14034" cy="14046"/>
            </a:xfrm>
            <a:custGeom>
              <a:avLst/>
              <a:gdLst>
                <a:gd name="connsiteX0" fmla="*/ 14034 w 14034"/>
                <a:gd name="connsiteY0" fmla="*/ 7035 h 14046"/>
                <a:gd name="connsiteX1" fmla="*/ 7023 w 14034"/>
                <a:gd name="connsiteY1" fmla="*/ 14046 h 14046"/>
                <a:gd name="connsiteX2" fmla="*/ 0 w 14034"/>
                <a:gd name="connsiteY2" fmla="*/ 7035 h 14046"/>
                <a:gd name="connsiteX3" fmla="*/ 7023 w 14034"/>
                <a:gd name="connsiteY3" fmla="*/ 0 h 14046"/>
                <a:gd name="connsiteX4" fmla="*/ 14034 w 14034"/>
                <a:gd name="connsiteY4" fmla="*/ 7035 h 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034" h="14046">
                  <a:moveTo>
                    <a:pt x="14034" y="7035"/>
                  </a:moveTo>
                  <a:cubicBezTo>
                    <a:pt x="14034" y="10912"/>
                    <a:pt x="10912" y="14046"/>
                    <a:pt x="7023" y="14046"/>
                  </a:cubicBezTo>
                  <a:cubicBezTo>
                    <a:pt x="3135" y="14046"/>
                    <a:pt x="0" y="10912"/>
                    <a:pt x="0" y="7035"/>
                  </a:cubicBezTo>
                  <a:cubicBezTo>
                    <a:pt x="0" y="3159"/>
                    <a:pt x="3147" y="0"/>
                    <a:pt x="7023" y="0"/>
                  </a:cubicBezTo>
                  <a:cubicBezTo>
                    <a:pt x="10900" y="0"/>
                    <a:pt x="14034" y="3135"/>
                    <a:pt x="14034" y="7035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29" name="Gráfico 2">
            <a:extLst>
              <a:ext uri="{FF2B5EF4-FFF2-40B4-BE49-F238E27FC236}">
                <a16:creationId xmlns:a16="http://schemas.microsoft.com/office/drawing/2014/main" id="{A2C9333D-9335-B1F5-7B9E-EDA3F19EAAD9}"/>
              </a:ext>
            </a:extLst>
          </p:cNvPr>
          <p:cNvGrpSpPr/>
          <p:nvPr/>
        </p:nvGrpSpPr>
        <p:grpSpPr>
          <a:xfrm>
            <a:off x="2008360" y="3133850"/>
            <a:ext cx="253394" cy="257833"/>
            <a:chOff x="2008360" y="3133850"/>
            <a:chExt cx="253394" cy="257833"/>
          </a:xfrm>
        </p:grpSpPr>
        <p:grpSp>
          <p:nvGrpSpPr>
            <p:cNvPr id="30" name="Gráfico 2">
              <a:extLst>
                <a:ext uri="{FF2B5EF4-FFF2-40B4-BE49-F238E27FC236}">
                  <a16:creationId xmlns:a16="http://schemas.microsoft.com/office/drawing/2014/main" id="{28FF82E0-4FC9-6547-7278-933D54F0EE87}"/>
                </a:ext>
              </a:extLst>
            </p:cNvPr>
            <p:cNvGrpSpPr/>
            <p:nvPr/>
          </p:nvGrpSpPr>
          <p:grpSpPr>
            <a:xfrm>
              <a:off x="2095676" y="3133850"/>
              <a:ext cx="78773" cy="257833"/>
              <a:chOff x="2095676" y="3133850"/>
              <a:chExt cx="78773" cy="257833"/>
            </a:xfrm>
          </p:grpSpPr>
          <p:sp>
            <p:nvSpPr>
              <p:cNvPr id="31" name="Forma livre: Forma 30">
                <a:extLst>
                  <a:ext uri="{FF2B5EF4-FFF2-40B4-BE49-F238E27FC236}">
                    <a16:creationId xmlns:a16="http://schemas.microsoft.com/office/drawing/2014/main" id="{42915C27-1CF7-2059-6E10-2FEA4CED77B9}"/>
                  </a:ext>
                </a:extLst>
              </p:cNvPr>
              <p:cNvSpPr/>
              <p:nvPr/>
            </p:nvSpPr>
            <p:spPr>
              <a:xfrm>
                <a:off x="2095676" y="3133850"/>
                <a:ext cx="78773" cy="257833"/>
              </a:xfrm>
              <a:custGeom>
                <a:avLst/>
                <a:gdLst>
                  <a:gd name="connsiteX0" fmla="*/ 64417 w 78773"/>
                  <a:gd name="connsiteY0" fmla="*/ 0 h 257833"/>
                  <a:gd name="connsiteX1" fmla="*/ 78774 w 78773"/>
                  <a:gd name="connsiteY1" fmla="*/ 14357 h 257833"/>
                  <a:gd name="connsiteX2" fmla="*/ 78774 w 78773"/>
                  <a:gd name="connsiteY2" fmla="*/ 243476 h 257833"/>
                  <a:gd name="connsiteX3" fmla="*/ 64417 w 78773"/>
                  <a:gd name="connsiteY3" fmla="*/ 257834 h 257833"/>
                  <a:gd name="connsiteX4" fmla="*/ 14357 w 78773"/>
                  <a:gd name="connsiteY4" fmla="*/ 257834 h 257833"/>
                  <a:gd name="connsiteX5" fmla="*/ 0 w 78773"/>
                  <a:gd name="connsiteY5" fmla="*/ 243476 h 257833"/>
                  <a:gd name="connsiteX6" fmla="*/ 0 w 78773"/>
                  <a:gd name="connsiteY6" fmla="*/ 14357 h 257833"/>
                  <a:gd name="connsiteX7" fmla="*/ 14357 w 78773"/>
                  <a:gd name="connsiteY7" fmla="*/ 0 h 2578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8773" h="257833">
                    <a:moveTo>
                      <a:pt x="64417" y="0"/>
                    </a:moveTo>
                    <a:cubicBezTo>
                      <a:pt x="72346" y="0"/>
                      <a:pt x="78774" y="6428"/>
                      <a:pt x="78774" y="14357"/>
                    </a:cubicBezTo>
                    <a:lnTo>
                      <a:pt x="78774" y="243476"/>
                    </a:lnTo>
                    <a:cubicBezTo>
                      <a:pt x="78774" y="251406"/>
                      <a:pt x="72346" y="257834"/>
                      <a:pt x="64417" y="257834"/>
                    </a:cubicBezTo>
                    <a:lnTo>
                      <a:pt x="14357" y="257834"/>
                    </a:lnTo>
                    <a:cubicBezTo>
                      <a:pt x="6428" y="257834"/>
                      <a:pt x="0" y="251406"/>
                      <a:pt x="0" y="243476"/>
                    </a:cubicBezTo>
                    <a:lnTo>
                      <a:pt x="0" y="14357"/>
                    </a:lnTo>
                    <a:cubicBezTo>
                      <a:pt x="0" y="6428"/>
                      <a:pt x="6428" y="0"/>
                      <a:pt x="14357" y="0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2" name="Forma livre: Forma 31">
                <a:extLst>
                  <a:ext uri="{FF2B5EF4-FFF2-40B4-BE49-F238E27FC236}">
                    <a16:creationId xmlns:a16="http://schemas.microsoft.com/office/drawing/2014/main" id="{65A915AD-341D-8076-D3E2-F8375EB6E8F1}"/>
                  </a:ext>
                </a:extLst>
              </p:cNvPr>
              <p:cNvSpPr/>
              <p:nvPr/>
            </p:nvSpPr>
            <p:spPr>
              <a:xfrm>
                <a:off x="2097016" y="3173284"/>
                <a:ext cx="76105" cy="1196"/>
              </a:xfrm>
              <a:custGeom>
                <a:avLst/>
                <a:gdLst>
                  <a:gd name="connsiteX0" fmla="*/ 76106 w 76105"/>
                  <a:gd name="connsiteY0" fmla="*/ 0 h 1196"/>
                  <a:gd name="connsiteX1" fmla="*/ 0 w 76105"/>
                  <a:gd name="connsiteY1" fmla="*/ 0 h 11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76105" h="1196">
                    <a:moveTo>
                      <a:pt x="76106" y="0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3" name="Forma livre: Forma 32">
                <a:extLst>
                  <a:ext uri="{FF2B5EF4-FFF2-40B4-BE49-F238E27FC236}">
                    <a16:creationId xmlns:a16="http://schemas.microsoft.com/office/drawing/2014/main" id="{E03EE7D0-80D2-D40E-9E6B-949876052D73}"/>
                  </a:ext>
                </a:extLst>
              </p:cNvPr>
              <p:cNvSpPr/>
              <p:nvPr/>
            </p:nvSpPr>
            <p:spPr>
              <a:xfrm>
                <a:off x="2097016" y="3257777"/>
                <a:ext cx="76105" cy="1196"/>
              </a:xfrm>
              <a:custGeom>
                <a:avLst/>
                <a:gdLst>
                  <a:gd name="connsiteX0" fmla="*/ 76106 w 76105"/>
                  <a:gd name="connsiteY0" fmla="*/ 0 h 1196"/>
                  <a:gd name="connsiteX1" fmla="*/ 0 w 76105"/>
                  <a:gd name="connsiteY1" fmla="*/ 0 h 11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76105" h="1196">
                    <a:moveTo>
                      <a:pt x="76106" y="0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4" name="Forma livre: Forma 33">
                <a:extLst>
                  <a:ext uri="{FF2B5EF4-FFF2-40B4-BE49-F238E27FC236}">
                    <a16:creationId xmlns:a16="http://schemas.microsoft.com/office/drawing/2014/main" id="{53D43DF8-C96C-1353-9C47-A9CEE7D85224}"/>
                  </a:ext>
                </a:extLst>
              </p:cNvPr>
              <p:cNvSpPr/>
              <p:nvPr/>
            </p:nvSpPr>
            <p:spPr>
              <a:xfrm>
                <a:off x="2131330" y="3343682"/>
                <a:ext cx="7465" cy="7453"/>
              </a:xfrm>
              <a:custGeom>
                <a:avLst/>
                <a:gdLst>
                  <a:gd name="connsiteX0" fmla="*/ 7466 w 7465"/>
                  <a:gd name="connsiteY0" fmla="*/ 3733 h 7453"/>
                  <a:gd name="connsiteX1" fmla="*/ 3733 w 7465"/>
                  <a:gd name="connsiteY1" fmla="*/ 7454 h 7453"/>
                  <a:gd name="connsiteX2" fmla="*/ 0 w 7465"/>
                  <a:gd name="connsiteY2" fmla="*/ 3733 h 7453"/>
                  <a:gd name="connsiteX3" fmla="*/ 3733 w 7465"/>
                  <a:gd name="connsiteY3" fmla="*/ 0 h 7453"/>
                  <a:gd name="connsiteX4" fmla="*/ 7466 w 7465"/>
                  <a:gd name="connsiteY4" fmla="*/ 3733 h 74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465" h="7453">
                    <a:moveTo>
                      <a:pt x="7466" y="3733"/>
                    </a:moveTo>
                    <a:cubicBezTo>
                      <a:pt x="7466" y="5791"/>
                      <a:pt x="5803" y="7454"/>
                      <a:pt x="3733" y="7454"/>
                    </a:cubicBezTo>
                    <a:cubicBezTo>
                      <a:pt x="1663" y="7454"/>
                      <a:pt x="0" y="5791"/>
                      <a:pt x="0" y="3733"/>
                    </a:cubicBezTo>
                    <a:cubicBezTo>
                      <a:pt x="0" y="1675"/>
                      <a:pt x="1675" y="0"/>
                      <a:pt x="3733" y="0"/>
                    </a:cubicBezTo>
                    <a:cubicBezTo>
                      <a:pt x="5791" y="0"/>
                      <a:pt x="7466" y="1663"/>
                      <a:pt x="7466" y="3733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35" name="Gráfico 2">
              <a:extLst>
                <a:ext uri="{FF2B5EF4-FFF2-40B4-BE49-F238E27FC236}">
                  <a16:creationId xmlns:a16="http://schemas.microsoft.com/office/drawing/2014/main" id="{A4C812B3-01F3-8BF5-F610-80A7A0A22AFB}"/>
                </a:ext>
              </a:extLst>
            </p:cNvPr>
            <p:cNvGrpSpPr/>
            <p:nvPr/>
          </p:nvGrpSpPr>
          <p:grpSpPr>
            <a:xfrm>
              <a:off x="2195854" y="3133850"/>
              <a:ext cx="65900" cy="257833"/>
              <a:chOff x="2195854" y="3133850"/>
              <a:chExt cx="65900" cy="257833"/>
            </a:xfrm>
          </p:grpSpPr>
          <p:sp>
            <p:nvSpPr>
              <p:cNvPr id="36" name="Forma livre: Forma 35">
                <a:extLst>
                  <a:ext uri="{FF2B5EF4-FFF2-40B4-BE49-F238E27FC236}">
                    <a16:creationId xmlns:a16="http://schemas.microsoft.com/office/drawing/2014/main" id="{6849F377-9A9B-4D48-56AB-119BF4A16ECB}"/>
                  </a:ext>
                </a:extLst>
              </p:cNvPr>
              <p:cNvSpPr/>
              <p:nvPr/>
            </p:nvSpPr>
            <p:spPr>
              <a:xfrm>
                <a:off x="2195854" y="3133850"/>
                <a:ext cx="65900" cy="257833"/>
              </a:xfrm>
              <a:custGeom>
                <a:avLst/>
                <a:gdLst>
                  <a:gd name="connsiteX0" fmla="*/ 0 w 65900"/>
                  <a:gd name="connsiteY0" fmla="*/ 0 h 257833"/>
                  <a:gd name="connsiteX1" fmla="*/ 51543 w 65900"/>
                  <a:gd name="connsiteY1" fmla="*/ 0 h 257833"/>
                  <a:gd name="connsiteX2" fmla="*/ 65900 w 65900"/>
                  <a:gd name="connsiteY2" fmla="*/ 14357 h 257833"/>
                  <a:gd name="connsiteX3" fmla="*/ 65900 w 65900"/>
                  <a:gd name="connsiteY3" fmla="*/ 243476 h 257833"/>
                  <a:gd name="connsiteX4" fmla="*/ 51543 w 65900"/>
                  <a:gd name="connsiteY4" fmla="*/ 257834 h 257833"/>
                  <a:gd name="connsiteX5" fmla="*/ 0 w 65900"/>
                  <a:gd name="connsiteY5" fmla="*/ 257834 h 2578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65900" h="257833">
                    <a:moveTo>
                      <a:pt x="0" y="0"/>
                    </a:moveTo>
                    <a:lnTo>
                      <a:pt x="51543" y="0"/>
                    </a:lnTo>
                    <a:cubicBezTo>
                      <a:pt x="59427" y="0"/>
                      <a:pt x="65900" y="6461"/>
                      <a:pt x="65900" y="14357"/>
                    </a:cubicBezTo>
                    <a:lnTo>
                      <a:pt x="65900" y="243476"/>
                    </a:lnTo>
                    <a:cubicBezTo>
                      <a:pt x="65900" y="251373"/>
                      <a:pt x="59427" y="257834"/>
                      <a:pt x="51543" y="257834"/>
                    </a:cubicBezTo>
                    <a:lnTo>
                      <a:pt x="0" y="257834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7" name="Forma livre: Forma 36">
                <a:extLst>
                  <a:ext uri="{FF2B5EF4-FFF2-40B4-BE49-F238E27FC236}">
                    <a16:creationId xmlns:a16="http://schemas.microsoft.com/office/drawing/2014/main" id="{1780A94B-A926-FC85-DFE1-99309B8F805E}"/>
                  </a:ext>
                </a:extLst>
              </p:cNvPr>
              <p:cNvSpPr/>
              <p:nvPr/>
            </p:nvSpPr>
            <p:spPr>
              <a:xfrm>
                <a:off x="2195938" y="3173284"/>
                <a:ext cx="64033" cy="1196"/>
              </a:xfrm>
              <a:custGeom>
                <a:avLst/>
                <a:gdLst>
                  <a:gd name="connsiteX0" fmla="*/ 64034 w 64033"/>
                  <a:gd name="connsiteY0" fmla="*/ 0 h 1196"/>
                  <a:gd name="connsiteX1" fmla="*/ 0 w 64033"/>
                  <a:gd name="connsiteY1" fmla="*/ 0 h 11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4033" h="1196">
                    <a:moveTo>
                      <a:pt x="64034" y="0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8" name="Forma livre: Forma 37">
                <a:extLst>
                  <a:ext uri="{FF2B5EF4-FFF2-40B4-BE49-F238E27FC236}">
                    <a16:creationId xmlns:a16="http://schemas.microsoft.com/office/drawing/2014/main" id="{172735C8-B191-9C61-E12A-6A30A9B8DAF5}"/>
                  </a:ext>
                </a:extLst>
              </p:cNvPr>
              <p:cNvSpPr/>
              <p:nvPr/>
            </p:nvSpPr>
            <p:spPr>
              <a:xfrm>
                <a:off x="2195938" y="3257777"/>
                <a:ext cx="64033" cy="1196"/>
              </a:xfrm>
              <a:custGeom>
                <a:avLst/>
                <a:gdLst>
                  <a:gd name="connsiteX0" fmla="*/ 64034 w 64033"/>
                  <a:gd name="connsiteY0" fmla="*/ 0 h 1196"/>
                  <a:gd name="connsiteX1" fmla="*/ 0 w 64033"/>
                  <a:gd name="connsiteY1" fmla="*/ 0 h 11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4033" h="1196">
                    <a:moveTo>
                      <a:pt x="64034" y="0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9" name="Forma livre: Forma 38">
                <a:extLst>
                  <a:ext uri="{FF2B5EF4-FFF2-40B4-BE49-F238E27FC236}">
                    <a16:creationId xmlns:a16="http://schemas.microsoft.com/office/drawing/2014/main" id="{B7DCB5C8-B2BA-E0E2-67AE-70A5ABE2D239}"/>
                  </a:ext>
                </a:extLst>
              </p:cNvPr>
              <p:cNvSpPr/>
              <p:nvPr/>
            </p:nvSpPr>
            <p:spPr>
              <a:xfrm>
                <a:off x="2217103" y="3343682"/>
                <a:ext cx="7465" cy="7453"/>
              </a:xfrm>
              <a:custGeom>
                <a:avLst/>
                <a:gdLst>
                  <a:gd name="connsiteX0" fmla="*/ 7466 w 7465"/>
                  <a:gd name="connsiteY0" fmla="*/ 3733 h 7453"/>
                  <a:gd name="connsiteX1" fmla="*/ 3733 w 7465"/>
                  <a:gd name="connsiteY1" fmla="*/ 7454 h 7453"/>
                  <a:gd name="connsiteX2" fmla="*/ 0 w 7465"/>
                  <a:gd name="connsiteY2" fmla="*/ 3733 h 7453"/>
                  <a:gd name="connsiteX3" fmla="*/ 3733 w 7465"/>
                  <a:gd name="connsiteY3" fmla="*/ 0 h 7453"/>
                  <a:gd name="connsiteX4" fmla="*/ 7466 w 7465"/>
                  <a:gd name="connsiteY4" fmla="*/ 3733 h 74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465" h="7453">
                    <a:moveTo>
                      <a:pt x="7466" y="3733"/>
                    </a:moveTo>
                    <a:cubicBezTo>
                      <a:pt x="7466" y="5791"/>
                      <a:pt x="5803" y="7454"/>
                      <a:pt x="3733" y="7454"/>
                    </a:cubicBezTo>
                    <a:cubicBezTo>
                      <a:pt x="1663" y="7454"/>
                      <a:pt x="0" y="5791"/>
                      <a:pt x="0" y="3733"/>
                    </a:cubicBezTo>
                    <a:cubicBezTo>
                      <a:pt x="0" y="1675"/>
                      <a:pt x="1675" y="0"/>
                      <a:pt x="3733" y="0"/>
                    </a:cubicBezTo>
                    <a:cubicBezTo>
                      <a:pt x="5791" y="0"/>
                      <a:pt x="7466" y="1663"/>
                      <a:pt x="7466" y="3733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40" name="Gráfico 2">
              <a:extLst>
                <a:ext uri="{FF2B5EF4-FFF2-40B4-BE49-F238E27FC236}">
                  <a16:creationId xmlns:a16="http://schemas.microsoft.com/office/drawing/2014/main" id="{E4788A93-2757-4BD0-9D3D-19CB8DA6D1BE}"/>
                </a:ext>
              </a:extLst>
            </p:cNvPr>
            <p:cNvGrpSpPr/>
            <p:nvPr/>
          </p:nvGrpSpPr>
          <p:grpSpPr>
            <a:xfrm>
              <a:off x="2008360" y="3133850"/>
              <a:ext cx="65756" cy="257833"/>
              <a:chOff x="2008360" y="3133850"/>
              <a:chExt cx="65756" cy="257833"/>
            </a:xfrm>
          </p:grpSpPr>
          <p:sp>
            <p:nvSpPr>
              <p:cNvPr id="41" name="Forma livre: Forma 40">
                <a:extLst>
                  <a:ext uri="{FF2B5EF4-FFF2-40B4-BE49-F238E27FC236}">
                    <a16:creationId xmlns:a16="http://schemas.microsoft.com/office/drawing/2014/main" id="{5EC3FCD0-3D8D-E956-E14D-9A9DFDCA4946}"/>
                  </a:ext>
                </a:extLst>
              </p:cNvPr>
              <p:cNvSpPr/>
              <p:nvPr/>
            </p:nvSpPr>
            <p:spPr>
              <a:xfrm>
                <a:off x="2008360" y="3133850"/>
                <a:ext cx="65756" cy="257833"/>
              </a:xfrm>
              <a:custGeom>
                <a:avLst/>
                <a:gdLst>
                  <a:gd name="connsiteX0" fmla="*/ 65757 w 65756"/>
                  <a:gd name="connsiteY0" fmla="*/ 0 h 257833"/>
                  <a:gd name="connsiteX1" fmla="*/ 14357 w 65756"/>
                  <a:gd name="connsiteY1" fmla="*/ 0 h 257833"/>
                  <a:gd name="connsiteX2" fmla="*/ 0 w 65756"/>
                  <a:gd name="connsiteY2" fmla="*/ 14357 h 257833"/>
                  <a:gd name="connsiteX3" fmla="*/ 0 w 65756"/>
                  <a:gd name="connsiteY3" fmla="*/ 243476 h 257833"/>
                  <a:gd name="connsiteX4" fmla="*/ 14357 w 65756"/>
                  <a:gd name="connsiteY4" fmla="*/ 257834 h 257833"/>
                  <a:gd name="connsiteX5" fmla="*/ 65757 w 65756"/>
                  <a:gd name="connsiteY5" fmla="*/ 257834 h 2578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65756" h="257833">
                    <a:moveTo>
                      <a:pt x="65757" y="0"/>
                    </a:moveTo>
                    <a:lnTo>
                      <a:pt x="14357" y="0"/>
                    </a:lnTo>
                    <a:cubicBezTo>
                      <a:pt x="6461" y="0"/>
                      <a:pt x="0" y="6461"/>
                      <a:pt x="0" y="14357"/>
                    </a:cubicBezTo>
                    <a:lnTo>
                      <a:pt x="0" y="243476"/>
                    </a:lnTo>
                    <a:cubicBezTo>
                      <a:pt x="0" y="251373"/>
                      <a:pt x="6461" y="257834"/>
                      <a:pt x="14357" y="257834"/>
                    </a:cubicBezTo>
                    <a:lnTo>
                      <a:pt x="65757" y="257834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2" name="Forma livre: Forma 41">
                <a:extLst>
                  <a:ext uri="{FF2B5EF4-FFF2-40B4-BE49-F238E27FC236}">
                    <a16:creationId xmlns:a16="http://schemas.microsoft.com/office/drawing/2014/main" id="{55548770-DEE0-F697-C76F-E581062E68ED}"/>
                  </a:ext>
                </a:extLst>
              </p:cNvPr>
              <p:cNvSpPr/>
              <p:nvPr/>
            </p:nvSpPr>
            <p:spPr>
              <a:xfrm>
                <a:off x="2010142" y="3173284"/>
                <a:ext cx="63890" cy="1196"/>
              </a:xfrm>
              <a:custGeom>
                <a:avLst/>
                <a:gdLst>
                  <a:gd name="connsiteX0" fmla="*/ 0 w 63890"/>
                  <a:gd name="connsiteY0" fmla="*/ 0 h 1196"/>
                  <a:gd name="connsiteX1" fmla="*/ 63890 w 63890"/>
                  <a:gd name="connsiteY1" fmla="*/ 0 h 11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3890" h="1196">
                    <a:moveTo>
                      <a:pt x="0" y="0"/>
                    </a:moveTo>
                    <a:lnTo>
                      <a:pt x="6389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3" name="Forma livre: Forma 42">
                <a:extLst>
                  <a:ext uri="{FF2B5EF4-FFF2-40B4-BE49-F238E27FC236}">
                    <a16:creationId xmlns:a16="http://schemas.microsoft.com/office/drawing/2014/main" id="{A2423F10-2AD8-FA97-3A70-8BF5A6C94793}"/>
                  </a:ext>
                </a:extLst>
              </p:cNvPr>
              <p:cNvSpPr/>
              <p:nvPr/>
            </p:nvSpPr>
            <p:spPr>
              <a:xfrm>
                <a:off x="2010142" y="3257777"/>
                <a:ext cx="63890" cy="1196"/>
              </a:xfrm>
              <a:custGeom>
                <a:avLst/>
                <a:gdLst>
                  <a:gd name="connsiteX0" fmla="*/ 0 w 63890"/>
                  <a:gd name="connsiteY0" fmla="*/ 0 h 1196"/>
                  <a:gd name="connsiteX1" fmla="*/ 63890 w 63890"/>
                  <a:gd name="connsiteY1" fmla="*/ 0 h 11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3890" h="1196">
                    <a:moveTo>
                      <a:pt x="0" y="0"/>
                    </a:moveTo>
                    <a:lnTo>
                      <a:pt x="6389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4" name="Forma livre: Forma 43">
                <a:extLst>
                  <a:ext uri="{FF2B5EF4-FFF2-40B4-BE49-F238E27FC236}">
                    <a16:creationId xmlns:a16="http://schemas.microsoft.com/office/drawing/2014/main" id="{B143D5EF-727D-4BD7-5B73-0CBF0DA7799A}"/>
                  </a:ext>
                </a:extLst>
              </p:cNvPr>
              <p:cNvSpPr/>
              <p:nvPr/>
            </p:nvSpPr>
            <p:spPr>
              <a:xfrm>
                <a:off x="2045545" y="3343682"/>
                <a:ext cx="7453" cy="7453"/>
              </a:xfrm>
              <a:custGeom>
                <a:avLst/>
                <a:gdLst>
                  <a:gd name="connsiteX0" fmla="*/ 0 w 7453"/>
                  <a:gd name="connsiteY0" fmla="*/ 3733 h 7453"/>
                  <a:gd name="connsiteX1" fmla="*/ 3721 w 7453"/>
                  <a:gd name="connsiteY1" fmla="*/ 7454 h 7453"/>
                  <a:gd name="connsiteX2" fmla="*/ 7454 w 7453"/>
                  <a:gd name="connsiteY2" fmla="*/ 3733 h 7453"/>
                  <a:gd name="connsiteX3" fmla="*/ 3721 w 7453"/>
                  <a:gd name="connsiteY3" fmla="*/ 0 h 7453"/>
                  <a:gd name="connsiteX4" fmla="*/ 0 w 7453"/>
                  <a:gd name="connsiteY4" fmla="*/ 3733 h 74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453" h="7453">
                    <a:moveTo>
                      <a:pt x="0" y="3733"/>
                    </a:moveTo>
                    <a:cubicBezTo>
                      <a:pt x="0" y="5791"/>
                      <a:pt x="1651" y="7454"/>
                      <a:pt x="3721" y="7454"/>
                    </a:cubicBezTo>
                    <a:cubicBezTo>
                      <a:pt x="5791" y="7454"/>
                      <a:pt x="7454" y="5791"/>
                      <a:pt x="7454" y="3733"/>
                    </a:cubicBezTo>
                    <a:cubicBezTo>
                      <a:pt x="7454" y="1675"/>
                      <a:pt x="5779" y="0"/>
                      <a:pt x="3721" y="0"/>
                    </a:cubicBezTo>
                    <a:cubicBezTo>
                      <a:pt x="1663" y="0"/>
                      <a:pt x="0" y="1663"/>
                      <a:pt x="0" y="3733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45" name="Gráfico 2">
            <a:extLst>
              <a:ext uri="{FF2B5EF4-FFF2-40B4-BE49-F238E27FC236}">
                <a16:creationId xmlns:a16="http://schemas.microsoft.com/office/drawing/2014/main" id="{A17D257E-45B2-5DC0-5646-0308F9787205}"/>
              </a:ext>
            </a:extLst>
          </p:cNvPr>
          <p:cNvGrpSpPr/>
          <p:nvPr/>
        </p:nvGrpSpPr>
        <p:grpSpPr>
          <a:xfrm>
            <a:off x="2035758" y="1527671"/>
            <a:ext cx="198561" cy="265514"/>
            <a:chOff x="2035758" y="1527671"/>
            <a:chExt cx="198561" cy="265514"/>
          </a:xfrm>
          <a:noFill/>
        </p:grpSpPr>
        <p:grpSp>
          <p:nvGrpSpPr>
            <p:cNvPr id="46" name="Gráfico 2">
              <a:extLst>
                <a:ext uri="{FF2B5EF4-FFF2-40B4-BE49-F238E27FC236}">
                  <a16:creationId xmlns:a16="http://schemas.microsoft.com/office/drawing/2014/main" id="{A8113709-6E75-7E20-12B6-8FB4B7897263}"/>
                </a:ext>
              </a:extLst>
            </p:cNvPr>
            <p:cNvGrpSpPr/>
            <p:nvPr/>
          </p:nvGrpSpPr>
          <p:grpSpPr>
            <a:xfrm>
              <a:off x="2035758" y="1527671"/>
              <a:ext cx="198561" cy="265514"/>
              <a:chOff x="2035758" y="1527671"/>
              <a:chExt cx="198561" cy="265514"/>
            </a:xfrm>
            <a:noFill/>
          </p:grpSpPr>
          <p:sp>
            <p:nvSpPr>
              <p:cNvPr id="47" name="Forma livre: Forma 46">
                <a:extLst>
                  <a:ext uri="{FF2B5EF4-FFF2-40B4-BE49-F238E27FC236}">
                    <a16:creationId xmlns:a16="http://schemas.microsoft.com/office/drawing/2014/main" id="{D5E50FE0-A50E-50C5-7CFB-94FAA383E474}"/>
                  </a:ext>
                </a:extLst>
              </p:cNvPr>
              <p:cNvSpPr/>
              <p:nvPr/>
            </p:nvSpPr>
            <p:spPr>
              <a:xfrm>
                <a:off x="2135039" y="1726424"/>
                <a:ext cx="1196" cy="66761"/>
              </a:xfrm>
              <a:custGeom>
                <a:avLst/>
                <a:gdLst>
                  <a:gd name="connsiteX0" fmla="*/ 0 w 1196"/>
                  <a:gd name="connsiteY0" fmla="*/ 66762 h 66761"/>
                  <a:gd name="connsiteX1" fmla="*/ 0 w 1196"/>
                  <a:gd name="connsiteY1" fmla="*/ 0 h 667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6" h="66761">
                    <a:moveTo>
                      <a:pt x="0" y="66762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8" name="Forma livre: Forma 47">
                <a:extLst>
                  <a:ext uri="{FF2B5EF4-FFF2-40B4-BE49-F238E27FC236}">
                    <a16:creationId xmlns:a16="http://schemas.microsoft.com/office/drawing/2014/main" id="{EEDDD2A4-FEF4-89AC-4265-200A5469207E}"/>
                  </a:ext>
                </a:extLst>
              </p:cNvPr>
              <p:cNvSpPr/>
              <p:nvPr/>
            </p:nvSpPr>
            <p:spPr>
              <a:xfrm>
                <a:off x="2061242" y="1527671"/>
                <a:ext cx="147593" cy="116952"/>
              </a:xfrm>
              <a:custGeom>
                <a:avLst/>
                <a:gdLst>
                  <a:gd name="connsiteX0" fmla="*/ 107812 w 147593"/>
                  <a:gd name="connsiteY0" fmla="*/ 116952 h 116952"/>
                  <a:gd name="connsiteX1" fmla="*/ 107812 w 147593"/>
                  <a:gd name="connsiteY1" fmla="*/ 46362 h 116952"/>
                  <a:gd name="connsiteX2" fmla="*/ 147593 w 147593"/>
                  <a:gd name="connsiteY2" fmla="*/ 0 h 116952"/>
                  <a:gd name="connsiteX3" fmla="*/ 0 w 147593"/>
                  <a:gd name="connsiteY3" fmla="*/ 0 h 116952"/>
                  <a:gd name="connsiteX4" fmla="*/ 39782 w 147593"/>
                  <a:gd name="connsiteY4" fmla="*/ 46362 h 116952"/>
                  <a:gd name="connsiteX5" fmla="*/ 39782 w 147593"/>
                  <a:gd name="connsiteY5" fmla="*/ 98132 h 1169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47593" h="116952">
                    <a:moveTo>
                      <a:pt x="107812" y="116952"/>
                    </a:moveTo>
                    <a:lnTo>
                      <a:pt x="107812" y="46362"/>
                    </a:lnTo>
                    <a:lnTo>
                      <a:pt x="147593" y="0"/>
                    </a:lnTo>
                    <a:lnTo>
                      <a:pt x="0" y="0"/>
                    </a:lnTo>
                    <a:lnTo>
                      <a:pt x="39782" y="46362"/>
                    </a:lnTo>
                    <a:lnTo>
                      <a:pt x="39782" y="98132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9" name="Forma livre: Forma 48">
                <a:extLst>
                  <a:ext uri="{FF2B5EF4-FFF2-40B4-BE49-F238E27FC236}">
                    <a16:creationId xmlns:a16="http://schemas.microsoft.com/office/drawing/2014/main" id="{14AC1B95-A621-1D04-83F5-8A36FA9FBF40}"/>
                  </a:ext>
                </a:extLst>
              </p:cNvPr>
              <p:cNvSpPr/>
              <p:nvPr/>
            </p:nvSpPr>
            <p:spPr>
              <a:xfrm>
                <a:off x="2035758" y="1642219"/>
                <a:ext cx="198561" cy="53433"/>
              </a:xfrm>
              <a:custGeom>
                <a:avLst/>
                <a:gdLst>
                  <a:gd name="connsiteX0" fmla="*/ 99413 w 198561"/>
                  <a:gd name="connsiteY0" fmla="*/ 0 h 53433"/>
                  <a:gd name="connsiteX1" fmla="*/ 0 w 198561"/>
                  <a:gd name="connsiteY1" fmla="*/ 53433 h 53433"/>
                  <a:gd name="connsiteX2" fmla="*/ 198562 w 198561"/>
                  <a:gd name="connsiteY2" fmla="*/ 53433 h 53433"/>
                  <a:gd name="connsiteX3" fmla="*/ 99401 w 198561"/>
                  <a:gd name="connsiteY3" fmla="*/ 0 h 534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98561" h="53433">
                    <a:moveTo>
                      <a:pt x="99413" y="0"/>
                    </a:moveTo>
                    <a:cubicBezTo>
                      <a:pt x="57310" y="0"/>
                      <a:pt x="20423" y="19933"/>
                      <a:pt x="0" y="53433"/>
                    </a:cubicBezTo>
                    <a:lnTo>
                      <a:pt x="198562" y="53433"/>
                    </a:lnTo>
                    <a:cubicBezTo>
                      <a:pt x="178091" y="20172"/>
                      <a:pt x="141336" y="0"/>
                      <a:pt x="99401" y="0"/>
                    </a:cubicBezTo>
                    <a:close/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50" name="Forma livre: Forma 49">
              <a:extLst>
                <a:ext uri="{FF2B5EF4-FFF2-40B4-BE49-F238E27FC236}">
                  <a16:creationId xmlns:a16="http://schemas.microsoft.com/office/drawing/2014/main" id="{9546C4D6-5A83-A66D-80F2-44B4F60B1AA6}"/>
                </a:ext>
              </a:extLst>
            </p:cNvPr>
            <p:cNvSpPr/>
            <p:nvPr/>
          </p:nvSpPr>
          <p:spPr>
            <a:xfrm>
              <a:off x="2128961" y="1574368"/>
              <a:ext cx="38728" cy="1196"/>
            </a:xfrm>
            <a:custGeom>
              <a:avLst/>
              <a:gdLst>
                <a:gd name="connsiteX0" fmla="*/ 38729 w 38728"/>
                <a:gd name="connsiteY0" fmla="*/ 0 h 1196"/>
                <a:gd name="connsiteX1" fmla="*/ 0 w 38728"/>
                <a:gd name="connsiteY1" fmla="*/ 0 h 11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8728" h="1196">
                  <a:moveTo>
                    <a:pt x="38729" y="0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51" name="Gráfico 2">
            <a:extLst>
              <a:ext uri="{FF2B5EF4-FFF2-40B4-BE49-F238E27FC236}">
                <a16:creationId xmlns:a16="http://schemas.microsoft.com/office/drawing/2014/main" id="{ABDE4C52-D3DC-CC44-1DAD-A9C2CBB4143D}"/>
              </a:ext>
            </a:extLst>
          </p:cNvPr>
          <p:cNvGrpSpPr/>
          <p:nvPr/>
        </p:nvGrpSpPr>
        <p:grpSpPr>
          <a:xfrm>
            <a:off x="1992160" y="1011980"/>
            <a:ext cx="285782" cy="228700"/>
            <a:chOff x="1992160" y="1011980"/>
            <a:chExt cx="285782" cy="228700"/>
          </a:xfrm>
          <a:noFill/>
        </p:grpSpPr>
        <p:grpSp>
          <p:nvGrpSpPr>
            <p:cNvPr id="52" name="Gráfico 2">
              <a:extLst>
                <a:ext uri="{FF2B5EF4-FFF2-40B4-BE49-F238E27FC236}">
                  <a16:creationId xmlns:a16="http://schemas.microsoft.com/office/drawing/2014/main" id="{536DE1FB-1C94-7E0D-D22C-CA694454D4DF}"/>
                </a:ext>
              </a:extLst>
            </p:cNvPr>
            <p:cNvGrpSpPr/>
            <p:nvPr/>
          </p:nvGrpSpPr>
          <p:grpSpPr>
            <a:xfrm>
              <a:off x="1992160" y="1054525"/>
              <a:ext cx="285782" cy="186154"/>
              <a:chOff x="1992160" y="1054525"/>
              <a:chExt cx="285782" cy="186154"/>
            </a:xfrm>
            <a:noFill/>
          </p:grpSpPr>
          <p:sp>
            <p:nvSpPr>
              <p:cNvPr id="53" name="Forma livre: Forma 52">
                <a:extLst>
                  <a:ext uri="{FF2B5EF4-FFF2-40B4-BE49-F238E27FC236}">
                    <a16:creationId xmlns:a16="http://schemas.microsoft.com/office/drawing/2014/main" id="{7450351A-843C-C50C-200A-940C4DBA9BF8}"/>
                  </a:ext>
                </a:extLst>
              </p:cNvPr>
              <p:cNvSpPr/>
              <p:nvPr/>
            </p:nvSpPr>
            <p:spPr>
              <a:xfrm>
                <a:off x="1992160" y="1054525"/>
                <a:ext cx="285782" cy="186154"/>
              </a:xfrm>
              <a:custGeom>
                <a:avLst/>
                <a:gdLst>
                  <a:gd name="connsiteX0" fmla="*/ 187160 w 285782"/>
                  <a:gd name="connsiteY0" fmla="*/ 0 h 186154"/>
                  <a:gd name="connsiteX1" fmla="*/ 271521 w 285782"/>
                  <a:gd name="connsiteY1" fmla="*/ 0 h 186154"/>
                  <a:gd name="connsiteX2" fmla="*/ 285783 w 285782"/>
                  <a:gd name="connsiteY2" fmla="*/ 14262 h 186154"/>
                  <a:gd name="connsiteX3" fmla="*/ 285783 w 285782"/>
                  <a:gd name="connsiteY3" fmla="*/ 171893 h 186154"/>
                  <a:gd name="connsiteX4" fmla="*/ 271521 w 285782"/>
                  <a:gd name="connsiteY4" fmla="*/ 186155 h 186154"/>
                  <a:gd name="connsiteX5" fmla="*/ 14262 w 285782"/>
                  <a:gd name="connsiteY5" fmla="*/ 186155 h 186154"/>
                  <a:gd name="connsiteX6" fmla="*/ 0 w 285782"/>
                  <a:gd name="connsiteY6" fmla="*/ 171893 h 186154"/>
                  <a:gd name="connsiteX7" fmla="*/ 0 w 285782"/>
                  <a:gd name="connsiteY7" fmla="*/ 14274 h 186154"/>
                  <a:gd name="connsiteX8" fmla="*/ 14262 w 285782"/>
                  <a:gd name="connsiteY8" fmla="*/ 12 h 186154"/>
                  <a:gd name="connsiteX9" fmla="*/ 98420 w 285782"/>
                  <a:gd name="connsiteY9" fmla="*/ 12 h 1861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85782" h="186154">
                    <a:moveTo>
                      <a:pt x="187160" y="0"/>
                    </a:moveTo>
                    <a:lnTo>
                      <a:pt x="271521" y="0"/>
                    </a:lnTo>
                    <a:cubicBezTo>
                      <a:pt x="279358" y="0"/>
                      <a:pt x="285783" y="6413"/>
                      <a:pt x="285783" y="14262"/>
                    </a:cubicBezTo>
                    <a:lnTo>
                      <a:pt x="285783" y="171893"/>
                    </a:lnTo>
                    <a:cubicBezTo>
                      <a:pt x="285783" y="179742"/>
                      <a:pt x="279358" y="186155"/>
                      <a:pt x="271521" y="186155"/>
                    </a:cubicBezTo>
                    <a:lnTo>
                      <a:pt x="14262" y="186155"/>
                    </a:lnTo>
                    <a:cubicBezTo>
                      <a:pt x="6413" y="186155"/>
                      <a:pt x="0" y="179742"/>
                      <a:pt x="0" y="171893"/>
                    </a:cubicBezTo>
                    <a:lnTo>
                      <a:pt x="0" y="14274"/>
                    </a:lnTo>
                    <a:cubicBezTo>
                      <a:pt x="0" y="6425"/>
                      <a:pt x="6413" y="12"/>
                      <a:pt x="14262" y="12"/>
                    </a:cubicBezTo>
                    <a:lnTo>
                      <a:pt x="98420" y="12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4" name="Forma livre: Forma 53">
                <a:extLst>
                  <a:ext uri="{FF2B5EF4-FFF2-40B4-BE49-F238E27FC236}">
                    <a16:creationId xmlns:a16="http://schemas.microsoft.com/office/drawing/2014/main" id="{F342004D-F3F1-FDC1-9D1C-EFF812B4EF2B}"/>
                  </a:ext>
                </a:extLst>
              </p:cNvPr>
              <p:cNvSpPr/>
              <p:nvPr/>
            </p:nvSpPr>
            <p:spPr>
              <a:xfrm>
                <a:off x="2157437" y="1114886"/>
                <a:ext cx="83116" cy="1196"/>
              </a:xfrm>
              <a:custGeom>
                <a:avLst/>
                <a:gdLst>
                  <a:gd name="connsiteX0" fmla="*/ 0 w 83116"/>
                  <a:gd name="connsiteY0" fmla="*/ 0 h 1196"/>
                  <a:gd name="connsiteX1" fmla="*/ 83117 w 83116"/>
                  <a:gd name="connsiteY1" fmla="*/ 0 h 11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83116" h="1196">
                    <a:moveTo>
                      <a:pt x="0" y="0"/>
                    </a:moveTo>
                    <a:lnTo>
                      <a:pt x="83117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5" name="Forma livre: Forma 54">
                <a:extLst>
                  <a:ext uri="{FF2B5EF4-FFF2-40B4-BE49-F238E27FC236}">
                    <a16:creationId xmlns:a16="http://schemas.microsoft.com/office/drawing/2014/main" id="{1083434C-3B2D-1568-9B8C-F71FCEEA7AA9}"/>
                  </a:ext>
                </a:extLst>
              </p:cNvPr>
              <p:cNvSpPr/>
              <p:nvPr/>
            </p:nvSpPr>
            <p:spPr>
              <a:xfrm>
                <a:off x="2157437" y="1150456"/>
                <a:ext cx="83116" cy="1196"/>
              </a:xfrm>
              <a:custGeom>
                <a:avLst/>
                <a:gdLst>
                  <a:gd name="connsiteX0" fmla="*/ 0 w 83116"/>
                  <a:gd name="connsiteY0" fmla="*/ 0 h 1196"/>
                  <a:gd name="connsiteX1" fmla="*/ 83117 w 83116"/>
                  <a:gd name="connsiteY1" fmla="*/ 0 h 11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83116" h="1196">
                    <a:moveTo>
                      <a:pt x="0" y="0"/>
                    </a:moveTo>
                    <a:lnTo>
                      <a:pt x="83117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6" name="Forma livre: Forma 55">
                <a:extLst>
                  <a:ext uri="{FF2B5EF4-FFF2-40B4-BE49-F238E27FC236}">
                    <a16:creationId xmlns:a16="http://schemas.microsoft.com/office/drawing/2014/main" id="{47FF2D53-6C84-C022-1F7C-4C8E3DE0791C}"/>
                  </a:ext>
                </a:extLst>
              </p:cNvPr>
              <p:cNvSpPr/>
              <p:nvPr/>
            </p:nvSpPr>
            <p:spPr>
              <a:xfrm>
                <a:off x="2157437" y="1186026"/>
                <a:ext cx="83116" cy="1196"/>
              </a:xfrm>
              <a:custGeom>
                <a:avLst/>
                <a:gdLst>
                  <a:gd name="connsiteX0" fmla="*/ 0 w 83116"/>
                  <a:gd name="connsiteY0" fmla="*/ 0 h 1196"/>
                  <a:gd name="connsiteX1" fmla="*/ 83117 w 83116"/>
                  <a:gd name="connsiteY1" fmla="*/ 0 h 11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83116" h="1196">
                    <a:moveTo>
                      <a:pt x="0" y="0"/>
                    </a:moveTo>
                    <a:lnTo>
                      <a:pt x="83117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7" name="Forma livre: Forma 56">
                <a:extLst>
                  <a:ext uri="{FF2B5EF4-FFF2-40B4-BE49-F238E27FC236}">
                    <a16:creationId xmlns:a16="http://schemas.microsoft.com/office/drawing/2014/main" id="{F40CFBD5-2D28-693E-A630-E2455FC228AF}"/>
                  </a:ext>
                </a:extLst>
              </p:cNvPr>
              <p:cNvSpPr/>
              <p:nvPr/>
            </p:nvSpPr>
            <p:spPr>
              <a:xfrm>
                <a:off x="2023112" y="1176168"/>
                <a:ext cx="103552" cy="43239"/>
              </a:xfrm>
              <a:custGeom>
                <a:avLst/>
                <a:gdLst>
                  <a:gd name="connsiteX0" fmla="*/ 0 w 103552"/>
                  <a:gd name="connsiteY0" fmla="*/ 43239 h 43239"/>
                  <a:gd name="connsiteX1" fmla="*/ 0 w 103552"/>
                  <a:gd name="connsiteY1" fmla="*/ 29732 h 43239"/>
                  <a:gd name="connsiteX2" fmla="*/ 30342 w 103552"/>
                  <a:gd name="connsiteY2" fmla="*/ 0 h 43239"/>
                  <a:gd name="connsiteX3" fmla="*/ 51794 w 103552"/>
                  <a:gd name="connsiteY3" fmla="*/ 23618 h 43239"/>
                  <a:gd name="connsiteX4" fmla="*/ 71703 w 103552"/>
                  <a:gd name="connsiteY4" fmla="*/ 0 h 43239"/>
                  <a:gd name="connsiteX5" fmla="*/ 103552 w 103552"/>
                  <a:gd name="connsiteY5" fmla="*/ 29732 h 43239"/>
                  <a:gd name="connsiteX6" fmla="*/ 103552 w 103552"/>
                  <a:gd name="connsiteY6" fmla="*/ 43239 h 432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03552" h="43239">
                    <a:moveTo>
                      <a:pt x="0" y="43239"/>
                    </a:moveTo>
                    <a:lnTo>
                      <a:pt x="0" y="29732"/>
                    </a:lnTo>
                    <a:cubicBezTo>
                      <a:pt x="0" y="10983"/>
                      <a:pt x="12886" y="0"/>
                      <a:pt x="30342" y="0"/>
                    </a:cubicBezTo>
                    <a:lnTo>
                      <a:pt x="51794" y="23618"/>
                    </a:lnTo>
                    <a:lnTo>
                      <a:pt x="71703" y="0"/>
                    </a:lnTo>
                    <a:cubicBezTo>
                      <a:pt x="89159" y="0"/>
                      <a:pt x="103552" y="10983"/>
                      <a:pt x="103552" y="29732"/>
                    </a:cubicBezTo>
                    <a:lnTo>
                      <a:pt x="103552" y="43239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8" name="Forma livre: Forma 57">
                <a:extLst>
                  <a:ext uri="{FF2B5EF4-FFF2-40B4-BE49-F238E27FC236}">
                    <a16:creationId xmlns:a16="http://schemas.microsoft.com/office/drawing/2014/main" id="{C1A9861E-D6C7-6247-D69D-951B657AF6D2}"/>
                  </a:ext>
                </a:extLst>
              </p:cNvPr>
              <p:cNvSpPr/>
              <p:nvPr/>
            </p:nvSpPr>
            <p:spPr>
              <a:xfrm>
                <a:off x="2049314" y="1099488"/>
                <a:ext cx="51171" cy="57548"/>
              </a:xfrm>
              <a:custGeom>
                <a:avLst/>
                <a:gdLst>
                  <a:gd name="connsiteX0" fmla="*/ 51172 w 51171"/>
                  <a:gd name="connsiteY0" fmla="*/ 31562 h 57548"/>
                  <a:gd name="connsiteX1" fmla="*/ 25580 w 51171"/>
                  <a:gd name="connsiteY1" fmla="*/ 57549 h 57548"/>
                  <a:gd name="connsiteX2" fmla="*/ 0 w 51171"/>
                  <a:gd name="connsiteY2" fmla="*/ 31562 h 57548"/>
                  <a:gd name="connsiteX3" fmla="*/ 0 w 51171"/>
                  <a:gd name="connsiteY3" fmla="*/ 25987 h 57548"/>
                  <a:gd name="connsiteX4" fmla="*/ 25580 w 51171"/>
                  <a:gd name="connsiteY4" fmla="*/ 0 h 57548"/>
                  <a:gd name="connsiteX5" fmla="*/ 51172 w 51171"/>
                  <a:gd name="connsiteY5" fmla="*/ 25987 h 57548"/>
                  <a:gd name="connsiteX6" fmla="*/ 51172 w 51171"/>
                  <a:gd name="connsiteY6" fmla="*/ 31562 h 57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51171" h="57548">
                    <a:moveTo>
                      <a:pt x="51172" y="31562"/>
                    </a:moveTo>
                    <a:cubicBezTo>
                      <a:pt x="51172" y="45860"/>
                      <a:pt x="39662" y="57549"/>
                      <a:pt x="25580" y="57549"/>
                    </a:cubicBezTo>
                    <a:cubicBezTo>
                      <a:pt x="11498" y="57549"/>
                      <a:pt x="0" y="45860"/>
                      <a:pt x="0" y="31562"/>
                    </a:cubicBezTo>
                    <a:lnTo>
                      <a:pt x="0" y="25987"/>
                    </a:lnTo>
                    <a:cubicBezTo>
                      <a:pt x="0" y="11689"/>
                      <a:pt x="11510" y="0"/>
                      <a:pt x="25580" y="0"/>
                    </a:cubicBezTo>
                    <a:cubicBezTo>
                      <a:pt x="39650" y="0"/>
                      <a:pt x="51172" y="11689"/>
                      <a:pt x="51172" y="25987"/>
                    </a:cubicBezTo>
                    <a:lnTo>
                      <a:pt x="51172" y="31562"/>
                    </a:ln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59" name="Gráfico 2">
              <a:extLst>
                <a:ext uri="{FF2B5EF4-FFF2-40B4-BE49-F238E27FC236}">
                  <a16:creationId xmlns:a16="http://schemas.microsoft.com/office/drawing/2014/main" id="{00CC4B12-553C-25E3-599B-E09FDB3066F4}"/>
                </a:ext>
              </a:extLst>
            </p:cNvPr>
            <p:cNvGrpSpPr/>
            <p:nvPr/>
          </p:nvGrpSpPr>
          <p:grpSpPr>
            <a:xfrm>
              <a:off x="2097949" y="1011980"/>
              <a:ext cx="74179" cy="66103"/>
              <a:chOff x="2097949" y="1011980"/>
              <a:chExt cx="74179" cy="66103"/>
            </a:xfrm>
            <a:noFill/>
          </p:grpSpPr>
          <p:sp>
            <p:nvSpPr>
              <p:cNvPr id="60" name="Forma livre: Forma 59">
                <a:extLst>
                  <a:ext uri="{FF2B5EF4-FFF2-40B4-BE49-F238E27FC236}">
                    <a16:creationId xmlns:a16="http://schemas.microsoft.com/office/drawing/2014/main" id="{CCC1E964-7616-4FEB-18C4-26AE6DB4D173}"/>
                  </a:ext>
                </a:extLst>
              </p:cNvPr>
              <p:cNvSpPr/>
              <p:nvPr/>
            </p:nvSpPr>
            <p:spPr>
              <a:xfrm>
                <a:off x="2115693" y="1011980"/>
                <a:ext cx="38680" cy="65194"/>
              </a:xfrm>
              <a:custGeom>
                <a:avLst/>
                <a:gdLst>
                  <a:gd name="connsiteX0" fmla="*/ 0 w 38680"/>
                  <a:gd name="connsiteY0" fmla="*/ 65194 h 65194"/>
                  <a:gd name="connsiteX1" fmla="*/ 0 w 38680"/>
                  <a:gd name="connsiteY1" fmla="*/ 0 h 65194"/>
                  <a:gd name="connsiteX2" fmla="*/ 38681 w 38680"/>
                  <a:gd name="connsiteY2" fmla="*/ 0 h 65194"/>
                  <a:gd name="connsiteX3" fmla="*/ 38681 w 38680"/>
                  <a:gd name="connsiteY3" fmla="*/ 65194 h 651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8680" h="65194">
                    <a:moveTo>
                      <a:pt x="0" y="65194"/>
                    </a:moveTo>
                    <a:lnTo>
                      <a:pt x="0" y="0"/>
                    </a:lnTo>
                    <a:lnTo>
                      <a:pt x="38681" y="0"/>
                    </a:lnTo>
                    <a:lnTo>
                      <a:pt x="38681" y="65194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61" name="Forma livre: Forma 60">
                <a:extLst>
                  <a:ext uri="{FF2B5EF4-FFF2-40B4-BE49-F238E27FC236}">
                    <a16:creationId xmlns:a16="http://schemas.microsoft.com/office/drawing/2014/main" id="{F6B0D0EC-886C-AAFE-7135-02C50CEA3224}"/>
                  </a:ext>
                </a:extLst>
              </p:cNvPr>
              <p:cNvSpPr/>
              <p:nvPr/>
            </p:nvSpPr>
            <p:spPr>
              <a:xfrm>
                <a:off x="2097949" y="1078083"/>
                <a:ext cx="74179" cy="1196"/>
              </a:xfrm>
              <a:custGeom>
                <a:avLst/>
                <a:gdLst>
                  <a:gd name="connsiteX0" fmla="*/ 0 w 74179"/>
                  <a:gd name="connsiteY0" fmla="*/ 0 h 1196"/>
                  <a:gd name="connsiteX1" fmla="*/ 74180 w 74179"/>
                  <a:gd name="connsiteY1" fmla="*/ 0 h 11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74179" h="1196">
                    <a:moveTo>
                      <a:pt x="0" y="0"/>
                    </a:moveTo>
                    <a:lnTo>
                      <a:pt x="7418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62" name="Gráfico 2">
            <a:extLst>
              <a:ext uri="{FF2B5EF4-FFF2-40B4-BE49-F238E27FC236}">
                <a16:creationId xmlns:a16="http://schemas.microsoft.com/office/drawing/2014/main" id="{06A97476-D0A8-71A7-8022-3089FC368FEB}"/>
              </a:ext>
            </a:extLst>
          </p:cNvPr>
          <p:cNvGrpSpPr/>
          <p:nvPr/>
        </p:nvGrpSpPr>
        <p:grpSpPr>
          <a:xfrm>
            <a:off x="2048476" y="2043434"/>
            <a:ext cx="173125" cy="302221"/>
            <a:chOff x="2048476" y="2043434"/>
            <a:chExt cx="173125" cy="302221"/>
          </a:xfrm>
          <a:noFill/>
        </p:grpSpPr>
        <p:sp>
          <p:nvSpPr>
            <p:cNvPr id="63" name="Forma livre: Forma 62">
              <a:extLst>
                <a:ext uri="{FF2B5EF4-FFF2-40B4-BE49-F238E27FC236}">
                  <a16:creationId xmlns:a16="http://schemas.microsoft.com/office/drawing/2014/main" id="{917DB19B-E803-98B6-5158-FFDBB748585B}"/>
                </a:ext>
              </a:extLst>
            </p:cNvPr>
            <p:cNvSpPr/>
            <p:nvPr/>
          </p:nvSpPr>
          <p:spPr>
            <a:xfrm>
              <a:off x="2065562" y="2043434"/>
              <a:ext cx="80161" cy="55694"/>
            </a:xfrm>
            <a:custGeom>
              <a:avLst/>
              <a:gdLst>
                <a:gd name="connsiteX0" fmla="*/ 74311 w 80161"/>
                <a:gd name="connsiteY0" fmla="*/ 55694 h 55694"/>
                <a:gd name="connsiteX1" fmla="*/ 8196 w 80161"/>
                <a:gd name="connsiteY1" fmla="*/ 55694 h 55694"/>
                <a:gd name="connsiteX2" fmla="*/ 0 w 80161"/>
                <a:gd name="connsiteY2" fmla="*/ 0 h 55694"/>
                <a:gd name="connsiteX3" fmla="*/ 80162 w 80161"/>
                <a:gd name="connsiteY3" fmla="*/ 0 h 55694"/>
                <a:gd name="connsiteX4" fmla="*/ 74311 w 80161"/>
                <a:gd name="connsiteY4" fmla="*/ 55694 h 556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0161" h="55694">
                  <a:moveTo>
                    <a:pt x="74311" y="55694"/>
                  </a:moveTo>
                  <a:lnTo>
                    <a:pt x="8196" y="55694"/>
                  </a:lnTo>
                  <a:lnTo>
                    <a:pt x="0" y="0"/>
                  </a:lnTo>
                  <a:lnTo>
                    <a:pt x="80162" y="0"/>
                  </a:lnTo>
                  <a:lnTo>
                    <a:pt x="74311" y="55694"/>
                  </a:ln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4" name="Forma livre: Forma 63">
              <a:extLst>
                <a:ext uri="{FF2B5EF4-FFF2-40B4-BE49-F238E27FC236}">
                  <a16:creationId xmlns:a16="http://schemas.microsoft.com/office/drawing/2014/main" id="{CA501B9F-9A9F-DCAE-0F7A-EE64DB9E984C}"/>
                </a:ext>
              </a:extLst>
            </p:cNvPr>
            <p:cNvSpPr/>
            <p:nvPr/>
          </p:nvSpPr>
          <p:spPr>
            <a:xfrm>
              <a:off x="2048476" y="2101342"/>
              <a:ext cx="116414" cy="244313"/>
            </a:xfrm>
            <a:custGeom>
              <a:avLst/>
              <a:gdLst>
                <a:gd name="connsiteX0" fmla="*/ 81011 w 116414"/>
                <a:gd name="connsiteY0" fmla="*/ 0 h 244313"/>
                <a:gd name="connsiteX1" fmla="*/ 116414 w 116414"/>
                <a:gd name="connsiteY1" fmla="*/ 174394 h 244313"/>
                <a:gd name="connsiteX2" fmla="*/ 58458 w 116414"/>
                <a:gd name="connsiteY2" fmla="*/ 244314 h 244313"/>
                <a:gd name="connsiteX3" fmla="*/ 57956 w 116414"/>
                <a:gd name="connsiteY3" fmla="*/ 244314 h 244313"/>
                <a:gd name="connsiteX4" fmla="*/ 0 w 116414"/>
                <a:gd name="connsiteY4" fmla="*/ 174394 h 244313"/>
                <a:gd name="connsiteX5" fmla="*/ 30761 w 116414"/>
                <a:gd name="connsiteY5" fmla="*/ 21668 h 2443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6414" h="244313">
                  <a:moveTo>
                    <a:pt x="81011" y="0"/>
                  </a:moveTo>
                  <a:lnTo>
                    <a:pt x="116414" y="174394"/>
                  </a:lnTo>
                  <a:lnTo>
                    <a:pt x="58458" y="244314"/>
                  </a:lnTo>
                  <a:lnTo>
                    <a:pt x="57956" y="244314"/>
                  </a:lnTo>
                  <a:lnTo>
                    <a:pt x="0" y="174394"/>
                  </a:lnTo>
                  <a:lnTo>
                    <a:pt x="30761" y="21668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5" name="Forma livre: Forma 64">
              <a:extLst>
                <a:ext uri="{FF2B5EF4-FFF2-40B4-BE49-F238E27FC236}">
                  <a16:creationId xmlns:a16="http://schemas.microsoft.com/office/drawing/2014/main" id="{846F02C9-87CA-AD88-1EF3-714EC1FF4D34}"/>
                </a:ext>
              </a:extLst>
            </p:cNvPr>
            <p:cNvSpPr/>
            <p:nvPr/>
          </p:nvSpPr>
          <p:spPr>
            <a:xfrm>
              <a:off x="2133902" y="2102515"/>
              <a:ext cx="87699" cy="134217"/>
            </a:xfrm>
            <a:custGeom>
              <a:avLst/>
              <a:gdLst>
                <a:gd name="connsiteX0" fmla="*/ 0 w 87699"/>
                <a:gd name="connsiteY0" fmla="*/ 0 h 134217"/>
                <a:gd name="connsiteX1" fmla="*/ 77063 w 87699"/>
                <a:gd name="connsiteY1" fmla="*/ 98216 h 134217"/>
                <a:gd name="connsiteX2" fmla="*/ 87699 w 87699"/>
                <a:gd name="connsiteY2" fmla="*/ 134217 h 134217"/>
                <a:gd name="connsiteX3" fmla="*/ 51686 w 87699"/>
                <a:gd name="connsiteY3" fmla="*/ 124071 h 134217"/>
                <a:gd name="connsiteX4" fmla="*/ 40667 w 87699"/>
                <a:gd name="connsiteY4" fmla="*/ 114679 h 1342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7699" h="134217">
                  <a:moveTo>
                    <a:pt x="0" y="0"/>
                  </a:moveTo>
                  <a:lnTo>
                    <a:pt x="77063" y="98216"/>
                  </a:lnTo>
                  <a:lnTo>
                    <a:pt x="87699" y="134217"/>
                  </a:lnTo>
                  <a:lnTo>
                    <a:pt x="51686" y="124071"/>
                  </a:lnTo>
                  <a:lnTo>
                    <a:pt x="40667" y="114679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66" name="Gráfico 2">
            <a:extLst>
              <a:ext uri="{FF2B5EF4-FFF2-40B4-BE49-F238E27FC236}">
                <a16:creationId xmlns:a16="http://schemas.microsoft.com/office/drawing/2014/main" id="{8F1913E9-D152-AF6E-9A10-5BD6FA509A57}"/>
              </a:ext>
            </a:extLst>
          </p:cNvPr>
          <p:cNvGrpSpPr/>
          <p:nvPr/>
        </p:nvGrpSpPr>
        <p:grpSpPr>
          <a:xfrm>
            <a:off x="737820" y="2620109"/>
            <a:ext cx="297639" cy="217082"/>
            <a:chOff x="737820" y="2620109"/>
            <a:chExt cx="297639" cy="217082"/>
          </a:xfrm>
          <a:noFill/>
        </p:grpSpPr>
        <p:sp>
          <p:nvSpPr>
            <p:cNvPr id="67" name="Forma livre: Forma 66">
              <a:extLst>
                <a:ext uri="{FF2B5EF4-FFF2-40B4-BE49-F238E27FC236}">
                  <a16:creationId xmlns:a16="http://schemas.microsoft.com/office/drawing/2014/main" id="{2E8EAC33-F763-4C89-6EBB-9CEE41732714}"/>
                </a:ext>
              </a:extLst>
            </p:cNvPr>
            <p:cNvSpPr/>
            <p:nvPr/>
          </p:nvSpPr>
          <p:spPr>
            <a:xfrm>
              <a:off x="737820" y="2620109"/>
              <a:ext cx="297639" cy="217082"/>
            </a:xfrm>
            <a:custGeom>
              <a:avLst/>
              <a:gdLst>
                <a:gd name="connsiteX0" fmla="*/ 0 w 297639"/>
                <a:gd name="connsiteY0" fmla="*/ 14357 h 217082"/>
                <a:gd name="connsiteX1" fmla="*/ 14357 w 297639"/>
                <a:gd name="connsiteY1" fmla="*/ 0 h 217082"/>
                <a:gd name="connsiteX2" fmla="*/ 283282 w 297639"/>
                <a:gd name="connsiteY2" fmla="*/ 0 h 217082"/>
                <a:gd name="connsiteX3" fmla="*/ 297639 w 297639"/>
                <a:gd name="connsiteY3" fmla="*/ 14357 h 217082"/>
                <a:gd name="connsiteX4" fmla="*/ 297639 w 297639"/>
                <a:gd name="connsiteY4" fmla="*/ 202725 h 217082"/>
                <a:gd name="connsiteX5" fmla="*/ 283282 w 297639"/>
                <a:gd name="connsiteY5" fmla="*/ 217083 h 217082"/>
                <a:gd name="connsiteX6" fmla="*/ 14357 w 297639"/>
                <a:gd name="connsiteY6" fmla="*/ 217083 h 217082"/>
                <a:gd name="connsiteX7" fmla="*/ 0 w 297639"/>
                <a:gd name="connsiteY7" fmla="*/ 202725 h 217082"/>
                <a:gd name="connsiteX8" fmla="*/ 0 w 297639"/>
                <a:gd name="connsiteY8" fmla="*/ 14357 h 2170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97639" h="217082">
                  <a:moveTo>
                    <a:pt x="0" y="14357"/>
                  </a:moveTo>
                  <a:cubicBezTo>
                    <a:pt x="0" y="6461"/>
                    <a:pt x="6461" y="0"/>
                    <a:pt x="14357" y="0"/>
                  </a:cubicBezTo>
                  <a:lnTo>
                    <a:pt x="283282" y="0"/>
                  </a:lnTo>
                  <a:cubicBezTo>
                    <a:pt x="291167" y="0"/>
                    <a:pt x="297639" y="6461"/>
                    <a:pt x="297639" y="14357"/>
                  </a:cubicBezTo>
                  <a:lnTo>
                    <a:pt x="297639" y="202725"/>
                  </a:lnTo>
                  <a:cubicBezTo>
                    <a:pt x="297639" y="210622"/>
                    <a:pt x="291167" y="217083"/>
                    <a:pt x="283282" y="217083"/>
                  </a:cubicBezTo>
                  <a:lnTo>
                    <a:pt x="14357" y="217083"/>
                  </a:lnTo>
                  <a:cubicBezTo>
                    <a:pt x="6461" y="217083"/>
                    <a:pt x="0" y="210622"/>
                    <a:pt x="0" y="202725"/>
                  </a:cubicBezTo>
                  <a:lnTo>
                    <a:pt x="0" y="14357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8" name="Forma livre: Forma 67">
              <a:extLst>
                <a:ext uri="{FF2B5EF4-FFF2-40B4-BE49-F238E27FC236}">
                  <a16:creationId xmlns:a16="http://schemas.microsoft.com/office/drawing/2014/main" id="{4E7A9113-1E4C-F09E-95F0-05FA3F5F97D0}"/>
                </a:ext>
              </a:extLst>
            </p:cNvPr>
            <p:cNvSpPr/>
            <p:nvPr/>
          </p:nvSpPr>
          <p:spPr>
            <a:xfrm>
              <a:off x="798396" y="2643690"/>
              <a:ext cx="1196" cy="169919"/>
            </a:xfrm>
            <a:custGeom>
              <a:avLst/>
              <a:gdLst>
                <a:gd name="connsiteX0" fmla="*/ 0 w 1196"/>
                <a:gd name="connsiteY0" fmla="*/ 0 h 169919"/>
                <a:gd name="connsiteX1" fmla="*/ 0 w 1196"/>
                <a:gd name="connsiteY1" fmla="*/ 169919 h 1699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96" h="169919">
                  <a:moveTo>
                    <a:pt x="0" y="0"/>
                  </a:moveTo>
                  <a:lnTo>
                    <a:pt x="0" y="169919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9" name="Forma livre: Forma 68">
              <a:extLst>
                <a:ext uri="{FF2B5EF4-FFF2-40B4-BE49-F238E27FC236}">
                  <a16:creationId xmlns:a16="http://schemas.microsoft.com/office/drawing/2014/main" id="{EC7A141A-387B-F9A0-D26E-4D93E47C4087}"/>
                </a:ext>
              </a:extLst>
            </p:cNvPr>
            <p:cNvSpPr/>
            <p:nvPr/>
          </p:nvSpPr>
          <p:spPr>
            <a:xfrm>
              <a:off x="768066" y="2718037"/>
              <a:ext cx="1196" cy="21212"/>
            </a:xfrm>
            <a:custGeom>
              <a:avLst/>
              <a:gdLst>
                <a:gd name="connsiteX0" fmla="*/ 0 w 1196"/>
                <a:gd name="connsiteY0" fmla="*/ 0 h 21212"/>
                <a:gd name="connsiteX1" fmla="*/ 0 w 1196"/>
                <a:gd name="connsiteY1" fmla="*/ 21213 h 212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96" h="21212">
                  <a:moveTo>
                    <a:pt x="0" y="0"/>
                  </a:moveTo>
                  <a:lnTo>
                    <a:pt x="0" y="21213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70" name="Gráfico 2">
            <a:extLst>
              <a:ext uri="{FF2B5EF4-FFF2-40B4-BE49-F238E27FC236}">
                <a16:creationId xmlns:a16="http://schemas.microsoft.com/office/drawing/2014/main" id="{8674EAF7-F67C-A287-9D2C-D10624ED53AC}"/>
              </a:ext>
            </a:extLst>
          </p:cNvPr>
          <p:cNvGrpSpPr/>
          <p:nvPr/>
        </p:nvGrpSpPr>
        <p:grpSpPr>
          <a:xfrm>
            <a:off x="752404" y="3128035"/>
            <a:ext cx="268505" cy="269439"/>
            <a:chOff x="752404" y="3128035"/>
            <a:chExt cx="268505" cy="269439"/>
          </a:xfrm>
        </p:grpSpPr>
        <p:sp>
          <p:nvSpPr>
            <p:cNvPr id="71" name="Forma livre: Forma 70">
              <a:extLst>
                <a:ext uri="{FF2B5EF4-FFF2-40B4-BE49-F238E27FC236}">
                  <a16:creationId xmlns:a16="http://schemas.microsoft.com/office/drawing/2014/main" id="{24093B14-0294-3270-FB91-DA452B17121D}"/>
                </a:ext>
              </a:extLst>
            </p:cNvPr>
            <p:cNvSpPr/>
            <p:nvPr/>
          </p:nvSpPr>
          <p:spPr>
            <a:xfrm>
              <a:off x="924166" y="3306927"/>
              <a:ext cx="61030" cy="44304"/>
            </a:xfrm>
            <a:custGeom>
              <a:avLst/>
              <a:gdLst>
                <a:gd name="connsiteX0" fmla="*/ 0 w 61030"/>
                <a:gd name="connsiteY0" fmla="*/ 22565 h 44304"/>
                <a:gd name="connsiteX1" fmla="*/ 26752 w 61030"/>
                <a:gd name="connsiteY1" fmla="*/ 44304 h 44304"/>
                <a:gd name="connsiteX2" fmla="*/ 61031 w 61030"/>
                <a:gd name="connsiteY2" fmla="*/ 0 h 443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1030" h="44304">
                  <a:moveTo>
                    <a:pt x="0" y="22565"/>
                  </a:moveTo>
                  <a:lnTo>
                    <a:pt x="26752" y="44304"/>
                  </a:lnTo>
                  <a:lnTo>
                    <a:pt x="61031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72" name="Gráfico 2">
              <a:extLst>
                <a:ext uri="{FF2B5EF4-FFF2-40B4-BE49-F238E27FC236}">
                  <a16:creationId xmlns:a16="http://schemas.microsoft.com/office/drawing/2014/main" id="{FFC85B34-E594-9160-5054-6A47C78BB6F4}"/>
                </a:ext>
              </a:extLst>
            </p:cNvPr>
            <p:cNvGrpSpPr/>
            <p:nvPr/>
          </p:nvGrpSpPr>
          <p:grpSpPr>
            <a:xfrm>
              <a:off x="778152" y="3153986"/>
              <a:ext cx="242758" cy="243488"/>
              <a:chOff x="778152" y="3153986"/>
              <a:chExt cx="242758" cy="243488"/>
            </a:xfrm>
            <a:noFill/>
          </p:grpSpPr>
          <p:sp>
            <p:nvSpPr>
              <p:cNvPr id="73" name="Forma livre: Forma 72">
                <a:extLst>
                  <a:ext uri="{FF2B5EF4-FFF2-40B4-BE49-F238E27FC236}">
                    <a16:creationId xmlns:a16="http://schemas.microsoft.com/office/drawing/2014/main" id="{6A1CAC43-1587-D807-4A29-8CD27D9A129F}"/>
                  </a:ext>
                </a:extLst>
              </p:cNvPr>
              <p:cNvSpPr/>
              <p:nvPr/>
            </p:nvSpPr>
            <p:spPr>
              <a:xfrm>
                <a:off x="778152" y="3153986"/>
                <a:ext cx="35737" cy="35713"/>
              </a:xfrm>
              <a:custGeom>
                <a:avLst/>
                <a:gdLst>
                  <a:gd name="connsiteX0" fmla="*/ 35738 w 35737"/>
                  <a:gd name="connsiteY0" fmla="*/ 0 h 35713"/>
                  <a:gd name="connsiteX1" fmla="*/ 35738 w 35737"/>
                  <a:gd name="connsiteY1" fmla="*/ 35714 h 35713"/>
                  <a:gd name="connsiteX2" fmla="*/ 0 w 35737"/>
                  <a:gd name="connsiteY2" fmla="*/ 35714 h 357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5737" h="35713">
                    <a:moveTo>
                      <a:pt x="35738" y="0"/>
                    </a:moveTo>
                    <a:lnTo>
                      <a:pt x="35738" y="35714"/>
                    </a:lnTo>
                    <a:lnTo>
                      <a:pt x="0" y="35714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4" name="Forma livre: Forma 73">
                <a:extLst>
                  <a:ext uri="{FF2B5EF4-FFF2-40B4-BE49-F238E27FC236}">
                    <a16:creationId xmlns:a16="http://schemas.microsoft.com/office/drawing/2014/main" id="{6AFEA883-CDFE-74A3-2EA2-10A0CF088C90}"/>
                  </a:ext>
                </a:extLst>
              </p:cNvPr>
              <p:cNvSpPr/>
              <p:nvPr/>
            </p:nvSpPr>
            <p:spPr>
              <a:xfrm>
                <a:off x="889349" y="3265913"/>
                <a:ext cx="131560" cy="131561"/>
              </a:xfrm>
              <a:custGeom>
                <a:avLst/>
                <a:gdLst>
                  <a:gd name="connsiteX0" fmla="*/ 131561 w 131560"/>
                  <a:gd name="connsiteY0" fmla="*/ 65781 h 131561"/>
                  <a:gd name="connsiteX1" fmla="*/ 65781 w 131560"/>
                  <a:gd name="connsiteY1" fmla="*/ 131561 h 131561"/>
                  <a:gd name="connsiteX2" fmla="*/ 0 w 131560"/>
                  <a:gd name="connsiteY2" fmla="*/ 65781 h 131561"/>
                  <a:gd name="connsiteX3" fmla="*/ 65781 w 131560"/>
                  <a:gd name="connsiteY3" fmla="*/ 0 h 131561"/>
                  <a:gd name="connsiteX4" fmla="*/ 131561 w 131560"/>
                  <a:gd name="connsiteY4" fmla="*/ 65781 h 1315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31560" h="131561">
                    <a:moveTo>
                      <a:pt x="131561" y="65781"/>
                    </a:moveTo>
                    <a:cubicBezTo>
                      <a:pt x="131561" y="102110"/>
                      <a:pt x="102110" y="131561"/>
                      <a:pt x="65781" y="131561"/>
                    </a:cubicBezTo>
                    <a:cubicBezTo>
                      <a:pt x="29451" y="131561"/>
                      <a:pt x="0" y="102110"/>
                      <a:pt x="0" y="65781"/>
                    </a:cubicBezTo>
                    <a:cubicBezTo>
                      <a:pt x="0" y="29451"/>
                      <a:pt x="29451" y="0"/>
                      <a:pt x="65781" y="0"/>
                    </a:cubicBezTo>
                    <a:cubicBezTo>
                      <a:pt x="102110" y="0"/>
                      <a:pt x="131561" y="29451"/>
                      <a:pt x="131561" y="65781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75" name="Gráfico 2">
              <a:extLst>
                <a:ext uri="{FF2B5EF4-FFF2-40B4-BE49-F238E27FC236}">
                  <a16:creationId xmlns:a16="http://schemas.microsoft.com/office/drawing/2014/main" id="{3374BFD4-3CBF-A06E-0CEC-8C48FFA64399}"/>
                </a:ext>
              </a:extLst>
            </p:cNvPr>
            <p:cNvGrpSpPr/>
            <p:nvPr/>
          </p:nvGrpSpPr>
          <p:grpSpPr>
            <a:xfrm>
              <a:off x="792270" y="3335439"/>
              <a:ext cx="74047" cy="4091"/>
              <a:chOff x="792270" y="3335439"/>
              <a:chExt cx="74047" cy="4091"/>
            </a:xfrm>
            <a:solidFill>
              <a:srgbClr val="394553"/>
            </a:solidFill>
          </p:grpSpPr>
          <p:sp>
            <p:nvSpPr>
              <p:cNvPr id="76" name="Forma livre: Forma 75">
                <a:extLst>
                  <a:ext uri="{FF2B5EF4-FFF2-40B4-BE49-F238E27FC236}">
                    <a16:creationId xmlns:a16="http://schemas.microsoft.com/office/drawing/2014/main" id="{339F5252-6320-8A4C-424B-E043D94D7398}"/>
                  </a:ext>
                </a:extLst>
              </p:cNvPr>
              <p:cNvSpPr/>
              <p:nvPr/>
            </p:nvSpPr>
            <p:spPr>
              <a:xfrm>
                <a:off x="792270" y="3335439"/>
                <a:ext cx="4091" cy="4091"/>
              </a:xfrm>
              <a:custGeom>
                <a:avLst/>
                <a:gdLst>
                  <a:gd name="connsiteX0" fmla="*/ 0 w 4091"/>
                  <a:gd name="connsiteY0" fmla="*/ 0 h 4091"/>
                  <a:gd name="connsiteX1" fmla="*/ 4092 w 4091"/>
                  <a:gd name="connsiteY1" fmla="*/ 0 h 4091"/>
                  <a:gd name="connsiteX2" fmla="*/ 4092 w 4091"/>
                  <a:gd name="connsiteY2" fmla="*/ 4092 h 4091"/>
                  <a:gd name="connsiteX3" fmla="*/ 0 w 4091"/>
                  <a:gd name="connsiteY3" fmla="*/ 4092 h 40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091" h="4091">
                    <a:moveTo>
                      <a:pt x="0" y="0"/>
                    </a:moveTo>
                    <a:lnTo>
                      <a:pt x="4092" y="0"/>
                    </a:lnTo>
                    <a:lnTo>
                      <a:pt x="4092" y="4092"/>
                    </a:lnTo>
                    <a:lnTo>
                      <a:pt x="0" y="4092"/>
                    </a:ln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7" name="Forma livre: Forma 76">
                <a:extLst>
                  <a:ext uri="{FF2B5EF4-FFF2-40B4-BE49-F238E27FC236}">
                    <a16:creationId xmlns:a16="http://schemas.microsoft.com/office/drawing/2014/main" id="{D1F4F7FB-3599-86C2-DB28-83636CFA558D}"/>
                  </a:ext>
                </a:extLst>
              </p:cNvPr>
              <p:cNvSpPr/>
              <p:nvPr/>
            </p:nvSpPr>
            <p:spPr>
              <a:xfrm>
                <a:off x="819812" y="3337496"/>
                <a:ext cx="46505" cy="1196"/>
              </a:xfrm>
              <a:custGeom>
                <a:avLst/>
                <a:gdLst>
                  <a:gd name="connsiteX0" fmla="*/ 0 w 46505"/>
                  <a:gd name="connsiteY0" fmla="*/ 0 h 1196"/>
                  <a:gd name="connsiteX1" fmla="*/ 46506 w 46505"/>
                  <a:gd name="connsiteY1" fmla="*/ 0 h 11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6505" h="1196">
                    <a:moveTo>
                      <a:pt x="0" y="0"/>
                    </a:moveTo>
                    <a:lnTo>
                      <a:pt x="46506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78" name="Gráfico 2">
              <a:extLst>
                <a:ext uri="{FF2B5EF4-FFF2-40B4-BE49-F238E27FC236}">
                  <a16:creationId xmlns:a16="http://schemas.microsoft.com/office/drawing/2014/main" id="{681B065B-8E38-53A3-0A40-7E25C909D7CC}"/>
                </a:ext>
              </a:extLst>
            </p:cNvPr>
            <p:cNvGrpSpPr/>
            <p:nvPr/>
          </p:nvGrpSpPr>
          <p:grpSpPr>
            <a:xfrm>
              <a:off x="792270" y="3297200"/>
              <a:ext cx="79192" cy="4091"/>
              <a:chOff x="792270" y="3297200"/>
              <a:chExt cx="79192" cy="4091"/>
            </a:xfrm>
            <a:solidFill>
              <a:srgbClr val="394553"/>
            </a:solidFill>
          </p:grpSpPr>
          <p:sp>
            <p:nvSpPr>
              <p:cNvPr id="79" name="Forma livre: Forma 78">
                <a:extLst>
                  <a:ext uri="{FF2B5EF4-FFF2-40B4-BE49-F238E27FC236}">
                    <a16:creationId xmlns:a16="http://schemas.microsoft.com/office/drawing/2014/main" id="{91B1186A-0244-B1B6-6D35-04947E108C47}"/>
                  </a:ext>
                </a:extLst>
              </p:cNvPr>
              <p:cNvSpPr/>
              <p:nvPr/>
            </p:nvSpPr>
            <p:spPr>
              <a:xfrm>
                <a:off x="792270" y="3297200"/>
                <a:ext cx="4091" cy="4091"/>
              </a:xfrm>
              <a:custGeom>
                <a:avLst/>
                <a:gdLst>
                  <a:gd name="connsiteX0" fmla="*/ 0 w 4091"/>
                  <a:gd name="connsiteY0" fmla="*/ 0 h 4091"/>
                  <a:gd name="connsiteX1" fmla="*/ 4092 w 4091"/>
                  <a:gd name="connsiteY1" fmla="*/ 0 h 4091"/>
                  <a:gd name="connsiteX2" fmla="*/ 4092 w 4091"/>
                  <a:gd name="connsiteY2" fmla="*/ 4092 h 4091"/>
                  <a:gd name="connsiteX3" fmla="*/ 0 w 4091"/>
                  <a:gd name="connsiteY3" fmla="*/ 4092 h 40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091" h="4091">
                    <a:moveTo>
                      <a:pt x="0" y="0"/>
                    </a:moveTo>
                    <a:lnTo>
                      <a:pt x="4092" y="0"/>
                    </a:lnTo>
                    <a:lnTo>
                      <a:pt x="4092" y="4092"/>
                    </a:lnTo>
                    <a:lnTo>
                      <a:pt x="0" y="4092"/>
                    </a:ln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80" name="Forma livre: Forma 79">
                <a:extLst>
                  <a:ext uri="{FF2B5EF4-FFF2-40B4-BE49-F238E27FC236}">
                    <a16:creationId xmlns:a16="http://schemas.microsoft.com/office/drawing/2014/main" id="{ECA428C4-70BA-282B-73D6-B1046B932809}"/>
                  </a:ext>
                </a:extLst>
              </p:cNvPr>
              <p:cNvSpPr/>
              <p:nvPr/>
            </p:nvSpPr>
            <p:spPr>
              <a:xfrm>
                <a:off x="819812" y="3299234"/>
                <a:ext cx="51650" cy="1196"/>
              </a:xfrm>
              <a:custGeom>
                <a:avLst/>
                <a:gdLst>
                  <a:gd name="connsiteX0" fmla="*/ 0 w 51650"/>
                  <a:gd name="connsiteY0" fmla="*/ 0 h 1196"/>
                  <a:gd name="connsiteX1" fmla="*/ 51650 w 51650"/>
                  <a:gd name="connsiteY1" fmla="*/ 0 h 11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1650" h="1196">
                    <a:moveTo>
                      <a:pt x="0" y="0"/>
                    </a:moveTo>
                    <a:lnTo>
                      <a:pt x="5165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81" name="Forma livre: Forma 80">
              <a:extLst>
                <a:ext uri="{FF2B5EF4-FFF2-40B4-BE49-F238E27FC236}">
                  <a16:creationId xmlns:a16="http://schemas.microsoft.com/office/drawing/2014/main" id="{2AF27F3C-E3D2-68EB-77FE-2DB1B5AC9850}"/>
                </a:ext>
              </a:extLst>
            </p:cNvPr>
            <p:cNvSpPr/>
            <p:nvPr/>
          </p:nvSpPr>
          <p:spPr>
            <a:xfrm>
              <a:off x="752404" y="3128035"/>
              <a:ext cx="202366" cy="269439"/>
            </a:xfrm>
            <a:custGeom>
              <a:avLst/>
              <a:gdLst>
                <a:gd name="connsiteX0" fmla="*/ 202367 w 202366"/>
                <a:gd name="connsiteY0" fmla="*/ 114919 h 269439"/>
                <a:gd name="connsiteX1" fmla="*/ 202367 w 202366"/>
                <a:gd name="connsiteY1" fmla="*/ 0 h 269439"/>
                <a:gd name="connsiteX2" fmla="*/ 52297 w 202366"/>
                <a:gd name="connsiteY2" fmla="*/ 0 h 269439"/>
                <a:gd name="connsiteX3" fmla="*/ 0 w 202366"/>
                <a:gd name="connsiteY3" fmla="*/ 52273 h 269439"/>
                <a:gd name="connsiteX4" fmla="*/ 0 w 202366"/>
                <a:gd name="connsiteY4" fmla="*/ 269439 h 269439"/>
                <a:gd name="connsiteX5" fmla="*/ 141085 w 202366"/>
                <a:gd name="connsiteY5" fmla="*/ 269439 h 2694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2366" h="269439">
                  <a:moveTo>
                    <a:pt x="202367" y="114919"/>
                  </a:moveTo>
                  <a:lnTo>
                    <a:pt x="202367" y="0"/>
                  </a:lnTo>
                  <a:lnTo>
                    <a:pt x="52297" y="0"/>
                  </a:lnTo>
                  <a:lnTo>
                    <a:pt x="0" y="52273"/>
                  </a:lnTo>
                  <a:lnTo>
                    <a:pt x="0" y="269439"/>
                  </a:lnTo>
                  <a:lnTo>
                    <a:pt x="141085" y="269439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82" name="Gráfico 2">
              <a:extLst>
                <a:ext uri="{FF2B5EF4-FFF2-40B4-BE49-F238E27FC236}">
                  <a16:creationId xmlns:a16="http://schemas.microsoft.com/office/drawing/2014/main" id="{D61966AD-C883-BC9C-7C62-9B908548CDA7}"/>
                </a:ext>
              </a:extLst>
            </p:cNvPr>
            <p:cNvGrpSpPr/>
            <p:nvPr/>
          </p:nvGrpSpPr>
          <p:grpSpPr>
            <a:xfrm>
              <a:off x="792270" y="3258962"/>
              <a:ext cx="102642" cy="4091"/>
              <a:chOff x="792270" y="3258962"/>
              <a:chExt cx="102642" cy="4091"/>
            </a:xfrm>
            <a:solidFill>
              <a:srgbClr val="394553"/>
            </a:solidFill>
          </p:grpSpPr>
          <p:sp>
            <p:nvSpPr>
              <p:cNvPr id="83" name="Forma livre: Forma 82">
                <a:extLst>
                  <a:ext uri="{FF2B5EF4-FFF2-40B4-BE49-F238E27FC236}">
                    <a16:creationId xmlns:a16="http://schemas.microsoft.com/office/drawing/2014/main" id="{D74DD7B1-9B40-C537-C60D-B703CCC18851}"/>
                  </a:ext>
                </a:extLst>
              </p:cNvPr>
              <p:cNvSpPr/>
              <p:nvPr/>
            </p:nvSpPr>
            <p:spPr>
              <a:xfrm>
                <a:off x="792270" y="3258962"/>
                <a:ext cx="4091" cy="4091"/>
              </a:xfrm>
              <a:custGeom>
                <a:avLst/>
                <a:gdLst>
                  <a:gd name="connsiteX0" fmla="*/ 0 w 4091"/>
                  <a:gd name="connsiteY0" fmla="*/ 0 h 4091"/>
                  <a:gd name="connsiteX1" fmla="*/ 4092 w 4091"/>
                  <a:gd name="connsiteY1" fmla="*/ 0 h 4091"/>
                  <a:gd name="connsiteX2" fmla="*/ 4092 w 4091"/>
                  <a:gd name="connsiteY2" fmla="*/ 4092 h 4091"/>
                  <a:gd name="connsiteX3" fmla="*/ 0 w 4091"/>
                  <a:gd name="connsiteY3" fmla="*/ 4092 h 40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091" h="4091">
                    <a:moveTo>
                      <a:pt x="0" y="0"/>
                    </a:moveTo>
                    <a:lnTo>
                      <a:pt x="4092" y="0"/>
                    </a:lnTo>
                    <a:lnTo>
                      <a:pt x="4092" y="4092"/>
                    </a:lnTo>
                    <a:lnTo>
                      <a:pt x="0" y="4092"/>
                    </a:ln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84" name="Forma livre: Forma 83">
                <a:extLst>
                  <a:ext uri="{FF2B5EF4-FFF2-40B4-BE49-F238E27FC236}">
                    <a16:creationId xmlns:a16="http://schemas.microsoft.com/office/drawing/2014/main" id="{5DACB579-ABDF-6588-44F4-C12F0A51BFC2}"/>
                  </a:ext>
                </a:extLst>
              </p:cNvPr>
              <p:cNvSpPr/>
              <p:nvPr/>
            </p:nvSpPr>
            <p:spPr>
              <a:xfrm>
                <a:off x="819812" y="3260996"/>
                <a:ext cx="75100" cy="1196"/>
              </a:xfrm>
              <a:custGeom>
                <a:avLst/>
                <a:gdLst>
                  <a:gd name="connsiteX0" fmla="*/ 0 w 75100"/>
                  <a:gd name="connsiteY0" fmla="*/ 0 h 1196"/>
                  <a:gd name="connsiteX1" fmla="*/ 75101 w 75100"/>
                  <a:gd name="connsiteY1" fmla="*/ 0 h 11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75100" h="1196">
                    <a:moveTo>
                      <a:pt x="0" y="0"/>
                    </a:moveTo>
                    <a:lnTo>
                      <a:pt x="75101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85" name="Gráfico 2">
            <a:extLst>
              <a:ext uri="{FF2B5EF4-FFF2-40B4-BE49-F238E27FC236}">
                <a16:creationId xmlns:a16="http://schemas.microsoft.com/office/drawing/2014/main" id="{A3E820F9-F0E2-4F6F-FD68-C66CEF429CAD}"/>
              </a:ext>
            </a:extLst>
          </p:cNvPr>
          <p:cNvGrpSpPr/>
          <p:nvPr/>
        </p:nvGrpSpPr>
        <p:grpSpPr>
          <a:xfrm>
            <a:off x="752440" y="992131"/>
            <a:ext cx="268398" cy="268398"/>
            <a:chOff x="752440" y="992131"/>
            <a:chExt cx="268398" cy="268398"/>
          </a:xfrm>
          <a:noFill/>
        </p:grpSpPr>
        <p:grpSp>
          <p:nvGrpSpPr>
            <p:cNvPr id="86" name="Gráfico 2">
              <a:extLst>
                <a:ext uri="{FF2B5EF4-FFF2-40B4-BE49-F238E27FC236}">
                  <a16:creationId xmlns:a16="http://schemas.microsoft.com/office/drawing/2014/main" id="{E4F62904-5A4E-4DCF-92F6-4B141DC5A883}"/>
                </a:ext>
              </a:extLst>
            </p:cNvPr>
            <p:cNvGrpSpPr/>
            <p:nvPr/>
          </p:nvGrpSpPr>
          <p:grpSpPr>
            <a:xfrm>
              <a:off x="774491" y="992669"/>
              <a:ext cx="245223" cy="267130"/>
              <a:chOff x="774491" y="992669"/>
              <a:chExt cx="245223" cy="267130"/>
            </a:xfrm>
            <a:noFill/>
          </p:grpSpPr>
          <p:sp>
            <p:nvSpPr>
              <p:cNvPr id="87" name="Forma livre: Forma 86">
                <a:extLst>
                  <a:ext uri="{FF2B5EF4-FFF2-40B4-BE49-F238E27FC236}">
                    <a16:creationId xmlns:a16="http://schemas.microsoft.com/office/drawing/2014/main" id="{347314E2-BD27-F4C0-BC02-D7EF2671E755}"/>
                  </a:ext>
                </a:extLst>
              </p:cNvPr>
              <p:cNvSpPr/>
              <p:nvPr/>
            </p:nvSpPr>
            <p:spPr>
              <a:xfrm>
                <a:off x="886717" y="993973"/>
                <a:ext cx="1196" cy="265825"/>
              </a:xfrm>
              <a:custGeom>
                <a:avLst/>
                <a:gdLst>
                  <a:gd name="connsiteX0" fmla="*/ 0 w 1196"/>
                  <a:gd name="connsiteY0" fmla="*/ 265826 h 265825"/>
                  <a:gd name="connsiteX1" fmla="*/ 0 w 1196"/>
                  <a:gd name="connsiteY1" fmla="*/ 0 h 2658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6" h="265825">
                    <a:moveTo>
                      <a:pt x="0" y="265826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88" name="Forma livre: Forma 87">
                <a:extLst>
                  <a:ext uri="{FF2B5EF4-FFF2-40B4-BE49-F238E27FC236}">
                    <a16:creationId xmlns:a16="http://schemas.microsoft.com/office/drawing/2014/main" id="{9DA8811D-6AA8-2085-8DD9-75FD31C4D21C}"/>
                  </a:ext>
                </a:extLst>
              </p:cNvPr>
              <p:cNvSpPr/>
              <p:nvPr/>
            </p:nvSpPr>
            <p:spPr>
              <a:xfrm>
                <a:off x="774491" y="1126420"/>
                <a:ext cx="245223" cy="1196"/>
              </a:xfrm>
              <a:custGeom>
                <a:avLst/>
                <a:gdLst>
                  <a:gd name="connsiteX0" fmla="*/ 245223 w 245223"/>
                  <a:gd name="connsiteY0" fmla="*/ 0 h 1196"/>
                  <a:gd name="connsiteX1" fmla="*/ 0 w 245223"/>
                  <a:gd name="connsiteY1" fmla="*/ 0 h 11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45223" h="1196">
                    <a:moveTo>
                      <a:pt x="245223" y="0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89" name="Forma livre: Forma 88">
                <a:extLst>
                  <a:ext uri="{FF2B5EF4-FFF2-40B4-BE49-F238E27FC236}">
                    <a16:creationId xmlns:a16="http://schemas.microsoft.com/office/drawing/2014/main" id="{3EFB80AB-1A47-79E7-15B8-CC30E0E83EDB}"/>
                  </a:ext>
                </a:extLst>
              </p:cNvPr>
              <p:cNvSpPr/>
              <p:nvPr/>
            </p:nvSpPr>
            <p:spPr>
              <a:xfrm>
                <a:off x="820522" y="992669"/>
                <a:ext cx="55834" cy="266783"/>
              </a:xfrm>
              <a:custGeom>
                <a:avLst/>
                <a:gdLst>
                  <a:gd name="connsiteX0" fmla="*/ 55834 w 55834"/>
                  <a:gd name="connsiteY0" fmla="*/ 0 h 266783"/>
                  <a:gd name="connsiteX1" fmla="*/ 55834 w 55834"/>
                  <a:gd name="connsiteY1" fmla="*/ 266783 h 2667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5834" h="266783">
                    <a:moveTo>
                      <a:pt x="55834" y="0"/>
                    </a:moveTo>
                    <a:cubicBezTo>
                      <a:pt x="55834" y="0"/>
                      <a:pt x="-69793" y="115206"/>
                      <a:pt x="55834" y="266783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0" name="Forma livre: Forma 89">
                <a:extLst>
                  <a:ext uri="{FF2B5EF4-FFF2-40B4-BE49-F238E27FC236}">
                    <a16:creationId xmlns:a16="http://schemas.microsoft.com/office/drawing/2014/main" id="{715C1B62-6487-B2D3-BDEA-2D4E36F9DA8A}"/>
                  </a:ext>
                </a:extLst>
              </p:cNvPr>
              <p:cNvSpPr/>
              <p:nvPr/>
            </p:nvSpPr>
            <p:spPr>
              <a:xfrm>
                <a:off x="897102" y="992669"/>
                <a:ext cx="55834" cy="266783"/>
              </a:xfrm>
              <a:custGeom>
                <a:avLst/>
                <a:gdLst>
                  <a:gd name="connsiteX0" fmla="*/ 0 w 55834"/>
                  <a:gd name="connsiteY0" fmla="*/ 0 h 266783"/>
                  <a:gd name="connsiteX1" fmla="*/ 0 w 55834"/>
                  <a:gd name="connsiteY1" fmla="*/ 266783 h 2667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5834" h="266783">
                    <a:moveTo>
                      <a:pt x="0" y="0"/>
                    </a:moveTo>
                    <a:cubicBezTo>
                      <a:pt x="0" y="0"/>
                      <a:pt x="125627" y="115206"/>
                      <a:pt x="0" y="266783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1" name="Forma livre: Forma 90">
                <a:extLst>
                  <a:ext uri="{FF2B5EF4-FFF2-40B4-BE49-F238E27FC236}">
                    <a16:creationId xmlns:a16="http://schemas.microsoft.com/office/drawing/2014/main" id="{C1736C44-8B51-D46A-EA7A-66187FE9A59C}"/>
                  </a:ext>
                </a:extLst>
              </p:cNvPr>
              <p:cNvSpPr/>
              <p:nvPr/>
            </p:nvSpPr>
            <p:spPr>
              <a:xfrm>
                <a:off x="806424" y="1182432"/>
                <a:ext cx="180280" cy="28313"/>
              </a:xfrm>
              <a:custGeom>
                <a:avLst/>
                <a:gdLst>
                  <a:gd name="connsiteX0" fmla="*/ 180280 w 180280"/>
                  <a:gd name="connsiteY0" fmla="*/ 28313 h 28313"/>
                  <a:gd name="connsiteX1" fmla="*/ 0 w 180280"/>
                  <a:gd name="connsiteY1" fmla="*/ 18347 h 283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80280" h="28313">
                    <a:moveTo>
                      <a:pt x="180280" y="28313"/>
                    </a:moveTo>
                    <a:cubicBezTo>
                      <a:pt x="144016" y="6502"/>
                      <a:pt x="79217" y="-17487"/>
                      <a:pt x="0" y="18347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2" name="Forma livre: Forma 91">
                <a:extLst>
                  <a:ext uri="{FF2B5EF4-FFF2-40B4-BE49-F238E27FC236}">
                    <a16:creationId xmlns:a16="http://schemas.microsoft.com/office/drawing/2014/main" id="{659BE94E-6E64-BA97-3B0E-C4E61E34196E}"/>
                  </a:ext>
                </a:extLst>
              </p:cNvPr>
              <p:cNvSpPr/>
              <p:nvPr/>
            </p:nvSpPr>
            <p:spPr>
              <a:xfrm>
                <a:off x="803421" y="1041592"/>
                <a:ext cx="184348" cy="28956"/>
              </a:xfrm>
              <a:custGeom>
                <a:avLst/>
                <a:gdLst>
                  <a:gd name="connsiteX0" fmla="*/ 184348 w 184348"/>
                  <a:gd name="connsiteY0" fmla="*/ 0 h 28956"/>
                  <a:gd name="connsiteX1" fmla="*/ 0 w 184348"/>
                  <a:gd name="connsiteY1" fmla="*/ 9237 h 289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84348" h="28956">
                    <a:moveTo>
                      <a:pt x="184348" y="0"/>
                    </a:moveTo>
                    <a:cubicBezTo>
                      <a:pt x="147845" y="22242"/>
                      <a:pt x="81370" y="47415"/>
                      <a:pt x="0" y="9237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93" name="Forma livre: Forma 92">
              <a:extLst>
                <a:ext uri="{FF2B5EF4-FFF2-40B4-BE49-F238E27FC236}">
                  <a16:creationId xmlns:a16="http://schemas.microsoft.com/office/drawing/2014/main" id="{DFDBEEC5-5D24-1A73-D024-A27324649939}"/>
                </a:ext>
              </a:extLst>
            </p:cNvPr>
            <p:cNvSpPr/>
            <p:nvPr/>
          </p:nvSpPr>
          <p:spPr>
            <a:xfrm>
              <a:off x="752440" y="992131"/>
              <a:ext cx="268398" cy="268398"/>
            </a:xfrm>
            <a:custGeom>
              <a:avLst/>
              <a:gdLst>
                <a:gd name="connsiteX0" fmla="*/ 268398 w 268398"/>
                <a:gd name="connsiteY0" fmla="*/ 134205 h 268398"/>
                <a:gd name="connsiteX1" fmla="*/ 134205 w 268398"/>
                <a:gd name="connsiteY1" fmla="*/ 268398 h 268398"/>
                <a:gd name="connsiteX2" fmla="*/ 0 w 268398"/>
                <a:gd name="connsiteY2" fmla="*/ 134205 h 268398"/>
                <a:gd name="connsiteX3" fmla="*/ 134205 w 268398"/>
                <a:gd name="connsiteY3" fmla="*/ 0 h 268398"/>
                <a:gd name="connsiteX4" fmla="*/ 268398 w 268398"/>
                <a:gd name="connsiteY4" fmla="*/ 134205 h 2683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68398" h="268398">
                  <a:moveTo>
                    <a:pt x="268398" y="134205"/>
                  </a:moveTo>
                  <a:cubicBezTo>
                    <a:pt x="268398" y="208325"/>
                    <a:pt x="208313" y="268398"/>
                    <a:pt x="134205" y="268398"/>
                  </a:cubicBezTo>
                  <a:cubicBezTo>
                    <a:pt x="60097" y="268398"/>
                    <a:pt x="0" y="208325"/>
                    <a:pt x="0" y="134205"/>
                  </a:cubicBezTo>
                  <a:cubicBezTo>
                    <a:pt x="0" y="60085"/>
                    <a:pt x="60085" y="0"/>
                    <a:pt x="134205" y="0"/>
                  </a:cubicBezTo>
                  <a:cubicBezTo>
                    <a:pt x="208325" y="0"/>
                    <a:pt x="268398" y="60073"/>
                    <a:pt x="268398" y="134205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94" name="Gráfico 2">
            <a:extLst>
              <a:ext uri="{FF2B5EF4-FFF2-40B4-BE49-F238E27FC236}">
                <a16:creationId xmlns:a16="http://schemas.microsoft.com/office/drawing/2014/main" id="{B035508F-D8F9-0F09-7A1F-DDAE06D2D0B7}"/>
              </a:ext>
            </a:extLst>
          </p:cNvPr>
          <p:cNvGrpSpPr/>
          <p:nvPr/>
        </p:nvGrpSpPr>
        <p:grpSpPr>
          <a:xfrm>
            <a:off x="745453" y="2067423"/>
            <a:ext cx="282360" cy="254256"/>
            <a:chOff x="745453" y="2067423"/>
            <a:chExt cx="282360" cy="254256"/>
          </a:xfrm>
          <a:noFill/>
        </p:grpSpPr>
        <p:sp>
          <p:nvSpPr>
            <p:cNvPr id="95" name="Forma livre: Forma 94">
              <a:extLst>
                <a:ext uri="{FF2B5EF4-FFF2-40B4-BE49-F238E27FC236}">
                  <a16:creationId xmlns:a16="http://schemas.microsoft.com/office/drawing/2014/main" id="{A616C2F3-4462-9D51-101C-1656AA504F74}"/>
                </a:ext>
              </a:extLst>
            </p:cNvPr>
            <p:cNvSpPr/>
            <p:nvPr/>
          </p:nvSpPr>
          <p:spPr>
            <a:xfrm>
              <a:off x="838955" y="2067423"/>
              <a:ext cx="95356" cy="35319"/>
            </a:xfrm>
            <a:custGeom>
              <a:avLst/>
              <a:gdLst>
                <a:gd name="connsiteX0" fmla="*/ 0 w 95356"/>
                <a:gd name="connsiteY0" fmla="*/ 35319 h 35319"/>
                <a:gd name="connsiteX1" fmla="*/ 0 w 95356"/>
                <a:gd name="connsiteY1" fmla="*/ 15003 h 35319"/>
                <a:gd name="connsiteX2" fmla="*/ 14860 w 95356"/>
                <a:gd name="connsiteY2" fmla="*/ 0 h 35319"/>
                <a:gd name="connsiteX3" fmla="*/ 80497 w 95356"/>
                <a:gd name="connsiteY3" fmla="*/ 0 h 35319"/>
                <a:gd name="connsiteX4" fmla="*/ 95357 w 95356"/>
                <a:gd name="connsiteY4" fmla="*/ 15003 h 35319"/>
                <a:gd name="connsiteX5" fmla="*/ 95357 w 95356"/>
                <a:gd name="connsiteY5" fmla="*/ 35319 h 353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5356" h="35319">
                  <a:moveTo>
                    <a:pt x="0" y="35319"/>
                  </a:moveTo>
                  <a:lnTo>
                    <a:pt x="0" y="15003"/>
                  </a:lnTo>
                  <a:cubicBezTo>
                    <a:pt x="0" y="6688"/>
                    <a:pt x="6688" y="0"/>
                    <a:pt x="14860" y="0"/>
                  </a:cubicBezTo>
                  <a:lnTo>
                    <a:pt x="80497" y="0"/>
                  </a:lnTo>
                  <a:cubicBezTo>
                    <a:pt x="88668" y="0"/>
                    <a:pt x="95357" y="6688"/>
                    <a:pt x="95357" y="15003"/>
                  </a:cubicBezTo>
                  <a:lnTo>
                    <a:pt x="95357" y="35319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6" name="Forma livre: Forma 95">
              <a:extLst>
                <a:ext uri="{FF2B5EF4-FFF2-40B4-BE49-F238E27FC236}">
                  <a16:creationId xmlns:a16="http://schemas.microsoft.com/office/drawing/2014/main" id="{564F3F68-DF30-E599-C9A1-C2E52B4BC99A}"/>
                </a:ext>
              </a:extLst>
            </p:cNvPr>
            <p:cNvSpPr/>
            <p:nvPr/>
          </p:nvSpPr>
          <p:spPr>
            <a:xfrm>
              <a:off x="745453" y="2124769"/>
              <a:ext cx="282360" cy="92556"/>
            </a:xfrm>
            <a:custGeom>
              <a:avLst/>
              <a:gdLst>
                <a:gd name="connsiteX0" fmla="*/ 282361 w 282360"/>
                <a:gd name="connsiteY0" fmla="*/ 30964 h 92556"/>
                <a:gd name="connsiteX1" fmla="*/ 158517 w 282360"/>
                <a:gd name="connsiteY1" fmla="*/ 92557 h 92556"/>
                <a:gd name="connsiteX2" fmla="*/ 123844 w 282360"/>
                <a:gd name="connsiteY2" fmla="*/ 92557 h 92556"/>
                <a:gd name="connsiteX3" fmla="*/ 0 w 282360"/>
                <a:gd name="connsiteY3" fmla="*/ 30964 h 92556"/>
                <a:gd name="connsiteX4" fmla="*/ 0 w 282360"/>
                <a:gd name="connsiteY4" fmla="*/ 0 h 92556"/>
                <a:gd name="connsiteX5" fmla="*/ 282361 w 282360"/>
                <a:gd name="connsiteY5" fmla="*/ 0 h 92556"/>
                <a:gd name="connsiteX6" fmla="*/ 282361 w 282360"/>
                <a:gd name="connsiteY6" fmla="*/ 30964 h 925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82360" h="92556">
                  <a:moveTo>
                    <a:pt x="282361" y="30964"/>
                  </a:moveTo>
                  <a:cubicBezTo>
                    <a:pt x="282361" y="67539"/>
                    <a:pt x="226630" y="92557"/>
                    <a:pt x="158517" y="92557"/>
                  </a:cubicBezTo>
                  <a:lnTo>
                    <a:pt x="123844" y="92557"/>
                  </a:lnTo>
                  <a:cubicBezTo>
                    <a:pt x="55730" y="92557"/>
                    <a:pt x="0" y="67539"/>
                    <a:pt x="0" y="30964"/>
                  </a:cubicBezTo>
                  <a:lnTo>
                    <a:pt x="0" y="0"/>
                  </a:lnTo>
                  <a:lnTo>
                    <a:pt x="282361" y="0"/>
                  </a:lnTo>
                  <a:lnTo>
                    <a:pt x="282361" y="30964"/>
                  </a:ln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7" name="Forma livre: Forma 96">
              <a:extLst>
                <a:ext uri="{FF2B5EF4-FFF2-40B4-BE49-F238E27FC236}">
                  <a16:creationId xmlns:a16="http://schemas.microsoft.com/office/drawing/2014/main" id="{86522B59-B22F-EF17-F09E-A02C5D96C21D}"/>
                </a:ext>
              </a:extLst>
            </p:cNvPr>
            <p:cNvSpPr/>
            <p:nvPr/>
          </p:nvSpPr>
          <p:spPr>
            <a:xfrm>
              <a:off x="745453" y="2210829"/>
              <a:ext cx="282360" cy="110850"/>
            </a:xfrm>
            <a:custGeom>
              <a:avLst/>
              <a:gdLst>
                <a:gd name="connsiteX0" fmla="*/ 282361 w 282360"/>
                <a:gd name="connsiteY0" fmla="*/ 0 h 110850"/>
                <a:gd name="connsiteX1" fmla="*/ 282361 w 282360"/>
                <a:gd name="connsiteY1" fmla="*/ 110851 h 110850"/>
                <a:gd name="connsiteX2" fmla="*/ 0 w 282360"/>
                <a:gd name="connsiteY2" fmla="*/ 110851 h 110850"/>
                <a:gd name="connsiteX3" fmla="*/ 0 w 282360"/>
                <a:gd name="connsiteY3" fmla="*/ 0 h 1108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82360" h="110850">
                  <a:moveTo>
                    <a:pt x="282361" y="0"/>
                  </a:moveTo>
                  <a:lnTo>
                    <a:pt x="282361" y="110851"/>
                  </a:lnTo>
                  <a:lnTo>
                    <a:pt x="0" y="110851"/>
                  </a:lnTo>
                  <a:lnTo>
                    <a:pt x="0" y="0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8" name="Forma livre: Forma 97">
              <a:extLst>
                <a:ext uri="{FF2B5EF4-FFF2-40B4-BE49-F238E27FC236}">
                  <a16:creationId xmlns:a16="http://schemas.microsoft.com/office/drawing/2014/main" id="{89FEC8CB-BA6D-B281-3161-8E422E5AB618}"/>
                </a:ext>
              </a:extLst>
            </p:cNvPr>
            <p:cNvSpPr/>
            <p:nvPr/>
          </p:nvSpPr>
          <p:spPr>
            <a:xfrm>
              <a:off x="776991" y="2263054"/>
              <a:ext cx="219296" cy="29468"/>
            </a:xfrm>
            <a:custGeom>
              <a:avLst/>
              <a:gdLst>
                <a:gd name="connsiteX0" fmla="*/ 219296 w 219296"/>
                <a:gd name="connsiteY0" fmla="*/ 0 h 29468"/>
                <a:gd name="connsiteX1" fmla="*/ 219296 w 219296"/>
                <a:gd name="connsiteY1" fmla="*/ 29468 h 29468"/>
                <a:gd name="connsiteX2" fmla="*/ 0 w 219296"/>
                <a:gd name="connsiteY2" fmla="*/ 29468 h 29468"/>
                <a:gd name="connsiteX3" fmla="*/ 0 w 219296"/>
                <a:gd name="connsiteY3" fmla="*/ 0 h 294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19296" h="29468">
                  <a:moveTo>
                    <a:pt x="219296" y="0"/>
                  </a:moveTo>
                  <a:lnTo>
                    <a:pt x="219296" y="29468"/>
                  </a:lnTo>
                  <a:lnTo>
                    <a:pt x="0" y="29468"/>
                  </a:lnTo>
                  <a:lnTo>
                    <a:pt x="0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9" name="Forma livre: Forma 98">
              <a:extLst>
                <a:ext uri="{FF2B5EF4-FFF2-40B4-BE49-F238E27FC236}">
                  <a16:creationId xmlns:a16="http://schemas.microsoft.com/office/drawing/2014/main" id="{AA167921-E3D6-38B4-CC0B-13CAB452EC8C}"/>
                </a:ext>
              </a:extLst>
            </p:cNvPr>
            <p:cNvSpPr/>
            <p:nvPr/>
          </p:nvSpPr>
          <p:spPr>
            <a:xfrm>
              <a:off x="868268" y="2180774"/>
              <a:ext cx="36742" cy="1196"/>
            </a:xfrm>
            <a:custGeom>
              <a:avLst/>
              <a:gdLst>
                <a:gd name="connsiteX0" fmla="*/ 0 w 36742"/>
                <a:gd name="connsiteY0" fmla="*/ 0 h 1196"/>
                <a:gd name="connsiteX1" fmla="*/ 36743 w 36742"/>
                <a:gd name="connsiteY1" fmla="*/ 0 h 11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6742" h="1196">
                  <a:moveTo>
                    <a:pt x="0" y="0"/>
                  </a:moveTo>
                  <a:lnTo>
                    <a:pt x="36743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00" name="Gráfico 2">
            <a:extLst>
              <a:ext uri="{FF2B5EF4-FFF2-40B4-BE49-F238E27FC236}">
                <a16:creationId xmlns:a16="http://schemas.microsoft.com/office/drawing/2014/main" id="{C5660E7D-364E-2995-43AE-B4C16ED7B0E0}"/>
              </a:ext>
            </a:extLst>
          </p:cNvPr>
          <p:cNvGrpSpPr/>
          <p:nvPr/>
        </p:nvGrpSpPr>
        <p:grpSpPr>
          <a:xfrm>
            <a:off x="1375321" y="2589791"/>
            <a:ext cx="271034" cy="277718"/>
            <a:chOff x="1375321" y="2589791"/>
            <a:chExt cx="271034" cy="277718"/>
          </a:xfrm>
          <a:noFill/>
        </p:grpSpPr>
        <p:sp>
          <p:nvSpPr>
            <p:cNvPr id="101" name="Forma livre: Forma 100">
              <a:extLst>
                <a:ext uri="{FF2B5EF4-FFF2-40B4-BE49-F238E27FC236}">
                  <a16:creationId xmlns:a16="http://schemas.microsoft.com/office/drawing/2014/main" id="{302F9ECC-A239-7E66-321B-342712CE8D69}"/>
                </a:ext>
              </a:extLst>
            </p:cNvPr>
            <p:cNvSpPr/>
            <p:nvPr/>
          </p:nvSpPr>
          <p:spPr>
            <a:xfrm>
              <a:off x="1375321" y="2850687"/>
              <a:ext cx="16833" cy="16822"/>
            </a:xfrm>
            <a:custGeom>
              <a:avLst/>
              <a:gdLst>
                <a:gd name="connsiteX0" fmla="*/ 16834 w 16833"/>
                <a:gd name="connsiteY0" fmla="*/ 0 h 16822"/>
                <a:gd name="connsiteX1" fmla="*/ 0 w 16833"/>
                <a:gd name="connsiteY1" fmla="*/ 16822 h 168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6833" h="16822">
                  <a:moveTo>
                    <a:pt x="16834" y="0"/>
                  </a:moveTo>
                  <a:lnTo>
                    <a:pt x="0" y="16822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2" name="Forma livre: Forma 101">
              <a:extLst>
                <a:ext uri="{FF2B5EF4-FFF2-40B4-BE49-F238E27FC236}">
                  <a16:creationId xmlns:a16="http://schemas.microsoft.com/office/drawing/2014/main" id="{45176F11-EAC3-869C-9843-C879B568F400}"/>
                </a:ext>
              </a:extLst>
            </p:cNvPr>
            <p:cNvSpPr/>
            <p:nvPr/>
          </p:nvSpPr>
          <p:spPr>
            <a:xfrm>
              <a:off x="1416550" y="2596618"/>
              <a:ext cx="229805" cy="229745"/>
            </a:xfrm>
            <a:custGeom>
              <a:avLst/>
              <a:gdLst>
                <a:gd name="connsiteX0" fmla="*/ 0 w 229805"/>
                <a:gd name="connsiteY0" fmla="*/ 187798 h 229745"/>
                <a:gd name="connsiteX1" fmla="*/ 196636 w 229805"/>
                <a:gd name="connsiteY1" fmla="*/ 1428 h 229745"/>
                <a:gd name="connsiteX2" fmla="*/ 220361 w 229805"/>
                <a:gd name="connsiteY2" fmla="*/ 6405 h 229745"/>
                <a:gd name="connsiteX3" fmla="*/ 223376 w 229805"/>
                <a:gd name="connsiteY3" fmla="*/ 9420 h 229745"/>
                <a:gd name="connsiteX4" fmla="*/ 228377 w 229805"/>
                <a:gd name="connsiteY4" fmla="*/ 33122 h 229745"/>
                <a:gd name="connsiteX5" fmla="*/ 41971 w 229805"/>
                <a:gd name="connsiteY5" fmla="*/ 229745 h 229745"/>
                <a:gd name="connsiteX6" fmla="*/ 12 w 229805"/>
                <a:gd name="connsiteY6" fmla="*/ 187786 h 2297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29805" h="229745">
                  <a:moveTo>
                    <a:pt x="0" y="187798"/>
                  </a:moveTo>
                  <a:cubicBezTo>
                    <a:pt x="46015" y="107983"/>
                    <a:pt x="114249" y="43160"/>
                    <a:pt x="196636" y="1428"/>
                  </a:cubicBezTo>
                  <a:cubicBezTo>
                    <a:pt x="203778" y="-1755"/>
                    <a:pt x="214546" y="590"/>
                    <a:pt x="220361" y="6405"/>
                  </a:cubicBezTo>
                  <a:lnTo>
                    <a:pt x="223376" y="9420"/>
                  </a:lnTo>
                  <a:cubicBezTo>
                    <a:pt x="229191" y="15235"/>
                    <a:pt x="231572" y="26003"/>
                    <a:pt x="228377" y="33122"/>
                  </a:cubicBezTo>
                  <a:cubicBezTo>
                    <a:pt x="186741" y="115102"/>
                    <a:pt x="121439" y="183802"/>
                    <a:pt x="41971" y="229745"/>
                  </a:cubicBezTo>
                  <a:lnTo>
                    <a:pt x="12" y="187786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3" name="Forma livre: Forma 102">
              <a:extLst>
                <a:ext uri="{FF2B5EF4-FFF2-40B4-BE49-F238E27FC236}">
                  <a16:creationId xmlns:a16="http://schemas.microsoft.com/office/drawing/2014/main" id="{6F039974-7631-5A5F-18DD-DF823ACB7EDA}"/>
                </a:ext>
              </a:extLst>
            </p:cNvPr>
            <p:cNvSpPr/>
            <p:nvPr/>
          </p:nvSpPr>
          <p:spPr>
            <a:xfrm>
              <a:off x="1386041" y="2805378"/>
              <a:ext cx="51530" cy="51351"/>
            </a:xfrm>
            <a:custGeom>
              <a:avLst/>
              <a:gdLst>
                <a:gd name="connsiteX0" fmla="*/ 18497 w 51530"/>
                <a:gd name="connsiteY0" fmla="*/ 0 h 51351"/>
                <a:gd name="connsiteX1" fmla="*/ 0 w 51530"/>
                <a:gd name="connsiteY1" fmla="*/ 35235 h 51351"/>
                <a:gd name="connsiteX2" fmla="*/ 16116 w 51530"/>
                <a:gd name="connsiteY2" fmla="*/ 51351 h 51351"/>
                <a:gd name="connsiteX3" fmla="*/ 51531 w 51530"/>
                <a:gd name="connsiteY3" fmla="*/ 32795 h 513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1530" h="51351">
                  <a:moveTo>
                    <a:pt x="18497" y="0"/>
                  </a:moveTo>
                  <a:lnTo>
                    <a:pt x="0" y="35235"/>
                  </a:lnTo>
                  <a:lnTo>
                    <a:pt x="16116" y="51351"/>
                  </a:lnTo>
                  <a:lnTo>
                    <a:pt x="51531" y="32795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4" name="Forma livre: Forma 103">
              <a:extLst>
                <a:ext uri="{FF2B5EF4-FFF2-40B4-BE49-F238E27FC236}">
                  <a16:creationId xmlns:a16="http://schemas.microsoft.com/office/drawing/2014/main" id="{B5FC20D6-9C51-658C-22ED-B2646FC2E9CB}"/>
                </a:ext>
              </a:extLst>
            </p:cNvPr>
            <p:cNvSpPr/>
            <p:nvPr/>
          </p:nvSpPr>
          <p:spPr>
            <a:xfrm>
              <a:off x="1560746" y="2589791"/>
              <a:ext cx="20710" cy="24108"/>
            </a:xfrm>
            <a:custGeom>
              <a:avLst/>
              <a:gdLst>
                <a:gd name="connsiteX0" fmla="*/ 20710 w 20710"/>
                <a:gd name="connsiteY0" fmla="*/ 24108 h 24108"/>
                <a:gd name="connsiteX1" fmla="*/ 0 w 20710"/>
                <a:gd name="connsiteY1" fmla="*/ 0 h 241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0710" h="24108">
                  <a:moveTo>
                    <a:pt x="20710" y="24108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5" name="Forma livre: Forma 104">
              <a:extLst>
                <a:ext uri="{FF2B5EF4-FFF2-40B4-BE49-F238E27FC236}">
                  <a16:creationId xmlns:a16="http://schemas.microsoft.com/office/drawing/2014/main" id="{83979FB4-73F3-DE6A-9D37-FE04AD0119CA}"/>
                </a:ext>
              </a:extLst>
            </p:cNvPr>
            <p:cNvSpPr/>
            <p:nvPr/>
          </p:nvSpPr>
          <p:spPr>
            <a:xfrm>
              <a:off x="1473573" y="2590102"/>
              <a:ext cx="86849" cy="69058"/>
            </a:xfrm>
            <a:custGeom>
              <a:avLst/>
              <a:gdLst>
                <a:gd name="connsiteX0" fmla="*/ 0 w 86849"/>
                <a:gd name="connsiteY0" fmla="*/ 69059 h 69058"/>
                <a:gd name="connsiteX1" fmla="*/ 86850 w 86849"/>
                <a:gd name="connsiteY1" fmla="*/ 0 h 690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6849" h="69058">
                  <a:moveTo>
                    <a:pt x="0" y="69059"/>
                  </a:moveTo>
                  <a:cubicBezTo>
                    <a:pt x="37832" y="30354"/>
                    <a:pt x="86850" y="0"/>
                    <a:pt x="86850" y="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6" name="Forma livre: Forma 105">
              <a:extLst>
                <a:ext uri="{FF2B5EF4-FFF2-40B4-BE49-F238E27FC236}">
                  <a16:creationId xmlns:a16="http://schemas.microsoft.com/office/drawing/2014/main" id="{5615AB50-90B0-693F-0899-6D4AA7B13946}"/>
                </a:ext>
              </a:extLst>
            </p:cNvPr>
            <p:cNvSpPr/>
            <p:nvPr/>
          </p:nvSpPr>
          <p:spPr>
            <a:xfrm>
              <a:off x="1523943" y="2685267"/>
              <a:ext cx="47833" cy="47833"/>
            </a:xfrm>
            <a:custGeom>
              <a:avLst/>
              <a:gdLst>
                <a:gd name="connsiteX0" fmla="*/ 0 w 47833"/>
                <a:gd name="connsiteY0" fmla="*/ 0 h 47833"/>
                <a:gd name="connsiteX1" fmla="*/ 47834 w 47833"/>
                <a:gd name="connsiteY1" fmla="*/ 47834 h 478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7833" h="47833">
                  <a:moveTo>
                    <a:pt x="0" y="0"/>
                  </a:moveTo>
                  <a:lnTo>
                    <a:pt x="47834" y="47834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07" name="Gráfico 2">
            <a:extLst>
              <a:ext uri="{FF2B5EF4-FFF2-40B4-BE49-F238E27FC236}">
                <a16:creationId xmlns:a16="http://schemas.microsoft.com/office/drawing/2014/main" id="{86F44966-F5EA-6EED-716C-D51DBE9CE09B}"/>
              </a:ext>
            </a:extLst>
          </p:cNvPr>
          <p:cNvGrpSpPr/>
          <p:nvPr/>
        </p:nvGrpSpPr>
        <p:grpSpPr>
          <a:xfrm>
            <a:off x="1382476" y="3102539"/>
            <a:ext cx="256768" cy="320443"/>
            <a:chOff x="1382476" y="3102539"/>
            <a:chExt cx="256768" cy="320443"/>
          </a:xfrm>
          <a:noFill/>
        </p:grpSpPr>
        <p:grpSp>
          <p:nvGrpSpPr>
            <p:cNvPr id="108" name="Gráfico 2">
              <a:extLst>
                <a:ext uri="{FF2B5EF4-FFF2-40B4-BE49-F238E27FC236}">
                  <a16:creationId xmlns:a16="http://schemas.microsoft.com/office/drawing/2014/main" id="{5DB29891-7ADB-B0C1-185C-BDCDC7F0766F}"/>
                </a:ext>
              </a:extLst>
            </p:cNvPr>
            <p:cNvGrpSpPr/>
            <p:nvPr/>
          </p:nvGrpSpPr>
          <p:grpSpPr>
            <a:xfrm>
              <a:off x="1382476" y="3102539"/>
              <a:ext cx="256768" cy="320443"/>
              <a:chOff x="1382476" y="3102539"/>
              <a:chExt cx="256768" cy="320443"/>
            </a:xfrm>
            <a:noFill/>
          </p:grpSpPr>
          <p:sp>
            <p:nvSpPr>
              <p:cNvPr id="109" name="Forma livre: Forma 108">
                <a:extLst>
                  <a:ext uri="{FF2B5EF4-FFF2-40B4-BE49-F238E27FC236}">
                    <a16:creationId xmlns:a16="http://schemas.microsoft.com/office/drawing/2014/main" id="{98DD9DDF-E2B8-D9F9-46CC-0F1871692BF1}"/>
                  </a:ext>
                </a:extLst>
              </p:cNvPr>
              <p:cNvSpPr/>
              <p:nvPr/>
            </p:nvSpPr>
            <p:spPr>
              <a:xfrm>
                <a:off x="1408211" y="3179506"/>
                <a:ext cx="35749" cy="35702"/>
              </a:xfrm>
              <a:custGeom>
                <a:avLst/>
                <a:gdLst>
                  <a:gd name="connsiteX0" fmla="*/ 35750 w 35749"/>
                  <a:gd name="connsiteY0" fmla="*/ 0 h 35702"/>
                  <a:gd name="connsiteX1" fmla="*/ 35750 w 35749"/>
                  <a:gd name="connsiteY1" fmla="*/ 35702 h 35702"/>
                  <a:gd name="connsiteX2" fmla="*/ 0 w 35749"/>
                  <a:gd name="connsiteY2" fmla="*/ 35702 h 357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5749" h="35702">
                    <a:moveTo>
                      <a:pt x="35750" y="0"/>
                    </a:moveTo>
                    <a:lnTo>
                      <a:pt x="35750" y="35702"/>
                    </a:lnTo>
                    <a:lnTo>
                      <a:pt x="0" y="35702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10" name="Forma livre: Forma 109">
                <a:extLst>
                  <a:ext uri="{FF2B5EF4-FFF2-40B4-BE49-F238E27FC236}">
                    <a16:creationId xmlns:a16="http://schemas.microsoft.com/office/drawing/2014/main" id="{B25D0FCF-25B2-4FB5-E4A6-97AB6804C62C}"/>
                  </a:ext>
                </a:extLst>
              </p:cNvPr>
              <p:cNvSpPr/>
              <p:nvPr/>
            </p:nvSpPr>
            <p:spPr>
              <a:xfrm>
                <a:off x="1382476" y="3153555"/>
                <a:ext cx="202354" cy="269427"/>
              </a:xfrm>
              <a:custGeom>
                <a:avLst/>
                <a:gdLst>
                  <a:gd name="connsiteX0" fmla="*/ 52285 w 202354"/>
                  <a:gd name="connsiteY0" fmla="*/ 0 h 269427"/>
                  <a:gd name="connsiteX1" fmla="*/ 0 w 202354"/>
                  <a:gd name="connsiteY1" fmla="*/ 52273 h 269427"/>
                  <a:gd name="connsiteX2" fmla="*/ 0 w 202354"/>
                  <a:gd name="connsiteY2" fmla="*/ 269427 h 269427"/>
                  <a:gd name="connsiteX3" fmla="*/ 202355 w 202354"/>
                  <a:gd name="connsiteY3" fmla="*/ 269427 h 269427"/>
                  <a:gd name="connsiteX4" fmla="*/ 202355 w 202354"/>
                  <a:gd name="connsiteY4" fmla="*/ 0 h 269427"/>
                  <a:gd name="connsiteX5" fmla="*/ 52285 w 202354"/>
                  <a:gd name="connsiteY5" fmla="*/ 0 h 2694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02354" h="269427">
                    <a:moveTo>
                      <a:pt x="52285" y="0"/>
                    </a:moveTo>
                    <a:lnTo>
                      <a:pt x="0" y="52273"/>
                    </a:lnTo>
                    <a:lnTo>
                      <a:pt x="0" y="269427"/>
                    </a:lnTo>
                    <a:lnTo>
                      <a:pt x="202355" y="269427"/>
                    </a:lnTo>
                    <a:lnTo>
                      <a:pt x="202355" y="0"/>
                    </a:lnTo>
                    <a:lnTo>
                      <a:pt x="52285" y="0"/>
                    </a:ln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11" name="Forma livre: Forma 110">
                <a:extLst>
                  <a:ext uri="{FF2B5EF4-FFF2-40B4-BE49-F238E27FC236}">
                    <a16:creationId xmlns:a16="http://schemas.microsoft.com/office/drawing/2014/main" id="{6CE13B70-41E7-F705-ECC7-08C250C61322}"/>
                  </a:ext>
                </a:extLst>
              </p:cNvPr>
              <p:cNvSpPr/>
              <p:nvPr/>
            </p:nvSpPr>
            <p:spPr>
              <a:xfrm>
                <a:off x="1461848" y="3127832"/>
                <a:ext cx="150069" cy="269427"/>
              </a:xfrm>
              <a:custGeom>
                <a:avLst/>
                <a:gdLst>
                  <a:gd name="connsiteX0" fmla="*/ 150070 w 150069"/>
                  <a:gd name="connsiteY0" fmla="*/ 269427 h 269427"/>
                  <a:gd name="connsiteX1" fmla="*/ 150070 w 150069"/>
                  <a:gd name="connsiteY1" fmla="*/ 0 h 269427"/>
                  <a:gd name="connsiteX2" fmla="*/ 0 w 150069"/>
                  <a:gd name="connsiteY2" fmla="*/ 0 h 2694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50069" h="269427">
                    <a:moveTo>
                      <a:pt x="150070" y="269427"/>
                    </a:moveTo>
                    <a:lnTo>
                      <a:pt x="150070" y="0"/>
                    </a:lnTo>
                    <a:lnTo>
                      <a:pt x="0" y="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12" name="Forma livre: Forma 111">
                <a:extLst>
                  <a:ext uri="{FF2B5EF4-FFF2-40B4-BE49-F238E27FC236}">
                    <a16:creationId xmlns:a16="http://schemas.microsoft.com/office/drawing/2014/main" id="{EB8CDA09-B2E6-53F5-8814-198B5B5E2A8F}"/>
                  </a:ext>
                </a:extLst>
              </p:cNvPr>
              <p:cNvSpPr/>
              <p:nvPr/>
            </p:nvSpPr>
            <p:spPr>
              <a:xfrm>
                <a:off x="1489175" y="3102539"/>
                <a:ext cx="150069" cy="269427"/>
              </a:xfrm>
              <a:custGeom>
                <a:avLst/>
                <a:gdLst>
                  <a:gd name="connsiteX0" fmla="*/ 150070 w 150069"/>
                  <a:gd name="connsiteY0" fmla="*/ 269427 h 269427"/>
                  <a:gd name="connsiteX1" fmla="*/ 150070 w 150069"/>
                  <a:gd name="connsiteY1" fmla="*/ 0 h 269427"/>
                  <a:gd name="connsiteX2" fmla="*/ 0 w 150069"/>
                  <a:gd name="connsiteY2" fmla="*/ 0 h 2694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50069" h="269427">
                    <a:moveTo>
                      <a:pt x="150070" y="269427"/>
                    </a:moveTo>
                    <a:lnTo>
                      <a:pt x="150070" y="0"/>
                    </a:lnTo>
                    <a:lnTo>
                      <a:pt x="0" y="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13" name="Gráfico 2">
              <a:extLst>
                <a:ext uri="{FF2B5EF4-FFF2-40B4-BE49-F238E27FC236}">
                  <a16:creationId xmlns:a16="http://schemas.microsoft.com/office/drawing/2014/main" id="{DF75DBAF-D28C-62FD-3858-506A162ADE1A}"/>
                </a:ext>
              </a:extLst>
            </p:cNvPr>
            <p:cNvGrpSpPr/>
            <p:nvPr/>
          </p:nvGrpSpPr>
          <p:grpSpPr>
            <a:xfrm>
              <a:off x="1427199" y="3286887"/>
              <a:ext cx="112908" cy="78965"/>
              <a:chOff x="1427199" y="3286887"/>
              <a:chExt cx="112908" cy="78965"/>
            </a:xfrm>
          </p:grpSpPr>
          <p:sp>
            <p:nvSpPr>
              <p:cNvPr id="114" name="Forma livre: Forma 113">
                <a:extLst>
                  <a:ext uri="{FF2B5EF4-FFF2-40B4-BE49-F238E27FC236}">
                    <a16:creationId xmlns:a16="http://schemas.microsoft.com/office/drawing/2014/main" id="{9842B642-695F-400C-F0CC-383346FFD54D}"/>
                  </a:ext>
                </a:extLst>
              </p:cNvPr>
              <p:cNvSpPr/>
              <p:nvPr/>
            </p:nvSpPr>
            <p:spPr>
              <a:xfrm>
                <a:off x="1427199" y="3286887"/>
                <a:ext cx="112908" cy="1196"/>
              </a:xfrm>
              <a:custGeom>
                <a:avLst/>
                <a:gdLst>
                  <a:gd name="connsiteX0" fmla="*/ 0 w 112908"/>
                  <a:gd name="connsiteY0" fmla="*/ 0 h 1196"/>
                  <a:gd name="connsiteX1" fmla="*/ 112908 w 112908"/>
                  <a:gd name="connsiteY1" fmla="*/ 0 h 11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2908" h="1196">
                    <a:moveTo>
                      <a:pt x="0" y="0"/>
                    </a:moveTo>
                    <a:lnTo>
                      <a:pt x="112908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15" name="Forma livre: Forma 114">
                <a:extLst>
                  <a:ext uri="{FF2B5EF4-FFF2-40B4-BE49-F238E27FC236}">
                    <a16:creationId xmlns:a16="http://schemas.microsoft.com/office/drawing/2014/main" id="{440B8E2A-965F-61C7-6559-886F454CFEA4}"/>
                  </a:ext>
                </a:extLst>
              </p:cNvPr>
              <p:cNvSpPr/>
              <p:nvPr/>
            </p:nvSpPr>
            <p:spPr>
              <a:xfrm>
                <a:off x="1427199" y="3326370"/>
                <a:ext cx="112908" cy="1196"/>
              </a:xfrm>
              <a:custGeom>
                <a:avLst/>
                <a:gdLst>
                  <a:gd name="connsiteX0" fmla="*/ 0 w 112908"/>
                  <a:gd name="connsiteY0" fmla="*/ 0 h 1196"/>
                  <a:gd name="connsiteX1" fmla="*/ 112908 w 112908"/>
                  <a:gd name="connsiteY1" fmla="*/ 0 h 11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2908" h="1196">
                    <a:moveTo>
                      <a:pt x="0" y="0"/>
                    </a:moveTo>
                    <a:lnTo>
                      <a:pt x="112908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16" name="Forma livre: Forma 115">
                <a:extLst>
                  <a:ext uri="{FF2B5EF4-FFF2-40B4-BE49-F238E27FC236}">
                    <a16:creationId xmlns:a16="http://schemas.microsoft.com/office/drawing/2014/main" id="{BDB180DA-4292-15FA-B063-E43A93C614A8}"/>
                  </a:ext>
                </a:extLst>
              </p:cNvPr>
              <p:cNvSpPr/>
              <p:nvPr/>
            </p:nvSpPr>
            <p:spPr>
              <a:xfrm>
                <a:off x="1427199" y="3365852"/>
                <a:ext cx="112908" cy="1196"/>
              </a:xfrm>
              <a:custGeom>
                <a:avLst/>
                <a:gdLst>
                  <a:gd name="connsiteX0" fmla="*/ 0 w 112908"/>
                  <a:gd name="connsiteY0" fmla="*/ 0 h 1196"/>
                  <a:gd name="connsiteX1" fmla="*/ 112908 w 112908"/>
                  <a:gd name="connsiteY1" fmla="*/ 0 h 11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2908" h="1196">
                    <a:moveTo>
                      <a:pt x="0" y="0"/>
                    </a:moveTo>
                    <a:lnTo>
                      <a:pt x="112908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17" name="Gráfico 2">
            <a:extLst>
              <a:ext uri="{FF2B5EF4-FFF2-40B4-BE49-F238E27FC236}">
                <a16:creationId xmlns:a16="http://schemas.microsoft.com/office/drawing/2014/main" id="{4A744D43-BF94-8B64-A89A-B1276B360BD7}"/>
              </a:ext>
            </a:extLst>
          </p:cNvPr>
          <p:cNvGrpSpPr/>
          <p:nvPr/>
        </p:nvGrpSpPr>
        <p:grpSpPr>
          <a:xfrm>
            <a:off x="1375261" y="1515180"/>
            <a:ext cx="271150" cy="290508"/>
            <a:chOff x="1375261" y="1515180"/>
            <a:chExt cx="271150" cy="290508"/>
          </a:xfrm>
          <a:noFill/>
        </p:grpSpPr>
        <p:sp>
          <p:nvSpPr>
            <p:cNvPr id="118" name="Forma livre: Forma 117">
              <a:extLst>
                <a:ext uri="{FF2B5EF4-FFF2-40B4-BE49-F238E27FC236}">
                  <a16:creationId xmlns:a16="http://schemas.microsoft.com/office/drawing/2014/main" id="{65EBA003-2E5F-BD82-011B-62686A5440F0}"/>
                </a:ext>
              </a:extLst>
            </p:cNvPr>
            <p:cNvSpPr/>
            <p:nvPr/>
          </p:nvSpPr>
          <p:spPr>
            <a:xfrm>
              <a:off x="1390169" y="1541538"/>
              <a:ext cx="241897" cy="165085"/>
            </a:xfrm>
            <a:custGeom>
              <a:avLst/>
              <a:gdLst>
                <a:gd name="connsiteX0" fmla="*/ 0 w 241897"/>
                <a:gd name="connsiteY0" fmla="*/ 21201 h 165085"/>
                <a:gd name="connsiteX1" fmla="*/ 0 w 241897"/>
                <a:gd name="connsiteY1" fmla="*/ 141204 h 165085"/>
                <a:gd name="connsiteX2" fmla="*/ 23881 w 241897"/>
                <a:gd name="connsiteY2" fmla="*/ 165085 h 165085"/>
                <a:gd name="connsiteX3" fmla="*/ 218016 w 241897"/>
                <a:gd name="connsiteY3" fmla="*/ 165085 h 165085"/>
                <a:gd name="connsiteX4" fmla="*/ 241897 w 241897"/>
                <a:gd name="connsiteY4" fmla="*/ 141204 h 165085"/>
                <a:gd name="connsiteX5" fmla="*/ 241897 w 241897"/>
                <a:gd name="connsiteY5" fmla="*/ 0 h 1650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41897" h="165085">
                  <a:moveTo>
                    <a:pt x="0" y="21201"/>
                  </a:moveTo>
                  <a:lnTo>
                    <a:pt x="0" y="141204"/>
                  </a:lnTo>
                  <a:cubicBezTo>
                    <a:pt x="0" y="154341"/>
                    <a:pt x="10744" y="165085"/>
                    <a:pt x="23881" y="165085"/>
                  </a:cubicBezTo>
                  <a:lnTo>
                    <a:pt x="218016" y="165085"/>
                  </a:lnTo>
                  <a:cubicBezTo>
                    <a:pt x="231153" y="165085"/>
                    <a:pt x="241897" y="154341"/>
                    <a:pt x="241897" y="141204"/>
                  </a:cubicBezTo>
                  <a:lnTo>
                    <a:pt x="241897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9" name="Forma livre: Forma 118">
              <a:extLst>
                <a:ext uri="{FF2B5EF4-FFF2-40B4-BE49-F238E27FC236}">
                  <a16:creationId xmlns:a16="http://schemas.microsoft.com/office/drawing/2014/main" id="{118FEF8F-14EC-CFA8-E70F-6F4CA60AAB0A}"/>
                </a:ext>
              </a:extLst>
            </p:cNvPr>
            <p:cNvSpPr/>
            <p:nvPr/>
          </p:nvSpPr>
          <p:spPr>
            <a:xfrm>
              <a:off x="1438015" y="1568685"/>
              <a:ext cx="146217" cy="107404"/>
            </a:xfrm>
            <a:custGeom>
              <a:avLst/>
              <a:gdLst>
                <a:gd name="connsiteX0" fmla="*/ 0 w 146217"/>
                <a:gd name="connsiteY0" fmla="*/ 107405 h 107404"/>
                <a:gd name="connsiteX1" fmla="*/ 32663 w 146217"/>
                <a:gd name="connsiteY1" fmla="*/ 53481 h 107404"/>
                <a:gd name="connsiteX2" fmla="*/ 57214 w 146217"/>
                <a:gd name="connsiteY2" fmla="*/ 88680 h 107404"/>
                <a:gd name="connsiteX3" fmla="*/ 86826 w 146217"/>
                <a:gd name="connsiteY3" fmla="*/ 57812 h 107404"/>
                <a:gd name="connsiteX4" fmla="*/ 113937 w 146217"/>
                <a:gd name="connsiteY4" fmla="*/ 81083 h 107404"/>
                <a:gd name="connsiteX5" fmla="*/ 146217 w 146217"/>
                <a:gd name="connsiteY5" fmla="*/ 0 h 1074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46217" h="107404">
                  <a:moveTo>
                    <a:pt x="0" y="107405"/>
                  </a:moveTo>
                  <a:lnTo>
                    <a:pt x="32663" y="53481"/>
                  </a:lnTo>
                  <a:lnTo>
                    <a:pt x="57214" y="88680"/>
                  </a:lnTo>
                  <a:lnTo>
                    <a:pt x="86826" y="57812"/>
                  </a:lnTo>
                  <a:lnTo>
                    <a:pt x="113937" y="81083"/>
                  </a:lnTo>
                  <a:lnTo>
                    <a:pt x="146217" y="0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20" name="Gráfico 2">
              <a:extLst>
                <a:ext uri="{FF2B5EF4-FFF2-40B4-BE49-F238E27FC236}">
                  <a16:creationId xmlns:a16="http://schemas.microsoft.com/office/drawing/2014/main" id="{617DFBAC-E743-6E83-549B-A584EED8AC9A}"/>
                </a:ext>
              </a:extLst>
            </p:cNvPr>
            <p:cNvGrpSpPr/>
            <p:nvPr/>
          </p:nvGrpSpPr>
          <p:grpSpPr>
            <a:xfrm>
              <a:off x="1452205" y="1726975"/>
              <a:ext cx="117837" cy="78714"/>
              <a:chOff x="1452205" y="1726975"/>
              <a:chExt cx="117837" cy="78714"/>
            </a:xfrm>
          </p:grpSpPr>
          <p:sp>
            <p:nvSpPr>
              <p:cNvPr id="121" name="Forma livre: Forma 120">
                <a:extLst>
                  <a:ext uri="{FF2B5EF4-FFF2-40B4-BE49-F238E27FC236}">
                    <a16:creationId xmlns:a16="http://schemas.microsoft.com/office/drawing/2014/main" id="{EC704075-AA54-1FD0-4E4B-55A685B33B12}"/>
                  </a:ext>
                </a:extLst>
              </p:cNvPr>
              <p:cNvSpPr/>
              <p:nvPr/>
            </p:nvSpPr>
            <p:spPr>
              <a:xfrm>
                <a:off x="1452205" y="1756946"/>
                <a:ext cx="58530" cy="48743"/>
              </a:xfrm>
              <a:custGeom>
                <a:avLst/>
                <a:gdLst>
                  <a:gd name="connsiteX0" fmla="*/ 58530 w 58530"/>
                  <a:gd name="connsiteY0" fmla="*/ 0 h 48743"/>
                  <a:gd name="connsiteX1" fmla="*/ 0 w 58530"/>
                  <a:gd name="connsiteY1" fmla="*/ 48743 h 487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8530" h="48743">
                    <a:moveTo>
                      <a:pt x="58530" y="0"/>
                    </a:moveTo>
                    <a:lnTo>
                      <a:pt x="0" y="48743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2" name="Forma livre: Forma 121">
                <a:extLst>
                  <a:ext uri="{FF2B5EF4-FFF2-40B4-BE49-F238E27FC236}">
                    <a16:creationId xmlns:a16="http://schemas.microsoft.com/office/drawing/2014/main" id="{BDFF9C12-3698-8DEB-3471-625ED7DD31CC}"/>
                  </a:ext>
                </a:extLst>
              </p:cNvPr>
              <p:cNvSpPr/>
              <p:nvPr/>
            </p:nvSpPr>
            <p:spPr>
              <a:xfrm>
                <a:off x="1511524" y="1756946"/>
                <a:ext cx="58518" cy="48743"/>
              </a:xfrm>
              <a:custGeom>
                <a:avLst/>
                <a:gdLst>
                  <a:gd name="connsiteX0" fmla="*/ 0 w 58518"/>
                  <a:gd name="connsiteY0" fmla="*/ 0 h 48743"/>
                  <a:gd name="connsiteX1" fmla="*/ 58518 w 58518"/>
                  <a:gd name="connsiteY1" fmla="*/ 48743 h 487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8518" h="48743">
                    <a:moveTo>
                      <a:pt x="0" y="0"/>
                    </a:moveTo>
                    <a:lnTo>
                      <a:pt x="58518" y="48743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3" name="Forma livre: Forma 122">
                <a:extLst>
                  <a:ext uri="{FF2B5EF4-FFF2-40B4-BE49-F238E27FC236}">
                    <a16:creationId xmlns:a16="http://schemas.microsoft.com/office/drawing/2014/main" id="{89938A3A-79BC-6677-37AF-C4F01EFC952F}"/>
                  </a:ext>
                </a:extLst>
              </p:cNvPr>
              <p:cNvSpPr/>
              <p:nvPr/>
            </p:nvSpPr>
            <p:spPr>
              <a:xfrm>
                <a:off x="1511129" y="1726975"/>
                <a:ext cx="1196" cy="78714"/>
              </a:xfrm>
              <a:custGeom>
                <a:avLst/>
                <a:gdLst>
                  <a:gd name="connsiteX0" fmla="*/ 0 w 1196"/>
                  <a:gd name="connsiteY0" fmla="*/ 78714 h 78714"/>
                  <a:gd name="connsiteX1" fmla="*/ 0 w 1196"/>
                  <a:gd name="connsiteY1" fmla="*/ 0 h 787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6" h="78714">
                    <a:moveTo>
                      <a:pt x="0" y="78714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24" name="Forma livre: Forma 123">
              <a:extLst>
                <a:ext uri="{FF2B5EF4-FFF2-40B4-BE49-F238E27FC236}">
                  <a16:creationId xmlns:a16="http://schemas.microsoft.com/office/drawing/2014/main" id="{B8E5CFD0-1A99-C1C5-725B-6E127CDE3566}"/>
                </a:ext>
              </a:extLst>
            </p:cNvPr>
            <p:cNvSpPr/>
            <p:nvPr/>
          </p:nvSpPr>
          <p:spPr>
            <a:xfrm>
              <a:off x="1375261" y="1515180"/>
              <a:ext cx="271150" cy="25197"/>
            </a:xfrm>
            <a:custGeom>
              <a:avLst/>
              <a:gdLst>
                <a:gd name="connsiteX0" fmla="*/ 46733 w 271150"/>
                <a:gd name="connsiteY0" fmla="*/ 25197 h 25197"/>
                <a:gd name="connsiteX1" fmla="*/ 0 w 271150"/>
                <a:gd name="connsiteY1" fmla="*/ 25197 h 25197"/>
                <a:gd name="connsiteX2" fmla="*/ 0 w 271150"/>
                <a:gd name="connsiteY2" fmla="*/ 0 h 25197"/>
                <a:gd name="connsiteX3" fmla="*/ 271150 w 271150"/>
                <a:gd name="connsiteY3" fmla="*/ 0 h 25197"/>
                <a:gd name="connsiteX4" fmla="*/ 271150 w 271150"/>
                <a:gd name="connsiteY4" fmla="*/ 25197 h 25197"/>
                <a:gd name="connsiteX5" fmla="*/ 79611 w 271150"/>
                <a:gd name="connsiteY5" fmla="*/ 25197 h 251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71150" h="25197">
                  <a:moveTo>
                    <a:pt x="46733" y="25197"/>
                  </a:moveTo>
                  <a:lnTo>
                    <a:pt x="0" y="25197"/>
                  </a:lnTo>
                  <a:lnTo>
                    <a:pt x="0" y="0"/>
                  </a:lnTo>
                  <a:lnTo>
                    <a:pt x="271150" y="0"/>
                  </a:lnTo>
                  <a:lnTo>
                    <a:pt x="271150" y="25197"/>
                  </a:lnTo>
                  <a:lnTo>
                    <a:pt x="79611" y="25197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25" name="Gráfico 2">
            <a:extLst>
              <a:ext uri="{FF2B5EF4-FFF2-40B4-BE49-F238E27FC236}">
                <a16:creationId xmlns:a16="http://schemas.microsoft.com/office/drawing/2014/main" id="{0A51D789-ED20-FA0D-7A2B-54E953FE0658}"/>
              </a:ext>
            </a:extLst>
          </p:cNvPr>
          <p:cNvGrpSpPr/>
          <p:nvPr/>
        </p:nvGrpSpPr>
        <p:grpSpPr>
          <a:xfrm>
            <a:off x="1367293" y="987051"/>
            <a:ext cx="287083" cy="278562"/>
            <a:chOff x="1367293" y="987051"/>
            <a:chExt cx="287083" cy="278562"/>
          </a:xfrm>
          <a:noFill/>
        </p:grpSpPr>
        <p:sp>
          <p:nvSpPr>
            <p:cNvPr id="126" name="Forma livre: Forma 125">
              <a:extLst>
                <a:ext uri="{FF2B5EF4-FFF2-40B4-BE49-F238E27FC236}">
                  <a16:creationId xmlns:a16="http://schemas.microsoft.com/office/drawing/2014/main" id="{8BCC814E-762B-5B88-6FC6-CCA99ACE434A}"/>
                </a:ext>
              </a:extLst>
            </p:cNvPr>
            <p:cNvSpPr/>
            <p:nvPr/>
          </p:nvSpPr>
          <p:spPr>
            <a:xfrm>
              <a:off x="1367293" y="1113498"/>
              <a:ext cx="267943" cy="152115"/>
            </a:xfrm>
            <a:custGeom>
              <a:avLst/>
              <a:gdLst>
                <a:gd name="connsiteX0" fmla="*/ 267944 w 267943"/>
                <a:gd name="connsiteY0" fmla="*/ 31897 h 152115"/>
                <a:gd name="connsiteX1" fmla="*/ 267944 w 267943"/>
                <a:gd name="connsiteY1" fmla="*/ 152116 h 152115"/>
                <a:gd name="connsiteX2" fmla="*/ 0 w 267943"/>
                <a:gd name="connsiteY2" fmla="*/ 152116 h 152115"/>
                <a:gd name="connsiteX3" fmla="*/ 0 w 267943"/>
                <a:gd name="connsiteY3" fmla="*/ 0 h 152115"/>
                <a:gd name="connsiteX4" fmla="*/ 166952 w 267943"/>
                <a:gd name="connsiteY4" fmla="*/ 0 h 1521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67943" h="152115">
                  <a:moveTo>
                    <a:pt x="267944" y="31897"/>
                  </a:moveTo>
                  <a:lnTo>
                    <a:pt x="267944" y="152116"/>
                  </a:lnTo>
                  <a:lnTo>
                    <a:pt x="0" y="152116"/>
                  </a:lnTo>
                  <a:lnTo>
                    <a:pt x="0" y="0"/>
                  </a:lnTo>
                  <a:lnTo>
                    <a:pt x="166952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7" name="Forma livre: Forma 126">
              <a:extLst>
                <a:ext uri="{FF2B5EF4-FFF2-40B4-BE49-F238E27FC236}">
                  <a16:creationId xmlns:a16="http://schemas.microsoft.com/office/drawing/2014/main" id="{F0361BDB-C764-F573-B03C-5DB31B4B2D52}"/>
                </a:ext>
              </a:extLst>
            </p:cNvPr>
            <p:cNvSpPr/>
            <p:nvPr/>
          </p:nvSpPr>
          <p:spPr>
            <a:xfrm>
              <a:off x="1405579" y="1154010"/>
              <a:ext cx="100501" cy="1196"/>
            </a:xfrm>
            <a:custGeom>
              <a:avLst/>
              <a:gdLst>
                <a:gd name="connsiteX0" fmla="*/ 0 w 100501"/>
                <a:gd name="connsiteY0" fmla="*/ 0 h 1196"/>
                <a:gd name="connsiteX1" fmla="*/ 100501 w 100501"/>
                <a:gd name="connsiteY1" fmla="*/ 0 h 11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0501" h="1196">
                  <a:moveTo>
                    <a:pt x="0" y="0"/>
                  </a:moveTo>
                  <a:lnTo>
                    <a:pt x="100501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8" name="Forma livre: Forma 127">
              <a:extLst>
                <a:ext uri="{FF2B5EF4-FFF2-40B4-BE49-F238E27FC236}">
                  <a16:creationId xmlns:a16="http://schemas.microsoft.com/office/drawing/2014/main" id="{865192B1-EBC3-02BB-78CB-8A497F734B8E}"/>
                </a:ext>
              </a:extLst>
            </p:cNvPr>
            <p:cNvSpPr/>
            <p:nvPr/>
          </p:nvSpPr>
          <p:spPr>
            <a:xfrm>
              <a:off x="1405579" y="1187438"/>
              <a:ext cx="100501" cy="1196"/>
            </a:xfrm>
            <a:custGeom>
              <a:avLst/>
              <a:gdLst>
                <a:gd name="connsiteX0" fmla="*/ 0 w 100501"/>
                <a:gd name="connsiteY0" fmla="*/ 0 h 1196"/>
                <a:gd name="connsiteX1" fmla="*/ 100501 w 100501"/>
                <a:gd name="connsiteY1" fmla="*/ 0 h 11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0501" h="1196">
                  <a:moveTo>
                    <a:pt x="0" y="0"/>
                  </a:moveTo>
                  <a:lnTo>
                    <a:pt x="100501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9" name="Forma livre: Forma 128">
              <a:extLst>
                <a:ext uri="{FF2B5EF4-FFF2-40B4-BE49-F238E27FC236}">
                  <a16:creationId xmlns:a16="http://schemas.microsoft.com/office/drawing/2014/main" id="{AF5AD163-F429-D1F1-62BF-9896056E3C10}"/>
                </a:ext>
              </a:extLst>
            </p:cNvPr>
            <p:cNvSpPr/>
            <p:nvPr/>
          </p:nvSpPr>
          <p:spPr>
            <a:xfrm>
              <a:off x="1521215" y="1228093"/>
              <a:ext cx="64476" cy="1196"/>
            </a:xfrm>
            <a:custGeom>
              <a:avLst/>
              <a:gdLst>
                <a:gd name="connsiteX0" fmla="*/ 0 w 64476"/>
                <a:gd name="connsiteY0" fmla="*/ 0 h 1196"/>
                <a:gd name="connsiteX1" fmla="*/ 64476 w 64476"/>
                <a:gd name="connsiteY1" fmla="*/ 0 h 11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4476" h="1196">
                  <a:moveTo>
                    <a:pt x="0" y="0"/>
                  </a:moveTo>
                  <a:lnTo>
                    <a:pt x="64476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30" name="Forma livre: Forma 129">
              <a:extLst>
                <a:ext uri="{FF2B5EF4-FFF2-40B4-BE49-F238E27FC236}">
                  <a16:creationId xmlns:a16="http://schemas.microsoft.com/office/drawing/2014/main" id="{4C95A600-4095-6091-863B-00A4C2132615}"/>
                </a:ext>
              </a:extLst>
            </p:cNvPr>
            <p:cNvSpPr/>
            <p:nvPr/>
          </p:nvSpPr>
          <p:spPr>
            <a:xfrm>
              <a:off x="1552514" y="1184818"/>
              <a:ext cx="7238" cy="16774"/>
            </a:xfrm>
            <a:custGeom>
              <a:avLst/>
              <a:gdLst>
                <a:gd name="connsiteX0" fmla="*/ 7238 w 7238"/>
                <a:gd name="connsiteY0" fmla="*/ 0 h 16774"/>
                <a:gd name="connsiteX1" fmla="*/ 0 w 7238"/>
                <a:gd name="connsiteY1" fmla="*/ 16774 h 167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238" h="16774">
                  <a:moveTo>
                    <a:pt x="7238" y="0"/>
                  </a:moveTo>
                  <a:lnTo>
                    <a:pt x="0" y="16774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31" name="Forma livre: Forma 130">
              <a:extLst>
                <a:ext uri="{FF2B5EF4-FFF2-40B4-BE49-F238E27FC236}">
                  <a16:creationId xmlns:a16="http://schemas.microsoft.com/office/drawing/2014/main" id="{8C20C82D-709D-0BA8-3DA3-CEEC8298CB53}"/>
                </a:ext>
              </a:extLst>
            </p:cNvPr>
            <p:cNvSpPr/>
            <p:nvPr/>
          </p:nvSpPr>
          <p:spPr>
            <a:xfrm>
              <a:off x="1554201" y="987051"/>
              <a:ext cx="100174" cy="177558"/>
            </a:xfrm>
            <a:custGeom>
              <a:avLst/>
              <a:gdLst>
                <a:gd name="connsiteX0" fmla="*/ 0 w 100174"/>
                <a:gd name="connsiteY0" fmla="*/ 162388 h 177558"/>
                <a:gd name="connsiteX1" fmla="*/ 73569 w 100174"/>
                <a:gd name="connsiteY1" fmla="*/ 3715 h 177558"/>
                <a:gd name="connsiteX2" fmla="*/ 88991 w 100174"/>
                <a:gd name="connsiteY2" fmla="*/ 1047 h 177558"/>
                <a:gd name="connsiteX3" fmla="*/ 91516 w 100174"/>
                <a:gd name="connsiteY3" fmla="*/ 2148 h 177558"/>
                <a:gd name="connsiteX4" fmla="*/ 100166 w 100174"/>
                <a:gd name="connsiteY4" fmla="*/ 15177 h 177558"/>
                <a:gd name="connsiteX5" fmla="*/ 35175 w 100174"/>
                <a:gd name="connsiteY5" fmla="*/ 177559 h 177558"/>
                <a:gd name="connsiteX6" fmla="*/ 0 w 100174"/>
                <a:gd name="connsiteY6" fmla="*/ 162388 h 1775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0174" h="177558">
                  <a:moveTo>
                    <a:pt x="0" y="162388"/>
                  </a:moveTo>
                  <a:cubicBezTo>
                    <a:pt x="8590" y="103523"/>
                    <a:pt x="34087" y="48379"/>
                    <a:pt x="73569" y="3715"/>
                  </a:cubicBezTo>
                  <a:cubicBezTo>
                    <a:pt x="77099" y="102"/>
                    <a:pt x="84122" y="-1059"/>
                    <a:pt x="88991" y="1047"/>
                  </a:cubicBezTo>
                  <a:cubicBezTo>
                    <a:pt x="89829" y="1406"/>
                    <a:pt x="90678" y="1789"/>
                    <a:pt x="91516" y="2148"/>
                  </a:cubicBezTo>
                  <a:cubicBezTo>
                    <a:pt x="96386" y="4242"/>
                    <a:pt x="100382" y="10140"/>
                    <a:pt x="100166" y="15177"/>
                  </a:cubicBezTo>
                  <a:cubicBezTo>
                    <a:pt x="94722" y="74282"/>
                    <a:pt x="71906" y="131053"/>
                    <a:pt x="35175" y="177559"/>
                  </a:cubicBezTo>
                  <a:lnTo>
                    <a:pt x="0" y="162388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32" name="Forma livre: Forma 131">
              <a:extLst>
                <a:ext uri="{FF2B5EF4-FFF2-40B4-BE49-F238E27FC236}">
                  <a16:creationId xmlns:a16="http://schemas.microsoft.com/office/drawing/2014/main" id="{F4DE4E4C-5269-8560-692E-FD70CEF19517}"/>
                </a:ext>
              </a:extLst>
            </p:cNvPr>
            <p:cNvSpPr/>
            <p:nvPr/>
          </p:nvSpPr>
          <p:spPr>
            <a:xfrm>
              <a:off x="1552598" y="1153005"/>
              <a:ext cx="32818" cy="34816"/>
            </a:xfrm>
            <a:custGeom>
              <a:avLst/>
              <a:gdLst>
                <a:gd name="connsiteX0" fmla="*/ 3542 w 32818"/>
                <a:gd name="connsiteY0" fmla="*/ 0 h 34816"/>
                <a:gd name="connsiteX1" fmla="*/ 0 w 32818"/>
                <a:gd name="connsiteY1" fmla="*/ 28655 h 34816"/>
                <a:gd name="connsiteX2" fmla="*/ 14309 w 32818"/>
                <a:gd name="connsiteY2" fmla="*/ 34817 h 34816"/>
                <a:gd name="connsiteX3" fmla="*/ 32818 w 32818"/>
                <a:gd name="connsiteY3" fmla="*/ 12503 h 348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2818" h="34816">
                  <a:moveTo>
                    <a:pt x="3542" y="0"/>
                  </a:moveTo>
                  <a:lnTo>
                    <a:pt x="0" y="28655"/>
                  </a:lnTo>
                  <a:lnTo>
                    <a:pt x="14309" y="34817"/>
                  </a:lnTo>
                  <a:lnTo>
                    <a:pt x="32818" y="12503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33" name="Forma livre: Forma 132">
              <a:extLst>
                <a:ext uri="{FF2B5EF4-FFF2-40B4-BE49-F238E27FC236}">
                  <a16:creationId xmlns:a16="http://schemas.microsoft.com/office/drawing/2014/main" id="{6B772E6A-6B57-DBEE-7B16-7B9440A03FB2}"/>
                </a:ext>
              </a:extLst>
            </p:cNvPr>
            <p:cNvSpPr/>
            <p:nvPr/>
          </p:nvSpPr>
          <p:spPr>
            <a:xfrm>
              <a:off x="1553364" y="996067"/>
              <a:ext cx="59152" cy="62262"/>
            </a:xfrm>
            <a:custGeom>
              <a:avLst/>
              <a:gdLst>
                <a:gd name="connsiteX0" fmla="*/ 59152 w 59152"/>
                <a:gd name="connsiteY0" fmla="*/ 11773 h 62262"/>
                <a:gd name="connsiteX1" fmla="*/ 35714 w 59152"/>
                <a:gd name="connsiteY1" fmla="*/ 0 h 62262"/>
                <a:gd name="connsiteX2" fmla="*/ 0 w 59152"/>
                <a:gd name="connsiteY2" fmla="*/ 62263 h 622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59152" h="62262">
                  <a:moveTo>
                    <a:pt x="59152" y="11773"/>
                  </a:moveTo>
                  <a:lnTo>
                    <a:pt x="35714" y="0"/>
                  </a:lnTo>
                  <a:cubicBezTo>
                    <a:pt x="35714" y="0"/>
                    <a:pt x="13472" y="30031"/>
                    <a:pt x="0" y="62263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34" name="Forma livre: Forma 133">
              <a:extLst>
                <a:ext uri="{FF2B5EF4-FFF2-40B4-BE49-F238E27FC236}">
                  <a16:creationId xmlns:a16="http://schemas.microsoft.com/office/drawing/2014/main" id="{8344EC26-30F2-00E3-D703-DBDA39137368}"/>
                </a:ext>
              </a:extLst>
            </p:cNvPr>
            <p:cNvSpPr/>
            <p:nvPr/>
          </p:nvSpPr>
          <p:spPr>
            <a:xfrm>
              <a:off x="1604703" y="1063247"/>
              <a:ext cx="31885" cy="13747"/>
            </a:xfrm>
            <a:custGeom>
              <a:avLst/>
              <a:gdLst>
                <a:gd name="connsiteX0" fmla="*/ 0 w 31885"/>
                <a:gd name="connsiteY0" fmla="*/ 0 h 13747"/>
                <a:gd name="connsiteX1" fmla="*/ 31885 w 31885"/>
                <a:gd name="connsiteY1" fmla="*/ 13747 h 13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1885" h="13747">
                  <a:moveTo>
                    <a:pt x="0" y="0"/>
                  </a:moveTo>
                  <a:lnTo>
                    <a:pt x="31885" y="13747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35" name="Gráfico 2">
            <a:extLst>
              <a:ext uri="{FF2B5EF4-FFF2-40B4-BE49-F238E27FC236}">
                <a16:creationId xmlns:a16="http://schemas.microsoft.com/office/drawing/2014/main" id="{386DE457-B7EF-9960-92BB-90F6A0BCC113}"/>
              </a:ext>
            </a:extLst>
          </p:cNvPr>
          <p:cNvGrpSpPr/>
          <p:nvPr/>
        </p:nvGrpSpPr>
        <p:grpSpPr>
          <a:xfrm>
            <a:off x="1417879" y="2019757"/>
            <a:ext cx="185915" cy="349577"/>
            <a:chOff x="1417879" y="2019757"/>
            <a:chExt cx="185915" cy="349577"/>
          </a:xfrm>
          <a:noFill/>
        </p:grpSpPr>
        <p:sp>
          <p:nvSpPr>
            <p:cNvPr id="136" name="Forma livre: Forma 135">
              <a:extLst>
                <a:ext uri="{FF2B5EF4-FFF2-40B4-BE49-F238E27FC236}">
                  <a16:creationId xmlns:a16="http://schemas.microsoft.com/office/drawing/2014/main" id="{DD91FE1C-357B-ADBE-FC15-884DDD8B7AFC}"/>
                </a:ext>
              </a:extLst>
            </p:cNvPr>
            <p:cNvSpPr/>
            <p:nvPr/>
          </p:nvSpPr>
          <p:spPr>
            <a:xfrm>
              <a:off x="1504812" y="2019757"/>
              <a:ext cx="60193" cy="60205"/>
            </a:xfrm>
            <a:custGeom>
              <a:avLst/>
              <a:gdLst>
                <a:gd name="connsiteX0" fmla="*/ 60193 w 60193"/>
                <a:gd name="connsiteY0" fmla="*/ 30103 h 60205"/>
                <a:gd name="connsiteX1" fmla="*/ 30103 w 60193"/>
                <a:gd name="connsiteY1" fmla="*/ 60205 h 60205"/>
                <a:gd name="connsiteX2" fmla="*/ 0 w 60193"/>
                <a:gd name="connsiteY2" fmla="*/ 30103 h 60205"/>
                <a:gd name="connsiteX3" fmla="*/ 30103 w 60193"/>
                <a:gd name="connsiteY3" fmla="*/ 0 h 60205"/>
                <a:gd name="connsiteX4" fmla="*/ 60193 w 60193"/>
                <a:gd name="connsiteY4" fmla="*/ 30103 h 602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193" h="60205">
                  <a:moveTo>
                    <a:pt x="60193" y="30103"/>
                  </a:moveTo>
                  <a:cubicBezTo>
                    <a:pt x="60193" y="46721"/>
                    <a:pt x="46721" y="60205"/>
                    <a:pt x="30103" y="60205"/>
                  </a:cubicBezTo>
                  <a:cubicBezTo>
                    <a:pt x="13484" y="60205"/>
                    <a:pt x="0" y="46733"/>
                    <a:pt x="0" y="30103"/>
                  </a:cubicBezTo>
                  <a:cubicBezTo>
                    <a:pt x="0" y="13472"/>
                    <a:pt x="13472" y="0"/>
                    <a:pt x="30103" y="0"/>
                  </a:cubicBezTo>
                  <a:cubicBezTo>
                    <a:pt x="46733" y="0"/>
                    <a:pt x="60193" y="13484"/>
                    <a:pt x="60193" y="30103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37" name="Forma livre: Forma 136">
              <a:extLst>
                <a:ext uri="{FF2B5EF4-FFF2-40B4-BE49-F238E27FC236}">
                  <a16:creationId xmlns:a16="http://schemas.microsoft.com/office/drawing/2014/main" id="{E73060F7-3A67-B18D-B4EA-DA485DA459E0}"/>
                </a:ext>
              </a:extLst>
            </p:cNvPr>
            <p:cNvSpPr/>
            <p:nvPr/>
          </p:nvSpPr>
          <p:spPr>
            <a:xfrm>
              <a:off x="1466012" y="2107875"/>
              <a:ext cx="137782" cy="151517"/>
            </a:xfrm>
            <a:custGeom>
              <a:avLst/>
              <a:gdLst>
                <a:gd name="connsiteX0" fmla="*/ 0 w 137782"/>
                <a:gd name="connsiteY0" fmla="*/ 98719 h 151517"/>
                <a:gd name="connsiteX1" fmla="*/ 0 w 137782"/>
                <a:gd name="connsiteY1" fmla="*/ 39961 h 151517"/>
                <a:gd name="connsiteX2" fmla="*/ 39961 w 137782"/>
                <a:gd name="connsiteY2" fmla="*/ 0 h 151517"/>
                <a:gd name="connsiteX3" fmla="*/ 97821 w 137782"/>
                <a:gd name="connsiteY3" fmla="*/ 0 h 151517"/>
                <a:gd name="connsiteX4" fmla="*/ 137782 w 137782"/>
                <a:gd name="connsiteY4" fmla="*/ 39961 h 151517"/>
                <a:gd name="connsiteX5" fmla="*/ 137782 w 137782"/>
                <a:gd name="connsiteY5" fmla="*/ 111557 h 151517"/>
                <a:gd name="connsiteX6" fmla="*/ 106974 w 137782"/>
                <a:gd name="connsiteY6" fmla="*/ 151518 h 1515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37782" h="151517">
                  <a:moveTo>
                    <a:pt x="0" y="98719"/>
                  </a:moveTo>
                  <a:lnTo>
                    <a:pt x="0" y="39961"/>
                  </a:lnTo>
                  <a:cubicBezTo>
                    <a:pt x="0" y="17983"/>
                    <a:pt x="17983" y="0"/>
                    <a:pt x="39961" y="0"/>
                  </a:cubicBezTo>
                  <a:lnTo>
                    <a:pt x="97821" y="0"/>
                  </a:lnTo>
                  <a:cubicBezTo>
                    <a:pt x="119800" y="0"/>
                    <a:pt x="137782" y="17983"/>
                    <a:pt x="137782" y="39961"/>
                  </a:cubicBezTo>
                  <a:lnTo>
                    <a:pt x="137782" y="111557"/>
                  </a:lnTo>
                  <a:cubicBezTo>
                    <a:pt x="137782" y="133535"/>
                    <a:pt x="128965" y="151518"/>
                    <a:pt x="106974" y="151518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38" name="Forma livre: Forma 137">
              <a:extLst>
                <a:ext uri="{FF2B5EF4-FFF2-40B4-BE49-F238E27FC236}">
                  <a16:creationId xmlns:a16="http://schemas.microsoft.com/office/drawing/2014/main" id="{E2B1FA45-27BE-7650-393B-EE224203658B}"/>
                </a:ext>
              </a:extLst>
            </p:cNvPr>
            <p:cNvSpPr/>
            <p:nvPr/>
          </p:nvSpPr>
          <p:spPr>
            <a:xfrm>
              <a:off x="1417879" y="2227005"/>
              <a:ext cx="109055" cy="74921"/>
            </a:xfrm>
            <a:custGeom>
              <a:avLst/>
              <a:gdLst>
                <a:gd name="connsiteX0" fmla="*/ 0 w 109055"/>
                <a:gd name="connsiteY0" fmla="*/ 0 h 74921"/>
                <a:gd name="connsiteX1" fmla="*/ 109056 w 109055"/>
                <a:gd name="connsiteY1" fmla="*/ 0 h 74921"/>
                <a:gd name="connsiteX2" fmla="*/ 109056 w 109055"/>
                <a:gd name="connsiteY2" fmla="*/ 74921 h 74921"/>
                <a:gd name="connsiteX3" fmla="*/ 0 w 109055"/>
                <a:gd name="connsiteY3" fmla="*/ 74921 h 749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055" h="74921">
                  <a:moveTo>
                    <a:pt x="0" y="0"/>
                  </a:moveTo>
                  <a:lnTo>
                    <a:pt x="109056" y="0"/>
                  </a:lnTo>
                  <a:lnTo>
                    <a:pt x="109056" y="74921"/>
                  </a:lnTo>
                  <a:lnTo>
                    <a:pt x="0" y="74921"/>
                  </a:ln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39" name="Gráfico 2">
              <a:extLst>
                <a:ext uri="{FF2B5EF4-FFF2-40B4-BE49-F238E27FC236}">
                  <a16:creationId xmlns:a16="http://schemas.microsoft.com/office/drawing/2014/main" id="{70779BCD-35FA-05DD-CCDC-C85782D1039E}"/>
                </a:ext>
              </a:extLst>
            </p:cNvPr>
            <p:cNvGrpSpPr/>
            <p:nvPr/>
          </p:nvGrpSpPr>
          <p:grpSpPr>
            <a:xfrm>
              <a:off x="1495157" y="2159920"/>
              <a:ext cx="79503" cy="209413"/>
              <a:chOff x="1495157" y="2159920"/>
              <a:chExt cx="79503" cy="209413"/>
            </a:xfrm>
          </p:grpSpPr>
          <p:sp>
            <p:nvSpPr>
              <p:cNvPr id="140" name="Forma livre: Forma 139">
                <a:extLst>
                  <a:ext uri="{FF2B5EF4-FFF2-40B4-BE49-F238E27FC236}">
                    <a16:creationId xmlns:a16="http://schemas.microsoft.com/office/drawing/2014/main" id="{2706E039-64AC-C50D-6DF4-6A22136DF304}"/>
                  </a:ext>
                </a:extLst>
              </p:cNvPr>
              <p:cNvSpPr/>
              <p:nvPr/>
            </p:nvSpPr>
            <p:spPr>
              <a:xfrm>
                <a:off x="1574661" y="2159920"/>
                <a:ext cx="1196" cy="209413"/>
              </a:xfrm>
              <a:custGeom>
                <a:avLst/>
                <a:gdLst>
                  <a:gd name="connsiteX0" fmla="*/ 0 w 1196"/>
                  <a:gd name="connsiteY0" fmla="*/ 0 h 209413"/>
                  <a:gd name="connsiteX1" fmla="*/ 0 w 1196"/>
                  <a:gd name="connsiteY1" fmla="*/ 209414 h 2094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6" h="209413">
                    <a:moveTo>
                      <a:pt x="0" y="0"/>
                    </a:moveTo>
                    <a:lnTo>
                      <a:pt x="0" y="209414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141" name="Gráfico 2">
                <a:extLst>
                  <a:ext uri="{FF2B5EF4-FFF2-40B4-BE49-F238E27FC236}">
                    <a16:creationId xmlns:a16="http://schemas.microsoft.com/office/drawing/2014/main" id="{CF0A37BB-EAC0-7F2B-A8ED-548688CDB2B2}"/>
                  </a:ext>
                </a:extLst>
              </p:cNvPr>
              <p:cNvGrpSpPr/>
              <p:nvPr/>
            </p:nvGrpSpPr>
            <p:grpSpPr>
              <a:xfrm>
                <a:off x="1495157" y="2159920"/>
                <a:ext cx="1196" cy="209413"/>
                <a:chOff x="1495157" y="2159920"/>
                <a:chExt cx="1196" cy="209413"/>
              </a:xfrm>
            </p:grpSpPr>
            <p:sp>
              <p:nvSpPr>
                <p:cNvPr id="142" name="Forma livre: Forma 141">
                  <a:extLst>
                    <a:ext uri="{FF2B5EF4-FFF2-40B4-BE49-F238E27FC236}">
                      <a16:creationId xmlns:a16="http://schemas.microsoft.com/office/drawing/2014/main" id="{50F756CD-82FF-C519-6225-97C4E5DBEC74}"/>
                    </a:ext>
                  </a:extLst>
                </p:cNvPr>
                <p:cNvSpPr/>
                <p:nvPr/>
              </p:nvSpPr>
              <p:spPr>
                <a:xfrm>
                  <a:off x="1495157" y="2159920"/>
                  <a:ext cx="1196" cy="68328"/>
                </a:xfrm>
                <a:custGeom>
                  <a:avLst/>
                  <a:gdLst>
                    <a:gd name="connsiteX0" fmla="*/ 0 w 1196"/>
                    <a:gd name="connsiteY0" fmla="*/ 0 h 68328"/>
                    <a:gd name="connsiteX1" fmla="*/ 0 w 1196"/>
                    <a:gd name="connsiteY1" fmla="*/ 68329 h 6832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196" h="68328">
                      <a:moveTo>
                        <a:pt x="0" y="0"/>
                      </a:moveTo>
                      <a:lnTo>
                        <a:pt x="0" y="68329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43" name="Forma livre: Forma 142">
                  <a:extLst>
                    <a:ext uri="{FF2B5EF4-FFF2-40B4-BE49-F238E27FC236}">
                      <a16:creationId xmlns:a16="http://schemas.microsoft.com/office/drawing/2014/main" id="{9C678BF2-E3AB-E489-3EC2-A257CAD53061}"/>
                    </a:ext>
                  </a:extLst>
                </p:cNvPr>
                <p:cNvSpPr/>
                <p:nvPr/>
              </p:nvSpPr>
              <p:spPr>
                <a:xfrm>
                  <a:off x="1495157" y="2302345"/>
                  <a:ext cx="1196" cy="66988"/>
                </a:xfrm>
                <a:custGeom>
                  <a:avLst/>
                  <a:gdLst>
                    <a:gd name="connsiteX0" fmla="*/ 0 w 1196"/>
                    <a:gd name="connsiteY0" fmla="*/ 0 h 66988"/>
                    <a:gd name="connsiteX1" fmla="*/ 0 w 1196"/>
                    <a:gd name="connsiteY1" fmla="*/ 66989 h 6698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196" h="66988">
                      <a:moveTo>
                        <a:pt x="0" y="0"/>
                      </a:moveTo>
                      <a:lnTo>
                        <a:pt x="0" y="66989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144" name="Forma livre: Forma 143">
                <a:extLst>
                  <a:ext uri="{FF2B5EF4-FFF2-40B4-BE49-F238E27FC236}">
                    <a16:creationId xmlns:a16="http://schemas.microsoft.com/office/drawing/2014/main" id="{B436C401-E997-42DF-0990-C0650958EA2A}"/>
                  </a:ext>
                </a:extLst>
              </p:cNvPr>
              <p:cNvSpPr/>
              <p:nvPr/>
            </p:nvSpPr>
            <p:spPr>
              <a:xfrm>
                <a:off x="1534903" y="2322325"/>
                <a:ext cx="1196" cy="47008"/>
              </a:xfrm>
              <a:custGeom>
                <a:avLst/>
                <a:gdLst>
                  <a:gd name="connsiteX0" fmla="*/ 0 w 1196"/>
                  <a:gd name="connsiteY0" fmla="*/ 0 h 47008"/>
                  <a:gd name="connsiteX1" fmla="*/ 0 w 1196"/>
                  <a:gd name="connsiteY1" fmla="*/ 47008 h 470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6" h="47008">
                    <a:moveTo>
                      <a:pt x="0" y="0"/>
                    </a:moveTo>
                    <a:lnTo>
                      <a:pt x="0" y="47008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45" name="Gráfico 2">
            <a:extLst>
              <a:ext uri="{FF2B5EF4-FFF2-40B4-BE49-F238E27FC236}">
                <a16:creationId xmlns:a16="http://schemas.microsoft.com/office/drawing/2014/main" id="{C89627CA-4507-E20B-30C0-E1C592F3E806}"/>
              </a:ext>
            </a:extLst>
          </p:cNvPr>
          <p:cNvGrpSpPr/>
          <p:nvPr/>
        </p:nvGrpSpPr>
        <p:grpSpPr>
          <a:xfrm>
            <a:off x="763926" y="1514163"/>
            <a:ext cx="245426" cy="292542"/>
            <a:chOff x="763926" y="1514163"/>
            <a:chExt cx="245426" cy="292542"/>
          </a:xfrm>
          <a:noFill/>
        </p:grpSpPr>
        <p:grpSp>
          <p:nvGrpSpPr>
            <p:cNvPr id="146" name="Gráfico 2">
              <a:extLst>
                <a:ext uri="{FF2B5EF4-FFF2-40B4-BE49-F238E27FC236}">
                  <a16:creationId xmlns:a16="http://schemas.microsoft.com/office/drawing/2014/main" id="{FA8BCB55-F35C-548F-46D4-CAC82E009D61}"/>
                </a:ext>
              </a:extLst>
            </p:cNvPr>
            <p:cNvGrpSpPr/>
            <p:nvPr/>
          </p:nvGrpSpPr>
          <p:grpSpPr>
            <a:xfrm>
              <a:off x="763926" y="1514163"/>
              <a:ext cx="245426" cy="254998"/>
              <a:chOff x="763926" y="1514163"/>
              <a:chExt cx="245426" cy="254998"/>
            </a:xfrm>
            <a:noFill/>
          </p:grpSpPr>
          <p:sp>
            <p:nvSpPr>
              <p:cNvPr id="147" name="Forma livre: Forma 146">
                <a:extLst>
                  <a:ext uri="{FF2B5EF4-FFF2-40B4-BE49-F238E27FC236}">
                    <a16:creationId xmlns:a16="http://schemas.microsoft.com/office/drawing/2014/main" id="{7A9568A3-0B64-A54A-5AF9-3842A08490C5}"/>
                  </a:ext>
                </a:extLst>
              </p:cNvPr>
              <p:cNvSpPr/>
              <p:nvPr/>
            </p:nvSpPr>
            <p:spPr>
              <a:xfrm>
                <a:off x="808865" y="1586644"/>
                <a:ext cx="49245" cy="45943"/>
              </a:xfrm>
              <a:custGeom>
                <a:avLst/>
                <a:gdLst>
                  <a:gd name="connsiteX0" fmla="*/ 0 w 49245"/>
                  <a:gd name="connsiteY0" fmla="*/ 45943 h 45943"/>
                  <a:gd name="connsiteX1" fmla="*/ 49246 w 49245"/>
                  <a:gd name="connsiteY1" fmla="*/ 0 h 459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9245" h="45943">
                    <a:moveTo>
                      <a:pt x="0" y="45943"/>
                    </a:moveTo>
                    <a:lnTo>
                      <a:pt x="49246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48" name="Forma livre: Forma 147">
                <a:extLst>
                  <a:ext uri="{FF2B5EF4-FFF2-40B4-BE49-F238E27FC236}">
                    <a16:creationId xmlns:a16="http://schemas.microsoft.com/office/drawing/2014/main" id="{AC978B1A-A75F-9856-D2BD-58E5161E3B84}"/>
                  </a:ext>
                </a:extLst>
              </p:cNvPr>
              <p:cNvSpPr/>
              <p:nvPr/>
            </p:nvSpPr>
            <p:spPr>
              <a:xfrm>
                <a:off x="801913" y="1694264"/>
                <a:ext cx="54163" cy="74897"/>
              </a:xfrm>
              <a:custGeom>
                <a:avLst/>
                <a:gdLst>
                  <a:gd name="connsiteX0" fmla="*/ 54163 w 54163"/>
                  <a:gd name="connsiteY0" fmla="*/ 74897 h 74897"/>
                  <a:gd name="connsiteX1" fmla="*/ 0 w 54163"/>
                  <a:gd name="connsiteY1" fmla="*/ 0 h 748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4163" h="74897">
                    <a:moveTo>
                      <a:pt x="54163" y="74897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49" name="Forma livre: Forma 148">
                <a:extLst>
                  <a:ext uri="{FF2B5EF4-FFF2-40B4-BE49-F238E27FC236}">
                    <a16:creationId xmlns:a16="http://schemas.microsoft.com/office/drawing/2014/main" id="{BEFA619C-31B1-9442-7210-8171EAE91FBA}"/>
                  </a:ext>
                </a:extLst>
              </p:cNvPr>
              <p:cNvSpPr/>
              <p:nvPr/>
            </p:nvSpPr>
            <p:spPr>
              <a:xfrm>
                <a:off x="931440" y="1625875"/>
                <a:ext cx="64859" cy="59630"/>
              </a:xfrm>
              <a:custGeom>
                <a:avLst/>
                <a:gdLst>
                  <a:gd name="connsiteX0" fmla="*/ 57633 w 64859"/>
                  <a:gd name="connsiteY0" fmla="*/ 0 h 59630"/>
                  <a:gd name="connsiteX1" fmla="*/ 64859 w 64859"/>
                  <a:gd name="connsiteY1" fmla="*/ 22134 h 59630"/>
                  <a:gd name="connsiteX2" fmla="*/ 27387 w 64859"/>
                  <a:gd name="connsiteY2" fmla="*/ 59631 h 59630"/>
                  <a:gd name="connsiteX3" fmla="*/ 0 w 64859"/>
                  <a:gd name="connsiteY3" fmla="*/ 47738 h 596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4859" h="59630">
                    <a:moveTo>
                      <a:pt x="57633" y="0"/>
                    </a:moveTo>
                    <a:cubicBezTo>
                      <a:pt x="62179" y="6198"/>
                      <a:pt x="64859" y="13855"/>
                      <a:pt x="64859" y="22134"/>
                    </a:cubicBezTo>
                    <a:cubicBezTo>
                      <a:pt x="64859" y="42833"/>
                      <a:pt x="48073" y="59631"/>
                      <a:pt x="27387" y="59631"/>
                    </a:cubicBezTo>
                    <a:cubicBezTo>
                      <a:pt x="16583" y="59631"/>
                      <a:pt x="6844" y="55048"/>
                      <a:pt x="0" y="47738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50" name="Forma livre: Forma 149">
                <a:extLst>
                  <a:ext uri="{FF2B5EF4-FFF2-40B4-BE49-F238E27FC236}">
                    <a16:creationId xmlns:a16="http://schemas.microsoft.com/office/drawing/2014/main" id="{E0DC8CE7-9D20-CE20-0409-FF6CC37D43FF}"/>
                  </a:ext>
                </a:extLst>
              </p:cNvPr>
              <p:cNvSpPr/>
              <p:nvPr/>
            </p:nvSpPr>
            <p:spPr>
              <a:xfrm>
                <a:off x="763926" y="1642530"/>
                <a:ext cx="36347" cy="36371"/>
              </a:xfrm>
              <a:custGeom>
                <a:avLst/>
                <a:gdLst>
                  <a:gd name="connsiteX0" fmla="*/ 36348 w 36347"/>
                  <a:gd name="connsiteY0" fmla="*/ 18198 h 36371"/>
                  <a:gd name="connsiteX1" fmla="*/ 18186 w 36347"/>
                  <a:gd name="connsiteY1" fmla="*/ 36372 h 36371"/>
                  <a:gd name="connsiteX2" fmla="*/ 0 w 36347"/>
                  <a:gd name="connsiteY2" fmla="*/ 18198 h 36371"/>
                  <a:gd name="connsiteX3" fmla="*/ 18186 w 36347"/>
                  <a:gd name="connsiteY3" fmla="*/ 0 h 36371"/>
                  <a:gd name="connsiteX4" fmla="*/ 36348 w 36347"/>
                  <a:gd name="connsiteY4" fmla="*/ 18198 h 363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6347" h="36371">
                    <a:moveTo>
                      <a:pt x="36348" y="18198"/>
                    </a:moveTo>
                    <a:cubicBezTo>
                      <a:pt x="36348" y="28248"/>
                      <a:pt x="28260" y="36372"/>
                      <a:pt x="18186" y="36372"/>
                    </a:cubicBezTo>
                    <a:cubicBezTo>
                      <a:pt x="8112" y="36372"/>
                      <a:pt x="0" y="28248"/>
                      <a:pt x="0" y="18198"/>
                    </a:cubicBezTo>
                    <a:cubicBezTo>
                      <a:pt x="0" y="8148"/>
                      <a:pt x="8160" y="0"/>
                      <a:pt x="18186" y="0"/>
                    </a:cubicBezTo>
                    <a:cubicBezTo>
                      <a:pt x="28212" y="0"/>
                      <a:pt x="36348" y="8124"/>
                      <a:pt x="36348" y="18198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51" name="Forma livre: Forma 150">
                <a:extLst>
                  <a:ext uri="{FF2B5EF4-FFF2-40B4-BE49-F238E27FC236}">
                    <a16:creationId xmlns:a16="http://schemas.microsoft.com/office/drawing/2014/main" id="{A6A3EEE9-E18A-E009-AF5A-442944F6CE45}"/>
                  </a:ext>
                </a:extLst>
              </p:cNvPr>
              <p:cNvSpPr/>
              <p:nvPr/>
            </p:nvSpPr>
            <p:spPr>
              <a:xfrm>
                <a:off x="835043" y="1514163"/>
                <a:ext cx="174309" cy="172276"/>
              </a:xfrm>
              <a:custGeom>
                <a:avLst/>
                <a:gdLst>
                  <a:gd name="connsiteX0" fmla="*/ 78618 w 174309"/>
                  <a:gd name="connsiteY0" fmla="*/ 67695 h 172276"/>
                  <a:gd name="connsiteX1" fmla="*/ 45297 w 174309"/>
                  <a:gd name="connsiteY1" fmla="*/ 96565 h 172276"/>
                  <a:gd name="connsiteX2" fmla="*/ 47702 w 174309"/>
                  <a:gd name="connsiteY2" fmla="*/ 172276 h 172276"/>
                  <a:gd name="connsiteX3" fmla="*/ 174310 w 174309"/>
                  <a:gd name="connsiteY3" fmla="*/ 67491 h 172276"/>
                  <a:gd name="connsiteX4" fmla="*/ 95261 w 174309"/>
                  <a:gd name="connsiteY4" fmla="*/ 52416 h 172276"/>
                  <a:gd name="connsiteX5" fmla="*/ 50406 w 174309"/>
                  <a:gd name="connsiteY5" fmla="*/ 0 h 172276"/>
                  <a:gd name="connsiteX6" fmla="*/ 0 w 174309"/>
                  <a:gd name="connsiteY6" fmla="*/ 43144 h 172276"/>
                  <a:gd name="connsiteX7" fmla="*/ 44843 w 174309"/>
                  <a:gd name="connsiteY7" fmla="*/ 95548 h 1722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74309" h="172276">
                    <a:moveTo>
                      <a:pt x="78618" y="67695"/>
                    </a:moveTo>
                    <a:lnTo>
                      <a:pt x="45297" y="96565"/>
                    </a:lnTo>
                    <a:lnTo>
                      <a:pt x="47702" y="172276"/>
                    </a:lnTo>
                    <a:lnTo>
                      <a:pt x="174310" y="67491"/>
                    </a:lnTo>
                    <a:lnTo>
                      <a:pt x="95261" y="52416"/>
                    </a:lnTo>
                    <a:lnTo>
                      <a:pt x="50406" y="0"/>
                    </a:lnTo>
                    <a:lnTo>
                      <a:pt x="0" y="43144"/>
                    </a:lnTo>
                    <a:lnTo>
                      <a:pt x="44843" y="95548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52" name="Forma livre: Forma 151">
              <a:extLst>
                <a:ext uri="{FF2B5EF4-FFF2-40B4-BE49-F238E27FC236}">
                  <a16:creationId xmlns:a16="http://schemas.microsoft.com/office/drawing/2014/main" id="{1F206163-4444-D002-BD24-2B486B071885}"/>
                </a:ext>
              </a:extLst>
            </p:cNvPr>
            <p:cNvSpPr/>
            <p:nvPr/>
          </p:nvSpPr>
          <p:spPr>
            <a:xfrm>
              <a:off x="813854" y="1764053"/>
              <a:ext cx="151601" cy="42653"/>
            </a:xfrm>
            <a:custGeom>
              <a:avLst/>
              <a:gdLst>
                <a:gd name="connsiteX0" fmla="*/ 75902 w 151601"/>
                <a:gd name="connsiteY0" fmla="*/ 0 h 42653"/>
                <a:gd name="connsiteX1" fmla="*/ 0 w 151601"/>
                <a:gd name="connsiteY1" fmla="*/ 42653 h 42653"/>
                <a:gd name="connsiteX2" fmla="*/ 151601 w 151601"/>
                <a:gd name="connsiteY2" fmla="*/ 42653 h 42653"/>
                <a:gd name="connsiteX3" fmla="*/ 75890 w 151601"/>
                <a:gd name="connsiteY3" fmla="*/ 0 h 42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1601" h="42653">
                  <a:moveTo>
                    <a:pt x="75902" y="0"/>
                  </a:moveTo>
                  <a:cubicBezTo>
                    <a:pt x="43754" y="0"/>
                    <a:pt x="15590" y="15913"/>
                    <a:pt x="0" y="42653"/>
                  </a:cubicBezTo>
                  <a:lnTo>
                    <a:pt x="151601" y="42653"/>
                  </a:lnTo>
                  <a:cubicBezTo>
                    <a:pt x="135964" y="16092"/>
                    <a:pt x="107907" y="0"/>
                    <a:pt x="75890" y="0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54" name="Gráfico 4">
            <a:extLst>
              <a:ext uri="{FF2B5EF4-FFF2-40B4-BE49-F238E27FC236}">
                <a16:creationId xmlns:a16="http://schemas.microsoft.com/office/drawing/2014/main" id="{A6371974-3E0E-384E-D428-024DB3DF73D2}"/>
              </a:ext>
            </a:extLst>
          </p:cNvPr>
          <p:cNvGrpSpPr/>
          <p:nvPr/>
        </p:nvGrpSpPr>
        <p:grpSpPr>
          <a:xfrm>
            <a:off x="3827454" y="2075656"/>
            <a:ext cx="239724" cy="277719"/>
            <a:chOff x="3827454" y="2075656"/>
            <a:chExt cx="239724" cy="277719"/>
          </a:xfrm>
        </p:grpSpPr>
        <p:grpSp>
          <p:nvGrpSpPr>
            <p:cNvPr id="155" name="Gráfico 4">
              <a:extLst>
                <a:ext uri="{FF2B5EF4-FFF2-40B4-BE49-F238E27FC236}">
                  <a16:creationId xmlns:a16="http://schemas.microsoft.com/office/drawing/2014/main" id="{41657A4C-4E63-050E-C0D4-9276EABB9F6F}"/>
                </a:ext>
              </a:extLst>
            </p:cNvPr>
            <p:cNvGrpSpPr/>
            <p:nvPr/>
          </p:nvGrpSpPr>
          <p:grpSpPr>
            <a:xfrm>
              <a:off x="3827454" y="2075656"/>
              <a:ext cx="239724" cy="277719"/>
              <a:chOff x="3827454" y="2075656"/>
              <a:chExt cx="239724" cy="277719"/>
            </a:xfrm>
            <a:noFill/>
          </p:grpSpPr>
          <p:grpSp>
            <p:nvGrpSpPr>
              <p:cNvPr id="156" name="Gráfico 4">
                <a:extLst>
                  <a:ext uri="{FF2B5EF4-FFF2-40B4-BE49-F238E27FC236}">
                    <a16:creationId xmlns:a16="http://schemas.microsoft.com/office/drawing/2014/main" id="{B9E0D42C-22E7-6FCD-6490-0B06EFBF647A}"/>
                  </a:ext>
                </a:extLst>
              </p:cNvPr>
              <p:cNvGrpSpPr/>
              <p:nvPr/>
            </p:nvGrpSpPr>
            <p:grpSpPr>
              <a:xfrm>
                <a:off x="3841294" y="2075656"/>
                <a:ext cx="212043" cy="264047"/>
                <a:chOff x="3841294" y="2075656"/>
                <a:chExt cx="212043" cy="264047"/>
              </a:xfrm>
              <a:noFill/>
            </p:grpSpPr>
            <p:grpSp>
              <p:nvGrpSpPr>
                <p:cNvPr id="157" name="Gráfico 4">
                  <a:extLst>
                    <a:ext uri="{FF2B5EF4-FFF2-40B4-BE49-F238E27FC236}">
                      <a16:creationId xmlns:a16="http://schemas.microsoft.com/office/drawing/2014/main" id="{00EB3373-230D-1D73-F893-87E9EBA6ADCE}"/>
                    </a:ext>
                  </a:extLst>
                </p:cNvPr>
                <p:cNvGrpSpPr/>
                <p:nvPr/>
              </p:nvGrpSpPr>
              <p:grpSpPr>
                <a:xfrm>
                  <a:off x="3884140" y="2075656"/>
                  <a:ext cx="169197" cy="264023"/>
                  <a:chOff x="3884140" y="2075656"/>
                  <a:chExt cx="169197" cy="264023"/>
                </a:xfrm>
                <a:noFill/>
              </p:grpSpPr>
              <p:sp>
                <p:nvSpPr>
                  <p:cNvPr id="158" name="Forma livre: Forma 157">
                    <a:extLst>
                      <a:ext uri="{FF2B5EF4-FFF2-40B4-BE49-F238E27FC236}">
                        <a16:creationId xmlns:a16="http://schemas.microsoft.com/office/drawing/2014/main" id="{E7B31D38-BAA2-86FC-32B0-FFA900AF89F5}"/>
                      </a:ext>
                    </a:extLst>
                  </p:cNvPr>
                  <p:cNvSpPr/>
                  <p:nvPr/>
                </p:nvSpPr>
                <p:spPr>
                  <a:xfrm>
                    <a:off x="3897117" y="2277313"/>
                    <a:ext cx="49941" cy="62366"/>
                  </a:xfrm>
                  <a:custGeom>
                    <a:avLst/>
                    <a:gdLst>
                      <a:gd name="connsiteX0" fmla="*/ 49941 w 49941"/>
                      <a:gd name="connsiteY0" fmla="*/ 0 h 62366"/>
                      <a:gd name="connsiteX1" fmla="*/ 0 w 49941"/>
                      <a:gd name="connsiteY1" fmla="*/ 62366 h 6236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49941" h="62366">
                        <a:moveTo>
                          <a:pt x="49941" y="0"/>
                        </a:moveTo>
                        <a:lnTo>
                          <a:pt x="0" y="62366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159" name="Forma livre: Forma 158">
                    <a:extLst>
                      <a:ext uri="{FF2B5EF4-FFF2-40B4-BE49-F238E27FC236}">
                        <a16:creationId xmlns:a16="http://schemas.microsoft.com/office/drawing/2014/main" id="{B398169C-E2BA-9C9E-93D5-2EFFC4CD89DF}"/>
                      </a:ext>
                    </a:extLst>
                  </p:cNvPr>
                  <p:cNvSpPr/>
                  <p:nvPr/>
                </p:nvSpPr>
                <p:spPr>
                  <a:xfrm>
                    <a:off x="3960933" y="2075656"/>
                    <a:ext cx="92404" cy="144910"/>
                  </a:xfrm>
                  <a:custGeom>
                    <a:avLst/>
                    <a:gdLst>
                      <a:gd name="connsiteX0" fmla="*/ 0 w 92404"/>
                      <a:gd name="connsiteY0" fmla="*/ 104100 h 144910"/>
                      <a:gd name="connsiteX1" fmla="*/ 83011 w 92404"/>
                      <a:gd name="connsiteY1" fmla="*/ 0 h 144910"/>
                      <a:gd name="connsiteX2" fmla="*/ 67423 w 92404"/>
                      <a:gd name="connsiteY2" fmla="*/ 100134 h 144910"/>
                      <a:gd name="connsiteX3" fmla="*/ 31573 w 92404"/>
                      <a:gd name="connsiteY3" fmla="*/ 144910 h 14491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92404" h="144910">
                        <a:moveTo>
                          <a:pt x="0" y="104100"/>
                        </a:moveTo>
                        <a:lnTo>
                          <a:pt x="83011" y="0"/>
                        </a:lnTo>
                        <a:cubicBezTo>
                          <a:pt x="83011" y="0"/>
                          <a:pt x="112307" y="38175"/>
                          <a:pt x="67423" y="100134"/>
                        </a:cubicBezTo>
                        <a:lnTo>
                          <a:pt x="31573" y="144910"/>
                        </a:lnTo>
                      </a:path>
                    </a:pathLst>
                  </a:custGeom>
                  <a:noFill/>
                  <a:ln w="6350" cap="flat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160" name="Forma livre: Forma 159">
                    <a:extLst>
                      <a:ext uri="{FF2B5EF4-FFF2-40B4-BE49-F238E27FC236}">
                        <a16:creationId xmlns:a16="http://schemas.microsoft.com/office/drawing/2014/main" id="{7517C2F4-A424-C5E5-BB55-F417B420CC31}"/>
                      </a:ext>
                    </a:extLst>
                  </p:cNvPr>
                  <p:cNvSpPr/>
                  <p:nvPr/>
                </p:nvSpPr>
                <p:spPr>
                  <a:xfrm>
                    <a:off x="3884140" y="2253217"/>
                    <a:ext cx="17685" cy="22514"/>
                  </a:xfrm>
                  <a:custGeom>
                    <a:avLst/>
                    <a:gdLst>
                      <a:gd name="connsiteX0" fmla="*/ 0 w 17685"/>
                      <a:gd name="connsiteY0" fmla="*/ 22514 h 22514"/>
                      <a:gd name="connsiteX1" fmla="*/ 17685 w 17685"/>
                      <a:gd name="connsiteY1" fmla="*/ 0 h 2251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7685" h="22514">
                        <a:moveTo>
                          <a:pt x="0" y="22514"/>
                        </a:moveTo>
                        <a:lnTo>
                          <a:pt x="17685" y="0"/>
                        </a:lnTo>
                      </a:path>
                    </a:pathLst>
                  </a:custGeom>
                  <a:ln w="6350" cap="flat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  <p:sp>
              <p:nvSpPr>
                <p:cNvPr id="161" name="Forma livre: Forma 160">
                  <a:extLst>
                    <a:ext uri="{FF2B5EF4-FFF2-40B4-BE49-F238E27FC236}">
                      <a16:creationId xmlns:a16="http://schemas.microsoft.com/office/drawing/2014/main" id="{613D281A-2BCD-C44F-F3EB-2C6ECEBECBF0}"/>
                    </a:ext>
                  </a:extLst>
                </p:cNvPr>
                <p:cNvSpPr/>
                <p:nvPr/>
              </p:nvSpPr>
              <p:spPr>
                <a:xfrm>
                  <a:off x="3841294" y="2075656"/>
                  <a:ext cx="169676" cy="264047"/>
                </a:xfrm>
                <a:custGeom>
                  <a:avLst/>
                  <a:gdLst>
                    <a:gd name="connsiteX0" fmla="*/ 169676 w 169676"/>
                    <a:gd name="connsiteY0" fmla="*/ 200795 h 264047"/>
                    <a:gd name="connsiteX1" fmla="*/ 9393 w 169676"/>
                    <a:gd name="connsiteY1" fmla="*/ 0 h 264047"/>
                    <a:gd name="connsiteX2" fmla="*/ 24982 w 169676"/>
                    <a:gd name="connsiteY2" fmla="*/ 100146 h 264047"/>
                    <a:gd name="connsiteX3" fmla="*/ 156244 w 169676"/>
                    <a:gd name="connsiteY3" fmla="*/ 264048 h 26404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69676" h="264047">
                      <a:moveTo>
                        <a:pt x="169676" y="200795"/>
                      </a:moveTo>
                      <a:lnTo>
                        <a:pt x="9393" y="0"/>
                      </a:lnTo>
                      <a:cubicBezTo>
                        <a:pt x="9393" y="0"/>
                        <a:pt x="-19903" y="38175"/>
                        <a:pt x="24982" y="100146"/>
                      </a:cubicBezTo>
                      <a:lnTo>
                        <a:pt x="156244" y="264048"/>
                      </a:ln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162" name="Forma livre: Forma 161">
                <a:extLst>
                  <a:ext uri="{FF2B5EF4-FFF2-40B4-BE49-F238E27FC236}">
                    <a16:creationId xmlns:a16="http://schemas.microsoft.com/office/drawing/2014/main" id="{9EFB31D1-8D57-B8C1-BE7C-07F65528D7A8}"/>
                  </a:ext>
                </a:extLst>
              </p:cNvPr>
              <p:cNvSpPr/>
              <p:nvPr/>
            </p:nvSpPr>
            <p:spPr>
              <a:xfrm>
                <a:off x="3987917" y="2274114"/>
                <a:ext cx="79260" cy="79249"/>
              </a:xfrm>
              <a:custGeom>
                <a:avLst/>
                <a:gdLst>
                  <a:gd name="connsiteX0" fmla="*/ 39624 w 79260"/>
                  <a:gd name="connsiteY0" fmla="*/ 0 h 79249"/>
                  <a:gd name="connsiteX1" fmla="*/ 79261 w 79260"/>
                  <a:gd name="connsiteY1" fmla="*/ 39624 h 79249"/>
                  <a:gd name="connsiteX2" fmla="*/ 39624 w 79260"/>
                  <a:gd name="connsiteY2" fmla="*/ 79249 h 79249"/>
                  <a:gd name="connsiteX3" fmla="*/ 0 w 79260"/>
                  <a:gd name="connsiteY3" fmla="*/ 39624 h 79249"/>
                  <a:gd name="connsiteX4" fmla="*/ 39624 w 79260"/>
                  <a:gd name="connsiteY4" fmla="*/ 0 h 792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260" h="79249">
                    <a:moveTo>
                      <a:pt x="39624" y="0"/>
                    </a:moveTo>
                    <a:cubicBezTo>
                      <a:pt x="61516" y="0"/>
                      <a:pt x="79261" y="17733"/>
                      <a:pt x="79261" y="39624"/>
                    </a:cubicBezTo>
                    <a:cubicBezTo>
                      <a:pt x="79261" y="61516"/>
                      <a:pt x="61516" y="79249"/>
                      <a:pt x="39624" y="79249"/>
                    </a:cubicBezTo>
                    <a:cubicBezTo>
                      <a:pt x="17733" y="79249"/>
                      <a:pt x="0" y="61516"/>
                      <a:pt x="0" y="39624"/>
                    </a:cubicBezTo>
                    <a:cubicBezTo>
                      <a:pt x="0" y="17733"/>
                      <a:pt x="17733" y="0"/>
                      <a:pt x="39624" y="0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63" name="Forma livre: Forma 162">
                <a:extLst>
                  <a:ext uri="{FF2B5EF4-FFF2-40B4-BE49-F238E27FC236}">
                    <a16:creationId xmlns:a16="http://schemas.microsoft.com/office/drawing/2014/main" id="{BBF21CFB-CCD0-8369-08A2-1C2332EE6701}"/>
                  </a:ext>
                </a:extLst>
              </p:cNvPr>
              <p:cNvSpPr/>
              <p:nvPr/>
            </p:nvSpPr>
            <p:spPr>
              <a:xfrm>
                <a:off x="3827454" y="2274114"/>
                <a:ext cx="79261" cy="79261"/>
              </a:xfrm>
              <a:custGeom>
                <a:avLst/>
                <a:gdLst>
                  <a:gd name="connsiteX0" fmla="*/ 79261 w 79261"/>
                  <a:gd name="connsiteY0" fmla="*/ 39624 h 79261"/>
                  <a:gd name="connsiteX1" fmla="*/ 39636 w 79261"/>
                  <a:gd name="connsiteY1" fmla="*/ 79261 h 79261"/>
                  <a:gd name="connsiteX2" fmla="*/ 0 w 79261"/>
                  <a:gd name="connsiteY2" fmla="*/ 39624 h 79261"/>
                  <a:gd name="connsiteX3" fmla="*/ 39624 w 79261"/>
                  <a:gd name="connsiteY3" fmla="*/ 0 h 79261"/>
                  <a:gd name="connsiteX4" fmla="*/ 79261 w 79261"/>
                  <a:gd name="connsiteY4" fmla="*/ 39624 h 792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261" h="79261">
                    <a:moveTo>
                      <a:pt x="79261" y="39624"/>
                    </a:moveTo>
                    <a:cubicBezTo>
                      <a:pt x="79261" y="61516"/>
                      <a:pt x="61516" y="79261"/>
                      <a:pt x="39636" y="79261"/>
                    </a:cubicBezTo>
                    <a:cubicBezTo>
                      <a:pt x="17757" y="79261"/>
                      <a:pt x="-12" y="61504"/>
                      <a:pt x="0" y="39624"/>
                    </a:cubicBezTo>
                    <a:cubicBezTo>
                      <a:pt x="-12" y="17757"/>
                      <a:pt x="17733" y="0"/>
                      <a:pt x="39624" y="0"/>
                    </a:cubicBezTo>
                    <a:cubicBezTo>
                      <a:pt x="61516" y="0"/>
                      <a:pt x="79261" y="17733"/>
                      <a:pt x="79261" y="39624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64" name="Forma livre: Forma 163">
              <a:extLst>
                <a:ext uri="{FF2B5EF4-FFF2-40B4-BE49-F238E27FC236}">
                  <a16:creationId xmlns:a16="http://schemas.microsoft.com/office/drawing/2014/main" id="{1D092B89-0753-67AF-671C-267601CD632E}"/>
                </a:ext>
              </a:extLst>
            </p:cNvPr>
            <p:cNvSpPr/>
            <p:nvPr/>
          </p:nvSpPr>
          <p:spPr>
            <a:xfrm>
              <a:off x="3942756" y="2231901"/>
              <a:ext cx="7668" cy="7668"/>
            </a:xfrm>
            <a:custGeom>
              <a:avLst/>
              <a:gdLst>
                <a:gd name="connsiteX0" fmla="*/ 7669 w 7668"/>
                <a:gd name="connsiteY0" fmla="*/ 3834 h 7668"/>
                <a:gd name="connsiteX1" fmla="*/ 3834 w 7668"/>
                <a:gd name="connsiteY1" fmla="*/ 7668 h 7668"/>
                <a:gd name="connsiteX2" fmla="*/ 0 w 7668"/>
                <a:gd name="connsiteY2" fmla="*/ 3834 h 7668"/>
                <a:gd name="connsiteX3" fmla="*/ 3834 w 7668"/>
                <a:gd name="connsiteY3" fmla="*/ 0 h 7668"/>
                <a:gd name="connsiteX4" fmla="*/ 7669 w 7668"/>
                <a:gd name="connsiteY4" fmla="*/ 3834 h 76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68" h="7668">
                  <a:moveTo>
                    <a:pt x="7669" y="3834"/>
                  </a:moveTo>
                  <a:cubicBezTo>
                    <a:pt x="7669" y="5955"/>
                    <a:pt x="5967" y="7668"/>
                    <a:pt x="3834" y="7668"/>
                  </a:cubicBezTo>
                  <a:cubicBezTo>
                    <a:pt x="1701" y="7668"/>
                    <a:pt x="0" y="5955"/>
                    <a:pt x="0" y="3834"/>
                  </a:cubicBezTo>
                  <a:cubicBezTo>
                    <a:pt x="0" y="1713"/>
                    <a:pt x="1713" y="0"/>
                    <a:pt x="3834" y="0"/>
                  </a:cubicBezTo>
                  <a:cubicBezTo>
                    <a:pt x="5955" y="0"/>
                    <a:pt x="7669" y="1713"/>
                    <a:pt x="7669" y="3834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65" name="Gráfico 4">
            <a:extLst>
              <a:ext uri="{FF2B5EF4-FFF2-40B4-BE49-F238E27FC236}">
                <a16:creationId xmlns:a16="http://schemas.microsoft.com/office/drawing/2014/main" id="{FB6009D2-5100-5E7D-66C1-705B0FF4D4C3}"/>
              </a:ext>
            </a:extLst>
          </p:cNvPr>
          <p:cNvGrpSpPr/>
          <p:nvPr/>
        </p:nvGrpSpPr>
        <p:grpSpPr>
          <a:xfrm>
            <a:off x="3814010" y="3142019"/>
            <a:ext cx="266599" cy="280954"/>
            <a:chOff x="3814010" y="3142019"/>
            <a:chExt cx="266599" cy="280954"/>
          </a:xfrm>
          <a:noFill/>
        </p:grpSpPr>
        <p:sp>
          <p:nvSpPr>
            <p:cNvPr id="166" name="Forma livre: Forma 165">
              <a:extLst>
                <a:ext uri="{FF2B5EF4-FFF2-40B4-BE49-F238E27FC236}">
                  <a16:creationId xmlns:a16="http://schemas.microsoft.com/office/drawing/2014/main" id="{22DA0347-0BA6-3BAD-0BF7-C3E499621C94}"/>
                </a:ext>
              </a:extLst>
            </p:cNvPr>
            <p:cNvSpPr/>
            <p:nvPr/>
          </p:nvSpPr>
          <p:spPr>
            <a:xfrm>
              <a:off x="3814010" y="3142019"/>
              <a:ext cx="266599" cy="280954"/>
            </a:xfrm>
            <a:custGeom>
              <a:avLst/>
              <a:gdLst>
                <a:gd name="connsiteX0" fmla="*/ 157504 w 266599"/>
                <a:gd name="connsiteY0" fmla="*/ 241893 h 280954"/>
                <a:gd name="connsiteX1" fmla="*/ 228509 w 266599"/>
                <a:gd name="connsiteY1" fmla="*/ 270302 h 280954"/>
                <a:gd name="connsiteX2" fmla="*/ 266600 w 266599"/>
                <a:gd name="connsiteY2" fmla="*/ 0 h 280954"/>
                <a:gd name="connsiteX3" fmla="*/ 0 w 266599"/>
                <a:gd name="connsiteY3" fmla="*/ 179371 h 280954"/>
                <a:gd name="connsiteX4" fmla="*/ 79860 w 266599"/>
                <a:gd name="connsiteY4" fmla="*/ 208871 h 280954"/>
                <a:gd name="connsiteX5" fmla="*/ 106400 w 266599"/>
                <a:gd name="connsiteY5" fmla="*/ 280954 h 280954"/>
                <a:gd name="connsiteX6" fmla="*/ 130232 w 266599"/>
                <a:gd name="connsiteY6" fmla="*/ 230977 h 2809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66599" h="280954">
                  <a:moveTo>
                    <a:pt x="157504" y="241893"/>
                  </a:moveTo>
                  <a:lnTo>
                    <a:pt x="228509" y="270302"/>
                  </a:lnTo>
                  <a:lnTo>
                    <a:pt x="266600" y="0"/>
                  </a:lnTo>
                  <a:lnTo>
                    <a:pt x="0" y="179371"/>
                  </a:lnTo>
                  <a:lnTo>
                    <a:pt x="79860" y="208871"/>
                  </a:lnTo>
                  <a:lnTo>
                    <a:pt x="106400" y="280954"/>
                  </a:lnTo>
                  <a:lnTo>
                    <a:pt x="130232" y="230977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7" name="Forma livre: Forma 166">
              <a:extLst>
                <a:ext uri="{FF2B5EF4-FFF2-40B4-BE49-F238E27FC236}">
                  <a16:creationId xmlns:a16="http://schemas.microsoft.com/office/drawing/2014/main" id="{08E47959-4622-9B06-3B40-E6852563EA73}"/>
                </a:ext>
              </a:extLst>
            </p:cNvPr>
            <p:cNvSpPr/>
            <p:nvPr/>
          </p:nvSpPr>
          <p:spPr>
            <a:xfrm>
              <a:off x="3914012" y="3144847"/>
              <a:ext cx="164441" cy="183768"/>
            </a:xfrm>
            <a:custGeom>
              <a:avLst/>
              <a:gdLst>
                <a:gd name="connsiteX0" fmla="*/ 0 w 164441"/>
                <a:gd name="connsiteY0" fmla="*/ 183768 h 183768"/>
                <a:gd name="connsiteX1" fmla="*/ 164441 w 164441"/>
                <a:gd name="connsiteY1" fmla="*/ 0 h 1837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64441" h="183768">
                  <a:moveTo>
                    <a:pt x="0" y="183768"/>
                  </a:moveTo>
                  <a:lnTo>
                    <a:pt x="164441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8" name="Forma livre: Forma 167">
              <a:extLst>
                <a:ext uri="{FF2B5EF4-FFF2-40B4-BE49-F238E27FC236}">
                  <a16:creationId xmlns:a16="http://schemas.microsoft.com/office/drawing/2014/main" id="{78585CB7-F788-5EEE-97B6-24FC86E4F8B0}"/>
                </a:ext>
              </a:extLst>
            </p:cNvPr>
            <p:cNvSpPr/>
            <p:nvPr/>
          </p:nvSpPr>
          <p:spPr>
            <a:xfrm>
              <a:off x="3944242" y="3144919"/>
              <a:ext cx="134893" cy="228077"/>
            </a:xfrm>
            <a:custGeom>
              <a:avLst/>
              <a:gdLst>
                <a:gd name="connsiteX0" fmla="*/ 0 w 134893"/>
                <a:gd name="connsiteY0" fmla="*/ 228078 h 228077"/>
                <a:gd name="connsiteX1" fmla="*/ 134894 w 134893"/>
                <a:gd name="connsiteY1" fmla="*/ 0 h 2280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34893" h="228077">
                  <a:moveTo>
                    <a:pt x="0" y="228078"/>
                  </a:moveTo>
                  <a:lnTo>
                    <a:pt x="134894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69" name="Gráfico 4">
            <a:extLst>
              <a:ext uri="{FF2B5EF4-FFF2-40B4-BE49-F238E27FC236}">
                <a16:creationId xmlns:a16="http://schemas.microsoft.com/office/drawing/2014/main" id="{FEBFF4C9-F8A7-CD2C-C669-EFD13DD9F340}"/>
              </a:ext>
            </a:extLst>
          </p:cNvPr>
          <p:cNvGrpSpPr/>
          <p:nvPr/>
        </p:nvGrpSpPr>
        <p:grpSpPr>
          <a:xfrm>
            <a:off x="3858331" y="1555660"/>
            <a:ext cx="177956" cy="247189"/>
            <a:chOff x="3858331" y="1555660"/>
            <a:chExt cx="177956" cy="247189"/>
          </a:xfrm>
          <a:noFill/>
        </p:grpSpPr>
        <p:sp>
          <p:nvSpPr>
            <p:cNvPr id="170" name="Forma livre: Forma 169">
              <a:extLst>
                <a:ext uri="{FF2B5EF4-FFF2-40B4-BE49-F238E27FC236}">
                  <a16:creationId xmlns:a16="http://schemas.microsoft.com/office/drawing/2014/main" id="{83BDF77D-5B8A-2517-EC8C-4F5F52454536}"/>
                </a:ext>
              </a:extLst>
            </p:cNvPr>
            <p:cNvSpPr/>
            <p:nvPr/>
          </p:nvSpPr>
          <p:spPr>
            <a:xfrm>
              <a:off x="3858331" y="1555660"/>
              <a:ext cx="177956" cy="247189"/>
            </a:xfrm>
            <a:custGeom>
              <a:avLst/>
              <a:gdLst>
                <a:gd name="connsiteX0" fmla="*/ 158786 w 177956"/>
                <a:gd name="connsiteY0" fmla="*/ 0 h 247189"/>
                <a:gd name="connsiteX1" fmla="*/ 177957 w 177956"/>
                <a:gd name="connsiteY1" fmla="*/ 19171 h 247189"/>
                <a:gd name="connsiteX2" fmla="*/ 177957 w 177956"/>
                <a:gd name="connsiteY2" fmla="*/ 228018 h 247189"/>
                <a:gd name="connsiteX3" fmla="*/ 158786 w 177956"/>
                <a:gd name="connsiteY3" fmla="*/ 247189 h 247189"/>
                <a:gd name="connsiteX4" fmla="*/ 19171 w 177956"/>
                <a:gd name="connsiteY4" fmla="*/ 247189 h 247189"/>
                <a:gd name="connsiteX5" fmla="*/ 0 w 177956"/>
                <a:gd name="connsiteY5" fmla="*/ 228018 h 247189"/>
                <a:gd name="connsiteX6" fmla="*/ 0 w 177956"/>
                <a:gd name="connsiteY6" fmla="*/ 19171 h 247189"/>
                <a:gd name="connsiteX7" fmla="*/ 19171 w 177956"/>
                <a:gd name="connsiteY7" fmla="*/ 0 h 2471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7956" h="247189">
                  <a:moveTo>
                    <a:pt x="158786" y="0"/>
                  </a:moveTo>
                  <a:cubicBezTo>
                    <a:pt x="169374" y="0"/>
                    <a:pt x="177957" y="8583"/>
                    <a:pt x="177957" y="19171"/>
                  </a:cubicBezTo>
                  <a:lnTo>
                    <a:pt x="177957" y="228018"/>
                  </a:lnTo>
                  <a:cubicBezTo>
                    <a:pt x="177957" y="238606"/>
                    <a:pt x="169374" y="247189"/>
                    <a:pt x="158786" y="247189"/>
                  </a:cubicBezTo>
                  <a:lnTo>
                    <a:pt x="19171" y="247189"/>
                  </a:lnTo>
                  <a:cubicBezTo>
                    <a:pt x="8583" y="247189"/>
                    <a:pt x="0" y="238606"/>
                    <a:pt x="0" y="228018"/>
                  </a:cubicBezTo>
                  <a:lnTo>
                    <a:pt x="0" y="19171"/>
                  </a:lnTo>
                  <a:cubicBezTo>
                    <a:pt x="0" y="8583"/>
                    <a:pt x="8583" y="0"/>
                    <a:pt x="19171" y="0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1" name="Forma livre: Forma 170">
              <a:extLst>
                <a:ext uri="{FF2B5EF4-FFF2-40B4-BE49-F238E27FC236}">
                  <a16:creationId xmlns:a16="http://schemas.microsoft.com/office/drawing/2014/main" id="{362B6B38-9616-9E07-2352-FD8CBA0ECF1F}"/>
                </a:ext>
              </a:extLst>
            </p:cNvPr>
            <p:cNvSpPr/>
            <p:nvPr/>
          </p:nvSpPr>
          <p:spPr>
            <a:xfrm>
              <a:off x="3880079" y="1637138"/>
              <a:ext cx="155850" cy="1198"/>
            </a:xfrm>
            <a:custGeom>
              <a:avLst/>
              <a:gdLst>
                <a:gd name="connsiteX0" fmla="*/ 0 w 155850"/>
                <a:gd name="connsiteY0" fmla="*/ 0 h 1198"/>
                <a:gd name="connsiteX1" fmla="*/ 155850 w 155850"/>
                <a:gd name="connsiteY1" fmla="*/ 0 h 11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5850" h="1198">
                  <a:moveTo>
                    <a:pt x="0" y="0"/>
                  </a:moveTo>
                  <a:lnTo>
                    <a:pt x="15585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2" name="Forma livre: Forma 171">
              <a:extLst>
                <a:ext uri="{FF2B5EF4-FFF2-40B4-BE49-F238E27FC236}">
                  <a16:creationId xmlns:a16="http://schemas.microsoft.com/office/drawing/2014/main" id="{A28D33C2-4B85-DA7D-2EC1-742142485C7F}"/>
                </a:ext>
              </a:extLst>
            </p:cNvPr>
            <p:cNvSpPr/>
            <p:nvPr/>
          </p:nvSpPr>
          <p:spPr>
            <a:xfrm>
              <a:off x="3917762" y="1638001"/>
              <a:ext cx="1198" cy="163902"/>
            </a:xfrm>
            <a:custGeom>
              <a:avLst/>
              <a:gdLst>
                <a:gd name="connsiteX0" fmla="*/ 0 w 1198"/>
                <a:gd name="connsiteY0" fmla="*/ 0 h 163902"/>
                <a:gd name="connsiteX1" fmla="*/ 0 w 1198"/>
                <a:gd name="connsiteY1" fmla="*/ 163902 h 1639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98" h="163902">
                  <a:moveTo>
                    <a:pt x="0" y="0"/>
                  </a:moveTo>
                  <a:lnTo>
                    <a:pt x="0" y="163902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3" name="Forma livre: Forma 172">
              <a:extLst>
                <a:ext uri="{FF2B5EF4-FFF2-40B4-BE49-F238E27FC236}">
                  <a16:creationId xmlns:a16="http://schemas.microsoft.com/office/drawing/2014/main" id="{96E28B94-B572-697A-6A8A-AB129E8FC38B}"/>
                </a:ext>
              </a:extLst>
            </p:cNvPr>
            <p:cNvSpPr/>
            <p:nvPr/>
          </p:nvSpPr>
          <p:spPr>
            <a:xfrm>
              <a:off x="3977181" y="1637833"/>
              <a:ext cx="1198" cy="163866"/>
            </a:xfrm>
            <a:custGeom>
              <a:avLst/>
              <a:gdLst>
                <a:gd name="connsiteX0" fmla="*/ 0 w 1198"/>
                <a:gd name="connsiteY0" fmla="*/ 0 h 163866"/>
                <a:gd name="connsiteX1" fmla="*/ 0 w 1198"/>
                <a:gd name="connsiteY1" fmla="*/ 163866 h 1638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98" h="163866">
                  <a:moveTo>
                    <a:pt x="0" y="0"/>
                  </a:moveTo>
                  <a:lnTo>
                    <a:pt x="0" y="163866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4" name="Forma livre: Forma 173">
              <a:extLst>
                <a:ext uri="{FF2B5EF4-FFF2-40B4-BE49-F238E27FC236}">
                  <a16:creationId xmlns:a16="http://schemas.microsoft.com/office/drawing/2014/main" id="{7B0B4D29-6857-D660-0CC1-F40C58704EC1}"/>
                </a:ext>
              </a:extLst>
            </p:cNvPr>
            <p:cNvSpPr/>
            <p:nvPr/>
          </p:nvSpPr>
          <p:spPr>
            <a:xfrm>
              <a:off x="3969033" y="1582416"/>
              <a:ext cx="1198" cy="29655"/>
            </a:xfrm>
            <a:custGeom>
              <a:avLst/>
              <a:gdLst>
                <a:gd name="connsiteX0" fmla="*/ 0 w 1198"/>
                <a:gd name="connsiteY0" fmla="*/ 0 h 29655"/>
                <a:gd name="connsiteX1" fmla="*/ 0 w 1198"/>
                <a:gd name="connsiteY1" fmla="*/ 29655 h 296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98" h="29655">
                  <a:moveTo>
                    <a:pt x="0" y="0"/>
                  </a:moveTo>
                  <a:lnTo>
                    <a:pt x="0" y="29655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5" name="Forma livre: Forma 174">
              <a:extLst>
                <a:ext uri="{FF2B5EF4-FFF2-40B4-BE49-F238E27FC236}">
                  <a16:creationId xmlns:a16="http://schemas.microsoft.com/office/drawing/2014/main" id="{71E1EB0E-689C-F812-9148-D5404D94E6C9}"/>
                </a:ext>
              </a:extLst>
            </p:cNvPr>
            <p:cNvSpPr/>
            <p:nvPr/>
          </p:nvSpPr>
          <p:spPr>
            <a:xfrm>
              <a:off x="4002091" y="1582416"/>
              <a:ext cx="1198" cy="29655"/>
            </a:xfrm>
            <a:custGeom>
              <a:avLst/>
              <a:gdLst>
                <a:gd name="connsiteX0" fmla="*/ 0 w 1198"/>
                <a:gd name="connsiteY0" fmla="*/ 0 h 29655"/>
                <a:gd name="connsiteX1" fmla="*/ 0 w 1198"/>
                <a:gd name="connsiteY1" fmla="*/ 29655 h 296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98" h="29655">
                  <a:moveTo>
                    <a:pt x="0" y="0"/>
                  </a:moveTo>
                  <a:lnTo>
                    <a:pt x="0" y="29655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6" name="Forma livre: Forma 175">
              <a:extLst>
                <a:ext uri="{FF2B5EF4-FFF2-40B4-BE49-F238E27FC236}">
                  <a16:creationId xmlns:a16="http://schemas.microsoft.com/office/drawing/2014/main" id="{73A37511-039A-07E1-6E7F-9FAF33DFF2FE}"/>
                </a:ext>
              </a:extLst>
            </p:cNvPr>
            <p:cNvSpPr/>
            <p:nvPr/>
          </p:nvSpPr>
          <p:spPr>
            <a:xfrm>
              <a:off x="3880079" y="1692255"/>
              <a:ext cx="155850" cy="1198"/>
            </a:xfrm>
            <a:custGeom>
              <a:avLst/>
              <a:gdLst>
                <a:gd name="connsiteX0" fmla="*/ 0 w 155850"/>
                <a:gd name="connsiteY0" fmla="*/ 0 h 1198"/>
                <a:gd name="connsiteX1" fmla="*/ 155850 w 155850"/>
                <a:gd name="connsiteY1" fmla="*/ 0 h 11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5850" h="1198">
                  <a:moveTo>
                    <a:pt x="0" y="0"/>
                  </a:moveTo>
                  <a:lnTo>
                    <a:pt x="15585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7" name="Forma livre: Forma 176">
              <a:extLst>
                <a:ext uri="{FF2B5EF4-FFF2-40B4-BE49-F238E27FC236}">
                  <a16:creationId xmlns:a16="http://schemas.microsoft.com/office/drawing/2014/main" id="{3EEA1E4D-8DCC-4C80-261F-1BDE425595B9}"/>
                </a:ext>
              </a:extLst>
            </p:cNvPr>
            <p:cNvSpPr/>
            <p:nvPr/>
          </p:nvSpPr>
          <p:spPr>
            <a:xfrm>
              <a:off x="3880079" y="1747372"/>
              <a:ext cx="95999" cy="1198"/>
            </a:xfrm>
            <a:custGeom>
              <a:avLst/>
              <a:gdLst>
                <a:gd name="connsiteX0" fmla="*/ 0 w 95999"/>
                <a:gd name="connsiteY0" fmla="*/ 0 h 1198"/>
                <a:gd name="connsiteX1" fmla="*/ 96000 w 95999"/>
                <a:gd name="connsiteY1" fmla="*/ 0 h 11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999" h="1198">
                  <a:moveTo>
                    <a:pt x="0" y="0"/>
                  </a:moveTo>
                  <a:lnTo>
                    <a:pt x="9600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78" name="Gráfico 4">
            <a:extLst>
              <a:ext uri="{FF2B5EF4-FFF2-40B4-BE49-F238E27FC236}">
                <a16:creationId xmlns:a16="http://schemas.microsoft.com/office/drawing/2014/main" id="{263BC19A-1AB4-79CE-0768-5503F6104CC8}"/>
              </a:ext>
            </a:extLst>
          </p:cNvPr>
          <p:cNvGrpSpPr/>
          <p:nvPr/>
        </p:nvGrpSpPr>
        <p:grpSpPr>
          <a:xfrm>
            <a:off x="3840190" y="2617147"/>
            <a:ext cx="214250" cy="261903"/>
            <a:chOff x="3840190" y="2617147"/>
            <a:chExt cx="214250" cy="261903"/>
          </a:xfrm>
          <a:noFill/>
        </p:grpSpPr>
        <p:sp>
          <p:nvSpPr>
            <p:cNvPr id="179" name="Forma livre: Forma 178">
              <a:extLst>
                <a:ext uri="{FF2B5EF4-FFF2-40B4-BE49-F238E27FC236}">
                  <a16:creationId xmlns:a16="http://schemas.microsoft.com/office/drawing/2014/main" id="{8FE9F909-070B-B19A-E05B-125C6AD9D5F7}"/>
                </a:ext>
              </a:extLst>
            </p:cNvPr>
            <p:cNvSpPr/>
            <p:nvPr/>
          </p:nvSpPr>
          <p:spPr>
            <a:xfrm>
              <a:off x="3907302" y="2617147"/>
              <a:ext cx="80015" cy="30650"/>
            </a:xfrm>
            <a:custGeom>
              <a:avLst/>
              <a:gdLst>
                <a:gd name="connsiteX0" fmla="*/ 0 w 80015"/>
                <a:gd name="connsiteY0" fmla="*/ 30650 h 30650"/>
                <a:gd name="connsiteX1" fmla="*/ 0 w 80015"/>
                <a:gd name="connsiteY1" fmla="*/ 13923 h 30650"/>
                <a:gd name="connsiteX2" fmla="*/ 13935 w 80015"/>
                <a:gd name="connsiteY2" fmla="*/ 0 h 30650"/>
                <a:gd name="connsiteX3" fmla="*/ 66081 w 80015"/>
                <a:gd name="connsiteY3" fmla="*/ 0 h 30650"/>
                <a:gd name="connsiteX4" fmla="*/ 80016 w 80015"/>
                <a:gd name="connsiteY4" fmla="*/ 13923 h 30650"/>
                <a:gd name="connsiteX5" fmla="*/ 80016 w 80015"/>
                <a:gd name="connsiteY5" fmla="*/ 30650 h 306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80015" h="30650">
                  <a:moveTo>
                    <a:pt x="0" y="30650"/>
                  </a:moveTo>
                  <a:lnTo>
                    <a:pt x="0" y="13923"/>
                  </a:lnTo>
                  <a:cubicBezTo>
                    <a:pt x="0" y="6267"/>
                    <a:pt x="6267" y="0"/>
                    <a:pt x="13935" y="0"/>
                  </a:cubicBezTo>
                  <a:lnTo>
                    <a:pt x="66081" y="0"/>
                  </a:lnTo>
                  <a:cubicBezTo>
                    <a:pt x="73749" y="0"/>
                    <a:pt x="80016" y="6267"/>
                    <a:pt x="80016" y="13923"/>
                  </a:cubicBezTo>
                  <a:lnTo>
                    <a:pt x="80016" y="3065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0" name="Forma livre: Forma 179">
              <a:extLst>
                <a:ext uri="{FF2B5EF4-FFF2-40B4-BE49-F238E27FC236}">
                  <a16:creationId xmlns:a16="http://schemas.microsoft.com/office/drawing/2014/main" id="{0FDE89B4-FCE5-4078-3A71-E8B2D9061998}"/>
                </a:ext>
              </a:extLst>
            </p:cNvPr>
            <p:cNvSpPr/>
            <p:nvPr/>
          </p:nvSpPr>
          <p:spPr>
            <a:xfrm>
              <a:off x="3903779" y="2708486"/>
              <a:ext cx="4720" cy="142562"/>
            </a:xfrm>
            <a:custGeom>
              <a:avLst/>
              <a:gdLst>
                <a:gd name="connsiteX0" fmla="*/ 4721 w 4720"/>
                <a:gd name="connsiteY0" fmla="*/ 142562 h 142562"/>
                <a:gd name="connsiteX1" fmla="*/ 0 w 4720"/>
                <a:gd name="connsiteY1" fmla="*/ 0 h 1425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720" h="142562">
                  <a:moveTo>
                    <a:pt x="4721" y="142562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1" name="Forma livre: Forma 180">
              <a:extLst>
                <a:ext uri="{FF2B5EF4-FFF2-40B4-BE49-F238E27FC236}">
                  <a16:creationId xmlns:a16="http://schemas.microsoft.com/office/drawing/2014/main" id="{7F99E5AF-1D9A-B350-AA94-65E04CF63077}"/>
                </a:ext>
              </a:extLst>
            </p:cNvPr>
            <p:cNvSpPr/>
            <p:nvPr/>
          </p:nvSpPr>
          <p:spPr>
            <a:xfrm>
              <a:off x="3857085" y="2680712"/>
              <a:ext cx="180245" cy="198338"/>
            </a:xfrm>
            <a:custGeom>
              <a:avLst/>
              <a:gdLst>
                <a:gd name="connsiteX0" fmla="*/ 180245 w 180245"/>
                <a:gd name="connsiteY0" fmla="*/ 0 h 198338"/>
                <a:gd name="connsiteX1" fmla="*/ 173212 w 180245"/>
                <a:gd name="connsiteY1" fmla="*/ 179694 h 198338"/>
                <a:gd name="connsiteX2" fmla="*/ 153921 w 180245"/>
                <a:gd name="connsiteY2" fmla="*/ 198338 h 198338"/>
                <a:gd name="connsiteX3" fmla="*/ 29667 w 180245"/>
                <a:gd name="connsiteY3" fmla="*/ 198338 h 198338"/>
                <a:gd name="connsiteX4" fmla="*/ 9981 w 180245"/>
                <a:gd name="connsiteY4" fmla="*/ 179706 h 198338"/>
                <a:gd name="connsiteX5" fmla="*/ 0 w 180245"/>
                <a:gd name="connsiteY5" fmla="*/ 19914 h 1983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0245" h="198338">
                  <a:moveTo>
                    <a:pt x="180245" y="0"/>
                  </a:moveTo>
                  <a:lnTo>
                    <a:pt x="173212" y="179694"/>
                  </a:lnTo>
                  <a:cubicBezTo>
                    <a:pt x="172829" y="189903"/>
                    <a:pt x="164130" y="198338"/>
                    <a:pt x="153921" y="198338"/>
                  </a:cubicBezTo>
                  <a:lnTo>
                    <a:pt x="29667" y="198338"/>
                  </a:lnTo>
                  <a:cubicBezTo>
                    <a:pt x="19447" y="198338"/>
                    <a:pt x="10592" y="189903"/>
                    <a:pt x="9981" y="179706"/>
                  </a:cubicBezTo>
                  <a:lnTo>
                    <a:pt x="0" y="19914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2" name="Forma livre: Forma 181">
              <a:extLst>
                <a:ext uri="{FF2B5EF4-FFF2-40B4-BE49-F238E27FC236}">
                  <a16:creationId xmlns:a16="http://schemas.microsoft.com/office/drawing/2014/main" id="{313C05D2-E667-1BFE-5215-187DF864FA04}"/>
                </a:ext>
              </a:extLst>
            </p:cNvPr>
            <p:cNvSpPr/>
            <p:nvPr/>
          </p:nvSpPr>
          <p:spPr>
            <a:xfrm>
              <a:off x="3840190" y="2648444"/>
              <a:ext cx="214250" cy="31979"/>
            </a:xfrm>
            <a:custGeom>
              <a:avLst/>
              <a:gdLst>
                <a:gd name="connsiteX0" fmla="*/ 62906 w 214250"/>
                <a:gd name="connsiteY0" fmla="*/ 31980 h 31979"/>
                <a:gd name="connsiteX1" fmla="*/ 214250 w 214250"/>
                <a:gd name="connsiteY1" fmla="*/ 31980 h 31979"/>
                <a:gd name="connsiteX2" fmla="*/ 214250 w 214250"/>
                <a:gd name="connsiteY2" fmla="*/ 13456 h 31979"/>
                <a:gd name="connsiteX3" fmla="*/ 200783 w 214250"/>
                <a:gd name="connsiteY3" fmla="*/ 0 h 31979"/>
                <a:gd name="connsiteX4" fmla="*/ 13468 w 214250"/>
                <a:gd name="connsiteY4" fmla="*/ 0 h 31979"/>
                <a:gd name="connsiteX5" fmla="*/ 0 w 214250"/>
                <a:gd name="connsiteY5" fmla="*/ 13456 h 31979"/>
                <a:gd name="connsiteX6" fmla="*/ 0 w 214250"/>
                <a:gd name="connsiteY6" fmla="*/ 31980 h 31979"/>
                <a:gd name="connsiteX7" fmla="*/ 36917 w 214250"/>
                <a:gd name="connsiteY7" fmla="*/ 31980 h 319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14250" h="31979">
                  <a:moveTo>
                    <a:pt x="62906" y="31980"/>
                  </a:moveTo>
                  <a:lnTo>
                    <a:pt x="214250" y="31980"/>
                  </a:lnTo>
                  <a:lnTo>
                    <a:pt x="214250" y="13456"/>
                  </a:lnTo>
                  <a:cubicBezTo>
                    <a:pt x="214250" y="6063"/>
                    <a:pt x="208175" y="0"/>
                    <a:pt x="200783" y="0"/>
                  </a:cubicBezTo>
                  <a:lnTo>
                    <a:pt x="13468" y="0"/>
                  </a:lnTo>
                  <a:cubicBezTo>
                    <a:pt x="6063" y="0"/>
                    <a:pt x="0" y="6063"/>
                    <a:pt x="0" y="13456"/>
                  </a:cubicBezTo>
                  <a:lnTo>
                    <a:pt x="0" y="31980"/>
                  </a:lnTo>
                  <a:lnTo>
                    <a:pt x="36917" y="3198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3" name="Forma livre: Forma 182">
              <a:extLst>
                <a:ext uri="{FF2B5EF4-FFF2-40B4-BE49-F238E27FC236}">
                  <a16:creationId xmlns:a16="http://schemas.microsoft.com/office/drawing/2014/main" id="{E6E53C8B-14AF-FA94-9CFC-4F49EB6D1CD8}"/>
                </a:ext>
              </a:extLst>
            </p:cNvPr>
            <p:cNvSpPr/>
            <p:nvPr/>
          </p:nvSpPr>
          <p:spPr>
            <a:xfrm>
              <a:off x="3948017" y="2708486"/>
              <a:ext cx="1198" cy="142562"/>
            </a:xfrm>
            <a:custGeom>
              <a:avLst/>
              <a:gdLst>
                <a:gd name="connsiteX0" fmla="*/ 0 w 1198"/>
                <a:gd name="connsiteY0" fmla="*/ 142562 h 142562"/>
                <a:gd name="connsiteX1" fmla="*/ 0 w 1198"/>
                <a:gd name="connsiteY1" fmla="*/ 0 h 1425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98" h="142562">
                  <a:moveTo>
                    <a:pt x="0" y="142562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4" name="Forma livre: Forma 183">
              <a:extLst>
                <a:ext uri="{FF2B5EF4-FFF2-40B4-BE49-F238E27FC236}">
                  <a16:creationId xmlns:a16="http://schemas.microsoft.com/office/drawing/2014/main" id="{C50C843C-546C-DA13-5F20-23B6E1E6BEA6}"/>
                </a:ext>
              </a:extLst>
            </p:cNvPr>
            <p:cNvSpPr/>
            <p:nvPr/>
          </p:nvSpPr>
          <p:spPr>
            <a:xfrm>
              <a:off x="3987545" y="2708486"/>
              <a:ext cx="4732" cy="142562"/>
            </a:xfrm>
            <a:custGeom>
              <a:avLst/>
              <a:gdLst>
                <a:gd name="connsiteX0" fmla="*/ 0 w 4732"/>
                <a:gd name="connsiteY0" fmla="*/ 142562 h 142562"/>
                <a:gd name="connsiteX1" fmla="*/ 4733 w 4732"/>
                <a:gd name="connsiteY1" fmla="*/ 0 h 1425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732" h="142562">
                  <a:moveTo>
                    <a:pt x="0" y="142562"/>
                  </a:moveTo>
                  <a:lnTo>
                    <a:pt x="4733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85" name="Gráfico 4">
            <a:extLst>
              <a:ext uri="{FF2B5EF4-FFF2-40B4-BE49-F238E27FC236}">
                <a16:creationId xmlns:a16="http://schemas.microsoft.com/office/drawing/2014/main" id="{079D31A7-CA7C-28F5-E845-9ECF0C763D8D}"/>
              </a:ext>
            </a:extLst>
          </p:cNvPr>
          <p:cNvGrpSpPr/>
          <p:nvPr/>
        </p:nvGrpSpPr>
        <p:grpSpPr>
          <a:xfrm>
            <a:off x="3783563" y="987054"/>
            <a:ext cx="327504" cy="315546"/>
            <a:chOff x="3783563" y="987054"/>
            <a:chExt cx="327504" cy="315546"/>
          </a:xfrm>
          <a:noFill/>
        </p:grpSpPr>
        <p:sp>
          <p:nvSpPr>
            <p:cNvPr id="186" name="Forma livre: Forma 185">
              <a:extLst>
                <a:ext uri="{FF2B5EF4-FFF2-40B4-BE49-F238E27FC236}">
                  <a16:creationId xmlns:a16="http://schemas.microsoft.com/office/drawing/2014/main" id="{0543B1BC-B4C5-0BAC-CCB6-FEDF7BCA8B9B}"/>
                </a:ext>
              </a:extLst>
            </p:cNvPr>
            <p:cNvSpPr/>
            <p:nvPr/>
          </p:nvSpPr>
          <p:spPr>
            <a:xfrm>
              <a:off x="3942397" y="987054"/>
              <a:ext cx="168670" cy="155874"/>
            </a:xfrm>
            <a:custGeom>
              <a:avLst/>
              <a:gdLst>
                <a:gd name="connsiteX0" fmla="*/ 91758 w 168670"/>
                <a:gd name="connsiteY0" fmla="*/ 118562 h 155874"/>
                <a:gd name="connsiteX1" fmla="*/ 135265 w 168670"/>
                <a:gd name="connsiteY1" fmla="*/ 118562 h 155874"/>
                <a:gd name="connsiteX2" fmla="*/ 168671 w 168670"/>
                <a:gd name="connsiteY2" fmla="*/ 85156 h 155874"/>
                <a:gd name="connsiteX3" fmla="*/ 168671 w 168670"/>
                <a:gd name="connsiteY3" fmla="*/ 33406 h 155874"/>
                <a:gd name="connsiteX4" fmla="*/ 135265 w 168670"/>
                <a:gd name="connsiteY4" fmla="*/ 0 h 155874"/>
                <a:gd name="connsiteX5" fmla="*/ 33394 w 168670"/>
                <a:gd name="connsiteY5" fmla="*/ 0 h 155874"/>
                <a:gd name="connsiteX6" fmla="*/ 0 w 168670"/>
                <a:gd name="connsiteY6" fmla="*/ 33406 h 155874"/>
                <a:gd name="connsiteX7" fmla="*/ 0 w 168670"/>
                <a:gd name="connsiteY7" fmla="*/ 85156 h 155874"/>
                <a:gd name="connsiteX8" fmla="*/ 33394 w 168670"/>
                <a:gd name="connsiteY8" fmla="*/ 118562 h 155874"/>
                <a:gd name="connsiteX9" fmla="*/ 62103 w 168670"/>
                <a:gd name="connsiteY9" fmla="*/ 118562 h 155874"/>
                <a:gd name="connsiteX10" fmla="*/ 20897 w 168670"/>
                <a:gd name="connsiteY10" fmla="*/ 155874 h 1558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68670" h="155874">
                  <a:moveTo>
                    <a:pt x="91758" y="118562"/>
                  </a:moveTo>
                  <a:lnTo>
                    <a:pt x="135265" y="118562"/>
                  </a:lnTo>
                  <a:cubicBezTo>
                    <a:pt x="153633" y="118562"/>
                    <a:pt x="168671" y="103537"/>
                    <a:pt x="168671" y="85156"/>
                  </a:cubicBezTo>
                  <a:lnTo>
                    <a:pt x="168671" y="33406"/>
                  </a:lnTo>
                  <a:cubicBezTo>
                    <a:pt x="168671" y="15037"/>
                    <a:pt x="153633" y="0"/>
                    <a:pt x="135265" y="0"/>
                  </a:cubicBezTo>
                  <a:lnTo>
                    <a:pt x="33394" y="0"/>
                  </a:lnTo>
                  <a:cubicBezTo>
                    <a:pt x="15025" y="0"/>
                    <a:pt x="0" y="15037"/>
                    <a:pt x="0" y="33406"/>
                  </a:cubicBezTo>
                  <a:lnTo>
                    <a:pt x="0" y="85156"/>
                  </a:lnTo>
                  <a:cubicBezTo>
                    <a:pt x="0" y="103525"/>
                    <a:pt x="15025" y="118562"/>
                    <a:pt x="33394" y="118562"/>
                  </a:cubicBezTo>
                  <a:lnTo>
                    <a:pt x="62103" y="118562"/>
                  </a:lnTo>
                  <a:lnTo>
                    <a:pt x="20897" y="155874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7" name="Forma livre: Forma 186">
              <a:extLst>
                <a:ext uri="{FF2B5EF4-FFF2-40B4-BE49-F238E27FC236}">
                  <a16:creationId xmlns:a16="http://schemas.microsoft.com/office/drawing/2014/main" id="{9591D020-C796-0C52-3F39-96A84D597215}"/>
                </a:ext>
              </a:extLst>
            </p:cNvPr>
            <p:cNvSpPr/>
            <p:nvPr/>
          </p:nvSpPr>
          <p:spPr>
            <a:xfrm>
              <a:off x="3870469" y="1216114"/>
              <a:ext cx="1198" cy="86486"/>
            </a:xfrm>
            <a:custGeom>
              <a:avLst/>
              <a:gdLst>
                <a:gd name="connsiteX0" fmla="*/ 0 w 1198"/>
                <a:gd name="connsiteY0" fmla="*/ 0 h 86486"/>
                <a:gd name="connsiteX1" fmla="*/ 0 w 1198"/>
                <a:gd name="connsiteY1" fmla="*/ 86486 h 864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98" h="86486">
                  <a:moveTo>
                    <a:pt x="0" y="0"/>
                  </a:moveTo>
                  <a:lnTo>
                    <a:pt x="0" y="86486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88" name="Gráfico 4">
              <a:extLst>
                <a:ext uri="{FF2B5EF4-FFF2-40B4-BE49-F238E27FC236}">
                  <a16:creationId xmlns:a16="http://schemas.microsoft.com/office/drawing/2014/main" id="{8165278D-3BFA-E92C-D6E8-F0C416FAAB9A}"/>
                </a:ext>
              </a:extLst>
            </p:cNvPr>
            <p:cNvGrpSpPr/>
            <p:nvPr/>
          </p:nvGrpSpPr>
          <p:grpSpPr>
            <a:xfrm>
              <a:off x="3783563" y="1209308"/>
              <a:ext cx="173811" cy="93291"/>
              <a:chOff x="3783563" y="1209308"/>
              <a:chExt cx="173811" cy="93291"/>
            </a:xfrm>
            <a:noFill/>
          </p:grpSpPr>
          <p:sp>
            <p:nvSpPr>
              <p:cNvPr id="189" name="Forma livre: Forma 188">
                <a:extLst>
                  <a:ext uri="{FF2B5EF4-FFF2-40B4-BE49-F238E27FC236}">
                    <a16:creationId xmlns:a16="http://schemas.microsoft.com/office/drawing/2014/main" id="{AA18E105-ACC4-6BB3-EF60-178411224242}"/>
                  </a:ext>
                </a:extLst>
              </p:cNvPr>
              <p:cNvSpPr/>
              <p:nvPr/>
            </p:nvSpPr>
            <p:spPr>
              <a:xfrm>
                <a:off x="3783563" y="1209308"/>
                <a:ext cx="56638" cy="93291"/>
              </a:xfrm>
              <a:custGeom>
                <a:avLst/>
                <a:gdLst>
                  <a:gd name="connsiteX0" fmla="*/ 56639 w 56638"/>
                  <a:gd name="connsiteY0" fmla="*/ 93292 h 93291"/>
                  <a:gd name="connsiteX1" fmla="*/ 48395 w 56638"/>
                  <a:gd name="connsiteY1" fmla="*/ 0 h 93291"/>
                  <a:gd name="connsiteX2" fmla="*/ 32136 w 56638"/>
                  <a:gd name="connsiteY2" fmla="*/ 4937 h 93291"/>
                  <a:gd name="connsiteX3" fmla="*/ 0 w 56638"/>
                  <a:gd name="connsiteY3" fmla="*/ 39481 h 93291"/>
                  <a:gd name="connsiteX4" fmla="*/ 0 w 56638"/>
                  <a:gd name="connsiteY4" fmla="*/ 93292 h 932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6638" h="93291">
                    <a:moveTo>
                      <a:pt x="56639" y="93292"/>
                    </a:moveTo>
                    <a:lnTo>
                      <a:pt x="48395" y="0"/>
                    </a:lnTo>
                    <a:lnTo>
                      <a:pt x="32136" y="4937"/>
                    </a:lnTo>
                    <a:cubicBezTo>
                      <a:pt x="32136" y="4937"/>
                      <a:pt x="0" y="12977"/>
                      <a:pt x="0" y="39481"/>
                    </a:cubicBezTo>
                    <a:lnTo>
                      <a:pt x="0" y="93292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90" name="Forma livre: Forma 189">
                <a:extLst>
                  <a:ext uri="{FF2B5EF4-FFF2-40B4-BE49-F238E27FC236}">
                    <a16:creationId xmlns:a16="http://schemas.microsoft.com/office/drawing/2014/main" id="{D3F492B7-B6F4-0DD2-8319-E3F3803FDEED}"/>
                  </a:ext>
                </a:extLst>
              </p:cNvPr>
              <p:cNvSpPr/>
              <p:nvPr/>
            </p:nvSpPr>
            <p:spPr>
              <a:xfrm>
                <a:off x="3900724" y="1209308"/>
                <a:ext cx="56650" cy="93291"/>
              </a:xfrm>
              <a:custGeom>
                <a:avLst/>
                <a:gdLst>
                  <a:gd name="connsiteX0" fmla="*/ 0 w 56650"/>
                  <a:gd name="connsiteY0" fmla="*/ 93292 h 93291"/>
                  <a:gd name="connsiteX1" fmla="*/ 8244 w 56650"/>
                  <a:gd name="connsiteY1" fmla="*/ 0 h 93291"/>
                  <a:gd name="connsiteX2" fmla="*/ 24503 w 56650"/>
                  <a:gd name="connsiteY2" fmla="*/ 4937 h 93291"/>
                  <a:gd name="connsiteX3" fmla="*/ 56651 w 56650"/>
                  <a:gd name="connsiteY3" fmla="*/ 39481 h 93291"/>
                  <a:gd name="connsiteX4" fmla="*/ 56651 w 56650"/>
                  <a:gd name="connsiteY4" fmla="*/ 93292 h 932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6650" h="93291">
                    <a:moveTo>
                      <a:pt x="0" y="93292"/>
                    </a:moveTo>
                    <a:lnTo>
                      <a:pt x="8244" y="0"/>
                    </a:lnTo>
                    <a:lnTo>
                      <a:pt x="24503" y="4937"/>
                    </a:lnTo>
                    <a:cubicBezTo>
                      <a:pt x="24503" y="4937"/>
                      <a:pt x="56651" y="12977"/>
                      <a:pt x="56651" y="39481"/>
                    </a:cubicBezTo>
                    <a:lnTo>
                      <a:pt x="56651" y="93292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91" name="Gráfico 4">
              <a:extLst>
                <a:ext uri="{FF2B5EF4-FFF2-40B4-BE49-F238E27FC236}">
                  <a16:creationId xmlns:a16="http://schemas.microsoft.com/office/drawing/2014/main" id="{52E0231C-6709-F4B1-76DE-5C3854A70A32}"/>
                </a:ext>
              </a:extLst>
            </p:cNvPr>
            <p:cNvGrpSpPr/>
            <p:nvPr/>
          </p:nvGrpSpPr>
          <p:grpSpPr>
            <a:xfrm>
              <a:off x="3825970" y="1072689"/>
              <a:ext cx="88886" cy="118334"/>
              <a:chOff x="3825970" y="1072689"/>
              <a:chExt cx="88886" cy="118334"/>
            </a:xfrm>
            <a:noFill/>
          </p:grpSpPr>
          <p:sp>
            <p:nvSpPr>
              <p:cNvPr id="192" name="Forma livre: Forma 191">
                <a:extLst>
                  <a:ext uri="{FF2B5EF4-FFF2-40B4-BE49-F238E27FC236}">
                    <a16:creationId xmlns:a16="http://schemas.microsoft.com/office/drawing/2014/main" id="{47D95C38-207A-8A8B-CC7B-FD1EF25B1CB2}"/>
                  </a:ext>
                </a:extLst>
              </p:cNvPr>
              <p:cNvSpPr/>
              <p:nvPr/>
            </p:nvSpPr>
            <p:spPr>
              <a:xfrm>
                <a:off x="3825970" y="1072689"/>
                <a:ext cx="88886" cy="118334"/>
              </a:xfrm>
              <a:custGeom>
                <a:avLst/>
                <a:gdLst>
                  <a:gd name="connsiteX0" fmla="*/ 44439 w 88886"/>
                  <a:gd name="connsiteY0" fmla="*/ 0 h 118334"/>
                  <a:gd name="connsiteX1" fmla="*/ 921 w 88886"/>
                  <a:gd name="connsiteY1" fmla="*/ 59167 h 118334"/>
                  <a:gd name="connsiteX2" fmla="*/ 44439 w 88886"/>
                  <a:gd name="connsiteY2" fmla="*/ 118334 h 118334"/>
                  <a:gd name="connsiteX3" fmla="*/ 87970 w 88886"/>
                  <a:gd name="connsiteY3" fmla="*/ 59167 h 118334"/>
                  <a:gd name="connsiteX4" fmla="*/ 44439 w 88886"/>
                  <a:gd name="connsiteY4" fmla="*/ 0 h 1183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8886" h="118334">
                    <a:moveTo>
                      <a:pt x="44439" y="0"/>
                    </a:moveTo>
                    <a:cubicBezTo>
                      <a:pt x="274" y="0"/>
                      <a:pt x="-2171" y="26708"/>
                      <a:pt x="921" y="59167"/>
                    </a:cubicBezTo>
                    <a:cubicBezTo>
                      <a:pt x="4012" y="91698"/>
                      <a:pt x="24453" y="118334"/>
                      <a:pt x="44439" y="118334"/>
                    </a:cubicBezTo>
                    <a:cubicBezTo>
                      <a:pt x="64425" y="118334"/>
                      <a:pt x="84879" y="91710"/>
                      <a:pt x="87970" y="59167"/>
                    </a:cubicBezTo>
                    <a:cubicBezTo>
                      <a:pt x="91049" y="26708"/>
                      <a:pt x="88617" y="0"/>
                      <a:pt x="44439" y="0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93" name="Forma livre: Forma 192">
                <a:extLst>
                  <a:ext uri="{FF2B5EF4-FFF2-40B4-BE49-F238E27FC236}">
                    <a16:creationId xmlns:a16="http://schemas.microsoft.com/office/drawing/2014/main" id="{8E416BE7-11F5-2E47-70E4-1395AC54F260}"/>
                  </a:ext>
                </a:extLst>
              </p:cNvPr>
              <p:cNvSpPr/>
              <p:nvPr/>
            </p:nvSpPr>
            <p:spPr>
              <a:xfrm>
                <a:off x="3850411" y="1100152"/>
                <a:ext cx="35334" cy="20824"/>
              </a:xfrm>
              <a:custGeom>
                <a:avLst/>
                <a:gdLst>
                  <a:gd name="connsiteX0" fmla="*/ 35335 w 35334"/>
                  <a:gd name="connsiteY0" fmla="*/ 0 h 20824"/>
                  <a:gd name="connsiteX1" fmla="*/ 0 w 35334"/>
                  <a:gd name="connsiteY1" fmla="*/ 20825 h 208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5334" h="20824">
                    <a:moveTo>
                      <a:pt x="35335" y="0"/>
                    </a:moveTo>
                    <a:cubicBezTo>
                      <a:pt x="35335" y="0"/>
                      <a:pt x="29751" y="18980"/>
                      <a:pt x="0" y="20825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94" name="Forma livre: Forma 193">
                <a:extLst>
                  <a:ext uri="{FF2B5EF4-FFF2-40B4-BE49-F238E27FC236}">
                    <a16:creationId xmlns:a16="http://schemas.microsoft.com/office/drawing/2014/main" id="{43FDE7C8-E9D2-F223-C73B-5306C68B6ED6}"/>
                  </a:ext>
                </a:extLst>
              </p:cNvPr>
              <p:cNvSpPr/>
              <p:nvPr/>
            </p:nvSpPr>
            <p:spPr>
              <a:xfrm>
                <a:off x="3881564" y="1108455"/>
                <a:ext cx="31920" cy="14713"/>
              </a:xfrm>
              <a:custGeom>
                <a:avLst/>
                <a:gdLst>
                  <a:gd name="connsiteX0" fmla="*/ 0 w 31920"/>
                  <a:gd name="connsiteY0" fmla="*/ 0 h 14713"/>
                  <a:gd name="connsiteX1" fmla="*/ 31920 w 31920"/>
                  <a:gd name="connsiteY1" fmla="*/ 14714 h 147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1920" h="14713">
                    <a:moveTo>
                      <a:pt x="0" y="0"/>
                    </a:moveTo>
                    <a:cubicBezTo>
                      <a:pt x="0" y="0"/>
                      <a:pt x="13252" y="9849"/>
                      <a:pt x="31920" y="14714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95" name="Gráfico 4">
            <a:extLst>
              <a:ext uri="{FF2B5EF4-FFF2-40B4-BE49-F238E27FC236}">
                <a16:creationId xmlns:a16="http://schemas.microsoft.com/office/drawing/2014/main" id="{FB7EE3A0-A95F-C9A8-FA8B-4A919E1A4B12}"/>
              </a:ext>
            </a:extLst>
          </p:cNvPr>
          <p:cNvGrpSpPr/>
          <p:nvPr/>
        </p:nvGrpSpPr>
        <p:grpSpPr>
          <a:xfrm>
            <a:off x="2577119" y="3150239"/>
            <a:ext cx="256439" cy="264527"/>
            <a:chOff x="2577119" y="3150239"/>
            <a:chExt cx="256439" cy="264527"/>
          </a:xfrm>
          <a:noFill/>
        </p:grpSpPr>
        <p:grpSp>
          <p:nvGrpSpPr>
            <p:cNvPr id="196" name="Gráfico 4">
              <a:extLst>
                <a:ext uri="{FF2B5EF4-FFF2-40B4-BE49-F238E27FC236}">
                  <a16:creationId xmlns:a16="http://schemas.microsoft.com/office/drawing/2014/main" id="{18A7CA53-9CC4-5833-2A8A-4AADCBB99B63}"/>
                </a:ext>
              </a:extLst>
            </p:cNvPr>
            <p:cNvGrpSpPr/>
            <p:nvPr/>
          </p:nvGrpSpPr>
          <p:grpSpPr>
            <a:xfrm>
              <a:off x="2629768" y="3204517"/>
              <a:ext cx="151153" cy="81178"/>
              <a:chOff x="2629768" y="3204517"/>
              <a:chExt cx="151153" cy="81178"/>
            </a:xfrm>
          </p:grpSpPr>
          <p:sp>
            <p:nvSpPr>
              <p:cNvPr id="197" name="Forma livre: Forma 196">
                <a:extLst>
                  <a:ext uri="{FF2B5EF4-FFF2-40B4-BE49-F238E27FC236}">
                    <a16:creationId xmlns:a16="http://schemas.microsoft.com/office/drawing/2014/main" id="{AA0CED6B-90BD-BA1B-31B0-1C17AA59546F}"/>
                  </a:ext>
                </a:extLst>
              </p:cNvPr>
              <p:cNvSpPr/>
              <p:nvPr/>
            </p:nvSpPr>
            <p:spPr>
              <a:xfrm>
                <a:off x="2629768" y="3204517"/>
                <a:ext cx="151153" cy="1198"/>
              </a:xfrm>
              <a:custGeom>
                <a:avLst/>
                <a:gdLst>
                  <a:gd name="connsiteX0" fmla="*/ 151153 w 151153"/>
                  <a:gd name="connsiteY0" fmla="*/ 0 h 1198"/>
                  <a:gd name="connsiteX1" fmla="*/ 0 w 151153"/>
                  <a:gd name="connsiteY1" fmla="*/ 0 h 11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51153" h="1198">
                    <a:moveTo>
                      <a:pt x="151153" y="0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98" name="Forma livre: Forma 197">
                <a:extLst>
                  <a:ext uri="{FF2B5EF4-FFF2-40B4-BE49-F238E27FC236}">
                    <a16:creationId xmlns:a16="http://schemas.microsoft.com/office/drawing/2014/main" id="{0532EA6F-C94B-5E9A-5D66-122309E61388}"/>
                  </a:ext>
                </a:extLst>
              </p:cNvPr>
              <p:cNvSpPr/>
              <p:nvPr/>
            </p:nvSpPr>
            <p:spPr>
              <a:xfrm>
                <a:off x="2629768" y="3245112"/>
                <a:ext cx="151153" cy="1198"/>
              </a:xfrm>
              <a:custGeom>
                <a:avLst/>
                <a:gdLst>
                  <a:gd name="connsiteX0" fmla="*/ 151153 w 151153"/>
                  <a:gd name="connsiteY0" fmla="*/ 0 h 1198"/>
                  <a:gd name="connsiteX1" fmla="*/ 0 w 151153"/>
                  <a:gd name="connsiteY1" fmla="*/ 0 h 11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51153" h="1198">
                    <a:moveTo>
                      <a:pt x="151153" y="0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99" name="Forma livre: Forma 198">
                <a:extLst>
                  <a:ext uri="{FF2B5EF4-FFF2-40B4-BE49-F238E27FC236}">
                    <a16:creationId xmlns:a16="http://schemas.microsoft.com/office/drawing/2014/main" id="{53F2F461-7594-79E0-F507-8064FE1E2454}"/>
                  </a:ext>
                </a:extLst>
              </p:cNvPr>
              <p:cNvSpPr/>
              <p:nvPr/>
            </p:nvSpPr>
            <p:spPr>
              <a:xfrm>
                <a:off x="2629768" y="3285696"/>
                <a:ext cx="83502" cy="1198"/>
              </a:xfrm>
              <a:custGeom>
                <a:avLst/>
                <a:gdLst>
                  <a:gd name="connsiteX0" fmla="*/ 83503 w 83502"/>
                  <a:gd name="connsiteY0" fmla="*/ 0 h 1198"/>
                  <a:gd name="connsiteX1" fmla="*/ 0 w 83502"/>
                  <a:gd name="connsiteY1" fmla="*/ 0 h 11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83502" h="1198">
                    <a:moveTo>
                      <a:pt x="83503" y="0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200" name="Forma livre: Forma 199">
              <a:extLst>
                <a:ext uri="{FF2B5EF4-FFF2-40B4-BE49-F238E27FC236}">
                  <a16:creationId xmlns:a16="http://schemas.microsoft.com/office/drawing/2014/main" id="{39A5C8EA-7CD2-1735-7AA9-650104AF4A8F}"/>
                </a:ext>
              </a:extLst>
            </p:cNvPr>
            <p:cNvSpPr/>
            <p:nvPr/>
          </p:nvSpPr>
          <p:spPr>
            <a:xfrm>
              <a:off x="2577119" y="3150239"/>
              <a:ext cx="256439" cy="264527"/>
            </a:xfrm>
            <a:custGeom>
              <a:avLst/>
              <a:gdLst>
                <a:gd name="connsiteX0" fmla="*/ 154244 w 256439"/>
                <a:gd name="connsiteY0" fmla="*/ 193821 h 264527"/>
                <a:gd name="connsiteX1" fmla="*/ 232475 w 256439"/>
                <a:gd name="connsiteY1" fmla="*/ 193821 h 264527"/>
                <a:gd name="connsiteX2" fmla="*/ 256439 w 256439"/>
                <a:gd name="connsiteY2" fmla="*/ 169857 h 264527"/>
                <a:gd name="connsiteX3" fmla="*/ 256439 w 256439"/>
                <a:gd name="connsiteY3" fmla="*/ 23964 h 264527"/>
                <a:gd name="connsiteX4" fmla="*/ 232475 w 256439"/>
                <a:gd name="connsiteY4" fmla="*/ 0 h 264527"/>
                <a:gd name="connsiteX5" fmla="*/ 23964 w 256439"/>
                <a:gd name="connsiteY5" fmla="*/ 0 h 264527"/>
                <a:gd name="connsiteX6" fmla="*/ 0 w 256439"/>
                <a:gd name="connsiteY6" fmla="*/ 23964 h 264527"/>
                <a:gd name="connsiteX7" fmla="*/ 0 w 256439"/>
                <a:gd name="connsiteY7" fmla="*/ 169857 h 264527"/>
                <a:gd name="connsiteX8" fmla="*/ 23964 w 256439"/>
                <a:gd name="connsiteY8" fmla="*/ 193821 h 264527"/>
                <a:gd name="connsiteX9" fmla="*/ 57274 w 256439"/>
                <a:gd name="connsiteY9" fmla="*/ 193821 h 264527"/>
                <a:gd name="connsiteX10" fmla="*/ 57274 w 256439"/>
                <a:gd name="connsiteY10" fmla="*/ 264527 h 264527"/>
                <a:gd name="connsiteX11" fmla="*/ 120779 w 256439"/>
                <a:gd name="connsiteY11" fmla="*/ 193821 h 2645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56439" h="264527">
                  <a:moveTo>
                    <a:pt x="154244" y="193821"/>
                  </a:moveTo>
                  <a:lnTo>
                    <a:pt x="232475" y="193821"/>
                  </a:lnTo>
                  <a:cubicBezTo>
                    <a:pt x="245655" y="193821"/>
                    <a:pt x="256439" y="183037"/>
                    <a:pt x="256439" y="169857"/>
                  </a:cubicBezTo>
                  <a:lnTo>
                    <a:pt x="256439" y="23964"/>
                  </a:lnTo>
                  <a:cubicBezTo>
                    <a:pt x="256439" y="10784"/>
                    <a:pt x="245655" y="0"/>
                    <a:pt x="232475" y="0"/>
                  </a:cubicBezTo>
                  <a:lnTo>
                    <a:pt x="23964" y="0"/>
                  </a:lnTo>
                  <a:cubicBezTo>
                    <a:pt x="10784" y="0"/>
                    <a:pt x="0" y="10784"/>
                    <a:pt x="0" y="23964"/>
                  </a:cubicBezTo>
                  <a:lnTo>
                    <a:pt x="0" y="169857"/>
                  </a:lnTo>
                  <a:cubicBezTo>
                    <a:pt x="0" y="183037"/>
                    <a:pt x="10784" y="193821"/>
                    <a:pt x="23964" y="193821"/>
                  </a:cubicBezTo>
                  <a:lnTo>
                    <a:pt x="57274" y="193821"/>
                  </a:lnTo>
                  <a:lnTo>
                    <a:pt x="57274" y="264527"/>
                  </a:lnTo>
                  <a:lnTo>
                    <a:pt x="120779" y="193821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201" name="Gráfico 4">
            <a:extLst>
              <a:ext uri="{FF2B5EF4-FFF2-40B4-BE49-F238E27FC236}">
                <a16:creationId xmlns:a16="http://schemas.microsoft.com/office/drawing/2014/main" id="{C6560889-0FAC-1C65-864B-318E94C20E00}"/>
              </a:ext>
            </a:extLst>
          </p:cNvPr>
          <p:cNvGrpSpPr/>
          <p:nvPr/>
        </p:nvGrpSpPr>
        <p:grpSpPr>
          <a:xfrm>
            <a:off x="2563208" y="1568565"/>
            <a:ext cx="284261" cy="221379"/>
            <a:chOff x="2563208" y="1568565"/>
            <a:chExt cx="284261" cy="221379"/>
          </a:xfrm>
          <a:noFill/>
        </p:grpSpPr>
        <p:sp>
          <p:nvSpPr>
            <p:cNvPr id="202" name="Forma livre: Forma 201">
              <a:extLst>
                <a:ext uri="{FF2B5EF4-FFF2-40B4-BE49-F238E27FC236}">
                  <a16:creationId xmlns:a16="http://schemas.microsoft.com/office/drawing/2014/main" id="{001B6414-D440-3948-BC39-551A152D3617}"/>
                </a:ext>
              </a:extLst>
            </p:cNvPr>
            <p:cNvSpPr/>
            <p:nvPr/>
          </p:nvSpPr>
          <p:spPr>
            <a:xfrm>
              <a:off x="2655385" y="1571333"/>
              <a:ext cx="192083" cy="215844"/>
            </a:xfrm>
            <a:custGeom>
              <a:avLst/>
              <a:gdLst>
                <a:gd name="connsiteX0" fmla="*/ 0 w 192083"/>
                <a:gd name="connsiteY0" fmla="*/ 0 h 215844"/>
                <a:gd name="connsiteX1" fmla="*/ 162644 w 192083"/>
                <a:gd name="connsiteY1" fmla="*/ 0 h 215844"/>
                <a:gd name="connsiteX2" fmla="*/ 192084 w 192083"/>
                <a:gd name="connsiteY2" fmla="*/ 29452 h 215844"/>
                <a:gd name="connsiteX3" fmla="*/ 192084 w 192083"/>
                <a:gd name="connsiteY3" fmla="*/ 186404 h 215844"/>
                <a:gd name="connsiteX4" fmla="*/ 162644 w 192083"/>
                <a:gd name="connsiteY4" fmla="*/ 215844 h 215844"/>
                <a:gd name="connsiteX5" fmla="*/ 0 w 192083"/>
                <a:gd name="connsiteY5" fmla="*/ 215844 h 2158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92083" h="215844">
                  <a:moveTo>
                    <a:pt x="0" y="0"/>
                  </a:moveTo>
                  <a:lnTo>
                    <a:pt x="162644" y="0"/>
                  </a:lnTo>
                  <a:cubicBezTo>
                    <a:pt x="178832" y="0"/>
                    <a:pt x="192084" y="13252"/>
                    <a:pt x="192084" y="29452"/>
                  </a:cubicBezTo>
                  <a:lnTo>
                    <a:pt x="192084" y="186404"/>
                  </a:lnTo>
                  <a:cubicBezTo>
                    <a:pt x="192084" y="202604"/>
                    <a:pt x="178832" y="215844"/>
                    <a:pt x="162644" y="215844"/>
                  </a:cubicBezTo>
                  <a:lnTo>
                    <a:pt x="0" y="215844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203" name="Gráfico 4">
              <a:extLst>
                <a:ext uri="{FF2B5EF4-FFF2-40B4-BE49-F238E27FC236}">
                  <a16:creationId xmlns:a16="http://schemas.microsoft.com/office/drawing/2014/main" id="{E54BAA5F-9303-8264-DC1E-9B1C4B2C5C62}"/>
                </a:ext>
              </a:extLst>
            </p:cNvPr>
            <p:cNvGrpSpPr/>
            <p:nvPr/>
          </p:nvGrpSpPr>
          <p:grpSpPr>
            <a:xfrm>
              <a:off x="2680224" y="1678032"/>
              <a:ext cx="128483" cy="73665"/>
              <a:chOff x="2680224" y="1678032"/>
              <a:chExt cx="128483" cy="73665"/>
            </a:xfrm>
          </p:grpSpPr>
          <p:grpSp>
            <p:nvGrpSpPr>
              <p:cNvPr id="204" name="Gráfico 4">
                <a:extLst>
                  <a:ext uri="{FF2B5EF4-FFF2-40B4-BE49-F238E27FC236}">
                    <a16:creationId xmlns:a16="http://schemas.microsoft.com/office/drawing/2014/main" id="{0BD42563-8316-474C-E9D2-7C21230464C0}"/>
                  </a:ext>
                </a:extLst>
              </p:cNvPr>
              <p:cNvGrpSpPr/>
              <p:nvPr/>
            </p:nvGrpSpPr>
            <p:grpSpPr>
              <a:xfrm>
                <a:off x="2680224" y="1678032"/>
                <a:ext cx="28948" cy="73665"/>
                <a:chOff x="2680224" y="1678032"/>
                <a:chExt cx="28948" cy="73665"/>
              </a:xfrm>
            </p:grpSpPr>
            <p:sp>
              <p:nvSpPr>
                <p:cNvPr id="205" name="Forma livre: Forma 204">
                  <a:extLst>
                    <a:ext uri="{FF2B5EF4-FFF2-40B4-BE49-F238E27FC236}">
                      <a16:creationId xmlns:a16="http://schemas.microsoft.com/office/drawing/2014/main" id="{BFDC8C77-4659-40F0-B977-F73EA81B0B9E}"/>
                    </a:ext>
                  </a:extLst>
                </p:cNvPr>
                <p:cNvSpPr/>
                <p:nvPr/>
              </p:nvSpPr>
              <p:spPr>
                <a:xfrm>
                  <a:off x="2680224" y="1678032"/>
                  <a:ext cx="28948" cy="1198"/>
                </a:xfrm>
                <a:custGeom>
                  <a:avLst/>
                  <a:gdLst>
                    <a:gd name="connsiteX0" fmla="*/ 28949 w 28948"/>
                    <a:gd name="connsiteY0" fmla="*/ 0 h 1198"/>
                    <a:gd name="connsiteX1" fmla="*/ 0 w 28948"/>
                    <a:gd name="connsiteY1" fmla="*/ 0 h 11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8948" h="1198">
                      <a:moveTo>
                        <a:pt x="28949" y="0"/>
                      </a:moveTo>
                      <a:lnTo>
                        <a:pt x="0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06" name="Forma livre: Forma 205">
                  <a:extLst>
                    <a:ext uri="{FF2B5EF4-FFF2-40B4-BE49-F238E27FC236}">
                      <a16:creationId xmlns:a16="http://schemas.microsoft.com/office/drawing/2014/main" id="{D52D8D82-E711-5191-C405-837F4A535AC8}"/>
                    </a:ext>
                  </a:extLst>
                </p:cNvPr>
                <p:cNvSpPr/>
                <p:nvPr/>
              </p:nvSpPr>
              <p:spPr>
                <a:xfrm>
                  <a:off x="2680224" y="1714865"/>
                  <a:ext cx="28948" cy="1198"/>
                </a:xfrm>
                <a:custGeom>
                  <a:avLst/>
                  <a:gdLst>
                    <a:gd name="connsiteX0" fmla="*/ 28949 w 28948"/>
                    <a:gd name="connsiteY0" fmla="*/ 0 h 1198"/>
                    <a:gd name="connsiteX1" fmla="*/ 0 w 28948"/>
                    <a:gd name="connsiteY1" fmla="*/ 0 h 11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8948" h="1198">
                      <a:moveTo>
                        <a:pt x="28949" y="0"/>
                      </a:moveTo>
                      <a:lnTo>
                        <a:pt x="0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07" name="Forma livre: Forma 206">
                  <a:extLst>
                    <a:ext uri="{FF2B5EF4-FFF2-40B4-BE49-F238E27FC236}">
                      <a16:creationId xmlns:a16="http://schemas.microsoft.com/office/drawing/2014/main" id="{C041973A-AC5E-F9BA-96DC-72109CE661B2}"/>
                    </a:ext>
                  </a:extLst>
                </p:cNvPr>
                <p:cNvSpPr/>
                <p:nvPr/>
              </p:nvSpPr>
              <p:spPr>
                <a:xfrm>
                  <a:off x="2680224" y="1751698"/>
                  <a:ext cx="28948" cy="1198"/>
                </a:xfrm>
                <a:custGeom>
                  <a:avLst/>
                  <a:gdLst>
                    <a:gd name="connsiteX0" fmla="*/ 28949 w 28948"/>
                    <a:gd name="connsiteY0" fmla="*/ 0 h 1198"/>
                    <a:gd name="connsiteX1" fmla="*/ 0 w 28948"/>
                    <a:gd name="connsiteY1" fmla="*/ 0 h 11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8948" h="1198">
                      <a:moveTo>
                        <a:pt x="28949" y="0"/>
                      </a:moveTo>
                      <a:lnTo>
                        <a:pt x="0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208" name="Gráfico 4">
                <a:extLst>
                  <a:ext uri="{FF2B5EF4-FFF2-40B4-BE49-F238E27FC236}">
                    <a16:creationId xmlns:a16="http://schemas.microsoft.com/office/drawing/2014/main" id="{FEFA1863-CDBC-5AED-BCA7-8469371CD57F}"/>
                  </a:ext>
                </a:extLst>
              </p:cNvPr>
              <p:cNvGrpSpPr/>
              <p:nvPr/>
            </p:nvGrpSpPr>
            <p:grpSpPr>
              <a:xfrm>
                <a:off x="2779770" y="1678032"/>
                <a:ext cx="28936" cy="73665"/>
                <a:chOff x="2779770" y="1678032"/>
                <a:chExt cx="28936" cy="73665"/>
              </a:xfrm>
            </p:grpSpPr>
            <p:sp>
              <p:nvSpPr>
                <p:cNvPr id="209" name="Forma livre: Forma 208">
                  <a:extLst>
                    <a:ext uri="{FF2B5EF4-FFF2-40B4-BE49-F238E27FC236}">
                      <a16:creationId xmlns:a16="http://schemas.microsoft.com/office/drawing/2014/main" id="{3E2C6B79-1ADD-78B9-7CF6-B3300D00A72F}"/>
                    </a:ext>
                  </a:extLst>
                </p:cNvPr>
                <p:cNvSpPr/>
                <p:nvPr/>
              </p:nvSpPr>
              <p:spPr>
                <a:xfrm>
                  <a:off x="2779770" y="1678032"/>
                  <a:ext cx="28936" cy="1198"/>
                </a:xfrm>
                <a:custGeom>
                  <a:avLst/>
                  <a:gdLst>
                    <a:gd name="connsiteX0" fmla="*/ 28937 w 28936"/>
                    <a:gd name="connsiteY0" fmla="*/ 0 h 1198"/>
                    <a:gd name="connsiteX1" fmla="*/ 0 w 28936"/>
                    <a:gd name="connsiteY1" fmla="*/ 0 h 11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8936" h="1198">
                      <a:moveTo>
                        <a:pt x="28937" y="0"/>
                      </a:moveTo>
                      <a:lnTo>
                        <a:pt x="0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10" name="Forma livre: Forma 209">
                  <a:extLst>
                    <a:ext uri="{FF2B5EF4-FFF2-40B4-BE49-F238E27FC236}">
                      <a16:creationId xmlns:a16="http://schemas.microsoft.com/office/drawing/2014/main" id="{89AC1238-50CA-AACB-1B54-A2F590215749}"/>
                    </a:ext>
                  </a:extLst>
                </p:cNvPr>
                <p:cNvSpPr/>
                <p:nvPr/>
              </p:nvSpPr>
              <p:spPr>
                <a:xfrm>
                  <a:off x="2779770" y="1714865"/>
                  <a:ext cx="28936" cy="1198"/>
                </a:xfrm>
                <a:custGeom>
                  <a:avLst/>
                  <a:gdLst>
                    <a:gd name="connsiteX0" fmla="*/ 28937 w 28936"/>
                    <a:gd name="connsiteY0" fmla="*/ 0 h 1198"/>
                    <a:gd name="connsiteX1" fmla="*/ 0 w 28936"/>
                    <a:gd name="connsiteY1" fmla="*/ 0 h 11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8936" h="1198">
                      <a:moveTo>
                        <a:pt x="28937" y="0"/>
                      </a:moveTo>
                      <a:lnTo>
                        <a:pt x="0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11" name="Forma livre: Forma 210">
                  <a:extLst>
                    <a:ext uri="{FF2B5EF4-FFF2-40B4-BE49-F238E27FC236}">
                      <a16:creationId xmlns:a16="http://schemas.microsoft.com/office/drawing/2014/main" id="{6DA1C7B8-096B-3477-8844-FBBBCB4CFE59}"/>
                    </a:ext>
                  </a:extLst>
                </p:cNvPr>
                <p:cNvSpPr/>
                <p:nvPr/>
              </p:nvSpPr>
              <p:spPr>
                <a:xfrm>
                  <a:off x="2779770" y="1751698"/>
                  <a:ext cx="28936" cy="1198"/>
                </a:xfrm>
                <a:custGeom>
                  <a:avLst/>
                  <a:gdLst>
                    <a:gd name="connsiteX0" fmla="*/ 28937 w 28936"/>
                    <a:gd name="connsiteY0" fmla="*/ 0 h 1198"/>
                    <a:gd name="connsiteX1" fmla="*/ 0 w 28936"/>
                    <a:gd name="connsiteY1" fmla="*/ 0 h 11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8936" h="1198">
                      <a:moveTo>
                        <a:pt x="28937" y="0"/>
                      </a:moveTo>
                      <a:lnTo>
                        <a:pt x="0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212" name="Gráfico 4">
                <a:extLst>
                  <a:ext uri="{FF2B5EF4-FFF2-40B4-BE49-F238E27FC236}">
                    <a16:creationId xmlns:a16="http://schemas.microsoft.com/office/drawing/2014/main" id="{D47B0351-24FE-C3B1-7E69-B55AF5A7C201}"/>
                  </a:ext>
                </a:extLst>
              </p:cNvPr>
              <p:cNvGrpSpPr/>
              <p:nvPr/>
            </p:nvGrpSpPr>
            <p:grpSpPr>
              <a:xfrm>
                <a:off x="2729997" y="1678032"/>
                <a:ext cx="28936" cy="73665"/>
                <a:chOff x="2729997" y="1678032"/>
                <a:chExt cx="28936" cy="73665"/>
              </a:xfrm>
            </p:grpSpPr>
            <p:sp>
              <p:nvSpPr>
                <p:cNvPr id="213" name="Forma livre: Forma 212">
                  <a:extLst>
                    <a:ext uri="{FF2B5EF4-FFF2-40B4-BE49-F238E27FC236}">
                      <a16:creationId xmlns:a16="http://schemas.microsoft.com/office/drawing/2014/main" id="{8000B8E5-2A80-1F4F-6FBA-F780CB283313}"/>
                    </a:ext>
                  </a:extLst>
                </p:cNvPr>
                <p:cNvSpPr/>
                <p:nvPr/>
              </p:nvSpPr>
              <p:spPr>
                <a:xfrm>
                  <a:off x="2729997" y="1678032"/>
                  <a:ext cx="28936" cy="1198"/>
                </a:xfrm>
                <a:custGeom>
                  <a:avLst/>
                  <a:gdLst>
                    <a:gd name="connsiteX0" fmla="*/ 28937 w 28936"/>
                    <a:gd name="connsiteY0" fmla="*/ 0 h 1198"/>
                    <a:gd name="connsiteX1" fmla="*/ 0 w 28936"/>
                    <a:gd name="connsiteY1" fmla="*/ 0 h 11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8936" h="1198">
                      <a:moveTo>
                        <a:pt x="28937" y="0"/>
                      </a:moveTo>
                      <a:lnTo>
                        <a:pt x="0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14" name="Forma livre: Forma 213">
                  <a:extLst>
                    <a:ext uri="{FF2B5EF4-FFF2-40B4-BE49-F238E27FC236}">
                      <a16:creationId xmlns:a16="http://schemas.microsoft.com/office/drawing/2014/main" id="{B19796D4-C1C4-3C0B-5180-21ACCDA07ECC}"/>
                    </a:ext>
                  </a:extLst>
                </p:cNvPr>
                <p:cNvSpPr/>
                <p:nvPr/>
              </p:nvSpPr>
              <p:spPr>
                <a:xfrm>
                  <a:off x="2729997" y="1714865"/>
                  <a:ext cx="28936" cy="1198"/>
                </a:xfrm>
                <a:custGeom>
                  <a:avLst/>
                  <a:gdLst>
                    <a:gd name="connsiteX0" fmla="*/ 28937 w 28936"/>
                    <a:gd name="connsiteY0" fmla="*/ 0 h 1198"/>
                    <a:gd name="connsiteX1" fmla="*/ 0 w 28936"/>
                    <a:gd name="connsiteY1" fmla="*/ 0 h 11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8936" h="1198">
                      <a:moveTo>
                        <a:pt x="28937" y="0"/>
                      </a:moveTo>
                      <a:lnTo>
                        <a:pt x="0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15" name="Forma livre: Forma 214">
                  <a:extLst>
                    <a:ext uri="{FF2B5EF4-FFF2-40B4-BE49-F238E27FC236}">
                      <a16:creationId xmlns:a16="http://schemas.microsoft.com/office/drawing/2014/main" id="{962AB59C-B68B-8EF3-27F7-A77A15B631A5}"/>
                    </a:ext>
                  </a:extLst>
                </p:cNvPr>
                <p:cNvSpPr/>
                <p:nvPr/>
              </p:nvSpPr>
              <p:spPr>
                <a:xfrm>
                  <a:off x="2729997" y="1751698"/>
                  <a:ext cx="28936" cy="1198"/>
                </a:xfrm>
                <a:custGeom>
                  <a:avLst/>
                  <a:gdLst>
                    <a:gd name="connsiteX0" fmla="*/ 28937 w 28936"/>
                    <a:gd name="connsiteY0" fmla="*/ 0 h 1198"/>
                    <a:gd name="connsiteX1" fmla="*/ 0 w 28936"/>
                    <a:gd name="connsiteY1" fmla="*/ 0 h 11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8936" h="1198">
                      <a:moveTo>
                        <a:pt x="28937" y="0"/>
                      </a:moveTo>
                      <a:lnTo>
                        <a:pt x="0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sp>
          <p:nvSpPr>
            <p:cNvPr id="216" name="Forma livre: Forma 215">
              <a:extLst>
                <a:ext uri="{FF2B5EF4-FFF2-40B4-BE49-F238E27FC236}">
                  <a16:creationId xmlns:a16="http://schemas.microsoft.com/office/drawing/2014/main" id="{022F4C13-EBA1-56C2-48BB-6119B9E5DDEB}"/>
                </a:ext>
              </a:extLst>
            </p:cNvPr>
            <p:cNvSpPr/>
            <p:nvPr/>
          </p:nvSpPr>
          <p:spPr>
            <a:xfrm>
              <a:off x="2686802" y="1606799"/>
              <a:ext cx="115314" cy="34711"/>
            </a:xfrm>
            <a:custGeom>
              <a:avLst/>
              <a:gdLst>
                <a:gd name="connsiteX0" fmla="*/ 0 w 115314"/>
                <a:gd name="connsiteY0" fmla="*/ 0 h 34711"/>
                <a:gd name="connsiteX1" fmla="*/ 115315 w 115314"/>
                <a:gd name="connsiteY1" fmla="*/ 0 h 34711"/>
                <a:gd name="connsiteX2" fmla="*/ 115315 w 115314"/>
                <a:gd name="connsiteY2" fmla="*/ 34712 h 34711"/>
                <a:gd name="connsiteX3" fmla="*/ 0 w 115314"/>
                <a:gd name="connsiteY3" fmla="*/ 34712 h 347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5314" h="34711">
                  <a:moveTo>
                    <a:pt x="0" y="0"/>
                  </a:moveTo>
                  <a:lnTo>
                    <a:pt x="115315" y="0"/>
                  </a:lnTo>
                  <a:lnTo>
                    <a:pt x="115315" y="34712"/>
                  </a:lnTo>
                  <a:lnTo>
                    <a:pt x="0" y="34712"/>
                  </a:ln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7" name="Forma livre: Forma 216">
              <a:extLst>
                <a:ext uri="{FF2B5EF4-FFF2-40B4-BE49-F238E27FC236}">
                  <a16:creationId xmlns:a16="http://schemas.microsoft.com/office/drawing/2014/main" id="{9E670E23-C117-B547-1786-53C0A23ACDA4}"/>
                </a:ext>
              </a:extLst>
            </p:cNvPr>
            <p:cNvSpPr/>
            <p:nvPr/>
          </p:nvSpPr>
          <p:spPr>
            <a:xfrm>
              <a:off x="2563208" y="1568565"/>
              <a:ext cx="78266" cy="221379"/>
            </a:xfrm>
            <a:custGeom>
              <a:avLst/>
              <a:gdLst>
                <a:gd name="connsiteX0" fmla="*/ 39133 w 78266"/>
                <a:gd name="connsiteY0" fmla="*/ 0 h 221379"/>
                <a:gd name="connsiteX1" fmla="*/ 0 w 78266"/>
                <a:gd name="connsiteY1" fmla="*/ 40068 h 221379"/>
                <a:gd name="connsiteX2" fmla="*/ 0 w 78266"/>
                <a:gd name="connsiteY2" fmla="*/ 181312 h 221379"/>
                <a:gd name="connsiteX3" fmla="*/ 39133 w 78266"/>
                <a:gd name="connsiteY3" fmla="*/ 221380 h 221379"/>
                <a:gd name="connsiteX4" fmla="*/ 78267 w 78266"/>
                <a:gd name="connsiteY4" fmla="*/ 181312 h 221379"/>
                <a:gd name="connsiteX5" fmla="*/ 78267 w 78266"/>
                <a:gd name="connsiteY5" fmla="*/ 40068 h 221379"/>
                <a:gd name="connsiteX6" fmla="*/ 39133 w 78266"/>
                <a:gd name="connsiteY6" fmla="*/ 0 h 2213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8266" h="221379">
                  <a:moveTo>
                    <a:pt x="39133" y="0"/>
                  </a:moveTo>
                  <a:cubicBezTo>
                    <a:pt x="17745" y="0"/>
                    <a:pt x="0" y="18033"/>
                    <a:pt x="0" y="40068"/>
                  </a:cubicBezTo>
                  <a:lnTo>
                    <a:pt x="0" y="181312"/>
                  </a:lnTo>
                  <a:cubicBezTo>
                    <a:pt x="0" y="203347"/>
                    <a:pt x="17757" y="221380"/>
                    <a:pt x="39133" y="221380"/>
                  </a:cubicBezTo>
                  <a:cubicBezTo>
                    <a:pt x="60509" y="221380"/>
                    <a:pt x="78267" y="203347"/>
                    <a:pt x="78267" y="181312"/>
                  </a:cubicBezTo>
                  <a:lnTo>
                    <a:pt x="78267" y="40068"/>
                  </a:lnTo>
                  <a:cubicBezTo>
                    <a:pt x="78267" y="18033"/>
                    <a:pt x="60509" y="0"/>
                    <a:pt x="39133" y="0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218" name="Gráfico 4">
            <a:extLst>
              <a:ext uri="{FF2B5EF4-FFF2-40B4-BE49-F238E27FC236}">
                <a16:creationId xmlns:a16="http://schemas.microsoft.com/office/drawing/2014/main" id="{B90B23F1-8244-456A-BC61-D3B876E4B509}"/>
              </a:ext>
            </a:extLst>
          </p:cNvPr>
          <p:cNvGrpSpPr/>
          <p:nvPr/>
        </p:nvGrpSpPr>
        <p:grpSpPr>
          <a:xfrm>
            <a:off x="2622351" y="2064644"/>
            <a:ext cx="165974" cy="299730"/>
            <a:chOff x="2622351" y="2064644"/>
            <a:chExt cx="165974" cy="299730"/>
          </a:xfrm>
          <a:noFill/>
        </p:grpSpPr>
        <p:sp>
          <p:nvSpPr>
            <p:cNvPr id="219" name="Forma livre: Forma 218">
              <a:extLst>
                <a:ext uri="{FF2B5EF4-FFF2-40B4-BE49-F238E27FC236}">
                  <a16:creationId xmlns:a16="http://schemas.microsoft.com/office/drawing/2014/main" id="{60F6D60C-A159-07B4-6453-18774AD68440}"/>
                </a:ext>
              </a:extLst>
            </p:cNvPr>
            <p:cNvSpPr/>
            <p:nvPr/>
          </p:nvSpPr>
          <p:spPr>
            <a:xfrm>
              <a:off x="2622351" y="2064644"/>
              <a:ext cx="165974" cy="299730"/>
            </a:xfrm>
            <a:custGeom>
              <a:avLst/>
              <a:gdLst>
                <a:gd name="connsiteX0" fmla="*/ 165975 w 165974"/>
                <a:gd name="connsiteY0" fmla="*/ 286155 h 299730"/>
                <a:gd name="connsiteX1" fmla="*/ 152387 w 165974"/>
                <a:gd name="connsiteY1" fmla="*/ 299730 h 299730"/>
                <a:gd name="connsiteX2" fmla="*/ 13588 w 165974"/>
                <a:gd name="connsiteY2" fmla="*/ 299730 h 299730"/>
                <a:gd name="connsiteX3" fmla="*/ 0 w 165974"/>
                <a:gd name="connsiteY3" fmla="*/ 286155 h 299730"/>
                <a:gd name="connsiteX4" fmla="*/ 0 w 165974"/>
                <a:gd name="connsiteY4" fmla="*/ 13588 h 299730"/>
                <a:gd name="connsiteX5" fmla="*/ 13588 w 165974"/>
                <a:gd name="connsiteY5" fmla="*/ 0 h 299730"/>
                <a:gd name="connsiteX6" fmla="*/ 152387 w 165974"/>
                <a:gd name="connsiteY6" fmla="*/ 0 h 299730"/>
                <a:gd name="connsiteX7" fmla="*/ 165975 w 165974"/>
                <a:gd name="connsiteY7" fmla="*/ 13588 h 299730"/>
                <a:gd name="connsiteX8" fmla="*/ 165975 w 165974"/>
                <a:gd name="connsiteY8" fmla="*/ 286155 h 299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65974" h="299730">
                  <a:moveTo>
                    <a:pt x="165975" y="286155"/>
                  </a:moveTo>
                  <a:cubicBezTo>
                    <a:pt x="165975" y="293619"/>
                    <a:pt x="159864" y="299730"/>
                    <a:pt x="152387" y="299730"/>
                  </a:cubicBezTo>
                  <a:lnTo>
                    <a:pt x="13588" y="299730"/>
                  </a:lnTo>
                  <a:cubicBezTo>
                    <a:pt x="6111" y="299730"/>
                    <a:pt x="0" y="293619"/>
                    <a:pt x="0" y="286155"/>
                  </a:cubicBezTo>
                  <a:lnTo>
                    <a:pt x="0" y="13588"/>
                  </a:lnTo>
                  <a:cubicBezTo>
                    <a:pt x="0" y="6111"/>
                    <a:pt x="6099" y="0"/>
                    <a:pt x="13588" y="0"/>
                  </a:cubicBezTo>
                  <a:lnTo>
                    <a:pt x="152387" y="0"/>
                  </a:lnTo>
                  <a:cubicBezTo>
                    <a:pt x="159852" y="0"/>
                    <a:pt x="165975" y="6099"/>
                    <a:pt x="165975" y="13588"/>
                  </a:cubicBezTo>
                  <a:lnTo>
                    <a:pt x="165975" y="286155"/>
                  </a:ln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20" name="Forma livre: Forma 219">
              <a:extLst>
                <a:ext uri="{FF2B5EF4-FFF2-40B4-BE49-F238E27FC236}">
                  <a16:creationId xmlns:a16="http://schemas.microsoft.com/office/drawing/2014/main" id="{E2DD82DB-810E-AD60-DCF1-CF714FE70E5C}"/>
                </a:ext>
              </a:extLst>
            </p:cNvPr>
            <p:cNvSpPr/>
            <p:nvPr/>
          </p:nvSpPr>
          <p:spPr>
            <a:xfrm>
              <a:off x="2645464" y="2302871"/>
              <a:ext cx="119700" cy="1198"/>
            </a:xfrm>
            <a:custGeom>
              <a:avLst/>
              <a:gdLst>
                <a:gd name="connsiteX0" fmla="*/ 0 w 119700"/>
                <a:gd name="connsiteY0" fmla="*/ 0 h 1198"/>
                <a:gd name="connsiteX1" fmla="*/ 119700 w 119700"/>
                <a:gd name="connsiteY1" fmla="*/ 0 h 11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9700" h="1198">
                  <a:moveTo>
                    <a:pt x="0" y="0"/>
                  </a:moveTo>
                  <a:lnTo>
                    <a:pt x="11970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21" name="Forma livre: Forma 220">
              <a:extLst>
                <a:ext uri="{FF2B5EF4-FFF2-40B4-BE49-F238E27FC236}">
                  <a16:creationId xmlns:a16="http://schemas.microsoft.com/office/drawing/2014/main" id="{E5EC57C4-1FD2-2FAC-F3D9-89E87F8BDB91}"/>
                </a:ext>
              </a:extLst>
            </p:cNvPr>
            <p:cNvSpPr/>
            <p:nvPr/>
          </p:nvSpPr>
          <p:spPr>
            <a:xfrm>
              <a:off x="2694063" y="2333401"/>
              <a:ext cx="22562" cy="1198"/>
            </a:xfrm>
            <a:custGeom>
              <a:avLst/>
              <a:gdLst>
                <a:gd name="connsiteX0" fmla="*/ 0 w 22562"/>
                <a:gd name="connsiteY0" fmla="*/ 0 h 1198"/>
                <a:gd name="connsiteX1" fmla="*/ 22562 w 22562"/>
                <a:gd name="connsiteY1" fmla="*/ 0 h 11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2562" h="1198">
                  <a:moveTo>
                    <a:pt x="0" y="0"/>
                  </a:moveTo>
                  <a:lnTo>
                    <a:pt x="22562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222" name="Gráfico 4">
            <a:extLst>
              <a:ext uri="{FF2B5EF4-FFF2-40B4-BE49-F238E27FC236}">
                <a16:creationId xmlns:a16="http://schemas.microsoft.com/office/drawing/2014/main" id="{DA2860F2-2F4F-872B-1552-0EB9ABEF8767}"/>
              </a:ext>
            </a:extLst>
          </p:cNvPr>
          <p:cNvGrpSpPr/>
          <p:nvPr/>
        </p:nvGrpSpPr>
        <p:grpSpPr>
          <a:xfrm>
            <a:off x="2573855" y="1014660"/>
            <a:ext cx="262973" cy="260364"/>
            <a:chOff x="2573855" y="1014660"/>
            <a:chExt cx="262973" cy="260364"/>
          </a:xfrm>
          <a:noFill/>
        </p:grpSpPr>
        <p:sp>
          <p:nvSpPr>
            <p:cNvPr id="223" name="Forma livre: Forma 222">
              <a:extLst>
                <a:ext uri="{FF2B5EF4-FFF2-40B4-BE49-F238E27FC236}">
                  <a16:creationId xmlns:a16="http://schemas.microsoft.com/office/drawing/2014/main" id="{AEC8760A-BD6F-C1F7-88FE-0538715494A9}"/>
                </a:ext>
              </a:extLst>
            </p:cNvPr>
            <p:cNvSpPr/>
            <p:nvPr/>
          </p:nvSpPr>
          <p:spPr>
            <a:xfrm>
              <a:off x="2670027" y="1084647"/>
              <a:ext cx="35203" cy="85755"/>
            </a:xfrm>
            <a:custGeom>
              <a:avLst/>
              <a:gdLst>
                <a:gd name="connsiteX0" fmla="*/ 35203 w 35203"/>
                <a:gd name="connsiteY0" fmla="*/ 0 h 85755"/>
                <a:gd name="connsiteX1" fmla="*/ 35203 w 35203"/>
                <a:gd name="connsiteY1" fmla="*/ 62726 h 85755"/>
                <a:gd name="connsiteX2" fmla="*/ 0 w 35203"/>
                <a:gd name="connsiteY2" fmla="*/ 85755 h 857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5203" h="85755">
                  <a:moveTo>
                    <a:pt x="35203" y="0"/>
                  </a:moveTo>
                  <a:lnTo>
                    <a:pt x="35203" y="62726"/>
                  </a:lnTo>
                  <a:lnTo>
                    <a:pt x="0" y="85755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24" name="Forma livre: Forma 223">
              <a:extLst>
                <a:ext uri="{FF2B5EF4-FFF2-40B4-BE49-F238E27FC236}">
                  <a16:creationId xmlns:a16="http://schemas.microsoft.com/office/drawing/2014/main" id="{823A5130-4ECC-8A50-5EEA-06662CFEA979}"/>
                </a:ext>
              </a:extLst>
            </p:cNvPr>
            <p:cNvSpPr/>
            <p:nvPr/>
          </p:nvSpPr>
          <p:spPr>
            <a:xfrm>
              <a:off x="2593642" y="1035641"/>
              <a:ext cx="223392" cy="223392"/>
            </a:xfrm>
            <a:custGeom>
              <a:avLst/>
              <a:gdLst>
                <a:gd name="connsiteX0" fmla="*/ 111696 w 223392"/>
                <a:gd name="connsiteY0" fmla="*/ 0 h 223392"/>
                <a:gd name="connsiteX1" fmla="*/ 223393 w 223392"/>
                <a:gd name="connsiteY1" fmla="*/ 111696 h 223392"/>
                <a:gd name="connsiteX2" fmla="*/ 111696 w 223392"/>
                <a:gd name="connsiteY2" fmla="*/ 223393 h 223392"/>
                <a:gd name="connsiteX3" fmla="*/ 0 w 223392"/>
                <a:gd name="connsiteY3" fmla="*/ 111708 h 223392"/>
                <a:gd name="connsiteX4" fmla="*/ 111696 w 223392"/>
                <a:gd name="connsiteY4" fmla="*/ 0 h 2233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23392" h="223392">
                  <a:moveTo>
                    <a:pt x="111696" y="0"/>
                  </a:moveTo>
                  <a:cubicBezTo>
                    <a:pt x="173380" y="0"/>
                    <a:pt x="223393" y="50001"/>
                    <a:pt x="223393" y="111696"/>
                  </a:cubicBezTo>
                  <a:cubicBezTo>
                    <a:pt x="223393" y="173392"/>
                    <a:pt x="173392" y="223393"/>
                    <a:pt x="111696" y="223393"/>
                  </a:cubicBezTo>
                  <a:cubicBezTo>
                    <a:pt x="50001" y="223393"/>
                    <a:pt x="0" y="173392"/>
                    <a:pt x="0" y="111708"/>
                  </a:cubicBezTo>
                  <a:cubicBezTo>
                    <a:pt x="0" y="50025"/>
                    <a:pt x="50013" y="0"/>
                    <a:pt x="111696" y="0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225" name="Gráfico 4">
              <a:extLst>
                <a:ext uri="{FF2B5EF4-FFF2-40B4-BE49-F238E27FC236}">
                  <a16:creationId xmlns:a16="http://schemas.microsoft.com/office/drawing/2014/main" id="{4C11C2B4-5B60-07AA-B1D4-EE9BA5EF37A7}"/>
                </a:ext>
              </a:extLst>
            </p:cNvPr>
            <p:cNvGrpSpPr/>
            <p:nvPr/>
          </p:nvGrpSpPr>
          <p:grpSpPr>
            <a:xfrm>
              <a:off x="2605513" y="1217048"/>
              <a:ext cx="199661" cy="57976"/>
              <a:chOff x="2605513" y="1217048"/>
              <a:chExt cx="199661" cy="57976"/>
            </a:xfrm>
            <a:noFill/>
          </p:grpSpPr>
          <p:sp>
            <p:nvSpPr>
              <p:cNvPr id="226" name="Forma livre: Forma 225">
                <a:extLst>
                  <a:ext uri="{FF2B5EF4-FFF2-40B4-BE49-F238E27FC236}">
                    <a16:creationId xmlns:a16="http://schemas.microsoft.com/office/drawing/2014/main" id="{28D3BAE7-83BB-959A-6B33-55AE02623441}"/>
                  </a:ext>
                </a:extLst>
              </p:cNvPr>
              <p:cNvSpPr/>
              <p:nvPr/>
            </p:nvSpPr>
            <p:spPr>
              <a:xfrm>
                <a:off x="2605513" y="1244739"/>
                <a:ext cx="40143" cy="30276"/>
              </a:xfrm>
              <a:custGeom>
                <a:avLst/>
                <a:gdLst>
                  <a:gd name="connsiteX0" fmla="*/ 40143 w 40143"/>
                  <a:gd name="connsiteY0" fmla="*/ 12 h 30276"/>
                  <a:gd name="connsiteX1" fmla="*/ 20924 w 40143"/>
                  <a:gd name="connsiteY1" fmla="*/ 24623 h 30276"/>
                  <a:gd name="connsiteX2" fmla="*/ 5503 w 40143"/>
                  <a:gd name="connsiteY2" fmla="*/ 29260 h 30276"/>
                  <a:gd name="connsiteX3" fmla="*/ 722 w 40143"/>
                  <a:gd name="connsiteY3" fmla="*/ 13887 h 30276"/>
                  <a:gd name="connsiteX4" fmla="*/ 5228 w 40143"/>
                  <a:gd name="connsiteY4" fmla="*/ 0 h 302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0143" h="30276">
                    <a:moveTo>
                      <a:pt x="40143" y="12"/>
                    </a:moveTo>
                    <a:lnTo>
                      <a:pt x="20924" y="24623"/>
                    </a:lnTo>
                    <a:cubicBezTo>
                      <a:pt x="17018" y="29608"/>
                      <a:pt x="10092" y="31692"/>
                      <a:pt x="5503" y="29260"/>
                    </a:cubicBezTo>
                    <a:cubicBezTo>
                      <a:pt x="914" y="26828"/>
                      <a:pt x="-1231" y="19914"/>
                      <a:pt x="722" y="13887"/>
                    </a:cubicBezTo>
                    <a:lnTo>
                      <a:pt x="5228" y="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27" name="Forma livre: Forma 226">
                <a:extLst>
                  <a:ext uri="{FF2B5EF4-FFF2-40B4-BE49-F238E27FC236}">
                    <a16:creationId xmlns:a16="http://schemas.microsoft.com/office/drawing/2014/main" id="{6E318BD1-2D24-7031-AF4F-A20EA96D2477}"/>
                  </a:ext>
                </a:extLst>
              </p:cNvPr>
              <p:cNvSpPr/>
              <p:nvPr/>
            </p:nvSpPr>
            <p:spPr>
              <a:xfrm>
                <a:off x="2777314" y="1217048"/>
                <a:ext cx="27859" cy="57976"/>
              </a:xfrm>
              <a:custGeom>
                <a:avLst/>
                <a:gdLst>
                  <a:gd name="connsiteX0" fmla="*/ 0 w 27859"/>
                  <a:gd name="connsiteY0" fmla="*/ 42380 h 57976"/>
                  <a:gd name="connsiteX1" fmla="*/ 6938 w 27859"/>
                  <a:gd name="connsiteY1" fmla="*/ 52313 h 57976"/>
                  <a:gd name="connsiteX2" fmla="*/ 22358 w 27859"/>
                  <a:gd name="connsiteY2" fmla="*/ 56963 h 57976"/>
                  <a:gd name="connsiteX3" fmla="*/ 27139 w 27859"/>
                  <a:gd name="connsiteY3" fmla="*/ 41578 h 57976"/>
                  <a:gd name="connsiteX4" fmla="*/ 14067 w 27859"/>
                  <a:gd name="connsiteY4" fmla="*/ 0 h 579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7859" h="57976">
                    <a:moveTo>
                      <a:pt x="0" y="42380"/>
                    </a:moveTo>
                    <a:lnTo>
                      <a:pt x="6938" y="52313"/>
                    </a:lnTo>
                    <a:cubicBezTo>
                      <a:pt x="10844" y="57298"/>
                      <a:pt x="17781" y="59395"/>
                      <a:pt x="22358" y="56963"/>
                    </a:cubicBezTo>
                    <a:cubicBezTo>
                      <a:pt x="26936" y="54530"/>
                      <a:pt x="29092" y="47617"/>
                      <a:pt x="27139" y="41578"/>
                    </a:cubicBezTo>
                    <a:lnTo>
                      <a:pt x="14067" y="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228" name="Gráfico 4">
              <a:extLst>
                <a:ext uri="{FF2B5EF4-FFF2-40B4-BE49-F238E27FC236}">
                  <a16:creationId xmlns:a16="http://schemas.microsoft.com/office/drawing/2014/main" id="{EE3CB346-06DB-171E-1E0B-02742D7C8687}"/>
                </a:ext>
              </a:extLst>
            </p:cNvPr>
            <p:cNvGrpSpPr/>
            <p:nvPr/>
          </p:nvGrpSpPr>
          <p:grpSpPr>
            <a:xfrm>
              <a:off x="2573855" y="1014660"/>
              <a:ext cx="262973" cy="68117"/>
              <a:chOff x="2573855" y="1014660"/>
              <a:chExt cx="262973" cy="68117"/>
            </a:xfrm>
            <a:noFill/>
          </p:grpSpPr>
          <p:sp>
            <p:nvSpPr>
              <p:cNvPr id="229" name="Forma livre: Forma 228">
                <a:extLst>
                  <a:ext uri="{FF2B5EF4-FFF2-40B4-BE49-F238E27FC236}">
                    <a16:creationId xmlns:a16="http://schemas.microsoft.com/office/drawing/2014/main" id="{47B8FCD1-7E94-E155-534D-91FBDA652531}"/>
                  </a:ext>
                </a:extLst>
              </p:cNvPr>
              <p:cNvSpPr/>
              <p:nvPr/>
            </p:nvSpPr>
            <p:spPr>
              <a:xfrm>
                <a:off x="2573855" y="1014660"/>
                <a:ext cx="70063" cy="68117"/>
              </a:xfrm>
              <a:custGeom>
                <a:avLst/>
                <a:gdLst>
                  <a:gd name="connsiteX0" fmla="*/ 10896 w 70063"/>
                  <a:gd name="connsiteY0" fmla="*/ 68118 h 68117"/>
                  <a:gd name="connsiteX1" fmla="*/ 12849 w 70063"/>
                  <a:gd name="connsiteY1" fmla="*/ 10891 h 68117"/>
                  <a:gd name="connsiteX2" fmla="*/ 70063 w 70063"/>
                  <a:gd name="connsiteY2" fmla="*/ 12844 h 681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70063" h="68117">
                    <a:moveTo>
                      <a:pt x="10896" y="68118"/>
                    </a:moveTo>
                    <a:cubicBezTo>
                      <a:pt x="-4369" y="51774"/>
                      <a:pt x="-3482" y="26157"/>
                      <a:pt x="12849" y="10891"/>
                    </a:cubicBezTo>
                    <a:cubicBezTo>
                      <a:pt x="29181" y="-4362"/>
                      <a:pt x="54810" y="-3487"/>
                      <a:pt x="70063" y="12844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30" name="Forma livre: Forma 229">
                <a:extLst>
                  <a:ext uri="{FF2B5EF4-FFF2-40B4-BE49-F238E27FC236}">
                    <a16:creationId xmlns:a16="http://schemas.microsoft.com/office/drawing/2014/main" id="{69F5AAA1-6702-3867-D101-D07AFBE33FE5}"/>
                  </a:ext>
                </a:extLst>
              </p:cNvPr>
              <p:cNvSpPr/>
              <p:nvPr/>
            </p:nvSpPr>
            <p:spPr>
              <a:xfrm>
                <a:off x="2766770" y="1014660"/>
                <a:ext cx="70058" cy="68117"/>
              </a:xfrm>
              <a:custGeom>
                <a:avLst/>
                <a:gdLst>
                  <a:gd name="connsiteX0" fmla="*/ 59167 w 70058"/>
                  <a:gd name="connsiteY0" fmla="*/ 68118 h 68117"/>
                  <a:gd name="connsiteX1" fmla="*/ 57214 w 70058"/>
                  <a:gd name="connsiteY1" fmla="*/ 10891 h 68117"/>
                  <a:gd name="connsiteX2" fmla="*/ 0 w 70058"/>
                  <a:gd name="connsiteY2" fmla="*/ 12844 h 681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70058" h="68117">
                    <a:moveTo>
                      <a:pt x="59167" y="68118"/>
                    </a:moveTo>
                    <a:cubicBezTo>
                      <a:pt x="74420" y="51774"/>
                      <a:pt x="73546" y="26157"/>
                      <a:pt x="57214" y="10891"/>
                    </a:cubicBezTo>
                    <a:cubicBezTo>
                      <a:pt x="40871" y="-4362"/>
                      <a:pt x="15253" y="-3487"/>
                      <a:pt x="0" y="12844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231" name="Gráfico 4">
            <a:extLst>
              <a:ext uri="{FF2B5EF4-FFF2-40B4-BE49-F238E27FC236}">
                <a16:creationId xmlns:a16="http://schemas.microsoft.com/office/drawing/2014/main" id="{D8397F39-1AEF-BE76-BB26-8A217F30359D}"/>
              </a:ext>
            </a:extLst>
          </p:cNvPr>
          <p:cNvGrpSpPr/>
          <p:nvPr/>
        </p:nvGrpSpPr>
        <p:grpSpPr>
          <a:xfrm>
            <a:off x="3185445" y="3144583"/>
            <a:ext cx="278042" cy="275825"/>
            <a:chOff x="3185445" y="3144583"/>
            <a:chExt cx="278042" cy="275825"/>
          </a:xfrm>
          <a:noFill/>
        </p:grpSpPr>
        <p:sp>
          <p:nvSpPr>
            <p:cNvPr id="232" name="Forma livre: Forma 231">
              <a:extLst>
                <a:ext uri="{FF2B5EF4-FFF2-40B4-BE49-F238E27FC236}">
                  <a16:creationId xmlns:a16="http://schemas.microsoft.com/office/drawing/2014/main" id="{F2C1C38A-B600-820A-0F30-751EAD001456}"/>
                </a:ext>
              </a:extLst>
            </p:cNvPr>
            <p:cNvSpPr/>
            <p:nvPr/>
          </p:nvSpPr>
          <p:spPr>
            <a:xfrm>
              <a:off x="3228653" y="3167505"/>
              <a:ext cx="203418" cy="252904"/>
            </a:xfrm>
            <a:custGeom>
              <a:avLst/>
              <a:gdLst>
                <a:gd name="connsiteX0" fmla="*/ 0 w 203418"/>
                <a:gd name="connsiteY0" fmla="*/ 223333 h 252904"/>
                <a:gd name="connsiteX1" fmla="*/ 77907 w 203418"/>
                <a:gd name="connsiteY1" fmla="*/ 252857 h 252904"/>
                <a:gd name="connsiteX2" fmla="*/ 80112 w 203418"/>
                <a:gd name="connsiteY2" fmla="*/ 252904 h 252904"/>
                <a:gd name="connsiteX3" fmla="*/ 203419 w 203418"/>
                <a:gd name="connsiteY3" fmla="*/ 129598 h 252904"/>
                <a:gd name="connsiteX4" fmla="*/ 77919 w 203418"/>
                <a:gd name="connsiteY4" fmla="*/ 129598 h 252904"/>
                <a:gd name="connsiteX5" fmla="*/ 77919 w 203418"/>
                <a:gd name="connsiteY5" fmla="*/ 0 h 2529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3418" h="252904">
                  <a:moveTo>
                    <a:pt x="0" y="223333"/>
                  </a:moveTo>
                  <a:cubicBezTo>
                    <a:pt x="21028" y="241318"/>
                    <a:pt x="48180" y="252341"/>
                    <a:pt x="77907" y="252857"/>
                  </a:cubicBezTo>
                  <a:cubicBezTo>
                    <a:pt x="78638" y="252869"/>
                    <a:pt x="79369" y="252904"/>
                    <a:pt x="80112" y="252904"/>
                  </a:cubicBezTo>
                  <a:cubicBezTo>
                    <a:pt x="148218" y="252904"/>
                    <a:pt x="203419" y="197703"/>
                    <a:pt x="203419" y="129598"/>
                  </a:cubicBezTo>
                  <a:lnTo>
                    <a:pt x="77919" y="129598"/>
                  </a:lnTo>
                  <a:lnTo>
                    <a:pt x="77919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33" name="Forma livre: Forma 232">
              <a:extLst>
                <a:ext uri="{FF2B5EF4-FFF2-40B4-BE49-F238E27FC236}">
                  <a16:creationId xmlns:a16="http://schemas.microsoft.com/office/drawing/2014/main" id="{3E246C2B-830C-8ED6-27F5-B6CC313B8372}"/>
                </a:ext>
              </a:extLst>
            </p:cNvPr>
            <p:cNvSpPr/>
            <p:nvPr/>
          </p:nvSpPr>
          <p:spPr>
            <a:xfrm>
              <a:off x="3185445" y="3176647"/>
              <a:ext cx="122803" cy="197523"/>
            </a:xfrm>
            <a:custGeom>
              <a:avLst/>
              <a:gdLst>
                <a:gd name="connsiteX0" fmla="*/ 97006 w 122803"/>
                <a:gd name="connsiteY0" fmla="*/ 0 h 197523"/>
                <a:gd name="connsiteX1" fmla="*/ 0 w 122803"/>
                <a:gd name="connsiteY1" fmla="*/ 120455 h 197523"/>
                <a:gd name="connsiteX2" fmla="*/ 27055 w 122803"/>
                <a:gd name="connsiteY2" fmla="*/ 197524 h 197523"/>
                <a:gd name="connsiteX3" fmla="*/ 122804 w 122803"/>
                <a:gd name="connsiteY3" fmla="*/ 117568 h 1975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2803" h="197523">
                  <a:moveTo>
                    <a:pt x="97006" y="0"/>
                  </a:moveTo>
                  <a:cubicBezTo>
                    <a:pt x="41542" y="12042"/>
                    <a:pt x="0" y="61384"/>
                    <a:pt x="0" y="120455"/>
                  </a:cubicBezTo>
                  <a:cubicBezTo>
                    <a:pt x="0" y="149619"/>
                    <a:pt x="10125" y="176411"/>
                    <a:pt x="27055" y="197524"/>
                  </a:cubicBezTo>
                  <a:lnTo>
                    <a:pt x="122804" y="117568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34" name="Forma livre: Forma 233">
              <a:extLst>
                <a:ext uri="{FF2B5EF4-FFF2-40B4-BE49-F238E27FC236}">
                  <a16:creationId xmlns:a16="http://schemas.microsoft.com/office/drawing/2014/main" id="{DF55ADB9-824D-FC6F-5B7A-1B38743EF350}"/>
                </a:ext>
              </a:extLst>
            </p:cNvPr>
            <p:cNvSpPr/>
            <p:nvPr/>
          </p:nvSpPr>
          <p:spPr>
            <a:xfrm>
              <a:off x="3347394" y="3144583"/>
              <a:ext cx="116093" cy="114068"/>
            </a:xfrm>
            <a:custGeom>
              <a:avLst/>
              <a:gdLst>
                <a:gd name="connsiteX0" fmla="*/ 2037 w 116093"/>
                <a:gd name="connsiteY0" fmla="*/ 0 h 114068"/>
                <a:gd name="connsiteX1" fmla="*/ 0 w 116093"/>
                <a:gd name="connsiteY1" fmla="*/ 48 h 114068"/>
                <a:gd name="connsiteX2" fmla="*/ 0 w 116093"/>
                <a:gd name="connsiteY2" fmla="*/ 114069 h 114068"/>
                <a:gd name="connsiteX3" fmla="*/ 116094 w 116093"/>
                <a:gd name="connsiteY3" fmla="*/ 114069 h 114068"/>
                <a:gd name="connsiteX4" fmla="*/ 2025 w 116093"/>
                <a:gd name="connsiteY4" fmla="*/ 0 h 1140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6093" h="114068">
                  <a:moveTo>
                    <a:pt x="2037" y="0"/>
                  </a:moveTo>
                  <a:cubicBezTo>
                    <a:pt x="1354" y="0"/>
                    <a:pt x="683" y="36"/>
                    <a:pt x="0" y="48"/>
                  </a:cubicBezTo>
                  <a:lnTo>
                    <a:pt x="0" y="114069"/>
                  </a:lnTo>
                  <a:lnTo>
                    <a:pt x="116094" y="114069"/>
                  </a:lnTo>
                  <a:cubicBezTo>
                    <a:pt x="116094" y="51067"/>
                    <a:pt x="65026" y="0"/>
                    <a:pt x="2025" y="0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35" name="Forma livre: Forma 234">
              <a:extLst>
                <a:ext uri="{FF2B5EF4-FFF2-40B4-BE49-F238E27FC236}">
                  <a16:creationId xmlns:a16="http://schemas.microsoft.com/office/drawing/2014/main" id="{378A7A1D-C6CA-5764-0C62-0B7B32DBECFE}"/>
                </a:ext>
              </a:extLst>
            </p:cNvPr>
            <p:cNvSpPr/>
            <p:nvPr/>
          </p:nvSpPr>
          <p:spPr>
            <a:xfrm>
              <a:off x="3207480" y="3226157"/>
              <a:ext cx="98324" cy="1198"/>
            </a:xfrm>
            <a:custGeom>
              <a:avLst/>
              <a:gdLst>
                <a:gd name="connsiteX0" fmla="*/ 0 w 98324"/>
                <a:gd name="connsiteY0" fmla="*/ 0 h 1198"/>
                <a:gd name="connsiteX1" fmla="*/ 98324 w 98324"/>
                <a:gd name="connsiteY1" fmla="*/ 0 h 11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8324" h="1198">
                  <a:moveTo>
                    <a:pt x="0" y="0"/>
                  </a:moveTo>
                  <a:lnTo>
                    <a:pt x="98324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36" name="Forma livre: Forma 235">
              <a:extLst>
                <a:ext uri="{FF2B5EF4-FFF2-40B4-BE49-F238E27FC236}">
                  <a16:creationId xmlns:a16="http://schemas.microsoft.com/office/drawing/2014/main" id="{44C44DDD-51AC-9DDA-A367-37FE7BFF143E}"/>
                </a:ext>
              </a:extLst>
            </p:cNvPr>
            <p:cNvSpPr/>
            <p:nvPr/>
          </p:nvSpPr>
          <p:spPr>
            <a:xfrm>
              <a:off x="3189555" y="3271497"/>
              <a:ext cx="115422" cy="1198"/>
            </a:xfrm>
            <a:custGeom>
              <a:avLst/>
              <a:gdLst>
                <a:gd name="connsiteX0" fmla="*/ 0 w 115422"/>
                <a:gd name="connsiteY0" fmla="*/ 0 h 1198"/>
                <a:gd name="connsiteX1" fmla="*/ 115423 w 115422"/>
                <a:gd name="connsiteY1" fmla="*/ 0 h 11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5422" h="1198">
                  <a:moveTo>
                    <a:pt x="0" y="0"/>
                  </a:moveTo>
                  <a:lnTo>
                    <a:pt x="115423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37" name="Forma livre: Forma 236">
              <a:extLst>
                <a:ext uri="{FF2B5EF4-FFF2-40B4-BE49-F238E27FC236}">
                  <a16:creationId xmlns:a16="http://schemas.microsoft.com/office/drawing/2014/main" id="{B761005B-D14E-F33E-7D67-8081AED3805C}"/>
                </a:ext>
              </a:extLst>
            </p:cNvPr>
            <p:cNvSpPr/>
            <p:nvPr/>
          </p:nvSpPr>
          <p:spPr>
            <a:xfrm>
              <a:off x="3187482" y="3316837"/>
              <a:ext cx="93028" cy="1198"/>
            </a:xfrm>
            <a:custGeom>
              <a:avLst/>
              <a:gdLst>
                <a:gd name="connsiteX0" fmla="*/ 0 w 93028"/>
                <a:gd name="connsiteY0" fmla="*/ 0 h 1198"/>
                <a:gd name="connsiteX1" fmla="*/ 93028 w 93028"/>
                <a:gd name="connsiteY1" fmla="*/ 0 h 11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3028" h="1198">
                  <a:moveTo>
                    <a:pt x="0" y="0"/>
                  </a:moveTo>
                  <a:lnTo>
                    <a:pt x="93028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238" name="Gráfico 4">
            <a:extLst>
              <a:ext uri="{FF2B5EF4-FFF2-40B4-BE49-F238E27FC236}">
                <a16:creationId xmlns:a16="http://schemas.microsoft.com/office/drawing/2014/main" id="{F220E2D1-AEF1-0E4B-7BA5-EBC323544DFE}"/>
              </a:ext>
            </a:extLst>
          </p:cNvPr>
          <p:cNvGrpSpPr/>
          <p:nvPr/>
        </p:nvGrpSpPr>
        <p:grpSpPr>
          <a:xfrm>
            <a:off x="3169282" y="1543750"/>
            <a:ext cx="310382" cy="270997"/>
            <a:chOff x="3169282" y="1543750"/>
            <a:chExt cx="310382" cy="270997"/>
          </a:xfrm>
          <a:noFill/>
        </p:grpSpPr>
        <p:sp>
          <p:nvSpPr>
            <p:cNvPr id="239" name="Forma livre: Forma 238">
              <a:extLst>
                <a:ext uri="{FF2B5EF4-FFF2-40B4-BE49-F238E27FC236}">
                  <a16:creationId xmlns:a16="http://schemas.microsoft.com/office/drawing/2014/main" id="{8229CDAB-5417-872B-9B57-2F9C5BFD5D86}"/>
                </a:ext>
              </a:extLst>
            </p:cNvPr>
            <p:cNvSpPr/>
            <p:nvPr/>
          </p:nvSpPr>
          <p:spPr>
            <a:xfrm>
              <a:off x="3266683" y="1609543"/>
              <a:ext cx="212980" cy="200507"/>
            </a:xfrm>
            <a:custGeom>
              <a:avLst/>
              <a:gdLst>
                <a:gd name="connsiteX0" fmla="*/ 0 w 212980"/>
                <a:gd name="connsiteY0" fmla="*/ 200507 h 200507"/>
                <a:gd name="connsiteX1" fmla="*/ 179431 w 212980"/>
                <a:gd name="connsiteY1" fmla="*/ 200507 h 200507"/>
                <a:gd name="connsiteX2" fmla="*/ 212980 w 212980"/>
                <a:gd name="connsiteY2" fmla="*/ 166957 h 200507"/>
                <a:gd name="connsiteX3" fmla="*/ 212980 w 212980"/>
                <a:gd name="connsiteY3" fmla="*/ 33550 h 200507"/>
                <a:gd name="connsiteX4" fmla="*/ 179431 w 212980"/>
                <a:gd name="connsiteY4" fmla="*/ 0 h 200507"/>
                <a:gd name="connsiteX5" fmla="*/ 176112 w 212980"/>
                <a:gd name="connsiteY5" fmla="*/ 0 h 2005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12980" h="200507">
                  <a:moveTo>
                    <a:pt x="0" y="200507"/>
                  </a:moveTo>
                  <a:lnTo>
                    <a:pt x="179431" y="200507"/>
                  </a:lnTo>
                  <a:cubicBezTo>
                    <a:pt x="197883" y="200507"/>
                    <a:pt x="212980" y="185422"/>
                    <a:pt x="212980" y="166957"/>
                  </a:cubicBezTo>
                  <a:lnTo>
                    <a:pt x="212980" y="33550"/>
                  </a:lnTo>
                  <a:cubicBezTo>
                    <a:pt x="212980" y="15097"/>
                    <a:pt x="197883" y="0"/>
                    <a:pt x="179431" y="0"/>
                  </a:cubicBezTo>
                  <a:lnTo>
                    <a:pt x="176112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40" name="Forma livre: Forma 239">
              <a:extLst>
                <a:ext uri="{FF2B5EF4-FFF2-40B4-BE49-F238E27FC236}">
                  <a16:creationId xmlns:a16="http://schemas.microsoft.com/office/drawing/2014/main" id="{D88DE563-4012-DF11-A6C1-8F109E1350B6}"/>
                </a:ext>
              </a:extLst>
            </p:cNvPr>
            <p:cNvSpPr/>
            <p:nvPr/>
          </p:nvSpPr>
          <p:spPr>
            <a:xfrm>
              <a:off x="3266683" y="1609543"/>
              <a:ext cx="39612" cy="1198"/>
            </a:xfrm>
            <a:custGeom>
              <a:avLst/>
              <a:gdLst>
                <a:gd name="connsiteX0" fmla="*/ 39613 w 39612"/>
                <a:gd name="connsiteY0" fmla="*/ 0 h 1198"/>
                <a:gd name="connsiteX1" fmla="*/ 0 w 39612"/>
                <a:gd name="connsiteY1" fmla="*/ 0 h 11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9612" h="1198">
                  <a:moveTo>
                    <a:pt x="39613" y="0"/>
                  </a:moveTo>
                  <a:lnTo>
                    <a:pt x="0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41" name="Forma livre: Forma 240">
              <a:extLst>
                <a:ext uri="{FF2B5EF4-FFF2-40B4-BE49-F238E27FC236}">
                  <a16:creationId xmlns:a16="http://schemas.microsoft.com/office/drawing/2014/main" id="{9A8AFBD8-869B-BE1D-0E46-AA9524A8E1A2}"/>
                </a:ext>
              </a:extLst>
            </p:cNvPr>
            <p:cNvSpPr/>
            <p:nvPr/>
          </p:nvSpPr>
          <p:spPr>
            <a:xfrm>
              <a:off x="3273609" y="1658693"/>
              <a:ext cx="204988" cy="1198"/>
            </a:xfrm>
            <a:custGeom>
              <a:avLst/>
              <a:gdLst>
                <a:gd name="connsiteX0" fmla="*/ 0 w 204988"/>
                <a:gd name="connsiteY0" fmla="*/ 0 h 1198"/>
                <a:gd name="connsiteX1" fmla="*/ 204988 w 204988"/>
                <a:gd name="connsiteY1" fmla="*/ 0 h 11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04988" h="1198">
                  <a:moveTo>
                    <a:pt x="0" y="0"/>
                  </a:moveTo>
                  <a:lnTo>
                    <a:pt x="204988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42" name="Forma livre: Forma 241">
              <a:extLst>
                <a:ext uri="{FF2B5EF4-FFF2-40B4-BE49-F238E27FC236}">
                  <a16:creationId xmlns:a16="http://schemas.microsoft.com/office/drawing/2014/main" id="{4E8D261E-2311-44EE-D085-9FE90050A1B4}"/>
                </a:ext>
              </a:extLst>
            </p:cNvPr>
            <p:cNvSpPr/>
            <p:nvPr/>
          </p:nvSpPr>
          <p:spPr>
            <a:xfrm>
              <a:off x="3307686" y="1543750"/>
              <a:ext cx="134198" cy="95916"/>
            </a:xfrm>
            <a:custGeom>
              <a:avLst/>
              <a:gdLst>
                <a:gd name="connsiteX0" fmla="*/ 134199 w 134198"/>
                <a:gd name="connsiteY0" fmla="*/ 95916 h 95916"/>
                <a:gd name="connsiteX1" fmla="*/ 134199 w 134198"/>
                <a:gd name="connsiteY1" fmla="*/ 0 h 95916"/>
                <a:gd name="connsiteX2" fmla="*/ 0 w 134198"/>
                <a:gd name="connsiteY2" fmla="*/ 0 h 95916"/>
                <a:gd name="connsiteX3" fmla="*/ 0 w 134198"/>
                <a:gd name="connsiteY3" fmla="*/ 95916 h 959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4198" h="95916">
                  <a:moveTo>
                    <a:pt x="134199" y="95916"/>
                  </a:moveTo>
                  <a:lnTo>
                    <a:pt x="134199" y="0"/>
                  </a:lnTo>
                  <a:lnTo>
                    <a:pt x="0" y="0"/>
                  </a:lnTo>
                  <a:lnTo>
                    <a:pt x="0" y="95916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43" name="Forma livre: Forma 242">
              <a:extLst>
                <a:ext uri="{FF2B5EF4-FFF2-40B4-BE49-F238E27FC236}">
                  <a16:creationId xmlns:a16="http://schemas.microsoft.com/office/drawing/2014/main" id="{80D123B6-6D78-2C1D-B8CE-9D64B14086B2}"/>
                </a:ext>
              </a:extLst>
            </p:cNvPr>
            <p:cNvSpPr/>
            <p:nvPr/>
          </p:nvSpPr>
          <p:spPr>
            <a:xfrm>
              <a:off x="3341835" y="1615882"/>
              <a:ext cx="65901" cy="1198"/>
            </a:xfrm>
            <a:custGeom>
              <a:avLst/>
              <a:gdLst>
                <a:gd name="connsiteX0" fmla="*/ 65901 w 65901"/>
                <a:gd name="connsiteY0" fmla="*/ 0 h 1198"/>
                <a:gd name="connsiteX1" fmla="*/ 0 w 65901"/>
                <a:gd name="connsiteY1" fmla="*/ 0 h 11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5901" h="1198">
                  <a:moveTo>
                    <a:pt x="65901" y="0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44" name="Forma livre: Forma 243">
              <a:extLst>
                <a:ext uri="{FF2B5EF4-FFF2-40B4-BE49-F238E27FC236}">
                  <a16:creationId xmlns:a16="http://schemas.microsoft.com/office/drawing/2014/main" id="{5239CF7A-3014-E555-176E-10564B5492FC}"/>
                </a:ext>
              </a:extLst>
            </p:cNvPr>
            <p:cNvSpPr/>
            <p:nvPr/>
          </p:nvSpPr>
          <p:spPr>
            <a:xfrm>
              <a:off x="3341835" y="1580331"/>
              <a:ext cx="65901" cy="1198"/>
            </a:xfrm>
            <a:custGeom>
              <a:avLst/>
              <a:gdLst>
                <a:gd name="connsiteX0" fmla="*/ 65901 w 65901"/>
                <a:gd name="connsiteY0" fmla="*/ 0 h 1198"/>
                <a:gd name="connsiteX1" fmla="*/ 0 w 65901"/>
                <a:gd name="connsiteY1" fmla="*/ 0 h 11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5901" h="1198">
                  <a:moveTo>
                    <a:pt x="65901" y="0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245" name="Gráfico 4">
              <a:extLst>
                <a:ext uri="{FF2B5EF4-FFF2-40B4-BE49-F238E27FC236}">
                  <a16:creationId xmlns:a16="http://schemas.microsoft.com/office/drawing/2014/main" id="{9327466D-C9AE-4723-BD52-7EE5570D7EAF}"/>
                </a:ext>
              </a:extLst>
            </p:cNvPr>
            <p:cNvGrpSpPr/>
            <p:nvPr/>
          </p:nvGrpSpPr>
          <p:grpSpPr>
            <a:xfrm>
              <a:off x="3314384" y="1697276"/>
              <a:ext cx="123558" cy="71940"/>
              <a:chOff x="3314384" y="1697276"/>
              <a:chExt cx="123558" cy="71940"/>
            </a:xfrm>
          </p:grpSpPr>
          <p:sp>
            <p:nvSpPr>
              <p:cNvPr id="246" name="Forma livre: Forma 245">
                <a:extLst>
                  <a:ext uri="{FF2B5EF4-FFF2-40B4-BE49-F238E27FC236}">
                    <a16:creationId xmlns:a16="http://schemas.microsoft.com/office/drawing/2014/main" id="{3F4390D2-F68A-60E1-CE20-CE290BFD2374}"/>
                  </a:ext>
                </a:extLst>
              </p:cNvPr>
              <p:cNvSpPr/>
              <p:nvPr/>
            </p:nvSpPr>
            <p:spPr>
              <a:xfrm>
                <a:off x="3314384" y="1697276"/>
                <a:ext cx="31704" cy="1198"/>
              </a:xfrm>
              <a:custGeom>
                <a:avLst/>
                <a:gdLst>
                  <a:gd name="connsiteX0" fmla="*/ 31704 w 31704"/>
                  <a:gd name="connsiteY0" fmla="*/ 0 h 1198"/>
                  <a:gd name="connsiteX1" fmla="*/ 0 w 31704"/>
                  <a:gd name="connsiteY1" fmla="*/ 0 h 11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1704" h="1198">
                    <a:moveTo>
                      <a:pt x="31704" y="0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47" name="Forma livre: Forma 246">
                <a:extLst>
                  <a:ext uri="{FF2B5EF4-FFF2-40B4-BE49-F238E27FC236}">
                    <a16:creationId xmlns:a16="http://schemas.microsoft.com/office/drawing/2014/main" id="{38B4A2B8-059A-0B55-B00A-3B3008F10CBA}"/>
                  </a:ext>
                </a:extLst>
              </p:cNvPr>
              <p:cNvSpPr/>
              <p:nvPr/>
            </p:nvSpPr>
            <p:spPr>
              <a:xfrm>
                <a:off x="3360311" y="1697276"/>
                <a:ext cx="31716" cy="1198"/>
              </a:xfrm>
              <a:custGeom>
                <a:avLst/>
                <a:gdLst>
                  <a:gd name="connsiteX0" fmla="*/ 31716 w 31716"/>
                  <a:gd name="connsiteY0" fmla="*/ 0 h 1198"/>
                  <a:gd name="connsiteX1" fmla="*/ 0 w 31716"/>
                  <a:gd name="connsiteY1" fmla="*/ 0 h 11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1716" h="1198">
                    <a:moveTo>
                      <a:pt x="31716" y="0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48" name="Forma livre: Forma 247">
                <a:extLst>
                  <a:ext uri="{FF2B5EF4-FFF2-40B4-BE49-F238E27FC236}">
                    <a16:creationId xmlns:a16="http://schemas.microsoft.com/office/drawing/2014/main" id="{EBFBE997-ED14-4799-2149-DE6D5D381D0A}"/>
                  </a:ext>
                </a:extLst>
              </p:cNvPr>
              <p:cNvSpPr/>
              <p:nvPr/>
            </p:nvSpPr>
            <p:spPr>
              <a:xfrm>
                <a:off x="3406238" y="1697276"/>
                <a:ext cx="31704" cy="1198"/>
              </a:xfrm>
              <a:custGeom>
                <a:avLst/>
                <a:gdLst>
                  <a:gd name="connsiteX0" fmla="*/ 31704 w 31704"/>
                  <a:gd name="connsiteY0" fmla="*/ 0 h 1198"/>
                  <a:gd name="connsiteX1" fmla="*/ 0 w 31704"/>
                  <a:gd name="connsiteY1" fmla="*/ 0 h 11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1704" h="1198">
                    <a:moveTo>
                      <a:pt x="31704" y="0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49" name="Forma livre: Forma 248">
                <a:extLst>
                  <a:ext uri="{FF2B5EF4-FFF2-40B4-BE49-F238E27FC236}">
                    <a16:creationId xmlns:a16="http://schemas.microsoft.com/office/drawing/2014/main" id="{C4A2E9B5-752E-022A-6279-31323F6D6B84}"/>
                  </a:ext>
                </a:extLst>
              </p:cNvPr>
              <p:cNvSpPr/>
              <p:nvPr/>
            </p:nvSpPr>
            <p:spPr>
              <a:xfrm>
                <a:off x="3314384" y="1733258"/>
                <a:ext cx="31704" cy="1198"/>
              </a:xfrm>
              <a:custGeom>
                <a:avLst/>
                <a:gdLst>
                  <a:gd name="connsiteX0" fmla="*/ 31704 w 31704"/>
                  <a:gd name="connsiteY0" fmla="*/ 0 h 1198"/>
                  <a:gd name="connsiteX1" fmla="*/ 0 w 31704"/>
                  <a:gd name="connsiteY1" fmla="*/ 0 h 11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1704" h="1198">
                    <a:moveTo>
                      <a:pt x="31704" y="0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50" name="Forma livre: Forma 249">
                <a:extLst>
                  <a:ext uri="{FF2B5EF4-FFF2-40B4-BE49-F238E27FC236}">
                    <a16:creationId xmlns:a16="http://schemas.microsoft.com/office/drawing/2014/main" id="{BC0513D1-EE57-BEEE-0478-A607E6CE5E7D}"/>
                  </a:ext>
                </a:extLst>
              </p:cNvPr>
              <p:cNvSpPr/>
              <p:nvPr/>
            </p:nvSpPr>
            <p:spPr>
              <a:xfrm>
                <a:off x="3360311" y="1733258"/>
                <a:ext cx="31716" cy="1198"/>
              </a:xfrm>
              <a:custGeom>
                <a:avLst/>
                <a:gdLst>
                  <a:gd name="connsiteX0" fmla="*/ 31716 w 31716"/>
                  <a:gd name="connsiteY0" fmla="*/ 0 h 1198"/>
                  <a:gd name="connsiteX1" fmla="*/ 0 w 31716"/>
                  <a:gd name="connsiteY1" fmla="*/ 0 h 11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1716" h="1198">
                    <a:moveTo>
                      <a:pt x="31716" y="0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51" name="Forma livre: Forma 250">
                <a:extLst>
                  <a:ext uri="{FF2B5EF4-FFF2-40B4-BE49-F238E27FC236}">
                    <a16:creationId xmlns:a16="http://schemas.microsoft.com/office/drawing/2014/main" id="{25179764-0C75-0D54-7661-FE5EC718DBED}"/>
                  </a:ext>
                </a:extLst>
              </p:cNvPr>
              <p:cNvSpPr/>
              <p:nvPr/>
            </p:nvSpPr>
            <p:spPr>
              <a:xfrm>
                <a:off x="3406238" y="1733258"/>
                <a:ext cx="31704" cy="1198"/>
              </a:xfrm>
              <a:custGeom>
                <a:avLst/>
                <a:gdLst>
                  <a:gd name="connsiteX0" fmla="*/ 31704 w 31704"/>
                  <a:gd name="connsiteY0" fmla="*/ 0 h 1198"/>
                  <a:gd name="connsiteX1" fmla="*/ 0 w 31704"/>
                  <a:gd name="connsiteY1" fmla="*/ 0 h 11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1704" h="1198">
                    <a:moveTo>
                      <a:pt x="31704" y="0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52" name="Forma livre: Forma 251">
                <a:extLst>
                  <a:ext uri="{FF2B5EF4-FFF2-40B4-BE49-F238E27FC236}">
                    <a16:creationId xmlns:a16="http://schemas.microsoft.com/office/drawing/2014/main" id="{3BC93089-7F74-A138-0A0B-BB0B1B35D33C}"/>
                  </a:ext>
                </a:extLst>
              </p:cNvPr>
              <p:cNvSpPr/>
              <p:nvPr/>
            </p:nvSpPr>
            <p:spPr>
              <a:xfrm>
                <a:off x="3314384" y="1769216"/>
                <a:ext cx="31704" cy="1198"/>
              </a:xfrm>
              <a:custGeom>
                <a:avLst/>
                <a:gdLst>
                  <a:gd name="connsiteX0" fmla="*/ 31704 w 31704"/>
                  <a:gd name="connsiteY0" fmla="*/ 0 h 1198"/>
                  <a:gd name="connsiteX1" fmla="*/ 0 w 31704"/>
                  <a:gd name="connsiteY1" fmla="*/ 0 h 11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1704" h="1198">
                    <a:moveTo>
                      <a:pt x="31704" y="0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53" name="Forma livre: Forma 252">
                <a:extLst>
                  <a:ext uri="{FF2B5EF4-FFF2-40B4-BE49-F238E27FC236}">
                    <a16:creationId xmlns:a16="http://schemas.microsoft.com/office/drawing/2014/main" id="{105CC170-A6D2-942A-221B-8ADD00DF090D}"/>
                  </a:ext>
                </a:extLst>
              </p:cNvPr>
              <p:cNvSpPr/>
              <p:nvPr/>
            </p:nvSpPr>
            <p:spPr>
              <a:xfrm>
                <a:off x="3360311" y="1769216"/>
                <a:ext cx="31716" cy="1198"/>
              </a:xfrm>
              <a:custGeom>
                <a:avLst/>
                <a:gdLst>
                  <a:gd name="connsiteX0" fmla="*/ 31716 w 31716"/>
                  <a:gd name="connsiteY0" fmla="*/ 0 h 1198"/>
                  <a:gd name="connsiteX1" fmla="*/ 0 w 31716"/>
                  <a:gd name="connsiteY1" fmla="*/ 0 h 11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1716" h="1198">
                    <a:moveTo>
                      <a:pt x="31716" y="0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54" name="Forma livre: Forma 253">
                <a:extLst>
                  <a:ext uri="{FF2B5EF4-FFF2-40B4-BE49-F238E27FC236}">
                    <a16:creationId xmlns:a16="http://schemas.microsoft.com/office/drawing/2014/main" id="{8A6992E8-FACF-C28D-5AD5-CB48F16063F2}"/>
                  </a:ext>
                </a:extLst>
              </p:cNvPr>
              <p:cNvSpPr/>
              <p:nvPr/>
            </p:nvSpPr>
            <p:spPr>
              <a:xfrm>
                <a:off x="3406238" y="1769216"/>
                <a:ext cx="31704" cy="1198"/>
              </a:xfrm>
              <a:custGeom>
                <a:avLst/>
                <a:gdLst>
                  <a:gd name="connsiteX0" fmla="*/ 31704 w 31704"/>
                  <a:gd name="connsiteY0" fmla="*/ 0 h 1198"/>
                  <a:gd name="connsiteX1" fmla="*/ 0 w 31704"/>
                  <a:gd name="connsiteY1" fmla="*/ 0 h 11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1704" h="1198">
                    <a:moveTo>
                      <a:pt x="31704" y="0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255" name="Forma livre: Forma 254">
              <a:extLst>
                <a:ext uri="{FF2B5EF4-FFF2-40B4-BE49-F238E27FC236}">
                  <a16:creationId xmlns:a16="http://schemas.microsoft.com/office/drawing/2014/main" id="{03FB18B4-5914-6163-9387-8BEE5F2C42CE}"/>
                </a:ext>
              </a:extLst>
            </p:cNvPr>
            <p:cNvSpPr/>
            <p:nvPr/>
          </p:nvSpPr>
          <p:spPr>
            <a:xfrm>
              <a:off x="3169282" y="1605062"/>
              <a:ext cx="80770" cy="209685"/>
            </a:xfrm>
            <a:custGeom>
              <a:avLst/>
              <a:gdLst>
                <a:gd name="connsiteX0" fmla="*/ 40391 w 80770"/>
                <a:gd name="connsiteY0" fmla="*/ 209685 h 209685"/>
                <a:gd name="connsiteX1" fmla="*/ 0 w 80770"/>
                <a:gd name="connsiteY1" fmla="*/ 170516 h 209685"/>
                <a:gd name="connsiteX2" fmla="*/ 0 w 80770"/>
                <a:gd name="connsiteY2" fmla="*/ 39157 h 209685"/>
                <a:gd name="connsiteX3" fmla="*/ 40391 w 80770"/>
                <a:gd name="connsiteY3" fmla="*/ 0 h 209685"/>
                <a:gd name="connsiteX4" fmla="*/ 80771 w 80770"/>
                <a:gd name="connsiteY4" fmla="*/ 39157 h 209685"/>
                <a:gd name="connsiteX5" fmla="*/ 80771 w 80770"/>
                <a:gd name="connsiteY5" fmla="*/ 170516 h 209685"/>
                <a:gd name="connsiteX6" fmla="*/ 40391 w 80770"/>
                <a:gd name="connsiteY6" fmla="*/ 209685 h 2096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0770" h="209685">
                  <a:moveTo>
                    <a:pt x="40391" y="209685"/>
                  </a:moveTo>
                  <a:cubicBezTo>
                    <a:pt x="18117" y="209685"/>
                    <a:pt x="0" y="192120"/>
                    <a:pt x="0" y="170516"/>
                  </a:cubicBezTo>
                  <a:lnTo>
                    <a:pt x="0" y="39157"/>
                  </a:lnTo>
                  <a:cubicBezTo>
                    <a:pt x="0" y="17566"/>
                    <a:pt x="18117" y="0"/>
                    <a:pt x="40391" y="0"/>
                  </a:cubicBezTo>
                  <a:cubicBezTo>
                    <a:pt x="62666" y="0"/>
                    <a:pt x="80771" y="17566"/>
                    <a:pt x="80771" y="39157"/>
                  </a:cubicBezTo>
                  <a:lnTo>
                    <a:pt x="80771" y="170516"/>
                  </a:lnTo>
                  <a:cubicBezTo>
                    <a:pt x="80771" y="192108"/>
                    <a:pt x="62654" y="209685"/>
                    <a:pt x="40391" y="209685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256" name="Gráfico 4">
            <a:extLst>
              <a:ext uri="{FF2B5EF4-FFF2-40B4-BE49-F238E27FC236}">
                <a16:creationId xmlns:a16="http://schemas.microsoft.com/office/drawing/2014/main" id="{B54581BF-BEFF-C7F4-2E8F-D65C849F3959}"/>
              </a:ext>
            </a:extLst>
          </p:cNvPr>
          <p:cNvGrpSpPr/>
          <p:nvPr/>
        </p:nvGrpSpPr>
        <p:grpSpPr>
          <a:xfrm>
            <a:off x="3241473" y="2065747"/>
            <a:ext cx="165986" cy="297537"/>
            <a:chOff x="3241473" y="2065747"/>
            <a:chExt cx="165986" cy="297537"/>
          </a:xfrm>
          <a:noFill/>
        </p:grpSpPr>
        <p:sp>
          <p:nvSpPr>
            <p:cNvPr id="257" name="Forma livre: Forma 256">
              <a:extLst>
                <a:ext uri="{FF2B5EF4-FFF2-40B4-BE49-F238E27FC236}">
                  <a16:creationId xmlns:a16="http://schemas.microsoft.com/office/drawing/2014/main" id="{8B10FEA7-73A3-7CD8-9312-0D3F08748EEC}"/>
                </a:ext>
              </a:extLst>
            </p:cNvPr>
            <p:cNvSpPr/>
            <p:nvPr/>
          </p:nvSpPr>
          <p:spPr>
            <a:xfrm>
              <a:off x="3262849" y="2225671"/>
              <a:ext cx="123234" cy="1198"/>
            </a:xfrm>
            <a:custGeom>
              <a:avLst/>
              <a:gdLst>
                <a:gd name="connsiteX0" fmla="*/ 0 w 123234"/>
                <a:gd name="connsiteY0" fmla="*/ 0 h 1198"/>
                <a:gd name="connsiteX1" fmla="*/ 123235 w 123234"/>
                <a:gd name="connsiteY1" fmla="*/ 0 h 11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234" h="1198">
                  <a:moveTo>
                    <a:pt x="0" y="0"/>
                  </a:moveTo>
                  <a:lnTo>
                    <a:pt x="123235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258" name="Gráfico 4">
              <a:extLst>
                <a:ext uri="{FF2B5EF4-FFF2-40B4-BE49-F238E27FC236}">
                  <a16:creationId xmlns:a16="http://schemas.microsoft.com/office/drawing/2014/main" id="{7FEB4354-08FA-0012-7F38-621D21DDBC53}"/>
                </a:ext>
              </a:extLst>
            </p:cNvPr>
            <p:cNvGrpSpPr/>
            <p:nvPr/>
          </p:nvGrpSpPr>
          <p:grpSpPr>
            <a:xfrm>
              <a:off x="3270865" y="2257339"/>
              <a:ext cx="107203" cy="71796"/>
              <a:chOff x="3270865" y="2257339"/>
              <a:chExt cx="107203" cy="71796"/>
            </a:xfrm>
          </p:grpSpPr>
          <p:sp>
            <p:nvSpPr>
              <p:cNvPr id="259" name="Forma livre: Forma 258">
                <a:extLst>
                  <a:ext uri="{FF2B5EF4-FFF2-40B4-BE49-F238E27FC236}">
                    <a16:creationId xmlns:a16="http://schemas.microsoft.com/office/drawing/2014/main" id="{83CF17FB-4987-CE7A-1E48-5498BD745956}"/>
                  </a:ext>
                </a:extLst>
              </p:cNvPr>
              <p:cNvSpPr/>
              <p:nvPr/>
            </p:nvSpPr>
            <p:spPr>
              <a:xfrm>
                <a:off x="3270865" y="2257339"/>
                <a:ext cx="22202" cy="1198"/>
              </a:xfrm>
              <a:custGeom>
                <a:avLst/>
                <a:gdLst>
                  <a:gd name="connsiteX0" fmla="*/ 0 w 22202"/>
                  <a:gd name="connsiteY0" fmla="*/ 0 h 1198"/>
                  <a:gd name="connsiteX1" fmla="*/ 22203 w 22202"/>
                  <a:gd name="connsiteY1" fmla="*/ 0 h 11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2202" h="1198">
                    <a:moveTo>
                      <a:pt x="0" y="0"/>
                    </a:moveTo>
                    <a:lnTo>
                      <a:pt x="22203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60" name="Forma livre: Forma 259">
                <a:extLst>
                  <a:ext uri="{FF2B5EF4-FFF2-40B4-BE49-F238E27FC236}">
                    <a16:creationId xmlns:a16="http://schemas.microsoft.com/office/drawing/2014/main" id="{16E54A2A-CA3A-7D81-E911-6D574F552713}"/>
                  </a:ext>
                </a:extLst>
              </p:cNvPr>
              <p:cNvSpPr/>
              <p:nvPr/>
            </p:nvSpPr>
            <p:spPr>
              <a:xfrm>
                <a:off x="3313377" y="2257339"/>
                <a:ext cx="22190" cy="1198"/>
              </a:xfrm>
              <a:custGeom>
                <a:avLst/>
                <a:gdLst>
                  <a:gd name="connsiteX0" fmla="*/ 0 w 22190"/>
                  <a:gd name="connsiteY0" fmla="*/ 0 h 1198"/>
                  <a:gd name="connsiteX1" fmla="*/ 22191 w 22190"/>
                  <a:gd name="connsiteY1" fmla="*/ 0 h 11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2190" h="1198">
                    <a:moveTo>
                      <a:pt x="0" y="0"/>
                    </a:moveTo>
                    <a:lnTo>
                      <a:pt x="22191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61" name="Forma livre: Forma 260">
                <a:extLst>
                  <a:ext uri="{FF2B5EF4-FFF2-40B4-BE49-F238E27FC236}">
                    <a16:creationId xmlns:a16="http://schemas.microsoft.com/office/drawing/2014/main" id="{C97351ED-E30D-9A22-F3BE-5BF504113DE0}"/>
                  </a:ext>
                </a:extLst>
              </p:cNvPr>
              <p:cNvSpPr/>
              <p:nvPr/>
            </p:nvSpPr>
            <p:spPr>
              <a:xfrm>
                <a:off x="3355878" y="2257339"/>
                <a:ext cx="22190" cy="1198"/>
              </a:xfrm>
              <a:custGeom>
                <a:avLst/>
                <a:gdLst>
                  <a:gd name="connsiteX0" fmla="*/ 0 w 22190"/>
                  <a:gd name="connsiteY0" fmla="*/ 0 h 1198"/>
                  <a:gd name="connsiteX1" fmla="*/ 22191 w 22190"/>
                  <a:gd name="connsiteY1" fmla="*/ 0 h 11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2190" h="1198">
                    <a:moveTo>
                      <a:pt x="0" y="0"/>
                    </a:moveTo>
                    <a:lnTo>
                      <a:pt x="22191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62" name="Forma livre: Forma 261">
                <a:extLst>
                  <a:ext uri="{FF2B5EF4-FFF2-40B4-BE49-F238E27FC236}">
                    <a16:creationId xmlns:a16="http://schemas.microsoft.com/office/drawing/2014/main" id="{4A3BD491-BFE8-D46C-2851-73708FD54A80}"/>
                  </a:ext>
                </a:extLst>
              </p:cNvPr>
              <p:cNvSpPr/>
              <p:nvPr/>
            </p:nvSpPr>
            <p:spPr>
              <a:xfrm>
                <a:off x="3270865" y="2293249"/>
                <a:ext cx="22202" cy="1198"/>
              </a:xfrm>
              <a:custGeom>
                <a:avLst/>
                <a:gdLst>
                  <a:gd name="connsiteX0" fmla="*/ 0 w 22202"/>
                  <a:gd name="connsiteY0" fmla="*/ 0 h 1198"/>
                  <a:gd name="connsiteX1" fmla="*/ 22203 w 22202"/>
                  <a:gd name="connsiteY1" fmla="*/ 0 h 11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2202" h="1198">
                    <a:moveTo>
                      <a:pt x="0" y="0"/>
                    </a:moveTo>
                    <a:lnTo>
                      <a:pt x="22203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63" name="Forma livre: Forma 262">
                <a:extLst>
                  <a:ext uri="{FF2B5EF4-FFF2-40B4-BE49-F238E27FC236}">
                    <a16:creationId xmlns:a16="http://schemas.microsoft.com/office/drawing/2014/main" id="{A2E8100F-FECF-7483-1159-D09D6C3EE999}"/>
                  </a:ext>
                </a:extLst>
              </p:cNvPr>
              <p:cNvSpPr/>
              <p:nvPr/>
            </p:nvSpPr>
            <p:spPr>
              <a:xfrm>
                <a:off x="3313377" y="2293249"/>
                <a:ext cx="22190" cy="1198"/>
              </a:xfrm>
              <a:custGeom>
                <a:avLst/>
                <a:gdLst>
                  <a:gd name="connsiteX0" fmla="*/ 0 w 22190"/>
                  <a:gd name="connsiteY0" fmla="*/ 0 h 1198"/>
                  <a:gd name="connsiteX1" fmla="*/ 22191 w 22190"/>
                  <a:gd name="connsiteY1" fmla="*/ 0 h 11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2190" h="1198">
                    <a:moveTo>
                      <a:pt x="0" y="0"/>
                    </a:moveTo>
                    <a:lnTo>
                      <a:pt x="22191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64" name="Forma livre: Forma 263">
                <a:extLst>
                  <a:ext uri="{FF2B5EF4-FFF2-40B4-BE49-F238E27FC236}">
                    <a16:creationId xmlns:a16="http://schemas.microsoft.com/office/drawing/2014/main" id="{EDEF4E4F-4F87-C515-5124-98B0A4AF0A31}"/>
                  </a:ext>
                </a:extLst>
              </p:cNvPr>
              <p:cNvSpPr/>
              <p:nvPr/>
            </p:nvSpPr>
            <p:spPr>
              <a:xfrm>
                <a:off x="3355878" y="2293249"/>
                <a:ext cx="22190" cy="1198"/>
              </a:xfrm>
              <a:custGeom>
                <a:avLst/>
                <a:gdLst>
                  <a:gd name="connsiteX0" fmla="*/ 0 w 22190"/>
                  <a:gd name="connsiteY0" fmla="*/ 0 h 1198"/>
                  <a:gd name="connsiteX1" fmla="*/ 22191 w 22190"/>
                  <a:gd name="connsiteY1" fmla="*/ 0 h 11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2190" h="1198">
                    <a:moveTo>
                      <a:pt x="0" y="0"/>
                    </a:moveTo>
                    <a:lnTo>
                      <a:pt x="22191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65" name="Forma livre: Forma 264">
                <a:extLst>
                  <a:ext uri="{FF2B5EF4-FFF2-40B4-BE49-F238E27FC236}">
                    <a16:creationId xmlns:a16="http://schemas.microsoft.com/office/drawing/2014/main" id="{04B30C91-CB16-E463-E458-431433EDCEE1}"/>
                  </a:ext>
                </a:extLst>
              </p:cNvPr>
              <p:cNvSpPr/>
              <p:nvPr/>
            </p:nvSpPr>
            <p:spPr>
              <a:xfrm>
                <a:off x="3270865" y="2329135"/>
                <a:ext cx="22202" cy="1198"/>
              </a:xfrm>
              <a:custGeom>
                <a:avLst/>
                <a:gdLst>
                  <a:gd name="connsiteX0" fmla="*/ 0 w 22202"/>
                  <a:gd name="connsiteY0" fmla="*/ 0 h 1198"/>
                  <a:gd name="connsiteX1" fmla="*/ 22203 w 22202"/>
                  <a:gd name="connsiteY1" fmla="*/ 0 h 11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2202" h="1198">
                    <a:moveTo>
                      <a:pt x="0" y="0"/>
                    </a:moveTo>
                    <a:lnTo>
                      <a:pt x="22203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66" name="Forma livre: Forma 265">
                <a:extLst>
                  <a:ext uri="{FF2B5EF4-FFF2-40B4-BE49-F238E27FC236}">
                    <a16:creationId xmlns:a16="http://schemas.microsoft.com/office/drawing/2014/main" id="{9BD0A683-F7D1-FD0F-C0F8-148C7D3C3257}"/>
                  </a:ext>
                </a:extLst>
              </p:cNvPr>
              <p:cNvSpPr/>
              <p:nvPr/>
            </p:nvSpPr>
            <p:spPr>
              <a:xfrm>
                <a:off x="3313377" y="2329135"/>
                <a:ext cx="22190" cy="1198"/>
              </a:xfrm>
              <a:custGeom>
                <a:avLst/>
                <a:gdLst>
                  <a:gd name="connsiteX0" fmla="*/ 0 w 22190"/>
                  <a:gd name="connsiteY0" fmla="*/ 0 h 1198"/>
                  <a:gd name="connsiteX1" fmla="*/ 22191 w 22190"/>
                  <a:gd name="connsiteY1" fmla="*/ 0 h 11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2190" h="1198">
                    <a:moveTo>
                      <a:pt x="0" y="0"/>
                    </a:moveTo>
                    <a:lnTo>
                      <a:pt x="22191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67" name="Forma livre: Forma 266">
                <a:extLst>
                  <a:ext uri="{FF2B5EF4-FFF2-40B4-BE49-F238E27FC236}">
                    <a16:creationId xmlns:a16="http://schemas.microsoft.com/office/drawing/2014/main" id="{0F6D9677-5EBB-2CE6-5D4B-5A44BE95CA7B}"/>
                  </a:ext>
                </a:extLst>
              </p:cNvPr>
              <p:cNvSpPr/>
              <p:nvPr/>
            </p:nvSpPr>
            <p:spPr>
              <a:xfrm>
                <a:off x="3355878" y="2329135"/>
                <a:ext cx="22190" cy="1198"/>
              </a:xfrm>
              <a:custGeom>
                <a:avLst/>
                <a:gdLst>
                  <a:gd name="connsiteX0" fmla="*/ 0 w 22190"/>
                  <a:gd name="connsiteY0" fmla="*/ 0 h 1198"/>
                  <a:gd name="connsiteX1" fmla="*/ 22191 w 22190"/>
                  <a:gd name="connsiteY1" fmla="*/ 0 h 11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2190" h="1198">
                    <a:moveTo>
                      <a:pt x="0" y="0"/>
                    </a:moveTo>
                    <a:lnTo>
                      <a:pt x="22191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268" name="Forma livre: Forma 267">
              <a:extLst>
                <a:ext uri="{FF2B5EF4-FFF2-40B4-BE49-F238E27FC236}">
                  <a16:creationId xmlns:a16="http://schemas.microsoft.com/office/drawing/2014/main" id="{B70D63CE-334B-0430-DACC-82EA9DA1C959}"/>
                </a:ext>
              </a:extLst>
            </p:cNvPr>
            <p:cNvSpPr/>
            <p:nvPr/>
          </p:nvSpPr>
          <p:spPr>
            <a:xfrm>
              <a:off x="3241473" y="2065747"/>
              <a:ext cx="165986" cy="297537"/>
            </a:xfrm>
            <a:custGeom>
              <a:avLst/>
              <a:gdLst>
                <a:gd name="connsiteX0" fmla="*/ 165987 w 165986"/>
                <a:gd name="connsiteY0" fmla="*/ 283950 h 297537"/>
                <a:gd name="connsiteX1" fmla="*/ 152399 w 165986"/>
                <a:gd name="connsiteY1" fmla="*/ 297537 h 297537"/>
                <a:gd name="connsiteX2" fmla="*/ 13588 w 165986"/>
                <a:gd name="connsiteY2" fmla="*/ 297537 h 297537"/>
                <a:gd name="connsiteX3" fmla="*/ 0 w 165986"/>
                <a:gd name="connsiteY3" fmla="*/ 283950 h 297537"/>
                <a:gd name="connsiteX4" fmla="*/ 0 w 165986"/>
                <a:gd name="connsiteY4" fmla="*/ 13588 h 297537"/>
                <a:gd name="connsiteX5" fmla="*/ 13588 w 165986"/>
                <a:gd name="connsiteY5" fmla="*/ 0 h 297537"/>
                <a:gd name="connsiteX6" fmla="*/ 152399 w 165986"/>
                <a:gd name="connsiteY6" fmla="*/ 0 h 297537"/>
                <a:gd name="connsiteX7" fmla="*/ 165987 w 165986"/>
                <a:gd name="connsiteY7" fmla="*/ 13588 h 297537"/>
                <a:gd name="connsiteX8" fmla="*/ 165987 w 165986"/>
                <a:gd name="connsiteY8" fmla="*/ 283950 h 2975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65986" h="297537">
                  <a:moveTo>
                    <a:pt x="165987" y="283950"/>
                  </a:moveTo>
                  <a:cubicBezTo>
                    <a:pt x="165987" y="291415"/>
                    <a:pt x="159876" y="297537"/>
                    <a:pt x="152399" y="297537"/>
                  </a:cubicBezTo>
                  <a:lnTo>
                    <a:pt x="13588" y="297537"/>
                  </a:lnTo>
                  <a:cubicBezTo>
                    <a:pt x="6111" y="297537"/>
                    <a:pt x="0" y="291427"/>
                    <a:pt x="0" y="283950"/>
                  </a:cubicBezTo>
                  <a:lnTo>
                    <a:pt x="0" y="13588"/>
                  </a:lnTo>
                  <a:cubicBezTo>
                    <a:pt x="0" y="6111"/>
                    <a:pt x="6111" y="0"/>
                    <a:pt x="13588" y="0"/>
                  </a:cubicBezTo>
                  <a:lnTo>
                    <a:pt x="152399" y="0"/>
                  </a:lnTo>
                  <a:cubicBezTo>
                    <a:pt x="159864" y="0"/>
                    <a:pt x="165987" y="6111"/>
                    <a:pt x="165987" y="13588"/>
                  </a:cubicBezTo>
                  <a:lnTo>
                    <a:pt x="165987" y="283950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269" name="Gráfico 4">
            <a:extLst>
              <a:ext uri="{FF2B5EF4-FFF2-40B4-BE49-F238E27FC236}">
                <a16:creationId xmlns:a16="http://schemas.microsoft.com/office/drawing/2014/main" id="{0464C0D4-C383-6C8F-C760-D307FFE3045F}"/>
              </a:ext>
            </a:extLst>
          </p:cNvPr>
          <p:cNvGrpSpPr/>
          <p:nvPr/>
        </p:nvGrpSpPr>
        <p:grpSpPr>
          <a:xfrm>
            <a:off x="3158462" y="1013150"/>
            <a:ext cx="332009" cy="263364"/>
            <a:chOff x="3158462" y="1013150"/>
            <a:chExt cx="332009" cy="263364"/>
          </a:xfrm>
        </p:grpSpPr>
        <p:grpSp>
          <p:nvGrpSpPr>
            <p:cNvPr id="270" name="Gráfico 4">
              <a:extLst>
                <a:ext uri="{FF2B5EF4-FFF2-40B4-BE49-F238E27FC236}">
                  <a16:creationId xmlns:a16="http://schemas.microsoft.com/office/drawing/2014/main" id="{74E9145F-BE45-397A-2B00-814D0291FE7B}"/>
                </a:ext>
              </a:extLst>
            </p:cNvPr>
            <p:cNvGrpSpPr/>
            <p:nvPr/>
          </p:nvGrpSpPr>
          <p:grpSpPr>
            <a:xfrm>
              <a:off x="3367416" y="1013150"/>
              <a:ext cx="123055" cy="263364"/>
              <a:chOff x="3367416" y="1013150"/>
              <a:chExt cx="123055" cy="263364"/>
            </a:xfrm>
          </p:grpSpPr>
          <p:sp>
            <p:nvSpPr>
              <p:cNvPr id="271" name="Forma livre: Forma 270">
                <a:extLst>
                  <a:ext uri="{FF2B5EF4-FFF2-40B4-BE49-F238E27FC236}">
                    <a16:creationId xmlns:a16="http://schemas.microsoft.com/office/drawing/2014/main" id="{7056B6B0-4A48-01BC-BC8E-7344E134AE50}"/>
                  </a:ext>
                </a:extLst>
              </p:cNvPr>
              <p:cNvSpPr/>
              <p:nvPr/>
            </p:nvSpPr>
            <p:spPr>
              <a:xfrm>
                <a:off x="3367416" y="1013150"/>
                <a:ext cx="123055" cy="263364"/>
              </a:xfrm>
              <a:custGeom>
                <a:avLst/>
                <a:gdLst>
                  <a:gd name="connsiteX0" fmla="*/ 0 w 123055"/>
                  <a:gd name="connsiteY0" fmla="*/ 227898 h 263364"/>
                  <a:gd name="connsiteX1" fmla="*/ 0 w 123055"/>
                  <a:gd name="connsiteY1" fmla="*/ 239401 h 263364"/>
                  <a:gd name="connsiteX2" fmla="*/ 23964 w 123055"/>
                  <a:gd name="connsiteY2" fmla="*/ 263365 h 263364"/>
                  <a:gd name="connsiteX3" fmla="*/ 99091 w 123055"/>
                  <a:gd name="connsiteY3" fmla="*/ 263365 h 263364"/>
                  <a:gd name="connsiteX4" fmla="*/ 123055 w 123055"/>
                  <a:gd name="connsiteY4" fmla="*/ 239401 h 263364"/>
                  <a:gd name="connsiteX5" fmla="*/ 123055 w 123055"/>
                  <a:gd name="connsiteY5" fmla="*/ 23964 h 263364"/>
                  <a:gd name="connsiteX6" fmla="*/ 99091 w 123055"/>
                  <a:gd name="connsiteY6" fmla="*/ 0 h 263364"/>
                  <a:gd name="connsiteX7" fmla="*/ 23964 w 123055"/>
                  <a:gd name="connsiteY7" fmla="*/ 0 h 263364"/>
                  <a:gd name="connsiteX8" fmla="*/ 0 w 123055"/>
                  <a:gd name="connsiteY8" fmla="*/ 23964 h 263364"/>
                  <a:gd name="connsiteX9" fmla="*/ 0 w 123055"/>
                  <a:gd name="connsiteY9" fmla="*/ 41997 h 2633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23055" h="263364">
                    <a:moveTo>
                      <a:pt x="0" y="227898"/>
                    </a:moveTo>
                    <a:lnTo>
                      <a:pt x="0" y="239401"/>
                    </a:lnTo>
                    <a:cubicBezTo>
                      <a:pt x="0" y="252581"/>
                      <a:pt x="10784" y="263365"/>
                      <a:pt x="23964" y="263365"/>
                    </a:cubicBezTo>
                    <a:lnTo>
                      <a:pt x="99091" y="263365"/>
                    </a:lnTo>
                    <a:cubicBezTo>
                      <a:pt x="112271" y="263365"/>
                      <a:pt x="123055" y="252581"/>
                      <a:pt x="123055" y="239401"/>
                    </a:cubicBezTo>
                    <a:lnTo>
                      <a:pt x="123055" y="23964"/>
                    </a:lnTo>
                    <a:cubicBezTo>
                      <a:pt x="123055" y="10784"/>
                      <a:pt x="112271" y="0"/>
                      <a:pt x="99091" y="0"/>
                    </a:cubicBezTo>
                    <a:lnTo>
                      <a:pt x="23964" y="0"/>
                    </a:lnTo>
                    <a:cubicBezTo>
                      <a:pt x="10784" y="0"/>
                      <a:pt x="0" y="10784"/>
                      <a:pt x="0" y="23964"/>
                    </a:cubicBezTo>
                    <a:lnTo>
                      <a:pt x="0" y="41997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72" name="Forma livre: Forma 271">
                <a:extLst>
                  <a:ext uri="{FF2B5EF4-FFF2-40B4-BE49-F238E27FC236}">
                    <a16:creationId xmlns:a16="http://schemas.microsoft.com/office/drawing/2014/main" id="{E97EA478-1770-26B0-FF8C-A46B86A960F7}"/>
                  </a:ext>
                </a:extLst>
              </p:cNvPr>
              <p:cNvSpPr/>
              <p:nvPr/>
            </p:nvSpPr>
            <p:spPr>
              <a:xfrm>
                <a:off x="3407173" y="1049252"/>
                <a:ext cx="43530" cy="1198"/>
              </a:xfrm>
              <a:custGeom>
                <a:avLst/>
                <a:gdLst>
                  <a:gd name="connsiteX0" fmla="*/ 43531 w 43530"/>
                  <a:gd name="connsiteY0" fmla="*/ 0 h 1198"/>
                  <a:gd name="connsiteX1" fmla="*/ 0 w 43530"/>
                  <a:gd name="connsiteY1" fmla="*/ 0 h 11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3530" h="1198">
                    <a:moveTo>
                      <a:pt x="43531" y="0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73" name="Forma livre: Forma 272">
                <a:extLst>
                  <a:ext uri="{FF2B5EF4-FFF2-40B4-BE49-F238E27FC236}">
                    <a16:creationId xmlns:a16="http://schemas.microsoft.com/office/drawing/2014/main" id="{D7DA6A75-24DB-5C19-69B0-31823EAA09C7}"/>
                  </a:ext>
                </a:extLst>
              </p:cNvPr>
              <p:cNvSpPr/>
              <p:nvPr/>
            </p:nvSpPr>
            <p:spPr>
              <a:xfrm>
                <a:off x="3425205" y="1230840"/>
                <a:ext cx="7464" cy="7464"/>
              </a:xfrm>
              <a:custGeom>
                <a:avLst/>
                <a:gdLst>
                  <a:gd name="connsiteX0" fmla="*/ 7465 w 7464"/>
                  <a:gd name="connsiteY0" fmla="*/ 3738 h 7464"/>
                  <a:gd name="connsiteX1" fmla="*/ 3738 w 7464"/>
                  <a:gd name="connsiteY1" fmla="*/ 7465 h 7464"/>
                  <a:gd name="connsiteX2" fmla="*/ 0 w 7464"/>
                  <a:gd name="connsiteY2" fmla="*/ 3738 h 7464"/>
                  <a:gd name="connsiteX3" fmla="*/ 3738 w 7464"/>
                  <a:gd name="connsiteY3" fmla="*/ 0 h 7464"/>
                  <a:gd name="connsiteX4" fmla="*/ 7465 w 7464"/>
                  <a:gd name="connsiteY4" fmla="*/ 3738 h 74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464" h="7464">
                    <a:moveTo>
                      <a:pt x="7465" y="3738"/>
                    </a:moveTo>
                    <a:cubicBezTo>
                      <a:pt x="7465" y="5799"/>
                      <a:pt x="5799" y="7465"/>
                      <a:pt x="3738" y="7465"/>
                    </a:cubicBezTo>
                    <a:cubicBezTo>
                      <a:pt x="1678" y="7465"/>
                      <a:pt x="0" y="5799"/>
                      <a:pt x="0" y="3738"/>
                    </a:cubicBezTo>
                    <a:cubicBezTo>
                      <a:pt x="0" y="1677"/>
                      <a:pt x="1678" y="0"/>
                      <a:pt x="3738" y="0"/>
                    </a:cubicBezTo>
                    <a:cubicBezTo>
                      <a:pt x="5799" y="0"/>
                      <a:pt x="7465" y="1665"/>
                      <a:pt x="7465" y="3738"/>
                    </a:cubicBezTo>
                    <a:close/>
                  </a:path>
                </a:pathLst>
              </a:custGeom>
              <a:solidFill>
                <a:srgbClr val="097EFF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274" name="Gráfico 4">
              <a:extLst>
                <a:ext uri="{FF2B5EF4-FFF2-40B4-BE49-F238E27FC236}">
                  <a16:creationId xmlns:a16="http://schemas.microsoft.com/office/drawing/2014/main" id="{69202B35-727E-FA74-37D2-1F578631A835}"/>
                </a:ext>
              </a:extLst>
            </p:cNvPr>
            <p:cNvGrpSpPr/>
            <p:nvPr/>
          </p:nvGrpSpPr>
          <p:grpSpPr>
            <a:xfrm>
              <a:off x="3158462" y="1077015"/>
              <a:ext cx="238034" cy="199500"/>
              <a:chOff x="3158462" y="1077015"/>
              <a:chExt cx="238034" cy="199500"/>
            </a:xfrm>
            <a:noFill/>
          </p:grpSpPr>
          <p:sp>
            <p:nvSpPr>
              <p:cNvPr id="275" name="Forma livre: Forma 274">
                <a:extLst>
                  <a:ext uri="{FF2B5EF4-FFF2-40B4-BE49-F238E27FC236}">
                    <a16:creationId xmlns:a16="http://schemas.microsoft.com/office/drawing/2014/main" id="{52DE548C-28FE-0126-EDCA-1342CD005A95}"/>
                  </a:ext>
                </a:extLst>
              </p:cNvPr>
              <p:cNvSpPr/>
              <p:nvPr/>
            </p:nvSpPr>
            <p:spPr>
              <a:xfrm>
                <a:off x="3158462" y="1077015"/>
                <a:ext cx="238034" cy="161505"/>
              </a:xfrm>
              <a:custGeom>
                <a:avLst/>
                <a:gdLst>
                  <a:gd name="connsiteX0" fmla="*/ 214071 w 238034"/>
                  <a:gd name="connsiteY0" fmla="*/ 0 h 161505"/>
                  <a:gd name="connsiteX1" fmla="*/ 238035 w 238034"/>
                  <a:gd name="connsiteY1" fmla="*/ 23964 h 161505"/>
                  <a:gd name="connsiteX2" fmla="*/ 238035 w 238034"/>
                  <a:gd name="connsiteY2" fmla="*/ 137542 h 161505"/>
                  <a:gd name="connsiteX3" fmla="*/ 214071 w 238034"/>
                  <a:gd name="connsiteY3" fmla="*/ 161506 h 161505"/>
                  <a:gd name="connsiteX4" fmla="*/ 23964 w 238034"/>
                  <a:gd name="connsiteY4" fmla="*/ 161506 h 161505"/>
                  <a:gd name="connsiteX5" fmla="*/ 0 w 238034"/>
                  <a:gd name="connsiteY5" fmla="*/ 137542 h 161505"/>
                  <a:gd name="connsiteX6" fmla="*/ 0 w 238034"/>
                  <a:gd name="connsiteY6" fmla="*/ 23964 h 161505"/>
                  <a:gd name="connsiteX7" fmla="*/ 23964 w 238034"/>
                  <a:gd name="connsiteY7" fmla="*/ 0 h 1615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38034" h="161505">
                    <a:moveTo>
                      <a:pt x="214071" y="0"/>
                    </a:moveTo>
                    <a:cubicBezTo>
                      <a:pt x="227306" y="0"/>
                      <a:pt x="238035" y="10729"/>
                      <a:pt x="238035" y="23964"/>
                    </a:cubicBezTo>
                    <a:lnTo>
                      <a:pt x="238035" y="137542"/>
                    </a:lnTo>
                    <a:cubicBezTo>
                      <a:pt x="238035" y="150777"/>
                      <a:pt x="227306" y="161506"/>
                      <a:pt x="214071" y="161506"/>
                    </a:cubicBezTo>
                    <a:lnTo>
                      <a:pt x="23964" y="161506"/>
                    </a:lnTo>
                    <a:cubicBezTo>
                      <a:pt x="10729" y="161506"/>
                      <a:pt x="0" y="150777"/>
                      <a:pt x="0" y="137542"/>
                    </a:cubicBezTo>
                    <a:lnTo>
                      <a:pt x="0" y="23964"/>
                    </a:lnTo>
                    <a:cubicBezTo>
                      <a:pt x="0" y="10729"/>
                      <a:pt x="10729" y="0"/>
                      <a:pt x="23964" y="0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76" name="Forma livre: Forma 275">
                <a:extLst>
                  <a:ext uri="{FF2B5EF4-FFF2-40B4-BE49-F238E27FC236}">
                    <a16:creationId xmlns:a16="http://schemas.microsoft.com/office/drawing/2014/main" id="{49C18A3D-5D57-0498-F736-F9B3A04E3BDF}"/>
                  </a:ext>
                </a:extLst>
              </p:cNvPr>
              <p:cNvSpPr/>
              <p:nvPr/>
            </p:nvSpPr>
            <p:spPr>
              <a:xfrm>
                <a:off x="3224639" y="1276515"/>
                <a:ext cx="109910" cy="1198"/>
              </a:xfrm>
              <a:custGeom>
                <a:avLst/>
                <a:gdLst>
                  <a:gd name="connsiteX0" fmla="*/ 0 w 109910"/>
                  <a:gd name="connsiteY0" fmla="*/ 0 h 1198"/>
                  <a:gd name="connsiteX1" fmla="*/ 109911 w 109910"/>
                  <a:gd name="connsiteY1" fmla="*/ 0 h 11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09910" h="1198">
                    <a:moveTo>
                      <a:pt x="0" y="0"/>
                    </a:moveTo>
                    <a:lnTo>
                      <a:pt x="109911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77" name="Forma livre: Forma 276">
                <a:extLst>
                  <a:ext uri="{FF2B5EF4-FFF2-40B4-BE49-F238E27FC236}">
                    <a16:creationId xmlns:a16="http://schemas.microsoft.com/office/drawing/2014/main" id="{C574622D-12DC-D77D-A673-711F766A6A39}"/>
                  </a:ext>
                </a:extLst>
              </p:cNvPr>
              <p:cNvSpPr/>
              <p:nvPr/>
            </p:nvSpPr>
            <p:spPr>
              <a:xfrm>
                <a:off x="3261028" y="1239335"/>
                <a:ext cx="1198" cy="35946"/>
              </a:xfrm>
              <a:custGeom>
                <a:avLst/>
                <a:gdLst>
                  <a:gd name="connsiteX0" fmla="*/ 0 w 1198"/>
                  <a:gd name="connsiteY0" fmla="*/ 0 h 35946"/>
                  <a:gd name="connsiteX1" fmla="*/ 0 w 1198"/>
                  <a:gd name="connsiteY1" fmla="*/ 35946 h 359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8" h="35946">
                    <a:moveTo>
                      <a:pt x="0" y="0"/>
                    </a:moveTo>
                    <a:lnTo>
                      <a:pt x="0" y="35946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78" name="Forma livre: Forma 277">
                <a:extLst>
                  <a:ext uri="{FF2B5EF4-FFF2-40B4-BE49-F238E27FC236}">
                    <a16:creationId xmlns:a16="http://schemas.microsoft.com/office/drawing/2014/main" id="{B3F1F10D-E969-6BCB-0D84-246F6088DD27}"/>
                  </a:ext>
                </a:extLst>
              </p:cNvPr>
              <p:cNvSpPr/>
              <p:nvPr/>
            </p:nvSpPr>
            <p:spPr>
              <a:xfrm>
                <a:off x="3298172" y="1239335"/>
                <a:ext cx="1198" cy="35946"/>
              </a:xfrm>
              <a:custGeom>
                <a:avLst/>
                <a:gdLst>
                  <a:gd name="connsiteX0" fmla="*/ 0 w 1198"/>
                  <a:gd name="connsiteY0" fmla="*/ 0 h 35946"/>
                  <a:gd name="connsiteX1" fmla="*/ 0 w 1198"/>
                  <a:gd name="connsiteY1" fmla="*/ 35946 h 359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8" h="35946">
                    <a:moveTo>
                      <a:pt x="0" y="0"/>
                    </a:moveTo>
                    <a:lnTo>
                      <a:pt x="0" y="35946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279" name="Gráfico 4">
            <a:extLst>
              <a:ext uri="{FF2B5EF4-FFF2-40B4-BE49-F238E27FC236}">
                <a16:creationId xmlns:a16="http://schemas.microsoft.com/office/drawing/2014/main" id="{583BB846-1BDD-089E-7AD1-4E85C73094F2}"/>
              </a:ext>
            </a:extLst>
          </p:cNvPr>
          <p:cNvGrpSpPr/>
          <p:nvPr/>
        </p:nvGrpSpPr>
        <p:grpSpPr>
          <a:xfrm>
            <a:off x="3177849" y="2629285"/>
            <a:ext cx="293247" cy="237627"/>
            <a:chOff x="3177849" y="2629285"/>
            <a:chExt cx="293247" cy="237627"/>
          </a:xfrm>
          <a:noFill/>
        </p:grpSpPr>
        <p:grpSp>
          <p:nvGrpSpPr>
            <p:cNvPr id="280" name="Gráfico 4">
              <a:extLst>
                <a:ext uri="{FF2B5EF4-FFF2-40B4-BE49-F238E27FC236}">
                  <a16:creationId xmlns:a16="http://schemas.microsoft.com/office/drawing/2014/main" id="{F575F398-7BB6-9B11-58A0-6190692654D5}"/>
                </a:ext>
              </a:extLst>
            </p:cNvPr>
            <p:cNvGrpSpPr/>
            <p:nvPr/>
          </p:nvGrpSpPr>
          <p:grpSpPr>
            <a:xfrm>
              <a:off x="3177849" y="2629285"/>
              <a:ext cx="293247" cy="237627"/>
              <a:chOff x="3177849" y="2629285"/>
              <a:chExt cx="293247" cy="237627"/>
            </a:xfrm>
            <a:noFill/>
          </p:grpSpPr>
          <p:grpSp>
            <p:nvGrpSpPr>
              <p:cNvPr id="281" name="Gráfico 4">
                <a:extLst>
                  <a:ext uri="{FF2B5EF4-FFF2-40B4-BE49-F238E27FC236}">
                    <a16:creationId xmlns:a16="http://schemas.microsoft.com/office/drawing/2014/main" id="{7360BB68-C8A2-B0CE-6ED3-6DA5EBDE81CD}"/>
                  </a:ext>
                </a:extLst>
              </p:cNvPr>
              <p:cNvGrpSpPr/>
              <p:nvPr/>
            </p:nvGrpSpPr>
            <p:grpSpPr>
              <a:xfrm>
                <a:off x="3211722" y="2629285"/>
                <a:ext cx="225489" cy="214945"/>
                <a:chOff x="3211722" y="2629285"/>
                <a:chExt cx="225489" cy="214945"/>
              </a:xfrm>
              <a:noFill/>
            </p:grpSpPr>
            <p:sp>
              <p:nvSpPr>
                <p:cNvPr id="282" name="Forma livre: Forma 281">
                  <a:extLst>
                    <a:ext uri="{FF2B5EF4-FFF2-40B4-BE49-F238E27FC236}">
                      <a16:creationId xmlns:a16="http://schemas.microsoft.com/office/drawing/2014/main" id="{25BE35DE-BEC6-B1FF-E50E-728CE00AE353}"/>
                    </a:ext>
                  </a:extLst>
                </p:cNvPr>
                <p:cNvSpPr/>
                <p:nvPr/>
              </p:nvSpPr>
              <p:spPr>
                <a:xfrm>
                  <a:off x="3388948" y="2764286"/>
                  <a:ext cx="48263" cy="79943"/>
                </a:xfrm>
                <a:custGeom>
                  <a:avLst/>
                  <a:gdLst>
                    <a:gd name="connsiteX0" fmla="*/ 48264 w 48263"/>
                    <a:gd name="connsiteY0" fmla="*/ 79944 h 79943"/>
                    <a:gd name="connsiteX1" fmla="*/ 48264 w 48263"/>
                    <a:gd name="connsiteY1" fmla="*/ 0 h 79943"/>
                    <a:gd name="connsiteX2" fmla="*/ 0 w 48263"/>
                    <a:gd name="connsiteY2" fmla="*/ 0 h 79943"/>
                    <a:gd name="connsiteX3" fmla="*/ 0 w 48263"/>
                    <a:gd name="connsiteY3" fmla="*/ 79944 h 7994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8263" h="79943">
                      <a:moveTo>
                        <a:pt x="48264" y="79944"/>
                      </a:moveTo>
                      <a:lnTo>
                        <a:pt x="48264" y="0"/>
                      </a:lnTo>
                      <a:lnTo>
                        <a:pt x="0" y="0"/>
                      </a:lnTo>
                      <a:lnTo>
                        <a:pt x="0" y="79944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83" name="Forma livre: Forma 282">
                  <a:extLst>
                    <a:ext uri="{FF2B5EF4-FFF2-40B4-BE49-F238E27FC236}">
                      <a16:creationId xmlns:a16="http://schemas.microsoft.com/office/drawing/2014/main" id="{9239A9FE-4426-65A1-30F1-498C7A5A6B8B}"/>
                    </a:ext>
                  </a:extLst>
                </p:cNvPr>
                <p:cNvSpPr/>
                <p:nvPr/>
              </p:nvSpPr>
              <p:spPr>
                <a:xfrm>
                  <a:off x="3300365" y="2708031"/>
                  <a:ext cx="48155" cy="136199"/>
                </a:xfrm>
                <a:custGeom>
                  <a:avLst/>
                  <a:gdLst>
                    <a:gd name="connsiteX0" fmla="*/ 48156 w 48155"/>
                    <a:gd name="connsiteY0" fmla="*/ 136199 h 136199"/>
                    <a:gd name="connsiteX1" fmla="*/ 48156 w 48155"/>
                    <a:gd name="connsiteY1" fmla="*/ 0 h 136199"/>
                    <a:gd name="connsiteX2" fmla="*/ 0 w 48155"/>
                    <a:gd name="connsiteY2" fmla="*/ 0 h 136199"/>
                    <a:gd name="connsiteX3" fmla="*/ 0 w 48155"/>
                    <a:gd name="connsiteY3" fmla="*/ 136199 h 13619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8155" h="136199">
                      <a:moveTo>
                        <a:pt x="48156" y="136199"/>
                      </a:moveTo>
                      <a:lnTo>
                        <a:pt x="48156" y="0"/>
                      </a:lnTo>
                      <a:lnTo>
                        <a:pt x="0" y="0"/>
                      </a:lnTo>
                      <a:lnTo>
                        <a:pt x="0" y="136199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84" name="Forma livre: Forma 283">
                  <a:extLst>
                    <a:ext uri="{FF2B5EF4-FFF2-40B4-BE49-F238E27FC236}">
                      <a16:creationId xmlns:a16="http://schemas.microsoft.com/office/drawing/2014/main" id="{FFE1E6D5-4C4A-577B-487B-F491FF66E7E0}"/>
                    </a:ext>
                  </a:extLst>
                </p:cNvPr>
                <p:cNvSpPr/>
                <p:nvPr/>
              </p:nvSpPr>
              <p:spPr>
                <a:xfrm>
                  <a:off x="3211722" y="2629285"/>
                  <a:ext cx="48167" cy="214945"/>
                </a:xfrm>
                <a:custGeom>
                  <a:avLst/>
                  <a:gdLst>
                    <a:gd name="connsiteX0" fmla="*/ 48168 w 48167"/>
                    <a:gd name="connsiteY0" fmla="*/ 214945 h 214945"/>
                    <a:gd name="connsiteX1" fmla="*/ 48168 w 48167"/>
                    <a:gd name="connsiteY1" fmla="*/ 0 h 214945"/>
                    <a:gd name="connsiteX2" fmla="*/ 0 w 48167"/>
                    <a:gd name="connsiteY2" fmla="*/ 0 h 214945"/>
                    <a:gd name="connsiteX3" fmla="*/ 0 w 48167"/>
                    <a:gd name="connsiteY3" fmla="*/ 214945 h 21494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8167" h="214945">
                      <a:moveTo>
                        <a:pt x="48168" y="214945"/>
                      </a:moveTo>
                      <a:lnTo>
                        <a:pt x="48168" y="0"/>
                      </a:lnTo>
                      <a:lnTo>
                        <a:pt x="0" y="0"/>
                      </a:lnTo>
                      <a:lnTo>
                        <a:pt x="0" y="214945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285" name="Forma livre: Forma 284">
                <a:extLst>
                  <a:ext uri="{FF2B5EF4-FFF2-40B4-BE49-F238E27FC236}">
                    <a16:creationId xmlns:a16="http://schemas.microsoft.com/office/drawing/2014/main" id="{A982E99F-918B-2E19-B193-B527487D432B}"/>
                  </a:ext>
                </a:extLst>
              </p:cNvPr>
              <p:cNvSpPr/>
              <p:nvPr/>
            </p:nvSpPr>
            <p:spPr>
              <a:xfrm>
                <a:off x="3177849" y="2866912"/>
                <a:ext cx="293247" cy="1198"/>
              </a:xfrm>
              <a:custGeom>
                <a:avLst/>
                <a:gdLst>
                  <a:gd name="connsiteX0" fmla="*/ 0 w 293247"/>
                  <a:gd name="connsiteY0" fmla="*/ 0 h 1198"/>
                  <a:gd name="connsiteX1" fmla="*/ 293248 w 293247"/>
                  <a:gd name="connsiteY1" fmla="*/ 0 h 11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93247" h="1198">
                    <a:moveTo>
                      <a:pt x="0" y="0"/>
                    </a:moveTo>
                    <a:lnTo>
                      <a:pt x="293248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286" name="Gráfico 4">
              <a:extLst>
                <a:ext uri="{FF2B5EF4-FFF2-40B4-BE49-F238E27FC236}">
                  <a16:creationId xmlns:a16="http://schemas.microsoft.com/office/drawing/2014/main" id="{845E636F-7704-7450-6577-D20AD7A30099}"/>
                </a:ext>
              </a:extLst>
            </p:cNvPr>
            <p:cNvGrpSpPr/>
            <p:nvPr/>
          </p:nvGrpSpPr>
          <p:grpSpPr>
            <a:xfrm>
              <a:off x="3382765" y="2629393"/>
              <a:ext cx="54518" cy="54230"/>
              <a:chOff x="3382765" y="2629393"/>
              <a:chExt cx="54518" cy="54230"/>
            </a:xfrm>
            <a:noFill/>
          </p:grpSpPr>
          <p:sp>
            <p:nvSpPr>
              <p:cNvPr id="287" name="Forma livre: Forma 286">
                <a:extLst>
                  <a:ext uri="{FF2B5EF4-FFF2-40B4-BE49-F238E27FC236}">
                    <a16:creationId xmlns:a16="http://schemas.microsoft.com/office/drawing/2014/main" id="{883701FD-9C00-7F25-D2E2-1917A6130D7F}"/>
                  </a:ext>
                </a:extLst>
              </p:cNvPr>
              <p:cNvSpPr/>
              <p:nvPr/>
            </p:nvSpPr>
            <p:spPr>
              <a:xfrm>
                <a:off x="3382765" y="2629393"/>
                <a:ext cx="53943" cy="53847"/>
              </a:xfrm>
              <a:custGeom>
                <a:avLst/>
                <a:gdLst>
                  <a:gd name="connsiteX0" fmla="*/ 53943 w 53943"/>
                  <a:gd name="connsiteY0" fmla="*/ 53847 h 53847"/>
                  <a:gd name="connsiteX1" fmla="*/ 0 w 53943"/>
                  <a:gd name="connsiteY1" fmla="*/ 0 h 538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3943" h="53847">
                    <a:moveTo>
                      <a:pt x="53943" y="53847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88" name="Forma livre: Forma 287">
                <a:extLst>
                  <a:ext uri="{FF2B5EF4-FFF2-40B4-BE49-F238E27FC236}">
                    <a16:creationId xmlns:a16="http://schemas.microsoft.com/office/drawing/2014/main" id="{181C525E-A919-2ECA-6A74-77E48A76CD3D}"/>
                  </a:ext>
                </a:extLst>
              </p:cNvPr>
              <p:cNvSpPr/>
              <p:nvPr/>
            </p:nvSpPr>
            <p:spPr>
              <a:xfrm>
                <a:off x="3397144" y="2643268"/>
                <a:ext cx="40139" cy="40355"/>
              </a:xfrm>
              <a:custGeom>
                <a:avLst/>
                <a:gdLst>
                  <a:gd name="connsiteX0" fmla="*/ 40140 w 40139"/>
                  <a:gd name="connsiteY0" fmla="*/ 0 h 40355"/>
                  <a:gd name="connsiteX1" fmla="*/ 40140 w 40139"/>
                  <a:gd name="connsiteY1" fmla="*/ 40355 h 40355"/>
                  <a:gd name="connsiteX2" fmla="*/ 0 w 40139"/>
                  <a:gd name="connsiteY2" fmla="*/ 40355 h 403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40139" h="40355">
                    <a:moveTo>
                      <a:pt x="40140" y="0"/>
                    </a:moveTo>
                    <a:lnTo>
                      <a:pt x="40140" y="40355"/>
                    </a:lnTo>
                    <a:lnTo>
                      <a:pt x="0" y="40355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289" name="Gráfico 4">
            <a:extLst>
              <a:ext uri="{FF2B5EF4-FFF2-40B4-BE49-F238E27FC236}">
                <a16:creationId xmlns:a16="http://schemas.microsoft.com/office/drawing/2014/main" id="{96269F3F-55B8-CAC4-3C24-1573E9B880F1}"/>
              </a:ext>
            </a:extLst>
          </p:cNvPr>
          <p:cNvGrpSpPr/>
          <p:nvPr/>
        </p:nvGrpSpPr>
        <p:grpSpPr>
          <a:xfrm>
            <a:off x="2558726" y="2629285"/>
            <a:ext cx="293235" cy="237627"/>
            <a:chOff x="2558726" y="2629285"/>
            <a:chExt cx="293235" cy="237627"/>
          </a:xfrm>
          <a:noFill/>
        </p:grpSpPr>
        <p:grpSp>
          <p:nvGrpSpPr>
            <p:cNvPr id="290" name="Gráfico 4">
              <a:extLst>
                <a:ext uri="{FF2B5EF4-FFF2-40B4-BE49-F238E27FC236}">
                  <a16:creationId xmlns:a16="http://schemas.microsoft.com/office/drawing/2014/main" id="{4E9277FA-D0F5-6E01-5626-084F0D381C7E}"/>
                </a:ext>
              </a:extLst>
            </p:cNvPr>
            <p:cNvGrpSpPr/>
            <p:nvPr/>
          </p:nvGrpSpPr>
          <p:grpSpPr>
            <a:xfrm>
              <a:off x="2592599" y="2629285"/>
              <a:ext cx="225489" cy="214945"/>
              <a:chOff x="2592599" y="2629285"/>
              <a:chExt cx="225489" cy="214945"/>
            </a:xfrm>
            <a:noFill/>
          </p:grpSpPr>
          <p:sp>
            <p:nvSpPr>
              <p:cNvPr id="291" name="Forma livre: Forma 290">
                <a:extLst>
                  <a:ext uri="{FF2B5EF4-FFF2-40B4-BE49-F238E27FC236}">
                    <a16:creationId xmlns:a16="http://schemas.microsoft.com/office/drawing/2014/main" id="{7E19EE08-D829-8942-B5F1-9671A2A1CFDB}"/>
                  </a:ext>
                </a:extLst>
              </p:cNvPr>
              <p:cNvSpPr/>
              <p:nvPr/>
            </p:nvSpPr>
            <p:spPr>
              <a:xfrm>
                <a:off x="2592599" y="2764286"/>
                <a:ext cx="48263" cy="79943"/>
              </a:xfrm>
              <a:custGeom>
                <a:avLst/>
                <a:gdLst>
                  <a:gd name="connsiteX0" fmla="*/ 0 w 48263"/>
                  <a:gd name="connsiteY0" fmla="*/ 79944 h 79943"/>
                  <a:gd name="connsiteX1" fmla="*/ 0 w 48263"/>
                  <a:gd name="connsiteY1" fmla="*/ 0 h 79943"/>
                  <a:gd name="connsiteX2" fmla="*/ 48264 w 48263"/>
                  <a:gd name="connsiteY2" fmla="*/ 0 h 79943"/>
                  <a:gd name="connsiteX3" fmla="*/ 48264 w 48263"/>
                  <a:gd name="connsiteY3" fmla="*/ 79944 h 799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8263" h="79943">
                    <a:moveTo>
                      <a:pt x="0" y="79944"/>
                    </a:moveTo>
                    <a:lnTo>
                      <a:pt x="0" y="0"/>
                    </a:lnTo>
                    <a:lnTo>
                      <a:pt x="48264" y="0"/>
                    </a:lnTo>
                    <a:lnTo>
                      <a:pt x="48264" y="79944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92" name="Forma livre: Forma 291">
                <a:extLst>
                  <a:ext uri="{FF2B5EF4-FFF2-40B4-BE49-F238E27FC236}">
                    <a16:creationId xmlns:a16="http://schemas.microsoft.com/office/drawing/2014/main" id="{25A7A56D-E8F3-7C71-C589-665EE6B6D206}"/>
                  </a:ext>
                </a:extLst>
              </p:cNvPr>
              <p:cNvSpPr/>
              <p:nvPr/>
            </p:nvSpPr>
            <p:spPr>
              <a:xfrm>
                <a:off x="2681278" y="2708031"/>
                <a:ext cx="48167" cy="136199"/>
              </a:xfrm>
              <a:custGeom>
                <a:avLst/>
                <a:gdLst>
                  <a:gd name="connsiteX0" fmla="*/ 0 w 48167"/>
                  <a:gd name="connsiteY0" fmla="*/ 136199 h 136199"/>
                  <a:gd name="connsiteX1" fmla="*/ 0 w 48167"/>
                  <a:gd name="connsiteY1" fmla="*/ 0 h 136199"/>
                  <a:gd name="connsiteX2" fmla="*/ 48168 w 48167"/>
                  <a:gd name="connsiteY2" fmla="*/ 0 h 136199"/>
                  <a:gd name="connsiteX3" fmla="*/ 48168 w 48167"/>
                  <a:gd name="connsiteY3" fmla="*/ 136199 h 1361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8167" h="136199">
                    <a:moveTo>
                      <a:pt x="0" y="136199"/>
                    </a:moveTo>
                    <a:lnTo>
                      <a:pt x="0" y="0"/>
                    </a:lnTo>
                    <a:lnTo>
                      <a:pt x="48168" y="0"/>
                    </a:lnTo>
                    <a:lnTo>
                      <a:pt x="48168" y="136199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93" name="Forma livre: Forma 292">
                <a:extLst>
                  <a:ext uri="{FF2B5EF4-FFF2-40B4-BE49-F238E27FC236}">
                    <a16:creationId xmlns:a16="http://schemas.microsoft.com/office/drawing/2014/main" id="{9AFF939D-B437-87C8-2A01-E9B84D5EAD46}"/>
                  </a:ext>
                </a:extLst>
              </p:cNvPr>
              <p:cNvSpPr/>
              <p:nvPr/>
            </p:nvSpPr>
            <p:spPr>
              <a:xfrm>
                <a:off x="2769921" y="2629285"/>
                <a:ext cx="48167" cy="214945"/>
              </a:xfrm>
              <a:custGeom>
                <a:avLst/>
                <a:gdLst>
                  <a:gd name="connsiteX0" fmla="*/ 0 w 48167"/>
                  <a:gd name="connsiteY0" fmla="*/ 214945 h 214945"/>
                  <a:gd name="connsiteX1" fmla="*/ 0 w 48167"/>
                  <a:gd name="connsiteY1" fmla="*/ 0 h 214945"/>
                  <a:gd name="connsiteX2" fmla="*/ 48168 w 48167"/>
                  <a:gd name="connsiteY2" fmla="*/ 0 h 214945"/>
                  <a:gd name="connsiteX3" fmla="*/ 48168 w 48167"/>
                  <a:gd name="connsiteY3" fmla="*/ 214945 h 2149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8167" h="214945">
                    <a:moveTo>
                      <a:pt x="0" y="214945"/>
                    </a:moveTo>
                    <a:lnTo>
                      <a:pt x="0" y="0"/>
                    </a:lnTo>
                    <a:lnTo>
                      <a:pt x="48168" y="0"/>
                    </a:lnTo>
                    <a:lnTo>
                      <a:pt x="48168" y="214945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294" name="Forma livre: Forma 293">
              <a:extLst>
                <a:ext uri="{FF2B5EF4-FFF2-40B4-BE49-F238E27FC236}">
                  <a16:creationId xmlns:a16="http://schemas.microsoft.com/office/drawing/2014/main" id="{1B86F0E5-4D3A-269E-ACE9-048E29DAF585}"/>
                </a:ext>
              </a:extLst>
            </p:cNvPr>
            <p:cNvSpPr/>
            <p:nvPr/>
          </p:nvSpPr>
          <p:spPr>
            <a:xfrm>
              <a:off x="2558726" y="2866912"/>
              <a:ext cx="293235" cy="1198"/>
            </a:xfrm>
            <a:custGeom>
              <a:avLst/>
              <a:gdLst>
                <a:gd name="connsiteX0" fmla="*/ 293236 w 293235"/>
                <a:gd name="connsiteY0" fmla="*/ 0 h 1198"/>
                <a:gd name="connsiteX1" fmla="*/ 0 w 293235"/>
                <a:gd name="connsiteY1" fmla="*/ 0 h 11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93235" h="1198">
                  <a:moveTo>
                    <a:pt x="293236" y="0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295" name="Gráfico 4">
              <a:extLst>
                <a:ext uri="{FF2B5EF4-FFF2-40B4-BE49-F238E27FC236}">
                  <a16:creationId xmlns:a16="http://schemas.microsoft.com/office/drawing/2014/main" id="{A354EEB5-6D77-4960-E205-BDA8BD35FC6A}"/>
                </a:ext>
              </a:extLst>
            </p:cNvPr>
            <p:cNvGrpSpPr/>
            <p:nvPr/>
          </p:nvGrpSpPr>
          <p:grpSpPr>
            <a:xfrm>
              <a:off x="2592527" y="2629357"/>
              <a:ext cx="54230" cy="54542"/>
              <a:chOff x="2592527" y="2629357"/>
              <a:chExt cx="54230" cy="54542"/>
            </a:xfrm>
            <a:noFill/>
          </p:grpSpPr>
          <p:sp>
            <p:nvSpPr>
              <p:cNvPr id="296" name="Forma livre: Forma 295">
                <a:extLst>
                  <a:ext uri="{FF2B5EF4-FFF2-40B4-BE49-F238E27FC236}">
                    <a16:creationId xmlns:a16="http://schemas.microsoft.com/office/drawing/2014/main" id="{A1FA8AD7-3D3A-8323-6CAD-8458F45FEC46}"/>
                  </a:ext>
                </a:extLst>
              </p:cNvPr>
              <p:cNvSpPr/>
              <p:nvPr/>
            </p:nvSpPr>
            <p:spPr>
              <a:xfrm>
                <a:off x="2592527" y="2629944"/>
                <a:ext cx="53835" cy="53955"/>
              </a:xfrm>
              <a:custGeom>
                <a:avLst/>
                <a:gdLst>
                  <a:gd name="connsiteX0" fmla="*/ 53835 w 53835"/>
                  <a:gd name="connsiteY0" fmla="*/ 0 h 53955"/>
                  <a:gd name="connsiteX1" fmla="*/ 0 w 53835"/>
                  <a:gd name="connsiteY1" fmla="*/ 53955 h 539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3835" h="53955">
                    <a:moveTo>
                      <a:pt x="53835" y="0"/>
                    </a:moveTo>
                    <a:lnTo>
                      <a:pt x="0" y="53955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97" name="Forma livre: Forma 296">
                <a:extLst>
                  <a:ext uri="{FF2B5EF4-FFF2-40B4-BE49-F238E27FC236}">
                    <a16:creationId xmlns:a16="http://schemas.microsoft.com/office/drawing/2014/main" id="{AF93BC63-7942-005E-E2E0-79F4976E6AB2}"/>
                  </a:ext>
                </a:extLst>
              </p:cNvPr>
              <p:cNvSpPr/>
              <p:nvPr/>
            </p:nvSpPr>
            <p:spPr>
              <a:xfrm>
                <a:off x="2606391" y="2629357"/>
                <a:ext cx="40367" cy="40139"/>
              </a:xfrm>
              <a:custGeom>
                <a:avLst/>
                <a:gdLst>
                  <a:gd name="connsiteX0" fmla="*/ 0 w 40367"/>
                  <a:gd name="connsiteY0" fmla="*/ 0 h 40139"/>
                  <a:gd name="connsiteX1" fmla="*/ 40367 w 40367"/>
                  <a:gd name="connsiteY1" fmla="*/ 0 h 40139"/>
                  <a:gd name="connsiteX2" fmla="*/ 40367 w 40367"/>
                  <a:gd name="connsiteY2" fmla="*/ 40140 h 401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40367" h="40139">
                    <a:moveTo>
                      <a:pt x="0" y="0"/>
                    </a:moveTo>
                    <a:lnTo>
                      <a:pt x="40367" y="0"/>
                    </a:lnTo>
                    <a:lnTo>
                      <a:pt x="40367" y="40140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299" name="Gráfico 6">
            <a:extLst>
              <a:ext uri="{FF2B5EF4-FFF2-40B4-BE49-F238E27FC236}">
                <a16:creationId xmlns:a16="http://schemas.microsoft.com/office/drawing/2014/main" id="{9E6E3C10-3A69-B644-F4E6-39073D0D780B}"/>
              </a:ext>
            </a:extLst>
          </p:cNvPr>
          <p:cNvGrpSpPr/>
          <p:nvPr/>
        </p:nvGrpSpPr>
        <p:grpSpPr>
          <a:xfrm>
            <a:off x="5652242" y="2584453"/>
            <a:ext cx="281140" cy="316445"/>
            <a:chOff x="5652242" y="2584453"/>
            <a:chExt cx="281140" cy="316445"/>
          </a:xfrm>
          <a:noFill/>
        </p:grpSpPr>
        <p:sp>
          <p:nvSpPr>
            <p:cNvPr id="300" name="Forma livre: Forma 299">
              <a:extLst>
                <a:ext uri="{FF2B5EF4-FFF2-40B4-BE49-F238E27FC236}">
                  <a16:creationId xmlns:a16="http://schemas.microsoft.com/office/drawing/2014/main" id="{86209D22-AB60-1132-003C-9F279B33AC87}"/>
                </a:ext>
              </a:extLst>
            </p:cNvPr>
            <p:cNvSpPr/>
            <p:nvPr/>
          </p:nvSpPr>
          <p:spPr>
            <a:xfrm>
              <a:off x="5705488" y="2796838"/>
              <a:ext cx="140073" cy="104060"/>
            </a:xfrm>
            <a:custGeom>
              <a:avLst/>
              <a:gdLst>
                <a:gd name="connsiteX0" fmla="*/ 123630 w 140073"/>
                <a:gd name="connsiteY0" fmla="*/ 31114 h 104060"/>
                <a:gd name="connsiteX1" fmla="*/ 115869 w 140073"/>
                <a:gd name="connsiteY1" fmla="*/ 104061 h 104060"/>
                <a:gd name="connsiteX2" fmla="*/ 24827 w 140073"/>
                <a:gd name="connsiteY2" fmla="*/ 104061 h 104060"/>
                <a:gd name="connsiteX3" fmla="*/ 16910 w 140073"/>
                <a:gd name="connsiteY3" fmla="*/ 29617 h 104060"/>
                <a:gd name="connsiteX4" fmla="*/ 0 w 140073"/>
                <a:gd name="connsiteY4" fmla="*/ 29617 h 104060"/>
                <a:gd name="connsiteX5" fmla="*/ 0 w 140073"/>
                <a:gd name="connsiteY5" fmla="*/ 0 h 104060"/>
                <a:gd name="connsiteX6" fmla="*/ 140073 w 140073"/>
                <a:gd name="connsiteY6" fmla="*/ 0 h 104060"/>
                <a:gd name="connsiteX7" fmla="*/ 140073 w 140073"/>
                <a:gd name="connsiteY7" fmla="*/ 29617 h 104060"/>
                <a:gd name="connsiteX8" fmla="*/ 58072 w 140073"/>
                <a:gd name="connsiteY8" fmla="*/ 29617 h 1040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0073" h="104060">
                  <a:moveTo>
                    <a:pt x="123630" y="31114"/>
                  </a:moveTo>
                  <a:lnTo>
                    <a:pt x="115869" y="104061"/>
                  </a:lnTo>
                  <a:lnTo>
                    <a:pt x="24827" y="104061"/>
                  </a:lnTo>
                  <a:lnTo>
                    <a:pt x="16910" y="29617"/>
                  </a:lnTo>
                  <a:lnTo>
                    <a:pt x="0" y="29617"/>
                  </a:lnTo>
                  <a:lnTo>
                    <a:pt x="0" y="0"/>
                  </a:lnTo>
                  <a:lnTo>
                    <a:pt x="140073" y="0"/>
                  </a:lnTo>
                  <a:lnTo>
                    <a:pt x="140073" y="29617"/>
                  </a:lnTo>
                  <a:lnTo>
                    <a:pt x="58072" y="29617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01" name="Forma livre: Forma 300">
              <a:extLst>
                <a:ext uri="{FF2B5EF4-FFF2-40B4-BE49-F238E27FC236}">
                  <a16:creationId xmlns:a16="http://schemas.microsoft.com/office/drawing/2014/main" id="{FB6B5238-3A1D-3F0A-81BE-BEE83BF42D35}"/>
                </a:ext>
              </a:extLst>
            </p:cNvPr>
            <p:cNvSpPr/>
            <p:nvPr/>
          </p:nvSpPr>
          <p:spPr>
            <a:xfrm>
              <a:off x="5698014" y="2584453"/>
              <a:ext cx="72947" cy="189606"/>
            </a:xfrm>
            <a:custGeom>
              <a:avLst/>
              <a:gdLst>
                <a:gd name="connsiteX0" fmla="*/ 72948 w 72947"/>
                <a:gd name="connsiteY0" fmla="*/ 189606 h 189606"/>
                <a:gd name="connsiteX1" fmla="*/ 49163 w 72947"/>
                <a:gd name="connsiteY1" fmla="*/ 82108 h 189606"/>
                <a:gd name="connsiteX2" fmla="*/ 44756 w 72947"/>
                <a:gd name="connsiteY2" fmla="*/ 27318 h 189606"/>
                <a:gd name="connsiteX3" fmla="*/ 2827 w 72947"/>
                <a:gd name="connsiteY3" fmla="*/ 0 h 189606"/>
                <a:gd name="connsiteX4" fmla="*/ 4289 w 72947"/>
                <a:gd name="connsiteY4" fmla="*/ 50192 h 189606"/>
                <a:gd name="connsiteX5" fmla="*/ 27558 w 72947"/>
                <a:gd name="connsiteY5" fmla="*/ 80001 h 1896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2947" h="189606">
                  <a:moveTo>
                    <a:pt x="72948" y="189606"/>
                  </a:moveTo>
                  <a:cubicBezTo>
                    <a:pt x="69906" y="135103"/>
                    <a:pt x="58385" y="100755"/>
                    <a:pt x="49163" y="82108"/>
                  </a:cubicBezTo>
                  <a:cubicBezTo>
                    <a:pt x="61475" y="74923"/>
                    <a:pt x="60732" y="44815"/>
                    <a:pt x="44756" y="27318"/>
                  </a:cubicBezTo>
                  <a:cubicBezTo>
                    <a:pt x="25929" y="6719"/>
                    <a:pt x="2827" y="0"/>
                    <a:pt x="2827" y="0"/>
                  </a:cubicBezTo>
                  <a:cubicBezTo>
                    <a:pt x="2827" y="0"/>
                    <a:pt x="-4418" y="20862"/>
                    <a:pt x="4289" y="50192"/>
                  </a:cubicBezTo>
                  <a:cubicBezTo>
                    <a:pt x="8121" y="63090"/>
                    <a:pt x="17570" y="74252"/>
                    <a:pt x="27558" y="80001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02" name="Forma livre: Forma 301">
              <a:extLst>
                <a:ext uri="{FF2B5EF4-FFF2-40B4-BE49-F238E27FC236}">
                  <a16:creationId xmlns:a16="http://schemas.microsoft.com/office/drawing/2014/main" id="{563A23CC-BA02-911E-2E53-F4DF334250DD}"/>
                </a:ext>
              </a:extLst>
            </p:cNvPr>
            <p:cNvSpPr/>
            <p:nvPr/>
          </p:nvSpPr>
          <p:spPr>
            <a:xfrm>
              <a:off x="5652242" y="2688455"/>
              <a:ext cx="111438" cy="38779"/>
            </a:xfrm>
            <a:custGeom>
              <a:avLst/>
              <a:gdLst>
                <a:gd name="connsiteX0" fmla="*/ 111438 w 111438"/>
                <a:gd name="connsiteY0" fmla="*/ 29461 h 38779"/>
                <a:gd name="connsiteX1" fmla="*/ 74516 w 111438"/>
                <a:gd name="connsiteY1" fmla="*/ 16143 h 38779"/>
                <a:gd name="connsiteX2" fmla="*/ 61773 w 111438"/>
                <a:gd name="connsiteY2" fmla="*/ 3376 h 38779"/>
                <a:gd name="connsiteX3" fmla="*/ 32994 w 111438"/>
                <a:gd name="connsiteY3" fmla="*/ 1951 h 38779"/>
                <a:gd name="connsiteX4" fmla="*/ 0 w 111438"/>
                <a:gd name="connsiteY4" fmla="*/ 23748 h 38779"/>
                <a:gd name="connsiteX5" fmla="*/ 36851 w 111438"/>
                <a:gd name="connsiteY5" fmla="*/ 38503 h 38779"/>
                <a:gd name="connsiteX6" fmla="*/ 62551 w 111438"/>
                <a:gd name="connsiteY6" fmla="*/ 33149 h 387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11438" h="38779">
                  <a:moveTo>
                    <a:pt x="111438" y="29461"/>
                  </a:moveTo>
                  <a:cubicBezTo>
                    <a:pt x="104552" y="15772"/>
                    <a:pt x="74516" y="16143"/>
                    <a:pt x="74516" y="16143"/>
                  </a:cubicBezTo>
                  <a:cubicBezTo>
                    <a:pt x="73917" y="11053"/>
                    <a:pt x="68611" y="6359"/>
                    <a:pt x="61773" y="3376"/>
                  </a:cubicBezTo>
                  <a:cubicBezTo>
                    <a:pt x="53593" y="-180"/>
                    <a:pt x="42659" y="-1354"/>
                    <a:pt x="32994" y="1951"/>
                  </a:cubicBezTo>
                  <a:cubicBezTo>
                    <a:pt x="12144" y="9113"/>
                    <a:pt x="0" y="23748"/>
                    <a:pt x="0" y="23748"/>
                  </a:cubicBezTo>
                  <a:cubicBezTo>
                    <a:pt x="0" y="23748"/>
                    <a:pt x="12838" y="35580"/>
                    <a:pt x="36851" y="38503"/>
                  </a:cubicBezTo>
                  <a:cubicBezTo>
                    <a:pt x="45940" y="39616"/>
                    <a:pt x="55426" y="37281"/>
                    <a:pt x="62551" y="33149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03" name="Forma livre: Forma 302">
              <a:extLst>
                <a:ext uri="{FF2B5EF4-FFF2-40B4-BE49-F238E27FC236}">
                  <a16:creationId xmlns:a16="http://schemas.microsoft.com/office/drawing/2014/main" id="{FD3C9321-AC5A-4A3C-0954-62A1F723FED1}"/>
                </a:ext>
              </a:extLst>
            </p:cNvPr>
            <p:cNvSpPr/>
            <p:nvPr/>
          </p:nvSpPr>
          <p:spPr>
            <a:xfrm>
              <a:off x="5796668" y="2625571"/>
              <a:ext cx="136714" cy="107531"/>
            </a:xfrm>
            <a:custGeom>
              <a:avLst/>
              <a:gdLst>
                <a:gd name="connsiteX0" fmla="*/ 55 w 136714"/>
                <a:gd name="connsiteY0" fmla="*/ 55075 h 107531"/>
                <a:gd name="connsiteX1" fmla="*/ 35732 w 136714"/>
                <a:gd name="connsiteY1" fmla="*/ 4799 h 107531"/>
                <a:gd name="connsiteX2" fmla="*/ 136715 w 136714"/>
                <a:gd name="connsiteY2" fmla="*/ 5290 h 107531"/>
                <a:gd name="connsiteX3" fmla="*/ 86690 w 136714"/>
                <a:gd name="connsiteY3" fmla="*/ 92177 h 107531"/>
                <a:gd name="connsiteX4" fmla="*/ 6965 w 136714"/>
                <a:gd name="connsiteY4" fmla="*/ 79698 h 1075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6714" h="107531">
                  <a:moveTo>
                    <a:pt x="55" y="55075"/>
                  </a:moveTo>
                  <a:cubicBezTo>
                    <a:pt x="-831" y="35446"/>
                    <a:pt x="8953" y="14943"/>
                    <a:pt x="35732" y="4799"/>
                  </a:cubicBezTo>
                  <a:cubicBezTo>
                    <a:pt x="64942" y="-6279"/>
                    <a:pt x="136715" y="5290"/>
                    <a:pt x="136715" y="5290"/>
                  </a:cubicBezTo>
                  <a:cubicBezTo>
                    <a:pt x="136715" y="5290"/>
                    <a:pt x="112343" y="70800"/>
                    <a:pt x="86690" y="92177"/>
                  </a:cubicBezTo>
                  <a:cubicBezTo>
                    <a:pt x="51337" y="121663"/>
                    <a:pt x="20115" y="103758"/>
                    <a:pt x="6965" y="79698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04" name="Forma livre: Forma 303">
              <a:extLst>
                <a:ext uri="{FF2B5EF4-FFF2-40B4-BE49-F238E27FC236}">
                  <a16:creationId xmlns:a16="http://schemas.microsoft.com/office/drawing/2014/main" id="{9310D306-4699-EBCC-A8FD-FFD8D67D07E8}"/>
                </a:ext>
              </a:extLst>
            </p:cNvPr>
            <p:cNvSpPr/>
            <p:nvPr/>
          </p:nvSpPr>
          <p:spPr>
            <a:xfrm>
              <a:off x="5830783" y="2690670"/>
              <a:ext cx="26311" cy="11137"/>
            </a:xfrm>
            <a:custGeom>
              <a:avLst/>
              <a:gdLst>
                <a:gd name="connsiteX0" fmla="*/ 0 w 26311"/>
                <a:gd name="connsiteY0" fmla="*/ 0 h 11137"/>
                <a:gd name="connsiteX1" fmla="*/ 26312 w 26311"/>
                <a:gd name="connsiteY1" fmla="*/ 11138 h 111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6311" h="11137">
                  <a:moveTo>
                    <a:pt x="0" y="0"/>
                  </a:moveTo>
                  <a:lnTo>
                    <a:pt x="26312" y="11138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05" name="Forma livre: Forma 304">
              <a:extLst>
                <a:ext uri="{FF2B5EF4-FFF2-40B4-BE49-F238E27FC236}">
                  <a16:creationId xmlns:a16="http://schemas.microsoft.com/office/drawing/2014/main" id="{737C4B6F-DD9C-139C-56F8-083BD2DE9B66}"/>
                </a:ext>
              </a:extLst>
            </p:cNvPr>
            <p:cNvSpPr/>
            <p:nvPr/>
          </p:nvSpPr>
          <p:spPr>
            <a:xfrm>
              <a:off x="5853538" y="2653855"/>
              <a:ext cx="1377" cy="21904"/>
            </a:xfrm>
            <a:custGeom>
              <a:avLst/>
              <a:gdLst>
                <a:gd name="connsiteX0" fmla="*/ 0 w 1377"/>
                <a:gd name="connsiteY0" fmla="*/ 21904 h 21904"/>
                <a:gd name="connsiteX1" fmla="*/ 1377 w 1377"/>
                <a:gd name="connsiteY1" fmla="*/ 0 h 219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377" h="21904">
                  <a:moveTo>
                    <a:pt x="0" y="21904"/>
                  </a:moveTo>
                  <a:lnTo>
                    <a:pt x="1377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06" name="Forma livre: Forma 305">
              <a:extLst>
                <a:ext uri="{FF2B5EF4-FFF2-40B4-BE49-F238E27FC236}">
                  <a16:creationId xmlns:a16="http://schemas.microsoft.com/office/drawing/2014/main" id="{3BC2FA55-CA96-5ABD-35A9-E656778774B0}"/>
                </a:ext>
              </a:extLst>
            </p:cNvPr>
            <p:cNvSpPr/>
            <p:nvPr/>
          </p:nvSpPr>
          <p:spPr>
            <a:xfrm>
              <a:off x="5768770" y="2656382"/>
              <a:ext cx="119797" cy="82240"/>
            </a:xfrm>
            <a:custGeom>
              <a:avLst/>
              <a:gdLst>
                <a:gd name="connsiteX0" fmla="*/ 0 w 119797"/>
                <a:gd name="connsiteY0" fmla="*/ 82240 h 82240"/>
                <a:gd name="connsiteX1" fmla="*/ 31797 w 119797"/>
                <a:gd name="connsiteY1" fmla="*/ 50563 h 82240"/>
                <a:gd name="connsiteX2" fmla="*/ 119797 w 119797"/>
                <a:gd name="connsiteY2" fmla="*/ 0 h 822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19797" h="82240">
                  <a:moveTo>
                    <a:pt x="0" y="82240"/>
                  </a:moveTo>
                  <a:cubicBezTo>
                    <a:pt x="9042" y="65653"/>
                    <a:pt x="31797" y="50563"/>
                    <a:pt x="31797" y="50563"/>
                  </a:cubicBezTo>
                  <a:lnTo>
                    <a:pt x="119797" y="0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307" name="Gráfico 6">
            <a:extLst>
              <a:ext uri="{FF2B5EF4-FFF2-40B4-BE49-F238E27FC236}">
                <a16:creationId xmlns:a16="http://schemas.microsoft.com/office/drawing/2014/main" id="{0AD7FA88-E94E-A3CC-87CF-E135480AEE5A}"/>
              </a:ext>
            </a:extLst>
          </p:cNvPr>
          <p:cNvGrpSpPr/>
          <p:nvPr/>
        </p:nvGrpSpPr>
        <p:grpSpPr>
          <a:xfrm>
            <a:off x="4407621" y="2620885"/>
            <a:ext cx="277343" cy="243582"/>
            <a:chOff x="4407621" y="2620885"/>
            <a:chExt cx="277343" cy="243582"/>
          </a:xfrm>
          <a:noFill/>
        </p:grpSpPr>
        <p:sp>
          <p:nvSpPr>
            <p:cNvPr id="308" name="Forma livre: Forma 307">
              <a:extLst>
                <a:ext uri="{FF2B5EF4-FFF2-40B4-BE49-F238E27FC236}">
                  <a16:creationId xmlns:a16="http://schemas.microsoft.com/office/drawing/2014/main" id="{91C8FEB5-B49A-BEC8-83FD-9173E11C348E}"/>
                </a:ext>
              </a:extLst>
            </p:cNvPr>
            <p:cNvSpPr/>
            <p:nvPr/>
          </p:nvSpPr>
          <p:spPr>
            <a:xfrm>
              <a:off x="4432172" y="2769341"/>
              <a:ext cx="252792" cy="31413"/>
            </a:xfrm>
            <a:custGeom>
              <a:avLst/>
              <a:gdLst>
                <a:gd name="connsiteX0" fmla="*/ 252793 w 252792"/>
                <a:gd name="connsiteY0" fmla="*/ 0 h 31413"/>
                <a:gd name="connsiteX1" fmla="*/ 149798 w 252792"/>
                <a:gd name="connsiteY1" fmla="*/ 0 h 31413"/>
                <a:gd name="connsiteX2" fmla="*/ 114121 w 252792"/>
                <a:gd name="connsiteY2" fmla="*/ 31414 h 31413"/>
                <a:gd name="connsiteX3" fmla="*/ 78384 w 252792"/>
                <a:gd name="connsiteY3" fmla="*/ 0 h 31413"/>
                <a:gd name="connsiteX4" fmla="*/ 0 w 252792"/>
                <a:gd name="connsiteY4" fmla="*/ 0 h 314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2792" h="31413">
                  <a:moveTo>
                    <a:pt x="252793" y="0"/>
                  </a:moveTo>
                  <a:lnTo>
                    <a:pt x="149798" y="0"/>
                  </a:lnTo>
                  <a:cubicBezTo>
                    <a:pt x="147067" y="17246"/>
                    <a:pt x="132133" y="31414"/>
                    <a:pt x="114121" y="31414"/>
                  </a:cubicBezTo>
                  <a:cubicBezTo>
                    <a:pt x="96109" y="31414"/>
                    <a:pt x="80959" y="17425"/>
                    <a:pt x="78384" y="0"/>
                  </a:cubicBezTo>
                  <a:lnTo>
                    <a:pt x="0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09" name="Forma livre: Forma 308">
              <a:extLst>
                <a:ext uri="{FF2B5EF4-FFF2-40B4-BE49-F238E27FC236}">
                  <a16:creationId xmlns:a16="http://schemas.microsoft.com/office/drawing/2014/main" id="{7D3B317E-65BD-32A6-023E-E5FFF2216720}"/>
                </a:ext>
              </a:extLst>
            </p:cNvPr>
            <p:cNvSpPr/>
            <p:nvPr/>
          </p:nvSpPr>
          <p:spPr>
            <a:xfrm>
              <a:off x="4407621" y="2643460"/>
              <a:ext cx="277343" cy="221007"/>
            </a:xfrm>
            <a:custGeom>
              <a:avLst/>
              <a:gdLst>
                <a:gd name="connsiteX0" fmla="*/ 43402 w 277343"/>
                <a:gd name="connsiteY0" fmla="*/ 0 h 221007"/>
                <a:gd name="connsiteX1" fmla="*/ 0 w 277343"/>
                <a:gd name="connsiteY1" fmla="*/ 125810 h 221007"/>
                <a:gd name="connsiteX2" fmla="*/ 0 w 277343"/>
                <a:gd name="connsiteY2" fmla="*/ 221008 h 221007"/>
                <a:gd name="connsiteX3" fmla="*/ 277344 w 277343"/>
                <a:gd name="connsiteY3" fmla="*/ 221008 h 221007"/>
                <a:gd name="connsiteX4" fmla="*/ 277344 w 277343"/>
                <a:gd name="connsiteY4" fmla="*/ 125810 h 221007"/>
                <a:gd name="connsiteX5" fmla="*/ 233954 w 277343"/>
                <a:gd name="connsiteY5" fmla="*/ 0 h 2210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77343" h="221007">
                  <a:moveTo>
                    <a:pt x="43402" y="0"/>
                  </a:moveTo>
                  <a:lnTo>
                    <a:pt x="0" y="125810"/>
                  </a:lnTo>
                  <a:lnTo>
                    <a:pt x="0" y="221008"/>
                  </a:lnTo>
                  <a:lnTo>
                    <a:pt x="277344" y="221008"/>
                  </a:lnTo>
                  <a:lnTo>
                    <a:pt x="277344" y="125810"/>
                  </a:lnTo>
                  <a:lnTo>
                    <a:pt x="233954" y="0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10" name="Forma livre: Forma 309">
              <a:extLst>
                <a:ext uri="{FF2B5EF4-FFF2-40B4-BE49-F238E27FC236}">
                  <a16:creationId xmlns:a16="http://schemas.microsoft.com/office/drawing/2014/main" id="{6295FAD0-96D6-232E-14CD-1AB48D070AC6}"/>
                </a:ext>
              </a:extLst>
            </p:cNvPr>
            <p:cNvSpPr/>
            <p:nvPr/>
          </p:nvSpPr>
          <p:spPr>
            <a:xfrm>
              <a:off x="4481358" y="2663436"/>
              <a:ext cx="129881" cy="27006"/>
            </a:xfrm>
            <a:custGeom>
              <a:avLst/>
              <a:gdLst>
                <a:gd name="connsiteX0" fmla="*/ 129881 w 129881"/>
                <a:gd name="connsiteY0" fmla="*/ 27006 h 27006"/>
                <a:gd name="connsiteX1" fmla="*/ 129881 w 129881"/>
                <a:gd name="connsiteY1" fmla="*/ 0 h 27006"/>
                <a:gd name="connsiteX2" fmla="*/ 0 w 129881"/>
                <a:gd name="connsiteY2" fmla="*/ 0 h 27006"/>
                <a:gd name="connsiteX3" fmla="*/ 0 w 129881"/>
                <a:gd name="connsiteY3" fmla="*/ 27006 h 270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881" h="27006">
                  <a:moveTo>
                    <a:pt x="129881" y="27006"/>
                  </a:moveTo>
                  <a:lnTo>
                    <a:pt x="129881" y="0"/>
                  </a:lnTo>
                  <a:lnTo>
                    <a:pt x="0" y="0"/>
                  </a:lnTo>
                  <a:lnTo>
                    <a:pt x="0" y="27006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11" name="Forma livre: Forma 310">
              <a:extLst>
                <a:ext uri="{FF2B5EF4-FFF2-40B4-BE49-F238E27FC236}">
                  <a16:creationId xmlns:a16="http://schemas.microsoft.com/office/drawing/2014/main" id="{9B20F92D-13E7-A799-5E3B-CDE21B47AD0E}"/>
                </a:ext>
              </a:extLst>
            </p:cNvPr>
            <p:cNvSpPr/>
            <p:nvPr/>
          </p:nvSpPr>
          <p:spPr>
            <a:xfrm>
              <a:off x="4493730" y="2620885"/>
              <a:ext cx="105138" cy="20838"/>
            </a:xfrm>
            <a:custGeom>
              <a:avLst/>
              <a:gdLst>
                <a:gd name="connsiteX0" fmla="*/ 105139 w 105138"/>
                <a:gd name="connsiteY0" fmla="*/ 20839 h 20838"/>
                <a:gd name="connsiteX1" fmla="*/ 105139 w 105138"/>
                <a:gd name="connsiteY1" fmla="*/ 0 h 20838"/>
                <a:gd name="connsiteX2" fmla="*/ 0 w 105138"/>
                <a:gd name="connsiteY2" fmla="*/ 0 h 20838"/>
                <a:gd name="connsiteX3" fmla="*/ 0 w 105138"/>
                <a:gd name="connsiteY3" fmla="*/ 20839 h 208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5138" h="20838">
                  <a:moveTo>
                    <a:pt x="105139" y="20839"/>
                  </a:moveTo>
                  <a:lnTo>
                    <a:pt x="105139" y="0"/>
                  </a:lnTo>
                  <a:lnTo>
                    <a:pt x="0" y="0"/>
                  </a:lnTo>
                  <a:lnTo>
                    <a:pt x="0" y="20839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12" name="Forma livre: Forma 311">
              <a:extLst>
                <a:ext uri="{FF2B5EF4-FFF2-40B4-BE49-F238E27FC236}">
                  <a16:creationId xmlns:a16="http://schemas.microsoft.com/office/drawing/2014/main" id="{98559273-CA25-2C1B-BE56-02F27B0F4DC0}"/>
                </a:ext>
              </a:extLst>
            </p:cNvPr>
            <p:cNvSpPr/>
            <p:nvPr/>
          </p:nvSpPr>
          <p:spPr>
            <a:xfrm>
              <a:off x="4465658" y="2712478"/>
              <a:ext cx="161282" cy="35030"/>
            </a:xfrm>
            <a:custGeom>
              <a:avLst/>
              <a:gdLst>
                <a:gd name="connsiteX0" fmla="*/ 161283 w 161282"/>
                <a:gd name="connsiteY0" fmla="*/ 35030 h 35030"/>
                <a:gd name="connsiteX1" fmla="*/ 161283 w 161282"/>
                <a:gd name="connsiteY1" fmla="*/ 0 h 35030"/>
                <a:gd name="connsiteX2" fmla="*/ 0 w 161282"/>
                <a:gd name="connsiteY2" fmla="*/ 0 h 35030"/>
                <a:gd name="connsiteX3" fmla="*/ 0 w 161282"/>
                <a:gd name="connsiteY3" fmla="*/ 35030 h 350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61282" h="35030">
                  <a:moveTo>
                    <a:pt x="161283" y="35030"/>
                  </a:moveTo>
                  <a:lnTo>
                    <a:pt x="161283" y="0"/>
                  </a:lnTo>
                  <a:lnTo>
                    <a:pt x="0" y="0"/>
                  </a:lnTo>
                  <a:lnTo>
                    <a:pt x="0" y="3503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313" name="Gráfico 6">
            <a:extLst>
              <a:ext uri="{FF2B5EF4-FFF2-40B4-BE49-F238E27FC236}">
                <a16:creationId xmlns:a16="http://schemas.microsoft.com/office/drawing/2014/main" id="{2541AB06-A0AA-293F-6D86-B3C0DDE67D9E}"/>
              </a:ext>
            </a:extLst>
          </p:cNvPr>
          <p:cNvGrpSpPr/>
          <p:nvPr/>
        </p:nvGrpSpPr>
        <p:grpSpPr>
          <a:xfrm>
            <a:off x="4983542" y="2617472"/>
            <a:ext cx="372051" cy="250409"/>
            <a:chOff x="4983542" y="2617472"/>
            <a:chExt cx="372051" cy="250409"/>
          </a:xfrm>
          <a:noFill/>
        </p:grpSpPr>
        <p:grpSp>
          <p:nvGrpSpPr>
            <p:cNvPr id="314" name="Gráfico 6">
              <a:extLst>
                <a:ext uri="{FF2B5EF4-FFF2-40B4-BE49-F238E27FC236}">
                  <a16:creationId xmlns:a16="http://schemas.microsoft.com/office/drawing/2014/main" id="{B2ED4FA3-CABE-107E-D459-54189AEB1F88}"/>
                </a:ext>
              </a:extLst>
            </p:cNvPr>
            <p:cNvGrpSpPr/>
            <p:nvPr/>
          </p:nvGrpSpPr>
          <p:grpSpPr>
            <a:xfrm>
              <a:off x="5085747" y="2696814"/>
              <a:ext cx="167642" cy="117965"/>
              <a:chOff x="5085747" y="2696814"/>
              <a:chExt cx="167642" cy="117965"/>
            </a:xfrm>
          </p:grpSpPr>
          <p:grpSp>
            <p:nvGrpSpPr>
              <p:cNvPr id="315" name="Gráfico 6">
                <a:extLst>
                  <a:ext uri="{FF2B5EF4-FFF2-40B4-BE49-F238E27FC236}">
                    <a16:creationId xmlns:a16="http://schemas.microsoft.com/office/drawing/2014/main" id="{0AB78351-9717-0212-FBE9-B647D7EA5FFD}"/>
                  </a:ext>
                </a:extLst>
              </p:cNvPr>
              <p:cNvGrpSpPr/>
              <p:nvPr/>
            </p:nvGrpSpPr>
            <p:grpSpPr>
              <a:xfrm>
                <a:off x="5085747" y="2696814"/>
                <a:ext cx="111761" cy="117965"/>
                <a:chOff x="5085747" y="2696814"/>
                <a:chExt cx="111761" cy="117965"/>
              </a:xfrm>
            </p:grpSpPr>
            <p:sp>
              <p:nvSpPr>
                <p:cNvPr id="316" name="Forma livre: Forma 315">
                  <a:extLst>
                    <a:ext uri="{FF2B5EF4-FFF2-40B4-BE49-F238E27FC236}">
                      <a16:creationId xmlns:a16="http://schemas.microsoft.com/office/drawing/2014/main" id="{BCBFD4DE-B3B1-6EF2-64F9-AC2D5E18FE71}"/>
                    </a:ext>
                  </a:extLst>
                </p:cNvPr>
                <p:cNvSpPr/>
                <p:nvPr/>
              </p:nvSpPr>
              <p:spPr>
                <a:xfrm>
                  <a:off x="5085747" y="2696814"/>
                  <a:ext cx="1197" cy="117965"/>
                </a:xfrm>
                <a:custGeom>
                  <a:avLst/>
                  <a:gdLst>
                    <a:gd name="connsiteX0" fmla="*/ 0 w 1197"/>
                    <a:gd name="connsiteY0" fmla="*/ 0 h 117965"/>
                    <a:gd name="connsiteX1" fmla="*/ 0 w 1197"/>
                    <a:gd name="connsiteY1" fmla="*/ 117965 h 11796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197" h="117965">
                      <a:moveTo>
                        <a:pt x="0" y="0"/>
                      </a:moveTo>
                      <a:lnTo>
                        <a:pt x="0" y="117965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317" name="Forma livre: Forma 316">
                  <a:extLst>
                    <a:ext uri="{FF2B5EF4-FFF2-40B4-BE49-F238E27FC236}">
                      <a16:creationId xmlns:a16="http://schemas.microsoft.com/office/drawing/2014/main" id="{4609B7AA-3EE6-0D4A-85C3-6501D9164762}"/>
                    </a:ext>
                  </a:extLst>
                </p:cNvPr>
                <p:cNvSpPr/>
                <p:nvPr/>
              </p:nvSpPr>
              <p:spPr>
                <a:xfrm>
                  <a:off x="5141627" y="2696814"/>
                  <a:ext cx="1197" cy="117965"/>
                </a:xfrm>
                <a:custGeom>
                  <a:avLst/>
                  <a:gdLst>
                    <a:gd name="connsiteX0" fmla="*/ 0 w 1197"/>
                    <a:gd name="connsiteY0" fmla="*/ 0 h 117965"/>
                    <a:gd name="connsiteX1" fmla="*/ 0 w 1197"/>
                    <a:gd name="connsiteY1" fmla="*/ 117965 h 11796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197" h="117965">
                      <a:moveTo>
                        <a:pt x="0" y="0"/>
                      </a:moveTo>
                      <a:lnTo>
                        <a:pt x="0" y="117965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318" name="Forma livre: Forma 317">
                  <a:extLst>
                    <a:ext uri="{FF2B5EF4-FFF2-40B4-BE49-F238E27FC236}">
                      <a16:creationId xmlns:a16="http://schemas.microsoft.com/office/drawing/2014/main" id="{320D1EAA-4B12-4EE4-A149-B713F8504655}"/>
                    </a:ext>
                  </a:extLst>
                </p:cNvPr>
                <p:cNvSpPr/>
                <p:nvPr/>
              </p:nvSpPr>
              <p:spPr>
                <a:xfrm>
                  <a:off x="5197508" y="2696814"/>
                  <a:ext cx="1197" cy="117965"/>
                </a:xfrm>
                <a:custGeom>
                  <a:avLst/>
                  <a:gdLst>
                    <a:gd name="connsiteX0" fmla="*/ 0 w 1197"/>
                    <a:gd name="connsiteY0" fmla="*/ 0 h 117965"/>
                    <a:gd name="connsiteX1" fmla="*/ 0 w 1197"/>
                    <a:gd name="connsiteY1" fmla="*/ 117965 h 11796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197" h="117965">
                      <a:moveTo>
                        <a:pt x="0" y="0"/>
                      </a:moveTo>
                      <a:lnTo>
                        <a:pt x="0" y="117965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319" name="Forma livre: Forma 318">
                <a:extLst>
                  <a:ext uri="{FF2B5EF4-FFF2-40B4-BE49-F238E27FC236}">
                    <a16:creationId xmlns:a16="http://schemas.microsoft.com/office/drawing/2014/main" id="{F3417593-64FC-5AD7-B93A-C1C9B3D78E3F}"/>
                  </a:ext>
                </a:extLst>
              </p:cNvPr>
              <p:cNvSpPr/>
              <p:nvPr/>
            </p:nvSpPr>
            <p:spPr>
              <a:xfrm>
                <a:off x="5253389" y="2696814"/>
                <a:ext cx="1197" cy="117965"/>
              </a:xfrm>
              <a:custGeom>
                <a:avLst/>
                <a:gdLst>
                  <a:gd name="connsiteX0" fmla="*/ 0 w 1197"/>
                  <a:gd name="connsiteY0" fmla="*/ 0 h 117965"/>
                  <a:gd name="connsiteX1" fmla="*/ 0 w 1197"/>
                  <a:gd name="connsiteY1" fmla="*/ 117965 h 1179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7" h="117965">
                    <a:moveTo>
                      <a:pt x="0" y="0"/>
                    </a:moveTo>
                    <a:lnTo>
                      <a:pt x="0" y="117965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320" name="Forma livre: Forma 319">
              <a:extLst>
                <a:ext uri="{FF2B5EF4-FFF2-40B4-BE49-F238E27FC236}">
                  <a16:creationId xmlns:a16="http://schemas.microsoft.com/office/drawing/2014/main" id="{69918DC5-1134-EF75-0A44-D085F677D2B5}"/>
                </a:ext>
              </a:extLst>
            </p:cNvPr>
            <p:cNvSpPr/>
            <p:nvPr/>
          </p:nvSpPr>
          <p:spPr>
            <a:xfrm>
              <a:off x="4983542" y="2867881"/>
              <a:ext cx="372051" cy="1197"/>
            </a:xfrm>
            <a:custGeom>
              <a:avLst/>
              <a:gdLst>
                <a:gd name="connsiteX0" fmla="*/ 372051 w 372051"/>
                <a:gd name="connsiteY0" fmla="*/ 0 h 1197"/>
                <a:gd name="connsiteX1" fmla="*/ 0 w 372051"/>
                <a:gd name="connsiteY1" fmla="*/ 0 h 11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72051" h="1197">
                  <a:moveTo>
                    <a:pt x="372051" y="0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21" name="Forma livre: Forma 320">
              <a:extLst>
                <a:ext uri="{FF2B5EF4-FFF2-40B4-BE49-F238E27FC236}">
                  <a16:creationId xmlns:a16="http://schemas.microsoft.com/office/drawing/2014/main" id="{B54CC8BB-DFF9-097B-D3FE-DEE54D5958CF}"/>
                </a:ext>
              </a:extLst>
            </p:cNvPr>
            <p:cNvSpPr/>
            <p:nvPr/>
          </p:nvSpPr>
          <p:spPr>
            <a:xfrm>
              <a:off x="5057603" y="2617472"/>
              <a:ext cx="224061" cy="77521"/>
            </a:xfrm>
            <a:custGeom>
              <a:avLst/>
              <a:gdLst>
                <a:gd name="connsiteX0" fmla="*/ 0 w 224061"/>
                <a:gd name="connsiteY0" fmla="*/ 77522 h 77521"/>
                <a:gd name="connsiteX1" fmla="*/ 224062 w 224061"/>
                <a:gd name="connsiteY1" fmla="*/ 77522 h 77521"/>
                <a:gd name="connsiteX2" fmla="*/ 224062 w 224061"/>
                <a:gd name="connsiteY2" fmla="*/ 53306 h 77521"/>
                <a:gd name="connsiteX3" fmla="*/ 112073 w 224061"/>
                <a:gd name="connsiteY3" fmla="*/ 0 h 77521"/>
                <a:gd name="connsiteX4" fmla="*/ 0 w 224061"/>
                <a:gd name="connsiteY4" fmla="*/ 53210 h 77521"/>
                <a:gd name="connsiteX5" fmla="*/ 0 w 224061"/>
                <a:gd name="connsiteY5" fmla="*/ 77522 h 775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24061" h="77521">
                  <a:moveTo>
                    <a:pt x="0" y="77522"/>
                  </a:moveTo>
                  <a:lnTo>
                    <a:pt x="224062" y="77522"/>
                  </a:lnTo>
                  <a:lnTo>
                    <a:pt x="224062" y="53306"/>
                  </a:lnTo>
                  <a:lnTo>
                    <a:pt x="112073" y="0"/>
                  </a:lnTo>
                  <a:lnTo>
                    <a:pt x="0" y="53210"/>
                  </a:lnTo>
                  <a:lnTo>
                    <a:pt x="0" y="77522"/>
                  </a:ln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22" name="Forma livre: Forma 321">
              <a:extLst>
                <a:ext uri="{FF2B5EF4-FFF2-40B4-BE49-F238E27FC236}">
                  <a16:creationId xmlns:a16="http://schemas.microsoft.com/office/drawing/2014/main" id="{B88F6B30-DA6F-2355-4911-E5CBCD5C1F10}"/>
                </a:ext>
              </a:extLst>
            </p:cNvPr>
            <p:cNvSpPr/>
            <p:nvPr/>
          </p:nvSpPr>
          <p:spPr>
            <a:xfrm>
              <a:off x="5003243" y="2836899"/>
              <a:ext cx="332649" cy="1197"/>
            </a:xfrm>
            <a:custGeom>
              <a:avLst/>
              <a:gdLst>
                <a:gd name="connsiteX0" fmla="*/ 332650 w 332649"/>
                <a:gd name="connsiteY0" fmla="*/ 0 h 1197"/>
                <a:gd name="connsiteX1" fmla="*/ 0 w 332649"/>
                <a:gd name="connsiteY1" fmla="*/ 0 h 11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32649" h="1197">
                  <a:moveTo>
                    <a:pt x="332650" y="0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323" name="Gráfico 6">
              <a:extLst>
                <a:ext uri="{FF2B5EF4-FFF2-40B4-BE49-F238E27FC236}">
                  <a16:creationId xmlns:a16="http://schemas.microsoft.com/office/drawing/2014/main" id="{FD716F1C-D624-28E9-1081-4D232AF3F18B}"/>
                </a:ext>
              </a:extLst>
            </p:cNvPr>
            <p:cNvGrpSpPr/>
            <p:nvPr/>
          </p:nvGrpSpPr>
          <p:grpSpPr>
            <a:xfrm>
              <a:off x="5008872" y="2739772"/>
              <a:ext cx="321391" cy="75006"/>
              <a:chOff x="5008872" y="2739772"/>
              <a:chExt cx="321391" cy="75006"/>
            </a:xfrm>
            <a:noFill/>
          </p:grpSpPr>
          <p:grpSp>
            <p:nvGrpSpPr>
              <p:cNvPr id="324" name="Gráfico 6">
                <a:extLst>
                  <a:ext uri="{FF2B5EF4-FFF2-40B4-BE49-F238E27FC236}">
                    <a16:creationId xmlns:a16="http://schemas.microsoft.com/office/drawing/2014/main" id="{D1DEDFA5-0995-4B20-B809-3C0AAD41A076}"/>
                  </a:ext>
                </a:extLst>
              </p:cNvPr>
              <p:cNvGrpSpPr/>
              <p:nvPr/>
            </p:nvGrpSpPr>
            <p:grpSpPr>
              <a:xfrm>
                <a:off x="5008872" y="2739772"/>
                <a:ext cx="53689" cy="75006"/>
                <a:chOff x="5008872" y="2739772"/>
                <a:chExt cx="53689" cy="75006"/>
              </a:xfrm>
              <a:noFill/>
            </p:grpSpPr>
            <p:sp>
              <p:nvSpPr>
                <p:cNvPr id="325" name="Forma livre: Forma 324">
                  <a:extLst>
                    <a:ext uri="{FF2B5EF4-FFF2-40B4-BE49-F238E27FC236}">
                      <a16:creationId xmlns:a16="http://schemas.microsoft.com/office/drawing/2014/main" id="{78AC6D50-5E00-4DFC-6E45-324638C17293}"/>
                    </a:ext>
                  </a:extLst>
                </p:cNvPr>
                <p:cNvSpPr/>
                <p:nvPr/>
              </p:nvSpPr>
              <p:spPr>
                <a:xfrm>
                  <a:off x="5029914" y="2770886"/>
                  <a:ext cx="1197" cy="43892"/>
                </a:xfrm>
                <a:custGeom>
                  <a:avLst/>
                  <a:gdLst>
                    <a:gd name="connsiteX0" fmla="*/ 0 w 1197"/>
                    <a:gd name="connsiteY0" fmla="*/ 0 h 43892"/>
                    <a:gd name="connsiteX1" fmla="*/ 0 w 1197"/>
                    <a:gd name="connsiteY1" fmla="*/ 43893 h 438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197" h="43892">
                      <a:moveTo>
                        <a:pt x="0" y="0"/>
                      </a:moveTo>
                      <a:lnTo>
                        <a:pt x="0" y="43893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326" name="Forma livre: Forma 325">
                  <a:extLst>
                    <a:ext uri="{FF2B5EF4-FFF2-40B4-BE49-F238E27FC236}">
                      <a16:creationId xmlns:a16="http://schemas.microsoft.com/office/drawing/2014/main" id="{10F7BA25-AA22-CA4E-CBE9-D3124DB86AB7}"/>
                    </a:ext>
                  </a:extLst>
                </p:cNvPr>
                <p:cNvSpPr/>
                <p:nvPr/>
              </p:nvSpPr>
              <p:spPr>
                <a:xfrm>
                  <a:off x="5008872" y="2739772"/>
                  <a:ext cx="53689" cy="28587"/>
                </a:xfrm>
                <a:custGeom>
                  <a:avLst/>
                  <a:gdLst>
                    <a:gd name="connsiteX0" fmla="*/ 53689 w 53689"/>
                    <a:gd name="connsiteY0" fmla="*/ 0 h 28587"/>
                    <a:gd name="connsiteX1" fmla="*/ 0 w 53689"/>
                    <a:gd name="connsiteY1" fmla="*/ 0 h 28587"/>
                    <a:gd name="connsiteX2" fmla="*/ 0 w 53689"/>
                    <a:gd name="connsiteY2" fmla="*/ 28587 h 28587"/>
                    <a:gd name="connsiteX3" fmla="*/ 53689 w 53689"/>
                    <a:gd name="connsiteY3" fmla="*/ 28587 h 285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53689" h="28587">
                      <a:moveTo>
                        <a:pt x="53689" y="0"/>
                      </a:moveTo>
                      <a:lnTo>
                        <a:pt x="0" y="0"/>
                      </a:lnTo>
                      <a:lnTo>
                        <a:pt x="0" y="28587"/>
                      </a:lnTo>
                      <a:lnTo>
                        <a:pt x="53689" y="28587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327" name="Gráfico 6">
                <a:extLst>
                  <a:ext uri="{FF2B5EF4-FFF2-40B4-BE49-F238E27FC236}">
                    <a16:creationId xmlns:a16="http://schemas.microsoft.com/office/drawing/2014/main" id="{53456F90-C151-60CC-DFEC-A473380E1587}"/>
                  </a:ext>
                </a:extLst>
              </p:cNvPr>
              <p:cNvGrpSpPr/>
              <p:nvPr/>
            </p:nvGrpSpPr>
            <p:grpSpPr>
              <a:xfrm>
                <a:off x="5276575" y="2739772"/>
                <a:ext cx="53689" cy="75006"/>
                <a:chOff x="5276575" y="2739772"/>
                <a:chExt cx="53689" cy="75006"/>
              </a:xfrm>
              <a:noFill/>
            </p:grpSpPr>
            <p:sp>
              <p:nvSpPr>
                <p:cNvPr id="328" name="Forma livre: Forma 327">
                  <a:extLst>
                    <a:ext uri="{FF2B5EF4-FFF2-40B4-BE49-F238E27FC236}">
                      <a16:creationId xmlns:a16="http://schemas.microsoft.com/office/drawing/2014/main" id="{D8B8CE61-E46C-AE6B-4625-91415B5A5F03}"/>
                    </a:ext>
                  </a:extLst>
                </p:cNvPr>
                <p:cNvSpPr/>
                <p:nvPr/>
              </p:nvSpPr>
              <p:spPr>
                <a:xfrm>
                  <a:off x="5309317" y="2770886"/>
                  <a:ext cx="1197" cy="43892"/>
                </a:xfrm>
                <a:custGeom>
                  <a:avLst/>
                  <a:gdLst>
                    <a:gd name="connsiteX0" fmla="*/ 0 w 1197"/>
                    <a:gd name="connsiteY0" fmla="*/ 0 h 43892"/>
                    <a:gd name="connsiteX1" fmla="*/ 0 w 1197"/>
                    <a:gd name="connsiteY1" fmla="*/ 43893 h 438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197" h="43892">
                      <a:moveTo>
                        <a:pt x="0" y="0"/>
                      </a:moveTo>
                      <a:lnTo>
                        <a:pt x="0" y="43893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329" name="Forma livre: Forma 328">
                  <a:extLst>
                    <a:ext uri="{FF2B5EF4-FFF2-40B4-BE49-F238E27FC236}">
                      <a16:creationId xmlns:a16="http://schemas.microsoft.com/office/drawing/2014/main" id="{11F9785D-45FC-BD0A-EA8F-1AADEA812E08}"/>
                    </a:ext>
                  </a:extLst>
                </p:cNvPr>
                <p:cNvSpPr/>
                <p:nvPr/>
              </p:nvSpPr>
              <p:spPr>
                <a:xfrm>
                  <a:off x="5276575" y="2739772"/>
                  <a:ext cx="53689" cy="28587"/>
                </a:xfrm>
                <a:custGeom>
                  <a:avLst/>
                  <a:gdLst>
                    <a:gd name="connsiteX0" fmla="*/ 0 w 53689"/>
                    <a:gd name="connsiteY0" fmla="*/ 0 h 28587"/>
                    <a:gd name="connsiteX1" fmla="*/ 53689 w 53689"/>
                    <a:gd name="connsiteY1" fmla="*/ 0 h 28587"/>
                    <a:gd name="connsiteX2" fmla="*/ 53689 w 53689"/>
                    <a:gd name="connsiteY2" fmla="*/ 28587 h 28587"/>
                    <a:gd name="connsiteX3" fmla="*/ 0 w 53689"/>
                    <a:gd name="connsiteY3" fmla="*/ 28587 h 285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53689" h="28587">
                      <a:moveTo>
                        <a:pt x="0" y="0"/>
                      </a:moveTo>
                      <a:lnTo>
                        <a:pt x="53689" y="0"/>
                      </a:lnTo>
                      <a:lnTo>
                        <a:pt x="53689" y="28587"/>
                      </a:lnTo>
                      <a:lnTo>
                        <a:pt x="0" y="28587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</p:grpSp>
      <p:grpSp>
        <p:nvGrpSpPr>
          <p:cNvPr id="330" name="Gráfico 6">
            <a:extLst>
              <a:ext uri="{FF2B5EF4-FFF2-40B4-BE49-F238E27FC236}">
                <a16:creationId xmlns:a16="http://schemas.microsoft.com/office/drawing/2014/main" id="{9D84EBE5-035D-5BD6-D6C2-FC8EE35D0434}"/>
              </a:ext>
            </a:extLst>
          </p:cNvPr>
          <p:cNvGrpSpPr/>
          <p:nvPr/>
        </p:nvGrpSpPr>
        <p:grpSpPr>
          <a:xfrm>
            <a:off x="5671680" y="1556588"/>
            <a:ext cx="242253" cy="252301"/>
            <a:chOff x="5671680" y="1556588"/>
            <a:chExt cx="242253" cy="252301"/>
          </a:xfrm>
          <a:noFill/>
        </p:grpSpPr>
        <p:sp>
          <p:nvSpPr>
            <p:cNvPr id="331" name="Forma livre: Forma 330">
              <a:extLst>
                <a:ext uri="{FF2B5EF4-FFF2-40B4-BE49-F238E27FC236}">
                  <a16:creationId xmlns:a16="http://schemas.microsoft.com/office/drawing/2014/main" id="{F5492F03-72C0-0402-2C9D-7B78EF2D29F0}"/>
                </a:ext>
              </a:extLst>
            </p:cNvPr>
            <p:cNvSpPr/>
            <p:nvPr/>
          </p:nvSpPr>
          <p:spPr>
            <a:xfrm>
              <a:off x="5750495" y="1661260"/>
              <a:ext cx="84635" cy="53497"/>
            </a:xfrm>
            <a:custGeom>
              <a:avLst/>
              <a:gdLst>
                <a:gd name="connsiteX0" fmla="*/ 0 w 84635"/>
                <a:gd name="connsiteY0" fmla="*/ 0 h 53497"/>
                <a:gd name="connsiteX1" fmla="*/ 84636 w 84635"/>
                <a:gd name="connsiteY1" fmla="*/ 0 h 53497"/>
                <a:gd name="connsiteX2" fmla="*/ 84636 w 84635"/>
                <a:gd name="connsiteY2" fmla="*/ 53497 h 53497"/>
                <a:gd name="connsiteX3" fmla="*/ 0 w 84635"/>
                <a:gd name="connsiteY3" fmla="*/ 53497 h 534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4635" h="53497">
                  <a:moveTo>
                    <a:pt x="0" y="0"/>
                  </a:moveTo>
                  <a:lnTo>
                    <a:pt x="84636" y="0"/>
                  </a:lnTo>
                  <a:lnTo>
                    <a:pt x="84636" y="53497"/>
                  </a:lnTo>
                  <a:lnTo>
                    <a:pt x="0" y="53497"/>
                  </a:ln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32" name="Forma livre: Forma 331">
              <a:extLst>
                <a:ext uri="{FF2B5EF4-FFF2-40B4-BE49-F238E27FC236}">
                  <a16:creationId xmlns:a16="http://schemas.microsoft.com/office/drawing/2014/main" id="{AB41448E-23B5-152E-60C5-B189A48B2836}"/>
                </a:ext>
              </a:extLst>
            </p:cNvPr>
            <p:cNvSpPr/>
            <p:nvPr/>
          </p:nvSpPr>
          <p:spPr>
            <a:xfrm>
              <a:off x="5781633" y="1688015"/>
              <a:ext cx="22347" cy="1197"/>
            </a:xfrm>
            <a:custGeom>
              <a:avLst/>
              <a:gdLst>
                <a:gd name="connsiteX0" fmla="*/ 0 w 22347"/>
                <a:gd name="connsiteY0" fmla="*/ 0 h 1197"/>
                <a:gd name="connsiteX1" fmla="*/ 22347 w 22347"/>
                <a:gd name="connsiteY1" fmla="*/ 0 h 11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2347" h="1197">
                  <a:moveTo>
                    <a:pt x="0" y="0"/>
                  </a:moveTo>
                  <a:lnTo>
                    <a:pt x="22347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333" name="Gráfico 6">
              <a:extLst>
                <a:ext uri="{FF2B5EF4-FFF2-40B4-BE49-F238E27FC236}">
                  <a16:creationId xmlns:a16="http://schemas.microsoft.com/office/drawing/2014/main" id="{F4EFEA0A-F262-DDC2-8682-3006FCFA4459}"/>
                </a:ext>
              </a:extLst>
            </p:cNvPr>
            <p:cNvGrpSpPr/>
            <p:nvPr/>
          </p:nvGrpSpPr>
          <p:grpSpPr>
            <a:xfrm>
              <a:off x="5671680" y="1556588"/>
              <a:ext cx="96743" cy="252301"/>
              <a:chOff x="5671680" y="1556588"/>
              <a:chExt cx="96743" cy="252301"/>
            </a:xfrm>
            <a:noFill/>
          </p:grpSpPr>
          <p:sp>
            <p:nvSpPr>
              <p:cNvPr id="334" name="Forma livre: Forma 333">
                <a:extLst>
                  <a:ext uri="{FF2B5EF4-FFF2-40B4-BE49-F238E27FC236}">
                    <a16:creationId xmlns:a16="http://schemas.microsoft.com/office/drawing/2014/main" id="{B4E68D07-DB23-49AD-65A4-1380312ABA4D}"/>
                  </a:ext>
                </a:extLst>
              </p:cNvPr>
              <p:cNvSpPr/>
              <p:nvPr/>
            </p:nvSpPr>
            <p:spPr>
              <a:xfrm>
                <a:off x="5671680" y="1556588"/>
                <a:ext cx="96743" cy="37138"/>
              </a:xfrm>
              <a:custGeom>
                <a:avLst/>
                <a:gdLst>
                  <a:gd name="connsiteX0" fmla="*/ 95414 w 96743"/>
                  <a:gd name="connsiteY0" fmla="*/ 37138 h 37138"/>
                  <a:gd name="connsiteX1" fmla="*/ 96743 w 96743"/>
                  <a:gd name="connsiteY1" fmla="*/ 0 h 37138"/>
                  <a:gd name="connsiteX2" fmla="*/ 0 w 96743"/>
                  <a:gd name="connsiteY2" fmla="*/ 0 h 37138"/>
                  <a:gd name="connsiteX3" fmla="*/ 1329 w 96743"/>
                  <a:gd name="connsiteY3" fmla="*/ 36922 h 371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6743" h="37138">
                    <a:moveTo>
                      <a:pt x="95414" y="37138"/>
                    </a:moveTo>
                    <a:lnTo>
                      <a:pt x="96743" y="0"/>
                    </a:lnTo>
                    <a:lnTo>
                      <a:pt x="0" y="0"/>
                    </a:lnTo>
                    <a:lnTo>
                      <a:pt x="1329" y="36922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35" name="Forma livre: Forma 334">
                <a:extLst>
                  <a:ext uri="{FF2B5EF4-FFF2-40B4-BE49-F238E27FC236}">
                    <a16:creationId xmlns:a16="http://schemas.microsoft.com/office/drawing/2014/main" id="{FEE0076D-9E00-A3C3-CC12-47BC6D9138E1}"/>
                  </a:ext>
                </a:extLst>
              </p:cNvPr>
              <p:cNvSpPr/>
              <p:nvPr/>
            </p:nvSpPr>
            <p:spPr>
              <a:xfrm>
                <a:off x="5674159" y="1615679"/>
                <a:ext cx="92000" cy="142120"/>
              </a:xfrm>
              <a:custGeom>
                <a:avLst/>
                <a:gdLst>
                  <a:gd name="connsiteX0" fmla="*/ 90312 w 92000"/>
                  <a:gd name="connsiteY0" fmla="*/ 44671 h 142120"/>
                  <a:gd name="connsiteX1" fmla="*/ 92001 w 92000"/>
                  <a:gd name="connsiteY1" fmla="*/ 0 h 142120"/>
                  <a:gd name="connsiteX2" fmla="*/ 0 w 92000"/>
                  <a:gd name="connsiteY2" fmla="*/ 0 h 142120"/>
                  <a:gd name="connsiteX3" fmla="*/ 5162 w 92000"/>
                  <a:gd name="connsiteY3" fmla="*/ 142121 h 142120"/>
                  <a:gd name="connsiteX4" fmla="*/ 86635 w 92000"/>
                  <a:gd name="connsiteY4" fmla="*/ 142121 h 142120"/>
                  <a:gd name="connsiteX5" fmla="*/ 88049 w 92000"/>
                  <a:gd name="connsiteY5" fmla="*/ 100097 h 1421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92000" h="142120">
                    <a:moveTo>
                      <a:pt x="90312" y="44671"/>
                    </a:moveTo>
                    <a:lnTo>
                      <a:pt x="92001" y="0"/>
                    </a:lnTo>
                    <a:lnTo>
                      <a:pt x="0" y="0"/>
                    </a:lnTo>
                    <a:lnTo>
                      <a:pt x="5162" y="142121"/>
                    </a:lnTo>
                    <a:lnTo>
                      <a:pt x="86635" y="142121"/>
                    </a:lnTo>
                    <a:lnTo>
                      <a:pt x="88049" y="100097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36" name="Forma livre: Forma 335">
                <a:extLst>
                  <a:ext uri="{FF2B5EF4-FFF2-40B4-BE49-F238E27FC236}">
                    <a16:creationId xmlns:a16="http://schemas.microsoft.com/office/drawing/2014/main" id="{4E87A808-0D0C-3626-A6CC-74DD9F9C55D4}"/>
                  </a:ext>
                </a:extLst>
              </p:cNvPr>
              <p:cNvSpPr/>
              <p:nvPr/>
            </p:nvSpPr>
            <p:spPr>
              <a:xfrm>
                <a:off x="5691153" y="1758889"/>
                <a:ext cx="55892" cy="50000"/>
              </a:xfrm>
              <a:custGeom>
                <a:avLst/>
                <a:gdLst>
                  <a:gd name="connsiteX0" fmla="*/ 55893 w 55892"/>
                  <a:gd name="connsiteY0" fmla="*/ 0 h 50000"/>
                  <a:gd name="connsiteX1" fmla="*/ 55893 w 55892"/>
                  <a:gd name="connsiteY1" fmla="*/ 50000 h 50000"/>
                  <a:gd name="connsiteX2" fmla="*/ 0 w 55892"/>
                  <a:gd name="connsiteY2" fmla="*/ 50000 h 50000"/>
                  <a:gd name="connsiteX3" fmla="*/ 0 w 55892"/>
                  <a:gd name="connsiteY3" fmla="*/ 0 h 5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5892" h="50000">
                    <a:moveTo>
                      <a:pt x="55893" y="0"/>
                    </a:moveTo>
                    <a:lnTo>
                      <a:pt x="55893" y="50000"/>
                    </a:lnTo>
                    <a:lnTo>
                      <a:pt x="0" y="50000"/>
                    </a:lnTo>
                    <a:lnTo>
                      <a:pt x="0" y="0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337" name="Forma livre: Forma 336">
              <a:extLst>
                <a:ext uri="{FF2B5EF4-FFF2-40B4-BE49-F238E27FC236}">
                  <a16:creationId xmlns:a16="http://schemas.microsoft.com/office/drawing/2014/main" id="{C6ED6055-37C8-028F-03C7-E21650634ACF}"/>
                </a:ext>
              </a:extLst>
            </p:cNvPr>
            <p:cNvSpPr/>
            <p:nvPr/>
          </p:nvSpPr>
          <p:spPr>
            <a:xfrm>
              <a:off x="5817190" y="1556588"/>
              <a:ext cx="96743" cy="37138"/>
            </a:xfrm>
            <a:custGeom>
              <a:avLst/>
              <a:gdLst>
                <a:gd name="connsiteX0" fmla="*/ 1329 w 96743"/>
                <a:gd name="connsiteY0" fmla="*/ 37138 h 37138"/>
                <a:gd name="connsiteX1" fmla="*/ 0 w 96743"/>
                <a:gd name="connsiteY1" fmla="*/ 0 h 37138"/>
                <a:gd name="connsiteX2" fmla="*/ 96743 w 96743"/>
                <a:gd name="connsiteY2" fmla="*/ 0 h 37138"/>
                <a:gd name="connsiteX3" fmla="*/ 95414 w 96743"/>
                <a:gd name="connsiteY3" fmla="*/ 36922 h 37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6743" h="37138">
                  <a:moveTo>
                    <a:pt x="1329" y="37138"/>
                  </a:moveTo>
                  <a:lnTo>
                    <a:pt x="0" y="0"/>
                  </a:lnTo>
                  <a:lnTo>
                    <a:pt x="96743" y="0"/>
                  </a:lnTo>
                  <a:lnTo>
                    <a:pt x="95414" y="36922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338" name="Gráfico 6">
              <a:extLst>
                <a:ext uri="{FF2B5EF4-FFF2-40B4-BE49-F238E27FC236}">
                  <a16:creationId xmlns:a16="http://schemas.microsoft.com/office/drawing/2014/main" id="{57C6BB17-E7A9-6600-2BA2-3BC0213E9B90}"/>
                </a:ext>
              </a:extLst>
            </p:cNvPr>
            <p:cNvGrpSpPr/>
            <p:nvPr/>
          </p:nvGrpSpPr>
          <p:grpSpPr>
            <a:xfrm>
              <a:off x="5819453" y="1615679"/>
              <a:ext cx="92012" cy="193211"/>
              <a:chOff x="5819453" y="1615679"/>
              <a:chExt cx="92012" cy="193211"/>
            </a:xfrm>
            <a:noFill/>
          </p:grpSpPr>
          <p:sp>
            <p:nvSpPr>
              <p:cNvPr id="339" name="Forma livre: Forma 338">
                <a:extLst>
                  <a:ext uri="{FF2B5EF4-FFF2-40B4-BE49-F238E27FC236}">
                    <a16:creationId xmlns:a16="http://schemas.microsoft.com/office/drawing/2014/main" id="{D14F0B62-EA40-100C-7F48-ECFD9C02FC74}"/>
                  </a:ext>
                </a:extLst>
              </p:cNvPr>
              <p:cNvSpPr/>
              <p:nvPr/>
            </p:nvSpPr>
            <p:spPr>
              <a:xfrm>
                <a:off x="5819453" y="1615679"/>
                <a:ext cx="92012" cy="142120"/>
              </a:xfrm>
              <a:custGeom>
                <a:avLst/>
                <a:gdLst>
                  <a:gd name="connsiteX0" fmla="*/ 1689 w 92012"/>
                  <a:gd name="connsiteY0" fmla="*/ 44671 h 142120"/>
                  <a:gd name="connsiteX1" fmla="*/ 0 w 92012"/>
                  <a:gd name="connsiteY1" fmla="*/ 0 h 142120"/>
                  <a:gd name="connsiteX2" fmla="*/ 92013 w 92012"/>
                  <a:gd name="connsiteY2" fmla="*/ 0 h 142120"/>
                  <a:gd name="connsiteX3" fmla="*/ 86851 w 92012"/>
                  <a:gd name="connsiteY3" fmla="*/ 142121 h 142120"/>
                  <a:gd name="connsiteX4" fmla="*/ 5377 w 92012"/>
                  <a:gd name="connsiteY4" fmla="*/ 142121 h 142120"/>
                  <a:gd name="connsiteX5" fmla="*/ 3952 w 92012"/>
                  <a:gd name="connsiteY5" fmla="*/ 100097 h 1421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92012" h="142120">
                    <a:moveTo>
                      <a:pt x="1689" y="44671"/>
                    </a:moveTo>
                    <a:lnTo>
                      <a:pt x="0" y="0"/>
                    </a:lnTo>
                    <a:lnTo>
                      <a:pt x="92013" y="0"/>
                    </a:lnTo>
                    <a:lnTo>
                      <a:pt x="86851" y="142121"/>
                    </a:lnTo>
                    <a:lnTo>
                      <a:pt x="5377" y="142121"/>
                    </a:lnTo>
                    <a:lnTo>
                      <a:pt x="3952" y="100097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40" name="Forma livre: Forma 339">
                <a:extLst>
                  <a:ext uri="{FF2B5EF4-FFF2-40B4-BE49-F238E27FC236}">
                    <a16:creationId xmlns:a16="http://schemas.microsoft.com/office/drawing/2014/main" id="{4FF3B2F3-5C95-9CDC-B19C-4987C44C2080}"/>
                  </a:ext>
                </a:extLst>
              </p:cNvPr>
              <p:cNvSpPr/>
              <p:nvPr/>
            </p:nvSpPr>
            <p:spPr>
              <a:xfrm>
                <a:off x="5838567" y="1758889"/>
                <a:ext cx="55892" cy="50000"/>
              </a:xfrm>
              <a:custGeom>
                <a:avLst/>
                <a:gdLst>
                  <a:gd name="connsiteX0" fmla="*/ 0 w 55892"/>
                  <a:gd name="connsiteY0" fmla="*/ 0 h 50000"/>
                  <a:gd name="connsiteX1" fmla="*/ 0 w 55892"/>
                  <a:gd name="connsiteY1" fmla="*/ 50000 h 50000"/>
                  <a:gd name="connsiteX2" fmla="*/ 55893 w 55892"/>
                  <a:gd name="connsiteY2" fmla="*/ 50000 h 50000"/>
                  <a:gd name="connsiteX3" fmla="*/ 55893 w 55892"/>
                  <a:gd name="connsiteY3" fmla="*/ 0 h 5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5892" h="50000">
                    <a:moveTo>
                      <a:pt x="0" y="0"/>
                    </a:moveTo>
                    <a:lnTo>
                      <a:pt x="0" y="50000"/>
                    </a:lnTo>
                    <a:lnTo>
                      <a:pt x="55893" y="50000"/>
                    </a:lnTo>
                    <a:lnTo>
                      <a:pt x="55893" y="0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341" name="Gráfico 6">
            <a:extLst>
              <a:ext uri="{FF2B5EF4-FFF2-40B4-BE49-F238E27FC236}">
                <a16:creationId xmlns:a16="http://schemas.microsoft.com/office/drawing/2014/main" id="{8E20A5BA-A5A8-A3E3-E5FD-B9379F2E257F}"/>
              </a:ext>
            </a:extLst>
          </p:cNvPr>
          <p:cNvGrpSpPr/>
          <p:nvPr/>
        </p:nvGrpSpPr>
        <p:grpSpPr>
          <a:xfrm>
            <a:off x="4417729" y="1528319"/>
            <a:ext cx="257127" cy="308846"/>
            <a:chOff x="4417729" y="1528319"/>
            <a:chExt cx="257127" cy="308846"/>
          </a:xfrm>
          <a:noFill/>
        </p:grpSpPr>
        <p:sp>
          <p:nvSpPr>
            <p:cNvPr id="342" name="Forma livre: Forma 341">
              <a:extLst>
                <a:ext uri="{FF2B5EF4-FFF2-40B4-BE49-F238E27FC236}">
                  <a16:creationId xmlns:a16="http://schemas.microsoft.com/office/drawing/2014/main" id="{ADC1E59D-EF77-D84D-898F-5962BCBAED75}"/>
                </a:ext>
              </a:extLst>
            </p:cNvPr>
            <p:cNvSpPr/>
            <p:nvPr/>
          </p:nvSpPr>
          <p:spPr>
            <a:xfrm>
              <a:off x="4531874" y="1608840"/>
              <a:ext cx="17269" cy="50347"/>
            </a:xfrm>
            <a:custGeom>
              <a:avLst/>
              <a:gdLst>
                <a:gd name="connsiteX0" fmla="*/ 17270 w 17269"/>
                <a:gd name="connsiteY0" fmla="*/ 50348 h 50347"/>
                <a:gd name="connsiteX1" fmla="*/ 17270 w 17269"/>
                <a:gd name="connsiteY1" fmla="*/ 0 h 50347"/>
                <a:gd name="connsiteX2" fmla="*/ 0 w 17269"/>
                <a:gd name="connsiteY2" fmla="*/ 13761 h 503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7269" h="50347">
                  <a:moveTo>
                    <a:pt x="17270" y="50348"/>
                  </a:moveTo>
                  <a:lnTo>
                    <a:pt x="17270" y="0"/>
                  </a:lnTo>
                  <a:lnTo>
                    <a:pt x="0" y="13761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43" name="Forma livre: Forma 342">
              <a:extLst>
                <a:ext uri="{FF2B5EF4-FFF2-40B4-BE49-F238E27FC236}">
                  <a16:creationId xmlns:a16="http://schemas.microsoft.com/office/drawing/2014/main" id="{3765345C-5F7A-77B5-9B21-1D74904AAA10}"/>
                </a:ext>
              </a:extLst>
            </p:cNvPr>
            <p:cNvSpPr/>
            <p:nvPr/>
          </p:nvSpPr>
          <p:spPr>
            <a:xfrm>
              <a:off x="4440856" y="1528319"/>
              <a:ext cx="210854" cy="208874"/>
            </a:xfrm>
            <a:custGeom>
              <a:avLst/>
              <a:gdLst>
                <a:gd name="connsiteX0" fmla="*/ 99689 w 210854"/>
                <a:gd name="connsiteY0" fmla="*/ 2017 h 208874"/>
                <a:gd name="connsiteX1" fmla="*/ 115581 w 210854"/>
                <a:gd name="connsiteY1" fmla="*/ 2412 h 208874"/>
                <a:gd name="connsiteX2" fmla="*/ 131557 w 210854"/>
                <a:gd name="connsiteY2" fmla="*/ 13754 h 208874"/>
                <a:gd name="connsiteX3" fmla="*/ 148875 w 210854"/>
                <a:gd name="connsiteY3" fmla="*/ 20544 h 208874"/>
                <a:gd name="connsiteX4" fmla="*/ 168288 w 210854"/>
                <a:gd name="connsiteY4" fmla="*/ 23083 h 208874"/>
                <a:gd name="connsiteX5" fmla="*/ 180204 w 210854"/>
                <a:gd name="connsiteY5" fmla="*/ 33586 h 208874"/>
                <a:gd name="connsiteX6" fmla="*/ 185139 w 210854"/>
                <a:gd name="connsiteY6" fmla="*/ 52557 h 208874"/>
                <a:gd name="connsiteX7" fmla="*/ 194037 w 210854"/>
                <a:gd name="connsiteY7" fmla="*/ 68880 h 208874"/>
                <a:gd name="connsiteX8" fmla="*/ 207294 w 210854"/>
                <a:gd name="connsiteY8" fmla="*/ 83311 h 208874"/>
                <a:gd name="connsiteX9" fmla="*/ 209666 w 210854"/>
                <a:gd name="connsiteY9" fmla="*/ 99024 h 208874"/>
                <a:gd name="connsiteX10" fmla="*/ 201258 w 210854"/>
                <a:gd name="connsiteY10" fmla="*/ 116725 h 208874"/>
                <a:gd name="connsiteX11" fmla="*/ 197570 w 210854"/>
                <a:gd name="connsiteY11" fmla="*/ 134953 h 208874"/>
                <a:gd name="connsiteX12" fmla="*/ 198444 w 210854"/>
                <a:gd name="connsiteY12" fmla="*/ 154522 h 208874"/>
                <a:gd name="connsiteX13" fmla="*/ 190169 w 210854"/>
                <a:gd name="connsiteY13" fmla="*/ 168079 h 208874"/>
                <a:gd name="connsiteX14" fmla="*/ 172348 w 210854"/>
                <a:gd name="connsiteY14" fmla="*/ 176246 h 208874"/>
                <a:gd name="connsiteX15" fmla="*/ 157821 w 210854"/>
                <a:gd name="connsiteY15" fmla="*/ 187839 h 208874"/>
                <a:gd name="connsiteX16" fmla="*/ 145917 w 210854"/>
                <a:gd name="connsiteY16" fmla="*/ 203396 h 208874"/>
                <a:gd name="connsiteX17" fmla="*/ 130839 w 210854"/>
                <a:gd name="connsiteY17" fmla="*/ 208462 h 208874"/>
                <a:gd name="connsiteX18" fmla="*/ 111952 w 210854"/>
                <a:gd name="connsiteY18" fmla="*/ 203264 h 208874"/>
                <a:gd name="connsiteX19" fmla="*/ 93353 w 210854"/>
                <a:gd name="connsiteY19" fmla="*/ 202809 h 208874"/>
                <a:gd name="connsiteX20" fmla="*/ 74251 w 210854"/>
                <a:gd name="connsiteY20" fmla="*/ 207073 h 208874"/>
                <a:gd name="connsiteX21" fmla="*/ 59461 w 210854"/>
                <a:gd name="connsiteY21" fmla="*/ 201276 h 208874"/>
                <a:gd name="connsiteX22" fmla="*/ 48323 w 210854"/>
                <a:gd name="connsiteY22" fmla="*/ 185157 h 208874"/>
                <a:gd name="connsiteX23" fmla="*/ 34383 w 210854"/>
                <a:gd name="connsiteY23" fmla="*/ 172869 h 208874"/>
                <a:gd name="connsiteX24" fmla="*/ 16993 w 210854"/>
                <a:gd name="connsiteY24" fmla="*/ 163827 h 208874"/>
                <a:gd name="connsiteX25" fmla="*/ 9389 w 210854"/>
                <a:gd name="connsiteY25" fmla="*/ 149875 h 208874"/>
                <a:gd name="connsiteX26" fmla="*/ 11221 w 210854"/>
                <a:gd name="connsiteY26" fmla="*/ 130378 h 208874"/>
                <a:gd name="connsiteX27" fmla="*/ 8442 w 210854"/>
                <a:gd name="connsiteY27" fmla="*/ 111994 h 208874"/>
                <a:gd name="connsiteX28" fmla="*/ 921 w 210854"/>
                <a:gd name="connsiteY28" fmla="*/ 93898 h 208874"/>
                <a:gd name="connsiteX29" fmla="*/ 4071 w 210854"/>
                <a:gd name="connsiteY29" fmla="*/ 78317 h 208874"/>
                <a:gd name="connsiteX30" fmla="*/ 18023 w 210854"/>
                <a:gd name="connsiteY30" fmla="*/ 64545 h 208874"/>
                <a:gd name="connsiteX31" fmla="*/ 27712 w 210854"/>
                <a:gd name="connsiteY31" fmla="*/ 48676 h 208874"/>
                <a:gd name="connsiteX32" fmla="*/ 33592 w 210854"/>
                <a:gd name="connsiteY32" fmla="*/ 29994 h 208874"/>
                <a:gd name="connsiteX33" fmla="*/ 46012 w 210854"/>
                <a:gd name="connsiteY33" fmla="*/ 20089 h 208874"/>
                <a:gd name="connsiteX34" fmla="*/ 65533 w 210854"/>
                <a:gd name="connsiteY34" fmla="*/ 18508 h 208874"/>
                <a:gd name="connsiteX35" fmla="*/ 83162 w 210854"/>
                <a:gd name="connsiteY35" fmla="*/ 12580 h 208874"/>
                <a:gd name="connsiteX36" fmla="*/ 99689 w 210854"/>
                <a:gd name="connsiteY36" fmla="*/ 2017 h 2088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210854" h="208874">
                  <a:moveTo>
                    <a:pt x="99689" y="2017"/>
                  </a:moveTo>
                  <a:cubicBezTo>
                    <a:pt x="104132" y="-821"/>
                    <a:pt x="111282" y="-641"/>
                    <a:pt x="115581" y="2412"/>
                  </a:cubicBezTo>
                  <a:lnTo>
                    <a:pt x="131557" y="13754"/>
                  </a:lnTo>
                  <a:cubicBezTo>
                    <a:pt x="135857" y="16808"/>
                    <a:pt x="143641" y="19862"/>
                    <a:pt x="148875" y="20544"/>
                  </a:cubicBezTo>
                  <a:lnTo>
                    <a:pt x="168288" y="23083"/>
                  </a:lnTo>
                  <a:cubicBezTo>
                    <a:pt x="173510" y="23766"/>
                    <a:pt x="178875" y="28496"/>
                    <a:pt x="180204" y="33586"/>
                  </a:cubicBezTo>
                  <a:lnTo>
                    <a:pt x="185139" y="52557"/>
                  </a:lnTo>
                  <a:cubicBezTo>
                    <a:pt x="186468" y="57646"/>
                    <a:pt x="190468" y="65000"/>
                    <a:pt x="194037" y="68880"/>
                  </a:cubicBezTo>
                  <a:lnTo>
                    <a:pt x="207294" y="83311"/>
                  </a:lnTo>
                  <a:cubicBezTo>
                    <a:pt x="210863" y="87192"/>
                    <a:pt x="211929" y="94258"/>
                    <a:pt x="209666" y="99024"/>
                  </a:cubicBezTo>
                  <a:lnTo>
                    <a:pt x="201258" y="116725"/>
                  </a:lnTo>
                  <a:cubicBezTo>
                    <a:pt x="198995" y="121491"/>
                    <a:pt x="197342" y="129683"/>
                    <a:pt x="197570" y="134953"/>
                  </a:cubicBezTo>
                  <a:lnTo>
                    <a:pt x="198444" y="154522"/>
                  </a:lnTo>
                  <a:cubicBezTo>
                    <a:pt x="198684" y="159791"/>
                    <a:pt x="194959" y="165899"/>
                    <a:pt x="190169" y="168079"/>
                  </a:cubicBezTo>
                  <a:lnTo>
                    <a:pt x="172348" y="176246"/>
                  </a:lnTo>
                  <a:cubicBezTo>
                    <a:pt x="167558" y="178438"/>
                    <a:pt x="161031" y="183659"/>
                    <a:pt x="157821" y="187839"/>
                  </a:cubicBezTo>
                  <a:lnTo>
                    <a:pt x="145917" y="203396"/>
                  </a:lnTo>
                  <a:cubicBezTo>
                    <a:pt x="142707" y="207576"/>
                    <a:pt x="135929" y="209863"/>
                    <a:pt x="130839" y="208462"/>
                  </a:cubicBezTo>
                  <a:lnTo>
                    <a:pt x="111952" y="203264"/>
                  </a:lnTo>
                  <a:cubicBezTo>
                    <a:pt x="106862" y="201863"/>
                    <a:pt x="98503" y="201660"/>
                    <a:pt x="93353" y="202809"/>
                  </a:cubicBezTo>
                  <a:lnTo>
                    <a:pt x="74251" y="207073"/>
                  </a:lnTo>
                  <a:cubicBezTo>
                    <a:pt x="69102" y="208211"/>
                    <a:pt x="62455" y="205612"/>
                    <a:pt x="59461" y="201276"/>
                  </a:cubicBezTo>
                  <a:lnTo>
                    <a:pt x="48323" y="185157"/>
                  </a:lnTo>
                  <a:cubicBezTo>
                    <a:pt x="45329" y="180821"/>
                    <a:pt x="39054" y="175276"/>
                    <a:pt x="34383" y="172869"/>
                  </a:cubicBezTo>
                  <a:lnTo>
                    <a:pt x="16993" y="163827"/>
                  </a:lnTo>
                  <a:cubicBezTo>
                    <a:pt x="12311" y="161396"/>
                    <a:pt x="8886" y="155120"/>
                    <a:pt x="9389" y="149875"/>
                  </a:cubicBezTo>
                  <a:lnTo>
                    <a:pt x="11221" y="130378"/>
                  </a:lnTo>
                  <a:cubicBezTo>
                    <a:pt x="11712" y="125132"/>
                    <a:pt x="10466" y="116857"/>
                    <a:pt x="8442" y="111994"/>
                  </a:cubicBezTo>
                  <a:lnTo>
                    <a:pt x="921" y="93898"/>
                  </a:lnTo>
                  <a:cubicBezTo>
                    <a:pt x="-1103" y="89036"/>
                    <a:pt x="323" y="82018"/>
                    <a:pt x="4071" y="78317"/>
                  </a:cubicBezTo>
                  <a:lnTo>
                    <a:pt x="18023" y="64545"/>
                  </a:lnTo>
                  <a:cubicBezTo>
                    <a:pt x="21772" y="60844"/>
                    <a:pt x="26131" y="53706"/>
                    <a:pt x="27712" y="48676"/>
                  </a:cubicBezTo>
                  <a:lnTo>
                    <a:pt x="33592" y="29994"/>
                  </a:lnTo>
                  <a:cubicBezTo>
                    <a:pt x="35161" y="24964"/>
                    <a:pt x="40754" y="20508"/>
                    <a:pt x="46012" y="20089"/>
                  </a:cubicBezTo>
                  <a:lnTo>
                    <a:pt x="65533" y="18508"/>
                  </a:lnTo>
                  <a:cubicBezTo>
                    <a:pt x="70790" y="18089"/>
                    <a:pt x="78719" y="15407"/>
                    <a:pt x="83162" y="12580"/>
                  </a:cubicBezTo>
                  <a:lnTo>
                    <a:pt x="99689" y="2017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344" name="Gráfico 6">
              <a:extLst>
                <a:ext uri="{FF2B5EF4-FFF2-40B4-BE49-F238E27FC236}">
                  <a16:creationId xmlns:a16="http://schemas.microsoft.com/office/drawing/2014/main" id="{FF21E7AC-A180-827A-5D9B-29B609CBD864}"/>
                </a:ext>
              </a:extLst>
            </p:cNvPr>
            <p:cNvGrpSpPr/>
            <p:nvPr/>
          </p:nvGrpSpPr>
          <p:grpSpPr>
            <a:xfrm>
              <a:off x="4417729" y="1720530"/>
              <a:ext cx="257127" cy="116635"/>
              <a:chOff x="4417729" y="1720530"/>
              <a:chExt cx="257127" cy="116635"/>
            </a:xfrm>
            <a:noFill/>
          </p:grpSpPr>
          <p:sp>
            <p:nvSpPr>
              <p:cNvPr id="345" name="Forma livre: Forma 344">
                <a:extLst>
                  <a:ext uri="{FF2B5EF4-FFF2-40B4-BE49-F238E27FC236}">
                    <a16:creationId xmlns:a16="http://schemas.microsoft.com/office/drawing/2014/main" id="{60E78412-EF53-28EE-643A-BC884EBCAE05}"/>
                  </a:ext>
                </a:extLst>
              </p:cNvPr>
              <p:cNvSpPr/>
              <p:nvPr/>
            </p:nvSpPr>
            <p:spPr>
              <a:xfrm>
                <a:off x="4417729" y="1720530"/>
                <a:ext cx="102360" cy="116635"/>
              </a:xfrm>
              <a:custGeom>
                <a:avLst/>
                <a:gdLst>
                  <a:gd name="connsiteX0" fmla="*/ 102360 w 102360"/>
                  <a:gd name="connsiteY0" fmla="*/ 38970 h 116635"/>
                  <a:gd name="connsiteX1" fmla="*/ 63701 w 102360"/>
                  <a:gd name="connsiteY1" fmla="*/ 116636 h 116635"/>
                  <a:gd name="connsiteX2" fmla="*/ 50491 w 102360"/>
                  <a:gd name="connsiteY2" fmla="*/ 62683 h 116635"/>
                  <a:gd name="connsiteX3" fmla="*/ 0 w 102360"/>
                  <a:gd name="connsiteY3" fmla="*/ 85162 h 116635"/>
                  <a:gd name="connsiteX4" fmla="*/ 41509 w 102360"/>
                  <a:gd name="connsiteY4" fmla="*/ 0 h 1166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02360" h="116635">
                    <a:moveTo>
                      <a:pt x="102360" y="38970"/>
                    </a:moveTo>
                    <a:lnTo>
                      <a:pt x="63701" y="116636"/>
                    </a:lnTo>
                    <a:lnTo>
                      <a:pt x="50491" y="62683"/>
                    </a:lnTo>
                    <a:lnTo>
                      <a:pt x="0" y="85162"/>
                    </a:lnTo>
                    <a:lnTo>
                      <a:pt x="41509" y="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46" name="Forma livre: Forma 345">
                <a:extLst>
                  <a:ext uri="{FF2B5EF4-FFF2-40B4-BE49-F238E27FC236}">
                    <a16:creationId xmlns:a16="http://schemas.microsoft.com/office/drawing/2014/main" id="{802B90C3-AE66-CF43-BBBA-6C6BECFFFD69}"/>
                  </a:ext>
                </a:extLst>
              </p:cNvPr>
              <p:cNvSpPr/>
              <p:nvPr/>
            </p:nvSpPr>
            <p:spPr>
              <a:xfrm>
                <a:off x="4572497" y="1720530"/>
                <a:ext cx="102360" cy="116635"/>
              </a:xfrm>
              <a:custGeom>
                <a:avLst/>
                <a:gdLst>
                  <a:gd name="connsiteX0" fmla="*/ 0 w 102360"/>
                  <a:gd name="connsiteY0" fmla="*/ 38970 h 116635"/>
                  <a:gd name="connsiteX1" fmla="*/ 38659 w 102360"/>
                  <a:gd name="connsiteY1" fmla="*/ 116636 h 116635"/>
                  <a:gd name="connsiteX2" fmla="*/ 51869 w 102360"/>
                  <a:gd name="connsiteY2" fmla="*/ 62683 h 116635"/>
                  <a:gd name="connsiteX3" fmla="*/ 102360 w 102360"/>
                  <a:gd name="connsiteY3" fmla="*/ 85162 h 116635"/>
                  <a:gd name="connsiteX4" fmla="*/ 60863 w 102360"/>
                  <a:gd name="connsiteY4" fmla="*/ 0 h 1166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02360" h="116635">
                    <a:moveTo>
                      <a:pt x="0" y="38970"/>
                    </a:moveTo>
                    <a:lnTo>
                      <a:pt x="38659" y="116636"/>
                    </a:lnTo>
                    <a:lnTo>
                      <a:pt x="51869" y="62683"/>
                    </a:lnTo>
                    <a:lnTo>
                      <a:pt x="102360" y="85162"/>
                    </a:lnTo>
                    <a:lnTo>
                      <a:pt x="60863" y="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347" name="Forma livre: Forma 346">
              <a:extLst>
                <a:ext uri="{FF2B5EF4-FFF2-40B4-BE49-F238E27FC236}">
                  <a16:creationId xmlns:a16="http://schemas.microsoft.com/office/drawing/2014/main" id="{8CAB809D-4E69-A390-381A-EC6DEE0A7475}"/>
                </a:ext>
              </a:extLst>
            </p:cNvPr>
            <p:cNvSpPr/>
            <p:nvPr/>
          </p:nvSpPr>
          <p:spPr>
            <a:xfrm>
              <a:off x="4482819" y="1570421"/>
              <a:ext cx="126947" cy="126947"/>
            </a:xfrm>
            <a:custGeom>
              <a:avLst/>
              <a:gdLst>
                <a:gd name="connsiteX0" fmla="*/ 33881 w 126947"/>
                <a:gd name="connsiteY0" fmla="*/ 7293 h 126947"/>
                <a:gd name="connsiteX1" fmla="*/ 63474 w 126947"/>
                <a:gd name="connsiteY1" fmla="*/ 0 h 126947"/>
                <a:gd name="connsiteX2" fmla="*/ 126947 w 126947"/>
                <a:gd name="connsiteY2" fmla="*/ 63474 h 126947"/>
                <a:gd name="connsiteX3" fmla="*/ 63474 w 126947"/>
                <a:gd name="connsiteY3" fmla="*/ 126947 h 126947"/>
                <a:gd name="connsiteX4" fmla="*/ 0 w 126947"/>
                <a:gd name="connsiteY4" fmla="*/ 63474 h 126947"/>
                <a:gd name="connsiteX5" fmla="*/ 13785 w 126947"/>
                <a:gd name="connsiteY5" fmla="*/ 23976 h 1269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26947" h="126947">
                  <a:moveTo>
                    <a:pt x="33881" y="7293"/>
                  </a:moveTo>
                  <a:cubicBezTo>
                    <a:pt x="42707" y="2635"/>
                    <a:pt x="52791" y="0"/>
                    <a:pt x="63474" y="0"/>
                  </a:cubicBezTo>
                  <a:cubicBezTo>
                    <a:pt x="98528" y="0"/>
                    <a:pt x="126947" y="28419"/>
                    <a:pt x="126947" y="63474"/>
                  </a:cubicBezTo>
                  <a:cubicBezTo>
                    <a:pt x="126947" y="98528"/>
                    <a:pt x="98528" y="126947"/>
                    <a:pt x="63474" y="126947"/>
                  </a:cubicBezTo>
                  <a:cubicBezTo>
                    <a:pt x="28419" y="126947"/>
                    <a:pt x="0" y="98528"/>
                    <a:pt x="0" y="63474"/>
                  </a:cubicBezTo>
                  <a:cubicBezTo>
                    <a:pt x="0" y="48551"/>
                    <a:pt x="5150" y="34815"/>
                    <a:pt x="13785" y="23976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348" name="Gráfico 6">
            <a:extLst>
              <a:ext uri="{FF2B5EF4-FFF2-40B4-BE49-F238E27FC236}">
                <a16:creationId xmlns:a16="http://schemas.microsoft.com/office/drawing/2014/main" id="{E32EBBE0-7808-F04A-1C7C-DCC183B7289A}"/>
              </a:ext>
            </a:extLst>
          </p:cNvPr>
          <p:cNvGrpSpPr/>
          <p:nvPr/>
        </p:nvGrpSpPr>
        <p:grpSpPr>
          <a:xfrm>
            <a:off x="4983973" y="1589391"/>
            <a:ext cx="371205" cy="186720"/>
            <a:chOff x="4983973" y="1589391"/>
            <a:chExt cx="371205" cy="186720"/>
          </a:xfrm>
          <a:noFill/>
        </p:grpSpPr>
        <p:sp>
          <p:nvSpPr>
            <p:cNvPr id="349" name="Forma livre: Forma 348">
              <a:extLst>
                <a:ext uri="{FF2B5EF4-FFF2-40B4-BE49-F238E27FC236}">
                  <a16:creationId xmlns:a16="http://schemas.microsoft.com/office/drawing/2014/main" id="{96D98B8D-F0CA-A1DD-DB67-859D54AD953C}"/>
                </a:ext>
              </a:extLst>
            </p:cNvPr>
            <p:cNvSpPr/>
            <p:nvPr/>
          </p:nvSpPr>
          <p:spPr>
            <a:xfrm>
              <a:off x="5083902" y="1589391"/>
              <a:ext cx="271276" cy="186720"/>
            </a:xfrm>
            <a:custGeom>
              <a:avLst/>
              <a:gdLst>
                <a:gd name="connsiteX0" fmla="*/ 0 w 271276"/>
                <a:gd name="connsiteY0" fmla="*/ 186720 h 186720"/>
                <a:gd name="connsiteX1" fmla="*/ 232685 w 271276"/>
                <a:gd name="connsiteY1" fmla="*/ 186720 h 186720"/>
                <a:gd name="connsiteX2" fmla="*/ 248960 w 271276"/>
                <a:gd name="connsiteY2" fmla="*/ 172576 h 186720"/>
                <a:gd name="connsiteX3" fmla="*/ 271140 w 271276"/>
                <a:gd name="connsiteY3" fmla="*/ 14132 h 186720"/>
                <a:gd name="connsiteX4" fmla="*/ 258841 w 271276"/>
                <a:gd name="connsiteY4" fmla="*/ 0 h 186720"/>
                <a:gd name="connsiteX5" fmla="*/ 22671 w 271276"/>
                <a:gd name="connsiteY5" fmla="*/ 0 h 186720"/>
                <a:gd name="connsiteX6" fmla="*/ 131977 w 271276"/>
                <a:gd name="connsiteY6" fmla="*/ 100684 h 186720"/>
                <a:gd name="connsiteX7" fmla="*/ 262457 w 271276"/>
                <a:gd name="connsiteY7" fmla="*/ 6383 h 1867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71276" h="186720">
                  <a:moveTo>
                    <a:pt x="0" y="186720"/>
                  </a:moveTo>
                  <a:lnTo>
                    <a:pt x="232685" y="186720"/>
                  </a:lnTo>
                  <a:cubicBezTo>
                    <a:pt x="240541" y="186720"/>
                    <a:pt x="247858" y="180349"/>
                    <a:pt x="248960" y="172576"/>
                  </a:cubicBezTo>
                  <a:lnTo>
                    <a:pt x="271140" y="14132"/>
                  </a:lnTo>
                  <a:cubicBezTo>
                    <a:pt x="272230" y="6359"/>
                    <a:pt x="266685" y="0"/>
                    <a:pt x="258841" y="0"/>
                  </a:cubicBezTo>
                  <a:lnTo>
                    <a:pt x="22671" y="0"/>
                  </a:lnTo>
                  <a:lnTo>
                    <a:pt x="131977" y="100684"/>
                  </a:lnTo>
                  <a:lnTo>
                    <a:pt x="262457" y="6383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50" name="Forma livre: Forma 349">
              <a:extLst>
                <a:ext uri="{FF2B5EF4-FFF2-40B4-BE49-F238E27FC236}">
                  <a16:creationId xmlns:a16="http://schemas.microsoft.com/office/drawing/2014/main" id="{7FAD06DE-B1E1-747A-9016-E3D2C342529B}"/>
                </a:ext>
              </a:extLst>
            </p:cNvPr>
            <p:cNvSpPr/>
            <p:nvPr/>
          </p:nvSpPr>
          <p:spPr>
            <a:xfrm>
              <a:off x="5084178" y="1726997"/>
              <a:ext cx="67761" cy="1197"/>
            </a:xfrm>
            <a:custGeom>
              <a:avLst/>
              <a:gdLst>
                <a:gd name="connsiteX0" fmla="*/ 67761 w 67761"/>
                <a:gd name="connsiteY0" fmla="*/ 0 h 1197"/>
                <a:gd name="connsiteX1" fmla="*/ 0 w 67761"/>
                <a:gd name="connsiteY1" fmla="*/ 0 h 11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7761" h="1197">
                  <a:moveTo>
                    <a:pt x="67761" y="0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51" name="Forma livre: Forma 350">
              <a:extLst>
                <a:ext uri="{FF2B5EF4-FFF2-40B4-BE49-F238E27FC236}">
                  <a16:creationId xmlns:a16="http://schemas.microsoft.com/office/drawing/2014/main" id="{6A896D75-649A-0BA6-8754-B4D12DB18A5D}"/>
                </a:ext>
              </a:extLst>
            </p:cNvPr>
            <p:cNvSpPr/>
            <p:nvPr/>
          </p:nvSpPr>
          <p:spPr>
            <a:xfrm>
              <a:off x="5022405" y="1684805"/>
              <a:ext cx="107174" cy="1197"/>
            </a:xfrm>
            <a:custGeom>
              <a:avLst/>
              <a:gdLst>
                <a:gd name="connsiteX0" fmla="*/ 107175 w 107174"/>
                <a:gd name="connsiteY0" fmla="*/ 0 h 1197"/>
                <a:gd name="connsiteX1" fmla="*/ 0 w 107174"/>
                <a:gd name="connsiteY1" fmla="*/ 0 h 11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7174" h="1197">
                  <a:moveTo>
                    <a:pt x="107175" y="0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52" name="Forma livre: Forma 351">
              <a:extLst>
                <a:ext uri="{FF2B5EF4-FFF2-40B4-BE49-F238E27FC236}">
                  <a16:creationId xmlns:a16="http://schemas.microsoft.com/office/drawing/2014/main" id="{EDEE98F8-4A72-1C21-1E37-0B5327E97473}"/>
                </a:ext>
              </a:extLst>
            </p:cNvPr>
            <p:cNvSpPr/>
            <p:nvPr/>
          </p:nvSpPr>
          <p:spPr>
            <a:xfrm>
              <a:off x="4983973" y="1684805"/>
              <a:ext cx="16826" cy="1197"/>
            </a:xfrm>
            <a:custGeom>
              <a:avLst/>
              <a:gdLst>
                <a:gd name="connsiteX0" fmla="*/ 16827 w 16826"/>
                <a:gd name="connsiteY0" fmla="*/ 0 h 1197"/>
                <a:gd name="connsiteX1" fmla="*/ 0 w 16826"/>
                <a:gd name="connsiteY1" fmla="*/ 0 h 11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6826" h="1197">
                  <a:moveTo>
                    <a:pt x="16827" y="0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53" name="Forma livre: Forma 352">
              <a:extLst>
                <a:ext uri="{FF2B5EF4-FFF2-40B4-BE49-F238E27FC236}">
                  <a16:creationId xmlns:a16="http://schemas.microsoft.com/office/drawing/2014/main" id="{D42690F6-27EC-588B-73A1-1EFDB6EAA47D}"/>
                </a:ext>
              </a:extLst>
            </p:cNvPr>
            <p:cNvSpPr/>
            <p:nvPr/>
          </p:nvSpPr>
          <p:spPr>
            <a:xfrm>
              <a:off x="5045818" y="1726997"/>
              <a:ext cx="16802" cy="1197"/>
            </a:xfrm>
            <a:custGeom>
              <a:avLst/>
              <a:gdLst>
                <a:gd name="connsiteX0" fmla="*/ 16803 w 16802"/>
                <a:gd name="connsiteY0" fmla="*/ 0 h 1197"/>
                <a:gd name="connsiteX1" fmla="*/ 0 w 16802"/>
                <a:gd name="connsiteY1" fmla="*/ 0 h 11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6802" h="1197">
                  <a:moveTo>
                    <a:pt x="16803" y="0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54" name="Forma livre: Forma 353">
              <a:extLst>
                <a:ext uri="{FF2B5EF4-FFF2-40B4-BE49-F238E27FC236}">
                  <a16:creationId xmlns:a16="http://schemas.microsoft.com/office/drawing/2014/main" id="{F93CF035-3B96-125D-47BB-82BFEC7A37FF}"/>
                </a:ext>
              </a:extLst>
            </p:cNvPr>
            <p:cNvSpPr/>
            <p:nvPr/>
          </p:nvSpPr>
          <p:spPr>
            <a:xfrm>
              <a:off x="5017279" y="1726997"/>
              <a:ext cx="6982" cy="1197"/>
            </a:xfrm>
            <a:custGeom>
              <a:avLst/>
              <a:gdLst>
                <a:gd name="connsiteX0" fmla="*/ 6982 w 6982"/>
                <a:gd name="connsiteY0" fmla="*/ 0 h 1197"/>
                <a:gd name="connsiteX1" fmla="*/ 0 w 6982"/>
                <a:gd name="connsiteY1" fmla="*/ 0 h 11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982" h="1197">
                  <a:moveTo>
                    <a:pt x="6982" y="0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55" name="Forma livre: Forma 354">
              <a:extLst>
                <a:ext uri="{FF2B5EF4-FFF2-40B4-BE49-F238E27FC236}">
                  <a16:creationId xmlns:a16="http://schemas.microsoft.com/office/drawing/2014/main" id="{C0087244-271D-CA36-03D4-34F6F683ACAA}"/>
                </a:ext>
              </a:extLst>
            </p:cNvPr>
            <p:cNvSpPr/>
            <p:nvPr/>
          </p:nvSpPr>
          <p:spPr>
            <a:xfrm>
              <a:off x="5027423" y="1642697"/>
              <a:ext cx="66958" cy="1197"/>
            </a:xfrm>
            <a:custGeom>
              <a:avLst/>
              <a:gdLst>
                <a:gd name="connsiteX0" fmla="*/ 66959 w 66958"/>
                <a:gd name="connsiteY0" fmla="*/ 0 h 1197"/>
                <a:gd name="connsiteX1" fmla="*/ 0 w 66958"/>
                <a:gd name="connsiteY1" fmla="*/ 0 h 11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6958" h="1197">
                  <a:moveTo>
                    <a:pt x="66959" y="0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356" name="Gráfico 6">
            <a:extLst>
              <a:ext uri="{FF2B5EF4-FFF2-40B4-BE49-F238E27FC236}">
                <a16:creationId xmlns:a16="http://schemas.microsoft.com/office/drawing/2014/main" id="{93C74E76-491F-704E-4399-2FCFA1510C41}"/>
              </a:ext>
            </a:extLst>
          </p:cNvPr>
          <p:cNvGrpSpPr/>
          <p:nvPr/>
        </p:nvGrpSpPr>
        <p:grpSpPr>
          <a:xfrm>
            <a:off x="5696291" y="1030261"/>
            <a:ext cx="193031" cy="245032"/>
            <a:chOff x="5696291" y="1030261"/>
            <a:chExt cx="193031" cy="245032"/>
          </a:xfrm>
          <a:noFill/>
        </p:grpSpPr>
        <p:grpSp>
          <p:nvGrpSpPr>
            <p:cNvPr id="357" name="Gráfico 6">
              <a:extLst>
                <a:ext uri="{FF2B5EF4-FFF2-40B4-BE49-F238E27FC236}">
                  <a16:creationId xmlns:a16="http://schemas.microsoft.com/office/drawing/2014/main" id="{3AC934C6-AFE4-7BF6-4B9D-8109FDFEDAF7}"/>
                </a:ext>
              </a:extLst>
            </p:cNvPr>
            <p:cNvGrpSpPr/>
            <p:nvPr/>
          </p:nvGrpSpPr>
          <p:grpSpPr>
            <a:xfrm>
              <a:off x="5696291" y="1030261"/>
              <a:ext cx="193031" cy="245032"/>
              <a:chOff x="5696291" y="1030261"/>
              <a:chExt cx="193031" cy="245032"/>
            </a:xfrm>
            <a:noFill/>
          </p:grpSpPr>
          <p:sp>
            <p:nvSpPr>
              <p:cNvPr id="358" name="Forma livre: Forma 357">
                <a:extLst>
                  <a:ext uri="{FF2B5EF4-FFF2-40B4-BE49-F238E27FC236}">
                    <a16:creationId xmlns:a16="http://schemas.microsoft.com/office/drawing/2014/main" id="{F65A13C4-1AE4-E0DA-BF48-204422134962}"/>
                  </a:ext>
                </a:extLst>
              </p:cNvPr>
              <p:cNvSpPr/>
              <p:nvPr/>
            </p:nvSpPr>
            <p:spPr>
              <a:xfrm>
                <a:off x="5746420" y="1211963"/>
                <a:ext cx="92782" cy="62862"/>
              </a:xfrm>
              <a:custGeom>
                <a:avLst/>
                <a:gdLst>
                  <a:gd name="connsiteX0" fmla="*/ 3 w 92782"/>
                  <a:gd name="connsiteY0" fmla="*/ 62863 h 62862"/>
                  <a:gd name="connsiteX1" fmla="*/ 45776 w 92782"/>
                  <a:gd name="connsiteY1" fmla="*/ 0 h 62862"/>
                  <a:gd name="connsiteX2" fmla="*/ 92782 w 92782"/>
                  <a:gd name="connsiteY2" fmla="*/ 62863 h 628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92782" h="62862">
                    <a:moveTo>
                      <a:pt x="3" y="62863"/>
                    </a:moveTo>
                    <a:cubicBezTo>
                      <a:pt x="-332" y="29785"/>
                      <a:pt x="28829" y="0"/>
                      <a:pt x="45776" y="0"/>
                    </a:cubicBezTo>
                    <a:cubicBezTo>
                      <a:pt x="62722" y="0"/>
                      <a:pt x="92447" y="29785"/>
                      <a:pt x="92782" y="62863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59" name="Forma livre: Forma 358">
                <a:extLst>
                  <a:ext uri="{FF2B5EF4-FFF2-40B4-BE49-F238E27FC236}">
                    <a16:creationId xmlns:a16="http://schemas.microsoft.com/office/drawing/2014/main" id="{29E673E3-F109-743E-DF22-5DA82493D2F4}"/>
                  </a:ext>
                </a:extLst>
              </p:cNvPr>
              <p:cNvSpPr/>
              <p:nvPr/>
            </p:nvSpPr>
            <p:spPr>
              <a:xfrm>
                <a:off x="5696291" y="1030261"/>
                <a:ext cx="193031" cy="1197"/>
              </a:xfrm>
              <a:custGeom>
                <a:avLst/>
                <a:gdLst>
                  <a:gd name="connsiteX0" fmla="*/ 0 w 193031"/>
                  <a:gd name="connsiteY0" fmla="*/ 0 h 1197"/>
                  <a:gd name="connsiteX1" fmla="*/ 193032 w 193031"/>
                  <a:gd name="connsiteY1" fmla="*/ 0 h 11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93031" h="1197">
                    <a:moveTo>
                      <a:pt x="0" y="0"/>
                    </a:moveTo>
                    <a:lnTo>
                      <a:pt x="193032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60" name="Forma livre: Forma 359">
                <a:extLst>
                  <a:ext uri="{FF2B5EF4-FFF2-40B4-BE49-F238E27FC236}">
                    <a16:creationId xmlns:a16="http://schemas.microsoft.com/office/drawing/2014/main" id="{43A2E9AD-B020-8E6D-5D13-CBBBE66C7BD3}"/>
                  </a:ext>
                </a:extLst>
              </p:cNvPr>
              <p:cNvSpPr/>
              <p:nvPr/>
            </p:nvSpPr>
            <p:spPr>
              <a:xfrm>
                <a:off x="5696291" y="1275293"/>
                <a:ext cx="193031" cy="1197"/>
              </a:xfrm>
              <a:custGeom>
                <a:avLst/>
                <a:gdLst>
                  <a:gd name="connsiteX0" fmla="*/ 0 w 193031"/>
                  <a:gd name="connsiteY0" fmla="*/ 0 h 1197"/>
                  <a:gd name="connsiteX1" fmla="*/ 193032 w 193031"/>
                  <a:gd name="connsiteY1" fmla="*/ 0 h 11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93031" h="1197">
                    <a:moveTo>
                      <a:pt x="0" y="0"/>
                    </a:moveTo>
                    <a:lnTo>
                      <a:pt x="193032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61" name="Forma livre: Forma 360">
                <a:extLst>
                  <a:ext uri="{FF2B5EF4-FFF2-40B4-BE49-F238E27FC236}">
                    <a16:creationId xmlns:a16="http://schemas.microsoft.com/office/drawing/2014/main" id="{1DAA0F58-152B-492D-E6B6-D726F3CDA221}"/>
                  </a:ext>
                </a:extLst>
              </p:cNvPr>
              <p:cNvSpPr/>
              <p:nvPr/>
            </p:nvSpPr>
            <p:spPr>
              <a:xfrm>
                <a:off x="5749800" y="1098297"/>
                <a:ext cx="86024" cy="20754"/>
              </a:xfrm>
              <a:custGeom>
                <a:avLst/>
                <a:gdLst>
                  <a:gd name="connsiteX0" fmla="*/ 0 w 86024"/>
                  <a:gd name="connsiteY0" fmla="*/ 144 h 20754"/>
                  <a:gd name="connsiteX1" fmla="*/ 42659 w 86024"/>
                  <a:gd name="connsiteY1" fmla="*/ 20755 h 20754"/>
                  <a:gd name="connsiteX2" fmla="*/ 86025 w 86024"/>
                  <a:gd name="connsiteY2" fmla="*/ 0 h 207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6024" h="20754">
                    <a:moveTo>
                      <a:pt x="0" y="144"/>
                    </a:moveTo>
                    <a:cubicBezTo>
                      <a:pt x="0" y="144"/>
                      <a:pt x="33342" y="20755"/>
                      <a:pt x="42659" y="20755"/>
                    </a:cubicBezTo>
                    <a:cubicBezTo>
                      <a:pt x="51977" y="20755"/>
                      <a:pt x="86025" y="0"/>
                      <a:pt x="86025" y="0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362" name="Gráfico 6">
                <a:extLst>
                  <a:ext uri="{FF2B5EF4-FFF2-40B4-BE49-F238E27FC236}">
                    <a16:creationId xmlns:a16="http://schemas.microsoft.com/office/drawing/2014/main" id="{56018FE0-33AE-C66E-D0B4-90EE1CA4BD4D}"/>
                  </a:ext>
                </a:extLst>
              </p:cNvPr>
              <p:cNvGrpSpPr/>
              <p:nvPr/>
            </p:nvGrpSpPr>
            <p:grpSpPr>
              <a:xfrm>
                <a:off x="5716447" y="1033877"/>
                <a:ext cx="152731" cy="240073"/>
                <a:chOff x="5716447" y="1033877"/>
                <a:chExt cx="152731" cy="240073"/>
              </a:xfrm>
              <a:noFill/>
            </p:grpSpPr>
            <p:sp>
              <p:nvSpPr>
                <p:cNvPr id="363" name="Forma livre: Forma 362">
                  <a:extLst>
                    <a:ext uri="{FF2B5EF4-FFF2-40B4-BE49-F238E27FC236}">
                      <a16:creationId xmlns:a16="http://schemas.microsoft.com/office/drawing/2014/main" id="{5826D29D-A545-A189-3E9E-C48FA0FF5885}"/>
                    </a:ext>
                  </a:extLst>
                </p:cNvPr>
                <p:cNvSpPr/>
                <p:nvPr/>
              </p:nvSpPr>
              <p:spPr>
                <a:xfrm>
                  <a:off x="5716447" y="1052740"/>
                  <a:ext cx="50647" cy="221211"/>
                </a:xfrm>
                <a:custGeom>
                  <a:avLst/>
                  <a:gdLst>
                    <a:gd name="connsiteX0" fmla="*/ 0 w 50647"/>
                    <a:gd name="connsiteY0" fmla="*/ 0 h 221211"/>
                    <a:gd name="connsiteX1" fmla="*/ 0 w 50647"/>
                    <a:gd name="connsiteY1" fmla="*/ 49054 h 221211"/>
                    <a:gd name="connsiteX2" fmla="*/ 50647 w 50647"/>
                    <a:gd name="connsiteY2" fmla="*/ 95905 h 221211"/>
                    <a:gd name="connsiteX3" fmla="*/ 50647 w 50647"/>
                    <a:gd name="connsiteY3" fmla="*/ 105175 h 221211"/>
                    <a:gd name="connsiteX4" fmla="*/ 0 w 50647"/>
                    <a:gd name="connsiteY4" fmla="*/ 152025 h 221211"/>
                    <a:gd name="connsiteX5" fmla="*/ 0 w 50647"/>
                    <a:gd name="connsiteY5" fmla="*/ 221211 h 22121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50647" h="221211">
                      <a:moveTo>
                        <a:pt x="0" y="0"/>
                      </a:moveTo>
                      <a:lnTo>
                        <a:pt x="0" y="49054"/>
                      </a:lnTo>
                      <a:cubicBezTo>
                        <a:pt x="0" y="76995"/>
                        <a:pt x="50647" y="85258"/>
                        <a:pt x="50647" y="95905"/>
                      </a:cubicBezTo>
                      <a:lnTo>
                        <a:pt x="50647" y="105175"/>
                      </a:lnTo>
                      <a:cubicBezTo>
                        <a:pt x="50647" y="115809"/>
                        <a:pt x="0" y="124085"/>
                        <a:pt x="0" y="152025"/>
                      </a:cubicBezTo>
                      <a:lnTo>
                        <a:pt x="0" y="221211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364" name="Forma livre: Forma 363">
                  <a:extLst>
                    <a:ext uri="{FF2B5EF4-FFF2-40B4-BE49-F238E27FC236}">
                      <a16:creationId xmlns:a16="http://schemas.microsoft.com/office/drawing/2014/main" id="{7175C82C-E48D-C2E2-3351-34F7CCA5B0E1}"/>
                    </a:ext>
                  </a:extLst>
                </p:cNvPr>
                <p:cNvSpPr/>
                <p:nvPr/>
              </p:nvSpPr>
              <p:spPr>
                <a:xfrm>
                  <a:off x="5818531" y="1033877"/>
                  <a:ext cx="50647" cy="237031"/>
                </a:xfrm>
                <a:custGeom>
                  <a:avLst/>
                  <a:gdLst>
                    <a:gd name="connsiteX0" fmla="*/ 50647 w 50647"/>
                    <a:gd name="connsiteY0" fmla="*/ 0 h 237031"/>
                    <a:gd name="connsiteX1" fmla="*/ 50647 w 50647"/>
                    <a:gd name="connsiteY1" fmla="*/ 67917 h 237031"/>
                    <a:gd name="connsiteX2" fmla="*/ 0 w 50647"/>
                    <a:gd name="connsiteY2" fmla="*/ 114767 h 237031"/>
                    <a:gd name="connsiteX3" fmla="*/ 0 w 50647"/>
                    <a:gd name="connsiteY3" fmla="*/ 124037 h 237031"/>
                    <a:gd name="connsiteX4" fmla="*/ 50647 w 50647"/>
                    <a:gd name="connsiteY4" fmla="*/ 170888 h 237031"/>
                    <a:gd name="connsiteX5" fmla="*/ 50647 w 50647"/>
                    <a:gd name="connsiteY5" fmla="*/ 237032 h 23703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50647" h="237031">
                      <a:moveTo>
                        <a:pt x="50647" y="0"/>
                      </a:moveTo>
                      <a:lnTo>
                        <a:pt x="50647" y="67917"/>
                      </a:lnTo>
                      <a:cubicBezTo>
                        <a:pt x="50647" y="95857"/>
                        <a:pt x="0" y="104121"/>
                        <a:pt x="0" y="114767"/>
                      </a:cubicBezTo>
                      <a:lnTo>
                        <a:pt x="0" y="124037"/>
                      </a:lnTo>
                      <a:cubicBezTo>
                        <a:pt x="0" y="134672"/>
                        <a:pt x="50647" y="142947"/>
                        <a:pt x="50647" y="170888"/>
                      </a:cubicBezTo>
                      <a:lnTo>
                        <a:pt x="50647" y="237032"/>
                      </a:ln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sp>
          <p:nvSpPr>
            <p:cNvPr id="365" name="Forma livre: Forma 364">
              <a:extLst>
                <a:ext uri="{FF2B5EF4-FFF2-40B4-BE49-F238E27FC236}">
                  <a16:creationId xmlns:a16="http://schemas.microsoft.com/office/drawing/2014/main" id="{455AD767-FEC6-CB50-BA98-5DD4A81B6999}"/>
                </a:ext>
              </a:extLst>
            </p:cNvPr>
            <p:cNvSpPr/>
            <p:nvPr/>
          </p:nvSpPr>
          <p:spPr>
            <a:xfrm>
              <a:off x="5792807" y="1160513"/>
              <a:ext cx="1197" cy="17964"/>
            </a:xfrm>
            <a:custGeom>
              <a:avLst/>
              <a:gdLst>
                <a:gd name="connsiteX0" fmla="*/ 0 w 1197"/>
                <a:gd name="connsiteY0" fmla="*/ 0 h 17964"/>
                <a:gd name="connsiteX1" fmla="*/ 0 w 1197"/>
                <a:gd name="connsiteY1" fmla="*/ 17964 h 17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97" h="17964">
                  <a:moveTo>
                    <a:pt x="0" y="0"/>
                  </a:moveTo>
                  <a:lnTo>
                    <a:pt x="0" y="17964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366" name="Gráfico 6">
            <a:extLst>
              <a:ext uri="{FF2B5EF4-FFF2-40B4-BE49-F238E27FC236}">
                <a16:creationId xmlns:a16="http://schemas.microsoft.com/office/drawing/2014/main" id="{61CFFD78-94A9-4DA2-22CD-6026034C954D}"/>
              </a:ext>
            </a:extLst>
          </p:cNvPr>
          <p:cNvGrpSpPr/>
          <p:nvPr/>
        </p:nvGrpSpPr>
        <p:grpSpPr>
          <a:xfrm>
            <a:off x="4414903" y="1028206"/>
            <a:ext cx="262792" cy="249146"/>
            <a:chOff x="4414903" y="1028206"/>
            <a:chExt cx="262792" cy="249146"/>
          </a:xfrm>
          <a:noFill/>
        </p:grpSpPr>
        <p:sp>
          <p:nvSpPr>
            <p:cNvPr id="367" name="Forma livre: Forma 366">
              <a:extLst>
                <a:ext uri="{FF2B5EF4-FFF2-40B4-BE49-F238E27FC236}">
                  <a16:creationId xmlns:a16="http://schemas.microsoft.com/office/drawing/2014/main" id="{05FEE4A2-E959-3650-AEF7-019C21EEEFE9}"/>
                </a:ext>
              </a:extLst>
            </p:cNvPr>
            <p:cNvSpPr/>
            <p:nvPr/>
          </p:nvSpPr>
          <p:spPr>
            <a:xfrm>
              <a:off x="4484987" y="1251197"/>
              <a:ext cx="170755" cy="15425"/>
            </a:xfrm>
            <a:custGeom>
              <a:avLst/>
              <a:gdLst>
                <a:gd name="connsiteX0" fmla="*/ 170756 w 170755"/>
                <a:gd name="connsiteY0" fmla="*/ 0 h 15425"/>
                <a:gd name="connsiteX1" fmla="*/ 147870 w 170755"/>
                <a:gd name="connsiteY1" fmla="*/ 15425 h 15425"/>
                <a:gd name="connsiteX2" fmla="*/ 0 w 170755"/>
                <a:gd name="connsiteY2" fmla="*/ 15425 h 154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70755" h="15425">
                  <a:moveTo>
                    <a:pt x="170756" y="0"/>
                  </a:moveTo>
                  <a:cubicBezTo>
                    <a:pt x="168073" y="5952"/>
                    <a:pt x="161690" y="15425"/>
                    <a:pt x="147870" y="15425"/>
                  </a:cubicBezTo>
                  <a:lnTo>
                    <a:pt x="0" y="15425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68" name="Forma livre: Forma 367">
              <a:extLst>
                <a:ext uri="{FF2B5EF4-FFF2-40B4-BE49-F238E27FC236}">
                  <a16:creationId xmlns:a16="http://schemas.microsoft.com/office/drawing/2014/main" id="{2B977777-4A47-B283-35FA-7BB7D7938596}"/>
                </a:ext>
              </a:extLst>
            </p:cNvPr>
            <p:cNvSpPr/>
            <p:nvPr/>
          </p:nvSpPr>
          <p:spPr>
            <a:xfrm>
              <a:off x="4486640" y="1028206"/>
              <a:ext cx="189750" cy="100821"/>
            </a:xfrm>
            <a:custGeom>
              <a:avLst/>
              <a:gdLst>
                <a:gd name="connsiteX0" fmla="*/ 0 w 189750"/>
                <a:gd name="connsiteY0" fmla="*/ 100822 h 100821"/>
                <a:gd name="connsiteX1" fmla="*/ 66899 w 189750"/>
                <a:gd name="connsiteY1" fmla="*/ 15791 h 100821"/>
                <a:gd name="connsiteX2" fmla="*/ 85246 w 189750"/>
                <a:gd name="connsiteY2" fmla="*/ 270 h 100821"/>
                <a:gd name="connsiteX3" fmla="*/ 106097 w 189750"/>
                <a:gd name="connsiteY3" fmla="*/ 19672 h 100821"/>
                <a:gd name="connsiteX4" fmla="*/ 97522 w 189750"/>
                <a:gd name="connsiteY4" fmla="*/ 87468 h 100821"/>
                <a:gd name="connsiteX5" fmla="*/ 177942 w 189750"/>
                <a:gd name="connsiteY5" fmla="*/ 87468 h 100821"/>
                <a:gd name="connsiteX6" fmla="*/ 189750 w 189750"/>
                <a:gd name="connsiteY6" fmla="*/ 96642 h 1008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89750" h="100821">
                  <a:moveTo>
                    <a:pt x="0" y="100822"/>
                  </a:moveTo>
                  <a:cubicBezTo>
                    <a:pt x="14132" y="96618"/>
                    <a:pt x="66899" y="76929"/>
                    <a:pt x="66899" y="15791"/>
                  </a:cubicBezTo>
                  <a:cubicBezTo>
                    <a:pt x="66899" y="15791"/>
                    <a:pt x="68120" y="270"/>
                    <a:pt x="85246" y="270"/>
                  </a:cubicBezTo>
                  <a:cubicBezTo>
                    <a:pt x="85246" y="270"/>
                    <a:pt x="103869" y="-3802"/>
                    <a:pt x="106097" y="19672"/>
                  </a:cubicBezTo>
                  <a:cubicBezTo>
                    <a:pt x="106097" y="19672"/>
                    <a:pt x="110935" y="60630"/>
                    <a:pt x="97522" y="87468"/>
                  </a:cubicBezTo>
                  <a:lnTo>
                    <a:pt x="177942" y="87468"/>
                  </a:lnTo>
                  <a:cubicBezTo>
                    <a:pt x="177942" y="87468"/>
                    <a:pt x="185858" y="86163"/>
                    <a:pt x="189750" y="96642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69" name="Forma livre: Forma 368">
              <a:extLst>
                <a:ext uri="{FF2B5EF4-FFF2-40B4-BE49-F238E27FC236}">
                  <a16:creationId xmlns:a16="http://schemas.microsoft.com/office/drawing/2014/main" id="{DF57EAA1-8D5F-1C3C-C9D1-BEEEBFD5C85F}"/>
                </a:ext>
              </a:extLst>
            </p:cNvPr>
            <p:cNvSpPr/>
            <p:nvPr/>
          </p:nvSpPr>
          <p:spPr>
            <a:xfrm>
              <a:off x="4414903" y="1124621"/>
              <a:ext cx="43976" cy="152731"/>
            </a:xfrm>
            <a:custGeom>
              <a:avLst/>
              <a:gdLst>
                <a:gd name="connsiteX0" fmla="*/ 3868 w 43976"/>
                <a:gd name="connsiteY0" fmla="*/ 0 h 152731"/>
                <a:gd name="connsiteX1" fmla="*/ 43976 w 43976"/>
                <a:gd name="connsiteY1" fmla="*/ 0 h 152731"/>
                <a:gd name="connsiteX2" fmla="*/ 43976 w 43976"/>
                <a:gd name="connsiteY2" fmla="*/ 152732 h 152731"/>
                <a:gd name="connsiteX3" fmla="*/ 0 w 43976"/>
                <a:gd name="connsiteY3" fmla="*/ 152732 h 1527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976" h="152731">
                  <a:moveTo>
                    <a:pt x="3868" y="0"/>
                  </a:moveTo>
                  <a:lnTo>
                    <a:pt x="43976" y="0"/>
                  </a:lnTo>
                  <a:lnTo>
                    <a:pt x="43976" y="152732"/>
                  </a:lnTo>
                  <a:lnTo>
                    <a:pt x="0" y="152732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370" name="Gráfico 6">
              <a:extLst>
                <a:ext uri="{FF2B5EF4-FFF2-40B4-BE49-F238E27FC236}">
                  <a16:creationId xmlns:a16="http://schemas.microsoft.com/office/drawing/2014/main" id="{6883759B-3E36-21FE-6349-FDE39963E69C}"/>
                </a:ext>
              </a:extLst>
            </p:cNvPr>
            <p:cNvGrpSpPr/>
            <p:nvPr/>
          </p:nvGrpSpPr>
          <p:grpSpPr>
            <a:xfrm>
              <a:off x="4649827" y="1138333"/>
              <a:ext cx="27868" cy="16829"/>
              <a:chOff x="4649827" y="1138333"/>
              <a:chExt cx="27868" cy="16829"/>
            </a:xfrm>
            <a:noFill/>
          </p:grpSpPr>
          <p:sp>
            <p:nvSpPr>
              <p:cNvPr id="371" name="Forma livre: Forma 370">
                <a:extLst>
                  <a:ext uri="{FF2B5EF4-FFF2-40B4-BE49-F238E27FC236}">
                    <a16:creationId xmlns:a16="http://schemas.microsoft.com/office/drawing/2014/main" id="{046AA3BE-BC1D-352E-B4A9-26A510A099D1}"/>
                  </a:ext>
                </a:extLst>
              </p:cNvPr>
              <p:cNvSpPr/>
              <p:nvPr/>
            </p:nvSpPr>
            <p:spPr>
              <a:xfrm>
                <a:off x="4649827" y="1155160"/>
                <a:ext cx="7377" cy="1197"/>
              </a:xfrm>
              <a:custGeom>
                <a:avLst/>
                <a:gdLst>
                  <a:gd name="connsiteX0" fmla="*/ 0 w 7377"/>
                  <a:gd name="connsiteY0" fmla="*/ 0 h 1197"/>
                  <a:gd name="connsiteX1" fmla="*/ 7377 w 7377"/>
                  <a:gd name="connsiteY1" fmla="*/ 0 h 11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7377" h="1197">
                    <a:moveTo>
                      <a:pt x="0" y="0"/>
                    </a:moveTo>
                    <a:lnTo>
                      <a:pt x="7377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72" name="Forma livre: Forma 371">
                <a:extLst>
                  <a:ext uri="{FF2B5EF4-FFF2-40B4-BE49-F238E27FC236}">
                    <a16:creationId xmlns:a16="http://schemas.microsoft.com/office/drawing/2014/main" id="{88F3170F-57EE-3168-F647-51E7483AB2DD}"/>
                  </a:ext>
                </a:extLst>
              </p:cNvPr>
              <p:cNvSpPr/>
              <p:nvPr/>
            </p:nvSpPr>
            <p:spPr>
              <a:xfrm>
                <a:off x="4656330" y="1138333"/>
                <a:ext cx="21365" cy="16829"/>
              </a:xfrm>
              <a:custGeom>
                <a:avLst/>
                <a:gdLst>
                  <a:gd name="connsiteX0" fmla="*/ 21365 w 21365"/>
                  <a:gd name="connsiteY0" fmla="*/ 0 h 16829"/>
                  <a:gd name="connsiteX1" fmla="*/ 0 w 21365"/>
                  <a:gd name="connsiteY1" fmla="*/ 16826 h 168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1365" h="16829">
                    <a:moveTo>
                      <a:pt x="21365" y="0"/>
                    </a:moveTo>
                    <a:cubicBezTo>
                      <a:pt x="19928" y="7844"/>
                      <a:pt x="14132" y="17030"/>
                      <a:pt x="0" y="16826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373" name="Gráfico 6">
              <a:extLst>
                <a:ext uri="{FF2B5EF4-FFF2-40B4-BE49-F238E27FC236}">
                  <a16:creationId xmlns:a16="http://schemas.microsoft.com/office/drawing/2014/main" id="{33D17A5F-E8E4-E5CF-3230-12620E38D338}"/>
                </a:ext>
              </a:extLst>
            </p:cNvPr>
            <p:cNvGrpSpPr/>
            <p:nvPr/>
          </p:nvGrpSpPr>
          <p:grpSpPr>
            <a:xfrm>
              <a:off x="4645360" y="1175938"/>
              <a:ext cx="27868" cy="16817"/>
              <a:chOff x="4645360" y="1175938"/>
              <a:chExt cx="27868" cy="16817"/>
            </a:xfrm>
            <a:noFill/>
          </p:grpSpPr>
          <p:sp>
            <p:nvSpPr>
              <p:cNvPr id="374" name="Forma livre: Forma 373">
                <a:extLst>
                  <a:ext uri="{FF2B5EF4-FFF2-40B4-BE49-F238E27FC236}">
                    <a16:creationId xmlns:a16="http://schemas.microsoft.com/office/drawing/2014/main" id="{0B62DE4F-1628-7732-9CEC-84098CEC525A}"/>
                  </a:ext>
                </a:extLst>
              </p:cNvPr>
              <p:cNvSpPr/>
              <p:nvPr/>
            </p:nvSpPr>
            <p:spPr>
              <a:xfrm>
                <a:off x="4645360" y="1192753"/>
                <a:ext cx="7377" cy="1197"/>
              </a:xfrm>
              <a:custGeom>
                <a:avLst/>
                <a:gdLst>
                  <a:gd name="connsiteX0" fmla="*/ 0 w 7377"/>
                  <a:gd name="connsiteY0" fmla="*/ 0 h 1197"/>
                  <a:gd name="connsiteX1" fmla="*/ 7377 w 7377"/>
                  <a:gd name="connsiteY1" fmla="*/ 0 h 11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7377" h="1197">
                    <a:moveTo>
                      <a:pt x="0" y="0"/>
                    </a:moveTo>
                    <a:lnTo>
                      <a:pt x="7377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75" name="Forma livre: Forma 374">
                <a:extLst>
                  <a:ext uri="{FF2B5EF4-FFF2-40B4-BE49-F238E27FC236}">
                    <a16:creationId xmlns:a16="http://schemas.microsoft.com/office/drawing/2014/main" id="{21FDEA99-54A8-4416-DB1A-7626C0513804}"/>
                  </a:ext>
                </a:extLst>
              </p:cNvPr>
              <p:cNvSpPr/>
              <p:nvPr/>
            </p:nvSpPr>
            <p:spPr>
              <a:xfrm>
                <a:off x="4651863" y="1175938"/>
                <a:ext cx="21365" cy="16817"/>
              </a:xfrm>
              <a:custGeom>
                <a:avLst/>
                <a:gdLst>
                  <a:gd name="connsiteX0" fmla="*/ 21365 w 21365"/>
                  <a:gd name="connsiteY0" fmla="*/ 0 h 16817"/>
                  <a:gd name="connsiteX1" fmla="*/ 0 w 21365"/>
                  <a:gd name="connsiteY1" fmla="*/ 16815 h 168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1365" h="16817">
                    <a:moveTo>
                      <a:pt x="21365" y="0"/>
                    </a:moveTo>
                    <a:cubicBezTo>
                      <a:pt x="19928" y="7844"/>
                      <a:pt x="14132" y="17018"/>
                      <a:pt x="0" y="16815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376" name="Gráfico 6">
              <a:extLst>
                <a:ext uri="{FF2B5EF4-FFF2-40B4-BE49-F238E27FC236}">
                  <a16:creationId xmlns:a16="http://schemas.microsoft.com/office/drawing/2014/main" id="{D0D0BC71-9BC6-874D-C4B1-F2F4A014041D}"/>
                </a:ext>
              </a:extLst>
            </p:cNvPr>
            <p:cNvGrpSpPr/>
            <p:nvPr/>
          </p:nvGrpSpPr>
          <p:grpSpPr>
            <a:xfrm>
              <a:off x="4636126" y="1213939"/>
              <a:ext cx="27868" cy="16829"/>
              <a:chOff x="4636126" y="1213939"/>
              <a:chExt cx="27868" cy="16829"/>
            </a:xfrm>
            <a:noFill/>
          </p:grpSpPr>
          <p:sp>
            <p:nvSpPr>
              <p:cNvPr id="377" name="Forma livre: Forma 376">
                <a:extLst>
                  <a:ext uri="{FF2B5EF4-FFF2-40B4-BE49-F238E27FC236}">
                    <a16:creationId xmlns:a16="http://schemas.microsoft.com/office/drawing/2014/main" id="{08B69E5B-0B4C-7710-B4F3-8EE132638370}"/>
                  </a:ext>
                </a:extLst>
              </p:cNvPr>
              <p:cNvSpPr/>
              <p:nvPr/>
            </p:nvSpPr>
            <p:spPr>
              <a:xfrm>
                <a:off x="4636126" y="1230753"/>
                <a:ext cx="7377" cy="1197"/>
              </a:xfrm>
              <a:custGeom>
                <a:avLst/>
                <a:gdLst>
                  <a:gd name="connsiteX0" fmla="*/ 0 w 7377"/>
                  <a:gd name="connsiteY0" fmla="*/ 0 h 1197"/>
                  <a:gd name="connsiteX1" fmla="*/ 7377 w 7377"/>
                  <a:gd name="connsiteY1" fmla="*/ 0 h 11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7377" h="1197">
                    <a:moveTo>
                      <a:pt x="0" y="0"/>
                    </a:moveTo>
                    <a:lnTo>
                      <a:pt x="7377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78" name="Forma livre: Forma 377">
                <a:extLst>
                  <a:ext uri="{FF2B5EF4-FFF2-40B4-BE49-F238E27FC236}">
                    <a16:creationId xmlns:a16="http://schemas.microsoft.com/office/drawing/2014/main" id="{E2C7CE69-5106-C511-BD3E-CA2A77D03886}"/>
                  </a:ext>
                </a:extLst>
              </p:cNvPr>
              <p:cNvSpPr/>
              <p:nvPr/>
            </p:nvSpPr>
            <p:spPr>
              <a:xfrm>
                <a:off x="4642629" y="1213939"/>
                <a:ext cx="21365" cy="16829"/>
              </a:xfrm>
              <a:custGeom>
                <a:avLst/>
                <a:gdLst>
                  <a:gd name="connsiteX0" fmla="*/ 21365 w 21365"/>
                  <a:gd name="connsiteY0" fmla="*/ 0 h 16829"/>
                  <a:gd name="connsiteX1" fmla="*/ 0 w 21365"/>
                  <a:gd name="connsiteY1" fmla="*/ 16826 h 168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1365" h="16829">
                    <a:moveTo>
                      <a:pt x="21365" y="0"/>
                    </a:moveTo>
                    <a:cubicBezTo>
                      <a:pt x="19928" y="7844"/>
                      <a:pt x="14132" y="17030"/>
                      <a:pt x="0" y="16826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379" name="Gráfico 6">
            <a:extLst>
              <a:ext uri="{FF2B5EF4-FFF2-40B4-BE49-F238E27FC236}">
                <a16:creationId xmlns:a16="http://schemas.microsoft.com/office/drawing/2014/main" id="{AD726BDF-364F-D436-C6CA-3E8C6C85434B}"/>
              </a:ext>
            </a:extLst>
          </p:cNvPr>
          <p:cNvGrpSpPr/>
          <p:nvPr/>
        </p:nvGrpSpPr>
        <p:grpSpPr>
          <a:xfrm>
            <a:off x="5052992" y="987063"/>
            <a:ext cx="233139" cy="331427"/>
            <a:chOff x="5052992" y="987063"/>
            <a:chExt cx="233139" cy="331427"/>
          </a:xfrm>
          <a:noFill/>
        </p:grpSpPr>
        <p:grpSp>
          <p:nvGrpSpPr>
            <p:cNvPr id="380" name="Gráfico 6">
              <a:extLst>
                <a:ext uri="{FF2B5EF4-FFF2-40B4-BE49-F238E27FC236}">
                  <a16:creationId xmlns:a16="http://schemas.microsoft.com/office/drawing/2014/main" id="{A3308108-61AD-94AC-7EF1-D6B5867D2D21}"/>
                </a:ext>
              </a:extLst>
            </p:cNvPr>
            <p:cNvGrpSpPr/>
            <p:nvPr/>
          </p:nvGrpSpPr>
          <p:grpSpPr>
            <a:xfrm>
              <a:off x="5052992" y="987063"/>
              <a:ext cx="233139" cy="331427"/>
              <a:chOff x="5052992" y="987063"/>
              <a:chExt cx="233139" cy="331427"/>
            </a:xfrm>
            <a:noFill/>
          </p:grpSpPr>
          <p:sp>
            <p:nvSpPr>
              <p:cNvPr id="381" name="Forma livre: Forma 380">
                <a:extLst>
                  <a:ext uri="{FF2B5EF4-FFF2-40B4-BE49-F238E27FC236}">
                    <a16:creationId xmlns:a16="http://schemas.microsoft.com/office/drawing/2014/main" id="{06CA15C0-9039-8F90-BC8C-97FC78E716DA}"/>
                  </a:ext>
                </a:extLst>
              </p:cNvPr>
              <p:cNvSpPr/>
              <p:nvPr/>
            </p:nvSpPr>
            <p:spPr>
              <a:xfrm>
                <a:off x="5169568" y="1218777"/>
                <a:ext cx="1197" cy="66407"/>
              </a:xfrm>
              <a:custGeom>
                <a:avLst/>
                <a:gdLst>
                  <a:gd name="connsiteX0" fmla="*/ 0 w 1197"/>
                  <a:gd name="connsiteY0" fmla="*/ 66408 h 66407"/>
                  <a:gd name="connsiteX1" fmla="*/ 0 w 1197"/>
                  <a:gd name="connsiteY1" fmla="*/ 0 h 664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7" h="66407">
                    <a:moveTo>
                      <a:pt x="0" y="66408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82" name="Forma livre: Forma 381">
                <a:extLst>
                  <a:ext uri="{FF2B5EF4-FFF2-40B4-BE49-F238E27FC236}">
                    <a16:creationId xmlns:a16="http://schemas.microsoft.com/office/drawing/2014/main" id="{89993B7A-8874-B92D-DD8C-8185F8748D3E}"/>
                  </a:ext>
                </a:extLst>
              </p:cNvPr>
              <p:cNvSpPr/>
              <p:nvPr/>
            </p:nvSpPr>
            <p:spPr>
              <a:xfrm>
                <a:off x="5074980" y="1157914"/>
                <a:ext cx="189187" cy="39259"/>
              </a:xfrm>
              <a:custGeom>
                <a:avLst/>
                <a:gdLst>
                  <a:gd name="connsiteX0" fmla="*/ 0 w 189187"/>
                  <a:gd name="connsiteY0" fmla="*/ 28851 h 39259"/>
                  <a:gd name="connsiteX1" fmla="*/ 8791 w 189187"/>
                  <a:gd name="connsiteY1" fmla="*/ 14000 h 39259"/>
                  <a:gd name="connsiteX2" fmla="*/ 96049 w 189187"/>
                  <a:gd name="connsiteY2" fmla="*/ 0 h 39259"/>
                  <a:gd name="connsiteX3" fmla="*/ 180660 w 189187"/>
                  <a:gd name="connsiteY3" fmla="*/ 13641 h 39259"/>
                  <a:gd name="connsiteX4" fmla="*/ 189187 w 189187"/>
                  <a:gd name="connsiteY4" fmla="*/ 28839 h 39259"/>
                  <a:gd name="connsiteX5" fmla="*/ 189187 w 189187"/>
                  <a:gd name="connsiteY5" fmla="*/ 29641 h 39259"/>
                  <a:gd name="connsiteX6" fmla="*/ 178708 w 189187"/>
                  <a:gd name="connsiteY6" fmla="*/ 39258 h 39259"/>
                  <a:gd name="connsiteX7" fmla="*/ 10491 w 189187"/>
                  <a:gd name="connsiteY7" fmla="*/ 39258 h 39259"/>
                  <a:gd name="connsiteX8" fmla="*/ 12 w 189187"/>
                  <a:gd name="connsiteY8" fmla="*/ 34192 h 39259"/>
                  <a:gd name="connsiteX9" fmla="*/ 12 w 189187"/>
                  <a:gd name="connsiteY9" fmla="*/ 28851 h 392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89187" h="39259">
                    <a:moveTo>
                      <a:pt x="0" y="28851"/>
                    </a:moveTo>
                    <a:cubicBezTo>
                      <a:pt x="0" y="23569"/>
                      <a:pt x="3952" y="16886"/>
                      <a:pt x="8791" y="14000"/>
                    </a:cubicBezTo>
                    <a:cubicBezTo>
                      <a:pt x="8791" y="14000"/>
                      <a:pt x="32264" y="0"/>
                      <a:pt x="96049" y="0"/>
                    </a:cubicBezTo>
                    <a:cubicBezTo>
                      <a:pt x="159834" y="0"/>
                      <a:pt x="180660" y="13641"/>
                      <a:pt x="180660" y="13641"/>
                    </a:cubicBezTo>
                    <a:cubicBezTo>
                      <a:pt x="185355" y="16707"/>
                      <a:pt x="189187" y="23557"/>
                      <a:pt x="189187" y="28839"/>
                    </a:cubicBezTo>
                    <a:lnTo>
                      <a:pt x="189187" y="29641"/>
                    </a:lnTo>
                    <a:cubicBezTo>
                      <a:pt x="189187" y="34934"/>
                      <a:pt x="184469" y="39258"/>
                      <a:pt x="178708" y="39258"/>
                    </a:cubicBezTo>
                    <a:lnTo>
                      <a:pt x="10491" y="39258"/>
                    </a:lnTo>
                    <a:cubicBezTo>
                      <a:pt x="4731" y="39258"/>
                      <a:pt x="12" y="39473"/>
                      <a:pt x="12" y="34192"/>
                    </a:cubicBezTo>
                    <a:lnTo>
                      <a:pt x="12" y="28851"/>
                    </a:ln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83" name="Forma livre: Forma 382">
                <a:extLst>
                  <a:ext uri="{FF2B5EF4-FFF2-40B4-BE49-F238E27FC236}">
                    <a16:creationId xmlns:a16="http://schemas.microsoft.com/office/drawing/2014/main" id="{C10AE1BE-B802-0C7B-7F5F-DA4D0314E364}"/>
                  </a:ext>
                </a:extLst>
              </p:cNvPr>
              <p:cNvSpPr/>
              <p:nvPr/>
            </p:nvSpPr>
            <p:spPr>
              <a:xfrm>
                <a:off x="5098778" y="987063"/>
                <a:ext cx="141567" cy="141653"/>
              </a:xfrm>
              <a:custGeom>
                <a:avLst/>
                <a:gdLst>
                  <a:gd name="connsiteX0" fmla="*/ 141521 w 141567"/>
                  <a:gd name="connsiteY0" fmla="*/ 122468 h 141653"/>
                  <a:gd name="connsiteX1" fmla="*/ 121964 w 141567"/>
                  <a:gd name="connsiteY1" fmla="*/ 141654 h 141653"/>
                  <a:gd name="connsiteX2" fmla="*/ 19615 w 141567"/>
                  <a:gd name="connsiteY2" fmla="*/ 141654 h 141653"/>
                  <a:gd name="connsiteX3" fmla="*/ 46 w 141567"/>
                  <a:gd name="connsiteY3" fmla="*/ 122468 h 141653"/>
                  <a:gd name="connsiteX4" fmla="*/ 7567 w 141567"/>
                  <a:gd name="connsiteY4" fmla="*/ 19186 h 141653"/>
                  <a:gd name="connsiteX5" fmla="*/ 29915 w 141567"/>
                  <a:gd name="connsiteY5" fmla="*/ 0 h 141653"/>
                  <a:gd name="connsiteX6" fmla="*/ 111652 w 141567"/>
                  <a:gd name="connsiteY6" fmla="*/ 0 h 141653"/>
                  <a:gd name="connsiteX7" fmla="*/ 134000 w 141567"/>
                  <a:gd name="connsiteY7" fmla="*/ 19186 h 141653"/>
                  <a:gd name="connsiteX8" fmla="*/ 141509 w 141567"/>
                  <a:gd name="connsiteY8" fmla="*/ 122468 h 1416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41567" h="141653">
                    <a:moveTo>
                      <a:pt x="141521" y="122468"/>
                    </a:moveTo>
                    <a:cubicBezTo>
                      <a:pt x="142287" y="133031"/>
                      <a:pt x="133485" y="141654"/>
                      <a:pt x="121964" y="141654"/>
                    </a:cubicBezTo>
                    <a:lnTo>
                      <a:pt x="19615" y="141654"/>
                    </a:lnTo>
                    <a:cubicBezTo>
                      <a:pt x="8094" y="141654"/>
                      <a:pt x="-720" y="133031"/>
                      <a:pt x="46" y="122468"/>
                    </a:cubicBezTo>
                    <a:lnTo>
                      <a:pt x="7567" y="19186"/>
                    </a:lnTo>
                    <a:cubicBezTo>
                      <a:pt x="8334" y="8635"/>
                      <a:pt x="18394" y="0"/>
                      <a:pt x="29915" y="0"/>
                    </a:cubicBezTo>
                    <a:lnTo>
                      <a:pt x="111652" y="0"/>
                    </a:lnTo>
                    <a:cubicBezTo>
                      <a:pt x="123173" y="0"/>
                      <a:pt x="133233" y="8635"/>
                      <a:pt x="134000" y="19186"/>
                    </a:cubicBezTo>
                    <a:lnTo>
                      <a:pt x="141509" y="122468"/>
                    </a:ln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384" name="Gráfico 6">
                <a:extLst>
                  <a:ext uri="{FF2B5EF4-FFF2-40B4-BE49-F238E27FC236}">
                    <a16:creationId xmlns:a16="http://schemas.microsoft.com/office/drawing/2014/main" id="{2BD29CA8-39D4-D779-E972-88428FB1097A}"/>
                  </a:ext>
                </a:extLst>
              </p:cNvPr>
              <p:cNvGrpSpPr/>
              <p:nvPr/>
            </p:nvGrpSpPr>
            <p:grpSpPr>
              <a:xfrm>
                <a:off x="5152538" y="1128333"/>
                <a:ext cx="34060" cy="29988"/>
                <a:chOff x="5152538" y="1128333"/>
                <a:chExt cx="34060" cy="29988"/>
              </a:xfrm>
            </p:grpSpPr>
            <p:sp>
              <p:nvSpPr>
                <p:cNvPr id="385" name="Forma livre: Forma 384">
                  <a:extLst>
                    <a:ext uri="{FF2B5EF4-FFF2-40B4-BE49-F238E27FC236}">
                      <a16:creationId xmlns:a16="http://schemas.microsoft.com/office/drawing/2014/main" id="{1E15E980-EA11-3279-3CE2-C36F610B3BDF}"/>
                    </a:ext>
                  </a:extLst>
                </p:cNvPr>
                <p:cNvSpPr/>
                <p:nvPr/>
              </p:nvSpPr>
              <p:spPr>
                <a:xfrm>
                  <a:off x="5152538" y="1128333"/>
                  <a:ext cx="1197" cy="29988"/>
                </a:xfrm>
                <a:custGeom>
                  <a:avLst/>
                  <a:gdLst>
                    <a:gd name="connsiteX0" fmla="*/ 0 w 1197"/>
                    <a:gd name="connsiteY0" fmla="*/ 0 h 29988"/>
                    <a:gd name="connsiteX1" fmla="*/ 0 w 1197"/>
                    <a:gd name="connsiteY1" fmla="*/ 29988 h 2998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197" h="29988">
                      <a:moveTo>
                        <a:pt x="0" y="0"/>
                      </a:moveTo>
                      <a:lnTo>
                        <a:pt x="0" y="29988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386" name="Forma livre: Forma 385">
                  <a:extLst>
                    <a:ext uri="{FF2B5EF4-FFF2-40B4-BE49-F238E27FC236}">
                      <a16:creationId xmlns:a16="http://schemas.microsoft.com/office/drawing/2014/main" id="{F9613C1E-2DC8-269F-A2C9-0958E18DAB05}"/>
                    </a:ext>
                  </a:extLst>
                </p:cNvPr>
                <p:cNvSpPr/>
                <p:nvPr/>
              </p:nvSpPr>
              <p:spPr>
                <a:xfrm>
                  <a:off x="5186598" y="1128333"/>
                  <a:ext cx="1197" cy="29988"/>
                </a:xfrm>
                <a:custGeom>
                  <a:avLst/>
                  <a:gdLst>
                    <a:gd name="connsiteX0" fmla="*/ 0 w 1197"/>
                    <a:gd name="connsiteY0" fmla="*/ 0 h 29988"/>
                    <a:gd name="connsiteX1" fmla="*/ 0 w 1197"/>
                    <a:gd name="connsiteY1" fmla="*/ 29988 h 2998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197" h="29988">
                      <a:moveTo>
                        <a:pt x="0" y="0"/>
                      </a:moveTo>
                      <a:lnTo>
                        <a:pt x="0" y="29988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387" name="Forma livre: Forma 386">
                <a:extLst>
                  <a:ext uri="{FF2B5EF4-FFF2-40B4-BE49-F238E27FC236}">
                    <a16:creationId xmlns:a16="http://schemas.microsoft.com/office/drawing/2014/main" id="{1FAD61CD-E2DC-0584-EC86-BE23359728AB}"/>
                  </a:ext>
                </a:extLst>
              </p:cNvPr>
              <p:cNvSpPr/>
              <p:nvPr/>
            </p:nvSpPr>
            <p:spPr>
              <a:xfrm>
                <a:off x="5052992" y="1098465"/>
                <a:ext cx="21832" cy="50443"/>
              </a:xfrm>
              <a:custGeom>
                <a:avLst/>
                <a:gdLst>
                  <a:gd name="connsiteX0" fmla="*/ 21832 w 21832"/>
                  <a:gd name="connsiteY0" fmla="*/ 50444 h 50443"/>
                  <a:gd name="connsiteX1" fmla="*/ 21832 w 21832"/>
                  <a:gd name="connsiteY1" fmla="*/ 8192 h 50443"/>
                  <a:gd name="connsiteX2" fmla="*/ 14743 w 21832"/>
                  <a:gd name="connsiteY2" fmla="*/ 0 h 50443"/>
                  <a:gd name="connsiteX3" fmla="*/ 0 w 21832"/>
                  <a:gd name="connsiteY3" fmla="*/ 0 h 504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1832" h="50443">
                    <a:moveTo>
                      <a:pt x="21832" y="50444"/>
                    </a:moveTo>
                    <a:lnTo>
                      <a:pt x="21832" y="8192"/>
                    </a:lnTo>
                    <a:cubicBezTo>
                      <a:pt x="21832" y="982"/>
                      <a:pt x="14743" y="0"/>
                      <a:pt x="14743" y="0"/>
                    </a:cubicBezTo>
                    <a:lnTo>
                      <a:pt x="0" y="0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88" name="Forma livre: Forma 387">
                <a:extLst>
                  <a:ext uri="{FF2B5EF4-FFF2-40B4-BE49-F238E27FC236}">
                    <a16:creationId xmlns:a16="http://schemas.microsoft.com/office/drawing/2014/main" id="{2C5428F5-9DD2-CB2F-EBCD-A2345420DF0D}"/>
                  </a:ext>
                </a:extLst>
              </p:cNvPr>
              <p:cNvSpPr/>
              <p:nvPr/>
            </p:nvSpPr>
            <p:spPr>
              <a:xfrm>
                <a:off x="5264311" y="1098465"/>
                <a:ext cx="21820" cy="50443"/>
              </a:xfrm>
              <a:custGeom>
                <a:avLst/>
                <a:gdLst>
                  <a:gd name="connsiteX0" fmla="*/ 0 w 21820"/>
                  <a:gd name="connsiteY0" fmla="*/ 50444 h 50443"/>
                  <a:gd name="connsiteX1" fmla="*/ 0 w 21820"/>
                  <a:gd name="connsiteY1" fmla="*/ 8192 h 50443"/>
                  <a:gd name="connsiteX2" fmla="*/ 7090 w 21820"/>
                  <a:gd name="connsiteY2" fmla="*/ 0 h 50443"/>
                  <a:gd name="connsiteX3" fmla="*/ 21821 w 21820"/>
                  <a:gd name="connsiteY3" fmla="*/ 0 h 504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1820" h="50443">
                    <a:moveTo>
                      <a:pt x="0" y="50444"/>
                    </a:moveTo>
                    <a:lnTo>
                      <a:pt x="0" y="8192"/>
                    </a:lnTo>
                    <a:cubicBezTo>
                      <a:pt x="0" y="982"/>
                      <a:pt x="7090" y="0"/>
                      <a:pt x="7090" y="0"/>
                    </a:cubicBezTo>
                    <a:lnTo>
                      <a:pt x="21821" y="0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389" name="Gráfico 6">
                <a:extLst>
                  <a:ext uri="{FF2B5EF4-FFF2-40B4-BE49-F238E27FC236}">
                    <a16:creationId xmlns:a16="http://schemas.microsoft.com/office/drawing/2014/main" id="{891E61D6-F5C0-563D-FC83-89BDFC222173}"/>
                  </a:ext>
                </a:extLst>
              </p:cNvPr>
              <p:cNvGrpSpPr/>
              <p:nvPr/>
            </p:nvGrpSpPr>
            <p:grpSpPr>
              <a:xfrm>
                <a:off x="5085974" y="1297544"/>
                <a:ext cx="167187" cy="20946"/>
                <a:chOff x="5085974" y="1297544"/>
                <a:chExt cx="167187" cy="20946"/>
              </a:xfrm>
              <a:noFill/>
            </p:grpSpPr>
            <p:sp>
              <p:nvSpPr>
                <p:cNvPr id="390" name="Forma livre: Forma 389">
                  <a:extLst>
                    <a:ext uri="{FF2B5EF4-FFF2-40B4-BE49-F238E27FC236}">
                      <a16:creationId xmlns:a16="http://schemas.microsoft.com/office/drawing/2014/main" id="{3A73C918-C3B9-065E-F0CD-6C3E8FF9794F}"/>
                    </a:ext>
                  </a:extLst>
                </p:cNvPr>
                <p:cNvSpPr/>
                <p:nvPr/>
              </p:nvSpPr>
              <p:spPr>
                <a:xfrm>
                  <a:off x="5155687" y="1297544"/>
                  <a:ext cx="27772" cy="20946"/>
                </a:xfrm>
                <a:custGeom>
                  <a:avLst/>
                  <a:gdLst>
                    <a:gd name="connsiteX0" fmla="*/ 26276 w 27772"/>
                    <a:gd name="connsiteY0" fmla="*/ 766 h 20946"/>
                    <a:gd name="connsiteX1" fmla="*/ 27773 w 27772"/>
                    <a:gd name="connsiteY1" fmla="*/ 7054 h 20946"/>
                    <a:gd name="connsiteX2" fmla="*/ 13880 w 27772"/>
                    <a:gd name="connsiteY2" fmla="*/ 20946 h 20946"/>
                    <a:gd name="connsiteX3" fmla="*/ 0 w 27772"/>
                    <a:gd name="connsiteY3" fmla="*/ 7054 h 20946"/>
                    <a:gd name="connsiteX4" fmla="*/ 1928 w 27772"/>
                    <a:gd name="connsiteY4" fmla="*/ 0 h 209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27772" h="20946">
                      <a:moveTo>
                        <a:pt x="26276" y="766"/>
                      </a:moveTo>
                      <a:cubicBezTo>
                        <a:pt x="27234" y="2659"/>
                        <a:pt x="27773" y="4790"/>
                        <a:pt x="27773" y="7054"/>
                      </a:cubicBezTo>
                      <a:cubicBezTo>
                        <a:pt x="27773" y="14731"/>
                        <a:pt x="21557" y="20946"/>
                        <a:pt x="13880" y="20946"/>
                      </a:cubicBezTo>
                      <a:cubicBezTo>
                        <a:pt x="6204" y="20946"/>
                        <a:pt x="0" y="14731"/>
                        <a:pt x="0" y="7054"/>
                      </a:cubicBezTo>
                      <a:cubicBezTo>
                        <a:pt x="0" y="4479"/>
                        <a:pt x="707" y="2060"/>
                        <a:pt x="1928" y="0"/>
                      </a:cubicBez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391" name="Forma livre: Forma 390">
                  <a:extLst>
                    <a:ext uri="{FF2B5EF4-FFF2-40B4-BE49-F238E27FC236}">
                      <a16:creationId xmlns:a16="http://schemas.microsoft.com/office/drawing/2014/main" id="{E6EB20B2-CB35-3155-9D32-85E3905348A5}"/>
                    </a:ext>
                  </a:extLst>
                </p:cNvPr>
                <p:cNvSpPr/>
                <p:nvPr/>
              </p:nvSpPr>
              <p:spPr>
                <a:xfrm>
                  <a:off x="5225389" y="1297544"/>
                  <a:ext cx="27772" cy="20946"/>
                </a:xfrm>
                <a:custGeom>
                  <a:avLst/>
                  <a:gdLst>
                    <a:gd name="connsiteX0" fmla="*/ 26276 w 27772"/>
                    <a:gd name="connsiteY0" fmla="*/ 766 h 20946"/>
                    <a:gd name="connsiteX1" fmla="*/ 27773 w 27772"/>
                    <a:gd name="connsiteY1" fmla="*/ 7054 h 20946"/>
                    <a:gd name="connsiteX2" fmla="*/ 13880 w 27772"/>
                    <a:gd name="connsiteY2" fmla="*/ 20946 h 20946"/>
                    <a:gd name="connsiteX3" fmla="*/ 0 w 27772"/>
                    <a:gd name="connsiteY3" fmla="*/ 7054 h 20946"/>
                    <a:gd name="connsiteX4" fmla="*/ 1928 w 27772"/>
                    <a:gd name="connsiteY4" fmla="*/ 0 h 209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27772" h="20946">
                      <a:moveTo>
                        <a:pt x="26276" y="766"/>
                      </a:moveTo>
                      <a:cubicBezTo>
                        <a:pt x="27234" y="2659"/>
                        <a:pt x="27773" y="4790"/>
                        <a:pt x="27773" y="7054"/>
                      </a:cubicBezTo>
                      <a:cubicBezTo>
                        <a:pt x="27773" y="14731"/>
                        <a:pt x="21557" y="20946"/>
                        <a:pt x="13880" y="20946"/>
                      </a:cubicBezTo>
                      <a:cubicBezTo>
                        <a:pt x="6204" y="20946"/>
                        <a:pt x="0" y="14731"/>
                        <a:pt x="0" y="7054"/>
                      </a:cubicBezTo>
                      <a:cubicBezTo>
                        <a:pt x="0" y="4479"/>
                        <a:pt x="695" y="2060"/>
                        <a:pt x="1928" y="0"/>
                      </a:cubicBez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392" name="Forma livre: Forma 391">
                  <a:extLst>
                    <a:ext uri="{FF2B5EF4-FFF2-40B4-BE49-F238E27FC236}">
                      <a16:creationId xmlns:a16="http://schemas.microsoft.com/office/drawing/2014/main" id="{5E283F26-4A79-7566-FF3C-65D5F2C9A6F0}"/>
                    </a:ext>
                  </a:extLst>
                </p:cNvPr>
                <p:cNvSpPr/>
                <p:nvPr/>
              </p:nvSpPr>
              <p:spPr>
                <a:xfrm>
                  <a:off x="5085974" y="1297544"/>
                  <a:ext cx="27772" cy="20946"/>
                </a:xfrm>
                <a:custGeom>
                  <a:avLst/>
                  <a:gdLst>
                    <a:gd name="connsiteX0" fmla="*/ 26276 w 27772"/>
                    <a:gd name="connsiteY0" fmla="*/ 766 h 20946"/>
                    <a:gd name="connsiteX1" fmla="*/ 27773 w 27772"/>
                    <a:gd name="connsiteY1" fmla="*/ 7054 h 20946"/>
                    <a:gd name="connsiteX2" fmla="*/ 13880 w 27772"/>
                    <a:gd name="connsiteY2" fmla="*/ 20946 h 20946"/>
                    <a:gd name="connsiteX3" fmla="*/ 0 w 27772"/>
                    <a:gd name="connsiteY3" fmla="*/ 7054 h 20946"/>
                    <a:gd name="connsiteX4" fmla="*/ 1928 w 27772"/>
                    <a:gd name="connsiteY4" fmla="*/ 0 h 209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27772" h="20946">
                      <a:moveTo>
                        <a:pt x="26276" y="766"/>
                      </a:moveTo>
                      <a:cubicBezTo>
                        <a:pt x="27234" y="2659"/>
                        <a:pt x="27773" y="4790"/>
                        <a:pt x="27773" y="7054"/>
                      </a:cubicBezTo>
                      <a:cubicBezTo>
                        <a:pt x="27773" y="14731"/>
                        <a:pt x="21557" y="20946"/>
                        <a:pt x="13880" y="20946"/>
                      </a:cubicBezTo>
                      <a:cubicBezTo>
                        <a:pt x="6204" y="20946"/>
                        <a:pt x="0" y="14731"/>
                        <a:pt x="0" y="7054"/>
                      </a:cubicBezTo>
                      <a:cubicBezTo>
                        <a:pt x="0" y="4479"/>
                        <a:pt x="707" y="2060"/>
                        <a:pt x="1928" y="0"/>
                      </a:cubicBez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sp>
          <p:nvSpPr>
            <p:cNvPr id="393" name="Forma livre: Forma 392">
              <a:extLst>
                <a:ext uri="{FF2B5EF4-FFF2-40B4-BE49-F238E27FC236}">
                  <a16:creationId xmlns:a16="http://schemas.microsoft.com/office/drawing/2014/main" id="{4C64D3EC-BE3D-E581-401E-DDD7F42DB6E7}"/>
                </a:ext>
              </a:extLst>
            </p:cNvPr>
            <p:cNvSpPr/>
            <p:nvPr/>
          </p:nvSpPr>
          <p:spPr>
            <a:xfrm>
              <a:off x="5103807" y="1252550"/>
              <a:ext cx="131534" cy="28778"/>
            </a:xfrm>
            <a:custGeom>
              <a:avLst/>
              <a:gdLst>
                <a:gd name="connsiteX0" fmla="*/ 131534 w 131534"/>
                <a:gd name="connsiteY0" fmla="*/ 28779 h 28778"/>
                <a:gd name="connsiteX1" fmla="*/ 65761 w 131534"/>
                <a:gd name="connsiteY1" fmla="*/ 0 h 28778"/>
                <a:gd name="connsiteX2" fmla="*/ 0 w 131534"/>
                <a:gd name="connsiteY2" fmla="*/ 28779 h 287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31534" h="28778">
                  <a:moveTo>
                    <a:pt x="131534" y="28779"/>
                  </a:moveTo>
                  <a:cubicBezTo>
                    <a:pt x="115151" y="11102"/>
                    <a:pt x="91773" y="0"/>
                    <a:pt x="65761" y="0"/>
                  </a:cubicBezTo>
                  <a:cubicBezTo>
                    <a:pt x="39749" y="0"/>
                    <a:pt x="16383" y="11102"/>
                    <a:pt x="0" y="28779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sp>
        <p:nvSpPr>
          <p:cNvPr id="394" name="Forma livre: Forma 393">
            <a:extLst>
              <a:ext uri="{FF2B5EF4-FFF2-40B4-BE49-F238E27FC236}">
                <a16:creationId xmlns:a16="http://schemas.microsoft.com/office/drawing/2014/main" id="{0A193B59-9129-A5F3-E0FC-B87783F2230A}"/>
              </a:ext>
            </a:extLst>
          </p:cNvPr>
          <p:cNvSpPr/>
          <p:nvPr/>
        </p:nvSpPr>
        <p:spPr>
          <a:xfrm>
            <a:off x="5647991" y="2113671"/>
            <a:ext cx="289631" cy="198073"/>
          </a:xfrm>
          <a:custGeom>
            <a:avLst/>
            <a:gdLst>
              <a:gd name="connsiteX0" fmla="*/ 4228 w 289631"/>
              <a:gd name="connsiteY0" fmla="*/ 190241 h 198073"/>
              <a:gd name="connsiteX1" fmla="*/ 55054 w 289631"/>
              <a:gd name="connsiteY1" fmla="*/ 69234 h 198073"/>
              <a:gd name="connsiteX2" fmla="*/ 289631 w 289631"/>
              <a:gd name="connsiteY2" fmla="*/ 69234 h 198073"/>
              <a:gd name="connsiteX3" fmla="*/ 234757 w 289631"/>
              <a:gd name="connsiteY3" fmla="*/ 198073 h 198073"/>
              <a:gd name="connsiteX4" fmla="*/ 0 w 289631"/>
              <a:gd name="connsiteY4" fmla="*/ 198073 h 198073"/>
              <a:gd name="connsiteX5" fmla="*/ 0 w 289631"/>
              <a:gd name="connsiteY5" fmla="*/ 14371 h 198073"/>
              <a:gd name="connsiteX6" fmla="*/ 14288 w 289631"/>
              <a:gd name="connsiteY6" fmla="*/ 0 h 198073"/>
              <a:gd name="connsiteX7" fmla="*/ 84456 w 289631"/>
              <a:gd name="connsiteY7" fmla="*/ 0 h 198073"/>
              <a:gd name="connsiteX8" fmla="*/ 107079 w 289631"/>
              <a:gd name="connsiteY8" fmla="*/ 31270 h 198073"/>
              <a:gd name="connsiteX9" fmla="*/ 238194 w 289631"/>
              <a:gd name="connsiteY9" fmla="*/ 31270 h 1980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89631" h="198073">
                <a:moveTo>
                  <a:pt x="4228" y="190241"/>
                </a:moveTo>
                <a:lnTo>
                  <a:pt x="55054" y="69234"/>
                </a:lnTo>
                <a:lnTo>
                  <a:pt x="289631" y="69234"/>
                </a:lnTo>
                <a:lnTo>
                  <a:pt x="234757" y="198073"/>
                </a:lnTo>
                <a:lnTo>
                  <a:pt x="0" y="198073"/>
                </a:lnTo>
                <a:lnTo>
                  <a:pt x="0" y="14371"/>
                </a:lnTo>
                <a:cubicBezTo>
                  <a:pt x="0" y="6467"/>
                  <a:pt x="6383" y="0"/>
                  <a:pt x="14288" y="0"/>
                </a:cubicBezTo>
                <a:lnTo>
                  <a:pt x="84456" y="0"/>
                </a:lnTo>
                <a:lnTo>
                  <a:pt x="107079" y="31270"/>
                </a:lnTo>
                <a:lnTo>
                  <a:pt x="238194" y="31270"/>
                </a:lnTo>
              </a:path>
            </a:pathLst>
          </a:custGeom>
          <a:noFill/>
          <a:ln w="6350" cap="rnd">
            <a:solidFill>
              <a:schemeClr val="accent2"/>
            </a:solidFill>
            <a:prstDash val="solid"/>
            <a:round/>
          </a:ln>
        </p:spPr>
        <p:txBody>
          <a:bodyPr rtlCol="0" anchor="ctr"/>
          <a:lstStyle/>
          <a:p>
            <a:endParaRPr lang="pt-PT"/>
          </a:p>
        </p:txBody>
      </p:sp>
      <p:grpSp>
        <p:nvGrpSpPr>
          <p:cNvPr id="395" name="Gráfico 6">
            <a:extLst>
              <a:ext uri="{FF2B5EF4-FFF2-40B4-BE49-F238E27FC236}">
                <a16:creationId xmlns:a16="http://schemas.microsoft.com/office/drawing/2014/main" id="{DE92F1DC-2252-80FE-E53C-167AC5A96BB7}"/>
              </a:ext>
            </a:extLst>
          </p:cNvPr>
          <p:cNvGrpSpPr/>
          <p:nvPr/>
        </p:nvGrpSpPr>
        <p:grpSpPr>
          <a:xfrm>
            <a:off x="4396855" y="2080210"/>
            <a:ext cx="298876" cy="265008"/>
            <a:chOff x="4396855" y="2080210"/>
            <a:chExt cx="298876" cy="265008"/>
          </a:xfrm>
          <a:noFill/>
        </p:grpSpPr>
        <p:grpSp>
          <p:nvGrpSpPr>
            <p:cNvPr id="396" name="Gráfico 6">
              <a:extLst>
                <a:ext uri="{FF2B5EF4-FFF2-40B4-BE49-F238E27FC236}">
                  <a16:creationId xmlns:a16="http://schemas.microsoft.com/office/drawing/2014/main" id="{3C54E43E-C7DE-FE3E-7399-60241D3518E7}"/>
                </a:ext>
              </a:extLst>
            </p:cNvPr>
            <p:cNvGrpSpPr/>
            <p:nvPr/>
          </p:nvGrpSpPr>
          <p:grpSpPr>
            <a:xfrm>
              <a:off x="4396855" y="2080210"/>
              <a:ext cx="289631" cy="198073"/>
              <a:chOff x="4396855" y="2080210"/>
              <a:chExt cx="289631" cy="198073"/>
            </a:xfrm>
            <a:noFill/>
          </p:grpSpPr>
          <p:sp>
            <p:nvSpPr>
              <p:cNvPr id="397" name="Forma livre: Forma 396">
                <a:extLst>
                  <a:ext uri="{FF2B5EF4-FFF2-40B4-BE49-F238E27FC236}">
                    <a16:creationId xmlns:a16="http://schemas.microsoft.com/office/drawing/2014/main" id="{1682E96F-B79A-FE54-5301-9E3C1E877CF1}"/>
                  </a:ext>
                </a:extLst>
              </p:cNvPr>
              <p:cNvSpPr/>
              <p:nvPr/>
            </p:nvSpPr>
            <p:spPr>
              <a:xfrm>
                <a:off x="4396855" y="2080210"/>
                <a:ext cx="238193" cy="198073"/>
              </a:xfrm>
              <a:custGeom>
                <a:avLst/>
                <a:gdLst>
                  <a:gd name="connsiteX0" fmla="*/ 0 w 238193"/>
                  <a:gd name="connsiteY0" fmla="*/ 198074 h 198073"/>
                  <a:gd name="connsiteX1" fmla="*/ 0 w 238193"/>
                  <a:gd name="connsiteY1" fmla="*/ 14371 h 198073"/>
                  <a:gd name="connsiteX2" fmla="*/ 14288 w 238193"/>
                  <a:gd name="connsiteY2" fmla="*/ 0 h 198073"/>
                  <a:gd name="connsiteX3" fmla="*/ 84456 w 238193"/>
                  <a:gd name="connsiteY3" fmla="*/ 0 h 198073"/>
                  <a:gd name="connsiteX4" fmla="*/ 107079 w 238193"/>
                  <a:gd name="connsiteY4" fmla="*/ 31270 h 198073"/>
                  <a:gd name="connsiteX5" fmla="*/ 238194 w 238193"/>
                  <a:gd name="connsiteY5" fmla="*/ 31270 h 1980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38193" h="198073">
                    <a:moveTo>
                      <a:pt x="0" y="198074"/>
                    </a:moveTo>
                    <a:lnTo>
                      <a:pt x="0" y="14371"/>
                    </a:lnTo>
                    <a:cubicBezTo>
                      <a:pt x="0" y="6467"/>
                      <a:pt x="6383" y="0"/>
                      <a:pt x="14288" y="0"/>
                    </a:cubicBezTo>
                    <a:lnTo>
                      <a:pt x="84456" y="0"/>
                    </a:lnTo>
                    <a:lnTo>
                      <a:pt x="107079" y="31270"/>
                    </a:lnTo>
                    <a:lnTo>
                      <a:pt x="238194" y="31270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98" name="Forma livre: Forma 397">
                <a:extLst>
                  <a:ext uri="{FF2B5EF4-FFF2-40B4-BE49-F238E27FC236}">
                    <a16:creationId xmlns:a16="http://schemas.microsoft.com/office/drawing/2014/main" id="{9F3C1F5C-D0D5-02F3-8573-B4230166CBE9}"/>
                  </a:ext>
                </a:extLst>
              </p:cNvPr>
              <p:cNvSpPr/>
              <p:nvPr/>
            </p:nvSpPr>
            <p:spPr>
              <a:xfrm>
                <a:off x="4396855" y="2149444"/>
                <a:ext cx="289631" cy="128839"/>
              </a:xfrm>
              <a:custGeom>
                <a:avLst/>
                <a:gdLst>
                  <a:gd name="connsiteX0" fmla="*/ 142648 w 289631"/>
                  <a:gd name="connsiteY0" fmla="*/ 128839 h 128839"/>
                  <a:gd name="connsiteX1" fmla="*/ 0 w 289631"/>
                  <a:gd name="connsiteY1" fmla="*/ 128839 h 128839"/>
                  <a:gd name="connsiteX2" fmla="*/ 24228 w 289631"/>
                  <a:gd name="connsiteY2" fmla="*/ 72396 h 128839"/>
                  <a:gd name="connsiteX3" fmla="*/ 55054 w 289631"/>
                  <a:gd name="connsiteY3" fmla="*/ 0 h 128839"/>
                  <a:gd name="connsiteX4" fmla="*/ 289631 w 289631"/>
                  <a:gd name="connsiteY4" fmla="*/ 0 h 128839"/>
                  <a:gd name="connsiteX5" fmla="*/ 269607 w 289631"/>
                  <a:gd name="connsiteY5" fmla="*/ 47006 h 1288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89631" h="128839">
                    <a:moveTo>
                      <a:pt x="142648" y="128839"/>
                    </a:moveTo>
                    <a:lnTo>
                      <a:pt x="0" y="128839"/>
                    </a:lnTo>
                    <a:lnTo>
                      <a:pt x="24228" y="72396"/>
                    </a:lnTo>
                    <a:lnTo>
                      <a:pt x="55054" y="0"/>
                    </a:lnTo>
                    <a:lnTo>
                      <a:pt x="289631" y="0"/>
                    </a:lnTo>
                    <a:lnTo>
                      <a:pt x="269607" y="47006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399" name="Gráfico 6">
              <a:extLst>
                <a:ext uri="{FF2B5EF4-FFF2-40B4-BE49-F238E27FC236}">
                  <a16:creationId xmlns:a16="http://schemas.microsoft.com/office/drawing/2014/main" id="{BC801CB7-ADB3-099E-EFD8-F9CF9EB5C6A6}"/>
                </a:ext>
              </a:extLst>
            </p:cNvPr>
            <p:cNvGrpSpPr/>
            <p:nvPr/>
          </p:nvGrpSpPr>
          <p:grpSpPr>
            <a:xfrm>
              <a:off x="4562257" y="2211732"/>
              <a:ext cx="133474" cy="133486"/>
              <a:chOff x="4562257" y="2211732"/>
              <a:chExt cx="133474" cy="133486"/>
            </a:xfrm>
            <a:noFill/>
          </p:grpSpPr>
          <p:sp>
            <p:nvSpPr>
              <p:cNvPr id="400" name="Forma livre: Forma 399">
                <a:extLst>
                  <a:ext uri="{FF2B5EF4-FFF2-40B4-BE49-F238E27FC236}">
                    <a16:creationId xmlns:a16="http://schemas.microsoft.com/office/drawing/2014/main" id="{A9B443FC-620A-9A5E-DE60-B05F0D8EA069}"/>
                  </a:ext>
                </a:extLst>
              </p:cNvPr>
              <p:cNvSpPr/>
              <p:nvPr/>
            </p:nvSpPr>
            <p:spPr>
              <a:xfrm>
                <a:off x="4562257" y="2211732"/>
                <a:ext cx="133474" cy="133486"/>
              </a:xfrm>
              <a:custGeom>
                <a:avLst/>
                <a:gdLst>
                  <a:gd name="connsiteX0" fmla="*/ 29425 w 133474"/>
                  <a:gd name="connsiteY0" fmla="*/ 11401 h 133486"/>
                  <a:gd name="connsiteX1" fmla="*/ 66731 w 133474"/>
                  <a:gd name="connsiteY1" fmla="*/ 0 h 133486"/>
                  <a:gd name="connsiteX2" fmla="*/ 133474 w 133474"/>
                  <a:gd name="connsiteY2" fmla="*/ 66743 h 133486"/>
                  <a:gd name="connsiteX3" fmla="*/ 66731 w 133474"/>
                  <a:gd name="connsiteY3" fmla="*/ 133486 h 133486"/>
                  <a:gd name="connsiteX4" fmla="*/ 0 w 133474"/>
                  <a:gd name="connsiteY4" fmla="*/ 66743 h 133486"/>
                  <a:gd name="connsiteX5" fmla="*/ 8647 w 133474"/>
                  <a:gd name="connsiteY5" fmla="*/ 33857 h 1334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33474" h="133486">
                    <a:moveTo>
                      <a:pt x="29425" y="11401"/>
                    </a:moveTo>
                    <a:cubicBezTo>
                      <a:pt x="40072" y="4204"/>
                      <a:pt x="52923" y="0"/>
                      <a:pt x="66731" y="0"/>
                    </a:cubicBezTo>
                    <a:cubicBezTo>
                      <a:pt x="103594" y="0"/>
                      <a:pt x="133474" y="29881"/>
                      <a:pt x="133474" y="66743"/>
                    </a:cubicBezTo>
                    <a:cubicBezTo>
                      <a:pt x="133474" y="103606"/>
                      <a:pt x="103594" y="133486"/>
                      <a:pt x="66731" y="133486"/>
                    </a:cubicBezTo>
                    <a:cubicBezTo>
                      <a:pt x="29869" y="133486"/>
                      <a:pt x="0" y="103606"/>
                      <a:pt x="0" y="66743"/>
                    </a:cubicBezTo>
                    <a:cubicBezTo>
                      <a:pt x="0" y="54791"/>
                      <a:pt x="3138" y="43557"/>
                      <a:pt x="8647" y="33857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01" name="Forma livre: Forma 400">
                <a:extLst>
                  <a:ext uri="{FF2B5EF4-FFF2-40B4-BE49-F238E27FC236}">
                    <a16:creationId xmlns:a16="http://schemas.microsoft.com/office/drawing/2014/main" id="{BB35009C-C73F-FB14-D284-D76823C2637D}"/>
                  </a:ext>
                </a:extLst>
              </p:cNvPr>
              <p:cNvSpPr/>
              <p:nvPr/>
            </p:nvSpPr>
            <p:spPr>
              <a:xfrm>
                <a:off x="4628988" y="2243277"/>
                <a:ext cx="1197" cy="70395"/>
              </a:xfrm>
              <a:custGeom>
                <a:avLst/>
                <a:gdLst>
                  <a:gd name="connsiteX0" fmla="*/ 0 w 1197"/>
                  <a:gd name="connsiteY0" fmla="*/ 0 h 70395"/>
                  <a:gd name="connsiteX1" fmla="*/ 0 w 1197"/>
                  <a:gd name="connsiteY1" fmla="*/ 70396 h 703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7" h="70395">
                    <a:moveTo>
                      <a:pt x="0" y="0"/>
                    </a:moveTo>
                    <a:lnTo>
                      <a:pt x="0" y="70396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02" name="Forma livre: Forma 401">
                <a:extLst>
                  <a:ext uri="{FF2B5EF4-FFF2-40B4-BE49-F238E27FC236}">
                    <a16:creationId xmlns:a16="http://schemas.microsoft.com/office/drawing/2014/main" id="{6082A27B-FA1D-4F6D-7516-94EED471851F}"/>
                  </a:ext>
                </a:extLst>
              </p:cNvPr>
              <p:cNvSpPr/>
              <p:nvPr/>
            </p:nvSpPr>
            <p:spPr>
              <a:xfrm>
                <a:off x="4593790" y="2278475"/>
                <a:ext cx="70407" cy="1197"/>
              </a:xfrm>
              <a:custGeom>
                <a:avLst/>
                <a:gdLst>
                  <a:gd name="connsiteX0" fmla="*/ 70408 w 70407"/>
                  <a:gd name="connsiteY0" fmla="*/ 0 h 1197"/>
                  <a:gd name="connsiteX1" fmla="*/ 0 w 70407"/>
                  <a:gd name="connsiteY1" fmla="*/ 0 h 11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70407" h="1197">
                    <a:moveTo>
                      <a:pt x="70408" y="0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403" name="Gráfico 6">
            <a:extLst>
              <a:ext uri="{FF2B5EF4-FFF2-40B4-BE49-F238E27FC236}">
                <a16:creationId xmlns:a16="http://schemas.microsoft.com/office/drawing/2014/main" id="{C0AC72E9-3A59-E12A-1441-4ED20081BBC6}"/>
              </a:ext>
            </a:extLst>
          </p:cNvPr>
          <p:cNvGrpSpPr/>
          <p:nvPr/>
        </p:nvGrpSpPr>
        <p:grpSpPr>
          <a:xfrm>
            <a:off x="5020129" y="2080210"/>
            <a:ext cx="298876" cy="265008"/>
            <a:chOff x="5020129" y="2080210"/>
            <a:chExt cx="298876" cy="265008"/>
          </a:xfrm>
          <a:noFill/>
        </p:grpSpPr>
        <p:grpSp>
          <p:nvGrpSpPr>
            <p:cNvPr id="404" name="Gráfico 6">
              <a:extLst>
                <a:ext uri="{FF2B5EF4-FFF2-40B4-BE49-F238E27FC236}">
                  <a16:creationId xmlns:a16="http://schemas.microsoft.com/office/drawing/2014/main" id="{7F13FF59-3FA6-B203-A685-E1FDD67E577D}"/>
                </a:ext>
              </a:extLst>
            </p:cNvPr>
            <p:cNvGrpSpPr/>
            <p:nvPr/>
          </p:nvGrpSpPr>
          <p:grpSpPr>
            <a:xfrm>
              <a:off x="5020129" y="2080210"/>
              <a:ext cx="289619" cy="198073"/>
              <a:chOff x="5020129" y="2080210"/>
              <a:chExt cx="289619" cy="198073"/>
            </a:xfrm>
            <a:noFill/>
          </p:grpSpPr>
          <p:sp>
            <p:nvSpPr>
              <p:cNvPr id="405" name="Forma livre: Forma 404">
                <a:extLst>
                  <a:ext uri="{FF2B5EF4-FFF2-40B4-BE49-F238E27FC236}">
                    <a16:creationId xmlns:a16="http://schemas.microsoft.com/office/drawing/2014/main" id="{9E45C7AF-8BE0-00EF-49BC-DB74707416B7}"/>
                  </a:ext>
                </a:extLst>
              </p:cNvPr>
              <p:cNvSpPr/>
              <p:nvPr/>
            </p:nvSpPr>
            <p:spPr>
              <a:xfrm>
                <a:off x="5020129" y="2080210"/>
                <a:ext cx="238193" cy="198073"/>
              </a:xfrm>
              <a:custGeom>
                <a:avLst/>
                <a:gdLst>
                  <a:gd name="connsiteX0" fmla="*/ 0 w 238193"/>
                  <a:gd name="connsiteY0" fmla="*/ 198074 h 198073"/>
                  <a:gd name="connsiteX1" fmla="*/ 0 w 238193"/>
                  <a:gd name="connsiteY1" fmla="*/ 14371 h 198073"/>
                  <a:gd name="connsiteX2" fmla="*/ 14288 w 238193"/>
                  <a:gd name="connsiteY2" fmla="*/ 0 h 198073"/>
                  <a:gd name="connsiteX3" fmla="*/ 84456 w 238193"/>
                  <a:gd name="connsiteY3" fmla="*/ 0 h 198073"/>
                  <a:gd name="connsiteX4" fmla="*/ 107079 w 238193"/>
                  <a:gd name="connsiteY4" fmla="*/ 31270 h 198073"/>
                  <a:gd name="connsiteX5" fmla="*/ 238194 w 238193"/>
                  <a:gd name="connsiteY5" fmla="*/ 31270 h 1980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38193" h="198073">
                    <a:moveTo>
                      <a:pt x="0" y="198074"/>
                    </a:moveTo>
                    <a:lnTo>
                      <a:pt x="0" y="14371"/>
                    </a:lnTo>
                    <a:cubicBezTo>
                      <a:pt x="0" y="6467"/>
                      <a:pt x="6383" y="0"/>
                      <a:pt x="14288" y="0"/>
                    </a:cubicBezTo>
                    <a:lnTo>
                      <a:pt x="84456" y="0"/>
                    </a:lnTo>
                    <a:lnTo>
                      <a:pt x="107079" y="31270"/>
                    </a:lnTo>
                    <a:lnTo>
                      <a:pt x="238194" y="31270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06" name="Forma livre: Forma 405">
                <a:extLst>
                  <a:ext uri="{FF2B5EF4-FFF2-40B4-BE49-F238E27FC236}">
                    <a16:creationId xmlns:a16="http://schemas.microsoft.com/office/drawing/2014/main" id="{BE694BAD-8F90-1A68-8640-B791D34B1DE7}"/>
                  </a:ext>
                </a:extLst>
              </p:cNvPr>
              <p:cNvSpPr/>
              <p:nvPr/>
            </p:nvSpPr>
            <p:spPr>
              <a:xfrm>
                <a:off x="5020129" y="2149444"/>
                <a:ext cx="289619" cy="128839"/>
              </a:xfrm>
              <a:custGeom>
                <a:avLst/>
                <a:gdLst>
                  <a:gd name="connsiteX0" fmla="*/ 142636 w 289619"/>
                  <a:gd name="connsiteY0" fmla="*/ 128839 h 128839"/>
                  <a:gd name="connsiteX1" fmla="*/ 0 w 289619"/>
                  <a:gd name="connsiteY1" fmla="*/ 128839 h 128839"/>
                  <a:gd name="connsiteX2" fmla="*/ 24216 w 289619"/>
                  <a:gd name="connsiteY2" fmla="*/ 72396 h 128839"/>
                  <a:gd name="connsiteX3" fmla="*/ 55042 w 289619"/>
                  <a:gd name="connsiteY3" fmla="*/ 0 h 128839"/>
                  <a:gd name="connsiteX4" fmla="*/ 289619 w 289619"/>
                  <a:gd name="connsiteY4" fmla="*/ 0 h 128839"/>
                  <a:gd name="connsiteX5" fmla="*/ 269607 w 289619"/>
                  <a:gd name="connsiteY5" fmla="*/ 47006 h 1288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89619" h="128839">
                    <a:moveTo>
                      <a:pt x="142636" y="128839"/>
                    </a:moveTo>
                    <a:lnTo>
                      <a:pt x="0" y="128839"/>
                    </a:lnTo>
                    <a:lnTo>
                      <a:pt x="24216" y="72396"/>
                    </a:lnTo>
                    <a:lnTo>
                      <a:pt x="55042" y="0"/>
                    </a:lnTo>
                    <a:lnTo>
                      <a:pt x="289619" y="0"/>
                    </a:lnTo>
                    <a:lnTo>
                      <a:pt x="269607" y="47006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407" name="Gráfico 6">
              <a:extLst>
                <a:ext uri="{FF2B5EF4-FFF2-40B4-BE49-F238E27FC236}">
                  <a16:creationId xmlns:a16="http://schemas.microsoft.com/office/drawing/2014/main" id="{407D0AA7-DDF8-3991-DFF7-7E00731BBED6}"/>
                </a:ext>
              </a:extLst>
            </p:cNvPr>
            <p:cNvGrpSpPr/>
            <p:nvPr/>
          </p:nvGrpSpPr>
          <p:grpSpPr>
            <a:xfrm>
              <a:off x="5185532" y="2211732"/>
              <a:ext cx="133474" cy="133486"/>
              <a:chOff x="5185532" y="2211732"/>
              <a:chExt cx="133474" cy="133486"/>
            </a:xfrm>
            <a:noFill/>
          </p:grpSpPr>
          <p:sp>
            <p:nvSpPr>
              <p:cNvPr id="408" name="Forma livre: Forma 407">
                <a:extLst>
                  <a:ext uri="{FF2B5EF4-FFF2-40B4-BE49-F238E27FC236}">
                    <a16:creationId xmlns:a16="http://schemas.microsoft.com/office/drawing/2014/main" id="{F38D5106-2DBC-AE34-A3A0-17269B64891F}"/>
                  </a:ext>
                </a:extLst>
              </p:cNvPr>
              <p:cNvSpPr/>
              <p:nvPr/>
            </p:nvSpPr>
            <p:spPr>
              <a:xfrm>
                <a:off x="5185532" y="2211732"/>
                <a:ext cx="133474" cy="133486"/>
              </a:xfrm>
              <a:custGeom>
                <a:avLst/>
                <a:gdLst>
                  <a:gd name="connsiteX0" fmla="*/ 29425 w 133474"/>
                  <a:gd name="connsiteY0" fmla="*/ 11401 h 133486"/>
                  <a:gd name="connsiteX1" fmla="*/ 66731 w 133474"/>
                  <a:gd name="connsiteY1" fmla="*/ 0 h 133486"/>
                  <a:gd name="connsiteX2" fmla="*/ 133474 w 133474"/>
                  <a:gd name="connsiteY2" fmla="*/ 66743 h 133486"/>
                  <a:gd name="connsiteX3" fmla="*/ 66731 w 133474"/>
                  <a:gd name="connsiteY3" fmla="*/ 133486 h 133486"/>
                  <a:gd name="connsiteX4" fmla="*/ 0 w 133474"/>
                  <a:gd name="connsiteY4" fmla="*/ 66743 h 133486"/>
                  <a:gd name="connsiteX5" fmla="*/ 8647 w 133474"/>
                  <a:gd name="connsiteY5" fmla="*/ 33857 h 1334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33474" h="133486">
                    <a:moveTo>
                      <a:pt x="29425" y="11401"/>
                    </a:moveTo>
                    <a:cubicBezTo>
                      <a:pt x="40072" y="4204"/>
                      <a:pt x="52923" y="0"/>
                      <a:pt x="66731" y="0"/>
                    </a:cubicBezTo>
                    <a:cubicBezTo>
                      <a:pt x="103594" y="0"/>
                      <a:pt x="133474" y="29881"/>
                      <a:pt x="133474" y="66743"/>
                    </a:cubicBezTo>
                    <a:cubicBezTo>
                      <a:pt x="133474" y="103606"/>
                      <a:pt x="103594" y="133486"/>
                      <a:pt x="66731" y="133486"/>
                    </a:cubicBezTo>
                    <a:cubicBezTo>
                      <a:pt x="29869" y="133486"/>
                      <a:pt x="0" y="103606"/>
                      <a:pt x="0" y="66743"/>
                    </a:cubicBezTo>
                    <a:cubicBezTo>
                      <a:pt x="0" y="54791"/>
                      <a:pt x="3138" y="43557"/>
                      <a:pt x="8647" y="33857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09" name="Forma livre: Forma 408">
                <a:extLst>
                  <a:ext uri="{FF2B5EF4-FFF2-40B4-BE49-F238E27FC236}">
                    <a16:creationId xmlns:a16="http://schemas.microsoft.com/office/drawing/2014/main" id="{F18E0B54-2248-2FC2-A9E2-F16C38D3FB9F}"/>
                  </a:ext>
                </a:extLst>
              </p:cNvPr>
              <p:cNvSpPr/>
              <p:nvPr/>
            </p:nvSpPr>
            <p:spPr>
              <a:xfrm>
                <a:off x="5217065" y="2278475"/>
                <a:ext cx="70407" cy="1197"/>
              </a:xfrm>
              <a:custGeom>
                <a:avLst/>
                <a:gdLst>
                  <a:gd name="connsiteX0" fmla="*/ 70408 w 70407"/>
                  <a:gd name="connsiteY0" fmla="*/ 0 h 1197"/>
                  <a:gd name="connsiteX1" fmla="*/ 0 w 70407"/>
                  <a:gd name="connsiteY1" fmla="*/ 0 h 11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70407" h="1197">
                    <a:moveTo>
                      <a:pt x="70408" y="0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410" name="Gráfico 6">
            <a:extLst>
              <a:ext uri="{FF2B5EF4-FFF2-40B4-BE49-F238E27FC236}">
                <a16:creationId xmlns:a16="http://schemas.microsoft.com/office/drawing/2014/main" id="{AEB1454D-42DF-21FB-727D-787823CDD330}"/>
              </a:ext>
            </a:extLst>
          </p:cNvPr>
          <p:cNvGrpSpPr/>
          <p:nvPr/>
        </p:nvGrpSpPr>
        <p:grpSpPr>
          <a:xfrm>
            <a:off x="5611444" y="3145548"/>
            <a:ext cx="362726" cy="254169"/>
            <a:chOff x="5611444" y="3145548"/>
            <a:chExt cx="362726" cy="254169"/>
          </a:xfrm>
          <a:noFill/>
        </p:grpSpPr>
        <p:sp>
          <p:nvSpPr>
            <p:cNvPr id="411" name="Forma livre: Forma 410">
              <a:extLst>
                <a:ext uri="{FF2B5EF4-FFF2-40B4-BE49-F238E27FC236}">
                  <a16:creationId xmlns:a16="http://schemas.microsoft.com/office/drawing/2014/main" id="{5FA3BF88-10DA-8A01-E0F9-BFCCA3AC7787}"/>
                </a:ext>
              </a:extLst>
            </p:cNvPr>
            <p:cNvSpPr/>
            <p:nvPr/>
          </p:nvSpPr>
          <p:spPr>
            <a:xfrm>
              <a:off x="5659177" y="3145548"/>
              <a:ext cx="219522" cy="148408"/>
            </a:xfrm>
            <a:custGeom>
              <a:avLst/>
              <a:gdLst>
                <a:gd name="connsiteX0" fmla="*/ 1772 w 219522"/>
                <a:gd name="connsiteY0" fmla="*/ 148409 h 148408"/>
                <a:gd name="connsiteX1" fmla="*/ 0 w 219522"/>
                <a:gd name="connsiteY1" fmla="*/ 127091 h 148408"/>
                <a:gd name="connsiteX2" fmla="*/ 127091 w 219522"/>
                <a:gd name="connsiteY2" fmla="*/ 0 h 148408"/>
                <a:gd name="connsiteX3" fmla="*/ 219523 w 219522"/>
                <a:gd name="connsiteY3" fmla="*/ 39845 h 1484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19522" h="148408">
                  <a:moveTo>
                    <a:pt x="1772" y="148409"/>
                  </a:moveTo>
                  <a:cubicBezTo>
                    <a:pt x="599" y="141474"/>
                    <a:pt x="0" y="134349"/>
                    <a:pt x="0" y="127091"/>
                  </a:cubicBezTo>
                  <a:cubicBezTo>
                    <a:pt x="0" y="56899"/>
                    <a:pt x="56911" y="0"/>
                    <a:pt x="127091" y="0"/>
                  </a:cubicBezTo>
                  <a:cubicBezTo>
                    <a:pt x="163510" y="0"/>
                    <a:pt x="196337" y="15318"/>
                    <a:pt x="219523" y="39845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12" name="Forma livre: Forma 411">
              <a:extLst>
                <a:ext uri="{FF2B5EF4-FFF2-40B4-BE49-F238E27FC236}">
                  <a16:creationId xmlns:a16="http://schemas.microsoft.com/office/drawing/2014/main" id="{778C308A-DA49-CA34-758A-7A1E54ED7C40}"/>
                </a:ext>
              </a:extLst>
            </p:cNvPr>
            <p:cNvSpPr/>
            <p:nvPr/>
          </p:nvSpPr>
          <p:spPr>
            <a:xfrm>
              <a:off x="5668722" y="3270890"/>
              <a:ext cx="244636" cy="128827"/>
            </a:xfrm>
            <a:custGeom>
              <a:avLst/>
              <a:gdLst>
                <a:gd name="connsiteX0" fmla="*/ 244637 w 244636"/>
                <a:gd name="connsiteY0" fmla="*/ 0 h 128827"/>
                <a:gd name="connsiteX1" fmla="*/ 244637 w 244636"/>
                <a:gd name="connsiteY1" fmla="*/ 1737 h 128827"/>
                <a:gd name="connsiteX2" fmla="*/ 117546 w 244636"/>
                <a:gd name="connsiteY2" fmla="*/ 128828 h 128827"/>
                <a:gd name="connsiteX3" fmla="*/ 0 w 244636"/>
                <a:gd name="connsiteY3" fmla="*/ 50168 h 1288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4636" h="128827">
                  <a:moveTo>
                    <a:pt x="244637" y="0"/>
                  </a:moveTo>
                  <a:cubicBezTo>
                    <a:pt x="244637" y="575"/>
                    <a:pt x="244637" y="1162"/>
                    <a:pt x="244637" y="1737"/>
                  </a:cubicBezTo>
                  <a:cubicBezTo>
                    <a:pt x="244637" y="71929"/>
                    <a:pt x="187726" y="128828"/>
                    <a:pt x="117546" y="128828"/>
                  </a:cubicBezTo>
                  <a:cubicBezTo>
                    <a:pt x="64504" y="128828"/>
                    <a:pt x="19054" y="96336"/>
                    <a:pt x="0" y="50168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13" name="Forma livre: Forma 412">
              <a:extLst>
                <a:ext uri="{FF2B5EF4-FFF2-40B4-BE49-F238E27FC236}">
                  <a16:creationId xmlns:a16="http://schemas.microsoft.com/office/drawing/2014/main" id="{EDCFEF3F-D7E2-0723-C7A7-D7E84E2976D2}"/>
                </a:ext>
              </a:extLst>
            </p:cNvPr>
            <p:cNvSpPr/>
            <p:nvPr/>
          </p:nvSpPr>
          <p:spPr>
            <a:xfrm>
              <a:off x="5769776" y="3195643"/>
              <a:ext cx="204394" cy="79692"/>
            </a:xfrm>
            <a:custGeom>
              <a:avLst/>
              <a:gdLst>
                <a:gd name="connsiteX0" fmla="*/ 126648 w 204394"/>
                <a:gd name="connsiteY0" fmla="*/ 20792 h 79692"/>
                <a:gd name="connsiteX1" fmla="*/ 169498 w 204394"/>
                <a:gd name="connsiteY1" fmla="*/ 3654 h 79692"/>
                <a:gd name="connsiteX2" fmla="*/ 201774 w 204394"/>
                <a:gd name="connsiteY2" fmla="*/ 5163 h 79692"/>
                <a:gd name="connsiteX3" fmla="*/ 194397 w 204394"/>
                <a:gd name="connsiteY3" fmla="*/ 25007 h 79692"/>
                <a:gd name="connsiteX4" fmla="*/ 66480 w 204394"/>
                <a:gd name="connsiteY4" fmla="*/ 76181 h 79692"/>
                <a:gd name="connsiteX5" fmla="*/ 32192 w 204394"/>
                <a:gd name="connsiteY5" fmla="*/ 74840 h 79692"/>
                <a:gd name="connsiteX6" fmla="*/ 0 w 204394"/>
                <a:gd name="connsiteY6" fmla="*/ 46025 h 79692"/>
                <a:gd name="connsiteX7" fmla="*/ 21856 w 204394"/>
                <a:gd name="connsiteY7" fmla="*/ 44121 h 79692"/>
                <a:gd name="connsiteX8" fmla="*/ 37701 w 204394"/>
                <a:gd name="connsiteY8" fmla="*/ 49271 h 79692"/>
                <a:gd name="connsiteX9" fmla="*/ 59569 w 204394"/>
                <a:gd name="connsiteY9" fmla="*/ 47259 h 79692"/>
                <a:gd name="connsiteX10" fmla="*/ 79665 w 204394"/>
                <a:gd name="connsiteY10" fmla="*/ 38648 h 79692"/>
                <a:gd name="connsiteX11" fmla="*/ 37473 w 204394"/>
                <a:gd name="connsiteY11" fmla="*/ 3103 h 79692"/>
                <a:gd name="connsiteX12" fmla="*/ 71186 w 204394"/>
                <a:gd name="connsiteY12" fmla="*/ 3953 h 79692"/>
                <a:gd name="connsiteX13" fmla="*/ 126636 w 204394"/>
                <a:gd name="connsiteY13" fmla="*/ 20792 h 796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04394" h="79692">
                  <a:moveTo>
                    <a:pt x="126648" y="20792"/>
                  </a:moveTo>
                  <a:lnTo>
                    <a:pt x="169498" y="3654"/>
                  </a:lnTo>
                  <a:cubicBezTo>
                    <a:pt x="169498" y="3654"/>
                    <a:pt x="190972" y="-5496"/>
                    <a:pt x="201774" y="5163"/>
                  </a:cubicBezTo>
                  <a:cubicBezTo>
                    <a:pt x="201774" y="5163"/>
                    <a:pt x="211163" y="17295"/>
                    <a:pt x="194397" y="25007"/>
                  </a:cubicBezTo>
                  <a:lnTo>
                    <a:pt x="66480" y="76181"/>
                  </a:lnTo>
                  <a:cubicBezTo>
                    <a:pt x="66480" y="76181"/>
                    <a:pt x="43569" y="84912"/>
                    <a:pt x="32192" y="74840"/>
                  </a:cubicBezTo>
                  <a:lnTo>
                    <a:pt x="0" y="46025"/>
                  </a:lnTo>
                  <a:cubicBezTo>
                    <a:pt x="0" y="46025"/>
                    <a:pt x="8707" y="40169"/>
                    <a:pt x="21856" y="44121"/>
                  </a:cubicBezTo>
                  <a:lnTo>
                    <a:pt x="37701" y="49271"/>
                  </a:lnTo>
                  <a:cubicBezTo>
                    <a:pt x="37701" y="49271"/>
                    <a:pt x="47569" y="52600"/>
                    <a:pt x="59569" y="47259"/>
                  </a:cubicBezTo>
                  <a:lnTo>
                    <a:pt x="79665" y="38648"/>
                  </a:lnTo>
                  <a:lnTo>
                    <a:pt x="37473" y="3103"/>
                  </a:lnTo>
                  <a:cubicBezTo>
                    <a:pt x="37473" y="3103"/>
                    <a:pt x="53282" y="-3304"/>
                    <a:pt x="71186" y="3953"/>
                  </a:cubicBezTo>
                  <a:cubicBezTo>
                    <a:pt x="71186" y="3953"/>
                    <a:pt x="115869" y="22181"/>
                    <a:pt x="126636" y="20792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14" name="Forma livre: Forma 413">
              <a:extLst>
                <a:ext uri="{FF2B5EF4-FFF2-40B4-BE49-F238E27FC236}">
                  <a16:creationId xmlns:a16="http://schemas.microsoft.com/office/drawing/2014/main" id="{EE1FEA2F-9F49-E155-65AC-08A6B4FD0883}"/>
                </a:ext>
              </a:extLst>
            </p:cNvPr>
            <p:cNvSpPr/>
            <p:nvPr/>
          </p:nvSpPr>
          <p:spPr>
            <a:xfrm>
              <a:off x="5611444" y="3284759"/>
              <a:ext cx="158152" cy="40980"/>
            </a:xfrm>
            <a:custGeom>
              <a:avLst/>
              <a:gdLst>
                <a:gd name="connsiteX0" fmla="*/ 15062 w 158152"/>
                <a:gd name="connsiteY0" fmla="*/ 0 h 40980"/>
                <a:gd name="connsiteX1" fmla="*/ 158153 w 158152"/>
                <a:gd name="connsiteY1" fmla="*/ 2970 h 409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8152" h="40980">
                  <a:moveTo>
                    <a:pt x="15062" y="0"/>
                  </a:moveTo>
                  <a:cubicBezTo>
                    <a:pt x="15062" y="0"/>
                    <a:pt x="-68532" y="90192"/>
                    <a:pt x="158153" y="297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415" name="Gráfico 6">
            <a:extLst>
              <a:ext uri="{FF2B5EF4-FFF2-40B4-BE49-F238E27FC236}">
                <a16:creationId xmlns:a16="http://schemas.microsoft.com/office/drawing/2014/main" id="{A3C034FE-2F30-14AB-76EA-A5F58C41652C}"/>
              </a:ext>
            </a:extLst>
          </p:cNvPr>
          <p:cNvGrpSpPr/>
          <p:nvPr/>
        </p:nvGrpSpPr>
        <p:grpSpPr>
          <a:xfrm>
            <a:off x="4419825" y="3146265"/>
            <a:ext cx="252928" cy="252746"/>
            <a:chOff x="4419825" y="3146265"/>
            <a:chExt cx="252928" cy="252746"/>
          </a:xfrm>
          <a:noFill/>
        </p:grpSpPr>
        <p:grpSp>
          <p:nvGrpSpPr>
            <p:cNvPr id="416" name="Gráfico 6">
              <a:extLst>
                <a:ext uri="{FF2B5EF4-FFF2-40B4-BE49-F238E27FC236}">
                  <a16:creationId xmlns:a16="http://schemas.microsoft.com/office/drawing/2014/main" id="{FBC20662-1501-D083-B5CF-C7B08A0269FA}"/>
                </a:ext>
              </a:extLst>
            </p:cNvPr>
            <p:cNvGrpSpPr/>
            <p:nvPr/>
          </p:nvGrpSpPr>
          <p:grpSpPr>
            <a:xfrm>
              <a:off x="4559706" y="3159380"/>
              <a:ext cx="95629" cy="95198"/>
              <a:chOff x="4559706" y="3159380"/>
              <a:chExt cx="95629" cy="95198"/>
            </a:xfrm>
            <a:noFill/>
          </p:grpSpPr>
          <p:sp>
            <p:nvSpPr>
              <p:cNvPr id="417" name="Forma livre: Forma 416">
                <a:extLst>
                  <a:ext uri="{FF2B5EF4-FFF2-40B4-BE49-F238E27FC236}">
                    <a16:creationId xmlns:a16="http://schemas.microsoft.com/office/drawing/2014/main" id="{916B8BF2-0644-6307-A07A-3ADD949071F1}"/>
                  </a:ext>
                </a:extLst>
              </p:cNvPr>
              <p:cNvSpPr/>
              <p:nvPr/>
            </p:nvSpPr>
            <p:spPr>
              <a:xfrm>
                <a:off x="4559706" y="3194087"/>
                <a:ext cx="60958" cy="60491"/>
              </a:xfrm>
              <a:custGeom>
                <a:avLst/>
                <a:gdLst>
                  <a:gd name="connsiteX0" fmla="*/ 0 w 60958"/>
                  <a:gd name="connsiteY0" fmla="*/ 0 h 60491"/>
                  <a:gd name="connsiteX1" fmla="*/ 42360 w 60958"/>
                  <a:gd name="connsiteY1" fmla="*/ 17976 h 60491"/>
                  <a:gd name="connsiteX2" fmla="*/ 60959 w 60958"/>
                  <a:gd name="connsiteY2" fmla="*/ 60492 h 604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60958" h="60491">
                    <a:moveTo>
                      <a:pt x="0" y="0"/>
                    </a:moveTo>
                    <a:cubicBezTo>
                      <a:pt x="15329" y="359"/>
                      <a:pt x="30575" y="6347"/>
                      <a:pt x="42360" y="17976"/>
                    </a:cubicBezTo>
                    <a:cubicBezTo>
                      <a:pt x="54252" y="29701"/>
                      <a:pt x="60456" y="45006"/>
                      <a:pt x="60959" y="60492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18" name="Forma livre: Forma 417">
                <a:extLst>
                  <a:ext uri="{FF2B5EF4-FFF2-40B4-BE49-F238E27FC236}">
                    <a16:creationId xmlns:a16="http://schemas.microsoft.com/office/drawing/2014/main" id="{B6DBACC4-F22B-7DD1-8EBC-A9C8CF94D4D7}"/>
                  </a:ext>
                </a:extLst>
              </p:cNvPr>
              <p:cNvSpPr/>
              <p:nvPr/>
            </p:nvSpPr>
            <p:spPr>
              <a:xfrm>
                <a:off x="4560892" y="3159380"/>
                <a:ext cx="94443" cy="93054"/>
              </a:xfrm>
              <a:custGeom>
                <a:avLst/>
                <a:gdLst>
                  <a:gd name="connsiteX0" fmla="*/ 0 w 94443"/>
                  <a:gd name="connsiteY0" fmla="*/ 0 h 93054"/>
                  <a:gd name="connsiteX1" fmla="*/ 65569 w 94443"/>
                  <a:gd name="connsiteY1" fmla="*/ 27952 h 93054"/>
                  <a:gd name="connsiteX2" fmla="*/ 94444 w 94443"/>
                  <a:gd name="connsiteY2" fmla="*/ 93055 h 930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94443" h="93054">
                    <a:moveTo>
                      <a:pt x="0" y="0"/>
                    </a:moveTo>
                    <a:cubicBezTo>
                      <a:pt x="23749" y="659"/>
                      <a:pt x="47318" y="9964"/>
                      <a:pt x="65569" y="27952"/>
                    </a:cubicBezTo>
                    <a:cubicBezTo>
                      <a:pt x="83809" y="45940"/>
                      <a:pt x="93438" y="69330"/>
                      <a:pt x="94444" y="93055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419" name="Gráfico 6">
              <a:extLst>
                <a:ext uri="{FF2B5EF4-FFF2-40B4-BE49-F238E27FC236}">
                  <a16:creationId xmlns:a16="http://schemas.microsoft.com/office/drawing/2014/main" id="{50783569-59F8-FBA6-247C-ED3D4291D37D}"/>
                </a:ext>
              </a:extLst>
            </p:cNvPr>
            <p:cNvGrpSpPr/>
            <p:nvPr/>
          </p:nvGrpSpPr>
          <p:grpSpPr>
            <a:xfrm>
              <a:off x="4419825" y="3146265"/>
              <a:ext cx="252928" cy="252746"/>
              <a:chOff x="4419825" y="3146265"/>
              <a:chExt cx="252928" cy="252746"/>
            </a:xfrm>
            <a:noFill/>
          </p:grpSpPr>
          <p:sp>
            <p:nvSpPr>
              <p:cNvPr id="420" name="Forma livre: Forma 419">
                <a:extLst>
                  <a:ext uri="{FF2B5EF4-FFF2-40B4-BE49-F238E27FC236}">
                    <a16:creationId xmlns:a16="http://schemas.microsoft.com/office/drawing/2014/main" id="{D2FCC659-3081-6909-B8E6-1359F9404AC2}"/>
                  </a:ext>
                </a:extLst>
              </p:cNvPr>
              <p:cNvSpPr/>
              <p:nvPr/>
            </p:nvSpPr>
            <p:spPr>
              <a:xfrm>
                <a:off x="4600210" y="3349382"/>
                <a:ext cx="52443" cy="35161"/>
              </a:xfrm>
              <a:custGeom>
                <a:avLst/>
                <a:gdLst>
                  <a:gd name="connsiteX0" fmla="*/ 52444 w 52443"/>
                  <a:gd name="connsiteY0" fmla="*/ 35162 h 35161"/>
                  <a:gd name="connsiteX1" fmla="*/ 0 w 52443"/>
                  <a:gd name="connsiteY1" fmla="*/ 0 h 351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2443" h="35161">
                    <a:moveTo>
                      <a:pt x="52444" y="35162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21" name="Forma livre: Forma 420">
                <a:extLst>
                  <a:ext uri="{FF2B5EF4-FFF2-40B4-BE49-F238E27FC236}">
                    <a16:creationId xmlns:a16="http://schemas.microsoft.com/office/drawing/2014/main" id="{6AF2F008-2886-8AFE-C427-2B9FB01C8E17}"/>
                  </a:ext>
                </a:extLst>
              </p:cNvPr>
              <p:cNvSpPr/>
              <p:nvPr/>
            </p:nvSpPr>
            <p:spPr>
              <a:xfrm>
                <a:off x="4419825" y="3146265"/>
                <a:ext cx="252928" cy="252746"/>
              </a:xfrm>
              <a:custGeom>
                <a:avLst/>
                <a:gdLst>
                  <a:gd name="connsiteX0" fmla="*/ 48995 w 252928"/>
                  <a:gd name="connsiteY0" fmla="*/ 72697 h 252746"/>
                  <a:gd name="connsiteX1" fmla="*/ 14156 w 252928"/>
                  <a:gd name="connsiteY1" fmla="*/ 20397 h 252746"/>
                  <a:gd name="connsiteX2" fmla="*/ 10455 w 252928"/>
                  <a:gd name="connsiteY2" fmla="*/ 23787 h 252746"/>
                  <a:gd name="connsiteX3" fmla="*/ 276 w 252928"/>
                  <a:gd name="connsiteY3" fmla="*/ 45631 h 252746"/>
                  <a:gd name="connsiteX4" fmla="*/ 79702 w 252928"/>
                  <a:gd name="connsiteY4" fmla="*/ 173177 h 252746"/>
                  <a:gd name="connsiteX5" fmla="*/ 207355 w 252928"/>
                  <a:gd name="connsiteY5" fmla="*/ 252471 h 252746"/>
                  <a:gd name="connsiteX6" fmla="*/ 229188 w 252928"/>
                  <a:gd name="connsiteY6" fmla="*/ 242268 h 252746"/>
                  <a:gd name="connsiteX7" fmla="*/ 232805 w 252928"/>
                  <a:gd name="connsiteY7" fmla="*/ 238280 h 252746"/>
                  <a:gd name="connsiteX8" fmla="*/ 252817 w 252928"/>
                  <a:gd name="connsiteY8" fmla="*/ 209130 h 252746"/>
                  <a:gd name="connsiteX9" fmla="*/ 246613 w 252928"/>
                  <a:gd name="connsiteY9" fmla="*/ 197141 h 252746"/>
                  <a:gd name="connsiteX10" fmla="*/ 200756 w 252928"/>
                  <a:gd name="connsiteY10" fmla="*/ 166602 h 252746"/>
                  <a:gd name="connsiteX11" fmla="*/ 181475 w 252928"/>
                  <a:gd name="connsiteY11" fmla="*/ 165512 h 252746"/>
                  <a:gd name="connsiteX12" fmla="*/ 153822 w 252928"/>
                  <a:gd name="connsiteY12" fmla="*/ 180818 h 252746"/>
                  <a:gd name="connsiteX13" fmla="*/ 110708 w 252928"/>
                  <a:gd name="connsiteY13" fmla="*/ 142123 h 252746"/>
                  <a:gd name="connsiteX14" fmla="*/ 71965 w 252928"/>
                  <a:gd name="connsiteY14" fmla="*/ 99057 h 252746"/>
                  <a:gd name="connsiteX15" fmla="*/ 87235 w 252928"/>
                  <a:gd name="connsiteY15" fmla="*/ 71404 h 252746"/>
                  <a:gd name="connsiteX16" fmla="*/ 86133 w 252928"/>
                  <a:gd name="connsiteY16" fmla="*/ 52122 h 252746"/>
                  <a:gd name="connsiteX17" fmla="*/ 55534 w 252928"/>
                  <a:gd name="connsiteY17" fmla="*/ 6290 h 252746"/>
                  <a:gd name="connsiteX18" fmla="*/ 43534 w 252928"/>
                  <a:gd name="connsiteY18" fmla="*/ 110 h 252746"/>
                  <a:gd name="connsiteX19" fmla="*/ 28096 w 252928"/>
                  <a:gd name="connsiteY19" fmla="*/ 8745 h 2527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252928" h="252746">
                    <a:moveTo>
                      <a:pt x="48995" y="72697"/>
                    </a:moveTo>
                    <a:lnTo>
                      <a:pt x="14156" y="20397"/>
                    </a:lnTo>
                    <a:cubicBezTo>
                      <a:pt x="11881" y="22445"/>
                      <a:pt x="10455" y="23787"/>
                      <a:pt x="10455" y="23787"/>
                    </a:cubicBezTo>
                    <a:cubicBezTo>
                      <a:pt x="-2635" y="35439"/>
                      <a:pt x="276" y="45631"/>
                      <a:pt x="276" y="45631"/>
                    </a:cubicBezTo>
                    <a:cubicBezTo>
                      <a:pt x="9114" y="107931"/>
                      <a:pt x="74695" y="167956"/>
                      <a:pt x="79702" y="173177"/>
                    </a:cubicBezTo>
                    <a:cubicBezTo>
                      <a:pt x="86468" y="179465"/>
                      <a:pt x="145043" y="243705"/>
                      <a:pt x="207355" y="252471"/>
                    </a:cubicBezTo>
                    <a:cubicBezTo>
                      <a:pt x="207355" y="252471"/>
                      <a:pt x="217547" y="255381"/>
                      <a:pt x="229188" y="242268"/>
                    </a:cubicBezTo>
                    <a:lnTo>
                      <a:pt x="232805" y="238280"/>
                    </a:lnTo>
                    <a:cubicBezTo>
                      <a:pt x="237284" y="232351"/>
                      <a:pt x="252673" y="212459"/>
                      <a:pt x="252817" y="209130"/>
                    </a:cubicBezTo>
                    <a:cubicBezTo>
                      <a:pt x="252817" y="209130"/>
                      <a:pt x="254278" y="202591"/>
                      <a:pt x="246613" y="197141"/>
                    </a:cubicBezTo>
                    <a:lnTo>
                      <a:pt x="200756" y="166602"/>
                    </a:lnTo>
                    <a:cubicBezTo>
                      <a:pt x="200756" y="166602"/>
                      <a:pt x="192744" y="159321"/>
                      <a:pt x="181475" y="165512"/>
                    </a:cubicBezTo>
                    <a:lnTo>
                      <a:pt x="153822" y="180818"/>
                    </a:lnTo>
                    <a:cubicBezTo>
                      <a:pt x="153822" y="180818"/>
                      <a:pt x="126085" y="158806"/>
                      <a:pt x="110708" y="142123"/>
                    </a:cubicBezTo>
                    <a:cubicBezTo>
                      <a:pt x="94025" y="126770"/>
                      <a:pt x="71965" y="99057"/>
                      <a:pt x="71965" y="99057"/>
                    </a:cubicBezTo>
                    <a:lnTo>
                      <a:pt x="87235" y="71404"/>
                    </a:lnTo>
                    <a:cubicBezTo>
                      <a:pt x="93414" y="60122"/>
                      <a:pt x="86133" y="52122"/>
                      <a:pt x="86133" y="52122"/>
                    </a:cubicBezTo>
                    <a:lnTo>
                      <a:pt x="55534" y="6290"/>
                    </a:lnTo>
                    <a:cubicBezTo>
                      <a:pt x="50085" y="-1339"/>
                      <a:pt x="43534" y="110"/>
                      <a:pt x="43534" y="110"/>
                    </a:cubicBezTo>
                    <a:cubicBezTo>
                      <a:pt x="40156" y="266"/>
                      <a:pt x="34108" y="4158"/>
                      <a:pt x="28096" y="8745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422" name="Gráfico 6">
            <a:extLst>
              <a:ext uri="{FF2B5EF4-FFF2-40B4-BE49-F238E27FC236}">
                <a16:creationId xmlns:a16="http://schemas.microsoft.com/office/drawing/2014/main" id="{8B7976C5-7280-AEB7-AABE-3B4BEBEC79FD}"/>
              </a:ext>
            </a:extLst>
          </p:cNvPr>
          <p:cNvGrpSpPr/>
          <p:nvPr/>
        </p:nvGrpSpPr>
        <p:grpSpPr>
          <a:xfrm>
            <a:off x="5059219" y="3112245"/>
            <a:ext cx="220696" cy="310778"/>
            <a:chOff x="5059219" y="3112245"/>
            <a:chExt cx="220696" cy="310778"/>
          </a:xfrm>
          <a:noFill/>
        </p:grpSpPr>
        <p:grpSp>
          <p:nvGrpSpPr>
            <p:cNvPr id="423" name="Gráfico 6">
              <a:extLst>
                <a:ext uri="{FF2B5EF4-FFF2-40B4-BE49-F238E27FC236}">
                  <a16:creationId xmlns:a16="http://schemas.microsoft.com/office/drawing/2014/main" id="{DDE41950-8E36-6707-C166-F12317EF57DD}"/>
                </a:ext>
              </a:extLst>
            </p:cNvPr>
            <p:cNvGrpSpPr/>
            <p:nvPr/>
          </p:nvGrpSpPr>
          <p:grpSpPr>
            <a:xfrm>
              <a:off x="5059219" y="3112245"/>
              <a:ext cx="220696" cy="310778"/>
              <a:chOff x="5059219" y="3112245"/>
              <a:chExt cx="220696" cy="310778"/>
            </a:xfrm>
            <a:noFill/>
          </p:grpSpPr>
          <p:sp>
            <p:nvSpPr>
              <p:cNvPr id="424" name="Forma livre: Forma 423">
                <a:extLst>
                  <a:ext uri="{FF2B5EF4-FFF2-40B4-BE49-F238E27FC236}">
                    <a16:creationId xmlns:a16="http://schemas.microsoft.com/office/drawing/2014/main" id="{4D2DB629-10FF-A6A6-6CC6-C941440CC625}"/>
                  </a:ext>
                </a:extLst>
              </p:cNvPr>
              <p:cNvSpPr/>
              <p:nvPr/>
            </p:nvSpPr>
            <p:spPr>
              <a:xfrm>
                <a:off x="5134130" y="3392915"/>
                <a:ext cx="70862" cy="30108"/>
              </a:xfrm>
              <a:custGeom>
                <a:avLst/>
                <a:gdLst>
                  <a:gd name="connsiteX0" fmla="*/ 70863 w 70862"/>
                  <a:gd name="connsiteY0" fmla="*/ 0 h 30108"/>
                  <a:gd name="connsiteX1" fmla="*/ 35425 w 70862"/>
                  <a:gd name="connsiteY1" fmla="*/ 30108 h 30108"/>
                  <a:gd name="connsiteX2" fmla="*/ 0 w 70862"/>
                  <a:gd name="connsiteY2" fmla="*/ 24 h 301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70862" h="30108">
                    <a:moveTo>
                      <a:pt x="70863" y="0"/>
                    </a:moveTo>
                    <a:cubicBezTo>
                      <a:pt x="68096" y="17066"/>
                      <a:pt x="53282" y="30108"/>
                      <a:pt x="35425" y="30108"/>
                    </a:cubicBezTo>
                    <a:cubicBezTo>
                      <a:pt x="17569" y="30108"/>
                      <a:pt x="2778" y="17078"/>
                      <a:pt x="0" y="24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425" name="Gráfico 6">
                <a:extLst>
                  <a:ext uri="{FF2B5EF4-FFF2-40B4-BE49-F238E27FC236}">
                    <a16:creationId xmlns:a16="http://schemas.microsoft.com/office/drawing/2014/main" id="{F17F051A-3050-B7E3-3B03-AEAB593F3BCA}"/>
                  </a:ext>
                </a:extLst>
              </p:cNvPr>
              <p:cNvGrpSpPr/>
              <p:nvPr/>
            </p:nvGrpSpPr>
            <p:grpSpPr>
              <a:xfrm>
                <a:off x="5059219" y="3170494"/>
                <a:ext cx="220696" cy="199917"/>
                <a:chOff x="5059219" y="3170494"/>
                <a:chExt cx="220696" cy="199917"/>
              </a:xfrm>
              <a:noFill/>
            </p:grpSpPr>
            <p:sp>
              <p:nvSpPr>
                <p:cNvPr id="426" name="Forma livre: Forma 425">
                  <a:extLst>
                    <a:ext uri="{FF2B5EF4-FFF2-40B4-BE49-F238E27FC236}">
                      <a16:creationId xmlns:a16="http://schemas.microsoft.com/office/drawing/2014/main" id="{1646E529-5681-EA80-4E5A-AF801CCA3EDC}"/>
                    </a:ext>
                  </a:extLst>
                </p:cNvPr>
                <p:cNvSpPr/>
                <p:nvPr/>
              </p:nvSpPr>
              <p:spPr>
                <a:xfrm>
                  <a:off x="5059219" y="3170494"/>
                  <a:ext cx="220696" cy="199917"/>
                </a:xfrm>
                <a:custGeom>
                  <a:avLst/>
                  <a:gdLst>
                    <a:gd name="connsiteX0" fmla="*/ 108827 w 220696"/>
                    <a:gd name="connsiteY0" fmla="*/ 0 h 199917"/>
                    <a:gd name="connsiteX1" fmla="*/ 135199 w 220696"/>
                    <a:gd name="connsiteY1" fmla="*/ 3761 h 199917"/>
                    <a:gd name="connsiteX2" fmla="*/ 173522 w 220696"/>
                    <a:gd name="connsiteY2" fmla="*/ 64252 h 199917"/>
                    <a:gd name="connsiteX3" fmla="*/ 220577 w 220696"/>
                    <a:gd name="connsiteY3" fmla="*/ 157247 h 199917"/>
                    <a:gd name="connsiteX4" fmla="*/ 220696 w 220696"/>
                    <a:gd name="connsiteY4" fmla="*/ 199918 h 199917"/>
                    <a:gd name="connsiteX5" fmla="*/ 0 w 220696"/>
                    <a:gd name="connsiteY5" fmla="*/ 199918 h 199917"/>
                    <a:gd name="connsiteX6" fmla="*/ 120 w 220696"/>
                    <a:gd name="connsiteY6" fmla="*/ 157247 h 199917"/>
                    <a:gd name="connsiteX7" fmla="*/ 47174 w 220696"/>
                    <a:gd name="connsiteY7" fmla="*/ 64252 h 199917"/>
                    <a:gd name="connsiteX8" fmla="*/ 85498 w 220696"/>
                    <a:gd name="connsiteY8" fmla="*/ 3761 h 199917"/>
                    <a:gd name="connsiteX9" fmla="*/ 111869 w 220696"/>
                    <a:gd name="connsiteY9" fmla="*/ 0 h 199917"/>
                    <a:gd name="connsiteX10" fmla="*/ 111869 w 220696"/>
                    <a:gd name="connsiteY10" fmla="*/ 0 h 19991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220696" h="199917">
                      <a:moveTo>
                        <a:pt x="108827" y="0"/>
                      </a:moveTo>
                      <a:cubicBezTo>
                        <a:pt x="120636" y="96"/>
                        <a:pt x="129929" y="2036"/>
                        <a:pt x="135199" y="3761"/>
                      </a:cubicBezTo>
                      <a:cubicBezTo>
                        <a:pt x="175427" y="16910"/>
                        <a:pt x="173522" y="64252"/>
                        <a:pt x="173522" y="64252"/>
                      </a:cubicBezTo>
                      <a:cubicBezTo>
                        <a:pt x="173522" y="132851"/>
                        <a:pt x="220577" y="157247"/>
                        <a:pt x="220577" y="157247"/>
                      </a:cubicBezTo>
                      <a:cubicBezTo>
                        <a:pt x="220577" y="181319"/>
                        <a:pt x="220696" y="199918"/>
                        <a:pt x="220696" y="199918"/>
                      </a:cubicBezTo>
                      <a:lnTo>
                        <a:pt x="0" y="199918"/>
                      </a:lnTo>
                      <a:cubicBezTo>
                        <a:pt x="0" y="199918"/>
                        <a:pt x="120" y="181319"/>
                        <a:pt x="120" y="157247"/>
                      </a:cubicBezTo>
                      <a:cubicBezTo>
                        <a:pt x="120" y="157247"/>
                        <a:pt x="47174" y="132851"/>
                        <a:pt x="47174" y="64252"/>
                      </a:cubicBezTo>
                      <a:cubicBezTo>
                        <a:pt x="47174" y="64252"/>
                        <a:pt x="45270" y="16910"/>
                        <a:pt x="85498" y="3761"/>
                      </a:cubicBezTo>
                      <a:cubicBezTo>
                        <a:pt x="90779" y="2024"/>
                        <a:pt x="100061" y="96"/>
                        <a:pt x="111869" y="0"/>
                      </a:cubicBezTo>
                      <a:lnTo>
                        <a:pt x="111869" y="0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427" name="Forma livre: Forma 426">
                  <a:extLst>
                    <a:ext uri="{FF2B5EF4-FFF2-40B4-BE49-F238E27FC236}">
                      <a16:creationId xmlns:a16="http://schemas.microsoft.com/office/drawing/2014/main" id="{13320F6A-2C69-9EE7-0325-1D9D967757C1}"/>
                    </a:ext>
                  </a:extLst>
                </p:cNvPr>
                <p:cNvSpPr/>
                <p:nvPr/>
              </p:nvSpPr>
              <p:spPr>
                <a:xfrm>
                  <a:off x="5135120" y="3201584"/>
                  <a:ext cx="68890" cy="33174"/>
                </a:xfrm>
                <a:custGeom>
                  <a:avLst/>
                  <a:gdLst>
                    <a:gd name="connsiteX0" fmla="*/ 68891 w 68890"/>
                    <a:gd name="connsiteY0" fmla="*/ 32000 h 33174"/>
                    <a:gd name="connsiteX1" fmla="*/ 18519 w 68890"/>
                    <a:gd name="connsiteY1" fmla="*/ 0 h 33174"/>
                    <a:gd name="connsiteX2" fmla="*/ 4 w 68890"/>
                    <a:gd name="connsiteY2" fmla="*/ 32312 h 33174"/>
                    <a:gd name="connsiteX3" fmla="*/ 4 w 68890"/>
                    <a:gd name="connsiteY3" fmla="*/ 33174 h 33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68890" h="33174">
                      <a:moveTo>
                        <a:pt x="68891" y="32000"/>
                      </a:moveTo>
                      <a:lnTo>
                        <a:pt x="18519" y="0"/>
                      </a:lnTo>
                      <a:cubicBezTo>
                        <a:pt x="64" y="6036"/>
                        <a:pt x="-44" y="29641"/>
                        <a:pt x="4" y="32312"/>
                      </a:cubicBezTo>
                      <a:cubicBezTo>
                        <a:pt x="16" y="32707"/>
                        <a:pt x="4" y="32791"/>
                        <a:pt x="4" y="33174"/>
                      </a:cubicBez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428" name="Forma livre: Forma 427">
                  <a:extLst>
                    <a:ext uri="{FF2B5EF4-FFF2-40B4-BE49-F238E27FC236}">
                      <a16:creationId xmlns:a16="http://schemas.microsoft.com/office/drawing/2014/main" id="{68F4D2F7-D2EA-50D2-E297-77E88FABF97A}"/>
                    </a:ext>
                  </a:extLst>
                </p:cNvPr>
                <p:cNvSpPr/>
                <p:nvPr/>
              </p:nvSpPr>
              <p:spPr>
                <a:xfrm>
                  <a:off x="5167795" y="3170494"/>
                  <a:ext cx="119" cy="1197"/>
                </a:xfrm>
                <a:custGeom>
                  <a:avLst/>
                  <a:gdLst>
                    <a:gd name="connsiteX0" fmla="*/ 0 w 119"/>
                    <a:gd name="connsiteY0" fmla="*/ 0 h 1197"/>
                    <a:gd name="connsiteX1" fmla="*/ 120 w 119"/>
                    <a:gd name="connsiteY1" fmla="*/ 0 h 119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19" h="1197">
                      <a:moveTo>
                        <a:pt x="0" y="0"/>
                      </a:moveTo>
                      <a:lnTo>
                        <a:pt x="120" y="0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429" name="Forma livre: Forma 428">
                <a:extLst>
                  <a:ext uri="{FF2B5EF4-FFF2-40B4-BE49-F238E27FC236}">
                    <a16:creationId xmlns:a16="http://schemas.microsoft.com/office/drawing/2014/main" id="{00ECA631-96C8-BC18-D634-046B2F3563D1}"/>
                  </a:ext>
                </a:extLst>
              </p:cNvPr>
              <p:cNvSpPr/>
              <p:nvPr/>
            </p:nvSpPr>
            <p:spPr>
              <a:xfrm rot="-2700000">
                <a:off x="5145441" y="3122241"/>
                <a:ext cx="48263" cy="48263"/>
              </a:xfrm>
              <a:custGeom>
                <a:avLst/>
                <a:gdLst>
                  <a:gd name="connsiteX0" fmla="*/ 48264 w 48263"/>
                  <a:gd name="connsiteY0" fmla="*/ 24132 h 48263"/>
                  <a:gd name="connsiteX1" fmla="*/ 24132 w 48263"/>
                  <a:gd name="connsiteY1" fmla="*/ 48264 h 48263"/>
                  <a:gd name="connsiteX2" fmla="*/ 0 w 48263"/>
                  <a:gd name="connsiteY2" fmla="*/ 24132 h 48263"/>
                  <a:gd name="connsiteX3" fmla="*/ 24132 w 48263"/>
                  <a:gd name="connsiteY3" fmla="*/ 0 h 48263"/>
                  <a:gd name="connsiteX4" fmla="*/ 48264 w 48263"/>
                  <a:gd name="connsiteY4" fmla="*/ 24132 h 482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8263" h="48263">
                    <a:moveTo>
                      <a:pt x="48264" y="24132"/>
                    </a:moveTo>
                    <a:cubicBezTo>
                      <a:pt x="48264" y="37460"/>
                      <a:pt x="37460" y="48264"/>
                      <a:pt x="24132" y="48264"/>
                    </a:cubicBezTo>
                    <a:cubicBezTo>
                      <a:pt x="10804" y="48264"/>
                      <a:pt x="0" y="37460"/>
                      <a:pt x="0" y="24132"/>
                    </a:cubicBezTo>
                    <a:cubicBezTo>
                      <a:pt x="0" y="10804"/>
                      <a:pt x="10804" y="0"/>
                      <a:pt x="24132" y="0"/>
                    </a:cubicBezTo>
                    <a:cubicBezTo>
                      <a:pt x="37460" y="0"/>
                      <a:pt x="48264" y="10804"/>
                      <a:pt x="48264" y="24132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430" name="Forma livre: Forma 429">
              <a:extLst>
                <a:ext uri="{FF2B5EF4-FFF2-40B4-BE49-F238E27FC236}">
                  <a16:creationId xmlns:a16="http://schemas.microsoft.com/office/drawing/2014/main" id="{CFE5BA07-CAA6-278E-D308-28628B3ED624}"/>
                </a:ext>
              </a:extLst>
            </p:cNvPr>
            <p:cNvSpPr/>
            <p:nvPr/>
          </p:nvSpPr>
          <p:spPr>
            <a:xfrm>
              <a:off x="5126418" y="3328460"/>
              <a:ext cx="153139" cy="1197"/>
            </a:xfrm>
            <a:custGeom>
              <a:avLst/>
              <a:gdLst>
                <a:gd name="connsiteX0" fmla="*/ 153139 w 153139"/>
                <a:gd name="connsiteY0" fmla="*/ 0 h 1197"/>
                <a:gd name="connsiteX1" fmla="*/ 0 w 153139"/>
                <a:gd name="connsiteY1" fmla="*/ 0 h 11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3139" h="1197">
                  <a:moveTo>
                    <a:pt x="153139" y="0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433" name="Gráfico 9">
            <a:extLst>
              <a:ext uri="{FF2B5EF4-FFF2-40B4-BE49-F238E27FC236}">
                <a16:creationId xmlns:a16="http://schemas.microsoft.com/office/drawing/2014/main" id="{240BF150-7724-01E4-9DF1-75717F76AD79}"/>
              </a:ext>
            </a:extLst>
          </p:cNvPr>
          <p:cNvGrpSpPr/>
          <p:nvPr/>
        </p:nvGrpSpPr>
        <p:grpSpPr>
          <a:xfrm>
            <a:off x="7546698" y="2569474"/>
            <a:ext cx="253520" cy="314730"/>
            <a:chOff x="7546698" y="2569474"/>
            <a:chExt cx="253520" cy="314730"/>
          </a:xfrm>
          <a:noFill/>
        </p:grpSpPr>
        <p:sp>
          <p:nvSpPr>
            <p:cNvPr id="434" name="Forma livre: Forma 433">
              <a:extLst>
                <a:ext uri="{FF2B5EF4-FFF2-40B4-BE49-F238E27FC236}">
                  <a16:creationId xmlns:a16="http://schemas.microsoft.com/office/drawing/2014/main" id="{5F0E0A0B-F7B1-C4CB-77D1-5A7C42DEB555}"/>
                </a:ext>
              </a:extLst>
            </p:cNvPr>
            <p:cNvSpPr/>
            <p:nvPr/>
          </p:nvSpPr>
          <p:spPr>
            <a:xfrm>
              <a:off x="7633394" y="2569474"/>
              <a:ext cx="80103" cy="41658"/>
            </a:xfrm>
            <a:custGeom>
              <a:avLst/>
              <a:gdLst>
                <a:gd name="connsiteX0" fmla="*/ 0 w 80103"/>
                <a:gd name="connsiteY0" fmla="*/ 41658 h 41658"/>
                <a:gd name="connsiteX1" fmla="*/ 0 w 80103"/>
                <a:gd name="connsiteY1" fmla="*/ 20387 h 41658"/>
                <a:gd name="connsiteX2" fmla="*/ 20387 w 80103"/>
                <a:gd name="connsiteY2" fmla="*/ 0 h 41658"/>
                <a:gd name="connsiteX3" fmla="*/ 59728 w 80103"/>
                <a:gd name="connsiteY3" fmla="*/ 0 h 41658"/>
                <a:gd name="connsiteX4" fmla="*/ 80104 w 80103"/>
                <a:gd name="connsiteY4" fmla="*/ 20387 h 41658"/>
                <a:gd name="connsiteX5" fmla="*/ 80104 w 80103"/>
                <a:gd name="connsiteY5" fmla="*/ 41658 h 416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80103" h="41658">
                  <a:moveTo>
                    <a:pt x="0" y="41658"/>
                  </a:moveTo>
                  <a:lnTo>
                    <a:pt x="0" y="20387"/>
                  </a:lnTo>
                  <a:cubicBezTo>
                    <a:pt x="0" y="9173"/>
                    <a:pt x="9173" y="0"/>
                    <a:pt x="20387" y="0"/>
                  </a:cubicBezTo>
                  <a:lnTo>
                    <a:pt x="59728" y="0"/>
                  </a:lnTo>
                  <a:cubicBezTo>
                    <a:pt x="70943" y="0"/>
                    <a:pt x="80104" y="9173"/>
                    <a:pt x="80104" y="20387"/>
                  </a:cubicBezTo>
                  <a:lnTo>
                    <a:pt x="80104" y="41658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35" name="Forma livre: Forma 434">
              <a:extLst>
                <a:ext uri="{FF2B5EF4-FFF2-40B4-BE49-F238E27FC236}">
                  <a16:creationId xmlns:a16="http://schemas.microsoft.com/office/drawing/2014/main" id="{DFE3FEA1-D35D-1108-88B9-60EAD4091742}"/>
                </a:ext>
              </a:extLst>
            </p:cNvPr>
            <p:cNvSpPr/>
            <p:nvPr/>
          </p:nvSpPr>
          <p:spPr>
            <a:xfrm>
              <a:off x="7759898" y="2624031"/>
              <a:ext cx="38158" cy="34802"/>
            </a:xfrm>
            <a:custGeom>
              <a:avLst/>
              <a:gdLst>
                <a:gd name="connsiteX0" fmla="*/ 0 w 38158"/>
                <a:gd name="connsiteY0" fmla="*/ 0 h 34802"/>
                <a:gd name="connsiteX1" fmla="*/ 38159 w 38158"/>
                <a:gd name="connsiteY1" fmla="*/ 34803 h 34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8158" h="34802">
                  <a:moveTo>
                    <a:pt x="0" y="0"/>
                  </a:moveTo>
                  <a:cubicBezTo>
                    <a:pt x="14547" y="9459"/>
                    <a:pt x="27422" y="21247"/>
                    <a:pt x="38159" y="34803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36" name="Forma livre: Forma 435">
              <a:extLst>
                <a:ext uri="{FF2B5EF4-FFF2-40B4-BE49-F238E27FC236}">
                  <a16:creationId xmlns:a16="http://schemas.microsoft.com/office/drawing/2014/main" id="{56A058B0-251D-674C-31AA-774D0B900BB5}"/>
                </a:ext>
              </a:extLst>
            </p:cNvPr>
            <p:cNvSpPr/>
            <p:nvPr/>
          </p:nvSpPr>
          <p:spPr>
            <a:xfrm>
              <a:off x="7673464" y="2597720"/>
              <a:ext cx="1194" cy="33966"/>
            </a:xfrm>
            <a:custGeom>
              <a:avLst/>
              <a:gdLst>
                <a:gd name="connsiteX0" fmla="*/ 0 w 1194"/>
                <a:gd name="connsiteY0" fmla="*/ 0 h 33966"/>
                <a:gd name="connsiteX1" fmla="*/ 0 w 1194"/>
                <a:gd name="connsiteY1" fmla="*/ 33967 h 339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94" h="33966">
                  <a:moveTo>
                    <a:pt x="0" y="0"/>
                  </a:moveTo>
                  <a:lnTo>
                    <a:pt x="0" y="33967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37" name="Forma livre: Forma 436">
              <a:extLst>
                <a:ext uri="{FF2B5EF4-FFF2-40B4-BE49-F238E27FC236}">
                  <a16:creationId xmlns:a16="http://schemas.microsoft.com/office/drawing/2014/main" id="{75843090-F9BD-56DB-8065-4040031382E0}"/>
                </a:ext>
              </a:extLst>
            </p:cNvPr>
            <p:cNvSpPr/>
            <p:nvPr/>
          </p:nvSpPr>
          <p:spPr>
            <a:xfrm>
              <a:off x="7584845" y="2668830"/>
              <a:ext cx="177238" cy="177238"/>
            </a:xfrm>
            <a:custGeom>
              <a:avLst/>
              <a:gdLst>
                <a:gd name="connsiteX0" fmla="*/ 88619 w 177238"/>
                <a:gd name="connsiteY0" fmla="*/ 0 h 177238"/>
                <a:gd name="connsiteX1" fmla="*/ 177238 w 177238"/>
                <a:gd name="connsiteY1" fmla="*/ 88619 h 177238"/>
                <a:gd name="connsiteX2" fmla="*/ 88619 w 177238"/>
                <a:gd name="connsiteY2" fmla="*/ 177239 h 177238"/>
                <a:gd name="connsiteX3" fmla="*/ 0 w 177238"/>
                <a:gd name="connsiteY3" fmla="*/ 88619 h 1772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7238" h="177238">
                  <a:moveTo>
                    <a:pt x="88619" y="0"/>
                  </a:moveTo>
                  <a:cubicBezTo>
                    <a:pt x="137551" y="0"/>
                    <a:pt x="177238" y="39664"/>
                    <a:pt x="177238" y="88619"/>
                  </a:cubicBezTo>
                  <a:cubicBezTo>
                    <a:pt x="177238" y="137575"/>
                    <a:pt x="137551" y="177239"/>
                    <a:pt x="88619" y="177239"/>
                  </a:cubicBezTo>
                  <a:cubicBezTo>
                    <a:pt x="39688" y="177239"/>
                    <a:pt x="0" y="137575"/>
                    <a:pt x="0" y="88619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38" name="Forma livre: Forma 437">
              <a:extLst>
                <a:ext uri="{FF2B5EF4-FFF2-40B4-BE49-F238E27FC236}">
                  <a16:creationId xmlns:a16="http://schemas.microsoft.com/office/drawing/2014/main" id="{CF03271E-9238-10EF-55F6-B615BA7360B8}"/>
                </a:ext>
              </a:extLst>
            </p:cNvPr>
            <p:cNvSpPr/>
            <p:nvPr/>
          </p:nvSpPr>
          <p:spPr>
            <a:xfrm>
              <a:off x="7546698" y="2630683"/>
              <a:ext cx="253520" cy="253520"/>
            </a:xfrm>
            <a:custGeom>
              <a:avLst/>
              <a:gdLst>
                <a:gd name="connsiteX0" fmla="*/ 253520 w 253520"/>
                <a:gd name="connsiteY0" fmla="*/ 126766 h 253520"/>
                <a:gd name="connsiteX1" fmla="*/ 126766 w 253520"/>
                <a:gd name="connsiteY1" fmla="*/ 253521 h 253520"/>
                <a:gd name="connsiteX2" fmla="*/ 0 w 253520"/>
                <a:gd name="connsiteY2" fmla="*/ 126766 h 253520"/>
                <a:gd name="connsiteX3" fmla="*/ 126766 w 253520"/>
                <a:gd name="connsiteY3" fmla="*/ 0 h 253520"/>
                <a:gd name="connsiteX4" fmla="*/ 253520 w 253520"/>
                <a:gd name="connsiteY4" fmla="*/ 126766 h 2535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3520" h="253520">
                  <a:moveTo>
                    <a:pt x="253520" y="126766"/>
                  </a:moveTo>
                  <a:cubicBezTo>
                    <a:pt x="253520" y="196766"/>
                    <a:pt x="196754" y="253521"/>
                    <a:pt x="126766" y="253521"/>
                  </a:cubicBezTo>
                  <a:cubicBezTo>
                    <a:pt x="56778" y="253521"/>
                    <a:pt x="0" y="196766"/>
                    <a:pt x="0" y="126766"/>
                  </a:cubicBezTo>
                  <a:cubicBezTo>
                    <a:pt x="0" y="56767"/>
                    <a:pt x="56755" y="0"/>
                    <a:pt x="126766" y="0"/>
                  </a:cubicBezTo>
                  <a:cubicBezTo>
                    <a:pt x="196778" y="0"/>
                    <a:pt x="253520" y="56743"/>
                    <a:pt x="253520" y="126766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39" name="Forma livre: Forma 438">
              <a:extLst>
                <a:ext uri="{FF2B5EF4-FFF2-40B4-BE49-F238E27FC236}">
                  <a16:creationId xmlns:a16="http://schemas.microsoft.com/office/drawing/2014/main" id="{6D404733-A028-ABA8-1E94-EFF52A46AD09}"/>
                </a:ext>
              </a:extLst>
            </p:cNvPr>
            <p:cNvSpPr/>
            <p:nvPr/>
          </p:nvSpPr>
          <p:spPr>
            <a:xfrm>
              <a:off x="7650055" y="2734040"/>
              <a:ext cx="46793" cy="46793"/>
            </a:xfrm>
            <a:custGeom>
              <a:avLst/>
              <a:gdLst>
                <a:gd name="connsiteX0" fmla="*/ 46794 w 46793"/>
                <a:gd name="connsiteY0" fmla="*/ 23397 h 46793"/>
                <a:gd name="connsiteX1" fmla="*/ 23397 w 46793"/>
                <a:gd name="connsiteY1" fmla="*/ 46794 h 46793"/>
                <a:gd name="connsiteX2" fmla="*/ 0 w 46793"/>
                <a:gd name="connsiteY2" fmla="*/ 23397 h 46793"/>
                <a:gd name="connsiteX3" fmla="*/ 23397 w 46793"/>
                <a:gd name="connsiteY3" fmla="*/ 0 h 46793"/>
                <a:gd name="connsiteX4" fmla="*/ 46794 w 46793"/>
                <a:gd name="connsiteY4" fmla="*/ 23397 h 467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6793" h="46793">
                  <a:moveTo>
                    <a:pt x="46794" y="23397"/>
                  </a:moveTo>
                  <a:cubicBezTo>
                    <a:pt x="46794" y="36319"/>
                    <a:pt x="36319" y="46794"/>
                    <a:pt x="23397" y="46794"/>
                  </a:cubicBezTo>
                  <a:cubicBezTo>
                    <a:pt x="10475" y="46794"/>
                    <a:pt x="0" y="36319"/>
                    <a:pt x="0" y="23397"/>
                  </a:cubicBezTo>
                  <a:cubicBezTo>
                    <a:pt x="0" y="10475"/>
                    <a:pt x="10475" y="0"/>
                    <a:pt x="23397" y="0"/>
                  </a:cubicBezTo>
                  <a:cubicBezTo>
                    <a:pt x="36319" y="0"/>
                    <a:pt x="46794" y="10475"/>
                    <a:pt x="46794" y="23397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40" name="Forma livre: Forma 439">
              <a:extLst>
                <a:ext uri="{FF2B5EF4-FFF2-40B4-BE49-F238E27FC236}">
                  <a16:creationId xmlns:a16="http://schemas.microsoft.com/office/drawing/2014/main" id="{60954AFE-9ED7-5863-73A5-8A6413841872}"/>
                </a:ext>
              </a:extLst>
            </p:cNvPr>
            <p:cNvSpPr/>
            <p:nvPr/>
          </p:nvSpPr>
          <p:spPr>
            <a:xfrm>
              <a:off x="7695607" y="2765845"/>
              <a:ext cx="26991" cy="10056"/>
            </a:xfrm>
            <a:custGeom>
              <a:avLst/>
              <a:gdLst>
                <a:gd name="connsiteX0" fmla="*/ 0 w 26991"/>
                <a:gd name="connsiteY0" fmla="*/ 0 h 10056"/>
                <a:gd name="connsiteX1" fmla="*/ 26992 w 26991"/>
                <a:gd name="connsiteY1" fmla="*/ 10056 h 10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6991" h="10056">
                  <a:moveTo>
                    <a:pt x="0" y="0"/>
                  </a:moveTo>
                  <a:lnTo>
                    <a:pt x="26992" y="10056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41" name="Forma livre: Forma 440">
              <a:extLst>
                <a:ext uri="{FF2B5EF4-FFF2-40B4-BE49-F238E27FC236}">
                  <a16:creationId xmlns:a16="http://schemas.microsoft.com/office/drawing/2014/main" id="{E3D61F18-1B99-E6C8-D9E0-A38B5240F155}"/>
                </a:ext>
              </a:extLst>
            </p:cNvPr>
            <p:cNvSpPr/>
            <p:nvPr/>
          </p:nvSpPr>
          <p:spPr>
            <a:xfrm>
              <a:off x="7585132" y="2724689"/>
              <a:ext cx="66141" cy="24639"/>
            </a:xfrm>
            <a:custGeom>
              <a:avLst/>
              <a:gdLst>
                <a:gd name="connsiteX0" fmla="*/ 0 w 66141"/>
                <a:gd name="connsiteY0" fmla="*/ 0 h 24639"/>
                <a:gd name="connsiteX1" fmla="*/ 66142 w 66141"/>
                <a:gd name="connsiteY1" fmla="*/ 24639 h 24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6141" h="24639">
                  <a:moveTo>
                    <a:pt x="0" y="0"/>
                  </a:moveTo>
                  <a:lnTo>
                    <a:pt x="66142" y="24639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442" name="Gráfico 9">
            <a:extLst>
              <a:ext uri="{FF2B5EF4-FFF2-40B4-BE49-F238E27FC236}">
                <a16:creationId xmlns:a16="http://schemas.microsoft.com/office/drawing/2014/main" id="{7C9878BB-537A-5E99-0FCF-2B8AB1837132}"/>
              </a:ext>
            </a:extLst>
          </p:cNvPr>
          <p:cNvGrpSpPr/>
          <p:nvPr/>
        </p:nvGrpSpPr>
        <p:grpSpPr>
          <a:xfrm>
            <a:off x="6269004" y="2594196"/>
            <a:ext cx="323699" cy="265284"/>
            <a:chOff x="6269004" y="2594196"/>
            <a:chExt cx="323699" cy="265284"/>
          </a:xfrm>
          <a:noFill/>
        </p:grpSpPr>
        <p:sp>
          <p:nvSpPr>
            <p:cNvPr id="443" name="Forma livre: Forma 442">
              <a:extLst>
                <a:ext uri="{FF2B5EF4-FFF2-40B4-BE49-F238E27FC236}">
                  <a16:creationId xmlns:a16="http://schemas.microsoft.com/office/drawing/2014/main" id="{4021EAEB-A031-CAC4-AFF4-79765A3F4D80}"/>
                </a:ext>
              </a:extLst>
            </p:cNvPr>
            <p:cNvSpPr/>
            <p:nvPr/>
          </p:nvSpPr>
          <p:spPr>
            <a:xfrm>
              <a:off x="6269004" y="2594196"/>
              <a:ext cx="239319" cy="241242"/>
            </a:xfrm>
            <a:custGeom>
              <a:avLst/>
              <a:gdLst>
                <a:gd name="connsiteX0" fmla="*/ 239320 w 239319"/>
                <a:gd name="connsiteY0" fmla="*/ 142161 h 241242"/>
                <a:gd name="connsiteX1" fmla="*/ 120615 w 239319"/>
                <a:gd name="connsiteY1" fmla="*/ 241243 h 241242"/>
                <a:gd name="connsiteX2" fmla="*/ 0 w 239319"/>
                <a:gd name="connsiteY2" fmla="*/ 120615 h 241242"/>
                <a:gd name="connsiteX3" fmla="*/ 120615 w 239319"/>
                <a:gd name="connsiteY3" fmla="*/ 0 h 241242"/>
                <a:gd name="connsiteX4" fmla="*/ 239248 w 239319"/>
                <a:gd name="connsiteY4" fmla="*/ 98759 h 2412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9319" h="241242">
                  <a:moveTo>
                    <a:pt x="239320" y="142161"/>
                  </a:moveTo>
                  <a:cubicBezTo>
                    <a:pt x="229156" y="198498"/>
                    <a:pt x="179878" y="241243"/>
                    <a:pt x="120615" y="241243"/>
                  </a:cubicBezTo>
                  <a:cubicBezTo>
                    <a:pt x="53996" y="241243"/>
                    <a:pt x="0" y="187235"/>
                    <a:pt x="0" y="120615"/>
                  </a:cubicBezTo>
                  <a:cubicBezTo>
                    <a:pt x="0" y="53996"/>
                    <a:pt x="53996" y="0"/>
                    <a:pt x="120615" y="0"/>
                  </a:cubicBezTo>
                  <a:cubicBezTo>
                    <a:pt x="179759" y="0"/>
                    <a:pt x="228965" y="42578"/>
                    <a:pt x="239248" y="98759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44" name="Forma livre: Forma 443">
              <a:extLst>
                <a:ext uri="{FF2B5EF4-FFF2-40B4-BE49-F238E27FC236}">
                  <a16:creationId xmlns:a16="http://schemas.microsoft.com/office/drawing/2014/main" id="{86F10BEF-9552-7D36-EAC7-1A4D0A9B0A9D}"/>
                </a:ext>
              </a:extLst>
            </p:cNvPr>
            <p:cNvSpPr/>
            <p:nvPr/>
          </p:nvSpPr>
          <p:spPr>
            <a:xfrm>
              <a:off x="6316992" y="2641564"/>
              <a:ext cx="143331" cy="146484"/>
            </a:xfrm>
            <a:custGeom>
              <a:avLst/>
              <a:gdLst>
                <a:gd name="connsiteX0" fmla="*/ 143332 w 143331"/>
                <a:gd name="connsiteY0" fmla="*/ 94555 h 146484"/>
                <a:gd name="connsiteX1" fmla="*/ 73248 w 143331"/>
                <a:gd name="connsiteY1" fmla="*/ 146485 h 146484"/>
                <a:gd name="connsiteX2" fmla="*/ 0 w 143331"/>
                <a:gd name="connsiteY2" fmla="*/ 73248 h 146484"/>
                <a:gd name="connsiteX3" fmla="*/ 73248 w 143331"/>
                <a:gd name="connsiteY3" fmla="*/ 0 h 146484"/>
                <a:gd name="connsiteX4" fmla="*/ 143176 w 143331"/>
                <a:gd name="connsiteY4" fmla="*/ 51416 h 1464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3331" h="146484">
                  <a:moveTo>
                    <a:pt x="143332" y="94555"/>
                  </a:moveTo>
                  <a:cubicBezTo>
                    <a:pt x="134207" y="124616"/>
                    <a:pt x="106283" y="146485"/>
                    <a:pt x="73248" y="146485"/>
                  </a:cubicBezTo>
                  <a:cubicBezTo>
                    <a:pt x="32796" y="146485"/>
                    <a:pt x="0" y="113700"/>
                    <a:pt x="0" y="73248"/>
                  </a:cubicBezTo>
                  <a:cubicBezTo>
                    <a:pt x="0" y="32796"/>
                    <a:pt x="32796" y="0"/>
                    <a:pt x="73248" y="0"/>
                  </a:cubicBezTo>
                  <a:cubicBezTo>
                    <a:pt x="106092" y="0"/>
                    <a:pt x="133884" y="21629"/>
                    <a:pt x="143176" y="51416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45" name="Forma livre: Forma 444">
              <a:extLst>
                <a:ext uri="{FF2B5EF4-FFF2-40B4-BE49-F238E27FC236}">
                  <a16:creationId xmlns:a16="http://schemas.microsoft.com/office/drawing/2014/main" id="{D976B936-82DE-18CD-09BC-9906ACA95F58}"/>
                </a:ext>
              </a:extLst>
            </p:cNvPr>
            <p:cNvSpPr/>
            <p:nvPr/>
          </p:nvSpPr>
          <p:spPr>
            <a:xfrm>
              <a:off x="6360418" y="2684965"/>
              <a:ext cx="50950" cy="59704"/>
            </a:xfrm>
            <a:custGeom>
              <a:avLst/>
              <a:gdLst>
                <a:gd name="connsiteX0" fmla="*/ 50950 w 50950"/>
                <a:gd name="connsiteY0" fmla="*/ 50950 h 59704"/>
                <a:gd name="connsiteX1" fmla="*/ 29846 w 50950"/>
                <a:gd name="connsiteY1" fmla="*/ 59705 h 59704"/>
                <a:gd name="connsiteX2" fmla="*/ 0 w 50950"/>
                <a:gd name="connsiteY2" fmla="*/ 29846 h 59704"/>
                <a:gd name="connsiteX3" fmla="*/ 29846 w 50950"/>
                <a:gd name="connsiteY3" fmla="*/ 0 h 59704"/>
                <a:gd name="connsiteX4" fmla="*/ 50305 w 50950"/>
                <a:gd name="connsiteY4" fmla="*/ 8109 h 597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950" h="59704">
                  <a:moveTo>
                    <a:pt x="50950" y="50950"/>
                  </a:moveTo>
                  <a:cubicBezTo>
                    <a:pt x="45552" y="56348"/>
                    <a:pt x="38087" y="59705"/>
                    <a:pt x="29846" y="59705"/>
                  </a:cubicBezTo>
                  <a:cubicBezTo>
                    <a:pt x="13365" y="59705"/>
                    <a:pt x="0" y="46328"/>
                    <a:pt x="0" y="29846"/>
                  </a:cubicBezTo>
                  <a:cubicBezTo>
                    <a:pt x="0" y="13364"/>
                    <a:pt x="13365" y="0"/>
                    <a:pt x="29846" y="0"/>
                  </a:cubicBezTo>
                  <a:cubicBezTo>
                    <a:pt x="37765" y="0"/>
                    <a:pt x="44967" y="3081"/>
                    <a:pt x="50305" y="8109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46" name="Forma livre: Forma 445">
              <a:extLst>
                <a:ext uri="{FF2B5EF4-FFF2-40B4-BE49-F238E27FC236}">
                  <a16:creationId xmlns:a16="http://schemas.microsoft.com/office/drawing/2014/main" id="{521EEEF4-C71E-FB25-E3C2-1DAC554AE5DF}"/>
                </a:ext>
              </a:extLst>
            </p:cNvPr>
            <p:cNvSpPr/>
            <p:nvPr/>
          </p:nvSpPr>
          <p:spPr>
            <a:xfrm>
              <a:off x="6390766" y="2714465"/>
              <a:ext cx="179651" cy="1194"/>
            </a:xfrm>
            <a:custGeom>
              <a:avLst/>
              <a:gdLst>
                <a:gd name="connsiteX0" fmla="*/ 0 w 179651"/>
                <a:gd name="connsiteY0" fmla="*/ 0 h 1194"/>
                <a:gd name="connsiteX1" fmla="*/ 179651 w 179651"/>
                <a:gd name="connsiteY1" fmla="*/ 0 h 11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79651" h="1194">
                  <a:moveTo>
                    <a:pt x="0" y="0"/>
                  </a:moveTo>
                  <a:lnTo>
                    <a:pt x="179651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47" name="Forma livre: Forma 446">
              <a:extLst>
                <a:ext uri="{FF2B5EF4-FFF2-40B4-BE49-F238E27FC236}">
                  <a16:creationId xmlns:a16="http://schemas.microsoft.com/office/drawing/2014/main" id="{65BCC5DF-043D-2ADA-78FE-DDE6F23C3080}"/>
                </a:ext>
              </a:extLst>
            </p:cNvPr>
            <p:cNvSpPr/>
            <p:nvPr/>
          </p:nvSpPr>
          <p:spPr>
            <a:xfrm>
              <a:off x="6570417" y="2686757"/>
              <a:ext cx="22286" cy="27708"/>
            </a:xfrm>
            <a:custGeom>
              <a:avLst/>
              <a:gdLst>
                <a:gd name="connsiteX0" fmla="*/ 0 w 22286"/>
                <a:gd name="connsiteY0" fmla="*/ 27708 h 27708"/>
                <a:gd name="connsiteX1" fmla="*/ 22286 w 22286"/>
                <a:gd name="connsiteY1" fmla="*/ 0 h 277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2286" h="27708">
                  <a:moveTo>
                    <a:pt x="0" y="27708"/>
                  </a:moveTo>
                  <a:lnTo>
                    <a:pt x="22286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48" name="Forma livre: Forma 447">
              <a:extLst>
                <a:ext uri="{FF2B5EF4-FFF2-40B4-BE49-F238E27FC236}">
                  <a16:creationId xmlns:a16="http://schemas.microsoft.com/office/drawing/2014/main" id="{1B84302C-551C-F06B-78C3-816B703D1FED}"/>
                </a:ext>
              </a:extLst>
            </p:cNvPr>
            <p:cNvSpPr/>
            <p:nvPr/>
          </p:nvSpPr>
          <p:spPr>
            <a:xfrm>
              <a:off x="6570417" y="2714370"/>
              <a:ext cx="22286" cy="27720"/>
            </a:xfrm>
            <a:custGeom>
              <a:avLst/>
              <a:gdLst>
                <a:gd name="connsiteX0" fmla="*/ 22286 w 22286"/>
                <a:gd name="connsiteY0" fmla="*/ 27720 h 27720"/>
                <a:gd name="connsiteX1" fmla="*/ 0 w 22286"/>
                <a:gd name="connsiteY1" fmla="*/ 0 h 277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2286" h="27720">
                  <a:moveTo>
                    <a:pt x="22286" y="27720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49" name="Forma livre: Forma 448">
              <a:extLst>
                <a:ext uri="{FF2B5EF4-FFF2-40B4-BE49-F238E27FC236}">
                  <a16:creationId xmlns:a16="http://schemas.microsoft.com/office/drawing/2014/main" id="{C7D0CC72-0563-F6E3-730D-77532AAB5FD4}"/>
                </a:ext>
              </a:extLst>
            </p:cNvPr>
            <p:cNvSpPr/>
            <p:nvPr/>
          </p:nvSpPr>
          <p:spPr>
            <a:xfrm>
              <a:off x="6528460" y="2686757"/>
              <a:ext cx="22298" cy="27708"/>
            </a:xfrm>
            <a:custGeom>
              <a:avLst/>
              <a:gdLst>
                <a:gd name="connsiteX0" fmla="*/ 0 w 22298"/>
                <a:gd name="connsiteY0" fmla="*/ 27708 h 27708"/>
                <a:gd name="connsiteX1" fmla="*/ 22298 w 22298"/>
                <a:gd name="connsiteY1" fmla="*/ 0 h 277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2298" h="27708">
                  <a:moveTo>
                    <a:pt x="0" y="27708"/>
                  </a:moveTo>
                  <a:lnTo>
                    <a:pt x="22298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50" name="Forma livre: Forma 449">
              <a:extLst>
                <a:ext uri="{FF2B5EF4-FFF2-40B4-BE49-F238E27FC236}">
                  <a16:creationId xmlns:a16="http://schemas.microsoft.com/office/drawing/2014/main" id="{00D55A81-0550-2EF8-ABE4-A72AFE922E29}"/>
                </a:ext>
              </a:extLst>
            </p:cNvPr>
            <p:cNvSpPr/>
            <p:nvPr/>
          </p:nvSpPr>
          <p:spPr>
            <a:xfrm>
              <a:off x="6528460" y="2714370"/>
              <a:ext cx="22298" cy="27720"/>
            </a:xfrm>
            <a:custGeom>
              <a:avLst/>
              <a:gdLst>
                <a:gd name="connsiteX0" fmla="*/ 22298 w 22298"/>
                <a:gd name="connsiteY0" fmla="*/ 27720 h 27720"/>
                <a:gd name="connsiteX1" fmla="*/ 0 w 22298"/>
                <a:gd name="connsiteY1" fmla="*/ 0 h 277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2298" h="27720">
                  <a:moveTo>
                    <a:pt x="22298" y="27720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451" name="Gráfico 9">
              <a:extLst>
                <a:ext uri="{FF2B5EF4-FFF2-40B4-BE49-F238E27FC236}">
                  <a16:creationId xmlns:a16="http://schemas.microsoft.com/office/drawing/2014/main" id="{283DB2BF-C322-BC45-AEFC-87305E5D70FE}"/>
                </a:ext>
              </a:extLst>
            </p:cNvPr>
            <p:cNvGrpSpPr/>
            <p:nvPr/>
          </p:nvGrpSpPr>
          <p:grpSpPr>
            <a:xfrm>
              <a:off x="6283969" y="2810215"/>
              <a:ext cx="211432" cy="49266"/>
              <a:chOff x="6283969" y="2810215"/>
              <a:chExt cx="211432" cy="49266"/>
            </a:xfrm>
            <a:noFill/>
          </p:grpSpPr>
          <p:sp>
            <p:nvSpPr>
              <p:cNvPr id="452" name="Forma livre: Forma 451">
                <a:extLst>
                  <a:ext uri="{FF2B5EF4-FFF2-40B4-BE49-F238E27FC236}">
                    <a16:creationId xmlns:a16="http://schemas.microsoft.com/office/drawing/2014/main" id="{4499B941-4C9C-E20A-F3BB-3776C37A2545}"/>
                  </a:ext>
                </a:extLst>
              </p:cNvPr>
              <p:cNvSpPr/>
              <p:nvPr/>
            </p:nvSpPr>
            <p:spPr>
              <a:xfrm>
                <a:off x="6283969" y="2823054"/>
                <a:ext cx="52251" cy="36427"/>
              </a:xfrm>
              <a:custGeom>
                <a:avLst/>
                <a:gdLst>
                  <a:gd name="connsiteX0" fmla="*/ 52252 w 52251"/>
                  <a:gd name="connsiteY0" fmla="*/ 0 h 36427"/>
                  <a:gd name="connsiteX1" fmla="*/ 30455 w 52251"/>
                  <a:gd name="connsiteY1" fmla="*/ 36427 h 36427"/>
                  <a:gd name="connsiteX2" fmla="*/ 0 w 52251"/>
                  <a:gd name="connsiteY2" fmla="*/ 36427 h 36427"/>
                  <a:gd name="connsiteX3" fmla="*/ 19408 w 52251"/>
                  <a:gd name="connsiteY3" fmla="*/ 4479 h 364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2251" h="36427">
                    <a:moveTo>
                      <a:pt x="52252" y="0"/>
                    </a:moveTo>
                    <a:lnTo>
                      <a:pt x="30455" y="36427"/>
                    </a:lnTo>
                    <a:lnTo>
                      <a:pt x="0" y="36427"/>
                    </a:lnTo>
                    <a:lnTo>
                      <a:pt x="19408" y="4479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53" name="Forma livre: Forma 452">
                <a:extLst>
                  <a:ext uri="{FF2B5EF4-FFF2-40B4-BE49-F238E27FC236}">
                    <a16:creationId xmlns:a16="http://schemas.microsoft.com/office/drawing/2014/main" id="{A558A93A-6D0C-1BCE-EB03-131B8C4CF6B4}"/>
                  </a:ext>
                </a:extLst>
              </p:cNvPr>
              <p:cNvSpPr/>
              <p:nvPr/>
            </p:nvSpPr>
            <p:spPr>
              <a:xfrm>
                <a:off x="6454758" y="2810215"/>
                <a:ext cx="40643" cy="49266"/>
              </a:xfrm>
              <a:custGeom>
                <a:avLst/>
                <a:gdLst>
                  <a:gd name="connsiteX0" fmla="*/ 11048 w 40643"/>
                  <a:gd name="connsiteY0" fmla="*/ 0 h 49266"/>
                  <a:gd name="connsiteX1" fmla="*/ 40643 w 40643"/>
                  <a:gd name="connsiteY1" fmla="*/ 49266 h 49266"/>
                  <a:gd name="connsiteX2" fmla="*/ 10188 w 40643"/>
                  <a:gd name="connsiteY2" fmla="*/ 49266 h 49266"/>
                  <a:gd name="connsiteX3" fmla="*/ 0 w 40643"/>
                  <a:gd name="connsiteY3" fmla="*/ 31948 h 492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0643" h="49266">
                    <a:moveTo>
                      <a:pt x="11048" y="0"/>
                    </a:moveTo>
                    <a:lnTo>
                      <a:pt x="40643" y="49266"/>
                    </a:lnTo>
                    <a:lnTo>
                      <a:pt x="10188" y="49266"/>
                    </a:lnTo>
                    <a:lnTo>
                      <a:pt x="0" y="31948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454" name="Gráfico 9">
            <a:extLst>
              <a:ext uri="{FF2B5EF4-FFF2-40B4-BE49-F238E27FC236}">
                <a16:creationId xmlns:a16="http://schemas.microsoft.com/office/drawing/2014/main" id="{BB3263A8-AF9E-7A97-CAAD-A6593A1FE5B3}"/>
              </a:ext>
            </a:extLst>
          </p:cNvPr>
          <p:cNvGrpSpPr/>
          <p:nvPr/>
        </p:nvGrpSpPr>
        <p:grpSpPr>
          <a:xfrm>
            <a:off x="6889363" y="2612111"/>
            <a:ext cx="329921" cy="229454"/>
            <a:chOff x="6889363" y="2612111"/>
            <a:chExt cx="329921" cy="229454"/>
          </a:xfrm>
          <a:noFill/>
        </p:grpSpPr>
        <p:grpSp>
          <p:nvGrpSpPr>
            <p:cNvPr id="455" name="Gráfico 9">
              <a:extLst>
                <a:ext uri="{FF2B5EF4-FFF2-40B4-BE49-F238E27FC236}">
                  <a16:creationId xmlns:a16="http://schemas.microsoft.com/office/drawing/2014/main" id="{CEFA9C88-A9DD-D617-2679-D06799352DA1}"/>
                </a:ext>
              </a:extLst>
            </p:cNvPr>
            <p:cNvGrpSpPr/>
            <p:nvPr/>
          </p:nvGrpSpPr>
          <p:grpSpPr>
            <a:xfrm>
              <a:off x="6889363" y="2612111"/>
              <a:ext cx="329921" cy="228630"/>
              <a:chOff x="6889363" y="2612111"/>
              <a:chExt cx="329921" cy="228630"/>
            </a:xfrm>
            <a:noFill/>
          </p:grpSpPr>
          <p:sp>
            <p:nvSpPr>
              <p:cNvPr id="456" name="Forma livre: Forma 455">
                <a:extLst>
                  <a:ext uri="{FF2B5EF4-FFF2-40B4-BE49-F238E27FC236}">
                    <a16:creationId xmlns:a16="http://schemas.microsoft.com/office/drawing/2014/main" id="{9BEB2855-AEA6-646A-311D-885511A2E253}"/>
                  </a:ext>
                </a:extLst>
              </p:cNvPr>
              <p:cNvSpPr/>
              <p:nvPr/>
            </p:nvSpPr>
            <p:spPr>
              <a:xfrm>
                <a:off x="6889363" y="2612111"/>
                <a:ext cx="283581" cy="194711"/>
              </a:xfrm>
              <a:custGeom>
                <a:avLst/>
                <a:gdLst>
                  <a:gd name="connsiteX0" fmla="*/ 224689 w 283581"/>
                  <a:gd name="connsiteY0" fmla="*/ 194712 h 194711"/>
                  <a:gd name="connsiteX1" fmla="*/ 24352 w 283581"/>
                  <a:gd name="connsiteY1" fmla="*/ 194712 h 194711"/>
                  <a:gd name="connsiteX2" fmla="*/ 0 w 283581"/>
                  <a:gd name="connsiteY2" fmla="*/ 170359 h 194711"/>
                  <a:gd name="connsiteX3" fmla="*/ 0 w 283581"/>
                  <a:gd name="connsiteY3" fmla="*/ 24340 h 194711"/>
                  <a:gd name="connsiteX4" fmla="*/ 24352 w 283581"/>
                  <a:gd name="connsiteY4" fmla="*/ 0 h 194711"/>
                  <a:gd name="connsiteX5" fmla="*/ 259241 w 283581"/>
                  <a:gd name="connsiteY5" fmla="*/ 0 h 194711"/>
                  <a:gd name="connsiteX6" fmla="*/ 283582 w 283581"/>
                  <a:gd name="connsiteY6" fmla="*/ 24340 h 194711"/>
                  <a:gd name="connsiteX7" fmla="*/ 283582 w 283581"/>
                  <a:gd name="connsiteY7" fmla="*/ 77309 h 1947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83581" h="194711">
                    <a:moveTo>
                      <a:pt x="224689" y="194712"/>
                    </a:moveTo>
                    <a:lnTo>
                      <a:pt x="24352" y="194712"/>
                    </a:lnTo>
                    <a:cubicBezTo>
                      <a:pt x="10964" y="194712"/>
                      <a:pt x="0" y="183760"/>
                      <a:pt x="0" y="170359"/>
                    </a:cubicBezTo>
                    <a:lnTo>
                      <a:pt x="0" y="24340"/>
                    </a:lnTo>
                    <a:cubicBezTo>
                      <a:pt x="0" y="10952"/>
                      <a:pt x="10964" y="0"/>
                      <a:pt x="24352" y="0"/>
                    </a:cubicBezTo>
                    <a:lnTo>
                      <a:pt x="259241" y="0"/>
                    </a:lnTo>
                    <a:cubicBezTo>
                      <a:pt x="272630" y="0"/>
                      <a:pt x="283582" y="10952"/>
                      <a:pt x="283582" y="24340"/>
                    </a:cubicBezTo>
                    <a:lnTo>
                      <a:pt x="283582" y="77309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57" name="Forma livre: Forma 456">
                <a:extLst>
                  <a:ext uri="{FF2B5EF4-FFF2-40B4-BE49-F238E27FC236}">
                    <a16:creationId xmlns:a16="http://schemas.microsoft.com/office/drawing/2014/main" id="{85B3A9DB-D9B6-A5BC-16B4-7BCE6D064D0D}"/>
                  </a:ext>
                </a:extLst>
              </p:cNvPr>
              <p:cNvSpPr/>
              <p:nvPr/>
            </p:nvSpPr>
            <p:spPr>
              <a:xfrm>
                <a:off x="6941925" y="2654462"/>
                <a:ext cx="170848" cy="111562"/>
              </a:xfrm>
              <a:custGeom>
                <a:avLst/>
                <a:gdLst>
                  <a:gd name="connsiteX0" fmla="*/ 0 w 170848"/>
                  <a:gd name="connsiteY0" fmla="*/ 111562 h 111562"/>
                  <a:gd name="connsiteX1" fmla="*/ 35030 w 170848"/>
                  <a:gd name="connsiteY1" fmla="*/ 53721 h 111562"/>
                  <a:gd name="connsiteX2" fmla="*/ 61377 w 170848"/>
                  <a:gd name="connsiteY2" fmla="*/ 91486 h 111562"/>
                  <a:gd name="connsiteX3" fmla="*/ 93146 w 170848"/>
                  <a:gd name="connsiteY3" fmla="*/ 58367 h 111562"/>
                  <a:gd name="connsiteX4" fmla="*/ 122228 w 170848"/>
                  <a:gd name="connsiteY4" fmla="*/ 83328 h 111562"/>
                  <a:gd name="connsiteX5" fmla="*/ 170849 w 170848"/>
                  <a:gd name="connsiteY5" fmla="*/ 0 h 1115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70848" h="111562">
                    <a:moveTo>
                      <a:pt x="0" y="111562"/>
                    </a:moveTo>
                    <a:lnTo>
                      <a:pt x="35030" y="53721"/>
                    </a:lnTo>
                    <a:lnTo>
                      <a:pt x="61377" y="91486"/>
                    </a:lnTo>
                    <a:lnTo>
                      <a:pt x="93146" y="58367"/>
                    </a:lnTo>
                    <a:lnTo>
                      <a:pt x="122228" y="83328"/>
                    </a:lnTo>
                    <a:lnTo>
                      <a:pt x="170849" y="0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458" name="Gráfico 9">
                <a:extLst>
                  <a:ext uri="{FF2B5EF4-FFF2-40B4-BE49-F238E27FC236}">
                    <a16:creationId xmlns:a16="http://schemas.microsoft.com/office/drawing/2014/main" id="{A6C2381D-CD3F-B7CE-C793-4AFA0C865AD3}"/>
                  </a:ext>
                </a:extLst>
              </p:cNvPr>
              <p:cNvGrpSpPr/>
              <p:nvPr/>
            </p:nvGrpSpPr>
            <p:grpSpPr>
              <a:xfrm>
                <a:off x="7114530" y="2710679"/>
                <a:ext cx="104754" cy="103799"/>
                <a:chOff x="7114530" y="2710679"/>
                <a:chExt cx="104754" cy="103799"/>
              </a:xfrm>
              <a:noFill/>
            </p:grpSpPr>
            <p:sp>
              <p:nvSpPr>
                <p:cNvPr id="459" name="Forma livre: Forma 458">
                  <a:extLst>
                    <a:ext uri="{FF2B5EF4-FFF2-40B4-BE49-F238E27FC236}">
                      <a16:creationId xmlns:a16="http://schemas.microsoft.com/office/drawing/2014/main" id="{B61C3636-5BAC-A9BB-BB8F-FB7E2F9D8A97}"/>
                    </a:ext>
                  </a:extLst>
                </p:cNvPr>
                <p:cNvSpPr/>
                <p:nvPr/>
              </p:nvSpPr>
              <p:spPr>
                <a:xfrm>
                  <a:off x="7114530" y="2710679"/>
                  <a:ext cx="86899" cy="86899"/>
                </a:xfrm>
                <a:custGeom>
                  <a:avLst/>
                  <a:gdLst>
                    <a:gd name="connsiteX0" fmla="*/ 86899 w 86899"/>
                    <a:gd name="connsiteY0" fmla="*/ 43450 h 86899"/>
                    <a:gd name="connsiteX1" fmla="*/ 43450 w 86899"/>
                    <a:gd name="connsiteY1" fmla="*/ 86899 h 86899"/>
                    <a:gd name="connsiteX2" fmla="*/ 0 w 86899"/>
                    <a:gd name="connsiteY2" fmla="*/ 43450 h 86899"/>
                    <a:gd name="connsiteX3" fmla="*/ 43450 w 86899"/>
                    <a:gd name="connsiteY3" fmla="*/ 0 h 86899"/>
                    <a:gd name="connsiteX4" fmla="*/ 86899 w 86899"/>
                    <a:gd name="connsiteY4" fmla="*/ 43450 h 8689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86899" h="86899">
                      <a:moveTo>
                        <a:pt x="86899" y="43450"/>
                      </a:moveTo>
                      <a:cubicBezTo>
                        <a:pt x="86899" y="67444"/>
                        <a:pt x="67456" y="86899"/>
                        <a:pt x="43450" y="86899"/>
                      </a:cubicBezTo>
                      <a:cubicBezTo>
                        <a:pt x="19444" y="86899"/>
                        <a:pt x="0" y="67444"/>
                        <a:pt x="0" y="43450"/>
                      </a:cubicBezTo>
                      <a:cubicBezTo>
                        <a:pt x="0" y="19456"/>
                        <a:pt x="19444" y="0"/>
                        <a:pt x="43450" y="0"/>
                      </a:cubicBezTo>
                      <a:cubicBezTo>
                        <a:pt x="67456" y="0"/>
                        <a:pt x="86899" y="19456"/>
                        <a:pt x="86899" y="43450"/>
                      </a:cubicBezTo>
                      <a:close/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460" name="Forma livre: Forma 459">
                  <a:extLst>
                    <a:ext uri="{FF2B5EF4-FFF2-40B4-BE49-F238E27FC236}">
                      <a16:creationId xmlns:a16="http://schemas.microsoft.com/office/drawing/2014/main" id="{88FB22C9-70AB-DEB6-6248-EEEC91F88417}"/>
                    </a:ext>
                  </a:extLst>
                </p:cNvPr>
                <p:cNvSpPr/>
                <p:nvPr/>
              </p:nvSpPr>
              <p:spPr>
                <a:xfrm>
                  <a:off x="7139229" y="2735378"/>
                  <a:ext cx="18750" cy="18751"/>
                </a:xfrm>
                <a:custGeom>
                  <a:avLst/>
                  <a:gdLst>
                    <a:gd name="connsiteX0" fmla="*/ 0 w 18750"/>
                    <a:gd name="connsiteY0" fmla="*/ 18751 h 18751"/>
                    <a:gd name="connsiteX1" fmla="*/ 18751 w 18750"/>
                    <a:gd name="connsiteY1" fmla="*/ 0 h 1875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8750" h="18751">
                      <a:moveTo>
                        <a:pt x="0" y="18751"/>
                      </a:moveTo>
                      <a:cubicBezTo>
                        <a:pt x="0" y="8408"/>
                        <a:pt x="8408" y="0"/>
                        <a:pt x="18751" y="0"/>
                      </a:cubicBez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461" name="Forma livre: Forma 460">
                  <a:extLst>
                    <a:ext uri="{FF2B5EF4-FFF2-40B4-BE49-F238E27FC236}">
                      <a16:creationId xmlns:a16="http://schemas.microsoft.com/office/drawing/2014/main" id="{2A34A8B1-5892-D17A-2722-067E3A1A342B}"/>
                    </a:ext>
                  </a:extLst>
                </p:cNvPr>
                <p:cNvSpPr/>
                <p:nvPr/>
              </p:nvSpPr>
              <p:spPr>
                <a:xfrm>
                  <a:off x="7189522" y="2784991"/>
                  <a:ext cx="29762" cy="29488"/>
                </a:xfrm>
                <a:custGeom>
                  <a:avLst/>
                  <a:gdLst>
                    <a:gd name="connsiteX0" fmla="*/ 0 w 29762"/>
                    <a:gd name="connsiteY0" fmla="*/ 0 h 29488"/>
                    <a:gd name="connsiteX1" fmla="*/ 29763 w 29762"/>
                    <a:gd name="connsiteY1" fmla="*/ 29488 h 2948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9762" h="29488">
                      <a:moveTo>
                        <a:pt x="0" y="0"/>
                      </a:moveTo>
                      <a:lnTo>
                        <a:pt x="29763" y="29488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462" name="Gráfico 9">
                <a:extLst>
                  <a:ext uri="{FF2B5EF4-FFF2-40B4-BE49-F238E27FC236}">
                    <a16:creationId xmlns:a16="http://schemas.microsoft.com/office/drawing/2014/main" id="{27D12BEC-5FA8-085E-5E53-76D1B38B1A67}"/>
                  </a:ext>
                </a:extLst>
              </p:cNvPr>
              <p:cNvGrpSpPr/>
              <p:nvPr/>
            </p:nvGrpSpPr>
            <p:grpSpPr>
              <a:xfrm>
                <a:off x="7011316" y="2806345"/>
                <a:ext cx="39687" cy="34396"/>
                <a:chOff x="7011316" y="2806345"/>
                <a:chExt cx="39687" cy="34396"/>
              </a:xfrm>
            </p:grpSpPr>
            <p:sp>
              <p:nvSpPr>
                <p:cNvPr id="463" name="Forma livre: Forma 462">
                  <a:extLst>
                    <a:ext uri="{FF2B5EF4-FFF2-40B4-BE49-F238E27FC236}">
                      <a16:creationId xmlns:a16="http://schemas.microsoft.com/office/drawing/2014/main" id="{25F5985D-D049-3E1E-99F8-FBD35E75F5A9}"/>
                    </a:ext>
                  </a:extLst>
                </p:cNvPr>
                <p:cNvSpPr/>
                <p:nvPr/>
              </p:nvSpPr>
              <p:spPr>
                <a:xfrm>
                  <a:off x="7011316" y="2806345"/>
                  <a:ext cx="1194" cy="34396"/>
                </a:xfrm>
                <a:custGeom>
                  <a:avLst/>
                  <a:gdLst>
                    <a:gd name="connsiteX0" fmla="*/ 0 w 1194"/>
                    <a:gd name="connsiteY0" fmla="*/ 0 h 34396"/>
                    <a:gd name="connsiteX1" fmla="*/ 0 w 1194"/>
                    <a:gd name="connsiteY1" fmla="*/ 34397 h 3439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194" h="34396">
                      <a:moveTo>
                        <a:pt x="0" y="0"/>
                      </a:moveTo>
                      <a:lnTo>
                        <a:pt x="0" y="34397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464" name="Forma livre: Forma 463">
                  <a:extLst>
                    <a:ext uri="{FF2B5EF4-FFF2-40B4-BE49-F238E27FC236}">
                      <a16:creationId xmlns:a16="http://schemas.microsoft.com/office/drawing/2014/main" id="{18E44D4F-79EE-F126-EE30-D753E61CE1D7}"/>
                    </a:ext>
                  </a:extLst>
                </p:cNvPr>
                <p:cNvSpPr/>
                <p:nvPr/>
              </p:nvSpPr>
              <p:spPr>
                <a:xfrm>
                  <a:off x="7051003" y="2806345"/>
                  <a:ext cx="1194" cy="34396"/>
                </a:xfrm>
                <a:custGeom>
                  <a:avLst/>
                  <a:gdLst>
                    <a:gd name="connsiteX0" fmla="*/ 0 w 1194"/>
                    <a:gd name="connsiteY0" fmla="*/ 0 h 34396"/>
                    <a:gd name="connsiteX1" fmla="*/ 0 w 1194"/>
                    <a:gd name="connsiteY1" fmla="*/ 34397 h 3439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194" h="34396">
                      <a:moveTo>
                        <a:pt x="0" y="0"/>
                      </a:moveTo>
                      <a:lnTo>
                        <a:pt x="0" y="34397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sp>
          <p:nvSpPr>
            <p:cNvPr id="465" name="Forma livre: Forma 464">
              <a:extLst>
                <a:ext uri="{FF2B5EF4-FFF2-40B4-BE49-F238E27FC236}">
                  <a16:creationId xmlns:a16="http://schemas.microsoft.com/office/drawing/2014/main" id="{6854EA66-41CD-D922-DC70-A6E7E8E17E24}"/>
                </a:ext>
              </a:extLst>
            </p:cNvPr>
            <p:cNvSpPr/>
            <p:nvPr/>
          </p:nvSpPr>
          <p:spPr>
            <a:xfrm>
              <a:off x="6974005" y="2841566"/>
              <a:ext cx="113318" cy="1194"/>
            </a:xfrm>
            <a:custGeom>
              <a:avLst/>
              <a:gdLst>
                <a:gd name="connsiteX0" fmla="*/ 0 w 113318"/>
                <a:gd name="connsiteY0" fmla="*/ 0 h 1194"/>
                <a:gd name="connsiteX1" fmla="*/ 113318 w 113318"/>
                <a:gd name="connsiteY1" fmla="*/ 0 h 11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3318" h="1194">
                  <a:moveTo>
                    <a:pt x="0" y="0"/>
                  </a:moveTo>
                  <a:lnTo>
                    <a:pt x="113318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467" name="Gráfico 9">
            <a:extLst>
              <a:ext uri="{FF2B5EF4-FFF2-40B4-BE49-F238E27FC236}">
                <a16:creationId xmlns:a16="http://schemas.microsoft.com/office/drawing/2014/main" id="{5F34AAC1-EA8B-DA07-9CF7-993CD242FAE4}"/>
              </a:ext>
            </a:extLst>
          </p:cNvPr>
          <p:cNvGrpSpPr/>
          <p:nvPr/>
        </p:nvGrpSpPr>
        <p:grpSpPr>
          <a:xfrm>
            <a:off x="7560194" y="3114339"/>
            <a:ext cx="226540" cy="283820"/>
            <a:chOff x="7560194" y="3114339"/>
            <a:chExt cx="226540" cy="283820"/>
          </a:xfrm>
          <a:noFill/>
        </p:grpSpPr>
        <p:sp>
          <p:nvSpPr>
            <p:cNvPr id="468" name="Forma livre: Forma 467">
              <a:extLst>
                <a:ext uri="{FF2B5EF4-FFF2-40B4-BE49-F238E27FC236}">
                  <a16:creationId xmlns:a16="http://schemas.microsoft.com/office/drawing/2014/main" id="{863E76FB-0231-0E4F-D81B-73DF9B61A870}"/>
                </a:ext>
              </a:extLst>
            </p:cNvPr>
            <p:cNvSpPr/>
            <p:nvPr/>
          </p:nvSpPr>
          <p:spPr>
            <a:xfrm>
              <a:off x="7601745" y="3117970"/>
              <a:ext cx="30455" cy="51009"/>
            </a:xfrm>
            <a:custGeom>
              <a:avLst/>
              <a:gdLst>
                <a:gd name="connsiteX0" fmla="*/ 30455 w 30455"/>
                <a:gd name="connsiteY0" fmla="*/ 0 h 51009"/>
                <a:gd name="connsiteX1" fmla="*/ 30455 w 30455"/>
                <a:gd name="connsiteY1" fmla="*/ 51010 h 51009"/>
                <a:gd name="connsiteX2" fmla="*/ 0 w 30455"/>
                <a:gd name="connsiteY2" fmla="*/ 51010 h 510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0455" h="51009">
                  <a:moveTo>
                    <a:pt x="30455" y="0"/>
                  </a:moveTo>
                  <a:lnTo>
                    <a:pt x="30455" y="51010"/>
                  </a:lnTo>
                  <a:lnTo>
                    <a:pt x="0" y="5101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469" name="Gráfico 9">
              <a:extLst>
                <a:ext uri="{FF2B5EF4-FFF2-40B4-BE49-F238E27FC236}">
                  <a16:creationId xmlns:a16="http://schemas.microsoft.com/office/drawing/2014/main" id="{663CCDA1-BA66-DA60-556C-7E976823A40A}"/>
                </a:ext>
              </a:extLst>
            </p:cNvPr>
            <p:cNvGrpSpPr/>
            <p:nvPr/>
          </p:nvGrpSpPr>
          <p:grpSpPr>
            <a:xfrm>
              <a:off x="7629907" y="3211176"/>
              <a:ext cx="87102" cy="32629"/>
              <a:chOff x="7629907" y="3211176"/>
              <a:chExt cx="87102" cy="32629"/>
            </a:xfrm>
          </p:grpSpPr>
          <p:sp>
            <p:nvSpPr>
              <p:cNvPr id="470" name="Forma livre: Forma 469">
                <a:extLst>
                  <a:ext uri="{FF2B5EF4-FFF2-40B4-BE49-F238E27FC236}">
                    <a16:creationId xmlns:a16="http://schemas.microsoft.com/office/drawing/2014/main" id="{526FE00C-4FAE-0041-64D5-6CD8B5D13061}"/>
                  </a:ext>
                </a:extLst>
              </p:cNvPr>
              <p:cNvSpPr/>
              <p:nvPr/>
            </p:nvSpPr>
            <p:spPr>
              <a:xfrm>
                <a:off x="7629907" y="3243805"/>
                <a:ext cx="87102" cy="1194"/>
              </a:xfrm>
              <a:custGeom>
                <a:avLst/>
                <a:gdLst>
                  <a:gd name="connsiteX0" fmla="*/ 0 w 87102"/>
                  <a:gd name="connsiteY0" fmla="*/ 0 h 1194"/>
                  <a:gd name="connsiteX1" fmla="*/ 87102 w 87102"/>
                  <a:gd name="connsiteY1" fmla="*/ 0 h 11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87102" h="1194">
                    <a:moveTo>
                      <a:pt x="0" y="0"/>
                    </a:moveTo>
                    <a:lnTo>
                      <a:pt x="87102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71" name="Forma livre: Forma 470">
                <a:extLst>
                  <a:ext uri="{FF2B5EF4-FFF2-40B4-BE49-F238E27FC236}">
                    <a16:creationId xmlns:a16="http://schemas.microsoft.com/office/drawing/2014/main" id="{CBBDE674-D630-D02C-0AF8-6B3FFDE63F67}"/>
                  </a:ext>
                </a:extLst>
              </p:cNvPr>
              <p:cNvSpPr/>
              <p:nvPr/>
            </p:nvSpPr>
            <p:spPr>
              <a:xfrm>
                <a:off x="7629907" y="3211176"/>
                <a:ext cx="87102" cy="1194"/>
              </a:xfrm>
              <a:custGeom>
                <a:avLst/>
                <a:gdLst>
                  <a:gd name="connsiteX0" fmla="*/ 0 w 87102"/>
                  <a:gd name="connsiteY0" fmla="*/ 0 h 1194"/>
                  <a:gd name="connsiteX1" fmla="*/ 87102 w 87102"/>
                  <a:gd name="connsiteY1" fmla="*/ 0 h 11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87102" h="1194">
                    <a:moveTo>
                      <a:pt x="0" y="0"/>
                    </a:moveTo>
                    <a:lnTo>
                      <a:pt x="87102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472" name="Forma livre: Forma 471">
              <a:extLst>
                <a:ext uri="{FF2B5EF4-FFF2-40B4-BE49-F238E27FC236}">
                  <a16:creationId xmlns:a16="http://schemas.microsoft.com/office/drawing/2014/main" id="{4BAC037A-935C-51AE-8752-528BAFB66521}"/>
                </a:ext>
              </a:extLst>
            </p:cNvPr>
            <p:cNvSpPr/>
            <p:nvPr/>
          </p:nvSpPr>
          <p:spPr>
            <a:xfrm>
              <a:off x="7596657" y="3308209"/>
              <a:ext cx="153614" cy="56127"/>
            </a:xfrm>
            <a:custGeom>
              <a:avLst/>
              <a:gdLst>
                <a:gd name="connsiteX0" fmla="*/ 153615 w 153614"/>
                <a:gd name="connsiteY0" fmla="*/ 56127 h 56127"/>
                <a:gd name="connsiteX1" fmla="*/ 83591 w 153614"/>
                <a:gd name="connsiteY1" fmla="*/ 1713 h 56127"/>
                <a:gd name="connsiteX2" fmla="*/ 71206 w 153614"/>
                <a:gd name="connsiteY2" fmla="*/ 2131 h 56127"/>
                <a:gd name="connsiteX3" fmla="*/ 0 w 153614"/>
                <a:gd name="connsiteY3" fmla="*/ 56127 h 561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3614" h="56127">
                  <a:moveTo>
                    <a:pt x="153615" y="56127"/>
                  </a:moveTo>
                  <a:cubicBezTo>
                    <a:pt x="153615" y="56127"/>
                    <a:pt x="86505" y="4126"/>
                    <a:pt x="83591" y="1713"/>
                  </a:cubicBezTo>
                  <a:cubicBezTo>
                    <a:pt x="80677" y="-699"/>
                    <a:pt x="74705" y="-568"/>
                    <a:pt x="71206" y="2131"/>
                  </a:cubicBezTo>
                  <a:cubicBezTo>
                    <a:pt x="66882" y="5452"/>
                    <a:pt x="0" y="56127"/>
                    <a:pt x="0" y="56127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473" name="Gráfico 9">
              <a:extLst>
                <a:ext uri="{FF2B5EF4-FFF2-40B4-BE49-F238E27FC236}">
                  <a16:creationId xmlns:a16="http://schemas.microsoft.com/office/drawing/2014/main" id="{1298C776-1E7D-60BD-8691-463602067D06}"/>
                </a:ext>
              </a:extLst>
            </p:cNvPr>
            <p:cNvGrpSpPr/>
            <p:nvPr/>
          </p:nvGrpSpPr>
          <p:grpSpPr>
            <a:xfrm>
              <a:off x="7560337" y="3239911"/>
              <a:ext cx="226253" cy="76616"/>
              <a:chOff x="7560337" y="3239911"/>
              <a:chExt cx="226253" cy="76616"/>
            </a:xfrm>
          </p:grpSpPr>
          <p:sp>
            <p:nvSpPr>
              <p:cNvPr id="474" name="Forma livre: Forma 473">
                <a:extLst>
                  <a:ext uri="{FF2B5EF4-FFF2-40B4-BE49-F238E27FC236}">
                    <a16:creationId xmlns:a16="http://schemas.microsoft.com/office/drawing/2014/main" id="{6AF40E96-A243-4F94-DBAA-E37EB30D1689}"/>
                  </a:ext>
                </a:extLst>
              </p:cNvPr>
              <p:cNvSpPr/>
              <p:nvPr/>
            </p:nvSpPr>
            <p:spPr>
              <a:xfrm>
                <a:off x="7560337" y="3239911"/>
                <a:ext cx="96227" cy="76616"/>
              </a:xfrm>
              <a:custGeom>
                <a:avLst/>
                <a:gdLst>
                  <a:gd name="connsiteX0" fmla="*/ 96227 w 96227"/>
                  <a:gd name="connsiteY0" fmla="*/ 76616 h 76616"/>
                  <a:gd name="connsiteX1" fmla="*/ 0 w 96227"/>
                  <a:gd name="connsiteY1" fmla="*/ 0 h 766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6227" h="76616">
                    <a:moveTo>
                      <a:pt x="96227" y="76616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75" name="Forma livre: Forma 474">
                <a:extLst>
                  <a:ext uri="{FF2B5EF4-FFF2-40B4-BE49-F238E27FC236}">
                    <a16:creationId xmlns:a16="http://schemas.microsoft.com/office/drawing/2014/main" id="{EB6642DA-88C6-A39E-7030-115C0E662094}"/>
                  </a:ext>
                </a:extLst>
              </p:cNvPr>
              <p:cNvSpPr/>
              <p:nvPr/>
            </p:nvSpPr>
            <p:spPr>
              <a:xfrm>
                <a:off x="7690615" y="3240043"/>
                <a:ext cx="95976" cy="76484"/>
              </a:xfrm>
              <a:custGeom>
                <a:avLst/>
                <a:gdLst>
                  <a:gd name="connsiteX0" fmla="*/ 0 w 95976"/>
                  <a:gd name="connsiteY0" fmla="*/ 76485 h 76484"/>
                  <a:gd name="connsiteX1" fmla="*/ 95976 w 95976"/>
                  <a:gd name="connsiteY1" fmla="*/ 0 h 764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5976" h="76484">
                    <a:moveTo>
                      <a:pt x="0" y="76485"/>
                    </a:moveTo>
                    <a:lnTo>
                      <a:pt x="95976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476" name="Forma livre: Forma 475">
              <a:extLst>
                <a:ext uri="{FF2B5EF4-FFF2-40B4-BE49-F238E27FC236}">
                  <a16:creationId xmlns:a16="http://schemas.microsoft.com/office/drawing/2014/main" id="{77E20287-3F30-AB27-3552-9DA41AA41E3B}"/>
                </a:ext>
              </a:extLst>
            </p:cNvPr>
            <p:cNvSpPr/>
            <p:nvPr/>
          </p:nvSpPr>
          <p:spPr>
            <a:xfrm>
              <a:off x="7577297" y="3114339"/>
              <a:ext cx="192323" cy="138518"/>
            </a:xfrm>
            <a:custGeom>
              <a:avLst/>
              <a:gdLst>
                <a:gd name="connsiteX0" fmla="*/ 192323 w 192323"/>
                <a:gd name="connsiteY0" fmla="*/ 138518 h 138518"/>
                <a:gd name="connsiteX1" fmla="*/ 192323 w 192323"/>
                <a:gd name="connsiteY1" fmla="*/ 14332 h 138518"/>
                <a:gd name="connsiteX2" fmla="*/ 177991 w 192323"/>
                <a:gd name="connsiteY2" fmla="*/ 0 h 138518"/>
                <a:gd name="connsiteX3" fmla="*/ 42841 w 192323"/>
                <a:gd name="connsiteY3" fmla="*/ 0 h 138518"/>
                <a:gd name="connsiteX4" fmla="*/ 0 w 192323"/>
                <a:gd name="connsiteY4" fmla="*/ 38457 h 138518"/>
                <a:gd name="connsiteX5" fmla="*/ 0 w 192323"/>
                <a:gd name="connsiteY5" fmla="*/ 108469 h 138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92323" h="138518">
                  <a:moveTo>
                    <a:pt x="192323" y="138518"/>
                  </a:moveTo>
                  <a:lnTo>
                    <a:pt x="192323" y="14332"/>
                  </a:lnTo>
                  <a:cubicBezTo>
                    <a:pt x="192323" y="6449"/>
                    <a:pt x="185874" y="0"/>
                    <a:pt x="177991" y="0"/>
                  </a:cubicBezTo>
                  <a:lnTo>
                    <a:pt x="42841" y="0"/>
                  </a:lnTo>
                  <a:lnTo>
                    <a:pt x="0" y="38457"/>
                  </a:lnTo>
                  <a:lnTo>
                    <a:pt x="0" y="108469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77" name="Forma livre: Forma 476">
              <a:extLst>
                <a:ext uri="{FF2B5EF4-FFF2-40B4-BE49-F238E27FC236}">
                  <a16:creationId xmlns:a16="http://schemas.microsoft.com/office/drawing/2014/main" id="{23EC0D9E-9843-D01B-9DAE-1802D7F273FB}"/>
                </a:ext>
              </a:extLst>
            </p:cNvPr>
            <p:cNvSpPr/>
            <p:nvPr/>
          </p:nvSpPr>
          <p:spPr>
            <a:xfrm>
              <a:off x="7560194" y="3239911"/>
              <a:ext cx="226540" cy="158248"/>
            </a:xfrm>
            <a:custGeom>
              <a:avLst/>
              <a:gdLst>
                <a:gd name="connsiteX0" fmla="*/ 0 w 226540"/>
                <a:gd name="connsiteY0" fmla="*/ 0 h 158248"/>
                <a:gd name="connsiteX1" fmla="*/ 0 w 226540"/>
                <a:gd name="connsiteY1" fmla="*/ 145565 h 158248"/>
                <a:gd name="connsiteX2" fmla="*/ 12923 w 226540"/>
                <a:gd name="connsiteY2" fmla="*/ 158249 h 158248"/>
                <a:gd name="connsiteX3" fmla="*/ 213618 w 226540"/>
                <a:gd name="connsiteY3" fmla="*/ 158249 h 158248"/>
                <a:gd name="connsiteX4" fmla="*/ 226540 w 226540"/>
                <a:gd name="connsiteY4" fmla="*/ 145565 h 158248"/>
                <a:gd name="connsiteX5" fmla="*/ 226540 w 226540"/>
                <a:gd name="connsiteY5" fmla="*/ 0 h 158248"/>
                <a:gd name="connsiteX6" fmla="*/ 210142 w 226540"/>
                <a:gd name="connsiteY6" fmla="*/ 0 h 1582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26540" h="158248">
                  <a:moveTo>
                    <a:pt x="0" y="0"/>
                  </a:moveTo>
                  <a:lnTo>
                    <a:pt x="0" y="145565"/>
                  </a:lnTo>
                  <a:cubicBezTo>
                    <a:pt x="0" y="152540"/>
                    <a:pt x="5828" y="158249"/>
                    <a:pt x="12923" y="158249"/>
                  </a:cubicBezTo>
                  <a:lnTo>
                    <a:pt x="213618" y="158249"/>
                  </a:lnTo>
                  <a:cubicBezTo>
                    <a:pt x="220724" y="158249"/>
                    <a:pt x="226540" y="152528"/>
                    <a:pt x="226540" y="145565"/>
                  </a:cubicBezTo>
                  <a:lnTo>
                    <a:pt x="226540" y="0"/>
                  </a:lnTo>
                  <a:lnTo>
                    <a:pt x="210142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478" name="Gráfico 9">
            <a:extLst>
              <a:ext uri="{FF2B5EF4-FFF2-40B4-BE49-F238E27FC236}">
                <a16:creationId xmlns:a16="http://schemas.microsoft.com/office/drawing/2014/main" id="{BD769F83-A433-53B7-1928-6D03AF25EBDC}"/>
              </a:ext>
            </a:extLst>
          </p:cNvPr>
          <p:cNvGrpSpPr/>
          <p:nvPr/>
        </p:nvGrpSpPr>
        <p:grpSpPr>
          <a:xfrm>
            <a:off x="6301800" y="3131872"/>
            <a:ext cx="258106" cy="248767"/>
            <a:chOff x="6301800" y="3131872"/>
            <a:chExt cx="258106" cy="248767"/>
          </a:xfrm>
          <a:noFill/>
        </p:grpSpPr>
        <p:sp>
          <p:nvSpPr>
            <p:cNvPr id="479" name="Forma livre: Forma 478">
              <a:extLst>
                <a:ext uri="{FF2B5EF4-FFF2-40B4-BE49-F238E27FC236}">
                  <a16:creationId xmlns:a16="http://schemas.microsoft.com/office/drawing/2014/main" id="{EA997532-2506-9CB1-08E6-63FB5B81B880}"/>
                </a:ext>
              </a:extLst>
            </p:cNvPr>
            <p:cNvSpPr/>
            <p:nvPr/>
          </p:nvSpPr>
          <p:spPr>
            <a:xfrm>
              <a:off x="6527899" y="3161241"/>
              <a:ext cx="32008" cy="52550"/>
            </a:xfrm>
            <a:custGeom>
              <a:avLst/>
              <a:gdLst>
                <a:gd name="connsiteX0" fmla="*/ 0 w 32008"/>
                <a:gd name="connsiteY0" fmla="*/ 52551 h 52550"/>
                <a:gd name="connsiteX1" fmla="*/ 32008 w 32008"/>
                <a:gd name="connsiteY1" fmla="*/ 52551 h 52550"/>
                <a:gd name="connsiteX2" fmla="*/ 32008 w 32008"/>
                <a:gd name="connsiteY2" fmla="*/ 0 h 52550"/>
                <a:gd name="connsiteX3" fmla="*/ 0 w 32008"/>
                <a:gd name="connsiteY3" fmla="*/ 0 h 525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2008" h="52550">
                  <a:moveTo>
                    <a:pt x="0" y="52551"/>
                  </a:moveTo>
                  <a:lnTo>
                    <a:pt x="32008" y="52551"/>
                  </a:lnTo>
                  <a:lnTo>
                    <a:pt x="32008" y="0"/>
                  </a:lnTo>
                  <a:lnTo>
                    <a:pt x="0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80" name="Forma livre: Forma 479">
              <a:extLst>
                <a:ext uri="{FF2B5EF4-FFF2-40B4-BE49-F238E27FC236}">
                  <a16:creationId xmlns:a16="http://schemas.microsoft.com/office/drawing/2014/main" id="{004EB976-2A6C-D294-05F5-158F8656E657}"/>
                </a:ext>
              </a:extLst>
            </p:cNvPr>
            <p:cNvSpPr/>
            <p:nvPr/>
          </p:nvSpPr>
          <p:spPr>
            <a:xfrm>
              <a:off x="6301800" y="3191804"/>
              <a:ext cx="44082" cy="1194"/>
            </a:xfrm>
            <a:custGeom>
              <a:avLst/>
              <a:gdLst>
                <a:gd name="connsiteX0" fmla="*/ 44083 w 44082"/>
                <a:gd name="connsiteY0" fmla="*/ 0 h 1194"/>
                <a:gd name="connsiteX1" fmla="*/ 0 w 44082"/>
                <a:gd name="connsiteY1" fmla="*/ 0 h 11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4082" h="1194">
                  <a:moveTo>
                    <a:pt x="44083" y="0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81" name="Forma livre: Forma 480">
              <a:extLst>
                <a:ext uri="{FF2B5EF4-FFF2-40B4-BE49-F238E27FC236}">
                  <a16:creationId xmlns:a16="http://schemas.microsoft.com/office/drawing/2014/main" id="{D4CA12B6-0476-B392-7A69-4A5F3D802771}"/>
                </a:ext>
              </a:extLst>
            </p:cNvPr>
            <p:cNvSpPr/>
            <p:nvPr/>
          </p:nvSpPr>
          <p:spPr>
            <a:xfrm>
              <a:off x="6384783" y="3172140"/>
              <a:ext cx="94124" cy="168131"/>
            </a:xfrm>
            <a:custGeom>
              <a:avLst/>
              <a:gdLst>
                <a:gd name="connsiteX0" fmla="*/ 78419 w 94124"/>
                <a:gd name="connsiteY0" fmla="*/ 122065 h 168131"/>
                <a:gd name="connsiteX1" fmla="*/ 69258 w 94124"/>
                <a:gd name="connsiteY1" fmla="*/ 116655 h 168131"/>
                <a:gd name="connsiteX2" fmla="*/ 51869 w 94124"/>
                <a:gd name="connsiteY2" fmla="*/ 117120 h 168131"/>
                <a:gd name="connsiteX3" fmla="*/ 40630 w 94124"/>
                <a:gd name="connsiteY3" fmla="*/ 87429 h 168131"/>
                <a:gd name="connsiteX4" fmla="*/ 40642 w 94124"/>
                <a:gd name="connsiteY4" fmla="*/ 87429 h 168131"/>
                <a:gd name="connsiteX5" fmla="*/ 40594 w 94124"/>
                <a:gd name="connsiteY5" fmla="*/ 87274 h 168131"/>
                <a:gd name="connsiteX6" fmla="*/ 40547 w 94124"/>
                <a:gd name="connsiteY6" fmla="*/ 87119 h 168131"/>
                <a:gd name="connsiteX7" fmla="*/ 40535 w 94124"/>
                <a:gd name="connsiteY7" fmla="*/ 87119 h 168131"/>
                <a:gd name="connsiteX8" fmla="*/ 32557 w 94124"/>
                <a:gd name="connsiteY8" fmla="*/ 56389 h 168131"/>
                <a:gd name="connsiteX9" fmla="*/ 47032 w 94124"/>
                <a:gd name="connsiteY9" fmla="*/ 46727 h 168131"/>
                <a:gd name="connsiteX10" fmla="*/ 51379 w 94124"/>
                <a:gd name="connsiteY10" fmla="*/ 37005 h 168131"/>
                <a:gd name="connsiteX11" fmla="*/ 48035 w 94124"/>
                <a:gd name="connsiteY11" fmla="*/ 6848 h 168131"/>
                <a:gd name="connsiteX12" fmla="*/ 43724 w 94124"/>
                <a:gd name="connsiteY12" fmla="*/ 781 h 168131"/>
                <a:gd name="connsiteX13" fmla="*/ 21533 w 94124"/>
                <a:gd name="connsiteY13" fmla="*/ 3970 h 168131"/>
                <a:gd name="connsiteX14" fmla="*/ 3976 w 94124"/>
                <a:gd name="connsiteY14" fmla="*/ 14301 h 168131"/>
                <a:gd name="connsiteX15" fmla="*/ 10485 w 94124"/>
                <a:gd name="connsiteY15" fmla="*/ 96829 h 168131"/>
                <a:gd name="connsiteX16" fmla="*/ 52824 w 94124"/>
                <a:gd name="connsiteY16" fmla="*/ 167975 h 168131"/>
                <a:gd name="connsiteX17" fmla="*/ 73116 w 94124"/>
                <a:gd name="connsiteY17" fmla="*/ 166279 h 168131"/>
                <a:gd name="connsiteX18" fmla="*/ 93061 w 94124"/>
                <a:gd name="connsiteY18" fmla="*/ 156068 h 168131"/>
                <a:gd name="connsiteX19" fmla="*/ 93085 w 94124"/>
                <a:gd name="connsiteY19" fmla="*/ 148627 h 168131"/>
                <a:gd name="connsiteX20" fmla="*/ 78395 w 94124"/>
                <a:gd name="connsiteY20" fmla="*/ 122065 h 1681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94124" h="168131">
                  <a:moveTo>
                    <a:pt x="78419" y="122065"/>
                  </a:moveTo>
                  <a:cubicBezTo>
                    <a:pt x="78419" y="122065"/>
                    <a:pt x="76341" y="116475"/>
                    <a:pt x="69258" y="116655"/>
                  </a:cubicBezTo>
                  <a:lnTo>
                    <a:pt x="51869" y="117120"/>
                  </a:lnTo>
                  <a:cubicBezTo>
                    <a:pt x="51869" y="117120"/>
                    <a:pt x="43915" y="99480"/>
                    <a:pt x="40630" y="87429"/>
                  </a:cubicBezTo>
                  <a:lnTo>
                    <a:pt x="40642" y="87429"/>
                  </a:lnTo>
                  <a:cubicBezTo>
                    <a:pt x="40642" y="87429"/>
                    <a:pt x="40606" y="87322"/>
                    <a:pt x="40594" y="87274"/>
                  </a:cubicBezTo>
                  <a:cubicBezTo>
                    <a:pt x="40571" y="87214"/>
                    <a:pt x="40559" y="87167"/>
                    <a:pt x="40547" y="87119"/>
                  </a:cubicBezTo>
                  <a:lnTo>
                    <a:pt x="40535" y="87119"/>
                  </a:lnTo>
                  <a:cubicBezTo>
                    <a:pt x="36259" y="75379"/>
                    <a:pt x="32557" y="56389"/>
                    <a:pt x="32557" y="56389"/>
                  </a:cubicBezTo>
                  <a:lnTo>
                    <a:pt x="47032" y="46727"/>
                  </a:lnTo>
                  <a:cubicBezTo>
                    <a:pt x="52920" y="42773"/>
                    <a:pt x="51379" y="37005"/>
                    <a:pt x="51379" y="37005"/>
                  </a:cubicBezTo>
                  <a:lnTo>
                    <a:pt x="48035" y="6848"/>
                  </a:lnTo>
                  <a:cubicBezTo>
                    <a:pt x="47295" y="1724"/>
                    <a:pt x="43724" y="781"/>
                    <a:pt x="43724" y="781"/>
                  </a:cubicBezTo>
                  <a:cubicBezTo>
                    <a:pt x="39532" y="-1154"/>
                    <a:pt x="30741" y="733"/>
                    <a:pt x="21533" y="3970"/>
                  </a:cubicBezTo>
                  <a:cubicBezTo>
                    <a:pt x="12325" y="7206"/>
                    <a:pt x="3976" y="14301"/>
                    <a:pt x="3976" y="14301"/>
                  </a:cubicBezTo>
                  <a:cubicBezTo>
                    <a:pt x="-7489" y="47013"/>
                    <a:pt x="9375" y="92995"/>
                    <a:pt x="10485" y="96829"/>
                  </a:cubicBezTo>
                  <a:cubicBezTo>
                    <a:pt x="12205" y="101618"/>
                    <a:pt x="24579" y="147886"/>
                    <a:pt x="52824" y="167975"/>
                  </a:cubicBezTo>
                  <a:cubicBezTo>
                    <a:pt x="52824" y="167975"/>
                    <a:pt x="64063" y="168895"/>
                    <a:pt x="73116" y="166279"/>
                  </a:cubicBezTo>
                  <a:cubicBezTo>
                    <a:pt x="82181" y="163663"/>
                    <a:pt x="90768" y="160069"/>
                    <a:pt x="93061" y="156068"/>
                  </a:cubicBezTo>
                  <a:cubicBezTo>
                    <a:pt x="93061" y="156068"/>
                    <a:pt x="95438" y="153225"/>
                    <a:pt x="93085" y="148627"/>
                  </a:cubicBezTo>
                  <a:lnTo>
                    <a:pt x="78395" y="122065"/>
                  </a:lnTo>
                  <a:close/>
                </a:path>
              </a:pathLst>
            </a:custGeom>
            <a:noFill/>
            <a:ln w="6350" cap="sq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482" name="Gráfico 9">
              <a:extLst>
                <a:ext uri="{FF2B5EF4-FFF2-40B4-BE49-F238E27FC236}">
                  <a16:creationId xmlns:a16="http://schemas.microsoft.com/office/drawing/2014/main" id="{BC99C7AE-A534-3F17-EDF9-2E0AC9335198}"/>
                </a:ext>
              </a:extLst>
            </p:cNvPr>
            <p:cNvGrpSpPr/>
            <p:nvPr/>
          </p:nvGrpSpPr>
          <p:grpSpPr>
            <a:xfrm>
              <a:off x="6301800" y="3214675"/>
              <a:ext cx="44082" cy="39424"/>
              <a:chOff x="6301800" y="3214675"/>
              <a:chExt cx="44082" cy="39424"/>
            </a:xfrm>
          </p:grpSpPr>
          <p:sp>
            <p:nvSpPr>
              <p:cNvPr id="483" name="Forma livre: Forma 482">
                <a:extLst>
                  <a:ext uri="{FF2B5EF4-FFF2-40B4-BE49-F238E27FC236}">
                    <a16:creationId xmlns:a16="http://schemas.microsoft.com/office/drawing/2014/main" id="{B6AAF262-B1F9-7B48-89F8-062D8182992B}"/>
                  </a:ext>
                </a:extLst>
              </p:cNvPr>
              <p:cNvSpPr/>
              <p:nvPr/>
            </p:nvSpPr>
            <p:spPr>
              <a:xfrm>
                <a:off x="6301800" y="3254100"/>
                <a:ext cx="44082" cy="1194"/>
              </a:xfrm>
              <a:custGeom>
                <a:avLst/>
                <a:gdLst>
                  <a:gd name="connsiteX0" fmla="*/ 44083 w 44082"/>
                  <a:gd name="connsiteY0" fmla="*/ 0 h 1194"/>
                  <a:gd name="connsiteX1" fmla="*/ 0 w 44082"/>
                  <a:gd name="connsiteY1" fmla="*/ 0 h 11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4082" h="1194">
                    <a:moveTo>
                      <a:pt x="44083" y="0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84" name="Forma livre: Forma 483">
                <a:extLst>
                  <a:ext uri="{FF2B5EF4-FFF2-40B4-BE49-F238E27FC236}">
                    <a16:creationId xmlns:a16="http://schemas.microsoft.com/office/drawing/2014/main" id="{07796508-2C98-3874-31CA-758FFB19FA3B}"/>
                  </a:ext>
                </a:extLst>
              </p:cNvPr>
              <p:cNvSpPr/>
              <p:nvPr/>
            </p:nvSpPr>
            <p:spPr>
              <a:xfrm>
                <a:off x="6321447" y="3214675"/>
                <a:ext cx="1194" cy="39209"/>
              </a:xfrm>
              <a:custGeom>
                <a:avLst/>
                <a:gdLst>
                  <a:gd name="connsiteX0" fmla="*/ 0 w 1194"/>
                  <a:gd name="connsiteY0" fmla="*/ 39210 h 39209"/>
                  <a:gd name="connsiteX1" fmla="*/ 0 w 1194"/>
                  <a:gd name="connsiteY1" fmla="*/ 0 h 392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4" h="39209">
                    <a:moveTo>
                      <a:pt x="0" y="39210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485" name="Forma livre: Forma 484">
              <a:extLst>
                <a:ext uri="{FF2B5EF4-FFF2-40B4-BE49-F238E27FC236}">
                  <a16:creationId xmlns:a16="http://schemas.microsoft.com/office/drawing/2014/main" id="{249B1002-8BCC-C287-645E-3554C96E8B84}"/>
                </a:ext>
              </a:extLst>
            </p:cNvPr>
            <p:cNvSpPr/>
            <p:nvPr/>
          </p:nvSpPr>
          <p:spPr>
            <a:xfrm>
              <a:off x="6321447" y="3131872"/>
              <a:ext cx="205353" cy="248767"/>
            </a:xfrm>
            <a:custGeom>
              <a:avLst/>
              <a:gdLst>
                <a:gd name="connsiteX0" fmla="*/ 0 w 205353"/>
                <a:gd name="connsiteY0" fmla="*/ 60015 h 248767"/>
                <a:gd name="connsiteX1" fmla="*/ 0 w 205353"/>
                <a:gd name="connsiteY1" fmla="*/ 23887 h 248767"/>
                <a:gd name="connsiteX2" fmla="*/ 23887 w 205353"/>
                <a:gd name="connsiteY2" fmla="*/ 0 h 248767"/>
                <a:gd name="connsiteX3" fmla="*/ 181467 w 205353"/>
                <a:gd name="connsiteY3" fmla="*/ 0 h 248767"/>
                <a:gd name="connsiteX4" fmla="*/ 205353 w 205353"/>
                <a:gd name="connsiteY4" fmla="*/ 23887 h 248767"/>
                <a:gd name="connsiteX5" fmla="*/ 205353 w 205353"/>
                <a:gd name="connsiteY5" fmla="*/ 224881 h 248767"/>
                <a:gd name="connsiteX6" fmla="*/ 181467 w 205353"/>
                <a:gd name="connsiteY6" fmla="*/ 248767 h 248767"/>
                <a:gd name="connsiteX7" fmla="*/ 23887 w 205353"/>
                <a:gd name="connsiteY7" fmla="*/ 248767 h 248767"/>
                <a:gd name="connsiteX8" fmla="*/ 0 w 205353"/>
                <a:gd name="connsiteY8" fmla="*/ 224881 h 248767"/>
                <a:gd name="connsiteX9" fmla="*/ 0 w 205353"/>
                <a:gd name="connsiteY9" fmla="*/ 208459 h 2487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05353" h="248767">
                  <a:moveTo>
                    <a:pt x="0" y="60015"/>
                  </a:moveTo>
                  <a:lnTo>
                    <a:pt x="0" y="23887"/>
                  </a:lnTo>
                  <a:cubicBezTo>
                    <a:pt x="0" y="10749"/>
                    <a:pt x="10749" y="0"/>
                    <a:pt x="23887" y="0"/>
                  </a:cubicBezTo>
                  <a:lnTo>
                    <a:pt x="181467" y="0"/>
                  </a:lnTo>
                  <a:cubicBezTo>
                    <a:pt x="194604" y="0"/>
                    <a:pt x="205353" y="10749"/>
                    <a:pt x="205353" y="23887"/>
                  </a:cubicBezTo>
                  <a:lnTo>
                    <a:pt x="205353" y="224881"/>
                  </a:lnTo>
                  <a:cubicBezTo>
                    <a:pt x="205353" y="238018"/>
                    <a:pt x="194604" y="248767"/>
                    <a:pt x="181467" y="248767"/>
                  </a:cubicBezTo>
                  <a:lnTo>
                    <a:pt x="23887" y="248767"/>
                  </a:lnTo>
                  <a:cubicBezTo>
                    <a:pt x="10749" y="248767"/>
                    <a:pt x="0" y="238018"/>
                    <a:pt x="0" y="224881"/>
                  </a:cubicBezTo>
                  <a:lnTo>
                    <a:pt x="0" y="208459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86" name="Forma livre: Forma 485">
              <a:extLst>
                <a:ext uri="{FF2B5EF4-FFF2-40B4-BE49-F238E27FC236}">
                  <a16:creationId xmlns:a16="http://schemas.microsoft.com/office/drawing/2014/main" id="{4106186D-06CE-3889-77CF-6F6F1766C97E}"/>
                </a:ext>
              </a:extLst>
            </p:cNvPr>
            <p:cNvSpPr/>
            <p:nvPr/>
          </p:nvSpPr>
          <p:spPr>
            <a:xfrm>
              <a:off x="6527755" y="3239063"/>
              <a:ext cx="32019" cy="42554"/>
            </a:xfrm>
            <a:custGeom>
              <a:avLst/>
              <a:gdLst>
                <a:gd name="connsiteX0" fmla="*/ 0 w 32019"/>
                <a:gd name="connsiteY0" fmla="*/ 42554 h 42554"/>
                <a:gd name="connsiteX1" fmla="*/ 32020 w 32019"/>
                <a:gd name="connsiteY1" fmla="*/ 42554 h 42554"/>
                <a:gd name="connsiteX2" fmla="*/ 32020 w 32019"/>
                <a:gd name="connsiteY2" fmla="*/ 0 h 425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2019" h="42554">
                  <a:moveTo>
                    <a:pt x="0" y="42554"/>
                  </a:moveTo>
                  <a:lnTo>
                    <a:pt x="32020" y="42554"/>
                  </a:lnTo>
                  <a:lnTo>
                    <a:pt x="32020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87" name="Forma livre: Forma 486">
              <a:extLst>
                <a:ext uri="{FF2B5EF4-FFF2-40B4-BE49-F238E27FC236}">
                  <a16:creationId xmlns:a16="http://schemas.microsoft.com/office/drawing/2014/main" id="{914F08C6-485C-5265-F925-4AC4D79D0918}"/>
                </a:ext>
              </a:extLst>
            </p:cNvPr>
            <p:cNvSpPr/>
            <p:nvPr/>
          </p:nvSpPr>
          <p:spPr>
            <a:xfrm>
              <a:off x="6527755" y="3306734"/>
              <a:ext cx="32019" cy="42565"/>
            </a:xfrm>
            <a:custGeom>
              <a:avLst/>
              <a:gdLst>
                <a:gd name="connsiteX0" fmla="*/ 0 w 32019"/>
                <a:gd name="connsiteY0" fmla="*/ 42566 h 42565"/>
                <a:gd name="connsiteX1" fmla="*/ 32020 w 32019"/>
                <a:gd name="connsiteY1" fmla="*/ 42566 h 42565"/>
                <a:gd name="connsiteX2" fmla="*/ 32020 w 32019"/>
                <a:gd name="connsiteY2" fmla="*/ 0 h 425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2019" h="42565">
                  <a:moveTo>
                    <a:pt x="0" y="42566"/>
                  </a:moveTo>
                  <a:lnTo>
                    <a:pt x="32020" y="42566"/>
                  </a:lnTo>
                  <a:lnTo>
                    <a:pt x="32020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488" name="Gráfico 9">
              <a:extLst>
                <a:ext uri="{FF2B5EF4-FFF2-40B4-BE49-F238E27FC236}">
                  <a16:creationId xmlns:a16="http://schemas.microsoft.com/office/drawing/2014/main" id="{D05D6837-2B07-63FB-A97B-ECA2593A3BDB}"/>
                </a:ext>
              </a:extLst>
            </p:cNvPr>
            <p:cNvGrpSpPr/>
            <p:nvPr/>
          </p:nvGrpSpPr>
          <p:grpSpPr>
            <a:xfrm>
              <a:off x="6301800" y="3277855"/>
              <a:ext cx="44082" cy="39412"/>
              <a:chOff x="6301800" y="3277855"/>
              <a:chExt cx="44082" cy="39412"/>
            </a:xfrm>
          </p:grpSpPr>
          <p:sp>
            <p:nvSpPr>
              <p:cNvPr id="489" name="Forma livre: Forma 488">
                <a:extLst>
                  <a:ext uri="{FF2B5EF4-FFF2-40B4-BE49-F238E27FC236}">
                    <a16:creationId xmlns:a16="http://schemas.microsoft.com/office/drawing/2014/main" id="{4A7ED25A-9ED7-CE3D-6D1E-E04348C64010}"/>
                  </a:ext>
                </a:extLst>
              </p:cNvPr>
              <p:cNvSpPr/>
              <p:nvPr/>
            </p:nvSpPr>
            <p:spPr>
              <a:xfrm>
                <a:off x="6301800" y="3317268"/>
                <a:ext cx="44082" cy="1194"/>
              </a:xfrm>
              <a:custGeom>
                <a:avLst/>
                <a:gdLst>
                  <a:gd name="connsiteX0" fmla="*/ 44083 w 44082"/>
                  <a:gd name="connsiteY0" fmla="*/ 0 h 1194"/>
                  <a:gd name="connsiteX1" fmla="*/ 0 w 44082"/>
                  <a:gd name="connsiteY1" fmla="*/ 0 h 11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4082" h="1194">
                    <a:moveTo>
                      <a:pt x="44083" y="0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90" name="Forma livre: Forma 489">
                <a:extLst>
                  <a:ext uri="{FF2B5EF4-FFF2-40B4-BE49-F238E27FC236}">
                    <a16:creationId xmlns:a16="http://schemas.microsoft.com/office/drawing/2014/main" id="{D0C4116B-FECC-7025-57DC-1FC8F01428A1}"/>
                  </a:ext>
                </a:extLst>
              </p:cNvPr>
              <p:cNvSpPr/>
              <p:nvPr/>
            </p:nvSpPr>
            <p:spPr>
              <a:xfrm>
                <a:off x="6321447" y="3277855"/>
                <a:ext cx="1194" cy="39209"/>
              </a:xfrm>
              <a:custGeom>
                <a:avLst/>
                <a:gdLst>
                  <a:gd name="connsiteX0" fmla="*/ 0 w 1194"/>
                  <a:gd name="connsiteY0" fmla="*/ 39210 h 39209"/>
                  <a:gd name="connsiteX1" fmla="*/ 0 w 1194"/>
                  <a:gd name="connsiteY1" fmla="*/ 0 h 392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4" h="39209">
                    <a:moveTo>
                      <a:pt x="0" y="39210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491" name="Gráfico 9">
            <a:extLst>
              <a:ext uri="{FF2B5EF4-FFF2-40B4-BE49-F238E27FC236}">
                <a16:creationId xmlns:a16="http://schemas.microsoft.com/office/drawing/2014/main" id="{0D07DBA7-8E01-4A3F-5F7D-62F4EB86461B}"/>
              </a:ext>
            </a:extLst>
          </p:cNvPr>
          <p:cNvGrpSpPr/>
          <p:nvPr/>
        </p:nvGrpSpPr>
        <p:grpSpPr>
          <a:xfrm>
            <a:off x="6910705" y="3106564"/>
            <a:ext cx="287248" cy="299382"/>
            <a:chOff x="6910705" y="3106564"/>
            <a:chExt cx="287248" cy="299382"/>
          </a:xfrm>
          <a:noFill/>
        </p:grpSpPr>
        <p:sp>
          <p:nvSpPr>
            <p:cNvPr id="492" name="Forma livre: Forma 491">
              <a:extLst>
                <a:ext uri="{FF2B5EF4-FFF2-40B4-BE49-F238E27FC236}">
                  <a16:creationId xmlns:a16="http://schemas.microsoft.com/office/drawing/2014/main" id="{911A8D01-35E0-7FFB-802D-818495EAB5E1}"/>
                </a:ext>
              </a:extLst>
            </p:cNvPr>
            <p:cNvSpPr/>
            <p:nvPr/>
          </p:nvSpPr>
          <p:spPr>
            <a:xfrm>
              <a:off x="7024716" y="3148843"/>
              <a:ext cx="1612" cy="24746"/>
            </a:xfrm>
            <a:custGeom>
              <a:avLst/>
              <a:gdLst>
                <a:gd name="connsiteX0" fmla="*/ 0 w 1612"/>
                <a:gd name="connsiteY0" fmla="*/ 0 h 24746"/>
                <a:gd name="connsiteX1" fmla="*/ 1612 w 1612"/>
                <a:gd name="connsiteY1" fmla="*/ 24747 h 247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612" h="24746">
                  <a:moveTo>
                    <a:pt x="0" y="0"/>
                  </a:moveTo>
                  <a:lnTo>
                    <a:pt x="1612" y="24747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93" name="Forma livre: Forma 492">
              <a:extLst>
                <a:ext uri="{FF2B5EF4-FFF2-40B4-BE49-F238E27FC236}">
                  <a16:creationId xmlns:a16="http://schemas.microsoft.com/office/drawing/2014/main" id="{519F7C6A-94C9-7E0F-E2BA-F4F65BCD251E}"/>
                </a:ext>
              </a:extLst>
            </p:cNvPr>
            <p:cNvSpPr/>
            <p:nvPr/>
          </p:nvSpPr>
          <p:spPr>
            <a:xfrm>
              <a:off x="7003089" y="3106801"/>
              <a:ext cx="40642" cy="40626"/>
            </a:xfrm>
            <a:custGeom>
              <a:avLst/>
              <a:gdLst>
                <a:gd name="connsiteX0" fmla="*/ 16229 w 40642"/>
                <a:gd name="connsiteY0" fmla="*/ 420 h 40626"/>
                <a:gd name="connsiteX1" fmla="*/ 40223 w 40642"/>
                <a:gd name="connsiteY1" fmla="*/ 16209 h 40626"/>
                <a:gd name="connsiteX2" fmla="*/ 24422 w 40642"/>
                <a:gd name="connsiteY2" fmla="*/ 40203 h 40626"/>
                <a:gd name="connsiteX3" fmla="*/ 416 w 40642"/>
                <a:gd name="connsiteY3" fmla="*/ 24402 h 40626"/>
                <a:gd name="connsiteX4" fmla="*/ 16229 w 40642"/>
                <a:gd name="connsiteY4" fmla="*/ 420 h 406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0642" h="40626">
                  <a:moveTo>
                    <a:pt x="16229" y="420"/>
                  </a:moveTo>
                  <a:cubicBezTo>
                    <a:pt x="27217" y="-1837"/>
                    <a:pt x="37954" y="5233"/>
                    <a:pt x="40223" y="16209"/>
                  </a:cubicBezTo>
                  <a:cubicBezTo>
                    <a:pt x="42480" y="27209"/>
                    <a:pt x="35410" y="37946"/>
                    <a:pt x="24422" y="40203"/>
                  </a:cubicBezTo>
                  <a:cubicBezTo>
                    <a:pt x="13434" y="42472"/>
                    <a:pt x="2685" y="35390"/>
                    <a:pt x="416" y="24402"/>
                  </a:cubicBezTo>
                  <a:cubicBezTo>
                    <a:pt x="-1829" y="13438"/>
                    <a:pt x="5241" y="2689"/>
                    <a:pt x="16229" y="420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94" name="Forma livre: Forma 493">
              <a:extLst>
                <a:ext uri="{FF2B5EF4-FFF2-40B4-BE49-F238E27FC236}">
                  <a16:creationId xmlns:a16="http://schemas.microsoft.com/office/drawing/2014/main" id="{5A3C8BF6-6AE9-8D24-50E7-A147B5DA3C6F}"/>
                </a:ext>
              </a:extLst>
            </p:cNvPr>
            <p:cNvSpPr/>
            <p:nvPr/>
          </p:nvSpPr>
          <p:spPr>
            <a:xfrm>
              <a:off x="7131692" y="3287804"/>
              <a:ext cx="37406" cy="70501"/>
            </a:xfrm>
            <a:custGeom>
              <a:avLst/>
              <a:gdLst>
                <a:gd name="connsiteX0" fmla="*/ 16303 w 37406"/>
                <a:gd name="connsiteY0" fmla="*/ 70501 h 70501"/>
                <a:gd name="connsiteX1" fmla="*/ 0 w 37406"/>
                <a:gd name="connsiteY1" fmla="*/ 10092 h 70501"/>
                <a:gd name="connsiteX2" fmla="*/ 37406 w 37406"/>
                <a:gd name="connsiteY2" fmla="*/ 0 h 705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7406" h="70501">
                  <a:moveTo>
                    <a:pt x="16303" y="70501"/>
                  </a:moveTo>
                  <a:lnTo>
                    <a:pt x="0" y="10092"/>
                  </a:lnTo>
                  <a:lnTo>
                    <a:pt x="37406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95" name="Forma livre: Forma 494">
              <a:extLst>
                <a:ext uri="{FF2B5EF4-FFF2-40B4-BE49-F238E27FC236}">
                  <a16:creationId xmlns:a16="http://schemas.microsoft.com/office/drawing/2014/main" id="{A26ED82B-882A-7634-962E-8A36BFA5CF44}"/>
                </a:ext>
              </a:extLst>
            </p:cNvPr>
            <p:cNvSpPr/>
            <p:nvPr/>
          </p:nvSpPr>
          <p:spPr>
            <a:xfrm>
              <a:off x="6978388" y="3202839"/>
              <a:ext cx="146436" cy="39544"/>
            </a:xfrm>
            <a:custGeom>
              <a:avLst/>
              <a:gdLst>
                <a:gd name="connsiteX0" fmla="*/ 0 w 146436"/>
                <a:gd name="connsiteY0" fmla="*/ 39544 h 39544"/>
                <a:gd name="connsiteX1" fmla="*/ 146437 w 146436"/>
                <a:gd name="connsiteY1" fmla="*/ 0 h 395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46436" h="39544">
                  <a:moveTo>
                    <a:pt x="0" y="39544"/>
                  </a:moveTo>
                  <a:lnTo>
                    <a:pt x="146437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96" name="Forma livre: Forma 495">
              <a:extLst>
                <a:ext uri="{FF2B5EF4-FFF2-40B4-BE49-F238E27FC236}">
                  <a16:creationId xmlns:a16="http://schemas.microsoft.com/office/drawing/2014/main" id="{DC01F27F-2260-EB8F-1064-6A89269411EF}"/>
                </a:ext>
              </a:extLst>
            </p:cNvPr>
            <p:cNvSpPr/>
            <p:nvPr/>
          </p:nvSpPr>
          <p:spPr>
            <a:xfrm>
              <a:off x="6989400" y="3243614"/>
              <a:ext cx="146436" cy="39544"/>
            </a:xfrm>
            <a:custGeom>
              <a:avLst/>
              <a:gdLst>
                <a:gd name="connsiteX0" fmla="*/ 0 w 146436"/>
                <a:gd name="connsiteY0" fmla="*/ 39544 h 39544"/>
                <a:gd name="connsiteX1" fmla="*/ 146437 w 146436"/>
                <a:gd name="connsiteY1" fmla="*/ 0 h 395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46436" h="39544">
                  <a:moveTo>
                    <a:pt x="0" y="39544"/>
                  </a:moveTo>
                  <a:lnTo>
                    <a:pt x="146437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97" name="Forma livre: Forma 496">
              <a:extLst>
                <a:ext uri="{FF2B5EF4-FFF2-40B4-BE49-F238E27FC236}">
                  <a16:creationId xmlns:a16="http://schemas.microsoft.com/office/drawing/2014/main" id="{3F0423FC-720C-D971-732A-732E1A4A4E25}"/>
                </a:ext>
              </a:extLst>
            </p:cNvPr>
            <p:cNvSpPr/>
            <p:nvPr/>
          </p:nvSpPr>
          <p:spPr>
            <a:xfrm>
              <a:off x="6910705" y="3106564"/>
              <a:ext cx="287248" cy="299382"/>
            </a:xfrm>
            <a:custGeom>
              <a:avLst/>
              <a:gdLst>
                <a:gd name="connsiteX0" fmla="*/ 74383 w 287248"/>
                <a:gd name="connsiteY0" fmla="*/ 43748 h 299382"/>
                <a:gd name="connsiteX1" fmla="*/ 0 w 287248"/>
                <a:gd name="connsiteY1" fmla="*/ 63825 h 299382"/>
                <a:gd name="connsiteX2" fmla="*/ 63598 w 287248"/>
                <a:gd name="connsiteY2" fmla="*/ 299383 h 299382"/>
                <a:gd name="connsiteX3" fmla="*/ 245495 w 287248"/>
                <a:gd name="connsiteY3" fmla="*/ 250272 h 299382"/>
                <a:gd name="connsiteX4" fmla="*/ 287248 w 287248"/>
                <a:gd name="connsiteY4" fmla="*/ 188382 h 299382"/>
                <a:gd name="connsiteX5" fmla="*/ 236382 w 287248"/>
                <a:gd name="connsiteY5" fmla="*/ 0 h 299382"/>
                <a:gd name="connsiteX6" fmla="*/ 157520 w 287248"/>
                <a:gd name="connsiteY6" fmla="*/ 21283 h 2993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87248" h="299382">
                  <a:moveTo>
                    <a:pt x="74383" y="43748"/>
                  </a:moveTo>
                  <a:lnTo>
                    <a:pt x="0" y="63825"/>
                  </a:lnTo>
                  <a:lnTo>
                    <a:pt x="63598" y="299383"/>
                  </a:lnTo>
                  <a:lnTo>
                    <a:pt x="245495" y="250272"/>
                  </a:lnTo>
                  <a:lnTo>
                    <a:pt x="287248" y="188382"/>
                  </a:lnTo>
                  <a:lnTo>
                    <a:pt x="236382" y="0"/>
                  </a:lnTo>
                  <a:lnTo>
                    <a:pt x="157520" y="21283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sp>
        <p:nvSpPr>
          <p:cNvPr id="499" name="Forma livre: Forma 498">
            <a:extLst>
              <a:ext uri="{FF2B5EF4-FFF2-40B4-BE49-F238E27FC236}">
                <a16:creationId xmlns:a16="http://schemas.microsoft.com/office/drawing/2014/main" id="{EC4AB560-5DEC-AF8C-FB16-98A07011E8ED}"/>
              </a:ext>
            </a:extLst>
          </p:cNvPr>
          <p:cNvSpPr/>
          <p:nvPr/>
        </p:nvSpPr>
        <p:spPr>
          <a:xfrm>
            <a:off x="7552076" y="2087251"/>
            <a:ext cx="242744" cy="220365"/>
          </a:xfrm>
          <a:custGeom>
            <a:avLst/>
            <a:gdLst>
              <a:gd name="connsiteX0" fmla="*/ 48797 w 242744"/>
              <a:gd name="connsiteY0" fmla="*/ 157532 h 220365"/>
              <a:gd name="connsiteX1" fmla="*/ 143209 w 242744"/>
              <a:gd name="connsiteY1" fmla="*/ 63120 h 220365"/>
              <a:gd name="connsiteX2" fmla="*/ 156729 w 242744"/>
              <a:gd name="connsiteY2" fmla="*/ 63120 h 220365"/>
              <a:gd name="connsiteX3" fmla="*/ 179612 w 242744"/>
              <a:gd name="connsiteY3" fmla="*/ 86004 h 220365"/>
              <a:gd name="connsiteX4" fmla="*/ 179612 w 242744"/>
              <a:gd name="connsiteY4" fmla="*/ 99512 h 220365"/>
              <a:gd name="connsiteX5" fmla="*/ 71418 w 242744"/>
              <a:gd name="connsiteY5" fmla="*/ 207706 h 220365"/>
              <a:gd name="connsiteX6" fmla="*/ 30882 w 242744"/>
              <a:gd name="connsiteY6" fmla="*/ 207706 h 220365"/>
              <a:gd name="connsiteX7" fmla="*/ 8357 w 242744"/>
              <a:gd name="connsiteY7" fmla="*/ 185181 h 220365"/>
              <a:gd name="connsiteX8" fmla="*/ 8357 w 242744"/>
              <a:gd name="connsiteY8" fmla="*/ 144645 h 220365"/>
              <a:gd name="connsiteX9" fmla="*/ 126202 w 242744"/>
              <a:gd name="connsiteY9" fmla="*/ 26801 h 220365"/>
              <a:gd name="connsiteX10" fmla="*/ 164588 w 242744"/>
              <a:gd name="connsiteY10" fmla="*/ 2580 h 220365"/>
              <a:gd name="connsiteX11" fmla="*/ 218858 w 242744"/>
              <a:gd name="connsiteY11" fmla="*/ 0 h 220365"/>
              <a:gd name="connsiteX12" fmla="*/ 242745 w 242744"/>
              <a:gd name="connsiteY12" fmla="*/ 23887 h 220365"/>
              <a:gd name="connsiteX13" fmla="*/ 240165 w 242744"/>
              <a:gd name="connsiteY13" fmla="*/ 78169 h 220365"/>
              <a:gd name="connsiteX14" fmla="*/ 215860 w 242744"/>
              <a:gd name="connsiteY14" fmla="*/ 116340 h 220365"/>
              <a:gd name="connsiteX15" fmla="*/ 111834 w 242744"/>
              <a:gd name="connsiteY15" fmla="*/ 220366 h 2203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242744" h="220365">
                <a:moveTo>
                  <a:pt x="48797" y="157532"/>
                </a:moveTo>
                <a:lnTo>
                  <a:pt x="143209" y="63120"/>
                </a:lnTo>
                <a:cubicBezTo>
                  <a:pt x="146923" y="59394"/>
                  <a:pt x="153003" y="59394"/>
                  <a:pt x="156729" y="63120"/>
                </a:cubicBezTo>
                <a:lnTo>
                  <a:pt x="179612" y="86004"/>
                </a:lnTo>
                <a:cubicBezTo>
                  <a:pt x="183327" y="89718"/>
                  <a:pt x="183327" y="95797"/>
                  <a:pt x="179612" y="99512"/>
                </a:cubicBezTo>
                <a:lnTo>
                  <a:pt x="71418" y="207706"/>
                </a:lnTo>
                <a:cubicBezTo>
                  <a:pt x="60263" y="218861"/>
                  <a:pt x="42026" y="218861"/>
                  <a:pt x="30882" y="207706"/>
                </a:cubicBezTo>
                <a:lnTo>
                  <a:pt x="8357" y="185181"/>
                </a:lnTo>
                <a:cubicBezTo>
                  <a:pt x="-2786" y="174038"/>
                  <a:pt x="-2786" y="155789"/>
                  <a:pt x="8357" y="144645"/>
                </a:cubicBezTo>
                <a:lnTo>
                  <a:pt x="126202" y="26801"/>
                </a:lnTo>
                <a:cubicBezTo>
                  <a:pt x="143603" y="9399"/>
                  <a:pt x="151450" y="2580"/>
                  <a:pt x="164588" y="2580"/>
                </a:cubicBezTo>
                <a:lnTo>
                  <a:pt x="218858" y="0"/>
                </a:lnTo>
                <a:cubicBezTo>
                  <a:pt x="231996" y="0"/>
                  <a:pt x="242745" y="10749"/>
                  <a:pt x="242745" y="23887"/>
                </a:cubicBezTo>
                <a:lnTo>
                  <a:pt x="240165" y="78169"/>
                </a:lnTo>
                <a:cubicBezTo>
                  <a:pt x="240165" y="91307"/>
                  <a:pt x="233381" y="98807"/>
                  <a:pt x="215860" y="116340"/>
                </a:cubicBezTo>
                <a:lnTo>
                  <a:pt x="111834" y="220366"/>
                </a:lnTo>
              </a:path>
            </a:pathLst>
          </a:custGeom>
          <a:noFill/>
          <a:ln w="6350" cap="flat">
            <a:solidFill>
              <a:schemeClr val="accent2"/>
            </a:solidFill>
            <a:prstDash val="solid"/>
            <a:miter/>
          </a:ln>
        </p:spPr>
        <p:txBody>
          <a:bodyPr rtlCol="0" anchor="ctr"/>
          <a:lstStyle/>
          <a:p>
            <a:endParaRPr lang="pt-PT"/>
          </a:p>
        </p:txBody>
      </p:sp>
      <p:grpSp>
        <p:nvGrpSpPr>
          <p:cNvPr id="500" name="Gráfico 9">
            <a:extLst>
              <a:ext uri="{FF2B5EF4-FFF2-40B4-BE49-F238E27FC236}">
                <a16:creationId xmlns:a16="http://schemas.microsoft.com/office/drawing/2014/main" id="{80AAFC77-AFEB-3EBB-044E-E6E547C9A514}"/>
              </a:ext>
            </a:extLst>
          </p:cNvPr>
          <p:cNvGrpSpPr/>
          <p:nvPr/>
        </p:nvGrpSpPr>
        <p:grpSpPr>
          <a:xfrm>
            <a:off x="6286620" y="2063651"/>
            <a:ext cx="288464" cy="267530"/>
            <a:chOff x="6286620" y="2063651"/>
            <a:chExt cx="288464" cy="267530"/>
          </a:xfrm>
          <a:noFill/>
        </p:grpSpPr>
        <p:sp>
          <p:nvSpPr>
            <p:cNvPr id="501" name="Forma livre: Forma 500">
              <a:extLst>
                <a:ext uri="{FF2B5EF4-FFF2-40B4-BE49-F238E27FC236}">
                  <a16:creationId xmlns:a16="http://schemas.microsoft.com/office/drawing/2014/main" id="{6B7921BC-A82C-802D-CBC3-09916C7FBC85}"/>
                </a:ext>
              </a:extLst>
            </p:cNvPr>
            <p:cNvSpPr/>
            <p:nvPr/>
          </p:nvSpPr>
          <p:spPr>
            <a:xfrm>
              <a:off x="6286620" y="2063651"/>
              <a:ext cx="206678" cy="267530"/>
            </a:xfrm>
            <a:custGeom>
              <a:avLst/>
              <a:gdLst>
                <a:gd name="connsiteX0" fmla="*/ 206679 w 206678"/>
                <a:gd name="connsiteY0" fmla="*/ 221990 h 267530"/>
                <a:gd name="connsiteX1" fmla="*/ 206679 w 206678"/>
                <a:gd name="connsiteY1" fmla="*/ 267530 h 267530"/>
                <a:gd name="connsiteX2" fmla="*/ 0 w 206678"/>
                <a:gd name="connsiteY2" fmla="*/ 267530 h 267530"/>
                <a:gd name="connsiteX3" fmla="*/ 0 w 206678"/>
                <a:gd name="connsiteY3" fmla="*/ 53399 h 267530"/>
                <a:gd name="connsiteX4" fmla="*/ 53398 w 206678"/>
                <a:gd name="connsiteY4" fmla="*/ 0 h 267530"/>
                <a:gd name="connsiteX5" fmla="*/ 206679 w 206678"/>
                <a:gd name="connsiteY5" fmla="*/ 0 h 267530"/>
                <a:gd name="connsiteX6" fmla="*/ 206679 w 206678"/>
                <a:gd name="connsiteY6" fmla="*/ 73738 h 2675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6678" h="267530">
                  <a:moveTo>
                    <a:pt x="206679" y="221990"/>
                  </a:moveTo>
                  <a:lnTo>
                    <a:pt x="206679" y="267530"/>
                  </a:lnTo>
                  <a:lnTo>
                    <a:pt x="0" y="267530"/>
                  </a:lnTo>
                  <a:lnTo>
                    <a:pt x="0" y="53399"/>
                  </a:lnTo>
                  <a:lnTo>
                    <a:pt x="53398" y="0"/>
                  </a:lnTo>
                  <a:lnTo>
                    <a:pt x="206679" y="0"/>
                  </a:lnTo>
                  <a:lnTo>
                    <a:pt x="206679" y="73738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502" name="Forma livre: Forma 501">
              <a:extLst>
                <a:ext uri="{FF2B5EF4-FFF2-40B4-BE49-F238E27FC236}">
                  <a16:creationId xmlns:a16="http://schemas.microsoft.com/office/drawing/2014/main" id="{A37FA2BE-129B-5A11-44E7-2662A42C0F76}"/>
                </a:ext>
              </a:extLst>
            </p:cNvPr>
            <p:cNvSpPr/>
            <p:nvPr/>
          </p:nvSpPr>
          <p:spPr>
            <a:xfrm>
              <a:off x="6312215" y="2089460"/>
              <a:ext cx="36510" cy="36474"/>
            </a:xfrm>
            <a:custGeom>
              <a:avLst/>
              <a:gdLst>
                <a:gd name="connsiteX0" fmla="*/ 36511 w 36510"/>
                <a:gd name="connsiteY0" fmla="*/ 0 h 36474"/>
                <a:gd name="connsiteX1" fmla="*/ 36511 w 36510"/>
                <a:gd name="connsiteY1" fmla="*/ 36475 h 36474"/>
                <a:gd name="connsiteX2" fmla="*/ 0 w 36510"/>
                <a:gd name="connsiteY2" fmla="*/ 36475 h 364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6510" h="36474">
                  <a:moveTo>
                    <a:pt x="36511" y="0"/>
                  </a:moveTo>
                  <a:lnTo>
                    <a:pt x="36511" y="36475"/>
                  </a:lnTo>
                  <a:lnTo>
                    <a:pt x="0" y="36475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503" name="Gráfico 9">
              <a:extLst>
                <a:ext uri="{FF2B5EF4-FFF2-40B4-BE49-F238E27FC236}">
                  <a16:creationId xmlns:a16="http://schemas.microsoft.com/office/drawing/2014/main" id="{07FA5F85-6269-E3A9-BF5F-58276B1A3245}"/>
                </a:ext>
              </a:extLst>
            </p:cNvPr>
            <p:cNvGrpSpPr/>
            <p:nvPr/>
          </p:nvGrpSpPr>
          <p:grpSpPr>
            <a:xfrm>
              <a:off x="6333474" y="2130803"/>
              <a:ext cx="241610" cy="147003"/>
              <a:chOff x="6333474" y="2130803"/>
              <a:chExt cx="241610" cy="147003"/>
            </a:xfrm>
            <a:noFill/>
          </p:grpSpPr>
          <p:sp>
            <p:nvSpPr>
              <p:cNvPr id="504" name="Forma livre: Forma 503">
                <a:extLst>
                  <a:ext uri="{FF2B5EF4-FFF2-40B4-BE49-F238E27FC236}">
                    <a16:creationId xmlns:a16="http://schemas.microsoft.com/office/drawing/2014/main" id="{BB720E5F-1190-B371-964C-74635A8D56F6}"/>
                  </a:ext>
                </a:extLst>
              </p:cNvPr>
              <p:cNvSpPr/>
              <p:nvPr/>
            </p:nvSpPr>
            <p:spPr>
              <a:xfrm>
                <a:off x="6333474" y="2201465"/>
                <a:ext cx="94698" cy="1194"/>
              </a:xfrm>
              <a:custGeom>
                <a:avLst/>
                <a:gdLst>
                  <a:gd name="connsiteX0" fmla="*/ 0 w 94698"/>
                  <a:gd name="connsiteY0" fmla="*/ 0 h 1194"/>
                  <a:gd name="connsiteX1" fmla="*/ 94698 w 94698"/>
                  <a:gd name="connsiteY1" fmla="*/ 0 h 11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4698" h="1194">
                    <a:moveTo>
                      <a:pt x="0" y="0"/>
                    </a:moveTo>
                    <a:lnTo>
                      <a:pt x="94698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05" name="Forma livre: Forma 504">
                <a:extLst>
                  <a:ext uri="{FF2B5EF4-FFF2-40B4-BE49-F238E27FC236}">
                    <a16:creationId xmlns:a16="http://schemas.microsoft.com/office/drawing/2014/main" id="{2EC8F9A0-9E6F-C5AE-7F8C-D245BC838EE0}"/>
                  </a:ext>
                </a:extLst>
              </p:cNvPr>
              <p:cNvSpPr/>
              <p:nvPr/>
            </p:nvSpPr>
            <p:spPr>
              <a:xfrm>
                <a:off x="6333474" y="2239635"/>
                <a:ext cx="80318" cy="1194"/>
              </a:xfrm>
              <a:custGeom>
                <a:avLst/>
                <a:gdLst>
                  <a:gd name="connsiteX0" fmla="*/ 0 w 80318"/>
                  <a:gd name="connsiteY0" fmla="*/ 0 h 1194"/>
                  <a:gd name="connsiteX1" fmla="*/ 80319 w 80318"/>
                  <a:gd name="connsiteY1" fmla="*/ 0 h 11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80318" h="1194">
                    <a:moveTo>
                      <a:pt x="0" y="0"/>
                    </a:moveTo>
                    <a:lnTo>
                      <a:pt x="80319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06" name="Forma livre: Forma 505">
                <a:extLst>
                  <a:ext uri="{FF2B5EF4-FFF2-40B4-BE49-F238E27FC236}">
                    <a16:creationId xmlns:a16="http://schemas.microsoft.com/office/drawing/2014/main" id="{D334867A-09D2-FC27-606C-68E32D8DAB76}"/>
                  </a:ext>
                </a:extLst>
              </p:cNvPr>
              <p:cNvSpPr/>
              <p:nvPr/>
            </p:nvSpPr>
            <p:spPr>
              <a:xfrm>
                <a:off x="6333474" y="2277806"/>
                <a:ext cx="73546" cy="1194"/>
              </a:xfrm>
              <a:custGeom>
                <a:avLst/>
                <a:gdLst>
                  <a:gd name="connsiteX0" fmla="*/ 0 w 73546"/>
                  <a:gd name="connsiteY0" fmla="*/ 0 h 1194"/>
                  <a:gd name="connsiteX1" fmla="*/ 73547 w 73546"/>
                  <a:gd name="connsiteY1" fmla="*/ 0 h 11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73546" h="1194">
                    <a:moveTo>
                      <a:pt x="0" y="0"/>
                    </a:moveTo>
                    <a:lnTo>
                      <a:pt x="73547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07" name="Forma livre: Forma 506">
                <a:extLst>
                  <a:ext uri="{FF2B5EF4-FFF2-40B4-BE49-F238E27FC236}">
                    <a16:creationId xmlns:a16="http://schemas.microsoft.com/office/drawing/2014/main" id="{D3FE90E1-D89B-08A5-8AB9-E4B8783452F7}"/>
                  </a:ext>
                </a:extLst>
              </p:cNvPr>
              <p:cNvSpPr/>
              <p:nvPr/>
            </p:nvSpPr>
            <p:spPr>
              <a:xfrm>
                <a:off x="6427193" y="2130803"/>
                <a:ext cx="147891" cy="146537"/>
              </a:xfrm>
              <a:custGeom>
                <a:avLst/>
                <a:gdLst>
                  <a:gd name="connsiteX0" fmla="*/ 62643 w 147891"/>
                  <a:gd name="connsiteY0" fmla="*/ 127608 h 146537"/>
                  <a:gd name="connsiteX1" fmla="*/ 0 w 147891"/>
                  <a:gd name="connsiteY1" fmla="*/ 146538 h 146537"/>
                  <a:gd name="connsiteX2" fmla="*/ 21737 w 147891"/>
                  <a:gd name="connsiteY2" fmla="*/ 83799 h 146537"/>
                  <a:gd name="connsiteX3" fmla="*/ 102903 w 147891"/>
                  <a:gd name="connsiteY3" fmla="*/ 2621 h 146537"/>
                  <a:gd name="connsiteX4" fmla="*/ 122287 w 147891"/>
                  <a:gd name="connsiteY4" fmla="*/ 5690 h 146537"/>
                  <a:gd name="connsiteX5" fmla="*/ 142185 w 147891"/>
                  <a:gd name="connsiteY5" fmla="*/ 25588 h 146537"/>
                  <a:gd name="connsiteX6" fmla="*/ 145266 w 147891"/>
                  <a:gd name="connsiteY6" fmla="*/ 44972 h 146537"/>
                  <a:gd name="connsiteX7" fmla="*/ 62643 w 147891"/>
                  <a:gd name="connsiteY7" fmla="*/ 127596 h 1465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47891" h="146537">
                    <a:moveTo>
                      <a:pt x="62643" y="127608"/>
                    </a:moveTo>
                    <a:lnTo>
                      <a:pt x="0" y="146538"/>
                    </a:lnTo>
                    <a:lnTo>
                      <a:pt x="21737" y="83799"/>
                    </a:lnTo>
                    <a:lnTo>
                      <a:pt x="102903" y="2621"/>
                    </a:lnTo>
                    <a:cubicBezTo>
                      <a:pt x="107382" y="-1846"/>
                      <a:pt x="116101" y="-460"/>
                      <a:pt x="122287" y="5690"/>
                    </a:cubicBezTo>
                    <a:lnTo>
                      <a:pt x="142185" y="25588"/>
                    </a:lnTo>
                    <a:cubicBezTo>
                      <a:pt x="148348" y="31763"/>
                      <a:pt x="149745" y="40493"/>
                      <a:pt x="145266" y="44972"/>
                    </a:cubicBezTo>
                    <a:lnTo>
                      <a:pt x="62643" y="127596"/>
                    </a:ln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08" name="Forma livre: Forma 507">
                <a:extLst>
                  <a:ext uri="{FF2B5EF4-FFF2-40B4-BE49-F238E27FC236}">
                    <a16:creationId xmlns:a16="http://schemas.microsoft.com/office/drawing/2014/main" id="{1F9A75DB-A2E1-7664-BE14-F4D42796E097}"/>
                  </a:ext>
                </a:extLst>
              </p:cNvPr>
              <p:cNvSpPr/>
              <p:nvPr/>
            </p:nvSpPr>
            <p:spPr>
              <a:xfrm>
                <a:off x="6451223" y="2212643"/>
                <a:ext cx="42207" cy="42207"/>
              </a:xfrm>
              <a:custGeom>
                <a:avLst/>
                <a:gdLst>
                  <a:gd name="connsiteX0" fmla="*/ 42208 w 42207"/>
                  <a:gd name="connsiteY0" fmla="*/ 42208 h 42207"/>
                  <a:gd name="connsiteX1" fmla="*/ 0 w 42207"/>
                  <a:gd name="connsiteY1" fmla="*/ 0 h 422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2207" h="42207">
                    <a:moveTo>
                      <a:pt x="42208" y="42208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09" name="Forma livre: Forma 508">
                <a:extLst>
                  <a:ext uri="{FF2B5EF4-FFF2-40B4-BE49-F238E27FC236}">
                    <a16:creationId xmlns:a16="http://schemas.microsoft.com/office/drawing/2014/main" id="{404FBFD7-E9BA-80AF-5F5C-FB49129DCED5}"/>
                  </a:ext>
                </a:extLst>
              </p:cNvPr>
              <p:cNvSpPr/>
              <p:nvPr/>
            </p:nvSpPr>
            <p:spPr>
              <a:xfrm>
                <a:off x="6441083" y="2241725"/>
                <a:ext cx="22847" cy="23134"/>
              </a:xfrm>
              <a:custGeom>
                <a:avLst/>
                <a:gdLst>
                  <a:gd name="connsiteX0" fmla="*/ 22848 w 22847"/>
                  <a:gd name="connsiteY0" fmla="*/ 23134 h 23134"/>
                  <a:gd name="connsiteX1" fmla="*/ 0 w 22847"/>
                  <a:gd name="connsiteY1" fmla="*/ 0 h 231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2847" h="23134">
                    <a:moveTo>
                      <a:pt x="22848" y="23134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10" name="Forma livre: Forma 509">
                <a:extLst>
                  <a:ext uri="{FF2B5EF4-FFF2-40B4-BE49-F238E27FC236}">
                    <a16:creationId xmlns:a16="http://schemas.microsoft.com/office/drawing/2014/main" id="{05D2A99F-5DD5-1064-E3A1-D57E784B16A5}"/>
                  </a:ext>
                </a:extLst>
              </p:cNvPr>
              <p:cNvSpPr/>
              <p:nvPr/>
            </p:nvSpPr>
            <p:spPr>
              <a:xfrm>
                <a:off x="6473115" y="2187861"/>
                <a:ext cx="45957" cy="45957"/>
              </a:xfrm>
              <a:custGeom>
                <a:avLst/>
                <a:gdLst>
                  <a:gd name="connsiteX0" fmla="*/ 0 w 45957"/>
                  <a:gd name="connsiteY0" fmla="*/ 45958 h 45957"/>
                  <a:gd name="connsiteX1" fmla="*/ 45958 w 45957"/>
                  <a:gd name="connsiteY1" fmla="*/ 0 h 459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5957" h="45957">
                    <a:moveTo>
                      <a:pt x="0" y="45958"/>
                    </a:moveTo>
                    <a:lnTo>
                      <a:pt x="45958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11" name="Forma livre: Forma 510">
                <a:extLst>
                  <a:ext uri="{FF2B5EF4-FFF2-40B4-BE49-F238E27FC236}">
                    <a16:creationId xmlns:a16="http://schemas.microsoft.com/office/drawing/2014/main" id="{1C538175-A1C4-3F77-A488-26A3B53D0403}"/>
                  </a:ext>
                </a:extLst>
              </p:cNvPr>
              <p:cNvSpPr/>
              <p:nvPr/>
            </p:nvSpPr>
            <p:spPr>
              <a:xfrm>
                <a:off x="6527290" y="2165467"/>
                <a:ext cx="26800" cy="26812"/>
              </a:xfrm>
              <a:custGeom>
                <a:avLst/>
                <a:gdLst>
                  <a:gd name="connsiteX0" fmla="*/ 0 w 26800"/>
                  <a:gd name="connsiteY0" fmla="*/ 0 h 26812"/>
                  <a:gd name="connsiteX1" fmla="*/ 26801 w 26800"/>
                  <a:gd name="connsiteY1" fmla="*/ 26813 h 268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6800" h="26812">
                    <a:moveTo>
                      <a:pt x="0" y="0"/>
                    </a:moveTo>
                    <a:lnTo>
                      <a:pt x="26801" y="26813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512" name="Gráfico 9">
            <a:extLst>
              <a:ext uri="{FF2B5EF4-FFF2-40B4-BE49-F238E27FC236}">
                <a16:creationId xmlns:a16="http://schemas.microsoft.com/office/drawing/2014/main" id="{272D12CF-C0BF-65AD-B2B9-3AC7F13B0A9B}"/>
              </a:ext>
            </a:extLst>
          </p:cNvPr>
          <p:cNvGrpSpPr/>
          <p:nvPr/>
        </p:nvGrpSpPr>
        <p:grpSpPr>
          <a:xfrm>
            <a:off x="6920917" y="2062934"/>
            <a:ext cx="266825" cy="268963"/>
            <a:chOff x="6920917" y="2062934"/>
            <a:chExt cx="266825" cy="268963"/>
          </a:xfrm>
          <a:noFill/>
        </p:grpSpPr>
        <p:grpSp>
          <p:nvGrpSpPr>
            <p:cNvPr id="513" name="Gráfico 9">
              <a:extLst>
                <a:ext uri="{FF2B5EF4-FFF2-40B4-BE49-F238E27FC236}">
                  <a16:creationId xmlns:a16="http://schemas.microsoft.com/office/drawing/2014/main" id="{280DA8E9-6910-FC31-ABDA-615CCBCC61CF}"/>
                </a:ext>
              </a:extLst>
            </p:cNvPr>
            <p:cNvGrpSpPr/>
            <p:nvPr/>
          </p:nvGrpSpPr>
          <p:grpSpPr>
            <a:xfrm>
              <a:off x="6920917" y="2062934"/>
              <a:ext cx="201997" cy="268951"/>
              <a:chOff x="6920917" y="2062934"/>
              <a:chExt cx="201997" cy="268951"/>
            </a:xfrm>
            <a:noFill/>
          </p:grpSpPr>
          <p:grpSp>
            <p:nvGrpSpPr>
              <p:cNvPr id="514" name="Gráfico 9">
                <a:extLst>
                  <a:ext uri="{FF2B5EF4-FFF2-40B4-BE49-F238E27FC236}">
                    <a16:creationId xmlns:a16="http://schemas.microsoft.com/office/drawing/2014/main" id="{E25EAFFD-6514-D8FF-2917-4D4E98584B11}"/>
                  </a:ext>
                </a:extLst>
              </p:cNvPr>
              <p:cNvGrpSpPr/>
              <p:nvPr/>
            </p:nvGrpSpPr>
            <p:grpSpPr>
              <a:xfrm>
                <a:off x="6963172" y="2195481"/>
                <a:ext cx="97970" cy="76353"/>
                <a:chOff x="6963172" y="2195481"/>
                <a:chExt cx="97970" cy="76353"/>
              </a:xfrm>
            </p:grpSpPr>
            <p:sp>
              <p:nvSpPr>
                <p:cNvPr id="515" name="Forma livre: Forma 514">
                  <a:extLst>
                    <a:ext uri="{FF2B5EF4-FFF2-40B4-BE49-F238E27FC236}">
                      <a16:creationId xmlns:a16="http://schemas.microsoft.com/office/drawing/2014/main" id="{E1157826-DD06-B642-C3F6-C39DC1DC1F11}"/>
                    </a:ext>
                  </a:extLst>
                </p:cNvPr>
                <p:cNvSpPr/>
                <p:nvPr/>
              </p:nvSpPr>
              <p:spPr>
                <a:xfrm>
                  <a:off x="6963172" y="2195481"/>
                  <a:ext cx="97970" cy="1194"/>
                </a:xfrm>
                <a:custGeom>
                  <a:avLst/>
                  <a:gdLst>
                    <a:gd name="connsiteX0" fmla="*/ 0 w 97970"/>
                    <a:gd name="connsiteY0" fmla="*/ 0 h 1194"/>
                    <a:gd name="connsiteX1" fmla="*/ 97971 w 97970"/>
                    <a:gd name="connsiteY1" fmla="*/ 0 h 119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97970" h="1194">
                      <a:moveTo>
                        <a:pt x="0" y="0"/>
                      </a:moveTo>
                      <a:lnTo>
                        <a:pt x="97971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516" name="Forma livre: Forma 515">
                  <a:extLst>
                    <a:ext uri="{FF2B5EF4-FFF2-40B4-BE49-F238E27FC236}">
                      <a16:creationId xmlns:a16="http://schemas.microsoft.com/office/drawing/2014/main" id="{0EB595ED-4AC1-4FEE-0930-D930D2C1646C}"/>
                    </a:ext>
                  </a:extLst>
                </p:cNvPr>
                <p:cNvSpPr/>
                <p:nvPr/>
              </p:nvSpPr>
              <p:spPr>
                <a:xfrm>
                  <a:off x="6963172" y="2233652"/>
                  <a:ext cx="74550" cy="1194"/>
                </a:xfrm>
                <a:custGeom>
                  <a:avLst/>
                  <a:gdLst>
                    <a:gd name="connsiteX0" fmla="*/ 0 w 74550"/>
                    <a:gd name="connsiteY0" fmla="*/ 0 h 1194"/>
                    <a:gd name="connsiteX1" fmla="*/ 74550 w 74550"/>
                    <a:gd name="connsiteY1" fmla="*/ 0 h 119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74550" h="1194">
                      <a:moveTo>
                        <a:pt x="0" y="0"/>
                      </a:moveTo>
                      <a:lnTo>
                        <a:pt x="74550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517" name="Forma livre: Forma 516">
                  <a:extLst>
                    <a:ext uri="{FF2B5EF4-FFF2-40B4-BE49-F238E27FC236}">
                      <a16:creationId xmlns:a16="http://schemas.microsoft.com/office/drawing/2014/main" id="{A699215D-2CF3-303A-CB90-31852CE945B6}"/>
                    </a:ext>
                  </a:extLst>
                </p:cNvPr>
                <p:cNvSpPr/>
                <p:nvPr/>
              </p:nvSpPr>
              <p:spPr>
                <a:xfrm>
                  <a:off x="6963172" y="2271834"/>
                  <a:ext cx="69414" cy="1194"/>
                </a:xfrm>
                <a:custGeom>
                  <a:avLst/>
                  <a:gdLst>
                    <a:gd name="connsiteX0" fmla="*/ 0 w 69414"/>
                    <a:gd name="connsiteY0" fmla="*/ 0 h 1194"/>
                    <a:gd name="connsiteX1" fmla="*/ 69414 w 69414"/>
                    <a:gd name="connsiteY1" fmla="*/ 0 h 119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69414" h="1194">
                      <a:moveTo>
                        <a:pt x="0" y="0"/>
                      </a:moveTo>
                      <a:lnTo>
                        <a:pt x="69414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518" name="Gráfico 9">
                <a:extLst>
                  <a:ext uri="{FF2B5EF4-FFF2-40B4-BE49-F238E27FC236}">
                    <a16:creationId xmlns:a16="http://schemas.microsoft.com/office/drawing/2014/main" id="{3DFB789A-BA90-C8D3-8CB0-944CA4570194}"/>
                  </a:ext>
                </a:extLst>
              </p:cNvPr>
              <p:cNvGrpSpPr/>
              <p:nvPr/>
            </p:nvGrpSpPr>
            <p:grpSpPr>
              <a:xfrm>
                <a:off x="6920917" y="2062934"/>
                <a:ext cx="201997" cy="268951"/>
                <a:chOff x="6920917" y="2062934"/>
                <a:chExt cx="201997" cy="268951"/>
              </a:xfrm>
              <a:noFill/>
            </p:grpSpPr>
            <p:sp>
              <p:nvSpPr>
                <p:cNvPr id="519" name="Forma livre: Forma 518">
                  <a:extLst>
                    <a:ext uri="{FF2B5EF4-FFF2-40B4-BE49-F238E27FC236}">
                      <a16:creationId xmlns:a16="http://schemas.microsoft.com/office/drawing/2014/main" id="{B04C4DD5-5514-BB80-A81F-3AE967D54D36}"/>
                    </a:ext>
                  </a:extLst>
                </p:cNvPr>
                <p:cNvSpPr/>
                <p:nvPr/>
              </p:nvSpPr>
              <p:spPr>
                <a:xfrm>
                  <a:off x="6946607" y="2088839"/>
                  <a:ext cx="35686" cy="35638"/>
                </a:xfrm>
                <a:custGeom>
                  <a:avLst/>
                  <a:gdLst>
                    <a:gd name="connsiteX0" fmla="*/ 35687 w 35686"/>
                    <a:gd name="connsiteY0" fmla="*/ 0 h 35638"/>
                    <a:gd name="connsiteX1" fmla="*/ 35687 w 35686"/>
                    <a:gd name="connsiteY1" fmla="*/ 35639 h 35638"/>
                    <a:gd name="connsiteX2" fmla="*/ 0 w 35686"/>
                    <a:gd name="connsiteY2" fmla="*/ 35639 h 3563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35686" h="35638">
                      <a:moveTo>
                        <a:pt x="35687" y="0"/>
                      </a:moveTo>
                      <a:lnTo>
                        <a:pt x="35687" y="35639"/>
                      </a:lnTo>
                      <a:lnTo>
                        <a:pt x="0" y="35639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520" name="Forma livre: Forma 519">
                  <a:extLst>
                    <a:ext uri="{FF2B5EF4-FFF2-40B4-BE49-F238E27FC236}">
                      <a16:creationId xmlns:a16="http://schemas.microsoft.com/office/drawing/2014/main" id="{2B2C9870-8E26-9F89-75A8-A16C2228C4A1}"/>
                    </a:ext>
                  </a:extLst>
                </p:cNvPr>
                <p:cNvSpPr/>
                <p:nvPr/>
              </p:nvSpPr>
              <p:spPr>
                <a:xfrm>
                  <a:off x="6920917" y="2062934"/>
                  <a:ext cx="201997" cy="268951"/>
                </a:xfrm>
                <a:custGeom>
                  <a:avLst/>
                  <a:gdLst>
                    <a:gd name="connsiteX0" fmla="*/ 201997 w 201997"/>
                    <a:gd name="connsiteY0" fmla="*/ 78539 h 268951"/>
                    <a:gd name="connsiteX1" fmla="*/ 201997 w 201997"/>
                    <a:gd name="connsiteY1" fmla="*/ 0 h 268951"/>
                    <a:gd name="connsiteX2" fmla="*/ 52192 w 201997"/>
                    <a:gd name="connsiteY2" fmla="*/ 0 h 268951"/>
                    <a:gd name="connsiteX3" fmla="*/ 0 w 201997"/>
                    <a:gd name="connsiteY3" fmla="*/ 52180 h 268951"/>
                    <a:gd name="connsiteX4" fmla="*/ 0 w 201997"/>
                    <a:gd name="connsiteY4" fmla="*/ 268951 h 268951"/>
                    <a:gd name="connsiteX5" fmla="*/ 135413 w 201997"/>
                    <a:gd name="connsiteY5" fmla="*/ 268951 h 26895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201997" h="268951">
                      <a:moveTo>
                        <a:pt x="201997" y="78539"/>
                      </a:moveTo>
                      <a:lnTo>
                        <a:pt x="201997" y="0"/>
                      </a:lnTo>
                      <a:lnTo>
                        <a:pt x="52192" y="0"/>
                      </a:lnTo>
                      <a:lnTo>
                        <a:pt x="0" y="52180"/>
                      </a:lnTo>
                      <a:lnTo>
                        <a:pt x="0" y="268951"/>
                      </a:lnTo>
                      <a:lnTo>
                        <a:pt x="135413" y="268951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grpSp>
          <p:nvGrpSpPr>
            <p:cNvPr id="521" name="Gráfico 9">
              <a:extLst>
                <a:ext uri="{FF2B5EF4-FFF2-40B4-BE49-F238E27FC236}">
                  <a16:creationId xmlns:a16="http://schemas.microsoft.com/office/drawing/2014/main" id="{0BA976F1-5E14-A90B-36DA-8142E04137B9}"/>
                </a:ext>
              </a:extLst>
            </p:cNvPr>
            <p:cNvGrpSpPr/>
            <p:nvPr/>
          </p:nvGrpSpPr>
          <p:grpSpPr>
            <a:xfrm>
              <a:off x="7058122" y="2166686"/>
              <a:ext cx="129620" cy="165211"/>
              <a:chOff x="7058122" y="2166686"/>
              <a:chExt cx="129620" cy="165211"/>
            </a:xfrm>
            <a:noFill/>
          </p:grpSpPr>
          <p:sp>
            <p:nvSpPr>
              <p:cNvPr id="522" name="Forma livre: Forma 521">
                <a:extLst>
                  <a:ext uri="{FF2B5EF4-FFF2-40B4-BE49-F238E27FC236}">
                    <a16:creationId xmlns:a16="http://schemas.microsoft.com/office/drawing/2014/main" id="{886DAB56-663F-5F7B-70C1-124C7F6CF275}"/>
                  </a:ext>
                </a:extLst>
              </p:cNvPr>
              <p:cNvSpPr/>
              <p:nvPr/>
            </p:nvSpPr>
            <p:spPr>
              <a:xfrm>
                <a:off x="7058122" y="2202384"/>
                <a:ext cx="129620" cy="129513"/>
              </a:xfrm>
              <a:custGeom>
                <a:avLst/>
                <a:gdLst>
                  <a:gd name="connsiteX0" fmla="*/ 129621 w 129620"/>
                  <a:gd name="connsiteY0" fmla="*/ 64757 h 129513"/>
                  <a:gd name="connsiteX1" fmla="*/ 64769 w 129620"/>
                  <a:gd name="connsiteY1" fmla="*/ 129513 h 129513"/>
                  <a:gd name="connsiteX2" fmla="*/ 0 w 129620"/>
                  <a:gd name="connsiteY2" fmla="*/ 64757 h 129513"/>
                  <a:gd name="connsiteX3" fmla="*/ 64769 w 129620"/>
                  <a:gd name="connsiteY3" fmla="*/ 0 h 129513"/>
                  <a:gd name="connsiteX4" fmla="*/ 129621 w 129620"/>
                  <a:gd name="connsiteY4" fmla="*/ 64757 h 1295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9620" h="129513">
                    <a:moveTo>
                      <a:pt x="129621" y="64757"/>
                    </a:moveTo>
                    <a:cubicBezTo>
                      <a:pt x="129621" y="100527"/>
                      <a:pt x="100622" y="129513"/>
                      <a:pt x="64769" y="129513"/>
                    </a:cubicBezTo>
                    <a:cubicBezTo>
                      <a:pt x="28915" y="129513"/>
                      <a:pt x="0" y="100515"/>
                      <a:pt x="0" y="64757"/>
                    </a:cubicBezTo>
                    <a:cubicBezTo>
                      <a:pt x="0" y="28998"/>
                      <a:pt x="28998" y="0"/>
                      <a:pt x="64769" y="0"/>
                    </a:cubicBezTo>
                    <a:cubicBezTo>
                      <a:pt x="100539" y="0"/>
                      <a:pt x="129621" y="28986"/>
                      <a:pt x="129621" y="64757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23" name="Forma livre: Forma 522">
                <a:extLst>
                  <a:ext uri="{FF2B5EF4-FFF2-40B4-BE49-F238E27FC236}">
                    <a16:creationId xmlns:a16="http://schemas.microsoft.com/office/drawing/2014/main" id="{2BB5733A-0FA9-36CC-ED85-D1F5EC8A650F}"/>
                  </a:ext>
                </a:extLst>
              </p:cNvPr>
              <p:cNvSpPr/>
              <p:nvPr/>
            </p:nvSpPr>
            <p:spPr>
              <a:xfrm>
                <a:off x="7100795" y="2229818"/>
                <a:ext cx="59489" cy="74633"/>
              </a:xfrm>
              <a:custGeom>
                <a:avLst/>
                <a:gdLst>
                  <a:gd name="connsiteX0" fmla="*/ 22119 w 59489"/>
                  <a:gd name="connsiteY0" fmla="*/ 0 h 74633"/>
                  <a:gd name="connsiteX1" fmla="*/ 59490 w 59489"/>
                  <a:gd name="connsiteY1" fmla="*/ 37323 h 74633"/>
                  <a:gd name="connsiteX2" fmla="*/ 22119 w 59489"/>
                  <a:gd name="connsiteY2" fmla="*/ 74634 h 74633"/>
                  <a:gd name="connsiteX3" fmla="*/ 0 w 59489"/>
                  <a:gd name="connsiteY3" fmla="*/ 67384 h 746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9489" h="74633">
                    <a:moveTo>
                      <a:pt x="22119" y="0"/>
                    </a:moveTo>
                    <a:cubicBezTo>
                      <a:pt x="42769" y="0"/>
                      <a:pt x="59490" y="16709"/>
                      <a:pt x="59490" y="37323"/>
                    </a:cubicBezTo>
                    <a:cubicBezTo>
                      <a:pt x="59490" y="57937"/>
                      <a:pt x="42781" y="74634"/>
                      <a:pt x="22119" y="74634"/>
                    </a:cubicBezTo>
                    <a:cubicBezTo>
                      <a:pt x="13842" y="74634"/>
                      <a:pt x="6199" y="71935"/>
                      <a:pt x="0" y="67384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24" name="Forma livre: Forma 523">
                <a:extLst>
                  <a:ext uri="{FF2B5EF4-FFF2-40B4-BE49-F238E27FC236}">
                    <a16:creationId xmlns:a16="http://schemas.microsoft.com/office/drawing/2014/main" id="{E4BE148B-2573-20A4-FA92-634832958608}"/>
                  </a:ext>
                </a:extLst>
              </p:cNvPr>
              <p:cNvSpPr/>
              <p:nvPr/>
            </p:nvSpPr>
            <p:spPr>
              <a:xfrm>
                <a:off x="7105835" y="2166686"/>
                <a:ext cx="34205" cy="18942"/>
              </a:xfrm>
              <a:custGeom>
                <a:avLst/>
                <a:gdLst>
                  <a:gd name="connsiteX0" fmla="*/ 34206 w 34205"/>
                  <a:gd name="connsiteY0" fmla="*/ 18942 h 18942"/>
                  <a:gd name="connsiteX1" fmla="*/ 34206 w 34205"/>
                  <a:gd name="connsiteY1" fmla="*/ 0 h 18942"/>
                  <a:gd name="connsiteX2" fmla="*/ 0 w 34205"/>
                  <a:gd name="connsiteY2" fmla="*/ 0 h 18942"/>
                  <a:gd name="connsiteX3" fmla="*/ 0 w 34205"/>
                  <a:gd name="connsiteY3" fmla="*/ 18942 h 189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4205" h="18942">
                    <a:moveTo>
                      <a:pt x="34206" y="18942"/>
                    </a:moveTo>
                    <a:lnTo>
                      <a:pt x="34206" y="0"/>
                    </a:lnTo>
                    <a:lnTo>
                      <a:pt x="0" y="0"/>
                    </a:lnTo>
                    <a:lnTo>
                      <a:pt x="0" y="18942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25" name="Forma livre: Forma 524">
                <a:extLst>
                  <a:ext uri="{FF2B5EF4-FFF2-40B4-BE49-F238E27FC236}">
                    <a16:creationId xmlns:a16="http://schemas.microsoft.com/office/drawing/2014/main" id="{40037DDF-0AE0-0E83-9E26-58E24A435103}"/>
                  </a:ext>
                </a:extLst>
              </p:cNvPr>
              <p:cNvSpPr/>
              <p:nvPr/>
            </p:nvSpPr>
            <p:spPr>
              <a:xfrm>
                <a:off x="7164883" y="2201070"/>
                <a:ext cx="11740" cy="13985"/>
              </a:xfrm>
              <a:custGeom>
                <a:avLst/>
                <a:gdLst>
                  <a:gd name="connsiteX0" fmla="*/ 11740 w 11740"/>
                  <a:gd name="connsiteY0" fmla="*/ 0 h 13985"/>
                  <a:gd name="connsiteX1" fmla="*/ 0 w 11740"/>
                  <a:gd name="connsiteY1" fmla="*/ 13986 h 139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740" h="13985">
                    <a:moveTo>
                      <a:pt x="11740" y="0"/>
                    </a:moveTo>
                    <a:lnTo>
                      <a:pt x="0" y="13986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26" name="Forma livre: Forma 525">
                <a:extLst>
                  <a:ext uri="{FF2B5EF4-FFF2-40B4-BE49-F238E27FC236}">
                    <a16:creationId xmlns:a16="http://schemas.microsoft.com/office/drawing/2014/main" id="{14B25725-2346-4E2C-BD83-F5A73CC1DEBD}"/>
                  </a:ext>
                </a:extLst>
              </p:cNvPr>
              <p:cNvSpPr/>
              <p:nvPr/>
            </p:nvSpPr>
            <p:spPr>
              <a:xfrm>
                <a:off x="7088231" y="2267260"/>
                <a:ext cx="34599" cy="14833"/>
              </a:xfrm>
              <a:custGeom>
                <a:avLst/>
                <a:gdLst>
                  <a:gd name="connsiteX0" fmla="*/ 34600 w 34599"/>
                  <a:gd name="connsiteY0" fmla="*/ 0 h 14833"/>
                  <a:gd name="connsiteX1" fmla="*/ 0 w 34599"/>
                  <a:gd name="connsiteY1" fmla="*/ 14834 h 148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4599" h="14833">
                    <a:moveTo>
                      <a:pt x="34600" y="0"/>
                    </a:moveTo>
                    <a:lnTo>
                      <a:pt x="0" y="14834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528" name="Gráfico 9">
            <a:extLst>
              <a:ext uri="{FF2B5EF4-FFF2-40B4-BE49-F238E27FC236}">
                <a16:creationId xmlns:a16="http://schemas.microsoft.com/office/drawing/2014/main" id="{48CCBC70-EF6E-8E22-E8D3-C989B22DFCC9}"/>
              </a:ext>
            </a:extLst>
          </p:cNvPr>
          <p:cNvGrpSpPr/>
          <p:nvPr/>
        </p:nvGrpSpPr>
        <p:grpSpPr>
          <a:xfrm>
            <a:off x="7565831" y="1524315"/>
            <a:ext cx="215230" cy="287379"/>
            <a:chOff x="7565831" y="1524315"/>
            <a:chExt cx="215230" cy="287379"/>
          </a:xfrm>
          <a:noFill/>
        </p:grpSpPr>
        <p:sp>
          <p:nvSpPr>
            <p:cNvPr id="529" name="Forma livre: Forma 528">
              <a:extLst>
                <a:ext uri="{FF2B5EF4-FFF2-40B4-BE49-F238E27FC236}">
                  <a16:creationId xmlns:a16="http://schemas.microsoft.com/office/drawing/2014/main" id="{FA607648-EFA3-E907-C381-DE698BEAF832}"/>
                </a:ext>
              </a:extLst>
            </p:cNvPr>
            <p:cNvSpPr/>
            <p:nvPr/>
          </p:nvSpPr>
          <p:spPr>
            <a:xfrm>
              <a:off x="7633562" y="1550148"/>
              <a:ext cx="39305" cy="39305"/>
            </a:xfrm>
            <a:custGeom>
              <a:avLst/>
              <a:gdLst>
                <a:gd name="connsiteX0" fmla="*/ 0 w 39305"/>
                <a:gd name="connsiteY0" fmla="*/ 39305 h 39305"/>
                <a:gd name="connsiteX1" fmla="*/ 39305 w 39305"/>
                <a:gd name="connsiteY1" fmla="*/ 0 h 393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9305" h="39305">
                  <a:moveTo>
                    <a:pt x="0" y="39305"/>
                  </a:moveTo>
                  <a:cubicBezTo>
                    <a:pt x="0" y="17628"/>
                    <a:pt x="17640" y="0"/>
                    <a:pt x="39305" y="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530" name="Forma livre: Forma 529">
              <a:extLst>
                <a:ext uri="{FF2B5EF4-FFF2-40B4-BE49-F238E27FC236}">
                  <a16:creationId xmlns:a16="http://schemas.microsoft.com/office/drawing/2014/main" id="{73CB0B45-76C0-B960-370A-98CD70599E4B}"/>
                </a:ext>
              </a:extLst>
            </p:cNvPr>
            <p:cNvSpPr/>
            <p:nvPr/>
          </p:nvSpPr>
          <p:spPr>
            <a:xfrm>
              <a:off x="7575183" y="1783664"/>
              <a:ext cx="196550" cy="28030"/>
            </a:xfrm>
            <a:custGeom>
              <a:avLst/>
              <a:gdLst>
                <a:gd name="connsiteX0" fmla="*/ 0 w 196550"/>
                <a:gd name="connsiteY0" fmla="*/ 28031 h 28030"/>
                <a:gd name="connsiteX1" fmla="*/ 196551 w 196550"/>
                <a:gd name="connsiteY1" fmla="*/ 28031 h 28030"/>
                <a:gd name="connsiteX2" fmla="*/ 196551 w 196550"/>
                <a:gd name="connsiteY2" fmla="*/ 0 h 280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96550" h="28030">
                  <a:moveTo>
                    <a:pt x="0" y="28031"/>
                  </a:moveTo>
                  <a:lnTo>
                    <a:pt x="196551" y="28031"/>
                  </a:lnTo>
                  <a:lnTo>
                    <a:pt x="196551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531" name="Forma livre: Forma 530">
              <a:extLst>
                <a:ext uri="{FF2B5EF4-FFF2-40B4-BE49-F238E27FC236}">
                  <a16:creationId xmlns:a16="http://schemas.microsoft.com/office/drawing/2014/main" id="{27500A65-2BFC-A9B2-E7B8-DCD32E976101}"/>
                </a:ext>
              </a:extLst>
            </p:cNvPr>
            <p:cNvSpPr/>
            <p:nvPr/>
          </p:nvSpPr>
          <p:spPr>
            <a:xfrm>
              <a:off x="7607740" y="1524315"/>
              <a:ext cx="131459" cy="180200"/>
            </a:xfrm>
            <a:custGeom>
              <a:avLst/>
              <a:gdLst>
                <a:gd name="connsiteX0" fmla="*/ 103728 w 131459"/>
                <a:gd name="connsiteY0" fmla="*/ 180201 h 180200"/>
                <a:gd name="connsiteX1" fmla="*/ 109210 w 131459"/>
                <a:gd name="connsiteY1" fmla="*/ 121858 h 180200"/>
                <a:gd name="connsiteX2" fmla="*/ 129477 w 131459"/>
                <a:gd name="connsiteY2" fmla="*/ 81095 h 180200"/>
                <a:gd name="connsiteX3" fmla="*/ 131460 w 131459"/>
                <a:gd name="connsiteY3" fmla="*/ 65139 h 180200"/>
                <a:gd name="connsiteX4" fmla="*/ 66309 w 131459"/>
                <a:gd name="connsiteY4" fmla="*/ 0 h 180200"/>
                <a:gd name="connsiteX5" fmla="*/ 65139 w 131459"/>
                <a:gd name="connsiteY5" fmla="*/ 0 h 180200"/>
                <a:gd name="connsiteX6" fmla="*/ 0 w 131459"/>
                <a:gd name="connsiteY6" fmla="*/ 65139 h 180200"/>
                <a:gd name="connsiteX7" fmla="*/ 1971 w 131459"/>
                <a:gd name="connsiteY7" fmla="*/ 81095 h 180200"/>
                <a:gd name="connsiteX8" fmla="*/ 22238 w 131459"/>
                <a:gd name="connsiteY8" fmla="*/ 121858 h 180200"/>
                <a:gd name="connsiteX9" fmla="*/ 34397 w 131459"/>
                <a:gd name="connsiteY9" fmla="*/ 159575 h 180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31459" h="180200">
                  <a:moveTo>
                    <a:pt x="103728" y="180201"/>
                  </a:moveTo>
                  <a:cubicBezTo>
                    <a:pt x="85777" y="151644"/>
                    <a:pt x="109210" y="121858"/>
                    <a:pt x="109210" y="121858"/>
                  </a:cubicBezTo>
                  <a:cubicBezTo>
                    <a:pt x="121941" y="103895"/>
                    <a:pt x="129477" y="81095"/>
                    <a:pt x="129477" y="81095"/>
                  </a:cubicBezTo>
                  <a:cubicBezTo>
                    <a:pt x="130767" y="75995"/>
                    <a:pt x="131460" y="70645"/>
                    <a:pt x="131460" y="65139"/>
                  </a:cubicBezTo>
                  <a:cubicBezTo>
                    <a:pt x="131460" y="29154"/>
                    <a:pt x="102294" y="0"/>
                    <a:pt x="66309" y="0"/>
                  </a:cubicBezTo>
                  <a:lnTo>
                    <a:pt x="65139" y="0"/>
                  </a:lnTo>
                  <a:cubicBezTo>
                    <a:pt x="29154" y="0"/>
                    <a:pt x="0" y="29154"/>
                    <a:pt x="0" y="65139"/>
                  </a:cubicBezTo>
                  <a:cubicBezTo>
                    <a:pt x="0" y="70645"/>
                    <a:pt x="681" y="75995"/>
                    <a:pt x="1971" y="81095"/>
                  </a:cubicBezTo>
                  <a:cubicBezTo>
                    <a:pt x="1971" y="81095"/>
                    <a:pt x="9519" y="103895"/>
                    <a:pt x="22238" y="121858"/>
                  </a:cubicBezTo>
                  <a:cubicBezTo>
                    <a:pt x="22238" y="121858"/>
                    <a:pt x="35651" y="138901"/>
                    <a:pt x="34397" y="159575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532" name="Forma livre: Forma 531">
              <a:extLst>
                <a:ext uri="{FF2B5EF4-FFF2-40B4-BE49-F238E27FC236}">
                  <a16:creationId xmlns:a16="http://schemas.microsoft.com/office/drawing/2014/main" id="{9474F3C3-6ACF-3383-A766-AFA93FA7EA41}"/>
                </a:ext>
              </a:extLst>
            </p:cNvPr>
            <p:cNvSpPr/>
            <p:nvPr/>
          </p:nvSpPr>
          <p:spPr>
            <a:xfrm>
              <a:off x="7565831" y="1706797"/>
              <a:ext cx="215230" cy="75744"/>
            </a:xfrm>
            <a:custGeom>
              <a:avLst/>
              <a:gdLst>
                <a:gd name="connsiteX0" fmla="*/ 89670 w 215230"/>
                <a:gd name="connsiteY0" fmla="*/ 60 h 75744"/>
                <a:gd name="connsiteX1" fmla="*/ 20853 w 215230"/>
                <a:gd name="connsiteY1" fmla="*/ 0 h 75744"/>
                <a:gd name="connsiteX2" fmla="*/ 0 w 215230"/>
                <a:gd name="connsiteY2" fmla="*/ 20853 h 75744"/>
                <a:gd name="connsiteX3" fmla="*/ 0 w 215230"/>
                <a:gd name="connsiteY3" fmla="*/ 75744 h 75744"/>
                <a:gd name="connsiteX4" fmla="*/ 215230 w 215230"/>
                <a:gd name="connsiteY4" fmla="*/ 75744 h 75744"/>
                <a:gd name="connsiteX5" fmla="*/ 215230 w 215230"/>
                <a:gd name="connsiteY5" fmla="*/ 20853 h 75744"/>
                <a:gd name="connsiteX6" fmla="*/ 194377 w 215230"/>
                <a:gd name="connsiteY6" fmla="*/ 0 h 75744"/>
                <a:gd name="connsiteX7" fmla="*/ 119493 w 215230"/>
                <a:gd name="connsiteY7" fmla="*/ 60 h 757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15230" h="75744">
                  <a:moveTo>
                    <a:pt x="89670" y="60"/>
                  </a:moveTo>
                  <a:lnTo>
                    <a:pt x="20853" y="0"/>
                  </a:lnTo>
                  <a:cubicBezTo>
                    <a:pt x="9387" y="0"/>
                    <a:pt x="0" y="9387"/>
                    <a:pt x="0" y="20853"/>
                  </a:cubicBezTo>
                  <a:lnTo>
                    <a:pt x="0" y="75744"/>
                  </a:lnTo>
                  <a:lnTo>
                    <a:pt x="215230" y="75744"/>
                  </a:lnTo>
                  <a:lnTo>
                    <a:pt x="215230" y="20853"/>
                  </a:lnTo>
                  <a:cubicBezTo>
                    <a:pt x="215230" y="9387"/>
                    <a:pt x="205843" y="0"/>
                    <a:pt x="194377" y="0"/>
                  </a:cubicBezTo>
                  <a:lnTo>
                    <a:pt x="119493" y="60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533" name="Gráfico 9">
            <a:extLst>
              <a:ext uri="{FF2B5EF4-FFF2-40B4-BE49-F238E27FC236}">
                <a16:creationId xmlns:a16="http://schemas.microsoft.com/office/drawing/2014/main" id="{26EA8A27-A101-08F6-5873-556346517F34}"/>
              </a:ext>
            </a:extLst>
          </p:cNvPr>
          <p:cNvGrpSpPr/>
          <p:nvPr/>
        </p:nvGrpSpPr>
        <p:grpSpPr>
          <a:xfrm>
            <a:off x="6287480" y="1526191"/>
            <a:ext cx="286737" cy="283628"/>
            <a:chOff x="6287480" y="1526191"/>
            <a:chExt cx="286737" cy="283628"/>
          </a:xfrm>
          <a:noFill/>
        </p:grpSpPr>
        <p:sp>
          <p:nvSpPr>
            <p:cNvPr id="534" name="Forma livre: Forma 533">
              <a:extLst>
                <a:ext uri="{FF2B5EF4-FFF2-40B4-BE49-F238E27FC236}">
                  <a16:creationId xmlns:a16="http://schemas.microsoft.com/office/drawing/2014/main" id="{C757C409-FC47-24AB-B29B-4D414665D9BE}"/>
                </a:ext>
              </a:extLst>
            </p:cNvPr>
            <p:cNvSpPr/>
            <p:nvPr/>
          </p:nvSpPr>
          <p:spPr>
            <a:xfrm>
              <a:off x="6420720" y="1563979"/>
              <a:ext cx="76723" cy="65449"/>
            </a:xfrm>
            <a:custGeom>
              <a:avLst/>
              <a:gdLst>
                <a:gd name="connsiteX0" fmla="*/ 76724 w 76723"/>
                <a:gd name="connsiteY0" fmla="*/ 0 h 65449"/>
                <a:gd name="connsiteX1" fmla="*/ 0 w 76723"/>
                <a:gd name="connsiteY1" fmla="*/ 65449 h 654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6723" h="65449">
                  <a:moveTo>
                    <a:pt x="76724" y="0"/>
                  </a:moveTo>
                  <a:lnTo>
                    <a:pt x="0" y="65449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535" name="Forma livre: Forma 534">
              <a:extLst>
                <a:ext uri="{FF2B5EF4-FFF2-40B4-BE49-F238E27FC236}">
                  <a16:creationId xmlns:a16="http://schemas.microsoft.com/office/drawing/2014/main" id="{AA49FFE8-6082-ACC8-F4D4-E5DFD1CF9732}"/>
                </a:ext>
              </a:extLst>
            </p:cNvPr>
            <p:cNvSpPr/>
            <p:nvPr/>
          </p:nvSpPr>
          <p:spPr>
            <a:xfrm>
              <a:off x="6335456" y="1526191"/>
              <a:ext cx="238761" cy="238745"/>
            </a:xfrm>
            <a:custGeom>
              <a:avLst/>
              <a:gdLst>
                <a:gd name="connsiteX0" fmla="*/ 232835 w 238761"/>
                <a:gd name="connsiteY0" fmla="*/ 90003 h 238745"/>
                <a:gd name="connsiteX1" fmla="*/ 231318 w 238761"/>
                <a:gd name="connsiteY1" fmla="*/ 54842 h 238745"/>
                <a:gd name="connsiteX2" fmla="*/ 183903 w 238761"/>
                <a:gd name="connsiteY2" fmla="*/ 7439 h 238745"/>
                <a:gd name="connsiteX3" fmla="*/ 148742 w 238761"/>
                <a:gd name="connsiteY3" fmla="*/ 5923 h 238745"/>
                <a:gd name="connsiteX4" fmla="*/ 0 w 238761"/>
                <a:gd name="connsiteY4" fmla="*/ 131745 h 238745"/>
                <a:gd name="connsiteX5" fmla="*/ 107000 w 238761"/>
                <a:gd name="connsiteY5" fmla="*/ 238745 h 238745"/>
                <a:gd name="connsiteX6" fmla="*/ 232823 w 238761"/>
                <a:gd name="connsiteY6" fmla="*/ 90003 h 2387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38761" h="238745">
                  <a:moveTo>
                    <a:pt x="232835" y="90003"/>
                  </a:moveTo>
                  <a:cubicBezTo>
                    <a:pt x="241290" y="79959"/>
                    <a:pt x="240622" y="64134"/>
                    <a:pt x="231318" y="54842"/>
                  </a:cubicBezTo>
                  <a:lnTo>
                    <a:pt x="183903" y="7439"/>
                  </a:lnTo>
                  <a:cubicBezTo>
                    <a:pt x="174623" y="-1853"/>
                    <a:pt x="158798" y="-2533"/>
                    <a:pt x="148742" y="5923"/>
                  </a:cubicBezTo>
                  <a:lnTo>
                    <a:pt x="0" y="131745"/>
                  </a:lnTo>
                  <a:lnTo>
                    <a:pt x="107000" y="238745"/>
                  </a:lnTo>
                  <a:lnTo>
                    <a:pt x="232823" y="90003"/>
                  </a:ln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536" name="Forma livre: Forma 535">
              <a:extLst>
                <a:ext uri="{FF2B5EF4-FFF2-40B4-BE49-F238E27FC236}">
                  <a16:creationId xmlns:a16="http://schemas.microsoft.com/office/drawing/2014/main" id="{33ACE4CE-DB3F-9574-D167-EB9A9F45B12E}"/>
                </a:ext>
              </a:extLst>
            </p:cNvPr>
            <p:cNvSpPr/>
            <p:nvPr/>
          </p:nvSpPr>
          <p:spPr>
            <a:xfrm>
              <a:off x="6306613" y="1688141"/>
              <a:ext cx="107716" cy="107728"/>
            </a:xfrm>
            <a:custGeom>
              <a:avLst/>
              <a:gdLst>
                <a:gd name="connsiteX0" fmla="*/ 15490 w 107716"/>
                <a:gd name="connsiteY0" fmla="*/ 0 h 107728"/>
                <a:gd name="connsiteX1" fmla="*/ 0 w 107716"/>
                <a:gd name="connsiteY1" fmla="*/ 61759 h 107728"/>
                <a:gd name="connsiteX2" fmla="*/ 45970 w 107716"/>
                <a:gd name="connsiteY2" fmla="*/ 107729 h 107728"/>
                <a:gd name="connsiteX3" fmla="*/ 107717 w 107716"/>
                <a:gd name="connsiteY3" fmla="*/ 92238 h 107728"/>
                <a:gd name="connsiteX4" fmla="*/ 37657 w 107716"/>
                <a:gd name="connsiteY4" fmla="*/ 22179 h 1077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7716" h="107728">
                  <a:moveTo>
                    <a:pt x="15490" y="0"/>
                  </a:moveTo>
                  <a:cubicBezTo>
                    <a:pt x="15490" y="0"/>
                    <a:pt x="22238" y="39520"/>
                    <a:pt x="0" y="61759"/>
                  </a:cubicBezTo>
                  <a:lnTo>
                    <a:pt x="45970" y="107729"/>
                  </a:lnTo>
                  <a:cubicBezTo>
                    <a:pt x="68208" y="85490"/>
                    <a:pt x="107717" y="92238"/>
                    <a:pt x="107717" y="92238"/>
                  </a:cubicBezTo>
                  <a:lnTo>
                    <a:pt x="37657" y="22179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537" name="Forma livre: Forma 536">
              <a:extLst>
                <a:ext uri="{FF2B5EF4-FFF2-40B4-BE49-F238E27FC236}">
                  <a16:creationId xmlns:a16="http://schemas.microsoft.com/office/drawing/2014/main" id="{46F7DDDC-7DCE-1E3E-BAC3-EAF8D55F7B43}"/>
                </a:ext>
              </a:extLst>
            </p:cNvPr>
            <p:cNvSpPr/>
            <p:nvPr/>
          </p:nvSpPr>
          <p:spPr>
            <a:xfrm>
              <a:off x="6287480" y="1762560"/>
              <a:ext cx="29559" cy="47259"/>
            </a:xfrm>
            <a:custGeom>
              <a:avLst/>
              <a:gdLst>
                <a:gd name="connsiteX0" fmla="*/ 29560 w 29559"/>
                <a:gd name="connsiteY0" fmla="*/ 0 h 47259"/>
                <a:gd name="connsiteX1" fmla="*/ 0 w 29559"/>
                <a:gd name="connsiteY1" fmla="*/ 29560 h 47259"/>
                <a:gd name="connsiteX2" fmla="*/ 29237 w 29559"/>
                <a:gd name="connsiteY2" fmla="*/ 47260 h 472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9559" h="47259">
                  <a:moveTo>
                    <a:pt x="29560" y="0"/>
                  </a:moveTo>
                  <a:lnTo>
                    <a:pt x="0" y="29560"/>
                  </a:lnTo>
                  <a:lnTo>
                    <a:pt x="29237" y="4726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538" name="Gráfico 9">
            <a:extLst>
              <a:ext uri="{FF2B5EF4-FFF2-40B4-BE49-F238E27FC236}">
                <a16:creationId xmlns:a16="http://schemas.microsoft.com/office/drawing/2014/main" id="{44E03A94-5FFA-DFEE-129E-B5CB0A76DB6C}"/>
              </a:ext>
            </a:extLst>
          </p:cNvPr>
          <p:cNvGrpSpPr/>
          <p:nvPr/>
        </p:nvGrpSpPr>
        <p:grpSpPr>
          <a:xfrm>
            <a:off x="6918397" y="1561208"/>
            <a:ext cx="271865" cy="213570"/>
            <a:chOff x="6918397" y="1561208"/>
            <a:chExt cx="271865" cy="213570"/>
          </a:xfrm>
          <a:noFill/>
        </p:grpSpPr>
        <p:sp>
          <p:nvSpPr>
            <p:cNvPr id="539" name="Forma livre: Forma 538">
              <a:extLst>
                <a:ext uri="{FF2B5EF4-FFF2-40B4-BE49-F238E27FC236}">
                  <a16:creationId xmlns:a16="http://schemas.microsoft.com/office/drawing/2014/main" id="{4DE073F4-00D5-FFEE-F402-C6AAD9F93144}"/>
                </a:ext>
              </a:extLst>
            </p:cNvPr>
            <p:cNvSpPr/>
            <p:nvPr/>
          </p:nvSpPr>
          <p:spPr>
            <a:xfrm>
              <a:off x="7098753" y="1664888"/>
              <a:ext cx="53613" cy="1194"/>
            </a:xfrm>
            <a:custGeom>
              <a:avLst/>
              <a:gdLst>
                <a:gd name="connsiteX0" fmla="*/ 53613 w 53613"/>
                <a:gd name="connsiteY0" fmla="*/ 0 h 1194"/>
                <a:gd name="connsiteX1" fmla="*/ 0 w 53613"/>
                <a:gd name="connsiteY1" fmla="*/ 0 h 11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3613" h="1194">
                  <a:moveTo>
                    <a:pt x="53613" y="0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540" name="Forma livre: Forma 539">
              <a:extLst>
                <a:ext uri="{FF2B5EF4-FFF2-40B4-BE49-F238E27FC236}">
                  <a16:creationId xmlns:a16="http://schemas.microsoft.com/office/drawing/2014/main" id="{9F759B50-57A0-EDB9-DB94-C7A3A9BA88A7}"/>
                </a:ext>
              </a:extLst>
            </p:cNvPr>
            <p:cNvSpPr/>
            <p:nvPr/>
          </p:nvSpPr>
          <p:spPr>
            <a:xfrm>
              <a:off x="7098753" y="1630109"/>
              <a:ext cx="53613" cy="1194"/>
            </a:xfrm>
            <a:custGeom>
              <a:avLst/>
              <a:gdLst>
                <a:gd name="connsiteX0" fmla="*/ 53613 w 53613"/>
                <a:gd name="connsiteY0" fmla="*/ 0 h 1194"/>
                <a:gd name="connsiteX1" fmla="*/ 0 w 53613"/>
                <a:gd name="connsiteY1" fmla="*/ 0 h 11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3613" h="1194">
                  <a:moveTo>
                    <a:pt x="53613" y="0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541" name="Forma livre: Forma 540">
              <a:extLst>
                <a:ext uri="{FF2B5EF4-FFF2-40B4-BE49-F238E27FC236}">
                  <a16:creationId xmlns:a16="http://schemas.microsoft.com/office/drawing/2014/main" id="{9CDB80AC-887B-51F6-49A9-31D83DCE3B34}"/>
                </a:ext>
              </a:extLst>
            </p:cNvPr>
            <p:cNvSpPr/>
            <p:nvPr/>
          </p:nvSpPr>
          <p:spPr>
            <a:xfrm>
              <a:off x="7098753" y="1595318"/>
              <a:ext cx="53613" cy="1194"/>
            </a:xfrm>
            <a:custGeom>
              <a:avLst/>
              <a:gdLst>
                <a:gd name="connsiteX0" fmla="*/ 53613 w 53613"/>
                <a:gd name="connsiteY0" fmla="*/ 0 h 1194"/>
                <a:gd name="connsiteX1" fmla="*/ 0 w 53613"/>
                <a:gd name="connsiteY1" fmla="*/ 0 h 11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3613" h="1194">
                  <a:moveTo>
                    <a:pt x="53613" y="0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542" name="Forma livre: Forma 541">
              <a:extLst>
                <a:ext uri="{FF2B5EF4-FFF2-40B4-BE49-F238E27FC236}">
                  <a16:creationId xmlns:a16="http://schemas.microsoft.com/office/drawing/2014/main" id="{5825F700-0248-25B5-F01F-5F1A8F67F19A}"/>
                </a:ext>
              </a:extLst>
            </p:cNvPr>
            <p:cNvSpPr/>
            <p:nvPr/>
          </p:nvSpPr>
          <p:spPr>
            <a:xfrm>
              <a:off x="7004675" y="1699666"/>
              <a:ext cx="147690" cy="1194"/>
            </a:xfrm>
            <a:custGeom>
              <a:avLst/>
              <a:gdLst>
                <a:gd name="connsiteX0" fmla="*/ 147691 w 147690"/>
                <a:gd name="connsiteY0" fmla="*/ 0 h 1194"/>
                <a:gd name="connsiteX1" fmla="*/ 0 w 147690"/>
                <a:gd name="connsiteY1" fmla="*/ 0 h 11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47690" h="1194">
                  <a:moveTo>
                    <a:pt x="147691" y="0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543" name="Forma livre: Forma 542">
              <a:extLst>
                <a:ext uri="{FF2B5EF4-FFF2-40B4-BE49-F238E27FC236}">
                  <a16:creationId xmlns:a16="http://schemas.microsoft.com/office/drawing/2014/main" id="{D12EA123-9E5D-91DA-32B2-6E02D3664D7A}"/>
                </a:ext>
              </a:extLst>
            </p:cNvPr>
            <p:cNvSpPr/>
            <p:nvPr/>
          </p:nvSpPr>
          <p:spPr>
            <a:xfrm>
              <a:off x="7004675" y="1734457"/>
              <a:ext cx="147690" cy="1194"/>
            </a:xfrm>
            <a:custGeom>
              <a:avLst/>
              <a:gdLst>
                <a:gd name="connsiteX0" fmla="*/ 147691 w 147690"/>
                <a:gd name="connsiteY0" fmla="*/ 0 h 1194"/>
                <a:gd name="connsiteX1" fmla="*/ 0 w 147690"/>
                <a:gd name="connsiteY1" fmla="*/ 0 h 11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47690" h="1194">
                  <a:moveTo>
                    <a:pt x="147691" y="0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544" name="Forma livre: Forma 543">
              <a:extLst>
                <a:ext uri="{FF2B5EF4-FFF2-40B4-BE49-F238E27FC236}">
                  <a16:creationId xmlns:a16="http://schemas.microsoft.com/office/drawing/2014/main" id="{E5CDC299-415A-9F02-7E6B-E2BDA34C9E05}"/>
                </a:ext>
              </a:extLst>
            </p:cNvPr>
            <p:cNvSpPr/>
            <p:nvPr/>
          </p:nvSpPr>
          <p:spPr>
            <a:xfrm>
              <a:off x="6918397" y="1561208"/>
              <a:ext cx="271865" cy="213570"/>
            </a:xfrm>
            <a:custGeom>
              <a:avLst/>
              <a:gdLst>
                <a:gd name="connsiteX0" fmla="*/ 0 w 271865"/>
                <a:gd name="connsiteY0" fmla="*/ 31339 h 213570"/>
                <a:gd name="connsiteX1" fmla="*/ 0 w 271865"/>
                <a:gd name="connsiteY1" fmla="*/ 187020 h 213570"/>
                <a:gd name="connsiteX2" fmla="*/ 26801 w 271865"/>
                <a:gd name="connsiteY2" fmla="*/ 213570 h 213570"/>
                <a:gd name="connsiteX3" fmla="*/ 53685 w 271865"/>
                <a:gd name="connsiteY3" fmla="*/ 187020 h 213570"/>
                <a:gd name="connsiteX4" fmla="*/ 53685 w 271865"/>
                <a:gd name="connsiteY4" fmla="*/ 0 h 213570"/>
                <a:gd name="connsiteX5" fmla="*/ 271865 w 271865"/>
                <a:gd name="connsiteY5" fmla="*/ 0 h 213570"/>
                <a:gd name="connsiteX6" fmla="*/ 271865 w 271865"/>
                <a:gd name="connsiteY6" fmla="*/ 189385 h 213570"/>
                <a:gd name="connsiteX7" fmla="*/ 247919 w 271865"/>
                <a:gd name="connsiteY7" fmla="*/ 213558 h 213570"/>
                <a:gd name="connsiteX8" fmla="*/ 29596 w 271865"/>
                <a:gd name="connsiteY8" fmla="*/ 213558 h 2135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71865" h="213570">
                  <a:moveTo>
                    <a:pt x="0" y="31339"/>
                  </a:moveTo>
                  <a:lnTo>
                    <a:pt x="0" y="187020"/>
                  </a:lnTo>
                  <a:cubicBezTo>
                    <a:pt x="0" y="201508"/>
                    <a:pt x="12302" y="213570"/>
                    <a:pt x="26801" y="213570"/>
                  </a:cubicBezTo>
                  <a:cubicBezTo>
                    <a:pt x="41300" y="213570"/>
                    <a:pt x="53685" y="201519"/>
                    <a:pt x="53685" y="187020"/>
                  </a:cubicBezTo>
                  <a:lnTo>
                    <a:pt x="53685" y="0"/>
                  </a:lnTo>
                  <a:lnTo>
                    <a:pt x="271865" y="0"/>
                  </a:lnTo>
                  <a:lnTo>
                    <a:pt x="271865" y="189385"/>
                  </a:lnTo>
                  <a:cubicBezTo>
                    <a:pt x="271865" y="202559"/>
                    <a:pt x="261092" y="213558"/>
                    <a:pt x="247919" y="213558"/>
                  </a:cubicBezTo>
                  <a:lnTo>
                    <a:pt x="29596" y="213558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545" name="Forma livre: Forma 544">
              <a:extLst>
                <a:ext uri="{FF2B5EF4-FFF2-40B4-BE49-F238E27FC236}">
                  <a16:creationId xmlns:a16="http://schemas.microsoft.com/office/drawing/2014/main" id="{876AA644-DA0F-870B-B26D-46999789CDE4}"/>
                </a:ext>
              </a:extLst>
            </p:cNvPr>
            <p:cNvSpPr/>
            <p:nvPr/>
          </p:nvSpPr>
          <p:spPr>
            <a:xfrm>
              <a:off x="6945054" y="1592547"/>
              <a:ext cx="1194" cy="155824"/>
            </a:xfrm>
            <a:custGeom>
              <a:avLst/>
              <a:gdLst>
                <a:gd name="connsiteX0" fmla="*/ 0 w 1194"/>
                <a:gd name="connsiteY0" fmla="*/ 155824 h 155824"/>
                <a:gd name="connsiteX1" fmla="*/ 0 w 1194"/>
                <a:gd name="connsiteY1" fmla="*/ 0 h 1558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94" h="155824">
                  <a:moveTo>
                    <a:pt x="0" y="155824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546" name="Forma livre: Forma 545">
              <a:extLst>
                <a:ext uri="{FF2B5EF4-FFF2-40B4-BE49-F238E27FC236}">
                  <a16:creationId xmlns:a16="http://schemas.microsoft.com/office/drawing/2014/main" id="{16FD6033-EBA5-7A37-841C-EC5CE248576D}"/>
                </a:ext>
              </a:extLst>
            </p:cNvPr>
            <p:cNvSpPr/>
            <p:nvPr/>
          </p:nvSpPr>
          <p:spPr>
            <a:xfrm>
              <a:off x="7005798" y="1595091"/>
              <a:ext cx="62750" cy="69092"/>
            </a:xfrm>
            <a:custGeom>
              <a:avLst/>
              <a:gdLst>
                <a:gd name="connsiteX0" fmla="*/ 0 w 62750"/>
                <a:gd name="connsiteY0" fmla="*/ 0 h 69092"/>
                <a:gd name="connsiteX1" fmla="*/ 62750 w 62750"/>
                <a:gd name="connsiteY1" fmla="*/ 0 h 69092"/>
                <a:gd name="connsiteX2" fmla="*/ 62750 w 62750"/>
                <a:gd name="connsiteY2" fmla="*/ 69092 h 69092"/>
                <a:gd name="connsiteX3" fmla="*/ 0 w 62750"/>
                <a:gd name="connsiteY3" fmla="*/ 69092 h 69092"/>
                <a:gd name="connsiteX4" fmla="*/ 0 w 62750"/>
                <a:gd name="connsiteY4" fmla="*/ 28724 h 690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2750" h="69092">
                  <a:moveTo>
                    <a:pt x="0" y="0"/>
                  </a:moveTo>
                  <a:lnTo>
                    <a:pt x="62750" y="0"/>
                  </a:lnTo>
                  <a:lnTo>
                    <a:pt x="62750" y="69092"/>
                  </a:lnTo>
                  <a:lnTo>
                    <a:pt x="0" y="69092"/>
                  </a:lnTo>
                  <a:lnTo>
                    <a:pt x="0" y="28724"/>
                  </a:lnTo>
                </a:path>
              </a:pathLst>
            </a:custGeom>
            <a:noFill/>
            <a:ln w="6350" cap="sq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548" name="Gráfico 9">
            <a:extLst>
              <a:ext uri="{FF2B5EF4-FFF2-40B4-BE49-F238E27FC236}">
                <a16:creationId xmlns:a16="http://schemas.microsoft.com/office/drawing/2014/main" id="{3A4F03AE-8302-67C1-AF23-5BDD0D4B0616}"/>
              </a:ext>
            </a:extLst>
          </p:cNvPr>
          <p:cNvGrpSpPr/>
          <p:nvPr/>
        </p:nvGrpSpPr>
        <p:grpSpPr>
          <a:xfrm>
            <a:off x="7521426" y="992826"/>
            <a:ext cx="304088" cy="291512"/>
            <a:chOff x="7521426" y="992826"/>
            <a:chExt cx="304088" cy="291512"/>
          </a:xfrm>
          <a:noFill/>
        </p:grpSpPr>
        <p:grpSp>
          <p:nvGrpSpPr>
            <p:cNvPr id="549" name="Gráfico 9">
              <a:extLst>
                <a:ext uri="{FF2B5EF4-FFF2-40B4-BE49-F238E27FC236}">
                  <a16:creationId xmlns:a16="http://schemas.microsoft.com/office/drawing/2014/main" id="{DB526B5A-70C8-4BF6-E6E0-06C455F25218}"/>
                </a:ext>
              </a:extLst>
            </p:cNvPr>
            <p:cNvGrpSpPr/>
            <p:nvPr/>
          </p:nvGrpSpPr>
          <p:grpSpPr>
            <a:xfrm>
              <a:off x="7521426" y="992826"/>
              <a:ext cx="285624" cy="291512"/>
              <a:chOff x="7521426" y="992826"/>
              <a:chExt cx="285624" cy="291512"/>
            </a:xfrm>
            <a:noFill/>
          </p:grpSpPr>
          <p:grpSp>
            <p:nvGrpSpPr>
              <p:cNvPr id="550" name="Gráfico 9">
                <a:extLst>
                  <a:ext uri="{FF2B5EF4-FFF2-40B4-BE49-F238E27FC236}">
                    <a16:creationId xmlns:a16="http://schemas.microsoft.com/office/drawing/2014/main" id="{FB1867EB-BAEF-1DF9-435F-D0D7AF82733F}"/>
                  </a:ext>
                </a:extLst>
              </p:cNvPr>
              <p:cNvGrpSpPr/>
              <p:nvPr/>
            </p:nvGrpSpPr>
            <p:grpSpPr>
              <a:xfrm>
                <a:off x="7634887" y="1045866"/>
                <a:ext cx="172162" cy="238472"/>
                <a:chOff x="7634887" y="1045866"/>
                <a:chExt cx="172162" cy="238472"/>
              </a:xfrm>
              <a:noFill/>
            </p:grpSpPr>
            <p:sp>
              <p:nvSpPr>
                <p:cNvPr id="551" name="Forma livre: Forma 550">
                  <a:extLst>
                    <a:ext uri="{FF2B5EF4-FFF2-40B4-BE49-F238E27FC236}">
                      <a16:creationId xmlns:a16="http://schemas.microsoft.com/office/drawing/2014/main" id="{DA08985A-66EE-3312-6ADF-D77F1D3A2A05}"/>
                    </a:ext>
                  </a:extLst>
                </p:cNvPr>
                <p:cNvSpPr/>
                <p:nvPr/>
              </p:nvSpPr>
              <p:spPr>
                <a:xfrm>
                  <a:off x="7692120" y="1220465"/>
                  <a:ext cx="1194" cy="63872"/>
                </a:xfrm>
                <a:custGeom>
                  <a:avLst/>
                  <a:gdLst>
                    <a:gd name="connsiteX0" fmla="*/ 0 w 1194"/>
                    <a:gd name="connsiteY0" fmla="*/ 0 h 63872"/>
                    <a:gd name="connsiteX1" fmla="*/ 0 w 1194"/>
                    <a:gd name="connsiteY1" fmla="*/ 63873 h 638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194" h="63872">
                      <a:moveTo>
                        <a:pt x="0" y="0"/>
                      </a:moveTo>
                      <a:lnTo>
                        <a:pt x="0" y="63873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552" name="Forma livre: Forma 551">
                  <a:extLst>
                    <a:ext uri="{FF2B5EF4-FFF2-40B4-BE49-F238E27FC236}">
                      <a16:creationId xmlns:a16="http://schemas.microsoft.com/office/drawing/2014/main" id="{7EBDDB47-AE70-83E3-BA6F-0DFD0C0DF223}"/>
                    </a:ext>
                  </a:extLst>
                </p:cNvPr>
                <p:cNvSpPr/>
                <p:nvPr/>
              </p:nvSpPr>
              <p:spPr>
                <a:xfrm>
                  <a:off x="7645684" y="1244005"/>
                  <a:ext cx="46208" cy="40332"/>
                </a:xfrm>
                <a:custGeom>
                  <a:avLst/>
                  <a:gdLst>
                    <a:gd name="connsiteX0" fmla="*/ 46209 w 46208"/>
                    <a:gd name="connsiteY0" fmla="*/ 0 h 40332"/>
                    <a:gd name="connsiteX1" fmla="*/ 0 w 46208"/>
                    <a:gd name="connsiteY1" fmla="*/ 40333 h 4033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6208" h="40332">
                      <a:moveTo>
                        <a:pt x="46209" y="0"/>
                      </a:moveTo>
                      <a:lnTo>
                        <a:pt x="0" y="40333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553" name="Forma livre: Forma 552">
                  <a:extLst>
                    <a:ext uri="{FF2B5EF4-FFF2-40B4-BE49-F238E27FC236}">
                      <a16:creationId xmlns:a16="http://schemas.microsoft.com/office/drawing/2014/main" id="{1AFF7668-03C8-0539-4625-724224C0084A}"/>
                    </a:ext>
                  </a:extLst>
                </p:cNvPr>
                <p:cNvSpPr/>
                <p:nvPr/>
              </p:nvSpPr>
              <p:spPr>
                <a:xfrm>
                  <a:off x="7692597" y="1244005"/>
                  <a:ext cx="46268" cy="40332"/>
                </a:xfrm>
                <a:custGeom>
                  <a:avLst/>
                  <a:gdLst>
                    <a:gd name="connsiteX0" fmla="*/ 46268 w 46268"/>
                    <a:gd name="connsiteY0" fmla="*/ 40333 h 40332"/>
                    <a:gd name="connsiteX1" fmla="*/ 0 w 46268"/>
                    <a:gd name="connsiteY1" fmla="*/ 0 h 4033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6268" h="40332">
                      <a:moveTo>
                        <a:pt x="46268" y="40333"/>
                      </a:moveTo>
                      <a:lnTo>
                        <a:pt x="0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554" name="Forma livre: Forma 553">
                  <a:extLst>
                    <a:ext uri="{FF2B5EF4-FFF2-40B4-BE49-F238E27FC236}">
                      <a16:creationId xmlns:a16="http://schemas.microsoft.com/office/drawing/2014/main" id="{A2B06D83-4936-1978-47DB-5CDF0E5DB72D}"/>
                    </a:ext>
                  </a:extLst>
                </p:cNvPr>
                <p:cNvSpPr/>
                <p:nvPr/>
              </p:nvSpPr>
              <p:spPr>
                <a:xfrm>
                  <a:off x="7634887" y="1045866"/>
                  <a:ext cx="172162" cy="150007"/>
                </a:xfrm>
                <a:custGeom>
                  <a:avLst/>
                  <a:gdLst>
                    <a:gd name="connsiteX0" fmla="*/ 0 w 172162"/>
                    <a:gd name="connsiteY0" fmla="*/ 150008 h 150007"/>
                    <a:gd name="connsiteX1" fmla="*/ 149005 w 172162"/>
                    <a:gd name="connsiteY1" fmla="*/ 150008 h 150007"/>
                    <a:gd name="connsiteX2" fmla="*/ 172163 w 172162"/>
                    <a:gd name="connsiteY2" fmla="*/ 126838 h 150007"/>
                    <a:gd name="connsiteX3" fmla="*/ 172163 w 172162"/>
                    <a:gd name="connsiteY3" fmla="*/ 0 h 15000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72162" h="150007">
                      <a:moveTo>
                        <a:pt x="0" y="150008"/>
                      </a:moveTo>
                      <a:lnTo>
                        <a:pt x="149005" y="150008"/>
                      </a:lnTo>
                      <a:cubicBezTo>
                        <a:pt x="161748" y="150008"/>
                        <a:pt x="172163" y="139581"/>
                        <a:pt x="172163" y="126838"/>
                      </a:cubicBezTo>
                      <a:lnTo>
                        <a:pt x="172163" y="0"/>
                      </a:ln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555" name="Gráfico 9">
                <a:extLst>
                  <a:ext uri="{FF2B5EF4-FFF2-40B4-BE49-F238E27FC236}">
                    <a16:creationId xmlns:a16="http://schemas.microsoft.com/office/drawing/2014/main" id="{D3F16CF6-C38F-3BB1-FB2B-4271358F7F35}"/>
                  </a:ext>
                </a:extLst>
              </p:cNvPr>
              <p:cNvGrpSpPr/>
              <p:nvPr/>
            </p:nvGrpSpPr>
            <p:grpSpPr>
              <a:xfrm>
                <a:off x="7521426" y="992826"/>
                <a:ext cx="99836" cy="291512"/>
                <a:chOff x="7521426" y="992826"/>
                <a:chExt cx="99836" cy="291512"/>
              </a:xfrm>
              <a:noFill/>
            </p:grpSpPr>
            <p:sp>
              <p:nvSpPr>
                <p:cNvPr id="556" name="Forma livre: Forma 555">
                  <a:extLst>
                    <a:ext uri="{FF2B5EF4-FFF2-40B4-BE49-F238E27FC236}">
                      <a16:creationId xmlns:a16="http://schemas.microsoft.com/office/drawing/2014/main" id="{9659D617-4021-CE06-D20E-4CAA0732BC8D}"/>
                    </a:ext>
                  </a:extLst>
                </p:cNvPr>
                <p:cNvSpPr/>
                <p:nvPr/>
              </p:nvSpPr>
              <p:spPr>
                <a:xfrm>
                  <a:off x="7545874" y="992826"/>
                  <a:ext cx="50938" cy="50926"/>
                </a:xfrm>
                <a:custGeom>
                  <a:avLst/>
                  <a:gdLst>
                    <a:gd name="connsiteX0" fmla="*/ 25475 w 50938"/>
                    <a:gd name="connsiteY0" fmla="*/ 0 h 50926"/>
                    <a:gd name="connsiteX1" fmla="*/ 50938 w 50938"/>
                    <a:gd name="connsiteY1" fmla="*/ 25463 h 50926"/>
                    <a:gd name="connsiteX2" fmla="*/ 25475 w 50938"/>
                    <a:gd name="connsiteY2" fmla="*/ 50926 h 50926"/>
                    <a:gd name="connsiteX3" fmla="*/ 0 w 50938"/>
                    <a:gd name="connsiteY3" fmla="*/ 25463 h 50926"/>
                    <a:gd name="connsiteX4" fmla="*/ 25475 w 50938"/>
                    <a:gd name="connsiteY4" fmla="*/ 0 h 5092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0938" h="50926">
                      <a:moveTo>
                        <a:pt x="25475" y="0"/>
                      </a:moveTo>
                      <a:cubicBezTo>
                        <a:pt x="39532" y="0"/>
                        <a:pt x="50938" y="11406"/>
                        <a:pt x="50938" y="25463"/>
                      </a:cubicBezTo>
                      <a:cubicBezTo>
                        <a:pt x="50938" y="39520"/>
                        <a:pt x="39532" y="50926"/>
                        <a:pt x="25475" y="50926"/>
                      </a:cubicBezTo>
                      <a:cubicBezTo>
                        <a:pt x="11418" y="50926"/>
                        <a:pt x="0" y="39520"/>
                        <a:pt x="0" y="25463"/>
                      </a:cubicBezTo>
                      <a:cubicBezTo>
                        <a:pt x="0" y="11406"/>
                        <a:pt x="11406" y="0"/>
                        <a:pt x="25475" y="0"/>
                      </a:cubicBezTo>
                      <a:close/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557" name="Forma livre: Forma 556">
                  <a:extLst>
                    <a:ext uri="{FF2B5EF4-FFF2-40B4-BE49-F238E27FC236}">
                      <a16:creationId xmlns:a16="http://schemas.microsoft.com/office/drawing/2014/main" id="{F830424F-A6A2-AB21-9E27-49AA594F7EC0}"/>
                    </a:ext>
                  </a:extLst>
                </p:cNvPr>
                <p:cNvSpPr/>
                <p:nvPr/>
              </p:nvSpPr>
              <p:spPr>
                <a:xfrm>
                  <a:off x="7521426" y="1068510"/>
                  <a:ext cx="99836" cy="215827"/>
                </a:xfrm>
                <a:custGeom>
                  <a:avLst/>
                  <a:gdLst>
                    <a:gd name="connsiteX0" fmla="*/ 77823 w 99836"/>
                    <a:gd name="connsiteY0" fmla="*/ 215828 h 215827"/>
                    <a:gd name="connsiteX1" fmla="*/ 80236 w 99836"/>
                    <a:gd name="connsiteY1" fmla="*/ 114751 h 215827"/>
                    <a:gd name="connsiteX2" fmla="*/ 99775 w 99836"/>
                    <a:gd name="connsiteY2" fmla="*/ 93731 h 215827"/>
                    <a:gd name="connsiteX3" fmla="*/ 92143 w 99836"/>
                    <a:gd name="connsiteY3" fmla="*/ 17891 h 215827"/>
                    <a:gd name="connsiteX4" fmla="*/ 72377 w 99836"/>
                    <a:gd name="connsiteY4" fmla="*/ 0 h 215827"/>
                    <a:gd name="connsiteX5" fmla="*/ 27482 w 99836"/>
                    <a:gd name="connsiteY5" fmla="*/ 0 h 215827"/>
                    <a:gd name="connsiteX6" fmla="*/ 7716 w 99836"/>
                    <a:gd name="connsiteY6" fmla="*/ 17891 h 215827"/>
                    <a:gd name="connsiteX7" fmla="*/ 60 w 99836"/>
                    <a:gd name="connsiteY7" fmla="*/ 93731 h 215827"/>
                    <a:gd name="connsiteX8" fmla="*/ 19623 w 99836"/>
                    <a:gd name="connsiteY8" fmla="*/ 114751 h 215827"/>
                    <a:gd name="connsiteX9" fmla="*/ 22036 w 99836"/>
                    <a:gd name="connsiteY9" fmla="*/ 215828 h 21582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99836" h="215827">
                      <a:moveTo>
                        <a:pt x="77823" y="215828"/>
                      </a:moveTo>
                      <a:lnTo>
                        <a:pt x="80236" y="114751"/>
                      </a:lnTo>
                      <a:cubicBezTo>
                        <a:pt x="89599" y="111383"/>
                        <a:pt x="100766" y="103572"/>
                        <a:pt x="99775" y="93731"/>
                      </a:cubicBezTo>
                      <a:lnTo>
                        <a:pt x="92143" y="17891"/>
                      </a:lnTo>
                      <a:cubicBezTo>
                        <a:pt x="91152" y="8062"/>
                        <a:pt x="82254" y="0"/>
                        <a:pt x="72377" y="0"/>
                      </a:cubicBezTo>
                      <a:lnTo>
                        <a:pt x="27482" y="0"/>
                      </a:lnTo>
                      <a:cubicBezTo>
                        <a:pt x="17605" y="0"/>
                        <a:pt x="8695" y="8050"/>
                        <a:pt x="7716" y="17891"/>
                      </a:cubicBezTo>
                      <a:lnTo>
                        <a:pt x="60" y="93731"/>
                      </a:lnTo>
                      <a:cubicBezTo>
                        <a:pt x="-919" y="103560"/>
                        <a:pt x="10260" y="111371"/>
                        <a:pt x="19623" y="114751"/>
                      </a:cubicBezTo>
                      <a:lnTo>
                        <a:pt x="22036" y="215828"/>
                      </a:ln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sp>
          <p:nvSpPr>
            <p:cNvPr id="558" name="Forma livre: Forma 557">
              <a:extLst>
                <a:ext uri="{FF2B5EF4-FFF2-40B4-BE49-F238E27FC236}">
                  <a16:creationId xmlns:a16="http://schemas.microsoft.com/office/drawing/2014/main" id="{2EB099BB-EC5D-14F8-C100-F27F067C61A4}"/>
                </a:ext>
              </a:extLst>
            </p:cNvPr>
            <p:cNvSpPr/>
            <p:nvPr/>
          </p:nvSpPr>
          <p:spPr>
            <a:xfrm>
              <a:off x="7623900" y="1016951"/>
              <a:ext cx="201614" cy="25833"/>
            </a:xfrm>
            <a:custGeom>
              <a:avLst/>
              <a:gdLst>
                <a:gd name="connsiteX0" fmla="*/ 0 w 201614"/>
                <a:gd name="connsiteY0" fmla="*/ 0 h 25833"/>
                <a:gd name="connsiteX1" fmla="*/ 201615 w 201614"/>
                <a:gd name="connsiteY1" fmla="*/ 0 h 25833"/>
                <a:gd name="connsiteX2" fmla="*/ 201615 w 201614"/>
                <a:gd name="connsiteY2" fmla="*/ 25833 h 25833"/>
                <a:gd name="connsiteX3" fmla="*/ 63729 w 201614"/>
                <a:gd name="connsiteY3" fmla="*/ 25833 h 258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1614" h="25833">
                  <a:moveTo>
                    <a:pt x="0" y="0"/>
                  </a:moveTo>
                  <a:lnTo>
                    <a:pt x="201615" y="0"/>
                  </a:lnTo>
                  <a:lnTo>
                    <a:pt x="201615" y="25833"/>
                  </a:lnTo>
                  <a:lnTo>
                    <a:pt x="63729" y="25833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559" name="Forma livre: Forma 558">
              <a:extLst>
                <a:ext uri="{FF2B5EF4-FFF2-40B4-BE49-F238E27FC236}">
                  <a16:creationId xmlns:a16="http://schemas.microsoft.com/office/drawing/2014/main" id="{56C4AAF7-E63C-ACF8-E79A-87379F62AAEB}"/>
                </a:ext>
              </a:extLst>
            </p:cNvPr>
            <p:cNvSpPr/>
            <p:nvPr/>
          </p:nvSpPr>
          <p:spPr>
            <a:xfrm>
              <a:off x="7623900" y="1042785"/>
              <a:ext cx="34193" cy="1194"/>
            </a:xfrm>
            <a:custGeom>
              <a:avLst/>
              <a:gdLst>
                <a:gd name="connsiteX0" fmla="*/ 34194 w 34193"/>
                <a:gd name="connsiteY0" fmla="*/ 0 h 1194"/>
                <a:gd name="connsiteX1" fmla="*/ 0 w 34193"/>
                <a:gd name="connsiteY1" fmla="*/ 0 h 11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4193" h="1194">
                  <a:moveTo>
                    <a:pt x="34194" y="0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560" name="Gráfico 9">
            <a:extLst>
              <a:ext uri="{FF2B5EF4-FFF2-40B4-BE49-F238E27FC236}">
                <a16:creationId xmlns:a16="http://schemas.microsoft.com/office/drawing/2014/main" id="{DC4E37EA-8972-0BA8-9638-81CC0CA9C264}"/>
              </a:ext>
            </a:extLst>
          </p:cNvPr>
          <p:cNvGrpSpPr/>
          <p:nvPr/>
        </p:nvGrpSpPr>
        <p:grpSpPr>
          <a:xfrm>
            <a:off x="6259664" y="1019447"/>
            <a:ext cx="342378" cy="238268"/>
            <a:chOff x="6259664" y="1019447"/>
            <a:chExt cx="342378" cy="238268"/>
          </a:xfrm>
          <a:noFill/>
        </p:grpSpPr>
        <p:sp>
          <p:nvSpPr>
            <p:cNvPr id="561" name="Forma livre: Forma 560">
              <a:extLst>
                <a:ext uri="{FF2B5EF4-FFF2-40B4-BE49-F238E27FC236}">
                  <a16:creationId xmlns:a16="http://schemas.microsoft.com/office/drawing/2014/main" id="{E8D3A6F9-0814-5612-078C-979248D5EAEB}"/>
                </a:ext>
              </a:extLst>
            </p:cNvPr>
            <p:cNvSpPr/>
            <p:nvPr/>
          </p:nvSpPr>
          <p:spPr>
            <a:xfrm>
              <a:off x="6376541" y="1019447"/>
              <a:ext cx="136535" cy="206511"/>
            </a:xfrm>
            <a:custGeom>
              <a:avLst/>
              <a:gdLst>
                <a:gd name="connsiteX0" fmla="*/ 0 w 136535"/>
                <a:gd name="connsiteY0" fmla="*/ 148240 h 206511"/>
                <a:gd name="connsiteX1" fmla="*/ 136536 w 136535"/>
                <a:gd name="connsiteY1" fmla="*/ 206512 h 206511"/>
                <a:gd name="connsiteX2" fmla="*/ 136536 w 136535"/>
                <a:gd name="connsiteY2" fmla="*/ 0 h 206511"/>
                <a:gd name="connsiteX3" fmla="*/ 0 w 136535"/>
                <a:gd name="connsiteY3" fmla="*/ 58271 h 2065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6535" h="206511">
                  <a:moveTo>
                    <a:pt x="0" y="148240"/>
                  </a:moveTo>
                  <a:cubicBezTo>
                    <a:pt x="0" y="148240"/>
                    <a:pt x="61496" y="149005"/>
                    <a:pt x="136536" y="206512"/>
                  </a:cubicBezTo>
                  <a:lnTo>
                    <a:pt x="136536" y="0"/>
                  </a:lnTo>
                  <a:cubicBezTo>
                    <a:pt x="67599" y="57495"/>
                    <a:pt x="0" y="58271"/>
                    <a:pt x="0" y="58271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562" name="Forma livre: Forma 561">
              <a:extLst>
                <a:ext uri="{FF2B5EF4-FFF2-40B4-BE49-F238E27FC236}">
                  <a16:creationId xmlns:a16="http://schemas.microsoft.com/office/drawing/2014/main" id="{675228E4-6B38-AADD-5EC1-4405097E0EB5}"/>
                </a:ext>
              </a:extLst>
            </p:cNvPr>
            <p:cNvSpPr/>
            <p:nvPr/>
          </p:nvSpPr>
          <p:spPr>
            <a:xfrm>
              <a:off x="6293762" y="1169073"/>
              <a:ext cx="80903" cy="88643"/>
            </a:xfrm>
            <a:custGeom>
              <a:avLst/>
              <a:gdLst>
                <a:gd name="connsiteX0" fmla="*/ 0 w 80903"/>
                <a:gd name="connsiteY0" fmla="*/ 0 h 88643"/>
                <a:gd name="connsiteX1" fmla="*/ 38720 w 80903"/>
                <a:gd name="connsiteY1" fmla="*/ 88643 h 88643"/>
                <a:gd name="connsiteX2" fmla="*/ 80904 w 80903"/>
                <a:gd name="connsiteY2" fmla="*/ 88643 h 88643"/>
                <a:gd name="connsiteX3" fmla="*/ 58080 w 80903"/>
                <a:gd name="connsiteY3" fmla="*/ 1839 h 886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0903" h="88643">
                  <a:moveTo>
                    <a:pt x="0" y="0"/>
                  </a:moveTo>
                  <a:lnTo>
                    <a:pt x="38720" y="88643"/>
                  </a:lnTo>
                  <a:lnTo>
                    <a:pt x="80904" y="88643"/>
                  </a:lnTo>
                  <a:lnTo>
                    <a:pt x="58080" y="1839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563" name="Gráfico 9">
              <a:extLst>
                <a:ext uri="{FF2B5EF4-FFF2-40B4-BE49-F238E27FC236}">
                  <a16:creationId xmlns:a16="http://schemas.microsoft.com/office/drawing/2014/main" id="{7CDDD8EB-C99C-41B2-C717-8D7CBEE79E3E}"/>
                </a:ext>
              </a:extLst>
            </p:cNvPr>
            <p:cNvGrpSpPr/>
            <p:nvPr/>
          </p:nvGrpSpPr>
          <p:grpSpPr>
            <a:xfrm>
              <a:off x="6550245" y="1056591"/>
              <a:ext cx="51798" cy="132224"/>
              <a:chOff x="6550245" y="1056591"/>
              <a:chExt cx="51798" cy="132224"/>
            </a:xfrm>
            <a:noFill/>
          </p:grpSpPr>
          <p:sp>
            <p:nvSpPr>
              <p:cNvPr id="564" name="Forma livre: Forma 563">
                <a:extLst>
                  <a:ext uri="{FF2B5EF4-FFF2-40B4-BE49-F238E27FC236}">
                    <a16:creationId xmlns:a16="http://schemas.microsoft.com/office/drawing/2014/main" id="{413B2EBE-89A3-BD5F-C635-2209A6D9A86B}"/>
                  </a:ext>
                </a:extLst>
              </p:cNvPr>
              <p:cNvSpPr/>
              <p:nvPr/>
            </p:nvSpPr>
            <p:spPr>
              <a:xfrm>
                <a:off x="6550245" y="1080048"/>
                <a:ext cx="17174" cy="85633"/>
              </a:xfrm>
              <a:custGeom>
                <a:avLst/>
                <a:gdLst>
                  <a:gd name="connsiteX0" fmla="*/ 275 w 17174"/>
                  <a:gd name="connsiteY0" fmla="*/ 0 h 85633"/>
                  <a:gd name="connsiteX1" fmla="*/ 17174 w 17174"/>
                  <a:gd name="connsiteY1" fmla="*/ 42673 h 85633"/>
                  <a:gd name="connsiteX2" fmla="*/ 0 w 17174"/>
                  <a:gd name="connsiteY2" fmla="*/ 85634 h 856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7174" h="85633">
                    <a:moveTo>
                      <a:pt x="275" y="0"/>
                    </a:moveTo>
                    <a:cubicBezTo>
                      <a:pt x="10749" y="11155"/>
                      <a:pt x="17174" y="26168"/>
                      <a:pt x="17174" y="42673"/>
                    </a:cubicBezTo>
                    <a:cubicBezTo>
                      <a:pt x="17174" y="59179"/>
                      <a:pt x="10641" y="74455"/>
                      <a:pt x="0" y="85634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65" name="Forma livre: Forma 564">
                <a:extLst>
                  <a:ext uri="{FF2B5EF4-FFF2-40B4-BE49-F238E27FC236}">
                    <a16:creationId xmlns:a16="http://schemas.microsoft.com/office/drawing/2014/main" id="{CB106F32-0333-5D4C-881E-E021B9755968}"/>
                  </a:ext>
                </a:extLst>
              </p:cNvPr>
              <p:cNvSpPr/>
              <p:nvPr/>
            </p:nvSpPr>
            <p:spPr>
              <a:xfrm>
                <a:off x="6575982" y="1056591"/>
                <a:ext cx="26060" cy="132224"/>
              </a:xfrm>
              <a:custGeom>
                <a:avLst/>
                <a:gdLst>
                  <a:gd name="connsiteX0" fmla="*/ 0 w 26060"/>
                  <a:gd name="connsiteY0" fmla="*/ 0 h 132224"/>
                  <a:gd name="connsiteX1" fmla="*/ 26060 w 26060"/>
                  <a:gd name="connsiteY1" fmla="*/ 66130 h 132224"/>
                  <a:gd name="connsiteX2" fmla="*/ 36 w 26060"/>
                  <a:gd name="connsiteY2" fmla="*/ 132224 h 1322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6060" h="132224">
                    <a:moveTo>
                      <a:pt x="0" y="0"/>
                    </a:moveTo>
                    <a:cubicBezTo>
                      <a:pt x="16171" y="17318"/>
                      <a:pt x="26060" y="40571"/>
                      <a:pt x="26060" y="66130"/>
                    </a:cubicBezTo>
                    <a:cubicBezTo>
                      <a:pt x="26060" y="91689"/>
                      <a:pt x="16183" y="114907"/>
                      <a:pt x="36" y="132224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566" name="Forma livre: Forma 565">
              <a:extLst>
                <a:ext uri="{FF2B5EF4-FFF2-40B4-BE49-F238E27FC236}">
                  <a16:creationId xmlns:a16="http://schemas.microsoft.com/office/drawing/2014/main" id="{E20CD4AF-4610-CDB6-060A-2793E5E343E1}"/>
                </a:ext>
              </a:extLst>
            </p:cNvPr>
            <p:cNvSpPr/>
            <p:nvPr/>
          </p:nvSpPr>
          <p:spPr>
            <a:xfrm>
              <a:off x="6259664" y="1075402"/>
              <a:ext cx="92560" cy="94614"/>
            </a:xfrm>
            <a:custGeom>
              <a:avLst/>
              <a:gdLst>
                <a:gd name="connsiteX0" fmla="*/ 47773 w 92560"/>
                <a:gd name="connsiteY0" fmla="*/ 0 h 94614"/>
                <a:gd name="connsiteX1" fmla="*/ 0 w 92560"/>
                <a:gd name="connsiteY1" fmla="*/ 47307 h 94614"/>
                <a:gd name="connsiteX2" fmla="*/ 47773 w 92560"/>
                <a:gd name="connsiteY2" fmla="*/ 94615 h 94614"/>
                <a:gd name="connsiteX3" fmla="*/ 92561 w 92560"/>
                <a:gd name="connsiteY3" fmla="*/ 94615 h 94614"/>
                <a:gd name="connsiteX4" fmla="*/ 92561 w 92560"/>
                <a:gd name="connsiteY4" fmla="*/ 12 h 94614"/>
                <a:gd name="connsiteX5" fmla="*/ 47773 w 92560"/>
                <a:gd name="connsiteY5" fmla="*/ 12 h 946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2560" h="94614">
                  <a:moveTo>
                    <a:pt x="47773" y="0"/>
                  </a:moveTo>
                  <a:cubicBezTo>
                    <a:pt x="21498" y="0"/>
                    <a:pt x="0" y="21283"/>
                    <a:pt x="0" y="47307"/>
                  </a:cubicBezTo>
                  <a:cubicBezTo>
                    <a:pt x="0" y="73332"/>
                    <a:pt x="21498" y="94615"/>
                    <a:pt x="47773" y="94615"/>
                  </a:cubicBezTo>
                  <a:lnTo>
                    <a:pt x="92561" y="94615"/>
                  </a:lnTo>
                  <a:lnTo>
                    <a:pt x="92561" y="12"/>
                  </a:lnTo>
                  <a:lnTo>
                    <a:pt x="47773" y="12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567" name="Forma livre: Forma 566">
              <a:extLst>
                <a:ext uri="{FF2B5EF4-FFF2-40B4-BE49-F238E27FC236}">
                  <a16:creationId xmlns:a16="http://schemas.microsoft.com/office/drawing/2014/main" id="{22180CD6-6C4C-03B9-DD17-996B893B585F}"/>
                </a:ext>
              </a:extLst>
            </p:cNvPr>
            <p:cNvSpPr/>
            <p:nvPr/>
          </p:nvSpPr>
          <p:spPr>
            <a:xfrm>
              <a:off x="6285223" y="1099300"/>
              <a:ext cx="35256" cy="14797"/>
            </a:xfrm>
            <a:custGeom>
              <a:avLst/>
              <a:gdLst>
                <a:gd name="connsiteX0" fmla="*/ 0 w 35256"/>
                <a:gd name="connsiteY0" fmla="*/ 14798 h 14797"/>
                <a:gd name="connsiteX1" fmla="*/ 22215 w 35256"/>
                <a:gd name="connsiteY1" fmla="*/ 0 h 14797"/>
                <a:gd name="connsiteX2" fmla="*/ 35257 w 35256"/>
                <a:gd name="connsiteY2" fmla="*/ 0 h 14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5256" h="14797">
                  <a:moveTo>
                    <a:pt x="0" y="14798"/>
                  </a:moveTo>
                  <a:cubicBezTo>
                    <a:pt x="3511" y="6139"/>
                    <a:pt x="12146" y="0"/>
                    <a:pt x="22215" y="0"/>
                  </a:cubicBezTo>
                  <a:lnTo>
                    <a:pt x="35257" y="0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568" name="Gráfico 9">
            <a:extLst>
              <a:ext uri="{FF2B5EF4-FFF2-40B4-BE49-F238E27FC236}">
                <a16:creationId xmlns:a16="http://schemas.microsoft.com/office/drawing/2014/main" id="{1387B794-6B28-4BC4-9DEF-79B684DB1D83}"/>
              </a:ext>
            </a:extLst>
          </p:cNvPr>
          <p:cNvGrpSpPr/>
          <p:nvPr/>
        </p:nvGrpSpPr>
        <p:grpSpPr>
          <a:xfrm>
            <a:off x="6905259" y="989517"/>
            <a:ext cx="298128" cy="298128"/>
            <a:chOff x="6905259" y="989517"/>
            <a:chExt cx="298128" cy="298128"/>
          </a:xfrm>
          <a:noFill/>
        </p:grpSpPr>
        <p:grpSp>
          <p:nvGrpSpPr>
            <p:cNvPr id="569" name="Gráfico 9">
              <a:extLst>
                <a:ext uri="{FF2B5EF4-FFF2-40B4-BE49-F238E27FC236}">
                  <a16:creationId xmlns:a16="http://schemas.microsoft.com/office/drawing/2014/main" id="{6FFBCD5F-6070-17ED-7DEC-15366B075AA8}"/>
                </a:ext>
              </a:extLst>
            </p:cNvPr>
            <p:cNvGrpSpPr/>
            <p:nvPr/>
          </p:nvGrpSpPr>
          <p:grpSpPr>
            <a:xfrm>
              <a:off x="6934914" y="1018814"/>
              <a:ext cx="186614" cy="186590"/>
              <a:chOff x="6934914" y="1018814"/>
              <a:chExt cx="186614" cy="186590"/>
            </a:xfrm>
          </p:grpSpPr>
          <p:sp>
            <p:nvSpPr>
              <p:cNvPr id="570" name="Forma livre: Forma 569">
                <a:extLst>
                  <a:ext uri="{FF2B5EF4-FFF2-40B4-BE49-F238E27FC236}">
                    <a16:creationId xmlns:a16="http://schemas.microsoft.com/office/drawing/2014/main" id="{A5DC03F1-66AE-7F44-22C6-6E0FE7BC2A61}"/>
                  </a:ext>
                </a:extLst>
              </p:cNvPr>
              <p:cNvSpPr/>
              <p:nvPr/>
            </p:nvSpPr>
            <p:spPr>
              <a:xfrm>
                <a:off x="6934914" y="1175869"/>
                <a:ext cx="29547" cy="29535"/>
              </a:xfrm>
              <a:custGeom>
                <a:avLst/>
                <a:gdLst>
                  <a:gd name="connsiteX0" fmla="*/ 29548 w 29547"/>
                  <a:gd name="connsiteY0" fmla="*/ 29536 h 29535"/>
                  <a:gd name="connsiteX1" fmla="*/ 0 w 29547"/>
                  <a:gd name="connsiteY1" fmla="*/ 0 h 295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9547" h="29535">
                    <a:moveTo>
                      <a:pt x="29548" y="29536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71" name="Forma livre: Forma 570">
                <a:extLst>
                  <a:ext uri="{FF2B5EF4-FFF2-40B4-BE49-F238E27FC236}">
                    <a16:creationId xmlns:a16="http://schemas.microsoft.com/office/drawing/2014/main" id="{A868D959-DCCC-7B0D-AA59-54EEA22B0033}"/>
                  </a:ext>
                </a:extLst>
              </p:cNvPr>
              <p:cNvSpPr/>
              <p:nvPr/>
            </p:nvSpPr>
            <p:spPr>
              <a:xfrm>
                <a:off x="6961094" y="1149689"/>
                <a:ext cx="52622" cy="52610"/>
              </a:xfrm>
              <a:custGeom>
                <a:avLst/>
                <a:gdLst>
                  <a:gd name="connsiteX0" fmla="*/ 52622 w 52622"/>
                  <a:gd name="connsiteY0" fmla="*/ 52610 h 52610"/>
                  <a:gd name="connsiteX1" fmla="*/ 0 w 52622"/>
                  <a:gd name="connsiteY1" fmla="*/ 0 h 526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2622" h="52610">
                    <a:moveTo>
                      <a:pt x="52622" y="52610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72" name="Forma livre: Forma 571">
                <a:extLst>
                  <a:ext uri="{FF2B5EF4-FFF2-40B4-BE49-F238E27FC236}">
                    <a16:creationId xmlns:a16="http://schemas.microsoft.com/office/drawing/2014/main" id="{482FDB4B-4D52-1217-0232-E02A01B29ED8}"/>
                  </a:ext>
                </a:extLst>
              </p:cNvPr>
              <p:cNvSpPr/>
              <p:nvPr/>
            </p:nvSpPr>
            <p:spPr>
              <a:xfrm>
                <a:off x="6987274" y="1123521"/>
                <a:ext cx="29535" cy="29523"/>
              </a:xfrm>
              <a:custGeom>
                <a:avLst/>
                <a:gdLst>
                  <a:gd name="connsiteX0" fmla="*/ 29536 w 29535"/>
                  <a:gd name="connsiteY0" fmla="*/ 29524 h 29523"/>
                  <a:gd name="connsiteX1" fmla="*/ 0 w 29535"/>
                  <a:gd name="connsiteY1" fmla="*/ 0 h 295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9535" h="29523">
                    <a:moveTo>
                      <a:pt x="29536" y="29524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73" name="Forma livre: Forma 572">
                <a:extLst>
                  <a:ext uri="{FF2B5EF4-FFF2-40B4-BE49-F238E27FC236}">
                    <a16:creationId xmlns:a16="http://schemas.microsoft.com/office/drawing/2014/main" id="{DDB6D14B-5475-E4F4-7DE9-4023F49737D4}"/>
                  </a:ext>
                </a:extLst>
              </p:cNvPr>
              <p:cNvSpPr/>
              <p:nvPr/>
            </p:nvSpPr>
            <p:spPr>
              <a:xfrm>
                <a:off x="7013454" y="1097342"/>
                <a:ext cx="52622" cy="52610"/>
              </a:xfrm>
              <a:custGeom>
                <a:avLst/>
                <a:gdLst>
                  <a:gd name="connsiteX0" fmla="*/ 52622 w 52622"/>
                  <a:gd name="connsiteY0" fmla="*/ 52610 h 52610"/>
                  <a:gd name="connsiteX1" fmla="*/ 0 w 52622"/>
                  <a:gd name="connsiteY1" fmla="*/ 0 h 526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2622" h="52610">
                    <a:moveTo>
                      <a:pt x="52622" y="52610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74" name="Forma livre: Forma 573">
                <a:extLst>
                  <a:ext uri="{FF2B5EF4-FFF2-40B4-BE49-F238E27FC236}">
                    <a16:creationId xmlns:a16="http://schemas.microsoft.com/office/drawing/2014/main" id="{37F079E5-0C1A-19D6-214F-9BF8BF610174}"/>
                  </a:ext>
                </a:extLst>
              </p:cNvPr>
              <p:cNvSpPr/>
              <p:nvPr/>
            </p:nvSpPr>
            <p:spPr>
              <a:xfrm>
                <a:off x="7039633" y="1071162"/>
                <a:ext cx="29535" cy="29535"/>
              </a:xfrm>
              <a:custGeom>
                <a:avLst/>
                <a:gdLst>
                  <a:gd name="connsiteX0" fmla="*/ 29536 w 29535"/>
                  <a:gd name="connsiteY0" fmla="*/ 29536 h 29535"/>
                  <a:gd name="connsiteX1" fmla="*/ 0 w 29535"/>
                  <a:gd name="connsiteY1" fmla="*/ 0 h 295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9535" h="29535">
                    <a:moveTo>
                      <a:pt x="29536" y="29536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75" name="Forma livre: Forma 574">
                <a:extLst>
                  <a:ext uri="{FF2B5EF4-FFF2-40B4-BE49-F238E27FC236}">
                    <a16:creationId xmlns:a16="http://schemas.microsoft.com/office/drawing/2014/main" id="{476F6962-2273-01E8-FDB8-F1206F4092F6}"/>
                  </a:ext>
                </a:extLst>
              </p:cNvPr>
              <p:cNvSpPr/>
              <p:nvPr/>
            </p:nvSpPr>
            <p:spPr>
              <a:xfrm>
                <a:off x="7091981" y="1018814"/>
                <a:ext cx="29547" cy="29535"/>
              </a:xfrm>
              <a:custGeom>
                <a:avLst/>
                <a:gdLst>
                  <a:gd name="connsiteX0" fmla="*/ 29548 w 29547"/>
                  <a:gd name="connsiteY0" fmla="*/ 29536 h 29535"/>
                  <a:gd name="connsiteX1" fmla="*/ 0 w 29547"/>
                  <a:gd name="connsiteY1" fmla="*/ 0 h 295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9547" h="29535">
                    <a:moveTo>
                      <a:pt x="29548" y="29536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76" name="Forma livre: Forma 575">
                <a:extLst>
                  <a:ext uri="{FF2B5EF4-FFF2-40B4-BE49-F238E27FC236}">
                    <a16:creationId xmlns:a16="http://schemas.microsoft.com/office/drawing/2014/main" id="{6E374C41-7963-CB4D-1A10-56D378C8EE47}"/>
                  </a:ext>
                </a:extLst>
              </p:cNvPr>
              <p:cNvSpPr/>
              <p:nvPr/>
            </p:nvSpPr>
            <p:spPr>
              <a:xfrm>
                <a:off x="7065813" y="1044994"/>
                <a:ext cx="52610" cy="52610"/>
              </a:xfrm>
              <a:custGeom>
                <a:avLst/>
                <a:gdLst>
                  <a:gd name="connsiteX0" fmla="*/ 52610 w 52610"/>
                  <a:gd name="connsiteY0" fmla="*/ 52610 h 52610"/>
                  <a:gd name="connsiteX1" fmla="*/ 0 w 52610"/>
                  <a:gd name="connsiteY1" fmla="*/ 0 h 526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2610" h="52610">
                    <a:moveTo>
                      <a:pt x="52610" y="52610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577" name="Forma livre: Forma 576">
              <a:extLst>
                <a:ext uri="{FF2B5EF4-FFF2-40B4-BE49-F238E27FC236}">
                  <a16:creationId xmlns:a16="http://schemas.microsoft.com/office/drawing/2014/main" id="{99181C40-EBBF-F720-61AF-6203786CFC94}"/>
                </a:ext>
              </a:extLst>
            </p:cNvPr>
            <p:cNvSpPr/>
            <p:nvPr/>
          </p:nvSpPr>
          <p:spPr>
            <a:xfrm>
              <a:off x="6905259" y="989517"/>
              <a:ext cx="298128" cy="298128"/>
            </a:xfrm>
            <a:custGeom>
              <a:avLst/>
              <a:gdLst>
                <a:gd name="connsiteX0" fmla="*/ 83519 w 298128"/>
                <a:gd name="connsiteY0" fmla="*/ 298129 h 298128"/>
                <a:gd name="connsiteX1" fmla="*/ 0 w 298128"/>
                <a:gd name="connsiteY1" fmla="*/ 214609 h 298128"/>
                <a:gd name="connsiteX2" fmla="*/ 214609 w 298128"/>
                <a:gd name="connsiteY2" fmla="*/ 0 h 298128"/>
                <a:gd name="connsiteX3" fmla="*/ 298129 w 298128"/>
                <a:gd name="connsiteY3" fmla="*/ 83520 h 298128"/>
                <a:gd name="connsiteX4" fmla="*/ 104396 w 298128"/>
                <a:gd name="connsiteY4" fmla="*/ 277252 h 2981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98128" h="298128">
                  <a:moveTo>
                    <a:pt x="83519" y="298129"/>
                  </a:moveTo>
                  <a:lnTo>
                    <a:pt x="0" y="214609"/>
                  </a:lnTo>
                  <a:lnTo>
                    <a:pt x="214609" y="0"/>
                  </a:lnTo>
                  <a:lnTo>
                    <a:pt x="298129" y="83520"/>
                  </a:lnTo>
                  <a:lnTo>
                    <a:pt x="104396" y="277252"/>
                  </a:lnTo>
                </a:path>
              </a:pathLst>
            </a:custGeom>
            <a:noFill/>
            <a:ln w="6350" cap="sq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579" name="Gráfico 10">
            <a:extLst>
              <a:ext uri="{FF2B5EF4-FFF2-40B4-BE49-F238E27FC236}">
                <a16:creationId xmlns:a16="http://schemas.microsoft.com/office/drawing/2014/main" id="{7EB07D9D-F500-F855-BB1C-4365061B689D}"/>
              </a:ext>
            </a:extLst>
          </p:cNvPr>
          <p:cNvGrpSpPr/>
          <p:nvPr/>
        </p:nvGrpSpPr>
        <p:grpSpPr>
          <a:xfrm>
            <a:off x="8733009" y="2047034"/>
            <a:ext cx="223883" cy="311537"/>
            <a:chOff x="8733009" y="2047034"/>
            <a:chExt cx="223883" cy="311537"/>
          </a:xfrm>
          <a:noFill/>
        </p:grpSpPr>
        <p:grpSp>
          <p:nvGrpSpPr>
            <p:cNvPr id="580" name="Gráfico 10">
              <a:extLst>
                <a:ext uri="{FF2B5EF4-FFF2-40B4-BE49-F238E27FC236}">
                  <a16:creationId xmlns:a16="http://schemas.microsoft.com/office/drawing/2014/main" id="{ED59F64B-DAEB-74A9-947F-4CCA6A1F3D4E}"/>
                </a:ext>
              </a:extLst>
            </p:cNvPr>
            <p:cNvGrpSpPr/>
            <p:nvPr/>
          </p:nvGrpSpPr>
          <p:grpSpPr>
            <a:xfrm>
              <a:off x="8733009" y="2047034"/>
              <a:ext cx="112454" cy="311537"/>
              <a:chOff x="8733009" y="2047034"/>
              <a:chExt cx="112454" cy="311537"/>
            </a:xfrm>
            <a:noFill/>
          </p:grpSpPr>
          <p:sp>
            <p:nvSpPr>
              <p:cNvPr id="581" name="Forma livre: Forma 580">
                <a:extLst>
                  <a:ext uri="{FF2B5EF4-FFF2-40B4-BE49-F238E27FC236}">
                    <a16:creationId xmlns:a16="http://schemas.microsoft.com/office/drawing/2014/main" id="{D9CC20F6-4F06-3DF8-24E5-965631C27B6D}"/>
                  </a:ext>
                </a:extLst>
              </p:cNvPr>
              <p:cNvSpPr/>
              <p:nvPr/>
            </p:nvSpPr>
            <p:spPr>
              <a:xfrm>
                <a:off x="8789201" y="2072529"/>
                <a:ext cx="1179" cy="34245"/>
              </a:xfrm>
              <a:custGeom>
                <a:avLst/>
                <a:gdLst>
                  <a:gd name="connsiteX0" fmla="*/ 0 w 1179"/>
                  <a:gd name="connsiteY0" fmla="*/ 0 h 34245"/>
                  <a:gd name="connsiteX1" fmla="*/ 0 w 1179"/>
                  <a:gd name="connsiteY1" fmla="*/ 34246 h 342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79" h="34245">
                    <a:moveTo>
                      <a:pt x="0" y="0"/>
                    </a:moveTo>
                    <a:lnTo>
                      <a:pt x="0" y="34246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82" name="Forma livre: Forma 581">
                <a:extLst>
                  <a:ext uri="{FF2B5EF4-FFF2-40B4-BE49-F238E27FC236}">
                    <a16:creationId xmlns:a16="http://schemas.microsoft.com/office/drawing/2014/main" id="{FC079745-1D86-41F4-4075-885835E1ECC7}"/>
                  </a:ext>
                </a:extLst>
              </p:cNvPr>
              <p:cNvSpPr/>
              <p:nvPr/>
            </p:nvSpPr>
            <p:spPr>
              <a:xfrm>
                <a:off x="8761017" y="2072529"/>
                <a:ext cx="1179" cy="34245"/>
              </a:xfrm>
              <a:custGeom>
                <a:avLst/>
                <a:gdLst>
                  <a:gd name="connsiteX0" fmla="*/ 0 w 1179"/>
                  <a:gd name="connsiteY0" fmla="*/ 0 h 34245"/>
                  <a:gd name="connsiteX1" fmla="*/ 0 w 1179"/>
                  <a:gd name="connsiteY1" fmla="*/ 34246 h 342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79" h="34245">
                    <a:moveTo>
                      <a:pt x="0" y="0"/>
                    </a:moveTo>
                    <a:lnTo>
                      <a:pt x="0" y="34246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83" name="Forma livre: Forma 582">
                <a:extLst>
                  <a:ext uri="{FF2B5EF4-FFF2-40B4-BE49-F238E27FC236}">
                    <a16:creationId xmlns:a16="http://schemas.microsoft.com/office/drawing/2014/main" id="{5E65A2D2-7C3C-2011-F692-C7746C4AB87A}"/>
                  </a:ext>
                </a:extLst>
              </p:cNvPr>
              <p:cNvSpPr/>
              <p:nvPr/>
            </p:nvSpPr>
            <p:spPr>
              <a:xfrm>
                <a:off x="8733009" y="2047034"/>
                <a:ext cx="112454" cy="60590"/>
              </a:xfrm>
              <a:custGeom>
                <a:avLst/>
                <a:gdLst>
                  <a:gd name="connsiteX0" fmla="*/ 112455 w 112454"/>
                  <a:gd name="connsiteY0" fmla="*/ 60591 h 60590"/>
                  <a:gd name="connsiteX1" fmla="*/ 112455 w 112454"/>
                  <a:gd name="connsiteY1" fmla="*/ 12807 h 60590"/>
                  <a:gd name="connsiteX2" fmla="*/ 99648 w 112454"/>
                  <a:gd name="connsiteY2" fmla="*/ 0 h 60590"/>
                  <a:gd name="connsiteX3" fmla="*/ 12807 w 112454"/>
                  <a:gd name="connsiteY3" fmla="*/ 0 h 60590"/>
                  <a:gd name="connsiteX4" fmla="*/ 0 w 112454"/>
                  <a:gd name="connsiteY4" fmla="*/ 12807 h 60590"/>
                  <a:gd name="connsiteX5" fmla="*/ 0 w 112454"/>
                  <a:gd name="connsiteY5" fmla="*/ 60591 h 60590"/>
                  <a:gd name="connsiteX6" fmla="*/ 84376 w 112454"/>
                  <a:gd name="connsiteY6" fmla="*/ 60591 h 60590"/>
                  <a:gd name="connsiteX7" fmla="*/ 84376 w 112454"/>
                  <a:gd name="connsiteY7" fmla="*/ 25496 h 605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12454" h="60590">
                    <a:moveTo>
                      <a:pt x="112455" y="60591"/>
                    </a:moveTo>
                    <a:lnTo>
                      <a:pt x="112455" y="12807"/>
                    </a:lnTo>
                    <a:cubicBezTo>
                      <a:pt x="112455" y="5767"/>
                      <a:pt x="106688" y="0"/>
                      <a:pt x="99648" y="0"/>
                    </a:cubicBezTo>
                    <a:lnTo>
                      <a:pt x="12807" y="0"/>
                    </a:lnTo>
                    <a:cubicBezTo>
                      <a:pt x="5778" y="0"/>
                      <a:pt x="0" y="5755"/>
                      <a:pt x="0" y="12807"/>
                    </a:cubicBezTo>
                    <a:lnTo>
                      <a:pt x="0" y="60591"/>
                    </a:lnTo>
                    <a:lnTo>
                      <a:pt x="84376" y="60591"/>
                    </a:lnTo>
                    <a:lnTo>
                      <a:pt x="84376" y="25496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84" name="Forma livre: Forma 583">
                <a:extLst>
                  <a:ext uri="{FF2B5EF4-FFF2-40B4-BE49-F238E27FC236}">
                    <a16:creationId xmlns:a16="http://schemas.microsoft.com/office/drawing/2014/main" id="{CF15F1C5-51BB-44CC-8A92-1CBF5D52907B}"/>
                  </a:ext>
                </a:extLst>
              </p:cNvPr>
              <p:cNvSpPr/>
              <p:nvPr/>
            </p:nvSpPr>
            <p:spPr>
              <a:xfrm>
                <a:off x="8743257" y="2110915"/>
                <a:ext cx="77312" cy="247657"/>
              </a:xfrm>
              <a:custGeom>
                <a:avLst/>
                <a:gdLst>
                  <a:gd name="connsiteX0" fmla="*/ 77313 w 77312"/>
                  <a:gd name="connsiteY0" fmla="*/ 234945 h 247657"/>
                  <a:gd name="connsiteX1" fmla="*/ 45991 w 77312"/>
                  <a:gd name="connsiteY1" fmla="*/ 247657 h 247657"/>
                  <a:gd name="connsiteX2" fmla="*/ 0 w 77312"/>
                  <a:gd name="connsiteY2" fmla="*/ 200487 h 247657"/>
                  <a:gd name="connsiteX3" fmla="*/ 0 w 77312"/>
                  <a:gd name="connsiteY3" fmla="*/ 0 h 2476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7312" h="247657">
                    <a:moveTo>
                      <a:pt x="77313" y="234945"/>
                    </a:moveTo>
                    <a:cubicBezTo>
                      <a:pt x="69081" y="242822"/>
                      <a:pt x="58055" y="247657"/>
                      <a:pt x="45991" y="247657"/>
                    </a:cubicBezTo>
                    <a:cubicBezTo>
                      <a:pt x="20696" y="247657"/>
                      <a:pt x="0" y="226430"/>
                      <a:pt x="0" y="200487"/>
                    </a:cubicBezTo>
                    <a:lnTo>
                      <a:pt x="0" y="0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85" name="Forma livre: Forma 584">
                <a:extLst>
                  <a:ext uri="{FF2B5EF4-FFF2-40B4-BE49-F238E27FC236}">
                    <a16:creationId xmlns:a16="http://schemas.microsoft.com/office/drawing/2014/main" id="{951AE9AB-3C5E-A2DB-F992-97E9EB5C427A}"/>
                  </a:ext>
                </a:extLst>
              </p:cNvPr>
              <p:cNvSpPr/>
              <p:nvPr/>
            </p:nvSpPr>
            <p:spPr>
              <a:xfrm>
                <a:off x="8835228" y="2136068"/>
                <a:ext cx="1179" cy="93326"/>
              </a:xfrm>
              <a:custGeom>
                <a:avLst/>
                <a:gdLst>
                  <a:gd name="connsiteX0" fmla="*/ 0 w 1179"/>
                  <a:gd name="connsiteY0" fmla="*/ 0 h 93326"/>
                  <a:gd name="connsiteX1" fmla="*/ 0 w 1179"/>
                  <a:gd name="connsiteY1" fmla="*/ 93327 h 933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79" h="93326">
                    <a:moveTo>
                      <a:pt x="0" y="0"/>
                    </a:moveTo>
                    <a:lnTo>
                      <a:pt x="0" y="93327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86" name="Forma livre: Forma 585">
                <a:extLst>
                  <a:ext uri="{FF2B5EF4-FFF2-40B4-BE49-F238E27FC236}">
                    <a16:creationId xmlns:a16="http://schemas.microsoft.com/office/drawing/2014/main" id="{B31FFAA1-CA91-2FD7-DA5C-172C586534D2}"/>
                  </a:ext>
                </a:extLst>
              </p:cNvPr>
              <p:cNvSpPr/>
              <p:nvPr/>
            </p:nvSpPr>
            <p:spPr>
              <a:xfrm>
                <a:off x="8744460" y="2156387"/>
                <a:ext cx="58173" cy="124223"/>
              </a:xfrm>
              <a:custGeom>
                <a:avLst/>
                <a:gdLst>
                  <a:gd name="connsiteX0" fmla="*/ 0 w 58173"/>
                  <a:gd name="connsiteY0" fmla="*/ 124224 h 124223"/>
                  <a:gd name="connsiteX1" fmla="*/ 48739 w 58173"/>
                  <a:gd name="connsiteY1" fmla="*/ 124224 h 124223"/>
                  <a:gd name="connsiteX2" fmla="*/ 58173 w 58173"/>
                  <a:gd name="connsiteY2" fmla="*/ 114790 h 124223"/>
                  <a:gd name="connsiteX3" fmla="*/ 58173 w 58173"/>
                  <a:gd name="connsiteY3" fmla="*/ 9434 h 124223"/>
                  <a:gd name="connsiteX4" fmla="*/ 48739 w 58173"/>
                  <a:gd name="connsiteY4" fmla="*/ 0 h 124223"/>
                  <a:gd name="connsiteX5" fmla="*/ 0 w 58173"/>
                  <a:gd name="connsiteY5" fmla="*/ 0 h 1242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58173" h="124223">
                    <a:moveTo>
                      <a:pt x="0" y="124224"/>
                    </a:moveTo>
                    <a:lnTo>
                      <a:pt x="48739" y="124224"/>
                    </a:lnTo>
                    <a:cubicBezTo>
                      <a:pt x="53928" y="124224"/>
                      <a:pt x="58173" y="119978"/>
                      <a:pt x="58173" y="114790"/>
                    </a:cubicBezTo>
                    <a:lnTo>
                      <a:pt x="58173" y="9434"/>
                    </a:lnTo>
                    <a:cubicBezTo>
                      <a:pt x="58173" y="4245"/>
                      <a:pt x="53928" y="0"/>
                      <a:pt x="48739" y="0"/>
                    </a:cubicBezTo>
                    <a:lnTo>
                      <a:pt x="0" y="0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587" name="Gráfico 10">
                <a:extLst>
                  <a:ext uri="{FF2B5EF4-FFF2-40B4-BE49-F238E27FC236}">
                    <a16:creationId xmlns:a16="http://schemas.microsoft.com/office/drawing/2014/main" id="{3F85FF98-5E71-1B21-CF44-D8797029FE96}"/>
                  </a:ext>
                </a:extLst>
              </p:cNvPr>
              <p:cNvGrpSpPr/>
              <p:nvPr/>
            </p:nvGrpSpPr>
            <p:grpSpPr>
              <a:xfrm>
                <a:off x="8743151" y="2188923"/>
                <a:ext cx="32347" cy="59151"/>
                <a:chOff x="8743151" y="2188923"/>
                <a:chExt cx="32347" cy="59151"/>
              </a:xfrm>
            </p:grpSpPr>
            <p:sp>
              <p:nvSpPr>
                <p:cNvPr id="588" name="Forma livre: Forma 587">
                  <a:extLst>
                    <a:ext uri="{FF2B5EF4-FFF2-40B4-BE49-F238E27FC236}">
                      <a16:creationId xmlns:a16="http://schemas.microsoft.com/office/drawing/2014/main" id="{A01FB327-DCF3-5876-AD8B-C8105B95077E}"/>
                    </a:ext>
                  </a:extLst>
                </p:cNvPr>
                <p:cNvSpPr/>
                <p:nvPr/>
              </p:nvSpPr>
              <p:spPr>
                <a:xfrm>
                  <a:off x="8743151" y="2188923"/>
                  <a:ext cx="32347" cy="1179"/>
                </a:xfrm>
                <a:custGeom>
                  <a:avLst/>
                  <a:gdLst>
                    <a:gd name="connsiteX0" fmla="*/ 32347 w 32347"/>
                    <a:gd name="connsiteY0" fmla="*/ 0 h 1179"/>
                    <a:gd name="connsiteX1" fmla="*/ 0 w 32347"/>
                    <a:gd name="connsiteY1" fmla="*/ 0 h 117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32347" h="1179">
                      <a:moveTo>
                        <a:pt x="32347" y="0"/>
                      </a:moveTo>
                      <a:lnTo>
                        <a:pt x="0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589" name="Forma livre: Forma 588">
                  <a:extLst>
                    <a:ext uri="{FF2B5EF4-FFF2-40B4-BE49-F238E27FC236}">
                      <a16:creationId xmlns:a16="http://schemas.microsoft.com/office/drawing/2014/main" id="{600E3028-5104-CDCF-4899-7097F4D6EAD2}"/>
                    </a:ext>
                  </a:extLst>
                </p:cNvPr>
                <p:cNvSpPr/>
                <p:nvPr/>
              </p:nvSpPr>
              <p:spPr>
                <a:xfrm>
                  <a:off x="8743151" y="2218499"/>
                  <a:ext cx="32347" cy="1179"/>
                </a:xfrm>
                <a:custGeom>
                  <a:avLst/>
                  <a:gdLst>
                    <a:gd name="connsiteX0" fmla="*/ 32347 w 32347"/>
                    <a:gd name="connsiteY0" fmla="*/ 0 h 1179"/>
                    <a:gd name="connsiteX1" fmla="*/ 0 w 32347"/>
                    <a:gd name="connsiteY1" fmla="*/ 0 h 117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32347" h="1179">
                      <a:moveTo>
                        <a:pt x="32347" y="0"/>
                      </a:moveTo>
                      <a:lnTo>
                        <a:pt x="0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590" name="Forma livre: Forma 589">
                  <a:extLst>
                    <a:ext uri="{FF2B5EF4-FFF2-40B4-BE49-F238E27FC236}">
                      <a16:creationId xmlns:a16="http://schemas.microsoft.com/office/drawing/2014/main" id="{F90783E9-EA3C-E4CB-5C51-45ACA7DD6A17}"/>
                    </a:ext>
                  </a:extLst>
                </p:cNvPr>
                <p:cNvSpPr/>
                <p:nvPr/>
              </p:nvSpPr>
              <p:spPr>
                <a:xfrm>
                  <a:off x="8743151" y="2248075"/>
                  <a:ext cx="32347" cy="1179"/>
                </a:xfrm>
                <a:custGeom>
                  <a:avLst/>
                  <a:gdLst>
                    <a:gd name="connsiteX0" fmla="*/ 32347 w 32347"/>
                    <a:gd name="connsiteY0" fmla="*/ 0 h 1179"/>
                    <a:gd name="connsiteX1" fmla="*/ 0 w 32347"/>
                    <a:gd name="connsiteY1" fmla="*/ 0 h 117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32347" h="1179">
                      <a:moveTo>
                        <a:pt x="32347" y="0"/>
                      </a:moveTo>
                      <a:lnTo>
                        <a:pt x="0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grpSp>
          <p:nvGrpSpPr>
            <p:cNvPr id="591" name="Gráfico 10">
              <a:extLst>
                <a:ext uri="{FF2B5EF4-FFF2-40B4-BE49-F238E27FC236}">
                  <a16:creationId xmlns:a16="http://schemas.microsoft.com/office/drawing/2014/main" id="{E96F7F57-793A-2564-BE2B-C6E3821252E4}"/>
                </a:ext>
              </a:extLst>
            </p:cNvPr>
            <p:cNvGrpSpPr/>
            <p:nvPr/>
          </p:nvGrpSpPr>
          <p:grpSpPr>
            <a:xfrm>
              <a:off x="8828825" y="2230504"/>
              <a:ext cx="128068" cy="128068"/>
              <a:chOff x="8828825" y="2230504"/>
              <a:chExt cx="128068" cy="128068"/>
            </a:xfrm>
            <a:noFill/>
          </p:grpSpPr>
          <p:sp>
            <p:nvSpPr>
              <p:cNvPr id="592" name="Forma livre: Forma 591">
                <a:extLst>
                  <a:ext uri="{FF2B5EF4-FFF2-40B4-BE49-F238E27FC236}">
                    <a16:creationId xmlns:a16="http://schemas.microsoft.com/office/drawing/2014/main" id="{949821B9-5C17-E4A0-31BC-EC1539C391D9}"/>
                  </a:ext>
                </a:extLst>
              </p:cNvPr>
              <p:cNvSpPr/>
              <p:nvPr/>
            </p:nvSpPr>
            <p:spPr>
              <a:xfrm>
                <a:off x="8858967" y="2271931"/>
                <a:ext cx="65095" cy="50437"/>
              </a:xfrm>
              <a:custGeom>
                <a:avLst/>
                <a:gdLst>
                  <a:gd name="connsiteX0" fmla="*/ 0 w 65095"/>
                  <a:gd name="connsiteY0" fmla="*/ 18739 h 50437"/>
                  <a:gd name="connsiteX1" fmla="*/ 22901 w 65095"/>
                  <a:gd name="connsiteY1" fmla="*/ 50437 h 50437"/>
                  <a:gd name="connsiteX2" fmla="*/ 65095 w 65095"/>
                  <a:gd name="connsiteY2" fmla="*/ 0 h 504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65095" h="50437">
                    <a:moveTo>
                      <a:pt x="0" y="18739"/>
                    </a:moveTo>
                    <a:lnTo>
                      <a:pt x="22901" y="50437"/>
                    </a:lnTo>
                    <a:lnTo>
                      <a:pt x="65095" y="0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93" name="Forma livre: Forma 592">
                <a:extLst>
                  <a:ext uri="{FF2B5EF4-FFF2-40B4-BE49-F238E27FC236}">
                    <a16:creationId xmlns:a16="http://schemas.microsoft.com/office/drawing/2014/main" id="{03006AC9-504C-B14D-189A-2D60C36E415F}"/>
                  </a:ext>
                </a:extLst>
              </p:cNvPr>
              <p:cNvSpPr/>
              <p:nvPr/>
            </p:nvSpPr>
            <p:spPr>
              <a:xfrm>
                <a:off x="8828825" y="2230504"/>
                <a:ext cx="128068" cy="128068"/>
              </a:xfrm>
              <a:custGeom>
                <a:avLst/>
                <a:gdLst>
                  <a:gd name="connsiteX0" fmla="*/ 33597 w 128068"/>
                  <a:gd name="connsiteY0" fmla="*/ 7677 h 128068"/>
                  <a:gd name="connsiteX1" fmla="*/ 64034 w 128068"/>
                  <a:gd name="connsiteY1" fmla="*/ 0 h 128068"/>
                  <a:gd name="connsiteX2" fmla="*/ 128068 w 128068"/>
                  <a:gd name="connsiteY2" fmla="*/ 64034 h 128068"/>
                  <a:gd name="connsiteX3" fmla="*/ 64034 w 128068"/>
                  <a:gd name="connsiteY3" fmla="*/ 128068 h 128068"/>
                  <a:gd name="connsiteX4" fmla="*/ 0 w 128068"/>
                  <a:gd name="connsiteY4" fmla="*/ 64034 h 128068"/>
                  <a:gd name="connsiteX5" fmla="*/ 10826 w 128068"/>
                  <a:gd name="connsiteY5" fmla="*/ 28397 h 1280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28068" h="128068">
                    <a:moveTo>
                      <a:pt x="33597" y="7677"/>
                    </a:moveTo>
                    <a:cubicBezTo>
                      <a:pt x="42654" y="2783"/>
                      <a:pt x="53032" y="0"/>
                      <a:pt x="64034" y="0"/>
                    </a:cubicBezTo>
                    <a:cubicBezTo>
                      <a:pt x="99388" y="0"/>
                      <a:pt x="128068" y="28668"/>
                      <a:pt x="128068" y="64034"/>
                    </a:cubicBezTo>
                    <a:cubicBezTo>
                      <a:pt x="128068" y="99400"/>
                      <a:pt x="99388" y="128068"/>
                      <a:pt x="64034" y="128068"/>
                    </a:cubicBezTo>
                    <a:cubicBezTo>
                      <a:pt x="28680" y="128068"/>
                      <a:pt x="0" y="99388"/>
                      <a:pt x="0" y="64034"/>
                    </a:cubicBezTo>
                    <a:cubicBezTo>
                      <a:pt x="0" y="50838"/>
                      <a:pt x="3986" y="38574"/>
                      <a:pt x="10826" y="28397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594" name="Gráfico 10">
            <a:extLst>
              <a:ext uri="{FF2B5EF4-FFF2-40B4-BE49-F238E27FC236}">
                <a16:creationId xmlns:a16="http://schemas.microsoft.com/office/drawing/2014/main" id="{78B3C71E-5D8A-09BF-B186-C89C80B9D1D2}"/>
              </a:ext>
            </a:extLst>
          </p:cNvPr>
          <p:cNvGrpSpPr/>
          <p:nvPr/>
        </p:nvGrpSpPr>
        <p:grpSpPr>
          <a:xfrm>
            <a:off x="8695273" y="3127959"/>
            <a:ext cx="299379" cy="275983"/>
            <a:chOff x="8695273" y="3127959"/>
            <a:chExt cx="299379" cy="275983"/>
          </a:xfrm>
          <a:noFill/>
        </p:grpSpPr>
        <p:grpSp>
          <p:nvGrpSpPr>
            <p:cNvPr id="595" name="Gráfico 10">
              <a:extLst>
                <a:ext uri="{FF2B5EF4-FFF2-40B4-BE49-F238E27FC236}">
                  <a16:creationId xmlns:a16="http://schemas.microsoft.com/office/drawing/2014/main" id="{1827949F-47C0-E221-28DB-60AD153EA6CB}"/>
                </a:ext>
              </a:extLst>
            </p:cNvPr>
            <p:cNvGrpSpPr/>
            <p:nvPr/>
          </p:nvGrpSpPr>
          <p:grpSpPr>
            <a:xfrm>
              <a:off x="8695273" y="3129232"/>
              <a:ext cx="136370" cy="272751"/>
              <a:chOff x="8695273" y="3129232"/>
              <a:chExt cx="136370" cy="272751"/>
            </a:xfrm>
            <a:noFill/>
          </p:grpSpPr>
          <p:sp>
            <p:nvSpPr>
              <p:cNvPr id="596" name="Forma livre: Forma 595">
                <a:extLst>
                  <a:ext uri="{FF2B5EF4-FFF2-40B4-BE49-F238E27FC236}">
                    <a16:creationId xmlns:a16="http://schemas.microsoft.com/office/drawing/2014/main" id="{F2445AA1-D22C-27DB-B4BC-42D6C7DF9755}"/>
                  </a:ext>
                </a:extLst>
              </p:cNvPr>
              <p:cNvSpPr/>
              <p:nvPr/>
            </p:nvSpPr>
            <p:spPr>
              <a:xfrm>
                <a:off x="8717938" y="3265508"/>
                <a:ext cx="113681" cy="1179"/>
              </a:xfrm>
              <a:custGeom>
                <a:avLst/>
                <a:gdLst>
                  <a:gd name="connsiteX0" fmla="*/ 0 w 113681"/>
                  <a:gd name="connsiteY0" fmla="*/ 0 h 1179"/>
                  <a:gd name="connsiteX1" fmla="*/ 113681 w 113681"/>
                  <a:gd name="connsiteY1" fmla="*/ 0 h 11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3681" h="1179">
                    <a:moveTo>
                      <a:pt x="0" y="0"/>
                    </a:moveTo>
                    <a:lnTo>
                      <a:pt x="113681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97" name="Forma livre: Forma 596">
                <a:extLst>
                  <a:ext uri="{FF2B5EF4-FFF2-40B4-BE49-F238E27FC236}">
                    <a16:creationId xmlns:a16="http://schemas.microsoft.com/office/drawing/2014/main" id="{6019E91F-22D8-A7E4-10E9-CBB09E2821AF}"/>
                  </a:ext>
                </a:extLst>
              </p:cNvPr>
              <p:cNvSpPr/>
              <p:nvPr/>
            </p:nvSpPr>
            <p:spPr>
              <a:xfrm>
                <a:off x="8755996" y="3129716"/>
                <a:ext cx="66354" cy="271490"/>
              </a:xfrm>
              <a:custGeom>
                <a:avLst/>
                <a:gdLst>
                  <a:gd name="connsiteX0" fmla="*/ 65340 w 66354"/>
                  <a:gd name="connsiteY0" fmla="*/ 271490 h 271490"/>
                  <a:gd name="connsiteX1" fmla="*/ 66354 w 66354"/>
                  <a:gd name="connsiteY1" fmla="*/ 0 h 2714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6354" h="271490">
                    <a:moveTo>
                      <a:pt x="65340" y="271490"/>
                    </a:moveTo>
                    <a:cubicBezTo>
                      <a:pt x="52486" y="260747"/>
                      <a:pt x="-75653" y="147172"/>
                      <a:pt x="66354" y="0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98" name="Forma livre: Forma 597">
                <a:extLst>
                  <a:ext uri="{FF2B5EF4-FFF2-40B4-BE49-F238E27FC236}">
                    <a16:creationId xmlns:a16="http://schemas.microsoft.com/office/drawing/2014/main" id="{EAD02072-1BA6-8826-BD3C-44191641A4D3}"/>
                  </a:ext>
                </a:extLst>
              </p:cNvPr>
              <p:cNvSpPr/>
              <p:nvPr/>
            </p:nvSpPr>
            <p:spPr>
              <a:xfrm>
                <a:off x="8746146" y="3188455"/>
                <a:ext cx="84682" cy="19871"/>
              </a:xfrm>
              <a:custGeom>
                <a:avLst/>
                <a:gdLst>
                  <a:gd name="connsiteX0" fmla="*/ 0 w 84682"/>
                  <a:gd name="connsiteY0" fmla="*/ 0 h 19871"/>
                  <a:gd name="connsiteX1" fmla="*/ 84683 w 84682"/>
                  <a:gd name="connsiteY1" fmla="*/ 19871 h 198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84682" h="19871">
                    <a:moveTo>
                      <a:pt x="0" y="0"/>
                    </a:moveTo>
                    <a:cubicBezTo>
                      <a:pt x="22135" y="10755"/>
                      <a:pt x="50956" y="19953"/>
                      <a:pt x="84683" y="19871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99" name="Forma livre: Forma 598">
                <a:extLst>
                  <a:ext uri="{FF2B5EF4-FFF2-40B4-BE49-F238E27FC236}">
                    <a16:creationId xmlns:a16="http://schemas.microsoft.com/office/drawing/2014/main" id="{EE56402E-38E9-F919-527D-27B76D1127EB}"/>
                  </a:ext>
                </a:extLst>
              </p:cNvPr>
              <p:cNvSpPr/>
              <p:nvPr/>
            </p:nvSpPr>
            <p:spPr>
              <a:xfrm>
                <a:off x="8746194" y="3322537"/>
                <a:ext cx="84635" cy="19847"/>
              </a:xfrm>
              <a:custGeom>
                <a:avLst/>
                <a:gdLst>
                  <a:gd name="connsiteX0" fmla="*/ 0 w 84635"/>
                  <a:gd name="connsiteY0" fmla="*/ 19847 h 19847"/>
                  <a:gd name="connsiteX1" fmla="*/ 84636 w 84635"/>
                  <a:gd name="connsiteY1" fmla="*/ 0 h 198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84635" h="19847">
                    <a:moveTo>
                      <a:pt x="0" y="19847"/>
                    </a:moveTo>
                    <a:cubicBezTo>
                      <a:pt x="22135" y="9116"/>
                      <a:pt x="50921" y="-70"/>
                      <a:pt x="84636" y="0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600" name="Forma livre: Forma 599">
                <a:extLst>
                  <a:ext uri="{FF2B5EF4-FFF2-40B4-BE49-F238E27FC236}">
                    <a16:creationId xmlns:a16="http://schemas.microsoft.com/office/drawing/2014/main" id="{2BF44B66-B32F-4C8E-3D5C-5C8BAF74414F}"/>
                  </a:ext>
                </a:extLst>
              </p:cNvPr>
              <p:cNvSpPr/>
              <p:nvPr/>
            </p:nvSpPr>
            <p:spPr>
              <a:xfrm>
                <a:off x="8695273" y="3129232"/>
                <a:ext cx="136370" cy="272751"/>
              </a:xfrm>
              <a:custGeom>
                <a:avLst/>
                <a:gdLst>
                  <a:gd name="connsiteX0" fmla="*/ 136370 w 136370"/>
                  <a:gd name="connsiteY0" fmla="*/ 272740 h 272751"/>
                  <a:gd name="connsiteX1" fmla="*/ 0 w 136370"/>
                  <a:gd name="connsiteY1" fmla="*/ 136370 h 272751"/>
                  <a:gd name="connsiteX2" fmla="*/ 136370 w 136370"/>
                  <a:gd name="connsiteY2" fmla="*/ 0 h 272751"/>
                  <a:gd name="connsiteX3" fmla="*/ 136370 w 136370"/>
                  <a:gd name="connsiteY3" fmla="*/ 272752 h 2727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36370" h="272751">
                    <a:moveTo>
                      <a:pt x="136370" y="272740"/>
                    </a:moveTo>
                    <a:cubicBezTo>
                      <a:pt x="61051" y="272740"/>
                      <a:pt x="0" y="211678"/>
                      <a:pt x="0" y="136370"/>
                    </a:cubicBezTo>
                    <a:cubicBezTo>
                      <a:pt x="0" y="61062"/>
                      <a:pt x="61051" y="0"/>
                      <a:pt x="136370" y="0"/>
                    </a:cubicBezTo>
                    <a:lnTo>
                      <a:pt x="136370" y="272752"/>
                    </a:ln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601" name="Gráfico 10">
              <a:extLst>
                <a:ext uri="{FF2B5EF4-FFF2-40B4-BE49-F238E27FC236}">
                  <a16:creationId xmlns:a16="http://schemas.microsoft.com/office/drawing/2014/main" id="{967A63C7-B99A-2762-EE9E-67751A550218}"/>
                </a:ext>
              </a:extLst>
            </p:cNvPr>
            <p:cNvGrpSpPr/>
            <p:nvPr/>
          </p:nvGrpSpPr>
          <p:grpSpPr>
            <a:xfrm>
              <a:off x="8856667" y="3127959"/>
              <a:ext cx="137985" cy="275983"/>
              <a:chOff x="8856667" y="3127959"/>
              <a:chExt cx="137985" cy="275983"/>
            </a:xfrm>
            <a:noFill/>
          </p:grpSpPr>
          <p:grpSp>
            <p:nvGrpSpPr>
              <p:cNvPr id="602" name="Gráfico 10">
                <a:extLst>
                  <a:ext uri="{FF2B5EF4-FFF2-40B4-BE49-F238E27FC236}">
                    <a16:creationId xmlns:a16="http://schemas.microsoft.com/office/drawing/2014/main" id="{3C36FABE-0CDE-D613-F50A-B785ACC9A346}"/>
                  </a:ext>
                </a:extLst>
              </p:cNvPr>
              <p:cNvGrpSpPr/>
              <p:nvPr/>
            </p:nvGrpSpPr>
            <p:grpSpPr>
              <a:xfrm>
                <a:off x="8856667" y="3127959"/>
                <a:ext cx="137985" cy="275983"/>
                <a:chOff x="8856667" y="3127959"/>
                <a:chExt cx="137985" cy="275983"/>
              </a:xfrm>
              <a:noFill/>
            </p:grpSpPr>
            <p:grpSp>
              <p:nvGrpSpPr>
                <p:cNvPr id="603" name="Gráfico 10">
                  <a:extLst>
                    <a:ext uri="{FF2B5EF4-FFF2-40B4-BE49-F238E27FC236}">
                      <a16:creationId xmlns:a16="http://schemas.microsoft.com/office/drawing/2014/main" id="{BA33587C-A6AA-E09C-B944-ED0E3371C476}"/>
                    </a:ext>
                  </a:extLst>
                </p:cNvPr>
                <p:cNvGrpSpPr/>
                <p:nvPr/>
              </p:nvGrpSpPr>
              <p:grpSpPr>
                <a:xfrm>
                  <a:off x="8856667" y="3127959"/>
                  <a:ext cx="22347" cy="275983"/>
                  <a:chOff x="8856667" y="3127959"/>
                  <a:chExt cx="22347" cy="275983"/>
                </a:xfrm>
                <a:noFill/>
              </p:grpSpPr>
              <p:sp>
                <p:nvSpPr>
                  <p:cNvPr id="604" name="Forma livre: Forma 603">
                    <a:extLst>
                      <a:ext uri="{FF2B5EF4-FFF2-40B4-BE49-F238E27FC236}">
                        <a16:creationId xmlns:a16="http://schemas.microsoft.com/office/drawing/2014/main" id="{43786D33-48E9-06EB-68F7-7D82DB148064}"/>
                      </a:ext>
                    </a:extLst>
                  </p:cNvPr>
                  <p:cNvSpPr/>
                  <p:nvPr/>
                </p:nvSpPr>
                <p:spPr>
                  <a:xfrm>
                    <a:off x="8856667" y="3127959"/>
                    <a:ext cx="22347" cy="71380"/>
                  </a:xfrm>
                  <a:custGeom>
                    <a:avLst/>
                    <a:gdLst>
                      <a:gd name="connsiteX0" fmla="*/ 14328 w 22347"/>
                      <a:gd name="connsiteY0" fmla="*/ 71381 h 71380"/>
                      <a:gd name="connsiteX1" fmla="*/ 21003 w 22347"/>
                      <a:gd name="connsiteY1" fmla="*/ 17323 h 71380"/>
                      <a:gd name="connsiteX2" fmla="*/ 22347 w 22347"/>
                      <a:gd name="connsiteY2" fmla="*/ 12877 h 71380"/>
                      <a:gd name="connsiteX3" fmla="*/ 0 w 22347"/>
                      <a:gd name="connsiteY3" fmla="*/ 0 h 7138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22347" h="71380">
                        <a:moveTo>
                          <a:pt x="14328" y="71381"/>
                        </a:moveTo>
                        <a:cubicBezTo>
                          <a:pt x="14328" y="71381"/>
                          <a:pt x="6191" y="44093"/>
                          <a:pt x="21003" y="17323"/>
                        </a:cubicBezTo>
                        <a:cubicBezTo>
                          <a:pt x="21781" y="15920"/>
                          <a:pt x="22347" y="14399"/>
                          <a:pt x="22347" y="12877"/>
                        </a:cubicBezTo>
                        <a:cubicBezTo>
                          <a:pt x="22347" y="5778"/>
                          <a:pt x="12347" y="0"/>
                          <a:pt x="0" y="0"/>
                        </a:cubicBezTo>
                      </a:path>
                    </a:pathLst>
                  </a:custGeom>
                  <a:noFill/>
                  <a:ln w="6350" cap="rnd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605" name="Forma livre: Forma 604">
                    <a:extLst>
                      <a:ext uri="{FF2B5EF4-FFF2-40B4-BE49-F238E27FC236}">
                        <a16:creationId xmlns:a16="http://schemas.microsoft.com/office/drawing/2014/main" id="{744F0D9D-AF75-6400-4407-77C2541D4BFE}"/>
                      </a:ext>
                    </a:extLst>
                  </p:cNvPr>
                  <p:cNvSpPr/>
                  <p:nvPr/>
                </p:nvSpPr>
                <p:spPr>
                  <a:xfrm>
                    <a:off x="8856667" y="3332561"/>
                    <a:ext cx="22347" cy="71380"/>
                  </a:xfrm>
                  <a:custGeom>
                    <a:avLst/>
                    <a:gdLst>
                      <a:gd name="connsiteX0" fmla="*/ 0 w 22347"/>
                      <a:gd name="connsiteY0" fmla="*/ 71381 h 71380"/>
                      <a:gd name="connsiteX1" fmla="*/ 22347 w 22347"/>
                      <a:gd name="connsiteY1" fmla="*/ 58503 h 71380"/>
                      <a:gd name="connsiteX2" fmla="*/ 21003 w 22347"/>
                      <a:gd name="connsiteY2" fmla="*/ 54057 h 71380"/>
                      <a:gd name="connsiteX3" fmla="*/ 14328 w 22347"/>
                      <a:gd name="connsiteY3" fmla="*/ 0 h 7138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22347" h="71380">
                        <a:moveTo>
                          <a:pt x="0" y="71381"/>
                        </a:moveTo>
                        <a:cubicBezTo>
                          <a:pt x="12347" y="71381"/>
                          <a:pt x="22347" y="65614"/>
                          <a:pt x="22347" y="58503"/>
                        </a:cubicBezTo>
                        <a:cubicBezTo>
                          <a:pt x="22347" y="56982"/>
                          <a:pt x="21781" y="55461"/>
                          <a:pt x="21003" y="54057"/>
                        </a:cubicBezTo>
                        <a:cubicBezTo>
                          <a:pt x="6203" y="27288"/>
                          <a:pt x="14328" y="0"/>
                          <a:pt x="14328" y="0"/>
                        </a:cubicBezTo>
                      </a:path>
                    </a:pathLst>
                  </a:custGeom>
                  <a:noFill/>
                  <a:ln w="6350" cap="rnd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  <p:sp>
              <p:nvSpPr>
                <p:cNvPr id="606" name="Forma livre: Forma 605">
                  <a:extLst>
                    <a:ext uri="{FF2B5EF4-FFF2-40B4-BE49-F238E27FC236}">
                      <a16:creationId xmlns:a16="http://schemas.microsoft.com/office/drawing/2014/main" id="{EBAA909D-495A-47B2-A696-647ACBEC090A}"/>
                    </a:ext>
                  </a:extLst>
                </p:cNvPr>
                <p:cNvSpPr/>
                <p:nvPr/>
              </p:nvSpPr>
              <p:spPr>
                <a:xfrm>
                  <a:off x="8923272" y="3243597"/>
                  <a:ext cx="71380" cy="44705"/>
                </a:xfrm>
                <a:custGeom>
                  <a:avLst/>
                  <a:gdLst>
                    <a:gd name="connsiteX0" fmla="*/ 0 w 71380"/>
                    <a:gd name="connsiteY0" fmla="*/ 36699 h 44705"/>
                    <a:gd name="connsiteX1" fmla="*/ 54057 w 71380"/>
                    <a:gd name="connsiteY1" fmla="*/ 43362 h 44705"/>
                    <a:gd name="connsiteX2" fmla="*/ 58503 w 71380"/>
                    <a:gd name="connsiteY2" fmla="*/ 44706 h 44705"/>
                    <a:gd name="connsiteX3" fmla="*/ 71381 w 71380"/>
                    <a:gd name="connsiteY3" fmla="*/ 22347 h 44705"/>
                    <a:gd name="connsiteX4" fmla="*/ 58503 w 71380"/>
                    <a:gd name="connsiteY4" fmla="*/ 0 h 44705"/>
                    <a:gd name="connsiteX5" fmla="*/ 54057 w 71380"/>
                    <a:gd name="connsiteY5" fmla="*/ 1344 h 44705"/>
                    <a:gd name="connsiteX6" fmla="*/ 0 w 71380"/>
                    <a:gd name="connsiteY6" fmla="*/ 8007 h 4470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1380" h="44705">
                      <a:moveTo>
                        <a:pt x="0" y="36699"/>
                      </a:moveTo>
                      <a:cubicBezTo>
                        <a:pt x="0" y="36699"/>
                        <a:pt x="27288" y="28562"/>
                        <a:pt x="54057" y="43362"/>
                      </a:cubicBezTo>
                      <a:cubicBezTo>
                        <a:pt x="55461" y="44140"/>
                        <a:pt x="56982" y="44706"/>
                        <a:pt x="58503" y="44706"/>
                      </a:cubicBezTo>
                      <a:cubicBezTo>
                        <a:pt x="65614" y="44706"/>
                        <a:pt x="71381" y="34694"/>
                        <a:pt x="71381" y="22347"/>
                      </a:cubicBezTo>
                      <a:cubicBezTo>
                        <a:pt x="71381" y="10000"/>
                        <a:pt x="65614" y="0"/>
                        <a:pt x="58503" y="0"/>
                      </a:cubicBezTo>
                      <a:cubicBezTo>
                        <a:pt x="56982" y="0"/>
                        <a:pt x="55461" y="578"/>
                        <a:pt x="54057" y="1344"/>
                      </a:cubicBezTo>
                      <a:cubicBezTo>
                        <a:pt x="27288" y="16144"/>
                        <a:pt x="0" y="8007"/>
                        <a:pt x="0" y="8007"/>
                      </a:cubicBez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607" name="Forma livre: Forma 606">
                  <a:extLst>
                    <a:ext uri="{FF2B5EF4-FFF2-40B4-BE49-F238E27FC236}">
                      <a16:creationId xmlns:a16="http://schemas.microsoft.com/office/drawing/2014/main" id="{C4016312-22BE-44EF-0652-3FA12B60FC8F}"/>
                    </a:ext>
                  </a:extLst>
                </p:cNvPr>
                <p:cNvSpPr/>
                <p:nvPr/>
              </p:nvSpPr>
              <p:spPr>
                <a:xfrm>
                  <a:off x="8886290" y="3277725"/>
                  <a:ext cx="73126" cy="90236"/>
                </a:xfrm>
                <a:custGeom>
                  <a:avLst/>
                  <a:gdLst>
                    <a:gd name="connsiteX0" fmla="*/ 0 w 73126"/>
                    <a:gd name="connsiteY0" fmla="*/ 71204 h 90236"/>
                    <a:gd name="connsiteX1" fmla="*/ 25802 w 73126"/>
                    <a:gd name="connsiteY1" fmla="*/ 56746 h 90236"/>
                    <a:gd name="connsiteX2" fmla="*/ 44093 w 73126"/>
                    <a:gd name="connsiteY2" fmla="*/ 84907 h 90236"/>
                    <a:gd name="connsiteX3" fmla="*/ 45885 w 73126"/>
                    <a:gd name="connsiteY3" fmla="*/ 88221 h 90236"/>
                    <a:gd name="connsiteX4" fmla="*/ 65897 w 73126"/>
                    <a:gd name="connsiteY4" fmla="*/ 83008 h 90236"/>
                    <a:gd name="connsiteX5" fmla="*/ 71121 w 73126"/>
                    <a:gd name="connsiteY5" fmla="*/ 62996 h 90236"/>
                    <a:gd name="connsiteX6" fmla="*/ 67796 w 73126"/>
                    <a:gd name="connsiteY6" fmla="*/ 61204 h 90236"/>
                    <a:gd name="connsiteX7" fmla="*/ 39623 w 73126"/>
                    <a:gd name="connsiteY7" fmla="*/ 42902 h 90236"/>
                    <a:gd name="connsiteX8" fmla="*/ 58126 w 73126"/>
                    <a:gd name="connsiteY8" fmla="*/ 0 h 9023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73126" h="90236">
                      <a:moveTo>
                        <a:pt x="0" y="71204"/>
                      </a:moveTo>
                      <a:cubicBezTo>
                        <a:pt x="9434" y="67831"/>
                        <a:pt x="18137" y="62902"/>
                        <a:pt x="25802" y="56746"/>
                      </a:cubicBezTo>
                      <a:cubicBezTo>
                        <a:pt x="32135" y="62395"/>
                        <a:pt x="40166" y="71676"/>
                        <a:pt x="44093" y="84907"/>
                      </a:cubicBezTo>
                      <a:cubicBezTo>
                        <a:pt x="44458" y="86145"/>
                        <a:pt x="45001" y="87348"/>
                        <a:pt x="45885" y="88221"/>
                      </a:cubicBezTo>
                      <a:cubicBezTo>
                        <a:pt x="49977" y="92313"/>
                        <a:pt x="58940" y="89978"/>
                        <a:pt x="65897" y="83008"/>
                      </a:cubicBezTo>
                      <a:cubicBezTo>
                        <a:pt x="72855" y="76039"/>
                        <a:pt x="75202" y="67077"/>
                        <a:pt x="71121" y="62996"/>
                      </a:cubicBezTo>
                      <a:cubicBezTo>
                        <a:pt x="70237" y="62124"/>
                        <a:pt x="69046" y="61569"/>
                        <a:pt x="67796" y="61204"/>
                      </a:cubicBezTo>
                      <a:cubicBezTo>
                        <a:pt x="54553" y="57289"/>
                        <a:pt x="45260" y="49246"/>
                        <a:pt x="39623" y="42902"/>
                      </a:cubicBezTo>
                      <a:cubicBezTo>
                        <a:pt x="49293" y="30779"/>
                        <a:pt x="55897" y="16097"/>
                        <a:pt x="58126" y="0"/>
                      </a:cubicBez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608" name="Forma livre: Forma 607">
                  <a:extLst>
                    <a:ext uri="{FF2B5EF4-FFF2-40B4-BE49-F238E27FC236}">
                      <a16:creationId xmlns:a16="http://schemas.microsoft.com/office/drawing/2014/main" id="{F5C1E55B-0F30-FD68-BCD2-8CEB604CB3D8}"/>
                    </a:ext>
                  </a:extLst>
                </p:cNvPr>
                <p:cNvSpPr/>
                <p:nvPr/>
              </p:nvSpPr>
              <p:spPr>
                <a:xfrm>
                  <a:off x="8869745" y="3162555"/>
                  <a:ext cx="89556" cy="73341"/>
                </a:xfrm>
                <a:custGeom>
                  <a:avLst/>
                  <a:gdLst>
                    <a:gd name="connsiteX0" fmla="*/ 70437 w 89556"/>
                    <a:gd name="connsiteY0" fmla="*/ 73342 h 73341"/>
                    <a:gd name="connsiteX1" fmla="*/ 55956 w 89556"/>
                    <a:gd name="connsiteY1" fmla="*/ 47457 h 73341"/>
                    <a:gd name="connsiteX2" fmla="*/ 84235 w 89556"/>
                    <a:gd name="connsiteY2" fmla="*/ 29037 h 73341"/>
                    <a:gd name="connsiteX3" fmla="*/ 87549 w 89556"/>
                    <a:gd name="connsiteY3" fmla="*/ 27244 h 73341"/>
                    <a:gd name="connsiteX4" fmla="*/ 82336 w 89556"/>
                    <a:gd name="connsiteY4" fmla="*/ 7232 h 73341"/>
                    <a:gd name="connsiteX5" fmla="*/ 62324 w 89556"/>
                    <a:gd name="connsiteY5" fmla="*/ 2008 h 73341"/>
                    <a:gd name="connsiteX6" fmla="*/ 60532 w 89556"/>
                    <a:gd name="connsiteY6" fmla="*/ 5333 h 73341"/>
                    <a:gd name="connsiteX7" fmla="*/ 42041 w 89556"/>
                    <a:gd name="connsiteY7" fmla="*/ 33671 h 73341"/>
                    <a:gd name="connsiteX8" fmla="*/ 0 w 89556"/>
                    <a:gd name="connsiteY8" fmla="*/ 15310 h 7334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89556" h="73341">
                      <a:moveTo>
                        <a:pt x="70437" y="73342"/>
                      </a:moveTo>
                      <a:cubicBezTo>
                        <a:pt x="67077" y="63860"/>
                        <a:pt x="62135" y="55145"/>
                        <a:pt x="55956" y="47457"/>
                      </a:cubicBezTo>
                      <a:cubicBezTo>
                        <a:pt x="61581" y="41100"/>
                        <a:pt x="70921" y="32987"/>
                        <a:pt x="84235" y="29037"/>
                      </a:cubicBezTo>
                      <a:cubicBezTo>
                        <a:pt x="85473" y="28671"/>
                        <a:pt x="86676" y="28129"/>
                        <a:pt x="87549" y="27244"/>
                      </a:cubicBezTo>
                      <a:cubicBezTo>
                        <a:pt x="91629" y="23152"/>
                        <a:pt x="89294" y="14190"/>
                        <a:pt x="82336" y="7232"/>
                      </a:cubicBezTo>
                      <a:cubicBezTo>
                        <a:pt x="75367" y="262"/>
                        <a:pt x="66404" y="-2072"/>
                        <a:pt x="62324" y="2008"/>
                      </a:cubicBezTo>
                      <a:cubicBezTo>
                        <a:pt x="61451" y="2892"/>
                        <a:pt x="60897" y="4083"/>
                        <a:pt x="60532" y="5333"/>
                      </a:cubicBezTo>
                      <a:cubicBezTo>
                        <a:pt x="56569" y="18694"/>
                        <a:pt x="48421" y="28058"/>
                        <a:pt x="42041" y="33671"/>
                      </a:cubicBezTo>
                      <a:cubicBezTo>
                        <a:pt x="30130" y="24178"/>
                        <a:pt x="15767" y="17645"/>
                        <a:pt x="0" y="15310"/>
                      </a:cubicBez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609" name="Gráfico 10">
                <a:extLst>
                  <a:ext uri="{FF2B5EF4-FFF2-40B4-BE49-F238E27FC236}">
                    <a16:creationId xmlns:a16="http://schemas.microsoft.com/office/drawing/2014/main" id="{FE205CF6-1A3D-7371-EAEC-9DF09861886C}"/>
                  </a:ext>
                </a:extLst>
              </p:cNvPr>
              <p:cNvGrpSpPr/>
              <p:nvPr/>
            </p:nvGrpSpPr>
            <p:grpSpPr>
              <a:xfrm>
                <a:off x="8857103" y="3223255"/>
                <a:ext cx="41616" cy="84517"/>
                <a:chOff x="8857103" y="3223255"/>
                <a:chExt cx="41616" cy="84517"/>
              </a:xfrm>
              <a:noFill/>
            </p:grpSpPr>
            <p:sp>
              <p:nvSpPr>
                <p:cNvPr id="610" name="Forma livre: Forma 609">
                  <a:extLst>
                    <a:ext uri="{FF2B5EF4-FFF2-40B4-BE49-F238E27FC236}">
                      <a16:creationId xmlns:a16="http://schemas.microsoft.com/office/drawing/2014/main" id="{3A31D8E9-5E6A-804A-7684-4DCCE712DAEC}"/>
                    </a:ext>
                  </a:extLst>
                </p:cNvPr>
                <p:cNvSpPr/>
                <p:nvPr/>
              </p:nvSpPr>
              <p:spPr>
                <a:xfrm>
                  <a:off x="8857103" y="3223255"/>
                  <a:ext cx="30802" cy="30814"/>
                </a:xfrm>
                <a:custGeom>
                  <a:avLst/>
                  <a:gdLst>
                    <a:gd name="connsiteX0" fmla="*/ 15401 w 30802"/>
                    <a:gd name="connsiteY0" fmla="*/ 0 h 30814"/>
                    <a:gd name="connsiteX1" fmla="*/ 30802 w 30802"/>
                    <a:gd name="connsiteY1" fmla="*/ 15413 h 30814"/>
                    <a:gd name="connsiteX2" fmla="*/ 15401 w 30802"/>
                    <a:gd name="connsiteY2" fmla="*/ 30814 h 30814"/>
                    <a:gd name="connsiteX3" fmla="*/ 0 w 30802"/>
                    <a:gd name="connsiteY3" fmla="*/ 15413 h 3081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30802" h="30814">
                      <a:moveTo>
                        <a:pt x="15401" y="0"/>
                      </a:moveTo>
                      <a:cubicBezTo>
                        <a:pt x="23904" y="0"/>
                        <a:pt x="30802" y="6899"/>
                        <a:pt x="30802" y="15413"/>
                      </a:cubicBezTo>
                      <a:cubicBezTo>
                        <a:pt x="30802" y="23927"/>
                        <a:pt x="23904" y="30814"/>
                        <a:pt x="15401" y="30814"/>
                      </a:cubicBezTo>
                      <a:cubicBezTo>
                        <a:pt x="6899" y="30814"/>
                        <a:pt x="0" y="23916"/>
                        <a:pt x="0" y="15413"/>
                      </a:cubicBez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611" name="Forma livre: Forma 610">
                  <a:extLst>
                    <a:ext uri="{FF2B5EF4-FFF2-40B4-BE49-F238E27FC236}">
                      <a16:creationId xmlns:a16="http://schemas.microsoft.com/office/drawing/2014/main" id="{27889E2C-BFFB-961B-B6E9-DAD9D836F476}"/>
                    </a:ext>
                  </a:extLst>
                </p:cNvPr>
                <p:cNvSpPr/>
                <p:nvPr/>
              </p:nvSpPr>
              <p:spPr>
                <a:xfrm>
                  <a:off x="8867917" y="3276959"/>
                  <a:ext cx="30802" cy="30814"/>
                </a:xfrm>
                <a:custGeom>
                  <a:avLst/>
                  <a:gdLst>
                    <a:gd name="connsiteX0" fmla="*/ 15401 w 30802"/>
                    <a:gd name="connsiteY0" fmla="*/ 0 h 30814"/>
                    <a:gd name="connsiteX1" fmla="*/ 30802 w 30802"/>
                    <a:gd name="connsiteY1" fmla="*/ 15401 h 30814"/>
                    <a:gd name="connsiteX2" fmla="*/ 15401 w 30802"/>
                    <a:gd name="connsiteY2" fmla="*/ 30814 h 30814"/>
                    <a:gd name="connsiteX3" fmla="*/ 0 w 30802"/>
                    <a:gd name="connsiteY3" fmla="*/ 15401 h 3081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30802" h="30814">
                      <a:moveTo>
                        <a:pt x="15401" y="0"/>
                      </a:moveTo>
                      <a:cubicBezTo>
                        <a:pt x="23904" y="0"/>
                        <a:pt x="30802" y="6899"/>
                        <a:pt x="30802" y="15401"/>
                      </a:cubicBezTo>
                      <a:cubicBezTo>
                        <a:pt x="30802" y="23904"/>
                        <a:pt x="23904" y="30814"/>
                        <a:pt x="15401" y="30814"/>
                      </a:cubicBezTo>
                      <a:cubicBezTo>
                        <a:pt x="6899" y="30814"/>
                        <a:pt x="0" y="23916"/>
                        <a:pt x="0" y="15401"/>
                      </a:cubicBez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</p:grpSp>
      <p:grpSp>
        <p:nvGrpSpPr>
          <p:cNvPr id="612" name="Gráfico 10">
            <a:extLst>
              <a:ext uri="{FF2B5EF4-FFF2-40B4-BE49-F238E27FC236}">
                <a16:creationId xmlns:a16="http://schemas.microsoft.com/office/drawing/2014/main" id="{89FDB336-4307-7DB3-017B-C72AFC8BFF06}"/>
              </a:ext>
            </a:extLst>
          </p:cNvPr>
          <p:cNvGrpSpPr/>
          <p:nvPr/>
        </p:nvGrpSpPr>
        <p:grpSpPr>
          <a:xfrm>
            <a:off x="8736723" y="986967"/>
            <a:ext cx="216455" cy="330480"/>
            <a:chOff x="8736723" y="986967"/>
            <a:chExt cx="216455" cy="330480"/>
          </a:xfrm>
          <a:noFill/>
        </p:grpSpPr>
        <p:grpSp>
          <p:nvGrpSpPr>
            <p:cNvPr id="613" name="Gráfico 10">
              <a:extLst>
                <a:ext uri="{FF2B5EF4-FFF2-40B4-BE49-F238E27FC236}">
                  <a16:creationId xmlns:a16="http://schemas.microsoft.com/office/drawing/2014/main" id="{2F97CBA7-0DE6-C494-D7A5-8FD114F8308E}"/>
                </a:ext>
              </a:extLst>
            </p:cNvPr>
            <p:cNvGrpSpPr/>
            <p:nvPr/>
          </p:nvGrpSpPr>
          <p:grpSpPr>
            <a:xfrm>
              <a:off x="8736723" y="986967"/>
              <a:ext cx="216455" cy="330480"/>
              <a:chOff x="8736723" y="986967"/>
              <a:chExt cx="216455" cy="330480"/>
            </a:xfrm>
            <a:noFill/>
          </p:grpSpPr>
          <p:grpSp>
            <p:nvGrpSpPr>
              <p:cNvPr id="614" name="Gráfico 10">
                <a:extLst>
                  <a:ext uri="{FF2B5EF4-FFF2-40B4-BE49-F238E27FC236}">
                    <a16:creationId xmlns:a16="http://schemas.microsoft.com/office/drawing/2014/main" id="{E021DD83-A384-9AC6-306E-92BF906CB079}"/>
                  </a:ext>
                </a:extLst>
              </p:cNvPr>
              <p:cNvGrpSpPr/>
              <p:nvPr/>
            </p:nvGrpSpPr>
            <p:grpSpPr>
              <a:xfrm>
                <a:off x="8768682" y="986967"/>
                <a:ext cx="184495" cy="330480"/>
                <a:chOff x="8768682" y="986967"/>
                <a:chExt cx="184495" cy="330480"/>
              </a:xfrm>
              <a:noFill/>
            </p:grpSpPr>
            <p:sp>
              <p:nvSpPr>
                <p:cNvPr id="615" name="Forma livre: Forma 614">
                  <a:extLst>
                    <a:ext uri="{FF2B5EF4-FFF2-40B4-BE49-F238E27FC236}">
                      <a16:creationId xmlns:a16="http://schemas.microsoft.com/office/drawing/2014/main" id="{CE06E5A3-071A-0F91-3E10-ECB0E184C2C5}"/>
                    </a:ext>
                  </a:extLst>
                </p:cNvPr>
                <p:cNvSpPr/>
                <p:nvPr/>
              </p:nvSpPr>
              <p:spPr>
                <a:xfrm>
                  <a:off x="8796301" y="1083740"/>
                  <a:ext cx="156877" cy="233706"/>
                </a:xfrm>
                <a:custGeom>
                  <a:avLst/>
                  <a:gdLst>
                    <a:gd name="connsiteX0" fmla="*/ 20378 w 156877"/>
                    <a:gd name="connsiteY0" fmla="*/ 5201 h 233706"/>
                    <a:gd name="connsiteX1" fmla="*/ 40060 w 156877"/>
                    <a:gd name="connsiteY1" fmla="*/ 0 h 233706"/>
                    <a:gd name="connsiteX2" fmla="*/ 116759 w 156877"/>
                    <a:gd name="connsiteY2" fmla="*/ 0 h 233706"/>
                    <a:gd name="connsiteX3" fmla="*/ 156877 w 156877"/>
                    <a:gd name="connsiteY3" fmla="*/ 40119 h 233706"/>
                    <a:gd name="connsiteX4" fmla="*/ 156877 w 156877"/>
                    <a:gd name="connsiteY4" fmla="*/ 205404 h 233706"/>
                    <a:gd name="connsiteX5" fmla="*/ 128599 w 156877"/>
                    <a:gd name="connsiteY5" fmla="*/ 233707 h 233706"/>
                    <a:gd name="connsiteX6" fmla="*/ 28361 w 156877"/>
                    <a:gd name="connsiteY6" fmla="*/ 233707 h 233706"/>
                    <a:gd name="connsiteX7" fmla="*/ 0 w 156877"/>
                    <a:gd name="connsiteY7" fmla="*/ 205404 h 233706"/>
                    <a:gd name="connsiteX8" fmla="*/ 0 w 156877"/>
                    <a:gd name="connsiteY8" fmla="*/ 76004 h 23370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156877" h="233706">
                      <a:moveTo>
                        <a:pt x="20378" y="5201"/>
                      </a:moveTo>
                      <a:cubicBezTo>
                        <a:pt x="26191" y="1887"/>
                        <a:pt x="32913" y="0"/>
                        <a:pt x="40060" y="0"/>
                      </a:cubicBezTo>
                      <a:lnTo>
                        <a:pt x="116759" y="0"/>
                      </a:lnTo>
                      <a:cubicBezTo>
                        <a:pt x="138811" y="0"/>
                        <a:pt x="156877" y="18043"/>
                        <a:pt x="156877" y="40119"/>
                      </a:cubicBezTo>
                      <a:lnTo>
                        <a:pt x="156877" y="205404"/>
                      </a:lnTo>
                      <a:cubicBezTo>
                        <a:pt x="156877" y="220970"/>
                        <a:pt x="144165" y="233707"/>
                        <a:pt x="128599" y="233707"/>
                      </a:cubicBezTo>
                      <a:lnTo>
                        <a:pt x="28361" y="233707"/>
                      </a:lnTo>
                      <a:cubicBezTo>
                        <a:pt x="12795" y="233707"/>
                        <a:pt x="0" y="220970"/>
                        <a:pt x="0" y="205404"/>
                      </a:cubicBezTo>
                      <a:lnTo>
                        <a:pt x="0" y="76004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616" name="Forma livre: Forma 615">
                  <a:extLst>
                    <a:ext uri="{FF2B5EF4-FFF2-40B4-BE49-F238E27FC236}">
                      <a16:creationId xmlns:a16="http://schemas.microsoft.com/office/drawing/2014/main" id="{58D96EB2-B680-4DD5-B9E3-BEE024B13DED}"/>
                    </a:ext>
                  </a:extLst>
                </p:cNvPr>
                <p:cNvSpPr/>
                <p:nvPr/>
              </p:nvSpPr>
              <p:spPr>
                <a:xfrm>
                  <a:off x="8768682" y="986967"/>
                  <a:ext cx="161158" cy="42456"/>
                </a:xfrm>
                <a:custGeom>
                  <a:avLst/>
                  <a:gdLst>
                    <a:gd name="connsiteX0" fmla="*/ 161158 w 161158"/>
                    <a:gd name="connsiteY0" fmla="*/ 3 h 42456"/>
                    <a:gd name="connsiteX1" fmla="*/ 46204 w 161158"/>
                    <a:gd name="connsiteY1" fmla="*/ 3 h 42456"/>
                    <a:gd name="connsiteX2" fmla="*/ 0 w 161158"/>
                    <a:gd name="connsiteY2" fmla="*/ 42457 h 4245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61158" h="42456">
                      <a:moveTo>
                        <a:pt x="161158" y="3"/>
                      </a:moveTo>
                      <a:lnTo>
                        <a:pt x="46204" y="3"/>
                      </a:lnTo>
                      <a:cubicBezTo>
                        <a:pt x="46204" y="3"/>
                        <a:pt x="0" y="-1176"/>
                        <a:pt x="0" y="42457"/>
                      </a:cubicBez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617" name="Forma livre: Forma 616">
                  <a:extLst>
                    <a:ext uri="{FF2B5EF4-FFF2-40B4-BE49-F238E27FC236}">
                      <a16:creationId xmlns:a16="http://schemas.microsoft.com/office/drawing/2014/main" id="{4D9FF993-B9BF-07E1-6B5F-34C549C62E4C}"/>
                    </a:ext>
                  </a:extLst>
                </p:cNvPr>
                <p:cNvSpPr/>
                <p:nvPr/>
              </p:nvSpPr>
              <p:spPr>
                <a:xfrm>
                  <a:off x="8841690" y="1041357"/>
                  <a:ext cx="66038" cy="41722"/>
                </a:xfrm>
                <a:custGeom>
                  <a:avLst/>
                  <a:gdLst>
                    <a:gd name="connsiteX0" fmla="*/ 0 w 66038"/>
                    <a:gd name="connsiteY0" fmla="*/ 22300 h 41722"/>
                    <a:gd name="connsiteX1" fmla="*/ 0 w 66038"/>
                    <a:gd name="connsiteY1" fmla="*/ 0 h 41722"/>
                    <a:gd name="connsiteX2" fmla="*/ 66039 w 66038"/>
                    <a:gd name="connsiteY2" fmla="*/ 0 h 41722"/>
                    <a:gd name="connsiteX3" fmla="*/ 66039 w 66038"/>
                    <a:gd name="connsiteY3" fmla="*/ 41722 h 417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66038" h="41722">
                      <a:moveTo>
                        <a:pt x="0" y="22300"/>
                      </a:moveTo>
                      <a:lnTo>
                        <a:pt x="0" y="0"/>
                      </a:lnTo>
                      <a:lnTo>
                        <a:pt x="66039" y="0"/>
                      </a:lnTo>
                      <a:lnTo>
                        <a:pt x="66039" y="41722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grpSp>
              <p:nvGrpSpPr>
                <p:cNvPr id="618" name="Gráfico 10">
                  <a:extLst>
                    <a:ext uri="{FF2B5EF4-FFF2-40B4-BE49-F238E27FC236}">
                      <a16:creationId xmlns:a16="http://schemas.microsoft.com/office/drawing/2014/main" id="{0C24C866-866C-B95F-3098-011EC964C942}"/>
                    </a:ext>
                  </a:extLst>
                </p:cNvPr>
                <p:cNvGrpSpPr/>
                <p:nvPr/>
              </p:nvGrpSpPr>
              <p:grpSpPr>
                <a:xfrm>
                  <a:off x="8859733" y="987477"/>
                  <a:ext cx="29941" cy="52477"/>
                  <a:chOff x="8859733" y="987477"/>
                  <a:chExt cx="29941" cy="52477"/>
                </a:xfrm>
              </p:grpSpPr>
              <p:sp>
                <p:nvSpPr>
                  <p:cNvPr id="619" name="Forma livre: Forma 618">
                    <a:extLst>
                      <a:ext uri="{FF2B5EF4-FFF2-40B4-BE49-F238E27FC236}">
                        <a16:creationId xmlns:a16="http://schemas.microsoft.com/office/drawing/2014/main" id="{8A63BDFF-052D-4FFC-4005-E38957B1E71A}"/>
                      </a:ext>
                    </a:extLst>
                  </p:cNvPr>
                  <p:cNvSpPr/>
                  <p:nvPr/>
                </p:nvSpPr>
                <p:spPr>
                  <a:xfrm>
                    <a:off x="8859733" y="987477"/>
                    <a:ext cx="1179" cy="52477"/>
                  </a:xfrm>
                  <a:custGeom>
                    <a:avLst/>
                    <a:gdLst>
                      <a:gd name="connsiteX0" fmla="*/ 0 w 1179"/>
                      <a:gd name="connsiteY0" fmla="*/ 0 h 52477"/>
                      <a:gd name="connsiteX1" fmla="*/ 0 w 1179"/>
                      <a:gd name="connsiteY1" fmla="*/ 52477 h 5247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179" h="52477">
                        <a:moveTo>
                          <a:pt x="0" y="0"/>
                        </a:moveTo>
                        <a:lnTo>
                          <a:pt x="0" y="52477"/>
                        </a:lnTo>
                      </a:path>
                    </a:pathLst>
                  </a:custGeom>
                  <a:ln w="6350" cap="flat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620" name="Forma livre: Forma 619">
                    <a:extLst>
                      <a:ext uri="{FF2B5EF4-FFF2-40B4-BE49-F238E27FC236}">
                        <a16:creationId xmlns:a16="http://schemas.microsoft.com/office/drawing/2014/main" id="{63DF7440-B9AC-F128-EF79-1468559121DB}"/>
                      </a:ext>
                    </a:extLst>
                  </p:cNvPr>
                  <p:cNvSpPr/>
                  <p:nvPr/>
                </p:nvSpPr>
                <p:spPr>
                  <a:xfrm>
                    <a:off x="8889675" y="987477"/>
                    <a:ext cx="1179" cy="52477"/>
                  </a:xfrm>
                  <a:custGeom>
                    <a:avLst/>
                    <a:gdLst>
                      <a:gd name="connsiteX0" fmla="*/ 0 w 1179"/>
                      <a:gd name="connsiteY0" fmla="*/ 0 h 52477"/>
                      <a:gd name="connsiteX1" fmla="*/ 0 w 1179"/>
                      <a:gd name="connsiteY1" fmla="*/ 52477 h 5247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179" h="52477">
                        <a:moveTo>
                          <a:pt x="0" y="0"/>
                        </a:moveTo>
                        <a:lnTo>
                          <a:pt x="0" y="52477"/>
                        </a:lnTo>
                      </a:path>
                    </a:pathLst>
                  </a:custGeom>
                  <a:ln w="6350" cap="flat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</p:grpSp>
          <p:sp>
            <p:nvSpPr>
              <p:cNvPr id="621" name="Forma livre: Forma 620">
                <a:extLst>
                  <a:ext uri="{FF2B5EF4-FFF2-40B4-BE49-F238E27FC236}">
                    <a16:creationId xmlns:a16="http://schemas.microsoft.com/office/drawing/2014/main" id="{C813F593-7FA2-9034-FC40-64FBF59CC0DB}"/>
                  </a:ext>
                </a:extLst>
              </p:cNvPr>
              <p:cNvSpPr/>
              <p:nvPr/>
            </p:nvSpPr>
            <p:spPr>
              <a:xfrm>
                <a:off x="8736723" y="1056664"/>
                <a:ext cx="63210" cy="90107"/>
              </a:xfrm>
              <a:custGeom>
                <a:avLst/>
                <a:gdLst>
                  <a:gd name="connsiteX0" fmla="*/ 52207 w 63210"/>
                  <a:gd name="connsiteY0" fmla="*/ 30956 h 90107"/>
                  <a:gd name="connsiteX1" fmla="*/ 31641 w 63210"/>
                  <a:gd name="connsiteY1" fmla="*/ 0 h 90107"/>
                  <a:gd name="connsiteX2" fmla="*/ 31617 w 63210"/>
                  <a:gd name="connsiteY2" fmla="*/ 0 h 90107"/>
                  <a:gd name="connsiteX3" fmla="*/ 11063 w 63210"/>
                  <a:gd name="connsiteY3" fmla="*/ 30956 h 90107"/>
                  <a:gd name="connsiteX4" fmla="*/ 31464 w 63210"/>
                  <a:gd name="connsiteY4" fmla="*/ 90108 h 90107"/>
                  <a:gd name="connsiteX5" fmla="*/ 31794 w 63210"/>
                  <a:gd name="connsiteY5" fmla="*/ 90108 h 90107"/>
                  <a:gd name="connsiteX6" fmla="*/ 52196 w 63210"/>
                  <a:gd name="connsiteY6" fmla="*/ 30956 h 901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3210" h="90107">
                    <a:moveTo>
                      <a:pt x="52207" y="30956"/>
                    </a:moveTo>
                    <a:cubicBezTo>
                      <a:pt x="33540" y="9010"/>
                      <a:pt x="31806" y="1097"/>
                      <a:pt x="31641" y="0"/>
                    </a:cubicBezTo>
                    <a:lnTo>
                      <a:pt x="31617" y="0"/>
                    </a:lnTo>
                    <a:cubicBezTo>
                      <a:pt x="31464" y="1097"/>
                      <a:pt x="29731" y="9010"/>
                      <a:pt x="11063" y="30956"/>
                    </a:cubicBezTo>
                    <a:cubicBezTo>
                      <a:pt x="-10753" y="56581"/>
                      <a:pt x="1605" y="90025"/>
                      <a:pt x="31464" y="90108"/>
                    </a:cubicBezTo>
                    <a:lnTo>
                      <a:pt x="31794" y="90108"/>
                    </a:lnTo>
                    <a:cubicBezTo>
                      <a:pt x="61453" y="90025"/>
                      <a:pt x="74012" y="56581"/>
                      <a:pt x="52196" y="30956"/>
                    </a:cubicBezTo>
                    <a:close/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622" name="Forma livre: Forma 621">
              <a:extLst>
                <a:ext uri="{FF2B5EF4-FFF2-40B4-BE49-F238E27FC236}">
                  <a16:creationId xmlns:a16="http://schemas.microsoft.com/office/drawing/2014/main" id="{D3D7E6C9-3C3B-7870-64F3-309BB643F6C4}"/>
                </a:ext>
              </a:extLst>
            </p:cNvPr>
            <p:cNvSpPr/>
            <p:nvPr/>
          </p:nvSpPr>
          <p:spPr>
            <a:xfrm>
              <a:off x="8797409" y="1134956"/>
              <a:ext cx="108492" cy="127360"/>
            </a:xfrm>
            <a:custGeom>
              <a:avLst/>
              <a:gdLst>
                <a:gd name="connsiteX0" fmla="*/ 23444 w 108492"/>
                <a:gd name="connsiteY0" fmla="*/ 0 h 127360"/>
                <a:gd name="connsiteX1" fmla="*/ 108492 w 108492"/>
                <a:gd name="connsiteY1" fmla="*/ 0 h 127360"/>
                <a:gd name="connsiteX2" fmla="*/ 108492 w 108492"/>
                <a:gd name="connsiteY2" fmla="*/ 127361 h 127360"/>
                <a:gd name="connsiteX3" fmla="*/ 0 w 108492"/>
                <a:gd name="connsiteY3" fmla="*/ 127361 h 1273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8492" h="127360">
                  <a:moveTo>
                    <a:pt x="23444" y="0"/>
                  </a:moveTo>
                  <a:lnTo>
                    <a:pt x="108492" y="0"/>
                  </a:lnTo>
                  <a:lnTo>
                    <a:pt x="108492" y="127361"/>
                  </a:lnTo>
                  <a:lnTo>
                    <a:pt x="0" y="127361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623" name="Gráfico 10">
              <a:extLst>
                <a:ext uri="{FF2B5EF4-FFF2-40B4-BE49-F238E27FC236}">
                  <a16:creationId xmlns:a16="http://schemas.microsoft.com/office/drawing/2014/main" id="{3A8F6EED-1FEC-EEEC-F803-3DF3A5223697}"/>
                </a:ext>
              </a:extLst>
            </p:cNvPr>
            <p:cNvGrpSpPr/>
            <p:nvPr/>
          </p:nvGrpSpPr>
          <p:grpSpPr>
            <a:xfrm>
              <a:off x="8821077" y="1170334"/>
              <a:ext cx="56592" cy="56604"/>
              <a:chOff x="8821077" y="1170334"/>
              <a:chExt cx="56592" cy="56604"/>
            </a:xfrm>
          </p:grpSpPr>
          <p:sp>
            <p:nvSpPr>
              <p:cNvPr id="624" name="Forma livre: Forma 623">
                <a:extLst>
                  <a:ext uri="{FF2B5EF4-FFF2-40B4-BE49-F238E27FC236}">
                    <a16:creationId xmlns:a16="http://schemas.microsoft.com/office/drawing/2014/main" id="{52373A8C-8DC4-6CE4-9742-97135038D91A}"/>
                  </a:ext>
                </a:extLst>
              </p:cNvPr>
              <p:cNvSpPr/>
              <p:nvPr/>
            </p:nvSpPr>
            <p:spPr>
              <a:xfrm>
                <a:off x="8849379" y="1170334"/>
                <a:ext cx="1179" cy="56604"/>
              </a:xfrm>
              <a:custGeom>
                <a:avLst/>
                <a:gdLst>
                  <a:gd name="connsiteX0" fmla="*/ 0 w 1179"/>
                  <a:gd name="connsiteY0" fmla="*/ 0 h 56604"/>
                  <a:gd name="connsiteX1" fmla="*/ 0 w 1179"/>
                  <a:gd name="connsiteY1" fmla="*/ 56605 h 566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79" h="56604">
                    <a:moveTo>
                      <a:pt x="0" y="0"/>
                    </a:moveTo>
                    <a:lnTo>
                      <a:pt x="0" y="56605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625" name="Forma livre: Forma 624">
                <a:extLst>
                  <a:ext uri="{FF2B5EF4-FFF2-40B4-BE49-F238E27FC236}">
                    <a16:creationId xmlns:a16="http://schemas.microsoft.com/office/drawing/2014/main" id="{E854169E-C450-B945-6A42-74547DDDE11D}"/>
                  </a:ext>
                </a:extLst>
              </p:cNvPr>
              <p:cNvSpPr/>
              <p:nvPr/>
            </p:nvSpPr>
            <p:spPr>
              <a:xfrm>
                <a:off x="8821077" y="1198636"/>
                <a:ext cx="56592" cy="1179"/>
              </a:xfrm>
              <a:custGeom>
                <a:avLst/>
                <a:gdLst>
                  <a:gd name="connsiteX0" fmla="*/ 56593 w 56592"/>
                  <a:gd name="connsiteY0" fmla="*/ 0 h 1179"/>
                  <a:gd name="connsiteX1" fmla="*/ 0 w 56592"/>
                  <a:gd name="connsiteY1" fmla="*/ 0 h 11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6592" h="1179">
                    <a:moveTo>
                      <a:pt x="56593" y="0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626" name="Gráfico 10">
            <a:extLst>
              <a:ext uri="{FF2B5EF4-FFF2-40B4-BE49-F238E27FC236}">
                <a16:creationId xmlns:a16="http://schemas.microsoft.com/office/drawing/2014/main" id="{3F68904D-697E-0ECF-A408-4C42AA8B4683}"/>
              </a:ext>
            </a:extLst>
          </p:cNvPr>
          <p:cNvGrpSpPr/>
          <p:nvPr/>
        </p:nvGrpSpPr>
        <p:grpSpPr>
          <a:xfrm>
            <a:off x="8749837" y="2558398"/>
            <a:ext cx="190261" cy="301396"/>
            <a:chOff x="8749837" y="2558398"/>
            <a:chExt cx="190261" cy="301396"/>
          </a:xfrm>
          <a:noFill/>
        </p:grpSpPr>
        <p:sp>
          <p:nvSpPr>
            <p:cNvPr id="627" name="Forma livre: Forma 626">
              <a:extLst>
                <a:ext uri="{FF2B5EF4-FFF2-40B4-BE49-F238E27FC236}">
                  <a16:creationId xmlns:a16="http://schemas.microsoft.com/office/drawing/2014/main" id="{53644F2D-8589-9205-91B2-13F623BCA146}"/>
                </a:ext>
              </a:extLst>
            </p:cNvPr>
            <p:cNvSpPr/>
            <p:nvPr/>
          </p:nvSpPr>
          <p:spPr>
            <a:xfrm>
              <a:off x="8749837" y="2559719"/>
              <a:ext cx="118846" cy="300063"/>
            </a:xfrm>
            <a:custGeom>
              <a:avLst/>
              <a:gdLst>
                <a:gd name="connsiteX0" fmla="*/ 14151 w 118846"/>
                <a:gd name="connsiteY0" fmla="*/ 300064 h 300063"/>
                <a:gd name="connsiteX1" fmla="*/ 0 w 118846"/>
                <a:gd name="connsiteY1" fmla="*/ 285913 h 300063"/>
                <a:gd name="connsiteX2" fmla="*/ 0 w 118846"/>
                <a:gd name="connsiteY2" fmla="*/ 14151 h 300063"/>
                <a:gd name="connsiteX3" fmla="*/ 14139 w 118846"/>
                <a:gd name="connsiteY3" fmla="*/ 0 h 300063"/>
                <a:gd name="connsiteX4" fmla="*/ 104695 w 118846"/>
                <a:gd name="connsiteY4" fmla="*/ 0 h 300063"/>
                <a:gd name="connsiteX5" fmla="*/ 118846 w 118846"/>
                <a:gd name="connsiteY5" fmla="*/ 14175 h 300063"/>
                <a:gd name="connsiteX6" fmla="*/ 118846 w 118846"/>
                <a:gd name="connsiteY6" fmla="*/ 285913 h 300063"/>
                <a:gd name="connsiteX7" fmla="*/ 104707 w 118846"/>
                <a:gd name="connsiteY7" fmla="*/ 300064 h 300063"/>
                <a:gd name="connsiteX8" fmla="*/ 14151 w 118846"/>
                <a:gd name="connsiteY8" fmla="*/ 300064 h 3000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8846" h="300063">
                  <a:moveTo>
                    <a:pt x="14151" y="300064"/>
                  </a:moveTo>
                  <a:cubicBezTo>
                    <a:pt x="6368" y="300064"/>
                    <a:pt x="0" y="293696"/>
                    <a:pt x="0" y="285913"/>
                  </a:cubicBezTo>
                  <a:lnTo>
                    <a:pt x="0" y="14151"/>
                  </a:lnTo>
                  <a:cubicBezTo>
                    <a:pt x="-12" y="6368"/>
                    <a:pt x="6356" y="0"/>
                    <a:pt x="14139" y="0"/>
                  </a:cubicBezTo>
                  <a:lnTo>
                    <a:pt x="104695" y="0"/>
                  </a:lnTo>
                  <a:cubicBezTo>
                    <a:pt x="112478" y="12"/>
                    <a:pt x="118846" y="6380"/>
                    <a:pt x="118846" y="14175"/>
                  </a:cubicBezTo>
                  <a:lnTo>
                    <a:pt x="118846" y="285913"/>
                  </a:lnTo>
                  <a:cubicBezTo>
                    <a:pt x="118846" y="293696"/>
                    <a:pt x="112490" y="300064"/>
                    <a:pt x="104707" y="300064"/>
                  </a:cubicBezTo>
                  <a:lnTo>
                    <a:pt x="14151" y="300064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28" name="Forma livre: Forma 627">
              <a:extLst>
                <a:ext uri="{FF2B5EF4-FFF2-40B4-BE49-F238E27FC236}">
                  <a16:creationId xmlns:a16="http://schemas.microsoft.com/office/drawing/2014/main" id="{A672B14F-F60F-9893-8D80-9853FFB47BD9}"/>
                </a:ext>
              </a:extLst>
            </p:cNvPr>
            <p:cNvSpPr/>
            <p:nvPr/>
          </p:nvSpPr>
          <p:spPr>
            <a:xfrm>
              <a:off x="8789060" y="2594802"/>
              <a:ext cx="40401" cy="141877"/>
            </a:xfrm>
            <a:custGeom>
              <a:avLst/>
              <a:gdLst>
                <a:gd name="connsiteX0" fmla="*/ 9434 w 40401"/>
                <a:gd name="connsiteY0" fmla="*/ 141877 h 141877"/>
                <a:gd name="connsiteX1" fmla="*/ 0 w 40401"/>
                <a:gd name="connsiteY1" fmla="*/ 132443 h 141877"/>
                <a:gd name="connsiteX2" fmla="*/ 0 w 40401"/>
                <a:gd name="connsiteY2" fmla="*/ 9434 h 141877"/>
                <a:gd name="connsiteX3" fmla="*/ 9422 w 40401"/>
                <a:gd name="connsiteY3" fmla="*/ 0 h 141877"/>
                <a:gd name="connsiteX4" fmla="*/ 30967 w 40401"/>
                <a:gd name="connsiteY4" fmla="*/ 0 h 141877"/>
                <a:gd name="connsiteX5" fmla="*/ 40402 w 40401"/>
                <a:gd name="connsiteY5" fmla="*/ 9446 h 141877"/>
                <a:gd name="connsiteX6" fmla="*/ 40402 w 40401"/>
                <a:gd name="connsiteY6" fmla="*/ 132443 h 141877"/>
                <a:gd name="connsiteX7" fmla="*/ 30979 w 40401"/>
                <a:gd name="connsiteY7" fmla="*/ 141877 h 141877"/>
                <a:gd name="connsiteX8" fmla="*/ 9434 w 40401"/>
                <a:gd name="connsiteY8" fmla="*/ 141877 h 1418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0401" h="141877">
                  <a:moveTo>
                    <a:pt x="9434" y="141877"/>
                  </a:moveTo>
                  <a:cubicBezTo>
                    <a:pt x="4245" y="141877"/>
                    <a:pt x="0" y="137632"/>
                    <a:pt x="0" y="132443"/>
                  </a:cubicBezTo>
                  <a:lnTo>
                    <a:pt x="0" y="9434"/>
                  </a:lnTo>
                  <a:cubicBezTo>
                    <a:pt x="0" y="4245"/>
                    <a:pt x="4234" y="0"/>
                    <a:pt x="9422" y="0"/>
                  </a:cubicBezTo>
                  <a:lnTo>
                    <a:pt x="30967" y="0"/>
                  </a:lnTo>
                  <a:cubicBezTo>
                    <a:pt x="36156" y="0"/>
                    <a:pt x="40402" y="4257"/>
                    <a:pt x="40402" y="9446"/>
                  </a:cubicBezTo>
                  <a:lnTo>
                    <a:pt x="40402" y="132443"/>
                  </a:lnTo>
                  <a:cubicBezTo>
                    <a:pt x="40402" y="137632"/>
                    <a:pt x="36168" y="141877"/>
                    <a:pt x="30979" y="141877"/>
                  </a:cubicBezTo>
                  <a:lnTo>
                    <a:pt x="9434" y="141877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629" name="Gráfico 10">
              <a:extLst>
                <a:ext uri="{FF2B5EF4-FFF2-40B4-BE49-F238E27FC236}">
                  <a16:creationId xmlns:a16="http://schemas.microsoft.com/office/drawing/2014/main" id="{0132889D-124F-CFC3-372F-EACDC6DFB6C2}"/>
                </a:ext>
              </a:extLst>
            </p:cNvPr>
            <p:cNvGrpSpPr/>
            <p:nvPr/>
          </p:nvGrpSpPr>
          <p:grpSpPr>
            <a:xfrm>
              <a:off x="8904404" y="2558398"/>
              <a:ext cx="35694" cy="301396"/>
              <a:chOff x="8904404" y="2558398"/>
              <a:chExt cx="35694" cy="301396"/>
            </a:xfrm>
            <a:noFill/>
          </p:grpSpPr>
          <p:sp>
            <p:nvSpPr>
              <p:cNvPr id="630" name="Forma livre: Forma 629">
                <a:extLst>
                  <a:ext uri="{FF2B5EF4-FFF2-40B4-BE49-F238E27FC236}">
                    <a16:creationId xmlns:a16="http://schemas.microsoft.com/office/drawing/2014/main" id="{0876B072-381F-34C7-F951-88F6832810BC}"/>
                  </a:ext>
                </a:extLst>
              </p:cNvPr>
              <p:cNvSpPr/>
              <p:nvPr/>
            </p:nvSpPr>
            <p:spPr>
              <a:xfrm>
                <a:off x="8904404" y="2778343"/>
                <a:ext cx="35694" cy="81451"/>
              </a:xfrm>
              <a:custGeom>
                <a:avLst/>
                <a:gdLst>
                  <a:gd name="connsiteX0" fmla="*/ 4905 w 35694"/>
                  <a:gd name="connsiteY0" fmla="*/ 0 h 81451"/>
                  <a:gd name="connsiteX1" fmla="*/ 23 w 35694"/>
                  <a:gd name="connsiteY1" fmla="*/ 61027 h 81451"/>
                  <a:gd name="connsiteX2" fmla="*/ 17842 w 35694"/>
                  <a:gd name="connsiteY2" fmla="*/ 81452 h 81451"/>
                  <a:gd name="connsiteX3" fmla="*/ 35672 w 35694"/>
                  <a:gd name="connsiteY3" fmla="*/ 61027 h 81451"/>
                  <a:gd name="connsiteX4" fmla="*/ 30790 w 35694"/>
                  <a:gd name="connsiteY4" fmla="*/ 0 h 81451"/>
                  <a:gd name="connsiteX5" fmla="*/ 4905 w 35694"/>
                  <a:gd name="connsiteY5" fmla="*/ 0 h 814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35694" h="81451">
                    <a:moveTo>
                      <a:pt x="4905" y="0"/>
                    </a:moveTo>
                    <a:lnTo>
                      <a:pt x="23" y="61027"/>
                    </a:lnTo>
                    <a:cubicBezTo>
                      <a:pt x="-484" y="72265"/>
                      <a:pt x="7535" y="81452"/>
                      <a:pt x="17842" y="81452"/>
                    </a:cubicBezTo>
                    <a:cubicBezTo>
                      <a:pt x="28148" y="81452"/>
                      <a:pt x="36179" y="72265"/>
                      <a:pt x="35672" y="61027"/>
                    </a:cubicBezTo>
                    <a:lnTo>
                      <a:pt x="30790" y="0"/>
                    </a:lnTo>
                    <a:lnTo>
                      <a:pt x="4905" y="0"/>
                    </a:lnTo>
                    <a:close/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631" name="Forma livre: Forma 630">
                <a:extLst>
                  <a:ext uri="{FF2B5EF4-FFF2-40B4-BE49-F238E27FC236}">
                    <a16:creationId xmlns:a16="http://schemas.microsoft.com/office/drawing/2014/main" id="{C0AE1BB1-CB64-C5AB-0775-AFD799F20134}"/>
                  </a:ext>
                </a:extLst>
              </p:cNvPr>
              <p:cNvSpPr/>
              <p:nvPr/>
            </p:nvSpPr>
            <p:spPr>
              <a:xfrm>
                <a:off x="8911043" y="2558398"/>
                <a:ext cx="22406" cy="221194"/>
              </a:xfrm>
              <a:custGeom>
                <a:avLst/>
                <a:gdLst>
                  <a:gd name="connsiteX0" fmla="*/ 0 w 22406"/>
                  <a:gd name="connsiteY0" fmla="*/ 221194 h 221194"/>
                  <a:gd name="connsiteX1" fmla="*/ 0 w 22406"/>
                  <a:gd name="connsiteY1" fmla="*/ 0 h 221194"/>
                  <a:gd name="connsiteX2" fmla="*/ 22406 w 22406"/>
                  <a:gd name="connsiteY2" fmla="*/ 0 h 221194"/>
                  <a:gd name="connsiteX3" fmla="*/ 22406 w 22406"/>
                  <a:gd name="connsiteY3" fmla="*/ 197161 h 2211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2406" h="221194">
                    <a:moveTo>
                      <a:pt x="0" y="221194"/>
                    </a:moveTo>
                    <a:lnTo>
                      <a:pt x="0" y="0"/>
                    </a:lnTo>
                    <a:lnTo>
                      <a:pt x="22406" y="0"/>
                    </a:lnTo>
                    <a:lnTo>
                      <a:pt x="22406" y="197161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632" name="Forma livre: Forma 631">
              <a:extLst>
                <a:ext uri="{FF2B5EF4-FFF2-40B4-BE49-F238E27FC236}">
                  <a16:creationId xmlns:a16="http://schemas.microsoft.com/office/drawing/2014/main" id="{3C9A52F5-A3BC-046C-EFF2-D3EE33201D51}"/>
                </a:ext>
              </a:extLst>
            </p:cNvPr>
            <p:cNvSpPr/>
            <p:nvPr/>
          </p:nvSpPr>
          <p:spPr>
            <a:xfrm>
              <a:off x="8779189" y="2767588"/>
              <a:ext cx="60142" cy="60142"/>
            </a:xfrm>
            <a:custGeom>
              <a:avLst/>
              <a:gdLst>
                <a:gd name="connsiteX0" fmla="*/ 60142 w 60142"/>
                <a:gd name="connsiteY0" fmla="*/ 30071 h 60142"/>
                <a:gd name="connsiteX1" fmla="*/ 30071 w 60142"/>
                <a:gd name="connsiteY1" fmla="*/ 60142 h 60142"/>
                <a:gd name="connsiteX2" fmla="*/ 0 w 60142"/>
                <a:gd name="connsiteY2" fmla="*/ 30071 h 60142"/>
                <a:gd name="connsiteX3" fmla="*/ 30071 w 60142"/>
                <a:gd name="connsiteY3" fmla="*/ 0 h 60142"/>
                <a:gd name="connsiteX4" fmla="*/ 60142 w 60142"/>
                <a:gd name="connsiteY4" fmla="*/ 30071 h 601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142" h="60142">
                  <a:moveTo>
                    <a:pt x="60142" y="30071"/>
                  </a:moveTo>
                  <a:cubicBezTo>
                    <a:pt x="60142" y="46679"/>
                    <a:pt x="46679" y="60142"/>
                    <a:pt x="30071" y="60142"/>
                  </a:cubicBezTo>
                  <a:cubicBezTo>
                    <a:pt x="13463" y="60142"/>
                    <a:pt x="0" y="46679"/>
                    <a:pt x="0" y="30071"/>
                  </a:cubicBezTo>
                  <a:cubicBezTo>
                    <a:pt x="0" y="13463"/>
                    <a:pt x="13463" y="0"/>
                    <a:pt x="30071" y="0"/>
                  </a:cubicBezTo>
                  <a:cubicBezTo>
                    <a:pt x="46679" y="0"/>
                    <a:pt x="60142" y="13463"/>
                    <a:pt x="60142" y="30071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33" name="Forma livre: Forma 632">
              <a:extLst>
                <a:ext uri="{FF2B5EF4-FFF2-40B4-BE49-F238E27FC236}">
                  <a16:creationId xmlns:a16="http://schemas.microsoft.com/office/drawing/2014/main" id="{559DCEBD-DE52-1567-D35F-55A0AB069ACA}"/>
                </a:ext>
              </a:extLst>
            </p:cNvPr>
            <p:cNvSpPr/>
            <p:nvPr/>
          </p:nvSpPr>
          <p:spPr>
            <a:xfrm>
              <a:off x="8848129" y="2643836"/>
              <a:ext cx="19811" cy="1179"/>
            </a:xfrm>
            <a:custGeom>
              <a:avLst/>
              <a:gdLst>
                <a:gd name="connsiteX0" fmla="*/ 0 w 19811"/>
                <a:gd name="connsiteY0" fmla="*/ 0 h 1179"/>
                <a:gd name="connsiteX1" fmla="*/ 19812 w 19811"/>
                <a:gd name="connsiteY1" fmla="*/ 0 h 11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9811" h="1179">
                  <a:moveTo>
                    <a:pt x="0" y="0"/>
                  </a:moveTo>
                  <a:lnTo>
                    <a:pt x="19812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34" name="Forma livre: Forma 633">
              <a:extLst>
                <a:ext uri="{FF2B5EF4-FFF2-40B4-BE49-F238E27FC236}">
                  <a16:creationId xmlns:a16="http://schemas.microsoft.com/office/drawing/2014/main" id="{5352DA16-2DE1-F765-CFD7-4A1DD4FF840E}"/>
                </a:ext>
              </a:extLst>
            </p:cNvPr>
            <p:cNvSpPr/>
            <p:nvPr/>
          </p:nvSpPr>
          <p:spPr>
            <a:xfrm>
              <a:off x="8848129" y="2691207"/>
              <a:ext cx="19811" cy="1179"/>
            </a:xfrm>
            <a:custGeom>
              <a:avLst/>
              <a:gdLst>
                <a:gd name="connsiteX0" fmla="*/ 0 w 19811"/>
                <a:gd name="connsiteY0" fmla="*/ 0 h 1179"/>
                <a:gd name="connsiteX1" fmla="*/ 19812 w 19811"/>
                <a:gd name="connsiteY1" fmla="*/ 0 h 11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9811" h="1179">
                  <a:moveTo>
                    <a:pt x="0" y="0"/>
                  </a:moveTo>
                  <a:lnTo>
                    <a:pt x="19812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35" name="Forma livre: Forma 634">
              <a:extLst>
                <a:ext uri="{FF2B5EF4-FFF2-40B4-BE49-F238E27FC236}">
                  <a16:creationId xmlns:a16="http://schemas.microsoft.com/office/drawing/2014/main" id="{480447D0-6375-CC51-9664-92220B0E8EA7}"/>
                </a:ext>
              </a:extLst>
            </p:cNvPr>
            <p:cNvSpPr/>
            <p:nvPr/>
          </p:nvSpPr>
          <p:spPr>
            <a:xfrm>
              <a:off x="8789732" y="2643836"/>
              <a:ext cx="39045" cy="1179"/>
            </a:xfrm>
            <a:custGeom>
              <a:avLst/>
              <a:gdLst>
                <a:gd name="connsiteX0" fmla="*/ 0 w 39045"/>
                <a:gd name="connsiteY0" fmla="*/ 0 h 1179"/>
                <a:gd name="connsiteX1" fmla="*/ 39045 w 39045"/>
                <a:gd name="connsiteY1" fmla="*/ 0 h 11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9045" h="1179">
                  <a:moveTo>
                    <a:pt x="0" y="0"/>
                  </a:moveTo>
                  <a:lnTo>
                    <a:pt x="39045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636" name="Gráfico 10">
            <a:extLst>
              <a:ext uri="{FF2B5EF4-FFF2-40B4-BE49-F238E27FC236}">
                <a16:creationId xmlns:a16="http://schemas.microsoft.com/office/drawing/2014/main" id="{A23C227C-4445-8FFA-6996-D7B5A155275C}"/>
              </a:ext>
            </a:extLst>
          </p:cNvPr>
          <p:cNvGrpSpPr/>
          <p:nvPr/>
        </p:nvGrpSpPr>
        <p:grpSpPr>
          <a:xfrm>
            <a:off x="8703858" y="1484028"/>
            <a:ext cx="282197" cy="332530"/>
            <a:chOff x="8703858" y="1484028"/>
            <a:chExt cx="282197" cy="332530"/>
          </a:xfrm>
        </p:grpSpPr>
        <p:grpSp>
          <p:nvGrpSpPr>
            <p:cNvPr id="637" name="Gráfico 10">
              <a:extLst>
                <a:ext uri="{FF2B5EF4-FFF2-40B4-BE49-F238E27FC236}">
                  <a16:creationId xmlns:a16="http://schemas.microsoft.com/office/drawing/2014/main" id="{9C593E15-323D-6B06-9D10-8D17DF959899}"/>
                </a:ext>
              </a:extLst>
            </p:cNvPr>
            <p:cNvGrpSpPr/>
            <p:nvPr/>
          </p:nvGrpSpPr>
          <p:grpSpPr>
            <a:xfrm>
              <a:off x="8738587" y="1563842"/>
              <a:ext cx="139141" cy="139141"/>
              <a:chOff x="8738587" y="1563842"/>
              <a:chExt cx="139141" cy="139141"/>
            </a:xfrm>
          </p:grpSpPr>
          <p:grpSp>
            <p:nvGrpSpPr>
              <p:cNvPr id="638" name="Gráfico 10">
                <a:extLst>
                  <a:ext uri="{FF2B5EF4-FFF2-40B4-BE49-F238E27FC236}">
                    <a16:creationId xmlns:a16="http://schemas.microsoft.com/office/drawing/2014/main" id="{4A9821F4-5CC7-C757-C2FA-3F8C072C25AC}"/>
                  </a:ext>
                </a:extLst>
              </p:cNvPr>
              <p:cNvGrpSpPr/>
              <p:nvPr/>
            </p:nvGrpSpPr>
            <p:grpSpPr>
              <a:xfrm>
                <a:off x="8738587" y="1563842"/>
                <a:ext cx="139141" cy="139141"/>
                <a:chOff x="8738587" y="1563842"/>
                <a:chExt cx="139141" cy="139141"/>
              </a:xfrm>
              <a:noFill/>
            </p:grpSpPr>
            <p:sp>
              <p:nvSpPr>
                <p:cNvPr id="639" name="Forma livre: Forma 638">
                  <a:extLst>
                    <a:ext uri="{FF2B5EF4-FFF2-40B4-BE49-F238E27FC236}">
                      <a16:creationId xmlns:a16="http://schemas.microsoft.com/office/drawing/2014/main" id="{688FD092-38A5-7679-89A2-287D55503CDC}"/>
                    </a:ext>
                  </a:extLst>
                </p:cNvPr>
                <p:cNvSpPr/>
                <p:nvPr/>
              </p:nvSpPr>
              <p:spPr>
                <a:xfrm>
                  <a:off x="8758328" y="1583571"/>
                  <a:ext cx="99671" cy="99671"/>
                </a:xfrm>
                <a:custGeom>
                  <a:avLst/>
                  <a:gdLst>
                    <a:gd name="connsiteX0" fmla="*/ 99671 w 99671"/>
                    <a:gd name="connsiteY0" fmla="*/ 49836 h 99671"/>
                    <a:gd name="connsiteX1" fmla="*/ 49836 w 99671"/>
                    <a:gd name="connsiteY1" fmla="*/ 99671 h 99671"/>
                    <a:gd name="connsiteX2" fmla="*/ 0 w 99671"/>
                    <a:gd name="connsiteY2" fmla="*/ 49836 h 99671"/>
                    <a:gd name="connsiteX3" fmla="*/ 49836 w 99671"/>
                    <a:gd name="connsiteY3" fmla="*/ 0 h 99671"/>
                    <a:gd name="connsiteX4" fmla="*/ 99671 w 99671"/>
                    <a:gd name="connsiteY4" fmla="*/ 49836 h 996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99671" h="99671">
                      <a:moveTo>
                        <a:pt x="99671" y="49836"/>
                      </a:moveTo>
                      <a:cubicBezTo>
                        <a:pt x="99671" y="77360"/>
                        <a:pt x="77360" y="99671"/>
                        <a:pt x="49836" y="99671"/>
                      </a:cubicBezTo>
                      <a:cubicBezTo>
                        <a:pt x="22312" y="99671"/>
                        <a:pt x="0" y="77360"/>
                        <a:pt x="0" y="49836"/>
                      </a:cubicBezTo>
                      <a:cubicBezTo>
                        <a:pt x="0" y="22312"/>
                        <a:pt x="22312" y="0"/>
                        <a:pt x="49836" y="0"/>
                      </a:cubicBezTo>
                      <a:cubicBezTo>
                        <a:pt x="77360" y="0"/>
                        <a:pt x="99671" y="22312"/>
                        <a:pt x="99671" y="49836"/>
                      </a:cubicBezTo>
                      <a:close/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grpSp>
              <p:nvGrpSpPr>
                <p:cNvPr id="640" name="Gráfico 10">
                  <a:extLst>
                    <a:ext uri="{FF2B5EF4-FFF2-40B4-BE49-F238E27FC236}">
                      <a16:creationId xmlns:a16="http://schemas.microsoft.com/office/drawing/2014/main" id="{9ACA297B-1DCD-69C1-FD3D-9F6CE380C933}"/>
                    </a:ext>
                  </a:extLst>
                </p:cNvPr>
                <p:cNvGrpSpPr/>
                <p:nvPr/>
              </p:nvGrpSpPr>
              <p:grpSpPr>
                <a:xfrm>
                  <a:off x="8808164" y="1563842"/>
                  <a:ext cx="1179" cy="139141"/>
                  <a:chOff x="8808164" y="1563842"/>
                  <a:chExt cx="1179" cy="139141"/>
                </a:xfrm>
              </p:grpSpPr>
              <p:sp>
                <p:nvSpPr>
                  <p:cNvPr id="641" name="Forma livre: Forma 640">
                    <a:extLst>
                      <a:ext uri="{FF2B5EF4-FFF2-40B4-BE49-F238E27FC236}">
                        <a16:creationId xmlns:a16="http://schemas.microsoft.com/office/drawing/2014/main" id="{1E50A56D-0296-3284-AF92-F7754B439908}"/>
                      </a:ext>
                    </a:extLst>
                  </p:cNvPr>
                  <p:cNvSpPr/>
                  <p:nvPr/>
                </p:nvSpPr>
                <p:spPr>
                  <a:xfrm>
                    <a:off x="8808164" y="1563842"/>
                    <a:ext cx="1179" cy="18809"/>
                  </a:xfrm>
                  <a:custGeom>
                    <a:avLst/>
                    <a:gdLst>
                      <a:gd name="connsiteX0" fmla="*/ 0 w 1179"/>
                      <a:gd name="connsiteY0" fmla="*/ 18809 h 18809"/>
                      <a:gd name="connsiteX1" fmla="*/ 0 w 1179"/>
                      <a:gd name="connsiteY1" fmla="*/ 0 h 1880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179" h="18809">
                        <a:moveTo>
                          <a:pt x="0" y="18809"/>
                        </a:moveTo>
                        <a:lnTo>
                          <a:pt x="0" y="0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642" name="Forma livre: Forma 641">
                    <a:extLst>
                      <a:ext uri="{FF2B5EF4-FFF2-40B4-BE49-F238E27FC236}">
                        <a16:creationId xmlns:a16="http://schemas.microsoft.com/office/drawing/2014/main" id="{17B4EB94-E0B2-CFDD-6434-17E208407F63}"/>
                      </a:ext>
                    </a:extLst>
                  </p:cNvPr>
                  <p:cNvSpPr/>
                  <p:nvPr/>
                </p:nvSpPr>
                <p:spPr>
                  <a:xfrm>
                    <a:off x="8808164" y="1684174"/>
                    <a:ext cx="1179" cy="18809"/>
                  </a:xfrm>
                  <a:custGeom>
                    <a:avLst/>
                    <a:gdLst>
                      <a:gd name="connsiteX0" fmla="*/ 0 w 1179"/>
                      <a:gd name="connsiteY0" fmla="*/ 18809 h 18809"/>
                      <a:gd name="connsiteX1" fmla="*/ 0 w 1179"/>
                      <a:gd name="connsiteY1" fmla="*/ 0 h 1880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179" h="18809">
                        <a:moveTo>
                          <a:pt x="0" y="18809"/>
                        </a:moveTo>
                        <a:lnTo>
                          <a:pt x="0" y="0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  <p:grpSp>
              <p:nvGrpSpPr>
                <p:cNvPr id="643" name="Gráfico 10">
                  <a:extLst>
                    <a:ext uri="{FF2B5EF4-FFF2-40B4-BE49-F238E27FC236}">
                      <a16:creationId xmlns:a16="http://schemas.microsoft.com/office/drawing/2014/main" id="{D9F60647-70C4-BCAD-538A-27EA83F18505}"/>
                    </a:ext>
                  </a:extLst>
                </p:cNvPr>
                <p:cNvGrpSpPr/>
                <p:nvPr/>
              </p:nvGrpSpPr>
              <p:grpSpPr>
                <a:xfrm>
                  <a:off x="8738587" y="1633407"/>
                  <a:ext cx="139141" cy="1179"/>
                  <a:chOff x="8738587" y="1633407"/>
                  <a:chExt cx="139141" cy="1179"/>
                </a:xfrm>
              </p:grpSpPr>
              <p:sp>
                <p:nvSpPr>
                  <p:cNvPr id="644" name="Forma livre: Forma 643">
                    <a:extLst>
                      <a:ext uri="{FF2B5EF4-FFF2-40B4-BE49-F238E27FC236}">
                        <a16:creationId xmlns:a16="http://schemas.microsoft.com/office/drawing/2014/main" id="{077EEF46-7DD1-577D-2C6C-CF11C744F996}"/>
                      </a:ext>
                    </a:extLst>
                  </p:cNvPr>
                  <p:cNvSpPr/>
                  <p:nvPr/>
                </p:nvSpPr>
                <p:spPr>
                  <a:xfrm>
                    <a:off x="8858919" y="1633407"/>
                    <a:ext cx="18809" cy="1179"/>
                  </a:xfrm>
                  <a:custGeom>
                    <a:avLst/>
                    <a:gdLst>
                      <a:gd name="connsiteX0" fmla="*/ 0 w 18809"/>
                      <a:gd name="connsiteY0" fmla="*/ 0 h 1179"/>
                      <a:gd name="connsiteX1" fmla="*/ 18809 w 18809"/>
                      <a:gd name="connsiteY1" fmla="*/ 0 h 117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8809" h="1179">
                        <a:moveTo>
                          <a:pt x="0" y="0"/>
                        </a:moveTo>
                        <a:lnTo>
                          <a:pt x="18809" y="0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645" name="Forma livre: Forma 644">
                    <a:extLst>
                      <a:ext uri="{FF2B5EF4-FFF2-40B4-BE49-F238E27FC236}">
                        <a16:creationId xmlns:a16="http://schemas.microsoft.com/office/drawing/2014/main" id="{D7D5ECD4-46FB-2FB6-64FE-76FCD7A0AB86}"/>
                      </a:ext>
                    </a:extLst>
                  </p:cNvPr>
                  <p:cNvSpPr/>
                  <p:nvPr/>
                </p:nvSpPr>
                <p:spPr>
                  <a:xfrm>
                    <a:off x="8738587" y="1633407"/>
                    <a:ext cx="18821" cy="1179"/>
                  </a:xfrm>
                  <a:custGeom>
                    <a:avLst/>
                    <a:gdLst>
                      <a:gd name="connsiteX0" fmla="*/ 0 w 18821"/>
                      <a:gd name="connsiteY0" fmla="*/ 0 h 1179"/>
                      <a:gd name="connsiteX1" fmla="*/ 18821 w 18821"/>
                      <a:gd name="connsiteY1" fmla="*/ 0 h 117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8821" h="1179">
                        <a:moveTo>
                          <a:pt x="0" y="0"/>
                        </a:moveTo>
                        <a:lnTo>
                          <a:pt x="18821" y="0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  <p:grpSp>
              <p:nvGrpSpPr>
                <p:cNvPr id="646" name="Gráfico 10">
                  <a:extLst>
                    <a:ext uri="{FF2B5EF4-FFF2-40B4-BE49-F238E27FC236}">
                      <a16:creationId xmlns:a16="http://schemas.microsoft.com/office/drawing/2014/main" id="{565F568E-6162-85A6-6F4A-B1D3FFC86D1F}"/>
                    </a:ext>
                  </a:extLst>
                </p:cNvPr>
                <p:cNvGrpSpPr/>
                <p:nvPr/>
              </p:nvGrpSpPr>
              <p:grpSpPr>
                <a:xfrm>
                  <a:off x="8758965" y="1584220"/>
                  <a:ext cx="98385" cy="98385"/>
                  <a:chOff x="8758965" y="1584220"/>
                  <a:chExt cx="98385" cy="98385"/>
                </a:xfrm>
              </p:grpSpPr>
              <p:sp>
                <p:nvSpPr>
                  <p:cNvPr id="647" name="Forma livre: Forma 646">
                    <a:extLst>
                      <a:ext uri="{FF2B5EF4-FFF2-40B4-BE49-F238E27FC236}">
                        <a16:creationId xmlns:a16="http://schemas.microsoft.com/office/drawing/2014/main" id="{28786BA7-6F1E-C28D-24E1-12D466FF9D0A}"/>
                      </a:ext>
                    </a:extLst>
                  </p:cNvPr>
                  <p:cNvSpPr/>
                  <p:nvPr/>
                </p:nvSpPr>
                <p:spPr>
                  <a:xfrm>
                    <a:off x="8758965" y="1584220"/>
                    <a:ext cx="13302" cy="13302"/>
                  </a:xfrm>
                  <a:custGeom>
                    <a:avLst/>
                    <a:gdLst>
                      <a:gd name="connsiteX0" fmla="*/ 13302 w 13302"/>
                      <a:gd name="connsiteY0" fmla="*/ 13302 h 13302"/>
                      <a:gd name="connsiteX1" fmla="*/ 0 w 13302"/>
                      <a:gd name="connsiteY1" fmla="*/ 0 h 1330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3302" h="13302">
                        <a:moveTo>
                          <a:pt x="13302" y="13302"/>
                        </a:moveTo>
                        <a:lnTo>
                          <a:pt x="0" y="0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648" name="Forma livre: Forma 647">
                    <a:extLst>
                      <a:ext uri="{FF2B5EF4-FFF2-40B4-BE49-F238E27FC236}">
                        <a16:creationId xmlns:a16="http://schemas.microsoft.com/office/drawing/2014/main" id="{15360A26-8675-1BD2-C6FA-3F1DE994CFEC}"/>
                      </a:ext>
                    </a:extLst>
                  </p:cNvPr>
                  <p:cNvSpPr/>
                  <p:nvPr/>
                </p:nvSpPr>
                <p:spPr>
                  <a:xfrm>
                    <a:off x="8844061" y="1669304"/>
                    <a:ext cx="13290" cy="13302"/>
                  </a:xfrm>
                  <a:custGeom>
                    <a:avLst/>
                    <a:gdLst>
                      <a:gd name="connsiteX0" fmla="*/ 13290 w 13290"/>
                      <a:gd name="connsiteY0" fmla="*/ 13302 h 13302"/>
                      <a:gd name="connsiteX1" fmla="*/ 0 w 13290"/>
                      <a:gd name="connsiteY1" fmla="*/ 0 h 1330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3290" h="13302">
                        <a:moveTo>
                          <a:pt x="13290" y="13302"/>
                        </a:moveTo>
                        <a:lnTo>
                          <a:pt x="0" y="0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  <p:grpSp>
              <p:nvGrpSpPr>
                <p:cNvPr id="649" name="Gráfico 10">
                  <a:extLst>
                    <a:ext uri="{FF2B5EF4-FFF2-40B4-BE49-F238E27FC236}">
                      <a16:creationId xmlns:a16="http://schemas.microsoft.com/office/drawing/2014/main" id="{05113193-8C05-87C5-5F19-F77E3E480E0E}"/>
                    </a:ext>
                  </a:extLst>
                </p:cNvPr>
                <p:cNvGrpSpPr/>
                <p:nvPr/>
              </p:nvGrpSpPr>
              <p:grpSpPr>
                <a:xfrm>
                  <a:off x="8758965" y="1584220"/>
                  <a:ext cx="98385" cy="98385"/>
                  <a:chOff x="8758965" y="1584220"/>
                  <a:chExt cx="98385" cy="98385"/>
                </a:xfrm>
              </p:grpSpPr>
              <p:sp>
                <p:nvSpPr>
                  <p:cNvPr id="650" name="Forma livre: Forma 649">
                    <a:extLst>
                      <a:ext uri="{FF2B5EF4-FFF2-40B4-BE49-F238E27FC236}">
                        <a16:creationId xmlns:a16="http://schemas.microsoft.com/office/drawing/2014/main" id="{06DAAE8A-8EF5-26A8-8B74-87A141D46599}"/>
                      </a:ext>
                    </a:extLst>
                  </p:cNvPr>
                  <p:cNvSpPr/>
                  <p:nvPr/>
                </p:nvSpPr>
                <p:spPr>
                  <a:xfrm>
                    <a:off x="8844061" y="1584220"/>
                    <a:ext cx="13290" cy="13302"/>
                  </a:xfrm>
                  <a:custGeom>
                    <a:avLst/>
                    <a:gdLst>
                      <a:gd name="connsiteX0" fmla="*/ 0 w 13290"/>
                      <a:gd name="connsiteY0" fmla="*/ 13302 h 13302"/>
                      <a:gd name="connsiteX1" fmla="*/ 13290 w 13290"/>
                      <a:gd name="connsiteY1" fmla="*/ 0 h 1330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3290" h="13302">
                        <a:moveTo>
                          <a:pt x="0" y="13302"/>
                        </a:moveTo>
                        <a:lnTo>
                          <a:pt x="13290" y="0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651" name="Forma livre: Forma 650">
                    <a:extLst>
                      <a:ext uri="{FF2B5EF4-FFF2-40B4-BE49-F238E27FC236}">
                        <a16:creationId xmlns:a16="http://schemas.microsoft.com/office/drawing/2014/main" id="{4C0196B3-6712-CE72-B96A-3FDCE6B42088}"/>
                      </a:ext>
                    </a:extLst>
                  </p:cNvPr>
                  <p:cNvSpPr/>
                  <p:nvPr/>
                </p:nvSpPr>
                <p:spPr>
                  <a:xfrm>
                    <a:off x="8758965" y="1669304"/>
                    <a:ext cx="13302" cy="13302"/>
                  </a:xfrm>
                  <a:custGeom>
                    <a:avLst/>
                    <a:gdLst>
                      <a:gd name="connsiteX0" fmla="*/ 0 w 13302"/>
                      <a:gd name="connsiteY0" fmla="*/ 13302 h 13302"/>
                      <a:gd name="connsiteX1" fmla="*/ 13302 w 13302"/>
                      <a:gd name="connsiteY1" fmla="*/ 0 h 1330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3302" h="13302">
                        <a:moveTo>
                          <a:pt x="0" y="13302"/>
                        </a:moveTo>
                        <a:lnTo>
                          <a:pt x="13302" y="0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</p:grpSp>
          <p:grpSp>
            <p:nvGrpSpPr>
              <p:cNvPr id="652" name="Gráfico 10">
                <a:extLst>
                  <a:ext uri="{FF2B5EF4-FFF2-40B4-BE49-F238E27FC236}">
                    <a16:creationId xmlns:a16="http://schemas.microsoft.com/office/drawing/2014/main" id="{D304856F-DF46-AE2E-7153-5E969A65FFF2}"/>
                  </a:ext>
                </a:extLst>
              </p:cNvPr>
              <p:cNvGrpSpPr/>
              <p:nvPr/>
            </p:nvGrpSpPr>
            <p:grpSpPr>
              <a:xfrm>
                <a:off x="8783856" y="1614480"/>
                <a:ext cx="42434" cy="39423"/>
                <a:chOff x="8783856" y="1614480"/>
                <a:chExt cx="42434" cy="39423"/>
              </a:xfrm>
              <a:solidFill>
                <a:srgbClr val="FF8B00"/>
              </a:solidFill>
            </p:grpSpPr>
            <p:grpSp>
              <p:nvGrpSpPr>
                <p:cNvPr id="653" name="Gráfico 10">
                  <a:extLst>
                    <a:ext uri="{FF2B5EF4-FFF2-40B4-BE49-F238E27FC236}">
                      <a16:creationId xmlns:a16="http://schemas.microsoft.com/office/drawing/2014/main" id="{AFCC11FF-79D1-F70F-9407-5CBAA3AE2937}"/>
                    </a:ext>
                  </a:extLst>
                </p:cNvPr>
                <p:cNvGrpSpPr/>
                <p:nvPr/>
              </p:nvGrpSpPr>
              <p:grpSpPr>
                <a:xfrm>
                  <a:off x="8783856" y="1614480"/>
                  <a:ext cx="42434" cy="15509"/>
                  <a:chOff x="8783856" y="1614480"/>
                  <a:chExt cx="42434" cy="15509"/>
                </a:xfrm>
                <a:solidFill>
                  <a:srgbClr val="FF8B00"/>
                </a:solidFill>
              </p:grpSpPr>
              <p:sp>
                <p:nvSpPr>
                  <p:cNvPr id="654" name="Forma livre: Forma 653">
                    <a:extLst>
                      <a:ext uri="{FF2B5EF4-FFF2-40B4-BE49-F238E27FC236}">
                        <a16:creationId xmlns:a16="http://schemas.microsoft.com/office/drawing/2014/main" id="{5F4E8F27-4C4D-3A3F-0F7C-4E4DF1497441}"/>
                      </a:ext>
                    </a:extLst>
                  </p:cNvPr>
                  <p:cNvSpPr/>
                  <p:nvPr/>
                </p:nvSpPr>
                <p:spPr>
                  <a:xfrm>
                    <a:off x="8783856" y="1622908"/>
                    <a:ext cx="7067" cy="7081"/>
                  </a:xfrm>
                  <a:custGeom>
                    <a:avLst/>
                    <a:gdLst>
                      <a:gd name="connsiteX0" fmla="*/ 3 w 7067"/>
                      <a:gd name="connsiteY0" fmla="*/ 3211 h 7081"/>
                      <a:gd name="connsiteX1" fmla="*/ 3836 w 7067"/>
                      <a:gd name="connsiteY1" fmla="*/ 15 h 7081"/>
                      <a:gd name="connsiteX2" fmla="*/ 7055 w 7067"/>
                      <a:gd name="connsiteY2" fmla="*/ 3847 h 7081"/>
                      <a:gd name="connsiteX3" fmla="*/ 3211 w 7067"/>
                      <a:gd name="connsiteY3" fmla="*/ 7067 h 7081"/>
                      <a:gd name="connsiteX4" fmla="*/ 15 w 7067"/>
                      <a:gd name="connsiteY4" fmla="*/ 3211 h 708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7067" h="7081">
                        <a:moveTo>
                          <a:pt x="3" y="3211"/>
                        </a:moveTo>
                        <a:cubicBezTo>
                          <a:pt x="168" y="1265"/>
                          <a:pt x="1890" y="-162"/>
                          <a:pt x="3836" y="15"/>
                        </a:cubicBezTo>
                        <a:cubicBezTo>
                          <a:pt x="5770" y="192"/>
                          <a:pt x="7220" y="1913"/>
                          <a:pt x="7055" y="3847"/>
                        </a:cubicBezTo>
                        <a:cubicBezTo>
                          <a:pt x="6866" y="5805"/>
                          <a:pt x="5145" y="7244"/>
                          <a:pt x="3211" y="7067"/>
                        </a:cubicBezTo>
                        <a:cubicBezTo>
                          <a:pt x="1253" y="6890"/>
                          <a:pt x="-162" y="5192"/>
                          <a:pt x="15" y="3211"/>
                        </a:cubicBezTo>
                        <a:close/>
                      </a:path>
                    </a:pathLst>
                  </a:custGeom>
                  <a:solidFill>
                    <a:srgbClr val="FF8B00"/>
                  </a:solidFill>
                  <a:ln w="6350" cap="flat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655" name="Forma livre: Forma 654">
                    <a:extLst>
                      <a:ext uri="{FF2B5EF4-FFF2-40B4-BE49-F238E27FC236}">
                        <a16:creationId xmlns:a16="http://schemas.microsoft.com/office/drawing/2014/main" id="{85D4616A-DBDA-AF39-0C20-6BFAF4848680}"/>
                      </a:ext>
                    </a:extLst>
                  </p:cNvPr>
                  <p:cNvSpPr/>
                  <p:nvPr/>
                </p:nvSpPr>
                <p:spPr>
                  <a:xfrm>
                    <a:off x="8819212" y="1614480"/>
                    <a:ext cx="7077" cy="7077"/>
                  </a:xfrm>
                  <a:custGeom>
                    <a:avLst/>
                    <a:gdLst>
                      <a:gd name="connsiteX0" fmla="*/ 13 w 7077"/>
                      <a:gd name="connsiteY0" fmla="*/ 3219 h 7077"/>
                      <a:gd name="connsiteX1" fmla="*/ 3846 w 7077"/>
                      <a:gd name="connsiteY1" fmla="*/ 11 h 7077"/>
                      <a:gd name="connsiteX2" fmla="*/ 7065 w 7077"/>
                      <a:gd name="connsiteY2" fmla="*/ 3856 h 7077"/>
                      <a:gd name="connsiteX3" fmla="*/ 3221 w 7077"/>
                      <a:gd name="connsiteY3" fmla="*/ 7063 h 7077"/>
                      <a:gd name="connsiteX4" fmla="*/ 13 w 7077"/>
                      <a:gd name="connsiteY4" fmla="*/ 3219 h 707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7077" h="7077">
                        <a:moveTo>
                          <a:pt x="13" y="3219"/>
                        </a:moveTo>
                        <a:cubicBezTo>
                          <a:pt x="190" y="1285"/>
                          <a:pt x="1888" y="-142"/>
                          <a:pt x="3846" y="11"/>
                        </a:cubicBezTo>
                        <a:cubicBezTo>
                          <a:pt x="5780" y="200"/>
                          <a:pt x="7230" y="1922"/>
                          <a:pt x="7065" y="3856"/>
                        </a:cubicBezTo>
                        <a:cubicBezTo>
                          <a:pt x="6888" y="5801"/>
                          <a:pt x="5155" y="7240"/>
                          <a:pt x="3221" y="7063"/>
                        </a:cubicBezTo>
                        <a:cubicBezTo>
                          <a:pt x="1275" y="6886"/>
                          <a:pt x="-152" y="5188"/>
                          <a:pt x="13" y="3219"/>
                        </a:cubicBezTo>
                        <a:close/>
                      </a:path>
                    </a:pathLst>
                  </a:custGeom>
                  <a:solidFill>
                    <a:srgbClr val="FF8B00"/>
                  </a:solidFill>
                  <a:ln w="6350" cap="flat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  <p:sp>
              <p:nvSpPr>
                <p:cNvPr id="656" name="Forma livre: Forma 655">
                  <a:extLst>
                    <a:ext uri="{FF2B5EF4-FFF2-40B4-BE49-F238E27FC236}">
                      <a16:creationId xmlns:a16="http://schemas.microsoft.com/office/drawing/2014/main" id="{7A590C5D-AFA0-F4B2-4702-0D1800D62D4C}"/>
                    </a:ext>
                  </a:extLst>
                </p:cNvPr>
                <p:cNvSpPr/>
                <p:nvPr/>
              </p:nvSpPr>
              <p:spPr>
                <a:xfrm>
                  <a:off x="8808198" y="1646826"/>
                  <a:ext cx="7079" cy="7077"/>
                </a:xfrm>
                <a:custGeom>
                  <a:avLst/>
                  <a:gdLst>
                    <a:gd name="connsiteX0" fmla="*/ 25 w 7079"/>
                    <a:gd name="connsiteY0" fmla="*/ 3221 h 7077"/>
                    <a:gd name="connsiteX1" fmla="*/ 3858 w 7079"/>
                    <a:gd name="connsiteY1" fmla="*/ 13 h 7077"/>
                    <a:gd name="connsiteX2" fmla="*/ 7065 w 7079"/>
                    <a:gd name="connsiteY2" fmla="*/ 3846 h 7077"/>
                    <a:gd name="connsiteX3" fmla="*/ 3221 w 7079"/>
                    <a:gd name="connsiteY3" fmla="*/ 7065 h 7077"/>
                    <a:gd name="connsiteX4" fmla="*/ 13 w 7079"/>
                    <a:gd name="connsiteY4" fmla="*/ 3221 h 707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7079" h="7077">
                      <a:moveTo>
                        <a:pt x="25" y="3221"/>
                      </a:moveTo>
                      <a:cubicBezTo>
                        <a:pt x="202" y="1275"/>
                        <a:pt x="1900" y="-152"/>
                        <a:pt x="3858" y="13"/>
                      </a:cubicBezTo>
                      <a:cubicBezTo>
                        <a:pt x="5792" y="190"/>
                        <a:pt x="7242" y="1912"/>
                        <a:pt x="7065" y="3846"/>
                      </a:cubicBezTo>
                      <a:cubicBezTo>
                        <a:pt x="6876" y="5791"/>
                        <a:pt x="5155" y="7230"/>
                        <a:pt x="3221" y="7065"/>
                      </a:cubicBezTo>
                      <a:cubicBezTo>
                        <a:pt x="1263" y="6888"/>
                        <a:pt x="-152" y="5178"/>
                        <a:pt x="13" y="3221"/>
                      </a:cubicBezTo>
                      <a:close/>
                    </a:path>
                  </a:pathLst>
                </a:custGeom>
                <a:solidFill>
                  <a:srgbClr val="FF8B00"/>
                </a:solidFill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sp>
          <p:nvSpPr>
            <p:cNvPr id="657" name="Forma livre: Forma 656">
              <a:extLst>
                <a:ext uri="{FF2B5EF4-FFF2-40B4-BE49-F238E27FC236}">
                  <a16:creationId xmlns:a16="http://schemas.microsoft.com/office/drawing/2014/main" id="{F91D11A7-80C6-A4AD-6B52-846372D2DCB1}"/>
                </a:ext>
              </a:extLst>
            </p:cNvPr>
            <p:cNvSpPr/>
            <p:nvPr/>
          </p:nvSpPr>
          <p:spPr>
            <a:xfrm>
              <a:off x="8704153" y="1533075"/>
              <a:ext cx="205050" cy="132289"/>
            </a:xfrm>
            <a:custGeom>
              <a:avLst/>
              <a:gdLst>
                <a:gd name="connsiteX0" fmla="*/ 205050 w 205050"/>
                <a:gd name="connsiteY0" fmla="*/ 132290 h 132289"/>
                <a:gd name="connsiteX1" fmla="*/ 205050 w 205050"/>
                <a:gd name="connsiteY1" fmla="*/ 13750 h 132289"/>
                <a:gd name="connsiteX2" fmla="*/ 191288 w 205050"/>
                <a:gd name="connsiteY2" fmla="*/ 0 h 132289"/>
                <a:gd name="connsiteX3" fmla="*/ 0 w 205050"/>
                <a:gd name="connsiteY3" fmla="*/ 0 h 1322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5050" h="132289">
                  <a:moveTo>
                    <a:pt x="205050" y="132290"/>
                  </a:moveTo>
                  <a:lnTo>
                    <a:pt x="205050" y="13750"/>
                  </a:lnTo>
                  <a:cubicBezTo>
                    <a:pt x="205050" y="6191"/>
                    <a:pt x="198859" y="0"/>
                    <a:pt x="191288" y="0"/>
                  </a:cubicBezTo>
                  <a:lnTo>
                    <a:pt x="0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58" name="Forma livre: Forma 657">
              <a:extLst>
                <a:ext uri="{FF2B5EF4-FFF2-40B4-BE49-F238E27FC236}">
                  <a16:creationId xmlns:a16="http://schemas.microsoft.com/office/drawing/2014/main" id="{B2950333-98B6-8AE5-8928-06B53465B09F}"/>
                </a:ext>
              </a:extLst>
            </p:cNvPr>
            <p:cNvSpPr/>
            <p:nvPr/>
          </p:nvSpPr>
          <p:spPr>
            <a:xfrm>
              <a:off x="8703858" y="1484028"/>
              <a:ext cx="157809" cy="299322"/>
            </a:xfrm>
            <a:custGeom>
              <a:avLst/>
              <a:gdLst>
                <a:gd name="connsiteX0" fmla="*/ 157809 w 157809"/>
                <a:gd name="connsiteY0" fmla="*/ 26618 h 299322"/>
                <a:gd name="connsiteX1" fmla="*/ 157809 w 157809"/>
                <a:gd name="connsiteY1" fmla="*/ 13835 h 299322"/>
                <a:gd name="connsiteX2" fmla="*/ 141559 w 157809"/>
                <a:gd name="connsiteY2" fmla="*/ 615 h 299322"/>
                <a:gd name="connsiteX3" fmla="*/ 0 w 157809"/>
                <a:gd name="connsiteY3" fmla="*/ 49036 h 299322"/>
                <a:gd name="connsiteX4" fmla="*/ 0 w 157809"/>
                <a:gd name="connsiteY4" fmla="*/ 299323 h 299322"/>
                <a:gd name="connsiteX5" fmla="*/ 133552 w 157809"/>
                <a:gd name="connsiteY5" fmla="*/ 299323 h 2993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57809" h="299322">
                  <a:moveTo>
                    <a:pt x="157809" y="26618"/>
                  </a:moveTo>
                  <a:lnTo>
                    <a:pt x="157809" y="13835"/>
                  </a:lnTo>
                  <a:cubicBezTo>
                    <a:pt x="157809" y="3740"/>
                    <a:pt x="149967" y="-1956"/>
                    <a:pt x="141559" y="615"/>
                  </a:cubicBezTo>
                  <a:lnTo>
                    <a:pt x="0" y="49036"/>
                  </a:lnTo>
                  <a:lnTo>
                    <a:pt x="0" y="299323"/>
                  </a:lnTo>
                  <a:lnTo>
                    <a:pt x="133552" y="299323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59" name="Forma livre: Forma 658">
              <a:extLst>
                <a:ext uri="{FF2B5EF4-FFF2-40B4-BE49-F238E27FC236}">
                  <a16:creationId xmlns:a16="http://schemas.microsoft.com/office/drawing/2014/main" id="{D27249FA-AA4D-6876-A4F7-65A4236FC3C6}"/>
                </a:ext>
              </a:extLst>
            </p:cNvPr>
            <p:cNvSpPr/>
            <p:nvPr/>
          </p:nvSpPr>
          <p:spPr>
            <a:xfrm>
              <a:off x="8760522" y="1742300"/>
              <a:ext cx="71227" cy="1179"/>
            </a:xfrm>
            <a:custGeom>
              <a:avLst/>
              <a:gdLst>
                <a:gd name="connsiteX0" fmla="*/ 0 w 71227"/>
                <a:gd name="connsiteY0" fmla="*/ 0 h 1179"/>
                <a:gd name="connsiteX1" fmla="*/ 71228 w 71227"/>
                <a:gd name="connsiteY1" fmla="*/ 0 h 11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1227" h="1179">
                  <a:moveTo>
                    <a:pt x="0" y="0"/>
                  </a:moveTo>
                  <a:lnTo>
                    <a:pt x="71228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60" name="Forma livre: Forma 659">
              <a:extLst>
                <a:ext uri="{FF2B5EF4-FFF2-40B4-BE49-F238E27FC236}">
                  <a16:creationId xmlns:a16="http://schemas.microsoft.com/office/drawing/2014/main" id="{9BB8F799-3030-FCC8-DD5B-21034928A167}"/>
                </a:ext>
              </a:extLst>
            </p:cNvPr>
            <p:cNvSpPr/>
            <p:nvPr/>
          </p:nvSpPr>
          <p:spPr>
            <a:xfrm>
              <a:off x="8888130" y="1729906"/>
              <a:ext cx="65083" cy="50448"/>
            </a:xfrm>
            <a:custGeom>
              <a:avLst/>
              <a:gdLst>
                <a:gd name="connsiteX0" fmla="*/ 0 w 65083"/>
                <a:gd name="connsiteY0" fmla="*/ 18739 h 50448"/>
                <a:gd name="connsiteX1" fmla="*/ 22889 w 65083"/>
                <a:gd name="connsiteY1" fmla="*/ 50449 h 50448"/>
                <a:gd name="connsiteX2" fmla="*/ 65084 w 65083"/>
                <a:gd name="connsiteY2" fmla="*/ 0 h 504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5083" h="50448">
                  <a:moveTo>
                    <a:pt x="0" y="18739"/>
                  </a:moveTo>
                  <a:lnTo>
                    <a:pt x="22889" y="50449"/>
                  </a:lnTo>
                  <a:lnTo>
                    <a:pt x="65084" y="0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61" name="Forma livre: Forma 660">
              <a:extLst>
                <a:ext uri="{FF2B5EF4-FFF2-40B4-BE49-F238E27FC236}">
                  <a16:creationId xmlns:a16="http://schemas.microsoft.com/office/drawing/2014/main" id="{A35C9F24-AF14-3B5C-C758-D1AF816BDDF2}"/>
                </a:ext>
              </a:extLst>
            </p:cNvPr>
            <p:cNvSpPr/>
            <p:nvPr/>
          </p:nvSpPr>
          <p:spPr>
            <a:xfrm>
              <a:off x="8857988" y="1688490"/>
              <a:ext cx="128068" cy="128068"/>
            </a:xfrm>
            <a:custGeom>
              <a:avLst/>
              <a:gdLst>
                <a:gd name="connsiteX0" fmla="*/ 33597 w 128068"/>
                <a:gd name="connsiteY0" fmla="*/ 7677 h 128068"/>
                <a:gd name="connsiteX1" fmla="*/ 64034 w 128068"/>
                <a:gd name="connsiteY1" fmla="*/ 0 h 128068"/>
                <a:gd name="connsiteX2" fmla="*/ 128068 w 128068"/>
                <a:gd name="connsiteY2" fmla="*/ 64034 h 128068"/>
                <a:gd name="connsiteX3" fmla="*/ 64034 w 128068"/>
                <a:gd name="connsiteY3" fmla="*/ 128068 h 128068"/>
                <a:gd name="connsiteX4" fmla="*/ 0 w 128068"/>
                <a:gd name="connsiteY4" fmla="*/ 64034 h 128068"/>
                <a:gd name="connsiteX5" fmla="*/ 10826 w 128068"/>
                <a:gd name="connsiteY5" fmla="*/ 28397 h 1280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28068" h="128068">
                  <a:moveTo>
                    <a:pt x="33597" y="7677"/>
                  </a:moveTo>
                  <a:cubicBezTo>
                    <a:pt x="42654" y="2783"/>
                    <a:pt x="53020" y="0"/>
                    <a:pt x="64034" y="0"/>
                  </a:cubicBezTo>
                  <a:cubicBezTo>
                    <a:pt x="99388" y="0"/>
                    <a:pt x="128068" y="28668"/>
                    <a:pt x="128068" y="64034"/>
                  </a:cubicBezTo>
                  <a:cubicBezTo>
                    <a:pt x="128068" y="99400"/>
                    <a:pt x="99388" y="128068"/>
                    <a:pt x="64034" y="128068"/>
                  </a:cubicBezTo>
                  <a:cubicBezTo>
                    <a:pt x="28680" y="128068"/>
                    <a:pt x="0" y="99400"/>
                    <a:pt x="0" y="64034"/>
                  </a:cubicBezTo>
                  <a:cubicBezTo>
                    <a:pt x="0" y="50838"/>
                    <a:pt x="3986" y="38574"/>
                    <a:pt x="10826" y="28397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662" name="Gráfico 10">
            <a:extLst>
              <a:ext uri="{FF2B5EF4-FFF2-40B4-BE49-F238E27FC236}">
                <a16:creationId xmlns:a16="http://schemas.microsoft.com/office/drawing/2014/main" id="{98E97906-CA2F-9092-138F-F17C2A3CFC81}"/>
              </a:ext>
            </a:extLst>
          </p:cNvPr>
          <p:cNvGrpSpPr/>
          <p:nvPr/>
        </p:nvGrpSpPr>
        <p:grpSpPr>
          <a:xfrm>
            <a:off x="8138059" y="2047034"/>
            <a:ext cx="186417" cy="311537"/>
            <a:chOff x="8138059" y="2047034"/>
            <a:chExt cx="186417" cy="311537"/>
          </a:xfrm>
          <a:noFill/>
        </p:grpSpPr>
        <p:sp>
          <p:nvSpPr>
            <p:cNvPr id="663" name="Forma livre: Forma 662">
              <a:extLst>
                <a:ext uri="{FF2B5EF4-FFF2-40B4-BE49-F238E27FC236}">
                  <a16:creationId xmlns:a16="http://schemas.microsoft.com/office/drawing/2014/main" id="{C08DA244-01B6-3B90-535C-9A0619496782}"/>
                </a:ext>
              </a:extLst>
            </p:cNvPr>
            <p:cNvSpPr/>
            <p:nvPr/>
          </p:nvSpPr>
          <p:spPr>
            <a:xfrm>
              <a:off x="8288782" y="2277120"/>
              <a:ext cx="35694" cy="81451"/>
            </a:xfrm>
            <a:custGeom>
              <a:avLst/>
              <a:gdLst>
                <a:gd name="connsiteX0" fmla="*/ 4905 w 35694"/>
                <a:gd name="connsiteY0" fmla="*/ 0 h 81451"/>
                <a:gd name="connsiteX1" fmla="*/ 23 w 35694"/>
                <a:gd name="connsiteY1" fmla="*/ 61027 h 81451"/>
                <a:gd name="connsiteX2" fmla="*/ 17841 w 35694"/>
                <a:gd name="connsiteY2" fmla="*/ 81452 h 81451"/>
                <a:gd name="connsiteX3" fmla="*/ 35672 w 35694"/>
                <a:gd name="connsiteY3" fmla="*/ 61027 h 81451"/>
                <a:gd name="connsiteX4" fmla="*/ 30790 w 35694"/>
                <a:gd name="connsiteY4" fmla="*/ 0 h 81451"/>
                <a:gd name="connsiteX5" fmla="*/ 4905 w 35694"/>
                <a:gd name="connsiteY5" fmla="*/ 0 h 814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5694" h="81451">
                  <a:moveTo>
                    <a:pt x="4905" y="0"/>
                  </a:moveTo>
                  <a:lnTo>
                    <a:pt x="23" y="61027"/>
                  </a:lnTo>
                  <a:cubicBezTo>
                    <a:pt x="-484" y="72265"/>
                    <a:pt x="7535" y="81452"/>
                    <a:pt x="17841" y="81452"/>
                  </a:cubicBezTo>
                  <a:cubicBezTo>
                    <a:pt x="28148" y="81452"/>
                    <a:pt x="36179" y="72265"/>
                    <a:pt x="35672" y="61027"/>
                  </a:cubicBezTo>
                  <a:lnTo>
                    <a:pt x="30790" y="0"/>
                  </a:lnTo>
                  <a:lnTo>
                    <a:pt x="4905" y="0"/>
                  </a:ln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64" name="Forma livre: Forma 663">
              <a:extLst>
                <a:ext uri="{FF2B5EF4-FFF2-40B4-BE49-F238E27FC236}">
                  <a16:creationId xmlns:a16="http://schemas.microsoft.com/office/drawing/2014/main" id="{19827D82-E305-BB01-A806-A0CD4B96666C}"/>
                </a:ext>
              </a:extLst>
            </p:cNvPr>
            <p:cNvSpPr/>
            <p:nvPr/>
          </p:nvSpPr>
          <p:spPr>
            <a:xfrm>
              <a:off x="8295432" y="2057175"/>
              <a:ext cx="22406" cy="221194"/>
            </a:xfrm>
            <a:custGeom>
              <a:avLst/>
              <a:gdLst>
                <a:gd name="connsiteX0" fmla="*/ 0 w 22406"/>
                <a:gd name="connsiteY0" fmla="*/ 221194 h 221194"/>
                <a:gd name="connsiteX1" fmla="*/ 0 w 22406"/>
                <a:gd name="connsiteY1" fmla="*/ 0 h 221194"/>
                <a:gd name="connsiteX2" fmla="*/ 22406 w 22406"/>
                <a:gd name="connsiteY2" fmla="*/ 0 h 221194"/>
                <a:gd name="connsiteX3" fmla="*/ 22406 w 22406"/>
                <a:gd name="connsiteY3" fmla="*/ 197161 h 2211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2406" h="221194">
                  <a:moveTo>
                    <a:pt x="0" y="221194"/>
                  </a:moveTo>
                  <a:lnTo>
                    <a:pt x="0" y="0"/>
                  </a:lnTo>
                  <a:lnTo>
                    <a:pt x="22406" y="0"/>
                  </a:lnTo>
                  <a:lnTo>
                    <a:pt x="22406" y="197161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65" name="Forma livre: Forma 664">
              <a:extLst>
                <a:ext uri="{FF2B5EF4-FFF2-40B4-BE49-F238E27FC236}">
                  <a16:creationId xmlns:a16="http://schemas.microsoft.com/office/drawing/2014/main" id="{98F9A5E7-7C60-DFB7-F239-C5008CAF5A0D}"/>
                </a:ext>
              </a:extLst>
            </p:cNvPr>
            <p:cNvSpPr/>
            <p:nvPr/>
          </p:nvSpPr>
          <p:spPr>
            <a:xfrm>
              <a:off x="8194263" y="2072529"/>
              <a:ext cx="1179" cy="34245"/>
            </a:xfrm>
            <a:custGeom>
              <a:avLst/>
              <a:gdLst>
                <a:gd name="connsiteX0" fmla="*/ 0 w 1179"/>
                <a:gd name="connsiteY0" fmla="*/ 0 h 34245"/>
                <a:gd name="connsiteX1" fmla="*/ 0 w 1179"/>
                <a:gd name="connsiteY1" fmla="*/ 34246 h 342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9" h="34245">
                  <a:moveTo>
                    <a:pt x="0" y="0"/>
                  </a:moveTo>
                  <a:lnTo>
                    <a:pt x="0" y="34246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66" name="Forma livre: Forma 665">
              <a:extLst>
                <a:ext uri="{FF2B5EF4-FFF2-40B4-BE49-F238E27FC236}">
                  <a16:creationId xmlns:a16="http://schemas.microsoft.com/office/drawing/2014/main" id="{985DE8B5-09A8-C689-E383-EE2865B81BFF}"/>
                </a:ext>
              </a:extLst>
            </p:cNvPr>
            <p:cNvSpPr/>
            <p:nvPr/>
          </p:nvSpPr>
          <p:spPr>
            <a:xfrm>
              <a:off x="8166067" y="2072529"/>
              <a:ext cx="1179" cy="34245"/>
            </a:xfrm>
            <a:custGeom>
              <a:avLst/>
              <a:gdLst>
                <a:gd name="connsiteX0" fmla="*/ 0 w 1179"/>
                <a:gd name="connsiteY0" fmla="*/ 0 h 34245"/>
                <a:gd name="connsiteX1" fmla="*/ 0 w 1179"/>
                <a:gd name="connsiteY1" fmla="*/ 34246 h 342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9" h="34245">
                  <a:moveTo>
                    <a:pt x="0" y="0"/>
                  </a:moveTo>
                  <a:lnTo>
                    <a:pt x="0" y="34246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67" name="Forma livre: Forma 666">
              <a:extLst>
                <a:ext uri="{FF2B5EF4-FFF2-40B4-BE49-F238E27FC236}">
                  <a16:creationId xmlns:a16="http://schemas.microsoft.com/office/drawing/2014/main" id="{5F2F7BC9-1587-6279-579B-A0DD786FAE8D}"/>
                </a:ext>
              </a:extLst>
            </p:cNvPr>
            <p:cNvSpPr/>
            <p:nvPr/>
          </p:nvSpPr>
          <p:spPr>
            <a:xfrm>
              <a:off x="8138059" y="2047034"/>
              <a:ext cx="112454" cy="60590"/>
            </a:xfrm>
            <a:custGeom>
              <a:avLst/>
              <a:gdLst>
                <a:gd name="connsiteX0" fmla="*/ 112455 w 112454"/>
                <a:gd name="connsiteY0" fmla="*/ 60591 h 60590"/>
                <a:gd name="connsiteX1" fmla="*/ 112455 w 112454"/>
                <a:gd name="connsiteY1" fmla="*/ 12807 h 60590"/>
                <a:gd name="connsiteX2" fmla="*/ 99648 w 112454"/>
                <a:gd name="connsiteY2" fmla="*/ 0 h 60590"/>
                <a:gd name="connsiteX3" fmla="*/ 12807 w 112454"/>
                <a:gd name="connsiteY3" fmla="*/ 0 h 60590"/>
                <a:gd name="connsiteX4" fmla="*/ 0 w 112454"/>
                <a:gd name="connsiteY4" fmla="*/ 12807 h 60590"/>
                <a:gd name="connsiteX5" fmla="*/ 0 w 112454"/>
                <a:gd name="connsiteY5" fmla="*/ 60591 h 60590"/>
                <a:gd name="connsiteX6" fmla="*/ 84376 w 112454"/>
                <a:gd name="connsiteY6" fmla="*/ 60591 h 60590"/>
                <a:gd name="connsiteX7" fmla="*/ 84376 w 112454"/>
                <a:gd name="connsiteY7" fmla="*/ 25496 h 605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12454" h="60590">
                  <a:moveTo>
                    <a:pt x="112455" y="60591"/>
                  </a:moveTo>
                  <a:lnTo>
                    <a:pt x="112455" y="12807"/>
                  </a:lnTo>
                  <a:cubicBezTo>
                    <a:pt x="112455" y="5767"/>
                    <a:pt x="106688" y="0"/>
                    <a:pt x="99648" y="0"/>
                  </a:cubicBezTo>
                  <a:lnTo>
                    <a:pt x="12807" y="0"/>
                  </a:lnTo>
                  <a:cubicBezTo>
                    <a:pt x="5778" y="0"/>
                    <a:pt x="0" y="5755"/>
                    <a:pt x="0" y="12807"/>
                  </a:cubicBezTo>
                  <a:lnTo>
                    <a:pt x="0" y="60591"/>
                  </a:lnTo>
                  <a:lnTo>
                    <a:pt x="84376" y="60591"/>
                  </a:lnTo>
                  <a:lnTo>
                    <a:pt x="84376" y="25496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68" name="Forma livre: Forma 667">
              <a:extLst>
                <a:ext uri="{FF2B5EF4-FFF2-40B4-BE49-F238E27FC236}">
                  <a16:creationId xmlns:a16="http://schemas.microsoft.com/office/drawing/2014/main" id="{3CF17B4D-FE1C-0E72-0489-1834D0CF58FC}"/>
                </a:ext>
              </a:extLst>
            </p:cNvPr>
            <p:cNvSpPr/>
            <p:nvPr/>
          </p:nvSpPr>
          <p:spPr>
            <a:xfrm>
              <a:off x="8148307" y="2110915"/>
              <a:ext cx="91982" cy="247657"/>
            </a:xfrm>
            <a:custGeom>
              <a:avLst/>
              <a:gdLst>
                <a:gd name="connsiteX0" fmla="*/ 91983 w 91982"/>
                <a:gd name="connsiteY0" fmla="*/ 25154 h 247657"/>
                <a:gd name="connsiteX1" fmla="*/ 91983 w 91982"/>
                <a:gd name="connsiteY1" fmla="*/ 200487 h 247657"/>
                <a:gd name="connsiteX2" fmla="*/ 45991 w 91982"/>
                <a:gd name="connsiteY2" fmla="*/ 247657 h 247657"/>
                <a:gd name="connsiteX3" fmla="*/ 0 w 91982"/>
                <a:gd name="connsiteY3" fmla="*/ 200487 h 247657"/>
                <a:gd name="connsiteX4" fmla="*/ 0 w 91982"/>
                <a:gd name="connsiteY4" fmla="*/ 0 h 2476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1982" h="247657">
                  <a:moveTo>
                    <a:pt x="91983" y="25154"/>
                  </a:moveTo>
                  <a:lnTo>
                    <a:pt x="91983" y="200487"/>
                  </a:lnTo>
                  <a:cubicBezTo>
                    <a:pt x="91983" y="226430"/>
                    <a:pt x="71286" y="247657"/>
                    <a:pt x="45991" y="247657"/>
                  </a:cubicBezTo>
                  <a:cubicBezTo>
                    <a:pt x="20696" y="247657"/>
                    <a:pt x="0" y="226430"/>
                    <a:pt x="0" y="200487"/>
                  </a:cubicBezTo>
                  <a:lnTo>
                    <a:pt x="0" y="0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69" name="Forma livre: Forma 668">
              <a:extLst>
                <a:ext uri="{FF2B5EF4-FFF2-40B4-BE49-F238E27FC236}">
                  <a16:creationId xmlns:a16="http://schemas.microsoft.com/office/drawing/2014/main" id="{26F0C938-A4AD-D3DC-088E-09A316F15C3D}"/>
                </a:ext>
              </a:extLst>
            </p:cNvPr>
            <p:cNvSpPr/>
            <p:nvPr/>
          </p:nvSpPr>
          <p:spPr>
            <a:xfrm>
              <a:off x="8149510" y="2156387"/>
              <a:ext cx="58173" cy="124223"/>
            </a:xfrm>
            <a:custGeom>
              <a:avLst/>
              <a:gdLst>
                <a:gd name="connsiteX0" fmla="*/ 0 w 58173"/>
                <a:gd name="connsiteY0" fmla="*/ 124224 h 124223"/>
                <a:gd name="connsiteX1" fmla="*/ 48739 w 58173"/>
                <a:gd name="connsiteY1" fmla="*/ 124224 h 124223"/>
                <a:gd name="connsiteX2" fmla="*/ 58173 w 58173"/>
                <a:gd name="connsiteY2" fmla="*/ 114790 h 124223"/>
                <a:gd name="connsiteX3" fmla="*/ 58173 w 58173"/>
                <a:gd name="connsiteY3" fmla="*/ 9434 h 124223"/>
                <a:gd name="connsiteX4" fmla="*/ 48739 w 58173"/>
                <a:gd name="connsiteY4" fmla="*/ 0 h 124223"/>
                <a:gd name="connsiteX5" fmla="*/ 0 w 58173"/>
                <a:gd name="connsiteY5" fmla="*/ 0 h 1242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8173" h="124223">
                  <a:moveTo>
                    <a:pt x="0" y="124224"/>
                  </a:moveTo>
                  <a:lnTo>
                    <a:pt x="48739" y="124224"/>
                  </a:lnTo>
                  <a:cubicBezTo>
                    <a:pt x="53928" y="124224"/>
                    <a:pt x="58173" y="119978"/>
                    <a:pt x="58173" y="114790"/>
                  </a:cubicBezTo>
                  <a:lnTo>
                    <a:pt x="58173" y="9434"/>
                  </a:lnTo>
                  <a:cubicBezTo>
                    <a:pt x="58173" y="4245"/>
                    <a:pt x="53928" y="0"/>
                    <a:pt x="48739" y="0"/>
                  </a:cubicBezTo>
                  <a:lnTo>
                    <a:pt x="0" y="0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670" name="Gráfico 10">
              <a:extLst>
                <a:ext uri="{FF2B5EF4-FFF2-40B4-BE49-F238E27FC236}">
                  <a16:creationId xmlns:a16="http://schemas.microsoft.com/office/drawing/2014/main" id="{64C1B82B-8B32-B84B-2DCE-1B96D8277BD3}"/>
                </a:ext>
              </a:extLst>
            </p:cNvPr>
            <p:cNvGrpSpPr/>
            <p:nvPr/>
          </p:nvGrpSpPr>
          <p:grpSpPr>
            <a:xfrm>
              <a:off x="8148201" y="2188923"/>
              <a:ext cx="32347" cy="59151"/>
              <a:chOff x="8148201" y="2188923"/>
              <a:chExt cx="32347" cy="59151"/>
            </a:xfrm>
          </p:grpSpPr>
          <p:sp>
            <p:nvSpPr>
              <p:cNvPr id="671" name="Forma livre: Forma 670">
                <a:extLst>
                  <a:ext uri="{FF2B5EF4-FFF2-40B4-BE49-F238E27FC236}">
                    <a16:creationId xmlns:a16="http://schemas.microsoft.com/office/drawing/2014/main" id="{CFBD107F-EF69-44FA-E154-A8282CD24ED3}"/>
                  </a:ext>
                </a:extLst>
              </p:cNvPr>
              <p:cNvSpPr/>
              <p:nvPr/>
            </p:nvSpPr>
            <p:spPr>
              <a:xfrm>
                <a:off x="8148201" y="2188923"/>
                <a:ext cx="32347" cy="1179"/>
              </a:xfrm>
              <a:custGeom>
                <a:avLst/>
                <a:gdLst>
                  <a:gd name="connsiteX0" fmla="*/ 32347 w 32347"/>
                  <a:gd name="connsiteY0" fmla="*/ 0 h 1179"/>
                  <a:gd name="connsiteX1" fmla="*/ 0 w 32347"/>
                  <a:gd name="connsiteY1" fmla="*/ 0 h 11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2347" h="1179">
                    <a:moveTo>
                      <a:pt x="32347" y="0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672" name="Forma livre: Forma 671">
                <a:extLst>
                  <a:ext uri="{FF2B5EF4-FFF2-40B4-BE49-F238E27FC236}">
                    <a16:creationId xmlns:a16="http://schemas.microsoft.com/office/drawing/2014/main" id="{3F7754B6-3B4F-6A78-7C58-2AC4E45EA6C7}"/>
                  </a:ext>
                </a:extLst>
              </p:cNvPr>
              <p:cNvSpPr/>
              <p:nvPr/>
            </p:nvSpPr>
            <p:spPr>
              <a:xfrm>
                <a:off x="8148201" y="2218499"/>
                <a:ext cx="32347" cy="1179"/>
              </a:xfrm>
              <a:custGeom>
                <a:avLst/>
                <a:gdLst>
                  <a:gd name="connsiteX0" fmla="*/ 32347 w 32347"/>
                  <a:gd name="connsiteY0" fmla="*/ 0 h 1179"/>
                  <a:gd name="connsiteX1" fmla="*/ 0 w 32347"/>
                  <a:gd name="connsiteY1" fmla="*/ 0 h 11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2347" h="1179">
                    <a:moveTo>
                      <a:pt x="32347" y="0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673" name="Forma livre: Forma 672">
                <a:extLst>
                  <a:ext uri="{FF2B5EF4-FFF2-40B4-BE49-F238E27FC236}">
                    <a16:creationId xmlns:a16="http://schemas.microsoft.com/office/drawing/2014/main" id="{D9BF3F34-329E-1CC9-1218-319B9A5001AB}"/>
                  </a:ext>
                </a:extLst>
              </p:cNvPr>
              <p:cNvSpPr/>
              <p:nvPr/>
            </p:nvSpPr>
            <p:spPr>
              <a:xfrm>
                <a:off x="8148201" y="2248075"/>
                <a:ext cx="32347" cy="1179"/>
              </a:xfrm>
              <a:custGeom>
                <a:avLst/>
                <a:gdLst>
                  <a:gd name="connsiteX0" fmla="*/ 32347 w 32347"/>
                  <a:gd name="connsiteY0" fmla="*/ 0 h 1179"/>
                  <a:gd name="connsiteX1" fmla="*/ 0 w 32347"/>
                  <a:gd name="connsiteY1" fmla="*/ 0 h 11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2347" h="1179">
                    <a:moveTo>
                      <a:pt x="32347" y="0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674" name="Gráfico 10">
            <a:extLst>
              <a:ext uri="{FF2B5EF4-FFF2-40B4-BE49-F238E27FC236}">
                <a16:creationId xmlns:a16="http://schemas.microsoft.com/office/drawing/2014/main" id="{0D28407F-7676-4A9F-7F1E-813564FA576C}"/>
              </a:ext>
            </a:extLst>
          </p:cNvPr>
          <p:cNvGrpSpPr/>
          <p:nvPr/>
        </p:nvGrpSpPr>
        <p:grpSpPr>
          <a:xfrm>
            <a:off x="8129238" y="3130105"/>
            <a:ext cx="204071" cy="271702"/>
            <a:chOff x="8129238" y="3130105"/>
            <a:chExt cx="204071" cy="271702"/>
          </a:xfrm>
          <a:noFill/>
        </p:grpSpPr>
        <p:grpSp>
          <p:nvGrpSpPr>
            <p:cNvPr id="675" name="Gráfico 10">
              <a:extLst>
                <a:ext uri="{FF2B5EF4-FFF2-40B4-BE49-F238E27FC236}">
                  <a16:creationId xmlns:a16="http://schemas.microsoft.com/office/drawing/2014/main" id="{DC012E36-72FB-886E-C67C-DB2892DC1523}"/>
                </a:ext>
              </a:extLst>
            </p:cNvPr>
            <p:cNvGrpSpPr/>
            <p:nvPr/>
          </p:nvGrpSpPr>
          <p:grpSpPr>
            <a:xfrm>
              <a:off x="8129238" y="3130105"/>
              <a:ext cx="204071" cy="271702"/>
              <a:chOff x="8129238" y="3130105"/>
              <a:chExt cx="204071" cy="271702"/>
            </a:xfrm>
            <a:noFill/>
          </p:grpSpPr>
          <p:sp>
            <p:nvSpPr>
              <p:cNvPr id="676" name="Forma livre: Forma 675">
                <a:extLst>
                  <a:ext uri="{FF2B5EF4-FFF2-40B4-BE49-F238E27FC236}">
                    <a16:creationId xmlns:a16="http://schemas.microsoft.com/office/drawing/2014/main" id="{6A6726BF-9E2F-B1CF-E511-2632941B6AEF}"/>
                  </a:ext>
                </a:extLst>
              </p:cNvPr>
              <p:cNvSpPr/>
              <p:nvPr/>
            </p:nvSpPr>
            <p:spPr>
              <a:xfrm>
                <a:off x="8129238" y="3130105"/>
                <a:ext cx="204071" cy="271702"/>
              </a:xfrm>
              <a:custGeom>
                <a:avLst/>
                <a:gdLst>
                  <a:gd name="connsiteX0" fmla="*/ 0 w 204071"/>
                  <a:gd name="connsiteY0" fmla="*/ 271702 h 271702"/>
                  <a:gd name="connsiteX1" fmla="*/ 0 w 204071"/>
                  <a:gd name="connsiteY1" fmla="*/ 52713 h 271702"/>
                  <a:gd name="connsiteX2" fmla="*/ 52737 w 204071"/>
                  <a:gd name="connsiteY2" fmla="*/ 0 h 271702"/>
                  <a:gd name="connsiteX3" fmla="*/ 204072 w 204071"/>
                  <a:gd name="connsiteY3" fmla="*/ 0 h 271702"/>
                  <a:gd name="connsiteX4" fmla="*/ 204072 w 204071"/>
                  <a:gd name="connsiteY4" fmla="*/ 271702 h 271702"/>
                  <a:gd name="connsiteX5" fmla="*/ 0 w 204071"/>
                  <a:gd name="connsiteY5" fmla="*/ 271702 h 2717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04071" h="271702">
                    <a:moveTo>
                      <a:pt x="0" y="271702"/>
                    </a:moveTo>
                    <a:lnTo>
                      <a:pt x="0" y="52713"/>
                    </a:lnTo>
                    <a:lnTo>
                      <a:pt x="52737" y="0"/>
                    </a:lnTo>
                    <a:lnTo>
                      <a:pt x="204072" y="0"/>
                    </a:lnTo>
                    <a:lnTo>
                      <a:pt x="204072" y="271702"/>
                    </a:lnTo>
                    <a:lnTo>
                      <a:pt x="0" y="271702"/>
                    </a:ln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677" name="Forma livre: Forma 676">
                <a:extLst>
                  <a:ext uri="{FF2B5EF4-FFF2-40B4-BE49-F238E27FC236}">
                    <a16:creationId xmlns:a16="http://schemas.microsoft.com/office/drawing/2014/main" id="{F6F6BE4A-9F4F-2F04-100F-7433F36E5351}"/>
                  </a:ext>
                </a:extLst>
              </p:cNvPr>
              <p:cNvSpPr/>
              <p:nvPr/>
            </p:nvSpPr>
            <p:spPr>
              <a:xfrm>
                <a:off x="8154510" y="3155589"/>
                <a:ext cx="36050" cy="36002"/>
              </a:xfrm>
              <a:custGeom>
                <a:avLst/>
                <a:gdLst>
                  <a:gd name="connsiteX0" fmla="*/ 36050 w 36050"/>
                  <a:gd name="connsiteY0" fmla="*/ 0 h 36002"/>
                  <a:gd name="connsiteX1" fmla="*/ 36050 w 36050"/>
                  <a:gd name="connsiteY1" fmla="*/ 36003 h 36002"/>
                  <a:gd name="connsiteX2" fmla="*/ 0 w 36050"/>
                  <a:gd name="connsiteY2" fmla="*/ 36003 h 360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6050" h="36002">
                    <a:moveTo>
                      <a:pt x="36050" y="0"/>
                    </a:moveTo>
                    <a:lnTo>
                      <a:pt x="36050" y="36003"/>
                    </a:lnTo>
                    <a:lnTo>
                      <a:pt x="0" y="36003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678" name="Gráfico 10">
              <a:extLst>
                <a:ext uri="{FF2B5EF4-FFF2-40B4-BE49-F238E27FC236}">
                  <a16:creationId xmlns:a16="http://schemas.microsoft.com/office/drawing/2014/main" id="{175EF7D3-3937-19B5-A582-521C6DF51B55}"/>
                </a:ext>
              </a:extLst>
            </p:cNvPr>
            <p:cNvGrpSpPr/>
            <p:nvPr/>
          </p:nvGrpSpPr>
          <p:grpSpPr>
            <a:xfrm>
              <a:off x="8179215" y="3242230"/>
              <a:ext cx="104128" cy="109671"/>
              <a:chOff x="8179215" y="3242230"/>
              <a:chExt cx="104128" cy="109671"/>
            </a:xfrm>
            <a:noFill/>
          </p:grpSpPr>
          <p:grpSp>
            <p:nvGrpSpPr>
              <p:cNvPr id="679" name="Gráfico 10">
                <a:extLst>
                  <a:ext uri="{FF2B5EF4-FFF2-40B4-BE49-F238E27FC236}">
                    <a16:creationId xmlns:a16="http://schemas.microsoft.com/office/drawing/2014/main" id="{1D330D4C-84CB-7BBA-389D-AFF138C3D4C9}"/>
                  </a:ext>
                </a:extLst>
              </p:cNvPr>
              <p:cNvGrpSpPr/>
              <p:nvPr/>
            </p:nvGrpSpPr>
            <p:grpSpPr>
              <a:xfrm>
                <a:off x="8179215" y="3242230"/>
                <a:ext cx="104128" cy="29092"/>
                <a:chOff x="8179215" y="3242230"/>
                <a:chExt cx="104128" cy="29092"/>
              </a:xfrm>
              <a:noFill/>
            </p:grpSpPr>
            <p:sp>
              <p:nvSpPr>
                <p:cNvPr id="680" name="Forma livre: Forma 679">
                  <a:extLst>
                    <a:ext uri="{FF2B5EF4-FFF2-40B4-BE49-F238E27FC236}">
                      <a16:creationId xmlns:a16="http://schemas.microsoft.com/office/drawing/2014/main" id="{A8407EC4-D36C-EC42-0F86-C1BA0DD0F569}"/>
                    </a:ext>
                  </a:extLst>
                </p:cNvPr>
                <p:cNvSpPr/>
                <p:nvPr/>
              </p:nvSpPr>
              <p:spPr>
                <a:xfrm>
                  <a:off x="8179215" y="3242230"/>
                  <a:ext cx="29092" cy="29092"/>
                </a:xfrm>
                <a:custGeom>
                  <a:avLst/>
                  <a:gdLst>
                    <a:gd name="connsiteX0" fmla="*/ 0 w 29092"/>
                    <a:gd name="connsiteY0" fmla="*/ 0 h 29092"/>
                    <a:gd name="connsiteX1" fmla="*/ 29092 w 29092"/>
                    <a:gd name="connsiteY1" fmla="*/ 0 h 29092"/>
                    <a:gd name="connsiteX2" fmla="*/ 29092 w 29092"/>
                    <a:gd name="connsiteY2" fmla="*/ 29093 h 29092"/>
                    <a:gd name="connsiteX3" fmla="*/ 0 w 29092"/>
                    <a:gd name="connsiteY3" fmla="*/ 29093 h 290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29092" h="29092">
                      <a:moveTo>
                        <a:pt x="0" y="0"/>
                      </a:moveTo>
                      <a:lnTo>
                        <a:pt x="29092" y="0"/>
                      </a:lnTo>
                      <a:lnTo>
                        <a:pt x="29092" y="29093"/>
                      </a:lnTo>
                      <a:lnTo>
                        <a:pt x="0" y="29093"/>
                      </a:lnTo>
                      <a:close/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681" name="Forma livre: Forma 680">
                  <a:extLst>
                    <a:ext uri="{FF2B5EF4-FFF2-40B4-BE49-F238E27FC236}">
                      <a16:creationId xmlns:a16="http://schemas.microsoft.com/office/drawing/2014/main" id="{48F5F676-177C-A720-491F-EC7F5A8E31D2}"/>
                    </a:ext>
                  </a:extLst>
                </p:cNvPr>
                <p:cNvSpPr/>
                <p:nvPr/>
              </p:nvSpPr>
              <p:spPr>
                <a:xfrm>
                  <a:off x="8254252" y="3242230"/>
                  <a:ext cx="29092" cy="29092"/>
                </a:xfrm>
                <a:custGeom>
                  <a:avLst/>
                  <a:gdLst>
                    <a:gd name="connsiteX0" fmla="*/ 0 w 29092"/>
                    <a:gd name="connsiteY0" fmla="*/ 0 h 29092"/>
                    <a:gd name="connsiteX1" fmla="*/ 29092 w 29092"/>
                    <a:gd name="connsiteY1" fmla="*/ 0 h 29092"/>
                    <a:gd name="connsiteX2" fmla="*/ 29092 w 29092"/>
                    <a:gd name="connsiteY2" fmla="*/ 29093 h 29092"/>
                    <a:gd name="connsiteX3" fmla="*/ 0 w 29092"/>
                    <a:gd name="connsiteY3" fmla="*/ 29093 h 290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29092" h="29092">
                      <a:moveTo>
                        <a:pt x="0" y="0"/>
                      </a:moveTo>
                      <a:lnTo>
                        <a:pt x="29092" y="0"/>
                      </a:lnTo>
                      <a:lnTo>
                        <a:pt x="29092" y="29093"/>
                      </a:lnTo>
                      <a:lnTo>
                        <a:pt x="0" y="29093"/>
                      </a:lnTo>
                      <a:close/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682" name="Gráfico 10">
                <a:extLst>
                  <a:ext uri="{FF2B5EF4-FFF2-40B4-BE49-F238E27FC236}">
                    <a16:creationId xmlns:a16="http://schemas.microsoft.com/office/drawing/2014/main" id="{07F831C5-EEC3-F08A-B2D2-028C8BDF78FD}"/>
                  </a:ext>
                </a:extLst>
              </p:cNvPr>
              <p:cNvGrpSpPr/>
              <p:nvPr/>
            </p:nvGrpSpPr>
            <p:grpSpPr>
              <a:xfrm>
                <a:off x="8179215" y="3317160"/>
                <a:ext cx="104128" cy="29092"/>
                <a:chOff x="8179215" y="3317160"/>
                <a:chExt cx="104128" cy="29092"/>
              </a:xfrm>
              <a:noFill/>
            </p:grpSpPr>
            <p:sp>
              <p:nvSpPr>
                <p:cNvPr id="683" name="Forma livre: Forma 682">
                  <a:extLst>
                    <a:ext uri="{FF2B5EF4-FFF2-40B4-BE49-F238E27FC236}">
                      <a16:creationId xmlns:a16="http://schemas.microsoft.com/office/drawing/2014/main" id="{51E5BA77-4EEB-113B-E4E7-7A986EF3F926}"/>
                    </a:ext>
                  </a:extLst>
                </p:cNvPr>
                <p:cNvSpPr/>
                <p:nvPr/>
              </p:nvSpPr>
              <p:spPr>
                <a:xfrm>
                  <a:off x="8179215" y="3317160"/>
                  <a:ext cx="29092" cy="29092"/>
                </a:xfrm>
                <a:custGeom>
                  <a:avLst/>
                  <a:gdLst>
                    <a:gd name="connsiteX0" fmla="*/ 0 w 29092"/>
                    <a:gd name="connsiteY0" fmla="*/ 0 h 29092"/>
                    <a:gd name="connsiteX1" fmla="*/ 29092 w 29092"/>
                    <a:gd name="connsiteY1" fmla="*/ 0 h 29092"/>
                    <a:gd name="connsiteX2" fmla="*/ 29092 w 29092"/>
                    <a:gd name="connsiteY2" fmla="*/ 29092 h 29092"/>
                    <a:gd name="connsiteX3" fmla="*/ 0 w 29092"/>
                    <a:gd name="connsiteY3" fmla="*/ 29092 h 290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29092" h="29092">
                      <a:moveTo>
                        <a:pt x="0" y="0"/>
                      </a:moveTo>
                      <a:lnTo>
                        <a:pt x="29092" y="0"/>
                      </a:lnTo>
                      <a:lnTo>
                        <a:pt x="29092" y="29092"/>
                      </a:lnTo>
                      <a:lnTo>
                        <a:pt x="0" y="29092"/>
                      </a:lnTo>
                      <a:close/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684" name="Forma livre: Forma 683">
                  <a:extLst>
                    <a:ext uri="{FF2B5EF4-FFF2-40B4-BE49-F238E27FC236}">
                      <a16:creationId xmlns:a16="http://schemas.microsoft.com/office/drawing/2014/main" id="{B45915C9-980D-C677-96A0-B8135068FD03}"/>
                    </a:ext>
                  </a:extLst>
                </p:cNvPr>
                <p:cNvSpPr/>
                <p:nvPr/>
              </p:nvSpPr>
              <p:spPr>
                <a:xfrm>
                  <a:off x="8254252" y="3317160"/>
                  <a:ext cx="29092" cy="29092"/>
                </a:xfrm>
                <a:custGeom>
                  <a:avLst/>
                  <a:gdLst>
                    <a:gd name="connsiteX0" fmla="*/ 0 w 29092"/>
                    <a:gd name="connsiteY0" fmla="*/ 0 h 29092"/>
                    <a:gd name="connsiteX1" fmla="*/ 29092 w 29092"/>
                    <a:gd name="connsiteY1" fmla="*/ 0 h 29092"/>
                    <a:gd name="connsiteX2" fmla="*/ 29092 w 29092"/>
                    <a:gd name="connsiteY2" fmla="*/ 29092 h 29092"/>
                    <a:gd name="connsiteX3" fmla="*/ 0 w 29092"/>
                    <a:gd name="connsiteY3" fmla="*/ 29092 h 290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29092" h="29092">
                      <a:moveTo>
                        <a:pt x="0" y="0"/>
                      </a:moveTo>
                      <a:lnTo>
                        <a:pt x="29092" y="0"/>
                      </a:lnTo>
                      <a:lnTo>
                        <a:pt x="29092" y="29092"/>
                      </a:lnTo>
                      <a:lnTo>
                        <a:pt x="0" y="29092"/>
                      </a:lnTo>
                      <a:close/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685" name="Forma livre: Forma 684">
                <a:extLst>
                  <a:ext uri="{FF2B5EF4-FFF2-40B4-BE49-F238E27FC236}">
                    <a16:creationId xmlns:a16="http://schemas.microsoft.com/office/drawing/2014/main" id="{BB657F17-2C6C-F072-8345-5CB97C791E62}"/>
                  </a:ext>
                </a:extLst>
              </p:cNvPr>
              <p:cNvSpPr/>
              <p:nvPr/>
            </p:nvSpPr>
            <p:spPr>
              <a:xfrm>
                <a:off x="8231280" y="3242230"/>
                <a:ext cx="1179" cy="29092"/>
              </a:xfrm>
              <a:custGeom>
                <a:avLst/>
                <a:gdLst>
                  <a:gd name="connsiteX0" fmla="*/ 0 w 1179"/>
                  <a:gd name="connsiteY0" fmla="*/ 0 h 29092"/>
                  <a:gd name="connsiteX1" fmla="*/ 0 w 1179"/>
                  <a:gd name="connsiteY1" fmla="*/ 29092 h 290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79" h="29092">
                    <a:moveTo>
                      <a:pt x="0" y="0"/>
                    </a:moveTo>
                    <a:lnTo>
                      <a:pt x="0" y="29092"/>
                    </a:lnTo>
                  </a:path>
                </a:pathLst>
              </a:custGeom>
              <a:ln w="6350" cap="sq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686" name="Forma livre: Forma 685">
                <a:extLst>
                  <a:ext uri="{FF2B5EF4-FFF2-40B4-BE49-F238E27FC236}">
                    <a16:creationId xmlns:a16="http://schemas.microsoft.com/office/drawing/2014/main" id="{99BA44F2-AD3A-D1EB-5959-ED0E1C113ECE}"/>
                  </a:ext>
                </a:extLst>
              </p:cNvPr>
              <p:cNvSpPr/>
              <p:nvPr/>
            </p:nvSpPr>
            <p:spPr>
              <a:xfrm>
                <a:off x="8231280" y="3336182"/>
                <a:ext cx="1179" cy="15719"/>
              </a:xfrm>
              <a:custGeom>
                <a:avLst/>
                <a:gdLst>
                  <a:gd name="connsiteX0" fmla="*/ 0 w 1179"/>
                  <a:gd name="connsiteY0" fmla="*/ 0 h 15719"/>
                  <a:gd name="connsiteX1" fmla="*/ 0 w 1179"/>
                  <a:gd name="connsiteY1" fmla="*/ 15720 h 157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79" h="15719">
                    <a:moveTo>
                      <a:pt x="0" y="0"/>
                    </a:moveTo>
                    <a:lnTo>
                      <a:pt x="0" y="1572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687" name="Forma livre: Forma 686">
                <a:extLst>
                  <a:ext uri="{FF2B5EF4-FFF2-40B4-BE49-F238E27FC236}">
                    <a16:creationId xmlns:a16="http://schemas.microsoft.com/office/drawing/2014/main" id="{C89192FC-1FA9-33A0-7660-3743BC36212B}"/>
                  </a:ext>
                </a:extLst>
              </p:cNvPr>
              <p:cNvSpPr/>
              <p:nvPr/>
            </p:nvSpPr>
            <p:spPr>
              <a:xfrm>
                <a:off x="8207577" y="3294235"/>
                <a:ext cx="23703" cy="32264"/>
              </a:xfrm>
              <a:custGeom>
                <a:avLst/>
                <a:gdLst>
                  <a:gd name="connsiteX0" fmla="*/ 0 w 23703"/>
                  <a:gd name="connsiteY0" fmla="*/ 0 h 32264"/>
                  <a:gd name="connsiteX1" fmla="*/ 23703 w 23703"/>
                  <a:gd name="connsiteY1" fmla="*/ 0 h 32264"/>
                  <a:gd name="connsiteX2" fmla="*/ 23703 w 23703"/>
                  <a:gd name="connsiteY2" fmla="*/ 32265 h 322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3703" h="32264">
                    <a:moveTo>
                      <a:pt x="0" y="0"/>
                    </a:moveTo>
                    <a:lnTo>
                      <a:pt x="23703" y="0"/>
                    </a:lnTo>
                    <a:lnTo>
                      <a:pt x="23703" y="32265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688" name="Forma livre: Forma 687">
                <a:extLst>
                  <a:ext uri="{FF2B5EF4-FFF2-40B4-BE49-F238E27FC236}">
                    <a16:creationId xmlns:a16="http://schemas.microsoft.com/office/drawing/2014/main" id="{38608C5A-71C7-E4AA-14ED-2CBC459FCAE2}"/>
                  </a:ext>
                </a:extLst>
              </p:cNvPr>
              <p:cNvSpPr/>
              <p:nvPr/>
            </p:nvSpPr>
            <p:spPr>
              <a:xfrm>
                <a:off x="8179215" y="3294235"/>
                <a:ext cx="11438" cy="1179"/>
              </a:xfrm>
              <a:custGeom>
                <a:avLst/>
                <a:gdLst>
                  <a:gd name="connsiteX0" fmla="*/ 0 w 11438"/>
                  <a:gd name="connsiteY0" fmla="*/ 0 h 1179"/>
                  <a:gd name="connsiteX1" fmla="*/ 11439 w 11438"/>
                  <a:gd name="connsiteY1" fmla="*/ 0 h 11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438" h="1179">
                    <a:moveTo>
                      <a:pt x="0" y="0"/>
                    </a:moveTo>
                    <a:lnTo>
                      <a:pt x="11439" y="0"/>
                    </a:lnTo>
                  </a:path>
                </a:pathLst>
              </a:custGeom>
              <a:ln w="6350" cap="sq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689" name="Forma livre: Forma 688">
                <a:extLst>
                  <a:ext uri="{FF2B5EF4-FFF2-40B4-BE49-F238E27FC236}">
                    <a16:creationId xmlns:a16="http://schemas.microsoft.com/office/drawing/2014/main" id="{496363A6-1815-C174-1AE4-AF56ADFB2670}"/>
                  </a:ext>
                </a:extLst>
              </p:cNvPr>
              <p:cNvSpPr/>
              <p:nvPr/>
            </p:nvSpPr>
            <p:spPr>
              <a:xfrm>
                <a:off x="8254252" y="3294235"/>
                <a:ext cx="29080" cy="1179"/>
              </a:xfrm>
              <a:custGeom>
                <a:avLst/>
                <a:gdLst>
                  <a:gd name="connsiteX0" fmla="*/ 0 w 29080"/>
                  <a:gd name="connsiteY0" fmla="*/ 0 h 1179"/>
                  <a:gd name="connsiteX1" fmla="*/ 29081 w 29080"/>
                  <a:gd name="connsiteY1" fmla="*/ 0 h 11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9080" h="1179">
                    <a:moveTo>
                      <a:pt x="0" y="0"/>
                    </a:moveTo>
                    <a:lnTo>
                      <a:pt x="29081" y="0"/>
                    </a:lnTo>
                  </a:path>
                </a:pathLst>
              </a:custGeom>
              <a:ln w="6350" cap="sq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690" name="Gráfico 10">
            <a:extLst>
              <a:ext uri="{FF2B5EF4-FFF2-40B4-BE49-F238E27FC236}">
                <a16:creationId xmlns:a16="http://schemas.microsoft.com/office/drawing/2014/main" id="{34D1CFE4-5A01-C369-BEBE-DF0DC17251AA}"/>
              </a:ext>
            </a:extLst>
          </p:cNvPr>
          <p:cNvGrpSpPr/>
          <p:nvPr/>
        </p:nvGrpSpPr>
        <p:grpSpPr>
          <a:xfrm>
            <a:off x="8068656" y="1004478"/>
            <a:ext cx="325256" cy="295445"/>
            <a:chOff x="8068656" y="1004478"/>
            <a:chExt cx="325256" cy="295445"/>
          </a:xfrm>
          <a:noFill/>
        </p:grpSpPr>
        <p:grpSp>
          <p:nvGrpSpPr>
            <p:cNvPr id="691" name="Gráfico 10">
              <a:extLst>
                <a:ext uri="{FF2B5EF4-FFF2-40B4-BE49-F238E27FC236}">
                  <a16:creationId xmlns:a16="http://schemas.microsoft.com/office/drawing/2014/main" id="{966D37ED-8F70-1702-92B1-A8B3ED2E77CE}"/>
                </a:ext>
              </a:extLst>
            </p:cNvPr>
            <p:cNvGrpSpPr/>
            <p:nvPr/>
          </p:nvGrpSpPr>
          <p:grpSpPr>
            <a:xfrm>
              <a:off x="8286446" y="1029942"/>
              <a:ext cx="107466" cy="269980"/>
              <a:chOff x="8286446" y="1029942"/>
              <a:chExt cx="107466" cy="269980"/>
            </a:xfrm>
            <a:noFill/>
          </p:grpSpPr>
          <p:sp>
            <p:nvSpPr>
              <p:cNvPr id="692" name="Forma livre: Forma 691">
                <a:extLst>
                  <a:ext uri="{FF2B5EF4-FFF2-40B4-BE49-F238E27FC236}">
                    <a16:creationId xmlns:a16="http://schemas.microsoft.com/office/drawing/2014/main" id="{C620CA32-4B4C-C8D2-96DF-E19EB379D003}"/>
                  </a:ext>
                </a:extLst>
              </p:cNvPr>
              <p:cNvSpPr/>
              <p:nvPr/>
            </p:nvSpPr>
            <p:spPr>
              <a:xfrm>
                <a:off x="8317154" y="1029942"/>
                <a:ext cx="46050" cy="46050"/>
              </a:xfrm>
              <a:custGeom>
                <a:avLst/>
                <a:gdLst>
                  <a:gd name="connsiteX0" fmla="*/ 0 w 46050"/>
                  <a:gd name="connsiteY0" fmla="*/ 23019 h 46050"/>
                  <a:gd name="connsiteX1" fmla="*/ 23019 w 46050"/>
                  <a:gd name="connsiteY1" fmla="*/ 46050 h 46050"/>
                  <a:gd name="connsiteX2" fmla="*/ 46050 w 46050"/>
                  <a:gd name="connsiteY2" fmla="*/ 23019 h 46050"/>
                  <a:gd name="connsiteX3" fmla="*/ 23019 w 46050"/>
                  <a:gd name="connsiteY3" fmla="*/ 0 h 46050"/>
                  <a:gd name="connsiteX4" fmla="*/ 0 w 46050"/>
                  <a:gd name="connsiteY4" fmla="*/ 23019 h 46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6050" h="46050">
                    <a:moveTo>
                      <a:pt x="0" y="23019"/>
                    </a:moveTo>
                    <a:cubicBezTo>
                      <a:pt x="0" y="35743"/>
                      <a:pt x="10307" y="46050"/>
                      <a:pt x="23019" y="46050"/>
                    </a:cubicBezTo>
                    <a:cubicBezTo>
                      <a:pt x="35732" y="46050"/>
                      <a:pt x="46050" y="35743"/>
                      <a:pt x="46050" y="23019"/>
                    </a:cubicBezTo>
                    <a:cubicBezTo>
                      <a:pt x="46050" y="10295"/>
                      <a:pt x="35732" y="0"/>
                      <a:pt x="23019" y="0"/>
                    </a:cubicBezTo>
                    <a:cubicBezTo>
                      <a:pt x="10307" y="0"/>
                      <a:pt x="0" y="10307"/>
                      <a:pt x="0" y="23019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693" name="Forma livre: Forma 692">
                <a:extLst>
                  <a:ext uri="{FF2B5EF4-FFF2-40B4-BE49-F238E27FC236}">
                    <a16:creationId xmlns:a16="http://schemas.microsoft.com/office/drawing/2014/main" id="{7B7A9AF0-C0CA-3F4D-9844-0FADF8143D09}"/>
                  </a:ext>
                </a:extLst>
              </p:cNvPr>
              <p:cNvSpPr/>
              <p:nvPr/>
            </p:nvSpPr>
            <p:spPr>
              <a:xfrm>
                <a:off x="8340185" y="1209674"/>
                <a:ext cx="1179" cy="90249"/>
              </a:xfrm>
              <a:custGeom>
                <a:avLst/>
                <a:gdLst>
                  <a:gd name="connsiteX0" fmla="*/ 0 w 1179"/>
                  <a:gd name="connsiteY0" fmla="*/ 0 h 90249"/>
                  <a:gd name="connsiteX1" fmla="*/ 0 w 1179"/>
                  <a:gd name="connsiteY1" fmla="*/ 90249 h 902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79" h="90249">
                    <a:moveTo>
                      <a:pt x="0" y="0"/>
                    </a:moveTo>
                    <a:lnTo>
                      <a:pt x="0" y="90249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694" name="Forma livre: Forma 693">
                <a:extLst>
                  <a:ext uri="{FF2B5EF4-FFF2-40B4-BE49-F238E27FC236}">
                    <a16:creationId xmlns:a16="http://schemas.microsoft.com/office/drawing/2014/main" id="{C08A0BBA-34F1-B2B2-DEBC-CA82B6133353}"/>
                  </a:ext>
                </a:extLst>
              </p:cNvPr>
              <p:cNvSpPr/>
              <p:nvPr/>
            </p:nvSpPr>
            <p:spPr>
              <a:xfrm>
                <a:off x="8286446" y="1099141"/>
                <a:ext cx="107466" cy="113079"/>
              </a:xfrm>
              <a:custGeom>
                <a:avLst/>
                <a:gdLst>
                  <a:gd name="connsiteX0" fmla="*/ 83905 w 107466"/>
                  <a:gd name="connsiteY0" fmla="*/ 113080 h 113079"/>
                  <a:gd name="connsiteX1" fmla="*/ 107466 w 107466"/>
                  <a:gd name="connsiteY1" fmla="*/ 82501 h 113079"/>
                  <a:gd name="connsiteX2" fmla="*/ 107466 w 107466"/>
                  <a:gd name="connsiteY2" fmla="*/ 30567 h 113079"/>
                  <a:gd name="connsiteX3" fmla="*/ 76900 w 107466"/>
                  <a:gd name="connsiteY3" fmla="*/ 0 h 113079"/>
                  <a:gd name="connsiteX4" fmla="*/ 30578 w 107466"/>
                  <a:gd name="connsiteY4" fmla="*/ 0 h 113079"/>
                  <a:gd name="connsiteX5" fmla="*/ 0 w 107466"/>
                  <a:gd name="connsiteY5" fmla="*/ 30567 h 113079"/>
                  <a:gd name="connsiteX6" fmla="*/ 0 w 107466"/>
                  <a:gd name="connsiteY6" fmla="*/ 82501 h 113079"/>
                  <a:gd name="connsiteX7" fmla="*/ 23562 w 107466"/>
                  <a:gd name="connsiteY7" fmla="*/ 113080 h 1130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07466" h="113079">
                    <a:moveTo>
                      <a:pt x="83905" y="113080"/>
                    </a:moveTo>
                    <a:cubicBezTo>
                      <a:pt x="100709" y="113080"/>
                      <a:pt x="107466" y="99318"/>
                      <a:pt x="107466" y="82501"/>
                    </a:cubicBezTo>
                    <a:lnTo>
                      <a:pt x="107466" y="30567"/>
                    </a:lnTo>
                    <a:cubicBezTo>
                      <a:pt x="107466" y="13762"/>
                      <a:pt x="93716" y="0"/>
                      <a:pt x="76900" y="0"/>
                    </a:cubicBezTo>
                    <a:lnTo>
                      <a:pt x="30578" y="0"/>
                    </a:lnTo>
                    <a:cubicBezTo>
                      <a:pt x="13750" y="0"/>
                      <a:pt x="0" y="13762"/>
                      <a:pt x="0" y="30567"/>
                    </a:cubicBezTo>
                    <a:lnTo>
                      <a:pt x="0" y="82501"/>
                    </a:lnTo>
                    <a:cubicBezTo>
                      <a:pt x="0" y="99318"/>
                      <a:pt x="6757" y="113080"/>
                      <a:pt x="23562" y="113080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695" name="Gráfico 10">
                <a:extLst>
                  <a:ext uri="{FF2B5EF4-FFF2-40B4-BE49-F238E27FC236}">
                    <a16:creationId xmlns:a16="http://schemas.microsoft.com/office/drawing/2014/main" id="{CB1966AB-07DD-17FC-69EB-0454E96353CF}"/>
                  </a:ext>
                </a:extLst>
              </p:cNvPr>
              <p:cNvGrpSpPr/>
              <p:nvPr/>
            </p:nvGrpSpPr>
            <p:grpSpPr>
              <a:xfrm>
                <a:off x="8310385" y="1137621"/>
                <a:ext cx="59599" cy="162302"/>
                <a:chOff x="8310385" y="1137621"/>
                <a:chExt cx="59599" cy="162302"/>
              </a:xfrm>
            </p:grpSpPr>
            <p:sp>
              <p:nvSpPr>
                <p:cNvPr id="696" name="Forma livre: Forma 695">
                  <a:extLst>
                    <a:ext uri="{FF2B5EF4-FFF2-40B4-BE49-F238E27FC236}">
                      <a16:creationId xmlns:a16="http://schemas.microsoft.com/office/drawing/2014/main" id="{6300677E-A6CE-9DC2-EA88-60C449DB5BD3}"/>
                    </a:ext>
                  </a:extLst>
                </p:cNvPr>
                <p:cNvSpPr/>
                <p:nvPr/>
              </p:nvSpPr>
              <p:spPr>
                <a:xfrm>
                  <a:off x="8310385" y="1137621"/>
                  <a:ext cx="1179" cy="162302"/>
                </a:xfrm>
                <a:custGeom>
                  <a:avLst/>
                  <a:gdLst>
                    <a:gd name="connsiteX0" fmla="*/ 0 w 1179"/>
                    <a:gd name="connsiteY0" fmla="*/ 0 h 162302"/>
                    <a:gd name="connsiteX1" fmla="*/ 0 w 1179"/>
                    <a:gd name="connsiteY1" fmla="*/ 162302 h 16230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179" h="162302">
                      <a:moveTo>
                        <a:pt x="0" y="0"/>
                      </a:moveTo>
                      <a:lnTo>
                        <a:pt x="0" y="162302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697" name="Forma livre: Forma 696">
                  <a:extLst>
                    <a:ext uri="{FF2B5EF4-FFF2-40B4-BE49-F238E27FC236}">
                      <a16:creationId xmlns:a16="http://schemas.microsoft.com/office/drawing/2014/main" id="{CBCDCC90-E4BC-ED74-E9E5-450109B25A9E}"/>
                    </a:ext>
                  </a:extLst>
                </p:cNvPr>
                <p:cNvSpPr/>
                <p:nvPr/>
              </p:nvSpPr>
              <p:spPr>
                <a:xfrm>
                  <a:off x="8369985" y="1137621"/>
                  <a:ext cx="1179" cy="162302"/>
                </a:xfrm>
                <a:custGeom>
                  <a:avLst/>
                  <a:gdLst>
                    <a:gd name="connsiteX0" fmla="*/ 0 w 1179"/>
                    <a:gd name="connsiteY0" fmla="*/ 162302 h 162302"/>
                    <a:gd name="connsiteX1" fmla="*/ 0 w 1179"/>
                    <a:gd name="connsiteY1" fmla="*/ 0 h 16230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179" h="162302">
                      <a:moveTo>
                        <a:pt x="0" y="162302"/>
                      </a:moveTo>
                      <a:lnTo>
                        <a:pt x="0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grpSp>
          <p:nvGrpSpPr>
            <p:cNvPr id="698" name="Gráfico 10">
              <a:extLst>
                <a:ext uri="{FF2B5EF4-FFF2-40B4-BE49-F238E27FC236}">
                  <a16:creationId xmlns:a16="http://schemas.microsoft.com/office/drawing/2014/main" id="{60CC6B69-31A9-1684-AFA4-4AD575F200F6}"/>
                </a:ext>
              </a:extLst>
            </p:cNvPr>
            <p:cNvGrpSpPr/>
            <p:nvPr/>
          </p:nvGrpSpPr>
          <p:grpSpPr>
            <a:xfrm>
              <a:off x="8068656" y="1004478"/>
              <a:ext cx="224030" cy="290083"/>
              <a:chOff x="8068656" y="1004478"/>
              <a:chExt cx="224030" cy="290083"/>
            </a:xfrm>
            <a:noFill/>
          </p:grpSpPr>
          <p:grpSp>
            <p:nvGrpSpPr>
              <p:cNvPr id="699" name="Gráfico 10">
                <a:extLst>
                  <a:ext uri="{FF2B5EF4-FFF2-40B4-BE49-F238E27FC236}">
                    <a16:creationId xmlns:a16="http://schemas.microsoft.com/office/drawing/2014/main" id="{70EE5F79-7FA3-2E26-CEDB-422B789C0FE8}"/>
                  </a:ext>
                </a:extLst>
              </p:cNvPr>
              <p:cNvGrpSpPr/>
              <p:nvPr/>
            </p:nvGrpSpPr>
            <p:grpSpPr>
              <a:xfrm>
                <a:off x="8068656" y="1004478"/>
                <a:ext cx="224030" cy="290083"/>
                <a:chOff x="8068656" y="1004478"/>
                <a:chExt cx="224030" cy="290083"/>
              </a:xfrm>
              <a:noFill/>
            </p:grpSpPr>
            <p:grpSp>
              <p:nvGrpSpPr>
                <p:cNvPr id="700" name="Gráfico 10">
                  <a:extLst>
                    <a:ext uri="{FF2B5EF4-FFF2-40B4-BE49-F238E27FC236}">
                      <a16:creationId xmlns:a16="http://schemas.microsoft.com/office/drawing/2014/main" id="{799605CE-20C8-7F7F-C731-4D4AF3D2254F}"/>
                    </a:ext>
                  </a:extLst>
                </p:cNvPr>
                <p:cNvGrpSpPr/>
                <p:nvPr/>
              </p:nvGrpSpPr>
              <p:grpSpPr>
                <a:xfrm>
                  <a:off x="8147334" y="1004478"/>
                  <a:ext cx="132710" cy="290083"/>
                  <a:chOff x="8147334" y="1004478"/>
                  <a:chExt cx="132710" cy="290083"/>
                </a:xfrm>
                <a:noFill/>
              </p:grpSpPr>
              <p:sp>
                <p:nvSpPr>
                  <p:cNvPr id="701" name="Forma livre: Forma 700">
                    <a:extLst>
                      <a:ext uri="{FF2B5EF4-FFF2-40B4-BE49-F238E27FC236}">
                        <a16:creationId xmlns:a16="http://schemas.microsoft.com/office/drawing/2014/main" id="{795F6EB4-DB76-70E4-2514-328EDCE6AA66}"/>
                      </a:ext>
                    </a:extLst>
                  </p:cNvPr>
                  <p:cNvSpPr/>
                  <p:nvPr/>
                </p:nvSpPr>
                <p:spPr>
                  <a:xfrm>
                    <a:off x="8147334" y="1004478"/>
                    <a:ext cx="58449" cy="80913"/>
                  </a:xfrm>
                  <a:custGeom>
                    <a:avLst/>
                    <a:gdLst>
                      <a:gd name="connsiteX0" fmla="*/ 58450 w 58449"/>
                      <a:gd name="connsiteY0" fmla="*/ 71114 h 80913"/>
                      <a:gd name="connsiteX1" fmla="*/ 46881 w 58449"/>
                      <a:gd name="connsiteY1" fmla="*/ 12799 h 80913"/>
                      <a:gd name="connsiteX2" fmla="*/ 46752 w 58449"/>
                      <a:gd name="connsiteY2" fmla="*/ 7740 h 80913"/>
                      <a:gd name="connsiteX3" fmla="*/ 19181 w 58449"/>
                      <a:gd name="connsiteY3" fmla="*/ 2033 h 80913"/>
                      <a:gd name="connsiteX4" fmla="*/ 418 w 58449"/>
                      <a:gd name="connsiteY4" fmla="*/ 23024 h 80913"/>
                      <a:gd name="connsiteX5" fmla="*/ 3343 w 58449"/>
                      <a:gd name="connsiteY5" fmla="*/ 27175 h 80913"/>
                      <a:gd name="connsiteX6" fmla="*/ 28733 w 58449"/>
                      <a:gd name="connsiteY6" fmla="*/ 80914 h 8091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58449" h="80913">
                        <a:moveTo>
                          <a:pt x="58450" y="71114"/>
                        </a:moveTo>
                        <a:cubicBezTo>
                          <a:pt x="58450" y="71114"/>
                          <a:pt x="40678" y="45606"/>
                          <a:pt x="46881" y="12799"/>
                        </a:cubicBezTo>
                        <a:cubicBezTo>
                          <a:pt x="47200" y="11089"/>
                          <a:pt x="47271" y="9321"/>
                          <a:pt x="46752" y="7740"/>
                        </a:cubicBezTo>
                        <a:cubicBezTo>
                          <a:pt x="44334" y="382"/>
                          <a:pt x="31976" y="-2189"/>
                          <a:pt x="19181" y="2033"/>
                        </a:cubicBezTo>
                        <a:cubicBezTo>
                          <a:pt x="6385" y="6243"/>
                          <a:pt x="-2011" y="15653"/>
                          <a:pt x="418" y="23024"/>
                        </a:cubicBezTo>
                        <a:cubicBezTo>
                          <a:pt x="949" y="24604"/>
                          <a:pt x="2058" y="25972"/>
                          <a:pt x="3343" y="27175"/>
                        </a:cubicBezTo>
                        <a:cubicBezTo>
                          <a:pt x="27836" y="49864"/>
                          <a:pt x="28733" y="80914"/>
                          <a:pt x="28733" y="80914"/>
                        </a:cubicBezTo>
                      </a:path>
                    </a:pathLst>
                  </a:custGeom>
                  <a:noFill/>
                  <a:ln w="6350" cap="rnd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702" name="Forma livre: Forma 701">
                    <a:extLst>
                      <a:ext uri="{FF2B5EF4-FFF2-40B4-BE49-F238E27FC236}">
                        <a16:creationId xmlns:a16="http://schemas.microsoft.com/office/drawing/2014/main" id="{6E8F77F1-FD31-09B1-FF4F-07F80D88D43F}"/>
                      </a:ext>
                    </a:extLst>
                  </p:cNvPr>
                  <p:cNvSpPr/>
                  <p:nvPr/>
                </p:nvSpPr>
                <p:spPr>
                  <a:xfrm>
                    <a:off x="8221598" y="1213660"/>
                    <a:ext cx="58446" cy="80901"/>
                  </a:xfrm>
                  <a:custGeom>
                    <a:avLst/>
                    <a:gdLst>
                      <a:gd name="connsiteX0" fmla="*/ 0 w 58446"/>
                      <a:gd name="connsiteY0" fmla="*/ 9788 h 80901"/>
                      <a:gd name="connsiteX1" fmla="*/ 11580 w 58446"/>
                      <a:gd name="connsiteY1" fmla="*/ 68102 h 80901"/>
                      <a:gd name="connsiteX2" fmla="*/ 11698 w 58446"/>
                      <a:gd name="connsiteY2" fmla="*/ 73162 h 80901"/>
                      <a:gd name="connsiteX3" fmla="*/ 39269 w 58446"/>
                      <a:gd name="connsiteY3" fmla="*/ 78869 h 80901"/>
                      <a:gd name="connsiteX4" fmla="*/ 58032 w 58446"/>
                      <a:gd name="connsiteY4" fmla="*/ 57890 h 80901"/>
                      <a:gd name="connsiteX5" fmla="*/ 55107 w 58446"/>
                      <a:gd name="connsiteY5" fmla="*/ 53739 h 80901"/>
                      <a:gd name="connsiteX6" fmla="*/ 29717 w 58446"/>
                      <a:gd name="connsiteY6" fmla="*/ 0 h 8090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58446" h="80901">
                        <a:moveTo>
                          <a:pt x="0" y="9788"/>
                        </a:moveTo>
                        <a:cubicBezTo>
                          <a:pt x="0" y="9788"/>
                          <a:pt x="17760" y="35284"/>
                          <a:pt x="11580" y="68102"/>
                        </a:cubicBezTo>
                        <a:cubicBezTo>
                          <a:pt x="11250" y="69812"/>
                          <a:pt x="11179" y="71581"/>
                          <a:pt x="11698" y="73162"/>
                        </a:cubicBezTo>
                        <a:cubicBezTo>
                          <a:pt x="14128" y="80544"/>
                          <a:pt x="26474" y="83079"/>
                          <a:pt x="39269" y="78869"/>
                        </a:cubicBezTo>
                        <a:cubicBezTo>
                          <a:pt x="52064" y="74659"/>
                          <a:pt x="60449" y="65260"/>
                          <a:pt x="58032" y="57890"/>
                        </a:cubicBezTo>
                        <a:cubicBezTo>
                          <a:pt x="57501" y="56310"/>
                          <a:pt x="56404" y="54918"/>
                          <a:pt x="55107" y="53739"/>
                        </a:cubicBezTo>
                        <a:cubicBezTo>
                          <a:pt x="30602" y="31062"/>
                          <a:pt x="29717" y="0"/>
                          <a:pt x="29717" y="0"/>
                        </a:cubicBezTo>
                      </a:path>
                    </a:pathLst>
                  </a:custGeom>
                  <a:noFill/>
                  <a:ln w="6350" cap="rnd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  <p:sp>
              <p:nvSpPr>
                <p:cNvPr id="703" name="Forma livre: Forma 702">
                  <a:extLst>
                    <a:ext uri="{FF2B5EF4-FFF2-40B4-BE49-F238E27FC236}">
                      <a16:creationId xmlns:a16="http://schemas.microsoft.com/office/drawing/2014/main" id="{80014DAA-5E1C-38CE-E403-7DA421E5CD25}"/>
                    </a:ext>
                  </a:extLst>
                </p:cNvPr>
                <p:cNvSpPr/>
                <p:nvPr/>
              </p:nvSpPr>
              <p:spPr>
                <a:xfrm>
                  <a:off x="8068656" y="1157444"/>
                  <a:ext cx="80924" cy="58426"/>
                </a:xfrm>
                <a:custGeom>
                  <a:avLst/>
                  <a:gdLst>
                    <a:gd name="connsiteX0" fmla="*/ 71101 w 80924"/>
                    <a:gd name="connsiteY0" fmla="*/ 0 h 58426"/>
                    <a:gd name="connsiteX1" fmla="*/ 12810 w 80924"/>
                    <a:gd name="connsiteY1" fmla="*/ 11557 h 58426"/>
                    <a:gd name="connsiteX2" fmla="*/ 7739 w 80924"/>
                    <a:gd name="connsiteY2" fmla="*/ 11687 h 58426"/>
                    <a:gd name="connsiteX3" fmla="*/ 2043 w 80924"/>
                    <a:gd name="connsiteY3" fmla="*/ 39258 h 58426"/>
                    <a:gd name="connsiteX4" fmla="*/ 23034 w 80924"/>
                    <a:gd name="connsiteY4" fmla="*/ 58008 h 58426"/>
                    <a:gd name="connsiteX5" fmla="*/ 27185 w 80924"/>
                    <a:gd name="connsiteY5" fmla="*/ 55095 h 58426"/>
                    <a:gd name="connsiteX6" fmla="*/ 80924 w 80924"/>
                    <a:gd name="connsiteY6" fmla="*/ 29706 h 5842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80924" h="58426">
                      <a:moveTo>
                        <a:pt x="71101" y="0"/>
                      </a:moveTo>
                      <a:cubicBezTo>
                        <a:pt x="71101" y="0"/>
                        <a:pt x="45605" y="17748"/>
                        <a:pt x="12810" y="11557"/>
                      </a:cubicBezTo>
                      <a:cubicBezTo>
                        <a:pt x="11088" y="11238"/>
                        <a:pt x="9319" y="11156"/>
                        <a:pt x="7739" y="11687"/>
                      </a:cubicBezTo>
                      <a:cubicBezTo>
                        <a:pt x="369" y="14104"/>
                        <a:pt x="-2190" y="26463"/>
                        <a:pt x="2043" y="39258"/>
                      </a:cubicBezTo>
                      <a:cubicBezTo>
                        <a:pt x="6253" y="52029"/>
                        <a:pt x="15664" y="60437"/>
                        <a:pt x="23034" y="58008"/>
                      </a:cubicBezTo>
                      <a:cubicBezTo>
                        <a:pt x="24626" y="57477"/>
                        <a:pt x="25982" y="56381"/>
                        <a:pt x="27185" y="55095"/>
                      </a:cubicBezTo>
                      <a:cubicBezTo>
                        <a:pt x="49863" y="30590"/>
                        <a:pt x="80924" y="29706"/>
                        <a:pt x="80924" y="29706"/>
                      </a:cubicBez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704" name="Forma livre: Forma 703">
                  <a:extLst>
                    <a:ext uri="{FF2B5EF4-FFF2-40B4-BE49-F238E27FC236}">
                      <a16:creationId xmlns:a16="http://schemas.microsoft.com/office/drawing/2014/main" id="{2C6EBD97-DB76-6AA0-4637-7C73F81A17E3}"/>
                    </a:ext>
                  </a:extLst>
                </p:cNvPr>
                <p:cNvSpPr/>
                <p:nvPr/>
              </p:nvSpPr>
              <p:spPr>
                <a:xfrm>
                  <a:off x="8078608" y="1069617"/>
                  <a:ext cx="73083" cy="96105"/>
                </a:xfrm>
                <a:custGeom>
                  <a:avLst/>
                  <a:gdLst>
                    <a:gd name="connsiteX0" fmla="*/ 73083 w 73083"/>
                    <a:gd name="connsiteY0" fmla="*/ 5066 h 96105"/>
                    <a:gd name="connsiteX1" fmla="*/ 53979 w 73083"/>
                    <a:gd name="connsiteY1" fmla="*/ 26599 h 96105"/>
                    <a:gd name="connsiteX2" fmla="*/ 25193 w 73083"/>
                    <a:gd name="connsiteY2" fmla="*/ 3580 h 96105"/>
                    <a:gd name="connsiteX3" fmla="*/ 22198 w 73083"/>
                    <a:gd name="connsiteY3" fmla="*/ 750 h 96105"/>
                    <a:gd name="connsiteX4" fmla="*/ 3247 w 73083"/>
                    <a:gd name="connsiteY4" fmla="*/ 12991 h 96105"/>
                    <a:gd name="connsiteX5" fmla="*/ 4674 w 73083"/>
                    <a:gd name="connsiteY5" fmla="*/ 35515 h 96105"/>
                    <a:gd name="connsiteX6" fmla="*/ 8731 w 73083"/>
                    <a:gd name="connsiteY6" fmla="*/ 36246 h 96105"/>
                    <a:gd name="connsiteX7" fmla="*/ 44356 w 73083"/>
                    <a:gd name="connsiteY7" fmla="*/ 45680 h 96105"/>
                    <a:gd name="connsiteX8" fmla="*/ 39686 w 73083"/>
                    <a:gd name="connsiteY8" fmla="*/ 96105 h 9610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73083" h="96105">
                      <a:moveTo>
                        <a:pt x="73083" y="5066"/>
                      </a:moveTo>
                      <a:cubicBezTo>
                        <a:pt x="65607" y="11293"/>
                        <a:pt x="59203" y="18581"/>
                        <a:pt x="53979" y="26599"/>
                      </a:cubicBezTo>
                      <a:cubicBezTo>
                        <a:pt x="45465" y="22932"/>
                        <a:pt x="33849" y="16045"/>
                        <a:pt x="25193" y="3580"/>
                      </a:cubicBezTo>
                      <a:cubicBezTo>
                        <a:pt x="24391" y="2413"/>
                        <a:pt x="23413" y="1351"/>
                        <a:pt x="22198" y="750"/>
                      </a:cubicBezTo>
                      <a:cubicBezTo>
                        <a:pt x="16573" y="-2092"/>
                        <a:pt x="8070" y="3392"/>
                        <a:pt x="3247" y="12991"/>
                      </a:cubicBezTo>
                      <a:cubicBezTo>
                        <a:pt x="-1588" y="22590"/>
                        <a:pt x="-951" y="32685"/>
                        <a:pt x="4674" y="35515"/>
                      </a:cubicBezTo>
                      <a:cubicBezTo>
                        <a:pt x="5877" y="36128"/>
                        <a:pt x="7316" y="36281"/>
                        <a:pt x="8731" y="36246"/>
                      </a:cubicBezTo>
                      <a:cubicBezTo>
                        <a:pt x="23884" y="35762"/>
                        <a:pt x="36337" y="40998"/>
                        <a:pt x="44356" y="45680"/>
                      </a:cubicBezTo>
                      <a:cubicBezTo>
                        <a:pt x="38472" y="61423"/>
                        <a:pt x="36632" y="78770"/>
                        <a:pt x="39686" y="96105"/>
                      </a:cubicBez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705" name="Forma livre: Forma 704">
                  <a:extLst>
                    <a:ext uri="{FF2B5EF4-FFF2-40B4-BE49-F238E27FC236}">
                      <a16:creationId xmlns:a16="http://schemas.microsoft.com/office/drawing/2014/main" id="{C5B1D350-6F67-3C83-8490-C170C8FD1CF1}"/>
                    </a:ext>
                  </a:extLst>
                </p:cNvPr>
                <p:cNvSpPr/>
                <p:nvPr/>
              </p:nvSpPr>
              <p:spPr>
                <a:xfrm>
                  <a:off x="8134232" y="1209921"/>
                  <a:ext cx="94972" cy="73778"/>
                </a:xfrm>
                <a:custGeom>
                  <a:avLst/>
                  <a:gdLst>
                    <a:gd name="connsiteX0" fmla="*/ 4216 w 94972"/>
                    <a:gd name="connsiteY0" fmla="*/ 0 h 73778"/>
                    <a:gd name="connsiteX1" fmla="*/ 26504 w 94972"/>
                    <a:gd name="connsiteY1" fmla="*/ 20024 h 73778"/>
                    <a:gd name="connsiteX2" fmla="*/ 3568 w 94972"/>
                    <a:gd name="connsiteY2" fmla="*/ 48597 h 73778"/>
                    <a:gd name="connsiteX3" fmla="*/ 749 w 94972"/>
                    <a:gd name="connsiteY3" fmla="*/ 51581 h 73778"/>
                    <a:gd name="connsiteX4" fmla="*/ 12990 w 94972"/>
                    <a:gd name="connsiteY4" fmla="*/ 70532 h 73778"/>
                    <a:gd name="connsiteX5" fmla="*/ 35514 w 94972"/>
                    <a:gd name="connsiteY5" fmla="*/ 69105 h 73778"/>
                    <a:gd name="connsiteX6" fmla="*/ 36233 w 94972"/>
                    <a:gd name="connsiteY6" fmla="*/ 65048 h 73778"/>
                    <a:gd name="connsiteX7" fmla="*/ 45573 w 94972"/>
                    <a:gd name="connsiteY7" fmla="*/ 29611 h 73778"/>
                    <a:gd name="connsiteX8" fmla="*/ 94972 w 94972"/>
                    <a:gd name="connsiteY8" fmla="*/ 34470 h 737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94972" h="73778">
                      <a:moveTo>
                        <a:pt x="4216" y="0"/>
                      </a:moveTo>
                      <a:cubicBezTo>
                        <a:pt x="10608" y="7866"/>
                        <a:pt x="18155" y="14576"/>
                        <a:pt x="26504" y="20024"/>
                      </a:cubicBezTo>
                      <a:cubicBezTo>
                        <a:pt x="22825" y="28515"/>
                        <a:pt x="15938" y="40024"/>
                        <a:pt x="3568" y="48597"/>
                      </a:cubicBezTo>
                      <a:cubicBezTo>
                        <a:pt x="2412" y="49399"/>
                        <a:pt x="1351" y="50378"/>
                        <a:pt x="749" y="51581"/>
                      </a:cubicBezTo>
                      <a:cubicBezTo>
                        <a:pt x="-2093" y="57218"/>
                        <a:pt x="3402" y="65720"/>
                        <a:pt x="12990" y="70532"/>
                      </a:cubicBezTo>
                      <a:cubicBezTo>
                        <a:pt x="22589" y="75367"/>
                        <a:pt x="32684" y="74730"/>
                        <a:pt x="35514" y="69105"/>
                      </a:cubicBezTo>
                      <a:cubicBezTo>
                        <a:pt x="36127" y="67902"/>
                        <a:pt x="36292" y="66463"/>
                        <a:pt x="36233" y="65048"/>
                      </a:cubicBezTo>
                      <a:cubicBezTo>
                        <a:pt x="35773" y="49989"/>
                        <a:pt x="40927" y="37619"/>
                        <a:pt x="45573" y="29611"/>
                      </a:cubicBezTo>
                      <a:cubicBezTo>
                        <a:pt x="61009" y="35366"/>
                        <a:pt x="77979" y="37300"/>
                        <a:pt x="94972" y="34470"/>
                      </a:cubicBez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706" name="Forma livre: Forma 705">
                  <a:extLst>
                    <a:ext uri="{FF2B5EF4-FFF2-40B4-BE49-F238E27FC236}">
                      <a16:creationId xmlns:a16="http://schemas.microsoft.com/office/drawing/2014/main" id="{46AD2BC4-4F36-7E49-64E7-2E5A8D5839F0}"/>
                    </a:ext>
                  </a:extLst>
                </p:cNvPr>
                <p:cNvSpPr/>
                <p:nvPr/>
              </p:nvSpPr>
              <p:spPr>
                <a:xfrm>
                  <a:off x="8260490" y="1222563"/>
                  <a:ext cx="15519" cy="11250"/>
                </a:xfrm>
                <a:custGeom>
                  <a:avLst/>
                  <a:gdLst>
                    <a:gd name="connsiteX0" fmla="*/ 0 w 15519"/>
                    <a:gd name="connsiteY0" fmla="*/ 11250 h 11250"/>
                    <a:gd name="connsiteX1" fmla="*/ 15519 w 15519"/>
                    <a:gd name="connsiteY1" fmla="*/ 0 h 112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5519" h="11250">
                      <a:moveTo>
                        <a:pt x="0" y="11250"/>
                      </a:moveTo>
                      <a:cubicBezTo>
                        <a:pt x="5012" y="8727"/>
                        <a:pt x="10425" y="4611"/>
                        <a:pt x="15519" y="0"/>
                      </a:cubicBez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707" name="Forma livre: Forma 706">
                  <a:extLst>
                    <a:ext uri="{FF2B5EF4-FFF2-40B4-BE49-F238E27FC236}">
                      <a16:creationId xmlns:a16="http://schemas.microsoft.com/office/drawing/2014/main" id="{6E319A56-BFB3-6CBE-5AD9-32AE799583F4}"/>
                    </a:ext>
                  </a:extLst>
                </p:cNvPr>
                <p:cNvSpPr/>
                <p:nvPr/>
              </p:nvSpPr>
              <p:spPr>
                <a:xfrm>
                  <a:off x="8197128" y="1013983"/>
                  <a:ext cx="95558" cy="69840"/>
                </a:xfrm>
                <a:custGeom>
                  <a:avLst/>
                  <a:gdLst>
                    <a:gd name="connsiteX0" fmla="*/ 87773 w 95558"/>
                    <a:gd name="connsiteY0" fmla="*/ 69840 h 69840"/>
                    <a:gd name="connsiteX1" fmla="*/ 68987 w 95558"/>
                    <a:gd name="connsiteY1" fmla="*/ 53967 h 69840"/>
                    <a:gd name="connsiteX2" fmla="*/ 91983 w 95558"/>
                    <a:gd name="connsiteY2" fmla="*/ 25205 h 69840"/>
                    <a:gd name="connsiteX3" fmla="*/ 94813 w 95558"/>
                    <a:gd name="connsiteY3" fmla="*/ 22210 h 69840"/>
                    <a:gd name="connsiteX4" fmla="*/ 82560 w 95558"/>
                    <a:gd name="connsiteY4" fmla="*/ 3247 h 69840"/>
                    <a:gd name="connsiteX5" fmla="*/ 60036 w 95558"/>
                    <a:gd name="connsiteY5" fmla="*/ 4686 h 69840"/>
                    <a:gd name="connsiteX6" fmla="*/ 59317 w 95558"/>
                    <a:gd name="connsiteY6" fmla="*/ 8731 h 69840"/>
                    <a:gd name="connsiteX7" fmla="*/ 49859 w 95558"/>
                    <a:gd name="connsiteY7" fmla="*/ 44427 h 69840"/>
                    <a:gd name="connsiteX8" fmla="*/ 0 w 95558"/>
                    <a:gd name="connsiteY8" fmla="*/ 39769 h 6984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95558" h="69840">
                      <a:moveTo>
                        <a:pt x="87773" y="69840"/>
                      </a:moveTo>
                      <a:cubicBezTo>
                        <a:pt x="82171" y="63731"/>
                        <a:pt x="75850" y="58413"/>
                        <a:pt x="68987" y="53967"/>
                      </a:cubicBezTo>
                      <a:cubicBezTo>
                        <a:pt x="72631" y="45441"/>
                        <a:pt x="79541" y="33849"/>
                        <a:pt x="91983" y="25205"/>
                      </a:cubicBezTo>
                      <a:cubicBezTo>
                        <a:pt x="93150" y="24403"/>
                        <a:pt x="94211" y="23424"/>
                        <a:pt x="94813" y="22210"/>
                      </a:cubicBezTo>
                      <a:cubicBezTo>
                        <a:pt x="97643" y="16573"/>
                        <a:pt x="92171" y="8082"/>
                        <a:pt x="82560" y="3247"/>
                      </a:cubicBezTo>
                      <a:cubicBezTo>
                        <a:pt x="72961" y="-1600"/>
                        <a:pt x="62867" y="-939"/>
                        <a:pt x="60036" y="4686"/>
                      </a:cubicBezTo>
                      <a:cubicBezTo>
                        <a:pt x="59435" y="5889"/>
                        <a:pt x="59282" y="7315"/>
                        <a:pt x="59317" y="8731"/>
                      </a:cubicBezTo>
                      <a:cubicBezTo>
                        <a:pt x="59777" y="23931"/>
                        <a:pt x="54541" y="36431"/>
                        <a:pt x="49859" y="44427"/>
                      </a:cubicBezTo>
                      <a:cubicBezTo>
                        <a:pt x="34258" y="38660"/>
                        <a:pt x="17146" y="36797"/>
                        <a:pt x="0" y="39769"/>
                      </a:cubicBez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708" name="Gráfico 10">
                <a:extLst>
                  <a:ext uri="{FF2B5EF4-FFF2-40B4-BE49-F238E27FC236}">
                    <a16:creationId xmlns:a16="http://schemas.microsoft.com/office/drawing/2014/main" id="{165136EC-94DF-9707-D3ED-67D0CF625C01}"/>
                  </a:ext>
                </a:extLst>
              </p:cNvPr>
              <p:cNvGrpSpPr/>
              <p:nvPr/>
            </p:nvGrpSpPr>
            <p:grpSpPr>
              <a:xfrm>
                <a:off x="8160949" y="1088276"/>
                <a:ext cx="90270" cy="121066"/>
                <a:chOff x="8160949" y="1088276"/>
                <a:chExt cx="90270" cy="121066"/>
              </a:xfrm>
              <a:noFill/>
            </p:grpSpPr>
            <p:grpSp>
              <p:nvGrpSpPr>
                <p:cNvPr id="709" name="Gráfico 10">
                  <a:extLst>
                    <a:ext uri="{FF2B5EF4-FFF2-40B4-BE49-F238E27FC236}">
                      <a16:creationId xmlns:a16="http://schemas.microsoft.com/office/drawing/2014/main" id="{462830DB-4802-229F-E829-D7D914E961EA}"/>
                    </a:ext>
                  </a:extLst>
                </p:cNvPr>
                <p:cNvGrpSpPr/>
                <p:nvPr/>
              </p:nvGrpSpPr>
              <p:grpSpPr>
                <a:xfrm>
                  <a:off x="8160949" y="1088276"/>
                  <a:ext cx="90270" cy="55486"/>
                  <a:chOff x="8160949" y="1088276"/>
                  <a:chExt cx="90270" cy="55486"/>
                </a:xfrm>
                <a:noFill/>
              </p:grpSpPr>
              <p:sp>
                <p:nvSpPr>
                  <p:cNvPr id="710" name="Forma livre: Forma 709">
                    <a:extLst>
                      <a:ext uri="{FF2B5EF4-FFF2-40B4-BE49-F238E27FC236}">
                        <a16:creationId xmlns:a16="http://schemas.microsoft.com/office/drawing/2014/main" id="{A394D7C2-53E8-8470-BDD6-1274DA4C7D0A}"/>
                      </a:ext>
                    </a:extLst>
                  </p:cNvPr>
                  <p:cNvSpPr/>
                  <p:nvPr/>
                </p:nvSpPr>
                <p:spPr>
                  <a:xfrm>
                    <a:off x="8160949" y="1110136"/>
                    <a:ext cx="32781" cy="33627"/>
                  </a:xfrm>
                  <a:custGeom>
                    <a:avLst/>
                    <a:gdLst>
                      <a:gd name="connsiteX0" fmla="*/ 10684 w 32781"/>
                      <a:gd name="connsiteY0" fmla="*/ 857 h 33627"/>
                      <a:gd name="connsiteX1" fmla="*/ 31934 w 32781"/>
                      <a:gd name="connsiteY1" fmla="*/ 11553 h 33627"/>
                      <a:gd name="connsiteX2" fmla="*/ 21227 w 32781"/>
                      <a:gd name="connsiteY2" fmla="*/ 32780 h 33627"/>
                      <a:gd name="connsiteX3" fmla="*/ 0 w 32781"/>
                      <a:gd name="connsiteY3" fmla="*/ 22084 h 3362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32781" h="33627">
                        <a:moveTo>
                          <a:pt x="10684" y="857"/>
                        </a:moveTo>
                        <a:cubicBezTo>
                          <a:pt x="19517" y="-2067"/>
                          <a:pt x="29022" y="2733"/>
                          <a:pt x="31934" y="11553"/>
                        </a:cubicBezTo>
                        <a:cubicBezTo>
                          <a:pt x="34835" y="20374"/>
                          <a:pt x="30048" y="29867"/>
                          <a:pt x="21227" y="32780"/>
                        </a:cubicBezTo>
                        <a:cubicBezTo>
                          <a:pt x="12418" y="35681"/>
                          <a:pt x="2901" y="30893"/>
                          <a:pt x="0" y="22084"/>
                        </a:cubicBezTo>
                      </a:path>
                    </a:pathLst>
                  </a:custGeom>
                  <a:noFill/>
                  <a:ln w="6350" cap="rnd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711" name="Forma livre: Forma 710">
                    <a:extLst>
                      <a:ext uri="{FF2B5EF4-FFF2-40B4-BE49-F238E27FC236}">
                        <a16:creationId xmlns:a16="http://schemas.microsoft.com/office/drawing/2014/main" id="{9F4E4EBF-2058-D693-66F9-58A47B35C2E7}"/>
                      </a:ext>
                    </a:extLst>
                  </p:cNvPr>
                  <p:cNvSpPr/>
                  <p:nvPr/>
                </p:nvSpPr>
                <p:spPr>
                  <a:xfrm>
                    <a:off x="8218438" y="1088276"/>
                    <a:ext cx="32781" cy="33640"/>
                  </a:xfrm>
                  <a:custGeom>
                    <a:avLst/>
                    <a:gdLst>
                      <a:gd name="connsiteX0" fmla="*/ 10696 w 32781"/>
                      <a:gd name="connsiteY0" fmla="*/ 853 h 33640"/>
                      <a:gd name="connsiteX1" fmla="*/ 31934 w 32781"/>
                      <a:gd name="connsiteY1" fmla="*/ 11549 h 33640"/>
                      <a:gd name="connsiteX2" fmla="*/ 21227 w 32781"/>
                      <a:gd name="connsiteY2" fmla="*/ 32787 h 33640"/>
                      <a:gd name="connsiteX3" fmla="*/ 0 w 32781"/>
                      <a:gd name="connsiteY3" fmla="*/ 22092 h 3364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32781" h="33640">
                        <a:moveTo>
                          <a:pt x="10696" y="853"/>
                        </a:moveTo>
                        <a:cubicBezTo>
                          <a:pt x="19517" y="-2060"/>
                          <a:pt x="29022" y="2728"/>
                          <a:pt x="31934" y="11549"/>
                        </a:cubicBezTo>
                        <a:cubicBezTo>
                          <a:pt x="34835" y="20370"/>
                          <a:pt x="30048" y="29886"/>
                          <a:pt x="21227" y="32787"/>
                        </a:cubicBezTo>
                        <a:cubicBezTo>
                          <a:pt x="12406" y="35700"/>
                          <a:pt x="2901" y="30912"/>
                          <a:pt x="0" y="22092"/>
                        </a:cubicBezTo>
                      </a:path>
                    </a:pathLst>
                  </a:custGeom>
                  <a:noFill/>
                  <a:ln w="6350" cap="rnd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  <p:sp>
              <p:nvSpPr>
                <p:cNvPr id="712" name="Forma livre: Forma 711">
                  <a:extLst>
                    <a:ext uri="{FF2B5EF4-FFF2-40B4-BE49-F238E27FC236}">
                      <a16:creationId xmlns:a16="http://schemas.microsoft.com/office/drawing/2014/main" id="{AE972EE0-D7FC-AA3D-648C-FEC969627238}"/>
                    </a:ext>
                  </a:extLst>
                </p:cNvPr>
                <p:cNvSpPr/>
                <p:nvPr/>
              </p:nvSpPr>
              <p:spPr>
                <a:xfrm>
                  <a:off x="8173012" y="1175724"/>
                  <a:ext cx="32782" cy="33618"/>
                </a:xfrm>
                <a:custGeom>
                  <a:avLst/>
                  <a:gdLst>
                    <a:gd name="connsiteX0" fmla="*/ 10708 w 32782"/>
                    <a:gd name="connsiteY0" fmla="*/ 847 h 33618"/>
                    <a:gd name="connsiteX1" fmla="*/ 31934 w 32782"/>
                    <a:gd name="connsiteY1" fmla="*/ 11532 h 33618"/>
                    <a:gd name="connsiteX2" fmla="*/ 21227 w 32782"/>
                    <a:gd name="connsiteY2" fmla="*/ 32770 h 33618"/>
                    <a:gd name="connsiteX3" fmla="*/ 0 w 32782"/>
                    <a:gd name="connsiteY3" fmla="*/ 22062 h 3361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32782" h="33618">
                      <a:moveTo>
                        <a:pt x="10708" y="847"/>
                      </a:moveTo>
                      <a:cubicBezTo>
                        <a:pt x="19529" y="-2054"/>
                        <a:pt x="29033" y="2734"/>
                        <a:pt x="31934" y="11532"/>
                      </a:cubicBezTo>
                      <a:cubicBezTo>
                        <a:pt x="34835" y="20352"/>
                        <a:pt x="30059" y="29869"/>
                        <a:pt x="21227" y="32770"/>
                      </a:cubicBezTo>
                      <a:cubicBezTo>
                        <a:pt x="12418" y="35671"/>
                        <a:pt x="2901" y="30895"/>
                        <a:pt x="0" y="22062"/>
                      </a:cubicBez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713" name="Forma livre: Forma 712">
                <a:extLst>
                  <a:ext uri="{FF2B5EF4-FFF2-40B4-BE49-F238E27FC236}">
                    <a16:creationId xmlns:a16="http://schemas.microsoft.com/office/drawing/2014/main" id="{2E309799-821D-A4D3-8B21-0DB85662E952}"/>
                  </a:ext>
                </a:extLst>
              </p:cNvPr>
              <p:cNvSpPr/>
              <p:nvPr/>
            </p:nvSpPr>
            <p:spPr>
              <a:xfrm>
                <a:off x="8228285" y="1146886"/>
                <a:ext cx="32781" cy="33640"/>
              </a:xfrm>
              <a:custGeom>
                <a:avLst/>
                <a:gdLst>
                  <a:gd name="connsiteX0" fmla="*/ 10696 w 32781"/>
                  <a:gd name="connsiteY0" fmla="*/ 853 h 33640"/>
                  <a:gd name="connsiteX1" fmla="*/ 31934 w 32781"/>
                  <a:gd name="connsiteY1" fmla="*/ 11561 h 33640"/>
                  <a:gd name="connsiteX2" fmla="*/ 21239 w 32781"/>
                  <a:gd name="connsiteY2" fmla="*/ 32787 h 33640"/>
                  <a:gd name="connsiteX3" fmla="*/ 0 w 32781"/>
                  <a:gd name="connsiteY3" fmla="*/ 22091 h 336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2781" h="33640">
                    <a:moveTo>
                      <a:pt x="10696" y="853"/>
                    </a:moveTo>
                    <a:cubicBezTo>
                      <a:pt x="19505" y="-2060"/>
                      <a:pt x="29022" y="2728"/>
                      <a:pt x="31934" y="11561"/>
                    </a:cubicBezTo>
                    <a:cubicBezTo>
                      <a:pt x="34835" y="20370"/>
                      <a:pt x="30048" y="29875"/>
                      <a:pt x="21239" y="32787"/>
                    </a:cubicBezTo>
                    <a:cubicBezTo>
                      <a:pt x="12418" y="35700"/>
                      <a:pt x="2913" y="30912"/>
                      <a:pt x="0" y="22091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714" name="Gráfico 10">
            <a:extLst>
              <a:ext uri="{FF2B5EF4-FFF2-40B4-BE49-F238E27FC236}">
                <a16:creationId xmlns:a16="http://schemas.microsoft.com/office/drawing/2014/main" id="{5774F824-546B-63E8-4C53-CB7D926FBFA9}"/>
              </a:ext>
            </a:extLst>
          </p:cNvPr>
          <p:cNvGrpSpPr/>
          <p:nvPr/>
        </p:nvGrpSpPr>
        <p:grpSpPr>
          <a:xfrm>
            <a:off x="8088011" y="2558693"/>
            <a:ext cx="286525" cy="300794"/>
            <a:chOff x="8088011" y="2558693"/>
            <a:chExt cx="286525" cy="300794"/>
          </a:xfrm>
          <a:noFill/>
        </p:grpSpPr>
        <p:sp>
          <p:nvSpPr>
            <p:cNvPr id="715" name="Forma livre: Forma 714">
              <a:extLst>
                <a:ext uri="{FF2B5EF4-FFF2-40B4-BE49-F238E27FC236}">
                  <a16:creationId xmlns:a16="http://schemas.microsoft.com/office/drawing/2014/main" id="{F6AB27C8-BCA7-1B3B-C78C-1008535289F3}"/>
                </a:ext>
              </a:extLst>
            </p:cNvPr>
            <p:cNvSpPr/>
            <p:nvPr/>
          </p:nvSpPr>
          <p:spPr>
            <a:xfrm>
              <a:off x="8095889" y="2749120"/>
              <a:ext cx="278648" cy="110367"/>
            </a:xfrm>
            <a:custGeom>
              <a:avLst/>
              <a:gdLst>
                <a:gd name="connsiteX0" fmla="*/ 256030 w 278648"/>
                <a:gd name="connsiteY0" fmla="*/ 0 h 110367"/>
                <a:gd name="connsiteX1" fmla="*/ 265511 w 278648"/>
                <a:gd name="connsiteY1" fmla="*/ 0 h 110367"/>
                <a:gd name="connsiteX2" fmla="*/ 278648 w 278648"/>
                <a:gd name="connsiteY2" fmla="*/ 13137 h 110367"/>
                <a:gd name="connsiteX3" fmla="*/ 278648 w 278648"/>
                <a:gd name="connsiteY3" fmla="*/ 97230 h 110367"/>
                <a:gd name="connsiteX4" fmla="*/ 265499 w 278648"/>
                <a:gd name="connsiteY4" fmla="*/ 110367 h 110367"/>
                <a:gd name="connsiteX5" fmla="*/ 13137 w 278648"/>
                <a:gd name="connsiteY5" fmla="*/ 110367 h 110367"/>
                <a:gd name="connsiteX6" fmla="*/ 0 w 278648"/>
                <a:gd name="connsiteY6" fmla="*/ 97242 h 110367"/>
                <a:gd name="connsiteX7" fmla="*/ 0 w 278648"/>
                <a:gd name="connsiteY7" fmla="*/ 13149 h 110367"/>
                <a:gd name="connsiteX8" fmla="*/ 13161 w 278648"/>
                <a:gd name="connsiteY8" fmla="*/ 12 h 110367"/>
                <a:gd name="connsiteX9" fmla="*/ 182196 w 278648"/>
                <a:gd name="connsiteY9" fmla="*/ 12 h 1103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78648" h="110367">
                  <a:moveTo>
                    <a:pt x="256030" y="0"/>
                  </a:moveTo>
                  <a:lnTo>
                    <a:pt x="265511" y="0"/>
                  </a:lnTo>
                  <a:cubicBezTo>
                    <a:pt x="272740" y="0"/>
                    <a:pt x="278648" y="5920"/>
                    <a:pt x="278648" y="13137"/>
                  </a:cubicBezTo>
                  <a:lnTo>
                    <a:pt x="278648" y="97230"/>
                  </a:lnTo>
                  <a:cubicBezTo>
                    <a:pt x="278648" y="104459"/>
                    <a:pt x="272728" y="110367"/>
                    <a:pt x="265499" y="110367"/>
                  </a:cubicBezTo>
                  <a:lnTo>
                    <a:pt x="13137" y="110367"/>
                  </a:lnTo>
                  <a:cubicBezTo>
                    <a:pt x="5908" y="110379"/>
                    <a:pt x="0" y="104459"/>
                    <a:pt x="0" y="97242"/>
                  </a:cubicBezTo>
                  <a:lnTo>
                    <a:pt x="0" y="13149"/>
                  </a:lnTo>
                  <a:cubicBezTo>
                    <a:pt x="12" y="5920"/>
                    <a:pt x="5932" y="12"/>
                    <a:pt x="13161" y="12"/>
                  </a:cubicBezTo>
                  <a:lnTo>
                    <a:pt x="182196" y="12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716" name="Forma livre: Forma 715">
              <a:extLst>
                <a:ext uri="{FF2B5EF4-FFF2-40B4-BE49-F238E27FC236}">
                  <a16:creationId xmlns:a16="http://schemas.microsoft.com/office/drawing/2014/main" id="{C90AADA9-42EA-B9DB-9963-193A00045FBA}"/>
                </a:ext>
              </a:extLst>
            </p:cNvPr>
            <p:cNvSpPr/>
            <p:nvPr/>
          </p:nvSpPr>
          <p:spPr>
            <a:xfrm>
              <a:off x="8128460" y="2785560"/>
              <a:ext cx="131759" cy="37512"/>
            </a:xfrm>
            <a:custGeom>
              <a:avLst/>
              <a:gdLst>
                <a:gd name="connsiteX0" fmla="*/ 131759 w 131759"/>
                <a:gd name="connsiteY0" fmla="*/ 28750 h 37512"/>
                <a:gd name="connsiteX1" fmla="*/ 122997 w 131759"/>
                <a:gd name="connsiteY1" fmla="*/ 37512 h 37512"/>
                <a:gd name="connsiteX2" fmla="*/ 8762 w 131759"/>
                <a:gd name="connsiteY2" fmla="*/ 37512 h 37512"/>
                <a:gd name="connsiteX3" fmla="*/ 0 w 131759"/>
                <a:gd name="connsiteY3" fmla="*/ 28762 h 37512"/>
                <a:gd name="connsiteX4" fmla="*/ 0 w 131759"/>
                <a:gd name="connsiteY4" fmla="*/ 8762 h 37512"/>
                <a:gd name="connsiteX5" fmla="*/ 8774 w 131759"/>
                <a:gd name="connsiteY5" fmla="*/ 0 h 37512"/>
                <a:gd name="connsiteX6" fmla="*/ 122997 w 131759"/>
                <a:gd name="connsiteY6" fmla="*/ 0 h 37512"/>
                <a:gd name="connsiteX7" fmla="*/ 131759 w 131759"/>
                <a:gd name="connsiteY7" fmla="*/ 8750 h 37512"/>
                <a:gd name="connsiteX8" fmla="*/ 131759 w 131759"/>
                <a:gd name="connsiteY8" fmla="*/ 28750 h 375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31759" h="37512">
                  <a:moveTo>
                    <a:pt x="131759" y="28750"/>
                  </a:moveTo>
                  <a:cubicBezTo>
                    <a:pt x="131759" y="33574"/>
                    <a:pt x="127820" y="37512"/>
                    <a:pt x="122997" y="37512"/>
                  </a:cubicBezTo>
                  <a:lnTo>
                    <a:pt x="8762" y="37512"/>
                  </a:lnTo>
                  <a:cubicBezTo>
                    <a:pt x="3939" y="37512"/>
                    <a:pt x="0" y="33574"/>
                    <a:pt x="0" y="28762"/>
                  </a:cubicBezTo>
                  <a:lnTo>
                    <a:pt x="0" y="8762"/>
                  </a:lnTo>
                  <a:cubicBezTo>
                    <a:pt x="0" y="3939"/>
                    <a:pt x="3951" y="0"/>
                    <a:pt x="8774" y="0"/>
                  </a:cubicBezTo>
                  <a:lnTo>
                    <a:pt x="122997" y="0"/>
                  </a:lnTo>
                  <a:cubicBezTo>
                    <a:pt x="127820" y="0"/>
                    <a:pt x="131759" y="3939"/>
                    <a:pt x="131759" y="8750"/>
                  </a:cubicBezTo>
                  <a:lnTo>
                    <a:pt x="131759" y="28750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717" name="Forma livre: Forma 716">
              <a:extLst>
                <a:ext uri="{FF2B5EF4-FFF2-40B4-BE49-F238E27FC236}">
                  <a16:creationId xmlns:a16="http://schemas.microsoft.com/office/drawing/2014/main" id="{16BBEECB-4DB2-E55C-F8B0-9C4AFA3BF85A}"/>
                </a:ext>
              </a:extLst>
            </p:cNvPr>
            <p:cNvSpPr/>
            <p:nvPr/>
          </p:nvSpPr>
          <p:spPr>
            <a:xfrm>
              <a:off x="8288911" y="2776385"/>
              <a:ext cx="55849" cy="55849"/>
            </a:xfrm>
            <a:custGeom>
              <a:avLst/>
              <a:gdLst>
                <a:gd name="connsiteX0" fmla="*/ 27925 w 55849"/>
                <a:gd name="connsiteY0" fmla="*/ 0 h 55849"/>
                <a:gd name="connsiteX1" fmla="*/ 55850 w 55849"/>
                <a:gd name="connsiteY1" fmla="*/ 27925 h 55849"/>
                <a:gd name="connsiteX2" fmla="*/ 27925 w 55849"/>
                <a:gd name="connsiteY2" fmla="*/ 55850 h 55849"/>
                <a:gd name="connsiteX3" fmla="*/ 0 w 55849"/>
                <a:gd name="connsiteY3" fmla="*/ 27925 h 55849"/>
                <a:gd name="connsiteX4" fmla="*/ 27925 w 55849"/>
                <a:gd name="connsiteY4" fmla="*/ 0 h 558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849" h="55849">
                  <a:moveTo>
                    <a:pt x="27925" y="0"/>
                  </a:moveTo>
                  <a:cubicBezTo>
                    <a:pt x="43338" y="0"/>
                    <a:pt x="55850" y="12512"/>
                    <a:pt x="55850" y="27925"/>
                  </a:cubicBezTo>
                  <a:cubicBezTo>
                    <a:pt x="55850" y="43338"/>
                    <a:pt x="43338" y="55850"/>
                    <a:pt x="27925" y="55850"/>
                  </a:cubicBezTo>
                  <a:cubicBezTo>
                    <a:pt x="12512" y="55850"/>
                    <a:pt x="0" y="43350"/>
                    <a:pt x="0" y="27925"/>
                  </a:cubicBezTo>
                  <a:cubicBezTo>
                    <a:pt x="0" y="12500"/>
                    <a:pt x="12500" y="0"/>
                    <a:pt x="27925" y="0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718" name="Forma livre: Forma 717">
              <a:extLst>
                <a:ext uri="{FF2B5EF4-FFF2-40B4-BE49-F238E27FC236}">
                  <a16:creationId xmlns:a16="http://schemas.microsoft.com/office/drawing/2014/main" id="{76C65CB1-2F46-E0D0-3839-75A6D9E214B3}"/>
                </a:ext>
              </a:extLst>
            </p:cNvPr>
            <p:cNvSpPr/>
            <p:nvPr/>
          </p:nvSpPr>
          <p:spPr>
            <a:xfrm>
              <a:off x="8173991" y="2749816"/>
              <a:ext cx="1179" cy="18408"/>
            </a:xfrm>
            <a:custGeom>
              <a:avLst/>
              <a:gdLst>
                <a:gd name="connsiteX0" fmla="*/ 0 w 1179"/>
                <a:gd name="connsiteY0" fmla="*/ 18408 h 18408"/>
                <a:gd name="connsiteX1" fmla="*/ 0 w 1179"/>
                <a:gd name="connsiteY1" fmla="*/ 0 h 184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9" h="18408">
                  <a:moveTo>
                    <a:pt x="0" y="18408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719" name="Forma livre: Forma 718">
              <a:extLst>
                <a:ext uri="{FF2B5EF4-FFF2-40B4-BE49-F238E27FC236}">
                  <a16:creationId xmlns:a16="http://schemas.microsoft.com/office/drawing/2014/main" id="{29289ACB-E6C9-E79F-C895-BD15730CBFB2}"/>
                </a:ext>
              </a:extLst>
            </p:cNvPr>
            <p:cNvSpPr/>
            <p:nvPr/>
          </p:nvSpPr>
          <p:spPr>
            <a:xfrm>
              <a:off x="8217990" y="2749816"/>
              <a:ext cx="1179" cy="18408"/>
            </a:xfrm>
            <a:custGeom>
              <a:avLst/>
              <a:gdLst>
                <a:gd name="connsiteX0" fmla="*/ 0 w 1179"/>
                <a:gd name="connsiteY0" fmla="*/ 18408 h 18408"/>
                <a:gd name="connsiteX1" fmla="*/ 0 w 1179"/>
                <a:gd name="connsiteY1" fmla="*/ 0 h 184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9" h="18408">
                  <a:moveTo>
                    <a:pt x="0" y="18408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720" name="Forma livre: Forma 719">
              <a:extLst>
                <a:ext uri="{FF2B5EF4-FFF2-40B4-BE49-F238E27FC236}">
                  <a16:creationId xmlns:a16="http://schemas.microsoft.com/office/drawing/2014/main" id="{43115132-9C71-4FB8-C213-7E87664C6ABC}"/>
                </a:ext>
              </a:extLst>
            </p:cNvPr>
            <p:cNvSpPr/>
            <p:nvPr/>
          </p:nvSpPr>
          <p:spPr>
            <a:xfrm>
              <a:off x="8173991" y="2786185"/>
              <a:ext cx="1179" cy="36262"/>
            </a:xfrm>
            <a:custGeom>
              <a:avLst/>
              <a:gdLst>
                <a:gd name="connsiteX0" fmla="*/ 0 w 1179"/>
                <a:gd name="connsiteY0" fmla="*/ 36262 h 36262"/>
                <a:gd name="connsiteX1" fmla="*/ 0 w 1179"/>
                <a:gd name="connsiteY1" fmla="*/ 0 h 362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9" h="36262">
                  <a:moveTo>
                    <a:pt x="0" y="36262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721" name="Gráfico 10">
              <a:extLst>
                <a:ext uri="{FF2B5EF4-FFF2-40B4-BE49-F238E27FC236}">
                  <a16:creationId xmlns:a16="http://schemas.microsoft.com/office/drawing/2014/main" id="{098725ED-4C89-73E3-A743-FD02217C09DA}"/>
                </a:ext>
              </a:extLst>
            </p:cNvPr>
            <p:cNvGrpSpPr/>
            <p:nvPr/>
          </p:nvGrpSpPr>
          <p:grpSpPr>
            <a:xfrm>
              <a:off x="8088011" y="2558693"/>
              <a:ext cx="240304" cy="163293"/>
              <a:chOff x="8088011" y="2558693"/>
              <a:chExt cx="240304" cy="163293"/>
            </a:xfrm>
            <a:noFill/>
          </p:grpSpPr>
          <p:sp>
            <p:nvSpPr>
              <p:cNvPr id="722" name="Forma livre: Forma 721">
                <a:extLst>
                  <a:ext uri="{FF2B5EF4-FFF2-40B4-BE49-F238E27FC236}">
                    <a16:creationId xmlns:a16="http://schemas.microsoft.com/office/drawing/2014/main" id="{D57B7AFF-07D8-87F1-8C4B-C51CD1769EB5}"/>
                  </a:ext>
                </a:extLst>
              </p:cNvPr>
              <p:cNvSpPr/>
              <p:nvPr/>
            </p:nvSpPr>
            <p:spPr>
              <a:xfrm>
                <a:off x="8182911" y="2682730"/>
                <a:ext cx="46792" cy="39256"/>
              </a:xfrm>
              <a:custGeom>
                <a:avLst/>
                <a:gdLst>
                  <a:gd name="connsiteX0" fmla="*/ 39914 w 46792"/>
                  <a:gd name="connsiteY0" fmla="*/ 11637 h 39256"/>
                  <a:gd name="connsiteX1" fmla="*/ 45232 w 46792"/>
                  <a:gd name="connsiteY1" fmla="*/ 29456 h 39256"/>
                  <a:gd name="connsiteX2" fmla="*/ 43805 w 46792"/>
                  <a:gd name="connsiteY2" fmla="*/ 32168 h 39256"/>
                  <a:gd name="connsiteX3" fmla="*/ 26069 w 46792"/>
                  <a:gd name="connsiteY3" fmla="*/ 37770 h 39256"/>
                  <a:gd name="connsiteX4" fmla="*/ 6871 w 46792"/>
                  <a:gd name="connsiteY4" fmla="*/ 27605 h 39256"/>
                  <a:gd name="connsiteX5" fmla="*/ 1552 w 46792"/>
                  <a:gd name="connsiteY5" fmla="*/ 9798 h 39256"/>
                  <a:gd name="connsiteX6" fmla="*/ 2991 w 46792"/>
                  <a:gd name="connsiteY6" fmla="*/ 7085 h 39256"/>
                  <a:gd name="connsiteX7" fmla="*/ 20715 w 46792"/>
                  <a:gd name="connsiteY7" fmla="*/ 1484 h 39256"/>
                  <a:gd name="connsiteX8" fmla="*/ 39902 w 46792"/>
                  <a:gd name="connsiteY8" fmla="*/ 11649 h 392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6792" h="39256">
                    <a:moveTo>
                      <a:pt x="39914" y="11637"/>
                    </a:moveTo>
                    <a:cubicBezTo>
                      <a:pt x="46258" y="14998"/>
                      <a:pt x="48652" y="23006"/>
                      <a:pt x="45232" y="29456"/>
                    </a:cubicBezTo>
                    <a:lnTo>
                      <a:pt x="43805" y="32168"/>
                    </a:lnTo>
                    <a:cubicBezTo>
                      <a:pt x="40397" y="38595"/>
                      <a:pt x="32414" y="41131"/>
                      <a:pt x="26069" y="37770"/>
                    </a:cubicBezTo>
                    <a:lnTo>
                      <a:pt x="6871" y="27605"/>
                    </a:lnTo>
                    <a:cubicBezTo>
                      <a:pt x="538" y="24256"/>
                      <a:pt x="-1856" y="16225"/>
                      <a:pt x="1552" y="9798"/>
                    </a:cubicBezTo>
                    <a:lnTo>
                      <a:pt x="2991" y="7085"/>
                    </a:lnTo>
                    <a:cubicBezTo>
                      <a:pt x="6411" y="647"/>
                      <a:pt x="14383" y="-1865"/>
                      <a:pt x="20715" y="1484"/>
                    </a:cubicBezTo>
                    <a:lnTo>
                      <a:pt x="39902" y="11649"/>
                    </a:ln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23" name="Forma livre: Forma 722">
                <a:extLst>
                  <a:ext uri="{FF2B5EF4-FFF2-40B4-BE49-F238E27FC236}">
                    <a16:creationId xmlns:a16="http://schemas.microsoft.com/office/drawing/2014/main" id="{EAE42A71-A6D4-E049-DFDA-355F94F5D3EE}"/>
                  </a:ext>
                </a:extLst>
              </p:cNvPr>
              <p:cNvSpPr/>
              <p:nvPr/>
            </p:nvSpPr>
            <p:spPr>
              <a:xfrm>
                <a:off x="8196779" y="2656599"/>
                <a:ext cx="53886" cy="43034"/>
              </a:xfrm>
              <a:custGeom>
                <a:avLst/>
                <a:gdLst>
                  <a:gd name="connsiteX0" fmla="*/ 47025 w 53886"/>
                  <a:gd name="connsiteY0" fmla="*/ 15432 h 43034"/>
                  <a:gd name="connsiteX1" fmla="*/ 52331 w 53886"/>
                  <a:gd name="connsiteY1" fmla="*/ 33239 h 43034"/>
                  <a:gd name="connsiteX2" fmla="*/ 50905 w 53886"/>
                  <a:gd name="connsiteY2" fmla="*/ 35952 h 43034"/>
                  <a:gd name="connsiteX3" fmla="*/ 33192 w 53886"/>
                  <a:gd name="connsiteY3" fmla="*/ 41553 h 43034"/>
                  <a:gd name="connsiteX4" fmla="*/ 6871 w 53886"/>
                  <a:gd name="connsiteY4" fmla="*/ 27602 h 43034"/>
                  <a:gd name="connsiteX5" fmla="*/ 1552 w 53886"/>
                  <a:gd name="connsiteY5" fmla="*/ 9796 h 43034"/>
                  <a:gd name="connsiteX6" fmla="*/ 2991 w 53886"/>
                  <a:gd name="connsiteY6" fmla="*/ 7083 h 43034"/>
                  <a:gd name="connsiteX7" fmla="*/ 20715 w 53886"/>
                  <a:gd name="connsiteY7" fmla="*/ 1482 h 43034"/>
                  <a:gd name="connsiteX8" fmla="*/ 47037 w 53886"/>
                  <a:gd name="connsiteY8" fmla="*/ 15444 h 430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53886" h="43034">
                    <a:moveTo>
                      <a:pt x="47025" y="15432"/>
                    </a:moveTo>
                    <a:cubicBezTo>
                      <a:pt x="53357" y="18793"/>
                      <a:pt x="55739" y="26801"/>
                      <a:pt x="52331" y="33239"/>
                    </a:cubicBezTo>
                    <a:lnTo>
                      <a:pt x="50905" y="35952"/>
                    </a:lnTo>
                    <a:cubicBezTo>
                      <a:pt x="47496" y="42379"/>
                      <a:pt x="39525" y="44902"/>
                      <a:pt x="33192" y="41553"/>
                    </a:cubicBezTo>
                    <a:lnTo>
                      <a:pt x="6871" y="27602"/>
                    </a:lnTo>
                    <a:cubicBezTo>
                      <a:pt x="538" y="24242"/>
                      <a:pt x="-1856" y="16223"/>
                      <a:pt x="1552" y="9796"/>
                    </a:cubicBezTo>
                    <a:lnTo>
                      <a:pt x="2991" y="7083"/>
                    </a:lnTo>
                    <a:cubicBezTo>
                      <a:pt x="6399" y="656"/>
                      <a:pt x="14383" y="-1867"/>
                      <a:pt x="20715" y="1482"/>
                    </a:cubicBezTo>
                    <a:lnTo>
                      <a:pt x="47037" y="15444"/>
                    </a:ln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24" name="Forma livre: Forma 723">
                <a:extLst>
                  <a:ext uri="{FF2B5EF4-FFF2-40B4-BE49-F238E27FC236}">
                    <a16:creationId xmlns:a16="http://schemas.microsoft.com/office/drawing/2014/main" id="{2A921A70-ECEA-2C44-80E4-F85D38AB38EA}"/>
                  </a:ext>
                </a:extLst>
              </p:cNvPr>
              <p:cNvSpPr/>
              <p:nvPr/>
            </p:nvSpPr>
            <p:spPr>
              <a:xfrm>
                <a:off x="8229700" y="2604613"/>
                <a:ext cx="98615" cy="69273"/>
              </a:xfrm>
              <a:custGeom>
                <a:avLst/>
                <a:gdLst>
                  <a:gd name="connsiteX0" fmla="*/ 13125 w 98615"/>
                  <a:gd name="connsiteY0" fmla="*/ 0 h 69273"/>
                  <a:gd name="connsiteX1" fmla="*/ 91747 w 98615"/>
                  <a:gd name="connsiteY1" fmla="*/ 41663 h 69273"/>
                  <a:gd name="connsiteX2" fmla="*/ 97053 w 98615"/>
                  <a:gd name="connsiteY2" fmla="*/ 59470 h 69273"/>
                  <a:gd name="connsiteX3" fmla="*/ 95615 w 98615"/>
                  <a:gd name="connsiteY3" fmla="*/ 62183 h 69273"/>
                  <a:gd name="connsiteX4" fmla="*/ 77902 w 98615"/>
                  <a:gd name="connsiteY4" fmla="*/ 67784 h 69273"/>
                  <a:gd name="connsiteX5" fmla="*/ 0 w 98615"/>
                  <a:gd name="connsiteY5" fmla="*/ 26498 h 692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98615" h="69273">
                    <a:moveTo>
                      <a:pt x="13125" y="0"/>
                    </a:moveTo>
                    <a:lnTo>
                      <a:pt x="91747" y="41663"/>
                    </a:lnTo>
                    <a:cubicBezTo>
                      <a:pt x="98091" y="45024"/>
                      <a:pt x="100473" y="53043"/>
                      <a:pt x="97053" y="59470"/>
                    </a:cubicBezTo>
                    <a:lnTo>
                      <a:pt x="95615" y="62183"/>
                    </a:lnTo>
                    <a:cubicBezTo>
                      <a:pt x="92207" y="68621"/>
                      <a:pt x="84235" y="71145"/>
                      <a:pt x="77902" y="67784"/>
                    </a:cubicBezTo>
                    <a:lnTo>
                      <a:pt x="0" y="26498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25" name="Forma livre: Forma 724">
                <a:extLst>
                  <a:ext uri="{FF2B5EF4-FFF2-40B4-BE49-F238E27FC236}">
                    <a16:creationId xmlns:a16="http://schemas.microsoft.com/office/drawing/2014/main" id="{5720472C-75DE-2A5C-9554-99EFE97C9DAC}"/>
                  </a:ext>
                </a:extLst>
              </p:cNvPr>
              <p:cNvSpPr/>
              <p:nvPr/>
            </p:nvSpPr>
            <p:spPr>
              <a:xfrm>
                <a:off x="8217483" y="2631972"/>
                <a:ext cx="53605" cy="45046"/>
              </a:xfrm>
              <a:custGeom>
                <a:avLst/>
                <a:gdLst>
                  <a:gd name="connsiteX0" fmla="*/ 13833 w 53605"/>
                  <a:gd name="connsiteY0" fmla="*/ 0 h 45046"/>
                  <a:gd name="connsiteX1" fmla="*/ 46734 w 53605"/>
                  <a:gd name="connsiteY1" fmla="*/ 17430 h 45046"/>
                  <a:gd name="connsiteX2" fmla="*/ 52053 w 53605"/>
                  <a:gd name="connsiteY2" fmla="*/ 35248 h 45046"/>
                  <a:gd name="connsiteX3" fmla="*/ 50626 w 53605"/>
                  <a:gd name="connsiteY3" fmla="*/ 37961 h 45046"/>
                  <a:gd name="connsiteX4" fmla="*/ 32901 w 53605"/>
                  <a:gd name="connsiteY4" fmla="*/ 43562 h 45046"/>
                  <a:gd name="connsiteX5" fmla="*/ 0 w 53605"/>
                  <a:gd name="connsiteY5" fmla="*/ 26121 h 450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53605" h="45046">
                    <a:moveTo>
                      <a:pt x="13833" y="0"/>
                    </a:moveTo>
                    <a:lnTo>
                      <a:pt x="46734" y="17430"/>
                    </a:lnTo>
                    <a:cubicBezTo>
                      <a:pt x="53067" y="20790"/>
                      <a:pt x="55461" y="28798"/>
                      <a:pt x="52053" y="35248"/>
                    </a:cubicBezTo>
                    <a:lnTo>
                      <a:pt x="50626" y="37961"/>
                    </a:lnTo>
                    <a:cubicBezTo>
                      <a:pt x="47218" y="44399"/>
                      <a:pt x="39234" y="46911"/>
                      <a:pt x="32901" y="43562"/>
                    </a:cubicBezTo>
                    <a:lnTo>
                      <a:pt x="0" y="26121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26" name="Forma livre: Forma 725">
                <a:extLst>
                  <a:ext uri="{FF2B5EF4-FFF2-40B4-BE49-F238E27FC236}">
                    <a16:creationId xmlns:a16="http://schemas.microsoft.com/office/drawing/2014/main" id="{766AF12A-E29D-F002-EF5D-B3E631433230}"/>
                  </a:ext>
                </a:extLst>
              </p:cNvPr>
              <p:cNvSpPr/>
              <p:nvPr/>
            </p:nvSpPr>
            <p:spPr>
              <a:xfrm>
                <a:off x="8167470" y="2606665"/>
                <a:ext cx="41415" cy="20843"/>
              </a:xfrm>
              <a:custGeom>
                <a:avLst/>
                <a:gdLst>
                  <a:gd name="connsiteX0" fmla="*/ 0 w 41415"/>
                  <a:gd name="connsiteY0" fmla="*/ 20543 h 20843"/>
                  <a:gd name="connsiteX1" fmla="*/ 41416 w 41415"/>
                  <a:gd name="connsiteY1" fmla="*/ 0 h 208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1415" h="20843">
                    <a:moveTo>
                      <a:pt x="0" y="20543"/>
                    </a:moveTo>
                    <a:cubicBezTo>
                      <a:pt x="0" y="20543"/>
                      <a:pt x="28184" y="24953"/>
                      <a:pt x="41416" y="0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27" name="Forma livre: Forma 726">
                <a:extLst>
                  <a:ext uri="{FF2B5EF4-FFF2-40B4-BE49-F238E27FC236}">
                    <a16:creationId xmlns:a16="http://schemas.microsoft.com/office/drawing/2014/main" id="{5632208A-B7A8-9068-6117-5608AC621175}"/>
                  </a:ext>
                </a:extLst>
              </p:cNvPr>
              <p:cNvSpPr/>
              <p:nvPr/>
            </p:nvSpPr>
            <p:spPr>
              <a:xfrm>
                <a:off x="8088011" y="2630982"/>
                <a:ext cx="99529" cy="78149"/>
              </a:xfrm>
              <a:custGeom>
                <a:avLst/>
                <a:gdLst>
                  <a:gd name="connsiteX0" fmla="*/ 0 w 99529"/>
                  <a:gd name="connsiteY0" fmla="*/ 0 h 78149"/>
                  <a:gd name="connsiteX1" fmla="*/ 18691 w 99529"/>
                  <a:gd name="connsiteY1" fmla="*/ 9906 h 78149"/>
                  <a:gd name="connsiteX2" fmla="*/ 28432 w 99529"/>
                  <a:gd name="connsiteY2" fmla="*/ 31651 h 78149"/>
                  <a:gd name="connsiteX3" fmla="*/ 99530 w 99529"/>
                  <a:gd name="connsiteY3" fmla="*/ 78150 h 781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9529" h="78149">
                    <a:moveTo>
                      <a:pt x="0" y="0"/>
                    </a:moveTo>
                    <a:lnTo>
                      <a:pt x="18691" y="9906"/>
                    </a:lnTo>
                    <a:cubicBezTo>
                      <a:pt x="18691" y="9906"/>
                      <a:pt x="18856" y="20743"/>
                      <a:pt x="28432" y="31651"/>
                    </a:cubicBezTo>
                    <a:cubicBezTo>
                      <a:pt x="39564" y="44352"/>
                      <a:pt x="66699" y="60732"/>
                      <a:pt x="99530" y="78150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28" name="Forma livre: Forma 727">
                <a:extLst>
                  <a:ext uri="{FF2B5EF4-FFF2-40B4-BE49-F238E27FC236}">
                    <a16:creationId xmlns:a16="http://schemas.microsoft.com/office/drawing/2014/main" id="{B6325902-F18B-EEF0-BAAF-AEA7603D678B}"/>
                  </a:ext>
                </a:extLst>
              </p:cNvPr>
              <p:cNvSpPr/>
              <p:nvPr/>
            </p:nvSpPr>
            <p:spPr>
              <a:xfrm>
                <a:off x="8126337" y="2558693"/>
                <a:ext cx="120410" cy="95308"/>
              </a:xfrm>
              <a:custGeom>
                <a:avLst/>
                <a:gdLst>
                  <a:gd name="connsiteX0" fmla="*/ 87938 w 120410"/>
                  <a:gd name="connsiteY0" fmla="*/ 37890 h 95308"/>
                  <a:gd name="connsiteX1" fmla="*/ 74541 w 120410"/>
                  <a:gd name="connsiteY1" fmla="*/ 63173 h 95308"/>
                  <a:gd name="connsiteX2" fmla="*/ 88799 w 120410"/>
                  <a:gd name="connsiteY2" fmla="*/ 95308 h 95308"/>
                  <a:gd name="connsiteX3" fmla="*/ 117620 w 120410"/>
                  <a:gd name="connsiteY3" fmla="*/ 40932 h 95308"/>
                  <a:gd name="connsiteX4" fmla="*/ 118846 w 120410"/>
                  <a:gd name="connsiteY4" fmla="*/ 24022 h 95308"/>
                  <a:gd name="connsiteX5" fmla="*/ 78586 w 120410"/>
                  <a:gd name="connsiteY5" fmla="*/ 4469 h 95308"/>
                  <a:gd name="connsiteX6" fmla="*/ 32159 w 120410"/>
                  <a:gd name="connsiteY6" fmla="*/ 10012 h 95308"/>
                  <a:gd name="connsiteX7" fmla="*/ 18279 w 120410"/>
                  <a:gd name="connsiteY7" fmla="*/ 9682 h 95308"/>
                  <a:gd name="connsiteX8" fmla="*/ 0 w 120410"/>
                  <a:gd name="connsiteY8" fmla="*/ 0 h 953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20410" h="95308">
                    <a:moveTo>
                      <a:pt x="87938" y="37890"/>
                    </a:moveTo>
                    <a:lnTo>
                      <a:pt x="74541" y="63173"/>
                    </a:lnTo>
                    <a:cubicBezTo>
                      <a:pt x="64376" y="82360"/>
                      <a:pt x="88799" y="95308"/>
                      <a:pt x="88799" y="95308"/>
                    </a:cubicBezTo>
                    <a:cubicBezTo>
                      <a:pt x="88799" y="95308"/>
                      <a:pt x="114848" y="46156"/>
                      <a:pt x="117620" y="40932"/>
                    </a:cubicBezTo>
                    <a:cubicBezTo>
                      <a:pt x="123080" y="30625"/>
                      <a:pt x="118846" y="24022"/>
                      <a:pt x="118846" y="24022"/>
                    </a:cubicBezTo>
                    <a:cubicBezTo>
                      <a:pt x="100108" y="6368"/>
                      <a:pt x="78586" y="4469"/>
                      <a:pt x="78586" y="4469"/>
                    </a:cubicBezTo>
                    <a:cubicBezTo>
                      <a:pt x="70284" y="2889"/>
                      <a:pt x="32159" y="10012"/>
                      <a:pt x="32159" y="10012"/>
                    </a:cubicBezTo>
                    <a:cubicBezTo>
                      <a:pt x="24198" y="11769"/>
                      <a:pt x="18279" y="9682"/>
                      <a:pt x="18279" y="9682"/>
                    </a:cubicBezTo>
                    <a:lnTo>
                      <a:pt x="0" y="0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729" name="Forma livre: Forma 728">
              <a:extLst>
                <a:ext uri="{FF2B5EF4-FFF2-40B4-BE49-F238E27FC236}">
                  <a16:creationId xmlns:a16="http://schemas.microsoft.com/office/drawing/2014/main" id="{67CCBA59-824A-5748-1C1F-17721694E97F}"/>
                </a:ext>
              </a:extLst>
            </p:cNvPr>
            <p:cNvSpPr/>
            <p:nvPr/>
          </p:nvSpPr>
          <p:spPr>
            <a:xfrm>
              <a:off x="8295488" y="2695829"/>
              <a:ext cx="40331" cy="57477"/>
            </a:xfrm>
            <a:custGeom>
              <a:avLst/>
              <a:gdLst>
                <a:gd name="connsiteX0" fmla="*/ 33305 w 40331"/>
                <a:gd name="connsiteY0" fmla="*/ 19753 h 57477"/>
                <a:gd name="connsiteX1" fmla="*/ 20180 w 40331"/>
                <a:gd name="connsiteY1" fmla="*/ 0 h 57477"/>
                <a:gd name="connsiteX2" fmla="*/ 20180 w 40331"/>
                <a:gd name="connsiteY2" fmla="*/ 0 h 57477"/>
                <a:gd name="connsiteX3" fmla="*/ 7055 w 40331"/>
                <a:gd name="connsiteY3" fmla="*/ 19753 h 57477"/>
                <a:gd name="connsiteX4" fmla="*/ 20074 w 40331"/>
                <a:gd name="connsiteY4" fmla="*/ 57477 h 57477"/>
                <a:gd name="connsiteX5" fmla="*/ 20286 w 40331"/>
                <a:gd name="connsiteY5" fmla="*/ 57477 h 57477"/>
                <a:gd name="connsiteX6" fmla="*/ 33305 w 40331"/>
                <a:gd name="connsiteY6" fmla="*/ 19753 h 574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0331" h="57477">
                  <a:moveTo>
                    <a:pt x="33305" y="19753"/>
                  </a:moveTo>
                  <a:cubicBezTo>
                    <a:pt x="21394" y="5755"/>
                    <a:pt x="20286" y="696"/>
                    <a:pt x="20180" y="0"/>
                  </a:cubicBezTo>
                  <a:lnTo>
                    <a:pt x="20180" y="0"/>
                  </a:lnTo>
                  <a:cubicBezTo>
                    <a:pt x="20074" y="696"/>
                    <a:pt x="18965" y="5755"/>
                    <a:pt x="7055" y="19753"/>
                  </a:cubicBezTo>
                  <a:cubicBezTo>
                    <a:pt x="-6861" y="36097"/>
                    <a:pt x="1028" y="57430"/>
                    <a:pt x="20074" y="57477"/>
                  </a:cubicBezTo>
                  <a:lnTo>
                    <a:pt x="20286" y="57477"/>
                  </a:lnTo>
                  <a:cubicBezTo>
                    <a:pt x="39213" y="57430"/>
                    <a:pt x="47220" y="36097"/>
                    <a:pt x="33305" y="19753"/>
                  </a:cubicBez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730" name="Gráfico 10">
            <a:extLst>
              <a:ext uri="{FF2B5EF4-FFF2-40B4-BE49-F238E27FC236}">
                <a16:creationId xmlns:a16="http://schemas.microsoft.com/office/drawing/2014/main" id="{50ECF90B-F56A-F4B0-F1B8-8661BC3676AB}"/>
              </a:ext>
            </a:extLst>
          </p:cNvPr>
          <p:cNvGrpSpPr/>
          <p:nvPr/>
        </p:nvGrpSpPr>
        <p:grpSpPr>
          <a:xfrm>
            <a:off x="8068070" y="1500502"/>
            <a:ext cx="326420" cy="299581"/>
            <a:chOff x="8068070" y="1500502"/>
            <a:chExt cx="326420" cy="299581"/>
          </a:xfrm>
          <a:noFill/>
        </p:grpSpPr>
        <p:grpSp>
          <p:nvGrpSpPr>
            <p:cNvPr id="731" name="Gráfico 10">
              <a:extLst>
                <a:ext uri="{FF2B5EF4-FFF2-40B4-BE49-F238E27FC236}">
                  <a16:creationId xmlns:a16="http://schemas.microsoft.com/office/drawing/2014/main" id="{6A0BD595-75FA-9168-18F2-D5AA9CA7E1F4}"/>
                </a:ext>
              </a:extLst>
            </p:cNvPr>
            <p:cNvGrpSpPr/>
            <p:nvPr/>
          </p:nvGrpSpPr>
          <p:grpSpPr>
            <a:xfrm>
              <a:off x="8229499" y="1560776"/>
              <a:ext cx="164990" cy="239308"/>
              <a:chOff x="8229499" y="1560776"/>
              <a:chExt cx="164990" cy="239308"/>
            </a:xfrm>
            <a:noFill/>
          </p:grpSpPr>
          <p:sp>
            <p:nvSpPr>
              <p:cNvPr id="732" name="Forma livre: Forma 731">
                <a:extLst>
                  <a:ext uri="{FF2B5EF4-FFF2-40B4-BE49-F238E27FC236}">
                    <a16:creationId xmlns:a16="http://schemas.microsoft.com/office/drawing/2014/main" id="{5A39655A-9B6F-90D4-E48A-19548AC2F1F5}"/>
                  </a:ext>
                </a:extLst>
              </p:cNvPr>
              <p:cNvSpPr/>
              <p:nvPr/>
            </p:nvSpPr>
            <p:spPr>
              <a:xfrm>
                <a:off x="8303015" y="1600564"/>
                <a:ext cx="75850" cy="47500"/>
              </a:xfrm>
              <a:custGeom>
                <a:avLst/>
                <a:gdLst>
                  <a:gd name="connsiteX0" fmla="*/ 75850 w 75850"/>
                  <a:gd name="connsiteY0" fmla="*/ 47501 h 47500"/>
                  <a:gd name="connsiteX1" fmla="*/ 0 w 75850"/>
                  <a:gd name="connsiteY1" fmla="*/ 0 h 475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75850" h="47500">
                    <a:moveTo>
                      <a:pt x="75850" y="47501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733" name="Gráfico 10">
                <a:extLst>
                  <a:ext uri="{FF2B5EF4-FFF2-40B4-BE49-F238E27FC236}">
                    <a16:creationId xmlns:a16="http://schemas.microsoft.com/office/drawing/2014/main" id="{D18C3E42-E554-580F-1096-0857312F2905}"/>
                  </a:ext>
                </a:extLst>
              </p:cNvPr>
              <p:cNvGrpSpPr/>
              <p:nvPr/>
            </p:nvGrpSpPr>
            <p:grpSpPr>
              <a:xfrm>
                <a:off x="8229499" y="1560776"/>
                <a:ext cx="164990" cy="239308"/>
                <a:chOff x="8229499" y="1560776"/>
                <a:chExt cx="164990" cy="239308"/>
              </a:xfrm>
              <a:noFill/>
            </p:grpSpPr>
            <p:sp>
              <p:nvSpPr>
                <p:cNvPr id="734" name="Forma livre: Forma 733">
                  <a:extLst>
                    <a:ext uri="{FF2B5EF4-FFF2-40B4-BE49-F238E27FC236}">
                      <a16:creationId xmlns:a16="http://schemas.microsoft.com/office/drawing/2014/main" id="{B01D18CF-9B45-944C-274C-94553DFC4556}"/>
                    </a:ext>
                  </a:extLst>
                </p:cNvPr>
                <p:cNvSpPr/>
                <p:nvPr/>
              </p:nvSpPr>
              <p:spPr>
                <a:xfrm>
                  <a:off x="8339289" y="1560776"/>
                  <a:ext cx="55201" cy="34281"/>
                </a:xfrm>
                <a:custGeom>
                  <a:avLst/>
                  <a:gdLst>
                    <a:gd name="connsiteX0" fmla="*/ 55201 w 55201"/>
                    <a:gd name="connsiteY0" fmla="*/ 34281 h 34281"/>
                    <a:gd name="connsiteX1" fmla="*/ 0 w 55201"/>
                    <a:gd name="connsiteY1" fmla="*/ 0 h 3428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55201" h="34281">
                      <a:moveTo>
                        <a:pt x="55201" y="34281"/>
                      </a:moveTo>
                      <a:lnTo>
                        <a:pt x="0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grpSp>
              <p:nvGrpSpPr>
                <p:cNvPr id="735" name="Gráfico 10">
                  <a:extLst>
                    <a:ext uri="{FF2B5EF4-FFF2-40B4-BE49-F238E27FC236}">
                      <a16:creationId xmlns:a16="http://schemas.microsoft.com/office/drawing/2014/main" id="{2B33D560-D568-C67F-BE25-32B03F02F604}"/>
                    </a:ext>
                  </a:extLst>
                </p:cNvPr>
                <p:cNvGrpSpPr/>
                <p:nvPr/>
              </p:nvGrpSpPr>
              <p:grpSpPr>
                <a:xfrm>
                  <a:off x="8253780" y="1608230"/>
                  <a:ext cx="108905" cy="128940"/>
                  <a:chOff x="8253780" y="1608230"/>
                  <a:chExt cx="108905" cy="128940"/>
                </a:xfrm>
                <a:noFill/>
              </p:grpSpPr>
              <p:sp>
                <p:nvSpPr>
                  <p:cNvPr id="736" name="Forma livre: Forma 735">
                    <a:extLst>
                      <a:ext uri="{FF2B5EF4-FFF2-40B4-BE49-F238E27FC236}">
                        <a16:creationId xmlns:a16="http://schemas.microsoft.com/office/drawing/2014/main" id="{E33B1C2D-FB23-BCF9-49A8-EB85CB4A3B28}"/>
                      </a:ext>
                    </a:extLst>
                  </p:cNvPr>
                  <p:cNvSpPr/>
                  <p:nvPr/>
                </p:nvSpPr>
                <p:spPr>
                  <a:xfrm>
                    <a:off x="8253780" y="1608230"/>
                    <a:ext cx="108905" cy="128940"/>
                  </a:xfrm>
                  <a:custGeom>
                    <a:avLst/>
                    <a:gdLst>
                      <a:gd name="connsiteX0" fmla="*/ 61652 w 108905"/>
                      <a:gd name="connsiteY0" fmla="*/ 0 h 128940"/>
                      <a:gd name="connsiteX1" fmla="*/ 0 w 108905"/>
                      <a:gd name="connsiteY1" fmla="*/ 99601 h 128940"/>
                      <a:gd name="connsiteX2" fmla="*/ 47253 w 108905"/>
                      <a:gd name="connsiteY2" fmla="*/ 128941 h 128940"/>
                      <a:gd name="connsiteX3" fmla="*/ 108905 w 108905"/>
                      <a:gd name="connsiteY3" fmla="*/ 29352 h 12894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108905" h="128940">
                        <a:moveTo>
                          <a:pt x="61652" y="0"/>
                        </a:moveTo>
                        <a:lnTo>
                          <a:pt x="0" y="99601"/>
                        </a:lnTo>
                        <a:lnTo>
                          <a:pt x="47253" y="128941"/>
                        </a:lnTo>
                        <a:lnTo>
                          <a:pt x="108905" y="29352"/>
                        </a:lnTo>
                      </a:path>
                    </a:pathLst>
                  </a:custGeom>
                  <a:noFill/>
                  <a:ln w="6350" cap="flat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737" name="Forma livre: Forma 736">
                    <a:extLst>
                      <a:ext uri="{FF2B5EF4-FFF2-40B4-BE49-F238E27FC236}">
                        <a16:creationId xmlns:a16="http://schemas.microsoft.com/office/drawing/2014/main" id="{04C18A50-0976-25FD-89E6-BB24F31880F9}"/>
                      </a:ext>
                    </a:extLst>
                  </p:cNvPr>
                  <p:cNvSpPr/>
                  <p:nvPr/>
                </p:nvSpPr>
                <p:spPr>
                  <a:xfrm>
                    <a:off x="8328263" y="1653690"/>
                    <a:ext cx="16438" cy="10212"/>
                  </a:xfrm>
                  <a:custGeom>
                    <a:avLst/>
                    <a:gdLst>
                      <a:gd name="connsiteX0" fmla="*/ 16439 w 16438"/>
                      <a:gd name="connsiteY0" fmla="*/ 10212 h 10212"/>
                      <a:gd name="connsiteX1" fmla="*/ 0 w 16438"/>
                      <a:gd name="connsiteY1" fmla="*/ 0 h 1021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6438" h="10212">
                        <a:moveTo>
                          <a:pt x="16439" y="10212"/>
                        </a:moveTo>
                        <a:lnTo>
                          <a:pt x="0" y="0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738" name="Forma livre: Forma 737">
                    <a:extLst>
                      <a:ext uri="{FF2B5EF4-FFF2-40B4-BE49-F238E27FC236}">
                        <a16:creationId xmlns:a16="http://schemas.microsoft.com/office/drawing/2014/main" id="{522D41D8-FB88-FCCA-DB3C-9A8334E067B6}"/>
                      </a:ext>
                    </a:extLst>
                  </p:cNvPr>
                  <p:cNvSpPr/>
                  <p:nvPr/>
                </p:nvSpPr>
                <p:spPr>
                  <a:xfrm>
                    <a:off x="8313309" y="1677865"/>
                    <a:ext cx="16438" cy="10200"/>
                  </a:xfrm>
                  <a:custGeom>
                    <a:avLst/>
                    <a:gdLst>
                      <a:gd name="connsiteX0" fmla="*/ 16439 w 16438"/>
                      <a:gd name="connsiteY0" fmla="*/ 10201 h 10200"/>
                      <a:gd name="connsiteX1" fmla="*/ 0 w 16438"/>
                      <a:gd name="connsiteY1" fmla="*/ 0 h 1020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6438" h="10200">
                        <a:moveTo>
                          <a:pt x="16439" y="10201"/>
                        </a:moveTo>
                        <a:lnTo>
                          <a:pt x="0" y="0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739" name="Forma livre: Forma 738">
                    <a:extLst>
                      <a:ext uri="{FF2B5EF4-FFF2-40B4-BE49-F238E27FC236}">
                        <a16:creationId xmlns:a16="http://schemas.microsoft.com/office/drawing/2014/main" id="{AF60BE90-EFCB-0B01-D8A9-769D14E5123F}"/>
                      </a:ext>
                    </a:extLst>
                  </p:cNvPr>
                  <p:cNvSpPr/>
                  <p:nvPr/>
                </p:nvSpPr>
                <p:spPr>
                  <a:xfrm>
                    <a:off x="8298356" y="1702005"/>
                    <a:ext cx="16450" cy="10212"/>
                  </a:xfrm>
                  <a:custGeom>
                    <a:avLst/>
                    <a:gdLst>
                      <a:gd name="connsiteX0" fmla="*/ 16451 w 16450"/>
                      <a:gd name="connsiteY0" fmla="*/ 10212 h 10212"/>
                      <a:gd name="connsiteX1" fmla="*/ 0 w 16450"/>
                      <a:gd name="connsiteY1" fmla="*/ 0 h 1021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6450" h="10212">
                        <a:moveTo>
                          <a:pt x="16451" y="10212"/>
                        </a:moveTo>
                        <a:lnTo>
                          <a:pt x="0" y="0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  <p:grpSp>
              <p:nvGrpSpPr>
                <p:cNvPr id="740" name="Gráfico 10">
                  <a:extLst>
                    <a:ext uri="{FF2B5EF4-FFF2-40B4-BE49-F238E27FC236}">
                      <a16:creationId xmlns:a16="http://schemas.microsoft.com/office/drawing/2014/main" id="{506B54B3-8D81-F197-0DF6-899DEAA4CE75}"/>
                    </a:ext>
                  </a:extLst>
                </p:cNvPr>
                <p:cNvGrpSpPr/>
                <p:nvPr/>
              </p:nvGrpSpPr>
              <p:grpSpPr>
                <a:xfrm>
                  <a:off x="8327437" y="1570045"/>
                  <a:ext cx="52076" cy="59092"/>
                  <a:chOff x="8327437" y="1570045"/>
                  <a:chExt cx="52076" cy="59092"/>
                </a:xfrm>
              </p:grpSpPr>
              <p:sp>
                <p:nvSpPr>
                  <p:cNvPr id="741" name="Forma livre: Forma 740">
                    <a:extLst>
                      <a:ext uri="{FF2B5EF4-FFF2-40B4-BE49-F238E27FC236}">
                        <a16:creationId xmlns:a16="http://schemas.microsoft.com/office/drawing/2014/main" id="{8CE56AB3-373F-A453-EC0C-D7BECCA94583}"/>
                      </a:ext>
                    </a:extLst>
                  </p:cNvPr>
                  <p:cNvSpPr/>
                  <p:nvPr/>
                </p:nvSpPr>
                <p:spPr>
                  <a:xfrm>
                    <a:off x="8352614" y="1585682"/>
                    <a:ext cx="26899" cy="43455"/>
                  </a:xfrm>
                  <a:custGeom>
                    <a:avLst/>
                    <a:gdLst>
                      <a:gd name="connsiteX0" fmla="*/ 0 w 26899"/>
                      <a:gd name="connsiteY0" fmla="*/ 43456 h 43455"/>
                      <a:gd name="connsiteX1" fmla="*/ 26899 w 26899"/>
                      <a:gd name="connsiteY1" fmla="*/ 0 h 4345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26899" h="43455">
                        <a:moveTo>
                          <a:pt x="0" y="43456"/>
                        </a:moveTo>
                        <a:lnTo>
                          <a:pt x="26899" y="0"/>
                        </a:lnTo>
                      </a:path>
                    </a:pathLst>
                  </a:custGeom>
                  <a:ln w="6350" cap="flat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742" name="Forma livre: Forma 741">
                    <a:extLst>
                      <a:ext uri="{FF2B5EF4-FFF2-40B4-BE49-F238E27FC236}">
                        <a16:creationId xmlns:a16="http://schemas.microsoft.com/office/drawing/2014/main" id="{C941908E-F51D-7538-652E-65322295F9B7}"/>
                      </a:ext>
                    </a:extLst>
                  </p:cNvPr>
                  <p:cNvSpPr/>
                  <p:nvPr/>
                </p:nvSpPr>
                <p:spPr>
                  <a:xfrm>
                    <a:off x="8327437" y="1570045"/>
                    <a:ext cx="26899" cy="43467"/>
                  </a:xfrm>
                  <a:custGeom>
                    <a:avLst/>
                    <a:gdLst>
                      <a:gd name="connsiteX0" fmla="*/ 0 w 26899"/>
                      <a:gd name="connsiteY0" fmla="*/ 43468 h 43467"/>
                      <a:gd name="connsiteX1" fmla="*/ 26899 w 26899"/>
                      <a:gd name="connsiteY1" fmla="*/ 0 h 4346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26899" h="43467">
                        <a:moveTo>
                          <a:pt x="0" y="43468"/>
                        </a:moveTo>
                        <a:lnTo>
                          <a:pt x="26899" y="0"/>
                        </a:lnTo>
                      </a:path>
                    </a:pathLst>
                  </a:custGeom>
                  <a:ln w="6350" cap="flat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  <p:sp>
              <p:nvSpPr>
                <p:cNvPr id="743" name="Forma livre: Forma 742">
                  <a:extLst>
                    <a:ext uri="{FF2B5EF4-FFF2-40B4-BE49-F238E27FC236}">
                      <a16:creationId xmlns:a16="http://schemas.microsoft.com/office/drawing/2014/main" id="{A3F3945E-FCE9-63F0-02E7-DAF128BC604D}"/>
                    </a:ext>
                  </a:extLst>
                </p:cNvPr>
                <p:cNvSpPr/>
                <p:nvPr/>
              </p:nvSpPr>
              <p:spPr>
                <a:xfrm>
                  <a:off x="8229499" y="1755048"/>
                  <a:ext cx="27783" cy="45036"/>
                </a:xfrm>
                <a:custGeom>
                  <a:avLst/>
                  <a:gdLst>
                    <a:gd name="connsiteX0" fmla="*/ 27783 w 27783"/>
                    <a:gd name="connsiteY0" fmla="*/ 0 h 45036"/>
                    <a:gd name="connsiteX1" fmla="*/ 0 w 27783"/>
                    <a:gd name="connsiteY1" fmla="*/ 45036 h 4503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7783" h="45036">
                      <a:moveTo>
                        <a:pt x="27783" y="0"/>
                      </a:moveTo>
                      <a:lnTo>
                        <a:pt x="0" y="45036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744" name="Forma livre: Forma 743">
                  <a:extLst>
                    <a:ext uri="{FF2B5EF4-FFF2-40B4-BE49-F238E27FC236}">
                      <a16:creationId xmlns:a16="http://schemas.microsoft.com/office/drawing/2014/main" id="{29CB6110-BC37-6E53-5633-356E24EF23C7}"/>
                    </a:ext>
                  </a:extLst>
                </p:cNvPr>
                <p:cNvSpPr/>
                <p:nvPr/>
              </p:nvSpPr>
              <p:spPr>
                <a:xfrm>
                  <a:off x="8249488" y="1727677"/>
                  <a:ext cx="39293" cy="31238"/>
                </a:xfrm>
                <a:custGeom>
                  <a:avLst/>
                  <a:gdLst>
                    <a:gd name="connsiteX0" fmla="*/ 8219 w 39293"/>
                    <a:gd name="connsiteY0" fmla="*/ 5295 h 31238"/>
                    <a:gd name="connsiteX1" fmla="*/ 0 w 39293"/>
                    <a:gd name="connsiteY1" fmla="*/ 20342 h 31238"/>
                    <a:gd name="connsiteX2" fmla="*/ 17536 w 39293"/>
                    <a:gd name="connsiteY2" fmla="*/ 31239 h 31238"/>
                    <a:gd name="connsiteX3" fmla="*/ 39293 w 39293"/>
                    <a:gd name="connsiteY3" fmla="*/ 0 h 3123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39293" h="31238">
                      <a:moveTo>
                        <a:pt x="8219" y="5295"/>
                      </a:moveTo>
                      <a:lnTo>
                        <a:pt x="0" y="20342"/>
                      </a:lnTo>
                      <a:lnTo>
                        <a:pt x="17536" y="31239"/>
                      </a:lnTo>
                      <a:lnTo>
                        <a:pt x="39293" y="0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grpSp>
          <p:nvGrpSpPr>
            <p:cNvPr id="745" name="Gráfico 10">
              <a:extLst>
                <a:ext uri="{FF2B5EF4-FFF2-40B4-BE49-F238E27FC236}">
                  <a16:creationId xmlns:a16="http://schemas.microsoft.com/office/drawing/2014/main" id="{252038F2-D74B-07B4-86CB-04A3EED8A098}"/>
                </a:ext>
              </a:extLst>
            </p:cNvPr>
            <p:cNvGrpSpPr/>
            <p:nvPr/>
          </p:nvGrpSpPr>
          <p:grpSpPr>
            <a:xfrm>
              <a:off x="8068070" y="1500502"/>
              <a:ext cx="205498" cy="299581"/>
              <a:chOff x="8068070" y="1500502"/>
              <a:chExt cx="205498" cy="299581"/>
            </a:xfrm>
            <a:noFill/>
          </p:grpSpPr>
          <p:sp>
            <p:nvSpPr>
              <p:cNvPr id="746" name="Forma livre: Forma 745">
                <a:extLst>
                  <a:ext uri="{FF2B5EF4-FFF2-40B4-BE49-F238E27FC236}">
                    <a16:creationId xmlns:a16="http://schemas.microsoft.com/office/drawing/2014/main" id="{19CCD353-2CC0-EC49-79D4-C6657F9163B7}"/>
                  </a:ext>
                </a:extLst>
              </p:cNvPr>
              <p:cNvSpPr/>
              <p:nvPr/>
            </p:nvSpPr>
            <p:spPr>
              <a:xfrm>
                <a:off x="8068365" y="1549585"/>
                <a:ext cx="205203" cy="74140"/>
              </a:xfrm>
              <a:custGeom>
                <a:avLst/>
                <a:gdLst>
                  <a:gd name="connsiteX0" fmla="*/ 205204 w 205203"/>
                  <a:gd name="connsiteY0" fmla="*/ 74140 h 74140"/>
                  <a:gd name="connsiteX1" fmla="*/ 205204 w 205203"/>
                  <a:gd name="connsiteY1" fmla="*/ 13774 h 74140"/>
                  <a:gd name="connsiteX2" fmla="*/ 191430 w 205203"/>
                  <a:gd name="connsiteY2" fmla="*/ 0 h 74140"/>
                  <a:gd name="connsiteX3" fmla="*/ 0 w 205203"/>
                  <a:gd name="connsiteY3" fmla="*/ 0 h 741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05203" h="74140">
                    <a:moveTo>
                      <a:pt x="205204" y="74140"/>
                    </a:moveTo>
                    <a:lnTo>
                      <a:pt x="205204" y="13774"/>
                    </a:lnTo>
                    <a:cubicBezTo>
                      <a:pt x="205204" y="6203"/>
                      <a:pt x="199013" y="0"/>
                      <a:pt x="191430" y="0"/>
                    </a:cubicBezTo>
                    <a:lnTo>
                      <a:pt x="0" y="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47" name="Forma livre: Forma 746">
                <a:extLst>
                  <a:ext uri="{FF2B5EF4-FFF2-40B4-BE49-F238E27FC236}">
                    <a16:creationId xmlns:a16="http://schemas.microsoft.com/office/drawing/2014/main" id="{36E4B00E-B4FE-2A65-C850-5BC5138A8931}"/>
                  </a:ext>
                </a:extLst>
              </p:cNvPr>
              <p:cNvSpPr/>
              <p:nvPr/>
            </p:nvSpPr>
            <p:spPr>
              <a:xfrm>
                <a:off x="8068070" y="1500502"/>
                <a:ext cx="157938" cy="299581"/>
              </a:xfrm>
              <a:custGeom>
                <a:avLst/>
                <a:gdLst>
                  <a:gd name="connsiteX0" fmla="*/ 157939 w 157938"/>
                  <a:gd name="connsiteY0" fmla="*/ 26641 h 299581"/>
                  <a:gd name="connsiteX1" fmla="*/ 157939 w 157938"/>
                  <a:gd name="connsiteY1" fmla="*/ 13846 h 299581"/>
                  <a:gd name="connsiteX2" fmla="*/ 141677 w 157938"/>
                  <a:gd name="connsiteY2" fmla="*/ 615 h 299581"/>
                  <a:gd name="connsiteX3" fmla="*/ 0 w 157938"/>
                  <a:gd name="connsiteY3" fmla="*/ 49083 h 299581"/>
                  <a:gd name="connsiteX4" fmla="*/ 0 w 157938"/>
                  <a:gd name="connsiteY4" fmla="*/ 299582 h 299581"/>
                  <a:gd name="connsiteX5" fmla="*/ 138552 w 157938"/>
                  <a:gd name="connsiteY5" fmla="*/ 299582 h 2995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57938" h="299581">
                    <a:moveTo>
                      <a:pt x="157939" y="26641"/>
                    </a:moveTo>
                    <a:lnTo>
                      <a:pt x="157939" y="13846"/>
                    </a:lnTo>
                    <a:cubicBezTo>
                      <a:pt x="157939" y="3740"/>
                      <a:pt x="150085" y="-1956"/>
                      <a:pt x="141677" y="615"/>
                    </a:cubicBezTo>
                    <a:lnTo>
                      <a:pt x="0" y="49083"/>
                    </a:lnTo>
                    <a:lnTo>
                      <a:pt x="0" y="299582"/>
                    </a:lnTo>
                    <a:lnTo>
                      <a:pt x="138552" y="299582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48" name="Forma livre: Forma 747">
                <a:extLst>
                  <a:ext uri="{FF2B5EF4-FFF2-40B4-BE49-F238E27FC236}">
                    <a16:creationId xmlns:a16="http://schemas.microsoft.com/office/drawing/2014/main" id="{21C51AC4-4EB4-88FA-D6D5-A236B7323696}"/>
                  </a:ext>
                </a:extLst>
              </p:cNvPr>
              <p:cNvSpPr/>
              <p:nvPr/>
            </p:nvSpPr>
            <p:spPr>
              <a:xfrm>
                <a:off x="8131031" y="1762501"/>
                <a:ext cx="79576" cy="1179"/>
              </a:xfrm>
              <a:custGeom>
                <a:avLst/>
                <a:gdLst>
                  <a:gd name="connsiteX0" fmla="*/ 0 w 79576"/>
                  <a:gd name="connsiteY0" fmla="*/ 0 h 1179"/>
                  <a:gd name="connsiteX1" fmla="*/ 79577 w 79576"/>
                  <a:gd name="connsiteY1" fmla="*/ 0 h 11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79576" h="1179">
                    <a:moveTo>
                      <a:pt x="0" y="0"/>
                    </a:moveTo>
                    <a:lnTo>
                      <a:pt x="79577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749" name="Gráfico 10">
                <a:extLst>
                  <a:ext uri="{FF2B5EF4-FFF2-40B4-BE49-F238E27FC236}">
                    <a16:creationId xmlns:a16="http://schemas.microsoft.com/office/drawing/2014/main" id="{A4075182-B5E5-2CCF-AF58-9110FB251772}"/>
                  </a:ext>
                </a:extLst>
              </p:cNvPr>
              <p:cNvGrpSpPr/>
              <p:nvPr/>
            </p:nvGrpSpPr>
            <p:grpSpPr>
              <a:xfrm>
                <a:off x="8098471" y="1583371"/>
                <a:ext cx="144695" cy="144707"/>
                <a:chOff x="8098471" y="1583371"/>
                <a:chExt cx="144695" cy="144707"/>
              </a:xfrm>
              <a:noFill/>
            </p:grpSpPr>
            <p:sp>
              <p:nvSpPr>
                <p:cNvPr id="750" name="Forma livre: Forma 749">
                  <a:extLst>
                    <a:ext uri="{FF2B5EF4-FFF2-40B4-BE49-F238E27FC236}">
                      <a16:creationId xmlns:a16="http://schemas.microsoft.com/office/drawing/2014/main" id="{46C68DB2-BB6E-A9EC-C710-A286650E4D93}"/>
                    </a:ext>
                  </a:extLst>
                </p:cNvPr>
                <p:cNvSpPr/>
                <p:nvPr/>
              </p:nvSpPr>
              <p:spPr>
                <a:xfrm>
                  <a:off x="8170819" y="1583371"/>
                  <a:ext cx="1179" cy="144707"/>
                </a:xfrm>
                <a:custGeom>
                  <a:avLst/>
                  <a:gdLst>
                    <a:gd name="connsiteX0" fmla="*/ 0 w 1179"/>
                    <a:gd name="connsiteY0" fmla="*/ 144708 h 144707"/>
                    <a:gd name="connsiteX1" fmla="*/ 0 w 1179"/>
                    <a:gd name="connsiteY1" fmla="*/ 0 h 14470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179" h="144707">
                      <a:moveTo>
                        <a:pt x="0" y="144708"/>
                      </a:moveTo>
                      <a:lnTo>
                        <a:pt x="0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751" name="Forma livre: Forma 750">
                  <a:extLst>
                    <a:ext uri="{FF2B5EF4-FFF2-40B4-BE49-F238E27FC236}">
                      <a16:creationId xmlns:a16="http://schemas.microsoft.com/office/drawing/2014/main" id="{B99BB23E-C9FA-54B8-0606-145FB4028503}"/>
                    </a:ext>
                  </a:extLst>
                </p:cNvPr>
                <p:cNvSpPr/>
                <p:nvPr/>
              </p:nvSpPr>
              <p:spPr>
                <a:xfrm>
                  <a:off x="8098471" y="1656521"/>
                  <a:ext cx="144695" cy="1179"/>
                </a:xfrm>
                <a:custGeom>
                  <a:avLst/>
                  <a:gdLst>
                    <a:gd name="connsiteX0" fmla="*/ 144696 w 144695"/>
                    <a:gd name="connsiteY0" fmla="*/ 0 h 1179"/>
                    <a:gd name="connsiteX1" fmla="*/ 0 w 144695"/>
                    <a:gd name="connsiteY1" fmla="*/ 0 h 117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44695" h="1179">
                      <a:moveTo>
                        <a:pt x="144696" y="0"/>
                      </a:moveTo>
                      <a:lnTo>
                        <a:pt x="0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grpSp>
              <p:nvGrpSpPr>
                <p:cNvPr id="752" name="Gráfico 10">
                  <a:extLst>
                    <a:ext uri="{FF2B5EF4-FFF2-40B4-BE49-F238E27FC236}">
                      <a16:creationId xmlns:a16="http://schemas.microsoft.com/office/drawing/2014/main" id="{00196917-D282-BFDD-E976-5B9962E60570}"/>
                    </a:ext>
                  </a:extLst>
                </p:cNvPr>
                <p:cNvGrpSpPr/>
                <p:nvPr/>
              </p:nvGrpSpPr>
              <p:grpSpPr>
                <a:xfrm>
                  <a:off x="8134254" y="1586284"/>
                  <a:ext cx="73124" cy="139329"/>
                  <a:chOff x="8134254" y="1586284"/>
                  <a:chExt cx="73124" cy="139329"/>
                </a:xfrm>
                <a:noFill/>
              </p:grpSpPr>
              <p:sp>
                <p:nvSpPr>
                  <p:cNvPr id="753" name="Forma livre: Forma 752">
                    <a:extLst>
                      <a:ext uri="{FF2B5EF4-FFF2-40B4-BE49-F238E27FC236}">
                        <a16:creationId xmlns:a16="http://schemas.microsoft.com/office/drawing/2014/main" id="{C241E66F-28DF-44E8-5C9F-BEB0AE769E4E}"/>
                      </a:ext>
                    </a:extLst>
                  </p:cNvPr>
                  <p:cNvSpPr/>
                  <p:nvPr/>
                </p:nvSpPr>
                <p:spPr>
                  <a:xfrm>
                    <a:off x="8134254" y="1586284"/>
                    <a:ext cx="30833" cy="139329"/>
                  </a:xfrm>
                  <a:custGeom>
                    <a:avLst/>
                    <a:gdLst>
                      <a:gd name="connsiteX0" fmla="*/ 30834 w 30833"/>
                      <a:gd name="connsiteY0" fmla="*/ 0 h 139329"/>
                      <a:gd name="connsiteX1" fmla="*/ 30834 w 30833"/>
                      <a:gd name="connsiteY1" fmla="*/ 139330 h 13932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30833" h="139329">
                        <a:moveTo>
                          <a:pt x="30834" y="0"/>
                        </a:moveTo>
                        <a:cubicBezTo>
                          <a:pt x="30834" y="0"/>
                          <a:pt x="-38542" y="60166"/>
                          <a:pt x="30834" y="139330"/>
                        </a:cubicBezTo>
                      </a:path>
                    </a:pathLst>
                  </a:custGeom>
                  <a:noFill/>
                  <a:ln w="6350" cap="flat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754" name="Forma livre: Forma 753">
                    <a:extLst>
                      <a:ext uri="{FF2B5EF4-FFF2-40B4-BE49-F238E27FC236}">
                        <a16:creationId xmlns:a16="http://schemas.microsoft.com/office/drawing/2014/main" id="{C67ECABD-D0BB-F970-7180-2BD26855362C}"/>
                      </a:ext>
                    </a:extLst>
                  </p:cNvPr>
                  <p:cNvSpPr/>
                  <p:nvPr/>
                </p:nvSpPr>
                <p:spPr>
                  <a:xfrm>
                    <a:off x="8176550" y="1586284"/>
                    <a:ext cx="30828" cy="139329"/>
                  </a:xfrm>
                  <a:custGeom>
                    <a:avLst/>
                    <a:gdLst>
                      <a:gd name="connsiteX0" fmla="*/ 0 w 30828"/>
                      <a:gd name="connsiteY0" fmla="*/ 0 h 139329"/>
                      <a:gd name="connsiteX1" fmla="*/ 0 w 30828"/>
                      <a:gd name="connsiteY1" fmla="*/ 139330 h 13932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30828" h="139329">
                        <a:moveTo>
                          <a:pt x="0" y="0"/>
                        </a:moveTo>
                        <a:cubicBezTo>
                          <a:pt x="0" y="0"/>
                          <a:pt x="69364" y="60166"/>
                          <a:pt x="0" y="139330"/>
                        </a:cubicBezTo>
                      </a:path>
                    </a:pathLst>
                  </a:custGeom>
                  <a:noFill/>
                  <a:ln w="6350" cap="flat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  <p:sp>
              <p:nvSpPr>
                <p:cNvPr id="755" name="Forma livre: Forma 754">
                  <a:extLst>
                    <a:ext uri="{FF2B5EF4-FFF2-40B4-BE49-F238E27FC236}">
                      <a16:creationId xmlns:a16="http://schemas.microsoft.com/office/drawing/2014/main" id="{AA3F2DCF-3DA4-A052-6BA7-8620A627E323}"/>
                    </a:ext>
                  </a:extLst>
                </p:cNvPr>
                <p:cNvSpPr/>
                <p:nvPr/>
              </p:nvSpPr>
              <p:spPr>
                <a:xfrm>
                  <a:off x="8099474" y="1585128"/>
                  <a:ext cx="142690" cy="142690"/>
                </a:xfrm>
                <a:custGeom>
                  <a:avLst/>
                  <a:gdLst>
                    <a:gd name="connsiteX0" fmla="*/ 142691 w 142690"/>
                    <a:gd name="connsiteY0" fmla="*/ 71345 h 142690"/>
                    <a:gd name="connsiteX1" fmla="*/ 71345 w 142690"/>
                    <a:gd name="connsiteY1" fmla="*/ 142691 h 142690"/>
                    <a:gd name="connsiteX2" fmla="*/ 0 w 142690"/>
                    <a:gd name="connsiteY2" fmla="*/ 71345 h 142690"/>
                    <a:gd name="connsiteX3" fmla="*/ 71345 w 142690"/>
                    <a:gd name="connsiteY3" fmla="*/ 0 h 142690"/>
                    <a:gd name="connsiteX4" fmla="*/ 142691 w 142690"/>
                    <a:gd name="connsiteY4" fmla="*/ 71345 h 1426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42690" h="142690">
                      <a:moveTo>
                        <a:pt x="142691" y="71345"/>
                      </a:moveTo>
                      <a:cubicBezTo>
                        <a:pt x="142691" y="110757"/>
                        <a:pt x="110745" y="142691"/>
                        <a:pt x="71345" y="142691"/>
                      </a:cubicBezTo>
                      <a:cubicBezTo>
                        <a:pt x="31946" y="142691"/>
                        <a:pt x="0" y="110757"/>
                        <a:pt x="0" y="71345"/>
                      </a:cubicBezTo>
                      <a:cubicBezTo>
                        <a:pt x="0" y="31934"/>
                        <a:pt x="31946" y="0"/>
                        <a:pt x="71345" y="0"/>
                      </a:cubicBezTo>
                      <a:cubicBezTo>
                        <a:pt x="110745" y="0"/>
                        <a:pt x="142691" y="31946"/>
                        <a:pt x="142691" y="71345"/>
                      </a:cubicBezTo>
                      <a:close/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</p:grpSp>
      <p:grpSp>
        <p:nvGrpSpPr>
          <p:cNvPr id="756" name="Gráfico 10">
            <a:extLst>
              <a:ext uri="{FF2B5EF4-FFF2-40B4-BE49-F238E27FC236}">
                <a16:creationId xmlns:a16="http://schemas.microsoft.com/office/drawing/2014/main" id="{7338821B-FA23-B9B6-DA23-8F99AE225C68}"/>
              </a:ext>
            </a:extLst>
          </p:cNvPr>
          <p:cNvGrpSpPr/>
          <p:nvPr/>
        </p:nvGrpSpPr>
        <p:grpSpPr>
          <a:xfrm>
            <a:off x="9346592" y="2047034"/>
            <a:ext cx="224060" cy="311537"/>
            <a:chOff x="9346592" y="2047034"/>
            <a:chExt cx="224060" cy="311537"/>
          </a:xfrm>
          <a:noFill/>
        </p:grpSpPr>
        <p:grpSp>
          <p:nvGrpSpPr>
            <p:cNvPr id="757" name="Gráfico 10">
              <a:extLst>
                <a:ext uri="{FF2B5EF4-FFF2-40B4-BE49-F238E27FC236}">
                  <a16:creationId xmlns:a16="http://schemas.microsoft.com/office/drawing/2014/main" id="{4D8A04E8-79C3-2800-415E-CF82AE1A2A11}"/>
                </a:ext>
              </a:extLst>
            </p:cNvPr>
            <p:cNvGrpSpPr/>
            <p:nvPr/>
          </p:nvGrpSpPr>
          <p:grpSpPr>
            <a:xfrm>
              <a:off x="9346592" y="2047034"/>
              <a:ext cx="112442" cy="311537"/>
              <a:chOff x="9346592" y="2047034"/>
              <a:chExt cx="112442" cy="311537"/>
            </a:xfrm>
            <a:noFill/>
          </p:grpSpPr>
          <p:sp>
            <p:nvSpPr>
              <p:cNvPr id="758" name="Forma livre: Forma 757">
                <a:extLst>
                  <a:ext uri="{FF2B5EF4-FFF2-40B4-BE49-F238E27FC236}">
                    <a16:creationId xmlns:a16="http://schemas.microsoft.com/office/drawing/2014/main" id="{1275E049-2681-5C65-20CF-34396D392F8E}"/>
                  </a:ext>
                </a:extLst>
              </p:cNvPr>
              <p:cNvSpPr/>
              <p:nvPr/>
            </p:nvSpPr>
            <p:spPr>
              <a:xfrm>
                <a:off x="9402772" y="2072529"/>
                <a:ext cx="1179" cy="34245"/>
              </a:xfrm>
              <a:custGeom>
                <a:avLst/>
                <a:gdLst>
                  <a:gd name="connsiteX0" fmla="*/ 0 w 1179"/>
                  <a:gd name="connsiteY0" fmla="*/ 0 h 34245"/>
                  <a:gd name="connsiteX1" fmla="*/ 0 w 1179"/>
                  <a:gd name="connsiteY1" fmla="*/ 34246 h 342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79" h="34245">
                    <a:moveTo>
                      <a:pt x="0" y="0"/>
                    </a:moveTo>
                    <a:lnTo>
                      <a:pt x="0" y="34246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59" name="Forma livre: Forma 758">
                <a:extLst>
                  <a:ext uri="{FF2B5EF4-FFF2-40B4-BE49-F238E27FC236}">
                    <a16:creationId xmlns:a16="http://schemas.microsoft.com/office/drawing/2014/main" id="{F675E8FD-50E9-7607-4165-35DE080E4537}"/>
                  </a:ext>
                </a:extLst>
              </p:cNvPr>
              <p:cNvSpPr/>
              <p:nvPr/>
            </p:nvSpPr>
            <p:spPr>
              <a:xfrm>
                <a:off x="9374576" y="2072529"/>
                <a:ext cx="1179" cy="34245"/>
              </a:xfrm>
              <a:custGeom>
                <a:avLst/>
                <a:gdLst>
                  <a:gd name="connsiteX0" fmla="*/ 0 w 1179"/>
                  <a:gd name="connsiteY0" fmla="*/ 0 h 34245"/>
                  <a:gd name="connsiteX1" fmla="*/ 0 w 1179"/>
                  <a:gd name="connsiteY1" fmla="*/ 34246 h 342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79" h="34245">
                    <a:moveTo>
                      <a:pt x="0" y="0"/>
                    </a:moveTo>
                    <a:lnTo>
                      <a:pt x="0" y="34246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60" name="Forma livre: Forma 759">
                <a:extLst>
                  <a:ext uri="{FF2B5EF4-FFF2-40B4-BE49-F238E27FC236}">
                    <a16:creationId xmlns:a16="http://schemas.microsoft.com/office/drawing/2014/main" id="{A9E2DA6D-DF76-957E-C663-A30FC0D744F5}"/>
                  </a:ext>
                </a:extLst>
              </p:cNvPr>
              <p:cNvSpPr/>
              <p:nvPr/>
            </p:nvSpPr>
            <p:spPr>
              <a:xfrm>
                <a:off x="9346592" y="2047034"/>
                <a:ext cx="112442" cy="60590"/>
              </a:xfrm>
              <a:custGeom>
                <a:avLst/>
                <a:gdLst>
                  <a:gd name="connsiteX0" fmla="*/ 112443 w 112442"/>
                  <a:gd name="connsiteY0" fmla="*/ 60591 h 60590"/>
                  <a:gd name="connsiteX1" fmla="*/ 112443 w 112442"/>
                  <a:gd name="connsiteY1" fmla="*/ 12807 h 60590"/>
                  <a:gd name="connsiteX2" fmla="*/ 99636 w 112442"/>
                  <a:gd name="connsiteY2" fmla="*/ 0 h 60590"/>
                  <a:gd name="connsiteX3" fmla="*/ 12795 w 112442"/>
                  <a:gd name="connsiteY3" fmla="*/ 0 h 60590"/>
                  <a:gd name="connsiteX4" fmla="*/ 0 w 112442"/>
                  <a:gd name="connsiteY4" fmla="*/ 12807 h 60590"/>
                  <a:gd name="connsiteX5" fmla="*/ 0 w 112442"/>
                  <a:gd name="connsiteY5" fmla="*/ 60591 h 60590"/>
                  <a:gd name="connsiteX6" fmla="*/ 84376 w 112442"/>
                  <a:gd name="connsiteY6" fmla="*/ 60591 h 60590"/>
                  <a:gd name="connsiteX7" fmla="*/ 84376 w 112442"/>
                  <a:gd name="connsiteY7" fmla="*/ 25496 h 605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12442" h="60590">
                    <a:moveTo>
                      <a:pt x="112443" y="60591"/>
                    </a:moveTo>
                    <a:lnTo>
                      <a:pt x="112443" y="12807"/>
                    </a:lnTo>
                    <a:cubicBezTo>
                      <a:pt x="112443" y="5767"/>
                      <a:pt x="106676" y="0"/>
                      <a:pt x="99636" y="0"/>
                    </a:cubicBezTo>
                    <a:lnTo>
                      <a:pt x="12795" y="0"/>
                    </a:lnTo>
                    <a:cubicBezTo>
                      <a:pt x="5767" y="0"/>
                      <a:pt x="0" y="5755"/>
                      <a:pt x="0" y="12807"/>
                    </a:cubicBezTo>
                    <a:lnTo>
                      <a:pt x="0" y="60591"/>
                    </a:lnTo>
                    <a:lnTo>
                      <a:pt x="84376" y="60591"/>
                    </a:lnTo>
                    <a:lnTo>
                      <a:pt x="84376" y="25496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61" name="Forma livre: Forma 760">
                <a:extLst>
                  <a:ext uri="{FF2B5EF4-FFF2-40B4-BE49-F238E27FC236}">
                    <a16:creationId xmlns:a16="http://schemas.microsoft.com/office/drawing/2014/main" id="{0D916F4D-1FDA-59ED-672A-AE70A9B029B5}"/>
                  </a:ext>
                </a:extLst>
              </p:cNvPr>
              <p:cNvSpPr/>
              <p:nvPr/>
            </p:nvSpPr>
            <p:spPr>
              <a:xfrm>
                <a:off x="9356816" y="2110915"/>
                <a:ext cx="77312" cy="247657"/>
              </a:xfrm>
              <a:custGeom>
                <a:avLst/>
                <a:gdLst>
                  <a:gd name="connsiteX0" fmla="*/ 77313 w 77312"/>
                  <a:gd name="connsiteY0" fmla="*/ 234945 h 247657"/>
                  <a:gd name="connsiteX1" fmla="*/ 45991 w 77312"/>
                  <a:gd name="connsiteY1" fmla="*/ 247657 h 247657"/>
                  <a:gd name="connsiteX2" fmla="*/ 0 w 77312"/>
                  <a:gd name="connsiteY2" fmla="*/ 200487 h 247657"/>
                  <a:gd name="connsiteX3" fmla="*/ 0 w 77312"/>
                  <a:gd name="connsiteY3" fmla="*/ 0 h 2476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7312" h="247657">
                    <a:moveTo>
                      <a:pt x="77313" y="234945"/>
                    </a:moveTo>
                    <a:cubicBezTo>
                      <a:pt x="69081" y="242822"/>
                      <a:pt x="58055" y="247657"/>
                      <a:pt x="45991" y="247657"/>
                    </a:cubicBezTo>
                    <a:cubicBezTo>
                      <a:pt x="20696" y="247657"/>
                      <a:pt x="0" y="226430"/>
                      <a:pt x="0" y="200487"/>
                    </a:cubicBezTo>
                    <a:lnTo>
                      <a:pt x="0" y="0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62" name="Forma livre: Forma 761">
                <a:extLst>
                  <a:ext uri="{FF2B5EF4-FFF2-40B4-BE49-F238E27FC236}">
                    <a16:creationId xmlns:a16="http://schemas.microsoft.com/office/drawing/2014/main" id="{FAF0987E-3895-1561-A536-AA48AB98CFF3}"/>
                  </a:ext>
                </a:extLst>
              </p:cNvPr>
              <p:cNvSpPr/>
              <p:nvPr/>
            </p:nvSpPr>
            <p:spPr>
              <a:xfrm>
                <a:off x="9448799" y="2136068"/>
                <a:ext cx="1179" cy="93326"/>
              </a:xfrm>
              <a:custGeom>
                <a:avLst/>
                <a:gdLst>
                  <a:gd name="connsiteX0" fmla="*/ 0 w 1179"/>
                  <a:gd name="connsiteY0" fmla="*/ 0 h 93326"/>
                  <a:gd name="connsiteX1" fmla="*/ 0 w 1179"/>
                  <a:gd name="connsiteY1" fmla="*/ 93327 h 933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79" h="93326">
                    <a:moveTo>
                      <a:pt x="0" y="0"/>
                    </a:moveTo>
                    <a:lnTo>
                      <a:pt x="0" y="93327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63" name="Forma livre: Forma 762">
                <a:extLst>
                  <a:ext uri="{FF2B5EF4-FFF2-40B4-BE49-F238E27FC236}">
                    <a16:creationId xmlns:a16="http://schemas.microsoft.com/office/drawing/2014/main" id="{CE3547CC-756A-9C2F-B8B7-9312799CAD63}"/>
                  </a:ext>
                </a:extLst>
              </p:cNvPr>
              <p:cNvSpPr/>
              <p:nvPr/>
            </p:nvSpPr>
            <p:spPr>
              <a:xfrm>
                <a:off x="9358019" y="2156387"/>
                <a:ext cx="58184" cy="124223"/>
              </a:xfrm>
              <a:custGeom>
                <a:avLst/>
                <a:gdLst>
                  <a:gd name="connsiteX0" fmla="*/ 0 w 58184"/>
                  <a:gd name="connsiteY0" fmla="*/ 124224 h 124223"/>
                  <a:gd name="connsiteX1" fmla="*/ 48751 w 58184"/>
                  <a:gd name="connsiteY1" fmla="*/ 124224 h 124223"/>
                  <a:gd name="connsiteX2" fmla="*/ 58185 w 58184"/>
                  <a:gd name="connsiteY2" fmla="*/ 114790 h 124223"/>
                  <a:gd name="connsiteX3" fmla="*/ 58185 w 58184"/>
                  <a:gd name="connsiteY3" fmla="*/ 9434 h 124223"/>
                  <a:gd name="connsiteX4" fmla="*/ 48751 w 58184"/>
                  <a:gd name="connsiteY4" fmla="*/ 0 h 124223"/>
                  <a:gd name="connsiteX5" fmla="*/ 0 w 58184"/>
                  <a:gd name="connsiteY5" fmla="*/ 0 h 1242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58184" h="124223">
                    <a:moveTo>
                      <a:pt x="0" y="124224"/>
                    </a:moveTo>
                    <a:lnTo>
                      <a:pt x="48751" y="124224"/>
                    </a:lnTo>
                    <a:cubicBezTo>
                      <a:pt x="53940" y="124224"/>
                      <a:pt x="58185" y="119978"/>
                      <a:pt x="58185" y="114790"/>
                    </a:cubicBezTo>
                    <a:lnTo>
                      <a:pt x="58185" y="9434"/>
                    </a:lnTo>
                    <a:cubicBezTo>
                      <a:pt x="58185" y="4245"/>
                      <a:pt x="53940" y="0"/>
                      <a:pt x="48751" y="0"/>
                    </a:cubicBezTo>
                    <a:lnTo>
                      <a:pt x="0" y="0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764" name="Gráfico 10">
                <a:extLst>
                  <a:ext uri="{FF2B5EF4-FFF2-40B4-BE49-F238E27FC236}">
                    <a16:creationId xmlns:a16="http://schemas.microsoft.com/office/drawing/2014/main" id="{EEF62B64-C0D6-2480-05A4-2EDBEA451BF2}"/>
                  </a:ext>
                </a:extLst>
              </p:cNvPr>
              <p:cNvGrpSpPr/>
              <p:nvPr/>
            </p:nvGrpSpPr>
            <p:grpSpPr>
              <a:xfrm>
                <a:off x="9356710" y="2188923"/>
                <a:ext cx="32347" cy="59151"/>
                <a:chOff x="9356710" y="2188923"/>
                <a:chExt cx="32347" cy="59151"/>
              </a:xfrm>
            </p:grpSpPr>
            <p:sp>
              <p:nvSpPr>
                <p:cNvPr id="765" name="Forma livre: Forma 764">
                  <a:extLst>
                    <a:ext uri="{FF2B5EF4-FFF2-40B4-BE49-F238E27FC236}">
                      <a16:creationId xmlns:a16="http://schemas.microsoft.com/office/drawing/2014/main" id="{057DFF7B-EE29-9637-336F-EB24FAEBB869}"/>
                    </a:ext>
                  </a:extLst>
                </p:cNvPr>
                <p:cNvSpPr/>
                <p:nvPr/>
              </p:nvSpPr>
              <p:spPr>
                <a:xfrm>
                  <a:off x="9356710" y="2188923"/>
                  <a:ext cx="32347" cy="1179"/>
                </a:xfrm>
                <a:custGeom>
                  <a:avLst/>
                  <a:gdLst>
                    <a:gd name="connsiteX0" fmla="*/ 32347 w 32347"/>
                    <a:gd name="connsiteY0" fmla="*/ 0 h 1179"/>
                    <a:gd name="connsiteX1" fmla="*/ 0 w 32347"/>
                    <a:gd name="connsiteY1" fmla="*/ 0 h 117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32347" h="1179">
                      <a:moveTo>
                        <a:pt x="32347" y="0"/>
                      </a:moveTo>
                      <a:lnTo>
                        <a:pt x="0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766" name="Forma livre: Forma 765">
                  <a:extLst>
                    <a:ext uri="{FF2B5EF4-FFF2-40B4-BE49-F238E27FC236}">
                      <a16:creationId xmlns:a16="http://schemas.microsoft.com/office/drawing/2014/main" id="{3C59095C-AAA9-A176-0AD6-0DFA18E34A3B}"/>
                    </a:ext>
                  </a:extLst>
                </p:cNvPr>
                <p:cNvSpPr/>
                <p:nvPr/>
              </p:nvSpPr>
              <p:spPr>
                <a:xfrm>
                  <a:off x="9356710" y="2218499"/>
                  <a:ext cx="32347" cy="1179"/>
                </a:xfrm>
                <a:custGeom>
                  <a:avLst/>
                  <a:gdLst>
                    <a:gd name="connsiteX0" fmla="*/ 32347 w 32347"/>
                    <a:gd name="connsiteY0" fmla="*/ 0 h 1179"/>
                    <a:gd name="connsiteX1" fmla="*/ 0 w 32347"/>
                    <a:gd name="connsiteY1" fmla="*/ 0 h 117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32347" h="1179">
                      <a:moveTo>
                        <a:pt x="32347" y="0"/>
                      </a:moveTo>
                      <a:lnTo>
                        <a:pt x="0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767" name="Forma livre: Forma 766">
                  <a:extLst>
                    <a:ext uri="{FF2B5EF4-FFF2-40B4-BE49-F238E27FC236}">
                      <a16:creationId xmlns:a16="http://schemas.microsoft.com/office/drawing/2014/main" id="{FB2D5507-18BB-3EDF-4563-65B75711F5B1}"/>
                    </a:ext>
                  </a:extLst>
                </p:cNvPr>
                <p:cNvSpPr/>
                <p:nvPr/>
              </p:nvSpPr>
              <p:spPr>
                <a:xfrm>
                  <a:off x="9356710" y="2248075"/>
                  <a:ext cx="32347" cy="1179"/>
                </a:xfrm>
                <a:custGeom>
                  <a:avLst/>
                  <a:gdLst>
                    <a:gd name="connsiteX0" fmla="*/ 32347 w 32347"/>
                    <a:gd name="connsiteY0" fmla="*/ 0 h 1179"/>
                    <a:gd name="connsiteX1" fmla="*/ 0 w 32347"/>
                    <a:gd name="connsiteY1" fmla="*/ 0 h 117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32347" h="1179">
                      <a:moveTo>
                        <a:pt x="32347" y="0"/>
                      </a:moveTo>
                      <a:lnTo>
                        <a:pt x="0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grpSp>
          <p:nvGrpSpPr>
            <p:cNvPr id="768" name="Gráfico 10">
              <a:extLst>
                <a:ext uri="{FF2B5EF4-FFF2-40B4-BE49-F238E27FC236}">
                  <a16:creationId xmlns:a16="http://schemas.microsoft.com/office/drawing/2014/main" id="{EEC9DC9D-B861-FBE2-1582-141CA640DE60}"/>
                </a:ext>
              </a:extLst>
            </p:cNvPr>
            <p:cNvGrpSpPr/>
            <p:nvPr/>
          </p:nvGrpSpPr>
          <p:grpSpPr>
            <a:xfrm>
              <a:off x="9442584" y="2230504"/>
              <a:ext cx="128068" cy="128068"/>
              <a:chOff x="9442584" y="2230504"/>
              <a:chExt cx="128068" cy="128068"/>
            </a:xfrm>
            <a:noFill/>
          </p:grpSpPr>
          <p:sp>
            <p:nvSpPr>
              <p:cNvPr id="769" name="Forma livre: Forma 768">
                <a:extLst>
                  <a:ext uri="{FF2B5EF4-FFF2-40B4-BE49-F238E27FC236}">
                    <a16:creationId xmlns:a16="http://schemas.microsoft.com/office/drawing/2014/main" id="{811DE156-F976-7F91-E932-C22F06CA77F0}"/>
                  </a:ext>
                </a:extLst>
              </p:cNvPr>
              <p:cNvSpPr/>
              <p:nvPr/>
            </p:nvSpPr>
            <p:spPr>
              <a:xfrm>
                <a:off x="9442584" y="2230504"/>
                <a:ext cx="128068" cy="128068"/>
              </a:xfrm>
              <a:custGeom>
                <a:avLst/>
                <a:gdLst>
                  <a:gd name="connsiteX0" fmla="*/ 33597 w 128068"/>
                  <a:gd name="connsiteY0" fmla="*/ 7677 h 128068"/>
                  <a:gd name="connsiteX1" fmla="*/ 64034 w 128068"/>
                  <a:gd name="connsiteY1" fmla="*/ 0 h 128068"/>
                  <a:gd name="connsiteX2" fmla="*/ 128068 w 128068"/>
                  <a:gd name="connsiteY2" fmla="*/ 64034 h 128068"/>
                  <a:gd name="connsiteX3" fmla="*/ 64034 w 128068"/>
                  <a:gd name="connsiteY3" fmla="*/ 128068 h 128068"/>
                  <a:gd name="connsiteX4" fmla="*/ 0 w 128068"/>
                  <a:gd name="connsiteY4" fmla="*/ 64034 h 128068"/>
                  <a:gd name="connsiteX5" fmla="*/ 10826 w 128068"/>
                  <a:gd name="connsiteY5" fmla="*/ 28397 h 1280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28068" h="128068">
                    <a:moveTo>
                      <a:pt x="33597" y="7677"/>
                    </a:moveTo>
                    <a:cubicBezTo>
                      <a:pt x="42654" y="2783"/>
                      <a:pt x="53032" y="0"/>
                      <a:pt x="64034" y="0"/>
                    </a:cubicBezTo>
                    <a:cubicBezTo>
                      <a:pt x="99388" y="0"/>
                      <a:pt x="128068" y="28668"/>
                      <a:pt x="128068" y="64034"/>
                    </a:cubicBezTo>
                    <a:cubicBezTo>
                      <a:pt x="128068" y="99400"/>
                      <a:pt x="99388" y="128068"/>
                      <a:pt x="64034" y="128068"/>
                    </a:cubicBezTo>
                    <a:cubicBezTo>
                      <a:pt x="28680" y="128068"/>
                      <a:pt x="0" y="99388"/>
                      <a:pt x="0" y="64034"/>
                    </a:cubicBezTo>
                    <a:cubicBezTo>
                      <a:pt x="0" y="50838"/>
                      <a:pt x="3986" y="38574"/>
                      <a:pt x="10826" y="28397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770" name="Gráfico 10">
                <a:extLst>
                  <a:ext uri="{FF2B5EF4-FFF2-40B4-BE49-F238E27FC236}">
                    <a16:creationId xmlns:a16="http://schemas.microsoft.com/office/drawing/2014/main" id="{B0F77847-8419-749B-A83C-0E22CE6C3A8B}"/>
                  </a:ext>
                </a:extLst>
              </p:cNvPr>
              <p:cNvGrpSpPr/>
              <p:nvPr/>
            </p:nvGrpSpPr>
            <p:grpSpPr>
              <a:xfrm>
                <a:off x="9482844" y="2270752"/>
                <a:ext cx="47559" cy="47571"/>
                <a:chOff x="9482844" y="2270752"/>
                <a:chExt cx="47559" cy="47571"/>
              </a:xfrm>
            </p:grpSpPr>
            <p:sp>
              <p:nvSpPr>
                <p:cNvPr id="771" name="Forma livre: Forma 770">
                  <a:extLst>
                    <a:ext uri="{FF2B5EF4-FFF2-40B4-BE49-F238E27FC236}">
                      <a16:creationId xmlns:a16="http://schemas.microsoft.com/office/drawing/2014/main" id="{CE4F04C8-C1BD-5EBE-3CED-2F5CF362ECA7}"/>
                    </a:ext>
                  </a:extLst>
                </p:cNvPr>
                <p:cNvSpPr/>
                <p:nvPr/>
              </p:nvSpPr>
              <p:spPr>
                <a:xfrm>
                  <a:off x="9482844" y="2270752"/>
                  <a:ext cx="47559" cy="47571"/>
                </a:xfrm>
                <a:custGeom>
                  <a:avLst/>
                  <a:gdLst>
                    <a:gd name="connsiteX0" fmla="*/ 47560 w 47559"/>
                    <a:gd name="connsiteY0" fmla="*/ 0 h 47571"/>
                    <a:gd name="connsiteX1" fmla="*/ 0 w 47559"/>
                    <a:gd name="connsiteY1" fmla="*/ 47571 h 475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7559" h="47571">
                      <a:moveTo>
                        <a:pt x="47560" y="0"/>
                      </a:moveTo>
                      <a:lnTo>
                        <a:pt x="0" y="47571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772" name="Forma livre: Forma 771">
                  <a:extLst>
                    <a:ext uri="{FF2B5EF4-FFF2-40B4-BE49-F238E27FC236}">
                      <a16:creationId xmlns:a16="http://schemas.microsoft.com/office/drawing/2014/main" id="{7CEBC5C7-2080-1F2F-BD01-4D71EEE2CC60}"/>
                    </a:ext>
                  </a:extLst>
                </p:cNvPr>
                <p:cNvSpPr/>
                <p:nvPr/>
              </p:nvSpPr>
              <p:spPr>
                <a:xfrm>
                  <a:off x="9482844" y="2270764"/>
                  <a:ext cx="47559" cy="47559"/>
                </a:xfrm>
                <a:custGeom>
                  <a:avLst/>
                  <a:gdLst>
                    <a:gd name="connsiteX0" fmla="*/ 47560 w 47559"/>
                    <a:gd name="connsiteY0" fmla="*/ 47560 h 47559"/>
                    <a:gd name="connsiteX1" fmla="*/ 0 w 47559"/>
                    <a:gd name="connsiteY1" fmla="*/ 0 h 4755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7559" h="47559">
                      <a:moveTo>
                        <a:pt x="47560" y="47560"/>
                      </a:moveTo>
                      <a:lnTo>
                        <a:pt x="0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</p:grpSp>
      <p:grpSp>
        <p:nvGrpSpPr>
          <p:cNvPr id="773" name="Gráfico 10">
            <a:extLst>
              <a:ext uri="{FF2B5EF4-FFF2-40B4-BE49-F238E27FC236}">
                <a16:creationId xmlns:a16="http://schemas.microsoft.com/office/drawing/2014/main" id="{4DA27FF8-B4C7-8E28-07CC-7652012ED0B3}"/>
              </a:ext>
            </a:extLst>
          </p:cNvPr>
          <p:cNvGrpSpPr/>
          <p:nvPr/>
        </p:nvGrpSpPr>
        <p:grpSpPr>
          <a:xfrm>
            <a:off x="9318496" y="3125830"/>
            <a:ext cx="280247" cy="280240"/>
            <a:chOff x="9318496" y="3125830"/>
            <a:chExt cx="280247" cy="280240"/>
          </a:xfrm>
        </p:grpSpPr>
        <p:sp>
          <p:nvSpPr>
            <p:cNvPr id="774" name="Forma livre: Forma 773">
              <a:extLst>
                <a:ext uri="{FF2B5EF4-FFF2-40B4-BE49-F238E27FC236}">
                  <a16:creationId xmlns:a16="http://schemas.microsoft.com/office/drawing/2014/main" id="{53AF995A-1DFC-65FF-D565-B83630163881}"/>
                </a:ext>
              </a:extLst>
            </p:cNvPr>
            <p:cNvSpPr/>
            <p:nvPr/>
          </p:nvSpPr>
          <p:spPr>
            <a:xfrm>
              <a:off x="9349033" y="3354554"/>
              <a:ext cx="21521" cy="21486"/>
            </a:xfrm>
            <a:custGeom>
              <a:avLst/>
              <a:gdLst>
                <a:gd name="connsiteX0" fmla="*/ 0 w 21521"/>
                <a:gd name="connsiteY0" fmla="*/ 0 h 21486"/>
                <a:gd name="connsiteX1" fmla="*/ 21522 w 21521"/>
                <a:gd name="connsiteY1" fmla="*/ 21486 h 214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1521" h="21486">
                  <a:moveTo>
                    <a:pt x="0" y="0"/>
                  </a:moveTo>
                  <a:lnTo>
                    <a:pt x="21522" y="21486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775" name="Gráfico 10">
              <a:extLst>
                <a:ext uri="{FF2B5EF4-FFF2-40B4-BE49-F238E27FC236}">
                  <a16:creationId xmlns:a16="http://schemas.microsoft.com/office/drawing/2014/main" id="{B49F6BEC-C3F6-6329-CDF7-74A925251970}"/>
                </a:ext>
              </a:extLst>
            </p:cNvPr>
            <p:cNvGrpSpPr/>
            <p:nvPr/>
          </p:nvGrpSpPr>
          <p:grpSpPr>
            <a:xfrm>
              <a:off x="9318496" y="3125830"/>
              <a:ext cx="280247" cy="280240"/>
              <a:chOff x="9318496" y="3125830"/>
              <a:chExt cx="280247" cy="280240"/>
            </a:xfrm>
          </p:grpSpPr>
          <p:sp>
            <p:nvSpPr>
              <p:cNvPr id="776" name="Forma livre: Forma 775">
                <a:extLst>
                  <a:ext uri="{FF2B5EF4-FFF2-40B4-BE49-F238E27FC236}">
                    <a16:creationId xmlns:a16="http://schemas.microsoft.com/office/drawing/2014/main" id="{C4AA01C4-B583-88F2-9D34-4A1B9BA99F75}"/>
                  </a:ext>
                </a:extLst>
              </p:cNvPr>
              <p:cNvSpPr/>
              <p:nvPr/>
            </p:nvSpPr>
            <p:spPr>
              <a:xfrm>
                <a:off x="9318496" y="3125830"/>
                <a:ext cx="280247" cy="280240"/>
              </a:xfrm>
              <a:custGeom>
                <a:avLst/>
                <a:gdLst>
                  <a:gd name="connsiteX0" fmla="*/ 97908 w 280247"/>
                  <a:gd name="connsiteY0" fmla="*/ 114018 h 280240"/>
                  <a:gd name="connsiteX1" fmla="*/ 90302 w 280247"/>
                  <a:gd name="connsiteY1" fmla="*/ 121624 h 280240"/>
                  <a:gd name="connsiteX2" fmla="*/ 66834 w 280247"/>
                  <a:gd name="connsiteY2" fmla="*/ 173688 h 280240"/>
                  <a:gd name="connsiteX3" fmla="*/ 54983 w 280247"/>
                  <a:gd name="connsiteY3" fmla="*/ 200411 h 280240"/>
                  <a:gd name="connsiteX4" fmla="*/ 5937 w 280247"/>
                  <a:gd name="connsiteY4" fmla="*/ 249456 h 280240"/>
                  <a:gd name="connsiteX5" fmla="*/ 4817 w 280247"/>
                  <a:gd name="connsiteY5" fmla="*/ 275424 h 280240"/>
                  <a:gd name="connsiteX6" fmla="*/ 30784 w 280247"/>
                  <a:gd name="connsiteY6" fmla="*/ 274303 h 280240"/>
                  <a:gd name="connsiteX7" fmla="*/ 79830 w 280247"/>
                  <a:gd name="connsiteY7" fmla="*/ 225258 h 280240"/>
                  <a:gd name="connsiteX8" fmla="*/ 106552 w 280247"/>
                  <a:gd name="connsiteY8" fmla="*/ 213406 h 280240"/>
                  <a:gd name="connsiteX9" fmla="*/ 158628 w 280247"/>
                  <a:gd name="connsiteY9" fmla="*/ 189939 h 280240"/>
                  <a:gd name="connsiteX10" fmla="*/ 267970 w 280247"/>
                  <a:gd name="connsiteY10" fmla="*/ 80586 h 280240"/>
                  <a:gd name="connsiteX11" fmla="*/ 260387 w 280247"/>
                  <a:gd name="connsiteY11" fmla="*/ 25538 h 280240"/>
                  <a:gd name="connsiteX12" fmla="*/ 254703 w 280247"/>
                  <a:gd name="connsiteY12" fmla="*/ 19854 h 280240"/>
                  <a:gd name="connsiteX13" fmla="*/ 199655 w 280247"/>
                  <a:gd name="connsiteY13" fmla="*/ 12283 h 280240"/>
                  <a:gd name="connsiteX14" fmla="*/ 119099 w 280247"/>
                  <a:gd name="connsiteY14" fmla="*/ 92838 h 2802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280247" h="280240">
                    <a:moveTo>
                      <a:pt x="97908" y="114018"/>
                    </a:moveTo>
                    <a:lnTo>
                      <a:pt x="90302" y="121624"/>
                    </a:lnTo>
                    <a:cubicBezTo>
                      <a:pt x="73344" y="138582"/>
                      <a:pt x="68792" y="162085"/>
                      <a:pt x="66834" y="173688"/>
                    </a:cubicBezTo>
                    <a:cubicBezTo>
                      <a:pt x="65301" y="182792"/>
                      <a:pt x="61846" y="193559"/>
                      <a:pt x="54983" y="200411"/>
                    </a:cubicBezTo>
                    <a:cubicBezTo>
                      <a:pt x="48120" y="207286"/>
                      <a:pt x="5937" y="249456"/>
                      <a:pt x="5937" y="249456"/>
                    </a:cubicBezTo>
                    <a:cubicBezTo>
                      <a:pt x="-1516" y="256909"/>
                      <a:pt x="-2023" y="268596"/>
                      <a:pt x="4817" y="275424"/>
                    </a:cubicBezTo>
                    <a:cubicBezTo>
                      <a:pt x="11645" y="282263"/>
                      <a:pt x="23331" y="281756"/>
                      <a:pt x="30784" y="274303"/>
                    </a:cubicBezTo>
                    <a:cubicBezTo>
                      <a:pt x="30784" y="274303"/>
                      <a:pt x="72955" y="232121"/>
                      <a:pt x="79830" y="225258"/>
                    </a:cubicBezTo>
                    <a:cubicBezTo>
                      <a:pt x="86693" y="218394"/>
                      <a:pt x="97460" y="214939"/>
                      <a:pt x="106552" y="213406"/>
                    </a:cubicBezTo>
                    <a:cubicBezTo>
                      <a:pt x="118168" y="211449"/>
                      <a:pt x="141670" y="206885"/>
                      <a:pt x="158628" y="189939"/>
                    </a:cubicBezTo>
                    <a:lnTo>
                      <a:pt x="267970" y="80586"/>
                    </a:lnTo>
                    <a:cubicBezTo>
                      <a:pt x="287581" y="60986"/>
                      <a:pt x="282710" y="47861"/>
                      <a:pt x="260387" y="25538"/>
                    </a:cubicBezTo>
                    <a:lnTo>
                      <a:pt x="254703" y="19854"/>
                    </a:lnTo>
                    <a:cubicBezTo>
                      <a:pt x="232379" y="-2470"/>
                      <a:pt x="219254" y="-7329"/>
                      <a:pt x="199655" y="12283"/>
                    </a:cubicBezTo>
                    <a:lnTo>
                      <a:pt x="119099" y="92838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77" name="Forma livre: Forma 776">
                <a:extLst>
                  <a:ext uri="{FF2B5EF4-FFF2-40B4-BE49-F238E27FC236}">
                    <a16:creationId xmlns:a16="http://schemas.microsoft.com/office/drawing/2014/main" id="{31E64F86-2CEB-D29B-4C94-8655B65A4012}"/>
                  </a:ext>
                </a:extLst>
              </p:cNvPr>
              <p:cNvSpPr/>
              <p:nvPr/>
            </p:nvSpPr>
            <p:spPr>
              <a:xfrm>
                <a:off x="9485604" y="3227501"/>
                <a:ext cx="11509" cy="11486"/>
              </a:xfrm>
              <a:custGeom>
                <a:avLst/>
                <a:gdLst>
                  <a:gd name="connsiteX0" fmla="*/ 0 w 11509"/>
                  <a:gd name="connsiteY0" fmla="*/ 11486 h 11486"/>
                  <a:gd name="connsiteX1" fmla="*/ 11510 w 11509"/>
                  <a:gd name="connsiteY1" fmla="*/ 0 h 114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509" h="11486">
                    <a:moveTo>
                      <a:pt x="0" y="11486"/>
                    </a:moveTo>
                    <a:lnTo>
                      <a:pt x="1151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78" name="Forma livre: Forma 777">
                <a:extLst>
                  <a:ext uri="{FF2B5EF4-FFF2-40B4-BE49-F238E27FC236}">
                    <a16:creationId xmlns:a16="http://schemas.microsoft.com/office/drawing/2014/main" id="{D57C9F8F-711B-F95C-4C40-E8CDE90E8DD2}"/>
                  </a:ext>
                </a:extLst>
              </p:cNvPr>
              <p:cNvSpPr/>
              <p:nvPr/>
            </p:nvSpPr>
            <p:spPr>
              <a:xfrm>
                <a:off x="9504366" y="3208727"/>
                <a:ext cx="11509" cy="11486"/>
              </a:xfrm>
              <a:custGeom>
                <a:avLst/>
                <a:gdLst>
                  <a:gd name="connsiteX0" fmla="*/ 0 w 11509"/>
                  <a:gd name="connsiteY0" fmla="*/ 11486 h 11486"/>
                  <a:gd name="connsiteX1" fmla="*/ 11510 w 11509"/>
                  <a:gd name="connsiteY1" fmla="*/ 0 h 114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509" h="11486">
                    <a:moveTo>
                      <a:pt x="0" y="11486"/>
                    </a:moveTo>
                    <a:lnTo>
                      <a:pt x="1151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79" name="Forma livre: Forma 778">
                <a:extLst>
                  <a:ext uri="{FF2B5EF4-FFF2-40B4-BE49-F238E27FC236}">
                    <a16:creationId xmlns:a16="http://schemas.microsoft.com/office/drawing/2014/main" id="{6A1F6A52-E659-A53D-755C-B7DD552A4E6B}"/>
                  </a:ext>
                </a:extLst>
              </p:cNvPr>
              <p:cNvSpPr/>
              <p:nvPr/>
            </p:nvSpPr>
            <p:spPr>
              <a:xfrm>
                <a:off x="9423801" y="3293706"/>
                <a:ext cx="7069" cy="7087"/>
              </a:xfrm>
              <a:custGeom>
                <a:avLst/>
                <a:gdLst>
                  <a:gd name="connsiteX0" fmla="*/ 1035 w 7069"/>
                  <a:gd name="connsiteY0" fmla="*/ 1048 h 7087"/>
                  <a:gd name="connsiteX1" fmla="*/ 1035 w 7069"/>
                  <a:gd name="connsiteY1" fmla="*/ 6060 h 7087"/>
                  <a:gd name="connsiteX2" fmla="*/ 6035 w 7069"/>
                  <a:gd name="connsiteY2" fmla="*/ 6036 h 7087"/>
                  <a:gd name="connsiteX3" fmla="*/ 6035 w 7069"/>
                  <a:gd name="connsiteY3" fmla="*/ 1048 h 7087"/>
                  <a:gd name="connsiteX4" fmla="*/ 1023 w 7069"/>
                  <a:gd name="connsiteY4" fmla="*/ 1048 h 70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069" h="7087">
                    <a:moveTo>
                      <a:pt x="1035" y="1048"/>
                    </a:moveTo>
                    <a:cubicBezTo>
                      <a:pt x="-345" y="2440"/>
                      <a:pt x="-345" y="4668"/>
                      <a:pt x="1035" y="6060"/>
                    </a:cubicBezTo>
                    <a:cubicBezTo>
                      <a:pt x="2414" y="7440"/>
                      <a:pt x="4655" y="7428"/>
                      <a:pt x="6035" y="6036"/>
                    </a:cubicBezTo>
                    <a:cubicBezTo>
                      <a:pt x="7426" y="4657"/>
                      <a:pt x="7403" y="2428"/>
                      <a:pt x="6035" y="1048"/>
                    </a:cubicBezTo>
                    <a:cubicBezTo>
                      <a:pt x="4632" y="-343"/>
                      <a:pt x="2414" y="-355"/>
                      <a:pt x="1023" y="1048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780" name="Forma livre: Forma 779">
              <a:extLst>
                <a:ext uri="{FF2B5EF4-FFF2-40B4-BE49-F238E27FC236}">
                  <a16:creationId xmlns:a16="http://schemas.microsoft.com/office/drawing/2014/main" id="{9BD10A84-0E9A-49EA-E951-5FEB2BA480EE}"/>
                </a:ext>
              </a:extLst>
            </p:cNvPr>
            <p:cNvSpPr/>
            <p:nvPr/>
          </p:nvSpPr>
          <p:spPr>
            <a:xfrm>
              <a:off x="9459940" y="3172544"/>
              <a:ext cx="92102" cy="92129"/>
            </a:xfrm>
            <a:custGeom>
              <a:avLst/>
              <a:gdLst>
                <a:gd name="connsiteX0" fmla="*/ 57009 w 92102"/>
                <a:gd name="connsiteY0" fmla="*/ 2751 h 92129"/>
                <a:gd name="connsiteX1" fmla="*/ 70346 w 92102"/>
                <a:gd name="connsiteY1" fmla="*/ 2751 h 92129"/>
                <a:gd name="connsiteX2" fmla="*/ 89356 w 92102"/>
                <a:gd name="connsiteY2" fmla="*/ 21772 h 92129"/>
                <a:gd name="connsiteX3" fmla="*/ 89356 w 92102"/>
                <a:gd name="connsiteY3" fmla="*/ 35110 h 92129"/>
                <a:gd name="connsiteX4" fmla="*/ 35098 w 92102"/>
                <a:gd name="connsiteY4" fmla="*/ 89379 h 92129"/>
                <a:gd name="connsiteX5" fmla="*/ 21760 w 92102"/>
                <a:gd name="connsiteY5" fmla="*/ 89379 h 92129"/>
                <a:gd name="connsiteX6" fmla="*/ 2751 w 92102"/>
                <a:gd name="connsiteY6" fmla="*/ 70358 h 92129"/>
                <a:gd name="connsiteX7" fmla="*/ 2751 w 92102"/>
                <a:gd name="connsiteY7" fmla="*/ 57020 h 92129"/>
                <a:gd name="connsiteX8" fmla="*/ 57009 w 92102"/>
                <a:gd name="connsiteY8" fmla="*/ 2762 h 921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92102" h="92129">
                  <a:moveTo>
                    <a:pt x="57009" y="2751"/>
                  </a:moveTo>
                  <a:cubicBezTo>
                    <a:pt x="60676" y="-917"/>
                    <a:pt x="66678" y="-917"/>
                    <a:pt x="70346" y="2751"/>
                  </a:cubicBezTo>
                  <a:lnTo>
                    <a:pt x="89356" y="21772"/>
                  </a:lnTo>
                  <a:cubicBezTo>
                    <a:pt x="93023" y="25451"/>
                    <a:pt x="93012" y="31454"/>
                    <a:pt x="89356" y="35110"/>
                  </a:cubicBezTo>
                  <a:lnTo>
                    <a:pt x="35098" y="89379"/>
                  </a:lnTo>
                  <a:cubicBezTo>
                    <a:pt x="31430" y="93047"/>
                    <a:pt x="25428" y="93047"/>
                    <a:pt x="21760" y="89379"/>
                  </a:cubicBezTo>
                  <a:lnTo>
                    <a:pt x="2751" y="70358"/>
                  </a:lnTo>
                  <a:cubicBezTo>
                    <a:pt x="-917" y="66690"/>
                    <a:pt x="-917" y="60676"/>
                    <a:pt x="2751" y="57020"/>
                  </a:cubicBezTo>
                  <a:lnTo>
                    <a:pt x="57009" y="2762"/>
                  </a:ln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781" name="Gráfico 10">
            <a:extLst>
              <a:ext uri="{FF2B5EF4-FFF2-40B4-BE49-F238E27FC236}">
                <a16:creationId xmlns:a16="http://schemas.microsoft.com/office/drawing/2014/main" id="{595C726C-2C2C-4B04-4F88-EAAAD143CBA6}"/>
              </a:ext>
            </a:extLst>
          </p:cNvPr>
          <p:cNvGrpSpPr/>
          <p:nvPr/>
        </p:nvGrpSpPr>
        <p:grpSpPr>
          <a:xfrm>
            <a:off x="9320990" y="1007642"/>
            <a:ext cx="275263" cy="289108"/>
            <a:chOff x="9320990" y="1007642"/>
            <a:chExt cx="275263" cy="289108"/>
          </a:xfrm>
          <a:noFill/>
        </p:grpSpPr>
        <p:grpSp>
          <p:nvGrpSpPr>
            <p:cNvPr id="782" name="Gráfico 10">
              <a:extLst>
                <a:ext uri="{FF2B5EF4-FFF2-40B4-BE49-F238E27FC236}">
                  <a16:creationId xmlns:a16="http://schemas.microsoft.com/office/drawing/2014/main" id="{49CD55EA-F379-2F13-E9F1-091EE34C3D98}"/>
                </a:ext>
              </a:extLst>
            </p:cNvPr>
            <p:cNvGrpSpPr/>
            <p:nvPr/>
          </p:nvGrpSpPr>
          <p:grpSpPr>
            <a:xfrm>
              <a:off x="9497255" y="1007642"/>
              <a:ext cx="98999" cy="289108"/>
              <a:chOff x="9497255" y="1007642"/>
              <a:chExt cx="98999" cy="289108"/>
            </a:xfrm>
            <a:noFill/>
          </p:grpSpPr>
          <p:sp>
            <p:nvSpPr>
              <p:cNvPr id="783" name="Forma livre: Forma 782">
                <a:extLst>
                  <a:ext uri="{FF2B5EF4-FFF2-40B4-BE49-F238E27FC236}">
                    <a16:creationId xmlns:a16="http://schemas.microsoft.com/office/drawing/2014/main" id="{2B3A3A57-51FC-21C6-8482-4B261A4B6191}"/>
                  </a:ext>
                </a:extLst>
              </p:cNvPr>
              <p:cNvSpPr/>
              <p:nvPr/>
            </p:nvSpPr>
            <p:spPr>
              <a:xfrm>
                <a:off x="9497255" y="1066499"/>
                <a:ext cx="98999" cy="11"/>
              </a:xfrm>
              <a:custGeom>
                <a:avLst/>
                <a:gdLst>
                  <a:gd name="connsiteX0" fmla="*/ 98999 w 98999"/>
                  <a:gd name="connsiteY0" fmla="*/ 12 h 11"/>
                  <a:gd name="connsiteX1" fmla="*/ 0 w 98999"/>
                  <a:gd name="connsiteY1" fmla="*/ 0 h 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8999" h="11">
                    <a:moveTo>
                      <a:pt x="98999" y="12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784" name="Gráfico 10">
                <a:extLst>
                  <a:ext uri="{FF2B5EF4-FFF2-40B4-BE49-F238E27FC236}">
                    <a16:creationId xmlns:a16="http://schemas.microsoft.com/office/drawing/2014/main" id="{E519EBFE-BD1C-45FF-6ABE-375FBFED1277}"/>
                  </a:ext>
                </a:extLst>
              </p:cNvPr>
              <p:cNvGrpSpPr/>
              <p:nvPr/>
            </p:nvGrpSpPr>
            <p:grpSpPr>
              <a:xfrm>
                <a:off x="9507915" y="1007642"/>
                <a:ext cx="71864" cy="289108"/>
                <a:chOff x="9507915" y="1007642"/>
                <a:chExt cx="71864" cy="289108"/>
              </a:xfrm>
              <a:noFill/>
            </p:grpSpPr>
            <p:sp>
              <p:nvSpPr>
                <p:cNvPr id="785" name="Forma livre: Forma 784">
                  <a:extLst>
                    <a:ext uri="{FF2B5EF4-FFF2-40B4-BE49-F238E27FC236}">
                      <a16:creationId xmlns:a16="http://schemas.microsoft.com/office/drawing/2014/main" id="{FED20AF9-09DD-6E64-7B75-2122C0A86921}"/>
                    </a:ext>
                  </a:extLst>
                </p:cNvPr>
                <p:cNvSpPr/>
                <p:nvPr/>
              </p:nvSpPr>
              <p:spPr>
                <a:xfrm>
                  <a:off x="9507915" y="1007642"/>
                  <a:ext cx="71864" cy="271"/>
                </a:xfrm>
                <a:custGeom>
                  <a:avLst/>
                  <a:gdLst>
                    <a:gd name="connsiteX0" fmla="*/ 71864 w 71864"/>
                    <a:gd name="connsiteY0" fmla="*/ 0 h 271"/>
                    <a:gd name="connsiteX1" fmla="*/ 0 w 71864"/>
                    <a:gd name="connsiteY1" fmla="*/ 271 h 2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71864" h="271">
                      <a:moveTo>
                        <a:pt x="71864" y="0"/>
                      </a:moveTo>
                      <a:lnTo>
                        <a:pt x="0" y="271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grpSp>
              <p:nvGrpSpPr>
                <p:cNvPr id="786" name="Gráfico 10">
                  <a:extLst>
                    <a:ext uri="{FF2B5EF4-FFF2-40B4-BE49-F238E27FC236}">
                      <a16:creationId xmlns:a16="http://schemas.microsoft.com/office/drawing/2014/main" id="{FCCD28F7-21D1-C8B3-4EDC-35AC7801894E}"/>
                    </a:ext>
                  </a:extLst>
                </p:cNvPr>
                <p:cNvGrpSpPr/>
                <p:nvPr/>
              </p:nvGrpSpPr>
              <p:grpSpPr>
                <a:xfrm>
                  <a:off x="9513387" y="1066181"/>
                  <a:ext cx="62206" cy="129813"/>
                  <a:chOff x="9513387" y="1066181"/>
                  <a:chExt cx="62206" cy="129813"/>
                </a:xfrm>
                <a:noFill/>
              </p:grpSpPr>
              <p:sp>
                <p:nvSpPr>
                  <p:cNvPr id="787" name="Forma livre: Forma 786">
                    <a:extLst>
                      <a:ext uri="{FF2B5EF4-FFF2-40B4-BE49-F238E27FC236}">
                        <a16:creationId xmlns:a16="http://schemas.microsoft.com/office/drawing/2014/main" id="{4BECD463-D5EF-A92A-B8A8-99F54C674F30}"/>
                      </a:ext>
                    </a:extLst>
                  </p:cNvPr>
                  <p:cNvSpPr/>
                  <p:nvPr/>
                </p:nvSpPr>
                <p:spPr>
                  <a:xfrm>
                    <a:off x="9513387" y="1066181"/>
                    <a:ext cx="62206" cy="129813"/>
                  </a:xfrm>
                  <a:custGeom>
                    <a:avLst/>
                    <a:gdLst>
                      <a:gd name="connsiteX0" fmla="*/ 0 w 62206"/>
                      <a:gd name="connsiteY0" fmla="*/ 236 h 129813"/>
                      <a:gd name="connsiteX1" fmla="*/ 684 w 62206"/>
                      <a:gd name="connsiteY1" fmla="*/ 129813 h 129813"/>
                      <a:gd name="connsiteX2" fmla="*/ 62206 w 62206"/>
                      <a:gd name="connsiteY2" fmla="*/ 129578 h 129813"/>
                      <a:gd name="connsiteX3" fmla="*/ 61534 w 62206"/>
                      <a:gd name="connsiteY3" fmla="*/ 0 h 12981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62206" h="129813">
                        <a:moveTo>
                          <a:pt x="0" y="236"/>
                        </a:moveTo>
                        <a:lnTo>
                          <a:pt x="684" y="129813"/>
                        </a:lnTo>
                        <a:lnTo>
                          <a:pt x="62206" y="129578"/>
                        </a:lnTo>
                        <a:lnTo>
                          <a:pt x="61534" y="0"/>
                        </a:lnTo>
                      </a:path>
                    </a:pathLst>
                  </a:custGeom>
                  <a:noFill/>
                  <a:ln w="6350" cap="flat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788" name="Forma livre: Forma 787">
                    <a:extLst>
                      <a:ext uri="{FF2B5EF4-FFF2-40B4-BE49-F238E27FC236}">
                        <a16:creationId xmlns:a16="http://schemas.microsoft.com/office/drawing/2014/main" id="{0CDF3AE7-2821-6099-2116-5BF8ECB9C951}"/>
                      </a:ext>
                    </a:extLst>
                  </p:cNvPr>
                  <p:cNvSpPr/>
                  <p:nvPr/>
                </p:nvSpPr>
                <p:spPr>
                  <a:xfrm>
                    <a:off x="9552126" y="1101441"/>
                    <a:ext cx="21391" cy="70"/>
                  </a:xfrm>
                  <a:custGeom>
                    <a:avLst/>
                    <a:gdLst>
                      <a:gd name="connsiteX0" fmla="*/ 21392 w 21391"/>
                      <a:gd name="connsiteY0" fmla="*/ 0 h 70"/>
                      <a:gd name="connsiteX1" fmla="*/ 0 w 21391"/>
                      <a:gd name="connsiteY1" fmla="*/ 71 h 7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21391" h="70">
                        <a:moveTo>
                          <a:pt x="21392" y="0"/>
                        </a:moveTo>
                        <a:lnTo>
                          <a:pt x="0" y="71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789" name="Forma livre: Forma 788">
                    <a:extLst>
                      <a:ext uri="{FF2B5EF4-FFF2-40B4-BE49-F238E27FC236}">
                        <a16:creationId xmlns:a16="http://schemas.microsoft.com/office/drawing/2014/main" id="{90D790CF-8B6F-17E8-08FE-E9755EA95882}"/>
                      </a:ext>
                    </a:extLst>
                  </p:cNvPr>
                  <p:cNvSpPr/>
                  <p:nvPr/>
                </p:nvSpPr>
                <p:spPr>
                  <a:xfrm>
                    <a:off x="9552291" y="1132857"/>
                    <a:ext cx="21403" cy="82"/>
                  </a:xfrm>
                  <a:custGeom>
                    <a:avLst/>
                    <a:gdLst>
                      <a:gd name="connsiteX0" fmla="*/ 21404 w 21403"/>
                      <a:gd name="connsiteY0" fmla="*/ 0 h 82"/>
                      <a:gd name="connsiteX1" fmla="*/ 0 w 21403"/>
                      <a:gd name="connsiteY1" fmla="*/ 83 h 8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21403" h="82">
                        <a:moveTo>
                          <a:pt x="21404" y="0"/>
                        </a:moveTo>
                        <a:lnTo>
                          <a:pt x="0" y="83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790" name="Forma livre: Forma 789">
                    <a:extLst>
                      <a:ext uri="{FF2B5EF4-FFF2-40B4-BE49-F238E27FC236}">
                        <a16:creationId xmlns:a16="http://schemas.microsoft.com/office/drawing/2014/main" id="{BE83E0DD-E412-DADD-7390-46FE260CF21B}"/>
                      </a:ext>
                    </a:extLst>
                  </p:cNvPr>
                  <p:cNvSpPr/>
                  <p:nvPr/>
                </p:nvSpPr>
                <p:spPr>
                  <a:xfrm>
                    <a:off x="9552444" y="1164284"/>
                    <a:ext cx="21415" cy="94"/>
                  </a:xfrm>
                  <a:custGeom>
                    <a:avLst/>
                    <a:gdLst>
                      <a:gd name="connsiteX0" fmla="*/ 21415 w 21415"/>
                      <a:gd name="connsiteY0" fmla="*/ 0 h 94"/>
                      <a:gd name="connsiteX1" fmla="*/ 0 w 21415"/>
                      <a:gd name="connsiteY1" fmla="*/ 94 h 9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21415" h="94">
                        <a:moveTo>
                          <a:pt x="21415" y="0"/>
                        </a:moveTo>
                        <a:lnTo>
                          <a:pt x="0" y="94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  <p:grpSp>
              <p:nvGrpSpPr>
                <p:cNvPr id="791" name="Gráfico 10">
                  <a:extLst>
                    <a:ext uri="{FF2B5EF4-FFF2-40B4-BE49-F238E27FC236}">
                      <a16:creationId xmlns:a16="http://schemas.microsoft.com/office/drawing/2014/main" id="{3C4FF735-138C-10B7-FBED-77D7439CFA8B}"/>
                    </a:ext>
                  </a:extLst>
                </p:cNvPr>
                <p:cNvGrpSpPr/>
                <p:nvPr/>
              </p:nvGrpSpPr>
              <p:grpSpPr>
                <a:xfrm>
                  <a:off x="9527456" y="1007654"/>
                  <a:ext cx="33078" cy="56675"/>
                  <a:chOff x="9527456" y="1007654"/>
                  <a:chExt cx="33078" cy="56675"/>
                </a:xfrm>
              </p:grpSpPr>
              <p:sp>
                <p:nvSpPr>
                  <p:cNvPr id="792" name="Forma livre: Forma 791">
                    <a:extLst>
                      <a:ext uri="{FF2B5EF4-FFF2-40B4-BE49-F238E27FC236}">
                        <a16:creationId xmlns:a16="http://schemas.microsoft.com/office/drawing/2014/main" id="{FF644AB9-FAA3-DDC1-3F5D-BDE68C6894CF}"/>
                      </a:ext>
                    </a:extLst>
                  </p:cNvPr>
                  <p:cNvSpPr/>
                  <p:nvPr/>
                </p:nvSpPr>
                <p:spPr>
                  <a:xfrm>
                    <a:off x="9560239" y="1007654"/>
                    <a:ext cx="294" cy="56533"/>
                  </a:xfrm>
                  <a:custGeom>
                    <a:avLst/>
                    <a:gdLst>
                      <a:gd name="connsiteX0" fmla="*/ 295 w 294"/>
                      <a:gd name="connsiteY0" fmla="*/ 56534 h 56533"/>
                      <a:gd name="connsiteX1" fmla="*/ 0 w 294"/>
                      <a:gd name="connsiteY1" fmla="*/ 0 h 5653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294" h="56533">
                        <a:moveTo>
                          <a:pt x="295" y="56534"/>
                        </a:moveTo>
                        <a:lnTo>
                          <a:pt x="0" y="0"/>
                        </a:lnTo>
                      </a:path>
                    </a:pathLst>
                  </a:custGeom>
                  <a:ln w="6350" cap="flat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793" name="Forma livre: Forma 792">
                    <a:extLst>
                      <a:ext uri="{FF2B5EF4-FFF2-40B4-BE49-F238E27FC236}">
                        <a16:creationId xmlns:a16="http://schemas.microsoft.com/office/drawing/2014/main" id="{5B358639-3147-2562-531E-295ACFFE3A4B}"/>
                      </a:ext>
                    </a:extLst>
                  </p:cNvPr>
                  <p:cNvSpPr/>
                  <p:nvPr/>
                </p:nvSpPr>
                <p:spPr>
                  <a:xfrm>
                    <a:off x="9527456" y="1007772"/>
                    <a:ext cx="306" cy="56557"/>
                  </a:xfrm>
                  <a:custGeom>
                    <a:avLst/>
                    <a:gdLst>
                      <a:gd name="connsiteX0" fmla="*/ 307 w 306"/>
                      <a:gd name="connsiteY0" fmla="*/ 56557 h 56557"/>
                      <a:gd name="connsiteX1" fmla="*/ 0 w 306"/>
                      <a:gd name="connsiteY1" fmla="*/ 0 h 5655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306" h="56557">
                        <a:moveTo>
                          <a:pt x="307" y="56557"/>
                        </a:moveTo>
                        <a:lnTo>
                          <a:pt x="0" y="0"/>
                        </a:lnTo>
                      </a:path>
                    </a:pathLst>
                  </a:custGeom>
                  <a:ln w="6350" cap="flat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  <p:sp>
              <p:nvSpPr>
                <p:cNvPr id="794" name="Forma livre: Forma 793">
                  <a:extLst>
                    <a:ext uri="{FF2B5EF4-FFF2-40B4-BE49-F238E27FC236}">
                      <a16:creationId xmlns:a16="http://schemas.microsoft.com/office/drawing/2014/main" id="{D89AABB0-3551-D64E-8AD3-6BF5AD04047C}"/>
                    </a:ext>
                  </a:extLst>
                </p:cNvPr>
                <p:cNvSpPr/>
                <p:nvPr/>
              </p:nvSpPr>
              <p:spPr>
                <a:xfrm>
                  <a:off x="9545062" y="1238212"/>
                  <a:ext cx="389" cy="58538"/>
                </a:xfrm>
                <a:custGeom>
                  <a:avLst/>
                  <a:gdLst>
                    <a:gd name="connsiteX0" fmla="*/ 0 w 389"/>
                    <a:gd name="connsiteY0" fmla="*/ 0 h 58538"/>
                    <a:gd name="connsiteX1" fmla="*/ 389 w 389"/>
                    <a:gd name="connsiteY1" fmla="*/ 58539 h 5853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389" h="58538">
                      <a:moveTo>
                        <a:pt x="0" y="0"/>
                      </a:moveTo>
                      <a:lnTo>
                        <a:pt x="389" y="58539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795" name="Forma livre: Forma 794">
                  <a:extLst>
                    <a:ext uri="{FF2B5EF4-FFF2-40B4-BE49-F238E27FC236}">
                      <a16:creationId xmlns:a16="http://schemas.microsoft.com/office/drawing/2014/main" id="{18393E5C-8B4B-CFFA-F5C6-FA4C16EE28BD}"/>
                    </a:ext>
                  </a:extLst>
                </p:cNvPr>
                <p:cNvSpPr/>
                <p:nvPr/>
              </p:nvSpPr>
              <p:spPr>
                <a:xfrm>
                  <a:off x="9532491" y="1194037"/>
                  <a:ext cx="26038" cy="42170"/>
                </a:xfrm>
                <a:custGeom>
                  <a:avLst/>
                  <a:gdLst>
                    <a:gd name="connsiteX0" fmla="*/ 0 w 26038"/>
                    <a:gd name="connsiteY0" fmla="*/ 23173 h 42170"/>
                    <a:gd name="connsiteX1" fmla="*/ 1144 w 26038"/>
                    <a:gd name="connsiteY1" fmla="*/ 42170 h 42170"/>
                    <a:gd name="connsiteX2" fmla="*/ 23963 w 26038"/>
                    <a:gd name="connsiteY2" fmla="*/ 42088 h 42170"/>
                    <a:gd name="connsiteX3" fmla="*/ 26038 w 26038"/>
                    <a:gd name="connsiteY3" fmla="*/ 0 h 4217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26038" h="42170">
                      <a:moveTo>
                        <a:pt x="0" y="23173"/>
                      </a:moveTo>
                      <a:lnTo>
                        <a:pt x="1144" y="42170"/>
                      </a:lnTo>
                      <a:lnTo>
                        <a:pt x="23963" y="42088"/>
                      </a:lnTo>
                      <a:lnTo>
                        <a:pt x="26038" y="0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grpSp>
          <p:nvGrpSpPr>
            <p:cNvPr id="796" name="Gráfico 10">
              <a:extLst>
                <a:ext uri="{FF2B5EF4-FFF2-40B4-BE49-F238E27FC236}">
                  <a16:creationId xmlns:a16="http://schemas.microsoft.com/office/drawing/2014/main" id="{C585B3BF-9685-2D2E-9056-BF03FFB8D680}"/>
                </a:ext>
              </a:extLst>
            </p:cNvPr>
            <p:cNvGrpSpPr/>
            <p:nvPr/>
          </p:nvGrpSpPr>
          <p:grpSpPr>
            <a:xfrm>
              <a:off x="9377394" y="1142008"/>
              <a:ext cx="92454" cy="87701"/>
              <a:chOff x="9377394" y="1142008"/>
              <a:chExt cx="92454" cy="87701"/>
            </a:xfrm>
            <a:noFill/>
          </p:grpSpPr>
          <p:sp>
            <p:nvSpPr>
              <p:cNvPr id="797" name="Forma livre: Forma 796">
                <a:extLst>
                  <a:ext uri="{FF2B5EF4-FFF2-40B4-BE49-F238E27FC236}">
                    <a16:creationId xmlns:a16="http://schemas.microsoft.com/office/drawing/2014/main" id="{B933236C-6BB2-4D20-D2F7-5F1833E6FF45}"/>
                  </a:ext>
                </a:extLst>
              </p:cNvPr>
              <p:cNvSpPr/>
              <p:nvPr/>
            </p:nvSpPr>
            <p:spPr>
              <a:xfrm>
                <a:off x="9377394" y="1150310"/>
                <a:ext cx="79399" cy="79399"/>
              </a:xfrm>
              <a:custGeom>
                <a:avLst/>
                <a:gdLst>
                  <a:gd name="connsiteX0" fmla="*/ 79400 w 79399"/>
                  <a:gd name="connsiteY0" fmla="*/ 50850 h 79399"/>
                  <a:gd name="connsiteX1" fmla="*/ 79400 w 79399"/>
                  <a:gd name="connsiteY1" fmla="*/ 79400 h 79399"/>
                  <a:gd name="connsiteX2" fmla="*/ 0 w 79399"/>
                  <a:gd name="connsiteY2" fmla="*/ 79400 h 79399"/>
                  <a:gd name="connsiteX3" fmla="*/ 0 w 79399"/>
                  <a:gd name="connsiteY3" fmla="*/ 0 h 79399"/>
                  <a:gd name="connsiteX4" fmla="*/ 51180 w 79399"/>
                  <a:gd name="connsiteY4" fmla="*/ 0 h 793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399" h="79399">
                    <a:moveTo>
                      <a:pt x="79400" y="50850"/>
                    </a:moveTo>
                    <a:lnTo>
                      <a:pt x="79400" y="79400"/>
                    </a:lnTo>
                    <a:lnTo>
                      <a:pt x="0" y="79400"/>
                    </a:lnTo>
                    <a:lnTo>
                      <a:pt x="0" y="0"/>
                    </a:lnTo>
                    <a:lnTo>
                      <a:pt x="51180" y="0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98" name="Forma livre: Forma 797">
                <a:extLst>
                  <a:ext uri="{FF2B5EF4-FFF2-40B4-BE49-F238E27FC236}">
                    <a16:creationId xmlns:a16="http://schemas.microsoft.com/office/drawing/2014/main" id="{491F7EF8-C0FA-03CF-B326-0C491CCC7270}"/>
                  </a:ext>
                </a:extLst>
              </p:cNvPr>
              <p:cNvSpPr/>
              <p:nvPr/>
            </p:nvSpPr>
            <p:spPr>
              <a:xfrm>
                <a:off x="9402654" y="1142008"/>
                <a:ext cx="67194" cy="59458"/>
              </a:xfrm>
              <a:custGeom>
                <a:avLst/>
                <a:gdLst>
                  <a:gd name="connsiteX0" fmla="*/ 0 w 67194"/>
                  <a:gd name="connsiteY0" fmla="*/ 36168 h 59458"/>
                  <a:gd name="connsiteX1" fmla="*/ 21180 w 67194"/>
                  <a:gd name="connsiteY1" fmla="*/ 59458 h 59458"/>
                  <a:gd name="connsiteX2" fmla="*/ 67194 w 67194"/>
                  <a:gd name="connsiteY2" fmla="*/ 0 h 594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67194" h="59458">
                    <a:moveTo>
                      <a:pt x="0" y="36168"/>
                    </a:moveTo>
                    <a:lnTo>
                      <a:pt x="21180" y="59458"/>
                    </a:lnTo>
                    <a:lnTo>
                      <a:pt x="67194" y="0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799" name="Gráfico 10">
              <a:extLst>
                <a:ext uri="{FF2B5EF4-FFF2-40B4-BE49-F238E27FC236}">
                  <a16:creationId xmlns:a16="http://schemas.microsoft.com/office/drawing/2014/main" id="{7EF2ADD6-D4F6-19E9-F342-02240668AFB6}"/>
                </a:ext>
              </a:extLst>
            </p:cNvPr>
            <p:cNvGrpSpPr/>
            <p:nvPr/>
          </p:nvGrpSpPr>
          <p:grpSpPr>
            <a:xfrm>
              <a:off x="9320990" y="1038362"/>
              <a:ext cx="193941" cy="257775"/>
              <a:chOff x="9320990" y="1038362"/>
              <a:chExt cx="193941" cy="257775"/>
            </a:xfrm>
            <a:noFill/>
          </p:grpSpPr>
          <p:sp>
            <p:nvSpPr>
              <p:cNvPr id="800" name="Forma livre: Forma 799">
                <a:extLst>
                  <a:ext uri="{FF2B5EF4-FFF2-40B4-BE49-F238E27FC236}">
                    <a16:creationId xmlns:a16="http://schemas.microsoft.com/office/drawing/2014/main" id="{6E59AC65-3882-05D3-B2BF-F53AD17B30DD}"/>
                  </a:ext>
                </a:extLst>
              </p:cNvPr>
              <p:cNvSpPr/>
              <p:nvPr/>
            </p:nvSpPr>
            <p:spPr>
              <a:xfrm>
                <a:off x="9320990" y="1038362"/>
                <a:ext cx="193941" cy="257775"/>
              </a:xfrm>
              <a:custGeom>
                <a:avLst/>
                <a:gdLst>
                  <a:gd name="connsiteX0" fmla="*/ 181076 w 193941"/>
                  <a:gd name="connsiteY0" fmla="*/ 0 h 257775"/>
                  <a:gd name="connsiteX1" fmla="*/ 51180 w 193941"/>
                  <a:gd name="connsiteY1" fmla="*/ 0 h 257775"/>
                  <a:gd name="connsiteX2" fmla="*/ 0 w 193941"/>
                  <a:gd name="connsiteY2" fmla="*/ 51156 h 257775"/>
                  <a:gd name="connsiteX3" fmla="*/ 0 w 193941"/>
                  <a:gd name="connsiteY3" fmla="*/ 257775 h 257775"/>
                  <a:gd name="connsiteX4" fmla="*/ 193942 w 193941"/>
                  <a:gd name="connsiteY4" fmla="*/ 257775 h 257775"/>
                  <a:gd name="connsiteX5" fmla="*/ 193942 w 193941"/>
                  <a:gd name="connsiteY5" fmla="*/ 217032 h 2577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93941" h="257775">
                    <a:moveTo>
                      <a:pt x="181076" y="0"/>
                    </a:moveTo>
                    <a:lnTo>
                      <a:pt x="51180" y="0"/>
                    </a:lnTo>
                    <a:lnTo>
                      <a:pt x="0" y="51156"/>
                    </a:lnTo>
                    <a:lnTo>
                      <a:pt x="0" y="257775"/>
                    </a:lnTo>
                    <a:lnTo>
                      <a:pt x="193942" y="257775"/>
                    </a:lnTo>
                    <a:lnTo>
                      <a:pt x="193942" y="217032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801" name="Forma livre: Forma 800">
                <a:extLst>
                  <a:ext uri="{FF2B5EF4-FFF2-40B4-BE49-F238E27FC236}">
                    <a16:creationId xmlns:a16="http://schemas.microsoft.com/office/drawing/2014/main" id="{53FAEAC1-64F8-DEBF-DF76-7F9201B754F3}"/>
                  </a:ext>
                </a:extLst>
              </p:cNvPr>
              <p:cNvSpPr/>
              <p:nvPr/>
            </p:nvSpPr>
            <p:spPr>
              <a:xfrm>
                <a:off x="9345519" y="1063091"/>
                <a:ext cx="34988" cy="34953"/>
              </a:xfrm>
              <a:custGeom>
                <a:avLst/>
                <a:gdLst>
                  <a:gd name="connsiteX0" fmla="*/ 34989 w 34988"/>
                  <a:gd name="connsiteY0" fmla="*/ 0 h 34953"/>
                  <a:gd name="connsiteX1" fmla="*/ 34989 w 34988"/>
                  <a:gd name="connsiteY1" fmla="*/ 34953 h 34953"/>
                  <a:gd name="connsiteX2" fmla="*/ 0 w 34988"/>
                  <a:gd name="connsiteY2" fmla="*/ 34953 h 349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4988" h="34953">
                    <a:moveTo>
                      <a:pt x="34989" y="0"/>
                    </a:moveTo>
                    <a:lnTo>
                      <a:pt x="34989" y="34953"/>
                    </a:lnTo>
                    <a:lnTo>
                      <a:pt x="0" y="34953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802" name="Gráfico 10">
            <a:extLst>
              <a:ext uri="{FF2B5EF4-FFF2-40B4-BE49-F238E27FC236}">
                <a16:creationId xmlns:a16="http://schemas.microsoft.com/office/drawing/2014/main" id="{D2218687-2003-3CDA-CDF3-41BEEB6CE5BC}"/>
              </a:ext>
            </a:extLst>
          </p:cNvPr>
          <p:cNvGrpSpPr/>
          <p:nvPr/>
        </p:nvGrpSpPr>
        <p:grpSpPr>
          <a:xfrm>
            <a:off x="9302912" y="2563870"/>
            <a:ext cx="311419" cy="290452"/>
            <a:chOff x="9302912" y="2563870"/>
            <a:chExt cx="311419" cy="290452"/>
          </a:xfrm>
          <a:noFill/>
        </p:grpSpPr>
        <p:sp>
          <p:nvSpPr>
            <p:cNvPr id="803" name="Forma livre: Forma 802">
              <a:extLst>
                <a:ext uri="{FF2B5EF4-FFF2-40B4-BE49-F238E27FC236}">
                  <a16:creationId xmlns:a16="http://schemas.microsoft.com/office/drawing/2014/main" id="{043131ED-8F2D-2C13-0384-4F96B1191254}"/>
                </a:ext>
              </a:extLst>
            </p:cNvPr>
            <p:cNvSpPr/>
            <p:nvPr/>
          </p:nvSpPr>
          <p:spPr>
            <a:xfrm>
              <a:off x="9302912" y="2563870"/>
              <a:ext cx="311419" cy="152490"/>
            </a:xfrm>
            <a:custGeom>
              <a:avLst/>
              <a:gdLst>
                <a:gd name="connsiteX0" fmla="*/ 311420 w 311419"/>
                <a:gd name="connsiteY0" fmla="*/ 152491 h 152490"/>
                <a:gd name="connsiteX1" fmla="*/ 155651 w 311419"/>
                <a:gd name="connsiteY1" fmla="*/ 0 h 152490"/>
                <a:gd name="connsiteX2" fmla="*/ 95615 w 311419"/>
                <a:gd name="connsiteY2" fmla="*/ 58397 h 152490"/>
                <a:gd name="connsiteX3" fmla="*/ 95615 w 311419"/>
                <a:gd name="connsiteY3" fmla="*/ 22724 h 152490"/>
                <a:gd name="connsiteX4" fmla="*/ 61793 w 311419"/>
                <a:gd name="connsiteY4" fmla="*/ 22724 h 152490"/>
                <a:gd name="connsiteX5" fmla="*/ 61793 w 311419"/>
                <a:gd name="connsiteY5" fmla="*/ 91499 h 152490"/>
                <a:gd name="connsiteX6" fmla="*/ 0 w 311419"/>
                <a:gd name="connsiteY6" fmla="*/ 152491 h 1524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11419" h="152490">
                  <a:moveTo>
                    <a:pt x="311420" y="152491"/>
                  </a:moveTo>
                  <a:lnTo>
                    <a:pt x="155651" y="0"/>
                  </a:lnTo>
                  <a:lnTo>
                    <a:pt x="95615" y="58397"/>
                  </a:lnTo>
                  <a:lnTo>
                    <a:pt x="95615" y="22724"/>
                  </a:lnTo>
                  <a:lnTo>
                    <a:pt x="61793" y="22724"/>
                  </a:lnTo>
                  <a:lnTo>
                    <a:pt x="61793" y="91499"/>
                  </a:lnTo>
                  <a:lnTo>
                    <a:pt x="0" y="152491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804" name="Gráfico 10">
              <a:extLst>
                <a:ext uri="{FF2B5EF4-FFF2-40B4-BE49-F238E27FC236}">
                  <a16:creationId xmlns:a16="http://schemas.microsoft.com/office/drawing/2014/main" id="{CD9A61C2-A44E-2AC5-DB41-50CE9B7FFB4E}"/>
                </a:ext>
              </a:extLst>
            </p:cNvPr>
            <p:cNvGrpSpPr/>
            <p:nvPr/>
          </p:nvGrpSpPr>
          <p:grpSpPr>
            <a:xfrm>
              <a:off x="9350873" y="2703212"/>
              <a:ext cx="215498" cy="80189"/>
              <a:chOff x="9350873" y="2703212"/>
              <a:chExt cx="215498" cy="80189"/>
            </a:xfrm>
          </p:grpSpPr>
          <p:sp>
            <p:nvSpPr>
              <p:cNvPr id="805" name="Forma livre: Forma 804">
                <a:extLst>
                  <a:ext uri="{FF2B5EF4-FFF2-40B4-BE49-F238E27FC236}">
                    <a16:creationId xmlns:a16="http://schemas.microsoft.com/office/drawing/2014/main" id="{71AF566D-B747-4263-2D56-D1E5FB1CDBC6}"/>
                  </a:ext>
                </a:extLst>
              </p:cNvPr>
              <p:cNvSpPr/>
              <p:nvPr/>
            </p:nvSpPr>
            <p:spPr>
              <a:xfrm>
                <a:off x="9350873" y="2703212"/>
                <a:ext cx="1179" cy="80189"/>
              </a:xfrm>
              <a:custGeom>
                <a:avLst/>
                <a:gdLst>
                  <a:gd name="connsiteX0" fmla="*/ 0 w 1179"/>
                  <a:gd name="connsiteY0" fmla="*/ 0 h 80189"/>
                  <a:gd name="connsiteX1" fmla="*/ 0 w 1179"/>
                  <a:gd name="connsiteY1" fmla="*/ 80190 h 801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79" h="80189">
                    <a:moveTo>
                      <a:pt x="0" y="0"/>
                    </a:moveTo>
                    <a:lnTo>
                      <a:pt x="0" y="8019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806" name="Forma livre: Forma 805">
                <a:extLst>
                  <a:ext uri="{FF2B5EF4-FFF2-40B4-BE49-F238E27FC236}">
                    <a16:creationId xmlns:a16="http://schemas.microsoft.com/office/drawing/2014/main" id="{7B2A3BF3-1635-C9A2-117D-6C6793FC9275}"/>
                  </a:ext>
                </a:extLst>
              </p:cNvPr>
              <p:cNvSpPr/>
              <p:nvPr/>
            </p:nvSpPr>
            <p:spPr>
              <a:xfrm>
                <a:off x="9566371" y="2703212"/>
                <a:ext cx="1179" cy="80189"/>
              </a:xfrm>
              <a:custGeom>
                <a:avLst/>
                <a:gdLst>
                  <a:gd name="connsiteX0" fmla="*/ 0 w 1179"/>
                  <a:gd name="connsiteY0" fmla="*/ 0 h 80189"/>
                  <a:gd name="connsiteX1" fmla="*/ 0 w 1179"/>
                  <a:gd name="connsiteY1" fmla="*/ 80190 h 801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79" h="80189">
                    <a:moveTo>
                      <a:pt x="0" y="0"/>
                    </a:moveTo>
                    <a:lnTo>
                      <a:pt x="0" y="8019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807" name="Forma livre: Forma 806">
              <a:extLst>
                <a:ext uri="{FF2B5EF4-FFF2-40B4-BE49-F238E27FC236}">
                  <a16:creationId xmlns:a16="http://schemas.microsoft.com/office/drawing/2014/main" id="{17025D52-7F3A-9BEA-907B-B2C879EF97AF}"/>
                </a:ext>
              </a:extLst>
            </p:cNvPr>
            <p:cNvSpPr/>
            <p:nvPr/>
          </p:nvSpPr>
          <p:spPr>
            <a:xfrm>
              <a:off x="9408904" y="2786538"/>
              <a:ext cx="99411" cy="67784"/>
            </a:xfrm>
            <a:custGeom>
              <a:avLst/>
              <a:gdLst>
                <a:gd name="connsiteX0" fmla="*/ 0 w 99411"/>
                <a:gd name="connsiteY0" fmla="*/ 0 h 67784"/>
                <a:gd name="connsiteX1" fmla="*/ 99412 w 99411"/>
                <a:gd name="connsiteY1" fmla="*/ 0 h 67784"/>
                <a:gd name="connsiteX2" fmla="*/ 99412 w 99411"/>
                <a:gd name="connsiteY2" fmla="*/ 67784 h 67784"/>
                <a:gd name="connsiteX3" fmla="*/ 0 w 99411"/>
                <a:gd name="connsiteY3" fmla="*/ 67784 h 677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9411" h="67784">
                  <a:moveTo>
                    <a:pt x="0" y="0"/>
                  </a:moveTo>
                  <a:lnTo>
                    <a:pt x="99412" y="0"/>
                  </a:lnTo>
                  <a:lnTo>
                    <a:pt x="99412" y="67784"/>
                  </a:lnTo>
                  <a:lnTo>
                    <a:pt x="0" y="67784"/>
                  </a:ln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08" name="Forma livre: Forma 807">
              <a:extLst>
                <a:ext uri="{FF2B5EF4-FFF2-40B4-BE49-F238E27FC236}">
                  <a16:creationId xmlns:a16="http://schemas.microsoft.com/office/drawing/2014/main" id="{B6514874-26CE-25E1-77A3-8BC3AB169E50}"/>
                </a:ext>
              </a:extLst>
            </p:cNvPr>
            <p:cNvSpPr/>
            <p:nvPr/>
          </p:nvSpPr>
          <p:spPr>
            <a:xfrm>
              <a:off x="9368478" y="2740406"/>
              <a:ext cx="180289" cy="91923"/>
            </a:xfrm>
            <a:custGeom>
              <a:avLst/>
              <a:gdLst>
                <a:gd name="connsiteX0" fmla="*/ 158707 w 180289"/>
                <a:gd name="connsiteY0" fmla="*/ 91924 h 91923"/>
                <a:gd name="connsiteX1" fmla="*/ 168707 w 180289"/>
                <a:gd name="connsiteY1" fmla="*/ 84447 h 91923"/>
                <a:gd name="connsiteX2" fmla="*/ 176243 w 180289"/>
                <a:gd name="connsiteY2" fmla="*/ 53314 h 91923"/>
                <a:gd name="connsiteX3" fmla="*/ 163164 w 180289"/>
                <a:gd name="connsiteY3" fmla="*/ 31357 h 91923"/>
                <a:gd name="connsiteX4" fmla="*/ 129650 w 180289"/>
                <a:gd name="connsiteY4" fmla="*/ 1722 h 91923"/>
                <a:gd name="connsiteX5" fmla="*/ 113565 w 180289"/>
                <a:gd name="connsiteY5" fmla="*/ 0 h 91923"/>
                <a:gd name="connsiteX6" fmla="*/ 90145 w 180289"/>
                <a:gd name="connsiteY6" fmla="*/ 17500 h 91923"/>
                <a:gd name="connsiteX7" fmla="*/ 66724 w 180289"/>
                <a:gd name="connsiteY7" fmla="*/ 0 h 91923"/>
                <a:gd name="connsiteX8" fmla="*/ 50639 w 180289"/>
                <a:gd name="connsiteY8" fmla="*/ 1722 h 91923"/>
                <a:gd name="connsiteX9" fmla="*/ 17124 w 180289"/>
                <a:gd name="connsiteY9" fmla="*/ 31357 h 91923"/>
                <a:gd name="connsiteX10" fmla="*/ 4046 w 180289"/>
                <a:gd name="connsiteY10" fmla="*/ 53314 h 91923"/>
                <a:gd name="connsiteX11" fmla="*/ 11582 w 180289"/>
                <a:gd name="connsiteY11" fmla="*/ 84447 h 91923"/>
                <a:gd name="connsiteX12" fmla="*/ 21582 w 180289"/>
                <a:gd name="connsiteY12" fmla="*/ 91924 h 919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80289" h="91923">
                  <a:moveTo>
                    <a:pt x="158707" y="91924"/>
                  </a:moveTo>
                  <a:lnTo>
                    <a:pt x="168707" y="84447"/>
                  </a:lnTo>
                  <a:cubicBezTo>
                    <a:pt x="189214" y="70591"/>
                    <a:pt x="176243" y="53314"/>
                    <a:pt x="176243" y="53314"/>
                  </a:cubicBezTo>
                  <a:lnTo>
                    <a:pt x="163164" y="31357"/>
                  </a:lnTo>
                  <a:cubicBezTo>
                    <a:pt x="150877" y="12925"/>
                    <a:pt x="154414" y="5849"/>
                    <a:pt x="129650" y="1722"/>
                  </a:cubicBezTo>
                  <a:lnTo>
                    <a:pt x="113565" y="0"/>
                  </a:lnTo>
                  <a:cubicBezTo>
                    <a:pt x="110593" y="10059"/>
                    <a:pt x="103081" y="17488"/>
                    <a:pt x="90145" y="17500"/>
                  </a:cubicBezTo>
                  <a:cubicBezTo>
                    <a:pt x="77208" y="17500"/>
                    <a:pt x="69684" y="10071"/>
                    <a:pt x="66724" y="0"/>
                  </a:cubicBezTo>
                  <a:lnTo>
                    <a:pt x="50639" y="1722"/>
                  </a:lnTo>
                  <a:cubicBezTo>
                    <a:pt x="25875" y="5849"/>
                    <a:pt x="29412" y="12925"/>
                    <a:pt x="17124" y="31357"/>
                  </a:cubicBezTo>
                  <a:lnTo>
                    <a:pt x="4046" y="53314"/>
                  </a:lnTo>
                  <a:cubicBezTo>
                    <a:pt x="4046" y="53314"/>
                    <a:pt x="-8925" y="70591"/>
                    <a:pt x="11582" y="84447"/>
                  </a:cubicBezTo>
                  <a:lnTo>
                    <a:pt x="21582" y="91924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09" name="Forma livre: Forma 808">
              <a:extLst>
                <a:ext uri="{FF2B5EF4-FFF2-40B4-BE49-F238E27FC236}">
                  <a16:creationId xmlns:a16="http://schemas.microsoft.com/office/drawing/2014/main" id="{FC213E98-DB97-C7F1-ECF0-7FB1DD4A7E3A}"/>
                </a:ext>
              </a:extLst>
            </p:cNvPr>
            <p:cNvSpPr/>
            <p:nvPr/>
          </p:nvSpPr>
          <p:spPr>
            <a:xfrm>
              <a:off x="9430839" y="2659095"/>
              <a:ext cx="55555" cy="62972"/>
            </a:xfrm>
            <a:custGeom>
              <a:avLst/>
              <a:gdLst>
                <a:gd name="connsiteX0" fmla="*/ 55555 w 55555"/>
                <a:gd name="connsiteY0" fmla="*/ 28302 h 62972"/>
                <a:gd name="connsiteX1" fmla="*/ 27784 w 55555"/>
                <a:gd name="connsiteY1" fmla="*/ 0 h 62972"/>
                <a:gd name="connsiteX2" fmla="*/ 0 w 55555"/>
                <a:gd name="connsiteY2" fmla="*/ 28302 h 62972"/>
                <a:gd name="connsiteX3" fmla="*/ 0 w 55555"/>
                <a:gd name="connsiteY3" fmla="*/ 34670 h 62972"/>
                <a:gd name="connsiteX4" fmla="*/ 27784 w 55555"/>
                <a:gd name="connsiteY4" fmla="*/ 62973 h 62972"/>
                <a:gd name="connsiteX5" fmla="*/ 55555 w 55555"/>
                <a:gd name="connsiteY5" fmla="*/ 34670 h 62972"/>
                <a:gd name="connsiteX6" fmla="*/ 55555 w 55555"/>
                <a:gd name="connsiteY6" fmla="*/ 28302 h 629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5555" h="62972">
                  <a:moveTo>
                    <a:pt x="55555" y="28302"/>
                  </a:moveTo>
                  <a:cubicBezTo>
                    <a:pt x="55555" y="12736"/>
                    <a:pt x="43055" y="0"/>
                    <a:pt x="27784" y="0"/>
                  </a:cubicBezTo>
                  <a:cubicBezTo>
                    <a:pt x="12512" y="0"/>
                    <a:pt x="0" y="12736"/>
                    <a:pt x="0" y="28302"/>
                  </a:cubicBezTo>
                  <a:lnTo>
                    <a:pt x="0" y="34670"/>
                  </a:lnTo>
                  <a:cubicBezTo>
                    <a:pt x="0" y="50237"/>
                    <a:pt x="12500" y="62973"/>
                    <a:pt x="27784" y="62973"/>
                  </a:cubicBezTo>
                  <a:cubicBezTo>
                    <a:pt x="43067" y="62973"/>
                    <a:pt x="55555" y="50237"/>
                    <a:pt x="55555" y="34670"/>
                  </a:cubicBezTo>
                  <a:lnTo>
                    <a:pt x="55555" y="28302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810" name="Gráfico 10">
            <a:extLst>
              <a:ext uri="{FF2B5EF4-FFF2-40B4-BE49-F238E27FC236}">
                <a16:creationId xmlns:a16="http://schemas.microsoft.com/office/drawing/2014/main" id="{1AB0119B-352C-FF5E-4260-8D5763D4E9E7}"/>
              </a:ext>
            </a:extLst>
          </p:cNvPr>
          <p:cNvGrpSpPr/>
          <p:nvPr/>
        </p:nvGrpSpPr>
        <p:grpSpPr>
          <a:xfrm>
            <a:off x="9351686" y="1480397"/>
            <a:ext cx="213883" cy="339804"/>
            <a:chOff x="9351686" y="1480397"/>
            <a:chExt cx="213883" cy="339804"/>
          </a:xfrm>
          <a:noFill/>
        </p:grpSpPr>
        <p:grpSp>
          <p:nvGrpSpPr>
            <p:cNvPr id="811" name="Gráfico 10">
              <a:extLst>
                <a:ext uri="{FF2B5EF4-FFF2-40B4-BE49-F238E27FC236}">
                  <a16:creationId xmlns:a16="http://schemas.microsoft.com/office/drawing/2014/main" id="{9DF2EA0A-C1C9-B7C8-E73E-FA5348A45298}"/>
                </a:ext>
              </a:extLst>
            </p:cNvPr>
            <p:cNvGrpSpPr/>
            <p:nvPr/>
          </p:nvGrpSpPr>
          <p:grpSpPr>
            <a:xfrm>
              <a:off x="9351686" y="1558701"/>
              <a:ext cx="213883" cy="261501"/>
              <a:chOff x="9351686" y="1558701"/>
              <a:chExt cx="213883" cy="261501"/>
            </a:xfrm>
            <a:noFill/>
          </p:grpSpPr>
          <p:grpSp>
            <p:nvGrpSpPr>
              <p:cNvPr id="812" name="Gráfico 10">
                <a:extLst>
                  <a:ext uri="{FF2B5EF4-FFF2-40B4-BE49-F238E27FC236}">
                    <a16:creationId xmlns:a16="http://schemas.microsoft.com/office/drawing/2014/main" id="{C98E322A-A52D-FE53-F73E-790A2266092A}"/>
                  </a:ext>
                </a:extLst>
              </p:cNvPr>
              <p:cNvGrpSpPr/>
              <p:nvPr/>
            </p:nvGrpSpPr>
            <p:grpSpPr>
              <a:xfrm>
                <a:off x="9372500" y="1669292"/>
                <a:ext cx="172420" cy="150910"/>
                <a:chOff x="9372500" y="1669292"/>
                <a:chExt cx="172420" cy="150910"/>
              </a:xfrm>
              <a:noFill/>
            </p:grpSpPr>
            <p:grpSp>
              <p:nvGrpSpPr>
                <p:cNvPr id="813" name="Gráfico 10">
                  <a:extLst>
                    <a:ext uri="{FF2B5EF4-FFF2-40B4-BE49-F238E27FC236}">
                      <a16:creationId xmlns:a16="http://schemas.microsoft.com/office/drawing/2014/main" id="{E205263B-447A-E931-88DB-5D0641801724}"/>
                    </a:ext>
                  </a:extLst>
                </p:cNvPr>
                <p:cNvGrpSpPr/>
                <p:nvPr/>
              </p:nvGrpSpPr>
              <p:grpSpPr>
                <a:xfrm>
                  <a:off x="9372500" y="1669292"/>
                  <a:ext cx="172420" cy="150910"/>
                  <a:chOff x="9372500" y="1669292"/>
                  <a:chExt cx="172420" cy="150910"/>
                </a:xfrm>
                <a:noFill/>
              </p:grpSpPr>
              <p:sp>
                <p:nvSpPr>
                  <p:cNvPr id="814" name="Forma livre: Forma 813">
                    <a:extLst>
                      <a:ext uri="{FF2B5EF4-FFF2-40B4-BE49-F238E27FC236}">
                        <a16:creationId xmlns:a16="http://schemas.microsoft.com/office/drawing/2014/main" id="{AAD8CD1C-F0B5-3B37-16C6-8F706FB1453B}"/>
                      </a:ext>
                    </a:extLst>
                  </p:cNvPr>
                  <p:cNvSpPr/>
                  <p:nvPr/>
                </p:nvSpPr>
                <p:spPr>
                  <a:xfrm>
                    <a:off x="9375437" y="1759918"/>
                    <a:ext cx="36554" cy="60283"/>
                  </a:xfrm>
                  <a:custGeom>
                    <a:avLst/>
                    <a:gdLst>
                      <a:gd name="connsiteX0" fmla="*/ 36534 w 36554"/>
                      <a:gd name="connsiteY0" fmla="*/ 0 h 60283"/>
                      <a:gd name="connsiteX1" fmla="*/ 36534 w 36554"/>
                      <a:gd name="connsiteY1" fmla="*/ 36357 h 60283"/>
                      <a:gd name="connsiteX2" fmla="*/ 0 w 36554"/>
                      <a:gd name="connsiteY2" fmla="*/ 60284 h 6028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</a:cxnLst>
                    <a:rect l="l" t="t" r="r" b="b"/>
                    <a:pathLst>
                      <a:path w="36554" h="60283">
                        <a:moveTo>
                          <a:pt x="36534" y="0"/>
                        </a:moveTo>
                        <a:cubicBezTo>
                          <a:pt x="36581" y="12771"/>
                          <a:pt x="36534" y="36357"/>
                          <a:pt x="36534" y="36357"/>
                        </a:cubicBezTo>
                        <a:cubicBezTo>
                          <a:pt x="36534" y="36357"/>
                          <a:pt x="38067" y="45413"/>
                          <a:pt x="0" y="60284"/>
                        </a:cubicBezTo>
                      </a:path>
                    </a:pathLst>
                  </a:custGeom>
                  <a:noFill/>
                  <a:ln w="6350" cap="rnd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815" name="Forma livre: Forma 814">
                    <a:extLst>
                      <a:ext uri="{FF2B5EF4-FFF2-40B4-BE49-F238E27FC236}">
                        <a16:creationId xmlns:a16="http://schemas.microsoft.com/office/drawing/2014/main" id="{3123423A-9D52-5FBC-BD21-C6364AB85058}"/>
                      </a:ext>
                    </a:extLst>
                  </p:cNvPr>
                  <p:cNvSpPr/>
                  <p:nvPr/>
                </p:nvSpPr>
                <p:spPr>
                  <a:xfrm>
                    <a:off x="9372642" y="1710248"/>
                    <a:ext cx="24670" cy="33432"/>
                  </a:xfrm>
                  <a:custGeom>
                    <a:avLst/>
                    <a:gdLst>
                      <a:gd name="connsiteX0" fmla="*/ 0 w 24670"/>
                      <a:gd name="connsiteY0" fmla="*/ 0 h 33432"/>
                      <a:gd name="connsiteX1" fmla="*/ 24670 w 24670"/>
                      <a:gd name="connsiteY1" fmla="*/ 33432 h 3343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24670" h="33432">
                        <a:moveTo>
                          <a:pt x="0" y="0"/>
                        </a:moveTo>
                        <a:lnTo>
                          <a:pt x="24670" y="33432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816" name="Forma livre: Forma 815">
                    <a:extLst>
                      <a:ext uri="{FF2B5EF4-FFF2-40B4-BE49-F238E27FC236}">
                        <a16:creationId xmlns:a16="http://schemas.microsoft.com/office/drawing/2014/main" id="{E96AB655-46BA-E16B-9666-D4FD8EE1D410}"/>
                      </a:ext>
                    </a:extLst>
                  </p:cNvPr>
                  <p:cNvSpPr/>
                  <p:nvPr/>
                </p:nvSpPr>
                <p:spPr>
                  <a:xfrm>
                    <a:off x="9372500" y="1669292"/>
                    <a:ext cx="25141" cy="25825"/>
                  </a:xfrm>
                  <a:custGeom>
                    <a:avLst/>
                    <a:gdLst>
                      <a:gd name="connsiteX0" fmla="*/ 25142 w 25141"/>
                      <a:gd name="connsiteY0" fmla="*/ 25826 h 25825"/>
                      <a:gd name="connsiteX1" fmla="*/ 0 w 25141"/>
                      <a:gd name="connsiteY1" fmla="*/ 0 h 2582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25141" h="25825">
                        <a:moveTo>
                          <a:pt x="25142" y="25826"/>
                        </a:moveTo>
                        <a:lnTo>
                          <a:pt x="0" y="0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817" name="Forma livre: Forma 816">
                    <a:extLst>
                      <a:ext uri="{FF2B5EF4-FFF2-40B4-BE49-F238E27FC236}">
                        <a16:creationId xmlns:a16="http://schemas.microsoft.com/office/drawing/2014/main" id="{112E8415-1890-DC91-E189-25916CA0748D}"/>
                      </a:ext>
                    </a:extLst>
                  </p:cNvPr>
                  <p:cNvSpPr/>
                  <p:nvPr/>
                </p:nvSpPr>
                <p:spPr>
                  <a:xfrm>
                    <a:off x="9520097" y="1710248"/>
                    <a:ext cx="24670" cy="33432"/>
                  </a:xfrm>
                  <a:custGeom>
                    <a:avLst/>
                    <a:gdLst>
                      <a:gd name="connsiteX0" fmla="*/ 24670 w 24670"/>
                      <a:gd name="connsiteY0" fmla="*/ 0 h 33432"/>
                      <a:gd name="connsiteX1" fmla="*/ 0 w 24670"/>
                      <a:gd name="connsiteY1" fmla="*/ 33432 h 3343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24670" h="33432">
                        <a:moveTo>
                          <a:pt x="24670" y="0"/>
                        </a:moveTo>
                        <a:lnTo>
                          <a:pt x="0" y="33432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818" name="Forma livre: Forma 817">
                    <a:extLst>
                      <a:ext uri="{FF2B5EF4-FFF2-40B4-BE49-F238E27FC236}">
                        <a16:creationId xmlns:a16="http://schemas.microsoft.com/office/drawing/2014/main" id="{7AC20F83-881B-FEBC-0433-4CCACCEA7C38}"/>
                      </a:ext>
                    </a:extLst>
                  </p:cNvPr>
                  <p:cNvSpPr/>
                  <p:nvPr/>
                </p:nvSpPr>
                <p:spPr>
                  <a:xfrm>
                    <a:off x="9519956" y="1669292"/>
                    <a:ext cx="24965" cy="25825"/>
                  </a:xfrm>
                  <a:custGeom>
                    <a:avLst/>
                    <a:gdLst>
                      <a:gd name="connsiteX0" fmla="*/ 0 w 24965"/>
                      <a:gd name="connsiteY0" fmla="*/ 25826 h 25825"/>
                      <a:gd name="connsiteX1" fmla="*/ 24965 w 24965"/>
                      <a:gd name="connsiteY1" fmla="*/ 0 h 2582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24965" h="25825">
                        <a:moveTo>
                          <a:pt x="0" y="25826"/>
                        </a:moveTo>
                        <a:lnTo>
                          <a:pt x="24965" y="0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  <p:grpSp>
              <p:nvGrpSpPr>
                <p:cNvPr id="819" name="Gráfico 10">
                  <a:extLst>
                    <a:ext uri="{FF2B5EF4-FFF2-40B4-BE49-F238E27FC236}">
                      <a16:creationId xmlns:a16="http://schemas.microsoft.com/office/drawing/2014/main" id="{FFC18154-79C7-5CA7-C3D6-A863B47D5F47}"/>
                    </a:ext>
                  </a:extLst>
                </p:cNvPr>
                <p:cNvGrpSpPr/>
                <p:nvPr/>
              </p:nvGrpSpPr>
              <p:grpSpPr>
                <a:xfrm>
                  <a:off x="9397642" y="1677783"/>
                  <a:ext cx="144530" cy="142419"/>
                  <a:chOff x="9397642" y="1677783"/>
                  <a:chExt cx="144530" cy="142419"/>
                </a:xfrm>
                <a:noFill/>
              </p:grpSpPr>
              <p:sp>
                <p:nvSpPr>
                  <p:cNvPr id="820" name="Forma livre: Forma 819">
                    <a:extLst>
                      <a:ext uri="{FF2B5EF4-FFF2-40B4-BE49-F238E27FC236}">
                        <a16:creationId xmlns:a16="http://schemas.microsoft.com/office/drawing/2014/main" id="{A2EC84FB-E79E-673B-2AB7-9C4EC9DCD828}"/>
                      </a:ext>
                    </a:extLst>
                  </p:cNvPr>
                  <p:cNvSpPr/>
                  <p:nvPr/>
                </p:nvSpPr>
                <p:spPr>
                  <a:xfrm>
                    <a:off x="9505607" y="1759918"/>
                    <a:ext cx="36566" cy="60283"/>
                  </a:xfrm>
                  <a:custGeom>
                    <a:avLst/>
                    <a:gdLst>
                      <a:gd name="connsiteX0" fmla="*/ 21 w 36566"/>
                      <a:gd name="connsiteY0" fmla="*/ 0 h 60283"/>
                      <a:gd name="connsiteX1" fmla="*/ 21 w 36566"/>
                      <a:gd name="connsiteY1" fmla="*/ 36357 h 60283"/>
                      <a:gd name="connsiteX2" fmla="*/ 36566 w 36566"/>
                      <a:gd name="connsiteY2" fmla="*/ 60284 h 6028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</a:cxnLst>
                    <a:rect l="l" t="t" r="r" b="b"/>
                    <a:pathLst>
                      <a:path w="36566" h="60283">
                        <a:moveTo>
                          <a:pt x="21" y="0"/>
                        </a:moveTo>
                        <a:cubicBezTo>
                          <a:pt x="-26" y="12771"/>
                          <a:pt x="21" y="36357"/>
                          <a:pt x="21" y="36357"/>
                        </a:cubicBezTo>
                        <a:cubicBezTo>
                          <a:pt x="21" y="36357"/>
                          <a:pt x="-1512" y="45413"/>
                          <a:pt x="36566" y="60284"/>
                        </a:cubicBezTo>
                      </a:path>
                    </a:pathLst>
                  </a:custGeom>
                  <a:noFill/>
                  <a:ln w="6350" cap="rnd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821" name="Forma livre: Forma 820">
                    <a:extLst>
                      <a:ext uri="{FF2B5EF4-FFF2-40B4-BE49-F238E27FC236}">
                        <a16:creationId xmlns:a16="http://schemas.microsoft.com/office/drawing/2014/main" id="{6B445868-5C2C-9079-15B1-9A61024A706A}"/>
                      </a:ext>
                    </a:extLst>
                  </p:cNvPr>
                  <p:cNvSpPr/>
                  <p:nvPr/>
                </p:nvSpPr>
                <p:spPr>
                  <a:xfrm>
                    <a:off x="9397642" y="1677783"/>
                    <a:ext cx="122313" cy="99400"/>
                  </a:xfrm>
                  <a:custGeom>
                    <a:avLst/>
                    <a:gdLst>
                      <a:gd name="connsiteX0" fmla="*/ 61145 w 122313"/>
                      <a:gd name="connsiteY0" fmla="*/ 0 h 99400"/>
                      <a:gd name="connsiteX1" fmla="*/ 0 w 122313"/>
                      <a:gd name="connsiteY1" fmla="*/ 17335 h 99400"/>
                      <a:gd name="connsiteX2" fmla="*/ 0 w 122313"/>
                      <a:gd name="connsiteY2" fmla="*/ 66062 h 99400"/>
                      <a:gd name="connsiteX3" fmla="*/ 61145 w 122313"/>
                      <a:gd name="connsiteY3" fmla="*/ 99400 h 99400"/>
                      <a:gd name="connsiteX4" fmla="*/ 122313 w 122313"/>
                      <a:gd name="connsiteY4" fmla="*/ 66062 h 99400"/>
                      <a:gd name="connsiteX5" fmla="*/ 122313 w 122313"/>
                      <a:gd name="connsiteY5" fmla="*/ 17335 h 99400"/>
                      <a:gd name="connsiteX6" fmla="*/ 61145 w 122313"/>
                      <a:gd name="connsiteY6" fmla="*/ 0 h 9940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122313" h="99400">
                        <a:moveTo>
                          <a:pt x="61145" y="0"/>
                        </a:moveTo>
                        <a:cubicBezTo>
                          <a:pt x="40814" y="0"/>
                          <a:pt x="25095" y="17335"/>
                          <a:pt x="0" y="17335"/>
                        </a:cubicBezTo>
                        <a:lnTo>
                          <a:pt x="0" y="66062"/>
                        </a:lnTo>
                        <a:cubicBezTo>
                          <a:pt x="12135" y="82761"/>
                          <a:pt x="34883" y="99400"/>
                          <a:pt x="61145" y="99400"/>
                        </a:cubicBezTo>
                        <a:cubicBezTo>
                          <a:pt x="87407" y="99400"/>
                          <a:pt x="110179" y="82773"/>
                          <a:pt x="122313" y="66062"/>
                        </a:cubicBezTo>
                        <a:lnTo>
                          <a:pt x="122313" y="17335"/>
                        </a:lnTo>
                        <a:cubicBezTo>
                          <a:pt x="97219" y="17335"/>
                          <a:pt x="81487" y="0"/>
                          <a:pt x="61145" y="0"/>
                        </a:cubicBezTo>
                        <a:close/>
                      </a:path>
                    </a:pathLst>
                  </a:custGeom>
                  <a:noFill/>
                  <a:ln w="6350" cap="rnd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</p:grpSp>
          <p:grpSp>
            <p:nvGrpSpPr>
              <p:cNvPr id="822" name="Gráfico 10">
                <a:extLst>
                  <a:ext uri="{FF2B5EF4-FFF2-40B4-BE49-F238E27FC236}">
                    <a16:creationId xmlns:a16="http://schemas.microsoft.com/office/drawing/2014/main" id="{D574D3CD-C649-C18E-2CCE-BC28C21909FE}"/>
                  </a:ext>
                </a:extLst>
              </p:cNvPr>
              <p:cNvGrpSpPr/>
              <p:nvPr/>
            </p:nvGrpSpPr>
            <p:grpSpPr>
              <a:xfrm>
                <a:off x="9351686" y="1558701"/>
                <a:ext cx="213883" cy="219343"/>
                <a:chOff x="9351686" y="1558701"/>
                <a:chExt cx="213883" cy="219343"/>
              </a:xfrm>
              <a:noFill/>
            </p:grpSpPr>
            <p:sp>
              <p:nvSpPr>
                <p:cNvPr id="823" name="Forma livre: Forma 822">
                  <a:extLst>
                    <a:ext uri="{FF2B5EF4-FFF2-40B4-BE49-F238E27FC236}">
                      <a16:creationId xmlns:a16="http://schemas.microsoft.com/office/drawing/2014/main" id="{4423CB3F-2806-A9C2-2668-D6FDA50E1406}"/>
                    </a:ext>
                  </a:extLst>
                </p:cNvPr>
                <p:cNvSpPr/>
                <p:nvPr/>
              </p:nvSpPr>
              <p:spPr>
                <a:xfrm>
                  <a:off x="9351686" y="1579208"/>
                  <a:ext cx="36698" cy="198835"/>
                </a:xfrm>
                <a:custGeom>
                  <a:avLst/>
                  <a:gdLst>
                    <a:gd name="connsiteX0" fmla="*/ 18007 w 36698"/>
                    <a:gd name="connsiteY0" fmla="*/ 0 h 198835"/>
                    <a:gd name="connsiteX1" fmla="*/ 0 w 36698"/>
                    <a:gd name="connsiteY1" fmla="*/ 71511 h 198835"/>
                    <a:gd name="connsiteX2" fmla="*/ 0 w 36698"/>
                    <a:gd name="connsiteY2" fmla="*/ 180876 h 198835"/>
                    <a:gd name="connsiteX3" fmla="*/ 36699 w 36698"/>
                    <a:gd name="connsiteY3" fmla="*/ 198836 h 19883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36698" h="198835">
                      <a:moveTo>
                        <a:pt x="18007" y="0"/>
                      </a:moveTo>
                      <a:cubicBezTo>
                        <a:pt x="7253" y="16675"/>
                        <a:pt x="0" y="39694"/>
                        <a:pt x="0" y="71511"/>
                      </a:cubicBezTo>
                      <a:lnTo>
                        <a:pt x="0" y="180876"/>
                      </a:lnTo>
                      <a:cubicBezTo>
                        <a:pt x="0" y="180876"/>
                        <a:pt x="7512" y="198836"/>
                        <a:pt x="36699" y="198836"/>
                      </a:cubicBez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824" name="Forma livre: Forma 823">
                  <a:extLst>
                    <a:ext uri="{FF2B5EF4-FFF2-40B4-BE49-F238E27FC236}">
                      <a16:creationId xmlns:a16="http://schemas.microsoft.com/office/drawing/2014/main" id="{52B79A5C-FF9C-E316-A192-E6AB2E19610A}"/>
                    </a:ext>
                  </a:extLst>
                </p:cNvPr>
                <p:cNvSpPr/>
                <p:nvPr/>
              </p:nvSpPr>
              <p:spPr>
                <a:xfrm>
                  <a:off x="9528788" y="1558701"/>
                  <a:ext cx="36781" cy="219331"/>
                </a:xfrm>
                <a:custGeom>
                  <a:avLst/>
                  <a:gdLst>
                    <a:gd name="connsiteX0" fmla="*/ 0 w 36781"/>
                    <a:gd name="connsiteY0" fmla="*/ 219331 h 219331"/>
                    <a:gd name="connsiteX1" fmla="*/ 36781 w 36781"/>
                    <a:gd name="connsiteY1" fmla="*/ 201371 h 219331"/>
                    <a:gd name="connsiteX2" fmla="*/ 36781 w 36781"/>
                    <a:gd name="connsiteY2" fmla="*/ 92006 h 219331"/>
                    <a:gd name="connsiteX3" fmla="*/ 365 w 36781"/>
                    <a:gd name="connsiteY3" fmla="*/ 0 h 21933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36781" h="219331">
                      <a:moveTo>
                        <a:pt x="0" y="219331"/>
                      </a:moveTo>
                      <a:cubicBezTo>
                        <a:pt x="29175" y="219331"/>
                        <a:pt x="36781" y="201371"/>
                        <a:pt x="36781" y="201371"/>
                      </a:cubicBezTo>
                      <a:lnTo>
                        <a:pt x="36781" y="92006"/>
                      </a:lnTo>
                      <a:cubicBezTo>
                        <a:pt x="36781" y="44352"/>
                        <a:pt x="20366" y="16404"/>
                        <a:pt x="365" y="0"/>
                      </a:cubicBez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825" name="Forma livre: Forma 824">
                  <a:extLst>
                    <a:ext uri="{FF2B5EF4-FFF2-40B4-BE49-F238E27FC236}">
                      <a16:creationId xmlns:a16="http://schemas.microsoft.com/office/drawing/2014/main" id="{199E7C8D-1FA6-E539-7DBF-CDD3792D67B4}"/>
                    </a:ext>
                  </a:extLst>
                </p:cNvPr>
                <p:cNvSpPr/>
                <p:nvPr/>
              </p:nvSpPr>
              <p:spPr>
                <a:xfrm>
                  <a:off x="9391532" y="1604810"/>
                  <a:ext cx="134332" cy="83303"/>
                </a:xfrm>
                <a:custGeom>
                  <a:avLst/>
                  <a:gdLst>
                    <a:gd name="connsiteX0" fmla="*/ 134261 w 134332"/>
                    <a:gd name="connsiteY0" fmla="*/ 83303 h 83303"/>
                    <a:gd name="connsiteX1" fmla="*/ 132008 w 134332"/>
                    <a:gd name="connsiteY1" fmla="*/ 33526 h 83303"/>
                    <a:gd name="connsiteX2" fmla="*/ 98682 w 134332"/>
                    <a:gd name="connsiteY2" fmla="*/ 26298 h 83303"/>
                    <a:gd name="connsiteX3" fmla="*/ 81583 w 134332"/>
                    <a:gd name="connsiteY3" fmla="*/ 0 h 83303"/>
                    <a:gd name="connsiteX4" fmla="*/ 62337 w 134332"/>
                    <a:gd name="connsiteY4" fmla="*/ 23680 h 83303"/>
                    <a:gd name="connsiteX5" fmla="*/ 2301 w 134332"/>
                    <a:gd name="connsiteY5" fmla="*/ 33526 h 83303"/>
                    <a:gd name="connsiteX6" fmla="*/ 72 w 134332"/>
                    <a:gd name="connsiteY6" fmla="*/ 52041 h 833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34332" h="83303">
                      <a:moveTo>
                        <a:pt x="134261" y="83303"/>
                      </a:moveTo>
                      <a:cubicBezTo>
                        <a:pt x="134261" y="83303"/>
                        <a:pt x="134957" y="47430"/>
                        <a:pt x="132008" y="33526"/>
                      </a:cubicBezTo>
                      <a:cubicBezTo>
                        <a:pt x="132008" y="33526"/>
                        <a:pt x="122574" y="26298"/>
                        <a:pt x="98682" y="26298"/>
                      </a:cubicBezTo>
                      <a:lnTo>
                        <a:pt x="81583" y="0"/>
                      </a:lnTo>
                      <a:lnTo>
                        <a:pt x="62337" y="23680"/>
                      </a:lnTo>
                      <a:cubicBezTo>
                        <a:pt x="12396" y="23680"/>
                        <a:pt x="2301" y="33526"/>
                        <a:pt x="2301" y="33526"/>
                      </a:cubicBezTo>
                      <a:cubicBezTo>
                        <a:pt x="-623" y="47430"/>
                        <a:pt x="72" y="52041"/>
                        <a:pt x="72" y="52041"/>
                      </a:cubicBez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grpSp>
          <p:nvGrpSpPr>
            <p:cNvPr id="826" name="Gráfico 10">
              <a:extLst>
                <a:ext uri="{FF2B5EF4-FFF2-40B4-BE49-F238E27FC236}">
                  <a16:creationId xmlns:a16="http://schemas.microsoft.com/office/drawing/2014/main" id="{7B6808D8-3D01-4298-5F12-C6D808E93385}"/>
                </a:ext>
              </a:extLst>
            </p:cNvPr>
            <p:cNvGrpSpPr/>
            <p:nvPr/>
          </p:nvGrpSpPr>
          <p:grpSpPr>
            <a:xfrm>
              <a:off x="9379600" y="1480397"/>
              <a:ext cx="158021" cy="115048"/>
              <a:chOff x="9379600" y="1480397"/>
              <a:chExt cx="158021" cy="115048"/>
            </a:xfrm>
            <a:noFill/>
          </p:grpSpPr>
          <p:grpSp>
            <p:nvGrpSpPr>
              <p:cNvPr id="827" name="Gráfico 10">
                <a:extLst>
                  <a:ext uri="{FF2B5EF4-FFF2-40B4-BE49-F238E27FC236}">
                    <a16:creationId xmlns:a16="http://schemas.microsoft.com/office/drawing/2014/main" id="{61A84F7A-1C3A-8A06-3E03-C55D6D0A530F}"/>
                  </a:ext>
                </a:extLst>
              </p:cNvPr>
              <p:cNvGrpSpPr/>
              <p:nvPr/>
            </p:nvGrpSpPr>
            <p:grpSpPr>
              <a:xfrm>
                <a:off x="9386593" y="1505976"/>
                <a:ext cx="144082" cy="89470"/>
                <a:chOff x="9386593" y="1505976"/>
                <a:chExt cx="144082" cy="89470"/>
              </a:xfrm>
              <a:noFill/>
            </p:grpSpPr>
            <p:sp>
              <p:nvSpPr>
                <p:cNvPr id="828" name="Forma livre: Forma 827">
                  <a:extLst>
                    <a:ext uri="{FF2B5EF4-FFF2-40B4-BE49-F238E27FC236}">
                      <a16:creationId xmlns:a16="http://schemas.microsoft.com/office/drawing/2014/main" id="{E5DF78B3-98DC-2347-D44C-CB3AAA05AEE9}"/>
                    </a:ext>
                  </a:extLst>
                </p:cNvPr>
                <p:cNvSpPr/>
                <p:nvPr/>
              </p:nvSpPr>
              <p:spPr>
                <a:xfrm>
                  <a:off x="9386593" y="1578600"/>
                  <a:ext cx="144082" cy="16846"/>
                </a:xfrm>
                <a:custGeom>
                  <a:avLst/>
                  <a:gdLst>
                    <a:gd name="connsiteX0" fmla="*/ 144083 w 144082"/>
                    <a:gd name="connsiteY0" fmla="*/ 16847 h 16846"/>
                    <a:gd name="connsiteX1" fmla="*/ 0 w 144082"/>
                    <a:gd name="connsiteY1" fmla="*/ 16847 h 168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44082" h="16846">
                      <a:moveTo>
                        <a:pt x="144083" y="16847"/>
                      </a:moveTo>
                      <a:cubicBezTo>
                        <a:pt x="70815" y="-16126"/>
                        <a:pt x="16156" y="7920"/>
                        <a:pt x="0" y="16847"/>
                      </a:cubicBez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grpSp>
              <p:nvGrpSpPr>
                <p:cNvPr id="829" name="Gráfico 10">
                  <a:extLst>
                    <a:ext uri="{FF2B5EF4-FFF2-40B4-BE49-F238E27FC236}">
                      <a16:creationId xmlns:a16="http://schemas.microsoft.com/office/drawing/2014/main" id="{C035E7AC-A00C-D71C-1902-376ADC52127F}"/>
                    </a:ext>
                  </a:extLst>
                </p:cNvPr>
                <p:cNvGrpSpPr/>
                <p:nvPr/>
              </p:nvGrpSpPr>
              <p:grpSpPr>
                <a:xfrm>
                  <a:off x="9432725" y="1505976"/>
                  <a:ext cx="51793" cy="51793"/>
                  <a:chOff x="9432725" y="1505976"/>
                  <a:chExt cx="51793" cy="51793"/>
                </a:xfrm>
              </p:grpSpPr>
              <p:sp>
                <p:nvSpPr>
                  <p:cNvPr id="830" name="Forma livre: Forma 829">
                    <a:extLst>
                      <a:ext uri="{FF2B5EF4-FFF2-40B4-BE49-F238E27FC236}">
                        <a16:creationId xmlns:a16="http://schemas.microsoft.com/office/drawing/2014/main" id="{D530F75A-A40F-F03A-8EF3-D77A8D4E57BC}"/>
                      </a:ext>
                    </a:extLst>
                  </p:cNvPr>
                  <p:cNvSpPr/>
                  <p:nvPr/>
                </p:nvSpPr>
                <p:spPr>
                  <a:xfrm>
                    <a:off x="9458622" y="1505976"/>
                    <a:ext cx="1179" cy="51793"/>
                  </a:xfrm>
                  <a:custGeom>
                    <a:avLst/>
                    <a:gdLst>
                      <a:gd name="connsiteX0" fmla="*/ 0 w 1179"/>
                      <a:gd name="connsiteY0" fmla="*/ 0 h 51793"/>
                      <a:gd name="connsiteX1" fmla="*/ 0 w 1179"/>
                      <a:gd name="connsiteY1" fmla="*/ 51793 h 5179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179" h="51793">
                        <a:moveTo>
                          <a:pt x="0" y="0"/>
                        </a:moveTo>
                        <a:lnTo>
                          <a:pt x="0" y="51793"/>
                        </a:lnTo>
                      </a:path>
                    </a:pathLst>
                  </a:custGeom>
                  <a:ln w="6350" cap="flat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831" name="Forma livre: Forma 830">
                    <a:extLst>
                      <a:ext uri="{FF2B5EF4-FFF2-40B4-BE49-F238E27FC236}">
                        <a16:creationId xmlns:a16="http://schemas.microsoft.com/office/drawing/2014/main" id="{40F983FD-0AB1-9B64-BF54-231DCB1D9515}"/>
                      </a:ext>
                    </a:extLst>
                  </p:cNvPr>
                  <p:cNvSpPr/>
                  <p:nvPr/>
                </p:nvSpPr>
                <p:spPr>
                  <a:xfrm>
                    <a:off x="9432725" y="1531872"/>
                    <a:ext cx="51793" cy="1179"/>
                  </a:xfrm>
                  <a:custGeom>
                    <a:avLst/>
                    <a:gdLst>
                      <a:gd name="connsiteX0" fmla="*/ 51793 w 51793"/>
                      <a:gd name="connsiteY0" fmla="*/ 0 h 1179"/>
                      <a:gd name="connsiteX1" fmla="*/ 0 w 51793"/>
                      <a:gd name="connsiteY1" fmla="*/ 0 h 117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51793" h="1179">
                        <a:moveTo>
                          <a:pt x="51793" y="0"/>
                        </a:moveTo>
                        <a:lnTo>
                          <a:pt x="0" y="0"/>
                        </a:lnTo>
                      </a:path>
                    </a:pathLst>
                  </a:custGeom>
                  <a:ln w="6350" cap="flat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</p:grpSp>
          <p:sp>
            <p:nvSpPr>
              <p:cNvPr id="832" name="Forma livre: Forma 831">
                <a:extLst>
                  <a:ext uri="{FF2B5EF4-FFF2-40B4-BE49-F238E27FC236}">
                    <a16:creationId xmlns:a16="http://schemas.microsoft.com/office/drawing/2014/main" id="{5FAEFE30-52B4-0F1D-B6E6-F7AE24275F50}"/>
                  </a:ext>
                </a:extLst>
              </p:cNvPr>
              <p:cNvSpPr/>
              <p:nvPr/>
            </p:nvSpPr>
            <p:spPr>
              <a:xfrm>
                <a:off x="9379600" y="1480397"/>
                <a:ext cx="158021" cy="107902"/>
              </a:xfrm>
              <a:custGeom>
                <a:avLst/>
                <a:gdLst>
                  <a:gd name="connsiteX0" fmla="*/ 12347 w 158021"/>
                  <a:gd name="connsiteY0" fmla="*/ 89707 h 107902"/>
                  <a:gd name="connsiteX1" fmla="*/ 0 w 158021"/>
                  <a:gd name="connsiteY1" fmla="*/ 41593 h 107902"/>
                  <a:gd name="connsiteX2" fmla="*/ 78787 w 158021"/>
                  <a:gd name="connsiteY2" fmla="*/ 0 h 107902"/>
                  <a:gd name="connsiteX3" fmla="*/ 79235 w 158021"/>
                  <a:gd name="connsiteY3" fmla="*/ 0 h 107902"/>
                  <a:gd name="connsiteX4" fmla="*/ 158021 w 158021"/>
                  <a:gd name="connsiteY4" fmla="*/ 41593 h 107902"/>
                  <a:gd name="connsiteX5" fmla="*/ 140108 w 158021"/>
                  <a:gd name="connsiteY5" fmla="*/ 107903 h 1079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58021" h="107902">
                    <a:moveTo>
                      <a:pt x="12347" y="89707"/>
                    </a:moveTo>
                    <a:lnTo>
                      <a:pt x="0" y="41593"/>
                    </a:lnTo>
                    <a:cubicBezTo>
                      <a:pt x="0" y="41593"/>
                      <a:pt x="24812" y="1038"/>
                      <a:pt x="78787" y="0"/>
                    </a:cubicBezTo>
                    <a:lnTo>
                      <a:pt x="79235" y="0"/>
                    </a:lnTo>
                    <a:cubicBezTo>
                      <a:pt x="133221" y="1050"/>
                      <a:pt x="158021" y="41593"/>
                      <a:pt x="158021" y="41593"/>
                    </a:cubicBezTo>
                    <a:lnTo>
                      <a:pt x="140108" y="107903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834" name="Gráfico 11">
            <a:extLst>
              <a:ext uri="{FF2B5EF4-FFF2-40B4-BE49-F238E27FC236}">
                <a16:creationId xmlns:a16="http://schemas.microsoft.com/office/drawing/2014/main" id="{1393096F-9EB4-54F0-AA7B-D81930D51759}"/>
              </a:ext>
            </a:extLst>
          </p:cNvPr>
          <p:cNvGrpSpPr/>
          <p:nvPr/>
        </p:nvGrpSpPr>
        <p:grpSpPr>
          <a:xfrm>
            <a:off x="11101257" y="2500948"/>
            <a:ext cx="348348" cy="270720"/>
            <a:chOff x="11101257" y="2500948"/>
            <a:chExt cx="348348" cy="270720"/>
          </a:xfrm>
          <a:noFill/>
        </p:grpSpPr>
        <p:grpSp>
          <p:nvGrpSpPr>
            <p:cNvPr id="835" name="Gráfico 11">
              <a:extLst>
                <a:ext uri="{FF2B5EF4-FFF2-40B4-BE49-F238E27FC236}">
                  <a16:creationId xmlns:a16="http://schemas.microsoft.com/office/drawing/2014/main" id="{CA8E7515-E3B2-7F8C-D8B6-C80682DFFDC6}"/>
                </a:ext>
              </a:extLst>
            </p:cNvPr>
            <p:cNvGrpSpPr/>
            <p:nvPr/>
          </p:nvGrpSpPr>
          <p:grpSpPr>
            <a:xfrm>
              <a:off x="11322246" y="2653379"/>
              <a:ext cx="127358" cy="118276"/>
              <a:chOff x="11322246" y="2653379"/>
              <a:chExt cx="127358" cy="118276"/>
            </a:xfrm>
            <a:noFill/>
          </p:grpSpPr>
          <p:sp>
            <p:nvSpPr>
              <p:cNvPr id="836" name="Forma livre: Forma 835">
                <a:extLst>
                  <a:ext uri="{FF2B5EF4-FFF2-40B4-BE49-F238E27FC236}">
                    <a16:creationId xmlns:a16="http://schemas.microsoft.com/office/drawing/2014/main" id="{90FB9A9E-8540-7681-E5A5-04B52435C58C}"/>
                  </a:ext>
                </a:extLst>
              </p:cNvPr>
              <p:cNvSpPr/>
              <p:nvPr/>
            </p:nvSpPr>
            <p:spPr>
              <a:xfrm>
                <a:off x="11322246" y="2653379"/>
                <a:ext cx="127358" cy="118276"/>
              </a:xfrm>
              <a:custGeom>
                <a:avLst/>
                <a:gdLst>
                  <a:gd name="connsiteX0" fmla="*/ 13640 w 127358"/>
                  <a:gd name="connsiteY0" fmla="*/ 12 h 118276"/>
                  <a:gd name="connsiteX1" fmla="*/ 113718 w 127358"/>
                  <a:gd name="connsiteY1" fmla="*/ 12 h 118276"/>
                  <a:gd name="connsiteX2" fmla="*/ 127359 w 127358"/>
                  <a:gd name="connsiteY2" fmla="*/ 13652 h 118276"/>
                  <a:gd name="connsiteX3" fmla="*/ 127359 w 127358"/>
                  <a:gd name="connsiteY3" fmla="*/ 104636 h 118276"/>
                  <a:gd name="connsiteX4" fmla="*/ 113718 w 127358"/>
                  <a:gd name="connsiteY4" fmla="*/ 118277 h 118276"/>
                  <a:gd name="connsiteX5" fmla="*/ 13640 w 127358"/>
                  <a:gd name="connsiteY5" fmla="*/ 118277 h 118276"/>
                  <a:gd name="connsiteX6" fmla="*/ 0 w 127358"/>
                  <a:gd name="connsiteY6" fmla="*/ 104636 h 118276"/>
                  <a:gd name="connsiteX7" fmla="*/ 0 w 127358"/>
                  <a:gd name="connsiteY7" fmla="*/ 13652 h 118276"/>
                  <a:gd name="connsiteX8" fmla="*/ 13652 w 127358"/>
                  <a:gd name="connsiteY8" fmla="*/ 0 h 1182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27358" h="118276">
                    <a:moveTo>
                      <a:pt x="13640" y="12"/>
                    </a:moveTo>
                    <a:lnTo>
                      <a:pt x="113718" y="12"/>
                    </a:lnTo>
                    <a:cubicBezTo>
                      <a:pt x="121245" y="12"/>
                      <a:pt x="127359" y="6126"/>
                      <a:pt x="127359" y="13652"/>
                    </a:cubicBezTo>
                    <a:lnTo>
                      <a:pt x="127359" y="104636"/>
                    </a:lnTo>
                    <a:cubicBezTo>
                      <a:pt x="127359" y="112163"/>
                      <a:pt x="121245" y="118277"/>
                      <a:pt x="113718" y="118277"/>
                    </a:cubicBezTo>
                    <a:lnTo>
                      <a:pt x="13640" y="118277"/>
                    </a:lnTo>
                    <a:cubicBezTo>
                      <a:pt x="6114" y="118277"/>
                      <a:pt x="0" y="112163"/>
                      <a:pt x="0" y="104636"/>
                    </a:cubicBezTo>
                    <a:lnTo>
                      <a:pt x="0" y="13652"/>
                    </a:lnTo>
                    <a:cubicBezTo>
                      <a:pt x="0" y="6126"/>
                      <a:pt x="6114" y="0"/>
                      <a:pt x="13652" y="0"/>
                    </a:cubicBezTo>
                    <a:close/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837" name="Gráfico 11">
                <a:extLst>
                  <a:ext uri="{FF2B5EF4-FFF2-40B4-BE49-F238E27FC236}">
                    <a16:creationId xmlns:a16="http://schemas.microsoft.com/office/drawing/2014/main" id="{6E985464-0957-4A40-FDC3-FCA240B18AE4}"/>
                  </a:ext>
                </a:extLst>
              </p:cNvPr>
              <p:cNvGrpSpPr/>
              <p:nvPr/>
            </p:nvGrpSpPr>
            <p:grpSpPr>
              <a:xfrm>
                <a:off x="11346073" y="2678416"/>
                <a:ext cx="79694" cy="68237"/>
                <a:chOff x="11346073" y="2678416"/>
                <a:chExt cx="79694" cy="68237"/>
              </a:xfrm>
              <a:noFill/>
            </p:grpSpPr>
            <p:sp>
              <p:nvSpPr>
                <p:cNvPr id="838" name="Forma livre: Forma 837">
                  <a:extLst>
                    <a:ext uri="{FF2B5EF4-FFF2-40B4-BE49-F238E27FC236}">
                      <a16:creationId xmlns:a16="http://schemas.microsoft.com/office/drawing/2014/main" id="{798A5B91-1C93-1B5C-ADC6-2EFF77EC69AA}"/>
                    </a:ext>
                  </a:extLst>
                </p:cNvPr>
                <p:cNvSpPr/>
                <p:nvPr/>
              </p:nvSpPr>
              <p:spPr>
                <a:xfrm>
                  <a:off x="11383694" y="2678416"/>
                  <a:ext cx="42073" cy="68237"/>
                </a:xfrm>
                <a:custGeom>
                  <a:avLst/>
                  <a:gdLst>
                    <a:gd name="connsiteX0" fmla="*/ 42073 w 42073"/>
                    <a:gd name="connsiteY0" fmla="*/ 45492 h 68237"/>
                    <a:gd name="connsiteX1" fmla="*/ 0 w 42073"/>
                    <a:gd name="connsiteY1" fmla="*/ 45492 h 68237"/>
                    <a:gd name="connsiteX2" fmla="*/ 29560 w 42073"/>
                    <a:gd name="connsiteY2" fmla="*/ 0 h 68237"/>
                    <a:gd name="connsiteX3" fmla="*/ 29560 w 42073"/>
                    <a:gd name="connsiteY3" fmla="*/ 68238 h 6823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2073" h="68237">
                      <a:moveTo>
                        <a:pt x="42073" y="45492"/>
                      </a:moveTo>
                      <a:lnTo>
                        <a:pt x="0" y="45492"/>
                      </a:lnTo>
                      <a:lnTo>
                        <a:pt x="29560" y="0"/>
                      </a:lnTo>
                      <a:lnTo>
                        <a:pt x="29560" y="68238"/>
                      </a:ln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839" name="Forma livre: Forma 838">
                  <a:extLst>
                    <a:ext uri="{FF2B5EF4-FFF2-40B4-BE49-F238E27FC236}">
                      <a16:creationId xmlns:a16="http://schemas.microsoft.com/office/drawing/2014/main" id="{6EB6E4A4-D424-196A-7E16-7D9800949A19}"/>
                    </a:ext>
                  </a:extLst>
                </p:cNvPr>
                <p:cNvSpPr/>
                <p:nvPr/>
              </p:nvSpPr>
              <p:spPr>
                <a:xfrm>
                  <a:off x="11346073" y="2679544"/>
                  <a:ext cx="15824" cy="67110"/>
                </a:xfrm>
                <a:custGeom>
                  <a:avLst/>
                  <a:gdLst>
                    <a:gd name="connsiteX0" fmla="*/ 15825 w 15824"/>
                    <a:gd name="connsiteY0" fmla="*/ 67110 h 67110"/>
                    <a:gd name="connsiteX1" fmla="*/ 15825 w 15824"/>
                    <a:gd name="connsiteY1" fmla="*/ 0 h 67110"/>
                    <a:gd name="connsiteX2" fmla="*/ 0 w 15824"/>
                    <a:gd name="connsiteY2" fmla="*/ 12881 h 6711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5824" h="67110">
                      <a:moveTo>
                        <a:pt x="15825" y="67110"/>
                      </a:moveTo>
                      <a:lnTo>
                        <a:pt x="15825" y="0"/>
                      </a:lnTo>
                      <a:lnTo>
                        <a:pt x="0" y="12881"/>
                      </a:ln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grpSp>
          <p:nvGrpSpPr>
            <p:cNvPr id="840" name="Gráfico 11">
              <a:extLst>
                <a:ext uri="{FF2B5EF4-FFF2-40B4-BE49-F238E27FC236}">
                  <a16:creationId xmlns:a16="http://schemas.microsoft.com/office/drawing/2014/main" id="{12582893-2086-61B6-B74D-DF1B9D27CF0E}"/>
                </a:ext>
              </a:extLst>
            </p:cNvPr>
            <p:cNvGrpSpPr/>
            <p:nvPr/>
          </p:nvGrpSpPr>
          <p:grpSpPr>
            <a:xfrm>
              <a:off x="11101257" y="2500948"/>
              <a:ext cx="295306" cy="270720"/>
              <a:chOff x="11101257" y="2500948"/>
              <a:chExt cx="295306" cy="270720"/>
            </a:xfrm>
            <a:noFill/>
          </p:grpSpPr>
          <p:grpSp>
            <p:nvGrpSpPr>
              <p:cNvPr id="841" name="Gráfico 11">
                <a:extLst>
                  <a:ext uri="{FF2B5EF4-FFF2-40B4-BE49-F238E27FC236}">
                    <a16:creationId xmlns:a16="http://schemas.microsoft.com/office/drawing/2014/main" id="{B525F5F7-A5D9-A183-636A-E13165211092}"/>
                  </a:ext>
                </a:extLst>
              </p:cNvPr>
              <p:cNvGrpSpPr/>
              <p:nvPr/>
            </p:nvGrpSpPr>
            <p:grpSpPr>
              <a:xfrm>
                <a:off x="11121877" y="2517971"/>
                <a:ext cx="239319" cy="253696"/>
                <a:chOff x="11121877" y="2517971"/>
                <a:chExt cx="239319" cy="253696"/>
              </a:xfrm>
              <a:noFill/>
            </p:grpSpPr>
            <p:sp>
              <p:nvSpPr>
                <p:cNvPr id="842" name="Forma livre: Forma 841">
                  <a:extLst>
                    <a:ext uri="{FF2B5EF4-FFF2-40B4-BE49-F238E27FC236}">
                      <a16:creationId xmlns:a16="http://schemas.microsoft.com/office/drawing/2014/main" id="{67F64872-D590-221A-9E6F-88D9E4DF9A7A}"/>
                    </a:ext>
                  </a:extLst>
                </p:cNvPr>
                <p:cNvSpPr/>
                <p:nvPr/>
              </p:nvSpPr>
              <p:spPr>
                <a:xfrm>
                  <a:off x="11147437" y="2663375"/>
                  <a:ext cx="1187" cy="88027"/>
                </a:xfrm>
                <a:custGeom>
                  <a:avLst/>
                  <a:gdLst>
                    <a:gd name="connsiteX0" fmla="*/ 0 w 1187"/>
                    <a:gd name="connsiteY0" fmla="*/ 0 h 88027"/>
                    <a:gd name="connsiteX1" fmla="*/ 0 w 1187"/>
                    <a:gd name="connsiteY1" fmla="*/ 88028 h 8802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187" h="88027">
                      <a:moveTo>
                        <a:pt x="0" y="0"/>
                      </a:moveTo>
                      <a:lnTo>
                        <a:pt x="0" y="88028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843" name="Forma livre: Forma 842">
                  <a:extLst>
                    <a:ext uri="{FF2B5EF4-FFF2-40B4-BE49-F238E27FC236}">
                      <a16:creationId xmlns:a16="http://schemas.microsoft.com/office/drawing/2014/main" id="{C3D05372-9531-3080-51B1-D99D1F7F2FB6}"/>
                    </a:ext>
                  </a:extLst>
                </p:cNvPr>
                <p:cNvSpPr/>
                <p:nvPr/>
              </p:nvSpPr>
              <p:spPr>
                <a:xfrm>
                  <a:off x="11195541" y="2678879"/>
                  <a:ext cx="54597" cy="91553"/>
                </a:xfrm>
                <a:custGeom>
                  <a:avLst/>
                  <a:gdLst>
                    <a:gd name="connsiteX0" fmla="*/ 0 w 54597"/>
                    <a:gd name="connsiteY0" fmla="*/ 91554 h 91553"/>
                    <a:gd name="connsiteX1" fmla="*/ 0 w 54597"/>
                    <a:gd name="connsiteY1" fmla="*/ 0 h 91553"/>
                    <a:gd name="connsiteX2" fmla="*/ 54598 w 54597"/>
                    <a:gd name="connsiteY2" fmla="*/ 0 h 91553"/>
                    <a:gd name="connsiteX3" fmla="*/ 54598 w 54597"/>
                    <a:gd name="connsiteY3" fmla="*/ 91554 h 9155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54597" h="91553">
                      <a:moveTo>
                        <a:pt x="0" y="91554"/>
                      </a:moveTo>
                      <a:lnTo>
                        <a:pt x="0" y="0"/>
                      </a:lnTo>
                      <a:lnTo>
                        <a:pt x="54598" y="0"/>
                      </a:lnTo>
                      <a:lnTo>
                        <a:pt x="54598" y="91554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844" name="Forma livre: Forma 843">
                  <a:extLst>
                    <a:ext uri="{FF2B5EF4-FFF2-40B4-BE49-F238E27FC236}">
                      <a16:creationId xmlns:a16="http://schemas.microsoft.com/office/drawing/2014/main" id="{D9528155-8D40-3800-E74C-6BA68322EA9B}"/>
                    </a:ext>
                  </a:extLst>
                </p:cNvPr>
                <p:cNvSpPr/>
                <p:nvPr/>
              </p:nvSpPr>
              <p:spPr>
                <a:xfrm>
                  <a:off x="11332397" y="2517971"/>
                  <a:ext cx="28800" cy="46061"/>
                </a:xfrm>
                <a:custGeom>
                  <a:avLst/>
                  <a:gdLst>
                    <a:gd name="connsiteX0" fmla="*/ 0 w 28800"/>
                    <a:gd name="connsiteY0" fmla="*/ 19113 h 46061"/>
                    <a:gd name="connsiteX1" fmla="*/ 0 w 28800"/>
                    <a:gd name="connsiteY1" fmla="*/ 0 h 46061"/>
                    <a:gd name="connsiteX2" fmla="*/ 28801 w 28800"/>
                    <a:gd name="connsiteY2" fmla="*/ 0 h 46061"/>
                    <a:gd name="connsiteX3" fmla="*/ 28801 w 28800"/>
                    <a:gd name="connsiteY3" fmla="*/ 46062 h 4606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28800" h="46061">
                      <a:moveTo>
                        <a:pt x="0" y="19113"/>
                      </a:moveTo>
                      <a:lnTo>
                        <a:pt x="0" y="0"/>
                      </a:lnTo>
                      <a:lnTo>
                        <a:pt x="28801" y="0"/>
                      </a:lnTo>
                      <a:lnTo>
                        <a:pt x="28801" y="46062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845" name="Forma livre: Forma 844">
                  <a:extLst>
                    <a:ext uri="{FF2B5EF4-FFF2-40B4-BE49-F238E27FC236}">
                      <a16:creationId xmlns:a16="http://schemas.microsoft.com/office/drawing/2014/main" id="{FB2A7A7D-2AE0-E1E1-47BC-2295CF89CA63}"/>
                    </a:ext>
                  </a:extLst>
                </p:cNvPr>
                <p:cNvSpPr/>
                <p:nvPr/>
              </p:nvSpPr>
              <p:spPr>
                <a:xfrm>
                  <a:off x="11121877" y="2771668"/>
                  <a:ext cx="174405" cy="1187"/>
                </a:xfrm>
                <a:custGeom>
                  <a:avLst/>
                  <a:gdLst>
                    <a:gd name="connsiteX0" fmla="*/ 0 w 174405"/>
                    <a:gd name="connsiteY0" fmla="*/ 0 h 1187"/>
                    <a:gd name="connsiteX1" fmla="*/ 174406 w 174405"/>
                    <a:gd name="connsiteY1" fmla="*/ 0 h 11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74405" h="1187">
                      <a:moveTo>
                        <a:pt x="0" y="0"/>
                      </a:moveTo>
                      <a:lnTo>
                        <a:pt x="174406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846" name="Forma livre: Forma 845">
                <a:extLst>
                  <a:ext uri="{FF2B5EF4-FFF2-40B4-BE49-F238E27FC236}">
                    <a16:creationId xmlns:a16="http://schemas.microsoft.com/office/drawing/2014/main" id="{64ADEF7E-8B0A-9418-4E20-B345A0ABBEE6}"/>
                  </a:ext>
                </a:extLst>
              </p:cNvPr>
              <p:cNvSpPr/>
              <p:nvPr/>
            </p:nvSpPr>
            <p:spPr>
              <a:xfrm>
                <a:off x="11101257" y="2500948"/>
                <a:ext cx="295306" cy="153737"/>
              </a:xfrm>
              <a:custGeom>
                <a:avLst/>
                <a:gdLst>
                  <a:gd name="connsiteX0" fmla="*/ 295306 w 295306"/>
                  <a:gd name="connsiteY0" fmla="*/ 126492 h 153737"/>
                  <a:gd name="connsiteX1" fmla="*/ 151814 w 295306"/>
                  <a:gd name="connsiteY1" fmla="*/ 0 h 153737"/>
                  <a:gd name="connsiteX2" fmla="*/ 151755 w 295306"/>
                  <a:gd name="connsiteY2" fmla="*/ 0 h 153737"/>
                  <a:gd name="connsiteX3" fmla="*/ 0 w 295306"/>
                  <a:gd name="connsiteY3" fmla="*/ 133271 h 153737"/>
                  <a:gd name="connsiteX4" fmla="*/ 18069 w 295306"/>
                  <a:gd name="connsiteY4" fmla="*/ 153737 h 153737"/>
                  <a:gd name="connsiteX5" fmla="*/ 151790 w 295306"/>
                  <a:gd name="connsiteY5" fmla="*/ 36387 h 153737"/>
                  <a:gd name="connsiteX6" fmla="*/ 253910 w 295306"/>
                  <a:gd name="connsiteY6" fmla="*/ 126492 h 1537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95306" h="153737">
                    <a:moveTo>
                      <a:pt x="295306" y="126492"/>
                    </a:moveTo>
                    <a:lnTo>
                      <a:pt x="151814" y="0"/>
                    </a:lnTo>
                    <a:lnTo>
                      <a:pt x="151755" y="0"/>
                    </a:lnTo>
                    <a:lnTo>
                      <a:pt x="0" y="133271"/>
                    </a:lnTo>
                    <a:lnTo>
                      <a:pt x="18069" y="153737"/>
                    </a:lnTo>
                    <a:lnTo>
                      <a:pt x="151790" y="36387"/>
                    </a:lnTo>
                    <a:lnTo>
                      <a:pt x="253910" y="126492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847" name="Gráfico 11">
            <a:extLst>
              <a:ext uri="{FF2B5EF4-FFF2-40B4-BE49-F238E27FC236}">
                <a16:creationId xmlns:a16="http://schemas.microsoft.com/office/drawing/2014/main" id="{359807F9-1960-FFDC-89A8-A06652AAABB8}"/>
              </a:ext>
            </a:extLst>
          </p:cNvPr>
          <p:cNvGrpSpPr/>
          <p:nvPr/>
        </p:nvGrpSpPr>
        <p:grpSpPr>
          <a:xfrm>
            <a:off x="11187297" y="1444909"/>
            <a:ext cx="176270" cy="352788"/>
            <a:chOff x="11187297" y="1444909"/>
            <a:chExt cx="176270" cy="352788"/>
          </a:xfrm>
          <a:noFill/>
        </p:grpSpPr>
        <p:grpSp>
          <p:nvGrpSpPr>
            <p:cNvPr id="848" name="Gráfico 11">
              <a:extLst>
                <a:ext uri="{FF2B5EF4-FFF2-40B4-BE49-F238E27FC236}">
                  <a16:creationId xmlns:a16="http://schemas.microsoft.com/office/drawing/2014/main" id="{1421CA15-9F74-6294-C778-4EEB37E50732}"/>
                </a:ext>
              </a:extLst>
            </p:cNvPr>
            <p:cNvGrpSpPr/>
            <p:nvPr/>
          </p:nvGrpSpPr>
          <p:grpSpPr>
            <a:xfrm>
              <a:off x="11187297" y="1444909"/>
              <a:ext cx="176270" cy="251958"/>
              <a:chOff x="11187297" y="1444909"/>
              <a:chExt cx="176270" cy="251958"/>
            </a:xfrm>
            <a:noFill/>
          </p:grpSpPr>
          <p:sp>
            <p:nvSpPr>
              <p:cNvPr id="849" name="Forma livre: Forma 848">
                <a:extLst>
                  <a:ext uri="{FF2B5EF4-FFF2-40B4-BE49-F238E27FC236}">
                    <a16:creationId xmlns:a16="http://schemas.microsoft.com/office/drawing/2014/main" id="{54B49E9B-1063-ED16-41DF-08C35A076F73}"/>
                  </a:ext>
                </a:extLst>
              </p:cNvPr>
              <p:cNvSpPr/>
              <p:nvPr/>
            </p:nvSpPr>
            <p:spPr>
              <a:xfrm>
                <a:off x="11193226" y="1444909"/>
                <a:ext cx="170341" cy="225311"/>
              </a:xfrm>
              <a:custGeom>
                <a:avLst/>
                <a:gdLst>
                  <a:gd name="connsiteX0" fmla="*/ 0 w 170341"/>
                  <a:gd name="connsiteY0" fmla="*/ 0 h 225311"/>
                  <a:gd name="connsiteX1" fmla="*/ 30415 w 170341"/>
                  <a:gd name="connsiteY1" fmla="*/ 37621 h 225311"/>
                  <a:gd name="connsiteX2" fmla="*/ 161632 w 170341"/>
                  <a:gd name="connsiteY2" fmla="*/ 146116 h 225311"/>
                  <a:gd name="connsiteX3" fmla="*/ 168672 w 170341"/>
                  <a:gd name="connsiteY3" fmla="*/ 195145 h 225311"/>
                  <a:gd name="connsiteX4" fmla="*/ 129495 w 170341"/>
                  <a:gd name="connsiteY4" fmla="*/ 225311 h 2253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0341" h="225311">
                    <a:moveTo>
                      <a:pt x="0" y="0"/>
                    </a:moveTo>
                    <a:cubicBezTo>
                      <a:pt x="0" y="0"/>
                      <a:pt x="3004" y="18294"/>
                      <a:pt x="30415" y="37621"/>
                    </a:cubicBezTo>
                    <a:lnTo>
                      <a:pt x="161632" y="146116"/>
                    </a:lnTo>
                    <a:cubicBezTo>
                      <a:pt x="161632" y="146116"/>
                      <a:pt x="174916" y="166642"/>
                      <a:pt x="168672" y="195145"/>
                    </a:cubicBezTo>
                    <a:cubicBezTo>
                      <a:pt x="168672" y="195145"/>
                      <a:pt x="153049" y="214734"/>
                      <a:pt x="129495" y="225311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850" name="Forma livre: Forma 849">
                <a:extLst>
                  <a:ext uri="{FF2B5EF4-FFF2-40B4-BE49-F238E27FC236}">
                    <a16:creationId xmlns:a16="http://schemas.microsoft.com/office/drawing/2014/main" id="{9DEDC636-71AC-5D68-613E-6A24EAB933E7}"/>
                  </a:ext>
                </a:extLst>
              </p:cNvPr>
              <p:cNvSpPr/>
              <p:nvPr/>
            </p:nvSpPr>
            <p:spPr>
              <a:xfrm>
                <a:off x="11187297" y="1623470"/>
                <a:ext cx="131451" cy="73398"/>
              </a:xfrm>
              <a:custGeom>
                <a:avLst/>
                <a:gdLst>
                  <a:gd name="connsiteX0" fmla="*/ 12779 w 131451"/>
                  <a:gd name="connsiteY0" fmla="*/ 0 h 73398"/>
                  <a:gd name="connsiteX1" fmla="*/ 12862 w 131451"/>
                  <a:gd name="connsiteY1" fmla="*/ 60450 h 73398"/>
                  <a:gd name="connsiteX2" fmla="*/ 66640 w 131451"/>
                  <a:gd name="connsiteY2" fmla="*/ 54313 h 73398"/>
                  <a:gd name="connsiteX3" fmla="*/ 124728 w 131451"/>
                  <a:gd name="connsiteY3" fmla="*/ 16086 h 73398"/>
                  <a:gd name="connsiteX4" fmla="*/ 131020 w 131451"/>
                  <a:gd name="connsiteY4" fmla="*/ 27447 h 733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31451" h="73398">
                    <a:moveTo>
                      <a:pt x="12779" y="0"/>
                    </a:moveTo>
                    <a:cubicBezTo>
                      <a:pt x="-16022" y="31911"/>
                      <a:pt x="12862" y="60450"/>
                      <a:pt x="12862" y="60450"/>
                    </a:cubicBezTo>
                    <a:cubicBezTo>
                      <a:pt x="40440" y="92812"/>
                      <a:pt x="66640" y="54313"/>
                      <a:pt x="66640" y="54313"/>
                    </a:cubicBezTo>
                    <a:cubicBezTo>
                      <a:pt x="99252" y="10708"/>
                      <a:pt x="124728" y="16086"/>
                      <a:pt x="124728" y="16086"/>
                    </a:cubicBezTo>
                    <a:cubicBezTo>
                      <a:pt x="124728" y="16086"/>
                      <a:pt x="133465" y="17867"/>
                      <a:pt x="131020" y="27447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851" name="Forma livre: Forma 850">
              <a:extLst>
                <a:ext uri="{FF2B5EF4-FFF2-40B4-BE49-F238E27FC236}">
                  <a16:creationId xmlns:a16="http://schemas.microsoft.com/office/drawing/2014/main" id="{76220D22-6AE6-A497-912A-D866220DC93B}"/>
                </a:ext>
              </a:extLst>
            </p:cNvPr>
            <p:cNvSpPr/>
            <p:nvPr/>
          </p:nvSpPr>
          <p:spPr>
            <a:xfrm>
              <a:off x="11273257" y="1683417"/>
              <a:ext cx="47494" cy="68706"/>
            </a:xfrm>
            <a:custGeom>
              <a:avLst/>
              <a:gdLst>
                <a:gd name="connsiteX0" fmla="*/ 45452 w 47494"/>
                <a:gd name="connsiteY0" fmla="*/ 44487 h 68706"/>
                <a:gd name="connsiteX1" fmla="*/ 40608 w 47494"/>
                <a:gd name="connsiteY1" fmla="*/ 67696 h 68706"/>
                <a:gd name="connsiteX2" fmla="*/ 19441 w 47494"/>
                <a:gd name="connsiteY2" fmla="*/ 57000 h 68706"/>
                <a:gd name="connsiteX3" fmla="*/ 2417 w 47494"/>
                <a:gd name="connsiteY3" fmla="*/ 25422 h 68706"/>
                <a:gd name="connsiteX4" fmla="*/ 8745 w 47494"/>
                <a:gd name="connsiteY4" fmla="*/ 1488 h 68706"/>
                <a:gd name="connsiteX5" fmla="*/ 31408 w 47494"/>
                <a:gd name="connsiteY5" fmla="*/ 11472 h 68706"/>
                <a:gd name="connsiteX6" fmla="*/ 45440 w 47494"/>
                <a:gd name="connsiteY6" fmla="*/ 44476 h 687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7494" h="68706">
                  <a:moveTo>
                    <a:pt x="45452" y="44487"/>
                  </a:moveTo>
                  <a:cubicBezTo>
                    <a:pt x="49512" y="54032"/>
                    <a:pt x="47327" y="64479"/>
                    <a:pt x="40608" y="67696"/>
                  </a:cubicBezTo>
                  <a:cubicBezTo>
                    <a:pt x="33889" y="70937"/>
                    <a:pt x="24356" y="66117"/>
                    <a:pt x="19441" y="57000"/>
                  </a:cubicBezTo>
                  <a:lnTo>
                    <a:pt x="2417" y="25422"/>
                  </a:lnTo>
                  <a:cubicBezTo>
                    <a:pt x="-2510" y="16316"/>
                    <a:pt x="339" y="5537"/>
                    <a:pt x="8745" y="1488"/>
                  </a:cubicBezTo>
                  <a:cubicBezTo>
                    <a:pt x="17150" y="-2560"/>
                    <a:pt x="27347" y="1940"/>
                    <a:pt x="31408" y="11472"/>
                  </a:cubicBezTo>
                  <a:lnTo>
                    <a:pt x="45440" y="44476"/>
                  </a:ln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52" name="Forma livre: Forma 851">
              <a:extLst>
                <a:ext uri="{FF2B5EF4-FFF2-40B4-BE49-F238E27FC236}">
                  <a16:creationId xmlns:a16="http://schemas.microsoft.com/office/drawing/2014/main" id="{551C834B-4A77-9951-55CF-F5FD8C0D4C47}"/>
                </a:ext>
              </a:extLst>
            </p:cNvPr>
            <p:cNvSpPr/>
            <p:nvPr/>
          </p:nvSpPr>
          <p:spPr>
            <a:xfrm>
              <a:off x="11314364" y="1752146"/>
              <a:ext cx="21914" cy="45551"/>
            </a:xfrm>
            <a:custGeom>
              <a:avLst/>
              <a:gdLst>
                <a:gd name="connsiteX0" fmla="*/ 0 w 21914"/>
                <a:gd name="connsiteY0" fmla="*/ 0 h 45551"/>
                <a:gd name="connsiteX1" fmla="*/ 21915 w 21914"/>
                <a:gd name="connsiteY1" fmla="*/ 45551 h 455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1914" h="45551">
                  <a:moveTo>
                    <a:pt x="0" y="0"/>
                  </a:moveTo>
                  <a:lnTo>
                    <a:pt x="21915" y="45551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853" name="Gráfico 11">
            <a:extLst>
              <a:ext uri="{FF2B5EF4-FFF2-40B4-BE49-F238E27FC236}">
                <a16:creationId xmlns:a16="http://schemas.microsoft.com/office/drawing/2014/main" id="{3A821427-C334-747C-DD0A-244F40F2EE5B}"/>
              </a:ext>
            </a:extLst>
          </p:cNvPr>
          <p:cNvGrpSpPr/>
          <p:nvPr/>
        </p:nvGrpSpPr>
        <p:grpSpPr>
          <a:xfrm>
            <a:off x="11145811" y="1942875"/>
            <a:ext cx="259228" cy="311451"/>
            <a:chOff x="11145811" y="1942875"/>
            <a:chExt cx="259228" cy="311451"/>
          </a:xfrm>
        </p:grpSpPr>
        <p:sp>
          <p:nvSpPr>
            <p:cNvPr id="854" name="Forma livre: Forma 853">
              <a:extLst>
                <a:ext uri="{FF2B5EF4-FFF2-40B4-BE49-F238E27FC236}">
                  <a16:creationId xmlns:a16="http://schemas.microsoft.com/office/drawing/2014/main" id="{F275A5F6-F0B5-725E-D041-42E3F3F8E629}"/>
                </a:ext>
              </a:extLst>
            </p:cNvPr>
            <p:cNvSpPr/>
            <p:nvPr/>
          </p:nvSpPr>
          <p:spPr>
            <a:xfrm>
              <a:off x="11306469" y="2167106"/>
              <a:ext cx="65519" cy="50774"/>
            </a:xfrm>
            <a:custGeom>
              <a:avLst/>
              <a:gdLst>
                <a:gd name="connsiteX0" fmla="*/ 0 w 65519"/>
                <a:gd name="connsiteY0" fmla="*/ 18864 h 50774"/>
                <a:gd name="connsiteX1" fmla="*/ 23055 w 65519"/>
                <a:gd name="connsiteY1" fmla="*/ 50775 h 50774"/>
                <a:gd name="connsiteX2" fmla="*/ 65519 w 65519"/>
                <a:gd name="connsiteY2" fmla="*/ 0 h 507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5519" h="50774">
                  <a:moveTo>
                    <a:pt x="0" y="18864"/>
                  </a:moveTo>
                  <a:lnTo>
                    <a:pt x="23055" y="50775"/>
                  </a:lnTo>
                  <a:lnTo>
                    <a:pt x="65519" y="0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55" name="Forma livre: Forma 854">
              <a:extLst>
                <a:ext uri="{FF2B5EF4-FFF2-40B4-BE49-F238E27FC236}">
                  <a16:creationId xmlns:a16="http://schemas.microsoft.com/office/drawing/2014/main" id="{AE38A8B5-0F8A-4C00-7EC2-4A3A3D6D08CF}"/>
                </a:ext>
              </a:extLst>
            </p:cNvPr>
            <p:cNvSpPr/>
            <p:nvPr/>
          </p:nvSpPr>
          <p:spPr>
            <a:xfrm>
              <a:off x="11276113" y="2125401"/>
              <a:ext cx="128925" cy="128925"/>
            </a:xfrm>
            <a:custGeom>
              <a:avLst/>
              <a:gdLst>
                <a:gd name="connsiteX0" fmla="*/ 33822 w 128925"/>
                <a:gd name="connsiteY0" fmla="*/ 7728 h 128925"/>
                <a:gd name="connsiteX1" fmla="*/ 64463 w 128925"/>
                <a:gd name="connsiteY1" fmla="*/ 0 h 128925"/>
                <a:gd name="connsiteX2" fmla="*/ 128926 w 128925"/>
                <a:gd name="connsiteY2" fmla="*/ 64463 h 128925"/>
                <a:gd name="connsiteX3" fmla="*/ 64463 w 128925"/>
                <a:gd name="connsiteY3" fmla="*/ 128926 h 128925"/>
                <a:gd name="connsiteX4" fmla="*/ 0 w 128925"/>
                <a:gd name="connsiteY4" fmla="*/ 64463 h 128925"/>
                <a:gd name="connsiteX5" fmla="*/ 10898 w 128925"/>
                <a:gd name="connsiteY5" fmla="*/ 28587 h 1289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28925" h="128925">
                  <a:moveTo>
                    <a:pt x="33822" y="7728"/>
                  </a:moveTo>
                  <a:cubicBezTo>
                    <a:pt x="42940" y="2802"/>
                    <a:pt x="53387" y="0"/>
                    <a:pt x="64463" y="0"/>
                  </a:cubicBezTo>
                  <a:cubicBezTo>
                    <a:pt x="100054" y="0"/>
                    <a:pt x="128926" y="28860"/>
                    <a:pt x="128926" y="64463"/>
                  </a:cubicBezTo>
                  <a:cubicBezTo>
                    <a:pt x="128926" y="100066"/>
                    <a:pt x="100054" y="128926"/>
                    <a:pt x="64463" y="128926"/>
                  </a:cubicBezTo>
                  <a:cubicBezTo>
                    <a:pt x="28872" y="128926"/>
                    <a:pt x="0" y="100054"/>
                    <a:pt x="0" y="64463"/>
                  </a:cubicBezTo>
                  <a:cubicBezTo>
                    <a:pt x="0" y="51179"/>
                    <a:pt x="4013" y="38832"/>
                    <a:pt x="10898" y="28587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856" name="Gráfico 11">
              <a:extLst>
                <a:ext uri="{FF2B5EF4-FFF2-40B4-BE49-F238E27FC236}">
                  <a16:creationId xmlns:a16="http://schemas.microsoft.com/office/drawing/2014/main" id="{0551FFD9-0F30-9A92-D51C-2362FAF59ED0}"/>
                </a:ext>
              </a:extLst>
            </p:cNvPr>
            <p:cNvGrpSpPr/>
            <p:nvPr/>
          </p:nvGrpSpPr>
          <p:grpSpPr>
            <a:xfrm>
              <a:off x="11145811" y="1942875"/>
              <a:ext cx="200784" cy="267336"/>
              <a:chOff x="11145811" y="1942875"/>
              <a:chExt cx="200784" cy="267336"/>
            </a:xfrm>
          </p:grpSpPr>
          <p:grpSp>
            <p:nvGrpSpPr>
              <p:cNvPr id="857" name="Gráfico 11">
                <a:extLst>
                  <a:ext uri="{FF2B5EF4-FFF2-40B4-BE49-F238E27FC236}">
                    <a16:creationId xmlns:a16="http://schemas.microsoft.com/office/drawing/2014/main" id="{6CE24049-2C39-AD23-B3D4-BE9582CE6097}"/>
                  </a:ext>
                </a:extLst>
              </p:cNvPr>
              <p:cNvGrpSpPr/>
              <p:nvPr/>
            </p:nvGrpSpPr>
            <p:grpSpPr>
              <a:xfrm>
                <a:off x="11176166" y="2014176"/>
                <a:ext cx="140073" cy="140061"/>
                <a:chOff x="11176166" y="2014176"/>
                <a:chExt cx="140073" cy="140061"/>
              </a:xfrm>
            </p:grpSpPr>
            <p:grpSp>
              <p:nvGrpSpPr>
                <p:cNvPr id="858" name="Gráfico 11">
                  <a:extLst>
                    <a:ext uri="{FF2B5EF4-FFF2-40B4-BE49-F238E27FC236}">
                      <a16:creationId xmlns:a16="http://schemas.microsoft.com/office/drawing/2014/main" id="{7FCA229E-04AB-F552-6B13-3238404C19AD}"/>
                    </a:ext>
                  </a:extLst>
                </p:cNvPr>
                <p:cNvGrpSpPr/>
                <p:nvPr/>
              </p:nvGrpSpPr>
              <p:grpSpPr>
                <a:xfrm>
                  <a:off x="11176166" y="2014176"/>
                  <a:ext cx="140073" cy="140061"/>
                  <a:chOff x="11176166" y="2014176"/>
                  <a:chExt cx="140073" cy="140061"/>
                </a:xfrm>
                <a:noFill/>
              </p:grpSpPr>
              <p:sp>
                <p:nvSpPr>
                  <p:cNvPr id="859" name="Forma livre: Forma 858">
                    <a:extLst>
                      <a:ext uri="{FF2B5EF4-FFF2-40B4-BE49-F238E27FC236}">
                        <a16:creationId xmlns:a16="http://schemas.microsoft.com/office/drawing/2014/main" id="{BC5E7496-BAF0-007F-9F76-3EEFC71458B3}"/>
                      </a:ext>
                    </a:extLst>
                  </p:cNvPr>
                  <p:cNvSpPr/>
                  <p:nvPr/>
                </p:nvSpPr>
                <p:spPr>
                  <a:xfrm>
                    <a:off x="11196026" y="2034047"/>
                    <a:ext cx="100354" cy="100330"/>
                  </a:xfrm>
                  <a:custGeom>
                    <a:avLst/>
                    <a:gdLst>
                      <a:gd name="connsiteX0" fmla="*/ 100352 w 100354"/>
                      <a:gd name="connsiteY0" fmla="*/ 49756 h 100330"/>
                      <a:gd name="connsiteX1" fmla="*/ 50575 w 100354"/>
                      <a:gd name="connsiteY1" fmla="*/ 100329 h 100330"/>
                      <a:gd name="connsiteX2" fmla="*/ 2 w 100354"/>
                      <a:gd name="connsiteY2" fmla="*/ 50575 h 100330"/>
                      <a:gd name="connsiteX3" fmla="*/ 49756 w 100354"/>
                      <a:gd name="connsiteY3" fmla="*/ 2 h 100330"/>
                      <a:gd name="connsiteX4" fmla="*/ 100341 w 100354"/>
                      <a:gd name="connsiteY4" fmla="*/ 49756 h 10033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100354" h="100330">
                        <a:moveTo>
                          <a:pt x="100352" y="49756"/>
                        </a:moveTo>
                        <a:cubicBezTo>
                          <a:pt x="100578" y="77464"/>
                          <a:pt x="78295" y="100103"/>
                          <a:pt x="50575" y="100329"/>
                        </a:cubicBezTo>
                        <a:cubicBezTo>
                          <a:pt x="22866" y="100554"/>
                          <a:pt x="227" y="78271"/>
                          <a:pt x="2" y="50575"/>
                        </a:cubicBezTo>
                        <a:cubicBezTo>
                          <a:pt x="-224" y="22867"/>
                          <a:pt x="22059" y="227"/>
                          <a:pt x="49756" y="2"/>
                        </a:cubicBezTo>
                        <a:cubicBezTo>
                          <a:pt x="77464" y="-235"/>
                          <a:pt x="100115" y="22047"/>
                          <a:pt x="100341" y="49756"/>
                        </a:cubicBezTo>
                        <a:close/>
                      </a:path>
                    </a:pathLst>
                  </a:custGeom>
                  <a:noFill/>
                  <a:ln w="6350" cap="flat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grpSp>
                <p:nvGrpSpPr>
                  <p:cNvPr id="860" name="Gráfico 11">
                    <a:extLst>
                      <a:ext uri="{FF2B5EF4-FFF2-40B4-BE49-F238E27FC236}">
                        <a16:creationId xmlns:a16="http://schemas.microsoft.com/office/drawing/2014/main" id="{254EE615-8437-713C-DFF0-88F4117BF9B8}"/>
                      </a:ext>
                    </a:extLst>
                  </p:cNvPr>
                  <p:cNvGrpSpPr/>
                  <p:nvPr/>
                </p:nvGrpSpPr>
                <p:grpSpPr>
                  <a:xfrm>
                    <a:off x="11245639" y="2014176"/>
                    <a:ext cx="1139" cy="140061"/>
                    <a:chOff x="11245639" y="2014176"/>
                    <a:chExt cx="1139" cy="140061"/>
                  </a:xfrm>
                </p:grpSpPr>
                <p:sp>
                  <p:nvSpPr>
                    <p:cNvPr id="861" name="Forma livre: Forma 860">
                      <a:extLst>
                        <a:ext uri="{FF2B5EF4-FFF2-40B4-BE49-F238E27FC236}">
                          <a16:creationId xmlns:a16="http://schemas.microsoft.com/office/drawing/2014/main" id="{C252CDD2-4571-3697-4BAB-19860EB69C4F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245639" y="2014176"/>
                      <a:ext cx="154" cy="18923"/>
                    </a:xfrm>
                    <a:custGeom>
                      <a:avLst/>
                      <a:gdLst>
                        <a:gd name="connsiteX0" fmla="*/ 154 w 154"/>
                        <a:gd name="connsiteY0" fmla="*/ 18923 h 18923"/>
                        <a:gd name="connsiteX1" fmla="*/ 0 w 154"/>
                        <a:gd name="connsiteY1" fmla="*/ 0 h 1892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154" h="18923">
                          <a:moveTo>
                            <a:pt x="154" y="18923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6350" cap="rnd">
                      <a:solidFill>
                        <a:schemeClr val="accent2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pt-PT"/>
                    </a:p>
                  </p:txBody>
                </p:sp>
                <p:sp>
                  <p:nvSpPr>
                    <p:cNvPr id="862" name="Forma livre: Forma 861">
                      <a:extLst>
                        <a:ext uri="{FF2B5EF4-FFF2-40B4-BE49-F238E27FC236}">
                          <a16:creationId xmlns:a16="http://schemas.microsoft.com/office/drawing/2014/main" id="{C48670B9-464E-D5C9-A750-6CE3F82CDB36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246624" y="2135302"/>
                      <a:ext cx="154" cy="18935"/>
                    </a:xfrm>
                    <a:custGeom>
                      <a:avLst/>
                      <a:gdLst>
                        <a:gd name="connsiteX0" fmla="*/ 154 w 154"/>
                        <a:gd name="connsiteY0" fmla="*/ 18935 h 18935"/>
                        <a:gd name="connsiteX1" fmla="*/ 0 w 154"/>
                        <a:gd name="connsiteY1" fmla="*/ 0 h 18935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154" h="18935">
                          <a:moveTo>
                            <a:pt x="154" y="18935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6350" cap="rnd">
                      <a:solidFill>
                        <a:schemeClr val="accent2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pt-PT"/>
                    </a:p>
                  </p:txBody>
                </p:sp>
              </p:grpSp>
              <p:grpSp>
                <p:nvGrpSpPr>
                  <p:cNvPr id="863" name="Gráfico 11">
                    <a:extLst>
                      <a:ext uri="{FF2B5EF4-FFF2-40B4-BE49-F238E27FC236}">
                        <a16:creationId xmlns:a16="http://schemas.microsoft.com/office/drawing/2014/main" id="{B07D6B27-360B-D53A-8554-044EC68F3B93}"/>
                      </a:ext>
                    </a:extLst>
                  </p:cNvPr>
                  <p:cNvGrpSpPr/>
                  <p:nvPr/>
                </p:nvGrpSpPr>
                <p:grpSpPr>
                  <a:xfrm>
                    <a:off x="11176166" y="2083637"/>
                    <a:ext cx="140073" cy="1139"/>
                    <a:chOff x="11176166" y="2083637"/>
                    <a:chExt cx="140073" cy="1139"/>
                  </a:xfrm>
                </p:grpSpPr>
                <p:sp>
                  <p:nvSpPr>
                    <p:cNvPr id="864" name="Forma livre: Forma 863">
                      <a:extLst>
                        <a:ext uri="{FF2B5EF4-FFF2-40B4-BE49-F238E27FC236}">
                          <a16:creationId xmlns:a16="http://schemas.microsoft.com/office/drawing/2014/main" id="{3BB530DD-3FB5-844C-69B6-58103DB565F9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297304" y="2083637"/>
                      <a:ext cx="18935" cy="142"/>
                    </a:xfrm>
                    <a:custGeom>
                      <a:avLst/>
                      <a:gdLst>
                        <a:gd name="connsiteX0" fmla="*/ 0 w 18935"/>
                        <a:gd name="connsiteY0" fmla="*/ 142 h 142"/>
                        <a:gd name="connsiteX1" fmla="*/ 18935 w 18935"/>
                        <a:gd name="connsiteY1" fmla="*/ 0 h 142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18935" h="142">
                          <a:moveTo>
                            <a:pt x="0" y="142"/>
                          </a:moveTo>
                          <a:lnTo>
                            <a:pt x="18935" y="0"/>
                          </a:lnTo>
                        </a:path>
                      </a:pathLst>
                    </a:custGeom>
                    <a:ln w="6350" cap="rnd">
                      <a:solidFill>
                        <a:schemeClr val="accent2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pt-PT"/>
                    </a:p>
                  </p:txBody>
                </p:sp>
                <p:sp>
                  <p:nvSpPr>
                    <p:cNvPr id="865" name="Forma livre: Forma 864">
                      <a:extLst>
                        <a:ext uri="{FF2B5EF4-FFF2-40B4-BE49-F238E27FC236}">
                          <a16:creationId xmlns:a16="http://schemas.microsoft.com/office/drawing/2014/main" id="{26C98B6C-B09E-B72A-ED17-87D27B0933F7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176166" y="2084622"/>
                      <a:ext cx="18947" cy="154"/>
                    </a:xfrm>
                    <a:custGeom>
                      <a:avLst/>
                      <a:gdLst>
                        <a:gd name="connsiteX0" fmla="*/ 0 w 18947"/>
                        <a:gd name="connsiteY0" fmla="*/ 154 h 154"/>
                        <a:gd name="connsiteX1" fmla="*/ 18947 w 18947"/>
                        <a:gd name="connsiteY1" fmla="*/ 0 h 154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18947" h="154">
                          <a:moveTo>
                            <a:pt x="0" y="154"/>
                          </a:moveTo>
                          <a:lnTo>
                            <a:pt x="18947" y="0"/>
                          </a:lnTo>
                        </a:path>
                      </a:pathLst>
                    </a:custGeom>
                    <a:ln w="6350" cap="rnd">
                      <a:solidFill>
                        <a:schemeClr val="accent2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pt-PT"/>
                    </a:p>
                  </p:txBody>
                </p:sp>
              </p:grpSp>
              <p:sp>
                <p:nvSpPr>
                  <p:cNvPr id="866" name="Forma livre: Forma 865">
                    <a:extLst>
                      <a:ext uri="{FF2B5EF4-FFF2-40B4-BE49-F238E27FC236}">
                        <a16:creationId xmlns:a16="http://schemas.microsoft.com/office/drawing/2014/main" id="{910F113F-B70C-B147-552A-424654D2EEA9}"/>
                      </a:ext>
                    </a:extLst>
                  </p:cNvPr>
                  <p:cNvSpPr/>
                  <p:nvPr/>
                </p:nvSpPr>
                <p:spPr>
                  <a:xfrm>
                    <a:off x="11196277" y="2035094"/>
                    <a:ext cx="13498" cy="13260"/>
                  </a:xfrm>
                  <a:custGeom>
                    <a:avLst/>
                    <a:gdLst>
                      <a:gd name="connsiteX0" fmla="*/ 13498 w 13498"/>
                      <a:gd name="connsiteY0" fmla="*/ 13261 h 13260"/>
                      <a:gd name="connsiteX1" fmla="*/ 0 w 13498"/>
                      <a:gd name="connsiteY1" fmla="*/ 0 h 1326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3498" h="13260">
                        <a:moveTo>
                          <a:pt x="13498" y="13261"/>
                        </a:moveTo>
                        <a:lnTo>
                          <a:pt x="0" y="0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grpSp>
                <p:nvGrpSpPr>
                  <p:cNvPr id="867" name="Gráfico 11">
                    <a:extLst>
                      <a:ext uri="{FF2B5EF4-FFF2-40B4-BE49-F238E27FC236}">
                        <a16:creationId xmlns:a16="http://schemas.microsoft.com/office/drawing/2014/main" id="{5B92ED78-3D09-13B4-0BE7-A57A3616DEAD}"/>
                      </a:ext>
                    </a:extLst>
                  </p:cNvPr>
                  <p:cNvGrpSpPr/>
                  <p:nvPr/>
                </p:nvGrpSpPr>
                <p:grpSpPr>
                  <a:xfrm>
                    <a:off x="11197084" y="2034275"/>
                    <a:ext cx="98225" cy="99852"/>
                    <a:chOff x="11197084" y="2034275"/>
                    <a:chExt cx="98225" cy="99852"/>
                  </a:xfrm>
                </p:grpSpPr>
                <p:sp>
                  <p:nvSpPr>
                    <p:cNvPr id="868" name="Forma livre: Forma 867">
                      <a:extLst>
                        <a:ext uri="{FF2B5EF4-FFF2-40B4-BE49-F238E27FC236}">
                          <a16:creationId xmlns:a16="http://schemas.microsoft.com/office/drawing/2014/main" id="{B7E603EA-EDF4-C9E2-3CA0-35EAD0C0D4D2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282037" y="2034275"/>
                      <a:ext cx="13272" cy="13498"/>
                    </a:xfrm>
                    <a:custGeom>
                      <a:avLst/>
                      <a:gdLst>
                        <a:gd name="connsiteX0" fmla="*/ 0 w 13272"/>
                        <a:gd name="connsiteY0" fmla="*/ 13498 h 13498"/>
                        <a:gd name="connsiteX1" fmla="*/ 13272 w 13272"/>
                        <a:gd name="connsiteY1" fmla="*/ 0 h 13498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13272" h="13498">
                          <a:moveTo>
                            <a:pt x="0" y="13498"/>
                          </a:moveTo>
                          <a:lnTo>
                            <a:pt x="13272" y="0"/>
                          </a:lnTo>
                        </a:path>
                      </a:pathLst>
                    </a:custGeom>
                    <a:ln w="6350" cap="rnd">
                      <a:solidFill>
                        <a:schemeClr val="accent2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pt-PT"/>
                    </a:p>
                  </p:txBody>
                </p:sp>
                <p:sp>
                  <p:nvSpPr>
                    <p:cNvPr id="869" name="Forma livre: Forma 868">
                      <a:extLst>
                        <a:ext uri="{FF2B5EF4-FFF2-40B4-BE49-F238E27FC236}">
                          <a16:creationId xmlns:a16="http://schemas.microsoft.com/office/drawing/2014/main" id="{DE7DD16E-42BA-BD70-7685-78C3AC40AAC9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197084" y="2120629"/>
                      <a:ext cx="13272" cy="13498"/>
                    </a:xfrm>
                    <a:custGeom>
                      <a:avLst/>
                      <a:gdLst>
                        <a:gd name="connsiteX0" fmla="*/ 0 w 13272"/>
                        <a:gd name="connsiteY0" fmla="*/ 13498 h 13498"/>
                        <a:gd name="connsiteX1" fmla="*/ 13272 w 13272"/>
                        <a:gd name="connsiteY1" fmla="*/ 0 h 13498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13272" h="13498">
                          <a:moveTo>
                            <a:pt x="0" y="13498"/>
                          </a:moveTo>
                          <a:lnTo>
                            <a:pt x="13272" y="0"/>
                          </a:lnTo>
                        </a:path>
                      </a:pathLst>
                    </a:custGeom>
                    <a:ln w="6350" cap="rnd">
                      <a:solidFill>
                        <a:schemeClr val="accent2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pt-PT"/>
                    </a:p>
                  </p:txBody>
                </p:sp>
              </p:grpSp>
            </p:grpSp>
            <p:grpSp>
              <p:nvGrpSpPr>
                <p:cNvPr id="870" name="Gráfico 11">
                  <a:extLst>
                    <a:ext uri="{FF2B5EF4-FFF2-40B4-BE49-F238E27FC236}">
                      <a16:creationId xmlns:a16="http://schemas.microsoft.com/office/drawing/2014/main" id="{A00E8B05-3C67-028F-37F3-62BDCF7DDDB4}"/>
                    </a:ext>
                  </a:extLst>
                </p:cNvPr>
                <p:cNvGrpSpPr/>
                <p:nvPr/>
              </p:nvGrpSpPr>
              <p:grpSpPr>
                <a:xfrm>
                  <a:off x="11221660" y="2065013"/>
                  <a:ext cx="42663" cy="39777"/>
                  <a:chOff x="11221660" y="2065013"/>
                  <a:chExt cx="42663" cy="39777"/>
                </a:xfrm>
                <a:solidFill>
                  <a:srgbClr val="394553"/>
                </a:solidFill>
              </p:grpSpPr>
              <p:grpSp>
                <p:nvGrpSpPr>
                  <p:cNvPr id="871" name="Gráfico 11">
                    <a:extLst>
                      <a:ext uri="{FF2B5EF4-FFF2-40B4-BE49-F238E27FC236}">
                        <a16:creationId xmlns:a16="http://schemas.microsoft.com/office/drawing/2014/main" id="{7C5EF1BA-99A0-3973-5758-2F461A3CE53C}"/>
                      </a:ext>
                    </a:extLst>
                  </p:cNvPr>
                  <p:cNvGrpSpPr/>
                  <p:nvPr/>
                </p:nvGrpSpPr>
                <p:grpSpPr>
                  <a:xfrm>
                    <a:off x="11221660" y="2065013"/>
                    <a:ext cx="42663" cy="15905"/>
                    <a:chOff x="11221660" y="2065013"/>
                    <a:chExt cx="42663" cy="15905"/>
                  </a:xfrm>
                  <a:solidFill>
                    <a:srgbClr val="394553"/>
                  </a:solidFill>
                </p:grpSpPr>
                <p:sp>
                  <p:nvSpPr>
                    <p:cNvPr id="872" name="Forma livre: Forma 871">
                      <a:extLst>
                        <a:ext uri="{FF2B5EF4-FFF2-40B4-BE49-F238E27FC236}">
                          <a16:creationId xmlns:a16="http://schemas.microsoft.com/office/drawing/2014/main" id="{04F91496-D264-68BC-48B9-1972B2861980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221660" y="2073794"/>
                      <a:ext cx="7130" cy="7123"/>
                    </a:xfrm>
                    <a:custGeom>
                      <a:avLst/>
                      <a:gdLst>
                        <a:gd name="connsiteX0" fmla="*/ 10 w 7130"/>
                        <a:gd name="connsiteY0" fmla="*/ 3266 h 7123"/>
                        <a:gd name="connsiteX1" fmla="*/ 3844 w 7130"/>
                        <a:gd name="connsiteY1" fmla="*/ 13 h 7123"/>
                        <a:gd name="connsiteX2" fmla="*/ 7121 w 7130"/>
                        <a:gd name="connsiteY2" fmla="*/ 3836 h 7123"/>
                        <a:gd name="connsiteX3" fmla="*/ 3274 w 7130"/>
                        <a:gd name="connsiteY3" fmla="*/ 7112 h 7123"/>
                        <a:gd name="connsiteX4" fmla="*/ 10 w 7130"/>
                        <a:gd name="connsiteY4" fmla="*/ 3266 h 712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7130" h="7123">
                          <a:moveTo>
                            <a:pt x="10" y="3266"/>
                          </a:moveTo>
                          <a:cubicBezTo>
                            <a:pt x="176" y="1295"/>
                            <a:pt x="1874" y="-153"/>
                            <a:pt x="3844" y="13"/>
                          </a:cubicBezTo>
                          <a:cubicBezTo>
                            <a:pt x="5803" y="167"/>
                            <a:pt x="7263" y="1889"/>
                            <a:pt x="7121" y="3836"/>
                          </a:cubicBezTo>
                          <a:cubicBezTo>
                            <a:pt x="6955" y="5806"/>
                            <a:pt x="5233" y="7267"/>
                            <a:pt x="3274" y="7112"/>
                          </a:cubicBezTo>
                          <a:cubicBezTo>
                            <a:pt x="1304" y="6946"/>
                            <a:pt x="-133" y="5248"/>
                            <a:pt x="10" y="3266"/>
                          </a:cubicBezTo>
                          <a:close/>
                        </a:path>
                      </a:pathLst>
                    </a:custGeom>
                    <a:solidFill>
                      <a:srgbClr val="394553"/>
                    </a:solidFill>
                    <a:ln w="6350" cap="flat">
                      <a:solidFill>
                        <a:schemeClr val="accent2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pt-PT"/>
                    </a:p>
                  </p:txBody>
                </p:sp>
                <p:sp>
                  <p:nvSpPr>
                    <p:cNvPr id="873" name="Forma livre: Forma 872">
                      <a:extLst>
                        <a:ext uri="{FF2B5EF4-FFF2-40B4-BE49-F238E27FC236}">
                          <a16:creationId xmlns:a16="http://schemas.microsoft.com/office/drawing/2014/main" id="{3947A4AA-CAAA-4053-73E6-D3DDCD55FC06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257203" y="2065013"/>
                      <a:ext cx="7121" cy="7121"/>
                    </a:xfrm>
                    <a:custGeom>
                      <a:avLst/>
                      <a:gdLst>
                        <a:gd name="connsiteX0" fmla="*/ 11 w 7121"/>
                        <a:gd name="connsiteY0" fmla="*/ 3262 h 7121"/>
                        <a:gd name="connsiteX1" fmla="*/ 3846 w 7121"/>
                        <a:gd name="connsiteY1" fmla="*/ 10 h 7121"/>
                        <a:gd name="connsiteX2" fmla="*/ 7110 w 7121"/>
                        <a:gd name="connsiteY2" fmla="*/ 3844 h 7121"/>
                        <a:gd name="connsiteX3" fmla="*/ 3276 w 7121"/>
                        <a:gd name="connsiteY3" fmla="*/ 7109 h 7121"/>
                        <a:gd name="connsiteX4" fmla="*/ 11 w 7121"/>
                        <a:gd name="connsiteY4" fmla="*/ 3262 h 7121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7121" h="7121">
                          <a:moveTo>
                            <a:pt x="11" y="3262"/>
                          </a:moveTo>
                          <a:cubicBezTo>
                            <a:pt x="177" y="1316"/>
                            <a:pt x="1875" y="-133"/>
                            <a:pt x="3846" y="10"/>
                          </a:cubicBezTo>
                          <a:cubicBezTo>
                            <a:pt x="5805" y="176"/>
                            <a:pt x="7265" y="1885"/>
                            <a:pt x="7110" y="3844"/>
                          </a:cubicBezTo>
                          <a:cubicBezTo>
                            <a:pt x="6944" y="5803"/>
                            <a:pt x="5223" y="7275"/>
                            <a:pt x="3276" y="7109"/>
                          </a:cubicBezTo>
                          <a:cubicBezTo>
                            <a:pt x="1305" y="6955"/>
                            <a:pt x="-143" y="5245"/>
                            <a:pt x="11" y="3262"/>
                          </a:cubicBezTo>
                          <a:close/>
                        </a:path>
                      </a:pathLst>
                    </a:custGeom>
                    <a:solidFill>
                      <a:srgbClr val="394553"/>
                    </a:solidFill>
                    <a:ln w="6350" cap="flat">
                      <a:solidFill>
                        <a:schemeClr val="accent2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pt-PT"/>
                    </a:p>
                  </p:txBody>
                </p:sp>
              </p:grpSp>
              <p:sp>
                <p:nvSpPr>
                  <p:cNvPr id="874" name="Forma livre: Forma 873">
                    <a:extLst>
                      <a:ext uri="{FF2B5EF4-FFF2-40B4-BE49-F238E27FC236}">
                        <a16:creationId xmlns:a16="http://schemas.microsoft.com/office/drawing/2014/main" id="{86A8DBA3-B01D-335A-9B83-40E72AB10144}"/>
                      </a:ext>
                    </a:extLst>
                  </p:cNvPr>
                  <p:cNvSpPr/>
                  <p:nvPr/>
                </p:nvSpPr>
                <p:spPr>
                  <a:xfrm>
                    <a:off x="11246387" y="2097658"/>
                    <a:ext cx="7132" cy="7131"/>
                  </a:xfrm>
                  <a:custGeom>
                    <a:avLst/>
                    <a:gdLst>
                      <a:gd name="connsiteX0" fmla="*/ 11 w 7132"/>
                      <a:gd name="connsiteY0" fmla="*/ 3276 h 7131"/>
                      <a:gd name="connsiteX1" fmla="*/ 3846 w 7132"/>
                      <a:gd name="connsiteY1" fmla="*/ 11 h 7131"/>
                      <a:gd name="connsiteX2" fmla="*/ 7122 w 7132"/>
                      <a:gd name="connsiteY2" fmla="*/ 3858 h 7131"/>
                      <a:gd name="connsiteX3" fmla="*/ 3276 w 7132"/>
                      <a:gd name="connsiteY3" fmla="*/ 7122 h 7131"/>
                      <a:gd name="connsiteX4" fmla="*/ 11 w 7132"/>
                      <a:gd name="connsiteY4" fmla="*/ 3276 h 713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7132" h="7131">
                        <a:moveTo>
                          <a:pt x="11" y="3276"/>
                        </a:moveTo>
                        <a:cubicBezTo>
                          <a:pt x="166" y="1317"/>
                          <a:pt x="1875" y="-143"/>
                          <a:pt x="3846" y="11"/>
                        </a:cubicBezTo>
                        <a:cubicBezTo>
                          <a:pt x="5793" y="177"/>
                          <a:pt x="7265" y="1887"/>
                          <a:pt x="7122" y="3858"/>
                        </a:cubicBezTo>
                        <a:cubicBezTo>
                          <a:pt x="6944" y="5805"/>
                          <a:pt x="5211" y="7265"/>
                          <a:pt x="3276" y="7122"/>
                        </a:cubicBezTo>
                        <a:cubicBezTo>
                          <a:pt x="1305" y="6968"/>
                          <a:pt x="-143" y="5247"/>
                          <a:pt x="11" y="3276"/>
                        </a:cubicBezTo>
                        <a:close/>
                      </a:path>
                    </a:pathLst>
                  </a:custGeom>
                  <a:solidFill>
                    <a:srgbClr val="394553"/>
                  </a:solidFill>
                  <a:ln w="6350" cap="flat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</p:grpSp>
          <p:grpSp>
            <p:nvGrpSpPr>
              <p:cNvPr id="875" name="Gráfico 11">
                <a:extLst>
                  <a:ext uri="{FF2B5EF4-FFF2-40B4-BE49-F238E27FC236}">
                    <a16:creationId xmlns:a16="http://schemas.microsoft.com/office/drawing/2014/main" id="{8CF0A50C-6678-5BEB-CDAD-33768C711BAC}"/>
                  </a:ext>
                </a:extLst>
              </p:cNvPr>
              <p:cNvGrpSpPr/>
              <p:nvPr/>
            </p:nvGrpSpPr>
            <p:grpSpPr>
              <a:xfrm>
                <a:off x="11145811" y="1942875"/>
                <a:ext cx="200784" cy="267336"/>
                <a:chOff x="11145811" y="1942875"/>
                <a:chExt cx="200784" cy="267336"/>
              </a:xfrm>
              <a:noFill/>
            </p:grpSpPr>
            <p:sp>
              <p:nvSpPr>
                <p:cNvPr id="876" name="Forma livre: Forma 875">
                  <a:extLst>
                    <a:ext uri="{FF2B5EF4-FFF2-40B4-BE49-F238E27FC236}">
                      <a16:creationId xmlns:a16="http://schemas.microsoft.com/office/drawing/2014/main" id="{83F4EE5C-575A-0E22-F319-F8CF24AEA782}"/>
                    </a:ext>
                  </a:extLst>
                </p:cNvPr>
                <p:cNvSpPr/>
                <p:nvPr/>
              </p:nvSpPr>
              <p:spPr>
                <a:xfrm>
                  <a:off x="11171358" y="1968625"/>
                  <a:ext cx="35460" cy="35424"/>
                </a:xfrm>
                <a:custGeom>
                  <a:avLst/>
                  <a:gdLst>
                    <a:gd name="connsiteX0" fmla="*/ 35460 w 35460"/>
                    <a:gd name="connsiteY0" fmla="*/ 0 h 35424"/>
                    <a:gd name="connsiteX1" fmla="*/ 35460 w 35460"/>
                    <a:gd name="connsiteY1" fmla="*/ 35425 h 35424"/>
                    <a:gd name="connsiteX2" fmla="*/ 0 w 35460"/>
                    <a:gd name="connsiteY2" fmla="*/ 35425 h 3542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35460" h="35424">
                      <a:moveTo>
                        <a:pt x="35460" y="0"/>
                      </a:moveTo>
                      <a:lnTo>
                        <a:pt x="35460" y="35425"/>
                      </a:lnTo>
                      <a:lnTo>
                        <a:pt x="0" y="35425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877" name="Forma livre: Forma 876">
                  <a:extLst>
                    <a:ext uri="{FF2B5EF4-FFF2-40B4-BE49-F238E27FC236}">
                      <a16:creationId xmlns:a16="http://schemas.microsoft.com/office/drawing/2014/main" id="{991D7E89-675B-8212-5A30-C56B0B66F70B}"/>
                    </a:ext>
                  </a:extLst>
                </p:cNvPr>
                <p:cNvSpPr/>
                <p:nvPr/>
              </p:nvSpPr>
              <p:spPr>
                <a:xfrm>
                  <a:off x="11145811" y="1942875"/>
                  <a:ext cx="200784" cy="267336"/>
                </a:xfrm>
                <a:custGeom>
                  <a:avLst/>
                  <a:gdLst>
                    <a:gd name="connsiteX0" fmla="*/ 200785 w 200784"/>
                    <a:gd name="connsiteY0" fmla="*/ 158937 h 267336"/>
                    <a:gd name="connsiteX1" fmla="*/ 200785 w 200784"/>
                    <a:gd name="connsiteY1" fmla="*/ 0 h 267336"/>
                    <a:gd name="connsiteX2" fmla="*/ 51879 w 200784"/>
                    <a:gd name="connsiteY2" fmla="*/ 0 h 267336"/>
                    <a:gd name="connsiteX3" fmla="*/ 0 w 200784"/>
                    <a:gd name="connsiteY3" fmla="*/ 51867 h 267336"/>
                    <a:gd name="connsiteX4" fmla="*/ 0 w 200784"/>
                    <a:gd name="connsiteY4" fmla="*/ 267337 h 267336"/>
                    <a:gd name="connsiteX5" fmla="*/ 106583 w 200784"/>
                    <a:gd name="connsiteY5" fmla="*/ 267337 h 26733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200784" h="267336">
                      <a:moveTo>
                        <a:pt x="200785" y="158937"/>
                      </a:moveTo>
                      <a:lnTo>
                        <a:pt x="200785" y="0"/>
                      </a:lnTo>
                      <a:lnTo>
                        <a:pt x="51879" y="0"/>
                      </a:lnTo>
                      <a:lnTo>
                        <a:pt x="0" y="51867"/>
                      </a:lnTo>
                      <a:lnTo>
                        <a:pt x="0" y="267337"/>
                      </a:lnTo>
                      <a:lnTo>
                        <a:pt x="106583" y="267337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</p:grpSp>
      <p:grpSp>
        <p:nvGrpSpPr>
          <p:cNvPr id="878" name="Gráfico 11">
            <a:extLst>
              <a:ext uri="{FF2B5EF4-FFF2-40B4-BE49-F238E27FC236}">
                <a16:creationId xmlns:a16="http://schemas.microsoft.com/office/drawing/2014/main" id="{BD324434-70F2-99A5-02C4-C80340DBC21E}"/>
              </a:ext>
            </a:extLst>
          </p:cNvPr>
          <p:cNvGrpSpPr/>
          <p:nvPr/>
        </p:nvGrpSpPr>
        <p:grpSpPr>
          <a:xfrm>
            <a:off x="11109092" y="3076875"/>
            <a:ext cx="332666" cy="332666"/>
            <a:chOff x="11109092" y="3076875"/>
            <a:chExt cx="332666" cy="332666"/>
          </a:xfrm>
        </p:grpSpPr>
        <p:grpSp>
          <p:nvGrpSpPr>
            <p:cNvPr id="879" name="Gráfico 11">
              <a:extLst>
                <a:ext uri="{FF2B5EF4-FFF2-40B4-BE49-F238E27FC236}">
                  <a16:creationId xmlns:a16="http://schemas.microsoft.com/office/drawing/2014/main" id="{72D5CD35-6042-ED72-8E66-CA64AF924E7B}"/>
                </a:ext>
              </a:extLst>
            </p:cNvPr>
            <p:cNvGrpSpPr/>
            <p:nvPr/>
          </p:nvGrpSpPr>
          <p:grpSpPr>
            <a:xfrm>
              <a:off x="11211330" y="3179113"/>
              <a:ext cx="128189" cy="128189"/>
              <a:chOff x="11211330" y="3179113"/>
              <a:chExt cx="128189" cy="128189"/>
            </a:xfrm>
          </p:grpSpPr>
          <p:grpSp>
            <p:nvGrpSpPr>
              <p:cNvPr id="880" name="Gráfico 11">
                <a:extLst>
                  <a:ext uri="{FF2B5EF4-FFF2-40B4-BE49-F238E27FC236}">
                    <a16:creationId xmlns:a16="http://schemas.microsoft.com/office/drawing/2014/main" id="{6915DF19-735D-787C-C25C-16666416D554}"/>
                  </a:ext>
                </a:extLst>
              </p:cNvPr>
              <p:cNvGrpSpPr/>
              <p:nvPr/>
            </p:nvGrpSpPr>
            <p:grpSpPr>
              <a:xfrm>
                <a:off x="11211330" y="3179113"/>
                <a:ext cx="128189" cy="128189"/>
                <a:chOff x="11211330" y="3179113"/>
                <a:chExt cx="128189" cy="128189"/>
              </a:xfrm>
              <a:noFill/>
            </p:grpSpPr>
            <p:sp>
              <p:nvSpPr>
                <p:cNvPr id="881" name="Forma livre: Forma 880">
                  <a:extLst>
                    <a:ext uri="{FF2B5EF4-FFF2-40B4-BE49-F238E27FC236}">
                      <a16:creationId xmlns:a16="http://schemas.microsoft.com/office/drawing/2014/main" id="{88791A3E-C20F-2ED0-6118-8FBA44D2A3C0}"/>
                    </a:ext>
                  </a:extLst>
                </p:cNvPr>
                <p:cNvSpPr/>
                <p:nvPr/>
              </p:nvSpPr>
              <p:spPr>
                <a:xfrm>
                  <a:off x="11225726" y="3193492"/>
                  <a:ext cx="99421" cy="99409"/>
                </a:xfrm>
                <a:custGeom>
                  <a:avLst/>
                  <a:gdLst>
                    <a:gd name="connsiteX0" fmla="*/ 95630 w 99421"/>
                    <a:gd name="connsiteY0" fmla="*/ 30697 h 99409"/>
                    <a:gd name="connsiteX1" fmla="*/ 68729 w 99421"/>
                    <a:gd name="connsiteY1" fmla="*/ 95611 h 99409"/>
                    <a:gd name="connsiteX2" fmla="*/ 3791 w 99421"/>
                    <a:gd name="connsiteY2" fmla="*/ 68734 h 99409"/>
                    <a:gd name="connsiteX3" fmla="*/ 30693 w 99421"/>
                    <a:gd name="connsiteY3" fmla="*/ 3796 h 99409"/>
                    <a:gd name="connsiteX4" fmla="*/ 95630 w 99421"/>
                    <a:gd name="connsiteY4" fmla="*/ 30697 h 9940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99421" h="99409">
                      <a:moveTo>
                        <a:pt x="95630" y="30697"/>
                      </a:moveTo>
                      <a:cubicBezTo>
                        <a:pt x="106125" y="56043"/>
                        <a:pt x="94087" y="85105"/>
                        <a:pt x="68729" y="95611"/>
                      </a:cubicBezTo>
                      <a:cubicBezTo>
                        <a:pt x="43371" y="106118"/>
                        <a:pt x="14298" y="94080"/>
                        <a:pt x="3791" y="68734"/>
                      </a:cubicBezTo>
                      <a:cubicBezTo>
                        <a:pt x="-6703" y="43376"/>
                        <a:pt x="5335" y="14303"/>
                        <a:pt x="30693" y="3796"/>
                      </a:cubicBezTo>
                      <a:cubicBezTo>
                        <a:pt x="56050" y="-6710"/>
                        <a:pt x="85136" y="5340"/>
                        <a:pt x="95630" y="30697"/>
                      </a:cubicBezTo>
                      <a:close/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grpSp>
              <p:nvGrpSpPr>
                <p:cNvPr id="882" name="Gráfico 11">
                  <a:extLst>
                    <a:ext uri="{FF2B5EF4-FFF2-40B4-BE49-F238E27FC236}">
                      <a16:creationId xmlns:a16="http://schemas.microsoft.com/office/drawing/2014/main" id="{E93B9AE2-7ACC-F280-4A67-7F4F014EC71C}"/>
                    </a:ext>
                  </a:extLst>
                </p:cNvPr>
                <p:cNvGrpSpPr/>
                <p:nvPr/>
              </p:nvGrpSpPr>
              <p:grpSpPr>
                <a:xfrm>
                  <a:off x="11248892" y="3179113"/>
                  <a:ext cx="53077" cy="128177"/>
                  <a:chOff x="11248892" y="3179113"/>
                  <a:chExt cx="53077" cy="128177"/>
                </a:xfrm>
              </p:grpSpPr>
              <p:sp>
                <p:nvSpPr>
                  <p:cNvPr id="883" name="Forma livre: Forma 882">
                    <a:extLst>
                      <a:ext uri="{FF2B5EF4-FFF2-40B4-BE49-F238E27FC236}">
                        <a16:creationId xmlns:a16="http://schemas.microsoft.com/office/drawing/2014/main" id="{E4EBEB1A-C305-C66D-C5AB-4619201B81BD}"/>
                      </a:ext>
                    </a:extLst>
                  </p:cNvPr>
                  <p:cNvSpPr/>
                  <p:nvPr/>
                </p:nvSpPr>
                <p:spPr>
                  <a:xfrm>
                    <a:off x="11248892" y="3179113"/>
                    <a:ext cx="7158" cy="17320"/>
                  </a:xfrm>
                  <a:custGeom>
                    <a:avLst/>
                    <a:gdLst>
                      <a:gd name="connsiteX0" fmla="*/ 7159 w 7158"/>
                      <a:gd name="connsiteY0" fmla="*/ 17321 h 17320"/>
                      <a:gd name="connsiteX1" fmla="*/ 0 w 7158"/>
                      <a:gd name="connsiteY1" fmla="*/ 0 h 1732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7158" h="17320">
                        <a:moveTo>
                          <a:pt x="7159" y="17321"/>
                        </a:moveTo>
                        <a:lnTo>
                          <a:pt x="0" y="0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884" name="Forma livre: Forma 883">
                    <a:extLst>
                      <a:ext uri="{FF2B5EF4-FFF2-40B4-BE49-F238E27FC236}">
                        <a16:creationId xmlns:a16="http://schemas.microsoft.com/office/drawing/2014/main" id="{381F51B8-1D71-8D4A-9811-2B9ADBE10557}"/>
                      </a:ext>
                    </a:extLst>
                  </p:cNvPr>
                  <p:cNvSpPr/>
                  <p:nvPr/>
                </p:nvSpPr>
                <p:spPr>
                  <a:xfrm>
                    <a:off x="11294799" y="3289982"/>
                    <a:ext cx="7170" cy="17308"/>
                  </a:xfrm>
                  <a:custGeom>
                    <a:avLst/>
                    <a:gdLst>
                      <a:gd name="connsiteX0" fmla="*/ 7170 w 7170"/>
                      <a:gd name="connsiteY0" fmla="*/ 17309 h 17308"/>
                      <a:gd name="connsiteX1" fmla="*/ 0 w 7170"/>
                      <a:gd name="connsiteY1" fmla="*/ 0 h 1730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7170" h="17308">
                        <a:moveTo>
                          <a:pt x="7170" y="17309"/>
                        </a:moveTo>
                        <a:lnTo>
                          <a:pt x="0" y="0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  <p:grpSp>
              <p:nvGrpSpPr>
                <p:cNvPr id="885" name="Gráfico 11">
                  <a:extLst>
                    <a:ext uri="{FF2B5EF4-FFF2-40B4-BE49-F238E27FC236}">
                      <a16:creationId xmlns:a16="http://schemas.microsoft.com/office/drawing/2014/main" id="{C5699850-58DA-6875-87E3-7B5839870AFF}"/>
                    </a:ext>
                  </a:extLst>
                </p:cNvPr>
                <p:cNvGrpSpPr/>
                <p:nvPr/>
              </p:nvGrpSpPr>
              <p:grpSpPr>
                <a:xfrm>
                  <a:off x="11211330" y="3216663"/>
                  <a:ext cx="128189" cy="53089"/>
                  <a:chOff x="11211330" y="3216663"/>
                  <a:chExt cx="128189" cy="53089"/>
                </a:xfrm>
              </p:grpSpPr>
              <p:sp>
                <p:nvSpPr>
                  <p:cNvPr id="886" name="Forma livre: Forma 885">
                    <a:extLst>
                      <a:ext uri="{FF2B5EF4-FFF2-40B4-BE49-F238E27FC236}">
                        <a16:creationId xmlns:a16="http://schemas.microsoft.com/office/drawing/2014/main" id="{37781812-09B7-3F60-B64B-C777AD421CE7}"/>
                      </a:ext>
                    </a:extLst>
                  </p:cNvPr>
                  <p:cNvSpPr/>
                  <p:nvPr/>
                </p:nvSpPr>
                <p:spPr>
                  <a:xfrm>
                    <a:off x="11322199" y="3216663"/>
                    <a:ext cx="17320" cy="7170"/>
                  </a:xfrm>
                  <a:custGeom>
                    <a:avLst/>
                    <a:gdLst>
                      <a:gd name="connsiteX0" fmla="*/ 0 w 17320"/>
                      <a:gd name="connsiteY0" fmla="*/ 7171 h 7170"/>
                      <a:gd name="connsiteX1" fmla="*/ 17321 w 17320"/>
                      <a:gd name="connsiteY1" fmla="*/ 0 h 717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7320" h="7170">
                        <a:moveTo>
                          <a:pt x="0" y="7171"/>
                        </a:moveTo>
                        <a:lnTo>
                          <a:pt x="17321" y="0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887" name="Forma livre: Forma 886">
                    <a:extLst>
                      <a:ext uri="{FF2B5EF4-FFF2-40B4-BE49-F238E27FC236}">
                        <a16:creationId xmlns:a16="http://schemas.microsoft.com/office/drawing/2014/main" id="{C8035D1E-9006-F9BD-C549-8F7BD3CD2398}"/>
                      </a:ext>
                    </a:extLst>
                  </p:cNvPr>
                  <p:cNvSpPr/>
                  <p:nvPr/>
                </p:nvSpPr>
                <p:spPr>
                  <a:xfrm>
                    <a:off x="11211330" y="3262570"/>
                    <a:ext cx="17332" cy="7182"/>
                  </a:xfrm>
                  <a:custGeom>
                    <a:avLst/>
                    <a:gdLst>
                      <a:gd name="connsiteX0" fmla="*/ 0 w 17332"/>
                      <a:gd name="connsiteY0" fmla="*/ 7182 h 7182"/>
                      <a:gd name="connsiteX1" fmla="*/ 17333 w 17332"/>
                      <a:gd name="connsiteY1" fmla="*/ 0 h 718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7332" h="7182">
                        <a:moveTo>
                          <a:pt x="0" y="7182"/>
                        </a:moveTo>
                        <a:lnTo>
                          <a:pt x="17333" y="0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  <p:grpSp>
              <p:nvGrpSpPr>
                <p:cNvPr id="888" name="Gráfico 11">
                  <a:extLst>
                    <a:ext uri="{FF2B5EF4-FFF2-40B4-BE49-F238E27FC236}">
                      <a16:creationId xmlns:a16="http://schemas.microsoft.com/office/drawing/2014/main" id="{BE0F3185-26BC-C0EB-A0F8-FE98359A351D}"/>
                    </a:ext>
                  </a:extLst>
                </p:cNvPr>
                <p:cNvGrpSpPr/>
                <p:nvPr/>
              </p:nvGrpSpPr>
              <p:grpSpPr>
                <a:xfrm>
                  <a:off x="11211342" y="3216639"/>
                  <a:ext cx="128177" cy="53113"/>
                  <a:chOff x="11211342" y="3216639"/>
                  <a:chExt cx="128177" cy="53113"/>
                </a:xfrm>
              </p:grpSpPr>
              <p:sp>
                <p:nvSpPr>
                  <p:cNvPr id="889" name="Forma livre: Forma 888">
                    <a:extLst>
                      <a:ext uri="{FF2B5EF4-FFF2-40B4-BE49-F238E27FC236}">
                        <a16:creationId xmlns:a16="http://schemas.microsoft.com/office/drawing/2014/main" id="{34B8506C-1B5D-0788-3A41-3109B9CA22A0}"/>
                      </a:ext>
                    </a:extLst>
                  </p:cNvPr>
                  <p:cNvSpPr/>
                  <p:nvPr/>
                </p:nvSpPr>
                <p:spPr>
                  <a:xfrm>
                    <a:off x="11211342" y="3216639"/>
                    <a:ext cx="17320" cy="7194"/>
                  </a:xfrm>
                  <a:custGeom>
                    <a:avLst/>
                    <a:gdLst>
                      <a:gd name="connsiteX0" fmla="*/ 17321 w 17320"/>
                      <a:gd name="connsiteY0" fmla="*/ 7194 h 7194"/>
                      <a:gd name="connsiteX1" fmla="*/ 0 w 17320"/>
                      <a:gd name="connsiteY1" fmla="*/ 0 h 719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7320" h="7194">
                        <a:moveTo>
                          <a:pt x="17321" y="7194"/>
                        </a:moveTo>
                        <a:lnTo>
                          <a:pt x="0" y="0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890" name="Forma livre: Forma 889">
                    <a:extLst>
                      <a:ext uri="{FF2B5EF4-FFF2-40B4-BE49-F238E27FC236}">
                        <a16:creationId xmlns:a16="http://schemas.microsoft.com/office/drawing/2014/main" id="{A50AE52A-4225-FAAC-66EE-49D7DE338C3F}"/>
                      </a:ext>
                    </a:extLst>
                  </p:cNvPr>
                  <p:cNvSpPr/>
                  <p:nvPr/>
                </p:nvSpPr>
                <p:spPr>
                  <a:xfrm>
                    <a:off x="11322199" y="3262570"/>
                    <a:ext cx="17320" cy="7182"/>
                  </a:xfrm>
                  <a:custGeom>
                    <a:avLst/>
                    <a:gdLst>
                      <a:gd name="connsiteX0" fmla="*/ 17321 w 17320"/>
                      <a:gd name="connsiteY0" fmla="*/ 7182 h 7182"/>
                      <a:gd name="connsiteX1" fmla="*/ 0 w 17320"/>
                      <a:gd name="connsiteY1" fmla="*/ 0 h 718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7320" h="7182">
                        <a:moveTo>
                          <a:pt x="17321" y="7182"/>
                        </a:moveTo>
                        <a:lnTo>
                          <a:pt x="0" y="0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  <p:grpSp>
              <p:nvGrpSpPr>
                <p:cNvPr id="891" name="Gráfico 11">
                  <a:extLst>
                    <a:ext uri="{FF2B5EF4-FFF2-40B4-BE49-F238E27FC236}">
                      <a16:creationId xmlns:a16="http://schemas.microsoft.com/office/drawing/2014/main" id="{491B9FC2-E2DF-419E-6D1E-5FB147506DDA}"/>
                    </a:ext>
                  </a:extLst>
                </p:cNvPr>
                <p:cNvGrpSpPr/>
                <p:nvPr/>
              </p:nvGrpSpPr>
              <p:grpSpPr>
                <a:xfrm>
                  <a:off x="11248892" y="3179113"/>
                  <a:ext cx="53077" cy="128189"/>
                  <a:chOff x="11248892" y="3179113"/>
                  <a:chExt cx="53077" cy="128189"/>
                </a:xfrm>
              </p:grpSpPr>
              <p:sp>
                <p:nvSpPr>
                  <p:cNvPr id="892" name="Forma livre: Forma 891">
                    <a:extLst>
                      <a:ext uri="{FF2B5EF4-FFF2-40B4-BE49-F238E27FC236}">
                        <a16:creationId xmlns:a16="http://schemas.microsoft.com/office/drawing/2014/main" id="{C87B1141-56FF-1921-D83C-C04032355C61}"/>
                      </a:ext>
                    </a:extLst>
                  </p:cNvPr>
                  <p:cNvSpPr/>
                  <p:nvPr/>
                </p:nvSpPr>
                <p:spPr>
                  <a:xfrm>
                    <a:off x="11294787" y="3179113"/>
                    <a:ext cx="7182" cy="17320"/>
                  </a:xfrm>
                  <a:custGeom>
                    <a:avLst/>
                    <a:gdLst>
                      <a:gd name="connsiteX0" fmla="*/ 0 w 7182"/>
                      <a:gd name="connsiteY0" fmla="*/ 17321 h 17320"/>
                      <a:gd name="connsiteX1" fmla="*/ 7182 w 7182"/>
                      <a:gd name="connsiteY1" fmla="*/ 0 h 1732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7182" h="17320">
                        <a:moveTo>
                          <a:pt x="0" y="17321"/>
                        </a:moveTo>
                        <a:lnTo>
                          <a:pt x="7182" y="0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893" name="Forma livre: Forma 892">
                    <a:extLst>
                      <a:ext uri="{FF2B5EF4-FFF2-40B4-BE49-F238E27FC236}">
                        <a16:creationId xmlns:a16="http://schemas.microsoft.com/office/drawing/2014/main" id="{D8CB3571-1881-F957-B3E2-99BE81C06B40}"/>
                      </a:ext>
                    </a:extLst>
                  </p:cNvPr>
                  <p:cNvSpPr/>
                  <p:nvPr/>
                </p:nvSpPr>
                <p:spPr>
                  <a:xfrm>
                    <a:off x="11248892" y="3289970"/>
                    <a:ext cx="7170" cy="17332"/>
                  </a:xfrm>
                  <a:custGeom>
                    <a:avLst/>
                    <a:gdLst>
                      <a:gd name="connsiteX0" fmla="*/ 0 w 7170"/>
                      <a:gd name="connsiteY0" fmla="*/ 17333 h 17332"/>
                      <a:gd name="connsiteX1" fmla="*/ 7170 w 7170"/>
                      <a:gd name="connsiteY1" fmla="*/ 0 h 1733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7170" h="17332">
                        <a:moveTo>
                          <a:pt x="0" y="17333"/>
                        </a:moveTo>
                        <a:lnTo>
                          <a:pt x="7170" y="0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</p:grpSp>
          <p:grpSp>
            <p:nvGrpSpPr>
              <p:cNvPr id="894" name="Gráfico 11">
                <a:extLst>
                  <a:ext uri="{FF2B5EF4-FFF2-40B4-BE49-F238E27FC236}">
                    <a16:creationId xmlns:a16="http://schemas.microsoft.com/office/drawing/2014/main" id="{74058902-3DF9-98D8-1C74-06E5835566A0}"/>
                  </a:ext>
                </a:extLst>
              </p:cNvPr>
              <p:cNvGrpSpPr/>
              <p:nvPr/>
            </p:nvGrpSpPr>
            <p:grpSpPr>
              <a:xfrm>
                <a:off x="11252039" y="3222447"/>
                <a:ext cx="37240" cy="38337"/>
                <a:chOff x="11252039" y="3222447"/>
                <a:chExt cx="37240" cy="38337"/>
              </a:xfrm>
              <a:solidFill>
                <a:srgbClr val="394553"/>
              </a:solidFill>
            </p:grpSpPr>
            <p:sp>
              <p:nvSpPr>
                <p:cNvPr id="895" name="Forma livre: Forma 894">
                  <a:extLst>
                    <a:ext uri="{FF2B5EF4-FFF2-40B4-BE49-F238E27FC236}">
                      <a16:creationId xmlns:a16="http://schemas.microsoft.com/office/drawing/2014/main" id="{963D07B0-ED5B-5664-70FD-D218C5F533C2}"/>
                    </a:ext>
                  </a:extLst>
                </p:cNvPr>
                <p:cNvSpPr/>
                <p:nvPr/>
              </p:nvSpPr>
              <p:spPr>
                <a:xfrm>
                  <a:off x="11252039" y="3234911"/>
                  <a:ext cx="7117" cy="7118"/>
                </a:xfrm>
                <a:custGeom>
                  <a:avLst/>
                  <a:gdLst>
                    <a:gd name="connsiteX0" fmla="*/ 830 w 7117"/>
                    <a:gd name="connsiteY0" fmla="*/ 5839 h 7118"/>
                    <a:gd name="connsiteX1" fmla="*/ 1281 w 7117"/>
                    <a:gd name="connsiteY1" fmla="*/ 817 h 7118"/>
                    <a:gd name="connsiteX2" fmla="*/ 6279 w 7117"/>
                    <a:gd name="connsiteY2" fmla="*/ 1268 h 7118"/>
                    <a:gd name="connsiteX3" fmla="*/ 5828 w 7117"/>
                    <a:gd name="connsiteY3" fmla="*/ 6302 h 7118"/>
                    <a:gd name="connsiteX4" fmla="*/ 818 w 7117"/>
                    <a:gd name="connsiteY4" fmla="*/ 5839 h 711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7117" h="7118">
                      <a:moveTo>
                        <a:pt x="830" y="5839"/>
                      </a:moveTo>
                      <a:cubicBezTo>
                        <a:pt x="-428" y="4331"/>
                        <a:pt x="-238" y="2111"/>
                        <a:pt x="1281" y="817"/>
                      </a:cubicBezTo>
                      <a:cubicBezTo>
                        <a:pt x="2789" y="-429"/>
                        <a:pt x="5033" y="-227"/>
                        <a:pt x="6279" y="1268"/>
                      </a:cubicBezTo>
                      <a:cubicBezTo>
                        <a:pt x="7549" y="2776"/>
                        <a:pt x="7359" y="5020"/>
                        <a:pt x="5828" y="6302"/>
                      </a:cubicBezTo>
                      <a:cubicBezTo>
                        <a:pt x="4320" y="7549"/>
                        <a:pt x="2100" y="7347"/>
                        <a:pt x="818" y="5839"/>
                      </a:cubicBezTo>
                      <a:close/>
                    </a:path>
                  </a:pathLst>
                </a:custGeom>
                <a:solidFill>
                  <a:srgbClr val="394553"/>
                </a:solidFill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896" name="Forma livre: Forma 895">
                  <a:extLst>
                    <a:ext uri="{FF2B5EF4-FFF2-40B4-BE49-F238E27FC236}">
                      <a16:creationId xmlns:a16="http://schemas.microsoft.com/office/drawing/2014/main" id="{F49811A3-817A-D611-72A5-8834A1651125}"/>
                    </a:ext>
                  </a:extLst>
                </p:cNvPr>
                <p:cNvSpPr/>
                <p:nvPr/>
              </p:nvSpPr>
              <p:spPr>
                <a:xfrm>
                  <a:off x="11282151" y="3222447"/>
                  <a:ext cx="7127" cy="7122"/>
                </a:xfrm>
                <a:custGeom>
                  <a:avLst/>
                  <a:gdLst>
                    <a:gd name="connsiteX0" fmla="*/ 836 w 7127"/>
                    <a:gd name="connsiteY0" fmla="*/ 5838 h 7122"/>
                    <a:gd name="connsiteX1" fmla="*/ 1275 w 7127"/>
                    <a:gd name="connsiteY1" fmla="*/ 816 h 7122"/>
                    <a:gd name="connsiteX2" fmla="*/ 6297 w 7127"/>
                    <a:gd name="connsiteY2" fmla="*/ 1279 h 7122"/>
                    <a:gd name="connsiteX3" fmla="*/ 5858 w 7127"/>
                    <a:gd name="connsiteY3" fmla="*/ 6301 h 7122"/>
                    <a:gd name="connsiteX4" fmla="*/ 836 w 7127"/>
                    <a:gd name="connsiteY4" fmla="*/ 5838 h 71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7127" h="7122">
                      <a:moveTo>
                        <a:pt x="836" y="5838"/>
                      </a:moveTo>
                      <a:cubicBezTo>
                        <a:pt x="-434" y="4319"/>
                        <a:pt x="-232" y="2099"/>
                        <a:pt x="1275" y="816"/>
                      </a:cubicBezTo>
                      <a:cubicBezTo>
                        <a:pt x="2783" y="-430"/>
                        <a:pt x="5050" y="-228"/>
                        <a:pt x="6297" y="1279"/>
                      </a:cubicBezTo>
                      <a:cubicBezTo>
                        <a:pt x="7555" y="2787"/>
                        <a:pt x="7365" y="5031"/>
                        <a:pt x="5858" y="6301"/>
                      </a:cubicBezTo>
                      <a:cubicBezTo>
                        <a:pt x="4338" y="7559"/>
                        <a:pt x="2106" y="7346"/>
                        <a:pt x="836" y="5838"/>
                      </a:cubicBezTo>
                      <a:close/>
                    </a:path>
                  </a:pathLst>
                </a:custGeom>
                <a:solidFill>
                  <a:srgbClr val="394553"/>
                </a:solidFill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897" name="Forma livre: Forma 896">
                  <a:extLst>
                    <a:ext uri="{FF2B5EF4-FFF2-40B4-BE49-F238E27FC236}">
                      <a16:creationId xmlns:a16="http://schemas.microsoft.com/office/drawing/2014/main" id="{F4267F4C-114D-044C-4491-820F4F8B5F9A}"/>
                    </a:ext>
                  </a:extLst>
                </p:cNvPr>
                <p:cNvSpPr/>
                <p:nvPr/>
              </p:nvSpPr>
              <p:spPr>
                <a:xfrm>
                  <a:off x="11277441" y="3253669"/>
                  <a:ext cx="7114" cy="7116"/>
                </a:xfrm>
                <a:custGeom>
                  <a:avLst/>
                  <a:gdLst>
                    <a:gd name="connsiteX0" fmla="*/ 821 w 7114"/>
                    <a:gd name="connsiteY0" fmla="*/ 5839 h 7116"/>
                    <a:gd name="connsiteX1" fmla="*/ 1272 w 7114"/>
                    <a:gd name="connsiteY1" fmla="*/ 817 h 7116"/>
                    <a:gd name="connsiteX2" fmla="*/ 6294 w 7114"/>
                    <a:gd name="connsiteY2" fmla="*/ 1269 h 7116"/>
                    <a:gd name="connsiteX3" fmla="*/ 5831 w 7114"/>
                    <a:gd name="connsiteY3" fmla="*/ 6290 h 7116"/>
                    <a:gd name="connsiteX4" fmla="*/ 809 w 7114"/>
                    <a:gd name="connsiteY4" fmla="*/ 5839 h 711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7114" h="7116">
                      <a:moveTo>
                        <a:pt x="821" y="5839"/>
                      </a:moveTo>
                      <a:cubicBezTo>
                        <a:pt x="-425" y="4319"/>
                        <a:pt x="-235" y="2088"/>
                        <a:pt x="1272" y="817"/>
                      </a:cubicBezTo>
                      <a:cubicBezTo>
                        <a:pt x="2780" y="-429"/>
                        <a:pt x="5036" y="-227"/>
                        <a:pt x="6294" y="1269"/>
                      </a:cubicBezTo>
                      <a:cubicBezTo>
                        <a:pt x="7540" y="2788"/>
                        <a:pt x="7351" y="5032"/>
                        <a:pt x="5831" y="6290"/>
                      </a:cubicBezTo>
                      <a:cubicBezTo>
                        <a:pt x="4323" y="7549"/>
                        <a:pt x="2091" y="7347"/>
                        <a:pt x="809" y="5839"/>
                      </a:cubicBezTo>
                      <a:close/>
                    </a:path>
                  </a:pathLst>
                </a:custGeom>
                <a:solidFill>
                  <a:srgbClr val="394553"/>
                </a:solidFill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grpSp>
          <p:nvGrpSpPr>
            <p:cNvPr id="898" name="Gráfico 11">
              <a:extLst>
                <a:ext uri="{FF2B5EF4-FFF2-40B4-BE49-F238E27FC236}">
                  <a16:creationId xmlns:a16="http://schemas.microsoft.com/office/drawing/2014/main" id="{66AFC948-67AB-B78F-A122-3FA6DF54EC09}"/>
                </a:ext>
              </a:extLst>
            </p:cNvPr>
            <p:cNvGrpSpPr/>
            <p:nvPr/>
          </p:nvGrpSpPr>
          <p:grpSpPr>
            <a:xfrm>
              <a:off x="11109092" y="3076875"/>
              <a:ext cx="332666" cy="332666"/>
              <a:chOff x="11109092" y="3076875"/>
              <a:chExt cx="332666" cy="332666"/>
            </a:xfrm>
            <a:noFill/>
          </p:grpSpPr>
          <p:sp>
            <p:nvSpPr>
              <p:cNvPr id="899" name="Forma livre: Forma 898">
                <a:extLst>
                  <a:ext uri="{FF2B5EF4-FFF2-40B4-BE49-F238E27FC236}">
                    <a16:creationId xmlns:a16="http://schemas.microsoft.com/office/drawing/2014/main" id="{4CB8E642-C9A2-5309-F5B8-69380FCC6057}"/>
                  </a:ext>
                </a:extLst>
              </p:cNvPr>
              <p:cNvSpPr/>
              <p:nvPr/>
            </p:nvSpPr>
            <p:spPr>
              <a:xfrm>
                <a:off x="11159166" y="3158908"/>
                <a:ext cx="32789" cy="60545"/>
              </a:xfrm>
              <a:custGeom>
                <a:avLst/>
                <a:gdLst>
                  <a:gd name="connsiteX0" fmla="*/ 0 w 32789"/>
                  <a:gd name="connsiteY0" fmla="*/ 60545 h 60545"/>
                  <a:gd name="connsiteX1" fmla="*/ 32789 w 32789"/>
                  <a:gd name="connsiteY1" fmla="*/ 0 h 605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2789" h="60545">
                    <a:moveTo>
                      <a:pt x="0" y="60545"/>
                    </a:moveTo>
                    <a:cubicBezTo>
                      <a:pt x="4772" y="37123"/>
                      <a:pt x="16430" y="16193"/>
                      <a:pt x="32789" y="0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00" name="Forma livre: Forma 899">
                <a:extLst>
                  <a:ext uri="{FF2B5EF4-FFF2-40B4-BE49-F238E27FC236}">
                    <a16:creationId xmlns:a16="http://schemas.microsoft.com/office/drawing/2014/main" id="{9482891A-1838-8B8F-0577-FA702A077643}"/>
                  </a:ext>
                </a:extLst>
              </p:cNvPr>
              <p:cNvSpPr/>
              <p:nvPr/>
            </p:nvSpPr>
            <p:spPr>
              <a:xfrm>
                <a:off x="11156780" y="3243220"/>
                <a:ext cx="34653" cy="83765"/>
              </a:xfrm>
              <a:custGeom>
                <a:avLst/>
                <a:gdLst>
                  <a:gd name="connsiteX0" fmla="*/ 34653 w 34653"/>
                  <a:gd name="connsiteY0" fmla="*/ 83766 h 83765"/>
                  <a:gd name="connsiteX1" fmla="*/ 0 w 34653"/>
                  <a:gd name="connsiteY1" fmla="*/ 0 h 837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4653" h="83765">
                    <a:moveTo>
                      <a:pt x="34653" y="83766"/>
                    </a:moveTo>
                    <a:cubicBezTo>
                      <a:pt x="13237" y="62314"/>
                      <a:pt x="0" y="32706"/>
                      <a:pt x="0" y="0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01" name="Forma livre: Forma 900">
                <a:extLst>
                  <a:ext uri="{FF2B5EF4-FFF2-40B4-BE49-F238E27FC236}">
                    <a16:creationId xmlns:a16="http://schemas.microsoft.com/office/drawing/2014/main" id="{6E792785-4B03-E0D0-4935-8FC03D72036E}"/>
                  </a:ext>
                </a:extLst>
              </p:cNvPr>
              <p:cNvSpPr/>
              <p:nvPr/>
            </p:nvSpPr>
            <p:spPr>
              <a:xfrm>
                <a:off x="11210143" y="3342276"/>
                <a:ext cx="65258" cy="19540"/>
              </a:xfrm>
              <a:custGeom>
                <a:avLst/>
                <a:gdLst>
                  <a:gd name="connsiteX0" fmla="*/ 65258 w 65258"/>
                  <a:gd name="connsiteY0" fmla="*/ 19541 h 19540"/>
                  <a:gd name="connsiteX1" fmla="*/ 0 w 65258"/>
                  <a:gd name="connsiteY1" fmla="*/ 0 h 195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5258" h="19540">
                    <a:moveTo>
                      <a:pt x="65258" y="19541"/>
                    </a:moveTo>
                    <a:cubicBezTo>
                      <a:pt x="41159" y="19541"/>
                      <a:pt x="18722" y="12346"/>
                      <a:pt x="0" y="0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02" name="Forma livre: Forma 901">
                <a:extLst>
                  <a:ext uri="{FF2B5EF4-FFF2-40B4-BE49-F238E27FC236}">
                    <a16:creationId xmlns:a16="http://schemas.microsoft.com/office/drawing/2014/main" id="{C7572D21-5167-C620-D650-7F1933CAD71A}"/>
                  </a:ext>
                </a:extLst>
              </p:cNvPr>
              <p:cNvSpPr/>
              <p:nvPr/>
            </p:nvSpPr>
            <p:spPr>
              <a:xfrm>
                <a:off x="11299322" y="3327152"/>
                <a:ext cx="59927" cy="32255"/>
              </a:xfrm>
              <a:custGeom>
                <a:avLst/>
                <a:gdLst>
                  <a:gd name="connsiteX0" fmla="*/ 59928 w 59927"/>
                  <a:gd name="connsiteY0" fmla="*/ 0 h 32255"/>
                  <a:gd name="connsiteX1" fmla="*/ 0 w 59927"/>
                  <a:gd name="connsiteY1" fmla="*/ 32255 h 322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9927" h="32255">
                    <a:moveTo>
                      <a:pt x="59928" y="0"/>
                    </a:moveTo>
                    <a:cubicBezTo>
                      <a:pt x="43830" y="16062"/>
                      <a:pt x="23150" y="27518"/>
                      <a:pt x="0" y="32255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03" name="Forma livre: Forma 902">
                <a:extLst>
                  <a:ext uri="{FF2B5EF4-FFF2-40B4-BE49-F238E27FC236}">
                    <a16:creationId xmlns:a16="http://schemas.microsoft.com/office/drawing/2014/main" id="{FDED2C08-F505-0460-0D31-5AB45185BBF3}"/>
                  </a:ext>
                </a:extLst>
              </p:cNvPr>
              <p:cNvSpPr/>
              <p:nvPr/>
            </p:nvSpPr>
            <p:spPr>
              <a:xfrm>
                <a:off x="11374553" y="3267212"/>
                <a:ext cx="17083" cy="41194"/>
              </a:xfrm>
              <a:custGeom>
                <a:avLst/>
                <a:gdLst>
                  <a:gd name="connsiteX0" fmla="*/ 17083 w 17083"/>
                  <a:gd name="connsiteY0" fmla="*/ 0 h 41194"/>
                  <a:gd name="connsiteX1" fmla="*/ 0 w 17083"/>
                  <a:gd name="connsiteY1" fmla="*/ 41195 h 411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7083" h="41194">
                    <a:moveTo>
                      <a:pt x="17083" y="0"/>
                    </a:moveTo>
                    <a:cubicBezTo>
                      <a:pt x="14008" y="14946"/>
                      <a:pt x="8120" y="28872"/>
                      <a:pt x="0" y="41195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04" name="Forma livre: Forma 903">
                <a:extLst>
                  <a:ext uri="{FF2B5EF4-FFF2-40B4-BE49-F238E27FC236}">
                    <a16:creationId xmlns:a16="http://schemas.microsoft.com/office/drawing/2014/main" id="{4DE23014-F996-C51B-811F-97388D7A0F6E}"/>
                  </a:ext>
                </a:extLst>
              </p:cNvPr>
              <p:cNvSpPr/>
              <p:nvPr/>
            </p:nvSpPr>
            <p:spPr>
              <a:xfrm>
                <a:off x="11374790" y="3178377"/>
                <a:ext cx="19279" cy="64842"/>
              </a:xfrm>
              <a:custGeom>
                <a:avLst/>
                <a:gdLst>
                  <a:gd name="connsiteX0" fmla="*/ 0 w 19279"/>
                  <a:gd name="connsiteY0" fmla="*/ 0 h 64842"/>
                  <a:gd name="connsiteX1" fmla="*/ 19279 w 19279"/>
                  <a:gd name="connsiteY1" fmla="*/ 64843 h 648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9279" h="64842">
                    <a:moveTo>
                      <a:pt x="0" y="0"/>
                    </a:moveTo>
                    <a:cubicBezTo>
                      <a:pt x="12192" y="18638"/>
                      <a:pt x="19279" y="40910"/>
                      <a:pt x="19279" y="64843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05" name="Forma livre: Forma 904">
                <a:extLst>
                  <a:ext uri="{FF2B5EF4-FFF2-40B4-BE49-F238E27FC236}">
                    <a16:creationId xmlns:a16="http://schemas.microsoft.com/office/drawing/2014/main" id="{ACAEDC39-0CE0-C2E9-4876-08105DD2E933}"/>
                  </a:ext>
                </a:extLst>
              </p:cNvPr>
              <p:cNvSpPr/>
              <p:nvPr/>
            </p:nvSpPr>
            <p:spPr>
              <a:xfrm>
                <a:off x="11299322" y="3127009"/>
                <a:ext cx="59892" cy="32243"/>
              </a:xfrm>
              <a:custGeom>
                <a:avLst/>
                <a:gdLst>
                  <a:gd name="connsiteX0" fmla="*/ 0 w 59892"/>
                  <a:gd name="connsiteY0" fmla="*/ 0 h 32243"/>
                  <a:gd name="connsiteX1" fmla="*/ 59892 w 59892"/>
                  <a:gd name="connsiteY1" fmla="*/ 32243 h 322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9892" h="32243">
                    <a:moveTo>
                      <a:pt x="0" y="0"/>
                    </a:moveTo>
                    <a:cubicBezTo>
                      <a:pt x="23126" y="4725"/>
                      <a:pt x="43818" y="16193"/>
                      <a:pt x="59892" y="32243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06" name="Forma livre: Forma 905">
                <a:extLst>
                  <a:ext uri="{FF2B5EF4-FFF2-40B4-BE49-F238E27FC236}">
                    <a16:creationId xmlns:a16="http://schemas.microsoft.com/office/drawing/2014/main" id="{DE6CF525-05BA-DAF5-72B0-6B126D565B80}"/>
                  </a:ext>
                </a:extLst>
              </p:cNvPr>
              <p:cNvSpPr/>
              <p:nvPr/>
            </p:nvSpPr>
            <p:spPr>
              <a:xfrm>
                <a:off x="11210048" y="3124611"/>
                <a:ext cx="65353" cy="19611"/>
              </a:xfrm>
              <a:custGeom>
                <a:avLst/>
                <a:gdLst>
                  <a:gd name="connsiteX0" fmla="*/ 0 w 65353"/>
                  <a:gd name="connsiteY0" fmla="*/ 19612 h 19611"/>
                  <a:gd name="connsiteX1" fmla="*/ 65353 w 65353"/>
                  <a:gd name="connsiteY1" fmla="*/ 0 h 196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5353" h="19611">
                    <a:moveTo>
                      <a:pt x="0" y="19612"/>
                    </a:moveTo>
                    <a:cubicBezTo>
                      <a:pt x="18733" y="7218"/>
                      <a:pt x="41206" y="0"/>
                      <a:pt x="65353" y="0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907" name="Gráfico 11">
                <a:extLst>
                  <a:ext uri="{FF2B5EF4-FFF2-40B4-BE49-F238E27FC236}">
                    <a16:creationId xmlns:a16="http://schemas.microsoft.com/office/drawing/2014/main" id="{2DD35707-6641-8E3F-09F4-F695E361F8B2}"/>
                  </a:ext>
                </a:extLst>
              </p:cNvPr>
              <p:cNvGrpSpPr/>
              <p:nvPr/>
            </p:nvGrpSpPr>
            <p:grpSpPr>
              <a:xfrm>
                <a:off x="11253771" y="3076875"/>
                <a:ext cx="43307" cy="332666"/>
                <a:chOff x="11253771" y="3076875"/>
                <a:chExt cx="43307" cy="332666"/>
              </a:xfrm>
              <a:noFill/>
            </p:grpSpPr>
            <p:grpSp>
              <p:nvGrpSpPr>
                <p:cNvPr id="908" name="Gráfico 11">
                  <a:extLst>
                    <a:ext uri="{FF2B5EF4-FFF2-40B4-BE49-F238E27FC236}">
                      <a16:creationId xmlns:a16="http://schemas.microsoft.com/office/drawing/2014/main" id="{439487E6-B898-C7CE-04E3-3915F4E039FD}"/>
                    </a:ext>
                  </a:extLst>
                </p:cNvPr>
                <p:cNvGrpSpPr/>
                <p:nvPr/>
              </p:nvGrpSpPr>
              <p:grpSpPr>
                <a:xfrm>
                  <a:off x="11253771" y="3341255"/>
                  <a:ext cx="43307" cy="68285"/>
                  <a:chOff x="11253771" y="3341255"/>
                  <a:chExt cx="43307" cy="68285"/>
                </a:xfrm>
                <a:noFill/>
              </p:grpSpPr>
              <p:sp>
                <p:nvSpPr>
                  <p:cNvPr id="909" name="Forma livre: Forma 908">
                    <a:extLst>
                      <a:ext uri="{FF2B5EF4-FFF2-40B4-BE49-F238E27FC236}">
                        <a16:creationId xmlns:a16="http://schemas.microsoft.com/office/drawing/2014/main" id="{C41F4C23-F2ED-3381-9CA4-DF3F7F226BF1}"/>
                      </a:ext>
                    </a:extLst>
                  </p:cNvPr>
                  <p:cNvSpPr/>
                  <p:nvPr/>
                </p:nvSpPr>
                <p:spPr>
                  <a:xfrm>
                    <a:off x="11275365" y="3341255"/>
                    <a:ext cx="11" cy="67953"/>
                  </a:xfrm>
                  <a:custGeom>
                    <a:avLst/>
                    <a:gdLst>
                      <a:gd name="connsiteX0" fmla="*/ 0 w 11"/>
                      <a:gd name="connsiteY0" fmla="*/ 67953 h 67953"/>
                      <a:gd name="connsiteX1" fmla="*/ 12 w 11"/>
                      <a:gd name="connsiteY1" fmla="*/ 0 h 6795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1" h="67953">
                        <a:moveTo>
                          <a:pt x="0" y="67953"/>
                        </a:moveTo>
                        <a:lnTo>
                          <a:pt x="12" y="0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910" name="Forma livre: Forma 909">
                    <a:extLst>
                      <a:ext uri="{FF2B5EF4-FFF2-40B4-BE49-F238E27FC236}">
                        <a16:creationId xmlns:a16="http://schemas.microsoft.com/office/drawing/2014/main" id="{BB3C962B-35C5-E937-2D57-28E08B44BF42}"/>
                      </a:ext>
                    </a:extLst>
                  </p:cNvPr>
                  <p:cNvSpPr/>
                  <p:nvPr/>
                </p:nvSpPr>
                <p:spPr>
                  <a:xfrm>
                    <a:off x="11253771" y="3387851"/>
                    <a:ext cx="43307" cy="21689"/>
                  </a:xfrm>
                  <a:custGeom>
                    <a:avLst/>
                    <a:gdLst>
                      <a:gd name="connsiteX0" fmla="*/ 0 w 43307"/>
                      <a:gd name="connsiteY0" fmla="*/ 0 h 21689"/>
                      <a:gd name="connsiteX1" fmla="*/ 21701 w 43307"/>
                      <a:gd name="connsiteY1" fmla="*/ 21689 h 21689"/>
                      <a:gd name="connsiteX2" fmla="*/ 43308 w 43307"/>
                      <a:gd name="connsiteY2" fmla="*/ 83 h 216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</a:cxnLst>
                    <a:rect l="l" t="t" r="r" b="b"/>
                    <a:pathLst>
                      <a:path w="43307" h="21689">
                        <a:moveTo>
                          <a:pt x="0" y="0"/>
                        </a:moveTo>
                        <a:lnTo>
                          <a:pt x="21701" y="21689"/>
                        </a:lnTo>
                        <a:lnTo>
                          <a:pt x="43308" y="83"/>
                        </a:lnTo>
                      </a:path>
                    </a:pathLst>
                  </a:custGeom>
                  <a:noFill/>
                  <a:ln w="6350" cap="rnd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  <p:grpSp>
              <p:nvGrpSpPr>
                <p:cNvPr id="911" name="Gráfico 11">
                  <a:extLst>
                    <a:ext uri="{FF2B5EF4-FFF2-40B4-BE49-F238E27FC236}">
                      <a16:creationId xmlns:a16="http://schemas.microsoft.com/office/drawing/2014/main" id="{7339B6E7-3390-FFE6-8ACB-721B58E231CD}"/>
                    </a:ext>
                  </a:extLst>
                </p:cNvPr>
                <p:cNvGrpSpPr/>
                <p:nvPr/>
              </p:nvGrpSpPr>
              <p:grpSpPr>
                <a:xfrm>
                  <a:off x="11253771" y="3076875"/>
                  <a:ext cx="43307" cy="68285"/>
                  <a:chOff x="11253771" y="3076875"/>
                  <a:chExt cx="43307" cy="68285"/>
                </a:xfrm>
                <a:noFill/>
              </p:grpSpPr>
              <p:sp>
                <p:nvSpPr>
                  <p:cNvPr id="912" name="Forma livre: Forma 911">
                    <a:extLst>
                      <a:ext uri="{FF2B5EF4-FFF2-40B4-BE49-F238E27FC236}">
                        <a16:creationId xmlns:a16="http://schemas.microsoft.com/office/drawing/2014/main" id="{122C261D-5CF6-FF2A-F81F-0BA98EF193F6}"/>
                      </a:ext>
                    </a:extLst>
                  </p:cNvPr>
                  <p:cNvSpPr/>
                  <p:nvPr/>
                </p:nvSpPr>
                <p:spPr>
                  <a:xfrm>
                    <a:off x="11275484" y="3077207"/>
                    <a:ext cx="1187" cy="67953"/>
                  </a:xfrm>
                  <a:custGeom>
                    <a:avLst/>
                    <a:gdLst>
                      <a:gd name="connsiteX0" fmla="*/ 0 w 1187"/>
                      <a:gd name="connsiteY0" fmla="*/ 0 h 67953"/>
                      <a:gd name="connsiteX1" fmla="*/ 0 w 1187"/>
                      <a:gd name="connsiteY1" fmla="*/ 67953 h 6795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187" h="67953">
                        <a:moveTo>
                          <a:pt x="0" y="0"/>
                        </a:moveTo>
                        <a:lnTo>
                          <a:pt x="0" y="67953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913" name="Forma livre: Forma 912">
                    <a:extLst>
                      <a:ext uri="{FF2B5EF4-FFF2-40B4-BE49-F238E27FC236}">
                        <a16:creationId xmlns:a16="http://schemas.microsoft.com/office/drawing/2014/main" id="{A84791D3-3756-E36A-CCF0-D848695D0E3E}"/>
                      </a:ext>
                    </a:extLst>
                  </p:cNvPr>
                  <p:cNvSpPr/>
                  <p:nvPr/>
                </p:nvSpPr>
                <p:spPr>
                  <a:xfrm>
                    <a:off x="11253771" y="3076875"/>
                    <a:ext cx="43307" cy="21701"/>
                  </a:xfrm>
                  <a:custGeom>
                    <a:avLst/>
                    <a:gdLst>
                      <a:gd name="connsiteX0" fmla="*/ 43308 w 43307"/>
                      <a:gd name="connsiteY0" fmla="*/ 21701 h 21701"/>
                      <a:gd name="connsiteX1" fmla="*/ 21618 w 43307"/>
                      <a:gd name="connsiteY1" fmla="*/ 0 h 21701"/>
                      <a:gd name="connsiteX2" fmla="*/ 0 w 43307"/>
                      <a:gd name="connsiteY2" fmla="*/ 21606 h 2170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</a:cxnLst>
                    <a:rect l="l" t="t" r="r" b="b"/>
                    <a:pathLst>
                      <a:path w="43307" h="21701">
                        <a:moveTo>
                          <a:pt x="43308" y="21701"/>
                        </a:moveTo>
                        <a:lnTo>
                          <a:pt x="21618" y="0"/>
                        </a:lnTo>
                        <a:lnTo>
                          <a:pt x="0" y="21606"/>
                        </a:lnTo>
                      </a:path>
                    </a:pathLst>
                  </a:custGeom>
                  <a:noFill/>
                  <a:ln w="6350" cap="rnd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</p:grpSp>
          <p:grpSp>
            <p:nvGrpSpPr>
              <p:cNvPr id="914" name="Gráfico 11">
                <a:extLst>
                  <a:ext uri="{FF2B5EF4-FFF2-40B4-BE49-F238E27FC236}">
                    <a16:creationId xmlns:a16="http://schemas.microsoft.com/office/drawing/2014/main" id="{A99FCDFF-4A1A-8E24-01DA-9E47478EF0C3}"/>
                  </a:ext>
                </a:extLst>
              </p:cNvPr>
              <p:cNvGrpSpPr/>
              <p:nvPr/>
            </p:nvGrpSpPr>
            <p:grpSpPr>
              <a:xfrm>
                <a:off x="11109092" y="3221554"/>
                <a:ext cx="332666" cy="43307"/>
                <a:chOff x="11109092" y="3221554"/>
                <a:chExt cx="332666" cy="43307"/>
              </a:xfrm>
              <a:noFill/>
            </p:grpSpPr>
            <p:grpSp>
              <p:nvGrpSpPr>
                <p:cNvPr id="915" name="Gráfico 11">
                  <a:extLst>
                    <a:ext uri="{FF2B5EF4-FFF2-40B4-BE49-F238E27FC236}">
                      <a16:creationId xmlns:a16="http://schemas.microsoft.com/office/drawing/2014/main" id="{FED729B2-A44F-233E-DDCA-5A034EA336CF}"/>
                    </a:ext>
                  </a:extLst>
                </p:cNvPr>
                <p:cNvGrpSpPr/>
                <p:nvPr/>
              </p:nvGrpSpPr>
              <p:grpSpPr>
                <a:xfrm>
                  <a:off x="11109092" y="3221554"/>
                  <a:ext cx="68285" cy="43307"/>
                  <a:chOff x="11109092" y="3221554"/>
                  <a:chExt cx="68285" cy="43307"/>
                </a:xfrm>
                <a:noFill/>
              </p:grpSpPr>
              <p:sp>
                <p:nvSpPr>
                  <p:cNvPr id="916" name="Forma livre: Forma 915">
                    <a:extLst>
                      <a:ext uri="{FF2B5EF4-FFF2-40B4-BE49-F238E27FC236}">
                        <a16:creationId xmlns:a16="http://schemas.microsoft.com/office/drawing/2014/main" id="{F34CED98-3F28-CAEB-EC0F-FB8B3695C281}"/>
                      </a:ext>
                    </a:extLst>
                  </p:cNvPr>
                  <p:cNvSpPr/>
                  <p:nvPr/>
                </p:nvSpPr>
                <p:spPr>
                  <a:xfrm>
                    <a:off x="11109424" y="3243149"/>
                    <a:ext cx="67953" cy="1187"/>
                  </a:xfrm>
                  <a:custGeom>
                    <a:avLst/>
                    <a:gdLst>
                      <a:gd name="connsiteX0" fmla="*/ 0 w 67953"/>
                      <a:gd name="connsiteY0" fmla="*/ 0 h 1187"/>
                      <a:gd name="connsiteX1" fmla="*/ 67953 w 67953"/>
                      <a:gd name="connsiteY1" fmla="*/ 0 h 11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67953" h="1187">
                        <a:moveTo>
                          <a:pt x="0" y="0"/>
                        </a:moveTo>
                        <a:lnTo>
                          <a:pt x="67953" y="0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917" name="Forma livre: Forma 916">
                    <a:extLst>
                      <a:ext uri="{FF2B5EF4-FFF2-40B4-BE49-F238E27FC236}">
                        <a16:creationId xmlns:a16="http://schemas.microsoft.com/office/drawing/2014/main" id="{E346009D-B595-14C6-B0E1-F279F795BE70}"/>
                      </a:ext>
                    </a:extLst>
                  </p:cNvPr>
                  <p:cNvSpPr/>
                  <p:nvPr/>
                </p:nvSpPr>
                <p:spPr>
                  <a:xfrm>
                    <a:off x="11109092" y="3221554"/>
                    <a:ext cx="21701" cy="43307"/>
                  </a:xfrm>
                  <a:custGeom>
                    <a:avLst/>
                    <a:gdLst>
                      <a:gd name="connsiteX0" fmla="*/ 21701 w 21701"/>
                      <a:gd name="connsiteY0" fmla="*/ 0 h 43307"/>
                      <a:gd name="connsiteX1" fmla="*/ 0 w 21701"/>
                      <a:gd name="connsiteY1" fmla="*/ 21701 h 43307"/>
                      <a:gd name="connsiteX2" fmla="*/ 21606 w 21701"/>
                      <a:gd name="connsiteY2" fmla="*/ 43308 h 4330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</a:cxnLst>
                    <a:rect l="l" t="t" r="r" b="b"/>
                    <a:pathLst>
                      <a:path w="21701" h="43307">
                        <a:moveTo>
                          <a:pt x="21701" y="0"/>
                        </a:moveTo>
                        <a:lnTo>
                          <a:pt x="0" y="21701"/>
                        </a:lnTo>
                        <a:lnTo>
                          <a:pt x="21606" y="43308"/>
                        </a:lnTo>
                      </a:path>
                    </a:pathLst>
                  </a:custGeom>
                  <a:noFill/>
                  <a:ln w="6350" cap="rnd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  <p:grpSp>
              <p:nvGrpSpPr>
                <p:cNvPr id="918" name="Gráfico 11">
                  <a:extLst>
                    <a:ext uri="{FF2B5EF4-FFF2-40B4-BE49-F238E27FC236}">
                      <a16:creationId xmlns:a16="http://schemas.microsoft.com/office/drawing/2014/main" id="{5A6AB6E9-5AAA-94F4-DBE6-E3426129E3ED}"/>
                    </a:ext>
                  </a:extLst>
                </p:cNvPr>
                <p:cNvGrpSpPr/>
                <p:nvPr/>
              </p:nvGrpSpPr>
              <p:grpSpPr>
                <a:xfrm>
                  <a:off x="11373472" y="3221554"/>
                  <a:ext cx="68285" cy="43307"/>
                  <a:chOff x="11373472" y="3221554"/>
                  <a:chExt cx="68285" cy="43307"/>
                </a:xfrm>
                <a:noFill/>
              </p:grpSpPr>
              <p:sp>
                <p:nvSpPr>
                  <p:cNvPr id="919" name="Forma livre: Forma 918">
                    <a:extLst>
                      <a:ext uri="{FF2B5EF4-FFF2-40B4-BE49-F238E27FC236}">
                        <a16:creationId xmlns:a16="http://schemas.microsoft.com/office/drawing/2014/main" id="{D4DD4A7D-A2BC-D428-D13A-CCE94C032E6E}"/>
                      </a:ext>
                    </a:extLst>
                  </p:cNvPr>
                  <p:cNvSpPr/>
                  <p:nvPr/>
                </p:nvSpPr>
                <p:spPr>
                  <a:xfrm>
                    <a:off x="11373472" y="3243267"/>
                    <a:ext cx="67953" cy="1187"/>
                  </a:xfrm>
                  <a:custGeom>
                    <a:avLst/>
                    <a:gdLst>
                      <a:gd name="connsiteX0" fmla="*/ 67953 w 67953"/>
                      <a:gd name="connsiteY0" fmla="*/ 0 h 1187"/>
                      <a:gd name="connsiteX1" fmla="*/ 0 w 67953"/>
                      <a:gd name="connsiteY1" fmla="*/ 0 h 11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67953" h="1187">
                        <a:moveTo>
                          <a:pt x="67953" y="0"/>
                        </a:moveTo>
                        <a:lnTo>
                          <a:pt x="0" y="0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920" name="Forma livre: Forma 919">
                    <a:extLst>
                      <a:ext uri="{FF2B5EF4-FFF2-40B4-BE49-F238E27FC236}">
                        <a16:creationId xmlns:a16="http://schemas.microsoft.com/office/drawing/2014/main" id="{CD74A820-2AE9-EC2C-6172-3AFDFFDC5EB0}"/>
                      </a:ext>
                    </a:extLst>
                  </p:cNvPr>
                  <p:cNvSpPr/>
                  <p:nvPr/>
                </p:nvSpPr>
                <p:spPr>
                  <a:xfrm>
                    <a:off x="11420057" y="3221554"/>
                    <a:ext cx="21701" cy="43307"/>
                  </a:xfrm>
                  <a:custGeom>
                    <a:avLst/>
                    <a:gdLst>
                      <a:gd name="connsiteX0" fmla="*/ 0 w 21701"/>
                      <a:gd name="connsiteY0" fmla="*/ 43308 h 43307"/>
                      <a:gd name="connsiteX1" fmla="*/ 21701 w 21701"/>
                      <a:gd name="connsiteY1" fmla="*/ 21606 h 43307"/>
                      <a:gd name="connsiteX2" fmla="*/ 95 w 21701"/>
                      <a:gd name="connsiteY2" fmla="*/ 0 h 4330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</a:cxnLst>
                    <a:rect l="l" t="t" r="r" b="b"/>
                    <a:pathLst>
                      <a:path w="21701" h="43307">
                        <a:moveTo>
                          <a:pt x="0" y="43308"/>
                        </a:moveTo>
                        <a:lnTo>
                          <a:pt x="21701" y="21606"/>
                        </a:lnTo>
                        <a:lnTo>
                          <a:pt x="95" y="0"/>
                        </a:lnTo>
                      </a:path>
                    </a:pathLst>
                  </a:custGeom>
                  <a:noFill/>
                  <a:ln w="6350" cap="rnd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</p:grpSp>
          <p:grpSp>
            <p:nvGrpSpPr>
              <p:cNvPr id="921" name="Gráfico 11">
                <a:extLst>
                  <a:ext uri="{FF2B5EF4-FFF2-40B4-BE49-F238E27FC236}">
                    <a16:creationId xmlns:a16="http://schemas.microsoft.com/office/drawing/2014/main" id="{5224A3F2-CB6F-80A6-3D2E-FF5D52D4CB0C}"/>
                  </a:ext>
                </a:extLst>
              </p:cNvPr>
              <p:cNvGrpSpPr/>
              <p:nvPr/>
            </p:nvGrpSpPr>
            <p:grpSpPr>
              <a:xfrm>
                <a:off x="11157848" y="3125560"/>
                <a:ext cx="235164" cy="235307"/>
                <a:chOff x="11157848" y="3125560"/>
                <a:chExt cx="235164" cy="235307"/>
              </a:xfrm>
              <a:noFill/>
            </p:grpSpPr>
            <p:grpSp>
              <p:nvGrpSpPr>
                <p:cNvPr id="922" name="Gráfico 11">
                  <a:extLst>
                    <a:ext uri="{FF2B5EF4-FFF2-40B4-BE49-F238E27FC236}">
                      <a16:creationId xmlns:a16="http://schemas.microsoft.com/office/drawing/2014/main" id="{5D37E186-3B79-973D-75D2-A56A2592BC00}"/>
                    </a:ext>
                  </a:extLst>
                </p:cNvPr>
                <p:cNvGrpSpPr/>
                <p:nvPr/>
              </p:nvGrpSpPr>
              <p:grpSpPr>
                <a:xfrm>
                  <a:off x="11157848" y="3312502"/>
                  <a:ext cx="48210" cy="48364"/>
                  <a:chOff x="11157848" y="3312502"/>
                  <a:chExt cx="48210" cy="48364"/>
                </a:xfrm>
                <a:noFill/>
              </p:grpSpPr>
              <p:sp>
                <p:nvSpPr>
                  <p:cNvPr id="923" name="Forma livre: Forma 922">
                    <a:extLst>
                      <a:ext uri="{FF2B5EF4-FFF2-40B4-BE49-F238E27FC236}">
                        <a16:creationId xmlns:a16="http://schemas.microsoft.com/office/drawing/2014/main" id="{7100D57B-DE26-0EB0-129B-2F0E0CA5D6D3}"/>
                      </a:ext>
                    </a:extLst>
                  </p:cNvPr>
                  <p:cNvSpPr/>
                  <p:nvPr/>
                </p:nvSpPr>
                <p:spPr>
                  <a:xfrm>
                    <a:off x="11158003" y="3312502"/>
                    <a:ext cx="48056" cy="48044"/>
                  </a:xfrm>
                  <a:custGeom>
                    <a:avLst/>
                    <a:gdLst>
                      <a:gd name="connsiteX0" fmla="*/ 0 w 48056"/>
                      <a:gd name="connsiteY0" fmla="*/ 48044 h 48044"/>
                      <a:gd name="connsiteX1" fmla="*/ 48056 w 48056"/>
                      <a:gd name="connsiteY1" fmla="*/ 0 h 4804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48056" h="48044">
                        <a:moveTo>
                          <a:pt x="0" y="48044"/>
                        </a:moveTo>
                        <a:lnTo>
                          <a:pt x="48056" y="0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924" name="Forma livre: Forma 923">
                    <a:extLst>
                      <a:ext uri="{FF2B5EF4-FFF2-40B4-BE49-F238E27FC236}">
                        <a16:creationId xmlns:a16="http://schemas.microsoft.com/office/drawing/2014/main" id="{EF5AC360-C4D5-0DCE-6DF6-5D6113D47805}"/>
                      </a:ext>
                    </a:extLst>
                  </p:cNvPr>
                  <p:cNvSpPr/>
                  <p:nvPr/>
                </p:nvSpPr>
                <p:spPr>
                  <a:xfrm>
                    <a:off x="11157848" y="3330167"/>
                    <a:ext cx="30545" cy="30699"/>
                  </a:xfrm>
                  <a:custGeom>
                    <a:avLst/>
                    <a:gdLst>
                      <a:gd name="connsiteX0" fmla="*/ 0 w 30545"/>
                      <a:gd name="connsiteY0" fmla="*/ 0 h 30699"/>
                      <a:gd name="connsiteX1" fmla="*/ 0 w 30545"/>
                      <a:gd name="connsiteY1" fmla="*/ 30688 h 30699"/>
                      <a:gd name="connsiteX2" fmla="*/ 30546 w 30545"/>
                      <a:gd name="connsiteY2" fmla="*/ 30700 h 3069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</a:cxnLst>
                    <a:rect l="l" t="t" r="r" b="b"/>
                    <a:pathLst>
                      <a:path w="30545" h="30699">
                        <a:moveTo>
                          <a:pt x="0" y="0"/>
                        </a:moveTo>
                        <a:lnTo>
                          <a:pt x="0" y="30688"/>
                        </a:lnTo>
                        <a:lnTo>
                          <a:pt x="30546" y="30700"/>
                        </a:lnTo>
                      </a:path>
                    </a:pathLst>
                  </a:custGeom>
                  <a:noFill/>
                  <a:ln w="6350" cap="rnd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  <p:grpSp>
              <p:nvGrpSpPr>
                <p:cNvPr id="925" name="Gráfico 11">
                  <a:extLst>
                    <a:ext uri="{FF2B5EF4-FFF2-40B4-BE49-F238E27FC236}">
                      <a16:creationId xmlns:a16="http://schemas.microsoft.com/office/drawing/2014/main" id="{81B928E2-51F7-0A36-E6BE-4C5FD889A798}"/>
                    </a:ext>
                  </a:extLst>
                </p:cNvPr>
                <p:cNvGrpSpPr/>
                <p:nvPr/>
              </p:nvGrpSpPr>
              <p:grpSpPr>
                <a:xfrm>
                  <a:off x="11344803" y="3125560"/>
                  <a:ext cx="48210" cy="48353"/>
                  <a:chOff x="11344803" y="3125560"/>
                  <a:chExt cx="48210" cy="48353"/>
                </a:xfrm>
                <a:noFill/>
              </p:grpSpPr>
              <p:sp>
                <p:nvSpPr>
                  <p:cNvPr id="926" name="Forma livre: Forma 925">
                    <a:extLst>
                      <a:ext uri="{FF2B5EF4-FFF2-40B4-BE49-F238E27FC236}">
                        <a16:creationId xmlns:a16="http://schemas.microsoft.com/office/drawing/2014/main" id="{90E9737E-868F-98BD-710C-41A623F27083}"/>
                      </a:ext>
                    </a:extLst>
                  </p:cNvPr>
                  <p:cNvSpPr/>
                  <p:nvPr/>
                </p:nvSpPr>
                <p:spPr>
                  <a:xfrm>
                    <a:off x="11344803" y="3125869"/>
                    <a:ext cx="48044" cy="48044"/>
                  </a:xfrm>
                  <a:custGeom>
                    <a:avLst/>
                    <a:gdLst>
                      <a:gd name="connsiteX0" fmla="*/ 48044 w 48044"/>
                      <a:gd name="connsiteY0" fmla="*/ 0 h 48044"/>
                      <a:gd name="connsiteX1" fmla="*/ 0 w 48044"/>
                      <a:gd name="connsiteY1" fmla="*/ 48044 h 4804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48044" h="48044">
                        <a:moveTo>
                          <a:pt x="48044" y="0"/>
                        </a:moveTo>
                        <a:lnTo>
                          <a:pt x="0" y="48044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927" name="Forma livre: Forma 926">
                    <a:extLst>
                      <a:ext uri="{FF2B5EF4-FFF2-40B4-BE49-F238E27FC236}">
                        <a16:creationId xmlns:a16="http://schemas.microsoft.com/office/drawing/2014/main" id="{2E2ADF6C-67EA-E377-AA08-32DE3CC3DDB7}"/>
                      </a:ext>
                    </a:extLst>
                  </p:cNvPr>
                  <p:cNvSpPr/>
                  <p:nvPr/>
                </p:nvSpPr>
                <p:spPr>
                  <a:xfrm>
                    <a:off x="11362456" y="3125560"/>
                    <a:ext cx="30557" cy="30688"/>
                  </a:xfrm>
                  <a:custGeom>
                    <a:avLst/>
                    <a:gdLst>
                      <a:gd name="connsiteX0" fmla="*/ 30558 w 30557"/>
                      <a:gd name="connsiteY0" fmla="*/ 30688 h 30688"/>
                      <a:gd name="connsiteX1" fmla="*/ 30558 w 30557"/>
                      <a:gd name="connsiteY1" fmla="*/ 0 h 30688"/>
                      <a:gd name="connsiteX2" fmla="*/ 0 w 30557"/>
                      <a:gd name="connsiteY2" fmla="*/ 0 h 3068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</a:cxnLst>
                    <a:rect l="l" t="t" r="r" b="b"/>
                    <a:pathLst>
                      <a:path w="30557" h="30688">
                        <a:moveTo>
                          <a:pt x="30558" y="30688"/>
                        </a:moveTo>
                        <a:lnTo>
                          <a:pt x="30558" y="0"/>
                        </a:lnTo>
                        <a:lnTo>
                          <a:pt x="0" y="0"/>
                        </a:lnTo>
                      </a:path>
                    </a:pathLst>
                  </a:custGeom>
                  <a:noFill/>
                  <a:ln w="6350" cap="rnd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</p:grpSp>
          <p:grpSp>
            <p:nvGrpSpPr>
              <p:cNvPr id="928" name="Gráfico 11">
                <a:extLst>
                  <a:ext uri="{FF2B5EF4-FFF2-40B4-BE49-F238E27FC236}">
                    <a16:creationId xmlns:a16="http://schemas.microsoft.com/office/drawing/2014/main" id="{1B71766D-A81E-0679-4E04-0A2ECBB44741}"/>
                  </a:ext>
                </a:extLst>
              </p:cNvPr>
              <p:cNvGrpSpPr/>
              <p:nvPr/>
            </p:nvGrpSpPr>
            <p:grpSpPr>
              <a:xfrm>
                <a:off x="11157777" y="3125631"/>
                <a:ext cx="235295" cy="235164"/>
                <a:chOff x="11157777" y="3125631"/>
                <a:chExt cx="235295" cy="235164"/>
              </a:xfrm>
              <a:noFill/>
            </p:grpSpPr>
            <p:grpSp>
              <p:nvGrpSpPr>
                <p:cNvPr id="929" name="Gráfico 11">
                  <a:extLst>
                    <a:ext uri="{FF2B5EF4-FFF2-40B4-BE49-F238E27FC236}">
                      <a16:creationId xmlns:a16="http://schemas.microsoft.com/office/drawing/2014/main" id="{A7D006CA-7A62-6B3F-4EBD-1F80830D1298}"/>
                    </a:ext>
                  </a:extLst>
                </p:cNvPr>
                <p:cNvGrpSpPr/>
                <p:nvPr/>
              </p:nvGrpSpPr>
              <p:grpSpPr>
                <a:xfrm>
                  <a:off x="11344731" y="3312574"/>
                  <a:ext cx="48341" cy="48222"/>
                  <a:chOff x="11344731" y="3312574"/>
                  <a:chExt cx="48341" cy="48222"/>
                </a:xfrm>
                <a:noFill/>
              </p:grpSpPr>
              <p:sp>
                <p:nvSpPr>
                  <p:cNvPr id="930" name="Forma livre: Forma 929">
                    <a:extLst>
                      <a:ext uri="{FF2B5EF4-FFF2-40B4-BE49-F238E27FC236}">
                        <a16:creationId xmlns:a16="http://schemas.microsoft.com/office/drawing/2014/main" id="{80A65682-B1FE-82BC-CCF2-3D6C7A922955}"/>
                      </a:ext>
                    </a:extLst>
                  </p:cNvPr>
                  <p:cNvSpPr/>
                  <p:nvPr/>
                </p:nvSpPr>
                <p:spPr>
                  <a:xfrm>
                    <a:off x="11344731" y="3312574"/>
                    <a:ext cx="48032" cy="48056"/>
                  </a:xfrm>
                  <a:custGeom>
                    <a:avLst/>
                    <a:gdLst>
                      <a:gd name="connsiteX0" fmla="*/ 48033 w 48032"/>
                      <a:gd name="connsiteY0" fmla="*/ 48056 h 48056"/>
                      <a:gd name="connsiteX1" fmla="*/ 0 w 48032"/>
                      <a:gd name="connsiteY1" fmla="*/ 0 h 4805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48032" h="48056">
                        <a:moveTo>
                          <a:pt x="48033" y="48056"/>
                        </a:moveTo>
                        <a:lnTo>
                          <a:pt x="0" y="0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931" name="Forma livre: Forma 930">
                    <a:extLst>
                      <a:ext uri="{FF2B5EF4-FFF2-40B4-BE49-F238E27FC236}">
                        <a16:creationId xmlns:a16="http://schemas.microsoft.com/office/drawing/2014/main" id="{CEE8E4E2-08D8-6499-8F1B-229A74EAD6A0}"/>
                      </a:ext>
                    </a:extLst>
                  </p:cNvPr>
                  <p:cNvSpPr/>
                  <p:nvPr/>
                </p:nvSpPr>
                <p:spPr>
                  <a:xfrm>
                    <a:off x="11362396" y="3330239"/>
                    <a:ext cx="30676" cy="30557"/>
                  </a:xfrm>
                  <a:custGeom>
                    <a:avLst/>
                    <a:gdLst>
                      <a:gd name="connsiteX0" fmla="*/ 0 w 30676"/>
                      <a:gd name="connsiteY0" fmla="*/ 30558 h 30557"/>
                      <a:gd name="connsiteX1" fmla="*/ 30676 w 30676"/>
                      <a:gd name="connsiteY1" fmla="*/ 30558 h 30557"/>
                      <a:gd name="connsiteX2" fmla="*/ 30676 w 30676"/>
                      <a:gd name="connsiteY2" fmla="*/ 0 h 3055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</a:cxnLst>
                    <a:rect l="l" t="t" r="r" b="b"/>
                    <a:pathLst>
                      <a:path w="30676" h="30557">
                        <a:moveTo>
                          <a:pt x="0" y="30558"/>
                        </a:moveTo>
                        <a:lnTo>
                          <a:pt x="30676" y="30558"/>
                        </a:lnTo>
                        <a:lnTo>
                          <a:pt x="30676" y="0"/>
                        </a:lnTo>
                      </a:path>
                    </a:pathLst>
                  </a:custGeom>
                  <a:noFill/>
                  <a:ln w="6350" cap="rnd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  <p:grpSp>
              <p:nvGrpSpPr>
                <p:cNvPr id="932" name="Gráfico 11">
                  <a:extLst>
                    <a:ext uri="{FF2B5EF4-FFF2-40B4-BE49-F238E27FC236}">
                      <a16:creationId xmlns:a16="http://schemas.microsoft.com/office/drawing/2014/main" id="{61162802-993C-13AA-945E-BDE3CDEF0490}"/>
                    </a:ext>
                  </a:extLst>
                </p:cNvPr>
                <p:cNvGrpSpPr/>
                <p:nvPr/>
              </p:nvGrpSpPr>
              <p:grpSpPr>
                <a:xfrm>
                  <a:off x="11157777" y="3125631"/>
                  <a:ext cx="48364" cy="48198"/>
                  <a:chOff x="11157777" y="3125631"/>
                  <a:chExt cx="48364" cy="48198"/>
                </a:xfrm>
                <a:noFill/>
              </p:grpSpPr>
              <p:sp>
                <p:nvSpPr>
                  <p:cNvPr id="933" name="Forma livre: Forma 932">
                    <a:extLst>
                      <a:ext uri="{FF2B5EF4-FFF2-40B4-BE49-F238E27FC236}">
                        <a16:creationId xmlns:a16="http://schemas.microsoft.com/office/drawing/2014/main" id="{456EB14F-35E9-E2FE-4F9C-3AB416E2E417}"/>
                      </a:ext>
                    </a:extLst>
                  </p:cNvPr>
                  <p:cNvSpPr/>
                  <p:nvPr/>
                </p:nvSpPr>
                <p:spPr>
                  <a:xfrm>
                    <a:off x="11158098" y="3125786"/>
                    <a:ext cx="48044" cy="48044"/>
                  </a:xfrm>
                  <a:custGeom>
                    <a:avLst/>
                    <a:gdLst>
                      <a:gd name="connsiteX0" fmla="*/ 0 w 48044"/>
                      <a:gd name="connsiteY0" fmla="*/ 0 h 48044"/>
                      <a:gd name="connsiteX1" fmla="*/ 48044 w 48044"/>
                      <a:gd name="connsiteY1" fmla="*/ 48044 h 4804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48044" h="48044">
                        <a:moveTo>
                          <a:pt x="0" y="0"/>
                        </a:moveTo>
                        <a:lnTo>
                          <a:pt x="48044" y="48044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934" name="Forma livre: Forma 933">
                    <a:extLst>
                      <a:ext uri="{FF2B5EF4-FFF2-40B4-BE49-F238E27FC236}">
                        <a16:creationId xmlns:a16="http://schemas.microsoft.com/office/drawing/2014/main" id="{519E4208-E6D5-10BB-BD21-83662EE519C7}"/>
                      </a:ext>
                    </a:extLst>
                  </p:cNvPr>
                  <p:cNvSpPr/>
                  <p:nvPr/>
                </p:nvSpPr>
                <p:spPr>
                  <a:xfrm>
                    <a:off x="11157777" y="3125631"/>
                    <a:ext cx="30688" cy="30557"/>
                  </a:xfrm>
                  <a:custGeom>
                    <a:avLst/>
                    <a:gdLst>
                      <a:gd name="connsiteX0" fmla="*/ 30688 w 30688"/>
                      <a:gd name="connsiteY0" fmla="*/ 0 h 30557"/>
                      <a:gd name="connsiteX1" fmla="*/ 0 w 30688"/>
                      <a:gd name="connsiteY1" fmla="*/ 0 h 30557"/>
                      <a:gd name="connsiteX2" fmla="*/ 0 w 30688"/>
                      <a:gd name="connsiteY2" fmla="*/ 30558 h 3055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</a:cxnLst>
                    <a:rect l="l" t="t" r="r" b="b"/>
                    <a:pathLst>
                      <a:path w="30688" h="30557">
                        <a:moveTo>
                          <a:pt x="30688" y="0"/>
                        </a:moveTo>
                        <a:lnTo>
                          <a:pt x="0" y="0"/>
                        </a:lnTo>
                        <a:lnTo>
                          <a:pt x="0" y="30558"/>
                        </a:lnTo>
                      </a:path>
                    </a:pathLst>
                  </a:custGeom>
                  <a:noFill/>
                  <a:ln w="6350" cap="rnd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</p:grpSp>
        </p:grpSp>
      </p:grpSp>
      <p:grpSp>
        <p:nvGrpSpPr>
          <p:cNvPr id="935" name="Gráfico 11">
            <a:extLst>
              <a:ext uri="{FF2B5EF4-FFF2-40B4-BE49-F238E27FC236}">
                <a16:creationId xmlns:a16="http://schemas.microsoft.com/office/drawing/2014/main" id="{89F0FE24-CCF5-994D-A91B-908453E4D214}"/>
              </a:ext>
            </a:extLst>
          </p:cNvPr>
          <p:cNvGrpSpPr/>
          <p:nvPr/>
        </p:nvGrpSpPr>
        <p:grpSpPr>
          <a:xfrm>
            <a:off x="11111677" y="1007504"/>
            <a:ext cx="327504" cy="281898"/>
            <a:chOff x="11111677" y="1007504"/>
            <a:chExt cx="327504" cy="281898"/>
          </a:xfrm>
          <a:noFill/>
        </p:grpSpPr>
        <p:grpSp>
          <p:nvGrpSpPr>
            <p:cNvPr id="936" name="Gráfico 11">
              <a:extLst>
                <a:ext uri="{FF2B5EF4-FFF2-40B4-BE49-F238E27FC236}">
                  <a16:creationId xmlns:a16="http://schemas.microsoft.com/office/drawing/2014/main" id="{45050013-42B6-D34D-55A7-097C0282C2F6}"/>
                </a:ext>
              </a:extLst>
            </p:cNvPr>
            <p:cNvGrpSpPr/>
            <p:nvPr/>
          </p:nvGrpSpPr>
          <p:grpSpPr>
            <a:xfrm>
              <a:off x="11111677" y="1007504"/>
              <a:ext cx="210132" cy="279160"/>
              <a:chOff x="11111677" y="1007504"/>
              <a:chExt cx="210132" cy="279160"/>
            </a:xfrm>
            <a:noFill/>
          </p:grpSpPr>
          <p:grpSp>
            <p:nvGrpSpPr>
              <p:cNvPr id="937" name="Gráfico 11">
                <a:extLst>
                  <a:ext uri="{FF2B5EF4-FFF2-40B4-BE49-F238E27FC236}">
                    <a16:creationId xmlns:a16="http://schemas.microsoft.com/office/drawing/2014/main" id="{161B817C-EB3C-1812-813B-2C4DA89685CF}"/>
                  </a:ext>
                </a:extLst>
              </p:cNvPr>
              <p:cNvGrpSpPr/>
              <p:nvPr/>
            </p:nvGrpSpPr>
            <p:grpSpPr>
              <a:xfrm>
                <a:off x="11111677" y="1007504"/>
                <a:ext cx="210132" cy="279160"/>
                <a:chOff x="11111677" y="1007504"/>
                <a:chExt cx="210132" cy="279160"/>
              </a:xfrm>
              <a:noFill/>
            </p:grpSpPr>
            <p:sp>
              <p:nvSpPr>
                <p:cNvPr id="938" name="Forma livre: Forma 937">
                  <a:extLst>
                    <a:ext uri="{FF2B5EF4-FFF2-40B4-BE49-F238E27FC236}">
                      <a16:creationId xmlns:a16="http://schemas.microsoft.com/office/drawing/2014/main" id="{8E7EF76B-F740-182F-FB40-B59AB382E1A8}"/>
                    </a:ext>
                  </a:extLst>
                </p:cNvPr>
                <p:cNvSpPr/>
                <p:nvPr/>
              </p:nvSpPr>
              <p:spPr>
                <a:xfrm>
                  <a:off x="11176663" y="1007504"/>
                  <a:ext cx="62316" cy="80698"/>
                </a:xfrm>
                <a:custGeom>
                  <a:avLst/>
                  <a:gdLst>
                    <a:gd name="connsiteX0" fmla="*/ 62316 w 62316"/>
                    <a:gd name="connsiteY0" fmla="*/ 68495 h 80698"/>
                    <a:gd name="connsiteX1" fmla="*/ 45969 w 62316"/>
                    <a:gd name="connsiteY1" fmla="*/ 11523 h 80698"/>
                    <a:gd name="connsiteX2" fmla="*/ 45423 w 62316"/>
                    <a:gd name="connsiteY2" fmla="*/ 6501 h 80698"/>
                    <a:gd name="connsiteX3" fmla="*/ 17560 w 62316"/>
                    <a:gd name="connsiteY3" fmla="*/ 3130 h 80698"/>
                    <a:gd name="connsiteX4" fmla="*/ 667 w 62316"/>
                    <a:gd name="connsiteY4" fmla="*/ 25543 h 80698"/>
                    <a:gd name="connsiteX5" fmla="*/ 3908 w 62316"/>
                    <a:gd name="connsiteY5" fmla="*/ 29425 h 80698"/>
                    <a:gd name="connsiteX6" fmla="*/ 33611 w 62316"/>
                    <a:gd name="connsiteY6" fmla="*/ 80699 h 806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62316" h="80698">
                      <a:moveTo>
                        <a:pt x="62316" y="68495"/>
                      </a:moveTo>
                      <a:cubicBezTo>
                        <a:pt x="62316" y="68495"/>
                        <a:pt x="42538" y="44621"/>
                        <a:pt x="45969" y="11523"/>
                      </a:cubicBezTo>
                      <a:cubicBezTo>
                        <a:pt x="46135" y="9802"/>
                        <a:pt x="46064" y="8021"/>
                        <a:pt x="45423" y="6501"/>
                      </a:cubicBezTo>
                      <a:cubicBezTo>
                        <a:pt x="42408" y="-598"/>
                        <a:pt x="29931" y="-2129"/>
                        <a:pt x="17560" y="3130"/>
                      </a:cubicBezTo>
                      <a:cubicBezTo>
                        <a:pt x="5202" y="8377"/>
                        <a:pt x="-2360" y="18420"/>
                        <a:pt x="667" y="25543"/>
                      </a:cubicBezTo>
                      <a:cubicBezTo>
                        <a:pt x="1320" y="27075"/>
                        <a:pt x="2543" y="28345"/>
                        <a:pt x="3908" y="29425"/>
                      </a:cubicBezTo>
                      <a:cubicBezTo>
                        <a:pt x="30132" y="49928"/>
                        <a:pt x="33611" y="80699"/>
                        <a:pt x="33611" y="80699"/>
                      </a:cubicBez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939" name="Forma livre: Forma 938">
                  <a:extLst>
                    <a:ext uri="{FF2B5EF4-FFF2-40B4-BE49-F238E27FC236}">
                      <a16:creationId xmlns:a16="http://schemas.microsoft.com/office/drawing/2014/main" id="{26AF9559-C3A7-3593-80E5-5AA83155DE62}"/>
                    </a:ext>
                  </a:extLst>
                </p:cNvPr>
                <p:cNvSpPr/>
                <p:nvPr/>
              </p:nvSpPr>
              <p:spPr>
                <a:xfrm>
                  <a:off x="11111677" y="1162792"/>
                  <a:ext cx="80717" cy="62303"/>
                </a:xfrm>
                <a:custGeom>
                  <a:avLst/>
                  <a:gdLst>
                    <a:gd name="connsiteX0" fmla="*/ 68502 w 80717"/>
                    <a:gd name="connsiteY0" fmla="*/ 0 h 62303"/>
                    <a:gd name="connsiteX1" fmla="*/ 11542 w 80717"/>
                    <a:gd name="connsiteY1" fmla="*/ 16335 h 62303"/>
                    <a:gd name="connsiteX2" fmla="*/ 6508 w 80717"/>
                    <a:gd name="connsiteY2" fmla="*/ 16893 h 62303"/>
                    <a:gd name="connsiteX3" fmla="*/ 3137 w 80717"/>
                    <a:gd name="connsiteY3" fmla="*/ 44756 h 62303"/>
                    <a:gd name="connsiteX4" fmla="*/ 25550 w 80717"/>
                    <a:gd name="connsiteY4" fmla="*/ 61637 h 62303"/>
                    <a:gd name="connsiteX5" fmla="*/ 29432 w 80717"/>
                    <a:gd name="connsiteY5" fmla="*/ 58396 h 62303"/>
                    <a:gd name="connsiteX6" fmla="*/ 80718 w 80717"/>
                    <a:gd name="connsiteY6" fmla="*/ 28706 h 623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80717" h="62303">
                      <a:moveTo>
                        <a:pt x="68502" y="0"/>
                      </a:moveTo>
                      <a:cubicBezTo>
                        <a:pt x="68502" y="0"/>
                        <a:pt x="44652" y="19766"/>
                        <a:pt x="11542" y="16335"/>
                      </a:cubicBezTo>
                      <a:cubicBezTo>
                        <a:pt x="9797" y="16157"/>
                        <a:pt x="8040" y="16240"/>
                        <a:pt x="6508" y="16893"/>
                      </a:cubicBezTo>
                      <a:cubicBezTo>
                        <a:pt x="-615" y="19909"/>
                        <a:pt x="-2122" y="32409"/>
                        <a:pt x="3137" y="44756"/>
                      </a:cubicBezTo>
                      <a:cubicBezTo>
                        <a:pt x="8384" y="57091"/>
                        <a:pt x="18427" y="64665"/>
                        <a:pt x="25550" y="61637"/>
                      </a:cubicBezTo>
                      <a:cubicBezTo>
                        <a:pt x="27094" y="60984"/>
                        <a:pt x="28352" y="59762"/>
                        <a:pt x="29432" y="58396"/>
                      </a:cubicBezTo>
                      <a:cubicBezTo>
                        <a:pt x="49935" y="32160"/>
                        <a:pt x="80718" y="28706"/>
                        <a:pt x="80718" y="28706"/>
                      </a:cubicBez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940" name="Forma livre: Forma 939">
                  <a:extLst>
                    <a:ext uri="{FF2B5EF4-FFF2-40B4-BE49-F238E27FC236}">
                      <a16:creationId xmlns:a16="http://schemas.microsoft.com/office/drawing/2014/main" id="{0F164E61-E1EB-4B8F-E11F-6AC66BA38C0C}"/>
                    </a:ext>
                  </a:extLst>
                </p:cNvPr>
                <p:cNvSpPr/>
                <p:nvPr/>
              </p:nvSpPr>
              <p:spPr>
                <a:xfrm>
                  <a:off x="11114183" y="1079036"/>
                  <a:ext cx="70981" cy="93764"/>
                </a:xfrm>
                <a:custGeom>
                  <a:avLst/>
                  <a:gdLst>
                    <a:gd name="connsiteX0" fmla="*/ 70982 w 70981"/>
                    <a:gd name="connsiteY0" fmla="*/ 560 h 93764"/>
                    <a:gd name="connsiteX1" fmla="*/ 53792 w 70981"/>
                    <a:gd name="connsiteY1" fmla="*/ 23532 h 93764"/>
                    <a:gd name="connsiteX2" fmla="*/ 23282 w 70981"/>
                    <a:gd name="connsiteY2" fmla="*/ 3065 h 93764"/>
                    <a:gd name="connsiteX3" fmla="*/ 20065 w 70981"/>
                    <a:gd name="connsiteY3" fmla="*/ 501 h 93764"/>
                    <a:gd name="connsiteX4" fmla="*/ 2257 w 70981"/>
                    <a:gd name="connsiteY4" fmla="*/ 14248 h 93764"/>
                    <a:gd name="connsiteX5" fmla="*/ 5546 w 70981"/>
                    <a:gd name="connsiteY5" fmla="*/ 36495 h 93764"/>
                    <a:gd name="connsiteX6" fmla="*/ 9641 w 70981"/>
                    <a:gd name="connsiteY6" fmla="*/ 36887 h 93764"/>
                    <a:gd name="connsiteX7" fmla="*/ 45814 w 70981"/>
                    <a:gd name="connsiteY7" fmla="*/ 43286 h 93764"/>
                    <a:gd name="connsiteX8" fmla="*/ 45363 w 70981"/>
                    <a:gd name="connsiteY8" fmla="*/ 93764 h 9376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70981" h="93764">
                      <a:moveTo>
                        <a:pt x="70982" y="560"/>
                      </a:moveTo>
                      <a:cubicBezTo>
                        <a:pt x="64073" y="7363"/>
                        <a:pt x="58315" y="15138"/>
                        <a:pt x="53792" y="23532"/>
                      </a:cubicBezTo>
                      <a:cubicBezTo>
                        <a:pt x="45019" y="20611"/>
                        <a:pt x="32910" y="14723"/>
                        <a:pt x="23282" y="3065"/>
                      </a:cubicBezTo>
                      <a:cubicBezTo>
                        <a:pt x="22380" y="1973"/>
                        <a:pt x="21323" y="999"/>
                        <a:pt x="20065" y="501"/>
                      </a:cubicBezTo>
                      <a:cubicBezTo>
                        <a:pt x="14236" y="-1850"/>
                        <a:pt x="6246" y="4300"/>
                        <a:pt x="2257" y="14248"/>
                      </a:cubicBezTo>
                      <a:cubicBezTo>
                        <a:pt x="-1756" y="24173"/>
                        <a:pt x="-272" y="34157"/>
                        <a:pt x="5546" y="36495"/>
                      </a:cubicBezTo>
                      <a:cubicBezTo>
                        <a:pt x="6792" y="37006"/>
                        <a:pt x="8240" y="37042"/>
                        <a:pt x="9641" y="36887"/>
                      </a:cubicBezTo>
                      <a:cubicBezTo>
                        <a:pt x="24659" y="35142"/>
                        <a:pt x="37468" y="39309"/>
                        <a:pt x="45814" y="43286"/>
                      </a:cubicBezTo>
                      <a:cubicBezTo>
                        <a:pt x="41279" y="59408"/>
                        <a:pt x="40887" y="76811"/>
                        <a:pt x="45363" y="93764"/>
                      </a:cubicBez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941" name="Forma livre: Forma 940">
                  <a:extLst>
                    <a:ext uri="{FF2B5EF4-FFF2-40B4-BE49-F238E27FC236}">
                      <a16:creationId xmlns:a16="http://schemas.microsoft.com/office/drawing/2014/main" id="{C6253BD0-B208-B476-C69B-B2ED1F36C675}"/>
                    </a:ext>
                  </a:extLst>
                </p:cNvPr>
                <p:cNvSpPr/>
                <p:nvPr/>
              </p:nvSpPr>
              <p:spPr>
                <a:xfrm>
                  <a:off x="11183242" y="1215051"/>
                  <a:ext cx="85701" cy="71613"/>
                </a:xfrm>
                <a:custGeom>
                  <a:avLst/>
                  <a:gdLst>
                    <a:gd name="connsiteX0" fmla="*/ 0 w 85701"/>
                    <a:gd name="connsiteY0" fmla="*/ 0 h 71613"/>
                    <a:gd name="connsiteX1" fmla="*/ 23815 w 85701"/>
                    <a:gd name="connsiteY1" fmla="*/ 18033 h 71613"/>
                    <a:gd name="connsiteX2" fmla="*/ 3407 w 85701"/>
                    <a:gd name="connsiteY2" fmla="*/ 48341 h 71613"/>
                    <a:gd name="connsiteX3" fmla="*/ 855 w 85701"/>
                    <a:gd name="connsiteY3" fmla="*/ 51547 h 71613"/>
                    <a:gd name="connsiteX4" fmla="*/ 14590 w 85701"/>
                    <a:gd name="connsiteY4" fmla="*/ 69354 h 71613"/>
                    <a:gd name="connsiteX5" fmla="*/ 36850 w 85701"/>
                    <a:gd name="connsiteY5" fmla="*/ 66054 h 71613"/>
                    <a:gd name="connsiteX6" fmla="*/ 37229 w 85701"/>
                    <a:gd name="connsiteY6" fmla="*/ 61970 h 71613"/>
                    <a:gd name="connsiteX7" fmla="*/ 43569 w 85701"/>
                    <a:gd name="connsiteY7" fmla="*/ 25987 h 71613"/>
                    <a:gd name="connsiteX8" fmla="*/ 85701 w 85701"/>
                    <a:gd name="connsiteY8" fmla="*/ 28254 h 7161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85701" h="71613">
                      <a:moveTo>
                        <a:pt x="0" y="0"/>
                      </a:moveTo>
                      <a:cubicBezTo>
                        <a:pt x="7004" y="7277"/>
                        <a:pt x="15065" y="13320"/>
                        <a:pt x="23815" y="18033"/>
                      </a:cubicBezTo>
                      <a:cubicBezTo>
                        <a:pt x="20858" y="26770"/>
                        <a:pt x="14970" y="38785"/>
                        <a:pt x="3407" y="48341"/>
                      </a:cubicBezTo>
                      <a:cubicBezTo>
                        <a:pt x="2327" y="49243"/>
                        <a:pt x="1353" y="50288"/>
                        <a:pt x="855" y="51547"/>
                      </a:cubicBezTo>
                      <a:cubicBezTo>
                        <a:pt x="-1496" y="57375"/>
                        <a:pt x="4654" y="65365"/>
                        <a:pt x="14590" y="69354"/>
                      </a:cubicBezTo>
                      <a:cubicBezTo>
                        <a:pt x="24539" y="73367"/>
                        <a:pt x="34511" y="71894"/>
                        <a:pt x="36850" y="66054"/>
                      </a:cubicBezTo>
                      <a:cubicBezTo>
                        <a:pt x="37360" y="64807"/>
                        <a:pt x="37396" y="63359"/>
                        <a:pt x="37229" y="61970"/>
                      </a:cubicBezTo>
                      <a:cubicBezTo>
                        <a:pt x="35532" y="47047"/>
                        <a:pt x="39616" y="34321"/>
                        <a:pt x="43569" y="25987"/>
                      </a:cubicBezTo>
                      <a:cubicBezTo>
                        <a:pt x="57067" y="29762"/>
                        <a:pt x="71432" y="30688"/>
                        <a:pt x="85701" y="28254"/>
                      </a:cubicBez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942" name="Forma livre: Forma 941">
                  <a:extLst>
                    <a:ext uri="{FF2B5EF4-FFF2-40B4-BE49-F238E27FC236}">
                      <a16:creationId xmlns:a16="http://schemas.microsoft.com/office/drawing/2014/main" id="{AD39D755-C604-5947-F157-60274F477386}"/>
                    </a:ext>
                  </a:extLst>
                </p:cNvPr>
                <p:cNvSpPr/>
                <p:nvPr/>
              </p:nvSpPr>
              <p:spPr>
                <a:xfrm>
                  <a:off x="11228591" y="1009616"/>
                  <a:ext cx="93218" cy="67985"/>
                </a:xfrm>
                <a:custGeom>
                  <a:avLst/>
                  <a:gdLst>
                    <a:gd name="connsiteX0" fmla="*/ 89678 w 93218"/>
                    <a:gd name="connsiteY0" fmla="*/ 67986 h 67985"/>
                    <a:gd name="connsiteX1" fmla="*/ 69698 w 93218"/>
                    <a:gd name="connsiteY1" fmla="*/ 53764 h 67985"/>
                    <a:gd name="connsiteX2" fmla="*/ 90153 w 93218"/>
                    <a:gd name="connsiteY2" fmla="*/ 23277 h 67985"/>
                    <a:gd name="connsiteX3" fmla="*/ 92717 w 93218"/>
                    <a:gd name="connsiteY3" fmla="*/ 20072 h 67985"/>
                    <a:gd name="connsiteX4" fmla="*/ 78982 w 93218"/>
                    <a:gd name="connsiteY4" fmla="*/ 2253 h 67985"/>
                    <a:gd name="connsiteX5" fmla="*/ 56723 w 93218"/>
                    <a:gd name="connsiteY5" fmla="*/ 5565 h 67985"/>
                    <a:gd name="connsiteX6" fmla="*/ 56343 w 93218"/>
                    <a:gd name="connsiteY6" fmla="*/ 9649 h 67985"/>
                    <a:gd name="connsiteX7" fmla="*/ 49920 w 93218"/>
                    <a:gd name="connsiteY7" fmla="*/ 45893 h 67985"/>
                    <a:gd name="connsiteX8" fmla="*/ 0 w 93218"/>
                    <a:gd name="connsiteY8" fmla="*/ 45406 h 6798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93218" h="67985">
                      <a:moveTo>
                        <a:pt x="89678" y="67986"/>
                      </a:moveTo>
                      <a:cubicBezTo>
                        <a:pt x="83612" y="62382"/>
                        <a:pt x="76892" y="57622"/>
                        <a:pt x="69698" y="53764"/>
                      </a:cubicBezTo>
                      <a:cubicBezTo>
                        <a:pt x="72607" y="44990"/>
                        <a:pt x="78507" y="32893"/>
                        <a:pt x="90153" y="23277"/>
                      </a:cubicBezTo>
                      <a:cubicBezTo>
                        <a:pt x="91245" y="22375"/>
                        <a:pt x="92219" y="21330"/>
                        <a:pt x="92717" y="20072"/>
                      </a:cubicBezTo>
                      <a:cubicBezTo>
                        <a:pt x="95068" y="14243"/>
                        <a:pt x="88918" y="6265"/>
                        <a:pt x="78982" y="2253"/>
                      </a:cubicBezTo>
                      <a:cubicBezTo>
                        <a:pt x="69045" y="-1760"/>
                        <a:pt x="59073" y="-264"/>
                        <a:pt x="56723" y="5565"/>
                      </a:cubicBezTo>
                      <a:cubicBezTo>
                        <a:pt x="56212" y="6811"/>
                        <a:pt x="56188" y="8248"/>
                        <a:pt x="56343" y="9649"/>
                      </a:cubicBezTo>
                      <a:cubicBezTo>
                        <a:pt x="58064" y="24714"/>
                        <a:pt x="53909" y="37559"/>
                        <a:pt x="49920" y="45893"/>
                      </a:cubicBezTo>
                      <a:cubicBezTo>
                        <a:pt x="33941" y="41465"/>
                        <a:pt x="16775" y="41025"/>
                        <a:pt x="0" y="45406"/>
                      </a:cubicBez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943" name="Gráfico 11">
                <a:extLst>
                  <a:ext uri="{FF2B5EF4-FFF2-40B4-BE49-F238E27FC236}">
                    <a16:creationId xmlns:a16="http://schemas.microsoft.com/office/drawing/2014/main" id="{71C4A89D-9B14-1FBA-76EC-2AF9242DB5C3}"/>
                  </a:ext>
                </a:extLst>
              </p:cNvPr>
              <p:cNvGrpSpPr/>
              <p:nvPr/>
            </p:nvGrpSpPr>
            <p:grpSpPr>
              <a:xfrm>
                <a:off x="11196004" y="1090858"/>
                <a:ext cx="94627" cy="111786"/>
                <a:chOff x="11196004" y="1090858"/>
                <a:chExt cx="94627" cy="111786"/>
              </a:xfrm>
              <a:noFill/>
            </p:grpSpPr>
            <p:grpSp>
              <p:nvGrpSpPr>
                <p:cNvPr id="944" name="Gráfico 11">
                  <a:extLst>
                    <a:ext uri="{FF2B5EF4-FFF2-40B4-BE49-F238E27FC236}">
                      <a16:creationId xmlns:a16="http://schemas.microsoft.com/office/drawing/2014/main" id="{A0443AB6-D14E-53B4-6D1F-7E6188DAD05E}"/>
                    </a:ext>
                  </a:extLst>
                </p:cNvPr>
                <p:cNvGrpSpPr/>
                <p:nvPr/>
              </p:nvGrpSpPr>
              <p:grpSpPr>
                <a:xfrm>
                  <a:off x="11196004" y="1090858"/>
                  <a:ext cx="94627" cy="57747"/>
                  <a:chOff x="11196004" y="1090858"/>
                  <a:chExt cx="94627" cy="57747"/>
                </a:xfrm>
                <a:noFill/>
              </p:grpSpPr>
              <p:sp>
                <p:nvSpPr>
                  <p:cNvPr id="945" name="Forma livre: Forma 944">
                    <a:extLst>
                      <a:ext uri="{FF2B5EF4-FFF2-40B4-BE49-F238E27FC236}">
                        <a16:creationId xmlns:a16="http://schemas.microsoft.com/office/drawing/2014/main" id="{088DE824-BF5A-DC20-B362-83263CC754F9}"/>
                      </a:ext>
                    </a:extLst>
                  </p:cNvPr>
                  <p:cNvSpPr/>
                  <p:nvPr/>
                </p:nvSpPr>
                <p:spPr>
                  <a:xfrm>
                    <a:off x="11196004" y="1115069"/>
                    <a:ext cx="32183" cy="33535"/>
                  </a:xfrm>
                  <a:custGeom>
                    <a:avLst/>
                    <a:gdLst>
                      <a:gd name="connsiteX0" fmla="*/ 8856 w 32183"/>
                      <a:gd name="connsiteY0" fmla="*/ 1353 h 33535"/>
                      <a:gd name="connsiteX1" fmla="*/ 30842 w 32183"/>
                      <a:gd name="connsiteY1" fmla="*/ 10209 h 33535"/>
                      <a:gd name="connsiteX2" fmla="*/ 21986 w 32183"/>
                      <a:gd name="connsiteY2" fmla="*/ 32195 h 33535"/>
                      <a:gd name="connsiteX3" fmla="*/ 0 w 32183"/>
                      <a:gd name="connsiteY3" fmla="*/ 23339 h 3353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32183" h="33535">
                        <a:moveTo>
                          <a:pt x="8856" y="1353"/>
                        </a:moveTo>
                        <a:cubicBezTo>
                          <a:pt x="17392" y="-2292"/>
                          <a:pt x="27234" y="1685"/>
                          <a:pt x="30842" y="10209"/>
                        </a:cubicBezTo>
                        <a:cubicBezTo>
                          <a:pt x="34463" y="18744"/>
                          <a:pt x="30498" y="28562"/>
                          <a:pt x="21986" y="32195"/>
                        </a:cubicBezTo>
                        <a:cubicBezTo>
                          <a:pt x="13462" y="35816"/>
                          <a:pt x="3621" y="31851"/>
                          <a:pt x="0" y="23339"/>
                        </a:cubicBezTo>
                      </a:path>
                    </a:pathLst>
                  </a:custGeom>
                  <a:noFill/>
                  <a:ln w="6350" cap="rnd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946" name="Forma livre: Forma 945">
                    <a:extLst>
                      <a:ext uri="{FF2B5EF4-FFF2-40B4-BE49-F238E27FC236}">
                        <a16:creationId xmlns:a16="http://schemas.microsoft.com/office/drawing/2014/main" id="{078B89ED-7DC6-B24D-D766-88E3D89094FE}"/>
                      </a:ext>
                    </a:extLst>
                  </p:cNvPr>
                  <p:cNvSpPr/>
                  <p:nvPr/>
                </p:nvSpPr>
                <p:spPr>
                  <a:xfrm>
                    <a:off x="11258425" y="1090858"/>
                    <a:ext cx="32206" cy="33533"/>
                  </a:xfrm>
                  <a:custGeom>
                    <a:avLst/>
                    <a:gdLst>
                      <a:gd name="connsiteX0" fmla="*/ 8880 w 32206"/>
                      <a:gd name="connsiteY0" fmla="*/ 1346 h 33533"/>
                      <a:gd name="connsiteX1" fmla="*/ 30866 w 32206"/>
                      <a:gd name="connsiteY1" fmla="*/ 10202 h 33533"/>
                      <a:gd name="connsiteX2" fmla="*/ 21986 w 32206"/>
                      <a:gd name="connsiteY2" fmla="*/ 32188 h 33533"/>
                      <a:gd name="connsiteX3" fmla="*/ 0 w 32206"/>
                      <a:gd name="connsiteY3" fmla="*/ 23320 h 3353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32206" h="33533">
                        <a:moveTo>
                          <a:pt x="8880" y="1346"/>
                        </a:moveTo>
                        <a:cubicBezTo>
                          <a:pt x="17404" y="-2287"/>
                          <a:pt x="27245" y="1690"/>
                          <a:pt x="30866" y="10202"/>
                        </a:cubicBezTo>
                        <a:cubicBezTo>
                          <a:pt x="34487" y="18726"/>
                          <a:pt x="30522" y="28579"/>
                          <a:pt x="21986" y="32188"/>
                        </a:cubicBezTo>
                        <a:cubicBezTo>
                          <a:pt x="13474" y="35821"/>
                          <a:pt x="3633" y="31844"/>
                          <a:pt x="0" y="23320"/>
                        </a:cubicBezTo>
                      </a:path>
                    </a:pathLst>
                  </a:custGeom>
                  <a:noFill/>
                  <a:ln w="6350" cap="rnd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  <p:sp>
              <p:nvSpPr>
                <p:cNvPr id="947" name="Forma livre: Forma 946">
                  <a:extLst>
                    <a:ext uri="{FF2B5EF4-FFF2-40B4-BE49-F238E27FC236}">
                      <a16:creationId xmlns:a16="http://schemas.microsoft.com/office/drawing/2014/main" id="{98709FDC-3ABD-BC75-B8CB-BD360257EAC9}"/>
                    </a:ext>
                  </a:extLst>
                </p:cNvPr>
                <p:cNvSpPr/>
                <p:nvPr/>
              </p:nvSpPr>
              <p:spPr>
                <a:xfrm>
                  <a:off x="11233767" y="1169120"/>
                  <a:ext cx="32194" cy="33523"/>
                </a:xfrm>
                <a:custGeom>
                  <a:avLst/>
                  <a:gdLst>
                    <a:gd name="connsiteX0" fmla="*/ 8868 w 32194"/>
                    <a:gd name="connsiteY0" fmla="*/ 1341 h 33523"/>
                    <a:gd name="connsiteX1" fmla="*/ 30854 w 32194"/>
                    <a:gd name="connsiteY1" fmla="*/ 10185 h 33523"/>
                    <a:gd name="connsiteX2" fmla="*/ 21986 w 32194"/>
                    <a:gd name="connsiteY2" fmla="*/ 32183 h 33523"/>
                    <a:gd name="connsiteX3" fmla="*/ 0 w 32194"/>
                    <a:gd name="connsiteY3" fmla="*/ 23303 h 3352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32194" h="33523">
                      <a:moveTo>
                        <a:pt x="8868" y="1341"/>
                      </a:moveTo>
                      <a:cubicBezTo>
                        <a:pt x="17392" y="-2280"/>
                        <a:pt x="27233" y="1685"/>
                        <a:pt x="30854" y="10185"/>
                      </a:cubicBezTo>
                      <a:cubicBezTo>
                        <a:pt x="34475" y="18709"/>
                        <a:pt x="30510" y="28563"/>
                        <a:pt x="21986" y="32183"/>
                      </a:cubicBezTo>
                      <a:cubicBezTo>
                        <a:pt x="13474" y="35804"/>
                        <a:pt x="3633" y="31839"/>
                        <a:pt x="0" y="23303"/>
                      </a:cubicBez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grpSp>
          <p:nvGrpSpPr>
            <p:cNvPr id="948" name="Gráfico 11">
              <a:extLst>
                <a:ext uri="{FF2B5EF4-FFF2-40B4-BE49-F238E27FC236}">
                  <a16:creationId xmlns:a16="http://schemas.microsoft.com/office/drawing/2014/main" id="{D16159F0-89BA-BD80-3BC2-3461B2BCE6D6}"/>
                </a:ext>
              </a:extLst>
            </p:cNvPr>
            <p:cNvGrpSpPr/>
            <p:nvPr/>
          </p:nvGrpSpPr>
          <p:grpSpPr>
            <a:xfrm>
              <a:off x="11270605" y="1038390"/>
              <a:ext cx="168576" cy="251013"/>
              <a:chOff x="11270605" y="1038390"/>
              <a:chExt cx="168576" cy="251013"/>
            </a:xfrm>
            <a:noFill/>
          </p:grpSpPr>
          <p:sp>
            <p:nvSpPr>
              <p:cNvPr id="949" name="Forma livre: Forma 948">
                <a:extLst>
                  <a:ext uri="{FF2B5EF4-FFF2-40B4-BE49-F238E27FC236}">
                    <a16:creationId xmlns:a16="http://schemas.microsoft.com/office/drawing/2014/main" id="{42ABCA9C-19E6-716B-47FC-56DFC72C7F97}"/>
                  </a:ext>
                </a:extLst>
              </p:cNvPr>
              <p:cNvSpPr/>
              <p:nvPr/>
            </p:nvSpPr>
            <p:spPr>
              <a:xfrm>
                <a:off x="11397916" y="1132187"/>
                <a:ext cx="35698" cy="131881"/>
              </a:xfrm>
              <a:custGeom>
                <a:avLst/>
                <a:gdLst>
                  <a:gd name="connsiteX0" fmla="*/ 0 w 35698"/>
                  <a:gd name="connsiteY0" fmla="*/ 0 h 131881"/>
                  <a:gd name="connsiteX1" fmla="*/ 35698 w 35698"/>
                  <a:gd name="connsiteY1" fmla="*/ 80454 h 131881"/>
                  <a:gd name="connsiteX2" fmla="*/ 22639 w 35698"/>
                  <a:gd name="connsiteY2" fmla="*/ 131882 h 1318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5698" h="131881">
                    <a:moveTo>
                      <a:pt x="0" y="0"/>
                    </a:moveTo>
                    <a:cubicBezTo>
                      <a:pt x="21998" y="20300"/>
                      <a:pt x="35698" y="48840"/>
                      <a:pt x="35698" y="80454"/>
                    </a:cubicBezTo>
                    <a:cubicBezTo>
                      <a:pt x="35698" y="98997"/>
                      <a:pt x="30985" y="116496"/>
                      <a:pt x="22639" y="131882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50" name="Forma livre: Forma 949">
                <a:extLst>
                  <a:ext uri="{FF2B5EF4-FFF2-40B4-BE49-F238E27FC236}">
                    <a16:creationId xmlns:a16="http://schemas.microsoft.com/office/drawing/2014/main" id="{CB83F5AD-6E92-112D-A29C-57AECB2BA8B2}"/>
                  </a:ext>
                </a:extLst>
              </p:cNvPr>
              <p:cNvSpPr/>
              <p:nvPr/>
            </p:nvSpPr>
            <p:spPr>
              <a:xfrm>
                <a:off x="11304024" y="1072378"/>
                <a:ext cx="80465" cy="115534"/>
              </a:xfrm>
              <a:custGeom>
                <a:avLst/>
                <a:gdLst>
                  <a:gd name="connsiteX0" fmla="*/ 71242 w 80465"/>
                  <a:gd name="connsiteY0" fmla="*/ 36173 h 115534"/>
                  <a:gd name="connsiteX1" fmla="*/ 80466 w 80465"/>
                  <a:gd name="connsiteY1" fmla="*/ 15991 h 115534"/>
                  <a:gd name="connsiteX2" fmla="*/ 45492 w 80465"/>
                  <a:gd name="connsiteY2" fmla="*/ 0 h 115534"/>
                  <a:gd name="connsiteX3" fmla="*/ 0 w 80465"/>
                  <a:gd name="connsiteY3" fmla="*/ 99543 h 115534"/>
                  <a:gd name="connsiteX4" fmla="*/ 34986 w 80465"/>
                  <a:gd name="connsiteY4" fmla="*/ 115534 h 115534"/>
                  <a:gd name="connsiteX5" fmla="*/ 45528 w 80465"/>
                  <a:gd name="connsiteY5" fmla="*/ 92468 h 1155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80465" h="115534">
                    <a:moveTo>
                      <a:pt x="71242" y="36173"/>
                    </a:moveTo>
                    <a:lnTo>
                      <a:pt x="80466" y="15991"/>
                    </a:lnTo>
                    <a:lnTo>
                      <a:pt x="45492" y="0"/>
                    </a:lnTo>
                    <a:lnTo>
                      <a:pt x="0" y="99543"/>
                    </a:lnTo>
                    <a:lnTo>
                      <a:pt x="34986" y="115534"/>
                    </a:lnTo>
                    <a:lnTo>
                      <a:pt x="45528" y="92468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51" name="Forma livre: Forma 950">
                <a:extLst>
                  <a:ext uri="{FF2B5EF4-FFF2-40B4-BE49-F238E27FC236}">
                    <a16:creationId xmlns:a16="http://schemas.microsoft.com/office/drawing/2014/main" id="{DD308A9F-339A-6EA7-778B-9E52636A0C50}"/>
                  </a:ext>
                </a:extLst>
              </p:cNvPr>
              <p:cNvSpPr/>
              <p:nvPr/>
            </p:nvSpPr>
            <p:spPr>
              <a:xfrm>
                <a:off x="11362729" y="1038390"/>
                <a:ext cx="32290" cy="29857"/>
              </a:xfrm>
              <a:custGeom>
                <a:avLst/>
                <a:gdLst>
                  <a:gd name="connsiteX0" fmla="*/ 0 w 32290"/>
                  <a:gd name="connsiteY0" fmla="*/ 19446 h 29857"/>
                  <a:gd name="connsiteX1" fmla="*/ 9509 w 32290"/>
                  <a:gd name="connsiteY1" fmla="*/ 0 h 29857"/>
                  <a:gd name="connsiteX2" fmla="*/ 32291 w 32290"/>
                  <a:gd name="connsiteY2" fmla="*/ 10411 h 29857"/>
                  <a:gd name="connsiteX3" fmla="*/ 22793 w 32290"/>
                  <a:gd name="connsiteY3" fmla="*/ 29857 h 298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2290" h="29857">
                    <a:moveTo>
                      <a:pt x="0" y="19446"/>
                    </a:moveTo>
                    <a:lnTo>
                      <a:pt x="9509" y="0"/>
                    </a:lnTo>
                    <a:lnTo>
                      <a:pt x="32291" y="10411"/>
                    </a:lnTo>
                    <a:lnTo>
                      <a:pt x="22793" y="29857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52" name="Forma livre: Forma 951">
                <a:extLst>
                  <a:ext uri="{FF2B5EF4-FFF2-40B4-BE49-F238E27FC236}">
                    <a16:creationId xmlns:a16="http://schemas.microsoft.com/office/drawing/2014/main" id="{33FD11A0-505F-20C2-E5E4-ECEC447F0476}"/>
                  </a:ext>
                </a:extLst>
              </p:cNvPr>
              <p:cNvSpPr/>
              <p:nvPr/>
            </p:nvSpPr>
            <p:spPr>
              <a:xfrm>
                <a:off x="11278013" y="1220108"/>
                <a:ext cx="78459" cy="1187"/>
              </a:xfrm>
              <a:custGeom>
                <a:avLst/>
                <a:gdLst>
                  <a:gd name="connsiteX0" fmla="*/ 78460 w 78459"/>
                  <a:gd name="connsiteY0" fmla="*/ 0 h 1187"/>
                  <a:gd name="connsiteX1" fmla="*/ 0 w 78459"/>
                  <a:gd name="connsiteY1" fmla="*/ 0 h 11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78459" h="1187">
                    <a:moveTo>
                      <a:pt x="78460" y="0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53" name="Forma livre: Forma 952">
                <a:extLst>
                  <a:ext uri="{FF2B5EF4-FFF2-40B4-BE49-F238E27FC236}">
                    <a16:creationId xmlns:a16="http://schemas.microsoft.com/office/drawing/2014/main" id="{3CB42090-D7DA-1FF0-0B7A-5C5AC8F91A5F}"/>
                  </a:ext>
                </a:extLst>
              </p:cNvPr>
              <p:cNvSpPr/>
              <p:nvPr/>
            </p:nvSpPr>
            <p:spPr>
              <a:xfrm>
                <a:off x="11335092" y="1220927"/>
                <a:ext cx="1187" cy="42951"/>
              </a:xfrm>
              <a:custGeom>
                <a:avLst/>
                <a:gdLst>
                  <a:gd name="connsiteX0" fmla="*/ 0 w 1187"/>
                  <a:gd name="connsiteY0" fmla="*/ 0 h 42951"/>
                  <a:gd name="connsiteX1" fmla="*/ 0 w 1187"/>
                  <a:gd name="connsiteY1" fmla="*/ 42951 h 429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87" h="42951">
                    <a:moveTo>
                      <a:pt x="0" y="0"/>
                    </a:moveTo>
                    <a:lnTo>
                      <a:pt x="0" y="42951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54" name="Forma livre: Forma 953">
                <a:extLst>
                  <a:ext uri="{FF2B5EF4-FFF2-40B4-BE49-F238E27FC236}">
                    <a16:creationId xmlns:a16="http://schemas.microsoft.com/office/drawing/2014/main" id="{D0B01882-1E5F-28BE-65CE-25BB978B2B72}"/>
                  </a:ext>
                </a:extLst>
              </p:cNvPr>
              <p:cNvSpPr/>
              <p:nvPr/>
            </p:nvSpPr>
            <p:spPr>
              <a:xfrm>
                <a:off x="11270605" y="1170426"/>
                <a:ext cx="168576" cy="118977"/>
              </a:xfrm>
              <a:custGeom>
                <a:avLst/>
                <a:gdLst>
                  <a:gd name="connsiteX0" fmla="*/ 123002 w 168576"/>
                  <a:gd name="connsiteY0" fmla="*/ 95234 h 118977"/>
                  <a:gd name="connsiteX1" fmla="*/ 159080 w 168576"/>
                  <a:gd name="connsiteY1" fmla="*/ 95234 h 118977"/>
                  <a:gd name="connsiteX2" fmla="*/ 168577 w 168576"/>
                  <a:gd name="connsiteY2" fmla="*/ 104731 h 118977"/>
                  <a:gd name="connsiteX3" fmla="*/ 168577 w 168576"/>
                  <a:gd name="connsiteY3" fmla="*/ 118977 h 118977"/>
                  <a:gd name="connsiteX4" fmla="*/ 0 w 168576"/>
                  <a:gd name="connsiteY4" fmla="*/ 118977 h 118977"/>
                  <a:gd name="connsiteX5" fmla="*/ 0 w 168576"/>
                  <a:gd name="connsiteY5" fmla="*/ 104731 h 118977"/>
                  <a:gd name="connsiteX6" fmla="*/ 9497 w 168576"/>
                  <a:gd name="connsiteY6" fmla="*/ 95234 h 118977"/>
                  <a:gd name="connsiteX7" fmla="*/ 54989 w 168576"/>
                  <a:gd name="connsiteY7" fmla="*/ 95234 h 118977"/>
                  <a:gd name="connsiteX8" fmla="*/ 125839 w 168576"/>
                  <a:gd name="connsiteY8" fmla="*/ 27471 h 118977"/>
                  <a:gd name="connsiteX9" fmla="*/ 119844 w 168576"/>
                  <a:gd name="connsiteY9" fmla="*/ 0 h 1189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68576" h="118977">
                    <a:moveTo>
                      <a:pt x="123002" y="95234"/>
                    </a:moveTo>
                    <a:lnTo>
                      <a:pt x="159080" y="95234"/>
                    </a:lnTo>
                    <a:cubicBezTo>
                      <a:pt x="164303" y="95234"/>
                      <a:pt x="168577" y="99508"/>
                      <a:pt x="168577" y="104731"/>
                    </a:cubicBezTo>
                    <a:lnTo>
                      <a:pt x="168577" y="118977"/>
                    </a:lnTo>
                    <a:lnTo>
                      <a:pt x="0" y="118977"/>
                    </a:lnTo>
                    <a:lnTo>
                      <a:pt x="0" y="104731"/>
                    </a:lnTo>
                    <a:cubicBezTo>
                      <a:pt x="0" y="99508"/>
                      <a:pt x="4274" y="95234"/>
                      <a:pt x="9497" y="95234"/>
                    </a:cubicBezTo>
                    <a:lnTo>
                      <a:pt x="54989" y="95234"/>
                    </a:lnTo>
                    <a:cubicBezTo>
                      <a:pt x="94118" y="95234"/>
                      <a:pt x="125839" y="65056"/>
                      <a:pt x="125839" y="27471"/>
                    </a:cubicBezTo>
                    <a:cubicBezTo>
                      <a:pt x="125839" y="17701"/>
                      <a:pt x="123702" y="8417"/>
                      <a:pt x="119844" y="0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55" name="Forma livre: Forma 954">
                <a:extLst>
                  <a:ext uri="{FF2B5EF4-FFF2-40B4-BE49-F238E27FC236}">
                    <a16:creationId xmlns:a16="http://schemas.microsoft.com/office/drawing/2014/main" id="{8052A08D-A9C9-849D-6644-5A17D77C2599}"/>
                  </a:ext>
                </a:extLst>
              </p:cNvPr>
              <p:cNvSpPr/>
              <p:nvPr/>
            </p:nvSpPr>
            <p:spPr>
              <a:xfrm>
                <a:off x="11300260" y="1220927"/>
                <a:ext cx="1187" cy="44482"/>
              </a:xfrm>
              <a:custGeom>
                <a:avLst/>
                <a:gdLst>
                  <a:gd name="connsiteX0" fmla="*/ 0 w 1187"/>
                  <a:gd name="connsiteY0" fmla="*/ 0 h 44482"/>
                  <a:gd name="connsiteX1" fmla="*/ 0 w 1187"/>
                  <a:gd name="connsiteY1" fmla="*/ 44483 h 444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87" h="44482">
                    <a:moveTo>
                      <a:pt x="0" y="0"/>
                    </a:moveTo>
                    <a:lnTo>
                      <a:pt x="0" y="44483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56" name="Forma livre: Forma 955">
                <a:extLst>
                  <a:ext uri="{FF2B5EF4-FFF2-40B4-BE49-F238E27FC236}">
                    <a16:creationId xmlns:a16="http://schemas.microsoft.com/office/drawing/2014/main" id="{8B823780-4A5B-2770-310A-13DDFA28F373}"/>
                  </a:ext>
                </a:extLst>
              </p:cNvPr>
              <p:cNvSpPr/>
              <p:nvPr/>
            </p:nvSpPr>
            <p:spPr>
              <a:xfrm>
                <a:off x="11353077" y="1108551"/>
                <a:ext cx="44316" cy="44328"/>
              </a:xfrm>
              <a:custGeom>
                <a:avLst/>
                <a:gdLst>
                  <a:gd name="connsiteX0" fmla="*/ 44317 w 44316"/>
                  <a:gd name="connsiteY0" fmla="*/ 22164 h 44328"/>
                  <a:gd name="connsiteX1" fmla="*/ 22164 w 44316"/>
                  <a:gd name="connsiteY1" fmla="*/ 44329 h 44328"/>
                  <a:gd name="connsiteX2" fmla="*/ 0 w 44316"/>
                  <a:gd name="connsiteY2" fmla="*/ 22164 h 44328"/>
                  <a:gd name="connsiteX3" fmla="*/ 22164 w 44316"/>
                  <a:gd name="connsiteY3" fmla="*/ 0 h 44328"/>
                  <a:gd name="connsiteX4" fmla="*/ 44317 w 44316"/>
                  <a:gd name="connsiteY4" fmla="*/ 22164 h 443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4316" h="44328">
                    <a:moveTo>
                      <a:pt x="44317" y="22164"/>
                    </a:moveTo>
                    <a:cubicBezTo>
                      <a:pt x="44317" y="34404"/>
                      <a:pt x="34392" y="44329"/>
                      <a:pt x="22164" y="44329"/>
                    </a:cubicBezTo>
                    <a:cubicBezTo>
                      <a:pt x="9937" y="44329"/>
                      <a:pt x="0" y="34404"/>
                      <a:pt x="0" y="22164"/>
                    </a:cubicBezTo>
                    <a:cubicBezTo>
                      <a:pt x="0" y="9925"/>
                      <a:pt x="9925" y="0"/>
                      <a:pt x="22164" y="0"/>
                    </a:cubicBezTo>
                    <a:cubicBezTo>
                      <a:pt x="34404" y="0"/>
                      <a:pt x="44317" y="9925"/>
                      <a:pt x="44317" y="22164"/>
                    </a:cubicBezTo>
                    <a:close/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957" name="Gráfico 11">
            <a:extLst>
              <a:ext uri="{FF2B5EF4-FFF2-40B4-BE49-F238E27FC236}">
                <a16:creationId xmlns:a16="http://schemas.microsoft.com/office/drawing/2014/main" id="{90BAF29A-1090-80E4-ABA2-1B7B8F430700}"/>
              </a:ext>
            </a:extLst>
          </p:cNvPr>
          <p:cNvGrpSpPr/>
          <p:nvPr/>
        </p:nvGrpSpPr>
        <p:grpSpPr>
          <a:xfrm>
            <a:off x="10519571" y="2496864"/>
            <a:ext cx="278104" cy="278899"/>
            <a:chOff x="10519571" y="2496864"/>
            <a:chExt cx="278104" cy="278899"/>
          </a:xfrm>
          <a:noFill/>
        </p:grpSpPr>
        <p:sp>
          <p:nvSpPr>
            <p:cNvPr id="958" name="Forma livre: Forma 957">
              <a:extLst>
                <a:ext uri="{FF2B5EF4-FFF2-40B4-BE49-F238E27FC236}">
                  <a16:creationId xmlns:a16="http://schemas.microsoft.com/office/drawing/2014/main" id="{1CE7D039-694F-CC03-1011-775F0F75C8D3}"/>
                </a:ext>
              </a:extLst>
            </p:cNvPr>
            <p:cNvSpPr/>
            <p:nvPr/>
          </p:nvSpPr>
          <p:spPr>
            <a:xfrm>
              <a:off x="10693407" y="2676588"/>
              <a:ext cx="58443" cy="58432"/>
            </a:xfrm>
            <a:custGeom>
              <a:avLst/>
              <a:gdLst>
                <a:gd name="connsiteX0" fmla="*/ 0 w 58443"/>
                <a:gd name="connsiteY0" fmla="*/ 0 h 58432"/>
                <a:gd name="connsiteX1" fmla="*/ 58444 w 58443"/>
                <a:gd name="connsiteY1" fmla="*/ 58432 h 584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8443" h="58432">
                  <a:moveTo>
                    <a:pt x="0" y="0"/>
                  </a:moveTo>
                  <a:lnTo>
                    <a:pt x="58444" y="58432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59" name="Forma livre: Forma 958">
              <a:extLst>
                <a:ext uri="{FF2B5EF4-FFF2-40B4-BE49-F238E27FC236}">
                  <a16:creationId xmlns:a16="http://schemas.microsoft.com/office/drawing/2014/main" id="{10643E62-0852-C2FB-0DDC-606FD44398C7}"/>
                </a:ext>
              </a:extLst>
            </p:cNvPr>
            <p:cNvSpPr/>
            <p:nvPr/>
          </p:nvSpPr>
          <p:spPr>
            <a:xfrm>
              <a:off x="10560339" y="2543519"/>
              <a:ext cx="56461" cy="56437"/>
            </a:xfrm>
            <a:custGeom>
              <a:avLst/>
              <a:gdLst>
                <a:gd name="connsiteX0" fmla="*/ 0 w 56461"/>
                <a:gd name="connsiteY0" fmla="*/ 0 h 56437"/>
                <a:gd name="connsiteX1" fmla="*/ 56461 w 56461"/>
                <a:gd name="connsiteY1" fmla="*/ 56438 h 564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6461" h="56437">
                  <a:moveTo>
                    <a:pt x="0" y="0"/>
                  </a:moveTo>
                  <a:lnTo>
                    <a:pt x="56461" y="56438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60" name="Forma livre: Forma 959">
              <a:extLst>
                <a:ext uri="{FF2B5EF4-FFF2-40B4-BE49-F238E27FC236}">
                  <a16:creationId xmlns:a16="http://schemas.microsoft.com/office/drawing/2014/main" id="{1F629D45-3C1C-09C8-C361-5ADF85A99F77}"/>
                </a:ext>
              </a:extLst>
            </p:cNvPr>
            <p:cNvSpPr/>
            <p:nvPr/>
          </p:nvSpPr>
          <p:spPr>
            <a:xfrm>
              <a:off x="10519571" y="2502776"/>
              <a:ext cx="197294" cy="216585"/>
            </a:xfrm>
            <a:custGeom>
              <a:avLst/>
              <a:gdLst>
                <a:gd name="connsiteX0" fmla="*/ 25963 w 197294"/>
                <a:gd name="connsiteY0" fmla="*/ 216586 h 216585"/>
                <a:gd name="connsiteX1" fmla="*/ 0 w 197294"/>
                <a:gd name="connsiteY1" fmla="*/ 136500 h 216585"/>
                <a:gd name="connsiteX2" fmla="*/ 136500 w 197294"/>
                <a:gd name="connsiteY2" fmla="*/ 0 h 216585"/>
                <a:gd name="connsiteX3" fmla="*/ 197294 w 197294"/>
                <a:gd name="connsiteY3" fmla="*/ 14234 h 2165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7294" h="216585">
                  <a:moveTo>
                    <a:pt x="25963" y="216586"/>
                  </a:moveTo>
                  <a:cubicBezTo>
                    <a:pt x="9628" y="194101"/>
                    <a:pt x="0" y="166428"/>
                    <a:pt x="0" y="136500"/>
                  </a:cubicBezTo>
                  <a:cubicBezTo>
                    <a:pt x="0" y="61103"/>
                    <a:pt x="61115" y="0"/>
                    <a:pt x="136500" y="0"/>
                  </a:cubicBezTo>
                  <a:cubicBezTo>
                    <a:pt x="158344" y="0"/>
                    <a:pt x="178988" y="5128"/>
                    <a:pt x="197294" y="14234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61" name="Forma livre: Forma 960">
              <a:extLst>
                <a:ext uri="{FF2B5EF4-FFF2-40B4-BE49-F238E27FC236}">
                  <a16:creationId xmlns:a16="http://schemas.microsoft.com/office/drawing/2014/main" id="{07C8FF75-4290-A9E7-7E44-B433299C8D40}"/>
                </a:ext>
              </a:extLst>
            </p:cNvPr>
            <p:cNvSpPr/>
            <p:nvPr/>
          </p:nvSpPr>
          <p:spPr>
            <a:xfrm>
              <a:off x="10576128" y="2575098"/>
              <a:ext cx="216490" cy="200665"/>
            </a:xfrm>
            <a:custGeom>
              <a:avLst/>
              <a:gdLst>
                <a:gd name="connsiteX0" fmla="*/ 200500 w 216490"/>
                <a:gd name="connsiteY0" fmla="*/ 0 h 200665"/>
                <a:gd name="connsiteX1" fmla="*/ 216491 w 216490"/>
                <a:gd name="connsiteY1" fmla="*/ 64190 h 200665"/>
                <a:gd name="connsiteX2" fmla="*/ 79931 w 216490"/>
                <a:gd name="connsiteY2" fmla="*/ 200666 h 200665"/>
                <a:gd name="connsiteX3" fmla="*/ 0 w 216490"/>
                <a:gd name="connsiteY3" fmla="*/ 174845 h 2006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16490" h="200665">
                  <a:moveTo>
                    <a:pt x="200500" y="0"/>
                  </a:moveTo>
                  <a:cubicBezTo>
                    <a:pt x="210709" y="19113"/>
                    <a:pt x="216491" y="40981"/>
                    <a:pt x="216491" y="64190"/>
                  </a:cubicBezTo>
                  <a:cubicBezTo>
                    <a:pt x="216491" y="139563"/>
                    <a:pt x="155376" y="200666"/>
                    <a:pt x="79931" y="200666"/>
                  </a:cubicBezTo>
                  <a:cubicBezTo>
                    <a:pt x="50086" y="200666"/>
                    <a:pt x="22461" y="191085"/>
                    <a:pt x="0" y="174845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962" name="Gráfico 11">
              <a:extLst>
                <a:ext uri="{FF2B5EF4-FFF2-40B4-BE49-F238E27FC236}">
                  <a16:creationId xmlns:a16="http://schemas.microsoft.com/office/drawing/2014/main" id="{16689DD7-BA67-BDA1-FDE1-305F14993F67}"/>
                </a:ext>
              </a:extLst>
            </p:cNvPr>
            <p:cNvGrpSpPr/>
            <p:nvPr/>
          </p:nvGrpSpPr>
          <p:grpSpPr>
            <a:xfrm>
              <a:off x="10534043" y="2496864"/>
              <a:ext cx="263632" cy="263632"/>
              <a:chOff x="10534043" y="2496864"/>
              <a:chExt cx="263632" cy="263632"/>
            </a:xfrm>
            <a:noFill/>
          </p:grpSpPr>
          <p:sp>
            <p:nvSpPr>
              <p:cNvPr id="963" name="Forma livre: Forma 962">
                <a:extLst>
                  <a:ext uri="{FF2B5EF4-FFF2-40B4-BE49-F238E27FC236}">
                    <a16:creationId xmlns:a16="http://schemas.microsoft.com/office/drawing/2014/main" id="{C7D9CD1D-12D4-47DC-3F51-3F24FB80FFAD}"/>
                  </a:ext>
                </a:extLst>
              </p:cNvPr>
              <p:cNvSpPr/>
              <p:nvPr/>
            </p:nvSpPr>
            <p:spPr>
              <a:xfrm>
                <a:off x="10747198" y="2496864"/>
                <a:ext cx="50478" cy="50466"/>
              </a:xfrm>
              <a:custGeom>
                <a:avLst/>
                <a:gdLst>
                  <a:gd name="connsiteX0" fmla="*/ 50478 w 50478"/>
                  <a:gd name="connsiteY0" fmla="*/ 50466 h 50466"/>
                  <a:gd name="connsiteX1" fmla="*/ 0 w 50478"/>
                  <a:gd name="connsiteY1" fmla="*/ 0 h 504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0478" h="50466">
                    <a:moveTo>
                      <a:pt x="50478" y="50466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964" name="Gráfico 11">
                <a:extLst>
                  <a:ext uri="{FF2B5EF4-FFF2-40B4-BE49-F238E27FC236}">
                    <a16:creationId xmlns:a16="http://schemas.microsoft.com/office/drawing/2014/main" id="{6BD22543-03B7-35E9-005B-746A7E9530D7}"/>
                  </a:ext>
                </a:extLst>
              </p:cNvPr>
              <p:cNvGrpSpPr/>
              <p:nvPr/>
            </p:nvGrpSpPr>
            <p:grpSpPr>
              <a:xfrm>
                <a:off x="10591810" y="2549966"/>
                <a:ext cx="152763" cy="152763"/>
                <a:chOff x="10591810" y="2549966"/>
                <a:chExt cx="152763" cy="152763"/>
              </a:xfrm>
              <a:noFill/>
            </p:grpSpPr>
            <p:sp>
              <p:nvSpPr>
                <p:cNvPr id="965" name="Forma livre: Forma 964">
                  <a:extLst>
                    <a:ext uri="{FF2B5EF4-FFF2-40B4-BE49-F238E27FC236}">
                      <a16:creationId xmlns:a16="http://schemas.microsoft.com/office/drawing/2014/main" id="{838C4346-02C3-AE33-A089-4E94E13DB0C3}"/>
                    </a:ext>
                  </a:extLst>
                </p:cNvPr>
                <p:cNvSpPr/>
                <p:nvPr/>
              </p:nvSpPr>
              <p:spPr>
                <a:xfrm>
                  <a:off x="10591810" y="2549966"/>
                  <a:ext cx="152763" cy="152763"/>
                </a:xfrm>
                <a:custGeom>
                  <a:avLst/>
                  <a:gdLst>
                    <a:gd name="connsiteX0" fmla="*/ 109551 w 152763"/>
                    <a:gd name="connsiteY0" fmla="*/ 0 h 152763"/>
                    <a:gd name="connsiteX1" fmla="*/ 0 w 152763"/>
                    <a:gd name="connsiteY1" fmla="*/ 109551 h 152763"/>
                    <a:gd name="connsiteX2" fmla="*/ 43213 w 152763"/>
                    <a:gd name="connsiteY2" fmla="*/ 152764 h 152763"/>
                    <a:gd name="connsiteX3" fmla="*/ 152764 w 152763"/>
                    <a:gd name="connsiteY3" fmla="*/ 43213 h 15276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52763" h="152763">
                      <a:moveTo>
                        <a:pt x="109551" y="0"/>
                      </a:moveTo>
                      <a:lnTo>
                        <a:pt x="0" y="109551"/>
                      </a:lnTo>
                      <a:lnTo>
                        <a:pt x="43213" y="152764"/>
                      </a:lnTo>
                      <a:lnTo>
                        <a:pt x="152764" y="43213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966" name="Forma livre: Forma 965">
                  <a:extLst>
                    <a:ext uri="{FF2B5EF4-FFF2-40B4-BE49-F238E27FC236}">
                      <a16:creationId xmlns:a16="http://schemas.microsoft.com/office/drawing/2014/main" id="{8BB1A0AB-C0F8-B200-0503-F48B3E16AC8E}"/>
                    </a:ext>
                  </a:extLst>
                </p:cNvPr>
                <p:cNvSpPr/>
                <p:nvPr/>
              </p:nvSpPr>
              <p:spPr>
                <a:xfrm>
                  <a:off x="10698631" y="2606830"/>
                  <a:ext cx="15017" cy="15029"/>
                </a:xfrm>
                <a:custGeom>
                  <a:avLst/>
                  <a:gdLst>
                    <a:gd name="connsiteX0" fmla="*/ 15018 w 15017"/>
                    <a:gd name="connsiteY0" fmla="*/ 15029 h 15029"/>
                    <a:gd name="connsiteX1" fmla="*/ 0 w 15017"/>
                    <a:gd name="connsiteY1" fmla="*/ 0 h 1502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5017" h="15029">
                      <a:moveTo>
                        <a:pt x="15018" y="15029"/>
                      </a:moveTo>
                      <a:lnTo>
                        <a:pt x="0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967" name="Forma livre: Forma 966">
                  <a:extLst>
                    <a:ext uri="{FF2B5EF4-FFF2-40B4-BE49-F238E27FC236}">
                      <a16:creationId xmlns:a16="http://schemas.microsoft.com/office/drawing/2014/main" id="{AE6F1B14-C2E6-A764-C89B-C9B32FB066FD}"/>
                    </a:ext>
                  </a:extLst>
                </p:cNvPr>
                <p:cNvSpPr/>
                <p:nvPr/>
              </p:nvSpPr>
              <p:spPr>
                <a:xfrm>
                  <a:off x="10672050" y="2633399"/>
                  <a:ext cx="15029" cy="15017"/>
                </a:xfrm>
                <a:custGeom>
                  <a:avLst/>
                  <a:gdLst>
                    <a:gd name="connsiteX0" fmla="*/ 15029 w 15029"/>
                    <a:gd name="connsiteY0" fmla="*/ 15018 h 15017"/>
                    <a:gd name="connsiteX1" fmla="*/ 0 w 15029"/>
                    <a:gd name="connsiteY1" fmla="*/ 0 h 1501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5029" h="15017">
                      <a:moveTo>
                        <a:pt x="15029" y="15018"/>
                      </a:moveTo>
                      <a:lnTo>
                        <a:pt x="0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968" name="Forma livre: Forma 967">
                  <a:extLst>
                    <a:ext uri="{FF2B5EF4-FFF2-40B4-BE49-F238E27FC236}">
                      <a16:creationId xmlns:a16="http://schemas.microsoft.com/office/drawing/2014/main" id="{A9A45B0A-1BEF-C06F-EA3C-6DAB18AFC7C9}"/>
                    </a:ext>
                  </a:extLst>
                </p:cNvPr>
                <p:cNvSpPr/>
                <p:nvPr/>
              </p:nvSpPr>
              <p:spPr>
                <a:xfrm>
                  <a:off x="10645494" y="2659956"/>
                  <a:ext cx="15041" cy="15029"/>
                </a:xfrm>
                <a:custGeom>
                  <a:avLst/>
                  <a:gdLst>
                    <a:gd name="connsiteX0" fmla="*/ 15041 w 15041"/>
                    <a:gd name="connsiteY0" fmla="*/ 15029 h 15029"/>
                    <a:gd name="connsiteX1" fmla="*/ 0 w 15041"/>
                    <a:gd name="connsiteY1" fmla="*/ 0 h 1502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5041" h="15029">
                      <a:moveTo>
                        <a:pt x="15041" y="15029"/>
                      </a:moveTo>
                      <a:lnTo>
                        <a:pt x="0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969" name="Forma livre: Forma 968">
                <a:extLst>
                  <a:ext uri="{FF2B5EF4-FFF2-40B4-BE49-F238E27FC236}">
                    <a16:creationId xmlns:a16="http://schemas.microsoft.com/office/drawing/2014/main" id="{267B7489-7587-1006-726C-2E4D19CF1146}"/>
                  </a:ext>
                </a:extLst>
              </p:cNvPr>
              <p:cNvSpPr/>
              <p:nvPr/>
            </p:nvSpPr>
            <p:spPr>
              <a:xfrm>
                <a:off x="10688030" y="2536990"/>
                <a:ext cx="69520" cy="69531"/>
              </a:xfrm>
              <a:custGeom>
                <a:avLst/>
                <a:gdLst>
                  <a:gd name="connsiteX0" fmla="*/ 69520 w 69520"/>
                  <a:gd name="connsiteY0" fmla="*/ 69532 h 69531"/>
                  <a:gd name="connsiteX1" fmla="*/ 0 w 69520"/>
                  <a:gd name="connsiteY1" fmla="*/ 0 h 695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9520" h="69531">
                    <a:moveTo>
                      <a:pt x="69520" y="69532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970" name="Gráfico 11">
                <a:extLst>
                  <a:ext uri="{FF2B5EF4-FFF2-40B4-BE49-F238E27FC236}">
                    <a16:creationId xmlns:a16="http://schemas.microsoft.com/office/drawing/2014/main" id="{118B390E-0294-E21B-BFF1-C101918D68EA}"/>
                  </a:ext>
                </a:extLst>
              </p:cNvPr>
              <p:cNvGrpSpPr/>
              <p:nvPr/>
            </p:nvGrpSpPr>
            <p:grpSpPr>
              <a:xfrm>
                <a:off x="10712461" y="2510552"/>
                <a:ext cx="71526" cy="71514"/>
                <a:chOff x="10712461" y="2510552"/>
                <a:chExt cx="71526" cy="71514"/>
              </a:xfrm>
            </p:grpSpPr>
            <p:sp>
              <p:nvSpPr>
                <p:cNvPr id="971" name="Forma livre: Forma 970">
                  <a:extLst>
                    <a:ext uri="{FF2B5EF4-FFF2-40B4-BE49-F238E27FC236}">
                      <a16:creationId xmlns:a16="http://schemas.microsoft.com/office/drawing/2014/main" id="{5F792566-8B26-9704-C7D0-8F09B24B56DD}"/>
                    </a:ext>
                  </a:extLst>
                </p:cNvPr>
                <p:cNvSpPr/>
                <p:nvPr/>
              </p:nvSpPr>
              <p:spPr>
                <a:xfrm>
                  <a:off x="10735480" y="2533559"/>
                  <a:ext cx="48507" cy="48507"/>
                </a:xfrm>
                <a:custGeom>
                  <a:avLst/>
                  <a:gdLst>
                    <a:gd name="connsiteX0" fmla="*/ 0 w 48507"/>
                    <a:gd name="connsiteY0" fmla="*/ 48507 h 48507"/>
                    <a:gd name="connsiteX1" fmla="*/ 48507 w 48507"/>
                    <a:gd name="connsiteY1" fmla="*/ 0 h 4850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8507" h="48507">
                      <a:moveTo>
                        <a:pt x="0" y="48507"/>
                      </a:moveTo>
                      <a:lnTo>
                        <a:pt x="48507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972" name="Forma livre: Forma 971">
                  <a:extLst>
                    <a:ext uri="{FF2B5EF4-FFF2-40B4-BE49-F238E27FC236}">
                      <a16:creationId xmlns:a16="http://schemas.microsoft.com/office/drawing/2014/main" id="{F241246E-3DB2-884F-C7EC-F709B4BC431E}"/>
                    </a:ext>
                  </a:extLst>
                </p:cNvPr>
                <p:cNvSpPr/>
                <p:nvPr/>
              </p:nvSpPr>
              <p:spPr>
                <a:xfrm>
                  <a:off x="10712461" y="2510552"/>
                  <a:ext cx="48519" cy="48507"/>
                </a:xfrm>
                <a:custGeom>
                  <a:avLst/>
                  <a:gdLst>
                    <a:gd name="connsiteX0" fmla="*/ 0 w 48519"/>
                    <a:gd name="connsiteY0" fmla="*/ 48507 h 48507"/>
                    <a:gd name="connsiteX1" fmla="*/ 48519 w 48519"/>
                    <a:gd name="connsiteY1" fmla="*/ 0 h 4850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8519" h="48507">
                      <a:moveTo>
                        <a:pt x="0" y="48507"/>
                      </a:moveTo>
                      <a:lnTo>
                        <a:pt x="48519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973" name="Forma livre: Forma 972">
                <a:extLst>
                  <a:ext uri="{FF2B5EF4-FFF2-40B4-BE49-F238E27FC236}">
                    <a16:creationId xmlns:a16="http://schemas.microsoft.com/office/drawing/2014/main" id="{4D1C453D-C81C-3414-96A3-6510795E4034}"/>
                  </a:ext>
                </a:extLst>
              </p:cNvPr>
              <p:cNvSpPr/>
              <p:nvPr/>
            </p:nvSpPr>
            <p:spPr>
              <a:xfrm>
                <a:off x="10534043" y="2716904"/>
                <a:ext cx="43604" cy="43592"/>
              </a:xfrm>
              <a:custGeom>
                <a:avLst/>
                <a:gdLst>
                  <a:gd name="connsiteX0" fmla="*/ 43604 w 43604"/>
                  <a:gd name="connsiteY0" fmla="*/ 0 h 43592"/>
                  <a:gd name="connsiteX1" fmla="*/ 0 w 43604"/>
                  <a:gd name="connsiteY1" fmla="*/ 43593 h 435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3604" h="43592">
                    <a:moveTo>
                      <a:pt x="43604" y="0"/>
                    </a:moveTo>
                    <a:lnTo>
                      <a:pt x="0" y="43593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74" name="Forma livre: Forma 973">
                <a:extLst>
                  <a:ext uri="{FF2B5EF4-FFF2-40B4-BE49-F238E27FC236}">
                    <a16:creationId xmlns:a16="http://schemas.microsoft.com/office/drawing/2014/main" id="{E39B871E-36A3-1158-CBD5-2ECA4D91A1A7}"/>
                  </a:ext>
                </a:extLst>
              </p:cNvPr>
              <p:cNvSpPr/>
              <p:nvPr/>
            </p:nvSpPr>
            <p:spPr>
              <a:xfrm>
                <a:off x="10571343" y="2685990"/>
                <a:ext cx="53196" cy="37193"/>
              </a:xfrm>
              <a:custGeom>
                <a:avLst/>
                <a:gdLst>
                  <a:gd name="connsiteX0" fmla="*/ 19339 w 53196"/>
                  <a:gd name="connsiteY0" fmla="*/ 0 h 37193"/>
                  <a:gd name="connsiteX1" fmla="*/ 0 w 53196"/>
                  <a:gd name="connsiteY1" fmla="*/ 21155 h 37193"/>
                  <a:gd name="connsiteX2" fmla="*/ 16050 w 53196"/>
                  <a:gd name="connsiteY2" fmla="*/ 37194 h 37193"/>
                  <a:gd name="connsiteX3" fmla="*/ 53197 w 53196"/>
                  <a:gd name="connsiteY3" fmla="*/ 3241 h 371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3196" h="37193">
                    <a:moveTo>
                      <a:pt x="19339" y="0"/>
                    </a:moveTo>
                    <a:lnTo>
                      <a:pt x="0" y="21155"/>
                    </a:lnTo>
                    <a:lnTo>
                      <a:pt x="16050" y="37194"/>
                    </a:lnTo>
                    <a:lnTo>
                      <a:pt x="53197" y="3241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975" name="Gráfico 11">
            <a:extLst>
              <a:ext uri="{FF2B5EF4-FFF2-40B4-BE49-F238E27FC236}">
                <a16:creationId xmlns:a16="http://schemas.microsoft.com/office/drawing/2014/main" id="{A269BDAA-7260-8516-AE06-0BFF7093362B}"/>
              </a:ext>
            </a:extLst>
          </p:cNvPr>
          <p:cNvGrpSpPr/>
          <p:nvPr/>
        </p:nvGrpSpPr>
        <p:grpSpPr>
          <a:xfrm>
            <a:off x="10504578" y="1466302"/>
            <a:ext cx="308091" cy="309991"/>
            <a:chOff x="10504578" y="1466302"/>
            <a:chExt cx="308091" cy="309991"/>
          </a:xfrm>
        </p:grpSpPr>
        <p:grpSp>
          <p:nvGrpSpPr>
            <p:cNvPr id="976" name="Gráfico 11">
              <a:extLst>
                <a:ext uri="{FF2B5EF4-FFF2-40B4-BE49-F238E27FC236}">
                  <a16:creationId xmlns:a16="http://schemas.microsoft.com/office/drawing/2014/main" id="{CBE7C4E9-C1E5-B38A-C0A3-6236BAD240F8}"/>
                </a:ext>
              </a:extLst>
            </p:cNvPr>
            <p:cNvGrpSpPr/>
            <p:nvPr/>
          </p:nvGrpSpPr>
          <p:grpSpPr>
            <a:xfrm>
              <a:off x="10668631" y="1632255"/>
              <a:ext cx="144038" cy="144038"/>
              <a:chOff x="10668631" y="1632255"/>
              <a:chExt cx="144038" cy="144038"/>
            </a:xfrm>
          </p:grpSpPr>
          <p:grpSp>
            <p:nvGrpSpPr>
              <p:cNvPr id="977" name="Gráfico 11">
                <a:extLst>
                  <a:ext uri="{FF2B5EF4-FFF2-40B4-BE49-F238E27FC236}">
                    <a16:creationId xmlns:a16="http://schemas.microsoft.com/office/drawing/2014/main" id="{6EF6B409-0EB2-396C-FFA7-DBD5B7E4A4CB}"/>
                  </a:ext>
                </a:extLst>
              </p:cNvPr>
              <p:cNvGrpSpPr/>
              <p:nvPr/>
            </p:nvGrpSpPr>
            <p:grpSpPr>
              <a:xfrm>
                <a:off x="10668631" y="1632255"/>
                <a:ext cx="144038" cy="144038"/>
                <a:chOff x="10668631" y="1632255"/>
                <a:chExt cx="144038" cy="144038"/>
              </a:xfrm>
              <a:noFill/>
            </p:grpSpPr>
            <p:sp>
              <p:nvSpPr>
                <p:cNvPr id="978" name="Forma livre: Forma 977">
                  <a:extLst>
                    <a:ext uri="{FF2B5EF4-FFF2-40B4-BE49-F238E27FC236}">
                      <a16:creationId xmlns:a16="http://schemas.microsoft.com/office/drawing/2014/main" id="{29DCBBB5-C878-91B0-9895-83350DB84FC7}"/>
                    </a:ext>
                  </a:extLst>
                </p:cNvPr>
                <p:cNvSpPr/>
                <p:nvPr/>
              </p:nvSpPr>
              <p:spPr>
                <a:xfrm>
                  <a:off x="10689051" y="1652686"/>
                  <a:ext cx="103187" cy="103176"/>
                </a:xfrm>
                <a:custGeom>
                  <a:avLst/>
                  <a:gdLst>
                    <a:gd name="connsiteX0" fmla="*/ 103188 w 103187"/>
                    <a:gd name="connsiteY0" fmla="*/ 51594 h 103176"/>
                    <a:gd name="connsiteX1" fmla="*/ 51594 w 103187"/>
                    <a:gd name="connsiteY1" fmla="*/ 103176 h 103176"/>
                    <a:gd name="connsiteX2" fmla="*/ 0 w 103187"/>
                    <a:gd name="connsiteY2" fmla="*/ 51594 h 103176"/>
                    <a:gd name="connsiteX3" fmla="*/ 51594 w 103187"/>
                    <a:gd name="connsiteY3" fmla="*/ 0 h 103176"/>
                    <a:gd name="connsiteX4" fmla="*/ 103188 w 103187"/>
                    <a:gd name="connsiteY4" fmla="*/ 51594 h 10317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03187" h="103176">
                      <a:moveTo>
                        <a:pt x="103188" y="51594"/>
                      </a:moveTo>
                      <a:cubicBezTo>
                        <a:pt x="103188" y="80086"/>
                        <a:pt x="80086" y="103176"/>
                        <a:pt x="51594" y="103176"/>
                      </a:cubicBezTo>
                      <a:cubicBezTo>
                        <a:pt x="23102" y="103176"/>
                        <a:pt x="0" y="80086"/>
                        <a:pt x="0" y="51594"/>
                      </a:cubicBezTo>
                      <a:cubicBezTo>
                        <a:pt x="0" y="23102"/>
                        <a:pt x="23102" y="0"/>
                        <a:pt x="51594" y="0"/>
                      </a:cubicBezTo>
                      <a:cubicBezTo>
                        <a:pt x="80086" y="0"/>
                        <a:pt x="103188" y="23102"/>
                        <a:pt x="103188" y="51594"/>
                      </a:cubicBezTo>
                      <a:close/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grpSp>
              <p:nvGrpSpPr>
                <p:cNvPr id="979" name="Gráfico 11">
                  <a:extLst>
                    <a:ext uri="{FF2B5EF4-FFF2-40B4-BE49-F238E27FC236}">
                      <a16:creationId xmlns:a16="http://schemas.microsoft.com/office/drawing/2014/main" id="{E8642FF3-3AD5-8328-3E00-C035D6748C34}"/>
                    </a:ext>
                  </a:extLst>
                </p:cNvPr>
                <p:cNvGrpSpPr/>
                <p:nvPr/>
              </p:nvGrpSpPr>
              <p:grpSpPr>
                <a:xfrm>
                  <a:off x="10740644" y="1632255"/>
                  <a:ext cx="1187" cy="144038"/>
                  <a:chOff x="10740644" y="1632255"/>
                  <a:chExt cx="1187" cy="144038"/>
                </a:xfrm>
              </p:grpSpPr>
              <p:sp>
                <p:nvSpPr>
                  <p:cNvPr id="980" name="Forma livre: Forma 979">
                    <a:extLst>
                      <a:ext uri="{FF2B5EF4-FFF2-40B4-BE49-F238E27FC236}">
                        <a16:creationId xmlns:a16="http://schemas.microsoft.com/office/drawing/2014/main" id="{2353A087-D1A3-AF55-D0B7-0AE4685069E0}"/>
                      </a:ext>
                    </a:extLst>
                  </p:cNvPr>
                  <p:cNvSpPr/>
                  <p:nvPr/>
                </p:nvSpPr>
                <p:spPr>
                  <a:xfrm>
                    <a:off x="10740644" y="1632255"/>
                    <a:ext cx="1187" cy="19469"/>
                  </a:xfrm>
                  <a:custGeom>
                    <a:avLst/>
                    <a:gdLst>
                      <a:gd name="connsiteX0" fmla="*/ 0 w 1187"/>
                      <a:gd name="connsiteY0" fmla="*/ 19469 h 19469"/>
                      <a:gd name="connsiteX1" fmla="*/ 0 w 1187"/>
                      <a:gd name="connsiteY1" fmla="*/ 0 h 1946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187" h="19469">
                        <a:moveTo>
                          <a:pt x="0" y="19469"/>
                        </a:moveTo>
                        <a:lnTo>
                          <a:pt x="0" y="0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981" name="Forma livre: Forma 980">
                    <a:extLst>
                      <a:ext uri="{FF2B5EF4-FFF2-40B4-BE49-F238E27FC236}">
                        <a16:creationId xmlns:a16="http://schemas.microsoft.com/office/drawing/2014/main" id="{DA907A55-BC83-5A53-8A81-CA666CC59EB1}"/>
                      </a:ext>
                    </a:extLst>
                  </p:cNvPr>
                  <p:cNvSpPr/>
                  <p:nvPr/>
                </p:nvSpPr>
                <p:spPr>
                  <a:xfrm>
                    <a:off x="10740644" y="1756824"/>
                    <a:ext cx="1187" cy="19469"/>
                  </a:xfrm>
                  <a:custGeom>
                    <a:avLst/>
                    <a:gdLst>
                      <a:gd name="connsiteX0" fmla="*/ 0 w 1187"/>
                      <a:gd name="connsiteY0" fmla="*/ 19469 h 19469"/>
                      <a:gd name="connsiteX1" fmla="*/ 0 w 1187"/>
                      <a:gd name="connsiteY1" fmla="*/ 0 h 1946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187" h="19469">
                        <a:moveTo>
                          <a:pt x="0" y="19469"/>
                        </a:moveTo>
                        <a:lnTo>
                          <a:pt x="0" y="0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  <p:grpSp>
              <p:nvGrpSpPr>
                <p:cNvPr id="982" name="Gráfico 11">
                  <a:extLst>
                    <a:ext uri="{FF2B5EF4-FFF2-40B4-BE49-F238E27FC236}">
                      <a16:creationId xmlns:a16="http://schemas.microsoft.com/office/drawing/2014/main" id="{61CBDFF6-31D8-F666-4C8C-054577CAED68}"/>
                    </a:ext>
                  </a:extLst>
                </p:cNvPr>
                <p:cNvGrpSpPr/>
                <p:nvPr/>
              </p:nvGrpSpPr>
              <p:grpSpPr>
                <a:xfrm>
                  <a:off x="10668631" y="1704280"/>
                  <a:ext cx="144038" cy="1187"/>
                  <a:chOff x="10668631" y="1704280"/>
                  <a:chExt cx="144038" cy="1187"/>
                </a:xfrm>
              </p:grpSpPr>
              <p:sp>
                <p:nvSpPr>
                  <p:cNvPr id="983" name="Forma livre: Forma 982">
                    <a:extLst>
                      <a:ext uri="{FF2B5EF4-FFF2-40B4-BE49-F238E27FC236}">
                        <a16:creationId xmlns:a16="http://schemas.microsoft.com/office/drawing/2014/main" id="{FED5BD2E-7763-C927-4936-BF11E1BA6D9B}"/>
                      </a:ext>
                    </a:extLst>
                  </p:cNvPr>
                  <p:cNvSpPr/>
                  <p:nvPr/>
                </p:nvSpPr>
                <p:spPr>
                  <a:xfrm>
                    <a:off x="10793200" y="1704280"/>
                    <a:ext cx="19469" cy="1187"/>
                  </a:xfrm>
                  <a:custGeom>
                    <a:avLst/>
                    <a:gdLst>
                      <a:gd name="connsiteX0" fmla="*/ 0 w 19469"/>
                      <a:gd name="connsiteY0" fmla="*/ 0 h 1187"/>
                      <a:gd name="connsiteX1" fmla="*/ 19469 w 19469"/>
                      <a:gd name="connsiteY1" fmla="*/ 0 h 11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9469" h="1187">
                        <a:moveTo>
                          <a:pt x="0" y="0"/>
                        </a:moveTo>
                        <a:lnTo>
                          <a:pt x="19469" y="0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984" name="Forma livre: Forma 983">
                    <a:extLst>
                      <a:ext uri="{FF2B5EF4-FFF2-40B4-BE49-F238E27FC236}">
                        <a16:creationId xmlns:a16="http://schemas.microsoft.com/office/drawing/2014/main" id="{B989740E-7C46-9492-F3AA-EB74D05C31B5}"/>
                      </a:ext>
                    </a:extLst>
                  </p:cNvPr>
                  <p:cNvSpPr/>
                  <p:nvPr/>
                </p:nvSpPr>
                <p:spPr>
                  <a:xfrm>
                    <a:off x="10668631" y="1704280"/>
                    <a:ext cx="19469" cy="1187"/>
                  </a:xfrm>
                  <a:custGeom>
                    <a:avLst/>
                    <a:gdLst>
                      <a:gd name="connsiteX0" fmla="*/ 0 w 19469"/>
                      <a:gd name="connsiteY0" fmla="*/ 0 h 1187"/>
                      <a:gd name="connsiteX1" fmla="*/ 19469 w 19469"/>
                      <a:gd name="connsiteY1" fmla="*/ 0 h 11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9469" h="1187">
                        <a:moveTo>
                          <a:pt x="0" y="0"/>
                        </a:moveTo>
                        <a:lnTo>
                          <a:pt x="19469" y="0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  <p:grpSp>
              <p:nvGrpSpPr>
                <p:cNvPr id="985" name="Gráfico 11">
                  <a:extLst>
                    <a:ext uri="{FF2B5EF4-FFF2-40B4-BE49-F238E27FC236}">
                      <a16:creationId xmlns:a16="http://schemas.microsoft.com/office/drawing/2014/main" id="{1D5897AD-ADFD-456B-70EE-BD481220173D}"/>
                    </a:ext>
                  </a:extLst>
                </p:cNvPr>
                <p:cNvGrpSpPr/>
                <p:nvPr/>
              </p:nvGrpSpPr>
              <p:grpSpPr>
                <a:xfrm>
                  <a:off x="10689727" y="1653351"/>
                  <a:ext cx="101846" cy="101858"/>
                  <a:chOff x="10689727" y="1653351"/>
                  <a:chExt cx="101846" cy="101858"/>
                </a:xfrm>
              </p:grpSpPr>
              <p:sp>
                <p:nvSpPr>
                  <p:cNvPr id="986" name="Forma livre: Forma 985">
                    <a:extLst>
                      <a:ext uri="{FF2B5EF4-FFF2-40B4-BE49-F238E27FC236}">
                        <a16:creationId xmlns:a16="http://schemas.microsoft.com/office/drawing/2014/main" id="{9CE6AB7E-AE8E-4E75-9A1D-2697DF1C1D20}"/>
                      </a:ext>
                    </a:extLst>
                  </p:cNvPr>
                  <p:cNvSpPr/>
                  <p:nvPr/>
                </p:nvSpPr>
                <p:spPr>
                  <a:xfrm>
                    <a:off x="10689727" y="1653351"/>
                    <a:ext cx="13759" cy="13759"/>
                  </a:xfrm>
                  <a:custGeom>
                    <a:avLst/>
                    <a:gdLst>
                      <a:gd name="connsiteX0" fmla="*/ 13759 w 13759"/>
                      <a:gd name="connsiteY0" fmla="*/ 13759 h 13759"/>
                      <a:gd name="connsiteX1" fmla="*/ 0 w 13759"/>
                      <a:gd name="connsiteY1" fmla="*/ 0 h 1375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3759" h="13759">
                        <a:moveTo>
                          <a:pt x="13759" y="13759"/>
                        </a:moveTo>
                        <a:lnTo>
                          <a:pt x="0" y="0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987" name="Forma livre: Forma 986">
                    <a:extLst>
                      <a:ext uri="{FF2B5EF4-FFF2-40B4-BE49-F238E27FC236}">
                        <a16:creationId xmlns:a16="http://schemas.microsoft.com/office/drawing/2014/main" id="{947EB11B-B56C-1942-622C-4D9210CB0127}"/>
                      </a:ext>
                    </a:extLst>
                  </p:cNvPr>
                  <p:cNvSpPr/>
                  <p:nvPr/>
                </p:nvSpPr>
                <p:spPr>
                  <a:xfrm>
                    <a:off x="10777815" y="1741426"/>
                    <a:ext cx="13759" cy="13782"/>
                  </a:xfrm>
                  <a:custGeom>
                    <a:avLst/>
                    <a:gdLst>
                      <a:gd name="connsiteX0" fmla="*/ 13759 w 13759"/>
                      <a:gd name="connsiteY0" fmla="*/ 13783 h 13782"/>
                      <a:gd name="connsiteX1" fmla="*/ 0 w 13759"/>
                      <a:gd name="connsiteY1" fmla="*/ 0 h 1378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3759" h="13782">
                        <a:moveTo>
                          <a:pt x="13759" y="13783"/>
                        </a:moveTo>
                        <a:lnTo>
                          <a:pt x="0" y="0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  <p:grpSp>
              <p:nvGrpSpPr>
                <p:cNvPr id="988" name="Gráfico 11">
                  <a:extLst>
                    <a:ext uri="{FF2B5EF4-FFF2-40B4-BE49-F238E27FC236}">
                      <a16:creationId xmlns:a16="http://schemas.microsoft.com/office/drawing/2014/main" id="{2FDF6578-85EA-DD41-7915-B324C05728A8}"/>
                    </a:ext>
                  </a:extLst>
                </p:cNvPr>
                <p:cNvGrpSpPr/>
                <p:nvPr/>
              </p:nvGrpSpPr>
              <p:grpSpPr>
                <a:xfrm>
                  <a:off x="10689727" y="1653351"/>
                  <a:ext cx="101846" cy="101858"/>
                  <a:chOff x="10689727" y="1653351"/>
                  <a:chExt cx="101846" cy="101858"/>
                </a:xfrm>
              </p:grpSpPr>
              <p:sp>
                <p:nvSpPr>
                  <p:cNvPr id="989" name="Forma livre: Forma 988">
                    <a:extLst>
                      <a:ext uri="{FF2B5EF4-FFF2-40B4-BE49-F238E27FC236}">
                        <a16:creationId xmlns:a16="http://schemas.microsoft.com/office/drawing/2014/main" id="{8FA3CE93-AF63-B427-EBC7-BD8AB4BEFF2C}"/>
                      </a:ext>
                    </a:extLst>
                  </p:cNvPr>
                  <p:cNvSpPr/>
                  <p:nvPr/>
                </p:nvSpPr>
                <p:spPr>
                  <a:xfrm>
                    <a:off x="10777803" y="1653351"/>
                    <a:ext cx="13771" cy="13759"/>
                  </a:xfrm>
                  <a:custGeom>
                    <a:avLst/>
                    <a:gdLst>
                      <a:gd name="connsiteX0" fmla="*/ 0 w 13771"/>
                      <a:gd name="connsiteY0" fmla="*/ 13759 h 13759"/>
                      <a:gd name="connsiteX1" fmla="*/ 13771 w 13771"/>
                      <a:gd name="connsiteY1" fmla="*/ 0 h 1375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3771" h="13759">
                        <a:moveTo>
                          <a:pt x="0" y="13759"/>
                        </a:moveTo>
                        <a:lnTo>
                          <a:pt x="13771" y="0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990" name="Forma livre: Forma 989">
                    <a:extLst>
                      <a:ext uri="{FF2B5EF4-FFF2-40B4-BE49-F238E27FC236}">
                        <a16:creationId xmlns:a16="http://schemas.microsoft.com/office/drawing/2014/main" id="{4C2F35A7-329D-29B5-0E4A-B0BD4E1E8A0D}"/>
                      </a:ext>
                    </a:extLst>
                  </p:cNvPr>
                  <p:cNvSpPr/>
                  <p:nvPr/>
                </p:nvSpPr>
                <p:spPr>
                  <a:xfrm>
                    <a:off x="10689727" y="1741426"/>
                    <a:ext cx="13759" cy="13782"/>
                  </a:xfrm>
                  <a:custGeom>
                    <a:avLst/>
                    <a:gdLst>
                      <a:gd name="connsiteX0" fmla="*/ 0 w 13759"/>
                      <a:gd name="connsiteY0" fmla="*/ 13783 h 13782"/>
                      <a:gd name="connsiteX1" fmla="*/ 13759 w 13759"/>
                      <a:gd name="connsiteY1" fmla="*/ 0 h 1378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3759" h="13782">
                        <a:moveTo>
                          <a:pt x="0" y="13783"/>
                        </a:moveTo>
                        <a:lnTo>
                          <a:pt x="13759" y="0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</p:grpSp>
          <p:grpSp>
            <p:nvGrpSpPr>
              <p:cNvPr id="991" name="Gráfico 11">
                <a:extLst>
                  <a:ext uri="{FF2B5EF4-FFF2-40B4-BE49-F238E27FC236}">
                    <a16:creationId xmlns:a16="http://schemas.microsoft.com/office/drawing/2014/main" id="{BD4AAF73-2701-E603-7292-4AEECB8C2A8E}"/>
                  </a:ext>
                </a:extLst>
              </p:cNvPr>
              <p:cNvGrpSpPr/>
              <p:nvPr/>
            </p:nvGrpSpPr>
            <p:grpSpPr>
              <a:xfrm>
                <a:off x="10715485" y="1684679"/>
                <a:ext cx="43727" cy="40615"/>
                <a:chOff x="10715485" y="1684679"/>
                <a:chExt cx="43727" cy="40615"/>
              </a:xfrm>
              <a:solidFill>
                <a:srgbClr val="394553"/>
              </a:solidFill>
            </p:grpSpPr>
            <p:grpSp>
              <p:nvGrpSpPr>
                <p:cNvPr id="992" name="Gráfico 11">
                  <a:extLst>
                    <a:ext uri="{FF2B5EF4-FFF2-40B4-BE49-F238E27FC236}">
                      <a16:creationId xmlns:a16="http://schemas.microsoft.com/office/drawing/2014/main" id="{2F33DCEF-81E0-7E3A-02E2-68AE5A3BF930}"/>
                    </a:ext>
                  </a:extLst>
                </p:cNvPr>
                <p:cNvGrpSpPr/>
                <p:nvPr/>
              </p:nvGrpSpPr>
              <p:grpSpPr>
                <a:xfrm>
                  <a:off x="10715485" y="1684679"/>
                  <a:ext cx="43727" cy="15852"/>
                  <a:chOff x="10715485" y="1684679"/>
                  <a:chExt cx="43727" cy="15852"/>
                </a:xfrm>
                <a:solidFill>
                  <a:srgbClr val="394553"/>
                </a:solidFill>
              </p:grpSpPr>
              <p:sp>
                <p:nvSpPr>
                  <p:cNvPr id="993" name="Forma livre: Forma 992">
                    <a:extLst>
                      <a:ext uri="{FF2B5EF4-FFF2-40B4-BE49-F238E27FC236}">
                        <a16:creationId xmlns:a16="http://schemas.microsoft.com/office/drawing/2014/main" id="{0EF4BE72-9F01-9E01-49FF-20EAA2D9A761}"/>
                      </a:ext>
                    </a:extLst>
                  </p:cNvPr>
                  <p:cNvSpPr/>
                  <p:nvPr/>
                </p:nvSpPr>
                <p:spPr>
                  <a:xfrm>
                    <a:off x="10715485" y="1693402"/>
                    <a:ext cx="7115" cy="7128"/>
                  </a:xfrm>
                  <a:custGeom>
                    <a:avLst/>
                    <a:gdLst>
                      <a:gd name="connsiteX0" fmla="*/ 3 w 7115"/>
                      <a:gd name="connsiteY0" fmla="*/ 3232 h 7128"/>
                      <a:gd name="connsiteX1" fmla="*/ 3861 w 7115"/>
                      <a:gd name="connsiteY1" fmla="*/ 15 h 7128"/>
                      <a:gd name="connsiteX2" fmla="*/ 7102 w 7115"/>
                      <a:gd name="connsiteY2" fmla="*/ 3873 h 7128"/>
                      <a:gd name="connsiteX3" fmla="*/ 3232 w 7115"/>
                      <a:gd name="connsiteY3" fmla="*/ 7114 h 7128"/>
                      <a:gd name="connsiteX4" fmla="*/ 15 w 7115"/>
                      <a:gd name="connsiteY4" fmla="*/ 3232 h 712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7115" h="7128">
                        <a:moveTo>
                          <a:pt x="3" y="3232"/>
                        </a:moveTo>
                        <a:cubicBezTo>
                          <a:pt x="169" y="1273"/>
                          <a:pt x="1903" y="-163"/>
                          <a:pt x="3861" y="15"/>
                        </a:cubicBezTo>
                        <a:cubicBezTo>
                          <a:pt x="5808" y="181"/>
                          <a:pt x="7269" y="1914"/>
                          <a:pt x="7102" y="3873"/>
                        </a:cubicBezTo>
                        <a:cubicBezTo>
                          <a:pt x="6912" y="5844"/>
                          <a:pt x="5179" y="7292"/>
                          <a:pt x="3232" y="7114"/>
                        </a:cubicBezTo>
                        <a:cubicBezTo>
                          <a:pt x="1262" y="6936"/>
                          <a:pt x="-163" y="5227"/>
                          <a:pt x="15" y="3232"/>
                        </a:cubicBezTo>
                        <a:close/>
                      </a:path>
                    </a:pathLst>
                  </a:custGeom>
                  <a:solidFill>
                    <a:srgbClr val="394553"/>
                  </a:solidFill>
                  <a:ln w="6350" cap="flat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994" name="Forma livre: Forma 993">
                    <a:extLst>
                      <a:ext uri="{FF2B5EF4-FFF2-40B4-BE49-F238E27FC236}">
                        <a16:creationId xmlns:a16="http://schemas.microsoft.com/office/drawing/2014/main" id="{CB773E92-575F-0620-B26D-C99C8F88FCFF}"/>
                      </a:ext>
                    </a:extLst>
                  </p:cNvPr>
                  <p:cNvSpPr/>
                  <p:nvPr/>
                </p:nvSpPr>
                <p:spPr>
                  <a:xfrm>
                    <a:off x="10752088" y="1684679"/>
                    <a:ext cx="7125" cy="7138"/>
                  </a:xfrm>
                  <a:custGeom>
                    <a:avLst/>
                    <a:gdLst>
                      <a:gd name="connsiteX0" fmla="*/ 13 w 7125"/>
                      <a:gd name="connsiteY0" fmla="*/ 3242 h 7138"/>
                      <a:gd name="connsiteX1" fmla="*/ 3871 w 7125"/>
                      <a:gd name="connsiteY1" fmla="*/ 13 h 7138"/>
                      <a:gd name="connsiteX2" fmla="*/ 7112 w 7125"/>
                      <a:gd name="connsiteY2" fmla="*/ 3883 h 7138"/>
                      <a:gd name="connsiteX3" fmla="*/ 3242 w 7125"/>
                      <a:gd name="connsiteY3" fmla="*/ 7124 h 7138"/>
                      <a:gd name="connsiteX4" fmla="*/ 13 w 7125"/>
                      <a:gd name="connsiteY4" fmla="*/ 3242 h 713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7125" h="7138">
                        <a:moveTo>
                          <a:pt x="13" y="3242"/>
                        </a:moveTo>
                        <a:cubicBezTo>
                          <a:pt x="191" y="1283"/>
                          <a:pt x="1901" y="-153"/>
                          <a:pt x="3871" y="13"/>
                        </a:cubicBezTo>
                        <a:cubicBezTo>
                          <a:pt x="5818" y="191"/>
                          <a:pt x="7279" y="1936"/>
                          <a:pt x="7112" y="3883"/>
                        </a:cubicBezTo>
                        <a:cubicBezTo>
                          <a:pt x="6934" y="5854"/>
                          <a:pt x="5189" y="7302"/>
                          <a:pt x="3242" y="7124"/>
                        </a:cubicBezTo>
                        <a:cubicBezTo>
                          <a:pt x="1283" y="6946"/>
                          <a:pt x="-153" y="5237"/>
                          <a:pt x="13" y="3242"/>
                        </a:cubicBezTo>
                        <a:close/>
                      </a:path>
                    </a:pathLst>
                  </a:custGeom>
                  <a:solidFill>
                    <a:srgbClr val="394553"/>
                  </a:solidFill>
                  <a:ln w="6350" cap="flat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  <p:sp>
              <p:nvSpPr>
                <p:cNvPr id="995" name="Forma livre: Forma 994">
                  <a:extLst>
                    <a:ext uri="{FF2B5EF4-FFF2-40B4-BE49-F238E27FC236}">
                      <a16:creationId xmlns:a16="http://schemas.microsoft.com/office/drawing/2014/main" id="{C385DC6A-1A3E-CD4B-F300-A29F011BC2D4}"/>
                    </a:ext>
                  </a:extLst>
                </p:cNvPr>
                <p:cNvSpPr/>
                <p:nvPr/>
              </p:nvSpPr>
              <p:spPr>
                <a:xfrm>
                  <a:off x="10740691" y="1718157"/>
                  <a:ext cx="7125" cy="7137"/>
                </a:xfrm>
                <a:custGeom>
                  <a:avLst/>
                  <a:gdLst>
                    <a:gd name="connsiteX0" fmla="*/ 13 w 7125"/>
                    <a:gd name="connsiteY0" fmla="*/ 3242 h 7137"/>
                    <a:gd name="connsiteX1" fmla="*/ 3871 w 7125"/>
                    <a:gd name="connsiteY1" fmla="*/ 13 h 7137"/>
                    <a:gd name="connsiteX2" fmla="*/ 7112 w 7125"/>
                    <a:gd name="connsiteY2" fmla="*/ 3883 h 7137"/>
                    <a:gd name="connsiteX3" fmla="*/ 3242 w 7125"/>
                    <a:gd name="connsiteY3" fmla="*/ 7124 h 7137"/>
                    <a:gd name="connsiteX4" fmla="*/ 13 w 7125"/>
                    <a:gd name="connsiteY4" fmla="*/ 3242 h 713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7125" h="7137">
                      <a:moveTo>
                        <a:pt x="13" y="3242"/>
                      </a:moveTo>
                      <a:cubicBezTo>
                        <a:pt x="191" y="1283"/>
                        <a:pt x="1901" y="-153"/>
                        <a:pt x="3871" y="13"/>
                      </a:cubicBezTo>
                      <a:cubicBezTo>
                        <a:pt x="5818" y="191"/>
                        <a:pt x="7279" y="1924"/>
                        <a:pt x="7112" y="3883"/>
                      </a:cubicBezTo>
                      <a:cubicBezTo>
                        <a:pt x="6922" y="5854"/>
                        <a:pt x="5189" y="7290"/>
                        <a:pt x="3242" y="7124"/>
                      </a:cubicBezTo>
                      <a:cubicBezTo>
                        <a:pt x="1272" y="6946"/>
                        <a:pt x="-153" y="5225"/>
                        <a:pt x="13" y="3242"/>
                      </a:cubicBezTo>
                      <a:close/>
                    </a:path>
                  </a:pathLst>
                </a:custGeom>
                <a:solidFill>
                  <a:srgbClr val="394553"/>
                </a:solidFill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grpSp>
          <p:nvGrpSpPr>
            <p:cNvPr id="996" name="Gráfico 11">
              <a:extLst>
                <a:ext uri="{FF2B5EF4-FFF2-40B4-BE49-F238E27FC236}">
                  <a16:creationId xmlns:a16="http://schemas.microsoft.com/office/drawing/2014/main" id="{150363AE-78A8-468B-F30B-F2BE10BEAD27}"/>
                </a:ext>
              </a:extLst>
            </p:cNvPr>
            <p:cNvGrpSpPr/>
            <p:nvPr/>
          </p:nvGrpSpPr>
          <p:grpSpPr>
            <a:xfrm>
              <a:off x="10504578" y="1466302"/>
              <a:ext cx="272773" cy="272690"/>
              <a:chOff x="10504578" y="1466302"/>
              <a:chExt cx="272773" cy="272690"/>
            </a:xfrm>
            <a:noFill/>
          </p:grpSpPr>
          <p:sp>
            <p:nvSpPr>
              <p:cNvPr id="997" name="Forma livre: Forma 996">
                <a:extLst>
                  <a:ext uri="{FF2B5EF4-FFF2-40B4-BE49-F238E27FC236}">
                    <a16:creationId xmlns:a16="http://schemas.microsoft.com/office/drawing/2014/main" id="{09742642-3765-99B4-40CE-9848A342FDCA}"/>
                  </a:ext>
                </a:extLst>
              </p:cNvPr>
              <p:cNvSpPr/>
              <p:nvPr/>
            </p:nvSpPr>
            <p:spPr>
              <a:xfrm>
                <a:off x="10517090" y="1466302"/>
                <a:ext cx="153654" cy="219149"/>
              </a:xfrm>
              <a:custGeom>
                <a:avLst/>
                <a:gdLst>
                  <a:gd name="connsiteX0" fmla="*/ 73022 w 153654"/>
                  <a:gd name="connsiteY0" fmla="*/ 10613 h 219149"/>
                  <a:gd name="connsiteX1" fmla="*/ 74601 w 153654"/>
                  <a:gd name="connsiteY1" fmla="*/ 65543 h 219149"/>
                  <a:gd name="connsiteX2" fmla="*/ 36078 w 153654"/>
                  <a:gd name="connsiteY2" fmla="*/ 91744 h 219149"/>
                  <a:gd name="connsiteX3" fmla="*/ 39153 w 153654"/>
                  <a:gd name="connsiteY3" fmla="*/ 116401 h 219149"/>
                  <a:gd name="connsiteX4" fmla="*/ 69211 w 153654"/>
                  <a:gd name="connsiteY4" fmla="*/ 114098 h 219149"/>
                  <a:gd name="connsiteX5" fmla="*/ 115428 w 153654"/>
                  <a:gd name="connsiteY5" fmla="*/ 137984 h 219149"/>
                  <a:gd name="connsiteX6" fmla="*/ 71016 w 153654"/>
                  <a:gd name="connsiteY6" fmla="*/ 219150 h 219149"/>
                  <a:gd name="connsiteX7" fmla="*/ 55345 w 153654"/>
                  <a:gd name="connsiteY7" fmla="*/ 164184 h 219149"/>
                  <a:gd name="connsiteX8" fmla="*/ 32991 w 153654"/>
                  <a:gd name="connsiteY8" fmla="*/ 151078 h 219149"/>
                  <a:gd name="connsiteX9" fmla="*/ 39153 w 153654"/>
                  <a:gd name="connsiteY9" fmla="*/ 118716 h 219149"/>
                  <a:gd name="connsiteX10" fmla="*/ 0 w 153654"/>
                  <a:gd name="connsiteY10" fmla="*/ 79219 h 219149"/>
                  <a:gd name="connsiteX11" fmla="*/ 123833 w 153654"/>
                  <a:gd name="connsiteY11" fmla="*/ 0 h 219149"/>
                  <a:gd name="connsiteX12" fmla="*/ 153654 w 153654"/>
                  <a:gd name="connsiteY12" fmla="*/ 3277 h 2191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53654" h="219149">
                    <a:moveTo>
                      <a:pt x="73022" y="10613"/>
                    </a:moveTo>
                    <a:lnTo>
                      <a:pt x="74601" y="65543"/>
                    </a:lnTo>
                    <a:lnTo>
                      <a:pt x="36078" y="91744"/>
                    </a:lnTo>
                    <a:lnTo>
                      <a:pt x="39153" y="116401"/>
                    </a:lnTo>
                    <a:lnTo>
                      <a:pt x="69211" y="114098"/>
                    </a:lnTo>
                    <a:lnTo>
                      <a:pt x="115428" y="137984"/>
                    </a:lnTo>
                    <a:lnTo>
                      <a:pt x="71016" y="219150"/>
                    </a:lnTo>
                    <a:lnTo>
                      <a:pt x="55345" y="164184"/>
                    </a:lnTo>
                    <a:lnTo>
                      <a:pt x="32991" y="151078"/>
                    </a:lnTo>
                    <a:lnTo>
                      <a:pt x="39153" y="118716"/>
                    </a:lnTo>
                    <a:lnTo>
                      <a:pt x="0" y="79219"/>
                    </a:lnTo>
                    <a:cubicBezTo>
                      <a:pt x="21606" y="32445"/>
                      <a:pt x="68938" y="0"/>
                      <a:pt x="123833" y="0"/>
                    </a:cubicBezTo>
                    <a:cubicBezTo>
                      <a:pt x="134066" y="0"/>
                      <a:pt x="144062" y="1128"/>
                      <a:pt x="153654" y="3277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98" name="Forma livre: Forma 997">
                <a:extLst>
                  <a:ext uri="{FF2B5EF4-FFF2-40B4-BE49-F238E27FC236}">
                    <a16:creationId xmlns:a16="http://schemas.microsoft.com/office/drawing/2014/main" id="{4767A977-F237-E1CD-355D-E13A1EA3227B}"/>
                  </a:ext>
                </a:extLst>
              </p:cNvPr>
              <p:cNvSpPr/>
              <p:nvPr/>
            </p:nvSpPr>
            <p:spPr>
              <a:xfrm>
                <a:off x="10504578" y="1573621"/>
                <a:ext cx="167389" cy="165371"/>
              </a:xfrm>
              <a:custGeom>
                <a:avLst/>
                <a:gdLst>
                  <a:gd name="connsiteX0" fmla="*/ 167390 w 167389"/>
                  <a:gd name="connsiteY0" fmla="*/ 161834 h 165371"/>
                  <a:gd name="connsiteX1" fmla="*/ 136345 w 167389"/>
                  <a:gd name="connsiteY1" fmla="*/ 165371 h 165371"/>
                  <a:gd name="connsiteX2" fmla="*/ 0 w 167389"/>
                  <a:gd name="connsiteY2" fmla="*/ 29026 h 165371"/>
                  <a:gd name="connsiteX3" fmla="*/ 3087 w 167389"/>
                  <a:gd name="connsiteY3" fmla="*/ 0 h 1653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67389" h="165371">
                    <a:moveTo>
                      <a:pt x="167390" y="161834"/>
                    </a:moveTo>
                    <a:cubicBezTo>
                      <a:pt x="157418" y="164149"/>
                      <a:pt x="147030" y="165371"/>
                      <a:pt x="136345" y="165371"/>
                    </a:cubicBezTo>
                    <a:cubicBezTo>
                      <a:pt x="61044" y="165371"/>
                      <a:pt x="0" y="104316"/>
                      <a:pt x="0" y="29026"/>
                    </a:cubicBezTo>
                    <a:cubicBezTo>
                      <a:pt x="0" y="19066"/>
                      <a:pt x="1057" y="9355"/>
                      <a:pt x="3087" y="0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99" name="Forma livre: Forma 998">
                <a:extLst>
                  <a:ext uri="{FF2B5EF4-FFF2-40B4-BE49-F238E27FC236}">
                    <a16:creationId xmlns:a16="http://schemas.microsoft.com/office/drawing/2014/main" id="{A1F0D9E4-1235-498D-5FC4-3AF6A49C22F8}"/>
                  </a:ext>
                </a:extLst>
              </p:cNvPr>
              <p:cNvSpPr/>
              <p:nvPr/>
            </p:nvSpPr>
            <p:spPr>
              <a:xfrm>
                <a:off x="10676555" y="1478470"/>
                <a:ext cx="100796" cy="156930"/>
              </a:xfrm>
              <a:custGeom>
                <a:avLst/>
                <a:gdLst>
                  <a:gd name="connsiteX0" fmla="*/ 37889 w 100796"/>
                  <a:gd name="connsiteY0" fmla="*/ 153001 h 156930"/>
                  <a:gd name="connsiteX1" fmla="*/ 32665 w 100796"/>
                  <a:gd name="connsiteY1" fmla="*/ 122907 h 156930"/>
                  <a:gd name="connsiteX2" fmla="*/ 18502 w 100796"/>
                  <a:gd name="connsiteY2" fmla="*/ 122135 h 156930"/>
                  <a:gd name="connsiteX3" fmla="*/ 13113 w 100796"/>
                  <a:gd name="connsiteY3" fmla="*/ 81297 h 156930"/>
                  <a:gd name="connsiteX4" fmla="*/ 52408 w 100796"/>
                  <a:gd name="connsiteY4" fmla="*/ 76679 h 156930"/>
                  <a:gd name="connsiteX5" fmla="*/ 67817 w 100796"/>
                  <a:gd name="connsiteY5" fmla="*/ 46097 h 156930"/>
                  <a:gd name="connsiteX6" fmla="*/ 13018 w 100796"/>
                  <a:gd name="connsiteY6" fmla="*/ 48875 h 156930"/>
                  <a:gd name="connsiteX7" fmla="*/ 3983 w 100796"/>
                  <a:gd name="connsiteY7" fmla="*/ 40043 h 156930"/>
                  <a:gd name="connsiteX8" fmla="*/ 20817 w 100796"/>
                  <a:gd name="connsiteY8" fmla="*/ 0 h 156930"/>
                  <a:gd name="connsiteX9" fmla="*/ 100796 w 100796"/>
                  <a:gd name="connsiteY9" fmla="*/ 124177 h 156930"/>
                  <a:gd name="connsiteX10" fmla="*/ 96831 w 100796"/>
                  <a:gd name="connsiteY10" fmla="*/ 156931 h 1569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100796" h="156930">
                    <a:moveTo>
                      <a:pt x="37889" y="153001"/>
                    </a:moveTo>
                    <a:lnTo>
                      <a:pt x="32665" y="122907"/>
                    </a:lnTo>
                    <a:lnTo>
                      <a:pt x="18502" y="122135"/>
                    </a:lnTo>
                    <a:cubicBezTo>
                      <a:pt x="18502" y="122135"/>
                      <a:pt x="-19261" y="108257"/>
                      <a:pt x="13113" y="81297"/>
                    </a:cubicBezTo>
                    <a:lnTo>
                      <a:pt x="52408" y="76679"/>
                    </a:lnTo>
                    <a:lnTo>
                      <a:pt x="67817" y="46097"/>
                    </a:lnTo>
                    <a:lnTo>
                      <a:pt x="13018" y="48875"/>
                    </a:lnTo>
                    <a:lnTo>
                      <a:pt x="3983" y="40043"/>
                    </a:lnTo>
                    <a:lnTo>
                      <a:pt x="20817" y="0"/>
                    </a:lnTo>
                    <a:cubicBezTo>
                      <a:pt x="67995" y="21464"/>
                      <a:pt x="100796" y="68974"/>
                      <a:pt x="100796" y="124177"/>
                    </a:cubicBezTo>
                    <a:cubicBezTo>
                      <a:pt x="100796" y="135467"/>
                      <a:pt x="99419" y="146436"/>
                      <a:pt x="96831" y="156931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000" name="Forma livre: Forma 999">
                <a:extLst>
                  <a:ext uri="{FF2B5EF4-FFF2-40B4-BE49-F238E27FC236}">
                    <a16:creationId xmlns:a16="http://schemas.microsoft.com/office/drawing/2014/main" id="{0E814A5B-8655-F0FB-172C-12A8176DFB99}"/>
                  </a:ext>
                </a:extLst>
              </p:cNvPr>
              <p:cNvSpPr/>
              <p:nvPr/>
            </p:nvSpPr>
            <p:spPr>
              <a:xfrm>
                <a:off x="10751460" y="1569181"/>
                <a:ext cx="21155" cy="39983"/>
              </a:xfrm>
              <a:custGeom>
                <a:avLst/>
                <a:gdLst>
                  <a:gd name="connsiteX0" fmla="*/ 21155 w 21155"/>
                  <a:gd name="connsiteY0" fmla="*/ 0 h 39983"/>
                  <a:gd name="connsiteX1" fmla="*/ 0 w 21155"/>
                  <a:gd name="connsiteY1" fmla="*/ 39984 h 399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1155" h="39983">
                    <a:moveTo>
                      <a:pt x="21155" y="0"/>
                    </a:moveTo>
                    <a:lnTo>
                      <a:pt x="0" y="39984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001" name="Gráfico 11">
            <a:extLst>
              <a:ext uri="{FF2B5EF4-FFF2-40B4-BE49-F238E27FC236}">
                <a16:creationId xmlns:a16="http://schemas.microsoft.com/office/drawing/2014/main" id="{7306A2AC-7005-886B-B665-9B5FCFBEE83E}"/>
              </a:ext>
            </a:extLst>
          </p:cNvPr>
          <p:cNvGrpSpPr/>
          <p:nvPr/>
        </p:nvGrpSpPr>
        <p:grpSpPr>
          <a:xfrm>
            <a:off x="10517138" y="1926030"/>
            <a:ext cx="282983" cy="345131"/>
            <a:chOff x="10517138" y="1926030"/>
            <a:chExt cx="282983" cy="345131"/>
          </a:xfrm>
          <a:noFill/>
        </p:grpSpPr>
        <p:grpSp>
          <p:nvGrpSpPr>
            <p:cNvPr id="1002" name="Gráfico 11">
              <a:extLst>
                <a:ext uri="{FF2B5EF4-FFF2-40B4-BE49-F238E27FC236}">
                  <a16:creationId xmlns:a16="http://schemas.microsoft.com/office/drawing/2014/main" id="{5F905F80-5BFB-ACF2-5E09-BDAE1A54C833}"/>
                </a:ext>
              </a:extLst>
            </p:cNvPr>
            <p:cNvGrpSpPr/>
            <p:nvPr/>
          </p:nvGrpSpPr>
          <p:grpSpPr>
            <a:xfrm>
              <a:off x="10517138" y="1926030"/>
              <a:ext cx="282983" cy="288610"/>
              <a:chOff x="10517138" y="1926030"/>
              <a:chExt cx="282983" cy="288610"/>
            </a:xfrm>
            <a:noFill/>
          </p:grpSpPr>
          <p:sp>
            <p:nvSpPr>
              <p:cNvPr id="1003" name="Forma livre: Forma 1002">
                <a:extLst>
                  <a:ext uri="{FF2B5EF4-FFF2-40B4-BE49-F238E27FC236}">
                    <a16:creationId xmlns:a16="http://schemas.microsoft.com/office/drawing/2014/main" id="{D60F7A90-3FE1-CB03-971B-D1407B6EA4D9}"/>
                  </a:ext>
                </a:extLst>
              </p:cNvPr>
              <p:cNvSpPr/>
              <p:nvPr/>
            </p:nvSpPr>
            <p:spPr>
              <a:xfrm>
                <a:off x="10633859" y="1926030"/>
                <a:ext cx="49528" cy="49552"/>
              </a:xfrm>
              <a:custGeom>
                <a:avLst/>
                <a:gdLst>
                  <a:gd name="connsiteX0" fmla="*/ 49528 w 49528"/>
                  <a:gd name="connsiteY0" fmla="*/ 24776 h 49552"/>
                  <a:gd name="connsiteX1" fmla="*/ 24764 w 49528"/>
                  <a:gd name="connsiteY1" fmla="*/ 49552 h 49552"/>
                  <a:gd name="connsiteX2" fmla="*/ 0 w 49528"/>
                  <a:gd name="connsiteY2" fmla="*/ 24776 h 49552"/>
                  <a:gd name="connsiteX3" fmla="*/ 24764 w 49528"/>
                  <a:gd name="connsiteY3" fmla="*/ 0 h 49552"/>
                  <a:gd name="connsiteX4" fmla="*/ 49528 w 49528"/>
                  <a:gd name="connsiteY4" fmla="*/ 24776 h 495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9528" h="49552">
                    <a:moveTo>
                      <a:pt x="49528" y="24776"/>
                    </a:moveTo>
                    <a:cubicBezTo>
                      <a:pt x="49528" y="38452"/>
                      <a:pt x="38440" y="49552"/>
                      <a:pt x="24764" y="49552"/>
                    </a:cubicBezTo>
                    <a:cubicBezTo>
                      <a:pt x="11088" y="49552"/>
                      <a:pt x="0" y="38464"/>
                      <a:pt x="0" y="24776"/>
                    </a:cubicBezTo>
                    <a:cubicBezTo>
                      <a:pt x="0" y="11088"/>
                      <a:pt x="11100" y="0"/>
                      <a:pt x="24764" y="0"/>
                    </a:cubicBezTo>
                    <a:cubicBezTo>
                      <a:pt x="38428" y="0"/>
                      <a:pt x="49528" y="11088"/>
                      <a:pt x="49528" y="24776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004" name="Forma livre: Forma 1003">
                <a:extLst>
                  <a:ext uri="{FF2B5EF4-FFF2-40B4-BE49-F238E27FC236}">
                    <a16:creationId xmlns:a16="http://schemas.microsoft.com/office/drawing/2014/main" id="{AD6E6F47-15AF-FA84-C2A0-6101C54C38FA}"/>
                  </a:ext>
                </a:extLst>
              </p:cNvPr>
              <p:cNvSpPr/>
              <p:nvPr/>
            </p:nvSpPr>
            <p:spPr>
              <a:xfrm>
                <a:off x="10601937" y="1999491"/>
                <a:ext cx="113385" cy="118264"/>
              </a:xfrm>
              <a:custGeom>
                <a:avLst/>
                <a:gdLst>
                  <a:gd name="connsiteX0" fmla="*/ 24313 w 113385"/>
                  <a:gd name="connsiteY0" fmla="*/ 118265 h 118264"/>
                  <a:gd name="connsiteX1" fmla="*/ 0 w 113385"/>
                  <a:gd name="connsiteY1" fmla="*/ 85381 h 118264"/>
                  <a:gd name="connsiteX2" fmla="*/ 0 w 113385"/>
                  <a:gd name="connsiteY2" fmla="*/ 32884 h 118264"/>
                  <a:gd name="connsiteX3" fmla="*/ 32884 w 113385"/>
                  <a:gd name="connsiteY3" fmla="*/ 0 h 118264"/>
                  <a:gd name="connsiteX4" fmla="*/ 80501 w 113385"/>
                  <a:gd name="connsiteY4" fmla="*/ 0 h 118264"/>
                  <a:gd name="connsiteX5" fmla="*/ 113386 w 113385"/>
                  <a:gd name="connsiteY5" fmla="*/ 32884 h 118264"/>
                  <a:gd name="connsiteX6" fmla="*/ 113386 w 113385"/>
                  <a:gd name="connsiteY6" fmla="*/ 85381 h 118264"/>
                  <a:gd name="connsiteX7" fmla="*/ 89073 w 113385"/>
                  <a:gd name="connsiteY7" fmla="*/ 118265 h 1182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13385" h="118264">
                    <a:moveTo>
                      <a:pt x="24313" y="118265"/>
                    </a:moveTo>
                    <a:cubicBezTo>
                      <a:pt x="6233" y="118265"/>
                      <a:pt x="0" y="103473"/>
                      <a:pt x="0" y="85381"/>
                    </a:cubicBezTo>
                    <a:lnTo>
                      <a:pt x="0" y="32884"/>
                    </a:lnTo>
                    <a:cubicBezTo>
                      <a:pt x="0" y="14804"/>
                      <a:pt x="14804" y="0"/>
                      <a:pt x="32884" y="0"/>
                    </a:cubicBezTo>
                    <a:lnTo>
                      <a:pt x="80501" y="0"/>
                    </a:lnTo>
                    <a:cubicBezTo>
                      <a:pt x="98582" y="0"/>
                      <a:pt x="113386" y="14804"/>
                      <a:pt x="113386" y="32884"/>
                    </a:cubicBezTo>
                    <a:lnTo>
                      <a:pt x="113386" y="85381"/>
                    </a:lnTo>
                    <a:cubicBezTo>
                      <a:pt x="113386" y="103473"/>
                      <a:pt x="107153" y="118265"/>
                      <a:pt x="89073" y="118265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1005" name="Gráfico 11">
                <a:extLst>
                  <a:ext uri="{FF2B5EF4-FFF2-40B4-BE49-F238E27FC236}">
                    <a16:creationId xmlns:a16="http://schemas.microsoft.com/office/drawing/2014/main" id="{30F1C4EF-2B96-716A-A4E0-01006AB447F1}"/>
                  </a:ext>
                </a:extLst>
              </p:cNvPr>
              <p:cNvGrpSpPr/>
              <p:nvPr/>
            </p:nvGrpSpPr>
            <p:grpSpPr>
              <a:xfrm>
                <a:off x="10625953" y="2042324"/>
                <a:ext cx="65341" cy="101217"/>
                <a:chOff x="10625953" y="2042324"/>
                <a:chExt cx="65341" cy="101217"/>
              </a:xfrm>
            </p:grpSpPr>
            <p:sp>
              <p:nvSpPr>
                <p:cNvPr id="1006" name="Forma livre: Forma 1005">
                  <a:extLst>
                    <a:ext uri="{FF2B5EF4-FFF2-40B4-BE49-F238E27FC236}">
                      <a16:creationId xmlns:a16="http://schemas.microsoft.com/office/drawing/2014/main" id="{1490EC59-2C53-7454-8338-E20FF7037FBB}"/>
                    </a:ext>
                  </a:extLst>
                </p:cNvPr>
                <p:cNvSpPr/>
                <p:nvPr/>
              </p:nvSpPr>
              <p:spPr>
                <a:xfrm>
                  <a:off x="10691294" y="2042324"/>
                  <a:ext cx="1187" cy="101217"/>
                </a:xfrm>
                <a:custGeom>
                  <a:avLst/>
                  <a:gdLst>
                    <a:gd name="connsiteX0" fmla="*/ 0 w 1187"/>
                    <a:gd name="connsiteY0" fmla="*/ 0 h 101217"/>
                    <a:gd name="connsiteX1" fmla="*/ 0 w 1187"/>
                    <a:gd name="connsiteY1" fmla="*/ 101217 h 10121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187" h="101217">
                      <a:moveTo>
                        <a:pt x="0" y="0"/>
                      </a:moveTo>
                      <a:lnTo>
                        <a:pt x="0" y="101217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007" name="Forma livre: Forma 1006">
                  <a:extLst>
                    <a:ext uri="{FF2B5EF4-FFF2-40B4-BE49-F238E27FC236}">
                      <a16:creationId xmlns:a16="http://schemas.microsoft.com/office/drawing/2014/main" id="{FD8549E2-BF75-A687-9B72-1EB52879822D}"/>
                    </a:ext>
                  </a:extLst>
                </p:cNvPr>
                <p:cNvSpPr/>
                <p:nvPr/>
              </p:nvSpPr>
              <p:spPr>
                <a:xfrm>
                  <a:off x="10625953" y="2042324"/>
                  <a:ext cx="1187" cy="101217"/>
                </a:xfrm>
                <a:custGeom>
                  <a:avLst/>
                  <a:gdLst>
                    <a:gd name="connsiteX0" fmla="*/ 0 w 1187"/>
                    <a:gd name="connsiteY0" fmla="*/ 0 h 101217"/>
                    <a:gd name="connsiteX1" fmla="*/ 0 w 1187"/>
                    <a:gd name="connsiteY1" fmla="*/ 101217 h 10121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187" h="101217">
                      <a:moveTo>
                        <a:pt x="0" y="0"/>
                      </a:moveTo>
                      <a:lnTo>
                        <a:pt x="0" y="101217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1008" name="Gráfico 11">
                <a:extLst>
                  <a:ext uri="{FF2B5EF4-FFF2-40B4-BE49-F238E27FC236}">
                    <a16:creationId xmlns:a16="http://schemas.microsoft.com/office/drawing/2014/main" id="{89C52B19-648A-88D3-7AFC-9381F4FF39B0}"/>
                  </a:ext>
                </a:extLst>
              </p:cNvPr>
              <p:cNvGrpSpPr/>
              <p:nvPr/>
            </p:nvGrpSpPr>
            <p:grpSpPr>
              <a:xfrm>
                <a:off x="10517138" y="1949417"/>
                <a:ext cx="282983" cy="265223"/>
                <a:chOff x="10517138" y="1949417"/>
                <a:chExt cx="282983" cy="265223"/>
              </a:xfrm>
              <a:noFill/>
            </p:grpSpPr>
            <p:grpSp>
              <p:nvGrpSpPr>
                <p:cNvPr id="1009" name="Gráfico 11">
                  <a:extLst>
                    <a:ext uri="{FF2B5EF4-FFF2-40B4-BE49-F238E27FC236}">
                      <a16:creationId xmlns:a16="http://schemas.microsoft.com/office/drawing/2014/main" id="{0B35C839-6DC3-4377-454C-731320A9D881}"/>
                    </a:ext>
                  </a:extLst>
                </p:cNvPr>
                <p:cNvGrpSpPr/>
                <p:nvPr/>
              </p:nvGrpSpPr>
              <p:grpSpPr>
                <a:xfrm>
                  <a:off x="10517138" y="1949417"/>
                  <a:ext cx="75491" cy="265223"/>
                  <a:chOff x="10517138" y="1949417"/>
                  <a:chExt cx="75491" cy="265223"/>
                </a:xfrm>
                <a:noFill/>
              </p:grpSpPr>
              <p:sp>
                <p:nvSpPr>
                  <p:cNvPr id="1010" name="Forma livre: Forma 1009">
                    <a:extLst>
                      <a:ext uri="{FF2B5EF4-FFF2-40B4-BE49-F238E27FC236}">
                        <a16:creationId xmlns:a16="http://schemas.microsoft.com/office/drawing/2014/main" id="{163EB15E-F2B4-E792-1CE6-66835A3E8A61}"/>
                      </a:ext>
                    </a:extLst>
                  </p:cNvPr>
                  <p:cNvSpPr/>
                  <p:nvPr/>
                </p:nvSpPr>
                <p:spPr>
                  <a:xfrm>
                    <a:off x="10546722" y="1949417"/>
                    <a:ext cx="45907" cy="45919"/>
                  </a:xfrm>
                  <a:custGeom>
                    <a:avLst/>
                    <a:gdLst>
                      <a:gd name="connsiteX0" fmla="*/ 45907 w 45907"/>
                      <a:gd name="connsiteY0" fmla="*/ 22960 h 45919"/>
                      <a:gd name="connsiteX1" fmla="*/ 22960 w 45907"/>
                      <a:gd name="connsiteY1" fmla="*/ 45919 h 45919"/>
                      <a:gd name="connsiteX2" fmla="*/ 0 w 45907"/>
                      <a:gd name="connsiteY2" fmla="*/ 22960 h 45919"/>
                      <a:gd name="connsiteX3" fmla="*/ 22960 w 45907"/>
                      <a:gd name="connsiteY3" fmla="*/ 0 h 45919"/>
                      <a:gd name="connsiteX4" fmla="*/ 45907 w 45907"/>
                      <a:gd name="connsiteY4" fmla="*/ 22960 h 4591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45907" h="45919">
                        <a:moveTo>
                          <a:pt x="45907" y="22960"/>
                        </a:moveTo>
                        <a:cubicBezTo>
                          <a:pt x="45907" y="35639"/>
                          <a:pt x="35627" y="45919"/>
                          <a:pt x="22960" y="45919"/>
                        </a:cubicBezTo>
                        <a:cubicBezTo>
                          <a:pt x="10293" y="45919"/>
                          <a:pt x="0" y="35639"/>
                          <a:pt x="0" y="22960"/>
                        </a:cubicBezTo>
                        <a:cubicBezTo>
                          <a:pt x="0" y="10281"/>
                          <a:pt x="10281" y="0"/>
                          <a:pt x="22960" y="0"/>
                        </a:cubicBezTo>
                        <a:cubicBezTo>
                          <a:pt x="35639" y="0"/>
                          <a:pt x="45907" y="10269"/>
                          <a:pt x="45907" y="22960"/>
                        </a:cubicBezTo>
                        <a:close/>
                      </a:path>
                    </a:pathLst>
                  </a:custGeom>
                  <a:noFill/>
                  <a:ln w="6350" cap="flat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1011" name="Forma livre: Forma 1010">
                    <a:extLst>
                      <a:ext uri="{FF2B5EF4-FFF2-40B4-BE49-F238E27FC236}">
                        <a16:creationId xmlns:a16="http://schemas.microsoft.com/office/drawing/2014/main" id="{03A3ED71-2389-31C0-B86A-59403A2B0B9B}"/>
                      </a:ext>
                    </a:extLst>
                  </p:cNvPr>
                  <p:cNvSpPr/>
                  <p:nvPr/>
                </p:nvSpPr>
                <p:spPr>
                  <a:xfrm>
                    <a:off x="10517138" y="2019946"/>
                    <a:ext cx="65246" cy="109622"/>
                  </a:xfrm>
                  <a:custGeom>
                    <a:avLst/>
                    <a:gdLst>
                      <a:gd name="connsiteX0" fmla="*/ 22532 w 65246"/>
                      <a:gd name="connsiteY0" fmla="*/ 109622 h 109622"/>
                      <a:gd name="connsiteX1" fmla="*/ 0 w 65246"/>
                      <a:gd name="connsiteY1" fmla="*/ 79136 h 109622"/>
                      <a:gd name="connsiteX2" fmla="*/ 0 w 65246"/>
                      <a:gd name="connsiteY2" fmla="*/ 30474 h 109622"/>
                      <a:gd name="connsiteX3" fmla="*/ 30474 w 65246"/>
                      <a:gd name="connsiteY3" fmla="*/ 0 h 109622"/>
                      <a:gd name="connsiteX4" fmla="*/ 65246 w 65246"/>
                      <a:gd name="connsiteY4" fmla="*/ 0 h 10962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65246" h="109622">
                        <a:moveTo>
                          <a:pt x="22532" y="109622"/>
                        </a:moveTo>
                        <a:cubicBezTo>
                          <a:pt x="5770" y="109622"/>
                          <a:pt x="0" y="95899"/>
                          <a:pt x="0" y="79136"/>
                        </a:cubicBezTo>
                        <a:lnTo>
                          <a:pt x="0" y="30474"/>
                        </a:lnTo>
                        <a:cubicBezTo>
                          <a:pt x="0" y="13712"/>
                          <a:pt x="13712" y="0"/>
                          <a:pt x="30474" y="0"/>
                        </a:cubicBezTo>
                        <a:lnTo>
                          <a:pt x="65246" y="0"/>
                        </a:lnTo>
                      </a:path>
                    </a:pathLst>
                  </a:custGeom>
                  <a:noFill/>
                  <a:ln w="6350" cap="flat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grpSp>
                <p:nvGrpSpPr>
                  <p:cNvPr id="1012" name="Gráfico 11">
                    <a:extLst>
                      <a:ext uri="{FF2B5EF4-FFF2-40B4-BE49-F238E27FC236}">
                        <a16:creationId xmlns:a16="http://schemas.microsoft.com/office/drawing/2014/main" id="{812E2A10-474D-9495-408B-16BE379959DA}"/>
                      </a:ext>
                    </a:extLst>
                  </p:cNvPr>
                  <p:cNvGrpSpPr/>
                  <p:nvPr/>
                </p:nvGrpSpPr>
                <p:grpSpPr>
                  <a:xfrm>
                    <a:off x="10539397" y="2059644"/>
                    <a:ext cx="30272" cy="154995"/>
                    <a:chOff x="10539397" y="2059644"/>
                    <a:chExt cx="30272" cy="154995"/>
                  </a:xfrm>
                </p:grpSpPr>
                <p:sp>
                  <p:nvSpPr>
                    <p:cNvPr id="1013" name="Forma livre: Forma 1012">
                      <a:extLst>
                        <a:ext uri="{FF2B5EF4-FFF2-40B4-BE49-F238E27FC236}">
                          <a16:creationId xmlns:a16="http://schemas.microsoft.com/office/drawing/2014/main" id="{8D47806E-3599-B1EF-3C9D-F52F5ACBFA8C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0569670" y="2130898"/>
                      <a:ext cx="1187" cy="83742"/>
                    </a:xfrm>
                    <a:custGeom>
                      <a:avLst/>
                      <a:gdLst>
                        <a:gd name="connsiteX0" fmla="*/ 0 w 1187"/>
                        <a:gd name="connsiteY0" fmla="*/ 0 h 83742"/>
                        <a:gd name="connsiteX1" fmla="*/ 0 w 1187"/>
                        <a:gd name="connsiteY1" fmla="*/ 83742 h 83742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1187" h="83742">
                          <a:moveTo>
                            <a:pt x="0" y="0"/>
                          </a:moveTo>
                          <a:lnTo>
                            <a:pt x="0" y="83742"/>
                          </a:lnTo>
                        </a:path>
                      </a:pathLst>
                    </a:custGeom>
                    <a:ln w="6350" cap="flat">
                      <a:solidFill>
                        <a:schemeClr val="accent2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pt-PT"/>
                    </a:p>
                  </p:txBody>
                </p:sp>
                <p:sp>
                  <p:nvSpPr>
                    <p:cNvPr id="1014" name="Forma livre: Forma 1013">
                      <a:extLst>
                        <a:ext uri="{FF2B5EF4-FFF2-40B4-BE49-F238E27FC236}">
                          <a16:creationId xmlns:a16="http://schemas.microsoft.com/office/drawing/2014/main" id="{82390212-81ED-CECD-5905-3CABE5984789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0539397" y="2059644"/>
                      <a:ext cx="1187" cy="154995"/>
                    </a:xfrm>
                    <a:custGeom>
                      <a:avLst/>
                      <a:gdLst>
                        <a:gd name="connsiteX0" fmla="*/ 0 w 1187"/>
                        <a:gd name="connsiteY0" fmla="*/ 0 h 154995"/>
                        <a:gd name="connsiteX1" fmla="*/ 0 w 1187"/>
                        <a:gd name="connsiteY1" fmla="*/ 154996 h 154995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1187" h="154995">
                          <a:moveTo>
                            <a:pt x="0" y="0"/>
                          </a:moveTo>
                          <a:lnTo>
                            <a:pt x="0" y="154996"/>
                          </a:lnTo>
                        </a:path>
                      </a:pathLst>
                    </a:custGeom>
                    <a:ln w="6350" cap="flat">
                      <a:solidFill>
                        <a:schemeClr val="accent2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pt-PT"/>
                    </a:p>
                  </p:txBody>
                </p:sp>
              </p:grpSp>
            </p:grpSp>
            <p:grpSp>
              <p:nvGrpSpPr>
                <p:cNvPr id="1015" name="Gráfico 11">
                  <a:extLst>
                    <a:ext uri="{FF2B5EF4-FFF2-40B4-BE49-F238E27FC236}">
                      <a16:creationId xmlns:a16="http://schemas.microsoft.com/office/drawing/2014/main" id="{67C17F00-3AE0-2E8A-41F6-2BEFC25F8244}"/>
                    </a:ext>
                  </a:extLst>
                </p:cNvPr>
                <p:cNvGrpSpPr/>
                <p:nvPr/>
              </p:nvGrpSpPr>
              <p:grpSpPr>
                <a:xfrm>
                  <a:off x="10724618" y="1949417"/>
                  <a:ext cx="75503" cy="265223"/>
                  <a:chOff x="10724618" y="1949417"/>
                  <a:chExt cx="75503" cy="265223"/>
                </a:xfrm>
                <a:noFill/>
              </p:grpSpPr>
              <p:sp>
                <p:nvSpPr>
                  <p:cNvPr id="1016" name="Forma livre: Forma 1015">
                    <a:extLst>
                      <a:ext uri="{FF2B5EF4-FFF2-40B4-BE49-F238E27FC236}">
                        <a16:creationId xmlns:a16="http://schemas.microsoft.com/office/drawing/2014/main" id="{C31D4A9F-D040-1E50-9389-563152B665EC}"/>
                      </a:ext>
                    </a:extLst>
                  </p:cNvPr>
                  <p:cNvSpPr/>
                  <p:nvPr/>
                </p:nvSpPr>
                <p:spPr>
                  <a:xfrm>
                    <a:off x="10724618" y="1949417"/>
                    <a:ext cx="45907" cy="45919"/>
                  </a:xfrm>
                  <a:custGeom>
                    <a:avLst/>
                    <a:gdLst>
                      <a:gd name="connsiteX0" fmla="*/ 0 w 45907"/>
                      <a:gd name="connsiteY0" fmla="*/ 22960 h 45919"/>
                      <a:gd name="connsiteX1" fmla="*/ 22948 w 45907"/>
                      <a:gd name="connsiteY1" fmla="*/ 45919 h 45919"/>
                      <a:gd name="connsiteX2" fmla="*/ 45908 w 45907"/>
                      <a:gd name="connsiteY2" fmla="*/ 22960 h 45919"/>
                      <a:gd name="connsiteX3" fmla="*/ 22948 w 45907"/>
                      <a:gd name="connsiteY3" fmla="*/ 0 h 45919"/>
                      <a:gd name="connsiteX4" fmla="*/ 0 w 45907"/>
                      <a:gd name="connsiteY4" fmla="*/ 22960 h 4591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45907" h="45919">
                        <a:moveTo>
                          <a:pt x="0" y="22960"/>
                        </a:moveTo>
                        <a:cubicBezTo>
                          <a:pt x="0" y="35639"/>
                          <a:pt x="10281" y="45919"/>
                          <a:pt x="22948" y="45919"/>
                        </a:cubicBezTo>
                        <a:cubicBezTo>
                          <a:pt x="35615" y="45919"/>
                          <a:pt x="45908" y="35639"/>
                          <a:pt x="45908" y="22960"/>
                        </a:cubicBezTo>
                        <a:cubicBezTo>
                          <a:pt x="45908" y="10281"/>
                          <a:pt x="35627" y="0"/>
                          <a:pt x="22948" y="0"/>
                        </a:cubicBezTo>
                        <a:cubicBezTo>
                          <a:pt x="10269" y="0"/>
                          <a:pt x="0" y="10269"/>
                          <a:pt x="0" y="22960"/>
                        </a:cubicBezTo>
                        <a:close/>
                      </a:path>
                    </a:pathLst>
                  </a:custGeom>
                  <a:noFill/>
                  <a:ln w="6350" cap="flat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1017" name="Forma livre: Forma 1016">
                    <a:extLst>
                      <a:ext uri="{FF2B5EF4-FFF2-40B4-BE49-F238E27FC236}">
                        <a16:creationId xmlns:a16="http://schemas.microsoft.com/office/drawing/2014/main" id="{A4DD6593-A790-4394-95AE-B648826CA486}"/>
                      </a:ext>
                    </a:extLst>
                  </p:cNvPr>
                  <p:cNvSpPr/>
                  <p:nvPr/>
                </p:nvSpPr>
                <p:spPr>
                  <a:xfrm>
                    <a:off x="10734875" y="2019946"/>
                    <a:ext cx="65246" cy="109622"/>
                  </a:xfrm>
                  <a:custGeom>
                    <a:avLst/>
                    <a:gdLst>
                      <a:gd name="connsiteX0" fmla="*/ 42714 w 65246"/>
                      <a:gd name="connsiteY0" fmla="*/ 109622 h 109622"/>
                      <a:gd name="connsiteX1" fmla="*/ 65246 w 65246"/>
                      <a:gd name="connsiteY1" fmla="*/ 79136 h 109622"/>
                      <a:gd name="connsiteX2" fmla="*/ 65246 w 65246"/>
                      <a:gd name="connsiteY2" fmla="*/ 30474 h 109622"/>
                      <a:gd name="connsiteX3" fmla="*/ 34772 w 65246"/>
                      <a:gd name="connsiteY3" fmla="*/ 0 h 109622"/>
                      <a:gd name="connsiteX4" fmla="*/ 0 w 65246"/>
                      <a:gd name="connsiteY4" fmla="*/ 0 h 10962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65246" h="109622">
                        <a:moveTo>
                          <a:pt x="42714" y="109622"/>
                        </a:moveTo>
                        <a:cubicBezTo>
                          <a:pt x="59477" y="109622"/>
                          <a:pt x="65246" y="95899"/>
                          <a:pt x="65246" y="79136"/>
                        </a:cubicBezTo>
                        <a:lnTo>
                          <a:pt x="65246" y="30474"/>
                        </a:lnTo>
                        <a:cubicBezTo>
                          <a:pt x="65246" y="13712"/>
                          <a:pt x="51535" y="0"/>
                          <a:pt x="34772" y="0"/>
                        </a:cubicBezTo>
                        <a:lnTo>
                          <a:pt x="0" y="0"/>
                        </a:lnTo>
                      </a:path>
                    </a:pathLst>
                  </a:custGeom>
                  <a:noFill/>
                  <a:ln w="6350" cap="flat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grpSp>
                <p:nvGrpSpPr>
                  <p:cNvPr id="1018" name="Gráfico 11">
                    <a:extLst>
                      <a:ext uri="{FF2B5EF4-FFF2-40B4-BE49-F238E27FC236}">
                        <a16:creationId xmlns:a16="http://schemas.microsoft.com/office/drawing/2014/main" id="{5B5B0B20-C008-9494-75C1-C0D02F040F6E}"/>
                      </a:ext>
                    </a:extLst>
                  </p:cNvPr>
                  <p:cNvGrpSpPr/>
                  <p:nvPr/>
                </p:nvGrpSpPr>
                <p:grpSpPr>
                  <a:xfrm>
                    <a:off x="10747578" y="2059644"/>
                    <a:ext cx="30272" cy="154995"/>
                    <a:chOff x="10747578" y="2059644"/>
                    <a:chExt cx="30272" cy="154995"/>
                  </a:xfrm>
                </p:grpSpPr>
                <p:sp>
                  <p:nvSpPr>
                    <p:cNvPr id="1019" name="Forma livre: Forma 1018">
                      <a:extLst>
                        <a:ext uri="{FF2B5EF4-FFF2-40B4-BE49-F238E27FC236}">
                          <a16:creationId xmlns:a16="http://schemas.microsoft.com/office/drawing/2014/main" id="{E7420AAE-8634-AF90-0000-74AF4C1FF60E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0747578" y="2130898"/>
                      <a:ext cx="1187" cy="83742"/>
                    </a:xfrm>
                    <a:custGeom>
                      <a:avLst/>
                      <a:gdLst>
                        <a:gd name="connsiteX0" fmla="*/ 0 w 1187"/>
                        <a:gd name="connsiteY0" fmla="*/ 0 h 83742"/>
                        <a:gd name="connsiteX1" fmla="*/ 0 w 1187"/>
                        <a:gd name="connsiteY1" fmla="*/ 83742 h 83742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1187" h="83742">
                          <a:moveTo>
                            <a:pt x="0" y="0"/>
                          </a:moveTo>
                          <a:lnTo>
                            <a:pt x="0" y="83742"/>
                          </a:lnTo>
                        </a:path>
                      </a:pathLst>
                    </a:custGeom>
                    <a:ln w="6350" cap="flat">
                      <a:solidFill>
                        <a:schemeClr val="accent2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pt-PT"/>
                    </a:p>
                  </p:txBody>
                </p:sp>
                <p:sp>
                  <p:nvSpPr>
                    <p:cNvPr id="1020" name="Forma livre: Forma 1019">
                      <a:extLst>
                        <a:ext uri="{FF2B5EF4-FFF2-40B4-BE49-F238E27FC236}">
                          <a16:creationId xmlns:a16="http://schemas.microsoft.com/office/drawing/2014/main" id="{6DBF7558-29E6-D22F-A1E1-BF6DC05A0FED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0777850" y="2059644"/>
                      <a:ext cx="1187" cy="154995"/>
                    </a:xfrm>
                    <a:custGeom>
                      <a:avLst/>
                      <a:gdLst>
                        <a:gd name="connsiteX0" fmla="*/ 0 w 1187"/>
                        <a:gd name="connsiteY0" fmla="*/ 0 h 154995"/>
                        <a:gd name="connsiteX1" fmla="*/ 0 w 1187"/>
                        <a:gd name="connsiteY1" fmla="*/ 154996 h 154995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1187" h="154995">
                          <a:moveTo>
                            <a:pt x="0" y="0"/>
                          </a:moveTo>
                          <a:lnTo>
                            <a:pt x="0" y="154996"/>
                          </a:lnTo>
                        </a:path>
                      </a:pathLst>
                    </a:custGeom>
                    <a:ln w="6350" cap="flat">
                      <a:solidFill>
                        <a:schemeClr val="accent2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pt-PT"/>
                    </a:p>
                  </p:txBody>
                </p:sp>
              </p:grpSp>
            </p:grpSp>
          </p:grpSp>
        </p:grpSp>
        <p:grpSp>
          <p:nvGrpSpPr>
            <p:cNvPr id="1021" name="Gráfico 11">
              <a:extLst>
                <a:ext uri="{FF2B5EF4-FFF2-40B4-BE49-F238E27FC236}">
                  <a16:creationId xmlns:a16="http://schemas.microsoft.com/office/drawing/2014/main" id="{5CD740B4-AD8E-B81A-040B-66E4013D8B3D}"/>
                </a:ext>
              </a:extLst>
            </p:cNvPr>
            <p:cNvGrpSpPr/>
            <p:nvPr/>
          </p:nvGrpSpPr>
          <p:grpSpPr>
            <a:xfrm>
              <a:off x="10601770" y="2157443"/>
              <a:ext cx="113718" cy="113718"/>
              <a:chOff x="10601770" y="2157443"/>
              <a:chExt cx="113718" cy="113718"/>
            </a:xfrm>
            <a:noFill/>
          </p:grpSpPr>
          <p:sp>
            <p:nvSpPr>
              <p:cNvPr id="1022" name="Forma livre: Forma 1021">
                <a:extLst>
                  <a:ext uri="{FF2B5EF4-FFF2-40B4-BE49-F238E27FC236}">
                    <a16:creationId xmlns:a16="http://schemas.microsoft.com/office/drawing/2014/main" id="{030B388C-9C7D-F684-BBB2-6D3E10FE4443}"/>
                  </a:ext>
                </a:extLst>
              </p:cNvPr>
              <p:cNvSpPr/>
              <p:nvPr/>
            </p:nvSpPr>
            <p:spPr>
              <a:xfrm>
                <a:off x="10601770" y="2157443"/>
                <a:ext cx="113718" cy="113718"/>
              </a:xfrm>
              <a:custGeom>
                <a:avLst/>
                <a:gdLst>
                  <a:gd name="connsiteX0" fmla="*/ 25061 w 113718"/>
                  <a:gd name="connsiteY0" fmla="*/ 9711 h 113718"/>
                  <a:gd name="connsiteX1" fmla="*/ 56853 w 113718"/>
                  <a:gd name="connsiteY1" fmla="*/ 0 h 113718"/>
                  <a:gd name="connsiteX2" fmla="*/ 113718 w 113718"/>
                  <a:gd name="connsiteY2" fmla="*/ 56865 h 113718"/>
                  <a:gd name="connsiteX3" fmla="*/ 56853 w 113718"/>
                  <a:gd name="connsiteY3" fmla="*/ 113718 h 113718"/>
                  <a:gd name="connsiteX4" fmla="*/ 0 w 113718"/>
                  <a:gd name="connsiteY4" fmla="*/ 56865 h 113718"/>
                  <a:gd name="connsiteX5" fmla="*/ 7360 w 113718"/>
                  <a:gd name="connsiteY5" fmla="*/ 28848 h 1137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13718" h="113718">
                    <a:moveTo>
                      <a:pt x="25061" y="9711"/>
                    </a:moveTo>
                    <a:cubicBezTo>
                      <a:pt x="34131" y="3585"/>
                      <a:pt x="45076" y="0"/>
                      <a:pt x="56853" y="0"/>
                    </a:cubicBezTo>
                    <a:cubicBezTo>
                      <a:pt x="88265" y="0"/>
                      <a:pt x="113718" y="25465"/>
                      <a:pt x="113718" y="56865"/>
                    </a:cubicBezTo>
                    <a:cubicBezTo>
                      <a:pt x="113718" y="88265"/>
                      <a:pt x="88254" y="113718"/>
                      <a:pt x="56853" y="113718"/>
                    </a:cubicBezTo>
                    <a:cubicBezTo>
                      <a:pt x="25453" y="113718"/>
                      <a:pt x="0" y="88254"/>
                      <a:pt x="0" y="56865"/>
                    </a:cubicBezTo>
                    <a:cubicBezTo>
                      <a:pt x="0" y="46667"/>
                      <a:pt x="2683" y="37123"/>
                      <a:pt x="7360" y="28848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023" name="Forma livre: Forma 1022">
                <a:extLst>
                  <a:ext uri="{FF2B5EF4-FFF2-40B4-BE49-F238E27FC236}">
                    <a16:creationId xmlns:a16="http://schemas.microsoft.com/office/drawing/2014/main" id="{19EB2CA5-7B92-0F07-215B-76E3AC625C3E}"/>
                  </a:ext>
                </a:extLst>
              </p:cNvPr>
              <p:cNvSpPr/>
              <p:nvPr/>
            </p:nvSpPr>
            <p:spPr>
              <a:xfrm>
                <a:off x="10636234" y="2191906"/>
                <a:ext cx="44779" cy="44779"/>
              </a:xfrm>
              <a:custGeom>
                <a:avLst/>
                <a:gdLst>
                  <a:gd name="connsiteX0" fmla="*/ 44780 w 44779"/>
                  <a:gd name="connsiteY0" fmla="*/ 0 h 44779"/>
                  <a:gd name="connsiteX1" fmla="*/ 0 w 44779"/>
                  <a:gd name="connsiteY1" fmla="*/ 44780 h 447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4779" h="44779">
                    <a:moveTo>
                      <a:pt x="44780" y="0"/>
                    </a:moveTo>
                    <a:lnTo>
                      <a:pt x="0" y="4478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024" name="Forma livre: Forma 1023">
                <a:extLst>
                  <a:ext uri="{FF2B5EF4-FFF2-40B4-BE49-F238E27FC236}">
                    <a16:creationId xmlns:a16="http://schemas.microsoft.com/office/drawing/2014/main" id="{EAC088AE-A97A-9E99-7374-28166D742B20}"/>
                  </a:ext>
                </a:extLst>
              </p:cNvPr>
              <p:cNvSpPr/>
              <p:nvPr/>
            </p:nvSpPr>
            <p:spPr>
              <a:xfrm>
                <a:off x="10636234" y="2191906"/>
                <a:ext cx="44779" cy="44779"/>
              </a:xfrm>
              <a:custGeom>
                <a:avLst/>
                <a:gdLst>
                  <a:gd name="connsiteX0" fmla="*/ 44780 w 44779"/>
                  <a:gd name="connsiteY0" fmla="*/ 44780 h 44779"/>
                  <a:gd name="connsiteX1" fmla="*/ 0 w 44779"/>
                  <a:gd name="connsiteY1" fmla="*/ 0 h 447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4779" h="44779">
                    <a:moveTo>
                      <a:pt x="44780" y="44780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025" name="Gráfico 11">
            <a:extLst>
              <a:ext uri="{FF2B5EF4-FFF2-40B4-BE49-F238E27FC236}">
                <a16:creationId xmlns:a16="http://schemas.microsoft.com/office/drawing/2014/main" id="{35FEB164-2AEF-00B6-EC35-815EEC3D268B}"/>
              </a:ext>
            </a:extLst>
          </p:cNvPr>
          <p:cNvGrpSpPr/>
          <p:nvPr/>
        </p:nvGrpSpPr>
        <p:grpSpPr>
          <a:xfrm>
            <a:off x="10524308" y="3063816"/>
            <a:ext cx="268630" cy="358783"/>
            <a:chOff x="10524308" y="3063816"/>
            <a:chExt cx="268630" cy="358783"/>
          </a:xfrm>
        </p:grpSpPr>
        <p:grpSp>
          <p:nvGrpSpPr>
            <p:cNvPr id="1026" name="Gráfico 11">
              <a:extLst>
                <a:ext uri="{FF2B5EF4-FFF2-40B4-BE49-F238E27FC236}">
                  <a16:creationId xmlns:a16="http://schemas.microsoft.com/office/drawing/2014/main" id="{66EFE583-CBCC-297E-44A4-B7431B5DDF28}"/>
                </a:ext>
              </a:extLst>
            </p:cNvPr>
            <p:cNvGrpSpPr/>
            <p:nvPr/>
          </p:nvGrpSpPr>
          <p:grpSpPr>
            <a:xfrm>
              <a:off x="10575890" y="3101758"/>
              <a:ext cx="174643" cy="320842"/>
              <a:chOff x="10575890" y="3101758"/>
              <a:chExt cx="174643" cy="320842"/>
            </a:xfrm>
            <a:noFill/>
          </p:grpSpPr>
          <p:grpSp>
            <p:nvGrpSpPr>
              <p:cNvPr id="1027" name="Gráfico 11">
                <a:extLst>
                  <a:ext uri="{FF2B5EF4-FFF2-40B4-BE49-F238E27FC236}">
                    <a16:creationId xmlns:a16="http://schemas.microsoft.com/office/drawing/2014/main" id="{4819510F-4C92-2886-544A-8336B7B8491C}"/>
                  </a:ext>
                </a:extLst>
              </p:cNvPr>
              <p:cNvGrpSpPr/>
              <p:nvPr/>
            </p:nvGrpSpPr>
            <p:grpSpPr>
              <a:xfrm>
                <a:off x="10576175" y="3101758"/>
                <a:ext cx="174358" cy="297419"/>
                <a:chOff x="10576175" y="3101758"/>
                <a:chExt cx="174358" cy="297419"/>
              </a:xfrm>
              <a:noFill/>
            </p:grpSpPr>
            <p:sp>
              <p:nvSpPr>
                <p:cNvPr id="1028" name="Forma livre: Forma 1027">
                  <a:extLst>
                    <a:ext uri="{FF2B5EF4-FFF2-40B4-BE49-F238E27FC236}">
                      <a16:creationId xmlns:a16="http://schemas.microsoft.com/office/drawing/2014/main" id="{3B6765E9-F617-B78A-3A40-AB587392D5EA}"/>
                    </a:ext>
                  </a:extLst>
                </p:cNvPr>
                <p:cNvSpPr/>
                <p:nvPr/>
              </p:nvSpPr>
              <p:spPr>
                <a:xfrm>
                  <a:off x="10608312" y="3121263"/>
                  <a:ext cx="35567" cy="62741"/>
                </a:xfrm>
                <a:custGeom>
                  <a:avLst/>
                  <a:gdLst>
                    <a:gd name="connsiteX0" fmla="*/ 0 w 35567"/>
                    <a:gd name="connsiteY0" fmla="*/ 62741 h 62741"/>
                    <a:gd name="connsiteX1" fmla="*/ 0 w 35567"/>
                    <a:gd name="connsiteY1" fmla="*/ 18365 h 62741"/>
                    <a:gd name="connsiteX2" fmla="*/ 17784 w 35567"/>
                    <a:gd name="connsiteY2" fmla="*/ 0 h 62741"/>
                    <a:gd name="connsiteX3" fmla="*/ 35567 w 35567"/>
                    <a:gd name="connsiteY3" fmla="*/ 18365 h 6274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35567" h="62741">
                      <a:moveTo>
                        <a:pt x="0" y="62741"/>
                      </a:moveTo>
                      <a:lnTo>
                        <a:pt x="0" y="18365"/>
                      </a:lnTo>
                      <a:cubicBezTo>
                        <a:pt x="0" y="8274"/>
                        <a:pt x="8001" y="0"/>
                        <a:pt x="17784" y="0"/>
                      </a:cubicBezTo>
                      <a:cubicBezTo>
                        <a:pt x="27566" y="0"/>
                        <a:pt x="35567" y="8274"/>
                        <a:pt x="35567" y="18365"/>
                      </a:cubicBez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029" name="Forma livre: Forma 1028">
                  <a:extLst>
                    <a:ext uri="{FF2B5EF4-FFF2-40B4-BE49-F238E27FC236}">
                      <a16:creationId xmlns:a16="http://schemas.microsoft.com/office/drawing/2014/main" id="{1FFCA969-9995-4809-CE66-03D36CE16C9F}"/>
                    </a:ext>
                  </a:extLst>
                </p:cNvPr>
                <p:cNvSpPr/>
                <p:nvPr/>
              </p:nvSpPr>
              <p:spPr>
                <a:xfrm>
                  <a:off x="10643867" y="3101758"/>
                  <a:ext cx="35543" cy="134956"/>
                </a:xfrm>
                <a:custGeom>
                  <a:avLst/>
                  <a:gdLst>
                    <a:gd name="connsiteX0" fmla="*/ 0 w 35543"/>
                    <a:gd name="connsiteY0" fmla="*/ 134956 h 134956"/>
                    <a:gd name="connsiteX1" fmla="*/ 0 w 35543"/>
                    <a:gd name="connsiteY1" fmla="*/ 18377 h 134956"/>
                    <a:gd name="connsiteX2" fmla="*/ 17772 w 35543"/>
                    <a:gd name="connsiteY2" fmla="*/ 0 h 134956"/>
                    <a:gd name="connsiteX3" fmla="*/ 35544 w 35543"/>
                    <a:gd name="connsiteY3" fmla="*/ 18377 h 134956"/>
                    <a:gd name="connsiteX4" fmla="*/ 35544 w 35543"/>
                    <a:gd name="connsiteY4" fmla="*/ 134956 h 13495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5543" h="134956">
                      <a:moveTo>
                        <a:pt x="0" y="134956"/>
                      </a:moveTo>
                      <a:lnTo>
                        <a:pt x="0" y="18377"/>
                      </a:lnTo>
                      <a:cubicBezTo>
                        <a:pt x="0" y="8286"/>
                        <a:pt x="7990" y="0"/>
                        <a:pt x="17772" y="0"/>
                      </a:cubicBezTo>
                      <a:cubicBezTo>
                        <a:pt x="27554" y="0"/>
                        <a:pt x="35544" y="8286"/>
                        <a:pt x="35544" y="18377"/>
                      </a:cubicBezTo>
                      <a:lnTo>
                        <a:pt x="35544" y="134956"/>
                      </a:ln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030" name="Forma livre: Forma 1029">
                  <a:extLst>
                    <a:ext uri="{FF2B5EF4-FFF2-40B4-BE49-F238E27FC236}">
                      <a16:creationId xmlns:a16="http://schemas.microsoft.com/office/drawing/2014/main" id="{87CDAD7F-CEBA-C8CC-0A52-FBC7D20E8C9B}"/>
                    </a:ext>
                  </a:extLst>
                </p:cNvPr>
                <p:cNvSpPr/>
                <p:nvPr/>
              </p:nvSpPr>
              <p:spPr>
                <a:xfrm>
                  <a:off x="10679423" y="3121524"/>
                  <a:ext cx="35567" cy="56615"/>
                </a:xfrm>
                <a:custGeom>
                  <a:avLst/>
                  <a:gdLst>
                    <a:gd name="connsiteX0" fmla="*/ 0 w 35567"/>
                    <a:gd name="connsiteY0" fmla="*/ 18377 h 56615"/>
                    <a:gd name="connsiteX1" fmla="*/ 17784 w 35567"/>
                    <a:gd name="connsiteY1" fmla="*/ 0 h 56615"/>
                    <a:gd name="connsiteX2" fmla="*/ 35567 w 35567"/>
                    <a:gd name="connsiteY2" fmla="*/ 18377 h 56615"/>
                    <a:gd name="connsiteX3" fmla="*/ 35567 w 35567"/>
                    <a:gd name="connsiteY3" fmla="*/ 56616 h 5661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35567" h="56615">
                      <a:moveTo>
                        <a:pt x="0" y="18377"/>
                      </a:moveTo>
                      <a:cubicBezTo>
                        <a:pt x="0" y="8263"/>
                        <a:pt x="8002" y="0"/>
                        <a:pt x="17784" y="0"/>
                      </a:cubicBezTo>
                      <a:cubicBezTo>
                        <a:pt x="27566" y="0"/>
                        <a:pt x="35567" y="8263"/>
                        <a:pt x="35567" y="18377"/>
                      </a:cubicBezTo>
                      <a:lnTo>
                        <a:pt x="35567" y="56616"/>
                      </a:ln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031" name="Forma livre: Forma 1030">
                  <a:extLst>
                    <a:ext uri="{FF2B5EF4-FFF2-40B4-BE49-F238E27FC236}">
                      <a16:creationId xmlns:a16="http://schemas.microsoft.com/office/drawing/2014/main" id="{BBEE4AB8-D7F5-A1B2-565D-FB206A3D05B1}"/>
                    </a:ext>
                  </a:extLst>
                </p:cNvPr>
                <p:cNvSpPr/>
                <p:nvPr/>
              </p:nvSpPr>
              <p:spPr>
                <a:xfrm>
                  <a:off x="10709707" y="3156854"/>
                  <a:ext cx="40826" cy="242323"/>
                </a:xfrm>
                <a:custGeom>
                  <a:avLst/>
                  <a:gdLst>
                    <a:gd name="connsiteX0" fmla="*/ 0 w 40826"/>
                    <a:gd name="connsiteY0" fmla="*/ 242323 h 242323"/>
                    <a:gd name="connsiteX1" fmla="*/ 40826 w 40826"/>
                    <a:gd name="connsiteY1" fmla="*/ 169313 h 242323"/>
                    <a:gd name="connsiteX2" fmla="*/ 40826 w 40826"/>
                    <a:gd name="connsiteY2" fmla="*/ 18377 h 242323"/>
                    <a:gd name="connsiteX3" fmla="*/ 23055 w 40826"/>
                    <a:gd name="connsiteY3" fmla="*/ 0 h 242323"/>
                    <a:gd name="connsiteX4" fmla="*/ 5271 w 40826"/>
                    <a:gd name="connsiteY4" fmla="*/ 18377 h 242323"/>
                    <a:gd name="connsiteX5" fmla="*/ 5271 w 40826"/>
                    <a:gd name="connsiteY5" fmla="*/ 91791 h 24232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40826" h="242323">
                      <a:moveTo>
                        <a:pt x="0" y="242323"/>
                      </a:moveTo>
                      <a:cubicBezTo>
                        <a:pt x="24479" y="227199"/>
                        <a:pt x="40826" y="200072"/>
                        <a:pt x="40826" y="169313"/>
                      </a:cubicBezTo>
                      <a:lnTo>
                        <a:pt x="40826" y="18377"/>
                      </a:lnTo>
                      <a:cubicBezTo>
                        <a:pt x="40826" y="8274"/>
                        <a:pt x="32825" y="0"/>
                        <a:pt x="23055" y="0"/>
                      </a:cubicBezTo>
                      <a:cubicBezTo>
                        <a:pt x="13284" y="0"/>
                        <a:pt x="5271" y="8274"/>
                        <a:pt x="5271" y="18377"/>
                      </a:cubicBezTo>
                      <a:lnTo>
                        <a:pt x="5271" y="91791"/>
                      </a:ln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032" name="Forma livre: Forma 1031">
                  <a:extLst>
                    <a:ext uri="{FF2B5EF4-FFF2-40B4-BE49-F238E27FC236}">
                      <a16:creationId xmlns:a16="http://schemas.microsoft.com/office/drawing/2014/main" id="{DFBA2FD4-D78E-08D8-2427-C6BD34979154}"/>
                    </a:ext>
                  </a:extLst>
                </p:cNvPr>
                <p:cNvSpPr/>
                <p:nvPr/>
              </p:nvSpPr>
              <p:spPr>
                <a:xfrm>
                  <a:off x="10576175" y="3206564"/>
                  <a:ext cx="81747" cy="170057"/>
                </a:xfrm>
                <a:custGeom>
                  <a:avLst/>
                  <a:gdLst>
                    <a:gd name="connsiteX0" fmla="*/ 23031 w 81747"/>
                    <a:gd name="connsiteY0" fmla="*/ 170057 h 170057"/>
                    <a:gd name="connsiteX1" fmla="*/ 0 w 81747"/>
                    <a:gd name="connsiteY1" fmla="*/ 111768 h 170057"/>
                    <a:gd name="connsiteX2" fmla="*/ 0 w 81747"/>
                    <a:gd name="connsiteY2" fmla="*/ 10028 h 170057"/>
                    <a:gd name="connsiteX3" fmla="*/ 17748 w 81747"/>
                    <a:gd name="connsiteY3" fmla="*/ 1932 h 170057"/>
                    <a:gd name="connsiteX4" fmla="*/ 24776 w 81747"/>
                    <a:gd name="connsiteY4" fmla="*/ 6799 h 170057"/>
                    <a:gd name="connsiteX5" fmla="*/ 37265 w 81747"/>
                    <a:gd name="connsiteY5" fmla="*/ 31646 h 170057"/>
                    <a:gd name="connsiteX6" fmla="*/ 37265 w 81747"/>
                    <a:gd name="connsiteY6" fmla="*/ 79061 h 170057"/>
                    <a:gd name="connsiteX7" fmla="*/ 37372 w 81747"/>
                    <a:gd name="connsiteY7" fmla="*/ 79180 h 170057"/>
                    <a:gd name="connsiteX8" fmla="*/ 81748 w 81747"/>
                    <a:gd name="connsiteY8" fmla="*/ 133552 h 17005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81747" h="170057">
                      <a:moveTo>
                        <a:pt x="23031" y="170057"/>
                      </a:moveTo>
                      <a:cubicBezTo>
                        <a:pt x="8761" y="154731"/>
                        <a:pt x="0" y="134217"/>
                        <a:pt x="0" y="111768"/>
                      </a:cubicBezTo>
                      <a:lnTo>
                        <a:pt x="0" y="10028"/>
                      </a:lnTo>
                      <a:cubicBezTo>
                        <a:pt x="0" y="1267"/>
                        <a:pt x="10447" y="-2651"/>
                        <a:pt x="17748" y="1932"/>
                      </a:cubicBezTo>
                      <a:lnTo>
                        <a:pt x="24776" y="6799"/>
                      </a:lnTo>
                      <a:cubicBezTo>
                        <a:pt x="32872" y="13827"/>
                        <a:pt x="37265" y="22885"/>
                        <a:pt x="37265" y="31646"/>
                      </a:cubicBezTo>
                      <a:lnTo>
                        <a:pt x="37265" y="79061"/>
                      </a:lnTo>
                      <a:lnTo>
                        <a:pt x="37372" y="79180"/>
                      </a:lnTo>
                      <a:cubicBezTo>
                        <a:pt x="37372" y="79180"/>
                        <a:pt x="81748" y="97902"/>
                        <a:pt x="81748" y="133552"/>
                      </a:cubicBez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1033" name="Forma livre: Forma 1032">
                <a:extLst>
                  <a:ext uri="{FF2B5EF4-FFF2-40B4-BE49-F238E27FC236}">
                    <a16:creationId xmlns:a16="http://schemas.microsoft.com/office/drawing/2014/main" id="{DDA8E155-FC87-CFFB-4073-03CED7CC7961}"/>
                  </a:ext>
                </a:extLst>
              </p:cNvPr>
              <p:cNvSpPr/>
              <p:nvPr/>
            </p:nvSpPr>
            <p:spPr>
              <a:xfrm>
                <a:off x="10615648" y="3389763"/>
                <a:ext cx="1187" cy="32836"/>
              </a:xfrm>
              <a:custGeom>
                <a:avLst/>
                <a:gdLst>
                  <a:gd name="connsiteX0" fmla="*/ 0 w 1187"/>
                  <a:gd name="connsiteY0" fmla="*/ 32837 h 32836"/>
                  <a:gd name="connsiteX1" fmla="*/ 0 w 1187"/>
                  <a:gd name="connsiteY1" fmla="*/ 0 h 328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87" h="32836">
                    <a:moveTo>
                      <a:pt x="0" y="32837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034" name="Forma livre: Forma 1033">
                <a:extLst>
                  <a:ext uri="{FF2B5EF4-FFF2-40B4-BE49-F238E27FC236}">
                    <a16:creationId xmlns:a16="http://schemas.microsoft.com/office/drawing/2014/main" id="{4C9EEC1A-80CB-155F-510D-D86F3D2D8A5F}"/>
                  </a:ext>
                </a:extLst>
              </p:cNvPr>
              <p:cNvSpPr/>
              <p:nvPr/>
            </p:nvSpPr>
            <p:spPr>
              <a:xfrm>
                <a:off x="10727752" y="3386546"/>
                <a:ext cx="1187" cy="36054"/>
              </a:xfrm>
              <a:custGeom>
                <a:avLst/>
                <a:gdLst>
                  <a:gd name="connsiteX0" fmla="*/ 0 w 1187"/>
                  <a:gd name="connsiteY0" fmla="*/ 0 h 36054"/>
                  <a:gd name="connsiteX1" fmla="*/ 0 w 1187"/>
                  <a:gd name="connsiteY1" fmla="*/ 36054 h 360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87" h="36054">
                    <a:moveTo>
                      <a:pt x="0" y="0"/>
                    </a:moveTo>
                    <a:lnTo>
                      <a:pt x="0" y="36054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035" name="Forma livre: Forma 1034">
                <a:extLst>
                  <a:ext uri="{FF2B5EF4-FFF2-40B4-BE49-F238E27FC236}">
                    <a16:creationId xmlns:a16="http://schemas.microsoft.com/office/drawing/2014/main" id="{EA99D13B-C1D4-DFFE-ECF6-F6F15AA64492}"/>
                  </a:ext>
                </a:extLst>
              </p:cNvPr>
              <p:cNvSpPr/>
              <p:nvPr/>
            </p:nvSpPr>
            <p:spPr>
              <a:xfrm>
                <a:off x="10575890" y="3206321"/>
                <a:ext cx="81747" cy="183406"/>
              </a:xfrm>
              <a:custGeom>
                <a:avLst/>
                <a:gdLst>
                  <a:gd name="connsiteX0" fmla="*/ 38808 w 81747"/>
                  <a:gd name="connsiteY0" fmla="*/ 183406 h 183406"/>
                  <a:gd name="connsiteX1" fmla="*/ 0 w 81747"/>
                  <a:gd name="connsiteY1" fmla="*/ 111773 h 183406"/>
                  <a:gd name="connsiteX2" fmla="*/ 0 w 81747"/>
                  <a:gd name="connsiteY2" fmla="*/ 10033 h 183406"/>
                  <a:gd name="connsiteX3" fmla="*/ 17748 w 81747"/>
                  <a:gd name="connsiteY3" fmla="*/ 1937 h 183406"/>
                  <a:gd name="connsiteX4" fmla="*/ 24776 w 81747"/>
                  <a:gd name="connsiteY4" fmla="*/ 6792 h 183406"/>
                  <a:gd name="connsiteX5" fmla="*/ 37265 w 81747"/>
                  <a:gd name="connsiteY5" fmla="*/ 31628 h 183406"/>
                  <a:gd name="connsiteX6" fmla="*/ 37265 w 81747"/>
                  <a:gd name="connsiteY6" fmla="*/ 79043 h 183406"/>
                  <a:gd name="connsiteX7" fmla="*/ 37372 w 81747"/>
                  <a:gd name="connsiteY7" fmla="*/ 79161 h 183406"/>
                  <a:gd name="connsiteX8" fmla="*/ 81748 w 81747"/>
                  <a:gd name="connsiteY8" fmla="*/ 133533 h 1834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81747" h="183406">
                    <a:moveTo>
                      <a:pt x="38808" y="183406"/>
                    </a:moveTo>
                    <a:cubicBezTo>
                      <a:pt x="15481" y="168044"/>
                      <a:pt x="0" y="141630"/>
                      <a:pt x="0" y="111773"/>
                    </a:cubicBezTo>
                    <a:lnTo>
                      <a:pt x="0" y="10033"/>
                    </a:lnTo>
                    <a:cubicBezTo>
                      <a:pt x="0" y="1272"/>
                      <a:pt x="10447" y="-2658"/>
                      <a:pt x="17748" y="1937"/>
                    </a:cubicBezTo>
                    <a:lnTo>
                      <a:pt x="24776" y="6792"/>
                    </a:lnTo>
                    <a:cubicBezTo>
                      <a:pt x="32872" y="13820"/>
                      <a:pt x="37265" y="22878"/>
                      <a:pt x="37265" y="31628"/>
                    </a:cubicBezTo>
                    <a:lnTo>
                      <a:pt x="37265" y="79043"/>
                    </a:lnTo>
                    <a:lnTo>
                      <a:pt x="37372" y="79161"/>
                    </a:lnTo>
                    <a:cubicBezTo>
                      <a:pt x="37372" y="79161"/>
                      <a:pt x="81748" y="97883"/>
                      <a:pt x="81748" y="133533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036" name="Forma livre: Forma 1035">
              <a:extLst>
                <a:ext uri="{FF2B5EF4-FFF2-40B4-BE49-F238E27FC236}">
                  <a16:creationId xmlns:a16="http://schemas.microsoft.com/office/drawing/2014/main" id="{77699549-C6DB-5BC1-724E-AC10704C3326}"/>
                </a:ext>
              </a:extLst>
            </p:cNvPr>
            <p:cNvSpPr/>
            <p:nvPr/>
          </p:nvSpPr>
          <p:spPr>
            <a:xfrm>
              <a:off x="10701907" y="3063816"/>
              <a:ext cx="7122" cy="7122"/>
            </a:xfrm>
            <a:custGeom>
              <a:avLst/>
              <a:gdLst>
                <a:gd name="connsiteX0" fmla="*/ 0 w 7122"/>
                <a:gd name="connsiteY0" fmla="*/ 3561 h 7122"/>
                <a:gd name="connsiteX1" fmla="*/ 3550 w 7122"/>
                <a:gd name="connsiteY1" fmla="*/ 7123 h 7122"/>
                <a:gd name="connsiteX2" fmla="*/ 7123 w 7122"/>
                <a:gd name="connsiteY2" fmla="*/ 3561 h 7122"/>
                <a:gd name="connsiteX3" fmla="*/ 3550 w 7122"/>
                <a:gd name="connsiteY3" fmla="*/ 0 h 7122"/>
                <a:gd name="connsiteX4" fmla="*/ 0 w 7122"/>
                <a:gd name="connsiteY4" fmla="*/ 3561 h 71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22" h="7122">
                  <a:moveTo>
                    <a:pt x="0" y="3561"/>
                  </a:moveTo>
                  <a:cubicBezTo>
                    <a:pt x="0" y="5532"/>
                    <a:pt x="1591" y="7123"/>
                    <a:pt x="3550" y="7123"/>
                  </a:cubicBezTo>
                  <a:cubicBezTo>
                    <a:pt x="5508" y="7123"/>
                    <a:pt x="7123" y="5532"/>
                    <a:pt x="7123" y="3561"/>
                  </a:cubicBezTo>
                  <a:cubicBezTo>
                    <a:pt x="7123" y="1591"/>
                    <a:pt x="5508" y="0"/>
                    <a:pt x="3550" y="0"/>
                  </a:cubicBezTo>
                  <a:cubicBezTo>
                    <a:pt x="1591" y="0"/>
                    <a:pt x="0" y="1591"/>
                    <a:pt x="0" y="3561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37" name="Forma livre: Forma 1036">
              <a:extLst>
                <a:ext uri="{FF2B5EF4-FFF2-40B4-BE49-F238E27FC236}">
                  <a16:creationId xmlns:a16="http://schemas.microsoft.com/office/drawing/2014/main" id="{F780D442-CC90-7D68-DD48-FE686D09AD86}"/>
                </a:ext>
              </a:extLst>
            </p:cNvPr>
            <p:cNvSpPr/>
            <p:nvPr/>
          </p:nvSpPr>
          <p:spPr>
            <a:xfrm>
              <a:off x="10579381" y="3108216"/>
              <a:ext cx="7122" cy="7122"/>
            </a:xfrm>
            <a:custGeom>
              <a:avLst/>
              <a:gdLst>
                <a:gd name="connsiteX0" fmla="*/ 0 w 7122"/>
                <a:gd name="connsiteY0" fmla="*/ 3561 h 7122"/>
                <a:gd name="connsiteX1" fmla="*/ 3550 w 7122"/>
                <a:gd name="connsiteY1" fmla="*/ 7123 h 7122"/>
                <a:gd name="connsiteX2" fmla="*/ 7123 w 7122"/>
                <a:gd name="connsiteY2" fmla="*/ 3561 h 7122"/>
                <a:gd name="connsiteX3" fmla="*/ 3550 w 7122"/>
                <a:gd name="connsiteY3" fmla="*/ 0 h 7122"/>
                <a:gd name="connsiteX4" fmla="*/ 0 w 7122"/>
                <a:gd name="connsiteY4" fmla="*/ 3561 h 71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22" h="7122">
                  <a:moveTo>
                    <a:pt x="0" y="3561"/>
                  </a:moveTo>
                  <a:cubicBezTo>
                    <a:pt x="0" y="5532"/>
                    <a:pt x="1591" y="7123"/>
                    <a:pt x="3550" y="7123"/>
                  </a:cubicBezTo>
                  <a:cubicBezTo>
                    <a:pt x="5508" y="7123"/>
                    <a:pt x="7123" y="5532"/>
                    <a:pt x="7123" y="3561"/>
                  </a:cubicBezTo>
                  <a:cubicBezTo>
                    <a:pt x="7123" y="1591"/>
                    <a:pt x="5508" y="0"/>
                    <a:pt x="3550" y="0"/>
                  </a:cubicBezTo>
                  <a:cubicBezTo>
                    <a:pt x="1591" y="0"/>
                    <a:pt x="0" y="1591"/>
                    <a:pt x="0" y="3561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38" name="Forma livre: Forma 1037">
              <a:extLst>
                <a:ext uri="{FF2B5EF4-FFF2-40B4-BE49-F238E27FC236}">
                  <a16:creationId xmlns:a16="http://schemas.microsoft.com/office/drawing/2014/main" id="{B10C4332-3153-D3AE-1507-6E1A25F3A981}"/>
                </a:ext>
              </a:extLst>
            </p:cNvPr>
            <p:cNvSpPr/>
            <p:nvPr/>
          </p:nvSpPr>
          <p:spPr>
            <a:xfrm>
              <a:off x="10596013" y="3073468"/>
              <a:ext cx="7122" cy="7122"/>
            </a:xfrm>
            <a:custGeom>
              <a:avLst/>
              <a:gdLst>
                <a:gd name="connsiteX0" fmla="*/ 0 w 7122"/>
                <a:gd name="connsiteY0" fmla="*/ 3561 h 7122"/>
                <a:gd name="connsiteX1" fmla="*/ 3550 w 7122"/>
                <a:gd name="connsiteY1" fmla="*/ 7123 h 7122"/>
                <a:gd name="connsiteX2" fmla="*/ 7123 w 7122"/>
                <a:gd name="connsiteY2" fmla="*/ 3561 h 7122"/>
                <a:gd name="connsiteX3" fmla="*/ 3550 w 7122"/>
                <a:gd name="connsiteY3" fmla="*/ 0 h 7122"/>
                <a:gd name="connsiteX4" fmla="*/ 0 w 7122"/>
                <a:gd name="connsiteY4" fmla="*/ 3561 h 71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22" h="7122">
                  <a:moveTo>
                    <a:pt x="0" y="3561"/>
                  </a:moveTo>
                  <a:cubicBezTo>
                    <a:pt x="0" y="5532"/>
                    <a:pt x="1591" y="7123"/>
                    <a:pt x="3550" y="7123"/>
                  </a:cubicBezTo>
                  <a:cubicBezTo>
                    <a:pt x="5508" y="7123"/>
                    <a:pt x="7123" y="5532"/>
                    <a:pt x="7123" y="3561"/>
                  </a:cubicBezTo>
                  <a:cubicBezTo>
                    <a:pt x="7123" y="1591"/>
                    <a:pt x="5508" y="0"/>
                    <a:pt x="3550" y="0"/>
                  </a:cubicBezTo>
                  <a:cubicBezTo>
                    <a:pt x="1591" y="0"/>
                    <a:pt x="0" y="1591"/>
                    <a:pt x="0" y="3561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039" name="Gráfico 11">
              <a:extLst>
                <a:ext uri="{FF2B5EF4-FFF2-40B4-BE49-F238E27FC236}">
                  <a16:creationId xmlns:a16="http://schemas.microsoft.com/office/drawing/2014/main" id="{EDF4A088-7362-009E-5D3C-C24E53514BD8}"/>
                </a:ext>
              </a:extLst>
            </p:cNvPr>
            <p:cNvGrpSpPr/>
            <p:nvPr/>
          </p:nvGrpSpPr>
          <p:grpSpPr>
            <a:xfrm>
              <a:off x="10738591" y="3083748"/>
              <a:ext cx="54348" cy="54371"/>
              <a:chOff x="10738591" y="3083748"/>
              <a:chExt cx="54348" cy="54371"/>
            </a:xfrm>
          </p:grpSpPr>
          <p:sp>
            <p:nvSpPr>
              <p:cNvPr id="1040" name="Forma livre: Forma 1039">
                <a:extLst>
                  <a:ext uri="{FF2B5EF4-FFF2-40B4-BE49-F238E27FC236}">
                    <a16:creationId xmlns:a16="http://schemas.microsoft.com/office/drawing/2014/main" id="{B3B76278-2437-365D-AF5E-E70F641C4F8C}"/>
                  </a:ext>
                </a:extLst>
              </p:cNvPr>
              <p:cNvSpPr/>
              <p:nvPr/>
            </p:nvSpPr>
            <p:spPr>
              <a:xfrm>
                <a:off x="10765765" y="3083748"/>
                <a:ext cx="1187" cy="17320"/>
              </a:xfrm>
              <a:custGeom>
                <a:avLst/>
                <a:gdLst>
                  <a:gd name="connsiteX0" fmla="*/ 0 w 1187"/>
                  <a:gd name="connsiteY0" fmla="*/ 0 h 17320"/>
                  <a:gd name="connsiteX1" fmla="*/ 0 w 1187"/>
                  <a:gd name="connsiteY1" fmla="*/ 17321 h 173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87" h="17320">
                    <a:moveTo>
                      <a:pt x="0" y="0"/>
                    </a:moveTo>
                    <a:lnTo>
                      <a:pt x="0" y="17321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041" name="Forma livre: Forma 1040">
                <a:extLst>
                  <a:ext uri="{FF2B5EF4-FFF2-40B4-BE49-F238E27FC236}">
                    <a16:creationId xmlns:a16="http://schemas.microsoft.com/office/drawing/2014/main" id="{5BB9A7DC-59E5-AD0C-693F-2910D586C75D}"/>
                  </a:ext>
                </a:extLst>
              </p:cNvPr>
              <p:cNvSpPr/>
              <p:nvPr/>
            </p:nvSpPr>
            <p:spPr>
              <a:xfrm>
                <a:off x="10765765" y="3120800"/>
                <a:ext cx="1187" cy="17320"/>
              </a:xfrm>
              <a:custGeom>
                <a:avLst/>
                <a:gdLst>
                  <a:gd name="connsiteX0" fmla="*/ 0 w 1187"/>
                  <a:gd name="connsiteY0" fmla="*/ 0 h 17320"/>
                  <a:gd name="connsiteX1" fmla="*/ 0 w 1187"/>
                  <a:gd name="connsiteY1" fmla="*/ 17321 h 173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87" h="17320">
                    <a:moveTo>
                      <a:pt x="0" y="0"/>
                    </a:moveTo>
                    <a:lnTo>
                      <a:pt x="0" y="17321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042" name="Forma livre: Forma 1041">
                <a:extLst>
                  <a:ext uri="{FF2B5EF4-FFF2-40B4-BE49-F238E27FC236}">
                    <a16:creationId xmlns:a16="http://schemas.microsoft.com/office/drawing/2014/main" id="{97149B72-9B07-AD8F-F7B4-B32E21E46982}"/>
                  </a:ext>
                </a:extLst>
              </p:cNvPr>
              <p:cNvSpPr/>
              <p:nvPr/>
            </p:nvSpPr>
            <p:spPr>
              <a:xfrm>
                <a:off x="10775630" y="3110934"/>
                <a:ext cx="17308" cy="1187"/>
              </a:xfrm>
              <a:custGeom>
                <a:avLst/>
                <a:gdLst>
                  <a:gd name="connsiteX0" fmla="*/ 17309 w 17308"/>
                  <a:gd name="connsiteY0" fmla="*/ 0 h 1187"/>
                  <a:gd name="connsiteX1" fmla="*/ 0 w 17308"/>
                  <a:gd name="connsiteY1" fmla="*/ 0 h 11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7308" h="1187">
                    <a:moveTo>
                      <a:pt x="17309" y="0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043" name="Forma livre: Forma 1042">
                <a:extLst>
                  <a:ext uri="{FF2B5EF4-FFF2-40B4-BE49-F238E27FC236}">
                    <a16:creationId xmlns:a16="http://schemas.microsoft.com/office/drawing/2014/main" id="{B9D576D6-E3A5-AF32-44FA-0BE6078B14C8}"/>
                  </a:ext>
                </a:extLst>
              </p:cNvPr>
              <p:cNvSpPr/>
              <p:nvPr/>
            </p:nvSpPr>
            <p:spPr>
              <a:xfrm>
                <a:off x="10738591" y="3110934"/>
                <a:ext cx="17296" cy="1187"/>
              </a:xfrm>
              <a:custGeom>
                <a:avLst/>
                <a:gdLst>
                  <a:gd name="connsiteX0" fmla="*/ 17297 w 17296"/>
                  <a:gd name="connsiteY0" fmla="*/ 0 h 1187"/>
                  <a:gd name="connsiteX1" fmla="*/ 0 w 17296"/>
                  <a:gd name="connsiteY1" fmla="*/ 0 h 11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7296" h="1187">
                    <a:moveTo>
                      <a:pt x="17297" y="0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044" name="Gráfico 11">
              <a:extLst>
                <a:ext uri="{FF2B5EF4-FFF2-40B4-BE49-F238E27FC236}">
                  <a16:creationId xmlns:a16="http://schemas.microsoft.com/office/drawing/2014/main" id="{F900B5B0-6E98-2AC6-1C9D-89B19D81F31A}"/>
                </a:ext>
              </a:extLst>
            </p:cNvPr>
            <p:cNvGrpSpPr/>
            <p:nvPr/>
          </p:nvGrpSpPr>
          <p:grpSpPr>
            <a:xfrm>
              <a:off x="10524308" y="3140625"/>
              <a:ext cx="54348" cy="54360"/>
              <a:chOff x="10524308" y="3140625"/>
              <a:chExt cx="54348" cy="54360"/>
            </a:xfrm>
          </p:grpSpPr>
          <p:sp>
            <p:nvSpPr>
              <p:cNvPr id="1045" name="Forma livre: Forma 1044">
                <a:extLst>
                  <a:ext uri="{FF2B5EF4-FFF2-40B4-BE49-F238E27FC236}">
                    <a16:creationId xmlns:a16="http://schemas.microsoft.com/office/drawing/2014/main" id="{71FECBA4-3392-BB17-39D4-DB222F693699}"/>
                  </a:ext>
                </a:extLst>
              </p:cNvPr>
              <p:cNvSpPr/>
              <p:nvPr/>
            </p:nvSpPr>
            <p:spPr>
              <a:xfrm>
                <a:off x="10551482" y="3140625"/>
                <a:ext cx="1187" cy="17308"/>
              </a:xfrm>
              <a:custGeom>
                <a:avLst/>
                <a:gdLst>
                  <a:gd name="connsiteX0" fmla="*/ 0 w 1187"/>
                  <a:gd name="connsiteY0" fmla="*/ 0 h 17308"/>
                  <a:gd name="connsiteX1" fmla="*/ 0 w 1187"/>
                  <a:gd name="connsiteY1" fmla="*/ 17309 h 173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87" h="17308">
                    <a:moveTo>
                      <a:pt x="0" y="0"/>
                    </a:moveTo>
                    <a:lnTo>
                      <a:pt x="0" y="17309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046" name="Forma livre: Forma 1045">
                <a:extLst>
                  <a:ext uri="{FF2B5EF4-FFF2-40B4-BE49-F238E27FC236}">
                    <a16:creationId xmlns:a16="http://schemas.microsoft.com/office/drawing/2014/main" id="{58BD2B22-3D2C-906B-07C7-79286C502033}"/>
                  </a:ext>
                </a:extLst>
              </p:cNvPr>
              <p:cNvSpPr/>
              <p:nvPr/>
            </p:nvSpPr>
            <p:spPr>
              <a:xfrm>
                <a:off x="10551482" y="3177677"/>
                <a:ext cx="1187" cy="17308"/>
              </a:xfrm>
              <a:custGeom>
                <a:avLst/>
                <a:gdLst>
                  <a:gd name="connsiteX0" fmla="*/ 0 w 1187"/>
                  <a:gd name="connsiteY0" fmla="*/ 0 h 17308"/>
                  <a:gd name="connsiteX1" fmla="*/ 0 w 1187"/>
                  <a:gd name="connsiteY1" fmla="*/ 17309 h 173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87" h="17308">
                    <a:moveTo>
                      <a:pt x="0" y="0"/>
                    </a:moveTo>
                    <a:lnTo>
                      <a:pt x="0" y="17309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047" name="Forma livre: Forma 1046">
                <a:extLst>
                  <a:ext uri="{FF2B5EF4-FFF2-40B4-BE49-F238E27FC236}">
                    <a16:creationId xmlns:a16="http://schemas.microsoft.com/office/drawing/2014/main" id="{9AFBB1AC-CA3C-E86A-C1C2-D066DD543FB9}"/>
                  </a:ext>
                </a:extLst>
              </p:cNvPr>
              <p:cNvSpPr/>
              <p:nvPr/>
            </p:nvSpPr>
            <p:spPr>
              <a:xfrm>
                <a:off x="10561359" y="3167799"/>
                <a:ext cx="17296" cy="1187"/>
              </a:xfrm>
              <a:custGeom>
                <a:avLst/>
                <a:gdLst>
                  <a:gd name="connsiteX0" fmla="*/ 17297 w 17296"/>
                  <a:gd name="connsiteY0" fmla="*/ 0 h 1187"/>
                  <a:gd name="connsiteX1" fmla="*/ 0 w 17296"/>
                  <a:gd name="connsiteY1" fmla="*/ 0 h 11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7296" h="1187">
                    <a:moveTo>
                      <a:pt x="17297" y="0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048" name="Forma livre: Forma 1047">
                <a:extLst>
                  <a:ext uri="{FF2B5EF4-FFF2-40B4-BE49-F238E27FC236}">
                    <a16:creationId xmlns:a16="http://schemas.microsoft.com/office/drawing/2014/main" id="{69A2403C-0542-EE0F-8960-B473DBEF6555}"/>
                  </a:ext>
                </a:extLst>
              </p:cNvPr>
              <p:cNvSpPr/>
              <p:nvPr/>
            </p:nvSpPr>
            <p:spPr>
              <a:xfrm>
                <a:off x="10524308" y="3167799"/>
                <a:ext cx="17308" cy="1187"/>
              </a:xfrm>
              <a:custGeom>
                <a:avLst/>
                <a:gdLst>
                  <a:gd name="connsiteX0" fmla="*/ 17309 w 17308"/>
                  <a:gd name="connsiteY0" fmla="*/ 0 h 1187"/>
                  <a:gd name="connsiteX1" fmla="*/ 0 w 17308"/>
                  <a:gd name="connsiteY1" fmla="*/ 0 h 11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7308" h="1187">
                    <a:moveTo>
                      <a:pt x="17309" y="0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049" name="Gráfico 11">
            <a:extLst>
              <a:ext uri="{FF2B5EF4-FFF2-40B4-BE49-F238E27FC236}">
                <a16:creationId xmlns:a16="http://schemas.microsoft.com/office/drawing/2014/main" id="{E59B96A6-60A8-A6AD-3294-5A76E693FAC2}"/>
              </a:ext>
            </a:extLst>
          </p:cNvPr>
          <p:cNvGrpSpPr/>
          <p:nvPr/>
        </p:nvGrpSpPr>
        <p:grpSpPr>
          <a:xfrm>
            <a:off x="10538622" y="987009"/>
            <a:ext cx="239992" cy="322895"/>
            <a:chOff x="10538622" y="987009"/>
            <a:chExt cx="239992" cy="322895"/>
          </a:xfrm>
          <a:noFill/>
        </p:grpSpPr>
        <p:sp>
          <p:nvSpPr>
            <p:cNvPr id="1050" name="Forma livre: Forma 1049">
              <a:extLst>
                <a:ext uri="{FF2B5EF4-FFF2-40B4-BE49-F238E27FC236}">
                  <a16:creationId xmlns:a16="http://schemas.microsoft.com/office/drawing/2014/main" id="{81B9174B-542E-F0D1-D655-0406EDBE4440}"/>
                </a:ext>
              </a:extLst>
            </p:cNvPr>
            <p:cNvSpPr/>
            <p:nvPr/>
          </p:nvSpPr>
          <p:spPr>
            <a:xfrm>
              <a:off x="10553584" y="987009"/>
              <a:ext cx="210047" cy="142008"/>
            </a:xfrm>
            <a:custGeom>
              <a:avLst/>
              <a:gdLst>
                <a:gd name="connsiteX0" fmla="*/ 207041 w 210047"/>
                <a:gd name="connsiteY0" fmla="*/ 142008 h 142008"/>
                <a:gd name="connsiteX1" fmla="*/ 207907 w 210047"/>
                <a:gd name="connsiteY1" fmla="*/ 135408 h 142008"/>
                <a:gd name="connsiteX2" fmla="*/ 175427 w 210047"/>
                <a:gd name="connsiteY2" fmla="*/ 24634 h 142008"/>
                <a:gd name="connsiteX3" fmla="*/ 147920 w 210047"/>
                <a:gd name="connsiteY3" fmla="*/ 10910 h 142008"/>
                <a:gd name="connsiteX4" fmla="*/ 103366 w 210047"/>
                <a:gd name="connsiteY4" fmla="*/ 0 h 142008"/>
                <a:gd name="connsiteX5" fmla="*/ 463 w 210047"/>
                <a:gd name="connsiteY5" fmla="*/ 118704 h 1420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10047" h="142008">
                  <a:moveTo>
                    <a:pt x="207041" y="142008"/>
                  </a:moveTo>
                  <a:cubicBezTo>
                    <a:pt x="207361" y="139764"/>
                    <a:pt x="207658" y="137556"/>
                    <a:pt x="207907" y="135408"/>
                  </a:cubicBezTo>
                  <a:cubicBezTo>
                    <a:pt x="212799" y="94557"/>
                    <a:pt x="212051" y="49706"/>
                    <a:pt x="175427" y="24634"/>
                  </a:cubicBezTo>
                  <a:cubicBezTo>
                    <a:pt x="168197" y="19683"/>
                    <a:pt x="152693" y="20348"/>
                    <a:pt x="147920" y="10910"/>
                  </a:cubicBezTo>
                  <a:cubicBezTo>
                    <a:pt x="143753" y="2659"/>
                    <a:pt x="136227" y="748"/>
                    <a:pt x="103366" y="0"/>
                  </a:cubicBezTo>
                  <a:cubicBezTo>
                    <a:pt x="10993" y="2113"/>
                    <a:pt x="-2980" y="63656"/>
                    <a:pt x="463" y="118704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051" name="Gráfico 11">
              <a:extLst>
                <a:ext uri="{FF2B5EF4-FFF2-40B4-BE49-F238E27FC236}">
                  <a16:creationId xmlns:a16="http://schemas.microsoft.com/office/drawing/2014/main" id="{F47E964D-1C53-E34B-31E2-C750338C301C}"/>
                </a:ext>
              </a:extLst>
            </p:cNvPr>
            <p:cNvGrpSpPr/>
            <p:nvPr/>
          </p:nvGrpSpPr>
          <p:grpSpPr>
            <a:xfrm>
              <a:off x="10538622" y="1130608"/>
              <a:ext cx="239992" cy="179296"/>
              <a:chOff x="10538622" y="1130608"/>
              <a:chExt cx="239992" cy="179296"/>
            </a:xfrm>
            <a:noFill/>
          </p:grpSpPr>
          <p:grpSp>
            <p:nvGrpSpPr>
              <p:cNvPr id="1052" name="Gráfico 11">
                <a:extLst>
                  <a:ext uri="{FF2B5EF4-FFF2-40B4-BE49-F238E27FC236}">
                    <a16:creationId xmlns:a16="http://schemas.microsoft.com/office/drawing/2014/main" id="{5250EB01-0F13-8534-E123-BECA8C5730B5}"/>
                  </a:ext>
                </a:extLst>
              </p:cNvPr>
              <p:cNvGrpSpPr/>
              <p:nvPr/>
            </p:nvGrpSpPr>
            <p:grpSpPr>
              <a:xfrm>
                <a:off x="10538622" y="1130608"/>
                <a:ext cx="64961" cy="179296"/>
                <a:chOff x="10538622" y="1130608"/>
                <a:chExt cx="64961" cy="179296"/>
              </a:xfrm>
              <a:noFill/>
            </p:grpSpPr>
            <p:sp>
              <p:nvSpPr>
                <p:cNvPr id="1053" name="Forma livre: Forma 1052">
                  <a:extLst>
                    <a:ext uri="{FF2B5EF4-FFF2-40B4-BE49-F238E27FC236}">
                      <a16:creationId xmlns:a16="http://schemas.microsoft.com/office/drawing/2014/main" id="{3F58ADD6-9EE4-4C7E-F861-F85FD3D447CE}"/>
                    </a:ext>
                  </a:extLst>
                </p:cNvPr>
                <p:cNvSpPr/>
                <p:nvPr/>
              </p:nvSpPr>
              <p:spPr>
                <a:xfrm>
                  <a:off x="10563924" y="1240231"/>
                  <a:ext cx="39660" cy="69674"/>
                </a:xfrm>
                <a:custGeom>
                  <a:avLst/>
                  <a:gdLst>
                    <a:gd name="connsiteX0" fmla="*/ 39639 w 39660"/>
                    <a:gd name="connsiteY0" fmla="*/ 0 h 69674"/>
                    <a:gd name="connsiteX1" fmla="*/ 39639 w 39660"/>
                    <a:gd name="connsiteY1" fmla="*/ 43711 h 69674"/>
                    <a:gd name="connsiteX2" fmla="*/ 0 w 39660"/>
                    <a:gd name="connsiteY2" fmla="*/ 69674 h 696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39660" h="69674">
                      <a:moveTo>
                        <a:pt x="39639" y="0"/>
                      </a:moveTo>
                      <a:cubicBezTo>
                        <a:pt x="39687" y="13854"/>
                        <a:pt x="39639" y="43711"/>
                        <a:pt x="39639" y="43711"/>
                      </a:cubicBezTo>
                      <a:cubicBezTo>
                        <a:pt x="39639" y="43711"/>
                        <a:pt x="41301" y="53529"/>
                        <a:pt x="0" y="69674"/>
                      </a:cubicBez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054" name="Forma livre: Forma 1053">
                  <a:extLst>
                    <a:ext uri="{FF2B5EF4-FFF2-40B4-BE49-F238E27FC236}">
                      <a16:creationId xmlns:a16="http://schemas.microsoft.com/office/drawing/2014/main" id="{DE5B1D13-3ED9-02C2-39D8-B9F2515EDE74}"/>
                    </a:ext>
                  </a:extLst>
                </p:cNvPr>
                <p:cNvSpPr/>
                <p:nvPr/>
              </p:nvSpPr>
              <p:spPr>
                <a:xfrm>
                  <a:off x="10569444" y="1199167"/>
                  <a:ext cx="22484" cy="27720"/>
                </a:xfrm>
                <a:custGeom>
                  <a:avLst/>
                  <a:gdLst>
                    <a:gd name="connsiteX0" fmla="*/ 0 w 22484"/>
                    <a:gd name="connsiteY0" fmla="*/ 0 h 27720"/>
                    <a:gd name="connsiteX1" fmla="*/ 22485 w 22484"/>
                    <a:gd name="connsiteY1" fmla="*/ 27720 h 2772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2484" h="27720">
                      <a:moveTo>
                        <a:pt x="0" y="0"/>
                      </a:moveTo>
                      <a:lnTo>
                        <a:pt x="22485" y="2772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055" name="Forma livre: Forma 1054">
                  <a:extLst>
                    <a:ext uri="{FF2B5EF4-FFF2-40B4-BE49-F238E27FC236}">
                      <a16:creationId xmlns:a16="http://schemas.microsoft.com/office/drawing/2014/main" id="{D62DC20C-E336-7AEA-7EB8-ED897D109244}"/>
                    </a:ext>
                  </a:extLst>
                </p:cNvPr>
                <p:cNvSpPr/>
                <p:nvPr/>
              </p:nvSpPr>
              <p:spPr>
                <a:xfrm>
                  <a:off x="10538622" y="1130608"/>
                  <a:ext cx="54375" cy="47119"/>
                </a:xfrm>
                <a:custGeom>
                  <a:avLst/>
                  <a:gdLst>
                    <a:gd name="connsiteX0" fmla="*/ 54375 w 54375"/>
                    <a:gd name="connsiteY0" fmla="*/ 44008 h 47119"/>
                    <a:gd name="connsiteX1" fmla="*/ 22108 w 54375"/>
                    <a:gd name="connsiteY1" fmla="*/ 2790 h 47119"/>
                    <a:gd name="connsiteX2" fmla="*/ 13976 w 54375"/>
                    <a:gd name="connsiteY2" fmla="*/ 0 h 47119"/>
                    <a:gd name="connsiteX3" fmla="*/ 1962 w 54375"/>
                    <a:gd name="connsiteY3" fmla="*/ 26949 h 47119"/>
                    <a:gd name="connsiteX4" fmla="*/ 23283 w 54375"/>
                    <a:gd name="connsiteY4" fmla="*/ 47095 h 4711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4375" h="47119">
                      <a:moveTo>
                        <a:pt x="54375" y="44008"/>
                      </a:moveTo>
                      <a:lnTo>
                        <a:pt x="22108" y="2790"/>
                      </a:lnTo>
                      <a:cubicBezTo>
                        <a:pt x="19924" y="558"/>
                        <a:pt x="13976" y="0"/>
                        <a:pt x="13976" y="0"/>
                      </a:cubicBezTo>
                      <a:cubicBezTo>
                        <a:pt x="4111" y="1068"/>
                        <a:pt x="-3831" y="5734"/>
                        <a:pt x="1962" y="26949"/>
                      </a:cubicBezTo>
                      <a:cubicBezTo>
                        <a:pt x="4550" y="36398"/>
                        <a:pt x="13228" y="47724"/>
                        <a:pt x="23283" y="47095"/>
                      </a:cubicBez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1056" name="Gráfico 11">
                <a:extLst>
                  <a:ext uri="{FF2B5EF4-FFF2-40B4-BE49-F238E27FC236}">
                    <a16:creationId xmlns:a16="http://schemas.microsoft.com/office/drawing/2014/main" id="{80DAE28F-861C-585A-DE92-5077BAE5A6F8}"/>
                  </a:ext>
                </a:extLst>
              </p:cNvPr>
              <p:cNvGrpSpPr/>
              <p:nvPr/>
            </p:nvGrpSpPr>
            <p:grpSpPr>
              <a:xfrm>
                <a:off x="10592285" y="1130608"/>
                <a:ext cx="186329" cy="179296"/>
                <a:chOff x="10592285" y="1130608"/>
                <a:chExt cx="186329" cy="179296"/>
              </a:xfrm>
              <a:noFill/>
            </p:grpSpPr>
            <p:grpSp>
              <p:nvGrpSpPr>
                <p:cNvPr id="1057" name="Gráfico 11">
                  <a:extLst>
                    <a:ext uri="{FF2B5EF4-FFF2-40B4-BE49-F238E27FC236}">
                      <a16:creationId xmlns:a16="http://schemas.microsoft.com/office/drawing/2014/main" id="{06BD0BEC-FA0E-7D5A-4E5E-A66834E6604C}"/>
                    </a:ext>
                  </a:extLst>
                </p:cNvPr>
                <p:cNvGrpSpPr/>
                <p:nvPr/>
              </p:nvGrpSpPr>
              <p:grpSpPr>
                <a:xfrm>
                  <a:off x="10713663" y="1130608"/>
                  <a:ext cx="64951" cy="179296"/>
                  <a:chOff x="10713663" y="1130608"/>
                  <a:chExt cx="64951" cy="179296"/>
                </a:xfrm>
                <a:noFill/>
              </p:grpSpPr>
              <p:sp>
                <p:nvSpPr>
                  <p:cNvPr id="1058" name="Forma livre: Forma 1057">
                    <a:extLst>
                      <a:ext uri="{FF2B5EF4-FFF2-40B4-BE49-F238E27FC236}">
                        <a16:creationId xmlns:a16="http://schemas.microsoft.com/office/drawing/2014/main" id="{48457264-1360-ABAC-1518-78E70381360C}"/>
                      </a:ext>
                    </a:extLst>
                  </p:cNvPr>
                  <p:cNvSpPr/>
                  <p:nvPr/>
                </p:nvSpPr>
                <p:spPr>
                  <a:xfrm>
                    <a:off x="10713663" y="1240231"/>
                    <a:ext cx="39660" cy="69674"/>
                  </a:xfrm>
                  <a:custGeom>
                    <a:avLst/>
                    <a:gdLst>
                      <a:gd name="connsiteX0" fmla="*/ 21 w 39660"/>
                      <a:gd name="connsiteY0" fmla="*/ 0 h 69674"/>
                      <a:gd name="connsiteX1" fmla="*/ 21 w 39660"/>
                      <a:gd name="connsiteY1" fmla="*/ 43711 h 69674"/>
                      <a:gd name="connsiteX2" fmla="*/ 39660 w 39660"/>
                      <a:gd name="connsiteY2" fmla="*/ 69674 h 6967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</a:cxnLst>
                    <a:rect l="l" t="t" r="r" b="b"/>
                    <a:pathLst>
                      <a:path w="39660" h="69674">
                        <a:moveTo>
                          <a:pt x="21" y="0"/>
                        </a:moveTo>
                        <a:cubicBezTo>
                          <a:pt x="-26" y="13854"/>
                          <a:pt x="21" y="43711"/>
                          <a:pt x="21" y="43711"/>
                        </a:cubicBezTo>
                        <a:cubicBezTo>
                          <a:pt x="21" y="43711"/>
                          <a:pt x="-1641" y="53529"/>
                          <a:pt x="39660" y="69674"/>
                        </a:cubicBezTo>
                      </a:path>
                    </a:pathLst>
                  </a:custGeom>
                  <a:noFill/>
                  <a:ln w="6350" cap="rnd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1059" name="Forma livre: Forma 1058">
                    <a:extLst>
                      <a:ext uri="{FF2B5EF4-FFF2-40B4-BE49-F238E27FC236}">
                        <a16:creationId xmlns:a16="http://schemas.microsoft.com/office/drawing/2014/main" id="{E05BE700-B83D-D084-06F8-5233427462E6}"/>
                      </a:ext>
                    </a:extLst>
                  </p:cNvPr>
                  <p:cNvSpPr/>
                  <p:nvPr/>
                </p:nvSpPr>
                <p:spPr>
                  <a:xfrm>
                    <a:off x="10725306" y="1199167"/>
                    <a:ext cx="22496" cy="27720"/>
                  </a:xfrm>
                  <a:custGeom>
                    <a:avLst/>
                    <a:gdLst>
                      <a:gd name="connsiteX0" fmla="*/ 22497 w 22496"/>
                      <a:gd name="connsiteY0" fmla="*/ 0 h 27720"/>
                      <a:gd name="connsiteX1" fmla="*/ 0 w 22496"/>
                      <a:gd name="connsiteY1" fmla="*/ 27720 h 2772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22496" h="27720">
                        <a:moveTo>
                          <a:pt x="22497" y="0"/>
                        </a:moveTo>
                        <a:lnTo>
                          <a:pt x="0" y="27720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1060" name="Forma livre: Forma 1059">
                    <a:extLst>
                      <a:ext uri="{FF2B5EF4-FFF2-40B4-BE49-F238E27FC236}">
                        <a16:creationId xmlns:a16="http://schemas.microsoft.com/office/drawing/2014/main" id="{FA9C7690-67E5-E115-B140-C95220252B08}"/>
                      </a:ext>
                    </a:extLst>
                  </p:cNvPr>
                  <p:cNvSpPr/>
                  <p:nvPr/>
                </p:nvSpPr>
                <p:spPr>
                  <a:xfrm>
                    <a:off x="10724238" y="1130608"/>
                    <a:ext cx="54376" cy="47119"/>
                  </a:xfrm>
                  <a:custGeom>
                    <a:avLst/>
                    <a:gdLst>
                      <a:gd name="connsiteX0" fmla="*/ 0 w 54376"/>
                      <a:gd name="connsiteY0" fmla="*/ 44008 h 47119"/>
                      <a:gd name="connsiteX1" fmla="*/ 32267 w 54376"/>
                      <a:gd name="connsiteY1" fmla="*/ 2790 h 47119"/>
                      <a:gd name="connsiteX2" fmla="*/ 40399 w 54376"/>
                      <a:gd name="connsiteY2" fmla="*/ 0 h 47119"/>
                      <a:gd name="connsiteX3" fmla="*/ 52413 w 54376"/>
                      <a:gd name="connsiteY3" fmla="*/ 26949 h 47119"/>
                      <a:gd name="connsiteX4" fmla="*/ 31092 w 54376"/>
                      <a:gd name="connsiteY4" fmla="*/ 47095 h 4711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54376" h="47119">
                        <a:moveTo>
                          <a:pt x="0" y="44008"/>
                        </a:moveTo>
                        <a:lnTo>
                          <a:pt x="32267" y="2790"/>
                        </a:lnTo>
                        <a:cubicBezTo>
                          <a:pt x="34451" y="558"/>
                          <a:pt x="40399" y="0"/>
                          <a:pt x="40399" y="0"/>
                        </a:cubicBezTo>
                        <a:cubicBezTo>
                          <a:pt x="50276" y="1068"/>
                          <a:pt x="58207" y="5734"/>
                          <a:pt x="52413" y="26949"/>
                        </a:cubicBezTo>
                        <a:cubicBezTo>
                          <a:pt x="49825" y="36398"/>
                          <a:pt x="41159" y="47724"/>
                          <a:pt x="31092" y="47095"/>
                        </a:cubicBezTo>
                      </a:path>
                    </a:pathLst>
                  </a:custGeom>
                  <a:noFill/>
                  <a:ln w="6350" cap="rnd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  <p:sp>
              <p:nvSpPr>
                <p:cNvPr id="1061" name="Forma livre: Forma 1060">
                  <a:extLst>
                    <a:ext uri="{FF2B5EF4-FFF2-40B4-BE49-F238E27FC236}">
                      <a16:creationId xmlns:a16="http://schemas.microsoft.com/office/drawing/2014/main" id="{F210C6B9-01E6-19C2-F46D-D3A9E331D251}"/>
                    </a:ext>
                  </a:extLst>
                </p:cNvPr>
                <p:cNvSpPr/>
                <p:nvPr/>
              </p:nvSpPr>
              <p:spPr>
                <a:xfrm>
                  <a:off x="10592285" y="1155408"/>
                  <a:ext cx="132677" cy="107817"/>
                </a:xfrm>
                <a:custGeom>
                  <a:avLst/>
                  <a:gdLst>
                    <a:gd name="connsiteX0" fmla="*/ 66339 w 132677"/>
                    <a:gd name="connsiteY0" fmla="*/ 0 h 107817"/>
                    <a:gd name="connsiteX1" fmla="*/ 0 w 132677"/>
                    <a:gd name="connsiteY1" fmla="*/ 18805 h 107817"/>
                    <a:gd name="connsiteX2" fmla="*/ 0 w 132677"/>
                    <a:gd name="connsiteY2" fmla="*/ 71657 h 107817"/>
                    <a:gd name="connsiteX3" fmla="*/ 66339 w 132677"/>
                    <a:gd name="connsiteY3" fmla="*/ 107818 h 107817"/>
                    <a:gd name="connsiteX4" fmla="*/ 132677 w 132677"/>
                    <a:gd name="connsiteY4" fmla="*/ 71657 h 107817"/>
                    <a:gd name="connsiteX5" fmla="*/ 132677 w 132677"/>
                    <a:gd name="connsiteY5" fmla="*/ 18805 h 107817"/>
                    <a:gd name="connsiteX6" fmla="*/ 66339 w 132677"/>
                    <a:gd name="connsiteY6" fmla="*/ 0 h 10781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32677" h="107817">
                      <a:moveTo>
                        <a:pt x="66339" y="0"/>
                      </a:moveTo>
                      <a:cubicBezTo>
                        <a:pt x="44269" y="0"/>
                        <a:pt x="27222" y="18805"/>
                        <a:pt x="0" y="18805"/>
                      </a:cubicBezTo>
                      <a:lnTo>
                        <a:pt x="0" y="71657"/>
                      </a:lnTo>
                      <a:cubicBezTo>
                        <a:pt x="13166" y="89773"/>
                        <a:pt x="37835" y="107818"/>
                        <a:pt x="66339" y="107818"/>
                      </a:cubicBezTo>
                      <a:cubicBezTo>
                        <a:pt x="94842" y="107818"/>
                        <a:pt x="119511" y="89773"/>
                        <a:pt x="132677" y="71657"/>
                      </a:cubicBezTo>
                      <a:lnTo>
                        <a:pt x="132677" y="18805"/>
                      </a:lnTo>
                      <a:cubicBezTo>
                        <a:pt x="105456" y="18805"/>
                        <a:pt x="88396" y="0"/>
                        <a:pt x="66339" y="0"/>
                      </a:cubicBezTo>
                      <a:close/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sp>
          <p:nvSpPr>
            <p:cNvPr id="1062" name="Forma livre: Forma 1061">
              <a:extLst>
                <a:ext uri="{FF2B5EF4-FFF2-40B4-BE49-F238E27FC236}">
                  <a16:creationId xmlns:a16="http://schemas.microsoft.com/office/drawing/2014/main" id="{4BDE89D4-EEB5-7DB4-A266-BC6FB3D15985}"/>
                </a:ext>
              </a:extLst>
            </p:cNvPr>
            <p:cNvSpPr/>
            <p:nvPr/>
          </p:nvSpPr>
          <p:spPr>
            <a:xfrm>
              <a:off x="10579654" y="1056826"/>
              <a:ext cx="157928" cy="44993"/>
            </a:xfrm>
            <a:custGeom>
              <a:avLst/>
              <a:gdLst>
                <a:gd name="connsiteX0" fmla="*/ 157928 w 157928"/>
                <a:gd name="connsiteY0" fmla="*/ 44982 h 44993"/>
                <a:gd name="connsiteX1" fmla="*/ 126599 w 157928"/>
                <a:gd name="connsiteY1" fmla="*/ 0 h 44993"/>
                <a:gd name="connsiteX2" fmla="*/ 86164 w 157928"/>
                <a:gd name="connsiteY2" fmla="*/ 16193 h 44993"/>
                <a:gd name="connsiteX3" fmla="*/ 45623 w 157928"/>
                <a:gd name="connsiteY3" fmla="*/ 5995 h 44993"/>
                <a:gd name="connsiteX4" fmla="*/ 0 w 157928"/>
                <a:gd name="connsiteY4" fmla="*/ 44993 h 449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7928" h="44993">
                  <a:moveTo>
                    <a:pt x="157928" y="44982"/>
                  </a:moveTo>
                  <a:cubicBezTo>
                    <a:pt x="157928" y="44982"/>
                    <a:pt x="132618" y="19125"/>
                    <a:pt x="126599" y="0"/>
                  </a:cubicBezTo>
                  <a:cubicBezTo>
                    <a:pt x="126599" y="0"/>
                    <a:pt x="110192" y="16193"/>
                    <a:pt x="86164" y="16193"/>
                  </a:cubicBezTo>
                  <a:cubicBezTo>
                    <a:pt x="86164" y="16193"/>
                    <a:pt x="63276" y="14828"/>
                    <a:pt x="45623" y="5995"/>
                  </a:cubicBezTo>
                  <a:cubicBezTo>
                    <a:pt x="45623" y="5995"/>
                    <a:pt x="11052" y="-9070"/>
                    <a:pt x="0" y="44993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063" name="Gráfico 11">
            <a:extLst>
              <a:ext uri="{FF2B5EF4-FFF2-40B4-BE49-F238E27FC236}">
                <a16:creationId xmlns:a16="http://schemas.microsoft.com/office/drawing/2014/main" id="{F1D8EC17-4C6C-0676-3D53-E4981BFB561B}"/>
              </a:ext>
            </a:extLst>
          </p:cNvPr>
          <p:cNvGrpSpPr/>
          <p:nvPr/>
        </p:nvGrpSpPr>
        <p:grpSpPr>
          <a:xfrm>
            <a:off x="9914642" y="2474973"/>
            <a:ext cx="254361" cy="322682"/>
            <a:chOff x="9914642" y="2474973"/>
            <a:chExt cx="254361" cy="322682"/>
          </a:xfrm>
        </p:grpSpPr>
        <p:sp>
          <p:nvSpPr>
            <p:cNvPr id="1064" name="Forma livre: Forma 1063">
              <a:extLst>
                <a:ext uri="{FF2B5EF4-FFF2-40B4-BE49-F238E27FC236}">
                  <a16:creationId xmlns:a16="http://schemas.microsoft.com/office/drawing/2014/main" id="{05111F37-2016-C7E6-647E-1928235AF2C0}"/>
                </a:ext>
              </a:extLst>
            </p:cNvPr>
            <p:cNvSpPr/>
            <p:nvPr/>
          </p:nvSpPr>
          <p:spPr>
            <a:xfrm>
              <a:off x="9930289" y="2588714"/>
              <a:ext cx="148818" cy="208940"/>
            </a:xfrm>
            <a:custGeom>
              <a:avLst/>
              <a:gdLst>
                <a:gd name="connsiteX0" fmla="*/ 17071 w 148818"/>
                <a:gd name="connsiteY0" fmla="*/ 24 h 208940"/>
                <a:gd name="connsiteX1" fmla="*/ 5176 w 148818"/>
                <a:gd name="connsiteY1" fmla="*/ 65377 h 208940"/>
                <a:gd name="connsiteX2" fmla="*/ 0 w 148818"/>
                <a:gd name="connsiteY2" fmla="*/ 110513 h 208940"/>
                <a:gd name="connsiteX3" fmla="*/ 0 w 148818"/>
                <a:gd name="connsiteY3" fmla="*/ 208940 h 208940"/>
                <a:gd name="connsiteX4" fmla="*/ 148751 w 148818"/>
                <a:gd name="connsiteY4" fmla="*/ 208940 h 208940"/>
                <a:gd name="connsiteX5" fmla="*/ 148751 w 148818"/>
                <a:gd name="connsiteY5" fmla="*/ 129757 h 208940"/>
                <a:gd name="connsiteX6" fmla="*/ 124688 w 148818"/>
                <a:gd name="connsiteY6" fmla="*/ 86473 h 208940"/>
                <a:gd name="connsiteX7" fmla="*/ 68832 w 148818"/>
                <a:gd name="connsiteY7" fmla="*/ 16537 h 208940"/>
                <a:gd name="connsiteX8" fmla="*/ 68832 w 148818"/>
                <a:gd name="connsiteY8" fmla="*/ 0 h 2089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8818" h="208940">
                  <a:moveTo>
                    <a:pt x="17071" y="24"/>
                  </a:moveTo>
                  <a:cubicBezTo>
                    <a:pt x="15742" y="10590"/>
                    <a:pt x="12275" y="34831"/>
                    <a:pt x="5176" y="65377"/>
                  </a:cubicBezTo>
                  <a:cubicBezTo>
                    <a:pt x="5176" y="65377"/>
                    <a:pt x="0" y="89797"/>
                    <a:pt x="0" y="110513"/>
                  </a:cubicBezTo>
                  <a:lnTo>
                    <a:pt x="0" y="208940"/>
                  </a:lnTo>
                  <a:lnTo>
                    <a:pt x="148751" y="208940"/>
                  </a:lnTo>
                  <a:lnTo>
                    <a:pt x="148751" y="129757"/>
                  </a:lnTo>
                  <a:cubicBezTo>
                    <a:pt x="148751" y="129757"/>
                    <a:pt x="151327" y="105337"/>
                    <a:pt x="124688" y="86473"/>
                  </a:cubicBezTo>
                  <a:cubicBezTo>
                    <a:pt x="124688" y="86473"/>
                    <a:pt x="68832" y="50953"/>
                    <a:pt x="68832" y="16537"/>
                  </a:cubicBezTo>
                  <a:lnTo>
                    <a:pt x="68832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65" name="Forma livre: Forma 1064">
              <a:extLst>
                <a:ext uri="{FF2B5EF4-FFF2-40B4-BE49-F238E27FC236}">
                  <a16:creationId xmlns:a16="http://schemas.microsoft.com/office/drawing/2014/main" id="{BE776A8C-925F-59B7-0AB5-3850D95EDD25}"/>
                </a:ext>
              </a:extLst>
            </p:cNvPr>
            <p:cNvSpPr/>
            <p:nvPr/>
          </p:nvSpPr>
          <p:spPr>
            <a:xfrm>
              <a:off x="9914642" y="2493053"/>
              <a:ext cx="183345" cy="72737"/>
            </a:xfrm>
            <a:custGeom>
              <a:avLst/>
              <a:gdLst>
                <a:gd name="connsiteX0" fmla="*/ 94403 w 183345"/>
                <a:gd name="connsiteY0" fmla="*/ 72737 h 72737"/>
                <a:gd name="connsiteX1" fmla="*/ 9770 w 183345"/>
                <a:gd name="connsiteY1" fmla="*/ 72737 h 72737"/>
                <a:gd name="connsiteX2" fmla="*/ 0 w 183345"/>
                <a:gd name="connsiteY2" fmla="*/ 48780 h 72737"/>
                <a:gd name="connsiteX3" fmla="*/ 47202 w 183345"/>
                <a:gd name="connsiteY3" fmla="*/ 0 h 72737"/>
                <a:gd name="connsiteX4" fmla="*/ 183345 w 183345"/>
                <a:gd name="connsiteY4" fmla="*/ 0 h 72737"/>
                <a:gd name="connsiteX5" fmla="*/ 183345 w 183345"/>
                <a:gd name="connsiteY5" fmla="*/ 35829 h 72737"/>
                <a:gd name="connsiteX6" fmla="*/ 143172 w 183345"/>
                <a:gd name="connsiteY6" fmla="*/ 35829 h 72737"/>
                <a:gd name="connsiteX7" fmla="*/ 94415 w 183345"/>
                <a:gd name="connsiteY7" fmla="*/ 72737 h 727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83345" h="72737">
                  <a:moveTo>
                    <a:pt x="94403" y="72737"/>
                  </a:moveTo>
                  <a:lnTo>
                    <a:pt x="9770" y="72737"/>
                  </a:lnTo>
                  <a:lnTo>
                    <a:pt x="0" y="48780"/>
                  </a:lnTo>
                  <a:lnTo>
                    <a:pt x="47202" y="0"/>
                  </a:lnTo>
                  <a:lnTo>
                    <a:pt x="183345" y="0"/>
                  </a:lnTo>
                  <a:lnTo>
                    <a:pt x="183345" y="35829"/>
                  </a:lnTo>
                  <a:lnTo>
                    <a:pt x="143172" y="35829"/>
                  </a:lnTo>
                  <a:cubicBezTo>
                    <a:pt x="143172" y="35829"/>
                    <a:pt x="109824" y="37776"/>
                    <a:pt x="94415" y="72737"/>
                  </a:cubicBez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66" name="Forma livre: Forma 1065">
              <a:extLst>
                <a:ext uri="{FF2B5EF4-FFF2-40B4-BE49-F238E27FC236}">
                  <a16:creationId xmlns:a16="http://schemas.microsoft.com/office/drawing/2014/main" id="{C6F2B73D-837F-C475-516B-3A16F29C064A}"/>
                </a:ext>
              </a:extLst>
            </p:cNvPr>
            <p:cNvSpPr/>
            <p:nvPr/>
          </p:nvSpPr>
          <p:spPr>
            <a:xfrm>
              <a:off x="10048518" y="2560685"/>
              <a:ext cx="24764" cy="35591"/>
            </a:xfrm>
            <a:custGeom>
              <a:avLst/>
              <a:gdLst>
                <a:gd name="connsiteX0" fmla="*/ 0 w 24764"/>
                <a:gd name="connsiteY0" fmla="*/ 0 h 35591"/>
                <a:gd name="connsiteX1" fmla="*/ 24764 w 24764"/>
                <a:gd name="connsiteY1" fmla="*/ 35591 h 355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4764" h="35591">
                  <a:moveTo>
                    <a:pt x="0" y="0"/>
                  </a:moveTo>
                  <a:cubicBezTo>
                    <a:pt x="3538" y="11159"/>
                    <a:pt x="10957" y="25108"/>
                    <a:pt x="24764" y="35591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67" name="Forma livre: Forma 1066">
              <a:extLst>
                <a:ext uri="{FF2B5EF4-FFF2-40B4-BE49-F238E27FC236}">
                  <a16:creationId xmlns:a16="http://schemas.microsoft.com/office/drawing/2014/main" id="{ECEF899D-7986-5993-937C-60B9A04839C6}"/>
                </a:ext>
              </a:extLst>
            </p:cNvPr>
            <p:cNvSpPr/>
            <p:nvPr/>
          </p:nvSpPr>
          <p:spPr>
            <a:xfrm>
              <a:off x="10069661" y="2494952"/>
              <a:ext cx="1187" cy="31602"/>
            </a:xfrm>
            <a:custGeom>
              <a:avLst/>
              <a:gdLst>
                <a:gd name="connsiteX0" fmla="*/ 0 w 1187"/>
                <a:gd name="connsiteY0" fmla="*/ 0 h 31602"/>
                <a:gd name="connsiteX1" fmla="*/ 0 w 1187"/>
                <a:gd name="connsiteY1" fmla="*/ 31602 h 316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87" h="31602">
                  <a:moveTo>
                    <a:pt x="0" y="0"/>
                  </a:moveTo>
                  <a:lnTo>
                    <a:pt x="0" y="31602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068" name="Gráfico 11">
              <a:extLst>
                <a:ext uri="{FF2B5EF4-FFF2-40B4-BE49-F238E27FC236}">
                  <a16:creationId xmlns:a16="http://schemas.microsoft.com/office/drawing/2014/main" id="{6494BFAE-9A88-F18B-90D4-073AB01B6E69}"/>
                </a:ext>
              </a:extLst>
            </p:cNvPr>
            <p:cNvGrpSpPr/>
            <p:nvPr/>
          </p:nvGrpSpPr>
          <p:grpSpPr>
            <a:xfrm>
              <a:off x="10161595" y="2474973"/>
              <a:ext cx="7407" cy="70588"/>
              <a:chOff x="10161595" y="2474973"/>
              <a:chExt cx="7407" cy="70588"/>
            </a:xfrm>
            <a:solidFill>
              <a:srgbClr val="394553"/>
            </a:solidFill>
          </p:grpSpPr>
          <p:sp>
            <p:nvSpPr>
              <p:cNvPr id="1069" name="Forma livre: Forma 1068">
                <a:extLst>
                  <a:ext uri="{FF2B5EF4-FFF2-40B4-BE49-F238E27FC236}">
                    <a16:creationId xmlns:a16="http://schemas.microsoft.com/office/drawing/2014/main" id="{B353603B-C107-F108-8A97-CB2EB5CAEAD9}"/>
                  </a:ext>
                </a:extLst>
              </p:cNvPr>
              <p:cNvSpPr/>
              <p:nvPr/>
            </p:nvSpPr>
            <p:spPr>
              <a:xfrm>
                <a:off x="10161595" y="2538165"/>
                <a:ext cx="7407" cy="7395"/>
              </a:xfrm>
              <a:custGeom>
                <a:avLst/>
                <a:gdLst>
                  <a:gd name="connsiteX0" fmla="*/ 3704 w 7407"/>
                  <a:gd name="connsiteY0" fmla="*/ 0 h 7395"/>
                  <a:gd name="connsiteX1" fmla="*/ 7408 w 7407"/>
                  <a:gd name="connsiteY1" fmla="*/ 3692 h 7395"/>
                  <a:gd name="connsiteX2" fmla="*/ 3704 w 7407"/>
                  <a:gd name="connsiteY2" fmla="*/ 7396 h 7395"/>
                  <a:gd name="connsiteX3" fmla="*/ 0 w 7407"/>
                  <a:gd name="connsiteY3" fmla="*/ 3692 h 7395"/>
                  <a:gd name="connsiteX4" fmla="*/ 3704 w 7407"/>
                  <a:gd name="connsiteY4" fmla="*/ 0 h 73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407" h="7395">
                    <a:moveTo>
                      <a:pt x="3704" y="0"/>
                    </a:moveTo>
                    <a:cubicBezTo>
                      <a:pt x="5758" y="0"/>
                      <a:pt x="7408" y="1650"/>
                      <a:pt x="7408" y="3692"/>
                    </a:cubicBezTo>
                    <a:cubicBezTo>
                      <a:pt x="7408" y="5734"/>
                      <a:pt x="5758" y="7396"/>
                      <a:pt x="3704" y="7396"/>
                    </a:cubicBezTo>
                    <a:cubicBezTo>
                      <a:pt x="1650" y="7396"/>
                      <a:pt x="0" y="5734"/>
                      <a:pt x="0" y="3692"/>
                    </a:cubicBezTo>
                    <a:cubicBezTo>
                      <a:pt x="0" y="1650"/>
                      <a:pt x="1650" y="0"/>
                      <a:pt x="3704" y="0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070" name="Forma livre: Forma 1069">
                <a:extLst>
                  <a:ext uri="{FF2B5EF4-FFF2-40B4-BE49-F238E27FC236}">
                    <a16:creationId xmlns:a16="http://schemas.microsoft.com/office/drawing/2014/main" id="{D0C005B3-5192-4D2C-C4EE-93D358B6ABF3}"/>
                  </a:ext>
                </a:extLst>
              </p:cNvPr>
              <p:cNvSpPr/>
              <p:nvPr/>
            </p:nvSpPr>
            <p:spPr>
              <a:xfrm>
                <a:off x="10161595" y="2506563"/>
                <a:ext cx="7407" cy="7395"/>
              </a:xfrm>
              <a:custGeom>
                <a:avLst/>
                <a:gdLst>
                  <a:gd name="connsiteX0" fmla="*/ 3704 w 7407"/>
                  <a:gd name="connsiteY0" fmla="*/ 0 h 7395"/>
                  <a:gd name="connsiteX1" fmla="*/ 7408 w 7407"/>
                  <a:gd name="connsiteY1" fmla="*/ 3692 h 7395"/>
                  <a:gd name="connsiteX2" fmla="*/ 3704 w 7407"/>
                  <a:gd name="connsiteY2" fmla="*/ 7396 h 7395"/>
                  <a:gd name="connsiteX3" fmla="*/ 0 w 7407"/>
                  <a:gd name="connsiteY3" fmla="*/ 3692 h 7395"/>
                  <a:gd name="connsiteX4" fmla="*/ 3704 w 7407"/>
                  <a:gd name="connsiteY4" fmla="*/ 0 h 73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407" h="7395">
                    <a:moveTo>
                      <a:pt x="3704" y="0"/>
                    </a:moveTo>
                    <a:cubicBezTo>
                      <a:pt x="5758" y="0"/>
                      <a:pt x="7408" y="1650"/>
                      <a:pt x="7408" y="3692"/>
                    </a:cubicBezTo>
                    <a:cubicBezTo>
                      <a:pt x="7408" y="5734"/>
                      <a:pt x="5758" y="7396"/>
                      <a:pt x="3704" y="7396"/>
                    </a:cubicBezTo>
                    <a:cubicBezTo>
                      <a:pt x="1650" y="7396"/>
                      <a:pt x="0" y="5734"/>
                      <a:pt x="0" y="3692"/>
                    </a:cubicBezTo>
                    <a:cubicBezTo>
                      <a:pt x="0" y="1650"/>
                      <a:pt x="1650" y="0"/>
                      <a:pt x="3704" y="0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071" name="Forma livre: Forma 1070">
                <a:extLst>
                  <a:ext uri="{FF2B5EF4-FFF2-40B4-BE49-F238E27FC236}">
                    <a16:creationId xmlns:a16="http://schemas.microsoft.com/office/drawing/2014/main" id="{C18AA7E5-5543-88A3-72BF-C77F963AA857}"/>
                  </a:ext>
                </a:extLst>
              </p:cNvPr>
              <p:cNvSpPr/>
              <p:nvPr/>
            </p:nvSpPr>
            <p:spPr>
              <a:xfrm>
                <a:off x="10161595" y="2474973"/>
                <a:ext cx="7407" cy="7395"/>
              </a:xfrm>
              <a:custGeom>
                <a:avLst/>
                <a:gdLst>
                  <a:gd name="connsiteX0" fmla="*/ 3704 w 7407"/>
                  <a:gd name="connsiteY0" fmla="*/ 0 h 7395"/>
                  <a:gd name="connsiteX1" fmla="*/ 7408 w 7407"/>
                  <a:gd name="connsiteY1" fmla="*/ 3692 h 7395"/>
                  <a:gd name="connsiteX2" fmla="*/ 3704 w 7407"/>
                  <a:gd name="connsiteY2" fmla="*/ 7396 h 7395"/>
                  <a:gd name="connsiteX3" fmla="*/ 0 w 7407"/>
                  <a:gd name="connsiteY3" fmla="*/ 3692 h 7395"/>
                  <a:gd name="connsiteX4" fmla="*/ 3704 w 7407"/>
                  <a:gd name="connsiteY4" fmla="*/ 0 h 73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407" h="7395">
                    <a:moveTo>
                      <a:pt x="3704" y="0"/>
                    </a:moveTo>
                    <a:cubicBezTo>
                      <a:pt x="5758" y="0"/>
                      <a:pt x="7408" y="1650"/>
                      <a:pt x="7408" y="3692"/>
                    </a:cubicBezTo>
                    <a:cubicBezTo>
                      <a:pt x="7408" y="5734"/>
                      <a:pt x="5758" y="7396"/>
                      <a:pt x="3704" y="7396"/>
                    </a:cubicBezTo>
                    <a:cubicBezTo>
                      <a:pt x="1650" y="7396"/>
                      <a:pt x="0" y="5734"/>
                      <a:pt x="0" y="3692"/>
                    </a:cubicBezTo>
                    <a:cubicBezTo>
                      <a:pt x="0" y="1650"/>
                      <a:pt x="1650" y="0"/>
                      <a:pt x="3704" y="0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072" name="Gráfico 11">
              <a:extLst>
                <a:ext uri="{FF2B5EF4-FFF2-40B4-BE49-F238E27FC236}">
                  <a16:creationId xmlns:a16="http://schemas.microsoft.com/office/drawing/2014/main" id="{EA559B88-A304-4EB0-377F-195B26D7643C}"/>
                </a:ext>
              </a:extLst>
            </p:cNvPr>
            <p:cNvGrpSpPr/>
            <p:nvPr/>
          </p:nvGrpSpPr>
          <p:grpSpPr>
            <a:xfrm>
              <a:off x="10128758" y="2490762"/>
              <a:ext cx="7407" cy="38998"/>
              <a:chOff x="10128758" y="2490762"/>
              <a:chExt cx="7407" cy="38998"/>
            </a:xfrm>
            <a:solidFill>
              <a:srgbClr val="394553"/>
            </a:solidFill>
          </p:grpSpPr>
          <p:sp>
            <p:nvSpPr>
              <p:cNvPr id="1073" name="Forma livre: Forma 1072">
                <a:extLst>
                  <a:ext uri="{FF2B5EF4-FFF2-40B4-BE49-F238E27FC236}">
                    <a16:creationId xmlns:a16="http://schemas.microsoft.com/office/drawing/2014/main" id="{F02112C1-B754-653A-0710-F1E4391A4369}"/>
                  </a:ext>
                </a:extLst>
              </p:cNvPr>
              <p:cNvSpPr/>
              <p:nvPr/>
            </p:nvSpPr>
            <p:spPr>
              <a:xfrm>
                <a:off x="10128758" y="2522364"/>
                <a:ext cx="7407" cy="7395"/>
              </a:xfrm>
              <a:custGeom>
                <a:avLst/>
                <a:gdLst>
                  <a:gd name="connsiteX0" fmla="*/ 3704 w 7407"/>
                  <a:gd name="connsiteY0" fmla="*/ 0 h 7395"/>
                  <a:gd name="connsiteX1" fmla="*/ 7408 w 7407"/>
                  <a:gd name="connsiteY1" fmla="*/ 3692 h 7395"/>
                  <a:gd name="connsiteX2" fmla="*/ 3704 w 7407"/>
                  <a:gd name="connsiteY2" fmla="*/ 7396 h 7395"/>
                  <a:gd name="connsiteX3" fmla="*/ 0 w 7407"/>
                  <a:gd name="connsiteY3" fmla="*/ 3692 h 7395"/>
                  <a:gd name="connsiteX4" fmla="*/ 3704 w 7407"/>
                  <a:gd name="connsiteY4" fmla="*/ 0 h 73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407" h="7395">
                    <a:moveTo>
                      <a:pt x="3704" y="0"/>
                    </a:moveTo>
                    <a:cubicBezTo>
                      <a:pt x="5758" y="0"/>
                      <a:pt x="7408" y="1650"/>
                      <a:pt x="7408" y="3692"/>
                    </a:cubicBezTo>
                    <a:cubicBezTo>
                      <a:pt x="7408" y="5734"/>
                      <a:pt x="5758" y="7396"/>
                      <a:pt x="3704" y="7396"/>
                    </a:cubicBezTo>
                    <a:cubicBezTo>
                      <a:pt x="1650" y="7396"/>
                      <a:pt x="0" y="5734"/>
                      <a:pt x="0" y="3692"/>
                    </a:cubicBezTo>
                    <a:cubicBezTo>
                      <a:pt x="0" y="1650"/>
                      <a:pt x="1650" y="0"/>
                      <a:pt x="3704" y="0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074" name="Forma livre: Forma 1073">
                <a:extLst>
                  <a:ext uri="{FF2B5EF4-FFF2-40B4-BE49-F238E27FC236}">
                    <a16:creationId xmlns:a16="http://schemas.microsoft.com/office/drawing/2014/main" id="{2AEEA8F9-FDC7-2EBE-ADF7-890834C4E409}"/>
                  </a:ext>
                </a:extLst>
              </p:cNvPr>
              <p:cNvSpPr/>
              <p:nvPr/>
            </p:nvSpPr>
            <p:spPr>
              <a:xfrm>
                <a:off x="10128758" y="2490762"/>
                <a:ext cx="7407" cy="7395"/>
              </a:xfrm>
              <a:custGeom>
                <a:avLst/>
                <a:gdLst>
                  <a:gd name="connsiteX0" fmla="*/ 3704 w 7407"/>
                  <a:gd name="connsiteY0" fmla="*/ 0 h 7395"/>
                  <a:gd name="connsiteX1" fmla="*/ 7408 w 7407"/>
                  <a:gd name="connsiteY1" fmla="*/ 3692 h 7395"/>
                  <a:gd name="connsiteX2" fmla="*/ 3704 w 7407"/>
                  <a:gd name="connsiteY2" fmla="*/ 7396 h 7395"/>
                  <a:gd name="connsiteX3" fmla="*/ 0 w 7407"/>
                  <a:gd name="connsiteY3" fmla="*/ 3692 h 7395"/>
                  <a:gd name="connsiteX4" fmla="*/ 3704 w 7407"/>
                  <a:gd name="connsiteY4" fmla="*/ 0 h 73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407" h="7395">
                    <a:moveTo>
                      <a:pt x="3704" y="0"/>
                    </a:moveTo>
                    <a:cubicBezTo>
                      <a:pt x="5758" y="0"/>
                      <a:pt x="7408" y="1650"/>
                      <a:pt x="7408" y="3692"/>
                    </a:cubicBezTo>
                    <a:cubicBezTo>
                      <a:pt x="7408" y="5734"/>
                      <a:pt x="5758" y="7396"/>
                      <a:pt x="3704" y="7396"/>
                    </a:cubicBezTo>
                    <a:cubicBezTo>
                      <a:pt x="1650" y="7396"/>
                      <a:pt x="0" y="5734"/>
                      <a:pt x="0" y="3692"/>
                    </a:cubicBezTo>
                    <a:cubicBezTo>
                      <a:pt x="0" y="1650"/>
                      <a:pt x="1650" y="0"/>
                      <a:pt x="3704" y="0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075" name="Forma livre: Forma 1074">
              <a:extLst>
                <a:ext uri="{FF2B5EF4-FFF2-40B4-BE49-F238E27FC236}">
                  <a16:creationId xmlns:a16="http://schemas.microsoft.com/office/drawing/2014/main" id="{7B5212B0-8370-C1DB-E920-D2FBA4E38D1B}"/>
                </a:ext>
              </a:extLst>
            </p:cNvPr>
            <p:cNvSpPr/>
            <p:nvPr/>
          </p:nvSpPr>
          <p:spPr>
            <a:xfrm>
              <a:off x="9961000" y="2686608"/>
              <a:ext cx="104861" cy="1187"/>
            </a:xfrm>
            <a:custGeom>
              <a:avLst/>
              <a:gdLst>
                <a:gd name="connsiteX0" fmla="*/ 0 w 104861"/>
                <a:gd name="connsiteY0" fmla="*/ 0 h 1187"/>
                <a:gd name="connsiteX1" fmla="*/ 104862 w 104861"/>
                <a:gd name="connsiteY1" fmla="*/ 0 h 11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4861" h="1187">
                  <a:moveTo>
                    <a:pt x="0" y="0"/>
                  </a:moveTo>
                  <a:lnTo>
                    <a:pt x="104862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076" name="Gráfico 11">
            <a:extLst>
              <a:ext uri="{FF2B5EF4-FFF2-40B4-BE49-F238E27FC236}">
                <a16:creationId xmlns:a16="http://schemas.microsoft.com/office/drawing/2014/main" id="{68686AB1-C337-6621-67CF-ACC6F48446A6}"/>
              </a:ext>
            </a:extLst>
          </p:cNvPr>
          <p:cNvGrpSpPr/>
          <p:nvPr/>
        </p:nvGrpSpPr>
        <p:grpSpPr>
          <a:xfrm>
            <a:off x="9877555" y="1484287"/>
            <a:ext cx="328546" cy="274020"/>
            <a:chOff x="9877555" y="1484287"/>
            <a:chExt cx="328546" cy="274020"/>
          </a:xfrm>
          <a:noFill/>
        </p:grpSpPr>
        <p:grpSp>
          <p:nvGrpSpPr>
            <p:cNvPr id="1077" name="Gráfico 11">
              <a:extLst>
                <a:ext uri="{FF2B5EF4-FFF2-40B4-BE49-F238E27FC236}">
                  <a16:creationId xmlns:a16="http://schemas.microsoft.com/office/drawing/2014/main" id="{8371D75E-A1D1-D26D-9915-8AF4B4681CA1}"/>
                </a:ext>
              </a:extLst>
            </p:cNvPr>
            <p:cNvGrpSpPr/>
            <p:nvPr/>
          </p:nvGrpSpPr>
          <p:grpSpPr>
            <a:xfrm>
              <a:off x="9908207" y="1549533"/>
              <a:ext cx="263134" cy="159233"/>
              <a:chOff x="9908207" y="1549533"/>
              <a:chExt cx="263134" cy="159233"/>
            </a:xfrm>
            <a:noFill/>
          </p:grpSpPr>
          <p:sp>
            <p:nvSpPr>
              <p:cNvPr id="1078" name="Forma livre: Forma 1077">
                <a:extLst>
                  <a:ext uri="{FF2B5EF4-FFF2-40B4-BE49-F238E27FC236}">
                    <a16:creationId xmlns:a16="http://schemas.microsoft.com/office/drawing/2014/main" id="{11DAA240-179B-95A7-3640-FF6E17733AA6}"/>
                  </a:ext>
                </a:extLst>
              </p:cNvPr>
              <p:cNvSpPr/>
              <p:nvPr/>
            </p:nvSpPr>
            <p:spPr>
              <a:xfrm>
                <a:off x="10171342" y="1593803"/>
                <a:ext cx="1187" cy="114964"/>
              </a:xfrm>
              <a:custGeom>
                <a:avLst/>
                <a:gdLst>
                  <a:gd name="connsiteX0" fmla="*/ 0 w 1187"/>
                  <a:gd name="connsiteY0" fmla="*/ 0 h 114964"/>
                  <a:gd name="connsiteX1" fmla="*/ 0 w 1187"/>
                  <a:gd name="connsiteY1" fmla="*/ 114965 h 1149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87" h="114964">
                    <a:moveTo>
                      <a:pt x="0" y="0"/>
                    </a:moveTo>
                    <a:lnTo>
                      <a:pt x="0" y="114965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079" name="Forma livre: Forma 1078">
                <a:extLst>
                  <a:ext uri="{FF2B5EF4-FFF2-40B4-BE49-F238E27FC236}">
                    <a16:creationId xmlns:a16="http://schemas.microsoft.com/office/drawing/2014/main" id="{CD3F4D95-DF48-D790-7A87-8174B073800F}"/>
                  </a:ext>
                </a:extLst>
              </p:cNvPr>
              <p:cNvSpPr/>
              <p:nvPr/>
            </p:nvSpPr>
            <p:spPr>
              <a:xfrm>
                <a:off x="9908207" y="1549533"/>
                <a:ext cx="65566" cy="159233"/>
              </a:xfrm>
              <a:custGeom>
                <a:avLst/>
                <a:gdLst>
                  <a:gd name="connsiteX0" fmla="*/ 0 w 65566"/>
                  <a:gd name="connsiteY0" fmla="*/ 159234 h 159233"/>
                  <a:gd name="connsiteX1" fmla="*/ 0 w 65566"/>
                  <a:gd name="connsiteY1" fmla="*/ 19208 h 159233"/>
                  <a:gd name="connsiteX2" fmla="*/ 19196 w 65566"/>
                  <a:gd name="connsiteY2" fmla="*/ 0 h 159233"/>
                  <a:gd name="connsiteX3" fmla="*/ 65567 w 65566"/>
                  <a:gd name="connsiteY3" fmla="*/ 0 h 1592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5566" h="159233">
                    <a:moveTo>
                      <a:pt x="0" y="159234"/>
                    </a:moveTo>
                    <a:lnTo>
                      <a:pt x="0" y="19208"/>
                    </a:lnTo>
                    <a:cubicBezTo>
                      <a:pt x="0" y="8643"/>
                      <a:pt x="8643" y="0"/>
                      <a:pt x="19196" y="0"/>
                    </a:cubicBezTo>
                    <a:lnTo>
                      <a:pt x="65567" y="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080" name="Forma livre: Forma 1079">
              <a:extLst>
                <a:ext uri="{FF2B5EF4-FFF2-40B4-BE49-F238E27FC236}">
                  <a16:creationId xmlns:a16="http://schemas.microsoft.com/office/drawing/2014/main" id="{EA77FFD7-5DC6-817A-9D45-AD63653A0F72}"/>
                </a:ext>
              </a:extLst>
            </p:cNvPr>
            <p:cNvSpPr/>
            <p:nvPr/>
          </p:nvSpPr>
          <p:spPr>
            <a:xfrm>
              <a:off x="9877555" y="1731751"/>
              <a:ext cx="324427" cy="26556"/>
            </a:xfrm>
            <a:custGeom>
              <a:avLst/>
              <a:gdLst>
                <a:gd name="connsiteX0" fmla="*/ 300245 w 324427"/>
                <a:gd name="connsiteY0" fmla="*/ 26557 h 26556"/>
                <a:gd name="connsiteX1" fmla="*/ 324427 w 324427"/>
                <a:gd name="connsiteY1" fmla="*/ 0 h 26556"/>
                <a:gd name="connsiteX2" fmla="*/ 0 w 324427"/>
                <a:gd name="connsiteY2" fmla="*/ 0 h 26556"/>
                <a:gd name="connsiteX3" fmla="*/ 24182 w 324427"/>
                <a:gd name="connsiteY3" fmla="*/ 26557 h 26556"/>
                <a:gd name="connsiteX4" fmla="*/ 300245 w 324427"/>
                <a:gd name="connsiteY4" fmla="*/ 26557 h 265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24427" h="26556">
                  <a:moveTo>
                    <a:pt x="300245" y="26557"/>
                  </a:moveTo>
                  <a:cubicBezTo>
                    <a:pt x="318836" y="26557"/>
                    <a:pt x="324427" y="0"/>
                    <a:pt x="324427" y="0"/>
                  </a:cubicBezTo>
                  <a:lnTo>
                    <a:pt x="0" y="0"/>
                  </a:lnTo>
                  <a:cubicBezTo>
                    <a:pt x="0" y="0"/>
                    <a:pt x="5592" y="26557"/>
                    <a:pt x="24182" y="26557"/>
                  </a:cubicBezTo>
                  <a:lnTo>
                    <a:pt x="300245" y="26557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81" name="Forma livre: Forma 1080">
              <a:extLst>
                <a:ext uri="{FF2B5EF4-FFF2-40B4-BE49-F238E27FC236}">
                  <a16:creationId xmlns:a16="http://schemas.microsoft.com/office/drawing/2014/main" id="{834DB348-ACC3-0CC2-773A-FBCC590CD796}"/>
                </a:ext>
              </a:extLst>
            </p:cNvPr>
            <p:cNvSpPr/>
            <p:nvPr/>
          </p:nvSpPr>
          <p:spPr>
            <a:xfrm>
              <a:off x="9996400" y="1484287"/>
              <a:ext cx="86732" cy="115463"/>
            </a:xfrm>
            <a:custGeom>
              <a:avLst/>
              <a:gdLst>
                <a:gd name="connsiteX0" fmla="*/ 43368 w 86732"/>
                <a:gd name="connsiteY0" fmla="*/ 0 h 115463"/>
                <a:gd name="connsiteX1" fmla="*/ 892 w 86732"/>
                <a:gd name="connsiteY1" fmla="*/ 57743 h 115463"/>
                <a:gd name="connsiteX2" fmla="*/ 43368 w 86732"/>
                <a:gd name="connsiteY2" fmla="*/ 115463 h 115463"/>
                <a:gd name="connsiteX3" fmla="*/ 85845 w 86732"/>
                <a:gd name="connsiteY3" fmla="*/ 57743 h 115463"/>
                <a:gd name="connsiteX4" fmla="*/ 43368 w 86732"/>
                <a:gd name="connsiteY4" fmla="*/ 0 h 1154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6732" h="115463">
                  <a:moveTo>
                    <a:pt x="43368" y="0"/>
                  </a:moveTo>
                  <a:cubicBezTo>
                    <a:pt x="286" y="0"/>
                    <a:pt x="-2112" y="26058"/>
                    <a:pt x="892" y="57743"/>
                  </a:cubicBezTo>
                  <a:cubicBezTo>
                    <a:pt x="3919" y="89476"/>
                    <a:pt x="23863" y="115463"/>
                    <a:pt x="43368" y="115463"/>
                  </a:cubicBezTo>
                  <a:cubicBezTo>
                    <a:pt x="62873" y="115463"/>
                    <a:pt x="82829" y="89476"/>
                    <a:pt x="85845" y="57743"/>
                  </a:cubicBezTo>
                  <a:cubicBezTo>
                    <a:pt x="88836" y="26058"/>
                    <a:pt x="86462" y="0"/>
                    <a:pt x="43368" y="0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82" name="Forma livre: Forma 1081">
              <a:extLst>
                <a:ext uri="{FF2B5EF4-FFF2-40B4-BE49-F238E27FC236}">
                  <a16:creationId xmlns:a16="http://schemas.microsoft.com/office/drawing/2014/main" id="{C2CF8AC4-BDFB-2D3F-FDEA-15B62942CD79}"/>
                </a:ext>
              </a:extLst>
            </p:cNvPr>
            <p:cNvSpPr/>
            <p:nvPr/>
          </p:nvSpPr>
          <p:spPr>
            <a:xfrm>
              <a:off x="10024300" y="1517278"/>
              <a:ext cx="57411" cy="16275"/>
            </a:xfrm>
            <a:custGeom>
              <a:avLst/>
              <a:gdLst>
                <a:gd name="connsiteX0" fmla="*/ 57411 w 57411"/>
                <a:gd name="connsiteY0" fmla="*/ 16276 h 16275"/>
                <a:gd name="connsiteX1" fmla="*/ 27886 w 57411"/>
                <a:gd name="connsiteY1" fmla="*/ 0 h 16275"/>
                <a:gd name="connsiteX2" fmla="*/ 0 w 57411"/>
                <a:gd name="connsiteY2" fmla="*/ 13961 h 16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57411" h="16275">
                  <a:moveTo>
                    <a:pt x="57411" y="16276"/>
                  </a:moveTo>
                  <a:cubicBezTo>
                    <a:pt x="39188" y="11515"/>
                    <a:pt x="27886" y="0"/>
                    <a:pt x="27886" y="0"/>
                  </a:cubicBezTo>
                  <a:cubicBezTo>
                    <a:pt x="27886" y="0"/>
                    <a:pt x="23292" y="10198"/>
                    <a:pt x="0" y="13961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83" name="Forma livre: Forma 1082">
              <a:extLst>
                <a:ext uri="{FF2B5EF4-FFF2-40B4-BE49-F238E27FC236}">
                  <a16:creationId xmlns:a16="http://schemas.microsoft.com/office/drawing/2014/main" id="{EA267A38-A1B5-FF28-66A1-E90E6BC04EF4}"/>
                </a:ext>
              </a:extLst>
            </p:cNvPr>
            <p:cNvSpPr/>
            <p:nvPr/>
          </p:nvSpPr>
          <p:spPr>
            <a:xfrm>
              <a:off x="10098296" y="1498830"/>
              <a:ext cx="107806" cy="100196"/>
            </a:xfrm>
            <a:custGeom>
              <a:avLst/>
              <a:gdLst>
                <a:gd name="connsiteX0" fmla="*/ 0 w 107806"/>
                <a:gd name="connsiteY0" fmla="*/ 72536 h 100196"/>
                <a:gd name="connsiteX1" fmla="*/ 20431 w 107806"/>
                <a:gd name="connsiteY1" fmla="*/ 72536 h 100196"/>
                <a:gd name="connsiteX2" fmla="*/ 20431 w 107806"/>
                <a:gd name="connsiteY2" fmla="*/ 100196 h 100196"/>
                <a:gd name="connsiteX3" fmla="*/ 46418 w 107806"/>
                <a:gd name="connsiteY3" fmla="*/ 72536 h 100196"/>
                <a:gd name="connsiteX4" fmla="*/ 107806 w 107806"/>
                <a:gd name="connsiteY4" fmla="*/ 72536 h 100196"/>
                <a:gd name="connsiteX5" fmla="*/ 107806 w 107806"/>
                <a:gd name="connsiteY5" fmla="*/ 0 h 100196"/>
                <a:gd name="connsiteX6" fmla="*/ 3288 w 107806"/>
                <a:gd name="connsiteY6" fmla="*/ 0 h 1001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7806" h="100196">
                  <a:moveTo>
                    <a:pt x="0" y="72536"/>
                  </a:moveTo>
                  <a:lnTo>
                    <a:pt x="20431" y="72536"/>
                  </a:lnTo>
                  <a:lnTo>
                    <a:pt x="20431" y="100196"/>
                  </a:lnTo>
                  <a:lnTo>
                    <a:pt x="46418" y="72536"/>
                  </a:lnTo>
                  <a:lnTo>
                    <a:pt x="107806" y="72536"/>
                  </a:lnTo>
                  <a:lnTo>
                    <a:pt x="107806" y="0"/>
                  </a:lnTo>
                  <a:lnTo>
                    <a:pt x="3288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84" name="Forma livre: Forma 1083">
              <a:extLst>
                <a:ext uri="{FF2B5EF4-FFF2-40B4-BE49-F238E27FC236}">
                  <a16:creationId xmlns:a16="http://schemas.microsoft.com/office/drawing/2014/main" id="{0357EEA9-83C7-03E9-A1E9-705011D634AF}"/>
                </a:ext>
              </a:extLst>
            </p:cNvPr>
            <p:cNvSpPr/>
            <p:nvPr/>
          </p:nvSpPr>
          <p:spPr>
            <a:xfrm>
              <a:off x="9948642" y="1614756"/>
              <a:ext cx="182252" cy="94011"/>
            </a:xfrm>
            <a:custGeom>
              <a:avLst/>
              <a:gdLst>
                <a:gd name="connsiteX0" fmla="*/ 182253 w 182252"/>
                <a:gd name="connsiteY0" fmla="*/ 94011 h 94011"/>
                <a:gd name="connsiteX1" fmla="*/ 182253 w 182252"/>
                <a:gd name="connsiteY1" fmla="*/ 42940 h 94011"/>
                <a:gd name="connsiteX2" fmla="*/ 148454 w 182252"/>
                <a:gd name="connsiteY2" fmla="*/ 6601 h 94011"/>
                <a:gd name="connsiteX3" fmla="*/ 120402 w 182252"/>
                <a:gd name="connsiteY3" fmla="*/ 1413 h 94011"/>
                <a:gd name="connsiteX4" fmla="*/ 91126 w 182252"/>
                <a:gd name="connsiteY4" fmla="*/ 54740 h 94011"/>
                <a:gd name="connsiteX5" fmla="*/ 61851 w 182252"/>
                <a:gd name="connsiteY5" fmla="*/ 0 h 94011"/>
                <a:gd name="connsiteX6" fmla="*/ 33798 w 182252"/>
                <a:gd name="connsiteY6" fmla="*/ 6589 h 94011"/>
                <a:gd name="connsiteX7" fmla="*/ 0 w 182252"/>
                <a:gd name="connsiteY7" fmla="*/ 42928 h 94011"/>
                <a:gd name="connsiteX8" fmla="*/ 0 w 182252"/>
                <a:gd name="connsiteY8" fmla="*/ 93999 h 940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82252" h="94011">
                  <a:moveTo>
                    <a:pt x="182253" y="94011"/>
                  </a:moveTo>
                  <a:lnTo>
                    <a:pt x="182253" y="42940"/>
                  </a:lnTo>
                  <a:cubicBezTo>
                    <a:pt x="182253" y="15065"/>
                    <a:pt x="148454" y="6601"/>
                    <a:pt x="148454" y="6601"/>
                  </a:cubicBezTo>
                  <a:lnTo>
                    <a:pt x="120402" y="1413"/>
                  </a:lnTo>
                  <a:lnTo>
                    <a:pt x="91126" y="54740"/>
                  </a:lnTo>
                  <a:lnTo>
                    <a:pt x="61851" y="0"/>
                  </a:lnTo>
                  <a:lnTo>
                    <a:pt x="33798" y="6589"/>
                  </a:lnTo>
                  <a:cubicBezTo>
                    <a:pt x="33798" y="6589"/>
                    <a:pt x="0" y="15041"/>
                    <a:pt x="0" y="42928"/>
                  </a:cubicBezTo>
                  <a:lnTo>
                    <a:pt x="0" y="93999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85" name="Forma livre: Forma 1084">
              <a:extLst>
                <a:ext uri="{FF2B5EF4-FFF2-40B4-BE49-F238E27FC236}">
                  <a16:creationId xmlns:a16="http://schemas.microsoft.com/office/drawing/2014/main" id="{679F4DC8-1B9D-178B-D012-27B6D2B56A1B}"/>
                </a:ext>
              </a:extLst>
            </p:cNvPr>
            <p:cNvSpPr/>
            <p:nvPr/>
          </p:nvSpPr>
          <p:spPr>
            <a:xfrm>
              <a:off x="10085925" y="1654253"/>
              <a:ext cx="1187" cy="39010"/>
            </a:xfrm>
            <a:custGeom>
              <a:avLst/>
              <a:gdLst>
                <a:gd name="connsiteX0" fmla="*/ 0 w 1187"/>
                <a:gd name="connsiteY0" fmla="*/ 0 h 39010"/>
                <a:gd name="connsiteX1" fmla="*/ 0 w 1187"/>
                <a:gd name="connsiteY1" fmla="*/ 39010 h 390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87" h="39010">
                  <a:moveTo>
                    <a:pt x="0" y="0"/>
                  </a:moveTo>
                  <a:lnTo>
                    <a:pt x="0" y="3901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86" name="Forma livre: Forma 1085">
              <a:extLst>
                <a:ext uri="{FF2B5EF4-FFF2-40B4-BE49-F238E27FC236}">
                  <a16:creationId xmlns:a16="http://schemas.microsoft.com/office/drawing/2014/main" id="{30C3F146-FE4A-553F-C050-2309D7FAA9C5}"/>
                </a:ext>
              </a:extLst>
            </p:cNvPr>
            <p:cNvSpPr/>
            <p:nvPr/>
          </p:nvSpPr>
          <p:spPr>
            <a:xfrm>
              <a:off x="10066420" y="1673758"/>
              <a:ext cx="39021" cy="1187"/>
            </a:xfrm>
            <a:custGeom>
              <a:avLst/>
              <a:gdLst>
                <a:gd name="connsiteX0" fmla="*/ 39022 w 39021"/>
                <a:gd name="connsiteY0" fmla="*/ 0 h 1187"/>
                <a:gd name="connsiteX1" fmla="*/ 0 w 39021"/>
                <a:gd name="connsiteY1" fmla="*/ 0 h 11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9021" h="1187">
                  <a:moveTo>
                    <a:pt x="39022" y="0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87" name="Forma livre: Forma 1086">
              <a:extLst>
                <a:ext uri="{FF2B5EF4-FFF2-40B4-BE49-F238E27FC236}">
                  <a16:creationId xmlns:a16="http://schemas.microsoft.com/office/drawing/2014/main" id="{1EC67A5B-C8F4-CEC0-013B-973CA9D2DBF6}"/>
                </a:ext>
              </a:extLst>
            </p:cNvPr>
            <p:cNvSpPr/>
            <p:nvPr/>
          </p:nvSpPr>
          <p:spPr>
            <a:xfrm>
              <a:off x="10039768" y="1664973"/>
              <a:ext cx="1187" cy="43794"/>
            </a:xfrm>
            <a:custGeom>
              <a:avLst/>
              <a:gdLst>
                <a:gd name="connsiteX0" fmla="*/ 0 w 1187"/>
                <a:gd name="connsiteY0" fmla="*/ 0 h 43794"/>
                <a:gd name="connsiteX1" fmla="*/ 0 w 1187"/>
                <a:gd name="connsiteY1" fmla="*/ 43794 h 437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87" h="43794">
                  <a:moveTo>
                    <a:pt x="0" y="0"/>
                  </a:moveTo>
                  <a:lnTo>
                    <a:pt x="0" y="43794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088" name="Gráfico 11">
            <a:extLst>
              <a:ext uri="{FF2B5EF4-FFF2-40B4-BE49-F238E27FC236}">
                <a16:creationId xmlns:a16="http://schemas.microsoft.com/office/drawing/2014/main" id="{F9C7A3C9-CC58-EB0D-9AFC-71AC8A10EEF1}"/>
              </a:ext>
            </a:extLst>
          </p:cNvPr>
          <p:cNvGrpSpPr/>
          <p:nvPr/>
        </p:nvGrpSpPr>
        <p:grpSpPr>
          <a:xfrm>
            <a:off x="9913633" y="1949417"/>
            <a:ext cx="256391" cy="298369"/>
            <a:chOff x="9913633" y="1949417"/>
            <a:chExt cx="256391" cy="298369"/>
          </a:xfrm>
          <a:noFill/>
        </p:grpSpPr>
        <p:sp>
          <p:nvSpPr>
            <p:cNvPr id="1089" name="Forma livre: Forma 1088">
              <a:extLst>
                <a:ext uri="{FF2B5EF4-FFF2-40B4-BE49-F238E27FC236}">
                  <a16:creationId xmlns:a16="http://schemas.microsoft.com/office/drawing/2014/main" id="{20C4EF54-5AE8-73C1-43C8-4DC80F038EC2}"/>
                </a:ext>
              </a:extLst>
            </p:cNvPr>
            <p:cNvSpPr/>
            <p:nvPr/>
          </p:nvSpPr>
          <p:spPr>
            <a:xfrm>
              <a:off x="9953486" y="2135445"/>
              <a:ext cx="65887" cy="65887"/>
            </a:xfrm>
            <a:custGeom>
              <a:avLst/>
              <a:gdLst>
                <a:gd name="connsiteX0" fmla="*/ 65887 w 65887"/>
                <a:gd name="connsiteY0" fmla="*/ 65887 h 65887"/>
                <a:gd name="connsiteX1" fmla="*/ 0 w 65887"/>
                <a:gd name="connsiteY1" fmla="*/ 0 h 658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5887" h="65887">
                  <a:moveTo>
                    <a:pt x="65887" y="65887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090" name="Gráfico 11">
              <a:extLst>
                <a:ext uri="{FF2B5EF4-FFF2-40B4-BE49-F238E27FC236}">
                  <a16:creationId xmlns:a16="http://schemas.microsoft.com/office/drawing/2014/main" id="{3B2CEFDB-492B-1ECD-4441-D3DB2EA1841F}"/>
                </a:ext>
              </a:extLst>
            </p:cNvPr>
            <p:cNvGrpSpPr/>
            <p:nvPr/>
          </p:nvGrpSpPr>
          <p:grpSpPr>
            <a:xfrm>
              <a:off x="9913633" y="1983061"/>
              <a:ext cx="256391" cy="254479"/>
              <a:chOff x="9913633" y="1983061"/>
              <a:chExt cx="256391" cy="254479"/>
            </a:xfrm>
            <a:noFill/>
          </p:grpSpPr>
          <p:sp>
            <p:nvSpPr>
              <p:cNvPr id="1091" name="Forma livre: Forma 1090">
                <a:extLst>
                  <a:ext uri="{FF2B5EF4-FFF2-40B4-BE49-F238E27FC236}">
                    <a16:creationId xmlns:a16="http://schemas.microsoft.com/office/drawing/2014/main" id="{383C965B-D585-89D1-7878-B9BA23928D6E}"/>
                  </a:ext>
                </a:extLst>
              </p:cNvPr>
              <p:cNvSpPr/>
              <p:nvPr/>
            </p:nvSpPr>
            <p:spPr>
              <a:xfrm>
                <a:off x="9913633" y="2189484"/>
                <a:ext cx="47605" cy="48056"/>
              </a:xfrm>
              <a:custGeom>
                <a:avLst/>
                <a:gdLst>
                  <a:gd name="connsiteX0" fmla="*/ 47605 w 47605"/>
                  <a:gd name="connsiteY0" fmla="*/ 48056 h 48056"/>
                  <a:gd name="connsiteX1" fmla="*/ 0 w 47605"/>
                  <a:gd name="connsiteY1" fmla="*/ 0 h 480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605" h="48056">
                    <a:moveTo>
                      <a:pt x="47605" y="48056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1092" name="Gráfico 11">
                <a:extLst>
                  <a:ext uri="{FF2B5EF4-FFF2-40B4-BE49-F238E27FC236}">
                    <a16:creationId xmlns:a16="http://schemas.microsoft.com/office/drawing/2014/main" id="{92018283-D3A5-325F-F2C6-25FF8947507C}"/>
                  </a:ext>
                </a:extLst>
              </p:cNvPr>
              <p:cNvGrpSpPr/>
              <p:nvPr/>
            </p:nvGrpSpPr>
            <p:grpSpPr>
              <a:xfrm>
                <a:off x="9964134" y="2042894"/>
                <a:ext cx="145047" cy="144513"/>
                <a:chOff x="9964134" y="2042894"/>
                <a:chExt cx="145047" cy="144513"/>
              </a:xfrm>
              <a:noFill/>
            </p:grpSpPr>
            <p:sp>
              <p:nvSpPr>
                <p:cNvPr id="1093" name="Forma livre: Forma 1092">
                  <a:extLst>
                    <a:ext uri="{FF2B5EF4-FFF2-40B4-BE49-F238E27FC236}">
                      <a16:creationId xmlns:a16="http://schemas.microsoft.com/office/drawing/2014/main" id="{2ED1203B-8899-D307-494B-74FEFEEFF5F6}"/>
                    </a:ext>
                  </a:extLst>
                </p:cNvPr>
                <p:cNvSpPr/>
                <p:nvPr/>
              </p:nvSpPr>
              <p:spPr>
                <a:xfrm>
                  <a:off x="9964134" y="2042894"/>
                  <a:ext cx="145047" cy="144513"/>
                </a:xfrm>
                <a:custGeom>
                  <a:avLst/>
                  <a:gdLst>
                    <a:gd name="connsiteX0" fmla="*/ 0 w 145047"/>
                    <a:gd name="connsiteY0" fmla="*/ 103366 h 144513"/>
                    <a:gd name="connsiteX1" fmla="*/ 104280 w 145047"/>
                    <a:gd name="connsiteY1" fmla="*/ 0 h 144513"/>
                    <a:gd name="connsiteX2" fmla="*/ 145047 w 145047"/>
                    <a:gd name="connsiteY2" fmla="*/ 41135 h 144513"/>
                    <a:gd name="connsiteX3" fmla="*/ 40779 w 145047"/>
                    <a:gd name="connsiteY3" fmla="*/ 144513 h 14451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45047" h="144513">
                      <a:moveTo>
                        <a:pt x="0" y="103366"/>
                      </a:moveTo>
                      <a:lnTo>
                        <a:pt x="104280" y="0"/>
                      </a:lnTo>
                      <a:lnTo>
                        <a:pt x="145047" y="41135"/>
                      </a:lnTo>
                      <a:lnTo>
                        <a:pt x="40779" y="144513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094" name="Forma livre: Forma 1093">
                  <a:extLst>
                    <a:ext uri="{FF2B5EF4-FFF2-40B4-BE49-F238E27FC236}">
                      <a16:creationId xmlns:a16="http://schemas.microsoft.com/office/drawing/2014/main" id="{E6D23614-CFF5-8172-FAFE-EB9251B3A25C}"/>
                    </a:ext>
                  </a:extLst>
                </p:cNvPr>
                <p:cNvSpPr/>
                <p:nvPr/>
              </p:nvSpPr>
              <p:spPr>
                <a:xfrm>
                  <a:off x="10018032" y="2143921"/>
                  <a:ext cx="14198" cy="14293"/>
                </a:xfrm>
                <a:custGeom>
                  <a:avLst/>
                  <a:gdLst>
                    <a:gd name="connsiteX0" fmla="*/ 14198 w 14198"/>
                    <a:gd name="connsiteY0" fmla="*/ 14293 h 14293"/>
                    <a:gd name="connsiteX1" fmla="*/ 0 w 14198"/>
                    <a:gd name="connsiteY1" fmla="*/ 0 h 1429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4198" h="14293">
                      <a:moveTo>
                        <a:pt x="14198" y="14293"/>
                      </a:moveTo>
                      <a:lnTo>
                        <a:pt x="0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095" name="Forma livre: Forma 1094">
                  <a:extLst>
                    <a:ext uri="{FF2B5EF4-FFF2-40B4-BE49-F238E27FC236}">
                      <a16:creationId xmlns:a16="http://schemas.microsoft.com/office/drawing/2014/main" id="{0AF651FC-EC32-AF9E-2390-56733839935C}"/>
                    </a:ext>
                  </a:extLst>
                </p:cNvPr>
                <p:cNvSpPr/>
                <p:nvPr/>
              </p:nvSpPr>
              <p:spPr>
                <a:xfrm>
                  <a:off x="10043330" y="2118848"/>
                  <a:ext cx="14186" cy="14305"/>
                </a:xfrm>
                <a:custGeom>
                  <a:avLst/>
                  <a:gdLst>
                    <a:gd name="connsiteX0" fmla="*/ 14187 w 14186"/>
                    <a:gd name="connsiteY0" fmla="*/ 14305 h 14305"/>
                    <a:gd name="connsiteX1" fmla="*/ 0 w 14186"/>
                    <a:gd name="connsiteY1" fmla="*/ 0 h 1430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4186" h="14305">
                      <a:moveTo>
                        <a:pt x="14187" y="14305"/>
                      </a:moveTo>
                      <a:lnTo>
                        <a:pt x="0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096" name="Forma livre: Forma 1095">
                  <a:extLst>
                    <a:ext uri="{FF2B5EF4-FFF2-40B4-BE49-F238E27FC236}">
                      <a16:creationId xmlns:a16="http://schemas.microsoft.com/office/drawing/2014/main" id="{28EC7E61-BE3D-6B4E-DF46-F51E3A191632}"/>
                    </a:ext>
                  </a:extLst>
                </p:cNvPr>
                <p:cNvSpPr/>
                <p:nvPr/>
              </p:nvSpPr>
              <p:spPr>
                <a:xfrm>
                  <a:off x="10068628" y="2093763"/>
                  <a:ext cx="14174" cy="14329"/>
                </a:xfrm>
                <a:custGeom>
                  <a:avLst/>
                  <a:gdLst>
                    <a:gd name="connsiteX0" fmla="*/ 14175 w 14174"/>
                    <a:gd name="connsiteY0" fmla="*/ 14329 h 14329"/>
                    <a:gd name="connsiteX1" fmla="*/ 0 w 14174"/>
                    <a:gd name="connsiteY1" fmla="*/ 0 h 1432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4174" h="14329">
                      <a:moveTo>
                        <a:pt x="14175" y="14329"/>
                      </a:moveTo>
                      <a:lnTo>
                        <a:pt x="0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1097" name="Gráfico 11">
                <a:extLst>
                  <a:ext uri="{FF2B5EF4-FFF2-40B4-BE49-F238E27FC236}">
                    <a16:creationId xmlns:a16="http://schemas.microsoft.com/office/drawing/2014/main" id="{74E61AB0-3A33-A121-E46F-BED9ED6483AF}"/>
                  </a:ext>
                </a:extLst>
              </p:cNvPr>
              <p:cNvGrpSpPr/>
              <p:nvPr/>
            </p:nvGrpSpPr>
            <p:grpSpPr>
              <a:xfrm>
                <a:off x="9926525" y="2157502"/>
                <a:ext cx="67217" cy="67015"/>
                <a:chOff x="9926525" y="2157502"/>
                <a:chExt cx="67217" cy="67015"/>
              </a:xfrm>
            </p:grpSpPr>
            <p:sp>
              <p:nvSpPr>
                <p:cNvPr id="1098" name="Forma livre: Forma 1097">
                  <a:extLst>
                    <a:ext uri="{FF2B5EF4-FFF2-40B4-BE49-F238E27FC236}">
                      <a16:creationId xmlns:a16="http://schemas.microsoft.com/office/drawing/2014/main" id="{D20F3C24-CEE6-6C2D-D351-C4871F8F9F4F}"/>
                    </a:ext>
                  </a:extLst>
                </p:cNvPr>
                <p:cNvSpPr/>
                <p:nvPr/>
              </p:nvSpPr>
              <p:spPr>
                <a:xfrm>
                  <a:off x="9948250" y="2179417"/>
                  <a:ext cx="45492" cy="45100"/>
                </a:xfrm>
                <a:custGeom>
                  <a:avLst/>
                  <a:gdLst>
                    <a:gd name="connsiteX0" fmla="*/ 45492 w 45492"/>
                    <a:gd name="connsiteY0" fmla="*/ 0 h 45100"/>
                    <a:gd name="connsiteX1" fmla="*/ 0 w 45492"/>
                    <a:gd name="connsiteY1" fmla="*/ 45100 h 451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5492" h="45100">
                      <a:moveTo>
                        <a:pt x="45492" y="0"/>
                      </a:moveTo>
                      <a:lnTo>
                        <a:pt x="0" y="4510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099" name="Forma livre: Forma 1098">
                  <a:extLst>
                    <a:ext uri="{FF2B5EF4-FFF2-40B4-BE49-F238E27FC236}">
                      <a16:creationId xmlns:a16="http://schemas.microsoft.com/office/drawing/2014/main" id="{1DEE1BE8-102F-B806-A497-BBF75F3502C5}"/>
                    </a:ext>
                  </a:extLst>
                </p:cNvPr>
                <p:cNvSpPr/>
                <p:nvPr/>
              </p:nvSpPr>
              <p:spPr>
                <a:xfrm>
                  <a:off x="9926525" y="2157502"/>
                  <a:ext cx="45503" cy="45100"/>
                </a:xfrm>
                <a:custGeom>
                  <a:avLst/>
                  <a:gdLst>
                    <a:gd name="connsiteX0" fmla="*/ 45504 w 45503"/>
                    <a:gd name="connsiteY0" fmla="*/ 0 h 45100"/>
                    <a:gd name="connsiteX1" fmla="*/ 0 w 45503"/>
                    <a:gd name="connsiteY1" fmla="*/ 45100 h 451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5503" h="45100">
                      <a:moveTo>
                        <a:pt x="45504" y="0"/>
                      </a:moveTo>
                      <a:lnTo>
                        <a:pt x="0" y="4510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1100" name="Forma livre: Forma 1099">
                <a:extLst>
                  <a:ext uri="{FF2B5EF4-FFF2-40B4-BE49-F238E27FC236}">
                    <a16:creationId xmlns:a16="http://schemas.microsoft.com/office/drawing/2014/main" id="{BFE14049-53B3-D3DE-9C5B-F1DD7487C480}"/>
                  </a:ext>
                </a:extLst>
              </p:cNvPr>
              <p:cNvSpPr/>
              <p:nvPr/>
            </p:nvSpPr>
            <p:spPr>
              <a:xfrm>
                <a:off x="10122870" y="1983061"/>
                <a:ext cx="47154" cy="46631"/>
              </a:xfrm>
              <a:custGeom>
                <a:avLst/>
                <a:gdLst>
                  <a:gd name="connsiteX0" fmla="*/ 0 w 47154"/>
                  <a:gd name="connsiteY0" fmla="*/ 46632 h 46631"/>
                  <a:gd name="connsiteX1" fmla="*/ 47154 w 47154"/>
                  <a:gd name="connsiteY1" fmla="*/ 0 h 466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154" h="46631">
                    <a:moveTo>
                      <a:pt x="0" y="46632"/>
                    </a:moveTo>
                    <a:lnTo>
                      <a:pt x="47154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101" name="Forma livre: Forma 1100">
                <a:extLst>
                  <a:ext uri="{FF2B5EF4-FFF2-40B4-BE49-F238E27FC236}">
                    <a16:creationId xmlns:a16="http://schemas.microsoft.com/office/drawing/2014/main" id="{4A6BEAF2-B154-8F14-E066-91CCDA61BB14}"/>
                  </a:ext>
                </a:extLst>
              </p:cNvPr>
              <p:cNvSpPr/>
              <p:nvPr/>
            </p:nvSpPr>
            <p:spPr>
              <a:xfrm>
                <a:off x="10093511" y="2023709"/>
                <a:ext cx="35270" cy="50335"/>
              </a:xfrm>
              <a:custGeom>
                <a:avLst/>
                <a:gdLst>
                  <a:gd name="connsiteX0" fmla="*/ 0 w 35270"/>
                  <a:gd name="connsiteY0" fmla="*/ 18235 h 50335"/>
                  <a:gd name="connsiteX1" fmla="*/ 20134 w 35270"/>
                  <a:gd name="connsiteY1" fmla="*/ 0 h 50335"/>
                  <a:gd name="connsiteX2" fmla="*/ 35271 w 35270"/>
                  <a:gd name="connsiteY2" fmla="*/ 15255 h 50335"/>
                  <a:gd name="connsiteX3" fmla="*/ 2932 w 35270"/>
                  <a:gd name="connsiteY3" fmla="*/ 50336 h 503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5270" h="50335">
                    <a:moveTo>
                      <a:pt x="0" y="18235"/>
                    </a:moveTo>
                    <a:lnTo>
                      <a:pt x="20134" y="0"/>
                    </a:lnTo>
                    <a:lnTo>
                      <a:pt x="35271" y="15255"/>
                    </a:lnTo>
                    <a:lnTo>
                      <a:pt x="2932" y="50336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102" name="Forma livre: Forma 1101">
              <a:extLst>
                <a:ext uri="{FF2B5EF4-FFF2-40B4-BE49-F238E27FC236}">
                  <a16:creationId xmlns:a16="http://schemas.microsoft.com/office/drawing/2014/main" id="{190E97CB-BA03-1EE7-520B-0753D8E8DD5E}"/>
                </a:ext>
              </a:extLst>
            </p:cNvPr>
            <p:cNvSpPr/>
            <p:nvPr/>
          </p:nvSpPr>
          <p:spPr>
            <a:xfrm>
              <a:off x="9923163" y="1949417"/>
              <a:ext cx="195681" cy="211219"/>
            </a:xfrm>
            <a:custGeom>
              <a:avLst/>
              <a:gdLst>
                <a:gd name="connsiteX0" fmla="*/ 195682 w 195681"/>
                <a:gd name="connsiteY0" fmla="*/ 47570 h 211219"/>
                <a:gd name="connsiteX1" fmla="*/ 117246 w 195681"/>
                <a:gd name="connsiteY1" fmla="*/ 0 h 211219"/>
                <a:gd name="connsiteX2" fmla="*/ 97 w 195681"/>
                <a:gd name="connsiteY2" fmla="*/ 50668 h 211219"/>
                <a:gd name="connsiteX3" fmla="*/ 97 w 195681"/>
                <a:gd name="connsiteY3" fmla="*/ 178217 h 211219"/>
                <a:gd name="connsiteX4" fmla="*/ 8977 w 195681"/>
                <a:gd name="connsiteY4" fmla="*/ 211220 h 2112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5681" h="211219">
                  <a:moveTo>
                    <a:pt x="195682" y="47570"/>
                  </a:moveTo>
                  <a:cubicBezTo>
                    <a:pt x="131943" y="36565"/>
                    <a:pt x="117246" y="12"/>
                    <a:pt x="117246" y="0"/>
                  </a:cubicBezTo>
                  <a:cubicBezTo>
                    <a:pt x="117246" y="0"/>
                    <a:pt x="96863" y="50668"/>
                    <a:pt x="97" y="50668"/>
                  </a:cubicBezTo>
                  <a:lnTo>
                    <a:pt x="97" y="178217"/>
                  </a:lnTo>
                  <a:cubicBezTo>
                    <a:pt x="97" y="178217"/>
                    <a:pt x="-1577" y="191323"/>
                    <a:pt x="8977" y="21122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03" name="Forma livre: Forma 1102">
              <a:extLst>
                <a:ext uri="{FF2B5EF4-FFF2-40B4-BE49-F238E27FC236}">
                  <a16:creationId xmlns:a16="http://schemas.microsoft.com/office/drawing/2014/main" id="{6C2173EB-7BA1-9A92-EB84-5AD2616DBD84}"/>
                </a:ext>
              </a:extLst>
            </p:cNvPr>
            <p:cNvSpPr/>
            <p:nvPr/>
          </p:nvSpPr>
          <p:spPr>
            <a:xfrm>
              <a:off x="9990489" y="2030880"/>
              <a:ext cx="167154" cy="216906"/>
            </a:xfrm>
            <a:custGeom>
              <a:avLst/>
              <a:gdLst>
                <a:gd name="connsiteX0" fmla="*/ 0 w 167154"/>
                <a:gd name="connsiteY0" fmla="*/ 189032 h 216906"/>
                <a:gd name="connsiteX1" fmla="*/ 2386 w 167154"/>
                <a:gd name="connsiteY1" fmla="*/ 190622 h 216906"/>
                <a:gd name="connsiteX2" fmla="*/ 49908 w 167154"/>
                <a:gd name="connsiteY2" fmla="*/ 216906 h 216906"/>
                <a:gd name="connsiteX3" fmla="*/ 167057 w 167154"/>
                <a:gd name="connsiteY3" fmla="*/ 96754 h 216906"/>
                <a:gd name="connsiteX4" fmla="*/ 167057 w 167154"/>
                <a:gd name="connsiteY4" fmla="*/ 0 h 2169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7154" h="216906">
                  <a:moveTo>
                    <a:pt x="0" y="189032"/>
                  </a:moveTo>
                  <a:cubicBezTo>
                    <a:pt x="784" y="189554"/>
                    <a:pt x="1591" y="190088"/>
                    <a:pt x="2386" y="190622"/>
                  </a:cubicBezTo>
                  <a:cubicBezTo>
                    <a:pt x="15587" y="199289"/>
                    <a:pt x="31270" y="208133"/>
                    <a:pt x="49908" y="216906"/>
                  </a:cubicBezTo>
                  <a:cubicBezTo>
                    <a:pt x="174904" y="158035"/>
                    <a:pt x="167057" y="96754"/>
                    <a:pt x="167057" y="96754"/>
                  </a:cubicBezTo>
                  <a:lnTo>
                    <a:pt x="167057" y="0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104" name="Gráfico 11">
            <a:extLst>
              <a:ext uri="{FF2B5EF4-FFF2-40B4-BE49-F238E27FC236}">
                <a16:creationId xmlns:a16="http://schemas.microsoft.com/office/drawing/2014/main" id="{D1E599C6-644A-E3AE-B386-053BA8359555}"/>
              </a:ext>
            </a:extLst>
          </p:cNvPr>
          <p:cNvGrpSpPr/>
          <p:nvPr/>
        </p:nvGrpSpPr>
        <p:grpSpPr>
          <a:xfrm>
            <a:off x="9866692" y="3082965"/>
            <a:ext cx="350271" cy="320485"/>
            <a:chOff x="9866692" y="3082965"/>
            <a:chExt cx="350271" cy="320485"/>
          </a:xfrm>
          <a:noFill/>
        </p:grpSpPr>
        <p:grpSp>
          <p:nvGrpSpPr>
            <p:cNvPr id="1105" name="Gráfico 11">
              <a:extLst>
                <a:ext uri="{FF2B5EF4-FFF2-40B4-BE49-F238E27FC236}">
                  <a16:creationId xmlns:a16="http://schemas.microsoft.com/office/drawing/2014/main" id="{3D66ADC5-9665-FCC0-E56E-9574362D8BFD}"/>
                </a:ext>
              </a:extLst>
            </p:cNvPr>
            <p:cNvGrpSpPr/>
            <p:nvPr/>
          </p:nvGrpSpPr>
          <p:grpSpPr>
            <a:xfrm>
              <a:off x="9866692" y="3082965"/>
              <a:ext cx="257435" cy="257340"/>
              <a:chOff x="9866692" y="3082965"/>
              <a:chExt cx="257435" cy="257340"/>
            </a:xfrm>
            <a:noFill/>
          </p:grpSpPr>
          <p:sp>
            <p:nvSpPr>
              <p:cNvPr id="1106" name="Forma livre: Forma 1105">
                <a:extLst>
                  <a:ext uri="{FF2B5EF4-FFF2-40B4-BE49-F238E27FC236}">
                    <a16:creationId xmlns:a16="http://schemas.microsoft.com/office/drawing/2014/main" id="{A5765F55-55D8-F875-FBAB-F98F81D6C0BA}"/>
                  </a:ext>
                </a:extLst>
              </p:cNvPr>
              <p:cNvSpPr/>
              <p:nvPr/>
            </p:nvSpPr>
            <p:spPr>
              <a:xfrm>
                <a:off x="9889142" y="3158753"/>
                <a:ext cx="212537" cy="1187"/>
              </a:xfrm>
              <a:custGeom>
                <a:avLst/>
                <a:gdLst>
                  <a:gd name="connsiteX0" fmla="*/ 0 w 212537"/>
                  <a:gd name="connsiteY0" fmla="*/ 0 h 1187"/>
                  <a:gd name="connsiteX1" fmla="*/ 212537 w 212537"/>
                  <a:gd name="connsiteY1" fmla="*/ 0 h 11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12537" h="1187">
                    <a:moveTo>
                      <a:pt x="0" y="0"/>
                    </a:moveTo>
                    <a:lnTo>
                      <a:pt x="212537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107" name="Forma livre: Forma 1106">
                <a:extLst>
                  <a:ext uri="{FF2B5EF4-FFF2-40B4-BE49-F238E27FC236}">
                    <a16:creationId xmlns:a16="http://schemas.microsoft.com/office/drawing/2014/main" id="{CBB36D9F-1B25-DCB5-42C1-DDCCC6FC6D46}"/>
                  </a:ext>
                </a:extLst>
              </p:cNvPr>
              <p:cNvSpPr/>
              <p:nvPr/>
            </p:nvSpPr>
            <p:spPr>
              <a:xfrm>
                <a:off x="9866692" y="3106031"/>
                <a:ext cx="171058" cy="234274"/>
              </a:xfrm>
              <a:custGeom>
                <a:avLst/>
                <a:gdLst>
                  <a:gd name="connsiteX0" fmla="*/ 171058 w 171058"/>
                  <a:gd name="connsiteY0" fmla="*/ 234274 h 234274"/>
                  <a:gd name="connsiteX1" fmla="*/ 14863 w 171058"/>
                  <a:gd name="connsiteY1" fmla="*/ 234274 h 234274"/>
                  <a:gd name="connsiteX2" fmla="*/ 0 w 171058"/>
                  <a:gd name="connsiteY2" fmla="*/ 219340 h 234274"/>
                  <a:gd name="connsiteX3" fmla="*/ 0 w 171058"/>
                  <a:gd name="connsiteY3" fmla="*/ 14863 h 234274"/>
                  <a:gd name="connsiteX4" fmla="*/ 14863 w 171058"/>
                  <a:gd name="connsiteY4" fmla="*/ 0 h 234274"/>
                  <a:gd name="connsiteX5" fmla="*/ 55749 w 171058"/>
                  <a:gd name="connsiteY5" fmla="*/ 0 h 2342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71058" h="234274">
                    <a:moveTo>
                      <a:pt x="171058" y="234274"/>
                    </a:moveTo>
                    <a:lnTo>
                      <a:pt x="14863" y="234274"/>
                    </a:lnTo>
                    <a:cubicBezTo>
                      <a:pt x="6696" y="234274"/>
                      <a:pt x="0" y="227519"/>
                      <a:pt x="0" y="219340"/>
                    </a:cubicBezTo>
                    <a:lnTo>
                      <a:pt x="0" y="14863"/>
                    </a:lnTo>
                    <a:cubicBezTo>
                      <a:pt x="0" y="6696"/>
                      <a:pt x="6696" y="0"/>
                      <a:pt x="14863" y="0"/>
                    </a:cubicBezTo>
                    <a:lnTo>
                      <a:pt x="55749" y="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108" name="Forma livre: Forma 1107">
                <a:extLst>
                  <a:ext uri="{FF2B5EF4-FFF2-40B4-BE49-F238E27FC236}">
                    <a16:creationId xmlns:a16="http://schemas.microsoft.com/office/drawing/2014/main" id="{8833C458-ABF5-7D48-A40A-9C0DF14AC5F1}"/>
                  </a:ext>
                </a:extLst>
              </p:cNvPr>
              <p:cNvSpPr/>
              <p:nvPr/>
            </p:nvSpPr>
            <p:spPr>
              <a:xfrm>
                <a:off x="10081889" y="3106031"/>
                <a:ext cx="42239" cy="72096"/>
              </a:xfrm>
              <a:custGeom>
                <a:avLst/>
                <a:gdLst>
                  <a:gd name="connsiteX0" fmla="*/ 0 w 42239"/>
                  <a:gd name="connsiteY0" fmla="*/ 0 h 72096"/>
                  <a:gd name="connsiteX1" fmla="*/ 27376 w 42239"/>
                  <a:gd name="connsiteY1" fmla="*/ 0 h 72096"/>
                  <a:gd name="connsiteX2" fmla="*/ 42239 w 42239"/>
                  <a:gd name="connsiteY2" fmla="*/ 14863 h 72096"/>
                  <a:gd name="connsiteX3" fmla="*/ 42239 w 42239"/>
                  <a:gd name="connsiteY3" fmla="*/ 72096 h 720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2239" h="72096">
                    <a:moveTo>
                      <a:pt x="0" y="0"/>
                    </a:moveTo>
                    <a:lnTo>
                      <a:pt x="27376" y="0"/>
                    </a:lnTo>
                    <a:cubicBezTo>
                      <a:pt x="35544" y="0"/>
                      <a:pt x="42239" y="6684"/>
                      <a:pt x="42239" y="14863"/>
                    </a:cubicBezTo>
                    <a:lnTo>
                      <a:pt x="42239" y="72096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109" name="Forma livre: Forma 1108">
                <a:extLst>
                  <a:ext uri="{FF2B5EF4-FFF2-40B4-BE49-F238E27FC236}">
                    <a16:creationId xmlns:a16="http://schemas.microsoft.com/office/drawing/2014/main" id="{FBD29D18-F3D8-8562-76BE-F86F4251D45A}"/>
                  </a:ext>
                </a:extLst>
              </p:cNvPr>
              <p:cNvSpPr/>
              <p:nvPr/>
            </p:nvSpPr>
            <p:spPr>
              <a:xfrm>
                <a:off x="10016856" y="3106031"/>
                <a:ext cx="35614" cy="1187"/>
              </a:xfrm>
              <a:custGeom>
                <a:avLst/>
                <a:gdLst>
                  <a:gd name="connsiteX0" fmla="*/ 0 w 35614"/>
                  <a:gd name="connsiteY0" fmla="*/ 0 h 1187"/>
                  <a:gd name="connsiteX1" fmla="*/ 35615 w 35614"/>
                  <a:gd name="connsiteY1" fmla="*/ 0 h 11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5614" h="1187">
                    <a:moveTo>
                      <a:pt x="0" y="0"/>
                    </a:moveTo>
                    <a:lnTo>
                      <a:pt x="35615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110" name="Forma livre: Forma 1109">
                <a:extLst>
                  <a:ext uri="{FF2B5EF4-FFF2-40B4-BE49-F238E27FC236}">
                    <a16:creationId xmlns:a16="http://schemas.microsoft.com/office/drawing/2014/main" id="{ACDE168E-40CF-03A3-82BF-86249E7EEFBB}"/>
                  </a:ext>
                </a:extLst>
              </p:cNvPr>
              <p:cNvSpPr/>
              <p:nvPr/>
            </p:nvSpPr>
            <p:spPr>
              <a:xfrm>
                <a:off x="9951847" y="3106031"/>
                <a:ext cx="35602" cy="1187"/>
              </a:xfrm>
              <a:custGeom>
                <a:avLst/>
                <a:gdLst>
                  <a:gd name="connsiteX0" fmla="*/ 0 w 35602"/>
                  <a:gd name="connsiteY0" fmla="*/ 0 h 1187"/>
                  <a:gd name="connsiteX1" fmla="*/ 35603 w 35602"/>
                  <a:gd name="connsiteY1" fmla="*/ 0 h 11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5602" h="1187">
                    <a:moveTo>
                      <a:pt x="0" y="0"/>
                    </a:moveTo>
                    <a:lnTo>
                      <a:pt x="35603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111" name="Forma livre: Forma 1110">
                <a:extLst>
                  <a:ext uri="{FF2B5EF4-FFF2-40B4-BE49-F238E27FC236}">
                    <a16:creationId xmlns:a16="http://schemas.microsoft.com/office/drawing/2014/main" id="{A89A37BD-BC6A-EFB2-D83D-8367C4D0CC3E}"/>
                  </a:ext>
                </a:extLst>
              </p:cNvPr>
              <p:cNvSpPr/>
              <p:nvPr/>
            </p:nvSpPr>
            <p:spPr>
              <a:xfrm>
                <a:off x="9923462" y="3082965"/>
                <a:ext cx="1187" cy="50549"/>
              </a:xfrm>
              <a:custGeom>
                <a:avLst/>
                <a:gdLst>
                  <a:gd name="connsiteX0" fmla="*/ 0 w 1187"/>
                  <a:gd name="connsiteY0" fmla="*/ 0 h 50549"/>
                  <a:gd name="connsiteX1" fmla="*/ 0 w 1187"/>
                  <a:gd name="connsiteY1" fmla="*/ 50549 h 505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87" h="50549">
                    <a:moveTo>
                      <a:pt x="0" y="0"/>
                    </a:moveTo>
                    <a:lnTo>
                      <a:pt x="0" y="50549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112" name="Forma livre: Forma 1111">
                <a:extLst>
                  <a:ext uri="{FF2B5EF4-FFF2-40B4-BE49-F238E27FC236}">
                    <a16:creationId xmlns:a16="http://schemas.microsoft.com/office/drawing/2014/main" id="{2A975AD0-9139-23AE-20F7-CDC0FA64854D}"/>
                  </a:ext>
                </a:extLst>
              </p:cNvPr>
              <p:cNvSpPr/>
              <p:nvPr/>
            </p:nvSpPr>
            <p:spPr>
              <a:xfrm>
                <a:off x="10053492" y="3082965"/>
                <a:ext cx="1187" cy="50549"/>
              </a:xfrm>
              <a:custGeom>
                <a:avLst/>
                <a:gdLst>
                  <a:gd name="connsiteX0" fmla="*/ 0 w 1187"/>
                  <a:gd name="connsiteY0" fmla="*/ 0 h 50549"/>
                  <a:gd name="connsiteX1" fmla="*/ 0 w 1187"/>
                  <a:gd name="connsiteY1" fmla="*/ 50549 h 505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87" h="50549">
                    <a:moveTo>
                      <a:pt x="0" y="0"/>
                    </a:moveTo>
                    <a:lnTo>
                      <a:pt x="0" y="50549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113" name="Forma livre: Forma 1112">
                <a:extLst>
                  <a:ext uri="{FF2B5EF4-FFF2-40B4-BE49-F238E27FC236}">
                    <a16:creationId xmlns:a16="http://schemas.microsoft.com/office/drawing/2014/main" id="{340CFD96-0CD0-F8BA-5174-62FA1B351244}"/>
                  </a:ext>
                </a:extLst>
              </p:cNvPr>
              <p:cNvSpPr/>
              <p:nvPr/>
            </p:nvSpPr>
            <p:spPr>
              <a:xfrm>
                <a:off x="9988483" y="3082965"/>
                <a:ext cx="1187" cy="50549"/>
              </a:xfrm>
              <a:custGeom>
                <a:avLst/>
                <a:gdLst>
                  <a:gd name="connsiteX0" fmla="*/ 0 w 1187"/>
                  <a:gd name="connsiteY0" fmla="*/ 0 h 50549"/>
                  <a:gd name="connsiteX1" fmla="*/ 0 w 1187"/>
                  <a:gd name="connsiteY1" fmla="*/ 50549 h 505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87" h="50549">
                    <a:moveTo>
                      <a:pt x="0" y="0"/>
                    </a:moveTo>
                    <a:lnTo>
                      <a:pt x="0" y="50549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114" name="Forma livre: Forma 1113">
                <a:extLst>
                  <a:ext uri="{FF2B5EF4-FFF2-40B4-BE49-F238E27FC236}">
                    <a16:creationId xmlns:a16="http://schemas.microsoft.com/office/drawing/2014/main" id="{923F8053-000D-F282-6072-B7A5999B8279}"/>
                  </a:ext>
                </a:extLst>
              </p:cNvPr>
              <p:cNvSpPr/>
              <p:nvPr/>
            </p:nvSpPr>
            <p:spPr>
              <a:xfrm>
                <a:off x="9908089" y="3225923"/>
                <a:ext cx="172921" cy="1187"/>
              </a:xfrm>
              <a:custGeom>
                <a:avLst/>
                <a:gdLst>
                  <a:gd name="connsiteX0" fmla="*/ 0 w 172921"/>
                  <a:gd name="connsiteY0" fmla="*/ 0 h 1187"/>
                  <a:gd name="connsiteX1" fmla="*/ 172922 w 172921"/>
                  <a:gd name="connsiteY1" fmla="*/ 0 h 11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72921" h="1187">
                    <a:moveTo>
                      <a:pt x="0" y="0"/>
                    </a:moveTo>
                    <a:lnTo>
                      <a:pt x="172922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115" name="Forma livre: Forma 1114">
                <a:extLst>
                  <a:ext uri="{FF2B5EF4-FFF2-40B4-BE49-F238E27FC236}">
                    <a16:creationId xmlns:a16="http://schemas.microsoft.com/office/drawing/2014/main" id="{70CE0064-8483-B549-4597-5CD6C7A2EC99}"/>
                  </a:ext>
                </a:extLst>
              </p:cNvPr>
              <p:cNvSpPr/>
              <p:nvPr/>
            </p:nvSpPr>
            <p:spPr>
              <a:xfrm>
                <a:off x="9908089" y="3274585"/>
                <a:ext cx="156681" cy="1187"/>
              </a:xfrm>
              <a:custGeom>
                <a:avLst/>
                <a:gdLst>
                  <a:gd name="connsiteX0" fmla="*/ 0 w 156681"/>
                  <a:gd name="connsiteY0" fmla="*/ 0 h 1187"/>
                  <a:gd name="connsiteX1" fmla="*/ 156682 w 156681"/>
                  <a:gd name="connsiteY1" fmla="*/ 0 h 11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56681" h="1187">
                    <a:moveTo>
                      <a:pt x="0" y="0"/>
                    </a:moveTo>
                    <a:lnTo>
                      <a:pt x="156682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116" name="Forma livre: Forma 1115">
                <a:extLst>
                  <a:ext uri="{FF2B5EF4-FFF2-40B4-BE49-F238E27FC236}">
                    <a16:creationId xmlns:a16="http://schemas.microsoft.com/office/drawing/2014/main" id="{CF32FD8A-F4E9-1C6E-C0F5-7160FB46FBFC}"/>
                  </a:ext>
                </a:extLst>
              </p:cNvPr>
              <p:cNvSpPr/>
              <p:nvPr/>
            </p:nvSpPr>
            <p:spPr>
              <a:xfrm>
                <a:off x="9995404" y="3187471"/>
                <a:ext cx="1187" cy="125554"/>
              </a:xfrm>
              <a:custGeom>
                <a:avLst/>
                <a:gdLst>
                  <a:gd name="connsiteX0" fmla="*/ 0 w 1187"/>
                  <a:gd name="connsiteY0" fmla="*/ 125554 h 125554"/>
                  <a:gd name="connsiteX1" fmla="*/ 0 w 1187"/>
                  <a:gd name="connsiteY1" fmla="*/ 0 h 1255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87" h="125554">
                    <a:moveTo>
                      <a:pt x="0" y="125554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117" name="Forma livre: Forma 1116">
                <a:extLst>
                  <a:ext uri="{FF2B5EF4-FFF2-40B4-BE49-F238E27FC236}">
                    <a16:creationId xmlns:a16="http://schemas.microsoft.com/office/drawing/2014/main" id="{D8FEE630-B5CB-4F75-D590-B27A7F186D10}"/>
                  </a:ext>
                </a:extLst>
              </p:cNvPr>
              <p:cNvSpPr/>
              <p:nvPr/>
            </p:nvSpPr>
            <p:spPr>
              <a:xfrm>
                <a:off x="9946754" y="3187471"/>
                <a:ext cx="1187" cy="125554"/>
              </a:xfrm>
              <a:custGeom>
                <a:avLst/>
                <a:gdLst>
                  <a:gd name="connsiteX0" fmla="*/ 0 w 1187"/>
                  <a:gd name="connsiteY0" fmla="*/ 125554 h 125554"/>
                  <a:gd name="connsiteX1" fmla="*/ 0 w 1187"/>
                  <a:gd name="connsiteY1" fmla="*/ 0 h 1255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87" h="125554">
                    <a:moveTo>
                      <a:pt x="0" y="125554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118" name="Forma livre: Forma 1117">
                <a:extLst>
                  <a:ext uri="{FF2B5EF4-FFF2-40B4-BE49-F238E27FC236}">
                    <a16:creationId xmlns:a16="http://schemas.microsoft.com/office/drawing/2014/main" id="{651CA4C4-FFE4-0AD7-F69E-DE06AD3AF14E}"/>
                  </a:ext>
                </a:extLst>
              </p:cNvPr>
              <p:cNvSpPr/>
              <p:nvPr/>
            </p:nvSpPr>
            <p:spPr>
              <a:xfrm>
                <a:off x="10044066" y="3187471"/>
                <a:ext cx="1187" cy="110952"/>
              </a:xfrm>
              <a:custGeom>
                <a:avLst/>
                <a:gdLst>
                  <a:gd name="connsiteX0" fmla="*/ 0 w 1187"/>
                  <a:gd name="connsiteY0" fmla="*/ 110952 h 110952"/>
                  <a:gd name="connsiteX1" fmla="*/ 0 w 1187"/>
                  <a:gd name="connsiteY1" fmla="*/ 0 h 1109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87" h="110952">
                    <a:moveTo>
                      <a:pt x="0" y="110952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119" name="Gráfico 11">
              <a:extLst>
                <a:ext uri="{FF2B5EF4-FFF2-40B4-BE49-F238E27FC236}">
                  <a16:creationId xmlns:a16="http://schemas.microsoft.com/office/drawing/2014/main" id="{5BD85539-1F77-F5B9-35B1-1D1285A2A7BA}"/>
                </a:ext>
              </a:extLst>
            </p:cNvPr>
            <p:cNvGrpSpPr/>
            <p:nvPr/>
          </p:nvGrpSpPr>
          <p:grpSpPr>
            <a:xfrm>
              <a:off x="10036991" y="3161234"/>
              <a:ext cx="179973" cy="242216"/>
              <a:chOff x="10036991" y="3161234"/>
              <a:chExt cx="179973" cy="242216"/>
            </a:xfrm>
            <a:noFill/>
          </p:grpSpPr>
          <p:sp>
            <p:nvSpPr>
              <p:cNvPr id="1120" name="Forma livre: Forma 1119">
                <a:extLst>
                  <a:ext uri="{FF2B5EF4-FFF2-40B4-BE49-F238E27FC236}">
                    <a16:creationId xmlns:a16="http://schemas.microsoft.com/office/drawing/2014/main" id="{4AE15A3D-CD7B-2A16-07B4-48924E1E41E0}"/>
                  </a:ext>
                </a:extLst>
              </p:cNvPr>
              <p:cNvSpPr/>
              <p:nvPr/>
            </p:nvSpPr>
            <p:spPr>
              <a:xfrm>
                <a:off x="10122181" y="3200660"/>
                <a:ext cx="76191" cy="52591"/>
              </a:xfrm>
              <a:custGeom>
                <a:avLst/>
                <a:gdLst>
                  <a:gd name="connsiteX0" fmla="*/ 76192 w 76191"/>
                  <a:gd name="connsiteY0" fmla="*/ 52591 h 52591"/>
                  <a:gd name="connsiteX1" fmla="*/ 0 w 76191"/>
                  <a:gd name="connsiteY1" fmla="*/ 0 h 525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76191" h="52591">
                    <a:moveTo>
                      <a:pt x="76192" y="52591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1121" name="Gráfico 11">
                <a:extLst>
                  <a:ext uri="{FF2B5EF4-FFF2-40B4-BE49-F238E27FC236}">
                    <a16:creationId xmlns:a16="http://schemas.microsoft.com/office/drawing/2014/main" id="{9BEBB569-DBB1-48E0-72E2-22EBC9F6798B}"/>
                  </a:ext>
                </a:extLst>
              </p:cNvPr>
              <p:cNvGrpSpPr/>
              <p:nvPr/>
            </p:nvGrpSpPr>
            <p:grpSpPr>
              <a:xfrm>
                <a:off x="10036991" y="3161234"/>
                <a:ext cx="179973" cy="242216"/>
                <a:chOff x="10036991" y="3161234"/>
                <a:chExt cx="179973" cy="242216"/>
              </a:xfrm>
              <a:noFill/>
            </p:grpSpPr>
            <p:sp>
              <p:nvSpPr>
                <p:cNvPr id="1122" name="Forma livre: Forma 1121">
                  <a:extLst>
                    <a:ext uri="{FF2B5EF4-FFF2-40B4-BE49-F238E27FC236}">
                      <a16:creationId xmlns:a16="http://schemas.microsoft.com/office/drawing/2014/main" id="{BBBBD354-C976-AE2C-40F6-B839A1816A67}"/>
                    </a:ext>
                  </a:extLst>
                </p:cNvPr>
                <p:cNvSpPr/>
                <p:nvPr/>
              </p:nvSpPr>
              <p:spPr>
                <a:xfrm>
                  <a:off x="10161512" y="3161234"/>
                  <a:ext cx="55452" cy="37965"/>
                </a:xfrm>
                <a:custGeom>
                  <a:avLst/>
                  <a:gdLst>
                    <a:gd name="connsiteX0" fmla="*/ 55452 w 55452"/>
                    <a:gd name="connsiteY0" fmla="*/ 37965 h 37965"/>
                    <a:gd name="connsiteX1" fmla="*/ 0 w 55452"/>
                    <a:gd name="connsiteY1" fmla="*/ 0 h 3796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55452" h="37965">
                      <a:moveTo>
                        <a:pt x="55452" y="37965"/>
                      </a:moveTo>
                      <a:lnTo>
                        <a:pt x="0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grpSp>
              <p:nvGrpSpPr>
                <p:cNvPr id="1123" name="Gráfico 11">
                  <a:extLst>
                    <a:ext uri="{FF2B5EF4-FFF2-40B4-BE49-F238E27FC236}">
                      <a16:creationId xmlns:a16="http://schemas.microsoft.com/office/drawing/2014/main" id="{D47ACD57-3837-C877-7A5B-C4643BAFD251}"/>
                    </a:ext>
                  </a:extLst>
                </p:cNvPr>
                <p:cNvGrpSpPr/>
                <p:nvPr/>
              </p:nvGrpSpPr>
              <p:grpSpPr>
                <a:xfrm>
                  <a:off x="10066349" y="3209160"/>
                  <a:ext cx="115783" cy="132594"/>
                  <a:chOff x="10066349" y="3209160"/>
                  <a:chExt cx="115783" cy="132594"/>
                </a:xfrm>
                <a:noFill/>
              </p:grpSpPr>
              <p:sp>
                <p:nvSpPr>
                  <p:cNvPr id="1124" name="Forma livre: Forma 1123">
                    <a:extLst>
                      <a:ext uri="{FF2B5EF4-FFF2-40B4-BE49-F238E27FC236}">
                        <a16:creationId xmlns:a16="http://schemas.microsoft.com/office/drawing/2014/main" id="{61675D13-6159-4B02-E8AC-F248D182D557}"/>
                      </a:ext>
                    </a:extLst>
                  </p:cNvPr>
                  <p:cNvSpPr/>
                  <p:nvPr/>
                </p:nvSpPr>
                <p:spPr>
                  <a:xfrm>
                    <a:off x="10066349" y="3209160"/>
                    <a:ext cx="115783" cy="132594"/>
                  </a:xfrm>
                  <a:custGeom>
                    <a:avLst/>
                    <a:gdLst>
                      <a:gd name="connsiteX0" fmla="*/ 68309 w 115783"/>
                      <a:gd name="connsiteY0" fmla="*/ 0 h 132594"/>
                      <a:gd name="connsiteX1" fmla="*/ 0 w 115783"/>
                      <a:gd name="connsiteY1" fmla="*/ 100078 h 132594"/>
                      <a:gd name="connsiteX2" fmla="*/ 47475 w 115783"/>
                      <a:gd name="connsiteY2" fmla="*/ 132594 h 132594"/>
                      <a:gd name="connsiteX3" fmla="*/ 115784 w 115783"/>
                      <a:gd name="connsiteY3" fmla="*/ 32504 h 13259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115783" h="132594">
                        <a:moveTo>
                          <a:pt x="68309" y="0"/>
                        </a:moveTo>
                        <a:lnTo>
                          <a:pt x="0" y="100078"/>
                        </a:lnTo>
                        <a:lnTo>
                          <a:pt x="47475" y="132594"/>
                        </a:lnTo>
                        <a:lnTo>
                          <a:pt x="115784" y="32504"/>
                        </a:lnTo>
                      </a:path>
                    </a:pathLst>
                  </a:custGeom>
                  <a:noFill/>
                  <a:ln w="6350" cap="flat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1125" name="Forma livre: Forma 1124">
                    <a:extLst>
                      <a:ext uri="{FF2B5EF4-FFF2-40B4-BE49-F238E27FC236}">
                        <a16:creationId xmlns:a16="http://schemas.microsoft.com/office/drawing/2014/main" id="{F5A5127B-EC13-A85F-256D-F0999B252E73}"/>
                      </a:ext>
                    </a:extLst>
                  </p:cNvPr>
                  <p:cNvSpPr/>
                  <p:nvPr/>
                </p:nvSpPr>
                <p:spPr>
                  <a:xfrm>
                    <a:off x="10145818" y="3256730"/>
                    <a:ext cx="16501" cy="11325"/>
                  </a:xfrm>
                  <a:custGeom>
                    <a:avLst/>
                    <a:gdLst>
                      <a:gd name="connsiteX0" fmla="*/ 16502 w 16501"/>
                      <a:gd name="connsiteY0" fmla="*/ 11326 h 11325"/>
                      <a:gd name="connsiteX1" fmla="*/ 0 w 16501"/>
                      <a:gd name="connsiteY1" fmla="*/ 0 h 1132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6501" h="11325">
                        <a:moveTo>
                          <a:pt x="16502" y="11326"/>
                        </a:moveTo>
                        <a:lnTo>
                          <a:pt x="0" y="0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1126" name="Forma livre: Forma 1125">
                    <a:extLst>
                      <a:ext uri="{FF2B5EF4-FFF2-40B4-BE49-F238E27FC236}">
                        <a16:creationId xmlns:a16="http://schemas.microsoft.com/office/drawing/2014/main" id="{8D921EB4-10A2-BDD9-756C-B844A935CC16}"/>
                      </a:ext>
                    </a:extLst>
                  </p:cNvPr>
                  <p:cNvSpPr/>
                  <p:nvPr/>
                </p:nvSpPr>
                <p:spPr>
                  <a:xfrm>
                    <a:off x="10129245" y="3281019"/>
                    <a:ext cx="16525" cy="11313"/>
                  </a:xfrm>
                  <a:custGeom>
                    <a:avLst/>
                    <a:gdLst>
                      <a:gd name="connsiteX0" fmla="*/ 16525 w 16525"/>
                      <a:gd name="connsiteY0" fmla="*/ 11314 h 11313"/>
                      <a:gd name="connsiteX1" fmla="*/ 0 w 16525"/>
                      <a:gd name="connsiteY1" fmla="*/ 0 h 1131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6525" h="11313">
                        <a:moveTo>
                          <a:pt x="16525" y="11314"/>
                        </a:moveTo>
                        <a:lnTo>
                          <a:pt x="0" y="0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1127" name="Forma livre: Forma 1126">
                    <a:extLst>
                      <a:ext uri="{FF2B5EF4-FFF2-40B4-BE49-F238E27FC236}">
                        <a16:creationId xmlns:a16="http://schemas.microsoft.com/office/drawing/2014/main" id="{ED3B6F64-4151-EFC0-11F7-AD39E66B68BB}"/>
                      </a:ext>
                    </a:extLst>
                  </p:cNvPr>
                  <p:cNvSpPr/>
                  <p:nvPr/>
                </p:nvSpPr>
                <p:spPr>
                  <a:xfrm>
                    <a:off x="10112684" y="3305285"/>
                    <a:ext cx="16525" cy="11313"/>
                  </a:xfrm>
                  <a:custGeom>
                    <a:avLst/>
                    <a:gdLst>
                      <a:gd name="connsiteX0" fmla="*/ 16525 w 16525"/>
                      <a:gd name="connsiteY0" fmla="*/ 11314 h 11313"/>
                      <a:gd name="connsiteX1" fmla="*/ 0 w 16525"/>
                      <a:gd name="connsiteY1" fmla="*/ 0 h 1131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6525" h="11313">
                        <a:moveTo>
                          <a:pt x="16525" y="11314"/>
                        </a:moveTo>
                        <a:lnTo>
                          <a:pt x="0" y="0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  <p:grpSp>
              <p:nvGrpSpPr>
                <p:cNvPr id="1128" name="Gráfico 11">
                  <a:extLst>
                    <a:ext uri="{FF2B5EF4-FFF2-40B4-BE49-F238E27FC236}">
                      <a16:creationId xmlns:a16="http://schemas.microsoft.com/office/drawing/2014/main" id="{12E4F9C5-44F7-5EC2-3248-425B584E485B}"/>
                    </a:ext>
                  </a:extLst>
                </p:cNvPr>
                <p:cNvGrpSpPr/>
                <p:nvPr/>
              </p:nvGrpSpPr>
              <p:grpSpPr>
                <a:xfrm>
                  <a:off x="10146815" y="3171515"/>
                  <a:ext cx="55108" cy="60972"/>
                  <a:chOff x="10146815" y="3171515"/>
                  <a:chExt cx="55108" cy="60972"/>
                </a:xfrm>
              </p:grpSpPr>
              <p:sp>
                <p:nvSpPr>
                  <p:cNvPr id="1129" name="Forma livre: Forma 1128">
                    <a:extLst>
                      <a:ext uri="{FF2B5EF4-FFF2-40B4-BE49-F238E27FC236}">
                        <a16:creationId xmlns:a16="http://schemas.microsoft.com/office/drawing/2014/main" id="{C8D3CD2A-0BFB-35DE-0EB8-C6D543F681C2}"/>
                      </a:ext>
                    </a:extLst>
                  </p:cNvPr>
                  <p:cNvSpPr/>
                  <p:nvPr/>
                </p:nvSpPr>
                <p:spPr>
                  <a:xfrm>
                    <a:off x="10172113" y="3188836"/>
                    <a:ext cx="29809" cy="43651"/>
                  </a:xfrm>
                  <a:custGeom>
                    <a:avLst/>
                    <a:gdLst>
                      <a:gd name="connsiteX0" fmla="*/ 0 w 29809"/>
                      <a:gd name="connsiteY0" fmla="*/ 43652 h 43651"/>
                      <a:gd name="connsiteX1" fmla="*/ 29810 w 29809"/>
                      <a:gd name="connsiteY1" fmla="*/ 0 h 4365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29809" h="43651">
                        <a:moveTo>
                          <a:pt x="0" y="43652"/>
                        </a:moveTo>
                        <a:lnTo>
                          <a:pt x="29810" y="0"/>
                        </a:lnTo>
                      </a:path>
                    </a:pathLst>
                  </a:custGeom>
                  <a:ln w="6350" cap="flat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1130" name="Forma livre: Forma 1129">
                    <a:extLst>
                      <a:ext uri="{FF2B5EF4-FFF2-40B4-BE49-F238E27FC236}">
                        <a16:creationId xmlns:a16="http://schemas.microsoft.com/office/drawing/2014/main" id="{EBA93FC7-77CA-FB37-5C9A-6003B81348A7}"/>
                      </a:ext>
                    </a:extLst>
                  </p:cNvPr>
                  <p:cNvSpPr/>
                  <p:nvPr/>
                </p:nvSpPr>
                <p:spPr>
                  <a:xfrm>
                    <a:off x="10146815" y="3171515"/>
                    <a:ext cx="29809" cy="43663"/>
                  </a:xfrm>
                  <a:custGeom>
                    <a:avLst/>
                    <a:gdLst>
                      <a:gd name="connsiteX0" fmla="*/ 0 w 29809"/>
                      <a:gd name="connsiteY0" fmla="*/ 43664 h 43663"/>
                      <a:gd name="connsiteX1" fmla="*/ 29810 w 29809"/>
                      <a:gd name="connsiteY1" fmla="*/ 0 h 4366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29809" h="43663">
                        <a:moveTo>
                          <a:pt x="0" y="43664"/>
                        </a:moveTo>
                        <a:lnTo>
                          <a:pt x="29810" y="0"/>
                        </a:lnTo>
                      </a:path>
                    </a:pathLst>
                  </a:custGeom>
                  <a:ln w="6350" cap="flat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  <p:sp>
              <p:nvSpPr>
                <p:cNvPr id="1131" name="Forma livre: Forma 1130">
                  <a:extLst>
                    <a:ext uri="{FF2B5EF4-FFF2-40B4-BE49-F238E27FC236}">
                      <a16:creationId xmlns:a16="http://schemas.microsoft.com/office/drawing/2014/main" id="{B8E372C7-EA0A-560A-24BA-1AE34495FF2F}"/>
                    </a:ext>
                  </a:extLst>
                </p:cNvPr>
                <p:cNvSpPr/>
                <p:nvPr/>
              </p:nvSpPr>
              <p:spPr>
                <a:xfrm>
                  <a:off x="10036991" y="3358196"/>
                  <a:ext cx="30783" cy="45254"/>
                </a:xfrm>
                <a:custGeom>
                  <a:avLst/>
                  <a:gdLst>
                    <a:gd name="connsiteX0" fmla="*/ 30783 w 30783"/>
                    <a:gd name="connsiteY0" fmla="*/ 0 h 45254"/>
                    <a:gd name="connsiteX1" fmla="*/ 0 w 30783"/>
                    <a:gd name="connsiteY1" fmla="*/ 45255 h 4525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30783" h="45254">
                      <a:moveTo>
                        <a:pt x="30783" y="0"/>
                      </a:moveTo>
                      <a:lnTo>
                        <a:pt x="0" y="45255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132" name="Forma livre: Forma 1131">
                  <a:extLst>
                    <a:ext uri="{FF2B5EF4-FFF2-40B4-BE49-F238E27FC236}">
                      <a16:creationId xmlns:a16="http://schemas.microsoft.com/office/drawing/2014/main" id="{6E87A9DA-9BB4-EF9A-0A7B-5DE02CB611FE}"/>
                    </a:ext>
                  </a:extLst>
                </p:cNvPr>
                <p:cNvSpPr/>
                <p:nvPr/>
              </p:nvSpPr>
              <p:spPr>
                <a:xfrm>
                  <a:off x="10060045" y="3331366"/>
                  <a:ext cx="41550" cy="31281"/>
                </a:xfrm>
                <a:custGeom>
                  <a:avLst/>
                  <a:gdLst>
                    <a:gd name="connsiteX0" fmla="*/ 11622 w 41550"/>
                    <a:gd name="connsiteY0" fmla="*/ 24 h 31281"/>
                    <a:gd name="connsiteX1" fmla="*/ 0 w 41550"/>
                    <a:gd name="connsiteY1" fmla="*/ 19208 h 31281"/>
                    <a:gd name="connsiteX2" fmla="*/ 17617 w 41550"/>
                    <a:gd name="connsiteY2" fmla="*/ 31282 h 31281"/>
                    <a:gd name="connsiteX3" fmla="*/ 41551 w 41550"/>
                    <a:gd name="connsiteY3" fmla="*/ 0 h 3128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1550" h="31281">
                      <a:moveTo>
                        <a:pt x="11622" y="24"/>
                      </a:moveTo>
                      <a:lnTo>
                        <a:pt x="0" y="19208"/>
                      </a:lnTo>
                      <a:lnTo>
                        <a:pt x="17617" y="31282"/>
                      </a:lnTo>
                      <a:lnTo>
                        <a:pt x="41551" y="0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</p:grpSp>
      <p:grpSp>
        <p:nvGrpSpPr>
          <p:cNvPr id="1133" name="Gráfico 11">
            <a:extLst>
              <a:ext uri="{FF2B5EF4-FFF2-40B4-BE49-F238E27FC236}">
                <a16:creationId xmlns:a16="http://schemas.microsoft.com/office/drawing/2014/main" id="{620ED801-AFC9-8CAA-BE21-D572BD56CB1E}"/>
              </a:ext>
            </a:extLst>
          </p:cNvPr>
          <p:cNvGrpSpPr/>
          <p:nvPr/>
        </p:nvGrpSpPr>
        <p:grpSpPr>
          <a:xfrm>
            <a:off x="9925813" y="994329"/>
            <a:ext cx="232006" cy="308239"/>
            <a:chOff x="9925813" y="994329"/>
            <a:chExt cx="232006" cy="308239"/>
          </a:xfrm>
          <a:noFill/>
        </p:grpSpPr>
        <p:grpSp>
          <p:nvGrpSpPr>
            <p:cNvPr id="1134" name="Gráfico 11">
              <a:extLst>
                <a:ext uri="{FF2B5EF4-FFF2-40B4-BE49-F238E27FC236}">
                  <a16:creationId xmlns:a16="http://schemas.microsoft.com/office/drawing/2014/main" id="{2071488D-DCE9-35E6-D663-21B538C1A47A}"/>
                </a:ext>
              </a:extLst>
            </p:cNvPr>
            <p:cNvGrpSpPr/>
            <p:nvPr/>
          </p:nvGrpSpPr>
          <p:grpSpPr>
            <a:xfrm>
              <a:off x="9948405" y="1134597"/>
              <a:ext cx="187025" cy="167971"/>
              <a:chOff x="9948405" y="1134597"/>
              <a:chExt cx="187025" cy="167971"/>
            </a:xfrm>
            <a:noFill/>
          </p:grpSpPr>
          <p:grpSp>
            <p:nvGrpSpPr>
              <p:cNvPr id="1135" name="Gráfico 11">
                <a:extLst>
                  <a:ext uri="{FF2B5EF4-FFF2-40B4-BE49-F238E27FC236}">
                    <a16:creationId xmlns:a16="http://schemas.microsoft.com/office/drawing/2014/main" id="{5A132CDD-7B02-C996-1DDA-92767272A5E4}"/>
                  </a:ext>
                </a:extLst>
              </p:cNvPr>
              <p:cNvGrpSpPr/>
              <p:nvPr/>
            </p:nvGrpSpPr>
            <p:grpSpPr>
              <a:xfrm>
                <a:off x="9948405" y="1134597"/>
                <a:ext cx="187025" cy="167971"/>
                <a:chOff x="9948405" y="1134597"/>
                <a:chExt cx="187025" cy="167971"/>
              </a:xfrm>
              <a:noFill/>
            </p:grpSpPr>
            <p:sp>
              <p:nvSpPr>
                <p:cNvPr id="1136" name="Forma livre: Forma 1135">
                  <a:extLst>
                    <a:ext uri="{FF2B5EF4-FFF2-40B4-BE49-F238E27FC236}">
                      <a16:creationId xmlns:a16="http://schemas.microsoft.com/office/drawing/2014/main" id="{3FC4BDBF-8AEF-E881-B094-519696D67408}"/>
                    </a:ext>
                  </a:extLst>
                </p:cNvPr>
                <p:cNvSpPr/>
                <p:nvPr/>
              </p:nvSpPr>
              <p:spPr>
                <a:xfrm>
                  <a:off x="9951586" y="1232894"/>
                  <a:ext cx="39660" cy="69674"/>
                </a:xfrm>
                <a:custGeom>
                  <a:avLst/>
                  <a:gdLst>
                    <a:gd name="connsiteX0" fmla="*/ 39639 w 39660"/>
                    <a:gd name="connsiteY0" fmla="*/ 0 h 69674"/>
                    <a:gd name="connsiteX1" fmla="*/ 39639 w 39660"/>
                    <a:gd name="connsiteY1" fmla="*/ 43711 h 69674"/>
                    <a:gd name="connsiteX2" fmla="*/ 0 w 39660"/>
                    <a:gd name="connsiteY2" fmla="*/ 69674 h 696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39660" h="69674">
                      <a:moveTo>
                        <a:pt x="39639" y="0"/>
                      </a:moveTo>
                      <a:cubicBezTo>
                        <a:pt x="39687" y="13854"/>
                        <a:pt x="39639" y="43711"/>
                        <a:pt x="39639" y="43711"/>
                      </a:cubicBezTo>
                      <a:cubicBezTo>
                        <a:pt x="39639" y="43711"/>
                        <a:pt x="41301" y="53529"/>
                        <a:pt x="0" y="69674"/>
                      </a:cubicBez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137" name="Forma livre: Forma 1136">
                  <a:extLst>
                    <a:ext uri="{FF2B5EF4-FFF2-40B4-BE49-F238E27FC236}">
                      <a16:creationId xmlns:a16="http://schemas.microsoft.com/office/drawing/2014/main" id="{50C2476D-25D2-D5B2-875F-307CBAF3E655}"/>
                    </a:ext>
                  </a:extLst>
                </p:cNvPr>
                <p:cNvSpPr/>
                <p:nvPr/>
              </p:nvSpPr>
              <p:spPr>
                <a:xfrm>
                  <a:off x="9948559" y="1179021"/>
                  <a:ext cx="26758" cy="36267"/>
                </a:xfrm>
                <a:custGeom>
                  <a:avLst/>
                  <a:gdLst>
                    <a:gd name="connsiteX0" fmla="*/ 0 w 26758"/>
                    <a:gd name="connsiteY0" fmla="*/ 0 h 36267"/>
                    <a:gd name="connsiteX1" fmla="*/ 26759 w 26758"/>
                    <a:gd name="connsiteY1" fmla="*/ 36268 h 3626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6758" h="36267">
                      <a:moveTo>
                        <a:pt x="0" y="0"/>
                      </a:moveTo>
                      <a:lnTo>
                        <a:pt x="26759" y="36268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138" name="Forma livre: Forma 1137">
                  <a:extLst>
                    <a:ext uri="{FF2B5EF4-FFF2-40B4-BE49-F238E27FC236}">
                      <a16:creationId xmlns:a16="http://schemas.microsoft.com/office/drawing/2014/main" id="{DB731149-E33E-DDBA-733A-C173E071C23D}"/>
                    </a:ext>
                  </a:extLst>
                </p:cNvPr>
                <p:cNvSpPr/>
                <p:nvPr/>
              </p:nvSpPr>
              <p:spPr>
                <a:xfrm>
                  <a:off x="9948405" y="1134597"/>
                  <a:ext cx="27269" cy="28016"/>
                </a:xfrm>
                <a:custGeom>
                  <a:avLst/>
                  <a:gdLst>
                    <a:gd name="connsiteX0" fmla="*/ 27269 w 27269"/>
                    <a:gd name="connsiteY0" fmla="*/ 28017 h 28016"/>
                    <a:gd name="connsiteX1" fmla="*/ 0 w 27269"/>
                    <a:gd name="connsiteY1" fmla="*/ 0 h 2801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7269" h="28016">
                      <a:moveTo>
                        <a:pt x="27269" y="28017"/>
                      </a:moveTo>
                      <a:lnTo>
                        <a:pt x="0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139" name="Forma livre: Forma 1138">
                  <a:extLst>
                    <a:ext uri="{FF2B5EF4-FFF2-40B4-BE49-F238E27FC236}">
                      <a16:creationId xmlns:a16="http://schemas.microsoft.com/office/drawing/2014/main" id="{AE5224F3-A9BB-AD93-82AE-81205C50B5A7}"/>
                    </a:ext>
                  </a:extLst>
                </p:cNvPr>
                <p:cNvSpPr/>
                <p:nvPr/>
              </p:nvSpPr>
              <p:spPr>
                <a:xfrm>
                  <a:off x="10108505" y="1179021"/>
                  <a:ext cx="26758" cy="36267"/>
                </a:xfrm>
                <a:custGeom>
                  <a:avLst/>
                  <a:gdLst>
                    <a:gd name="connsiteX0" fmla="*/ 26759 w 26758"/>
                    <a:gd name="connsiteY0" fmla="*/ 0 h 36267"/>
                    <a:gd name="connsiteX1" fmla="*/ 0 w 26758"/>
                    <a:gd name="connsiteY1" fmla="*/ 36268 h 3626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6758" h="36267">
                      <a:moveTo>
                        <a:pt x="26759" y="0"/>
                      </a:moveTo>
                      <a:lnTo>
                        <a:pt x="0" y="36268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140" name="Forma livre: Forma 1139">
                  <a:extLst>
                    <a:ext uri="{FF2B5EF4-FFF2-40B4-BE49-F238E27FC236}">
                      <a16:creationId xmlns:a16="http://schemas.microsoft.com/office/drawing/2014/main" id="{259FC83A-2D4B-5A7E-DED8-05E581655B76}"/>
                    </a:ext>
                  </a:extLst>
                </p:cNvPr>
                <p:cNvSpPr/>
                <p:nvPr/>
              </p:nvSpPr>
              <p:spPr>
                <a:xfrm>
                  <a:off x="10108351" y="1134597"/>
                  <a:ext cx="27079" cy="28016"/>
                </a:xfrm>
                <a:custGeom>
                  <a:avLst/>
                  <a:gdLst>
                    <a:gd name="connsiteX0" fmla="*/ 0 w 27079"/>
                    <a:gd name="connsiteY0" fmla="*/ 28017 h 28016"/>
                    <a:gd name="connsiteX1" fmla="*/ 27079 w 27079"/>
                    <a:gd name="connsiteY1" fmla="*/ 0 h 2801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7079" h="28016">
                      <a:moveTo>
                        <a:pt x="0" y="28017"/>
                      </a:moveTo>
                      <a:lnTo>
                        <a:pt x="27079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1141" name="Gráfico 11">
                <a:extLst>
                  <a:ext uri="{FF2B5EF4-FFF2-40B4-BE49-F238E27FC236}">
                    <a16:creationId xmlns:a16="http://schemas.microsoft.com/office/drawing/2014/main" id="{F5ECC06B-8CEB-975C-97E6-C5F004856320}"/>
                  </a:ext>
                </a:extLst>
              </p:cNvPr>
              <p:cNvGrpSpPr/>
              <p:nvPr/>
            </p:nvGrpSpPr>
            <p:grpSpPr>
              <a:xfrm>
                <a:off x="9975674" y="1143809"/>
                <a:ext cx="156764" cy="158758"/>
                <a:chOff x="9975674" y="1143809"/>
                <a:chExt cx="156764" cy="158758"/>
              </a:xfrm>
              <a:noFill/>
            </p:grpSpPr>
            <p:sp>
              <p:nvSpPr>
                <p:cNvPr id="1142" name="Forma livre: Forma 1141">
                  <a:extLst>
                    <a:ext uri="{FF2B5EF4-FFF2-40B4-BE49-F238E27FC236}">
                      <a16:creationId xmlns:a16="http://schemas.microsoft.com/office/drawing/2014/main" id="{F42C50E7-F057-0659-3C74-28B38341A11D}"/>
                    </a:ext>
                  </a:extLst>
                </p:cNvPr>
                <p:cNvSpPr/>
                <p:nvPr/>
              </p:nvSpPr>
              <p:spPr>
                <a:xfrm>
                  <a:off x="10092778" y="1232894"/>
                  <a:ext cx="39660" cy="69674"/>
                </a:xfrm>
                <a:custGeom>
                  <a:avLst/>
                  <a:gdLst>
                    <a:gd name="connsiteX0" fmla="*/ 21 w 39660"/>
                    <a:gd name="connsiteY0" fmla="*/ 0 h 69674"/>
                    <a:gd name="connsiteX1" fmla="*/ 21 w 39660"/>
                    <a:gd name="connsiteY1" fmla="*/ 43711 h 69674"/>
                    <a:gd name="connsiteX2" fmla="*/ 39660 w 39660"/>
                    <a:gd name="connsiteY2" fmla="*/ 69674 h 696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39660" h="69674">
                      <a:moveTo>
                        <a:pt x="21" y="0"/>
                      </a:moveTo>
                      <a:cubicBezTo>
                        <a:pt x="-26" y="13854"/>
                        <a:pt x="21" y="43711"/>
                        <a:pt x="21" y="43711"/>
                      </a:cubicBezTo>
                      <a:cubicBezTo>
                        <a:pt x="21" y="43711"/>
                        <a:pt x="-1641" y="53529"/>
                        <a:pt x="39660" y="69674"/>
                      </a:cubicBez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143" name="Forma livre: Forma 1142">
                  <a:extLst>
                    <a:ext uri="{FF2B5EF4-FFF2-40B4-BE49-F238E27FC236}">
                      <a16:creationId xmlns:a16="http://schemas.microsoft.com/office/drawing/2014/main" id="{68A58590-FAA2-350C-75AA-65F6611E686C}"/>
                    </a:ext>
                  </a:extLst>
                </p:cNvPr>
                <p:cNvSpPr/>
                <p:nvPr/>
              </p:nvSpPr>
              <p:spPr>
                <a:xfrm>
                  <a:off x="9975674" y="1143809"/>
                  <a:ext cx="132677" cy="107817"/>
                </a:xfrm>
                <a:custGeom>
                  <a:avLst/>
                  <a:gdLst>
                    <a:gd name="connsiteX0" fmla="*/ 66339 w 132677"/>
                    <a:gd name="connsiteY0" fmla="*/ 0 h 107817"/>
                    <a:gd name="connsiteX1" fmla="*/ 0 w 132677"/>
                    <a:gd name="connsiteY1" fmla="*/ 18805 h 107817"/>
                    <a:gd name="connsiteX2" fmla="*/ 0 w 132677"/>
                    <a:gd name="connsiteY2" fmla="*/ 71657 h 107817"/>
                    <a:gd name="connsiteX3" fmla="*/ 66339 w 132677"/>
                    <a:gd name="connsiteY3" fmla="*/ 107818 h 107817"/>
                    <a:gd name="connsiteX4" fmla="*/ 132677 w 132677"/>
                    <a:gd name="connsiteY4" fmla="*/ 71657 h 107817"/>
                    <a:gd name="connsiteX5" fmla="*/ 132677 w 132677"/>
                    <a:gd name="connsiteY5" fmla="*/ 18805 h 107817"/>
                    <a:gd name="connsiteX6" fmla="*/ 66339 w 132677"/>
                    <a:gd name="connsiteY6" fmla="*/ 0 h 10781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32677" h="107817">
                      <a:moveTo>
                        <a:pt x="66339" y="0"/>
                      </a:moveTo>
                      <a:cubicBezTo>
                        <a:pt x="44269" y="0"/>
                        <a:pt x="27222" y="18805"/>
                        <a:pt x="0" y="18805"/>
                      </a:cubicBezTo>
                      <a:lnTo>
                        <a:pt x="0" y="71657"/>
                      </a:lnTo>
                      <a:cubicBezTo>
                        <a:pt x="13166" y="89773"/>
                        <a:pt x="37835" y="107818"/>
                        <a:pt x="66339" y="107818"/>
                      </a:cubicBezTo>
                      <a:cubicBezTo>
                        <a:pt x="94842" y="107818"/>
                        <a:pt x="119511" y="89773"/>
                        <a:pt x="132677" y="71657"/>
                      </a:cubicBezTo>
                      <a:lnTo>
                        <a:pt x="132677" y="18805"/>
                      </a:lnTo>
                      <a:cubicBezTo>
                        <a:pt x="105456" y="18805"/>
                        <a:pt x="88396" y="0"/>
                        <a:pt x="66339" y="0"/>
                      </a:cubicBezTo>
                      <a:close/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grpSp>
          <p:nvGrpSpPr>
            <p:cNvPr id="1144" name="Gráfico 11">
              <a:extLst>
                <a:ext uri="{FF2B5EF4-FFF2-40B4-BE49-F238E27FC236}">
                  <a16:creationId xmlns:a16="http://schemas.microsoft.com/office/drawing/2014/main" id="{B398981E-4A0A-FF4B-3422-B801B8703BF9}"/>
                </a:ext>
              </a:extLst>
            </p:cNvPr>
            <p:cNvGrpSpPr/>
            <p:nvPr/>
          </p:nvGrpSpPr>
          <p:grpSpPr>
            <a:xfrm>
              <a:off x="9925813" y="994329"/>
              <a:ext cx="232006" cy="258224"/>
              <a:chOff x="9925813" y="994329"/>
              <a:chExt cx="232006" cy="258224"/>
            </a:xfrm>
            <a:noFill/>
          </p:grpSpPr>
          <p:sp>
            <p:nvSpPr>
              <p:cNvPr id="1145" name="Forma livre: Forma 1144">
                <a:extLst>
                  <a:ext uri="{FF2B5EF4-FFF2-40B4-BE49-F238E27FC236}">
                    <a16:creationId xmlns:a16="http://schemas.microsoft.com/office/drawing/2014/main" id="{D60CB335-0E2B-AB19-1468-12DF826314DE}"/>
                  </a:ext>
                </a:extLst>
              </p:cNvPr>
              <p:cNvSpPr/>
              <p:nvPr/>
            </p:nvSpPr>
            <p:spPr>
              <a:xfrm>
                <a:off x="9925813" y="994329"/>
                <a:ext cx="232006" cy="258224"/>
              </a:xfrm>
              <a:custGeom>
                <a:avLst/>
                <a:gdLst>
                  <a:gd name="connsiteX0" fmla="*/ 192106 w 232006"/>
                  <a:gd name="connsiteY0" fmla="*/ 258225 h 258224"/>
                  <a:gd name="connsiteX1" fmla="*/ 232007 w 232006"/>
                  <a:gd name="connsiteY1" fmla="*/ 238743 h 258224"/>
                  <a:gd name="connsiteX2" fmla="*/ 232007 w 232006"/>
                  <a:gd name="connsiteY2" fmla="*/ 124372 h 258224"/>
                  <a:gd name="connsiteX3" fmla="*/ 152313 w 232006"/>
                  <a:gd name="connsiteY3" fmla="*/ 4232 h 258224"/>
                  <a:gd name="connsiteX4" fmla="*/ 128190 w 232006"/>
                  <a:gd name="connsiteY4" fmla="*/ 6915 h 258224"/>
                  <a:gd name="connsiteX5" fmla="*/ 102131 w 232006"/>
                  <a:gd name="connsiteY5" fmla="*/ 5 h 258224"/>
                  <a:gd name="connsiteX6" fmla="*/ 0 w 232006"/>
                  <a:gd name="connsiteY6" fmla="*/ 124372 h 258224"/>
                  <a:gd name="connsiteX7" fmla="*/ 0 w 232006"/>
                  <a:gd name="connsiteY7" fmla="*/ 238743 h 258224"/>
                  <a:gd name="connsiteX8" fmla="*/ 39806 w 232006"/>
                  <a:gd name="connsiteY8" fmla="*/ 258225 h 2582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32006" h="258224">
                    <a:moveTo>
                      <a:pt x="192106" y="258225"/>
                    </a:moveTo>
                    <a:cubicBezTo>
                      <a:pt x="223768" y="258225"/>
                      <a:pt x="232007" y="238743"/>
                      <a:pt x="232007" y="238743"/>
                    </a:cubicBezTo>
                    <a:lnTo>
                      <a:pt x="232007" y="124372"/>
                    </a:lnTo>
                    <a:cubicBezTo>
                      <a:pt x="232007" y="41663"/>
                      <a:pt x="186420" y="13669"/>
                      <a:pt x="152313" y="4232"/>
                    </a:cubicBezTo>
                    <a:cubicBezTo>
                      <a:pt x="136239" y="967"/>
                      <a:pt x="134636" y="6915"/>
                      <a:pt x="128190" y="6915"/>
                    </a:cubicBezTo>
                    <a:cubicBezTo>
                      <a:pt x="122278" y="6915"/>
                      <a:pt x="119618" y="-220"/>
                      <a:pt x="102131" y="5"/>
                    </a:cubicBezTo>
                    <a:cubicBezTo>
                      <a:pt x="71158" y="2961"/>
                      <a:pt x="0" y="20721"/>
                      <a:pt x="0" y="124372"/>
                    </a:cubicBezTo>
                    <a:lnTo>
                      <a:pt x="0" y="238743"/>
                    </a:lnTo>
                    <a:cubicBezTo>
                      <a:pt x="0" y="238743"/>
                      <a:pt x="8156" y="258225"/>
                      <a:pt x="39806" y="258225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146" name="Forma livre: Forma 1145">
                <a:extLst>
                  <a:ext uri="{FF2B5EF4-FFF2-40B4-BE49-F238E27FC236}">
                    <a16:creationId xmlns:a16="http://schemas.microsoft.com/office/drawing/2014/main" id="{D1B935E7-5FF8-6D86-79B4-92EF88BE3127}"/>
                  </a:ext>
                </a:extLst>
              </p:cNvPr>
              <p:cNvSpPr/>
              <p:nvPr/>
            </p:nvSpPr>
            <p:spPr>
              <a:xfrm>
                <a:off x="9971554" y="1058690"/>
                <a:ext cx="140702" cy="36374"/>
              </a:xfrm>
              <a:custGeom>
                <a:avLst/>
                <a:gdLst>
                  <a:gd name="connsiteX0" fmla="*/ 140702 w 140702"/>
                  <a:gd name="connsiteY0" fmla="*/ 36375 h 36374"/>
                  <a:gd name="connsiteX1" fmla="*/ 104541 w 140702"/>
                  <a:gd name="connsiteY1" fmla="*/ 28527 h 36374"/>
                  <a:gd name="connsiteX2" fmla="*/ 85998 w 140702"/>
                  <a:gd name="connsiteY2" fmla="*/ 0 h 36374"/>
                  <a:gd name="connsiteX3" fmla="*/ 65116 w 140702"/>
                  <a:gd name="connsiteY3" fmla="*/ 25690 h 36374"/>
                  <a:gd name="connsiteX4" fmla="*/ 0 w 140702"/>
                  <a:gd name="connsiteY4" fmla="*/ 36375 h 363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40702" h="36374">
                    <a:moveTo>
                      <a:pt x="140702" y="36375"/>
                    </a:moveTo>
                    <a:cubicBezTo>
                      <a:pt x="140702" y="36375"/>
                      <a:pt x="130469" y="28527"/>
                      <a:pt x="104541" y="28527"/>
                    </a:cubicBezTo>
                    <a:lnTo>
                      <a:pt x="85998" y="0"/>
                    </a:lnTo>
                    <a:lnTo>
                      <a:pt x="65116" y="25690"/>
                    </a:lnTo>
                    <a:cubicBezTo>
                      <a:pt x="10946" y="25690"/>
                      <a:pt x="0" y="36375"/>
                      <a:pt x="0" y="36375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1147" name="Gráfico 11">
                <a:extLst>
                  <a:ext uri="{FF2B5EF4-FFF2-40B4-BE49-F238E27FC236}">
                    <a16:creationId xmlns:a16="http://schemas.microsoft.com/office/drawing/2014/main" id="{0B88C489-1B42-21B5-B561-F8D3A2173E40}"/>
                  </a:ext>
                </a:extLst>
              </p:cNvPr>
              <p:cNvGrpSpPr/>
              <p:nvPr/>
            </p:nvGrpSpPr>
            <p:grpSpPr>
              <a:xfrm>
                <a:off x="9969065" y="1095065"/>
                <a:ext cx="145704" cy="61494"/>
                <a:chOff x="9969065" y="1095065"/>
                <a:chExt cx="145704" cy="61494"/>
              </a:xfrm>
              <a:noFill/>
            </p:grpSpPr>
            <p:sp>
              <p:nvSpPr>
                <p:cNvPr id="1148" name="Forma livre: Forma 1147">
                  <a:extLst>
                    <a:ext uri="{FF2B5EF4-FFF2-40B4-BE49-F238E27FC236}">
                      <a16:creationId xmlns:a16="http://schemas.microsoft.com/office/drawing/2014/main" id="{51878013-641C-4692-DD73-4049D0F96795}"/>
                    </a:ext>
                  </a:extLst>
                </p:cNvPr>
                <p:cNvSpPr/>
                <p:nvPr/>
              </p:nvSpPr>
              <p:spPr>
                <a:xfrm>
                  <a:off x="9969065" y="1095065"/>
                  <a:ext cx="2501" cy="26034"/>
                </a:xfrm>
                <a:custGeom>
                  <a:avLst/>
                  <a:gdLst>
                    <a:gd name="connsiteX0" fmla="*/ 2501 w 2501"/>
                    <a:gd name="connsiteY0" fmla="*/ 0 h 26034"/>
                    <a:gd name="connsiteX1" fmla="*/ 79 w 2501"/>
                    <a:gd name="connsiteY1" fmla="*/ 26034 h 2603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501" h="26034">
                      <a:moveTo>
                        <a:pt x="2501" y="0"/>
                      </a:moveTo>
                      <a:cubicBezTo>
                        <a:pt x="-680" y="15089"/>
                        <a:pt x="79" y="26034"/>
                        <a:pt x="79" y="26034"/>
                      </a:cubicBez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149" name="Forma livre: Forma 1148">
                  <a:extLst>
                    <a:ext uri="{FF2B5EF4-FFF2-40B4-BE49-F238E27FC236}">
                      <a16:creationId xmlns:a16="http://schemas.microsoft.com/office/drawing/2014/main" id="{FBA9A3AF-6566-C6EA-149B-BB596ABF982D}"/>
                    </a:ext>
                  </a:extLst>
                </p:cNvPr>
                <p:cNvSpPr/>
                <p:nvPr/>
              </p:nvSpPr>
              <p:spPr>
                <a:xfrm>
                  <a:off x="10112257" y="1095065"/>
                  <a:ext cx="2512" cy="61494"/>
                </a:xfrm>
                <a:custGeom>
                  <a:avLst/>
                  <a:gdLst>
                    <a:gd name="connsiteX0" fmla="*/ 0 w 2512"/>
                    <a:gd name="connsiteY0" fmla="*/ 0 h 61494"/>
                    <a:gd name="connsiteX1" fmla="*/ 2434 w 2512"/>
                    <a:gd name="connsiteY1" fmla="*/ 61495 h 6149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512" h="61494">
                      <a:moveTo>
                        <a:pt x="0" y="0"/>
                      </a:moveTo>
                      <a:cubicBezTo>
                        <a:pt x="3193" y="15089"/>
                        <a:pt x="2434" y="61495"/>
                        <a:pt x="2434" y="61495"/>
                      </a:cubicBez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</p:grpSp>
      <p:grpSp>
        <p:nvGrpSpPr>
          <p:cNvPr id="1151" name="Gráfico 12">
            <a:extLst>
              <a:ext uri="{FF2B5EF4-FFF2-40B4-BE49-F238E27FC236}">
                <a16:creationId xmlns:a16="http://schemas.microsoft.com/office/drawing/2014/main" id="{6C77DAA9-1D8E-5EA5-1053-ACB63D8960BE}"/>
              </a:ext>
            </a:extLst>
          </p:cNvPr>
          <p:cNvGrpSpPr/>
          <p:nvPr/>
        </p:nvGrpSpPr>
        <p:grpSpPr>
          <a:xfrm>
            <a:off x="657275" y="4224957"/>
            <a:ext cx="360568" cy="283516"/>
            <a:chOff x="657275" y="4224957"/>
            <a:chExt cx="360568" cy="283516"/>
          </a:xfrm>
        </p:grpSpPr>
        <p:grpSp>
          <p:nvGrpSpPr>
            <p:cNvPr id="1152" name="Gráfico 12">
              <a:extLst>
                <a:ext uri="{FF2B5EF4-FFF2-40B4-BE49-F238E27FC236}">
                  <a16:creationId xmlns:a16="http://schemas.microsoft.com/office/drawing/2014/main" id="{3C186A33-42CA-FA01-0775-3ACC52DF8625}"/>
                </a:ext>
              </a:extLst>
            </p:cNvPr>
            <p:cNvGrpSpPr/>
            <p:nvPr/>
          </p:nvGrpSpPr>
          <p:grpSpPr>
            <a:xfrm>
              <a:off x="872122" y="4362752"/>
              <a:ext cx="145721" cy="145721"/>
              <a:chOff x="872122" y="4362752"/>
              <a:chExt cx="145721" cy="145721"/>
            </a:xfrm>
          </p:grpSpPr>
          <p:grpSp>
            <p:nvGrpSpPr>
              <p:cNvPr id="1153" name="Gráfico 12">
                <a:extLst>
                  <a:ext uri="{FF2B5EF4-FFF2-40B4-BE49-F238E27FC236}">
                    <a16:creationId xmlns:a16="http://schemas.microsoft.com/office/drawing/2014/main" id="{2AD1DE78-2B68-497F-1D52-BAB02511D449}"/>
                  </a:ext>
                </a:extLst>
              </p:cNvPr>
              <p:cNvGrpSpPr/>
              <p:nvPr/>
            </p:nvGrpSpPr>
            <p:grpSpPr>
              <a:xfrm>
                <a:off x="872122" y="4362752"/>
                <a:ext cx="145721" cy="145721"/>
                <a:chOff x="872122" y="4362752"/>
                <a:chExt cx="145721" cy="145721"/>
              </a:xfrm>
              <a:noFill/>
            </p:grpSpPr>
            <p:sp>
              <p:nvSpPr>
                <p:cNvPr id="1154" name="Forma livre: Forma 1153">
                  <a:extLst>
                    <a:ext uri="{FF2B5EF4-FFF2-40B4-BE49-F238E27FC236}">
                      <a16:creationId xmlns:a16="http://schemas.microsoft.com/office/drawing/2014/main" id="{8CEBB57C-584E-A343-F745-E5334B8E745A}"/>
                    </a:ext>
                  </a:extLst>
                </p:cNvPr>
                <p:cNvSpPr/>
                <p:nvPr/>
              </p:nvSpPr>
              <p:spPr>
                <a:xfrm rot="-5389200">
                  <a:off x="892777" y="4383380"/>
                  <a:ext cx="104385" cy="104385"/>
                </a:xfrm>
                <a:custGeom>
                  <a:avLst/>
                  <a:gdLst>
                    <a:gd name="connsiteX0" fmla="*/ 104385 w 104385"/>
                    <a:gd name="connsiteY0" fmla="*/ 52193 h 104385"/>
                    <a:gd name="connsiteX1" fmla="*/ 52193 w 104385"/>
                    <a:gd name="connsiteY1" fmla="*/ 104385 h 104385"/>
                    <a:gd name="connsiteX2" fmla="*/ 0 w 104385"/>
                    <a:gd name="connsiteY2" fmla="*/ 52193 h 104385"/>
                    <a:gd name="connsiteX3" fmla="*/ 52193 w 104385"/>
                    <a:gd name="connsiteY3" fmla="*/ 0 h 104385"/>
                    <a:gd name="connsiteX4" fmla="*/ 104385 w 104385"/>
                    <a:gd name="connsiteY4" fmla="*/ 52193 h 10438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04385" h="104385">
                      <a:moveTo>
                        <a:pt x="104385" y="52193"/>
                      </a:moveTo>
                      <a:cubicBezTo>
                        <a:pt x="104385" y="81018"/>
                        <a:pt x="81018" y="104385"/>
                        <a:pt x="52193" y="104385"/>
                      </a:cubicBezTo>
                      <a:cubicBezTo>
                        <a:pt x="23367" y="104385"/>
                        <a:pt x="0" y="81018"/>
                        <a:pt x="0" y="52193"/>
                      </a:cubicBezTo>
                      <a:cubicBezTo>
                        <a:pt x="0" y="23367"/>
                        <a:pt x="23367" y="0"/>
                        <a:pt x="52193" y="0"/>
                      </a:cubicBezTo>
                      <a:cubicBezTo>
                        <a:pt x="81018" y="0"/>
                        <a:pt x="104385" y="23367"/>
                        <a:pt x="104385" y="52193"/>
                      </a:cubicBezTo>
                      <a:close/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grpSp>
              <p:nvGrpSpPr>
                <p:cNvPr id="1155" name="Gráfico 12">
                  <a:extLst>
                    <a:ext uri="{FF2B5EF4-FFF2-40B4-BE49-F238E27FC236}">
                      <a16:creationId xmlns:a16="http://schemas.microsoft.com/office/drawing/2014/main" id="{F0E50AAB-1B72-F2FE-2967-D67E5D55036B}"/>
                    </a:ext>
                  </a:extLst>
                </p:cNvPr>
                <p:cNvGrpSpPr/>
                <p:nvPr/>
              </p:nvGrpSpPr>
              <p:grpSpPr>
                <a:xfrm>
                  <a:off x="944983" y="4362752"/>
                  <a:ext cx="1200" cy="145721"/>
                  <a:chOff x="944983" y="4362752"/>
                  <a:chExt cx="1200" cy="145721"/>
                </a:xfrm>
              </p:grpSpPr>
              <p:sp>
                <p:nvSpPr>
                  <p:cNvPr id="1156" name="Forma livre: Forma 1155">
                    <a:extLst>
                      <a:ext uri="{FF2B5EF4-FFF2-40B4-BE49-F238E27FC236}">
                        <a16:creationId xmlns:a16="http://schemas.microsoft.com/office/drawing/2014/main" id="{6510228A-971A-CB0F-1E34-667E2B14AAEB}"/>
                      </a:ext>
                    </a:extLst>
                  </p:cNvPr>
                  <p:cNvSpPr/>
                  <p:nvPr/>
                </p:nvSpPr>
                <p:spPr>
                  <a:xfrm>
                    <a:off x="944983" y="4362752"/>
                    <a:ext cx="1200" cy="19707"/>
                  </a:xfrm>
                  <a:custGeom>
                    <a:avLst/>
                    <a:gdLst>
                      <a:gd name="connsiteX0" fmla="*/ 0 w 1200"/>
                      <a:gd name="connsiteY0" fmla="*/ 19707 h 19707"/>
                      <a:gd name="connsiteX1" fmla="*/ 0 w 1200"/>
                      <a:gd name="connsiteY1" fmla="*/ 0 h 1970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200" h="19707">
                        <a:moveTo>
                          <a:pt x="0" y="19707"/>
                        </a:moveTo>
                        <a:lnTo>
                          <a:pt x="0" y="0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1157" name="Forma livre: Forma 1156">
                    <a:extLst>
                      <a:ext uri="{FF2B5EF4-FFF2-40B4-BE49-F238E27FC236}">
                        <a16:creationId xmlns:a16="http://schemas.microsoft.com/office/drawing/2014/main" id="{2274C75B-B237-85B9-5749-469A9F92D16F}"/>
                      </a:ext>
                    </a:extLst>
                  </p:cNvPr>
                  <p:cNvSpPr/>
                  <p:nvPr/>
                </p:nvSpPr>
                <p:spPr>
                  <a:xfrm>
                    <a:off x="944983" y="4488779"/>
                    <a:ext cx="1200" cy="19695"/>
                  </a:xfrm>
                  <a:custGeom>
                    <a:avLst/>
                    <a:gdLst>
                      <a:gd name="connsiteX0" fmla="*/ 0 w 1200"/>
                      <a:gd name="connsiteY0" fmla="*/ 19695 h 19695"/>
                      <a:gd name="connsiteX1" fmla="*/ 0 w 1200"/>
                      <a:gd name="connsiteY1" fmla="*/ 0 h 1969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200" h="19695">
                        <a:moveTo>
                          <a:pt x="0" y="19695"/>
                        </a:moveTo>
                        <a:lnTo>
                          <a:pt x="0" y="0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  <p:grpSp>
              <p:nvGrpSpPr>
                <p:cNvPr id="1158" name="Gráfico 12">
                  <a:extLst>
                    <a:ext uri="{FF2B5EF4-FFF2-40B4-BE49-F238E27FC236}">
                      <a16:creationId xmlns:a16="http://schemas.microsoft.com/office/drawing/2014/main" id="{9E1085C9-6955-903E-02C2-B113F9AA9AB7}"/>
                    </a:ext>
                  </a:extLst>
                </p:cNvPr>
                <p:cNvGrpSpPr/>
                <p:nvPr/>
              </p:nvGrpSpPr>
              <p:grpSpPr>
                <a:xfrm>
                  <a:off x="872122" y="4435613"/>
                  <a:ext cx="145721" cy="1200"/>
                  <a:chOff x="872122" y="4435613"/>
                  <a:chExt cx="145721" cy="1200"/>
                </a:xfrm>
              </p:grpSpPr>
              <p:sp>
                <p:nvSpPr>
                  <p:cNvPr id="1159" name="Forma livre: Forma 1158">
                    <a:extLst>
                      <a:ext uri="{FF2B5EF4-FFF2-40B4-BE49-F238E27FC236}">
                        <a16:creationId xmlns:a16="http://schemas.microsoft.com/office/drawing/2014/main" id="{86EE9045-367F-28EB-1A9D-58955828B601}"/>
                      </a:ext>
                    </a:extLst>
                  </p:cNvPr>
                  <p:cNvSpPr/>
                  <p:nvPr/>
                </p:nvSpPr>
                <p:spPr>
                  <a:xfrm>
                    <a:off x="998148" y="4435613"/>
                    <a:ext cx="19695" cy="1200"/>
                  </a:xfrm>
                  <a:custGeom>
                    <a:avLst/>
                    <a:gdLst>
                      <a:gd name="connsiteX0" fmla="*/ 0 w 19695"/>
                      <a:gd name="connsiteY0" fmla="*/ 0 h 1200"/>
                      <a:gd name="connsiteX1" fmla="*/ 19695 w 19695"/>
                      <a:gd name="connsiteY1" fmla="*/ 0 h 120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9695" h="1200">
                        <a:moveTo>
                          <a:pt x="0" y="0"/>
                        </a:moveTo>
                        <a:lnTo>
                          <a:pt x="19695" y="0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1160" name="Forma livre: Forma 1159">
                    <a:extLst>
                      <a:ext uri="{FF2B5EF4-FFF2-40B4-BE49-F238E27FC236}">
                        <a16:creationId xmlns:a16="http://schemas.microsoft.com/office/drawing/2014/main" id="{69D6E631-CA7B-7162-BF6D-43071C253E32}"/>
                      </a:ext>
                    </a:extLst>
                  </p:cNvPr>
                  <p:cNvSpPr/>
                  <p:nvPr/>
                </p:nvSpPr>
                <p:spPr>
                  <a:xfrm>
                    <a:off x="872122" y="4435613"/>
                    <a:ext cx="19707" cy="1200"/>
                  </a:xfrm>
                  <a:custGeom>
                    <a:avLst/>
                    <a:gdLst>
                      <a:gd name="connsiteX0" fmla="*/ 0 w 19707"/>
                      <a:gd name="connsiteY0" fmla="*/ 0 h 1200"/>
                      <a:gd name="connsiteX1" fmla="*/ 19707 w 19707"/>
                      <a:gd name="connsiteY1" fmla="*/ 0 h 120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9707" h="1200">
                        <a:moveTo>
                          <a:pt x="0" y="0"/>
                        </a:moveTo>
                        <a:lnTo>
                          <a:pt x="19707" y="0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  <p:grpSp>
              <p:nvGrpSpPr>
                <p:cNvPr id="1161" name="Gráfico 12">
                  <a:extLst>
                    <a:ext uri="{FF2B5EF4-FFF2-40B4-BE49-F238E27FC236}">
                      <a16:creationId xmlns:a16="http://schemas.microsoft.com/office/drawing/2014/main" id="{3709B402-7E34-14CF-E4DA-4D61F2676E4E}"/>
                    </a:ext>
                  </a:extLst>
                </p:cNvPr>
                <p:cNvGrpSpPr/>
                <p:nvPr/>
              </p:nvGrpSpPr>
              <p:grpSpPr>
                <a:xfrm>
                  <a:off x="893474" y="4384093"/>
                  <a:ext cx="103028" cy="103040"/>
                  <a:chOff x="893474" y="4384093"/>
                  <a:chExt cx="103028" cy="103040"/>
                </a:xfrm>
              </p:grpSpPr>
              <p:sp>
                <p:nvSpPr>
                  <p:cNvPr id="1162" name="Forma livre: Forma 1161">
                    <a:extLst>
                      <a:ext uri="{FF2B5EF4-FFF2-40B4-BE49-F238E27FC236}">
                        <a16:creationId xmlns:a16="http://schemas.microsoft.com/office/drawing/2014/main" id="{A69C07BC-8CD8-F768-D807-72978100674E}"/>
                      </a:ext>
                    </a:extLst>
                  </p:cNvPr>
                  <p:cNvSpPr/>
                  <p:nvPr/>
                </p:nvSpPr>
                <p:spPr>
                  <a:xfrm>
                    <a:off x="893474" y="4384093"/>
                    <a:ext cx="13918" cy="13930"/>
                  </a:xfrm>
                  <a:custGeom>
                    <a:avLst/>
                    <a:gdLst>
                      <a:gd name="connsiteX0" fmla="*/ 13919 w 13918"/>
                      <a:gd name="connsiteY0" fmla="*/ 13931 h 13930"/>
                      <a:gd name="connsiteX1" fmla="*/ 0 w 13918"/>
                      <a:gd name="connsiteY1" fmla="*/ 0 h 1393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3918" h="13930">
                        <a:moveTo>
                          <a:pt x="13919" y="13931"/>
                        </a:moveTo>
                        <a:lnTo>
                          <a:pt x="0" y="0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1163" name="Forma livre: Forma 1162">
                    <a:extLst>
                      <a:ext uri="{FF2B5EF4-FFF2-40B4-BE49-F238E27FC236}">
                        <a16:creationId xmlns:a16="http://schemas.microsoft.com/office/drawing/2014/main" id="{1C2ED48A-1977-A103-258B-A2B21351C261}"/>
                      </a:ext>
                    </a:extLst>
                  </p:cNvPr>
                  <p:cNvSpPr/>
                  <p:nvPr/>
                </p:nvSpPr>
                <p:spPr>
                  <a:xfrm>
                    <a:off x="982584" y="4473202"/>
                    <a:ext cx="13918" cy="13930"/>
                  </a:xfrm>
                  <a:custGeom>
                    <a:avLst/>
                    <a:gdLst>
                      <a:gd name="connsiteX0" fmla="*/ 13919 w 13918"/>
                      <a:gd name="connsiteY0" fmla="*/ 13931 h 13930"/>
                      <a:gd name="connsiteX1" fmla="*/ 0 w 13918"/>
                      <a:gd name="connsiteY1" fmla="*/ 0 h 1393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3918" h="13930">
                        <a:moveTo>
                          <a:pt x="13919" y="13931"/>
                        </a:moveTo>
                        <a:lnTo>
                          <a:pt x="0" y="0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  <p:grpSp>
              <p:nvGrpSpPr>
                <p:cNvPr id="1164" name="Gráfico 12">
                  <a:extLst>
                    <a:ext uri="{FF2B5EF4-FFF2-40B4-BE49-F238E27FC236}">
                      <a16:creationId xmlns:a16="http://schemas.microsoft.com/office/drawing/2014/main" id="{D5D0AA39-FB01-6947-6BC1-5EAF4BCC220B}"/>
                    </a:ext>
                  </a:extLst>
                </p:cNvPr>
                <p:cNvGrpSpPr/>
                <p:nvPr/>
              </p:nvGrpSpPr>
              <p:grpSpPr>
                <a:xfrm>
                  <a:off x="893474" y="4384093"/>
                  <a:ext cx="103016" cy="103040"/>
                  <a:chOff x="893474" y="4384093"/>
                  <a:chExt cx="103016" cy="103040"/>
                </a:xfrm>
              </p:grpSpPr>
              <p:sp>
                <p:nvSpPr>
                  <p:cNvPr id="1165" name="Forma livre: Forma 1164">
                    <a:extLst>
                      <a:ext uri="{FF2B5EF4-FFF2-40B4-BE49-F238E27FC236}">
                        <a16:creationId xmlns:a16="http://schemas.microsoft.com/office/drawing/2014/main" id="{0A53D0C0-4EED-5F4A-34E7-440DDB1D6EFD}"/>
                      </a:ext>
                    </a:extLst>
                  </p:cNvPr>
                  <p:cNvSpPr/>
                  <p:nvPr/>
                </p:nvSpPr>
                <p:spPr>
                  <a:xfrm>
                    <a:off x="982572" y="4384093"/>
                    <a:ext cx="13918" cy="13930"/>
                  </a:xfrm>
                  <a:custGeom>
                    <a:avLst/>
                    <a:gdLst>
                      <a:gd name="connsiteX0" fmla="*/ 0 w 13918"/>
                      <a:gd name="connsiteY0" fmla="*/ 13931 h 13930"/>
                      <a:gd name="connsiteX1" fmla="*/ 13919 w 13918"/>
                      <a:gd name="connsiteY1" fmla="*/ 0 h 1393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3918" h="13930">
                        <a:moveTo>
                          <a:pt x="0" y="13931"/>
                        </a:moveTo>
                        <a:lnTo>
                          <a:pt x="13919" y="0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1166" name="Forma livre: Forma 1165">
                    <a:extLst>
                      <a:ext uri="{FF2B5EF4-FFF2-40B4-BE49-F238E27FC236}">
                        <a16:creationId xmlns:a16="http://schemas.microsoft.com/office/drawing/2014/main" id="{40AAC189-C4F7-04C2-EA73-0C1D25AD2A2E}"/>
                      </a:ext>
                    </a:extLst>
                  </p:cNvPr>
                  <p:cNvSpPr/>
                  <p:nvPr/>
                </p:nvSpPr>
                <p:spPr>
                  <a:xfrm>
                    <a:off x="893474" y="4473202"/>
                    <a:ext cx="13918" cy="13930"/>
                  </a:xfrm>
                  <a:custGeom>
                    <a:avLst/>
                    <a:gdLst>
                      <a:gd name="connsiteX0" fmla="*/ 0 w 13918"/>
                      <a:gd name="connsiteY0" fmla="*/ 13931 h 13930"/>
                      <a:gd name="connsiteX1" fmla="*/ 13919 w 13918"/>
                      <a:gd name="connsiteY1" fmla="*/ 0 h 1393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3918" h="13930">
                        <a:moveTo>
                          <a:pt x="0" y="13931"/>
                        </a:moveTo>
                        <a:lnTo>
                          <a:pt x="13919" y="0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</p:grpSp>
          <p:grpSp>
            <p:nvGrpSpPr>
              <p:cNvPr id="1167" name="Gráfico 12">
                <a:extLst>
                  <a:ext uri="{FF2B5EF4-FFF2-40B4-BE49-F238E27FC236}">
                    <a16:creationId xmlns:a16="http://schemas.microsoft.com/office/drawing/2014/main" id="{1D3B8971-C48A-B265-41DC-0B1CF4F141DD}"/>
                  </a:ext>
                </a:extLst>
              </p:cNvPr>
              <p:cNvGrpSpPr/>
              <p:nvPr/>
            </p:nvGrpSpPr>
            <p:grpSpPr>
              <a:xfrm>
                <a:off x="919521" y="4415784"/>
                <a:ext cx="44244" cy="41098"/>
                <a:chOff x="919521" y="4415784"/>
                <a:chExt cx="44244" cy="41098"/>
              </a:xfrm>
              <a:solidFill>
                <a:srgbClr val="394553"/>
              </a:solidFill>
            </p:grpSpPr>
            <p:grpSp>
              <p:nvGrpSpPr>
                <p:cNvPr id="1168" name="Gráfico 12">
                  <a:extLst>
                    <a:ext uri="{FF2B5EF4-FFF2-40B4-BE49-F238E27FC236}">
                      <a16:creationId xmlns:a16="http://schemas.microsoft.com/office/drawing/2014/main" id="{85554941-22C7-8E66-A39B-C38469CA33F5}"/>
                    </a:ext>
                  </a:extLst>
                </p:cNvPr>
                <p:cNvGrpSpPr/>
                <p:nvPr/>
              </p:nvGrpSpPr>
              <p:grpSpPr>
                <a:xfrm>
                  <a:off x="919521" y="4415784"/>
                  <a:ext cx="44244" cy="16036"/>
                  <a:chOff x="919521" y="4415784"/>
                  <a:chExt cx="44244" cy="16036"/>
                </a:xfrm>
                <a:solidFill>
                  <a:srgbClr val="394553"/>
                </a:solidFill>
              </p:grpSpPr>
              <p:sp>
                <p:nvSpPr>
                  <p:cNvPr id="1169" name="Forma livre: Forma 1168">
                    <a:extLst>
                      <a:ext uri="{FF2B5EF4-FFF2-40B4-BE49-F238E27FC236}">
                        <a16:creationId xmlns:a16="http://schemas.microsoft.com/office/drawing/2014/main" id="{316BAE98-9252-2178-A76A-876CEA02DDC4}"/>
                      </a:ext>
                    </a:extLst>
                  </p:cNvPr>
                  <p:cNvSpPr/>
                  <p:nvPr/>
                </p:nvSpPr>
                <p:spPr>
                  <a:xfrm>
                    <a:off x="919521" y="4424609"/>
                    <a:ext cx="7208" cy="7211"/>
                  </a:xfrm>
                  <a:custGeom>
                    <a:avLst/>
                    <a:gdLst>
                      <a:gd name="connsiteX0" fmla="*/ 13 w 7208"/>
                      <a:gd name="connsiteY0" fmla="*/ 3270 h 7211"/>
                      <a:gd name="connsiteX1" fmla="*/ 3916 w 7208"/>
                      <a:gd name="connsiteY1" fmla="*/ 15 h 7211"/>
                      <a:gd name="connsiteX2" fmla="*/ 7195 w 7208"/>
                      <a:gd name="connsiteY2" fmla="*/ 3918 h 7211"/>
                      <a:gd name="connsiteX3" fmla="*/ 3268 w 7208"/>
                      <a:gd name="connsiteY3" fmla="*/ 7197 h 7211"/>
                      <a:gd name="connsiteX4" fmla="*/ 13 w 7208"/>
                      <a:gd name="connsiteY4" fmla="*/ 3270 h 721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7208" h="7211">
                        <a:moveTo>
                          <a:pt x="13" y="3270"/>
                        </a:moveTo>
                        <a:cubicBezTo>
                          <a:pt x="182" y="1288"/>
                          <a:pt x="1923" y="-165"/>
                          <a:pt x="3916" y="15"/>
                        </a:cubicBezTo>
                        <a:cubicBezTo>
                          <a:pt x="5886" y="183"/>
                          <a:pt x="7363" y="1949"/>
                          <a:pt x="7195" y="3918"/>
                        </a:cubicBezTo>
                        <a:cubicBezTo>
                          <a:pt x="7003" y="5912"/>
                          <a:pt x="5250" y="7377"/>
                          <a:pt x="3268" y="7197"/>
                        </a:cubicBezTo>
                        <a:cubicBezTo>
                          <a:pt x="1274" y="7017"/>
                          <a:pt x="-155" y="5275"/>
                          <a:pt x="13" y="3270"/>
                        </a:cubicBezTo>
                        <a:close/>
                      </a:path>
                    </a:pathLst>
                  </a:custGeom>
                  <a:solidFill>
                    <a:srgbClr val="394553"/>
                  </a:solidFill>
                  <a:ln w="6350" cap="flat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1170" name="Forma livre: Forma 1169">
                    <a:extLst>
                      <a:ext uri="{FF2B5EF4-FFF2-40B4-BE49-F238E27FC236}">
                        <a16:creationId xmlns:a16="http://schemas.microsoft.com/office/drawing/2014/main" id="{7A8C1C02-946B-82C0-AFA5-71ECEF41CB5E}"/>
                      </a:ext>
                    </a:extLst>
                  </p:cNvPr>
                  <p:cNvSpPr/>
                  <p:nvPr/>
                </p:nvSpPr>
                <p:spPr>
                  <a:xfrm>
                    <a:off x="956546" y="4415784"/>
                    <a:ext cx="7219" cy="7221"/>
                  </a:xfrm>
                  <a:custGeom>
                    <a:avLst/>
                    <a:gdLst>
                      <a:gd name="connsiteX0" fmla="*/ 13 w 7219"/>
                      <a:gd name="connsiteY0" fmla="*/ 3280 h 7221"/>
                      <a:gd name="connsiteX1" fmla="*/ 3928 w 7219"/>
                      <a:gd name="connsiteY1" fmla="*/ 13 h 7221"/>
                      <a:gd name="connsiteX2" fmla="*/ 7207 w 7219"/>
                      <a:gd name="connsiteY2" fmla="*/ 3928 h 7221"/>
                      <a:gd name="connsiteX3" fmla="*/ 3280 w 7219"/>
                      <a:gd name="connsiteY3" fmla="*/ 7207 h 7221"/>
                      <a:gd name="connsiteX4" fmla="*/ 13 w 7219"/>
                      <a:gd name="connsiteY4" fmla="*/ 3280 h 722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7219" h="7221">
                        <a:moveTo>
                          <a:pt x="13" y="3280"/>
                        </a:moveTo>
                        <a:cubicBezTo>
                          <a:pt x="205" y="1298"/>
                          <a:pt x="1923" y="-155"/>
                          <a:pt x="3928" y="13"/>
                        </a:cubicBezTo>
                        <a:cubicBezTo>
                          <a:pt x="5898" y="193"/>
                          <a:pt x="7375" y="1959"/>
                          <a:pt x="7207" y="3928"/>
                        </a:cubicBezTo>
                        <a:cubicBezTo>
                          <a:pt x="7015" y="5922"/>
                          <a:pt x="5261" y="7387"/>
                          <a:pt x="3280" y="7207"/>
                        </a:cubicBezTo>
                        <a:cubicBezTo>
                          <a:pt x="1298" y="7027"/>
                          <a:pt x="-155" y="5285"/>
                          <a:pt x="13" y="3280"/>
                        </a:cubicBezTo>
                        <a:close/>
                      </a:path>
                    </a:pathLst>
                  </a:custGeom>
                  <a:solidFill>
                    <a:srgbClr val="394553"/>
                  </a:solidFill>
                  <a:ln w="6350" cap="flat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  <p:sp>
              <p:nvSpPr>
                <p:cNvPr id="1171" name="Forma livre: Forma 1170">
                  <a:extLst>
                    <a:ext uri="{FF2B5EF4-FFF2-40B4-BE49-F238E27FC236}">
                      <a16:creationId xmlns:a16="http://schemas.microsoft.com/office/drawing/2014/main" id="{F4894EFC-4B67-865F-96A4-DD802C5D5F36}"/>
                    </a:ext>
                  </a:extLst>
                </p:cNvPr>
                <p:cNvSpPr/>
                <p:nvPr/>
              </p:nvSpPr>
              <p:spPr>
                <a:xfrm>
                  <a:off x="945029" y="4449663"/>
                  <a:ext cx="7219" cy="7220"/>
                </a:xfrm>
                <a:custGeom>
                  <a:avLst/>
                  <a:gdLst>
                    <a:gd name="connsiteX0" fmla="*/ 13 w 7219"/>
                    <a:gd name="connsiteY0" fmla="*/ 3280 h 7220"/>
                    <a:gd name="connsiteX1" fmla="*/ 3928 w 7219"/>
                    <a:gd name="connsiteY1" fmla="*/ 13 h 7220"/>
                    <a:gd name="connsiteX2" fmla="*/ 7207 w 7219"/>
                    <a:gd name="connsiteY2" fmla="*/ 3928 h 7220"/>
                    <a:gd name="connsiteX3" fmla="*/ 3280 w 7219"/>
                    <a:gd name="connsiteY3" fmla="*/ 7207 h 7220"/>
                    <a:gd name="connsiteX4" fmla="*/ 13 w 7219"/>
                    <a:gd name="connsiteY4" fmla="*/ 3280 h 722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7219" h="7220">
                      <a:moveTo>
                        <a:pt x="13" y="3280"/>
                      </a:moveTo>
                      <a:cubicBezTo>
                        <a:pt x="193" y="1298"/>
                        <a:pt x="1923" y="-155"/>
                        <a:pt x="3928" y="13"/>
                      </a:cubicBezTo>
                      <a:cubicBezTo>
                        <a:pt x="5898" y="193"/>
                        <a:pt x="7375" y="1947"/>
                        <a:pt x="7207" y="3928"/>
                      </a:cubicBezTo>
                      <a:cubicBezTo>
                        <a:pt x="7015" y="5922"/>
                        <a:pt x="5261" y="7375"/>
                        <a:pt x="3280" y="7207"/>
                      </a:cubicBezTo>
                      <a:cubicBezTo>
                        <a:pt x="1286" y="7027"/>
                        <a:pt x="-155" y="5273"/>
                        <a:pt x="13" y="3280"/>
                      </a:cubicBezTo>
                      <a:close/>
                    </a:path>
                  </a:pathLst>
                </a:custGeom>
                <a:solidFill>
                  <a:srgbClr val="394553"/>
                </a:solidFill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grpSp>
          <p:nvGrpSpPr>
            <p:cNvPr id="1172" name="Gráfico 12">
              <a:extLst>
                <a:ext uri="{FF2B5EF4-FFF2-40B4-BE49-F238E27FC236}">
                  <a16:creationId xmlns:a16="http://schemas.microsoft.com/office/drawing/2014/main" id="{E4DC2DBE-22C0-B01B-773C-C462D0DC872E}"/>
                </a:ext>
              </a:extLst>
            </p:cNvPr>
            <p:cNvGrpSpPr/>
            <p:nvPr/>
          </p:nvGrpSpPr>
          <p:grpSpPr>
            <a:xfrm>
              <a:off x="657275" y="4224957"/>
              <a:ext cx="259954" cy="238169"/>
              <a:chOff x="657275" y="4224957"/>
              <a:chExt cx="259954" cy="238169"/>
            </a:xfrm>
            <a:noFill/>
          </p:grpSpPr>
          <p:grpSp>
            <p:nvGrpSpPr>
              <p:cNvPr id="1173" name="Gráfico 12">
                <a:extLst>
                  <a:ext uri="{FF2B5EF4-FFF2-40B4-BE49-F238E27FC236}">
                    <a16:creationId xmlns:a16="http://schemas.microsoft.com/office/drawing/2014/main" id="{30712702-F292-7C50-E45E-6D42543EA0FB}"/>
                  </a:ext>
                </a:extLst>
              </p:cNvPr>
              <p:cNvGrpSpPr/>
              <p:nvPr/>
            </p:nvGrpSpPr>
            <p:grpSpPr>
              <a:xfrm>
                <a:off x="691225" y="4224957"/>
                <a:ext cx="226004" cy="215423"/>
                <a:chOff x="691225" y="4224957"/>
                <a:chExt cx="226004" cy="215423"/>
              </a:xfrm>
              <a:noFill/>
            </p:grpSpPr>
            <p:sp>
              <p:nvSpPr>
                <p:cNvPr id="1174" name="Forma livre: Forma 1173">
                  <a:extLst>
                    <a:ext uri="{FF2B5EF4-FFF2-40B4-BE49-F238E27FC236}">
                      <a16:creationId xmlns:a16="http://schemas.microsoft.com/office/drawing/2014/main" id="{0B2A8003-9D3B-82FB-AB90-86AC0F026F9F}"/>
                    </a:ext>
                  </a:extLst>
                </p:cNvPr>
                <p:cNvSpPr/>
                <p:nvPr/>
              </p:nvSpPr>
              <p:spPr>
                <a:xfrm>
                  <a:off x="691225" y="4360266"/>
                  <a:ext cx="48373" cy="80114"/>
                </a:xfrm>
                <a:custGeom>
                  <a:avLst/>
                  <a:gdLst>
                    <a:gd name="connsiteX0" fmla="*/ 0 w 48373"/>
                    <a:gd name="connsiteY0" fmla="*/ 80114 h 80114"/>
                    <a:gd name="connsiteX1" fmla="*/ 0 w 48373"/>
                    <a:gd name="connsiteY1" fmla="*/ 0 h 80114"/>
                    <a:gd name="connsiteX2" fmla="*/ 48374 w 48373"/>
                    <a:gd name="connsiteY2" fmla="*/ 0 h 80114"/>
                    <a:gd name="connsiteX3" fmla="*/ 48374 w 48373"/>
                    <a:gd name="connsiteY3" fmla="*/ 80114 h 8011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8373" h="80114">
                      <a:moveTo>
                        <a:pt x="0" y="80114"/>
                      </a:moveTo>
                      <a:lnTo>
                        <a:pt x="0" y="0"/>
                      </a:lnTo>
                      <a:lnTo>
                        <a:pt x="48374" y="0"/>
                      </a:lnTo>
                      <a:lnTo>
                        <a:pt x="48374" y="80114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175" name="Forma livre: Forma 1174">
                  <a:extLst>
                    <a:ext uri="{FF2B5EF4-FFF2-40B4-BE49-F238E27FC236}">
                      <a16:creationId xmlns:a16="http://schemas.microsoft.com/office/drawing/2014/main" id="{878E1C47-E41E-C799-CC97-31D551F96704}"/>
                    </a:ext>
                  </a:extLst>
                </p:cNvPr>
                <p:cNvSpPr/>
                <p:nvPr/>
              </p:nvSpPr>
              <p:spPr>
                <a:xfrm>
                  <a:off x="780118" y="4303883"/>
                  <a:ext cx="48265" cy="136498"/>
                </a:xfrm>
                <a:custGeom>
                  <a:avLst/>
                  <a:gdLst>
                    <a:gd name="connsiteX0" fmla="*/ 0 w 48265"/>
                    <a:gd name="connsiteY0" fmla="*/ 136498 h 136498"/>
                    <a:gd name="connsiteX1" fmla="*/ 0 w 48265"/>
                    <a:gd name="connsiteY1" fmla="*/ 0 h 136498"/>
                    <a:gd name="connsiteX2" fmla="*/ 48266 w 48265"/>
                    <a:gd name="connsiteY2" fmla="*/ 0 h 136498"/>
                    <a:gd name="connsiteX3" fmla="*/ 48266 w 48265"/>
                    <a:gd name="connsiteY3" fmla="*/ 136498 h 1364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8265" h="136498">
                      <a:moveTo>
                        <a:pt x="0" y="136498"/>
                      </a:moveTo>
                      <a:lnTo>
                        <a:pt x="0" y="0"/>
                      </a:lnTo>
                      <a:lnTo>
                        <a:pt x="48266" y="0"/>
                      </a:lnTo>
                      <a:lnTo>
                        <a:pt x="48266" y="136498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176" name="Forma livre: Forma 1175">
                  <a:extLst>
                    <a:ext uri="{FF2B5EF4-FFF2-40B4-BE49-F238E27FC236}">
                      <a16:creationId xmlns:a16="http://schemas.microsoft.com/office/drawing/2014/main" id="{A6370D43-05CE-A809-21C1-0BD87F35A9DD}"/>
                    </a:ext>
                  </a:extLst>
                </p:cNvPr>
                <p:cNvSpPr/>
                <p:nvPr/>
              </p:nvSpPr>
              <p:spPr>
                <a:xfrm>
                  <a:off x="868963" y="4224957"/>
                  <a:ext cx="48265" cy="186108"/>
                </a:xfrm>
                <a:custGeom>
                  <a:avLst/>
                  <a:gdLst>
                    <a:gd name="connsiteX0" fmla="*/ 0 w 48265"/>
                    <a:gd name="connsiteY0" fmla="*/ 186109 h 186108"/>
                    <a:gd name="connsiteX1" fmla="*/ 0 w 48265"/>
                    <a:gd name="connsiteY1" fmla="*/ 0 h 186108"/>
                    <a:gd name="connsiteX2" fmla="*/ 48266 w 48265"/>
                    <a:gd name="connsiteY2" fmla="*/ 0 h 186108"/>
                    <a:gd name="connsiteX3" fmla="*/ 48266 w 48265"/>
                    <a:gd name="connsiteY3" fmla="*/ 136402 h 18610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8265" h="186108">
                      <a:moveTo>
                        <a:pt x="0" y="186109"/>
                      </a:moveTo>
                      <a:lnTo>
                        <a:pt x="0" y="0"/>
                      </a:lnTo>
                      <a:lnTo>
                        <a:pt x="48266" y="0"/>
                      </a:lnTo>
                      <a:lnTo>
                        <a:pt x="48266" y="136402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1177" name="Forma livre: Forma 1176">
                <a:extLst>
                  <a:ext uri="{FF2B5EF4-FFF2-40B4-BE49-F238E27FC236}">
                    <a16:creationId xmlns:a16="http://schemas.microsoft.com/office/drawing/2014/main" id="{C0E49D6A-13AD-273A-47B8-3EED7E397F1C}"/>
                  </a:ext>
                </a:extLst>
              </p:cNvPr>
              <p:cNvSpPr/>
              <p:nvPr/>
            </p:nvSpPr>
            <p:spPr>
              <a:xfrm>
                <a:off x="657275" y="4463127"/>
                <a:ext cx="214378" cy="1200"/>
              </a:xfrm>
              <a:custGeom>
                <a:avLst/>
                <a:gdLst>
                  <a:gd name="connsiteX0" fmla="*/ 214379 w 214378"/>
                  <a:gd name="connsiteY0" fmla="*/ 0 h 1200"/>
                  <a:gd name="connsiteX1" fmla="*/ 0 w 214378"/>
                  <a:gd name="connsiteY1" fmla="*/ 0 h 12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14378" h="1200">
                    <a:moveTo>
                      <a:pt x="214379" y="0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1178" name="Gráfico 12">
                <a:extLst>
                  <a:ext uri="{FF2B5EF4-FFF2-40B4-BE49-F238E27FC236}">
                    <a16:creationId xmlns:a16="http://schemas.microsoft.com/office/drawing/2014/main" id="{B4559855-EBDA-68D0-5336-5352EFF177C3}"/>
                  </a:ext>
                </a:extLst>
              </p:cNvPr>
              <p:cNvGrpSpPr/>
              <p:nvPr/>
            </p:nvGrpSpPr>
            <p:grpSpPr>
              <a:xfrm>
                <a:off x="691153" y="4225029"/>
                <a:ext cx="54366" cy="54654"/>
                <a:chOff x="691153" y="4225029"/>
                <a:chExt cx="54366" cy="54654"/>
              </a:xfrm>
              <a:noFill/>
            </p:grpSpPr>
            <p:sp>
              <p:nvSpPr>
                <p:cNvPr id="1179" name="Forma livre: Forma 1178">
                  <a:extLst>
                    <a:ext uri="{FF2B5EF4-FFF2-40B4-BE49-F238E27FC236}">
                      <a16:creationId xmlns:a16="http://schemas.microsoft.com/office/drawing/2014/main" id="{432F6860-54BF-EC0B-6771-FB4208564DB2}"/>
                    </a:ext>
                  </a:extLst>
                </p:cNvPr>
                <p:cNvSpPr/>
                <p:nvPr/>
              </p:nvSpPr>
              <p:spPr>
                <a:xfrm>
                  <a:off x="691153" y="4225618"/>
                  <a:ext cx="53970" cy="54066"/>
                </a:xfrm>
                <a:custGeom>
                  <a:avLst/>
                  <a:gdLst>
                    <a:gd name="connsiteX0" fmla="*/ 53970 w 53970"/>
                    <a:gd name="connsiteY0" fmla="*/ 0 h 54066"/>
                    <a:gd name="connsiteX1" fmla="*/ 0 w 53970"/>
                    <a:gd name="connsiteY1" fmla="*/ 54066 h 5406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53970" h="54066">
                      <a:moveTo>
                        <a:pt x="53970" y="0"/>
                      </a:moveTo>
                      <a:lnTo>
                        <a:pt x="0" y="54066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180" name="Forma livre: Forma 1179">
                  <a:extLst>
                    <a:ext uri="{FF2B5EF4-FFF2-40B4-BE49-F238E27FC236}">
                      <a16:creationId xmlns:a16="http://schemas.microsoft.com/office/drawing/2014/main" id="{1D38AE74-D1D4-BCF0-D607-3C091690E013}"/>
                    </a:ext>
                  </a:extLst>
                </p:cNvPr>
                <p:cNvSpPr/>
                <p:nvPr/>
              </p:nvSpPr>
              <p:spPr>
                <a:xfrm>
                  <a:off x="705060" y="4225029"/>
                  <a:ext cx="40459" cy="40231"/>
                </a:xfrm>
                <a:custGeom>
                  <a:avLst/>
                  <a:gdLst>
                    <a:gd name="connsiteX0" fmla="*/ 0 w 40459"/>
                    <a:gd name="connsiteY0" fmla="*/ 0 h 40231"/>
                    <a:gd name="connsiteX1" fmla="*/ 40460 w 40459"/>
                    <a:gd name="connsiteY1" fmla="*/ 0 h 40231"/>
                    <a:gd name="connsiteX2" fmla="*/ 40460 w 40459"/>
                    <a:gd name="connsiteY2" fmla="*/ 40231 h 4023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40459" h="40231">
                      <a:moveTo>
                        <a:pt x="0" y="0"/>
                      </a:moveTo>
                      <a:lnTo>
                        <a:pt x="40460" y="0"/>
                      </a:lnTo>
                      <a:lnTo>
                        <a:pt x="40460" y="40231"/>
                      </a:ln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</p:grpSp>
      <p:grpSp>
        <p:nvGrpSpPr>
          <p:cNvPr id="1181" name="Gráfico 12">
            <a:extLst>
              <a:ext uri="{FF2B5EF4-FFF2-40B4-BE49-F238E27FC236}">
                <a16:creationId xmlns:a16="http://schemas.microsoft.com/office/drawing/2014/main" id="{9A5D1958-29F7-1C69-B2C7-7104ED270BFB}"/>
              </a:ext>
            </a:extLst>
          </p:cNvPr>
          <p:cNvGrpSpPr/>
          <p:nvPr/>
        </p:nvGrpSpPr>
        <p:grpSpPr>
          <a:xfrm>
            <a:off x="678987" y="4756659"/>
            <a:ext cx="317142" cy="288824"/>
            <a:chOff x="678987" y="4756659"/>
            <a:chExt cx="317142" cy="288824"/>
          </a:xfrm>
          <a:noFill/>
        </p:grpSpPr>
        <p:sp>
          <p:nvSpPr>
            <p:cNvPr id="1182" name="Forma livre: Forma 1181">
              <a:extLst>
                <a:ext uri="{FF2B5EF4-FFF2-40B4-BE49-F238E27FC236}">
                  <a16:creationId xmlns:a16="http://schemas.microsoft.com/office/drawing/2014/main" id="{6930F03C-8AF4-4220-634C-09148BBCFC40}"/>
                </a:ext>
              </a:extLst>
            </p:cNvPr>
            <p:cNvSpPr/>
            <p:nvPr/>
          </p:nvSpPr>
          <p:spPr>
            <a:xfrm>
              <a:off x="678987" y="4756659"/>
              <a:ext cx="317142" cy="155280"/>
            </a:xfrm>
            <a:custGeom>
              <a:avLst/>
              <a:gdLst>
                <a:gd name="connsiteX0" fmla="*/ 317143 w 317142"/>
                <a:gd name="connsiteY0" fmla="*/ 155281 h 155280"/>
                <a:gd name="connsiteX1" fmla="*/ 158523 w 317142"/>
                <a:gd name="connsiteY1" fmla="*/ 0 h 155280"/>
                <a:gd name="connsiteX2" fmla="*/ 97372 w 317142"/>
                <a:gd name="connsiteY2" fmla="*/ 59458 h 155280"/>
                <a:gd name="connsiteX3" fmla="*/ 97372 w 317142"/>
                <a:gd name="connsiteY3" fmla="*/ 23142 h 155280"/>
                <a:gd name="connsiteX4" fmla="*/ 62929 w 317142"/>
                <a:gd name="connsiteY4" fmla="*/ 23142 h 155280"/>
                <a:gd name="connsiteX5" fmla="*/ 62929 w 317142"/>
                <a:gd name="connsiteY5" fmla="*/ 93169 h 155280"/>
                <a:gd name="connsiteX6" fmla="*/ 0 w 317142"/>
                <a:gd name="connsiteY6" fmla="*/ 155281 h 1552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17142" h="155280">
                  <a:moveTo>
                    <a:pt x="317143" y="155281"/>
                  </a:moveTo>
                  <a:lnTo>
                    <a:pt x="158523" y="0"/>
                  </a:lnTo>
                  <a:lnTo>
                    <a:pt x="97372" y="59458"/>
                  </a:lnTo>
                  <a:lnTo>
                    <a:pt x="97372" y="23142"/>
                  </a:lnTo>
                  <a:lnTo>
                    <a:pt x="62929" y="23142"/>
                  </a:lnTo>
                  <a:lnTo>
                    <a:pt x="62929" y="93169"/>
                  </a:lnTo>
                  <a:lnTo>
                    <a:pt x="0" y="155281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83" name="Forma livre: Forma 1182">
              <a:extLst>
                <a:ext uri="{FF2B5EF4-FFF2-40B4-BE49-F238E27FC236}">
                  <a16:creationId xmlns:a16="http://schemas.microsoft.com/office/drawing/2014/main" id="{D6B9A834-2529-E59D-82E3-84145C259435}"/>
                </a:ext>
              </a:extLst>
            </p:cNvPr>
            <p:cNvSpPr/>
            <p:nvPr/>
          </p:nvSpPr>
          <p:spPr>
            <a:xfrm rot="-5394600">
              <a:off x="818302" y="4833120"/>
              <a:ext cx="38501" cy="38477"/>
            </a:xfrm>
            <a:custGeom>
              <a:avLst/>
              <a:gdLst>
                <a:gd name="connsiteX0" fmla="*/ 38502 w 38501"/>
                <a:gd name="connsiteY0" fmla="*/ 19239 h 38477"/>
                <a:gd name="connsiteX1" fmla="*/ 19251 w 38501"/>
                <a:gd name="connsiteY1" fmla="*/ 38478 h 38477"/>
                <a:gd name="connsiteX2" fmla="*/ 0 w 38501"/>
                <a:gd name="connsiteY2" fmla="*/ 19239 h 38477"/>
                <a:gd name="connsiteX3" fmla="*/ 19251 w 38501"/>
                <a:gd name="connsiteY3" fmla="*/ 0 h 38477"/>
                <a:gd name="connsiteX4" fmla="*/ 38502 w 38501"/>
                <a:gd name="connsiteY4" fmla="*/ 19239 h 384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8501" h="38477">
                  <a:moveTo>
                    <a:pt x="38502" y="19239"/>
                  </a:moveTo>
                  <a:cubicBezTo>
                    <a:pt x="38502" y="29864"/>
                    <a:pt x="29883" y="38478"/>
                    <a:pt x="19251" y="38478"/>
                  </a:cubicBezTo>
                  <a:cubicBezTo>
                    <a:pt x="8619" y="38478"/>
                    <a:pt x="0" y="29864"/>
                    <a:pt x="0" y="19239"/>
                  </a:cubicBezTo>
                  <a:cubicBezTo>
                    <a:pt x="0" y="8614"/>
                    <a:pt x="8619" y="0"/>
                    <a:pt x="19251" y="0"/>
                  </a:cubicBezTo>
                  <a:cubicBezTo>
                    <a:pt x="29883" y="0"/>
                    <a:pt x="38502" y="8614"/>
                    <a:pt x="38502" y="19239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84" name="Forma livre: Forma 1183">
              <a:extLst>
                <a:ext uri="{FF2B5EF4-FFF2-40B4-BE49-F238E27FC236}">
                  <a16:creationId xmlns:a16="http://schemas.microsoft.com/office/drawing/2014/main" id="{17D224BB-A2F1-3317-9610-1F97EC118B67}"/>
                </a:ext>
              </a:extLst>
            </p:cNvPr>
            <p:cNvSpPr/>
            <p:nvPr/>
          </p:nvSpPr>
          <p:spPr>
            <a:xfrm>
              <a:off x="804192" y="4897168"/>
              <a:ext cx="66721" cy="148315"/>
            </a:xfrm>
            <a:custGeom>
              <a:avLst/>
              <a:gdLst>
                <a:gd name="connsiteX0" fmla="*/ 13107 w 66721"/>
                <a:gd name="connsiteY0" fmla="*/ 148315 h 148315"/>
                <a:gd name="connsiteX1" fmla="*/ 13107 w 66721"/>
                <a:gd name="connsiteY1" fmla="*/ 76680 h 148315"/>
                <a:gd name="connsiteX2" fmla="*/ 41 w 66721"/>
                <a:gd name="connsiteY2" fmla="*/ 62629 h 148315"/>
                <a:gd name="connsiteX3" fmla="*/ 5145 w 66721"/>
                <a:gd name="connsiteY3" fmla="*/ 11949 h 148315"/>
                <a:gd name="connsiteX4" fmla="*/ 18367 w 66721"/>
                <a:gd name="connsiteY4" fmla="*/ 0 h 148315"/>
                <a:gd name="connsiteX5" fmla="*/ 48379 w 66721"/>
                <a:gd name="connsiteY5" fmla="*/ 0 h 148315"/>
                <a:gd name="connsiteX6" fmla="*/ 61589 w 66721"/>
                <a:gd name="connsiteY6" fmla="*/ 11949 h 148315"/>
                <a:gd name="connsiteX7" fmla="*/ 66681 w 66721"/>
                <a:gd name="connsiteY7" fmla="*/ 62629 h 148315"/>
                <a:gd name="connsiteX8" fmla="*/ 53627 w 66721"/>
                <a:gd name="connsiteY8" fmla="*/ 76680 h 148315"/>
                <a:gd name="connsiteX9" fmla="*/ 53627 w 66721"/>
                <a:gd name="connsiteY9" fmla="*/ 148315 h 1483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66721" h="148315">
                  <a:moveTo>
                    <a:pt x="13107" y="148315"/>
                  </a:moveTo>
                  <a:lnTo>
                    <a:pt x="13107" y="76680"/>
                  </a:lnTo>
                  <a:cubicBezTo>
                    <a:pt x="6850" y="74422"/>
                    <a:pt x="-620" y="69210"/>
                    <a:pt x="41" y="62629"/>
                  </a:cubicBezTo>
                  <a:lnTo>
                    <a:pt x="5145" y="11949"/>
                  </a:lnTo>
                  <a:cubicBezTo>
                    <a:pt x="5805" y="5380"/>
                    <a:pt x="11750" y="0"/>
                    <a:pt x="18367" y="0"/>
                  </a:cubicBezTo>
                  <a:lnTo>
                    <a:pt x="48379" y="0"/>
                  </a:lnTo>
                  <a:cubicBezTo>
                    <a:pt x="54984" y="0"/>
                    <a:pt x="60928" y="5380"/>
                    <a:pt x="61589" y="11949"/>
                  </a:cubicBezTo>
                  <a:lnTo>
                    <a:pt x="66681" y="62629"/>
                  </a:lnTo>
                  <a:cubicBezTo>
                    <a:pt x="67341" y="69210"/>
                    <a:pt x="59883" y="74422"/>
                    <a:pt x="53627" y="76680"/>
                  </a:cubicBezTo>
                  <a:lnTo>
                    <a:pt x="53627" y="148315"/>
                  </a:lnTo>
                </a:path>
              </a:pathLst>
            </a:custGeom>
            <a:noFill/>
            <a:ln w="6350" cap="sq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185" name="Gráfico 12">
              <a:extLst>
                <a:ext uri="{FF2B5EF4-FFF2-40B4-BE49-F238E27FC236}">
                  <a16:creationId xmlns:a16="http://schemas.microsoft.com/office/drawing/2014/main" id="{B6F3897C-0FC0-7A8D-74AB-BC367E55AA59}"/>
                </a:ext>
              </a:extLst>
            </p:cNvPr>
            <p:cNvGrpSpPr/>
            <p:nvPr/>
          </p:nvGrpSpPr>
          <p:grpSpPr>
            <a:xfrm>
              <a:off x="727397" y="4904002"/>
              <a:ext cx="220323" cy="141482"/>
              <a:chOff x="727397" y="4904002"/>
              <a:chExt cx="220323" cy="141482"/>
            </a:xfrm>
            <a:noFill/>
          </p:grpSpPr>
          <p:sp>
            <p:nvSpPr>
              <p:cNvPr id="1186" name="Forma livre: Forma 1185">
                <a:extLst>
                  <a:ext uri="{FF2B5EF4-FFF2-40B4-BE49-F238E27FC236}">
                    <a16:creationId xmlns:a16="http://schemas.microsoft.com/office/drawing/2014/main" id="{D0690D25-1CDC-450A-362E-A0F6F8D6DA51}"/>
                  </a:ext>
                </a:extLst>
              </p:cNvPr>
              <p:cNvSpPr/>
              <p:nvPr/>
            </p:nvSpPr>
            <p:spPr>
              <a:xfrm>
                <a:off x="880204" y="4904002"/>
                <a:ext cx="67516" cy="141482"/>
              </a:xfrm>
              <a:custGeom>
                <a:avLst/>
                <a:gdLst>
                  <a:gd name="connsiteX0" fmla="*/ 0 w 67516"/>
                  <a:gd name="connsiteY0" fmla="*/ 141482 h 141482"/>
                  <a:gd name="connsiteX1" fmla="*/ 67517 w 67516"/>
                  <a:gd name="connsiteY1" fmla="*/ 141482 h 141482"/>
                  <a:gd name="connsiteX2" fmla="*/ 67517 w 67516"/>
                  <a:gd name="connsiteY2" fmla="*/ 0 h 1414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67516" h="141482">
                    <a:moveTo>
                      <a:pt x="0" y="141482"/>
                    </a:moveTo>
                    <a:lnTo>
                      <a:pt x="67517" y="141482"/>
                    </a:lnTo>
                    <a:lnTo>
                      <a:pt x="67517" y="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187" name="Forma livre: Forma 1186">
                <a:extLst>
                  <a:ext uri="{FF2B5EF4-FFF2-40B4-BE49-F238E27FC236}">
                    <a16:creationId xmlns:a16="http://schemas.microsoft.com/office/drawing/2014/main" id="{7B4A6DFC-AC17-10C0-848B-89DA26DE1F82}"/>
                  </a:ext>
                </a:extLst>
              </p:cNvPr>
              <p:cNvSpPr/>
              <p:nvPr/>
            </p:nvSpPr>
            <p:spPr>
              <a:xfrm>
                <a:off x="727397" y="4904002"/>
                <a:ext cx="67540" cy="141482"/>
              </a:xfrm>
              <a:custGeom>
                <a:avLst/>
                <a:gdLst>
                  <a:gd name="connsiteX0" fmla="*/ 0 w 67540"/>
                  <a:gd name="connsiteY0" fmla="*/ 0 h 141482"/>
                  <a:gd name="connsiteX1" fmla="*/ 0 w 67540"/>
                  <a:gd name="connsiteY1" fmla="*/ 141482 h 141482"/>
                  <a:gd name="connsiteX2" fmla="*/ 67541 w 67540"/>
                  <a:gd name="connsiteY2" fmla="*/ 141482 h 1414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67540" h="141482">
                    <a:moveTo>
                      <a:pt x="0" y="0"/>
                    </a:moveTo>
                    <a:lnTo>
                      <a:pt x="0" y="141482"/>
                    </a:lnTo>
                    <a:lnTo>
                      <a:pt x="67541" y="141482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188" name="Gráfico 12">
            <a:extLst>
              <a:ext uri="{FF2B5EF4-FFF2-40B4-BE49-F238E27FC236}">
                <a16:creationId xmlns:a16="http://schemas.microsoft.com/office/drawing/2014/main" id="{4EAF2DB1-08F4-7DC9-8160-8B4F6B7CBB6A}"/>
              </a:ext>
            </a:extLst>
          </p:cNvPr>
          <p:cNvGrpSpPr/>
          <p:nvPr/>
        </p:nvGrpSpPr>
        <p:grpSpPr>
          <a:xfrm>
            <a:off x="754911" y="5285959"/>
            <a:ext cx="165296" cy="298912"/>
            <a:chOff x="754911" y="5285959"/>
            <a:chExt cx="165296" cy="298912"/>
          </a:xfrm>
        </p:grpSpPr>
        <p:grpSp>
          <p:nvGrpSpPr>
            <p:cNvPr id="1189" name="Gráfico 12">
              <a:extLst>
                <a:ext uri="{FF2B5EF4-FFF2-40B4-BE49-F238E27FC236}">
                  <a16:creationId xmlns:a16="http://schemas.microsoft.com/office/drawing/2014/main" id="{5F481BC7-3573-7E6E-D513-3532B763970D}"/>
                </a:ext>
              </a:extLst>
            </p:cNvPr>
            <p:cNvGrpSpPr/>
            <p:nvPr/>
          </p:nvGrpSpPr>
          <p:grpSpPr>
            <a:xfrm>
              <a:off x="754911" y="5285959"/>
              <a:ext cx="165296" cy="298912"/>
              <a:chOff x="754911" y="5285959"/>
              <a:chExt cx="165296" cy="298912"/>
            </a:xfrm>
            <a:noFill/>
          </p:grpSpPr>
          <p:sp>
            <p:nvSpPr>
              <p:cNvPr id="1190" name="Forma livre: Forma 1189">
                <a:extLst>
                  <a:ext uri="{FF2B5EF4-FFF2-40B4-BE49-F238E27FC236}">
                    <a16:creationId xmlns:a16="http://schemas.microsoft.com/office/drawing/2014/main" id="{8BF4F78B-24FE-F2BD-66EA-39D4514905B9}"/>
                  </a:ext>
                </a:extLst>
              </p:cNvPr>
              <p:cNvSpPr/>
              <p:nvPr/>
            </p:nvSpPr>
            <p:spPr>
              <a:xfrm>
                <a:off x="754911" y="5285959"/>
                <a:ext cx="165296" cy="298912"/>
              </a:xfrm>
              <a:custGeom>
                <a:avLst/>
                <a:gdLst>
                  <a:gd name="connsiteX0" fmla="*/ 165297 w 165296"/>
                  <a:gd name="connsiteY0" fmla="*/ 284994 h 298912"/>
                  <a:gd name="connsiteX1" fmla="*/ 151762 w 165296"/>
                  <a:gd name="connsiteY1" fmla="*/ 298913 h 298912"/>
                  <a:gd name="connsiteX2" fmla="*/ 13535 w 165296"/>
                  <a:gd name="connsiteY2" fmla="*/ 298913 h 298912"/>
                  <a:gd name="connsiteX3" fmla="*/ 0 w 165296"/>
                  <a:gd name="connsiteY3" fmla="*/ 284994 h 298912"/>
                  <a:gd name="connsiteX4" fmla="*/ 0 w 165296"/>
                  <a:gd name="connsiteY4" fmla="*/ 13535 h 298912"/>
                  <a:gd name="connsiteX5" fmla="*/ 13535 w 165296"/>
                  <a:gd name="connsiteY5" fmla="*/ 0 h 298912"/>
                  <a:gd name="connsiteX6" fmla="*/ 151762 w 165296"/>
                  <a:gd name="connsiteY6" fmla="*/ 0 h 298912"/>
                  <a:gd name="connsiteX7" fmla="*/ 165297 w 165296"/>
                  <a:gd name="connsiteY7" fmla="*/ 13535 h 298912"/>
                  <a:gd name="connsiteX8" fmla="*/ 165297 w 165296"/>
                  <a:gd name="connsiteY8" fmla="*/ 284994 h 2989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65296" h="298912">
                    <a:moveTo>
                      <a:pt x="165297" y="284994"/>
                    </a:moveTo>
                    <a:cubicBezTo>
                      <a:pt x="165297" y="292440"/>
                      <a:pt x="159208" y="298913"/>
                      <a:pt x="151762" y="298913"/>
                    </a:cubicBezTo>
                    <a:lnTo>
                      <a:pt x="13535" y="298913"/>
                    </a:lnTo>
                    <a:cubicBezTo>
                      <a:pt x="6089" y="298913"/>
                      <a:pt x="0" y="292428"/>
                      <a:pt x="0" y="284994"/>
                    </a:cubicBezTo>
                    <a:lnTo>
                      <a:pt x="0" y="13535"/>
                    </a:lnTo>
                    <a:cubicBezTo>
                      <a:pt x="0" y="6089"/>
                      <a:pt x="6077" y="0"/>
                      <a:pt x="13535" y="0"/>
                    </a:cubicBezTo>
                    <a:lnTo>
                      <a:pt x="151762" y="0"/>
                    </a:lnTo>
                    <a:cubicBezTo>
                      <a:pt x="159208" y="0"/>
                      <a:pt x="165297" y="6089"/>
                      <a:pt x="165297" y="13535"/>
                    </a:cubicBezTo>
                    <a:lnTo>
                      <a:pt x="165297" y="284994"/>
                    </a:ln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191" name="Forma livre: Forma 1190">
                <a:extLst>
                  <a:ext uri="{FF2B5EF4-FFF2-40B4-BE49-F238E27FC236}">
                    <a16:creationId xmlns:a16="http://schemas.microsoft.com/office/drawing/2014/main" id="{B1A82EBB-32A8-1029-F5D2-63777217436D}"/>
                  </a:ext>
                </a:extLst>
              </p:cNvPr>
              <p:cNvSpPr/>
              <p:nvPr/>
            </p:nvSpPr>
            <p:spPr>
              <a:xfrm>
                <a:off x="775759" y="5526050"/>
                <a:ext cx="123600" cy="1200"/>
              </a:xfrm>
              <a:custGeom>
                <a:avLst/>
                <a:gdLst>
                  <a:gd name="connsiteX0" fmla="*/ 0 w 123600"/>
                  <a:gd name="connsiteY0" fmla="*/ 0 h 1200"/>
                  <a:gd name="connsiteX1" fmla="*/ 123600 w 123600"/>
                  <a:gd name="connsiteY1" fmla="*/ 0 h 12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3600" h="1200">
                    <a:moveTo>
                      <a:pt x="0" y="0"/>
                    </a:moveTo>
                    <a:lnTo>
                      <a:pt x="12360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192" name="Forma livre: Forma 1191">
                <a:extLst>
                  <a:ext uri="{FF2B5EF4-FFF2-40B4-BE49-F238E27FC236}">
                    <a16:creationId xmlns:a16="http://schemas.microsoft.com/office/drawing/2014/main" id="{461D73A8-E88F-AC8C-8D9A-4F1FCD91238A}"/>
                  </a:ext>
                </a:extLst>
              </p:cNvPr>
              <p:cNvSpPr/>
              <p:nvPr/>
            </p:nvSpPr>
            <p:spPr>
              <a:xfrm>
                <a:off x="826318" y="5555065"/>
                <a:ext cx="22469" cy="1200"/>
              </a:xfrm>
              <a:custGeom>
                <a:avLst/>
                <a:gdLst>
                  <a:gd name="connsiteX0" fmla="*/ 0 w 22469"/>
                  <a:gd name="connsiteY0" fmla="*/ 0 h 1200"/>
                  <a:gd name="connsiteX1" fmla="*/ 22470 w 22469"/>
                  <a:gd name="connsiteY1" fmla="*/ 0 h 12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2469" h="1200">
                    <a:moveTo>
                      <a:pt x="0" y="0"/>
                    </a:moveTo>
                    <a:lnTo>
                      <a:pt x="2247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193" name="Gráfico 12">
              <a:extLst>
                <a:ext uri="{FF2B5EF4-FFF2-40B4-BE49-F238E27FC236}">
                  <a16:creationId xmlns:a16="http://schemas.microsoft.com/office/drawing/2014/main" id="{F896CAD3-8620-0072-46F2-AC5ABF0A10A5}"/>
                </a:ext>
              </a:extLst>
            </p:cNvPr>
            <p:cNvGrpSpPr/>
            <p:nvPr/>
          </p:nvGrpSpPr>
          <p:grpSpPr>
            <a:xfrm>
              <a:off x="779121" y="5347987"/>
              <a:ext cx="116875" cy="116862"/>
              <a:chOff x="779121" y="5347987"/>
              <a:chExt cx="116875" cy="116862"/>
            </a:xfrm>
          </p:grpSpPr>
          <p:grpSp>
            <p:nvGrpSpPr>
              <p:cNvPr id="1194" name="Gráfico 12">
                <a:extLst>
                  <a:ext uri="{FF2B5EF4-FFF2-40B4-BE49-F238E27FC236}">
                    <a16:creationId xmlns:a16="http://schemas.microsoft.com/office/drawing/2014/main" id="{4600273F-AD03-B743-2E2E-6CDE4DEFDBC5}"/>
                  </a:ext>
                </a:extLst>
              </p:cNvPr>
              <p:cNvGrpSpPr/>
              <p:nvPr/>
            </p:nvGrpSpPr>
            <p:grpSpPr>
              <a:xfrm>
                <a:off x="779121" y="5347987"/>
                <a:ext cx="116875" cy="116862"/>
                <a:chOff x="779121" y="5347987"/>
                <a:chExt cx="116875" cy="116862"/>
              </a:xfrm>
              <a:noFill/>
            </p:grpSpPr>
            <p:sp>
              <p:nvSpPr>
                <p:cNvPr id="1195" name="Forma livre: Forma 1194">
                  <a:extLst>
                    <a:ext uri="{FF2B5EF4-FFF2-40B4-BE49-F238E27FC236}">
                      <a16:creationId xmlns:a16="http://schemas.microsoft.com/office/drawing/2014/main" id="{64CE6F5D-E7D2-723F-6271-20A7608C3686}"/>
                    </a:ext>
                  </a:extLst>
                </p:cNvPr>
                <p:cNvSpPr/>
                <p:nvPr/>
              </p:nvSpPr>
              <p:spPr>
                <a:xfrm>
                  <a:off x="792236" y="5361114"/>
                  <a:ext cx="90646" cy="90623"/>
                </a:xfrm>
                <a:custGeom>
                  <a:avLst/>
                  <a:gdLst>
                    <a:gd name="connsiteX0" fmla="*/ 87188 w 90646"/>
                    <a:gd name="connsiteY0" fmla="*/ 27981 h 90623"/>
                    <a:gd name="connsiteX1" fmla="*/ 62665 w 90646"/>
                    <a:gd name="connsiteY1" fmla="*/ 87163 h 90623"/>
                    <a:gd name="connsiteX2" fmla="*/ 3458 w 90646"/>
                    <a:gd name="connsiteY2" fmla="*/ 62652 h 90623"/>
                    <a:gd name="connsiteX3" fmla="*/ 27982 w 90646"/>
                    <a:gd name="connsiteY3" fmla="*/ 3458 h 90623"/>
                    <a:gd name="connsiteX4" fmla="*/ 87188 w 90646"/>
                    <a:gd name="connsiteY4" fmla="*/ 27993 h 9062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90646" h="90623">
                      <a:moveTo>
                        <a:pt x="87188" y="27981"/>
                      </a:moveTo>
                      <a:cubicBezTo>
                        <a:pt x="96759" y="51075"/>
                        <a:pt x="85783" y="77580"/>
                        <a:pt x="62665" y="87163"/>
                      </a:cubicBezTo>
                      <a:cubicBezTo>
                        <a:pt x="39547" y="96735"/>
                        <a:pt x="13042" y="85770"/>
                        <a:pt x="3458" y="62652"/>
                      </a:cubicBezTo>
                      <a:cubicBezTo>
                        <a:pt x="-6113" y="39534"/>
                        <a:pt x="4864" y="13030"/>
                        <a:pt x="27982" y="3458"/>
                      </a:cubicBezTo>
                      <a:cubicBezTo>
                        <a:pt x="51100" y="-6113"/>
                        <a:pt x="77616" y="4863"/>
                        <a:pt x="87188" y="27993"/>
                      </a:cubicBezTo>
                      <a:close/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grpSp>
              <p:nvGrpSpPr>
                <p:cNvPr id="1196" name="Gráfico 12">
                  <a:extLst>
                    <a:ext uri="{FF2B5EF4-FFF2-40B4-BE49-F238E27FC236}">
                      <a16:creationId xmlns:a16="http://schemas.microsoft.com/office/drawing/2014/main" id="{48BF9B72-0609-AB91-F5C9-433445063312}"/>
                    </a:ext>
                  </a:extLst>
                </p:cNvPr>
                <p:cNvGrpSpPr/>
                <p:nvPr/>
              </p:nvGrpSpPr>
              <p:grpSpPr>
                <a:xfrm>
                  <a:off x="813360" y="5347987"/>
                  <a:ext cx="48397" cy="116862"/>
                  <a:chOff x="813360" y="5347987"/>
                  <a:chExt cx="48397" cy="116862"/>
                </a:xfrm>
              </p:grpSpPr>
              <p:sp>
                <p:nvSpPr>
                  <p:cNvPr id="1197" name="Forma livre: Forma 1196">
                    <a:extLst>
                      <a:ext uri="{FF2B5EF4-FFF2-40B4-BE49-F238E27FC236}">
                        <a16:creationId xmlns:a16="http://schemas.microsoft.com/office/drawing/2014/main" id="{C71EA65D-4A9F-1BB9-9CBD-6A8F22CF1338}"/>
                      </a:ext>
                    </a:extLst>
                  </p:cNvPr>
                  <p:cNvSpPr/>
                  <p:nvPr/>
                </p:nvSpPr>
                <p:spPr>
                  <a:xfrm>
                    <a:off x="813360" y="5347987"/>
                    <a:ext cx="6533" cy="15792"/>
                  </a:xfrm>
                  <a:custGeom>
                    <a:avLst/>
                    <a:gdLst>
                      <a:gd name="connsiteX0" fmla="*/ 6533 w 6533"/>
                      <a:gd name="connsiteY0" fmla="*/ 15792 h 15792"/>
                      <a:gd name="connsiteX1" fmla="*/ 0 w 6533"/>
                      <a:gd name="connsiteY1" fmla="*/ 0 h 1579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6533" h="15792">
                        <a:moveTo>
                          <a:pt x="6533" y="15792"/>
                        </a:moveTo>
                        <a:lnTo>
                          <a:pt x="0" y="0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1198" name="Forma livre: Forma 1197">
                    <a:extLst>
                      <a:ext uri="{FF2B5EF4-FFF2-40B4-BE49-F238E27FC236}">
                        <a16:creationId xmlns:a16="http://schemas.microsoft.com/office/drawing/2014/main" id="{6DA58431-6B3C-9BB3-500C-D19E4B4F1EB2}"/>
                      </a:ext>
                    </a:extLst>
                  </p:cNvPr>
                  <p:cNvSpPr/>
                  <p:nvPr/>
                </p:nvSpPr>
                <p:spPr>
                  <a:xfrm>
                    <a:off x="855225" y="5449058"/>
                    <a:ext cx="6533" cy="15792"/>
                  </a:xfrm>
                  <a:custGeom>
                    <a:avLst/>
                    <a:gdLst>
                      <a:gd name="connsiteX0" fmla="*/ 6533 w 6533"/>
                      <a:gd name="connsiteY0" fmla="*/ 15792 h 15792"/>
                      <a:gd name="connsiteX1" fmla="*/ 0 w 6533"/>
                      <a:gd name="connsiteY1" fmla="*/ 0 h 1579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6533" h="15792">
                        <a:moveTo>
                          <a:pt x="6533" y="15792"/>
                        </a:moveTo>
                        <a:lnTo>
                          <a:pt x="0" y="0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  <p:grpSp>
              <p:nvGrpSpPr>
                <p:cNvPr id="1199" name="Gráfico 12">
                  <a:extLst>
                    <a:ext uri="{FF2B5EF4-FFF2-40B4-BE49-F238E27FC236}">
                      <a16:creationId xmlns:a16="http://schemas.microsoft.com/office/drawing/2014/main" id="{7BF7AB87-25F9-DE79-3C50-8E9C1DD9634B}"/>
                    </a:ext>
                  </a:extLst>
                </p:cNvPr>
                <p:cNvGrpSpPr/>
                <p:nvPr/>
              </p:nvGrpSpPr>
              <p:grpSpPr>
                <a:xfrm>
                  <a:off x="779121" y="5382226"/>
                  <a:ext cx="116863" cy="48397"/>
                  <a:chOff x="779121" y="5382226"/>
                  <a:chExt cx="116863" cy="48397"/>
                </a:xfrm>
              </p:grpSpPr>
              <p:sp>
                <p:nvSpPr>
                  <p:cNvPr id="1200" name="Forma livre: Forma 1199">
                    <a:extLst>
                      <a:ext uri="{FF2B5EF4-FFF2-40B4-BE49-F238E27FC236}">
                        <a16:creationId xmlns:a16="http://schemas.microsoft.com/office/drawing/2014/main" id="{88D1CA4E-A874-1771-95F5-FB938F2D522F}"/>
                      </a:ext>
                    </a:extLst>
                  </p:cNvPr>
                  <p:cNvSpPr/>
                  <p:nvPr/>
                </p:nvSpPr>
                <p:spPr>
                  <a:xfrm>
                    <a:off x="880192" y="5382226"/>
                    <a:ext cx="15792" cy="6533"/>
                  </a:xfrm>
                  <a:custGeom>
                    <a:avLst/>
                    <a:gdLst>
                      <a:gd name="connsiteX0" fmla="*/ 0 w 15792"/>
                      <a:gd name="connsiteY0" fmla="*/ 6533 h 6533"/>
                      <a:gd name="connsiteX1" fmla="*/ 15792 w 15792"/>
                      <a:gd name="connsiteY1" fmla="*/ 0 h 653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5792" h="6533">
                        <a:moveTo>
                          <a:pt x="0" y="6533"/>
                        </a:moveTo>
                        <a:lnTo>
                          <a:pt x="15792" y="0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1201" name="Forma livre: Forma 1200">
                    <a:extLst>
                      <a:ext uri="{FF2B5EF4-FFF2-40B4-BE49-F238E27FC236}">
                        <a16:creationId xmlns:a16="http://schemas.microsoft.com/office/drawing/2014/main" id="{3F60EFAC-2F41-59B5-7D1E-503149C5FE6C}"/>
                      </a:ext>
                    </a:extLst>
                  </p:cNvPr>
                  <p:cNvSpPr/>
                  <p:nvPr/>
                </p:nvSpPr>
                <p:spPr>
                  <a:xfrm>
                    <a:off x="779121" y="5424079"/>
                    <a:ext cx="15804" cy="6545"/>
                  </a:xfrm>
                  <a:custGeom>
                    <a:avLst/>
                    <a:gdLst>
                      <a:gd name="connsiteX0" fmla="*/ 0 w 15804"/>
                      <a:gd name="connsiteY0" fmla="*/ 6545 h 6545"/>
                      <a:gd name="connsiteX1" fmla="*/ 15804 w 15804"/>
                      <a:gd name="connsiteY1" fmla="*/ 0 h 654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5804" h="6545">
                        <a:moveTo>
                          <a:pt x="0" y="6545"/>
                        </a:moveTo>
                        <a:lnTo>
                          <a:pt x="15804" y="0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  <p:grpSp>
              <p:nvGrpSpPr>
                <p:cNvPr id="1202" name="Gráfico 12">
                  <a:extLst>
                    <a:ext uri="{FF2B5EF4-FFF2-40B4-BE49-F238E27FC236}">
                      <a16:creationId xmlns:a16="http://schemas.microsoft.com/office/drawing/2014/main" id="{62F74FA0-3273-0AF0-DBC6-A5CC7D1272D5}"/>
                    </a:ext>
                  </a:extLst>
                </p:cNvPr>
                <p:cNvGrpSpPr/>
                <p:nvPr/>
              </p:nvGrpSpPr>
              <p:grpSpPr>
                <a:xfrm>
                  <a:off x="779133" y="5382202"/>
                  <a:ext cx="116863" cy="48421"/>
                  <a:chOff x="779133" y="5382202"/>
                  <a:chExt cx="116863" cy="48421"/>
                </a:xfrm>
              </p:grpSpPr>
              <p:sp>
                <p:nvSpPr>
                  <p:cNvPr id="1203" name="Forma livre: Forma 1202">
                    <a:extLst>
                      <a:ext uri="{FF2B5EF4-FFF2-40B4-BE49-F238E27FC236}">
                        <a16:creationId xmlns:a16="http://schemas.microsoft.com/office/drawing/2014/main" id="{7496272E-C8FF-0F18-1409-51BF6E91CA4C}"/>
                      </a:ext>
                    </a:extLst>
                  </p:cNvPr>
                  <p:cNvSpPr/>
                  <p:nvPr/>
                </p:nvSpPr>
                <p:spPr>
                  <a:xfrm>
                    <a:off x="779133" y="5382202"/>
                    <a:ext cx="15792" cy="6557"/>
                  </a:xfrm>
                  <a:custGeom>
                    <a:avLst/>
                    <a:gdLst>
                      <a:gd name="connsiteX0" fmla="*/ 15792 w 15792"/>
                      <a:gd name="connsiteY0" fmla="*/ 6557 h 6557"/>
                      <a:gd name="connsiteX1" fmla="*/ 0 w 15792"/>
                      <a:gd name="connsiteY1" fmla="*/ 0 h 655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5792" h="6557">
                        <a:moveTo>
                          <a:pt x="15792" y="6557"/>
                        </a:moveTo>
                        <a:lnTo>
                          <a:pt x="0" y="0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1204" name="Forma livre: Forma 1203">
                    <a:extLst>
                      <a:ext uri="{FF2B5EF4-FFF2-40B4-BE49-F238E27FC236}">
                        <a16:creationId xmlns:a16="http://schemas.microsoft.com/office/drawing/2014/main" id="{2FA75159-0574-D214-E099-08B19B292FFD}"/>
                      </a:ext>
                    </a:extLst>
                  </p:cNvPr>
                  <p:cNvSpPr/>
                  <p:nvPr/>
                </p:nvSpPr>
                <p:spPr>
                  <a:xfrm>
                    <a:off x="880192" y="5424079"/>
                    <a:ext cx="15804" cy="6545"/>
                  </a:xfrm>
                  <a:custGeom>
                    <a:avLst/>
                    <a:gdLst>
                      <a:gd name="connsiteX0" fmla="*/ 15804 w 15804"/>
                      <a:gd name="connsiteY0" fmla="*/ 6545 h 6545"/>
                      <a:gd name="connsiteX1" fmla="*/ 0 w 15804"/>
                      <a:gd name="connsiteY1" fmla="*/ 0 h 654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5804" h="6545">
                        <a:moveTo>
                          <a:pt x="15804" y="6545"/>
                        </a:moveTo>
                        <a:lnTo>
                          <a:pt x="0" y="0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  <p:grpSp>
              <p:nvGrpSpPr>
                <p:cNvPr id="1205" name="Gráfico 12">
                  <a:extLst>
                    <a:ext uri="{FF2B5EF4-FFF2-40B4-BE49-F238E27FC236}">
                      <a16:creationId xmlns:a16="http://schemas.microsoft.com/office/drawing/2014/main" id="{03BA67B9-81FB-1B31-C19B-0B4ADE050399}"/>
                    </a:ext>
                  </a:extLst>
                </p:cNvPr>
                <p:cNvGrpSpPr/>
                <p:nvPr/>
              </p:nvGrpSpPr>
              <p:grpSpPr>
                <a:xfrm>
                  <a:off x="813360" y="5347987"/>
                  <a:ext cx="48397" cy="116862"/>
                  <a:chOff x="813360" y="5347987"/>
                  <a:chExt cx="48397" cy="116862"/>
                </a:xfrm>
              </p:grpSpPr>
              <p:sp>
                <p:nvSpPr>
                  <p:cNvPr id="1206" name="Forma livre: Forma 1205">
                    <a:extLst>
                      <a:ext uri="{FF2B5EF4-FFF2-40B4-BE49-F238E27FC236}">
                        <a16:creationId xmlns:a16="http://schemas.microsoft.com/office/drawing/2014/main" id="{6599DB08-B9E2-2ECE-B94D-17DF1D90903D}"/>
                      </a:ext>
                    </a:extLst>
                  </p:cNvPr>
                  <p:cNvSpPr/>
                  <p:nvPr/>
                </p:nvSpPr>
                <p:spPr>
                  <a:xfrm>
                    <a:off x="855213" y="5347987"/>
                    <a:ext cx="6545" cy="15792"/>
                  </a:xfrm>
                  <a:custGeom>
                    <a:avLst/>
                    <a:gdLst>
                      <a:gd name="connsiteX0" fmla="*/ 0 w 6545"/>
                      <a:gd name="connsiteY0" fmla="*/ 15792 h 15792"/>
                      <a:gd name="connsiteX1" fmla="*/ 6545 w 6545"/>
                      <a:gd name="connsiteY1" fmla="*/ 0 h 1579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6545" h="15792">
                        <a:moveTo>
                          <a:pt x="0" y="15792"/>
                        </a:moveTo>
                        <a:lnTo>
                          <a:pt x="6545" y="0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1207" name="Forma livre: Forma 1206">
                    <a:extLst>
                      <a:ext uri="{FF2B5EF4-FFF2-40B4-BE49-F238E27FC236}">
                        <a16:creationId xmlns:a16="http://schemas.microsoft.com/office/drawing/2014/main" id="{BF561CD4-3E3E-1000-928D-52B71AA260D8}"/>
                      </a:ext>
                    </a:extLst>
                  </p:cNvPr>
                  <p:cNvSpPr/>
                  <p:nvPr/>
                </p:nvSpPr>
                <p:spPr>
                  <a:xfrm>
                    <a:off x="813360" y="5449058"/>
                    <a:ext cx="6545" cy="15792"/>
                  </a:xfrm>
                  <a:custGeom>
                    <a:avLst/>
                    <a:gdLst>
                      <a:gd name="connsiteX0" fmla="*/ 0 w 6545"/>
                      <a:gd name="connsiteY0" fmla="*/ 15792 h 15792"/>
                      <a:gd name="connsiteX1" fmla="*/ 6545 w 6545"/>
                      <a:gd name="connsiteY1" fmla="*/ 0 h 1579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6545" h="15792">
                        <a:moveTo>
                          <a:pt x="0" y="15792"/>
                        </a:moveTo>
                        <a:lnTo>
                          <a:pt x="6545" y="0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</p:grpSp>
          <p:grpSp>
            <p:nvGrpSpPr>
              <p:cNvPr id="1208" name="Gráfico 12">
                <a:extLst>
                  <a:ext uri="{FF2B5EF4-FFF2-40B4-BE49-F238E27FC236}">
                    <a16:creationId xmlns:a16="http://schemas.microsoft.com/office/drawing/2014/main" id="{6CF4B425-0430-71EE-7E6A-17ABA076D685}"/>
                  </a:ext>
                </a:extLst>
              </p:cNvPr>
              <p:cNvGrpSpPr/>
              <p:nvPr/>
            </p:nvGrpSpPr>
            <p:grpSpPr>
              <a:xfrm>
                <a:off x="816231" y="5387494"/>
                <a:ext cx="34646" cy="35670"/>
                <a:chOff x="816231" y="5387494"/>
                <a:chExt cx="34646" cy="35670"/>
              </a:xfrm>
              <a:solidFill>
                <a:srgbClr val="394553"/>
              </a:solidFill>
            </p:grpSpPr>
            <p:sp>
              <p:nvSpPr>
                <p:cNvPr id="1209" name="Forma livre: Forma 1208">
                  <a:extLst>
                    <a:ext uri="{FF2B5EF4-FFF2-40B4-BE49-F238E27FC236}">
                      <a16:creationId xmlns:a16="http://schemas.microsoft.com/office/drawing/2014/main" id="{E20F6FC1-EEA0-BA99-D6D7-9D5561ACDB88}"/>
                    </a:ext>
                  </a:extLst>
                </p:cNvPr>
                <p:cNvSpPr/>
                <p:nvPr/>
              </p:nvSpPr>
              <p:spPr>
                <a:xfrm>
                  <a:off x="816231" y="5398857"/>
                  <a:ext cx="7201" cy="7192"/>
                </a:xfrm>
                <a:custGeom>
                  <a:avLst/>
                  <a:gdLst>
                    <a:gd name="connsiteX0" fmla="*/ 840 w 7201"/>
                    <a:gd name="connsiteY0" fmla="*/ 5899 h 7192"/>
                    <a:gd name="connsiteX1" fmla="*/ 1296 w 7201"/>
                    <a:gd name="connsiteY1" fmla="*/ 831 h 7192"/>
                    <a:gd name="connsiteX2" fmla="*/ 6352 w 7201"/>
                    <a:gd name="connsiteY2" fmla="*/ 1287 h 7192"/>
                    <a:gd name="connsiteX3" fmla="*/ 5908 w 7201"/>
                    <a:gd name="connsiteY3" fmla="*/ 6367 h 7192"/>
                    <a:gd name="connsiteX4" fmla="*/ 840 w 7201"/>
                    <a:gd name="connsiteY4" fmla="*/ 5899 h 71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7201" h="7192">
                      <a:moveTo>
                        <a:pt x="840" y="5899"/>
                      </a:moveTo>
                      <a:cubicBezTo>
                        <a:pt x="-433" y="4373"/>
                        <a:pt x="-241" y="2128"/>
                        <a:pt x="1296" y="831"/>
                      </a:cubicBezTo>
                      <a:cubicBezTo>
                        <a:pt x="2821" y="-430"/>
                        <a:pt x="5091" y="-238"/>
                        <a:pt x="6352" y="1287"/>
                      </a:cubicBezTo>
                      <a:cubicBezTo>
                        <a:pt x="7637" y="2812"/>
                        <a:pt x="7445" y="5082"/>
                        <a:pt x="5908" y="6367"/>
                      </a:cubicBezTo>
                      <a:cubicBezTo>
                        <a:pt x="4382" y="7628"/>
                        <a:pt x="2137" y="7424"/>
                        <a:pt x="840" y="5899"/>
                      </a:cubicBezTo>
                      <a:close/>
                    </a:path>
                  </a:pathLst>
                </a:custGeom>
                <a:solidFill>
                  <a:srgbClr val="394553"/>
                </a:solidFill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210" name="Forma livre: Forma 1209">
                  <a:extLst>
                    <a:ext uri="{FF2B5EF4-FFF2-40B4-BE49-F238E27FC236}">
                      <a16:creationId xmlns:a16="http://schemas.microsoft.com/office/drawing/2014/main" id="{1C94E628-75D4-8931-4C96-E7981DDE230E}"/>
                    </a:ext>
                  </a:extLst>
                </p:cNvPr>
                <p:cNvSpPr/>
                <p:nvPr/>
              </p:nvSpPr>
              <p:spPr>
                <a:xfrm>
                  <a:off x="843688" y="5387494"/>
                  <a:ext cx="7189" cy="7195"/>
                </a:xfrm>
                <a:custGeom>
                  <a:avLst/>
                  <a:gdLst>
                    <a:gd name="connsiteX0" fmla="*/ 837 w 7189"/>
                    <a:gd name="connsiteY0" fmla="*/ 5901 h 7195"/>
                    <a:gd name="connsiteX1" fmla="*/ 1281 w 7189"/>
                    <a:gd name="connsiteY1" fmla="*/ 821 h 7195"/>
                    <a:gd name="connsiteX2" fmla="*/ 6349 w 7189"/>
                    <a:gd name="connsiteY2" fmla="*/ 1289 h 7195"/>
                    <a:gd name="connsiteX3" fmla="*/ 5905 w 7189"/>
                    <a:gd name="connsiteY3" fmla="*/ 6369 h 7195"/>
                    <a:gd name="connsiteX4" fmla="*/ 825 w 7189"/>
                    <a:gd name="connsiteY4" fmla="*/ 5913 h 719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7189" h="7195">
                      <a:moveTo>
                        <a:pt x="837" y="5901"/>
                      </a:moveTo>
                      <a:cubicBezTo>
                        <a:pt x="-436" y="4364"/>
                        <a:pt x="-232" y="2118"/>
                        <a:pt x="1281" y="821"/>
                      </a:cubicBezTo>
                      <a:cubicBezTo>
                        <a:pt x="2806" y="-428"/>
                        <a:pt x="5088" y="-236"/>
                        <a:pt x="6349" y="1289"/>
                      </a:cubicBezTo>
                      <a:cubicBezTo>
                        <a:pt x="7622" y="2814"/>
                        <a:pt x="7430" y="5084"/>
                        <a:pt x="5905" y="6369"/>
                      </a:cubicBezTo>
                      <a:cubicBezTo>
                        <a:pt x="4368" y="7630"/>
                        <a:pt x="2110" y="7426"/>
                        <a:pt x="825" y="5913"/>
                      </a:cubicBezTo>
                      <a:close/>
                    </a:path>
                  </a:pathLst>
                </a:custGeom>
                <a:solidFill>
                  <a:srgbClr val="394553"/>
                </a:solidFill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211" name="Forma livre: Forma 1210">
                  <a:extLst>
                    <a:ext uri="{FF2B5EF4-FFF2-40B4-BE49-F238E27FC236}">
                      <a16:creationId xmlns:a16="http://schemas.microsoft.com/office/drawing/2014/main" id="{45BC2DEE-EFED-E8FC-DDD2-866493DA317A}"/>
                    </a:ext>
                  </a:extLst>
                </p:cNvPr>
                <p:cNvSpPr/>
                <p:nvPr/>
              </p:nvSpPr>
              <p:spPr>
                <a:xfrm>
                  <a:off x="839394" y="5415967"/>
                  <a:ext cx="7197" cy="7197"/>
                </a:xfrm>
                <a:custGeom>
                  <a:avLst/>
                  <a:gdLst>
                    <a:gd name="connsiteX0" fmla="*/ 831 w 7197"/>
                    <a:gd name="connsiteY0" fmla="*/ 5902 h 7197"/>
                    <a:gd name="connsiteX1" fmla="*/ 1287 w 7197"/>
                    <a:gd name="connsiteY1" fmla="*/ 822 h 7197"/>
                    <a:gd name="connsiteX2" fmla="*/ 6367 w 7197"/>
                    <a:gd name="connsiteY2" fmla="*/ 1278 h 7197"/>
                    <a:gd name="connsiteX3" fmla="*/ 5911 w 7197"/>
                    <a:gd name="connsiteY3" fmla="*/ 6358 h 7197"/>
                    <a:gd name="connsiteX4" fmla="*/ 831 w 7197"/>
                    <a:gd name="connsiteY4" fmla="*/ 5902 h 719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7197" h="7197">
                      <a:moveTo>
                        <a:pt x="831" y="5902"/>
                      </a:moveTo>
                      <a:cubicBezTo>
                        <a:pt x="-430" y="4365"/>
                        <a:pt x="-238" y="2107"/>
                        <a:pt x="1287" y="822"/>
                      </a:cubicBezTo>
                      <a:cubicBezTo>
                        <a:pt x="2812" y="-427"/>
                        <a:pt x="5094" y="-235"/>
                        <a:pt x="6367" y="1278"/>
                      </a:cubicBezTo>
                      <a:cubicBezTo>
                        <a:pt x="7628" y="2815"/>
                        <a:pt x="7436" y="5085"/>
                        <a:pt x="5911" y="6358"/>
                      </a:cubicBezTo>
                      <a:cubicBezTo>
                        <a:pt x="4386" y="7631"/>
                        <a:pt x="2128" y="7439"/>
                        <a:pt x="831" y="5902"/>
                      </a:cubicBezTo>
                      <a:close/>
                    </a:path>
                  </a:pathLst>
                </a:custGeom>
                <a:solidFill>
                  <a:srgbClr val="394553"/>
                </a:solidFill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</p:grpSp>
      <p:grpSp>
        <p:nvGrpSpPr>
          <p:cNvPr id="1212" name="Gráfico 12">
            <a:extLst>
              <a:ext uri="{FF2B5EF4-FFF2-40B4-BE49-F238E27FC236}">
                <a16:creationId xmlns:a16="http://schemas.microsoft.com/office/drawing/2014/main" id="{7114E256-67A5-BD26-1608-FF19952B860F}"/>
              </a:ext>
            </a:extLst>
          </p:cNvPr>
          <p:cNvGrpSpPr/>
          <p:nvPr/>
        </p:nvGrpSpPr>
        <p:grpSpPr>
          <a:xfrm>
            <a:off x="699559" y="3673457"/>
            <a:ext cx="275998" cy="317810"/>
            <a:chOff x="699559" y="3673457"/>
            <a:chExt cx="275998" cy="317810"/>
          </a:xfrm>
          <a:noFill/>
        </p:grpSpPr>
        <p:sp>
          <p:nvSpPr>
            <p:cNvPr id="1213" name="Forma livre: Forma 1212">
              <a:extLst>
                <a:ext uri="{FF2B5EF4-FFF2-40B4-BE49-F238E27FC236}">
                  <a16:creationId xmlns:a16="http://schemas.microsoft.com/office/drawing/2014/main" id="{8389E03C-8981-91AE-42CE-EC96DB959B11}"/>
                </a:ext>
              </a:extLst>
            </p:cNvPr>
            <p:cNvSpPr/>
            <p:nvPr/>
          </p:nvSpPr>
          <p:spPr>
            <a:xfrm>
              <a:off x="769737" y="3797525"/>
              <a:ext cx="45220" cy="68833"/>
            </a:xfrm>
            <a:custGeom>
              <a:avLst/>
              <a:gdLst>
                <a:gd name="connsiteX0" fmla="*/ 45220 w 45220"/>
                <a:gd name="connsiteY0" fmla="*/ 21877 h 68833"/>
                <a:gd name="connsiteX1" fmla="*/ 16482 w 45220"/>
                <a:gd name="connsiteY1" fmla="*/ 957 h 68833"/>
                <a:gd name="connsiteX2" fmla="*/ 2455 w 45220"/>
                <a:gd name="connsiteY2" fmla="*/ 35555 h 68833"/>
                <a:gd name="connsiteX3" fmla="*/ 34412 w 45220"/>
                <a:gd name="connsiteY3" fmla="*/ 68641 h 68833"/>
                <a:gd name="connsiteX4" fmla="*/ 42098 w 45220"/>
                <a:gd name="connsiteY4" fmla="*/ 61856 h 688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5220" h="68833">
                  <a:moveTo>
                    <a:pt x="45220" y="21877"/>
                  </a:moveTo>
                  <a:cubicBezTo>
                    <a:pt x="45220" y="21877"/>
                    <a:pt x="37438" y="-5384"/>
                    <a:pt x="16482" y="957"/>
                  </a:cubicBezTo>
                  <a:cubicBezTo>
                    <a:pt x="-1184" y="6301"/>
                    <a:pt x="-2397" y="20123"/>
                    <a:pt x="2455" y="35555"/>
                  </a:cubicBezTo>
                  <a:cubicBezTo>
                    <a:pt x="2455" y="35555"/>
                    <a:pt x="20001" y="71776"/>
                    <a:pt x="34412" y="68641"/>
                  </a:cubicBezTo>
                  <a:cubicBezTo>
                    <a:pt x="34412" y="68641"/>
                    <a:pt x="39504" y="68041"/>
                    <a:pt x="42098" y="61856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14" name="Forma livre: Forma 1213">
              <a:extLst>
                <a:ext uri="{FF2B5EF4-FFF2-40B4-BE49-F238E27FC236}">
                  <a16:creationId xmlns:a16="http://schemas.microsoft.com/office/drawing/2014/main" id="{61096F0B-6914-2607-FB43-960433F8AED3}"/>
                </a:ext>
              </a:extLst>
            </p:cNvPr>
            <p:cNvSpPr/>
            <p:nvPr/>
          </p:nvSpPr>
          <p:spPr>
            <a:xfrm>
              <a:off x="863007" y="3949380"/>
              <a:ext cx="40471" cy="41886"/>
            </a:xfrm>
            <a:custGeom>
              <a:avLst/>
              <a:gdLst>
                <a:gd name="connsiteX0" fmla="*/ 0 w 40471"/>
                <a:gd name="connsiteY0" fmla="*/ 41887 h 41886"/>
                <a:gd name="connsiteX1" fmla="*/ 4311 w 40471"/>
                <a:gd name="connsiteY1" fmla="*/ 20822 h 41886"/>
                <a:gd name="connsiteX2" fmla="*/ 14267 w 40471"/>
                <a:gd name="connsiteY2" fmla="*/ 1415 h 41886"/>
                <a:gd name="connsiteX3" fmla="*/ 40472 w 40471"/>
                <a:gd name="connsiteY3" fmla="*/ 58 h 418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0471" h="41886">
                  <a:moveTo>
                    <a:pt x="0" y="41887"/>
                  </a:moveTo>
                  <a:lnTo>
                    <a:pt x="4311" y="20822"/>
                  </a:lnTo>
                  <a:cubicBezTo>
                    <a:pt x="4311" y="20822"/>
                    <a:pt x="4311" y="3073"/>
                    <a:pt x="14267" y="1415"/>
                  </a:cubicBezTo>
                  <a:cubicBezTo>
                    <a:pt x="14267" y="1415"/>
                    <a:pt x="20260" y="-338"/>
                    <a:pt x="40472" y="58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15" name="Forma livre: Forma 1214">
              <a:extLst>
                <a:ext uri="{FF2B5EF4-FFF2-40B4-BE49-F238E27FC236}">
                  <a16:creationId xmlns:a16="http://schemas.microsoft.com/office/drawing/2014/main" id="{F46817ED-6150-BFC4-355B-618FA357A8D8}"/>
                </a:ext>
              </a:extLst>
            </p:cNvPr>
            <p:cNvSpPr/>
            <p:nvPr/>
          </p:nvSpPr>
          <p:spPr>
            <a:xfrm>
              <a:off x="699559" y="3673457"/>
              <a:ext cx="243045" cy="307866"/>
            </a:xfrm>
            <a:custGeom>
              <a:avLst/>
              <a:gdLst>
                <a:gd name="connsiteX0" fmla="*/ 129509 w 243045"/>
                <a:gd name="connsiteY0" fmla="*/ 136997 h 307866"/>
                <a:gd name="connsiteX1" fmla="*/ 147523 w 243045"/>
                <a:gd name="connsiteY1" fmla="*/ 111886 h 307866"/>
                <a:gd name="connsiteX2" fmla="*/ 167939 w 243045"/>
                <a:gd name="connsiteY2" fmla="*/ 70394 h 307866"/>
                <a:gd name="connsiteX3" fmla="*/ 233306 w 243045"/>
                <a:gd name="connsiteY3" fmla="*/ 36383 h 307866"/>
                <a:gd name="connsiteX4" fmla="*/ 230976 w 243045"/>
                <a:gd name="connsiteY4" fmla="*/ 8509 h 307866"/>
                <a:gd name="connsiteX5" fmla="*/ 117896 w 243045"/>
                <a:gd name="connsiteY5" fmla="*/ 223 h 307866"/>
                <a:gd name="connsiteX6" fmla="*/ 0 w 243045"/>
                <a:gd name="connsiteY6" fmla="*/ 118707 h 307866"/>
                <a:gd name="connsiteX7" fmla="*/ 40363 w 243045"/>
                <a:gd name="connsiteY7" fmla="*/ 207108 h 307866"/>
                <a:gd name="connsiteX8" fmla="*/ 60011 w 243045"/>
                <a:gd name="connsiteY8" fmla="*/ 236303 h 307866"/>
                <a:gd name="connsiteX9" fmla="*/ 41853 w 243045"/>
                <a:gd name="connsiteY9" fmla="*/ 307866 h 3078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43045" h="307866">
                  <a:moveTo>
                    <a:pt x="129509" y="136997"/>
                  </a:moveTo>
                  <a:cubicBezTo>
                    <a:pt x="129509" y="136997"/>
                    <a:pt x="129269" y="115212"/>
                    <a:pt x="147523" y="111886"/>
                  </a:cubicBezTo>
                  <a:cubicBezTo>
                    <a:pt x="165777" y="108559"/>
                    <a:pt x="173919" y="89188"/>
                    <a:pt x="167939" y="70394"/>
                  </a:cubicBezTo>
                  <a:cubicBezTo>
                    <a:pt x="161130" y="48993"/>
                    <a:pt x="202610" y="35542"/>
                    <a:pt x="233306" y="36383"/>
                  </a:cubicBezTo>
                  <a:cubicBezTo>
                    <a:pt x="233306" y="36383"/>
                    <a:pt x="256700" y="15151"/>
                    <a:pt x="230976" y="8509"/>
                  </a:cubicBezTo>
                  <a:cubicBezTo>
                    <a:pt x="230976" y="8509"/>
                    <a:pt x="181870" y="-1614"/>
                    <a:pt x="117896" y="223"/>
                  </a:cubicBezTo>
                  <a:cubicBezTo>
                    <a:pt x="53286" y="223"/>
                    <a:pt x="0" y="54097"/>
                    <a:pt x="0" y="118707"/>
                  </a:cubicBezTo>
                  <a:cubicBezTo>
                    <a:pt x="0" y="154015"/>
                    <a:pt x="15636" y="185659"/>
                    <a:pt x="40363" y="207108"/>
                  </a:cubicBezTo>
                  <a:cubicBezTo>
                    <a:pt x="45407" y="211491"/>
                    <a:pt x="58137" y="222612"/>
                    <a:pt x="60011" y="236303"/>
                  </a:cubicBezTo>
                  <a:cubicBezTo>
                    <a:pt x="60011" y="236303"/>
                    <a:pt x="58233" y="275982"/>
                    <a:pt x="41853" y="307866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16" name="Forma livre: Forma 1215">
              <a:extLst>
                <a:ext uri="{FF2B5EF4-FFF2-40B4-BE49-F238E27FC236}">
                  <a16:creationId xmlns:a16="http://schemas.microsoft.com/office/drawing/2014/main" id="{F3E02900-2F68-66E3-054D-582E0602F2E1}"/>
                </a:ext>
              </a:extLst>
            </p:cNvPr>
            <p:cNvSpPr/>
            <p:nvPr/>
          </p:nvSpPr>
          <p:spPr>
            <a:xfrm>
              <a:off x="760963" y="3885069"/>
              <a:ext cx="17917" cy="21736"/>
            </a:xfrm>
            <a:custGeom>
              <a:avLst/>
              <a:gdLst>
                <a:gd name="connsiteX0" fmla="*/ 17918 w 17917"/>
                <a:gd name="connsiteY0" fmla="*/ 0 h 21736"/>
                <a:gd name="connsiteX1" fmla="*/ 0 w 17917"/>
                <a:gd name="connsiteY1" fmla="*/ 21737 h 217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7917" h="21736">
                  <a:moveTo>
                    <a:pt x="17918" y="0"/>
                  </a:moveTo>
                  <a:cubicBezTo>
                    <a:pt x="17918" y="0"/>
                    <a:pt x="9968" y="16753"/>
                    <a:pt x="0" y="21737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17" name="Forma livre: Forma 1216">
              <a:extLst>
                <a:ext uri="{FF2B5EF4-FFF2-40B4-BE49-F238E27FC236}">
                  <a16:creationId xmlns:a16="http://schemas.microsoft.com/office/drawing/2014/main" id="{F31F1E81-6CF9-C9D4-8ADD-5F127A454319}"/>
                </a:ext>
              </a:extLst>
            </p:cNvPr>
            <p:cNvSpPr/>
            <p:nvPr/>
          </p:nvSpPr>
          <p:spPr>
            <a:xfrm>
              <a:off x="849064" y="3732045"/>
              <a:ext cx="126494" cy="217382"/>
            </a:xfrm>
            <a:custGeom>
              <a:avLst/>
              <a:gdLst>
                <a:gd name="connsiteX0" fmla="*/ 101035 w 126494"/>
                <a:gd name="connsiteY0" fmla="*/ 76632 h 217382"/>
                <a:gd name="connsiteX1" fmla="*/ 83261 w 126494"/>
                <a:gd name="connsiteY1" fmla="*/ 92328 h 217382"/>
                <a:gd name="connsiteX2" fmla="*/ 28822 w 126494"/>
                <a:gd name="connsiteY2" fmla="*/ 116347 h 217382"/>
                <a:gd name="connsiteX3" fmla="*/ 0 w 126494"/>
                <a:gd name="connsiteY3" fmla="*/ 164384 h 217382"/>
                <a:gd name="connsiteX4" fmla="*/ 54438 w 126494"/>
                <a:gd name="connsiteY4" fmla="*/ 217381 h 217382"/>
                <a:gd name="connsiteX5" fmla="*/ 126495 w 126494"/>
                <a:gd name="connsiteY5" fmla="*/ 109946 h 217382"/>
                <a:gd name="connsiteX6" fmla="*/ 120946 w 126494"/>
                <a:gd name="connsiteY6" fmla="*/ 98573 h 217382"/>
                <a:gd name="connsiteX7" fmla="*/ 91884 w 126494"/>
                <a:gd name="connsiteY7" fmla="*/ 64358 h 217382"/>
                <a:gd name="connsiteX8" fmla="*/ 87044 w 126494"/>
                <a:gd name="connsiteY8" fmla="*/ 24727 h 217382"/>
                <a:gd name="connsiteX9" fmla="*/ 73629 w 126494"/>
                <a:gd name="connsiteY9" fmla="*/ 0 h 2173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26494" h="217382">
                  <a:moveTo>
                    <a:pt x="101035" y="76632"/>
                  </a:moveTo>
                  <a:cubicBezTo>
                    <a:pt x="101035" y="76632"/>
                    <a:pt x="92472" y="76079"/>
                    <a:pt x="83261" y="92328"/>
                  </a:cubicBezTo>
                  <a:cubicBezTo>
                    <a:pt x="83261" y="92328"/>
                    <a:pt x="67252" y="119913"/>
                    <a:pt x="28822" y="116347"/>
                  </a:cubicBezTo>
                  <a:lnTo>
                    <a:pt x="0" y="164384"/>
                  </a:lnTo>
                  <a:cubicBezTo>
                    <a:pt x="0" y="164384"/>
                    <a:pt x="40423" y="217381"/>
                    <a:pt x="54438" y="217381"/>
                  </a:cubicBezTo>
                  <a:cubicBezTo>
                    <a:pt x="85242" y="217381"/>
                    <a:pt x="126495" y="218822"/>
                    <a:pt x="126495" y="109946"/>
                  </a:cubicBezTo>
                  <a:cubicBezTo>
                    <a:pt x="126495" y="109946"/>
                    <a:pt x="125894" y="104301"/>
                    <a:pt x="120946" y="98573"/>
                  </a:cubicBezTo>
                  <a:lnTo>
                    <a:pt x="91884" y="64358"/>
                  </a:lnTo>
                  <a:cubicBezTo>
                    <a:pt x="85879" y="54595"/>
                    <a:pt x="92856" y="42153"/>
                    <a:pt x="87044" y="24727"/>
                  </a:cubicBezTo>
                  <a:cubicBezTo>
                    <a:pt x="82841" y="12117"/>
                    <a:pt x="81640" y="8274"/>
                    <a:pt x="73629" y="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18" name="Forma livre: Forma 1217">
              <a:extLst>
                <a:ext uri="{FF2B5EF4-FFF2-40B4-BE49-F238E27FC236}">
                  <a16:creationId xmlns:a16="http://schemas.microsoft.com/office/drawing/2014/main" id="{3403FC5B-801C-CE69-CD3C-341794CD1BAF}"/>
                </a:ext>
              </a:extLst>
            </p:cNvPr>
            <p:cNvSpPr/>
            <p:nvPr/>
          </p:nvSpPr>
          <p:spPr>
            <a:xfrm>
              <a:off x="845053" y="3826127"/>
              <a:ext cx="32821" cy="22265"/>
            </a:xfrm>
            <a:custGeom>
              <a:avLst/>
              <a:gdLst>
                <a:gd name="connsiteX0" fmla="*/ 32822 w 32821"/>
                <a:gd name="connsiteY0" fmla="*/ 22265 h 22265"/>
                <a:gd name="connsiteX1" fmla="*/ 0 w 32821"/>
                <a:gd name="connsiteY1" fmla="*/ 0 h 222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2821" h="22265">
                  <a:moveTo>
                    <a:pt x="32822" y="22265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19" name="Forma livre: Forma 1218">
              <a:extLst>
                <a:ext uri="{FF2B5EF4-FFF2-40B4-BE49-F238E27FC236}">
                  <a16:creationId xmlns:a16="http://schemas.microsoft.com/office/drawing/2014/main" id="{6B4B95E6-56BA-A7E2-1A2B-B84642F65E71}"/>
                </a:ext>
              </a:extLst>
            </p:cNvPr>
            <p:cNvSpPr/>
            <p:nvPr/>
          </p:nvSpPr>
          <p:spPr>
            <a:xfrm>
              <a:off x="804149" y="3866178"/>
              <a:ext cx="44902" cy="30251"/>
            </a:xfrm>
            <a:custGeom>
              <a:avLst/>
              <a:gdLst>
                <a:gd name="connsiteX0" fmla="*/ 44903 w 44902"/>
                <a:gd name="connsiteY0" fmla="*/ 30252 h 30251"/>
                <a:gd name="connsiteX1" fmla="*/ 0 w 44902"/>
                <a:gd name="connsiteY1" fmla="*/ 0 h 302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4902" h="30251">
                  <a:moveTo>
                    <a:pt x="44903" y="30252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220" name="Gráfico 12">
            <a:extLst>
              <a:ext uri="{FF2B5EF4-FFF2-40B4-BE49-F238E27FC236}">
                <a16:creationId xmlns:a16="http://schemas.microsoft.com/office/drawing/2014/main" id="{98549376-3438-3C22-A28C-85D976558D15}"/>
              </a:ext>
            </a:extLst>
          </p:cNvPr>
          <p:cNvGrpSpPr/>
          <p:nvPr/>
        </p:nvGrpSpPr>
        <p:grpSpPr>
          <a:xfrm>
            <a:off x="670629" y="5816941"/>
            <a:ext cx="333860" cy="305685"/>
            <a:chOff x="670629" y="5816941"/>
            <a:chExt cx="333860" cy="305685"/>
          </a:xfrm>
        </p:grpSpPr>
        <p:grpSp>
          <p:nvGrpSpPr>
            <p:cNvPr id="1221" name="Gráfico 12">
              <a:extLst>
                <a:ext uri="{FF2B5EF4-FFF2-40B4-BE49-F238E27FC236}">
                  <a16:creationId xmlns:a16="http://schemas.microsoft.com/office/drawing/2014/main" id="{8B52C81C-B3A8-99FA-400A-14F70699DB62}"/>
                </a:ext>
              </a:extLst>
            </p:cNvPr>
            <p:cNvGrpSpPr/>
            <p:nvPr/>
          </p:nvGrpSpPr>
          <p:grpSpPr>
            <a:xfrm>
              <a:off x="858779" y="5976917"/>
              <a:ext cx="145709" cy="145709"/>
              <a:chOff x="858779" y="5976917"/>
              <a:chExt cx="145709" cy="145709"/>
            </a:xfrm>
          </p:grpSpPr>
          <p:grpSp>
            <p:nvGrpSpPr>
              <p:cNvPr id="1222" name="Gráfico 12">
                <a:extLst>
                  <a:ext uri="{FF2B5EF4-FFF2-40B4-BE49-F238E27FC236}">
                    <a16:creationId xmlns:a16="http://schemas.microsoft.com/office/drawing/2014/main" id="{F89098A7-F411-13B3-00F7-EB4611D4F8E3}"/>
                  </a:ext>
                </a:extLst>
              </p:cNvPr>
              <p:cNvGrpSpPr/>
              <p:nvPr/>
            </p:nvGrpSpPr>
            <p:grpSpPr>
              <a:xfrm>
                <a:off x="858779" y="5976917"/>
                <a:ext cx="145709" cy="145709"/>
                <a:chOff x="858779" y="5976917"/>
                <a:chExt cx="145709" cy="145709"/>
              </a:xfrm>
              <a:noFill/>
            </p:grpSpPr>
            <p:sp>
              <p:nvSpPr>
                <p:cNvPr id="1223" name="Forma livre: Forma 1222">
                  <a:extLst>
                    <a:ext uri="{FF2B5EF4-FFF2-40B4-BE49-F238E27FC236}">
                      <a16:creationId xmlns:a16="http://schemas.microsoft.com/office/drawing/2014/main" id="{57B18832-2442-B8C2-B1B3-2374CBD75202}"/>
                    </a:ext>
                  </a:extLst>
                </p:cNvPr>
                <p:cNvSpPr/>
                <p:nvPr/>
              </p:nvSpPr>
              <p:spPr>
                <a:xfrm>
                  <a:off x="879448" y="5997573"/>
                  <a:ext cx="104385" cy="104385"/>
                </a:xfrm>
                <a:custGeom>
                  <a:avLst/>
                  <a:gdLst>
                    <a:gd name="connsiteX0" fmla="*/ 104385 w 104385"/>
                    <a:gd name="connsiteY0" fmla="*/ 52193 h 104385"/>
                    <a:gd name="connsiteX1" fmla="*/ 52193 w 104385"/>
                    <a:gd name="connsiteY1" fmla="*/ 104385 h 104385"/>
                    <a:gd name="connsiteX2" fmla="*/ 0 w 104385"/>
                    <a:gd name="connsiteY2" fmla="*/ 52193 h 104385"/>
                    <a:gd name="connsiteX3" fmla="*/ 52193 w 104385"/>
                    <a:gd name="connsiteY3" fmla="*/ 0 h 104385"/>
                    <a:gd name="connsiteX4" fmla="*/ 104385 w 104385"/>
                    <a:gd name="connsiteY4" fmla="*/ 52193 h 10438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04385" h="104385">
                      <a:moveTo>
                        <a:pt x="104385" y="52193"/>
                      </a:moveTo>
                      <a:cubicBezTo>
                        <a:pt x="104385" y="81018"/>
                        <a:pt x="81018" y="104385"/>
                        <a:pt x="52193" y="104385"/>
                      </a:cubicBezTo>
                      <a:cubicBezTo>
                        <a:pt x="23367" y="104385"/>
                        <a:pt x="0" y="81018"/>
                        <a:pt x="0" y="52193"/>
                      </a:cubicBezTo>
                      <a:cubicBezTo>
                        <a:pt x="0" y="23367"/>
                        <a:pt x="23367" y="0"/>
                        <a:pt x="52193" y="0"/>
                      </a:cubicBezTo>
                      <a:cubicBezTo>
                        <a:pt x="81018" y="0"/>
                        <a:pt x="104385" y="23368"/>
                        <a:pt x="104385" y="52193"/>
                      </a:cubicBezTo>
                      <a:close/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grpSp>
              <p:nvGrpSpPr>
                <p:cNvPr id="1224" name="Gráfico 12">
                  <a:extLst>
                    <a:ext uri="{FF2B5EF4-FFF2-40B4-BE49-F238E27FC236}">
                      <a16:creationId xmlns:a16="http://schemas.microsoft.com/office/drawing/2014/main" id="{441BB815-FCC3-F960-A801-05532910305F}"/>
                    </a:ext>
                  </a:extLst>
                </p:cNvPr>
                <p:cNvGrpSpPr/>
                <p:nvPr/>
              </p:nvGrpSpPr>
              <p:grpSpPr>
                <a:xfrm>
                  <a:off x="931640" y="5976917"/>
                  <a:ext cx="1200" cy="145709"/>
                  <a:chOff x="931640" y="5976917"/>
                  <a:chExt cx="1200" cy="145709"/>
                </a:xfrm>
              </p:grpSpPr>
              <p:sp>
                <p:nvSpPr>
                  <p:cNvPr id="1225" name="Forma livre: Forma 1224">
                    <a:extLst>
                      <a:ext uri="{FF2B5EF4-FFF2-40B4-BE49-F238E27FC236}">
                        <a16:creationId xmlns:a16="http://schemas.microsoft.com/office/drawing/2014/main" id="{CB523C9D-D87F-268F-8FFD-56D250AEA065}"/>
                      </a:ext>
                    </a:extLst>
                  </p:cNvPr>
                  <p:cNvSpPr/>
                  <p:nvPr/>
                </p:nvSpPr>
                <p:spPr>
                  <a:xfrm>
                    <a:off x="931640" y="5976917"/>
                    <a:ext cx="1200" cy="19695"/>
                  </a:xfrm>
                  <a:custGeom>
                    <a:avLst/>
                    <a:gdLst>
                      <a:gd name="connsiteX0" fmla="*/ 0 w 1200"/>
                      <a:gd name="connsiteY0" fmla="*/ 19695 h 19695"/>
                      <a:gd name="connsiteX1" fmla="*/ 0 w 1200"/>
                      <a:gd name="connsiteY1" fmla="*/ 0 h 1969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200" h="19695">
                        <a:moveTo>
                          <a:pt x="0" y="19695"/>
                        </a:moveTo>
                        <a:lnTo>
                          <a:pt x="0" y="0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1226" name="Forma livre: Forma 1225">
                    <a:extLst>
                      <a:ext uri="{FF2B5EF4-FFF2-40B4-BE49-F238E27FC236}">
                        <a16:creationId xmlns:a16="http://schemas.microsoft.com/office/drawing/2014/main" id="{C6DC3606-BDF2-4D81-9D54-21D7A09E4E46}"/>
                      </a:ext>
                    </a:extLst>
                  </p:cNvPr>
                  <p:cNvSpPr/>
                  <p:nvPr/>
                </p:nvSpPr>
                <p:spPr>
                  <a:xfrm>
                    <a:off x="931640" y="6102931"/>
                    <a:ext cx="1200" cy="19695"/>
                  </a:xfrm>
                  <a:custGeom>
                    <a:avLst/>
                    <a:gdLst>
                      <a:gd name="connsiteX0" fmla="*/ 0 w 1200"/>
                      <a:gd name="connsiteY0" fmla="*/ 19695 h 19695"/>
                      <a:gd name="connsiteX1" fmla="*/ 0 w 1200"/>
                      <a:gd name="connsiteY1" fmla="*/ 0 h 1969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200" h="19695">
                        <a:moveTo>
                          <a:pt x="0" y="19695"/>
                        </a:moveTo>
                        <a:lnTo>
                          <a:pt x="0" y="0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  <p:grpSp>
              <p:nvGrpSpPr>
                <p:cNvPr id="1227" name="Gráfico 12">
                  <a:extLst>
                    <a:ext uri="{FF2B5EF4-FFF2-40B4-BE49-F238E27FC236}">
                      <a16:creationId xmlns:a16="http://schemas.microsoft.com/office/drawing/2014/main" id="{BB0EACB1-5497-3A23-9301-5AB0D8B4A83E}"/>
                    </a:ext>
                  </a:extLst>
                </p:cNvPr>
                <p:cNvGrpSpPr/>
                <p:nvPr/>
              </p:nvGrpSpPr>
              <p:grpSpPr>
                <a:xfrm>
                  <a:off x="858779" y="6049766"/>
                  <a:ext cx="145709" cy="1200"/>
                  <a:chOff x="858779" y="6049766"/>
                  <a:chExt cx="145709" cy="1200"/>
                </a:xfrm>
              </p:grpSpPr>
              <p:sp>
                <p:nvSpPr>
                  <p:cNvPr id="1228" name="Forma livre: Forma 1227">
                    <a:extLst>
                      <a:ext uri="{FF2B5EF4-FFF2-40B4-BE49-F238E27FC236}">
                        <a16:creationId xmlns:a16="http://schemas.microsoft.com/office/drawing/2014/main" id="{9B3A4100-B0E9-AB0E-2742-BD82ECE523C9}"/>
                      </a:ext>
                    </a:extLst>
                  </p:cNvPr>
                  <p:cNvSpPr/>
                  <p:nvPr/>
                </p:nvSpPr>
                <p:spPr>
                  <a:xfrm>
                    <a:off x="984794" y="6049766"/>
                    <a:ext cx="19695" cy="1200"/>
                  </a:xfrm>
                  <a:custGeom>
                    <a:avLst/>
                    <a:gdLst>
                      <a:gd name="connsiteX0" fmla="*/ 0 w 19695"/>
                      <a:gd name="connsiteY0" fmla="*/ 0 h 1200"/>
                      <a:gd name="connsiteX1" fmla="*/ 19695 w 19695"/>
                      <a:gd name="connsiteY1" fmla="*/ 0 h 120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9695" h="1200">
                        <a:moveTo>
                          <a:pt x="0" y="0"/>
                        </a:moveTo>
                        <a:lnTo>
                          <a:pt x="19695" y="0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1229" name="Forma livre: Forma 1228">
                    <a:extLst>
                      <a:ext uri="{FF2B5EF4-FFF2-40B4-BE49-F238E27FC236}">
                        <a16:creationId xmlns:a16="http://schemas.microsoft.com/office/drawing/2014/main" id="{FA9798ED-D688-47E2-8423-D74A1431FCD7}"/>
                      </a:ext>
                    </a:extLst>
                  </p:cNvPr>
                  <p:cNvSpPr/>
                  <p:nvPr/>
                </p:nvSpPr>
                <p:spPr>
                  <a:xfrm>
                    <a:off x="858779" y="6049766"/>
                    <a:ext cx="19695" cy="1200"/>
                  </a:xfrm>
                  <a:custGeom>
                    <a:avLst/>
                    <a:gdLst>
                      <a:gd name="connsiteX0" fmla="*/ 0 w 19695"/>
                      <a:gd name="connsiteY0" fmla="*/ 0 h 1200"/>
                      <a:gd name="connsiteX1" fmla="*/ 19695 w 19695"/>
                      <a:gd name="connsiteY1" fmla="*/ 0 h 120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9695" h="1200">
                        <a:moveTo>
                          <a:pt x="0" y="0"/>
                        </a:moveTo>
                        <a:lnTo>
                          <a:pt x="19695" y="0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  <p:grpSp>
              <p:nvGrpSpPr>
                <p:cNvPr id="1230" name="Gráfico 12">
                  <a:extLst>
                    <a:ext uri="{FF2B5EF4-FFF2-40B4-BE49-F238E27FC236}">
                      <a16:creationId xmlns:a16="http://schemas.microsoft.com/office/drawing/2014/main" id="{11BA9689-DA6F-0991-F1B3-77D3EE920A4B}"/>
                    </a:ext>
                  </a:extLst>
                </p:cNvPr>
                <p:cNvGrpSpPr/>
                <p:nvPr/>
              </p:nvGrpSpPr>
              <p:grpSpPr>
                <a:xfrm>
                  <a:off x="880120" y="5998258"/>
                  <a:ext cx="103040" cy="103028"/>
                  <a:chOff x="880120" y="5998258"/>
                  <a:chExt cx="103040" cy="103028"/>
                </a:xfrm>
              </p:grpSpPr>
              <p:sp>
                <p:nvSpPr>
                  <p:cNvPr id="1231" name="Forma livre: Forma 1230">
                    <a:extLst>
                      <a:ext uri="{FF2B5EF4-FFF2-40B4-BE49-F238E27FC236}">
                        <a16:creationId xmlns:a16="http://schemas.microsoft.com/office/drawing/2014/main" id="{6A625284-07FF-C23C-2E31-BDA2F096049D}"/>
                      </a:ext>
                    </a:extLst>
                  </p:cNvPr>
                  <p:cNvSpPr/>
                  <p:nvPr/>
                </p:nvSpPr>
                <p:spPr>
                  <a:xfrm>
                    <a:off x="880120" y="5998258"/>
                    <a:ext cx="13918" cy="13918"/>
                  </a:xfrm>
                  <a:custGeom>
                    <a:avLst/>
                    <a:gdLst>
                      <a:gd name="connsiteX0" fmla="*/ 13919 w 13918"/>
                      <a:gd name="connsiteY0" fmla="*/ 13919 h 13918"/>
                      <a:gd name="connsiteX1" fmla="*/ 0 w 13918"/>
                      <a:gd name="connsiteY1" fmla="*/ 0 h 1391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3918" h="13918">
                        <a:moveTo>
                          <a:pt x="13919" y="13919"/>
                        </a:moveTo>
                        <a:lnTo>
                          <a:pt x="0" y="0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1232" name="Forma livre: Forma 1231">
                    <a:extLst>
                      <a:ext uri="{FF2B5EF4-FFF2-40B4-BE49-F238E27FC236}">
                        <a16:creationId xmlns:a16="http://schemas.microsoft.com/office/drawing/2014/main" id="{BFA71CB8-F456-56A7-905E-1F3DED1B3064}"/>
                      </a:ext>
                    </a:extLst>
                  </p:cNvPr>
                  <p:cNvSpPr/>
                  <p:nvPr/>
                </p:nvSpPr>
                <p:spPr>
                  <a:xfrm>
                    <a:off x="969229" y="6087355"/>
                    <a:ext cx="13930" cy="13930"/>
                  </a:xfrm>
                  <a:custGeom>
                    <a:avLst/>
                    <a:gdLst>
                      <a:gd name="connsiteX0" fmla="*/ 13931 w 13930"/>
                      <a:gd name="connsiteY0" fmla="*/ 13931 h 13930"/>
                      <a:gd name="connsiteX1" fmla="*/ 0 w 13930"/>
                      <a:gd name="connsiteY1" fmla="*/ 0 h 1393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3930" h="13930">
                        <a:moveTo>
                          <a:pt x="13931" y="13931"/>
                        </a:moveTo>
                        <a:lnTo>
                          <a:pt x="0" y="0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  <p:grpSp>
              <p:nvGrpSpPr>
                <p:cNvPr id="1233" name="Gráfico 12">
                  <a:extLst>
                    <a:ext uri="{FF2B5EF4-FFF2-40B4-BE49-F238E27FC236}">
                      <a16:creationId xmlns:a16="http://schemas.microsoft.com/office/drawing/2014/main" id="{4EDFFDDD-C468-A87E-0959-9868A49454F4}"/>
                    </a:ext>
                  </a:extLst>
                </p:cNvPr>
                <p:cNvGrpSpPr/>
                <p:nvPr/>
              </p:nvGrpSpPr>
              <p:grpSpPr>
                <a:xfrm>
                  <a:off x="880120" y="5998258"/>
                  <a:ext cx="103028" cy="103028"/>
                  <a:chOff x="880120" y="5998258"/>
                  <a:chExt cx="103028" cy="103028"/>
                </a:xfrm>
              </p:grpSpPr>
              <p:sp>
                <p:nvSpPr>
                  <p:cNvPr id="1234" name="Forma livre: Forma 1233">
                    <a:extLst>
                      <a:ext uri="{FF2B5EF4-FFF2-40B4-BE49-F238E27FC236}">
                        <a16:creationId xmlns:a16="http://schemas.microsoft.com/office/drawing/2014/main" id="{C8B03CD8-7EA4-4EB0-4C8D-4B94C1E4C6C2}"/>
                      </a:ext>
                    </a:extLst>
                  </p:cNvPr>
                  <p:cNvSpPr/>
                  <p:nvPr/>
                </p:nvSpPr>
                <p:spPr>
                  <a:xfrm>
                    <a:off x="969229" y="5998258"/>
                    <a:ext cx="13918" cy="13918"/>
                  </a:xfrm>
                  <a:custGeom>
                    <a:avLst/>
                    <a:gdLst>
                      <a:gd name="connsiteX0" fmla="*/ 0 w 13918"/>
                      <a:gd name="connsiteY0" fmla="*/ 13919 h 13918"/>
                      <a:gd name="connsiteX1" fmla="*/ 13919 w 13918"/>
                      <a:gd name="connsiteY1" fmla="*/ 0 h 1391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3918" h="13918">
                        <a:moveTo>
                          <a:pt x="0" y="13919"/>
                        </a:moveTo>
                        <a:lnTo>
                          <a:pt x="13919" y="0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1235" name="Forma livre: Forma 1234">
                    <a:extLst>
                      <a:ext uri="{FF2B5EF4-FFF2-40B4-BE49-F238E27FC236}">
                        <a16:creationId xmlns:a16="http://schemas.microsoft.com/office/drawing/2014/main" id="{774ADF2F-9906-8289-2191-87A5D939FC1C}"/>
                      </a:ext>
                    </a:extLst>
                  </p:cNvPr>
                  <p:cNvSpPr/>
                  <p:nvPr/>
                </p:nvSpPr>
                <p:spPr>
                  <a:xfrm>
                    <a:off x="880120" y="6087355"/>
                    <a:ext cx="13918" cy="13930"/>
                  </a:xfrm>
                  <a:custGeom>
                    <a:avLst/>
                    <a:gdLst>
                      <a:gd name="connsiteX0" fmla="*/ 0 w 13918"/>
                      <a:gd name="connsiteY0" fmla="*/ 13931 h 13930"/>
                      <a:gd name="connsiteX1" fmla="*/ 13919 w 13918"/>
                      <a:gd name="connsiteY1" fmla="*/ 0 h 1393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3918" h="13930">
                        <a:moveTo>
                          <a:pt x="0" y="13931"/>
                        </a:moveTo>
                        <a:lnTo>
                          <a:pt x="13919" y="0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</p:grpSp>
          <p:grpSp>
            <p:nvGrpSpPr>
              <p:cNvPr id="1236" name="Gráfico 12">
                <a:extLst>
                  <a:ext uri="{FF2B5EF4-FFF2-40B4-BE49-F238E27FC236}">
                    <a16:creationId xmlns:a16="http://schemas.microsoft.com/office/drawing/2014/main" id="{A7993DDD-DDF5-3BB2-7265-37F180EBF8E2}"/>
                  </a:ext>
                </a:extLst>
              </p:cNvPr>
              <p:cNvGrpSpPr/>
              <p:nvPr/>
            </p:nvGrpSpPr>
            <p:grpSpPr>
              <a:xfrm>
                <a:off x="906167" y="6029949"/>
                <a:ext cx="44256" cy="41086"/>
                <a:chOff x="906167" y="6029949"/>
                <a:chExt cx="44256" cy="41086"/>
              </a:xfrm>
              <a:solidFill>
                <a:srgbClr val="394553"/>
              </a:solidFill>
            </p:grpSpPr>
            <p:grpSp>
              <p:nvGrpSpPr>
                <p:cNvPr id="1237" name="Gráfico 12">
                  <a:extLst>
                    <a:ext uri="{FF2B5EF4-FFF2-40B4-BE49-F238E27FC236}">
                      <a16:creationId xmlns:a16="http://schemas.microsoft.com/office/drawing/2014/main" id="{F9B2FFD3-9337-A4C6-992E-AF554F81FAAD}"/>
                    </a:ext>
                  </a:extLst>
                </p:cNvPr>
                <p:cNvGrpSpPr/>
                <p:nvPr/>
              </p:nvGrpSpPr>
              <p:grpSpPr>
                <a:xfrm>
                  <a:off x="906167" y="6029949"/>
                  <a:ext cx="44256" cy="16036"/>
                  <a:chOff x="906167" y="6029949"/>
                  <a:chExt cx="44256" cy="16036"/>
                </a:xfrm>
                <a:solidFill>
                  <a:srgbClr val="394553"/>
                </a:solidFill>
              </p:grpSpPr>
              <p:sp>
                <p:nvSpPr>
                  <p:cNvPr id="1238" name="Forma livre: Forma 1237">
                    <a:extLst>
                      <a:ext uri="{FF2B5EF4-FFF2-40B4-BE49-F238E27FC236}">
                        <a16:creationId xmlns:a16="http://schemas.microsoft.com/office/drawing/2014/main" id="{F7280000-82B5-28AD-C69D-7AA058E3EB72}"/>
                      </a:ext>
                    </a:extLst>
                  </p:cNvPr>
                  <p:cNvSpPr/>
                  <p:nvPr/>
                </p:nvSpPr>
                <p:spPr>
                  <a:xfrm>
                    <a:off x="906167" y="6038774"/>
                    <a:ext cx="7208" cy="7211"/>
                  </a:xfrm>
                  <a:custGeom>
                    <a:avLst/>
                    <a:gdLst>
                      <a:gd name="connsiteX0" fmla="*/ 13 w 7208"/>
                      <a:gd name="connsiteY0" fmla="*/ 3270 h 7211"/>
                      <a:gd name="connsiteX1" fmla="*/ 3916 w 7208"/>
                      <a:gd name="connsiteY1" fmla="*/ 15 h 7211"/>
                      <a:gd name="connsiteX2" fmla="*/ 7195 w 7208"/>
                      <a:gd name="connsiteY2" fmla="*/ 3918 h 7211"/>
                      <a:gd name="connsiteX3" fmla="*/ 3268 w 7208"/>
                      <a:gd name="connsiteY3" fmla="*/ 7197 h 7211"/>
                      <a:gd name="connsiteX4" fmla="*/ 13 w 7208"/>
                      <a:gd name="connsiteY4" fmla="*/ 3270 h 721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7208" h="7211">
                        <a:moveTo>
                          <a:pt x="13" y="3270"/>
                        </a:moveTo>
                        <a:cubicBezTo>
                          <a:pt x="182" y="1288"/>
                          <a:pt x="1923" y="-165"/>
                          <a:pt x="3916" y="15"/>
                        </a:cubicBezTo>
                        <a:cubicBezTo>
                          <a:pt x="5886" y="183"/>
                          <a:pt x="7363" y="1949"/>
                          <a:pt x="7195" y="3918"/>
                        </a:cubicBezTo>
                        <a:cubicBezTo>
                          <a:pt x="7003" y="5912"/>
                          <a:pt x="5250" y="7377"/>
                          <a:pt x="3268" y="7197"/>
                        </a:cubicBezTo>
                        <a:cubicBezTo>
                          <a:pt x="1274" y="7017"/>
                          <a:pt x="-155" y="5275"/>
                          <a:pt x="13" y="3270"/>
                        </a:cubicBezTo>
                        <a:close/>
                      </a:path>
                    </a:pathLst>
                  </a:custGeom>
                  <a:solidFill>
                    <a:srgbClr val="394553"/>
                  </a:solidFill>
                  <a:ln w="6350" cap="flat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1239" name="Forma livre: Forma 1238">
                    <a:extLst>
                      <a:ext uri="{FF2B5EF4-FFF2-40B4-BE49-F238E27FC236}">
                        <a16:creationId xmlns:a16="http://schemas.microsoft.com/office/drawing/2014/main" id="{C2AD9F28-330E-B261-61FD-A5384C084B18}"/>
                      </a:ext>
                    </a:extLst>
                  </p:cNvPr>
                  <p:cNvSpPr/>
                  <p:nvPr/>
                </p:nvSpPr>
                <p:spPr>
                  <a:xfrm>
                    <a:off x="943204" y="6029949"/>
                    <a:ext cx="7219" cy="7221"/>
                  </a:xfrm>
                  <a:custGeom>
                    <a:avLst/>
                    <a:gdLst>
                      <a:gd name="connsiteX0" fmla="*/ 13 w 7219"/>
                      <a:gd name="connsiteY0" fmla="*/ 3280 h 7221"/>
                      <a:gd name="connsiteX1" fmla="*/ 3928 w 7219"/>
                      <a:gd name="connsiteY1" fmla="*/ 13 h 7221"/>
                      <a:gd name="connsiteX2" fmla="*/ 7207 w 7219"/>
                      <a:gd name="connsiteY2" fmla="*/ 3928 h 7221"/>
                      <a:gd name="connsiteX3" fmla="*/ 3280 w 7219"/>
                      <a:gd name="connsiteY3" fmla="*/ 7207 h 7221"/>
                      <a:gd name="connsiteX4" fmla="*/ 13 w 7219"/>
                      <a:gd name="connsiteY4" fmla="*/ 3280 h 722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7219" h="7221">
                        <a:moveTo>
                          <a:pt x="13" y="3280"/>
                        </a:moveTo>
                        <a:cubicBezTo>
                          <a:pt x="205" y="1298"/>
                          <a:pt x="1923" y="-155"/>
                          <a:pt x="3928" y="13"/>
                        </a:cubicBezTo>
                        <a:cubicBezTo>
                          <a:pt x="5898" y="193"/>
                          <a:pt x="7375" y="1959"/>
                          <a:pt x="7207" y="3928"/>
                        </a:cubicBezTo>
                        <a:cubicBezTo>
                          <a:pt x="7015" y="5922"/>
                          <a:pt x="5261" y="7387"/>
                          <a:pt x="3280" y="7207"/>
                        </a:cubicBezTo>
                        <a:cubicBezTo>
                          <a:pt x="1298" y="7027"/>
                          <a:pt x="-155" y="5285"/>
                          <a:pt x="13" y="3280"/>
                        </a:cubicBezTo>
                        <a:close/>
                      </a:path>
                    </a:pathLst>
                  </a:custGeom>
                  <a:solidFill>
                    <a:srgbClr val="394553"/>
                  </a:solidFill>
                  <a:ln w="6350" cap="flat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  <p:sp>
              <p:nvSpPr>
                <p:cNvPr id="1240" name="Forma livre: Forma 1239">
                  <a:extLst>
                    <a:ext uri="{FF2B5EF4-FFF2-40B4-BE49-F238E27FC236}">
                      <a16:creationId xmlns:a16="http://schemas.microsoft.com/office/drawing/2014/main" id="{66AEF2B3-F984-CC88-1647-3ED6997B6D3E}"/>
                    </a:ext>
                  </a:extLst>
                </p:cNvPr>
                <p:cNvSpPr/>
                <p:nvPr/>
              </p:nvSpPr>
              <p:spPr>
                <a:xfrm>
                  <a:off x="931687" y="6063815"/>
                  <a:ext cx="7219" cy="7220"/>
                </a:xfrm>
                <a:custGeom>
                  <a:avLst/>
                  <a:gdLst>
                    <a:gd name="connsiteX0" fmla="*/ 13 w 7219"/>
                    <a:gd name="connsiteY0" fmla="*/ 3280 h 7220"/>
                    <a:gd name="connsiteX1" fmla="*/ 3928 w 7219"/>
                    <a:gd name="connsiteY1" fmla="*/ 13 h 7220"/>
                    <a:gd name="connsiteX2" fmla="*/ 7207 w 7219"/>
                    <a:gd name="connsiteY2" fmla="*/ 3928 h 7220"/>
                    <a:gd name="connsiteX3" fmla="*/ 3280 w 7219"/>
                    <a:gd name="connsiteY3" fmla="*/ 7207 h 7220"/>
                    <a:gd name="connsiteX4" fmla="*/ 13 w 7219"/>
                    <a:gd name="connsiteY4" fmla="*/ 3280 h 722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7219" h="7220">
                      <a:moveTo>
                        <a:pt x="13" y="3280"/>
                      </a:moveTo>
                      <a:cubicBezTo>
                        <a:pt x="193" y="1298"/>
                        <a:pt x="1923" y="-155"/>
                        <a:pt x="3928" y="13"/>
                      </a:cubicBezTo>
                      <a:cubicBezTo>
                        <a:pt x="5898" y="193"/>
                        <a:pt x="7375" y="1947"/>
                        <a:pt x="7207" y="3928"/>
                      </a:cubicBezTo>
                      <a:cubicBezTo>
                        <a:pt x="7015" y="5922"/>
                        <a:pt x="5261" y="7375"/>
                        <a:pt x="3280" y="7207"/>
                      </a:cubicBezTo>
                      <a:cubicBezTo>
                        <a:pt x="1286" y="7027"/>
                        <a:pt x="-155" y="5273"/>
                        <a:pt x="13" y="3280"/>
                      </a:cubicBezTo>
                      <a:close/>
                    </a:path>
                  </a:pathLst>
                </a:custGeom>
                <a:solidFill>
                  <a:srgbClr val="394553"/>
                </a:solidFill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grpSp>
          <p:nvGrpSpPr>
            <p:cNvPr id="1241" name="Gráfico 12">
              <a:extLst>
                <a:ext uri="{FF2B5EF4-FFF2-40B4-BE49-F238E27FC236}">
                  <a16:creationId xmlns:a16="http://schemas.microsoft.com/office/drawing/2014/main" id="{78FBC7B3-D710-8ADA-E8D5-1694375D5EF1}"/>
                </a:ext>
              </a:extLst>
            </p:cNvPr>
            <p:cNvGrpSpPr/>
            <p:nvPr/>
          </p:nvGrpSpPr>
          <p:grpSpPr>
            <a:xfrm>
              <a:off x="670629" y="5816941"/>
              <a:ext cx="260422" cy="260326"/>
              <a:chOff x="670629" y="5816941"/>
              <a:chExt cx="260422" cy="260326"/>
            </a:xfrm>
            <a:noFill/>
          </p:grpSpPr>
          <p:sp>
            <p:nvSpPr>
              <p:cNvPr id="1242" name="Forma livre: Forma 1241">
                <a:extLst>
                  <a:ext uri="{FF2B5EF4-FFF2-40B4-BE49-F238E27FC236}">
                    <a16:creationId xmlns:a16="http://schemas.microsoft.com/office/drawing/2014/main" id="{23903528-AEAD-D0FD-FB36-0172BBB1ACD1}"/>
                  </a:ext>
                </a:extLst>
              </p:cNvPr>
              <p:cNvSpPr/>
              <p:nvPr/>
            </p:nvSpPr>
            <p:spPr>
              <a:xfrm>
                <a:off x="693339" y="5893608"/>
                <a:ext cx="214991" cy="1200"/>
              </a:xfrm>
              <a:custGeom>
                <a:avLst/>
                <a:gdLst>
                  <a:gd name="connsiteX0" fmla="*/ 0 w 214991"/>
                  <a:gd name="connsiteY0" fmla="*/ 0 h 1200"/>
                  <a:gd name="connsiteX1" fmla="*/ 214991 w 214991"/>
                  <a:gd name="connsiteY1" fmla="*/ 0 h 12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14991" h="1200">
                    <a:moveTo>
                      <a:pt x="0" y="0"/>
                    </a:moveTo>
                    <a:lnTo>
                      <a:pt x="214991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43" name="Forma livre: Forma 1242">
                <a:extLst>
                  <a:ext uri="{FF2B5EF4-FFF2-40B4-BE49-F238E27FC236}">
                    <a16:creationId xmlns:a16="http://schemas.microsoft.com/office/drawing/2014/main" id="{84301635-466B-4FBE-6129-D6A039B98593}"/>
                  </a:ext>
                </a:extLst>
              </p:cNvPr>
              <p:cNvSpPr/>
              <p:nvPr/>
            </p:nvSpPr>
            <p:spPr>
              <a:xfrm>
                <a:off x="670629" y="5840275"/>
                <a:ext cx="187514" cy="236992"/>
              </a:xfrm>
              <a:custGeom>
                <a:avLst/>
                <a:gdLst>
                  <a:gd name="connsiteX0" fmla="*/ 187514 w 187514"/>
                  <a:gd name="connsiteY0" fmla="*/ 236992 h 236992"/>
                  <a:gd name="connsiteX1" fmla="*/ 15036 w 187514"/>
                  <a:gd name="connsiteY1" fmla="*/ 236992 h 236992"/>
                  <a:gd name="connsiteX2" fmla="*/ 0 w 187514"/>
                  <a:gd name="connsiteY2" fmla="*/ 221885 h 236992"/>
                  <a:gd name="connsiteX3" fmla="*/ 0 w 187514"/>
                  <a:gd name="connsiteY3" fmla="*/ 15036 h 236992"/>
                  <a:gd name="connsiteX4" fmla="*/ 15036 w 187514"/>
                  <a:gd name="connsiteY4" fmla="*/ 0 h 236992"/>
                  <a:gd name="connsiteX5" fmla="*/ 56396 w 187514"/>
                  <a:gd name="connsiteY5" fmla="*/ 0 h 2369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87514" h="236992">
                    <a:moveTo>
                      <a:pt x="187514" y="236992"/>
                    </a:moveTo>
                    <a:lnTo>
                      <a:pt x="15036" y="236992"/>
                    </a:lnTo>
                    <a:cubicBezTo>
                      <a:pt x="6773" y="236992"/>
                      <a:pt x="0" y="230147"/>
                      <a:pt x="0" y="221885"/>
                    </a:cubicBezTo>
                    <a:lnTo>
                      <a:pt x="0" y="15036"/>
                    </a:lnTo>
                    <a:cubicBezTo>
                      <a:pt x="0" y="6773"/>
                      <a:pt x="6773" y="0"/>
                      <a:pt x="15036" y="0"/>
                    </a:cubicBezTo>
                    <a:lnTo>
                      <a:pt x="56396" y="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44" name="Forma livre: Forma 1243">
                <a:extLst>
                  <a:ext uri="{FF2B5EF4-FFF2-40B4-BE49-F238E27FC236}">
                    <a16:creationId xmlns:a16="http://schemas.microsoft.com/office/drawing/2014/main" id="{F52C216A-3693-A892-678D-F0759E8866C9}"/>
                  </a:ext>
                </a:extLst>
              </p:cNvPr>
              <p:cNvSpPr/>
              <p:nvPr/>
            </p:nvSpPr>
            <p:spPr>
              <a:xfrm>
                <a:off x="888322" y="5840287"/>
                <a:ext cx="42729" cy="113332"/>
              </a:xfrm>
              <a:custGeom>
                <a:avLst/>
                <a:gdLst>
                  <a:gd name="connsiteX0" fmla="*/ 0 w 42729"/>
                  <a:gd name="connsiteY0" fmla="*/ 0 h 113332"/>
                  <a:gd name="connsiteX1" fmla="*/ 27694 w 42729"/>
                  <a:gd name="connsiteY1" fmla="*/ 0 h 113332"/>
                  <a:gd name="connsiteX2" fmla="*/ 42729 w 42729"/>
                  <a:gd name="connsiteY2" fmla="*/ 15036 h 113332"/>
                  <a:gd name="connsiteX3" fmla="*/ 42729 w 42729"/>
                  <a:gd name="connsiteY3" fmla="*/ 113332 h 1133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2729" h="113332">
                    <a:moveTo>
                      <a:pt x="0" y="0"/>
                    </a:moveTo>
                    <a:lnTo>
                      <a:pt x="27694" y="0"/>
                    </a:lnTo>
                    <a:cubicBezTo>
                      <a:pt x="35956" y="0"/>
                      <a:pt x="42729" y="6761"/>
                      <a:pt x="42729" y="15036"/>
                    </a:cubicBezTo>
                    <a:lnTo>
                      <a:pt x="42729" y="113332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45" name="Forma livre: Forma 1244">
                <a:extLst>
                  <a:ext uri="{FF2B5EF4-FFF2-40B4-BE49-F238E27FC236}">
                    <a16:creationId xmlns:a16="http://schemas.microsoft.com/office/drawing/2014/main" id="{D39FDFB1-3E1F-2675-CFA9-D6BE06089A52}"/>
                  </a:ext>
                </a:extLst>
              </p:cNvPr>
              <p:cNvSpPr/>
              <p:nvPr/>
            </p:nvSpPr>
            <p:spPr>
              <a:xfrm>
                <a:off x="822535" y="5840287"/>
                <a:ext cx="36028" cy="1200"/>
              </a:xfrm>
              <a:custGeom>
                <a:avLst/>
                <a:gdLst>
                  <a:gd name="connsiteX0" fmla="*/ 0 w 36028"/>
                  <a:gd name="connsiteY0" fmla="*/ 0 h 1200"/>
                  <a:gd name="connsiteX1" fmla="*/ 36028 w 36028"/>
                  <a:gd name="connsiteY1" fmla="*/ 0 h 12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6028" h="1200">
                    <a:moveTo>
                      <a:pt x="0" y="0"/>
                    </a:moveTo>
                    <a:lnTo>
                      <a:pt x="36028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46" name="Forma livre: Forma 1245">
                <a:extLst>
                  <a:ext uri="{FF2B5EF4-FFF2-40B4-BE49-F238E27FC236}">
                    <a16:creationId xmlns:a16="http://schemas.microsoft.com/office/drawing/2014/main" id="{B52F4D47-566E-0558-8208-D6E54C1357C5}"/>
                  </a:ext>
                </a:extLst>
              </p:cNvPr>
              <p:cNvSpPr/>
              <p:nvPr/>
            </p:nvSpPr>
            <p:spPr>
              <a:xfrm>
                <a:off x="756760" y="5840287"/>
                <a:ext cx="36016" cy="1200"/>
              </a:xfrm>
              <a:custGeom>
                <a:avLst/>
                <a:gdLst>
                  <a:gd name="connsiteX0" fmla="*/ 0 w 36016"/>
                  <a:gd name="connsiteY0" fmla="*/ 0 h 1200"/>
                  <a:gd name="connsiteX1" fmla="*/ 36016 w 36016"/>
                  <a:gd name="connsiteY1" fmla="*/ 0 h 12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6016" h="1200">
                    <a:moveTo>
                      <a:pt x="0" y="0"/>
                    </a:moveTo>
                    <a:lnTo>
                      <a:pt x="36016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47" name="Forma livre: Forma 1246">
                <a:extLst>
                  <a:ext uri="{FF2B5EF4-FFF2-40B4-BE49-F238E27FC236}">
                    <a16:creationId xmlns:a16="http://schemas.microsoft.com/office/drawing/2014/main" id="{72ECFDB6-6F1D-44AF-6C72-A175E44D7E90}"/>
                  </a:ext>
                </a:extLst>
              </p:cNvPr>
              <p:cNvSpPr/>
              <p:nvPr/>
            </p:nvSpPr>
            <p:spPr>
              <a:xfrm>
                <a:off x="728058" y="5816941"/>
                <a:ext cx="1200" cy="51135"/>
              </a:xfrm>
              <a:custGeom>
                <a:avLst/>
                <a:gdLst>
                  <a:gd name="connsiteX0" fmla="*/ 0 w 1200"/>
                  <a:gd name="connsiteY0" fmla="*/ 0 h 51135"/>
                  <a:gd name="connsiteX1" fmla="*/ 0 w 1200"/>
                  <a:gd name="connsiteY1" fmla="*/ 51136 h 511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00" h="51135">
                    <a:moveTo>
                      <a:pt x="0" y="0"/>
                    </a:moveTo>
                    <a:lnTo>
                      <a:pt x="0" y="51136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48" name="Forma livre: Forma 1247">
                <a:extLst>
                  <a:ext uri="{FF2B5EF4-FFF2-40B4-BE49-F238E27FC236}">
                    <a16:creationId xmlns:a16="http://schemas.microsoft.com/office/drawing/2014/main" id="{1804D790-0DF9-5E9F-93D0-3D96C074C657}"/>
                  </a:ext>
                </a:extLst>
              </p:cNvPr>
              <p:cNvSpPr/>
              <p:nvPr/>
            </p:nvSpPr>
            <p:spPr>
              <a:xfrm>
                <a:off x="859596" y="5816941"/>
                <a:ext cx="1200" cy="51135"/>
              </a:xfrm>
              <a:custGeom>
                <a:avLst/>
                <a:gdLst>
                  <a:gd name="connsiteX0" fmla="*/ 0 w 1200"/>
                  <a:gd name="connsiteY0" fmla="*/ 0 h 51135"/>
                  <a:gd name="connsiteX1" fmla="*/ 0 w 1200"/>
                  <a:gd name="connsiteY1" fmla="*/ 51136 h 511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00" h="51135">
                    <a:moveTo>
                      <a:pt x="0" y="0"/>
                    </a:moveTo>
                    <a:lnTo>
                      <a:pt x="0" y="51136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49" name="Forma livre: Forma 1248">
                <a:extLst>
                  <a:ext uri="{FF2B5EF4-FFF2-40B4-BE49-F238E27FC236}">
                    <a16:creationId xmlns:a16="http://schemas.microsoft.com/office/drawing/2014/main" id="{15B94998-1A9A-35DF-AF06-69F7F171F573}"/>
                  </a:ext>
                </a:extLst>
              </p:cNvPr>
              <p:cNvSpPr/>
              <p:nvPr/>
            </p:nvSpPr>
            <p:spPr>
              <a:xfrm>
                <a:off x="793821" y="5816941"/>
                <a:ext cx="1200" cy="51135"/>
              </a:xfrm>
              <a:custGeom>
                <a:avLst/>
                <a:gdLst>
                  <a:gd name="connsiteX0" fmla="*/ 0 w 1200"/>
                  <a:gd name="connsiteY0" fmla="*/ 0 h 51135"/>
                  <a:gd name="connsiteX1" fmla="*/ 0 w 1200"/>
                  <a:gd name="connsiteY1" fmla="*/ 51136 h 511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00" h="51135">
                    <a:moveTo>
                      <a:pt x="0" y="0"/>
                    </a:moveTo>
                    <a:lnTo>
                      <a:pt x="0" y="51136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50" name="Forma livre: Forma 1249">
                <a:extLst>
                  <a:ext uri="{FF2B5EF4-FFF2-40B4-BE49-F238E27FC236}">
                    <a16:creationId xmlns:a16="http://schemas.microsoft.com/office/drawing/2014/main" id="{EB2A66AC-FD02-3ECA-7AD6-44134C342C9C}"/>
                  </a:ext>
                </a:extLst>
              </p:cNvPr>
              <p:cNvSpPr/>
              <p:nvPr/>
            </p:nvSpPr>
            <p:spPr>
              <a:xfrm>
                <a:off x="712506" y="5961557"/>
                <a:ext cx="174688" cy="1200"/>
              </a:xfrm>
              <a:custGeom>
                <a:avLst/>
                <a:gdLst>
                  <a:gd name="connsiteX0" fmla="*/ 0 w 174688"/>
                  <a:gd name="connsiteY0" fmla="*/ 0 h 1200"/>
                  <a:gd name="connsiteX1" fmla="*/ 174688 w 174688"/>
                  <a:gd name="connsiteY1" fmla="*/ 0 h 12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74688" h="1200">
                    <a:moveTo>
                      <a:pt x="0" y="0"/>
                    </a:moveTo>
                    <a:lnTo>
                      <a:pt x="174688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51" name="Forma livre: Forma 1250">
                <a:extLst>
                  <a:ext uri="{FF2B5EF4-FFF2-40B4-BE49-F238E27FC236}">
                    <a16:creationId xmlns:a16="http://schemas.microsoft.com/office/drawing/2014/main" id="{7BD7BD23-CCB1-A328-B42C-58138C828568}"/>
                  </a:ext>
                </a:extLst>
              </p:cNvPr>
              <p:cNvSpPr/>
              <p:nvPr/>
            </p:nvSpPr>
            <p:spPr>
              <a:xfrm>
                <a:off x="712506" y="6010783"/>
                <a:ext cx="137038" cy="1200"/>
              </a:xfrm>
              <a:custGeom>
                <a:avLst/>
                <a:gdLst>
                  <a:gd name="connsiteX0" fmla="*/ 0 w 137038"/>
                  <a:gd name="connsiteY0" fmla="*/ 0 h 1200"/>
                  <a:gd name="connsiteX1" fmla="*/ 137039 w 137038"/>
                  <a:gd name="connsiteY1" fmla="*/ 0 h 12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37038" h="1200">
                    <a:moveTo>
                      <a:pt x="0" y="0"/>
                    </a:moveTo>
                    <a:lnTo>
                      <a:pt x="137039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52" name="Forma livre: Forma 1251">
                <a:extLst>
                  <a:ext uri="{FF2B5EF4-FFF2-40B4-BE49-F238E27FC236}">
                    <a16:creationId xmlns:a16="http://schemas.microsoft.com/office/drawing/2014/main" id="{82EBBDA7-945E-A8AD-FA4F-54D2EEBD7F72}"/>
                  </a:ext>
                </a:extLst>
              </p:cNvPr>
              <p:cNvSpPr/>
              <p:nvPr/>
            </p:nvSpPr>
            <p:spPr>
              <a:xfrm>
                <a:off x="800834" y="5922671"/>
                <a:ext cx="1200" cy="126998"/>
              </a:xfrm>
              <a:custGeom>
                <a:avLst/>
                <a:gdLst>
                  <a:gd name="connsiteX0" fmla="*/ 0 w 1200"/>
                  <a:gd name="connsiteY0" fmla="*/ 126999 h 126998"/>
                  <a:gd name="connsiteX1" fmla="*/ 0 w 1200"/>
                  <a:gd name="connsiteY1" fmla="*/ 0 h 1269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00" h="126998">
                    <a:moveTo>
                      <a:pt x="0" y="126999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53" name="Forma livre: Forma 1252">
                <a:extLst>
                  <a:ext uri="{FF2B5EF4-FFF2-40B4-BE49-F238E27FC236}">
                    <a16:creationId xmlns:a16="http://schemas.microsoft.com/office/drawing/2014/main" id="{967E54ED-9D5F-B7D9-EC8A-BF50D8376E3E}"/>
                  </a:ext>
                </a:extLst>
              </p:cNvPr>
              <p:cNvSpPr/>
              <p:nvPr/>
            </p:nvSpPr>
            <p:spPr>
              <a:xfrm>
                <a:off x="751608" y="5922671"/>
                <a:ext cx="1200" cy="126998"/>
              </a:xfrm>
              <a:custGeom>
                <a:avLst/>
                <a:gdLst>
                  <a:gd name="connsiteX0" fmla="*/ 0 w 1200"/>
                  <a:gd name="connsiteY0" fmla="*/ 126999 h 126998"/>
                  <a:gd name="connsiteX1" fmla="*/ 0 w 1200"/>
                  <a:gd name="connsiteY1" fmla="*/ 0 h 1269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00" h="126998">
                    <a:moveTo>
                      <a:pt x="0" y="126999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54" name="Forma livre: Forma 1253">
                <a:extLst>
                  <a:ext uri="{FF2B5EF4-FFF2-40B4-BE49-F238E27FC236}">
                    <a16:creationId xmlns:a16="http://schemas.microsoft.com/office/drawing/2014/main" id="{C48DC6BE-AAEA-00DB-9071-58F2FE87B7EA}"/>
                  </a:ext>
                </a:extLst>
              </p:cNvPr>
              <p:cNvSpPr/>
              <p:nvPr/>
            </p:nvSpPr>
            <p:spPr>
              <a:xfrm>
                <a:off x="850061" y="5922671"/>
                <a:ext cx="1200" cy="107519"/>
              </a:xfrm>
              <a:custGeom>
                <a:avLst/>
                <a:gdLst>
                  <a:gd name="connsiteX0" fmla="*/ 0 w 1200"/>
                  <a:gd name="connsiteY0" fmla="*/ 107520 h 107519"/>
                  <a:gd name="connsiteX1" fmla="*/ 0 w 1200"/>
                  <a:gd name="connsiteY1" fmla="*/ 0 h 1075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00" h="107519">
                    <a:moveTo>
                      <a:pt x="0" y="107520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255" name="Gráfico 12">
            <a:extLst>
              <a:ext uri="{FF2B5EF4-FFF2-40B4-BE49-F238E27FC236}">
                <a16:creationId xmlns:a16="http://schemas.microsoft.com/office/drawing/2014/main" id="{AC81EB90-A2B7-8074-0EF9-A0F9A82C8737}"/>
              </a:ext>
            </a:extLst>
          </p:cNvPr>
          <p:cNvGrpSpPr/>
          <p:nvPr/>
        </p:nvGrpSpPr>
        <p:grpSpPr>
          <a:xfrm>
            <a:off x="1895175" y="4242094"/>
            <a:ext cx="388886" cy="249254"/>
            <a:chOff x="1895175" y="4242094"/>
            <a:chExt cx="388886" cy="249254"/>
          </a:xfrm>
        </p:grpSpPr>
        <p:grpSp>
          <p:nvGrpSpPr>
            <p:cNvPr id="1256" name="Gráfico 12">
              <a:extLst>
                <a:ext uri="{FF2B5EF4-FFF2-40B4-BE49-F238E27FC236}">
                  <a16:creationId xmlns:a16="http://schemas.microsoft.com/office/drawing/2014/main" id="{E8DA0489-4CC5-1307-E470-5ED3B0AD0B8C}"/>
                </a:ext>
              </a:extLst>
            </p:cNvPr>
            <p:cNvGrpSpPr/>
            <p:nvPr/>
          </p:nvGrpSpPr>
          <p:grpSpPr>
            <a:xfrm>
              <a:off x="1966474" y="4265092"/>
              <a:ext cx="145709" cy="145721"/>
              <a:chOff x="1966474" y="4265092"/>
              <a:chExt cx="145709" cy="145721"/>
            </a:xfrm>
          </p:grpSpPr>
          <p:grpSp>
            <p:nvGrpSpPr>
              <p:cNvPr id="1257" name="Gráfico 12">
                <a:extLst>
                  <a:ext uri="{FF2B5EF4-FFF2-40B4-BE49-F238E27FC236}">
                    <a16:creationId xmlns:a16="http://schemas.microsoft.com/office/drawing/2014/main" id="{D743F33F-0C38-3698-1124-C28820ECCA91}"/>
                  </a:ext>
                </a:extLst>
              </p:cNvPr>
              <p:cNvGrpSpPr/>
              <p:nvPr/>
            </p:nvGrpSpPr>
            <p:grpSpPr>
              <a:xfrm>
                <a:off x="1966474" y="4265092"/>
                <a:ext cx="145709" cy="145721"/>
                <a:chOff x="1966474" y="4265092"/>
                <a:chExt cx="145709" cy="145721"/>
              </a:xfrm>
              <a:noFill/>
            </p:grpSpPr>
            <p:sp>
              <p:nvSpPr>
                <p:cNvPr id="1258" name="Forma livre: Forma 1257">
                  <a:extLst>
                    <a:ext uri="{FF2B5EF4-FFF2-40B4-BE49-F238E27FC236}">
                      <a16:creationId xmlns:a16="http://schemas.microsoft.com/office/drawing/2014/main" id="{94810629-B147-FE43-3A2A-2EDDA96F8DFA}"/>
                    </a:ext>
                  </a:extLst>
                </p:cNvPr>
                <p:cNvSpPr/>
                <p:nvPr/>
              </p:nvSpPr>
              <p:spPr>
                <a:xfrm>
                  <a:off x="1987142" y="4285772"/>
                  <a:ext cx="104385" cy="104373"/>
                </a:xfrm>
                <a:custGeom>
                  <a:avLst/>
                  <a:gdLst>
                    <a:gd name="connsiteX0" fmla="*/ 104385 w 104385"/>
                    <a:gd name="connsiteY0" fmla="*/ 52181 h 104373"/>
                    <a:gd name="connsiteX1" fmla="*/ 52193 w 104385"/>
                    <a:gd name="connsiteY1" fmla="*/ 104373 h 104373"/>
                    <a:gd name="connsiteX2" fmla="*/ 0 w 104385"/>
                    <a:gd name="connsiteY2" fmla="*/ 52181 h 104373"/>
                    <a:gd name="connsiteX3" fmla="*/ 52193 w 104385"/>
                    <a:gd name="connsiteY3" fmla="*/ 0 h 104373"/>
                    <a:gd name="connsiteX4" fmla="*/ 104385 w 104385"/>
                    <a:gd name="connsiteY4" fmla="*/ 52181 h 10437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04385" h="104373">
                      <a:moveTo>
                        <a:pt x="104385" y="52181"/>
                      </a:moveTo>
                      <a:cubicBezTo>
                        <a:pt x="104385" y="81003"/>
                        <a:pt x="81015" y="104373"/>
                        <a:pt x="52193" y="104373"/>
                      </a:cubicBezTo>
                      <a:cubicBezTo>
                        <a:pt x="23370" y="104373"/>
                        <a:pt x="0" y="81003"/>
                        <a:pt x="0" y="52181"/>
                      </a:cubicBezTo>
                      <a:cubicBezTo>
                        <a:pt x="0" y="23358"/>
                        <a:pt x="23370" y="0"/>
                        <a:pt x="52193" y="0"/>
                      </a:cubicBezTo>
                      <a:cubicBezTo>
                        <a:pt x="81015" y="0"/>
                        <a:pt x="104385" y="23358"/>
                        <a:pt x="104385" y="52181"/>
                      </a:cubicBezTo>
                      <a:close/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grpSp>
              <p:nvGrpSpPr>
                <p:cNvPr id="1259" name="Gráfico 12">
                  <a:extLst>
                    <a:ext uri="{FF2B5EF4-FFF2-40B4-BE49-F238E27FC236}">
                      <a16:creationId xmlns:a16="http://schemas.microsoft.com/office/drawing/2014/main" id="{D6F4570D-0FC9-AD6A-E470-EF219696C7E9}"/>
                    </a:ext>
                  </a:extLst>
                </p:cNvPr>
                <p:cNvGrpSpPr/>
                <p:nvPr/>
              </p:nvGrpSpPr>
              <p:grpSpPr>
                <a:xfrm>
                  <a:off x="2039335" y="4265092"/>
                  <a:ext cx="1200" cy="145721"/>
                  <a:chOff x="2039335" y="4265092"/>
                  <a:chExt cx="1200" cy="145721"/>
                </a:xfrm>
              </p:grpSpPr>
              <p:sp>
                <p:nvSpPr>
                  <p:cNvPr id="1260" name="Forma livre: Forma 1259">
                    <a:extLst>
                      <a:ext uri="{FF2B5EF4-FFF2-40B4-BE49-F238E27FC236}">
                        <a16:creationId xmlns:a16="http://schemas.microsoft.com/office/drawing/2014/main" id="{2EBF672A-2234-EF33-CBB5-3AA4982452A1}"/>
                      </a:ext>
                    </a:extLst>
                  </p:cNvPr>
                  <p:cNvSpPr/>
                  <p:nvPr/>
                </p:nvSpPr>
                <p:spPr>
                  <a:xfrm>
                    <a:off x="2039335" y="4265092"/>
                    <a:ext cx="1200" cy="19695"/>
                  </a:xfrm>
                  <a:custGeom>
                    <a:avLst/>
                    <a:gdLst>
                      <a:gd name="connsiteX0" fmla="*/ 0 w 1200"/>
                      <a:gd name="connsiteY0" fmla="*/ 19695 h 19695"/>
                      <a:gd name="connsiteX1" fmla="*/ 0 w 1200"/>
                      <a:gd name="connsiteY1" fmla="*/ 0 h 1969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200" h="19695">
                        <a:moveTo>
                          <a:pt x="0" y="19695"/>
                        </a:moveTo>
                        <a:lnTo>
                          <a:pt x="0" y="0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1261" name="Forma livre: Forma 1260">
                    <a:extLst>
                      <a:ext uri="{FF2B5EF4-FFF2-40B4-BE49-F238E27FC236}">
                        <a16:creationId xmlns:a16="http://schemas.microsoft.com/office/drawing/2014/main" id="{4C32A7F7-82BB-BE23-DE6B-C262CCDA888C}"/>
                      </a:ext>
                    </a:extLst>
                  </p:cNvPr>
                  <p:cNvSpPr/>
                  <p:nvPr/>
                </p:nvSpPr>
                <p:spPr>
                  <a:xfrm>
                    <a:off x="2039335" y="4391106"/>
                    <a:ext cx="1200" cy="19707"/>
                  </a:xfrm>
                  <a:custGeom>
                    <a:avLst/>
                    <a:gdLst>
                      <a:gd name="connsiteX0" fmla="*/ 0 w 1200"/>
                      <a:gd name="connsiteY0" fmla="*/ 19707 h 19707"/>
                      <a:gd name="connsiteX1" fmla="*/ 0 w 1200"/>
                      <a:gd name="connsiteY1" fmla="*/ 0 h 1970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200" h="19707">
                        <a:moveTo>
                          <a:pt x="0" y="19707"/>
                        </a:moveTo>
                        <a:lnTo>
                          <a:pt x="0" y="0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  <p:grpSp>
              <p:nvGrpSpPr>
                <p:cNvPr id="1262" name="Gráfico 12">
                  <a:extLst>
                    <a:ext uri="{FF2B5EF4-FFF2-40B4-BE49-F238E27FC236}">
                      <a16:creationId xmlns:a16="http://schemas.microsoft.com/office/drawing/2014/main" id="{26F257BB-1D5E-6A33-8589-B515295CCF9D}"/>
                    </a:ext>
                  </a:extLst>
                </p:cNvPr>
                <p:cNvGrpSpPr/>
                <p:nvPr/>
              </p:nvGrpSpPr>
              <p:grpSpPr>
                <a:xfrm>
                  <a:off x="1966474" y="4337953"/>
                  <a:ext cx="145709" cy="1200"/>
                  <a:chOff x="1966474" y="4337953"/>
                  <a:chExt cx="145709" cy="1200"/>
                </a:xfrm>
              </p:grpSpPr>
              <p:sp>
                <p:nvSpPr>
                  <p:cNvPr id="1263" name="Forma livre: Forma 1262">
                    <a:extLst>
                      <a:ext uri="{FF2B5EF4-FFF2-40B4-BE49-F238E27FC236}">
                        <a16:creationId xmlns:a16="http://schemas.microsoft.com/office/drawing/2014/main" id="{833422A9-15E0-409C-7038-9B3C62EAE66D}"/>
                      </a:ext>
                    </a:extLst>
                  </p:cNvPr>
                  <p:cNvSpPr/>
                  <p:nvPr/>
                </p:nvSpPr>
                <p:spPr>
                  <a:xfrm>
                    <a:off x="2092500" y="4337953"/>
                    <a:ext cx="19683" cy="1200"/>
                  </a:xfrm>
                  <a:custGeom>
                    <a:avLst/>
                    <a:gdLst>
                      <a:gd name="connsiteX0" fmla="*/ 0 w 19683"/>
                      <a:gd name="connsiteY0" fmla="*/ 0 h 1200"/>
                      <a:gd name="connsiteX1" fmla="*/ 19683 w 19683"/>
                      <a:gd name="connsiteY1" fmla="*/ 0 h 120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9683" h="1200">
                        <a:moveTo>
                          <a:pt x="0" y="0"/>
                        </a:moveTo>
                        <a:lnTo>
                          <a:pt x="19683" y="0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1264" name="Forma livre: Forma 1263">
                    <a:extLst>
                      <a:ext uri="{FF2B5EF4-FFF2-40B4-BE49-F238E27FC236}">
                        <a16:creationId xmlns:a16="http://schemas.microsoft.com/office/drawing/2014/main" id="{C6F94F8D-9851-7C70-04D1-1590E4663E76}"/>
                      </a:ext>
                    </a:extLst>
                  </p:cNvPr>
                  <p:cNvSpPr/>
                  <p:nvPr/>
                </p:nvSpPr>
                <p:spPr>
                  <a:xfrm>
                    <a:off x="1966474" y="4337953"/>
                    <a:ext cx="19707" cy="1200"/>
                  </a:xfrm>
                  <a:custGeom>
                    <a:avLst/>
                    <a:gdLst>
                      <a:gd name="connsiteX0" fmla="*/ 0 w 19707"/>
                      <a:gd name="connsiteY0" fmla="*/ 0 h 1200"/>
                      <a:gd name="connsiteX1" fmla="*/ 19707 w 19707"/>
                      <a:gd name="connsiteY1" fmla="*/ 0 h 120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9707" h="1200">
                        <a:moveTo>
                          <a:pt x="0" y="0"/>
                        </a:moveTo>
                        <a:lnTo>
                          <a:pt x="19707" y="0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  <p:grpSp>
              <p:nvGrpSpPr>
                <p:cNvPr id="1265" name="Gráfico 12">
                  <a:extLst>
                    <a:ext uri="{FF2B5EF4-FFF2-40B4-BE49-F238E27FC236}">
                      <a16:creationId xmlns:a16="http://schemas.microsoft.com/office/drawing/2014/main" id="{F6B0F5B9-4FE1-A94A-8D97-EA04E2BFCC45}"/>
                    </a:ext>
                  </a:extLst>
                </p:cNvPr>
                <p:cNvGrpSpPr/>
                <p:nvPr/>
              </p:nvGrpSpPr>
              <p:grpSpPr>
                <a:xfrm>
                  <a:off x="1987815" y="4286433"/>
                  <a:ext cx="103040" cy="103040"/>
                  <a:chOff x="1987815" y="4286433"/>
                  <a:chExt cx="103040" cy="103040"/>
                </a:xfrm>
              </p:grpSpPr>
              <p:sp>
                <p:nvSpPr>
                  <p:cNvPr id="1266" name="Forma livre: Forma 1265">
                    <a:extLst>
                      <a:ext uri="{FF2B5EF4-FFF2-40B4-BE49-F238E27FC236}">
                        <a16:creationId xmlns:a16="http://schemas.microsoft.com/office/drawing/2014/main" id="{99DE3353-B0E6-A1BF-931B-C5CB9E521781}"/>
                      </a:ext>
                    </a:extLst>
                  </p:cNvPr>
                  <p:cNvSpPr/>
                  <p:nvPr/>
                </p:nvSpPr>
                <p:spPr>
                  <a:xfrm>
                    <a:off x="1987815" y="4286433"/>
                    <a:ext cx="13930" cy="13930"/>
                  </a:xfrm>
                  <a:custGeom>
                    <a:avLst/>
                    <a:gdLst>
                      <a:gd name="connsiteX0" fmla="*/ 13931 w 13930"/>
                      <a:gd name="connsiteY0" fmla="*/ 13931 h 13930"/>
                      <a:gd name="connsiteX1" fmla="*/ 0 w 13930"/>
                      <a:gd name="connsiteY1" fmla="*/ 0 h 1393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3930" h="13930">
                        <a:moveTo>
                          <a:pt x="13931" y="13931"/>
                        </a:moveTo>
                        <a:lnTo>
                          <a:pt x="0" y="0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1267" name="Forma livre: Forma 1266">
                    <a:extLst>
                      <a:ext uri="{FF2B5EF4-FFF2-40B4-BE49-F238E27FC236}">
                        <a16:creationId xmlns:a16="http://schemas.microsoft.com/office/drawing/2014/main" id="{448E2D96-A82B-12F3-F03A-C9D36C76C9B4}"/>
                      </a:ext>
                    </a:extLst>
                  </p:cNvPr>
                  <p:cNvSpPr/>
                  <p:nvPr/>
                </p:nvSpPr>
                <p:spPr>
                  <a:xfrm>
                    <a:off x="2076936" y="4375542"/>
                    <a:ext cx="13918" cy="13930"/>
                  </a:xfrm>
                  <a:custGeom>
                    <a:avLst/>
                    <a:gdLst>
                      <a:gd name="connsiteX0" fmla="*/ 13919 w 13918"/>
                      <a:gd name="connsiteY0" fmla="*/ 13931 h 13930"/>
                      <a:gd name="connsiteX1" fmla="*/ 0 w 13918"/>
                      <a:gd name="connsiteY1" fmla="*/ 0 h 1393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3918" h="13930">
                        <a:moveTo>
                          <a:pt x="13919" y="13931"/>
                        </a:moveTo>
                        <a:lnTo>
                          <a:pt x="0" y="0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  <p:grpSp>
              <p:nvGrpSpPr>
                <p:cNvPr id="1268" name="Gráfico 12">
                  <a:extLst>
                    <a:ext uri="{FF2B5EF4-FFF2-40B4-BE49-F238E27FC236}">
                      <a16:creationId xmlns:a16="http://schemas.microsoft.com/office/drawing/2014/main" id="{AA5DA59A-BC01-1218-AEC4-16BAC3122169}"/>
                    </a:ext>
                  </a:extLst>
                </p:cNvPr>
                <p:cNvGrpSpPr/>
                <p:nvPr/>
              </p:nvGrpSpPr>
              <p:grpSpPr>
                <a:xfrm>
                  <a:off x="1987815" y="4286433"/>
                  <a:ext cx="103028" cy="103040"/>
                  <a:chOff x="1987815" y="4286433"/>
                  <a:chExt cx="103028" cy="103040"/>
                </a:xfrm>
              </p:grpSpPr>
              <p:sp>
                <p:nvSpPr>
                  <p:cNvPr id="1269" name="Forma livre: Forma 1268">
                    <a:extLst>
                      <a:ext uri="{FF2B5EF4-FFF2-40B4-BE49-F238E27FC236}">
                        <a16:creationId xmlns:a16="http://schemas.microsoft.com/office/drawing/2014/main" id="{B8B0D8BD-9FA0-C2AF-E9C8-6F6D955BD56F}"/>
                      </a:ext>
                    </a:extLst>
                  </p:cNvPr>
                  <p:cNvSpPr/>
                  <p:nvPr/>
                </p:nvSpPr>
                <p:spPr>
                  <a:xfrm>
                    <a:off x="2076924" y="4286433"/>
                    <a:ext cx="13918" cy="13930"/>
                  </a:xfrm>
                  <a:custGeom>
                    <a:avLst/>
                    <a:gdLst>
                      <a:gd name="connsiteX0" fmla="*/ 0 w 13918"/>
                      <a:gd name="connsiteY0" fmla="*/ 13931 h 13930"/>
                      <a:gd name="connsiteX1" fmla="*/ 13919 w 13918"/>
                      <a:gd name="connsiteY1" fmla="*/ 0 h 1393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3918" h="13930">
                        <a:moveTo>
                          <a:pt x="0" y="13931"/>
                        </a:moveTo>
                        <a:lnTo>
                          <a:pt x="13919" y="0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1270" name="Forma livre: Forma 1269">
                    <a:extLst>
                      <a:ext uri="{FF2B5EF4-FFF2-40B4-BE49-F238E27FC236}">
                        <a16:creationId xmlns:a16="http://schemas.microsoft.com/office/drawing/2014/main" id="{9A2EC8CA-6965-290F-C8D9-D2271BA36294}"/>
                      </a:ext>
                    </a:extLst>
                  </p:cNvPr>
                  <p:cNvSpPr/>
                  <p:nvPr/>
                </p:nvSpPr>
                <p:spPr>
                  <a:xfrm>
                    <a:off x="1987815" y="4375542"/>
                    <a:ext cx="13930" cy="13930"/>
                  </a:xfrm>
                  <a:custGeom>
                    <a:avLst/>
                    <a:gdLst>
                      <a:gd name="connsiteX0" fmla="*/ 0 w 13930"/>
                      <a:gd name="connsiteY0" fmla="*/ 13931 h 13930"/>
                      <a:gd name="connsiteX1" fmla="*/ 13931 w 13930"/>
                      <a:gd name="connsiteY1" fmla="*/ 0 h 1393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3930" h="13930">
                        <a:moveTo>
                          <a:pt x="0" y="13931"/>
                        </a:moveTo>
                        <a:lnTo>
                          <a:pt x="13931" y="0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</p:grpSp>
          <p:grpSp>
            <p:nvGrpSpPr>
              <p:cNvPr id="1271" name="Gráfico 12">
                <a:extLst>
                  <a:ext uri="{FF2B5EF4-FFF2-40B4-BE49-F238E27FC236}">
                    <a16:creationId xmlns:a16="http://schemas.microsoft.com/office/drawing/2014/main" id="{682769CE-CD42-0FC4-BC27-73B9C291D308}"/>
                  </a:ext>
                </a:extLst>
              </p:cNvPr>
              <p:cNvGrpSpPr/>
              <p:nvPr/>
            </p:nvGrpSpPr>
            <p:grpSpPr>
              <a:xfrm>
                <a:off x="2013874" y="4318114"/>
                <a:ext cx="44244" cy="41098"/>
                <a:chOff x="2013874" y="4318114"/>
                <a:chExt cx="44244" cy="41098"/>
              </a:xfrm>
              <a:solidFill>
                <a:srgbClr val="394553"/>
              </a:solidFill>
            </p:grpSpPr>
            <p:grpSp>
              <p:nvGrpSpPr>
                <p:cNvPr id="1272" name="Gráfico 12">
                  <a:extLst>
                    <a:ext uri="{FF2B5EF4-FFF2-40B4-BE49-F238E27FC236}">
                      <a16:creationId xmlns:a16="http://schemas.microsoft.com/office/drawing/2014/main" id="{5A8406B1-E28C-0C56-D6AA-52248516501F}"/>
                    </a:ext>
                  </a:extLst>
                </p:cNvPr>
                <p:cNvGrpSpPr/>
                <p:nvPr/>
              </p:nvGrpSpPr>
              <p:grpSpPr>
                <a:xfrm>
                  <a:off x="2013874" y="4318114"/>
                  <a:ext cx="44244" cy="16046"/>
                  <a:chOff x="2013874" y="4318114"/>
                  <a:chExt cx="44244" cy="16046"/>
                </a:xfrm>
                <a:solidFill>
                  <a:srgbClr val="394553"/>
                </a:solidFill>
              </p:grpSpPr>
              <p:sp>
                <p:nvSpPr>
                  <p:cNvPr id="1273" name="Forma livre: Forma 1272">
                    <a:extLst>
                      <a:ext uri="{FF2B5EF4-FFF2-40B4-BE49-F238E27FC236}">
                        <a16:creationId xmlns:a16="http://schemas.microsoft.com/office/drawing/2014/main" id="{4EDBABA3-7E49-5100-FBDC-846773720E2F}"/>
                      </a:ext>
                    </a:extLst>
                  </p:cNvPr>
                  <p:cNvSpPr/>
                  <p:nvPr/>
                </p:nvSpPr>
                <p:spPr>
                  <a:xfrm>
                    <a:off x="2013874" y="4326949"/>
                    <a:ext cx="7207" cy="7211"/>
                  </a:xfrm>
                  <a:custGeom>
                    <a:avLst/>
                    <a:gdLst>
                      <a:gd name="connsiteX0" fmla="*/ 13 w 7207"/>
                      <a:gd name="connsiteY0" fmla="*/ 3270 h 7211"/>
                      <a:gd name="connsiteX1" fmla="*/ 3916 w 7207"/>
                      <a:gd name="connsiteY1" fmla="*/ 15 h 7211"/>
                      <a:gd name="connsiteX2" fmla="*/ 7195 w 7207"/>
                      <a:gd name="connsiteY2" fmla="*/ 3918 h 7211"/>
                      <a:gd name="connsiteX3" fmla="*/ 3268 w 7207"/>
                      <a:gd name="connsiteY3" fmla="*/ 7197 h 7211"/>
                      <a:gd name="connsiteX4" fmla="*/ 13 w 7207"/>
                      <a:gd name="connsiteY4" fmla="*/ 3270 h 721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7207" h="7211">
                        <a:moveTo>
                          <a:pt x="13" y="3270"/>
                        </a:moveTo>
                        <a:cubicBezTo>
                          <a:pt x="181" y="1288"/>
                          <a:pt x="1923" y="-165"/>
                          <a:pt x="3916" y="15"/>
                        </a:cubicBezTo>
                        <a:cubicBezTo>
                          <a:pt x="5886" y="195"/>
                          <a:pt x="7363" y="1949"/>
                          <a:pt x="7195" y="3918"/>
                        </a:cubicBezTo>
                        <a:cubicBezTo>
                          <a:pt x="7003" y="5912"/>
                          <a:pt x="5249" y="7377"/>
                          <a:pt x="3268" y="7197"/>
                        </a:cubicBezTo>
                        <a:cubicBezTo>
                          <a:pt x="1286" y="7005"/>
                          <a:pt x="-155" y="5275"/>
                          <a:pt x="13" y="3270"/>
                        </a:cubicBezTo>
                        <a:close/>
                      </a:path>
                    </a:pathLst>
                  </a:custGeom>
                  <a:solidFill>
                    <a:srgbClr val="394553"/>
                  </a:solidFill>
                  <a:ln w="6350" cap="flat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1274" name="Forma livre: Forma 1273">
                    <a:extLst>
                      <a:ext uri="{FF2B5EF4-FFF2-40B4-BE49-F238E27FC236}">
                        <a16:creationId xmlns:a16="http://schemas.microsoft.com/office/drawing/2014/main" id="{165065A1-AD55-58C4-2CDB-8CA2F6940340}"/>
                      </a:ext>
                    </a:extLst>
                  </p:cNvPr>
                  <p:cNvSpPr/>
                  <p:nvPr/>
                </p:nvSpPr>
                <p:spPr>
                  <a:xfrm>
                    <a:off x="2050899" y="4318114"/>
                    <a:ext cx="7219" cy="7232"/>
                  </a:xfrm>
                  <a:custGeom>
                    <a:avLst/>
                    <a:gdLst>
                      <a:gd name="connsiteX0" fmla="*/ 13 w 7219"/>
                      <a:gd name="connsiteY0" fmla="*/ 3290 h 7232"/>
                      <a:gd name="connsiteX1" fmla="*/ 3928 w 7219"/>
                      <a:gd name="connsiteY1" fmla="*/ 11 h 7232"/>
                      <a:gd name="connsiteX2" fmla="*/ 7207 w 7219"/>
                      <a:gd name="connsiteY2" fmla="*/ 3938 h 7232"/>
                      <a:gd name="connsiteX3" fmla="*/ 3280 w 7219"/>
                      <a:gd name="connsiteY3" fmla="*/ 7217 h 7232"/>
                      <a:gd name="connsiteX4" fmla="*/ 13 w 7219"/>
                      <a:gd name="connsiteY4" fmla="*/ 3290 h 723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7219" h="7232">
                        <a:moveTo>
                          <a:pt x="13" y="3290"/>
                        </a:moveTo>
                        <a:cubicBezTo>
                          <a:pt x="205" y="1309"/>
                          <a:pt x="1923" y="-145"/>
                          <a:pt x="3928" y="11"/>
                        </a:cubicBezTo>
                        <a:cubicBezTo>
                          <a:pt x="5898" y="204"/>
                          <a:pt x="7375" y="1957"/>
                          <a:pt x="7207" y="3938"/>
                        </a:cubicBezTo>
                        <a:cubicBezTo>
                          <a:pt x="7015" y="5932"/>
                          <a:pt x="5261" y="7397"/>
                          <a:pt x="3280" y="7217"/>
                        </a:cubicBezTo>
                        <a:cubicBezTo>
                          <a:pt x="1298" y="7037"/>
                          <a:pt x="-155" y="5296"/>
                          <a:pt x="13" y="3290"/>
                        </a:cubicBezTo>
                        <a:close/>
                      </a:path>
                    </a:pathLst>
                  </a:custGeom>
                  <a:solidFill>
                    <a:srgbClr val="394553"/>
                  </a:solidFill>
                  <a:ln w="6350" cap="flat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  <p:sp>
              <p:nvSpPr>
                <p:cNvPr id="1275" name="Forma livre: Forma 1274">
                  <a:extLst>
                    <a:ext uri="{FF2B5EF4-FFF2-40B4-BE49-F238E27FC236}">
                      <a16:creationId xmlns:a16="http://schemas.microsoft.com/office/drawing/2014/main" id="{8F520A71-A7AF-91CA-3784-F0B06A41FED8}"/>
                    </a:ext>
                  </a:extLst>
                </p:cNvPr>
                <p:cNvSpPr/>
                <p:nvPr/>
              </p:nvSpPr>
              <p:spPr>
                <a:xfrm>
                  <a:off x="2039382" y="4351991"/>
                  <a:ext cx="7219" cy="7221"/>
                </a:xfrm>
                <a:custGeom>
                  <a:avLst/>
                  <a:gdLst>
                    <a:gd name="connsiteX0" fmla="*/ 13 w 7219"/>
                    <a:gd name="connsiteY0" fmla="*/ 3292 h 7221"/>
                    <a:gd name="connsiteX1" fmla="*/ 3928 w 7219"/>
                    <a:gd name="connsiteY1" fmla="*/ 13 h 7221"/>
                    <a:gd name="connsiteX2" fmla="*/ 7207 w 7219"/>
                    <a:gd name="connsiteY2" fmla="*/ 3928 h 7221"/>
                    <a:gd name="connsiteX3" fmla="*/ 3280 w 7219"/>
                    <a:gd name="connsiteY3" fmla="*/ 7207 h 7221"/>
                    <a:gd name="connsiteX4" fmla="*/ 13 w 7219"/>
                    <a:gd name="connsiteY4" fmla="*/ 3280 h 722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7219" h="7221">
                      <a:moveTo>
                        <a:pt x="13" y="3292"/>
                      </a:moveTo>
                      <a:cubicBezTo>
                        <a:pt x="194" y="1310"/>
                        <a:pt x="1923" y="-155"/>
                        <a:pt x="3928" y="13"/>
                      </a:cubicBezTo>
                      <a:cubicBezTo>
                        <a:pt x="5898" y="193"/>
                        <a:pt x="7375" y="1947"/>
                        <a:pt x="7207" y="3928"/>
                      </a:cubicBezTo>
                      <a:cubicBezTo>
                        <a:pt x="7015" y="5922"/>
                        <a:pt x="5261" y="7387"/>
                        <a:pt x="3280" y="7207"/>
                      </a:cubicBezTo>
                      <a:cubicBezTo>
                        <a:pt x="1286" y="7015"/>
                        <a:pt x="-155" y="5273"/>
                        <a:pt x="13" y="3280"/>
                      </a:cubicBezTo>
                      <a:close/>
                    </a:path>
                  </a:pathLst>
                </a:custGeom>
                <a:solidFill>
                  <a:srgbClr val="394553"/>
                </a:solidFill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grpSp>
          <p:nvGrpSpPr>
            <p:cNvPr id="1276" name="Gráfico 12">
              <a:extLst>
                <a:ext uri="{FF2B5EF4-FFF2-40B4-BE49-F238E27FC236}">
                  <a16:creationId xmlns:a16="http://schemas.microsoft.com/office/drawing/2014/main" id="{6F988580-FA01-3C4D-21AC-77ACBCCE8999}"/>
                </a:ext>
              </a:extLst>
            </p:cNvPr>
            <p:cNvGrpSpPr/>
            <p:nvPr/>
          </p:nvGrpSpPr>
          <p:grpSpPr>
            <a:xfrm>
              <a:off x="1895175" y="4263375"/>
              <a:ext cx="388886" cy="219434"/>
              <a:chOff x="1895175" y="4263375"/>
              <a:chExt cx="388886" cy="219434"/>
            </a:xfrm>
            <a:noFill/>
          </p:grpSpPr>
          <p:sp>
            <p:nvSpPr>
              <p:cNvPr id="1277" name="Forma livre: Forma 1276">
                <a:extLst>
                  <a:ext uri="{FF2B5EF4-FFF2-40B4-BE49-F238E27FC236}">
                    <a16:creationId xmlns:a16="http://schemas.microsoft.com/office/drawing/2014/main" id="{93BD32E3-CFDB-0891-37A7-4DB77B5B0F7C}"/>
                  </a:ext>
                </a:extLst>
              </p:cNvPr>
              <p:cNvSpPr/>
              <p:nvPr/>
            </p:nvSpPr>
            <p:spPr>
              <a:xfrm>
                <a:off x="1917008" y="4310103"/>
                <a:ext cx="42537" cy="1200"/>
              </a:xfrm>
              <a:custGeom>
                <a:avLst/>
                <a:gdLst>
                  <a:gd name="connsiteX0" fmla="*/ 42537 w 42537"/>
                  <a:gd name="connsiteY0" fmla="*/ 0 h 1200"/>
                  <a:gd name="connsiteX1" fmla="*/ 0 w 42537"/>
                  <a:gd name="connsiteY1" fmla="*/ 0 h 12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2537" h="1200">
                    <a:moveTo>
                      <a:pt x="42537" y="0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78" name="Forma livre: Forma 1277">
                <a:extLst>
                  <a:ext uri="{FF2B5EF4-FFF2-40B4-BE49-F238E27FC236}">
                    <a16:creationId xmlns:a16="http://schemas.microsoft.com/office/drawing/2014/main" id="{C501A72E-C5E0-7BEA-9268-46C1B0F311D4}"/>
                  </a:ext>
                </a:extLst>
              </p:cNvPr>
              <p:cNvSpPr/>
              <p:nvPr/>
            </p:nvSpPr>
            <p:spPr>
              <a:xfrm>
                <a:off x="2143624" y="4276393"/>
                <a:ext cx="140437" cy="73197"/>
              </a:xfrm>
              <a:custGeom>
                <a:avLst/>
                <a:gdLst>
                  <a:gd name="connsiteX0" fmla="*/ 67252 w 140437"/>
                  <a:gd name="connsiteY0" fmla="*/ 36592 h 73197"/>
                  <a:gd name="connsiteX1" fmla="*/ 103857 w 140437"/>
                  <a:gd name="connsiteY1" fmla="*/ 0 h 73197"/>
                  <a:gd name="connsiteX2" fmla="*/ 140437 w 140437"/>
                  <a:gd name="connsiteY2" fmla="*/ 36592 h 73197"/>
                  <a:gd name="connsiteX3" fmla="*/ 103857 w 140437"/>
                  <a:gd name="connsiteY3" fmla="*/ 73197 h 73197"/>
                  <a:gd name="connsiteX4" fmla="*/ 0 w 140437"/>
                  <a:gd name="connsiteY4" fmla="*/ 73197 h 731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40437" h="73197">
                    <a:moveTo>
                      <a:pt x="67252" y="36592"/>
                    </a:moveTo>
                    <a:cubicBezTo>
                      <a:pt x="67252" y="16381"/>
                      <a:pt x="83633" y="0"/>
                      <a:pt x="103857" y="0"/>
                    </a:cubicBezTo>
                    <a:cubicBezTo>
                      <a:pt x="124081" y="0"/>
                      <a:pt x="140437" y="16381"/>
                      <a:pt x="140437" y="36592"/>
                    </a:cubicBezTo>
                    <a:cubicBezTo>
                      <a:pt x="140437" y="56804"/>
                      <a:pt x="124069" y="73197"/>
                      <a:pt x="103857" y="73197"/>
                    </a:cubicBezTo>
                    <a:lnTo>
                      <a:pt x="0" y="73197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79" name="Forma livre: Forma 1278">
                <a:extLst>
                  <a:ext uri="{FF2B5EF4-FFF2-40B4-BE49-F238E27FC236}">
                    <a16:creationId xmlns:a16="http://schemas.microsoft.com/office/drawing/2014/main" id="{6CE976E6-1374-5E15-43F2-621D9B9B7A05}"/>
                  </a:ext>
                </a:extLst>
              </p:cNvPr>
              <p:cNvSpPr/>
              <p:nvPr/>
            </p:nvSpPr>
            <p:spPr>
              <a:xfrm>
                <a:off x="1932079" y="4371783"/>
                <a:ext cx="29194" cy="1200"/>
              </a:xfrm>
              <a:custGeom>
                <a:avLst/>
                <a:gdLst>
                  <a:gd name="connsiteX0" fmla="*/ 29195 w 29194"/>
                  <a:gd name="connsiteY0" fmla="*/ 0 h 1200"/>
                  <a:gd name="connsiteX1" fmla="*/ 0 w 29194"/>
                  <a:gd name="connsiteY1" fmla="*/ 0 h 12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9194" h="1200">
                    <a:moveTo>
                      <a:pt x="29195" y="0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80" name="Forma livre: Forma 1279">
                <a:extLst>
                  <a:ext uri="{FF2B5EF4-FFF2-40B4-BE49-F238E27FC236}">
                    <a16:creationId xmlns:a16="http://schemas.microsoft.com/office/drawing/2014/main" id="{C6248D4E-1DC4-B659-D1F8-C3F0DB5978AA}"/>
                  </a:ext>
                </a:extLst>
              </p:cNvPr>
              <p:cNvSpPr/>
              <p:nvPr/>
            </p:nvSpPr>
            <p:spPr>
              <a:xfrm>
                <a:off x="1895175" y="4371783"/>
                <a:ext cx="13342" cy="1200"/>
              </a:xfrm>
              <a:custGeom>
                <a:avLst/>
                <a:gdLst>
                  <a:gd name="connsiteX0" fmla="*/ 13342 w 13342"/>
                  <a:gd name="connsiteY0" fmla="*/ 0 h 1200"/>
                  <a:gd name="connsiteX1" fmla="*/ 0 w 13342"/>
                  <a:gd name="connsiteY1" fmla="*/ 0 h 12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3342" h="1200">
                    <a:moveTo>
                      <a:pt x="13342" y="0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81" name="Forma livre: Forma 1280">
                <a:extLst>
                  <a:ext uri="{FF2B5EF4-FFF2-40B4-BE49-F238E27FC236}">
                    <a16:creationId xmlns:a16="http://schemas.microsoft.com/office/drawing/2014/main" id="{476A577C-9030-5401-6926-8F8A994567A3}"/>
                  </a:ext>
                </a:extLst>
              </p:cNvPr>
              <p:cNvSpPr/>
              <p:nvPr/>
            </p:nvSpPr>
            <p:spPr>
              <a:xfrm>
                <a:off x="1968672" y="4439900"/>
                <a:ext cx="13342" cy="1200"/>
              </a:xfrm>
              <a:custGeom>
                <a:avLst/>
                <a:gdLst>
                  <a:gd name="connsiteX0" fmla="*/ 13342 w 13342"/>
                  <a:gd name="connsiteY0" fmla="*/ 0 h 1200"/>
                  <a:gd name="connsiteX1" fmla="*/ 0 w 13342"/>
                  <a:gd name="connsiteY1" fmla="*/ 0 h 12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3342" h="1200">
                    <a:moveTo>
                      <a:pt x="13342" y="0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82" name="Forma livre: Forma 1281">
                <a:extLst>
                  <a:ext uri="{FF2B5EF4-FFF2-40B4-BE49-F238E27FC236}">
                    <a16:creationId xmlns:a16="http://schemas.microsoft.com/office/drawing/2014/main" id="{03F8158E-0536-AFC6-E962-0CF0D83251CF}"/>
                  </a:ext>
                </a:extLst>
              </p:cNvPr>
              <p:cNvSpPr/>
              <p:nvPr/>
            </p:nvSpPr>
            <p:spPr>
              <a:xfrm>
                <a:off x="2124229" y="4381871"/>
                <a:ext cx="93108" cy="58533"/>
              </a:xfrm>
              <a:custGeom>
                <a:avLst/>
                <a:gdLst>
                  <a:gd name="connsiteX0" fmla="*/ 34575 w 93108"/>
                  <a:gd name="connsiteY0" fmla="*/ 29267 h 58533"/>
                  <a:gd name="connsiteX1" fmla="*/ 63842 w 93108"/>
                  <a:gd name="connsiteY1" fmla="*/ 58534 h 58533"/>
                  <a:gd name="connsiteX2" fmla="*/ 93109 w 93108"/>
                  <a:gd name="connsiteY2" fmla="*/ 29267 h 58533"/>
                  <a:gd name="connsiteX3" fmla="*/ 63842 w 93108"/>
                  <a:gd name="connsiteY3" fmla="*/ 0 h 58533"/>
                  <a:gd name="connsiteX4" fmla="*/ 0 w 93108"/>
                  <a:gd name="connsiteY4" fmla="*/ 0 h 585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93108" h="58533">
                    <a:moveTo>
                      <a:pt x="34575" y="29267"/>
                    </a:moveTo>
                    <a:cubicBezTo>
                      <a:pt x="34575" y="45431"/>
                      <a:pt x="47677" y="58534"/>
                      <a:pt x="63842" y="58534"/>
                    </a:cubicBezTo>
                    <a:cubicBezTo>
                      <a:pt x="80006" y="58534"/>
                      <a:pt x="93109" y="45431"/>
                      <a:pt x="93109" y="29267"/>
                    </a:cubicBezTo>
                    <a:cubicBezTo>
                      <a:pt x="93109" y="13102"/>
                      <a:pt x="80018" y="0"/>
                      <a:pt x="63842" y="0"/>
                    </a:cubicBezTo>
                    <a:lnTo>
                      <a:pt x="0" y="0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83" name="Forma livre: Forma 1282">
                <a:extLst>
                  <a:ext uri="{FF2B5EF4-FFF2-40B4-BE49-F238E27FC236}">
                    <a16:creationId xmlns:a16="http://schemas.microsoft.com/office/drawing/2014/main" id="{A884C26C-5A90-6FC6-0E0B-8AC8C3771E10}"/>
                  </a:ext>
                </a:extLst>
              </p:cNvPr>
              <p:cNvSpPr/>
              <p:nvPr/>
            </p:nvSpPr>
            <p:spPr>
              <a:xfrm>
                <a:off x="2004808" y="4439900"/>
                <a:ext cx="121594" cy="42909"/>
              </a:xfrm>
              <a:custGeom>
                <a:avLst/>
                <a:gdLst>
                  <a:gd name="connsiteX0" fmla="*/ 78709 w 121594"/>
                  <a:gd name="connsiteY0" fmla="*/ 21449 h 42909"/>
                  <a:gd name="connsiteX1" fmla="*/ 100158 w 121594"/>
                  <a:gd name="connsiteY1" fmla="*/ 42909 h 42909"/>
                  <a:gd name="connsiteX2" fmla="*/ 121595 w 121594"/>
                  <a:gd name="connsiteY2" fmla="*/ 21449 h 42909"/>
                  <a:gd name="connsiteX3" fmla="*/ 100158 w 121594"/>
                  <a:gd name="connsiteY3" fmla="*/ 0 h 42909"/>
                  <a:gd name="connsiteX4" fmla="*/ 0 w 121594"/>
                  <a:gd name="connsiteY4" fmla="*/ 0 h 429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1594" h="42909">
                    <a:moveTo>
                      <a:pt x="78709" y="21449"/>
                    </a:moveTo>
                    <a:cubicBezTo>
                      <a:pt x="78709" y="33302"/>
                      <a:pt x="88293" y="42909"/>
                      <a:pt x="100158" y="42909"/>
                    </a:cubicBezTo>
                    <a:cubicBezTo>
                      <a:pt x="112023" y="42909"/>
                      <a:pt x="121595" y="33302"/>
                      <a:pt x="121595" y="21449"/>
                    </a:cubicBezTo>
                    <a:cubicBezTo>
                      <a:pt x="121595" y="9596"/>
                      <a:pt x="112011" y="0"/>
                      <a:pt x="100158" y="0"/>
                    </a:cubicBezTo>
                    <a:lnTo>
                      <a:pt x="0" y="0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84" name="Forma livre: Forma 1283">
                <a:extLst>
                  <a:ext uri="{FF2B5EF4-FFF2-40B4-BE49-F238E27FC236}">
                    <a16:creationId xmlns:a16="http://schemas.microsoft.com/office/drawing/2014/main" id="{C820F1F2-C0EA-37DC-F089-D91F82CAC1BE}"/>
                  </a:ext>
                </a:extLst>
              </p:cNvPr>
              <p:cNvSpPr/>
              <p:nvPr/>
            </p:nvSpPr>
            <p:spPr>
              <a:xfrm>
                <a:off x="2125598" y="4263375"/>
                <a:ext cx="57608" cy="46728"/>
              </a:xfrm>
              <a:custGeom>
                <a:avLst/>
                <a:gdLst>
                  <a:gd name="connsiteX0" fmla="*/ 10880 w 57608"/>
                  <a:gd name="connsiteY0" fmla="*/ 23358 h 46728"/>
                  <a:gd name="connsiteX1" fmla="*/ 34239 w 57608"/>
                  <a:gd name="connsiteY1" fmla="*/ 0 h 46728"/>
                  <a:gd name="connsiteX2" fmla="*/ 57609 w 57608"/>
                  <a:gd name="connsiteY2" fmla="*/ 23358 h 46728"/>
                  <a:gd name="connsiteX3" fmla="*/ 34239 w 57608"/>
                  <a:gd name="connsiteY3" fmla="*/ 46728 h 46728"/>
                  <a:gd name="connsiteX4" fmla="*/ 0 w 57608"/>
                  <a:gd name="connsiteY4" fmla="*/ 46728 h 467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7608" h="46728">
                    <a:moveTo>
                      <a:pt x="10880" y="23358"/>
                    </a:moveTo>
                    <a:cubicBezTo>
                      <a:pt x="10880" y="10460"/>
                      <a:pt x="21353" y="0"/>
                      <a:pt x="34239" y="0"/>
                    </a:cubicBezTo>
                    <a:cubicBezTo>
                      <a:pt x="47125" y="0"/>
                      <a:pt x="57609" y="10460"/>
                      <a:pt x="57609" y="23358"/>
                    </a:cubicBezTo>
                    <a:cubicBezTo>
                      <a:pt x="57609" y="36256"/>
                      <a:pt x="47149" y="46728"/>
                      <a:pt x="34239" y="46728"/>
                    </a:cubicBezTo>
                    <a:lnTo>
                      <a:pt x="0" y="46728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285" name="Forma livre: Forma 1284">
              <a:extLst>
                <a:ext uri="{FF2B5EF4-FFF2-40B4-BE49-F238E27FC236}">
                  <a16:creationId xmlns:a16="http://schemas.microsoft.com/office/drawing/2014/main" id="{D043AF45-7F51-5B34-7A5F-79CC422DABA2}"/>
                </a:ext>
              </a:extLst>
            </p:cNvPr>
            <p:cNvSpPr/>
            <p:nvPr/>
          </p:nvSpPr>
          <p:spPr>
            <a:xfrm>
              <a:off x="2198747" y="4242094"/>
              <a:ext cx="7493" cy="7481"/>
            </a:xfrm>
            <a:custGeom>
              <a:avLst/>
              <a:gdLst>
                <a:gd name="connsiteX0" fmla="*/ 3747 w 7493"/>
                <a:gd name="connsiteY0" fmla="*/ 0 h 7481"/>
                <a:gd name="connsiteX1" fmla="*/ 7494 w 7493"/>
                <a:gd name="connsiteY1" fmla="*/ 3735 h 7481"/>
                <a:gd name="connsiteX2" fmla="*/ 3747 w 7493"/>
                <a:gd name="connsiteY2" fmla="*/ 7482 h 7481"/>
                <a:gd name="connsiteX3" fmla="*/ 0 w 7493"/>
                <a:gd name="connsiteY3" fmla="*/ 3735 h 7481"/>
                <a:gd name="connsiteX4" fmla="*/ 3747 w 7493"/>
                <a:gd name="connsiteY4" fmla="*/ 0 h 74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493" h="7481">
                  <a:moveTo>
                    <a:pt x="3747" y="0"/>
                  </a:moveTo>
                  <a:cubicBezTo>
                    <a:pt x="5825" y="0"/>
                    <a:pt x="7494" y="1657"/>
                    <a:pt x="7494" y="3735"/>
                  </a:cubicBezTo>
                  <a:cubicBezTo>
                    <a:pt x="7494" y="5813"/>
                    <a:pt x="5825" y="7482"/>
                    <a:pt x="3747" y="7482"/>
                  </a:cubicBezTo>
                  <a:cubicBezTo>
                    <a:pt x="1669" y="7482"/>
                    <a:pt x="0" y="5801"/>
                    <a:pt x="0" y="3735"/>
                  </a:cubicBezTo>
                  <a:cubicBezTo>
                    <a:pt x="0" y="1669"/>
                    <a:pt x="1669" y="0"/>
                    <a:pt x="3747" y="0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86" name="Forma livre: Forma 1285">
              <a:extLst>
                <a:ext uri="{FF2B5EF4-FFF2-40B4-BE49-F238E27FC236}">
                  <a16:creationId xmlns:a16="http://schemas.microsoft.com/office/drawing/2014/main" id="{0517C42A-78A8-ED5B-C370-526F1F5D7BA3}"/>
                </a:ext>
              </a:extLst>
            </p:cNvPr>
            <p:cNvSpPr/>
            <p:nvPr/>
          </p:nvSpPr>
          <p:spPr>
            <a:xfrm>
              <a:off x="2248130" y="4387948"/>
              <a:ext cx="7493" cy="7493"/>
            </a:xfrm>
            <a:custGeom>
              <a:avLst/>
              <a:gdLst>
                <a:gd name="connsiteX0" fmla="*/ 3747 w 7493"/>
                <a:gd name="connsiteY0" fmla="*/ 0 h 7493"/>
                <a:gd name="connsiteX1" fmla="*/ 7494 w 7493"/>
                <a:gd name="connsiteY1" fmla="*/ 3747 h 7493"/>
                <a:gd name="connsiteX2" fmla="*/ 3747 w 7493"/>
                <a:gd name="connsiteY2" fmla="*/ 7494 h 7493"/>
                <a:gd name="connsiteX3" fmla="*/ 0 w 7493"/>
                <a:gd name="connsiteY3" fmla="*/ 3747 h 7493"/>
                <a:gd name="connsiteX4" fmla="*/ 3747 w 7493"/>
                <a:gd name="connsiteY4" fmla="*/ 0 h 74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493" h="7493">
                  <a:moveTo>
                    <a:pt x="3747" y="0"/>
                  </a:moveTo>
                  <a:cubicBezTo>
                    <a:pt x="5825" y="0"/>
                    <a:pt x="7494" y="1669"/>
                    <a:pt x="7494" y="3747"/>
                  </a:cubicBezTo>
                  <a:cubicBezTo>
                    <a:pt x="7494" y="5825"/>
                    <a:pt x="5825" y="7494"/>
                    <a:pt x="3747" y="7494"/>
                  </a:cubicBezTo>
                  <a:cubicBezTo>
                    <a:pt x="1669" y="7494"/>
                    <a:pt x="0" y="5812"/>
                    <a:pt x="0" y="3747"/>
                  </a:cubicBezTo>
                  <a:cubicBezTo>
                    <a:pt x="0" y="1681"/>
                    <a:pt x="1669" y="0"/>
                    <a:pt x="3747" y="0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87" name="Forma livre: Forma 1286">
              <a:extLst>
                <a:ext uri="{FF2B5EF4-FFF2-40B4-BE49-F238E27FC236}">
                  <a16:creationId xmlns:a16="http://schemas.microsoft.com/office/drawing/2014/main" id="{653A990D-132D-0F56-6619-E7BF4F8D382C}"/>
                </a:ext>
              </a:extLst>
            </p:cNvPr>
            <p:cNvSpPr/>
            <p:nvPr/>
          </p:nvSpPr>
          <p:spPr>
            <a:xfrm>
              <a:off x="2086183" y="4244628"/>
              <a:ext cx="7493" cy="7493"/>
            </a:xfrm>
            <a:custGeom>
              <a:avLst/>
              <a:gdLst>
                <a:gd name="connsiteX0" fmla="*/ 7494 w 7493"/>
                <a:gd name="connsiteY0" fmla="*/ 3747 h 7493"/>
                <a:gd name="connsiteX1" fmla="*/ 3747 w 7493"/>
                <a:gd name="connsiteY1" fmla="*/ 7494 h 7493"/>
                <a:gd name="connsiteX2" fmla="*/ 0 w 7493"/>
                <a:gd name="connsiteY2" fmla="*/ 3747 h 7493"/>
                <a:gd name="connsiteX3" fmla="*/ 3747 w 7493"/>
                <a:gd name="connsiteY3" fmla="*/ 0 h 7493"/>
                <a:gd name="connsiteX4" fmla="*/ 7494 w 7493"/>
                <a:gd name="connsiteY4" fmla="*/ 3747 h 74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493" h="7493">
                  <a:moveTo>
                    <a:pt x="7494" y="3747"/>
                  </a:moveTo>
                  <a:cubicBezTo>
                    <a:pt x="7494" y="5816"/>
                    <a:pt x="5816" y="7494"/>
                    <a:pt x="3747" y="7494"/>
                  </a:cubicBezTo>
                  <a:cubicBezTo>
                    <a:pt x="1677" y="7494"/>
                    <a:pt x="0" y="5816"/>
                    <a:pt x="0" y="3747"/>
                  </a:cubicBezTo>
                  <a:cubicBezTo>
                    <a:pt x="0" y="1678"/>
                    <a:pt x="1677" y="0"/>
                    <a:pt x="3747" y="0"/>
                  </a:cubicBezTo>
                  <a:cubicBezTo>
                    <a:pt x="5816" y="0"/>
                    <a:pt x="7494" y="1678"/>
                    <a:pt x="7494" y="3747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88" name="Forma livre: Forma 1287">
              <a:extLst>
                <a:ext uri="{FF2B5EF4-FFF2-40B4-BE49-F238E27FC236}">
                  <a16:creationId xmlns:a16="http://schemas.microsoft.com/office/drawing/2014/main" id="{C1BB6B36-65C9-5EC8-B080-9B2A5F980B56}"/>
                </a:ext>
              </a:extLst>
            </p:cNvPr>
            <p:cNvSpPr/>
            <p:nvPr/>
          </p:nvSpPr>
          <p:spPr>
            <a:xfrm>
              <a:off x="2116339" y="4408100"/>
              <a:ext cx="7493" cy="7481"/>
            </a:xfrm>
            <a:custGeom>
              <a:avLst/>
              <a:gdLst>
                <a:gd name="connsiteX0" fmla="*/ 3747 w 7493"/>
                <a:gd name="connsiteY0" fmla="*/ 0 h 7481"/>
                <a:gd name="connsiteX1" fmla="*/ 7494 w 7493"/>
                <a:gd name="connsiteY1" fmla="*/ 3735 h 7481"/>
                <a:gd name="connsiteX2" fmla="*/ 3747 w 7493"/>
                <a:gd name="connsiteY2" fmla="*/ 7482 h 7481"/>
                <a:gd name="connsiteX3" fmla="*/ 0 w 7493"/>
                <a:gd name="connsiteY3" fmla="*/ 3735 h 7481"/>
                <a:gd name="connsiteX4" fmla="*/ 3747 w 7493"/>
                <a:gd name="connsiteY4" fmla="*/ 0 h 74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493" h="7481">
                  <a:moveTo>
                    <a:pt x="3747" y="0"/>
                  </a:moveTo>
                  <a:cubicBezTo>
                    <a:pt x="5825" y="0"/>
                    <a:pt x="7494" y="1657"/>
                    <a:pt x="7494" y="3735"/>
                  </a:cubicBezTo>
                  <a:cubicBezTo>
                    <a:pt x="7494" y="5813"/>
                    <a:pt x="5825" y="7482"/>
                    <a:pt x="3747" y="7482"/>
                  </a:cubicBezTo>
                  <a:cubicBezTo>
                    <a:pt x="1669" y="7482"/>
                    <a:pt x="0" y="5801"/>
                    <a:pt x="0" y="3735"/>
                  </a:cubicBezTo>
                  <a:cubicBezTo>
                    <a:pt x="0" y="1669"/>
                    <a:pt x="1669" y="0"/>
                    <a:pt x="3747" y="0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89" name="Forma livre: Forma 1288">
              <a:extLst>
                <a:ext uri="{FF2B5EF4-FFF2-40B4-BE49-F238E27FC236}">
                  <a16:creationId xmlns:a16="http://schemas.microsoft.com/office/drawing/2014/main" id="{37C81705-5009-CCFC-C34F-4A1008D23A62}"/>
                </a:ext>
              </a:extLst>
            </p:cNvPr>
            <p:cNvSpPr/>
            <p:nvPr/>
          </p:nvSpPr>
          <p:spPr>
            <a:xfrm>
              <a:off x="2155573" y="4466093"/>
              <a:ext cx="7493" cy="7481"/>
            </a:xfrm>
            <a:custGeom>
              <a:avLst/>
              <a:gdLst>
                <a:gd name="connsiteX0" fmla="*/ 3747 w 7493"/>
                <a:gd name="connsiteY0" fmla="*/ 0 h 7481"/>
                <a:gd name="connsiteX1" fmla="*/ 7494 w 7493"/>
                <a:gd name="connsiteY1" fmla="*/ 3735 h 7481"/>
                <a:gd name="connsiteX2" fmla="*/ 3747 w 7493"/>
                <a:gd name="connsiteY2" fmla="*/ 7482 h 7481"/>
                <a:gd name="connsiteX3" fmla="*/ 0 w 7493"/>
                <a:gd name="connsiteY3" fmla="*/ 3735 h 7481"/>
                <a:gd name="connsiteX4" fmla="*/ 3747 w 7493"/>
                <a:gd name="connsiteY4" fmla="*/ 0 h 74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493" h="7481">
                  <a:moveTo>
                    <a:pt x="3747" y="0"/>
                  </a:moveTo>
                  <a:cubicBezTo>
                    <a:pt x="5825" y="0"/>
                    <a:pt x="7494" y="1657"/>
                    <a:pt x="7494" y="3735"/>
                  </a:cubicBezTo>
                  <a:cubicBezTo>
                    <a:pt x="7494" y="5813"/>
                    <a:pt x="5825" y="7482"/>
                    <a:pt x="3747" y="7482"/>
                  </a:cubicBezTo>
                  <a:cubicBezTo>
                    <a:pt x="1669" y="7482"/>
                    <a:pt x="0" y="5801"/>
                    <a:pt x="0" y="3735"/>
                  </a:cubicBezTo>
                  <a:cubicBezTo>
                    <a:pt x="0" y="1669"/>
                    <a:pt x="1669" y="0"/>
                    <a:pt x="3747" y="0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90" name="Forma livre: Forma 1289">
              <a:extLst>
                <a:ext uri="{FF2B5EF4-FFF2-40B4-BE49-F238E27FC236}">
                  <a16:creationId xmlns:a16="http://schemas.microsoft.com/office/drawing/2014/main" id="{DEB597C6-CE1B-8944-CB79-C0D70CFD5BA4}"/>
                </a:ext>
              </a:extLst>
            </p:cNvPr>
            <p:cNvSpPr/>
            <p:nvPr/>
          </p:nvSpPr>
          <p:spPr>
            <a:xfrm>
              <a:off x="2190557" y="4483867"/>
              <a:ext cx="7493" cy="7481"/>
            </a:xfrm>
            <a:custGeom>
              <a:avLst/>
              <a:gdLst>
                <a:gd name="connsiteX0" fmla="*/ 3747 w 7493"/>
                <a:gd name="connsiteY0" fmla="*/ 0 h 7481"/>
                <a:gd name="connsiteX1" fmla="*/ 7494 w 7493"/>
                <a:gd name="connsiteY1" fmla="*/ 3735 h 7481"/>
                <a:gd name="connsiteX2" fmla="*/ 3747 w 7493"/>
                <a:gd name="connsiteY2" fmla="*/ 7482 h 7481"/>
                <a:gd name="connsiteX3" fmla="*/ 0 w 7493"/>
                <a:gd name="connsiteY3" fmla="*/ 3735 h 7481"/>
                <a:gd name="connsiteX4" fmla="*/ 3747 w 7493"/>
                <a:gd name="connsiteY4" fmla="*/ 0 h 74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493" h="7481">
                  <a:moveTo>
                    <a:pt x="3747" y="0"/>
                  </a:moveTo>
                  <a:cubicBezTo>
                    <a:pt x="5825" y="0"/>
                    <a:pt x="7494" y="1657"/>
                    <a:pt x="7494" y="3735"/>
                  </a:cubicBezTo>
                  <a:cubicBezTo>
                    <a:pt x="7494" y="5812"/>
                    <a:pt x="5825" y="7482"/>
                    <a:pt x="3747" y="7482"/>
                  </a:cubicBezTo>
                  <a:cubicBezTo>
                    <a:pt x="1669" y="7482"/>
                    <a:pt x="0" y="5800"/>
                    <a:pt x="0" y="3735"/>
                  </a:cubicBezTo>
                  <a:cubicBezTo>
                    <a:pt x="0" y="1669"/>
                    <a:pt x="1669" y="0"/>
                    <a:pt x="3747" y="0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291" name="Gráfico 12">
            <a:extLst>
              <a:ext uri="{FF2B5EF4-FFF2-40B4-BE49-F238E27FC236}">
                <a16:creationId xmlns:a16="http://schemas.microsoft.com/office/drawing/2014/main" id="{8D8DA3AB-5DF3-B64B-0C3F-FD81E496EBEE}"/>
              </a:ext>
            </a:extLst>
          </p:cNvPr>
          <p:cNvGrpSpPr/>
          <p:nvPr/>
        </p:nvGrpSpPr>
        <p:grpSpPr>
          <a:xfrm>
            <a:off x="1924033" y="4748385"/>
            <a:ext cx="331168" cy="305373"/>
            <a:chOff x="1924033" y="4748385"/>
            <a:chExt cx="331168" cy="305373"/>
          </a:xfrm>
          <a:noFill/>
        </p:grpSpPr>
        <p:sp>
          <p:nvSpPr>
            <p:cNvPr id="1292" name="Forma livre: Forma 1291">
              <a:extLst>
                <a:ext uri="{FF2B5EF4-FFF2-40B4-BE49-F238E27FC236}">
                  <a16:creationId xmlns:a16="http://schemas.microsoft.com/office/drawing/2014/main" id="{33562F56-AFBA-EEF9-9784-B4DAA4BD26FE}"/>
                </a:ext>
              </a:extLst>
            </p:cNvPr>
            <p:cNvSpPr/>
            <p:nvPr/>
          </p:nvSpPr>
          <p:spPr>
            <a:xfrm>
              <a:off x="2084394" y="4791534"/>
              <a:ext cx="134396" cy="33385"/>
            </a:xfrm>
            <a:custGeom>
              <a:avLst/>
              <a:gdLst>
                <a:gd name="connsiteX0" fmla="*/ 0 w 134396"/>
                <a:gd name="connsiteY0" fmla="*/ 0 h 33385"/>
                <a:gd name="connsiteX1" fmla="*/ 60996 w 134396"/>
                <a:gd name="connsiteY1" fmla="*/ 0 h 33385"/>
                <a:gd name="connsiteX2" fmla="*/ 134397 w 134396"/>
                <a:gd name="connsiteY2" fmla="*/ 33386 h 333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34396" h="33385">
                  <a:moveTo>
                    <a:pt x="0" y="0"/>
                  </a:moveTo>
                  <a:lnTo>
                    <a:pt x="60996" y="0"/>
                  </a:lnTo>
                  <a:lnTo>
                    <a:pt x="134397" y="33386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93" name="Forma livre: Forma 1292">
              <a:extLst>
                <a:ext uri="{FF2B5EF4-FFF2-40B4-BE49-F238E27FC236}">
                  <a16:creationId xmlns:a16="http://schemas.microsoft.com/office/drawing/2014/main" id="{4F0B1E32-67A3-F113-B39B-D1CE579A4BC4}"/>
                </a:ext>
              </a:extLst>
            </p:cNvPr>
            <p:cNvSpPr/>
            <p:nvPr/>
          </p:nvSpPr>
          <p:spPr>
            <a:xfrm>
              <a:off x="2033955" y="4748385"/>
              <a:ext cx="188835" cy="43149"/>
            </a:xfrm>
            <a:custGeom>
              <a:avLst/>
              <a:gdLst>
                <a:gd name="connsiteX0" fmla="*/ 188835 w 188835"/>
                <a:gd name="connsiteY0" fmla="*/ 30960 h 43149"/>
                <a:gd name="connsiteX1" fmla="*/ 134193 w 188835"/>
                <a:gd name="connsiteY1" fmla="*/ 6101 h 43149"/>
                <a:gd name="connsiteX2" fmla="*/ 96555 w 188835"/>
                <a:gd name="connsiteY2" fmla="*/ 0 h 43149"/>
                <a:gd name="connsiteX3" fmla="*/ 15228 w 188835"/>
                <a:gd name="connsiteY3" fmla="*/ 0 h 43149"/>
                <a:gd name="connsiteX4" fmla="*/ 0 w 188835"/>
                <a:gd name="connsiteY4" fmla="*/ 15228 h 43149"/>
                <a:gd name="connsiteX5" fmla="*/ 0 w 188835"/>
                <a:gd name="connsiteY5" fmla="*/ 43150 h 43149"/>
                <a:gd name="connsiteX6" fmla="*/ 30804 w 188835"/>
                <a:gd name="connsiteY6" fmla="*/ 43150 h 431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88835" h="43149">
                  <a:moveTo>
                    <a:pt x="188835" y="30960"/>
                  </a:moveTo>
                  <a:lnTo>
                    <a:pt x="134193" y="6101"/>
                  </a:lnTo>
                  <a:cubicBezTo>
                    <a:pt x="134193" y="6101"/>
                    <a:pt x="119913" y="0"/>
                    <a:pt x="96555" y="0"/>
                  </a:cubicBezTo>
                  <a:lnTo>
                    <a:pt x="15228" y="0"/>
                  </a:lnTo>
                  <a:cubicBezTo>
                    <a:pt x="6857" y="0"/>
                    <a:pt x="0" y="6857"/>
                    <a:pt x="0" y="15228"/>
                  </a:cubicBezTo>
                  <a:lnTo>
                    <a:pt x="0" y="43150"/>
                  </a:lnTo>
                  <a:lnTo>
                    <a:pt x="30804" y="4315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94" name="Forma livre: Forma 1293">
              <a:extLst>
                <a:ext uri="{FF2B5EF4-FFF2-40B4-BE49-F238E27FC236}">
                  <a16:creationId xmlns:a16="http://schemas.microsoft.com/office/drawing/2014/main" id="{1DFCB1D8-5426-CF8B-DCD8-3307950DB4FE}"/>
                </a:ext>
              </a:extLst>
            </p:cNvPr>
            <p:cNvSpPr/>
            <p:nvPr/>
          </p:nvSpPr>
          <p:spPr>
            <a:xfrm>
              <a:off x="2047838" y="4791882"/>
              <a:ext cx="72776" cy="24198"/>
            </a:xfrm>
            <a:custGeom>
              <a:avLst/>
              <a:gdLst>
                <a:gd name="connsiteX0" fmla="*/ 72777 w 72776"/>
                <a:gd name="connsiteY0" fmla="*/ 0 h 24198"/>
                <a:gd name="connsiteX1" fmla="*/ 72777 w 72776"/>
                <a:gd name="connsiteY1" fmla="*/ 24199 h 24198"/>
                <a:gd name="connsiteX2" fmla="*/ 0 w 72776"/>
                <a:gd name="connsiteY2" fmla="*/ 24199 h 24198"/>
                <a:gd name="connsiteX3" fmla="*/ 0 w 72776"/>
                <a:gd name="connsiteY3" fmla="*/ 0 h 241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2776" h="24198">
                  <a:moveTo>
                    <a:pt x="72777" y="0"/>
                  </a:moveTo>
                  <a:lnTo>
                    <a:pt x="72777" y="24199"/>
                  </a:lnTo>
                  <a:lnTo>
                    <a:pt x="0" y="24199"/>
                  </a:lnTo>
                  <a:lnTo>
                    <a:pt x="0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95" name="Forma livre: Forma 1294">
              <a:extLst>
                <a:ext uri="{FF2B5EF4-FFF2-40B4-BE49-F238E27FC236}">
                  <a16:creationId xmlns:a16="http://schemas.microsoft.com/office/drawing/2014/main" id="{C193F1CC-164B-E7F0-D34F-2B939C212FC9}"/>
                </a:ext>
              </a:extLst>
            </p:cNvPr>
            <p:cNvSpPr/>
            <p:nvPr/>
          </p:nvSpPr>
          <p:spPr>
            <a:xfrm>
              <a:off x="2057301" y="4898754"/>
              <a:ext cx="1200" cy="14567"/>
            </a:xfrm>
            <a:custGeom>
              <a:avLst/>
              <a:gdLst>
                <a:gd name="connsiteX0" fmla="*/ 0 w 1200"/>
                <a:gd name="connsiteY0" fmla="*/ 0 h 14567"/>
                <a:gd name="connsiteX1" fmla="*/ 0 w 1200"/>
                <a:gd name="connsiteY1" fmla="*/ 14567 h 14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0" h="14567">
                  <a:moveTo>
                    <a:pt x="0" y="0"/>
                  </a:moveTo>
                  <a:lnTo>
                    <a:pt x="0" y="14567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96" name="Forma livre: Forma 1295">
              <a:extLst>
                <a:ext uri="{FF2B5EF4-FFF2-40B4-BE49-F238E27FC236}">
                  <a16:creationId xmlns:a16="http://schemas.microsoft.com/office/drawing/2014/main" id="{0CC2F378-B80E-B505-C815-8906BD3FAB70}"/>
                </a:ext>
              </a:extLst>
            </p:cNvPr>
            <p:cNvSpPr/>
            <p:nvPr/>
          </p:nvSpPr>
          <p:spPr>
            <a:xfrm>
              <a:off x="2084370" y="4898754"/>
              <a:ext cx="1200" cy="14567"/>
            </a:xfrm>
            <a:custGeom>
              <a:avLst/>
              <a:gdLst>
                <a:gd name="connsiteX0" fmla="*/ 0 w 1200"/>
                <a:gd name="connsiteY0" fmla="*/ 0 h 14567"/>
                <a:gd name="connsiteX1" fmla="*/ 0 w 1200"/>
                <a:gd name="connsiteY1" fmla="*/ 14567 h 14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0" h="14567">
                  <a:moveTo>
                    <a:pt x="0" y="0"/>
                  </a:moveTo>
                  <a:lnTo>
                    <a:pt x="0" y="14567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97" name="Forma livre: Forma 1296">
              <a:extLst>
                <a:ext uri="{FF2B5EF4-FFF2-40B4-BE49-F238E27FC236}">
                  <a16:creationId xmlns:a16="http://schemas.microsoft.com/office/drawing/2014/main" id="{EDCCDFF0-D873-B7C1-B74B-F43AD98D9CA5}"/>
                </a:ext>
              </a:extLst>
            </p:cNvPr>
            <p:cNvSpPr/>
            <p:nvPr/>
          </p:nvSpPr>
          <p:spPr>
            <a:xfrm>
              <a:off x="2111451" y="4898754"/>
              <a:ext cx="1200" cy="14567"/>
            </a:xfrm>
            <a:custGeom>
              <a:avLst/>
              <a:gdLst>
                <a:gd name="connsiteX0" fmla="*/ 0 w 1200"/>
                <a:gd name="connsiteY0" fmla="*/ 0 h 14567"/>
                <a:gd name="connsiteX1" fmla="*/ 0 w 1200"/>
                <a:gd name="connsiteY1" fmla="*/ 14567 h 14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0" h="14567">
                  <a:moveTo>
                    <a:pt x="0" y="0"/>
                  </a:moveTo>
                  <a:lnTo>
                    <a:pt x="0" y="14567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98" name="Forma livre: Forma 1297">
              <a:extLst>
                <a:ext uri="{FF2B5EF4-FFF2-40B4-BE49-F238E27FC236}">
                  <a16:creationId xmlns:a16="http://schemas.microsoft.com/office/drawing/2014/main" id="{AE1F82EC-FA18-8940-65D6-618A43312FE2}"/>
                </a:ext>
              </a:extLst>
            </p:cNvPr>
            <p:cNvSpPr/>
            <p:nvPr/>
          </p:nvSpPr>
          <p:spPr>
            <a:xfrm>
              <a:off x="2070835" y="4853743"/>
              <a:ext cx="1200" cy="14579"/>
            </a:xfrm>
            <a:custGeom>
              <a:avLst/>
              <a:gdLst>
                <a:gd name="connsiteX0" fmla="*/ 0 w 1200"/>
                <a:gd name="connsiteY0" fmla="*/ 0 h 14579"/>
                <a:gd name="connsiteX1" fmla="*/ 0 w 1200"/>
                <a:gd name="connsiteY1" fmla="*/ 14579 h 145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0" h="14579">
                  <a:moveTo>
                    <a:pt x="0" y="0"/>
                  </a:moveTo>
                  <a:lnTo>
                    <a:pt x="0" y="14579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99" name="Forma livre: Forma 1298">
              <a:extLst>
                <a:ext uri="{FF2B5EF4-FFF2-40B4-BE49-F238E27FC236}">
                  <a16:creationId xmlns:a16="http://schemas.microsoft.com/office/drawing/2014/main" id="{E3F768E2-9CD0-C04C-0BFD-22EA89B49532}"/>
                </a:ext>
              </a:extLst>
            </p:cNvPr>
            <p:cNvSpPr/>
            <p:nvPr/>
          </p:nvSpPr>
          <p:spPr>
            <a:xfrm>
              <a:off x="2097916" y="4853743"/>
              <a:ext cx="1200" cy="14579"/>
            </a:xfrm>
            <a:custGeom>
              <a:avLst/>
              <a:gdLst>
                <a:gd name="connsiteX0" fmla="*/ 0 w 1200"/>
                <a:gd name="connsiteY0" fmla="*/ 0 h 14579"/>
                <a:gd name="connsiteX1" fmla="*/ 0 w 1200"/>
                <a:gd name="connsiteY1" fmla="*/ 14579 h 145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0" h="14579">
                  <a:moveTo>
                    <a:pt x="0" y="0"/>
                  </a:moveTo>
                  <a:lnTo>
                    <a:pt x="0" y="14579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300" name="Forma livre: Forma 1299">
              <a:extLst>
                <a:ext uri="{FF2B5EF4-FFF2-40B4-BE49-F238E27FC236}">
                  <a16:creationId xmlns:a16="http://schemas.microsoft.com/office/drawing/2014/main" id="{BF21B5F9-42D0-2E6F-53B2-C0D83485495E}"/>
                </a:ext>
              </a:extLst>
            </p:cNvPr>
            <p:cNvSpPr/>
            <p:nvPr/>
          </p:nvSpPr>
          <p:spPr>
            <a:xfrm>
              <a:off x="1959989" y="4934822"/>
              <a:ext cx="255701" cy="118936"/>
            </a:xfrm>
            <a:custGeom>
              <a:avLst/>
              <a:gdLst>
                <a:gd name="connsiteX0" fmla="*/ 177486 w 255701"/>
                <a:gd name="connsiteY0" fmla="*/ 28158 h 118936"/>
                <a:gd name="connsiteX1" fmla="*/ 226833 w 255701"/>
                <a:gd name="connsiteY1" fmla="*/ 2938 h 118936"/>
                <a:gd name="connsiteX2" fmla="*/ 253686 w 255701"/>
                <a:gd name="connsiteY2" fmla="*/ 8787 h 118936"/>
                <a:gd name="connsiteX3" fmla="*/ 244174 w 255701"/>
                <a:gd name="connsiteY3" fmla="*/ 35208 h 118936"/>
                <a:gd name="connsiteX4" fmla="*/ 135646 w 255701"/>
                <a:gd name="connsiteY4" fmla="*/ 93369 h 118936"/>
                <a:gd name="connsiteX5" fmla="*/ 129905 w 255701"/>
                <a:gd name="connsiteY5" fmla="*/ 94810 h 118936"/>
                <a:gd name="connsiteX6" fmla="*/ 28690 w 255701"/>
                <a:gd name="connsiteY6" fmla="*/ 97548 h 118936"/>
                <a:gd name="connsiteX7" fmla="*/ 0 w 255701"/>
                <a:gd name="connsiteY7" fmla="*/ 118937 h 1189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55701" h="118936">
                  <a:moveTo>
                    <a:pt x="177486" y="28158"/>
                  </a:moveTo>
                  <a:lnTo>
                    <a:pt x="226833" y="2938"/>
                  </a:lnTo>
                  <a:cubicBezTo>
                    <a:pt x="236933" y="-2490"/>
                    <a:pt x="248798" y="-316"/>
                    <a:pt x="253686" y="8787"/>
                  </a:cubicBezTo>
                  <a:cubicBezTo>
                    <a:pt x="258561" y="17890"/>
                    <a:pt x="254286" y="29779"/>
                    <a:pt x="244174" y="35208"/>
                  </a:cubicBezTo>
                  <a:lnTo>
                    <a:pt x="135646" y="93369"/>
                  </a:lnTo>
                  <a:lnTo>
                    <a:pt x="129905" y="94810"/>
                  </a:lnTo>
                  <a:lnTo>
                    <a:pt x="28690" y="97548"/>
                  </a:lnTo>
                  <a:cubicBezTo>
                    <a:pt x="28690" y="97548"/>
                    <a:pt x="15648" y="101211"/>
                    <a:pt x="0" y="118937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301" name="Forma livre: Forma 1300">
              <a:extLst>
                <a:ext uri="{FF2B5EF4-FFF2-40B4-BE49-F238E27FC236}">
                  <a16:creationId xmlns:a16="http://schemas.microsoft.com/office/drawing/2014/main" id="{AAEB834B-C6F0-F7B7-9077-BAB1A3694629}"/>
                </a:ext>
              </a:extLst>
            </p:cNvPr>
            <p:cNvSpPr/>
            <p:nvPr/>
          </p:nvSpPr>
          <p:spPr>
            <a:xfrm>
              <a:off x="1924033" y="4949202"/>
              <a:ext cx="192990" cy="51342"/>
            </a:xfrm>
            <a:custGeom>
              <a:avLst/>
              <a:gdLst>
                <a:gd name="connsiteX0" fmla="*/ 0 w 192990"/>
                <a:gd name="connsiteY0" fmla="*/ 51342 h 51342"/>
                <a:gd name="connsiteX1" fmla="*/ 45912 w 192990"/>
                <a:gd name="connsiteY1" fmla="*/ 9082 h 51342"/>
                <a:gd name="connsiteX2" fmla="*/ 94946 w 192990"/>
                <a:gd name="connsiteY2" fmla="*/ 2296 h 51342"/>
                <a:gd name="connsiteX3" fmla="*/ 131755 w 192990"/>
                <a:gd name="connsiteY3" fmla="*/ 6464 h 51342"/>
                <a:gd name="connsiteX4" fmla="*/ 171469 w 192990"/>
                <a:gd name="connsiteY4" fmla="*/ 6464 h 51342"/>
                <a:gd name="connsiteX5" fmla="*/ 192990 w 192990"/>
                <a:gd name="connsiteY5" fmla="*/ 25234 h 51342"/>
                <a:gd name="connsiteX6" fmla="*/ 171469 w 192990"/>
                <a:gd name="connsiteY6" fmla="*/ 44017 h 51342"/>
                <a:gd name="connsiteX7" fmla="*/ 116527 w 192990"/>
                <a:gd name="connsiteY7" fmla="*/ 44017 h 513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92990" h="51342">
                  <a:moveTo>
                    <a:pt x="0" y="51342"/>
                  </a:moveTo>
                  <a:lnTo>
                    <a:pt x="45912" y="9082"/>
                  </a:lnTo>
                  <a:cubicBezTo>
                    <a:pt x="68345" y="-6050"/>
                    <a:pt x="94946" y="2296"/>
                    <a:pt x="94946" y="2296"/>
                  </a:cubicBezTo>
                  <a:cubicBezTo>
                    <a:pt x="107832" y="5695"/>
                    <a:pt x="131755" y="6464"/>
                    <a:pt x="131755" y="6464"/>
                  </a:cubicBezTo>
                  <a:lnTo>
                    <a:pt x="171469" y="6464"/>
                  </a:lnTo>
                  <a:cubicBezTo>
                    <a:pt x="183299" y="6464"/>
                    <a:pt x="192990" y="14906"/>
                    <a:pt x="192990" y="25234"/>
                  </a:cubicBezTo>
                  <a:cubicBezTo>
                    <a:pt x="192990" y="35562"/>
                    <a:pt x="183299" y="44017"/>
                    <a:pt x="171469" y="44017"/>
                  </a:cubicBezTo>
                  <a:lnTo>
                    <a:pt x="116527" y="44017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302" name="Forma livre: Forma 1301">
              <a:extLst>
                <a:ext uri="{FF2B5EF4-FFF2-40B4-BE49-F238E27FC236}">
                  <a16:creationId xmlns:a16="http://schemas.microsoft.com/office/drawing/2014/main" id="{9D016F7B-8A4D-850A-227A-E88A5A172C88}"/>
                </a:ext>
              </a:extLst>
            </p:cNvPr>
            <p:cNvSpPr/>
            <p:nvPr/>
          </p:nvSpPr>
          <p:spPr>
            <a:xfrm>
              <a:off x="2192274" y="4864087"/>
              <a:ext cx="62927" cy="63188"/>
            </a:xfrm>
            <a:custGeom>
              <a:avLst/>
              <a:gdLst>
                <a:gd name="connsiteX0" fmla="*/ 0 w 62927"/>
                <a:gd name="connsiteY0" fmla="*/ 19391 h 63188"/>
                <a:gd name="connsiteX1" fmla="*/ 35127 w 62927"/>
                <a:gd name="connsiteY1" fmla="*/ 404 h 63188"/>
                <a:gd name="connsiteX2" fmla="*/ 62521 w 62927"/>
                <a:gd name="connsiteY2" fmla="*/ 38053 h 63188"/>
                <a:gd name="connsiteX3" fmla="*/ 42981 w 62927"/>
                <a:gd name="connsiteY3" fmla="*/ 63189 h 631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2927" h="63188">
                  <a:moveTo>
                    <a:pt x="0" y="19391"/>
                  </a:moveTo>
                  <a:cubicBezTo>
                    <a:pt x="5933" y="6192"/>
                    <a:pt x="20152" y="-1950"/>
                    <a:pt x="35127" y="404"/>
                  </a:cubicBezTo>
                  <a:cubicBezTo>
                    <a:pt x="53093" y="3238"/>
                    <a:pt x="65355" y="20099"/>
                    <a:pt x="62521" y="38053"/>
                  </a:cubicBezTo>
                  <a:cubicBezTo>
                    <a:pt x="60695" y="49642"/>
                    <a:pt x="53021" y="58853"/>
                    <a:pt x="42981" y="63189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303" name="Forma livre: Forma 1302">
              <a:extLst>
                <a:ext uri="{FF2B5EF4-FFF2-40B4-BE49-F238E27FC236}">
                  <a16:creationId xmlns:a16="http://schemas.microsoft.com/office/drawing/2014/main" id="{D2FD44AC-B1AF-ACE2-E04C-211481C46704}"/>
                </a:ext>
              </a:extLst>
            </p:cNvPr>
            <p:cNvSpPr/>
            <p:nvPr/>
          </p:nvSpPr>
          <p:spPr>
            <a:xfrm>
              <a:off x="2149857" y="4884003"/>
              <a:ext cx="53657" cy="27360"/>
            </a:xfrm>
            <a:custGeom>
              <a:avLst/>
              <a:gdLst>
                <a:gd name="connsiteX0" fmla="*/ 0 w 53657"/>
                <a:gd name="connsiteY0" fmla="*/ 27361 h 27360"/>
                <a:gd name="connsiteX1" fmla="*/ 37061 w 53657"/>
                <a:gd name="connsiteY1" fmla="*/ 400 h 27360"/>
                <a:gd name="connsiteX2" fmla="*/ 53658 w 53657"/>
                <a:gd name="connsiteY2" fmla="*/ 8290 h 273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53657" h="27360">
                  <a:moveTo>
                    <a:pt x="0" y="27361"/>
                  </a:moveTo>
                  <a:cubicBezTo>
                    <a:pt x="2786" y="9683"/>
                    <a:pt x="19383" y="-2386"/>
                    <a:pt x="37061" y="400"/>
                  </a:cubicBezTo>
                  <a:cubicBezTo>
                    <a:pt x="43462" y="1409"/>
                    <a:pt x="49154" y="4255"/>
                    <a:pt x="53658" y="829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304" name="Forma livre: Forma 1303">
              <a:extLst>
                <a:ext uri="{FF2B5EF4-FFF2-40B4-BE49-F238E27FC236}">
                  <a16:creationId xmlns:a16="http://schemas.microsoft.com/office/drawing/2014/main" id="{7938D809-D2F4-F6C7-932E-8DFE1A5C0B85}"/>
                </a:ext>
              </a:extLst>
            </p:cNvPr>
            <p:cNvSpPr/>
            <p:nvPr/>
          </p:nvSpPr>
          <p:spPr>
            <a:xfrm>
              <a:off x="1992931" y="4883386"/>
              <a:ext cx="37553" cy="26559"/>
            </a:xfrm>
            <a:custGeom>
              <a:avLst/>
              <a:gdLst>
                <a:gd name="connsiteX0" fmla="*/ 0 w 37553"/>
                <a:gd name="connsiteY0" fmla="*/ 26560 h 26559"/>
                <a:gd name="connsiteX1" fmla="*/ 8491 w 37553"/>
                <a:gd name="connsiteY1" fmla="*/ 7645 h 26559"/>
                <a:gd name="connsiteX2" fmla="*/ 28546 w 37553"/>
                <a:gd name="connsiteY2" fmla="*/ 19 h 26559"/>
                <a:gd name="connsiteX3" fmla="*/ 37553 w 37553"/>
                <a:gd name="connsiteY3" fmla="*/ 1869 h 265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7553" h="26559">
                  <a:moveTo>
                    <a:pt x="0" y="26560"/>
                  </a:moveTo>
                  <a:cubicBezTo>
                    <a:pt x="276" y="19102"/>
                    <a:pt x="3483" y="12437"/>
                    <a:pt x="8491" y="7645"/>
                  </a:cubicBezTo>
                  <a:cubicBezTo>
                    <a:pt x="13679" y="2685"/>
                    <a:pt x="20800" y="-269"/>
                    <a:pt x="28546" y="19"/>
                  </a:cubicBezTo>
                  <a:cubicBezTo>
                    <a:pt x="31717" y="139"/>
                    <a:pt x="34743" y="776"/>
                    <a:pt x="37553" y="1869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305" name="Forma livre: Forma 1304">
              <a:extLst>
                <a:ext uri="{FF2B5EF4-FFF2-40B4-BE49-F238E27FC236}">
                  <a16:creationId xmlns:a16="http://schemas.microsoft.com/office/drawing/2014/main" id="{896DEB00-1277-16E3-E565-E58364117C02}"/>
                </a:ext>
              </a:extLst>
            </p:cNvPr>
            <p:cNvSpPr/>
            <p:nvPr/>
          </p:nvSpPr>
          <p:spPr>
            <a:xfrm>
              <a:off x="1964288" y="4910674"/>
              <a:ext cx="56612" cy="14968"/>
            </a:xfrm>
            <a:custGeom>
              <a:avLst/>
              <a:gdLst>
                <a:gd name="connsiteX0" fmla="*/ 0 w 56612"/>
                <a:gd name="connsiteY0" fmla="*/ 14236 h 14968"/>
                <a:gd name="connsiteX1" fmla="*/ 22205 w 56612"/>
                <a:gd name="connsiteY1" fmla="*/ 498 h 14968"/>
                <a:gd name="connsiteX2" fmla="*/ 48518 w 56612"/>
                <a:gd name="connsiteY2" fmla="*/ 6683 h 14968"/>
                <a:gd name="connsiteX3" fmla="*/ 56612 w 56612"/>
                <a:gd name="connsiteY3" fmla="*/ 14969 h 14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6612" h="14968">
                  <a:moveTo>
                    <a:pt x="0" y="14236"/>
                  </a:moveTo>
                  <a:cubicBezTo>
                    <a:pt x="5548" y="6647"/>
                    <a:pt x="13607" y="1963"/>
                    <a:pt x="22205" y="498"/>
                  </a:cubicBezTo>
                  <a:cubicBezTo>
                    <a:pt x="31128" y="-1027"/>
                    <a:pt x="40628" y="930"/>
                    <a:pt x="48518" y="6683"/>
                  </a:cubicBezTo>
                  <a:cubicBezTo>
                    <a:pt x="51748" y="9048"/>
                    <a:pt x="54451" y="11859"/>
                    <a:pt x="56612" y="14969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306" name="Forma livre: Forma 1305">
              <a:extLst>
                <a:ext uri="{FF2B5EF4-FFF2-40B4-BE49-F238E27FC236}">
                  <a16:creationId xmlns:a16="http://schemas.microsoft.com/office/drawing/2014/main" id="{4127CDA9-D3B7-7EF4-5644-2C936ABF61A0}"/>
                </a:ext>
              </a:extLst>
            </p:cNvPr>
            <p:cNvSpPr/>
            <p:nvPr/>
          </p:nvSpPr>
          <p:spPr>
            <a:xfrm>
              <a:off x="2133500" y="4862720"/>
              <a:ext cx="37169" cy="21850"/>
            </a:xfrm>
            <a:custGeom>
              <a:avLst/>
              <a:gdLst>
                <a:gd name="connsiteX0" fmla="*/ 0 w 37169"/>
                <a:gd name="connsiteY0" fmla="*/ 1158 h 21850"/>
                <a:gd name="connsiteX1" fmla="*/ 22493 w 37169"/>
                <a:gd name="connsiteY1" fmla="*/ 3608 h 21850"/>
                <a:gd name="connsiteX2" fmla="*/ 31549 w 37169"/>
                <a:gd name="connsiteY2" fmla="*/ 11066 h 21850"/>
                <a:gd name="connsiteX3" fmla="*/ 37169 w 37169"/>
                <a:gd name="connsiteY3" fmla="*/ 21851 h 218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7169" h="21850">
                  <a:moveTo>
                    <a:pt x="0" y="1158"/>
                  </a:moveTo>
                  <a:cubicBezTo>
                    <a:pt x="7830" y="-1075"/>
                    <a:pt x="15828" y="18"/>
                    <a:pt x="22493" y="3608"/>
                  </a:cubicBezTo>
                  <a:cubicBezTo>
                    <a:pt x="25952" y="5458"/>
                    <a:pt x="29039" y="7992"/>
                    <a:pt x="31549" y="11066"/>
                  </a:cubicBezTo>
                  <a:cubicBezTo>
                    <a:pt x="34059" y="14153"/>
                    <a:pt x="36004" y="17779"/>
                    <a:pt x="37169" y="21851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307" name="Gráfico 12">
            <a:extLst>
              <a:ext uri="{FF2B5EF4-FFF2-40B4-BE49-F238E27FC236}">
                <a16:creationId xmlns:a16="http://schemas.microsoft.com/office/drawing/2014/main" id="{649CA367-8136-261A-964C-F835B36249C6}"/>
              </a:ext>
            </a:extLst>
          </p:cNvPr>
          <p:cNvGrpSpPr/>
          <p:nvPr/>
        </p:nvGrpSpPr>
        <p:grpSpPr>
          <a:xfrm>
            <a:off x="2006970" y="5285947"/>
            <a:ext cx="165296" cy="298936"/>
            <a:chOff x="2006970" y="5285947"/>
            <a:chExt cx="165296" cy="298936"/>
          </a:xfrm>
          <a:noFill/>
        </p:grpSpPr>
        <p:grpSp>
          <p:nvGrpSpPr>
            <p:cNvPr id="1308" name="Gráfico 12">
              <a:extLst>
                <a:ext uri="{FF2B5EF4-FFF2-40B4-BE49-F238E27FC236}">
                  <a16:creationId xmlns:a16="http://schemas.microsoft.com/office/drawing/2014/main" id="{6EA2243A-29C9-A267-BD6B-C00D2E430667}"/>
                </a:ext>
              </a:extLst>
            </p:cNvPr>
            <p:cNvGrpSpPr/>
            <p:nvPr/>
          </p:nvGrpSpPr>
          <p:grpSpPr>
            <a:xfrm>
              <a:off x="2036597" y="5354232"/>
              <a:ext cx="106042" cy="111686"/>
              <a:chOff x="2036597" y="5354232"/>
              <a:chExt cx="106042" cy="111686"/>
            </a:xfrm>
            <a:noFill/>
          </p:grpSpPr>
          <p:grpSp>
            <p:nvGrpSpPr>
              <p:cNvPr id="1309" name="Gráfico 12">
                <a:extLst>
                  <a:ext uri="{FF2B5EF4-FFF2-40B4-BE49-F238E27FC236}">
                    <a16:creationId xmlns:a16="http://schemas.microsoft.com/office/drawing/2014/main" id="{700DC04F-3F98-5E2A-B456-F636CECD8104}"/>
                  </a:ext>
                </a:extLst>
              </p:cNvPr>
              <p:cNvGrpSpPr/>
              <p:nvPr/>
            </p:nvGrpSpPr>
            <p:grpSpPr>
              <a:xfrm>
                <a:off x="2036597" y="5354232"/>
                <a:ext cx="106042" cy="29627"/>
                <a:chOff x="2036597" y="5354232"/>
                <a:chExt cx="106042" cy="29627"/>
              </a:xfrm>
              <a:noFill/>
            </p:grpSpPr>
            <p:sp>
              <p:nvSpPr>
                <p:cNvPr id="1310" name="Forma livre: Forma 1309">
                  <a:extLst>
                    <a:ext uri="{FF2B5EF4-FFF2-40B4-BE49-F238E27FC236}">
                      <a16:creationId xmlns:a16="http://schemas.microsoft.com/office/drawing/2014/main" id="{AE0119B4-4189-8A19-5FAB-8007CD8CDD09}"/>
                    </a:ext>
                  </a:extLst>
                </p:cNvPr>
                <p:cNvSpPr/>
                <p:nvPr/>
              </p:nvSpPr>
              <p:spPr>
                <a:xfrm>
                  <a:off x="2036597" y="5354232"/>
                  <a:ext cx="29627" cy="29627"/>
                </a:xfrm>
                <a:custGeom>
                  <a:avLst/>
                  <a:gdLst>
                    <a:gd name="connsiteX0" fmla="*/ 0 w 29627"/>
                    <a:gd name="connsiteY0" fmla="*/ 0 h 29627"/>
                    <a:gd name="connsiteX1" fmla="*/ 29627 w 29627"/>
                    <a:gd name="connsiteY1" fmla="*/ 0 h 29627"/>
                    <a:gd name="connsiteX2" fmla="*/ 29627 w 29627"/>
                    <a:gd name="connsiteY2" fmla="*/ 29627 h 29627"/>
                    <a:gd name="connsiteX3" fmla="*/ 0 w 29627"/>
                    <a:gd name="connsiteY3" fmla="*/ 29627 h 2962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29627" h="29627">
                      <a:moveTo>
                        <a:pt x="0" y="0"/>
                      </a:moveTo>
                      <a:lnTo>
                        <a:pt x="29627" y="0"/>
                      </a:lnTo>
                      <a:lnTo>
                        <a:pt x="29627" y="29627"/>
                      </a:lnTo>
                      <a:lnTo>
                        <a:pt x="0" y="29627"/>
                      </a:lnTo>
                      <a:close/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311" name="Forma livre: Forma 1310">
                  <a:extLst>
                    <a:ext uri="{FF2B5EF4-FFF2-40B4-BE49-F238E27FC236}">
                      <a16:creationId xmlns:a16="http://schemas.microsoft.com/office/drawing/2014/main" id="{0967391A-CB39-3FCD-484C-121DD51C4E2F}"/>
                    </a:ext>
                  </a:extLst>
                </p:cNvPr>
                <p:cNvSpPr/>
                <p:nvPr/>
              </p:nvSpPr>
              <p:spPr>
                <a:xfrm>
                  <a:off x="2113012" y="5354232"/>
                  <a:ext cx="29627" cy="29627"/>
                </a:xfrm>
                <a:custGeom>
                  <a:avLst/>
                  <a:gdLst>
                    <a:gd name="connsiteX0" fmla="*/ 0 w 29627"/>
                    <a:gd name="connsiteY0" fmla="*/ 0 h 29627"/>
                    <a:gd name="connsiteX1" fmla="*/ 29627 w 29627"/>
                    <a:gd name="connsiteY1" fmla="*/ 0 h 29627"/>
                    <a:gd name="connsiteX2" fmla="*/ 29627 w 29627"/>
                    <a:gd name="connsiteY2" fmla="*/ 29627 h 29627"/>
                    <a:gd name="connsiteX3" fmla="*/ 0 w 29627"/>
                    <a:gd name="connsiteY3" fmla="*/ 29627 h 2962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29627" h="29627">
                      <a:moveTo>
                        <a:pt x="0" y="0"/>
                      </a:moveTo>
                      <a:lnTo>
                        <a:pt x="29627" y="0"/>
                      </a:lnTo>
                      <a:lnTo>
                        <a:pt x="29627" y="29627"/>
                      </a:lnTo>
                      <a:lnTo>
                        <a:pt x="0" y="29627"/>
                      </a:lnTo>
                      <a:close/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1312" name="Gráfico 12">
                <a:extLst>
                  <a:ext uri="{FF2B5EF4-FFF2-40B4-BE49-F238E27FC236}">
                    <a16:creationId xmlns:a16="http://schemas.microsoft.com/office/drawing/2014/main" id="{4A2EF984-D9AA-9086-BD31-3F3A222DAC86}"/>
                  </a:ext>
                </a:extLst>
              </p:cNvPr>
              <p:cNvGrpSpPr/>
              <p:nvPr/>
            </p:nvGrpSpPr>
            <p:grpSpPr>
              <a:xfrm>
                <a:off x="2036597" y="5430540"/>
                <a:ext cx="106042" cy="29627"/>
                <a:chOff x="2036597" y="5430540"/>
                <a:chExt cx="106042" cy="29627"/>
              </a:xfrm>
              <a:noFill/>
            </p:grpSpPr>
            <p:sp>
              <p:nvSpPr>
                <p:cNvPr id="1313" name="Forma livre: Forma 1312">
                  <a:extLst>
                    <a:ext uri="{FF2B5EF4-FFF2-40B4-BE49-F238E27FC236}">
                      <a16:creationId xmlns:a16="http://schemas.microsoft.com/office/drawing/2014/main" id="{D13F9514-01D8-FC71-E672-80A290B913B5}"/>
                    </a:ext>
                  </a:extLst>
                </p:cNvPr>
                <p:cNvSpPr/>
                <p:nvPr/>
              </p:nvSpPr>
              <p:spPr>
                <a:xfrm>
                  <a:off x="2036597" y="5430540"/>
                  <a:ext cx="29627" cy="29627"/>
                </a:xfrm>
                <a:custGeom>
                  <a:avLst/>
                  <a:gdLst>
                    <a:gd name="connsiteX0" fmla="*/ 0 w 29627"/>
                    <a:gd name="connsiteY0" fmla="*/ 0 h 29627"/>
                    <a:gd name="connsiteX1" fmla="*/ 29627 w 29627"/>
                    <a:gd name="connsiteY1" fmla="*/ 0 h 29627"/>
                    <a:gd name="connsiteX2" fmla="*/ 29627 w 29627"/>
                    <a:gd name="connsiteY2" fmla="*/ 29627 h 29627"/>
                    <a:gd name="connsiteX3" fmla="*/ 0 w 29627"/>
                    <a:gd name="connsiteY3" fmla="*/ 29627 h 2962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29627" h="29627">
                      <a:moveTo>
                        <a:pt x="0" y="0"/>
                      </a:moveTo>
                      <a:lnTo>
                        <a:pt x="29627" y="0"/>
                      </a:lnTo>
                      <a:lnTo>
                        <a:pt x="29627" y="29627"/>
                      </a:lnTo>
                      <a:lnTo>
                        <a:pt x="0" y="29627"/>
                      </a:lnTo>
                      <a:close/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314" name="Forma livre: Forma 1313">
                  <a:extLst>
                    <a:ext uri="{FF2B5EF4-FFF2-40B4-BE49-F238E27FC236}">
                      <a16:creationId xmlns:a16="http://schemas.microsoft.com/office/drawing/2014/main" id="{5CF8F386-6AA2-A50A-2BA0-EF527476B276}"/>
                    </a:ext>
                  </a:extLst>
                </p:cNvPr>
                <p:cNvSpPr/>
                <p:nvPr/>
              </p:nvSpPr>
              <p:spPr>
                <a:xfrm>
                  <a:off x="2113012" y="5430540"/>
                  <a:ext cx="29627" cy="29627"/>
                </a:xfrm>
                <a:custGeom>
                  <a:avLst/>
                  <a:gdLst>
                    <a:gd name="connsiteX0" fmla="*/ 0 w 29627"/>
                    <a:gd name="connsiteY0" fmla="*/ 0 h 29627"/>
                    <a:gd name="connsiteX1" fmla="*/ 29627 w 29627"/>
                    <a:gd name="connsiteY1" fmla="*/ 0 h 29627"/>
                    <a:gd name="connsiteX2" fmla="*/ 29627 w 29627"/>
                    <a:gd name="connsiteY2" fmla="*/ 29627 h 29627"/>
                    <a:gd name="connsiteX3" fmla="*/ 0 w 29627"/>
                    <a:gd name="connsiteY3" fmla="*/ 29627 h 2962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29627" h="29627">
                      <a:moveTo>
                        <a:pt x="0" y="0"/>
                      </a:moveTo>
                      <a:lnTo>
                        <a:pt x="29627" y="0"/>
                      </a:lnTo>
                      <a:lnTo>
                        <a:pt x="29627" y="29627"/>
                      </a:lnTo>
                      <a:lnTo>
                        <a:pt x="0" y="29627"/>
                      </a:lnTo>
                      <a:close/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1315" name="Forma livre: Forma 1314">
                <a:extLst>
                  <a:ext uri="{FF2B5EF4-FFF2-40B4-BE49-F238E27FC236}">
                    <a16:creationId xmlns:a16="http://schemas.microsoft.com/office/drawing/2014/main" id="{145B72BB-8AD8-D52B-E4BC-6D39C8DCF6B2}"/>
                  </a:ext>
                </a:extLst>
              </p:cNvPr>
              <p:cNvSpPr/>
              <p:nvPr/>
            </p:nvSpPr>
            <p:spPr>
              <a:xfrm>
                <a:off x="2089630" y="5354232"/>
                <a:ext cx="1200" cy="29627"/>
              </a:xfrm>
              <a:custGeom>
                <a:avLst/>
                <a:gdLst>
                  <a:gd name="connsiteX0" fmla="*/ 0 w 1200"/>
                  <a:gd name="connsiteY0" fmla="*/ 0 h 29627"/>
                  <a:gd name="connsiteX1" fmla="*/ 0 w 1200"/>
                  <a:gd name="connsiteY1" fmla="*/ 29627 h 296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00" h="29627">
                    <a:moveTo>
                      <a:pt x="0" y="0"/>
                    </a:moveTo>
                    <a:lnTo>
                      <a:pt x="0" y="29627"/>
                    </a:lnTo>
                  </a:path>
                </a:pathLst>
              </a:custGeom>
              <a:ln w="6350" cap="sq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316" name="Forma livre: Forma 1315">
                <a:extLst>
                  <a:ext uri="{FF2B5EF4-FFF2-40B4-BE49-F238E27FC236}">
                    <a16:creationId xmlns:a16="http://schemas.microsoft.com/office/drawing/2014/main" id="{3A44B6B9-B09E-C8AE-7780-83C19F9DC064}"/>
                  </a:ext>
                </a:extLst>
              </p:cNvPr>
              <p:cNvSpPr/>
              <p:nvPr/>
            </p:nvSpPr>
            <p:spPr>
              <a:xfrm>
                <a:off x="2089630" y="5449911"/>
                <a:ext cx="1200" cy="16008"/>
              </a:xfrm>
              <a:custGeom>
                <a:avLst/>
                <a:gdLst>
                  <a:gd name="connsiteX0" fmla="*/ 0 w 1200"/>
                  <a:gd name="connsiteY0" fmla="*/ 0 h 16008"/>
                  <a:gd name="connsiteX1" fmla="*/ 0 w 1200"/>
                  <a:gd name="connsiteY1" fmla="*/ 16008 h 160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00" h="16008">
                    <a:moveTo>
                      <a:pt x="0" y="0"/>
                    </a:moveTo>
                    <a:lnTo>
                      <a:pt x="0" y="16008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317" name="Forma livre: Forma 1316">
                <a:extLst>
                  <a:ext uri="{FF2B5EF4-FFF2-40B4-BE49-F238E27FC236}">
                    <a16:creationId xmlns:a16="http://schemas.microsoft.com/office/drawing/2014/main" id="{0BDC28A0-FD70-2B6A-BB05-AC39B3ADD9BC}"/>
                  </a:ext>
                </a:extLst>
              </p:cNvPr>
              <p:cNvSpPr/>
              <p:nvPr/>
            </p:nvSpPr>
            <p:spPr>
              <a:xfrm>
                <a:off x="2065479" y="5407194"/>
                <a:ext cx="24150" cy="32857"/>
              </a:xfrm>
              <a:custGeom>
                <a:avLst/>
                <a:gdLst>
                  <a:gd name="connsiteX0" fmla="*/ 0 w 24150"/>
                  <a:gd name="connsiteY0" fmla="*/ 0 h 32857"/>
                  <a:gd name="connsiteX1" fmla="*/ 24151 w 24150"/>
                  <a:gd name="connsiteY1" fmla="*/ 0 h 32857"/>
                  <a:gd name="connsiteX2" fmla="*/ 24151 w 24150"/>
                  <a:gd name="connsiteY2" fmla="*/ 32858 h 328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4150" h="32857">
                    <a:moveTo>
                      <a:pt x="0" y="0"/>
                    </a:moveTo>
                    <a:lnTo>
                      <a:pt x="24151" y="0"/>
                    </a:lnTo>
                    <a:lnTo>
                      <a:pt x="24151" y="32858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318" name="Forma livre: Forma 1317">
                <a:extLst>
                  <a:ext uri="{FF2B5EF4-FFF2-40B4-BE49-F238E27FC236}">
                    <a16:creationId xmlns:a16="http://schemas.microsoft.com/office/drawing/2014/main" id="{3644A6A2-6347-DCA4-1C41-04688CD2CA1C}"/>
                  </a:ext>
                </a:extLst>
              </p:cNvPr>
              <p:cNvSpPr/>
              <p:nvPr/>
            </p:nvSpPr>
            <p:spPr>
              <a:xfrm>
                <a:off x="2036597" y="5407194"/>
                <a:ext cx="11649" cy="1200"/>
              </a:xfrm>
              <a:custGeom>
                <a:avLst/>
                <a:gdLst>
                  <a:gd name="connsiteX0" fmla="*/ 0 w 11649"/>
                  <a:gd name="connsiteY0" fmla="*/ 0 h 1200"/>
                  <a:gd name="connsiteX1" fmla="*/ 11649 w 11649"/>
                  <a:gd name="connsiteY1" fmla="*/ 0 h 12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649" h="1200">
                    <a:moveTo>
                      <a:pt x="0" y="0"/>
                    </a:moveTo>
                    <a:lnTo>
                      <a:pt x="11649" y="0"/>
                    </a:lnTo>
                  </a:path>
                </a:pathLst>
              </a:custGeom>
              <a:ln w="6350" cap="sq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319" name="Forma livre: Forma 1318">
                <a:extLst>
                  <a:ext uri="{FF2B5EF4-FFF2-40B4-BE49-F238E27FC236}">
                    <a16:creationId xmlns:a16="http://schemas.microsoft.com/office/drawing/2014/main" id="{EA09CD75-8095-E05F-7369-F0BF8CCACF6F}"/>
                  </a:ext>
                </a:extLst>
              </p:cNvPr>
              <p:cNvSpPr/>
              <p:nvPr/>
            </p:nvSpPr>
            <p:spPr>
              <a:xfrm>
                <a:off x="2113012" y="5407194"/>
                <a:ext cx="29627" cy="1200"/>
              </a:xfrm>
              <a:custGeom>
                <a:avLst/>
                <a:gdLst>
                  <a:gd name="connsiteX0" fmla="*/ 0 w 29627"/>
                  <a:gd name="connsiteY0" fmla="*/ 0 h 1200"/>
                  <a:gd name="connsiteX1" fmla="*/ 29627 w 29627"/>
                  <a:gd name="connsiteY1" fmla="*/ 0 h 12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9627" h="1200">
                    <a:moveTo>
                      <a:pt x="0" y="0"/>
                    </a:moveTo>
                    <a:lnTo>
                      <a:pt x="29627" y="0"/>
                    </a:lnTo>
                  </a:path>
                </a:pathLst>
              </a:custGeom>
              <a:ln w="6350" cap="sq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320" name="Gráfico 12">
              <a:extLst>
                <a:ext uri="{FF2B5EF4-FFF2-40B4-BE49-F238E27FC236}">
                  <a16:creationId xmlns:a16="http://schemas.microsoft.com/office/drawing/2014/main" id="{9D4F9BDC-E647-3DBA-5217-C5EB8F23133B}"/>
                </a:ext>
              </a:extLst>
            </p:cNvPr>
            <p:cNvGrpSpPr/>
            <p:nvPr/>
          </p:nvGrpSpPr>
          <p:grpSpPr>
            <a:xfrm>
              <a:off x="2006970" y="5285947"/>
              <a:ext cx="165296" cy="298936"/>
              <a:chOff x="2006970" y="5285947"/>
              <a:chExt cx="165296" cy="298936"/>
            </a:xfrm>
            <a:noFill/>
          </p:grpSpPr>
          <p:sp>
            <p:nvSpPr>
              <p:cNvPr id="1321" name="Forma livre: Forma 1320">
                <a:extLst>
                  <a:ext uri="{FF2B5EF4-FFF2-40B4-BE49-F238E27FC236}">
                    <a16:creationId xmlns:a16="http://schemas.microsoft.com/office/drawing/2014/main" id="{28CEA276-5E59-7F60-F6BC-33CF9EDEDE50}"/>
                  </a:ext>
                </a:extLst>
              </p:cNvPr>
              <p:cNvSpPr/>
              <p:nvPr/>
            </p:nvSpPr>
            <p:spPr>
              <a:xfrm>
                <a:off x="2006970" y="5285947"/>
                <a:ext cx="165296" cy="298936"/>
              </a:xfrm>
              <a:custGeom>
                <a:avLst/>
                <a:gdLst>
                  <a:gd name="connsiteX0" fmla="*/ 165297 w 165296"/>
                  <a:gd name="connsiteY0" fmla="*/ 284982 h 298936"/>
                  <a:gd name="connsiteX1" fmla="*/ 151762 w 165296"/>
                  <a:gd name="connsiteY1" fmla="*/ 298937 h 298936"/>
                  <a:gd name="connsiteX2" fmla="*/ 13523 w 165296"/>
                  <a:gd name="connsiteY2" fmla="*/ 298937 h 298936"/>
                  <a:gd name="connsiteX3" fmla="*/ 0 w 165296"/>
                  <a:gd name="connsiteY3" fmla="*/ 284982 h 298936"/>
                  <a:gd name="connsiteX4" fmla="*/ 0 w 165296"/>
                  <a:gd name="connsiteY4" fmla="*/ 13535 h 298936"/>
                  <a:gd name="connsiteX5" fmla="*/ 13523 w 165296"/>
                  <a:gd name="connsiteY5" fmla="*/ 0 h 298936"/>
                  <a:gd name="connsiteX6" fmla="*/ 151762 w 165296"/>
                  <a:gd name="connsiteY6" fmla="*/ 0 h 298936"/>
                  <a:gd name="connsiteX7" fmla="*/ 165297 w 165296"/>
                  <a:gd name="connsiteY7" fmla="*/ 13535 h 298936"/>
                  <a:gd name="connsiteX8" fmla="*/ 165297 w 165296"/>
                  <a:gd name="connsiteY8" fmla="*/ 284982 h 2989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65296" h="298936">
                    <a:moveTo>
                      <a:pt x="165297" y="284982"/>
                    </a:moveTo>
                    <a:cubicBezTo>
                      <a:pt x="165297" y="292428"/>
                      <a:pt x="159208" y="298937"/>
                      <a:pt x="151762" y="298937"/>
                    </a:cubicBezTo>
                    <a:lnTo>
                      <a:pt x="13523" y="298937"/>
                    </a:lnTo>
                    <a:cubicBezTo>
                      <a:pt x="6077" y="298937"/>
                      <a:pt x="0" y="292428"/>
                      <a:pt x="0" y="284982"/>
                    </a:cubicBezTo>
                    <a:lnTo>
                      <a:pt x="0" y="13535"/>
                    </a:lnTo>
                    <a:cubicBezTo>
                      <a:pt x="0" y="6089"/>
                      <a:pt x="6077" y="0"/>
                      <a:pt x="13523" y="0"/>
                    </a:cubicBezTo>
                    <a:lnTo>
                      <a:pt x="151762" y="0"/>
                    </a:lnTo>
                    <a:cubicBezTo>
                      <a:pt x="159208" y="0"/>
                      <a:pt x="165297" y="6077"/>
                      <a:pt x="165297" y="13535"/>
                    </a:cubicBezTo>
                    <a:lnTo>
                      <a:pt x="165297" y="284982"/>
                    </a:ln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322" name="Forma livre: Forma 1321">
                <a:extLst>
                  <a:ext uri="{FF2B5EF4-FFF2-40B4-BE49-F238E27FC236}">
                    <a16:creationId xmlns:a16="http://schemas.microsoft.com/office/drawing/2014/main" id="{98DEB09A-49ED-DE79-55BE-82E8348D9DE7}"/>
                  </a:ext>
                </a:extLst>
              </p:cNvPr>
              <p:cNvSpPr/>
              <p:nvPr/>
            </p:nvSpPr>
            <p:spPr>
              <a:xfrm>
                <a:off x="2027061" y="5525894"/>
                <a:ext cx="125065" cy="1200"/>
              </a:xfrm>
              <a:custGeom>
                <a:avLst/>
                <a:gdLst>
                  <a:gd name="connsiteX0" fmla="*/ 0 w 125065"/>
                  <a:gd name="connsiteY0" fmla="*/ 0 h 1200"/>
                  <a:gd name="connsiteX1" fmla="*/ 125065 w 125065"/>
                  <a:gd name="connsiteY1" fmla="*/ 0 h 12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5065" h="1200">
                    <a:moveTo>
                      <a:pt x="0" y="0"/>
                    </a:moveTo>
                    <a:lnTo>
                      <a:pt x="125065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323" name="Forma livre: Forma 1322">
                <a:extLst>
                  <a:ext uri="{FF2B5EF4-FFF2-40B4-BE49-F238E27FC236}">
                    <a16:creationId xmlns:a16="http://schemas.microsoft.com/office/drawing/2014/main" id="{9AC79AFA-D3DB-24EB-33AF-EE62402E48A1}"/>
                  </a:ext>
                </a:extLst>
              </p:cNvPr>
              <p:cNvSpPr/>
              <p:nvPr/>
            </p:nvSpPr>
            <p:spPr>
              <a:xfrm>
                <a:off x="2078389" y="5554548"/>
                <a:ext cx="22469" cy="1200"/>
              </a:xfrm>
              <a:custGeom>
                <a:avLst/>
                <a:gdLst>
                  <a:gd name="connsiteX0" fmla="*/ 0 w 22469"/>
                  <a:gd name="connsiteY0" fmla="*/ 0 h 1200"/>
                  <a:gd name="connsiteX1" fmla="*/ 22470 w 22469"/>
                  <a:gd name="connsiteY1" fmla="*/ 0 h 12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2469" h="1200">
                    <a:moveTo>
                      <a:pt x="0" y="0"/>
                    </a:moveTo>
                    <a:lnTo>
                      <a:pt x="2247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324" name="Gráfico 12">
            <a:extLst>
              <a:ext uri="{FF2B5EF4-FFF2-40B4-BE49-F238E27FC236}">
                <a16:creationId xmlns:a16="http://schemas.microsoft.com/office/drawing/2014/main" id="{BD301443-E48F-CEE2-E939-48F1FBA20C1C}"/>
              </a:ext>
            </a:extLst>
          </p:cNvPr>
          <p:cNvGrpSpPr/>
          <p:nvPr/>
        </p:nvGrpSpPr>
        <p:grpSpPr>
          <a:xfrm>
            <a:off x="1924844" y="3667574"/>
            <a:ext cx="329547" cy="329559"/>
            <a:chOff x="1924844" y="3667574"/>
            <a:chExt cx="329547" cy="329559"/>
          </a:xfrm>
          <a:noFill/>
        </p:grpSpPr>
        <p:grpSp>
          <p:nvGrpSpPr>
            <p:cNvPr id="1325" name="Gráfico 12">
              <a:extLst>
                <a:ext uri="{FF2B5EF4-FFF2-40B4-BE49-F238E27FC236}">
                  <a16:creationId xmlns:a16="http://schemas.microsoft.com/office/drawing/2014/main" id="{00F49FA3-E1FA-8FBE-0AAA-12687697A091}"/>
                </a:ext>
              </a:extLst>
            </p:cNvPr>
            <p:cNvGrpSpPr/>
            <p:nvPr/>
          </p:nvGrpSpPr>
          <p:grpSpPr>
            <a:xfrm>
              <a:off x="1924844" y="3667574"/>
              <a:ext cx="329547" cy="329559"/>
              <a:chOff x="1924844" y="3667574"/>
              <a:chExt cx="329547" cy="329559"/>
            </a:xfrm>
            <a:noFill/>
          </p:grpSpPr>
          <p:grpSp>
            <p:nvGrpSpPr>
              <p:cNvPr id="1326" name="Gráfico 12">
                <a:extLst>
                  <a:ext uri="{FF2B5EF4-FFF2-40B4-BE49-F238E27FC236}">
                    <a16:creationId xmlns:a16="http://schemas.microsoft.com/office/drawing/2014/main" id="{238D32DB-59EF-59AE-2FD2-3403C50A4977}"/>
                  </a:ext>
                </a:extLst>
              </p:cNvPr>
              <p:cNvGrpSpPr/>
              <p:nvPr/>
            </p:nvGrpSpPr>
            <p:grpSpPr>
              <a:xfrm>
                <a:off x="2028638" y="3667574"/>
                <a:ext cx="121959" cy="329559"/>
                <a:chOff x="2028638" y="3667574"/>
                <a:chExt cx="121959" cy="329559"/>
              </a:xfrm>
              <a:noFill/>
            </p:grpSpPr>
            <p:sp>
              <p:nvSpPr>
                <p:cNvPr id="1327" name="Forma livre: Forma 1326">
                  <a:extLst>
                    <a:ext uri="{FF2B5EF4-FFF2-40B4-BE49-F238E27FC236}">
                      <a16:creationId xmlns:a16="http://schemas.microsoft.com/office/drawing/2014/main" id="{46FCF671-A0EE-49CD-F18B-88836D6E69E5}"/>
                    </a:ext>
                  </a:extLst>
                </p:cNvPr>
                <p:cNvSpPr/>
                <p:nvPr/>
              </p:nvSpPr>
              <p:spPr>
                <a:xfrm>
                  <a:off x="2028638" y="3667574"/>
                  <a:ext cx="59742" cy="89739"/>
                </a:xfrm>
                <a:custGeom>
                  <a:avLst/>
                  <a:gdLst>
                    <a:gd name="connsiteX0" fmla="*/ 59743 w 59742"/>
                    <a:gd name="connsiteY0" fmla="*/ 81885 h 89739"/>
                    <a:gd name="connsiteX1" fmla="*/ 52849 w 59742"/>
                    <a:gd name="connsiteY1" fmla="*/ 15978 h 89739"/>
                    <a:gd name="connsiteX2" fmla="*/ 53234 w 59742"/>
                    <a:gd name="connsiteY2" fmla="*/ 10334 h 89739"/>
                    <a:gd name="connsiteX3" fmla="*/ 23210 w 59742"/>
                    <a:gd name="connsiteY3" fmla="*/ 1182 h 89739"/>
                    <a:gd name="connsiteX4" fmla="*/ 236 w 59742"/>
                    <a:gd name="connsiteY4" fmla="*/ 22571 h 89739"/>
                    <a:gd name="connsiteX5" fmla="*/ 3058 w 59742"/>
                    <a:gd name="connsiteY5" fmla="*/ 27483 h 89739"/>
                    <a:gd name="connsiteX6" fmla="*/ 25756 w 59742"/>
                    <a:gd name="connsiteY6" fmla="*/ 89739 h 8973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59742" h="89739">
                      <a:moveTo>
                        <a:pt x="59743" y="81885"/>
                      </a:moveTo>
                      <a:cubicBezTo>
                        <a:pt x="59743" y="81885"/>
                        <a:pt x="42629" y="51766"/>
                        <a:pt x="52849" y="15978"/>
                      </a:cubicBezTo>
                      <a:cubicBezTo>
                        <a:pt x="53390" y="14104"/>
                        <a:pt x="53642" y="12147"/>
                        <a:pt x="53234" y="10334"/>
                      </a:cubicBezTo>
                      <a:cubicBezTo>
                        <a:pt x="51288" y="1903"/>
                        <a:pt x="37850" y="-2192"/>
                        <a:pt x="23210" y="1182"/>
                      </a:cubicBezTo>
                      <a:cubicBezTo>
                        <a:pt x="8571" y="4557"/>
                        <a:pt x="-1709" y="14140"/>
                        <a:pt x="236" y="22571"/>
                      </a:cubicBezTo>
                      <a:cubicBezTo>
                        <a:pt x="657" y="24384"/>
                        <a:pt x="1750" y="26030"/>
                        <a:pt x="3058" y="27483"/>
                      </a:cubicBezTo>
                      <a:cubicBezTo>
                        <a:pt x="27930" y="55164"/>
                        <a:pt x="25756" y="89739"/>
                        <a:pt x="25756" y="89739"/>
                      </a:cubicBez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328" name="Forma livre: Forma 1327">
                  <a:extLst>
                    <a:ext uri="{FF2B5EF4-FFF2-40B4-BE49-F238E27FC236}">
                      <a16:creationId xmlns:a16="http://schemas.microsoft.com/office/drawing/2014/main" id="{3C5DF3FB-BA26-8AF8-7355-916EE7CA0AB8}"/>
                    </a:ext>
                  </a:extLst>
                </p:cNvPr>
                <p:cNvSpPr/>
                <p:nvPr/>
              </p:nvSpPr>
              <p:spPr>
                <a:xfrm>
                  <a:off x="2090855" y="3907406"/>
                  <a:ext cx="59742" cy="89727"/>
                </a:xfrm>
                <a:custGeom>
                  <a:avLst/>
                  <a:gdLst>
                    <a:gd name="connsiteX0" fmla="*/ 0 w 59742"/>
                    <a:gd name="connsiteY0" fmla="*/ 7842 h 89727"/>
                    <a:gd name="connsiteX1" fmla="*/ 6893 w 59742"/>
                    <a:gd name="connsiteY1" fmla="*/ 73749 h 89727"/>
                    <a:gd name="connsiteX2" fmla="*/ 6509 w 59742"/>
                    <a:gd name="connsiteY2" fmla="*/ 79394 h 89727"/>
                    <a:gd name="connsiteX3" fmla="*/ 36533 w 59742"/>
                    <a:gd name="connsiteY3" fmla="*/ 88545 h 89727"/>
                    <a:gd name="connsiteX4" fmla="*/ 59506 w 59742"/>
                    <a:gd name="connsiteY4" fmla="*/ 67168 h 89727"/>
                    <a:gd name="connsiteX5" fmla="*/ 56684 w 59742"/>
                    <a:gd name="connsiteY5" fmla="*/ 62256 h 89727"/>
                    <a:gd name="connsiteX6" fmla="*/ 33987 w 59742"/>
                    <a:gd name="connsiteY6" fmla="*/ 0 h 8972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59742" h="89727">
                      <a:moveTo>
                        <a:pt x="0" y="7842"/>
                      </a:moveTo>
                      <a:cubicBezTo>
                        <a:pt x="0" y="7842"/>
                        <a:pt x="17113" y="37962"/>
                        <a:pt x="6893" y="73749"/>
                      </a:cubicBezTo>
                      <a:cubicBezTo>
                        <a:pt x="6353" y="75623"/>
                        <a:pt x="6089" y="77580"/>
                        <a:pt x="6509" y="79394"/>
                      </a:cubicBezTo>
                      <a:cubicBezTo>
                        <a:pt x="8455" y="87824"/>
                        <a:pt x="21905" y="91920"/>
                        <a:pt x="36533" y="88545"/>
                      </a:cubicBezTo>
                      <a:cubicBezTo>
                        <a:pt x="51160" y="85170"/>
                        <a:pt x="61452" y="75587"/>
                        <a:pt x="59506" y="67168"/>
                      </a:cubicBezTo>
                      <a:cubicBezTo>
                        <a:pt x="59086" y="65355"/>
                        <a:pt x="57993" y="63710"/>
                        <a:pt x="56684" y="62256"/>
                      </a:cubicBezTo>
                      <a:cubicBezTo>
                        <a:pt x="31813" y="34575"/>
                        <a:pt x="33987" y="0"/>
                        <a:pt x="33987" y="0"/>
                      </a:cubicBez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1329" name="Gráfico 12">
                <a:extLst>
                  <a:ext uri="{FF2B5EF4-FFF2-40B4-BE49-F238E27FC236}">
                    <a16:creationId xmlns:a16="http://schemas.microsoft.com/office/drawing/2014/main" id="{F475D130-2A75-A54D-AE0F-622CC48B0890}"/>
                  </a:ext>
                </a:extLst>
              </p:cNvPr>
              <p:cNvGrpSpPr/>
              <p:nvPr/>
            </p:nvGrpSpPr>
            <p:grpSpPr>
              <a:xfrm>
                <a:off x="1924844" y="3771380"/>
                <a:ext cx="329547" cy="121958"/>
                <a:chOff x="1924844" y="3771380"/>
                <a:chExt cx="329547" cy="121958"/>
              </a:xfrm>
              <a:noFill/>
            </p:grpSpPr>
            <p:sp>
              <p:nvSpPr>
                <p:cNvPr id="1330" name="Forma livre: Forma 1329">
                  <a:extLst>
                    <a:ext uri="{FF2B5EF4-FFF2-40B4-BE49-F238E27FC236}">
                      <a16:creationId xmlns:a16="http://schemas.microsoft.com/office/drawing/2014/main" id="{7EB2BCD2-C769-7A95-6DC4-B8EC45FB5FC2}"/>
                    </a:ext>
                  </a:extLst>
                </p:cNvPr>
                <p:cNvSpPr/>
                <p:nvPr/>
              </p:nvSpPr>
              <p:spPr>
                <a:xfrm>
                  <a:off x="2164665" y="3771380"/>
                  <a:ext cx="89727" cy="59742"/>
                </a:xfrm>
                <a:custGeom>
                  <a:avLst/>
                  <a:gdLst>
                    <a:gd name="connsiteX0" fmla="*/ 7842 w 89727"/>
                    <a:gd name="connsiteY0" fmla="*/ 59742 h 59742"/>
                    <a:gd name="connsiteX1" fmla="*/ 73749 w 89727"/>
                    <a:gd name="connsiteY1" fmla="*/ 52849 h 59742"/>
                    <a:gd name="connsiteX2" fmla="*/ 79394 w 89727"/>
                    <a:gd name="connsiteY2" fmla="*/ 53233 h 59742"/>
                    <a:gd name="connsiteX3" fmla="*/ 88545 w 89727"/>
                    <a:gd name="connsiteY3" fmla="*/ 23210 h 59742"/>
                    <a:gd name="connsiteX4" fmla="*/ 67168 w 89727"/>
                    <a:gd name="connsiteY4" fmla="*/ 236 h 59742"/>
                    <a:gd name="connsiteX5" fmla="*/ 62256 w 89727"/>
                    <a:gd name="connsiteY5" fmla="*/ 3058 h 59742"/>
                    <a:gd name="connsiteX6" fmla="*/ 0 w 89727"/>
                    <a:gd name="connsiteY6" fmla="*/ 25756 h 5974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89727" h="59742">
                      <a:moveTo>
                        <a:pt x="7842" y="59742"/>
                      </a:moveTo>
                      <a:cubicBezTo>
                        <a:pt x="7842" y="59742"/>
                        <a:pt x="37962" y="42629"/>
                        <a:pt x="73749" y="52849"/>
                      </a:cubicBezTo>
                      <a:cubicBezTo>
                        <a:pt x="75623" y="53389"/>
                        <a:pt x="77580" y="53642"/>
                        <a:pt x="79394" y="53233"/>
                      </a:cubicBezTo>
                      <a:cubicBezTo>
                        <a:pt x="87824" y="51288"/>
                        <a:pt x="91919" y="37849"/>
                        <a:pt x="88545" y="23210"/>
                      </a:cubicBezTo>
                      <a:cubicBezTo>
                        <a:pt x="85170" y="8583"/>
                        <a:pt x="75587" y="-1709"/>
                        <a:pt x="67168" y="236"/>
                      </a:cubicBezTo>
                      <a:cubicBezTo>
                        <a:pt x="65355" y="656"/>
                        <a:pt x="63710" y="1761"/>
                        <a:pt x="62256" y="3058"/>
                      </a:cubicBezTo>
                      <a:cubicBezTo>
                        <a:pt x="34575" y="27930"/>
                        <a:pt x="0" y="25756"/>
                        <a:pt x="0" y="25756"/>
                      </a:cubicBez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331" name="Forma livre: Forma 1330">
                  <a:extLst>
                    <a:ext uri="{FF2B5EF4-FFF2-40B4-BE49-F238E27FC236}">
                      <a16:creationId xmlns:a16="http://schemas.microsoft.com/office/drawing/2014/main" id="{07992B5A-E1AA-6C94-AC06-2BC55EF453F6}"/>
                    </a:ext>
                  </a:extLst>
                </p:cNvPr>
                <p:cNvSpPr/>
                <p:nvPr/>
              </p:nvSpPr>
              <p:spPr>
                <a:xfrm>
                  <a:off x="1924844" y="3833596"/>
                  <a:ext cx="89739" cy="59742"/>
                </a:xfrm>
                <a:custGeom>
                  <a:avLst/>
                  <a:gdLst>
                    <a:gd name="connsiteX0" fmla="*/ 81885 w 89739"/>
                    <a:gd name="connsiteY0" fmla="*/ 0 h 59742"/>
                    <a:gd name="connsiteX1" fmla="*/ 15978 w 89739"/>
                    <a:gd name="connsiteY1" fmla="*/ 6893 h 59742"/>
                    <a:gd name="connsiteX2" fmla="*/ 10333 w 89739"/>
                    <a:gd name="connsiteY2" fmla="*/ 6509 h 59742"/>
                    <a:gd name="connsiteX3" fmla="*/ 1182 w 89739"/>
                    <a:gd name="connsiteY3" fmla="*/ 36532 h 59742"/>
                    <a:gd name="connsiteX4" fmla="*/ 22571 w 89739"/>
                    <a:gd name="connsiteY4" fmla="*/ 59506 h 59742"/>
                    <a:gd name="connsiteX5" fmla="*/ 27483 w 89739"/>
                    <a:gd name="connsiteY5" fmla="*/ 56684 h 59742"/>
                    <a:gd name="connsiteX6" fmla="*/ 89739 w 89739"/>
                    <a:gd name="connsiteY6" fmla="*/ 33986 h 5974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89739" h="59742">
                      <a:moveTo>
                        <a:pt x="81885" y="0"/>
                      </a:moveTo>
                      <a:cubicBezTo>
                        <a:pt x="81885" y="0"/>
                        <a:pt x="51766" y="17113"/>
                        <a:pt x="15978" y="6893"/>
                      </a:cubicBezTo>
                      <a:cubicBezTo>
                        <a:pt x="14104" y="6353"/>
                        <a:pt x="12147" y="6089"/>
                        <a:pt x="10333" y="6509"/>
                      </a:cubicBezTo>
                      <a:cubicBezTo>
                        <a:pt x="1903" y="8455"/>
                        <a:pt x="-2192" y="21905"/>
                        <a:pt x="1182" y="36532"/>
                      </a:cubicBezTo>
                      <a:cubicBezTo>
                        <a:pt x="4569" y="51160"/>
                        <a:pt x="14140" y="61452"/>
                        <a:pt x="22571" y="59506"/>
                      </a:cubicBezTo>
                      <a:cubicBezTo>
                        <a:pt x="24385" y="59086"/>
                        <a:pt x="26030" y="57993"/>
                        <a:pt x="27483" y="56684"/>
                      </a:cubicBezTo>
                      <a:cubicBezTo>
                        <a:pt x="55164" y="31813"/>
                        <a:pt x="89739" y="33986"/>
                        <a:pt x="89739" y="33986"/>
                      </a:cubicBez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1332" name="Forma livre: Forma 1331">
                <a:extLst>
                  <a:ext uri="{FF2B5EF4-FFF2-40B4-BE49-F238E27FC236}">
                    <a16:creationId xmlns:a16="http://schemas.microsoft.com/office/drawing/2014/main" id="{0BBEBA1D-7BC7-3870-8260-2B54EE83174F}"/>
                  </a:ext>
                </a:extLst>
              </p:cNvPr>
              <p:cNvSpPr/>
              <p:nvPr/>
            </p:nvSpPr>
            <p:spPr>
              <a:xfrm>
                <a:off x="1945103" y="3731757"/>
                <a:ext cx="83327" cy="108840"/>
              </a:xfrm>
              <a:custGeom>
                <a:avLst/>
                <a:gdLst>
                  <a:gd name="connsiteX0" fmla="*/ 83327 w 83327"/>
                  <a:gd name="connsiteY0" fmla="*/ 11181 h 108840"/>
                  <a:gd name="connsiteX1" fmla="*/ 59909 w 83327"/>
                  <a:gd name="connsiteY1" fmla="*/ 33146 h 108840"/>
                  <a:gd name="connsiteX2" fmla="*/ 30306 w 83327"/>
                  <a:gd name="connsiteY2" fmla="*/ 4647 h 108840"/>
                  <a:gd name="connsiteX3" fmla="*/ 27280 w 83327"/>
                  <a:gd name="connsiteY3" fmla="*/ 1201 h 108840"/>
                  <a:gd name="connsiteX4" fmla="*/ 4978 w 83327"/>
                  <a:gd name="connsiteY4" fmla="*/ 12862 h 108840"/>
                  <a:gd name="connsiteX5" fmla="*/ 4270 w 83327"/>
                  <a:gd name="connsiteY5" fmla="*/ 38009 h 108840"/>
                  <a:gd name="connsiteX6" fmla="*/ 8701 w 83327"/>
                  <a:gd name="connsiteY6" fmla="*/ 39234 h 108840"/>
                  <a:gd name="connsiteX7" fmla="*/ 47287 w 83327"/>
                  <a:gd name="connsiteY7" fmla="*/ 53333 h 108840"/>
                  <a:gd name="connsiteX8" fmla="*/ 36959 w 83327"/>
                  <a:gd name="connsiteY8" fmla="*/ 108841 h 1088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83327" h="108840">
                    <a:moveTo>
                      <a:pt x="83327" y="11181"/>
                    </a:moveTo>
                    <a:cubicBezTo>
                      <a:pt x="74392" y="17329"/>
                      <a:pt x="66538" y="24775"/>
                      <a:pt x="59909" y="33146"/>
                    </a:cubicBezTo>
                    <a:cubicBezTo>
                      <a:pt x="50830" y="28222"/>
                      <a:pt x="38641" y="19383"/>
                      <a:pt x="30306" y="4647"/>
                    </a:cubicBezTo>
                    <a:cubicBezTo>
                      <a:pt x="29537" y="3278"/>
                      <a:pt x="28553" y="2005"/>
                      <a:pt x="27280" y="1201"/>
                    </a:cubicBezTo>
                    <a:cubicBezTo>
                      <a:pt x="21311" y="-2522"/>
                      <a:pt x="11319" y="2702"/>
                      <a:pt x="4978" y="12862"/>
                    </a:cubicBezTo>
                    <a:cubicBezTo>
                      <a:pt x="-1375" y="23022"/>
                      <a:pt x="-1687" y="34287"/>
                      <a:pt x="4270" y="38009"/>
                    </a:cubicBezTo>
                    <a:cubicBezTo>
                      <a:pt x="5555" y="38802"/>
                      <a:pt x="7128" y="39126"/>
                      <a:pt x="8701" y="39234"/>
                    </a:cubicBezTo>
                    <a:cubicBezTo>
                      <a:pt x="25574" y="40255"/>
                      <a:pt x="38869" y="47329"/>
                      <a:pt x="47287" y="53333"/>
                    </a:cubicBezTo>
                    <a:cubicBezTo>
                      <a:pt x="39157" y="70219"/>
                      <a:pt x="35326" y="89289"/>
                      <a:pt x="36959" y="108841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333" name="Forma livre: Forma 1332">
                <a:extLst>
                  <a:ext uri="{FF2B5EF4-FFF2-40B4-BE49-F238E27FC236}">
                    <a16:creationId xmlns:a16="http://schemas.microsoft.com/office/drawing/2014/main" id="{58AAD8F0-7D0F-1AFD-E910-B2B45667A2D1}"/>
                  </a:ext>
                </a:extLst>
              </p:cNvPr>
              <p:cNvSpPr/>
              <p:nvPr/>
            </p:nvSpPr>
            <p:spPr>
              <a:xfrm>
                <a:off x="1989604" y="3891734"/>
                <a:ext cx="107591" cy="84179"/>
              </a:xfrm>
              <a:custGeom>
                <a:avLst/>
                <a:gdLst>
                  <a:gd name="connsiteX0" fmla="*/ 10304 w 107591"/>
                  <a:gd name="connsiteY0" fmla="*/ 0 h 84179"/>
                  <a:gd name="connsiteX1" fmla="*/ 33014 w 107591"/>
                  <a:gd name="connsiteY1" fmla="*/ 24499 h 84179"/>
                  <a:gd name="connsiteX2" fmla="*/ 4647 w 107591"/>
                  <a:gd name="connsiteY2" fmla="*/ 53874 h 84179"/>
                  <a:gd name="connsiteX3" fmla="*/ 1201 w 107591"/>
                  <a:gd name="connsiteY3" fmla="*/ 56900 h 84179"/>
                  <a:gd name="connsiteX4" fmla="*/ 12862 w 107591"/>
                  <a:gd name="connsiteY4" fmla="*/ 79202 h 84179"/>
                  <a:gd name="connsiteX5" fmla="*/ 38021 w 107591"/>
                  <a:gd name="connsiteY5" fmla="*/ 79910 h 84179"/>
                  <a:gd name="connsiteX6" fmla="*/ 39246 w 107591"/>
                  <a:gd name="connsiteY6" fmla="*/ 75491 h 84179"/>
                  <a:gd name="connsiteX7" fmla="*/ 53225 w 107591"/>
                  <a:gd name="connsiteY7" fmla="*/ 37097 h 84179"/>
                  <a:gd name="connsiteX8" fmla="*/ 107592 w 107591"/>
                  <a:gd name="connsiteY8" fmla="*/ 47533 h 841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07591" h="84179">
                    <a:moveTo>
                      <a:pt x="10304" y="0"/>
                    </a:moveTo>
                    <a:cubicBezTo>
                      <a:pt x="16609" y="9379"/>
                      <a:pt x="24295" y="17606"/>
                      <a:pt x="33014" y="24499"/>
                    </a:cubicBezTo>
                    <a:cubicBezTo>
                      <a:pt x="28066" y="33554"/>
                      <a:pt x="19251" y="45612"/>
                      <a:pt x="4647" y="53874"/>
                    </a:cubicBezTo>
                    <a:cubicBezTo>
                      <a:pt x="3278" y="54643"/>
                      <a:pt x="2005" y="55627"/>
                      <a:pt x="1201" y="56900"/>
                    </a:cubicBezTo>
                    <a:cubicBezTo>
                      <a:pt x="-2522" y="62869"/>
                      <a:pt x="2702" y="72861"/>
                      <a:pt x="12862" y="79202"/>
                    </a:cubicBezTo>
                    <a:cubicBezTo>
                      <a:pt x="23022" y="85555"/>
                      <a:pt x="34286" y="85867"/>
                      <a:pt x="38021" y="79910"/>
                    </a:cubicBezTo>
                    <a:cubicBezTo>
                      <a:pt x="38814" y="78625"/>
                      <a:pt x="39138" y="77052"/>
                      <a:pt x="39246" y="75491"/>
                    </a:cubicBezTo>
                    <a:cubicBezTo>
                      <a:pt x="40267" y="58726"/>
                      <a:pt x="47245" y="45515"/>
                      <a:pt x="53225" y="37097"/>
                    </a:cubicBezTo>
                    <a:cubicBezTo>
                      <a:pt x="69786" y="45071"/>
                      <a:pt x="88425" y="48938"/>
                      <a:pt x="107592" y="47533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334" name="Forma livre: Forma 1333">
                <a:extLst>
                  <a:ext uri="{FF2B5EF4-FFF2-40B4-BE49-F238E27FC236}">
                    <a16:creationId xmlns:a16="http://schemas.microsoft.com/office/drawing/2014/main" id="{58893C72-9CD8-3A56-1753-3FC9460D5172}"/>
                  </a:ext>
                </a:extLst>
              </p:cNvPr>
              <p:cNvSpPr/>
              <p:nvPr/>
            </p:nvSpPr>
            <p:spPr>
              <a:xfrm>
                <a:off x="2147443" y="3822272"/>
                <a:ext cx="86329" cy="109152"/>
              </a:xfrm>
              <a:custGeom>
                <a:avLst/>
                <a:gdLst>
                  <a:gd name="connsiteX0" fmla="*/ 0 w 86329"/>
                  <a:gd name="connsiteY0" fmla="*/ 100338 h 109152"/>
                  <a:gd name="connsiteX1" fmla="*/ 26637 w 86329"/>
                  <a:gd name="connsiteY1" fmla="*/ 76139 h 109152"/>
                  <a:gd name="connsiteX2" fmla="*/ 56024 w 86329"/>
                  <a:gd name="connsiteY2" fmla="*/ 104505 h 109152"/>
                  <a:gd name="connsiteX3" fmla="*/ 59050 w 86329"/>
                  <a:gd name="connsiteY3" fmla="*/ 107952 h 109152"/>
                  <a:gd name="connsiteX4" fmla="*/ 81351 w 86329"/>
                  <a:gd name="connsiteY4" fmla="*/ 96291 h 109152"/>
                  <a:gd name="connsiteX5" fmla="*/ 82060 w 86329"/>
                  <a:gd name="connsiteY5" fmla="*/ 71131 h 109152"/>
                  <a:gd name="connsiteX6" fmla="*/ 77640 w 86329"/>
                  <a:gd name="connsiteY6" fmla="*/ 69918 h 109152"/>
                  <a:gd name="connsiteX7" fmla="*/ 39223 w 86329"/>
                  <a:gd name="connsiteY7" fmla="*/ 55916 h 109152"/>
                  <a:gd name="connsiteX8" fmla="*/ 49406 w 86329"/>
                  <a:gd name="connsiteY8" fmla="*/ 0 h 1091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86329" h="109152">
                    <a:moveTo>
                      <a:pt x="0" y="100338"/>
                    </a:moveTo>
                    <a:cubicBezTo>
                      <a:pt x="10268" y="93769"/>
                      <a:pt x="19227" y="85543"/>
                      <a:pt x="26637" y="76139"/>
                    </a:cubicBezTo>
                    <a:cubicBezTo>
                      <a:pt x="35692" y="81087"/>
                      <a:pt x="47761" y="89902"/>
                      <a:pt x="56024" y="104505"/>
                    </a:cubicBezTo>
                    <a:cubicBezTo>
                      <a:pt x="56792" y="105874"/>
                      <a:pt x="57777" y="107147"/>
                      <a:pt x="59050" y="107952"/>
                    </a:cubicBezTo>
                    <a:cubicBezTo>
                      <a:pt x="65019" y="111675"/>
                      <a:pt x="75011" y="106451"/>
                      <a:pt x="81351" y="96291"/>
                    </a:cubicBezTo>
                    <a:cubicBezTo>
                      <a:pt x="87704" y="86131"/>
                      <a:pt x="88017" y="74866"/>
                      <a:pt x="82060" y="71131"/>
                    </a:cubicBezTo>
                    <a:cubicBezTo>
                      <a:pt x="80775" y="70339"/>
                      <a:pt x="79202" y="70003"/>
                      <a:pt x="77640" y="69918"/>
                    </a:cubicBezTo>
                    <a:cubicBezTo>
                      <a:pt x="60875" y="68886"/>
                      <a:pt x="47653" y="61896"/>
                      <a:pt x="39223" y="55916"/>
                    </a:cubicBezTo>
                    <a:cubicBezTo>
                      <a:pt x="47377" y="38898"/>
                      <a:pt x="51172" y="19695"/>
                      <a:pt x="49406" y="0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335" name="Forma livre: Forma 1334">
                <a:extLst>
                  <a:ext uri="{FF2B5EF4-FFF2-40B4-BE49-F238E27FC236}">
                    <a16:creationId xmlns:a16="http://schemas.microsoft.com/office/drawing/2014/main" id="{481F0B34-B811-80F9-07D3-2538A3F3C271}"/>
                  </a:ext>
                </a:extLst>
              </p:cNvPr>
              <p:cNvSpPr/>
              <p:nvPr/>
            </p:nvSpPr>
            <p:spPr>
              <a:xfrm>
                <a:off x="2081007" y="3687256"/>
                <a:ext cx="108277" cy="86605"/>
              </a:xfrm>
              <a:custGeom>
                <a:avLst/>
                <a:gdLst>
                  <a:gd name="connsiteX0" fmla="*/ 99389 w 108277"/>
                  <a:gd name="connsiteY0" fmla="*/ 86606 h 86605"/>
                  <a:gd name="connsiteX1" fmla="*/ 75142 w 108277"/>
                  <a:gd name="connsiteY1" fmla="*/ 59885 h 86605"/>
                  <a:gd name="connsiteX2" fmla="*/ 103629 w 108277"/>
                  <a:gd name="connsiteY2" fmla="*/ 30306 h 86605"/>
                  <a:gd name="connsiteX3" fmla="*/ 107075 w 108277"/>
                  <a:gd name="connsiteY3" fmla="*/ 27280 h 86605"/>
                  <a:gd name="connsiteX4" fmla="*/ 95414 w 108277"/>
                  <a:gd name="connsiteY4" fmla="*/ 4978 h 86605"/>
                  <a:gd name="connsiteX5" fmla="*/ 70255 w 108277"/>
                  <a:gd name="connsiteY5" fmla="*/ 4270 h 86605"/>
                  <a:gd name="connsiteX6" fmla="*/ 69030 w 108277"/>
                  <a:gd name="connsiteY6" fmla="*/ 8689 h 86605"/>
                  <a:gd name="connsiteX7" fmla="*/ 54883 w 108277"/>
                  <a:gd name="connsiteY7" fmla="*/ 47347 h 86605"/>
                  <a:gd name="connsiteX8" fmla="*/ 0 w 108277"/>
                  <a:gd name="connsiteY8" fmla="*/ 37091 h 866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08277" h="86605">
                    <a:moveTo>
                      <a:pt x="99389" y="86606"/>
                    </a:moveTo>
                    <a:cubicBezTo>
                      <a:pt x="92808" y="76290"/>
                      <a:pt x="84570" y="67295"/>
                      <a:pt x="75142" y="59885"/>
                    </a:cubicBezTo>
                    <a:cubicBezTo>
                      <a:pt x="80078" y="50806"/>
                      <a:pt x="88917" y="38629"/>
                      <a:pt x="103629" y="30306"/>
                    </a:cubicBezTo>
                    <a:cubicBezTo>
                      <a:pt x="104998" y="29537"/>
                      <a:pt x="106271" y="28553"/>
                      <a:pt x="107075" y="27280"/>
                    </a:cubicBezTo>
                    <a:cubicBezTo>
                      <a:pt x="110798" y="21311"/>
                      <a:pt x="105586" y="11319"/>
                      <a:pt x="95414" y="4978"/>
                    </a:cubicBezTo>
                    <a:cubicBezTo>
                      <a:pt x="85254" y="-1375"/>
                      <a:pt x="73990" y="-1687"/>
                      <a:pt x="70255" y="4270"/>
                    </a:cubicBezTo>
                    <a:cubicBezTo>
                      <a:pt x="69462" y="5555"/>
                      <a:pt x="69138" y="7128"/>
                      <a:pt x="69030" y="8689"/>
                    </a:cubicBezTo>
                    <a:cubicBezTo>
                      <a:pt x="67997" y="25622"/>
                      <a:pt x="60887" y="38941"/>
                      <a:pt x="54883" y="47347"/>
                    </a:cubicBezTo>
                    <a:cubicBezTo>
                      <a:pt x="38166" y="39361"/>
                      <a:pt x="19335" y="35542"/>
                      <a:pt x="0" y="37091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336" name="Gráfico 12">
              <a:extLst>
                <a:ext uri="{FF2B5EF4-FFF2-40B4-BE49-F238E27FC236}">
                  <a16:creationId xmlns:a16="http://schemas.microsoft.com/office/drawing/2014/main" id="{6E95A158-278B-DD2D-D476-19961EB0ACF5}"/>
                </a:ext>
              </a:extLst>
            </p:cNvPr>
            <p:cNvGrpSpPr/>
            <p:nvPr/>
          </p:nvGrpSpPr>
          <p:grpSpPr>
            <a:xfrm>
              <a:off x="2021441" y="3760623"/>
              <a:ext cx="136838" cy="143472"/>
              <a:chOff x="2021441" y="3760623"/>
              <a:chExt cx="136838" cy="143472"/>
            </a:xfrm>
            <a:noFill/>
          </p:grpSpPr>
          <p:grpSp>
            <p:nvGrpSpPr>
              <p:cNvPr id="1337" name="Gráfico 12">
                <a:extLst>
                  <a:ext uri="{FF2B5EF4-FFF2-40B4-BE49-F238E27FC236}">
                    <a16:creationId xmlns:a16="http://schemas.microsoft.com/office/drawing/2014/main" id="{CF8B3F8D-08DC-95FC-A1A8-1FBF1F9A8D07}"/>
                  </a:ext>
                </a:extLst>
              </p:cNvPr>
              <p:cNvGrpSpPr/>
              <p:nvPr/>
            </p:nvGrpSpPr>
            <p:grpSpPr>
              <a:xfrm>
                <a:off x="2021441" y="3760623"/>
                <a:ext cx="116615" cy="55876"/>
                <a:chOff x="2021441" y="3760623"/>
                <a:chExt cx="116615" cy="55876"/>
              </a:xfrm>
              <a:noFill/>
            </p:grpSpPr>
            <p:sp>
              <p:nvSpPr>
                <p:cNvPr id="1338" name="Forma livre: Forma 1337">
                  <a:extLst>
                    <a:ext uri="{FF2B5EF4-FFF2-40B4-BE49-F238E27FC236}">
                      <a16:creationId xmlns:a16="http://schemas.microsoft.com/office/drawing/2014/main" id="{13A291DE-B802-0D7C-916D-7B9D0ABCDFBE}"/>
                    </a:ext>
                  </a:extLst>
                </p:cNvPr>
                <p:cNvSpPr/>
                <p:nvPr/>
              </p:nvSpPr>
              <p:spPr>
                <a:xfrm>
                  <a:off x="2021441" y="3778998"/>
                  <a:ext cx="37017" cy="37501"/>
                </a:xfrm>
                <a:custGeom>
                  <a:avLst/>
                  <a:gdLst>
                    <a:gd name="connsiteX0" fmla="*/ 14051 w 37017"/>
                    <a:gd name="connsiteY0" fmla="*/ 485 h 37501"/>
                    <a:gd name="connsiteX1" fmla="*/ 36532 w 37017"/>
                    <a:gd name="connsiteY1" fmla="*/ 14536 h 37501"/>
                    <a:gd name="connsiteX2" fmla="*/ 22481 w 37017"/>
                    <a:gd name="connsiteY2" fmla="*/ 37017 h 37501"/>
                    <a:gd name="connsiteX3" fmla="*/ 0 w 37017"/>
                    <a:gd name="connsiteY3" fmla="*/ 22966 h 3750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37017" h="37501">
                      <a:moveTo>
                        <a:pt x="14051" y="485"/>
                      </a:moveTo>
                      <a:cubicBezTo>
                        <a:pt x="24139" y="-1845"/>
                        <a:pt x="34203" y="4448"/>
                        <a:pt x="36532" y="14536"/>
                      </a:cubicBezTo>
                      <a:cubicBezTo>
                        <a:pt x="38862" y="24624"/>
                        <a:pt x="32569" y="34687"/>
                        <a:pt x="22481" y="37017"/>
                      </a:cubicBezTo>
                      <a:cubicBezTo>
                        <a:pt x="12394" y="39347"/>
                        <a:pt x="2330" y="33054"/>
                        <a:pt x="0" y="22966"/>
                      </a:cubicBez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339" name="Forma livre: Forma 1338">
                  <a:extLst>
                    <a:ext uri="{FF2B5EF4-FFF2-40B4-BE49-F238E27FC236}">
                      <a16:creationId xmlns:a16="http://schemas.microsoft.com/office/drawing/2014/main" id="{A1815072-3BF5-C66D-DDBC-CDD2545E5E0F}"/>
                    </a:ext>
                  </a:extLst>
                </p:cNvPr>
                <p:cNvSpPr/>
                <p:nvPr/>
              </p:nvSpPr>
              <p:spPr>
                <a:xfrm>
                  <a:off x="2101039" y="3760623"/>
                  <a:ext cx="37017" cy="37501"/>
                </a:xfrm>
                <a:custGeom>
                  <a:avLst/>
                  <a:gdLst>
                    <a:gd name="connsiteX0" fmla="*/ 14051 w 37017"/>
                    <a:gd name="connsiteY0" fmla="*/ 485 h 37501"/>
                    <a:gd name="connsiteX1" fmla="*/ 36533 w 37017"/>
                    <a:gd name="connsiteY1" fmla="*/ 14536 h 37501"/>
                    <a:gd name="connsiteX2" fmla="*/ 22482 w 37017"/>
                    <a:gd name="connsiteY2" fmla="*/ 37017 h 37501"/>
                    <a:gd name="connsiteX3" fmla="*/ 0 w 37017"/>
                    <a:gd name="connsiteY3" fmla="*/ 22966 h 3750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37017" h="37501">
                      <a:moveTo>
                        <a:pt x="14051" y="485"/>
                      </a:moveTo>
                      <a:cubicBezTo>
                        <a:pt x="24139" y="-1845"/>
                        <a:pt x="34203" y="4448"/>
                        <a:pt x="36533" y="14536"/>
                      </a:cubicBezTo>
                      <a:cubicBezTo>
                        <a:pt x="38862" y="24624"/>
                        <a:pt x="32569" y="34687"/>
                        <a:pt x="22482" y="37017"/>
                      </a:cubicBezTo>
                      <a:cubicBezTo>
                        <a:pt x="12394" y="39347"/>
                        <a:pt x="2330" y="33054"/>
                        <a:pt x="0" y="22966"/>
                      </a:cubicBez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1340" name="Gráfico 12">
                <a:extLst>
                  <a:ext uri="{FF2B5EF4-FFF2-40B4-BE49-F238E27FC236}">
                    <a16:creationId xmlns:a16="http://schemas.microsoft.com/office/drawing/2014/main" id="{3AEB93E3-4508-2044-0816-1CB01EF447F1}"/>
                  </a:ext>
                </a:extLst>
              </p:cNvPr>
              <p:cNvGrpSpPr/>
              <p:nvPr/>
            </p:nvGrpSpPr>
            <p:grpSpPr>
              <a:xfrm>
                <a:off x="2041665" y="3848219"/>
                <a:ext cx="116615" cy="55876"/>
                <a:chOff x="2041665" y="3848219"/>
                <a:chExt cx="116615" cy="55876"/>
              </a:xfrm>
              <a:noFill/>
            </p:grpSpPr>
            <p:sp>
              <p:nvSpPr>
                <p:cNvPr id="1341" name="Forma livre: Forma 1340">
                  <a:extLst>
                    <a:ext uri="{FF2B5EF4-FFF2-40B4-BE49-F238E27FC236}">
                      <a16:creationId xmlns:a16="http://schemas.microsoft.com/office/drawing/2014/main" id="{EF6B2081-D97B-1969-4981-4F622E2D68BC}"/>
                    </a:ext>
                  </a:extLst>
                </p:cNvPr>
                <p:cNvSpPr/>
                <p:nvPr/>
              </p:nvSpPr>
              <p:spPr>
                <a:xfrm>
                  <a:off x="2041665" y="3866606"/>
                  <a:ext cx="37017" cy="37489"/>
                </a:xfrm>
                <a:custGeom>
                  <a:avLst/>
                  <a:gdLst>
                    <a:gd name="connsiteX0" fmla="*/ 14051 w 37017"/>
                    <a:gd name="connsiteY0" fmla="*/ 485 h 37489"/>
                    <a:gd name="connsiteX1" fmla="*/ 36533 w 37017"/>
                    <a:gd name="connsiteY1" fmla="*/ 14524 h 37489"/>
                    <a:gd name="connsiteX2" fmla="*/ 22481 w 37017"/>
                    <a:gd name="connsiteY2" fmla="*/ 37005 h 37489"/>
                    <a:gd name="connsiteX3" fmla="*/ 0 w 37017"/>
                    <a:gd name="connsiteY3" fmla="*/ 22954 h 3748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37017" h="37489">
                      <a:moveTo>
                        <a:pt x="14051" y="485"/>
                      </a:moveTo>
                      <a:cubicBezTo>
                        <a:pt x="24139" y="-1845"/>
                        <a:pt x="34203" y="4448"/>
                        <a:pt x="36533" y="14524"/>
                      </a:cubicBezTo>
                      <a:cubicBezTo>
                        <a:pt x="38862" y="24612"/>
                        <a:pt x="32569" y="34675"/>
                        <a:pt x="22481" y="37005"/>
                      </a:cubicBezTo>
                      <a:cubicBezTo>
                        <a:pt x="12406" y="39335"/>
                        <a:pt x="2330" y="33042"/>
                        <a:pt x="0" y="22954"/>
                      </a:cubicBez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342" name="Forma livre: Forma 1341">
                  <a:extLst>
                    <a:ext uri="{FF2B5EF4-FFF2-40B4-BE49-F238E27FC236}">
                      <a16:creationId xmlns:a16="http://schemas.microsoft.com/office/drawing/2014/main" id="{8F012DE1-472A-9BB8-A01B-CA52FEC55C1D}"/>
                    </a:ext>
                  </a:extLst>
                </p:cNvPr>
                <p:cNvSpPr/>
                <p:nvPr/>
              </p:nvSpPr>
              <p:spPr>
                <a:xfrm>
                  <a:off x="2121263" y="3848219"/>
                  <a:ext cx="37017" cy="37489"/>
                </a:xfrm>
                <a:custGeom>
                  <a:avLst/>
                  <a:gdLst>
                    <a:gd name="connsiteX0" fmla="*/ 14051 w 37017"/>
                    <a:gd name="connsiteY0" fmla="*/ 485 h 37489"/>
                    <a:gd name="connsiteX1" fmla="*/ 36532 w 37017"/>
                    <a:gd name="connsiteY1" fmla="*/ 14524 h 37489"/>
                    <a:gd name="connsiteX2" fmla="*/ 22481 w 37017"/>
                    <a:gd name="connsiteY2" fmla="*/ 37005 h 37489"/>
                    <a:gd name="connsiteX3" fmla="*/ 0 w 37017"/>
                    <a:gd name="connsiteY3" fmla="*/ 22954 h 3748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37017" h="37489">
                      <a:moveTo>
                        <a:pt x="14051" y="485"/>
                      </a:moveTo>
                      <a:cubicBezTo>
                        <a:pt x="24139" y="-1845"/>
                        <a:pt x="34203" y="4448"/>
                        <a:pt x="36532" y="14524"/>
                      </a:cubicBezTo>
                      <a:cubicBezTo>
                        <a:pt x="38862" y="24612"/>
                        <a:pt x="32569" y="34687"/>
                        <a:pt x="22481" y="37005"/>
                      </a:cubicBezTo>
                      <a:cubicBezTo>
                        <a:pt x="12394" y="39335"/>
                        <a:pt x="2330" y="33042"/>
                        <a:pt x="0" y="22954"/>
                      </a:cubicBez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sp>
          <p:nvSpPr>
            <p:cNvPr id="1343" name="Forma livre: Forma 1342">
              <a:extLst>
                <a:ext uri="{FF2B5EF4-FFF2-40B4-BE49-F238E27FC236}">
                  <a16:creationId xmlns:a16="http://schemas.microsoft.com/office/drawing/2014/main" id="{30A7181F-53E1-4FE8-3A09-54987531888D}"/>
                </a:ext>
              </a:extLst>
            </p:cNvPr>
            <p:cNvSpPr/>
            <p:nvPr/>
          </p:nvSpPr>
          <p:spPr>
            <a:xfrm>
              <a:off x="2071352" y="3813608"/>
              <a:ext cx="37017" cy="37501"/>
            </a:xfrm>
            <a:custGeom>
              <a:avLst/>
              <a:gdLst>
                <a:gd name="connsiteX0" fmla="*/ 14051 w 37017"/>
                <a:gd name="connsiteY0" fmla="*/ 485 h 37501"/>
                <a:gd name="connsiteX1" fmla="*/ 36533 w 37017"/>
                <a:gd name="connsiteY1" fmla="*/ 14536 h 37501"/>
                <a:gd name="connsiteX2" fmla="*/ 22481 w 37017"/>
                <a:gd name="connsiteY2" fmla="*/ 37017 h 37501"/>
                <a:gd name="connsiteX3" fmla="*/ 0 w 37017"/>
                <a:gd name="connsiteY3" fmla="*/ 22966 h 375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7017" h="37501">
                  <a:moveTo>
                    <a:pt x="14051" y="485"/>
                  </a:moveTo>
                  <a:cubicBezTo>
                    <a:pt x="24139" y="-1845"/>
                    <a:pt x="34203" y="4448"/>
                    <a:pt x="36533" y="14536"/>
                  </a:cubicBezTo>
                  <a:cubicBezTo>
                    <a:pt x="38862" y="24624"/>
                    <a:pt x="32569" y="34687"/>
                    <a:pt x="22481" y="37017"/>
                  </a:cubicBezTo>
                  <a:cubicBezTo>
                    <a:pt x="12406" y="39347"/>
                    <a:pt x="2330" y="33054"/>
                    <a:pt x="0" y="22966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344" name="Gráfico 12">
            <a:extLst>
              <a:ext uri="{FF2B5EF4-FFF2-40B4-BE49-F238E27FC236}">
                <a16:creationId xmlns:a16="http://schemas.microsoft.com/office/drawing/2014/main" id="{D86DCAC6-1874-5028-483A-485C0EC6B967}"/>
              </a:ext>
            </a:extLst>
          </p:cNvPr>
          <p:cNvGrpSpPr/>
          <p:nvPr/>
        </p:nvGrpSpPr>
        <p:grpSpPr>
          <a:xfrm>
            <a:off x="1972405" y="5820651"/>
            <a:ext cx="234425" cy="298288"/>
            <a:chOff x="1972405" y="5820651"/>
            <a:chExt cx="234425" cy="298288"/>
          </a:xfrm>
        </p:grpSpPr>
        <p:grpSp>
          <p:nvGrpSpPr>
            <p:cNvPr id="1345" name="Gráfico 12">
              <a:extLst>
                <a:ext uri="{FF2B5EF4-FFF2-40B4-BE49-F238E27FC236}">
                  <a16:creationId xmlns:a16="http://schemas.microsoft.com/office/drawing/2014/main" id="{60324A1B-AB54-55A6-3DE9-A4D4BD34DF7F}"/>
                </a:ext>
              </a:extLst>
            </p:cNvPr>
            <p:cNvGrpSpPr/>
            <p:nvPr/>
          </p:nvGrpSpPr>
          <p:grpSpPr>
            <a:xfrm>
              <a:off x="2000136" y="5884685"/>
              <a:ext cx="178963" cy="178963"/>
              <a:chOff x="2000136" y="5884685"/>
              <a:chExt cx="178963" cy="178963"/>
            </a:xfrm>
          </p:grpSpPr>
          <p:grpSp>
            <p:nvGrpSpPr>
              <p:cNvPr id="1346" name="Gráfico 12">
                <a:extLst>
                  <a:ext uri="{FF2B5EF4-FFF2-40B4-BE49-F238E27FC236}">
                    <a16:creationId xmlns:a16="http://schemas.microsoft.com/office/drawing/2014/main" id="{1F37C191-FDF3-79DC-2335-21015ECDBE9F}"/>
                  </a:ext>
                </a:extLst>
              </p:cNvPr>
              <p:cNvGrpSpPr/>
              <p:nvPr/>
            </p:nvGrpSpPr>
            <p:grpSpPr>
              <a:xfrm>
                <a:off x="2000136" y="5884685"/>
                <a:ext cx="178963" cy="178963"/>
                <a:chOff x="2000136" y="5884685"/>
                <a:chExt cx="178963" cy="178963"/>
              </a:xfrm>
            </p:grpSpPr>
            <p:grpSp>
              <p:nvGrpSpPr>
                <p:cNvPr id="1347" name="Gráfico 12">
                  <a:extLst>
                    <a:ext uri="{FF2B5EF4-FFF2-40B4-BE49-F238E27FC236}">
                      <a16:creationId xmlns:a16="http://schemas.microsoft.com/office/drawing/2014/main" id="{412A9209-DE5A-A354-E05D-71A346DC66C8}"/>
                    </a:ext>
                  </a:extLst>
                </p:cNvPr>
                <p:cNvGrpSpPr/>
                <p:nvPr/>
              </p:nvGrpSpPr>
              <p:grpSpPr>
                <a:xfrm>
                  <a:off x="2089618" y="5884685"/>
                  <a:ext cx="1200" cy="178963"/>
                  <a:chOff x="2089618" y="5884685"/>
                  <a:chExt cx="1200" cy="178963"/>
                </a:xfrm>
              </p:grpSpPr>
              <p:sp>
                <p:nvSpPr>
                  <p:cNvPr id="1348" name="Forma livre: Forma 1347">
                    <a:extLst>
                      <a:ext uri="{FF2B5EF4-FFF2-40B4-BE49-F238E27FC236}">
                        <a16:creationId xmlns:a16="http://schemas.microsoft.com/office/drawing/2014/main" id="{A2E95AF7-D305-E8F8-D6CF-1B92AE7E3A9B}"/>
                      </a:ext>
                    </a:extLst>
                  </p:cNvPr>
                  <p:cNvSpPr/>
                  <p:nvPr/>
                </p:nvSpPr>
                <p:spPr>
                  <a:xfrm>
                    <a:off x="2089618" y="5884685"/>
                    <a:ext cx="1200" cy="24198"/>
                  </a:xfrm>
                  <a:custGeom>
                    <a:avLst/>
                    <a:gdLst>
                      <a:gd name="connsiteX0" fmla="*/ 0 w 1200"/>
                      <a:gd name="connsiteY0" fmla="*/ 24199 h 24198"/>
                      <a:gd name="connsiteX1" fmla="*/ 0 w 1200"/>
                      <a:gd name="connsiteY1" fmla="*/ 0 h 2419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200" h="24198">
                        <a:moveTo>
                          <a:pt x="0" y="24199"/>
                        </a:moveTo>
                        <a:lnTo>
                          <a:pt x="0" y="0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1349" name="Forma livre: Forma 1348">
                    <a:extLst>
                      <a:ext uri="{FF2B5EF4-FFF2-40B4-BE49-F238E27FC236}">
                        <a16:creationId xmlns:a16="http://schemas.microsoft.com/office/drawing/2014/main" id="{CA0E9AE3-3933-00E7-224C-EB900F1539C5}"/>
                      </a:ext>
                    </a:extLst>
                  </p:cNvPr>
                  <p:cNvSpPr/>
                  <p:nvPr/>
                </p:nvSpPr>
                <p:spPr>
                  <a:xfrm>
                    <a:off x="2089618" y="6039462"/>
                    <a:ext cx="1200" cy="24186"/>
                  </a:xfrm>
                  <a:custGeom>
                    <a:avLst/>
                    <a:gdLst>
                      <a:gd name="connsiteX0" fmla="*/ 0 w 1200"/>
                      <a:gd name="connsiteY0" fmla="*/ 24187 h 24186"/>
                      <a:gd name="connsiteX1" fmla="*/ 0 w 1200"/>
                      <a:gd name="connsiteY1" fmla="*/ 0 h 2418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200" h="24186">
                        <a:moveTo>
                          <a:pt x="0" y="24187"/>
                        </a:moveTo>
                        <a:lnTo>
                          <a:pt x="0" y="0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  <p:grpSp>
              <p:nvGrpSpPr>
                <p:cNvPr id="1350" name="Gráfico 12">
                  <a:extLst>
                    <a:ext uri="{FF2B5EF4-FFF2-40B4-BE49-F238E27FC236}">
                      <a16:creationId xmlns:a16="http://schemas.microsoft.com/office/drawing/2014/main" id="{48FC2482-BC04-5C70-61F1-22263F73EAEF}"/>
                    </a:ext>
                  </a:extLst>
                </p:cNvPr>
                <p:cNvGrpSpPr/>
                <p:nvPr/>
              </p:nvGrpSpPr>
              <p:grpSpPr>
                <a:xfrm>
                  <a:off x="2000136" y="5974167"/>
                  <a:ext cx="178963" cy="1200"/>
                  <a:chOff x="2000136" y="5974167"/>
                  <a:chExt cx="178963" cy="1200"/>
                </a:xfrm>
              </p:grpSpPr>
              <p:sp>
                <p:nvSpPr>
                  <p:cNvPr id="1351" name="Forma livre: Forma 1350">
                    <a:extLst>
                      <a:ext uri="{FF2B5EF4-FFF2-40B4-BE49-F238E27FC236}">
                        <a16:creationId xmlns:a16="http://schemas.microsoft.com/office/drawing/2014/main" id="{9C00AC70-57CF-844D-5702-748985128ECD}"/>
                      </a:ext>
                    </a:extLst>
                  </p:cNvPr>
                  <p:cNvSpPr/>
                  <p:nvPr/>
                </p:nvSpPr>
                <p:spPr>
                  <a:xfrm>
                    <a:off x="2154901" y="5974167"/>
                    <a:ext cx="24198" cy="1200"/>
                  </a:xfrm>
                  <a:custGeom>
                    <a:avLst/>
                    <a:gdLst>
                      <a:gd name="connsiteX0" fmla="*/ 0 w 24198"/>
                      <a:gd name="connsiteY0" fmla="*/ 0 h 1200"/>
                      <a:gd name="connsiteX1" fmla="*/ 24199 w 24198"/>
                      <a:gd name="connsiteY1" fmla="*/ 0 h 120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24198" h="1200">
                        <a:moveTo>
                          <a:pt x="0" y="0"/>
                        </a:moveTo>
                        <a:lnTo>
                          <a:pt x="24199" y="0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1352" name="Forma livre: Forma 1351">
                    <a:extLst>
                      <a:ext uri="{FF2B5EF4-FFF2-40B4-BE49-F238E27FC236}">
                        <a16:creationId xmlns:a16="http://schemas.microsoft.com/office/drawing/2014/main" id="{AAB61F12-2882-4D74-D42E-86B29EF9EDE2}"/>
                      </a:ext>
                    </a:extLst>
                  </p:cNvPr>
                  <p:cNvSpPr/>
                  <p:nvPr/>
                </p:nvSpPr>
                <p:spPr>
                  <a:xfrm>
                    <a:off x="2000136" y="5974167"/>
                    <a:ext cx="24198" cy="1200"/>
                  </a:xfrm>
                  <a:custGeom>
                    <a:avLst/>
                    <a:gdLst>
                      <a:gd name="connsiteX0" fmla="*/ 0 w 24198"/>
                      <a:gd name="connsiteY0" fmla="*/ 0 h 1200"/>
                      <a:gd name="connsiteX1" fmla="*/ 24199 w 24198"/>
                      <a:gd name="connsiteY1" fmla="*/ 0 h 120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24198" h="1200">
                        <a:moveTo>
                          <a:pt x="0" y="0"/>
                        </a:moveTo>
                        <a:lnTo>
                          <a:pt x="24199" y="0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  <p:grpSp>
              <p:nvGrpSpPr>
                <p:cNvPr id="1353" name="Gráfico 12">
                  <a:extLst>
                    <a:ext uri="{FF2B5EF4-FFF2-40B4-BE49-F238E27FC236}">
                      <a16:creationId xmlns:a16="http://schemas.microsoft.com/office/drawing/2014/main" id="{1EA2700D-229C-72E1-8891-5E0BB136BE1F}"/>
                    </a:ext>
                  </a:extLst>
                </p:cNvPr>
                <p:cNvGrpSpPr/>
                <p:nvPr/>
              </p:nvGrpSpPr>
              <p:grpSpPr>
                <a:xfrm>
                  <a:off x="2026353" y="5910902"/>
                  <a:ext cx="126542" cy="126542"/>
                  <a:chOff x="2026353" y="5910902"/>
                  <a:chExt cx="126542" cy="126542"/>
                </a:xfrm>
              </p:grpSpPr>
              <p:sp>
                <p:nvSpPr>
                  <p:cNvPr id="1354" name="Forma livre: Forma 1353">
                    <a:extLst>
                      <a:ext uri="{FF2B5EF4-FFF2-40B4-BE49-F238E27FC236}">
                        <a16:creationId xmlns:a16="http://schemas.microsoft.com/office/drawing/2014/main" id="{2B3C15E4-98DB-483D-A1E8-AA19E000AABB}"/>
                      </a:ext>
                    </a:extLst>
                  </p:cNvPr>
                  <p:cNvSpPr/>
                  <p:nvPr/>
                </p:nvSpPr>
                <p:spPr>
                  <a:xfrm>
                    <a:off x="2026353" y="5910902"/>
                    <a:ext cx="17101" cy="17101"/>
                  </a:xfrm>
                  <a:custGeom>
                    <a:avLst/>
                    <a:gdLst>
                      <a:gd name="connsiteX0" fmla="*/ 17101 w 17101"/>
                      <a:gd name="connsiteY0" fmla="*/ 17101 h 17101"/>
                      <a:gd name="connsiteX1" fmla="*/ 0 w 17101"/>
                      <a:gd name="connsiteY1" fmla="*/ 0 h 1710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7101" h="17101">
                        <a:moveTo>
                          <a:pt x="17101" y="17101"/>
                        </a:moveTo>
                        <a:lnTo>
                          <a:pt x="0" y="0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1355" name="Forma livre: Forma 1354">
                    <a:extLst>
                      <a:ext uri="{FF2B5EF4-FFF2-40B4-BE49-F238E27FC236}">
                        <a16:creationId xmlns:a16="http://schemas.microsoft.com/office/drawing/2014/main" id="{2AE2FF17-B804-360C-BB0D-095485F41B05}"/>
                      </a:ext>
                    </a:extLst>
                  </p:cNvPr>
                  <p:cNvSpPr/>
                  <p:nvPr/>
                </p:nvSpPr>
                <p:spPr>
                  <a:xfrm>
                    <a:off x="2135782" y="6020343"/>
                    <a:ext cx="17113" cy="17101"/>
                  </a:xfrm>
                  <a:custGeom>
                    <a:avLst/>
                    <a:gdLst>
                      <a:gd name="connsiteX0" fmla="*/ 17113 w 17113"/>
                      <a:gd name="connsiteY0" fmla="*/ 17101 h 17101"/>
                      <a:gd name="connsiteX1" fmla="*/ 0 w 17113"/>
                      <a:gd name="connsiteY1" fmla="*/ 0 h 1710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7113" h="17101">
                        <a:moveTo>
                          <a:pt x="17113" y="17101"/>
                        </a:moveTo>
                        <a:lnTo>
                          <a:pt x="0" y="0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  <p:grpSp>
              <p:nvGrpSpPr>
                <p:cNvPr id="1356" name="Gráfico 12">
                  <a:extLst>
                    <a:ext uri="{FF2B5EF4-FFF2-40B4-BE49-F238E27FC236}">
                      <a16:creationId xmlns:a16="http://schemas.microsoft.com/office/drawing/2014/main" id="{EC219A8D-5AE1-6CDC-9468-8AC9F8FF915D}"/>
                    </a:ext>
                  </a:extLst>
                </p:cNvPr>
                <p:cNvGrpSpPr/>
                <p:nvPr/>
              </p:nvGrpSpPr>
              <p:grpSpPr>
                <a:xfrm>
                  <a:off x="2026341" y="5910902"/>
                  <a:ext cx="126554" cy="126542"/>
                  <a:chOff x="2026341" y="5910902"/>
                  <a:chExt cx="126554" cy="126542"/>
                </a:xfrm>
              </p:grpSpPr>
              <p:sp>
                <p:nvSpPr>
                  <p:cNvPr id="1357" name="Forma livre: Forma 1356">
                    <a:extLst>
                      <a:ext uri="{FF2B5EF4-FFF2-40B4-BE49-F238E27FC236}">
                        <a16:creationId xmlns:a16="http://schemas.microsoft.com/office/drawing/2014/main" id="{F1462C78-7B69-133B-37D6-668F888B27CD}"/>
                      </a:ext>
                    </a:extLst>
                  </p:cNvPr>
                  <p:cNvSpPr/>
                  <p:nvPr/>
                </p:nvSpPr>
                <p:spPr>
                  <a:xfrm>
                    <a:off x="2135782" y="5910902"/>
                    <a:ext cx="17113" cy="17101"/>
                  </a:xfrm>
                  <a:custGeom>
                    <a:avLst/>
                    <a:gdLst>
                      <a:gd name="connsiteX0" fmla="*/ 0 w 17113"/>
                      <a:gd name="connsiteY0" fmla="*/ 17101 h 17101"/>
                      <a:gd name="connsiteX1" fmla="*/ 17113 w 17113"/>
                      <a:gd name="connsiteY1" fmla="*/ 0 h 1710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7113" h="17101">
                        <a:moveTo>
                          <a:pt x="0" y="17101"/>
                        </a:moveTo>
                        <a:lnTo>
                          <a:pt x="17113" y="0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1358" name="Forma livre: Forma 1357">
                    <a:extLst>
                      <a:ext uri="{FF2B5EF4-FFF2-40B4-BE49-F238E27FC236}">
                        <a16:creationId xmlns:a16="http://schemas.microsoft.com/office/drawing/2014/main" id="{0E45EFD7-88F2-5463-D395-13BD598BEAB3}"/>
                      </a:ext>
                    </a:extLst>
                  </p:cNvPr>
                  <p:cNvSpPr/>
                  <p:nvPr/>
                </p:nvSpPr>
                <p:spPr>
                  <a:xfrm>
                    <a:off x="2026341" y="6020343"/>
                    <a:ext cx="17101" cy="17101"/>
                  </a:xfrm>
                  <a:custGeom>
                    <a:avLst/>
                    <a:gdLst>
                      <a:gd name="connsiteX0" fmla="*/ 0 w 17101"/>
                      <a:gd name="connsiteY0" fmla="*/ 17101 h 17101"/>
                      <a:gd name="connsiteX1" fmla="*/ 17101 w 17101"/>
                      <a:gd name="connsiteY1" fmla="*/ 0 h 1710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7101" h="17101">
                        <a:moveTo>
                          <a:pt x="0" y="17101"/>
                        </a:moveTo>
                        <a:lnTo>
                          <a:pt x="17101" y="0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</p:grpSp>
          <p:sp>
            <p:nvSpPr>
              <p:cNvPr id="1359" name="Forma livre: Forma 1358">
                <a:extLst>
                  <a:ext uri="{FF2B5EF4-FFF2-40B4-BE49-F238E27FC236}">
                    <a16:creationId xmlns:a16="http://schemas.microsoft.com/office/drawing/2014/main" id="{C89A981A-C12C-242B-BC9A-CAE255BABC7F}"/>
                  </a:ext>
                </a:extLst>
              </p:cNvPr>
              <p:cNvSpPr/>
              <p:nvPr/>
            </p:nvSpPr>
            <p:spPr>
              <a:xfrm>
                <a:off x="2085853" y="5936262"/>
                <a:ext cx="7537" cy="7542"/>
              </a:xfrm>
              <a:custGeom>
                <a:avLst/>
                <a:gdLst>
                  <a:gd name="connsiteX0" fmla="*/ 198 w 7537"/>
                  <a:gd name="connsiteY0" fmla="*/ 2573 h 7542"/>
                  <a:gd name="connsiteX1" fmla="*/ 4965 w 7537"/>
                  <a:gd name="connsiteY1" fmla="*/ 195 h 7542"/>
                  <a:gd name="connsiteX2" fmla="*/ 7343 w 7537"/>
                  <a:gd name="connsiteY2" fmla="*/ 4963 h 7542"/>
                  <a:gd name="connsiteX3" fmla="*/ 2564 w 7537"/>
                  <a:gd name="connsiteY3" fmla="*/ 7341 h 7542"/>
                  <a:gd name="connsiteX4" fmla="*/ 198 w 7537"/>
                  <a:gd name="connsiteY4" fmla="*/ 2561 h 75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537" h="7542">
                    <a:moveTo>
                      <a:pt x="198" y="2573"/>
                    </a:moveTo>
                    <a:cubicBezTo>
                      <a:pt x="858" y="604"/>
                      <a:pt x="2972" y="-465"/>
                      <a:pt x="4965" y="195"/>
                    </a:cubicBezTo>
                    <a:cubicBezTo>
                      <a:pt x="6923" y="856"/>
                      <a:pt x="8004" y="2982"/>
                      <a:pt x="7343" y="4963"/>
                    </a:cubicBezTo>
                    <a:cubicBezTo>
                      <a:pt x="6683" y="6945"/>
                      <a:pt x="4533" y="8014"/>
                      <a:pt x="2564" y="7341"/>
                    </a:cubicBezTo>
                    <a:cubicBezTo>
                      <a:pt x="582" y="6681"/>
                      <a:pt x="-463" y="4555"/>
                      <a:pt x="198" y="2561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1360" name="Gráfico 12">
                <a:extLst>
                  <a:ext uri="{FF2B5EF4-FFF2-40B4-BE49-F238E27FC236}">
                    <a16:creationId xmlns:a16="http://schemas.microsoft.com/office/drawing/2014/main" id="{CD675896-756B-DB48-81E9-82325158C3F4}"/>
                  </a:ext>
                </a:extLst>
              </p:cNvPr>
              <p:cNvGrpSpPr/>
              <p:nvPr/>
            </p:nvGrpSpPr>
            <p:grpSpPr>
              <a:xfrm>
                <a:off x="2025500" y="5909268"/>
                <a:ext cx="128211" cy="128199"/>
                <a:chOff x="2025500" y="5909268"/>
                <a:chExt cx="128211" cy="128199"/>
              </a:xfrm>
            </p:grpSpPr>
            <p:sp>
              <p:nvSpPr>
                <p:cNvPr id="1361" name="Forma livre: Forma 1360">
                  <a:extLst>
                    <a:ext uri="{FF2B5EF4-FFF2-40B4-BE49-F238E27FC236}">
                      <a16:creationId xmlns:a16="http://schemas.microsoft.com/office/drawing/2014/main" id="{79A0C118-B9A7-6274-8C97-85A0D1C7C4D9}"/>
                    </a:ext>
                  </a:extLst>
                </p:cNvPr>
                <p:cNvSpPr/>
                <p:nvPr/>
              </p:nvSpPr>
              <p:spPr>
                <a:xfrm>
                  <a:off x="2025500" y="5909268"/>
                  <a:ext cx="128211" cy="128199"/>
                </a:xfrm>
                <a:custGeom>
                  <a:avLst/>
                  <a:gdLst>
                    <a:gd name="connsiteX0" fmla="*/ 128212 w 128211"/>
                    <a:gd name="connsiteY0" fmla="*/ 64094 h 128199"/>
                    <a:gd name="connsiteX1" fmla="*/ 64106 w 128211"/>
                    <a:gd name="connsiteY1" fmla="*/ 128200 h 128199"/>
                    <a:gd name="connsiteX2" fmla="*/ 0 w 128211"/>
                    <a:gd name="connsiteY2" fmla="*/ 64094 h 128199"/>
                    <a:gd name="connsiteX3" fmla="*/ 64106 w 128211"/>
                    <a:gd name="connsiteY3" fmla="*/ 0 h 128199"/>
                    <a:gd name="connsiteX4" fmla="*/ 128212 w 128211"/>
                    <a:gd name="connsiteY4" fmla="*/ 64094 h 12819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28211" h="128199">
                      <a:moveTo>
                        <a:pt x="128212" y="64094"/>
                      </a:moveTo>
                      <a:cubicBezTo>
                        <a:pt x="128212" y="99497"/>
                        <a:pt x="99522" y="128200"/>
                        <a:pt x="64106" y="128200"/>
                      </a:cubicBezTo>
                      <a:cubicBezTo>
                        <a:pt x="28690" y="128200"/>
                        <a:pt x="0" y="99509"/>
                        <a:pt x="0" y="64094"/>
                      </a:cubicBezTo>
                      <a:cubicBezTo>
                        <a:pt x="0" y="28678"/>
                        <a:pt x="28702" y="0"/>
                        <a:pt x="64106" y="0"/>
                      </a:cubicBezTo>
                      <a:cubicBezTo>
                        <a:pt x="99509" y="0"/>
                        <a:pt x="128212" y="28702"/>
                        <a:pt x="128212" y="64094"/>
                      </a:cubicBezTo>
                      <a:close/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362" name="Forma livre: Forma 1361">
                  <a:extLst>
                    <a:ext uri="{FF2B5EF4-FFF2-40B4-BE49-F238E27FC236}">
                      <a16:creationId xmlns:a16="http://schemas.microsoft.com/office/drawing/2014/main" id="{39781F67-9112-3ECB-D0F1-92A071ADD798}"/>
                    </a:ext>
                  </a:extLst>
                </p:cNvPr>
                <p:cNvSpPr/>
                <p:nvPr/>
              </p:nvSpPr>
              <p:spPr>
                <a:xfrm>
                  <a:off x="2085853" y="5969600"/>
                  <a:ext cx="7526" cy="7531"/>
                </a:xfrm>
                <a:custGeom>
                  <a:avLst/>
                  <a:gdLst>
                    <a:gd name="connsiteX0" fmla="*/ 198 w 7526"/>
                    <a:gd name="connsiteY0" fmla="*/ 2573 h 7531"/>
                    <a:gd name="connsiteX1" fmla="*/ 4954 w 7526"/>
                    <a:gd name="connsiteY1" fmla="*/ 195 h 7531"/>
                    <a:gd name="connsiteX2" fmla="*/ 7331 w 7526"/>
                    <a:gd name="connsiteY2" fmla="*/ 4951 h 7531"/>
                    <a:gd name="connsiteX3" fmla="*/ 2564 w 7526"/>
                    <a:gd name="connsiteY3" fmla="*/ 7329 h 7531"/>
                    <a:gd name="connsiteX4" fmla="*/ 198 w 7526"/>
                    <a:gd name="connsiteY4" fmla="*/ 2561 h 753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7526" h="7531">
                      <a:moveTo>
                        <a:pt x="198" y="2573"/>
                      </a:moveTo>
                      <a:cubicBezTo>
                        <a:pt x="858" y="604"/>
                        <a:pt x="2972" y="-465"/>
                        <a:pt x="4954" y="195"/>
                      </a:cubicBezTo>
                      <a:cubicBezTo>
                        <a:pt x="6923" y="856"/>
                        <a:pt x="7992" y="2982"/>
                        <a:pt x="7331" y="4951"/>
                      </a:cubicBezTo>
                      <a:cubicBezTo>
                        <a:pt x="6671" y="6945"/>
                        <a:pt x="4533" y="8002"/>
                        <a:pt x="2564" y="7329"/>
                      </a:cubicBezTo>
                      <a:cubicBezTo>
                        <a:pt x="582" y="6669"/>
                        <a:pt x="-463" y="4543"/>
                        <a:pt x="198" y="2561"/>
                      </a:cubicBezTo>
                      <a:close/>
                    </a:path>
                  </a:pathLst>
                </a:custGeom>
                <a:solidFill>
                  <a:srgbClr val="394553"/>
                </a:solidFill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1363" name="Gráfico 12">
                <a:extLst>
                  <a:ext uri="{FF2B5EF4-FFF2-40B4-BE49-F238E27FC236}">
                    <a16:creationId xmlns:a16="http://schemas.microsoft.com/office/drawing/2014/main" id="{E29A4979-EBE6-14C4-EB21-E873C8F429DD}"/>
                  </a:ext>
                </a:extLst>
              </p:cNvPr>
              <p:cNvGrpSpPr/>
              <p:nvPr/>
            </p:nvGrpSpPr>
            <p:grpSpPr>
              <a:xfrm>
                <a:off x="2052769" y="5961512"/>
                <a:ext cx="73685" cy="8281"/>
                <a:chOff x="2052769" y="5961512"/>
                <a:chExt cx="73685" cy="8281"/>
              </a:xfrm>
              <a:solidFill>
                <a:srgbClr val="394553"/>
              </a:solidFill>
            </p:grpSpPr>
            <p:sp>
              <p:nvSpPr>
                <p:cNvPr id="1364" name="Forma livre: Forma 1363">
                  <a:extLst>
                    <a:ext uri="{FF2B5EF4-FFF2-40B4-BE49-F238E27FC236}">
                      <a16:creationId xmlns:a16="http://schemas.microsoft.com/office/drawing/2014/main" id="{2E53D806-736B-898D-08EE-40FFC9CABE78}"/>
                    </a:ext>
                  </a:extLst>
                </p:cNvPr>
                <p:cNvSpPr/>
                <p:nvPr/>
              </p:nvSpPr>
              <p:spPr>
                <a:xfrm>
                  <a:off x="2118933" y="5961512"/>
                  <a:ext cx="7521" cy="7543"/>
                </a:xfrm>
                <a:custGeom>
                  <a:avLst/>
                  <a:gdLst>
                    <a:gd name="connsiteX0" fmla="*/ 192 w 7521"/>
                    <a:gd name="connsiteY0" fmla="*/ 2579 h 7543"/>
                    <a:gd name="connsiteX1" fmla="*/ 4960 w 7521"/>
                    <a:gd name="connsiteY1" fmla="*/ 201 h 7543"/>
                    <a:gd name="connsiteX2" fmla="*/ 7325 w 7521"/>
                    <a:gd name="connsiteY2" fmla="*/ 4957 h 7543"/>
                    <a:gd name="connsiteX3" fmla="*/ 2570 w 7521"/>
                    <a:gd name="connsiteY3" fmla="*/ 7347 h 7543"/>
                    <a:gd name="connsiteX4" fmla="*/ 192 w 7521"/>
                    <a:gd name="connsiteY4" fmla="*/ 2579 h 754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7521" h="7543">
                      <a:moveTo>
                        <a:pt x="192" y="2579"/>
                      </a:moveTo>
                      <a:cubicBezTo>
                        <a:pt x="853" y="598"/>
                        <a:pt x="2966" y="-471"/>
                        <a:pt x="4960" y="201"/>
                      </a:cubicBezTo>
                      <a:cubicBezTo>
                        <a:pt x="6917" y="862"/>
                        <a:pt x="7986" y="2987"/>
                        <a:pt x="7325" y="4957"/>
                      </a:cubicBezTo>
                      <a:cubicBezTo>
                        <a:pt x="6665" y="6951"/>
                        <a:pt x="4527" y="8007"/>
                        <a:pt x="2570" y="7347"/>
                      </a:cubicBezTo>
                      <a:cubicBezTo>
                        <a:pt x="588" y="6686"/>
                        <a:pt x="-457" y="4561"/>
                        <a:pt x="192" y="2579"/>
                      </a:cubicBezTo>
                      <a:close/>
                    </a:path>
                  </a:pathLst>
                </a:custGeom>
                <a:solidFill>
                  <a:srgbClr val="394553"/>
                </a:solidFill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365" name="Forma livre: Forma 1364">
                  <a:extLst>
                    <a:ext uri="{FF2B5EF4-FFF2-40B4-BE49-F238E27FC236}">
                      <a16:creationId xmlns:a16="http://schemas.microsoft.com/office/drawing/2014/main" id="{07F00DBE-AD73-0485-8A08-10FD11AC2F85}"/>
                    </a:ext>
                  </a:extLst>
                </p:cNvPr>
                <p:cNvSpPr/>
                <p:nvPr/>
              </p:nvSpPr>
              <p:spPr>
                <a:xfrm>
                  <a:off x="2052769" y="5962258"/>
                  <a:ext cx="7543" cy="7536"/>
                </a:xfrm>
                <a:custGeom>
                  <a:avLst/>
                  <a:gdLst>
                    <a:gd name="connsiteX0" fmla="*/ 209 w 7543"/>
                    <a:gd name="connsiteY0" fmla="*/ 2578 h 7536"/>
                    <a:gd name="connsiteX1" fmla="*/ 4964 w 7543"/>
                    <a:gd name="connsiteY1" fmla="*/ 200 h 7536"/>
                    <a:gd name="connsiteX2" fmla="*/ 7342 w 7543"/>
                    <a:gd name="connsiteY2" fmla="*/ 4956 h 7536"/>
                    <a:gd name="connsiteX3" fmla="*/ 2574 w 7543"/>
                    <a:gd name="connsiteY3" fmla="*/ 7334 h 7536"/>
                    <a:gd name="connsiteX4" fmla="*/ 197 w 7543"/>
                    <a:gd name="connsiteY4" fmla="*/ 2566 h 753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7543" h="7536">
                      <a:moveTo>
                        <a:pt x="209" y="2578"/>
                      </a:moveTo>
                      <a:cubicBezTo>
                        <a:pt x="869" y="608"/>
                        <a:pt x="2995" y="-473"/>
                        <a:pt x="4964" y="200"/>
                      </a:cubicBezTo>
                      <a:cubicBezTo>
                        <a:pt x="6946" y="848"/>
                        <a:pt x="8015" y="2986"/>
                        <a:pt x="7342" y="4956"/>
                      </a:cubicBezTo>
                      <a:cubicBezTo>
                        <a:pt x="6682" y="6949"/>
                        <a:pt x="4544" y="8006"/>
                        <a:pt x="2574" y="7334"/>
                      </a:cubicBezTo>
                      <a:cubicBezTo>
                        <a:pt x="593" y="6673"/>
                        <a:pt x="-464" y="4559"/>
                        <a:pt x="197" y="2566"/>
                      </a:cubicBezTo>
                      <a:close/>
                    </a:path>
                  </a:pathLst>
                </a:custGeom>
                <a:solidFill>
                  <a:srgbClr val="394553"/>
                </a:solidFill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1366" name="Gráfico 12">
                <a:extLst>
                  <a:ext uri="{FF2B5EF4-FFF2-40B4-BE49-F238E27FC236}">
                    <a16:creationId xmlns:a16="http://schemas.microsoft.com/office/drawing/2014/main" id="{14718FB0-CADE-EFCA-15AB-DEAE54FF7C04}"/>
                  </a:ext>
                </a:extLst>
              </p:cNvPr>
              <p:cNvGrpSpPr/>
              <p:nvPr/>
            </p:nvGrpSpPr>
            <p:grpSpPr>
              <a:xfrm>
                <a:off x="2066470" y="6000355"/>
                <a:ext cx="46293" cy="7539"/>
                <a:chOff x="2066470" y="6000355"/>
                <a:chExt cx="46293" cy="7539"/>
              </a:xfrm>
              <a:solidFill>
                <a:srgbClr val="394553"/>
              </a:solidFill>
            </p:grpSpPr>
            <p:sp>
              <p:nvSpPr>
                <p:cNvPr id="1367" name="Forma livre: Forma 1366">
                  <a:extLst>
                    <a:ext uri="{FF2B5EF4-FFF2-40B4-BE49-F238E27FC236}">
                      <a16:creationId xmlns:a16="http://schemas.microsoft.com/office/drawing/2014/main" id="{D89DBC54-6C63-49B2-1E2A-D2A14AA1C470}"/>
                    </a:ext>
                  </a:extLst>
                </p:cNvPr>
                <p:cNvSpPr/>
                <p:nvPr/>
              </p:nvSpPr>
              <p:spPr>
                <a:xfrm>
                  <a:off x="2105237" y="6000355"/>
                  <a:ext cx="7526" cy="7532"/>
                </a:xfrm>
                <a:custGeom>
                  <a:avLst/>
                  <a:gdLst>
                    <a:gd name="connsiteX0" fmla="*/ 198 w 7526"/>
                    <a:gd name="connsiteY0" fmla="*/ 2574 h 7532"/>
                    <a:gd name="connsiteX1" fmla="*/ 4953 w 7526"/>
                    <a:gd name="connsiteY1" fmla="*/ 197 h 7532"/>
                    <a:gd name="connsiteX2" fmla="*/ 7331 w 7526"/>
                    <a:gd name="connsiteY2" fmla="*/ 4952 h 7532"/>
                    <a:gd name="connsiteX3" fmla="*/ 2576 w 7526"/>
                    <a:gd name="connsiteY3" fmla="*/ 7330 h 7532"/>
                    <a:gd name="connsiteX4" fmla="*/ 198 w 7526"/>
                    <a:gd name="connsiteY4" fmla="*/ 2562 h 753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7526" h="7532">
                      <a:moveTo>
                        <a:pt x="198" y="2574"/>
                      </a:moveTo>
                      <a:cubicBezTo>
                        <a:pt x="858" y="593"/>
                        <a:pt x="2972" y="-464"/>
                        <a:pt x="4953" y="197"/>
                      </a:cubicBezTo>
                      <a:cubicBezTo>
                        <a:pt x="6923" y="857"/>
                        <a:pt x="7992" y="2983"/>
                        <a:pt x="7331" y="4952"/>
                      </a:cubicBezTo>
                      <a:cubicBezTo>
                        <a:pt x="6671" y="6946"/>
                        <a:pt x="4533" y="8003"/>
                        <a:pt x="2576" y="7330"/>
                      </a:cubicBezTo>
                      <a:cubicBezTo>
                        <a:pt x="582" y="6670"/>
                        <a:pt x="-463" y="4544"/>
                        <a:pt x="198" y="2562"/>
                      </a:cubicBezTo>
                      <a:close/>
                    </a:path>
                  </a:pathLst>
                </a:custGeom>
                <a:solidFill>
                  <a:srgbClr val="394553"/>
                </a:solidFill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368" name="Forma livre: Forma 1367">
                  <a:extLst>
                    <a:ext uri="{FF2B5EF4-FFF2-40B4-BE49-F238E27FC236}">
                      <a16:creationId xmlns:a16="http://schemas.microsoft.com/office/drawing/2014/main" id="{C6798F9E-68B6-1551-2910-1A1D016CF9DA}"/>
                    </a:ext>
                  </a:extLst>
                </p:cNvPr>
                <p:cNvSpPr/>
                <p:nvPr/>
              </p:nvSpPr>
              <p:spPr>
                <a:xfrm>
                  <a:off x="2066470" y="6000362"/>
                  <a:ext cx="7543" cy="7532"/>
                </a:xfrm>
                <a:custGeom>
                  <a:avLst/>
                  <a:gdLst>
                    <a:gd name="connsiteX0" fmla="*/ 210 w 7543"/>
                    <a:gd name="connsiteY0" fmla="*/ 2567 h 7532"/>
                    <a:gd name="connsiteX1" fmla="*/ 4966 w 7543"/>
                    <a:gd name="connsiteY1" fmla="*/ 201 h 7532"/>
                    <a:gd name="connsiteX2" fmla="*/ 7343 w 7543"/>
                    <a:gd name="connsiteY2" fmla="*/ 4957 h 7532"/>
                    <a:gd name="connsiteX3" fmla="*/ 2564 w 7543"/>
                    <a:gd name="connsiteY3" fmla="*/ 7335 h 7532"/>
                    <a:gd name="connsiteX4" fmla="*/ 198 w 7543"/>
                    <a:gd name="connsiteY4" fmla="*/ 2555 h 753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7543" h="7532">
                      <a:moveTo>
                        <a:pt x="210" y="2567"/>
                      </a:moveTo>
                      <a:cubicBezTo>
                        <a:pt x="870" y="598"/>
                        <a:pt x="2984" y="-471"/>
                        <a:pt x="4966" y="201"/>
                      </a:cubicBezTo>
                      <a:cubicBezTo>
                        <a:pt x="6935" y="850"/>
                        <a:pt x="8016" y="2987"/>
                        <a:pt x="7343" y="4957"/>
                      </a:cubicBezTo>
                      <a:cubicBezTo>
                        <a:pt x="6683" y="6951"/>
                        <a:pt x="4533" y="7995"/>
                        <a:pt x="2564" y="7335"/>
                      </a:cubicBezTo>
                      <a:cubicBezTo>
                        <a:pt x="582" y="6674"/>
                        <a:pt x="-463" y="4549"/>
                        <a:pt x="198" y="2555"/>
                      </a:cubicBezTo>
                      <a:close/>
                    </a:path>
                  </a:pathLst>
                </a:custGeom>
                <a:solidFill>
                  <a:srgbClr val="394553"/>
                </a:solidFill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sp>
          <p:nvSpPr>
            <p:cNvPr id="1369" name="Forma livre: Forma 1368">
              <a:extLst>
                <a:ext uri="{FF2B5EF4-FFF2-40B4-BE49-F238E27FC236}">
                  <a16:creationId xmlns:a16="http://schemas.microsoft.com/office/drawing/2014/main" id="{10BB0B39-2C7C-B48A-A4B6-71E998ADE949}"/>
                </a:ext>
              </a:extLst>
            </p:cNvPr>
            <p:cNvSpPr/>
            <p:nvPr/>
          </p:nvSpPr>
          <p:spPr>
            <a:xfrm>
              <a:off x="1972405" y="5820651"/>
              <a:ext cx="234425" cy="298288"/>
            </a:xfrm>
            <a:custGeom>
              <a:avLst/>
              <a:gdLst>
                <a:gd name="connsiteX0" fmla="*/ 99703 w 234425"/>
                <a:gd name="connsiteY0" fmla="*/ 21569 h 298288"/>
                <a:gd name="connsiteX1" fmla="*/ 98 w 234425"/>
                <a:gd name="connsiteY1" fmla="*/ 50656 h 298288"/>
                <a:gd name="connsiteX2" fmla="*/ 98 w 234425"/>
                <a:gd name="connsiteY2" fmla="*/ 178159 h 298288"/>
                <a:gd name="connsiteX3" fmla="*/ 117213 w 234425"/>
                <a:gd name="connsiteY3" fmla="*/ 298288 h 298288"/>
                <a:gd name="connsiteX4" fmla="*/ 234328 w 234425"/>
                <a:gd name="connsiteY4" fmla="*/ 178159 h 298288"/>
                <a:gd name="connsiteX5" fmla="*/ 234328 w 234425"/>
                <a:gd name="connsiteY5" fmla="*/ 50656 h 298288"/>
                <a:gd name="connsiteX6" fmla="*/ 117213 w 234425"/>
                <a:gd name="connsiteY6" fmla="*/ 0 h 2982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34425" h="298288">
                  <a:moveTo>
                    <a:pt x="99703" y="21569"/>
                  </a:moveTo>
                  <a:cubicBezTo>
                    <a:pt x="83370" y="35356"/>
                    <a:pt x="53275" y="50656"/>
                    <a:pt x="98" y="50656"/>
                  </a:cubicBezTo>
                  <a:lnTo>
                    <a:pt x="98" y="178159"/>
                  </a:lnTo>
                  <a:cubicBezTo>
                    <a:pt x="98" y="178159"/>
                    <a:pt x="-7745" y="239430"/>
                    <a:pt x="117213" y="298288"/>
                  </a:cubicBezTo>
                  <a:cubicBezTo>
                    <a:pt x="242170" y="239430"/>
                    <a:pt x="234328" y="178159"/>
                    <a:pt x="234328" y="178159"/>
                  </a:cubicBezTo>
                  <a:lnTo>
                    <a:pt x="234328" y="50656"/>
                  </a:lnTo>
                  <a:cubicBezTo>
                    <a:pt x="137593" y="50656"/>
                    <a:pt x="117213" y="0"/>
                    <a:pt x="117213" y="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370" name="Gráfico 12">
            <a:extLst>
              <a:ext uri="{FF2B5EF4-FFF2-40B4-BE49-F238E27FC236}">
                <a16:creationId xmlns:a16="http://schemas.microsoft.com/office/drawing/2014/main" id="{BDED3ABA-3D78-1B49-A0BF-3DC73B3CEBA9}"/>
              </a:ext>
            </a:extLst>
          </p:cNvPr>
          <p:cNvGrpSpPr/>
          <p:nvPr/>
        </p:nvGrpSpPr>
        <p:grpSpPr>
          <a:xfrm>
            <a:off x="1311328" y="4214437"/>
            <a:ext cx="304545" cy="304557"/>
            <a:chOff x="1311328" y="4214437"/>
            <a:chExt cx="304545" cy="304557"/>
          </a:xfrm>
          <a:noFill/>
        </p:grpSpPr>
        <p:sp>
          <p:nvSpPr>
            <p:cNvPr id="1371" name="Forma livre: Forma 1370">
              <a:extLst>
                <a:ext uri="{FF2B5EF4-FFF2-40B4-BE49-F238E27FC236}">
                  <a16:creationId xmlns:a16="http://schemas.microsoft.com/office/drawing/2014/main" id="{B235D648-A955-9006-0B01-34D9E9BA80C6}"/>
                </a:ext>
              </a:extLst>
            </p:cNvPr>
            <p:cNvSpPr/>
            <p:nvPr/>
          </p:nvSpPr>
          <p:spPr>
            <a:xfrm>
              <a:off x="1557580" y="4214437"/>
              <a:ext cx="58293" cy="58317"/>
            </a:xfrm>
            <a:custGeom>
              <a:avLst/>
              <a:gdLst>
                <a:gd name="connsiteX0" fmla="*/ 0 w 58293"/>
                <a:gd name="connsiteY0" fmla="*/ 0 h 58317"/>
                <a:gd name="connsiteX1" fmla="*/ 58293 w 58293"/>
                <a:gd name="connsiteY1" fmla="*/ 58317 h 583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8293" h="58317">
                  <a:moveTo>
                    <a:pt x="0" y="0"/>
                  </a:moveTo>
                  <a:lnTo>
                    <a:pt x="58293" y="58317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372" name="Gráfico 12">
              <a:extLst>
                <a:ext uri="{FF2B5EF4-FFF2-40B4-BE49-F238E27FC236}">
                  <a16:creationId xmlns:a16="http://schemas.microsoft.com/office/drawing/2014/main" id="{83808453-D564-0B84-CEAB-C9FBADE212BA}"/>
                </a:ext>
              </a:extLst>
            </p:cNvPr>
            <p:cNvGrpSpPr/>
            <p:nvPr/>
          </p:nvGrpSpPr>
          <p:grpSpPr>
            <a:xfrm>
              <a:off x="1378076" y="4275781"/>
              <a:ext cx="176453" cy="176477"/>
              <a:chOff x="1378076" y="4275781"/>
              <a:chExt cx="176453" cy="176477"/>
            </a:xfrm>
            <a:noFill/>
          </p:grpSpPr>
          <p:sp>
            <p:nvSpPr>
              <p:cNvPr id="1373" name="Forma livre: Forma 1372">
                <a:extLst>
                  <a:ext uri="{FF2B5EF4-FFF2-40B4-BE49-F238E27FC236}">
                    <a16:creationId xmlns:a16="http://schemas.microsoft.com/office/drawing/2014/main" id="{AA7ED2B4-816C-4006-13AD-5AC4DEAD01EE}"/>
                  </a:ext>
                </a:extLst>
              </p:cNvPr>
              <p:cNvSpPr/>
              <p:nvPr/>
            </p:nvSpPr>
            <p:spPr>
              <a:xfrm>
                <a:off x="1378076" y="4275781"/>
                <a:ext cx="176453" cy="176477"/>
              </a:xfrm>
              <a:custGeom>
                <a:avLst/>
                <a:gdLst>
                  <a:gd name="connsiteX0" fmla="*/ 176453 w 176453"/>
                  <a:gd name="connsiteY0" fmla="*/ 49923 h 176477"/>
                  <a:gd name="connsiteX1" fmla="*/ 49911 w 176453"/>
                  <a:gd name="connsiteY1" fmla="*/ 176477 h 176477"/>
                  <a:gd name="connsiteX2" fmla="*/ 0 w 176453"/>
                  <a:gd name="connsiteY2" fmla="*/ 126555 h 176477"/>
                  <a:gd name="connsiteX3" fmla="*/ 126543 w 176453"/>
                  <a:gd name="connsiteY3" fmla="*/ 0 h 1764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76453" h="176477">
                    <a:moveTo>
                      <a:pt x="176453" y="49923"/>
                    </a:moveTo>
                    <a:lnTo>
                      <a:pt x="49911" y="176477"/>
                    </a:lnTo>
                    <a:lnTo>
                      <a:pt x="0" y="126555"/>
                    </a:lnTo>
                    <a:lnTo>
                      <a:pt x="126543" y="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374" name="Forma livre: Forma 1373">
                <a:extLst>
                  <a:ext uri="{FF2B5EF4-FFF2-40B4-BE49-F238E27FC236}">
                    <a16:creationId xmlns:a16="http://schemas.microsoft.com/office/drawing/2014/main" id="{03921D92-A62A-F948-08E4-607516D44DFF}"/>
                  </a:ext>
                </a:extLst>
              </p:cNvPr>
              <p:cNvSpPr/>
              <p:nvPr/>
            </p:nvSpPr>
            <p:spPr>
              <a:xfrm>
                <a:off x="1471473" y="4311496"/>
                <a:ext cx="17377" cy="17353"/>
              </a:xfrm>
              <a:custGeom>
                <a:avLst/>
                <a:gdLst>
                  <a:gd name="connsiteX0" fmla="*/ 0 w 17377"/>
                  <a:gd name="connsiteY0" fmla="*/ 0 h 17353"/>
                  <a:gd name="connsiteX1" fmla="*/ 17378 w 17377"/>
                  <a:gd name="connsiteY1" fmla="*/ 17354 h 173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7377" h="17353">
                    <a:moveTo>
                      <a:pt x="0" y="0"/>
                    </a:moveTo>
                    <a:lnTo>
                      <a:pt x="17378" y="17354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375" name="Forma livre: Forma 1374">
                <a:extLst>
                  <a:ext uri="{FF2B5EF4-FFF2-40B4-BE49-F238E27FC236}">
                    <a16:creationId xmlns:a16="http://schemas.microsoft.com/office/drawing/2014/main" id="{77C3D889-95B7-7D69-E4B9-BEC03889F4E5}"/>
                  </a:ext>
                </a:extLst>
              </p:cNvPr>
              <p:cNvSpPr/>
              <p:nvPr/>
            </p:nvSpPr>
            <p:spPr>
              <a:xfrm>
                <a:off x="1440789" y="4342180"/>
                <a:ext cx="17365" cy="17365"/>
              </a:xfrm>
              <a:custGeom>
                <a:avLst/>
                <a:gdLst>
                  <a:gd name="connsiteX0" fmla="*/ 0 w 17365"/>
                  <a:gd name="connsiteY0" fmla="*/ 0 h 17365"/>
                  <a:gd name="connsiteX1" fmla="*/ 17366 w 17365"/>
                  <a:gd name="connsiteY1" fmla="*/ 17366 h 173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7365" h="17365">
                    <a:moveTo>
                      <a:pt x="0" y="0"/>
                    </a:moveTo>
                    <a:lnTo>
                      <a:pt x="17366" y="17366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376" name="Forma livre: Forma 1375">
                <a:extLst>
                  <a:ext uri="{FF2B5EF4-FFF2-40B4-BE49-F238E27FC236}">
                    <a16:creationId xmlns:a16="http://schemas.microsoft.com/office/drawing/2014/main" id="{98AA5300-671F-DFD3-94E5-D81AD820576B}"/>
                  </a:ext>
                </a:extLst>
              </p:cNvPr>
              <p:cNvSpPr/>
              <p:nvPr/>
            </p:nvSpPr>
            <p:spPr>
              <a:xfrm>
                <a:off x="1410093" y="4372876"/>
                <a:ext cx="17365" cy="17365"/>
              </a:xfrm>
              <a:custGeom>
                <a:avLst/>
                <a:gdLst>
                  <a:gd name="connsiteX0" fmla="*/ 0 w 17365"/>
                  <a:gd name="connsiteY0" fmla="*/ 0 h 17365"/>
                  <a:gd name="connsiteX1" fmla="*/ 17366 w 17365"/>
                  <a:gd name="connsiteY1" fmla="*/ 17366 h 173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7365" h="17365">
                    <a:moveTo>
                      <a:pt x="0" y="0"/>
                    </a:moveTo>
                    <a:lnTo>
                      <a:pt x="17366" y="17366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377" name="Forma livre: Forma 1376">
              <a:extLst>
                <a:ext uri="{FF2B5EF4-FFF2-40B4-BE49-F238E27FC236}">
                  <a16:creationId xmlns:a16="http://schemas.microsoft.com/office/drawing/2014/main" id="{C911B6FF-5790-333C-965C-0FD83DF953F8}"/>
                </a:ext>
              </a:extLst>
            </p:cNvPr>
            <p:cNvSpPr/>
            <p:nvPr/>
          </p:nvSpPr>
          <p:spPr>
            <a:xfrm>
              <a:off x="1489210" y="4260793"/>
              <a:ext cx="80318" cy="80306"/>
            </a:xfrm>
            <a:custGeom>
              <a:avLst/>
              <a:gdLst>
                <a:gd name="connsiteX0" fmla="*/ 0 w 80318"/>
                <a:gd name="connsiteY0" fmla="*/ 0 h 80306"/>
                <a:gd name="connsiteX1" fmla="*/ 80319 w 80318"/>
                <a:gd name="connsiteY1" fmla="*/ 80307 h 803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0318" h="80306">
                  <a:moveTo>
                    <a:pt x="0" y="0"/>
                  </a:moveTo>
                  <a:lnTo>
                    <a:pt x="80319" y="80307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378" name="Gráfico 12">
              <a:extLst>
                <a:ext uri="{FF2B5EF4-FFF2-40B4-BE49-F238E27FC236}">
                  <a16:creationId xmlns:a16="http://schemas.microsoft.com/office/drawing/2014/main" id="{312E47C9-220C-D5AB-0933-C0B4A941DEA0}"/>
                </a:ext>
              </a:extLst>
            </p:cNvPr>
            <p:cNvGrpSpPr/>
            <p:nvPr/>
          </p:nvGrpSpPr>
          <p:grpSpPr>
            <a:xfrm>
              <a:off x="1531748" y="4230241"/>
              <a:ext cx="68333" cy="68321"/>
              <a:chOff x="1531748" y="4230241"/>
              <a:chExt cx="68333" cy="68321"/>
            </a:xfrm>
          </p:grpSpPr>
          <p:sp>
            <p:nvSpPr>
              <p:cNvPr id="1379" name="Forma livre: Forma 1378">
                <a:extLst>
                  <a:ext uri="{FF2B5EF4-FFF2-40B4-BE49-F238E27FC236}">
                    <a16:creationId xmlns:a16="http://schemas.microsoft.com/office/drawing/2014/main" id="{733983EA-4698-EE35-DC86-97173AD9DF95}"/>
                  </a:ext>
                </a:extLst>
              </p:cNvPr>
              <p:cNvSpPr/>
              <p:nvPr/>
            </p:nvSpPr>
            <p:spPr>
              <a:xfrm>
                <a:off x="1531748" y="4230241"/>
                <a:ext cx="41744" cy="41732"/>
              </a:xfrm>
              <a:custGeom>
                <a:avLst/>
                <a:gdLst>
                  <a:gd name="connsiteX0" fmla="*/ 0 w 41744"/>
                  <a:gd name="connsiteY0" fmla="*/ 41732 h 41732"/>
                  <a:gd name="connsiteX1" fmla="*/ 41744 w 41744"/>
                  <a:gd name="connsiteY1" fmla="*/ 0 h 417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1744" h="41732">
                    <a:moveTo>
                      <a:pt x="0" y="41732"/>
                    </a:moveTo>
                    <a:lnTo>
                      <a:pt x="41744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380" name="Forma livre: Forma 1379">
                <a:extLst>
                  <a:ext uri="{FF2B5EF4-FFF2-40B4-BE49-F238E27FC236}">
                    <a16:creationId xmlns:a16="http://schemas.microsoft.com/office/drawing/2014/main" id="{C2D65370-7693-2F45-679B-B3CC0A87EB5D}"/>
                  </a:ext>
                </a:extLst>
              </p:cNvPr>
              <p:cNvSpPr/>
              <p:nvPr/>
            </p:nvSpPr>
            <p:spPr>
              <a:xfrm>
                <a:off x="1558336" y="4256818"/>
                <a:ext cx="41744" cy="41744"/>
              </a:xfrm>
              <a:custGeom>
                <a:avLst/>
                <a:gdLst>
                  <a:gd name="connsiteX0" fmla="*/ 0 w 41744"/>
                  <a:gd name="connsiteY0" fmla="*/ 41744 h 41744"/>
                  <a:gd name="connsiteX1" fmla="*/ 41745 w 41744"/>
                  <a:gd name="connsiteY1" fmla="*/ 0 h 417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1744" h="41744">
                    <a:moveTo>
                      <a:pt x="0" y="41744"/>
                    </a:moveTo>
                    <a:lnTo>
                      <a:pt x="41745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381" name="Forma livre: Forma 1380">
              <a:extLst>
                <a:ext uri="{FF2B5EF4-FFF2-40B4-BE49-F238E27FC236}">
                  <a16:creationId xmlns:a16="http://schemas.microsoft.com/office/drawing/2014/main" id="{B4837EF8-0131-D82F-E9B1-0D0BB4D1B4E6}"/>
                </a:ext>
              </a:extLst>
            </p:cNvPr>
            <p:cNvSpPr/>
            <p:nvPr/>
          </p:nvSpPr>
          <p:spPr>
            <a:xfrm>
              <a:off x="1311328" y="4468627"/>
              <a:ext cx="50343" cy="50367"/>
            </a:xfrm>
            <a:custGeom>
              <a:avLst/>
              <a:gdLst>
                <a:gd name="connsiteX0" fmla="*/ 50343 w 50343"/>
                <a:gd name="connsiteY0" fmla="*/ 0 h 50367"/>
                <a:gd name="connsiteX1" fmla="*/ 0 w 50343"/>
                <a:gd name="connsiteY1" fmla="*/ 50367 h 503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0343" h="50367">
                  <a:moveTo>
                    <a:pt x="50343" y="0"/>
                  </a:moveTo>
                  <a:lnTo>
                    <a:pt x="0" y="50367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382" name="Forma livre: Forma 1381">
              <a:extLst>
                <a:ext uri="{FF2B5EF4-FFF2-40B4-BE49-F238E27FC236}">
                  <a16:creationId xmlns:a16="http://schemas.microsoft.com/office/drawing/2014/main" id="{3FF4CAD4-C7B0-31AE-1B1E-C0128CB6E77C}"/>
                </a:ext>
              </a:extLst>
            </p:cNvPr>
            <p:cNvSpPr/>
            <p:nvPr/>
          </p:nvSpPr>
          <p:spPr>
            <a:xfrm>
              <a:off x="1354429" y="4414441"/>
              <a:ext cx="42969" cy="61451"/>
            </a:xfrm>
            <a:custGeom>
              <a:avLst/>
              <a:gdLst>
                <a:gd name="connsiteX0" fmla="*/ 42969 w 42969"/>
                <a:gd name="connsiteY0" fmla="*/ 39114 h 61451"/>
                <a:gd name="connsiteX1" fmla="*/ 18518 w 42969"/>
                <a:gd name="connsiteY1" fmla="*/ 61452 h 61451"/>
                <a:gd name="connsiteX2" fmla="*/ 0 w 42969"/>
                <a:gd name="connsiteY2" fmla="*/ 42933 h 61451"/>
                <a:gd name="connsiteX3" fmla="*/ 39223 w 42969"/>
                <a:gd name="connsiteY3" fmla="*/ 0 h 614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2969" h="61451">
                  <a:moveTo>
                    <a:pt x="42969" y="39114"/>
                  </a:moveTo>
                  <a:lnTo>
                    <a:pt x="18518" y="61452"/>
                  </a:lnTo>
                  <a:lnTo>
                    <a:pt x="0" y="42933"/>
                  </a:lnTo>
                  <a:lnTo>
                    <a:pt x="39223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383" name="Gráfico 12">
            <a:extLst>
              <a:ext uri="{FF2B5EF4-FFF2-40B4-BE49-F238E27FC236}">
                <a16:creationId xmlns:a16="http://schemas.microsoft.com/office/drawing/2014/main" id="{F300D4FF-523C-B5B0-0E7B-0176A9451553}"/>
              </a:ext>
            </a:extLst>
          </p:cNvPr>
          <p:cNvGrpSpPr/>
          <p:nvPr/>
        </p:nvGrpSpPr>
        <p:grpSpPr>
          <a:xfrm>
            <a:off x="1332334" y="4769670"/>
            <a:ext cx="262518" cy="262803"/>
            <a:chOff x="1332334" y="4769670"/>
            <a:chExt cx="262518" cy="262803"/>
          </a:xfrm>
        </p:grpSpPr>
        <p:grpSp>
          <p:nvGrpSpPr>
            <p:cNvPr id="1384" name="Gráfico 12">
              <a:extLst>
                <a:ext uri="{FF2B5EF4-FFF2-40B4-BE49-F238E27FC236}">
                  <a16:creationId xmlns:a16="http://schemas.microsoft.com/office/drawing/2014/main" id="{6445F75B-14B8-1336-AE66-23CEFEDE002D}"/>
                </a:ext>
              </a:extLst>
            </p:cNvPr>
            <p:cNvGrpSpPr/>
            <p:nvPr/>
          </p:nvGrpSpPr>
          <p:grpSpPr>
            <a:xfrm>
              <a:off x="1371495" y="4808816"/>
              <a:ext cx="145709" cy="145721"/>
              <a:chOff x="1371495" y="4808816"/>
              <a:chExt cx="145709" cy="145721"/>
            </a:xfrm>
          </p:grpSpPr>
          <p:grpSp>
            <p:nvGrpSpPr>
              <p:cNvPr id="1385" name="Gráfico 12">
                <a:extLst>
                  <a:ext uri="{FF2B5EF4-FFF2-40B4-BE49-F238E27FC236}">
                    <a16:creationId xmlns:a16="http://schemas.microsoft.com/office/drawing/2014/main" id="{90E5C34F-5582-093C-A610-F661551A9A22}"/>
                  </a:ext>
                </a:extLst>
              </p:cNvPr>
              <p:cNvGrpSpPr/>
              <p:nvPr/>
            </p:nvGrpSpPr>
            <p:grpSpPr>
              <a:xfrm>
                <a:off x="1371495" y="4808816"/>
                <a:ext cx="145709" cy="145721"/>
                <a:chOff x="1371495" y="4808816"/>
                <a:chExt cx="145709" cy="145721"/>
              </a:xfrm>
              <a:noFill/>
            </p:grpSpPr>
            <p:sp>
              <p:nvSpPr>
                <p:cNvPr id="1386" name="Forma livre: Forma 1385">
                  <a:extLst>
                    <a:ext uri="{FF2B5EF4-FFF2-40B4-BE49-F238E27FC236}">
                      <a16:creationId xmlns:a16="http://schemas.microsoft.com/office/drawing/2014/main" id="{C58B4377-557B-9F17-BFDB-2F930F1B5655}"/>
                    </a:ext>
                  </a:extLst>
                </p:cNvPr>
                <p:cNvSpPr/>
                <p:nvPr/>
              </p:nvSpPr>
              <p:spPr>
                <a:xfrm>
                  <a:off x="1392163" y="4829484"/>
                  <a:ext cx="104385" cy="104385"/>
                </a:xfrm>
                <a:custGeom>
                  <a:avLst/>
                  <a:gdLst>
                    <a:gd name="connsiteX0" fmla="*/ 104385 w 104385"/>
                    <a:gd name="connsiteY0" fmla="*/ 52193 h 104385"/>
                    <a:gd name="connsiteX1" fmla="*/ 52193 w 104385"/>
                    <a:gd name="connsiteY1" fmla="*/ 104385 h 104385"/>
                    <a:gd name="connsiteX2" fmla="*/ 0 w 104385"/>
                    <a:gd name="connsiteY2" fmla="*/ 52193 h 104385"/>
                    <a:gd name="connsiteX3" fmla="*/ 52193 w 104385"/>
                    <a:gd name="connsiteY3" fmla="*/ 0 h 104385"/>
                    <a:gd name="connsiteX4" fmla="*/ 104385 w 104385"/>
                    <a:gd name="connsiteY4" fmla="*/ 52193 h 10438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04385" h="104385">
                      <a:moveTo>
                        <a:pt x="104385" y="52193"/>
                      </a:moveTo>
                      <a:cubicBezTo>
                        <a:pt x="104385" y="81015"/>
                        <a:pt x="81015" y="104385"/>
                        <a:pt x="52193" y="104385"/>
                      </a:cubicBezTo>
                      <a:cubicBezTo>
                        <a:pt x="23370" y="104385"/>
                        <a:pt x="0" y="81015"/>
                        <a:pt x="0" y="52193"/>
                      </a:cubicBezTo>
                      <a:cubicBezTo>
                        <a:pt x="0" y="23370"/>
                        <a:pt x="23370" y="0"/>
                        <a:pt x="52193" y="0"/>
                      </a:cubicBezTo>
                      <a:cubicBezTo>
                        <a:pt x="81015" y="0"/>
                        <a:pt x="104385" y="23370"/>
                        <a:pt x="104385" y="52193"/>
                      </a:cubicBezTo>
                      <a:close/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grpSp>
              <p:nvGrpSpPr>
                <p:cNvPr id="1387" name="Gráfico 12">
                  <a:extLst>
                    <a:ext uri="{FF2B5EF4-FFF2-40B4-BE49-F238E27FC236}">
                      <a16:creationId xmlns:a16="http://schemas.microsoft.com/office/drawing/2014/main" id="{E6DF75C8-C6E1-41A8-080F-B600AADC5549}"/>
                    </a:ext>
                  </a:extLst>
                </p:cNvPr>
                <p:cNvGrpSpPr/>
                <p:nvPr/>
              </p:nvGrpSpPr>
              <p:grpSpPr>
                <a:xfrm>
                  <a:off x="1444355" y="4808816"/>
                  <a:ext cx="1200" cy="145721"/>
                  <a:chOff x="1444355" y="4808816"/>
                  <a:chExt cx="1200" cy="145721"/>
                </a:xfrm>
              </p:grpSpPr>
              <p:sp>
                <p:nvSpPr>
                  <p:cNvPr id="1388" name="Forma livre: Forma 1387">
                    <a:extLst>
                      <a:ext uri="{FF2B5EF4-FFF2-40B4-BE49-F238E27FC236}">
                        <a16:creationId xmlns:a16="http://schemas.microsoft.com/office/drawing/2014/main" id="{CF037F48-CB23-5C2B-0455-CE13B5666BD2}"/>
                      </a:ext>
                    </a:extLst>
                  </p:cNvPr>
                  <p:cNvSpPr/>
                  <p:nvPr/>
                </p:nvSpPr>
                <p:spPr>
                  <a:xfrm>
                    <a:off x="1444355" y="4808816"/>
                    <a:ext cx="1200" cy="19695"/>
                  </a:xfrm>
                  <a:custGeom>
                    <a:avLst/>
                    <a:gdLst>
                      <a:gd name="connsiteX0" fmla="*/ 0 w 1200"/>
                      <a:gd name="connsiteY0" fmla="*/ 19695 h 19695"/>
                      <a:gd name="connsiteX1" fmla="*/ 0 w 1200"/>
                      <a:gd name="connsiteY1" fmla="*/ 0 h 1969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200" h="19695">
                        <a:moveTo>
                          <a:pt x="0" y="19695"/>
                        </a:moveTo>
                        <a:lnTo>
                          <a:pt x="0" y="0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1389" name="Forma livre: Forma 1388">
                    <a:extLst>
                      <a:ext uri="{FF2B5EF4-FFF2-40B4-BE49-F238E27FC236}">
                        <a16:creationId xmlns:a16="http://schemas.microsoft.com/office/drawing/2014/main" id="{FACB2C37-B8FE-21E7-5EE0-E1CAF5F5A40E}"/>
                      </a:ext>
                    </a:extLst>
                  </p:cNvPr>
                  <p:cNvSpPr/>
                  <p:nvPr/>
                </p:nvSpPr>
                <p:spPr>
                  <a:xfrm>
                    <a:off x="1444355" y="4934830"/>
                    <a:ext cx="1200" cy="19707"/>
                  </a:xfrm>
                  <a:custGeom>
                    <a:avLst/>
                    <a:gdLst>
                      <a:gd name="connsiteX0" fmla="*/ 0 w 1200"/>
                      <a:gd name="connsiteY0" fmla="*/ 19707 h 19707"/>
                      <a:gd name="connsiteX1" fmla="*/ 0 w 1200"/>
                      <a:gd name="connsiteY1" fmla="*/ 0 h 1970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200" h="19707">
                        <a:moveTo>
                          <a:pt x="0" y="19707"/>
                        </a:moveTo>
                        <a:lnTo>
                          <a:pt x="0" y="0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  <p:grpSp>
              <p:nvGrpSpPr>
                <p:cNvPr id="1390" name="Gráfico 12">
                  <a:extLst>
                    <a:ext uri="{FF2B5EF4-FFF2-40B4-BE49-F238E27FC236}">
                      <a16:creationId xmlns:a16="http://schemas.microsoft.com/office/drawing/2014/main" id="{5527A0BD-0200-03C6-16B4-BEFF572B82F6}"/>
                    </a:ext>
                  </a:extLst>
                </p:cNvPr>
                <p:cNvGrpSpPr/>
                <p:nvPr/>
              </p:nvGrpSpPr>
              <p:grpSpPr>
                <a:xfrm>
                  <a:off x="1371495" y="4881676"/>
                  <a:ext cx="145709" cy="1200"/>
                  <a:chOff x="1371495" y="4881676"/>
                  <a:chExt cx="145709" cy="1200"/>
                </a:xfrm>
              </p:grpSpPr>
              <p:sp>
                <p:nvSpPr>
                  <p:cNvPr id="1391" name="Forma livre: Forma 1390">
                    <a:extLst>
                      <a:ext uri="{FF2B5EF4-FFF2-40B4-BE49-F238E27FC236}">
                        <a16:creationId xmlns:a16="http://schemas.microsoft.com/office/drawing/2014/main" id="{68788102-17BF-D6BA-5EF4-A594D81A61DB}"/>
                      </a:ext>
                    </a:extLst>
                  </p:cNvPr>
                  <p:cNvSpPr/>
                  <p:nvPr/>
                </p:nvSpPr>
                <p:spPr>
                  <a:xfrm>
                    <a:off x="1497509" y="4881676"/>
                    <a:ext cx="19695" cy="1200"/>
                  </a:xfrm>
                  <a:custGeom>
                    <a:avLst/>
                    <a:gdLst>
                      <a:gd name="connsiteX0" fmla="*/ 0 w 19695"/>
                      <a:gd name="connsiteY0" fmla="*/ 0 h 1200"/>
                      <a:gd name="connsiteX1" fmla="*/ 19695 w 19695"/>
                      <a:gd name="connsiteY1" fmla="*/ 0 h 120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9695" h="1200">
                        <a:moveTo>
                          <a:pt x="0" y="0"/>
                        </a:moveTo>
                        <a:lnTo>
                          <a:pt x="19695" y="0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1392" name="Forma livre: Forma 1391">
                    <a:extLst>
                      <a:ext uri="{FF2B5EF4-FFF2-40B4-BE49-F238E27FC236}">
                        <a16:creationId xmlns:a16="http://schemas.microsoft.com/office/drawing/2014/main" id="{C3308CED-2EF2-E436-A77F-9F01E5E82702}"/>
                      </a:ext>
                    </a:extLst>
                  </p:cNvPr>
                  <p:cNvSpPr/>
                  <p:nvPr/>
                </p:nvSpPr>
                <p:spPr>
                  <a:xfrm>
                    <a:off x="1371495" y="4881676"/>
                    <a:ext cx="19695" cy="1200"/>
                  </a:xfrm>
                  <a:custGeom>
                    <a:avLst/>
                    <a:gdLst>
                      <a:gd name="connsiteX0" fmla="*/ 0 w 19695"/>
                      <a:gd name="connsiteY0" fmla="*/ 0 h 1200"/>
                      <a:gd name="connsiteX1" fmla="*/ 19695 w 19695"/>
                      <a:gd name="connsiteY1" fmla="*/ 0 h 120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9695" h="1200">
                        <a:moveTo>
                          <a:pt x="0" y="0"/>
                        </a:moveTo>
                        <a:lnTo>
                          <a:pt x="19695" y="0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  <p:grpSp>
              <p:nvGrpSpPr>
                <p:cNvPr id="1393" name="Gráfico 12">
                  <a:extLst>
                    <a:ext uri="{FF2B5EF4-FFF2-40B4-BE49-F238E27FC236}">
                      <a16:creationId xmlns:a16="http://schemas.microsoft.com/office/drawing/2014/main" id="{A18153C6-7B23-682F-7E37-5EBDE073AC36}"/>
                    </a:ext>
                  </a:extLst>
                </p:cNvPr>
                <p:cNvGrpSpPr/>
                <p:nvPr/>
              </p:nvGrpSpPr>
              <p:grpSpPr>
                <a:xfrm>
                  <a:off x="1392835" y="4830156"/>
                  <a:ext cx="103040" cy="103040"/>
                  <a:chOff x="1392835" y="4830156"/>
                  <a:chExt cx="103040" cy="103040"/>
                </a:xfrm>
              </p:grpSpPr>
              <p:sp>
                <p:nvSpPr>
                  <p:cNvPr id="1394" name="Forma livre: Forma 1393">
                    <a:extLst>
                      <a:ext uri="{FF2B5EF4-FFF2-40B4-BE49-F238E27FC236}">
                        <a16:creationId xmlns:a16="http://schemas.microsoft.com/office/drawing/2014/main" id="{AF51D1B4-F690-AB25-3EE8-7C1DD12D56F5}"/>
                      </a:ext>
                    </a:extLst>
                  </p:cNvPr>
                  <p:cNvSpPr/>
                  <p:nvPr/>
                </p:nvSpPr>
                <p:spPr>
                  <a:xfrm>
                    <a:off x="1392835" y="4830156"/>
                    <a:ext cx="13930" cy="13930"/>
                  </a:xfrm>
                  <a:custGeom>
                    <a:avLst/>
                    <a:gdLst>
                      <a:gd name="connsiteX0" fmla="*/ 13931 w 13930"/>
                      <a:gd name="connsiteY0" fmla="*/ 13931 h 13930"/>
                      <a:gd name="connsiteX1" fmla="*/ 0 w 13930"/>
                      <a:gd name="connsiteY1" fmla="*/ 0 h 1393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3930" h="13930">
                        <a:moveTo>
                          <a:pt x="13931" y="13931"/>
                        </a:moveTo>
                        <a:lnTo>
                          <a:pt x="0" y="0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1395" name="Forma livre: Forma 1394">
                    <a:extLst>
                      <a:ext uri="{FF2B5EF4-FFF2-40B4-BE49-F238E27FC236}">
                        <a16:creationId xmlns:a16="http://schemas.microsoft.com/office/drawing/2014/main" id="{E09E1811-BEA4-F1A0-3A73-513DAFB4A57A}"/>
                      </a:ext>
                    </a:extLst>
                  </p:cNvPr>
                  <p:cNvSpPr/>
                  <p:nvPr/>
                </p:nvSpPr>
                <p:spPr>
                  <a:xfrm>
                    <a:off x="1481945" y="4919266"/>
                    <a:ext cx="13930" cy="13930"/>
                  </a:xfrm>
                  <a:custGeom>
                    <a:avLst/>
                    <a:gdLst>
                      <a:gd name="connsiteX0" fmla="*/ 13931 w 13930"/>
                      <a:gd name="connsiteY0" fmla="*/ 13931 h 13930"/>
                      <a:gd name="connsiteX1" fmla="*/ 0 w 13930"/>
                      <a:gd name="connsiteY1" fmla="*/ 0 h 1393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3930" h="13930">
                        <a:moveTo>
                          <a:pt x="13931" y="13931"/>
                        </a:moveTo>
                        <a:lnTo>
                          <a:pt x="0" y="0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  <p:grpSp>
              <p:nvGrpSpPr>
                <p:cNvPr id="1396" name="Gráfico 12">
                  <a:extLst>
                    <a:ext uri="{FF2B5EF4-FFF2-40B4-BE49-F238E27FC236}">
                      <a16:creationId xmlns:a16="http://schemas.microsoft.com/office/drawing/2014/main" id="{CF629CAE-5C9D-91B7-98DF-E1D7E5053F2D}"/>
                    </a:ext>
                  </a:extLst>
                </p:cNvPr>
                <p:cNvGrpSpPr/>
                <p:nvPr/>
              </p:nvGrpSpPr>
              <p:grpSpPr>
                <a:xfrm>
                  <a:off x="1392835" y="4830156"/>
                  <a:ext cx="103028" cy="103040"/>
                  <a:chOff x="1392835" y="4830156"/>
                  <a:chExt cx="103028" cy="103040"/>
                </a:xfrm>
              </p:grpSpPr>
              <p:sp>
                <p:nvSpPr>
                  <p:cNvPr id="1397" name="Forma livre: Forma 1396">
                    <a:extLst>
                      <a:ext uri="{FF2B5EF4-FFF2-40B4-BE49-F238E27FC236}">
                        <a16:creationId xmlns:a16="http://schemas.microsoft.com/office/drawing/2014/main" id="{2B821F7F-A050-767F-9132-641C44BA7C24}"/>
                      </a:ext>
                    </a:extLst>
                  </p:cNvPr>
                  <p:cNvSpPr/>
                  <p:nvPr/>
                </p:nvSpPr>
                <p:spPr>
                  <a:xfrm>
                    <a:off x="1481945" y="4830156"/>
                    <a:ext cx="13918" cy="13930"/>
                  </a:xfrm>
                  <a:custGeom>
                    <a:avLst/>
                    <a:gdLst>
                      <a:gd name="connsiteX0" fmla="*/ 0 w 13918"/>
                      <a:gd name="connsiteY0" fmla="*/ 13931 h 13930"/>
                      <a:gd name="connsiteX1" fmla="*/ 13919 w 13918"/>
                      <a:gd name="connsiteY1" fmla="*/ 0 h 1393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3918" h="13930">
                        <a:moveTo>
                          <a:pt x="0" y="13931"/>
                        </a:moveTo>
                        <a:lnTo>
                          <a:pt x="13919" y="0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1398" name="Forma livre: Forma 1397">
                    <a:extLst>
                      <a:ext uri="{FF2B5EF4-FFF2-40B4-BE49-F238E27FC236}">
                        <a16:creationId xmlns:a16="http://schemas.microsoft.com/office/drawing/2014/main" id="{37021AD1-D461-6447-5FFD-D9D4B60E6958}"/>
                      </a:ext>
                    </a:extLst>
                  </p:cNvPr>
                  <p:cNvSpPr/>
                  <p:nvPr/>
                </p:nvSpPr>
                <p:spPr>
                  <a:xfrm>
                    <a:off x="1392835" y="4919266"/>
                    <a:ext cx="13930" cy="13930"/>
                  </a:xfrm>
                  <a:custGeom>
                    <a:avLst/>
                    <a:gdLst>
                      <a:gd name="connsiteX0" fmla="*/ 0 w 13930"/>
                      <a:gd name="connsiteY0" fmla="*/ 13931 h 13930"/>
                      <a:gd name="connsiteX1" fmla="*/ 13931 w 13930"/>
                      <a:gd name="connsiteY1" fmla="*/ 0 h 1393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3930" h="13930">
                        <a:moveTo>
                          <a:pt x="0" y="13931"/>
                        </a:moveTo>
                        <a:lnTo>
                          <a:pt x="13931" y="0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</p:grpSp>
          <p:grpSp>
            <p:nvGrpSpPr>
              <p:cNvPr id="1399" name="Gráfico 12">
                <a:extLst>
                  <a:ext uri="{FF2B5EF4-FFF2-40B4-BE49-F238E27FC236}">
                    <a16:creationId xmlns:a16="http://schemas.microsoft.com/office/drawing/2014/main" id="{58245F9C-1EB7-C698-9742-BF2C6E5C5580}"/>
                  </a:ext>
                </a:extLst>
              </p:cNvPr>
              <p:cNvGrpSpPr/>
              <p:nvPr/>
            </p:nvGrpSpPr>
            <p:grpSpPr>
              <a:xfrm>
                <a:off x="1418892" y="4861848"/>
                <a:ext cx="44234" cy="41086"/>
                <a:chOff x="1418892" y="4861848"/>
                <a:chExt cx="44234" cy="41086"/>
              </a:xfrm>
              <a:solidFill>
                <a:srgbClr val="394553"/>
              </a:solidFill>
            </p:grpSpPr>
            <p:grpSp>
              <p:nvGrpSpPr>
                <p:cNvPr id="1400" name="Gráfico 12">
                  <a:extLst>
                    <a:ext uri="{FF2B5EF4-FFF2-40B4-BE49-F238E27FC236}">
                      <a16:creationId xmlns:a16="http://schemas.microsoft.com/office/drawing/2014/main" id="{87E4A08B-C5B6-9FD2-5DEF-26C7E1515295}"/>
                    </a:ext>
                  </a:extLst>
                </p:cNvPr>
                <p:cNvGrpSpPr/>
                <p:nvPr/>
              </p:nvGrpSpPr>
              <p:grpSpPr>
                <a:xfrm>
                  <a:off x="1418892" y="4861848"/>
                  <a:ext cx="44234" cy="16036"/>
                  <a:chOff x="1418892" y="4861848"/>
                  <a:chExt cx="44234" cy="16036"/>
                </a:xfrm>
                <a:solidFill>
                  <a:srgbClr val="394553"/>
                </a:solidFill>
              </p:grpSpPr>
              <p:sp>
                <p:nvSpPr>
                  <p:cNvPr id="1401" name="Forma livre: Forma 1400">
                    <a:extLst>
                      <a:ext uri="{FF2B5EF4-FFF2-40B4-BE49-F238E27FC236}">
                        <a16:creationId xmlns:a16="http://schemas.microsoft.com/office/drawing/2014/main" id="{9869385C-6325-EFF5-519C-9A148F27CA2C}"/>
                      </a:ext>
                    </a:extLst>
                  </p:cNvPr>
                  <p:cNvSpPr/>
                  <p:nvPr/>
                </p:nvSpPr>
                <p:spPr>
                  <a:xfrm>
                    <a:off x="1418892" y="4870673"/>
                    <a:ext cx="7197" cy="7211"/>
                  </a:xfrm>
                  <a:custGeom>
                    <a:avLst/>
                    <a:gdLst>
                      <a:gd name="connsiteX0" fmla="*/ 3 w 7197"/>
                      <a:gd name="connsiteY0" fmla="*/ 3270 h 7211"/>
                      <a:gd name="connsiteX1" fmla="*/ 3906 w 7197"/>
                      <a:gd name="connsiteY1" fmla="*/ 15 h 7211"/>
                      <a:gd name="connsiteX2" fmla="*/ 7185 w 7197"/>
                      <a:gd name="connsiteY2" fmla="*/ 3918 h 7211"/>
                      <a:gd name="connsiteX3" fmla="*/ 3270 w 7197"/>
                      <a:gd name="connsiteY3" fmla="*/ 7197 h 7211"/>
                      <a:gd name="connsiteX4" fmla="*/ 15 w 7197"/>
                      <a:gd name="connsiteY4" fmla="*/ 3270 h 721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7197" h="7211">
                        <a:moveTo>
                          <a:pt x="3" y="3270"/>
                        </a:moveTo>
                        <a:cubicBezTo>
                          <a:pt x="171" y="1288"/>
                          <a:pt x="1925" y="-165"/>
                          <a:pt x="3906" y="15"/>
                        </a:cubicBezTo>
                        <a:cubicBezTo>
                          <a:pt x="5876" y="183"/>
                          <a:pt x="7353" y="1949"/>
                          <a:pt x="7185" y="3918"/>
                        </a:cubicBezTo>
                        <a:cubicBezTo>
                          <a:pt x="6993" y="5912"/>
                          <a:pt x="5239" y="7377"/>
                          <a:pt x="3270" y="7197"/>
                        </a:cubicBezTo>
                        <a:cubicBezTo>
                          <a:pt x="1276" y="7017"/>
                          <a:pt x="-165" y="5275"/>
                          <a:pt x="15" y="3270"/>
                        </a:cubicBezTo>
                        <a:close/>
                      </a:path>
                    </a:pathLst>
                  </a:custGeom>
                  <a:solidFill>
                    <a:srgbClr val="394553"/>
                  </a:solidFill>
                  <a:ln w="6350" cap="flat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1402" name="Forma livre: Forma 1401">
                    <a:extLst>
                      <a:ext uri="{FF2B5EF4-FFF2-40B4-BE49-F238E27FC236}">
                        <a16:creationId xmlns:a16="http://schemas.microsoft.com/office/drawing/2014/main" id="{38438213-39E3-3A8E-D959-1A6251A6DDE8}"/>
                      </a:ext>
                    </a:extLst>
                  </p:cNvPr>
                  <p:cNvSpPr/>
                  <p:nvPr/>
                </p:nvSpPr>
                <p:spPr>
                  <a:xfrm>
                    <a:off x="1455919" y="4861848"/>
                    <a:ext cx="7207" cy="7221"/>
                  </a:xfrm>
                  <a:custGeom>
                    <a:avLst/>
                    <a:gdLst>
                      <a:gd name="connsiteX0" fmla="*/ 13 w 7207"/>
                      <a:gd name="connsiteY0" fmla="*/ 3280 h 7221"/>
                      <a:gd name="connsiteX1" fmla="*/ 3916 w 7207"/>
                      <a:gd name="connsiteY1" fmla="*/ 13 h 7221"/>
                      <a:gd name="connsiteX2" fmla="*/ 7195 w 7207"/>
                      <a:gd name="connsiteY2" fmla="*/ 3928 h 7221"/>
                      <a:gd name="connsiteX3" fmla="*/ 3280 w 7207"/>
                      <a:gd name="connsiteY3" fmla="*/ 7207 h 7221"/>
                      <a:gd name="connsiteX4" fmla="*/ 13 w 7207"/>
                      <a:gd name="connsiteY4" fmla="*/ 3280 h 722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7207" h="7221">
                        <a:moveTo>
                          <a:pt x="13" y="3280"/>
                        </a:moveTo>
                        <a:cubicBezTo>
                          <a:pt x="193" y="1298"/>
                          <a:pt x="1923" y="-155"/>
                          <a:pt x="3916" y="13"/>
                        </a:cubicBezTo>
                        <a:cubicBezTo>
                          <a:pt x="5886" y="193"/>
                          <a:pt x="7363" y="1959"/>
                          <a:pt x="7195" y="3928"/>
                        </a:cubicBezTo>
                        <a:cubicBezTo>
                          <a:pt x="7015" y="5922"/>
                          <a:pt x="5249" y="7387"/>
                          <a:pt x="3280" y="7207"/>
                        </a:cubicBezTo>
                        <a:cubicBezTo>
                          <a:pt x="1298" y="7027"/>
                          <a:pt x="-155" y="5285"/>
                          <a:pt x="13" y="3280"/>
                        </a:cubicBezTo>
                        <a:close/>
                      </a:path>
                    </a:pathLst>
                  </a:custGeom>
                  <a:solidFill>
                    <a:srgbClr val="394553"/>
                  </a:solidFill>
                  <a:ln w="6350" cap="flat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  <p:sp>
              <p:nvSpPr>
                <p:cNvPr id="1403" name="Forma livre: Forma 1402">
                  <a:extLst>
                    <a:ext uri="{FF2B5EF4-FFF2-40B4-BE49-F238E27FC236}">
                      <a16:creationId xmlns:a16="http://schemas.microsoft.com/office/drawing/2014/main" id="{F9276F2F-F773-0555-5967-3C5EA2ABAC92}"/>
                    </a:ext>
                  </a:extLst>
                </p:cNvPr>
                <p:cNvSpPr/>
                <p:nvPr/>
              </p:nvSpPr>
              <p:spPr>
                <a:xfrm>
                  <a:off x="1444402" y="4895714"/>
                  <a:ext cx="7207" cy="7220"/>
                </a:xfrm>
                <a:custGeom>
                  <a:avLst/>
                  <a:gdLst>
                    <a:gd name="connsiteX0" fmla="*/ 13 w 7207"/>
                    <a:gd name="connsiteY0" fmla="*/ 3280 h 7220"/>
                    <a:gd name="connsiteX1" fmla="*/ 3916 w 7207"/>
                    <a:gd name="connsiteY1" fmla="*/ 13 h 7220"/>
                    <a:gd name="connsiteX2" fmla="*/ 7195 w 7207"/>
                    <a:gd name="connsiteY2" fmla="*/ 3928 h 7220"/>
                    <a:gd name="connsiteX3" fmla="*/ 3280 w 7207"/>
                    <a:gd name="connsiteY3" fmla="*/ 7207 h 7220"/>
                    <a:gd name="connsiteX4" fmla="*/ 13 w 7207"/>
                    <a:gd name="connsiteY4" fmla="*/ 3280 h 722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7207" h="7220">
                      <a:moveTo>
                        <a:pt x="13" y="3280"/>
                      </a:moveTo>
                      <a:cubicBezTo>
                        <a:pt x="194" y="1298"/>
                        <a:pt x="1923" y="-155"/>
                        <a:pt x="3916" y="13"/>
                      </a:cubicBezTo>
                      <a:cubicBezTo>
                        <a:pt x="5886" y="193"/>
                        <a:pt x="7363" y="1947"/>
                        <a:pt x="7195" y="3928"/>
                      </a:cubicBezTo>
                      <a:cubicBezTo>
                        <a:pt x="7003" y="5922"/>
                        <a:pt x="5249" y="7375"/>
                        <a:pt x="3280" y="7207"/>
                      </a:cubicBezTo>
                      <a:cubicBezTo>
                        <a:pt x="1286" y="7027"/>
                        <a:pt x="-155" y="5273"/>
                        <a:pt x="13" y="3280"/>
                      </a:cubicBezTo>
                      <a:close/>
                    </a:path>
                  </a:pathLst>
                </a:custGeom>
                <a:solidFill>
                  <a:srgbClr val="394553"/>
                </a:solidFill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sp>
          <p:nvSpPr>
            <p:cNvPr id="1404" name="Forma livre: Forma 1403">
              <a:extLst>
                <a:ext uri="{FF2B5EF4-FFF2-40B4-BE49-F238E27FC236}">
                  <a16:creationId xmlns:a16="http://schemas.microsoft.com/office/drawing/2014/main" id="{694391D0-0009-9E7F-8F94-138538E40CF6}"/>
                </a:ext>
              </a:extLst>
            </p:cNvPr>
            <p:cNvSpPr/>
            <p:nvPr/>
          </p:nvSpPr>
          <p:spPr>
            <a:xfrm>
              <a:off x="1332334" y="4769670"/>
              <a:ext cx="224023" cy="224011"/>
            </a:xfrm>
            <a:custGeom>
              <a:avLst/>
              <a:gdLst>
                <a:gd name="connsiteX0" fmla="*/ 59277 w 224023"/>
                <a:gd name="connsiteY0" fmla="*/ 13158 h 224011"/>
                <a:gd name="connsiteX1" fmla="*/ 191211 w 224023"/>
                <a:gd name="connsiteY1" fmla="*/ 32805 h 224011"/>
                <a:gd name="connsiteX2" fmla="*/ 191211 w 224023"/>
                <a:gd name="connsiteY2" fmla="*/ 191208 h 224011"/>
                <a:gd name="connsiteX3" fmla="*/ 32808 w 224023"/>
                <a:gd name="connsiteY3" fmla="*/ 191208 h 224011"/>
                <a:gd name="connsiteX4" fmla="*/ 32808 w 224023"/>
                <a:gd name="connsiteY4" fmla="*/ 32817 h 224011"/>
                <a:gd name="connsiteX5" fmla="*/ 37648 w 224023"/>
                <a:gd name="connsiteY5" fmla="*/ 28253 h 2240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24023" h="224011">
                  <a:moveTo>
                    <a:pt x="59277" y="13158"/>
                  </a:moveTo>
                  <a:cubicBezTo>
                    <a:pt x="101646" y="-9468"/>
                    <a:pt x="155496" y="-2911"/>
                    <a:pt x="191211" y="32805"/>
                  </a:cubicBezTo>
                  <a:cubicBezTo>
                    <a:pt x="234962" y="76543"/>
                    <a:pt x="234962" y="147470"/>
                    <a:pt x="191211" y="191208"/>
                  </a:cubicBezTo>
                  <a:cubicBezTo>
                    <a:pt x="147461" y="234946"/>
                    <a:pt x="76558" y="234946"/>
                    <a:pt x="32808" y="191208"/>
                  </a:cubicBezTo>
                  <a:cubicBezTo>
                    <a:pt x="-10930" y="147482"/>
                    <a:pt x="-10942" y="76567"/>
                    <a:pt x="32808" y="32817"/>
                  </a:cubicBezTo>
                  <a:cubicBezTo>
                    <a:pt x="34393" y="31244"/>
                    <a:pt x="36003" y="29707"/>
                    <a:pt x="37648" y="28253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05" name="Forma livre: Forma 1404">
              <a:extLst>
                <a:ext uri="{FF2B5EF4-FFF2-40B4-BE49-F238E27FC236}">
                  <a16:creationId xmlns:a16="http://schemas.microsoft.com/office/drawing/2014/main" id="{5AF1664B-3B93-3F29-B82A-EE1FCC9D4620}"/>
                </a:ext>
              </a:extLst>
            </p:cNvPr>
            <p:cNvSpPr/>
            <p:nvPr/>
          </p:nvSpPr>
          <p:spPr>
            <a:xfrm>
              <a:off x="1528973" y="4950610"/>
              <a:ext cx="65878" cy="81863"/>
            </a:xfrm>
            <a:custGeom>
              <a:avLst/>
              <a:gdLst>
                <a:gd name="connsiteX0" fmla="*/ 5789 w 65878"/>
                <a:gd name="connsiteY0" fmla="*/ 0 h 81863"/>
                <a:gd name="connsiteX1" fmla="*/ 61968 w 65878"/>
                <a:gd name="connsiteY1" fmla="*/ 56168 h 81863"/>
                <a:gd name="connsiteX2" fmla="*/ 61128 w 65878"/>
                <a:gd name="connsiteY2" fmla="*/ 77112 h 81863"/>
                <a:gd name="connsiteX3" fmla="*/ 40183 w 65878"/>
                <a:gd name="connsiteY3" fmla="*/ 77953 h 81863"/>
                <a:gd name="connsiteX4" fmla="*/ 0 w 65878"/>
                <a:gd name="connsiteY4" fmla="*/ 37769 h 818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5878" h="81863">
                  <a:moveTo>
                    <a:pt x="5789" y="0"/>
                  </a:moveTo>
                  <a:lnTo>
                    <a:pt x="61968" y="56168"/>
                  </a:lnTo>
                  <a:cubicBezTo>
                    <a:pt x="67493" y="61704"/>
                    <a:pt x="67120" y="71119"/>
                    <a:pt x="61128" y="77112"/>
                  </a:cubicBezTo>
                  <a:cubicBezTo>
                    <a:pt x="55135" y="83105"/>
                    <a:pt x="45708" y="83477"/>
                    <a:pt x="40183" y="77953"/>
                  </a:cubicBezTo>
                  <a:lnTo>
                    <a:pt x="0" y="37769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406" name="Gráfico 12">
            <a:extLst>
              <a:ext uri="{FF2B5EF4-FFF2-40B4-BE49-F238E27FC236}">
                <a16:creationId xmlns:a16="http://schemas.microsoft.com/office/drawing/2014/main" id="{B516E70E-0772-F5D5-390D-FEC9BDE9BEBF}"/>
              </a:ext>
            </a:extLst>
          </p:cNvPr>
          <p:cNvGrpSpPr/>
          <p:nvPr/>
        </p:nvGrpSpPr>
        <p:grpSpPr>
          <a:xfrm>
            <a:off x="1380946" y="5285959"/>
            <a:ext cx="165296" cy="298912"/>
            <a:chOff x="1380946" y="5285959"/>
            <a:chExt cx="165296" cy="298912"/>
          </a:xfrm>
          <a:noFill/>
        </p:grpSpPr>
        <p:grpSp>
          <p:nvGrpSpPr>
            <p:cNvPr id="1407" name="Gráfico 12">
              <a:extLst>
                <a:ext uri="{FF2B5EF4-FFF2-40B4-BE49-F238E27FC236}">
                  <a16:creationId xmlns:a16="http://schemas.microsoft.com/office/drawing/2014/main" id="{C03D6C26-C110-C7D3-C5ED-F26FCC29FC12}"/>
                </a:ext>
              </a:extLst>
            </p:cNvPr>
            <p:cNvGrpSpPr/>
            <p:nvPr/>
          </p:nvGrpSpPr>
          <p:grpSpPr>
            <a:xfrm>
              <a:off x="1380946" y="5285959"/>
              <a:ext cx="165296" cy="298912"/>
              <a:chOff x="1380946" y="5285959"/>
              <a:chExt cx="165296" cy="298912"/>
            </a:xfrm>
            <a:noFill/>
          </p:grpSpPr>
          <p:sp>
            <p:nvSpPr>
              <p:cNvPr id="1408" name="Forma livre: Forma 1407">
                <a:extLst>
                  <a:ext uri="{FF2B5EF4-FFF2-40B4-BE49-F238E27FC236}">
                    <a16:creationId xmlns:a16="http://schemas.microsoft.com/office/drawing/2014/main" id="{D60167FE-0C8B-F819-BAB4-6E6042A3BDAE}"/>
                  </a:ext>
                </a:extLst>
              </p:cNvPr>
              <p:cNvSpPr/>
              <p:nvPr/>
            </p:nvSpPr>
            <p:spPr>
              <a:xfrm>
                <a:off x="1380946" y="5285959"/>
                <a:ext cx="165296" cy="298912"/>
              </a:xfrm>
              <a:custGeom>
                <a:avLst/>
                <a:gdLst>
                  <a:gd name="connsiteX0" fmla="*/ 165297 w 165296"/>
                  <a:gd name="connsiteY0" fmla="*/ 284994 h 298912"/>
                  <a:gd name="connsiteX1" fmla="*/ 151762 w 165296"/>
                  <a:gd name="connsiteY1" fmla="*/ 298913 h 298912"/>
                  <a:gd name="connsiteX2" fmla="*/ 13534 w 165296"/>
                  <a:gd name="connsiteY2" fmla="*/ 298913 h 298912"/>
                  <a:gd name="connsiteX3" fmla="*/ 0 w 165296"/>
                  <a:gd name="connsiteY3" fmla="*/ 284994 h 298912"/>
                  <a:gd name="connsiteX4" fmla="*/ 0 w 165296"/>
                  <a:gd name="connsiteY4" fmla="*/ 13535 h 298912"/>
                  <a:gd name="connsiteX5" fmla="*/ 13534 w 165296"/>
                  <a:gd name="connsiteY5" fmla="*/ 0 h 298912"/>
                  <a:gd name="connsiteX6" fmla="*/ 151762 w 165296"/>
                  <a:gd name="connsiteY6" fmla="*/ 0 h 298912"/>
                  <a:gd name="connsiteX7" fmla="*/ 165297 w 165296"/>
                  <a:gd name="connsiteY7" fmla="*/ 13535 h 298912"/>
                  <a:gd name="connsiteX8" fmla="*/ 165297 w 165296"/>
                  <a:gd name="connsiteY8" fmla="*/ 284994 h 2989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65296" h="298912">
                    <a:moveTo>
                      <a:pt x="165297" y="284994"/>
                    </a:moveTo>
                    <a:cubicBezTo>
                      <a:pt x="165297" y="292440"/>
                      <a:pt x="159208" y="298913"/>
                      <a:pt x="151762" y="298913"/>
                    </a:cubicBezTo>
                    <a:lnTo>
                      <a:pt x="13534" y="298913"/>
                    </a:lnTo>
                    <a:cubicBezTo>
                      <a:pt x="6089" y="298913"/>
                      <a:pt x="0" y="292428"/>
                      <a:pt x="0" y="284994"/>
                    </a:cubicBezTo>
                    <a:lnTo>
                      <a:pt x="0" y="13535"/>
                    </a:lnTo>
                    <a:cubicBezTo>
                      <a:pt x="0" y="6089"/>
                      <a:pt x="6077" y="0"/>
                      <a:pt x="13534" y="0"/>
                    </a:cubicBezTo>
                    <a:lnTo>
                      <a:pt x="151762" y="0"/>
                    </a:lnTo>
                    <a:cubicBezTo>
                      <a:pt x="159208" y="0"/>
                      <a:pt x="165297" y="6089"/>
                      <a:pt x="165297" y="13535"/>
                    </a:cubicBezTo>
                    <a:lnTo>
                      <a:pt x="165297" y="284994"/>
                    </a:ln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409" name="Forma livre: Forma 1408">
                <a:extLst>
                  <a:ext uri="{FF2B5EF4-FFF2-40B4-BE49-F238E27FC236}">
                    <a16:creationId xmlns:a16="http://schemas.microsoft.com/office/drawing/2014/main" id="{CE5E4AED-BE86-383A-BA56-58FDD0C39C06}"/>
                  </a:ext>
                </a:extLst>
              </p:cNvPr>
              <p:cNvSpPr/>
              <p:nvPr/>
            </p:nvSpPr>
            <p:spPr>
              <a:xfrm>
                <a:off x="1401806" y="5526050"/>
                <a:ext cx="123588" cy="1200"/>
              </a:xfrm>
              <a:custGeom>
                <a:avLst/>
                <a:gdLst>
                  <a:gd name="connsiteX0" fmla="*/ 0 w 123588"/>
                  <a:gd name="connsiteY0" fmla="*/ 0 h 1200"/>
                  <a:gd name="connsiteX1" fmla="*/ 123588 w 123588"/>
                  <a:gd name="connsiteY1" fmla="*/ 0 h 12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3588" h="1200">
                    <a:moveTo>
                      <a:pt x="0" y="0"/>
                    </a:moveTo>
                    <a:lnTo>
                      <a:pt x="123588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410" name="Forma livre: Forma 1409">
                <a:extLst>
                  <a:ext uri="{FF2B5EF4-FFF2-40B4-BE49-F238E27FC236}">
                    <a16:creationId xmlns:a16="http://schemas.microsoft.com/office/drawing/2014/main" id="{7724D17F-9C6B-99AD-79A0-BB98796D4FEC}"/>
                  </a:ext>
                </a:extLst>
              </p:cNvPr>
              <p:cNvSpPr/>
              <p:nvPr/>
            </p:nvSpPr>
            <p:spPr>
              <a:xfrm>
                <a:off x="1452366" y="5555065"/>
                <a:ext cx="22469" cy="1200"/>
              </a:xfrm>
              <a:custGeom>
                <a:avLst/>
                <a:gdLst>
                  <a:gd name="connsiteX0" fmla="*/ 0 w 22469"/>
                  <a:gd name="connsiteY0" fmla="*/ 0 h 1200"/>
                  <a:gd name="connsiteX1" fmla="*/ 22470 w 22469"/>
                  <a:gd name="connsiteY1" fmla="*/ 0 h 12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2469" h="1200">
                    <a:moveTo>
                      <a:pt x="0" y="0"/>
                    </a:moveTo>
                    <a:lnTo>
                      <a:pt x="2247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411" name="Forma livre: Forma 1410">
              <a:extLst>
                <a:ext uri="{FF2B5EF4-FFF2-40B4-BE49-F238E27FC236}">
                  <a16:creationId xmlns:a16="http://schemas.microsoft.com/office/drawing/2014/main" id="{DF7B5608-0A98-36F4-5F9B-091B6D3EA244}"/>
                </a:ext>
              </a:extLst>
            </p:cNvPr>
            <p:cNvSpPr/>
            <p:nvPr/>
          </p:nvSpPr>
          <p:spPr>
            <a:xfrm>
              <a:off x="1409961" y="5353103"/>
              <a:ext cx="107279" cy="107279"/>
            </a:xfrm>
            <a:custGeom>
              <a:avLst/>
              <a:gdLst>
                <a:gd name="connsiteX0" fmla="*/ 37361 w 107279"/>
                <a:gd name="connsiteY0" fmla="*/ 24631 h 107279"/>
                <a:gd name="connsiteX1" fmla="*/ 37361 w 107279"/>
                <a:gd name="connsiteY1" fmla="*/ 37373 h 107279"/>
                <a:gd name="connsiteX2" fmla="*/ 0 w 107279"/>
                <a:gd name="connsiteY2" fmla="*/ 37373 h 107279"/>
                <a:gd name="connsiteX3" fmla="*/ 0 w 107279"/>
                <a:gd name="connsiteY3" fmla="*/ 69918 h 107279"/>
                <a:gd name="connsiteX4" fmla="*/ 37361 w 107279"/>
                <a:gd name="connsiteY4" fmla="*/ 69918 h 107279"/>
                <a:gd name="connsiteX5" fmla="*/ 37361 w 107279"/>
                <a:gd name="connsiteY5" fmla="*/ 107279 h 107279"/>
                <a:gd name="connsiteX6" fmla="*/ 69918 w 107279"/>
                <a:gd name="connsiteY6" fmla="*/ 107279 h 107279"/>
                <a:gd name="connsiteX7" fmla="*/ 69918 w 107279"/>
                <a:gd name="connsiteY7" fmla="*/ 69918 h 107279"/>
                <a:gd name="connsiteX8" fmla="*/ 107280 w 107279"/>
                <a:gd name="connsiteY8" fmla="*/ 69918 h 107279"/>
                <a:gd name="connsiteX9" fmla="*/ 107280 w 107279"/>
                <a:gd name="connsiteY9" fmla="*/ 37373 h 107279"/>
                <a:gd name="connsiteX10" fmla="*/ 69918 w 107279"/>
                <a:gd name="connsiteY10" fmla="*/ 37373 h 107279"/>
                <a:gd name="connsiteX11" fmla="*/ 69918 w 107279"/>
                <a:gd name="connsiteY11" fmla="*/ 0 h 107279"/>
                <a:gd name="connsiteX12" fmla="*/ 37361 w 107279"/>
                <a:gd name="connsiteY12" fmla="*/ 0 h 1072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07279" h="107279">
                  <a:moveTo>
                    <a:pt x="37361" y="24631"/>
                  </a:moveTo>
                  <a:lnTo>
                    <a:pt x="37361" y="37373"/>
                  </a:lnTo>
                  <a:lnTo>
                    <a:pt x="0" y="37373"/>
                  </a:lnTo>
                  <a:lnTo>
                    <a:pt x="0" y="69918"/>
                  </a:lnTo>
                  <a:lnTo>
                    <a:pt x="37361" y="69918"/>
                  </a:lnTo>
                  <a:lnTo>
                    <a:pt x="37361" y="107279"/>
                  </a:lnTo>
                  <a:lnTo>
                    <a:pt x="69918" y="107279"/>
                  </a:lnTo>
                  <a:lnTo>
                    <a:pt x="69918" y="69918"/>
                  </a:lnTo>
                  <a:lnTo>
                    <a:pt x="107280" y="69918"/>
                  </a:lnTo>
                  <a:lnTo>
                    <a:pt x="107280" y="37373"/>
                  </a:lnTo>
                  <a:lnTo>
                    <a:pt x="69918" y="37373"/>
                  </a:lnTo>
                  <a:lnTo>
                    <a:pt x="69918" y="0"/>
                  </a:lnTo>
                  <a:lnTo>
                    <a:pt x="37361" y="0"/>
                  </a:lnTo>
                </a:path>
              </a:pathLst>
            </a:custGeom>
            <a:noFill/>
            <a:ln w="6350" cap="sq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412" name="Gráfico 12">
            <a:extLst>
              <a:ext uri="{FF2B5EF4-FFF2-40B4-BE49-F238E27FC236}">
                <a16:creationId xmlns:a16="http://schemas.microsoft.com/office/drawing/2014/main" id="{94E7861E-1C3D-94C1-EE13-24ECFACC4210}"/>
              </a:ext>
            </a:extLst>
          </p:cNvPr>
          <p:cNvGrpSpPr/>
          <p:nvPr/>
        </p:nvGrpSpPr>
        <p:grpSpPr>
          <a:xfrm>
            <a:off x="1325607" y="3673402"/>
            <a:ext cx="275986" cy="317901"/>
            <a:chOff x="1325607" y="3673402"/>
            <a:chExt cx="275986" cy="317901"/>
          </a:xfrm>
          <a:noFill/>
        </p:grpSpPr>
        <p:grpSp>
          <p:nvGrpSpPr>
            <p:cNvPr id="1413" name="Gráfico 12">
              <a:extLst>
                <a:ext uri="{FF2B5EF4-FFF2-40B4-BE49-F238E27FC236}">
                  <a16:creationId xmlns:a16="http://schemas.microsoft.com/office/drawing/2014/main" id="{D3074452-FF4D-1112-9C0E-55D634473FDB}"/>
                </a:ext>
              </a:extLst>
            </p:cNvPr>
            <p:cNvGrpSpPr/>
            <p:nvPr/>
          </p:nvGrpSpPr>
          <p:grpSpPr>
            <a:xfrm>
              <a:off x="1395785" y="3732093"/>
              <a:ext cx="205809" cy="259209"/>
              <a:chOff x="1395785" y="3732093"/>
              <a:chExt cx="205809" cy="259209"/>
            </a:xfrm>
            <a:noFill/>
          </p:grpSpPr>
          <p:sp>
            <p:nvSpPr>
              <p:cNvPr id="1414" name="Forma livre: Forma 1413">
                <a:extLst>
                  <a:ext uri="{FF2B5EF4-FFF2-40B4-BE49-F238E27FC236}">
                    <a16:creationId xmlns:a16="http://schemas.microsoft.com/office/drawing/2014/main" id="{FB8FF445-D053-1974-E0EA-04F4E475E43D}"/>
                  </a:ext>
                </a:extLst>
              </p:cNvPr>
              <p:cNvSpPr/>
              <p:nvPr/>
            </p:nvSpPr>
            <p:spPr>
              <a:xfrm>
                <a:off x="1395785" y="3797573"/>
                <a:ext cx="45220" cy="68833"/>
              </a:xfrm>
              <a:custGeom>
                <a:avLst/>
                <a:gdLst>
                  <a:gd name="connsiteX0" fmla="*/ 45220 w 45220"/>
                  <a:gd name="connsiteY0" fmla="*/ 21877 h 68833"/>
                  <a:gd name="connsiteX1" fmla="*/ 16482 w 45220"/>
                  <a:gd name="connsiteY1" fmla="*/ 957 h 68833"/>
                  <a:gd name="connsiteX2" fmla="*/ 2455 w 45220"/>
                  <a:gd name="connsiteY2" fmla="*/ 35555 h 68833"/>
                  <a:gd name="connsiteX3" fmla="*/ 34412 w 45220"/>
                  <a:gd name="connsiteY3" fmla="*/ 68641 h 68833"/>
                  <a:gd name="connsiteX4" fmla="*/ 42098 w 45220"/>
                  <a:gd name="connsiteY4" fmla="*/ 61856 h 688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5220" h="68833">
                    <a:moveTo>
                      <a:pt x="45220" y="21877"/>
                    </a:moveTo>
                    <a:cubicBezTo>
                      <a:pt x="45220" y="21877"/>
                      <a:pt x="37438" y="-5384"/>
                      <a:pt x="16482" y="957"/>
                    </a:cubicBezTo>
                    <a:cubicBezTo>
                      <a:pt x="-1184" y="6301"/>
                      <a:pt x="-2397" y="20123"/>
                      <a:pt x="2455" y="35555"/>
                    </a:cubicBezTo>
                    <a:cubicBezTo>
                      <a:pt x="2455" y="35555"/>
                      <a:pt x="20001" y="71776"/>
                      <a:pt x="34412" y="68641"/>
                    </a:cubicBezTo>
                    <a:cubicBezTo>
                      <a:pt x="34412" y="68641"/>
                      <a:pt x="39504" y="68041"/>
                      <a:pt x="42098" y="61856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415" name="Forma livre: Forma 1414">
                <a:extLst>
                  <a:ext uri="{FF2B5EF4-FFF2-40B4-BE49-F238E27FC236}">
                    <a16:creationId xmlns:a16="http://schemas.microsoft.com/office/drawing/2014/main" id="{41165F60-2B45-5823-C0FA-1AB3564158B8}"/>
                  </a:ext>
                </a:extLst>
              </p:cNvPr>
              <p:cNvSpPr/>
              <p:nvPr/>
            </p:nvSpPr>
            <p:spPr>
              <a:xfrm>
                <a:off x="1489042" y="3949416"/>
                <a:ext cx="40471" cy="41886"/>
              </a:xfrm>
              <a:custGeom>
                <a:avLst/>
                <a:gdLst>
                  <a:gd name="connsiteX0" fmla="*/ 0 w 40471"/>
                  <a:gd name="connsiteY0" fmla="*/ 41887 h 41886"/>
                  <a:gd name="connsiteX1" fmla="*/ 4311 w 40471"/>
                  <a:gd name="connsiteY1" fmla="*/ 20822 h 41886"/>
                  <a:gd name="connsiteX2" fmla="*/ 14267 w 40471"/>
                  <a:gd name="connsiteY2" fmla="*/ 1415 h 41886"/>
                  <a:gd name="connsiteX3" fmla="*/ 40472 w 40471"/>
                  <a:gd name="connsiteY3" fmla="*/ 58 h 418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0471" h="41886">
                    <a:moveTo>
                      <a:pt x="0" y="41887"/>
                    </a:moveTo>
                    <a:lnTo>
                      <a:pt x="4311" y="20822"/>
                    </a:lnTo>
                    <a:cubicBezTo>
                      <a:pt x="4311" y="20822"/>
                      <a:pt x="4311" y="3073"/>
                      <a:pt x="14267" y="1415"/>
                    </a:cubicBezTo>
                    <a:cubicBezTo>
                      <a:pt x="14267" y="1415"/>
                      <a:pt x="20260" y="-338"/>
                      <a:pt x="40472" y="58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416" name="Forma livre: Forma 1415">
                <a:extLst>
                  <a:ext uri="{FF2B5EF4-FFF2-40B4-BE49-F238E27FC236}">
                    <a16:creationId xmlns:a16="http://schemas.microsoft.com/office/drawing/2014/main" id="{0F02D101-183D-C777-C36E-D68C3FF78C38}"/>
                  </a:ext>
                </a:extLst>
              </p:cNvPr>
              <p:cNvSpPr/>
              <p:nvPr/>
            </p:nvSpPr>
            <p:spPr>
              <a:xfrm>
                <a:off x="1475099" y="3732093"/>
                <a:ext cx="126494" cy="217382"/>
              </a:xfrm>
              <a:custGeom>
                <a:avLst/>
                <a:gdLst>
                  <a:gd name="connsiteX0" fmla="*/ 101035 w 126494"/>
                  <a:gd name="connsiteY0" fmla="*/ 76632 h 217382"/>
                  <a:gd name="connsiteX1" fmla="*/ 83261 w 126494"/>
                  <a:gd name="connsiteY1" fmla="*/ 92328 h 217382"/>
                  <a:gd name="connsiteX2" fmla="*/ 28822 w 126494"/>
                  <a:gd name="connsiteY2" fmla="*/ 116347 h 217382"/>
                  <a:gd name="connsiteX3" fmla="*/ 0 w 126494"/>
                  <a:gd name="connsiteY3" fmla="*/ 164384 h 217382"/>
                  <a:gd name="connsiteX4" fmla="*/ 54438 w 126494"/>
                  <a:gd name="connsiteY4" fmla="*/ 217381 h 217382"/>
                  <a:gd name="connsiteX5" fmla="*/ 126495 w 126494"/>
                  <a:gd name="connsiteY5" fmla="*/ 109946 h 217382"/>
                  <a:gd name="connsiteX6" fmla="*/ 120946 w 126494"/>
                  <a:gd name="connsiteY6" fmla="*/ 98573 h 217382"/>
                  <a:gd name="connsiteX7" fmla="*/ 91884 w 126494"/>
                  <a:gd name="connsiteY7" fmla="*/ 64358 h 217382"/>
                  <a:gd name="connsiteX8" fmla="*/ 87044 w 126494"/>
                  <a:gd name="connsiteY8" fmla="*/ 24727 h 217382"/>
                  <a:gd name="connsiteX9" fmla="*/ 73629 w 126494"/>
                  <a:gd name="connsiteY9" fmla="*/ 0 h 2173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26494" h="217382">
                    <a:moveTo>
                      <a:pt x="101035" y="76632"/>
                    </a:moveTo>
                    <a:cubicBezTo>
                      <a:pt x="101035" y="76632"/>
                      <a:pt x="92472" y="76079"/>
                      <a:pt x="83261" y="92328"/>
                    </a:cubicBezTo>
                    <a:cubicBezTo>
                      <a:pt x="83261" y="92328"/>
                      <a:pt x="67252" y="119913"/>
                      <a:pt x="28822" y="116347"/>
                    </a:cubicBezTo>
                    <a:lnTo>
                      <a:pt x="0" y="164384"/>
                    </a:lnTo>
                    <a:cubicBezTo>
                      <a:pt x="0" y="164384"/>
                      <a:pt x="40424" y="217381"/>
                      <a:pt x="54438" y="217381"/>
                    </a:cubicBezTo>
                    <a:cubicBezTo>
                      <a:pt x="85242" y="217381"/>
                      <a:pt x="126495" y="218822"/>
                      <a:pt x="126495" y="109946"/>
                    </a:cubicBezTo>
                    <a:cubicBezTo>
                      <a:pt x="126495" y="109946"/>
                      <a:pt x="125894" y="104301"/>
                      <a:pt x="120946" y="98573"/>
                    </a:cubicBezTo>
                    <a:lnTo>
                      <a:pt x="91884" y="64358"/>
                    </a:lnTo>
                    <a:cubicBezTo>
                      <a:pt x="85879" y="54595"/>
                      <a:pt x="92856" y="42153"/>
                      <a:pt x="87044" y="24727"/>
                    </a:cubicBezTo>
                    <a:cubicBezTo>
                      <a:pt x="82840" y="12117"/>
                      <a:pt x="81640" y="8274"/>
                      <a:pt x="73629" y="0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417" name="Forma livre: Forma 1416">
                <a:extLst>
                  <a:ext uri="{FF2B5EF4-FFF2-40B4-BE49-F238E27FC236}">
                    <a16:creationId xmlns:a16="http://schemas.microsoft.com/office/drawing/2014/main" id="{7E1D9FC9-B09B-167B-5466-0B6ED7835546}"/>
                  </a:ext>
                </a:extLst>
              </p:cNvPr>
              <p:cNvSpPr/>
              <p:nvPr/>
            </p:nvSpPr>
            <p:spPr>
              <a:xfrm>
                <a:off x="1466453" y="3824013"/>
                <a:ext cx="37469" cy="24427"/>
              </a:xfrm>
              <a:custGeom>
                <a:avLst/>
                <a:gdLst>
                  <a:gd name="connsiteX0" fmla="*/ 37469 w 37469"/>
                  <a:gd name="connsiteY0" fmla="*/ 24427 h 24427"/>
                  <a:gd name="connsiteX1" fmla="*/ 0 w 37469"/>
                  <a:gd name="connsiteY1" fmla="*/ 0 h 244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7469" h="24427">
                    <a:moveTo>
                      <a:pt x="37469" y="24427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418" name="Forma livre: Forma 1417">
                <a:extLst>
                  <a:ext uri="{FF2B5EF4-FFF2-40B4-BE49-F238E27FC236}">
                    <a16:creationId xmlns:a16="http://schemas.microsoft.com/office/drawing/2014/main" id="{973B1678-F5D2-6D9F-04CA-1EC0DD9C2DB3}"/>
                  </a:ext>
                </a:extLst>
              </p:cNvPr>
              <p:cNvSpPr/>
              <p:nvPr/>
            </p:nvSpPr>
            <p:spPr>
              <a:xfrm>
                <a:off x="1430196" y="3866226"/>
                <a:ext cx="44902" cy="30251"/>
              </a:xfrm>
              <a:custGeom>
                <a:avLst/>
                <a:gdLst>
                  <a:gd name="connsiteX0" fmla="*/ 44903 w 44902"/>
                  <a:gd name="connsiteY0" fmla="*/ 30252 h 30251"/>
                  <a:gd name="connsiteX1" fmla="*/ 0 w 44902"/>
                  <a:gd name="connsiteY1" fmla="*/ 0 h 302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4902" h="30251">
                    <a:moveTo>
                      <a:pt x="44903" y="30252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419" name="Forma livre: Forma 1418">
              <a:extLst>
                <a:ext uri="{FF2B5EF4-FFF2-40B4-BE49-F238E27FC236}">
                  <a16:creationId xmlns:a16="http://schemas.microsoft.com/office/drawing/2014/main" id="{818EE93B-338D-4D6A-5CC3-17179555396F}"/>
                </a:ext>
              </a:extLst>
            </p:cNvPr>
            <p:cNvSpPr/>
            <p:nvPr/>
          </p:nvSpPr>
          <p:spPr>
            <a:xfrm>
              <a:off x="1396558" y="3864833"/>
              <a:ext cx="20656" cy="93660"/>
            </a:xfrm>
            <a:custGeom>
              <a:avLst/>
              <a:gdLst>
                <a:gd name="connsiteX0" fmla="*/ 20656 w 20656"/>
                <a:gd name="connsiteY0" fmla="*/ 0 h 93660"/>
                <a:gd name="connsiteX1" fmla="*/ 0 w 20656"/>
                <a:gd name="connsiteY1" fmla="*/ 93661 h 936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0656" h="93660">
                  <a:moveTo>
                    <a:pt x="20656" y="0"/>
                  </a:moveTo>
                  <a:cubicBezTo>
                    <a:pt x="20656" y="0"/>
                    <a:pt x="19215" y="67240"/>
                    <a:pt x="0" y="93661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20" name="Forma livre: Forma 1419">
              <a:extLst>
                <a:ext uri="{FF2B5EF4-FFF2-40B4-BE49-F238E27FC236}">
                  <a16:creationId xmlns:a16="http://schemas.microsoft.com/office/drawing/2014/main" id="{63C2304A-8D8B-D2CC-CAA9-50F62FC9EA61}"/>
                </a:ext>
              </a:extLst>
            </p:cNvPr>
            <p:cNvSpPr/>
            <p:nvPr/>
          </p:nvSpPr>
          <p:spPr>
            <a:xfrm>
              <a:off x="1442434" y="3705853"/>
              <a:ext cx="96723" cy="103508"/>
            </a:xfrm>
            <a:custGeom>
              <a:avLst/>
              <a:gdLst>
                <a:gd name="connsiteX0" fmla="*/ 0 w 96723"/>
                <a:gd name="connsiteY0" fmla="*/ 103509 h 103508"/>
                <a:gd name="connsiteX1" fmla="*/ 96723 w 96723"/>
                <a:gd name="connsiteY1" fmla="*/ 0 h 1035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6723" h="103508">
                  <a:moveTo>
                    <a:pt x="0" y="103509"/>
                  </a:moveTo>
                  <a:cubicBezTo>
                    <a:pt x="0" y="103509"/>
                    <a:pt x="66292" y="80451"/>
                    <a:pt x="96723" y="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21" name="Forma livre: Forma 1420">
              <a:extLst>
                <a:ext uri="{FF2B5EF4-FFF2-40B4-BE49-F238E27FC236}">
                  <a16:creationId xmlns:a16="http://schemas.microsoft.com/office/drawing/2014/main" id="{4B04B960-D4B0-2500-1CE7-423862A4F6E9}"/>
                </a:ext>
              </a:extLst>
            </p:cNvPr>
            <p:cNvSpPr/>
            <p:nvPr/>
          </p:nvSpPr>
          <p:spPr>
            <a:xfrm>
              <a:off x="1325607" y="3673402"/>
              <a:ext cx="246141" cy="280071"/>
            </a:xfrm>
            <a:custGeom>
              <a:avLst/>
              <a:gdLst>
                <a:gd name="connsiteX0" fmla="*/ 245567 w 246141"/>
                <a:gd name="connsiteY0" fmla="*/ 56698 h 280071"/>
                <a:gd name="connsiteX1" fmla="*/ 208470 w 246141"/>
                <a:gd name="connsiteY1" fmla="*/ 3581 h 280071"/>
                <a:gd name="connsiteX2" fmla="*/ 117896 w 246141"/>
                <a:gd name="connsiteY2" fmla="*/ 314 h 280071"/>
                <a:gd name="connsiteX3" fmla="*/ 0 w 246141"/>
                <a:gd name="connsiteY3" fmla="*/ 118798 h 280071"/>
                <a:gd name="connsiteX4" fmla="*/ 7302 w 246141"/>
                <a:gd name="connsiteY4" fmla="*/ 280072 h 2800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6141" h="280071">
                  <a:moveTo>
                    <a:pt x="245567" y="56698"/>
                  </a:moveTo>
                  <a:cubicBezTo>
                    <a:pt x="245567" y="56698"/>
                    <a:pt x="253734" y="7063"/>
                    <a:pt x="208470" y="3581"/>
                  </a:cubicBezTo>
                  <a:cubicBezTo>
                    <a:pt x="188006" y="951"/>
                    <a:pt x="154344" y="-731"/>
                    <a:pt x="117896" y="314"/>
                  </a:cubicBezTo>
                  <a:cubicBezTo>
                    <a:pt x="53285" y="314"/>
                    <a:pt x="0" y="54188"/>
                    <a:pt x="0" y="118798"/>
                  </a:cubicBezTo>
                  <a:cubicBezTo>
                    <a:pt x="0" y="142265"/>
                    <a:pt x="3615" y="215234"/>
                    <a:pt x="7302" y="280072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422" name="Gráfico 12">
            <a:extLst>
              <a:ext uri="{FF2B5EF4-FFF2-40B4-BE49-F238E27FC236}">
                <a16:creationId xmlns:a16="http://schemas.microsoft.com/office/drawing/2014/main" id="{03B75ACD-C297-7787-0D11-B684E66F1F37}"/>
              </a:ext>
            </a:extLst>
          </p:cNvPr>
          <p:cNvGrpSpPr/>
          <p:nvPr/>
        </p:nvGrpSpPr>
        <p:grpSpPr>
          <a:xfrm>
            <a:off x="1300784" y="5788833"/>
            <a:ext cx="325623" cy="361907"/>
            <a:chOff x="1300784" y="5788833"/>
            <a:chExt cx="325623" cy="361907"/>
          </a:xfrm>
          <a:noFill/>
        </p:grpSpPr>
        <p:grpSp>
          <p:nvGrpSpPr>
            <p:cNvPr id="1423" name="Gráfico 12">
              <a:extLst>
                <a:ext uri="{FF2B5EF4-FFF2-40B4-BE49-F238E27FC236}">
                  <a16:creationId xmlns:a16="http://schemas.microsoft.com/office/drawing/2014/main" id="{B1947603-0FC4-75C3-B95D-0E38A98752F8}"/>
                </a:ext>
              </a:extLst>
            </p:cNvPr>
            <p:cNvGrpSpPr/>
            <p:nvPr/>
          </p:nvGrpSpPr>
          <p:grpSpPr>
            <a:xfrm>
              <a:off x="1300784" y="6017939"/>
              <a:ext cx="325623" cy="132801"/>
              <a:chOff x="1300784" y="6017939"/>
              <a:chExt cx="325623" cy="132801"/>
            </a:xfrm>
            <a:noFill/>
          </p:grpSpPr>
          <p:sp>
            <p:nvSpPr>
              <p:cNvPr id="1424" name="Forma livre: Forma 1423">
                <a:extLst>
                  <a:ext uri="{FF2B5EF4-FFF2-40B4-BE49-F238E27FC236}">
                    <a16:creationId xmlns:a16="http://schemas.microsoft.com/office/drawing/2014/main" id="{E73A532E-804A-D9EA-BB2B-35EE0F378D0D}"/>
                  </a:ext>
                </a:extLst>
              </p:cNvPr>
              <p:cNvSpPr/>
              <p:nvPr/>
            </p:nvSpPr>
            <p:spPr>
              <a:xfrm>
                <a:off x="1340943" y="6017939"/>
                <a:ext cx="285464" cy="132801"/>
              </a:xfrm>
              <a:custGeom>
                <a:avLst/>
                <a:gdLst>
                  <a:gd name="connsiteX0" fmla="*/ 194840 w 285464"/>
                  <a:gd name="connsiteY0" fmla="*/ 33124 h 132801"/>
                  <a:gd name="connsiteX1" fmla="*/ 253229 w 285464"/>
                  <a:gd name="connsiteY1" fmla="*/ 3281 h 132801"/>
                  <a:gd name="connsiteX2" fmla="*/ 283217 w 285464"/>
                  <a:gd name="connsiteY2" fmla="*/ 9814 h 132801"/>
                  <a:gd name="connsiteX3" fmla="*/ 272600 w 285464"/>
                  <a:gd name="connsiteY3" fmla="*/ 39309 h 132801"/>
                  <a:gd name="connsiteX4" fmla="*/ 151438 w 285464"/>
                  <a:gd name="connsiteY4" fmla="*/ 104255 h 132801"/>
                  <a:gd name="connsiteX5" fmla="*/ 145025 w 285464"/>
                  <a:gd name="connsiteY5" fmla="*/ 105865 h 132801"/>
                  <a:gd name="connsiteX6" fmla="*/ 32029 w 285464"/>
                  <a:gd name="connsiteY6" fmla="*/ 108927 h 132801"/>
                  <a:gd name="connsiteX7" fmla="*/ 0 w 285464"/>
                  <a:gd name="connsiteY7" fmla="*/ 132801 h 1328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85464" h="132801">
                    <a:moveTo>
                      <a:pt x="194840" y="33124"/>
                    </a:moveTo>
                    <a:lnTo>
                      <a:pt x="253229" y="3281"/>
                    </a:lnTo>
                    <a:cubicBezTo>
                      <a:pt x="264518" y="-2784"/>
                      <a:pt x="277752" y="-346"/>
                      <a:pt x="283217" y="9814"/>
                    </a:cubicBezTo>
                    <a:cubicBezTo>
                      <a:pt x="288657" y="19974"/>
                      <a:pt x="283877" y="33244"/>
                      <a:pt x="272600" y="39309"/>
                    </a:cubicBezTo>
                    <a:lnTo>
                      <a:pt x="151438" y="104255"/>
                    </a:lnTo>
                    <a:lnTo>
                      <a:pt x="145025" y="105865"/>
                    </a:lnTo>
                    <a:lnTo>
                      <a:pt x="32029" y="108927"/>
                    </a:lnTo>
                    <a:cubicBezTo>
                      <a:pt x="32029" y="108927"/>
                      <a:pt x="17474" y="112998"/>
                      <a:pt x="0" y="132801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425" name="Forma livre: Forma 1424">
                <a:extLst>
                  <a:ext uri="{FF2B5EF4-FFF2-40B4-BE49-F238E27FC236}">
                    <a16:creationId xmlns:a16="http://schemas.microsoft.com/office/drawing/2014/main" id="{18A8F9A2-E4B8-54DE-D3FF-6ED4640779C3}"/>
                  </a:ext>
                </a:extLst>
              </p:cNvPr>
              <p:cNvSpPr/>
              <p:nvPr/>
            </p:nvSpPr>
            <p:spPr>
              <a:xfrm>
                <a:off x="1300784" y="6034004"/>
                <a:ext cx="215471" cy="57314"/>
              </a:xfrm>
              <a:custGeom>
                <a:avLst/>
                <a:gdLst>
                  <a:gd name="connsiteX0" fmla="*/ 0 w 215471"/>
                  <a:gd name="connsiteY0" fmla="*/ 57314 h 57314"/>
                  <a:gd name="connsiteX1" fmla="*/ 51256 w 215471"/>
                  <a:gd name="connsiteY1" fmla="*/ 10142 h 57314"/>
                  <a:gd name="connsiteX2" fmla="*/ 106019 w 215471"/>
                  <a:gd name="connsiteY2" fmla="*/ 2564 h 57314"/>
                  <a:gd name="connsiteX3" fmla="*/ 147103 w 215471"/>
                  <a:gd name="connsiteY3" fmla="*/ 7199 h 57314"/>
                  <a:gd name="connsiteX4" fmla="*/ 191453 w 215471"/>
                  <a:gd name="connsiteY4" fmla="*/ 7199 h 57314"/>
                  <a:gd name="connsiteX5" fmla="*/ 215472 w 215471"/>
                  <a:gd name="connsiteY5" fmla="*/ 28156 h 57314"/>
                  <a:gd name="connsiteX6" fmla="*/ 191453 w 215471"/>
                  <a:gd name="connsiteY6" fmla="*/ 49136 h 57314"/>
                  <a:gd name="connsiteX7" fmla="*/ 130097 w 215471"/>
                  <a:gd name="connsiteY7" fmla="*/ 49136 h 573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15471" h="57314">
                    <a:moveTo>
                      <a:pt x="0" y="57314"/>
                    </a:moveTo>
                    <a:lnTo>
                      <a:pt x="51256" y="10142"/>
                    </a:lnTo>
                    <a:cubicBezTo>
                      <a:pt x="76307" y="-6756"/>
                      <a:pt x="106019" y="2564"/>
                      <a:pt x="106019" y="2564"/>
                    </a:cubicBezTo>
                    <a:cubicBezTo>
                      <a:pt x="120394" y="6347"/>
                      <a:pt x="147103" y="7199"/>
                      <a:pt x="147103" y="7199"/>
                    </a:cubicBezTo>
                    <a:lnTo>
                      <a:pt x="191453" y="7199"/>
                    </a:lnTo>
                    <a:cubicBezTo>
                      <a:pt x="204663" y="7199"/>
                      <a:pt x="215472" y="16627"/>
                      <a:pt x="215472" y="28156"/>
                    </a:cubicBezTo>
                    <a:cubicBezTo>
                      <a:pt x="215472" y="39685"/>
                      <a:pt x="204663" y="49136"/>
                      <a:pt x="191453" y="49136"/>
                    </a:cubicBezTo>
                    <a:lnTo>
                      <a:pt x="130097" y="49136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426" name="Gráfico 12">
              <a:extLst>
                <a:ext uri="{FF2B5EF4-FFF2-40B4-BE49-F238E27FC236}">
                  <a16:creationId xmlns:a16="http://schemas.microsoft.com/office/drawing/2014/main" id="{7EB80761-5D9F-7194-AF18-8CD5E70D6800}"/>
                </a:ext>
              </a:extLst>
            </p:cNvPr>
            <p:cNvGrpSpPr/>
            <p:nvPr/>
          </p:nvGrpSpPr>
          <p:grpSpPr>
            <a:xfrm>
              <a:off x="1328618" y="5788833"/>
              <a:ext cx="160327" cy="160330"/>
              <a:chOff x="1328618" y="5788833"/>
              <a:chExt cx="160327" cy="160330"/>
            </a:xfrm>
            <a:noFill/>
          </p:grpSpPr>
          <p:grpSp>
            <p:nvGrpSpPr>
              <p:cNvPr id="1427" name="Gráfico 12">
                <a:extLst>
                  <a:ext uri="{FF2B5EF4-FFF2-40B4-BE49-F238E27FC236}">
                    <a16:creationId xmlns:a16="http://schemas.microsoft.com/office/drawing/2014/main" id="{AFD0340C-B592-FBB3-C7CA-888AA534D9D3}"/>
                  </a:ext>
                </a:extLst>
              </p:cNvPr>
              <p:cNvGrpSpPr/>
              <p:nvPr/>
            </p:nvGrpSpPr>
            <p:grpSpPr>
              <a:xfrm>
                <a:off x="1328618" y="5788833"/>
                <a:ext cx="160327" cy="160330"/>
                <a:chOff x="1328618" y="5788833"/>
                <a:chExt cx="160327" cy="160330"/>
              </a:xfrm>
              <a:noFill/>
            </p:grpSpPr>
            <p:sp>
              <p:nvSpPr>
                <p:cNvPr id="1428" name="Forma livre: Forma 1427">
                  <a:extLst>
                    <a:ext uri="{FF2B5EF4-FFF2-40B4-BE49-F238E27FC236}">
                      <a16:creationId xmlns:a16="http://schemas.microsoft.com/office/drawing/2014/main" id="{7CBF33BD-7C53-CD78-3446-3A02D510FB74}"/>
                    </a:ext>
                  </a:extLst>
                </p:cNvPr>
                <p:cNvSpPr/>
                <p:nvPr/>
              </p:nvSpPr>
              <p:spPr>
                <a:xfrm>
                  <a:off x="1328618" y="5788833"/>
                  <a:ext cx="160327" cy="160330"/>
                </a:xfrm>
                <a:custGeom>
                  <a:avLst/>
                  <a:gdLst>
                    <a:gd name="connsiteX0" fmla="*/ 99008 w 160327"/>
                    <a:gd name="connsiteY0" fmla="*/ 149979 h 160330"/>
                    <a:gd name="connsiteX1" fmla="*/ 107499 w 160327"/>
                    <a:gd name="connsiteY1" fmla="*/ 141476 h 160330"/>
                    <a:gd name="connsiteX2" fmla="*/ 126353 w 160327"/>
                    <a:gd name="connsiteY2" fmla="*/ 160331 h 160330"/>
                    <a:gd name="connsiteX3" fmla="*/ 160328 w 160327"/>
                    <a:gd name="connsiteY3" fmla="*/ 126356 h 160330"/>
                    <a:gd name="connsiteX4" fmla="*/ 141473 w 160327"/>
                    <a:gd name="connsiteY4" fmla="*/ 107502 h 160330"/>
                    <a:gd name="connsiteX5" fmla="*/ 149964 w 160327"/>
                    <a:gd name="connsiteY5" fmla="*/ 99011 h 160330"/>
                    <a:gd name="connsiteX6" fmla="*/ 149964 w 160327"/>
                    <a:gd name="connsiteY6" fmla="*/ 71846 h 160330"/>
                    <a:gd name="connsiteX7" fmla="*/ 83732 w 160327"/>
                    <a:gd name="connsiteY7" fmla="*/ 5602 h 160330"/>
                    <a:gd name="connsiteX8" fmla="*/ 56567 w 160327"/>
                    <a:gd name="connsiteY8" fmla="*/ 5602 h 160330"/>
                    <a:gd name="connsiteX9" fmla="*/ 5611 w 160327"/>
                    <a:gd name="connsiteY9" fmla="*/ 56558 h 160330"/>
                    <a:gd name="connsiteX10" fmla="*/ 5611 w 160327"/>
                    <a:gd name="connsiteY10" fmla="*/ 83723 h 160330"/>
                    <a:gd name="connsiteX11" fmla="*/ 71843 w 160327"/>
                    <a:gd name="connsiteY11" fmla="*/ 149955 h 160330"/>
                    <a:gd name="connsiteX12" fmla="*/ 99032 w 160327"/>
                    <a:gd name="connsiteY12" fmla="*/ 149955 h 16033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</a:cxnLst>
                  <a:rect l="l" t="t" r="r" b="b"/>
                  <a:pathLst>
                    <a:path w="160327" h="160330">
                      <a:moveTo>
                        <a:pt x="99008" y="149979"/>
                      </a:moveTo>
                      <a:lnTo>
                        <a:pt x="107499" y="141476"/>
                      </a:lnTo>
                      <a:lnTo>
                        <a:pt x="126353" y="160331"/>
                      </a:lnTo>
                      <a:lnTo>
                        <a:pt x="160328" y="126356"/>
                      </a:lnTo>
                      <a:lnTo>
                        <a:pt x="141473" y="107502"/>
                      </a:lnTo>
                      <a:lnTo>
                        <a:pt x="149964" y="99011"/>
                      </a:lnTo>
                      <a:cubicBezTo>
                        <a:pt x="157446" y="91529"/>
                        <a:pt x="157446" y="79316"/>
                        <a:pt x="149964" y="71846"/>
                      </a:cubicBezTo>
                      <a:lnTo>
                        <a:pt x="83732" y="5602"/>
                      </a:lnTo>
                      <a:cubicBezTo>
                        <a:pt x="76262" y="-1867"/>
                        <a:pt x="64037" y="-1867"/>
                        <a:pt x="56567" y="5602"/>
                      </a:cubicBezTo>
                      <a:lnTo>
                        <a:pt x="5611" y="56558"/>
                      </a:lnTo>
                      <a:cubicBezTo>
                        <a:pt x="-1870" y="64028"/>
                        <a:pt x="-1870" y="76253"/>
                        <a:pt x="5611" y="83723"/>
                      </a:cubicBezTo>
                      <a:lnTo>
                        <a:pt x="71843" y="149955"/>
                      </a:lnTo>
                      <a:cubicBezTo>
                        <a:pt x="79325" y="157437"/>
                        <a:pt x="91550" y="157437"/>
                        <a:pt x="99032" y="149955"/>
                      </a:cubicBezTo>
                      <a:close/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429" name="Forma livre: Forma 1428">
                  <a:extLst>
                    <a:ext uri="{FF2B5EF4-FFF2-40B4-BE49-F238E27FC236}">
                      <a16:creationId xmlns:a16="http://schemas.microsoft.com/office/drawing/2014/main" id="{FA5F80EE-597D-FBD3-1FC0-D960FFBF92DE}"/>
                    </a:ext>
                  </a:extLst>
                </p:cNvPr>
                <p:cNvSpPr/>
                <p:nvPr/>
              </p:nvSpPr>
              <p:spPr>
                <a:xfrm>
                  <a:off x="1433055" y="5913844"/>
                  <a:ext cx="19539" cy="19527"/>
                </a:xfrm>
                <a:custGeom>
                  <a:avLst/>
                  <a:gdLst>
                    <a:gd name="connsiteX0" fmla="*/ 0 w 19539"/>
                    <a:gd name="connsiteY0" fmla="*/ 19527 h 19527"/>
                    <a:gd name="connsiteX1" fmla="*/ 19539 w 19539"/>
                    <a:gd name="connsiteY1" fmla="*/ 0 h 1952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9539" h="19527">
                      <a:moveTo>
                        <a:pt x="0" y="19527"/>
                      </a:moveTo>
                      <a:lnTo>
                        <a:pt x="19539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1430" name="Gráfico 12">
                <a:extLst>
                  <a:ext uri="{FF2B5EF4-FFF2-40B4-BE49-F238E27FC236}">
                    <a16:creationId xmlns:a16="http://schemas.microsoft.com/office/drawing/2014/main" id="{6D443C28-DB0F-30BA-D7D8-A1431EB5B22E}"/>
                  </a:ext>
                </a:extLst>
              </p:cNvPr>
              <p:cNvGrpSpPr/>
              <p:nvPr/>
            </p:nvGrpSpPr>
            <p:grpSpPr>
              <a:xfrm>
                <a:off x="1389016" y="5849258"/>
                <a:ext cx="35091" cy="35079"/>
                <a:chOff x="1389016" y="5849258"/>
                <a:chExt cx="35091" cy="35079"/>
              </a:xfrm>
            </p:grpSpPr>
            <p:sp>
              <p:nvSpPr>
                <p:cNvPr id="1431" name="Forma livre: Forma 1430">
                  <a:extLst>
                    <a:ext uri="{FF2B5EF4-FFF2-40B4-BE49-F238E27FC236}">
                      <a16:creationId xmlns:a16="http://schemas.microsoft.com/office/drawing/2014/main" id="{70AFC10D-980C-BC0E-B826-CCB536F8DAE2}"/>
                    </a:ext>
                  </a:extLst>
                </p:cNvPr>
                <p:cNvSpPr/>
                <p:nvPr/>
              </p:nvSpPr>
              <p:spPr>
                <a:xfrm>
                  <a:off x="1389016" y="5849258"/>
                  <a:ext cx="35091" cy="35079"/>
                </a:xfrm>
                <a:custGeom>
                  <a:avLst/>
                  <a:gdLst>
                    <a:gd name="connsiteX0" fmla="*/ 35091 w 35091"/>
                    <a:gd name="connsiteY0" fmla="*/ 35079 h 35079"/>
                    <a:gd name="connsiteX1" fmla="*/ 0 w 35091"/>
                    <a:gd name="connsiteY1" fmla="*/ 0 h 3507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35091" h="35079">
                      <a:moveTo>
                        <a:pt x="35091" y="35079"/>
                      </a:moveTo>
                      <a:lnTo>
                        <a:pt x="0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432" name="Forma livre: Forma 1431">
                  <a:extLst>
                    <a:ext uri="{FF2B5EF4-FFF2-40B4-BE49-F238E27FC236}">
                      <a16:creationId xmlns:a16="http://schemas.microsoft.com/office/drawing/2014/main" id="{28149EC7-60EC-168D-BE3B-25493335F599}"/>
                    </a:ext>
                  </a:extLst>
                </p:cNvPr>
                <p:cNvSpPr/>
                <p:nvPr/>
              </p:nvSpPr>
              <p:spPr>
                <a:xfrm>
                  <a:off x="1389016" y="5849258"/>
                  <a:ext cx="35091" cy="35079"/>
                </a:xfrm>
                <a:custGeom>
                  <a:avLst/>
                  <a:gdLst>
                    <a:gd name="connsiteX0" fmla="*/ 0 w 35091"/>
                    <a:gd name="connsiteY0" fmla="*/ 35079 h 35079"/>
                    <a:gd name="connsiteX1" fmla="*/ 35091 w 35091"/>
                    <a:gd name="connsiteY1" fmla="*/ 0 h 3507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35091" h="35079">
                      <a:moveTo>
                        <a:pt x="0" y="35079"/>
                      </a:moveTo>
                      <a:lnTo>
                        <a:pt x="35091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sp>
          <p:nvSpPr>
            <p:cNvPr id="1433" name="Forma livre: Forma 1432">
              <a:extLst>
                <a:ext uri="{FF2B5EF4-FFF2-40B4-BE49-F238E27FC236}">
                  <a16:creationId xmlns:a16="http://schemas.microsoft.com/office/drawing/2014/main" id="{808A0610-4B0D-96DB-32FA-F88F1BF91341}"/>
                </a:ext>
              </a:extLst>
            </p:cNvPr>
            <p:cNvSpPr/>
            <p:nvPr/>
          </p:nvSpPr>
          <p:spPr>
            <a:xfrm>
              <a:off x="1467807" y="5955024"/>
              <a:ext cx="41072" cy="58533"/>
            </a:xfrm>
            <a:custGeom>
              <a:avLst/>
              <a:gdLst>
                <a:gd name="connsiteX0" fmla="*/ 33917 w 41072"/>
                <a:gd name="connsiteY0" fmla="*/ 20116 h 58533"/>
                <a:gd name="connsiteX1" fmla="*/ 20551 w 41072"/>
                <a:gd name="connsiteY1" fmla="*/ 0 h 58533"/>
                <a:gd name="connsiteX2" fmla="*/ 20551 w 41072"/>
                <a:gd name="connsiteY2" fmla="*/ 0 h 58533"/>
                <a:gd name="connsiteX3" fmla="*/ 7184 w 41072"/>
                <a:gd name="connsiteY3" fmla="*/ 20104 h 58533"/>
                <a:gd name="connsiteX4" fmla="*/ 20443 w 41072"/>
                <a:gd name="connsiteY4" fmla="*/ 58534 h 58533"/>
                <a:gd name="connsiteX5" fmla="*/ 20659 w 41072"/>
                <a:gd name="connsiteY5" fmla="*/ 58534 h 58533"/>
                <a:gd name="connsiteX6" fmla="*/ 33917 w 41072"/>
                <a:gd name="connsiteY6" fmla="*/ 20116 h 585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1072" h="58533">
                  <a:moveTo>
                    <a:pt x="33917" y="20116"/>
                  </a:moveTo>
                  <a:cubicBezTo>
                    <a:pt x="21788" y="5849"/>
                    <a:pt x="20659" y="709"/>
                    <a:pt x="20551" y="0"/>
                  </a:cubicBezTo>
                  <a:lnTo>
                    <a:pt x="20551" y="0"/>
                  </a:lnTo>
                  <a:cubicBezTo>
                    <a:pt x="20443" y="709"/>
                    <a:pt x="19314" y="5849"/>
                    <a:pt x="7184" y="20104"/>
                  </a:cubicBezTo>
                  <a:cubicBezTo>
                    <a:pt x="-6987" y="36749"/>
                    <a:pt x="1047" y="58474"/>
                    <a:pt x="20443" y="58534"/>
                  </a:cubicBezTo>
                  <a:lnTo>
                    <a:pt x="20659" y="58534"/>
                  </a:lnTo>
                  <a:cubicBezTo>
                    <a:pt x="39934" y="58486"/>
                    <a:pt x="48088" y="36761"/>
                    <a:pt x="33917" y="20116"/>
                  </a:cubicBez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435" name="Gráfico 13">
            <a:extLst>
              <a:ext uri="{FF2B5EF4-FFF2-40B4-BE49-F238E27FC236}">
                <a16:creationId xmlns:a16="http://schemas.microsoft.com/office/drawing/2014/main" id="{968E09F1-D2A3-18A1-F6D1-01BE992C5145}"/>
              </a:ext>
            </a:extLst>
          </p:cNvPr>
          <p:cNvGrpSpPr/>
          <p:nvPr/>
        </p:nvGrpSpPr>
        <p:grpSpPr>
          <a:xfrm>
            <a:off x="2512400" y="5256084"/>
            <a:ext cx="353368" cy="359413"/>
            <a:chOff x="2512400" y="5256084"/>
            <a:chExt cx="353368" cy="359413"/>
          </a:xfrm>
          <a:noFill/>
        </p:grpSpPr>
        <p:grpSp>
          <p:nvGrpSpPr>
            <p:cNvPr id="1436" name="Gráfico 13">
              <a:extLst>
                <a:ext uri="{FF2B5EF4-FFF2-40B4-BE49-F238E27FC236}">
                  <a16:creationId xmlns:a16="http://schemas.microsoft.com/office/drawing/2014/main" id="{F3352ECD-7EC5-E3D0-6BAC-EF3E26E91CD9}"/>
                </a:ext>
              </a:extLst>
            </p:cNvPr>
            <p:cNvGrpSpPr/>
            <p:nvPr/>
          </p:nvGrpSpPr>
          <p:grpSpPr>
            <a:xfrm>
              <a:off x="2622584" y="5372326"/>
              <a:ext cx="101977" cy="101974"/>
              <a:chOff x="2622584" y="5372326"/>
              <a:chExt cx="101977" cy="101974"/>
            </a:xfrm>
            <a:noFill/>
          </p:grpSpPr>
          <p:sp>
            <p:nvSpPr>
              <p:cNvPr id="1437" name="Forma livre: Forma 1436">
                <a:extLst>
                  <a:ext uri="{FF2B5EF4-FFF2-40B4-BE49-F238E27FC236}">
                    <a16:creationId xmlns:a16="http://schemas.microsoft.com/office/drawing/2014/main" id="{21A90B65-F9B5-228D-4723-C8838427249A}"/>
                  </a:ext>
                </a:extLst>
              </p:cNvPr>
              <p:cNvSpPr/>
              <p:nvPr/>
            </p:nvSpPr>
            <p:spPr>
              <a:xfrm>
                <a:off x="2622584" y="5409965"/>
                <a:ext cx="71940" cy="64335"/>
              </a:xfrm>
              <a:custGeom>
                <a:avLst/>
                <a:gdLst>
                  <a:gd name="connsiteX0" fmla="*/ 71941 w 71940"/>
                  <a:gd name="connsiteY0" fmla="*/ 26624 h 64335"/>
                  <a:gd name="connsiteX1" fmla="*/ 38328 w 71940"/>
                  <a:gd name="connsiteY1" fmla="*/ 60237 h 64335"/>
                  <a:gd name="connsiteX2" fmla="*/ 18475 w 71940"/>
                  <a:gd name="connsiteY2" fmla="*/ 60237 h 64335"/>
                  <a:gd name="connsiteX3" fmla="*/ 0 w 71940"/>
                  <a:gd name="connsiteY3" fmla="*/ 41774 h 64335"/>
                  <a:gd name="connsiteX4" fmla="*/ 41774 w 71940"/>
                  <a:gd name="connsiteY4" fmla="*/ 0 h 643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1940" h="64335">
                    <a:moveTo>
                      <a:pt x="71941" y="26624"/>
                    </a:moveTo>
                    <a:lnTo>
                      <a:pt x="38328" y="60237"/>
                    </a:lnTo>
                    <a:cubicBezTo>
                      <a:pt x="32875" y="65702"/>
                      <a:pt x="23928" y="65702"/>
                      <a:pt x="18475" y="60237"/>
                    </a:cubicBezTo>
                    <a:lnTo>
                      <a:pt x="0" y="41774"/>
                    </a:lnTo>
                    <a:lnTo>
                      <a:pt x="41774" y="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438" name="Forma livre: Forma 1437">
                <a:extLst>
                  <a:ext uri="{FF2B5EF4-FFF2-40B4-BE49-F238E27FC236}">
                    <a16:creationId xmlns:a16="http://schemas.microsoft.com/office/drawing/2014/main" id="{57A1B479-51BC-646A-1564-26603B809D82}"/>
                  </a:ext>
                </a:extLst>
              </p:cNvPr>
              <p:cNvSpPr/>
              <p:nvPr/>
            </p:nvSpPr>
            <p:spPr>
              <a:xfrm>
                <a:off x="2659026" y="5372326"/>
                <a:ext cx="65535" cy="66161"/>
              </a:xfrm>
              <a:custGeom>
                <a:avLst/>
                <a:gdLst>
                  <a:gd name="connsiteX0" fmla="*/ 0 w 65535"/>
                  <a:gd name="connsiteY0" fmla="*/ 42995 h 66161"/>
                  <a:gd name="connsiteX1" fmla="*/ 42983 w 65535"/>
                  <a:gd name="connsiteY1" fmla="*/ 0 h 66161"/>
                  <a:gd name="connsiteX2" fmla="*/ 61446 w 65535"/>
                  <a:gd name="connsiteY2" fmla="*/ 18475 h 66161"/>
                  <a:gd name="connsiteX3" fmla="*/ 61446 w 65535"/>
                  <a:gd name="connsiteY3" fmla="*/ 38328 h 66161"/>
                  <a:gd name="connsiteX4" fmla="*/ 33613 w 65535"/>
                  <a:gd name="connsiteY4" fmla="*/ 66161 h 661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5535" h="66161">
                    <a:moveTo>
                      <a:pt x="0" y="42995"/>
                    </a:moveTo>
                    <a:lnTo>
                      <a:pt x="42983" y="0"/>
                    </a:lnTo>
                    <a:lnTo>
                      <a:pt x="61446" y="18475"/>
                    </a:lnTo>
                    <a:cubicBezTo>
                      <a:pt x="66899" y="23940"/>
                      <a:pt x="66899" y="32863"/>
                      <a:pt x="61446" y="38328"/>
                    </a:cubicBezTo>
                    <a:lnTo>
                      <a:pt x="33613" y="66161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439" name="Gráfico 13">
              <a:extLst>
                <a:ext uri="{FF2B5EF4-FFF2-40B4-BE49-F238E27FC236}">
                  <a16:creationId xmlns:a16="http://schemas.microsoft.com/office/drawing/2014/main" id="{CB100442-6732-2DFB-2E5D-97A6B29D985F}"/>
                </a:ext>
              </a:extLst>
            </p:cNvPr>
            <p:cNvGrpSpPr/>
            <p:nvPr/>
          </p:nvGrpSpPr>
          <p:grpSpPr>
            <a:xfrm>
              <a:off x="2512400" y="5256084"/>
              <a:ext cx="166273" cy="186405"/>
              <a:chOff x="2512400" y="5256084"/>
              <a:chExt cx="166273" cy="186405"/>
            </a:xfrm>
            <a:noFill/>
          </p:grpSpPr>
          <p:grpSp>
            <p:nvGrpSpPr>
              <p:cNvPr id="1440" name="Gráfico 13">
                <a:extLst>
                  <a:ext uri="{FF2B5EF4-FFF2-40B4-BE49-F238E27FC236}">
                    <a16:creationId xmlns:a16="http://schemas.microsoft.com/office/drawing/2014/main" id="{E4073FFB-97D6-0360-7CAA-C8ED63423571}"/>
                  </a:ext>
                </a:extLst>
              </p:cNvPr>
              <p:cNvGrpSpPr/>
              <p:nvPr/>
            </p:nvGrpSpPr>
            <p:grpSpPr>
              <a:xfrm>
                <a:off x="2512400" y="5256084"/>
                <a:ext cx="166273" cy="186405"/>
                <a:chOff x="2512400" y="5256084"/>
                <a:chExt cx="166273" cy="186405"/>
              </a:xfrm>
              <a:noFill/>
            </p:grpSpPr>
            <p:sp>
              <p:nvSpPr>
                <p:cNvPr id="1441" name="Forma livre: Forma 1440">
                  <a:extLst>
                    <a:ext uri="{FF2B5EF4-FFF2-40B4-BE49-F238E27FC236}">
                      <a16:creationId xmlns:a16="http://schemas.microsoft.com/office/drawing/2014/main" id="{272D186D-34F1-CEAE-8378-F1B7187820A3}"/>
                    </a:ext>
                  </a:extLst>
                </p:cNvPr>
                <p:cNvSpPr/>
                <p:nvPr/>
              </p:nvSpPr>
              <p:spPr>
                <a:xfrm>
                  <a:off x="2610868" y="5256084"/>
                  <a:ext cx="67805" cy="107524"/>
                </a:xfrm>
                <a:custGeom>
                  <a:avLst/>
                  <a:gdLst>
                    <a:gd name="connsiteX0" fmla="*/ 0 w 67805"/>
                    <a:gd name="connsiteY0" fmla="*/ 0 h 107524"/>
                    <a:gd name="connsiteX1" fmla="*/ 52269 w 67805"/>
                    <a:gd name="connsiteY1" fmla="*/ 52293 h 107524"/>
                    <a:gd name="connsiteX2" fmla="*/ 52075 w 67805"/>
                    <a:gd name="connsiteY2" fmla="*/ 91782 h 107524"/>
                    <a:gd name="connsiteX3" fmla="*/ 67806 w 67805"/>
                    <a:gd name="connsiteY3" fmla="*/ 107524 h 10752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67805" h="107524">
                      <a:moveTo>
                        <a:pt x="0" y="0"/>
                      </a:moveTo>
                      <a:lnTo>
                        <a:pt x="52269" y="52293"/>
                      </a:lnTo>
                      <a:cubicBezTo>
                        <a:pt x="64311" y="64336"/>
                        <a:pt x="52075" y="91782"/>
                        <a:pt x="52075" y="91782"/>
                      </a:cubicBezTo>
                      <a:lnTo>
                        <a:pt x="67806" y="107524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442" name="Forma livre: Forma 1441">
                  <a:extLst>
                    <a:ext uri="{FF2B5EF4-FFF2-40B4-BE49-F238E27FC236}">
                      <a16:creationId xmlns:a16="http://schemas.microsoft.com/office/drawing/2014/main" id="{C19C8B1C-F9D7-4B8C-8FAC-D288C3F74F29}"/>
                    </a:ext>
                  </a:extLst>
                </p:cNvPr>
                <p:cNvSpPr/>
                <p:nvPr/>
              </p:nvSpPr>
              <p:spPr>
                <a:xfrm>
                  <a:off x="2512400" y="5366643"/>
                  <a:ext cx="115552" cy="75846"/>
                </a:xfrm>
                <a:custGeom>
                  <a:avLst/>
                  <a:gdLst>
                    <a:gd name="connsiteX0" fmla="*/ 115553 w 115552"/>
                    <a:gd name="connsiteY0" fmla="*/ 75846 h 75846"/>
                    <a:gd name="connsiteX1" fmla="*/ 85736 w 115552"/>
                    <a:gd name="connsiteY1" fmla="*/ 46030 h 75846"/>
                    <a:gd name="connsiteX2" fmla="*/ 46236 w 115552"/>
                    <a:gd name="connsiteY2" fmla="*/ 46248 h 75846"/>
                    <a:gd name="connsiteX3" fmla="*/ 0 w 115552"/>
                    <a:gd name="connsiteY3" fmla="*/ 0 h 758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15552" h="75846">
                      <a:moveTo>
                        <a:pt x="115553" y="75846"/>
                      </a:moveTo>
                      <a:lnTo>
                        <a:pt x="85736" y="46030"/>
                      </a:lnTo>
                      <a:cubicBezTo>
                        <a:pt x="85736" y="46030"/>
                        <a:pt x="58266" y="58278"/>
                        <a:pt x="46236" y="46248"/>
                      </a:cubicBezTo>
                      <a:lnTo>
                        <a:pt x="0" y="0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1443" name="Forma livre: Forma 1442">
                <a:extLst>
                  <a:ext uri="{FF2B5EF4-FFF2-40B4-BE49-F238E27FC236}">
                    <a16:creationId xmlns:a16="http://schemas.microsoft.com/office/drawing/2014/main" id="{C0335F5C-B8DD-73BA-F5D8-0008B5252C90}"/>
                  </a:ext>
                </a:extLst>
              </p:cNvPr>
              <p:cNvSpPr/>
              <p:nvPr/>
            </p:nvSpPr>
            <p:spPr>
              <a:xfrm>
                <a:off x="2576687" y="5314447"/>
                <a:ext cx="89472" cy="1209"/>
              </a:xfrm>
              <a:custGeom>
                <a:avLst/>
                <a:gdLst>
                  <a:gd name="connsiteX0" fmla="*/ 89473 w 89472"/>
                  <a:gd name="connsiteY0" fmla="*/ 0 h 1209"/>
                  <a:gd name="connsiteX1" fmla="*/ 0 w 89472"/>
                  <a:gd name="connsiteY1" fmla="*/ 0 h 12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89472" h="1209">
                    <a:moveTo>
                      <a:pt x="89473" y="0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444" name="Gráfico 13">
              <a:extLst>
                <a:ext uri="{FF2B5EF4-FFF2-40B4-BE49-F238E27FC236}">
                  <a16:creationId xmlns:a16="http://schemas.microsoft.com/office/drawing/2014/main" id="{66C5AF3C-8501-DE2A-EADF-71E9DF2683F8}"/>
                </a:ext>
              </a:extLst>
            </p:cNvPr>
            <p:cNvGrpSpPr/>
            <p:nvPr/>
          </p:nvGrpSpPr>
          <p:grpSpPr>
            <a:xfrm>
              <a:off x="2615426" y="5365168"/>
              <a:ext cx="250341" cy="250329"/>
              <a:chOff x="2615426" y="5365168"/>
              <a:chExt cx="250341" cy="250329"/>
            </a:xfrm>
            <a:noFill/>
          </p:grpSpPr>
          <p:sp>
            <p:nvSpPr>
              <p:cNvPr id="1445" name="Forma livre: Forma 1444">
                <a:extLst>
                  <a:ext uri="{FF2B5EF4-FFF2-40B4-BE49-F238E27FC236}">
                    <a16:creationId xmlns:a16="http://schemas.microsoft.com/office/drawing/2014/main" id="{525D2A84-9AD9-C6F6-C03F-8BF527272FF6}"/>
                  </a:ext>
                </a:extLst>
              </p:cNvPr>
              <p:cNvSpPr/>
              <p:nvPr/>
            </p:nvSpPr>
            <p:spPr>
              <a:xfrm>
                <a:off x="2691599" y="5441353"/>
                <a:ext cx="32826" cy="32790"/>
              </a:xfrm>
              <a:custGeom>
                <a:avLst/>
                <a:gdLst>
                  <a:gd name="connsiteX0" fmla="*/ 32827 w 32826"/>
                  <a:gd name="connsiteY0" fmla="*/ 32790 h 32790"/>
                  <a:gd name="connsiteX1" fmla="*/ 0 w 32826"/>
                  <a:gd name="connsiteY1" fmla="*/ 0 h 327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2826" h="32790">
                    <a:moveTo>
                      <a:pt x="32827" y="32790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446" name="Forma livre: Forma 1445">
                <a:extLst>
                  <a:ext uri="{FF2B5EF4-FFF2-40B4-BE49-F238E27FC236}">
                    <a16:creationId xmlns:a16="http://schemas.microsoft.com/office/drawing/2014/main" id="{48E81BBC-1197-9AB9-621E-D7CE090E9A88}"/>
                  </a:ext>
                </a:extLst>
              </p:cNvPr>
              <p:cNvSpPr/>
              <p:nvPr/>
            </p:nvSpPr>
            <p:spPr>
              <a:xfrm>
                <a:off x="2615426" y="5365168"/>
                <a:ext cx="45921" cy="45897"/>
              </a:xfrm>
              <a:custGeom>
                <a:avLst/>
                <a:gdLst>
                  <a:gd name="connsiteX0" fmla="*/ 45921 w 45921"/>
                  <a:gd name="connsiteY0" fmla="*/ 45897 h 45897"/>
                  <a:gd name="connsiteX1" fmla="*/ 0 w 45921"/>
                  <a:gd name="connsiteY1" fmla="*/ 0 h 458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5921" h="45897">
                    <a:moveTo>
                      <a:pt x="45921" y="45897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1447" name="Gráfico 13">
                <a:extLst>
                  <a:ext uri="{FF2B5EF4-FFF2-40B4-BE49-F238E27FC236}">
                    <a16:creationId xmlns:a16="http://schemas.microsoft.com/office/drawing/2014/main" id="{5D1DD2C7-7466-DB66-8DB2-3177DF5C20EE}"/>
                  </a:ext>
                </a:extLst>
              </p:cNvPr>
              <p:cNvGrpSpPr/>
              <p:nvPr/>
            </p:nvGrpSpPr>
            <p:grpSpPr>
              <a:xfrm>
                <a:off x="2757736" y="5507466"/>
                <a:ext cx="108032" cy="108032"/>
                <a:chOff x="2757736" y="5507466"/>
                <a:chExt cx="108032" cy="108032"/>
              </a:xfrm>
              <a:noFill/>
            </p:grpSpPr>
            <p:sp>
              <p:nvSpPr>
                <p:cNvPr id="1448" name="Forma livre: Forma 1447">
                  <a:extLst>
                    <a:ext uri="{FF2B5EF4-FFF2-40B4-BE49-F238E27FC236}">
                      <a16:creationId xmlns:a16="http://schemas.microsoft.com/office/drawing/2014/main" id="{E9E26B2F-EA63-933C-C880-0E947BF5A4E3}"/>
                    </a:ext>
                  </a:extLst>
                </p:cNvPr>
                <p:cNvSpPr/>
                <p:nvPr/>
              </p:nvSpPr>
              <p:spPr>
                <a:xfrm>
                  <a:off x="2757736" y="5507466"/>
                  <a:ext cx="108032" cy="108032"/>
                </a:xfrm>
                <a:custGeom>
                  <a:avLst/>
                  <a:gdLst>
                    <a:gd name="connsiteX0" fmla="*/ 57480 w 108032"/>
                    <a:gd name="connsiteY0" fmla="*/ 108032 h 108032"/>
                    <a:gd name="connsiteX1" fmla="*/ 0 w 108032"/>
                    <a:gd name="connsiteY1" fmla="*/ 50540 h 108032"/>
                    <a:gd name="connsiteX2" fmla="*/ 50540 w 108032"/>
                    <a:gd name="connsiteY2" fmla="*/ 0 h 108032"/>
                    <a:gd name="connsiteX3" fmla="*/ 108032 w 108032"/>
                    <a:gd name="connsiteY3" fmla="*/ 57480 h 10803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08032" h="108032">
                      <a:moveTo>
                        <a:pt x="57480" y="108032"/>
                      </a:moveTo>
                      <a:lnTo>
                        <a:pt x="0" y="50540"/>
                      </a:lnTo>
                      <a:lnTo>
                        <a:pt x="50540" y="0"/>
                      </a:lnTo>
                      <a:lnTo>
                        <a:pt x="108032" y="57480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449" name="Forma livre: Forma 1448">
                  <a:extLst>
                    <a:ext uri="{FF2B5EF4-FFF2-40B4-BE49-F238E27FC236}">
                      <a16:creationId xmlns:a16="http://schemas.microsoft.com/office/drawing/2014/main" id="{5A3BE610-1D50-D08E-73E1-1ECA6FEFFEE3}"/>
                    </a:ext>
                  </a:extLst>
                </p:cNvPr>
                <p:cNvSpPr/>
                <p:nvPr/>
              </p:nvSpPr>
              <p:spPr>
                <a:xfrm>
                  <a:off x="2834102" y="5550800"/>
                  <a:ext cx="13916" cy="13928"/>
                </a:xfrm>
                <a:custGeom>
                  <a:avLst/>
                  <a:gdLst>
                    <a:gd name="connsiteX0" fmla="*/ 13917 w 13916"/>
                    <a:gd name="connsiteY0" fmla="*/ 0 h 13928"/>
                    <a:gd name="connsiteX1" fmla="*/ 0 w 13916"/>
                    <a:gd name="connsiteY1" fmla="*/ 13929 h 1392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3916" h="13928">
                      <a:moveTo>
                        <a:pt x="13917" y="0"/>
                      </a:moveTo>
                      <a:lnTo>
                        <a:pt x="0" y="13929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450" name="Forma livre: Forma 1449">
                  <a:extLst>
                    <a:ext uri="{FF2B5EF4-FFF2-40B4-BE49-F238E27FC236}">
                      <a16:creationId xmlns:a16="http://schemas.microsoft.com/office/drawing/2014/main" id="{BA6D0D34-F6E9-8C75-D8ED-D889DC48E855}"/>
                    </a:ext>
                  </a:extLst>
                </p:cNvPr>
                <p:cNvSpPr/>
                <p:nvPr/>
              </p:nvSpPr>
              <p:spPr>
                <a:xfrm>
                  <a:off x="2813015" y="5530705"/>
                  <a:ext cx="13940" cy="13928"/>
                </a:xfrm>
                <a:custGeom>
                  <a:avLst/>
                  <a:gdLst>
                    <a:gd name="connsiteX0" fmla="*/ 13941 w 13940"/>
                    <a:gd name="connsiteY0" fmla="*/ 0 h 13928"/>
                    <a:gd name="connsiteX1" fmla="*/ 0 w 13940"/>
                    <a:gd name="connsiteY1" fmla="*/ 13929 h 1392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3940" h="13928">
                      <a:moveTo>
                        <a:pt x="13941" y="0"/>
                      </a:moveTo>
                      <a:lnTo>
                        <a:pt x="0" y="13929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sp>
          <p:nvSpPr>
            <p:cNvPr id="1451" name="Forma livre: Forma 1450">
              <a:extLst>
                <a:ext uri="{FF2B5EF4-FFF2-40B4-BE49-F238E27FC236}">
                  <a16:creationId xmlns:a16="http://schemas.microsoft.com/office/drawing/2014/main" id="{861BEE29-6010-9D35-D7AF-B782ED1DDF03}"/>
                </a:ext>
              </a:extLst>
            </p:cNvPr>
            <p:cNvSpPr/>
            <p:nvPr/>
          </p:nvSpPr>
          <p:spPr>
            <a:xfrm>
              <a:off x="2714463" y="5464604"/>
              <a:ext cx="81069" cy="64263"/>
            </a:xfrm>
            <a:custGeom>
              <a:avLst/>
              <a:gdLst>
                <a:gd name="connsiteX0" fmla="*/ 81069 w 81069"/>
                <a:gd name="connsiteY0" fmla="*/ 53986 h 64263"/>
                <a:gd name="connsiteX1" fmla="*/ 19503 w 81069"/>
                <a:gd name="connsiteY1" fmla="*/ 0 h 64263"/>
                <a:gd name="connsiteX2" fmla="*/ 0 w 81069"/>
                <a:gd name="connsiteY2" fmla="*/ 19515 h 64263"/>
                <a:gd name="connsiteX3" fmla="*/ 39223 w 81069"/>
                <a:gd name="connsiteY3" fmla="*/ 64263 h 642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1069" h="64263">
                  <a:moveTo>
                    <a:pt x="81069" y="53986"/>
                  </a:moveTo>
                  <a:lnTo>
                    <a:pt x="19503" y="0"/>
                  </a:lnTo>
                  <a:lnTo>
                    <a:pt x="0" y="19515"/>
                  </a:lnTo>
                  <a:lnTo>
                    <a:pt x="39223" y="64263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452" name="Gráfico 13">
            <a:extLst>
              <a:ext uri="{FF2B5EF4-FFF2-40B4-BE49-F238E27FC236}">
                <a16:creationId xmlns:a16="http://schemas.microsoft.com/office/drawing/2014/main" id="{0CB45AE1-D646-BEA0-7C07-505BE59026C5}"/>
              </a:ext>
            </a:extLst>
          </p:cNvPr>
          <p:cNvGrpSpPr/>
          <p:nvPr/>
        </p:nvGrpSpPr>
        <p:grpSpPr>
          <a:xfrm>
            <a:off x="2561750" y="5813994"/>
            <a:ext cx="254667" cy="335026"/>
            <a:chOff x="2561750" y="5813994"/>
            <a:chExt cx="254667" cy="335026"/>
          </a:xfrm>
          <a:noFill/>
        </p:grpSpPr>
        <p:grpSp>
          <p:nvGrpSpPr>
            <p:cNvPr id="1453" name="Gráfico 13">
              <a:extLst>
                <a:ext uri="{FF2B5EF4-FFF2-40B4-BE49-F238E27FC236}">
                  <a16:creationId xmlns:a16="http://schemas.microsoft.com/office/drawing/2014/main" id="{7CE35D96-FED5-2516-50FA-B721B1D03F24}"/>
                </a:ext>
              </a:extLst>
            </p:cNvPr>
            <p:cNvGrpSpPr/>
            <p:nvPr/>
          </p:nvGrpSpPr>
          <p:grpSpPr>
            <a:xfrm>
              <a:off x="2561750" y="5813994"/>
              <a:ext cx="254667" cy="233409"/>
              <a:chOff x="2561750" y="5813994"/>
              <a:chExt cx="254667" cy="233409"/>
            </a:xfrm>
            <a:noFill/>
          </p:grpSpPr>
          <p:sp>
            <p:nvSpPr>
              <p:cNvPr id="1454" name="Forma livre: Forma 1453">
                <a:extLst>
                  <a:ext uri="{FF2B5EF4-FFF2-40B4-BE49-F238E27FC236}">
                    <a16:creationId xmlns:a16="http://schemas.microsoft.com/office/drawing/2014/main" id="{D536FF2A-2B3C-31EC-4FDC-BC5BE793FB83}"/>
                  </a:ext>
                </a:extLst>
              </p:cNvPr>
              <p:cNvSpPr/>
              <p:nvPr/>
            </p:nvSpPr>
            <p:spPr>
              <a:xfrm>
                <a:off x="2605886" y="6006116"/>
                <a:ext cx="165113" cy="39829"/>
              </a:xfrm>
              <a:custGeom>
                <a:avLst/>
                <a:gdLst>
                  <a:gd name="connsiteX0" fmla="*/ 165113 w 165113"/>
                  <a:gd name="connsiteY0" fmla="*/ 8224 h 39829"/>
                  <a:gd name="connsiteX1" fmla="*/ 126035 w 165113"/>
                  <a:gd name="connsiteY1" fmla="*/ 11827 h 39829"/>
                  <a:gd name="connsiteX2" fmla="*/ 83548 w 165113"/>
                  <a:gd name="connsiteY2" fmla="*/ 39830 h 39829"/>
                  <a:gd name="connsiteX3" fmla="*/ 81553 w 165113"/>
                  <a:gd name="connsiteY3" fmla="*/ 39830 h 39829"/>
                  <a:gd name="connsiteX4" fmla="*/ 39078 w 165113"/>
                  <a:gd name="connsiteY4" fmla="*/ 11827 h 39829"/>
                  <a:gd name="connsiteX5" fmla="*/ 0 w 165113"/>
                  <a:gd name="connsiteY5" fmla="*/ 8224 h 398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65113" h="39829">
                    <a:moveTo>
                      <a:pt x="165113" y="8224"/>
                    </a:moveTo>
                    <a:cubicBezTo>
                      <a:pt x="163711" y="7233"/>
                      <a:pt x="137147" y="-11895"/>
                      <a:pt x="126035" y="11827"/>
                    </a:cubicBezTo>
                    <a:cubicBezTo>
                      <a:pt x="126035" y="11827"/>
                      <a:pt x="114658" y="39431"/>
                      <a:pt x="83548" y="39830"/>
                    </a:cubicBezTo>
                    <a:lnTo>
                      <a:pt x="81553" y="39830"/>
                    </a:lnTo>
                    <a:cubicBezTo>
                      <a:pt x="50443" y="39431"/>
                      <a:pt x="39078" y="11827"/>
                      <a:pt x="39078" y="11827"/>
                    </a:cubicBezTo>
                    <a:cubicBezTo>
                      <a:pt x="28111" y="-11605"/>
                      <a:pt x="0" y="8224"/>
                      <a:pt x="0" y="8224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455" name="Forma livre: Forma 1454">
                <a:extLst>
                  <a:ext uri="{FF2B5EF4-FFF2-40B4-BE49-F238E27FC236}">
                    <a16:creationId xmlns:a16="http://schemas.microsoft.com/office/drawing/2014/main" id="{4B211D40-DC3C-4291-A6DB-22C521F952D2}"/>
                  </a:ext>
                </a:extLst>
              </p:cNvPr>
              <p:cNvSpPr/>
              <p:nvPr/>
            </p:nvSpPr>
            <p:spPr>
              <a:xfrm>
                <a:off x="2561750" y="5936475"/>
                <a:ext cx="56638" cy="110928"/>
              </a:xfrm>
              <a:custGeom>
                <a:avLst/>
                <a:gdLst>
                  <a:gd name="connsiteX0" fmla="*/ 41113 w 56638"/>
                  <a:gd name="connsiteY0" fmla="*/ 0 h 110928"/>
                  <a:gd name="connsiteX1" fmla="*/ 13292 w 56638"/>
                  <a:gd name="connsiteY1" fmla="*/ 99472 h 110928"/>
                  <a:gd name="connsiteX2" fmla="*/ 56638 w 56638"/>
                  <a:gd name="connsiteY2" fmla="*/ 103268 h 1109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56638" h="110928">
                    <a:moveTo>
                      <a:pt x="41113" y="0"/>
                    </a:moveTo>
                    <a:cubicBezTo>
                      <a:pt x="41113" y="0"/>
                      <a:pt x="-28337" y="45824"/>
                      <a:pt x="13292" y="99472"/>
                    </a:cubicBezTo>
                    <a:cubicBezTo>
                      <a:pt x="13292" y="99472"/>
                      <a:pt x="29422" y="122493"/>
                      <a:pt x="56638" y="103268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456" name="Forma livre: Forma 1455">
                <a:extLst>
                  <a:ext uri="{FF2B5EF4-FFF2-40B4-BE49-F238E27FC236}">
                    <a16:creationId xmlns:a16="http://schemas.microsoft.com/office/drawing/2014/main" id="{B1654B89-3053-F101-247F-375660DA8310}"/>
                  </a:ext>
                </a:extLst>
              </p:cNvPr>
              <p:cNvSpPr/>
              <p:nvPr/>
            </p:nvSpPr>
            <p:spPr>
              <a:xfrm>
                <a:off x="2759779" y="5936475"/>
                <a:ext cx="56638" cy="110928"/>
              </a:xfrm>
              <a:custGeom>
                <a:avLst/>
                <a:gdLst>
                  <a:gd name="connsiteX0" fmla="*/ 15525 w 56638"/>
                  <a:gd name="connsiteY0" fmla="*/ 0 h 110928"/>
                  <a:gd name="connsiteX1" fmla="*/ 43346 w 56638"/>
                  <a:gd name="connsiteY1" fmla="*/ 99472 h 110928"/>
                  <a:gd name="connsiteX2" fmla="*/ 0 w 56638"/>
                  <a:gd name="connsiteY2" fmla="*/ 103268 h 1109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56638" h="110928">
                    <a:moveTo>
                      <a:pt x="15525" y="0"/>
                    </a:moveTo>
                    <a:cubicBezTo>
                      <a:pt x="15525" y="0"/>
                      <a:pt x="84975" y="45824"/>
                      <a:pt x="43346" y="99472"/>
                    </a:cubicBezTo>
                    <a:cubicBezTo>
                      <a:pt x="43346" y="99472"/>
                      <a:pt x="27217" y="122493"/>
                      <a:pt x="0" y="103268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457" name="Forma livre: Forma 1456">
                <a:extLst>
                  <a:ext uri="{FF2B5EF4-FFF2-40B4-BE49-F238E27FC236}">
                    <a16:creationId xmlns:a16="http://schemas.microsoft.com/office/drawing/2014/main" id="{6BC5CB3B-D13E-D7A7-900F-E3B8C01CBE3A}"/>
                  </a:ext>
                </a:extLst>
              </p:cNvPr>
              <p:cNvSpPr/>
              <p:nvPr/>
            </p:nvSpPr>
            <p:spPr>
              <a:xfrm>
                <a:off x="2719674" y="5813994"/>
                <a:ext cx="19568" cy="200539"/>
              </a:xfrm>
              <a:custGeom>
                <a:avLst/>
                <a:gdLst>
                  <a:gd name="connsiteX0" fmla="*/ 13905 w 19568"/>
                  <a:gd name="connsiteY0" fmla="*/ 200540 h 200539"/>
                  <a:gd name="connsiteX1" fmla="*/ 15634 w 19568"/>
                  <a:gd name="connsiteY1" fmla="*/ 126688 h 200539"/>
                  <a:gd name="connsiteX2" fmla="*/ 0 w 19568"/>
                  <a:gd name="connsiteY2" fmla="*/ 0 h 2005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9568" h="200539">
                    <a:moveTo>
                      <a:pt x="13905" y="200540"/>
                    </a:moveTo>
                    <a:cubicBezTo>
                      <a:pt x="13905" y="200540"/>
                      <a:pt x="25403" y="180529"/>
                      <a:pt x="15634" y="126688"/>
                    </a:cubicBezTo>
                    <a:cubicBezTo>
                      <a:pt x="15634" y="126688"/>
                      <a:pt x="5683" y="84600"/>
                      <a:pt x="0" y="0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458" name="Forma livre: Forma 1457">
              <a:extLst>
                <a:ext uri="{FF2B5EF4-FFF2-40B4-BE49-F238E27FC236}">
                  <a16:creationId xmlns:a16="http://schemas.microsoft.com/office/drawing/2014/main" id="{5836E561-AE60-1308-4CDE-80EC957B27BB}"/>
                </a:ext>
              </a:extLst>
            </p:cNvPr>
            <p:cNvSpPr/>
            <p:nvPr/>
          </p:nvSpPr>
          <p:spPr>
            <a:xfrm>
              <a:off x="2618321" y="6063901"/>
              <a:ext cx="59715" cy="85119"/>
            </a:xfrm>
            <a:custGeom>
              <a:avLst/>
              <a:gdLst>
                <a:gd name="connsiteX0" fmla="*/ 49314 w 59715"/>
                <a:gd name="connsiteY0" fmla="*/ 29248 h 85119"/>
                <a:gd name="connsiteX1" fmla="*/ 29884 w 59715"/>
                <a:gd name="connsiteY1" fmla="*/ 0 h 85119"/>
                <a:gd name="connsiteX2" fmla="*/ 29871 w 59715"/>
                <a:gd name="connsiteY2" fmla="*/ 0 h 85119"/>
                <a:gd name="connsiteX3" fmla="*/ 10453 w 59715"/>
                <a:gd name="connsiteY3" fmla="*/ 29248 h 85119"/>
                <a:gd name="connsiteX4" fmla="*/ 29726 w 59715"/>
                <a:gd name="connsiteY4" fmla="*/ 85120 h 85119"/>
                <a:gd name="connsiteX5" fmla="*/ 30029 w 59715"/>
                <a:gd name="connsiteY5" fmla="*/ 85120 h 85119"/>
                <a:gd name="connsiteX6" fmla="*/ 49314 w 59715"/>
                <a:gd name="connsiteY6" fmla="*/ 29248 h 851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9715" h="85119">
                  <a:moveTo>
                    <a:pt x="49314" y="29248"/>
                  </a:moveTo>
                  <a:cubicBezTo>
                    <a:pt x="31673" y="8524"/>
                    <a:pt x="30029" y="1028"/>
                    <a:pt x="29884" y="0"/>
                  </a:cubicBezTo>
                  <a:lnTo>
                    <a:pt x="29871" y="0"/>
                  </a:lnTo>
                  <a:cubicBezTo>
                    <a:pt x="29726" y="1040"/>
                    <a:pt x="28082" y="8524"/>
                    <a:pt x="10453" y="29248"/>
                  </a:cubicBezTo>
                  <a:cubicBezTo>
                    <a:pt x="-10161" y="53454"/>
                    <a:pt x="1518" y="85047"/>
                    <a:pt x="29726" y="85120"/>
                  </a:cubicBezTo>
                  <a:lnTo>
                    <a:pt x="30029" y="85120"/>
                  </a:lnTo>
                  <a:cubicBezTo>
                    <a:pt x="58055" y="85047"/>
                    <a:pt x="69916" y="53442"/>
                    <a:pt x="49314" y="29248"/>
                  </a:cubicBez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459" name="Gráfico 13">
            <a:extLst>
              <a:ext uri="{FF2B5EF4-FFF2-40B4-BE49-F238E27FC236}">
                <a16:creationId xmlns:a16="http://schemas.microsoft.com/office/drawing/2014/main" id="{1CDD5C5B-B80D-E3DB-2B32-FA43691EDC16}"/>
              </a:ext>
            </a:extLst>
          </p:cNvPr>
          <p:cNvGrpSpPr/>
          <p:nvPr/>
        </p:nvGrpSpPr>
        <p:grpSpPr>
          <a:xfrm>
            <a:off x="2502204" y="3712875"/>
            <a:ext cx="373747" cy="171522"/>
            <a:chOff x="2502204" y="3712875"/>
            <a:chExt cx="373747" cy="171522"/>
          </a:xfrm>
          <a:noFill/>
        </p:grpSpPr>
        <p:sp>
          <p:nvSpPr>
            <p:cNvPr id="1460" name="Forma livre: Forma 1459">
              <a:extLst>
                <a:ext uri="{FF2B5EF4-FFF2-40B4-BE49-F238E27FC236}">
                  <a16:creationId xmlns:a16="http://schemas.microsoft.com/office/drawing/2014/main" id="{B4E9C2E0-C02A-E27E-DDF4-0CAFB598A76C}"/>
                </a:ext>
              </a:extLst>
            </p:cNvPr>
            <p:cNvSpPr/>
            <p:nvPr/>
          </p:nvSpPr>
          <p:spPr>
            <a:xfrm>
              <a:off x="2556749" y="3721968"/>
              <a:ext cx="264101" cy="162428"/>
            </a:xfrm>
            <a:custGeom>
              <a:avLst/>
              <a:gdLst>
                <a:gd name="connsiteX0" fmla="*/ 0 w 264101"/>
                <a:gd name="connsiteY0" fmla="*/ 0 h 162428"/>
                <a:gd name="connsiteX1" fmla="*/ 264101 w 264101"/>
                <a:gd name="connsiteY1" fmla="*/ 0 h 162428"/>
                <a:gd name="connsiteX2" fmla="*/ 264077 w 264101"/>
                <a:gd name="connsiteY2" fmla="*/ 162429 h 162428"/>
                <a:gd name="connsiteX3" fmla="*/ 0 w 264101"/>
                <a:gd name="connsiteY3" fmla="*/ 162429 h 162428"/>
                <a:gd name="connsiteX4" fmla="*/ 0 w 264101"/>
                <a:gd name="connsiteY4" fmla="*/ 0 h 1624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64101" h="162428">
                  <a:moveTo>
                    <a:pt x="0" y="0"/>
                  </a:moveTo>
                  <a:lnTo>
                    <a:pt x="264101" y="0"/>
                  </a:lnTo>
                  <a:lnTo>
                    <a:pt x="264077" y="162429"/>
                  </a:lnTo>
                  <a:lnTo>
                    <a:pt x="0" y="162429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61" name="Forma livre: Forma 1460">
              <a:extLst>
                <a:ext uri="{FF2B5EF4-FFF2-40B4-BE49-F238E27FC236}">
                  <a16:creationId xmlns:a16="http://schemas.microsoft.com/office/drawing/2014/main" id="{98F27416-2B71-C742-61E7-0AC445710A5A}"/>
                </a:ext>
              </a:extLst>
            </p:cNvPr>
            <p:cNvSpPr/>
            <p:nvPr/>
          </p:nvSpPr>
          <p:spPr>
            <a:xfrm>
              <a:off x="2595512" y="3849527"/>
              <a:ext cx="186574" cy="1209"/>
            </a:xfrm>
            <a:custGeom>
              <a:avLst/>
              <a:gdLst>
                <a:gd name="connsiteX0" fmla="*/ 0 w 186574"/>
                <a:gd name="connsiteY0" fmla="*/ 0 h 1209"/>
                <a:gd name="connsiteX1" fmla="*/ 186574 w 186574"/>
                <a:gd name="connsiteY1" fmla="*/ 0 h 12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6574" h="1209">
                  <a:moveTo>
                    <a:pt x="0" y="0"/>
                  </a:moveTo>
                  <a:lnTo>
                    <a:pt x="186574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62" name="Forma livre: Forma 1461">
              <a:extLst>
                <a:ext uri="{FF2B5EF4-FFF2-40B4-BE49-F238E27FC236}">
                  <a16:creationId xmlns:a16="http://schemas.microsoft.com/office/drawing/2014/main" id="{A403E91D-7E4D-E4FE-7B01-8CC65683A307}"/>
                </a:ext>
              </a:extLst>
            </p:cNvPr>
            <p:cNvSpPr/>
            <p:nvPr/>
          </p:nvSpPr>
          <p:spPr>
            <a:xfrm>
              <a:off x="2595512" y="3814778"/>
              <a:ext cx="186574" cy="1209"/>
            </a:xfrm>
            <a:custGeom>
              <a:avLst/>
              <a:gdLst>
                <a:gd name="connsiteX0" fmla="*/ 0 w 186574"/>
                <a:gd name="connsiteY0" fmla="*/ 0 h 1209"/>
                <a:gd name="connsiteX1" fmla="*/ 186574 w 186574"/>
                <a:gd name="connsiteY1" fmla="*/ 0 h 12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6574" h="1209">
                  <a:moveTo>
                    <a:pt x="0" y="0"/>
                  </a:moveTo>
                  <a:lnTo>
                    <a:pt x="186574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63" name="Forma livre: Forma 1462">
              <a:extLst>
                <a:ext uri="{FF2B5EF4-FFF2-40B4-BE49-F238E27FC236}">
                  <a16:creationId xmlns:a16="http://schemas.microsoft.com/office/drawing/2014/main" id="{53A0866B-DCFA-48C6-BDEA-CE60025B33E5}"/>
                </a:ext>
              </a:extLst>
            </p:cNvPr>
            <p:cNvSpPr/>
            <p:nvPr/>
          </p:nvSpPr>
          <p:spPr>
            <a:xfrm>
              <a:off x="2595512" y="3781492"/>
              <a:ext cx="186574" cy="1209"/>
            </a:xfrm>
            <a:custGeom>
              <a:avLst/>
              <a:gdLst>
                <a:gd name="connsiteX0" fmla="*/ 0 w 186574"/>
                <a:gd name="connsiteY0" fmla="*/ 0 h 1209"/>
                <a:gd name="connsiteX1" fmla="*/ 186574 w 186574"/>
                <a:gd name="connsiteY1" fmla="*/ 0 h 12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6574" h="1209">
                  <a:moveTo>
                    <a:pt x="0" y="0"/>
                  </a:moveTo>
                  <a:lnTo>
                    <a:pt x="186574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64" name="Forma livre: Forma 1463">
              <a:extLst>
                <a:ext uri="{FF2B5EF4-FFF2-40B4-BE49-F238E27FC236}">
                  <a16:creationId xmlns:a16="http://schemas.microsoft.com/office/drawing/2014/main" id="{B98F52DB-EC4B-0905-8FBA-77E86F4414A2}"/>
                </a:ext>
              </a:extLst>
            </p:cNvPr>
            <p:cNvSpPr/>
            <p:nvPr/>
          </p:nvSpPr>
          <p:spPr>
            <a:xfrm>
              <a:off x="2557051" y="3746997"/>
              <a:ext cx="263581" cy="1209"/>
            </a:xfrm>
            <a:custGeom>
              <a:avLst/>
              <a:gdLst>
                <a:gd name="connsiteX0" fmla="*/ 0 w 263581"/>
                <a:gd name="connsiteY0" fmla="*/ 0 h 1209"/>
                <a:gd name="connsiteX1" fmla="*/ 263581 w 263581"/>
                <a:gd name="connsiteY1" fmla="*/ 0 h 12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63581" h="1209">
                  <a:moveTo>
                    <a:pt x="0" y="0"/>
                  </a:moveTo>
                  <a:lnTo>
                    <a:pt x="263581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65" name="Forma livre: Forma 1464">
              <a:extLst>
                <a:ext uri="{FF2B5EF4-FFF2-40B4-BE49-F238E27FC236}">
                  <a16:creationId xmlns:a16="http://schemas.microsoft.com/office/drawing/2014/main" id="{E119070B-2016-F39C-B80D-E443080C3AA3}"/>
                </a:ext>
              </a:extLst>
            </p:cNvPr>
            <p:cNvSpPr/>
            <p:nvPr/>
          </p:nvSpPr>
          <p:spPr>
            <a:xfrm>
              <a:off x="2820935" y="3712875"/>
              <a:ext cx="55016" cy="171292"/>
            </a:xfrm>
            <a:custGeom>
              <a:avLst/>
              <a:gdLst>
                <a:gd name="connsiteX0" fmla="*/ 0 w 55016"/>
                <a:gd name="connsiteY0" fmla="*/ 9432 h 171292"/>
                <a:gd name="connsiteX1" fmla="*/ 53551 w 55016"/>
                <a:gd name="connsiteY1" fmla="*/ 28366 h 171292"/>
                <a:gd name="connsiteX2" fmla="*/ 230 w 55016"/>
                <a:gd name="connsiteY2" fmla="*/ 171293 h 1712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55016" h="171292">
                  <a:moveTo>
                    <a:pt x="0" y="9432"/>
                  </a:moveTo>
                  <a:cubicBezTo>
                    <a:pt x="0" y="9432"/>
                    <a:pt x="42028" y="-21376"/>
                    <a:pt x="53551" y="28366"/>
                  </a:cubicBezTo>
                  <a:cubicBezTo>
                    <a:pt x="53551" y="28366"/>
                    <a:pt x="68906" y="117331"/>
                    <a:pt x="230" y="171293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66" name="Forma livre: Forma 1465">
              <a:extLst>
                <a:ext uri="{FF2B5EF4-FFF2-40B4-BE49-F238E27FC236}">
                  <a16:creationId xmlns:a16="http://schemas.microsoft.com/office/drawing/2014/main" id="{47484D6F-6DED-5F67-C7B7-BAA51D34539B}"/>
                </a:ext>
              </a:extLst>
            </p:cNvPr>
            <p:cNvSpPr/>
            <p:nvPr/>
          </p:nvSpPr>
          <p:spPr>
            <a:xfrm>
              <a:off x="2502204" y="3712878"/>
              <a:ext cx="54786" cy="171289"/>
            </a:xfrm>
            <a:custGeom>
              <a:avLst/>
              <a:gdLst>
                <a:gd name="connsiteX0" fmla="*/ 35768 w 54786"/>
                <a:gd name="connsiteY0" fmla="*/ 796 h 171289"/>
                <a:gd name="connsiteX1" fmla="*/ 1466 w 54786"/>
                <a:gd name="connsiteY1" fmla="*/ 28363 h 171289"/>
                <a:gd name="connsiteX2" fmla="*/ 54787 w 54786"/>
                <a:gd name="connsiteY2" fmla="*/ 171289 h 1712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54786" h="171289">
                  <a:moveTo>
                    <a:pt x="35768" y="796"/>
                  </a:moveTo>
                  <a:cubicBezTo>
                    <a:pt x="23109" y="-1937"/>
                    <a:pt x="7741" y="1243"/>
                    <a:pt x="1466" y="28363"/>
                  </a:cubicBezTo>
                  <a:cubicBezTo>
                    <a:pt x="1466" y="28363"/>
                    <a:pt x="-13889" y="117328"/>
                    <a:pt x="54787" y="171289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467" name="Gráfico 13">
            <a:extLst>
              <a:ext uri="{FF2B5EF4-FFF2-40B4-BE49-F238E27FC236}">
                <a16:creationId xmlns:a16="http://schemas.microsoft.com/office/drawing/2014/main" id="{D19E54A1-F826-E213-500C-0A0968EB8781}"/>
              </a:ext>
            </a:extLst>
          </p:cNvPr>
          <p:cNvGrpSpPr/>
          <p:nvPr/>
        </p:nvGrpSpPr>
        <p:grpSpPr>
          <a:xfrm>
            <a:off x="2554754" y="4182232"/>
            <a:ext cx="268659" cy="324253"/>
            <a:chOff x="2554754" y="4182232"/>
            <a:chExt cx="268659" cy="324253"/>
          </a:xfrm>
        </p:grpSpPr>
        <p:grpSp>
          <p:nvGrpSpPr>
            <p:cNvPr id="1468" name="Gráfico 13">
              <a:extLst>
                <a:ext uri="{FF2B5EF4-FFF2-40B4-BE49-F238E27FC236}">
                  <a16:creationId xmlns:a16="http://schemas.microsoft.com/office/drawing/2014/main" id="{2479116C-B371-8E31-F71B-128A4E19657E}"/>
                </a:ext>
              </a:extLst>
            </p:cNvPr>
            <p:cNvGrpSpPr/>
            <p:nvPr/>
          </p:nvGrpSpPr>
          <p:grpSpPr>
            <a:xfrm>
              <a:off x="2638459" y="4222676"/>
              <a:ext cx="80863" cy="31377"/>
              <a:chOff x="2638459" y="4222676"/>
              <a:chExt cx="80863" cy="31377"/>
            </a:xfrm>
            <a:solidFill>
              <a:srgbClr val="394553"/>
            </a:solidFill>
          </p:grpSpPr>
          <p:grpSp>
            <p:nvGrpSpPr>
              <p:cNvPr id="1469" name="Gráfico 13">
                <a:extLst>
                  <a:ext uri="{FF2B5EF4-FFF2-40B4-BE49-F238E27FC236}">
                    <a16:creationId xmlns:a16="http://schemas.microsoft.com/office/drawing/2014/main" id="{184C9E3A-F6E0-5DA5-4E5B-D8A100B53FE7}"/>
                  </a:ext>
                </a:extLst>
              </p:cNvPr>
              <p:cNvGrpSpPr/>
              <p:nvPr/>
            </p:nvGrpSpPr>
            <p:grpSpPr>
              <a:xfrm>
                <a:off x="2638459" y="4222676"/>
                <a:ext cx="80857" cy="31377"/>
                <a:chOff x="2638459" y="4222676"/>
                <a:chExt cx="80857" cy="31377"/>
              </a:xfrm>
              <a:solidFill>
                <a:srgbClr val="394553"/>
              </a:solidFill>
            </p:grpSpPr>
            <p:grpSp>
              <p:nvGrpSpPr>
                <p:cNvPr id="1470" name="Gráfico 13">
                  <a:extLst>
                    <a:ext uri="{FF2B5EF4-FFF2-40B4-BE49-F238E27FC236}">
                      <a16:creationId xmlns:a16="http://schemas.microsoft.com/office/drawing/2014/main" id="{9CE18013-2403-159A-A17C-CEB184924FC1}"/>
                    </a:ext>
                  </a:extLst>
                </p:cNvPr>
                <p:cNvGrpSpPr/>
                <p:nvPr/>
              </p:nvGrpSpPr>
              <p:grpSpPr>
                <a:xfrm>
                  <a:off x="2638459" y="4246792"/>
                  <a:ext cx="80857" cy="7262"/>
                  <a:chOff x="2638459" y="4246792"/>
                  <a:chExt cx="80857" cy="7262"/>
                </a:xfrm>
                <a:solidFill>
                  <a:srgbClr val="394553"/>
                </a:solidFill>
              </p:grpSpPr>
              <p:sp>
                <p:nvSpPr>
                  <p:cNvPr id="1471" name="Forma livre: Forma 1470">
                    <a:extLst>
                      <a:ext uri="{FF2B5EF4-FFF2-40B4-BE49-F238E27FC236}">
                        <a16:creationId xmlns:a16="http://schemas.microsoft.com/office/drawing/2014/main" id="{AB9C1F6B-1306-6E96-5F1B-280F46E89D01}"/>
                      </a:ext>
                    </a:extLst>
                  </p:cNvPr>
                  <p:cNvSpPr/>
                  <p:nvPr/>
                </p:nvSpPr>
                <p:spPr>
                  <a:xfrm>
                    <a:off x="2638459" y="4246792"/>
                    <a:ext cx="7260" cy="7262"/>
                  </a:xfrm>
                  <a:custGeom>
                    <a:avLst/>
                    <a:gdLst>
                      <a:gd name="connsiteX0" fmla="*/ 1064 w 7260"/>
                      <a:gd name="connsiteY0" fmla="*/ 1070 h 7262"/>
                      <a:gd name="connsiteX1" fmla="*/ 1076 w 7260"/>
                      <a:gd name="connsiteY1" fmla="*/ 6209 h 7262"/>
                      <a:gd name="connsiteX2" fmla="*/ 6191 w 7260"/>
                      <a:gd name="connsiteY2" fmla="*/ 6184 h 7262"/>
                      <a:gd name="connsiteX3" fmla="*/ 6191 w 7260"/>
                      <a:gd name="connsiteY3" fmla="*/ 1070 h 7262"/>
                      <a:gd name="connsiteX4" fmla="*/ 1052 w 7260"/>
                      <a:gd name="connsiteY4" fmla="*/ 1070 h 726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7260" h="7262">
                        <a:moveTo>
                          <a:pt x="1064" y="1070"/>
                        </a:moveTo>
                        <a:cubicBezTo>
                          <a:pt x="-363" y="2497"/>
                          <a:pt x="-351" y="4782"/>
                          <a:pt x="1076" y="6209"/>
                        </a:cubicBezTo>
                        <a:cubicBezTo>
                          <a:pt x="2491" y="7623"/>
                          <a:pt x="4788" y="7611"/>
                          <a:pt x="6191" y="6184"/>
                        </a:cubicBezTo>
                        <a:cubicBezTo>
                          <a:pt x="7629" y="4770"/>
                          <a:pt x="7605" y="2485"/>
                          <a:pt x="6191" y="1070"/>
                        </a:cubicBezTo>
                        <a:cubicBezTo>
                          <a:pt x="4752" y="-357"/>
                          <a:pt x="2479" y="-357"/>
                          <a:pt x="1052" y="1070"/>
                        </a:cubicBezTo>
                        <a:close/>
                      </a:path>
                    </a:pathLst>
                  </a:custGeom>
                  <a:solidFill>
                    <a:srgbClr val="394553"/>
                  </a:solidFill>
                  <a:ln w="6350" cap="flat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1472" name="Forma livre: Forma 1471">
                    <a:extLst>
                      <a:ext uri="{FF2B5EF4-FFF2-40B4-BE49-F238E27FC236}">
                        <a16:creationId xmlns:a16="http://schemas.microsoft.com/office/drawing/2014/main" id="{ACD30367-2964-04B0-47CF-7DFB41BC1E21}"/>
                      </a:ext>
                    </a:extLst>
                  </p:cNvPr>
                  <p:cNvSpPr/>
                  <p:nvPr/>
                </p:nvSpPr>
                <p:spPr>
                  <a:xfrm>
                    <a:off x="2675264" y="4246792"/>
                    <a:ext cx="7260" cy="7262"/>
                  </a:xfrm>
                  <a:custGeom>
                    <a:avLst/>
                    <a:gdLst>
                      <a:gd name="connsiteX0" fmla="*/ 1064 w 7260"/>
                      <a:gd name="connsiteY0" fmla="*/ 1070 h 7262"/>
                      <a:gd name="connsiteX1" fmla="*/ 1076 w 7260"/>
                      <a:gd name="connsiteY1" fmla="*/ 6209 h 7262"/>
                      <a:gd name="connsiteX2" fmla="*/ 6191 w 7260"/>
                      <a:gd name="connsiteY2" fmla="*/ 6184 h 7262"/>
                      <a:gd name="connsiteX3" fmla="*/ 6191 w 7260"/>
                      <a:gd name="connsiteY3" fmla="*/ 1070 h 7262"/>
                      <a:gd name="connsiteX4" fmla="*/ 1052 w 7260"/>
                      <a:gd name="connsiteY4" fmla="*/ 1070 h 726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7260" h="7262">
                        <a:moveTo>
                          <a:pt x="1064" y="1070"/>
                        </a:moveTo>
                        <a:cubicBezTo>
                          <a:pt x="-363" y="2497"/>
                          <a:pt x="-351" y="4782"/>
                          <a:pt x="1076" y="6209"/>
                        </a:cubicBezTo>
                        <a:cubicBezTo>
                          <a:pt x="2491" y="7623"/>
                          <a:pt x="4788" y="7611"/>
                          <a:pt x="6191" y="6184"/>
                        </a:cubicBezTo>
                        <a:cubicBezTo>
                          <a:pt x="7629" y="4770"/>
                          <a:pt x="7605" y="2485"/>
                          <a:pt x="6191" y="1070"/>
                        </a:cubicBezTo>
                        <a:cubicBezTo>
                          <a:pt x="4752" y="-357"/>
                          <a:pt x="2479" y="-357"/>
                          <a:pt x="1052" y="1070"/>
                        </a:cubicBezTo>
                        <a:close/>
                      </a:path>
                    </a:pathLst>
                  </a:custGeom>
                  <a:solidFill>
                    <a:srgbClr val="394553"/>
                  </a:solidFill>
                  <a:ln w="6350" cap="flat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1473" name="Forma livre: Forma 1472">
                    <a:extLst>
                      <a:ext uri="{FF2B5EF4-FFF2-40B4-BE49-F238E27FC236}">
                        <a16:creationId xmlns:a16="http://schemas.microsoft.com/office/drawing/2014/main" id="{F93293B2-3320-2D55-5BE3-F9A63AD9B9E4}"/>
                      </a:ext>
                    </a:extLst>
                  </p:cNvPr>
                  <p:cNvSpPr/>
                  <p:nvPr/>
                </p:nvSpPr>
                <p:spPr>
                  <a:xfrm>
                    <a:off x="2712056" y="4246792"/>
                    <a:ext cx="7260" cy="7262"/>
                  </a:xfrm>
                  <a:custGeom>
                    <a:avLst/>
                    <a:gdLst>
                      <a:gd name="connsiteX0" fmla="*/ 1064 w 7260"/>
                      <a:gd name="connsiteY0" fmla="*/ 1070 h 7262"/>
                      <a:gd name="connsiteX1" fmla="*/ 1076 w 7260"/>
                      <a:gd name="connsiteY1" fmla="*/ 6209 h 7262"/>
                      <a:gd name="connsiteX2" fmla="*/ 6191 w 7260"/>
                      <a:gd name="connsiteY2" fmla="*/ 6184 h 7262"/>
                      <a:gd name="connsiteX3" fmla="*/ 6191 w 7260"/>
                      <a:gd name="connsiteY3" fmla="*/ 1070 h 7262"/>
                      <a:gd name="connsiteX4" fmla="*/ 1052 w 7260"/>
                      <a:gd name="connsiteY4" fmla="*/ 1070 h 726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7260" h="7262">
                        <a:moveTo>
                          <a:pt x="1064" y="1070"/>
                        </a:moveTo>
                        <a:cubicBezTo>
                          <a:pt x="-363" y="2497"/>
                          <a:pt x="-351" y="4782"/>
                          <a:pt x="1076" y="6209"/>
                        </a:cubicBezTo>
                        <a:cubicBezTo>
                          <a:pt x="2491" y="7623"/>
                          <a:pt x="4788" y="7611"/>
                          <a:pt x="6191" y="6184"/>
                        </a:cubicBezTo>
                        <a:cubicBezTo>
                          <a:pt x="7629" y="4770"/>
                          <a:pt x="7605" y="2485"/>
                          <a:pt x="6191" y="1070"/>
                        </a:cubicBezTo>
                        <a:cubicBezTo>
                          <a:pt x="4752" y="-357"/>
                          <a:pt x="2479" y="-357"/>
                          <a:pt x="1052" y="1070"/>
                        </a:cubicBezTo>
                        <a:close/>
                      </a:path>
                    </a:pathLst>
                  </a:custGeom>
                  <a:solidFill>
                    <a:srgbClr val="394553"/>
                  </a:solidFill>
                  <a:ln w="6350" cap="flat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  <p:sp>
              <p:nvSpPr>
                <p:cNvPr id="1474" name="Forma livre: Forma 1473">
                  <a:extLst>
                    <a:ext uri="{FF2B5EF4-FFF2-40B4-BE49-F238E27FC236}">
                      <a16:creationId xmlns:a16="http://schemas.microsoft.com/office/drawing/2014/main" id="{7CDFFA9F-FD9A-DB94-89D5-B1F0356C2BF1}"/>
                    </a:ext>
                  </a:extLst>
                </p:cNvPr>
                <p:cNvSpPr/>
                <p:nvPr/>
              </p:nvSpPr>
              <p:spPr>
                <a:xfrm>
                  <a:off x="2638459" y="4222676"/>
                  <a:ext cx="25064" cy="1209"/>
                </a:xfrm>
                <a:custGeom>
                  <a:avLst/>
                  <a:gdLst>
                    <a:gd name="connsiteX0" fmla="*/ 0 w 25064"/>
                    <a:gd name="connsiteY0" fmla="*/ 0 h 1209"/>
                    <a:gd name="connsiteX1" fmla="*/ 25064 w 25064"/>
                    <a:gd name="connsiteY1" fmla="*/ 0 h 120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5064" h="1209">
                      <a:moveTo>
                        <a:pt x="0" y="0"/>
                      </a:moveTo>
                      <a:lnTo>
                        <a:pt x="25064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1475" name="Forma livre: Forma 1474">
                <a:extLst>
                  <a:ext uri="{FF2B5EF4-FFF2-40B4-BE49-F238E27FC236}">
                    <a16:creationId xmlns:a16="http://schemas.microsoft.com/office/drawing/2014/main" id="{E546EDC3-6B72-FB45-A0F6-758741B45E9D}"/>
                  </a:ext>
                </a:extLst>
              </p:cNvPr>
              <p:cNvSpPr/>
              <p:nvPr/>
            </p:nvSpPr>
            <p:spPr>
              <a:xfrm>
                <a:off x="2694259" y="4222676"/>
                <a:ext cx="25064" cy="1209"/>
              </a:xfrm>
              <a:custGeom>
                <a:avLst/>
                <a:gdLst>
                  <a:gd name="connsiteX0" fmla="*/ 0 w 25064"/>
                  <a:gd name="connsiteY0" fmla="*/ 0 h 1209"/>
                  <a:gd name="connsiteX1" fmla="*/ 25064 w 25064"/>
                  <a:gd name="connsiteY1" fmla="*/ 0 h 12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5064" h="1209">
                    <a:moveTo>
                      <a:pt x="0" y="0"/>
                    </a:moveTo>
                    <a:lnTo>
                      <a:pt x="25064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476" name="Gráfico 13">
              <a:extLst>
                <a:ext uri="{FF2B5EF4-FFF2-40B4-BE49-F238E27FC236}">
                  <a16:creationId xmlns:a16="http://schemas.microsoft.com/office/drawing/2014/main" id="{5B3EC06A-CD1D-A0D5-BEF7-152B83DAF2A4}"/>
                </a:ext>
              </a:extLst>
            </p:cNvPr>
            <p:cNvGrpSpPr/>
            <p:nvPr/>
          </p:nvGrpSpPr>
          <p:grpSpPr>
            <a:xfrm>
              <a:off x="2554754" y="4182232"/>
              <a:ext cx="268659" cy="324253"/>
              <a:chOff x="2554754" y="4182232"/>
              <a:chExt cx="268659" cy="324253"/>
            </a:xfrm>
            <a:noFill/>
          </p:grpSpPr>
          <p:sp>
            <p:nvSpPr>
              <p:cNvPr id="1477" name="Forma livre: Forma 1476">
                <a:extLst>
                  <a:ext uri="{FF2B5EF4-FFF2-40B4-BE49-F238E27FC236}">
                    <a16:creationId xmlns:a16="http://schemas.microsoft.com/office/drawing/2014/main" id="{38B0C7C0-86C7-ADA0-5C42-FD63173CC8E4}"/>
                  </a:ext>
                </a:extLst>
              </p:cNvPr>
              <p:cNvSpPr/>
              <p:nvPr/>
            </p:nvSpPr>
            <p:spPr>
              <a:xfrm>
                <a:off x="2554754" y="4182232"/>
                <a:ext cx="268659" cy="324253"/>
              </a:xfrm>
              <a:custGeom>
                <a:avLst/>
                <a:gdLst>
                  <a:gd name="connsiteX0" fmla="*/ 254465 w 268659"/>
                  <a:gd name="connsiteY0" fmla="*/ 114077 h 324253"/>
                  <a:gd name="connsiteX1" fmla="*/ 230948 w 268659"/>
                  <a:gd name="connsiteY1" fmla="*/ 14134 h 324253"/>
                  <a:gd name="connsiteX2" fmla="*/ 214674 w 268659"/>
                  <a:gd name="connsiteY2" fmla="*/ 0 h 324253"/>
                  <a:gd name="connsiteX3" fmla="*/ 17641 w 268659"/>
                  <a:gd name="connsiteY3" fmla="*/ 0 h 324253"/>
                  <a:gd name="connsiteX4" fmla="*/ 689 w 268659"/>
                  <a:gd name="connsiteY4" fmla="*/ 19926 h 324253"/>
                  <a:gd name="connsiteX5" fmla="*/ 15319 w 268659"/>
                  <a:gd name="connsiteY5" fmla="*/ 80005 h 324253"/>
                  <a:gd name="connsiteX6" fmla="*/ 28982 w 268659"/>
                  <a:gd name="connsiteY6" fmla="*/ 98903 h 324253"/>
                  <a:gd name="connsiteX7" fmla="*/ 112712 w 268659"/>
                  <a:gd name="connsiteY7" fmla="*/ 125358 h 324253"/>
                  <a:gd name="connsiteX8" fmla="*/ 168523 w 268659"/>
                  <a:gd name="connsiteY8" fmla="*/ 305597 h 324253"/>
                  <a:gd name="connsiteX9" fmla="*/ 177833 w 268659"/>
                  <a:gd name="connsiteY9" fmla="*/ 324205 h 324253"/>
                  <a:gd name="connsiteX10" fmla="*/ 251612 w 268659"/>
                  <a:gd name="connsiteY10" fmla="*/ 324253 h 324253"/>
                  <a:gd name="connsiteX11" fmla="*/ 244877 w 268659"/>
                  <a:gd name="connsiteY11" fmla="*/ 178909 h 324253"/>
                  <a:gd name="connsiteX12" fmla="*/ 249423 w 268659"/>
                  <a:gd name="connsiteY12" fmla="*/ 138598 h 324253"/>
                  <a:gd name="connsiteX13" fmla="*/ 254477 w 268659"/>
                  <a:gd name="connsiteY13" fmla="*/ 114102 h 3242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68659" h="324253">
                    <a:moveTo>
                      <a:pt x="254465" y="114077"/>
                    </a:moveTo>
                    <a:lnTo>
                      <a:pt x="230948" y="14134"/>
                    </a:lnTo>
                    <a:cubicBezTo>
                      <a:pt x="228615" y="871"/>
                      <a:pt x="224552" y="0"/>
                      <a:pt x="214674" y="0"/>
                    </a:cubicBezTo>
                    <a:lnTo>
                      <a:pt x="17641" y="0"/>
                    </a:lnTo>
                    <a:cubicBezTo>
                      <a:pt x="5284" y="0"/>
                      <a:pt x="-2418" y="4425"/>
                      <a:pt x="689" y="19926"/>
                    </a:cubicBezTo>
                    <a:lnTo>
                      <a:pt x="15319" y="80005"/>
                    </a:lnTo>
                    <a:cubicBezTo>
                      <a:pt x="19092" y="93958"/>
                      <a:pt x="19394" y="95421"/>
                      <a:pt x="28982" y="98903"/>
                    </a:cubicBezTo>
                    <a:lnTo>
                      <a:pt x="112712" y="125358"/>
                    </a:lnTo>
                    <a:cubicBezTo>
                      <a:pt x="112712" y="125358"/>
                      <a:pt x="198182" y="139311"/>
                      <a:pt x="168523" y="305597"/>
                    </a:cubicBezTo>
                    <a:cubicBezTo>
                      <a:pt x="168523" y="305597"/>
                      <a:pt x="163493" y="324205"/>
                      <a:pt x="177833" y="324205"/>
                    </a:cubicBezTo>
                    <a:lnTo>
                      <a:pt x="251612" y="324253"/>
                    </a:lnTo>
                    <a:cubicBezTo>
                      <a:pt x="293567" y="261320"/>
                      <a:pt x="244877" y="178909"/>
                      <a:pt x="244877" y="178909"/>
                    </a:cubicBezTo>
                    <a:cubicBezTo>
                      <a:pt x="231178" y="150338"/>
                      <a:pt x="249423" y="138598"/>
                      <a:pt x="249423" y="138598"/>
                    </a:cubicBezTo>
                    <a:cubicBezTo>
                      <a:pt x="249423" y="138598"/>
                      <a:pt x="258407" y="133205"/>
                      <a:pt x="254477" y="114102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478" name="Forma livre: Forma 1477">
                <a:extLst>
                  <a:ext uri="{FF2B5EF4-FFF2-40B4-BE49-F238E27FC236}">
                    <a16:creationId xmlns:a16="http://schemas.microsoft.com/office/drawing/2014/main" id="{D49DC87E-2FC2-510C-79C7-DD6E1F8CE793}"/>
                  </a:ext>
                </a:extLst>
              </p:cNvPr>
              <p:cNvSpPr/>
              <p:nvPr/>
            </p:nvSpPr>
            <p:spPr>
              <a:xfrm>
                <a:off x="2663729" y="4337008"/>
                <a:ext cx="34205" cy="42273"/>
              </a:xfrm>
              <a:custGeom>
                <a:avLst/>
                <a:gdLst>
                  <a:gd name="connsiteX0" fmla="*/ 9370 w 34205"/>
                  <a:gd name="connsiteY0" fmla="*/ 0 h 42273"/>
                  <a:gd name="connsiteX1" fmla="*/ 0 w 34205"/>
                  <a:gd name="connsiteY1" fmla="*/ 39199 h 42273"/>
                  <a:gd name="connsiteX2" fmla="*/ 34205 w 34205"/>
                  <a:gd name="connsiteY2" fmla="*/ 39936 h 422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4205" h="42273">
                    <a:moveTo>
                      <a:pt x="9370" y="0"/>
                    </a:moveTo>
                    <a:cubicBezTo>
                      <a:pt x="8984" y="6227"/>
                      <a:pt x="7303" y="24242"/>
                      <a:pt x="0" y="39199"/>
                    </a:cubicBezTo>
                    <a:cubicBezTo>
                      <a:pt x="0" y="39199"/>
                      <a:pt x="13155" y="45595"/>
                      <a:pt x="34205" y="39936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479" name="Forma livre: Forma 1478">
                <a:extLst>
                  <a:ext uri="{FF2B5EF4-FFF2-40B4-BE49-F238E27FC236}">
                    <a16:creationId xmlns:a16="http://schemas.microsoft.com/office/drawing/2014/main" id="{61FB4441-EB5C-3FC2-C4AC-1B940A7FD7A9}"/>
                  </a:ext>
                </a:extLst>
              </p:cNvPr>
              <p:cNvSpPr/>
              <p:nvPr/>
            </p:nvSpPr>
            <p:spPr>
              <a:xfrm>
                <a:off x="2754653" y="4185243"/>
                <a:ext cx="39754" cy="160518"/>
              </a:xfrm>
              <a:custGeom>
                <a:avLst/>
                <a:gdLst>
                  <a:gd name="connsiteX0" fmla="*/ 0 w 39754"/>
                  <a:gd name="connsiteY0" fmla="*/ 0 h 160518"/>
                  <a:gd name="connsiteX1" fmla="*/ 39755 w 39754"/>
                  <a:gd name="connsiteY1" fmla="*/ 160519 h 1605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9754" h="160518">
                    <a:moveTo>
                      <a:pt x="0" y="0"/>
                    </a:moveTo>
                    <a:lnTo>
                      <a:pt x="39755" y="160519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480" name="Forma livre: Forma 1479">
                <a:extLst>
                  <a:ext uri="{FF2B5EF4-FFF2-40B4-BE49-F238E27FC236}">
                    <a16:creationId xmlns:a16="http://schemas.microsoft.com/office/drawing/2014/main" id="{037C0AB5-14D3-5295-9265-66B787A5032A}"/>
                  </a:ext>
                </a:extLst>
              </p:cNvPr>
              <p:cNvSpPr/>
              <p:nvPr/>
            </p:nvSpPr>
            <p:spPr>
              <a:xfrm>
                <a:off x="2585138" y="4206668"/>
                <a:ext cx="19248" cy="79449"/>
              </a:xfrm>
              <a:custGeom>
                <a:avLst/>
                <a:gdLst>
                  <a:gd name="connsiteX0" fmla="*/ 0 w 19248"/>
                  <a:gd name="connsiteY0" fmla="*/ 0 h 79449"/>
                  <a:gd name="connsiteX1" fmla="*/ 19249 w 19248"/>
                  <a:gd name="connsiteY1" fmla="*/ 79449 h 794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9248" h="79449">
                    <a:moveTo>
                      <a:pt x="0" y="0"/>
                    </a:moveTo>
                    <a:lnTo>
                      <a:pt x="19249" y="79449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481" name="Forma livre: Forma 1480">
                <a:extLst>
                  <a:ext uri="{FF2B5EF4-FFF2-40B4-BE49-F238E27FC236}">
                    <a16:creationId xmlns:a16="http://schemas.microsoft.com/office/drawing/2014/main" id="{A558C59E-1D7F-928D-6F78-55D684162557}"/>
                  </a:ext>
                </a:extLst>
              </p:cNvPr>
              <p:cNvSpPr/>
              <p:nvPr/>
            </p:nvSpPr>
            <p:spPr>
              <a:xfrm>
                <a:off x="2751412" y="4472704"/>
                <a:ext cx="68156" cy="1209"/>
              </a:xfrm>
              <a:custGeom>
                <a:avLst/>
                <a:gdLst>
                  <a:gd name="connsiteX0" fmla="*/ 0 w 68156"/>
                  <a:gd name="connsiteY0" fmla="*/ 0 h 1209"/>
                  <a:gd name="connsiteX1" fmla="*/ 68156 w 68156"/>
                  <a:gd name="connsiteY1" fmla="*/ 0 h 12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8156" h="1209">
                    <a:moveTo>
                      <a:pt x="0" y="0"/>
                    </a:moveTo>
                    <a:lnTo>
                      <a:pt x="68156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482" name="Gráfico 13">
            <a:extLst>
              <a:ext uri="{FF2B5EF4-FFF2-40B4-BE49-F238E27FC236}">
                <a16:creationId xmlns:a16="http://schemas.microsoft.com/office/drawing/2014/main" id="{D9321FA2-BEBC-3388-3133-CE6392491838}"/>
              </a:ext>
            </a:extLst>
          </p:cNvPr>
          <p:cNvGrpSpPr/>
          <p:nvPr/>
        </p:nvGrpSpPr>
        <p:grpSpPr>
          <a:xfrm>
            <a:off x="2523342" y="4719781"/>
            <a:ext cx="331483" cy="340576"/>
            <a:chOff x="2523342" y="4719781"/>
            <a:chExt cx="331483" cy="340576"/>
          </a:xfrm>
        </p:grpSpPr>
        <p:grpSp>
          <p:nvGrpSpPr>
            <p:cNvPr id="1483" name="Gráfico 13">
              <a:extLst>
                <a:ext uri="{FF2B5EF4-FFF2-40B4-BE49-F238E27FC236}">
                  <a16:creationId xmlns:a16="http://schemas.microsoft.com/office/drawing/2014/main" id="{6BA210D3-B7CC-699F-B379-1C50AB2F5314}"/>
                </a:ext>
              </a:extLst>
            </p:cNvPr>
            <p:cNvGrpSpPr/>
            <p:nvPr/>
          </p:nvGrpSpPr>
          <p:grpSpPr>
            <a:xfrm>
              <a:off x="2523342" y="4728873"/>
              <a:ext cx="331483" cy="331483"/>
              <a:chOff x="2523342" y="4728873"/>
              <a:chExt cx="331483" cy="331483"/>
            </a:xfrm>
            <a:noFill/>
          </p:grpSpPr>
          <p:sp>
            <p:nvSpPr>
              <p:cNvPr id="1484" name="Forma livre: Forma 1483">
                <a:extLst>
                  <a:ext uri="{FF2B5EF4-FFF2-40B4-BE49-F238E27FC236}">
                    <a16:creationId xmlns:a16="http://schemas.microsoft.com/office/drawing/2014/main" id="{C1162032-A873-9C91-9D04-93954D5AE0B3}"/>
                  </a:ext>
                </a:extLst>
              </p:cNvPr>
              <p:cNvSpPr/>
              <p:nvPr/>
            </p:nvSpPr>
            <p:spPr>
              <a:xfrm>
                <a:off x="2672289" y="4812131"/>
                <a:ext cx="182536" cy="248225"/>
              </a:xfrm>
              <a:custGeom>
                <a:avLst/>
                <a:gdLst>
                  <a:gd name="connsiteX0" fmla="*/ 92012 w 182536"/>
                  <a:gd name="connsiteY0" fmla="*/ 0 h 248225"/>
                  <a:gd name="connsiteX1" fmla="*/ 182536 w 182536"/>
                  <a:gd name="connsiteY1" fmla="*/ 90512 h 248225"/>
                  <a:gd name="connsiteX2" fmla="*/ 24823 w 182536"/>
                  <a:gd name="connsiteY2" fmla="*/ 248226 h 248225"/>
                  <a:gd name="connsiteX3" fmla="*/ 0 w 182536"/>
                  <a:gd name="connsiteY3" fmla="*/ 223403 h 2482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82536" h="248225">
                    <a:moveTo>
                      <a:pt x="92012" y="0"/>
                    </a:moveTo>
                    <a:lnTo>
                      <a:pt x="182536" y="90512"/>
                    </a:lnTo>
                    <a:lnTo>
                      <a:pt x="24823" y="248226"/>
                    </a:lnTo>
                    <a:lnTo>
                      <a:pt x="0" y="223403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485" name="Forma livre: Forma 1484">
                <a:extLst>
                  <a:ext uri="{FF2B5EF4-FFF2-40B4-BE49-F238E27FC236}">
                    <a16:creationId xmlns:a16="http://schemas.microsoft.com/office/drawing/2014/main" id="{FD7492BF-8FCB-90FE-63E5-1AD9D6D868B6}"/>
                  </a:ext>
                </a:extLst>
              </p:cNvPr>
              <p:cNvSpPr/>
              <p:nvPr/>
            </p:nvSpPr>
            <p:spPr>
              <a:xfrm>
                <a:off x="2523342" y="4728873"/>
                <a:ext cx="178388" cy="188231"/>
              </a:xfrm>
              <a:custGeom>
                <a:avLst/>
                <a:gdLst>
                  <a:gd name="connsiteX0" fmla="*/ 30529 w 178388"/>
                  <a:gd name="connsiteY0" fmla="*/ 188231 h 188231"/>
                  <a:gd name="connsiteX1" fmla="*/ 0 w 178388"/>
                  <a:gd name="connsiteY1" fmla="*/ 157701 h 188231"/>
                  <a:gd name="connsiteX2" fmla="*/ 157713 w 178388"/>
                  <a:gd name="connsiteY2" fmla="*/ 0 h 188231"/>
                  <a:gd name="connsiteX3" fmla="*/ 178389 w 178388"/>
                  <a:gd name="connsiteY3" fmla="*/ 20688 h 1882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78388" h="188231">
                    <a:moveTo>
                      <a:pt x="30529" y="188231"/>
                    </a:moveTo>
                    <a:lnTo>
                      <a:pt x="0" y="157701"/>
                    </a:lnTo>
                    <a:lnTo>
                      <a:pt x="157713" y="0"/>
                    </a:lnTo>
                    <a:lnTo>
                      <a:pt x="178389" y="20688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486" name="Forma livre: Forma 1485">
                <a:extLst>
                  <a:ext uri="{FF2B5EF4-FFF2-40B4-BE49-F238E27FC236}">
                    <a16:creationId xmlns:a16="http://schemas.microsoft.com/office/drawing/2014/main" id="{0D4F502D-B116-E018-A268-7317D091E4DD}"/>
                  </a:ext>
                </a:extLst>
              </p:cNvPr>
              <p:cNvSpPr/>
              <p:nvPr/>
            </p:nvSpPr>
            <p:spPr>
              <a:xfrm>
                <a:off x="2723083" y="4846945"/>
                <a:ext cx="35525" cy="35676"/>
              </a:xfrm>
              <a:custGeom>
                <a:avLst/>
                <a:gdLst>
                  <a:gd name="connsiteX0" fmla="*/ 0 w 35525"/>
                  <a:gd name="connsiteY0" fmla="*/ 15255 h 35676"/>
                  <a:gd name="connsiteX1" fmla="*/ 10942 w 35525"/>
                  <a:gd name="connsiteY1" fmla="*/ 4300 h 35676"/>
                  <a:gd name="connsiteX2" fmla="*/ 31388 w 35525"/>
                  <a:gd name="connsiteY2" fmla="*/ 4143 h 35676"/>
                  <a:gd name="connsiteX3" fmla="*/ 31219 w 35525"/>
                  <a:gd name="connsiteY3" fmla="*/ 24589 h 35676"/>
                  <a:gd name="connsiteX4" fmla="*/ 20143 w 35525"/>
                  <a:gd name="connsiteY4" fmla="*/ 35676 h 356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5525" h="35676">
                    <a:moveTo>
                      <a:pt x="0" y="15255"/>
                    </a:moveTo>
                    <a:lnTo>
                      <a:pt x="10942" y="4300"/>
                    </a:lnTo>
                    <a:cubicBezTo>
                      <a:pt x="16601" y="-1358"/>
                      <a:pt x="25814" y="-1455"/>
                      <a:pt x="31388" y="4143"/>
                    </a:cubicBezTo>
                    <a:cubicBezTo>
                      <a:pt x="36974" y="9717"/>
                      <a:pt x="36889" y="18930"/>
                      <a:pt x="31219" y="24589"/>
                    </a:cubicBezTo>
                    <a:lnTo>
                      <a:pt x="20143" y="35676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487" name="Forma livre: Forma 1486">
                <a:extLst>
                  <a:ext uri="{FF2B5EF4-FFF2-40B4-BE49-F238E27FC236}">
                    <a16:creationId xmlns:a16="http://schemas.microsoft.com/office/drawing/2014/main" id="{0ADD509C-1568-EE96-69BD-C2A9B8B05130}"/>
                  </a:ext>
                </a:extLst>
              </p:cNvPr>
              <p:cNvSpPr/>
              <p:nvPr/>
            </p:nvSpPr>
            <p:spPr>
              <a:xfrm>
                <a:off x="2685505" y="4878312"/>
                <a:ext cx="82289" cy="73094"/>
              </a:xfrm>
              <a:custGeom>
                <a:avLst/>
                <a:gdLst>
                  <a:gd name="connsiteX0" fmla="*/ 0 w 82289"/>
                  <a:gd name="connsiteY0" fmla="*/ 62019 h 73094"/>
                  <a:gd name="connsiteX1" fmla="*/ 57722 w 82289"/>
                  <a:gd name="connsiteY1" fmla="*/ 4297 h 73094"/>
                  <a:gd name="connsiteX2" fmla="*/ 78168 w 82289"/>
                  <a:gd name="connsiteY2" fmla="*/ 4128 h 73094"/>
                  <a:gd name="connsiteX3" fmla="*/ 77986 w 82289"/>
                  <a:gd name="connsiteY3" fmla="*/ 24574 h 73094"/>
                  <a:gd name="connsiteX4" fmla="*/ 29478 w 82289"/>
                  <a:gd name="connsiteY4" fmla="*/ 73095 h 730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2289" h="73094">
                    <a:moveTo>
                      <a:pt x="0" y="62019"/>
                    </a:moveTo>
                    <a:lnTo>
                      <a:pt x="57722" y="4297"/>
                    </a:lnTo>
                    <a:cubicBezTo>
                      <a:pt x="63392" y="-1361"/>
                      <a:pt x="72582" y="-1446"/>
                      <a:pt x="78168" y="4128"/>
                    </a:cubicBezTo>
                    <a:cubicBezTo>
                      <a:pt x="83729" y="9714"/>
                      <a:pt x="83657" y="18903"/>
                      <a:pt x="77986" y="24574"/>
                    </a:cubicBezTo>
                    <a:lnTo>
                      <a:pt x="29478" y="73095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488" name="Forma livre: Forma 1487">
                <a:extLst>
                  <a:ext uri="{FF2B5EF4-FFF2-40B4-BE49-F238E27FC236}">
                    <a16:creationId xmlns:a16="http://schemas.microsoft.com/office/drawing/2014/main" id="{64DCF628-6D05-B6A5-ECF8-CB43444AB8B5}"/>
                  </a:ext>
                </a:extLst>
              </p:cNvPr>
              <p:cNvSpPr/>
              <p:nvPr/>
            </p:nvSpPr>
            <p:spPr>
              <a:xfrm>
                <a:off x="2556736" y="4848735"/>
                <a:ext cx="69408" cy="152775"/>
              </a:xfrm>
              <a:custGeom>
                <a:avLst/>
                <a:gdLst>
                  <a:gd name="connsiteX0" fmla="*/ 2069 w 69408"/>
                  <a:gd name="connsiteY0" fmla="*/ 152775 h 152775"/>
                  <a:gd name="connsiteX1" fmla="*/ 2758 w 69408"/>
                  <a:gd name="connsiteY1" fmla="*/ 123878 h 152775"/>
                  <a:gd name="connsiteX2" fmla="*/ 45246 w 69408"/>
                  <a:gd name="connsiteY2" fmla="*/ 5557 h 152775"/>
                  <a:gd name="connsiteX3" fmla="*/ 60565 w 69408"/>
                  <a:gd name="connsiteY3" fmla="*/ 3417 h 152775"/>
                  <a:gd name="connsiteX4" fmla="*/ 64809 w 69408"/>
                  <a:gd name="connsiteY4" fmla="*/ 8700 h 152775"/>
                  <a:gd name="connsiteX5" fmla="*/ 68714 w 69408"/>
                  <a:gd name="connsiteY5" fmla="*/ 30404 h 152775"/>
                  <a:gd name="connsiteX6" fmla="*/ 67565 w 69408"/>
                  <a:gd name="connsiteY6" fmla="*/ 43317 h 1527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9408" h="152775">
                    <a:moveTo>
                      <a:pt x="2069" y="152775"/>
                    </a:moveTo>
                    <a:cubicBezTo>
                      <a:pt x="-869" y="144372"/>
                      <a:pt x="-712" y="135328"/>
                      <a:pt x="2758" y="123878"/>
                    </a:cubicBezTo>
                    <a:lnTo>
                      <a:pt x="45246" y="5557"/>
                    </a:lnTo>
                    <a:cubicBezTo>
                      <a:pt x="47216" y="-1093"/>
                      <a:pt x="56067" y="-1734"/>
                      <a:pt x="60565" y="3417"/>
                    </a:cubicBezTo>
                    <a:lnTo>
                      <a:pt x="64809" y="8700"/>
                    </a:lnTo>
                    <a:cubicBezTo>
                      <a:pt x="69391" y="15858"/>
                      <a:pt x="70237" y="21468"/>
                      <a:pt x="68714" y="30404"/>
                    </a:cubicBezTo>
                    <a:lnTo>
                      <a:pt x="67565" y="43317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489" name="Forma livre: Forma 1488">
                <a:extLst>
                  <a:ext uri="{FF2B5EF4-FFF2-40B4-BE49-F238E27FC236}">
                    <a16:creationId xmlns:a16="http://schemas.microsoft.com/office/drawing/2014/main" id="{BCA77951-19D8-56A1-4910-CC85A07FDD35}"/>
                  </a:ext>
                </a:extLst>
              </p:cNvPr>
              <p:cNvSpPr/>
              <p:nvPr/>
            </p:nvSpPr>
            <p:spPr>
              <a:xfrm>
                <a:off x="2612440" y="4837608"/>
                <a:ext cx="114939" cy="94670"/>
              </a:xfrm>
              <a:custGeom>
                <a:avLst/>
                <a:gdLst>
                  <a:gd name="connsiteX0" fmla="*/ 0 w 114939"/>
                  <a:gd name="connsiteY0" fmla="*/ 94671 h 94670"/>
                  <a:gd name="connsiteX1" fmla="*/ 90355 w 114939"/>
                  <a:gd name="connsiteY1" fmla="*/ 4303 h 94670"/>
                  <a:gd name="connsiteX2" fmla="*/ 110801 w 114939"/>
                  <a:gd name="connsiteY2" fmla="*/ 4122 h 94670"/>
                  <a:gd name="connsiteX3" fmla="*/ 110644 w 114939"/>
                  <a:gd name="connsiteY3" fmla="*/ 24592 h 94670"/>
                  <a:gd name="connsiteX4" fmla="*/ 52172 w 114939"/>
                  <a:gd name="connsiteY4" fmla="*/ 83063 h 946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14939" h="94670">
                    <a:moveTo>
                      <a:pt x="0" y="94671"/>
                    </a:moveTo>
                    <a:lnTo>
                      <a:pt x="90355" y="4303"/>
                    </a:lnTo>
                    <a:cubicBezTo>
                      <a:pt x="96038" y="-1367"/>
                      <a:pt x="105227" y="-1440"/>
                      <a:pt x="110801" y="4122"/>
                    </a:cubicBezTo>
                    <a:cubicBezTo>
                      <a:pt x="116387" y="9708"/>
                      <a:pt x="116302" y="18909"/>
                      <a:pt x="110644" y="24592"/>
                    </a:cubicBezTo>
                    <a:lnTo>
                      <a:pt x="52172" y="83063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490" name="Forma livre: Forma 1489">
                <a:extLst>
                  <a:ext uri="{FF2B5EF4-FFF2-40B4-BE49-F238E27FC236}">
                    <a16:creationId xmlns:a16="http://schemas.microsoft.com/office/drawing/2014/main" id="{6698AB4B-D72F-2779-004D-3751BBC59DAF}"/>
                  </a:ext>
                </a:extLst>
              </p:cNvPr>
              <p:cNvSpPr/>
              <p:nvPr/>
            </p:nvSpPr>
            <p:spPr>
              <a:xfrm>
                <a:off x="2625510" y="4918429"/>
                <a:ext cx="142731" cy="137418"/>
              </a:xfrm>
              <a:custGeom>
                <a:avLst/>
                <a:gdLst>
                  <a:gd name="connsiteX0" fmla="*/ 104901 w 142731"/>
                  <a:gd name="connsiteY0" fmla="*/ 17549 h 137418"/>
                  <a:gd name="connsiteX1" fmla="*/ 118152 w 142731"/>
                  <a:gd name="connsiteY1" fmla="*/ 4297 h 137418"/>
                  <a:gd name="connsiteX2" fmla="*/ 138598 w 142731"/>
                  <a:gd name="connsiteY2" fmla="*/ 4128 h 137418"/>
                  <a:gd name="connsiteX3" fmla="*/ 138441 w 142731"/>
                  <a:gd name="connsiteY3" fmla="*/ 24586 h 137418"/>
                  <a:gd name="connsiteX4" fmla="*/ 51024 w 142731"/>
                  <a:gd name="connsiteY4" fmla="*/ 112003 h 137418"/>
                  <a:gd name="connsiteX5" fmla="*/ 0 w 142731"/>
                  <a:gd name="connsiteY5" fmla="*/ 137418 h 1374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42731" h="137418">
                    <a:moveTo>
                      <a:pt x="104901" y="17549"/>
                    </a:moveTo>
                    <a:lnTo>
                      <a:pt x="118152" y="4297"/>
                    </a:lnTo>
                    <a:cubicBezTo>
                      <a:pt x="123823" y="-1361"/>
                      <a:pt x="133024" y="-1446"/>
                      <a:pt x="138598" y="4128"/>
                    </a:cubicBezTo>
                    <a:cubicBezTo>
                      <a:pt x="144172" y="9726"/>
                      <a:pt x="144099" y="18927"/>
                      <a:pt x="138441" y="24586"/>
                    </a:cubicBezTo>
                    <a:lnTo>
                      <a:pt x="51024" y="112003"/>
                    </a:lnTo>
                    <a:cubicBezTo>
                      <a:pt x="35487" y="127528"/>
                      <a:pt x="17629" y="137418"/>
                      <a:pt x="0" y="137418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491" name="Forma livre: Forma 1490">
              <a:extLst>
                <a:ext uri="{FF2B5EF4-FFF2-40B4-BE49-F238E27FC236}">
                  <a16:creationId xmlns:a16="http://schemas.microsoft.com/office/drawing/2014/main" id="{69F6678A-812E-DEF9-AE19-57DB25461288}"/>
                </a:ext>
              </a:extLst>
            </p:cNvPr>
            <p:cNvSpPr/>
            <p:nvPr/>
          </p:nvSpPr>
          <p:spPr>
            <a:xfrm>
              <a:off x="2661746" y="4788457"/>
              <a:ext cx="7254" cy="7254"/>
            </a:xfrm>
            <a:custGeom>
              <a:avLst/>
              <a:gdLst>
                <a:gd name="connsiteX0" fmla="*/ 0 w 7254"/>
                <a:gd name="connsiteY0" fmla="*/ 3627 h 7254"/>
                <a:gd name="connsiteX1" fmla="*/ 3615 w 7254"/>
                <a:gd name="connsiteY1" fmla="*/ 7255 h 7254"/>
                <a:gd name="connsiteX2" fmla="*/ 7255 w 7254"/>
                <a:gd name="connsiteY2" fmla="*/ 3627 h 7254"/>
                <a:gd name="connsiteX3" fmla="*/ 3615 w 7254"/>
                <a:gd name="connsiteY3" fmla="*/ 0 h 7254"/>
                <a:gd name="connsiteX4" fmla="*/ 0 w 7254"/>
                <a:gd name="connsiteY4" fmla="*/ 3627 h 72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254" h="7254">
                  <a:moveTo>
                    <a:pt x="0" y="3627"/>
                  </a:moveTo>
                  <a:cubicBezTo>
                    <a:pt x="0" y="5634"/>
                    <a:pt x="1620" y="7255"/>
                    <a:pt x="3615" y="7255"/>
                  </a:cubicBezTo>
                  <a:cubicBezTo>
                    <a:pt x="5610" y="7255"/>
                    <a:pt x="7255" y="5634"/>
                    <a:pt x="7255" y="3627"/>
                  </a:cubicBezTo>
                  <a:cubicBezTo>
                    <a:pt x="7255" y="1620"/>
                    <a:pt x="5610" y="0"/>
                    <a:pt x="3615" y="0"/>
                  </a:cubicBezTo>
                  <a:cubicBezTo>
                    <a:pt x="1620" y="0"/>
                    <a:pt x="0" y="1620"/>
                    <a:pt x="0" y="3627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92" name="Forma livre: Forma 1491">
              <a:extLst>
                <a:ext uri="{FF2B5EF4-FFF2-40B4-BE49-F238E27FC236}">
                  <a16:creationId xmlns:a16="http://schemas.microsoft.com/office/drawing/2014/main" id="{D73288B0-8F0C-94B6-50CC-7CC076F26C83}"/>
                </a:ext>
              </a:extLst>
            </p:cNvPr>
            <p:cNvSpPr/>
            <p:nvPr/>
          </p:nvSpPr>
          <p:spPr>
            <a:xfrm>
              <a:off x="2783151" y="4719781"/>
              <a:ext cx="7254" cy="7254"/>
            </a:xfrm>
            <a:custGeom>
              <a:avLst/>
              <a:gdLst>
                <a:gd name="connsiteX0" fmla="*/ 0 w 7254"/>
                <a:gd name="connsiteY0" fmla="*/ 3627 h 7254"/>
                <a:gd name="connsiteX1" fmla="*/ 3615 w 7254"/>
                <a:gd name="connsiteY1" fmla="*/ 7255 h 7254"/>
                <a:gd name="connsiteX2" fmla="*/ 7255 w 7254"/>
                <a:gd name="connsiteY2" fmla="*/ 3627 h 7254"/>
                <a:gd name="connsiteX3" fmla="*/ 3615 w 7254"/>
                <a:gd name="connsiteY3" fmla="*/ 0 h 7254"/>
                <a:gd name="connsiteX4" fmla="*/ 0 w 7254"/>
                <a:gd name="connsiteY4" fmla="*/ 3627 h 72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254" h="7254">
                  <a:moveTo>
                    <a:pt x="0" y="3627"/>
                  </a:moveTo>
                  <a:cubicBezTo>
                    <a:pt x="0" y="5634"/>
                    <a:pt x="1620" y="7255"/>
                    <a:pt x="3615" y="7255"/>
                  </a:cubicBezTo>
                  <a:cubicBezTo>
                    <a:pt x="5610" y="7255"/>
                    <a:pt x="7255" y="5634"/>
                    <a:pt x="7255" y="3627"/>
                  </a:cubicBezTo>
                  <a:cubicBezTo>
                    <a:pt x="7255" y="1620"/>
                    <a:pt x="5610" y="0"/>
                    <a:pt x="3615" y="0"/>
                  </a:cubicBezTo>
                  <a:cubicBezTo>
                    <a:pt x="1620" y="0"/>
                    <a:pt x="0" y="1620"/>
                    <a:pt x="0" y="3627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93" name="Forma livre: Forma 1492">
              <a:extLst>
                <a:ext uri="{FF2B5EF4-FFF2-40B4-BE49-F238E27FC236}">
                  <a16:creationId xmlns:a16="http://schemas.microsoft.com/office/drawing/2014/main" id="{0487A83E-F4E2-7B6B-10E5-56D61C3E2D9B}"/>
                </a:ext>
              </a:extLst>
            </p:cNvPr>
            <p:cNvSpPr/>
            <p:nvPr/>
          </p:nvSpPr>
          <p:spPr>
            <a:xfrm>
              <a:off x="2702190" y="4733698"/>
              <a:ext cx="77067" cy="77079"/>
            </a:xfrm>
            <a:custGeom>
              <a:avLst/>
              <a:gdLst>
                <a:gd name="connsiteX0" fmla="*/ 38534 w 77067"/>
                <a:gd name="connsiteY0" fmla="*/ 77079 h 77079"/>
                <a:gd name="connsiteX1" fmla="*/ 0 w 77067"/>
                <a:gd name="connsiteY1" fmla="*/ 38546 h 77079"/>
                <a:gd name="connsiteX2" fmla="*/ 38534 w 77067"/>
                <a:gd name="connsiteY2" fmla="*/ 0 h 77079"/>
                <a:gd name="connsiteX3" fmla="*/ 77067 w 77067"/>
                <a:gd name="connsiteY3" fmla="*/ 38534 h 77079"/>
                <a:gd name="connsiteX4" fmla="*/ 38534 w 77067"/>
                <a:gd name="connsiteY4" fmla="*/ 77079 h 770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7067" h="77079">
                  <a:moveTo>
                    <a:pt x="38534" y="77079"/>
                  </a:moveTo>
                  <a:cubicBezTo>
                    <a:pt x="25862" y="48315"/>
                    <a:pt x="28764" y="51217"/>
                    <a:pt x="0" y="38546"/>
                  </a:cubicBezTo>
                  <a:cubicBezTo>
                    <a:pt x="28764" y="25862"/>
                    <a:pt x="25862" y="28764"/>
                    <a:pt x="38534" y="0"/>
                  </a:cubicBezTo>
                  <a:cubicBezTo>
                    <a:pt x="51205" y="28764"/>
                    <a:pt x="48315" y="25862"/>
                    <a:pt x="77067" y="38534"/>
                  </a:cubicBezTo>
                  <a:cubicBezTo>
                    <a:pt x="48303" y="51217"/>
                    <a:pt x="51193" y="48303"/>
                    <a:pt x="38534" y="77079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494" name="Gráfico 13">
              <a:extLst>
                <a:ext uri="{FF2B5EF4-FFF2-40B4-BE49-F238E27FC236}">
                  <a16:creationId xmlns:a16="http://schemas.microsoft.com/office/drawing/2014/main" id="{5044C90E-E21D-B339-4EF3-69E6BEC96284}"/>
                </a:ext>
              </a:extLst>
            </p:cNvPr>
            <p:cNvGrpSpPr/>
            <p:nvPr/>
          </p:nvGrpSpPr>
          <p:grpSpPr>
            <a:xfrm>
              <a:off x="2790962" y="4774650"/>
              <a:ext cx="55352" cy="55364"/>
              <a:chOff x="2790962" y="4774650"/>
              <a:chExt cx="55352" cy="55364"/>
            </a:xfrm>
          </p:grpSpPr>
          <p:sp>
            <p:nvSpPr>
              <p:cNvPr id="1495" name="Forma livre: Forma 1494">
                <a:extLst>
                  <a:ext uri="{FF2B5EF4-FFF2-40B4-BE49-F238E27FC236}">
                    <a16:creationId xmlns:a16="http://schemas.microsoft.com/office/drawing/2014/main" id="{C0BFF92E-8562-ED04-86BB-425AAF9FDDEB}"/>
                  </a:ext>
                </a:extLst>
              </p:cNvPr>
              <p:cNvSpPr/>
              <p:nvPr/>
            </p:nvSpPr>
            <p:spPr>
              <a:xfrm>
                <a:off x="2818638" y="4774650"/>
                <a:ext cx="1209" cy="17628"/>
              </a:xfrm>
              <a:custGeom>
                <a:avLst/>
                <a:gdLst>
                  <a:gd name="connsiteX0" fmla="*/ 0 w 1209"/>
                  <a:gd name="connsiteY0" fmla="*/ 0 h 17628"/>
                  <a:gd name="connsiteX1" fmla="*/ 0 w 1209"/>
                  <a:gd name="connsiteY1" fmla="*/ 17628 h 176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09" h="17628">
                    <a:moveTo>
                      <a:pt x="0" y="0"/>
                    </a:moveTo>
                    <a:lnTo>
                      <a:pt x="0" y="17628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496" name="Forma livre: Forma 1495">
                <a:extLst>
                  <a:ext uri="{FF2B5EF4-FFF2-40B4-BE49-F238E27FC236}">
                    <a16:creationId xmlns:a16="http://schemas.microsoft.com/office/drawing/2014/main" id="{6C7009C4-C941-7592-813D-68703FC88F5D}"/>
                  </a:ext>
                </a:extLst>
              </p:cNvPr>
              <p:cNvSpPr/>
              <p:nvPr/>
            </p:nvSpPr>
            <p:spPr>
              <a:xfrm>
                <a:off x="2818638" y="4812373"/>
                <a:ext cx="1209" cy="17640"/>
              </a:xfrm>
              <a:custGeom>
                <a:avLst/>
                <a:gdLst>
                  <a:gd name="connsiteX0" fmla="*/ 0 w 1209"/>
                  <a:gd name="connsiteY0" fmla="*/ 0 h 17640"/>
                  <a:gd name="connsiteX1" fmla="*/ 0 w 1209"/>
                  <a:gd name="connsiteY1" fmla="*/ 17641 h 176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09" h="17640">
                    <a:moveTo>
                      <a:pt x="0" y="0"/>
                    </a:moveTo>
                    <a:lnTo>
                      <a:pt x="0" y="17641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497" name="Forma livre: Forma 1496">
                <a:extLst>
                  <a:ext uri="{FF2B5EF4-FFF2-40B4-BE49-F238E27FC236}">
                    <a16:creationId xmlns:a16="http://schemas.microsoft.com/office/drawing/2014/main" id="{49DC8DAE-4FB7-5D29-9B63-DE114BEDF1E4}"/>
                  </a:ext>
                </a:extLst>
              </p:cNvPr>
              <p:cNvSpPr/>
              <p:nvPr/>
            </p:nvSpPr>
            <p:spPr>
              <a:xfrm>
                <a:off x="2828685" y="4802326"/>
                <a:ext cx="17628" cy="1209"/>
              </a:xfrm>
              <a:custGeom>
                <a:avLst/>
                <a:gdLst>
                  <a:gd name="connsiteX0" fmla="*/ 17628 w 17628"/>
                  <a:gd name="connsiteY0" fmla="*/ 0 h 1209"/>
                  <a:gd name="connsiteX1" fmla="*/ 0 w 17628"/>
                  <a:gd name="connsiteY1" fmla="*/ 0 h 12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7628" h="1209">
                    <a:moveTo>
                      <a:pt x="17628" y="0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498" name="Forma livre: Forma 1497">
                <a:extLst>
                  <a:ext uri="{FF2B5EF4-FFF2-40B4-BE49-F238E27FC236}">
                    <a16:creationId xmlns:a16="http://schemas.microsoft.com/office/drawing/2014/main" id="{AA0F3236-2F59-3106-53BF-AA184891206E}"/>
                  </a:ext>
                </a:extLst>
              </p:cNvPr>
              <p:cNvSpPr/>
              <p:nvPr/>
            </p:nvSpPr>
            <p:spPr>
              <a:xfrm>
                <a:off x="2790962" y="4802326"/>
                <a:ext cx="17628" cy="1209"/>
              </a:xfrm>
              <a:custGeom>
                <a:avLst/>
                <a:gdLst>
                  <a:gd name="connsiteX0" fmla="*/ 17629 w 17628"/>
                  <a:gd name="connsiteY0" fmla="*/ 0 h 1209"/>
                  <a:gd name="connsiteX1" fmla="*/ 0 w 17628"/>
                  <a:gd name="connsiteY1" fmla="*/ 0 h 12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7628" h="1209">
                    <a:moveTo>
                      <a:pt x="17629" y="0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499" name="Gráfico 13">
            <a:extLst>
              <a:ext uri="{FF2B5EF4-FFF2-40B4-BE49-F238E27FC236}">
                <a16:creationId xmlns:a16="http://schemas.microsoft.com/office/drawing/2014/main" id="{4499FC93-0F7A-A8C8-A2EA-11D3525B44F1}"/>
              </a:ext>
            </a:extLst>
          </p:cNvPr>
          <p:cNvGrpSpPr/>
          <p:nvPr/>
        </p:nvGrpSpPr>
        <p:grpSpPr>
          <a:xfrm>
            <a:off x="3200710" y="5239689"/>
            <a:ext cx="232362" cy="392204"/>
            <a:chOff x="3200710" y="5239689"/>
            <a:chExt cx="232362" cy="392204"/>
          </a:xfrm>
          <a:noFill/>
        </p:grpSpPr>
        <p:grpSp>
          <p:nvGrpSpPr>
            <p:cNvPr id="1500" name="Gráfico 13">
              <a:extLst>
                <a:ext uri="{FF2B5EF4-FFF2-40B4-BE49-F238E27FC236}">
                  <a16:creationId xmlns:a16="http://schemas.microsoft.com/office/drawing/2014/main" id="{42C06717-EE7F-0F82-6C69-7C80E06371BD}"/>
                </a:ext>
              </a:extLst>
            </p:cNvPr>
            <p:cNvGrpSpPr/>
            <p:nvPr/>
          </p:nvGrpSpPr>
          <p:grpSpPr>
            <a:xfrm>
              <a:off x="3351846" y="5311098"/>
              <a:ext cx="81226" cy="320795"/>
              <a:chOff x="3351846" y="5311098"/>
              <a:chExt cx="81226" cy="320795"/>
            </a:xfrm>
            <a:noFill/>
          </p:grpSpPr>
          <p:grpSp>
            <p:nvGrpSpPr>
              <p:cNvPr id="1501" name="Gráfico 13">
                <a:extLst>
                  <a:ext uri="{FF2B5EF4-FFF2-40B4-BE49-F238E27FC236}">
                    <a16:creationId xmlns:a16="http://schemas.microsoft.com/office/drawing/2014/main" id="{3ADF231F-A3BA-0245-1111-8185D76DE531}"/>
                  </a:ext>
                </a:extLst>
              </p:cNvPr>
              <p:cNvGrpSpPr/>
              <p:nvPr/>
            </p:nvGrpSpPr>
            <p:grpSpPr>
              <a:xfrm>
                <a:off x="3351846" y="5311098"/>
                <a:ext cx="81226" cy="77055"/>
                <a:chOff x="3351846" y="5311098"/>
                <a:chExt cx="81226" cy="77055"/>
              </a:xfrm>
              <a:noFill/>
            </p:grpSpPr>
            <p:sp>
              <p:nvSpPr>
                <p:cNvPr id="1502" name="Forma livre: Forma 1501">
                  <a:extLst>
                    <a:ext uri="{FF2B5EF4-FFF2-40B4-BE49-F238E27FC236}">
                      <a16:creationId xmlns:a16="http://schemas.microsoft.com/office/drawing/2014/main" id="{F3E354FC-B8CA-2899-E2BD-DC4334F4E381}"/>
                    </a:ext>
                  </a:extLst>
                </p:cNvPr>
                <p:cNvSpPr/>
                <p:nvPr/>
              </p:nvSpPr>
              <p:spPr>
                <a:xfrm>
                  <a:off x="3351846" y="5318401"/>
                  <a:ext cx="67080" cy="69752"/>
                </a:xfrm>
                <a:custGeom>
                  <a:avLst/>
                  <a:gdLst>
                    <a:gd name="connsiteX0" fmla="*/ 67080 w 67080"/>
                    <a:gd name="connsiteY0" fmla="*/ 69752 h 69752"/>
                    <a:gd name="connsiteX1" fmla="*/ 0 w 67080"/>
                    <a:gd name="connsiteY1" fmla="*/ 69752 h 69752"/>
                    <a:gd name="connsiteX2" fmla="*/ 0 w 67080"/>
                    <a:gd name="connsiteY2" fmla="*/ 0 h 69752"/>
                    <a:gd name="connsiteX3" fmla="*/ 37881 w 67080"/>
                    <a:gd name="connsiteY3" fmla="*/ 0 h 6975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67080" h="69752">
                      <a:moveTo>
                        <a:pt x="67080" y="69752"/>
                      </a:moveTo>
                      <a:lnTo>
                        <a:pt x="0" y="69752"/>
                      </a:lnTo>
                      <a:lnTo>
                        <a:pt x="0" y="0"/>
                      </a:lnTo>
                      <a:lnTo>
                        <a:pt x="37881" y="0"/>
                      </a:ln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503" name="Forma livre: Forma 1502">
                  <a:extLst>
                    <a:ext uri="{FF2B5EF4-FFF2-40B4-BE49-F238E27FC236}">
                      <a16:creationId xmlns:a16="http://schemas.microsoft.com/office/drawing/2014/main" id="{B6E0DFA2-F0B1-FB6C-9012-484344AF81EC}"/>
                    </a:ext>
                  </a:extLst>
                </p:cNvPr>
                <p:cNvSpPr/>
                <p:nvPr/>
              </p:nvSpPr>
              <p:spPr>
                <a:xfrm>
                  <a:off x="3375846" y="5311098"/>
                  <a:ext cx="57226" cy="52232"/>
                </a:xfrm>
                <a:custGeom>
                  <a:avLst/>
                  <a:gdLst>
                    <a:gd name="connsiteX0" fmla="*/ 0 w 57226"/>
                    <a:gd name="connsiteY0" fmla="*/ 33589 h 52232"/>
                    <a:gd name="connsiteX1" fmla="*/ 16782 w 57226"/>
                    <a:gd name="connsiteY1" fmla="*/ 52233 h 52232"/>
                    <a:gd name="connsiteX2" fmla="*/ 57226 w 57226"/>
                    <a:gd name="connsiteY2" fmla="*/ 0 h 5223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57226" h="52232">
                      <a:moveTo>
                        <a:pt x="0" y="33589"/>
                      </a:moveTo>
                      <a:lnTo>
                        <a:pt x="16782" y="52233"/>
                      </a:lnTo>
                      <a:lnTo>
                        <a:pt x="57226" y="0"/>
                      </a:ln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1504" name="Gráfico 13">
                <a:extLst>
                  <a:ext uri="{FF2B5EF4-FFF2-40B4-BE49-F238E27FC236}">
                    <a16:creationId xmlns:a16="http://schemas.microsoft.com/office/drawing/2014/main" id="{A35CDCC7-90E4-E02B-7167-64CD5A9D8715}"/>
                  </a:ext>
                </a:extLst>
              </p:cNvPr>
              <p:cNvGrpSpPr/>
              <p:nvPr/>
            </p:nvGrpSpPr>
            <p:grpSpPr>
              <a:xfrm>
                <a:off x="3351846" y="5432962"/>
                <a:ext cx="81226" cy="77067"/>
                <a:chOff x="3351846" y="5432962"/>
                <a:chExt cx="81226" cy="77067"/>
              </a:xfrm>
              <a:noFill/>
            </p:grpSpPr>
            <p:sp>
              <p:nvSpPr>
                <p:cNvPr id="1505" name="Forma livre: Forma 1504">
                  <a:extLst>
                    <a:ext uri="{FF2B5EF4-FFF2-40B4-BE49-F238E27FC236}">
                      <a16:creationId xmlns:a16="http://schemas.microsoft.com/office/drawing/2014/main" id="{D07872B3-D209-B597-5F72-1A7F0D77F0FA}"/>
                    </a:ext>
                  </a:extLst>
                </p:cNvPr>
                <p:cNvSpPr/>
                <p:nvPr/>
              </p:nvSpPr>
              <p:spPr>
                <a:xfrm>
                  <a:off x="3351846" y="5440253"/>
                  <a:ext cx="67080" cy="69776"/>
                </a:xfrm>
                <a:custGeom>
                  <a:avLst/>
                  <a:gdLst>
                    <a:gd name="connsiteX0" fmla="*/ 67080 w 67080"/>
                    <a:gd name="connsiteY0" fmla="*/ 69777 h 69776"/>
                    <a:gd name="connsiteX1" fmla="*/ 0 w 67080"/>
                    <a:gd name="connsiteY1" fmla="*/ 69777 h 69776"/>
                    <a:gd name="connsiteX2" fmla="*/ 0 w 67080"/>
                    <a:gd name="connsiteY2" fmla="*/ 0 h 69776"/>
                    <a:gd name="connsiteX3" fmla="*/ 37881 w 67080"/>
                    <a:gd name="connsiteY3" fmla="*/ 0 h 6977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67080" h="69776">
                      <a:moveTo>
                        <a:pt x="67080" y="69777"/>
                      </a:moveTo>
                      <a:lnTo>
                        <a:pt x="0" y="69777"/>
                      </a:lnTo>
                      <a:lnTo>
                        <a:pt x="0" y="0"/>
                      </a:lnTo>
                      <a:lnTo>
                        <a:pt x="37881" y="0"/>
                      </a:ln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506" name="Forma livre: Forma 1505">
                  <a:extLst>
                    <a:ext uri="{FF2B5EF4-FFF2-40B4-BE49-F238E27FC236}">
                      <a16:creationId xmlns:a16="http://schemas.microsoft.com/office/drawing/2014/main" id="{3D1E77FB-5232-5E46-E8B0-BBE4EB674885}"/>
                    </a:ext>
                  </a:extLst>
                </p:cNvPr>
                <p:cNvSpPr/>
                <p:nvPr/>
              </p:nvSpPr>
              <p:spPr>
                <a:xfrm>
                  <a:off x="3375846" y="5432962"/>
                  <a:ext cx="57226" cy="52232"/>
                </a:xfrm>
                <a:custGeom>
                  <a:avLst/>
                  <a:gdLst>
                    <a:gd name="connsiteX0" fmla="*/ 0 w 57226"/>
                    <a:gd name="connsiteY0" fmla="*/ 33588 h 52232"/>
                    <a:gd name="connsiteX1" fmla="*/ 16782 w 57226"/>
                    <a:gd name="connsiteY1" fmla="*/ 52233 h 52232"/>
                    <a:gd name="connsiteX2" fmla="*/ 57226 w 57226"/>
                    <a:gd name="connsiteY2" fmla="*/ 0 h 5223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57226" h="52232">
                      <a:moveTo>
                        <a:pt x="0" y="33588"/>
                      </a:moveTo>
                      <a:lnTo>
                        <a:pt x="16782" y="52233"/>
                      </a:lnTo>
                      <a:lnTo>
                        <a:pt x="57226" y="0"/>
                      </a:ln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1507" name="Gráfico 13">
                <a:extLst>
                  <a:ext uri="{FF2B5EF4-FFF2-40B4-BE49-F238E27FC236}">
                    <a16:creationId xmlns:a16="http://schemas.microsoft.com/office/drawing/2014/main" id="{938FBC1D-E75B-63AB-1C98-75925AA67B5E}"/>
                  </a:ext>
                </a:extLst>
              </p:cNvPr>
              <p:cNvGrpSpPr/>
              <p:nvPr/>
            </p:nvGrpSpPr>
            <p:grpSpPr>
              <a:xfrm>
                <a:off x="3351846" y="5554826"/>
                <a:ext cx="81226" cy="77067"/>
                <a:chOff x="3351846" y="5554826"/>
                <a:chExt cx="81226" cy="77067"/>
              </a:xfrm>
              <a:noFill/>
            </p:grpSpPr>
            <p:sp>
              <p:nvSpPr>
                <p:cNvPr id="1508" name="Forma livre: Forma 1507">
                  <a:extLst>
                    <a:ext uri="{FF2B5EF4-FFF2-40B4-BE49-F238E27FC236}">
                      <a16:creationId xmlns:a16="http://schemas.microsoft.com/office/drawing/2014/main" id="{69645EEC-88BC-F6AF-0153-A9FF2B7EE97C}"/>
                    </a:ext>
                  </a:extLst>
                </p:cNvPr>
                <p:cNvSpPr/>
                <p:nvPr/>
              </p:nvSpPr>
              <p:spPr>
                <a:xfrm>
                  <a:off x="3351846" y="5562129"/>
                  <a:ext cx="67080" cy="69764"/>
                </a:xfrm>
                <a:custGeom>
                  <a:avLst/>
                  <a:gdLst>
                    <a:gd name="connsiteX0" fmla="*/ 67080 w 67080"/>
                    <a:gd name="connsiteY0" fmla="*/ 69764 h 69764"/>
                    <a:gd name="connsiteX1" fmla="*/ 0 w 67080"/>
                    <a:gd name="connsiteY1" fmla="*/ 69764 h 69764"/>
                    <a:gd name="connsiteX2" fmla="*/ 0 w 67080"/>
                    <a:gd name="connsiteY2" fmla="*/ 0 h 69764"/>
                    <a:gd name="connsiteX3" fmla="*/ 37881 w 67080"/>
                    <a:gd name="connsiteY3" fmla="*/ 0 h 6976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67080" h="69764">
                      <a:moveTo>
                        <a:pt x="67080" y="69764"/>
                      </a:moveTo>
                      <a:lnTo>
                        <a:pt x="0" y="69764"/>
                      </a:lnTo>
                      <a:lnTo>
                        <a:pt x="0" y="0"/>
                      </a:lnTo>
                      <a:lnTo>
                        <a:pt x="37881" y="0"/>
                      </a:ln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509" name="Forma livre: Forma 1508">
                  <a:extLst>
                    <a:ext uri="{FF2B5EF4-FFF2-40B4-BE49-F238E27FC236}">
                      <a16:creationId xmlns:a16="http://schemas.microsoft.com/office/drawing/2014/main" id="{CF12ACF1-5444-C4B2-F84C-88E3A492E2A2}"/>
                    </a:ext>
                  </a:extLst>
                </p:cNvPr>
                <p:cNvSpPr/>
                <p:nvPr/>
              </p:nvSpPr>
              <p:spPr>
                <a:xfrm>
                  <a:off x="3375846" y="5554826"/>
                  <a:ext cx="57226" cy="52244"/>
                </a:xfrm>
                <a:custGeom>
                  <a:avLst/>
                  <a:gdLst>
                    <a:gd name="connsiteX0" fmla="*/ 0 w 57226"/>
                    <a:gd name="connsiteY0" fmla="*/ 33601 h 52244"/>
                    <a:gd name="connsiteX1" fmla="*/ 16782 w 57226"/>
                    <a:gd name="connsiteY1" fmla="*/ 52245 h 52244"/>
                    <a:gd name="connsiteX2" fmla="*/ 57226 w 57226"/>
                    <a:gd name="connsiteY2" fmla="*/ 0 h 5224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57226" h="52244">
                      <a:moveTo>
                        <a:pt x="0" y="33601"/>
                      </a:moveTo>
                      <a:lnTo>
                        <a:pt x="16782" y="52245"/>
                      </a:lnTo>
                      <a:lnTo>
                        <a:pt x="57226" y="0"/>
                      </a:ln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grpSp>
          <p:nvGrpSpPr>
            <p:cNvPr id="1510" name="Gráfico 13">
              <a:extLst>
                <a:ext uri="{FF2B5EF4-FFF2-40B4-BE49-F238E27FC236}">
                  <a16:creationId xmlns:a16="http://schemas.microsoft.com/office/drawing/2014/main" id="{C4C14ED1-9DAA-610C-31B8-260B7B2ED2FF}"/>
                </a:ext>
              </a:extLst>
            </p:cNvPr>
            <p:cNvGrpSpPr/>
            <p:nvPr/>
          </p:nvGrpSpPr>
          <p:grpSpPr>
            <a:xfrm>
              <a:off x="3200710" y="5239689"/>
              <a:ext cx="114355" cy="392204"/>
              <a:chOff x="3200710" y="5239689"/>
              <a:chExt cx="114355" cy="392204"/>
            </a:xfrm>
            <a:noFill/>
          </p:grpSpPr>
          <p:sp>
            <p:nvSpPr>
              <p:cNvPr id="1511" name="Forma livre: Forma 1510">
                <a:extLst>
                  <a:ext uri="{FF2B5EF4-FFF2-40B4-BE49-F238E27FC236}">
                    <a16:creationId xmlns:a16="http://schemas.microsoft.com/office/drawing/2014/main" id="{80233BC1-8587-EBDD-8CBB-8F4478568698}"/>
                  </a:ext>
                </a:extLst>
              </p:cNvPr>
              <p:cNvSpPr/>
              <p:nvPr/>
            </p:nvSpPr>
            <p:spPr>
              <a:xfrm>
                <a:off x="3216379" y="5631797"/>
                <a:ext cx="83016" cy="12"/>
              </a:xfrm>
              <a:custGeom>
                <a:avLst/>
                <a:gdLst>
                  <a:gd name="connsiteX0" fmla="*/ 83016 w 83016"/>
                  <a:gd name="connsiteY0" fmla="*/ 12 h 12"/>
                  <a:gd name="connsiteX1" fmla="*/ 0 w 83016"/>
                  <a:gd name="connsiteY1" fmla="*/ 0 h 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83016" h="12">
                    <a:moveTo>
                      <a:pt x="83016" y="12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1512" name="Gráfico 13">
                <a:extLst>
                  <a:ext uri="{FF2B5EF4-FFF2-40B4-BE49-F238E27FC236}">
                    <a16:creationId xmlns:a16="http://schemas.microsoft.com/office/drawing/2014/main" id="{89B816FF-FAF2-0CF7-78EA-5374F8E0D776}"/>
                  </a:ext>
                </a:extLst>
              </p:cNvPr>
              <p:cNvGrpSpPr/>
              <p:nvPr/>
            </p:nvGrpSpPr>
            <p:grpSpPr>
              <a:xfrm>
                <a:off x="3222352" y="5370247"/>
                <a:ext cx="71070" cy="180190"/>
                <a:chOff x="3222352" y="5370247"/>
                <a:chExt cx="71070" cy="180190"/>
              </a:xfrm>
              <a:noFill/>
            </p:grpSpPr>
            <p:sp>
              <p:nvSpPr>
                <p:cNvPr id="1513" name="Forma livre: Forma 1512">
                  <a:extLst>
                    <a:ext uri="{FF2B5EF4-FFF2-40B4-BE49-F238E27FC236}">
                      <a16:creationId xmlns:a16="http://schemas.microsoft.com/office/drawing/2014/main" id="{AB91B39F-6ECB-5011-7155-F2C14027720A}"/>
                    </a:ext>
                  </a:extLst>
                </p:cNvPr>
                <p:cNvSpPr/>
                <p:nvPr/>
              </p:nvSpPr>
              <p:spPr>
                <a:xfrm>
                  <a:off x="3222352" y="5370247"/>
                  <a:ext cx="71070" cy="180190"/>
                </a:xfrm>
                <a:custGeom>
                  <a:avLst/>
                  <a:gdLst>
                    <a:gd name="connsiteX0" fmla="*/ 0 w 71070"/>
                    <a:gd name="connsiteY0" fmla="*/ 180191 h 180190"/>
                    <a:gd name="connsiteX1" fmla="*/ 0 w 71070"/>
                    <a:gd name="connsiteY1" fmla="*/ 0 h 180190"/>
                    <a:gd name="connsiteX2" fmla="*/ 71058 w 71070"/>
                    <a:gd name="connsiteY2" fmla="*/ 12 h 180190"/>
                    <a:gd name="connsiteX3" fmla="*/ 71070 w 71070"/>
                    <a:gd name="connsiteY3" fmla="*/ 180191 h 1801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71070" h="180190">
                      <a:moveTo>
                        <a:pt x="0" y="180191"/>
                      </a:moveTo>
                      <a:lnTo>
                        <a:pt x="0" y="0"/>
                      </a:lnTo>
                      <a:lnTo>
                        <a:pt x="71058" y="12"/>
                      </a:lnTo>
                      <a:lnTo>
                        <a:pt x="71070" y="180191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514" name="Forma livre: Forma 1513">
                  <a:extLst>
                    <a:ext uri="{FF2B5EF4-FFF2-40B4-BE49-F238E27FC236}">
                      <a16:creationId xmlns:a16="http://schemas.microsoft.com/office/drawing/2014/main" id="{011AC2FA-055E-C0D3-442B-472BF3CAA6C2}"/>
                    </a:ext>
                  </a:extLst>
                </p:cNvPr>
                <p:cNvSpPr/>
                <p:nvPr/>
              </p:nvSpPr>
              <p:spPr>
                <a:xfrm>
                  <a:off x="3266871" y="5501421"/>
                  <a:ext cx="24713" cy="24"/>
                </a:xfrm>
                <a:custGeom>
                  <a:avLst/>
                  <a:gdLst>
                    <a:gd name="connsiteX0" fmla="*/ 24714 w 24713"/>
                    <a:gd name="connsiteY0" fmla="*/ 0 h 24"/>
                    <a:gd name="connsiteX1" fmla="*/ 0 w 24713"/>
                    <a:gd name="connsiteY1" fmla="*/ 24 h 2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4713" h="24">
                      <a:moveTo>
                        <a:pt x="24714" y="0"/>
                      </a:moveTo>
                      <a:lnTo>
                        <a:pt x="0" y="24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515" name="Forma livre: Forma 1514">
                  <a:extLst>
                    <a:ext uri="{FF2B5EF4-FFF2-40B4-BE49-F238E27FC236}">
                      <a16:creationId xmlns:a16="http://schemas.microsoft.com/office/drawing/2014/main" id="{7086C37D-CA4A-D045-10A0-7291FCAD079A}"/>
                    </a:ext>
                  </a:extLst>
                </p:cNvPr>
                <p:cNvSpPr/>
                <p:nvPr/>
              </p:nvSpPr>
              <p:spPr>
                <a:xfrm>
                  <a:off x="3266871" y="5457724"/>
                  <a:ext cx="24725" cy="1209"/>
                </a:xfrm>
                <a:custGeom>
                  <a:avLst/>
                  <a:gdLst>
                    <a:gd name="connsiteX0" fmla="*/ 24726 w 24725"/>
                    <a:gd name="connsiteY0" fmla="*/ 0 h 1209"/>
                    <a:gd name="connsiteX1" fmla="*/ 0 w 24725"/>
                    <a:gd name="connsiteY1" fmla="*/ 0 h 120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4725" h="1209">
                      <a:moveTo>
                        <a:pt x="24726" y="0"/>
                      </a:moveTo>
                      <a:lnTo>
                        <a:pt x="0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516" name="Forma livre: Forma 1515">
                  <a:extLst>
                    <a:ext uri="{FF2B5EF4-FFF2-40B4-BE49-F238E27FC236}">
                      <a16:creationId xmlns:a16="http://schemas.microsoft.com/office/drawing/2014/main" id="{91C7ECBD-DED3-B147-BA25-55498D7DC055}"/>
                    </a:ext>
                  </a:extLst>
                </p:cNvPr>
                <p:cNvSpPr/>
                <p:nvPr/>
              </p:nvSpPr>
              <p:spPr>
                <a:xfrm>
                  <a:off x="3266871" y="5414028"/>
                  <a:ext cx="24725" cy="1209"/>
                </a:xfrm>
                <a:custGeom>
                  <a:avLst/>
                  <a:gdLst>
                    <a:gd name="connsiteX0" fmla="*/ 24726 w 24725"/>
                    <a:gd name="connsiteY0" fmla="*/ 0 h 1209"/>
                    <a:gd name="connsiteX1" fmla="*/ 0 w 24725"/>
                    <a:gd name="connsiteY1" fmla="*/ 0 h 120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4725" h="1209">
                      <a:moveTo>
                        <a:pt x="24726" y="0"/>
                      </a:moveTo>
                      <a:lnTo>
                        <a:pt x="0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1517" name="Forma livre: Forma 1516">
                <a:extLst>
                  <a:ext uri="{FF2B5EF4-FFF2-40B4-BE49-F238E27FC236}">
                    <a16:creationId xmlns:a16="http://schemas.microsoft.com/office/drawing/2014/main" id="{B71E2A74-DFA3-9089-77C6-B8AB448A3FBC}"/>
                  </a:ext>
                </a:extLst>
              </p:cNvPr>
              <p:cNvSpPr/>
              <p:nvPr/>
            </p:nvSpPr>
            <p:spPr>
              <a:xfrm>
                <a:off x="3200710" y="5550135"/>
                <a:ext cx="114355" cy="12"/>
              </a:xfrm>
              <a:custGeom>
                <a:avLst/>
                <a:gdLst>
                  <a:gd name="connsiteX0" fmla="*/ 114356 w 114355"/>
                  <a:gd name="connsiteY0" fmla="*/ 0 h 12"/>
                  <a:gd name="connsiteX1" fmla="*/ 0 w 114355"/>
                  <a:gd name="connsiteY1" fmla="*/ 12 h 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4355" h="12">
                    <a:moveTo>
                      <a:pt x="114356" y="0"/>
                    </a:moveTo>
                    <a:lnTo>
                      <a:pt x="0" y="12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1518" name="Gráfico 13">
                <a:extLst>
                  <a:ext uri="{FF2B5EF4-FFF2-40B4-BE49-F238E27FC236}">
                    <a16:creationId xmlns:a16="http://schemas.microsoft.com/office/drawing/2014/main" id="{47E9D4C9-73EA-2444-8BEF-D19AE6A07BDE}"/>
                  </a:ext>
                </a:extLst>
              </p:cNvPr>
              <p:cNvGrpSpPr/>
              <p:nvPr/>
            </p:nvGrpSpPr>
            <p:grpSpPr>
              <a:xfrm>
                <a:off x="3238965" y="5572455"/>
                <a:ext cx="37856" cy="59438"/>
                <a:chOff x="3238965" y="5572455"/>
                <a:chExt cx="37856" cy="59438"/>
              </a:xfrm>
            </p:grpSpPr>
            <p:sp>
              <p:nvSpPr>
                <p:cNvPr id="1519" name="Forma livre: Forma 1518">
                  <a:extLst>
                    <a:ext uri="{FF2B5EF4-FFF2-40B4-BE49-F238E27FC236}">
                      <a16:creationId xmlns:a16="http://schemas.microsoft.com/office/drawing/2014/main" id="{00DAF9C9-F180-D998-3B08-AC8A9643422A}"/>
                    </a:ext>
                  </a:extLst>
                </p:cNvPr>
                <p:cNvSpPr/>
                <p:nvPr/>
              </p:nvSpPr>
              <p:spPr>
                <a:xfrm>
                  <a:off x="3276810" y="5572467"/>
                  <a:ext cx="12" cy="59426"/>
                </a:xfrm>
                <a:custGeom>
                  <a:avLst/>
                  <a:gdLst>
                    <a:gd name="connsiteX0" fmla="*/ 12 w 12"/>
                    <a:gd name="connsiteY0" fmla="*/ 0 h 59426"/>
                    <a:gd name="connsiteX1" fmla="*/ 0 w 12"/>
                    <a:gd name="connsiteY1" fmla="*/ 59427 h 5942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2" h="59426">
                      <a:moveTo>
                        <a:pt x="12" y="0"/>
                      </a:moveTo>
                      <a:lnTo>
                        <a:pt x="0" y="59427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520" name="Forma livre: Forma 1519">
                  <a:extLst>
                    <a:ext uri="{FF2B5EF4-FFF2-40B4-BE49-F238E27FC236}">
                      <a16:creationId xmlns:a16="http://schemas.microsoft.com/office/drawing/2014/main" id="{A6F797ED-F01D-F2C9-38D2-F1A276EC173E}"/>
                    </a:ext>
                  </a:extLst>
                </p:cNvPr>
                <p:cNvSpPr/>
                <p:nvPr/>
              </p:nvSpPr>
              <p:spPr>
                <a:xfrm>
                  <a:off x="3238965" y="5572455"/>
                  <a:ext cx="1209" cy="59438"/>
                </a:xfrm>
                <a:custGeom>
                  <a:avLst/>
                  <a:gdLst>
                    <a:gd name="connsiteX0" fmla="*/ 0 w 1209"/>
                    <a:gd name="connsiteY0" fmla="*/ 0 h 59438"/>
                    <a:gd name="connsiteX1" fmla="*/ 0 w 1209"/>
                    <a:gd name="connsiteY1" fmla="*/ 59439 h 5943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209" h="59438">
                      <a:moveTo>
                        <a:pt x="0" y="0"/>
                      </a:moveTo>
                      <a:lnTo>
                        <a:pt x="0" y="59439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1521" name="Forma livre: Forma 1520">
                <a:extLst>
                  <a:ext uri="{FF2B5EF4-FFF2-40B4-BE49-F238E27FC236}">
                    <a16:creationId xmlns:a16="http://schemas.microsoft.com/office/drawing/2014/main" id="{E3407C1D-5563-E0E6-973A-CE7C03B9E225}"/>
                  </a:ext>
                </a:extLst>
              </p:cNvPr>
              <p:cNvSpPr/>
              <p:nvPr/>
            </p:nvSpPr>
            <p:spPr>
              <a:xfrm>
                <a:off x="3257887" y="5239689"/>
                <a:ext cx="12" cy="71698"/>
              </a:xfrm>
              <a:custGeom>
                <a:avLst/>
                <a:gdLst>
                  <a:gd name="connsiteX0" fmla="*/ 12 w 12"/>
                  <a:gd name="connsiteY0" fmla="*/ 71699 h 71698"/>
                  <a:gd name="connsiteX1" fmla="*/ 0 w 12"/>
                  <a:gd name="connsiteY1" fmla="*/ 0 h 716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" h="71698">
                    <a:moveTo>
                      <a:pt x="12" y="71699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522" name="Forma livre: Forma 1521">
                <a:extLst>
                  <a:ext uri="{FF2B5EF4-FFF2-40B4-BE49-F238E27FC236}">
                    <a16:creationId xmlns:a16="http://schemas.microsoft.com/office/drawing/2014/main" id="{1780FC42-52F3-311C-D5D0-C09AF1D32EEB}"/>
                  </a:ext>
                </a:extLst>
              </p:cNvPr>
              <p:cNvSpPr/>
              <p:nvPr/>
            </p:nvSpPr>
            <p:spPr>
              <a:xfrm>
                <a:off x="3243197" y="5314242"/>
                <a:ext cx="30517" cy="58495"/>
              </a:xfrm>
              <a:custGeom>
                <a:avLst/>
                <a:gdLst>
                  <a:gd name="connsiteX0" fmla="*/ 0 w 30517"/>
                  <a:gd name="connsiteY0" fmla="*/ 33310 h 58495"/>
                  <a:gd name="connsiteX1" fmla="*/ 1499 w 30517"/>
                  <a:gd name="connsiteY1" fmla="*/ 0 h 58495"/>
                  <a:gd name="connsiteX2" fmla="*/ 27869 w 30517"/>
                  <a:gd name="connsiteY2" fmla="*/ 0 h 58495"/>
                  <a:gd name="connsiteX3" fmla="*/ 30517 w 30517"/>
                  <a:gd name="connsiteY3" fmla="*/ 58496 h 58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0517" h="58495">
                    <a:moveTo>
                      <a:pt x="0" y="33310"/>
                    </a:moveTo>
                    <a:lnTo>
                      <a:pt x="1499" y="0"/>
                    </a:lnTo>
                    <a:lnTo>
                      <a:pt x="27869" y="0"/>
                    </a:lnTo>
                    <a:lnTo>
                      <a:pt x="30517" y="58496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523" name="Gráfico 13">
            <a:extLst>
              <a:ext uri="{FF2B5EF4-FFF2-40B4-BE49-F238E27FC236}">
                <a16:creationId xmlns:a16="http://schemas.microsoft.com/office/drawing/2014/main" id="{5B2EFA6E-D418-251B-C40A-7DB1E8457437}"/>
              </a:ext>
            </a:extLst>
          </p:cNvPr>
          <p:cNvGrpSpPr/>
          <p:nvPr/>
        </p:nvGrpSpPr>
        <p:grpSpPr>
          <a:xfrm>
            <a:off x="3157328" y="5819133"/>
            <a:ext cx="319120" cy="324748"/>
            <a:chOff x="3157328" y="5819133"/>
            <a:chExt cx="319120" cy="324748"/>
          </a:xfrm>
          <a:noFill/>
        </p:grpSpPr>
        <p:grpSp>
          <p:nvGrpSpPr>
            <p:cNvPr id="1524" name="Gráfico 13">
              <a:extLst>
                <a:ext uri="{FF2B5EF4-FFF2-40B4-BE49-F238E27FC236}">
                  <a16:creationId xmlns:a16="http://schemas.microsoft.com/office/drawing/2014/main" id="{84522DCB-61F0-8111-FBBD-D3D1973787D1}"/>
                </a:ext>
              </a:extLst>
            </p:cNvPr>
            <p:cNvGrpSpPr/>
            <p:nvPr/>
          </p:nvGrpSpPr>
          <p:grpSpPr>
            <a:xfrm>
              <a:off x="3157328" y="5819133"/>
              <a:ext cx="319120" cy="298582"/>
              <a:chOff x="3157328" y="5819133"/>
              <a:chExt cx="319120" cy="298582"/>
            </a:xfrm>
            <a:noFill/>
          </p:grpSpPr>
          <p:sp>
            <p:nvSpPr>
              <p:cNvPr id="1525" name="Forma livre: Forma 1524">
                <a:extLst>
                  <a:ext uri="{FF2B5EF4-FFF2-40B4-BE49-F238E27FC236}">
                    <a16:creationId xmlns:a16="http://schemas.microsoft.com/office/drawing/2014/main" id="{F5D45FE8-7A03-C4EB-4BE4-FBA7D3343CCB}"/>
                  </a:ext>
                </a:extLst>
              </p:cNvPr>
              <p:cNvSpPr/>
              <p:nvPr/>
            </p:nvSpPr>
            <p:spPr>
              <a:xfrm>
                <a:off x="3257830" y="5819133"/>
                <a:ext cx="57863" cy="86896"/>
              </a:xfrm>
              <a:custGeom>
                <a:avLst/>
                <a:gdLst>
                  <a:gd name="connsiteX0" fmla="*/ 57864 w 57863"/>
                  <a:gd name="connsiteY0" fmla="*/ 79304 h 86896"/>
                  <a:gd name="connsiteX1" fmla="*/ 51190 w 57863"/>
                  <a:gd name="connsiteY1" fmla="*/ 15476 h 86896"/>
                  <a:gd name="connsiteX2" fmla="*/ 51552 w 57863"/>
                  <a:gd name="connsiteY2" fmla="*/ 10011 h 86896"/>
                  <a:gd name="connsiteX3" fmla="*/ 22474 w 57863"/>
                  <a:gd name="connsiteY3" fmla="*/ 1148 h 86896"/>
                  <a:gd name="connsiteX4" fmla="*/ 227 w 57863"/>
                  <a:gd name="connsiteY4" fmla="*/ 21848 h 86896"/>
                  <a:gd name="connsiteX5" fmla="*/ 2959 w 57863"/>
                  <a:gd name="connsiteY5" fmla="*/ 26599 h 86896"/>
                  <a:gd name="connsiteX6" fmla="*/ 24940 w 57863"/>
                  <a:gd name="connsiteY6" fmla="*/ 86897 h 868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57863" h="86896">
                    <a:moveTo>
                      <a:pt x="57864" y="79304"/>
                    </a:moveTo>
                    <a:cubicBezTo>
                      <a:pt x="57864" y="79304"/>
                      <a:pt x="41287" y="50128"/>
                      <a:pt x="51190" y="15476"/>
                    </a:cubicBezTo>
                    <a:cubicBezTo>
                      <a:pt x="51710" y="13662"/>
                      <a:pt x="51964" y="11776"/>
                      <a:pt x="51552" y="10011"/>
                    </a:cubicBezTo>
                    <a:cubicBezTo>
                      <a:pt x="49678" y="1849"/>
                      <a:pt x="36657" y="-2129"/>
                      <a:pt x="22474" y="1148"/>
                    </a:cubicBezTo>
                    <a:cubicBezTo>
                      <a:pt x="8303" y="4413"/>
                      <a:pt x="-1647" y="13699"/>
                      <a:pt x="227" y="21848"/>
                    </a:cubicBezTo>
                    <a:cubicBezTo>
                      <a:pt x="638" y="23613"/>
                      <a:pt x="1702" y="25197"/>
                      <a:pt x="2959" y="26599"/>
                    </a:cubicBezTo>
                    <a:cubicBezTo>
                      <a:pt x="27044" y="53417"/>
                      <a:pt x="24940" y="86897"/>
                      <a:pt x="24940" y="86897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1526" name="Gráfico 13">
                <a:extLst>
                  <a:ext uri="{FF2B5EF4-FFF2-40B4-BE49-F238E27FC236}">
                    <a16:creationId xmlns:a16="http://schemas.microsoft.com/office/drawing/2014/main" id="{A48CAC89-41E7-62CB-8A6A-FF9E393F0E3D}"/>
                  </a:ext>
                </a:extLst>
              </p:cNvPr>
              <p:cNvGrpSpPr/>
              <p:nvPr/>
            </p:nvGrpSpPr>
            <p:grpSpPr>
              <a:xfrm>
                <a:off x="3157328" y="5919645"/>
                <a:ext cx="319120" cy="118102"/>
                <a:chOff x="3157328" y="5919645"/>
                <a:chExt cx="319120" cy="118102"/>
              </a:xfrm>
              <a:noFill/>
            </p:grpSpPr>
            <p:sp>
              <p:nvSpPr>
                <p:cNvPr id="1527" name="Forma livre: Forma 1526">
                  <a:extLst>
                    <a:ext uri="{FF2B5EF4-FFF2-40B4-BE49-F238E27FC236}">
                      <a16:creationId xmlns:a16="http://schemas.microsoft.com/office/drawing/2014/main" id="{9DC2B8BD-3510-F361-82CA-BD327762A9D4}"/>
                    </a:ext>
                  </a:extLst>
                </p:cNvPr>
                <p:cNvSpPr/>
                <p:nvPr/>
              </p:nvSpPr>
              <p:spPr>
                <a:xfrm>
                  <a:off x="3389557" y="5919645"/>
                  <a:ext cx="86891" cy="57866"/>
                </a:xfrm>
                <a:custGeom>
                  <a:avLst/>
                  <a:gdLst>
                    <a:gd name="connsiteX0" fmla="*/ 7593 w 86891"/>
                    <a:gd name="connsiteY0" fmla="*/ 57866 h 57866"/>
                    <a:gd name="connsiteX1" fmla="*/ 71421 w 86891"/>
                    <a:gd name="connsiteY1" fmla="*/ 51192 h 57866"/>
                    <a:gd name="connsiteX2" fmla="*/ 76886 w 86891"/>
                    <a:gd name="connsiteY2" fmla="*/ 51555 h 57866"/>
                    <a:gd name="connsiteX3" fmla="*/ 85737 w 86891"/>
                    <a:gd name="connsiteY3" fmla="*/ 22476 h 57866"/>
                    <a:gd name="connsiteX4" fmla="*/ 65037 w 86891"/>
                    <a:gd name="connsiteY4" fmla="*/ 229 h 57866"/>
                    <a:gd name="connsiteX5" fmla="*/ 60285 w 86891"/>
                    <a:gd name="connsiteY5" fmla="*/ 2949 h 57866"/>
                    <a:gd name="connsiteX6" fmla="*/ 0 w 86891"/>
                    <a:gd name="connsiteY6" fmla="*/ 24931 h 5786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86891" h="57866">
                      <a:moveTo>
                        <a:pt x="7593" y="57866"/>
                      </a:moveTo>
                      <a:cubicBezTo>
                        <a:pt x="7593" y="57866"/>
                        <a:pt x="36756" y="41302"/>
                        <a:pt x="71421" y="51192"/>
                      </a:cubicBezTo>
                      <a:cubicBezTo>
                        <a:pt x="73234" y="51712"/>
                        <a:pt x="75133" y="51966"/>
                        <a:pt x="76886" y="51555"/>
                      </a:cubicBezTo>
                      <a:cubicBezTo>
                        <a:pt x="85047" y="49681"/>
                        <a:pt x="89025" y="36647"/>
                        <a:pt x="85737" y="22476"/>
                      </a:cubicBezTo>
                      <a:cubicBezTo>
                        <a:pt x="82472" y="8318"/>
                        <a:pt x="73186" y="-1657"/>
                        <a:pt x="65037" y="229"/>
                      </a:cubicBezTo>
                      <a:cubicBezTo>
                        <a:pt x="63284" y="628"/>
                        <a:pt x="61688" y="1692"/>
                        <a:pt x="60285" y="2949"/>
                      </a:cubicBezTo>
                      <a:cubicBezTo>
                        <a:pt x="33480" y="27034"/>
                        <a:pt x="0" y="24931"/>
                        <a:pt x="0" y="24931"/>
                      </a:cubicBez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528" name="Forma livre: Forma 1527">
                  <a:extLst>
                    <a:ext uri="{FF2B5EF4-FFF2-40B4-BE49-F238E27FC236}">
                      <a16:creationId xmlns:a16="http://schemas.microsoft.com/office/drawing/2014/main" id="{FCF051E8-7A32-1BB0-8A90-86084A07F0AE}"/>
                    </a:ext>
                  </a:extLst>
                </p:cNvPr>
                <p:cNvSpPr/>
                <p:nvPr/>
              </p:nvSpPr>
              <p:spPr>
                <a:xfrm>
                  <a:off x="3157328" y="5979906"/>
                  <a:ext cx="86884" cy="57842"/>
                </a:xfrm>
                <a:custGeom>
                  <a:avLst/>
                  <a:gdLst>
                    <a:gd name="connsiteX0" fmla="*/ 79292 w 86884"/>
                    <a:gd name="connsiteY0" fmla="*/ 0 h 57842"/>
                    <a:gd name="connsiteX1" fmla="*/ 15464 w 86884"/>
                    <a:gd name="connsiteY1" fmla="*/ 6674 h 57842"/>
                    <a:gd name="connsiteX2" fmla="*/ 9999 w 86884"/>
                    <a:gd name="connsiteY2" fmla="*/ 6299 h 57842"/>
                    <a:gd name="connsiteX3" fmla="*/ 1148 w 86884"/>
                    <a:gd name="connsiteY3" fmla="*/ 35378 h 57842"/>
                    <a:gd name="connsiteX4" fmla="*/ 21848 w 86884"/>
                    <a:gd name="connsiteY4" fmla="*/ 57613 h 57842"/>
                    <a:gd name="connsiteX5" fmla="*/ 26600 w 86884"/>
                    <a:gd name="connsiteY5" fmla="*/ 54893 h 57842"/>
                    <a:gd name="connsiteX6" fmla="*/ 86885 w 86884"/>
                    <a:gd name="connsiteY6" fmla="*/ 32911 h 5784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86884" h="57842">
                      <a:moveTo>
                        <a:pt x="79292" y="0"/>
                      </a:moveTo>
                      <a:cubicBezTo>
                        <a:pt x="79292" y="0"/>
                        <a:pt x="50128" y="16564"/>
                        <a:pt x="15464" y="6674"/>
                      </a:cubicBezTo>
                      <a:cubicBezTo>
                        <a:pt x="13650" y="6154"/>
                        <a:pt x="11752" y="5900"/>
                        <a:pt x="9999" y="6299"/>
                      </a:cubicBezTo>
                      <a:cubicBezTo>
                        <a:pt x="1850" y="8185"/>
                        <a:pt x="-2128" y="21207"/>
                        <a:pt x="1148" y="35378"/>
                      </a:cubicBezTo>
                      <a:cubicBezTo>
                        <a:pt x="4413" y="49548"/>
                        <a:pt x="13699" y="59499"/>
                        <a:pt x="21848" y="57613"/>
                      </a:cubicBezTo>
                      <a:cubicBezTo>
                        <a:pt x="23601" y="57214"/>
                        <a:pt x="25197" y="56150"/>
                        <a:pt x="26600" y="54893"/>
                      </a:cubicBezTo>
                      <a:cubicBezTo>
                        <a:pt x="53405" y="30808"/>
                        <a:pt x="86885" y="32911"/>
                        <a:pt x="86885" y="32911"/>
                      </a:cubicBez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1529" name="Forma livre: Forma 1528">
                <a:extLst>
                  <a:ext uri="{FF2B5EF4-FFF2-40B4-BE49-F238E27FC236}">
                    <a16:creationId xmlns:a16="http://schemas.microsoft.com/office/drawing/2014/main" id="{A07F8F8B-F60D-EE2F-B872-968AA67B778B}"/>
                  </a:ext>
                </a:extLst>
              </p:cNvPr>
              <p:cNvSpPr/>
              <p:nvPr/>
            </p:nvSpPr>
            <p:spPr>
              <a:xfrm>
                <a:off x="3176952" y="5881291"/>
                <a:ext cx="80693" cy="105397"/>
              </a:xfrm>
              <a:custGeom>
                <a:avLst/>
                <a:gdLst>
                  <a:gd name="connsiteX0" fmla="*/ 80693 w 80693"/>
                  <a:gd name="connsiteY0" fmla="*/ 10823 h 105397"/>
                  <a:gd name="connsiteX1" fmla="*/ 58011 w 80693"/>
                  <a:gd name="connsiteY1" fmla="*/ 32091 h 105397"/>
                  <a:gd name="connsiteX2" fmla="*/ 29343 w 80693"/>
                  <a:gd name="connsiteY2" fmla="*/ 4499 h 105397"/>
                  <a:gd name="connsiteX3" fmla="*/ 26417 w 80693"/>
                  <a:gd name="connsiteY3" fmla="*/ 1162 h 105397"/>
                  <a:gd name="connsiteX4" fmla="*/ 4823 w 80693"/>
                  <a:gd name="connsiteY4" fmla="*/ 12467 h 105397"/>
                  <a:gd name="connsiteX5" fmla="*/ 4134 w 80693"/>
                  <a:gd name="connsiteY5" fmla="*/ 36818 h 105397"/>
                  <a:gd name="connsiteX6" fmla="*/ 8414 w 80693"/>
                  <a:gd name="connsiteY6" fmla="*/ 38003 h 105397"/>
                  <a:gd name="connsiteX7" fmla="*/ 45787 w 80693"/>
                  <a:gd name="connsiteY7" fmla="*/ 51654 h 105397"/>
                  <a:gd name="connsiteX8" fmla="*/ 35788 w 80693"/>
                  <a:gd name="connsiteY8" fmla="*/ 105398 h 1053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80693" h="105397">
                    <a:moveTo>
                      <a:pt x="80693" y="10823"/>
                    </a:moveTo>
                    <a:cubicBezTo>
                      <a:pt x="72036" y="16784"/>
                      <a:pt x="64431" y="23978"/>
                      <a:pt x="58011" y="32091"/>
                    </a:cubicBezTo>
                    <a:cubicBezTo>
                      <a:pt x="49221" y="27327"/>
                      <a:pt x="37408" y="18767"/>
                      <a:pt x="29343" y="4499"/>
                    </a:cubicBezTo>
                    <a:cubicBezTo>
                      <a:pt x="28594" y="3169"/>
                      <a:pt x="27651" y="1948"/>
                      <a:pt x="26417" y="1162"/>
                    </a:cubicBezTo>
                    <a:cubicBezTo>
                      <a:pt x="20638" y="-2441"/>
                      <a:pt x="10965" y="2613"/>
                      <a:pt x="4823" y="12467"/>
                    </a:cubicBezTo>
                    <a:cubicBezTo>
                      <a:pt x="-1331" y="22297"/>
                      <a:pt x="-1634" y="33203"/>
                      <a:pt x="4134" y="36818"/>
                    </a:cubicBezTo>
                    <a:cubicBezTo>
                      <a:pt x="5379" y="37592"/>
                      <a:pt x="6903" y="37894"/>
                      <a:pt x="8414" y="38003"/>
                    </a:cubicBezTo>
                    <a:cubicBezTo>
                      <a:pt x="24761" y="38995"/>
                      <a:pt x="37638" y="45838"/>
                      <a:pt x="45787" y="51654"/>
                    </a:cubicBezTo>
                    <a:cubicBezTo>
                      <a:pt x="37904" y="68013"/>
                      <a:pt x="34204" y="86475"/>
                      <a:pt x="35788" y="105398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530" name="Forma livre: Forma 1529">
                <a:extLst>
                  <a:ext uri="{FF2B5EF4-FFF2-40B4-BE49-F238E27FC236}">
                    <a16:creationId xmlns:a16="http://schemas.microsoft.com/office/drawing/2014/main" id="{92552372-7C79-2E75-B854-D220630C24F7}"/>
                  </a:ext>
                </a:extLst>
              </p:cNvPr>
              <p:cNvSpPr/>
              <p:nvPr/>
            </p:nvSpPr>
            <p:spPr>
              <a:xfrm>
                <a:off x="3220029" y="6036201"/>
                <a:ext cx="80756" cy="81515"/>
              </a:xfrm>
              <a:custGeom>
                <a:avLst/>
                <a:gdLst>
                  <a:gd name="connsiteX0" fmla="*/ 9989 w 80756"/>
                  <a:gd name="connsiteY0" fmla="*/ 0 h 81515"/>
                  <a:gd name="connsiteX1" fmla="*/ 31970 w 80756"/>
                  <a:gd name="connsiteY1" fmla="*/ 23722 h 81515"/>
                  <a:gd name="connsiteX2" fmla="*/ 4499 w 80756"/>
                  <a:gd name="connsiteY2" fmla="*/ 52172 h 81515"/>
                  <a:gd name="connsiteX3" fmla="*/ 1162 w 80756"/>
                  <a:gd name="connsiteY3" fmla="*/ 55098 h 81515"/>
                  <a:gd name="connsiteX4" fmla="*/ 12455 w 80756"/>
                  <a:gd name="connsiteY4" fmla="*/ 76693 h 81515"/>
                  <a:gd name="connsiteX5" fmla="*/ 36818 w 80756"/>
                  <a:gd name="connsiteY5" fmla="*/ 77382 h 81515"/>
                  <a:gd name="connsiteX6" fmla="*/ 38003 w 80756"/>
                  <a:gd name="connsiteY6" fmla="*/ 73101 h 81515"/>
                  <a:gd name="connsiteX7" fmla="*/ 51533 w 80756"/>
                  <a:gd name="connsiteY7" fmla="*/ 35922 h 81515"/>
                  <a:gd name="connsiteX8" fmla="*/ 80757 w 80756"/>
                  <a:gd name="connsiteY8" fmla="*/ 45063 h 815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80756" h="81515">
                    <a:moveTo>
                      <a:pt x="9989" y="0"/>
                    </a:moveTo>
                    <a:cubicBezTo>
                      <a:pt x="16095" y="9080"/>
                      <a:pt x="23542" y="17060"/>
                      <a:pt x="31970" y="23722"/>
                    </a:cubicBezTo>
                    <a:cubicBezTo>
                      <a:pt x="27182" y="32488"/>
                      <a:pt x="18646" y="44168"/>
                      <a:pt x="4499" y="52172"/>
                    </a:cubicBezTo>
                    <a:cubicBezTo>
                      <a:pt x="3169" y="52922"/>
                      <a:pt x="1936" y="53865"/>
                      <a:pt x="1162" y="55098"/>
                    </a:cubicBezTo>
                    <a:cubicBezTo>
                      <a:pt x="-2441" y="60890"/>
                      <a:pt x="2613" y="70550"/>
                      <a:pt x="12455" y="76693"/>
                    </a:cubicBezTo>
                    <a:cubicBezTo>
                      <a:pt x="22297" y="82847"/>
                      <a:pt x="33203" y="83149"/>
                      <a:pt x="36818" y="77382"/>
                    </a:cubicBezTo>
                    <a:cubicBezTo>
                      <a:pt x="37592" y="76148"/>
                      <a:pt x="37906" y="74625"/>
                      <a:pt x="38003" y="73101"/>
                    </a:cubicBezTo>
                    <a:cubicBezTo>
                      <a:pt x="38995" y="56863"/>
                      <a:pt x="45753" y="44083"/>
                      <a:pt x="51533" y="35922"/>
                    </a:cubicBezTo>
                    <a:cubicBezTo>
                      <a:pt x="60710" y="40335"/>
                      <a:pt x="70552" y="43455"/>
                      <a:pt x="80757" y="45063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531" name="Forma livre: Forma 1530">
                <a:extLst>
                  <a:ext uri="{FF2B5EF4-FFF2-40B4-BE49-F238E27FC236}">
                    <a16:creationId xmlns:a16="http://schemas.microsoft.com/office/drawing/2014/main" id="{C99BEE00-03FD-3BB0-3E71-D875B0584E62}"/>
                  </a:ext>
                </a:extLst>
              </p:cNvPr>
              <p:cNvSpPr/>
              <p:nvPr/>
            </p:nvSpPr>
            <p:spPr>
              <a:xfrm>
                <a:off x="3418430" y="5968951"/>
                <a:ext cx="2715" cy="32645"/>
              </a:xfrm>
              <a:custGeom>
                <a:avLst/>
                <a:gdLst>
                  <a:gd name="connsiteX0" fmla="*/ 0 w 2715"/>
                  <a:gd name="connsiteY0" fmla="*/ 32645 h 32645"/>
                  <a:gd name="connsiteX1" fmla="*/ 2309 w 2715"/>
                  <a:gd name="connsiteY1" fmla="*/ 0 h 326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715" h="32645">
                    <a:moveTo>
                      <a:pt x="0" y="32645"/>
                    </a:moveTo>
                    <a:cubicBezTo>
                      <a:pt x="2454" y="22151"/>
                      <a:pt x="3301" y="11160"/>
                      <a:pt x="2309" y="0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532" name="Forma livre: Forma 1531">
                <a:extLst>
                  <a:ext uri="{FF2B5EF4-FFF2-40B4-BE49-F238E27FC236}">
                    <a16:creationId xmlns:a16="http://schemas.microsoft.com/office/drawing/2014/main" id="{9E264F82-A9B2-39F4-8D76-D4C85FEEC2A3}"/>
                  </a:ext>
                </a:extLst>
              </p:cNvPr>
              <p:cNvSpPr/>
              <p:nvPr/>
            </p:nvSpPr>
            <p:spPr>
              <a:xfrm>
                <a:off x="3308548" y="5838191"/>
                <a:ext cx="104841" cy="83871"/>
              </a:xfrm>
              <a:custGeom>
                <a:avLst/>
                <a:gdLst>
                  <a:gd name="connsiteX0" fmla="*/ 96243 w 104841"/>
                  <a:gd name="connsiteY0" fmla="*/ 83871 h 83871"/>
                  <a:gd name="connsiteX1" fmla="*/ 72763 w 104841"/>
                  <a:gd name="connsiteY1" fmla="*/ 57997 h 83871"/>
                  <a:gd name="connsiteX2" fmla="*/ 100342 w 104841"/>
                  <a:gd name="connsiteY2" fmla="*/ 29354 h 83871"/>
                  <a:gd name="connsiteX3" fmla="*/ 103679 w 104841"/>
                  <a:gd name="connsiteY3" fmla="*/ 26416 h 83871"/>
                  <a:gd name="connsiteX4" fmla="*/ 92386 w 104841"/>
                  <a:gd name="connsiteY4" fmla="*/ 4821 h 83871"/>
                  <a:gd name="connsiteX5" fmla="*/ 68023 w 104841"/>
                  <a:gd name="connsiteY5" fmla="*/ 4144 h 83871"/>
                  <a:gd name="connsiteX6" fmla="*/ 66838 w 104841"/>
                  <a:gd name="connsiteY6" fmla="*/ 8424 h 83871"/>
                  <a:gd name="connsiteX7" fmla="*/ 53139 w 104841"/>
                  <a:gd name="connsiteY7" fmla="*/ 45858 h 83871"/>
                  <a:gd name="connsiteX8" fmla="*/ 0 w 104841"/>
                  <a:gd name="connsiteY8" fmla="*/ 35919 h 838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04841" h="83871">
                    <a:moveTo>
                      <a:pt x="96243" y="83871"/>
                    </a:moveTo>
                    <a:cubicBezTo>
                      <a:pt x="89872" y="73884"/>
                      <a:pt x="81892" y="65179"/>
                      <a:pt x="72763" y="57997"/>
                    </a:cubicBezTo>
                    <a:cubicBezTo>
                      <a:pt x="77539" y="49207"/>
                      <a:pt x="86111" y="37418"/>
                      <a:pt x="100342" y="29354"/>
                    </a:cubicBezTo>
                    <a:cubicBezTo>
                      <a:pt x="101672" y="28604"/>
                      <a:pt x="102906" y="27649"/>
                      <a:pt x="103679" y="26416"/>
                    </a:cubicBezTo>
                    <a:cubicBezTo>
                      <a:pt x="107282" y="20636"/>
                      <a:pt x="102228" y="10963"/>
                      <a:pt x="92386" y="4821"/>
                    </a:cubicBezTo>
                    <a:cubicBezTo>
                      <a:pt x="82544" y="-1333"/>
                      <a:pt x="71638" y="-1635"/>
                      <a:pt x="68023" y="4144"/>
                    </a:cubicBezTo>
                    <a:cubicBezTo>
                      <a:pt x="67262" y="5377"/>
                      <a:pt x="66935" y="6901"/>
                      <a:pt x="66838" y="8424"/>
                    </a:cubicBezTo>
                    <a:cubicBezTo>
                      <a:pt x="65847" y="24807"/>
                      <a:pt x="58955" y="37721"/>
                      <a:pt x="53139" y="45858"/>
                    </a:cubicBezTo>
                    <a:cubicBezTo>
                      <a:pt x="36950" y="38120"/>
                      <a:pt x="18729" y="34420"/>
                      <a:pt x="0" y="35919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533" name="Gráfico 13">
              <a:extLst>
                <a:ext uri="{FF2B5EF4-FFF2-40B4-BE49-F238E27FC236}">
                  <a16:creationId xmlns:a16="http://schemas.microsoft.com/office/drawing/2014/main" id="{F3A251C1-9C75-0505-3561-A0E73AA4305B}"/>
                </a:ext>
              </a:extLst>
            </p:cNvPr>
            <p:cNvGrpSpPr/>
            <p:nvPr/>
          </p:nvGrpSpPr>
          <p:grpSpPr>
            <a:xfrm>
              <a:off x="3255070" y="5913792"/>
              <a:ext cx="107947" cy="128139"/>
              <a:chOff x="3255070" y="5913792"/>
              <a:chExt cx="107947" cy="128139"/>
            </a:xfrm>
            <a:noFill/>
          </p:grpSpPr>
          <p:grpSp>
            <p:nvGrpSpPr>
              <p:cNvPr id="1534" name="Gráfico 13">
                <a:extLst>
                  <a:ext uri="{FF2B5EF4-FFF2-40B4-BE49-F238E27FC236}">
                    <a16:creationId xmlns:a16="http://schemas.microsoft.com/office/drawing/2014/main" id="{282AECDF-D913-3C83-610D-EF179856F592}"/>
                  </a:ext>
                </a:extLst>
              </p:cNvPr>
              <p:cNvGrpSpPr/>
              <p:nvPr/>
            </p:nvGrpSpPr>
            <p:grpSpPr>
              <a:xfrm>
                <a:off x="3255070" y="5913792"/>
                <a:ext cx="107947" cy="48727"/>
                <a:chOff x="3255070" y="5913792"/>
                <a:chExt cx="107947" cy="48727"/>
              </a:xfrm>
              <a:noFill/>
            </p:grpSpPr>
            <p:sp>
              <p:nvSpPr>
                <p:cNvPr id="1535" name="Forma livre: Forma 1534">
                  <a:extLst>
                    <a:ext uri="{FF2B5EF4-FFF2-40B4-BE49-F238E27FC236}">
                      <a16:creationId xmlns:a16="http://schemas.microsoft.com/office/drawing/2014/main" id="{B0972FCD-6D0B-CBA5-A8A6-463747B80AFE}"/>
                    </a:ext>
                  </a:extLst>
                </p:cNvPr>
                <p:cNvSpPr/>
                <p:nvPr/>
              </p:nvSpPr>
              <p:spPr>
                <a:xfrm>
                  <a:off x="3255070" y="5928031"/>
                  <a:ext cx="34172" cy="34488"/>
                </a:xfrm>
                <a:custGeom>
                  <a:avLst/>
                  <a:gdLst>
                    <a:gd name="connsiteX0" fmla="*/ 13651 w 34172"/>
                    <a:gd name="connsiteY0" fmla="*/ 318 h 34488"/>
                    <a:gd name="connsiteX1" fmla="*/ 33854 w 34172"/>
                    <a:gd name="connsiteY1" fmla="*/ 13969 h 34488"/>
                    <a:gd name="connsiteX2" fmla="*/ 20192 w 34172"/>
                    <a:gd name="connsiteY2" fmla="*/ 34173 h 34488"/>
                    <a:gd name="connsiteX3" fmla="*/ 0 w 34172"/>
                    <a:gd name="connsiteY3" fmla="*/ 20522 h 3448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34172" h="34488">
                      <a:moveTo>
                        <a:pt x="13651" y="318"/>
                      </a:moveTo>
                      <a:cubicBezTo>
                        <a:pt x="22997" y="-1495"/>
                        <a:pt x="32041" y="4623"/>
                        <a:pt x="33854" y="13969"/>
                      </a:cubicBezTo>
                      <a:cubicBezTo>
                        <a:pt x="35668" y="23327"/>
                        <a:pt x="29538" y="32359"/>
                        <a:pt x="20192" y="34173"/>
                      </a:cubicBezTo>
                      <a:cubicBezTo>
                        <a:pt x="10846" y="35974"/>
                        <a:pt x="1802" y="29869"/>
                        <a:pt x="0" y="20522"/>
                      </a:cubicBez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536" name="Forma livre: Forma 1535">
                  <a:extLst>
                    <a:ext uri="{FF2B5EF4-FFF2-40B4-BE49-F238E27FC236}">
                      <a16:creationId xmlns:a16="http://schemas.microsoft.com/office/drawing/2014/main" id="{F3CBD9CF-AA78-F189-FBDE-C9AE9840A539}"/>
                    </a:ext>
                  </a:extLst>
                </p:cNvPr>
                <p:cNvSpPr/>
                <p:nvPr/>
              </p:nvSpPr>
              <p:spPr>
                <a:xfrm>
                  <a:off x="3328837" y="5913792"/>
                  <a:ext cx="34181" cy="34487"/>
                </a:xfrm>
                <a:custGeom>
                  <a:avLst/>
                  <a:gdLst>
                    <a:gd name="connsiteX0" fmla="*/ 13663 w 34181"/>
                    <a:gd name="connsiteY0" fmla="*/ 315 h 34487"/>
                    <a:gd name="connsiteX1" fmla="*/ 33867 w 34181"/>
                    <a:gd name="connsiteY1" fmla="*/ 13977 h 34487"/>
                    <a:gd name="connsiteX2" fmla="*/ 20204 w 34181"/>
                    <a:gd name="connsiteY2" fmla="*/ 34169 h 34487"/>
                    <a:gd name="connsiteX3" fmla="*/ 0 w 34181"/>
                    <a:gd name="connsiteY3" fmla="*/ 20506 h 344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34181" h="34487">
                      <a:moveTo>
                        <a:pt x="13663" y="315"/>
                      </a:moveTo>
                      <a:cubicBezTo>
                        <a:pt x="23009" y="-1487"/>
                        <a:pt x="32053" y="4631"/>
                        <a:pt x="33867" y="13977"/>
                      </a:cubicBezTo>
                      <a:cubicBezTo>
                        <a:pt x="35668" y="23324"/>
                        <a:pt x="29550" y="32368"/>
                        <a:pt x="20204" y="34169"/>
                      </a:cubicBezTo>
                      <a:cubicBezTo>
                        <a:pt x="10858" y="35983"/>
                        <a:pt x="1814" y="29877"/>
                        <a:pt x="0" y="20506"/>
                      </a:cubicBez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1537" name="Forma livre: Forma 1536">
                <a:extLst>
                  <a:ext uri="{FF2B5EF4-FFF2-40B4-BE49-F238E27FC236}">
                    <a16:creationId xmlns:a16="http://schemas.microsoft.com/office/drawing/2014/main" id="{E16C1648-7FA1-30A0-228D-BFECE25E99B9}"/>
                  </a:ext>
                </a:extLst>
              </p:cNvPr>
              <p:cNvSpPr/>
              <p:nvPr/>
            </p:nvSpPr>
            <p:spPr>
              <a:xfrm>
                <a:off x="3265795" y="6007436"/>
                <a:ext cx="34181" cy="34496"/>
              </a:xfrm>
              <a:custGeom>
                <a:avLst/>
                <a:gdLst>
                  <a:gd name="connsiteX0" fmla="*/ 13663 w 34181"/>
                  <a:gd name="connsiteY0" fmla="*/ 315 h 34496"/>
                  <a:gd name="connsiteX1" fmla="*/ 33867 w 34181"/>
                  <a:gd name="connsiteY1" fmla="*/ 13978 h 34496"/>
                  <a:gd name="connsiteX2" fmla="*/ 20204 w 34181"/>
                  <a:gd name="connsiteY2" fmla="*/ 34182 h 34496"/>
                  <a:gd name="connsiteX3" fmla="*/ 0 w 34181"/>
                  <a:gd name="connsiteY3" fmla="*/ 20519 h 344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4181" h="34496">
                    <a:moveTo>
                      <a:pt x="13663" y="315"/>
                    </a:moveTo>
                    <a:cubicBezTo>
                      <a:pt x="23009" y="-1486"/>
                      <a:pt x="32053" y="4620"/>
                      <a:pt x="33867" y="13978"/>
                    </a:cubicBezTo>
                    <a:cubicBezTo>
                      <a:pt x="35668" y="23324"/>
                      <a:pt x="29550" y="32368"/>
                      <a:pt x="20204" y="34182"/>
                    </a:cubicBezTo>
                    <a:cubicBezTo>
                      <a:pt x="10858" y="35983"/>
                      <a:pt x="1814" y="29865"/>
                      <a:pt x="0" y="20519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538" name="Forma livre: Forma 1537">
              <a:extLst>
                <a:ext uri="{FF2B5EF4-FFF2-40B4-BE49-F238E27FC236}">
                  <a16:creationId xmlns:a16="http://schemas.microsoft.com/office/drawing/2014/main" id="{ADB96472-C709-095D-A180-F513FCABEF06}"/>
                </a:ext>
              </a:extLst>
            </p:cNvPr>
            <p:cNvSpPr/>
            <p:nvPr/>
          </p:nvSpPr>
          <p:spPr>
            <a:xfrm>
              <a:off x="3304824" y="5965369"/>
              <a:ext cx="34169" cy="34490"/>
            </a:xfrm>
            <a:custGeom>
              <a:avLst/>
              <a:gdLst>
                <a:gd name="connsiteX0" fmla="*/ 13651 w 34169"/>
                <a:gd name="connsiteY0" fmla="*/ 318 h 34490"/>
                <a:gd name="connsiteX1" fmla="*/ 33854 w 34169"/>
                <a:gd name="connsiteY1" fmla="*/ 13981 h 34490"/>
                <a:gd name="connsiteX2" fmla="*/ 20192 w 34169"/>
                <a:gd name="connsiteY2" fmla="*/ 34172 h 34490"/>
                <a:gd name="connsiteX3" fmla="*/ 0 w 34169"/>
                <a:gd name="connsiteY3" fmla="*/ 20510 h 344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4169" h="34490">
                  <a:moveTo>
                    <a:pt x="13651" y="318"/>
                  </a:moveTo>
                  <a:cubicBezTo>
                    <a:pt x="22997" y="-1496"/>
                    <a:pt x="32041" y="4634"/>
                    <a:pt x="33854" y="13981"/>
                  </a:cubicBezTo>
                  <a:cubicBezTo>
                    <a:pt x="35656" y="23327"/>
                    <a:pt x="29538" y="32371"/>
                    <a:pt x="20192" y="34172"/>
                  </a:cubicBezTo>
                  <a:cubicBezTo>
                    <a:pt x="10845" y="35986"/>
                    <a:pt x="1802" y="29868"/>
                    <a:pt x="0" y="2051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539" name="Gráfico 13">
              <a:extLst>
                <a:ext uri="{FF2B5EF4-FFF2-40B4-BE49-F238E27FC236}">
                  <a16:creationId xmlns:a16="http://schemas.microsoft.com/office/drawing/2014/main" id="{5B92CF32-6FD8-A0A5-F300-BEEBD28B4E29}"/>
                </a:ext>
              </a:extLst>
            </p:cNvPr>
            <p:cNvGrpSpPr/>
            <p:nvPr/>
          </p:nvGrpSpPr>
          <p:grpSpPr>
            <a:xfrm>
              <a:off x="3321147" y="6010822"/>
              <a:ext cx="133338" cy="133060"/>
              <a:chOff x="3321147" y="6010822"/>
              <a:chExt cx="133338" cy="133060"/>
            </a:xfrm>
            <a:noFill/>
          </p:grpSpPr>
          <p:sp>
            <p:nvSpPr>
              <p:cNvPr id="1540" name="Forma livre: Forma 1539">
                <a:extLst>
                  <a:ext uri="{FF2B5EF4-FFF2-40B4-BE49-F238E27FC236}">
                    <a16:creationId xmlns:a16="http://schemas.microsoft.com/office/drawing/2014/main" id="{F1ECE4E1-0E52-9BEA-2463-C8F00914571B}"/>
                  </a:ext>
                </a:extLst>
              </p:cNvPr>
              <p:cNvSpPr/>
              <p:nvPr/>
            </p:nvSpPr>
            <p:spPr>
              <a:xfrm>
                <a:off x="3321147" y="6010822"/>
                <a:ext cx="115552" cy="115552"/>
              </a:xfrm>
              <a:custGeom>
                <a:avLst/>
                <a:gdLst>
                  <a:gd name="connsiteX0" fmla="*/ 115553 w 115552"/>
                  <a:gd name="connsiteY0" fmla="*/ 57770 h 115552"/>
                  <a:gd name="connsiteX1" fmla="*/ 57770 w 115552"/>
                  <a:gd name="connsiteY1" fmla="*/ 115553 h 115552"/>
                  <a:gd name="connsiteX2" fmla="*/ 0 w 115552"/>
                  <a:gd name="connsiteY2" fmla="*/ 57770 h 115552"/>
                  <a:gd name="connsiteX3" fmla="*/ 57770 w 115552"/>
                  <a:gd name="connsiteY3" fmla="*/ 0 h 115552"/>
                  <a:gd name="connsiteX4" fmla="*/ 115553 w 115552"/>
                  <a:gd name="connsiteY4" fmla="*/ 57770 h 1155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15552" h="115552">
                    <a:moveTo>
                      <a:pt x="115553" y="57770"/>
                    </a:moveTo>
                    <a:cubicBezTo>
                      <a:pt x="115553" y="89678"/>
                      <a:pt x="89690" y="115553"/>
                      <a:pt x="57770" y="115553"/>
                    </a:cubicBezTo>
                    <a:cubicBezTo>
                      <a:pt x="25850" y="115553"/>
                      <a:pt x="0" y="89690"/>
                      <a:pt x="0" y="57770"/>
                    </a:cubicBezTo>
                    <a:cubicBezTo>
                      <a:pt x="0" y="25850"/>
                      <a:pt x="25862" y="0"/>
                      <a:pt x="57770" y="0"/>
                    </a:cubicBezTo>
                    <a:cubicBezTo>
                      <a:pt x="89678" y="0"/>
                      <a:pt x="115553" y="25850"/>
                      <a:pt x="115553" y="57770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541" name="Forma livre: Forma 1540">
                <a:extLst>
                  <a:ext uri="{FF2B5EF4-FFF2-40B4-BE49-F238E27FC236}">
                    <a16:creationId xmlns:a16="http://schemas.microsoft.com/office/drawing/2014/main" id="{D0D34C33-A057-DEFE-9FD1-1FD1EE1705F9}"/>
                  </a:ext>
                </a:extLst>
              </p:cNvPr>
              <p:cNvSpPr/>
              <p:nvPr/>
            </p:nvSpPr>
            <p:spPr>
              <a:xfrm>
                <a:off x="3348206" y="6037881"/>
                <a:ext cx="30710" cy="30710"/>
              </a:xfrm>
              <a:custGeom>
                <a:avLst/>
                <a:gdLst>
                  <a:gd name="connsiteX0" fmla="*/ 0 w 30710"/>
                  <a:gd name="connsiteY0" fmla="*/ 30711 h 30710"/>
                  <a:gd name="connsiteX1" fmla="*/ 30711 w 30710"/>
                  <a:gd name="connsiteY1" fmla="*/ 0 h 307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0710" h="30710">
                    <a:moveTo>
                      <a:pt x="0" y="30711"/>
                    </a:moveTo>
                    <a:cubicBezTo>
                      <a:pt x="0" y="13747"/>
                      <a:pt x="13747" y="0"/>
                      <a:pt x="30711" y="0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542" name="Forma livre: Forma 1541">
                <a:extLst>
                  <a:ext uri="{FF2B5EF4-FFF2-40B4-BE49-F238E27FC236}">
                    <a16:creationId xmlns:a16="http://schemas.microsoft.com/office/drawing/2014/main" id="{78ECE225-FCDD-8D8A-2C93-883A0D1407F6}"/>
                  </a:ext>
                </a:extLst>
              </p:cNvPr>
              <p:cNvSpPr/>
              <p:nvPr/>
            </p:nvSpPr>
            <p:spPr>
              <a:xfrm>
                <a:off x="3419397" y="6108758"/>
                <a:ext cx="35087" cy="35124"/>
              </a:xfrm>
              <a:custGeom>
                <a:avLst/>
                <a:gdLst>
                  <a:gd name="connsiteX0" fmla="*/ 0 w 35087"/>
                  <a:gd name="connsiteY0" fmla="*/ 0 h 35124"/>
                  <a:gd name="connsiteX1" fmla="*/ 35088 w 35087"/>
                  <a:gd name="connsiteY1" fmla="*/ 35124 h 351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5087" h="35124">
                    <a:moveTo>
                      <a:pt x="0" y="0"/>
                    </a:moveTo>
                    <a:lnTo>
                      <a:pt x="35088" y="35124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543" name="Gráfico 13">
            <a:extLst>
              <a:ext uri="{FF2B5EF4-FFF2-40B4-BE49-F238E27FC236}">
                <a16:creationId xmlns:a16="http://schemas.microsoft.com/office/drawing/2014/main" id="{7B582942-F270-BD2E-ECFB-9A945E286990}"/>
              </a:ext>
            </a:extLst>
          </p:cNvPr>
          <p:cNvGrpSpPr/>
          <p:nvPr/>
        </p:nvGrpSpPr>
        <p:grpSpPr>
          <a:xfrm>
            <a:off x="3163917" y="3667625"/>
            <a:ext cx="305923" cy="262028"/>
            <a:chOff x="3163917" y="3667625"/>
            <a:chExt cx="305923" cy="262028"/>
          </a:xfrm>
          <a:noFill/>
        </p:grpSpPr>
        <p:sp>
          <p:nvSpPr>
            <p:cNvPr id="1544" name="Forma livre: Forma 1543">
              <a:extLst>
                <a:ext uri="{FF2B5EF4-FFF2-40B4-BE49-F238E27FC236}">
                  <a16:creationId xmlns:a16="http://schemas.microsoft.com/office/drawing/2014/main" id="{ECF27E84-D42D-4779-2AAD-FCD1CBEC80F0}"/>
                </a:ext>
              </a:extLst>
            </p:cNvPr>
            <p:cNvSpPr/>
            <p:nvPr/>
          </p:nvSpPr>
          <p:spPr>
            <a:xfrm>
              <a:off x="3163917" y="3709178"/>
              <a:ext cx="243111" cy="220474"/>
            </a:xfrm>
            <a:custGeom>
              <a:avLst/>
              <a:gdLst>
                <a:gd name="connsiteX0" fmla="*/ 45692 w 243111"/>
                <a:gd name="connsiteY0" fmla="*/ 185279 h 220474"/>
                <a:gd name="connsiteX1" fmla="*/ 101249 w 243111"/>
                <a:gd name="connsiteY1" fmla="*/ 220318 h 220474"/>
                <a:gd name="connsiteX2" fmla="*/ 243111 w 243111"/>
                <a:gd name="connsiteY2" fmla="*/ 118755 h 220474"/>
                <a:gd name="connsiteX3" fmla="*/ 214093 w 243111"/>
                <a:gd name="connsiteY3" fmla="*/ 28472 h 220474"/>
                <a:gd name="connsiteX4" fmla="*/ 70200 w 243111"/>
                <a:gd name="connsiteY4" fmla="*/ 12270 h 220474"/>
                <a:gd name="connsiteX5" fmla="*/ 43527 w 243111"/>
                <a:gd name="connsiteY5" fmla="*/ 10 h 220474"/>
                <a:gd name="connsiteX6" fmla="*/ 22163 w 243111"/>
                <a:gd name="connsiteY6" fmla="*/ 9683 h 220474"/>
                <a:gd name="connsiteX7" fmla="*/ 4026 w 243111"/>
                <a:gd name="connsiteY7" fmla="*/ 19114 h 220474"/>
                <a:gd name="connsiteX8" fmla="*/ 0 w 243111"/>
                <a:gd name="connsiteY8" fmla="*/ 80535 h 220474"/>
                <a:gd name="connsiteX9" fmla="*/ 181847 w 243111"/>
                <a:gd name="connsiteY9" fmla="*/ 86496 h 2204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43111" h="220474">
                  <a:moveTo>
                    <a:pt x="45692" y="185279"/>
                  </a:moveTo>
                  <a:cubicBezTo>
                    <a:pt x="75266" y="224840"/>
                    <a:pt x="101249" y="220318"/>
                    <a:pt x="101249" y="220318"/>
                  </a:cubicBezTo>
                  <a:cubicBezTo>
                    <a:pt x="193140" y="205809"/>
                    <a:pt x="243111" y="118755"/>
                    <a:pt x="243111" y="118755"/>
                  </a:cubicBezTo>
                  <a:cubicBezTo>
                    <a:pt x="206029" y="83292"/>
                    <a:pt x="214093" y="28472"/>
                    <a:pt x="214093" y="28472"/>
                  </a:cubicBezTo>
                  <a:cubicBezTo>
                    <a:pt x="108504" y="39753"/>
                    <a:pt x="92133" y="26864"/>
                    <a:pt x="70200" y="12270"/>
                  </a:cubicBezTo>
                  <a:cubicBezTo>
                    <a:pt x="54820" y="2029"/>
                    <a:pt x="57311" y="457"/>
                    <a:pt x="43527" y="10"/>
                  </a:cubicBezTo>
                  <a:cubicBezTo>
                    <a:pt x="35946" y="-232"/>
                    <a:pt x="32029" y="3879"/>
                    <a:pt x="22163" y="9683"/>
                  </a:cubicBezTo>
                  <a:cubicBezTo>
                    <a:pt x="14969" y="13915"/>
                    <a:pt x="4026" y="13286"/>
                    <a:pt x="4026" y="19114"/>
                  </a:cubicBezTo>
                  <a:lnTo>
                    <a:pt x="0" y="80535"/>
                  </a:lnTo>
                  <a:cubicBezTo>
                    <a:pt x="0" y="80535"/>
                    <a:pt x="10966" y="144533"/>
                    <a:pt x="181847" y="86496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45" name="Forma livre: Forma 1544">
              <a:extLst>
                <a:ext uri="{FF2B5EF4-FFF2-40B4-BE49-F238E27FC236}">
                  <a16:creationId xmlns:a16="http://schemas.microsoft.com/office/drawing/2014/main" id="{0FE2D007-DE6B-FB43-B813-B0FD9DDB8749}"/>
                </a:ext>
              </a:extLst>
            </p:cNvPr>
            <p:cNvSpPr/>
            <p:nvPr/>
          </p:nvSpPr>
          <p:spPr>
            <a:xfrm>
              <a:off x="3177302" y="3823097"/>
              <a:ext cx="179755" cy="50084"/>
            </a:xfrm>
            <a:custGeom>
              <a:avLst/>
              <a:gdLst>
                <a:gd name="connsiteX0" fmla="*/ 0 w 179755"/>
                <a:gd name="connsiteY0" fmla="*/ 10797 h 50084"/>
                <a:gd name="connsiteX1" fmla="*/ 3712 w 179755"/>
                <a:gd name="connsiteY1" fmla="*/ 35463 h 50084"/>
                <a:gd name="connsiteX2" fmla="*/ 47566 w 179755"/>
                <a:gd name="connsiteY2" fmla="*/ 49972 h 50084"/>
                <a:gd name="connsiteX3" fmla="*/ 179755 w 179755"/>
                <a:gd name="connsiteY3" fmla="*/ 0 h 500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9755" h="50084">
                  <a:moveTo>
                    <a:pt x="0" y="10797"/>
                  </a:moveTo>
                  <a:lnTo>
                    <a:pt x="3712" y="35463"/>
                  </a:lnTo>
                  <a:cubicBezTo>
                    <a:pt x="3712" y="35463"/>
                    <a:pt x="5646" y="51580"/>
                    <a:pt x="47566" y="49972"/>
                  </a:cubicBezTo>
                  <a:cubicBezTo>
                    <a:pt x="47566" y="49972"/>
                    <a:pt x="120546" y="53043"/>
                    <a:pt x="179755" y="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46" name="Forma livre: Forma 1545">
              <a:extLst>
                <a:ext uri="{FF2B5EF4-FFF2-40B4-BE49-F238E27FC236}">
                  <a16:creationId xmlns:a16="http://schemas.microsoft.com/office/drawing/2014/main" id="{7CE7023F-68CC-21D8-EBDF-70A3DCAD852B}"/>
                </a:ext>
              </a:extLst>
            </p:cNvPr>
            <p:cNvSpPr/>
            <p:nvPr/>
          </p:nvSpPr>
          <p:spPr>
            <a:xfrm>
              <a:off x="3395627" y="3690676"/>
              <a:ext cx="74213" cy="137499"/>
            </a:xfrm>
            <a:custGeom>
              <a:avLst/>
              <a:gdLst>
                <a:gd name="connsiteX0" fmla="*/ 0 w 74213"/>
                <a:gd name="connsiteY0" fmla="*/ 30858 h 137499"/>
                <a:gd name="connsiteX1" fmla="*/ 64614 w 74213"/>
                <a:gd name="connsiteY1" fmla="*/ 8296 h 137499"/>
                <a:gd name="connsiteX2" fmla="*/ 11982 w 74213"/>
                <a:gd name="connsiteY2" fmla="*/ 137499 h 1374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74213" h="137499">
                  <a:moveTo>
                    <a:pt x="0" y="30858"/>
                  </a:moveTo>
                  <a:cubicBezTo>
                    <a:pt x="0" y="30858"/>
                    <a:pt x="47880" y="-19320"/>
                    <a:pt x="64614" y="8296"/>
                  </a:cubicBezTo>
                  <a:cubicBezTo>
                    <a:pt x="64614" y="8296"/>
                    <a:pt x="107500" y="57699"/>
                    <a:pt x="11982" y="137499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47" name="Forma livre: Forma 1546">
              <a:extLst>
                <a:ext uri="{FF2B5EF4-FFF2-40B4-BE49-F238E27FC236}">
                  <a16:creationId xmlns:a16="http://schemas.microsoft.com/office/drawing/2014/main" id="{D52E6AF4-AD06-36AC-102A-51D4519C9BBE}"/>
                </a:ext>
              </a:extLst>
            </p:cNvPr>
            <p:cNvSpPr/>
            <p:nvPr/>
          </p:nvSpPr>
          <p:spPr>
            <a:xfrm>
              <a:off x="3209923" y="3667625"/>
              <a:ext cx="62930" cy="46992"/>
            </a:xfrm>
            <a:custGeom>
              <a:avLst/>
              <a:gdLst>
                <a:gd name="connsiteX0" fmla="*/ 0 w 62930"/>
                <a:gd name="connsiteY0" fmla="*/ 19788 h 46992"/>
                <a:gd name="connsiteX1" fmla="*/ 52656 w 62930"/>
                <a:gd name="connsiteY1" fmla="*/ 8289 h 46992"/>
                <a:gd name="connsiteX2" fmla="*/ 62522 w 62930"/>
                <a:gd name="connsiteY2" fmla="*/ 46992 h 469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2930" h="46992">
                  <a:moveTo>
                    <a:pt x="0" y="19788"/>
                  </a:moveTo>
                  <a:cubicBezTo>
                    <a:pt x="15307" y="6839"/>
                    <a:pt x="41242" y="-10548"/>
                    <a:pt x="52656" y="8289"/>
                  </a:cubicBezTo>
                  <a:cubicBezTo>
                    <a:pt x="52656" y="8289"/>
                    <a:pt x="65339" y="22013"/>
                    <a:pt x="62522" y="46992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548" name="Gráfico 13">
            <a:extLst>
              <a:ext uri="{FF2B5EF4-FFF2-40B4-BE49-F238E27FC236}">
                <a16:creationId xmlns:a16="http://schemas.microsoft.com/office/drawing/2014/main" id="{EAFC463A-2F9E-AE83-6719-0987F10B0FBD}"/>
              </a:ext>
            </a:extLst>
          </p:cNvPr>
          <p:cNvGrpSpPr/>
          <p:nvPr/>
        </p:nvGrpSpPr>
        <p:grpSpPr>
          <a:xfrm>
            <a:off x="3110088" y="4192933"/>
            <a:ext cx="413617" cy="302828"/>
            <a:chOff x="3110088" y="4192933"/>
            <a:chExt cx="413617" cy="302828"/>
          </a:xfrm>
          <a:noFill/>
        </p:grpSpPr>
        <p:sp>
          <p:nvSpPr>
            <p:cNvPr id="1549" name="Forma livre: Forma 1548">
              <a:extLst>
                <a:ext uri="{FF2B5EF4-FFF2-40B4-BE49-F238E27FC236}">
                  <a16:creationId xmlns:a16="http://schemas.microsoft.com/office/drawing/2014/main" id="{2F75468F-F95F-2298-B796-98BFE79AD039}"/>
                </a:ext>
              </a:extLst>
            </p:cNvPr>
            <p:cNvSpPr/>
            <p:nvPr/>
          </p:nvSpPr>
          <p:spPr>
            <a:xfrm>
              <a:off x="3506706" y="4495761"/>
              <a:ext cx="16999" cy="1209"/>
            </a:xfrm>
            <a:custGeom>
              <a:avLst/>
              <a:gdLst>
                <a:gd name="connsiteX0" fmla="*/ 0 w 16999"/>
                <a:gd name="connsiteY0" fmla="*/ 0 h 1209"/>
                <a:gd name="connsiteX1" fmla="*/ 17000 w 16999"/>
                <a:gd name="connsiteY1" fmla="*/ 0 h 12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6999" h="1209">
                  <a:moveTo>
                    <a:pt x="0" y="0"/>
                  </a:moveTo>
                  <a:lnTo>
                    <a:pt x="1700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50" name="Forma livre: Forma 1549">
              <a:extLst>
                <a:ext uri="{FF2B5EF4-FFF2-40B4-BE49-F238E27FC236}">
                  <a16:creationId xmlns:a16="http://schemas.microsoft.com/office/drawing/2014/main" id="{49F921ED-5FC4-2D6A-63E2-B5C05511FAAD}"/>
                </a:ext>
              </a:extLst>
            </p:cNvPr>
            <p:cNvSpPr/>
            <p:nvPr/>
          </p:nvSpPr>
          <p:spPr>
            <a:xfrm>
              <a:off x="3110088" y="4495761"/>
              <a:ext cx="373958" cy="1209"/>
            </a:xfrm>
            <a:custGeom>
              <a:avLst/>
              <a:gdLst>
                <a:gd name="connsiteX0" fmla="*/ 0 w 373958"/>
                <a:gd name="connsiteY0" fmla="*/ 0 h 1209"/>
                <a:gd name="connsiteX1" fmla="*/ 373959 w 373958"/>
                <a:gd name="connsiteY1" fmla="*/ 0 h 12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73958" h="1209">
                  <a:moveTo>
                    <a:pt x="0" y="0"/>
                  </a:moveTo>
                  <a:lnTo>
                    <a:pt x="373959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551" name="Gráfico 13">
              <a:extLst>
                <a:ext uri="{FF2B5EF4-FFF2-40B4-BE49-F238E27FC236}">
                  <a16:creationId xmlns:a16="http://schemas.microsoft.com/office/drawing/2014/main" id="{4E065A5F-453F-E3FC-BBC9-96E4C4BF3A06}"/>
                </a:ext>
              </a:extLst>
            </p:cNvPr>
            <p:cNvGrpSpPr/>
            <p:nvPr/>
          </p:nvGrpSpPr>
          <p:grpSpPr>
            <a:xfrm>
              <a:off x="3136725" y="4330672"/>
              <a:ext cx="319828" cy="163988"/>
              <a:chOff x="3136725" y="4330672"/>
              <a:chExt cx="319828" cy="163988"/>
            </a:xfrm>
            <a:noFill/>
          </p:grpSpPr>
          <p:grpSp>
            <p:nvGrpSpPr>
              <p:cNvPr id="1552" name="Gráfico 13">
                <a:extLst>
                  <a:ext uri="{FF2B5EF4-FFF2-40B4-BE49-F238E27FC236}">
                    <a16:creationId xmlns:a16="http://schemas.microsoft.com/office/drawing/2014/main" id="{0108305B-0814-BF61-16DE-FDD38EAFFFE6}"/>
                  </a:ext>
                </a:extLst>
              </p:cNvPr>
              <p:cNvGrpSpPr/>
              <p:nvPr/>
            </p:nvGrpSpPr>
            <p:grpSpPr>
              <a:xfrm>
                <a:off x="3136725" y="4330672"/>
                <a:ext cx="39621" cy="163988"/>
                <a:chOff x="3136725" y="4330672"/>
                <a:chExt cx="39621" cy="163988"/>
              </a:xfrm>
              <a:noFill/>
            </p:grpSpPr>
            <p:sp>
              <p:nvSpPr>
                <p:cNvPr id="1553" name="Forma livre: Forma 1552">
                  <a:extLst>
                    <a:ext uri="{FF2B5EF4-FFF2-40B4-BE49-F238E27FC236}">
                      <a16:creationId xmlns:a16="http://schemas.microsoft.com/office/drawing/2014/main" id="{3EA0B6AE-6FB3-A692-113F-32AE42B299AA}"/>
                    </a:ext>
                  </a:extLst>
                </p:cNvPr>
                <p:cNvSpPr/>
                <p:nvPr/>
              </p:nvSpPr>
              <p:spPr>
                <a:xfrm>
                  <a:off x="3136725" y="4330672"/>
                  <a:ext cx="39621" cy="144316"/>
                </a:xfrm>
                <a:custGeom>
                  <a:avLst/>
                  <a:gdLst>
                    <a:gd name="connsiteX0" fmla="*/ 0 w 39621"/>
                    <a:gd name="connsiteY0" fmla="*/ 144317 h 144316"/>
                    <a:gd name="connsiteX1" fmla="*/ 0 w 39621"/>
                    <a:gd name="connsiteY1" fmla="*/ 0 h 144316"/>
                    <a:gd name="connsiteX2" fmla="*/ 39622 w 39621"/>
                    <a:gd name="connsiteY2" fmla="*/ 0 h 14431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39621" h="144316">
                      <a:moveTo>
                        <a:pt x="0" y="144317"/>
                      </a:moveTo>
                      <a:lnTo>
                        <a:pt x="0" y="0"/>
                      </a:lnTo>
                      <a:lnTo>
                        <a:pt x="39622" y="0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grpSp>
              <p:nvGrpSpPr>
                <p:cNvPr id="1554" name="Gráfico 13">
                  <a:extLst>
                    <a:ext uri="{FF2B5EF4-FFF2-40B4-BE49-F238E27FC236}">
                      <a16:creationId xmlns:a16="http://schemas.microsoft.com/office/drawing/2014/main" id="{BA6CF3EF-E521-F483-2673-F586104F1084}"/>
                    </a:ext>
                  </a:extLst>
                </p:cNvPr>
                <p:cNvGrpSpPr/>
                <p:nvPr/>
              </p:nvGrpSpPr>
              <p:grpSpPr>
                <a:xfrm>
                  <a:off x="3168064" y="4361528"/>
                  <a:ext cx="1209" cy="133132"/>
                  <a:chOff x="3168064" y="4361528"/>
                  <a:chExt cx="1209" cy="133132"/>
                </a:xfrm>
              </p:grpSpPr>
              <p:sp>
                <p:nvSpPr>
                  <p:cNvPr id="1555" name="Forma livre: Forma 1554">
                    <a:extLst>
                      <a:ext uri="{FF2B5EF4-FFF2-40B4-BE49-F238E27FC236}">
                        <a16:creationId xmlns:a16="http://schemas.microsoft.com/office/drawing/2014/main" id="{09354144-BEAC-4C5D-A2C7-AEDE6232BF23}"/>
                      </a:ext>
                    </a:extLst>
                  </p:cNvPr>
                  <p:cNvSpPr/>
                  <p:nvPr/>
                </p:nvSpPr>
                <p:spPr>
                  <a:xfrm>
                    <a:off x="3168064" y="4414051"/>
                    <a:ext cx="1209" cy="26745"/>
                  </a:xfrm>
                  <a:custGeom>
                    <a:avLst/>
                    <a:gdLst>
                      <a:gd name="connsiteX0" fmla="*/ 0 w 1209"/>
                      <a:gd name="connsiteY0" fmla="*/ 0 h 26745"/>
                      <a:gd name="connsiteX1" fmla="*/ 0 w 1209"/>
                      <a:gd name="connsiteY1" fmla="*/ 26745 h 2674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209" h="26745">
                        <a:moveTo>
                          <a:pt x="0" y="0"/>
                        </a:moveTo>
                        <a:lnTo>
                          <a:pt x="0" y="26745"/>
                        </a:lnTo>
                      </a:path>
                    </a:pathLst>
                  </a:custGeom>
                  <a:ln w="6350" cap="flat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1556" name="Forma livre: Forma 1555">
                    <a:extLst>
                      <a:ext uri="{FF2B5EF4-FFF2-40B4-BE49-F238E27FC236}">
                        <a16:creationId xmlns:a16="http://schemas.microsoft.com/office/drawing/2014/main" id="{C77FF766-8B94-4586-E087-1B019D1DBBA9}"/>
                      </a:ext>
                    </a:extLst>
                  </p:cNvPr>
                  <p:cNvSpPr/>
                  <p:nvPr/>
                </p:nvSpPr>
                <p:spPr>
                  <a:xfrm>
                    <a:off x="3168064" y="4361528"/>
                    <a:ext cx="1209" cy="26757"/>
                  </a:xfrm>
                  <a:custGeom>
                    <a:avLst/>
                    <a:gdLst>
                      <a:gd name="connsiteX0" fmla="*/ 0 w 1209"/>
                      <a:gd name="connsiteY0" fmla="*/ 0 h 26757"/>
                      <a:gd name="connsiteX1" fmla="*/ 0 w 1209"/>
                      <a:gd name="connsiteY1" fmla="*/ 26757 h 2675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209" h="26757">
                        <a:moveTo>
                          <a:pt x="0" y="0"/>
                        </a:moveTo>
                        <a:lnTo>
                          <a:pt x="0" y="26757"/>
                        </a:lnTo>
                      </a:path>
                    </a:pathLst>
                  </a:custGeom>
                  <a:ln w="6350" cap="flat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1557" name="Forma livre: Forma 1556">
                    <a:extLst>
                      <a:ext uri="{FF2B5EF4-FFF2-40B4-BE49-F238E27FC236}">
                        <a16:creationId xmlns:a16="http://schemas.microsoft.com/office/drawing/2014/main" id="{757A6663-49DB-CCBB-A30D-8F90FABAC874}"/>
                      </a:ext>
                    </a:extLst>
                  </p:cNvPr>
                  <p:cNvSpPr/>
                  <p:nvPr/>
                </p:nvSpPr>
                <p:spPr>
                  <a:xfrm>
                    <a:off x="3168064" y="4465220"/>
                    <a:ext cx="1209" cy="29441"/>
                  </a:xfrm>
                  <a:custGeom>
                    <a:avLst/>
                    <a:gdLst>
                      <a:gd name="connsiteX0" fmla="*/ 0 w 1209"/>
                      <a:gd name="connsiteY0" fmla="*/ 0 h 29441"/>
                      <a:gd name="connsiteX1" fmla="*/ 0 w 1209"/>
                      <a:gd name="connsiteY1" fmla="*/ 29441 h 2944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209" h="29441">
                        <a:moveTo>
                          <a:pt x="0" y="0"/>
                        </a:moveTo>
                        <a:lnTo>
                          <a:pt x="0" y="29441"/>
                        </a:lnTo>
                      </a:path>
                    </a:pathLst>
                  </a:custGeom>
                  <a:ln w="6350" cap="flat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</p:grpSp>
          <p:grpSp>
            <p:nvGrpSpPr>
              <p:cNvPr id="1558" name="Gráfico 13">
                <a:extLst>
                  <a:ext uri="{FF2B5EF4-FFF2-40B4-BE49-F238E27FC236}">
                    <a16:creationId xmlns:a16="http://schemas.microsoft.com/office/drawing/2014/main" id="{858D78D5-B407-070E-D0E8-2270556470E9}"/>
                  </a:ext>
                </a:extLst>
              </p:cNvPr>
              <p:cNvGrpSpPr/>
              <p:nvPr/>
            </p:nvGrpSpPr>
            <p:grpSpPr>
              <a:xfrm>
                <a:off x="3416919" y="4330672"/>
                <a:ext cx="39633" cy="163988"/>
                <a:chOff x="3416919" y="4330672"/>
                <a:chExt cx="39633" cy="163988"/>
              </a:xfrm>
              <a:noFill/>
            </p:grpSpPr>
            <p:sp>
              <p:nvSpPr>
                <p:cNvPr id="1559" name="Forma livre: Forma 1558">
                  <a:extLst>
                    <a:ext uri="{FF2B5EF4-FFF2-40B4-BE49-F238E27FC236}">
                      <a16:creationId xmlns:a16="http://schemas.microsoft.com/office/drawing/2014/main" id="{AAE0CDDD-5AAA-3B58-45FE-CC20C29EFA50}"/>
                    </a:ext>
                  </a:extLst>
                </p:cNvPr>
                <p:cNvSpPr/>
                <p:nvPr/>
              </p:nvSpPr>
              <p:spPr>
                <a:xfrm>
                  <a:off x="3416919" y="4330672"/>
                  <a:ext cx="39633" cy="162175"/>
                </a:xfrm>
                <a:custGeom>
                  <a:avLst/>
                  <a:gdLst>
                    <a:gd name="connsiteX0" fmla="*/ 39634 w 39633"/>
                    <a:gd name="connsiteY0" fmla="*/ 162175 h 162175"/>
                    <a:gd name="connsiteX1" fmla="*/ 39634 w 39633"/>
                    <a:gd name="connsiteY1" fmla="*/ 0 h 162175"/>
                    <a:gd name="connsiteX2" fmla="*/ 0 w 39633"/>
                    <a:gd name="connsiteY2" fmla="*/ 0 h 1621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39633" h="162175">
                      <a:moveTo>
                        <a:pt x="39634" y="162175"/>
                      </a:moveTo>
                      <a:lnTo>
                        <a:pt x="39634" y="0"/>
                      </a:lnTo>
                      <a:lnTo>
                        <a:pt x="0" y="0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grpSp>
              <p:nvGrpSpPr>
                <p:cNvPr id="1560" name="Gráfico 13">
                  <a:extLst>
                    <a:ext uri="{FF2B5EF4-FFF2-40B4-BE49-F238E27FC236}">
                      <a16:creationId xmlns:a16="http://schemas.microsoft.com/office/drawing/2014/main" id="{166111B6-8682-8C76-E0B6-6CECD27D0CBC}"/>
                    </a:ext>
                  </a:extLst>
                </p:cNvPr>
                <p:cNvGrpSpPr/>
                <p:nvPr/>
              </p:nvGrpSpPr>
              <p:grpSpPr>
                <a:xfrm>
                  <a:off x="3425201" y="4361528"/>
                  <a:ext cx="1209" cy="133132"/>
                  <a:chOff x="3425201" y="4361528"/>
                  <a:chExt cx="1209" cy="133132"/>
                </a:xfrm>
              </p:grpSpPr>
              <p:sp>
                <p:nvSpPr>
                  <p:cNvPr id="1561" name="Forma livre: Forma 1560">
                    <a:extLst>
                      <a:ext uri="{FF2B5EF4-FFF2-40B4-BE49-F238E27FC236}">
                        <a16:creationId xmlns:a16="http://schemas.microsoft.com/office/drawing/2014/main" id="{75A63C3D-7ACC-C009-62A8-DEED716F12FF}"/>
                      </a:ext>
                    </a:extLst>
                  </p:cNvPr>
                  <p:cNvSpPr/>
                  <p:nvPr/>
                </p:nvSpPr>
                <p:spPr>
                  <a:xfrm>
                    <a:off x="3425201" y="4414051"/>
                    <a:ext cx="1209" cy="26745"/>
                  </a:xfrm>
                  <a:custGeom>
                    <a:avLst/>
                    <a:gdLst>
                      <a:gd name="connsiteX0" fmla="*/ 0 w 1209"/>
                      <a:gd name="connsiteY0" fmla="*/ 0 h 26745"/>
                      <a:gd name="connsiteX1" fmla="*/ 0 w 1209"/>
                      <a:gd name="connsiteY1" fmla="*/ 26745 h 2674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209" h="26745">
                        <a:moveTo>
                          <a:pt x="0" y="0"/>
                        </a:moveTo>
                        <a:lnTo>
                          <a:pt x="0" y="26745"/>
                        </a:lnTo>
                      </a:path>
                    </a:pathLst>
                  </a:custGeom>
                  <a:ln w="6350" cap="flat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1562" name="Forma livre: Forma 1561">
                    <a:extLst>
                      <a:ext uri="{FF2B5EF4-FFF2-40B4-BE49-F238E27FC236}">
                        <a16:creationId xmlns:a16="http://schemas.microsoft.com/office/drawing/2014/main" id="{554E15BB-8D0E-019B-EDFC-5B8A9B4861CB}"/>
                      </a:ext>
                    </a:extLst>
                  </p:cNvPr>
                  <p:cNvSpPr/>
                  <p:nvPr/>
                </p:nvSpPr>
                <p:spPr>
                  <a:xfrm>
                    <a:off x="3425201" y="4361528"/>
                    <a:ext cx="1209" cy="26757"/>
                  </a:xfrm>
                  <a:custGeom>
                    <a:avLst/>
                    <a:gdLst>
                      <a:gd name="connsiteX0" fmla="*/ 0 w 1209"/>
                      <a:gd name="connsiteY0" fmla="*/ 0 h 26757"/>
                      <a:gd name="connsiteX1" fmla="*/ 0 w 1209"/>
                      <a:gd name="connsiteY1" fmla="*/ 26757 h 2675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209" h="26757">
                        <a:moveTo>
                          <a:pt x="0" y="0"/>
                        </a:moveTo>
                        <a:lnTo>
                          <a:pt x="0" y="26757"/>
                        </a:lnTo>
                      </a:path>
                    </a:pathLst>
                  </a:custGeom>
                  <a:ln w="6350" cap="flat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1563" name="Forma livre: Forma 1562">
                    <a:extLst>
                      <a:ext uri="{FF2B5EF4-FFF2-40B4-BE49-F238E27FC236}">
                        <a16:creationId xmlns:a16="http://schemas.microsoft.com/office/drawing/2014/main" id="{3EF5A85C-D611-4F13-707C-6D0F40B001A3}"/>
                      </a:ext>
                    </a:extLst>
                  </p:cNvPr>
                  <p:cNvSpPr/>
                  <p:nvPr/>
                </p:nvSpPr>
                <p:spPr>
                  <a:xfrm>
                    <a:off x="3425201" y="4465220"/>
                    <a:ext cx="1209" cy="29441"/>
                  </a:xfrm>
                  <a:custGeom>
                    <a:avLst/>
                    <a:gdLst>
                      <a:gd name="connsiteX0" fmla="*/ 0 w 1209"/>
                      <a:gd name="connsiteY0" fmla="*/ 0 h 29441"/>
                      <a:gd name="connsiteX1" fmla="*/ 0 w 1209"/>
                      <a:gd name="connsiteY1" fmla="*/ 29441 h 2944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209" h="29441">
                        <a:moveTo>
                          <a:pt x="0" y="0"/>
                        </a:moveTo>
                        <a:lnTo>
                          <a:pt x="0" y="29441"/>
                        </a:lnTo>
                      </a:path>
                    </a:pathLst>
                  </a:custGeom>
                  <a:ln w="6350" cap="flat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</p:grpSp>
        </p:grpSp>
        <p:grpSp>
          <p:nvGrpSpPr>
            <p:cNvPr id="1564" name="Gráfico 13">
              <a:extLst>
                <a:ext uri="{FF2B5EF4-FFF2-40B4-BE49-F238E27FC236}">
                  <a16:creationId xmlns:a16="http://schemas.microsoft.com/office/drawing/2014/main" id="{CE036839-4882-2218-5C93-8B157C3FE205}"/>
                </a:ext>
              </a:extLst>
            </p:cNvPr>
            <p:cNvGrpSpPr/>
            <p:nvPr/>
          </p:nvGrpSpPr>
          <p:grpSpPr>
            <a:xfrm>
              <a:off x="3226874" y="4292537"/>
              <a:ext cx="139516" cy="127740"/>
              <a:chOff x="3226874" y="4292537"/>
              <a:chExt cx="139516" cy="127740"/>
            </a:xfrm>
          </p:grpSpPr>
          <p:sp>
            <p:nvSpPr>
              <p:cNvPr id="1565" name="Forma livre: Forma 1564">
                <a:extLst>
                  <a:ext uri="{FF2B5EF4-FFF2-40B4-BE49-F238E27FC236}">
                    <a16:creationId xmlns:a16="http://schemas.microsoft.com/office/drawing/2014/main" id="{9DE2CBCB-4C01-E50D-FDDF-1841FCF85344}"/>
                  </a:ext>
                </a:extLst>
              </p:cNvPr>
              <p:cNvSpPr/>
              <p:nvPr/>
            </p:nvSpPr>
            <p:spPr>
              <a:xfrm>
                <a:off x="3336309" y="4292537"/>
                <a:ext cx="30082" cy="1209"/>
              </a:xfrm>
              <a:custGeom>
                <a:avLst/>
                <a:gdLst>
                  <a:gd name="connsiteX0" fmla="*/ 0 w 30082"/>
                  <a:gd name="connsiteY0" fmla="*/ 0 h 1209"/>
                  <a:gd name="connsiteX1" fmla="*/ 30082 w 30082"/>
                  <a:gd name="connsiteY1" fmla="*/ 0 h 12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0082" h="1209">
                    <a:moveTo>
                      <a:pt x="0" y="0"/>
                    </a:moveTo>
                    <a:lnTo>
                      <a:pt x="30082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1566" name="Gráfico 13">
                <a:extLst>
                  <a:ext uri="{FF2B5EF4-FFF2-40B4-BE49-F238E27FC236}">
                    <a16:creationId xmlns:a16="http://schemas.microsoft.com/office/drawing/2014/main" id="{08F8CDC8-F9CC-66A7-6243-6DBB9E2DD2EF}"/>
                  </a:ext>
                </a:extLst>
              </p:cNvPr>
              <p:cNvGrpSpPr/>
              <p:nvPr/>
            </p:nvGrpSpPr>
            <p:grpSpPr>
              <a:xfrm>
                <a:off x="3226874" y="4292537"/>
                <a:ext cx="139516" cy="127740"/>
                <a:chOff x="3226874" y="4292537"/>
                <a:chExt cx="139516" cy="127740"/>
              </a:xfrm>
            </p:grpSpPr>
            <p:sp>
              <p:nvSpPr>
                <p:cNvPr id="1567" name="Forma livre: Forma 1566">
                  <a:extLst>
                    <a:ext uri="{FF2B5EF4-FFF2-40B4-BE49-F238E27FC236}">
                      <a16:creationId xmlns:a16="http://schemas.microsoft.com/office/drawing/2014/main" id="{F721ADC5-375C-8499-D12E-685F83BA0036}"/>
                    </a:ext>
                  </a:extLst>
                </p:cNvPr>
                <p:cNvSpPr/>
                <p:nvPr/>
              </p:nvSpPr>
              <p:spPr>
                <a:xfrm>
                  <a:off x="3226874" y="4324469"/>
                  <a:ext cx="139516" cy="1209"/>
                </a:xfrm>
                <a:custGeom>
                  <a:avLst/>
                  <a:gdLst>
                    <a:gd name="connsiteX0" fmla="*/ 0 w 139516"/>
                    <a:gd name="connsiteY0" fmla="*/ 0 h 1209"/>
                    <a:gd name="connsiteX1" fmla="*/ 139517 w 139516"/>
                    <a:gd name="connsiteY1" fmla="*/ 0 h 120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39516" h="1209">
                      <a:moveTo>
                        <a:pt x="0" y="0"/>
                      </a:moveTo>
                      <a:lnTo>
                        <a:pt x="139517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568" name="Forma livre: Forma 1567">
                  <a:extLst>
                    <a:ext uri="{FF2B5EF4-FFF2-40B4-BE49-F238E27FC236}">
                      <a16:creationId xmlns:a16="http://schemas.microsoft.com/office/drawing/2014/main" id="{5ABAC45E-87B7-7A73-85C7-9B7AE93DFAB1}"/>
                    </a:ext>
                  </a:extLst>
                </p:cNvPr>
                <p:cNvSpPr/>
                <p:nvPr/>
              </p:nvSpPr>
              <p:spPr>
                <a:xfrm>
                  <a:off x="3226874" y="4292537"/>
                  <a:ext cx="30082" cy="1209"/>
                </a:xfrm>
                <a:custGeom>
                  <a:avLst/>
                  <a:gdLst>
                    <a:gd name="connsiteX0" fmla="*/ 0 w 30082"/>
                    <a:gd name="connsiteY0" fmla="*/ 0 h 1209"/>
                    <a:gd name="connsiteX1" fmla="*/ 30082 w 30082"/>
                    <a:gd name="connsiteY1" fmla="*/ 0 h 120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30082" h="1209">
                      <a:moveTo>
                        <a:pt x="0" y="0"/>
                      </a:moveTo>
                      <a:lnTo>
                        <a:pt x="30082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569" name="Forma livre: Forma 1568">
                  <a:extLst>
                    <a:ext uri="{FF2B5EF4-FFF2-40B4-BE49-F238E27FC236}">
                      <a16:creationId xmlns:a16="http://schemas.microsoft.com/office/drawing/2014/main" id="{476A88F4-6B6C-59FF-3F3F-57B51FD1312D}"/>
                    </a:ext>
                  </a:extLst>
                </p:cNvPr>
                <p:cNvSpPr/>
                <p:nvPr/>
              </p:nvSpPr>
              <p:spPr>
                <a:xfrm>
                  <a:off x="3226874" y="4420278"/>
                  <a:ext cx="139516" cy="1209"/>
                </a:xfrm>
                <a:custGeom>
                  <a:avLst/>
                  <a:gdLst>
                    <a:gd name="connsiteX0" fmla="*/ 0 w 139516"/>
                    <a:gd name="connsiteY0" fmla="*/ 0 h 1209"/>
                    <a:gd name="connsiteX1" fmla="*/ 139517 w 139516"/>
                    <a:gd name="connsiteY1" fmla="*/ 0 h 120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39516" h="1209">
                      <a:moveTo>
                        <a:pt x="0" y="0"/>
                      </a:moveTo>
                      <a:lnTo>
                        <a:pt x="139517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570" name="Forma livre: Forma 1569">
                  <a:extLst>
                    <a:ext uri="{FF2B5EF4-FFF2-40B4-BE49-F238E27FC236}">
                      <a16:creationId xmlns:a16="http://schemas.microsoft.com/office/drawing/2014/main" id="{4FE8F8AD-579C-5B39-DABE-2F0D6B194365}"/>
                    </a:ext>
                  </a:extLst>
                </p:cNvPr>
                <p:cNvSpPr/>
                <p:nvPr/>
              </p:nvSpPr>
              <p:spPr>
                <a:xfrm>
                  <a:off x="3226874" y="4388346"/>
                  <a:ext cx="139516" cy="1209"/>
                </a:xfrm>
                <a:custGeom>
                  <a:avLst/>
                  <a:gdLst>
                    <a:gd name="connsiteX0" fmla="*/ 0 w 139516"/>
                    <a:gd name="connsiteY0" fmla="*/ 0 h 1209"/>
                    <a:gd name="connsiteX1" fmla="*/ 139517 w 139516"/>
                    <a:gd name="connsiteY1" fmla="*/ 0 h 120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39516" h="1209">
                      <a:moveTo>
                        <a:pt x="0" y="0"/>
                      </a:moveTo>
                      <a:lnTo>
                        <a:pt x="139517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571" name="Forma livre: Forma 1570">
                  <a:extLst>
                    <a:ext uri="{FF2B5EF4-FFF2-40B4-BE49-F238E27FC236}">
                      <a16:creationId xmlns:a16="http://schemas.microsoft.com/office/drawing/2014/main" id="{2F561E2B-9037-DBCC-C759-376F5785E7FB}"/>
                    </a:ext>
                  </a:extLst>
                </p:cNvPr>
                <p:cNvSpPr/>
                <p:nvPr/>
              </p:nvSpPr>
              <p:spPr>
                <a:xfrm>
                  <a:off x="3226874" y="4356414"/>
                  <a:ext cx="139516" cy="1209"/>
                </a:xfrm>
                <a:custGeom>
                  <a:avLst/>
                  <a:gdLst>
                    <a:gd name="connsiteX0" fmla="*/ 0 w 139516"/>
                    <a:gd name="connsiteY0" fmla="*/ 0 h 1209"/>
                    <a:gd name="connsiteX1" fmla="*/ 139517 w 139516"/>
                    <a:gd name="connsiteY1" fmla="*/ 0 h 120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39516" h="1209">
                      <a:moveTo>
                        <a:pt x="0" y="0"/>
                      </a:moveTo>
                      <a:lnTo>
                        <a:pt x="139517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grpSp>
          <p:nvGrpSpPr>
            <p:cNvPr id="1572" name="Gráfico 13">
              <a:extLst>
                <a:ext uri="{FF2B5EF4-FFF2-40B4-BE49-F238E27FC236}">
                  <a16:creationId xmlns:a16="http://schemas.microsoft.com/office/drawing/2014/main" id="{0F057C1D-ED50-63ED-800F-5AB9B43E807A}"/>
                </a:ext>
              </a:extLst>
            </p:cNvPr>
            <p:cNvGrpSpPr/>
            <p:nvPr/>
          </p:nvGrpSpPr>
          <p:grpSpPr>
            <a:xfrm>
              <a:off x="3198219" y="4242191"/>
              <a:ext cx="196827" cy="252687"/>
              <a:chOff x="3198219" y="4242191"/>
              <a:chExt cx="196827" cy="252687"/>
            </a:xfrm>
            <a:noFill/>
          </p:grpSpPr>
          <p:sp>
            <p:nvSpPr>
              <p:cNvPr id="1573" name="Forma livre: Forma 1572">
                <a:extLst>
                  <a:ext uri="{FF2B5EF4-FFF2-40B4-BE49-F238E27FC236}">
                    <a16:creationId xmlns:a16="http://schemas.microsoft.com/office/drawing/2014/main" id="{867B8721-2EAD-BBC6-373B-BD1675CCD0C5}"/>
                  </a:ext>
                </a:extLst>
              </p:cNvPr>
              <p:cNvSpPr/>
              <p:nvPr/>
            </p:nvSpPr>
            <p:spPr>
              <a:xfrm>
                <a:off x="3366633" y="4242191"/>
                <a:ext cx="28413" cy="252687"/>
              </a:xfrm>
              <a:custGeom>
                <a:avLst/>
                <a:gdLst>
                  <a:gd name="connsiteX0" fmla="*/ 0 w 28413"/>
                  <a:gd name="connsiteY0" fmla="*/ 0 h 252687"/>
                  <a:gd name="connsiteX1" fmla="*/ 28414 w 28413"/>
                  <a:gd name="connsiteY1" fmla="*/ 0 h 252687"/>
                  <a:gd name="connsiteX2" fmla="*/ 28414 w 28413"/>
                  <a:gd name="connsiteY2" fmla="*/ 252687 h 2526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8413" h="252687">
                    <a:moveTo>
                      <a:pt x="0" y="0"/>
                    </a:moveTo>
                    <a:lnTo>
                      <a:pt x="28414" y="0"/>
                    </a:lnTo>
                    <a:lnTo>
                      <a:pt x="28414" y="252687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574" name="Forma livre: Forma 1573">
                <a:extLst>
                  <a:ext uri="{FF2B5EF4-FFF2-40B4-BE49-F238E27FC236}">
                    <a16:creationId xmlns:a16="http://schemas.microsoft.com/office/drawing/2014/main" id="{18B8F759-0A0B-5E28-E172-7D2038F7E142}"/>
                  </a:ext>
                </a:extLst>
              </p:cNvPr>
              <p:cNvSpPr/>
              <p:nvPr/>
            </p:nvSpPr>
            <p:spPr>
              <a:xfrm>
                <a:off x="3198219" y="4242191"/>
                <a:ext cx="26938" cy="252687"/>
              </a:xfrm>
              <a:custGeom>
                <a:avLst/>
                <a:gdLst>
                  <a:gd name="connsiteX0" fmla="*/ 0 w 26938"/>
                  <a:gd name="connsiteY0" fmla="*/ 252687 h 252687"/>
                  <a:gd name="connsiteX1" fmla="*/ 0 w 26938"/>
                  <a:gd name="connsiteY1" fmla="*/ 0 h 252687"/>
                  <a:gd name="connsiteX2" fmla="*/ 26939 w 26938"/>
                  <a:gd name="connsiteY2" fmla="*/ 0 h 2526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6938" h="252687">
                    <a:moveTo>
                      <a:pt x="0" y="252687"/>
                    </a:moveTo>
                    <a:lnTo>
                      <a:pt x="0" y="0"/>
                    </a:lnTo>
                    <a:lnTo>
                      <a:pt x="26939" y="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575" name="Gráfico 13">
              <a:extLst>
                <a:ext uri="{FF2B5EF4-FFF2-40B4-BE49-F238E27FC236}">
                  <a16:creationId xmlns:a16="http://schemas.microsoft.com/office/drawing/2014/main" id="{D1FC11E2-1720-5D5E-E2F8-B61CFAD2EB50}"/>
                </a:ext>
              </a:extLst>
            </p:cNvPr>
            <p:cNvGrpSpPr/>
            <p:nvPr/>
          </p:nvGrpSpPr>
          <p:grpSpPr>
            <a:xfrm>
              <a:off x="3262615" y="4450904"/>
              <a:ext cx="68035" cy="44700"/>
              <a:chOff x="3262615" y="4450904"/>
              <a:chExt cx="68035" cy="44700"/>
            </a:xfrm>
          </p:grpSpPr>
          <p:sp>
            <p:nvSpPr>
              <p:cNvPr id="1576" name="Forma livre: Forma 1575">
                <a:extLst>
                  <a:ext uri="{FF2B5EF4-FFF2-40B4-BE49-F238E27FC236}">
                    <a16:creationId xmlns:a16="http://schemas.microsoft.com/office/drawing/2014/main" id="{0E982C21-C68F-25C2-1570-D987922421E6}"/>
                  </a:ext>
                </a:extLst>
              </p:cNvPr>
              <p:cNvSpPr/>
              <p:nvPr/>
            </p:nvSpPr>
            <p:spPr>
              <a:xfrm>
                <a:off x="3330650" y="4450904"/>
                <a:ext cx="1209" cy="44700"/>
              </a:xfrm>
              <a:custGeom>
                <a:avLst/>
                <a:gdLst>
                  <a:gd name="connsiteX0" fmla="*/ 0 w 1209"/>
                  <a:gd name="connsiteY0" fmla="*/ 0 h 44700"/>
                  <a:gd name="connsiteX1" fmla="*/ 0 w 1209"/>
                  <a:gd name="connsiteY1" fmla="*/ 44700 h 447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09" h="44700">
                    <a:moveTo>
                      <a:pt x="0" y="0"/>
                    </a:moveTo>
                    <a:lnTo>
                      <a:pt x="0" y="4470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577" name="Forma livre: Forma 1576">
                <a:extLst>
                  <a:ext uri="{FF2B5EF4-FFF2-40B4-BE49-F238E27FC236}">
                    <a16:creationId xmlns:a16="http://schemas.microsoft.com/office/drawing/2014/main" id="{ECEEB48A-8760-5848-79BC-AB42BD14916B}"/>
                  </a:ext>
                </a:extLst>
              </p:cNvPr>
              <p:cNvSpPr/>
              <p:nvPr/>
            </p:nvSpPr>
            <p:spPr>
              <a:xfrm>
                <a:off x="3262615" y="4450904"/>
                <a:ext cx="1209" cy="44700"/>
              </a:xfrm>
              <a:custGeom>
                <a:avLst/>
                <a:gdLst>
                  <a:gd name="connsiteX0" fmla="*/ 0 w 1209"/>
                  <a:gd name="connsiteY0" fmla="*/ 44700 h 44700"/>
                  <a:gd name="connsiteX1" fmla="*/ 0 w 1209"/>
                  <a:gd name="connsiteY1" fmla="*/ 0 h 447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09" h="44700">
                    <a:moveTo>
                      <a:pt x="0" y="44700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578" name="Forma livre: Forma 1577">
              <a:extLst>
                <a:ext uri="{FF2B5EF4-FFF2-40B4-BE49-F238E27FC236}">
                  <a16:creationId xmlns:a16="http://schemas.microsoft.com/office/drawing/2014/main" id="{CD53316A-DCE1-5040-A2B6-0F2A8D1F0F72}"/>
                </a:ext>
              </a:extLst>
            </p:cNvPr>
            <p:cNvSpPr/>
            <p:nvPr/>
          </p:nvSpPr>
          <p:spPr>
            <a:xfrm>
              <a:off x="3296626" y="4466586"/>
              <a:ext cx="1209" cy="26914"/>
            </a:xfrm>
            <a:custGeom>
              <a:avLst/>
              <a:gdLst>
                <a:gd name="connsiteX0" fmla="*/ 0 w 1209"/>
                <a:gd name="connsiteY0" fmla="*/ 0 h 26914"/>
                <a:gd name="connsiteX1" fmla="*/ 0 w 1209"/>
                <a:gd name="connsiteY1" fmla="*/ 26914 h 269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9" h="26914">
                  <a:moveTo>
                    <a:pt x="0" y="0"/>
                  </a:moveTo>
                  <a:lnTo>
                    <a:pt x="0" y="26914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79" name="Forma livre: Forma 1578">
              <a:extLst>
                <a:ext uri="{FF2B5EF4-FFF2-40B4-BE49-F238E27FC236}">
                  <a16:creationId xmlns:a16="http://schemas.microsoft.com/office/drawing/2014/main" id="{935DBE59-1389-409A-4719-DCC1DDA42E74}"/>
                </a:ext>
              </a:extLst>
            </p:cNvPr>
            <p:cNvSpPr/>
            <p:nvPr/>
          </p:nvSpPr>
          <p:spPr>
            <a:xfrm>
              <a:off x="3247163" y="4192933"/>
              <a:ext cx="98939" cy="98927"/>
            </a:xfrm>
            <a:custGeom>
              <a:avLst/>
              <a:gdLst>
                <a:gd name="connsiteX0" fmla="*/ 98940 w 98939"/>
                <a:gd name="connsiteY0" fmla="*/ 32512 h 98927"/>
                <a:gd name="connsiteX1" fmla="*/ 66427 w 98939"/>
                <a:gd name="connsiteY1" fmla="*/ 32512 h 98927"/>
                <a:gd name="connsiteX2" fmla="*/ 66427 w 98939"/>
                <a:gd name="connsiteY2" fmla="*/ 0 h 98927"/>
                <a:gd name="connsiteX3" fmla="*/ 32512 w 98939"/>
                <a:gd name="connsiteY3" fmla="*/ 0 h 98927"/>
                <a:gd name="connsiteX4" fmla="*/ 32512 w 98939"/>
                <a:gd name="connsiteY4" fmla="*/ 32512 h 98927"/>
                <a:gd name="connsiteX5" fmla="*/ 0 w 98939"/>
                <a:gd name="connsiteY5" fmla="*/ 32512 h 98927"/>
                <a:gd name="connsiteX6" fmla="*/ 0 w 98939"/>
                <a:gd name="connsiteY6" fmla="*/ 66415 h 98927"/>
                <a:gd name="connsiteX7" fmla="*/ 32512 w 98939"/>
                <a:gd name="connsiteY7" fmla="*/ 66415 h 98927"/>
                <a:gd name="connsiteX8" fmla="*/ 32512 w 98939"/>
                <a:gd name="connsiteY8" fmla="*/ 98928 h 98927"/>
                <a:gd name="connsiteX9" fmla="*/ 66427 w 98939"/>
                <a:gd name="connsiteY9" fmla="*/ 98928 h 98927"/>
                <a:gd name="connsiteX10" fmla="*/ 66427 w 98939"/>
                <a:gd name="connsiteY10" fmla="*/ 66415 h 98927"/>
                <a:gd name="connsiteX11" fmla="*/ 98940 w 98939"/>
                <a:gd name="connsiteY11" fmla="*/ 66415 h 98927"/>
                <a:gd name="connsiteX12" fmla="*/ 98940 w 98939"/>
                <a:gd name="connsiteY12" fmla="*/ 32512 h 989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98939" h="98927">
                  <a:moveTo>
                    <a:pt x="98940" y="32512"/>
                  </a:moveTo>
                  <a:lnTo>
                    <a:pt x="66427" y="32512"/>
                  </a:lnTo>
                  <a:lnTo>
                    <a:pt x="66427" y="0"/>
                  </a:lnTo>
                  <a:lnTo>
                    <a:pt x="32512" y="0"/>
                  </a:lnTo>
                  <a:lnTo>
                    <a:pt x="32512" y="32512"/>
                  </a:lnTo>
                  <a:lnTo>
                    <a:pt x="0" y="32512"/>
                  </a:lnTo>
                  <a:lnTo>
                    <a:pt x="0" y="66415"/>
                  </a:lnTo>
                  <a:lnTo>
                    <a:pt x="32512" y="66415"/>
                  </a:lnTo>
                  <a:lnTo>
                    <a:pt x="32512" y="98928"/>
                  </a:lnTo>
                  <a:lnTo>
                    <a:pt x="66427" y="98928"/>
                  </a:lnTo>
                  <a:lnTo>
                    <a:pt x="66427" y="66415"/>
                  </a:lnTo>
                  <a:lnTo>
                    <a:pt x="98940" y="66415"/>
                  </a:lnTo>
                  <a:lnTo>
                    <a:pt x="98940" y="32512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80" name="Forma livre: Forma 1579">
              <a:extLst>
                <a:ext uri="{FF2B5EF4-FFF2-40B4-BE49-F238E27FC236}">
                  <a16:creationId xmlns:a16="http://schemas.microsoft.com/office/drawing/2014/main" id="{5544837C-AEAC-8682-329F-4BA3A1CD98AD}"/>
                </a:ext>
              </a:extLst>
            </p:cNvPr>
            <p:cNvSpPr/>
            <p:nvPr/>
          </p:nvSpPr>
          <p:spPr>
            <a:xfrm>
              <a:off x="3244164" y="4448570"/>
              <a:ext cx="104936" cy="1209"/>
            </a:xfrm>
            <a:custGeom>
              <a:avLst/>
              <a:gdLst>
                <a:gd name="connsiteX0" fmla="*/ 0 w 104936"/>
                <a:gd name="connsiteY0" fmla="*/ 0 h 1209"/>
                <a:gd name="connsiteX1" fmla="*/ 104937 w 104936"/>
                <a:gd name="connsiteY1" fmla="*/ 0 h 12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4936" h="1209">
                  <a:moveTo>
                    <a:pt x="0" y="0"/>
                  </a:moveTo>
                  <a:lnTo>
                    <a:pt x="104937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581" name="Gráfico 13">
            <a:extLst>
              <a:ext uri="{FF2B5EF4-FFF2-40B4-BE49-F238E27FC236}">
                <a16:creationId xmlns:a16="http://schemas.microsoft.com/office/drawing/2014/main" id="{93D8DEAE-42DB-F62E-C371-30A316D85438}"/>
              </a:ext>
            </a:extLst>
          </p:cNvPr>
          <p:cNvGrpSpPr/>
          <p:nvPr/>
        </p:nvGrpSpPr>
        <p:grpSpPr>
          <a:xfrm>
            <a:off x="3157738" y="4739075"/>
            <a:ext cx="318292" cy="301984"/>
            <a:chOff x="3157738" y="4739075"/>
            <a:chExt cx="318292" cy="301984"/>
          </a:xfrm>
          <a:noFill/>
        </p:grpSpPr>
        <p:grpSp>
          <p:nvGrpSpPr>
            <p:cNvPr id="1582" name="Gráfico 13">
              <a:extLst>
                <a:ext uri="{FF2B5EF4-FFF2-40B4-BE49-F238E27FC236}">
                  <a16:creationId xmlns:a16="http://schemas.microsoft.com/office/drawing/2014/main" id="{18BB86D3-0927-8100-73E6-D77665C83B28}"/>
                </a:ext>
              </a:extLst>
            </p:cNvPr>
            <p:cNvGrpSpPr/>
            <p:nvPr/>
          </p:nvGrpSpPr>
          <p:grpSpPr>
            <a:xfrm>
              <a:off x="3282695" y="4739075"/>
              <a:ext cx="193336" cy="301984"/>
              <a:chOff x="3282695" y="4739075"/>
              <a:chExt cx="193336" cy="301984"/>
            </a:xfrm>
            <a:noFill/>
          </p:grpSpPr>
          <p:grpSp>
            <p:nvGrpSpPr>
              <p:cNvPr id="1583" name="Gráfico 13">
                <a:extLst>
                  <a:ext uri="{FF2B5EF4-FFF2-40B4-BE49-F238E27FC236}">
                    <a16:creationId xmlns:a16="http://schemas.microsoft.com/office/drawing/2014/main" id="{E9ACBECF-A6C2-F97B-0B18-1B27776729E4}"/>
                  </a:ext>
                </a:extLst>
              </p:cNvPr>
              <p:cNvGrpSpPr/>
              <p:nvPr/>
            </p:nvGrpSpPr>
            <p:grpSpPr>
              <a:xfrm>
                <a:off x="3307399" y="4739075"/>
                <a:ext cx="168631" cy="301984"/>
                <a:chOff x="3307399" y="4739075"/>
                <a:chExt cx="168631" cy="301984"/>
              </a:xfrm>
              <a:noFill/>
            </p:grpSpPr>
            <p:sp>
              <p:nvSpPr>
                <p:cNvPr id="1584" name="Forma livre: Forma 1583">
                  <a:extLst>
                    <a:ext uri="{FF2B5EF4-FFF2-40B4-BE49-F238E27FC236}">
                      <a16:creationId xmlns:a16="http://schemas.microsoft.com/office/drawing/2014/main" id="{46AE8C6E-C283-3F0E-474C-C99D5C744B52}"/>
                    </a:ext>
                  </a:extLst>
                </p:cNvPr>
                <p:cNvSpPr/>
                <p:nvPr/>
              </p:nvSpPr>
              <p:spPr>
                <a:xfrm>
                  <a:off x="3332657" y="4827499"/>
                  <a:ext cx="143373" cy="213561"/>
                </a:xfrm>
                <a:custGeom>
                  <a:avLst/>
                  <a:gdLst>
                    <a:gd name="connsiteX0" fmla="*/ 18644 w 143373"/>
                    <a:gd name="connsiteY0" fmla="*/ 4752 h 213561"/>
                    <a:gd name="connsiteX1" fmla="*/ 36611 w 143373"/>
                    <a:gd name="connsiteY1" fmla="*/ 0 h 213561"/>
                    <a:gd name="connsiteX2" fmla="*/ 106702 w 143373"/>
                    <a:gd name="connsiteY2" fmla="*/ 0 h 213561"/>
                    <a:gd name="connsiteX3" fmla="*/ 143374 w 143373"/>
                    <a:gd name="connsiteY3" fmla="*/ 36660 h 213561"/>
                    <a:gd name="connsiteX4" fmla="*/ 143374 w 143373"/>
                    <a:gd name="connsiteY4" fmla="*/ 187711 h 213561"/>
                    <a:gd name="connsiteX5" fmla="*/ 117523 w 143373"/>
                    <a:gd name="connsiteY5" fmla="*/ 213561 h 213561"/>
                    <a:gd name="connsiteX6" fmla="*/ 25923 w 143373"/>
                    <a:gd name="connsiteY6" fmla="*/ 213561 h 213561"/>
                    <a:gd name="connsiteX7" fmla="*/ 0 w 143373"/>
                    <a:gd name="connsiteY7" fmla="*/ 187711 h 213561"/>
                    <a:gd name="connsiteX8" fmla="*/ 0 w 143373"/>
                    <a:gd name="connsiteY8" fmla="*/ 168184 h 21356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143373" h="213561">
                      <a:moveTo>
                        <a:pt x="18644" y="4752"/>
                      </a:moveTo>
                      <a:cubicBezTo>
                        <a:pt x="23952" y="1729"/>
                        <a:pt x="30094" y="0"/>
                        <a:pt x="36611" y="0"/>
                      </a:cubicBezTo>
                      <a:lnTo>
                        <a:pt x="106702" y="0"/>
                      </a:lnTo>
                      <a:cubicBezTo>
                        <a:pt x="126858" y="0"/>
                        <a:pt x="143374" y="16492"/>
                        <a:pt x="143374" y="36660"/>
                      </a:cubicBezTo>
                      <a:lnTo>
                        <a:pt x="143374" y="187711"/>
                      </a:lnTo>
                      <a:cubicBezTo>
                        <a:pt x="143374" y="201930"/>
                        <a:pt x="131754" y="213561"/>
                        <a:pt x="117523" y="213561"/>
                      </a:cubicBezTo>
                      <a:lnTo>
                        <a:pt x="25923" y="213561"/>
                      </a:lnTo>
                      <a:cubicBezTo>
                        <a:pt x="11692" y="213561"/>
                        <a:pt x="0" y="201930"/>
                        <a:pt x="0" y="187711"/>
                      </a:cubicBezTo>
                      <a:lnTo>
                        <a:pt x="0" y="168184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585" name="Forma livre: Forma 1584">
                  <a:extLst>
                    <a:ext uri="{FF2B5EF4-FFF2-40B4-BE49-F238E27FC236}">
                      <a16:creationId xmlns:a16="http://schemas.microsoft.com/office/drawing/2014/main" id="{A008973E-DCDD-A5C6-9F44-B66BC470C487}"/>
                    </a:ext>
                  </a:extLst>
                </p:cNvPr>
                <p:cNvSpPr/>
                <p:nvPr/>
              </p:nvSpPr>
              <p:spPr>
                <a:xfrm>
                  <a:off x="3307399" y="4739075"/>
                  <a:ext cx="147291" cy="38802"/>
                </a:xfrm>
                <a:custGeom>
                  <a:avLst/>
                  <a:gdLst>
                    <a:gd name="connsiteX0" fmla="*/ 147291 w 147291"/>
                    <a:gd name="connsiteY0" fmla="*/ 3 h 38802"/>
                    <a:gd name="connsiteX1" fmla="*/ 42233 w 147291"/>
                    <a:gd name="connsiteY1" fmla="*/ 3 h 38802"/>
                    <a:gd name="connsiteX2" fmla="*/ 0 w 147291"/>
                    <a:gd name="connsiteY2" fmla="*/ 38803 h 3880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47291" h="38802">
                      <a:moveTo>
                        <a:pt x="147291" y="3"/>
                      </a:moveTo>
                      <a:lnTo>
                        <a:pt x="42233" y="3"/>
                      </a:lnTo>
                      <a:cubicBezTo>
                        <a:pt x="42233" y="3"/>
                        <a:pt x="0" y="-1073"/>
                        <a:pt x="0" y="38803"/>
                      </a:cubicBez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586" name="Forma livre: Forma 1585">
                  <a:extLst>
                    <a:ext uri="{FF2B5EF4-FFF2-40B4-BE49-F238E27FC236}">
                      <a16:creationId xmlns:a16="http://schemas.microsoft.com/office/drawing/2014/main" id="{A3DBB2EF-D091-072F-2298-82F39FBDB7CD}"/>
                    </a:ext>
                  </a:extLst>
                </p:cNvPr>
                <p:cNvSpPr/>
                <p:nvPr/>
              </p:nvSpPr>
              <p:spPr>
                <a:xfrm>
                  <a:off x="3374141" y="4788784"/>
                  <a:ext cx="60345" cy="38122"/>
                </a:xfrm>
                <a:custGeom>
                  <a:avLst/>
                  <a:gdLst>
                    <a:gd name="connsiteX0" fmla="*/ 0 w 60345"/>
                    <a:gd name="connsiteY0" fmla="*/ 19357 h 38122"/>
                    <a:gd name="connsiteX1" fmla="*/ 0 w 60345"/>
                    <a:gd name="connsiteY1" fmla="*/ 0 h 38122"/>
                    <a:gd name="connsiteX2" fmla="*/ 60346 w 60345"/>
                    <a:gd name="connsiteY2" fmla="*/ 0 h 38122"/>
                    <a:gd name="connsiteX3" fmla="*/ 60346 w 60345"/>
                    <a:gd name="connsiteY3" fmla="*/ 38123 h 381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60345" h="38122">
                      <a:moveTo>
                        <a:pt x="0" y="19357"/>
                      </a:moveTo>
                      <a:lnTo>
                        <a:pt x="0" y="0"/>
                      </a:lnTo>
                      <a:lnTo>
                        <a:pt x="60346" y="0"/>
                      </a:lnTo>
                      <a:lnTo>
                        <a:pt x="60346" y="38123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grpSp>
              <p:nvGrpSpPr>
                <p:cNvPr id="1587" name="Gráfico 13">
                  <a:extLst>
                    <a:ext uri="{FF2B5EF4-FFF2-40B4-BE49-F238E27FC236}">
                      <a16:creationId xmlns:a16="http://schemas.microsoft.com/office/drawing/2014/main" id="{65B6A8EC-D109-6D69-E23D-E99454A632DB}"/>
                    </a:ext>
                  </a:extLst>
                </p:cNvPr>
                <p:cNvGrpSpPr/>
                <p:nvPr/>
              </p:nvGrpSpPr>
              <p:grpSpPr>
                <a:xfrm>
                  <a:off x="3390633" y="4739538"/>
                  <a:ext cx="27361" cy="47964"/>
                  <a:chOff x="3390633" y="4739538"/>
                  <a:chExt cx="27361" cy="47964"/>
                </a:xfrm>
              </p:grpSpPr>
              <p:sp>
                <p:nvSpPr>
                  <p:cNvPr id="1588" name="Forma livre: Forma 1587">
                    <a:extLst>
                      <a:ext uri="{FF2B5EF4-FFF2-40B4-BE49-F238E27FC236}">
                        <a16:creationId xmlns:a16="http://schemas.microsoft.com/office/drawing/2014/main" id="{7AD0DAF0-1270-7937-8667-12B8E67400F1}"/>
                      </a:ext>
                    </a:extLst>
                  </p:cNvPr>
                  <p:cNvSpPr/>
                  <p:nvPr/>
                </p:nvSpPr>
                <p:spPr>
                  <a:xfrm>
                    <a:off x="3390633" y="4739538"/>
                    <a:ext cx="1209" cy="47964"/>
                  </a:xfrm>
                  <a:custGeom>
                    <a:avLst/>
                    <a:gdLst>
                      <a:gd name="connsiteX0" fmla="*/ 0 w 1209"/>
                      <a:gd name="connsiteY0" fmla="*/ 0 h 47964"/>
                      <a:gd name="connsiteX1" fmla="*/ 0 w 1209"/>
                      <a:gd name="connsiteY1" fmla="*/ 47965 h 4796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209" h="47964">
                        <a:moveTo>
                          <a:pt x="0" y="0"/>
                        </a:moveTo>
                        <a:lnTo>
                          <a:pt x="0" y="47965"/>
                        </a:lnTo>
                      </a:path>
                    </a:pathLst>
                  </a:custGeom>
                  <a:ln w="6350" cap="flat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1589" name="Forma livre: Forma 1588">
                    <a:extLst>
                      <a:ext uri="{FF2B5EF4-FFF2-40B4-BE49-F238E27FC236}">
                        <a16:creationId xmlns:a16="http://schemas.microsoft.com/office/drawing/2014/main" id="{78936D6F-34E1-3FD2-31FF-5F9103C284DE}"/>
                      </a:ext>
                    </a:extLst>
                  </p:cNvPr>
                  <p:cNvSpPr/>
                  <p:nvPr/>
                </p:nvSpPr>
                <p:spPr>
                  <a:xfrm>
                    <a:off x="3417995" y="4739538"/>
                    <a:ext cx="1209" cy="47964"/>
                  </a:xfrm>
                  <a:custGeom>
                    <a:avLst/>
                    <a:gdLst>
                      <a:gd name="connsiteX0" fmla="*/ 0 w 1209"/>
                      <a:gd name="connsiteY0" fmla="*/ 0 h 47964"/>
                      <a:gd name="connsiteX1" fmla="*/ 0 w 1209"/>
                      <a:gd name="connsiteY1" fmla="*/ 47965 h 4796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209" h="47964">
                        <a:moveTo>
                          <a:pt x="0" y="0"/>
                        </a:moveTo>
                        <a:lnTo>
                          <a:pt x="0" y="47965"/>
                        </a:lnTo>
                      </a:path>
                    </a:pathLst>
                  </a:custGeom>
                  <a:ln w="6350" cap="flat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</p:grpSp>
          <p:sp>
            <p:nvSpPr>
              <p:cNvPr id="1590" name="Forma livre: Forma 1589">
                <a:extLst>
                  <a:ext uri="{FF2B5EF4-FFF2-40B4-BE49-F238E27FC236}">
                    <a16:creationId xmlns:a16="http://schemas.microsoft.com/office/drawing/2014/main" id="{61EF7085-68B5-F441-BA15-1610E6C8F8D5}"/>
                  </a:ext>
                </a:extLst>
              </p:cNvPr>
              <p:cNvSpPr/>
              <p:nvPr/>
            </p:nvSpPr>
            <p:spPr>
              <a:xfrm>
                <a:off x="3282695" y="4807597"/>
                <a:ext cx="48849" cy="69631"/>
              </a:xfrm>
              <a:custGeom>
                <a:avLst/>
                <a:gdLst>
                  <a:gd name="connsiteX0" fmla="*/ 40326 w 48849"/>
                  <a:gd name="connsiteY0" fmla="*/ 23916 h 69631"/>
                  <a:gd name="connsiteX1" fmla="*/ 24439 w 48849"/>
                  <a:gd name="connsiteY1" fmla="*/ 0 h 69631"/>
                  <a:gd name="connsiteX2" fmla="*/ 24439 w 48849"/>
                  <a:gd name="connsiteY2" fmla="*/ 0 h 69631"/>
                  <a:gd name="connsiteX3" fmla="*/ 8551 w 48849"/>
                  <a:gd name="connsiteY3" fmla="*/ 23916 h 69631"/>
                  <a:gd name="connsiteX4" fmla="*/ 24318 w 48849"/>
                  <a:gd name="connsiteY4" fmla="*/ 69631 h 69631"/>
                  <a:gd name="connsiteX5" fmla="*/ 24571 w 48849"/>
                  <a:gd name="connsiteY5" fmla="*/ 69631 h 69631"/>
                  <a:gd name="connsiteX6" fmla="*/ 40338 w 48849"/>
                  <a:gd name="connsiteY6" fmla="*/ 23916 h 696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8849" h="69631">
                    <a:moveTo>
                      <a:pt x="40326" y="23916"/>
                    </a:moveTo>
                    <a:cubicBezTo>
                      <a:pt x="25902" y="6964"/>
                      <a:pt x="24559" y="834"/>
                      <a:pt x="24439" y="0"/>
                    </a:cubicBezTo>
                    <a:lnTo>
                      <a:pt x="24439" y="0"/>
                    </a:lnTo>
                    <a:cubicBezTo>
                      <a:pt x="24318" y="846"/>
                      <a:pt x="22976" y="6964"/>
                      <a:pt x="8551" y="23916"/>
                    </a:cubicBezTo>
                    <a:cubicBezTo>
                      <a:pt x="-8316" y="43721"/>
                      <a:pt x="1248" y="69559"/>
                      <a:pt x="24318" y="69631"/>
                    </a:cubicBezTo>
                    <a:lnTo>
                      <a:pt x="24571" y="69631"/>
                    </a:lnTo>
                    <a:cubicBezTo>
                      <a:pt x="47496" y="69559"/>
                      <a:pt x="57193" y="43709"/>
                      <a:pt x="40338" y="23916"/>
                    </a:cubicBezTo>
                    <a:close/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591" name="Forma livre: Forma 1590">
              <a:extLst>
                <a:ext uri="{FF2B5EF4-FFF2-40B4-BE49-F238E27FC236}">
                  <a16:creationId xmlns:a16="http://schemas.microsoft.com/office/drawing/2014/main" id="{F91296C1-E230-64A0-CDCC-268808689E99}"/>
                </a:ext>
              </a:extLst>
            </p:cNvPr>
            <p:cNvSpPr/>
            <p:nvPr/>
          </p:nvSpPr>
          <p:spPr>
            <a:xfrm>
              <a:off x="3157738" y="4935204"/>
              <a:ext cx="72218" cy="86099"/>
            </a:xfrm>
            <a:custGeom>
              <a:avLst/>
              <a:gdLst>
                <a:gd name="connsiteX0" fmla="*/ 0 w 72218"/>
                <a:gd name="connsiteY0" fmla="*/ 14158 h 86099"/>
                <a:gd name="connsiteX1" fmla="*/ 19200 w 72218"/>
                <a:gd name="connsiteY1" fmla="*/ 0 h 86099"/>
                <a:gd name="connsiteX2" fmla="*/ 72219 w 72218"/>
                <a:gd name="connsiteY2" fmla="*/ 71953 h 86099"/>
                <a:gd name="connsiteX3" fmla="*/ 53006 w 72218"/>
                <a:gd name="connsiteY3" fmla="*/ 86099 h 860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2218" h="86099">
                  <a:moveTo>
                    <a:pt x="0" y="14158"/>
                  </a:moveTo>
                  <a:lnTo>
                    <a:pt x="19200" y="0"/>
                  </a:lnTo>
                  <a:lnTo>
                    <a:pt x="72219" y="71953"/>
                  </a:lnTo>
                  <a:lnTo>
                    <a:pt x="53006" y="86099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592" name="Gráfico 13">
              <a:extLst>
                <a:ext uri="{FF2B5EF4-FFF2-40B4-BE49-F238E27FC236}">
                  <a16:creationId xmlns:a16="http://schemas.microsoft.com/office/drawing/2014/main" id="{D14771BC-ABF5-36DC-253E-3FF1204A8344}"/>
                </a:ext>
              </a:extLst>
            </p:cNvPr>
            <p:cNvGrpSpPr/>
            <p:nvPr/>
          </p:nvGrpSpPr>
          <p:grpSpPr>
            <a:xfrm>
              <a:off x="3188425" y="4889541"/>
              <a:ext cx="248208" cy="102514"/>
              <a:chOff x="3188425" y="4889541"/>
              <a:chExt cx="248208" cy="102514"/>
            </a:xfrm>
            <a:noFill/>
          </p:grpSpPr>
          <p:sp>
            <p:nvSpPr>
              <p:cNvPr id="1593" name="Forma livre: Forma 1592">
                <a:extLst>
                  <a:ext uri="{FF2B5EF4-FFF2-40B4-BE49-F238E27FC236}">
                    <a16:creationId xmlns:a16="http://schemas.microsoft.com/office/drawing/2014/main" id="{6DEE82DA-D98F-5547-702C-A5236544919C}"/>
                  </a:ext>
                </a:extLst>
              </p:cNvPr>
              <p:cNvSpPr/>
              <p:nvPr/>
            </p:nvSpPr>
            <p:spPr>
              <a:xfrm>
                <a:off x="3219596" y="4889541"/>
                <a:ext cx="217037" cy="102514"/>
              </a:xfrm>
              <a:custGeom>
                <a:avLst/>
                <a:gdLst>
                  <a:gd name="connsiteX0" fmla="*/ 152696 w 217037"/>
                  <a:gd name="connsiteY0" fmla="*/ 23174 h 102514"/>
                  <a:gd name="connsiteX1" fmla="*/ 192402 w 217037"/>
                  <a:gd name="connsiteY1" fmla="*/ 2559 h 102514"/>
                  <a:gd name="connsiteX2" fmla="*/ 215278 w 217037"/>
                  <a:gd name="connsiteY2" fmla="*/ 7395 h 102514"/>
                  <a:gd name="connsiteX3" fmla="*/ 207334 w 217037"/>
                  <a:gd name="connsiteY3" fmla="*/ 29933 h 102514"/>
                  <a:gd name="connsiteX4" fmla="*/ 115299 w 217037"/>
                  <a:gd name="connsiteY4" fmla="*/ 80025 h 102514"/>
                  <a:gd name="connsiteX5" fmla="*/ 110414 w 217037"/>
                  <a:gd name="connsiteY5" fmla="*/ 81271 h 102514"/>
                  <a:gd name="connsiteX6" fmla="*/ 24303 w 217037"/>
                  <a:gd name="connsiteY6" fmla="*/ 84160 h 102514"/>
                  <a:gd name="connsiteX7" fmla="*/ 0 w 217037"/>
                  <a:gd name="connsiteY7" fmla="*/ 102514 h 1025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17037" h="102514">
                    <a:moveTo>
                      <a:pt x="152696" y="23174"/>
                    </a:moveTo>
                    <a:lnTo>
                      <a:pt x="192402" y="2559"/>
                    </a:lnTo>
                    <a:cubicBezTo>
                      <a:pt x="200975" y="-2108"/>
                      <a:pt x="211083" y="-331"/>
                      <a:pt x="215278" y="7395"/>
                    </a:cubicBezTo>
                    <a:cubicBezTo>
                      <a:pt x="219474" y="15109"/>
                      <a:pt x="215907" y="25254"/>
                      <a:pt x="207334" y="29933"/>
                    </a:cubicBezTo>
                    <a:lnTo>
                      <a:pt x="115299" y="80025"/>
                    </a:lnTo>
                    <a:lnTo>
                      <a:pt x="110414" y="81271"/>
                    </a:lnTo>
                    <a:lnTo>
                      <a:pt x="24303" y="84160"/>
                    </a:lnTo>
                    <a:cubicBezTo>
                      <a:pt x="24303" y="84160"/>
                      <a:pt x="13227" y="87340"/>
                      <a:pt x="0" y="102514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594" name="Forma livre: Forma 1593">
                <a:extLst>
                  <a:ext uri="{FF2B5EF4-FFF2-40B4-BE49-F238E27FC236}">
                    <a16:creationId xmlns:a16="http://schemas.microsoft.com/office/drawing/2014/main" id="{34CE85AF-B0BC-3A82-035A-B0D601E14526}"/>
                  </a:ext>
                </a:extLst>
              </p:cNvPr>
              <p:cNvSpPr/>
              <p:nvPr/>
            </p:nvSpPr>
            <p:spPr>
              <a:xfrm>
                <a:off x="3188425" y="4902594"/>
                <a:ext cx="164097" cy="44109"/>
              </a:xfrm>
              <a:custGeom>
                <a:avLst/>
                <a:gdLst>
                  <a:gd name="connsiteX0" fmla="*/ 0 w 164097"/>
                  <a:gd name="connsiteY0" fmla="*/ 44109 h 44109"/>
                  <a:gd name="connsiteX1" fmla="*/ 38848 w 164097"/>
                  <a:gd name="connsiteY1" fmla="*/ 7897 h 44109"/>
                  <a:gd name="connsiteX2" fmla="*/ 80537 w 164097"/>
                  <a:gd name="connsiteY2" fmla="*/ 1864 h 44109"/>
                  <a:gd name="connsiteX3" fmla="*/ 111877 w 164097"/>
                  <a:gd name="connsiteY3" fmla="*/ 5201 h 44109"/>
                  <a:gd name="connsiteX4" fmla="*/ 145683 w 164097"/>
                  <a:gd name="connsiteY4" fmla="*/ 4983 h 44109"/>
                  <a:gd name="connsiteX5" fmla="*/ 164098 w 164097"/>
                  <a:gd name="connsiteY5" fmla="*/ 20834 h 44109"/>
                  <a:gd name="connsiteX6" fmla="*/ 145901 w 164097"/>
                  <a:gd name="connsiteY6" fmla="*/ 36939 h 44109"/>
                  <a:gd name="connsiteX7" fmla="*/ 99133 w 164097"/>
                  <a:gd name="connsiteY7" fmla="*/ 37241 h 441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64097" h="44109">
                    <a:moveTo>
                      <a:pt x="0" y="44109"/>
                    </a:moveTo>
                    <a:lnTo>
                      <a:pt x="38848" y="7897"/>
                    </a:lnTo>
                    <a:cubicBezTo>
                      <a:pt x="57843" y="-5101"/>
                      <a:pt x="80537" y="1864"/>
                      <a:pt x="80537" y="1864"/>
                    </a:cubicBezTo>
                    <a:cubicBezTo>
                      <a:pt x="91516" y="4681"/>
                      <a:pt x="111877" y="5201"/>
                      <a:pt x="111877" y="5201"/>
                    </a:cubicBezTo>
                    <a:lnTo>
                      <a:pt x="145683" y="4983"/>
                    </a:lnTo>
                    <a:cubicBezTo>
                      <a:pt x="155755" y="4923"/>
                      <a:pt x="164037" y="12056"/>
                      <a:pt x="164098" y="20834"/>
                    </a:cubicBezTo>
                    <a:cubicBezTo>
                      <a:pt x="164158" y="29636"/>
                      <a:pt x="155960" y="36879"/>
                      <a:pt x="145901" y="36939"/>
                    </a:cubicBezTo>
                    <a:lnTo>
                      <a:pt x="99133" y="37241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595" name="Gráfico 13">
            <a:extLst>
              <a:ext uri="{FF2B5EF4-FFF2-40B4-BE49-F238E27FC236}">
                <a16:creationId xmlns:a16="http://schemas.microsoft.com/office/drawing/2014/main" id="{6FBDA074-693F-B10C-A084-C1C83C1A53FB}"/>
              </a:ext>
            </a:extLst>
          </p:cNvPr>
          <p:cNvGrpSpPr/>
          <p:nvPr/>
        </p:nvGrpSpPr>
        <p:grpSpPr>
          <a:xfrm>
            <a:off x="3768617" y="5277244"/>
            <a:ext cx="352256" cy="317107"/>
            <a:chOff x="3768617" y="5277244"/>
            <a:chExt cx="352256" cy="317107"/>
          </a:xfrm>
        </p:grpSpPr>
        <p:grpSp>
          <p:nvGrpSpPr>
            <p:cNvPr id="1596" name="Gráfico 13">
              <a:extLst>
                <a:ext uri="{FF2B5EF4-FFF2-40B4-BE49-F238E27FC236}">
                  <a16:creationId xmlns:a16="http://schemas.microsoft.com/office/drawing/2014/main" id="{FADA7ED1-6A3B-6FDC-552D-3C2A24B9E3F6}"/>
                </a:ext>
              </a:extLst>
            </p:cNvPr>
            <p:cNvGrpSpPr/>
            <p:nvPr/>
          </p:nvGrpSpPr>
          <p:grpSpPr>
            <a:xfrm>
              <a:off x="3768617" y="5277244"/>
              <a:ext cx="319937" cy="246407"/>
              <a:chOff x="3768617" y="5277244"/>
              <a:chExt cx="319937" cy="246407"/>
            </a:xfrm>
            <a:noFill/>
          </p:grpSpPr>
          <p:sp>
            <p:nvSpPr>
              <p:cNvPr id="1597" name="Forma livre: Forma 1596">
                <a:extLst>
                  <a:ext uri="{FF2B5EF4-FFF2-40B4-BE49-F238E27FC236}">
                    <a16:creationId xmlns:a16="http://schemas.microsoft.com/office/drawing/2014/main" id="{D56FCB28-B046-BFD7-E391-CC43B8F24C4B}"/>
                  </a:ext>
                </a:extLst>
              </p:cNvPr>
              <p:cNvSpPr/>
              <p:nvPr/>
            </p:nvSpPr>
            <p:spPr>
              <a:xfrm>
                <a:off x="3865757" y="5384720"/>
                <a:ext cx="127655" cy="30468"/>
              </a:xfrm>
              <a:custGeom>
                <a:avLst/>
                <a:gdLst>
                  <a:gd name="connsiteX0" fmla="*/ 0 w 127655"/>
                  <a:gd name="connsiteY0" fmla="*/ 30432 h 30468"/>
                  <a:gd name="connsiteX1" fmla="*/ 48073 w 127655"/>
                  <a:gd name="connsiteY1" fmla="*/ 3615 h 30468"/>
                  <a:gd name="connsiteX2" fmla="*/ 79268 w 127655"/>
                  <a:gd name="connsiteY2" fmla="*/ 3603 h 30468"/>
                  <a:gd name="connsiteX3" fmla="*/ 127656 w 127655"/>
                  <a:gd name="connsiteY3" fmla="*/ 30469 h 304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27655" h="30468">
                    <a:moveTo>
                      <a:pt x="0" y="30432"/>
                    </a:moveTo>
                    <a:lnTo>
                      <a:pt x="48073" y="3615"/>
                    </a:lnTo>
                    <a:cubicBezTo>
                      <a:pt x="48073" y="3615"/>
                      <a:pt x="64880" y="-4510"/>
                      <a:pt x="79268" y="3603"/>
                    </a:cubicBezTo>
                    <a:lnTo>
                      <a:pt x="127656" y="30469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1598" name="Gráfico 13">
                <a:extLst>
                  <a:ext uri="{FF2B5EF4-FFF2-40B4-BE49-F238E27FC236}">
                    <a16:creationId xmlns:a16="http://schemas.microsoft.com/office/drawing/2014/main" id="{E1A3582D-AA15-00FC-32A6-975BFE117699}"/>
                  </a:ext>
                </a:extLst>
              </p:cNvPr>
              <p:cNvGrpSpPr/>
              <p:nvPr/>
            </p:nvGrpSpPr>
            <p:grpSpPr>
              <a:xfrm>
                <a:off x="3851526" y="5277244"/>
                <a:ext cx="156129" cy="110583"/>
                <a:chOff x="3851526" y="5277244"/>
                <a:chExt cx="156129" cy="110583"/>
              </a:xfrm>
              <a:noFill/>
            </p:grpSpPr>
            <p:sp>
              <p:nvSpPr>
                <p:cNvPr id="1599" name="Forma livre: Forma 1598">
                  <a:extLst>
                    <a:ext uri="{FF2B5EF4-FFF2-40B4-BE49-F238E27FC236}">
                      <a16:creationId xmlns:a16="http://schemas.microsoft.com/office/drawing/2014/main" id="{12EFD904-0C52-B509-0AE5-A98CCC1C8CEC}"/>
                    </a:ext>
                  </a:extLst>
                </p:cNvPr>
                <p:cNvSpPr/>
                <p:nvPr/>
              </p:nvSpPr>
              <p:spPr>
                <a:xfrm>
                  <a:off x="3944819" y="5277244"/>
                  <a:ext cx="62836" cy="110583"/>
                </a:xfrm>
                <a:custGeom>
                  <a:avLst/>
                  <a:gdLst>
                    <a:gd name="connsiteX0" fmla="*/ 2140 w 62836"/>
                    <a:gd name="connsiteY0" fmla="*/ 0 h 110583"/>
                    <a:gd name="connsiteX1" fmla="*/ 0 w 62836"/>
                    <a:gd name="connsiteY1" fmla="*/ 57383 h 110583"/>
                    <a:gd name="connsiteX2" fmla="*/ 29320 w 62836"/>
                    <a:gd name="connsiteY2" fmla="*/ 91951 h 110583"/>
                    <a:gd name="connsiteX3" fmla="*/ 62836 w 62836"/>
                    <a:gd name="connsiteY3" fmla="*/ 110583 h 11058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62836" h="110583">
                      <a:moveTo>
                        <a:pt x="2140" y="0"/>
                      </a:moveTo>
                      <a:cubicBezTo>
                        <a:pt x="2140" y="0"/>
                        <a:pt x="0" y="49851"/>
                        <a:pt x="0" y="57383"/>
                      </a:cubicBezTo>
                      <a:cubicBezTo>
                        <a:pt x="0" y="64916"/>
                        <a:pt x="1669" y="78748"/>
                        <a:pt x="29320" y="91951"/>
                      </a:cubicBezTo>
                      <a:lnTo>
                        <a:pt x="62836" y="110583"/>
                      </a:ln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600" name="Forma livre: Forma 1599">
                  <a:extLst>
                    <a:ext uri="{FF2B5EF4-FFF2-40B4-BE49-F238E27FC236}">
                      <a16:creationId xmlns:a16="http://schemas.microsoft.com/office/drawing/2014/main" id="{05F1F7BD-DA10-181E-BC6B-DA27D3875FA4}"/>
                    </a:ext>
                  </a:extLst>
                </p:cNvPr>
                <p:cNvSpPr/>
                <p:nvPr/>
              </p:nvSpPr>
              <p:spPr>
                <a:xfrm>
                  <a:off x="3851526" y="5277244"/>
                  <a:ext cx="62824" cy="110583"/>
                </a:xfrm>
                <a:custGeom>
                  <a:avLst/>
                  <a:gdLst>
                    <a:gd name="connsiteX0" fmla="*/ 60684 w 62824"/>
                    <a:gd name="connsiteY0" fmla="*/ 0 h 110583"/>
                    <a:gd name="connsiteX1" fmla="*/ 62824 w 62824"/>
                    <a:gd name="connsiteY1" fmla="*/ 57383 h 110583"/>
                    <a:gd name="connsiteX2" fmla="*/ 33504 w 62824"/>
                    <a:gd name="connsiteY2" fmla="*/ 91951 h 110583"/>
                    <a:gd name="connsiteX3" fmla="*/ 0 w 62824"/>
                    <a:gd name="connsiteY3" fmla="*/ 110583 h 11058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62824" h="110583">
                      <a:moveTo>
                        <a:pt x="60684" y="0"/>
                      </a:moveTo>
                      <a:cubicBezTo>
                        <a:pt x="60684" y="0"/>
                        <a:pt x="62824" y="49851"/>
                        <a:pt x="62824" y="57383"/>
                      </a:cubicBezTo>
                      <a:cubicBezTo>
                        <a:pt x="62824" y="64916"/>
                        <a:pt x="61156" y="78748"/>
                        <a:pt x="33504" y="91951"/>
                      </a:cubicBezTo>
                      <a:lnTo>
                        <a:pt x="0" y="110583"/>
                      </a:ln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1601" name="Gráfico 13">
                <a:extLst>
                  <a:ext uri="{FF2B5EF4-FFF2-40B4-BE49-F238E27FC236}">
                    <a16:creationId xmlns:a16="http://schemas.microsoft.com/office/drawing/2014/main" id="{28F0F203-09CD-A94E-32FD-C37D770B950F}"/>
                  </a:ext>
                </a:extLst>
              </p:cNvPr>
              <p:cNvGrpSpPr/>
              <p:nvPr/>
            </p:nvGrpSpPr>
            <p:grpSpPr>
              <a:xfrm>
                <a:off x="3768617" y="5304180"/>
                <a:ext cx="319937" cy="219470"/>
                <a:chOff x="3768617" y="5304180"/>
                <a:chExt cx="319937" cy="219470"/>
              </a:xfrm>
              <a:noFill/>
            </p:grpSpPr>
            <p:sp>
              <p:nvSpPr>
                <p:cNvPr id="1602" name="Forma livre: Forma 1601">
                  <a:extLst>
                    <a:ext uri="{FF2B5EF4-FFF2-40B4-BE49-F238E27FC236}">
                      <a16:creationId xmlns:a16="http://schemas.microsoft.com/office/drawing/2014/main" id="{E776EF77-1141-D019-3B8E-C9D13FD714F0}"/>
                    </a:ext>
                  </a:extLst>
                </p:cNvPr>
                <p:cNvSpPr/>
                <p:nvPr/>
              </p:nvSpPr>
              <p:spPr>
                <a:xfrm>
                  <a:off x="3768617" y="5304180"/>
                  <a:ext cx="143519" cy="219470"/>
                </a:xfrm>
                <a:custGeom>
                  <a:avLst/>
                  <a:gdLst>
                    <a:gd name="connsiteX0" fmla="*/ 117500 w 143519"/>
                    <a:gd name="connsiteY0" fmla="*/ 7595 h 219470"/>
                    <a:gd name="connsiteX1" fmla="*/ 73477 w 143519"/>
                    <a:gd name="connsiteY1" fmla="*/ 8260 h 219470"/>
                    <a:gd name="connsiteX2" fmla="*/ 1428 w 143519"/>
                    <a:gd name="connsiteY2" fmla="*/ 201775 h 219470"/>
                    <a:gd name="connsiteX3" fmla="*/ 24050 w 143519"/>
                    <a:gd name="connsiteY3" fmla="*/ 219367 h 219470"/>
                    <a:gd name="connsiteX4" fmla="*/ 115868 w 143519"/>
                    <a:gd name="connsiteY4" fmla="*/ 195064 h 219470"/>
                    <a:gd name="connsiteX5" fmla="*/ 143520 w 143519"/>
                    <a:gd name="connsiteY5" fmla="*/ 154850 h 219470"/>
                    <a:gd name="connsiteX6" fmla="*/ 143520 w 143519"/>
                    <a:gd name="connsiteY6" fmla="*/ 86307 h 21947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3519" h="219470">
                      <a:moveTo>
                        <a:pt x="117500" y="7595"/>
                      </a:moveTo>
                      <a:cubicBezTo>
                        <a:pt x="107441" y="-216"/>
                        <a:pt x="92545" y="-4883"/>
                        <a:pt x="73477" y="8260"/>
                      </a:cubicBezTo>
                      <a:cubicBezTo>
                        <a:pt x="73477" y="8260"/>
                        <a:pt x="-11981" y="67747"/>
                        <a:pt x="1428" y="201775"/>
                      </a:cubicBezTo>
                      <a:cubicBezTo>
                        <a:pt x="1428" y="201775"/>
                        <a:pt x="2274" y="221048"/>
                        <a:pt x="24050" y="219367"/>
                      </a:cubicBezTo>
                      <a:lnTo>
                        <a:pt x="115868" y="195064"/>
                      </a:lnTo>
                      <a:cubicBezTo>
                        <a:pt x="115868" y="195064"/>
                        <a:pt x="141343" y="187737"/>
                        <a:pt x="143520" y="154850"/>
                      </a:cubicBezTo>
                      <a:lnTo>
                        <a:pt x="143520" y="86307"/>
                      </a:ln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grpSp>
              <p:nvGrpSpPr>
                <p:cNvPr id="1603" name="Gráfico 13">
                  <a:extLst>
                    <a:ext uri="{FF2B5EF4-FFF2-40B4-BE49-F238E27FC236}">
                      <a16:creationId xmlns:a16="http://schemas.microsoft.com/office/drawing/2014/main" id="{5D70763C-A40D-C792-21C0-98D9965D3E9C}"/>
                    </a:ext>
                  </a:extLst>
                </p:cNvPr>
                <p:cNvGrpSpPr/>
                <p:nvPr/>
              </p:nvGrpSpPr>
              <p:grpSpPr>
                <a:xfrm>
                  <a:off x="3947044" y="5304180"/>
                  <a:ext cx="141511" cy="194278"/>
                  <a:chOff x="3947044" y="5304180"/>
                  <a:chExt cx="141511" cy="194278"/>
                </a:xfrm>
                <a:noFill/>
              </p:grpSpPr>
              <p:sp>
                <p:nvSpPr>
                  <p:cNvPr id="1604" name="Forma livre: Forma 1603">
                    <a:extLst>
                      <a:ext uri="{FF2B5EF4-FFF2-40B4-BE49-F238E27FC236}">
                        <a16:creationId xmlns:a16="http://schemas.microsoft.com/office/drawing/2014/main" id="{A7DF8525-F1E6-4BDF-2183-DCE4C2282F8F}"/>
                      </a:ext>
                    </a:extLst>
                  </p:cNvPr>
                  <p:cNvSpPr/>
                  <p:nvPr/>
                </p:nvSpPr>
                <p:spPr>
                  <a:xfrm>
                    <a:off x="3947044" y="5390511"/>
                    <a:ext cx="25499" cy="107947"/>
                  </a:xfrm>
                  <a:custGeom>
                    <a:avLst/>
                    <a:gdLst>
                      <a:gd name="connsiteX0" fmla="*/ 25500 w 25499"/>
                      <a:gd name="connsiteY0" fmla="*/ 107947 h 107947"/>
                      <a:gd name="connsiteX1" fmla="*/ 0 w 25499"/>
                      <a:gd name="connsiteY1" fmla="*/ 68543 h 107947"/>
                      <a:gd name="connsiteX2" fmla="*/ 0 w 25499"/>
                      <a:gd name="connsiteY2" fmla="*/ 0 h 10794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</a:cxnLst>
                    <a:rect l="l" t="t" r="r" b="b"/>
                    <a:pathLst>
                      <a:path w="25499" h="107947">
                        <a:moveTo>
                          <a:pt x="25500" y="107947"/>
                        </a:moveTo>
                        <a:cubicBezTo>
                          <a:pt x="19321" y="105336"/>
                          <a:pt x="1789" y="95579"/>
                          <a:pt x="0" y="68543"/>
                        </a:cubicBezTo>
                        <a:lnTo>
                          <a:pt x="0" y="0"/>
                        </a:lnTo>
                      </a:path>
                    </a:pathLst>
                  </a:custGeom>
                  <a:noFill/>
                  <a:ln w="6350" cap="rnd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1605" name="Forma livre: Forma 1604">
                    <a:extLst>
                      <a:ext uri="{FF2B5EF4-FFF2-40B4-BE49-F238E27FC236}">
                        <a16:creationId xmlns:a16="http://schemas.microsoft.com/office/drawing/2014/main" id="{AF445C74-26A2-8AA3-0693-E5B8C005A83E}"/>
                      </a:ext>
                    </a:extLst>
                  </p:cNvPr>
                  <p:cNvSpPr/>
                  <p:nvPr/>
                </p:nvSpPr>
                <p:spPr>
                  <a:xfrm>
                    <a:off x="3973051" y="5304180"/>
                    <a:ext cx="115504" cy="141755"/>
                  </a:xfrm>
                  <a:custGeom>
                    <a:avLst/>
                    <a:gdLst>
                      <a:gd name="connsiteX0" fmla="*/ 0 w 115504"/>
                      <a:gd name="connsiteY0" fmla="*/ 7595 h 141755"/>
                      <a:gd name="connsiteX1" fmla="*/ 44023 w 115504"/>
                      <a:gd name="connsiteY1" fmla="*/ 8260 h 141755"/>
                      <a:gd name="connsiteX2" fmla="*/ 115504 w 115504"/>
                      <a:gd name="connsiteY2" fmla="*/ 141756 h 14175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</a:cxnLst>
                    <a:rect l="l" t="t" r="r" b="b"/>
                    <a:pathLst>
                      <a:path w="115504" h="141755">
                        <a:moveTo>
                          <a:pt x="0" y="7595"/>
                        </a:moveTo>
                        <a:cubicBezTo>
                          <a:pt x="10060" y="-216"/>
                          <a:pt x="24956" y="-4883"/>
                          <a:pt x="44023" y="8260"/>
                        </a:cubicBezTo>
                        <a:cubicBezTo>
                          <a:pt x="44023" y="8260"/>
                          <a:pt x="103740" y="49829"/>
                          <a:pt x="115504" y="141756"/>
                        </a:cubicBezTo>
                      </a:path>
                    </a:pathLst>
                  </a:custGeom>
                  <a:noFill/>
                  <a:ln w="6350" cap="rnd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</p:grpSp>
        </p:grpSp>
        <p:grpSp>
          <p:nvGrpSpPr>
            <p:cNvPr id="1606" name="Gráfico 13">
              <a:extLst>
                <a:ext uri="{FF2B5EF4-FFF2-40B4-BE49-F238E27FC236}">
                  <a16:creationId xmlns:a16="http://schemas.microsoft.com/office/drawing/2014/main" id="{F04F1417-4D86-F069-78F5-5DA9B1ED5BB7}"/>
                </a:ext>
              </a:extLst>
            </p:cNvPr>
            <p:cNvGrpSpPr/>
            <p:nvPr/>
          </p:nvGrpSpPr>
          <p:grpSpPr>
            <a:xfrm>
              <a:off x="3974163" y="5447640"/>
              <a:ext cx="146710" cy="146710"/>
              <a:chOff x="3974163" y="5447640"/>
              <a:chExt cx="146710" cy="146710"/>
            </a:xfrm>
          </p:grpSpPr>
          <p:grpSp>
            <p:nvGrpSpPr>
              <p:cNvPr id="1607" name="Gráfico 13">
                <a:extLst>
                  <a:ext uri="{FF2B5EF4-FFF2-40B4-BE49-F238E27FC236}">
                    <a16:creationId xmlns:a16="http://schemas.microsoft.com/office/drawing/2014/main" id="{1DA02EE3-7890-7BAB-4997-D219AFA18593}"/>
                  </a:ext>
                </a:extLst>
              </p:cNvPr>
              <p:cNvGrpSpPr/>
              <p:nvPr/>
            </p:nvGrpSpPr>
            <p:grpSpPr>
              <a:xfrm>
                <a:off x="3974163" y="5447640"/>
                <a:ext cx="146710" cy="146710"/>
                <a:chOff x="3974163" y="5447640"/>
                <a:chExt cx="146710" cy="146710"/>
              </a:xfrm>
              <a:noFill/>
            </p:grpSpPr>
            <p:sp>
              <p:nvSpPr>
                <p:cNvPr id="1608" name="Forma livre: Forma 1607">
                  <a:extLst>
                    <a:ext uri="{FF2B5EF4-FFF2-40B4-BE49-F238E27FC236}">
                      <a16:creationId xmlns:a16="http://schemas.microsoft.com/office/drawing/2014/main" id="{B8473615-A930-8A5D-BEB5-CD18E941D3F0}"/>
                    </a:ext>
                  </a:extLst>
                </p:cNvPr>
                <p:cNvSpPr/>
                <p:nvPr/>
              </p:nvSpPr>
              <p:spPr>
                <a:xfrm>
                  <a:off x="3994972" y="5468449"/>
                  <a:ext cx="105094" cy="105093"/>
                </a:xfrm>
                <a:custGeom>
                  <a:avLst/>
                  <a:gdLst>
                    <a:gd name="connsiteX0" fmla="*/ 105094 w 105094"/>
                    <a:gd name="connsiteY0" fmla="*/ 52547 h 105093"/>
                    <a:gd name="connsiteX1" fmla="*/ 52547 w 105094"/>
                    <a:gd name="connsiteY1" fmla="*/ 105094 h 105093"/>
                    <a:gd name="connsiteX2" fmla="*/ 0 w 105094"/>
                    <a:gd name="connsiteY2" fmla="*/ 52547 h 105093"/>
                    <a:gd name="connsiteX3" fmla="*/ 52547 w 105094"/>
                    <a:gd name="connsiteY3" fmla="*/ 0 h 105093"/>
                    <a:gd name="connsiteX4" fmla="*/ 105094 w 105094"/>
                    <a:gd name="connsiteY4" fmla="*/ 52547 h 10509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05094" h="105093">
                      <a:moveTo>
                        <a:pt x="105094" y="52547"/>
                      </a:moveTo>
                      <a:cubicBezTo>
                        <a:pt x="105094" y="81565"/>
                        <a:pt x="81565" y="105094"/>
                        <a:pt x="52547" y="105094"/>
                      </a:cubicBezTo>
                      <a:cubicBezTo>
                        <a:pt x="23529" y="105094"/>
                        <a:pt x="0" y="81565"/>
                        <a:pt x="0" y="52547"/>
                      </a:cubicBezTo>
                      <a:cubicBezTo>
                        <a:pt x="0" y="23529"/>
                        <a:pt x="23529" y="0"/>
                        <a:pt x="52547" y="0"/>
                      </a:cubicBezTo>
                      <a:cubicBezTo>
                        <a:pt x="81565" y="0"/>
                        <a:pt x="105094" y="23529"/>
                        <a:pt x="105094" y="52547"/>
                      </a:cubicBezTo>
                      <a:close/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grpSp>
              <p:nvGrpSpPr>
                <p:cNvPr id="1609" name="Gráfico 13">
                  <a:extLst>
                    <a:ext uri="{FF2B5EF4-FFF2-40B4-BE49-F238E27FC236}">
                      <a16:creationId xmlns:a16="http://schemas.microsoft.com/office/drawing/2014/main" id="{16B14B14-26BD-9045-ACAF-9AED297A4B36}"/>
                    </a:ext>
                  </a:extLst>
                </p:cNvPr>
                <p:cNvGrpSpPr/>
                <p:nvPr/>
              </p:nvGrpSpPr>
              <p:grpSpPr>
                <a:xfrm>
                  <a:off x="4047519" y="5447640"/>
                  <a:ext cx="1209" cy="146710"/>
                  <a:chOff x="4047519" y="5447640"/>
                  <a:chExt cx="1209" cy="146710"/>
                </a:xfrm>
              </p:grpSpPr>
              <p:sp>
                <p:nvSpPr>
                  <p:cNvPr id="1610" name="Forma livre: Forma 1609">
                    <a:extLst>
                      <a:ext uri="{FF2B5EF4-FFF2-40B4-BE49-F238E27FC236}">
                        <a16:creationId xmlns:a16="http://schemas.microsoft.com/office/drawing/2014/main" id="{0287E616-038E-F984-5B58-80E857F00119}"/>
                      </a:ext>
                    </a:extLst>
                  </p:cNvPr>
                  <p:cNvSpPr/>
                  <p:nvPr/>
                </p:nvSpPr>
                <p:spPr>
                  <a:xfrm>
                    <a:off x="4047519" y="5447640"/>
                    <a:ext cx="1209" cy="19829"/>
                  </a:xfrm>
                  <a:custGeom>
                    <a:avLst/>
                    <a:gdLst>
                      <a:gd name="connsiteX0" fmla="*/ 0 w 1209"/>
                      <a:gd name="connsiteY0" fmla="*/ 19829 h 19829"/>
                      <a:gd name="connsiteX1" fmla="*/ 0 w 1209"/>
                      <a:gd name="connsiteY1" fmla="*/ 0 h 1982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209" h="19829">
                        <a:moveTo>
                          <a:pt x="0" y="19829"/>
                        </a:moveTo>
                        <a:lnTo>
                          <a:pt x="0" y="0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1611" name="Forma livre: Forma 1610">
                    <a:extLst>
                      <a:ext uri="{FF2B5EF4-FFF2-40B4-BE49-F238E27FC236}">
                        <a16:creationId xmlns:a16="http://schemas.microsoft.com/office/drawing/2014/main" id="{DF2D0746-7A2A-B8E1-C277-5860F6D279F5}"/>
                      </a:ext>
                    </a:extLst>
                  </p:cNvPr>
                  <p:cNvSpPr/>
                  <p:nvPr/>
                </p:nvSpPr>
                <p:spPr>
                  <a:xfrm>
                    <a:off x="4047519" y="5574510"/>
                    <a:ext cx="1209" cy="19841"/>
                  </a:xfrm>
                  <a:custGeom>
                    <a:avLst/>
                    <a:gdLst>
                      <a:gd name="connsiteX0" fmla="*/ 0 w 1209"/>
                      <a:gd name="connsiteY0" fmla="*/ 19841 h 19841"/>
                      <a:gd name="connsiteX1" fmla="*/ 0 w 1209"/>
                      <a:gd name="connsiteY1" fmla="*/ 0 h 1984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209" h="19841">
                        <a:moveTo>
                          <a:pt x="0" y="19841"/>
                        </a:moveTo>
                        <a:lnTo>
                          <a:pt x="0" y="0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  <p:grpSp>
              <p:nvGrpSpPr>
                <p:cNvPr id="1612" name="Gráfico 13">
                  <a:extLst>
                    <a:ext uri="{FF2B5EF4-FFF2-40B4-BE49-F238E27FC236}">
                      <a16:creationId xmlns:a16="http://schemas.microsoft.com/office/drawing/2014/main" id="{436A1EB4-D5F1-5562-28A8-3550A3F3755C}"/>
                    </a:ext>
                  </a:extLst>
                </p:cNvPr>
                <p:cNvGrpSpPr/>
                <p:nvPr/>
              </p:nvGrpSpPr>
              <p:grpSpPr>
                <a:xfrm>
                  <a:off x="3974163" y="5520996"/>
                  <a:ext cx="146710" cy="1209"/>
                  <a:chOff x="3974163" y="5520996"/>
                  <a:chExt cx="146710" cy="1209"/>
                </a:xfrm>
              </p:grpSpPr>
              <p:sp>
                <p:nvSpPr>
                  <p:cNvPr id="1613" name="Forma livre: Forma 1612">
                    <a:extLst>
                      <a:ext uri="{FF2B5EF4-FFF2-40B4-BE49-F238E27FC236}">
                        <a16:creationId xmlns:a16="http://schemas.microsoft.com/office/drawing/2014/main" id="{0B15931E-2B12-DBF2-5CAC-24E1BF90DD74}"/>
                      </a:ext>
                    </a:extLst>
                  </p:cNvPr>
                  <p:cNvSpPr/>
                  <p:nvPr/>
                </p:nvSpPr>
                <p:spPr>
                  <a:xfrm>
                    <a:off x="4101045" y="5520996"/>
                    <a:ext cx="19829" cy="1209"/>
                  </a:xfrm>
                  <a:custGeom>
                    <a:avLst/>
                    <a:gdLst>
                      <a:gd name="connsiteX0" fmla="*/ 0 w 19829"/>
                      <a:gd name="connsiteY0" fmla="*/ 0 h 1209"/>
                      <a:gd name="connsiteX1" fmla="*/ 19829 w 19829"/>
                      <a:gd name="connsiteY1" fmla="*/ 0 h 120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9829" h="1209">
                        <a:moveTo>
                          <a:pt x="0" y="0"/>
                        </a:moveTo>
                        <a:lnTo>
                          <a:pt x="19829" y="0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1614" name="Forma livre: Forma 1613">
                    <a:extLst>
                      <a:ext uri="{FF2B5EF4-FFF2-40B4-BE49-F238E27FC236}">
                        <a16:creationId xmlns:a16="http://schemas.microsoft.com/office/drawing/2014/main" id="{C7EAFFF2-64A6-7825-4733-1EC33A0D768F}"/>
                      </a:ext>
                    </a:extLst>
                  </p:cNvPr>
                  <p:cNvSpPr/>
                  <p:nvPr/>
                </p:nvSpPr>
                <p:spPr>
                  <a:xfrm>
                    <a:off x="3974163" y="5520996"/>
                    <a:ext cx="19841" cy="1209"/>
                  </a:xfrm>
                  <a:custGeom>
                    <a:avLst/>
                    <a:gdLst>
                      <a:gd name="connsiteX0" fmla="*/ 0 w 19841"/>
                      <a:gd name="connsiteY0" fmla="*/ 0 h 1209"/>
                      <a:gd name="connsiteX1" fmla="*/ 19841 w 19841"/>
                      <a:gd name="connsiteY1" fmla="*/ 0 h 120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9841" h="1209">
                        <a:moveTo>
                          <a:pt x="0" y="0"/>
                        </a:moveTo>
                        <a:lnTo>
                          <a:pt x="19841" y="0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  <p:grpSp>
              <p:nvGrpSpPr>
                <p:cNvPr id="1615" name="Gráfico 13">
                  <a:extLst>
                    <a:ext uri="{FF2B5EF4-FFF2-40B4-BE49-F238E27FC236}">
                      <a16:creationId xmlns:a16="http://schemas.microsoft.com/office/drawing/2014/main" id="{34750672-C5B9-8990-0564-30616B45D99D}"/>
                    </a:ext>
                  </a:extLst>
                </p:cNvPr>
                <p:cNvGrpSpPr/>
                <p:nvPr/>
              </p:nvGrpSpPr>
              <p:grpSpPr>
                <a:xfrm>
                  <a:off x="3995649" y="5469126"/>
                  <a:ext cx="103739" cy="103739"/>
                  <a:chOff x="3995649" y="5469126"/>
                  <a:chExt cx="103739" cy="103739"/>
                </a:xfrm>
              </p:grpSpPr>
              <p:sp>
                <p:nvSpPr>
                  <p:cNvPr id="1616" name="Forma livre: Forma 1615">
                    <a:extLst>
                      <a:ext uri="{FF2B5EF4-FFF2-40B4-BE49-F238E27FC236}">
                        <a16:creationId xmlns:a16="http://schemas.microsoft.com/office/drawing/2014/main" id="{25D57F28-EA01-421E-61FB-DC6358BEB501}"/>
                      </a:ext>
                    </a:extLst>
                  </p:cNvPr>
                  <p:cNvSpPr/>
                  <p:nvPr/>
                </p:nvSpPr>
                <p:spPr>
                  <a:xfrm>
                    <a:off x="3995649" y="5469126"/>
                    <a:ext cx="14025" cy="14025"/>
                  </a:xfrm>
                  <a:custGeom>
                    <a:avLst/>
                    <a:gdLst>
                      <a:gd name="connsiteX0" fmla="*/ 14025 w 14025"/>
                      <a:gd name="connsiteY0" fmla="*/ 14025 h 14025"/>
                      <a:gd name="connsiteX1" fmla="*/ 0 w 14025"/>
                      <a:gd name="connsiteY1" fmla="*/ 0 h 1402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4025" h="14025">
                        <a:moveTo>
                          <a:pt x="14025" y="14025"/>
                        </a:moveTo>
                        <a:lnTo>
                          <a:pt x="0" y="0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1617" name="Forma livre: Forma 1616">
                    <a:extLst>
                      <a:ext uri="{FF2B5EF4-FFF2-40B4-BE49-F238E27FC236}">
                        <a16:creationId xmlns:a16="http://schemas.microsoft.com/office/drawing/2014/main" id="{8CA1E345-D221-769A-EE76-ECDEF8527391}"/>
                      </a:ext>
                    </a:extLst>
                  </p:cNvPr>
                  <p:cNvSpPr/>
                  <p:nvPr/>
                </p:nvSpPr>
                <p:spPr>
                  <a:xfrm>
                    <a:off x="4085375" y="5558840"/>
                    <a:ext cx="14013" cy="14025"/>
                  </a:xfrm>
                  <a:custGeom>
                    <a:avLst/>
                    <a:gdLst>
                      <a:gd name="connsiteX0" fmla="*/ 14013 w 14013"/>
                      <a:gd name="connsiteY0" fmla="*/ 14025 h 14025"/>
                      <a:gd name="connsiteX1" fmla="*/ 0 w 14013"/>
                      <a:gd name="connsiteY1" fmla="*/ 0 h 1402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4013" h="14025">
                        <a:moveTo>
                          <a:pt x="14013" y="14025"/>
                        </a:moveTo>
                        <a:lnTo>
                          <a:pt x="0" y="0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  <p:grpSp>
              <p:nvGrpSpPr>
                <p:cNvPr id="1618" name="Gráfico 13">
                  <a:extLst>
                    <a:ext uri="{FF2B5EF4-FFF2-40B4-BE49-F238E27FC236}">
                      <a16:creationId xmlns:a16="http://schemas.microsoft.com/office/drawing/2014/main" id="{79A9D3B5-3442-3CFC-39DE-DA2FFDDBB8DD}"/>
                    </a:ext>
                  </a:extLst>
                </p:cNvPr>
                <p:cNvGrpSpPr/>
                <p:nvPr/>
              </p:nvGrpSpPr>
              <p:grpSpPr>
                <a:xfrm>
                  <a:off x="3995649" y="5469126"/>
                  <a:ext cx="103739" cy="103739"/>
                  <a:chOff x="3995649" y="5469126"/>
                  <a:chExt cx="103739" cy="103739"/>
                </a:xfrm>
              </p:grpSpPr>
              <p:sp>
                <p:nvSpPr>
                  <p:cNvPr id="1619" name="Forma livre: Forma 1618">
                    <a:extLst>
                      <a:ext uri="{FF2B5EF4-FFF2-40B4-BE49-F238E27FC236}">
                        <a16:creationId xmlns:a16="http://schemas.microsoft.com/office/drawing/2014/main" id="{939D806B-7D32-4314-16FC-2EDA735619D7}"/>
                      </a:ext>
                    </a:extLst>
                  </p:cNvPr>
                  <p:cNvSpPr/>
                  <p:nvPr/>
                </p:nvSpPr>
                <p:spPr>
                  <a:xfrm>
                    <a:off x="4085363" y="5469126"/>
                    <a:ext cx="14025" cy="14025"/>
                  </a:xfrm>
                  <a:custGeom>
                    <a:avLst/>
                    <a:gdLst>
                      <a:gd name="connsiteX0" fmla="*/ 0 w 14025"/>
                      <a:gd name="connsiteY0" fmla="*/ 14025 h 14025"/>
                      <a:gd name="connsiteX1" fmla="*/ 14025 w 14025"/>
                      <a:gd name="connsiteY1" fmla="*/ 0 h 1402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4025" h="14025">
                        <a:moveTo>
                          <a:pt x="0" y="14025"/>
                        </a:moveTo>
                        <a:lnTo>
                          <a:pt x="14025" y="0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1620" name="Forma livre: Forma 1619">
                    <a:extLst>
                      <a:ext uri="{FF2B5EF4-FFF2-40B4-BE49-F238E27FC236}">
                        <a16:creationId xmlns:a16="http://schemas.microsoft.com/office/drawing/2014/main" id="{227EFE50-30C5-391B-1766-9FF5A148246C}"/>
                      </a:ext>
                    </a:extLst>
                  </p:cNvPr>
                  <p:cNvSpPr/>
                  <p:nvPr/>
                </p:nvSpPr>
                <p:spPr>
                  <a:xfrm>
                    <a:off x="3995649" y="5558840"/>
                    <a:ext cx="14025" cy="14025"/>
                  </a:xfrm>
                  <a:custGeom>
                    <a:avLst/>
                    <a:gdLst>
                      <a:gd name="connsiteX0" fmla="*/ 0 w 14025"/>
                      <a:gd name="connsiteY0" fmla="*/ 14025 h 14025"/>
                      <a:gd name="connsiteX1" fmla="*/ 14025 w 14025"/>
                      <a:gd name="connsiteY1" fmla="*/ 0 h 1402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4025" h="14025">
                        <a:moveTo>
                          <a:pt x="0" y="14025"/>
                        </a:moveTo>
                        <a:lnTo>
                          <a:pt x="14025" y="0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</p:grpSp>
          <p:grpSp>
            <p:nvGrpSpPr>
              <p:cNvPr id="1621" name="Gráfico 13">
                <a:extLst>
                  <a:ext uri="{FF2B5EF4-FFF2-40B4-BE49-F238E27FC236}">
                    <a16:creationId xmlns:a16="http://schemas.microsoft.com/office/drawing/2014/main" id="{818D8FC2-4853-7D78-AA64-2D7F644AF545}"/>
                  </a:ext>
                </a:extLst>
              </p:cNvPr>
              <p:cNvGrpSpPr/>
              <p:nvPr/>
            </p:nvGrpSpPr>
            <p:grpSpPr>
              <a:xfrm>
                <a:off x="4021895" y="5501033"/>
                <a:ext cx="44534" cy="41365"/>
                <a:chOff x="4021895" y="5501033"/>
                <a:chExt cx="44534" cy="41365"/>
              </a:xfrm>
              <a:solidFill>
                <a:srgbClr val="FF8B00"/>
              </a:solidFill>
            </p:grpSpPr>
            <p:grpSp>
              <p:nvGrpSpPr>
                <p:cNvPr id="1622" name="Gráfico 13">
                  <a:extLst>
                    <a:ext uri="{FF2B5EF4-FFF2-40B4-BE49-F238E27FC236}">
                      <a16:creationId xmlns:a16="http://schemas.microsoft.com/office/drawing/2014/main" id="{F0D7A5D8-9C89-6C46-70BA-F8ED0C17E7B0}"/>
                    </a:ext>
                  </a:extLst>
                </p:cNvPr>
                <p:cNvGrpSpPr/>
                <p:nvPr/>
              </p:nvGrpSpPr>
              <p:grpSpPr>
                <a:xfrm>
                  <a:off x="4021895" y="5501033"/>
                  <a:ext cx="44534" cy="16145"/>
                  <a:chOff x="4021895" y="5501033"/>
                  <a:chExt cx="44534" cy="16145"/>
                </a:xfrm>
                <a:solidFill>
                  <a:srgbClr val="FF8B00"/>
                </a:solidFill>
              </p:grpSpPr>
              <p:sp>
                <p:nvSpPr>
                  <p:cNvPr id="1623" name="Forma livre: Forma 1622">
                    <a:extLst>
                      <a:ext uri="{FF2B5EF4-FFF2-40B4-BE49-F238E27FC236}">
                        <a16:creationId xmlns:a16="http://schemas.microsoft.com/office/drawing/2014/main" id="{597356FB-6379-A473-D956-80AE120D3747}"/>
                      </a:ext>
                    </a:extLst>
                  </p:cNvPr>
                  <p:cNvSpPr/>
                  <p:nvPr/>
                </p:nvSpPr>
                <p:spPr>
                  <a:xfrm>
                    <a:off x="4021895" y="5509917"/>
                    <a:ext cx="7246" cy="7260"/>
                  </a:xfrm>
                  <a:custGeom>
                    <a:avLst/>
                    <a:gdLst>
                      <a:gd name="connsiteX0" fmla="*/ 3 w 7246"/>
                      <a:gd name="connsiteY0" fmla="*/ 3292 h 7260"/>
                      <a:gd name="connsiteX1" fmla="*/ 3933 w 7246"/>
                      <a:gd name="connsiteY1" fmla="*/ 15 h 7260"/>
                      <a:gd name="connsiteX2" fmla="*/ 7234 w 7246"/>
                      <a:gd name="connsiteY2" fmla="*/ 3945 h 7260"/>
                      <a:gd name="connsiteX3" fmla="*/ 3292 w 7246"/>
                      <a:gd name="connsiteY3" fmla="*/ 7246 h 7260"/>
                      <a:gd name="connsiteX4" fmla="*/ 15 w 7246"/>
                      <a:gd name="connsiteY4" fmla="*/ 3292 h 726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7246" h="7260">
                        <a:moveTo>
                          <a:pt x="3" y="3292"/>
                        </a:moveTo>
                        <a:cubicBezTo>
                          <a:pt x="172" y="1297"/>
                          <a:pt x="1938" y="-166"/>
                          <a:pt x="3933" y="15"/>
                        </a:cubicBezTo>
                        <a:cubicBezTo>
                          <a:pt x="5916" y="184"/>
                          <a:pt x="7403" y="1962"/>
                          <a:pt x="7234" y="3945"/>
                        </a:cubicBezTo>
                        <a:cubicBezTo>
                          <a:pt x="7040" y="5952"/>
                          <a:pt x="5275" y="7427"/>
                          <a:pt x="3292" y="7246"/>
                        </a:cubicBezTo>
                        <a:cubicBezTo>
                          <a:pt x="1285" y="7064"/>
                          <a:pt x="-166" y="5311"/>
                          <a:pt x="15" y="3292"/>
                        </a:cubicBezTo>
                        <a:close/>
                      </a:path>
                    </a:pathLst>
                  </a:custGeom>
                  <a:solidFill>
                    <a:srgbClr val="FF8B00"/>
                  </a:solidFill>
                  <a:ln w="6350" cap="flat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1624" name="Forma livre: Forma 1623">
                    <a:extLst>
                      <a:ext uri="{FF2B5EF4-FFF2-40B4-BE49-F238E27FC236}">
                        <a16:creationId xmlns:a16="http://schemas.microsoft.com/office/drawing/2014/main" id="{1E8FCB1F-A816-F259-58C6-44FA4FD6D2BD}"/>
                      </a:ext>
                    </a:extLst>
                  </p:cNvPr>
                  <p:cNvSpPr/>
                  <p:nvPr/>
                </p:nvSpPr>
                <p:spPr>
                  <a:xfrm>
                    <a:off x="4059173" y="5501033"/>
                    <a:ext cx="7256" cy="7270"/>
                  </a:xfrm>
                  <a:custGeom>
                    <a:avLst/>
                    <a:gdLst>
                      <a:gd name="connsiteX0" fmla="*/ 13 w 7256"/>
                      <a:gd name="connsiteY0" fmla="*/ 3302 h 7270"/>
                      <a:gd name="connsiteX1" fmla="*/ 3943 w 7256"/>
                      <a:gd name="connsiteY1" fmla="*/ 13 h 7270"/>
                      <a:gd name="connsiteX2" fmla="*/ 7244 w 7256"/>
                      <a:gd name="connsiteY2" fmla="*/ 3955 h 7270"/>
                      <a:gd name="connsiteX3" fmla="*/ 3302 w 7256"/>
                      <a:gd name="connsiteY3" fmla="*/ 7256 h 7270"/>
                      <a:gd name="connsiteX4" fmla="*/ 13 w 7256"/>
                      <a:gd name="connsiteY4" fmla="*/ 3302 h 727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7256" h="7270">
                        <a:moveTo>
                          <a:pt x="13" y="3302"/>
                        </a:moveTo>
                        <a:cubicBezTo>
                          <a:pt x="195" y="1307"/>
                          <a:pt x="1936" y="-156"/>
                          <a:pt x="3943" y="13"/>
                        </a:cubicBezTo>
                        <a:cubicBezTo>
                          <a:pt x="5926" y="195"/>
                          <a:pt x="7413" y="1972"/>
                          <a:pt x="7244" y="3955"/>
                        </a:cubicBezTo>
                        <a:cubicBezTo>
                          <a:pt x="7062" y="5962"/>
                          <a:pt x="5285" y="7437"/>
                          <a:pt x="3302" y="7256"/>
                        </a:cubicBezTo>
                        <a:cubicBezTo>
                          <a:pt x="1307" y="7074"/>
                          <a:pt x="-156" y="5321"/>
                          <a:pt x="13" y="3302"/>
                        </a:cubicBezTo>
                        <a:close/>
                      </a:path>
                    </a:pathLst>
                  </a:custGeom>
                  <a:solidFill>
                    <a:srgbClr val="FF8B00"/>
                  </a:solidFill>
                  <a:ln w="6350" cap="flat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  <p:sp>
              <p:nvSpPr>
                <p:cNvPr id="1625" name="Forma livre: Forma 1624">
                  <a:extLst>
                    <a:ext uri="{FF2B5EF4-FFF2-40B4-BE49-F238E27FC236}">
                      <a16:creationId xmlns:a16="http://schemas.microsoft.com/office/drawing/2014/main" id="{5FCCF7D3-6537-7B29-25BE-09EC2B199CFF}"/>
                    </a:ext>
                  </a:extLst>
                </p:cNvPr>
                <p:cNvSpPr/>
                <p:nvPr/>
              </p:nvSpPr>
              <p:spPr>
                <a:xfrm>
                  <a:off x="4047566" y="5535129"/>
                  <a:ext cx="7256" cy="7269"/>
                </a:xfrm>
                <a:custGeom>
                  <a:avLst/>
                  <a:gdLst>
                    <a:gd name="connsiteX0" fmla="*/ 13 w 7256"/>
                    <a:gd name="connsiteY0" fmla="*/ 3302 h 7269"/>
                    <a:gd name="connsiteX1" fmla="*/ 3943 w 7256"/>
                    <a:gd name="connsiteY1" fmla="*/ 13 h 7269"/>
                    <a:gd name="connsiteX2" fmla="*/ 7244 w 7256"/>
                    <a:gd name="connsiteY2" fmla="*/ 3955 h 7269"/>
                    <a:gd name="connsiteX3" fmla="*/ 3302 w 7256"/>
                    <a:gd name="connsiteY3" fmla="*/ 7256 h 7269"/>
                    <a:gd name="connsiteX4" fmla="*/ 13 w 7256"/>
                    <a:gd name="connsiteY4" fmla="*/ 3302 h 726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7256" h="7269">
                      <a:moveTo>
                        <a:pt x="13" y="3302"/>
                      </a:moveTo>
                      <a:cubicBezTo>
                        <a:pt x="195" y="1307"/>
                        <a:pt x="1936" y="-156"/>
                        <a:pt x="3943" y="13"/>
                      </a:cubicBezTo>
                      <a:cubicBezTo>
                        <a:pt x="5926" y="195"/>
                        <a:pt x="7413" y="1960"/>
                        <a:pt x="7244" y="3955"/>
                      </a:cubicBezTo>
                      <a:cubicBezTo>
                        <a:pt x="7050" y="5962"/>
                        <a:pt x="5285" y="7425"/>
                        <a:pt x="3302" y="7256"/>
                      </a:cubicBezTo>
                      <a:cubicBezTo>
                        <a:pt x="1295" y="7074"/>
                        <a:pt x="-156" y="5309"/>
                        <a:pt x="13" y="3302"/>
                      </a:cubicBezTo>
                      <a:close/>
                    </a:path>
                  </a:pathLst>
                </a:custGeom>
                <a:solidFill>
                  <a:srgbClr val="FF8B00"/>
                </a:solidFill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</p:grpSp>
      <p:grpSp>
        <p:nvGrpSpPr>
          <p:cNvPr id="1626" name="Gráfico 13">
            <a:extLst>
              <a:ext uri="{FF2B5EF4-FFF2-40B4-BE49-F238E27FC236}">
                <a16:creationId xmlns:a16="http://schemas.microsoft.com/office/drawing/2014/main" id="{F47AE9C0-505D-612D-661B-A3B3D0333957}"/>
              </a:ext>
            </a:extLst>
          </p:cNvPr>
          <p:cNvGrpSpPr/>
          <p:nvPr/>
        </p:nvGrpSpPr>
        <p:grpSpPr>
          <a:xfrm>
            <a:off x="3801455" y="5829180"/>
            <a:ext cx="286584" cy="304654"/>
            <a:chOff x="3801455" y="5829180"/>
            <a:chExt cx="286584" cy="304654"/>
          </a:xfrm>
          <a:noFill/>
        </p:grpSpPr>
        <p:sp>
          <p:nvSpPr>
            <p:cNvPr id="1627" name="Forma livre: Forma 1626">
              <a:extLst>
                <a:ext uri="{FF2B5EF4-FFF2-40B4-BE49-F238E27FC236}">
                  <a16:creationId xmlns:a16="http://schemas.microsoft.com/office/drawing/2014/main" id="{73826D9F-25E9-DE42-4274-F71237C5277F}"/>
                </a:ext>
              </a:extLst>
            </p:cNvPr>
            <p:cNvSpPr/>
            <p:nvPr/>
          </p:nvSpPr>
          <p:spPr>
            <a:xfrm>
              <a:off x="3899792" y="5965372"/>
              <a:ext cx="21038" cy="1209"/>
            </a:xfrm>
            <a:custGeom>
              <a:avLst/>
              <a:gdLst>
                <a:gd name="connsiteX0" fmla="*/ 0 w 21038"/>
                <a:gd name="connsiteY0" fmla="*/ 0 h 1209"/>
                <a:gd name="connsiteX1" fmla="*/ 21038 w 21038"/>
                <a:gd name="connsiteY1" fmla="*/ 0 h 12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1038" h="1209">
                  <a:moveTo>
                    <a:pt x="0" y="0"/>
                  </a:moveTo>
                  <a:lnTo>
                    <a:pt x="21038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28" name="Forma livre: Forma 1627">
              <a:extLst>
                <a:ext uri="{FF2B5EF4-FFF2-40B4-BE49-F238E27FC236}">
                  <a16:creationId xmlns:a16="http://schemas.microsoft.com/office/drawing/2014/main" id="{4A69A6F7-7CF3-FE85-960A-E071BA1BCD86}"/>
                </a:ext>
              </a:extLst>
            </p:cNvPr>
            <p:cNvSpPr/>
            <p:nvPr/>
          </p:nvSpPr>
          <p:spPr>
            <a:xfrm>
              <a:off x="3934300" y="5965372"/>
              <a:ext cx="21038" cy="1209"/>
            </a:xfrm>
            <a:custGeom>
              <a:avLst/>
              <a:gdLst>
                <a:gd name="connsiteX0" fmla="*/ 0 w 21038"/>
                <a:gd name="connsiteY0" fmla="*/ 0 h 1209"/>
                <a:gd name="connsiteX1" fmla="*/ 21038 w 21038"/>
                <a:gd name="connsiteY1" fmla="*/ 0 h 12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1038" h="1209">
                  <a:moveTo>
                    <a:pt x="0" y="0"/>
                  </a:moveTo>
                  <a:lnTo>
                    <a:pt x="21038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29" name="Forma livre: Forma 1628">
              <a:extLst>
                <a:ext uri="{FF2B5EF4-FFF2-40B4-BE49-F238E27FC236}">
                  <a16:creationId xmlns:a16="http://schemas.microsoft.com/office/drawing/2014/main" id="{C510EE01-9F2F-BB48-BB29-BF4E3412343A}"/>
                </a:ext>
              </a:extLst>
            </p:cNvPr>
            <p:cNvSpPr/>
            <p:nvPr/>
          </p:nvSpPr>
          <p:spPr>
            <a:xfrm>
              <a:off x="3840620" y="5965372"/>
              <a:ext cx="46791" cy="1209"/>
            </a:xfrm>
            <a:custGeom>
              <a:avLst/>
              <a:gdLst>
                <a:gd name="connsiteX0" fmla="*/ 0 w 46791"/>
                <a:gd name="connsiteY0" fmla="*/ 0 h 1209"/>
                <a:gd name="connsiteX1" fmla="*/ 46792 w 46791"/>
                <a:gd name="connsiteY1" fmla="*/ 0 h 12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6791" h="1209">
                  <a:moveTo>
                    <a:pt x="0" y="0"/>
                  </a:moveTo>
                  <a:lnTo>
                    <a:pt x="46792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30" name="Forma livre: Forma 1629">
              <a:extLst>
                <a:ext uri="{FF2B5EF4-FFF2-40B4-BE49-F238E27FC236}">
                  <a16:creationId xmlns:a16="http://schemas.microsoft.com/office/drawing/2014/main" id="{ED52F01C-F846-5AAE-8F52-F021D3DFDF69}"/>
                </a:ext>
              </a:extLst>
            </p:cNvPr>
            <p:cNvSpPr/>
            <p:nvPr/>
          </p:nvSpPr>
          <p:spPr>
            <a:xfrm>
              <a:off x="3840559" y="5942061"/>
              <a:ext cx="23166" cy="46537"/>
            </a:xfrm>
            <a:custGeom>
              <a:avLst/>
              <a:gdLst>
                <a:gd name="connsiteX0" fmla="*/ 23166 w 23166"/>
                <a:gd name="connsiteY0" fmla="*/ 46538 h 46537"/>
                <a:gd name="connsiteX1" fmla="*/ 0 w 23166"/>
                <a:gd name="connsiteY1" fmla="*/ 23275 h 46537"/>
                <a:gd name="connsiteX2" fmla="*/ 23166 w 23166"/>
                <a:gd name="connsiteY2" fmla="*/ 0 h 465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3166" h="46537">
                  <a:moveTo>
                    <a:pt x="23166" y="46538"/>
                  </a:moveTo>
                  <a:lnTo>
                    <a:pt x="0" y="23275"/>
                  </a:lnTo>
                  <a:lnTo>
                    <a:pt x="23166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31" name="Forma livre: Forma 1630">
              <a:extLst>
                <a:ext uri="{FF2B5EF4-FFF2-40B4-BE49-F238E27FC236}">
                  <a16:creationId xmlns:a16="http://schemas.microsoft.com/office/drawing/2014/main" id="{4DAFAA42-654A-0053-12E8-6290491989E4}"/>
                </a:ext>
              </a:extLst>
            </p:cNvPr>
            <p:cNvSpPr/>
            <p:nvPr/>
          </p:nvSpPr>
          <p:spPr>
            <a:xfrm>
              <a:off x="3827211" y="5829180"/>
              <a:ext cx="53598" cy="53610"/>
            </a:xfrm>
            <a:custGeom>
              <a:avLst/>
              <a:gdLst>
                <a:gd name="connsiteX0" fmla="*/ 53599 w 53598"/>
                <a:gd name="connsiteY0" fmla="*/ 26806 h 53610"/>
                <a:gd name="connsiteX1" fmla="*/ 26806 w 53598"/>
                <a:gd name="connsiteY1" fmla="*/ 53611 h 53610"/>
                <a:gd name="connsiteX2" fmla="*/ 0 w 53598"/>
                <a:gd name="connsiteY2" fmla="*/ 26806 h 53610"/>
                <a:gd name="connsiteX3" fmla="*/ 26806 w 53598"/>
                <a:gd name="connsiteY3" fmla="*/ 0 h 53610"/>
                <a:gd name="connsiteX4" fmla="*/ 53599 w 53598"/>
                <a:gd name="connsiteY4" fmla="*/ 26806 h 536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3598" h="53610">
                  <a:moveTo>
                    <a:pt x="53599" y="26806"/>
                  </a:moveTo>
                  <a:cubicBezTo>
                    <a:pt x="53599" y="41617"/>
                    <a:pt x="41581" y="53611"/>
                    <a:pt x="26806" y="53611"/>
                  </a:cubicBezTo>
                  <a:cubicBezTo>
                    <a:pt x="12030" y="53611"/>
                    <a:pt x="0" y="41617"/>
                    <a:pt x="0" y="26806"/>
                  </a:cubicBezTo>
                  <a:cubicBezTo>
                    <a:pt x="0" y="11994"/>
                    <a:pt x="11994" y="0"/>
                    <a:pt x="26806" y="0"/>
                  </a:cubicBezTo>
                  <a:cubicBezTo>
                    <a:pt x="41617" y="0"/>
                    <a:pt x="53599" y="12006"/>
                    <a:pt x="53599" y="26806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32" name="Forma livre: Forma 1631">
              <a:extLst>
                <a:ext uri="{FF2B5EF4-FFF2-40B4-BE49-F238E27FC236}">
                  <a16:creationId xmlns:a16="http://schemas.microsoft.com/office/drawing/2014/main" id="{282E5A8C-CC11-D32B-F0C5-166C520CEBCF}"/>
                </a:ext>
              </a:extLst>
            </p:cNvPr>
            <p:cNvSpPr/>
            <p:nvPr/>
          </p:nvSpPr>
          <p:spPr>
            <a:xfrm>
              <a:off x="3801455" y="5908170"/>
              <a:ext cx="98301" cy="225664"/>
            </a:xfrm>
            <a:custGeom>
              <a:avLst/>
              <a:gdLst>
                <a:gd name="connsiteX0" fmla="*/ 98301 w 98301"/>
                <a:gd name="connsiteY0" fmla="*/ 31739 h 225664"/>
                <a:gd name="connsiteX1" fmla="*/ 96996 w 98301"/>
                <a:gd name="connsiteY1" fmla="*/ 18826 h 225664"/>
                <a:gd name="connsiteX2" fmla="*/ 76187 w 98301"/>
                <a:gd name="connsiteY2" fmla="*/ 0 h 225664"/>
                <a:gd name="connsiteX3" fmla="*/ 28924 w 98301"/>
                <a:gd name="connsiteY3" fmla="*/ 0 h 225664"/>
                <a:gd name="connsiteX4" fmla="*/ 8116 w 98301"/>
                <a:gd name="connsiteY4" fmla="*/ 18826 h 225664"/>
                <a:gd name="connsiteX5" fmla="*/ 63 w 98301"/>
                <a:gd name="connsiteY5" fmla="*/ 98638 h 225664"/>
                <a:gd name="connsiteX6" fmla="*/ 20642 w 98301"/>
                <a:gd name="connsiteY6" fmla="*/ 120764 h 225664"/>
                <a:gd name="connsiteX7" fmla="*/ 23193 w 98301"/>
                <a:gd name="connsiteY7" fmla="*/ 225664 h 2256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8301" h="225664">
                  <a:moveTo>
                    <a:pt x="98301" y="31739"/>
                  </a:moveTo>
                  <a:lnTo>
                    <a:pt x="96996" y="18826"/>
                  </a:lnTo>
                  <a:cubicBezTo>
                    <a:pt x="95944" y="8476"/>
                    <a:pt x="86585" y="0"/>
                    <a:pt x="76187" y="0"/>
                  </a:cubicBezTo>
                  <a:lnTo>
                    <a:pt x="28924" y="0"/>
                  </a:lnTo>
                  <a:cubicBezTo>
                    <a:pt x="18526" y="0"/>
                    <a:pt x="9167" y="8476"/>
                    <a:pt x="8116" y="18826"/>
                  </a:cubicBezTo>
                  <a:lnTo>
                    <a:pt x="63" y="98638"/>
                  </a:lnTo>
                  <a:cubicBezTo>
                    <a:pt x="-965" y="108987"/>
                    <a:pt x="10788" y="117221"/>
                    <a:pt x="20642" y="120764"/>
                  </a:cubicBezTo>
                  <a:lnTo>
                    <a:pt x="23193" y="225664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33" name="Forma livre: Forma 1632">
              <a:extLst>
                <a:ext uri="{FF2B5EF4-FFF2-40B4-BE49-F238E27FC236}">
                  <a16:creationId xmlns:a16="http://schemas.microsoft.com/office/drawing/2014/main" id="{22746E1C-A496-8710-489A-424961B24064}"/>
                </a:ext>
              </a:extLst>
            </p:cNvPr>
            <p:cNvSpPr/>
            <p:nvPr/>
          </p:nvSpPr>
          <p:spPr>
            <a:xfrm>
              <a:off x="3883361" y="5989880"/>
              <a:ext cx="23183" cy="143954"/>
            </a:xfrm>
            <a:custGeom>
              <a:avLst/>
              <a:gdLst>
                <a:gd name="connsiteX0" fmla="*/ 0 w 23183"/>
                <a:gd name="connsiteY0" fmla="*/ 143954 h 143954"/>
                <a:gd name="connsiteX1" fmla="*/ 2563 w 23183"/>
                <a:gd name="connsiteY1" fmla="*/ 39053 h 143954"/>
                <a:gd name="connsiteX2" fmla="*/ 23118 w 23183"/>
                <a:gd name="connsiteY2" fmla="*/ 16927 h 143954"/>
                <a:gd name="connsiteX3" fmla="*/ 21413 w 23183"/>
                <a:gd name="connsiteY3" fmla="*/ 0 h 1439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183" h="143954">
                  <a:moveTo>
                    <a:pt x="0" y="143954"/>
                  </a:moveTo>
                  <a:lnTo>
                    <a:pt x="2563" y="39053"/>
                  </a:lnTo>
                  <a:cubicBezTo>
                    <a:pt x="12417" y="35511"/>
                    <a:pt x="24170" y="27289"/>
                    <a:pt x="23118" y="16927"/>
                  </a:cubicBezTo>
                  <a:lnTo>
                    <a:pt x="21413" y="0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34" name="Forma livre: Forma 1633">
              <a:extLst>
                <a:ext uri="{FF2B5EF4-FFF2-40B4-BE49-F238E27FC236}">
                  <a16:creationId xmlns:a16="http://schemas.microsoft.com/office/drawing/2014/main" id="{B4F1BC27-AFD0-BA17-03B7-754F7CF71D80}"/>
                </a:ext>
              </a:extLst>
            </p:cNvPr>
            <p:cNvSpPr/>
            <p:nvPr/>
          </p:nvSpPr>
          <p:spPr>
            <a:xfrm>
              <a:off x="3968807" y="5965372"/>
              <a:ext cx="21026" cy="1209"/>
            </a:xfrm>
            <a:custGeom>
              <a:avLst/>
              <a:gdLst>
                <a:gd name="connsiteX0" fmla="*/ 21026 w 21026"/>
                <a:gd name="connsiteY0" fmla="*/ 0 h 1209"/>
                <a:gd name="connsiteX1" fmla="*/ 0 w 21026"/>
                <a:gd name="connsiteY1" fmla="*/ 0 h 12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1026" h="1209">
                  <a:moveTo>
                    <a:pt x="21026" y="0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35" name="Forma livre: Forma 1634">
              <a:extLst>
                <a:ext uri="{FF2B5EF4-FFF2-40B4-BE49-F238E27FC236}">
                  <a16:creationId xmlns:a16="http://schemas.microsoft.com/office/drawing/2014/main" id="{EB047124-9A5F-0096-FD70-983962915D21}"/>
                </a:ext>
              </a:extLst>
            </p:cNvPr>
            <p:cNvSpPr/>
            <p:nvPr/>
          </p:nvSpPr>
          <p:spPr>
            <a:xfrm>
              <a:off x="4002190" y="5965372"/>
              <a:ext cx="46791" cy="1209"/>
            </a:xfrm>
            <a:custGeom>
              <a:avLst/>
              <a:gdLst>
                <a:gd name="connsiteX0" fmla="*/ 46792 w 46791"/>
                <a:gd name="connsiteY0" fmla="*/ 0 h 1209"/>
                <a:gd name="connsiteX1" fmla="*/ 0 w 46791"/>
                <a:gd name="connsiteY1" fmla="*/ 0 h 12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6791" h="1209">
                  <a:moveTo>
                    <a:pt x="46792" y="0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36" name="Forma livre: Forma 1635">
              <a:extLst>
                <a:ext uri="{FF2B5EF4-FFF2-40B4-BE49-F238E27FC236}">
                  <a16:creationId xmlns:a16="http://schemas.microsoft.com/office/drawing/2014/main" id="{3C4CD6A6-5E5F-AD7A-4F1F-C608BCDE7FC9}"/>
                </a:ext>
              </a:extLst>
            </p:cNvPr>
            <p:cNvSpPr/>
            <p:nvPr/>
          </p:nvSpPr>
          <p:spPr>
            <a:xfrm>
              <a:off x="4025876" y="5942061"/>
              <a:ext cx="23154" cy="46537"/>
            </a:xfrm>
            <a:custGeom>
              <a:avLst/>
              <a:gdLst>
                <a:gd name="connsiteX0" fmla="*/ 0 w 23154"/>
                <a:gd name="connsiteY0" fmla="*/ 46538 h 46537"/>
                <a:gd name="connsiteX1" fmla="*/ 23154 w 23154"/>
                <a:gd name="connsiteY1" fmla="*/ 23275 h 46537"/>
                <a:gd name="connsiteX2" fmla="*/ 0 w 23154"/>
                <a:gd name="connsiteY2" fmla="*/ 0 h 465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3154" h="46537">
                  <a:moveTo>
                    <a:pt x="0" y="46538"/>
                  </a:moveTo>
                  <a:lnTo>
                    <a:pt x="23154" y="23275"/>
                  </a:lnTo>
                  <a:lnTo>
                    <a:pt x="0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37" name="Forma livre: Forma 1636">
              <a:extLst>
                <a:ext uri="{FF2B5EF4-FFF2-40B4-BE49-F238E27FC236}">
                  <a16:creationId xmlns:a16="http://schemas.microsoft.com/office/drawing/2014/main" id="{599D2032-B001-5222-8451-AC7BBA9E5DC8}"/>
                </a:ext>
              </a:extLst>
            </p:cNvPr>
            <p:cNvSpPr/>
            <p:nvPr/>
          </p:nvSpPr>
          <p:spPr>
            <a:xfrm>
              <a:off x="3983057" y="5987934"/>
              <a:ext cx="23171" cy="145900"/>
            </a:xfrm>
            <a:custGeom>
              <a:avLst/>
              <a:gdLst>
                <a:gd name="connsiteX0" fmla="*/ 23172 w 23171"/>
                <a:gd name="connsiteY0" fmla="*/ 145901 h 145900"/>
                <a:gd name="connsiteX1" fmla="*/ 20620 w 23171"/>
                <a:gd name="connsiteY1" fmla="*/ 41000 h 145900"/>
                <a:gd name="connsiteX2" fmla="*/ 66 w 23171"/>
                <a:gd name="connsiteY2" fmla="*/ 18874 h 145900"/>
                <a:gd name="connsiteX3" fmla="*/ 1964 w 23171"/>
                <a:gd name="connsiteY3" fmla="*/ 0 h 145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171" h="145900">
                  <a:moveTo>
                    <a:pt x="23172" y="145901"/>
                  </a:moveTo>
                  <a:lnTo>
                    <a:pt x="20620" y="41000"/>
                  </a:lnTo>
                  <a:cubicBezTo>
                    <a:pt x="10766" y="37458"/>
                    <a:pt x="-986" y="29236"/>
                    <a:pt x="66" y="18874"/>
                  </a:cubicBezTo>
                  <a:lnTo>
                    <a:pt x="1964" y="0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38" name="Forma livre: Forma 1637">
              <a:extLst>
                <a:ext uri="{FF2B5EF4-FFF2-40B4-BE49-F238E27FC236}">
                  <a16:creationId xmlns:a16="http://schemas.microsoft.com/office/drawing/2014/main" id="{D8DD436A-4F37-246C-24F1-E95085C75D55}"/>
                </a:ext>
              </a:extLst>
            </p:cNvPr>
            <p:cNvSpPr/>
            <p:nvPr/>
          </p:nvSpPr>
          <p:spPr>
            <a:xfrm>
              <a:off x="4008671" y="5829180"/>
              <a:ext cx="53586" cy="53610"/>
            </a:xfrm>
            <a:custGeom>
              <a:avLst/>
              <a:gdLst>
                <a:gd name="connsiteX0" fmla="*/ 0 w 53586"/>
                <a:gd name="connsiteY0" fmla="*/ 26806 h 53610"/>
                <a:gd name="connsiteX1" fmla="*/ 26793 w 53586"/>
                <a:gd name="connsiteY1" fmla="*/ 53611 h 53610"/>
                <a:gd name="connsiteX2" fmla="*/ 53587 w 53586"/>
                <a:gd name="connsiteY2" fmla="*/ 26806 h 53610"/>
                <a:gd name="connsiteX3" fmla="*/ 26793 w 53586"/>
                <a:gd name="connsiteY3" fmla="*/ 0 h 53610"/>
                <a:gd name="connsiteX4" fmla="*/ 0 w 53586"/>
                <a:gd name="connsiteY4" fmla="*/ 26806 h 536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3586" h="53610">
                  <a:moveTo>
                    <a:pt x="0" y="26806"/>
                  </a:moveTo>
                  <a:cubicBezTo>
                    <a:pt x="0" y="41617"/>
                    <a:pt x="12006" y="53611"/>
                    <a:pt x="26793" y="53611"/>
                  </a:cubicBezTo>
                  <a:cubicBezTo>
                    <a:pt x="41581" y="53611"/>
                    <a:pt x="53587" y="41617"/>
                    <a:pt x="53587" y="26806"/>
                  </a:cubicBezTo>
                  <a:cubicBezTo>
                    <a:pt x="53587" y="11994"/>
                    <a:pt x="41593" y="0"/>
                    <a:pt x="26793" y="0"/>
                  </a:cubicBezTo>
                  <a:cubicBezTo>
                    <a:pt x="11994" y="0"/>
                    <a:pt x="0" y="12006"/>
                    <a:pt x="0" y="26806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39" name="Forma livre: Forma 1638">
              <a:extLst>
                <a:ext uri="{FF2B5EF4-FFF2-40B4-BE49-F238E27FC236}">
                  <a16:creationId xmlns:a16="http://schemas.microsoft.com/office/drawing/2014/main" id="{E15A23E6-5FF7-D406-40CB-D408ADC87A55}"/>
                </a:ext>
              </a:extLst>
            </p:cNvPr>
            <p:cNvSpPr/>
            <p:nvPr/>
          </p:nvSpPr>
          <p:spPr>
            <a:xfrm>
              <a:off x="3989736" y="5908170"/>
              <a:ext cx="98302" cy="225664"/>
            </a:xfrm>
            <a:custGeom>
              <a:avLst/>
              <a:gdLst>
                <a:gd name="connsiteX0" fmla="*/ 0 w 98302"/>
                <a:gd name="connsiteY0" fmla="*/ 31739 h 225664"/>
                <a:gd name="connsiteX1" fmla="*/ 1306 w 98302"/>
                <a:gd name="connsiteY1" fmla="*/ 18826 h 225664"/>
                <a:gd name="connsiteX2" fmla="*/ 22114 w 98302"/>
                <a:gd name="connsiteY2" fmla="*/ 0 h 225664"/>
                <a:gd name="connsiteX3" fmla="*/ 69378 w 98302"/>
                <a:gd name="connsiteY3" fmla="*/ 0 h 225664"/>
                <a:gd name="connsiteX4" fmla="*/ 90186 w 98302"/>
                <a:gd name="connsiteY4" fmla="*/ 18826 h 225664"/>
                <a:gd name="connsiteX5" fmla="*/ 98238 w 98302"/>
                <a:gd name="connsiteY5" fmla="*/ 98638 h 225664"/>
                <a:gd name="connsiteX6" fmla="*/ 77660 w 98302"/>
                <a:gd name="connsiteY6" fmla="*/ 120764 h 225664"/>
                <a:gd name="connsiteX7" fmla="*/ 75121 w 98302"/>
                <a:gd name="connsiteY7" fmla="*/ 225664 h 2256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8302" h="225664">
                  <a:moveTo>
                    <a:pt x="0" y="31739"/>
                  </a:moveTo>
                  <a:lnTo>
                    <a:pt x="1306" y="18826"/>
                  </a:lnTo>
                  <a:cubicBezTo>
                    <a:pt x="2346" y="8476"/>
                    <a:pt x="11716" y="0"/>
                    <a:pt x="22114" y="0"/>
                  </a:cubicBezTo>
                  <a:lnTo>
                    <a:pt x="69378" y="0"/>
                  </a:lnTo>
                  <a:cubicBezTo>
                    <a:pt x="79776" y="0"/>
                    <a:pt x="89134" y="8476"/>
                    <a:pt x="90186" y="18826"/>
                  </a:cubicBezTo>
                  <a:lnTo>
                    <a:pt x="98238" y="98638"/>
                  </a:lnTo>
                  <a:cubicBezTo>
                    <a:pt x="99278" y="108987"/>
                    <a:pt x="87514" y="117221"/>
                    <a:pt x="77660" y="120764"/>
                  </a:cubicBezTo>
                  <a:lnTo>
                    <a:pt x="75121" y="225664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640" name="Gráfico 13">
            <a:extLst>
              <a:ext uri="{FF2B5EF4-FFF2-40B4-BE49-F238E27FC236}">
                <a16:creationId xmlns:a16="http://schemas.microsoft.com/office/drawing/2014/main" id="{722A5A54-1C8F-62A7-74BC-FF49593DE25C}"/>
              </a:ext>
            </a:extLst>
          </p:cNvPr>
          <p:cNvGrpSpPr/>
          <p:nvPr/>
        </p:nvGrpSpPr>
        <p:grpSpPr>
          <a:xfrm>
            <a:off x="3758969" y="3673247"/>
            <a:ext cx="371517" cy="250784"/>
            <a:chOff x="3758969" y="3673247"/>
            <a:chExt cx="371517" cy="250784"/>
          </a:xfrm>
          <a:noFill/>
        </p:grpSpPr>
        <p:sp>
          <p:nvSpPr>
            <p:cNvPr id="1641" name="Forma livre: Forma 1640">
              <a:extLst>
                <a:ext uri="{FF2B5EF4-FFF2-40B4-BE49-F238E27FC236}">
                  <a16:creationId xmlns:a16="http://schemas.microsoft.com/office/drawing/2014/main" id="{D481A2FA-7C92-DA36-A7AD-094DF613D056}"/>
                </a:ext>
              </a:extLst>
            </p:cNvPr>
            <p:cNvSpPr/>
            <p:nvPr/>
          </p:nvSpPr>
          <p:spPr>
            <a:xfrm>
              <a:off x="3845565" y="3839274"/>
              <a:ext cx="198338" cy="30190"/>
            </a:xfrm>
            <a:custGeom>
              <a:avLst/>
              <a:gdLst>
                <a:gd name="connsiteX0" fmla="*/ 0 w 198338"/>
                <a:gd name="connsiteY0" fmla="*/ 302 h 30190"/>
                <a:gd name="connsiteX1" fmla="*/ 98928 w 198338"/>
                <a:gd name="connsiteY1" fmla="*/ 30191 h 30190"/>
                <a:gd name="connsiteX2" fmla="*/ 198339 w 198338"/>
                <a:gd name="connsiteY2" fmla="*/ 0 h 301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98338" h="30190">
                  <a:moveTo>
                    <a:pt x="0" y="302"/>
                  </a:moveTo>
                  <a:cubicBezTo>
                    <a:pt x="22767" y="14727"/>
                    <a:pt x="56972" y="30191"/>
                    <a:pt x="98928" y="30191"/>
                  </a:cubicBezTo>
                  <a:cubicBezTo>
                    <a:pt x="141173" y="30191"/>
                    <a:pt x="175560" y="14509"/>
                    <a:pt x="198339" y="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642" name="Gráfico 13">
              <a:extLst>
                <a:ext uri="{FF2B5EF4-FFF2-40B4-BE49-F238E27FC236}">
                  <a16:creationId xmlns:a16="http://schemas.microsoft.com/office/drawing/2014/main" id="{C8F5B6FA-5316-4908-31AE-F0C27B3AD48A}"/>
                </a:ext>
              </a:extLst>
            </p:cNvPr>
            <p:cNvGrpSpPr/>
            <p:nvPr/>
          </p:nvGrpSpPr>
          <p:grpSpPr>
            <a:xfrm>
              <a:off x="3758969" y="3673247"/>
              <a:ext cx="371517" cy="250784"/>
              <a:chOff x="3758969" y="3673247"/>
              <a:chExt cx="371517" cy="250784"/>
            </a:xfrm>
            <a:noFill/>
          </p:grpSpPr>
          <p:sp>
            <p:nvSpPr>
              <p:cNvPr id="1643" name="Forma livre: Forma 1642">
                <a:extLst>
                  <a:ext uri="{FF2B5EF4-FFF2-40B4-BE49-F238E27FC236}">
                    <a16:creationId xmlns:a16="http://schemas.microsoft.com/office/drawing/2014/main" id="{8AFA9FD7-9381-C080-E62D-CA40053E6781}"/>
                  </a:ext>
                </a:extLst>
              </p:cNvPr>
              <p:cNvSpPr/>
              <p:nvPr/>
            </p:nvSpPr>
            <p:spPr>
              <a:xfrm>
                <a:off x="3758969" y="3673247"/>
                <a:ext cx="62969" cy="151010"/>
              </a:xfrm>
              <a:custGeom>
                <a:avLst/>
                <a:gdLst>
                  <a:gd name="connsiteX0" fmla="*/ 62970 w 62969"/>
                  <a:gd name="connsiteY0" fmla="*/ 60353 h 151010"/>
                  <a:gd name="connsiteX1" fmla="*/ 16686 w 62969"/>
                  <a:gd name="connsiteY1" fmla="*/ 527 h 151010"/>
                  <a:gd name="connsiteX2" fmla="*/ 8307 w 62969"/>
                  <a:gd name="connsiteY2" fmla="*/ 85187 h 151010"/>
                  <a:gd name="connsiteX3" fmla="*/ 35318 w 62969"/>
                  <a:gd name="connsiteY3" fmla="*/ 151010 h 1510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2969" h="151010">
                    <a:moveTo>
                      <a:pt x="62970" y="60353"/>
                    </a:moveTo>
                    <a:cubicBezTo>
                      <a:pt x="51508" y="34333"/>
                      <a:pt x="39562" y="-5011"/>
                      <a:pt x="16686" y="527"/>
                    </a:cubicBezTo>
                    <a:cubicBezTo>
                      <a:pt x="-6190" y="6065"/>
                      <a:pt x="-2007" y="41999"/>
                      <a:pt x="8307" y="85187"/>
                    </a:cubicBezTo>
                    <a:cubicBezTo>
                      <a:pt x="14244" y="110070"/>
                      <a:pt x="24932" y="133406"/>
                      <a:pt x="35318" y="151010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1644" name="Gráfico 13">
                <a:extLst>
                  <a:ext uri="{FF2B5EF4-FFF2-40B4-BE49-F238E27FC236}">
                    <a16:creationId xmlns:a16="http://schemas.microsoft.com/office/drawing/2014/main" id="{90C73829-CE2C-FEA4-AE4F-9692FB76D7E5}"/>
                  </a:ext>
                </a:extLst>
              </p:cNvPr>
              <p:cNvGrpSpPr/>
              <p:nvPr/>
            </p:nvGrpSpPr>
            <p:grpSpPr>
              <a:xfrm>
                <a:off x="3814733" y="3673247"/>
                <a:ext cx="315753" cy="250784"/>
                <a:chOff x="3814733" y="3673247"/>
                <a:chExt cx="315753" cy="250784"/>
              </a:xfrm>
              <a:noFill/>
            </p:grpSpPr>
            <p:sp>
              <p:nvSpPr>
                <p:cNvPr id="1645" name="Forma livre: Forma 1644">
                  <a:extLst>
                    <a:ext uri="{FF2B5EF4-FFF2-40B4-BE49-F238E27FC236}">
                      <a16:creationId xmlns:a16="http://schemas.microsoft.com/office/drawing/2014/main" id="{4116946D-16A0-3485-F4AD-0C1E734F82F4}"/>
                    </a:ext>
                  </a:extLst>
                </p:cNvPr>
                <p:cNvSpPr/>
                <p:nvPr/>
              </p:nvSpPr>
              <p:spPr>
                <a:xfrm>
                  <a:off x="4067517" y="3673247"/>
                  <a:ext cx="62969" cy="151010"/>
                </a:xfrm>
                <a:custGeom>
                  <a:avLst/>
                  <a:gdLst>
                    <a:gd name="connsiteX0" fmla="*/ 0 w 62969"/>
                    <a:gd name="connsiteY0" fmla="*/ 60353 h 151010"/>
                    <a:gd name="connsiteX1" fmla="*/ 46284 w 62969"/>
                    <a:gd name="connsiteY1" fmla="*/ 527 h 151010"/>
                    <a:gd name="connsiteX2" fmla="*/ 54663 w 62969"/>
                    <a:gd name="connsiteY2" fmla="*/ 85187 h 151010"/>
                    <a:gd name="connsiteX3" fmla="*/ 27640 w 62969"/>
                    <a:gd name="connsiteY3" fmla="*/ 151010 h 15101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62969" h="151010">
                      <a:moveTo>
                        <a:pt x="0" y="60353"/>
                      </a:moveTo>
                      <a:cubicBezTo>
                        <a:pt x="11462" y="34333"/>
                        <a:pt x="23408" y="-5011"/>
                        <a:pt x="46284" y="527"/>
                      </a:cubicBezTo>
                      <a:cubicBezTo>
                        <a:pt x="69160" y="6065"/>
                        <a:pt x="64976" y="41999"/>
                        <a:pt x="54663" y="85187"/>
                      </a:cubicBezTo>
                      <a:cubicBezTo>
                        <a:pt x="48726" y="110070"/>
                        <a:pt x="38038" y="133406"/>
                        <a:pt x="27640" y="151010"/>
                      </a:cubicBez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646" name="Forma livre: Forma 1645">
                  <a:extLst>
                    <a:ext uri="{FF2B5EF4-FFF2-40B4-BE49-F238E27FC236}">
                      <a16:creationId xmlns:a16="http://schemas.microsoft.com/office/drawing/2014/main" id="{546232DA-80B9-8A22-98F3-CBDCD171A168}"/>
                    </a:ext>
                  </a:extLst>
                </p:cNvPr>
                <p:cNvSpPr/>
                <p:nvPr/>
              </p:nvSpPr>
              <p:spPr>
                <a:xfrm>
                  <a:off x="3814733" y="3681730"/>
                  <a:ext cx="259954" cy="242301"/>
                </a:xfrm>
                <a:custGeom>
                  <a:avLst/>
                  <a:gdLst>
                    <a:gd name="connsiteX0" fmla="*/ 252845 w 259954"/>
                    <a:gd name="connsiteY0" fmla="*/ 53200 h 242301"/>
                    <a:gd name="connsiteX1" fmla="*/ 167930 w 259954"/>
                    <a:gd name="connsiteY1" fmla="*/ 11934 h 242301"/>
                    <a:gd name="connsiteX2" fmla="*/ 129989 w 259954"/>
                    <a:gd name="connsiteY2" fmla="*/ 0 h 242301"/>
                    <a:gd name="connsiteX3" fmla="*/ 92048 w 259954"/>
                    <a:gd name="connsiteY3" fmla="*/ 11934 h 242301"/>
                    <a:gd name="connsiteX4" fmla="*/ 7134 w 259954"/>
                    <a:gd name="connsiteY4" fmla="*/ 53200 h 242301"/>
                    <a:gd name="connsiteX5" fmla="*/ 0 w 259954"/>
                    <a:gd name="connsiteY5" fmla="*/ 170482 h 242301"/>
                    <a:gd name="connsiteX6" fmla="*/ 129977 w 259954"/>
                    <a:gd name="connsiteY6" fmla="*/ 242301 h 242301"/>
                    <a:gd name="connsiteX7" fmla="*/ 259954 w 259954"/>
                    <a:gd name="connsiteY7" fmla="*/ 170482 h 242301"/>
                    <a:gd name="connsiteX8" fmla="*/ 252820 w 259954"/>
                    <a:gd name="connsiteY8" fmla="*/ 53200 h 24230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259954" h="242301">
                      <a:moveTo>
                        <a:pt x="252845" y="53200"/>
                      </a:moveTo>
                      <a:cubicBezTo>
                        <a:pt x="233257" y="49573"/>
                        <a:pt x="177724" y="18620"/>
                        <a:pt x="167930" y="11934"/>
                      </a:cubicBezTo>
                      <a:cubicBezTo>
                        <a:pt x="158137" y="5247"/>
                        <a:pt x="148948" y="0"/>
                        <a:pt x="129989" y="0"/>
                      </a:cubicBezTo>
                      <a:cubicBezTo>
                        <a:pt x="111031" y="0"/>
                        <a:pt x="101841" y="5247"/>
                        <a:pt x="92048" y="11934"/>
                      </a:cubicBezTo>
                      <a:cubicBezTo>
                        <a:pt x="82254" y="18620"/>
                        <a:pt x="26733" y="49573"/>
                        <a:pt x="7134" y="53200"/>
                      </a:cubicBezTo>
                      <a:cubicBezTo>
                        <a:pt x="7134" y="53200"/>
                        <a:pt x="13300" y="141463"/>
                        <a:pt x="0" y="170482"/>
                      </a:cubicBezTo>
                      <a:cubicBezTo>
                        <a:pt x="0" y="170482"/>
                        <a:pt x="51398" y="242301"/>
                        <a:pt x="129977" y="242301"/>
                      </a:cubicBezTo>
                      <a:cubicBezTo>
                        <a:pt x="208556" y="242301"/>
                        <a:pt x="259954" y="170482"/>
                        <a:pt x="259954" y="170482"/>
                      </a:cubicBezTo>
                      <a:cubicBezTo>
                        <a:pt x="246654" y="141463"/>
                        <a:pt x="252820" y="53200"/>
                        <a:pt x="252820" y="53200"/>
                      </a:cubicBezTo>
                      <a:close/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sp>
          <p:nvSpPr>
            <p:cNvPr id="1647" name="Forma livre: Forma 1646">
              <a:extLst>
                <a:ext uri="{FF2B5EF4-FFF2-40B4-BE49-F238E27FC236}">
                  <a16:creationId xmlns:a16="http://schemas.microsoft.com/office/drawing/2014/main" id="{037B6F0B-16B2-C88D-C8E7-24DD5E480DEB}"/>
                </a:ext>
              </a:extLst>
            </p:cNvPr>
            <p:cNvSpPr/>
            <p:nvPr/>
          </p:nvSpPr>
          <p:spPr>
            <a:xfrm>
              <a:off x="3850425" y="3790004"/>
              <a:ext cx="188617" cy="14762"/>
            </a:xfrm>
            <a:custGeom>
              <a:avLst/>
              <a:gdLst>
                <a:gd name="connsiteX0" fmla="*/ 188618 w 188617"/>
                <a:gd name="connsiteY0" fmla="*/ 14763 h 14762"/>
                <a:gd name="connsiteX1" fmla="*/ 147509 w 188617"/>
                <a:gd name="connsiteY1" fmla="*/ 8742 h 14762"/>
                <a:gd name="connsiteX2" fmla="*/ 94309 w 188617"/>
                <a:gd name="connsiteY2" fmla="*/ 0 h 14762"/>
                <a:gd name="connsiteX3" fmla="*/ 41109 w 188617"/>
                <a:gd name="connsiteY3" fmla="*/ 8742 h 14762"/>
                <a:gd name="connsiteX4" fmla="*/ 0 w 188617"/>
                <a:gd name="connsiteY4" fmla="*/ 14763 h 147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8617" h="14762">
                  <a:moveTo>
                    <a:pt x="188618" y="14763"/>
                  </a:moveTo>
                  <a:cubicBezTo>
                    <a:pt x="174109" y="14364"/>
                    <a:pt x="161220" y="11607"/>
                    <a:pt x="147509" y="8742"/>
                  </a:cubicBezTo>
                  <a:cubicBezTo>
                    <a:pt x="110027" y="919"/>
                    <a:pt x="104586" y="0"/>
                    <a:pt x="94309" y="0"/>
                  </a:cubicBezTo>
                  <a:cubicBezTo>
                    <a:pt x="84032" y="0"/>
                    <a:pt x="78591" y="919"/>
                    <a:pt x="41109" y="8742"/>
                  </a:cubicBezTo>
                  <a:cubicBezTo>
                    <a:pt x="27398" y="11607"/>
                    <a:pt x="14509" y="14364"/>
                    <a:pt x="0" y="14763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48" name="Forma livre: Forma 1647">
              <a:extLst>
                <a:ext uri="{FF2B5EF4-FFF2-40B4-BE49-F238E27FC236}">
                  <a16:creationId xmlns:a16="http://schemas.microsoft.com/office/drawing/2014/main" id="{98DA7017-E5D8-68EA-2076-F9F4C1E4BA34}"/>
                </a:ext>
              </a:extLst>
            </p:cNvPr>
            <p:cNvSpPr/>
            <p:nvPr/>
          </p:nvSpPr>
          <p:spPr>
            <a:xfrm>
              <a:off x="3848805" y="3733636"/>
              <a:ext cx="191846" cy="34410"/>
            </a:xfrm>
            <a:custGeom>
              <a:avLst/>
              <a:gdLst>
                <a:gd name="connsiteX0" fmla="*/ 191846 w 191846"/>
                <a:gd name="connsiteY0" fmla="*/ 33951 h 34410"/>
                <a:gd name="connsiteX1" fmla="*/ 125189 w 191846"/>
                <a:gd name="connsiteY1" fmla="*/ 6420 h 34410"/>
                <a:gd name="connsiteX2" fmla="*/ 96643 w 191846"/>
                <a:gd name="connsiteY2" fmla="*/ 0 h 34410"/>
                <a:gd name="connsiteX3" fmla="*/ 68096 w 191846"/>
                <a:gd name="connsiteY3" fmla="*/ 6420 h 34410"/>
                <a:gd name="connsiteX4" fmla="*/ 0 w 191846"/>
                <a:gd name="connsiteY4" fmla="*/ 34411 h 344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1846" h="34410">
                  <a:moveTo>
                    <a:pt x="191846" y="33951"/>
                  </a:moveTo>
                  <a:cubicBezTo>
                    <a:pt x="165125" y="25294"/>
                    <a:pt x="132117" y="9987"/>
                    <a:pt x="125189" y="6420"/>
                  </a:cubicBezTo>
                  <a:cubicBezTo>
                    <a:pt x="115395" y="1390"/>
                    <a:pt x="110075" y="0"/>
                    <a:pt x="96643" y="0"/>
                  </a:cubicBezTo>
                  <a:cubicBezTo>
                    <a:pt x="83210" y="0"/>
                    <a:pt x="77890" y="1403"/>
                    <a:pt x="68096" y="6420"/>
                  </a:cubicBezTo>
                  <a:cubicBezTo>
                    <a:pt x="61047" y="10048"/>
                    <a:pt x="26963" y="25850"/>
                    <a:pt x="0" y="34411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649" name="Gráfico 13">
            <a:extLst>
              <a:ext uri="{FF2B5EF4-FFF2-40B4-BE49-F238E27FC236}">
                <a16:creationId xmlns:a16="http://schemas.microsoft.com/office/drawing/2014/main" id="{A9F82CC6-A231-F7BC-9F07-E3944EB4C6FD}"/>
              </a:ext>
            </a:extLst>
          </p:cNvPr>
          <p:cNvGrpSpPr/>
          <p:nvPr/>
        </p:nvGrpSpPr>
        <p:grpSpPr>
          <a:xfrm>
            <a:off x="3822423" y="4160626"/>
            <a:ext cx="244634" cy="367454"/>
            <a:chOff x="3822423" y="4160626"/>
            <a:chExt cx="244634" cy="367454"/>
          </a:xfrm>
          <a:noFill/>
        </p:grpSpPr>
        <p:grpSp>
          <p:nvGrpSpPr>
            <p:cNvPr id="1650" name="Gráfico 13">
              <a:extLst>
                <a:ext uri="{FF2B5EF4-FFF2-40B4-BE49-F238E27FC236}">
                  <a16:creationId xmlns:a16="http://schemas.microsoft.com/office/drawing/2014/main" id="{E09241AA-1D1A-38B4-AC1D-1E60CCBA515F}"/>
                </a:ext>
              </a:extLst>
            </p:cNvPr>
            <p:cNvGrpSpPr/>
            <p:nvPr/>
          </p:nvGrpSpPr>
          <p:grpSpPr>
            <a:xfrm>
              <a:off x="3969267" y="4349111"/>
              <a:ext cx="97791" cy="178969"/>
              <a:chOff x="3969267" y="4349111"/>
              <a:chExt cx="97791" cy="178969"/>
            </a:xfrm>
            <a:noFill/>
          </p:grpSpPr>
          <p:grpSp>
            <p:nvGrpSpPr>
              <p:cNvPr id="1651" name="Gráfico 13">
                <a:extLst>
                  <a:ext uri="{FF2B5EF4-FFF2-40B4-BE49-F238E27FC236}">
                    <a16:creationId xmlns:a16="http://schemas.microsoft.com/office/drawing/2014/main" id="{1D146804-6BA3-F0FE-6504-17A5DC230BFB}"/>
                  </a:ext>
                </a:extLst>
              </p:cNvPr>
              <p:cNvGrpSpPr/>
              <p:nvPr/>
            </p:nvGrpSpPr>
            <p:grpSpPr>
              <a:xfrm>
                <a:off x="3969267" y="4377512"/>
                <a:ext cx="97791" cy="150567"/>
                <a:chOff x="3969267" y="4377512"/>
                <a:chExt cx="97791" cy="150567"/>
              </a:xfrm>
              <a:noFill/>
            </p:grpSpPr>
            <p:sp>
              <p:nvSpPr>
                <p:cNvPr id="1652" name="Forma livre: Forma 1651">
                  <a:extLst>
                    <a:ext uri="{FF2B5EF4-FFF2-40B4-BE49-F238E27FC236}">
                      <a16:creationId xmlns:a16="http://schemas.microsoft.com/office/drawing/2014/main" id="{59D92FEB-FA6C-7C40-306D-F98079CFF1B4}"/>
                    </a:ext>
                  </a:extLst>
                </p:cNvPr>
                <p:cNvSpPr/>
                <p:nvPr/>
              </p:nvSpPr>
              <p:spPr>
                <a:xfrm>
                  <a:off x="3970572" y="4439369"/>
                  <a:ext cx="65520" cy="62122"/>
                </a:xfrm>
                <a:custGeom>
                  <a:avLst/>
                  <a:gdLst>
                    <a:gd name="connsiteX0" fmla="*/ 0 w 65520"/>
                    <a:gd name="connsiteY0" fmla="*/ 0 h 62122"/>
                    <a:gd name="connsiteX1" fmla="*/ 65521 w 65520"/>
                    <a:gd name="connsiteY1" fmla="*/ 0 h 62122"/>
                    <a:gd name="connsiteX2" fmla="*/ 65521 w 65520"/>
                    <a:gd name="connsiteY2" fmla="*/ 62123 h 62122"/>
                    <a:gd name="connsiteX3" fmla="*/ 0 w 65520"/>
                    <a:gd name="connsiteY3" fmla="*/ 62123 h 621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65520" h="62122">
                      <a:moveTo>
                        <a:pt x="0" y="0"/>
                      </a:moveTo>
                      <a:lnTo>
                        <a:pt x="65521" y="0"/>
                      </a:lnTo>
                      <a:lnTo>
                        <a:pt x="65521" y="62123"/>
                      </a:lnTo>
                      <a:lnTo>
                        <a:pt x="0" y="62123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653" name="Forma livre: Forma 1652">
                  <a:extLst>
                    <a:ext uri="{FF2B5EF4-FFF2-40B4-BE49-F238E27FC236}">
                      <a16:creationId xmlns:a16="http://schemas.microsoft.com/office/drawing/2014/main" id="{9BE44ED0-92A0-1B99-A287-CDFC2BF77260}"/>
                    </a:ext>
                  </a:extLst>
                </p:cNvPr>
                <p:cNvSpPr/>
                <p:nvPr/>
              </p:nvSpPr>
              <p:spPr>
                <a:xfrm>
                  <a:off x="3986557" y="4470419"/>
                  <a:ext cx="31520" cy="1209"/>
                </a:xfrm>
                <a:custGeom>
                  <a:avLst/>
                  <a:gdLst>
                    <a:gd name="connsiteX0" fmla="*/ 0 w 31520"/>
                    <a:gd name="connsiteY0" fmla="*/ 0 h 1209"/>
                    <a:gd name="connsiteX1" fmla="*/ 31521 w 31520"/>
                    <a:gd name="connsiteY1" fmla="*/ 0 h 120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31520" h="1209">
                      <a:moveTo>
                        <a:pt x="0" y="0"/>
                      </a:moveTo>
                      <a:lnTo>
                        <a:pt x="31521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654" name="Forma livre: Forma 1653">
                  <a:extLst>
                    <a:ext uri="{FF2B5EF4-FFF2-40B4-BE49-F238E27FC236}">
                      <a16:creationId xmlns:a16="http://schemas.microsoft.com/office/drawing/2014/main" id="{F9260729-B0A2-EF6B-AF36-87CCDD98D03A}"/>
                    </a:ext>
                  </a:extLst>
                </p:cNvPr>
                <p:cNvSpPr/>
                <p:nvPr/>
              </p:nvSpPr>
              <p:spPr>
                <a:xfrm>
                  <a:off x="3969267" y="4377512"/>
                  <a:ext cx="97791" cy="150567"/>
                </a:xfrm>
                <a:custGeom>
                  <a:avLst/>
                  <a:gdLst>
                    <a:gd name="connsiteX0" fmla="*/ 78010 w 97791"/>
                    <a:gd name="connsiteY0" fmla="*/ 0 h 150567"/>
                    <a:gd name="connsiteX1" fmla="*/ 78010 w 97791"/>
                    <a:gd name="connsiteY1" fmla="*/ 29586 h 150567"/>
                    <a:gd name="connsiteX2" fmla="*/ 97791 w 97791"/>
                    <a:gd name="connsiteY2" fmla="*/ 47977 h 150567"/>
                    <a:gd name="connsiteX3" fmla="*/ 97791 w 97791"/>
                    <a:gd name="connsiteY3" fmla="*/ 143422 h 150567"/>
                    <a:gd name="connsiteX4" fmla="*/ 90645 w 97791"/>
                    <a:gd name="connsiteY4" fmla="*/ 150568 h 150567"/>
                    <a:gd name="connsiteX5" fmla="*/ 7146 w 97791"/>
                    <a:gd name="connsiteY5" fmla="*/ 150568 h 150567"/>
                    <a:gd name="connsiteX6" fmla="*/ 0 w 97791"/>
                    <a:gd name="connsiteY6" fmla="*/ 143422 h 150567"/>
                    <a:gd name="connsiteX7" fmla="*/ 0 w 97791"/>
                    <a:gd name="connsiteY7" fmla="*/ 47977 h 150567"/>
                    <a:gd name="connsiteX8" fmla="*/ 19781 w 97791"/>
                    <a:gd name="connsiteY8" fmla="*/ 29586 h 150567"/>
                    <a:gd name="connsiteX9" fmla="*/ 19781 w 97791"/>
                    <a:gd name="connsiteY9" fmla="*/ 17169 h 15056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97791" h="150567">
                      <a:moveTo>
                        <a:pt x="78010" y="0"/>
                      </a:moveTo>
                      <a:lnTo>
                        <a:pt x="78010" y="29586"/>
                      </a:lnTo>
                      <a:cubicBezTo>
                        <a:pt x="78010" y="29586"/>
                        <a:pt x="97791" y="36708"/>
                        <a:pt x="97791" y="47977"/>
                      </a:cubicBezTo>
                      <a:lnTo>
                        <a:pt x="97791" y="143422"/>
                      </a:lnTo>
                      <a:cubicBezTo>
                        <a:pt x="97791" y="147352"/>
                        <a:pt x="94575" y="150568"/>
                        <a:pt x="90645" y="150568"/>
                      </a:cubicBezTo>
                      <a:lnTo>
                        <a:pt x="7146" y="150568"/>
                      </a:lnTo>
                      <a:cubicBezTo>
                        <a:pt x="3216" y="150568"/>
                        <a:pt x="0" y="147352"/>
                        <a:pt x="0" y="143422"/>
                      </a:cubicBezTo>
                      <a:lnTo>
                        <a:pt x="0" y="47977"/>
                      </a:lnTo>
                      <a:cubicBezTo>
                        <a:pt x="0" y="36708"/>
                        <a:pt x="19781" y="29586"/>
                        <a:pt x="19781" y="29586"/>
                      </a:cubicBezTo>
                      <a:lnTo>
                        <a:pt x="19781" y="17169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1655" name="Forma livre: Forma 1654">
                <a:extLst>
                  <a:ext uri="{FF2B5EF4-FFF2-40B4-BE49-F238E27FC236}">
                    <a16:creationId xmlns:a16="http://schemas.microsoft.com/office/drawing/2014/main" id="{DA2FC58D-A655-6212-3648-BE4AD33E140D}"/>
                  </a:ext>
                </a:extLst>
              </p:cNvPr>
              <p:cNvSpPr/>
              <p:nvPr/>
            </p:nvSpPr>
            <p:spPr>
              <a:xfrm>
                <a:off x="3981007" y="4349111"/>
                <a:ext cx="74310" cy="26563"/>
              </a:xfrm>
              <a:custGeom>
                <a:avLst/>
                <a:gdLst>
                  <a:gd name="connsiteX0" fmla="*/ 15114 w 74310"/>
                  <a:gd name="connsiteY0" fmla="*/ 26564 h 26563"/>
                  <a:gd name="connsiteX1" fmla="*/ 0 w 74310"/>
                  <a:gd name="connsiteY1" fmla="*/ 26564 h 26563"/>
                  <a:gd name="connsiteX2" fmla="*/ 0 w 74310"/>
                  <a:gd name="connsiteY2" fmla="*/ 9286 h 26563"/>
                  <a:gd name="connsiteX3" fmla="*/ 9286 w 74310"/>
                  <a:gd name="connsiteY3" fmla="*/ 0 h 26563"/>
                  <a:gd name="connsiteX4" fmla="*/ 65025 w 74310"/>
                  <a:gd name="connsiteY4" fmla="*/ 0 h 26563"/>
                  <a:gd name="connsiteX5" fmla="*/ 74311 w 74310"/>
                  <a:gd name="connsiteY5" fmla="*/ 9286 h 26563"/>
                  <a:gd name="connsiteX6" fmla="*/ 74311 w 74310"/>
                  <a:gd name="connsiteY6" fmla="*/ 26564 h 26563"/>
                  <a:gd name="connsiteX7" fmla="*/ 38485 w 74310"/>
                  <a:gd name="connsiteY7" fmla="*/ 26564 h 265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4310" h="26563">
                    <a:moveTo>
                      <a:pt x="15114" y="26564"/>
                    </a:moveTo>
                    <a:lnTo>
                      <a:pt x="0" y="26564"/>
                    </a:lnTo>
                    <a:lnTo>
                      <a:pt x="0" y="9286"/>
                    </a:lnTo>
                    <a:cubicBezTo>
                      <a:pt x="0" y="4183"/>
                      <a:pt x="4171" y="0"/>
                      <a:pt x="9286" y="0"/>
                    </a:cubicBezTo>
                    <a:lnTo>
                      <a:pt x="65025" y="0"/>
                    </a:lnTo>
                    <a:cubicBezTo>
                      <a:pt x="70139" y="0"/>
                      <a:pt x="74311" y="4183"/>
                      <a:pt x="74311" y="9286"/>
                    </a:cubicBezTo>
                    <a:lnTo>
                      <a:pt x="74311" y="26564"/>
                    </a:lnTo>
                    <a:lnTo>
                      <a:pt x="38485" y="26564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656" name="Gráfico 13">
              <a:extLst>
                <a:ext uri="{FF2B5EF4-FFF2-40B4-BE49-F238E27FC236}">
                  <a16:creationId xmlns:a16="http://schemas.microsoft.com/office/drawing/2014/main" id="{313F3BD5-7ED7-B6BC-4AA2-04BD435E8A5A}"/>
                </a:ext>
              </a:extLst>
            </p:cNvPr>
            <p:cNvGrpSpPr/>
            <p:nvPr/>
          </p:nvGrpSpPr>
          <p:grpSpPr>
            <a:xfrm>
              <a:off x="3822423" y="4160626"/>
              <a:ext cx="107137" cy="367454"/>
              <a:chOff x="3822423" y="4160626"/>
              <a:chExt cx="107137" cy="367454"/>
            </a:xfrm>
            <a:noFill/>
          </p:grpSpPr>
          <p:sp>
            <p:nvSpPr>
              <p:cNvPr id="1657" name="Forma livre: Forma 1656">
                <a:extLst>
                  <a:ext uri="{FF2B5EF4-FFF2-40B4-BE49-F238E27FC236}">
                    <a16:creationId xmlns:a16="http://schemas.microsoft.com/office/drawing/2014/main" id="{F81BDCFC-0C6B-0D34-B99D-2A3979B95831}"/>
                  </a:ext>
                </a:extLst>
              </p:cNvPr>
              <p:cNvSpPr/>
              <p:nvPr/>
            </p:nvSpPr>
            <p:spPr>
              <a:xfrm>
                <a:off x="3837101" y="4527995"/>
                <a:ext cx="77768" cy="1209"/>
              </a:xfrm>
              <a:custGeom>
                <a:avLst/>
                <a:gdLst>
                  <a:gd name="connsiteX0" fmla="*/ 77769 w 77768"/>
                  <a:gd name="connsiteY0" fmla="*/ 0 h 1209"/>
                  <a:gd name="connsiteX1" fmla="*/ 0 w 77768"/>
                  <a:gd name="connsiteY1" fmla="*/ 0 h 12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77768" h="1209">
                    <a:moveTo>
                      <a:pt x="77769" y="0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1658" name="Gráfico 13">
                <a:extLst>
                  <a:ext uri="{FF2B5EF4-FFF2-40B4-BE49-F238E27FC236}">
                    <a16:creationId xmlns:a16="http://schemas.microsoft.com/office/drawing/2014/main" id="{EB46B47C-A9CE-345E-09CE-1ED4EA1C5E13}"/>
                  </a:ext>
                </a:extLst>
              </p:cNvPr>
              <p:cNvGrpSpPr/>
              <p:nvPr/>
            </p:nvGrpSpPr>
            <p:grpSpPr>
              <a:xfrm>
                <a:off x="3842699" y="4282949"/>
                <a:ext cx="66584" cy="168812"/>
                <a:chOff x="3842699" y="4282949"/>
                <a:chExt cx="66584" cy="168812"/>
              </a:xfrm>
              <a:noFill/>
            </p:grpSpPr>
            <p:sp>
              <p:nvSpPr>
                <p:cNvPr id="1659" name="Forma livre: Forma 1658">
                  <a:extLst>
                    <a:ext uri="{FF2B5EF4-FFF2-40B4-BE49-F238E27FC236}">
                      <a16:creationId xmlns:a16="http://schemas.microsoft.com/office/drawing/2014/main" id="{E07F9C5D-63DA-8A25-8A4D-B2EE4DF21CF6}"/>
                    </a:ext>
                  </a:extLst>
                </p:cNvPr>
                <p:cNvSpPr/>
                <p:nvPr/>
              </p:nvSpPr>
              <p:spPr>
                <a:xfrm>
                  <a:off x="3842699" y="4282949"/>
                  <a:ext cx="66584" cy="168812"/>
                </a:xfrm>
                <a:custGeom>
                  <a:avLst/>
                  <a:gdLst>
                    <a:gd name="connsiteX0" fmla="*/ 0 w 66584"/>
                    <a:gd name="connsiteY0" fmla="*/ 168813 h 168812"/>
                    <a:gd name="connsiteX1" fmla="*/ 0 w 66584"/>
                    <a:gd name="connsiteY1" fmla="*/ 0 h 168812"/>
                    <a:gd name="connsiteX2" fmla="*/ 66572 w 66584"/>
                    <a:gd name="connsiteY2" fmla="*/ 0 h 168812"/>
                    <a:gd name="connsiteX3" fmla="*/ 66585 w 66584"/>
                    <a:gd name="connsiteY3" fmla="*/ 168813 h 16881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66584" h="168812">
                      <a:moveTo>
                        <a:pt x="0" y="168813"/>
                      </a:moveTo>
                      <a:lnTo>
                        <a:pt x="0" y="0"/>
                      </a:lnTo>
                      <a:lnTo>
                        <a:pt x="66572" y="0"/>
                      </a:lnTo>
                      <a:lnTo>
                        <a:pt x="66585" y="168813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660" name="Forma livre: Forma 1659">
                  <a:extLst>
                    <a:ext uri="{FF2B5EF4-FFF2-40B4-BE49-F238E27FC236}">
                      <a16:creationId xmlns:a16="http://schemas.microsoft.com/office/drawing/2014/main" id="{94E2754B-DE24-D234-D442-B66D6D36B11A}"/>
                    </a:ext>
                  </a:extLst>
                </p:cNvPr>
                <p:cNvSpPr/>
                <p:nvPr/>
              </p:nvSpPr>
              <p:spPr>
                <a:xfrm>
                  <a:off x="3884401" y="4405841"/>
                  <a:ext cx="23166" cy="12"/>
                </a:xfrm>
                <a:custGeom>
                  <a:avLst/>
                  <a:gdLst>
                    <a:gd name="connsiteX0" fmla="*/ 23166 w 23166"/>
                    <a:gd name="connsiteY0" fmla="*/ 0 h 12"/>
                    <a:gd name="connsiteX1" fmla="*/ 0 w 23166"/>
                    <a:gd name="connsiteY1" fmla="*/ 12 h 1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3166" h="12">
                      <a:moveTo>
                        <a:pt x="23166" y="0"/>
                      </a:moveTo>
                      <a:lnTo>
                        <a:pt x="0" y="12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661" name="Forma livre: Forma 1660">
                  <a:extLst>
                    <a:ext uri="{FF2B5EF4-FFF2-40B4-BE49-F238E27FC236}">
                      <a16:creationId xmlns:a16="http://schemas.microsoft.com/office/drawing/2014/main" id="{4CBBD17F-97EA-77F5-97B0-4404EC9872F4}"/>
                    </a:ext>
                  </a:extLst>
                </p:cNvPr>
                <p:cNvSpPr/>
                <p:nvPr/>
              </p:nvSpPr>
              <p:spPr>
                <a:xfrm>
                  <a:off x="3884401" y="4364901"/>
                  <a:ext cx="23166" cy="1209"/>
                </a:xfrm>
                <a:custGeom>
                  <a:avLst/>
                  <a:gdLst>
                    <a:gd name="connsiteX0" fmla="*/ 23166 w 23166"/>
                    <a:gd name="connsiteY0" fmla="*/ 0 h 1209"/>
                    <a:gd name="connsiteX1" fmla="*/ 0 w 23166"/>
                    <a:gd name="connsiteY1" fmla="*/ 0 h 120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3166" h="1209">
                      <a:moveTo>
                        <a:pt x="23166" y="0"/>
                      </a:moveTo>
                      <a:lnTo>
                        <a:pt x="0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662" name="Forma livre: Forma 1661">
                  <a:extLst>
                    <a:ext uri="{FF2B5EF4-FFF2-40B4-BE49-F238E27FC236}">
                      <a16:creationId xmlns:a16="http://schemas.microsoft.com/office/drawing/2014/main" id="{051FAF6C-3688-B8DB-B389-A1A13F8D5BC0}"/>
                    </a:ext>
                  </a:extLst>
                </p:cNvPr>
                <p:cNvSpPr/>
                <p:nvPr/>
              </p:nvSpPr>
              <p:spPr>
                <a:xfrm>
                  <a:off x="3884401" y="4323962"/>
                  <a:ext cx="23178" cy="1209"/>
                </a:xfrm>
                <a:custGeom>
                  <a:avLst/>
                  <a:gdLst>
                    <a:gd name="connsiteX0" fmla="*/ 23178 w 23178"/>
                    <a:gd name="connsiteY0" fmla="*/ 0 h 1209"/>
                    <a:gd name="connsiteX1" fmla="*/ 0 w 23178"/>
                    <a:gd name="connsiteY1" fmla="*/ 0 h 120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3178" h="1209">
                      <a:moveTo>
                        <a:pt x="23178" y="0"/>
                      </a:moveTo>
                      <a:lnTo>
                        <a:pt x="0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1663" name="Forma livre: Forma 1662">
                <a:extLst>
                  <a:ext uri="{FF2B5EF4-FFF2-40B4-BE49-F238E27FC236}">
                    <a16:creationId xmlns:a16="http://schemas.microsoft.com/office/drawing/2014/main" id="{2E827B0A-6098-DF5B-9CF7-82AB7C5CEFCA}"/>
                  </a:ext>
                </a:extLst>
              </p:cNvPr>
              <p:cNvSpPr/>
              <p:nvPr/>
            </p:nvSpPr>
            <p:spPr>
              <a:xfrm>
                <a:off x="3822423" y="4451484"/>
                <a:ext cx="107137" cy="1209"/>
              </a:xfrm>
              <a:custGeom>
                <a:avLst/>
                <a:gdLst>
                  <a:gd name="connsiteX0" fmla="*/ 107137 w 107137"/>
                  <a:gd name="connsiteY0" fmla="*/ 0 h 1209"/>
                  <a:gd name="connsiteX1" fmla="*/ 0 w 107137"/>
                  <a:gd name="connsiteY1" fmla="*/ 0 h 12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07137" h="1209">
                    <a:moveTo>
                      <a:pt x="107137" y="0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1664" name="Gráfico 13">
                <a:extLst>
                  <a:ext uri="{FF2B5EF4-FFF2-40B4-BE49-F238E27FC236}">
                    <a16:creationId xmlns:a16="http://schemas.microsoft.com/office/drawing/2014/main" id="{55A7E6A5-C814-58DB-9082-587B065DB323}"/>
                  </a:ext>
                </a:extLst>
              </p:cNvPr>
              <p:cNvGrpSpPr/>
              <p:nvPr/>
            </p:nvGrpSpPr>
            <p:grpSpPr>
              <a:xfrm>
                <a:off x="3858260" y="4472402"/>
                <a:ext cx="35462" cy="55678"/>
                <a:chOff x="3858260" y="4472402"/>
                <a:chExt cx="35462" cy="55678"/>
              </a:xfrm>
            </p:grpSpPr>
            <p:sp>
              <p:nvSpPr>
                <p:cNvPr id="1665" name="Forma livre: Forma 1664">
                  <a:extLst>
                    <a:ext uri="{FF2B5EF4-FFF2-40B4-BE49-F238E27FC236}">
                      <a16:creationId xmlns:a16="http://schemas.microsoft.com/office/drawing/2014/main" id="{E3788CB7-C2E7-C78D-B327-0A4A08C2A1F9}"/>
                    </a:ext>
                  </a:extLst>
                </p:cNvPr>
                <p:cNvSpPr/>
                <p:nvPr/>
              </p:nvSpPr>
              <p:spPr>
                <a:xfrm>
                  <a:off x="3893723" y="4472402"/>
                  <a:ext cx="1209" cy="55678"/>
                </a:xfrm>
                <a:custGeom>
                  <a:avLst/>
                  <a:gdLst>
                    <a:gd name="connsiteX0" fmla="*/ 0 w 1209"/>
                    <a:gd name="connsiteY0" fmla="*/ 0 h 55678"/>
                    <a:gd name="connsiteX1" fmla="*/ 0 w 1209"/>
                    <a:gd name="connsiteY1" fmla="*/ 55679 h 556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209" h="55678">
                      <a:moveTo>
                        <a:pt x="0" y="0"/>
                      </a:moveTo>
                      <a:lnTo>
                        <a:pt x="0" y="55679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666" name="Forma livre: Forma 1665">
                  <a:extLst>
                    <a:ext uri="{FF2B5EF4-FFF2-40B4-BE49-F238E27FC236}">
                      <a16:creationId xmlns:a16="http://schemas.microsoft.com/office/drawing/2014/main" id="{86690DA0-3C9A-2723-CC06-F40596E1590B}"/>
                    </a:ext>
                  </a:extLst>
                </p:cNvPr>
                <p:cNvSpPr/>
                <p:nvPr/>
              </p:nvSpPr>
              <p:spPr>
                <a:xfrm>
                  <a:off x="3858260" y="4472402"/>
                  <a:ext cx="1209" cy="55678"/>
                </a:xfrm>
                <a:custGeom>
                  <a:avLst/>
                  <a:gdLst>
                    <a:gd name="connsiteX0" fmla="*/ 0 w 1209"/>
                    <a:gd name="connsiteY0" fmla="*/ 0 h 55678"/>
                    <a:gd name="connsiteX1" fmla="*/ 0 w 1209"/>
                    <a:gd name="connsiteY1" fmla="*/ 55679 h 556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209" h="55678">
                      <a:moveTo>
                        <a:pt x="0" y="0"/>
                      </a:moveTo>
                      <a:lnTo>
                        <a:pt x="0" y="55679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1667" name="Forma livre: Forma 1666">
                <a:extLst>
                  <a:ext uri="{FF2B5EF4-FFF2-40B4-BE49-F238E27FC236}">
                    <a16:creationId xmlns:a16="http://schemas.microsoft.com/office/drawing/2014/main" id="{73305CE2-EEA4-ACBC-066B-E287C85203B2}"/>
                  </a:ext>
                </a:extLst>
              </p:cNvPr>
              <p:cNvSpPr/>
              <p:nvPr/>
            </p:nvSpPr>
            <p:spPr>
              <a:xfrm>
                <a:off x="3875985" y="4160626"/>
                <a:ext cx="12" cy="67176"/>
              </a:xfrm>
              <a:custGeom>
                <a:avLst/>
                <a:gdLst>
                  <a:gd name="connsiteX0" fmla="*/ 12 w 12"/>
                  <a:gd name="connsiteY0" fmla="*/ 67177 h 67176"/>
                  <a:gd name="connsiteX1" fmla="*/ 0 w 12"/>
                  <a:gd name="connsiteY1" fmla="*/ 0 h 671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" h="67176">
                    <a:moveTo>
                      <a:pt x="12" y="67177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668" name="Forma livre: Forma 1667">
                <a:extLst>
                  <a:ext uri="{FF2B5EF4-FFF2-40B4-BE49-F238E27FC236}">
                    <a16:creationId xmlns:a16="http://schemas.microsoft.com/office/drawing/2014/main" id="{1A001836-154B-E279-B7F7-4245673C49EF}"/>
                  </a:ext>
                </a:extLst>
              </p:cNvPr>
              <p:cNvSpPr/>
              <p:nvPr/>
            </p:nvSpPr>
            <p:spPr>
              <a:xfrm>
                <a:off x="3862226" y="4230475"/>
                <a:ext cx="28498" cy="52680"/>
              </a:xfrm>
              <a:custGeom>
                <a:avLst/>
                <a:gdLst>
                  <a:gd name="connsiteX0" fmla="*/ 0 w 28498"/>
                  <a:gd name="connsiteY0" fmla="*/ 31207 h 52680"/>
                  <a:gd name="connsiteX1" fmla="*/ 1403 w 28498"/>
                  <a:gd name="connsiteY1" fmla="*/ 0 h 52680"/>
                  <a:gd name="connsiteX2" fmla="*/ 26116 w 28498"/>
                  <a:gd name="connsiteY2" fmla="*/ 0 h 52680"/>
                  <a:gd name="connsiteX3" fmla="*/ 28498 w 28498"/>
                  <a:gd name="connsiteY3" fmla="*/ 52680 h 526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8498" h="52680">
                    <a:moveTo>
                      <a:pt x="0" y="31207"/>
                    </a:moveTo>
                    <a:lnTo>
                      <a:pt x="1403" y="0"/>
                    </a:lnTo>
                    <a:lnTo>
                      <a:pt x="26116" y="0"/>
                    </a:lnTo>
                    <a:lnTo>
                      <a:pt x="28498" y="5268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669" name="Gráfico 13">
            <a:extLst>
              <a:ext uri="{FF2B5EF4-FFF2-40B4-BE49-F238E27FC236}">
                <a16:creationId xmlns:a16="http://schemas.microsoft.com/office/drawing/2014/main" id="{6D8DEBD0-B845-0103-C9FF-865C0A0E021C}"/>
              </a:ext>
            </a:extLst>
          </p:cNvPr>
          <p:cNvGrpSpPr/>
          <p:nvPr/>
        </p:nvGrpSpPr>
        <p:grpSpPr>
          <a:xfrm>
            <a:off x="3759913" y="4741956"/>
            <a:ext cx="369654" cy="296238"/>
            <a:chOff x="3759913" y="4741956"/>
            <a:chExt cx="369654" cy="296238"/>
          </a:xfrm>
          <a:noFill/>
        </p:grpSpPr>
        <p:grpSp>
          <p:nvGrpSpPr>
            <p:cNvPr id="1670" name="Gráfico 13">
              <a:extLst>
                <a:ext uri="{FF2B5EF4-FFF2-40B4-BE49-F238E27FC236}">
                  <a16:creationId xmlns:a16="http://schemas.microsoft.com/office/drawing/2014/main" id="{57DECB35-044D-DD60-8B53-2A92E98832AF}"/>
                </a:ext>
              </a:extLst>
            </p:cNvPr>
            <p:cNvGrpSpPr/>
            <p:nvPr/>
          </p:nvGrpSpPr>
          <p:grpSpPr>
            <a:xfrm>
              <a:off x="3759913" y="4741956"/>
              <a:ext cx="369654" cy="296238"/>
              <a:chOff x="3759913" y="4741956"/>
              <a:chExt cx="369654" cy="296238"/>
            </a:xfrm>
            <a:noFill/>
          </p:grpSpPr>
          <p:grpSp>
            <p:nvGrpSpPr>
              <p:cNvPr id="1671" name="Gráfico 13">
                <a:extLst>
                  <a:ext uri="{FF2B5EF4-FFF2-40B4-BE49-F238E27FC236}">
                    <a16:creationId xmlns:a16="http://schemas.microsoft.com/office/drawing/2014/main" id="{90335662-5EA9-DDBD-724A-C418C8FDE511}"/>
                  </a:ext>
                </a:extLst>
              </p:cNvPr>
              <p:cNvGrpSpPr/>
              <p:nvPr/>
            </p:nvGrpSpPr>
            <p:grpSpPr>
              <a:xfrm>
                <a:off x="3928557" y="4741956"/>
                <a:ext cx="71638" cy="63271"/>
                <a:chOff x="3928557" y="4741956"/>
                <a:chExt cx="71638" cy="63271"/>
              </a:xfrm>
              <a:noFill/>
            </p:grpSpPr>
            <p:sp>
              <p:nvSpPr>
                <p:cNvPr id="1672" name="Forma livre: Forma 1671">
                  <a:extLst>
                    <a:ext uri="{FF2B5EF4-FFF2-40B4-BE49-F238E27FC236}">
                      <a16:creationId xmlns:a16="http://schemas.microsoft.com/office/drawing/2014/main" id="{6208FAC3-C344-A546-089C-E8CD725C4E93}"/>
                    </a:ext>
                  </a:extLst>
                </p:cNvPr>
                <p:cNvSpPr/>
                <p:nvPr/>
              </p:nvSpPr>
              <p:spPr>
                <a:xfrm>
                  <a:off x="3946693" y="4784322"/>
                  <a:ext cx="35377" cy="20905"/>
                </a:xfrm>
                <a:custGeom>
                  <a:avLst/>
                  <a:gdLst>
                    <a:gd name="connsiteX0" fmla="*/ 0 w 35377"/>
                    <a:gd name="connsiteY0" fmla="*/ 20905 h 20905"/>
                    <a:gd name="connsiteX1" fmla="*/ 0 w 35377"/>
                    <a:gd name="connsiteY1" fmla="*/ 14896 h 20905"/>
                    <a:gd name="connsiteX2" fmla="*/ 14896 w 35377"/>
                    <a:gd name="connsiteY2" fmla="*/ 0 h 20905"/>
                    <a:gd name="connsiteX3" fmla="*/ 20482 w 35377"/>
                    <a:gd name="connsiteY3" fmla="*/ 0 h 20905"/>
                    <a:gd name="connsiteX4" fmla="*/ 35378 w 35377"/>
                    <a:gd name="connsiteY4" fmla="*/ 14896 h 20905"/>
                    <a:gd name="connsiteX5" fmla="*/ 35378 w 35377"/>
                    <a:gd name="connsiteY5" fmla="*/ 20905 h 2090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35377" h="20905">
                      <a:moveTo>
                        <a:pt x="0" y="20905"/>
                      </a:moveTo>
                      <a:lnTo>
                        <a:pt x="0" y="14896"/>
                      </a:lnTo>
                      <a:cubicBezTo>
                        <a:pt x="0" y="6698"/>
                        <a:pt x="6711" y="0"/>
                        <a:pt x="14896" y="0"/>
                      </a:cubicBezTo>
                      <a:lnTo>
                        <a:pt x="20482" y="0"/>
                      </a:lnTo>
                      <a:cubicBezTo>
                        <a:pt x="28680" y="0"/>
                        <a:pt x="35378" y="6698"/>
                        <a:pt x="35378" y="14896"/>
                      </a:cubicBezTo>
                      <a:lnTo>
                        <a:pt x="35378" y="20905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673" name="Forma livre: Forma 1672">
                  <a:extLst>
                    <a:ext uri="{FF2B5EF4-FFF2-40B4-BE49-F238E27FC236}">
                      <a16:creationId xmlns:a16="http://schemas.microsoft.com/office/drawing/2014/main" id="{C9D50CB8-3658-08BC-7B05-B4FE4CA7A7EF}"/>
                    </a:ext>
                  </a:extLst>
                </p:cNvPr>
                <p:cNvSpPr/>
                <p:nvPr/>
              </p:nvSpPr>
              <p:spPr>
                <a:xfrm>
                  <a:off x="3964382" y="4741956"/>
                  <a:ext cx="1209" cy="18003"/>
                </a:xfrm>
                <a:custGeom>
                  <a:avLst/>
                  <a:gdLst>
                    <a:gd name="connsiteX0" fmla="*/ 0 w 1209"/>
                    <a:gd name="connsiteY0" fmla="*/ 18003 h 18003"/>
                    <a:gd name="connsiteX1" fmla="*/ 0 w 1209"/>
                    <a:gd name="connsiteY1" fmla="*/ 0 h 180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209" h="18003">
                      <a:moveTo>
                        <a:pt x="0" y="18003"/>
                      </a:moveTo>
                      <a:lnTo>
                        <a:pt x="0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grpSp>
              <p:nvGrpSpPr>
                <p:cNvPr id="1674" name="Gráfico 13">
                  <a:extLst>
                    <a:ext uri="{FF2B5EF4-FFF2-40B4-BE49-F238E27FC236}">
                      <a16:creationId xmlns:a16="http://schemas.microsoft.com/office/drawing/2014/main" id="{C7CACEFB-39D5-64BC-150E-401864E50F35}"/>
                    </a:ext>
                  </a:extLst>
                </p:cNvPr>
                <p:cNvGrpSpPr/>
                <p:nvPr/>
              </p:nvGrpSpPr>
              <p:grpSpPr>
                <a:xfrm>
                  <a:off x="3928557" y="4753116"/>
                  <a:ext cx="71638" cy="12610"/>
                  <a:chOff x="3928557" y="4753116"/>
                  <a:chExt cx="71638" cy="12610"/>
                </a:xfrm>
              </p:grpSpPr>
              <p:sp>
                <p:nvSpPr>
                  <p:cNvPr id="1675" name="Forma livre: Forma 1674">
                    <a:extLst>
                      <a:ext uri="{FF2B5EF4-FFF2-40B4-BE49-F238E27FC236}">
                        <a16:creationId xmlns:a16="http://schemas.microsoft.com/office/drawing/2014/main" id="{E3BE8538-0056-9812-6644-798298DCC9D8}"/>
                      </a:ext>
                    </a:extLst>
                  </p:cNvPr>
                  <p:cNvSpPr/>
                  <p:nvPr/>
                </p:nvSpPr>
                <p:spPr>
                  <a:xfrm>
                    <a:off x="3987342" y="4753116"/>
                    <a:ext cx="12852" cy="12610"/>
                  </a:xfrm>
                  <a:custGeom>
                    <a:avLst/>
                    <a:gdLst>
                      <a:gd name="connsiteX0" fmla="*/ 0 w 12852"/>
                      <a:gd name="connsiteY0" fmla="*/ 12611 h 12610"/>
                      <a:gd name="connsiteX1" fmla="*/ 12853 w 12852"/>
                      <a:gd name="connsiteY1" fmla="*/ 0 h 1261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2852" h="12610">
                        <a:moveTo>
                          <a:pt x="0" y="12611"/>
                        </a:moveTo>
                        <a:lnTo>
                          <a:pt x="12853" y="0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1676" name="Forma livre: Forma 1675">
                    <a:extLst>
                      <a:ext uri="{FF2B5EF4-FFF2-40B4-BE49-F238E27FC236}">
                        <a16:creationId xmlns:a16="http://schemas.microsoft.com/office/drawing/2014/main" id="{A0859EA9-F559-F35B-35FE-F79BA62C5269}"/>
                      </a:ext>
                    </a:extLst>
                  </p:cNvPr>
                  <p:cNvSpPr/>
                  <p:nvPr/>
                </p:nvSpPr>
                <p:spPr>
                  <a:xfrm>
                    <a:off x="3928557" y="4753116"/>
                    <a:ext cx="12876" cy="12610"/>
                  </a:xfrm>
                  <a:custGeom>
                    <a:avLst/>
                    <a:gdLst>
                      <a:gd name="connsiteX0" fmla="*/ 12877 w 12876"/>
                      <a:gd name="connsiteY0" fmla="*/ 12611 h 12610"/>
                      <a:gd name="connsiteX1" fmla="*/ 0 w 12876"/>
                      <a:gd name="connsiteY1" fmla="*/ 0 h 1261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2876" h="12610">
                        <a:moveTo>
                          <a:pt x="12877" y="12611"/>
                        </a:moveTo>
                        <a:lnTo>
                          <a:pt x="0" y="0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</p:grpSp>
          <p:grpSp>
            <p:nvGrpSpPr>
              <p:cNvPr id="1677" name="Gráfico 13">
                <a:extLst>
                  <a:ext uri="{FF2B5EF4-FFF2-40B4-BE49-F238E27FC236}">
                    <a16:creationId xmlns:a16="http://schemas.microsoft.com/office/drawing/2014/main" id="{6DB3FAB0-7AD9-85F7-43F3-AEBA15F933A4}"/>
                  </a:ext>
                </a:extLst>
              </p:cNvPr>
              <p:cNvGrpSpPr/>
              <p:nvPr/>
            </p:nvGrpSpPr>
            <p:grpSpPr>
              <a:xfrm>
                <a:off x="3799184" y="4981658"/>
                <a:ext cx="330383" cy="56537"/>
                <a:chOff x="3799184" y="4981658"/>
                <a:chExt cx="330383" cy="56537"/>
              </a:xfrm>
              <a:noFill/>
            </p:grpSpPr>
            <p:sp>
              <p:nvSpPr>
                <p:cNvPr id="1678" name="Forma livre: Forma 1677">
                  <a:extLst>
                    <a:ext uri="{FF2B5EF4-FFF2-40B4-BE49-F238E27FC236}">
                      <a16:creationId xmlns:a16="http://schemas.microsoft.com/office/drawing/2014/main" id="{9D97802F-CBCD-1E1E-4415-4D56FE2FC9A9}"/>
                    </a:ext>
                  </a:extLst>
                </p:cNvPr>
                <p:cNvSpPr/>
                <p:nvPr/>
              </p:nvSpPr>
              <p:spPr>
                <a:xfrm>
                  <a:off x="3875514" y="5006601"/>
                  <a:ext cx="134196" cy="1209"/>
                </a:xfrm>
                <a:custGeom>
                  <a:avLst/>
                  <a:gdLst>
                    <a:gd name="connsiteX0" fmla="*/ 0 w 134196"/>
                    <a:gd name="connsiteY0" fmla="*/ 0 h 1209"/>
                    <a:gd name="connsiteX1" fmla="*/ 134197 w 134196"/>
                    <a:gd name="connsiteY1" fmla="*/ 0 h 120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34196" h="1209">
                      <a:moveTo>
                        <a:pt x="0" y="0"/>
                      </a:moveTo>
                      <a:lnTo>
                        <a:pt x="134197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679" name="Forma livre: Forma 1678">
                  <a:extLst>
                    <a:ext uri="{FF2B5EF4-FFF2-40B4-BE49-F238E27FC236}">
                      <a16:creationId xmlns:a16="http://schemas.microsoft.com/office/drawing/2014/main" id="{1DCE62A2-D52C-E469-48CB-3DF47DC6BA3E}"/>
                    </a:ext>
                  </a:extLst>
                </p:cNvPr>
                <p:cNvSpPr/>
                <p:nvPr/>
              </p:nvSpPr>
              <p:spPr>
                <a:xfrm>
                  <a:off x="4089897" y="4981658"/>
                  <a:ext cx="39670" cy="24943"/>
                </a:xfrm>
                <a:custGeom>
                  <a:avLst/>
                  <a:gdLst>
                    <a:gd name="connsiteX0" fmla="*/ 0 w 39670"/>
                    <a:gd name="connsiteY0" fmla="*/ 24944 h 24943"/>
                    <a:gd name="connsiteX1" fmla="*/ 39670 w 39670"/>
                    <a:gd name="connsiteY1" fmla="*/ 24944 h 24943"/>
                    <a:gd name="connsiteX2" fmla="*/ 39670 w 39670"/>
                    <a:gd name="connsiteY2" fmla="*/ 0 h 24943"/>
                    <a:gd name="connsiteX3" fmla="*/ 13372 w 39670"/>
                    <a:gd name="connsiteY3" fmla="*/ 0 h 2494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39670" h="24943">
                      <a:moveTo>
                        <a:pt x="0" y="24944"/>
                      </a:moveTo>
                      <a:lnTo>
                        <a:pt x="39670" y="24944"/>
                      </a:lnTo>
                      <a:lnTo>
                        <a:pt x="39670" y="0"/>
                      </a:lnTo>
                      <a:lnTo>
                        <a:pt x="13372" y="0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680" name="Forma livre: Forma 1679">
                  <a:extLst>
                    <a:ext uri="{FF2B5EF4-FFF2-40B4-BE49-F238E27FC236}">
                      <a16:creationId xmlns:a16="http://schemas.microsoft.com/office/drawing/2014/main" id="{3411AEBD-5FCD-593F-B87F-50B40876A93F}"/>
                    </a:ext>
                  </a:extLst>
                </p:cNvPr>
                <p:cNvSpPr/>
                <p:nvPr/>
              </p:nvSpPr>
              <p:spPr>
                <a:xfrm>
                  <a:off x="4032260" y="4983084"/>
                  <a:ext cx="55110" cy="55110"/>
                </a:xfrm>
                <a:custGeom>
                  <a:avLst/>
                  <a:gdLst>
                    <a:gd name="connsiteX0" fmla="*/ 55110 w 55110"/>
                    <a:gd name="connsiteY0" fmla="*/ 27555 h 55110"/>
                    <a:gd name="connsiteX1" fmla="*/ 27567 w 55110"/>
                    <a:gd name="connsiteY1" fmla="*/ 55110 h 55110"/>
                    <a:gd name="connsiteX2" fmla="*/ 0 w 55110"/>
                    <a:gd name="connsiteY2" fmla="*/ 27555 h 55110"/>
                    <a:gd name="connsiteX3" fmla="*/ 27567 w 55110"/>
                    <a:gd name="connsiteY3" fmla="*/ 0 h 55110"/>
                    <a:gd name="connsiteX4" fmla="*/ 55110 w 55110"/>
                    <a:gd name="connsiteY4" fmla="*/ 27555 h 5511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5110" h="55110">
                      <a:moveTo>
                        <a:pt x="55110" y="27555"/>
                      </a:moveTo>
                      <a:cubicBezTo>
                        <a:pt x="55110" y="42778"/>
                        <a:pt x="42778" y="55110"/>
                        <a:pt x="27567" y="55110"/>
                      </a:cubicBezTo>
                      <a:cubicBezTo>
                        <a:pt x="12357" y="55110"/>
                        <a:pt x="0" y="42778"/>
                        <a:pt x="0" y="27555"/>
                      </a:cubicBezTo>
                      <a:cubicBezTo>
                        <a:pt x="0" y="12333"/>
                        <a:pt x="12333" y="0"/>
                        <a:pt x="27567" y="0"/>
                      </a:cubicBezTo>
                      <a:cubicBezTo>
                        <a:pt x="42802" y="0"/>
                        <a:pt x="55110" y="12333"/>
                        <a:pt x="55110" y="27555"/>
                      </a:cubicBezTo>
                      <a:close/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681" name="Forma livre: Forma 1680">
                  <a:extLst>
                    <a:ext uri="{FF2B5EF4-FFF2-40B4-BE49-F238E27FC236}">
                      <a16:creationId xmlns:a16="http://schemas.microsoft.com/office/drawing/2014/main" id="{E70C34EB-B544-6B7A-1041-288E19DBC3A9}"/>
                    </a:ext>
                  </a:extLst>
                </p:cNvPr>
                <p:cNvSpPr/>
                <p:nvPr/>
              </p:nvSpPr>
              <p:spPr>
                <a:xfrm>
                  <a:off x="3799184" y="4983084"/>
                  <a:ext cx="55110" cy="55110"/>
                </a:xfrm>
                <a:custGeom>
                  <a:avLst/>
                  <a:gdLst>
                    <a:gd name="connsiteX0" fmla="*/ 55110 w 55110"/>
                    <a:gd name="connsiteY0" fmla="*/ 27555 h 55110"/>
                    <a:gd name="connsiteX1" fmla="*/ 27555 w 55110"/>
                    <a:gd name="connsiteY1" fmla="*/ 55110 h 55110"/>
                    <a:gd name="connsiteX2" fmla="*/ 0 w 55110"/>
                    <a:gd name="connsiteY2" fmla="*/ 27555 h 55110"/>
                    <a:gd name="connsiteX3" fmla="*/ 27555 w 55110"/>
                    <a:gd name="connsiteY3" fmla="*/ 0 h 55110"/>
                    <a:gd name="connsiteX4" fmla="*/ 55110 w 55110"/>
                    <a:gd name="connsiteY4" fmla="*/ 27555 h 5511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5110" h="55110">
                      <a:moveTo>
                        <a:pt x="55110" y="27555"/>
                      </a:moveTo>
                      <a:cubicBezTo>
                        <a:pt x="55110" y="42778"/>
                        <a:pt x="42778" y="55110"/>
                        <a:pt x="27555" y="55110"/>
                      </a:cubicBezTo>
                      <a:cubicBezTo>
                        <a:pt x="12333" y="55110"/>
                        <a:pt x="0" y="42778"/>
                        <a:pt x="0" y="27555"/>
                      </a:cubicBezTo>
                      <a:cubicBezTo>
                        <a:pt x="0" y="12333"/>
                        <a:pt x="12333" y="0"/>
                        <a:pt x="27555" y="0"/>
                      </a:cubicBezTo>
                      <a:cubicBezTo>
                        <a:pt x="42778" y="0"/>
                        <a:pt x="55110" y="12333"/>
                        <a:pt x="55110" y="27555"/>
                      </a:cubicBezTo>
                      <a:close/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1682" name="Forma livre: Forma 1681">
                <a:extLst>
                  <a:ext uri="{FF2B5EF4-FFF2-40B4-BE49-F238E27FC236}">
                    <a16:creationId xmlns:a16="http://schemas.microsoft.com/office/drawing/2014/main" id="{682647F8-69A3-3FA0-DA4C-2E30E42F01EC}"/>
                  </a:ext>
                </a:extLst>
              </p:cNvPr>
              <p:cNvSpPr/>
              <p:nvPr/>
            </p:nvSpPr>
            <p:spPr>
              <a:xfrm>
                <a:off x="3989761" y="4866335"/>
                <a:ext cx="133350" cy="114742"/>
              </a:xfrm>
              <a:custGeom>
                <a:avLst/>
                <a:gdLst>
                  <a:gd name="connsiteX0" fmla="*/ 133350 w 133350"/>
                  <a:gd name="connsiteY0" fmla="*/ 114742 h 114742"/>
                  <a:gd name="connsiteX1" fmla="*/ 133350 w 133350"/>
                  <a:gd name="connsiteY1" fmla="*/ 82823 h 114742"/>
                  <a:gd name="connsiteX2" fmla="*/ 74516 w 133350"/>
                  <a:gd name="connsiteY2" fmla="*/ 58048 h 114742"/>
                  <a:gd name="connsiteX3" fmla="*/ 32718 w 133350"/>
                  <a:gd name="connsiteY3" fmla="*/ 0 h 114742"/>
                  <a:gd name="connsiteX4" fmla="*/ 0 w 133350"/>
                  <a:gd name="connsiteY4" fmla="*/ 0 h 1147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33350" h="114742">
                    <a:moveTo>
                      <a:pt x="133350" y="114742"/>
                    </a:moveTo>
                    <a:lnTo>
                      <a:pt x="133350" y="82823"/>
                    </a:lnTo>
                    <a:lnTo>
                      <a:pt x="74516" y="58048"/>
                    </a:lnTo>
                    <a:lnTo>
                      <a:pt x="32718" y="0"/>
                    </a:lnTo>
                    <a:lnTo>
                      <a:pt x="0" y="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683" name="Forma livre: Forma 1682">
                <a:extLst>
                  <a:ext uri="{FF2B5EF4-FFF2-40B4-BE49-F238E27FC236}">
                    <a16:creationId xmlns:a16="http://schemas.microsoft.com/office/drawing/2014/main" id="{1A3D3E83-6881-874B-405F-B4CE436B93C0}"/>
                  </a:ext>
                </a:extLst>
              </p:cNvPr>
              <p:cNvSpPr/>
              <p:nvPr/>
            </p:nvSpPr>
            <p:spPr>
              <a:xfrm>
                <a:off x="4010690" y="4924383"/>
                <a:ext cx="53586" cy="1209"/>
              </a:xfrm>
              <a:custGeom>
                <a:avLst/>
                <a:gdLst>
                  <a:gd name="connsiteX0" fmla="*/ 53587 w 53586"/>
                  <a:gd name="connsiteY0" fmla="*/ 0 h 1209"/>
                  <a:gd name="connsiteX1" fmla="*/ 0 w 53586"/>
                  <a:gd name="connsiteY1" fmla="*/ 0 h 12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3586" h="1209">
                    <a:moveTo>
                      <a:pt x="53587" y="0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684" name="Forma livre: Forma 1683">
                <a:extLst>
                  <a:ext uri="{FF2B5EF4-FFF2-40B4-BE49-F238E27FC236}">
                    <a16:creationId xmlns:a16="http://schemas.microsoft.com/office/drawing/2014/main" id="{08A713EF-1E93-B749-C9CE-0FCEDBE45EB3}"/>
                  </a:ext>
                </a:extLst>
              </p:cNvPr>
              <p:cNvSpPr/>
              <p:nvPr/>
            </p:nvSpPr>
            <p:spPr>
              <a:xfrm>
                <a:off x="3759913" y="4825951"/>
                <a:ext cx="227695" cy="181363"/>
              </a:xfrm>
              <a:custGeom>
                <a:avLst/>
                <a:gdLst>
                  <a:gd name="connsiteX0" fmla="*/ 38231 w 227695"/>
                  <a:gd name="connsiteY0" fmla="*/ 181363 h 181363"/>
                  <a:gd name="connsiteX1" fmla="*/ 9927 w 227695"/>
                  <a:gd name="connsiteY1" fmla="*/ 181363 h 181363"/>
                  <a:gd name="connsiteX2" fmla="*/ 0 w 227695"/>
                  <a:gd name="connsiteY2" fmla="*/ 171437 h 181363"/>
                  <a:gd name="connsiteX3" fmla="*/ 0 w 227695"/>
                  <a:gd name="connsiteY3" fmla="*/ 9927 h 181363"/>
                  <a:gd name="connsiteX4" fmla="*/ 9927 w 227695"/>
                  <a:gd name="connsiteY4" fmla="*/ 0 h 181363"/>
                  <a:gd name="connsiteX5" fmla="*/ 217757 w 227695"/>
                  <a:gd name="connsiteY5" fmla="*/ 0 h 181363"/>
                  <a:gd name="connsiteX6" fmla="*/ 227696 w 227695"/>
                  <a:gd name="connsiteY6" fmla="*/ 9927 h 181363"/>
                  <a:gd name="connsiteX7" fmla="*/ 227696 w 227695"/>
                  <a:gd name="connsiteY7" fmla="*/ 128973 h 1813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27695" h="181363">
                    <a:moveTo>
                      <a:pt x="38231" y="181363"/>
                    </a:moveTo>
                    <a:lnTo>
                      <a:pt x="9927" y="181363"/>
                    </a:lnTo>
                    <a:cubicBezTo>
                      <a:pt x="4462" y="181363"/>
                      <a:pt x="0" y="176890"/>
                      <a:pt x="0" y="171437"/>
                    </a:cubicBezTo>
                    <a:lnTo>
                      <a:pt x="0" y="9927"/>
                    </a:lnTo>
                    <a:cubicBezTo>
                      <a:pt x="0" y="4462"/>
                      <a:pt x="4474" y="0"/>
                      <a:pt x="9927" y="0"/>
                    </a:cubicBezTo>
                    <a:lnTo>
                      <a:pt x="217757" y="0"/>
                    </a:lnTo>
                    <a:cubicBezTo>
                      <a:pt x="223222" y="0"/>
                      <a:pt x="227696" y="4474"/>
                      <a:pt x="227696" y="9927"/>
                    </a:cubicBezTo>
                    <a:lnTo>
                      <a:pt x="227696" y="128973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685" name="Forma livre: Forma 1684">
                <a:extLst>
                  <a:ext uri="{FF2B5EF4-FFF2-40B4-BE49-F238E27FC236}">
                    <a16:creationId xmlns:a16="http://schemas.microsoft.com/office/drawing/2014/main" id="{02C7777A-12CF-7420-BDC2-2952A3C85D91}"/>
                  </a:ext>
                </a:extLst>
              </p:cNvPr>
              <p:cNvSpPr/>
              <p:nvPr/>
            </p:nvSpPr>
            <p:spPr>
              <a:xfrm>
                <a:off x="3831285" y="4865851"/>
                <a:ext cx="86220" cy="86195"/>
              </a:xfrm>
              <a:custGeom>
                <a:avLst/>
                <a:gdLst>
                  <a:gd name="connsiteX0" fmla="*/ 86220 w 86220"/>
                  <a:gd name="connsiteY0" fmla="*/ 28522 h 86195"/>
                  <a:gd name="connsiteX1" fmla="*/ 57673 w 86220"/>
                  <a:gd name="connsiteY1" fmla="*/ 28522 h 86195"/>
                  <a:gd name="connsiteX2" fmla="*/ 57673 w 86220"/>
                  <a:gd name="connsiteY2" fmla="*/ 0 h 86195"/>
                  <a:gd name="connsiteX3" fmla="*/ 28522 w 86220"/>
                  <a:gd name="connsiteY3" fmla="*/ 0 h 86195"/>
                  <a:gd name="connsiteX4" fmla="*/ 28522 w 86220"/>
                  <a:gd name="connsiteY4" fmla="*/ 28522 h 86195"/>
                  <a:gd name="connsiteX5" fmla="*/ 0 w 86220"/>
                  <a:gd name="connsiteY5" fmla="*/ 28522 h 86195"/>
                  <a:gd name="connsiteX6" fmla="*/ 0 w 86220"/>
                  <a:gd name="connsiteY6" fmla="*/ 57673 h 86195"/>
                  <a:gd name="connsiteX7" fmla="*/ 28522 w 86220"/>
                  <a:gd name="connsiteY7" fmla="*/ 57673 h 86195"/>
                  <a:gd name="connsiteX8" fmla="*/ 28522 w 86220"/>
                  <a:gd name="connsiteY8" fmla="*/ 86196 h 86195"/>
                  <a:gd name="connsiteX9" fmla="*/ 57673 w 86220"/>
                  <a:gd name="connsiteY9" fmla="*/ 86196 h 86195"/>
                  <a:gd name="connsiteX10" fmla="*/ 57673 w 86220"/>
                  <a:gd name="connsiteY10" fmla="*/ 57673 h 86195"/>
                  <a:gd name="connsiteX11" fmla="*/ 86220 w 86220"/>
                  <a:gd name="connsiteY11" fmla="*/ 57673 h 86195"/>
                  <a:gd name="connsiteX12" fmla="*/ 86220 w 86220"/>
                  <a:gd name="connsiteY12" fmla="*/ 28522 h 861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86220" h="86195">
                    <a:moveTo>
                      <a:pt x="86220" y="28522"/>
                    </a:moveTo>
                    <a:lnTo>
                      <a:pt x="57673" y="28522"/>
                    </a:lnTo>
                    <a:lnTo>
                      <a:pt x="57673" y="0"/>
                    </a:lnTo>
                    <a:lnTo>
                      <a:pt x="28522" y="0"/>
                    </a:lnTo>
                    <a:lnTo>
                      <a:pt x="28522" y="28522"/>
                    </a:lnTo>
                    <a:lnTo>
                      <a:pt x="0" y="28522"/>
                    </a:lnTo>
                    <a:lnTo>
                      <a:pt x="0" y="57673"/>
                    </a:lnTo>
                    <a:lnTo>
                      <a:pt x="28522" y="57673"/>
                    </a:lnTo>
                    <a:lnTo>
                      <a:pt x="28522" y="86196"/>
                    </a:lnTo>
                    <a:lnTo>
                      <a:pt x="57673" y="86196"/>
                    </a:lnTo>
                    <a:lnTo>
                      <a:pt x="57673" y="57673"/>
                    </a:lnTo>
                    <a:lnTo>
                      <a:pt x="86220" y="57673"/>
                    </a:lnTo>
                    <a:lnTo>
                      <a:pt x="86220" y="28522"/>
                    </a:ln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686" name="Forma livre: Forma 1685">
              <a:extLst>
                <a:ext uri="{FF2B5EF4-FFF2-40B4-BE49-F238E27FC236}">
                  <a16:creationId xmlns:a16="http://schemas.microsoft.com/office/drawing/2014/main" id="{C4A35679-AF52-84BC-9857-D4EAAEE03464}"/>
                </a:ext>
              </a:extLst>
            </p:cNvPr>
            <p:cNvSpPr/>
            <p:nvPr/>
          </p:nvSpPr>
          <p:spPr>
            <a:xfrm>
              <a:off x="3939281" y="4908012"/>
              <a:ext cx="46912" cy="1209"/>
            </a:xfrm>
            <a:custGeom>
              <a:avLst/>
              <a:gdLst>
                <a:gd name="connsiteX0" fmla="*/ 0 w 46912"/>
                <a:gd name="connsiteY0" fmla="*/ 0 h 1209"/>
                <a:gd name="connsiteX1" fmla="*/ 46913 w 46912"/>
                <a:gd name="connsiteY1" fmla="*/ 0 h 12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6912" h="1209">
                  <a:moveTo>
                    <a:pt x="0" y="0"/>
                  </a:moveTo>
                  <a:lnTo>
                    <a:pt x="46913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87" name="Forma livre: Forma 1686">
              <a:extLst>
                <a:ext uri="{FF2B5EF4-FFF2-40B4-BE49-F238E27FC236}">
                  <a16:creationId xmlns:a16="http://schemas.microsoft.com/office/drawing/2014/main" id="{06BA65FE-9339-0F2A-854D-83B44656BC91}"/>
                </a:ext>
              </a:extLst>
            </p:cNvPr>
            <p:cNvSpPr/>
            <p:nvPr/>
          </p:nvSpPr>
          <p:spPr>
            <a:xfrm>
              <a:off x="3762500" y="4908012"/>
              <a:ext cx="46670" cy="1209"/>
            </a:xfrm>
            <a:custGeom>
              <a:avLst/>
              <a:gdLst>
                <a:gd name="connsiteX0" fmla="*/ 46671 w 46670"/>
                <a:gd name="connsiteY0" fmla="*/ 0 h 1209"/>
                <a:gd name="connsiteX1" fmla="*/ 0 w 46670"/>
                <a:gd name="connsiteY1" fmla="*/ 0 h 12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6670" h="1209">
                  <a:moveTo>
                    <a:pt x="46671" y="0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689" name="Gráfico 14">
            <a:extLst>
              <a:ext uri="{FF2B5EF4-FFF2-40B4-BE49-F238E27FC236}">
                <a16:creationId xmlns:a16="http://schemas.microsoft.com/office/drawing/2014/main" id="{2445363E-CF59-02B5-62E9-97121A425CBB}"/>
              </a:ext>
            </a:extLst>
          </p:cNvPr>
          <p:cNvGrpSpPr/>
          <p:nvPr/>
        </p:nvGrpSpPr>
        <p:grpSpPr>
          <a:xfrm>
            <a:off x="5689590" y="3674585"/>
            <a:ext cx="229792" cy="290854"/>
            <a:chOff x="5689590" y="3674585"/>
            <a:chExt cx="229792" cy="290854"/>
          </a:xfrm>
          <a:noFill/>
        </p:grpSpPr>
        <p:sp>
          <p:nvSpPr>
            <p:cNvPr id="1690" name="Forma livre: Forma 1689">
              <a:extLst>
                <a:ext uri="{FF2B5EF4-FFF2-40B4-BE49-F238E27FC236}">
                  <a16:creationId xmlns:a16="http://schemas.microsoft.com/office/drawing/2014/main" id="{25673680-BDEB-BDC3-6524-D39C941D0691}"/>
                </a:ext>
              </a:extLst>
            </p:cNvPr>
            <p:cNvSpPr/>
            <p:nvPr/>
          </p:nvSpPr>
          <p:spPr>
            <a:xfrm>
              <a:off x="5722452" y="3700691"/>
              <a:ext cx="1223" cy="178815"/>
            </a:xfrm>
            <a:custGeom>
              <a:avLst/>
              <a:gdLst>
                <a:gd name="connsiteX0" fmla="*/ 0 w 1223"/>
                <a:gd name="connsiteY0" fmla="*/ 0 h 178815"/>
                <a:gd name="connsiteX1" fmla="*/ 0 w 1223"/>
                <a:gd name="connsiteY1" fmla="*/ 178816 h 1788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23" h="178815">
                  <a:moveTo>
                    <a:pt x="0" y="0"/>
                  </a:moveTo>
                  <a:lnTo>
                    <a:pt x="0" y="178816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91" name="Forma livre: Forma 1690">
              <a:extLst>
                <a:ext uri="{FF2B5EF4-FFF2-40B4-BE49-F238E27FC236}">
                  <a16:creationId xmlns:a16="http://schemas.microsoft.com/office/drawing/2014/main" id="{0E4C7E7B-7BE0-9F3E-7C90-7266D60DCE08}"/>
                </a:ext>
              </a:extLst>
            </p:cNvPr>
            <p:cNvSpPr/>
            <p:nvPr/>
          </p:nvSpPr>
          <p:spPr>
            <a:xfrm>
              <a:off x="5722159" y="3935673"/>
              <a:ext cx="197211" cy="1223"/>
            </a:xfrm>
            <a:custGeom>
              <a:avLst/>
              <a:gdLst>
                <a:gd name="connsiteX0" fmla="*/ 0 w 197211"/>
                <a:gd name="connsiteY0" fmla="*/ 0 h 1223"/>
                <a:gd name="connsiteX1" fmla="*/ 197212 w 197211"/>
                <a:gd name="connsiteY1" fmla="*/ 0 h 12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97211" h="1223">
                  <a:moveTo>
                    <a:pt x="0" y="0"/>
                  </a:moveTo>
                  <a:lnTo>
                    <a:pt x="197212" y="0"/>
                  </a:lnTo>
                </a:path>
              </a:pathLst>
            </a:custGeom>
            <a:ln w="6350" cap="sq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92" name="Forma livre: Forma 1691">
              <a:extLst>
                <a:ext uri="{FF2B5EF4-FFF2-40B4-BE49-F238E27FC236}">
                  <a16:creationId xmlns:a16="http://schemas.microsoft.com/office/drawing/2014/main" id="{EB8E7DD1-3443-DB1D-7CC1-02EEE8A8CB65}"/>
                </a:ext>
              </a:extLst>
            </p:cNvPr>
            <p:cNvSpPr/>
            <p:nvPr/>
          </p:nvSpPr>
          <p:spPr>
            <a:xfrm>
              <a:off x="5772988" y="3727226"/>
              <a:ext cx="94658" cy="55492"/>
            </a:xfrm>
            <a:custGeom>
              <a:avLst/>
              <a:gdLst>
                <a:gd name="connsiteX0" fmla="*/ 0 w 94658"/>
                <a:gd name="connsiteY0" fmla="*/ 0 h 55492"/>
                <a:gd name="connsiteX1" fmla="*/ 94659 w 94658"/>
                <a:gd name="connsiteY1" fmla="*/ 0 h 55492"/>
                <a:gd name="connsiteX2" fmla="*/ 94659 w 94658"/>
                <a:gd name="connsiteY2" fmla="*/ 55493 h 55492"/>
                <a:gd name="connsiteX3" fmla="*/ 0 w 94658"/>
                <a:gd name="connsiteY3" fmla="*/ 55493 h 554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4658" h="55492">
                  <a:moveTo>
                    <a:pt x="0" y="0"/>
                  </a:moveTo>
                  <a:lnTo>
                    <a:pt x="94659" y="0"/>
                  </a:lnTo>
                  <a:lnTo>
                    <a:pt x="94659" y="55493"/>
                  </a:lnTo>
                  <a:lnTo>
                    <a:pt x="0" y="55493"/>
                  </a:ln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93" name="Forma livre: Forma 1692">
              <a:extLst>
                <a:ext uri="{FF2B5EF4-FFF2-40B4-BE49-F238E27FC236}">
                  <a16:creationId xmlns:a16="http://schemas.microsoft.com/office/drawing/2014/main" id="{C3F287C9-4E7E-00DD-0088-D01B057321A0}"/>
                </a:ext>
              </a:extLst>
            </p:cNvPr>
            <p:cNvSpPr/>
            <p:nvPr/>
          </p:nvSpPr>
          <p:spPr>
            <a:xfrm>
              <a:off x="5772988" y="3812338"/>
              <a:ext cx="94646" cy="1223"/>
            </a:xfrm>
            <a:custGeom>
              <a:avLst/>
              <a:gdLst>
                <a:gd name="connsiteX0" fmla="*/ 0 w 94646"/>
                <a:gd name="connsiteY0" fmla="*/ 0 h 1223"/>
                <a:gd name="connsiteX1" fmla="*/ 94646 w 94646"/>
                <a:gd name="connsiteY1" fmla="*/ 0 h 12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4646" h="1223">
                  <a:moveTo>
                    <a:pt x="0" y="0"/>
                  </a:moveTo>
                  <a:lnTo>
                    <a:pt x="94646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94" name="Forma livre: Forma 1693">
              <a:extLst>
                <a:ext uri="{FF2B5EF4-FFF2-40B4-BE49-F238E27FC236}">
                  <a16:creationId xmlns:a16="http://schemas.microsoft.com/office/drawing/2014/main" id="{0604668E-B425-76B0-A46C-1DFD724EBD3F}"/>
                </a:ext>
              </a:extLst>
            </p:cNvPr>
            <p:cNvSpPr/>
            <p:nvPr/>
          </p:nvSpPr>
          <p:spPr>
            <a:xfrm>
              <a:off x="5689590" y="3674585"/>
              <a:ext cx="229792" cy="290854"/>
            </a:xfrm>
            <a:custGeom>
              <a:avLst/>
              <a:gdLst>
                <a:gd name="connsiteX0" fmla="*/ 0 w 229792"/>
                <a:gd name="connsiteY0" fmla="*/ 257722 h 290854"/>
                <a:gd name="connsiteX1" fmla="*/ 0 w 229792"/>
                <a:gd name="connsiteY1" fmla="*/ 29374 h 290854"/>
                <a:gd name="connsiteX2" fmla="*/ 29374 w 229792"/>
                <a:gd name="connsiteY2" fmla="*/ 0 h 290854"/>
                <a:gd name="connsiteX3" fmla="*/ 229793 w 229792"/>
                <a:gd name="connsiteY3" fmla="*/ 0 h 290854"/>
                <a:gd name="connsiteX4" fmla="*/ 229793 w 229792"/>
                <a:gd name="connsiteY4" fmla="*/ 231298 h 290854"/>
                <a:gd name="connsiteX5" fmla="*/ 29374 w 229792"/>
                <a:gd name="connsiteY5" fmla="*/ 231298 h 290854"/>
                <a:gd name="connsiteX6" fmla="*/ 0 w 229792"/>
                <a:gd name="connsiteY6" fmla="*/ 260672 h 290854"/>
                <a:gd name="connsiteX7" fmla="*/ 0 w 229792"/>
                <a:gd name="connsiteY7" fmla="*/ 261480 h 290854"/>
                <a:gd name="connsiteX8" fmla="*/ 29374 w 229792"/>
                <a:gd name="connsiteY8" fmla="*/ 290854 h 290854"/>
                <a:gd name="connsiteX9" fmla="*/ 229793 w 229792"/>
                <a:gd name="connsiteY9" fmla="*/ 290854 h 2908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29792" h="290854">
                  <a:moveTo>
                    <a:pt x="0" y="257722"/>
                  </a:moveTo>
                  <a:lnTo>
                    <a:pt x="0" y="29374"/>
                  </a:lnTo>
                  <a:cubicBezTo>
                    <a:pt x="0" y="13218"/>
                    <a:pt x="13218" y="0"/>
                    <a:pt x="29374" y="0"/>
                  </a:cubicBezTo>
                  <a:lnTo>
                    <a:pt x="229793" y="0"/>
                  </a:lnTo>
                  <a:lnTo>
                    <a:pt x="229793" y="231298"/>
                  </a:lnTo>
                  <a:lnTo>
                    <a:pt x="29374" y="231298"/>
                  </a:lnTo>
                  <a:cubicBezTo>
                    <a:pt x="13218" y="231298"/>
                    <a:pt x="0" y="244516"/>
                    <a:pt x="0" y="260672"/>
                  </a:cubicBezTo>
                  <a:lnTo>
                    <a:pt x="0" y="261480"/>
                  </a:lnTo>
                  <a:cubicBezTo>
                    <a:pt x="0" y="277636"/>
                    <a:pt x="13218" y="290854"/>
                    <a:pt x="29374" y="290854"/>
                  </a:cubicBezTo>
                  <a:lnTo>
                    <a:pt x="229793" y="290854"/>
                  </a:lnTo>
                </a:path>
              </a:pathLst>
            </a:custGeom>
            <a:noFill/>
            <a:ln w="6350" cap="sq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695" name="Gráfico 14">
            <a:extLst>
              <a:ext uri="{FF2B5EF4-FFF2-40B4-BE49-F238E27FC236}">
                <a16:creationId xmlns:a16="http://schemas.microsoft.com/office/drawing/2014/main" id="{65348128-DD87-58FE-89B0-BE57B418589B}"/>
              </a:ext>
            </a:extLst>
          </p:cNvPr>
          <p:cNvGrpSpPr/>
          <p:nvPr/>
        </p:nvGrpSpPr>
        <p:grpSpPr>
          <a:xfrm>
            <a:off x="5635480" y="5331159"/>
            <a:ext cx="337999" cy="265897"/>
            <a:chOff x="5635480" y="5331159"/>
            <a:chExt cx="337999" cy="265897"/>
          </a:xfrm>
          <a:noFill/>
        </p:grpSpPr>
        <p:grpSp>
          <p:nvGrpSpPr>
            <p:cNvPr id="1696" name="Gráfico 14">
              <a:extLst>
                <a:ext uri="{FF2B5EF4-FFF2-40B4-BE49-F238E27FC236}">
                  <a16:creationId xmlns:a16="http://schemas.microsoft.com/office/drawing/2014/main" id="{E9DBD30A-A742-53EF-6667-D68E49C93FCE}"/>
                </a:ext>
              </a:extLst>
            </p:cNvPr>
            <p:cNvGrpSpPr/>
            <p:nvPr/>
          </p:nvGrpSpPr>
          <p:grpSpPr>
            <a:xfrm>
              <a:off x="5635480" y="5331159"/>
              <a:ext cx="337999" cy="265897"/>
              <a:chOff x="5635480" y="5331159"/>
              <a:chExt cx="337999" cy="265897"/>
            </a:xfrm>
            <a:noFill/>
          </p:grpSpPr>
          <p:grpSp>
            <p:nvGrpSpPr>
              <p:cNvPr id="1697" name="Gráfico 14">
                <a:extLst>
                  <a:ext uri="{FF2B5EF4-FFF2-40B4-BE49-F238E27FC236}">
                    <a16:creationId xmlns:a16="http://schemas.microsoft.com/office/drawing/2014/main" id="{8146C279-AD6B-DE2E-EFD9-A955186F00BC}"/>
                  </a:ext>
                </a:extLst>
              </p:cNvPr>
              <p:cNvGrpSpPr/>
              <p:nvPr/>
            </p:nvGrpSpPr>
            <p:grpSpPr>
              <a:xfrm>
                <a:off x="5663312" y="5331159"/>
                <a:ext cx="282347" cy="242777"/>
                <a:chOff x="5663312" y="5331159"/>
                <a:chExt cx="282347" cy="242777"/>
              </a:xfrm>
              <a:noFill/>
            </p:grpSpPr>
            <p:sp>
              <p:nvSpPr>
                <p:cNvPr id="1698" name="Forma livre: Forma 1697">
                  <a:extLst>
                    <a:ext uri="{FF2B5EF4-FFF2-40B4-BE49-F238E27FC236}">
                      <a16:creationId xmlns:a16="http://schemas.microsoft.com/office/drawing/2014/main" id="{03493BA2-381D-895D-588E-27405C429742}"/>
                    </a:ext>
                  </a:extLst>
                </p:cNvPr>
                <p:cNvSpPr/>
                <p:nvPr/>
              </p:nvSpPr>
              <p:spPr>
                <a:xfrm>
                  <a:off x="5804492" y="5331159"/>
                  <a:ext cx="141167" cy="242777"/>
                </a:xfrm>
                <a:custGeom>
                  <a:avLst/>
                  <a:gdLst>
                    <a:gd name="connsiteX0" fmla="*/ 76043 w 141167"/>
                    <a:gd name="connsiteY0" fmla="*/ 12 h 242777"/>
                    <a:gd name="connsiteX1" fmla="*/ 0 w 141167"/>
                    <a:gd name="connsiteY1" fmla="*/ 19901 h 242777"/>
                    <a:gd name="connsiteX2" fmla="*/ 0 w 141167"/>
                    <a:gd name="connsiteY2" fmla="*/ 242778 h 242777"/>
                    <a:gd name="connsiteX3" fmla="*/ 76043 w 141167"/>
                    <a:gd name="connsiteY3" fmla="*/ 222901 h 242777"/>
                    <a:gd name="connsiteX4" fmla="*/ 141168 w 141167"/>
                    <a:gd name="connsiteY4" fmla="*/ 222901 h 242777"/>
                    <a:gd name="connsiteX5" fmla="*/ 141168 w 141167"/>
                    <a:gd name="connsiteY5" fmla="*/ 12 h 242777"/>
                    <a:gd name="connsiteX6" fmla="*/ 76043 w 141167"/>
                    <a:gd name="connsiteY6" fmla="*/ 12 h 24277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1167" h="242777">
                      <a:moveTo>
                        <a:pt x="76043" y="12"/>
                      </a:moveTo>
                      <a:cubicBezTo>
                        <a:pt x="36546" y="12"/>
                        <a:pt x="17380" y="-1163"/>
                        <a:pt x="0" y="19901"/>
                      </a:cubicBezTo>
                      <a:lnTo>
                        <a:pt x="0" y="242778"/>
                      </a:lnTo>
                      <a:cubicBezTo>
                        <a:pt x="17380" y="221714"/>
                        <a:pt x="36559" y="222901"/>
                        <a:pt x="76043" y="222901"/>
                      </a:cubicBezTo>
                      <a:lnTo>
                        <a:pt x="141168" y="222901"/>
                      </a:lnTo>
                      <a:lnTo>
                        <a:pt x="141168" y="12"/>
                      </a:lnTo>
                      <a:lnTo>
                        <a:pt x="76043" y="12"/>
                      </a:lnTo>
                      <a:close/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699" name="Forma livre: Forma 1698">
                  <a:extLst>
                    <a:ext uri="{FF2B5EF4-FFF2-40B4-BE49-F238E27FC236}">
                      <a16:creationId xmlns:a16="http://schemas.microsoft.com/office/drawing/2014/main" id="{C4795173-411D-19D3-AA25-CD11245C8833}"/>
                    </a:ext>
                  </a:extLst>
                </p:cNvPr>
                <p:cNvSpPr/>
                <p:nvPr/>
              </p:nvSpPr>
              <p:spPr>
                <a:xfrm>
                  <a:off x="5663312" y="5331159"/>
                  <a:ext cx="141167" cy="242777"/>
                </a:xfrm>
                <a:custGeom>
                  <a:avLst/>
                  <a:gdLst>
                    <a:gd name="connsiteX0" fmla="*/ 141168 w 141167"/>
                    <a:gd name="connsiteY0" fmla="*/ 242778 h 242777"/>
                    <a:gd name="connsiteX1" fmla="*/ 65113 w 141167"/>
                    <a:gd name="connsiteY1" fmla="*/ 222901 h 242777"/>
                    <a:gd name="connsiteX2" fmla="*/ 0 w 141167"/>
                    <a:gd name="connsiteY2" fmla="*/ 222901 h 242777"/>
                    <a:gd name="connsiteX3" fmla="*/ 0 w 141167"/>
                    <a:gd name="connsiteY3" fmla="*/ 12 h 242777"/>
                    <a:gd name="connsiteX4" fmla="*/ 65113 w 141167"/>
                    <a:gd name="connsiteY4" fmla="*/ 12 h 242777"/>
                    <a:gd name="connsiteX5" fmla="*/ 141168 w 141167"/>
                    <a:gd name="connsiteY5" fmla="*/ 19901 h 24277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141167" h="242777">
                      <a:moveTo>
                        <a:pt x="141168" y="242778"/>
                      </a:moveTo>
                      <a:cubicBezTo>
                        <a:pt x="123788" y="221714"/>
                        <a:pt x="104597" y="222901"/>
                        <a:pt x="65113" y="222901"/>
                      </a:cubicBezTo>
                      <a:lnTo>
                        <a:pt x="0" y="222901"/>
                      </a:lnTo>
                      <a:lnTo>
                        <a:pt x="0" y="12"/>
                      </a:lnTo>
                      <a:lnTo>
                        <a:pt x="65113" y="12"/>
                      </a:lnTo>
                      <a:cubicBezTo>
                        <a:pt x="104609" y="12"/>
                        <a:pt x="123788" y="-1163"/>
                        <a:pt x="141168" y="19901"/>
                      </a:cubicBez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1700" name="Forma livre: Forma 1699">
                <a:extLst>
                  <a:ext uri="{FF2B5EF4-FFF2-40B4-BE49-F238E27FC236}">
                    <a16:creationId xmlns:a16="http://schemas.microsoft.com/office/drawing/2014/main" id="{7321B79B-7E12-2EB7-B91C-E36325E38CA6}"/>
                  </a:ext>
                </a:extLst>
              </p:cNvPr>
              <p:cNvSpPr/>
              <p:nvPr/>
            </p:nvSpPr>
            <p:spPr>
              <a:xfrm>
                <a:off x="5635480" y="5366506"/>
                <a:ext cx="337999" cy="230551"/>
              </a:xfrm>
              <a:custGeom>
                <a:avLst/>
                <a:gdLst>
                  <a:gd name="connsiteX0" fmla="*/ 0 w 337999"/>
                  <a:gd name="connsiteY0" fmla="*/ 0 h 230551"/>
                  <a:gd name="connsiteX1" fmla="*/ 0 w 337999"/>
                  <a:gd name="connsiteY1" fmla="*/ 214408 h 230551"/>
                  <a:gd name="connsiteX2" fmla="*/ 137361 w 337999"/>
                  <a:gd name="connsiteY2" fmla="*/ 214408 h 230551"/>
                  <a:gd name="connsiteX3" fmla="*/ 152758 w 337999"/>
                  <a:gd name="connsiteY3" fmla="*/ 230551 h 230551"/>
                  <a:gd name="connsiteX4" fmla="*/ 153015 w 337999"/>
                  <a:gd name="connsiteY4" fmla="*/ 230551 h 230551"/>
                  <a:gd name="connsiteX5" fmla="*/ 184984 w 337999"/>
                  <a:gd name="connsiteY5" fmla="*/ 230551 h 230551"/>
                  <a:gd name="connsiteX6" fmla="*/ 185242 w 337999"/>
                  <a:gd name="connsiteY6" fmla="*/ 230551 h 230551"/>
                  <a:gd name="connsiteX7" fmla="*/ 200638 w 337999"/>
                  <a:gd name="connsiteY7" fmla="*/ 214408 h 230551"/>
                  <a:gd name="connsiteX8" fmla="*/ 338000 w 337999"/>
                  <a:gd name="connsiteY8" fmla="*/ 214408 h 230551"/>
                  <a:gd name="connsiteX9" fmla="*/ 338000 w 337999"/>
                  <a:gd name="connsiteY9" fmla="*/ 0 h 2305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337999" h="230551">
                    <a:moveTo>
                      <a:pt x="0" y="0"/>
                    </a:moveTo>
                    <a:lnTo>
                      <a:pt x="0" y="214408"/>
                    </a:lnTo>
                    <a:lnTo>
                      <a:pt x="137361" y="214408"/>
                    </a:lnTo>
                    <a:cubicBezTo>
                      <a:pt x="137361" y="214408"/>
                      <a:pt x="144228" y="230551"/>
                      <a:pt x="152758" y="230551"/>
                    </a:cubicBezTo>
                    <a:cubicBezTo>
                      <a:pt x="153028" y="230551"/>
                      <a:pt x="153089" y="230551"/>
                      <a:pt x="153015" y="230551"/>
                    </a:cubicBezTo>
                    <a:lnTo>
                      <a:pt x="184984" y="230551"/>
                    </a:lnTo>
                    <a:cubicBezTo>
                      <a:pt x="184923" y="230551"/>
                      <a:pt x="184972" y="230551"/>
                      <a:pt x="185242" y="230551"/>
                    </a:cubicBezTo>
                    <a:cubicBezTo>
                      <a:pt x="193772" y="230551"/>
                      <a:pt x="200638" y="214408"/>
                      <a:pt x="200638" y="214408"/>
                    </a:cubicBezTo>
                    <a:lnTo>
                      <a:pt x="338000" y="214408"/>
                    </a:lnTo>
                    <a:lnTo>
                      <a:pt x="338000" y="0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701" name="Gráfico 14">
              <a:extLst>
                <a:ext uri="{FF2B5EF4-FFF2-40B4-BE49-F238E27FC236}">
                  <a16:creationId xmlns:a16="http://schemas.microsoft.com/office/drawing/2014/main" id="{190C49DD-347E-3529-28CE-71265F9A98F9}"/>
                </a:ext>
              </a:extLst>
            </p:cNvPr>
            <p:cNvGrpSpPr/>
            <p:nvPr/>
          </p:nvGrpSpPr>
          <p:grpSpPr>
            <a:xfrm>
              <a:off x="5699063" y="5370080"/>
              <a:ext cx="210833" cy="146332"/>
              <a:chOff x="5699063" y="5370080"/>
              <a:chExt cx="210833" cy="146332"/>
            </a:xfrm>
          </p:grpSpPr>
          <p:grpSp>
            <p:nvGrpSpPr>
              <p:cNvPr id="1702" name="Gráfico 14">
                <a:extLst>
                  <a:ext uri="{FF2B5EF4-FFF2-40B4-BE49-F238E27FC236}">
                    <a16:creationId xmlns:a16="http://schemas.microsoft.com/office/drawing/2014/main" id="{4DAB02F0-063B-1D10-F3C0-BD65EA482F58}"/>
                  </a:ext>
                </a:extLst>
              </p:cNvPr>
              <p:cNvGrpSpPr/>
              <p:nvPr/>
            </p:nvGrpSpPr>
            <p:grpSpPr>
              <a:xfrm>
                <a:off x="5853609" y="5370080"/>
                <a:ext cx="56288" cy="146332"/>
                <a:chOff x="5853609" y="5370080"/>
                <a:chExt cx="56288" cy="146332"/>
              </a:xfrm>
            </p:grpSpPr>
            <p:sp>
              <p:nvSpPr>
                <p:cNvPr id="1703" name="Forma livre: Forma 1702">
                  <a:extLst>
                    <a:ext uri="{FF2B5EF4-FFF2-40B4-BE49-F238E27FC236}">
                      <a16:creationId xmlns:a16="http://schemas.microsoft.com/office/drawing/2014/main" id="{84901497-A6BC-C914-8C2E-F98211D708DE}"/>
                    </a:ext>
                  </a:extLst>
                </p:cNvPr>
                <p:cNvSpPr/>
                <p:nvPr/>
              </p:nvSpPr>
              <p:spPr>
                <a:xfrm>
                  <a:off x="5853609" y="5370080"/>
                  <a:ext cx="56288" cy="1223"/>
                </a:xfrm>
                <a:custGeom>
                  <a:avLst/>
                  <a:gdLst>
                    <a:gd name="connsiteX0" fmla="*/ 56288 w 56288"/>
                    <a:gd name="connsiteY0" fmla="*/ 0 h 1223"/>
                    <a:gd name="connsiteX1" fmla="*/ 0 w 56288"/>
                    <a:gd name="connsiteY1" fmla="*/ 0 h 122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56288" h="1223">
                      <a:moveTo>
                        <a:pt x="56288" y="0"/>
                      </a:moveTo>
                      <a:lnTo>
                        <a:pt x="0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704" name="Forma livre: Forma 1703">
                  <a:extLst>
                    <a:ext uri="{FF2B5EF4-FFF2-40B4-BE49-F238E27FC236}">
                      <a16:creationId xmlns:a16="http://schemas.microsoft.com/office/drawing/2014/main" id="{3DA8FC18-FB09-3730-D62B-16E3B019C2DC}"/>
                    </a:ext>
                  </a:extLst>
                </p:cNvPr>
                <p:cNvSpPr/>
                <p:nvPr/>
              </p:nvSpPr>
              <p:spPr>
                <a:xfrm>
                  <a:off x="5853609" y="5406663"/>
                  <a:ext cx="56288" cy="1223"/>
                </a:xfrm>
                <a:custGeom>
                  <a:avLst/>
                  <a:gdLst>
                    <a:gd name="connsiteX0" fmla="*/ 56288 w 56288"/>
                    <a:gd name="connsiteY0" fmla="*/ 0 h 1223"/>
                    <a:gd name="connsiteX1" fmla="*/ 0 w 56288"/>
                    <a:gd name="connsiteY1" fmla="*/ 0 h 122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56288" h="1223">
                      <a:moveTo>
                        <a:pt x="56288" y="0"/>
                      </a:moveTo>
                      <a:lnTo>
                        <a:pt x="0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705" name="Forma livre: Forma 1704">
                  <a:extLst>
                    <a:ext uri="{FF2B5EF4-FFF2-40B4-BE49-F238E27FC236}">
                      <a16:creationId xmlns:a16="http://schemas.microsoft.com/office/drawing/2014/main" id="{42ACCF49-7D39-9C85-43D7-52C9CCC6B05B}"/>
                    </a:ext>
                  </a:extLst>
                </p:cNvPr>
                <p:cNvSpPr/>
                <p:nvPr/>
              </p:nvSpPr>
              <p:spPr>
                <a:xfrm>
                  <a:off x="5853609" y="5443258"/>
                  <a:ext cx="56288" cy="1223"/>
                </a:xfrm>
                <a:custGeom>
                  <a:avLst/>
                  <a:gdLst>
                    <a:gd name="connsiteX0" fmla="*/ 56288 w 56288"/>
                    <a:gd name="connsiteY0" fmla="*/ 0 h 1223"/>
                    <a:gd name="connsiteX1" fmla="*/ 0 w 56288"/>
                    <a:gd name="connsiteY1" fmla="*/ 0 h 122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56288" h="1223">
                      <a:moveTo>
                        <a:pt x="56288" y="0"/>
                      </a:moveTo>
                      <a:lnTo>
                        <a:pt x="0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706" name="Forma livre: Forma 1705">
                  <a:extLst>
                    <a:ext uri="{FF2B5EF4-FFF2-40B4-BE49-F238E27FC236}">
                      <a16:creationId xmlns:a16="http://schemas.microsoft.com/office/drawing/2014/main" id="{B747AAA1-4180-7BD6-56FA-36ECEEA2BD00}"/>
                    </a:ext>
                  </a:extLst>
                </p:cNvPr>
                <p:cNvSpPr/>
                <p:nvPr/>
              </p:nvSpPr>
              <p:spPr>
                <a:xfrm>
                  <a:off x="5853609" y="5479829"/>
                  <a:ext cx="56288" cy="1223"/>
                </a:xfrm>
                <a:custGeom>
                  <a:avLst/>
                  <a:gdLst>
                    <a:gd name="connsiteX0" fmla="*/ 56288 w 56288"/>
                    <a:gd name="connsiteY0" fmla="*/ 0 h 1223"/>
                    <a:gd name="connsiteX1" fmla="*/ 0 w 56288"/>
                    <a:gd name="connsiteY1" fmla="*/ 0 h 122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56288" h="1223">
                      <a:moveTo>
                        <a:pt x="56288" y="0"/>
                      </a:moveTo>
                      <a:lnTo>
                        <a:pt x="0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707" name="Forma livre: Forma 1706">
                  <a:extLst>
                    <a:ext uri="{FF2B5EF4-FFF2-40B4-BE49-F238E27FC236}">
                      <a16:creationId xmlns:a16="http://schemas.microsoft.com/office/drawing/2014/main" id="{16D598DF-D1AE-9088-DAD5-C5702A6A9D91}"/>
                    </a:ext>
                  </a:extLst>
                </p:cNvPr>
                <p:cNvSpPr/>
                <p:nvPr/>
              </p:nvSpPr>
              <p:spPr>
                <a:xfrm>
                  <a:off x="5853609" y="5516413"/>
                  <a:ext cx="56288" cy="1223"/>
                </a:xfrm>
                <a:custGeom>
                  <a:avLst/>
                  <a:gdLst>
                    <a:gd name="connsiteX0" fmla="*/ 56288 w 56288"/>
                    <a:gd name="connsiteY0" fmla="*/ 0 h 1223"/>
                    <a:gd name="connsiteX1" fmla="*/ 0 w 56288"/>
                    <a:gd name="connsiteY1" fmla="*/ 0 h 122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56288" h="1223">
                      <a:moveTo>
                        <a:pt x="56288" y="0"/>
                      </a:moveTo>
                      <a:lnTo>
                        <a:pt x="0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1708" name="Gráfico 14">
                <a:extLst>
                  <a:ext uri="{FF2B5EF4-FFF2-40B4-BE49-F238E27FC236}">
                    <a16:creationId xmlns:a16="http://schemas.microsoft.com/office/drawing/2014/main" id="{5E6F7D78-4C0C-6B35-5661-C1002340F6C6}"/>
                  </a:ext>
                </a:extLst>
              </p:cNvPr>
              <p:cNvGrpSpPr/>
              <p:nvPr/>
            </p:nvGrpSpPr>
            <p:grpSpPr>
              <a:xfrm>
                <a:off x="5699063" y="5370080"/>
                <a:ext cx="56300" cy="146332"/>
                <a:chOff x="5699063" y="5370080"/>
                <a:chExt cx="56300" cy="146332"/>
              </a:xfrm>
            </p:grpSpPr>
            <p:sp>
              <p:nvSpPr>
                <p:cNvPr id="1709" name="Forma livre: Forma 1708">
                  <a:extLst>
                    <a:ext uri="{FF2B5EF4-FFF2-40B4-BE49-F238E27FC236}">
                      <a16:creationId xmlns:a16="http://schemas.microsoft.com/office/drawing/2014/main" id="{3FBFD629-DA8C-8FD9-86B9-D230C631D168}"/>
                    </a:ext>
                  </a:extLst>
                </p:cNvPr>
                <p:cNvSpPr/>
                <p:nvPr/>
              </p:nvSpPr>
              <p:spPr>
                <a:xfrm>
                  <a:off x="5699063" y="5370080"/>
                  <a:ext cx="56300" cy="1223"/>
                </a:xfrm>
                <a:custGeom>
                  <a:avLst/>
                  <a:gdLst>
                    <a:gd name="connsiteX0" fmla="*/ 56301 w 56300"/>
                    <a:gd name="connsiteY0" fmla="*/ 0 h 1223"/>
                    <a:gd name="connsiteX1" fmla="*/ 0 w 56300"/>
                    <a:gd name="connsiteY1" fmla="*/ 0 h 122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56300" h="1223">
                      <a:moveTo>
                        <a:pt x="56301" y="0"/>
                      </a:moveTo>
                      <a:lnTo>
                        <a:pt x="0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710" name="Forma livre: Forma 1709">
                  <a:extLst>
                    <a:ext uri="{FF2B5EF4-FFF2-40B4-BE49-F238E27FC236}">
                      <a16:creationId xmlns:a16="http://schemas.microsoft.com/office/drawing/2014/main" id="{381C802E-0230-FA11-686E-40B26352579C}"/>
                    </a:ext>
                  </a:extLst>
                </p:cNvPr>
                <p:cNvSpPr/>
                <p:nvPr/>
              </p:nvSpPr>
              <p:spPr>
                <a:xfrm>
                  <a:off x="5699063" y="5406663"/>
                  <a:ext cx="56300" cy="1223"/>
                </a:xfrm>
                <a:custGeom>
                  <a:avLst/>
                  <a:gdLst>
                    <a:gd name="connsiteX0" fmla="*/ 56301 w 56300"/>
                    <a:gd name="connsiteY0" fmla="*/ 0 h 1223"/>
                    <a:gd name="connsiteX1" fmla="*/ 0 w 56300"/>
                    <a:gd name="connsiteY1" fmla="*/ 0 h 122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56300" h="1223">
                      <a:moveTo>
                        <a:pt x="56301" y="0"/>
                      </a:moveTo>
                      <a:lnTo>
                        <a:pt x="0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711" name="Forma livre: Forma 1710">
                  <a:extLst>
                    <a:ext uri="{FF2B5EF4-FFF2-40B4-BE49-F238E27FC236}">
                      <a16:creationId xmlns:a16="http://schemas.microsoft.com/office/drawing/2014/main" id="{22565D30-FF10-96A5-8E9D-000BDCBD678E}"/>
                    </a:ext>
                  </a:extLst>
                </p:cNvPr>
                <p:cNvSpPr/>
                <p:nvPr/>
              </p:nvSpPr>
              <p:spPr>
                <a:xfrm>
                  <a:off x="5699063" y="5443258"/>
                  <a:ext cx="56300" cy="1223"/>
                </a:xfrm>
                <a:custGeom>
                  <a:avLst/>
                  <a:gdLst>
                    <a:gd name="connsiteX0" fmla="*/ 56301 w 56300"/>
                    <a:gd name="connsiteY0" fmla="*/ 0 h 1223"/>
                    <a:gd name="connsiteX1" fmla="*/ 0 w 56300"/>
                    <a:gd name="connsiteY1" fmla="*/ 0 h 122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56300" h="1223">
                      <a:moveTo>
                        <a:pt x="56301" y="0"/>
                      </a:moveTo>
                      <a:lnTo>
                        <a:pt x="0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712" name="Forma livre: Forma 1711">
                  <a:extLst>
                    <a:ext uri="{FF2B5EF4-FFF2-40B4-BE49-F238E27FC236}">
                      <a16:creationId xmlns:a16="http://schemas.microsoft.com/office/drawing/2014/main" id="{01E3A4B4-8C64-A862-59F1-0D9086D0A7EA}"/>
                    </a:ext>
                  </a:extLst>
                </p:cNvPr>
                <p:cNvSpPr/>
                <p:nvPr/>
              </p:nvSpPr>
              <p:spPr>
                <a:xfrm>
                  <a:off x="5699063" y="5479829"/>
                  <a:ext cx="56300" cy="1223"/>
                </a:xfrm>
                <a:custGeom>
                  <a:avLst/>
                  <a:gdLst>
                    <a:gd name="connsiteX0" fmla="*/ 56301 w 56300"/>
                    <a:gd name="connsiteY0" fmla="*/ 0 h 1223"/>
                    <a:gd name="connsiteX1" fmla="*/ 0 w 56300"/>
                    <a:gd name="connsiteY1" fmla="*/ 0 h 122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56300" h="1223">
                      <a:moveTo>
                        <a:pt x="56301" y="0"/>
                      </a:moveTo>
                      <a:lnTo>
                        <a:pt x="0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713" name="Forma livre: Forma 1712">
                  <a:extLst>
                    <a:ext uri="{FF2B5EF4-FFF2-40B4-BE49-F238E27FC236}">
                      <a16:creationId xmlns:a16="http://schemas.microsoft.com/office/drawing/2014/main" id="{272D9E5D-0FE4-4527-D578-6F69C437C870}"/>
                    </a:ext>
                  </a:extLst>
                </p:cNvPr>
                <p:cNvSpPr/>
                <p:nvPr/>
              </p:nvSpPr>
              <p:spPr>
                <a:xfrm>
                  <a:off x="5699063" y="5516413"/>
                  <a:ext cx="56300" cy="1223"/>
                </a:xfrm>
                <a:custGeom>
                  <a:avLst/>
                  <a:gdLst>
                    <a:gd name="connsiteX0" fmla="*/ 56301 w 56300"/>
                    <a:gd name="connsiteY0" fmla="*/ 0 h 1223"/>
                    <a:gd name="connsiteX1" fmla="*/ 0 w 56300"/>
                    <a:gd name="connsiteY1" fmla="*/ 0 h 122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56300" h="1223">
                      <a:moveTo>
                        <a:pt x="56301" y="0"/>
                      </a:moveTo>
                      <a:lnTo>
                        <a:pt x="0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</p:grpSp>
      <p:grpSp>
        <p:nvGrpSpPr>
          <p:cNvPr id="1714" name="Gráfico 14">
            <a:extLst>
              <a:ext uri="{FF2B5EF4-FFF2-40B4-BE49-F238E27FC236}">
                <a16:creationId xmlns:a16="http://schemas.microsoft.com/office/drawing/2014/main" id="{0344C245-0B9D-FC5F-8382-39F605F237A0}"/>
              </a:ext>
            </a:extLst>
          </p:cNvPr>
          <p:cNvGrpSpPr/>
          <p:nvPr/>
        </p:nvGrpSpPr>
        <p:grpSpPr>
          <a:xfrm>
            <a:off x="5653166" y="4770649"/>
            <a:ext cx="302640" cy="290866"/>
            <a:chOff x="5653166" y="4770649"/>
            <a:chExt cx="302640" cy="290866"/>
          </a:xfrm>
        </p:grpSpPr>
        <p:grpSp>
          <p:nvGrpSpPr>
            <p:cNvPr id="1715" name="Gráfico 14">
              <a:extLst>
                <a:ext uri="{FF2B5EF4-FFF2-40B4-BE49-F238E27FC236}">
                  <a16:creationId xmlns:a16="http://schemas.microsoft.com/office/drawing/2014/main" id="{CDE46F95-838F-99D7-4AFF-9668C124133A}"/>
                </a:ext>
              </a:extLst>
            </p:cNvPr>
            <p:cNvGrpSpPr/>
            <p:nvPr/>
          </p:nvGrpSpPr>
          <p:grpSpPr>
            <a:xfrm>
              <a:off x="5653166" y="4770649"/>
              <a:ext cx="226989" cy="290866"/>
              <a:chOff x="5653166" y="4770649"/>
              <a:chExt cx="226989" cy="290866"/>
            </a:xfrm>
            <a:noFill/>
          </p:grpSpPr>
          <p:sp>
            <p:nvSpPr>
              <p:cNvPr id="1716" name="Forma livre: Forma 1715">
                <a:extLst>
                  <a:ext uri="{FF2B5EF4-FFF2-40B4-BE49-F238E27FC236}">
                    <a16:creationId xmlns:a16="http://schemas.microsoft.com/office/drawing/2014/main" id="{7524367A-E877-C823-B22A-C709CE43F64B}"/>
                  </a:ext>
                </a:extLst>
              </p:cNvPr>
              <p:cNvSpPr/>
              <p:nvPr/>
            </p:nvSpPr>
            <p:spPr>
              <a:xfrm>
                <a:off x="5686028" y="4856593"/>
                <a:ext cx="1223" cy="178815"/>
              </a:xfrm>
              <a:custGeom>
                <a:avLst/>
                <a:gdLst>
                  <a:gd name="connsiteX0" fmla="*/ 0 w 1223"/>
                  <a:gd name="connsiteY0" fmla="*/ 178816 h 178815"/>
                  <a:gd name="connsiteX1" fmla="*/ 0 w 1223"/>
                  <a:gd name="connsiteY1" fmla="*/ 0 h 1788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23" h="178815">
                    <a:moveTo>
                      <a:pt x="0" y="178816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717" name="Forma livre: Forma 1716">
                <a:extLst>
                  <a:ext uri="{FF2B5EF4-FFF2-40B4-BE49-F238E27FC236}">
                    <a16:creationId xmlns:a16="http://schemas.microsoft.com/office/drawing/2014/main" id="{672968B7-FEA1-F53C-69EE-2DB0E9BCE776}"/>
                  </a:ext>
                </a:extLst>
              </p:cNvPr>
              <p:cNvSpPr/>
              <p:nvPr/>
            </p:nvSpPr>
            <p:spPr>
              <a:xfrm>
                <a:off x="5685735" y="4800427"/>
                <a:ext cx="194421" cy="1223"/>
              </a:xfrm>
              <a:custGeom>
                <a:avLst/>
                <a:gdLst>
                  <a:gd name="connsiteX0" fmla="*/ 0 w 194421"/>
                  <a:gd name="connsiteY0" fmla="*/ 0 h 1223"/>
                  <a:gd name="connsiteX1" fmla="*/ 194421 w 194421"/>
                  <a:gd name="connsiteY1" fmla="*/ 0 h 12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94421" h="1223">
                    <a:moveTo>
                      <a:pt x="0" y="0"/>
                    </a:moveTo>
                    <a:lnTo>
                      <a:pt x="194421" y="0"/>
                    </a:lnTo>
                  </a:path>
                </a:pathLst>
              </a:custGeom>
              <a:ln w="6350" cap="sq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718" name="Forma livre: Forma 1717">
                <a:extLst>
                  <a:ext uri="{FF2B5EF4-FFF2-40B4-BE49-F238E27FC236}">
                    <a16:creationId xmlns:a16="http://schemas.microsoft.com/office/drawing/2014/main" id="{1A00247C-9325-CE45-AEE0-FF0E29521056}"/>
                  </a:ext>
                </a:extLst>
              </p:cNvPr>
              <p:cNvSpPr/>
              <p:nvPr/>
            </p:nvSpPr>
            <p:spPr>
              <a:xfrm>
                <a:off x="5653166" y="4770649"/>
                <a:ext cx="226989" cy="110410"/>
              </a:xfrm>
              <a:custGeom>
                <a:avLst/>
                <a:gdLst>
                  <a:gd name="connsiteX0" fmla="*/ 226990 w 226989"/>
                  <a:gd name="connsiteY0" fmla="*/ 0 h 110410"/>
                  <a:gd name="connsiteX1" fmla="*/ 29374 w 226989"/>
                  <a:gd name="connsiteY1" fmla="*/ 0 h 110410"/>
                  <a:gd name="connsiteX2" fmla="*/ 0 w 226989"/>
                  <a:gd name="connsiteY2" fmla="*/ 29374 h 110410"/>
                  <a:gd name="connsiteX3" fmla="*/ 0 w 226989"/>
                  <a:gd name="connsiteY3" fmla="*/ 30182 h 110410"/>
                  <a:gd name="connsiteX4" fmla="*/ 29374 w 226989"/>
                  <a:gd name="connsiteY4" fmla="*/ 59556 h 110410"/>
                  <a:gd name="connsiteX5" fmla="*/ 226990 w 226989"/>
                  <a:gd name="connsiteY5" fmla="*/ 59556 h 110410"/>
                  <a:gd name="connsiteX6" fmla="*/ 226990 w 226989"/>
                  <a:gd name="connsiteY6" fmla="*/ 110411 h 1104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26989" h="110410">
                    <a:moveTo>
                      <a:pt x="226990" y="0"/>
                    </a:moveTo>
                    <a:lnTo>
                      <a:pt x="29374" y="0"/>
                    </a:lnTo>
                    <a:cubicBezTo>
                      <a:pt x="13218" y="0"/>
                      <a:pt x="0" y="13218"/>
                      <a:pt x="0" y="29374"/>
                    </a:cubicBezTo>
                    <a:lnTo>
                      <a:pt x="0" y="30182"/>
                    </a:lnTo>
                    <a:cubicBezTo>
                      <a:pt x="0" y="46338"/>
                      <a:pt x="13218" y="59556"/>
                      <a:pt x="29374" y="59556"/>
                    </a:cubicBezTo>
                    <a:lnTo>
                      <a:pt x="226990" y="59556"/>
                    </a:lnTo>
                    <a:lnTo>
                      <a:pt x="226990" y="110411"/>
                    </a:lnTo>
                  </a:path>
                </a:pathLst>
              </a:custGeom>
              <a:noFill/>
              <a:ln w="6350" cap="sq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719" name="Forma livre: Forma 1718">
                <a:extLst>
                  <a:ext uri="{FF2B5EF4-FFF2-40B4-BE49-F238E27FC236}">
                    <a16:creationId xmlns:a16="http://schemas.microsoft.com/office/drawing/2014/main" id="{307EDA31-672F-7994-52F6-9F29437C5838}"/>
                  </a:ext>
                </a:extLst>
              </p:cNvPr>
              <p:cNvSpPr/>
              <p:nvPr/>
            </p:nvSpPr>
            <p:spPr>
              <a:xfrm>
                <a:off x="5653166" y="4803793"/>
                <a:ext cx="152721" cy="257722"/>
              </a:xfrm>
              <a:custGeom>
                <a:avLst/>
                <a:gdLst>
                  <a:gd name="connsiteX0" fmla="*/ 0 w 152721"/>
                  <a:gd name="connsiteY0" fmla="*/ 0 h 257722"/>
                  <a:gd name="connsiteX1" fmla="*/ 0 w 152721"/>
                  <a:gd name="connsiteY1" fmla="*/ 228348 h 257722"/>
                  <a:gd name="connsiteX2" fmla="*/ 29374 w 152721"/>
                  <a:gd name="connsiteY2" fmla="*/ 257723 h 257722"/>
                  <a:gd name="connsiteX3" fmla="*/ 152722 w 152721"/>
                  <a:gd name="connsiteY3" fmla="*/ 257723 h 2577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52721" h="257722">
                    <a:moveTo>
                      <a:pt x="0" y="0"/>
                    </a:moveTo>
                    <a:lnTo>
                      <a:pt x="0" y="228348"/>
                    </a:lnTo>
                    <a:cubicBezTo>
                      <a:pt x="0" y="244504"/>
                      <a:pt x="13218" y="257723"/>
                      <a:pt x="29374" y="257723"/>
                    </a:cubicBezTo>
                    <a:lnTo>
                      <a:pt x="152722" y="257723"/>
                    </a:lnTo>
                  </a:path>
                </a:pathLst>
              </a:custGeom>
              <a:noFill/>
              <a:ln w="6350" cap="sq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720" name="Forma livre: Forma 1719">
                <a:extLst>
                  <a:ext uri="{FF2B5EF4-FFF2-40B4-BE49-F238E27FC236}">
                    <a16:creationId xmlns:a16="http://schemas.microsoft.com/office/drawing/2014/main" id="{66070FFE-2839-6C8F-36BE-FB2744A62C2E}"/>
                  </a:ext>
                </a:extLst>
              </p:cNvPr>
              <p:cNvSpPr/>
              <p:nvPr/>
            </p:nvSpPr>
            <p:spPr>
              <a:xfrm>
                <a:off x="5736564" y="4876433"/>
                <a:ext cx="94646" cy="1223"/>
              </a:xfrm>
              <a:custGeom>
                <a:avLst/>
                <a:gdLst>
                  <a:gd name="connsiteX0" fmla="*/ 0 w 94646"/>
                  <a:gd name="connsiteY0" fmla="*/ 0 h 1223"/>
                  <a:gd name="connsiteX1" fmla="*/ 94646 w 94646"/>
                  <a:gd name="connsiteY1" fmla="*/ 0 h 12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4646" h="1223">
                    <a:moveTo>
                      <a:pt x="0" y="0"/>
                    </a:moveTo>
                    <a:lnTo>
                      <a:pt x="94646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721" name="Gráfico 14">
              <a:extLst>
                <a:ext uri="{FF2B5EF4-FFF2-40B4-BE49-F238E27FC236}">
                  <a16:creationId xmlns:a16="http://schemas.microsoft.com/office/drawing/2014/main" id="{A7F8C05C-0919-3084-94B2-781E0D2F1205}"/>
                </a:ext>
              </a:extLst>
            </p:cNvPr>
            <p:cNvGrpSpPr/>
            <p:nvPr/>
          </p:nvGrpSpPr>
          <p:grpSpPr>
            <a:xfrm>
              <a:off x="5804039" y="4909736"/>
              <a:ext cx="151767" cy="151767"/>
              <a:chOff x="5804039" y="4909736"/>
              <a:chExt cx="151767" cy="151767"/>
            </a:xfrm>
          </p:grpSpPr>
          <p:sp>
            <p:nvSpPr>
              <p:cNvPr id="1722" name="Forma livre: Forma 1721">
                <a:extLst>
                  <a:ext uri="{FF2B5EF4-FFF2-40B4-BE49-F238E27FC236}">
                    <a16:creationId xmlns:a16="http://schemas.microsoft.com/office/drawing/2014/main" id="{C831ED45-A4D6-47D5-87F5-156D6FCC4F84}"/>
                  </a:ext>
                </a:extLst>
              </p:cNvPr>
              <p:cNvSpPr/>
              <p:nvPr/>
            </p:nvSpPr>
            <p:spPr>
              <a:xfrm>
                <a:off x="5804039" y="4909736"/>
                <a:ext cx="151767" cy="151767"/>
              </a:xfrm>
              <a:custGeom>
                <a:avLst/>
                <a:gdLst>
                  <a:gd name="connsiteX0" fmla="*/ 151767 w 151767"/>
                  <a:gd name="connsiteY0" fmla="*/ 75884 h 151767"/>
                  <a:gd name="connsiteX1" fmla="*/ 75884 w 151767"/>
                  <a:gd name="connsiteY1" fmla="*/ 151767 h 151767"/>
                  <a:gd name="connsiteX2" fmla="*/ 0 w 151767"/>
                  <a:gd name="connsiteY2" fmla="*/ 75884 h 151767"/>
                  <a:gd name="connsiteX3" fmla="*/ 75884 w 151767"/>
                  <a:gd name="connsiteY3" fmla="*/ 0 h 151767"/>
                  <a:gd name="connsiteX4" fmla="*/ 151767 w 151767"/>
                  <a:gd name="connsiteY4" fmla="*/ 75884 h 1517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51767" h="151767">
                    <a:moveTo>
                      <a:pt x="151767" y="75884"/>
                    </a:moveTo>
                    <a:cubicBezTo>
                      <a:pt x="151767" y="117793"/>
                      <a:pt x="117793" y="151767"/>
                      <a:pt x="75884" y="151767"/>
                    </a:cubicBezTo>
                    <a:cubicBezTo>
                      <a:pt x="33974" y="151767"/>
                      <a:pt x="0" y="117793"/>
                      <a:pt x="0" y="75884"/>
                    </a:cubicBezTo>
                    <a:cubicBezTo>
                      <a:pt x="0" y="33974"/>
                      <a:pt x="33974" y="0"/>
                      <a:pt x="75884" y="0"/>
                    </a:cubicBezTo>
                    <a:cubicBezTo>
                      <a:pt x="117793" y="0"/>
                      <a:pt x="151767" y="33974"/>
                      <a:pt x="151767" y="75884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723" name="Forma livre: Forma 1722">
                <a:extLst>
                  <a:ext uri="{FF2B5EF4-FFF2-40B4-BE49-F238E27FC236}">
                    <a16:creationId xmlns:a16="http://schemas.microsoft.com/office/drawing/2014/main" id="{E82186FF-B75B-ED0F-7F46-352763EE11FD}"/>
                  </a:ext>
                </a:extLst>
              </p:cNvPr>
              <p:cNvSpPr/>
              <p:nvPr/>
            </p:nvSpPr>
            <p:spPr>
              <a:xfrm>
                <a:off x="5850549" y="4956245"/>
                <a:ext cx="58748" cy="58748"/>
              </a:xfrm>
              <a:custGeom>
                <a:avLst/>
                <a:gdLst>
                  <a:gd name="connsiteX0" fmla="*/ 58749 w 58748"/>
                  <a:gd name="connsiteY0" fmla="*/ 29374 h 58748"/>
                  <a:gd name="connsiteX1" fmla="*/ 29374 w 58748"/>
                  <a:gd name="connsiteY1" fmla="*/ 58749 h 58748"/>
                  <a:gd name="connsiteX2" fmla="*/ 0 w 58748"/>
                  <a:gd name="connsiteY2" fmla="*/ 29374 h 58748"/>
                  <a:gd name="connsiteX3" fmla="*/ 29374 w 58748"/>
                  <a:gd name="connsiteY3" fmla="*/ 0 h 58748"/>
                  <a:gd name="connsiteX4" fmla="*/ 58749 w 58748"/>
                  <a:gd name="connsiteY4" fmla="*/ 29374 h 587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8748" h="58748">
                    <a:moveTo>
                      <a:pt x="58749" y="29374"/>
                    </a:moveTo>
                    <a:cubicBezTo>
                      <a:pt x="58749" y="45597"/>
                      <a:pt x="45597" y="58749"/>
                      <a:pt x="29374" y="58749"/>
                    </a:cubicBezTo>
                    <a:cubicBezTo>
                      <a:pt x="13151" y="58749"/>
                      <a:pt x="0" y="45597"/>
                      <a:pt x="0" y="29374"/>
                    </a:cubicBezTo>
                    <a:cubicBezTo>
                      <a:pt x="0" y="13151"/>
                      <a:pt x="13151" y="0"/>
                      <a:pt x="29374" y="0"/>
                    </a:cubicBezTo>
                    <a:cubicBezTo>
                      <a:pt x="45597" y="0"/>
                      <a:pt x="58749" y="13151"/>
                      <a:pt x="58749" y="29374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724" name="Forma livre: Forma 1723">
                <a:extLst>
                  <a:ext uri="{FF2B5EF4-FFF2-40B4-BE49-F238E27FC236}">
                    <a16:creationId xmlns:a16="http://schemas.microsoft.com/office/drawing/2014/main" id="{A98F6C71-F170-C356-9BE9-B5851B33BE1F}"/>
                  </a:ext>
                </a:extLst>
              </p:cNvPr>
              <p:cNvSpPr/>
              <p:nvPr/>
            </p:nvSpPr>
            <p:spPr>
              <a:xfrm>
                <a:off x="5876251" y="4981948"/>
                <a:ext cx="7343" cy="7343"/>
              </a:xfrm>
              <a:custGeom>
                <a:avLst/>
                <a:gdLst>
                  <a:gd name="connsiteX0" fmla="*/ 7344 w 7343"/>
                  <a:gd name="connsiteY0" fmla="*/ 3672 h 7343"/>
                  <a:gd name="connsiteX1" fmla="*/ 3672 w 7343"/>
                  <a:gd name="connsiteY1" fmla="*/ 7344 h 7343"/>
                  <a:gd name="connsiteX2" fmla="*/ 0 w 7343"/>
                  <a:gd name="connsiteY2" fmla="*/ 3672 h 7343"/>
                  <a:gd name="connsiteX3" fmla="*/ 3672 w 7343"/>
                  <a:gd name="connsiteY3" fmla="*/ 0 h 7343"/>
                  <a:gd name="connsiteX4" fmla="*/ 7344 w 7343"/>
                  <a:gd name="connsiteY4" fmla="*/ 3672 h 73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343" h="7343">
                    <a:moveTo>
                      <a:pt x="7344" y="3672"/>
                    </a:moveTo>
                    <a:cubicBezTo>
                      <a:pt x="7344" y="5700"/>
                      <a:pt x="5700" y="7344"/>
                      <a:pt x="3672" y="7344"/>
                    </a:cubicBezTo>
                    <a:cubicBezTo>
                      <a:pt x="1644" y="7344"/>
                      <a:pt x="0" y="5700"/>
                      <a:pt x="0" y="3672"/>
                    </a:cubicBezTo>
                    <a:cubicBezTo>
                      <a:pt x="0" y="1644"/>
                      <a:pt x="1644" y="0"/>
                      <a:pt x="3672" y="0"/>
                    </a:cubicBezTo>
                    <a:cubicBezTo>
                      <a:pt x="5700" y="0"/>
                      <a:pt x="7344" y="1644"/>
                      <a:pt x="7344" y="3672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725" name="Gráfico 14">
            <a:extLst>
              <a:ext uri="{FF2B5EF4-FFF2-40B4-BE49-F238E27FC236}">
                <a16:creationId xmlns:a16="http://schemas.microsoft.com/office/drawing/2014/main" id="{07C2042B-7D4A-2BE0-F0BA-8C3258B5197E}"/>
              </a:ext>
            </a:extLst>
          </p:cNvPr>
          <p:cNvGrpSpPr/>
          <p:nvPr/>
        </p:nvGrpSpPr>
        <p:grpSpPr>
          <a:xfrm>
            <a:off x="5662321" y="5875305"/>
            <a:ext cx="284318" cy="273670"/>
            <a:chOff x="5662321" y="5875305"/>
            <a:chExt cx="284318" cy="273670"/>
          </a:xfrm>
          <a:noFill/>
        </p:grpSpPr>
        <p:grpSp>
          <p:nvGrpSpPr>
            <p:cNvPr id="1726" name="Gráfico 14">
              <a:extLst>
                <a:ext uri="{FF2B5EF4-FFF2-40B4-BE49-F238E27FC236}">
                  <a16:creationId xmlns:a16="http://schemas.microsoft.com/office/drawing/2014/main" id="{2184A256-22D3-B40B-F65F-CCB4E85A334E}"/>
                </a:ext>
              </a:extLst>
            </p:cNvPr>
            <p:cNvGrpSpPr/>
            <p:nvPr/>
          </p:nvGrpSpPr>
          <p:grpSpPr>
            <a:xfrm>
              <a:off x="5760761" y="5875317"/>
              <a:ext cx="87425" cy="273658"/>
              <a:chOff x="5760761" y="5875317"/>
              <a:chExt cx="87425" cy="273658"/>
            </a:xfrm>
            <a:noFill/>
          </p:grpSpPr>
          <p:sp>
            <p:nvSpPr>
              <p:cNvPr id="1727" name="Forma livre: Forma 1726">
                <a:extLst>
                  <a:ext uri="{FF2B5EF4-FFF2-40B4-BE49-F238E27FC236}">
                    <a16:creationId xmlns:a16="http://schemas.microsoft.com/office/drawing/2014/main" id="{AF09DC2B-7B07-373E-3619-565B37657B7F}"/>
                  </a:ext>
                </a:extLst>
              </p:cNvPr>
              <p:cNvSpPr/>
              <p:nvPr/>
            </p:nvSpPr>
            <p:spPr>
              <a:xfrm>
                <a:off x="5760761" y="5875317"/>
                <a:ext cx="87425" cy="273658"/>
              </a:xfrm>
              <a:custGeom>
                <a:avLst/>
                <a:gdLst>
                  <a:gd name="connsiteX0" fmla="*/ 77634 w 87425"/>
                  <a:gd name="connsiteY0" fmla="*/ 0 h 273658"/>
                  <a:gd name="connsiteX1" fmla="*/ 87425 w 87425"/>
                  <a:gd name="connsiteY1" fmla="*/ 9791 h 273658"/>
                  <a:gd name="connsiteX2" fmla="*/ 87425 w 87425"/>
                  <a:gd name="connsiteY2" fmla="*/ 263867 h 273658"/>
                  <a:gd name="connsiteX3" fmla="*/ 77634 w 87425"/>
                  <a:gd name="connsiteY3" fmla="*/ 273658 h 273658"/>
                  <a:gd name="connsiteX4" fmla="*/ 9791 w 87425"/>
                  <a:gd name="connsiteY4" fmla="*/ 273658 h 273658"/>
                  <a:gd name="connsiteX5" fmla="*/ 0 w 87425"/>
                  <a:gd name="connsiteY5" fmla="*/ 263867 h 273658"/>
                  <a:gd name="connsiteX6" fmla="*/ 0 w 87425"/>
                  <a:gd name="connsiteY6" fmla="*/ 9791 h 273658"/>
                  <a:gd name="connsiteX7" fmla="*/ 9791 w 87425"/>
                  <a:gd name="connsiteY7" fmla="*/ 0 h 2736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87425" h="273658">
                    <a:moveTo>
                      <a:pt x="77634" y="0"/>
                    </a:moveTo>
                    <a:cubicBezTo>
                      <a:pt x="83041" y="0"/>
                      <a:pt x="87425" y="4384"/>
                      <a:pt x="87425" y="9791"/>
                    </a:cubicBezTo>
                    <a:lnTo>
                      <a:pt x="87425" y="263867"/>
                    </a:lnTo>
                    <a:cubicBezTo>
                      <a:pt x="87425" y="269274"/>
                      <a:pt x="83041" y="273658"/>
                      <a:pt x="77634" y="273658"/>
                    </a:cubicBezTo>
                    <a:lnTo>
                      <a:pt x="9791" y="273658"/>
                    </a:lnTo>
                    <a:cubicBezTo>
                      <a:pt x="4384" y="273658"/>
                      <a:pt x="0" y="269274"/>
                      <a:pt x="0" y="263867"/>
                    </a:cubicBezTo>
                    <a:lnTo>
                      <a:pt x="0" y="9791"/>
                    </a:lnTo>
                    <a:cubicBezTo>
                      <a:pt x="0" y="4384"/>
                      <a:pt x="4384" y="0"/>
                      <a:pt x="9791" y="0"/>
                    </a:cubicBezTo>
                    <a:close/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1728" name="Gráfico 14">
                <a:extLst>
                  <a:ext uri="{FF2B5EF4-FFF2-40B4-BE49-F238E27FC236}">
                    <a16:creationId xmlns:a16="http://schemas.microsoft.com/office/drawing/2014/main" id="{7EABF21D-D264-7907-CFB5-710863D365B2}"/>
                  </a:ext>
                </a:extLst>
              </p:cNvPr>
              <p:cNvGrpSpPr/>
              <p:nvPr/>
            </p:nvGrpSpPr>
            <p:grpSpPr>
              <a:xfrm>
                <a:off x="5784506" y="5919428"/>
                <a:ext cx="39949" cy="26938"/>
                <a:chOff x="5784506" y="5919428"/>
                <a:chExt cx="39949" cy="26938"/>
              </a:xfrm>
            </p:grpSpPr>
            <p:sp>
              <p:nvSpPr>
                <p:cNvPr id="1729" name="Forma livre: Forma 1728">
                  <a:extLst>
                    <a:ext uri="{FF2B5EF4-FFF2-40B4-BE49-F238E27FC236}">
                      <a16:creationId xmlns:a16="http://schemas.microsoft.com/office/drawing/2014/main" id="{3CA48085-9BEB-1AC3-683F-B528653AE6C6}"/>
                    </a:ext>
                  </a:extLst>
                </p:cNvPr>
                <p:cNvSpPr/>
                <p:nvPr/>
              </p:nvSpPr>
              <p:spPr>
                <a:xfrm>
                  <a:off x="5784506" y="5919428"/>
                  <a:ext cx="39949" cy="1223"/>
                </a:xfrm>
                <a:custGeom>
                  <a:avLst/>
                  <a:gdLst>
                    <a:gd name="connsiteX0" fmla="*/ 0 w 39949"/>
                    <a:gd name="connsiteY0" fmla="*/ 0 h 1223"/>
                    <a:gd name="connsiteX1" fmla="*/ 39949 w 39949"/>
                    <a:gd name="connsiteY1" fmla="*/ 0 h 122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39949" h="1223">
                      <a:moveTo>
                        <a:pt x="0" y="0"/>
                      </a:moveTo>
                      <a:lnTo>
                        <a:pt x="39949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730" name="Forma livre: Forma 1729">
                  <a:extLst>
                    <a:ext uri="{FF2B5EF4-FFF2-40B4-BE49-F238E27FC236}">
                      <a16:creationId xmlns:a16="http://schemas.microsoft.com/office/drawing/2014/main" id="{2B05F284-4246-FCE4-72FA-A2B939346123}"/>
                    </a:ext>
                  </a:extLst>
                </p:cNvPr>
                <p:cNvSpPr/>
                <p:nvPr/>
              </p:nvSpPr>
              <p:spPr>
                <a:xfrm>
                  <a:off x="5784506" y="5946366"/>
                  <a:ext cx="39949" cy="1223"/>
                </a:xfrm>
                <a:custGeom>
                  <a:avLst/>
                  <a:gdLst>
                    <a:gd name="connsiteX0" fmla="*/ 0 w 39949"/>
                    <a:gd name="connsiteY0" fmla="*/ 0 h 1223"/>
                    <a:gd name="connsiteX1" fmla="*/ 39949 w 39949"/>
                    <a:gd name="connsiteY1" fmla="*/ 0 h 122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39949" h="1223">
                      <a:moveTo>
                        <a:pt x="0" y="0"/>
                      </a:moveTo>
                      <a:lnTo>
                        <a:pt x="39949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grpSp>
          <p:nvGrpSpPr>
            <p:cNvPr id="1731" name="Gráfico 14">
              <a:extLst>
                <a:ext uri="{FF2B5EF4-FFF2-40B4-BE49-F238E27FC236}">
                  <a16:creationId xmlns:a16="http://schemas.microsoft.com/office/drawing/2014/main" id="{9E154492-3A45-2949-7871-678A41E7FCE5}"/>
                </a:ext>
              </a:extLst>
            </p:cNvPr>
            <p:cNvGrpSpPr/>
            <p:nvPr/>
          </p:nvGrpSpPr>
          <p:grpSpPr>
            <a:xfrm>
              <a:off x="5662321" y="5875305"/>
              <a:ext cx="284318" cy="273658"/>
              <a:chOff x="5662321" y="5875305"/>
              <a:chExt cx="284318" cy="273658"/>
            </a:xfrm>
            <a:noFill/>
          </p:grpSpPr>
          <p:grpSp>
            <p:nvGrpSpPr>
              <p:cNvPr id="1732" name="Gráfico 14">
                <a:extLst>
                  <a:ext uri="{FF2B5EF4-FFF2-40B4-BE49-F238E27FC236}">
                    <a16:creationId xmlns:a16="http://schemas.microsoft.com/office/drawing/2014/main" id="{832A78EA-4E57-C504-6FD1-B8385A39E625}"/>
                  </a:ext>
                </a:extLst>
              </p:cNvPr>
              <p:cNvGrpSpPr/>
              <p:nvPr/>
            </p:nvGrpSpPr>
            <p:grpSpPr>
              <a:xfrm>
                <a:off x="5662321" y="5875305"/>
                <a:ext cx="74561" cy="273658"/>
                <a:chOff x="5662321" y="5875305"/>
                <a:chExt cx="74561" cy="273658"/>
              </a:xfrm>
              <a:noFill/>
            </p:grpSpPr>
            <p:sp>
              <p:nvSpPr>
                <p:cNvPr id="1733" name="Forma livre: Forma 1732">
                  <a:extLst>
                    <a:ext uri="{FF2B5EF4-FFF2-40B4-BE49-F238E27FC236}">
                      <a16:creationId xmlns:a16="http://schemas.microsoft.com/office/drawing/2014/main" id="{839B9F43-B5EF-0224-C521-B8C109175F44}"/>
                    </a:ext>
                  </a:extLst>
                </p:cNvPr>
                <p:cNvSpPr/>
                <p:nvPr/>
              </p:nvSpPr>
              <p:spPr>
                <a:xfrm>
                  <a:off x="5662321" y="5875305"/>
                  <a:ext cx="74561" cy="273658"/>
                </a:xfrm>
                <a:custGeom>
                  <a:avLst/>
                  <a:gdLst>
                    <a:gd name="connsiteX0" fmla="*/ 74562 w 74561"/>
                    <a:gd name="connsiteY0" fmla="*/ 273658 h 273658"/>
                    <a:gd name="connsiteX1" fmla="*/ 9791 w 74561"/>
                    <a:gd name="connsiteY1" fmla="*/ 273658 h 273658"/>
                    <a:gd name="connsiteX2" fmla="*/ 0 w 74561"/>
                    <a:gd name="connsiteY2" fmla="*/ 263867 h 273658"/>
                    <a:gd name="connsiteX3" fmla="*/ 0 w 74561"/>
                    <a:gd name="connsiteY3" fmla="*/ 9791 h 273658"/>
                    <a:gd name="connsiteX4" fmla="*/ 9791 w 74561"/>
                    <a:gd name="connsiteY4" fmla="*/ 0 h 273658"/>
                    <a:gd name="connsiteX5" fmla="*/ 74562 w 74561"/>
                    <a:gd name="connsiteY5" fmla="*/ 0 h 27365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74561" h="273658">
                      <a:moveTo>
                        <a:pt x="74562" y="273658"/>
                      </a:moveTo>
                      <a:lnTo>
                        <a:pt x="9791" y="273658"/>
                      </a:lnTo>
                      <a:cubicBezTo>
                        <a:pt x="4406" y="273658"/>
                        <a:pt x="0" y="269252"/>
                        <a:pt x="0" y="263867"/>
                      </a:cubicBezTo>
                      <a:lnTo>
                        <a:pt x="0" y="9791"/>
                      </a:lnTo>
                      <a:cubicBezTo>
                        <a:pt x="0" y="4406"/>
                        <a:pt x="4406" y="0"/>
                        <a:pt x="9791" y="0"/>
                      </a:cubicBezTo>
                      <a:lnTo>
                        <a:pt x="74562" y="0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grpSp>
              <p:nvGrpSpPr>
                <p:cNvPr id="1734" name="Gráfico 14">
                  <a:extLst>
                    <a:ext uri="{FF2B5EF4-FFF2-40B4-BE49-F238E27FC236}">
                      <a16:creationId xmlns:a16="http://schemas.microsoft.com/office/drawing/2014/main" id="{AB86D417-E27E-F663-2D21-D0DF70D39FAA}"/>
                    </a:ext>
                  </a:extLst>
                </p:cNvPr>
                <p:cNvGrpSpPr/>
                <p:nvPr/>
              </p:nvGrpSpPr>
              <p:grpSpPr>
                <a:xfrm>
                  <a:off x="5686077" y="5919428"/>
                  <a:ext cx="39936" cy="26938"/>
                  <a:chOff x="5686077" y="5919428"/>
                  <a:chExt cx="39936" cy="26938"/>
                </a:xfrm>
              </p:grpSpPr>
              <p:sp>
                <p:nvSpPr>
                  <p:cNvPr id="1735" name="Forma livre: Forma 1734">
                    <a:extLst>
                      <a:ext uri="{FF2B5EF4-FFF2-40B4-BE49-F238E27FC236}">
                        <a16:creationId xmlns:a16="http://schemas.microsoft.com/office/drawing/2014/main" id="{3B10232E-FD55-0523-0D71-49135DE15C1A}"/>
                      </a:ext>
                    </a:extLst>
                  </p:cNvPr>
                  <p:cNvSpPr/>
                  <p:nvPr/>
                </p:nvSpPr>
                <p:spPr>
                  <a:xfrm>
                    <a:off x="5686077" y="5919428"/>
                    <a:ext cx="39936" cy="1223"/>
                  </a:xfrm>
                  <a:custGeom>
                    <a:avLst/>
                    <a:gdLst>
                      <a:gd name="connsiteX0" fmla="*/ 0 w 39936"/>
                      <a:gd name="connsiteY0" fmla="*/ 0 h 1223"/>
                      <a:gd name="connsiteX1" fmla="*/ 39937 w 39936"/>
                      <a:gd name="connsiteY1" fmla="*/ 0 h 122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39936" h="1223">
                        <a:moveTo>
                          <a:pt x="0" y="0"/>
                        </a:moveTo>
                        <a:lnTo>
                          <a:pt x="39937" y="0"/>
                        </a:lnTo>
                      </a:path>
                    </a:pathLst>
                  </a:custGeom>
                  <a:ln w="6350" cap="flat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1736" name="Forma livre: Forma 1735">
                    <a:extLst>
                      <a:ext uri="{FF2B5EF4-FFF2-40B4-BE49-F238E27FC236}">
                        <a16:creationId xmlns:a16="http://schemas.microsoft.com/office/drawing/2014/main" id="{CBAAD61A-3706-921A-9CB3-C405FE664129}"/>
                      </a:ext>
                    </a:extLst>
                  </p:cNvPr>
                  <p:cNvSpPr/>
                  <p:nvPr/>
                </p:nvSpPr>
                <p:spPr>
                  <a:xfrm>
                    <a:off x="5686077" y="5946366"/>
                    <a:ext cx="39936" cy="1223"/>
                  </a:xfrm>
                  <a:custGeom>
                    <a:avLst/>
                    <a:gdLst>
                      <a:gd name="connsiteX0" fmla="*/ 0 w 39936"/>
                      <a:gd name="connsiteY0" fmla="*/ 0 h 1223"/>
                      <a:gd name="connsiteX1" fmla="*/ 39937 w 39936"/>
                      <a:gd name="connsiteY1" fmla="*/ 0 h 122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39936" h="1223">
                        <a:moveTo>
                          <a:pt x="0" y="0"/>
                        </a:moveTo>
                        <a:lnTo>
                          <a:pt x="39937" y="0"/>
                        </a:lnTo>
                      </a:path>
                    </a:pathLst>
                  </a:custGeom>
                  <a:ln w="6350" cap="flat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</p:grpSp>
          <p:grpSp>
            <p:nvGrpSpPr>
              <p:cNvPr id="1737" name="Gráfico 14">
                <a:extLst>
                  <a:ext uri="{FF2B5EF4-FFF2-40B4-BE49-F238E27FC236}">
                    <a16:creationId xmlns:a16="http://schemas.microsoft.com/office/drawing/2014/main" id="{DEC73154-79D4-15DB-13F3-D48914E15778}"/>
                  </a:ext>
                </a:extLst>
              </p:cNvPr>
              <p:cNvGrpSpPr/>
              <p:nvPr/>
            </p:nvGrpSpPr>
            <p:grpSpPr>
              <a:xfrm>
                <a:off x="5872078" y="5875305"/>
                <a:ext cx="74561" cy="273658"/>
                <a:chOff x="5872078" y="5875305"/>
                <a:chExt cx="74561" cy="273658"/>
              </a:xfrm>
              <a:noFill/>
            </p:grpSpPr>
            <p:sp>
              <p:nvSpPr>
                <p:cNvPr id="1738" name="Forma livre: Forma 1737">
                  <a:extLst>
                    <a:ext uri="{FF2B5EF4-FFF2-40B4-BE49-F238E27FC236}">
                      <a16:creationId xmlns:a16="http://schemas.microsoft.com/office/drawing/2014/main" id="{B7189B97-B4FF-7F98-DA59-1233BCFCC10F}"/>
                    </a:ext>
                  </a:extLst>
                </p:cNvPr>
                <p:cNvSpPr/>
                <p:nvPr/>
              </p:nvSpPr>
              <p:spPr>
                <a:xfrm>
                  <a:off x="5872078" y="5875305"/>
                  <a:ext cx="74561" cy="273658"/>
                </a:xfrm>
                <a:custGeom>
                  <a:avLst/>
                  <a:gdLst>
                    <a:gd name="connsiteX0" fmla="*/ 0 w 74561"/>
                    <a:gd name="connsiteY0" fmla="*/ 273658 h 273658"/>
                    <a:gd name="connsiteX1" fmla="*/ 64770 w 74561"/>
                    <a:gd name="connsiteY1" fmla="*/ 273658 h 273658"/>
                    <a:gd name="connsiteX2" fmla="*/ 74562 w 74561"/>
                    <a:gd name="connsiteY2" fmla="*/ 263867 h 273658"/>
                    <a:gd name="connsiteX3" fmla="*/ 74562 w 74561"/>
                    <a:gd name="connsiteY3" fmla="*/ 9791 h 273658"/>
                    <a:gd name="connsiteX4" fmla="*/ 64770 w 74561"/>
                    <a:gd name="connsiteY4" fmla="*/ 0 h 273658"/>
                    <a:gd name="connsiteX5" fmla="*/ 0 w 74561"/>
                    <a:gd name="connsiteY5" fmla="*/ 0 h 27365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74561" h="273658">
                      <a:moveTo>
                        <a:pt x="0" y="273658"/>
                      </a:moveTo>
                      <a:lnTo>
                        <a:pt x="64770" y="273658"/>
                      </a:lnTo>
                      <a:cubicBezTo>
                        <a:pt x="70156" y="273658"/>
                        <a:pt x="74562" y="269252"/>
                        <a:pt x="74562" y="263867"/>
                      </a:cubicBezTo>
                      <a:lnTo>
                        <a:pt x="74562" y="9791"/>
                      </a:lnTo>
                      <a:cubicBezTo>
                        <a:pt x="74562" y="4406"/>
                        <a:pt x="70156" y="0"/>
                        <a:pt x="64770" y="0"/>
                      </a:cubicBezTo>
                      <a:lnTo>
                        <a:pt x="0" y="0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739" name="Forma livre: Forma 1738">
                  <a:extLst>
                    <a:ext uri="{FF2B5EF4-FFF2-40B4-BE49-F238E27FC236}">
                      <a16:creationId xmlns:a16="http://schemas.microsoft.com/office/drawing/2014/main" id="{05C45181-C212-6F64-2070-F54B7E23B2C0}"/>
                    </a:ext>
                  </a:extLst>
                </p:cNvPr>
                <p:cNvSpPr/>
                <p:nvPr/>
              </p:nvSpPr>
              <p:spPr>
                <a:xfrm>
                  <a:off x="5882958" y="5919428"/>
                  <a:ext cx="39936" cy="1223"/>
                </a:xfrm>
                <a:custGeom>
                  <a:avLst/>
                  <a:gdLst>
                    <a:gd name="connsiteX0" fmla="*/ 39937 w 39936"/>
                    <a:gd name="connsiteY0" fmla="*/ 0 h 1223"/>
                    <a:gd name="connsiteX1" fmla="*/ 0 w 39936"/>
                    <a:gd name="connsiteY1" fmla="*/ 0 h 122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39936" h="1223">
                      <a:moveTo>
                        <a:pt x="39937" y="0"/>
                      </a:moveTo>
                      <a:lnTo>
                        <a:pt x="0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740" name="Forma livre: Forma 1739">
                  <a:extLst>
                    <a:ext uri="{FF2B5EF4-FFF2-40B4-BE49-F238E27FC236}">
                      <a16:creationId xmlns:a16="http://schemas.microsoft.com/office/drawing/2014/main" id="{AD0B09A0-CDA3-8AB5-BBB3-F83FC01D2932}"/>
                    </a:ext>
                  </a:extLst>
                </p:cNvPr>
                <p:cNvSpPr/>
                <p:nvPr/>
              </p:nvSpPr>
              <p:spPr>
                <a:xfrm>
                  <a:off x="5882958" y="5946366"/>
                  <a:ext cx="39936" cy="1223"/>
                </a:xfrm>
                <a:custGeom>
                  <a:avLst/>
                  <a:gdLst>
                    <a:gd name="connsiteX0" fmla="*/ 39937 w 39936"/>
                    <a:gd name="connsiteY0" fmla="*/ 0 h 1223"/>
                    <a:gd name="connsiteX1" fmla="*/ 0 w 39936"/>
                    <a:gd name="connsiteY1" fmla="*/ 0 h 122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39936" h="1223">
                      <a:moveTo>
                        <a:pt x="39937" y="0"/>
                      </a:moveTo>
                      <a:lnTo>
                        <a:pt x="0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</p:grpSp>
      <p:grpSp>
        <p:nvGrpSpPr>
          <p:cNvPr id="1741" name="Gráfico 14">
            <a:extLst>
              <a:ext uri="{FF2B5EF4-FFF2-40B4-BE49-F238E27FC236}">
                <a16:creationId xmlns:a16="http://schemas.microsoft.com/office/drawing/2014/main" id="{B0CA8B2E-7D5F-BEA9-19E2-72C6AE695922}"/>
              </a:ext>
            </a:extLst>
          </p:cNvPr>
          <p:cNvGrpSpPr/>
          <p:nvPr/>
        </p:nvGrpSpPr>
        <p:grpSpPr>
          <a:xfrm>
            <a:off x="5629862" y="4232427"/>
            <a:ext cx="349235" cy="271234"/>
            <a:chOff x="5629862" y="4232427"/>
            <a:chExt cx="349235" cy="271234"/>
          </a:xfrm>
          <a:noFill/>
        </p:grpSpPr>
        <p:grpSp>
          <p:nvGrpSpPr>
            <p:cNvPr id="1742" name="Gráfico 14">
              <a:extLst>
                <a:ext uri="{FF2B5EF4-FFF2-40B4-BE49-F238E27FC236}">
                  <a16:creationId xmlns:a16="http://schemas.microsoft.com/office/drawing/2014/main" id="{B5B1F9CA-025F-A358-CA5B-4B57EBC2A371}"/>
                </a:ext>
              </a:extLst>
            </p:cNvPr>
            <p:cNvGrpSpPr/>
            <p:nvPr/>
          </p:nvGrpSpPr>
          <p:grpSpPr>
            <a:xfrm>
              <a:off x="5726761" y="4232427"/>
              <a:ext cx="52041" cy="270157"/>
              <a:chOff x="5726761" y="4232427"/>
              <a:chExt cx="52041" cy="270157"/>
            </a:xfrm>
            <a:noFill/>
          </p:grpSpPr>
          <p:sp>
            <p:nvSpPr>
              <p:cNvPr id="1743" name="Forma livre: Forma 1742">
                <a:extLst>
                  <a:ext uri="{FF2B5EF4-FFF2-40B4-BE49-F238E27FC236}">
                    <a16:creationId xmlns:a16="http://schemas.microsoft.com/office/drawing/2014/main" id="{E56C0923-BD42-CBAA-0307-1DD015B8AFBE}"/>
                  </a:ext>
                </a:extLst>
              </p:cNvPr>
              <p:cNvSpPr/>
              <p:nvPr/>
            </p:nvSpPr>
            <p:spPr>
              <a:xfrm>
                <a:off x="5726761" y="4232427"/>
                <a:ext cx="52041" cy="270157"/>
              </a:xfrm>
              <a:custGeom>
                <a:avLst/>
                <a:gdLst>
                  <a:gd name="connsiteX0" fmla="*/ 0 w 52041"/>
                  <a:gd name="connsiteY0" fmla="*/ 270158 h 270157"/>
                  <a:gd name="connsiteX1" fmla="*/ 0 w 52041"/>
                  <a:gd name="connsiteY1" fmla="*/ 0 h 270157"/>
                  <a:gd name="connsiteX2" fmla="*/ 52041 w 52041"/>
                  <a:gd name="connsiteY2" fmla="*/ 0 h 270157"/>
                  <a:gd name="connsiteX3" fmla="*/ 52041 w 52041"/>
                  <a:gd name="connsiteY3" fmla="*/ 270158 h 2701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2041" h="270157">
                    <a:moveTo>
                      <a:pt x="0" y="270158"/>
                    </a:moveTo>
                    <a:lnTo>
                      <a:pt x="0" y="0"/>
                    </a:lnTo>
                    <a:lnTo>
                      <a:pt x="52041" y="0"/>
                    </a:lnTo>
                    <a:lnTo>
                      <a:pt x="52041" y="270158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744" name="Forma livre: Forma 1743">
                <a:extLst>
                  <a:ext uri="{FF2B5EF4-FFF2-40B4-BE49-F238E27FC236}">
                    <a16:creationId xmlns:a16="http://schemas.microsoft.com/office/drawing/2014/main" id="{8EFF6DCB-DC82-CCF1-2085-72C7C8001F1D}"/>
                  </a:ext>
                </a:extLst>
              </p:cNvPr>
              <p:cNvSpPr/>
              <p:nvPr/>
            </p:nvSpPr>
            <p:spPr>
              <a:xfrm>
                <a:off x="5752781" y="4275705"/>
                <a:ext cx="1223" cy="104535"/>
              </a:xfrm>
              <a:custGeom>
                <a:avLst/>
                <a:gdLst>
                  <a:gd name="connsiteX0" fmla="*/ 0 w 1223"/>
                  <a:gd name="connsiteY0" fmla="*/ 0 h 104535"/>
                  <a:gd name="connsiteX1" fmla="*/ 0 w 1223"/>
                  <a:gd name="connsiteY1" fmla="*/ 104536 h 1045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23" h="104535">
                    <a:moveTo>
                      <a:pt x="0" y="0"/>
                    </a:moveTo>
                    <a:lnTo>
                      <a:pt x="0" y="104536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745" name="Gráfico 14">
              <a:extLst>
                <a:ext uri="{FF2B5EF4-FFF2-40B4-BE49-F238E27FC236}">
                  <a16:creationId xmlns:a16="http://schemas.microsoft.com/office/drawing/2014/main" id="{BFAD9761-E21A-6606-46A0-318D5FE8DD87}"/>
                </a:ext>
              </a:extLst>
            </p:cNvPr>
            <p:cNvGrpSpPr/>
            <p:nvPr/>
          </p:nvGrpSpPr>
          <p:grpSpPr>
            <a:xfrm>
              <a:off x="5854380" y="4272180"/>
              <a:ext cx="91610" cy="230404"/>
              <a:chOff x="5854380" y="4272180"/>
              <a:chExt cx="91610" cy="230404"/>
            </a:xfrm>
            <a:noFill/>
          </p:grpSpPr>
          <p:sp>
            <p:nvSpPr>
              <p:cNvPr id="1746" name="Forma livre: Forma 1745">
                <a:extLst>
                  <a:ext uri="{FF2B5EF4-FFF2-40B4-BE49-F238E27FC236}">
                    <a16:creationId xmlns:a16="http://schemas.microsoft.com/office/drawing/2014/main" id="{1CE01560-02E6-D18C-4789-B9ED1B75C162}"/>
                  </a:ext>
                </a:extLst>
              </p:cNvPr>
              <p:cNvSpPr/>
              <p:nvPr/>
            </p:nvSpPr>
            <p:spPr>
              <a:xfrm>
                <a:off x="5854380" y="4272180"/>
                <a:ext cx="91610" cy="230404"/>
              </a:xfrm>
              <a:custGeom>
                <a:avLst/>
                <a:gdLst>
                  <a:gd name="connsiteX0" fmla="*/ 3709 w 91610"/>
                  <a:gd name="connsiteY0" fmla="*/ 29374 h 230404"/>
                  <a:gd name="connsiteX1" fmla="*/ 0 w 91610"/>
                  <a:gd name="connsiteY1" fmla="*/ 9375 h 230404"/>
                  <a:gd name="connsiteX2" fmla="*/ 50756 w 91610"/>
                  <a:gd name="connsiteY2" fmla="*/ 0 h 230404"/>
                  <a:gd name="connsiteX3" fmla="*/ 91611 w 91610"/>
                  <a:gd name="connsiteY3" fmla="*/ 221029 h 230404"/>
                  <a:gd name="connsiteX4" fmla="*/ 40867 w 91610"/>
                  <a:gd name="connsiteY4" fmla="*/ 230404 h 230404"/>
                  <a:gd name="connsiteX5" fmla="*/ 7772 w 91610"/>
                  <a:gd name="connsiteY5" fmla="*/ 51368 h 230404"/>
                  <a:gd name="connsiteX6" fmla="*/ 3709 w 91610"/>
                  <a:gd name="connsiteY6" fmla="*/ 29374 h 2304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91610" h="230404">
                    <a:moveTo>
                      <a:pt x="3709" y="29374"/>
                    </a:moveTo>
                    <a:lnTo>
                      <a:pt x="0" y="9375"/>
                    </a:lnTo>
                    <a:lnTo>
                      <a:pt x="50756" y="0"/>
                    </a:lnTo>
                    <a:lnTo>
                      <a:pt x="91611" y="221029"/>
                    </a:lnTo>
                    <a:lnTo>
                      <a:pt x="40867" y="230404"/>
                    </a:lnTo>
                    <a:lnTo>
                      <a:pt x="7772" y="51368"/>
                    </a:lnTo>
                    <a:lnTo>
                      <a:pt x="3709" y="29374"/>
                    </a:ln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747" name="Forma livre: Forma 1746">
                <a:extLst>
                  <a:ext uri="{FF2B5EF4-FFF2-40B4-BE49-F238E27FC236}">
                    <a16:creationId xmlns:a16="http://schemas.microsoft.com/office/drawing/2014/main" id="{95255629-BF69-174D-FD3E-2C5549FE6315}"/>
                  </a:ext>
                </a:extLst>
              </p:cNvPr>
              <p:cNvSpPr/>
              <p:nvPr/>
            </p:nvSpPr>
            <p:spPr>
              <a:xfrm>
                <a:off x="5892126" y="4343718"/>
                <a:ext cx="16131" cy="87339"/>
              </a:xfrm>
              <a:custGeom>
                <a:avLst/>
                <a:gdLst>
                  <a:gd name="connsiteX0" fmla="*/ 0 w 16131"/>
                  <a:gd name="connsiteY0" fmla="*/ 0 h 87339"/>
                  <a:gd name="connsiteX1" fmla="*/ 16131 w 16131"/>
                  <a:gd name="connsiteY1" fmla="*/ 87340 h 873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6131" h="87339">
                    <a:moveTo>
                      <a:pt x="0" y="0"/>
                    </a:moveTo>
                    <a:lnTo>
                      <a:pt x="16131" y="8734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748" name="Gráfico 14">
              <a:extLst>
                <a:ext uri="{FF2B5EF4-FFF2-40B4-BE49-F238E27FC236}">
                  <a16:creationId xmlns:a16="http://schemas.microsoft.com/office/drawing/2014/main" id="{DFB09DB8-039D-DC57-94B1-EFF012E201AE}"/>
                </a:ext>
              </a:extLst>
            </p:cNvPr>
            <p:cNvGrpSpPr/>
            <p:nvPr/>
          </p:nvGrpSpPr>
          <p:grpSpPr>
            <a:xfrm>
              <a:off x="5653105" y="4282130"/>
              <a:ext cx="53571" cy="200809"/>
              <a:chOff x="5653105" y="4282130"/>
              <a:chExt cx="53571" cy="200809"/>
            </a:xfrm>
            <a:noFill/>
          </p:grpSpPr>
          <p:grpSp>
            <p:nvGrpSpPr>
              <p:cNvPr id="1749" name="Gráfico 14">
                <a:extLst>
                  <a:ext uri="{FF2B5EF4-FFF2-40B4-BE49-F238E27FC236}">
                    <a16:creationId xmlns:a16="http://schemas.microsoft.com/office/drawing/2014/main" id="{60C41B4B-8006-4CEE-B71A-BAC5B85D333F}"/>
                  </a:ext>
                </a:extLst>
              </p:cNvPr>
              <p:cNvGrpSpPr/>
              <p:nvPr/>
            </p:nvGrpSpPr>
            <p:grpSpPr>
              <a:xfrm>
                <a:off x="5673055" y="4321088"/>
                <a:ext cx="33621" cy="53057"/>
                <a:chOff x="5673055" y="4321088"/>
                <a:chExt cx="33621" cy="53057"/>
              </a:xfrm>
            </p:grpSpPr>
            <p:sp>
              <p:nvSpPr>
                <p:cNvPr id="1750" name="Forma livre: Forma 1749">
                  <a:extLst>
                    <a:ext uri="{FF2B5EF4-FFF2-40B4-BE49-F238E27FC236}">
                      <a16:creationId xmlns:a16="http://schemas.microsoft.com/office/drawing/2014/main" id="{66754A76-F895-0501-4FC5-D6F2FA1EA6A5}"/>
                    </a:ext>
                  </a:extLst>
                </p:cNvPr>
                <p:cNvSpPr/>
                <p:nvPr/>
              </p:nvSpPr>
              <p:spPr>
                <a:xfrm>
                  <a:off x="5673055" y="4321088"/>
                  <a:ext cx="33621" cy="1223"/>
                </a:xfrm>
                <a:custGeom>
                  <a:avLst/>
                  <a:gdLst>
                    <a:gd name="connsiteX0" fmla="*/ 0 w 33621"/>
                    <a:gd name="connsiteY0" fmla="*/ 0 h 1223"/>
                    <a:gd name="connsiteX1" fmla="*/ 33621 w 33621"/>
                    <a:gd name="connsiteY1" fmla="*/ 0 h 122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33621" h="1223">
                      <a:moveTo>
                        <a:pt x="0" y="0"/>
                      </a:moveTo>
                      <a:lnTo>
                        <a:pt x="33621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751" name="Forma livre: Forma 1750">
                  <a:extLst>
                    <a:ext uri="{FF2B5EF4-FFF2-40B4-BE49-F238E27FC236}">
                      <a16:creationId xmlns:a16="http://schemas.microsoft.com/office/drawing/2014/main" id="{2C4020B7-F9FC-3A48-4916-358D6586FFDD}"/>
                    </a:ext>
                  </a:extLst>
                </p:cNvPr>
                <p:cNvSpPr/>
                <p:nvPr/>
              </p:nvSpPr>
              <p:spPr>
                <a:xfrm>
                  <a:off x="5673055" y="4348247"/>
                  <a:ext cx="33621" cy="1223"/>
                </a:xfrm>
                <a:custGeom>
                  <a:avLst/>
                  <a:gdLst>
                    <a:gd name="connsiteX0" fmla="*/ 0 w 33621"/>
                    <a:gd name="connsiteY0" fmla="*/ 0 h 1223"/>
                    <a:gd name="connsiteX1" fmla="*/ 33621 w 33621"/>
                    <a:gd name="connsiteY1" fmla="*/ 0 h 122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33621" h="1223">
                      <a:moveTo>
                        <a:pt x="0" y="0"/>
                      </a:moveTo>
                      <a:lnTo>
                        <a:pt x="33621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752" name="Forma livre: Forma 1751">
                  <a:extLst>
                    <a:ext uri="{FF2B5EF4-FFF2-40B4-BE49-F238E27FC236}">
                      <a16:creationId xmlns:a16="http://schemas.microsoft.com/office/drawing/2014/main" id="{265F34BC-CAC3-D12D-2ECF-AE2A927390AC}"/>
                    </a:ext>
                  </a:extLst>
                </p:cNvPr>
                <p:cNvSpPr/>
                <p:nvPr/>
              </p:nvSpPr>
              <p:spPr>
                <a:xfrm>
                  <a:off x="5673055" y="4374145"/>
                  <a:ext cx="33621" cy="1223"/>
                </a:xfrm>
                <a:custGeom>
                  <a:avLst/>
                  <a:gdLst>
                    <a:gd name="connsiteX0" fmla="*/ 0 w 33621"/>
                    <a:gd name="connsiteY0" fmla="*/ 0 h 1223"/>
                    <a:gd name="connsiteX1" fmla="*/ 33621 w 33621"/>
                    <a:gd name="connsiteY1" fmla="*/ 0 h 122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33621" h="1223">
                      <a:moveTo>
                        <a:pt x="0" y="0"/>
                      </a:moveTo>
                      <a:lnTo>
                        <a:pt x="33621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1753" name="Forma livre: Forma 1752">
                <a:extLst>
                  <a:ext uri="{FF2B5EF4-FFF2-40B4-BE49-F238E27FC236}">
                    <a16:creationId xmlns:a16="http://schemas.microsoft.com/office/drawing/2014/main" id="{00865E93-D3E0-2AE5-2042-E5D3D7B71FC5}"/>
                  </a:ext>
                </a:extLst>
              </p:cNvPr>
              <p:cNvSpPr/>
              <p:nvPr/>
            </p:nvSpPr>
            <p:spPr>
              <a:xfrm>
                <a:off x="5653105" y="4282130"/>
                <a:ext cx="52090" cy="200809"/>
              </a:xfrm>
              <a:custGeom>
                <a:avLst/>
                <a:gdLst>
                  <a:gd name="connsiteX0" fmla="*/ 0 w 52090"/>
                  <a:gd name="connsiteY0" fmla="*/ 200810 h 200809"/>
                  <a:gd name="connsiteX1" fmla="*/ 0 w 52090"/>
                  <a:gd name="connsiteY1" fmla="*/ 0 h 200809"/>
                  <a:gd name="connsiteX2" fmla="*/ 52090 w 52090"/>
                  <a:gd name="connsiteY2" fmla="*/ 0 h 2008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52090" h="200809">
                    <a:moveTo>
                      <a:pt x="0" y="200810"/>
                    </a:moveTo>
                    <a:lnTo>
                      <a:pt x="0" y="0"/>
                    </a:lnTo>
                    <a:lnTo>
                      <a:pt x="52090" y="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754" name="Forma livre: Forma 1753">
              <a:extLst>
                <a:ext uri="{FF2B5EF4-FFF2-40B4-BE49-F238E27FC236}">
                  <a16:creationId xmlns:a16="http://schemas.microsoft.com/office/drawing/2014/main" id="{A5A6E05D-E37C-B686-F5FD-C44A76EA76FC}"/>
                </a:ext>
              </a:extLst>
            </p:cNvPr>
            <p:cNvSpPr/>
            <p:nvPr/>
          </p:nvSpPr>
          <p:spPr>
            <a:xfrm>
              <a:off x="5629862" y="4503661"/>
              <a:ext cx="349235" cy="1223"/>
            </a:xfrm>
            <a:custGeom>
              <a:avLst/>
              <a:gdLst>
                <a:gd name="connsiteX0" fmla="*/ 0 w 349235"/>
                <a:gd name="connsiteY0" fmla="*/ 0 h 1223"/>
                <a:gd name="connsiteX1" fmla="*/ 349236 w 349235"/>
                <a:gd name="connsiteY1" fmla="*/ 0 h 12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49235" h="1223">
                  <a:moveTo>
                    <a:pt x="0" y="0"/>
                  </a:moveTo>
                  <a:lnTo>
                    <a:pt x="349236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755" name="Gráfico 14">
              <a:extLst>
                <a:ext uri="{FF2B5EF4-FFF2-40B4-BE49-F238E27FC236}">
                  <a16:creationId xmlns:a16="http://schemas.microsoft.com/office/drawing/2014/main" id="{113B79FB-FF06-AA77-3443-3ADC45DD29E1}"/>
                </a:ext>
              </a:extLst>
            </p:cNvPr>
            <p:cNvGrpSpPr/>
            <p:nvPr/>
          </p:nvGrpSpPr>
          <p:grpSpPr>
            <a:xfrm>
              <a:off x="5800196" y="4348577"/>
              <a:ext cx="58295" cy="154006"/>
              <a:chOff x="5800196" y="4348577"/>
              <a:chExt cx="58295" cy="154006"/>
            </a:xfrm>
            <a:noFill/>
          </p:grpSpPr>
          <p:sp>
            <p:nvSpPr>
              <p:cNvPr id="1756" name="Forma livre: Forma 1755">
                <a:extLst>
                  <a:ext uri="{FF2B5EF4-FFF2-40B4-BE49-F238E27FC236}">
                    <a16:creationId xmlns:a16="http://schemas.microsoft.com/office/drawing/2014/main" id="{66856891-9583-021F-9F47-BE0813908A18}"/>
                  </a:ext>
                </a:extLst>
              </p:cNvPr>
              <p:cNvSpPr/>
              <p:nvPr/>
            </p:nvSpPr>
            <p:spPr>
              <a:xfrm>
                <a:off x="5800196" y="4348577"/>
                <a:ext cx="58295" cy="154006"/>
              </a:xfrm>
              <a:custGeom>
                <a:avLst/>
                <a:gdLst>
                  <a:gd name="connsiteX0" fmla="*/ 0 w 58295"/>
                  <a:gd name="connsiteY0" fmla="*/ 0 h 154006"/>
                  <a:gd name="connsiteX1" fmla="*/ 58296 w 58295"/>
                  <a:gd name="connsiteY1" fmla="*/ 0 h 154006"/>
                  <a:gd name="connsiteX2" fmla="*/ 58296 w 58295"/>
                  <a:gd name="connsiteY2" fmla="*/ 154007 h 1540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58295" h="154006">
                    <a:moveTo>
                      <a:pt x="0" y="0"/>
                    </a:moveTo>
                    <a:lnTo>
                      <a:pt x="58296" y="0"/>
                    </a:lnTo>
                    <a:lnTo>
                      <a:pt x="58296" y="154007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757" name="Forma livre: Forma 1756">
                <a:extLst>
                  <a:ext uri="{FF2B5EF4-FFF2-40B4-BE49-F238E27FC236}">
                    <a16:creationId xmlns:a16="http://schemas.microsoft.com/office/drawing/2014/main" id="{A07BFB66-811C-8FA3-B4C4-346B50673C53}"/>
                  </a:ext>
                </a:extLst>
              </p:cNvPr>
              <p:cNvSpPr/>
              <p:nvPr/>
            </p:nvSpPr>
            <p:spPr>
              <a:xfrm>
                <a:off x="5806646" y="4379824"/>
                <a:ext cx="25323" cy="51649"/>
              </a:xfrm>
              <a:custGeom>
                <a:avLst/>
                <a:gdLst>
                  <a:gd name="connsiteX0" fmla="*/ 0 w 25323"/>
                  <a:gd name="connsiteY0" fmla="*/ 0 h 51649"/>
                  <a:gd name="connsiteX1" fmla="*/ 25323 w 25323"/>
                  <a:gd name="connsiteY1" fmla="*/ 0 h 51649"/>
                  <a:gd name="connsiteX2" fmla="*/ 25323 w 25323"/>
                  <a:gd name="connsiteY2" fmla="*/ 51650 h 51649"/>
                  <a:gd name="connsiteX3" fmla="*/ 0 w 25323"/>
                  <a:gd name="connsiteY3" fmla="*/ 51650 h 516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5323" h="51649">
                    <a:moveTo>
                      <a:pt x="0" y="0"/>
                    </a:moveTo>
                    <a:lnTo>
                      <a:pt x="25323" y="0"/>
                    </a:lnTo>
                    <a:lnTo>
                      <a:pt x="25323" y="51650"/>
                    </a:lnTo>
                    <a:lnTo>
                      <a:pt x="0" y="51650"/>
                    </a:ln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758" name="Gráfico 14">
            <a:extLst>
              <a:ext uri="{FF2B5EF4-FFF2-40B4-BE49-F238E27FC236}">
                <a16:creationId xmlns:a16="http://schemas.microsoft.com/office/drawing/2014/main" id="{4B7A9D02-D01B-BC3C-8EB1-6A607A9026CD}"/>
              </a:ext>
            </a:extLst>
          </p:cNvPr>
          <p:cNvGrpSpPr/>
          <p:nvPr/>
        </p:nvGrpSpPr>
        <p:grpSpPr>
          <a:xfrm>
            <a:off x="4406766" y="3667694"/>
            <a:ext cx="247833" cy="304660"/>
            <a:chOff x="4406766" y="3667694"/>
            <a:chExt cx="247833" cy="304660"/>
          </a:xfrm>
          <a:noFill/>
        </p:grpSpPr>
        <p:grpSp>
          <p:nvGrpSpPr>
            <p:cNvPr id="1759" name="Gráfico 14">
              <a:extLst>
                <a:ext uri="{FF2B5EF4-FFF2-40B4-BE49-F238E27FC236}">
                  <a16:creationId xmlns:a16="http://schemas.microsoft.com/office/drawing/2014/main" id="{A224D356-1AF3-5B38-1C6E-938E4FA0EA94}"/>
                </a:ext>
              </a:extLst>
            </p:cNvPr>
            <p:cNvGrpSpPr/>
            <p:nvPr/>
          </p:nvGrpSpPr>
          <p:grpSpPr>
            <a:xfrm>
              <a:off x="4495672" y="3721008"/>
              <a:ext cx="158927" cy="136651"/>
              <a:chOff x="4495672" y="3721008"/>
              <a:chExt cx="158927" cy="136651"/>
            </a:xfrm>
            <a:noFill/>
          </p:grpSpPr>
          <p:sp>
            <p:nvSpPr>
              <p:cNvPr id="1760" name="Forma livre: Forma 1759">
                <a:extLst>
                  <a:ext uri="{FF2B5EF4-FFF2-40B4-BE49-F238E27FC236}">
                    <a16:creationId xmlns:a16="http://schemas.microsoft.com/office/drawing/2014/main" id="{57917FBF-9F48-8902-B2AB-E6F60EFC4028}"/>
                  </a:ext>
                </a:extLst>
              </p:cNvPr>
              <p:cNvSpPr/>
              <p:nvPr/>
            </p:nvSpPr>
            <p:spPr>
              <a:xfrm>
                <a:off x="4575130" y="3721008"/>
                <a:ext cx="79469" cy="136651"/>
              </a:xfrm>
              <a:custGeom>
                <a:avLst/>
                <a:gdLst>
                  <a:gd name="connsiteX0" fmla="*/ 42813 w 79469"/>
                  <a:gd name="connsiteY0" fmla="*/ 24 h 136651"/>
                  <a:gd name="connsiteX1" fmla="*/ 0 w 79469"/>
                  <a:gd name="connsiteY1" fmla="*/ 11199 h 136651"/>
                  <a:gd name="connsiteX2" fmla="*/ 0 w 79469"/>
                  <a:gd name="connsiteY2" fmla="*/ 136652 h 136651"/>
                  <a:gd name="connsiteX3" fmla="*/ 42813 w 79469"/>
                  <a:gd name="connsiteY3" fmla="*/ 125477 h 136651"/>
                  <a:gd name="connsiteX4" fmla="*/ 79470 w 79469"/>
                  <a:gd name="connsiteY4" fmla="*/ 125453 h 136651"/>
                  <a:gd name="connsiteX5" fmla="*/ 79470 w 79469"/>
                  <a:gd name="connsiteY5" fmla="*/ 0 h 136651"/>
                  <a:gd name="connsiteX6" fmla="*/ 42813 w 79469"/>
                  <a:gd name="connsiteY6" fmla="*/ 24 h 1366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79469" h="136651">
                    <a:moveTo>
                      <a:pt x="42813" y="24"/>
                    </a:moveTo>
                    <a:cubicBezTo>
                      <a:pt x="20586" y="24"/>
                      <a:pt x="9791" y="-649"/>
                      <a:pt x="0" y="11199"/>
                    </a:cubicBezTo>
                    <a:lnTo>
                      <a:pt x="0" y="136652"/>
                    </a:lnTo>
                    <a:cubicBezTo>
                      <a:pt x="9779" y="124792"/>
                      <a:pt x="20586" y="125477"/>
                      <a:pt x="42813" y="125477"/>
                    </a:cubicBezTo>
                    <a:lnTo>
                      <a:pt x="79470" y="125453"/>
                    </a:lnTo>
                    <a:lnTo>
                      <a:pt x="79470" y="0"/>
                    </a:lnTo>
                    <a:lnTo>
                      <a:pt x="42813" y="24"/>
                    </a:lnTo>
                    <a:close/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761" name="Forma livre: Forma 1760">
                <a:extLst>
                  <a:ext uri="{FF2B5EF4-FFF2-40B4-BE49-F238E27FC236}">
                    <a16:creationId xmlns:a16="http://schemas.microsoft.com/office/drawing/2014/main" id="{CD614653-56E2-1B15-96C9-406E0F7ED1B9}"/>
                  </a:ext>
                </a:extLst>
              </p:cNvPr>
              <p:cNvSpPr/>
              <p:nvPr/>
            </p:nvSpPr>
            <p:spPr>
              <a:xfrm>
                <a:off x="4495672" y="3721008"/>
                <a:ext cx="79457" cy="136651"/>
              </a:xfrm>
              <a:custGeom>
                <a:avLst/>
                <a:gdLst>
                  <a:gd name="connsiteX0" fmla="*/ 79457 w 79457"/>
                  <a:gd name="connsiteY0" fmla="*/ 136652 h 136651"/>
                  <a:gd name="connsiteX1" fmla="*/ 36657 w 79457"/>
                  <a:gd name="connsiteY1" fmla="*/ 125477 h 136651"/>
                  <a:gd name="connsiteX2" fmla="*/ 0 w 79457"/>
                  <a:gd name="connsiteY2" fmla="*/ 125453 h 136651"/>
                  <a:gd name="connsiteX3" fmla="*/ 0 w 79457"/>
                  <a:gd name="connsiteY3" fmla="*/ 0 h 136651"/>
                  <a:gd name="connsiteX4" fmla="*/ 36657 w 79457"/>
                  <a:gd name="connsiteY4" fmla="*/ 24 h 136651"/>
                  <a:gd name="connsiteX5" fmla="*/ 79457 w 79457"/>
                  <a:gd name="connsiteY5" fmla="*/ 11199 h 1366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79457" h="136651">
                    <a:moveTo>
                      <a:pt x="79457" y="136652"/>
                    </a:moveTo>
                    <a:cubicBezTo>
                      <a:pt x="69678" y="124792"/>
                      <a:pt x="58883" y="125477"/>
                      <a:pt x="36657" y="125477"/>
                    </a:cubicBezTo>
                    <a:lnTo>
                      <a:pt x="0" y="125453"/>
                    </a:lnTo>
                    <a:lnTo>
                      <a:pt x="0" y="0"/>
                    </a:lnTo>
                    <a:lnTo>
                      <a:pt x="36657" y="24"/>
                    </a:lnTo>
                    <a:cubicBezTo>
                      <a:pt x="58883" y="24"/>
                      <a:pt x="69678" y="-649"/>
                      <a:pt x="79457" y="11199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762" name="Gráfico 14">
              <a:extLst>
                <a:ext uri="{FF2B5EF4-FFF2-40B4-BE49-F238E27FC236}">
                  <a16:creationId xmlns:a16="http://schemas.microsoft.com/office/drawing/2014/main" id="{295B67E2-CAF7-AEFD-0B2C-6444FC7AA6BF}"/>
                </a:ext>
              </a:extLst>
            </p:cNvPr>
            <p:cNvGrpSpPr/>
            <p:nvPr/>
          </p:nvGrpSpPr>
          <p:grpSpPr>
            <a:xfrm>
              <a:off x="4517238" y="3754520"/>
              <a:ext cx="115808" cy="59654"/>
              <a:chOff x="4517238" y="3754520"/>
              <a:chExt cx="115808" cy="59654"/>
            </a:xfrm>
          </p:grpSpPr>
          <p:grpSp>
            <p:nvGrpSpPr>
              <p:cNvPr id="1763" name="Gráfico 14">
                <a:extLst>
                  <a:ext uri="{FF2B5EF4-FFF2-40B4-BE49-F238E27FC236}">
                    <a16:creationId xmlns:a16="http://schemas.microsoft.com/office/drawing/2014/main" id="{47C54D89-E25F-A0EA-4204-7DB97D1440AD}"/>
                  </a:ext>
                </a:extLst>
              </p:cNvPr>
              <p:cNvGrpSpPr/>
              <p:nvPr/>
            </p:nvGrpSpPr>
            <p:grpSpPr>
              <a:xfrm>
                <a:off x="4517238" y="3754520"/>
                <a:ext cx="36338" cy="59654"/>
                <a:chOff x="4517238" y="3754520"/>
                <a:chExt cx="36338" cy="59654"/>
              </a:xfrm>
            </p:grpSpPr>
            <p:sp>
              <p:nvSpPr>
                <p:cNvPr id="1764" name="Forma livre: Forma 1763">
                  <a:extLst>
                    <a:ext uri="{FF2B5EF4-FFF2-40B4-BE49-F238E27FC236}">
                      <a16:creationId xmlns:a16="http://schemas.microsoft.com/office/drawing/2014/main" id="{3ED7DE2B-5F4D-471D-0097-11DB336C73C7}"/>
                    </a:ext>
                  </a:extLst>
                </p:cNvPr>
                <p:cNvSpPr/>
                <p:nvPr/>
              </p:nvSpPr>
              <p:spPr>
                <a:xfrm>
                  <a:off x="4517238" y="3754520"/>
                  <a:ext cx="36338" cy="1223"/>
                </a:xfrm>
                <a:custGeom>
                  <a:avLst/>
                  <a:gdLst>
                    <a:gd name="connsiteX0" fmla="*/ 0 w 36338"/>
                    <a:gd name="connsiteY0" fmla="*/ 0 h 1223"/>
                    <a:gd name="connsiteX1" fmla="*/ 36338 w 36338"/>
                    <a:gd name="connsiteY1" fmla="*/ 0 h 122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36338" h="1223">
                      <a:moveTo>
                        <a:pt x="0" y="0"/>
                      </a:moveTo>
                      <a:lnTo>
                        <a:pt x="36338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765" name="Forma livre: Forma 1764">
                  <a:extLst>
                    <a:ext uri="{FF2B5EF4-FFF2-40B4-BE49-F238E27FC236}">
                      <a16:creationId xmlns:a16="http://schemas.microsoft.com/office/drawing/2014/main" id="{76980860-B74B-732A-0B64-5FC43441DC0E}"/>
                    </a:ext>
                  </a:extLst>
                </p:cNvPr>
                <p:cNvSpPr/>
                <p:nvPr/>
              </p:nvSpPr>
              <p:spPr>
                <a:xfrm>
                  <a:off x="4517238" y="3784347"/>
                  <a:ext cx="36338" cy="1223"/>
                </a:xfrm>
                <a:custGeom>
                  <a:avLst/>
                  <a:gdLst>
                    <a:gd name="connsiteX0" fmla="*/ 0 w 36338"/>
                    <a:gd name="connsiteY0" fmla="*/ 0 h 1223"/>
                    <a:gd name="connsiteX1" fmla="*/ 36338 w 36338"/>
                    <a:gd name="connsiteY1" fmla="*/ 0 h 122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36338" h="1223">
                      <a:moveTo>
                        <a:pt x="0" y="0"/>
                      </a:moveTo>
                      <a:lnTo>
                        <a:pt x="36338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766" name="Forma livre: Forma 1765">
                  <a:extLst>
                    <a:ext uri="{FF2B5EF4-FFF2-40B4-BE49-F238E27FC236}">
                      <a16:creationId xmlns:a16="http://schemas.microsoft.com/office/drawing/2014/main" id="{D0B367FF-DDC2-8B9A-C4FA-2F664AD1FC8C}"/>
                    </a:ext>
                  </a:extLst>
                </p:cNvPr>
                <p:cNvSpPr/>
                <p:nvPr/>
              </p:nvSpPr>
              <p:spPr>
                <a:xfrm>
                  <a:off x="4517238" y="3814174"/>
                  <a:ext cx="36338" cy="1223"/>
                </a:xfrm>
                <a:custGeom>
                  <a:avLst/>
                  <a:gdLst>
                    <a:gd name="connsiteX0" fmla="*/ 0 w 36338"/>
                    <a:gd name="connsiteY0" fmla="*/ 0 h 1223"/>
                    <a:gd name="connsiteX1" fmla="*/ 36338 w 36338"/>
                    <a:gd name="connsiteY1" fmla="*/ 0 h 122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36338" h="1223">
                      <a:moveTo>
                        <a:pt x="0" y="0"/>
                      </a:moveTo>
                      <a:lnTo>
                        <a:pt x="36338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1767" name="Gráfico 14">
                <a:extLst>
                  <a:ext uri="{FF2B5EF4-FFF2-40B4-BE49-F238E27FC236}">
                    <a16:creationId xmlns:a16="http://schemas.microsoft.com/office/drawing/2014/main" id="{A415B45E-E8E6-D6AC-D389-84DCBE5A9C23}"/>
                  </a:ext>
                </a:extLst>
              </p:cNvPr>
              <p:cNvGrpSpPr/>
              <p:nvPr/>
            </p:nvGrpSpPr>
            <p:grpSpPr>
              <a:xfrm>
                <a:off x="4596720" y="3754520"/>
                <a:ext cx="36326" cy="59654"/>
                <a:chOff x="4596720" y="3754520"/>
                <a:chExt cx="36326" cy="59654"/>
              </a:xfrm>
            </p:grpSpPr>
            <p:sp>
              <p:nvSpPr>
                <p:cNvPr id="1768" name="Forma livre: Forma 1767">
                  <a:extLst>
                    <a:ext uri="{FF2B5EF4-FFF2-40B4-BE49-F238E27FC236}">
                      <a16:creationId xmlns:a16="http://schemas.microsoft.com/office/drawing/2014/main" id="{ED804F74-8189-FBB6-8A1B-DBBA9E0AB25A}"/>
                    </a:ext>
                  </a:extLst>
                </p:cNvPr>
                <p:cNvSpPr/>
                <p:nvPr/>
              </p:nvSpPr>
              <p:spPr>
                <a:xfrm>
                  <a:off x="4596720" y="3754520"/>
                  <a:ext cx="36326" cy="1223"/>
                </a:xfrm>
                <a:custGeom>
                  <a:avLst/>
                  <a:gdLst>
                    <a:gd name="connsiteX0" fmla="*/ 0 w 36326"/>
                    <a:gd name="connsiteY0" fmla="*/ 0 h 1223"/>
                    <a:gd name="connsiteX1" fmla="*/ 36326 w 36326"/>
                    <a:gd name="connsiteY1" fmla="*/ 0 h 122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36326" h="1223">
                      <a:moveTo>
                        <a:pt x="0" y="0"/>
                      </a:moveTo>
                      <a:lnTo>
                        <a:pt x="36326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769" name="Forma livre: Forma 1768">
                  <a:extLst>
                    <a:ext uri="{FF2B5EF4-FFF2-40B4-BE49-F238E27FC236}">
                      <a16:creationId xmlns:a16="http://schemas.microsoft.com/office/drawing/2014/main" id="{79A966A3-1BFA-49CC-57B6-BB33FEE8736D}"/>
                    </a:ext>
                  </a:extLst>
                </p:cNvPr>
                <p:cNvSpPr/>
                <p:nvPr/>
              </p:nvSpPr>
              <p:spPr>
                <a:xfrm>
                  <a:off x="4596720" y="3784347"/>
                  <a:ext cx="36326" cy="1223"/>
                </a:xfrm>
                <a:custGeom>
                  <a:avLst/>
                  <a:gdLst>
                    <a:gd name="connsiteX0" fmla="*/ 0 w 36326"/>
                    <a:gd name="connsiteY0" fmla="*/ 0 h 1223"/>
                    <a:gd name="connsiteX1" fmla="*/ 36326 w 36326"/>
                    <a:gd name="connsiteY1" fmla="*/ 0 h 122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36326" h="1223">
                      <a:moveTo>
                        <a:pt x="0" y="0"/>
                      </a:moveTo>
                      <a:lnTo>
                        <a:pt x="36326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770" name="Forma livre: Forma 1769">
                  <a:extLst>
                    <a:ext uri="{FF2B5EF4-FFF2-40B4-BE49-F238E27FC236}">
                      <a16:creationId xmlns:a16="http://schemas.microsoft.com/office/drawing/2014/main" id="{40C7B7F1-B0D1-3C01-C728-FE135183E12B}"/>
                    </a:ext>
                  </a:extLst>
                </p:cNvPr>
                <p:cNvSpPr/>
                <p:nvPr/>
              </p:nvSpPr>
              <p:spPr>
                <a:xfrm>
                  <a:off x="4596720" y="3814174"/>
                  <a:ext cx="36326" cy="1223"/>
                </a:xfrm>
                <a:custGeom>
                  <a:avLst/>
                  <a:gdLst>
                    <a:gd name="connsiteX0" fmla="*/ 0 w 36326"/>
                    <a:gd name="connsiteY0" fmla="*/ 0 h 1223"/>
                    <a:gd name="connsiteX1" fmla="*/ 36326 w 36326"/>
                    <a:gd name="connsiteY1" fmla="*/ 0 h 122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36326" h="1223">
                      <a:moveTo>
                        <a:pt x="0" y="0"/>
                      </a:moveTo>
                      <a:lnTo>
                        <a:pt x="36326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grpSp>
          <p:nvGrpSpPr>
            <p:cNvPr id="1771" name="Gráfico 14">
              <a:extLst>
                <a:ext uri="{FF2B5EF4-FFF2-40B4-BE49-F238E27FC236}">
                  <a16:creationId xmlns:a16="http://schemas.microsoft.com/office/drawing/2014/main" id="{0C14404D-616F-B31C-EC86-0234EF92FCD3}"/>
                </a:ext>
              </a:extLst>
            </p:cNvPr>
            <p:cNvGrpSpPr/>
            <p:nvPr/>
          </p:nvGrpSpPr>
          <p:grpSpPr>
            <a:xfrm>
              <a:off x="4406766" y="3667694"/>
              <a:ext cx="168473" cy="304660"/>
              <a:chOff x="4406766" y="3667694"/>
              <a:chExt cx="168473" cy="304660"/>
            </a:xfrm>
            <a:noFill/>
          </p:grpSpPr>
          <p:sp>
            <p:nvSpPr>
              <p:cNvPr id="1772" name="Forma livre: Forma 1771">
                <a:extLst>
                  <a:ext uri="{FF2B5EF4-FFF2-40B4-BE49-F238E27FC236}">
                    <a16:creationId xmlns:a16="http://schemas.microsoft.com/office/drawing/2014/main" id="{EFD7608C-D264-5653-9F6D-C99C5C62891F}"/>
                  </a:ext>
                </a:extLst>
              </p:cNvPr>
              <p:cNvSpPr/>
              <p:nvPr/>
            </p:nvSpPr>
            <p:spPr>
              <a:xfrm>
                <a:off x="4406766" y="3667694"/>
                <a:ext cx="168473" cy="304660"/>
              </a:xfrm>
              <a:custGeom>
                <a:avLst/>
                <a:gdLst>
                  <a:gd name="connsiteX0" fmla="*/ 168461 w 168473"/>
                  <a:gd name="connsiteY0" fmla="*/ 212180 h 304660"/>
                  <a:gd name="connsiteX1" fmla="*/ 168461 w 168473"/>
                  <a:gd name="connsiteY1" fmla="*/ 290426 h 304660"/>
                  <a:gd name="connsiteX2" fmla="*/ 154668 w 168473"/>
                  <a:gd name="connsiteY2" fmla="*/ 304660 h 304660"/>
                  <a:gd name="connsiteX3" fmla="*/ 13794 w 168473"/>
                  <a:gd name="connsiteY3" fmla="*/ 304660 h 304660"/>
                  <a:gd name="connsiteX4" fmla="*/ 0 w 168473"/>
                  <a:gd name="connsiteY4" fmla="*/ 290426 h 304660"/>
                  <a:gd name="connsiteX5" fmla="*/ 0 w 168473"/>
                  <a:gd name="connsiteY5" fmla="*/ 13781 h 304660"/>
                  <a:gd name="connsiteX6" fmla="*/ 13794 w 168473"/>
                  <a:gd name="connsiteY6" fmla="*/ 0 h 304660"/>
                  <a:gd name="connsiteX7" fmla="*/ 154680 w 168473"/>
                  <a:gd name="connsiteY7" fmla="*/ 0 h 304660"/>
                  <a:gd name="connsiteX8" fmla="*/ 168474 w 168473"/>
                  <a:gd name="connsiteY8" fmla="*/ 13781 h 304660"/>
                  <a:gd name="connsiteX9" fmla="*/ 168474 w 168473"/>
                  <a:gd name="connsiteY9" fmla="*/ 33156 h 3046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68473" h="304660">
                    <a:moveTo>
                      <a:pt x="168461" y="212180"/>
                    </a:moveTo>
                    <a:lnTo>
                      <a:pt x="168461" y="290426"/>
                    </a:lnTo>
                    <a:cubicBezTo>
                      <a:pt x="168461" y="298014"/>
                      <a:pt x="162256" y="304660"/>
                      <a:pt x="154668" y="304660"/>
                    </a:cubicBezTo>
                    <a:lnTo>
                      <a:pt x="13794" y="304660"/>
                    </a:lnTo>
                    <a:cubicBezTo>
                      <a:pt x="6205" y="304660"/>
                      <a:pt x="0" y="298014"/>
                      <a:pt x="0" y="290426"/>
                    </a:cubicBezTo>
                    <a:lnTo>
                      <a:pt x="0" y="13781"/>
                    </a:lnTo>
                    <a:cubicBezTo>
                      <a:pt x="0" y="6193"/>
                      <a:pt x="6205" y="0"/>
                      <a:pt x="13794" y="0"/>
                    </a:cubicBezTo>
                    <a:lnTo>
                      <a:pt x="154680" y="0"/>
                    </a:lnTo>
                    <a:cubicBezTo>
                      <a:pt x="162268" y="0"/>
                      <a:pt x="168474" y="6193"/>
                      <a:pt x="168474" y="13781"/>
                    </a:cubicBezTo>
                    <a:lnTo>
                      <a:pt x="168474" y="33156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773" name="Forma livre: Forma 1772">
                <a:extLst>
                  <a:ext uri="{FF2B5EF4-FFF2-40B4-BE49-F238E27FC236}">
                    <a16:creationId xmlns:a16="http://schemas.microsoft.com/office/drawing/2014/main" id="{2F0C5B7A-A3F9-035D-1529-E61A2EA032BE}"/>
                  </a:ext>
                </a:extLst>
              </p:cNvPr>
              <p:cNvSpPr/>
              <p:nvPr/>
            </p:nvSpPr>
            <p:spPr>
              <a:xfrm>
                <a:off x="4428723" y="3912223"/>
                <a:ext cx="124522" cy="1223"/>
              </a:xfrm>
              <a:custGeom>
                <a:avLst/>
                <a:gdLst>
                  <a:gd name="connsiteX0" fmla="*/ 0 w 124522"/>
                  <a:gd name="connsiteY0" fmla="*/ 0 h 1223"/>
                  <a:gd name="connsiteX1" fmla="*/ 124522 w 124522"/>
                  <a:gd name="connsiteY1" fmla="*/ 0 h 12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4522" h="1223">
                    <a:moveTo>
                      <a:pt x="0" y="0"/>
                    </a:moveTo>
                    <a:lnTo>
                      <a:pt x="124522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774" name="Forma livre: Forma 1773">
                <a:extLst>
                  <a:ext uri="{FF2B5EF4-FFF2-40B4-BE49-F238E27FC236}">
                    <a16:creationId xmlns:a16="http://schemas.microsoft.com/office/drawing/2014/main" id="{7E870F7D-227C-8DF8-15BF-A76F4327660F}"/>
                  </a:ext>
                </a:extLst>
              </p:cNvPr>
              <p:cNvSpPr/>
              <p:nvPr/>
            </p:nvSpPr>
            <p:spPr>
              <a:xfrm>
                <a:off x="4479541" y="3941426"/>
                <a:ext cx="22911" cy="1223"/>
              </a:xfrm>
              <a:custGeom>
                <a:avLst/>
                <a:gdLst>
                  <a:gd name="connsiteX0" fmla="*/ 0 w 22911"/>
                  <a:gd name="connsiteY0" fmla="*/ 0 h 1223"/>
                  <a:gd name="connsiteX1" fmla="*/ 22912 w 22911"/>
                  <a:gd name="connsiteY1" fmla="*/ 0 h 12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2911" h="1223">
                    <a:moveTo>
                      <a:pt x="0" y="0"/>
                    </a:moveTo>
                    <a:lnTo>
                      <a:pt x="22912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775" name="Gráfico 14">
            <a:extLst>
              <a:ext uri="{FF2B5EF4-FFF2-40B4-BE49-F238E27FC236}">
                <a16:creationId xmlns:a16="http://schemas.microsoft.com/office/drawing/2014/main" id="{F68EE4F6-F7D0-D71F-259B-A2A36B32B765}"/>
              </a:ext>
            </a:extLst>
          </p:cNvPr>
          <p:cNvGrpSpPr/>
          <p:nvPr/>
        </p:nvGrpSpPr>
        <p:grpSpPr>
          <a:xfrm>
            <a:off x="4348605" y="5351381"/>
            <a:ext cx="364155" cy="225444"/>
            <a:chOff x="4348605" y="5351381"/>
            <a:chExt cx="364155" cy="225444"/>
          </a:xfrm>
          <a:noFill/>
        </p:grpSpPr>
        <p:grpSp>
          <p:nvGrpSpPr>
            <p:cNvPr id="1776" name="Gráfico 14">
              <a:extLst>
                <a:ext uri="{FF2B5EF4-FFF2-40B4-BE49-F238E27FC236}">
                  <a16:creationId xmlns:a16="http://schemas.microsoft.com/office/drawing/2014/main" id="{1D78457C-4012-1924-5A32-487BF884CFA0}"/>
                </a:ext>
              </a:extLst>
            </p:cNvPr>
            <p:cNvGrpSpPr/>
            <p:nvPr/>
          </p:nvGrpSpPr>
          <p:grpSpPr>
            <a:xfrm>
              <a:off x="4382459" y="5351381"/>
              <a:ext cx="296459" cy="201162"/>
              <a:chOff x="4382459" y="5351381"/>
              <a:chExt cx="296459" cy="201162"/>
            </a:xfrm>
            <a:noFill/>
          </p:grpSpPr>
          <p:sp>
            <p:nvSpPr>
              <p:cNvPr id="1777" name="Forma livre: Forma 1776">
                <a:extLst>
                  <a:ext uri="{FF2B5EF4-FFF2-40B4-BE49-F238E27FC236}">
                    <a16:creationId xmlns:a16="http://schemas.microsoft.com/office/drawing/2014/main" id="{E1FD0D8B-2B43-C585-024F-A5595105B630}"/>
                  </a:ext>
                </a:extLst>
              </p:cNvPr>
              <p:cNvSpPr/>
              <p:nvPr/>
            </p:nvSpPr>
            <p:spPr>
              <a:xfrm>
                <a:off x="4530689" y="5351381"/>
                <a:ext cx="148229" cy="201162"/>
              </a:xfrm>
              <a:custGeom>
                <a:avLst/>
                <a:gdLst>
                  <a:gd name="connsiteX0" fmla="*/ 0 w 148229"/>
                  <a:gd name="connsiteY0" fmla="*/ 201162 h 201162"/>
                  <a:gd name="connsiteX1" fmla="*/ 79849 w 148229"/>
                  <a:gd name="connsiteY1" fmla="*/ 180319 h 201162"/>
                  <a:gd name="connsiteX2" fmla="*/ 148230 w 148229"/>
                  <a:gd name="connsiteY2" fmla="*/ 180282 h 201162"/>
                  <a:gd name="connsiteX3" fmla="*/ 114352 w 148229"/>
                  <a:gd name="connsiteY3" fmla="*/ 10 h 201162"/>
                  <a:gd name="connsiteX4" fmla="*/ 61600 w 148229"/>
                  <a:gd name="connsiteY4" fmla="*/ 10 h 201162"/>
                  <a:gd name="connsiteX5" fmla="*/ 12 w 148229"/>
                  <a:gd name="connsiteY5" fmla="*/ 16117 h 2011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48229" h="201162">
                    <a:moveTo>
                      <a:pt x="0" y="201162"/>
                    </a:moveTo>
                    <a:cubicBezTo>
                      <a:pt x="18249" y="179046"/>
                      <a:pt x="38382" y="180319"/>
                      <a:pt x="79849" y="180319"/>
                    </a:cubicBezTo>
                    <a:lnTo>
                      <a:pt x="148230" y="180282"/>
                    </a:lnTo>
                    <a:lnTo>
                      <a:pt x="114352" y="10"/>
                    </a:lnTo>
                    <a:lnTo>
                      <a:pt x="61600" y="10"/>
                    </a:lnTo>
                    <a:cubicBezTo>
                      <a:pt x="29619" y="10"/>
                      <a:pt x="14087" y="-945"/>
                      <a:pt x="12" y="16117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778" name="Forma livre: Forma 1777">
                <a:extLst>
                  <a:ext uri="{FF2B5EF4-FFF2-40B4-BE49-F238E27FC236}">
                    <a16:creationId xmlns:a16="http://schemas.microsoft.com/office/drawing/2014/main" id="{D8FDE193-7739-7BF2-AACA-E8974FC8C92A}"/>
                  </a:ext>
                </a:extLst>
              </p:cNvPr>
              <p:cNvSpPr/>
              <p:nvPr/>
            </p:nvSpPr>
            <p:spPr>
              <a:xfrm>
                <a:off x="4382459" y="5351390"/>
                <a:ext cx="148229" cy="201152"/>
              </a:xfrm>
              <a:custGeom>
                <a:avLst/>
                <a:gdLst>
                  <a:gd name="connsiteX0" fmla="*/ 86630 w 148229"/>
                  <a:gd name="connsiteY0" fmla="*/ 12 h 201152"/>
                  <a:gd name="connsiteX1" fmla="*/ 148230 w 148229"/>
                  <a:gd name="connsiteY1" fmla="*/ 16119 h 201152"/>
                  <a:gd name="connsiteX2" fmla="*/ 148230 w 148229"/>
                  <a:gd name="connsiteY2" fmla="*/ 201153 h 201152"/>
                  <a:gd name="connsiteX3" fmla="*/ 68369 w 148229"/>
                  <a:gd name="connsiteY3" fmla="*/ 180272 h 201152"/>
                  <a:gd name="connsiteX4" fmla="*/ 0 w 148229"/>
                  <a:gd name="connsiteY4" fmla="*/ 180272 h 201152"/>
                  <a:gd name="connsiteX5" fmla="*/ 33878 w 148229"/>
                  <a:gd name="connsiteY5" fmla="*/ 0 h 201152"/>
                  <a:gd name="connsiteX6" fmla="*/ 86617 w 148229"/>
                  <a:gd name="connsiteY6" fmla="*/ 0 h 2011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48229" h="201152">
                    <a:moveTo>
                      <a:pt x="86630" y="12"/>
                    </a:moveTo>
                    <a:cubicBezTo>
                      <a:pt x="118611" y="12"/>
                      <a:pt x="134155" y="-942"/>
                      <a:pt x="148230" y="16119"/>
                    </a:cubicBezTo>
                    <a:lnTo>
                      <a:pt x="148230" y="201153"/>
                    </a:lnTo>
                    <a:cubicBezTo>
                      <a:pt x="129981" y="179036"/>
                      <a:pt x="109835" y="180272"/>
                      <a:pt x="68369" y="180272"/>
                    </a:cubicBezTo>
                    <a:lnTo>
                      <a:pt x="0" y="180272"/>
                    </a:lnTo>
                    <a:lnTo>
                      <a:pt x="33878" y="0"/>
                    </a:lnTo>
                    <a:lnTo>
                      <a:pt x="86617" y="0"/>
                    </a:lnTo>
                    <a:close/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779" name="Forma livre: Forma 1778">
              <a:extLst>
                <a:ext uri="{FF2B5EF4-FFF2-40B4-BE49-F238E27FC236}">
                  <a16:creationId xmlns:a16="http://schemas.microsoft.com/office/drawing/2014/main" id="{7CC0C21A-F72A-4560-9051-6FC6C9B396A3}"/>
                </a:ext>
              </a:extLst>
            </p:cNvPr>
            <p:cNvSpPr/>
            <p:nvPr/>
          </p:nvSpPr>
          <p:spPr>
            <a:xfrm>
              <a:off x="4348605" y="5380018"/>
              <a:ext cx="364155" cy="196807"/>
            </a:xfrm>
            <a:custGeom>
              <a:avLst/>
              <a:gdLst>
                <a:gd name="connsiteX0" fmla="*/ 39313 w 364155"/>
                <a:gd name="connsiteY0" fmla="*/ 0 h 196807"/>
                <a:gd name="connsiteX1" fmla="*/ 0 w 364155"/>
                <a:gd name="connsiteY1" fmla="*/ 179868 h 196807"/>
                <a:gd name="connsiteX2" fmla="*/ 148854 w 364155"/>
                <a:gd name="connsiteY2" fmla="*/ 179868 h 196807"/>
                <a:gd name="connsiteX3" fmla="*/ 165022 w 364155"/>
                <a:gd name="connsiteY3" fmla="*/ 196808 h 196807"/>
                <a:gd name="connsiteX4" fmla="*/ 165292 w 364155"/>
                <a:gd name="connsiteY4" fmla="*/ 196808 h 196807"/>
                <a:gd name="connsiteX5" fmla="*/ 198864 w 364155"/>
                <a:gd name="connsiteY5" fmla="*/ 196808 h 196807"/>
                <a:gd name="connsiteX6" fmla="*/ 199133 w 364155"/>
                <a:gd name="connsiteY6" fmla="*/ 196808 h 196807"/>
                <a:gd name="connsiteX7" fmla="*/ 215301 w 364155"/>
                <a:gd name="connsiteY7" fmla="*/ 179868 h 196807"/>
                <a:gd name="connsiteX8" fmla="*/ 364155 w 364155"/>
                <a:gd name="connsiteY8" fmla="*/ 179868 h 196807"/>
                <a:gd name="connsiteX9" fmla="*/ 324843 w 364155"/>
                <a:gd name="connsiteY9" fmla="*/ 0 h 196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64155" h="196807">
                  <a:moveTo>
                    <a:pt x="39313" y="0"/>
                  </a:moveTo>
                  <a:lnTo>
                    <a:pt x="0" y="179868"/>
                  </a:lnTo>
                  <a:lnTo>
                    <a:pt x="148854" y="179868"/>
                  </a:lnTo>
                  <a:cubicBezTo>
                    <a:pt x="148854" y="179868"/>
                    <a:pt x="156063" y="196808"/>
                    <a:pt x="165022" y="196808"/>
                  </a:cubicBezTo>
                  <a:cubicBezTo>
                    <a:pt x="165304" y="196808"/>
                    <a:pt x="165365" y="196808"/>
                    <a:pt x="165292" y="196808"/>
                  </a:cubicBezTo>
                  <a:lnTo>
                    <a:pt x="198864" y="196808"/>
                  </a:lnTo>
                  <a:cubicBezTo>
                    <a:pt x="198803" y="196808"/>
                    <a:pt x="198852" y="196808"/>
                    <a:pt x="199133" y="196808"/>
                  </a:cubicBezTo>
                  <a:cubicBezTo>
                    <a:pt x="208092" y="196808"/>
                    <a:pt x="215301" y="179868"/>
                    <a:pt x="215301" y="179868"/>
                  </a:cubicBezTo>
                  <a:lnTo>
                    <a:pt x="364155" y="179868"/>
                  </a:lnTo>
                  <a:lnTo>
                    <a:pt x="324843" y="0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780" name="Gráfico 14">
            <a:extLst>
              <a:ext uri="{FF2B5EF4-FFF2-40B4-BE49-F238E27FC236}">
                <a16:creationId xmlns:a16="http://schemas.microsoft.com/office/drawing/2014/main" id="{6F583A1F-C0D3-D139-218A-033AF538CB34}"/>
              </a:ext>
            </a:extLst>
          </p:cNvPr>
          <p:cNvGrpSpPr/>
          <p:nvPr/>
        </p:nvGrpSpPr>
        <p:grpSpPr>
          <a:xfrm>
            <a:off x="4395653" y="4737003"/>
            <a:ext cx="270059" cy="358158"/>
            <a:chOff x="4395653" y="4737003"/>
            <a:chExt cx="270059" cy="358158"/>
          </a:xfrm>
          <a:noFill/>
        </p:grpSpPr>
        <p:grpSp>
          <p:nvGrpSpPr>
            <p:cNvPr id="1781" name="Gráfico 14">
              <a:extLst>
                <a:ext uri="{FF2B5EF4-FFF2-40B4-BE49-F238E27FC236}">
                  <a16:creationId xmlns:a16="http://schemas.microsoft.com/office/drawing/2014/main" id="{A5BE382C-64AD-5D6E-4976-4537E981FB74}"/>
                </a:ext>
              </a:extLst>
            </p:cNvPr>
            <p:cNvGrpSpPr/>
            <p:nvPr/>
          </p:nvGrpSpPr>
          <p:grpSpPr>
            <a:xfrm>
              <a:off x="4395653" y="4737003"/>
              <a:ext cx="196893" cy="252263"/>
              <a:chOff x="4395653" y="4737003"/>
              <a:chExt cx="196893" cy="252263"/>
            </a:xfrm>
            <a:noFill/>
          </p:grpSpPr>
          <p:sp>
            <p:nvSpPr>
              <p:cNvPr id="1782" name="Forma livre: Forma 1781">
                <a:extLst>
                  <a:ext uri="{FF2B5EF4-FFF2-40B4-BE49-F238E27FC236}">
                    <a16:creationId xmlns:a16="http://schemas.microsoft.com/office/drawing/2014/main" id="{C876E085-E507-9B2E-0586-97E602D6CD75}"/>
                  </a:ext>
                </a:extLst>
              </p:cNvPr>
              <p:cNvSpPr/>
              <p:nvPr/>
            </p:nvSpPr>
            <p:spPr>
              <a:xfrm>
                <a:off x="4424158" y="4813009"/>
                <a:ext cx="1223" cy="152158"/>
              </a:xfrm>
              <a:custGeom>
                <a:avLst/>
                <a:gdLst>
                  <a:gd name="connsiteX0" fmla="*/ 0 w 1223"/>
                  <a:gd name="connsiteY0" fmla="*/ 152159 h 152158"/>
                  <a:gd name="connsiteX1" fmla="*/ 0 w 1223"/>
                  <a:gd name="connsiteY1" fmla="*/ 0 h 1521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23" h="152158">
                    <a:moveTo>
                      <a:pt x="0" y="152159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783" name="Forma livre: Forma 1782">
                <a:extLst>
                  <a:ext uri="{FF2B5EF4-FFF2-40B4-BE49-F238E27FC236}">
                    <a16:creationId xmlns:a16="http://schemas.microsoft.com/office/drawing/2014/main" id="{0F25A508-ADA4-C479-AA2E-909B0B7C75E3}"/>
                  </a:ext>
                </a:extLst>
              </p:cNvPr>
              <p:cNvSpPr/>
              <p:nvPr/>
            </p:nvSpPr>
            <p:spPr>
              <a:xfrm>
                <a:off x="4428307" y="4762828"/>
                <a:ext cx="164238" cy="1223"/>
              </a:xfrm>
              <a:custGeom>
                <a:avLst/>
                <a:gdLst>
                  <a:gd name="connsiteX0" fmla="*/ 0 w 164238"/>
                  <a:gd name="connsiteY0" fmla="*/ 0 h 1223"/>
                  <a:gd name="connsiteX1" fmla="*/ 164239 w 164238"/>
                  <a:gd name="connsiteY1" fmla="*/ 0 h 12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64238" h="1223">
                    <a:moveTo>
                      <a:pt x="0" y="0"/>
                    </a:moveTo>
                    <a:lnTo>
                      <a:pt x="164239" y="0"/>
                    </a:lnTo>
                  </a:path>
                </a:pathLst>
              </a:custGeom>
              <a:ln w="6350" cap="sq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784" name="Forma livre: Forma 1783">
                <a:extLst>
                  <a:ext uri="{FF2B5EF4-FFF2-40B4-BE49-F238E27FC236}">
                    <a16:creationId xmlns:a16="http://schemas.microsoft.com/office/drawing/2014/main" id="{07A1B8C4-F755-0B59-C81D-13054777FE02}"/>
                  </a:ext>
                </a:extLst>
              </p:cNvPr>
              <p:cNvSpPr/>
              <p:nvPr/>
            </p:nvSpPr>
            <p:spPr>
              <a:xfrm>
                <a:off x="4395653" y="4737003"/>
                <a:ext cx="196893" cy="77780"/>
              </a:xfrm>
              <a:custGeom>
                <a:avLst/>
                <a:gdLst>
                  <a:gd name="connsiteX0" fmla="*/ 196893 w 196893"/>
                  <a:gd name="connsiteY0" fmla="*/ 77781 h 77780"/>
                  <a:gd name="connsiteX1" fmla="*/ 196893 w 196893"/>
                  <a:gd name="connsiteY1" fmla="*/ 51662 h 77780"/>
                  <a:gd name="connsiteX2" fmla="*/ 25482 w 196893"/>
                  <a:gd name="connsiteY2" fmla="*/ 51662 h 77780"/>
                  <a:gd name="connsiteX3" fmla="*/ 0 w 196893"/>
                  <a:gd name="connsiteY3" fmla="*/ 26180 h 77780"/>
                  <a:gd name="connsiteX4" fmla="*/ 0 w 196893"/>
                  <a:gd name="connsiteY4" fmla="*/ 25470 h 77780"/>
                  <a:gd name="connsiteX5" fmla="*/ 25482 w 196893"/>
                  <a:gd name="connsiteY5" fmla="*/ 0 h 77780"/>
                  <a:gd name="connsiteX6" fmla="*/ 196893 w 196893"/>
                  <a:gd name="connsiteY6" fmla="*/ 0 h 777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96893" h="77780">
                    <a:moveTo>
                      <a:pt x="196893" y="77781"/>
                    </a:moveTo>
                    <a:lnTo>
                      <a:pt x="196893" y="51662"/>
                    </a:lnTo>
                    <a:lnTo>
                      <a:pt x="25482" y="51662"/>
                    </a:lnTo>
                    <a:cubicBezTo>
                      <a:pt x="11468" y="51662"/>
                      <a:pt x="0" y="40182"/>
                      <a:pt x="0" y="26180"/>
                    </a:cubicBezTo>
                    <a:lnTo>
                      <a:pt x="0" y="25470"/>
                    </a:lnTo>
                    <a:cubicBezTo>
                      <a:pt x="0" y="11456"/>
                      <a:pt x="11468" y="0"/>
                      <a:pt x="25482" y="0"/>
                    </a:cubicBezTo>
                    <a:lnTo>
                      <a:pt x="196893" y="0"/>
                    </a:lnTo>
                  </a:path>
                </a:pathLst>
              </a:custGeom>
              <a:noFill/>
              <a:ln w="6350" cap="sq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785" name="Forma livre: Forma 1784">
                <a:extLst>
                  <a:ext uri="{FF2B5EF4-FFF2-40B4-BE49-F238E27FC236}">
                    <a16:creationId xmlns:a16="http://schemas.microsoft.com/office/drawing/2014/main" id="{7FEBF22B-E219-38E0-BDB4-3F72CC2F987E}"/>
                  </a:ext>
                </a:extLst>
              </p:cNvPr>
              <p:cNvSpPr/>
              <p:nvPr/>
            </p:nvSpPr>
            <p:spPr>
              <a:xfrm>
                <a:off x="4395665" y="4765741"/>
                <a:ext cx="44856" cy="223525"/>
              </a:xfrm>
              <a:custGeom>
                <a:avLst/>
                <a:gdLst>
                  <a:gd name="connsiteX0" fmla="*/ 0 w 44856"/>
                  <a:gd name="connsiteY0" fmla="*/ 0 h 223525"/>
                  <a:gd name="connsiteX1" fmla="*/ 0 w 44856"/>
                  <a:gd name="connsiteY1" fmla="*/ 198056 h 223525"/>
                  <a:gd name="connsiteX2" fmla="*/ 25482 w 44856"/>
                  <a:gd name="connsiteY2" fmla="*/ 223526 h 223525"/>
                  <a:gd name="connsiteX3" fmla="*/ 44857 w 44856"/>
                  <a:gd name="connsiteY3" fmla="*/ 223526 h 223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4856" h="223525">
                    <a:moveTo>
                      <a:pt x="0" y="0"/>
                    </a:moveTo>
                    <a:lnTo>
                      <a:pt x="0" y="198056"/>
                    </a:lnTo>
                    <a:cubicBezTo>
                      <a:pt x="0" y="212070"/>
                      <a:pt x="11468" y="223526"/>
                      <a:pt x="25482" y="223526"/>
                    </a:cubicBezTo>
                    <a:lnTo>
                      <a:pt x="44857" y="223526"/>
                    </a:lnTo>
                  </a:path>
                </a:pathLst>
              </a:custGeom>
              <a:noFill/>
              <a:ln w="6350" cap="sq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786" name="Gráfico 14">
              <a:extLst>
                <a:ext uri="{FF2B5EF4-FFF2-40B4-BE49-F238E27FC236}">
                  <a16:creationId xmlns:a16="http://schemas.microsoft.com/office/drawing/2014/main" id="{67AD215D-676C-3882-0867-2EA577622485}"/>
                </a:ext>
              </a:extLst>
            </p:cNvPr>
            <p:cNvGrpSpPr/>
            <p:nvPr/>
          </p:nvGrpSpPr>
          <p:grpSpPr>
            <a:xfrm>
              <a:off x="4468819" y="4842885"/>
              <a:ext cx="196893" cy="252276"/>
              <a:chOff x="4468819" y="4842885"/>
              <a:chExt cx="196893" cy="252276"/>
            </a:xfrm>
            <a:noFill/>
          </p:grpSpPr>
          <p:sp>
            <p:nvSpPr>
              <p:cNvPr id="1787" name="Forma livre: Forma 1786">
                <a:extLst>
                  <a:ext uri="{FF2B5EF4-FFF2-40B4-BE49-F238E27FC236}">
                    <a16:creationId xmlns:a16="http://schemas.microsoft.com/office/drawing/2014/main" id="{E3A80126-E99F-3AE9-2153-764754AE9A07}"/>
                  </a:ext>
                </a:extLst>
              </p:cNvPr>
              <p:cNvSpPr/>
              <p:nvPr/>
            </p:nvSpPr>
            <p:spPr>
              <a:xfrm>
                <a:off x="4497325" y="4918903"/>
                <a:ext cx="1223" cy="152158"/>
              </a:xfrm>
              <a:custGeom>
                <a:avLst/>
                <a:gdLst>
                  <a:gd name="connsiteX0" fmla="*/ 0 w 1223"/>
                  <a:gd name="connsiteY0" fmla="*/ 152159 h 152158"/>
                  <a:gd name="connsiteX1" fmla="*/ 0 w 1223"/>
                  <a:gd name="connsiteY1" fmla="*/ 0 h 1521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23" h="152158">
                    <a:moveTo>
                      <a:pt x="0" y="152159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788" name="Forma livre: Forma 1787">
                <a:extLst>
                  <a:ext uri="{FF2B5EF4-FFF2-40B4-BE49-F238E27FC236}">
                    <a16:creationId xmlns:a16="http://schemas.microsoft.com/office/drawing/2014/main" id="{C9EED13F-D7C7-3037-47E6-4B3A800D2DB1}"/>
                  </a:ext>
                </a:extLst>
              </p:cNvPr>
              <p:cNvSpPr/>
              <p:nvPr/>
            </p:nvSpPr>
            <p:spPr>
              <a:xfrm>
                <a:off x="4501474" y="4868722"/>
                <a:ext cx="164238" cy="1223"/>
              </a:xfrm>
              <a:custGeom>
                <a:avLst/>
                <a:gdLst>
                  <a:gd name="connsiteX0" fmla="*/ 0 w 164238"/>
                  <a:gd name="connsiteY0" fmla="*/ 0 h 1223"/>
                  <a:gd name="connsiteX1" fmla="*/ 164239 w 164238"/>
                  <a:gd name="connsiteY1" fmla="*/ 0 h 12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64238" h="1223">
                    <a:moveTo>
                      <a:pt x="0" y="0"/>
                    </a:moveTo>
                    <a:lnTo>
                      <a:pt x="164239" y="0"/>
                    </a:lnTo>
                  </a:path>
                </a:pathLst>
              </a:custGeom>
              <a:ln w="6350" cap="sq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789" name="Forma livre: Forma 1788">
                <a:extLst>
                  <a:ext uri="{FF2B5EF4-FFF2-40B4-BE49-F238E27FC236}">
                    <a16:creationId xmlns:a16="http://schemas.microsoft.com/office/drawing/2014/main" id="{C210127E-ADC8-4F98-6CC5-A38A4ACA870A}"/>
                  </a:ext>
                </a:extLst>
              </p:cNvPr>
              <p:cNvSpPr/>
              <p:nvPr/>
            </p:nvSpPr>
            <p:spPr>
              <a:xfrm>
                <a:off x="4468819" y="4842885"/>
                <a:ext cx="196893" cy="252276"/>
              </a:xfrm>
              <a:custGeom>
                <a:avLst/>
                <a:gdLst>
                  <a:gd name="connsiteX0" fmla="*/ 0 w 196893"/>
                  <a:gd name="connsiteY0" fmla="*/ 28738 h 252276"/>
                  <a:gd name="connsiteX1" fmla="*/ 0 w 196893"/>
                  <a:gd name="connsiteY1" fmla="*/ 226794 h 252276"/>
                  <a:gd name="connsiteX2" fmla="*/ 25482 w 196893"/>
                  <a:gd name="connsiteY2" fmla="*/ 252276 h 252276"/>
                  <a:gd name="connsiteX3" fmla="*/ 196893 w 196893"/>
                  <a:gd name="connsiteY3" fmla="*/ 252276 h 252276"/>
                  <a:gd name="connsiteX4" fmla="*/ 196893 w 196893"/>
                  <a:gd name="connsiteY4" fmla="*/ 51662 h 252276"/>
                  <a:gd name="connsiteX5" fmla="*/ 25482 w 196893"/>
                  <a:gd name="connsiteY5" fmla="*/ 51662 h 252276"/>
                  <a:gd name="connsiteX6" fmla="*/ 0 w 196893"/>
                  <a:gd name="connsiteY6" fmla="*/ 26180 h 252276"/>
                  <a:gd name="connsiteX7" fmla="*/ 0 w 196893"/>
                  <a:gd name="connsiteY7" fmla="*/ 25482 h 252276"/>
                  <a:gd name="connsiteX8" fmla="*/ 25482 w 196893"/>
                  <a:gd name="connsiteY8" fmla="*/ 0 h 252276"/>
                  <a:gd name="connsiteX9" fmla="*/ 196893 w 196893"/>
                  <a:gd name="connsiteY9" fmla="*/ 0 h 2522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96893" h="252276">
                    <a:moveTo>
                      <a:pt x="0" y="28738"/>
                    </a:moveTo>
                    <a:lnTo>
                      <a:pt x="0" y="226794"/>
                    </a:lnTo>
                    <a:cubicBezTo>
                      <a:pt x="0" y="240808"/>
                      <a:pt x="11468" y="252276"/>
                      <a:pt x="25482" y="252276"/>
                    </a:cubicBezTo>
                    <a:lnTo>
                      <a:pt x="196893" y="252276"/>
                    </a:lnTo>
                    <a:lnTo>
                      <a:pt x="196893" y="51662"/>
                    </a:lnTo>
                    <a:lnTo>
                      <a:pt x="25482" y="51662"/>
                    </a:lnTo>
                    <a:cubicBezTo>
                      <a:pt x="11468" y="51662"/>
                      <a:pt x="0" y="40194"/>
                      <a:pt x="0" y="26180"/>
                    </a:cubicBezTo>
                    <a:lnTo>
                      <a:pt x="0" y="25482"/>
                    </a:lnTo>
                    <a:cubicBezTo>
                      <a:pt x="0" y="11468"/>
                      <a:pt x="11468" y="0"/>
                      <a:pt x="25482" y="0"/>
                    </a:cubicBezTo>
                    <a:lnTo>
                      <a:pt x="196893" y="0"/>
                    </a:lnTo>
                  </a:path>
                </a:pathLst>
              </a:custGeom>
              <a:noFill/>
              <a:ln w="6350" cap="sq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790" name="Forma livre: Forma 1789">
                <a:extLst>
                  <a:ext uri="{FF2B5EF4-FFF2-40B4-BE49-F238E27FC236}">
                    <a16:creationId xmlns:a16="http://schemas.microsoft.com/office/drawing/2014/main" id="{7E092B18-3161-458E-320A-679AAC1441D1}"/>
                  </a:ext>
                </a:extLst>
              </p:cNvPr>
              <p:cNvSpPr/>
              <p:nvPr/>
            </p:nvSpPr>
            <p:spPr>
              <a:xfrm>
                <a:off x="4544091" y="4948657"/>
                <a:ext cx="76226" cy="1223"/>
              </a:xfrm>
              <a:custGeom>
                <a:avLst/>
                <a:gdLst>
                  <a:gd name="connsiteX0" fmla="*/ 0 w 76226"/>
                  <a:gd name="connsiteY0" fmla="*/ 0 h 1223"/>
                  <a:gd name="connsiteX1" fmla="*/ 76226 w 76226"/>
                  <a:gd name="connsiteY1" fmla="*/ 0 h 12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76226" h="1223">
                    <a:moveTo>
                      <a:pt x="0" y="0"/>
                    </a:moveTo>
                    <a:lnTo>
                      <a:pt x="76226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791" name="Forma livre: Forma 1790">
                <a:extLst>
                  <a:ext uri="{FF2B5EF4-FFF2-40B4-BE49-F238E27FC236}">
                    <a16:creationId xmlns:a16="http://schemas.microsoft.com/office/drawing/2014/main" id="{D601FEB4-32D0-D9E7-6D75-427FBD6B859F}"/>
                  </a:ext>
                </a:extLst>
              </p:cNvPr>
              <p:cNvSpPr/>
              <p:nvPr/>
            </p:nvSpPr>
            <p:spPr>
              <a:xfrm>
                <a:off x="4544091" y="4977248"/>
                <a:ext cx="76226" cy="1223"/>
              </a:xfrm>
              <a:custGeom>
                <a:avLst/>
                <a:gdLst>
                  <a:gd name="connsiteX0" fmla="*/ 0 w 76226"/>
                  <a:gd name="connsiteY0" fmla="*/ 0 h 1223"/>
                  <a:gd name="connsiteX1" fmla="*/ 76226 w 76226"/>
                  <a:gd name="connsiteY1" fmla="*/ 0 h 12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76226" h="1223">
                    <a:moveTo>
                      <a:pt x="0" y="0"/>
                    </a:moveTo>
                    <a:lnTo>
                      <a:pt x="76226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792" name="Gráfico 14">
            <a:extLst>
              <a:ext uri="{FF2B5EF4-FFF2-40B4-BE49-F238E27FC236}">
                <a16:creationId xmlns:a16="http://schemas.microsoft.com/office/drawing/2014/main" id="{7AF37293-F7A2-91D1-16C0-72EDD37EEF8B}"/>
              </a:ext>
            </a:extLst>
          </p:cNvPr>
          <p:cNvGrpSpPr/>
          <p:nvPr/>
        </p:nvGrpSpPr>
        <p:grpSpPr>
          <a:xfrm>
            <a:off x="4361677" y="5875660"/>
            <a:ext cx="338000" cy="272960"/>
            <a:chOff x="4361677" y="5875660"/>
            <a:chExt cx="338000" cy="272960"/>
          </a:xfrm>
          <a:noFill/>
        </p:grpSpPr>
        <p:grpSp>
          <p:nvGrpSpPr>
            <p:cNvPr id="1793" name="Gráfico 14">
              <a:extLst>
                <a:ext uri="{FF2B5EF4-FFF2-40B4-BE49-F238E27FC236}">
                  <a16:creationId xmlns:a16="http://schemas.microsoft.com/office/drawing/2014/main" id="{5A444BF4-EBB7-82AA-70B1-B705F8820F24}"/>
                </a:ext>
              </a:extLst>
            </p:cNvPr>
            <p:cNvGrpSpPr/>
            <p:nvPr/>
          </p:nvGrpSpPr>
          <p:grpSpPr>
            <a:xfrm>
              <a:off x="4361677" y="5882710"/>
              <a:ext cx="338000" cy="265910"/>
              <a:chOff x="4361677" y="5882710"/>
              <a:chExt cx="338000" cy="265910"/>
            </a:xfrm>
            <a:noFill/>
          </p:grpSpPr>
          <p:grpSp>
            <p:nvGrpSpPr>
              <p:cNvPr id="1794" name="Gráfico 14">
                <a:extLst>
                  <a:ext uri="{FF2B5EF4-FFF2-40B4-BE49-F238E27FC236}">
                    <a16:creationId xmlns:a16="http://schemas.microsoft.com/office/drawing/2014/main" id="{FD977010-3BF3-DF8C-F293-05D1349978B2}"/>
                  </a:ext>
                </a:extLst>
              </p:cNvPr>
              <p:cNvGrpSpPr/>
              <p:nvPr/>
            </p:nvGrpSpPr>
            <p:grpSpPr>
              <a:xfrm>
                <a:off x="4389521" y="5882710"/>
                <a:ext cx="282335" cy="242790"/>
                <a:chOff x="4389521" y="5882710"/>
                <a:chExt cx="282335" cy="242790"/>
              </a:xfrm>
              <a:noFill/>
            </p:grpSpPr>
            <p:sp>
              <p:nvSpPr>
                <p:cNvPr id="1795" name="Forma livre: Forma 1794">
                  <a:extLst>
                    <a:ext uri="{FF2B5EF4-FFF2-40B4-BE49-F238E27FC236}">
                      <a16:creationId xmlns:a16="http://schemas.microsoft.com/office/drawing/2014/main" id="{73285B93-DD0C-4B78-0200-DDC53D42F44D}"/>
                    </a:ext>
                  </a:extLst>
                </p:cNvPr>
                <p:cNvSpPr/>
                <p:nvPr/>
              </p:nvSpPr>
              <p:spPr>
                <a:xfrm>
                  <a:off x="4530689" y="5882734"/>
                  <a:ext cx="141167" cy="242766"/>
                </a:xfrm>
                <a:custGeom>
                  <a:avLst/>
                  <a:gdLst>
                    <a:gd name="connsiteX0" fmla="*/ 76043 w 141167"/>
                    <a:gd name="connsiteY0" fmla="*/ 12 h 242766"/>
                    <a:gd name="connsiteX1" fmla="*/ 0 w 141167"/>
                    <a:gd name="connsiteY1" fmla="*/ 19889 h 242766"/>
                    <a:gd name="connsiteX2" fmla="*/ 0 w 141167"/>
                    <a:gd name="connsiteY2" fmla="*/ 242766 h 242766"/>
                    <a:gd name="connsiteX3" fmla="*/ 76043 w 141167"/>
                    <a:gd name="connsiteY3" fmla="*/ 222877 h 242766"/>
                    <a:gd name="connsiteX4" fmla="*/ 141168 w 141167"/>
                    <a:gd name="connsiteY4" fmla="*/ 222877 h 242766"/>
                    <a:gd name="connsiteX5" fmla="*/ 141168 w 141167"/>
                    <a:gd name="connsiteY5" fmla="*/ 0 h 242766"/>
                    <a:gd name="connsiteX6" fmla="*/ 76043 w 141167"/>
                    <a:gd name="connsiteY6" fmla="*/ 0 h 24276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1167" h="242766">
                      <a:moveTo>
                        <a:pt x="76043" y="12"/>
                      </a:moveTo>
                      <a:cubicBezTo>
                        <a:pt x="36547" y="12"/>
                        <a:pt x="17380" y="-1175"/>
                        <a:pt x="0" y="19889"/>
                      </a:cubicBezTo>
                      <a:lnTo>
                        <a:pt x="0" y="242766"/>
                      </a:lnTo>
                      <a:cubicBezTo>
                        <a:pt x="17380" y="221702"/>
                        <a:pt x="36559" y="222877"/>
                        <a:pt x="76043" y="222877"/>
                      </a:cubicBezTo>
                      <a:lnTo>
                        <a:pt x="141168" y="222877"/>
                      </a:lnTo>
                      <a:lnTo>
                        <a:pt x="141168" y="0"/>
                      </a:lnTo>
                      <a:lnTo>
                        <a:pt x="76043" y="0"/>
                      </a:lnTo>
                      <a:close/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796" name="Forma livre: Forma 1795">
                  <a:extLst>
                    <a:ext uri="{FF2B5EF4-FFF2-40B4-BE49-F238E27FC236}">
                      <a16:creationId xmlns:a16="http://schemas.microsoft.com/office/drawing/2014/main" id="{5A75E737-FC34-D138-8BAF-3FFAF3D834EA}"/>
                    </a:ext>
                  </a:extLst>
                </p:cNvPr>
                <p:cNvSpPr/>
                <p:nvPr/>
              </p:nvSpPr>
              <p:spPr>
                <a:xfrm>
                  <a:off x="4389521" y="5882710"/>
                  <a:ext cx="141167" cy="242790"/>
                </a:xfrm>
                <a:custGeom>
                  <a:avLst/>
                  <a:gdLst>
                    <a:gd name="connsiteX0" fmla="*/ 141168 w 141167"/>
                    <a:gd name="connsiteY0" fmla="*/ 242791 h 242790"/>
                    <a:gd name="connsiteX1" fmla="*/ 65113 w 141167"/>
                    <a:gd name="connsiteY1" fmla="*/ 222902 h 242790"/>
                    <a:gd name="connsiteX2" fmla="*/ 0 w 141167"/>
                    <a:gd name="connsiteY2" fmla="*/ 222902 h 242790"/>
                    <a:gd name="connsiteX3" fmla="*/ 0 w 141167"/>
                    <a:gd name="connsiteY3" fmla="*/ 0 h 242790"/>
                    <a:gd name="connsiteX4" fmla="*/ 25066 w 141167"/>
                    <a:gd name="connsiteY4" fmla="*/ 25 h 2427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41167" h="242790">
                      <a:moveTo>
                        <a:pt x="141168" y="242791"/>
                      </a:moveTo>
                      <a:cubicBezTo>
                        <a:pt x="123788" y="221727"/>
                        <a:pt x="104609" y="222902"/>
                        <a:pt x="65113" y="222902"/>
                      </a:cubicBezTo>
                      <a:lnTo>
                        <a:pt x="0" y="222902"/>
                      </a:lnTo>
                      <a:lnTo>
                        <a:pt x="0" y="0"/>
                      </a:lnTo>
                      <a:lnTo>
                        <a:pt x="25066" y="25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797" name="Forma livre: Forma 1796">
                  <a:extLst>
                    <a:ext uri="{FF2B5EF4-FFF2-40B4-BE49-F238E27FC236}">
                      <a16:creationId xmlns:a16="http://schemas.microsoft.com/office/drawing/2014/main" id="{D8CB2901-0C43-16D8-F0B4-755467FE084A}"/>
                    </a:ext>
                  </a:extLst>
                </p:cNvPr>
                <p:cNvSpPr/>
                <p:nvPr/>
              </p:nvSpPr>
              <p:spPr>
                <a:xfrm>
                  <a:off x="4480728" y="5882906"/>
                  <a:ext cx="49960" cy="19717"/>
                </a:xfrm>
                <a:custGeom>
                  <a:avLst/>
                  <a:gdLst>
                    <a:gd name="connsiteX0" fmla="*/ 0 w 49960"/>
                    <a:gd name="connsiteY0" fmla="*/ 0 h 19717"/>
                    <a:gd name="connsiteX1" fmla="*/ 49961 w 49960"/>
                    <a:gd name="connsiteY1" fmla="*/ 19717 h 1971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9960" h="19717">
                      <a:moveTo>
                        <a:pt x="0" y="0"/>
                      </a:moveTo>
                      <a:cubicBezTo>
                        <a:pt x="22863" y="649"/>
                        <a:pt x="36914" y="3917"/>
                        <a:pt x="49961" y="19717"/>
                      </a:cubicBez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1798" name="Forma livre: Forma 1797">
                <a:extLst>
                  <a:ext uri="{FF2B5EF4-FFF2-40B4-BE49-F238E27FC236}">
                    <a16:creationId xmlns:a16="http://schemas.microsoft.com/office/drawing/2014/main" id="{1BB5542D-DA50-AFFD-42F0-ED33E06F8EA0}"/>
                  </a:ext>
                </a:extLst>
              </p:cNvPr>
              <p:cNvSpPr/>
              <p:nvPr/>
            </p:nvSpPr>
            <p:spPr>
              <a:xfrm>
                <a:off x="4361677" y="5918081"/>
                <a:ext cx="338000" cy="230539"/>
              </a:xfrm>
              <a:custGeom>
                <a:avLst/>
                <a:gdLst>
                  <a:gd name="connsiteX0" fmla="*/ 0 w 338000"/>
                  <a:gd name="connsiteY0" fmla="*/ 0 h 230539"/>
                  <a:gd name="connsiteX1" fmla="*/ 0 w 338000"/>
                  <a:gd name="connsiteY1" fmla="*/ 214408 h 230539"/>
                  <a:gd name="connsiteX2" fmla="*/ 137361 w 338000"/>
                  <a:gd name="connsiteY2" fmla="*/ 214408 h 230539"/>
                  <a:gd name="connsiteX3" fmla="*/ 152758 w 338000"/>
                  <a:gd name="connsiteY3" fmla="*/ 230539 h 230539"/>
                  <a:gd name="connsiteX4" fmla="*/ 153016 w 338000"/>
                  <a:gd name="connsiteY4" fmla="*/ 230539 h 230539"/>
                  <a:gd name="connsiteX5" fmla="*/ 184985 w 338000"/>
                  <a:gd name="connsiteY5" fmla="*/ 230539 h 230539"/>
                  <a:gd name="connsiteX6" fmla="*/ 185242 w 338000"/>
                  <a:gd name="connsiteY6" fmla="*/ 230539 h 230539"/>
                  <a:gd name="connsiteX7" fmla="*/ 200639 w 338000"/>
                  <a:gd name="connsiteY7" fmla="*/ 214408 h 230539"/>
                  <a:gd name="connsiteX8" fmla="*/ 338000 w 338000"/>
                  <a:gd name="connsiteY8" fmla="*/ 214408 h 230539"/>
                  <a:gd name="connsiteX9" fmla="*/ 338000 w 338000"/>
                  <a:gd name="connsiteY9" fmla="*/ 0 h 2305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338000" h="230539">
                    <a:moveTo>
                      <a:pt x="0" y="0"/>
                    </a:moveTo>
                    <a:lnTo>
                      <a:pt x="0" y="214408"/>
                    </a:lnTo>
                    <a:lnTo>
                      <a:pt x="137361" y="214408"/>
                    </a:lnTo>
                    <a:cubicBezTo>
                      <a:pt x="137361" y="214408"/>
                      <a:pt x="144228" y="230539"/>
                      <a:pt x="152758" y="230539"/>
                    </a:cubicBezTo>
                    <a:cubicBezTo>
                      <a:pt x="153028" y="230539"/>
                      <a:pt x="153089" y="230539"/>
                      <a:pt x="153016" y="230539"/>
                    </a:cubicBezTo>
                    <a:lnTo>
                      <a:pt x="184985" y="230539"/>
                    </a:lnTo>
                    <a:cubicBezTo>
                      <a:pt x="184923" y="230539"/>
                      <a:pt x="184972" y="230539"/>
                      <a:pt x="185242" y="230539"/>
                    </a:cubicBezTo>
                    <a:cubicBezTo>
                      <a:pt x="193772" y="230539"/>
                      <a:pt x="200639" y="214408"/>
                      <a:pt x="200639" y="214408"/>
                    </a:cubicBezTo>
                    <a:lnTo>
                      <a:pt x="338000" y="214408"/>
                    </a:lnTo>
                    <a:lnTo>
                      <a:pt x="338000" y="0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799" name="Forma livre: Forma 1798">
              <a:extLst>
                <a:ext uri="{FF2B5EF4-FFF2-40B4-BE49-F238E27FC236}">
                  <a16:creationId xmlns:a16="http://schemas.microsoft.com/office/drawing/2014/main" id="{1BCEDACD-F9E5-B9DD-2C9B-808E98D5E442}"/>
                </a:ext>
              </a:extLst>
            </p:cNvPr>
            <p:cNvSpPr/>
            <p:nvPr/>
          </p:nvSpPr>
          <p:spPr>
            <a:xfrm>
              <a:off x="4438515" y="5875660"/>
              <a:ext cx="42409" cy="73435"/>
            </a:xfrm>
            <a:custGeom>
              <a:avLst/>
              <a:gdLst>
                <a:gd name="connsiteX0" fmla="*/ 0 w 42409"/>
                <a:gd name="connsiteY0" fmla="*/ 0 h 73435"/>
                <a:gd name="connsiteX1" fmla="*/ 0 w 42409"/>
                <a:gd name="connsiteY1" fmla="*/ 73436 h 73435"/>
                <a:gd name="connsiteX2" fmla="*/ 21186 w 42409"/>
                <a:gd name="connsiteY2" fmla="*/ 58332 h 73435"/>
                <a:gd name="connsiteX3" fmla="*/ 42409 w 42409"/>
                <a:gd name="connsiteY3" fmla="*/ 73436 h 73435"/>
                <a:gd name="connsiteX4" fmla="*/ 42409 w 42409"/>
                <a:gd name="connsiteY4" fmla="*/ 0 h 73435"/>
                <a:gd name="connsiteX5" fmla="*/ 0 w 42409"/>
                <a:gd name="connsiteY5" fmla="*/ 0 h 734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2409" h="73435">
                  <a:moveTo>
                    <a:pt x="0" y="0"/>
                  </a:moveTo>
                  <a:lnTo>
                    <a:pt x="0" y="73436"/>
                  </a:lnTo>
                  <a:lnTo>
                    <a:pt x="21186" y="58332"/>
                  </a:lnTo>
                  <a:lnTo>
                    <a:pt x="42409" y="73436"/>
                  </a:lnTo>
                  <a:lnTo>
                    <a:pt x="42409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800" name="Gráfico 14">
            <a:extLst>
              <a:ext uri="{FF2B5EF4-FFF2-40B4-BE49-F238E27FC236}">
                <a16:creationId xmlns:a16="http://schemas.microsoft.com/office/drawing/2014/main" id="{C4A27764-FC8F-91A8-1F86-5659E3F39FFD}"/>
              </a:ext>
            </a:extLst>
          </p:cNvPr>
          <p:cNvGrpSpPr/>
          <p:nvPr/>
        </p:nvGrpSpPr>
        <p:grpSpPr>
          <a:xfrm>
            <a:off x="4361677" y="4195709"/>
            <a:ext cx="338000" cy="344682"/>
            <a:chOff x="4361677" y="4195709"/>
            <a:chExt cx="338000" cy="344682"/>
          </a:xfrm>
          <a:noFill/>
        </p:grpSpPr>
        <p:sp>
          <p:nvSpPr>
            <p:cNvPr id="1801" name="Forma livre: Forma 1800">
              <a:extLst>
                <a:ext uri="{FF2B5EF4-FFF2-40B4-BE49-F238E27FC236}">
                  <a16:creationId xmlns:a16="http://schemas.microsoft.com/office/drawing/2014/main" id="{F2903CCB-1972-704F-1CB9-0CB4EE7D0FF7}"/>
                </a:ext>
              </a:extLst>
            </p:cNvPr>
            <p:cNvSpPr/>
            <p:nvPr/>
          </p:nvSpPr>
          <p:spPr>
            <a:xfrm>
              <a:off x="4361677" y="4306890"/>
              <a:ext cx="338000" cy="233500"/>
            </a:xfrm>
            <a:custGeom>
              <a:avLst/>
              <a:gdLst>
                <a:gd name="connsiteX0" fmla="*/ 0 w 338000"/>
                <a:gd name="connsiteY0" fmla="*/ 0 h 233500"/>
                <a:gd name="connsiteX1" fmla="*/ 0 w 338000"/>
                <a:gd name="connsiteY1" fmla="*/ 217357 h 233500"/>
                <a:gd name="connsiteX2" fmla="*/ 137361 w 338000"/>
                <a:gd name="connsiteY2" fmla="*/ 217357 h 233500"/>
                <a:gd name="connsiteX3" fmla="*/ 152758 w 338000"/>
                <a:gd name="connsiteY3" fmla="*/ 233501 h 233500"/>
                <a:gd name="connsiteX4" fmla="*/ 153016 w 338000"/>
                <a:gd name="connsiteY4" fmla="*/ 233501 h 233500"/>
                <a:gd name="connsiteX5" fmla="*/ 184985 w 338000"/>
                <a:gd name="connsiteY5" fmla="*/ 233501 h 233500"/>
                <a:gd name="connsiteX6" fmla="*/ 185242 w 338000"/>
                <a:gd name="connsiteY6" fmla="*/ 233501 h 233500"/>
                <a:gd name="connsiteX7" fmla="*/ 200639 w 338000"/>
                <a:gd name="connsiteY7" fmla="*/ 217357 h 233500"/>
                <a:gd name="connsiteX8" fmla="*/ 338000 w 338000"/>
                <a:gd name="connsiteY8" fmla="*/ 217357 h 233500"/>
                <a:gd name="connsiteX9" fmla="*/ 338000 w 338000"/>
                <a:gd name="connsiteY9" fmla="*/ 0 h 233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38000" h="233500">
                  <a:moveTo>
                    <a:pt x="0" y="0"/>
                  </a:moveTo>
                  <a:lnTo>
                    <a:pt x="0" y="217357"/>
                  </a:lnTo>
                  <a:lnTo>
                    <a:pt x="137361" y="217357"/>
                  </a:lnTo>
                  <a:cubicBezTo>
                    <a:pt x="137361" y="217357"/>
                    <a:pt x="144228" y="233501"/>
                    <a:pt x="152758" y="233501"/>
                  </a:cubicBezTo>
                  <a:cubicBezTo>
                    <a:pt x="153028" y="233501"/>
                    <a:pt x="153089" y="233501"/>
                    <a:pt x="153016" y="233501"/>
                  </a:cubicBezTo>
                  <a:lnTo>
                    <a:pt x="184985" y="233501"/>
                  </a:lnTo>
                  <a:cubicBezTo>
                    <a:pt x="184923" y="233501"/>
                    <a:pt x="184972" y="233501"/>
                    <a:pt x="185242" y="233501"/>
                  </a:cubicBezTo>
                  <a:cubicBezTo>
                    <a:pt x="193772" y="233501"/>
                    <a:pt x="200639" y="217357"/>
                    <a:pt x="200639" y="217357"/>
                  </a:cubicBezTo>
                  <a:lnTo>
                    <a:pt x="338000" y="217357"/>
                  </a:lnTo>
                  <a:lnTo>
                    <a:pt x="338000" y="0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802" name="Gráfico 14">
              <a:extLst>
                <a:ext uri="{FF2B5EF4-FFF2-40B4-BE49-F238E27FC236}">
                  <a16:creationId xmlns:a16="http://schemas.microsoft.com/office/drawing/2014/main" id="{04E040A3-797E-823E-F2DC-5AA86ABB718B}"/>
                </a:ext>
              </a:extLst>
            </p:cNvPr>
            <p:cNvGrpSpPr/>
            <p:nvPr/>
          </p:nvGrpSpPr>
          <p:grpSpPr>
            <a:xfrm>
              <a:off x="4389509" y="4195709"/>
              <a:ext cx="282347" cy="321538"/>
              <a:chOff x="4389509" y="4195709"/>
              <a:chExt cx="282347" cy="321538"/>
            </a:xfrm>
            <a:noFill/>
          </p:grpSpPr>
          <p:sp>
            <p:nvSpPr>
              <p:cNvPr id="1803" name="Forma livre: Forma 1802">
                <a:extLst>
                  <a:ext uri="{FF2B5EF4-FFF2-40B4-BE49-F238E27FC236}">
                    <a16:creationId xmlns:a16="http://schemas.microsoft.com/office/drawing/2014/main" id="{889CD32D-C77B-F12C-9748-3F5725C089AD}"/>
                  </a:ext>
                </a:extLst>
              </p:cNvPr>
              <p:cNvSpPr/>
              <p:nvPr/>
            </p:nvSpPr>
            <p:spPr>
              <a:xfrm>
                <a:off x="4389509" y="4274481"/>
                <a:ext cx="141167" cy="242765"/>
              </a:xfrm>
              <a:custGeom>
                <a:avLst/>
                <a:gdLst>
                  <a:gd name="connsiteX0" fmla="*/ 65113 w 141167"/>
                  <a:gd name="connsiteY0" fmla="*/ 12 h 242765"/>
                  <a:gd name="connsiteX1" fmla="*/ 141168 w 141167"/>
                  <a:gd name="connsiteY1" fmla="*/ 19901 h 242765"/>
                  <a:gd name="connsiteX2" fmla="*/ 141168 w 141167"/>
                  <a:gd name="connsiteY2" fmla="*/ 242766 h 242765"/>
                  <a:gd name="connsiteX3" fmla="*/ 65113 w 141167"/>
                  <a:gd name="connsiteY3" fmla="*/ 222889 h 242765"/>
                  <a:gd name="connsiteX4" fmla="*/ 0 w 141167"/>
                  <a:gd name="connsiteY4" fmla="*/ 222889 h 242765"/>
                  <a:gd name="connsiteX5" fmla="*/ 0 w 141167"/>
                  <a:gd name="connsiteY5" fmla="*/ 12 h 242765"/>
                  <a:gd name="connsiteX6" fmla="*/ 65113 w 141167"/>
                  <a:gd name="connsiteY6" fmla="*/ 12 h 2427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41167" h="242765">
                    <a:moveTo>
                      <a:pt x="65113" y="12"/>
                    </a:moveTo>
                    <a:cubicBezTo>
                      <a:pt x="104609" y="12"/>
                      <a:pt x="123788" y="-1163"/>
                      <a:pt x="141168" y="19901"/>
                    </a:cubicBezTo>
                    <a:lnTo>
                      <a:pt x="141168" y="242766"/>
                    </a:lnTo>
                    <a:cubicBezTo>
                      <a:pt x="123788" y="221714"/>
                      <a:pt x="104609" y="222889"/>
                      <a:pt x="65113" y="222889"/>
                    </a:cubicBezTo>
                    <a:lnTo>
                      <a:pt x="0" y="222889"/>
                    </a:lnTo>
                    <a:lnTo>
                      <a:pt x="0" y="12"/>
                    </a:lnTo>
                    <a:lnTo>
                      <a:pt x="65113" y="12"/>
                    </a:lnTo>
                    <a:close/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804" name="Forma livre: Forma 1803">
                <a:extLst>
                  <a:ext uri="{FF2B5EF4-FFF2-40B4-BE49-F238E27FC236}">
                    <a16:creationId xmlns:a16="http://schemas.microsoft.com/office/drawing/2014/main" id="{B7031F61-B675-180E-1721-C337CF9A6155}"/>
                  </a:ext>
                </a:extLst>
              </p:cNvPr>
              <p:cNvSpPr/>
              <p:nvPr/>
            </p:nvSpPr>
            <p:spPr>
              <a:xfrm>
                <a:off x="4531056" y="4195721"/>
                <a:ext cx="79738" cy="321403"/>
              </a:xfrm>
              <a:custGeom>
                <a:avLst/>
                <a:gdLst>
                  <a:gd name="connsiteX0" fmla="*/ 0 w 79738"/>
                  <a:gd name="connsiteY0" fmla="*/ 321403 h 321403"/>
                  <a:gd name="connsiteX1" fmla="*/ 79739 w 79738"/>
                  <a:gd name="connsiteY1" fmla="*/ 222449 h 321403"/>
                  <a:gd name="connsiteX2" fmla="*/ 79739 w 79738"/>
                  <a:gd name="connsiteY2" fmla="*/ 0 h 3214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79738" h="321403">
                    <a:moveTo>
                      <a:pt x="0" y="321403"/>
                    </a:moveTo>
                    <a:cubicBezTo>
                      <a:pt x="24576" y="230613"/>
                      <a:pt x="79739" y="222449"/>
                      <a:pt x="79739" y="222449"/>
                    </a:cubicBezTo>
                    <a:lnTo>
                      <a:pt x="79739" y="0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805" name="Forma livre: Forma 1804">
                <a:extLst>
                  <a:ext uri="{FF2B5EF4-FFF2-40B4-BE49-F238E27FC236}">
                    <a16:creationId xmlns:a16="http://schemas.microsoft.com/office/drawing/2014/main" id="{10AAD513-3E00-B29E-6D79-5BE0D501A373}"/>
                  </a:ext>
                </a:extLst>
              </p:cNvPr>
              <p:cNvSpPr/>
              <p:nvPr/>
            </p:nvSpPr>
            <p:spPr>
              <a:xfrm>
                <a:off x="4531056" y="4195709"/>
                <a:ext cx="79738" cy="98856"/>
              </a:xfrm>
              <a:custGeom>
                <a:avLst/>
                <a:gdLst>
                  <a:gd name="connsiteX0" fmla="*/ 79739 w 79738"/>
                  <a:gd name="connsiteY0" fmla="*/ 0 h 98856"/>
                  <a:gd name="connsiteX1" fmla="*/ 0 w 79738"/>
                  <a:gd name="connsiteY1" fmla="*/ 98857 h 988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79738" h="98856">
                    <a:moveTo>
                      <a:pt x="79739" y="0"/>
                    </a:moveTo>
                    <a:cubicBezTo>
                      <a:pt x="79739" y="0"/>
                      <a:pt x="24576" y="8066"/>
                      <a:pt x="0" y="98857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806" name="Forma livre: Forma 1805">
                <a:extLst>
                  <a:ext uri="{FF2B5EF4-FFF2-40B4-BE49-F238E27FC236}">
                    <a16:creationId xmlns:a16="http://schemas.microsoft.com/office/drawing/2014/main" id="{A72D3CFE-6A16-5610-00C3-F6D1694295EA}"/>
                  </a:ext>
                </a:extLst>
              </p:cNvPr>
              <p:cNvSpPr/>
              <p:nvPr/>
            </p:nvSpPr>
            <p:spPr>
              <a:xfrm>
                <a:off x="4530040" y="4227837"/>
                <a:ext cx="111438" cy="289201"/>
              </a:xfrm>
              <a:custGeom>
                <a:avLst/>
                <a:gdLst>
                  <a:gd name="connsiteX0" fmla="*/ 111439 w 111438"/>
                  <a:gd name="connsiteY0" fmla="*/ 0 h 289201"/>
                  <a:gd name="connsiteX1" fmla="*/ 111439 w 111438"/>
                  <a:gd name="connsiteY1" fmla="*/ 225313 h 289201"/>
                  <a:gd name="connsiteX2" fmla="*/ 0 w 111438"/>
                  <a:gd name="connsiteY2" fmla="*/ 289202 h 2892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11438" h="289201">
                    <a:moveTo>
                      <a:pt x="111439" y="0"/>
                    </a:moveTo>
                    <a:lnTo>
                      <a:pt x="111439" y="225313"/>
                    </a:lnTo>
                    <a:cubicBezTo>
                      <a:pt x="111439" y="225313"/>
                      <a:pt x="42434" y="228826"/>
                      <a:pt x="0" y="289202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807" name="Forma livre: Forma 1806">
                <a:extLst>
                  <a:ext uri="{FF2B5EF4-FFF2-40B4-BE49-F238E27FC236}">
                    <a16:creationId xmlns:a16="http://schemas.microsoft.com/office/drawing/2014/main" id="{4D2963B7-84D1-D0CE-EA38-719051B640D3}"/>
                  </a:ext>
                </a:extLst>
              </p:cNvPr>
              <p:cNvSpPr/>
              <p:nvPr/>
            </p:nvSpPr>
            <p:spPr>
              <a:xfrm>
                <a:off x="4530689" y="4274469"/>
                <a:ext cx="141167" cy="242778"/>
              </a:xfrm>
              <a:custGeom>
                <a:avLst/>
                <a:gdLst>
                  <a:gd name="connsiteX0" fmla="*/ 0 w 141167"/>
                  <a:gd name="connsiteY0" fmla="*/ 242778 h 242778"/>
                  <a:gd name="connsiteX1" fmla="*/ 76055 w 141167"/>
                  <a:gd name="connsiteY1" fmla="*/ 222902 h 242778"/>
                  <a:gd name="connsiteX2" fmla="*/ 141168 w 141167"/>
                  <a:gd name="connsiteY2" fmla="*/ 222902 h 242778"/>
                  <a:gd name="connsiteX3" fmla="*/ 141168 w 141167"/>
                  <a:gd name="connsiteY3" fmla="*/ 0 h 2427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41167" h="242778">
                    <a:moveTo>
                      <a:pt x="0" y="242778"/>
                    </a:moveTo>
                    <a:cubicBezTo>
                      <a:pt x="17380" y="221727"/>
                      <a:pt x="36559" y="222902"/>
                      <a:pt x="76055" y="222902"/>
                    </a:cubicBezTo>
                    <a:lnTo>
                      <a:pt x="141168" y="222902"/>
                    </a:lnTo>
                    <a:lnTo>
                      <a:pt x="141168" y="0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808" name="Gráfico 14">
            <a:extLst>
              <a:ext uri="{FF2B5EF4-FFF2-40B4-BE49-F238E27FC236}">
                <a16:creationId xmlns:a16="http://schemas.microsoft.com/office/drawing/2014/main" id="{C66C507F-2536-9B23-B62D-73F9D3F2709E}"/>
              </a:ext>
            </a:extLst>
          </p:cNvPr>
          <p:cNvGrpSpPr/>
          <p:nvPr/>
        </p:nvGrpSpPr>
        <p:grpSpPr>
          <a:xfrm>
            <a:off x="5011240" y="3670656"/>
            <a:ext cx="312664" cy="298738"/>
            <a:chOff x="5011240" y="3670656"/>
            <a:chExt cx="312664" cy="298738"/>
          </a:xfrm>
          <a:noFill/>
        </p:grpSpPr>
        <p:sp>
          <p:nvSpPr>
            <p:cNvPr id="1809" name="Forma livre: Forma 1808">
              <a:extLst>
                <a:ext uri="{FF2B5EF4-FFF2-40B4-BE49-F238E27FC236}">
                  <a16:creationId xmlns:a16="http://schemas.microsoft.com/office/drawing/2014/main" id="{4D055CDC-8339-F534-D800-1474A5A65A54}"/>
                </a:ext>
              </a:extLst>
            </p:cNvPr>
            <p:cNvSpPr/>
            <p:nvPr/>
          </p:nvSpPr>
          <p:spPr>
            <a:xfrm>
              <a:off x="5011252" y="3670656"/>
              <a:ext cx="312652" cy="179440"/>
            </a:xfrm>
            <a:custGeom>
              <a:avLst/>
              <a:gdLst>
                <a:gd name="connsiteX0" fmla="*/ 312653 w 312652"/>
                <a:gd name="connsiteY0" fmla="*/ 82640 h 179440"/>
                <a:gd name="connsiteX1" fmla="*/ 137619 w 312652"/>
                <a:gd name="connsiteY1" fmla="*/ 0 h 179440"/>
                <a:gd name="connsiteX2" fmla="*/ 29864 w 312652"/>
                <a:gd name="connsiteY2" fmla="*/ 30439 h 179440"/>
                <a:gd name="connsiteX3" fmla="*/ 0 w 312652"/>
                <a:gd name="connsiteY3" fmla="*/ 60303 h 179440"/>
                <a:gd name="connsiteX4" fmla="*/ 0 w 312652"/>
                <a:gd name="connsiteY4" fmla="*/ 71502 h 179440"/>
                <a:gd name="connsiteX5" fmla="*/ 29864 w 312652"/>
                <a:gd name="connsiteY5" fmla="*/ 108832 h 179440"/>
                <a:gd name="connsiteX6" fmla="*/ 166173 w 312652"/>
                <a:gd name="connsiteY6" fmla="*/ 179440 h 1794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12652" h="179440">
                  <a:moveTo>
                    <a:pt x="312653" y="82640"/>
                  </a:moveTo>
                  <a:lnTo>
                    <a:pt x="137619" y="0"/>
                  </a:lnTo>
                  <a:lnTo>
                    <a:pt x="29864" y="30439"/>
                  </a:lnTo>
                  <a:cubicBezTo>
                    <a:pt x="7588" y="37734"/>
                    <a:pt x="0" y="43878"/>
                    <a:pt x="0" y="60303"/>
                  </a:cubicBezTo>
                  <a:lnTo>
                    <a:pt x="0" y="71502"/>
                  </a:lnTo>
                  <a:cubicBezTo>
                    <a:pt x="0" y="87927"/>
                    <a:pt x="9143" y="97572"/>
                    <a:pt x="29864" y="108832"/>
                  </a:cubicBezTo>
                  <a:lnTo>
                    <a:pt x="166173" y="179440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10" name="Forma livre: Forma 1809">
              <a:extLst>
                <a:ext uri="{FF2B5EF4-FFF2-40B4-BE49-F238E27FC236}">
                  <a16:creationId xmlns:a16="http://schemas.microsoft.com/office/drawing/2014/main" id="{A2134470-9346-FAE8-CB77-413B498E413D}"/>
                </a:ext>
              </a:extLst>
            </p:cNvPr>
            <p:cNvSpPr/>
            <p:nvPr/>
          </p:nvSpPr>
          <p:spPr>
            <a:xfrm>
              <a:off x="5011240" y="3791348"/>
              <a:ext cx="166172" cy="117643"/>
            </a:xfrm>
            <a:custGeom>
              <a:avLst/>
              <a:gdLst>
                <a:gd name="connsiteX0" fmla="*/ 0 w 166172"/>
                <a:gd name="connsiteY0" fmla="*/ 0 h 117643"/>
                <a:gd name="connsiteX1" fmla="*/ 0 w 166172"/>
                <a:gd name="connsiteY1" fmla="*/ 9706 h 117643"/>
                <a:gd name="connsiteX2" fmla="*/ 29864 w 166172"/>
                <a:gd name="connsiteY2" fmla="*/ 47036 h 117643"/>
                <a:gd name="connsiteX3" fmla="*/ 166173 w 166172"/>
                <a:gd name="connsiteY3" fmla="*/ 117644 h 1176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66172" h="117643">
                  <a:moveTo>
                    <a:pt x="0" y="0"/>
                  </a:moveTo>
                  <a:lnTo>
                    <a:pt x="0" y="9706"/>
                  </a:lnTo>
                  <a:cubicBezTo>
                    <a:pt x="0" y="26131"/>
                    <a:pt x="9143" y="35775"/>
                    <a:pt x="29864" y="47036"/>
                  </a:cubicBezTo>
                  <a:lnTo>
                    <a:pt x="166173" y="117644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11" name="Forma livre: Forma 1810">
              <a:extLst>
                <a:ext uri="{FF2B5EF4-FFF2-40B4-BE49-F238E27FC236}">
                  <a16:creationId xmlns:a16="http://schemas.microsoft.com/office/drawing/2014/main" id="{5FCE9EED-BAAE-E9AD-D4AD-FFD138540B15}"/>
                </a:ext>
              </a:extLst>
            </p:cNvPr>
            <p:cNvSpPr/>
            <p:nvPr/>
          </p:nvSpPr>
          <p:spPr>
            <a:xfrm>
              <a:off x="5011240" y="3851577"/>
              <a:ext cx="166172" cy="116150"/>
            </a:xfrm>
            <a:custGeom>
              <a:avLst/>
              <a:gdLst>
                <a:gd name="connsiteX0" fmla="*/ 0 w 166172"/>
                <a:gd name="connsiteY0" fmla="*/ 0 h 116150"/>
                <a:gd name="connsiteX1" fmla="*/ 0 w 166172"/>
                <a:gd name="connsiteY1" fmla="*/ 8213 h 116150"/>
                <a:gd name="connsiteX2" fmla="*/ 29864 w 166172"/>
                <a:gd name="connsiteY2" fmla="*/ 45542 h 116150"/>
                <a:gd name="connsiteX3" fmla="*/ 166173 w 166172"/>
                <a:gd name="connsiteY3" fmla="*/ 116151 h 116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66172" h="116150">
                  <a:moveTo>
                    <a:pt x="0" y="0"/>
                  </a:moveTo>
                  <a:lnTo>
                    <a:pt x="0" y="8213"/>
                  </a:lnTo>
                  <a:cubicBezTo>
                    <a:pt x="0" y="24638"/>
                    <a:pt x="9143" y="34282"/>
                    <a:pt x="29864" y="45542"/>
                  </a:cubicBezTo>
                  <a:lnTo>
                    <a:pt x="166173" y="116151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12" name="Forma livre: Forma 1811">
              <a:extLst>
                <a:ext uri="{FF2B5EF4-FFF2-40B4-BE49-F238E27FC236}">
                  <a16:creationId xmlns:a16="http://schemas.microsoft.com/office/drawing/2014/main" id="{56DCC152-EBA5-2750-72DD-155F1DCDF51B}"/>
                </a:ext>
              </a:extLst>
            </p:cNvPr>
            <p:cNvSpPr/>
            <p:nvPr/>
          </p:nvSpPr>
          <p:spPr>
            <a:xfrm>
              <a:off x="5168025" y="3753296"/>
              <a:ext cx="155879" cy="98458"/>
            </a:xfrm>
            <a:custGeom>
              <a:avLst/>
              <a:gdLst>
                <a:gd name="connsiteX0" fmla="*/ 155879 w 155879"/>
                <a:gd name="connsiteY0" fmla="*/ 0 h 98458"/>
                <a:gd name="connsiteX1" fmla="*/ 29864 w 155879"/>
                <a:gd name="connsiteY1" fmla="*/ 36228 h 98458"/>
                <a:gd name="connsiteX2" fmla="*/ 0 w 155879"/>
                <a:gd name="connsiteY2" fmla="*/ 66092 h 98458"/>
                <a:gd name="connsiteX3" fmla="*/ 0 w 155879"/>
                <a:gd name="connsiteY3" fmla="*/ 77291 h 98458"/>
                <a:gd name="connsiteX4" fmla="*/ 2203 w 155879"/>
                <a:gd name="connsiteY4" fmla="*/ 89151 h 98458"/>
                <a:gd name="connsiteX5" fmla="*/ 19411 w 155879"/>
                <a:gd name="connsiteY5" fmla="*/ 98073 h 98458"/>
                <a:gd name="connsiteX6" fmla="*/ 155879 w 155879"/>
                <a:gd name="connsiteY6" fmla="*/ 58895 h 984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55879" h="98458">
                  <a:moveTo>
                    <a:pt x="155879" y="0"/>
                  </a:moveTo>
                  <a:lnTo>
                    <a:pt x="29864" y="36228"/>
                  </a:lnTo>
                  <a:cubicBezTo>
                    <a:pt x="8837" y="42201"/>
                    <a:pt x="0" y="49667"/>
                    <a:pt x="0" y="66092"/>
                  </a:cubicBezTo>
                  <a:lnTo>
                    <a:pt x="0" y="77291"/>
                  </a:lnTo>
                  <a:cubicBezTo>
                    <a:pt x="0" y="82321"/>
                    <a:pt x="379" y="85063"/>
                    <a:pt x="2203" y="89151"/>
                  </a:cubicBezTo>
                  <a:cubicBezTo>
                    <a:pt x="3745" y="92639"/>
                    <a:pt x="9779" y="100252"/>
                    <a:pt x="19411" y="98073"/>
                  </a:cubicBezTo>
                  <a:lnTo>
                    <a:pt x="155879" y="58895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13" name="Forma livre: Forma 1812">
              <a:extLst>
                <a:ext uri="{FF2B5EF4-FFF2-40B4-BE49-F238E27FC236}">
                  <a16:creationId xmlns:a16="http://schemas.microsoft.com/office/drawing/2014/main" id="{968BAB5E-AD70-E51A-6CB4-778C32E15E5F}"/>
                </a:ext>
              </a:extLst>
            </p:cNvPr>
            <p:cNvSpPr/>
            <p:nvPr/>
          </p:nvSpPr>
          <p:spPr>
            <a:xfrm>
              <a:off x="5168025" y="3848468"/>
              <a:ext cx="155879" cy="62239"/>
            </a:xfrm>
            <a:custGeom>
              <a:avLst/>
              <a:gdLst>
                <a:gd name="connsiteX0" fmla="*/ 29864 w 155879"/>
                <a:gd name="connsiteY0" fmla="*/ 0 h 62239"/>
                <a:gd name="connsiteX1" fmla="*/ 0 w 155879"/>
                <a:gd name="connsiteY1" fmla="*/ 29864 h 62239"/>
                <a:gd name="connsiteX2" fmla="*/ 0 w 155879"/>
                <a:gd name="connsiteY2" fmla="*/ 41063 h 62239"/>
                <a:gd name="connsiteX3" fmla="*/ 2203 w 155879"/>
                <a:gd name="connsiteY3" fmla="*/ 52935 h 62239"/>
                <a:gd name="connsiteX4" fmla="*/ 19411 w 155879"/>
                <a:gd name="connsiteY4" fmla="*/ 61857 h 62239"/>
                <a:gd name="connsiteX5" fmla="*/ 155879 w 155879"/>
                <a:gd name="connsiteY5" fmla="*/ 22643 h 622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55879" h="62239">
                  <a:moveTo>
                    <a:pt x="29864" y="0"/>
                  </a:moveTo>
                  <a:cubicBezTo>
                    <a:pt x="10709" y="4602"/>
                    <a:pt x="0" y="13439"/>
                    <a:pt x="0" y="29864"/>
                  </a:cubicBezTo>
                  <a:lnTo>
                    <a:pt x="0" y="41063"/>
                  </a:lnTo>
                  <a:cubicBezTo>
                    <a:pt x="0" y="46093"/>
                    <a:pt x="379" y="48835"/>
                    <a:pt x="2203" y="52935"/>
                  </a:cubicBezTo>
                  <a:cubicBezTo>
                    <a:pt x="3745" y="56423"/>
                    <a:pt x="9779" y="64024"/>
                    <a:pt x="19411" y="61857"/>
                  </a:cubicBezTo>
                  <a:lnTo>
                    <a:pt x="155879" y="22643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14" name="Forma livre: Forma 1813">
              <a:extLst>
                <a:ext uri="{FF2B5EF4-FFF2-40B4-BE49-F238E27FC236}">
                  <a16:creationId xmlns:a16="http://schemas.microsoft.com/office/drawing/2014/main" id="{F673E36B-E08B-3877-B813-75926AA231F9}"/>
                </a:ext>
              </a:extLst>
            </p:cNvPr>
            <p:cNvSpPr/>
            <p:nvPr/>
          </p:nvSpPr>
          <p:spPr>
            <a:xfrm>
              <a:off x="5168025" y="3907156"/>
              <a:ext cx="155879" cy="62239"/>
            </a:xfrm>
            <a:custGeom>
              <a:avLst/>
              <a:gdLst>
                <a:gd name="connsiteX0" fmla="*/ 29864 w 155879"/>
                <a:gd name="connsiteY0" fmla="*/ 0 h 62239"/>
                <a:gd name="connsiteX1" fmla="*/ 0 w 155879"/>
                <a:gd name="connsiteY1" fmla="*/ 29864 h 62239"/>
                <a:gd name="connsiteX2" fmla="*/ 0 w 155879"/>
                <a:gd name="connsiteY2" fmla="*/ 41063 h 62239"/>
                <a:gd name="connsiteX3" fmla="*/ 2203 w 155879"/>
                <a:gd name="connsiteY3" fmla="*/ 52935 h 62239"/>
                <a:gd name="connsiteX4" fmla="*/ 19411 w 155879"/>
                <a:gd name="connsiteY4" fmla="*/ 61857 h 62239"/>
                <a:gd name="connsiteX5" fmla="*/ 155879 w 155879"/>
                <a:gd name="connsiteY5" fmla="*/ 22643 h 622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55879" h="62239">
                  <a:moveTo>
                    <a:pt x="29864" y="0"/>
                  </a:moveTo>
                  <a:cubicBezTo>
                    <a:pt x="10709" y="4602"/>
                    <a:pt x="0" y="13439"/>
                    <a:pt x="0" y="29864"/>
                  </a:cubicBezTo>
                  <a:lnTo>
                    <a:pt x="0" y="41063"/>
                  </a:lnTo>
                  <a:cubicBezTo>
                    <a:pt x="0" y="46093"/>
                    <a:pt x="379" y="48835"/>
                    <a:pt x="2203" y="52935"/>
                  </a:cubicBezTo>
                  <a:cubicBezTo>
                    <a:pt x="3745" y="56423"/>
                    <a:pt x="9779" y="64024"/>
                    <a:pt x="19411" y="61857"/>
                  </a:cubicBezTo>
                  <a:lnTo>
                    <a:pt x="155879" y="22643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15" name="Forma livre: Forma 1814">
              <a:extLst>
                <a:ext uri="{FF2B5EF4-FFF2-40B4-BE49-F238E27FC236}">
                  <a16:creationId xmlns:a16="http://schemas.microsoft.com/office/drawing/2014/main" id="{CCF71020-1AEF-F803-938D-F48FB6159FA4}"/>
                </a:ext>
              </a:extLst>
            </p:cNvPr>
            <p:cNvSpPr/>
            <p:nvPr/>
          </p:nvSpPr>
          <p:spPr>
            <a:xfrm>
              <a:off x="5303747" y="3757335"/>
              <a:ext cx="7147" cy="39410"/>
            </a:xfrm>
            <a:custGeom>
              <a:avLst/>
              <a:gdLst>
                <a:gd name="connsiteX0" fmla="*/ 1530 w 7147"/>
                <a:gd name="connsiteY0" fmla="*/ 39410 h 39410"/>
                <a:gd name="connsiteX1" fmla="*/ 0 w 7147"/>
                <a:gd name="connsiteY1" fmla="*/ 26682 h 39410"/>
                <a:gd name="connsiteX2" fmla="*/ 171 w 7147"/>
                <a:gd name="connsiteY2" fmla="*/ 22373 h 39410"/>
                <a:gd name="connsiteX3" fmla="*/ 7148 w 7147"/>
                <a:gd name="connsiteY3" fmla="*/ 0 h 394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147" h="39410">
                  <a:moveTo>
                    <a:pt x="1530" y="39410"/>
                  </a:moveTo>
                  <a:cubicBezTo>
                    <a:pt x="526" y="35335"/>
                    <a:pt x="0" y="31076"/>
                    <a:pt x="0" y="26682"/>
                  </a:cubicBezTo>
                  <a:cubicBezTo>
                    <a:pt x="0" y="25237"/>
                    <a:pt x="61" y="23793"/>
                    <a:pt x="171" y="22373"/>
                  </a:cubicBezTo>
                  <a:cubicBezTo>
                    <a:pt x="820" y="14271"/>
                    <a:pt x="3280" y="6683"/>
                    <a:pt x="7148" y="0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16" name="Forma livre: Forma 1815">
              <a:extLst>
                <a:ext uri="{FF2B5EF4-FFF2-40B4-BE49-F238E27FC236}">
                  <a16:creationId xmlns:a16="http://schemas.microsoft.com/office/drawing/2014/main" id="{BF033DE3-6C08-EE02-D3F6-2AC0C0A62029}"/>
                </a:ext>
              </a:extLst>
            </p:cNvPr>
            <p:cNvSpPr/>
            <p:nvPr/>
          </p:nvSpPr>
          <p:spPr>
            <a:xfrm>
              <a:off x="5303747" y="3816352"/>
              <a:ext cx="7147" cy="39410"/>
            </a:xfrm>
            <a:custGeom>
              <a:avLst/>
              <a:gdLst>
                <a:gd name="connsiteX0" fmla="*/ 1530 w 7147"/>
                <a:gd name="connsiteY0" fmla="*/ 39410 h 39410"/>
                <a:gd name="connsiteX1" fmla="*/ 0 w 7147"/>
                <a:gd name="connsiteY1" fmla="*/ 26682 h 39410"/>
                <a:gd name="connsiteX2" fmla="*/ 171 w 7147"/>
                <a:gd name="connsiteY2" fmla="*/ 22373 h 39410"/>
                <a:gd name="connsiteX3" fmla="*/ 7148 w 7147"/>
                <a:gd name="connsiteY3" fmla="*/ 0 h 394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147" h="39410">
                  <a:moveTo>
                    <a:pt x="1530" y="39410"/>
                  </a:moveTo>
                  <a:cubicBezTo>
                    <a:pt x="526" y="35335"/>
                    <a:pt x="0" y="31076"/>
                    <a:pt x="0" y="26682"/>
                  </a:cubicBezTo>
                  <a:cubicBezTo>
                    <a:pt x="0" y="25237"/>
                    <a:pt x="61" y="23793"/>
                    <a:pt x="171" y="22373"/>
                  </a:cubicBezTo>
                  <a:cubicBezTo>
                    <a:pt x="820" y="14271"/>
                    <a:pt x="3280" y="6683"/>
                    <a:pt x="7148" y="0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17" name="Forma livre: Forma 1816">
              <a:extLst>
                <a:ext uri="{FF2B5EF4-FFF2-40B4-BE49-F238E27FC236}">
                  <a16:creationId xmlns:a16="http://schemas.microsoft.com/office/drawing/2014/main" id="{9A769879-F19D-8283-1540-88B89492BE59}"/>
                </a:ext>
              </a:extLst>
            </p:cNvPr>
            <p:cNvSpPr/>
            <p:nvPr/>
          </p:nvSpPr>
          <p:spPr>
            <a:xfrm>
              <a:off x="5303747" y="3875333"/>
              <a:ext cx="9216" cy="56643"/>
            </a:xfrm>
            <a:custGeom>
              <a:avLst/>
              <a:gdLst>
                <a:gd name="connsiteX0" fmla="*/ 9216 w 9216"/>
                <a:gd name="connsiteY0" fmla="*/ 56643 h 56643"/>
                <a:gd name="connsiteX1" fmla="*/ 0 w 9216"/>
                <a:gd name="connsiteY1" fmla="*/ 26682 h 56643"/>
                <a:gd name="connsiteX2" fmla="*/ 171 w 9216"/>
                <a:gd name="connsiteY2" fmla="*/ 22373 h 56643"/>
                <a:gd name="connsiteX3" fmla="*/ 7148 w 9216"/>
                <a:gd name="connsiteY3" fmla="*/ 0 h 566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216" h="56643">
                  <a:moveTo>
                    <a:pt x="9216" y="56643"/>
                  </a:moveTo>
                  <a:cubicBezTo>
                    <a:pt x="3402" y="48100"/>
                    <a:pt x="0" y="37795"/>
                    <a:pt x="0" y="26682"/>
                  </a:cubicBezTo>
                  <a:cubicBezTo>
                    <a:pt x="0" y="25237"/>
                    <a:pt x="61" y="23793"/>
                    <a:pt x="171" y="22373"/>
                  </a:cubicBezTo>
                  <a:cubicBezTo>
                    <a:pt x="820" y="14271"/>
                    <a:pt x="3280" y="6683"/>
                    <a:pt x="7148" y="0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818" name="Gráfico 14">
              <a:extLst>
                <a:ext uri="{FF2B5EF4-FFF2-40B4-BE49-F238E27FC236}">
                  <a16:creationId xmlns:a16="http://schemas.microsoft.com/office/drawing/2014/main" id="{D0FADCD1-C625-0C2A-2969-012F19CF2E98}"/>
                </a:ext>
              </a:extLst>
            </p:cNvPr>
            <p:cNvGrpSpPr/>
            <p:nvPr/>
          </p:nvGrpSpPr>
          <p:grpSpPr>
            <a:xfrm>
              <a:off x="5089657" y="3700312"/>
              <a:ext cx="96555" cy="33633"/>
              <a:chOff x="5089657" y="3700312"/>
              <a:chExt cx="96555" cy="33633"/>
            </a:xfrm>
          </p:grpSpPr>
          <p:sp>
            <p:nvSpPr>
              <p:cNvPr id="1819" name="Forma livre: Forma 1818">
                <a:extLst>
                  <a:ext uri="{FF2B5EF4-FFF2-40B4-BE49-F238E27FC236}">
                    <a16:creationId xmlns:a16="http://schemas.microsoft.com/office/drawing/2014/main" id="{07C6C115-B885-C9E0-BDA0-A1A4688BCB6C}"/>
                  </a:ext>
                </a:extLst>
              </p:cNvPr>
              <p:cNvSpPr/>
              <p:nvPr/>
            </p:nvSpPr>
            <p:spPr>
              <a:xfrm>
                <a:off x="5089657" y="3700312"/>
                <a:ext cx="62432" cy="17636"/>
              </a:xfrm>
              <a:custGeom>
                <a:avLst/>
                <a:gdLst>
                  <a:gd name="connsiteX0" fmla="*/ 62433 w 62432"/>
                  <a:gd name="connsiteY0" fmla="*/ 0 h 17636"/>
                  <a:gd name="connsiteX1" fmla="*/ 0 w 62432"/>
                  <a:gd name="connsiteY1" fmla="*/ 17637 h 176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2432" h="17636">
                    <a:moveTo>
                      <a:pt x="62433" y="0"/>
                    </a:moveTo>
                    <a:lnTo>
                      <a:pt x="0" y="17637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820" name="Forma livre: Forma 1819">
                <a:extLst>
                  <a:ext uri="{FF2B5EF4-FFF2-40B4-BE49-F238E27FC236}">
                    <a16:creationId xmlns:a16="http://schemas.microsoft.com/office/drawing/2014/main" id="{7185352A-A217-BC05-DB33-C7661922A326}"/>
                  </a:ext>
                </a:extLst>
              </p:cNvPr>
              <p:cNvSpPr/>
              <p:nvPr/>
            </p:nvSpPr>
            <p:spPr>
              <a:xfrm>
                <a:off x="5123780" y="3716309"/>
                <a:ext cx="62432" cy="17636"/>
              </a:xfrm>
              <a:custGeom>
                <a:avLst/>
                <a:gdLst>
                  <a:gd name="connsiteX0" fmla="*/ 62433 w 62432"/>
                  <a:gd name="connsiteY0" fmla="*/ 0 h 17636"/>
                  <a:gd name="connsiteX1" fmla="*/ 0 w 62432"/>
                  <a:gd name="connsiteY1" fmla="*/ 17637 h 176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2432" h="17636">
                    <a:moveTo>
                      <a:pt x="62433" y="0"/>
                    </a:moveTo>
                    <a:lnTo>
                      <a:pt x="0" y="17637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821" name="Gráfico 14">
            <a:extLst>
              <a:ext uri="{FF2B5EF4-FFF2-40B4-BE49-F238E27FC236}">
                <a16:creationId xmlns:a16="http://schemas.microsoft.com/office/drawing/2014/main" id="{22DE69A3-AEAF-190B-A1A9-D916DE77CF71}"/>
              </a:ext>
            </a:extLst>
          </p:cNvPr>
          <p:cNvGrpSpPr/>
          <p:nvPr/>
        </p:nvGrpSpPr>
        <p:grpSpPr>
          <a:xfrm>
            <a:off x="5022243" y="5313583"/>
            <a:ext cx="290682" cy="301061"/>
            <a:chOff x="5022243" y="5313583"/>
            <a:chExt cx="290682" cy="301061"/>
          </a:xfrm>
          <a:noFill/>
        </p:grpSpPr>
        <p:sp>
          <p:nvSpPr>
            <p:cNvPr id="1822" name="Forma livre: Forma 1821">
              <a:extLst>
                <a:ext uri="{FF2B5EF4-FFF2-40B4-BE49-F238E27FC236}">
                  <a16:creationId xmlns:a16="http://schemas.microsoft.com/office/drawing/2014/main" id="{B840419B-39FB-A8CA-20F0-12B2700372FC}"/>
                </a:ext>
              </a:extLst>
            </p:cNvPr>
            <p:cNvSpPr/>
            <p:nvPr/>
          </p:nvSpPr>
          <p:spPr>
            <a:xfrm>
              <a:off x="5022243" y="5347400"/>
              <a:ext cx="290682" cy="267244"/>
            </a:xfrm>
            <a:custGeom>
              <a:avLst/>
              <a:gdLst>
                <a:gd name="connsiteX0" fmla="*/ 0 w 290682"/>
                <a:gd name="connsiteY0" fmla="*/ 0 h 267244"/>
                <a:gd name="connsiteX1" fmla="*/ 136749 w 290682"/>
                <a:gd name="connsiteY1" fmla="*/ 60168 h 267244"/>
                <a:gd name="connsiteX2" fmla="*/ 153933 w 290682"/>
                <a:gd name="connsiteY2" fmla="*/ 60168 h 267244"/>
                <a:gd name="connsiteX3" fmla="*/ 290683 w 290682"/>
                <a:gd name="connsiteY3" fmla="*/ 0 h 267244"/>
                <a:gd name="connsiteX4" fmla="*/ 290683 w 290682"/>
                <a:gd name="connsiteY4" fmla="*/ 204261 h 267244"/>
                <a:gd name="connsiteX5" fmla="*/ 153933 w 290682"/>
                <a:gd name="connsiteY5" fmla="*/ 267245 h 267244"/>
                <a:gd name="connsiteX6" fmla="*/ 136749 w 290682"/>
                <a:gd name="connsiteY6" fmla="*/ 267245 h 267244"/>
                <a:gd name="connsiteX7" fmla="*/ 0 w 290682"/>
                <a:gd name="connsiteY7" fmla="*/ 204261 h 267244"/>
                <a:gd name="connsiteX8" fmla="*/ 0 w 290682"/>
                <a:gd name="connsiteY8" fmla="*/ 0 h 2672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90682" h="267244">
                  <a:moveTo>
                    <a:pt x="0" y="0"/>
                  </a:moveTo>
                  <a:cubicBezTo>
                    <a:pt x="0" y="0"/>
                    <a:pt x="126432" y="60168"/>
                    <a:pt x="136749" y="60168"/>
                  </a:cubicBezTo>
                  <a:lnTo>
                    <a:pt x="153933" y="60168"/>
                  </a:lnTo>
                  <a:cubicBezTo>
                    <a:pt x="164251" y="60168"/>
                    <a:pt x="290683" y="0"/>
                    <a:pt x="290683" y="0"/>
                  </a:cubicBezTo>
                  <a:lnTo>
                    <a:pt x="290683" y="204261"/>
                  </a:lnTo>
                  <a:cubicBezTo>
                    <a:pt x="290683" y="204261"/>
                    <a:pt x="164251" y="267245"/>
                    <a:pt x="153933" y="267245"/>
                  </a:cubicBezTo>
                  <a:lnTo>
                    <a:pt x="136749" y="267245"/>
                  </a:lnTo>
                  <a:cubicBezTo>
                    <a:pt x="126432" y="267245"/>
                    <a:pt x="0" y="204261"/>
                    <a:pt x="0" y="204261"/>
                  </a:cubicBezTo>
                  <a:lnTo>
                    <a:pt x="0" y="0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823" name="Gráfico 14">
              <a:extLst>
                <a:ext uri="{FF2B5EF4-FFF2-40B4-BE49-F238E27FC236}">
                  <a16:creationId xmlns:a16="http://schemas.microsoft.com/office/drawing/2014/main" id="{2A3CE615-4F9D-0EF1-A8FE-2521DB640F7F}"/>
                </a:ext>
              </a:extLst>
            </p:cNvPr>
            <p:cNvGrpSpPr/>
            <p:nvPr/>
          </p:nvGrpSpPr>
          <p:grpSpPr>
            <a:xfrm>
              <a:off x="5062841" y="5313583"/>
              <a:ext cx="209475" cy="93985"/>
              <a:chOff x="5062841" y="5313583"/>
              <a:chExt cx="209475" cy="93985"/>
            </a:xfrm>
            <a:noFill/>
          </p:grpSpPr>
          <p:sp>
            <p:nvSpPr>
              <p:cNvPr id="1824" name="Forma livre: Forma 1823">
                <a:extLst>
                  <a:ext uri="{FF2B5EF4-FFF2-40B4-BE49-F238E27FC236}">
                    <a16:creationId xmlns:a16="http://schemas.microsoft.com/office/drawing/2014/main" id="{3C4277D2-564C-F55C-1F09-1FB2C7627505}"/>
                  </a:ext>
                </a:extLst>
              </p:cNvPr>
              <p:cNvSpPr/>
              <p:nvPr/>
            </p:nvSpPr>
            <p:spPr>
              <a:xfrm>
                <a:off x="5062841" y="5313583"/>
                <a:ext cx="103801" cy="93985"/>
              </a:xfrm>
              <a:custGeom>
                <a:avLst/>
                <a:gdLst>
                  <a:gd name="connsiteX0" fmla="*/ 103801 w 103801"/>
                  <a:gd name="connsiteY0" fmla="*/ 93985 h 93985"/>
                  <a:gd name="connsiteX1" fmla="*/ 0 w 103801"/>
                  <a:gd name="connsiteY1" fmla="*/ 0 h 93985"/>
                  <a:gd name="connsiteX2" fmla="*/ 0 w 103801"/>
                  <a:gd name="connsiteY2" fmla="*/ 28811 h 939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03801" h="93985">
                    <a:moveTo>
                      <a:pt x="103801" y="93985"/>
                    </a:moveTo>
                    <a:lnTo>
                      <a:pt x="0" y="0"/>
                    </a:lnTo>
                    <a:lnTo>
                      <a:pt x="0" y="28811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825" name="Forma livre: Forma 1824">
                <a:extLst>
                  <a:ext uri="{FF2B5EF4-FFF2-40B4-BE49-F238E27FC236}">
                    <a16:creationId xmlns:a16="http://schemas.microsoft.com/office/drawing/2014/main" id="{EFC978D1-0531-8BAA-483F-01F9C01B4B5D}"/>
                  </a:ext>
                </a:extLst>
              </p:cNvPr>
              <p:cNvSpPr/>
              <p:nvPr/>
            </p:nvSpPr>
            <p:spPr>
              <a:xfrm>
                <a:off x="5168515" y="5313583"/>
                <a:ext cx="103801" cy="93985"/>
              </a:xfrm>
              <a:custGeom>
                <a:avLst/>
                <a:gdLst>
                  <a:gd name="connsiteX0" fmla="*/ 0 w 103801"/>
                  <a:gd name="connsiteY0" fmla="*/ 93985 h 93985"/>
                  <a:gd name="connsiteX1" fmla="*/ 103801 w 103801"/>
                  <a:gd name="connsiteY1" fmla="*/ 0 h 93985"/>
                  <a:gd name="connsiteX2" fmla="*/ 103801 w 103801"/>
                  <a:gd name="connsiteY2" fmla="*/ 28811 h 939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03801" h="93985">
                    <a:moveTo>
                      <a:pt x="0" y="93985"/>
                    </a:moveTo>
                    <a:lnTo>
                      <a:pt x="103801" y="0"/>
                    </a:lnTo>
                    <a:lnTo>
                      <a:pt x="103801" y="28811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826" name="Gráfico 14">
              <a:extLst>
                <a:ext uri="{FF2B5EF4-FFF2-40B4-BE49-F238E27FC236}">
                  <a16:creationId xmlns:a16="http://schemas.microsoft.com/office/drawing/2014/main" id="{F0E1931C-B9B1-3B81-D646-B595C5F07C27}"/>
                </a:ext>
              </a:extLst>
            </p:cNvPr>
            <p:cNvGrpSpPr/>
            <p:nvPr/>
          </p:nvGrpSpPr>
          <p:grpSpPr>
            <a:xfrm>
              <a:off x="5147537" y="5405378"/>
              <a:ext cx="40083" cy="205167"/>
              <a:chOff x="5147537" y="5405378"/>
              <a:chExt cx="40083" cy="205167"/>
            </a:xfrm>
          </p:grpSpPr>
          <p:sp>
            <p:nvSpPr>
              <p:cNvPr id="1827" name="Forma livre: Forma 1826">
                <a:extLst>
                  <a:ext uri="{FF2B5EF4-FFF2-40B4-BE49-F238E27FC236}">
                    <a16:creationId xmlns:a16="http://schemas.microsoft.com/office/drawing/2014/main" id="{74461EF5-CA31-651A-E169-697E996098DB}"/>
                  </a:ext>
                </a:extLst>
              </p:cNvPr>
              <p:cNvSpPr/>
              <p:nvPr/>
            </p:nvSpPr>
            <p:spPr>
              <a:xfrm>
                <a:off x="5187620" y="5405378"/>
                <a:ext cx="1223" cy="205167"/>
              </a:xfrm>
              <a:custGeom>
                <a:avLst/>
                <a:gdLst>
                  <a:gd name="connsiteX0" fmla="*/ 0 w 1223"/>
                  <a:gd name="connsiteY0" fmla="*/ 205167 h 205167"/>
                  <a:gd name="connsiteX1" fmla="*/ 0 w 1223"/>
                  <a:gd name="connsiteY1" fmla="*/ 0 h 2051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23" h="205167">
                    <a:moveTo>
                      <a:pt x="0" y="205167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828" name="Forma livre: Forma 1827">
                <a:extLst>
                  <a:ext uri="{FF2B5EF4-FFF2-40B4-BE49-F238E27FC236}">
                    <a16:creationId xmlns:a16="http://schemas.microsoft.com/office/drawing/2014/main" id="{7ACF6114-E8A9-A4CA-6F39-94E2AACF57D9}"/>
                  </a:ext>
                </a:extLst>
              </p:cNvPr>
              <p:cNvSpPr/>
              <p:nvPr/>
            </p:nvSpPr>
            <p:spPr>
              <a:xfrm>
                <a:off x="5147537" y="5405378"/>
                <a:ext cx="1223" cy="205167"/>
              </a:xfrm>
              <a:custGeom>
                <a:avLst/>
                <a:gdLst>
                  <a:gd name="connsiteX0" fmla="*/ 0 w 1223"/>
                  <a:gd name="connsiteY0" fmla="*/ 205167 h 205167"/>
                  <a:gd name="connsiteX1" fmla="*/ 0 w 1223"/>
                  <a:gd name="connsiteY1" fmla="*/ 0 h 2051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23" h="205167">
                    <a:moveTo>
                      <a:pt x="0" y="205167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829" name="Forma livre: Forma 1828">
              <a:extLst>
                <a:ext uri="{FF2B5EF4-FFF2-40B4-BE49-F238E27FC236}">
                  <a16:creationId xmlns:a16="http://schemas.microsoft.com/office/drawing/2014/main" id="{2CBB325C-B4B9-193B-FD34-2FDA2E592289}"/>
                </a:ext>
              </a:extLst>
            </p:cNvPr>
            <p:cNvSpPr/>
            <p:nvPr/>
          </p:nvSpPr>
          <p:spPr>
            <a:xfrm>
              <a:off x="5217521" y="5409625"/>
              <a:ext cx="66496" cy="28309"/>
            </a:xfrm>
            <a:custGeom>
              <a:avLst/>
              <a:gdLst>
                <a:gd name="connsiteX0" fmla="*/ 0 w 66496"/>
                <a:gd name="connsiteY0" fmla="*/ 28309 h 28309"/>
                <a:gd name="connsiteX1" fmla="*/ 66496 w 66496"/>
                <a:gd name="connsiteY1" fmla="*/ 0 h 283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6496" h="28309">
                  <a:moveTo>
                    <a:pt x="0" y="28309"/>
                  </a:moveTo>
                  <a:lnTo>
                    <a:pt x="66496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30" name="Forma livre: Forma 1829">
              <a:extLst>
                <a:ext uri="{FF2B5EF4-FFF2-40B4-BE49-F238E27FC236}">
                  <a16:creationId xmlns:a16="http://schemas.microsoft.com/office/drawing/2014/main" id="{FDEDC258-D5DF-BB70-606B-8084F7DADCEF}"/>
                </a:ext>
              </a:extLst>
            </p:cNvPr>
            <p:cNvSpPr/>
            <p:nvPr/>
          </p:nvSpPr>
          <p:spPr>
            <a:xfrm>
              <a:off x="5217521" y="5441447"/>
              <a:ext cx="66496" cy="28309"/>
            </a:xfrm>
            <a:custGeom>
              <a:avLst/>
              <a:gdLst>
                <a:gd name="connsiteX0" fmla="*/ 0 w 66496"/>
                <a:gd name="connsiteY0" fmla="*/ 28309 h 28309"/>
                <a:gd name="connsiteX1" fmla="*/ 66496 w 66496"/>
                <a:gd name="connsiteY1" fmla="*/ 0 h 283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6496" h="28309">
                  <a:moveTo>
                    <a:pt x="0" y="28309"/>
                  </a:moveTo>
                  <a:lnTo>
                    <a:pt x="66496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831" name="Gráfico 14">
            <a:extLst>
              <a:ext uri="{FF2B5EF4-FFF2-40B4-BE49-F238E27FC236}">
                <a16:creationId xmlns:a16="http://schemas.microsoft.com/office/drawing/2014/main" id="{4D3D3D9F-59E5-8157-6142-76AD217727C5}"/>
              </a:ext>
            </a:extLst>
          </p:cNvPr>
          <p:cNvGrpSpPr/>
          <p:nvPr/>
        </p:nvGrpSpPr>
        <p:grpSpPr>
          <a:xfrm>
            <a:off x="5046942" y="4734347"/>
            <a:ext cx="241260" cy="363457"/>
            <a:chOff x="5046942" y="4734347"/>
            <a:chExt cx="241260" cy="363457"/>
          </a:xfrm>
          <a:noFill/>
        </p:grpSpPr>
        <p:sp>
          <p:nvSpPr>
            <p:cNvPr id="1832" name="Forma livre: Forma 1831">
              <a:extLst>
                <a:ext uri="{FF2B5EF4-FFF2-40B4-BE49-F238E27FC236}">
                  <a16:creationId xmlns:a16="http://schemas.microsoft.com/office/drawing/2014/main" id="{E28A887B-04BA-2ED6-0C7F-70BC8E8BD9D3}"/>
                </a:ext>
              </a:extLst>
            </p:cNvPr>
            <p:cNvSpPr/>
            <p:nvPr/>
          </p:nvSpPr>
          <p:spPr>
            <a:xfrm>
              <a:off x="5137058" y="4929760"/>
              <a:ext cx="151144" cy="168045"/>
            </a:xfrm>
            <a:custGeom>
              <a:avLst/>
              <a:gdLst>
                <a:gd name="connsiteX0" fmla="*/ 60243 w 151144"/>
                <a:gd name="connsiteY0" fmla="*/ 168045 h 168045"/>
                <a:gd name="connsiteX1" fmla="*/ 4016 w 151144"/>
                <a:gd name="connsiteY1" fmla="*/ 111696 h 168045"/>
                <a:gd name="connsiteX2" fmla="*/ 4126 w 151144"/>
                <a:gd name="connsiteY2" fmla="*/ 91929 h 168045"/>
                <a:gd name="connsiteX3" fmla="*/ 5656 w 151144"/>
                <a:gd name="connsiteY3" fmla="*/ 90412 h 168045"/>
                <a:gd name="connsiteX4" fmla="*/ 25423 w 151144"/>
                <a:gd name="connsiteY4" fmla="*/ 90522 h 168045"/>
                <a:gd name="connsiteX5" fmla="*/ 50954 w 151144"/>
                <a:gd name="connsiteY5" fmla="*/ 116028 h 168045"/>
                <a:gd name="connsiteX6" fmla="*/ 50954 w 151144"/>
                <a:gd name="connsiteY6" fmla="*/ 13977 h 168045"/>
                <a:gd name="connsiteX7" fmla="*/ 64931 w 151144"/>
                <a:gd name="connsiteY7" fmla="*/ 0 h 168045"/>
                <a:gd name="connsiteX8" fmla="*/ 66094 w 151144"/>
                <a:gd name="connsiteY8" fmla="*/ 0 h 168045"/>
                <a:gd name="connsiteX9" fmla="*/ 80071 w 151144"/>
                <a:gd name="connsiteY9" fmla="*/ 13977 h 168045"/>
                <a:gd name="connsiteX10" fmla="*/ 80071 w 151144"/>
                <a:gd name="connsiteY10" fmla="*/ 66471 h 168045"/>
                <a:gd name="connsiteX11" fmla="*/ 133667 w 151144"/>
                <a:gd name="connsiteY11" fmla="*/ 75333 h 168045"/>
                <a:gd name="connsiteX12" fmla="*/ 151145 w 151144"/>
                <a:gd name="connsiteY12" fmla="*/ 101733 h 168045"/>
                <a:gd name="connsiteX13" fmla="*/ 146029 w 151144"/>
                <a:gd name="connsiteY13" fmla="*/ 165805 h 1680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51144" h="168045">
                  <a:moveTo>
                    <a:pt x="60243" y="168045"/>
                  </a:moveTo>
                  <a:lnTo>
                    <a:pt x="4016" y="111696"/>
                  </a:lnTo>
                  <a:cubicBezTo>
                    <a:pt x="-1381" y="106237"/>
                    <a:pt x="-1332" y="97339"/>
                    <a:pt x="4126" y="91929"/>
                  </a:cubicBezTo>
                  <a:lnTo>
                    <a:pt x="5656" y="90412"/>
                  </a:lnTo>
                  <a:cubicBezTo>
                    <a:pt x="11115" y="85014"/>
                    <a:pt x="20013" y="85051"/>
                    <a:pt x="25423" y="90522"/>
                  </a:cubicBezTo>
                  <a:lnTo>
                    <a:pt x="50954" y="116028"/>
                  </a:lnTo>
                  <a:lnTo>
                    <a:pt x="50954" y="13977"/>
                  </a:lnTo>
                  <a:cubicBezTo>
                    <a:pt x="50954" y="6291"/>
                    <a:pt x="57245" y="0"/>
                    <a:pt x="64931" y="0"/>
                  </a:cubicBezTo>
                  <a:lnTo>
                    <a:pt x="66094" y="0"/>
                  </a:lnTo>
                  <a:cubicBezTo>
                    <a:pt x="73780" y="0"/>
                    <a:pt x="80071" y="6291"/>
                    <a:pt x="80071" y="13977"/>
                  </a:cubicBezTo>
                  <a:lnTo>
                    <a:pt x="80071" y="66471"/>
                  </a:lnTo>
                  <a:lnTo>
                    <a:pt x="133667" y="75333"/>
                  </a:lnTo>
                  <a:cubicBezTo>
                    <a:pt x="133667" y="75333"/>
                    <a:pt x="151145" y="78833"/>
                    <a:pt x="151145" y="101733"/>
                  </a:cubicBezTo>
                  <a:lnTo>
                    <a:pt x="146029" y="165805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33" name="Forma livre: Forma 1832">
              <a:extLst>
                <a:ext uri="{FF2B5EF4-FFF2-40B4-BE49-F238E27FC236}">
                  <a16:creationId xmlns:a16="http://schemas.microsoft.com/office/drawing/2014/main" id="{6D320E23-6E95-9B0E-F1CD-5641714FD65C}"/>
                </a:ext>
              </a:extLst>
            </p:cNvPr>
            <p:cNvSpPr/>
            <p:nvPr/>
          </p:nvSpPr>
          <p:spPr>
            <a:xfrm>
              <a:off x="5046942" y="4734347"/>
              <a:ext cx="222069" cy="304476"/>
            </a:xfrm>
            <a:custGeom>
              <a:avLst/>
              <a:gdLst>
                <a:gd name="connsiteX0" fmla="*/ 66582 w 222069"/>
                <a:gd name="connsiteY0" fmla="*/ 304477 h 304476"/>
                <a:gd name="connsiteX1" fmla="*/ 14687 w 222069"/>
                <a:gd name="connsiteY1" fmla="*/ 304477 h 304476"/>
                <a:gd name="connsiteX2" fmla="*/ 0 w 222069"/>
                <a:gd name="connsiteY2" fmla="*/ 289789 h 304476"/>
                <a:gd name="connsiteX3" fmla="*/ 0 w 222069"/>
                <a:gd name="connsiteY3" fmla="*/ 14687 h 304476"/>
                <a:gd name="connsiteX4" fmla="*/ 14687 w 222069"/>
                <a:gd name="connsiteY4" fmla="*/ 0 h 304476"/>
                <a:gd name="connsiteX5" fmla="*/ 207382 w 222069"/>
                <a:gd name="connsiteY5" fmla="*/ 0 h 304476"/>
                <a:gd name="connsiteX6" fmla="*/ 222070 w 222069"/>
                <a:gd name="connsiteY6" fmla="*/ 14687 h 304476"/>
                <a:gd name="connsiteX7" fmla="*/ 222070 w 222069"/>
                <a:gd name="connsiteY7" fmla="*/ 242007 h 3044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22069" h="304476">
                  <a:moveTo>
                    <a:pt x="66582" y="304477"/>
                  </a:moveTo>
                  <a:lnTo>
                    <a:pt x="14687" y="304477"/>
                  </a:lnTo>
                  <a:cubicBezTo>
                    <a:pt x="6609" y="304477"/>
                    <a:pt x="0" y="297867"/>
                    <a:pt x="0" y="289789"/>
                  </a:cubicBezTo>
                  <a:lnTo>
                    <a:pt x="0" y="14687"/>
                  </a:lnTo>
                  <a:cubicBezTo>
                    <a:pt x="0" y="6609"/>
                    <a:pt x="6609" y="0"/>
                    <a:pt x="14687" y="0"/>
                  </a:cubicBezTo>
                  <a:lnTo>
                    <a:pt x="207382" y="0"/>
                  </a:lnTo>
                  <a:cubicBezTo>
                    <a:pt x="215460" y="0"/>
                    <a:pt x="222070" y="6609"/>
                    <a:pt x="222070" y="14687"/>
                  </a:cubicBezTo>
                  <a:lnTo>
                    <a:pt x="222070" y="242007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34" name="Forma livre: Forma 1833">
              <a:extLst>
                <a:ext uri="{FF2B5EF4-FFF2-40B4-BE49-F238E27FC236}">
                  <a16:creationId xmlns:a16="http://schemas.microsoft.com/office/drawing/2014/main" id="{2C13CEB5-E775-34E0-A9C4-B2563462CECD}"/>
                </a:ext>
              </a:extLst>
            </p:cNvPr>
            <p:cNvSpPr/>
            <p:nvPr/>
          </p:nvSpPr>
          <p:spPr>
            <a:xfrm>
              <a:off x="5071420" y="4758838"/>
              <a:ext cx="173124" cy="255507"/>
            </a:xfrm>
            <a:custGeom>
              <a:avLst/>
              <a:gdLst>
                <a:gd name="connsiteX0" fmla="*/ 173125 w 173124"/>
                <a:gd name="connsiteY0" fmla="*/ 217516 h 255507"/>
                <a:gd name="connsiteX1" fmla="*/ 173125 w 173124"/>
                <a:gd name="connsiteY1" fmla="*/ 0 h 255507"/>
                <a:gd name="connsiteX2" fmla="*/ 0 w 173124"/>
                <a:gd name="connsiteY2" fmla="*/ 0 h 255507"/>
                <a:gd name="connsiteX3" fmla="*/ 0 w 173124"/>
                <a:gd name="connsiteY3" fmla="*/ 255507 h 255507"/>
                <a:gd name="connsiteX4" fmla="*/ 42103 w 173124"/>
                <a:gd name="connsiteY4" fmla="*/ 255507 h 2555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3124" h="255507">
                  <a:moveTo>
                    <a:pt x="173125" y="217516"/>
                  </a:moveTo>
                  <a:lnTo>
                    <a:pt x="173125" y="0"/>
                  </a:lnTo>
                  <a:lnTo>
                    <a:pt x="0" y="0"/>
                  </a:lnTo>
                  <a:lnTo>
                    <a:pt x="0" y="255507"/>
                  </a:lnTo>
                  <a:lnTo>
                    <a:pt x="42103" y="255507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35" name="Forma livre: Forma 1834">
              <a:extLst>
                <a:ext uri="{FF2B5EF4-FFF2-40B4-BE49-F238E27FC236}">
                  <a16:creationId xmlns:a16="http://schemas.microsoft.com/office/drawing/2014/main" id="{1462C928-CD43-7129-7272-42BDB013E30E}"/>
                </a:ext>
              </a:extLst>
            </p:cNvPr>
            <p:cNvSpPr/>
            <p:nvPr/>
          </p:nvSpPr>
          <p:spPr>
            <a:xfrm>
              <a:off x="5160094" y="4802165"/>
              <a:ext cx="62138" cy="1223"/>
            </a:xfrm>
            <a:custGeom>
              <a:avLst/>
              <a:gdLst>
                <a:gd name="connsiteX0" fmla="*/ 0 w 62138"/>
                <a:gd name="connsiteY0" fmla="*/ 0 h 1223"/>
                <a:gd name="connsiteX1" fmla="*/ 62139 w 62138"/>
                <a:gd name="connsiteY1" fmla="*/ 0 h 12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138" h="1223">
                  <a:moveTo>
                    <a:pt x="0" y="0"/>
                  </a:moveTo>
                  <a:lnTo>
                    <a:pt x="62139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36" name="Forma livre: Forma 1835">
              <a:extLst>
                <a:ext uri="{FF2B5EF4-FFF2-40B4-BE49-F238E27FC236}">
                  <a16:creationId xmlns:a16="http://schemas.microsoft.com/office/drawing/2014/main" id="{7B8ACD9B-28AA-A528-6914-C6777F5BA929}"/>
                </a:ext>
              </a:extLst>
            </p:cNvPr>
            <p:cNvSpPr/>
            <p:nvPr/>
          </p:nvSpPr>
          <p:spPr>
            <a:xfrm>
              <a:off x="5160094" y="4835676"/>
              <a:ext cx="62138" cy="1223"/>
            </a:xfrm>
            <a:custGeom>
              <a:avLst/>
              <a:gdLst>
                <a:gd name="connsiteX0" fmla="*/ 0 w 62138"/>
                <a:gd name="connsiteY0" fmla="*/ 0 h 1223"/>
                <a:gd name="connsiteX1" fmla="*/ 62139 w 62138"/>
                <a:gd name="connsiteY1" fmla="*/ 0 h 12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138" h="1223">
                  <a:moveTo>
                    <a:pt x="0" y="0"/>
                  </a:moveTo>
                  <a:lnTo>
                    <a:pt x="62139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37" name="Forma livre: Forma 1836">
              <a:extLst>
                <a:ext uri="{FF2B5EF4-FFF2-40B4-BE49-F238E27FC236}">
                  <a16:creationId xmlns:a16="http://schemas.microsoft.com/office/drawing/2014/main" id="{4B22490F-C912-BE5D-E537-4537D5E69DFE}"/>
                </a:ext>
              </a:extLst>
            </p:cNvPr>
            <p:cNvSpPr/>
            <p:nvPr/>
          </p:nvSpPr>
          <p:spPr>
            <a:xfrm>
              <a:off x="5093720" y="4869200"/>
              <a:ext cx="128512" cy="1223"/>
            </a:xfrm>
            <a:custGeom>
              <a:avLst/>
              <a:gdLst>
                <a:gd name="connsiteX0" fmla="*/ 0 w 128512"/>
                <a:gd name="connsiteY0" fmla="*/ 0 h 1223"/>
                <a:gd name="connsiteX1" fmla="*/ 128512 w 128512"/>
                <a:gd name="connsiteY1" fmla="*/ 0 h 12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512" h="1223">
                  <a:moveTo>
                    <a:pt x="0" y="0"/>
                  </a:moveTo>
                  <a:lnTo>
                    <a:pt x="128512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38" name="Forma livre: Forma 1837">
              <a:extLst>
                <a:ext uri="{FF2B5EF4-FFF2-40B4-BE49-F238E27FC236}">
                  <a16:creationId xmlns:a16="http://schemas.microsoft.com/office/drawing/2014/main" id="{1BF37AF9-E106-90FA-41E8-DFE241E1067B}"/>
                </a:ext>
              </a:extLst>
            </p:cNvPr>
            <p:cNvSpPr/>
            <p:nvPr/>
          </p:nvSpPr>
          <p:spPr>
            <a:xfrm>
              <a:off x="5093720" y="4902711"/>
              <a:ext cx="128512" cy="1223"/>
            </a:xfrm>
            <a:custGeom>
              <a:avLst/>
              <a:gdLst>
                <a:gd name="connsiteX0" fmla="*/ 0 w 128512"/>
                <a:gd name="connsiteY0" fmla="*/ 0 h 1223"/>
                <a:gd name="connsiteX1" fmla="*/ 128512 w 128512"/>
                <a:gd name="connsiteY1" fmla="*/ 0 h 12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512" h="1223">
                  <a:moveTo>
                    <a:pt x="0" y="0"/>
                  </a:moveTo>
                  <a:lnTo>
                    <a:pt x="128512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39" name="Forma livre: Forma 1838">
              <a:extLst>
                <a:ext uri="{FF2B5EF4-FFF2-40B4-BE49-F238E27FC236}">
                  <a16:creationId xmlns:a16="http://schemas.microsoft.com/office/drawing/2014/main" id="{0376FC0E-0FCD-2C80-32B0-D17B5A161D9E}"/>
                </a:ext>
              </a:extLst>
            </p:cNvPr>
            <p:cNvSpPr/>
            <p:nvPr/>
          </p:nvSpPr>
          <p:spPr>
            <a:xfrm>
              <a:off x="5093720" y="4936234"/>
              <a:ext cx="66128" cy="1223"/>
            </a:xfrm>
            <a:custGeom>
              <a:avLst/>
              <a:gdLst>
                <a:gd name="connsiteX0" fmla="*/ 0 w 66128"/>
                <a:gd name="connsiteY0" fmla="*/ 0 h 1223"/>
                <a:gd name="connsiteX1" fmla="*/ 66129 w 66128"/>
                <a:gd name="connsiteY1" fmla="*/ 0 h 12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6128" h="1223">
                  <a:moveTo>
                    <a:pt x="0" y="0"/>
                  </a:moveTo>
                  <a:lnTo>
                    <a:pt x="66129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40" name="Forma livre: Forma 1839">
              <a:extLst>
                <a:ext uri="{FF2B5EF4-FFF2-40B4-BE49-F238E27FC236}">
                  <a16:creationId xmlns:a16="http://schemas.microsoft.com/office/drawing/2014/main" id="{8ED939D0-E75B-0A56-0213-51CA916F2F52}"/>
                </a:ext>
              </a:extLst>
            </p:cNvPr>
            <p:cNvSpPr/>
            <p:nvPr/>
          </p:nvSpPr>
          <p:spPr>
            <a:xfrm>
              <a:off x="5093720" y="4969758"/>
              <a:ext cx="66128" cy="1223"/>
            </a:xfrm>
            <a:custGeom>
              <a:avLst/>
              <a:gdLst>
                <a:gd name="connsiteX0" fmla="*/ 0 w 66128"/>
                <a:gd name="connsiteY0" fmla="*/ 0 h 1223"/>
                <a:gd name="connsiteX1" fmla="*/ 66129 w 66128"/>
                <a:gd name="connsiteY1" fmla="*/ 0 h 12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6128" h="1223">
                  <a:moveTo>
                    <a:pt x="0" y="0"/>
                  </a:moveTo>
                  <a:lnTo>
                    <a:pt x="66129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841" name="Gráfico 14">
              <a:extLst>
                <a:ext uri="{FF2B5EF4-FFF2-40B4-BE49-F238E27FC236}">
                  <a16:creationId xmlns:a16="http://schemas.microsoft.com/office/drawing/2014/main" id="{0E40E1DF-6AFB-B5CD-4626-A1B3E63910A9}"/>
                </a:ext>
              </a:extLst>
            </p:cNvPr>
            <p:cNvGrpSpPr/>
            <p:nvPr/>
          </p:nvGrpSpPr>
          <p:grpSpPr>
            <a:xfrm>
              <a:off x="5100060" y="4787845"/>
              <a:ext cx="38247" cy="44134"/>
              <a:chOff x="5100060" y="4787845"/>
              <a:chExt cx="38247" cy="44134"/>
            </a:xfrm>
            <a:noFill/>
          </p:grpSpPr>
          <p:sp>
            <p:nvSpPr>
              <p:cNvPr id="1842" name="Forma livre: Forma 1841">
                <a:extLst>
                  <a:ext uri="{FF2B5EF4-FFF2-40B4-BE49-F238E27FC236}">
                    <a16:creationId xmlns:a16="http://schemas.microsoft.com/office/drawing/2014/main" id="{2F5E9157-BCD5-2495-3F84-C40D0E99394E}"/>
                  </a:ext>
                </a:extLst>
              </p:cNvPr>
              <p:cNvSpPr/>
              <p:nvPr/>
            </p:nvSpPr>
            <p:spPr>
              <a:xfrm>
                <a:off x="5100060" y="4787845"/>
                <a:ext cx="38247" cy="44134"/>
              </a:xfrm>
              <a:custGeom>
                <a:avLst/>
                <a:gdLst>
                  <a:gd name="connsiteX0" fmla="*/ 0 w 38247"/>
                  <a:gd name="connsiteY0" fmla="*/ 44135 h 44134"/>
                  <a:gd name="connsiteX1" fmla="*/ 19118 w 38247"/>
                  <a:gd name="connsiteY1" fmla="*/ 0 h 44134"/>
                  <a:gd name="connsiteX2" fmla="*/ 38248 w 38247"/>
                  <a:gd name="connsiteY2" fmla="*/ 44135 h 441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8247" h="44134">
                    <a:moveTo>
                      <a:pt x="0" y="44135"/>
                    </a:moveTo>
                    <a:lnTo>
                      <a:pt x="19118" y="0"/>
                    </a:lnTo>
                    <a:lnTo>
                      <a:pt x="38248" y="44135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843" name="Forma livre: Forma 1842">
                <a:extLst>
                  <a:ext uri="{FF2B5EF4-FFF2-40B4-BE49-F238E27FC236}">
                    <a16:creationId xmlns:a16="http://schemas.microsoft.com/office/drawing/2014/main" id="{2914BF54-A5F7-5753-5B31-B83787CBDB14}"/>
                  </a:ext>
                </a:extLst>
              </p:cNvPr>
              <p:cNvSpPr/>
              <p:nvPr/>
            </p:nvSpPr>
            <p:spPr>
              <a:xfrm>
                <a:off x="5108799" y="4821919"/>
                <a:ext cx="20770" cy="1223"/>
              </a:xfrm>
              <a:custGeom>
                <a:avLst/>
                <a:gdLst>
                  <a:gd name="connsiteX0" fmla="*/ 0 w 20770"/>
                  <a:gd name="connsiteY0" fmla="*/ 0 h 1223"/>
                  <a:gd name="connsiteX1" fmla="*/ 20770 w 20770"/>
                  <a:gd name="connsiteY1" fmla="*/ 0 h 12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0770" h="1223">
                    <a:moveTo>
                      <a:pt x="0" y="0"/>
                    </a:moveTo>
                    <a:lnTo>
                      <a:pt x="2077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844" name="Gráfico 14">
            <a:extLst>
              <a:ext uri="{FF2B5EF4-FFF2-40B4-BE49-F238E27FC236}">
                <a16:creationId xmlns:a16="http://schemas.microsoft.com/office/drawing/2014/main" id="{713A7BAE-0B33-5C9B-EEFA-27271BC47BF9}"/>
              </a:ext>
            </a:extLst>
          </p:cNvPr>
          <p:cNvGrpSpPr/>
          <p:nvPr/>
        </p:nvGrpSpPr>
        <p:grpSpPr>
          <a:xfrm>
            <a:off x="4968499" y="5876847"/>
            <a:ext cx="398158" cy="270598"/>
            <a:chOff x="4968499" y="5876847"/>
            <a:chExt cx="398158" cy="270598"/>
          </a:xfrm>
          <a:noFill/>
        </p:grpSpPr>
        <p:sp>
          <p:nvSpPr>
            <p:cNvPr id="1845" name="Forma livre: Forma 1844">
              <a:extLst>
                <a:ext uri="{FF2B5EF4-FFF2-40B4-BE49-F238E27FC236}">
                  <a16:creationId xmlns:a16="http://schemas.microsoft.com/office/drawing/2014/main" id="{CC1E4495-3E03-E4E1-3A48-2C82BBDE58E0}"/>
                </a:ext>
              </a:extLst>
            </p:cNvPr>
            <p:cNvSpPr/>
            <p:nvPr/>
          </p:nvSpPr>
          <p:spPr>
            <a:xfrm>
              <a:off x="5047309" y="5876847"/>
              <a:ext cx="120373" cy="207015"/>
            </a:xfrm>
            <a:custGeom>
              <a:avLst/>
              <a:gdLst>
                <a:gd name="connsiteX0" fmla="*/ 0 w 120373"/>
                <a:gd name="connsiteY0" fmla="*/ 160445 h 207015"/>
                <a:gd name="connsiteX1" fmla="*/ 0 w 120373"/>
                <a:gd name="connsiteY1" fmla="*/ 0 h 207015"/>
                <a:gd name="connsiteX2" fmla="*/ 55530 w 120373"/>
                <a:gd name="connsiteY2" fmla="*/ 37 h 207015"/>
                <a:gd name="connsiteX3" fmla="*/ 120373 w 120373"/>
                <a:gd name="connsiteY3" fmla="*/ 16976 h 207015"/>
                <a:gd name="connsiteX4" fmla="*/ 120373 w 120373"/>
                <a:gd name="connsiteY4" fmla="*/ 207015 h 207015"/>
                <a:gd name="connsiteX5" fmla="*/ 55530 w 120373"/>
                <a:gd name="connsiteY5" fmla="*/ 190088 h 207015"/>
                <a:gd name="connsiteX6" fmla="*/ 32189 w 120373"/>
                <a:gd name="connsiteY6" fmla="*/ 190064 h 207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20373" h="207015">
                  <a:moveTo>
                    <a:pt x="0" y="160445"/>
                  </a:moveTo>
                  <a:lnTo>
                    <a:pt x="0" y="0"/>
                  </a:lnTo>
                  <a:lnTo>
                    <a:pt x="55530" y="37"/>
                  </a:lnTo>
                  <a:cubicBezTo>
                    <a:pt x="89200" y="37"/>
                    <a:pt x="105552" y="-991"/>
                    <a:pt x="120373" y="16976"/>
                  </a:cubicBezTo>
                  <a:lnTo>
                    <a:pt x="120373" y="207015"/>
                  </a:lnTo>
                  <a:cubicBezTo>
                    <a:pt x="105552" y="189060"/>
                    <a:pt x="89200" y="190088"/>
                    <a:pt x="55530" y="190088"/>
                  </a:cubicBezTo>
                  <a:lnTo>
                    <a:pt x="32189" y="190064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46" name="Forma livre: Forma 1845">
              <a:extLst>
                <a:ext uri="{FF2B5EF4-FFF2-40B4-BE49-F238E27FC236}">
                  <a16:creationId xmlns:a16="http://schemas.microsoft.com/office/drawing/2014/main" id="{466A331E-0060-08CA-F102-9EE05778051E}"/>
                </a:ext>
              </a:extLst>
            </p:cNvPr>
            <p:cNvSpPr/>
            <p:nvPr/>
          </p:nvSpPr>
          <p:spPr>
            <a:xfrm>
              <a:off x="5020468" y="5906870"/>
              <a:ext cx="1223" cy="157605"/>
            </a:xfrm>
            <a:custGeom>
              <a:avLst/>
              <a:gdLst>
                <a:gd name="connsiteX0" fmla="*/ 0 w 1223"/>
                <a:gd name="connsiteY0" fmla="*/ 0 h 157605"/>
                <a:gd name="connsiteX1" fmla="*/ 0 w 1223"/>
                <a:gd name="connsiteY1" fmla="*/ 157605 h 1576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23" h="157605">
                  <a:moveTo>
                    <a:pt x="0" y="0"/>
                  </a:moveTo>
                  <a:lnTo>
                    <a:pt x="0" y="157605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847" name="Gráfico 14">
              <a:extLst>
                <a:ext uri="{FF2B5EF4-FFF2-40B4-BE49-F238E27FC236}">
                  <a16:creationId xmlns:a16="http://schemas.microsoft.com/office/drawing/2014/main" id="{6D18BDD1-EA9D-A7D2-4F99-95C4F4BF5972}"/>
                </a:ext>
              </a:extLst>
            </p:cNvPr>
            <p:cNvGrpSpPr/>
            <p:nvPr/>
          </p:nvGrpSpPr>
          <p:grpSpPr>
            <a:xfrm>
              <a:off x="4968499" y="6001725"/>
              <a:ext cx="122727" cy="145720"/>
              <a:chOff x="4968499" y="6001725"/>
              <a:chExt cx="122727" cy="145720"/>
            </a:xfrm>
            <a:noFill/>
          </p:grpSpPr>
          <p:sp>
            <p:nvSpPr>
              <p:cNvPr id="1848" name="Forma livre: Forma 1847">
                <a:extLst>
                  <a:ext uri="{FF2B5EF4-FFF2-40B4-BE49-F238E27FC236}">
                    <a16:creationId xmlns:a16="http://schemas.microsoft.com/office/drawing/2014/main" id="{608E0736-BDFF-FA0A-CDE9-3EB3888C77F3}"/>
                  </a:ext>
                </a:extLst>
              </p:cNvPr>
              <p:cNvSpPr/>
              <p:nvPr/>
            </p:nvSpPr>
            <p:spPr>
              <a:xfrm>
                <a:off x="4968499" y="6001725"/>
                <a:ext cx="51638" cy="145720"/>
              </a:xfrm>
              <a:custGeom>
                <a:avLst/>
                <a:gdLst>
                  <a:gd name="connsiteX0" fmla="*/ 51639 w 51638"/>
                  <a:gd name="connsiteY0" fmla="*/ 0 h 145720"/>
                  <a:gd name="connsiteX1" fmla="*/ 307 w 51638"/>
                  <a:gd name="connsiteY1" fmla="*/ 45138 h 145720"/>
                  <a:gd name="connsiteX2" fmla="*/ 2596 w 51638"/>
                  <a:gd name="connsiteY2" fmla="*/ 145721 h 1457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51638" h="145720">
                    <a:moveTo>
                      <a:pt x="51639" y="0"/>
                    </a:moveTo>
                    <a:cubicBezTo>
                      <a:pt x="51639" y="0"/>
                      <a:pt x="1690" y="37109"/>
                      <a:pt x="307" y="45138"/>
                    </a:cubicBezTo>
                    <a:cubicBezTo>
                      <a:pt x="-1064" y="53155"/>
                      <a:pt x="2596" y="145721"/>
                      <a:pt x="2596" y="145721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849" name="Forma livre: Forma 1848">
                <a:extLst>
                  <a:ext uri="{FF2B5EF4-FFF2-40B4-BE49-F238E27FC236}">
                    <a16:creationId xmlns:a16="http://schemas.microsoft.com/office/drawing/2014/main" id="{1812495A-FB98-6F81-28DE-65E685796449}"/>
                  </a:ext>
                </a:extLst>
              </p:cNvPr>
              <p:cNvSpPr/>
              <p:nvPr/>
            </p:nvSpPr>
            <p:spPr>
              <a:xfrm>
                <a:off x="5009037" y="6020589"/>
                <a:ext cx="82189" cy="126856"/>
              </a:xfrm>
              <a:custGeom>
                <a:avLst/>
                <a:gdLst>
                  <a:gd name="connsiteX0" fmla="*/ 0 w 82189"/>
                  <a:gd name="connsiteY0" fmla="*/ 57619 h 126856"/>
                  <a:gd name="connsiteX1" fmla="*/ 48614 w 82189"/>
                  <a:gd name="connsiteY1" fmla="*/ 7413 h 126856"/>
                  <a:gd name="connsiteX2" fmla="*/ 76275 w 82189"/>
                  <a:gd name="connsiteY2" fmla="*/ 3791 h 126856"/>
                  <a:gd name="connsiteX3" fmla="*/ 77793 w 82189"/>
                  <a:gd name="connsiteY3" fmla="*/ 32394 h 126856"/>
                  <a:gd name="connsiteX4" fmla="*/ 14895 w 82189"/>
                  <a:gd name="connsiteY4" fmla="*/ 126857 h 1268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2189" h="126856">
                    <a:moveTo>
                      <a:pt x="0" y="57619"/>
                    </a:moveTo>
                    <a:lnTo>
                      <a:pt x="48614" y="7413"/>
                    </a:lnTo>
                    <a:cubicBezTo>
                      <a:pt x="56582" y="-824"/>
                      <a:pt x="69030" y="-2439"/>
                      <a:pt x="76275" y="3791"/>
                    </a:cubicBezTo>
                    <a:cubicBezTo>
                      <a:pt x="83521" y="10033"/>
                      <a:pt x="84206" y="22908"/>
                      <a:pt x="77793" y="32394"/>
                    </a:cubicBezTo>
                    <a:lnTo>
                      <a:pt x="14895" y="126857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850" name="Gráfico 14">
              <a:extLst>
                <a:ext uri="{FF2B5EF4-FFF2-40B4-BE49-F238E27FC236}">
                  <a16:creationId xmlns:a16="http://schemas.microsoft.com/office/drawing/2014/main" id="{7FB0FD43-BE45-76D9-27E9-E6F1B2491FAD}"/>
                </a:ext>
              </a:extLst>
            </p:cNvPr>
            <p:cNvGrpSpPr/>
            <p:nvPr/>
          </p:nvGrpSpPr>
          <p:grpSpPr>
            <a:xfrm>
              <a:off x="5167462" y="5876847"/>
              <a:ext cx="120373" cy="207015"/>
              <a:chOff x="5167462" y="5876847"/>
              <a:chExt cx="120373" cy="207015"/>
            </a:xfrm>
            <a:noFill/>
          </p:grpSpPr>
          <p:sp>
            <p:nvSpPr>
              <p:cNvPr id="1851" name="Forma livre: Forma 1850">
                <a:extLst>
                  <a:ext uri="{FF2B5EF4-FFF2-40B4-BE49-F238E27FC236}">
                    <a16:creationId xmlns:a16="http://schemas.microsoft.com/office/drawing/2014/main" id="{EFE884DC-53E6-721D-69E5-6C9018958FA5}"/>
                  </a:ext>
                </a:extLst>
              </p:cNvPr>
              <p:cNvSpPr/>
              <p:nvPr/>
            </p:nvSpPr>
            <p:spPr>
              <a:xfrm>
                <a:off x="5167462" y="6066911"/>
                <a:ext cx="88184" cy="16951"/>
              </a:xfrm>
              <a:custGeom>
                <a:avLst/>
                <a:gdLst>
                  <a:gd name="connsiteX0" fmla="*/ 0 w 88184"/>
                  <a:gd name="connsiteY0" fmla="*/ 16951 h 16951"/>
                  <a:gd name="connsiteX1" fmla="*/ 64844 w 88184"/>
                  <a:gd name="connsiteY1" fmla="*/ 25 h 16951"/>
                  <a:gd name="connsiteX2" fmla="*/ 88184 w 88184"/>
                  <a:gd name="connsiteY2" fmla="*/ 0 h 169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8184" h="16951">
                    <a:moveTo>
                      <a:pt x="0" y="16951"/>
                    </a:moveTo>
                    <a:cubicBezTo>
                      <a:pt x="14822" y="-1004"/>
                      <a:pt x="31173" y="25"/>
                      <a:pt x="64844" y="25"/>
                    </a:cubicBezTo>
                    <a:lnTo>
                      <a:pt x="88184" y="0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852" name="Forma livre: Forma 1851">
                <a:extLst>
                  <a:ext uri="{FF2B5EF4-FFF2-40B4-BE49-F238E27FC236}">
                    <a16:creationId xmlns:a16="http://schemas.microsoft.com/office/drawing/2014/main" id="{9B9D1D90-62B4-6164-A180-C9509079E8EF}"/>
                  </a:ext>
                </a:extLst>
              </p:cNvPr>
              <p:cNvSpPr/>
              <p:nvPr/>
            </p:nvSpPr>
            <p:spPr>
              <a:xfrm>
                <a:off x="5167462" y="5876847"/>
                <a:ext cx="120373" cy="160444"/>
              </a:xfrm>
              <a:custGeom>
                <a:avLst/>
                <a:gdLst>
                  <a:gd name="connsiteX0" fmla="*/ 120373 w 120373"/>
                  <a:gd name="connsiteY0" fmla="*/ 160445 h 160444"/>
                  <a:gd name="connsiteX1" fmla="*/ 120373 w 120373"/>
                  <a:gd name="connsiteY1" fmla="*/ 0 h 160444"/>
                  <a:gd name="connsiteX2" fmla="*/ 64844 w 120373"/>
                  <a:gd name="connsiteY2" fmla="*/ 37 h 160444"/>
                  <a:gd name="connsiteX3" fmla="*/ 0 w 120373"/>
                  <a:gd name="connsiteY3" fmla="*/ 16976 h 1604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20373" h="160444">
                    <a:moveTo>
                      <a:pt x="120373" y="160445"/>
                    </a:moveTo>
                    <a:lnTo>
                      <a:pt x="120373" y="0"/>
                    </a:lnTo>
                    <a:lnTo>
                      <a:pt x="64844" y="37"/>
                    </a:lnTo>
                    <a:cubicBezTo>
                      <a:pt x="31173" y="37"/>
                      <a:pt x="14822" y="-991"/>
                      <a:pt x="0" y="16976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853" name="Forma livre: Forma 1852">
              <a:extLst>
                <a:ext uri="{FF2B5EF4-FFF2-40B4-BE49-F238E27FC236}">
                  <a16:creationId xmlns:a16="http://schemas.microsoft.com/office/drawing/2014/main" id="{DB494CEE-C00D-9262-7DC1-B79ADF82BD34}"/>
                </a:ext>
              </a:extLst>
            </p:cNvPr>
            <p:cNvSpPr/>
            <p:nvPr/>
          </p:nvSpPr>
          <p:spPr>
            <a:xfrm>
              <a:off x="5061103" y="6093654"/>
              <a:ext cx="212951" cy="14062"/>
            </a:xfrm>
            <a:custGeom>
              <a:avLst/>
              <a:gdLst>
                <a:gd name="connsiteX0" fmla="*/ 212951 w 212951"/>
                <a:gd name="connsiteY0" fmla="*/ 0 h 14062"/>
                <a:gd name="connsiteX1" fmla="*/ 133922 w 212951"/>
                <a:gd name="connsiteY1" fmla="*/ 0 h 14062"/>
                <a:gd name="connsiteX2" fmla="*/ 120508 w 212951"/>
                <a:gd name="connsiteY2" fmla="*/ 14063 h 14062"/>
                <a:gd name="connsiteX3" fmla="*/ 120288 w 212951"/>
                <a:gd name="connsiteY3" fmla="*/ 14063 h 14062"/>
                <a:gd name="connsiteX4" fmla="*/ 92664 w 212951"/>
                <a:gd name="connsiteY4" fmla="*/ 14063 h 14062"/>
                <a:gd name="connsiteX5" fmla="*/ 92443 w 212951"/>
                <a:gd name="connsiteY5" fmla="*/ 14063 h 14062"/>
                <a:gd name="connsiteX6" fmla="*/ 79029 w 212951"/>
                <a:gd name="connsiteY6" fmla="*/ 0 h 14062"/>
                <a:gd name="connsiteX7" fmla="*/ 0 w 212951"/>
                <a:gd name="connsiteY7" fmla="*/ 0 h 140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12951" h="14062">
                  <a:moveTo>
                    <a:pt x="212951" y="0"/>
                  </a:moveTo>
                  <a:lnTo>
                    <a:pt x="133922" y="0"/>
                  </a:lnTo>
                  <a:cubicBezTo>
                    <a:pt x="133922" y="0"/>
                    <a:pt x="127937" y="14063"/>
                    <a:pt x="120508" y="14063"/>
                  </a:cubicBezTo>
                  <a:cubicBezTo>
                    <a:pt x="120263" y="14063"/>
                    <a:pt x="120226" y="14063"/>
                    <a:pt x="120288" y="14063"/>
                  </a:cubicBezTo>
                  <a:lnTo>
                    <a:pt x="92664" y="14063"/>
                  </a:lnTo>
                  <a:cubicBezTo>
                    <a:pt x="92664" y="14063"/>
                    <a:pt x="92676" y="14063"/>
                    <a:pt x="92443" y="14063"/>
                  </a:cubicBezTo>
                  <a:cubicBezTo>
                    <a:pt x="85014" y="14063"/>
                    <a:pt x="79029" y="0"/>
                    <a:pt x="79029" y="0"/>
                  </a:cubicBezTo>
                  <a:lnTo>
                    <a:pt x="0" y="0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54" name="Forma livre: Forma 1853">
              <a:extLst>
                <a:ext uri="{FF2B5EF4-FFF2-40B4-BE49-F238E27FC236}">
                  <a16:creationId xmlns:a16="http://schemas.microsoft.com/office/drawing/2014/main" id="{B384FB41-903C-4585-B089-09E3D5C20FB9}"/>
                </a:ext>
              </a:extLst>
            </p:cNvPr>
            <p:cNvSpPr/>
            <p:nvPr/>
          </p:nvSpPr>
          <p:spPr>
            <a:xfrm>
              <a:off x="5314688" y="5906870"/>
              <a:ext cx="1223" cy="157605"/>
            </a:xfrm>
            <a:custGeom>
              <a:avLst/>
              <a:gdLst>
                <a:gd name="connsiteX0" fmla="*/ 0 w 1223"/>
                <a:gd name="connsiteY0" fmla="*/ 0 h 157605"/>
                <a:gd name="connsiteX1" fmla="*/ 0 w 1223"/>
                <a:gd name="connsiteY1" fmla="*/ 157605 h 1576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23" h="157605">
                  <a:moveTo>
                    <a:pt x="0" y="0"/>
                  </a:moveTo>
                  <a:lnTo>
                    <a:pt x="0" y="157605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855" name="Gráfico 14">
              <a:extLst>
                <a:ext uri="{FF2B5EF4-FFF2-40B4-BE49-F238E27FC236}">
                  <a16:creationId xmlns:a16="http://schemas.microsoft.com/office/drawing/2014/main" id="{3ADC80CA-70F0-452B-C977-77D77BC5A4C8}"/>
                </a:ext>
              </a:extLst>
            </p:cNvPr>
            <p:cNvGrpSpPr/>
            <p:nvPr/>
          </p:nvGrpSpPr>
          <p:grpSpPr>
            <a:xfrm>
              <a:off x="5243918" y="6001725"/>
              <a:ext cx="122739" cy="145720"/>
              <a:chOff x="5243918" y="6001725"/>
              <a:chExt cx="122739" cy="145720"/>
            </a:xfrm>
            <a:noFill/>
          </p:grpSpPr>
          <p:sp>
            <p:nvSpPr>
              <p:cNvPr id="1856" name="Forma livre: Forma 1855">
                <a:extLst>
                  <a:ext uri="{FF2B5EF4-FFF2-40B4-BE49-F238E27FC236}">
                    <a16:creationId xmlns:a16="http://schemas.microsoft.com/office/drawing/2014/main" id="{07B29D1B-56FD-5505-9EAA-C23C5238B459}"/>
                  </a:ext>
                </a:extLst>
              </p:cNvPr>
              <p:cNvSpPr/>
              <p:nvPr/>
            </p:nvSpPr>
            <p:spPr>
              <a:xfrm>
                <a:off x="5315019" y="6001725"/>
                <a:ext cx="51638" cy="145720"/>
              </a:xfrm>
              <a:custGeom>
                <a:avLst/>
                <a:gdLst>
                  <a:gd name="connsiteX0" fmla="*/ 0 w 51638"/>
                  <a:gd name="connsiteY0" fmla="*/ 0 h 145720"/>
                  <a:gd name="connsiteX1" fmla="*/ 51332 w 51638"/>
                  <a:gd name="connsiteY1" fmla="*/ 45138 h 145720"/>
                  <a:gd name="connsiteX2" fmla="*/ 49043 w 51638"/>
                  <a:gd name="connsiteY2" fmla="*/ 145721 h 1457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51638" h="145720">
                    <a:moveTo>
                      <a:pt x="0" y="0"/>
                    </a:moveTo>
                    <a:cubicBezTo>
                      <a:pt x="0" y="0"/>
                      <a:pt x="49949" y="37109"/>
                      <a:pt x="51332" y="45138"/>
                    </a:cubicBezTo>
                    <a:cubicBezTo>
                      <a:pt x="52702" y="53155"/>
                      <a:pt x="49043" y="145721"/>
                      <a:pt x="49043" y="145721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857" name="Forma livre: Forma 1856">
                <a:extLst>
                  <a:ext uri="{FF2B5EF4-FFF2-40B4-BE49-F238E27FC236}">
                    <a16:creationId xmlns:a16="http://schemas.microsoft.com/office/drawing/2014/main" id="{C11765FF-06B8-1F86-2F71-4A71C0B8A9DA}"/>
                  </a:ext>
                </a:extLst>
              </p:cNvPr>
              <p:cNvSpPr/>
              <p:nvPr/>
            </p:nvSpPr>
            <p:spPr>
              <a:xfrm>
                <a:off x="5243918" y="6020589"/>
                <a:ext cx="82189" cy="126856"/>
              </a:xfrm>
              <a:custGeom>
                <a:avLst/>
                <a:gdLst>
                  <a:gd name="connsiteX0" fmla="*/ 82189 w 82189"/>
                  <a:gd name="connsiteY0" fmla="*/ 57619 h 126856"/>
                  <a:gd name="connsiteX1" fmla="*/ 33575 w 82189"/>
                  <a:gd name="connsiteY1" fmla="*/ 7413 h 126856"/>
                  <a:gd name="connsiteX2" fmla="*/ 5914 w 82189"/>
                  <a:gd name="connsiteY2" fmla="*/ 3791 h 126856"/>
                  <a:gd name="connsiteX3" fmla="*/ 4397 w 82189"/>
                  <a:gd name="connsiteY3" fmla="*/ 32394 h 126856"/>
                  <a:gd name="connsiteX4" fmla="*/ 67294 w 82189"/>
                  <a:gd name="connsiteY4" fmla="*/ 126857 h 1268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2189" h="126856">
                    <a:moveTo>
                      <a:pt x="82189" y="57619"/>
                    </a:moveTo>
                    <a:lnTo>
                      <a:pt x="33575" y="7413"/>
                    </a:lnTo>
                    <a:cubicBezTo>
                      <a:pt x="25607" y="-824"/>
                      <a:pt x="13160" y="-2439"/>
                      <a:pt x="5914" y="3791"/>
                    </a:cubicBezTo>
                    <a:cubicBezTo>
                      <a:pt x="-1331" y="10033"/>
                      <a:pt x="-2017" y="22908"/>
                      <a:pt x="4397" y="32394"/>
                    </a:cubicBezTo>
                    <a:lnTo>
                      <a:pt x="67294" y="126857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858" name="Gráfico 14">
            <a:extLst>
              <a:ext uri="{FF2B5EF4-FFF2-40B4-BE49-F238E27FC236}">
                <a16:creationId xmlns:a16="http://schemas.microsoft.com/office/drawing/2014/main" id="{9DA1A9C9-6FBD-A93B-C7BF-1E3C475C5EFE}"/>
              </a:ext>
            </a:extLst>
          </p:cNvPr>
          <p:cNvGrpSpPr/>
          <p:nvPr/>
        </p:nvGrpSpPr>
        <p:grpSpPr>
          <a:xfrm>
            <a:off x="4968182" y="4279245"/>
            <a:ext cx="398792" cy="177600"/>
            <a:chOff x="4968182" y="4279245"/>
            <a:chExt cx="398792" cy="177600"/>
          </a:xfrm>
          <a:noFill/>
        </p:grpSpPr>
        <p:grpSp>
          <p:nvGrpSpPr>
            <p:cNvPr id="1859" name="Gráfico 14">
              <a:extLst>
                <a:ext uri="{FF2B5EF4-FFF2-40B4-BE49-F238E27FC236}">
                  <a16:creationId xmlns:a16="http://schemas.microsoft.com/office/drawing/2014/main" id="{BE48F918-1399-AC59-4D0B-77853107D783}"/>
                </a:ext>
              </a:extLst>
            </p:cNvPr>
            <p:cNvGrpSpPr/>
            <p:nvPr/>
          </p:nvGrpSpPr>
          <p:grpSpPr>
            <a:xfrm>
              <a:off x="4985782" y="4371263"/>
              <a:ext cx="363567" cy="61899"/>
              <a:chOff x="4985782" y="4371263"/>
              <a:chExt cx="363567" cy="61899"/>
            </a:xfrm>
            <a:noFill/>
          </p:grpSpPr>
          <p:sp>
            <p:nvSpPr>
              <p:cNvPr id="1860" name="Forma livre: Forma 1859">
                <a:extLst>
                  <a:ext uri="{FF2B5EF4-FFF2-40B4-BE49-F238E27FC236}">
                    <a16:creationId xmlns:a16="http://schemas.microsoft.com/office/drawing/2014/main" id="{9CAB0392-E15D-6289-96FE-5C7BA1BA63E2}"/>
                  </a:ext>
                </a:extLst>
              </p:cNvPr>
              <p:cNvSpPr/>
              <p:nvPr/>
            </p:nvSpPr>
            <p:spPr>
              <a:xfrm>
                <a:off x="5167572" y="4371263"/>
                <a:ext cx="181777" cy="61899"/>
              </a:xfrm>
              <a:custGeom>
                <a:avLst/>
                <a:gdLst>
                  <a:gd name="connsiteX0" fmla="*/ 0 w 181777"/>
                  <a:gd name="connsiteY0" fmla="*/ 53700 h 61899"/>
                  <a:gd name="connsiteX1" fmla="*/ 24785 w 181777"/>
                  <a:gd name="connsiteY1" fmla="*/ 10005 h 61899"/>
                  <a:gd name="connsiteX2" fmla="*/ 66949 w 181777"/>
                  <a:gd name="connsiteY2" fmla="*/ 30 h 61899"/>
                  <a:gd name="connsiteX3" fmla="*/ 121964 w 181777"/>
                  <a:gd name="connsiteY3" fmla="*/ 11119 h 61899"/>
                  <a:gd name="connsiteX4" fmla="*/ 181778 w 181777"/>
                  <a:gd name="connsiteY4" fmla="*/ 13836 h 61899"/>
                  <a:gd name="connsiteX5" fmla="*/ 178840 w 181777"/>
                  <a:gd name="connsiteY5" fmla="*/ 61900 h 618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81777" h="61899">
                    <a:moveTo>
                      <a:pt x="0" y="53700"/>
                    </a:moveTo>
                    <a:cubicBezTo>
                      <a:pt x="7038" y="31975"/>
                      <a:pt x="18726" y="13775"/>
                      <a:pt x="24785" y="10005"/>
                    </a:cubicBezTo>
                    <a:cubicBezTo>
                      <a:pt x="33658" y="4498"/>
                      <a:pt x="47856" y="-435"/>
                      <a:pt x="66949" y="30"/>
                    </a:cubicBezTo>
                    <a:cubicBezTo>
                      <a:pt x="84573" y="459"/>
                      <a:pt x="89469" y="9026"/>
                      <a:pt x="121964" y="11119"/>
                    </a:cubicBezTo>
                    <a:cubicBezTo>
                      <a:pt x="153652" y="13151"/>
                      <a:pt x="181778" y="13836"/>
                      <a:pt x="181778" y="13836"/>
                    </a:cubicBezTo>
                    <a:lnTo>
                      <a:pt x="178840" y="61900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861" name="Forma livre: Forma 1860">
                <a:extLst>
                  <a:ext uri="{FF2B5EF4-FFF2-40B4-BE49-F238E27FC236}">
                    <a16:creationId xmlns:a16="http://schemas.microsoft.com/office/drawing/2014/main" id="{82573B04-28CA-E520-BAB2-6F589807717B}"/>
                  </a:ext>
                </a:extLst>
              </p:cNvPr>
              <p:cNvSpPr/>
              <p:nvPr/>
            </p:nvSpPr>
            <p:spPr>
              <a:xfrm>
                <a:off x="4985782" y="4371263"/>
                <a:ext cx="181790" cy="61899"/>
              </a:xfrm>
              <a:custGeom>
                <a:avLst/>
                <a:gdLst>
                  <a:gd name="connsiteX0" fmla="*/ 181790 w 181790"/>
                  <a:gd name="connsiteY0" fmla="*/ 53700 h 61899"/>
                  <a:gd name="connsiteX1" fmla="*/ 157006 w 181790"/>
                  <a:gd name="connsiteY1" fmla="*/ 10005 h 61899"/>
                  <a:gd name="connsiteX2" fmla="*/ 114841 w 181790"/>
                  <a:gd name="connsiteY2" fmla="*/ 30 h 61899"/>
                  <a:gd name="connsiteX3" fmla="*/ 59826 w 181790"/>
                  <a:gd name="connsiteY3" fmla="*/ 11119 h 61899"/>
                  <a:gd name="connsiteX4" fmla="*/ 0 w 181790"/>
                  <a:gd name="connsiteY4" fmla="*/ 13836 h 61899"/>
                  <a:gd name="connsiteX5" fmla="*/ 2937 w 181790"/>
                  <a:gd name="connsiteY5" fmla="*/ 61900 h 618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81790" h="61899">
                    <a:moveTo>
                      <a:pt x="181790" y="53700"/>
                    </a:moveTo>
                    <a:cubicBezTo>
                      <a:pt x="174753" y="31975"/>
                      <a:pt x="163064" y="13775"/>
                      <a:pt x="157006" y="10005"/>
                    </a:cubicBezTo>
                    <a:cubicBezTo>
                      <a:pt x="148132" y="4498"/>
                      <a:pt x="133935" y="-435"/>
                      <a:pt x="114841" y="30"/>
                    </a:cubicBezTo>
                    <a:cubicBezTo>
                      <a:pt x="97217" y="459"/>
                      <a:pt x="92321" y="9026"/>
                      <a:pt x="59826" y="11119"/>
                    </a:cubicBezTo>
                    <a:cubicBezTo>
                      <a:pt x="28138" y="13151"/>
                      <a:pt x="0" y="13836"/>
                      <a:pt x="0" y="13836"/>
                    </a:cubicBezTo>
                    <a:lnTo>
                      <a:pt x="2937" y="61900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862" name="Gráfico 14">
              <a:extLst>
                <a:ext uri="{FF2B5EF4-FFF2-40B4-BE49-F238E27FC236}">
                  <a16:creationId xmlns:a16="http://schemas.microsoft.com/office/drawing/2014/main" id="{6A1B4B1C-1EA9-B3B4-78D3-1C529B93E595}"/>
                </a:ext>
              </a:extLst>
            </p:cNvPr>
            <p:cNvGrpSpPr/>
            <p:nvPr/>
          </p:nvGrpSpPr>
          <p:grpSpPr>
            <a:xfrm>
              <a:off x="5003688" y="4332480"/>
              <a:ext cx="327768" cy="88811"/>
              <a:chOff x="5003688" y="4332480"/>
              <a:chExt cx="327768" cy="88811"/>
            </a:xfrm>
            <a:noFill/>
          </p:grpSpPr>
          <p:sp>
            <p:nvSpPr>
              <p:cNvPr id="1863" name="Forma livre: Forma 1862">
                <a:extLst>
                  <a:ext uri="{FF2B5EF4-FFF2-40B4-BE49-F238E27FC236}">
                    <a16:creationId xmlns:a16="http://schemas.microsoft.com/office/drawing/2014/main" id="{C582CE6E-2959-1C15-D52F-D63F4E4CFF5B}"/>
                  </a:ext>
                </a:extLst>
              </p:cNvPr>
              <p:cNvSpPr/>
              <p:nvPr/>
            </p:nvSpPr>
            <p:spPr>
              <a:xfrm>
                <a:off x="5167572" y="4332480"/>
                <a:ext cx="163884" cy="88811"/>
              </a:xfrm>
              <a:custGeom>
                <a:avLst/>
                <a:gdLst>
                  <a:gd name="connsiteX0" fmla="*/ 0 w 163884"/>
                  <a:gd name="connsiteY0" fmla="*/ 88811 h 88811"/>
                  <a:gd name="connsiteX1" fmla="*/ 41614 w 163884"/>
                  <a:gd name="connsiteY1" fmla="*/ 16477 h 88811"/>
                  <a:gd name="connsiteX2" fmla="*/ 163884 w 163884"/>
                  <a:gd name="connsiteY2" fmla="*/ 11826 h 88811"/>
                  <a:gd name="connsiteX3" fmla="*/ 154533 w 163884"/>
                  <a:gd name="connsiteY3" fmla="*/ 32743 h 888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63884" h="88811">
                    <a:moveTo>
                      <a:pt x="0" y="88811"/>
                    </a:moveTo>
                    <a:cubicBezTo>
                      <a:pt x="6120" y="53929"/>
                      <a:pt x="27220" y="25693"/>
                      <a:pt x="41614" y="16477"/>
                    </a:cubicBezTo>
                    <a:cubicBezTo>
                      <a:pt x="87511" y="-12897"/>
                      <a:pt x="142465" y="4483"/>
                      <a:pt x="163884" y="11826"/>
                    </a:cubicBezTo>
                    <a:lnTo>
                      <a:pt x="154533" y="32743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864" name="Forma livre: Forma 1863">
                <a:extLst>
                  <a:ext uri="{FF2B5EF4-FFF2-40B4-BE49-F238E27FC236}">
                    <a16:creationId xmlns:a16="http://schemas.microsoft.com/office/drawing/2014/main" id="{43B281B9-A2D5-99C4-F2D7-D352965B19BD}"/>
                  </a:ext>
                </a:extLst>
              </p:cNvPr>
              <p:cNvSpPr/>
              <p:nvPr/>
            </p:nvSpPr>
            <p:spPr>
              <a:xfrm>
                <a:off x="5003688" y="4332480"/>
                <a:ext cx="163884" cy="88811"/>
              </a:xfrm>
              <a:custGeom>
                <a:avLst/>
                <a:gdLst>
                  <a:gd name="connsiteX0" fmla="*/ 163884 w 163884"/>
                  <a:gd name="connsiteY0" fmla="*/ 88811 h 88811"/>
                  <a:gd name="connsiteX1" fmla="*/ 122270 w 163884"/>
                  <a:gd name="connsiteY1" fmla="*/ 16477 h 88811"/>
                  <a:gd name="connsiteX2" fmla="*/ 0 w 163884"/>
                  <a:gd name="connsiteY2" fmla="*/ 11826 h 88811"/>
                  <a:gd name="connsiteX3" fmla="*/ 9351 w 163884"/>
                  <a:gd name="connsiteY3" fmla="*/ 32743 h 888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63884" h="88811">
                    <a:moveTo>
                      <a:pt x="163884" y="88811"/>
                    </a:moveTo>
                    <a:cubicBezTo>
                      <a:pt x="157764" y="53929"/>
                      <a:pt x="136664" y="25693"/>
                      <a:pt x="122270" y="16477"/>
                    </a:cubicBezTo>
                    <a:cubicBezTo>
                      <a:pt x="76373" y="-12897"/>
                      <a:pt x="21419" y="4483"/>
                      <a:pt x="0" y="11826"/>
                    </a:cubicBezTo>
                    <a:lnTo>
                      <a:pt x="9351" y="32743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865" name="Gráfico 14">
              <a:extLst>
                <a:ext uri="{FF2B5EF4-FFF2-40B4-BE49-F238E27FC236}">
                  <a16:creationId xmlns:a16="http://schemas.microsoft.com/office/drawing/2014/main" id="{AE098CD6-E380-FDB4-3C0C-92CF992E668F}"/>
                </a:ext>
              </a:extLst>
            </p:cNvPr>
            <p:cNvGrpSpPr/>
            <p:nvPr/>
          </p:nvGrpSpPr>
          <p:grpSpPr>
            <a:xfrm>
              <a:off x="5020224" y="4279245"/>
              <a:ext cx="294697" cy="134701"/>
              <a:chOff x="5020224" y="4279245"/>
              <a:chExt cx="294697" cy="134701"/>
            </a:xfrm>
            <a:noFill/>
          </p:grpSpPr>
          <p:sp>
            <p:nvSpPr>
              <p:cNvPr id="1866" name="Forma livre: Forma 1865">
                <a:extLst>
                  <a:ext uri="{FF2B5EF4-FFF2-40B4-BE49-F238E27FC236}">
                    <a16:creationId xmlns:a16="http://schemas.microsoft.com/office/drawing/2014/main" id="{3581593E-75CF-9C40-F7A7-C666D9C039A7}"/>
                  </a:ext>
                </a:extLst>
              </p:cNvPr>
              <p:cNvSpPr/>
              <p:nvPr/>
            </p:nvSpPr>
            <p:spPr>
              <a:xfrm>
                <a:off x="5167572" y="4279245"/>
                <a:ext cx="147348" cy="134701"/>
              </a:xfrm>
              <a:custGeom>
                <a:avLst/>
                <a:gdLst>
                  <a:gd name="connsiteX0" fmla="*/ 0 w 147348"/>
                  <a:gd name="connsiteY0" fmla="*/ 134702 h 134701"/>
                  <a:gd name="connsiteX1" fmla="*/ 42226 w 147348"/>
                  <a:gd name="connsiteY1" fmla="*/ 20265 h 134701"/>
                  <a:gd name="connsiteX2" fmla="*/ 147349 w 147348"/>
                  <a:gd name="connsiteY2" fmla="*/ 927 h 134701"/>
                  <a:gd name="connsiteX3" fmla="*/ 131878 w 147348"/>
                  <a:gd name="connsiteY3" fmla="*/ 33140 h 1347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47348" h="134701">
                    <a:moveTo>
                      <a:pt x="0" y="134702"/>
                    </a:moveTo>
                    <a:cubicBezTo>
                      <a:pt x="0" y="64326"/>
                      <a:pt x="28212" y="30044"/>
                      <a:pt x="42226" y="20265"/>
                    </a:cubicBezTo>
                    <a:cubicBezTo>
                      <a:pt x="68540" y="1906"/>
                      <a:pt x="103287" y="-2133"/>
                      <a:pt x="147349" y="927"/>
                    </a:cubicBezTo>
                    <a:lnTo>
                      <a:pt x="131878" y="3314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867" name="Forma livre: Forma 1866">
                <a:extLst>
                  <a:ext uri="{FF2B5EF4-FFF2-40B4-BE49-F238E27FC236}">
                    <a16:creationId xmlns:a16="http://schemas.microsoft.com/office/drawing/2014/main" id="{7AD78BE3-8945-B90F-510E-0156FCA02CF8}"/>
                  </a:ext>
                </a:extLst>
              </p:cNvPr>
              <p:cNvSpPr/>
              <p:nvPr/>
            </p:nvSpPr>
            <p:spPr>
              <a:xfrm>
                <a:off x="5020224" y="4279245"/>
                <a:ext cx="147348" cy="134701"/>
              </a:xfrm>
              <a:custGeom>
                <a:avLst/>
                <a:gdLst>
                  <a:gd name="connsiteX0" fmla="*/ 147349 w 147348"/>
                  <a:gd name="connsiteY0" fmla="*/ 134702 h 134701"/>
                  <a:gd name="connsiteX1" fmla="*/ 105123 w 147348"/>
                  <a:gd name="connsiteY1" fmla="*/ 20265 h 134701"/>
                  <a:gd name="connsiteX2" fmla="*/ 0 w 147348"/>
                  <a:gd name="connsiteY2" fmla="*/ 927 h 134701"/>
                  <a:gd name="connsiteX3" fmla="*/ 15470 w 147348"/>
                  <a:gd name="connsiteY3" fmla="*/ 33140 h 1347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47348" h="134701">
                    <a:moveTo>
                      <a:pt x="147349" y="134702"/>
                    </a:moveTo>
                    <a:cubicBezTo>
                      <a:pt x="147349" y="64326"/>
                      <a:pt x="119137" y="30044"/>
                      <a:pt x="105123" y="20265"/>
                    </a:cubicBezTo>
                    <a:cubicBezTo>
                      <a:pt x="78809" y="1906"/>
                      <a:pt x="44061" y="-2133"/>
                      <a:pt x="0" y="927"/>
                    </a:cubicBezTo>
                    <a:lnTo>
                      <a:pt x="15470" y="3314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868" name="Forma livre: Forma 1867">
              <a:extLst>
                <a:ext uri="{FF2B5EF4-FFF2-40B4-BE49-F238E27FC236}">
                  <a16:creationId xmlns:a16="http://schemas.microsoft.com/office/drawing/2014/main" id="{28B4A4D7-DD65-516A-4182-CB6432A6D710}"/>
                </a:ext>
              </a:extLst>
            </p:cNvPr>
            <p:cNvSpPr/>
            <p:nvPr/>
          </p:nvSpPr>
          <p:spPr>
            <a:xfrm>
              <a:off x="4968182" y="4426052"/>
              <a:ext cx="398792" cy="30794"/>
            </a:xfrm>
            <a:custGeom>
              <a:avLst/>
              <a:gdLst>
                <a:gd name="connsiteX0" fmla="*/ 398793 w 398792"/>
                <a:gd name="connsiteY0" fmla="*/ 10452 h 30794"/>
                <a:gd name="connsiteX1" fmla="*/ 254859 w 398792"/>
                <a:gd name="connsiteY1" fmla="*/ 0 h 30794"/>
                <a:gd name="connsiteX2" fmla="*/ 236010 w 398792"/>
                <a:gd name="connsiteY2" fmla="*/ 13463 h 30794"/>
                <a:gd name="connsiteX3" fmla="*/ 225350 w 398792"/>
                <a:gd name="connsiteY3" fmla="*/ 30794 h 30794"/>
                <a:gd name="connsiteX4" fmla="*/ 173443 w 398792"/>
                <a:gd name="connsiteY4" fmla="*/ 30794 h 30794"/>
                <a:gd name="connsiteX5" fmla="*/ 162782 w 398792"/>
                <a:gd name="connsiteY5" fmla="*/ 13463 h 30794"/>
                <a:gd name="connsiteX6" fmla="*/ 143934 w 398792"/>
                <a:gd name="connsiteY6" fmla="*/ 0 h 30794"/>
                <a:gd name="connsiteX7" fmla="*/ 0 w 398792"/>
                <a:gd name="connsiteY7" fmla="*/ 10452 h 307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8792" h="30794">
                  <a:moveTo>
                    <a:pt x="398793" y="10452"/>
                  </a:moveTo>
                  <a:cubicBezTo>
                    <a:pt x="398793" y="10452"/>
                    <a:pt x="262631" y="0"/>
                    <a:pt x="254859" y="0"/>
                  </a:cubicBezTo>
                  <a:cubicBezTo>
                    <a:pt x="247087" y="0"/>
                    <a:pt x="240502" y="820"/>
                    <a:pt x="236010" y="13463"/>
                  </a:cubicBezTo>
                  <a:cubicBezTo>
                    <a:pt x="231518" y="26119"/>
                    <a:pt x="234505" y="30794"/>
                    <a:pt x="225350" y="30794"/>
                  </a:cubicBezTo>
                  <a:lnTo>
                    <a:pt x="173443" y="30794"/>
                  </a:lnTo>
                  <a:cubicBezTo>
                    <a:pt x="164276" y="30794"/>
                    <a:pt x="167274" y="26119"/>
                    <a:pt x="162782" y="13463"/>
                  </a:cubicBezTo>
                  <a:cubicBezTo>
                    <a:pt x="158291" y="820"/>
                    <a:pt x="151706" y="0"/>
                    <a:pt x="143934" y="0"/>
                  </a:cubicBezTo>
                  <a:cubicBezTo>
                    <a:pt x="136162" y="0"/>
                    <a:pt x="0" y="10452"/>
                    <a:pt x="0" y="10452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870" name="Gráfico 17">
            <a:extLst>
              <a:ext uri="{FF2B5EF4-FFF2-40B4-BE49-F238E27FC236}">
                <a16:creationId xmlns:a16="http://schemas.microsoft.com/office/drawing/2014/main" id="{94BF8929-89D8-3429-485B-89C93AD27075}"/>
              </a:ext>
            </a:extLst>
          </p:cNvPr>
          <p:cNvGrpSpPr/>
          <p:nvPr/>
        </p:nvGrpSpPr>
        <p:grpSpPr>
          <a:xfrm>
            <a:off x="6259663" y="4769045"/>
            <a:ext cx="355713" cy="259422"/>
            <a:chOff x="6259663" y="4769045"/>
            <a:chExt cx="355713" cy="259422"/>
          </a:xfrm>
          <a:noFill/>
        </p:grpSpPr>
        <p:grpSp>
          <p:nvGrpSpPr>
            <p:cNvPr id="1871" name="Gráfico 17">
              <a:extLst>
                <a:ext uri="{FF2B5EF4-FFF2-40B4-BE49-F238E27FC236}">
                  <a16:creationId xmlns:a16="http://schemas.microsoft.com/office/drawing/2014/main" id="{383ABC22-CF26-380A-ACF0-3DB0FE984F75}"/>
                </a:ext>
              </a:extLst>
            </p:cNvPr>
            <p:cNvGrpSpPr/>
            <p:nvPr/>
          </p:nvGrpSpPr>
          <p:grpSpPr>
            <a:xfrm>
              <a:off x="6259663" y="4769045"/>
              <a:ext cx="329769" cy="259422"/>
              <a:chOff x="6259663" y="4769045"/>
              <a:chExt cx="329769" cy="259422"/>
            </a:xfrm>
            <a:noFill/>
          </p:grpSpPr>
          <p:grpSp>
            <p:nvGrpSpPr>
              <p:cNvPr id="1872" name="Gráfico 17">
                <a:extLst>
                  <a:ext uri="{FF2B5EF4-FFF2-40B4-BE49-F238E27FC236}">
                    <a16:creationId xmlns:a16="http://schemas.microsoft.com/office/drawing/2014/main" id="{457C9F3C-79C3-7A5B-ABA1-B62B6F0676E2}"/>
                  </a:ext>
                </a:extLst>
              </p:cNvPr>
              <p:cNvGrpSpPr/>
              <p:nvPr/>
            </p:nvGrpSpPr>
            <p:grpSpPr>
              <a:xfrm>
                <a:off x="6286817" y="4769045"/>
                <a:ext cx="275472" cy="236853"/>
                <a:chOff x="6286817" y="4769045"/>
                <a:chExt cx="275472" cy="236853"/>
              </a:xfrm>
              <a:noFill/>
            </p:grpSpPr>
            <p:sp>
              <p:nvSpPr>
                <p:cNvPr id="1873" name="Forma livre: Forma 1872">
                  <a:extLst>
                    <a:ext uri="{FF2B5EF4-FFF2-40B4-BE49-F238E27FC236}">
                      <a16:creationId xmlns:a16="http://schemas.microsoft.com/office/drawing/2014/main" id="{30DB2960-161E-5F98-B2C1-BA6B115FFB60}"/>
                    </a:ext>
                  </a:extLst>
                </p:cNvPr>
                <p:cNvSpPr/>
                <p:nvPr/>
              </p:nvSpPr>
              <p:spPr>
                <a:xfrm>
                  <a:off x="6424560" y="4769045"/>
                  <a:ext cx="137730" cy="236853"/>
                </a:xfrm>
                <a:custGeom>
                  <a:avLst/>
                  <a:gdLst>
                    <a:gd name="connsiteX0" fmla="*/ 126267 w 137730"/>
                    <a:gd name="connsiteY0" fmla="*/ 12 h 236853"/>
                    <a:gd name="connsiteX1" fmla="*/ 74191 w 137730"/>
                    <a:gd name="connsiteY1" fmla="*/ 12 h 236853"/>
                    <a:gd name="connsiteX2" fmla="*/ 0 w 137730"/>
                    <a:gd name="connsiteY2" fmla="*/ 19416 h 236853"/>
                    <a:gd name="connsiteX3" fmla="*/ 0 w 137730"/>
                    <a:gd name="connsiteY3" fmla="*/ 236854 h 236853"/>
                    <a:gd name="connsiteX4" fmla="*/ 74191 w 137730"/>
                    <a:gd name="connsiteY4" fmla="*/ 217461 h 236853"/>
                    <a:gd name="connsiteX5" fmla="*/ 137730 w 137730"/>
                    <a:gd name="connsiteY5" fmla="*/ 217461 h 236853"/>
                    <a:gd name="connsiteX6" fmla="*/ 137730 w 137730"/>
                    <a:gd name="connsiteY6" fmla="*/ 131102 h 23685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37730" h="236853">
                      <a:moveTo>
                        <a:pt x="126267" y="12"/>
                      </a:moveTo>
                      <a:lnTo>
                        <a:pt x="74191" y="12"/>
                      </a:lnTo>
                      <a:cubicBezTo>
                        <a:pt x="35657" y="12"/>
                        <a:pt x="16957" y="-1135"/>
                        <a:pt x="0" y="19416"/>
                      </a:cubicBezTo>
                      <a:lnTo>
                        <a:pt x="0" y="236854"/>
                      </a:lnTo>
                      <a:cubicBezTo>
                        <a:pt x="16957" y="216315"/>
                        <a:pt x="35668" y="217461"/>
                        <a:pt x="74191" y="217461"/>
                      </a:cubicBezTo>
                      <a:lnTo>
                        <a:pt x="137730" y="217461"/>
                      </a:lnTo>
                      <a:lnTo>
                        <a:pt x="137730" y="131102"/>
                      </a:ln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874" name="Forma livre: Forma 1873">
                  <a:extLst>
                    <a:ext uri="{FF2B5EF4-FFF2-40B4-BE49-F238E27FC236}">
                      <a16:creationId xmlns:a16="http://schemas.microsoft.com/office/drawing/2014/main" id="{A6F186C2-CB85-B2F9-48DA-E60B5A307C49}"/>
                    </a:ext>
                  </a:extLst>
                </p:cNvPr>
                <p:cNvSpPr/>
                <p:nvPr/>
              </p:nvSpPr>
              <p:spPr>
                <a:xfrm>
                  <a:off x="6286817" y="4769045"/>
                  <a:ext cx="137742" cy="236853"/>
                </a:xfrm>
                <a:custGeom>
                  <a:avLst/>
                  <a:gdLst>
                    <a:gd name="connsiteX0" fmla="*/ 137742 w 137742"/>
                    <a:gd name="connsiteY0" fmla="*/ 236854 h 236853"/>
                    <a:gd name="connsiteX1" fmla="*/ 63539 w 137742"/>
                    <a:gd name="connsiteY1" fmla="*/ 217461 h 236853"/>
                    <a:gd name="connsiteX2" fmla="*/ 0 w 137742"/>
                    <a:gd name="connsiteY2" fmla="*/ 217461 h 236853"/>
                    <a:gd name="connsiteX3" fmla="*/ 0 w 137742"/>
                    <a:gd name="connsiteY3" fmla="*/ 12 h 236853"/>
                    <a:gd name="connsiteX4" fmla="*/ 63527 w 137742"/>
                    <a:gd name="connsiteY4" fmla="*/ 12 h 236853"/>
                    <a:gd name="connsiteX5" fmla="*/ 137730 w 137742"/>
                    <a:gd name="connsiteY5" fmla="*/ 19416 h 23685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137742" h="236853">
                      <a:moveTo>
                        <a:pt x="137742" y="236854"/>
                      </a:moveTo>
                      <a:cubicBezTo>
                        <a:pt x="120786" y="216315"/>
                        <a:pt x="102074" y="217461"/>
                        <a:pt x="63539" y="217461"/>
                      </a:cubicBezTo>
                      <a:lnTo>
                        <a:pt x="0" y="217461"/>
                      </a:lnTo>
                      <a:lnTo>
                        <a:pt x="0" y="12"/>
                      </a:lnTo>
                      <a:lnTo>
                        <a:pt x="63527" y="12"/>
                      </a:lnTo>
                      <a:cubicBezTo>
                        <a:pt x="102062" y="12"/>
                        <a:pt x="120774" y="-1135"/>
                        <a:pt x="137730" y="19416"/>
                      </a:cubicBez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1875" name="Forma livre: Forma 1874">
                <a:extLst>
                  <a:ext uri="{FF2B5EF4-FFF2-40B4-BE49-F238E27FC236}">
                    <a16:creationId xmlns:a16="http://schemas.microsoft.com/office/drawing/2014/main" id="{78D1474D-5FD5-0B52-F85B-9347E2670711}"/>
                  </a:ext>
                </a:extLst>
              </p:cNvPr>
              <p:cNvSpPr/>
              <p:nvPr/>
            </p:nvSpPr>
            <p:spPr>
              <a:xfrm>
                <a:off x="6259663" y="4803531"/>
                <a:ext cx="329769" cy="224937"/>
              </a:xfrm>
              <a:custGeom>
                <a:avLst/>
                <a:gdLst>
                  <a:gd name="connsiteX0" fmla="*/ 0 w 329769"/>
                  <a:gd name="connsiteY0" fmla="*/ 0 h 224937"/>
                  <a:gd name="connsiteX1" fmla="*/ 0 w 329769"/>
                  <a:gd name="connsiteY1" fmla="*/ 209187 h 224937"/>
                  <a:gd name="connsiteX2" fmla="*/ 134017 w 329769"/>
                  <a:gd name="connsiteY2" fmla="*/ 209187 h 224937"/>
                  <a:gd name="connsiteX3" fmla="*/ 149039 w 329769"/>
                  <a:gd name="connsiteY3" fmla="*/ 224937 h 224937"/>
                  <a:gd name="connsiteX4" fmla="*/ 149289 w 329769"/>
                  <a:gd name="connsiteY4" fmla="*/ 224937 h 224937"/>
                  <a:gd name="connsiteX5" fmla="*/ 180480 w 329769"/>
                  <a:gd name="connsiteY5" fmla="*/ 224937 h 224937"/>
                  <a:gd name="connsiteX6" fmla="*/ 180731 w 329769"/>
                  <a:gd name="connsiteY6" fmla="*/ 224937 h 224937"/>
                  <a:gd name="connsiteX7" fmla="*/ 195753 w 329769"/>
                  <a:gd name="connsiteY7" fmla="*/ 209187 h 224937"/>
                  <a:gd name="connsiteX8" fmla="*/ 329769 w 329769"/>
                  <a:gd name="connsiteY8" fmla="*/ 209187 h 224937"/>
                  <a:gd name="connsiteX9" fmla="*/ 329769 w 329769"/>
                  <a:gd name="connsiteY9" fmla="*/ 70823 h 2249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329769" h="224937">
                    <a:moveTo>
                      <a:pt x="0" y="0"/>
                    </a:moveTo>
                    <a:lnTo>
                      <a:pt x="0" y="209187"/>
                    </a:lnTo>
                    <a:lnTo>
                      <a:pt x="134017" y="209187"/>
                    </a:lnTo>
                    <a:cubicBezTo>
                      <a:pt x="134017" y="209187"/>
                      <a:pt x="140716" y="224937"/>
                      <a:pt x="149039" y="224937"/>
                    </a:cubicBezTo>
                    <a:cubicBezTo>
                      <a:pt x="149301" y="224937"/>
                      <a:pt x="149361" y="224937"/>
                      <a:pt x="149289" y="224937"/>
                    </a:cubicBezTo>
                    <a:lnTo>
                      <a:pt x="180480" y="224937"/>
                    </a:lnTo>
                    <a:cubicBezTo>
                      <a:pt x="180420" y="224937"/>
                      <a:pt x="180468" y="224937"/>
                      <a:pt x="180731" y="224937"/>
                    </a:cubicBezTo>
                    <a:cubicBezTo>
                      <a:pt x="189054" y="224937"/>
                      <a:pt x="195753" y="209187"/>
                      <a:pt x="195753" y="209187"/>
                    </a:cubicBezTo>
                    <a:lnTo>
                      <a:pt x="329769" y="209187"/>
                    </a:lnTo>
                    <a:lnTo>
                      <a:pt x="329769" y="70823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876" name="Gráfico 17">
              <a:extLst>
                <a:ext uri="{FF2B5EF4-FFF2-40B4-BE49-F238E27FC236}">
                  <a16:creationId xmlns:a16="http://schemas.microsoft.com/office/drawing/2014/main" id="{75FD2FCC-D17C-1F10-383F-E0E99838C320}"/>
                </a:ext>
              </a:extLst>
            </p:cNvPr>
            <p:cNvGrpSpPr/>
            <p:nvPr/>
          </p:nvGrpSpPr>
          <p:grpSpPr>
            <a:xfrm>
              <a:off x="6484099" y="4773663"/>
              <a:ext cx="131277" cy="130234"/>
              <a:chOff x="6484099" y="4773663"/>
              <a:chExt cx="131277" cy="130234"/>
            </a:xfrm>
            <a:noFill/>
          </p:grpSpPr>
          <p:sp>
            <p:nvSpPr>
              <p:cNvPr id="1877" name="Forma livre: Forma 1876">
                <a:extLst>
                  <a:ext uri="{FF2B5EF4-FFF2-40B4-BE49-F238E27FC236}">
                    <a16:creationId xmlns:a16="http://schemas.microsoft.com/office/drawing/2014/main" id="{BA1D61DB-BE57-CCB9-B07D-B07492ADDD4F}"/>
                  </a:ext>
                </a:extLst>
              </p:cNvPr>
              <p:cNvSpPr/>
              <p:nvPr/>
            </p:nvSpPr>
            <p:spPr>
              <a:xfrm>
                <a:off x="6484099" y="4773663"/>
                <a:ext cx="131277" cy="130234"/>
              </a:xfrm>
              <a:custGeom>
                <a:avLst/>
                <a:gdLst>
                  <a:gd name="connsiteX0" fmla="*/ 45472 w 131277"/>
                  <a:gd name="connsiteY0" fmla="*/ 118604 h 130234"/>
                  <a:gd name="connsiteX1" fmla="*/ 0 w 131277"/>
                  <a:gd name="connsiteY1" fmla="*/ 130234 h 130234"/>
                  <a:gd name="connsiteX2" fmla="*/ 14126 w 131277"/>
                  <a:gd name="connsiteY2" fmla="*/ 84356 h 130234"/>
                  <a:gd name="connsiteX3" fmla="*/ 95279 w 131277"/>
                  <a:gd name="connsiteY3" fmla="*/ 3204 h 130234"/>
                  <a:gd name="connsiteX4" fmla="*/ 112128 w 131277"/>
                  <a:gd name="connsiteY4" fmla="*/ 3741 h 130234"/>
                  <a:gd name="connsiteX5" fmla="*/ 127532 w 131277"/>
                  <a:gd name="connsiteY5" fmla="*/ 19157 h 130234"/>
                  <a:gd name="connsiteX6" fmla="*/ 128070 w 131277"/>
                  <a:gd name="connsiteY6" fmla="*/ 36006 h 130234"/>
                  <a:gd name="connsiteX7" fmla="*/ 45460 w 131277"/>
                  <a:gd name="connsiteY7" fmla="*/ 118616 h 1302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31277" h="130234">
                    <a:moveTo>
                      <a:pt x="45472" y="118604"/>
                    </a:moveTo>
                    <a:lnTo>
                      <a:pt x="0" y="130234"/>
                    </a:lnTo>
                    <a:lnTo>
                      <a:pt x="14126" y="84356"/>
                    </a:lnTo>
                    <a:lnTo>
                      <a:pt x="95279" y="3204"/>
                    </a:lnTo>
                    <a:cubicBezTo>
                      <a:pt x="99757" y="-1274"/>
                      <a:pt x="107340" y="-1024"/>
                      <a:pt x="112128" y="3741"/>
                    </a:cubicBezTo>
                    <a:lnTo>
                      <a:pt x="127532" y="19157"/>
                    </a:lnTo>
                    <a:cubicBezTo>
                      <a:pt x="132309" y="23946"/>
                      <a:pt x="132548" y="31528"/>
                      <a:pt x="128070" y="36006"/>
                    </a:cubicBezTo>
                    <a:lnTo>
                      <a:pt x="45460" y="118616"/>
                    </a:ln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878" name="Forma livre: Forma 1877">
                <a:extLst>
                  <a:ext uri="{FF2B5EF4-FFF2-40B4-BE49-F238E27FC236}">
                    <a16:creationId xmlns:a16="http://schemas.microsoft.com/office/drawing/2014/main" id="{98D2C5C0-E50F-37B6-213B-D157C04FCFFB}"/>
                  </a:ext>
                </a:extLst>
              </p:cNvPr>
              <p:cNvSpPr/>
              <p:nvPr/>
            </p:nvSpPr>
            <p:spPr>
              <a:xfrm>
                <a:off x="6580058" y="4806660"/>
                <a:ext cx="17864" cy="17864"/>
              </a:xfrm>
              <a:custGeom>
                <a:avLst/>
                <a:gdLst>
                  <a:gd name="connsiteX0" fmla="*/ 0 w 17864"/>
                  <a:gd name="connsiteY0" fmla="*/ 0 h 17864"/>
                  <a:gd name="connsiteX1" fmla="*/ 17864 w 17864"/>
                  <a:gd name="connsiteY1" fmla="*/ 17864 h 178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7864" h="17864">
                    <a:moveTo>
                      <a:pt x="0" y="0"/>
                    </a:moveTo>
                    <a:lnTo>
                      <a:pt x="17864" y="17864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879" name="Forma livre: Forma 1878">
                <a:extLst>
                  <a:ext uri="{FF2B5EF4-FFF2-40B4-BE49-F238E27FC236}">
                    <a16:creationId xmlns:a16="http://schemas.microsoft.com/office/drawing/2014/main" id="{DA11AB36-B06A-A522-0F0B-859180782B8D}"/>
                  </a:ext>
                </a:extLst>
              </p:cNvPr>
              <p:cNvSpPr/>
              <p:nvPr/>
            </p:nvSpPr>
            <p:spPr>
              <a:xfrm>
                <a:off x="6514704" y="4872014"/>
                <a:ext cx="17302" cy="17302"/>
              </a:xfrm>
              <a:custGeom>
                <a:avLst/>
                <a:gdLst>
                  <a:gd name="connsiteX0" fmla="*/ 0 w 17302"/>
                  <a:gd name="connsiteY0" fmla="*/ 0 h 17302"/>
                  <a:gd name="connsiteX1" fmla="*/ 17303 w 17302"/>
                  <a:gd name="connsiteY1" fmla="*/ 17303 h 173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7302" h="17302">
                    <a:moveTo>
                      <a:pt x="0" y="0"/>
                    </a:moveTo>
                    <a:lnTo>
                      <a:pt x="17303" y="17303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880" name="Gráfico 17">
            <a:extLst>
              <a:ext uri="{FF2B5EF4-FFF2-40B4-BE49-F238E27FC236}">
                <a16:creationId xmlns:a16="http://schemas.microsoft.com/office/drawing/2014/main" id="{B0D7E914-7AE4-987B-7E6A-B74557443F85}"/>
              </a:ext>
            </a:extLst>
          </p:cNvPr>
          <p:cNvGrpSpPr/>
          <p:nvPr/>
        </p:nvGrpSpPr>
        <p:grpSpPr>
          <a:xfrm>
            <a:off x="6292370" y="5840078"/>
            <a:ext cx="290303" cy="253201"/>
            <a:chOff x="6292370" y="5840078"/>
            <a:chExt cx="290303" cy="253201"/>
          </a:xfrm>
          <a:noFill/>
        </p:grpSpPr>
        <p:grpSp>
          <p:nvGrpSpPr>
            <p:cNvPr id="1881" name="Gráfico 17">
              <a:extLst>
                <a:ext uri="{FF2B5EF4-FFF2-40B4-BE49-F238E27FC236}">
                  <a16:creationId xmlns:a16="http://schemas.microsoft.com/office/drawing/2014/main" id="{3F6BF4A4-0DBB-8741-AE25-88BB1ECAD16E}"/>
                </a:ext>
              </a:extLst>
            </p:cNvPr>
            <p:cNvGrpSpPr/>
            <p:nvPr/>
          </p:nvGrpSpPr>
          <p:grpSpPr>
            <a:xfrm>
              <a:off x="6352052" y="5840078"/>
              <a:ext cx="170938" cy="146996"/>
              <a:chOff x="6352052" y="5840078"/>
              <a:chExt cx="170938" cy="146996"/>
            </a:xfrm>
            <a:noFill/>
          </p:grpSpPr>
          <p:sp>
            <p:nvSpPr>
              <p:cNvPr id="1882" name="Forma livre: Forma 1881">
                <a:extLst>
                  <a:ext uri="{FF2B5EF4-FFF2-40B4-BE49-F238E27FC236}">
                    <a16:creationId xmlns:a16="http://schemas.microsoft.com/office/drawing/2014/main" id="{B59B8011-4ABD-6E79-122A-74761C5B658E}"/>
                  </a:ext>
                </a:extLst>
              </p:cNvPr>
              <p:cNvSpPr/>
              <p:nvPr/>
            </p:nvSpPr>
            <p:spPr>
              <a:xfrm>
                <a:off x="6437516" y="5840078"/>
                <a:ext cx="85475" cy="146996"/>
              </a:xfrm>
              <a:custGeom>
                <a:avLst/>
                <a:gdLst>
                  <a:gd name="connsiteX0" fmla="*/ 46045 w 85475"/>
                  <a:gd name="connsiteY0" fmla="*/ 36 h 146996"/>
                  <a:gd name="connsiteX1" fmla="*/ 0 w 85475"/>
                  <a:gd name="connsiteY1" fmla="*/ 12061 h 146996"/>
                  <a:gd name="connsiteX2" fmla="*/ 0 w 85475"/>
                  <a:gd name="connsiteY2" fmla="*/ 146997 h 146996"/>
                  <a:gd name="connsiteX3" fmla="*/ 46045 w 85475"/>
                  <a:gd name="connsiteY3" fmla="*/ 134972 h 146996"/>
                  <a:gd name="connsiteX4" fmla="*/ 85475 w 85475"/>
                  <a:gd name="connsiteY4" fmla="*/ 134936 h 146996"/>
                  <a:gd name="connsiteX5" fmla="*/ 85475 w 85475"/>
                  <a:gd name="connsiteY5" fmla="*/ 0 h 146996"/>
                  <a:gd name="connsiteX6" fmla="*/ 46045 w 85475"/>
                  <a:gd name="connsiteY6" fmla="*/ 36 h 1469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85475" h="146996">
                    <a:moveTo>
                      <a:pt x="46045" y="36"/>
                    </a:moveTo>
                    <a:cubicBezTo>
                      <a:pt x="22139" y="36"/>
                      <a:pt x="10520" y="-693"/>
                      <a:pt x="0" y="12061"/>
                    </a:cubicBezTo>
                    <a:lnTo>
                      <a:pt x="0" y="146997"/>
                    </a:lnTo>
                    <a:cubicBezTo>
                      <a:pt x="10520" y="134243"/>
                      <a:pt x="22139" y="134972"/>
                      <a:pt x="46045" y="134972"/>
                    </a:cubicBezTo>
                    <a:lnTo>
                      <a:pt x="85475" y="134936"/>
                    </a:lnTo>
                    <a:lnTo>
                      <a:pt x="85475" y="0"/>
                    </a:lnTo>
                    <a:lnTo>
                      <a:pt x="46045" y="36"/>
                    </a:lnTo>
                    <a:close/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883" name="Forma livre: Forma 1882">
                <a:extLst>
                  <a:ext uri="{FF2B5EF4-FFF2-40B4-BE49-F238E27FC236}">
                    <a16:creationId xmlns:a16="http://schemas.microsoft.com/office/drawing/2014/main" id="{83C2940C-9742-CA7E-BF3D-2A6943DCE405}"/>
                  </a:ext>
                </a:extLst>
              </p:cNvPr>
              <p:cNvSpPr/>
              <p:nvPr/>
            </p:nvSpPr>
            <p:spPr>
              <a:xfrm>
                <a:off x="6352052" y="5840078"/>
                <a:ext cx="85463" cy="146996"/>
              </a:xfrm>
              <a:custGeom>
                <a:avLst/>
                <a:gdLst>
                  <a:gd name="connsiteX0" fmla="*/ 85463 w 85463"/>
                  <a:gd name="connsiteY0" fmla="*/ 146997 h 146996"/>
                  <a:gd name="connsiteX1" fmla="*/ 39418 w 85463"/>
                  <a:gd name="connsiteY1" fmla="*/ 134972 h 146996"/>
                  <a:gd name="connsiteX2" fmla="*/ 0 w 85463"/>
                  <a:gd name="connsiteY2" fmla="*/ 134936 h 146996"/>
                  <a:gd name="connsiteX3" fmla="*/ 0 w 85463"/>
                  <a:gd name="connsiteY3" fmla="*/ 0 h 146996"/>
                  <a:gd name="connsiteX4" fmla="*/ 39418 w 85463"/>
                  <a:gd name="connsiteY4" fmla="*/ 36 h 146996"/>
                  <a:gd name="connsiteX5" fmla="*/ 85463 w 85463"/>
                  <a:gd name="connsiteY5" fmla="*/ 12061 h 1469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85463" h="146996">
                    <a:moveTo>
                      <a:pt x="85463" y="146997"/>
                    </a:moveTo>
                    <a:cubicBezTo>
                      <a:pt x="74943" y="134243"/>
                      <a:pt x="63324" y="134972"/>
                      <a:pt x="39418" y="134972"/>
                    </a:cubicBezTo>
                    <a:lnTo>
                      <a:pt x="0" y="134936"/>
                    </a:lnTo>
                    <a:lnTo>
                      <a:pt x="0" y="0"/>
                    </a:lnTo>
                    <a:lnTo>
                      <a:pt x="39418" y="36"/>
                    </a:lnTo>
                    <a:cubicBezTo>
                      <a:pt x="63324" y="36"/>
                      <a:pt x="74943" y="-693"/>
                      <a:pt x="85463" y="12061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884" name="Gráfico 17">
              <a:extLst>
                <a:ext uri="{FF2B5EF4-FFF2-40B4-BE49-F238E27FC236}">
                  <a16:creationId xmlns:a16="http://schemas.microsoft.com/office/drawing/2014/main" id="{94A9357D-BC3F-FF8B-0E4C-B7C45B6A9E31}"/>
                </a:ext>
              </a:extLst>
            </p:cNvPr>
            <p:cNvGrpSpPr/>
            <p:nvPr/>
          </p:nvGrpSpPr>
          <p:grpSpPr>
            <a:xfrm>
              <a:off x="6292370" y="5856330"/>
              <a:ext cx="290303" cy="236949"/>
              <a:chOff x="6292370" y="5856330"/>
              <a:chExt cx="290303" cy="236949"/>
            </a:xfrm>
            <a:noFill/>
          </p:grpSpPr>
          <p:sp>
            <p:nvSpPr>
              <p:cNvPr id="1885" name="Forma livre: Forma 1884">
                <a:extLst>
                  <a:ext uri="{FF2B5EF4-FFF2-40B4-BE49-F238E27FC236}">
                    <a16:creationId xmlns:a16="http://schemas.microsoft.com/office/drawing/2014/main" id="{479034A2-83F9-1121-F246-3966441F9BF3}"/>
                  </a:ext>
                </a:extLst>
              </p:cNvPr>
              <p:cNvSpPr/>
              <p:nvPr/>
            </p:nvSpPr>
            <p:spPr>
              <a:xfrm>
                <a:off x="6378478" y="6093280"/>
                <a:ext cx="118086" cy="1194"/>
              </a:xfrm>
              <a:custGeom>
                <a:avLst/>
                <a:gdLst>
                  <a:gd name="connsiteX0" fmla="*/ 0 w 118086"/>
                  <a:gd name="connsiteY0" fmla="*/ 0 h 1194"/>
                  <a:gd name="connsiteX1" fmla="*/ 118087 w 118086"/>
                  <a:gd name="connsiteY1" fmla="*/ 0 h 11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8086" h="1194">
                    <a:moveTo>
                      <a:pt x="0" y="0"/>
                    </a:moveTo>
                    <a:lnTo>
                      <a:pt x="118087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1886" name="Gráfico 17">
                <a:extLst>
                  <a:ext uri="{FF2B5EF4-FFF2-40B4-BE49-F238E27FC236}">
                    <a16:creationId xmlns:a16="http://schemas.microsoft.com/office/drawing/2014/main" id="{86CB2007-B311-D4C2-2D7C-44BE34EEEBDD}"/>
                  </a:ext>
                </a:extLst>
              </p:cNvPr>
              <p:cNvGrpSpPr/>
              <p:nvPr/>
            </p:nvGrpSpPr>
            <p:grpSpPr>
              <a:xfrm>
                <a:off x="6417013" y="6055629"/>
                <a:ext cx="41018" cy="36623"/>
                <a:chOff x="6417013" y="6055629"/>
                <a:chExt cx="41018" cy="36623"/>
              </a:xfrm>
            </p:grpSpPr>
            <p:sp>
              <p:nvSpPr>
                <p:cNvPr id="1887" name="Forma livre: Forma 1886">
                  <a:extLst>
                    <a:ext uri="{FF2B5EF4-FFF2-40B4-BE49-F238E27FC236}">
                      <a16:creationId xmlns:a16="http://schemas.microsoft.com/office/drawing/2014/main" id="{7F8AB740-2314-183F-1E43-94B008C716F6}"/>
                    </a:ext>
                  </a:extLst>
                </p:cNvPr>
                <p:cNvSpPr/>
                <p:nvPr/>
              </p:nvSpPr>
              <p:spPr>
                <a:xfrm>
                  <a:off x="6417013" y="6055629"/>
                  <a:ext cx="1194" cy="36623"/>
                </a:xfrm>
                <a:custGeom>
                  <a:avLst/>
                  <a:gdLst>
                    <a:gd name="connsiteX0" fmla="*/ 0 w 1194"/>
                    <a:gd name="connsiteY0" fmla="*/ 0 h 36623"/>
                    <a:gd name="connsiteX1" fmla="*/ 0 w 1194"/>
                    <a:gd name="connsiteY1" fmla="*/ 36624 h 3662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194" h="36623">
                      <a:moveTo>
                        <a:pt x="0" y="0"/>
                      </a:moveTo>
                      <a:lnTo>
                        <a:pt x="0" y="36624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888" name="Forma livre: Forma 1887">
                  <a:extLst>
                    <a:ext uri="{FF2B5EF4-FFF2-40B4-BE49-F238E27FC236}">
                      <a16:creationId xmlns:a16="http://schemas.microsoft.com/office/drawing/2014/main" id="{139327A5-BDE2-A7DA-EDE0-3DE2C7BD5FB0}"/>
                    </a:ext>
                  </a:extLst>
                </p:cNvPr>
                <p:cNvSpPr/>
                <p:nvPr/>
              </p:nvSpPr>
              <p:spPr>
                <a:xfrm>
                  <a:off x="6458031" y="6055629"/>
                  <a:ext cx="1194" cy="36623"/>
                </a:xfrm>
                <a:custGeom>
                  <a:avLst/>
                  <a:gdLst>
                    <a:gd name="connsiteX0" fmla="*/ 0 w 1194"/>
                    <a:gd name="connsiteY0" fmla="*/ 0 h 36623"/>
                    <a:gd name="connsiteX1" fmla="*/ 0 w 1194"/>
                    <a:gd name="connsiteY1" fmla="*/ 36624 h 3662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194" h="36623">
                      <a:moveTo>
                        <a:pt x="0" y="0"/>
                      </a:moveTo>
                      <a:lnTo>
                        <a:pt x="0" y="36624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1889" name="Forma livre: Forma 1888">
                <a:extLst>
                  <a:ext uri="{FF2B5EF4-FFF2-40B4-BE49-F238E27FC236}">
                    <a16:creationId xmlns:a16="http://schemas.microsoft.com/office/drawing/2014/main" id="{3FC8DE0D-05C8-0F6A-2A07-58034BC78F1E}"/>
                  </a:ext>
                </a:extLst>
              </p:cNvPr>
              <p:cNvSpPr/>
              <p:nvPr/>
            </p:nvSpPr>
            <p:spPr>
              <a:xfrm>
                <a:off x="6292370" y="5856330"/>
                <a:ext cx="290303" cy="197949"/>
              </a:xfrm>
              <a:custGeom>
                <a:avLst/>
                <a:gdLst>
                  <a:gd name="connsiteX0" fmla="*/ 254360 w 290303"/>
                  <a:gd name="connsiteY0" fmla="*/ 0 h 197949"/>
                  <a:gd name="connsiteX1" fmla="*/ 265884 w 290303"/>
                  <a:gd name="connsiteY1" fmla="*/ 0 h 197949"/>
                  <a:gd name="connsiteX2" fmla="*/ 290303 w 290303"/>
                  <a:gd name="connsiteY2" fmla="*/ 24420 h 197949"/>
                  <a:gd name="connsiteX3" fmla="*/ 290303 w 290303"/>
                  <a:gd name="connsiteY3" fmla="*/ 173530 h 197949"/>
                  <a:gd name="connsiteX4" fmla="*/ 265884 w 290303"/>
                  <a:gd name="connsiteY4" fmla="*/ 197950 h 197949"/>
                  <a:gd name="connsiteX5" fmla="*/ 24420 w 290303"/>
                  <a:gd name="connsiteY5" fmla="*/ 197950 h 197949"/>
                  <a:gd name="connsiteX6" fmla="*/ 0 w 290303"/>
                  <a:gd name="connsiteY6" fmla="*/ 173530 h 197949"/>
                  <a:gd name="connsiteX7" fmla="*/ 0 w 290303"/>
                  <a:gd name="connsiteY7" fmla="*/ 24420 h 197949"/>
                  <a:gd name="connsiteX8" fmla="*/ 24420 w 290303"/>
                  <a:gd name="connsiteY8" fmla="*/ 0 h 197949"/>
                  <a:gd name="connsiteX9" fmla="*/ 37042 w 290303"/>
                  <a:gd name="connsiteY9" fmla="*/ 0 h 1979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90303" h="197949">
                    <a:moveTo>
                      <a:pt x="254360" y="0"/>
                    </a:moveTo>
                    <a:lnTo>
                      <a:pt x="265884" y="0"/>
                    </a:lnTo>
                    <a:cubicBezTo>
                      <a:pt x="279318" y="0"/>
                      <a:pt x="290303" y="10986"/>
                      <a:pt x="290303" y="24420"/>
                    </a:cubicBezTo>
                    <a:lnTo>
                      <a:pt x="290303" y="173530"/>
                    </a:lnTo>
                    <a:cubicBezTo>
                      <a:pt x="290303" y="186964"/>
                      <a:pt x="279318" y="197950"/>
                      <a:pt x="265884" y="197950"/>
                    </a:cubicBezTo>
                    <a:lnTo>
                      <a:pt x="24420" y="197950"/>
                    </a:lnTo>
                    <a:cubicBezTo>
                      <a:pt x="10986" y="197950"/>
                      <a:pt x="0" y="186964"/>
                      <a:pt x="0" y="173530"/>
                    </a:cubicBezTo>
                    <a:lnTo>
                      <a:pt x="0" y="24420"/>
                    </a:lnTo>
                    <a:cubicBezTo>
                      <a:pt x="0" y="10986"/>
                      <a:pt x="10986" y="0"/>
                      <a:pt x="24420" y="0"/>
                    </a:cubicBezTo>
                    <a:lnTo>
                      <a:pt x="37042" y="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890" name="Forma livre: Forma 1889">
                <a:extLst>
                  <a:ext uri="{FF2B5EF4-FFF2-40B4-BE49-F238E27FC236}">
                    <a16:creationId xmlns:a16="http://schemas.microsoft.com/office/drawing/2014/main" id="{5E0AF688-6B1A-4216-29E8-035B1FE3763C}"/>
                  </a:ext>
                </a:extLst>
              </p:cNvPr>
              <p:cNvSpPr/>
              <p:nvPr/>
            </p:nvSpPr>
            <p:spPr>
              <a:xfrm>
                <a:off x="6314569" y="6019352"/>
                <a:ext cx="245882" cy="1194"/>
              </a:xfrm>
              <a:custGeom>
                <a:avLst/>
                <a:gdLst>
                  <a:gd name="connsiteX0" fmla="*/ 0 w 245882"/>
                  <a:gd name="connsiteY0" fmla="*/ 0 h 1194"/>
                  <a:gd name="connsiteX1" fmla="*/ 245882 w 245882"/>
                  <a:gd name="connsiteY1" fmla="*/ 0 h 11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45882" h="1194">
                    <a:moveTo>
                      <a:pt x="0" y="0"/>
                    </a:moveTo>
                    <a:lnTo>
                      <a:pt x="245882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891" name="Gráfico 17">
              <a:extLst>
                <a:ext uri="{FF2B5EF4-FFF2-40B4-BE49-F238E27FC236}">
                  <a16:creationId xmlns:a16="http://schemas.microsoft.com/office/drawing/2014/main" id="{B10FDDD4-6BDF-3F26-6D21-4FCA6FB49D96}"/>
                </a:ext>
              </a:extLst>
            </p:cNvPr>
            <p:cNvGrpSpPr/>
            <p:nvPr/>
          </p:nvGrpSpPr>
          <p:grpSpPr>
            <a:xfrm>
              <a:off x="6374442" y="5869955"/>
              <a:ext cx="126171" cy="76519"/>
              <a:chOff x="6374442" y="5869955"/>
              <a:chExt cx="126171" cy="76519"/>
            </a:xfrm>
          </p:grpSpPr>
          <p:grpSp>
            <p:nvGrpSpPr>
              <p:cNvPr id="1892" name="Gráfico 17">
                <a:extLst>
                  <a:ext uri="{FF2B5EF4-FFF2-40B4-BE49-F238E27FC236}">
                    <a16:creationId xmlns:a16="http://schemas.microsoft.com/office/drawing/2014/main" id="{A1154E99-D900-729C-1EF6-C4E84B9F60DA}"/>
                  </a:ext>
                </a:extLst>
              </p:cNvPr>
              <p:cNvGrpSpPr/>
              <p:nvPr/>
            </p:nvGrpSpPr>
            <p:grpSpPr>
              <a:xfrm>
                <a:off x="6374442" y="5869955"/>
                <a:ext cx="39071" cy="76519"/>
                <a:chOff x="6374442" y="5869955"/>
                <a:chExt cx="39071" cy="76519"/>
              </a:xfrm>
            </p:grpSpPr>
            <p:sp>
              <p:nvSpPr>
                <p:cNvPr id="1893" name="Forma livre: Forma 1892">
                  <a:extLst>
                    <a:ext uri="{FF2B5EF4-FFF2-40B4-BE49-F238E27FC236}">
                      <a16:creationId xmlns:a16="http://schemas.microsoft.com/office/drawing/2014/main" id="{CAE7F405-8BA3-A0BA-1B82-0EEB3AB65B06}"/>
                    </a:ext>
                  </a:extLst>
                </p:cNvPr>
                <p:cNvSpPr/>
                <p:nvPr/>
              </p:nvSpPr>
              <p:spPr>
                <a:xfrm>
                  <a:off x="6374442" y="5895461"/>
                  <a:ext cx="39071" cy="1194"/>
                </a:xfrm>
                <a:custGeom>
                  <a:avLst/>
                  <a:gdLst>
                    <a:gd name="connsiteX0" fmla="*/ 0 w 39071"/>
                    <a:gd name="connsiteY0" fmla="*/ 0 h 1194"/>
                    <a:gd name="connsiteX1" fmla="*/ 39072 w 39071"/>
                    <a:gd name="connsiteY1" fmla="*/ 0 h 119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39071" h="1194">
                      <a:moveTo>
                        <a:pt x="0" y="0"/>
                      </a:moveTo>
                      <a:lnTo>
                        <a:pt x="39072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894" name="Forma livre: Forma 1893">
                  <a:extLst>
                    <a:ext uri="{FF2B5EF4-FFF2-40B4-BE49-F238E27FC236}">
                      <a16:creationId xmlns:a16="http://schemas.microsoft.com/office/drawing/2014/main" id="{A0F2C022-0F31-C4E0-EDBC-A3F14EC71C16}"/>
                    </a:ext>
                  </a:extLst>
                </p:cNvPr>
                <p:cNvSpPr/>
                <p:nvPr/>
              </p:nvSpPr>
              <p:spPr>
                <a:xfrm>
                  <a:off x="6374442" y="5869955"/>
                  <a:ext cx="39071" cy="1194"/>
                </a:xfrm>
                <a:custGeom>
                  <a:avLst/>
                  <a:gdLst>
                    <a:gd name="connsiteX0" fmla="*/ 0 w 39071"/>
                    <a:gd name="connsiteY0" fmla="*/ 0 h 1194"/>
                    <a:gd name="connsiteX1" fmla="*/ 39072 w 39071"/>
                    <a:gd name="connsiteY1" fmla="*/ 0 h 119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39071" h="1194">
                      <a:moveTo>
                        <a:pt x="0" y="0"/>
                      </a:moveTo>
                      <a:lnTo>
                        <a:pt x="39072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895" name="Forma livre: Forma 1894">
                  <a:extLst>
                    <a:ext uri="{FF2B5EF4-FFF2-40B4-BE49-F238E27FC236}">
                      <a16:creationId xmlns:a16="http://schemas.microsoft.com/office/drawing/2014/main" id="{8C182DB7-423E-A8F6-B798-52FFFEACCDE4}"/>
                    </a:ext>
                  </a:extLst>
                </p:cNvPr>
                <p:cNvSpPr/>
                <p:nvPr/>
              </p:nvSpPr>
              <p:spPr>
                <a:xfrm>
                  <a:off x="6374442" y="5920968"/>
                  <a:ext cx="39071" cy="1194"/>
                </a:xfrm>
                <a:custGeom>
                  <a:avLst/>
                  <a:gdLst>
                    <a:gd name="connsiteX0" fmla="*/ 0 w 39071"/>
                    <a:gd name="connsiteY0" fmla="*/ 0 h 1194"/>
                    <a:gd name="connsiteX1" fmla="*/ 39072 w 39071"/>
                    <a:gd name="connsiteY1" fmla="*/ 0 h 119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39071" h="1194">
                      <a:moveTo>
                        <a:pt x="0" y="0"/>
                      </a:moveTo>
                      <a:lnTo>
                        <a:pt x="39072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896" name="Forma livre: Forma 1895">
                  <a:extLst>
                    <a:ext uri="{FF2B5EF4-FFF2-40B4-BE49-F238E27FC236}">
                      <a16:creationId xmlns:a16="http://schemas.microsoft.com/office/drawing/2014/main" id="{E8CB5309-6A5C-6234-6299-5D6FEE65E65F}"/>
                    </a:ext>
                  </a:extLst>
                </p:cNvPr>
                <p:cNvSpPr/>
                <p:nvPr/>
              </p:nvSpPr>
              <p:spPr>
                <a:xfrm>
                  <a:off x="6374442" y="5946474"/>
                  <a:ext cx="39071" cy="1194"/>
                </a:xfrm>
                <a:custGeom>
                  <a:avLst/>
                  <a:gdLst>
                    <a:gd name="connsiteX0" fmla="*/ 0 w 39071"/>
                    <a:gd name="connsiteY0" fmla="*/ 0 h 1194"/>
                    <a:gd name="connsiteX1" fmla="*/ 39072 w 39071"/>
                    <a:gd name="connsiteY1" fmla="*/ 0 h 119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39071" h="1194">
                      <a:moveTo>
                        <a:pt x="0" y="0"/>
                      </a:moveTo>
                      <a:lnTo>
                        <a:pt x="39072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1897" name="Gráfico 17">
                <a:extLst>
                  <a:ext uri="{FF2B5EF4-FFF2-40B4-BE49-F238E27FC236}">
                    <a16:creationId xmlns:a16="http://schemas.microsoft.com/office/drawing/2014/main" id="{65BAC720-5B14-BAA5-DA8D-B9E390881555}"/>
                  </a:ext>
                </a:extLst>
              </p:cNvPr>
              <p:cNvGrpSpPr/>
              <p:nvPr/>
            </p:nvGrpSpPr>
            <p:grpSpPr>
              <a:xfrm>
                <a:off x="6461530" y="5869955"/>
                <a:ext cx="39083" cy="76519"/>
                <a:chOff x="6461530" y="5869955"/>
                <a:chExt cx="39083" cy="76519"/>
              </a:xfrm>
            </p:grpSpPr>
            <p:sp>
              <p:nvSpPr>
                <p:cNvPr id="1898" name="Forma livre: Forma 1897">
                  <a:extLst>
                    <a:ext uri="{FF2B5EF4-FFF2-40B4-BE49-F238E27FC236}">
                      <a16:creationId xmlns:a16="http://schemas.microsoft.com/office/drawing/2014/main" id="{57928B95-79C9-6490-67E4-DFC274002B45}"/>
                    </a:ext>
                  </a:extLst>
                </p:cNvPr>
                <p:cNvSpPr/>
                <p:nvPr/>
              </p:nvSpPr>
              <p:spPr>
                <a:xfrm>
                  <a:off x="6461530" y="5895461"/>
                  <a:ext cx="39083" cy="1194"/>
                </a:xfrm>
                <a:custGeom>
                  <a:avLst/>
                  <a:gdLst>
                    <a:gd name="connsiteX0" fmla="*/ 0 w 39083"/>
                    <a:gd name="connsiteY0" fmla="*/ 0 h 1194"/>
                    <a:gd name="connsiteX1" fmla="*/ 39084 w 39083"/>
                    <a:gd name="connsiteY1" fmla="*/ 0 h 119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39083" h="1194">
                      <a:moveTo>
                        <a:pt x="0" y="0"/>
                      </a:moveTo>
                      <a:lnTo>
                        <a:pt x="39084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899" name="Forma livre: Forma 1898">
                  <a:extLst>
                    <a:ext uri="{FF2B5EF4-FFF2-40B4-BE49-F238E27FC236}">
                      <a16:creationId xmlns:a16="http://schemas.microsoft.com/office/drawing/2014/main" id="{25B6A923-D6D6-0A39-DE80-499CEDED4124}"/>
                    </a:ext>
                  </a:extLst>
                </p:cNvPr>
                <p:cNvSpPr/>
                <p:nvPr/>
              </p:nvSpPr>
              <p:spPr>
                <a:xfrm>
                  <a:off x="6461530" y="5869955"/>
                  <a:ext cx="39083" cy="1194"/>
                </a:xfrm>
                <a:custGeom>
                  <a:avLst/>
                  <a:gdLst>
                    <a:gd name="connsiteX0" fmla="*/ 0 w 39083"/>
                    <a:gd name="connsiteY0" fmla="*/ 0 h 1194"/>
                    <a:gd name="connsiteX1" fmla="*/ 39084 w 39083"/>
                    <a:gd name="connsiteY1" fmla="*/ 0 h 119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39083" h="1194">
                      <a:moveTo>
                        <a:pt x="0" y="0"/>
                      </a:moveTo>
                      <a:lnTo>
                        <a:pt x="39084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900" name="Forma livre: Forma 1899">
                  <a:extLst>
                    <a:ext uri="{FF2B5EF4-FFF2-40B4-BE49-F238E27FC236}">
                      <a16:creationId xmlns:a16="http://schemas.microsoft.com/office/drawing/2014/main" id="{B04F7E5F-01C8-12EB-C048-DFBAC7273F15}"/>
                    </a:ext>
                  </a:extLst>
                </p:cNvPr>
                <p:cNvSpPr/>
                <p:nvPr/>
              </p:nvSpPr>
              <p:spPr>
                <a:xfrm>
                  <a:off x="6461530" y="5920968"/>
                  <a:ext cx="39083" cy="1194"/>
                </a:xfrm>
                <a:custGeom>
                  <a:avLst/>
                  <a:gdLst>
                    <a:gd name="connsiteX0" fmla="*/ 0 w 39083"/>
                    <a:gd name="connsiteY0" fmla="*/ 0 h 1194"/>
                    <a:gd name="connsiteX1" fmla="*/ 39084 w 39083"/>
                    <a:gd name="connsiteY1" fmla="*/ 0 h 119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39083" h="1194">
                      <a:moveTo>
                        <a:pt x="0" y="0"/>
                      </a:moveTo>
                      <a:lnTo>
                        <a:pt x="39084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901" name="Forma livre: Forma 1900">
                  <a:extLst>
                    <a:ext uri="{FF2B5EF4-FFF2-40B4-BE49-F238E27FC236}">
                      <a16:creationId xmlns:a16="http://schemas.microsoft.com/office/drawing/2014/main" id="{7E919098-2F8A-1C85-9479-4AAD1CA6CEFA}"/>
                    </a:ext>
                  </a:extLst>
                </p:cNvPr>
                <p:cNvSpPr/>
                <p:nvPr/>
              </p:nvSpPr>
              <p:spPr>
                <a:xfrm>
                  <a:off x="6461530" y="5946474"/>
                  <a:ext cx="39083" cy="1194"/>
                </a:xfrm>
                <a:custGeom>
                  <a:avLst/>
                  <a:gdLst>
                    <a:gd name="connsiteX0" fmla="*/ 0 w 39083"/>
                    <a:gd name="connsiteY0" fmla="*/ 0 h 1194"/>
                    <a:gd name="connsiteX1" fmla="*/ 39084 w 39083"/>
                    <a:gd name="connsiteY1" fmla="*/ 0 h 119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39083" h="1194">
                      <a:moveTo>
                        <a:pt x="0" y="0"/>
                      </a:moveTo>
                      <a:lnTo>
                        <a:pt x="39084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</p:grpSp>
      <p:grpSp>
        <p:nvGrpSpPr>
          <p:cNvPr id="1902" name="Gráfico 17">
            <a:extLst>
              <a:ext uri="{FF2B5EF4-FFF2-40B4-BE49-F238E27FC236}">
                <a16:creationId xmlns:a16="http://schemas.microsoft.com/office/drawing/2014/main" id="{38D8CBE9-A21D-7B9B-CC55-AE78858F467A}"/>
              </a:ext>
            </a:extLst>
          </p:cNvPr>
          <p:cNvGrpSpPr/>
          <p:nvPr/>
        </p:nvGrpSpPr>
        <p:grpSpPr>
          <a:xfrm>
            <a:off x="6272631" y="3701092"/>
            <a:ext cx="329769" cy="259422"/>
            <a:chOff x="6272631" y="3701092"/>
            <a:chExt cx="329769" cy="259422"/>
          </a:xfrm>
          <a:noFill/>
        </p:grpSpPr>
        <p:grpSp>
          <p:nvGrpSpPr>
            <p:cNvPr id="1903" name="Gráfico 17">
              <a:extLst>
                <a:ext uri="{FF2B5EF4-FFF2-40B4-BE49-F238E27FC236}">
                  <a16:creationId xmlns:a16="http://schemas.microsoft.com/office/drawing/2014/main" id="{D6212C89-97BD-2226-BD5C-6ACB19739072}"/>
                </a:ext>
              </a:extLst>
            </p:cNvPr>
            <p:cNvGrpSpPr/>
            <p:nvPr/>
          </p:nvGrpSpPr>
          <p:grpSpPr>
            <a:xfrm>
              <a:off x="6299798" y="3701092"/>
              <a:ext cx="275460" cy="236865"/>
              <a:chOff x="6299798" y="3701092"/>
              <a:chExt cx="275460" cy="236865"/>
            </a:xfrm>
            <a:noFill/>
          </p:grpSpPr>
          <p:sp>
            <p:nvSpPr>
              <p:cNvPr id="1904" name="Forma livre: Forma 1903">
                <a:extLst>
                  <a:ext uri="{FF2B5EF4-FFF2-40B4-BE49-F238E27FC236}">
                    <a16:creationId xmlns:a16="http://schemas.microsoft.com/office/drawing/2014/main" id="{14EABA1F-F89B-1B55-409B-BB385FD46B97}"/>
                  </a:ext>
                </a:extLst>
              </p:cNvPr>
              <p:cNvSpPr/>
              <p:nvPr/>
            </p:nvSpPr>
            <p:spPr>
              <a:xfrm>
                <a:off x="6437528" y="3701092"/>
                <a:ext cx="137730" cy="236865"/>
              </a:xfrm>
              <a:custGeom>
                <a:avLst/>
                <a:gdLst>
                  <a:gd name="connsiteX0" fmla="*/ 74191 w 137730"/>
                  <a:gd name="connsiteY0" fmla="*/ 12 h 236865"/>
                  <a:gd name="connsiteX1" fmla="*/ 0 w 137730"/>
                  <a:gd name="connsiteY1" fmla="*/ 19416 h 236865"/>
                  <a:gd name="connsiteX2" fmla="*/ 0 w 137730"/>
                  <a:gd name="connsiteY2" fmla="*/ 236866 h 236865"/>
                  <a:gd name="connsiteX3" fmla="*/ 74191 w 137730"/>
                  <a:gd name="connsiteY3" fmla="*/ 217473 h 236865"/>
                  <a:gd name="connsiteX4" fmla="*/ 137730 w 137730"/>
                  <a:gd name="connsiteY4" fmla="*/ 217473 h 236865"/>
                  <a:gd name="connsiteX5" fmla="*/ 137730 w 137730"/>
                  <a:gd name="connsiteY5" fmla="*/ 12 h 236865"/>
                  <a:gd name="connsiteX6" fmla="*/ 74191 w 137730"/>
                  <a:gd name="connsiteY6" fmla="*/ 12 h 2368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37730" h="236865">
                    <a:moveTo>
                      <a:pt x="74191" y="12"/>
                    </a:moveTo>
                    <a:cubicBezTo>
                      <a:pt x="35657" y="12"/>
                      <a:pt x="16957" y="-1135"/>
                      <a:pt x="0" y="19416"/>
                    </a:cubicBezTo>
                    <a:lnTo>
                      <a:pt x="0" y="236866"/>
                    </a:lnTo>
                    <a:cubicBezTo>
                      <a:pt x="16957" y="216315"/>
                      <a:pt x="35668" y="217473"/>
                      <a:pt x="74191" y="217473"/>
                    </a:cubicBezTo>
                    <a:lnTo>
                      <a:pt x="137730" y="217473"/>
                    </a:lnTo>
                    <a:lnTo>
                      <a:pt x="137730" y="12"/>
                    </a:lnTo>
                    <a:lnTo>
                      <a:pt x="74191" y="12"/>
                    </a:lnTo>
                    <a:close/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905" name="Forma livre: Forma 1904">
                <a:extLst>
                  <a:ext uri="{FF2B5EF4-FFF2-40B4-BE49-F238E27FC236}">
                    <a16:creationId xmlns:a16="http://schemas.microsoft.com/office/drawing/2014/main" id="{BD5BEBC8-C042-4D92-F30C-BBEF4EC97D6B}"/>
                  </a:ext>
                </a:extLst>
              </p:cNvPr>
              <p:cNvSpPr/>
              <p:nvPr/>
            </p:nvSpPr>
            <p:spPr>
              <a:xfrm>
                <a:off x="6299798" y="3701092"/>
                <a:ext cx="137730" cy="236854"/>
              </a:xfrm>
              <a:custGeom>
                <a:avLst/>
                <a:gdLst>
                  <a:gd name="connsiteX0" fmla="*/ 137730 w 137730"/>
                  <a:gd name="connsiteY0" fmla="*/ 236854 h 236854"/>
                  <a:gd name="connsiteX1" fmla="*/ 63527 w 137730"/>
                  <a:gd name="connsiteY1" fmla="*/ 217461 h 236854"/>
                  <a:gd name="connsiteX2" fmla="*/ 0 w 137730"/>
                  <a:gd name="connsiteY2" fmla="*/ 217461 h 236854"/>
                  <a:gd name="connsiteX3" fmla="*/ 0 w 137730"/>
                  <a:gd name="connsiteY3" fmla="*/ 12 h 236854"/>
                  <a:gd name="connsiteX4" fmla="*/ 63527 w 137730"/>
                  <a:gd name="connsiteY4" fmla="*/ 12 h 236854"/>
                  <a:gd name="connsiteX5" fmla="*/ 137730 w 137730"/>
                  <a:gd name="connsiteY5" fmla="*/ 19416 h 2368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37730" h="236854">
                    <a:moveTo>
                      <a:pt x="137730" y="236854"/>
                    </a:moveTo>
                    <a:cubicBezTo>
                      <a:pt x="120774" y="216303"/>
                      <a:pt x="102062" y="217461"/>
                      <a:pt x="63527" y="217461"/>
                    </a:cubicBezTo>
                    <a:lnTo>
                      <a:pt x="0" y="217461"/>
                    </a:lnTo>
                    <a:lnTo>
                      <a:pt x="0" y="12"/>
                    </a:lnTo>
                    <a:lnTo>
                      <a:pt x="63527" y="12"/>
                    </a:lnTo>
                    <a:cubicBezTo>
                      <a:pt x="102062" y="12"/>
                      <a:pt x="120774" y="-1135"/>
                      <a:pt x="137730" y="19416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906" name="Forma livre: Forma 1905">
              <a:extLst>
                <a:ext uri="{FF2B5EF4-FFF2-40B4-BE49-F238E27FC236}">
                  <a16:creationId xmlns:a16="http://schemas.microsoft.com/office/drawing/2014/main" id="{5D9EF396-3902-CE09-2201-BBA19F1466C6}"/>
                </a:ext>
              </a:extLst>
            </p:cNvPr>
            <p:cNvSpPr/>
            <p:nvPr/>
          </p:nvSpPr>
          <p:spPr>
            <a:xfrm>
              <a:off x="6272631" y="3735578"/>
              <a:ext cx="329769" cy="224937"/>
            </a:xfrm>
            <a:custGeom>
              <a:avLst/>
              <a:gdLst>
                <a:gd name="connsiteX0" fmla="*/ 0 w 329769"/>
                <a:gd name="connsiteY0" fmla="*/ 0 h 224937"/>
                <a:gd name="connsiteX1" fmla="*/ 0 w 329769"/>
                <a:gd name="connsiteY1" fmla="*/ 209187 h 224937"/>
                <a:gd name="connsiteX2" fmla="*/ 134017 w 329769"/>
                <a:gd name="connsiteY2" fmla="*/ 209187 h 224937"/>
                <a:gd name="connsiteX3" fmla="*/ 149039 w 329769"/>
                <a:gd name="connsiteY3" fmla="*/ 224937 h 224937"/>
                <a:gd name="connsiteX4" fmla="*/ 149289 w 329769"/>
                <a:gd name="connsiteY4" fmla="*/ 224937 h 224937"/>
                <a:gd name="connsiteX5" fmla="*/ 180480 w 329769"/>
                <a:gd name="connsiteY5" fmla="*/ 224937 h 224937"/>
                <a:gd name="connsiteX6" fmla="*/ 180731 w 329769"/>
                <a:gd name="connsiteY6" fmla="*/ 224937 h 224937"/>
                <a:gd name="connsiteX7" fmla="*/ 195753 w 329769"/>
                <a:gd name="connsiteY7" fmla="*/ 209187 h 224937"/>
                <a:gd name="connsiteX8" fmla="*/ 329769 w 329769"/>
                <a:gd name="connsiteY8" fmla="*/ 209187 h 224937"/>
                <a:gd name="connsiteX9" fmla="*/ 329769 w 329769"/>
                <a:gd name="connsiteY9" fmla="*/ 0 h 2249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29769" h="224937">
                  <a:moveTo>
                    <a:pt x="0" y="0"/>
                  </a:moveTo>
                  <a:lnTo>
                    <a:pt x="0" y="209187"/>
                  </a:lnTo>
                  <a:lnTo>
                    <a:pt x="134017" y="209187"/>
                  </a:lnTo>
                  <a:cubicBezTo>
                    <a:pt x="134017" y="209187"/>
                    <a:pt x="140716" y="224937"/>
                    <a:pt x="149039" y="224937"/>
                  </a:cubicBezTo>
                  <a:cubicBezTo>
                    <a:pt x="149301" y="224937"/>
                    <a:pt x="149361" y="224937"/>
                    <a:pt x="149289" y="224937"/>
                  </a:cubicBezTo>
                  <a:lnTo>
                    <a:pt x="180480" y="224937"/>
                  </a:lnTo>
                  <a:cubicBezTo>
                    <a:pt x="180420" y="224937"/>
                    <a:pt x="180468" y="224937"/>
                    <a:pt x="180731" y="224937"/>
                  </a:cubicBezTo>
                  <a:cubicBezTo>
                    <a:pt x="189054" y="224937"/>
                    <a:pt x="195753" y="209187"/>
                    <a:pt x="195753" y="209187"/>
                  </a:cubicBezTo>
                  <a:lnTo>
                    <a:pt x="329769" y="209187"/>
                  </a:lnTo>
                  <a:lnTo>
                    <a:pt x="329769" y="0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907" name="Gráfico 17">
            <a:extLst>
              <a:ext uri="{FF2B5EF4-FFF2-40B4-BE49-F238E27FC236}">
                <a16:creationId xmlns:a16="http://schemas.microsoft.com/office/drawing/2014/main" id="{8ECF1AC4-72EB-A929-71DE-7E0FBD351EF7}"/>
              </a:ext>
            </a:extLst>
          </p:cNvPr>
          <p:cNvGrpSpPr/>
          <p:nvPr/>
        </p:nvGrpSpPr>
        <p:grpSpPr>
          <a:xfrm>
            <a:off x="6298818" y="5273753"/>
            <a:ext cx="277406" cy="317971"/>
            <a:chOff x="6298818" y="5273753"/>
            <a:chExt cx="277406" cy="317971"/>
          </a:xfrm>
          <a:noFill/>
        </p:grpSpPr>
        <p:grpSp>
          <p:nvGrpSpPr>
            <p:cNvPr id="1908" name="Gráfico 17">
              <a:extLst>
                <a:ext uri="{FF2B5EF4-FFF2-40B4-BE49-F238E27FC236}">
                  <a16:creationId xmlns:a16="http://schemas.microsoft.com/office/drawing/2014/main" id="{B2C3C815-132B-0A66-26AE-65934953B95B}"/>
                </a:ext>
              </a:extLst>
            </p:cNvPr>
            <p:cNvGrpSpPr/>
            <p:nvPr/>
          </p:nvGrpSpPr>
          <p:grpSpPr>
            <a:xfrm>
              <a:off x="6394874" y="5273753"/>
              <a:ext cx="85296" cy="317971"/>
              <a:chOff x="6394874" y="5273753"/>
              <a:chExt cx="85296" cy="317971"/>
            </a:xfrm>
            <a:noFill/>
          </p:grpSpPr>
          <p:sp>
            <p:nvSpPr>
              <p:cNvPr id="1909" name="Forma livre: Forma 1908">
                <a:extLst>
                  <a:ext uri="{FF2B5EF4-FFF2-40B4-BE49-F238E27FC236}">
                    <a16:creationId xmlns:a16="http://schemas.microsoft.com/office/drawing/2014/main" id="{F92833D5-12D1-C5E7-603D-045271533073}"/>
                  </a:ext>
                </a:extLst>
              </p:cNvPr>
              <p:cNvSpPr/>
              <p:nvPr/>
            </p:nvSpPr>
            <p:spPr>
              <a:xfrm>
                <a:off x="6394874" y="5354822"/>
                <a:ext cx="85296" cy="236902"/>
              </a:xfrm>
              <a:custGeom>
                <a:avLst/>
                <a:gdLst>
                  <a:gd name="connsiteX0" fmla="*/ 0 w 85296"/>
                  <a:gd name="connsiteY0" fmla="*/ 0 h 236902"/>
                  <a:gd name="connsiteX1" fmla="*/ 85296 w 85296"/>
                  <a:gd name="connsiteY1" fmla="*/ 0 h 236902"/>
                  <a:gd name="connsiteX2" fmla="*/ 85296 w 85296"/>
                  <a:gd name="connsiteY2" fmla="*/ 236902 h 236902"/>
                  <a:gd name="connsiteX3" fmla="*/ 0 w 85296"/>
                  <a:gd name="connsiteY3" fmla="*/ 236902 h 2369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5296" h="236902">
                    <a:moveTo>
                      <a:pt x="0" y="0"/>
                    </a:moveTo>
                    <a:lnTo>
                      <a:pt x="85296" y="0"/>
                    </a:lnTo>
                    <a:lnTo>
                      <a:pt x="85296" y="236902"/>
                    </a:lnTo>
                    <a:lnTo>
                      <a:pt x="0" y="236902"/>
                    </a:lnTo>
                    <a:close/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1910" name="Gráfico 17">
                <a:extLst>
                  <a:ext uri="{FF2B5EF4-FFF2-40B4-BE49-F238E27FC236}">
                    <a16:creationId xmlns:a16="http://schemas.microsoft.com/office/drawing/2014/main" id="{D8019315-4AF5-813D-A42A-EDEA000518A2}"/>
                  </a:ext>
                </a:extLst>
              </p:cNvPr>
              <p:cNvGrpSpPr/>
              <p:nvPr/>
            </p:nvGrpSpPr>
            <p:grpSpPr>
              <a:xfrm>
                <a:off x="6394874" y="5273753"/>
                <a:ext cx="85296" cy="79636"/>
                <a:chOff x="6394874" y="5273753"/>
                <a:chExt cx="85296" cy="79636"/>
              </a:xfrm>
            </p:grpSpPr>
            <p:sp>
              <p:nvSpPr>
                <p:cNvPr id="1911" name="Forma livre: Forma 1910">
                  <a:extLst>
                    <a:ext uri="{FF2B5EF4-FFF2-40B4-BE49-F238E27FC236}">
                      <a16:creationId xmlns:a16="http://schemas.microsoft.com/office/drawing/2014/main" id="{8C9DAF1D-A1AC-53B7-E35F-794FFDE48843}"/>
                    </a:ext>
                  </a:extLst>
                </p:cNvPr>
                <p:cNvSpPr/>
                <p:nvPr/>
              </p:nvSpPr>
              <p:spPr>
                <a:xfrm>
                  <a:off x="6472074" y="5275138"/>
                  <a:ext cx="8096" cy="78250"/>
                </a:xfrm>
                <a:custGeom>
                  <a:avLst/>
                  <a:gdLst>
                    <a:gd name="connsiteX0" fmla="*/ 0 w 8096"/>
                    <a:gd name="connsiteY0" fmla="*/ 0 h 78250"/>
                    <a:gd name="connsiteX1" fmla="*/ 8096 w 8096"/>
                    <a:gd name="connsiteY1" fmla="*/ 78251 h 782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8096" h="78250">
                      <a:moveTo>
                        <a:pt x="0" y="0"/>
                      </a:moveTo>
                      <a:lnTo>
                        <a:pt x="8096" y="78251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912" name="Forma livre: Forma 1911">
                  <a:extLst>
                    <a:ext uri="{FF2B5EF4-FFF2-40B4-BE49-F238E27FC236}">
                      <a16:creationId xmlns:a16="http://schemas.microsoft.com/office/drawing/2014/main" id="{57C76FE0-C199-9874-119B-26EBB668AC96}"/>
                    </a:ext>
                  </a:extLst>
                </p:cNvPr>
                <p:cNvSpPr/>
                <p:nvPr/>
              </p:nvSpPr>
              <p:spPr>
                <a:xfrm>
                  <a:off x="6394874" y="5273753"/>
                  <a:ext cx="8108" cy="79636"/>
                </a:xfrm>
                <a:custGeom>
                  <a:avLst/>
                  <a:gdLst>
                    <a:gd name="connsiteX0" fmla="*/ 0 w 8108"/>
                    <a:gd name="connsiteY0" fmla="*/ 79636 h 79636"/>
                    <a:gd name="connsiteX1" fmla="*/ 8108 w 8108"/>
                    <a:gd name="connsiteY1" fmla="*/ 0 h 7963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8108" h="79636">
                      <a:moveTo>
                        <a:pt x="0" y="79636"/>
                      </a:moveTo>
                      <a:lnTo>
                        <a:pt x="8108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1913" name="Gráfico 17">
                <a:extLst>
                  <a:ext uri="{FF2B5EF4-FFF2-40B4-BE49-F238E27FC236}">
                    <a16:creationId xmlns:a16="http://schemas.microsoft.com/office/drawing/2014/main" id="{1E34D505-9AB4-30E1-BC53-8221D38AC0FC}"/>
                  </a:ext>
                </a:extLst>
              </p:cNvPr>
              <p:cNvGrpSpPr/>
              <p:nvPr/>
            </p:nvGrpSpPr>
            <p:grpSpPr>
              <a:xfrm>
                <a:off x="6418040" y="5397858"/>
                <a:ext cx="38964" cy="26294"/>
                <a:chOff x="6418040" y="5397858"/>
                <a:chExt cx="38964" cy="26294"/>
              </a:xfrm>
            </p:grpSpPr>
            <p:sp>
              <p:nvSpPr>
                <p:cNvPr id="1914" name="Forma livre: Forma 1913">
                  <a:extLst>
                    <a:ext uri="{FF2B5EF4-FFF2-40B4-BE49-F238E27FC236}">
                      <a16:creationId xmlns:a16="http://schemas.microsoft.com/office/drawing/2014/main" id="{A4CC3E01-AF48-C981-ACF5-5BFD312AB4C3}"/>
                    </a:ext>
                  </a:extLst>
                </p:cNvPr>
                <p:cNvSpPr/>
                <p:nvPr/>
              </p:nvSpPr>
              <p:spPr>
                <a:xfrm>
                  <a:off x="6418040" y="5397858"/>
                  <a:ext cx="38964" cy="1194"/>
                </a:xfrm>
                <a:custGeom>
                  <a:avLst/>
                  <a:gdLst>
                    <a:gd name="connsiteX0" fmla="*/ 0 w 38964"/>
                    <a:gd name="connsiteY0" fmla="*/ 0 h 1194"/>
                    <a:gd name="connsiteX1" fmla="*/ 38964 w 38964"/>
                    <a:gd name="connsiteY1" fmla="*/ 0 h 119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38964" h="1194">
                      <a:moveTo>
                        <a:pt x="0" y="0"/>
                      </a:moveTo>
                      <a:lnTo>
                        <a:pt x="38964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915" name="Forma livre: Forma 1914">
                  <a:extLst>
                    <a:ext uri="{FF2B5EF4-FFF2-40B4-BE49-F238E27FC236}">
                      <a16:creationId xmlns:a16="http://schemas.microsoft.com/office/drawing/2014/main" id="{3D731726-A5D6-DAA8-0E63-B7B33464C8A0}"/>
                    </a:ext>
                  </a:extLst>
                </p:cNvPr>
                <p:cNvSpPr/>
                <p:nvPr/>
              </p:nvSpPr>
              <p:spPr>
                <a:xfrm>
                  <a:off x="6418040" y="5424153"/>
                  <a:ext cx="38964" cy="1194"/>
                </a:xfrm>
                <a:custGeom>
                  <a:avLst/>
                  <a:gdLst>
                    <a:gd name="connsiteX0" fmla="*/ 0 w 38964"/>
                    <a:gd name="connsiteY0" fmla="*/ 0 h 1194"/>
                    <a:gd name="connsiteX1" fmla="*/ 38964 w 38964"/>
                    <a:gd name="connsiteY1" fmla="*/ 0 h 119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38964" h="1194">
                      <a:moveTo>
                        <a:pt x="0" y="0"/>
                      </a:moveTo>
                      <a:lnTo>
                        <a:pt x="38964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1916" name="Forma livre: Forma 1915">
                <a:extLst>
                  <a:ext uri="{FF2B5EF4-FFF2-40B4-BE49-F238E27FC236}">
                    <a16:creationId xmlns:a16="http://schemas.microsoft.com/office/drawing/2014/main" id="{4E166044-225E-F911-08F2-9E4D24201542}"/>
                  </a:ext>
                </a:extLst>
              </p:cNvPr>
              <p:cNvSpPr/>
              <p:nvPr/>
            </p:nvSpPr>
            <p:spPr>
              <a:xfrm>
                <a:off x="6437516" y="5285802"/>
                <a:ext cx="1194" cy="50368"/>
              </a:xfrm>
              <a:custGeom>
                <a:avLst/>
                <a:gdLst>
                  <a:gd name="connsiteX0" fmla="*/ 0 w 1194"/>
                  <a:gd name="connsiteY0" fmla="*/ 0 h 50368"/>
                  <a:gd name="connsiteX1" fmla="*/ 0 w 1194"/>
                  <a:gd name="connsiteY1" fmla="*/ 50368 h 503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4" h="50368">
                    <a:moveTo>
                      <a:pt x="0" y="0"/>
                    </a:moveTo>
                    <a:lnTo>
                      <a:pt x="0" y="50368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917" name="Forma livre: Forma 1916">
              <a:extLst>
                <a:ext uri="{FF2B5EF4-FFF2-40B4-BE49-F238E27FC236}">
                  <a16:creationId xmlns:a16="http://schemas.microsoft.com/office/drawing/2014/main" id="{13DC2E14-D490-CDEB-E355-23BBCC6283F1}"/>
                </a:ext>
              </a:extLst>
            </p:cNvPr>
            <p:cNvSpPr/>
            <p:nvPr/>
          </p:nvSpPr>
          <p:spPr>
            <a:xfrm>
              <a:off x="6351766" y="5285897"/>
              <a:ext cx="13947" cy="50368"/>
            </a:xfrm>
            <a:custGeom>
              <a:avLst/>
              <a:gdLst>
                <a:gd name="connsiteX0" fmla="*/ 13947 w 13947"/>
                <a:gd name="connsiteY0" fmla="*/ 0 h 50368"/>
                <a:gd name="connsiteX1" fmla="*/ 0 w 13947"/>
                <a:gd name="connsiteY1" fmla="*/ 50368 h 503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3947" h="50368">
                  <a:moveTo>
                    <a:pt x="13947" y="0"/>
                  </a:moveTo>
                  <a:lnTo>
                    <a:pt x="0" y="50368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918" name="Gráfico 17">
              <a:extLst>
                <a:ext uri="{FF2B5EF4-FFF2-40B4-BE49-F238E27FC236}">
                  <a16:creationId xmlns:a16="http://schemas.microsoft.com/office/drawing/2014/main" id="{41C0C26B-2A7B-904C-3D94-E4D60BBB8F58}"/>
                </a:ext>
              </a:extLst>
            </p:cNvPr>
            <p:cNvGrpSpPr/>
            <p:nvPr/>
          </p:nvGrpSpPr>
          <p:grpSpPr>
            <a:xfrm>
              <a:off x="6298818" y="5275138"/>
              <a:ext cx="277406" cy="316586"/>
              <a:chOff x="6298818" y="5275138"/>
              <a:chExt cx="277406" cy="316586"/>
            </a:xfrm>
            <a:noFill/>
          </p:grpSpPr>
          <p:grpSp>
            <p:nvGrpSpPr>
              <p:cNvPr id="1919" name="Gráfico 17">
                <a:extLst>
                  <a:ext uri="{FF2B5EF4-FFF2-40B4-BE49-F238E27FC236}">
                    <a16:creationId xmlns:a16="http://schemas.microsoft.com/office/drawing/2014/main" id="{C3EF2F8D-B9E1-CB78-1037-9A19306E092A}"/>
                  </a:ext>
                </a:extLst>
              </p:cNvPr>
              <p:cNvGrpSpPr/>
              <p:nvPr/>
            </p:nvGrpSpPr>
            <p:grpSpPr>
              <a:xfrm>
                <a:off x="6298818" y="5275138"/>
                <a:ext cx="72746" cy="316586"/>
                <a:chOff x="6298818" y="5275138"/>
                <a:chExt cx="72746" cy="316586"/>
              </a:xfrm>
              <a:noFill/>
            </p:grpSpPr>
            <p:grpSp>
              <p:nvGrpSpPr>
                <p:cNvPr id="1920" name="Gráfico 17">
                  <a:extLst>
                    <a:ext uri="{FF2B5EF4-FFF2-40B4-BE49-F238E27FC236}">
                      <a16:creationId xmlns:a16="http://schemas.microsoft.com/office/drawing/2014/main" id="{176C11BE-01BB-17C4-4208-AF95F77419D9}"/>
                    </a:ext>
                  </a:extLst>
                </p:cNvPr>
                <p:cNvGrpSpPr/>
                <p:nvPr/>
              </p:nvGrpSpPr>
              <p:grpSpPr>
                <a:xfrm>
                  <a:off x="6298818" y="5275138"/>
                  <a:ext cx="72746" cy="316586"/>
                  <a:chOff x="6298818" y="5275138"/>
                  <a:chExt cx="72746" cy="316586"/>
                </a:xfrm>
                <a:noFill/>
              </p:grpSpPr>
              <p:sp>
                <p:nvSpPr>
                  <p:cNvPr id="1921" name="Forma livre: Forma 1920">
                    <a:extLst>
                      <a:ext uri="{FF2B5EF4-FFF2-40B4-BE49-F238E27FC236}">
                        <a16:creationId xmlns:a16="http://schemas.microsoft.com/office/drawing/2014/main" id="{3142D5CB-33BB-29F8-34C0-990616633771}"/>
                      </a:ext>
                    </a:extLst>
                  </p:cNvPr>
                  <p:cNvSpPr/>
                  <p:nvPr/>
                </p:nvSpPr>
                <p:spPr>
                  <a:xfrm>
                    <a:off x="6298818" y="5354822"/>
                    <a:ext cx="72746" cy="236902"/>
                  </a:xfrm>
                  <a:custGeom>
                    <a:avLst/>
                    <a:gdLst>
                      <a:gd name="connsiteX0" fmla="*/ 72746 w 72746"/>
                      <a:gd name="connsiteY0" fmla="*/ 236902 h 236902"/>
                      <a:gd name="connsiteX1" fmla="*/ 0 w 72746"/>
                      <a:gd name="connsiteY1" fmla="*/ 236902 h 236902"/>
                      <a:gd name="connsiteX2" fmla="*/ 0 w 72746"/>
                      <a:gd name="connsiteY2" fmla="*/ 0 h 236902"/>
                      <a:gd name="connsiteX3" fmla="*/ 72746 w 72746"/>
                      <a:gd name="connsiteY3" fmla="*/ 0 h 23690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72746" h="236902">
                        <a:moveTo>
                          <a:pt x="72746" y="236902"/>
                        </a:moveTo>
                        <a:lnTo>
                          <a:pt x="0" y="236902"/>
                        </a:lnTo>
                        <a:lnTo>
                          <a:pt x="0" y="0"/>
                        </a:lnTo>
                        <a:lnTo>
                          <a:pt x="72746" y="0"/>
                        </a:lnTo>
                      </a:path>
                    </a:pathLst>
                  </a:custGeom>
                  <a:noFill/>
                  <a:ln w="6350" cap="flat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1922" name="Forma livre: Forma 1921">
                    <a:extLst>
                      <a:ext uri="{FF2B5EF4-FFF2-40B4-BE49-F238E27FC236}">
                        <a16:creationId xmlns:a16="http://schemas.microsoft.com/office/drawing/2014/main" id="{A593FF00-3915-D6EE-0856-20F312214B92}"/>
                      </a:ext>
                    </a:extLst>
                  </p:cNvPr>
                  <p:cNvSpPr/>
                  <p:nvPr/>
                </p:nvSpPr>
                <p:spPr>
                  <a:xfrm>
                    <a:off x="6298818" y="5275138"/>
                    <a:ext cx="34617" cy="78250"/>
                  </a:xfrm>
                  <a:custGeom>
                    <a:avLst/>
                    <a:gdLst>
                      <a:gd name="connsiteX0" fmla="*/ 0 w 34617"/>
                      <a:gd name="connsiteY0" fmla="*/ 78251 h 78250"/>
                      <a:gd name="connsiteX1" fmla="*/ 34618 w 34617"/>
                      <a:gd name="connsiteY1" fmla="*/ 0 h 7825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34617" h="78250">
                        <a:moveTo>
                          <a:pt x="0" y="78251"/>
                        </a:moveTo>
                        <a:lnTo>
                          <a:pt x="34618" y="0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  <p:grpSp>
              <p:nvGrpSpPr>
                <p:cNvPr id="1923" name="Gráfico 17">
                  <a:extLst>
                    <a:ext uri="{FF2B5EF4-FFF2-40B4-BE49-F238E27FC236}">
                      <a16:creationId xmlns:a16="http://schemas.microsoft.com/office/drawing/2014/main" id="{41D8783F-F2B7-7586-3788-2754FC940A76}"/>
                    </a:ext>
                  </a:extLst>
                </p:cNvPr>
                <p:cNvGrpSpPr/>
                <p:nvPr/>
              </p:nvGrpSpPr>
              <p:grpSpPr>
                <a:xfrm>
                  <a:off x="6321996" y="5397858"/>
                  <a:ext cx="38964" cy="26294"/>
                  <a:chOff x="6321996" y="5397858"/>
                  <a:chExt cx="38964" cy="26294"/>
                </a:xfrm>
              </p:grpSpPr>
              <p:sp>
                <p:nvSpPr>
                  <p:cNvPr id="1924" name="Forma livre: Forma 1923">
                    <a:extLst>
                      <a:ext uri="{FF2B5EF4-FFF2-40B4-BE49-F238E27FC236}">
                        <a16:creationId xmlns:a16="http://schemas.microsoft.com/office/drawing/2014/main" id="{6859C000-35D0-3430-1F50-4C1A20A5B703}"/>
                      </a:ext>
                    </a:extLst>
                  </p:cNvPr>
                  <p:cNvSpPr/>
                  <p:nvPr/>
                </p:nvSpPr>
                <p:spPr>
                  <a:xfrm>
                    <a:off x="6321996" y="5397858"/>
                    <a:ext cx="38964" cy="1194"/>
                  </a:xfrm>
                  <a:custGeom>
                    <a:avLst/>
                    <a:gdLst>
                      <a:gd name="connsiteX0" fmla="*/ 0 w 38964"/>
                      <a:gd name="connsiteY0" fmla="*/ 0 h 1194"/>
                      <a:gd name="connsiteX1" fmla="*/ 38964 w 38964"/>
                      <a:gd name="connsiteY1" fmla="*/ 0 h 119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38964" h="1194">
                        <a:moveTo>
                          <a:pt x="0" y="0"/>
                        </a:moveTo>
                        <a:lnTo>
                          <a:pt x="38964" y="0"/>
                        </a:lnTo>
                      </a:path>
                    </a:pathLst>
                  </a:custGeom>
                  <a:ln w="6350" cap="flat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1925" name="Forma livre: Forma 1924">
                    <a:extLst>
                      <a:ext uri="{FF2B5EF4-FFF2-40B4-BE49-F238E27FC236}">
                        <a16:creationId xmlns:a16="http://schemas.microsoft.com/office/drawing/2014/main" id="{1A270D8D-906C-E14C-7366-193982CAE7C9}"/>
                      </a:ext>
                    </a:extLst>
                  </p:cNvPr>
                  <p:cNvSpPr/>
                  <p:nvPr/>
                </p:nvSpPr>
                <p:spPr>
                  <a:xfrm>
                    <a:off x="6321996" y="5424153"/>
                    <a:ext cx="38964" cy="1194"/>
                  </a:xfrm>
                  <a:custGeom>
                    <a:avLst/>
                    <a:gdLst>
                      <a:gd name="connsiteX0" fmla="*/ 0 w 38964"/>
                      <a:gd name="connsiteY0" fmla="*/ 0 h 1194"/>
                      <a:gd name="connsiteX1" fmla="*/ 38964 w 38964"/>
                      <a:gd name="connsiteY1" fmla="*/ 0 h 119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38964" h="1194">
                        <a:moveTo>
                          <a:pt x="0" y="0"/>
                        </a:moveTo>
                        <a:lnTo>
                          <a:pt x="38964" y="0"/>
                        </a:lnTo>
                      </a:path>
                    </a:pathLst>
                  </a:custGeom>
                  <a:ln w="6350" cap="flat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</p:grpSp>
          <p:grpSp>
            <p:nvGrpSpPr>
              <p:cNvPr id="1926" name="Gráfico 17">
                <a:extLst>
                  <a:ext uri="{FF2B5EF4-FFF2-40B4-BE49-F238E27FC236}">
                    <a16:creationId xmlns:a16="http://schemas.microsoft.com/office/drawing/2014/main" id="{10D2D4C1-886C-5FD1-6D69-2BA593E08A4C}"/>
                  </a:ext>
                </a:extLst>
              </p:cNvPr>
              <p:cNvGrpSpPr/>
              <p:nvPr/>
            </p:nvGrpSpPr>
            <p:grpSpPr>
              <a:xfrm>
                <a:off x="6503479" y="5275138"/>
                <a:ext cx="72746" cy="316586"/>
                <a:chOff x="6503479" y="5275138"/>
                <a:chExt cx="72746" cy="316586"/>
              </a:xfrm>
              <a:noFill/>
            </p:grpSpPr>
            <p:grpSp>
              <p:nvGrpSpPr>
                <p:cNvPr id="1927" name="Gráfico 17">
                  <a:extLst>
                    <a:ext uri="{FF2B5EF4-FFF2-40B4-BE49-F238E27FC236}">
                      <a16:creationId xmlns:a16="http://schemas.microsoft.com/office/drawing/2014/main" id="{63E86C48-262A-077B-156A-F0E7D425E50D}"/>
                    </a:ext>
                  </a:extLst>
                </p:cNvPr>
                <p:cNvGrpSpPr/>
                <p:nvPr/>
              </p:nvGrpSpPr>
              <p:grpSpPr>
                <a:xfrm>
                  <a:off x="6503479" y="5275138"/>
                  <a:ext cx="72746" cy="316586"/>
                  <a:chOff x="6503479" y="5275138"/>
                  <a:chExt cx="72746" cy="316586"/>
                </a:xfrm>
                <a:noFill/>
              </p:grpSpPr>
              <p:sp>
                <p:nvSpPr>
                  <p:cNvPr id="1928" name="Forma livre: Forma 1927">
                    <a:extLst>
                      <a:ext uri="{FF2B5EF4-FFF2-40B4-BE49-F238E27FC236}">
                        <a16:creationId xmlns:a16="http://schemas.microsoft.com/office/drawing/2014/main" id="{055BC0B9-E760-FA56-887C-F91E73163E93}"/>
                      </a:ext>
                    </a:extLst>
                  </p:cNvPr>
                  <p:cNvSpPr/>
                  <p:nvPr/>
                </p:nvSpPr>
                <p:spPr>
                  <a:xfrm>
                    <a:off x="6503479" y="5354822"/>
                    <a:ext cx="72746" cy="236902"/>
                  </a:xfrm>
                  <a:custGeom>
                    <a:avLst/>
                    <a:gdLst>
                      <a:gd name="connsiteX0" fmla="*/ 0 w 72746"/>
                      <a:gd name="connsiteY0" fmla="*/ 236902 h 236902"/>
                      <a:gd name="connsiteX1" fmla="*/ 72746 w 72746"/>
                      <a:gd name="connsiteY1" fmla="*/ 236902 h 236902"/>
                      <a:gd name="connsiteX2" fmla="*/ 72746 w 72746"/>
                      <a:gd name="connsiteY2" fmla="*/ 0 h 236902"/>
                      <a:gd name="connsiteX3" fmla="*/ 0 w 72746"/>
                      <a:gd name="connsiteY3" fmla="*/ 0 h 23690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72746" h="236902">
                        <a:moveTo>
                          <a:pt x="0" y="236902"/>
                        </a:moveTo>
                        <a:lnTo>
                          <a:pt x="72746" y="236902"/>
                        </a:lnTo>
                        <a:lnTo>
                          <a:pt x="72746" y="0"/>
                        </a:lnTo>
                        <a:lnTo>
                          <a:pt x="0" y="0"/>
                        </a:lnTo>
                      </a:path>
                    </a:pathLst>
                  </a:custGeom>
                  <a:noFill/>
                  <a:ln w="6350" cap="flat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1929" name="Forma livre: Forma 1928">
                    <a:extLst>
                      <a:ext uri="{FF2B5EF4-FFF2-40B4-BE49-F238E27FC236}">
                        <a16:creationId xmlns:a16="http://schemas.microsoft.com/office/drawing/2014/main" id="{2B07F23A-B585-F15E-384B-B8C8ED0F81B5}"/>
                      </a:ext>
                    </a:extLst>
                  </p:cNvPr>
                  <p:cNvSpPr/>
                  <p:nvPr/>
                </p:nvSpPr>
                <p:spPr>
                  <a:xfrm>
                    <a:off x="6541608" y="5275138"/>
                    <a:ext cx="34617" cy="78250"/>
                  </a:xfrm>
                  <a:custGeom>
                    <a:avLst/>
                    <a:gdLst>
                      <a:gd name="connsiteX0" fmla="*/ 34618 w 34617"/>
                      <a:gd name="connsiteY0" fmla="*/ 78251 h 78250"/>
                      <a:gd name="connsiteX1" fmla="*/ 0 w 34617"/>
                      <a:gd name="connsiteY1" fmla="*/ 0 h 7825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34617" h="78250">
                        <a:moveTo>
                          <a:pt x="34618" y="78251"/>
                        </a:moveTo>
                        <a:lnTo>
                          <a:pt x="0" y="0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  <p:sp>
              <p:nvSpPr>
                <p:cNvPr id="1930" name="Forma livre: Forma 1929">
                  <a:extLst>
                    <a:ext uri="{FF2B5EF4-FFF2-40B4-BE49-F238E27FC236}">
                      <a16:creationId xmlns:a16="http://schemas.microsoft.com/office/drawing/2014/main" id="{06305BB2-04EC-5B59-C079-5D6D5E6E491C}"/>
                    </a:ext>
                  </a:extLst>
                </p:cNvPr>
                <p:cNvSpPr/>
                <p:nvPr/>
              </p:nvSpPr>
              <p:spPr>
                <a:xfrm>
                  <a:off x="6514083" y="5397858"/>
                  <a:ext cx="38964" cy="1194"/>
                </a:xfrm>
                <a:custGeom>
                  <a:avLst/>
                  <a:gdLst>
                    <a:gd name="connsiteX0" fmla="*/ 38964 w 38964"/>
                    <a:gd name="connsiteY0" fmla="*/ 0 h 1194"/>
                    <a:gd name="connsiteX1" fmla="*/ 0 w 38964"/>
                    <a:gd name="connsiteY1" fmla="*/ 0 h 119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38964" h="1194">
                      <a:moveTo>
                        <a:pt x="38964" y="0"/>
                      </a:moveTo>
                      <a:lnTo>
                        <a:pt x="0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931" name="Forma livre: Forma 1930">
                  <a:extLst>
                    <a:ext uri="{FF2B5EF4-FFF2-40B4-BE49-F238E27FC236}">
                      <a16:creationId xmlns:a16="http://schemas.microsoft.com/office/drawing/2014/main" id="{08C645F5-7785-46BF-9CFC-4ADF8E2B64F1}"/>
                    </a:ext>
                  </a:extLst>
                </p:cNvPr>
                <p:cNvSpPr/>
                <p:nvPr/>
              </p:nvSpPr>
              <p:spPr>
                <a:xfrm>
                  <a:off x="6514083" y="5424153"/>
                  <a:ext cx="38964" cy="1194"/>
                </a:xfrm>
                <a:custGeom>
                  <a:avLst/>
                  <a:gdLst>
                    <a:gd name="connsiteX0" fmla="*/ 38964 w 38964"/>
                    <a:gd name="connsiteY0" fmla="*/ 0 h 1194"/>
                    <a:gd name="connsiteX1" fmla="*/ 0 w 38964"/>
                    <a:gd name="connsiteY1" fmla="*/ 0 h 119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38964" h="1194">
                      <a:moveTo>
                        <a:pt x="38964" y="0"/>
                      </a:moveTo>
                      <a:lnTo>
                        <a:pt x="0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sp>
          <p:nvSpPr>
            <p:cNvPr id="1932" name="Forma livre: Forma 1931">
              <a:extLst>
                <a:ext uri="{FF2B5EF4-FFF2-40B4-BE49-F238E27FC236}">
                  <a16:creationId xmlns:a16="http://schemas.microsoft.com/office/drawing/2014/main" id="{717597F1-74EC-6924-D718-A7708B153870}"/>
                </a:ext>
              </a:extLst>
            </p:cNvPr>
            <p:cNvSpPr/>
            <p:nvPr/>
          </p:nvSpPr>
          <p:spPr>
            <a:xfrm>
              <a:off x="6420165" y="5284799"/>
              <a:ext cx="125490" cy="1194"/>
            </a:xfrm>
            <a:custGeom>
              <a:avLst/>
              <a:gdLst>
                <a:gd name="connsiteX0" fmla="*/ 0 w 125490"/>
                <a:gd name="connsiteY0" fmla="*/ 0 h 1194"/>
                <a:gd name="connsiteX1" fmla="*/ 125490 w 125490"/>
                <a:gd name="connsiteY1" fmla="*/ 0 h 11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490" h="1194">
                  <a:moveTo>
                    <a:pt x="0" y="0"/>
                  </a:moveTo>
                  <a:lnTo>
                    <a:pt x="12549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33" name="Forma livre: Forma 1932">
              <a:extLst>
                <a:ext uri="{FF2B5EF4-FFF2-40B4-BE49-F238E27FC236}">
                  <a16:creationId xmlns:a16="http://schemas.microsoft.com/office/drawing/2014/main" id="{717F239A-ECB6-FC5C-1CDD-AE82D7F0C99A}"/>
                </a:ext>
              </a:extLst>
            </p:cNvPr>
            <p:cNvSpPr/>
            <p:nvPr/>
          </p:nvSpPr>
          <p:spPr>
            <a:xfrm>
              <a:off x="6348040" y="5284799"/>
              <a:ext cx="52768" cy="1194"/>
            </a:xfrm>
            <a:custGeom>
              <a:avLst/>
              <a:gdLst>
                <a:gd name="connsiteX0" fmla="*/ 0 w 52768"/>
                <a:gd name="connsiteY0" fmla="*/ 0 h 1194"/>
                <a:gd name="connsiteX1" fmla="*/ 52768 w 52768"/>
                <a:gd name="connsiteY1" fmla="*/ 0 h 11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2768" h="1194">
                  <a:moveTo>
                    <a:pt x="0" y="0"/>
                  </a:moveTo>
                  <a:lnTo>
                    <a:pt x="52768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34" name="Forma livre: Forma 1933">
              <a:extLst>
                <a:ext uri="{FF2B5EF4-FFF2-40B4-BE49-F238E27FC236}">
                  <a16:creationId xmlns:a16="http://schemas.microsoft.com/office/drawing/2014/main" id="{08962A17-2835-3E65-51EE-E24294A33FC6}"/>
                </a:ext>
              </a:extLst>
            </p:cNvPr>
            <p:cNvSpPr/>
            <p:nvPr/>
          </p:nvSpPr>
          <p:spPr>
            <a:xfrm>
              <a:off x="6510119" y="5285897"/>
              <a:ext cx="13947" cy="50368"/>
            </a:xfrm>
            <a:custGeom>
              <a:avLst/>
              <a:gdLst>
                <a:gd name="connsiteX0" fmla="*/ 0 w 13947"/>
                <a:gd name="connsiteY0" fmla="*/ 0 h 50368"/>
                <a:gd name="connsiteX1" fmla="*/ 13947 w 13947"/>
                <a:gd name="connsiteY1" fmla="*/ 50368 h 503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3947" h="50368">
                  <a:moveTo>
                    <a:pt x="0" y="0"/>
                  </a:moveTo>
                  <a:lnTo>
                    <a:pt x="13947" y="50368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935" name="Gráfico 17">
            <a:extLst>
              <a:ext uri="{FF2B5EF4-FFF2-40B4-BE49-F238E27FC236}">
                <a16:creationId xmlns:a16="http://schemas.microsoft.com/office/drawing/2014/main" id="{2E3E6CD8-B975-F39E-7803-827B44C1B518}"/>
              </a:ext>
            </a:extLst>
          </p:cNvPr>
          <p:cNvGrpSpPr/>
          <p:nvPr/>
        </p:nvGrpSpPr>
        <p:grpSpPr>
          <a:xfrm>
            <a:off x="6299045" y="4222888"/>
            <a:ext cx="276953" cy="283783"/>
            <a:chOff x="6299045" y="4222888"/>
            <a:chExt cx="276953" cy="283783"/>
          </a:xfrm>
          <a:noFill/>
        </p:grpSpPr>
        <p:grpSp>
          <p:nvGrpSpPr>
            <p:cNvPr id="1936" name="Gráfico 17">
              <a:extLst>
                <a:ext uri="{FF2B5EF4-FFF2-40B4-BE49-F238E27FC236}">
                  <a16:creationId xmlns:a16="http://schemas.microsoft.com/office/drawing/2014/main" id="{CC14D440-A87C-0DA0-747D-91EFB62BAE7A}"/>
                </a:ext>
              </a:extLst>
            </p:cNvPr>
            <p:cNvGrpSpPr/>
            <p:nvPr/>
          </p:nvGrpSpPr>
          <p:grpSpPr>
            <a:xfrm>
              <a:off x="6522454" y="4384704"/>
              <a:ext cx="25912" cy="55156"/>
              <a:chOff x="6522454" y="4384704"/>
              <a:chExt cx="25912" cy="55156"/>
            </a:xfrm>
            <a:noFill/>
          </p:grpSpPr>
          <p:sp>
            <p:nvSpPr>
              <p:cNvPr id="1937" name="Forma livre: Forma 1936">
                <a:extLst>
                  <a:ext uri="{FF2B5EF4-FFF2-40B4-BE49-F238E27FC236}">
                    <a16:creationId xmlns:a16="http://schemas.microsoft.com/office/drawing/2014/main" id="{2CF52454-D62D-2F81-AA50-A6B7CEFEB1AE}"/>
                  </a:ext>
                </a:extLst>
              </p:cNvPr>
              <p:cNvSpPr/>
              <p:nvPr/>
            </p:nvSpPr>
            <p:spPr>
              <a:xfrm>
                <a:off x="6524353" y="4412276"/>
                <a:ext cx="19941" cy="1194"/>
              </a:xfrm>
              <a:custGeom>
                <a:avLst/>
                <a:gdLst>
                  <a:gd name="connsiteX0" fmla="*/ 19942 w 19941"/>
                  <a:gd name="connsiteY0" fmla="*/ 0 h 1194"/>
                  <a:gd name="connsiteX1" fmla="*/ 0 w 19941"/>
                  <a:gd name="connsiteY1" fmla="*/ 0 h 11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9941" h="1194">
                    <a:moveTo>
                      <a:pt x="19942" y="0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938" name="Forma livre: Forma 1937">
                <a:extLst>
                  <a:ext uri="{FF2B5EF4-FFF2-40B4-BE49-F238E27FC236}">
                    <a16:creationId xmlns:a16="http://schemas.microsoft.com/office/drawing/2014/main" id="{CEF252AF-5271-764D-E3CA-8F84998A95E0}"/>
                  </a:ext>
                </a:extLst>
              </p:cNvPr>
              <p:cNvSpPr/>
              <p:nvPr/>
            </p:nvSpPr>
            <p:spPr>
              <a:xfrm>
                <a:off x="6522454" y="4384704"/>
                <a:ext cx="25912" cy="55156"/>
              </a:xfrm>
              <a:custGeom>
                <a:avLst/>
                <a:gdLst>
                  <a:gd name="connsiteX0" fmla="*/ 0 w 25912"/>
                  <a:gd name="connsiteY0" fmla="*/ 55157 h 55156"/>
                  <a:gd name="connsiteX1" fmla="*/ 0 w 25912"/>
                  <a:gd name="connsiteY1" fmla="*/ 0 h 55156"/>
                  <a:gd name="connsiteX2" fmla="*/ 25912 w 25912"/>
                  <a:gd name="connsiteY2" fmla="*/ 0 h 551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5912" h="55156">
                    <a:moveTo>
                      <a:pt x="0" y="55157"/>
                    </a:moveTo>
                    <a:lnTo>
                      <a:pt x="0" y="0"/>
                    </a:lnTo>
                    <a:lnTo>
                      <a:pt x="25912" y="0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939" name="Forma livre: Forma 1938">
              <a:extLst>
                <a:ext uri="{FF2B5EF4-FFF2-40B4-BE49-F238E27FC236}">
                  <a16:creationId xmlns:a16="http://schemas.microsoft.com/office/drawing/2014/main" id="{7B8DB7C4-FA7A-53D2-EA38-C918D6FF4A4A}"/>
                </a:ext>
              </a:extLst>
            </p:cNvPr>
            <p:cNvSpPr/>
            <p:nvPr/>
          </p:nvSpPr>
          <p:spPr>
            <a:xfrm>
              <a:off x="6335406" y="4306740"/>
              <a:ext cx="1194" cy="174449"/>
            </a:xfrm>
            <a:custGeom>
              <a:avLst/>
              <a:gdLst>
                <a:gd name="connsiteX0" fmla="*/ 0 w 1194"/>
                <a:gd name="connsiteY0" fmla="*/ 174450 h 174449"/>
                <a:gd name="connsiteX1" fmla="*/ 0 w 1194"/>
                <a:gd name="connsiteY1" fmla="*/ 0 h 1744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94" h="174449">
                  <a:moveTo>
                    <a:pt x="0" y="174450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40" name="Forma livre: Forma 1939">
              <a:extLst>
                <a:ext uri="{FF2B5EF4-FFF2-40B4-BE49-F238E27FC236}">
                  <a16:creationId xmlns:a16="http://schemas.microsoft.com/office/drawing/2014/main" id="{923F0EFA-0930-7FEB-A0D9-E77BC8F3963D}"/>
                </a:ext>
              </a:extLst>
            </p:cNvPr>
            <p:cNvSpPr/>
            <p:nvPr/>
          </p:nvSpPr>
          <p:spPr>
            <a:xfrm>
              <a:off x="6330821" y="4251941"/>
              <a:ext cx="192409" cy="1194"/>
            </a:xfrm>
            <a:custGeom>
              <a:avLst/>
              <a:gdLst>
                <a:gd name="connsiteX0" fmla="*/ 0 w 192409"/>
                <a:gd name="connsiteY0" fmla="*/ 0 h 1194"/>
                <a:gd name="connsiteX1" fmla="*/ 192409 w 192409"/>
                <a:gd name="connsiteY1" fmla="*/ 0 h 11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92409" h="1194">
                  <a:moveTo>
                    <a:pt x="0" y="0"/>
                  </a:moveTo>
                  <a:lnTo>
                    <a:pt x="192409" y="0"/>
                  </a:lnTo>
                </a:path>
              </a:pathLst>
            </a:custGeom>
            <a:ln w="6350" cap="sq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41" name="Forma livre: Forma 1940">
              <a:extLst>
                <a:ext uri="{FF2B5EF4-FFF2-40B4-BE49-F238E27FC236}">
                  <a16:creationId xmlns:a16="http://schemas.microsoft.com/office/drawing/2014/main" id="{54553222-E5A4-27F8-36D0-7A443CD8BA02}"/>
                </a:ext>
              </a:extLst>
            </p:cNvPr>
            <p:cNvSpPr/>
            <p:nvPr/>
          </p:nvSpPr>
          <p:spPr>
            <a:xfrm>
              <a:off x="6391888" y="4359066"/>
              <a:ext cx="184110" cy="107017"/>
            </a:xfrm>
            <a:custGeom>
              <a:avLst/>
              <a:gdLst>
                <a:gd name="connsiteX0" fmla="*/ 0 w 184110"/>
                <a:gd name="connsiteY0" fmla="*/ 0 h 107017"/>
                <a:gd name="connsiteX1" fmla="*/ 184110 w 184110"/>
                <a:gd name="connsiteY1" fmla="*/ 0 h 107017"/>
                <a:gd name="connsiteX2" fmla="*/ 184110 w 184110"/>
                <a:gd name="connsiteY2" fmla="*/ 107017 h 107017"/>
                <a:gd name="connsiteX3" fmla="*/ 0 w 184110"/>
                <a:gd name="connsiteY3" fmla="*/ 107017 h 1070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4110" h="107017">
                  <a:moveTo>
                    <a:pt x="0" y="0"/>
                  </a:moveTo>
                  <a:lnTo>
                    <a:pt x="184110" y="0"/>
                  </a:lnTo>
                  <a:lnTo>
                    <a:pt x="184110" y="107017"/>
                  </a:lnTo>
                  <a:lnTo>
                    <a:pt x="0" y="107017"/>
                  </a:ln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42" name="Forma livre: Forma 1941">
              <a:extLst>
                <a:ext uri="{FF2B5EF4-FFF2-40B4-BE49-F238E27FC236}">
                  <a16:creationId xmlns:a16="http://schemas.microsoft.com/office/drawing/2014/main" id="{EA4778C0-ACBD-9619-B10A-28A671C3DC43}"/>
                </a:ext>
              </a:extLst>
            </p:cNvPr>
            <p:cNvSpPr/>
            <p:nvPr/>
          </p:nvSpPr>
          <p:spPr>
            <a:xfrm>
              <a:off x="6299045" y="4222888"/>
              <a:ext cx="224196" cy="105727"/>
            </a:xfrm>
            <a:custGeom>
              <a:avLst/>
              <a:gdLst>
                <a:gd name="connsiteX0" fmla="*/ 224185 w 224196"/>
                <a:gd name="connsiteY0" fmla="*/ 105728 h 105727"/>
                <a:gd name="connsiteX1" fmla="*/ 224185 w 224196"/>
                <a:gd name="connsiteY1" fmla="*/ 58106 h 105727"/>
                <a:gd name="connsiteX2" fmla="*/ 28659 w 224196"/>
                <a:gd name="connsiteY2" fmla="*/ 58106 h 105727"/>
                <a:gd name="connsiteX3" fmla="*/ 0 w 224196"/>
                <a:gd name="connsiteY3" fmla="*/ 29447 h 105727"/>
                <a:gd name="connsiteX4" fmla="*/ 0 w 224196"/>
                <a:gd name="connsiteY4" fmla="*/ 28659 h 105727"/>
                <a:gd name="connsiteX5" fmla="*/ 28659 w 224196"/>
                <a:gd name="connsiteY5" fmla="*/ 0 h 105727"/>
                <a:gd name="connsiteX6" fmla="*/ 224197 w 224196"/>
                <a:gd name="connsiteY6" fmla="*/ 0 h 1057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24196" h="105727">
                  <a:moveTo>
                    <a:pt x="224185" y="105728"/>
                  </a:moveTo>
                  <a:lnTo>
                    <a:pt x="224185" y="58106"/>
                  </a:lnTo>
                  <a:lnTo>
                    <a:pt x="28659" y="58106"/>
                  </a:lnTo>
                  <a:cubicBezTo>
                    <a:pt x="12897" y="58106"/>
                    <a:pt x="0" y="45210"/>
                    <a:pt x="0" y="29447"/>
                  </a:cubicBezTo>
                  <a:lnTo>
                    <a:pt x="0" y="28659"/>
                  </a:lnTo>
                  <a:cubicBezTo>
                    <a:pt x="0" y="12897"/>
                    <a:pt x="12897" y="0"/>
                    <a:pt x="28659" y="0"/>
                  </a:cubicBezTo>
                  <a:lnTo>
                    <a:pt x="224197" y="0"/>
                  </a:lnTo>
                </a:path>
              </a:pathLst>
            </a:custGeom>
            <a:noFill/>
            <a:ln w="6350" cap="sq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43" name="Forma livre: Forma 1942">
              <a:extLst>
                <a:ext uri="{FF2B5EF4-FFF2-40B4-BE49-F238E27FC236}">
                  <a16:creationId xmlns:a16="http://schemas.microsoft.com/office/drawing/2014/main" id="{81F2B009-D8E7-87D3-DBF9-15DB5C80479F}"/>
                </a:ext>
              </a:extLst>
            </p:cNvPr>
            <p:cNvSpPr/>
            <p:nvPr/>
          </p:nvSpPr>
          <p:spPr>
            <a:xfrm>
              <a:off x="6299045" y="4255225"/>
              <a:ext cx="224184" cy="251446"/>
            </a:xfrm>
            <a:custGeom>
              <a:avLst/>
              <a:gdLst>
                <a:gd name="connsiteX0" fmla="*/ 0 w 224184"/>
                <a:gd name="connsiteY0" fmla="*/ 0 h 251446"/>
                <a:gd name="connsiteX1" fmla="*/ 0 w 224184"/>
                <a:gd name="connsiteY1" fmla="*/ 222788 h 251446"/>
                <a:gd name="connsiteX2" fmla="*/ 28659 w 224184"/>
                <a:gd name="connsiteY2" fmla="*/ 251447 h 251446"/>
                <a:gd name="connsiteX3" fmla="*/ 224185 w 224184"/>
                <a:gd name="connsiteY3" fmla="*/ 251447 h 251446"/>
                <a:gd name="connsiteX4" fmla="*/ 224185 w 224184"/>
                <a:gd name="connsiteY4" fmla="*/ 212709 h 2514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24184" h="251446">
                  <a:moveTo>
                    <a:pt x="0" y="0"/>
                  </a:moveTo>
                  <a:lnTo>
                    <a:pt x="0" y="222788"/>
                  </a:lnTo>
                  <a:cubicBezTo>
                    <a:pt x="0" y="238550"/>
                    <a:pt x="12897" y="251447"/>
                    <a:pt x="28659" y="251447"/>
                  </a:cubicBezTo>
                  <a:lnTo>
                    <a:pt x="224185" y="251447"/>
                  </a:lnTo>
                  <a:lnTo>
                    <a:pt x="224185" y="212709"/>
                  </a:lnTo>
                </a:path>
              </a:pathLst>
            </a:custGeom>
            <a:noFill/>
            <a:ln w="6350" cap="sq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44" name="Forma livre: Forma 1943">
              <a:extLst>
                <a:ext uri="{FF2B5EF4-FFF2-40B4-BE49-F238E27FC236}">
                  <a16:creationId xmlns:a16="http://schemas.microsoft.com/office/drawing/2014/main" id="{E99089D8-A64C-8CBE-637D-91F385C13E56}"/>
                </a:ext>
              </a:extLst>
            </p:cNvPr>
            <p:cNvSpPr/>
            <p:nvPr/>
          </p:nvSpPr>
          <p:spPr>
            <a:xfrm>
              <a:off x="6420452" y="4384692"/>
              <a:ext cx="31047" cy="55168"/>
            </a:xfrm>
            <a:custGeom>
              <a:avLst/>
              <a:gdLst>
                <a:gd name="connsiteX0" fmla="*/ 0 w 31047"/>
                <a:gd name="connsiteY0" fmla="*/ 55169 h 55168"/>
                <a:gd name="connsiteX1" fmla="*/ 0 w 31047"/>
                <a:gd name="connsiteY1" fmla="*/ 0 h 55168"/>
                <a:gd name="connsiteX2" fmla="*/ 17769 w 31047"/>
                <a:gd name="connsiteY2" fmla="*/ 0 h 55168"/>
                <a:gd name="connsiteX3" fmla="*/ 31047 w 31047"/>
                <a:gd name="connsiteY3" fmla="*/ 13279 h 55168"/>
                <a:gd name="connsiteX4" fmla="*/ 31047 w 31047"/>
                <a:gd name="connsiteY4" fmla="*/ 14306 h 55168"/>
                <a:gd name="connsiteX5" fmla="*/ 17769 w 31047"/>
                <a:gd name="connsiteY5" fmla="*/ 27584 h 55168"/>
                <a:gd name="connsiteX6" fmla="*/ 1899 w 31047"/>
                <a:gd name="connsiteY6" fmla="*/ 27584 h 551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1047" h="55168">
                  <a:moveTo>
                    <a:pt x="0" y="55169"/>
                  </a:moveTo>
                  <a:lnTo>
                    <a:pt x="0" y="0"/>
                  </a:lnTo>
                  <a:lnTo>
                    <a:pt x="17769" y="0"/>
                  </a:lnTo>
                  <a:cubicBezTo>
                    <a:pt x="25077" y="0"/>
                    <a:pt x="31047" y="5971"/>
                    <a:pt x="31047" y="13279"/>
                  </a:cubicBezTo>
                  <a:lnTo>
                    <a:pt x="31047" y="14306"/>
                  </a:lnTo>
                  <a:cubicBezTo>
                    <a:pt x="31047" y="21614"/>
                    <a:pt x="25065" y="27584"/>
                    <a:pt x="17769" y="27584"/>
                  </a:cubicBezTo>
                  <a:lnTo>
                    <a:pt x="1899" y="27584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45" name="Forma livre: Forma 1944">
              <a:extLst>
                <a:ext uri="{FF2B5EF4-FFF2-40B4-BE49-F238E27FC236}">
                  <a16:creationId xmlns:a16="http://schemas.microsoft.com/office/drawing/2014/main" id="{807DF1BF-0AED-6BBB-F978-DF0C71FA4FAE}"/>
                </a:ext>
              </a:extLst>
            </p:cNvPr>
            <p:cNvSpPr/>
            <p:nvPr/>
          </p:nvSpPr>
          <p:spPr>
            <a:xfrm>
              <a:off x="6470605" y="4384704"/>
              <a:ext cx="30760" cy="55240"/>
            </a:xfrm>
            <a:custGeom>
              <a:avLst/>
              <a:gdLst>
                <a:gd name="connsiteX0" fmla="*/ 0 w 30760"/>
                <a:gd name="connsiteY0" fmla="*/ 0 h 55240"/>
                <a:gd name="connsiteX1" fmla="*/ 15488 w 30760"/>
                <a:gd name="connsiteY1" fmla="*/ 0 h 55240"/>
                <a:gd name="connsiteX2" fmla="*/ 30761 w 30760"/>
                <a:gd name="connsiteY2" fmla="*/ 18127 h 55240"/>
                <a:gd name="connsiteX3" fmla="*/ 30761 w 30760"/>
                <a:gd name="connsiteY3" fmla="*/ 37101 h 55240"/>
                <a:gd name="connsiteX4" fmla="*/ 15488 w 30760"/>
                <a:gd name="connsiteY4" fmla="*/ 55240 h 55240"/>
                <a:gd name="connsiteX5" fmla="*/ 0 w 30760"/>
                <a:gd name="connsiteY5" fmla="*/ 55240 h 55240"/>
                <a:gd name="connsiteX6" fmla="*/ 0 w 30760"/>
                <a:gd name="connsiteY6" fmla="*/ 0 h 552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0760" h="55240">
                  <a:moveTo>
                    <a:pt x="0" y="0"/>
                  </a:moveTo>
                  <a:lnTo>
                    <a:pt x="15488" y="0"/>
                  </a:lnTo>
                  <a:cubicBezTo>
                    <a:pt x="25459" y="0"/>
                    <a:pt x="30761" y="8156"/>
                    <a:pt x="30761" y="18127"/>
                  </a:cubicBezTo>
                  <a:lnTo>
                    <a:pt x="30761" y="37101"/>
                  </a:lnTo>
                  <a:cubicBezTo>
                    <a:pt x="30761" y="47072"/>
                    <a:pt x="25471" y="55240"/>
                    <a:pt x="15488" y="55240"/>
                  </a:cubicBezTo>
                  <a:lnTo>
                    <a:pt x="0" y="5524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946" name="Gráfico 17">
            <a:extLst>
              <a:ext uri="{FF2B5EF4-FFF2-40B4-BE49-F238E27FC236}">
                <a16:creationId xmlns:a16="http://schemas.microsoft.com/office/drawing/2014/main" id="{B10DD0EC-C0EA-12B6-B948-898A81D5142F}"/>
              </a:ext>
            </a:extLst>
          </p:cNvPr>
          <p:cNvGrpSpPr/>
          <p:nvPr/>
        </p:nvGrpSpPr>
        <p:grpSpPr>
          <a:xfrm>
            <a:off x="6946989" y="4733066"/>
            <a:ext cx="224196" cy="331369"/>
            <a:chOff x="6946989" y="4733066"/>
            <a:chExt cx="224196" cy="331369"/>
          </a:xfrm>
          <a:noFill/>
        </p:grpSpPr>
        <p:sp>
          <p:nvSpPr>
            <p:cNvPr id="1947" name="Forma livre: Forma 1946">
              <a:extLst>
                <a:ext uri="{FF2B5EF4-FFF2-40B4-BE49-F238E27FC236}">
                  <a16:creationId xmlns:a16="http://schemas.microsoft.com/office/drawing/2014/main" id="{EEC34F39-3222-83EE-5794-130B74A6E424}"/>
                </a:ext>
              </a:extLst>
            </p:cNvPr>
            <p:cNvSpPr/>
            <p:nvPr/>
          </p:nvSpPr>
          <p:spPr>
            <a:xfrm>
              <a:off x="7023222" y="4987462"/>
              <a:ext cx="47430" cy="76973"/>
            </a:xfrm>
            <a:custGeom>
              <a:avLst/>
              <a:gdLst>
                <a:gd name="connsiteX0" fmla="*/ 47431 w 47430"/>
                <a:gd name="connsiteY0" fmla="*/ 0 h 76973"/>
                <a:gd name="connsiteX1" fmla="*/ 47431 w 47430"/>
                <a:gd name="connsiteY1" fmla="*/ 76973 h 76973"/>
                <a:gd name="connsiteX2" fmla="*/ 23703 w 47430"/>
                <a:gd name="connsiteY2" fmla="*/ 61247 h 76973"/>
                <a:gd name="connsiteX3" fmla="*/ 0 w 47430"/>
                <a:gd name="connsiteY3" fmla="*/ 76973 h 76973"/>
                <a:gd name="connsiteX4" fmla="*/ 0 w 47430"/>
                <a:gd name="connsiteY4" fmla="*/ 19894 h 769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7430" h="76973">
                  <a:moveTo>
                    <a:pt x="47431" y="0"/>
                  </a:moveTo>
                  <a:lnTo>
                    <a:pt x="47431" y="76973"/>
                  </a:lnTo>
                  <a:lnTo>
                    <a:pt x="23703" y="61247"/>
                  </a:lnTo>
                  <a:lnTo>
                    <a:pt x="0" y="76973"/>
                  </a:lnTo>
                  <a:lnTo>
                    <a:pt x="0" y="19894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948" name="Gráfico 17">
              <a:extLst>
                <a:ext uri="{FF2B5EF4-FFF2-40B4-BE49-F238E27FC236}">
                  <a16:creationId xmlns:a16="http://schemas.microsoft.com/office/drawing/2014/main" id="{F948CE4A-BD1D-0A88-D875-F86BFCC937CD}"/>
                </a:ext>
              </a:extLst>
            </p:cNvPr>
            <p:cNvGrpSpPr/>
            <p:nvPr/>
          </p:nvGrpSpPr>
          <p:grpSpPr>
            <a:xfrm>
              <a:off x="6978765" y="4758524"/>
              <a:ext cx="192421" cy="229259"/>
              <a:chOff x="6978765" y="4758524"/>
              <a:chExt cx="192421" cy="229259"/>
            </a:xfrm>
          </p:grpSpPr>
          <p:sp>
            <p:nvSpPr>
              <p:cNvPr id="1949" name="Forma livre: Forma 1948">
                <a:extLst>
                  <a:ext uri="{FF2B5EF4-FFF2-40B4-BE49-F238E27FC236}">
                    <a16:creationId xmlns:a16="http://schemas.microsoft.com/office/drawing/2014/main" id="{33129EF9-35F7-9C7D-9803-F410299B9C2E}"/>
                  </a:ext>
                </a:extLst>
              </p:cNvPr>
              <p:cNvSpPr/>
              <p:nvPr/>
            </p:nvSpPr>
            <p:spPr>
              <a:xfrm>
                <a:off x="6979051" y="4758524"/>
                <a:ext cx="1194" cy="174461"/>
              </a:xfrm>
              <a:custGeom>
                <a:avLst/>
                <a:gdLst>
                  <a:gd name="connsiteX0" fmla="*/ 0 w 1194"/>
                  <a:gd name="connsiteY0" fmla="*/ 0 h 174461"/>
                  <a:gd name="connsiteX1" fmla="*/ 0 w 1194"/>
                  <a:gd name="connsiteY1" fmla="*/ 174461 h 1744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4" h="174461">
                    <a:moveTo>
                      <a:pt x="0" y="0"/>
                    </a:moveTo>
                    <a:lnTo>
                      <a:pt x="0" y="174461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950" name="Forma livre: Forma 1949">
                <a:extLst>
                  <a:ext uri="{FF2B5EF4-FFF2-40B4-BE49-F238E27FC236}">
                    <a16:creationId xmlns:a16="http://schemas.microsoft.com/office/drawing/2014/main" id="{B60AB3BE-053D-5D9E-F54A-14EF3D9EC028}"/>
                  </a:ext>
                </a:extLst>
              </p:cNvPr>
              <p:cNvSpPr/>
              <p:nvPr/>
            </p:nvSpPr>
            <p:spPr>
              <a:xfrm>
                <a:off x="6978765" y="4987784"/>
                <a:ext cx="192421" cy="1194"/>
              </a:xfrm>
              <a:custGeom>
                <a:avLst/>
                <a:gdLst>
                  <a:gd name="connsiteX0" fmla="*/ 0 w 192421"/>
                  <a:gd name="connsiteY0" fmla="*/ 0 h 1194"/>
                  <a:gd name="connsiteX1" fmla="*/ 192421 w 192421"/>
                  <a:gd name="connsiteY1" fmla="*/ 0 h 11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92421" h="1194">
                    <a:moveTo>
                      <a:pt x="0" y="0"/>
                    </a:moveTo>
                    <a:lnTo>
                      <a:pt x="192421" y="0"/>
                    </a:lnTo>
                  </a:path>
                </a:pathLst>
              </a:custGeom>
              <a:ln w="6350" cap="sq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951" name="Forma livre: Forma 1950">
              <a:extLst>
                <a:ext uri="{FF2B5EF4-FFF2-40B4-BE49-F238E27FC236}">
                  <a16:creationId xmlns:a16="http://schemas.microsoft.com/office/drawing/2014/main" id="{6645F761-A3C1-B375-1303-BF87AE08363F}"/>
                </a:ext>
              </a:extLst>
            </p:cNvPr>
            <p:cNvSpPr/>
            <p:nvPr/>
          </p:nvSpPr>
          <p:spPr>
            <a:xfrm>
              <a:off x="7072288" y="5016837"/>
              <a:ext cx="98897" cy="1194"/>
            </a:xfrm>
            <a:custGeom>
              <a:avLst/>
              <a:gdLst>
                <a:gd name="connsiteX0" fmla="*/ 0 w 98897"/>
                <a:gd name="connsiteY0" fmla="*/ 0 h 1194"/>
                <a:gd name="connsiteX1" fmla="*/ 98897 w 98897"/>
                <a:gd name="connsiteY1" fmla="*/ 0 h 11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8897" h="1194">
                  <a:moveTo>
                    <a:pt x="0" y="0"/>
                  </a:moveTo>
                  <a:lnTo>
                    <a:pt x="98897" y="0"/>
                  </a:lnTo>
                </a:path>
              </a:pathLst>
            </a:custGeom>
            <a:ln w="6350" cap="sq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52" name="Forma livre: Forma 1951">
              <a:extLst>
                <a:ext uri="{FF2B5EF4-FFF2-40B4-BE49-F238E27FC236}">
                  <a16:creationId xmlns:a16="http://schemas.microsoft.com/office/drawing/2014/main" id="{28F61EA1-D921-8028-D718-372A96F663ED}"/>
                </a:ext>
              </a:extLst>
            </p:cNvPr>
            <p:cNvSpPr/>
            <p:nvPr/>
          </p:nvSpPr>
          <p:spPr>
            <a:xfrm>
              <a:off x="6946989" y="4733066"/>
              <a:ext cx="224196" cy="283771"/>
            </a:xfrm>
            <a:custGeom>
              <a:avLst/>
              <a:gdLst>
                <a:gd name="connsiteX0" fmla="*/ 0 w 224196"/>
                <a:gd name="connsiteY0" fmla="*/ 251447 h 283771"/>
                <a:gd name="connsiteX1" fmla="*/ 0 w 224196"/>
                <a:gd name="connsiteY1" fmla="*/ 28659 h 283771"/>
                <a:gd name="connsiteX2" fmla="*/ 28659 w 224196"/>
                <a:gd name="connsiteY2" fmla="*/ 0 h 283771"/>
                <a:gd name="connsiteX3" fmla="*/ 224197 w 224196"/>
                <a:gd name="connsiteY3" fmla="*/ 0 h 283771"/>
                <a:gd name="connsiteX4" fmla="*/ 224197 w 224196"/>
                <a:gd name="connsiteY4" fmla="*/ 225665 h 283771"/>
                <a:gd name="connsiteX5" fmla="*/ 28659 w 224196"/>
                <a:gd name="connsiteY5" fmla="*/ 225665 h 283771"/>
                <a:gd name="connsiteX6" fmla="*/ 0 w 224196"/>
                <a:gd name="connsiteY6" fmla="*/ 254324 h 283771"/>
                <a:gd name="connsiteX7" fmla="*/ 0 w 224196"/>
                <a:gd name="connsiteY7" fmla="*/ 255113 h 283771"/>
                <a:gd name="connsiteX8" fmla="*/ 28659 w 224196"/>
                <a:gd name="connsiteY8" fmla="*/ 283772 h 283771"/>
                <a:gd name="connsiteX9" fmla="*/ 49365 w 224196"/>
                <a:gd name="connsiteY9" fmla="*/ 283772 h 2837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24196" h="283771">
                  <a:moveTo>
                    <a:pt x="0" y="251447"/>
                  </a:moveTo>
                  <a:lnTo>
                    <a:pt x="0" y="28659"/>
                  </a:lnTo>
                  <a:cubicBezTo>
                    <a:pt x="0" y="12897"/>
                    <a:pt x="12897" y="0"/>
                    <a:pt x="28659" y="0"/>
                  </a:cubicBezTo>
                  <a:lnTo>
                    <a:pt x="224197" y="0"/>
                  </a:lnTo>
                  <a:cubicBezTo>
                    <a:pt x="224197" y="0"/>
                    <a:pt x="224197" y="225665"/>
                    <a:pt x="224197" y="225665"/>
                  </a:cubicBezTo>
                  <a:lnTo>
                    <a:pt x="28659" y="225665"/>
                  </a:lnTo>
                  <a:cubicBezTo>
                    <a:pt x="12897" y="225665"/>
                    <a:pt x="0" y="238562"/>
                    <a:pt x="0" y="254324"/>
                  </a:cubicBezTo>
                  <a:lnTo>
                    <a:pt x="0" y="255113"/>
                  </a:lnTo>
                  <a:cubicBezTo>
                    <a:pt x="0" y="270875"/>
                    <a:pt x="12897" y="283772"/>
                    <a:pt x="28659" y="283772"/>
                  </a:cubicBezTo>
                  <a:lnTo>
                    <a:pt x="49365" y="283772"/>
                  </a:lnTo>
                </a:path>
              </a:pathLst>
            </a:custGeom>
            <a:noFill/>
            <a:ln w="6350" cap="sq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953" name="Gráfico 17">
              <a:extLst>
                <a:ext uri="{FF2B5EF4-FFF2-40B4-BE49-F238E27FC236}">
                  <a16:creationId xmlns:a16="http://schemas.microsoft.com/office/drawing/2014/main" id="{3C7BC5F8-E1C8-991A-42CB-F2DA93E27CD0}"/>
                </a:ext>
              </a:extLst>
            </p:cNvPr>
            <p:cNvGrpSpPr/>
            <p:nvPr/>
          </p:nvGrpSpPr>
          <p:grpSpPr>
            <a:xfrm>
              <a:off x="7010429" y="4780520"/>
              <a:ext cx="126234" cy="125594"/>
              <a:chOff x="7010429" y="4780520"/>
              <a:chExt cx="126234" cy="125594"/>
            </a:xfrm>
            <a:noFill/>
          </p:grpSpPr>
          <p:sp>
            <p:nvSpPr>
              <p:cNvPr id="1954" name="Forma livre: Forma 1953">
                <a:extLst>
                  <a:ext uri="{FF2B5EF4-FFF2-40B4-BE49-F238E27FC236}">
                    <a16:creationId xmlns:a16="http://schemas.microsoft.com/office/drawing/2014/main" id="{2FE8521B-B32F-CFFE-8225-A59C37FB341C}"/>
                  </a:ext>
                </a:extLst>
              </p:cNvPr>
              <p:cNvSpPr/>
              <p:nvPr/>
            </p:nvSpPr>
            <p:spPr>
              <a:xfrm>
                <a:off x="7010429" y="4780520"/>
                <a:ext cx="126234" cy="125594"/>
              </a:xfrm>
              <a:custGeom>
                <a:avLst/>
                <a:gdLst>
                  <a:gd name="connsiteX0" fmla="*/ 102662 w 126234"/>
                  <a:gd name="connsiteY0" fmla="*/ 74346 h 125594"/>
                  <a:gd name="connsiteX1" fmla="*/ 100656 w 126234"/>
                  <a:gd name="connsiteY1" fmla="*/ 74573 h 125594"/>
                  <a:gd name="connsiteX2" fmla="*/ 80989 w 126234"/>
                  <a:gd name="connsiteY2" fmla="*/ 97046 h 125594"/>
                  <a:gd name="connsiteX3" fmla="*/ 106340 w 126234"/>
                  <a:gd name="connsiteY3" fmla="*/ 112821 h 125594"/>
                  <a:gd name="connsiteX4" fmla="*/ 126234 w 126234"/>
                  <a:gd name="connsiteY4" fmla="*/ 90347 h 125594"/>
                  <a:gd name="connsiteX5" fmla="*/ 126234 w 126234"/>
                  <a:gd name="connsiteY5" fmla="*/ 0 h 125594"/>
                  <a:gd name="connsiteX6" fmla="*/ 45416 w 126234"/>
                  <a:gd name="connsiteY6" fmla="*/ 12479 h 125594"/>
                  <a:gd name="connsiteX7" fmla="*/ 45416 w 126234"/>
                  <a:gd name="connsiteY7" fmla="*/ 102826 h 125594"/>
                  <a:gd name="connsiteX8" fmla="*/ 25522 w 126234"/>
                  <a:gd name="connsiteY8" fmla="*/ 125299 h 125594"/>
                  <a:gd name="connsiteX9" fmla="*/ 183 w 126234"/>
                  <a:gd name="connsiteY9" fmla="*/ 109525 h 125594"/>
                  <a:gd name="connsiteX10" fmla="*/ 19850 w 126234"/>
                  <a:gd name="connsiteY10" fmla="*/ 87052 h 125594"/>
                  <a:gd name="connsiteX11" fmla="*/ 22369 w 126234"/>
                  <a:gd name="connsiteY11" fmla="*/ 86801 h 1255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26234" h="125594">
                    <a:moveTo>
                      <a:pt x="102662" y="74346"/>
                    </a:moveTo>
                    <a:cubicBezTo>
                      <a:pt x="101994" y="74394"/>
                      <a:pt x="101325" y="74477"/>
                      <a:pt x="100656" y="74573"/>
                    </a:cubicBezTo>
                    <a:cubicBezTo>
                      <a:pt x="88225" y="76424"/>
                      <a:pt x="79413" y="86490"/>
                      <a:pt x="80989" y="97046"/>
                    </a:cubicBezTo>
                    <a:cubicBezTo>
                      <a:pt x="82565" y="107602"/>
                      <a:pt x="93921" y="114672"/>
                      <a:pt x="106340" y="112821"/>
                    </a:cubicBezTo>
                    <a:cubicBezTo>
                      <a:pt x="118783" y="110970"/>
                      <a:pt x="126234" y="101739"/>
                      <a:pt x="126234" y="90347"/>
                    </a:cubicBezTo>
                    <a:lnTo>
                      <a:pt x="126234" y="0"/>
                    </a:lnTo>
                    <a:cubicBezTo>
                      <a:pt x="126234" y="0"/>
                      <a:pt x="45416" y="12479"/>
                      <a:pt x="45416" y="12479"/>
                    </a:cubicBezTo>
                    <a:lnTo>
                      <a:pt x="45416" y="102826"/>
                    </a:lnTo>
                    <a:cubicBezTo>
                      <a:pt x="45416" y="114218"/>
                      <a:pt x="37965" y="123448"/>
                      <a:pt x="25522" y="125299"/>
                    </a:cubicBezTo>
                    <a:cubicBezTo>
                      <a:pt x="13091" y="127150"/>
                      <a:pt x="1747" y="120093"/>
                      <a:pt x="183" y="109525"/>
                    </a:cubicBezTo>
                    <a:cubicBezTo>
                      <a:pt x="-1394" y="98969"/>
                      <a:pt x="7407" y="88903"/>
                      <a:pt x="19850" y="87052"/>
                    </a:cubicBezTo>
                    <a:cubicBezTo>
                      <a:pt x="20698" y="86920"/>
                      <a:pt x="21534" y="86837"/>
                      <a:pt x="22369" y="86801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955" name="Forma livre: Forma 1954">
                <a:extLst>
                  <a:ext uri="{FF2B5EF4-FFF2-40B4-BE49-F238E27FC236}">
                    <a16:creationId xmlns:a16="http://schemas.microsoft.com/office/drawing/2014/main" id="{3DE46507-1506-3D91-F02A-77FCE15ECDB5}"/>
                  </a:ext>
                </a:extLst>
              </p:cNvPr>
              <p:cNvSpPr/>
              <p:nvPr/>
            </p:nvSpPr>
            <p:spPr>
              <a:xfrm>
                <a:off x="7055869" y="4810875"/>
                <a:ext cx="80603" cy="11344"/>
              </a:xfrm>
              <a:custGeom>
                <a:avLst/>
                <a:gdLst>
                  <a:gd name="connsiteX0" fmla="*/ 0 w 80603"/>
                  <a:gd name="connsiteY0" fmla="*/ 11344 h 11344"/>
                  <a:gd name="connsiteX1" fmla="*/ 80603 w 80603"/>
                  <a:gd name="connsiteY1" fmla="*/ 0 h 113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80603" h="11344">
                    <a:moveTo>
                      <a:pt x="0" y="11344"/>
                    </a:moveTo>
                    <a:lnTo>
                      <a:pt x="80603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956" name="Gráfico 17">
            <a:extLst>
              <a:ext uri="{FF2B5EF4-FFF2-40B4-BE49-F238E27FC236}">
                <a16:creationId xmlns:a16="http://schemas.microsoft.com/office/drawing/2014/main" id="{5F7C107D-C9D2-E76A-FF2E-1E6E25DD15A9}"/>
              </a:ext>
            </a:extLst>
          </p:cNvPr>
          <p:cNvGrpSpPr/>
          <p:nvPr/>
        </p:nvGrpSpPr>
        <p:grpSpPr>
          <a:xfrm>
            <a:off x="6894197" y="5818309"/>
            <a:ext cx="329769" cy="296727"/>
            <a:chOff x="6894197" y="5818309"/>
            <a:chExt cx="329769" cy="296727"/>
          </a:xfrm>
          <a:noFill/>
        </p:grpSpPr>
        <p:sp>
          <p:nvSpPr>
            <p:cNvPr id="1957" name="Forma livre: Forma 1956">
              <a:extLst>
                <a:ext uri="{FF2B5EF4-FFF2-40B4-BE49-F238E27FC236}">
                  <a16:creationId xmlns:a16="http://schemas.microsoft.com/office/drawing/2014/main" id="{70D3BF94-03F5-9835-4632-1E6F8106CC27}"/>
                </a:ext>
              </a:extLst>
            </p:cNvPr>
            <p:cNvSpPr/>
            <p:nvPr/>
          </p:nvSpPr>
          <p:spPr>
            <a:xfrm>
              <a:off x="6894197" y="5890100"/>
              <a:ext cx="329769" cy="224936"/>
            </a:xfrm>
            <a:custGeom>
              <a:avLst/>
              <a:gdLst>
                <a:gd name="connsiteX0" fmla="*/ 0 w 329769"/>
                <a:gd name="connsiteY0" fmla="*/ 0 h 224936"/>
                <a:gd name="connsiteX1" fmla="*/ 0 w 329769"/>
                <a:gd name="connsiteY1" fmla="*/ 209187 h 224936"/>
                <a:gd name="connsiteX2" fmla="*/ 134017 w 329769"/>
                <a:gd name="connsiteY2" fmla="*/ 209187 h 224936"/>
                <a:gd name="connsiteX3" fmla="*/ 149039 w 329769"/>
                <a:gd name="connsiteY3" fmla="*/ 224937 h 224936"/>
                <a:gd name="connsiteX4" fmla="*/ 149289 w 329769"/>
                <a:gd name="connsiteY4" fmla="*/ 224937 h 224936"/>
                <a:gd name="connsiteX5" fmla="*/ 180480 w 329769"/>
                <a:gd name="connsiteY5" fmla="*/ 224937 h 224936"/>
                <a:gd name="connsiteX6" fmla="*/ 180731 w 329769"/>
                <a:gd name="connsiteY6" fmla="*/ 224937 h 224936"/>
                <a:gd name="connsiteX7" fmla="*/ 195753 w 329769"/>
                <a:gd name="connsiteY7" fmla="*/ 209187 h 224936"/>
                <a:gd name="connsiteX8" fmla="*/ 329769 w 329769"/>
                <a:gd name="connsiteY8" fmla="*/ 209187 h 224936"/>
                <a:gd name="connsiteX9" fmla="*/ 329769 w 329769"/>
                <a:gd name="connsiteY9" fmla="*/ 0 h 2249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29769" h="224936">
                  <a:moveTo>
                    <a:pt x="0" y="0"/>
                  </a:moveTo>
                  <a:lnTo>
                    <a:pt x="0" y="209187"/>
                  </a:lnTo>
                  <a:lnTo>
                    <a:pt x="134017" y="209187"/>
                  </a:lnTo>
                  <a:cubicBezTo>
                    <a:pt x="134017" y="209187"/>
                    <a:pt x="140716" y="224937"/>
                    <a:pt x="149039" y="224937"/>
                  </a:cubicBezTo>
                  <a:cubicBezTo>
                    <a:pt x="149301" y="224937"/>
                    <a:pt x="149361" y="224937"/>
                    <a:pt x="149289" y="224937"/>
                  </a:cubicBezTo>
                  <a:lnTo>
                    <a:pt x="180480" y="224937"/>
                  </a:lnTo>
                  <a:cubicBezTo>
                    <a:pt x="180420" y="224937"/>
                    <a:pt x="180468" y="224937"/>
                    <a:pt x="180731" y="224937"/>
                  </a:cubicBezTo>
                  <a:cubicBezTo>
                    <a:pt x="189054" y="224937"/>
                    <a:pt x="195753" y="209187"/>
                    <a:pt x="195753" y="209187"/>
                  </a:cubicBezTo>
                  <a:lnTo>
                    <a:pt x="329769" y="209187"/>
                  </a:lnTo>
                  <a:lnTo>
                    <a:pt x="329769" y="0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958" name="Gráfico 17">
              <a:extLst>
                <a:ext uri="{FF2B5EF4-FFF2-40B4-BE49-F238E27FC236}">
                  <a16:creationId xmlns:a16="http://schemas.microsoft.com/office/drawing/2014/main" id="{5324BA45-C305-FBF2-C31B-27AAED48F481}"/>
                </a:ext>
              </a:extLst>
            </p:cNvPr>
            <p:cNvGrpSpPr/>
            <p:nvPr/>
          </p:nvGrpSpPr>
          <p:grpSpPr>
            <a:xfrm>
              <a:off x="6921888" y="5818321"/>
              <a:ext cx="274385" cy="272510"/>
              <a:chOff x="6921888" y="5818321"/>
              <a:chExt cx="274385" cy="272510"/>
            </a:xfrm>
            <a:noFill/>
          </p:grpSpPr>
          <p:sp>
            <p:nvSpPr>
              <p:cNvPr id="1959" name="Forma livre: Forma 1958">
                <a:extLst>
                  <a:ext uri="{FF2B5EF4-FFF2-40B4-BE49-F238E27FC236}">
                    <a16:creationId xmlns:a16="http://schemas.microsoft.com/office/drawing/2014/main" id="{96AFC66E-0A17-2E64-BEC5-9B1DD6908D2F}"/>
                  </a:ext>
                </a:extLst>
              </p:cNvPr>
              <p:cNvSpPr/>
              <p:nvPr/>
            </p:nvSpPr>
            <p:spPr>
              <a:xfrm>
                <a:off x="6921888" y="5853966"/>
                <a:ext cx="137192" cy="236866"/>
              </a:xfrm>
              <a:custGeom>
                <a:avLst/>
                <a:gdLst>
                  <a:gd name="connsiteX0" fmla="*/ 0 w 137192"/>
                  <a:gd name="connsiteY0" fmla="*/ 0 h 236866"/>
                  <a:gd name="connsiteX1" fmla="*/ 0 w 137192"/>
                  <a:gd name="connsiteY1" fmla="*/ 213820 h 236866"/>
                  <a:gd name="connsiteX2" fmla="*/ 137193 w 137192"/>
                  <a:gd name="connsiteY2" fmla="*/ 236866 h 2368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37192" h="236866">
                    <a:moveTo>
                      <a:pt x="0" y="0"/>
                    </a:moveTo>
                    <a:lnTo>
                      <a:pt x="0" y="213820"/>
                    </a:lnTo>
                    <a:cubicBezTo>
                      <a:pt x="0" y="213820"/>
                      <a:pt x="95721" y="214106"/>
                      <a:pt x="137193" y="236866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1960" name="Gráfico 17">
                <a:extLst>
                  <a:ext uri="{FF2B5EF4-FFF2-40B4-BE49-F238E27FC236}">
                    <a16:creationId xmlns:a16="http://schemas.microsoft.com/office/drawing/2014/main" id="{CABDCD23-FCA7-629F-FA7F-D9C3F08ED4FB}"/>
                  </a:ext>
                </a:extLst>
              </p:cNvPr>
              <p:cNvGrpSpPr/>
              <p:nvPr/>
            </p:nvGrpSpPr>
            <p:grpSpPr>
              <a:xfrm>
                <a:off x="7059081" y="5818321"/>
                <a:ext cx="137192" cy="272510"/>
                <a:chOff x="7059081" y="5818321"/>
                <a:chExt cx="137192" cy="272510"/>
              </a:xfrm>
              <a:noFill/>
            </p:grpSpPr>
            <p:sp>
              <p:nvSpPr>
                <p:cNvPr id="1961" name="Forma livre: Forma 1960">
                  <a:extLst>
                    <a:ext uri="{FF2B5EF4-FFF2-40B4-BE49-F238E27FC236}">
                      <a16:creationId xmlns:a16="http://schemas.microsoft.com/office/drawing/2014/main" id="{A98F5F4B-273F-DC37-09DF-E0D086AD50A8}"/>
                    </a:ext>
                  </a:extLst>
                </p:cNvPr>
                <p:cNvSpPr/>
                <p:nvPr/>
              </p:nvSpPr>
              <p:spPr>
                <a:xfrm>
                  <a:off x="7059081" y="5853966"/>
                  <a:ext cx="137192" cy="236866"/>
                </a:xfrm>
                <a:custGeom>
                  <a:avLst/>
                  <a:gdLst>
                    <a:gd name="connsiteX0" fmla="*/ 137193 w 137192"/>
                    <a:gd name="connsiteY0" fmla="*/ 0 h 236866"/>
                    <a:gd name="connsiteX1" fmla="*/ 137193 w 137192"/>
                    <a:gd name="connsiteY1" fmla="*/ 213820 h 236866"/>
                    <a:gd name="connsiteX2" fmla="*/ 0 w 137192"/>
                    <a:gd name="connsiteY2" fmla="*/ 236866 h 23686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37192" h="236866">
                      <a:moveTo>
                        <a:pt x="137193" y="0"/>
                      </a:moveTo>
                      <a:lnTo>
                        <a:pt x="137193" y="213820"/>
                      </a:lnTo>
                      <a:cubicBezTo>
                        <a:pt x="137193" y="213820"/>
                        <a:pt x="41472" y="214106"/>
                        <a:pt x="0" y="236866"/>
                      </a:cubicBez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962" name="Forma livre: Forma 1961">
                  <a:extLst>
                    <a:ext uri="{FF2B5EF4-FFF2-40B4-BE49-F238E27FC236}">
                      <a16:creationId xmlns:a16="http://schemas.microsoft.com/office/drawing/2014/main" id="{DC776CFD-170B-AE3A-C037-1FB5FB75DD25}"/>
                    </a:ext>
                  </a:extLst>
                </p:cNvPr>
                <p:cNvSpPr/>
                <p:nvPr/>
              </p:nvSpPr>
              <p:spPr>
                <a:xfrm>
                  <a:off x="7059081" y="5818321"/>
                  <a:ext cx="109787" cy="272510"/>
                </a:xfrm>
                <a:custGeom>
                  <a:avLst/>
                  <a:gdLst>
                    <a:gd name="connsiteX0" fmla="*/ 0 w 109787"/>
                    <a:gd name="connsiteY0" fmla="*/ 54392 h 272510"/>
                    <a:gd name="connsiteX1" fmla="*/ 109788 w 109787"/>
                    <a:gd name="connsiteY1" fmla="*/ 0 h 272510"/>
                    <a:gd name="connsiteX2" fmla="*/ 109788 w 109787"/>
                    <a:gd name="connsiteY2" fmla="*/ 218071 h 272510"/>
                    <a:gd name="connsiteX3" fmla="*/ 0 w 109787"/>
                    <a:gd name="connsiteY3" fmla="*/ 272511 h 27251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09787" h="272510">
                      <a:moveTo>
                        <a:pt x="0" y="54392"/>
                      </a:moveTo>
                      <a:cubicBezTo>
                        <a:pt x="38284" y="5362"/>
                        <a:pt x="109788" y="0"/>
                        <a:pt x="109788" y="0"/>
                      </a:cubicBezTo>
                      <a:lnTo>
                        <a:pt x="109788" y="218071"/>
                      </a:lnTo>
                      <a:cubicBezTo>
                        <a:pt x="109788" y="218071"/>
                        <a:pt x="38284" y="223480"/>
                        <a:pt x="0" y="272511"/>
                      </a:cubicBez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sp>
          <p:nvSpPr>
            <p:cNvPr id="1963" name="Forma livre: Forma 1962">
              <a:extLst>
                <a:ext uri="{FF2B5EF4-FFF2-40B4-BE49-F238E27FC236}">
                  <a16:creationId xmlns:a16="http://schemas.microsoft.com/office/drawing/2014/main" id="{8F421F76-BFB2-DAFE-A340-7A0992A44011}"/>
                </a:ext>
              </a:extLst>
            </p:cNvPr>
            <p:cNvSpPr/>
            <p:nvPr/>
          </p:nvSpPr>
          <p:spPr>
            <a:xfrm>
              <a:off x="6949294" y="5818309"/>
              <a:ext cx="109787" cy="272522"/>
            </a:xfrm>
            <a:custGeom>
              <a:avLst/>
              <a:gdLst>
                <a:gd name="connsiteX0" fmla="*/ 0 w 109787"/>
                <a:gd name="connsiteY0" fmla="*/ 12 h 272522"/>
                <a:gd name="connsiteX1" fmla="*/ 0 w 109787"/>
                <a:gd name="connsiteY1" fmla="*/ 218083 h 272522"/>
                <a:gd name="connsiteX2" fmla="*/ 109788 w 109787"/>
                <a:gd name="connsiteY2" fmla="*/ 272523 h 272522"/>
                <a:gd name="connsiteX3" fmla="*/ 109788 w 109787"/>
                <a:gd name="connsiteY3" fmla="*/ 54392 h 272522"/>
                <a:gd name="connsiteX4" fmla="*/ 0 w 109787"/>
                <a:gd name="connsiteY4" fmla="*/ 0 h 2725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9787" h="272522">
                  <a:moveTo>
                    <a:pt x="0" y="12"/>
                  </a:moveTo>
                  <a:lnTo>
                    <a:pt x="0" y="218083"/>
                  </a:lnTo>
                  <a:cubicBezTo>
                    <a:pt x="0" y="218083"/>
                    <a:pt x="71504" y="223492"/>
                    <a:pt x="109788" y="272523"/>
                  </a:cubicBezTo>
                  <a:lnTo>
                    <a:pt x="109788" y="54392"/>
                  </a:lnTo>
                  <a:cubicBezTo>
                    <a:pt x="71504" y="5362"/>
                    <a:pt x="0" y="0"/>
                    <a:pt x="0" y="0"/>
                  </a:cubicBez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964" name="Gráfico 17">
            <a:extLst>
              <a:ext uri="{FF2B5EF4-FFF2-40B4-BE49-F238E27FC236}">
                <a16:creationId xmlns:a16="http://schemas.microsoft.com/office/drawing/2014/main" id="{F0BFFE91-73C2-B9D2-322C-6824CE416507}"/>
              </a:ext>
            </a:extLst>
          </p:cNvPr>
          <p:cNvGrpSpPr/>
          <p:nvPr/>
        </p:nvGrpSpPr>
        <p:grpSpPr>
          <a:xfrm>
            <a:off x="6861191" y="3716174"/>
            <a:ext cx="395792" cy="229266"/>
            <a:chOff x="6861191" y="3716174"/>
            <a:chExt cx="395792" cy="229266"/>
          </a:xfrm>
          <a:noFill/>
        </p:grpSpPr>
        <p:sp>
          <p:nvSpPr>
            <p:cNvPr id="1965" name="Forma livre: Forma 1964">
              <a:extLst>
                <a:ext uri="{FF2B5EF4-FFF2-40B4-BE49-F238E27FC236}">
                  <a16:creationId xmlns:a16="http://schemas.microsoft.com/office/drawing/2014/main" id="{05BC9F0B-A7F6-37F4-9402-9621E9D8AEFA}"/>
                </a:ext>
              </a:extLst>
            </p:cNvPr>
            <p:cNvSpPr/>
            <p:nvPr/>
          </p:nvSpPr>
          <p:spPr>
            <a:xfrm>
              <a:off x="6861191" y="3716174"/>
              <a:ext cx="395792" cy="227146"/>
            </a:xfrm>
            <a:custGeom>
              <a:avLst/>
              <a:gdLst>
                <a:gd name="connsiteX0" fmla="*/ 395792 w 395792"/>
                <a:gd name="connsiteY0" fmla="*/ 104617 h 227146"/>
                <a:gd name="connsiteX1" fmla="*/ 174223 w 395792"/>
                <a:gd name="connsiteY1" fmla="*/ 0 h 227146"/>
                <a:gd name="connsiteX2" fmla="*/ 37806 w 395792"/>
                <a:gd name="connsiteY2" fmla="*/ 38534 h 227146"/>
                <a:gd name="connsiteX3" fmla="*/ 0 w 395792"/>
                <a:gd name="connsiteY3" fmla="*/ 76340 h 227146"/>
                <a:gd name="connsiteX4" fmla="*/ 0 w 395792"/>
                <a:gd name="connsiteY4" fmla="*/ 90515 h 227146"/>
                <a:gd name="connsiteX5" fmla="*/ 37806 w 395792"/>
                <a:gd name="connsiteY5" fmla="*/ 137766 h 227146"/>
                <a:gd name="connsiteX6" fmla="*/ 210357 w 395792"/>
                <a:gd name="connsiteY6" fmla="*/ 227146 h 2271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95792" h="227146">
                  <a:moveTo>
                    <a:pt x="395792" y="104617"/>
                  </a:moveTo>
                  <a:lnTo>
                    <a:pt x="174223" y="0"/>
                  </a:lnTo>
                  <a:lnTo>
                    <a:pt x="37806" y="38534"/>
                  </a:lnTo>
                  <a:cubicBezTo>
                    <a:pt x="9613" y="47777"/>
                    <a:pt x="0" y="55539"/>
                    <a:pt x="0" y="76340"/>
                  </a:cubicBezTo>
                  <a:lnTo>
                    <a:pt x="0" y="90515"/>
                  </a:lnTo>
                  <a:cubicBezTo>
                    <a:pt x="0" y="111304"/>
                    <a:pt x="11583" y="123520"/>
                    <a:pt x="37806" y="137766"/>
                  </a:cubicBezTo>
                  <a:lnTo>
                    <a:pt x="210357" y="227146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66" name="Forma livre: Forma 1965">
              <a:extLst>
                <a:ext uri="{FF2B5EF4-FFF2-40B4-BE49-F238E27FC236}">
                  <a16:creationId xmlns:a16="http://schemas.microsoft.com/office/drawing/2014/main" id="{2AC459B5-3640-9EC4-210B-6EA47731E288}"/>
                </a:ext>
              </a:extLst>
            </p:cNvPr>
            <p:cNvSpPr/>
            <p:nvPr/>
          </p:nvSpPr>
          <p:spPr>
            <a:xfrm>
              <a:off x="6896131" y="3794246"/>
              <a:ext cx="136763" cy="70835"/>
            </a:xfrm>
            <a:custGeom>
              <a:avLst/>
              <a:gdLst>
                <a:gd name="connsiteX0" fmla="*/ 0 w 136763"/>
                <a:gd name="connsiteY0" fmla="*/ 0 h 70835"/>
                <a:gd name="connsiteX1" fmla="*/ 136763 w 136763"/>
                <a:gd name="connsiteY1" fmla="*/ 70835 h 708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36763" h="70835">
                  <a:moveTo>
                    <a:pt x="0" y="0"/>
                  </a:moveTo>
                  <a:lnTo>
                    <a:pt x="136763" y="70835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67" name="Forma livre: Forma 1966">
              <a:extLst>
                <a:ext uri="{FF2B5EF4-FFF2-40B4-BE49-F238E27FC236}">
                  <a16:creationId xmlns:a16="http://schemas.microsoft.com/office/drawing/2014/main" id="{955C737A-984A-8C69-BD97-55A3F440A898}"/>
                </a:ext>
              </a:extLst>
            </p:cNvPr>
            <p:cNvSpPr/>
            <p:nvPr/>
          </p:nvSpPr>
          <p:spPr>
            <a:xfrm>
              <a:off x="7059654" y="3820791"/>
              <a:ext cx="197328" cy="124649"/>
            </a:xfrm>
            <a:custGeom>
              <a:avLst/>
              <a:gdLst>
                <a:gd name="connsiteX0" fmla="*/ 197329 w 197328"/>
                <a:gd name="connsiteY0" fmla="*/ 0 h 124649"/>
                <a:gd name="connsiteX1" fmla="*/ 37818 w 197328"/>
                <a:gd name="connsiteY1" fmla="*/ 45866 h 124649"/>
                <a:gd name="connsiteX2" fmla="*/ 0 w 197328"/>
                <a:gd name="connsiteY2" fmla="*/ 83672 h 124649"/>
                <a:gd name="connsiteX3" fmla="*/ 0 w 197328"/>
                <a:gd name="connsiteY3" fmla="*/ 97847 h 124649"/>
                <a:gd name="connsiteX4" fmla="*/ 2782 w 197328"/>
                <a:gd name="connsiteY4" fmla="*/ 112869 h 124649"/>
                <a:gd name="connsiteX5" fmla="*/ 24575 w 197328"/>
                <a:gd name="connsiteY5" fmla="*/ 124165 h 124649"/>
                <a:gd name="connsiteX6" fmla="*/ 197329 w 197328"/>
                <a:gd name="connsiteY6" fmla="*/ 74573 h 1246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97328" h="124649">
                  <a:moveTo>
                    <a:pt x="197329" y="0"/>
                  </a:moveTo>
                  <a:lnTo>
                    <a:pt x="37818" y="45866"/>
                  </a:lnTo>
                  <a:cubicBezTo>
                    <a:pt x="11189" y="53437"/>
                    <a:pt x="0" y="62883"/>
                    <a:pt x="0" y="83672"/>
                  </a:cubicBezTo>
                  <a:lnTo>
                    <a:pt x="0" y="97847"/>
                  </a:lnTo>
                  <a:cubicBezTo>
                    <a:pt x="0" y="104211"/>
                    <a:pt x="490" y="107686"/>
                    <a:pt x="2782" y="112869"/>
                  </a:cubicBezTo>
                  <a:cubicBezTo>
                    <a:pt x="4741" y="117287"/>
                    <a:pt x="12371" y="126911"/>
                    <a:pt x="24575" y="124165"/>
                  </a:cubicBezTo>
                  <a:lnTo>
                    <a:pt x="197329" y="74573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68" name="Forma livre: Forma 1967">
              <a:extLst>
                <a:ext uri="{FF2B5EF4-FFF2-40B4-BE49-F238E27FC236}">
                  <a16:creationId xmlns:a16="http://schemas.microsoft.com/office/drawing/2014/main" id="{7C7CE3B5-C465-F129-7CDC-27B48BF8C160}"/>
                </a:ext>
              </a:extLst>
            </p:cNvPr>
            <p:cNvSpPr/>
            <p:nvPr/>
          </p:nvSpPr>
          <p:spPr>
            <a:xfrm>
              <a:off x="7231465" y="3825914"/>
              <a:ext cx="9039" cy="52732"/>
            </a:xfrm>
            <a:custGeom>
              <a:avLst/>
              <a:gdLst>
                <a:gd name="connsiteX0" fmla="*/ 1934 w 9039"/>
                <a:gd name="connsiteY0" fmla="*/ 52733 h 52732"/>
                <a:gd name="connsiteX1" fmla="*/ 0 w 9039"/>
                <a:gd name="connsiteY1" fmla="*/ 33758 h 52732"/>
                <a:gd name="connsiteX2" fmla="*/ 215 w 9039"/>
                <a:gd name="connsiteY2" fmla="*/ 28313 h 52732"/>
                <a:gd name="connsiteX3" fmla="*/ 9040 w 9039"/>
                <a:gd name="connsiteY3" fmla="*/ 0 h 527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039" h="52732">
                  <a:moveTo>
                    <a:pt x="1934" y="52733"/>
                  </a:moveTo>
                  <a:cubicBezTo>
                    <a:pt x="669" y="47574"/>
                    <a:pt x="0" y="39311"/>
                    <a:pt x="0" y="33758"/>
                  </a:cubicBezTo>
                  <a:cubicBezTo>
                    <a:pt x="0" y="31919"/>
                    <a:pt x="72" y="30104"/>
                    <a:pt x="215" y="28313"/>
                  </a:cubicBezTo>
                  <a:cubicBezTo>
                    <a:pt x="1039" y="18055"/>
                    <a:pt x="4156" y="8442"/>
                    <a:pt x="9040" y="0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969" name="Gráfico 17">
              <a:extLst>
                <a:ext uri="{FF2B5EF4-FFF2-40B4-BE49-F238E27FC236}">
                  <a16:creationId xmlns:a16="http://schemas.microsoft.com/office/drawing/2014/main" id="{135181A5-73DD-0886-3213-8231BCF4CA6E}"/>
                </a:ext>
              </a:extLst>
            </p:cNvPr>
            <p:cNvGrpSpPr/>
            <p:nvPr/>
          </p:nvGrpSpPr>
          <p:grpSpPr>
            <a:xfrm>
              <a:off x="6960447" y="3753717"/>
              <a:ext cx="122230" cy="42582"/>
              <a:chOff x="6960447" y="3753717"/>
              <a:chExt cx="122230" cy="42582"/>
            </a:xfrm>
          </p:grpSpPr>
          <p:sp>
            <p:nvSpPr>
              <p:cNvPr id="1970" name="Forma livre: Forma 1969">
                <a:extLst>
                  <a:ext uri="{FF2B5EF4-FFF2-40B4-BE49-F238E27FC236}">
                    <a16:creationId xmlns:a16="http://schemas.microsoft.com/office/drawing/2014/main" id="{D80EB21C-753B-197B-222E-871F3589470C}"/>
                  </a:ext>
                </a:extLst>
              </p:cNvPr>
              <p:cNvSpPr/>
              <p:nvPr/>
            </p:nvSpPr>
            <p:spPr>
              <a:xfrm>
                <a:off x="6960447" y="3753717"/>
                <a:ext cx="79027" cy="22330"/>
              </a:xfrm>
              <a:custGeom>
                <a:avLst/>
                <a:gdLst>
                  <a:gd name="connsiteX0" fmla="*/ 79027 w 79027"/>
                  <a:gd name="connsiteY0" fmla="*/ 0 h 22330"/>
                  <a:gd name="connsiteX1" fmla="*/ 0 w 79027"/>
                  <a:gd name="connsiteY1" fmla="*/ 22330 h 223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79027" h="22330">
                    <a:moveTo>
                      <a:pt x="79027" y="0"/>
                    </a:moveTo>
                    <a:lnTo>
                      <a:pt x="0" y="2233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971" name="Forma livre: Forma 1970">
                <a:extLst>
                  <a:ext uri="{FF2B5EF4-FFF2-40B4-BE49-F238E27FC236}">
                    <a16:creationId xmlns:a16="http://schemas.microsoft.com/office/drawing/2014/main" id="{33A9E75E-C5B2-B48B-8BF8-0BA4A48DB141}"/>
                  </a:ext>
                </a:extLst>
              </p:cNvPr>
              <p:cNvSpPr/>
              <p:nvPr/>
            </p:nvSpPr>
            <p:spPr>
              <a:xfrm>
                <a:off x="7003638" y="3773969"/>
                <a:ext cx="79039" cy="22330"/>
              </a:xfrm>
              <a:custGeom>
                <a:avLst/>
                <a:gdLst>
                  <a:gd name="connsiteX0" fmla="*/ 79039 w 79039"/>
                  <a:gd name="connsiteY0" fmla="*/ 0 h 22330"/>
                  <a:gd name="connsiteX1" fmla="*/ 0 w 79039"/>
                  <a:gd name="connsiteY1" fmla="*/ 22330 h 223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79039" h="22330">
                    <a:moveTo>
                      <a:pt x="79039" y="0"/>
                    </a:moveTo>
                    <a:lnTo>
                      <a:pt x="0" y="2233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972" name="Gráfico 17">
            <a:extLst>
              <a:ext uri="{FF2B5EF4-FFF2-40B4-BE49-F238E27FC236}">
                <a16:creationId xmlns:a16="http://schemas.microsoft.com/office/drawing/2014/main" id="{40B88CFA-AEDD-2782-B7D3-28996EE0E560}"/>
              </a:ext>
            </a:extLst>
          </p:cNvPr>
          <p:cNvGrpSpPr/>
          <p:nvPr/>
        </p:nvGrpSpPr>
        <p:grpSpPr>
          <a:xfrm>
            <a:off x="6918963" y="5267902"/>
            <a:ext cx="280236" cy="329661"/>
            <a:chOff x="6918963" y="5267902"/>
            <a:chExt cx="280236" cy="329661"/>
          </a:xfrm>
          <a:noFill/>
        </p:grpSpPr>
        <p:grpSp>
          <p:nvGrpSpPr>
            <p:cNvPr id="1973" name="Gráfico 17">
              <a:extLst>
                <a:ext uri="{FF2B5EF4-FFF2-40B4-BE49-F238E27FC236}">
                  <a16:creationId xmlns:a16="http://schemas.microsoft.com/office/drawing/2014/main" id="{B8E04345-759F-62C0-9FF5-E7EEACA9FE9C}"/>
                </a:ext>
              </a:extLst>
            </p:cNvPr>
            <p:cNvGrpSpPr/>
            <p:nvPr/>
          </p:nvGrpSpPr>
          <p:grpSpPr>
            <a:xfrm>
              <a:off x="6918963" y="5267902"/>
              <a:ext cx="221474" cy="283771"/>
              <a:chOff x="6918963" y="5267902"/>
              <a:chExt cx="221474" cy="283771"/>
            </a:xfrm>
            <a:noFill/>
          </p:grpSpPr>
          <p:sp>
            <p:nvSpPr>
              <p:cNvPr id="1974" name="Forma livre: Forma 1973">
                <a:extLst>
                  <a:ext uri="{FF2B5EF4-FFF2-40B4-BE49-F238E27FC236}">
                    <a16:creationId xmlns:a16="http://schemas.microsoft.com/office/drawing/2014/main" id="{8F175FE3-E71B-8858-4DED-88E45D913FDF}"/>
                  </a:ext>
                </a:extLst>
              </p:cNvPr>
              <p:cNvSpPr/>
              <p:nvPr/>
            </p:nvSpPr>
            <p:spPr>
              <a:xfrm>
                <a:off x="6951025" y="5351753"/>
                <a:ext cx="1194" cy="174461"/>
              </a:xfrm>
              <a:custGeom>
                <a:avLst/>
                <a:gdLst>
                  <a:gd name="connsiteX0" fmla="*/ 0 w 1194"/>
                  <a:gd name="connsiteY0" fmla="*/ 174462 h 174461"/>
                  <a:gd name="connsiteX1" fmla="*/ 0 w 1194"/>
                  <a:gd name="connsiteY1" fmla="*/ 0 h 1744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4" h="174461">
                    <a:moveTo>
                      <a:pt x="0" y="174462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975" name="Forma livre: Forma 1974">
                <a:extLst>
                  <a:ext uri="{FF2B5EF4-FFF2-40B4-BE49-F238E27FC236}">
                    <a16:creationId xmlns:a16="http://schemas.microsoft.com/office/drawing/2014/main" id="{421E3FAA-9C2D-ABC2-DE7C-F097BAFED30E}"/>
                  </a:ext>
                </a:extLst>
              </p:cNvPr>
              <p:cNvSpPr/>
              <p:nvPr/>
            </p:nvSpPr>
            <p:spPr>
              <a:xfrm>
                <a:off x="6950738" y="5296955"/>
                <a:ext cx="189698" cy="1194"/>
              </a:xfrm>
              <a:custGeom>
                <a:avLst/>
                <a:gdLst>
                  <a:gd name="connsiteX0" fmla="*/ 0 w 189698"/>
                  <a:gd name="connsiteY0" fmla="*/ 0 h 1194"/>
                  <a:gd name="connsiteX1" fmla="*/ 189699 w 189698"/>
                  <a:gd name="connsiteY1" fmla="*/ 0 h 11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89698" h="1194">
                    <a:moveTo>
                      <a:pt x="0" y="0"/>
                    </a:moveTo>
                    <a:lnTo>
                      <a:pt x="189699" y="0"/>
                    </a:lnTo>
                  </a:path>
                </a:pathLst>
              </a:custGeom>
              <a:ln w="6350" cap="sq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976" name="Forma livre: Forma 1975">
                <a:extLst>
                  <a:ext uri="{FF2B5EF4-FFF2-40B4-BE49-F238E27FC236}">
                    <a16:creationId xmlns:a16="http://schemas.microsoft.com/office/drawing/2014/main" id="{981A0363-6A79-08B2-84CE-4E7BD350EE5B}"/>
                  </a:ext>
                </a:extLst>
              </p:cNvPr>
              <p:cNvSpPr/>
              <p:nvPr/>
            </p:nvSpPr>
            <p:spPr>
              <a:xfrm>
                <a:off x="6918963" y="5267902"/>
                <a:ext cx="221474" cy="142721"/>
              </a:xfrm>
              <a:custGeom>
                <a:avLst/>
                <a:gdLst>
                  <a:gd name="connsiteX0" fmla="*/ 221474 w 221474"/>
                  <a:gd name="connsiteY0" fmla="*/ 0 h 142721"/>
                  <a:gd name="connsiteX1" fmla="*/ 28659 w 221474"/>
                  <a:gd name="connsiteY1" fmla="*/ 0 h 142721"/>
                  <a:gd name="connsiteX2" fmla="*/ 0 w 221474"/>
                  <a:gd name="connsiteY2" fmla="*/ 28659 h 142721"/>
                  <a:gd name="connsiteX3" fmla="*/ 0 w 221474"/>
                  <a:gd name="connsiteY3" fmla="*/ 29447 h 142721"/>
                  <a:gd name="connsiteX4" fmla="*/ 28659 w 221474"/>
                  <a:gd name="connsiteY4" fmla="*/ 58106 h 142721"/>
                  <a:gd name="connsiteX5" fmla="*/ 221474 w 221474"/>
                  <a:gd name="connsiteY5" fmla="*/ 58106 h 142721"/>
                  <a:gd name="connsiteX6" fmla="*/ 221474 w 221474"/>
                  <a:gd name="connsiteY6" fmla="*/ 142722 h 1427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21474" h="142721">
                    <a:moveTo>
                      <a:pt x="221474" y="0"/>
                    </a:moveTo>
                    <a:lnTo>
                      <a:pt x="28659" y="0"/>
                    </a:lnTo>
                    <a:cubicBezTo>
                      <a:pt x="12897" y="0"/>
                      <a:pt x="0" y="12897"/>
                      <a:pt x="0" y="28659"/>
                    </a:cubicBezTo>
                    <a:lnTo>
                      <a:pt x="0" y="29447"/>
                    </a:lnTo>
                    <a:cubicBezTo>
                      <a:pt x="0" y="45210"/>
                      <a:pt x="12897" y="58106"/>
                      <a:pt x="28659" y="58106"/>
                    </a:cubicBezTo>
                    <a:lnTo>
                      <a:pt x="221474" y="58106"/>
                    </a:lnTo>
                    <a:lnTo>
                      <a:pt x="221474" y="142722"/>
                    </a:lnTo>
                  </a:path>
                </a:pathLst>
              </a:custGeom>
              <a:noFill/>
              <a:ln w="6350" cap="sq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977" name="Forma livre: Forma 1976">
                <a:extLst>
                  <a:ext uri="{FF2B5EF4-FFF2-40B4-BE49-F238E27FC236}">
                    <a16:creationId xmlns:a16="http://schemas.microsoft.com/office/drawing/2014/main" id="{E6BDD14D-52CB-27C7-B84B-E14200FD2601}"/>
                  </a:ext>
                </a:extLst>
              </p:cNvPr>
              <p:cNvSpPr/>
              <p:nvPr/>
            </p:nvSpPr>
            <p:spPr>
              <a:xfrm>
                <a:off x="6918963" y="5300227"/>
                <a:ext cx="143282" cy="251446"/>
              </a:xfrm>
              <a:custGeom>
                <a:avLst/>
                <a:gdLst>
                  <a:gd name="connsiteX0" fmla="*/ 0 w 143282"/>
                  <a:gd name="connsiteY0" fmla="*/ 0 h 251446"/>
                  <a:gd name="connsiteX1" fmla="*/ 0 w 143282"/>
                  <a:gd name="connsiteY1" fmla="*/ 222788 h 251446"/>
                  <a:gd name="connsiteX2" fmla="*/ 28659 w 143282"/>
                  <a:gd name="connsiteY2" fmla="*/ 251447 h 251446"/>
                  <a:gd name="connsiteX3" fmla="*/ 143283 w 143282"/>
                  <a:gd name="connsiteY3" fmla="*/ 251447 h 2514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43282" h="251446">
                    <a:moveTo>
                      <a:pt x="0" y="0"/>
                    </a:moveTo>
                    <a:lnTo>
                      <a:pt x="0" y="222788"/>
                    </a:lnTo>
                    <a:cubicBezTo>
                      <a:pt x="0" y="238550"/>
                      <a:pt x="12897" y="251447"/>
                      <a:pt x="28659" y="251447"/>
                    </a:cubicBezTo>
                    <a:lnTo>
                      <a:pt x="143283" y="251447"/>
                    </a:lnTo>
                  </a:path>
                </a:pathLst>
              </a:custGeom>
              <a:noFill/>
              <a:ln w="6350" cap="sq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978" name="Forma livre: Forma 1977">
                <a:extLst>
                  <a:ext uri="{FF2B5EF4-FFF2-40B4-BE49-F238E27FC236}">
                    <a16:creationId xmlns:a16="http://schemas.microsoft.com/office/drawing/2014/main" id="{CB11B999-6E6D-73AF-B872-85CAD85DFC19}"/>
                  </a:ext>
                </a:extLst>
              </p:cNvPr>
              <p:cNvSpPr/>
              <p:nvPr/>
            </p:nvSpPr>
            <p:spPr>
              <a:xfrm>
                <a:off x="7000330" y="5378275"/>
                <a:ext cx="92353" cy="1194"/>
              </a:xfrm>
              <a:custGeom>
                <a:avLst/>
                <a:gdLst>
                  <a:gd name="connsiteX0" fmla="*/ 0 w 92353"/>
                  <a:gd name="connsiteY0" fmla="*/ 0 h 1194"/>
                  <a:gd name="connsiteX1" fmla="*/ 92354 w 92353"/>
                  <a:gd name="connsiteY1" fmla="*/ 0 h 11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2353" h="1194">
                    <a:moveTo>
                      <a:pt x="0" y="0"/>
                    </a:moveTo>
                    <a:lnTo>
                      <a:pt x="92354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979" name="Forma livre: Forma 1978">
              <a:extLst>
                <a:ext uri="{FF2B5EF4-FFF2-40B4-BE49-F238E27FC236}">
                  <a16:creationId xmlns:a16="http://schemas.microsoft.com/office/drawing/2014/main" id="{72A4CED4-9E89-28EC-184A-5407689618BE}"/>
                </a:ext>
              </a:extLst>
            </p:cNvPr>
            <p:cNvSpPr/>
            <p:nvPr/>
          </p:nvSpPr>
          <p:spPr>
            <a:xfrm>
              <a:off x="7080767" y="5432464"/>
              <a:ext cx="118433" cy="165099"/>
            </a:xfrm>
            <a:custGeom>
              <a:avLst/>
              <a:gdLst>
                <a:gd name="connsiteX0" fmla="*/ 84245 w 118433"/>
                <a:gd name="connsiteY0" fmla="*/ 0 h 165099"/>
                <a:gd name="connsiteX1" fmla="*/ 84245 w 118433"/>
                <a:gd name="connsiteY1" fmla="*/ 90729 h 165099"/>
                <a:gd name="connsiteX2" fmla="*/ 118433 w 118433"/>
                <a:gd name="connsiteY2" fmla="*/ 90729 h 165099"/>
                <a:gd name="connsiteX3" fmla="*/ 59217 w 118433"/>
                <a:gd name="connsiteY3" fmla="*/ 165100 h 165099"/>
                <a:gd name="connsiteX4" fmla="*/ 0 w 118433"/>
                <a:gd name="connsiteY4" fmla="*/ 90729 h 165099"/>
                <a:gd name="connsiteX5" fmla="*/ 34176 w 118433"/>
                <a:gd name="connsiteY5" fmla="*/ 90729 h 165099"/>
                <a:gd name="connsiteX6" fmla="*/ 34176 w 118433"/>
                <a:gd name="connsiteY6" fmla="*/ 0 h 1650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18433" h="165099">
                  <a:moveTo>
                    <a:pt x="84245" y="0"/>
                  </a:moveTo>
                  <a:lnTo>
                    <a:pt x="84245" y="90729"/>
                  </a:lnTo>
                  <a:lnTo>
                    <a:pt x="118433" y="90729"/>
                  </a:lnTo>
                  <a:lnTo>
                    <a:pt x="59217" y="165100"/>
                  </a:lnTo>
                  <a:lnTo>
                    <a:pt x="0" y="90729"/>
                  </a:lnTo>
                  <a:lnTo>
                    <a:pt x="34176" y="90729"/>
                  </a:lnTo>
                  <a:lnTo>
                    <a:pt x="34176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980" name="Gráfico 17">
            <a:extLst>
              <a:ext uri="{FF2B5EF4-FFF2-40B4-BE49-F238E27FC236}">
                <a16:creationId xmlns:a16="http://schemas.microsoft.com/office/drawing/2014/main" id="{F1A10AFB-F1AB-73B3-3CCE-2B0D32FD641A}"/>
              </a:ext>
            </a:extLst>
          </p:cNvPr>
          <p:cNvGrpSpPr/>
          <p:nvPr/>
        </p:nvGrpSpPr>
        <p:grpSpPr>
          <a:xfrm>
            <a:off x="6908598" y="4227927"/>
            <a:ext cx="300978" cy="273693"/>
            <a:chOff x="6908598" y="4227927"/>
            <a:chExt cx="300978" cy="273693"/>
          </a:xfrm>
          <a:noFill/>
        </p:grpSpPr>
        <p:grpSp>
          <p:nvGrpSpPr>
            <p:cNvPr id="1981" name="Gráfico 17">
              <a:extLst>
                <a:ext uri="{FF2B5EF4-FFF2-40B4-BE49-F238E27FC236}">
                  <a16:creationId xmlns:a16="http://schemas.microsoft.com/office/drawing/2014/main" id="{9351AB3F-C140-662D-7A22-AFE95631E239}"/>
                </a:ext>
              </a:extLst>
            </p:cNvPr>
            <p:cNvGrpSpPr/>
            <p:nvPr/>
          </p:nvGrpSpPr>
          <p:grpSpPr>
            <a:xfrm>
              <a:off x="6949353" y="4426654"/>
              <a:ext cx="245583" cy="74967"/>
              <a:chOff x="6949353" y="4426654"/>
              <a:chExt cx="245583" cy="74967"/>
            </a:xfrm>
            <a:noFill/>
          </p:grpSpPr>
          <p:grpSp>
            <p:nvGrpSpPr>
              <p:cNvPr id="1982" name="Gráfico 17">
                <a:extLst>
                  <a:ext uri="{FF2B5EF4-FFF2-40B4-BE49-F238E27FC236}">
                    <a16:creationId xmlns:a16="http://schemas.microsoft.com/office/drawing/2014/main" id="{2ADAA57C-EB3F-24D9-680C-227BBEED5917}"/>
                  </a:ext>
                </a:extLst>
              </p:cNvPr>
              <p:cNvGrpSpPr/>
              <p:nvPr/>
            </p:nvGrpSpPr>
            <p:grpSpPr>
              <a:xfrm>
                <a:off x="6989309" y="4446894"/>
                <a:ext cx="54416" cy="34498"/>
                <a:chOff x="6989309" y="4446894"/>
                <a:chExt cx="54416" cy="34498"/>
              </a:xfrm>
            </p:grpSpPr>
            <p:sp>
              <p:nvSpPr>
                <p:cNvPr id="1983" name="Forma livre: Forma 1982">
                  <a:extLst>
                    <a:ext uri="{FF2B5EF4-FFF2-40B4-BE49-F238E27FC236}">
                      <a16:creationId xmlns:a16="http://schemas.microsoft.com/office/drawing/2014/main" id="{2293C992-5B07-C6BA-2C87-BF6258EAD6E1}"/>
                    </a:ext>
                  </a:extLst>
                </p:cNvPr>
                <p:cNvSpPr/>
                <p:nvPr/>
              </p:nvSpPr>
              <p:spPr>
                <a:xfrm>
                  <a:off x="6989309" y="4446894"/>
                  <a:ext cx="1194" cy="34498"/>
                </a:xfrm>
                <a:custGeom>
                  <a:avLst/>
                  <a:gdLst>
                    <a:gd name="connsiteX0" fmla="*/ 0 w 1194"/>
                    <a:gd name="connsiteY0" fmla="*/ 34498 h 34498"/>
                    <a:gd name="connsiteX1" fmla="*/ 0 w 1194"/>
                    <a:gd name="connsiteY1" fmla="*/ 0 h 344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194" h="34498">
                      <a:moveTo>
                        <a:pt x="0" y="34498"/>
                      </a:moveTo>
                      <a:lnTo>
                        <a:pt x="0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984" name="Forma livre: Forma 1983">
                  <a:extLst>
                    <a:ext uri="{FF2B5EF4-FFF2-40B4-BE49-F238E27FC236}">
                      <a16:creationId xmlns:a16="http://schemas.microsoft.com/office/drawing/2014/main" id="{16CC0CB7-7E2B-3AD8-A9A2-4D41F948CFCF}"/>
                    </a:ext>
                  </a:extLst>
                </p:cNvPr>
                <p:cNvSpPr/>
                <p:nvPr/>
              </p:nvSpPr>
              <p:spPr>
                <a:xfrm>
                  <a:off x="7017156" y="4446894"/>
                  <a:ext cx="1194" cy="34498"/>
                </a:xfrm>
                <a:custGeom>
                  <a:avLst/>
                  <a:gdLst>
                    <a:gd name="connsiteX0" fmla="*/ 0 w 1194"/>
                    <a:gd name="connsiteY0" fmla="*/ 34498 h 34498"/>
                    <a:gd name="connsiteX1" fmla="*/ 0 w 1194"/>
                    <a:gd name="connsiteY1" fmla="*/ 0 h 344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194" h="34498">
                      <a:moveTo>
                        <a:pt x="0" y="34498"/>
                      </a:moveTo>
                      <a:lnTo>
                        <a:pt x="0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985" name="Forma livre: Forma 1984">
                  <a:extLst>
                    <a:ext uri="{FF2B5EF4-FFF2-40B4-BE49-F238E27FC236}">
                      <a16:creationId xmlns:a16="http://schemas.microsoft.com/office/drawing/2014/main" id="{1F37F84C-B955-565B-E2E3-D189546EF22B}"/>
                    </a:ext>
                  </a:extLst>
                </p:cNvPr>
                <p:cNvSpPr/>
                <p:nvPr/>
              </p:nvSpPr>
              <p:spPr>
                <a:xfrm>
                  <a:off x="7043725" y="4446894"/>
                  <a:ext cx="1194" cy="34498"/>
                </a:xfrm>
                <a:custGeom>
                  <a:avLst/>
                  <a:gdLst>
                    <a:gd name="connsiteX0" fmla="*/ 0 w 1194"/>
                    <a:gd name="connsiteY0" fmla="*/ 34498 h 34498"/>
                    <a:gd name="connsiteX1" fmla="*/ 0 w 1194"/>
                    <a:gd name="connsiteY1" fmla="*/ 0 h 344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194" h="34498">
                      <a:moveTo>
                        <a:pt x="0" y="34498"/>
                      </a:moveTo>
                      <a:lnTo>
                        <a:pt x="0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1986" name="Forma livre: Forma 1985">
                <a:extLst>
                  <a:ext uri="{FF2B5EF4-FFF2-40B4-BE49-F238E27FC236}">
                    <a16:creationId xmlns:a16="http://schemas.microsoft.com/office/drawing/2014/main" id="{004A8C4D-70D5-B4EF-928D-F8446A7AEB0D}"/>
                  </a:ext>
                </a:extLst>
              </p:cNvPr>
              <p:cNvSpPr/>
              <p:nvPr/>
            </p:nvSpPr>
            <p:spPr>
              <a:xfrm>
                <a:off x="6949353" y="4426654"/>
                <a:ext cx="245583" cy="74967"/>
              </a:xfrm>
              <a:custGeom>
                <a:avLst/>
                <a:gdLst>
                  <a:gd name="connsiteX0" fmla="*/ 66859 w 245583"/>
                  <a:gd name="connsiteY0" fmla="*/ 0 h 74967"/>
                  <a:gd name="connsiteX1" fmla="*/ 245583 w 245583"/>
                  <a:gd name="connsiteY1" fmla="*/ 0 h 74967"/>
                  <a:gd name="connsiteX2" fmla="*/ 245583 w 245583"/>
                  <a:gd name="connsiteY2" fmla="*/ 74967 h 74967"/>
                  <a:gd name="connsiteX3" fmla="*/ 0 w 245583"/>
                  <a:gd name="connsiteY3" fmla="*/ 74967 h 74967"/>
                  <a:gd name="connsiteX4" fmla="*/ 0 w 245583"/>
                  <a:gd name="connsiteY4" fmla="*/ 22760 h 749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45583" h="74967">
                    <a:moveTo>
                      <a:pt x="66859" y="0"/>
                    </a:moveTo>
                    <a:lnTo>
                      <a:pt x="245583" y="0"/>
                    </a:lnTo>
                    <a:lnTo>
                      <a:pt x="245583" y="74967"/>
                    </a:lnTo>
                    <a:lnTo>
                      <a:pt x="0" y="74967"/>
                    </a:lnTo>
                    <a:lnTo>
                      <a:pt x="0" y="2276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987" name="Gráfico 17">
              <a:extLst>
                <a:ext uri="{FF2B5EF4-FFF2-40B4-BE49-F238E27FC236}">
                  <a16:creationId xmlns:a16="http://schemas.microsoft.com/office/drawing/2014/main" id="{079D5F80-C610-0CAB-3B59-DE643C6A775D}"/>
                </a:ext>
              </a:extLst>
            </p:cNvPr>
            <p:cNvGrpSpPr/>
            <p:nvPr/>
          </p:nvGrpSpPr>
          <p:grpSpPr>
            <a:xfrm>
              <a:off x="6908598" y="4227927"/>
              <a:ext cx="300978" cy="198737"/>
              <a:chOff x="6908598" y="4227927"/>
              <a:chExt cx="300978" cy="198737"/>
            </a:xfrm>
            <a:noFill/>
          </p:grpSpPr>
          <p:sp>
            <p:nvSpPr>
              <p:cNvPr id="1988" name="Forma livre: Forma 1987">
                <a:extLst>
                  <a:ext uri="{FF2B5EF4-FFF2-40B4-BE49-F238E27FC236}">
                    <a16:creationId xmlns:a16="http://schemas.microsoft.com/office/drawing/2014/main" id="{7F25B7C6-2E4B-96A7-CC6E-4A9CEF7AE6C9}"/>
                  </a:ext>
                </a:extLst>
              </p:cNvPr>
              <p:cNvSpPr/>
              <p:nvPr/>
            </p:nvSpPr>
            <p:spPr>
              <a:xfrm>
                <a:off x="6985237" y="4227927"/>
                <a:ext cx="179691" cy="45460"/>
              </a:xfrm>
              <a:custGeom>
                <a:avLst/>
                <a:gdLst>
                  <a:gd name="connsiteX0" fmla="*/ 0 w 179691"/>
                  <a:gd name="connsiteY0" fmla="*/ 45460 h 45460"/>
                  <a:gd name="connsiteX1" fmla="*/ 0 w 179691"/>
                  <a:gd name="connsiteY1" fmla="*/ 0 h 45460"/>
                  <a:gd name="connsiteX2" fmla="*/ 179692 w 179691"/>
                  <a:gd name="connsiteY2" fmla="*/ 0 h 45460"/>
                  <a:gd name="connsiteX3" fmla="*/ 179692 w 179691"/>
                  <a:gd name="connsiteY3" fmla="*/ 45460 h 454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79691" h="45460">
                    <a:moveTo>
                      <a:pt x="0" y="45460"/>
                    </a:moveTo>
                    <a:lnTo>
                      <a:pt x="0" y="0"/>
                    </a:lnTo>
                    <a:lnTo>
                      <a:pt x="179692" y="0"/>
                    </a:lnTo>
                    <a:lnTo>
                      <a:pt x="179692" y="4546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989" name="Forma livre: Forma 1988">
                <a:extLst>
                  <a:ext uri="{FF2B5EF4-FFF2-40B4-BE49-F238E27FC236}">
                    <a16:creationId xmlns:a16="http://schemas.microsoft.com/office/drawing/2014/main" id="{02F199D0-94E1-68A4-E21E-A17D8A0C6BA5}"/>
                  </a:ext>
                </a:extLst>
              </p:cNvPr>
              <p:cNvSpPr/>
              <p:nvPr/>
            </p:nvSpPr>
            <p:spPr>
              <a:xfrm>
                <a:off x="7037886" y="4328425"/>
                <a:ext cx="41388" cy="64303"/>
              </a:xfrm>
              <a:custGeom>
                <a:avLst/>
                <a:gdLst>
                  <a:gd name="connsiteX0" fmla="*/ 41388 w 41388"/>
                  <a:gd name="connsiteY0" fmla="*/ 0 h 64303"/>
                  <a:gd name="connsiteX1" fmla="*/ 41388 w 41388"/>
                  <a:gd name="connsiteY1" fmla="*/ 64304 h 64303"/>
                  <a:gd name="connsiteX2" fmla="*/ 20682 w 41388"/>
                  <a:gd name="connsiteY2" fmla="*/ 49556 h 64303"/>
                  <a:gd name="connsiteX3" fmla="*/ 0 w 41388"/>
                  <a:gd name="connsiteY3" fmla="*/ 64304 h 64303"/>
                  <a:gd name="connsiteX4" fmla="*/ 0 w 41388"/>
                  <a:gd name="connsiteY4" fmla="*/ 19978 h 643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388" h="64303">
                    <a:moveTo>
                      <a:pt x="41388" y="0"/>
                    </a:moveTo>
                    <a:lnTo>
                      <a:pt x="41388" y="64304"/>
                    </a:lnTo>
                    <a:lnTo>
                      <a:pt x="20682" y="49556"/>
                    </a:lnTo>
                    <a:lnTo>
                      <a:pt x="0" y="64304"/>
                    </a:lnTo>
                    <a:lnTo>
                      <a:pt x="0" y="19978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1990" name="Gráfico 17">
                <a:extLst>
                  <a:ext uri="{FF2B5EF4-FFF2-40B4-BE49-F238E27FC236}">
                    <a16:creationId xmlns:a16="http://schemas.microsoft.com/office/drawing/2014/main" id="{5696C80D-603A-C5A3-9728-35EFF800D723}"/>
                  </a:ext>
                </a:extLst>
              </p:cNvPr>
              <p:cNvGrpSpPr/>
              <p:nvPr/>
            </p:nvGrpSpPr>
            <p:grpSpPr>
              <a:xfrm>
                <a:off x="6938140" y="4293736"/>
                <a:ext cx="271436" cy="69151"/>
                <a:chOff x="6938140" y="4293736"/>
                <a:chExt cx="271436" cy="69151"/>
              </a:xfrm>
              <a:noFill/>
            </p:grpSpPr>
            <p:sp>
              <p:nvSpPr>
                <p:cNvPr id="1991" name="Forma livre: Forma 1990">
                  <a:extLst>
                    <a:ext uri="{FF2B5EF4-FFF2-40B4-BE49-F238E27FC236}">
                      <a16:creationId xmlns:a16="http://schemas.microsoft.com/office/drawing/2014/main" id="{6103008F-DA87-10E0-5DA4-9552D18965B0}"/>
                    </a:ext>
                  </a:extLst>
                </p:cNvPr>
                <p:cNvSpPr/>
                <p:nvPr/>
              </p:nvSpPr>
              <p:spPr>
                <a:xfrm>
                  <a:off x="6968782" y="4328306"/>
                  <a:ext cx="202738" cy="1194"/>
                </a:xfrm>
                <a:custGeom>
                  <a:avLst/>
                  <a:gdLst>
                    <a:gd name="connsiteX0" fmla="*/ 0 w 202738"/>
                    <a:gd name="connsiteY0" fmla="*/ 0 h 1194"/>
                    <a:gd name="connsiteX1" fmla="*/ 202738 w 202738"/>
                    <a:gd name="connsiteY1" fmla="*/ 0 h 119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02738" h="1194">
                      <a:moveTo>
                        <a:pt x="0" y="0"/>
                      </a:moveTo>
                      <a:lnTo>
                        <a:pt x="202738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992" name="Forma livre: Forma 1991">
                  <a:extLst>
                    <a:ext uri="{FF2B5EF4-FFF2-40B4-BE49-F238E27FC236}">
                      <a16:creationId xmlns:a16="http://schemas.microsoft.com/office/drawing/2014/main" id="{64C82DE9-5DD3-FF66-5EB7-7177C9B11ED5}"/>
                    </a:ext>
                  </a:extLst>
                </p:cNvPr>
                <p:cNvSpPr/>
                <p:nvPr/>
              </p:nvSpPr>
              <p:spPr>
                <a:xfrm>
                  <a:off x="6938140" y="4293736"/>
                  <a:ext cx="271436" cy="69151"/>
                </a:xfrm>
                <a:custGeom>
                  <a:avLst/>
                  <a:gdLst>
                    <a:gd name="connsiteX0" fmla="*/ 141946 w 271436"/>
                    <a:gd name="connsiteY0" fmla="*/ 69152 h 69151"/>
                    <a:gd name="connsiteX1" fmla="*/ 271424 w 271436"/>
                    <a:gd name="connsiteY1" fmla="*/ 69152 h 69151"/>
                    <a:gd name="connsiteX2" fmla="*/ 254635 w 271436"/>
                    <a:gd name="connsiteY2" fmla="*/ 31835 h 69151"/>
                    <a:gd name="connsiteX3" fmla="*/ 271436 w 271436"/>
                    <a:gd name="connsiteY3" fmla="*/ 0 h 69151"/>
                    <a:gd name="connsiteX4" fmla="*/ 34104 w 271436"/>
                    <a:gd name="connsiteY4" fmla="*/ 0 h 69151"/>
                    <a:gd name="connsiteX5" fmla="*/ 0 w 271436"/>
                    <a:gd name="connsiteY5" fmla="*/ 34092 h 69151"/>
                    <a:gd name="connsiteX6" fmla="*/ 0 w 271436"/>
                    <a:gd name="connsiteY6" fmla="*/ 35036 h 69151"/>
                    <a:gd name="connsiteX7" fmla="*/ 34104 w 271436"/>
                    <a:gd name="connsiteY7" fmla="*/ 69140 h 69151"/>
                    <a:gd name="connsiteX8" fmla="*/ 79015 w 271436"/>
                    <a:gd name="connsiteY8" fmla="*/ 69140 h 6915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271436" h="69151">
                      <a:moveTo>
                        <a:pt x="141946" y="69152"/>
                      </a:moveTo>
                      <a:lnTo>
                        <a:pt x="271424" y="69152"/>
                      </a:lnTo>
                      <a:cubicBezTo>
                        <a:pt x="253847" y="69152"/>
                        <a:pt x="254635" y="49413"/>
                        <a:pt x="254635" y="31835"/>
                      </a:cubicBezTo>
                      <a:cubicBezTo>
                        <a:pt x="254635" y="14258"/>
                        <a:pt x="253859" y="0"/>
                        <a:pt x="271436" y="0"/>
                      </a:cubicBezTo>
                      <a:lnTo>
                        <a:pt x="34104" y="0"/>
                      </a:lnTo>
                      <a:cubicBezTo>
                        <a:pt x="15345" y="0"/>
                        <a:pt x="0" y="15345"/>
                        <a:pt x="0" y="34092"/>
                      </a:cubicBezTo>
                      <a:lnTo>
                        <a:pt x="0" y="35036"/>
                      </a:lnTo>
                      <a:cubicBezTo>
                        <a:pt x="0" y="53795"/>
                        <a:pt x="15345" y="69140"/>
                        <a:pt x="34104" y="69140"/>
                      </a:cubicBezTo>
                      <a:lnTo>
                        <a:pt x="79015" y="69140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1993" name="Forma livre: Forma 1992">
                <a:extLst>
                  <a:ext uri="{FF2B5EF4-FFF2-40B4-BE49-F238E27FC236}">
                    <a16:creationId xmlns:a16="http://schemas.microsoft.com/office/drawing/2014/main" id="{C9C56677-3F6C-F29B-7BB3-196881067B63}"/>
                  </a:ext>
                </a:extLst>
              </p:cNvPr>
              <p:cNvSpPr/>
              <p:nvPr/>
            </p:nvSpPr>
            <p:spPr>
              <a:xfrm>
                <a:off x="7013812" y="4258616"/>
                <a:ext cx="80842" cy="1194"/>
              </a:xfrm>
              <a:custGeom>
                <a:avLst/>
                <a:gdLst>
                  <a:gd name="connsiteX0" fmla="*/ 0 w 80842"/>
                  <a:gd name="connsiteY0" fmla="*/ 0 h 1194"/>
                  <a:gd name="connsiteX1" fmla="*/ 80842 w 80842"/>
                  <a:gd name="connsiteY1" fmla="*/ 0 h 11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80842" h="1194">
                    <a:moveTo>
                      <a:pt x="0" y="0"/>
                    </a:moveTo>
                    <a:lnTo>
                      <a:pt x="80842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1994" name="Gráfico 17">
                <a:extLst>
                  <a:ext uri="{FF2B5EF4-FFF2-40B4-BE49-F238E27FC236}">
                    <a16:creationId xmlns:a16="http://schemas.microsoft.com/office/drawing/2014/main" id="{E87F3F01-CBE5-9129-D780-9752DCA1490D}"/>
                  </a:ext>
                </a:extLst>
              </p:cNvPr>
              <p:cNvGrpSpPr/>
              <p:nvPr/>
            </p:nvGrpSpPr>
            <p:grpSpPr>
              <a:xfrm>
                <a:off x="6908598" y="4362887"/>
                <a:ext cx="250336" cy="63778"/>
                <a:chOff x="6908598" y="4362887"/>
                <a:chExt cx="250336" cy="63778"/>
              </a:xfrm>
              <a:noFill/>
            </p:grpSpPr>
            <p:sp>
              <p:nvSpPr>
                <p:cNvPr id="1995" name="Forma livre: Forma 1994">
                  <a:extLst>
                    <a:ext uri="{FF2B5EF4-FFF2-40B4-BE49-F238E27FC236}">
                      <a16:creationId xmlns:a16="http://schemas.microsoft.com/office/drawing/2014/main" id="{AA4AC1B7-0504-9A19-93D9-201E85E68511}"/>
                    </a:ext>
                  </a:extLst>
                </p:cNvPr>
                <p:cNvSpPr/>
                <p:nvPr/>
              </p:nvSpPr>
              <p:spPr>
                <a:xfrm>
                  <a:off x="6949150" y="4394770"/>
                  <a:ext cx="67993" cy="1194"/>
                </a:xfrm>
                <a:custGeom>
                  <a:avLst/>
                  <a:gdLst>
                    <a:gd name="connsiteX0" fmla="*/ 0 w 67993"/>
                    <a:gd name="connsiteY0" fmla="*/ 0 h 1194"/>
                    <a:gd name="connsiteX1" fmla="*/ 67993 w 67993"/>
                    <a:gd name="connsiteY1" fmla="*/ 0 h 119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67993" h="1194">
                      <a:moveTo>
                        <a:pt x="0" y="0"/>
                      </a:moveTo>
                      <a:lnTo>
                        <a:pt x="67993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996" name="Forma livre: Forma 1995">
                  <a:extLst>
                    <a:ext uri="{FF2B5EF4-FFF2-40B4-BE49-F238E27FC236}">
                      <a16:creationId xmlns:a16="http://schemas.microsoft.com/office/drawing/2014/main" id="{9FB9BD95-AC74-78DA-3B1F-AFD91AE38858}"/>
                    </a:ext>
                  </a:extLst>
                </p:cNvPr>
                <p:cNvSpPr/>
                <p:nvPr/>
              </p:nvSpPr>
              <p:spPr>
                <a:xfrm>
                  <a:off x="7098523" y="4394770"/>
                  <a:ext cx="43824" cy="1194"/>
                </a:xfrm>
                <a:custGeom>
                  <a:avLst/>
                  <a:gdLst>
                    <a:gd name="connsiteX0" fmla="*/ 0 w 43824"/>
                    <a:gd name="connsiteY0" fmla="*/ 0 h 1194"/>
                    <a:gd name="connsiteX1" fmla="*/ 43824 w 43824"/>
                    <a:gd name="connsiteY1" fmla="*/ 0 h 119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3824" h="1194">
                      <a:moveTo>
                        <a:pt x="0" y="0"/>
                      </a:moveTo>
                      <a:lnTo>
                        <a:pt x="43824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997" name="Forma livre: Forma 1996">
                  <a:extLst>
                    <a:ext uri="{FF2B5EF4-FFF2-40B4-BE49-F238E27FC236}">
                      <a16:creationId xmlns:a16="http://schemas.microsoft.com/office/drawing/2014/main" id="{9935D8EE-9B20-47FD-7FE1-A3C62D9EC660}"/>
                    </a:ext>
                  </a:extLst>
                </p:cNvPr>
                <p:cNvSpPr/>
                <p:nvPr/>
              </p:nvSpPr>
              <p:spPr>
                <a:xfrm>
                  <a:off x="6908598" y="4362887"/>
                  <a:ext cx="82454" cy="63778"/>
                </a:xfrm>
                <a:custGeom>
                  <a:avLst/>
                  <a:gdLst>
                    <a:gd name="connsiteX0" fmla="*/ 67229 w 82454"/>
                    <a:gd name="connsiteY0" fmla="*/ 0 h 63778"/>
                    <a:gd name="connsiteX1" fmla="*/ 31453 w 82454"/>
                    <a:gd name="connsiteY1" fmla="*/ 0 h 63778"/>
                    <a:gd name="connsiteX2" fmla="*/ 0 w 82454"/>
                    <a:gd name="connsiteY2" fmla="*/ 31453 h 63778"/>
                    <a:gd name="connsiteX3" fmla="*/ 0 w 82454"/>
                    <a:gd name="connsiteY3" fmla="*/ 32325 h 63778"/>
                    <a:gd name="connsiteX4" fmla="*/ 31453 w 82454"/>
                    <a:gd name="connsiteY4" fmla="*/ 63778 h 63778"/>
                    <a:gd name="connsiteX5" fmla="*/ 82454 w 82454"/>
                    <a:gd name="connsiteY5" fmla="*/ 63778 h 637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82454" h="63778">
                      <a:moveTo>
                        <a:pt x="67229" y="0"/>
                      </a:moveTo>
                      <a:lnTo>
                        <a:pt x="31453" y="0"/>
                      </a:lnTo>
                      <a:cubicBezTo>
                        <a:pt x="14150" y="0"/>
                        <a:pt x="0" y="14150"/>
                        <a:pt x="0" y="31453"/>
                      </a:cubicBezTo>
                      <a:lnTo>
                        <a:pt x="0" y="32325"/>
                      </a:lnTo>
                      <a:cubicBezTo>
                        <a:pt x="0" y="49628"/>
                        <a:pt x="14150" y="63778"/>
                        <a:pt x="31453" y="63778"/>
                      </a:cubicBezTo>
                      <a:lnTo>
                        <a:pt x="82454" y="63778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998" name="Forma livre: Forma 1997">
                  <a:extLst>
                    <a:ext uri="{FF2B5EF4-FFF2-40B4-BE49-F238E27FC236}">
                      <a16:creationId xmlns:a16="http://schemas.microsoft.com/office/drawing/2014/main" id="{E310E24F-9FAB-21B2-7D70-252C7706B9A5}"/>
                    </a:ext>
                  </a:extLst>
                </p:cNvPr>
                <p:cNvSpPr/>
                <p:nvPr/>
              </p:nvSpPr>
              <p:spPr>
                <a:xfrm>
                  <a:off x="7143441" y="4362887"/>
                  <a:ext cx="15492" cy="63766"/>
                </a:xfrm>
                <a:custGeom>
                  <a:avLst/>
                  <a:gdLst>
                    <a:gd name="connsiteX0" fmla="*/ 15493 w 15492"/>
                    <a:gd name="connsiteY0" fmla="*/ 63766 h 63766"/>
                    <a:gd name="connsiteX1" fmla="*/ 5 w 15492"/>
                    <a:gd name="connsiteY1" fmla="*/ 29352 h 63766"/>
                    <a:gd name="connsiteX2" fmla="*/ 15493 w 15492"/>
                    <a:gd name="connsiteY2" fmla="*/ 0 h 63766"/>
                    <a:gd name="connsiteX3" fmla="*/ 15493 w 15492"/>
                    <a:gd name="connsiteY3" fmla="*/ 0 h 6376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5492" h="63766">
                      <a:moveTo>
                        <a:pt x="15493" y="63766"/>
                      </a:moveTo>
                      <a:cubicBezTo>
                        <a:pt x="-723" y="63766"/>
                        <a:pt x="5" y="45556"/>
                        <a:pt x="5" y="29352"/>
                      </a:cubicBezTo>
                      <a:cubicBezTo>
                        <a:pt x="5" y="13147"/>
                        <a:pt x="-711" y="0"/>
                        <a:pt x="15493" y="0"/>
                      </a:cubicBezTo>
                      <a:lnTo>
                        <a:pt x="15493" y="0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</p:grpSp>
      <p:grpSp>
        <p:nvGrpSpPr>
          <p:cNvPr id="1999" name="Gráfico 17">
            <a:extLst>
              <a:ext uri="{FF2B5EF4-FFF2-40B4-BE49-F238E27FC236}">
                <a16:creationId xmlns:a16="http://schemas.microsoft.com/office/drawing/2014/main" id="{852B455E-79B8-3C00-789C-1E921665C3E3}"/>
              </a:ext>
            </a:extLst>
          </p:cNvPr>
          <p:cNvGrpSpPr/>
          <p:nvPr/>
        </p:nvGrpSpPr>
        <p:grpSpPr>
          <a:xfrm>
            <a:off x="7568590" y="4733066"/>
            <a:ext cx="224196" cy="331381"/>
            <a:chOff x="7568590" y="4733066"/>
            <a:chExt cx="224196" cy="331381"/>
          </a:xfrm>
          <a:noFill/>
        </p:grpSpPr>
        <p:grpSp>
          <p:nvGrpSpPr>
            <p:cNvPr id="2000" name="Gráfico 17">
              <a:extLst>
                <a:ext uri="{FF2B5EF4-FFF2-40B4-BE49-F238E27FC236}">
                  <a16:creationId xmlns:a16="http://schemas.microsoft.com/office/drawing/2014/main" id="{47DA17EB-8868-A786-02D5-EE7F7570DA63}"/>
                </a:ext>
              </a:extLst>
            </p:cNvPr>
            <p:cNvGrpSpPr/>
            <p:nvPr/>
          </p:nvGrpSpPr>
          <p:grpSpPr>
            <a:xfrm>
              <a:off x="7631150" y="4779720"/>
              <a:ext cx="134207" cy="131640"/>
              <a:chOff x="7631150" y="4779720"/>
              <a:chExt cx="134207" cy="131640"/>
            </a:xfrm>
            <a:noFill/>
          </p:grpSpPr>
          <p:sp>
            <p:nvSpPr>
              <p:cNvPr id="2001" name="Forma livre: Forma 2000">
                <a:extLst>
                  <a:ext uri="{FF2B5EF4-FFF2-40B4-BE49-F238E27FC236}">
                    <a16:creationId xmlns:a16="http://schemas.microsoft.com/office/drawing/2014/main" id="{27C7E1EA-B782-53F3-697E-54F4A5B2E433}"/>
                  </a:ext>
                </a:extLst>
              </p:cNvPr>
              <p:cNvSpPr/>
              <p:nvPr/>
            </p:nvSpPr>
            <p:spPr>
              <a:xfrm>
                <a:off x="7663308" y="4779720"/>
                <a:ext cx="48063" cy="131640"/>
              </a:xfrm>
              <a:custGeom>
                <a:avLst/>
                <a:gdLst>
                  <a:gd name="connsiteX0" fmla="*/ 0 w 48063"/>
                  <a:gd name="connsiteY0" fmla="*/ 41221 h 131640"/>
                  <a:gd name="connsiteX1" fmla="*/ 48063 w 48063"/>
                  <a:gd name="connsiteY1" fmla="*/ 0 h 131640"/>
                  <a:gd name="connsiteX2" fmla="*/ 48063 w 48063"/>
                  <a:gd name="connsiteY2" fmla="*/ 131640 h 131640"/>
                  <a:gd name="connsiteX3" fmla="*/ 0 w 48063"/>
                  <a:gd name="connsiteY3" fmla="*/ 90407 h 131640"/>
                  <a:gd name="connsiteX4" fmla="*/ 0 w 48063"/>
                  <a:gd name="connsiteY4" fmla="*/ 41221 h 1316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8063" h="131640">
                    <a:moveTo>
                      <a:pt x="0" y="41221"/>
                    </a:moveTo>
                    <a:lnTo>
                      <a:pt x="48063" y="0"/>
                    </a:lnTo>
                    <a:lnTo>
                      <a:pt x="48063" y="131640"/>
                    </a:lnTo>
                    <a:lnTo>
                      <a:pt x="0" y="90407"/>
                    </a:lnTo>
                    <a:lnTo>
                      <a:pt x="0" y="41221"/>
                    </a:ln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002" name="Forma livre: Forma 2001">
                <a:extLst>
                  <a:ext uri="{FF2B5EF4-FFF2-40B4-BE49-F238E27FC236}">
                    <a16:creationId xmlns:a16="http://schemas.microsoft.com/office/drawing/2014/main" id="{FFD6DDED-F05D-C4F3-DD1D-985F7CE79D35}"/>
                  </a:ext>
                </a:extLst>
              </p:cNvPr>
              <p:cNvSpPr/>
              <p:nvPr/>
            </p:nvSpPr>
            <p:spPr>
              <a:xfrm>
                <a:off x="7631150" y="4826422"/>
                <a:ext cx="28993" cy="41770"/>
              </a:xfrm>
              <a:custGeom>
                <a:avLst/>
                <a:gdLst>
                  <a:gd name="connsiteX0" fmla="*/ 28993 w 28993"/>
                  <a:gd name="connsiteY0" fmla="*/ 41770 h 41770"/>
                  <a:gd name="connsiteX1" fmla="*/ 6257 w 28993"/>
                  <a:gd name="connsiteY1" fmla="*/ 41770 h 41770"/>
                  <a:gd name="connsiteX2" fmla="*/ 0 w 28993"/>
                  <a:gd name="connsiteY2" fmla="*/ 35513 h 41770"/>
                  <a:gd name="connsiteX3" fmla="*/ 0 w 28993"/>
                  <a:gd name="connsiteY3" fmla="*/ 6257 h 41770"/>
                  <a:gd name="connsiteX4" fmla="*/ 6257 w 28993"/>
                  <a:gd name="connsiteY4" fmla="*/ 0 h 41770"/>
                  <a:gd name="connsiteX5" fmla="*/ 12634 w 28993"/>
                  <a:gd name="connsiteY5" fmla="*/ 0 h 417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8993" h="41770">
                    <a:moveTo>
                      <a:pt x="28993" y="41770"/>
                    </a:moveTo>
                    <a:lnTo>
                      <a:pt x="6257" y="41770"/>
                    </a:lnTo>
                    <a:cubicBezTo>
                      <a:pt x="2818" y="41770"/>
                      <a:pt x="0" y="38952"/>
                      <a:pt x="0" y="35513"/>
                    </a:cubicBezTo>
                    <a:lnTo>
                      <a:pt x="0" y="6257"/>
                    </a:lnTo>
                    <a:cubicBezTo>
                      <a:pt x="0" y="2818"/>
                      <a:pt x="2818" y="0"/>
                      <a:pt x="6257" y="0"/>
                    </a:cubicBezTo>
                    <a:lnTo>
                      <a:pt x="12634" y="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003" name="Forma livre: Forma 2002">
                <a:extLst>
                  <a:ext uri="{FF2B5EF4-FFF2-40B4-BE49-F238E27FC236}">
                    <a16:creationId xmlns:a16="http://schemas.microsoft.com/office/drawing/2014/main" id="{B26DA917-5C92-9C5C-B8C0-901F52C3F7AC}"/>
                  </a:ext>
                </a:extLst>
              </p:cNvPr>
              <p:cNvSpPr/>
              <p:nvPr/>
            </p:nvSpPr>
            <p:spPr>
              <a:xfrm>
                <a:off x="7749297" y="4801704"/>
                <a:ext cx="16061" cy="87672"/>
              </a:xfrm>
              <a:custGeom>
                <a:avLst/>
                <a:gdLst>
                  <a:gd name="connsiteX0" fmla="*/ 0 w 16061"/>
                  <a:gd name="connsiteY0" fmla="*/ 0 h 87672"/>
                  <a:gd name="connsiteX1" fmla="*/ 16061 w 16061"/>
                  <a:gd name="connsiteY1" fmla="*/ 44087 h 87672"/>
                  <a:gd name="connsiteX2" fmla="*/ 406 w 16061"/>
                  <a:gd name="connsiteY2" fmla="*/ 87673 h 876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6061" h="87672">
                    <a:moveTo>
                      <a:pt x="0" y="0"/>
                    </a:moveTo>
                    <a:cubicBezTo>
                      <a:pt x="10019" y="11917"/>
                      <a:pt x="16061" y="27298"/>
                      <a:pt x="16061" y="44087"/>
                    </a:cubicBezTo>
                    <a:cubicBezTo>
                      <a:pt x="16061" y="60876"/>
                      <a:pt x="10186" y="75827"/>
                      <a:pt x="406" y="87673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004" name="Forma livre: Forma 2003">
                <a:extLst>
                  <a:ext uri="{FF2B5EF4-FFF2-40B4-BE49-F238E27FC236}">
                    <a16:creationId xmlns:a16="http://schemas.microsoft.com/office/drawing/2014/main" id="{60295080-DA05-4252-B86C-6D155C98AD78}"/>
                  </a:ext>
                </a:extLst>
              </p:cNvPr>
              <p:cNvSpPr/>
              <p:nvPr/>
            </p:nvSpPr>
            <p:spPr>
              <a:xfrm>
                <a:off x="7732030" y="4816630"/>
                <a:ext cx="9767" cy="57819"/>
              </a:xfrm>
              <a:custGeom>
                <a:avLst/>
                <a:gdLst>
                  <a:gd name="connsiteX0" fmla="*/ 0 w 9767"/>
                  <a:gd name="connsiteY0" fmla="*/ 0 h 57819"/>
                  <a:gd name="connsiteX1" fmla="*/ 9768 w 9767"/>
                  <a:gd name="connsiteY1" fmla="*/ 28957 h 57819"/>
                  <a:gd name="connsiteX2" fmla="*/ 84 w 9767"/>
                  <a:gd name="connsiteY2" fmla="*/ 57819 h 578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9767" h="57819">
                    <a:moveTo>
                      <a:pt x="0" y="0"/>
                    </a:moveTo>
                    <a:cubicBezTo>
                      <a:pt x="6126" y="8036"/>
                      <a:pt x="9768" y="18067"/>
                      <a:pt x="9768" y="28957"/>
                    </a:cubicBezTo>
                    <a:cubicBezTo>
                      <a:pt x="9768" y="39848"/>
                      <a:pt x="6162" y="49795"/>
                      <a:pt x="84" y="57819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2005" name="Forma livre: Forma 2004">
              <a:extLst>
                <a:ext uri="{FF2B5EF4-FFF2-40B4-BE49-F238E27FC236}">
                  <a16:creationId xmlns:a16="http://schemas.microsoft.com/office/drawing/2014/main" id="{63DD7F86-70B6-B5D8-D519-F7E27378E5FB}"/>
                </a:ext>
              </a:extLst>
            </p:cNvPr>
            <p:cNvSpPr/>
            <p:nvPr/>
          </p:nvSpPr>
          <p:spPr>
            <a:xfrm>
              <a:off x="7644811" y="4988883"/>
              <a:ext cx="47442" cy="75564"/>
            </a:xfrm>
            <a:custGeom>
              <a:avLst/>
              <a:gdLst>
                <a:gd name="connsiteX0" fmla="*/ 47443 w 47442"/>
                <a:gd name="connsiteY0" fmla="*/ 0 h 75564"/>
                <a:gd name="connsiteX1" fmla="*/ 47443 w 47442"/>
                <a:gd name="connsiteY1" fmla="*/ 75564 h 75564"/>
                <a:gd name="connsiteX2" fmla="*/ 23715 w 47442"/>
                <a:gd name="connsiteY2" fmla="*/ 59826 h 75564"/>
                <a:gd name="connsiteX3" fmla="*/ 0 w 47442"/>
                <a:gd name="connsiteY3" fmla="*/ 75564 h 75564"/>
                <a:gd name="connsiteX4" fmla="*/ 0 w 47442"/>
                <a:gd name="connsiteY4" fmla="*/ 18473 h 75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7442" h="75564">
                  <a:moveTo>
                    <a:pt x="47443" y="0"/>
                  </a:moveTo>
                  <a:lnTo>
                    <a:pt x="47443" y="75564"/>
                  </a:lnTo>
                  <a:lnTo>
                    <a:pt x="23715" y="59826"/>
                  </a:lnTo>
                  <a:lnTo>
                    <a:pt x="0" y="75564"/>
                  </a:lnTo>
                  <a:lnTo>
                    <a:pt x="0" y="18473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2006" name="Gráfico 17">
              <a:extLst>
                <a:ext uri="{FF2B5EF4-FFF2-40B4-BE49-F238E27FC236}">
                  <a16:creationId xmlns:a16="http://schemas.microsoft.com/office/drawing/2014/main" id="{C3E8B2E8-4919-FC9A-9AEB-912FF64D6FC6}"/>
                </a:ext>
              </a:extLst>
            </p:cNvPr>
            <p:cNvGrpSpPr/>
            <p:nvPr/>
          </p:nvGrpSpPr>
          <p:grpSpPr>
            <a:xfrm>
              <a:off x="7600366" y="4758524"/>
              <a:ext cx="192409" cy="229259"/>
              <a:chOff x="7600366" y="4758524"/>
              <a:chExt cx="192409" cy="229259"/>
            </a:xfrm>
          </p:grpSpPr>
          <p:sp>
            <p:nvSpPr>
              <p:cNvPr id="2007" name="Forma livre: Forma 2006">
                <a:extLst>
                  <a:ext uri="{FF2B5EF4-FFF2-40B4-BE49-F238E27FC236}">
                    <a16:creationId xmlns:a16="http://schemas.microsoft.com/office/drawing/2014/main" id="{7705845A-810E-68D2-0FAD-A0ADC2FDA570}"/>
                  </a:ext>
                </a:extLst>
              </p:cNvPr>
              <p:cNvSpPr/>
              <p:nvPr/>
            </p:nvSpPr>
            <p:spPr>
              <a:xfrm>
                <a:off x="7600652" y="4758524"/>
                <a:ext cx="1194" cy="174461"/>
              </a:xfrm>
              <a:custGeom>
                <a:avLst/>
                <a:gdLst>
                  <a:gd name="connsiteX0" fmla="*/ 0 w 1194"/>
                  <a:gd name="connsiteY0" fmla="*/ 0 h 174461"/>
                  <a:gd name="connsiteX1" fmla="*/ 0 w 1194"/>
                  <a:gd name="connsiteY1" fmla="*/ 174461 h 1744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4" h="174461">
                    <a:moveTo>
                      <a:pt x="0" y="0"/>
                    </a:moveTo>
                    <a:lnTo>
                      <a:pt x="0" y="174461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008" name="Forma livre: Forma 2007">
                <a:extLst>
                  <a:ext uri="{FF2B5EF4-FFF2-40B4-BE49-F238E27FC236}">
                    <a16:creationId xmlns:a16="http://schemas.microsoft.com/office/drawing/2014/main" id="{3E84C445-7CCA-5B55-7E0D-AFF63E269F4B}"/>
                  </a:ext>
                </a:extLst>
              </p:cNvPr>
              <p:cNvSpPr/>
              <p:nvPr/>
            </p:nvSpPr>
            <p:spPr>
              <a:xfrm>
                <a:off x="7600366" y="4987784"/>
                <a:ext cx="192409" cy="1194"/>
              </a:xfrm>
              <a:custGeom>
                <a:avLst/>
                <a:gdLst>
                  <a:gd name="connsiteX0" fmla="*/ 0 w 192409"/>
                  <a:gd name="connsiteY0" fmla="*/ 0 h 1194"/>
                  <a:gd name="connsiteX1" fmla="*/ 192409 w 192409"/>
                  <a:gd name="connsiteY1" fmla="*/ 0 h 11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92409" h="1194">
                    <a:moveTo>
                      <a:pt x="0" y="0"/>
                    </a:moveTo>
                    <a:lnTo>
                      <a:pt x="192409" y="0"/>
                    </a:lnTo>
                  </a:path>
                </a:pathLst>
              </a:custGeom>
              <a:ln w="6350" cap="sq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2009" name="Forma livre: Forma 2008">
              <a:extLst>
                <a:ext uri="{FF2B5EF4-FFF2-40B4-BE49-F238E27FC236}">
                  <a16:creationId xmlns:a16="http://schemas.microsoft.com/office/drawing/2014/main" id="{03A19D5F-6271-C9F6-D153-D947763AB464}"/>
                </a:ext>
              </a:extLst>
            </p:cNvPr>
            <p:cNvSpPr/>
            <p:nvPr/>
          </p:nvSpPr>
          <p:spPr>
            <a:xfrm>
              <a:off x="7693889" y="5016837"/>
              <a:ext cx="98885" cy="1194"/>
            </a:xfrm>
            <a:custGeom>
              <a:avLst/>
              <a:gdLst>
                <a:gd name="connsiteX0" fmla="*/ 0 w 98885"/>
                <a:gd name="connsiteY0" fmla="*/ 0 h 1194"/>
                <a:gd name="connsiteX1" fmla="*/ 98885 w 98885"/>
                <a:gd name="connsiteY1" fmla="*/ 0 h 11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8885" h="1194">
                  <a:moveTo>
                    <a:pt x="0" y="0"/>
                  </a:moveTo>
                  <a:lnTo>
                    <a:pt x="98885" y="0"/>
                  </a:lnTo>
                </a:path>
              </a:pathLst>
            </a:custGeom>
            <a:ln w="6350" cap="sq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10" name="Forma livre: Forma 2009">
              <a:extLst>
                <a:ext uri="{FF2B5EF4-FFF2-40B4-BE49-F238E27FC236}">
                  <a16:creationId xmlns:a16="http://schemas.microsoft.com/office/drawing/2014/main" id="{D23E7C75-B7BF-3970-6DAB-3BD93F91B083}"/>
                </a:ext>
              </a:extLst>
            </p:cNvPr>
            <p:cNvSpPr/>
            <p:nvPr/>
          </p:nvSpPr>
          <p:spPr>
            <a:xfrm>
              <a:off x="7568590" y="4733066"/>
              <a:ext cx="224196" cy="283771"/>
            </a:xfrm>
            <a:custGeom>
              <a:avLst/>
              <a:gdLst>
                <a:gd name="connsiteX0" fmla="*/ 0 w 224196"/>
                <a:gd name="connsiteY0" fmla="*/ 251447 h 283771"/>
                <a:gd name="connsiteX1" fmla="*/ 0 w 224196"/>
                <a:gd name="connsiteY1" fmla="*/ 28659 h 283771"/>
                <a:gd name="connsiteX2" fmla="*/ 28659 w 224196"/>
                <a:gd name="connsiteY2" fmla="*/ 0 h 283771"/>
                <a:gd name="connsiteX3" fmla="*/ 224197 w 224196"/>
                <a:gd name="connsiteY3" fmla="*/ 0 h 283771"/>
                <a:gd name="connsiteX4" fmla="*/ 224197 w 224196"/>
                <a:gd name="connsiteY4" fmla="*/ 225665 h 283771"/>
                <a:gd name="connsiteX5" fmla="*/ 28659 w 224196"/>
                <a:gd name="connsiteY5" fmla="*/ 225665 h 283771"/>
                <a:gd name="connsiteX6" fmla="*/ 0 w 224196"/>
                <a:gd name="connsiteY6" fmla="*/ 254324 h 283771"/>
                <a:gd name="connsiteX7" fmla="*/ 0 w 224196"/>
                <a:gd name="connsiteY7" fmla="*/ 255113 h 283771"/>
                <a:gd name="connsiteX8" fmla="*/ 28659 w 224196"/>
                <a:gd name="connsiteY8" fmla="*/ 283772 h 283771"/>
                <a:gd name="connsiteX9" fmla="*/ 49365 w 224196"/>
                <a:gd name="connsiteY9" fmla="*/ 283772 h 2837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24196" h="283771">
                  <a:moveTo>
                    <a:pt x="0" y="251447"/>
                  </a:moveTo>
                  <a:lnTo>
                    <a:pt x="0" y="28659"/>
                  </a:lnTo>
                  <a:cubicBezTo>
                    <a:pt x="0" y="12897"/>
                    <a:pt x="12896" y="0"/>
                    <a:pt x="28659" y="0"/>
                  </a:cubicBezTo>
                  <a:lnTo>
                    <a:pt x="224197" y="0"/>
                  </a:lnTo>
                  <a:lnTo>
                    <a:pt x="224197" y="225665"/>
                  </a:lnTo>
                  <a:lnTo>
                    <a:pt x="28659" y="225665"/>
                  </a:lnTo>
                  <a:cubicBezTo>
                    <a:pt x="12896" y="225665"/>
                    <a:pt x="0" y="238562"/>
                    <a:pt x="0" y="254324"/>
                  </a:cubicBezTo>
                  <a:lnTo>
                    <a:pt x="0" y="255113"/>
                  </a:lnTo>
                  <a:cubicBezTo>
                    <a:pt x="0" y="270875"/>
                    <a:pt x="12896" y="283772"/>
                    <a:pt x="28659" y="283772"/>
                  </a:cubicBezTo>
                  <a:lnTo>
                    <a:pt x="49365" y="283772"/>
                  </a:lnTo>
                </a:path>
              </a:pathLst>
            </a:custGeom>
            <a:noFill/>
            <a:ln w="6350" cap="sq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2011" name="Gráfico 17">
            <a:extLst>
              <a:ext uri="{FF2B5EF4-FFF2-40B4-BE49-F238E27FC236}">
                <a16:creationId xmlns:a16="http://schemas.microsoft.com/office/drawing/2014/main" id="{D0BAA973-ECDA-6EAE-3ECF-5C0EA70EA8CA}"/>
              </a:ext>
            </a:extLst>
          </p:cNvPr>
          <p:cNvGrpSpPr/>
          <p:nvPr/>
        </p:nvGrpSpPr>
        <p:grpSpPr>
          <a:xfrm>
            <a:off x="7501803" y="5836950"/>
            <a:ext cx="357759" cy="259458"/>
            <a:chOff x="7501803" y="5836950"/>
            <a:chExt cx="357759" cy="259458"/>
          </a:xfrm>
          <a:noFill/>
        </p:grpSpPr>
        <p:grpSp>
          <p:nvGrpSpPr>
            <p:cNvPr id="2012" name="Gráfico 17">
              <a:extLst>
                <a:ext uri="{FF2B5EF4-FFF2-40B4-BE49-F238E27FC236}">
                  <a16:creationId xmlns:a16="http://schemas.microsoft.com/office/drawing/2014/main" id="{3DFFC0D4-A04A-E9A8-F800-DD88407F3174}"/>
                </a:ext>
              </a:extLst>
            </p:cNvPr>
            <p:cNvGrpSpPr/>
            <p:nvPr/>
          </p:nvGrpSpPr>
          <p:grpSpPr>
            <a:xfrm>
              <a:off x="7501803" y="5836950"/>
              <a:ext cx="329769" cy="259411"/>
              <a:chOff x="7501803" y="5836950"/>
              <a:chExt cx="329769" cy="259411"/>
            </a:xfrm>
            <a:noFill/>
          </p:grpSpPr>
          <p:grpSp>
            <p:nvGrpSpPr>
              <p:cNvPr id="2013" name="Gráfico 17">
                <a:extLst>
                  <a:ext uri="{FF2B5EF4-FFF2-40B4-BE49-F238E27FC236}">
                    <a16:creationId xmlns:a16="http://schemas.microsoft.com/office/drawing/2014/main" id="{6F172115-1D6C-509E-5BE3-2566A29839CF}"/>
                  </a:ext>
                </a:extLst>
              </p:cNvPr>
              <p:cNvGrpSpPr/>
              <p:nvPr/>
            </p:nvGrpSpPr>
            <p:grpSpPr>
              <a:xfrm>
                <a:off x="7528957" y="5836950"/>
                <a:ext cx="275460" cy="236865"/>
                <a:chOff x="7528957" y="5836950"/>
                <a:chExt cx="275460" cy="236865"/>
              </a:xfrm>
              <a:noFill/>
            </p:grpSpPr>
            <p:sp>
              <p:nvSpPr>
                <p:cNvPr id="2014" name="Forma livre: Forma 2013">
                  <a:extLst>
                    <a:ext uri="{FF2B5EF4-FFF2-40B4-BE49-F238E27FC236}">
                      <a16:creationId xmlns:a16="http://schemas.microsoft.com/office/drawing/2014/main" id="{274D54F1-88C3-3772-1B31-46635DE8F06E}"/>
                    </a:ext>
                  </a:extLst>
                </p:cNvPr>
                <p:cNvSpPr/>
                <p:nvPr/>
              </p:nvSpPr>
              <p:spPr>
                <a:xfrm>
                  <a:off x="7666699" y="5836950"/>
                  <a:ext cx="137718" cy="236865"/>
                </a:xfrm>
                <a:custGeom>
                  <a:avLst/>
                  <a:gdLst>
                    <a:gd name="connsiteX0" fmla="*/ 137718 w 137718"/>
                    <a:gd name="connsiteY0" fmla="*/ 104163 h 236865"/>
                    <a:gd name="connsiteX1" fmla="*/ 137718 w 137718"/>
                    <a:gd name="connsiteY1" fmla="*/ 12 h 236865"/>
                    <a:gd name="connsiteX2" fmla="*/ 74191 w 137718"/>
                    <a:gd name="connsiteY2" fmla="*/ 12 h 236865"/>
                    <a:gd name="connsiteX3" fmla="*/ 0 w 137718"/>
                    <a:gd name="connsiteY3" fmla="*/ 19416 h 236865"/>
                    <a:gd name="connsiteX4" fmla="*/ 0 w 137718"/>
                    <a:gd name="connsiteY4" fmla="*/ 236866 h 236865"/>
                    <a:gd name="connsiteX5" fmla="*/ 43167 w 137718"/>
                    <a:gd name="connsiteY5" fmla="*/ 217855 h 23686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137718" h="236865">
                      <a:moveTo>
                        <a:pt x="137718" y="104163"/>
                      </a:moveTo>
                      <a:lnTo>
                        <a:pt x="137718" y="12"/>
                      </a:lnTo>
                      <a:lnTo>
                        <a:pt x="74191" y="12"/>
                      </a:lnTo>
                      <a:cubicBezTo>
                        <a:pt x="35657" y="12"/>
                        <a:pt x="16957" y="-1135"/>
                        <a:pt x="0" y="19416"/>
                      </a:cubicBezTo>
                      <a:lnTo>
                        <a:pt x="0" y="236866"/>
                      </a:lnTo>
                      <a:cubicBezTo>
                        <a:pt x="11619" y="222775"/>
                        <a:pt x="24073" y="218894"/>
                        <a:pt x="43167" y="217855"/>
                      </a:cubicBez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015" name="Forma livre: Forma 2014">
                  <a:extLst>
                    <a:ext uri="{FF2B5EF4-FFF2-40B4-BE49-F238E27FC236}">
                      <a16:creationId xmlns:a16="http://schemas.microsoft.com/office/drawing/2014/main" id="{772133EB-7DFF-F1E6-1648-54D0A56E61D2}"/>
                    </a:ext>
                  </a:extLst>
                </p:cNvPr>
                <p:cNvSpPr/>
                <p:nvPr/>
              </p:nvSpPr>
              <p:spPr>
                <a:xfrm>
                  <a:off x="7528957" y="5836962"/>
                  <a:ext cx="137730" cy="236853"/>
                </a:xfrm>
                <a:custGeom>
                  <a:avLst/>
                  <a:gdLst>
                    <a:gd name="connsiteX0" fmla="*/ 137730 w 137730"/>
                    <a:gd name="connsiteY0" fmla="*/ 236854 h 236853"/>
                    <a:gd name="connsiteX1" fmla="*/ 63527 w 137730"/>
                    <a:gd name="connsiteY1" fmla="*/ 217461 h 236853"/>
                    <a:gd name="connsiteX2" fmla="*/ 0 w 137730"/>
                    <a:gd name="connsiteY2" fmla="*/ 217461 h 236853"/>
                    <a:gd name="connsiteX3" fmla="*/ 0 w 137730"/>
                    <a:gd name="connsiteY3" fmla="*/ 12 h 236853"/>
                    <a:gd name="connsiteX4" fmla="*/ 63527 w 137730"/>
                    <a:gd name="connsiteY4" fmla="*/ 12 h 236853"/>
                    <a:gd name="connsiteX5" fmla="*/ 137730 w 137730"/>
                    <a:gd name="connsiteY5" fmla="*/ 19416 h 23685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137730" h="236853">
                      <a:moveTo>
                        <a:pt x="137730" y="236854"/>
                      </a:moveTo>
                      <a:cubicBezTo>
                        <a:pt x="120774" y="216303"/>
                        <a:pt x="102050" y="217461"/>
                        <a:pt x="63527" y="217461"/>
                      </a:cubicBezTo>
                      <a:lnTo>
                        <a:pt x="0" y="217461"/>
                      </a:lnTo>
                      <a:lnTo>
                        <a:pt x="0" y="12"/>
                      </a:lnTo>
                      <a:lnTo>
                        <a:pt x="63527" y="12"/>
                      </a:lnTo>
                      <a:cubicBezTo>
                        <a:pt x="102062" y="12"/>
                        <a:pt x="120774" y="-1135"/>
                        <a:pt x="137730" y="19416"/>
                      </a:cubicBez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2016" name="Forma livre: Forma 2015">
                <a:extLst>
                  <a:ext uri="{FF2B5EF4-FFF2-40B4-BE49-F238E27FC236}">
                    <a16:creationId xmlns:a16="http://schemas.microsoft.com/office/drawing/2014/main" id="{D5EE0E35-F79A-209C-FE07-A7DE63A98E7C}"/>
                  </a:ext>
                </a:extLst>
              </p:cNvPr>
              <p:cNvSpPr/>
              <p:nvPr/>
            </p:nvSpPr>
            <p:spPr>
              <a:xfrm>
                <a:off x="7831572" y="5871436"/>
                <a:ext cx="1194" cy="81260"/>
              </a:xfrm>
              <a:custGeom>
                <a:avLst/>
                <a:gdLst>
                  <a:gd name="connsiteX0" fmla="*/ 0 w 1194"/>
                  <a:gd name="connsiteY0" fmla="*/ 81260 h 81260"/>
                  <a:gd name="connsiteX1" fmla="*/ 0 w 1194"/>
                  <a:gd name="connsiteY1" fmla="*/ 0 h 812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4" h="81260">
                    <a:moveTo>
                      <a:pt x="0" y="81260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017" name="Forma livre: Forma 2016">
                <a:extLst>
                  <a:ext uri="{FF2B5EF4-FFF2-40B4-BE49-F238E27FC236}">
                    <a16:creationId xmlns:a16="http://schemas.microsoft.com/office/drawing/2014/main" id="{8BDD72DE-5A64-1AB7-DEC2-02741BE7A0C0}"/>
                  </a:ext>
                </a:extLst>
              </p:cNvPr>
              <p:cNvSpPr/>
              <p:nvPr/>
            </p:nvSpPr>
            <p:spPr>
              <a:xfrm>
                <a:off x="7501803" y="5871436"/>
                <a:ext cx="222835" cy="224925"/>
              </a:xfrm>
              <a:custGeom>
                <a:avLst/>
                <a:gdLst>
                  <a:gd name="connsiteX0" fmla="*/ 0 w 222835"/>
                  <a:gd name="connsiteY0" fmla="*/ 0 h 224925"/>
                  <a:gd name="connsiteX1" fmla="*/ 0 w 222835"/>
                  <a:gd name="connsiteY1" fmla="*/ 209187 h 224925"/>
                  <a:gd name="connsiteX2" fmla="*/ 134017 w 222835"/>
                  <a:gd name="connsiteY2" fmla="*/ 209187 h 224925"/>
                  <a:gd name="connsiteX3" fmla="*/ 149039 w 222835"/>
                  <a:gd name="connsiteY3" fmla="*/ 224925 h 224925"/>
                  <a:gd name="connsiteX4" fmla="*/ 149289 w 222835"/>
                  <a:gd name="connsiteY4" fmla="*/ 224925 h 224925"/>
                  <a:gd name="connsiteX5" fmla="*/ 180480 w 222835"/>
                  <a:gd name="connsiteY5" fmla="*/ 224925 h 224925"/>
                  <a:gd name="connsiteX6" fmla="*/ 180731 w 222835"/>
                  <a:gd name="connsiteY6" fmla="*/ 224925 h 224925"/>
                  <a:gd name="connsiteX7" fmla="*/ 195753 w 222835"/>
                  <a:gd name="connsiteY7" fmla="*/ 209187 h 224925"/>
                  <a:gd name="connsiteX8" fmla="*/ 222835 w 222835"/>
                  <a:gd name="connsiteY8" fmla="*/ 209187 h 2249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22835" h="224925">
                    <a:moveTo>
                      <a:pt x="0" y="0"/>
                    </a:moveTo>
                    <a:lnTo>
                      <a:pt x="0" y="209187"/>
                    </a:lnTo>
                    <a:lnTo>
                      <a:pt x="134017" y="209187"/>
                    </a:lnTo>
                    <a:cubicBezTo>
                      <a:pt x="134017" y="209187"/>
                      <a:pt x="140716" y="224925"/>
                      <a:pt x="149039" y="224925"/>
                    </a:cubicBezTo>
                    <a:cubicBezTo>
                      <a:pt x="149301" y="224925"/>
                      <a:pt x="149361" y="224925"/>
                      <a:pt x="149289" y="224925"/>
                    </a:cubicBezTo>
                    <a:lnTo>
                      <a:pt x="180480" y="224925"/>
                    </a:lnTo>
                    <a:cubicBezTo>
                      <a:pt x="180420" y="224925"/>
                      <a:pt x="180468" y="224925"/>
                      <a:pt x="180731" y="224925"/>
                    </a:cubicBezTo>
                    <a:cubicBezTo>
                      <a:pt x="189054" y="224925"/>
                      <a:pt x="195753" y="209187"/>
                      <a:pt x="195753" y="209187"/>
                    </a:cubicBezTo>
                    <a:lnTo>
                      <a:pt x="222835" y="209187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2018" name="Gráfico 17">
              <a:extLst>
                <a:ext uri="{FF2B5EF4-FFF2-40B4-BE49-F238E27FC236}">
                  <a16:creationId xmlns:a16="http://schemas.microsoft.com/office/drawing/2014/main" id="{BC19AE3E-51A9-A6CC-3115-940231F4E4CF}"/>
                </a:ext>
              </a:extLst>
            </p:cNvPr>
            <p:cNvGrpSpPr/>
            <p:nvPr/>
          </p:nvGrpSpPr>
          <p:grpSpPr>
            <a:xfrm>
              <a:off x="7727432" y="5964553"/>
              <a:ext cx="132129" cy="131855"/>
              <a:chOff x="7727432" y="5964553"/>
              <a:chExt cx="132129" cy="131855"/>
            </a:xfrm>
            <a:noFill/>
          </p:grpSpPr>
          <p:sp>
            <p:nvSpPr>
              <p:cNvPr id="2019" name="Forma livre: Forma 2018">
                <a:extLst>
                  <a:ext uri="{FF2B5EF4-FFF2-40B4-BE49-F238E27FC236}">
                    <a16:creationId xmlns:a16="http://schemas.microsoft.com/office/drawing/2014/main" id="{698C9E39-B51F-D299-14BC-A34F2EB719D2}"/>
                  </a:ext>
                </a:extLst>
              </p:cNvPr>
              <p:cNvSpPr/>
              <p:nvPr/>
            </p:nvSpPr>
            <p:spPr>
              <a:xfrm>
                <a:off x="7727432" y="5964553"/>
                <a:ext cx="114719" cy="114731"/>
              </a:xfrm>
              <a:custGeom>
                <a:avLst/>
                <a:gdLst>
                  <a:gd name="connsiteX0" fmla="*/ 114719 w 114719"/>
                  <a:gd name="connsiteY0" fmla="*/ 57366 h 114731"/>
                  <a:gd name="connsiteX1" fmla="*/ 57354 w 114719"/>
                  <a:gd name="connsiteY1" fmla="*/ 114731 h 114731"/>
                  <a:gd name="connsiteX2" fmla="*/ 0 w 114719"/>
                  <a:gd name="connsiteY2" fmla="*/ 57366 h 114731"/>
                  <a:gd name="connsiteX3" fmla="*/ 57354 w 114719"/>
                  <a:gd name="connsiteY3" fmla="*/ 0 h 114731"/>
                  <a:gd name="connsiteX4" fmla="*/ 114719 w 114719"/>
                  <a:gd name="connsiteY4" fmla="*/ 57366 h 1147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14719" h="114731">
                    <a:moveTo>
                      <a:pt x="114719" y="57366"/>
                    </a:moveTo>
                    <a:cubicBezTo>
                      <a:pt x="114719" y="89046"/>
                      <a:pt x="89034" y="114731"/>
                      <a:pt x="57354" y="114731"/>
                    </a:cubicBezTo>
                    <a:cubicBezTo>
                      <a:pt x="25674" y="114731"/>
                      <a:pt x="0" y="89058"/>
                      <a:pt x="0" y="57366"/>
                    </a:cubicBezTo>
                    <a:cubicBezTo>
                      <a:pt x="0" y="25674"/>
                      <a:pt x="25686" y="0"/>
                      <a:pt x="57354" y="0"/>
                    </a:cubicBezTo>
                    <a:cubicBezTo>
                      <a:pt x="89022" y="0"/>
                      <a:pt x="114719" y="25674"/>
                      <a:pt x="114719" y="57366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020" name="Forma livre: Forma 2019">
                <a:extLst>
                  <a:ext uri="{FF2B5EF4-FFF2-40B4-BE49-F238E27FC236}">
                    <a16:creationId xmlns:a16="http://schemas.microsoft.com/office/drawing/2014/main" id="{AD3E4C6E-D63F-BF53-ADBD-6EEE87B646AB}"/>
                  </a:ext>
                </a:extLst>
              </p:cNvPr>
              <p:cNvSpPr/>
              <p:nvPr/>
            </p:nvSpPr>
            <p:spPr>
              <a:xfrm>
                <a:off x="7754300" y="5991421"/>
                <a:ext cx="30485" cy="30497"/>
              </a:xfrm>
              <a:custGeom>
                <a:avLst/>
                <a:gdLst>
                  <a:gd name="connsiteX0" fmla="*/ 0 w 30485"/>
                  <a:gd name="connsiteY0" fmla="*/ 30498 h 30497"/>
                  <a:gd name="connsiteX1" fmla="*/ 30486 w 30485"/>
                  <a:gd name="connsiteY1" fmla="*/ 0 h 304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0485" h="30497">
                    <a:moveTo>
                      <a:pt x="0" y="30498"/>
                    </a:moveTo>
                    <a:cubicBezTo>
                      <a:pt x="0" y="13661"/>
                      <a:pt x="13649" y="0"/>
                      <a:pt x="30486" y="0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021" name="Forma livre: Forma 2020">
                <a:extLst>
                  <a:ext uri="{FF2B5EF4-FFF2-40B4-BE49-F238E27FC236}">
                    <a16:creationId xmlns:a16="http://schemas.microsoft.com/office/drawing/2014/main" id="{054AD6A3-4E73-D937-8F6B-6B529C37A128}"/>
                  </a:ext>
                </a:extLst>
              </p:cNvPr>
              <p:cNvSpPr/>
              <p:nvPr/>
            </p:nvSpPr>
            <p:spPr>
              <a:xfrm>
                <a:off x="7824968" y="6061803"/>
                <a:ext cx="34593" cy="34605"/>
              </a:xfrm>
              <a:custGeom>
                <a:avLst/>
                <a:gdLst>
                  <a:gd name="connsiteX0" fmla="*/ 0 w 34593"/>
                  <a:gd name="connsiteY0" fmla="*/ 0 h 34605"/>
                  <a:gd name="connsiteX1" fmla="*/ 34594 w 34593"/>
                  <a:gd name="connsiteY1" fmla="*/ 34606 h 346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4593" h="34605">
                    <a:moveTo>
                      <a:pt x="0" y="0"/>
                    </a:moveTo>
                    <a:lnTo>
                      <a:pt x="34594" y="34606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2022" name="Gráfico 17">
            <a:extLst>
              <a:ext uri="{FF2B5EF4-FFF2-40B4-BE49-F238E27FC236}">
                <a16:creationId xmlns:a16="http://schemas.microsoft.com/office/drawing/2014/main" id="{65BC2D51-F882-A7D7-8CD3-72B36C8EE0E2}"/>
              </a:ext>
            </a:extLst>
          </p:cNvPr>
          <p:cNvGrpSpPr/>
          <p:nvPr/>
        </p:nvGrpSpPr>
        <p:grpSpPr>
          <a:xfrm>
            <a:off x="7568590" y="3665113"/>
            <a:ext cx="224196" cy="331381"/>
            <a:chOff x="7568590" y="3665113"/>
            <a:chExt cx="224196" cy="331381"/>
          </a:xfrm>
          <a:noFill/>
        </p:grpSpPr>
        <p:sp>
          <p:nvSpPr>
            <p:cNvPr id="2023" name="Forma livre: Forma 2022">
              <a:extLst>
                <a:ext uri="{FF2B5EF4-FFF2-40B4-BE49-F238E27FC236}">
                  <a16:creationId xmlns:a16="http://schemas.microsoft.com/office/drawing/2014/main" id="{3914874C-8288-4865-BE3B-AEBC0E6648F3}"/>
                </a:ext>
              </a:extLst>
            </p:cNvPr>
            <p:cNvSpPr/>
            <p:nvPr/>
          </p:nvSpPr>
          <p:spPr>
            <a:xfrm>
              <a:off x="7644811" y="3919509"/>
              <a:ext cx="47442" cy="76985"/>
            </a:xfrm>
            <a:custGeom>
              <a:avLst/>
              <a:gdLst>
                <a:gd name="connsiteX0" fmla="*/ 47443 w 47442"/>
                <a:gd name="connsiteY0" fmla="*/ 0 h 76985"/>
                <a:gd name="connsiteX1" fmla="*/ 47443 w 47442"/>
                <a:gd name="connsiteY1" fmla="*/ 76985 h 76985"/>
                <a:gd name="connsiteX2" fmla="*/ 23715 w 47442"/>
                <a:gd name="connsiteY2" fmla="*/ 61247 h 76985"/>
                <a:gd name="connsiteX3" fmla="*/ 0 w 47442"/>
                <a:gd name="connsiteY3" fmla="*/ 76985 h 76985"/>
                <a:gd name="connsiteX4" fmla="*/ 0 w 47442"/>
                <a:gd name="connsiteY4" fmla="*/ 19894 h 769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7442" h="76985">
                  <a:moveTo>
                    <a:pt x="47443" y="0"/>
                  </a:moveTo>
                  <a:lnTo>
                    <a:pt x="47443" y="76985"/>
                  </a:lnTo>
                  <a:lnTo>
                    <a:pt x="23715" y="61247"/>
                  </a:lnTo>
                  <a:lnTo>
                    <a:pt x="0" y="76985"/>
                  </a:lnTo>
                  <a:lnTo>
                    <a:pt x="0" y="19894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2024" name="Gráfico 17">
              <a:extLst>
                <a:ext uri="{FF2B5EF4-FFF2-40B4-BE49-F238E27FC236}">
                  <a16:creationId xmlns:a16="http://schemas.microsoft.com/office/drawing/2014/main" id="{4A86985E-E4EF-D8DB-B5EA-B39EF019BA2A}"/>
                </a:ext>
              </a:extLst>
            </p:cNvPr>
            <p:cNvGrpSpPr/>
            <p:nvPr/>
          </p:nvGrpSpPr>
          <p:grpSpPr>
            <a:xfrm>
              <a:off x="7600366" y="3690572"/>
              <a:ext cx="192409" cy="229259"/>
              <a:chOff x="7600366" y="3690572"/>
              <a:chExt cx="192409" cy="229259"/>
            </a:xfrm>
          </p:grpSpPr>
          <p:sp>
            <p:nvSpPr>
              <p:cNvPr id="2025" name="Forma livre: Forma 2024">
                <a:extLst>
                  <a:ext uri="{FF2B5EF4-FFF2-40B4-BE49-F238E27FC236}">
                    <a16:creationId xmlns:a16="http://schemas.microsoft.com/office/drawing/2014/main" id="{1B9C680D-18EE-9A2B-AEE4-97B5BE961545}"/>
                  </a:ext>
                </a:extLst>
              </p:cNvPr>
              <p:cNvSpPr/>
              <p:nvPr/>
            </p:nvSpPr>
            <p:spPr>
              <a:xfrm>
                <a:off x="7600652" y="3690572"/>
                <a:ext cx="1194" cy="174461"/>
              </a:xfrm>
              <a:custGeom>
                <a:avLst/>
                <a:gdLst>
                  <a:gd name="connsiteX0" fmla="*/ 0 w 1194"/>
                  <a:gd name="connsiteY0" fmla="*/ 0 h 174461"/>
                  <a:gd name="connsiteX1" fmla="*/ 0 w 1194"/>
                  <a:gd name="connsiteY1" fmla="*/ 174461 h 1744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4" h="174461">
                    <a:moveTo>
                      <a:pt x="0" y="0"/>
                    </a:moveTo>
                    <a:lnTo>
                      <a:pt x="0" y="174461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026" name="Forma livre: Forma 2025">
                <a:extLst>
                  <a:ext uri="{FF2B5EF4-FFF2-40B4-BE49-F238E27FC236}">
                    <a16:creationId xmlns:a16="http://schemas.microsoft.com/office/drawing/2014/main" id="{0271D734-B640-BAC3-911D-539D28D8CA1C}"/>
                  </a:ext>
                </a:extLst>
              </p:cNvPr>
              <p:cNvSpPr/>
              <p:nvPr/>
            </p:nvSpPr>
            <p:spPr>
              <a:xfrm>
                <a:off x="7600366" y="3919832"/>
                <a:ext cx="192409" cy="1194"/>
              </a:xfrm>
              <a:custGeom>
                <a:avLst/>
                <a:gdLst>
                  <a:gd name="connsiteX0" fmla="*/ 0 w 192409"/>
                  <a:gd name="connsiteY0" fmla="*/ 0 h 1194"/>
                  <a:gd name="connsiteX1" fmla="*/ 192409 w 192409"/>
                  <a:gd name="connsiteY1" fmla="*/ 0 h 11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92409" h="1194">
                    <a:moveTo>
                      <a:pt x="0" y="0"/>
                    </a:moveTo>
                    <a:lnTo>
                      <a:pt x="192409" y="0"/>
                    </a:lnTo>
                  </a:path>
                </a:pathLst>
              </a:custGeom>
              <a:ln w="6350" cap="sq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2027" name="Forma livre: Forma 2026">
              <a:extLst>
                <a:ext uri="{FF2B5EF4-FFF2-40B4-BE49-F238E27FC236}">
                  <a16:creationId xmlns:a16="http://schemas.microsoft.com/office/drawing/2014/main" id="{4DDB7612-EC78-6D3A-5D4A-6FB1416D6184}"/>
                </a:ext>
              </a:extLst>
            </p:cNvPr>
            <p:cNvSpPr/>
            <p:nvPr/>
          </p:nvSpPr>
          <p:spPr>
            <a:xfrm>
              <a:off x="7648513" y="3716472"/>
              <a:ext cx="92341" cy="54141"/>
            </a:xfrm>
            <a:custGeom>
              <a:avLst/>
              <a:gdLst>
                <a:gd name="connsiteX0" fmla="*/ 0 w 92341"/>
                <a:gd name="connsiteY0" fmla="*/ 0 h 54141"/>
                <a:gd name="connsiteX1" fmla="*/ 92341 w 92341"/>
                <a:gd name="connsiteY1" fmla="*/ 0 h 54141"/>
                <a:gd name="connsiteX2" fmla="*/ 92341 w 92341"/>
                <a:gd name="connsiteY2" fmla="*/ 54142 h 54141"/>
                <a:gd name="connsiteX3" fmla="*/ 0 w 92341"/>
                <a:gd name="connsiteY3" fmla="*/ 54142 h 54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2341" h="54141">
                  <a:moveTo>
                    <a:pt x="0" y="0"/>
                  </a:moveTo>
                  <a:lnTo>
                    <a:pt x="92341" y="0"/>
                  </a:lnTo>
                  <a:lnTo>
                    <a:pt x="92341" y="54142"/>
                  </a:lnTo>
                  <a:lnTo>
                    <a:pt x="0" y="54142"/>
                  </a:ln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28" name="Forma livre: Forma 2027">
              <a:extLst>
                <a:ext uri="{FF2B5EF4-FFF2-40B4-BE49-F238E27FC236}">
                  <a16:creationId xmlns:a16="http://schemas.microsoft.com/office/drawing/2014/main" id="{875F4E4D-A865-00D6-469B-3D14DD4F1277}"/>
                </a:ext>
              </a:extLst>
            </p:cNvPr>
            <p:cNvSpPr/>
            <p:nvPr/>
          </p:nvSpPr>
          <p:spPr>
            <a:xfrm>
              <a:off x="7648513" y="3799500"/>
              <a:ext cx="92353" cy="1194"/>
            </a:xfrm>
            <a:custGeom>
              <a:avLst/>
              <a:gdLst>
                <a:gd name="connsiteX0" fmla="*/ 0 w 92353"/>
                <a:gd name="connsiteY0" fmla="*/ 0 h 1194"/>
                <a:gd name="connsiteX1" fmla="*/ 92354 w 92353"/>
                <a:gd name="connsiteY1" fmla="*/ 0 h 11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2353" h="1194">
                  <a:moveTo>
                    <a:pt x="0" y="0"/>
                  </a:moveTo>
                  <a:lnTo>
                    <a:pt x="92354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29" name="Forma livre: Forma 2028">
              <a:extLst>
                <a:ext uri="{FF2B5EF4-FFF2-40B4-BE49-F238E27FC236}">
                  <a16:creationId xmlns:a16="http://schemas.microsoft.com/office/drawing/2014/main" id="{6265BD0F-A46A-2E4C-0845-068766D03418}"/>
                </a:ext>
              </a:extLst>
            </p:cNvPr>
            <p:cNvSpPr/>
            <p:nvPr/>
          </p:nvSpPr>
          <p:spPr>
            <a:xfrm>
              <a:off x="7693889" y="3948885"/>
              <a:ext cx="98885" cy="1194"/>
            </a:xfrm>
            <a:custGeom>
              <a:avLst/>
              <a:gdLst>
                <a:gd name="connsiteX0" fmla="*/ 0 w 98885"/>
                <a:gd name="connsiteY0" fmla="*/ 0 h 1194"/>
                <a:gd name="connsiteX1" fmla="*/ 98885 w 98885"/>
                <a:gd name="connsiteY1" fmla="*/ 0 h 11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8885" h="1194">
                  <a:moveTo>
                    <a:pt x="0" y="0"/>
                  </a:moveTo>
                  <a:lnTo>
                    <a:pt x="98885" y="0"/>
                  </a:lnTo>
                </a:path>
              </a:pathLst>
            </a:custGeom>
            <a:ln w="6350" cap="sq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30" name="Forma livre: Forma 2029">
              <a:extLst>
                <a:ext uri="{FF2B5EF4-FFF2-40B4-BE49-F238E27FC236}">
                  <a16:creationId xmlns:a16="http://schemas.microsoft.com/office/drawing/2014/main" id="{DEBEF5BC-17AF-5FD5-9FE2-3BA254B38849}"/>
                </a:ext>
              </a:extLst>
            </p:cNvPr>
            <p:cNvSpPr/>
            <p:nvPr/>
          </p:nvSpPr>
          <p:spPr>
            <a:xfrm>
              <a:off x="7568590" y="3665113"/>
              <a:ext cx="224196" cy="283771"/>
            </a:xfrm>
            <a:custGeom>
              <a:avLst/>
              <a:gdLst>
                <a:gd name="connsiteX0" fmla="*/ 0 w 224196"/>
                <a:gd name="connsiteY0" fmla="*/ 251447 h 283771"/>
                <a:gd name="connsiteX1" fmla="*/ 0 w 224196"/>
                <a:gd name="connsiteY1" fmla="*/ 28659 h 283771"/>
                <a:gd name="connsiteX2" fmla="*/ 28659 w 224196"/>
                <a:gd name="connsiteY2" fmla="*/ 0 h 283771"/>
                <a:gd name="connsiteX3" fmla="*/ 224197 w 224196"/>
                <a:gd name="connsiteY3" fmla="*/ 0 h 283771"/>
                <a:gd name="connsiteX4" fmla="*/ 224197 w 224196"/>
                <a:gd name="connsiteY4" fmla="*/ 225665 h 283771"/>
                <a:gd name="connsiteX5" fmla="*/ 28659 w 224196"/>
                <a:gd name="connsiteY5" fmla="*/ 225665 h 283771"/>
                <a:gd name="connsiteX6" fmla="*/ 0 w 224196"/>
                <a:gd name="connsiteY6" fmla="*/ 254324 h 283771"/>
                <a:gd name="connsiteX7" fmla="*/ 0 w 224196"/>
                <a:gd name="connsiteY7" fmla="*/ 255113 h 283771"/>
                <a:gd name="connsiteX8" fmla="*/ 28659 w 224196"/>
                <a:gd name="connsiteY8" fmla="*/ 283772 h 283771"/>
                <a:gd name="connsiteX9" fmla="*/ 49365 w 224196"/>
                <a:gd name="connsiteY9" fmla="*/ 283772 h 2837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24196" h="283771">
                  <a:moveTo>
                    <a:pt x="0" y="251447"/>
                  </a:moveTo>
                  <a:lnTo>
                    <a:pt x="0" y="28659"/>
                  </a:lnTo>
                  <a:cubicBezTo>
                    <a:pt x="0" y="12897"/>
                    <a:pt x="12896" y="0"/>
                    <a:pt x="28659" y="0"/>
                  </a:cubicBezTo>
                  <a:lnTo>
                    <a:pt x="224197" y="0"/>
                  </a:lnTo>
                  <a:lnTo>
                    <a:pt x="224197" y="225665"/>
                  </a:lnTo>
                  <a:lnTo>
                    <a:pt x="28659" y="225665"/>
                  </a:lnTo>
                  <a:cubicBezTo>
                    <a:pt x="12896" y="225665"/>
                    <a:pt x="0" y="238562"/>
                    <a:pt x="0" y="254324"/>
                  </a:cubicBezTo>
                  <a:lnTo>
                    <a:pt x="0" y="255113"/>
                  </a:lnTo>
                  <a:cubicBezTo>
                    <a:pt x="0" y="270875"/>
                    <a:pt x="12896" y="283772"/>
                    <a:pt x="28659" y="283772"/>
                  </a:cubicBezTo>
                  <a:lnTo>
                    <a:pt x="49365" y="283772"/>
                  </a:lnTo>
                </a:path>
              </a:pathLst>
            </a:custGeom>
            <a:noFill/>
            <a:ln w="6350" cap="sq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2031" name="Gráfico 17">
            <a:extLst>
              <a:ext uri="{FF2B5EF4-FFF2-40B4-BE49-F238E27FC236}">
                <a16:creationId xmlns:a16="http://schemas.microsoft.com/office/drawing/2014/main" id="{0E8D4735-1436-51AB-B394-2027DBE98881}"/>
              </a:ext>
            </a:extLst>
          </p:cNvPr>
          <p:cNvGrpSpPr/>
          <p:nvPr/>
        </p:nvGrpSpPr>
        <p:grpSpPr>
          <a:xfrm>
            <a:off x="7572352" y="5284202"/>
            <a:ext cx="216661" cy="297050"/>
            <a:chOff x="7572352" y="5284202"/>
            <a:chExt cx="216661" cy="297050"/>
          </a:xfrm>
          <a:noFill/>
        </p:grpSpPr>
        <p:sp>
          <p:nvSpPr>
            <p:cNvPr id="2032" name="Forma livre: Forma 2031">
              <a:extLst>
                <a:ext uri="{FF2B5EF4-FFF2-40B4-BE49-F238E27FC236}">
                  <a16:creationId xmlns:a16="http://schemas.microsoft.com/office/drawing/2014/main" id="{4F0CF7BE-1F67-4744-CF91-17447136D97F}"/>
                </a:ext>
              </a:extLst>
            </p:cNvPr>
            <p:cNvSpPr/>
            <p:nvPr/>
          </p:nvSpPr>
          <p:spPr>
            <a:xfrm>
              <a:off x="7572352" y="5284202"/>
              <a:ext cx="216661" cy="297050"/>
            </a:xfrm>
            <a:custGeom>
              <a:avLst/>
              <a:gdLst>
                <a:gd name="connsiteX0" fmla="*/ 14329 w 216661"/>
                <a:gd name="connsiteY0" fmla="*/ 297050 h 297050"/>
                <a:gd name="connsiteX1" fmla="*/ 0 w 216661"/>
                <a:gd name="connsiteY1" fmla="*/ 282721 h 297050"/>
                <a:gd name="connsiteX2" fmla="*/ 0 w 216661"/>
                <a:gd name="connsiteY2" fmla="*/ 14329 h 297050"/>
                <a:gd name="connsiteX3" fmla="*/ 14329 w 216661"/>
                <a:gd name="connsiteY3" fmla="*/ 0 h 297050"/>
                <a:gd name="connsiteX4" fmla="*/ 202332 w 216661"/>
                <a:gd name="connsiteY4" fmla="*/ 0 h 297050"/>
                <a:gd name="connsiteX5" fmla="*/ 216662 w 216661"/>
                <a:gd name="connsiteY5" fmla="*/ 14329 h 297050"/>
                <a:gd name="connsiteX6" fmla="*/ 216662 w 216661"/>
                <a:gd name="connsiteY6" fmla="*/ 282721 h 297050"/>
                <a:gd name="connsiteX7" fmla="*/ 202332 w 216661"/>
                <a:gd name="connsiteY7" fmla="*/ 297050 h 297050"/>
                <a:gd name="connsiteX8" fmla="*/ 14329 w 216661"/>
                <a:gd name="connsiteY8" fmla="*/ 297050 h 297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661" h="297050">
                  <a:moveTo>
                    <a:pt x="14329" y="297050"/>
                  </a:moveTo>
                  <a:cubicBezTo>
                    <a:pt x="6448" y="297050"/>
                    <a:pt x="0" y="290602"/>
                    <a:pt x="0" y="282721"/>
                  </a:cubicBezTo>
                  <a:lnTo>
                    <a:pt x="0" y="14329"/>
                  </a:lnTo>
                  <a:cubicBezTo>
                    <a:pt x="0" y="6448"/>
                    <a:pt x="6448" y="0"/>
                    <a:pt x="14329" y="0"/>
                  </a:cubicBezTo>
                  <a:lnTo>
                    <a:pt x="202332" y="0"/>
                  </a:lnTo>
                  <a:cubicBezTo>
                    <a:pt x="210213" y="0"/>
                    <a:pt x="216662" y="6448"/>
                    <a:pt x="216662" y="14329"/>
                  </a:cubicBezTo>
                  <a:lnTo>
                    <a:pt x="216662" y="282721"/>
                  </a:lnTo>
                  <a:cubicBezTo>
                    <a:pt x="216662" y="290602"/>
                    <a:pt x="210213" y="297050"/>
                    <a:pt x="202332" y="297050"/>
                  </a:cubicBezTo>
                  <a:lnTo>
                    <a:pt x="14329" y="297050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33" name="Forma livre: Forma 2032">
              <a:extLst>
                <a:ext uri="{FF2B5EF4-FFF2-40B4-BE49-F238E27FC236}">
                  <a16:creationId xmlns:a16="http://schemas.microsoft.com/office/drawing/2014/main" id="{E55AEF62-297F-6576-EC8F-1C7494F39552}"/>
                </a:ext>
              </a:extLst>
            </p:cNvPr>
            <p:cNvSpPr/>
            <p:nvPr/>
          </p:nvSpPr>
          <p:spPr>
            <a:xfrm>
              <a:off x="7593667" y="5525020"/>
              <a:ext cx="174019" cy="1194"/>
            </a:xfrm>
            <a:custGeom>
              <a:avLst/>
              <a:gdLst>
                <a:gd name="connsiteX0" fmla="*/ 0 w 174019"/>
                <a:gd name="connsiteY0" fmla="*/ 0 h 1194"/>
                <a:gd name="connsiteX1" fmla="*/ 174020 w 174019"/>
                <a:gd name="connsiteY1" fmla="*/ 0 h 11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74019" h="1194">
                  <a:moveTo>
                    <a:pt x="0" y="0"/>
                  </a:moveTo>
                  <a:lnTo>
                    <a:pt x="17402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2034" name="Gráfico 17">
              <a:extLst>
                <a:ext uri="{FF2B5EF4-FFF2-40B4-BE49-F238E27FC236}">
                  <a16:creationId xmlns:a16="http://schemas.microsoft.com/office/drawing/2014/main" id="{3AB2EE3A-E593-5F4D-F42B-84D416301D34}"/>
                </a:ext>
              </a:extLst>
            </p:cNvPr>
            <p:cNvGrpSpPr/>
            <p:nvPr/>
          </p:nvGrpSpPr>
          <p:grpSpPr>
            <a:xfrm>
              <a:off x="7604450" y="5340325"/>
              <a:ext cx="152453" cy="133264"/>
              <a:chOff x="7604450" y="5340325"/>
              <a:chExt cx="152453" cy="133264"/>
            </a:xfrm>
          </p:grpSpPr>
          <p:sp>
            <p:nvSpPr>
              <p:cNvPr id="2035" name="Forma livre: Forma 2034">
                <a:extLst>
                  <a:ext uri="{FF2B5EF4-FFF2-40B4-BE49-F238E27FC236}">
                    <a16:creationId xmlns:a16="http://schemas.microsoft.com/office/drawing/2014/main" id="{64DE3E52-A7C9-43D5-B2D5-5DF095DAC901}"/>
                  </a:ext>
                </a:extLst>
              </p:cNvPr>
              <p:cNvSpPr/>
              <p:nvPr/>
            </p:nvSpPr>
            <p:spPr>
              <a:xfrm>
                <a:off x="7683190" y="5340325"/>
                <a:ext cx="73713" cy="1194"/>
              </a:xfrm>
              <a:custGeom>
                <a:avLst/>
                <a:gdLst>
                  <a:gd name="connsiteX0" fmla="*/ 0 w 73713"/>
                  <a:gd name="connsiteY0" fmla="*/ 0 h 1194"/>
                  <a:gd name="connsiteX1" fmla="*/ 73713 w 73713"/>
                  <a:gd name="connsiteY1" fmla="*/ 0 h 11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73713" h="1194">
                    <a:moveTo>
                      <a:pt x="0" y="0"/>
                    </a:moveTo>
                    <a:lnTo>
                      <a:pt x="73713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036" name="Forma livre: Forma 2035">
                <a:extLst>
                  <a:ext uri="{FF2B5EF4-FFF2-40B4-BE49-F238E27FC236}">
                    <a16:creationId xmlns:a16="http://schemas.microsoft.com/office/drawing/2014/main" id="{200CFC8D-A382-ADB0-ACCF-E9D56DD52FE4}"/>
                  </a:ext>
                </a:extLst>
              </p:cNvPr>
              <p:cNvSpPr/>
              <p:nvPr/>
            </p:nvSpPr>
            <p:spPr>
              <a:xfrm>
                <a:off x="7683190" y="5373641"/>
                <a:ext cx="73713" cy="1194"/>
              </a:xfrm>
              <a:custGeom>
                <a:avLst/>
                <a:gdLst>
                  <a:gd name="connsiteX0" fmla="*/ 0 w 73713"/>
                  <a:gd name="connsiteY0" fmla="*/ 0 h 1194"/>
                  <a:gd name="connsiteX1" fmla="*/ 73713 w 73713"/>
                  <a:gd name="connsiteY1" fmla="*/ 0 h 11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73713" h="1194">
                    <a:moveTo>
                      <a:pt x="0" y="0"/>
                    </a:moveTo>
                    <a:lnTo>
                      <a:pt x="73713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037" name="Forma livre: Forma 2036">
                <a:extLst>
                  <a:ext uri="{FF2B5EF4-FFF2-40B4-BE49-F238E27FC236}">
                    <a16:creationId xmlns:a16="http://schemas.microsoft.com/office/drawing/2014/main" id="{D63E42E8-AC71-3409-F3E2-BCE5BF672A62}"/>
                  </a:ext>
                </a:extLst>
              </p:cNvPr>
              <p:cNvSpPr/>
              <p:nvPr/>
            </p:nvSpPr>
            <p:spPr>
              <a:xfrm>
                <a:off x="7604450" y="5406957"/>
                <a:ext cx="152453" cy="1194"/>
              </a:xfrm>
              <a:custGeom>
                <a:avLst/>
                <a:gdLst>
                  <a:gd name="connsiteX0" fmla="*/ 0 w 152453"/>
                  <a:gd name="connsiteY0" fmla="*/ 0 h 1194"/>
                  <a:gd name="connsiteX1" fmla="*/ 152454 w 152453"/>
                  <a:gd name="connsiteY1" fmla="*/ 0 h 11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52453" h="1194">
                    <a:moveTo>
                      <a:pt x="0" y="0"/>
                    </a:moveTo>
                    <a:lnTo>
                      <a:pt x="152454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038" name="Forma livre: Forma 2037">
                <a:extLst>
                  <a:ext uri="{FF2B5EF4-FFF2-40B4-BE49-F238E27FC236}">
                    <a16:creationId xmlns:a16="http://schemas.microsoft.com/office/drawing/2014/main" id="{4545E7D5-30D5-81EC-0884-43EAA68BD0ED}"/>
                  </a:ext>
                </a:extLst>
              </p:cNvPr>
              <p:cNvSpPr/>
              <p:nvPr/>
            </p:nvSpPr>
            <p:spPr>
              <a:xfrm>
                <a:off x="7604450" y="5440273"/>
                <a:ext cx="152453" cy="1194"/>
              </a:xfrm>
              <a:custGeom>
                <a:avLst/>
                <a:gdLst>
                  <a:gd name="connsiteX0" fmla="*/ 0 w 152453"/>
                  <a:gd name="connsiteY0" fmla="*/ 0 h 1194"/>
                  <a:gd name="connsiteX1" fmla="*/ 152454 w 152453"/>
                  <a:gd name="connsiteY1" fmla="*/ 0 h 11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52453" h="1194">
                    <a:moveTo>
                      <a:pt x="0" y="0"/>
                    </a:moveTo>
                    <a:lnTo>
                      <a:pt x="152454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039" name="Forma livre: Forma 2038">
                <a:extLst>
                  <a:ext uri="{FF2B5EF4-FFF2-40B4-BE49-F238E27FC236}">
                    <a16:creationId xmlns:a16="http://schemas.microsoft.com/office/drawing/2014/main" id="{05D9D39B-B951-D51B-C416-7FC96E1C07AB}"/>
                  </a:ext>
                </a:extLst>
              </p:cNvPr>
              <p:cNvSpPr/>
              <p:nvPr/>
            </p:nvSpPr>
            <p:spPr>
              <a:xfrm>
                <a:off x="7604450" y="5473590"/>
                <a:ext cx="93261" cy="1194"/>
              </a:xfrm>
              <a:custGeom>
                <a:avLst/>
                <a:gdLst>
                  <a:gd name="connsiteX0" fmla="*/ 0 w 93261"/>
                  <a:gd name="connsiteY0" fmla="*/ 0 h 1194"/>
                  <a:gd name="connsiteX1" fmla="*/ 93261 w 93261"/>
                  <a:gd name="connsiteY1" fmla="*/ 0 h 11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3261" h="1194">
                    <a:moveTo>
                      <a:pt x="0" y="0"/>
                    </a:moveTo>
                    <a:lnTo>
                      <a:pt x="93261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2040" name="Gráfico 17">
              <a:extLst>
                <a:ext uri="{FF2B5EF4-FFF2-40B4-BE49-F238E27FC236}">
                  <a16:creationId xmlns:a16="http://schemas.microsoft.com/office/drawing/2014/main" id="{B9A014E9-94BB-89A5-9CBB-3E875FD08138}"/>
                </a:ext>
              </a:extLst>
            </p:cNvPr>
            <p:cNvGrpSpPr/>
            <p:nvPr/>
          </p:nvGrpSpPr>
          <p:grpSpPr>
            <a:xfrm>
              <a:off x="7630314" y="5552688"/>
              <a:ext cx="100724" cy="167"/>
              <a:chOff x="7630314" y="5552688"/>
              <a:chExt cx="100724" cy="167"/>
            </a:xfrm>
          </p:grpSpPr>
          <p:sp>
            <p:nvSpPr>
              <p:cNvPr id="2041" name="Forma livre: Forma 2040">
                <a:extLst>
                  <a:ext uri="{FF2B5EF4-FFF2-40B4-BE49-F238E27FC236}">
                    <a16:creationId xmlns:a16="http://schemas.microsoft.com/office/drawing/2014/main" id="{11289C00-2030-1D81-A23F-7285D14AA02B}"/>
                  </a:ext>
                </a:extLst>
              </p:cNvPr>
              <p:cNvSpPr/>
              <p:nvPr/>
            </p:nvSpPr>
            <p:spPr>
              <a:xfrm>
                <a:off x="7662221" y="5552688"/>
                <a:ext cx="36910" cy="1194"/>
              </a:xfrm>
              <a:custGeom>
                <a:avLst/>
                <a:gdLst>
                  <a:gd name="connsiteX0" fmla="*/ 0 w 36910"/>
                  <a:gd name="connsiteY0" fmla="*/ 0 h 1194"/>
                  <a:gd name="connsiteX1" fmla="*/ 36910 w 36910"/>
                  <a:gd name="connsiteY1" fmla="*/ 0 h 11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6910" h="1194">
                    <a:moveTo>
                      <a:pt x="0" y="0"/>
                    </a:moveTo>
                    <a:lnTo>
                      <a:pt x="3691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042" name="Forma livre: Forma 2041">
                <a:extLst>
                  <a:ext uri="{FF2B5EF4-FFF2-40B4-BE49-F238E27FC236}">
                    <a16:creationId xmlns:a16="http://schemas.microsoft.com/office/drawing/2014/main" id="{3195B854-176A-2F21-0DAD-3FD89FFAD353}"/>
                  </a:ext>
                </a:extLst>
              </p:cNvPr>
              <p:cNvSpPr/>
              <p:nvPr/>
            </p:nvSpPr>
            <p:spPr>
              <a:xfrm>
                <a:off x="7714381" y="5552855"/>
                <a:ext cx="16658" cy="1194"/>
              </a:xfrm>
              <a:custGeom>
                <a:avLst/>
                <a:gdLst>
                  <a:gd name="connsiteX0" fmla="*/ 0 w 16658"/>
                  <a:gd name="connsiteY0" fmla="*/ 0 h 1194"/>
                  <a:gd name="connsiteX1" fmla="*/ 16658 w 16658"/>
                  <a:gd name="connsiteY1" fmla="*/ 0 h 11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6658" h="1194">
                    <a:moveTo>
                      <a:pt x="0" y="0"/>
                    </a:moveTo>
                    <a:lnTo>
                      <a:pt x="16658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043" name="Forma livre: Forma 2042">
                <a:extLst>
                  <a:ext uri="{FF2B5EF4-FFF2-40B4-BE49-F238E27FC236}">
                    <a16:creationId xmlns:a16="http://schemas.microsoft.com/office/drawing/2014/main" id="{50A1413E-D909-5FB0-3655-24344E15B4F3}"/>
                  </a:ext>
                </a:extLst>
              </p:cNvPr>
              <p:cNvSpPr/>
              <p:nvPr/>
            </p:nvSpPr>
            <p:spPr>
              <a:xfrm>
                <a:off x="7630314" y="5552855"/>
                <a:ext cx="16669" cy="1194"/>
              </a:xfrm>
              <a:custGeom>
                <a:avLst/>
                <a:gdLst>
                  <a:gd name="connsiteX0" fmla="*/ 0 w 16669"/>
                  <a:gd name="connsiteY0" fmla="*/ 0 h 1194"/>
                  <a:gd name="connsiteX1" fmla="*/ 16670 w 16669"/>
                  <a:gd name="connsiteY1" fmla="*/ 0 h 11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6669" h="1194">
                    <a:moveTo>
                      <a:pt x="0" y="0"/>
                    </a:moveTo>
                    <a:lnTo>
                      <a:pt x="1667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2044" name="Gráfico 17">
              <a:extLst>
                <a:ext uri="{FF2B5EF4-FFF2-40B4-BE49-F238E27FC236}">
                  <a16:creationId xmlns:a16="http://schemas.microsoft.com/office/drawing/2014/main" id="{6003FAC8-7F5A-A038-31CA-5697B7596924}"/>
                </a:ext>
              </a:extLst>
            </p:cNvPr>
            <p:cNvGrpSpPr/>
            <p:nvPr/>
          </p:nvGrpSpPr>
          <p:grpSpPr>
            <a:xfrm>
              <a:off x="7613346" y="5324336"/>
              <a:ext cx="45281" cy="52254"/>
              <a:chOff x="7613346" y="5324336"/>
              <a:chExt cx="45281" cy="52254"/>
            </a:xfrm>
            <a:noFill/>
          </p:grpSpPr>
          <p:sp>
            <p:nvSpPr>
              <p:cNvPr id="2045" name="Forma livre: Forma 2044">
                <a:extLst>
                  <a:ext uri="{FF2B5EF4-FFF2-40B4-BE49-F238E27FC236}">
                    <a16:creationId xmlns:a16="http://schemas.microsoft.com/office/drawing/2014/main" id="{5380DFD6-0F4F-4572-DD4B-46E712882391}"/>
                  </a:ext>
                </a:extLst>
              </p:cNvPr>
              <p:cNvSpPr/>
              <p:nvPr/>
            </p:nvSpPr>
            <p:spPr>
              <a:xfrm>
                <a:off x="7613346" y="5324336"/>
                <a:ext cx="45281" cy="52254"/>
              </a:xfrm>
              <a:custGeom>
                <a:avLst/>
                <a:gdLst>
                  <a:gd name="connsiteX0" fmla="*/ 0 w 45281"/>
                  <a:gd name="connsiteY0" fmla="*/ 52255 h 52254"/>
                  <a:gd name="connsiteX1" fmla="*/ 22641 w 45281"/>
                  <a:gd name="connsiteY1" fmla="*/ 0 h 52254"/>
                  <a:gd name="connsiteX2" fmla="*/ 45281 w 45281"/>
                  <a:gd name="connsiteY2" fmla="*/ 52255 h 522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45281" h="52254">
                    <a:moveTo>
                      <a:pt x="0" y="52255"/>
                    </a:moveTo>
                    <a:lnTo>
                      <a:pt x="22641" y="0"/>
                    </a:lnTo>
                    <a:lnTo>
                      <a:pt x="45281" y="52255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046" name="Forma livre: Forma 2045">
                <a:extLst>
                  <a:ext uri="{FF2B5EF4-FFF2-40B4-BE49-F238E27FC236}">
                    <a16:creationId xmlns:a16="http://schemas.microsoft.com/office/drawing/2014/main" id="{8E666306-372A-CAFC-6859-48A5274BC0D3}"/>
                  </a:ext>
                </a:extLst>
              </p:cNvPr>
              <p:cNvSpPr/>
              <p:nvPr/>
            </p:nvSpPr>
            <p:spPr>
              <a:xfrm>
                <a:off x="7623687" y="5359467"/>
                <a:ext cx="24587" cy="1194"/>
              </a:xfrm>
              <a:custGeom>
                <a:avLst/>
                <a:gdLst>
                  <a:gd name="connsiteX0" fmla="*/ 0 w 24587"/>
                  <a:gd name="connsiteY0" fmla="*/ 0 h 1194"/>
                  <a:gd name="connsiteX1" fmla="*/ 24587 w 24587"/>
                  <a:gd name="connsiteY1" fmla="*/ 0 h 11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4587" h="1194">
                    <a:moveTo>
                      <a:pt x="0" y="0"/>
                    </a:moveTo>
                    <a:lnTo>
                      <a:pt x="24587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2047" name="Gráfico 17">
            <a:extLst>
              <a:ext uri="{FF2B5EF4-FFF2-40B4-BE49-F238E27FC236}">
                <a16:creationId xmlns:a16="http://schemas.microsoft.com/office/drawing/2014/main" id="{89C12171-54A6-05E7-3FFF-0568021F63C5}"/>
              </a:ext>
            </a:extLst>
          </p:cNvPr>
          <p:cNvGrpSpPr/>
          <p:nvPr/>
        </p:nvGrpSpPr>
        <p:grpSpPr>
          <a:xfrm>
            <a:off x="7560277" y="4188103"/>
            <a:ext cx="240797" cy="353336"/>
            <a:chOff x="7560277" y="4188103"/>
            <a:chExt cx="240797" cy="353336"/>
          </a:xfrm>
          <a:noFill/>
        </p:grpSpPr>
        <p:sp>
          <p:nvSpPr>
            <p:cNvPr id="2048" name="Forma livre: Forma 2047">
              <a:extLst>
                <a:ext uri="{FF2B5EF4-FFF2-40B4-BE49-F238E27FC236}">
                  <a16:creationId xmlns:a16="http://schemas.microsoft.com/office/drawing/2014/main" id="{C59D6261-92D6-02A8-03D0-6058F6B4C2FC}"/>
                </a:ext>
              </a:extLst>
            </p:cNvPr>
            <p:cNvSpPr/>
            <p:nvPr/>
          </p:nvSpPr>
          <p:spPr>
            <a:xfrm>
              <a:off x="7614850" y="4325249"/>
              <a:ext cx="1194" cy="192564"/>
            </a:xfrm>
            <a:custGeom>
              <a:avLst/>
              <a:gdLst>
                <a:gd name="connsiteX0" fmla="*/ 0 w 1194"/>
                <a:gd name="connsiteY0" fmla="*/ 0 h 192564"/>
                <a:gd name="connsiteX1" fmla="*/ 0 w 1194"/>
                <a:gd name="connsiteY1" fmla="*/ 192564 h 192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94" h="192564">
                  <a:moveTo>
                    <a:pt x="0" y="0"/>
                  </a:moveTo>
                  <a:lnTo>
                    <a:pt x="0" y="192564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49" name="Forma livre: Forma 2048">
              <a:extLst>
                <a:ext uri="{FF2B5EF4-FFF2-40B4-BE49-F238E27FC236}">
                  <a16:creationId xmlns:a16="http://schemas.microsoft.com/office/drawing/2014/main" id="{93427781-C968-715F-524D-6BDC4F3DECAC}"/>
                </a:ext>
              </a:extLst>
            </p:cNvPr>
            <p:cNvSpPr/>
            <p:nvPr/>
          </p:nvSpPr>
          <p:spPr>
            <a:xfrm>
              <a:off x="7560277" y="4188103"/>
              <a:ext cx="240797" cy="353336"/>
            </a:xfrm>
            <a:custGeom>
              <a:avLst/>
              <a:gdLst>
                <a:gd name="connsiteX0" fmla="*/ 2 w 240797"/>
                <a:gd name="connsiteY0" fmla="*/ 79899 h 353336"/>
                <a:gd name="connsiteX1" fmla="*/ 2 w 240797"/>
                <a:gd name="connsiteY1" fmla="*/ 320837 h 353336"/>
                <a:gd name="connsiteX2" fmla="*/ 15550 w 240797"/>
                <a:gd name="connsiteY2" fmla="*/ 343227 h 353336"/>
                <a:gd name="connsiteX3" fmla="*/ 103664 w 240797"/>
                <a:gd name="connsiteY3" fmla="*/ 339979 h 353336"/>
                <a:gd name="connsiteX4" fmla="*/ 240797 w 240797"/>
                <a:gd name="connsiteY4" fmla="*/ 277693 h 353336"/>
                <a:gd name="connsiteX5" fmla="*/ 240797 w 240797"/>
                <a:gd name="connsiteY5" fmla="*/ 38152 h 353336"/>
                <a:gd name="connsiteX6" fmla="*/ 103664 w 240797"/>
                <a:gd name="connsiteY6" fmla="*/ 100450 h 353336"/>
                <a:gd name="connsiteX7" fmla="*/ 15550 w 240797"/>
                <a:gd name="connsiteY7" fmla="*/ 103698 h 353336"/>
                <a:gd name="connsiteX8" fmla="*/ 22762 w 240797"/>
                <a:gd name="connsiteY8" fmla="*/ 62011 h 353336"/>
                <a:gd name="connsiteX9" fmla="*/ 159764 w 240797"/>
                <a:gd name="connsiteY9" fmla="*/ 0 h 3533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40797" h="353336">
                  <a:moveTo>
                    <a:pt x="2" y="79899"/>
                  </a:moveTo>
                  <a:lnTo>
                    <a:pt x="2" y="320837"/>
                  </a:lnTo>
                  <a:cubicBezTo>
                    <a:pt x="146" y="326354"/>
                    <a:pt x="4337" y="333638"/>
                    <a:pt x="15550" y="343227"/>
                  </a:cubicBezTo>
                  <a:cubicBezTo>
                    <a:pt x="15550" y="343227"/>
                    <a:pt x="42274" y="368005"/>
                    <a:pt x="103664" y="339979"/>
                  </a:cubicBezTo>
                  <a:lnTo>
                    <a:pt x="240797" y="277693"/>
                  </a:lnTo>
                  <a:lnTo>
                    <a:pt x="240797" y="38152"/>
                  </a:lnTo>
                  <a:lnTo>
                    <a:pt x="103664" y="100450"/>
                  </a:lnTo>
                  <a:cubicBezTo>
                    <a:pt x="42274" y="128464"/>
                    <a:pt x="15550" y="103698"/>
                    <a:pt x="15550" y="103698"/>
                  </a:cubicBezTo>
                  <a:cubicBezTo>
                    <a:pt x="-16835" y="75994"/>
                    <a:pt x="9304" y="68782"/>
                    <a:pt x="22762" y="62011"/>
                  </a:cubicBezTo>
                  <a:lnTo>
                    <a:pt x="159764" y="0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50" name="Forma livre: Forma 2049">
              <a:extLst>
                <a:ext uri="{FF2B5EF4-FFF2-40B4-BE49-F238E27FC236}">
                  <a16:creationId xmlns:a16="http://schemas.microsoft.com/office/drawing/2014/main" id="{182D6541-D422-97FD-B3F1-B30F1D304FDB}"/>
                </a:ext>
              </a:extLst>
            </p:cNvPr>
            <p:cNvSpPr/>
            <p:nvPr/>
          </p:nvSpPr>
          <p:spPr>
            <a:xfrm>
              <a:off x="7593308" y="4210207"/>
              <a:ext cx="187537" cy="61473"/>
            </a:xfrm>
            <a:custGeom>
              <a:avLst/>
              <a:gdLst>
                <a:gd name="connsiteX0" fmla="*/ 187537 w 187537"/>
                <a:gd name="connsiteY0" fmla="*/ 24778 h 61473"/>
                <a:gd name="connsiteX1" fmla="*/ 135593 w 187537"/>
                <a:gd name="connsiteY1" fmla="*/ 0 h 61473"/>
                <a:gd name="connsiteX2" fmla="*/ 0 w 187537"/>
                <a:gd name="connsiteY2" fmla="*/ 61474 h 614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87537" h="61473">
                  <a:moveTo>
                    <a:pt x="187537" y="24778"/>
                  </a:moveTo>
                  <a:lnTo>
                    <a:pt x="135593" y="0"/>
                  </a:lnTo>
                  <a:lnTo>
                    <a:pt x="0" y="61474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51" name="Forma livre: Forma 2050">
              <a:extLst>
                <a:ext uri="{FF2B5EF4-FFF2-40B4-BE49-F238E27FC236}">
                  <a16:creationId xmlns:a16="http://schemas.microsoft.com/office/drawing/2014/main" id="{3C7273D2-F86D-80D9-AA9E-A9B22C524493}"/>
                </a:ext>
              </a:extLst>
            </p:cNvPr>
            <p:cNvSpPr/>
            <p:nvPr/>
          </p:nvSpPr>
          <p:spPr>
            <a:xfrm>
              <a:off x="7667213" y="4324078"/>
              <a:ext cx="85761" cy="38952"/>
            </a:xfrm>
            <a:custGeom>
              <a:avLst/>
              <a:gdLst>
                <a:gd name="connsiteX0" fmla="*/ 85762 w 85761"/>
                <a:gd name="connsiteY0" fmla="*/ 0 h 38952"/>
                <a:gd name="connsiteX1" fmla="*/ 0 w 85761"/>
                <a:gd name="connsiteY1" fmla="*/ 38952 h 389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5761" h="38952">
                  <a:moveTo>
                    <a:pt x="85762" y="0"/>
                  </a:moveTo>
                  <a:lnTo>
                    <a:pt x="0" y="38952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52" name="Forma livre: Forma 2051">
              <a:extLst>
                <a:ext uri="{FF2B5EF4-FFF2-40B4-BE49-F238E27FC236}">
                  <a16:creationId xmlns:a16="http://schemas.microsoft.com/office/drawing/2014/main" id="{72FD3FEF-5206-97D4-EA33-71A2CB3B0DC6}"/>
                </a:ext>
              </a:extLst>
            </p:cNvPr>
            <p:cNvSpPr/>
            <p:nvPr/>
          </p:nvSpPr>
          <p:spPr>
            <a:xfrm>
              <a:off x="7560291" y="4329440"/>
              <a:ext cx="35943" cy="29411"/>
            </a:xfrm>
            <a:custGeom>
              <a:avLst/>
              <a:gdLst>
                <a:gd name="connsiteX0" fmla="*/ 35943 w 35943"/>
                <a:gd name="connsiteY0" fmla="*/ 29411 h 29411"/>
                <a:gd name="connsiteX1" fmla="*/ 15548 w 35943"/>
                <a:gd name="connsiteY1" fmla="*/ 23214 h 29411"/>
                <a:gd name="connsiteX2" fmla="*/ 0 w 35943"/>
                <a:gd name="connsiteY2" fmla="*/ 0 h 294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5943" h="29411">
                  <a:moveTo>
                    <a:pt x="35943" y="29411"/>
                  </a:moveTo>
                  <a:cubicBezTo>
                    <a:pt x="19930" y="26665"/>
                    <a:pt x="15548" y="23214"/>
                    <a:pt x="15548" y="23214"/>
                  </a:cubicBezTo>
                  <a:cubicBezTo>
                    <a:pt x="4096" y="16097"/>
                    <a:pt x="0" y="6735"/>
                    <a:pt x="0" y="0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53" name="Forma livre: Forma 2052">
              <a:extLst>
                <a:ext uri="{FF2B5EF4-FFF2-40B4-BE49-F238E27FC236}">
                  <a16:creationId xmlns:a16="http://schemas.microsoft.com/office/drawing/2014/main" id="{D6A4863B-6E8E-3D55-9C6A-46E5F375F5CA}"/>
                </a:ext>
              </a:extLst>
            </p:cNvPr>
            <p:cNvSpPr/>
            <p:nvPr/>
          </p:nvSpPr>
          <p:spPr>
            <a:xfrm>
              <a:off x="7560291" y="4365717"/>
              <a:ext cx="35943" cy="29411"/>
            </a:xfrm>
            <a:custGeom>
              <a:avLst/>
              <a:gdLst>
                <a:gd name="connsiteX0" fmla="*/ 35943 w 35943"/>
                <a:gd name="connsiteY0" fmla="*/ 29411 h 29411"/>
                <a:gd name="connsiteX1" fmla="*/ 15548 w 35943"/>
                <a:gd name="connsiteY1" fmla="*/ 23214 h 29411"/>
                <a:gd name="connsiteX2" fmla="*/ 0 w 35943"/>
                <a:gd name="connsiteY2" fmla="*/ 0 h 294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5943" h="29411">
                  <a:moveTo>
                    <a:pt x="35943" y="29411"/>
                  </a:moveTo>
                  <a:cubicBezTo>
                    <a:pt x="19930" y="26665"/>
                    <a:pt x="15548" y="23214"/>
                    <a:pt x="15548" y="23214"/>
                  </a:cubicBezTo>
                  <a:cubicBezTo>
                    <a:pt x="4096" y="16097"/>
                    <a:pt x="0" y="6735"/>
                    <a:pt x="0" y="0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2055" name="Gráfico 18">
            <a:extLst>
              <a:ext uri="{FF2B5EF4-FFF2-40B4-BE49-F238E27FC236}">
                <a16:creationId xmlns:a16="http://schemas.microsoft.com/office/drawing/2014/main" id="{E06C87B5-0CCB-8DD7-E27D-1983EA3B981B}"/>
              </a:ext>
            </a:extLst>
          </p:cNvPr>
          <p:cNvGrpSpPr/>
          <p:nvPr/>
        </p:nvGrpSpPr>
        <p:grpSpPr>
          <a:xfrm>
            <a:off x="8112234" y="4789482"/>
            <a:ext cx="310412" cy="211765"/>
            <a:chOff x="8112234" y="4789482"/>
            <a:chExt cx="310412" cy="211765"/>
          </a:xfrm>
          <a:noFill/>
        </p:grpSpPr>
        <p:grpSp>
          <p:nvGrpSpPr>
            <p:cNvPr id="2056" name="Gráfico 18">
              <a:extLst>
                <a:ext uri="{FF2B5EF4-FFF2-40B4-BE49-F238E27FC236}">
                  <a16:creationId xmlns:a16="http://schemas.microsoft.com/office/drawing/2014/main" id="{3EB1AAA8-598E-6638-1AB4-6268B67BE2AC}"/>
                </a:ext>
              </a:extLst>
            </p:cNvPr>
            <p:cNvGrpSpPr/>
            <p:nvPr/>
          </p:nvGrpSpPr>
          <p:grpSpPr>
            <a:xfrm>
              <a:off x="8288978" y="4909630"/>
              <a:ext cx="133668" cy="91617"/>
              <a:chOff x="8288978" y="4909630"/>
              <a:chExt cx="133668" cy="91617"/>
            </a:xfrm>
            <a:noFill/>
          </p:grpSpPr>
          <p:sp>
            <p:nvSpPr>
              <p:cNvPr id="2057" name="Forma livre: Forma 2056">
                <a:extLst>
                  <a:ext uri="{FF2B5EF4-FFF2-40B4-BE49-F238E27FC236}">
                    <a16:creationId xmlns:a16="http://schemas.microsoft.com/office/drawing/2014/main" id="{D027792E-9C3F-59EF-62F7-45212C656F0F}"/>
                  </a:ext>
                </a:extLst>
              </p:cNvPr>
              <p:cNvSpPr/>
              <p:nvPr/>
            </p:nvSpPr>
            <p:spPr>
              <a:xfrm>
                <a:off x="8297162" y="4937874"/>
                <a:ext cx="117312" cy="63373"/>
              </a:xfrm>
              <a:custGeom>
                <a:avLst/>
                <a:gdLst>
                  <a:gd name="connsiteX0" fmla="*/ 0 w 117312"/>
                  <a:gd name="connsiteY0" fmla="*/ 21252 h 63373"/>
                  <a:gd name="connsiteX1" fmla="*/ 0 w 117312"/>
                  <a:gd name="connsiteY1" fmla="*/ 63374 h 63373"/>
                  <a:gd name="connsiteX2" fmla="*/ 117313 w 117312"/>
                  <a:gd name="connsiteY2" fmla="*/ 63374 h 63373"/>
                  <a:gd name="connsiteX3" fmla="*/ 117313 w 117312"/>
                  <a:gd name="connsiteY3" fmla="*/ 0 h 633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7312" h="63373">
                    <a:moveTo>
                      <a:pt x="0" y="21252"/>
                    </a:moveTo>
                    <a:lnTo>
                      <a:pt x="0" y="63374"/>
                    </a:lnTo>
                    <a:lnTo>
                      <a:pt x="117313" y="63374"/>
                    </a:lnTo>
                    <a:lnTo>
                      <a:pt x="117313" y="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058" name="Forma livre: Forma 2057">
                <a:extLst>
                  <a:ext uri="{FF2B5EF4-FFF2-40B4-BE49-F238E27FC236}">
                    <a16:creationId xmlns:a16="http://schemas.microsoft.com/office/drawing/2014/main" id="{5406B849-DCE4-089B-2DBA-45CFFB4A2F7A}"/>
                  </a:ext>
                </a:extLst>
              </p:cNvPr>
              <p:cNvSpPr/>
              <p:nvPr/>
            </p:nvSpPr>
            <p:spPr>
              <a:xfrm>
                <a:off x="8288978" y="4909630"/>
                <a:ext cx="133668" cy="27052"/>
              </a:xfrm>
              <a:custGeom>
                <a:avLst/>
                <a:gdLst>
                  <a:gd name="connsiteX0" fmla="*/ 0 w 133668"/>
                  <a:gd name="connsiteY0" fmla="*/ 0 h 27052"/>
                  <a:gd name="connsiteX1" fmla="*/ 133669 w 133668"/>
                  <a:gd name="connsiteY1" fmla="*/ 0 h 27052"/>
                  <a:gd name="connsiteX2" fmla="*/ 133669 w 133668"/>
                  <a:gd name="connsiteY2" fmla="*/ 27053 h 27052"/>
                  <a:gd name="connsiteX3" fmla="*/ 0 w 133668"/>
                  <a:gd name="connsiteY3" fmla="*/ 27053 h 270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33668" h="27052">
                    <a:moveTo>
                      <a:pt x="0" y="0"/>
                    </a:moveTo>
                    <a:lnTo>
                      <a:pt x="133669" y="0"/>
                    </a:lnTo>
                    <a:lnTo>
                      <a:pt x="133669" y="27053"/>
                    </a:lnTo>
                    <a:lnTo>
                      <a:pt x="0" y="27053"/>
                    </a:ln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2059" name="Gráfico 18">
              <a:extLst>
                <a:ext uri="{FF2B5EF4-FFF2-40B4-BE49-F238E27FC236}">
                  <a16:creationId xmlns:a16="http://schemas.microsoft.com/office/drawing/2014/main" id="{72FBF67E-793E-A5AD-BAE1-982AAD8CA316}"/>
                </a:ext>
              </a:extLst>
            </p:cNvPr>
            <p:cNvGrpSpPr/>
            <p:nvPr/>
          </p:nvGrpSpPr>
          <p:grpSpPr>
            <a:xfrm>
              <a:off x="8112234" y="4789482"/>
              <a:ext cx="259284" cy="211765"/>
              <a:chOff x="8112234" y="4789482"/>
              <a:chExt cx="259284" cy="211765"/>
            </a:xfrm>
            <a:noFill/>
          </p:grpSpPr>
          <p:sp>
            <p:nvSpPr>
              <p:cNvPr id="2060" name="Forma livre: Forma 2059">
                <a:extLst>
                  <a:ext uri="{FF2B5EF4-FFF2-40B4-BE49-F238E27FC236}">
                    <a16:creationId xmlns:a16="http://schemas.microsoft.com/office/drawing/2014/main" id="{EFC3B34B-1828-7DD4-B120-62D7C093BB86}"/>
                  </a:ext>
                </a:extLst>
              </p:cNvPr>
              <p:cNvSpPr/>
              <p:nvPr/>
            </p:nvSpPr>
            <p:spPr>
              <a:xfrm>
                <a:off x="8112234" y="4789482"/>
                <a:ext cx="259284" cy="47720"/>
              </a:xfrm>
              <a:custGeom>
                <a:avLst/>
                <a:gdLst>
                  <a:gd name="connsiteX0" fmla="*/ 96478 w 259284"/>
                  <a:gd name="connsiteY0" fmla="*/ 47721 h 47720"/>
                  <a:gd name="connsiteX1" fmla="*/ 259284 w 259284"/>
                  <a:gd name="connsiteY1" fmla="*/ 47721 h 47720"/>
                  <a:gd name="connsiteX2" fmla="*/ 259284 w 259284"/>
                  <a:gd name="connsiteY2" fmla="*/ 0 h 47720"/>
                  <a:gd name="connsiteX3" fmla="*/ 0 w 259284"/>
                  <a:gd name="connsiteY3" fmla="*/ 0 h 47720"/>
                  <a:gd name="connsiteX4" fmla="*/ 0 w 259284"/>
                  <a:gd name="connsiteY4" fmla="*/ 47721 h 47720"/>
                  <a:gd name="connsiteX5" fmla="*/ 64970 w 259284"/>
                  <a:gd name="connsiteY5" fmla="*/ 47721 h 477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59284" h="47720">
                    <a:moveTo>
                      <a:pt x="96478" y="47721"/>
                    </a:moveTo>
                    <a:lnTo>
                      <a:pt x="259284" y="47721"/>
                    </a:lnTo>
                    <a:lnTo>
                      <a:pt x="259284" y="0"/>
                    </a:lnTo>
                    <a:lnTo>
                      <a:pt x="0" y="0"/>
                    </a:lnTo>
                    <a:lnTo>
                      <a:pt x="0" y="47721"/>
                    </a:lnTo>
                    <a:lnTo>
                      <a:pt x="64970" y="47721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2061" name="Gráfico 18">
                <a:extLst>
                  <a:ext uri="{FF2B5EF4-FFF2-40B4-BE49-F238E27FC236}">
                    <a16:creationId xmlns:a16="http://schemas.microsoft.com/office/drawing/2014/main" id="{B268F0F9-DA77-CC85-DA81-F4B6AB21282D}"/>
                  </a:ext>
                </a:extLst>
              </p:cNvPr>
              <p:cNvGrpSpPr/>
              <p:nvPr/>
            </p:nvGrpSpPr>
            <p:grpSpPr>
              <a:xfrm>
                <a:off x="8128518" y="4837643"/>
                <a:ext cx="226715" cy="163604"/>
                <a:chOff x="8128518" y="4837643"/>
                <a:chExt cx="226715" cy="163604"/>
              </a:xfrm>
              <a:noFill/>
            </p:grpSpPr>
            <p:sp>
              <p:nvSpPr>
                <p:cNvPr id="2062" name="Forma livre: Forma 2061">
                  <a:extLst>
                    <a:ext uri="{FF2B5EF4-FFF2-40B4-BE49-F238E27FC236}">
                      <a16:creationId xmlns:a16="http://schemas.microsoft.com/office/drawing/2014/main" id="{7E6C2107-5A94-27CA-1D7D-6F8055571CD4}"/>
                    </a:ext>
                  </a:extLst>
                </p:cNvPr>
                <p:cNvSpPr/>
                <p:nvPr/>
              </p:nvSpPr>
              <p:spPr>
                <a:xfrm>
                  <a:off x="8128518" y="4861945"/>
                  <a:ext cx="143353" cy="139303"/>
                </a:xfrm>
                <a:custGeom>
                  <a:avLst/>
                  <a:gdLst>
                    <a:gd name="connsiteX0" fmla="*/ 0 w 143353"/>
                    <a:gd name="connsiteY0" fmla="*/ 0 h 139303"/>
                    <a:gd name="connsiteX1" fmla="*/ 0 w 143353"/>
                    <a:gd name="connsiteY1" fmla="*/ 139303 h 139303"/>
                    <a:gd name="connsiteX2" fmla="*/ 143353 w 143353"/>
                    <a:gd name="connsiteY2" fmla="*/ 139303 h 1393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43353" h="139303">
                      <a:moveTo>
                        <a:pt x="0" y="0"/>
                      </a:moveTo>
                      <a:lnTo>
                        <a:pt x="0" y="139303"/>
                      </a:lnTo>
                      <a:lnTo>
                        <a:pt x="143353" y="139303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063" name="Forma livre: Forma 2062">
                  <a:extLst>
                    <a:ext uri="{FF2B5EF4-FFF2-40B4-BE49-F238E27FC236}">
                      <a16:creationId xmlns:a16="http://schemas.microsoft.com/office/drawing/2014/main" id="{48605F0B-EC64-956C-20DD-E1AB434FD8EF}"/>
                    </a:ext>
                  </a:extLst>
                </p:cNvPr>
                <p:cNvSpPr/>
                <p:nvPr/>
              </p:nvSpPr>
              <p:spPr>
                <a:xfrm>
                  <a:off x="8355234" y="4837643"/>
                  <a:ext cx="1191" cy="70711"/>
                </a:xfrm>
                <a:custGeom>
                  <a:avLst/>
                  <a:gdLst>
                    <a:gd name="connsiteX0" fmla="*/ 0 w 1191"/>
                    <a:gd name="connsiteY0" fmla="*/ 0 h 70711"/>
                    <a:gd name="connsiteX1" fmla="*/ 0 w 1191"/>
                    <a:gd name="connsiteY1" fmla="*/ 70712 h 7071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191" h="70711">
                      <a:moveTo>
                        <a:pt x="0" y="0"/>
                      </a:moveTo>
                      <a:lnTo>
                        <a:pt x="0" y="70712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</p:grpSp>
      <p:grpSp>
        <p:nvGrpSpPr>
          <p:cNvPr id="2064" name="Gráfico 18">
            <a:extLst>
              <a:ext uri="{FF2B5EF4-FFF2-40B4-BE49-F238E27FC236}">
                <a16:creationId xmlns:a16="http://schemas.microsoft.com/office/drawing/2014/main" id="{4F92554C-6BEA-EC85-612F-7D3C749A41C3}"/>
              </a:ext>
            </a:extLst>
          </p:cNvPr>
          <p:cNvGrpSpPr/>
          <p:nvPr/>
        </p:nvGrpSpPr>
        <p:grpSpPr>
          <a:xfrm>
            <a:off x="8127029" y="3676725"/>
            <a:ext cx="280833" cy="316856"/>
            <a:chOff x="8127029" y="3676725"/>
            <a:chExt cx="280833" cy="316856"/>
          </a:xfrm>
          <a:noFill/>
        </p:grpSpPr>
        <p:grpSp>
          <p:nvGrpSpPr>
            <p:cNvPr id="2065" name="Gráfico 18">
              <a:extLst>
                <a:ext uri="{FF2B5EF4-FFF2-40B4-BE49-F238E27FC236}">
                  <a16:creationId xmlns:a16="http://schemas.microsoft.com/office/drawing/2014/main" id="{FD69FF03-2B64-ABB4-E994-75A487970F0A}"/>
                </a:ext>
              </a:extLst>
            </p:cNvPr>
            <p:cNvGrpSpPr/>
            <p:nvPr/>
          </p:nvGrpSpPr>
          <p:grpSpPr>
            <a:xfrm>
              <a:off x="8127029" y="3689590"/>
              <a:ext cx="280833" cy="303991"/>
              <a:chOff x="8127029" y="3689590"/>
              <a:chExt cx="280833" cy="303991"/>
            </a:xfrm>
            <a:noFill/>
          </p:grpSpPr>
          <p:grpSp>
            <p:nvGrpSpPr>
              <p:cNvPr id="2066" name="Gráfico 18">
                <a:extLst>
                  <a:ext uri="{FF2B5EF4-FFF2-40B4-BE49-F238E27FC236}">
                    <a16:creationId xmlns:a16="http://schemas.microsoft.com/office/drawing/2014/main" id="{BD2175D4-862A-F901-7D09-EB4F79B93D0A}"/>
                  </a:ext>
                </a:extLst>
              </p:cNvPr>
              <p:cNvGrpSpPr/>
              <p:nvPr/>
            </p:nvGrpSpPr>
            <p:grpSpPr>
              <a:xfrm>
                <a:off x="8127029" y="3754727"/>
                <a:ext cx="280833" cy="238854"/>
                <a:chOff x="8127029" y="3754727"/>
                <a:chExt cx="280833" cy="238854"/>
              </a:xfrm>
              <a:noFill/>
            </p:grpSpPr>
            <p:sp>
              <p:nvSpPr>
                <p:cNvPr id="2067" name="Forma livre: Forma 2066">
                  <a:extLst>
                    <a:ext uri="{FF2B5EF4-FFF2-40B4-BE49-F238E27FC236}">
                      <a16:creationId xmlns:a16="http://schemas.microsoft.com/office/drawing/2014/main" id="{2F1F8417-AE9E-DFAC-0086-C9745357E2F7}"/>
                    </a:ext>
                  </a:extLst>
                </p:cNvPr>
                <p:cNvSpPr/>
                <p:nvPr/>
              </p:nvSpPr>
              <p:spPr>
                <a:xfrm>
                  <a:off x="8267440" y="3754965"/>
                  <a:ext cx="140422" cy="238616"/>
                </a:xfrm>
                <a:custGeom>
                  <a:avLst/>
                  <a:gdLst>
                    <a:gd name="connsiteX0" fmla="*/ 140423 w 140422"/>
                    <a:gd name="connsiteY0" fmla="*/ 0 h 238616"/>
                    <a:gd name="connsiteX1" fmla="*/ 140423 w 140422"/>
                    <a:gd name="connsiteY1" fmla="*/ 158589 h 238616"/>
                    <a:gd name="connsiteX2" fmla="*/ 0 w 140422"/>
                    <a:gd name="connsiteY2" fmla="*/ 238616 h 238616"/>
                    <a:gd name="connsiteX3" fmla="*/ 0 w 140422"/>
                    <a:gd name="connsiteY3" fmla="*/ 98062 h 23861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40422" h="238616">
                      <a:moveTo>
                        <a:pt x="140423" y="0"/>
                      </a:moveTo>
                      <a:lnTo>
                        <a:pt x="140423" y="158589"/>
                      </a:lnTo>
                      <a:lnTo>
                        <a:pt x="0" y="238616"/>
                      </a:lnTo>
                      <a:lnTo>
                        <a:pt x="0" y="98062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068" name="Forma livre: Forma 2067">
                  <a:extLst>
                    <a:ext uri="{FF2B5EF4-FFF2-40B4-BE49-F238E27FC236}">
                      <a16:creationId xmlns:a16="http://schemas.microsoft.com/office/drawing/2014/main" id="{CB8B494A-508F-09BD-0C64-16B6BBB2E6CE}"/>
                    </a:ext>
                  </a:extLst>
                </p:cNvPr>
                <p:cNvSpPr/>
                <p:nvPr/>
              </p:nvSpPr>
              <p:spPr>
                <a:xfrm>
                  <a:off x="8127029" y="3754727"/>
                  <a:ext cx="140410" cy="238854"/>
                </a:xfrm>
                <a:custGeom>
                  <a:avLst/>
                  <a:gdLst>
                    <a:gd name="connsiteX0" fmla="*/ 140411 w 140410"/>
                    <a:gd name="connsiteY0" fmla="*/ 238855 h 238854"/>
                    <a:gd name="connsiteX1" fmla="*/ 0 w 140410"/>
                    <a:gd name="connsiteY1" fmla="*/ 158827 h 238854"/>
                    <a:gd name="connsiteX2" fmla="*/ 0 w 140410"/>
                    <a:gd name="connsiteY2" fmla="*/ 0 h 23885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40410" h="238854">
                      <a:moveTo>
                        <a:pt x="140411" y="238855"/>
                      </a:moveTo>
                      <a:lnTo>
                        <a:pt x="0" y="158827"/>
                      </a:lnTo>
                      <a:lnTo>
                        <a:pt x="0" y="0"/>
                      </a:ln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2069" name="Gráfico 18">
                <a:extLst>
                  <a:ext uri="{FF2B5EF4-FFF2-40B4-BE49-F238E27FC236}">
                    <a16:creationId xmlns:a16="http://schemas.microsoft.com/office/drawing/2014/main" id="{86903B87-6532-6AED-EB62-AFBF0CB0DB7D}"/>
                  </a:ext>
                </a:extLst>
              </p:cNvPr>
              <p:cNvGrpSpPr/>
              <p:nvPr/>
            </p:nvGrpSpPr>
            <p:grpSpPr>
              <a:xfrm>
                <a:off x="8159407" y="3689590"/>
                <a:ext cx="248455" cy="139541"/>
                <a:chOff x="8159407" y="3689590"/>
                <a:chExt cx="248455" cy="139541"/>
              </a:xfrm>
              <a:noFill/>
            </p:grpSpPr>
            <p:sp>
              <p:nvSpPr>
                <p:cNvPr id="2070" name="Forma livre: Forma 2069">
                  <a:extLst>
                    <a:ext uri="{FF2B5EF4-FFF2-40B4-BE49-F238E27FC236}">
                      <a16:creationId xmlns:a16="http://schemas.microsoft.com/office/drawing/2014/main" id="{B90C22D6-BE69-9E7B-3B46-130C3495F329}"/>
                    </a:ext>
                  </a:extLst>
                </p:cNvPr>
                <p:cNvSpPr/>
                <p:nvPr/>
              </p:nvSpPr>
              <p:spPr>
                <a:xfrm>
                  <a:off x="8159407" y="3771869"/>
                  <a:ext cx="108033" cy="57262"/>
                </a:xfrm>
                <a:custGeom>
                  <a:avLst/>
                  <a:gdLst>
                    <a:gd name="connsiteX0" fmla="*/ 0 w 108033"/>
                    <a:gd name="connsiteY0" fmla="*/ 0 h 57262"/>
                    <a:gd name="connsiteX1" fmla="*/ 108033 w 108033"/>
                    <a:gd name="connsiteY1" fmla="*/ 57263 h 5726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08033" h="57262">
                      <a:moveTo>
                        <a:pt x="0" y="0"/>
                      </a:moveTo>
                      <a:lnTo>
                        <a:pt x="108033" y="57263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071" name="Forma livre: Forma 2070">
                  <a:extLst>
                    <a:ext uri="{FF2B5EF4-FFF2-40B4-BE49-F238E27FC236}">
                      <a16:creationId xmlns:a16="http://schemas.microsoft.com/office/drawing/2014/main" id="{6659DA2F-A36F-6597-6B37-3DEC02DCE1D9}"/>
                    </a:ext>
                  </a:extLst>
                </p:cNvPr>
                <p:cNvSpPr/>
                <p:nvPr/>
              </p:nvSpPr>
              <p:spPr>
                <a:xfrm>
                  <a:off x="8225985" y="3689590"/>
                  <a:ext cx="181877" cy="139541"/>
                </a:xfrm>
                <a:custGeom>
                  <a:avLst/>
                  <a:gdLst>
                    <a:gd name="connsiteX0" fmla="*/ 181878 w 181877"/>
                    <a:gd name="connsiteY0" fmla="*/ 65125 h 139541"/>
                    <a:gd name="connsiteX1" fmla="*/ 41455 w 181877"/>
                    <a:gd name="connsiteY1" fmla="*/ 139541 h 139541"/>
                    <a:gd name="connsiteX2" fmla="*/ 0 w 181877"/>
                    <a:gd name="connsiteY2" fmla="*/ 74428 h 139541"/>
                    <a:gd name="connsiteX3" fmla="*/ 140411 w 181877"/>
                    <a:gd name="connsiteY3" fmla="*/ 0 h 139541"/>
                    <a:gd name="connsiteX4" fmla="*/ 181878 w 181877"/>
                    <a:gd name="connsiteY4" fmla="*/ 65125 h 13954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81877" h="139541">
                      <a:moveTo>
                        <a:pt x="181878" y="65125"/>
                      </a:moveTo>
                      <a:lnTo>
                        <a:pt x="41455" y="139541"/>
                      </a:lnTo>
                      <a:lnTo>
                        <a:pt x="0" y="74428"/>
                      </a:lnTo>
                      <a:lnTo>
                        <a:pt x="140411" y="0"/>
                      </a:lnTo>
                      <a:lnTo>
                        <a:pt x="181878" y="65125"/>
                      </a:ln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sp>
          <p:nvSpPr>
            <p:cNvPr id="2072" name="Forma livre: Forma 2071">
              <a:extLst>
                <a:ext uri="{FF2B5EF4-FFF2-40B4-BE49-F238E27FC236}">
                  <a16:creationId xmlns:a16="http://schemas.microsoft.com/office/drawing/2014/main" id="{F1B2FF22-569F-50E6-8C24-004CE2B70464}"/>
                </a:ext>
              </a:extLst>
            </p:cNvPr>
            <p:cNvSpPr/>
            <p:nvPr/>
          </p:nvSpPr>
          <p:spPr>
            <a:xfrm>
              <a:off x="8294922" y="3696857"/>
              <a:ext cx="29316" cy="14890"/>
            </a:xfrm>
            <a:custGeom>
              <a:avLst/>
              <a:gdLst>
                <a:gd name="connsiteX0" fmla="*/ 0 w 29316"/>
                <a:gd name="connsiteY0" fmla="*/ 0 h 14890"/>
                <a:gd name="connsiteX1" fmla="*/ 29316 w 29316"/>
                <a:gd name="connsiteY1" fmla="*/ 14890 h 148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9316" h="14890">
                  <a:moveTo>
                    <a:pt x="0" y="0"/>
                  </a:moveTo>
                  <a:lnTo>
                    <a:pt x="29316" y="1489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73" name="Forma livre: Forma 2072">
              <a:extLst>
                <a:ext uri="{FF2B5EF4-FFF2-40B4-BE49-F238E27FC236}">
                  <a16:creationId xmlns:a16="http://schemas.microsoft.com/office/drawing/2014/main" id="{54E16183-E46B-D513-B1AB-289F28113F97}"/>
                </a:ext>
              </a:extLst>
            </p:cNvPr>
            <p:cNvSpPr/>
            <p:nvPr/>
          </p:nvSpPr>
          <p:spPr>
            <a:xfrm>
              <a:off x="8127029" y="3676725"/>
              <a:ext cx="207441" cy="77859"/>
            </a:xfrm>
            <a:custGeom>
              <a:avLst/>
              <a:gdLst>
                <a:gd name="connsiteX0" fmla="*/ 140411 w 207441"/>
                <a:gd name="connsiteY0" fmla="*/ 6183 h 77859"/>
                <a:gd name="connsiteX1" fmla="*/ 0 w 207441"/>
                <a:gd name="connsiteY1" fmla="*/ 77859 h 77859"/>
                <a:gd name="connsiteX2" fmla="*/ 67031 w 207441"/>
                <a:gd name="connsiteY2" fmla="*/ 71319 h 77859"/>
                <a:gd name="connsiteX3" fmla="*/ 207442 w 207441"/>
                <a:gd name="connsiteY3" fmla="*/ 0 h 77859"/>
                <a:gd name="connsiteX4" fmla="*/ 140411 w 207441"/>
                <a:gd name="connsiteY4" fmla="*/ 6183 h 778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07441" h="77859">
                  <a:moveTo>
                    <a:pt x="140411" y="6183"/>
                  </a:moveTo>
                  <a:lnTo>
                    <a:pt x="0" y="77859"/>
                  </a:lnTo>
                  <a:lnTo>
                    <a:pt x="67031" y="71319"/>
                  </a:lnTo>
                  <a:lnTo>
                    <a:pt x="207442" y="0"/>
                  </a:lnTo>
                  <a:lnTo>
                    <a:pt x="140411" y="6183"/>
                  </a:ln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2074" name="Gráfico 18">
            <a:extLst>
              <a:ext uri="{FF2B5EF4-FFF2-40B4-BE49-F238E27FC236}">
                <a16:creationId xmlns:a16="http://schemas.microsoft.com/office/drawing/2014/main" id="{C4E7E7F3-1185-2511-C24A-BB05FC75BBF1}"/>
              </a:ext>
            </a:extLst>
          </p:cNvPr>
          <p:cNvGrpSpPr/>
          <p:nvPr/>
        </p:nvGrpSpPr>
        <p:grpSpPr>
          <a:xfrm>
            <a:off x="8067718" y="5266893"/>
            <a:ext cx="399456" cy="317142"/>
            <a:chOff x="8067718" y="5266893"/>
            <a:chExt cx="399456" cy="317142"/>
          </a:xfrm>
          <a:noFill/>
        </p:grpSpPr>
        <p:sp>
          <p:nvSpPr>
            <p:cNvPr id="2075" name="Forma livre: Forma 2074">
              <a:extLst>
                <a:ext uri="{FF2B5EF4-FFF2-40B4-BE49-F238E27FC236}">
                  <a16:creationId xmlns:a16="http://schemas.microsoft.com/office/drawing/2014/main" id="{C304BF02-13B9-27A6-B3BE-98503A042F76}"/>
                </a:ext>
              </a:extLst>
            </p:cNvPr>
            <p:cNvSpPr/>
            <p:nvPr/>
          </p:nvSpPr>
          <p:spPr>
            <a:xfrm>
              <a:off x="8067718" y="5362716"/>
              <a:ext cx="263489" cy="221319"/>
            </a:xfrm>
            <a:custGeom>
              <a:avLst/>
              <a:gdLst>
                <a:gd name="connsiteX0" fmla="*/ 209872 w 263489"/>
                <a:gd name="connsiteY0" fmla="*/ 28399 h 221319"/>
                <a:gd name="connsiteX1" fmla="*/ 188191 w 263489"/>
                <a:gd name="connsiteY1" fmla="*/ 39894 h 221319"/>
                <a:gd name="connsiteX2" fmla="*/ 131739 w 263489"/>
                <a:gd name="connsiteY2" fmla="*/ 69818 h 221319"/>
                <a:gd name="connsiteX3" fmla="*/ 0 w 263489"/>
                <a:gd name="connsiteY3" fmla="*/ 0 h 221319"/>
                <a:gd name="connsiteX4" fmla="*/ 0 w 263489"/>
                <a:gd name="connsiteY4" fmla="*/ 146224 h 221319"/>
                <a:gd name="connsiteX5" fmla="*/ 131739 w 263489"/>
                <a:gd name="connsiteY5" fmla="*/ 221320 h 221319"/>
                <a:gd name="connsiteX6" fmla="*/ 263489 w 263489"/>
                <a:gd name="connsiteY6" fmla="*/ 146224 h 221319"/>
                <a:gd name="connsiteX7" fmla="*/ 263489 w 263489"/>
                <a:gd name="connsiteY7" fmla="*/ 110082 h 2213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63489" h="221319">
                  <a:moveTo>
                    <a:pt x="209872" y="28399"/>
                  </a:moveTo>
                  <a:lnTo>
                    <a:pt x="188191" y="39894"/>
                  </a:lnTo>
                  <a:lnTo>
                    <a:pt x="131739" y="69818"/>
                  </a:lnTo>
                  <a:lnTo>
                    <a:pt x="0" y="0"/>
                  </a:lnTo>
                  <a:lnTo>
                    <a:pt x="0" y="146224"/>
                  </a:lnTo>
                  <a:lnTo>
                    <a:pt x="131739" y="221320"/>
                  </a:lnTo>
                  <a:lnTo>
                    <a:pt x="263489" y="146224"/>
                  </a:lnTo>
                  <a:lnTo>
                    <a:pt x="263489" y="110082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76" name="Forma livre: Forma 2075">
              <a:extLst>
                <a:ext uri="{FF2B5EF4-FFF2-40B4-BE49-F238E27FC236}">
                  <a16:creationId xmlns:a16="http://schemas.microsoft.com/office/drawing/2014/main" id="{12F442FF-C521-FD24-ADB2-862368664E19}"/>
                </a:ext>
              </a:extLst>
            </p:cNvPr>
            <p:cNvSpPr/>
            <p:nvPr/>
          </p:nvSpPr>
          <p:spPr>
            <a:xfrm>
              <a:off x="8067777" y="5295221"/>
              <a:ext cx="175159" cy="67495"/>
            </a:xfrm>
            <a:custGeom>
              <a:avLst/>
              <a:gdLst>
                <a:gd name="connsiteX0" fmla="*/ 175159 w 175159"/>
                <a:gd name="connsiteY0" fmla="*/ 22240 h 67495"/>
                <a:gd name="connsiteX1" fmla="*/ 131739 w 175159"/>
                <a:gd name="connsiteY1" fmla="*/ 0 h 67495"/>
                <a:gd name="connsiteX2" fmla="*/ 0 w 175159"/>
                <a:gd name="connsiteY2" fmla="*/ 67495 h 674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75159" h="67495">
                  <a:moveTo>
                    <a:pt x="175159" y="22240"/>
                  </a:moveTo>
                  <a:lnTo>
                    <a:pt x="131739" y="0"/>
                  </a:lnTo>
                  <a:lnTo>
                    <a:pt x="0" y="67495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77" name="Forma livre: Forma 2076">
              <a:extLst>
                <a:ext uri="{FF2B5EF4-FFF2-40B4-BE49-F238E27FC236}">
                  <a16:creationId xmlns:a16="http://schemas.microsoft.com/office/drawing/2014/main" id="{C95DC770-57B8-EBCD-AEAD-BF3F6DC4F58F}"/>
                </a:ext>
              </a:extLst>
            </p:cNvPr>
            <p:cNvSpPr/>
            <p:nvPr/>
          </p:nvSpPr>
          <p:spPr>
            <a:xfrm>
              <a:off x="8199456" y="5298365"/>
              <a:ext cx="1191" cy="96347"/>
            </a:xfrm>
            <a:custGeom>
              <a:avLst/>
              <a:gdLst>
                <a:gd name="connsiteX0" fmla="*/ 0 w 1191"/>
                <a:gd name="connsiteY0" fmla="*/ 0 h 96347"/>
                <a:gd name="connsiteX1" fmla="*/ 0 w 1191"/>
                <a:gd name="connsiteY1" fmla="*/ 96347 h 963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91" h="96347">
                  <a:moveTo>
                    <a:pt x="0" y="0"/>
                  </a:moveTo>
                  <a:lnTo>
                    <a:pt x="0" y="96347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78" name="Forma livre: Forma 2077">
              <a:extLst>
                <a:ext uri="{FF2B5EF4-FFF2-40B4-BE49-F238E27FC236}">
                  <a16:creationId xmlns:a16="http://schemas.microsoft.com/office/drawing/2014/main" id="{FDC095C6-7178-7B25-80E8-BEEC15325A5D}"/>
                </a:ext>
              </a:extLst>
            </p:cNvPr>
            <p:cNvSpPr/>
            <p:nvPr/>
          </p:nvSpPr>
          <p:spPr>
            <a:xfrm>
              <a:off x="8199456" y="5460540"/>
              <a:ext cx="1191" cy="120636"/>
            </a:xfrm>
            <a:custGeom>
              <a:avLst/>
              <a:gdLst>
                <a:gd name="connsiteX0" fmla="*/ 0 w 1191"/>
                <a:gd name="connsiteY0" fmla="*/ 0 h 120636"/>
                <a:gd name="connsiteX1" fmla="*/ 0 w 1191"/>
                <a:gd name="connsiteY1" fmla="*/ 120636 h 1206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91" h="120636">
                  <a:moveTo>
                    <a:pt x="0" y="0"/>
                  </a:moveTo>
                  <a:lnTo>
                    <a:pt x="0" y="120636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79" name="Forma livre: Forma 2078">
              <a:extLst>
                <a:ext uri="{FF2B5EF4-FFF2-40B4-BE49-F238E27FC236}">
                  <a16:creationId xmlns:a16="http://schemas.microsoft.com/office/drawing/2014/main" id="{320026CE-9F80-C2A8-8216-37B1FEFEAE44}"/>
                </a:ext>
              </a:extLst>
            </p:cNvPr>
            <p:cNvSpPr/>
            <p:nvPr/>
          </p:nvSpPr>
          <p:spPr>
            <a:xfrm>
              <a:off x="8287322" y="5427197"/>
              <a:ext cx="179852" cy="82504"/>
            </a:xfrm>
            <a:custGeom>
              <a:avLst/>
              <a:gdLst>
                <a:gd name="connsiteX0" fmla="*/ 151477 w 179852"/>
                <a:gd name="connsiteY0" fmla="*/ 82505 h 82504"/>
                <a:gd name="connsiteX1" fmla="*/ 0 w 179852"/>
                <a:gd name="connsiteY1" fmla="*/ 27005 h 82504"/>
                <a:gd name="connsiteX2" fmla="*/ 24909 w 179852"/>
                <a:gd name="connsiteY2" fmla="*/ 0 h 82504"/>
                <a:gd name="connsiteX3" fmla="*/ 179853 w 179852"/>
                <a:gd name="connsiteY3" fmla="*/ 58049 h 82504"/>
                <a:gd name="connsiteX4" fmla="*/ 151477 w 179852"/>
                <a:gd name="connsiteY4" fmla="*/ 82505 h 825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9852" h="82504">
                  <a:moveTo>
                    <a:pt x="151477" y="82505"/>
                  </a:moveTo>
                  <a:lnTo>
                    <a:pt x="0" y="27005"/>
                  </a:lnTo>
                  <a:lnTo>
                    <a:pt x="24909" y="0"/>
                  </a:lnTo>
                  <a:lnTo>
                    <a:pt x="179853" y="58049"/>
                  </a:lnTo>
                  <a:lnTo>
                    <a:pt x="151477" y="82505"/>
                  </a:ln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80" name="Forma livre: Forma 2079">
              <a:extLst>
                <a:ext uri="{FF2B5EF4-FFF2-40B4-BE49-F238E27FC236}">
                  <a16:creationId xmlns:a16="http://schemas.microsoft.com/office/drawing/2014/main" id="{3E3C4F6E-306C-419C-DA37-53A32915D50D}"/>
                </a:ext>
              </a:extLst>
            </p:cNvPr>
            <p:cNvSpPr/>
            <p:nvPr/>
          </p:nvSpPr>
          <p:spPr>
            <a:xfrm>
              <a:off x="8274206" y="5363955"/>
              <a:ext cx="13115" cy="90247"/>
            </a:xfrm>
            <a:custGeom>
              <a:avLst/>
              <a:gdLst>
                <a:gd name="connsiteX0" fmla="*/ 13116 w 13115"/>
                <a:gd name="connsiteY0" fmla="*/ 90248 h 90247"/>
                <a:gd name="connsiteX1" fmla="*/ 0 w 13115"/>
                <a:gd name="connsiteY1" fmla="*/ 0 h 902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3115" h="90247">
                  <a:moveTo>
                    <a:pt x="13116" y="90248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81" name="Forma livre: Forma 2080">
              <a:extLst>
                <a:ext uri="{FF2B5EF4-FFF2-40B4-BE49-F238E27FC236}">
                  <a16:creationId xmlns:a16="http://schemas.microsoft.com/office/drawing/2014/main" id="{B4844181-8B77-D733-81F8-6FA21CB426E9}"/>
                </a:ext>
              </a:extLst>
            </p:cNvPr>
            <p:cNvSpPr/>
            <p:nvPr/>
          </p:nvSpPr>
          <p:spPr>
            <a:xfrm>
              <a:off x="8264224" y="5266893"/>
              <a:ext cx="47982" cy="160233"/>
            </a:xfrm>
            <a:custGeom>
              <a:avLst/>
              <a:gdLst>
                <a:gd name="connsiteX0" fmla="*/ 5837 w 47982"/>
                <a:gd name="connsiteY0" fmla="*/ 68532 h 160233"/>
                <a:gd name="connsiteX1" fmla="*/ 0 w 47982"/>
                <a:gd name="connsiteY1" fmla="*/ 28387 h 160233"/>
                <a:gd name="connsiteX2" fmla="*/ 22133 w 47982"/>
                <a:gd name="connsiteY2" fmla="*/ 0 h 160233"/>
                <a:gd name="connsiteX3" fmla="*/ 47983 w 47982"/>
                <a:gd name="connsiteY3" fmla="*/ 160233 h 1602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7982" h="160233">
                  <a:moveTo>
                    <a:pt x="5837" y="68532"/>
                  </a:moveTo>
                  <a:lnTo>
                    <a:pt x="0" y="28387"/>
                  </a:lnTo>
                  <a:lnTo>
                    <a:pt x="22133" y="0"/>
                  </a:lnTo>
                  <a:lnTo>
                    <a:pt x="47983" y="160233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82" name="Forma livre: Forma 2081">
              <a:extLst>
                <a:ext uri="{FF2B5EF4-FFF2-40B4-BE49-F238E27FC236}">
                  <a16:creationId xmlns:a16="http://schemas.microsoft.com/office/drawing/2014/main" id="{030273B8-DC4F-11A9-F321-1D3667C9AFBD}"/>
                </a:ext>
              </a:extLst>
            </p:cNvPr>
            <p:cNvSpPr/>
            <p:nvPr/>
          </p:nvSpPr>
          <p:spPr>
            <a:xfrm>
              <a:off x="8286357" y="5266893"/>
              <a:ext cx="180817" cy="218353"/>
            </a:xfrm>
            <a:custGeom>
              <a:avLst/>
              <a:gdLst>
                <a:gd name="connsiteX0" fmla="*/ 0 w 180817"/>
                <a:gd name="connsiteY0" fmla="*/ 0 h 218353"/>
                <a:gd name="connsiteX1" fmla="*/ 151049 w 180817"/>
                <a:gd name="connsiteY1" fmla="*/ 58359 h 218353"/>
                <a:gd name="connsiteX2" fmla="*/ 180818 w 180817"/>
                <a:gd name="connsiteY2" fmla="*/ 218353 h 2183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80817" h="218353">
                  <a:moveTo>
                    <a:pt x="0" y="0"/>
                  </a:moveTo>
                  <a:lnTo>
                    <a:pt x="151049" y="58359"/>
                  </a:lnTo>
                  <a:lnTo>
                    <a:pt x="180818" y="218353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2083" name="Gráfico 18">
            <a:extLst>
              <a:ext uri="{FF2B5EF4-FFF2-40B4-BE49-F238E27FC236}">
                <a16:creationId xmlns:a16="http://schemas.microsoft.com/office/drawing/2014/main" id="{AA7C148C-CFF7-E098-0A3A-4B362377A59D}"/>
              </a:ext>
            </a:extLst>
          </p:cNvPr>
          <p:cNvGrpSpPr/>
          <p:nvPr/>
        </p:nvGrpSpPr>
        <p:grpSpPr>
          <a:xfrm>
            <a:off x="8104396" y="5844594"/>
            <a:ext cx="326088" cy="221951"/>
            <a:chOff x="8104396" y="5844594"/>
            <a:chExt cx="326088" cy="221951"/>
          </a:xfrm>
          <a:noFill/>
        </p:grpSpPr>
        <p:sp>
          <p:nvSpPr>
            <p:cNvPr id="2084" name="Forma livre: Forma 2083">
              <a:extLst>
                <a:ext uri="{FF2B5EF4-FFF2-40B4-BE49-F238E27FC236}">
                  <a16:creationId xmlns:a16="http://schemas.microsoft.com/office/drawing/2014/main" id="{CBAFDF31-934D-0741-88C1-E70E9BB41767}"/>
                </a:ext>
              </a:extLst>
            </p:cNvPr>
            <p:cNvSpPr/>
            <p:nvPr/>
          </p:nvSpPr>
          <p:spPr>
            <a:xfrm>
              <a:off x="8220601" y="5901774"/>
              <a:ext cx="1191" cy="164771"/>
            </a:xfrm>
            <a:custGeom>
              <a:avLst/>
              <a:gdLst>
                <a:gd name="connsiteX0" fmla="*/ 0 w 1191"/>
                <a:gd name="connsiteY0" fmla="*/ 0 h 164771"/>
                <a:gd name="connsiteX1" fmla="*/ 0 w 1191"/>
                <a:gd name="connsiteY1" fmla="*/ 164772 h 1647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91" h="164771">
                  <a:moveTo>
                    <a:pt x="0" y="0"/>
                  </a:moveTo>
                  <a:lnTo>
                    <a:pt x="0" y="164772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85" name="Forma livre: Forma 2084">
              <a:extLst>
                <a:ext uri="{FF2B5EF4-FFF2-40B4-BE49-F238E27FC236}">
                  <a16:creationId xmlns:a16="http://schemas.microsoft.com/office/drawing/2014/main" id="{429F5670-701E-279F-0DD6-91FD75246BF7}"/>
                </a:ext>
              </a:extLst>
            </p:cNvPr>
            <p:cNvSpPr/>
            <p:nvPr/>
          </p:nvSpPr>
          <p:spPr>
            <a:xfrm>
              <a:off x="8352923" y="6006579"/>
              <a:ext cx="1191" cy="30888"/>
            </a:xfrm>
            <a:custGeom>
              <a:avLst/>
              <a:gdLst>
                <a:gd name="connsiteX0" fmla="*/ 0 w 1191"/>
                <a:gd name="connsiteY0" fmla="*/ 30889 h 30888"/>
                <a:gd name="connsiteX1" fmla="*/ 0 w 1191"/>
                <a:gd name="connsiteY1" fmla="*/ 0 h 308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91" h="30888">
                  <a:moveTo>
                    <a:pt x="0" y="30889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86" name="Forma livre: Forma 2085">
              <a:extLst>
                <a:ext uri="{FF2B5EF4-FFF2-40B4-BE49-F238E27FC236}">
                  <a16:creationId xmlns:a16="http://schemas.microsoft.com/office/drawing/2014/main" id="{5173D00C-6B30-349A-E8E0-4F9DED482850}"/>
                </a:ext>
              </a:extLst>
            </p:cNvPr>
            <p:cNvSpPr/>
            <p:nvPr/>
          </p:nvSpPr>
          <p:spPr>
            <a:xfrm>
              <a:off x="8324953" y="6006579"/>
              <a:ext cx="1191" cy="30888"/>
            </a:xfrm>
            <a:custGeom>
              <a:avLst/>
              <a:gdLst>
                <a:gd name="connsiteX0" fmla="*/ 0 w 1191"/>
                <a:gd name="connsiteY0" fmla="*/ 30889 h 30888"/>
                <a:gd name="connsiteX1" fmla="*/ 0 w 1191"/>
                <a:gd name="connsiteY1" fmla="*/ 0 h 308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91" h="30888">
                  <a:moveTo>
                    <a:pt x="0" y="30889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87" name="Forma livre: Forma 2086">
              <a:extLst>
                <a:ext uri="{FF2B5EF4-FFF2-40B4-BE49-F238E27FC236}">
                  <a16:creationId xmlns:a16="http://schemas.microsoft.com/office/drawing/2014/main" id="{A157496B-1326-8E4D-2F55-C854660194D8}"/>
                </a:ext>
              </a:extLst>
            </p:cNvPr>
            <p:cNvSpPr/>
            <p:nvPr/>
          </p:nvSpPr>
          <p:spPr>
            <a:xfrm>
              <a:off x="8144755" y="5914794"/>
              <a:ext cx="245382" cy="151751"/>
            </a:xfrm>
            <a:custGeom>
              <a:avLst/>
              <a:gdLst>
                <a:gd name="connsiteX0" fmla="*/ 0 w 245382"/>
                <a:gd name="connsiteY0" fmla="*/ 23515 h 151751"/>
                <a:gd name="connsiteX1" fmla="*/ 0 w 245382"/>
                <a:gd name="connsiteY1" fmla="*/ 151751 h 151751"/>
                <a:gd name="connsiteX2" fmla="*/ 75477 w 245382"/>
                <a:gd name="connsiteY2" fmla="*/ 151751 h 151751"/>
                <a:gd name="connsiteX3" fmla="*/ 245383 w 245382"/>
                <a:gd name="connsiteY3" fmla="*/ 151751 h 151751"/>
                <a:gd name="connsiteX4" fmla="*/ 245383 w 245382"/>
                <a:gd name="connsiteY4" fmla="*/ 0 h 1517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5382" h="151751">
                  <a:moveTo>
                    <a:pt x="0" y="23515"/>
                  </a:moveTo>
                  <a:lnTo>
                    <a:pt x="0" y="151751"/>
                  </a:lnTo>
                  <a:lnTo>
                    <a:pt x="75477" y="151751"/>
                  </a:lnTo>
                  <a:lnTo>
                    <a:pt x="245383" y="151751"/>
                  </a:lnTo>
                  <a:lnTo>
                    <a:pt x="245383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88" name="Forma livre: Forma 2087">
              <a:extLst>
                <a:ext uri="{FF2B5EF4-FFF2-40B4-BE49-F238E27FC236}">
                  <a16:creationId xmlns:a16="http://schemas.microsoft.com/office/drawing/2014/main" id="{B797E3C3-47B0-E818-18FA-9521A5DB6C26}"/>
                </a:ext>
              </a:extLst>
            </p:cNvPr>
            <p:cNvSpPr/>
            <p:nvPr/>
          </p:nvSpPr>
          <p:spPr>
            <a:xfrm>
              <a:off x="8104396" y="5844594"/>
              <a:ext cx="326088" cy="70199"/>
            </a:xfrm>
            <a:custGeom>
              <a:avLst/>
              <a:gdLst>
                <a:gd name="connsiteX0" fmla="*/ 118349 w 326088"/>
                <a:gd name="connsiteY0" fmla="*/ 1596 h 70199"/>
                <a:gd name="connsiteX1" fmla="*/ 134026 w 326088"/>
                <a:gd name="connsiteY1" fmla="*/ 30913 h 70199"/>
                <a:gd name="connsiteX2" fmla="*/ 156099 w 326088"/>
                <a:gd name="connsiteY2" fmla="*/ 70200 h 70199"/>
                <a:gd name="connsiteX3" fmla="*/ 326089 w 326088"/>
                <a:gd name="connsiteY3" fmla="*/ 70200 h 70199"/>
                <a:gd name="connsiteX4" fmla="*/ 286635 w 326088"/>
                <a:gd name="connsiteY4" fmla="*/ 0 h 70199"/>
                <a:gd name="connsiteX5" fmla="*/ 41252 w 326088"/>
                <a:gd name="connsiteY5" fmla="*/ 0 h 70199"/>
                <a:gd name="connsiteX6" fmla="*/ 0 w 326088"/>
                <a:gd name="connsiteY6" fmla="*/ 70200 h 70199"/>
                <a:gd name="connsiteX7" fmla="*/ 75572 w 326088"/>
                <a:gd name="connsiteY7" fmla="*/ 70200 h 70199"/>
                <a:gd name="connsiteX8" fmla="*/ 115240 w 326088"/>
                <a:gd name="connsiteY8" fmla="*/ 1239 h 701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26088" h="70199">
                  <a:moveTo>
                    <a:pt x="118349" y="1596"/>
                  </a:moveTo>
                  <a:lnTo>
                    <a:pt x="134026" y="30913"/>
                  </a:lnTo>
                  <a:lnTo>
                    <a:pt x="156099" y="70200"/>
                  </a:lnTo>
                  <a:lnTo>
                    <a:pt x="326089" y="70200"/>
                  </a:lnTo>
                  <a:lnTo>
                    <a:pt x="286635" y="0"/>
                  </a:lnTo>
                  <a:lnTo>
                    <a:pt x="41252" y="0"/>
                  </a:lnTo>
                  <a:lnTo>
                    <a:pt x="0" y="70200"/>
                  </a:lnTo>
                  <a:lnTo>
                    <a:pt x="75572" y="70200"/>
                  </a:lnTo>
                  <a:lnTo>
                    <a:pt x="115240" y="1239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2089" name="Gráfico 18">
            <a:extLst>
              <a:ext uri="{FF2B5EF4-FFF2-40B4-BE49-F238E27FC236}">
                <a16:creationId xmlns:a16="http://schemas.microsoft.com/office/drawing/2014/main" id="{B9B30DA0-9B72-66DE-881F-4C1F7B9C36A3}"/>
              </a:ext>
            </a:extLst>
          </p:cNvPr>
          <p:cNvGrpSpPr/>
          <p:nvPr/>
        </p:nvGrpSpPr>
        <p:grpSpPr>
          <a:xfrm>
            <a:off x="8088707" y="4217200"/>
            <a:ext cx="357477" cy="296117"/>
            <a:chOff x="8088707" y="4217200"/>
            <a:chExt cx="357477" cy="296117"/>
          </a:xfrm>
          <a:noFill/>
        </p:grpSpPr>
        <p:sp>
          <p:nvSpPr>
            <p:cNvPr id="2090" name="Forma livre: Forma 2089">
              <a:extLst>
                <a:ext uri="{FF2B5EF4-FFF2-40B4-BE49-F238E27FC236}">
                  <a16:creationId xmlns:a16="http://schemas.microsoft.com/office/drawing/2014/main" id="{0B9B684B-9387-0EA5-9608-CC8425056B42}"/>
                </a:ext>
              </a:extLst>
            </p:cNvPr>
            <p:cNvSpPr/>
            <p:nvPr/>
          </p:nvSpPr>
          <p:spPr>
            <a:xfrm>
              <a:off x="8290038" y="4482346"/>
              <a:ext cx="27195" cy="15021"/>
            </a:xfrm>
            <a:custGeom>
              <a:avLst/>
              <a:gdLst>
                <a:gd name="connsiteX0" fmla="*/ 27196 w 27195"/>
                <a:gd name="connsiteY0" fmla="*/ 15021 h 15021"/>
                <a:gd name="connsiteX1" fmla="*/ 0 w 27195"/>
                <a:gd name="connsiteY1" fmla="*/ 0 h 150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7195" h="15021">
                  <a:moveTo>
                    <a:pt x="27196" y="15021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2091" name="Gráfico 18">
              <a:extLst>
                <a:ext uri="{FF2B5EF4-FFF2-40B4-BE49-F238E27FC236}">
                  <a16:creationId xmlns:a16="http://schemas.microsoft.com/office/drawing/2014/main" id="{121C62D8-816B-1733-5D64-92F7941CE906}"/>
                </a:ext>
              </a:extLst>
            </p:cNvPr>
            <p:cNvGrpSpPr/>
            <p:nvPr/>
          </p:nvGrpSpPr>
          <p:grpSpPr>
            <a:xfrm>
              <a:off x="8088707" y="4346533"/>
              <a:ext cx="203189" cy="166784"/>
              <a:chOff x="8088707" y="4346533"/>
              <a:chExt cx="203189" cy="166784"/>
            </a:xfrm>
            <a:noFill/>
          </p:grpSpPr>
          <p:sp>
            <p:nvSpPr>
              <p:cNvPr id="2092" name="Forma livre: Forma 2091">
                <a:extLst>
                  <a:ext uri="{FF2B5EF4-FFF2-40B4-BE49-F238E27FC236}">
                    <a16:creationId xmlns:a16="http://schemas.microsoft.com/office/drawing/2014/main" id="{23DD3F41-B132-97CB-F265-EE84A9B615C3}"/>
                  </a:ext>
                </a:extLst>
              </p:cNvPr>
              <p:cNvSpPr/>
              <p:nvPr/>
            </p:nvSpPr>
            <p:spPr>
              <a:xfrm>
                <a:off x="8109566" y="4346533"/>
                <a:ext cx="161471" cy="39858"/>
              </a:xfrm>
              <a:custGeom>
                <a:avLst/>
                <a:gdLst>
                  <a:gd name="connsiteX0" fmla="*/ 161472 w 161471"/>
                  <a:gd name="connsiteY0" fmla="*/ 37536 h 39858"/>
                  <a:gd name="connsiteX1" fmla="*/ 80730 w 161471"/>
                  <a:gd name="connsiteY1" fmla="*/ 0 h 39858"/>
                  <a:gd name="connsiteX2" fmla="*/ 0 w 161471"/>
                  <a:gd name="connsiteY2" fmla="*/ 39859 h 398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61471" h="39858">
                    <a:moveTo>
                      <a:pt x="161472" y="37536"/>
                    </a:moveTo>
                    <a:lnTo>
                      <a:pt x="80730" y="0"/>
                    </a:lnTo>
                    <a:lnTo>
                      <a:pt x="0" y="39859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2093" name="Gráfico 18">
                <a:extLst>
                  <a:ext uri="{FF2B5EF4-FFF2-40B4-BE49-F238E27FC236}">
                    <a16:creationId xmlns:a16="http://schemas.microsoft.com/office/drawing/2014/main" id="{70B650F0-ED02-7B20-3F99-9F55746F49D1}"/>
                  </a:ext>
                </a:extLst>
              </p:cNvPr>
              <p:cNvGrpSpPr/>
              <p:nvPr/>
            </p:nvGrpSpPr>
            <p:grpSpPr>
              <a:xfrm>
                <a:off x="8109554" y="4427275"/>
                <a:ext cx="161471" cy="86042"/>
                <a:chOff x="8109554" y="4427275"/>
                <a:chExt cx="161471" cy="86042"/>
              </a:xfrm>
              <a:noFill/>
            </p:grpSpPr>
            <p:sp>
              <p:nvSpPr>
                <p:cNvPr id="2094" name="Forma livre: Forma 2093">
                  <a:extLst>
                    <a:ext uri="{FF2B5EF4-FFF2-40B4-BE49-F238E27FC236}">
                      <a16:creationId xmlns:a16="http://schemas.microsoft.com/office/drawing/2014/main" id="{67D30D25-4129-1CD4-8228-E59BB31D7E0C}"/>
                    </a:ext>
                  </a:extLst>
                </p:cNvPr>
                <p:cNvSpPr/>
                <p:nvPr/>
              </p:nvSpPr>
              <p:spPr>
                <a:xfrm>
                  <a:off x="8190296" y="4427453"/>
                  <a:ext cx="80730" cy="85864"/>
                </a:xfrm>
                <a:custGeom>
                  <a:avLst/>
                  <a:gdLst>
                    <a:gd name="connsiteX0" fmla="*/ 80730 w 80730"/>
                    <a:gd name="connsiteY0" fmla="*/ 0 h 85864"/>
                    <a:gd name="connsiteX1" fmla="*/ 80730 w 80730"/>
                    <a:gd name="connsiteY1" fmla="*/ 43361 h 85864"/>
                    <a:gd name="connsiteX2" fmla="*/ 0 w 80730"/>
                    <a:gd name="connsiteY2" fmla="*/ 85864 h 85864"/>
                    <a:gd name="connsiteX3" fmla="*/ 0 w 80730"/>
                    <a:gd name="connsiteY3" fmla="*/ 36488 h 8586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0730" h="85864">
                      <a:moveTo>
                        <a:pt x="80730" y="0"/>
                      </a:moveTo>
                      <a:lnTo>
                        <a:pt x="80730" y="43361"/>
                      </a:lnTo>
                      <a:lnTo>
                        <a:pt x="0" y="85864"/>
                      </a:lnTo>
                      <a:lnTo>
                        <a:pt x="0" y="36488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095" name="Forma livre: Forma 2094">
                  <a:extLst>
                    <a:ext uri="{FF2B5EF4-FFF2-40B4-BE49-F238E27FC236}">
                      <a16:creationId xmlns:a16="http://schemas.microsoft.com/office/drawing/2014/main" id="{6BF1D759-1A80-E42C-547D-FE09575AC3EB}"/>
                    </a:ext>
                  </a:extLst>
                </p:cNvPr>
                <p:cNvSpPr/>
                <p:nvPr/>
              </p:nvSpPr>
              <p:spPr>
                <a:xfrm>
                  <a:off x="8109554" y="4427275"/>
                  <a:ext cx="80741" cy="86042"/>
                </a:xfrm>
                <a:custGeom>
                  <a:avLst/>
                  <a:gdLst>
                    <a:gd name="connsiteX0" fmla="*/ 80742 w 80741"/>
                    <a:gd name="connsiteY0" fmla="*/ 86043 h 86042"/>
                    <a:gd name="connsiteX1" fmla="*/ 0 w 80741"/>
                    <a:gd name="connsiteY1" fmla="*/ 43540 h 86042"/>
                    <a:gd name="connsiteX2" fmla="*/ 0 w 80741"/>
                    <a:gd name="connsiteY2" fmla="*/ 0 h 8604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80741" h="86042">
                      <a:moveTo>
                        <a:pt x="80742" y="86043"/>
                      </a:moveTo>
                      <a:lnTo>
                        <a:pt x="0" y="43540"/>
                      </a:lnTo>
                      <a:lnTo>
                        <a:pt x="0" y="0"/>
                      </a:ln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2096" name="Gráfico 18">
                <a:extLst>
                  <a:ext uri="{FF2B5EF4-FFF2-40B4-BE49-F238E27FC236}">
                    <a16:creationId xmlns:a16="http://schemas.microsoft.com/office/drawing/2014/main" id="{AC7F0C9B-AF79-2262-C9AF-0926F8F2CC9C}"/>
                  </a:ext>
                </a:extLst>
              </p:cNvPr>
              <p:cNvGrpSpPr/>
              <p:nvPr/>
            </p:nvGrpSpPr>
            <p:grpSpPr>
              <a:xfrm>
                <a:off x="8088707" y="4384069"/>
                <a:ext cx="203189" cy="70818"/>
                <a:chOff x="8088707" y="4384069"/>
                <a:chExt cx="203189" cy="70818"/>
              </a:xfrm>
              <a:noFill/>
            </p:grpSpPr>
            <p:sp>
              <p:nvSpPr>
                <p:cNvPr id="2097" name="Forma livre: Forma 2096">
                  <a:extLst>
                    <a:ext uri="{FF2B5EF4-FFF2-40B4-BE49-F238E27FC236}">
                      <a16:creationId xmlns:a16="http://schemas.microsoft.com/office/drawing/2014/main" id="{0ED5D047-EAB3-131C-2BD5-D52D17154D8B}"/>
                    </a:ext>
                  </a:extLst>
                </p:cNvPr>
                <p:cNvSpPr/>
                <p:nvPr/>
              </p:nvSpPr>
              <p:spPr>
                <a:xfrm>
                  <a:off x="8088707" y="4386392"/>
                  <a:ext cx="101600" cy="68496"/>
                </a:xfrm>
                <a:custGeom>
                  <a:avLst/>
                  <a:gdLst>
                    <a:gd name="connsiteX0" fmla="*/ 20859 w 101600"/>
                    <a:gd name="connsiteY0" fmla="*/ 0 h 68496"/>
                    <a:gd name="connsiteX1" fmla="*/ 101600 w 101600"/>
                    <a:gd name="connsiteY1" fmla="*/ 38131 h 68496"/>
                    <a:gd name="connsiteX2" fmla="*/ 80742 w 101600"/>
                    <a:gd name="connsiteY2" fmla="*/ 68496 h 68496"/>
                    <a:gd name="connsiteX3" fmla="*/ 0 w 101600"/>
                    <a:gd name="connsiteY3" fmla="*/ 30365 h 68496"/>
                    <a:gd name="connsiteX4" fmla="*/ 20859 w 101600"/>
                    <a:gd name="connsiteY4" fmla="*/ 0 h 6849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01600" h="68496">
                      <a:moveTo>
                        <a:pt x="20859" y="0"/>
                      </a:moveTo>
                      <a:lnTo>
                        <a:pt x="101600" y="38131"/>
                      </a:lnTo>
                      <a:lnTo>
                        <a:pt x="80742" y="68496"/>
                      </a:lnTo>
                      <a:lnTo>
                        <a:pt x="0" y="30365"/>
                      </a:lnTo>
                      <a:lnTo>
                        <a:pt x="20859" y="0"/>
                      </a:ln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098" name="Forma livre: Forma 2097">
                  <a:extLst>
                    <a:ext uri="{FF2B5EF4-FFF2-40B4-BE49-F238E27FC236}">
                      <a16:creationId xmlns:a16="http://schemas.microsoft.com/office/drawing/2014/main" id="{F62ACCBF-D5E7-1F3C-F6F6-4F8687B8595C}"/>
                    </a:ext>
                  </a:extLst>
                </p:cNvPr>
                <p:cNvSpPr/>
                <p:nvPr/>
              </p:nvSpPr>
              <p:spPr>
                <a:xfrm>
                  <a:off x="8190308" y="4384069"/>
                  <a:ext cx="101588" cy="70818"/>
                </a:xfrm>
                <a:custGeom>
                  <a:avLst/>
                  <a:gdLst>
                    <a:gd name="connsiteX0" fmla="*/ 80730 w 101588"/>
                    <a:gd name="connsiteY0" fmla="*/ 0 h 70818"/>
                    <a:gd name="connsiteX1" fmla="*/ 0 w 101588"/>
                    <a:gd name="connsiteY1" fmla="*/ 40454 h 70818"/>
                    <a:gd name="connsiteX2" fmla="*/ 20859 w 101588"/>
                    <a:gd name="connsiteY2" fmla="*/ 70819 h 70818"/>
                    <a:gd name="connsiteX3" fmla="*/ 101589 w 101588"/>
                    <a:gd name="connsiteY3" fmla="*/ 30365 h 70818"/>
                    <a:gd name="connsiteX4" fmla="*/ 80730 w 101588"/>
                    <a:gd name="connsiteY4" fmla="*/ 0 h 7081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01588" h="70818">
                      <a:moveTo>
                        <a:pt x="80730" y="0"/>
                      </a:moveTo>
                      <a:lnTo>
                        <a:pt x="0" y="40454"/>
                      </a:lnTo>
                      <a:lnTo>
                        <a:pt x="20859" y="70819"/>
                      </a:lnTo>
                      <a:lnTo>
                        <a:pt x="101589" y="30365"/>
                      </a:lnTo>
                      <a:lnTo>
                        <a:pt x="80730" y="0"/>
                      </a:ln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2099" name="Forma livre: Forma 2098">
                <a:extLst>
                  <a:ext uri="{FF2B5EF4-FFF2-40B4-BE49-F238E27FC236}">
                    <a16:creationId xmlns:a16="http://schemas.microsoft.com/office/drawing/2014/main" id="{E8604862-7AA5-9706-8286-2D083B069BA5}"/>
                  </a:ext>
                </a:extLst>
              </p:cNvPr>
              <p:cNvSpPr/>
              <p:nvPr/>
            </p:nvSpPr>
            <p:spPr>
              <a:xfrm>
                <a:off x="8190296" y="4348117"/>
                <a:ext cx="1191" cy="44159"/>
              </a:xfrm>
              <a:custGeom>
                <a:avLst/>
                <a:gdLst>
                  <a:gd name="connsiteX0" fmla="*/ 0 w 1191"/>
                  <a:gd name="connsiteY0" fmla="*/ 0 h 44159"/>
                  <a:gd name="connsiteX1" fmla="*/ 0 w 1191"/>
                  <a:gd name="connsiteY1" fmla="*/ 44159 h 441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1" h="44159">
                    <a:moveTo>
                      <a:pt x="0" y="0"/>
                    </a:moveTo>
                    <a:lnTo>
                      <a:pt x="0" y="44159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2100" name="Gráfico 18">
              <a:extLst>
                <a:ext uri="{FF2B5EF4-FFF2-40B4-BE49-F238E27FC236}">
                  <a16:creationId xmlns:a16="http://schemas.microsoft.com/office/drawing/2014/main" id="{A1C100A8-9A14-6BD4-F889-4D78D6DFFDE3}"/>
                </a:ext>
              </a:extLst>
            </p:cNvPr>
            <p:cNvGrpSpPr/>
            <p:nvPr/>
          </p:nvGrpSpPr>
          <p:grpSpPr>
            <a:xfrm>
              <a:off x="8190308" y="4217200"/>
              <a:ext cx="255841" cy="133049"/>
              <a:chOff x="8190308" y="4217200"/>
              <a:chExt cx="255841" cy="133049"/>
            </a:xfrm>
            <a:noFill/>
          </p:grpSpPr>
          <p:sp>
            <p:nvSpPr>
              <p:cNvPr id="2101" name="Forma livre: Forma 2100">
                <a:extLst>
                  <a:ext uri="{FF2B5EF4-FFF2-40B4-BE49-F238E27FC236}">
                    <a16:creationId xmlns:a16="http://schemas.microsoft.com/office/drawing/2014/main" id="{0D9E8304-7B81-5CC9-A9E7-AAA1DDA9405C}"/>
                  </a:ext>
                </a:extLst>
              </p:cNvPr>
              <p:cNvSpPr/>
              <p:nvPr/>
            </p:nvSpPr>
            <p:spPr>
              <a:xfrm>
                <a:off x="8190308" y="4217200"/>
                <a:ext cx="255841" cy="133049"/>
              </a:xfrm>
              <a:custGeom>
                <a:avLst/>
                <a:gdLst>
                  <a:gd name="connsiteX0" fmla="*/ 127927 w 255841"/>
                  <a:gd name="connsiteY0" fmla="*/ 0 h 133049"/>
                  <a:gd name="connsiteX1" fmla="*/ 0 w 255841"/>
                  <a:gd name="connsiteY1" fmla="*/ 68639 h 133049"/>
                  <a:gd name="connsiteX2" fmla="*/ 127903 w 255841"/>
                  <a:gd name="connsiteY2" fmla="*/ 133049 h 133049"/>
                  <a:gd name="connsiteX3" fmla="*/ 255842 w 255841"/>
                  <a:gd name="connsiteY3" fmla="*/ 68639 h 133049"/>
                  <a:gd name="connsiteX4" fmla="*/ 127927 w 255841"/>
                  <a:gd name="connsiteY4" fmla="*/ 0 h 1330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55841" h="133049">
                    <a:moveTo>
                      <a:pt x="127927" y="0"/>
                    </a:moveTo>
                    <a:lnTo>
                      <a:pt x="0" y="68639"/>
                    </a:lnTo>
                    <a:lnTo>
                      <a:pt x="127903" y="133049"/>
                    </a:lnTo>
                    <a:lnTo>
                      <a:pt x="255842" y="68639"/>
                    </a:lnTo>
                    <a:lnTo>
                      <a:pt x="127927" y="0"/>
                    </a:lnTo>
                    <a:close/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102" name="Forma livre: Forma 2101">
                <a:extLst>
                  <a:ext uri="{FF2B5EF4-FFF2-40B4-BE49-F238E27FC236}">
                    <a16:creationId xmlns:a16="http://schemas.microsoft.com/office/drawing/2014/main" id="{B8AC65C6-64B4-FC0E-1156-06DA676D9AA9}"/>
                  </a:ext>
                </a:extLst>
              </p:cNvPr>
              <p:cNvSpPr/>
              <p:nvPr/>
            </p:nvSpPr>
            <p:spPr>
              <a:xfrm>
                <a:off x="8253157" y="4250102"/>
                <a:ext cx="125687" cy="66971"/>
              </a:xfrm>
              <a:custGeom>
                <a:avLst/>
                <a:gdLst>
                  <a:gd name="connsiteX0" fmla="*/ 0 w 125687"/>
                  <a:gd name="connsiteY0" fmla="*/ 66971 h 66971"/>
                  <a:gd name="connsiteX1" fmla="*/ 125687 w 125687"/>
                  <a:gd name="connsiteY1" fmla="*/ 0 h 669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5687" h="66971">
                    <a:moveTo>
                      <a:pt x="0" y="66971"/>
                    </a:moveTo>
                    <a:lnTo>
                      <a:pt x="125687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2103" name="Gráfico 18">
              <a:extLst>
                <a:ext uri="{FF2B5EF4-FFF2-40B4-BE49-F238E27FC236}">
                  <a16:creationId xmlns:a16="http://schemas.microsoft.com/office/drawing/2014/main" id="{BD3E1FBA-F554-1FBA-0D3A-AF8CFE438BDA}"/>
                </a:ext>
              </a:extLst>
            </p:cNvPr>
            <p:cNvGrpSpPr/>
            <p:nvPr/>
          </p:nvGrpSpPr>
          <p:grpSpPr>
            <a:xfrm>
              <a:off x="8190260" y="4286030"/>
              <a:ext cx="255924" cy="211336"/>
              <a:chOff x="8190260" y="4286030"/>
              <a:chExt cx="255924" cy="211336"/>
            </a:xfrm>
            <a:noFill/>
          </p:grpSpPr>
          <p:sp>
            <p:nvSpPr>
              <p:cNvPr id="2104" name="Forma livre: Forma 2103">
                <a:extLst>
                  <a:ext uri="{FF2B5EF4-FFF2-40B4-BE49-F238E27FC236}">
                    <a16:creationId xmlns:a16="http://schemas.microsoft.com/office/drawing/2014/main" id="{F385B350-6D8F-936F-2B07-5C3853AA2EA4}"/>
                  </a:ext>
                </a:extLst>
              </p:cNvPr>
              <p:cNvSpPr/>
              <p:nvPr/>
            </p:nvSpPr>
            <p:spPr>
              <a:xfrm>
                <a:off x="8317127" y="4286030"/>
                <a:ext cx="129058" cy="211336"/>
              </a:xfrm>
              <a:custGeom>
                <a:avLst/>
                <a:gdLst>
                  <a:gd name="connsiteX0" fmla="*/ 129058 w 129058"/>
                  <a:gd name="connsiteY0" fmla="*/ 0 h 211336"/>
                  <a:gd name="connsiteX1" fmla="*/ 129058 w 129058"/>
                  <a:gd name="connsiteY1" fmla="*/ 143496 h 211336"/>
                  <a:gd name="connsiteX2" fmla="*/ 0 w 129058"/>
                  <a:gd name="connsiteY2" fmla="*/ 211337 h 211336"/>
                  <a:gd name="connsiteX3" fmla="*/ 0 w 129058"/>
                  <a:gd name="connsiteY3" fmla="*/ 89986 h 2113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29058" h="211336">
                    <a:moveTo>
                      <a:pt x="129058" y="0"/>
                    </a:moveTo>
                    <a:lnTo>
                      <a:pt x="129058" y="143496"/>
                    </a:lnTo>
                    <a:lnTo>
                      <a:pt x="0" y="211337"/>
                    </a:lnTo>
                    <a:lnTo>
                      <a:pt x="0" y="89986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105" name="Forma livre: Forma 2104">
                <a:extLst>
                  <a:ext uri="{FF2B5EF4-FFF2-40B4-BE49-F238E27FC236}">
                    <a16:creationId xmlns:a16="http://schemas.microsoft.com/office/drawing/2014/main" id="{78EE550B-81F1-AB14-145E-61C2FE631FAC}"/>
                  </a:ext>
                </a:extLst>
              </p:cNvPr>
              <p:cNvSpPr/>
              <p:nvPr/>
            </p:nvSpPr>
            <p:spPr>
              <a:xfrm>
                <a:off x="8190260" y="4286375"/>
                <a:ext cx="1191" cy="35498"/>
              </a:xfrm>
              <a:custGeom>
                <a:avLst/>
                <a:gdLst>
                  <a:gd name="connsiteX0" fmla="*/ 0 w 1191"/>
                  <a:gd name="connsiteY0" fmla="*/ 0 h 35498"/>
                  <a:gd name="connsiteX1" fmla="*/ 0 w 1191"/>
                  <a:gd name="connsiteY1" fmla="*/ 35499 h 354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1" h="35498">
                    <a:moveTo>
                      <a:pt x="0" y="0"/>
                    </a:moveTo>
                    <a:lnTo>
                      <a:pt x="0" y="35499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2106" name="Gráfico 18">
            <a:extLst>
              <a:ext uri="{FF2B5EF4-FFF2-40B4-BE49-F238E27FC236}">
                <a16:creationId xmlns:a16="http://schemas.microsoft.com/office/drawing/2014/main" id="{7F2409A3-9109-7ACE-E065-B96859FFE555}"/>
              </a:ext>
            </a:extLst>
          </p:cNvPr>
          <p:cNvGrpSpPr/>
          <p:nvPr/>
        </p:nvGrpSpPr>
        <p:grpSpPr>
          <a:xfrm>
            <a:off x="9351917" y="4744012"/>
            <a:ext cx="304289" cy="302704"/>
            <a:chOff x="9351917" y="4744012"/>
            <a:chExt cx="304289" cy="302704"/>
          </a:xfrm>
          <a:noFill/>
        </p:grpSpPr>
        <p:grpSp>
          <p:nvGrpSpPr>
            <p:cNvPr id="2107" name="Gráfico 18">
              <a:extLst>
                <a:ext uri="{FF2B5EF4-FFF2-40B4-BE49-F238E27FC236}">
                  <a16:creationId xmlns:a16="http://schemas.microsoft.com/office/drawing/2014/main" id="{C3BE5545-BD1A-B07F-C8B0-3D7BFDD9ED89}"/>
                </a:ext>
              </a:extLst>
            </p:cNvPr>
            <p:cNvGrpSpPr/>
            <p:nvPr/>
          </p:nvGrpSpPr>
          <p:grpSpPr>
            <a:xfrm>
              <a:off x="9351917" y="4744012"/>
              <a:ext cx="304289" cy="302704"/>
              <a:chOff x="9351917" y="4744012"/>
              <a:chExt cx="304289" cy="302704"/>
            </a:xfrm>
            <a:noFill/>
          </p:grpSpPr>
          <p:sp>
            <p:nvSpPr>
              <p:cNvPr id="2108" name="Forma livre: Forma 2107">
                <a:extLst>
                  <a:ext uri="{FF2B5EF4-FFF2-40B4-BE49-F238E27FC236}">
                    <a16:creationId xmlns:a16="http://schemas.microsoft.com/office/drawing/2014/main" id="{7010C814-3147-90DE-963E-FD4710CF998F}"/>
                  </a:ext>
                </a:extLst>
              </p:cNvPr>
              <p:cNvSpPr/>
              <p:nvPr/>
            </p:nvSpPr>
            <p:spPr>
              <a:xfrm>
                <a:off x="9352084" y="4744012"/>
                <a:ext cx="303955" cy="52116"/>
              </a:xfrm>
              <a:custGeom>
                <a:avLst/>
                <a:gdLst>
                  <a:gd name="connsiteX0" fmla="*/ 303956 w 303955"/>
                  <a:gd name="connsiteY0" fmla="*/ 52117 h 52116"/>
                  <a:gd name="connsiteX1" fmla="*/ 151978 w 303955"/>
                  <a:gd name="connsiteY1" fmla="*/ 0 h 52116"/>
                  <a:gd name="connsiteX2" fmla="*/ 0 w 303955"/>
                  <a:gd name="connsiteY2" fmla="*/ 52117 h 521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03955" h="52116">
                    <a:moveTo>
                      <a:pt x="303956" y="52117"/>
                    </a:moveTo>
                    <a:lnTo>
                      <a:pt x="151978" y="0"/>
                    </a:lnTo>
                    <a:lnTo>
                      <a:pt x="0" y="52117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109" name="Forma livre: Forma 2108">
                <a:extLst>
                  <a:ext uri="{FF2B5EF4-FFF2-40B4-BE49-F238E27FC236}">
                    <a16:creationId xmlns:a16="http://schemas.microsoft.com/office/drawing/2014/main" id="{BF720487-2545-37E8-B3C3-FA20B22F5E57}"/>
                  </a:ext>
                </a:extLst>
              </p:cNvPr>
              <p:cNvSpPr/>
              <p:nvPr/>
            </p:nvSpPr>
            <p:spPr>
              <a:xfrm>
                <a:off x="9504062" y="4848257"/>
                <a:ext cx="1191" cy="198459"/>
              </a:xfrm>
              <a:custGeom>
                <a:avLst/>
                <a:gdLst>
                  <a:gd name="connsiteX0" fmla="*/ 0 w 1191"/>
                  <a:gd name="connsiteY0" fmla="*/ 0 h 198459"/>
                  <a:gd name="connsiteX1" fmla="*/ 0 w 1191"/>
                  <a:gd name="connsiteY1" fmla="*/ 198460 h 1984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1" h="198459">
                    <a:moveTo>
                      <a:pt x="0" y="0"/>
                    </a:moveTo>
                    <a:lnTo>
                      <a:pt x="0" y="19846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110" name="Forma livre: Forma 2109">
                <a:extLst>
                  <a:ext uri="{FF2B5EF4-FFF2-40B4-BE49-F238E27FC236}">
                    <a16:creationId xmlns:a16="http://schemas.microsoft.com/office/drawing/2014/main" id="{564710AC-7662-F13A-7320-82D3E2DF9D06}"/>
                  </a:ext>
                </a:extLst>
              </p:cNvPr>
              <p:cNvSpPr/>
              <p:nvPr/>
            </p:nvSpPr>
            <p:spPr>
              <a:xfrm>
                <a:off x="9351917" y="4796129"/>
                <a:ext cx="304289" cy="250588"/>
              </a:xfrm>
              <a:custGeom>
                <a:avLst/>
                <a:gdLst>
                  <a:gd name="connsiteX0" fmla="*/ 237413 w 304289"/>
                  <a:gd name="connsiteY0" fmla="*/ 22919 h 250588"/>
                  <a:gd name="connsiteX1" fmla="*/ 152145 w 304289"/>
                  <a:gd name="connsiteY1" fmla="*/ 52128 h 250588"/>
                  <a:gd name="connsiteX2" fmla="*/ 0 w 304289"/>
                  <a:gd name="connsiteY2" fmla="*/ 0 h 250588"/>
                  <a:gd name="connsiteX3" fmla="*/ 0 w 304289"/>
                  <a:gd name="connsiteY3" fmla="*/ 193647 h 250588"/>
                  <a:gd name="connsiteX4" fmla="*/ 152145 w 304289"/>
                  <a:gd name="connsiteY4" fmla="*/ 250588 h 250588"/>
                  <a:gd name="connsiteX5" fmla="*/ 304289 w 304289"/>
                  <a:gd name="connsiteY5" fmla="*/ 193647 h 250588"/>
                  <a:gd name="connsiteX6" fmla="*/ 304289 w 304289"/>
                  <a:gd name="connsiteY6" fmla="*/ 0 h 250588"/>
                  <a:gd name="connsiteX7" fmla="*/ 262572 w 304289"/>
                  <a:gd name="connsiteY7" fmla="*/ 14295 h 2505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04289" h="250588">
                    <a:moveTo>
                      <a:pt x="237413" y="22919"/>
                    </a:moveTo>
                    <a:lnTo>
                      <a:pt x="152145" y="52128"/>
                    </a:lnTo>
                    <a:lnTo>
                      <a:pt x="0" y="0"/>
                    </a:lnTo>
                    <a:lnTo>
                      <a:pt x="0" y="193647"/>
                    </a:lnTo>
                    <a:lnTo>
                      <a:pt x="152145" y="250588"/>
                    </a:lnTo>
                    <a:lnTo>
                      <a:pt x="304289" y="193647"/>
                    </a:lnTo>
                    <a:lnTo>
                      <a:pt x="304289" y="0"/>
                    </a:lnTo>
                    <a:lnTo>
                      <a:pt x="262572" y="14295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2111" name="Forma livre: Forma 2110">
              <a:extLst>
                <a:ext uri="{FF2B5EF4-FFF2-40B4-BE49-F238E27FC236}">
                  <a16:creationId xmlns:a16="http://schemas.microsoft.com/office/drawing/2014/main" id="{F08E64B5-725A-1886-851F-80E578FC0538}"/>
                </a:ext>
              </a:extLst>
            </p:cNvPr>
            <p:cNvSpPr/>
            <p:nvPr/>
          </p:nvSpPr>
          <p:spPr>
            <a:xfrm>
              <a:off x="9424249" y="4768754"/>
              <a:ext cx="152370" cy="247610"/>
            </a:xfrm>
            <a:custGeom>
              <a:avLst/>
              <a:gdLst>
                <a:gd name="connsiteX0" fmla="*/ 152371 w 152370"/>
                <a:gd name="connsiteY0" fmla="*/ 0 h 247610"/>
                <a:gd name="connsiteX1" fmla="*/ 0 w 152370"/>
                <a:gd name="connsiteY1" fmla="*/ 52271 h 247610"/>
                <a:gd name="connsiteX2" fmla="*/ 0 w 152370"/>
                <a:gd name="connsiteY2" fmla="*/ 247610 h 2476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52370" h="247610">
                  <a:moveTo>
                    <a:pt x="152371" y="0"/>
                  </a:moveTo>
                  <a:lnTo>
                    <a:pt x="0" y="52271"/>
                  </a:lnTo>
                  <a:lnTo>
                    <a:pt x="0" y="24761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12" name="Forma livre: Forma 2111">
              <a:extLst>
                <a:ext uri="{FF2B5EF4-FFF2-40B4-BE49-F238E27FC236}">
                  <a16:creationId xmlns:a16="http://schemas.microsoft.com/office/drawing/2014/main" id="{0EEAA8FA-A48A-EEEF-CC4C-7AFF5B756FBF}"/>
                </a:ext>
              </a:extLst>
            </p:cNvPr>
            <p:cNvSpPr/>
            <p:nvPr/>
          </p:nvSpPr>
          <p:spPr>
            <a:xfrm>
              <a:off x="9424964" y="4848257"/>
              <a:ext cx="79098" cy="84398"/>
            </a:xfrm>
            <a:custGeom>
              <a:avLst/>
              <a:gdLst>
                <a:gd name="connsiteX0" fmla="*/ 0 w 79098"/>
                <a:gd name="connsiteY0" fmla="*/ 71164 h 84398"/>
                <a:gd name="connsiteX1" fmla="*/ 37774 w 79098"/>
                <a:gd name="connsiteY1" fmla="*/ 84399 h 84398"/>
                <a:gd name="connsiteX2" fmla="*/ 79098 w 79098"/>
                <a:gd name="connsiteY2" fmla="*/ 0 h 843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79098" h="84398">
                  <a:moveTo>
                    <a:pt x="0" y="71164"/>
                  </a:moveTo>
                  <a:lnTo>
                    <a:pt x="37774" y="84399"/>
                  </a:lnTo>
                  <a:lnTo>
                    <a:pt x="79098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13" name="Forma livre: Forma 2112">
              <a:extLst>
                <a:ext uri="{FF2B5EF4-FFF2-40B4-BE49-F238E27FC236}">
                  <a16:creationId xmlns:a16="http://schemas.microsoft.com/office/drawing/2014/main" id="{7D939BF2-1677-BADE-768C-85D08947CBDD}"/>
                </a:ext>
              </a:extLst>
            </p:cNvPr>
            <p:cNvSpPr/>
            <p:nvPr/>
          </p:nvSpPr>
          <p:spPr>
            <a:xfrm>
              <a:off x="9352012" y="4796355"/>
              <a:ext cx="50687" cy="115263"/>
            </a:xfrm>
            <a:custGeom>
              <a:avLst/>
              <a:gdLst>
                <a:gd name="connsiteX0" fmla="*/ 0 w 50687"/>
                <a:gd name="connsiteY0" fmla="*/ 0 h 115263"/>
                <a:gd name="connsiteX1" fmla="*/ 34605 w 50687"/>
                <a:gd name="connsiteY1" fmla="*/ 109629 h 115263"/>
                <a:gd name="connsiteX2" fmla="*/ 50687 w 50687"/>
                <a:gd name="connsiteY2" fmla="*/ 115264 h 1152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50687" h="115263">
                  <a:moveTo>
                    <a:pt x="0" y="0"/>
                  </a:moveTo>
                  <a:lnTo>
                    <a:pt x="34605" y="109629"/>
                  </a:lnTo>
                  <a:lnTo>
                    <a:pt x="50687" y="115264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14" name="Forma livre: Forma 2113">
              <a:extLst>
                <a:ext uri="{FF2B5EF4-FFF2-40B4-BE49-F238E27FC236}">
                  <a16:creationId xmlns:a16="http://schemas.microsoft.com/office/drawing/2014/main" id="{22D2F8D6-D3DC-CC75-A2FA-C241B28CE397}"/>
                </a:ext>
              </a:extLst>
            </p:cNvPr>
            <p:cNvSpPr/>
            <p:nvPr/>
          </p:nvSpPr>
          <p:spPr>
            <a:xfrm>
              <a:off x="9351917" y="4924913"/>
              <a:ext cx="26778" cy="64862"/>
            </a:xfrm>
            <a:custGeom>
              <a:avLst/>
              <a:gdLst>
                <a:gd name="connsiteX0" fmla="*/ 0 w 26778"/>
                <a:gd name="connsiteY0" fmla="*/ 64863 h 64862"/>
                <a:gd name="connsiteX1" fmla="*/ 26779 w 26778"/>
                <a:gd name="connsiteY1" fmla="*/ 0 h 648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6778" h="64862">
                  <a:moveTo>
                    <a:pt x="0" y="64863"/>
                  </a:moveTo>
                  <a:lnTo>
                    <a:pt x="26779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15" name="Forma livre: Forma 2114">
              <a:extLst>
                <a:ext uri="{FF2B5EF4-FFF2-40B4-BE49-F238E27FC236}">
                  <a16:creationId xmlns:a16="http://schemas.microsoft.com/office/drawing/2014/main" id="{70F541D6-A131-CE34-FEC9-BB6F88D5FC37}"/>
                </a:ext>
              </a:extLst>
            </p:cNvPr>
            <p:cNvSpPr/>
            <p:nvPr/>
          </p:nvSpPr>
          <p:spPr>
            <a:xfrm>
              <a:off x="9469659" y="4951847"/>
              <a:ext cx="34402" cy="94869"/>
            </a:xfrm>
            <a:custGeom>
              <a:avLst/>
              <a:gdLst>
                <a:gd name="connsiteX0" fmla="*/ 34403 w 34402"/>
                <a:gd name="connsiteY0" fmla="*/ 94870 h 94869"/>
                <a:gd name="connsiteX1" fmla="*/ 0 w 34402"/>
                <a:gd name="connsiteY1" fmla="*/ 0 h 948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4402" h="94869">
                  <a:moveTo>
                    <a:pt x="34403" y="94870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2116" name="Gráfico 18">
            <a:extLst>
              <a:ext uri="{FF2B5EF4-FFF2-40B4-BE49-F238E27FC236}">
                <a16:creationId xmlns:a16="http://schemas.microsoft.com/office/drawing/2014/main" id="{F046D0F1-F301-8F82-935C-B7FFEBB7AB57}"/>
              </a:ext>
            </a:extLst>
          </p:cNvPr>
          <p:cNvGrpSpPr/>
          <p:nvPr/>
        </p:nvGrpSpPr>
        <p:grpSpPr>
          <a:xfrm>
            <a:off x="9327366" y="3685111"/>
            <a:ext cx="353391" cy="300084"/>
            <a:chOff x="9327366" y="3685111"/>
            <a:chExt cx="353391" cy="300084"/>
          </a:xfrm>
          <a:noFill/>
        </p:grpSpPr>
        <p:grpSp>
          <p:nvGrpSpPr>
            <p:cNvPr id="2117" name="Gráfico 18">
              <a:extLst>
                <a:ext uri="{FF2B5EF4-FFF2-40B4-BE49-F238E27FC236}">
                  <a16:creationId xmlns:a16="http://schemas.microsoft.com/office/drawing/2014/main" id="{9188F7F8-FF5B-40C8-995D-DC97535D48A4}"/>
                </a:ext>
              </a:extLst>
            </p:cNvPr>
            <p:cNvGrpSpPr/>
            <p:nvPr/>
          </p:nvGrpSpPr>
          <p:grpSpPr>
            <a:xfrm>
              <a:off x="9363651" y="3828917"/>
              <a:ext cx="280833" cy="156278"/>
              <a:chOff x="9363651" y="3828917"/>
              <a:chExt cx="280833" cy="156278"/>
            </a:xfrm>
            <a:noFill/>
          </p:grpSpPr>
          <p:sp>
            <p:nvSpPr>
              <p:cNvPr id="2118" name="Forma livre: Forma 2117">
                <a:extLst>
                  <a:ext uri="{FF2B5EF4-FFF2-40B4-BE49-F238E27FC236}">
                    <a16:creationId xmlns:a16="http://schemas.microsoft.com/office/drawing/2014/main" id="{3154E953-562B-BDCF-0C7E-73FFA001FE32}"/>
                  </a:ext>
                </a:extLst>
              </p:cNvPr>
              <p:cNvSpPr/>
              <p:nvPr/>
            </p:nvSpPr>
            <p:spPr>
              <a:xfrm>
                <a:off x="9504062" y="3828917"/>
                <a:ext cx="140422" cy="156278"/>
              </a:xfrm>
              <a:custGeom>
                <a:avLst/>
                <a:gdLst>
                  <a:gd name="connsiteX0" fmla="*/ 140423 w 140422"/>
                  <a:gd name="connsiteY0" fmla="*/ 0 h 156278"/>
                  <a:gd name="connsiteX1" fmla="*/ 140423 w 140422"/>
                  <a:gd name="connsiteY1" fmla="*/ 76251 h 156278"/>
                  <a:gd name="connsiteX2" fmla="*/ 0 w 140422"/>
                  <a:gd name="connsiteY2" fmla="*/ 156278 h 156278"/>
                  <a:gd name="connsiteX3" fmla="*/ 0 w 140422"/>
                  <a:gd name="connsiteY3" fmla="*/ 49937 h 1562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40422" h="156278">
                    <a:moveTo>
                      <a:pt x="140423" y="0"/>
                    </a:moveTo>
                    <a:lnTo>
                      <a:pt x="140423" y="76251"/>
                    </a:lnTo>
                    <a:lnTo>
                      <a:pt x="0" y="156278"/>
                    </a:lnTo>
                    <a:lnTo>
                      <a:pt x="0" y="49937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119" name="Forma livre: Forma 2118">
                <a:extLst>
                  <a:ext uri="{FF2B5EF4-FFF2-40B4-BE49-F238E27FC236}">
                    <a16:creationId xmlns:a16="http://schemas.microsoft.com/office/drawing/2014/main" id="{C8C203E9-2703-63EA-7D2C-8FA8505F094A}"/>
                  </a:ext>
                </a:extLst>
              </p:cNvPr>
              <p:cNvSpPr/>
              <p:nvPr/>
            </p:nvSpPr>
            <p:spPr>
              <a:xfrm>
                <a:off x="9363651" y="3859294"/>
                <a:ext cx="140410" cy="125901"/>
              </a:xfrm>
              <a:custGeom>
                <a:avLst/>
                <a:gdLst>
                  <a:gd name="connsiteX0" fmla="*/ 140411 w 140410"/>
                  <a:gd name="connsiteY0" fmla="*/ 125902 h 125901"/>
                  <a:gd name="connsiteX1" fmla="*/ 0 w 140410"/>
                  <a:gd name="connsiteY1" fmla="*/ 45874 h 125901"/>
                  <a:gd name="connsiteX2" fmla="*/ 0 w 140410"/>
                  <a:gd name="connsiteY2" fmla="*/ 0 h 1259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40410" h="125901">
                    <a:moveTo>
                      <a:pt x="140411" y="125902"/>
                    </a:moveTo>
                    <a:lnTo>
                      <a:pt x="0" y="45874"/>
                    </a:lnTo>
                    <a:lnTo>
                      <a:pt x="0" y="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2120" name="Gráfico 18">
              <a:extLst>
                <a:ext uri="{FF2B5EF4-FFF2-40B4-BE49-F238E27FC236}">
                  <a16:creationId xmlns:a16="http://schemas.microsoft.com/office/drawing/2014/main" id="{3C6CD01B-1015-8282-611F-C5878B6FEC0F}"/>
                </a:ext>
              </a:extLst>
            </p:cNvPr>
            <p:cNvGrpSpPr/>
            <p:nvPr/>
          </p:nvGrpSpPr>
          <p:grpSpPr>
            <a:xfrm>
              <a:off x="9327366" y="3756359"/>
              <a:ext cx="353391" cy="127211"/>
              <a:chOff x="9327366" y="3756359"/>
              <a:chExt cx="353391" cy="127211"/>
            </a:xfrm>
            <a:noFill/>
          </p:grpSpPr>
          <p:sp>
            <p:nvSpPr>
              <p:cNvPr id="2121" name="Forma livre: Forma 2120">
                <a:extLst>
                  <a:ext uri="{FF2B5EF4-FFF2-40B4-BE49-F238E27FC236}">
                    <a16:creationId xmlns:a16="http://schemas.microsoft.com/office/drawing/2014/main" id="{EACCE203-664A-0F1D-225C-57120A7BBAF4}"/>
                  </a:ext>
                </a:extLst>
              </p:cNvPr>
              <p:cNvSpPr/>
              <p:nvPr/>
            </p:nvSpPr>
            <p:spPr>
              <a:xfrm>
                <a:off x="9327366" y="3756359"/>
                <a:ext cx="176695" cy="127211"/>
              </a:xfrm>
              <a:custGeom>
                <a:avLst/>
                <a:gdLst>
                  <a:gd name="connsiteX0" fmla="*/ 36285 w 176695"/>
                  <a:gd name="connsiteY0" fmla="*/ 0 h 127211"/>
                  <a:gd name="connsiteX1" fmla="*/ 176696 w 176695"/>
                  <a:gd name="connsiteY1" fmla="*/ 74393 h 127211"/>
                  <a:gd name="connsiteX2" fmla="*/ 140423 w 176695"/>
                  <a:gd name="connsiteY2" fmla="*/ 127212 h 127211"/>
                  <a:gd name="connsiteX3" fmla="*/ 0 w 176695"/>
                  <a:gd name="connsiteY3" fmla="*/ 52784 h 127211"/>
                  <a:gd name="connsiteX4" fmla="*/ 36285 w 176695"/>
                  <a:gd name="connsiteY4" fmla="*/ 0 h 1272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6695" h="127211">
                    <a:moveTo>
                      <a:pt x="36285" y="0"/>
                    </a:moveTo>
                    <a:lnTo>
                      <a:pt x="176696" y="74393"/>
                    </a:lnTo>
                    <a:lnTo>
                      <a:pt x="140423" y="127212"/>
                    </a:lnTo>
                    <a:lnTo>
                      <a:pt x="0" y="52784"/>
                    </a:lnTo>
                    <a:lnTo>
                      <a:pt x="36285" y="0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122" name="Forma livre: Forma 2121">
                <a:extLst>
                  <a:ext uri="{FF2B5EF4-FFF2-40B4-BE49-F238E27FC236}">
                    <a16:creationId xmlns:a16="http://schemas.microsoft.com/office/drawing/2014/main" id="{A73BC56D-1180-F9BC-94F1-C596EAA043A8}"/>
                  </a:ext>
                </a:extLst>
              </p:cNvPr>
              <p:cNvSpPr/>
              <p:nvPr/>
            </p:nvSpPr>
            <p:spPr>
              <a:xfrm>
                <a:off x="9504062" y="3756359"/>
                <a:ext cx="176695" cy="127211"/>
              </a:xfrm>
              <a:custGeom>
                <a:avLst/>
                <a:gdLst>
                  <a:gd name="connsiteX0" fmla="*/ 140423 w 176695"/>
                  <a:gd name="connsiteY0" fmla="*/ 0 h 127211"/>
                  <a:gd name="connsiteX1" fmla="*/ 0 w 176695"/>
                  <a:gd name="connsiteY1" fmla="*/ 74393 h 127211"/>
                  <a:gd name="connsiteX2" fmla="*/ 36285 w 176695"/>
                  <a:gd name="connsiteY2" fmla="*/ 127212 h 127211"/>
                  <a:gd name="connsiteX3" fmla="*/ 176696 w 176695"/>
                  <a:gd name="connsiteY3" fmla="*/ 52784 h 127211"/>
                  <a:gd name="connsiteX4" fmla="*/ 140423 w 176695"/>
                  <a:gd name="connsiteY4" fmla="*/ 0 h 1272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6695" h="127211">
                    <a:moveTo>
                      <a:pt x="140423" y="0"/>
                    </a:moveTo>
                    <a:lnTo>
                      <a:pt x="0" y="74393"/>
                    </a:lnTo>
                    <a:lnTo>
                      <a:pt x="36285" y="127212"/>
                    </a:lnTo>
                    <a:lnTo>
                      <a:pt x="176696" y="52784"/>
                    </a:lnTo>
                    <a:lnTo>
                      <a:pt x="140423" y="0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2123" name="Forma livre: Forma 2122">
              <a:extLst>
                <a:ext uri="{FF2B5EF4-FFF2-40B4-BE49-F238E27FC236}">
                  <a16:creationId xmlns:a16="http://schemas.microsoft.com/office/drawing/2014/main" id="{3B682BB1-7BD8-4873-4C5B-6627A704D46A}"/>
                </a:ext>
              </a:extLst>
            </p:cNvPr>
            <p:cNvSpPr/>
            <p:nvPr/>
          </p:nvSpPr>
          <p:spPr>
            <a:xfrm>
              <a:off x="9363651" y="3685111"/>
              <a:ext cx="280833" cy="71247"/>
            </a:xfrm>
            <a:custGeom>
              <a:avLst/>
              <a:gdLst>
                <a:gd name="connsiteX0" fmla="*/ 280834 w 280833"/>
                <a:gd name="connsiteY0" fmla="*/ 71248 h 71247"/>
                <a:gd name="connsiteX1" fmla="*/ 140411 w 280833"/>
                <a:gd name="connsiteY1" fmla="*/ 0 h 71247"/>
                <a:gd name="connsiteX2" fmla="*/ 0 w 280833"/>
                <a:gd name="connsiteY2" fmla="*/ 71248 h 712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80833" h="71247">
                  <a:moveTo>
                    <a:pt x="280834" y="71248"/>
                  </a:moveTo>
                  <a:lnTo>
                    <a:pt x="140411" y="0"/>
                  </a:lnTo>
                  <a:lnTo>
                    <a:pt x="0" y="71248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24" name="Forma livre: Forma 2123">
              <a:extLst>
                <a:ext uri="{FF2B5EF4-FFF2-40B4-BE49-F238E27FC236}">
                  <a16:creationId xmlns:a16="http://schemas.microsoft.com/office/drawing/2014/main" id="{8D01FFB3-56BA-413D-4F27-D4AF9684E882}"/>
                </a:ext>
              </a:extLst>
            </p:cNvPr>
            <p:cNvSpPr/>
            <p:nvPr/>
          </p:nvSpPr>
          <p:spPr>
            <a:xfrm>
              <a:off x="9504062" y="3688340"/>
              <a:ext cx="1191" cy="102398"/>
            </a:xfrm>
            <a:custGeom>
              <a:avLst/>
              <a:gdLst>
                <a:gd name="connsiteX0" fmla="*/ 0 w 1191"/>
                <a:gd name="connsiteY0" fmla="*/ 0 h 102398"/>
                <a:gd name="connsiteX1" fmla="*/ 0 w 1191"/>
                <a:gd name="connsiteY1" fmla="*/ 102399 h 1023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91" h="102398">
                  <a:moveTo>
                    <a:pt x="0" y="0"/>
                  </a:moveTo>
                  <a:lnTo>
                    <a:pt x="0" y="102399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2125" name="Gráfico 18">
            <a:extLst>
              <a:ext uri="{FF2B5EF4-FFF2-40B4-BE49-F238E27FC236}">
                <a16:creationId xmlns:a16="http://schemas.microsoft.com/office/drawing/2014/main" id="{290B91FA-340F-3428-0B78-AA854F0B3A65}"/>
              </a:ext>
            </a:extLst>
          </p:cNvPr>
          <p:cNvGrpSpPr/>
          <p:nvPr/>
        </p:nvGrpSpPr>
        <p:grpSpPr>
          <a:xfrm>
            <a:off x="9336467" y="5237315"/>
            <a:ext cx="335201" cy="376299"/>
            <a:chOff x="9336467" y="5237315"/>
            <a:chExt cx="335201" cy="376299"/>
          </a:xfrm>
          <a:noFill/>
        </p:grpSpPr>
        <p:grpSp>
          <p:nvGrpSpPr>
            <p:cNvPr id="2126" name="Gráfico 18">
              <a:extLst>
                <a:ext uri="{FF2B5EF4-FFF2-40B4-BE49-F238E27FC236}">
                  <a16:creationId xmlns:a16="http://schemas.microsoft.com/office/drawing/2014/main" id="{FBC7140A-FE0E-543C-A389-97B342A6AAC6}"/>
                </a:ext>
              </a:extLst>
            </p:cNvPr>
            <p:cNvGrpSpPr/>
            <p:nvPr/>
          </p:nvGrpSpPr>
          <p:grpSpPr>
            <a:xfrm>
              <a:off x="9336467" y="5237315"/>
              <a:ext cx="335201" cy="376299"/>
              <a:chOff x="9336467" y="5237315"/>
              <a:chExt cx="335201" cy="376299"/>
            </a:xfrm>
            <a:noFill/>
          </p:grpSpPr>
          <p:grpSp>
            <p:nvGrpSpPr>
              <p:cNvPr id="2127" name="Gráfico 18">
                <a:extLst>
                  <a:ext uri="{FF2B5EF4-FFF2-40B4-BE49-F238E27FC236}">
                    <a16:creationId xmlns:a16="http://schemas.microsoft.com/office/drawing/2014/main" id="{C600E029-8365-5311-5BB6-5ECFC5E8A3CD}"/>
                  </a:ext>
                </a:extLst>
              </p:cNvPr>
              <p:cNvGrpSpPr/>
              <p:nvPr/>
            </p:nvGrpSpPr>
            <p:grpSpPr>
              <a:xfrm>
                <a:off x="9336467" y="5368803"/>
                <a:ext cx="335201" cy="34545"/>
                <a:chOff x="9336467" y="5368803"/>
                <a:chExt cx="335201" cy="34545"/>
              </a:xfrm>
              <a:noFill/>
            </p:grpSpPr>
            <p:sp>
              <p:nvSpPr>
                <p:cNvPr id="2128" name="Forma livre: Forma 2127">
                  <a:extLst>
                    <a:ext uri="{FF2B5EF4-FFF2-40B4-BE49-F238E27FC236}">
                      <a16:creationId xmlns:a16="http://schemas.microsoft.com/office/drawing/2014/main" id="{5BCAB1ED-3DE0-B91C-6DC2-27C724246C16}"/>
                    </a:ext>
                  </a:extLst>
                </p:cNvPr>
                <p:cNvSpPr/>
                <p:nvPr/>
              </p:nvSpPr>
              <p:spPr>
                <a:xfrm>
                  <a:off x="9374872" y="5396940"/>
                  <a:ext cx="12293" cy="6313"/>
                </a:xfrm>
                <a:custGeom>
                  <a:avLst/>
                  <a:gdLst>
                    <a:gd name="connsiteX0" fmla="*/ 12294 w 12293"/>
                    <a:gd name="connsiteY0" fmla="*/ 0 h 6313"/>
                    <a:gd name="connsiteX1" fmla="*/ 0 w 12293"/>
                    <a:gd name="connsiteY1" fmla="*/ 6314 h 631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2293" h="6313">
                      <a:moveTo>
                        <a:pt x="12294" y="0"/>
                      </a:moveTo>
                      <a:lnTo>
                        <a:pt x="0" y="6314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grpSp>
              <p:nvGrpSpPr>
                <p:cNvPr id="2129" name="Gráfico 18">
                  <a:extLst>
                    <a:ext uri="{FF2B5EF4-FFF2-40B4-BE49-F238E27FC236}">
                      <a16:creationId xmlns:a16="http://schemas.microsoft.com/office/drawing/2014/main" id="{98D4C8E9-55EB-7DDD-2A1A-12155CED50B6}"/>
                    </a:ext>
                  </a:extLst>
                </p:cNvPr>
                <p:cNvGrpSpPr/>
                <p:nvPr/>
              </p:nvGrpSpPr>
              <p:grpSpPr>
                <a:xfrm>
                  <a:off x="9336467" y="5368803"/>
                  <a:ext cx="335201" cy="34545"/>
                  <a:chOff x="9336467" y="5368803"/>
                  <a:chExt cx="335201" cy="34545"/>
                </a:xfrm>
                <a:noFill/>
              </p:grpSpPr>
              <p:sp>
                <p:nvSpPr>
                  <p:cNvPr id="2130" name="Forma livre: Forma 2129">
                    <a:extLst>
                      <a:ext uri="{FF2B5EF4-FFF2-40B4-BE49-F238E27FC236}">
                        <a16:creationId xmlns:a16="http://schemas.microsoft.com/office/drawing/2014/main" id="{B9C5E394-3C75-01D5-3ADD-A81DB3FFDD5E}"/>
                      </a:ext>
                    </a:extLst>
                  </p:cNvPr>
                  <p:cNvSpPr/>
                  <p:nvPr/>
                </p:nvSpPr>
                <p:spPr>
                  <a:xfrm>
                    <a:off x="9336467" y="5368946"/>
                    <a:ext cx="50973" cy="34402"/>
                  </a:xfrm>
                  <a:custGeom>
                    <a:avLst/>
                    <a:gdLst>
                      <a:gd name="connsiteX0" fmla="*/ 50973 w 50973"/>
                      <a:gd name="connsiteY0" fmla="*/ 0 h 34402"/>
                      <a:gd name="connsiteX1" fmla="*/ 0 w 50973"/>
                      <a:gd name="connsiteY1" fmla="*/ 26136 h 34402"/>
                      <a:gd name="connsiteX2" fmla="*/ 38858 w 50973"/>
                      <a:gd name="connsiteY2" fmla="*/ 34403 h 3440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</a:cxnLst>
                    <a:rect l="l" t="t" r="r" b="b"/>
                    <a:pathLst>
                      <a:path w="50973" h="34402">
                        <a:moveTo>
                          <a:pt x="50973" y="0"/>
                        </a:moveTo>
                        <a:lnTo>
                          <a:pt x="0" y="26136"/>
                        </a:lnTo>
                        <a:lnTo>
                          <a:pt x="38858" y="34403"/>
                        </a:lnTo>
                      </a:path>
                    </a:pathLst>
                  </a:custGeom>
                  <a:noFill/>
                  <a:ln w="6350" cap="rnd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2131" name="Forma livre: Forma 2130">
                    <a:extLst>
                      <a:ext uri="{FF2B5EF4-FFF2-40B4-BE49-F238E27FC236}">
                        <a16:creationId xmlns:a16="http://schemas.microsoft.com/office/drawing/2014/main" id="{E281EAEC-BABB-A9AB-1711-DEA7610632A1}"/>
                      </a:ext>
                    </a:extLst>
                  </p:cNvPr>
                  <p:cNvSpPr/>
                  <p:nvPr/>
                </p:nvSpPr>
                <p:spPr>
                  <a:xfrm>
                    <a:off x="9620362" y="5368803"/>
                    <a:ext cx="51306" cy="34545"/>
                  </a:xfrm>
                  <a:custGeom>
                    <a:avLst/>
                    <a:gdLst>
                      <a:gd name="connsiteX0" fmla="*/ 0 w 51306"/>
                      <a:gd name="connsiteY0" fmla="*/ 0 h 34545"/>
                      <a:gd name="connsiteX1" fmla="*/ 51306 w 51306"/>
                      <a:gd name="connsiteY1" fmla="*/ 26279 h 34545"/>
                      <a:gd name="connsiteX2" fmla="*/ 12448 w 51306"/>
                      <a:gd name="connsiteY2" fmla="*/ 34546 h 3454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</a:cxnLst>
                    <a:rect l="l" t="t" r="r" b="b"/>
                    <a:pathLst>
                      <a:path w="51306" h="34545">
                        <a:moveTo>
                          <a:pt x="0" y="0"/>
                        </a:moveTo>
                        <a:lnTo>
                          <a:pt x="51306" y="26279"/>
                        </a:lnTo>
                        <a:lnTo>
                          <a:pt x="12448" y="34546"/>
                        </a:lnTo>
                      </a:path>
                    </a:pathLst>
                  </a:custGeom>
                  <a:noFill/>
                  <a:ln w="6350" cap="rnd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  <p:sp>
              <p:nvSpPr>
                <p:cNvPr id="2132" name="Forma livre: Forma 2131">
                  <a:extLst>
                    <a:ext uri="{FF2B5EF4-FFF2-40B4-BE49-F238E27FC236}">
                      <a16:creationId xmlns:a16="http://schemas.microsoft.com/office/drawing/2014/main" id="{ADF1963B-7983-E4BA-C2DA-5A5F72F7C910}"/>
                    </a:ext>
                  </a:extLst>
                </p:cNvPr>
                <p:cNvSpPr/>
                <p:nvPr/>
              </p:nvSpPr>
              <p:spPr>
                <a:xfrm>
                  <a:off x="9621303" y="5397321"/>
                  <a:ext cx="11566" cy="5932"/>
                </a:xfrm>
                <a:custGeom>
                  <a:avLst/>
                  <a:gdLst>
                    <a:gd name="connsiteX0" fmla="*/ 0 w 11566"/>
                    <a:gd name="connsiteY0" fmla="*/ 0 h 5932"/>
                    <a:gd name="connsiteX1" fmla="*/ 11567 w 11566"/>
                    <a:gd name="connsiteY1" fmla="*/ 5932 h 593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1566" h="5932">
                      <a:moveTo>
                        <a:pt x="0" y="0"/>
                      </a:moveTo>
                      <a:lnTo>
                        <a:pt x="11567" y="5932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2133" name="Gráfico 18">
                <a:extLst>
                  <a:ext uri="{FF2B5EF4-FFF2-40B4-BE49-F238E27FC236}">
                    <a16:creationId xmlns:a16="http://schemas.microsoft.com/office/drawing/2014/main" id="{8045D3DE-0545-2C79-314D-386C80B63C97}"/>
                  </a:ext>
                </a:extLst>
              </p:cNvPr>
              <p:cNvGrpSpPr/>
              <p:nvPr/>
            </p:nvGrpSpPr>
            <p:grpSpPr>
              <a:xfrm>
                <a:off x="9374872" y="5469975"/>
                <a:ext cx="258104" cy="143639"/>
                <a:chOff x="9374872" y="5469975"/>
                <a:chExt cx="258104" cy="143639"/>
              </a:xfrm>
              <a:noFill/>
            </p:grpSpPr>
            <p:sp>
              <p:nvSpPr>
                <p:cNvPr id="2134" name="Forma livre: Forma 2133">
                  <a:extLst>
                    <a:ext uri="{FF2B5EF4-FFF2-40B4-BE49-F238E27FC236}">
                      <a16:creationId xmlns:a16="http://schemas.microsoft.com/office/drawing/2014/main" id="{6D125F7E-E8D0-17CE-9140-844A03D6C2A3}"/>
                    </a:ext>
                  </a:extLst>
                </p:cNvPr>
                <p:cNvSpPr/>
                <p:nvPr/>
              </p:nvSpPr>
              <p:spPr>
                <a:xfrm>
                  <a:off x="9503919" y="5469975"/>
                  <a:ext cx="129058" cy="143639"/>
                </a:xfrm>
                <a:custGeom>
                  <a:avLst/>
                  <a:gdLst>
                    <a:gd name="connsiteX0" fmla="*/ 129058 w 129058"/>
                    <a:gd name="connsiteY0" fmla="*/ 0 h 143639"/>
                    <a:gd name="connsiteX1" fmla="*/ 129058 w 129058"/>
                    <a:gd name="connsiteY1" fmla="*/ 70080 h 143639"/>
                    <a:gd name="connsiteX2" fmla="*/ 0 w 129058"/>
                    <a:gd name="connsiteY2" fmla="*/ 143639 h 143639"/>
                    <a:gd name="connsiteX3" fmla="*/ 0 w 129058"/>
                    <a:gd name="connsiteY3" fmla="*/ 49829 h 14363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29058" h="143639">
                      <a:moveTo>
                        <a:pt x="129058" y="0"/>
                      </a:moveTo>
                      <a:lnTo>
                        <a:pt x="129058" y="70080"/>
                      </a:lnTo>
                      <a:lnTo>
                        <a:pt x="0" y="143639"/>
                      </a:lnTo>
                      <a:lnTo>
                        <a:pt x="0" y="49829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135" name="Forma livre: Forma 2134">
                  <a:extLst>
                    <a:ext uri="{FF2B5EF4-FFF2-40B4-BE49-F238E27FC236}">
                      <a16:creationId xmlns:a16="http://schemas.microsoft.com/office/drawing/2014/main" id="{C957B581-BDC2-5386-46DE-8DD49CF7AD6B}"/>
                    </a:ext>
                  </a:extLst>
                </p:cNvPr>
                <p:cNvSpPr/>
                <p:nvPr/>
              </p:nvSpPr>
              <p:spPr>
                <a:xfrm>
                  <a:off x="9374872" y="5495789"/>
                  <a:ext cx="129046" cy="117824"/>
                </a:xfrm>
                <a:custGeom>
                  <a:avLst/>
                  <a:gdLst>
                    <a:gd name="connsiteX0" fmla="*/ 129046 w 129046"/>
                    <a:gd name="connsiteY0" fmla="*/ 117825 h 117824"/>
                    <a:gd name="connsiteX1" fmla="*/ 0 w 129046"/>
                    <a:gd name="connsiteY1" fmla="*/ 44266 h 117824"/>
                    <a:gd name="connsiteX2" fmla="*/ 0 w 129046"/>
                    <a:gd name="connsiteY2" fmla="*/ 0 h 11782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29046" h="117824">
                      <a:moveTo>
                        <a:pt x="129046" y="117825"/>
                      </a:moveTo>
                      <a:lnTo>
                        <a:pt x="0" y="44266"/>
                      </a:lnTo>
                      <a:lnTo>
                        <a:pt x="0" y="0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2136" name="Gráfico 18">
                <a:extLst>
                  <a:ext uri="{FF2B5EF4-FFF2-40B4-BE49-F238E27FC236}">
                    <a16:creationId xmlns:a16="http://schemas.microsoft.com/office/drawing/2014/main" id="{785B8886-ED42-56CA-CA3B-833053481DF6}"/>
                  </a:ext>
                </a:extLst>
              </p:cNvPr>
              <p:cNvGrpSpPr/>
              <p:nvPr/>
            </p:nvGrpSpPr>
            <p:grpSpPr>
              <a:xfrm>
                <a:off x="9341529" y="5403254"/>
                <a:ext cx="324790" cy="116955"/>
                <a:chOff x="9341529" y="5403254"/>
                <a:chExt cx="324790" cy="116955"/>
              </a:xfrm>
              <a:noFill/>
            </p:grpSpPr>
            <p:sp>
              <p:nvSpPr>
                <p:cNvPr id="2137" name="Forma livre: Forma 2136">
                  <a:extLst>
                    <a:ext uri="{FF2B5EF4-FFF2-40B4-BE49-F238E27FC236}">
                      <a16:creationId xmlns:a16="http://schemas.microsoft.com/office/drawing/2014/main" id="{CA579D81-8455-E546-809B-FD4CE632728C}"/>
                    </a:ext>
                  </a:extLst>
                </p:cNvPr>
                <p:cNvSpPr/>
                <p:nvPr/>
              </p:nvSpPr>
              <p:spPr>
                <a:xfrm>
                  <a:off x="9341529" y="5403254"/>
                  <a:ext cx="162389" cy="116955"/>
                </a:xfrm>
                <a:custGeom>
                  <a:avLst/>
                  <a:gdLst>
                    <a:gd name="connsiteX0" fmla="*/ 33343 w 162389"/>
                    <a:gd name="connsiteY0" fmla="*/ 0 h 116955"/>
                    <a:gd name="connsiteX1" fmla="*/ 162389 w 162389"/>
                    <a:gd name="connsiteY1" fmla="*/ 68401 h 116955"/>
                    <a:gd name="connsiteX2" fmla="*/ 129047 w 162389"/>
                    <a:gd name="connsiteY2" fmla="*/ 116956 h 116955"/>
                    <a:gd name="connsiteX3" fmla="*/ 0 w 162389"/>
                    <a:gd name="connsiteY3" fmla="*/ 48555 h 116955"/>
                    <a:gd name="connsiteX4" fmla="*/ 33343 w 162389"/>
                    <a:gd name="connsiteY4" fmla="*/ 0 h 11695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62389" h="116955">
                      <a:moveTo>
                        <a:pt x="33343" y="0"/>
                      </a:moveTo>
                      <a:lnTo>
                        <a:pt x="162389" y="68401"/>
                      </a:lnTo>
                      <a:lnTo>
                        <a:pt x="129047" y="116956"/>
                      </a:lnTo>
                      <a:lnTo>
                        <a:pt x="0" y="48555"/>
                      </a:lnTo>
                      <a:lnTo>
                        <a:pt x="33343" y="0"/>
                      </a:ln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138" name="Forma livre: Forma 2137">
                  <a:extLst>
                    <a:ext uri="{FF2B5EF4-FFF2-40B4-BE49-F238E27FC236}">
                      <a16:creationId xmlns:a16="http://schemas.microsoft.com/office/drawing/2014/main" id="{B8E95745-ABAE-3D35-C654-003363FD77FC}"/>
                    </a:ext>
                  </a:extLst>
                </p:cNvPr>
                <p:cNvSpPr/>
                <p:nvPr/>
              </p:nvSpPr>
              <p:spPr>
                <a:xfrm>
                  <a:off x="9503919" y="5403254"/>
                  <a:ext cx="162401" cy="116955"/>
                </a:xfrm>
                <a:custGeom>
                  <a:avLst/>
                  <a:gdLst>
                    <a:gd name="connsiteX0" fmla="*/ 129058 w 162401"/>
                    <a:gd name="connsiteY0" fmla="*/ 0 h 116955"/>
                    <a:gd name="connsiteX1" fmla="*/ 0 w 162401"/>
                    <a:gd name="connsiteY1" fmla="*/ 68401 h 116955"/>
                    <a:gd name="connsiteX2" fmla="*/ 33355 w 162401"/>
                    <a:gd name="connsiteY2" fmla="*/ 116956 h 116955"/>
                    <a:gd name="connsiteX3" fmla="*/ 162401 w 162401"/>
                    <a:gd name="connsiteY3" fmla="*/ 48555 h 116955"/>
                    <a:gd name="connsiteX4" fmla="*/ 129058 w 162401"/>
                    <a:gd name="connsiteY4" fmla="*/ 0 h 11695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62401" h="116955">
                      <a:moveTo>
                        <a:pt x="129058" y="0"/>
                      </a:moveTo>
                      <a:lnTo>
                        <a:pt x="0" y="68401"/>
                      </a:lnTo>
                      <a:lnTo>
                        <a:pt x="33355" y="116956"/>
                      </a:lnTo>
                      <a:lnTo>
                        <a:pt x="162401" y="48555"/>
                      </a:lnTo>
                      <a:lnTo>
                        <a:pt x="129058" y="0"/>
                      </a:ln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2139" name="Gráfico 18">
                <a:extLst>
                  <a:ext uri="{FF2B5EF4-FFF2-40B4-BE49-F238E27FC236}">
                    <a16:creationId xmlns:a16="http://schemas.microsoft.com/office/drawing/2014/main" id="{EB67363E-38DB-5530-0473-56A942EDD7E6}"/>
                  </a:ext>
                </a:extLst>
              </p:cNvPr>
              <p:cNvGrpSpPr/>
              <p:nvPr/>
            </p:nvGrpSpPr>
            <p:grpSpPr>
              <a:xfrm>
                <a:off x="9516236" y="5316127"/>
                <a:ext cx="103851" cy="100325"/>
                <a:chOff x="9516236" y="5316127"/>
                <a:chExt cx="103851" cy="100325"/>
              </a:xfrm>
              <a:noFill/>
            </p:grpSpPr>
            <p:grpSp>
              <p:nvGrpSpPr>
                <p:cNvPr id="2140" name="Gráfico 18">
                  <a:extLst>
                    <a:ext uri="{FF2B5EF4-FFF2-40B4-BE49-F238E27FC236}">
                      <a16:creationId xmlns:a16="http://schemas.microsoft.com/office/drawing/2014/main" id="{64BCF5A9-A594-B974-9EA6-62ED4F609EB7}"/>
                    </a:ext>
                  </a:extLst>
                </p:cNvPr>
                <p:cNvGrpSpPr/>
                <p:nvPr/>
              </p:nvGrpSpPr>
              <p:grpSpPr>
                <a:xfrm>
                  <a:off x="9560502" y="5346098"/>
                  <a:ext cx="59585" cy="70354"/>
                  <a:chOff x="9560502" y="5346098"/>
                  <a:chExt cx="59585" cy="70354"/>
                </a:xfrm>
              </p:grpSpPr>
              <p:sp>
                <p:nvSpPr>
                  <p:cNvPr id="2141" name="Forma livre: Forma 2140">
                    <a:extLst>
                      <a:ext uri="{FF2B5EF4-FFF2-40B4-BE49-F238E27FC236}">
                        <a16:creationId xmlns:a16="http://schemas.microsoft.com/office/drawing/2014/main" id="{579D96D6-2986-CB9B-99D1-70EF0B764A50}"/>
                      </a:ext>
                    </a:extLst>
                  </p:cNvPr>
                  <p:cNvSpPr/>
                  <p:nvPr/>
                </p:nvSpPr>
                <p:spPr>
                  <a:xfrm>
                    <a:off x="9560502" y="5374819"/>
                    <a:ext cx="1191" cy="41633"/>
                  </a:xfrm>
                  <a:custGeom>
                    <a:avLst/>
                    <a:gdLst>
                      <a:gd name="connsiteX0" fmla="*/ 0 w 1191"/>
                      <a:gd name="connsiteY0" fmla="*/ 41634 h 41633"/>
                      <a:gd name="connsiteX1" fmla="*/ 0 w 1191"/>
                      <a:gd name="connsiteY1" fmla="*/ 0 h 4163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191" h="41633">
                        <a:moveTo>
                          <a:pt x="0" y="41634"/>
                        </a:moveTo>
                        <a:lnTo>
                          <a:pt x="0" y="0"/>
                        </a:lnTo>
                      </a:path>
                    </a:pathLst>
                  </a:custGeom>
                  <a:ln w="6350" cap="flat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2142" name="Forma livre: Forma 2141">
                    <a:extLst>
                      <a:ext uri="{FF2B5EF4-FFF2-40B4-BE49-F238E27FC236}">
                        <a16:creationId xmlns:a16="http://schemas.microsoft.com/office/drawing/2014/main" id="{E0B91A99-2F78-D674-06C9-D67E90DAA3B5}"/>
                      </a:ext>
                    </a:extLst>
                  </p:cNvPr>
                  <p:cNvSpPr/>
                  <p:nvPr/>
                </p:nvSpPr>
                <p:spPr>
                  <a:xfrm>
                    <a:off x="9620088" y="5346098"/>
                    <a:ext cx="1191" cy="61741"/>
                  </a:xfrm>
                  <a:custGeom>
                    <a:avLst/>
                    <a:gdLst>
                      <a:gd name="connsiteX0" fmla="*/ 0 w 1191"/>
                      <a:gd name="connsiteY0" fmla="*/ 0 h 61741"/>
                      <a:gd name="connsiteX1" fmla="*/ 0 w 1191"/>
                      <a:gd name="connsiteY1" fmla="*/ 61742 h 6174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191" h="61741">
                        <a:moveTo>
                          <a:pt x="0" y="0"/>
                        </a:moveTo>
                        <a:lnTo>
                          <a:pt x="0" y="61742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  <p:sp>
              <p:nvSpPr>
                <p:cNvPr id="2143" name="Forma livre: Forma 2142">
                  <a:extLst>
                    <a:ext uri="{FF2B5EF4-FFF2-40B4-BE49-F238E27FC236}">
                      <a16:creationId xmlns:a16="http://schemas.microsoft.com/office/drawing/2014/main" id="{765AE44D-4F4D-59ED-81C7-A7783077080F}"/>
                    </a:ext>
                  </a:extLst>
                </p:cNvPr>
                <p:cNvSpPr/>
                <p:nvPr/>
              </p:nvSpPr>
              <p:spPr>
                <a:xfrm>
                  <a:off x="9516236" y="5316127"/>
                  <a:ext cx="103851" cy="57560"/>
                </a:xfrm>
                <a:custGeom>
                  <a:avLst/>
                  <a:gdLst>
                    <a:gd name="connsiteX0" fmla="*/ 18738 w 103851"/>
                    <a:gd name="connsiteY0" fmla="*/ 45255 h 57560"/>
                    <a:gd name="connsiteX1" fmla="*/ 44266 w 103851"/>
                    <a:gd name="connsiteY1" fmla="*/ 57561 h 57560"/>
                    <a:gd name="connsiteX2" fmla="*/ 103852 w 103851"/>
                    <a:gd name="connsiteY2" fmla="*/ 28852 h 57560"/>
                    <a:gd name="connsiteX3" fmla="*/ 44266 w 103851"/>
                    <a:gd name="connsiteY3" fmla="*/ 0 h 57560"/>
                    <a:gd name="connsiteX4" fmla="*/ 0 w 103851"/>
                    <a:gd name="connsiteY4" fmla="*/ 22169 h 5756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03851" h="57560">
                      <a:moveTo>
                        <a:pt x="18738" y="45255"/>
                      </a:moveTo>
                      <a:lnTo>
                        <a:pt x="44266" y="57561"/>
                      </a:lnTo>
                      <a:lnTo>
                        <a:pt x="103852" y="28852"/>
                      </a:lnTo>
                      <a:lnTo>
                        <a:pt x="44266" y="0"/>
                      </a:lnTo>
                      <a:lnTo>
                        <a:pt x="0" y="22169"/>
                      </a:ln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2144" name="Gráfico 18">
                <a:extLst>
                  <a:ext uri="{FF2B5EF4-FFF2-40B4-BE49-F238E27FC236}">
                    <a16:creationId xmlns:a16="http://schemas.microsoft.com/office/drawing/2014/main" id="{0A772510-DF64-C7BA-FF6D-00099C8A72E2}"/>
                  </a:ext>
                </a:extLst>
              </p:cNvPr>
              <p:cNvGrpSpPr/>
              <p:nvPr/>
            </p:nvGrpSpPr>
            <p:grpSpPr>
              <a:xfrm>
                <a:off x="9466335" y="5237315"/>
                <a:ext cx="92821" cy="78585"/>
                <a:chOff x="9466335" y="5237315"/>
                <a:chExt cx="92821" cy="78585"/>
              </a:xfrm>
              <a:noFill/>
            </p:grpSpPr>
            <p:grpSp>
              <p:nvGrpSpPr>
                <p:cNvPr id="2145" name="Gráfico 18">
                  <a:extLst>
                    <a:ext uri="{FF2B5EF4-FFF2-40B4-BE49-F238E27FC236}">
                      <a16:creationId xmlns:a16="http://schemas.microsoft.com/office/drawing/2014/main" id="{CA649F92-A99D-DEE2-4057-8AD093B93090}"/>
                    </a:ext>
                  </a:extLst>
                </p:cNvPr>
                <p:cNvGrpSpPr/>
                <p:nvPr/>
              </p:nvGrpSpPr>
              <p:grpSpPr>
                <a:xfrm>
                  <a:off x="9466335" y="5259221"/>
                  <a:ext cx="92821" cy="56678"/>
                  <a:chOff x="9466335" y="5259221"/>
                  <a:chExt cx="92821" cy="56678"/>
                </a:xfrm>
              </p:grpSpPr>
              <p:sp>
                <p:nvSpPr>
                  <p:cNvPr id="2146" name="Forma livre: Forma 2145">
                    <a:extLst>
                      <a:ext uri="{FF2B5EF4-FFF2-40B4-BE49-F238E27FC236}">
                        <a16:creationId xmlns:a16="http://schemas.microsoft.com/office/drawing/2014/main" id="{1EB40399-5D46-D02D-B648-E755C834DF48}"/>
                      </a:ext>
                    </a:extLst>
                  </p:cNvPr>
                  <p:cNvSpPr/>
                  <p:nvPr/>
                </p:nvSpPr>
                <p:spPr>
                  <a:xfrm>
                    <a:off x="9559156" y="5262080"/>
                    <a:ext cx="1191" cy="53820"/>
                  </a:xfrm>
                  <a:custGeom>
                    <a:avLst/>
                    <a:gdLst>
                      <a:gd name="connsiteX0" fmla="*/ 0 w 1191"/>
                      <a:gd name="connsiteY0" fmla="*/ 0 h 53820"/>
                      <a:gd name="connsiteX1" fmla="*/ 0 w 1191"/>
                      <a:gd name="connsiteY1" fmla="*/ 53820 h 5382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191" h="53820">
                        <a:moveTo>
                          <a:pt x="0" y="0"/>
                        </a:moveTo>
                        <a:lnTo>
                          <a:pt x="0" y="53820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2147" name="Forma livre: Forma 2146">
                    <a:extLst>
                      <a:ext uri="{FF2B5EF4-FFF2-40B4-BE49-F238E27FC236}">
                        <a16:creationId xmlns:a16="http://schemas.microsoft.com/office/drawing/2014/main" id="{A332FDA3-8A27-D29C-E898-7C799ED8666F}"/>
                      </a:ext>
                    </a:extLst>
                  </p:cNvPr>
                  <p:cNvSpPr/>
                  <p:nvPr/>
                </p:nvSpPr>
                <p:spPr>
                  <a:xfrm>
                    <a:off x="9466335" y="5259221"/>
                    <a:ext cx="1191" cy="33974"/>
                  </a:xfrm>
                  <a:custGeom>
                    <a:avLst/>
                    <a:gdLst>
                      <a:gd name="connsiteX0" fmla="*/ 0 w 1191"/>
                      <a:gd name="connsiteY0" fmla="*/ 33974 h 33974"/>
                      <a:gd name="connsiteX1" fmla="*/ 0 w 1191"/>
                      <a:gd name="connsiteY1" fmla="*/ 0 h 3397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191" h="33974">
                        <a:moveTo>
                          <a:pt x="0" y="33974"/>
                        </a:moveTo>
                        <a:lnTo>
                          <a:pt x="0" y="0"/>
                        </a:lnTo>
                      </a:path>
                    </a:pathLst>
                  </a:custGeom>
                  <a:ln w="6350" cap="flat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  <p:sp>
              <p:nvSpPr>
                <p:cNvPr id="2148" name="Forma livre: Forma 2147">
                  <a:extLst>
                    <a:ext uri="{FF2B5EF4-FFF2-40B4-BE49-F238E27FC236}">
                      <a16:creationId xmlns:a16="http://schemas.microsoft.com/office/drawing/2014/main" id="{6D1BF03D-B174-0492-393D-9EB69FADCA81}"/>
                    </a:ext>
                  </a:extLst>
                </p:cNvPr>
                <p:cNvSpPr/>
                <p:nvPr/>
              </p:nvSpPr>
              <p:spPr>
                <a:xfrm>
                  <a:off x="9466335" y="5237315"/>
                  <a:ext cx="92821" cy="44838"/>
                </a:xfrm>
                <a:custGeom>
                  <a:avLst/>
                  <a:gdLst>
                    <a:gd name="connsiteX0" fmla="*/ 46399 w 92821"/>
                    <a:gd name="connsiteY0" fmla="*/ 0 h 44838"/>
                    <a:gd name="connsiteX1" fmla="*/ 0 w 92821"/>
                    <a:gd name="connsiteY1" fmla="*/ 22467 h 44838"/>
                    <a:gd name="connsiteX2" fmla="*/ 46399 w 92821"/>
                    <a:gd name="connsiteY2" fmla="*/ 44838 h 44838"/>
                    <a:gd name="connsiteX3" fmla="*/ 92821 w 92821"/>
                    <a:gd name="connsiteY3" fmla="*/ 22467 h 44838"/>
                    <a:gd name="connsiteX4" fmla="*/ 46399 w 92821"/>
                    <a:gd name="connsiteY4" fmla="*/ 0 h 4483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92821" h="44838">
                      <a:moveTo>
                        <a:pt x="46399" y="0"/>
                      </a:moveTo>
                      <a:lnTo>
                        <a:pt x="0" y="22467"/>
                      </a:lnTo>
                      <a:lnTo>
                        <a:pt x="46399" y="44838"/>
                      </a:lnTo>
                      <a:lnTo>
                        <a:pt x="92821" y="22467"/>
                      </a:lnTo>
                      <a:lnTo>
                        <a:pt x="46399" y="0"/>
                      </a:lnTo>
                      <a:close/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2149" name="Gráfico 18">
                <a:extLst>
                  <a:ext uri="{FF2B5EF4-FFF2-40B4-BE49-F238E27FC236}">
                    <a16:creationId xmlns:a16="http://schemas.microsoft.com/office/drawing/2014/main" id="{B6D624E9-1CD5-69DA-A430-35B156431129}"/>
                  </a:ext>
                </a:extLst>
              </p:cNvPr>
              <p:cNvGrpSpPr/>
              <p:nvPr/>
            </p:nvGrpSpPr>
            <p:grpSpPr>
              <a:xfrm>
                <a:off x="9388190" y="5312887"/>
                <a:ext cx="144723" cy="141947"/>
                <a:chOff x="9388190" y="5312887"/>
                <a:chExt cx="144723" cy="141947"/>
              </a:xfrm>
              <a:noFill/>
            </p:grpSpPr>
            <p:grpSp>
              <p:nvGrpSpPr>
                <p:cNvPr id="2150" name="Gráfico 18">
                  <a:extLst>
                    <a:ext uri="{FF2B5EF4-FFF2-40B4-BE49-F238E27FC236}">
                      <a16:creationId xmlns:a16="http://schemas.microsoft.com/office/drawing/2014/main" id="{7BD37902-9327-AEF8-CBF3-D8C0C41EB877}"/>
                    </a:ext>
                  </a:extLst>
                </p:cNvPr>
                <p:cNvGrpSpPr/>
                <p:nvPr/>
              </p:nvGrpSpPr>
              <p:grpSpPr>
                <a:xfrm>
                  <a:off x="9388190" y="5349267"/>
                  <a:ext cx="144723" cy="105567"/>
                  <a:chOff x="9388190" y="5349267"/>
                  <a:chExt cx="144723" cy="105567"/>
                </a:xfrm>
              </p:grpSpPr>
              <p:sp>
                <p:nvSpPr>
                  <p:cNvPr id="2151" name="Forma livre: Forma 2150">
                    <a:extLst>
                      <a:ext uri="{FF2B5EF4-FFF2-40B4-BE49-F238E27FC236}">
                        <a16:creationId xmlns:a16="http://schemas.microsoft.com/office/drawing/2014/main" id="{DF7284FC-92BB-AF22-154D-AC1E95495AFB}"/>
                      </a:ext>
                    </a:extLst>
                  </p:cNvPr>
                  <p:cNvSpPr/>
                  <p:nvPr/>
                </p:nvSpPr>
                <p:spPr>
                  <a:xfrm>
                    <a:off x="9460546" y="5384158"/>
                    <a:ext cx="1191" cy="39441"/>
                  </a:xfrm>
                  <a:custGeom>
                    <a:avLst/>
                    <a:gdLst>
                      <a:gd name="connsiteX0" fmla="*/ 0 w 1191"/>
                      <a:gd name="connsiteY0" fmla="*/ 39442 h 39441"/>
                      <a:gd name="connsiteX1" fmla="*/ 0 w 1191"/>
                      <a:gd name="connsiteY1" fmla="*/ 0 h 3944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191" h="39441">
                        <a:moveTo>
                          <a:pt x="0" y="39442"/>
                        </a:moveTo>
                        <a:lnTo>
                          <a:pt x="0" y="0"/>
                        </a:lnTo>
                      </a:path>
                    </a:pathLst>
                  </a:custGeom>
                  <a:ln w="6350" cap="flat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2152" name="Forma livre: Forma 2151">
                    <a:extLst>
                      <a:ext uri="{FF2B5EF4-FFF2-40B4-BE49-F238E27FC236}">
                        <a16:creationId xmlns:a16="http://schemas.microsoft.com/office/drawing/2014/main" id="{5285232F-983B-D91D-DFE5-B4D3E0BC70E5}"/>
                      </a:ext>
                    </a:extLst>
                  </p:cNvPr>
                  <p:cNvSpPr/>
                  <p:nvPr/>
                </p:nvSpPr>
                <p:spPr>
                  <a:xfrm>
                    <a:off x="9532913" y="5349267"/>
                    <a:ext cx="1191" cy="105567"/>
                  </a:xfrm>
                  <a:custGeom>
                    <a:avLst/>
                    <a:gdLst>
                      <a:gd name="connsiteX0" fmla="*/ 0 w 1191"/>
                      <a:gd name="connsiteY0" fmla="*/ 0 h 105567"/>
                      <a:gd name="connsiteX1" fmla="*/ 0 w 1191"/>
                      <a:gd name="connsiteY1" fmla="*/ 105567 h 10556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191" h="105567">
                        <a:moveTo>
                          <a:pt x="0" y="0"/>
                        </a:moveTo>
                        <a:lnTo>
                          <a:pt x="0" y="105567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2153" name="Forma livre: Forma 2152">
                    <a:extLst>
                      <a:ext uri="{FF2B5EF4-FFF2-40B4-BE49-F238E27FC236}">
                        <a16:creationId xmlns:a16="http://schemas.microsoft.com/office/drawing/2014/main" id="{DC8F9784-72F1-40F1-37F7-BBA15F7EDD76}"/>
                      </a:ext>
                    </a:extLst>
                  </p:cNvPr>
                  <p:cNvSpPr/>
                  <p:nvPr/>
                </p:nvSpPr>
                <p:spPr>
                  <a:xfrm>
                    <a:off x="9388190" y="5349267"/>
                    <a:ext cx="1191" cy="57858"/>
                  </a:xfrm>
                  <a:custGeom>
                    <a:avLst/>
                    <a:gdLst>
                      <a:gd name="connsiteX0" fmla="*/ 0 w 1191"/>
                      <a:gd name="connsiteY0" fmla="*/ 57858 h 57858"/>
                      <a:gd name="connsiteX1" fmla="*/ 0 w 1191"/>
                      <a:gd name="connsiteY1" fmla="*/ 0 h 5785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191" h="57858">
                        <a:moveTo>
                          <a:pt x="0" y="57858"/>
                        </a:moveTo>
                        <a:lnTo>
                          <a:pt x="0" y="0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  <p:sp>
              <p:nvSpPr>
                <p:cNvPr id="2154" name="Forma livre: Forma 2153">
                  <a:extLst>
                    <a:ext uri="{FF2B5EF4-FFF2-40B4-BE49-F238E27FC236}">
                      <a16:creationId xmlns:a16="http://schemas.microsoft.com/office/drawing/2014/main" id="{5845EE29-07C3-96A6-BC74-35962345E2E1}"/>
                    </a:ext>
                  </a:extLst>
                </p:cNvPr>
                <p:cNvSpPr/>
                <p:nvPr/>
              </p:nvSpPr>
              <p:spPr>
                <a:xfrm>
                  <a:off x="9388190" y="5312887"/>
                  <a:ext cx="144723" cy="69889"/>
                </a:xfrm>
                <a:custGeom>
                  <a:avLst/>
                  <a:gdLst>
                    <a:gd name="connsiteX0" fmla="*/ 72356 w 144723"/>
                    <a:gd name="connsiteY0" fmla="*/ 0 h 69889"/>
                    <a:gd name="connsiteX1" fmla="*/ 0 w 144723"/>
                    <a:gd name="connsiteY1" fmla="*/ 35034 h 69889"/>
                    <a:gd name="connsiteX2" fmla="*/ 72356 w 144723"/>
                    <a:gd name="connsiteY2" fmla="*/ 69890 h 69889"/>
                    <a:gd name="connsiteX3" fmla="*/ 144723 w 144723"/>
                    <a:gd name="connsiteY3" fmla="*/ 35034 h 69889"/>
                    <a:gd name="connsiteX4" fmla="*/ 72356 w 144723"/>
                    <a:gd name="connsiteY4" fmla="*/ 0 h 6988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44723" h="69889">
                      <a:moveTo>
                        <a:pt x="72356" y="0"/>
                      </a:moveTo>
                      <a:lnTo>
                        <a:pt x="0" y="35034"/>
                      </a:lnTo>
                      <a:lnTo>
                        <a:pt x="72356" y="69890"/>
                      </a:lnTo>
                      <a:lnTo>
                        <a:pt x="144723" y="35034"/>
                      </a:lnTo>
                      <a:lnTo>
                        <a:pt x="72356" y="0"/>
                      </a:lnTo>
                      <a:close/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sp>
          <p:nvSpPr>
            <p:cNvPr id="2155" name="Forma livre: Forma 2154">
              <a:extLst>
                <a:ext uri="{FF2B5EF4-FFF2-40B4-BE49-F238E27FC236}">
                  <a16:creationId xmlns:a16="http://schemas.microsoft.com/office/drawing/2014/main" id="{CA0EC5C6-79EF-2D90-DD15-F15075DD891F}"/>
                </a:ext>
              </a:extLst>
            </p:cNvPr>
            <p:cNvSpPr/>
            <p:nvPr/>
          </p:nvSpPr>
          <p:spPr>
            <a:xfrm>
              <a:off x="9512734" y="5283034"/>
              <a:ext cx="1191" cy="30400"/>
            </a:xfrm>
            <a:custGeom>
              <a:avLst/>
              <a:gdLst>
                <a:gd name="connsiteX0" fmla="*/ 0 w 1191"/>
                <a:gd name="connsiteY0" fmla="*/ 30400 h 30400"/>
                <a:gd name="connsiteX1" fmla="*/ 0 w 1191"/>
                <a:gd name="connsiteY1" fmla="*/ 0 h 30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91" h="30400">
                  <a:moveTo>
                    <a:pt x="0" y="30400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2156" name="Gráfico 18">
            <a:extLst>
              <a:ext uri="{FF2B5EF4-FFF2-40B4-BE49-F238E27FC236}">
                <a16:creationId xmlns:a16="http://schemas.microsoft.com/office/drawing/2014/main" id="{313DED6D-DAD0-2C61-2394-965D44CEDFD1}"/>
              </a:ext>
            </a:extLst>
          </p:cNvPr>
          <p:cNvGrpSpPr/>
          <p:nvPr/>
        </p:nvGrpSpPr>
        <p:grpSpPr>
          <a:xfrm>
            <a:off x="9353001" y="5805224"/>
            <a:ext cx="302133" cy="300691"/>
            <a:chOff x="9353001" y="5805224"/>
            <a:chExt cx="302133" cy="300691"/>
          </a:xfrm>
          <a:noFill/>
        </p:grpSpPr>
        <p:sp>
          <p:nvSpPr>
            <p:cNvPr id="2157" name="Forma livre: Forma 2156">
              <a:extLst>
                <a:ext uri="{FF2B5EF4-FFF2-40B4-BE49-F238E27FC236}">
                  <a16:creationId xmlns:a16="http://schemas.microsoft.com/office/drawing/2014/main" id="{1955BFF9-48CF-2DA1-7E5B-7D8EDB20DACC}"/>
                </a:ext>
              </a:extLst>
            </p:cNvPr>
            <p:cNvSpPr/>
            <p:nvPr/>
          </p:nvSpPr>
          <p:spPr>
            <a:xfrm>
              <a:off x="9504062" y="5938869"/>
              <a:ext cx="1191" cy="165796"/>
            </a:xfrm>
            <a:custGeom>
              <a:avLst/>
              <a:gdLst>
                <a:gd name="connsiteX0" fmla="*/ 0 w 1191"/>
                <a:gd name="connsiteY0" fmla="*/ 0 h 165796"/>
                <a:gd name="connsiteX1" fmla="*/ 0 w 1191"/>
                <a:gd name="connsiteY1" fmla="*/ 165796 h 1657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91" h="165796">
                  <a:moveTo>
                    <a:pt x="0" y="0"/>
                  </a:moveTo>
                  <a:lnTo>
                    <a:pt x="0" y="165796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58" name="Forma livre: Forma 2157">
              <a:extLst>
                <a:ext uri="{FF2B5EF4-FFF2-40B4-BE49-F238E27FC236}">
                  <a16:creationId xmlns:a16="http://schemas.microsoft.com/office/drawing/2014/main" id="{1A1F0203-6DFA-C561-6180-2DE3EDA3AEDD}"/>
                </a:ext>
              </a:extLst>
            </p:cNvPr>
            <p:cNvSpPr/>
            <p:nvPr/>
          </p:nvSpPr>
          <p:spPr>
            <a:xfrm>
              <a:off x="9353073" y="5859020"/>
              <a:ext cx="301990" cy="246895"/>
            </a:xfrm>
            <a:custGeom>
              <a:avLst/>
              <a:gdLst>
                <a:gd name="connsiteX0" fmla="*/ 0 w 301990"/>
                <a:gd name="connsiteY0" fmla="*/ 0 h 246895"/>
                <a:gd name="connsiteX1" fmla="*/ 0 w 301990"/>
                <a:gd name="connsiteY1" fmla="*/ 190395 h 246895"/>
                <a:gd name="connsiteX2" fmla="*/ 150989 w 301990"/>
                <a:gd name="connsiteY2" fmla="*/ 246895 h 246895"/>
                <a:gd name="connsiteX3" fmla="*/ 301990 w 301990"/>
                <a:gd name="connsiteY3" fmla="*/ 190395 h 246895"/>
                <a:gd name="connsiteX4" fmla="*/ 301990 w 301990"/>
                <a:gd name="connsiteY4" fmla="*/ 0 h 2468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01990" h="246895">
                  <a:moveTo>
                    <a:pt x="0" y="0"/>
                  </a:moveTo>
                  <a:lnTo>
                    <a:pt x="0" y="190395"/>
                  </a:lnTo>
                  <a:lnTo>
                    <a:pt x="150989" y="246895"/>
                  </a:lnTo>
                  <a:lnTo>
                    <a:pt x="301990" y="190395"/>
                  </a:lnTo>
                  <a:lnTo>
                    <a:pt x="301990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2159" name="Gráfico 18">
              <a:extLst>
                <a:ext uri="{FF2B5EF4-FFF2-40B4-BE49-F238E27FC236}">
                  <a16:creationId xmlns:a16="http://schemas.microsoft.com/office/drawing/2014/main" id="{482DB7FA-3B0F-3CBC-D387-7F6D8B211407}"/>
                </a:ext>
              </a:extLst>
            </p:cNvPr>
            <p:cNvGrpSpPr/>
            <p:nvPr/>
          </p:nvGrpSpPr>
          <p:grpSpPr>
            <a:xfrm>
              <a:off x="9353001" y="5805224"/>
              <a:ext cx="302133" cy="107270"/>
              <a:chOff x="9353001" y="5805224"/>
              <a:chExt cx="302133" cy="107270"/>
            </a:xfrm>
            <a:noFill/>
          </p:grpSpPr>
          <p:sp>
            <p:nvSpPr>
              <p:cNvPr id="2160" name="Forma livre: Forma 2159">
                <a:extLst>
                  <a:ext uri="{FF2B5EF4-FFF2-40B4-BE49-F238E27FC236}">
                    <a16:creationId xmlns:a16="http://schemas.microsoft.com/office/drawing/2014/main" id="{08EE48F1-F22D-00D7-1F07-04CDD2331240}"/>
                  </a:ext>
                </a:extLst>
              </p:cNvPr>
              <p:cNvSpPr/>
              <p:nvPr/>
            </p:nvSpPr>
            <p:spPr>
              <a:xfrm>
                <a:off x="9353001" y="5805224"/>
                <a:ext cx="302133" cy="107270"/>
              </a:xfrm>
              <a:custGeom>
                <a:avLst/>
                <a:gdLst>
                  <a:gd name="connsiteX0" fmla="*/ 66900 w 302133"/>
                  <a:gd name="connsiteY0" fmla="*/ 77383 h 107270"/>
                  <a:gd name="connsiteX1" fmla="*/ 151061 w 302133"/>
                  <a:gd name="connsiteY1" fmla="*/ 107271 h 107270"/>
                  <a:gd name="connsiteX2" fmla="*/ 302050 w 302133"/>
                  <a:gd name="connsiteY2" fmla="*/ 53653 h 107270"/>
                  <a:gd name="connsiteX3" fmla="*/ 302133 w 302133"/>
                  <a:gd name="connsiteY3" fmla="*/ 53653 h 107270"/>
                  <a:gd name="connsiteX4" fmla="*/ 151073 w 302133"/>
                  <a:gd name="connsiteY4" fmla="*/ 0 h 107270"/>
                  <a:gd name="connsiteX5" fmla="*/ 0 w 302133"/>
                  <a:gd name="connsiteY5" fmla="*/ 53653 h 107270"/>
                  <a:gd name="connsiteX6" fmla="*/ 72 w 302133"/>
                  <a:gd name="connsiteY6" fmla="*/ 53653 h 107270"/>
                  <a:gd name="connsiteX7" fmla="*/ 43992 w 302133"/>
                  <a:gd name="connsiteY7" fmla="*/ 69258 h 1072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02133" h="107270">
                    <a:moveTo>
                      <a:pt x="66900" y="77383"/>
                    </a:moveTo>
                    <a:lnTo>
                      <a:pt x="151061" y="107271"/>
                    </a:lnTo>
                    <a:lnTo>
                      <a:pt x="302050" y="53653"/>
                    </a:lnTo>
                    <a:lnTo>
                      <a:pt x="302133" y="53653"/>
                    </a:lnTo>
                    <a:lnTo>
                      <a:pt x="151073" y="0"/>
                    </a:lnTo>
                    <a:lnTo>
                      <a:pt x="0" y="53653"/>
                    </a:lnTo>
                    <a:lnTo>
                      <a:pt x="72" y="53653"/>
                    </a:lnTo>
                    <a:lnTo>
                      <a:pt x="43992" y="69258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161" name="Forma livre: Forma 2160">
                <a:extLst>
                  <a:ext uri="{FF2B5EF4-FFF2-40B4-BE49-F238E27FC236}">
                    <a16:creationId xmlns:a16="http://schemas.microsoft.com/office/drawing/2014/main" id="{C1A8176D-CCB5-CD2A-8A23-F231B862653C}"/>
                  </a:ext>
                </a:extLst>
              </p:cNvPr>
              <p:cNvSpPr/>
              <p:nvPr/>
            </p:nvSpPr>
            <p:spPr>
              <a:xfrm>
                <a:off x="9429181" y="5831562"/>
                <a:ext cx="151060" cy="53617"/>
              </a:xfrm>
              <a:custGeom>
                <a:avLst/>
                <a:gdLst>
                  <a:gd name="connsiteX0" fmla="*/ 0 w 151060"/>
                  <a:gd name="connsiteY0" fmla="*/ 0 h 53617"/>
                  <a:gd name="connsiteX1" fmla="*/ 71 w 151060"/>
                  <a:gd name="connsiteY1" fmla="*/ 0 h 53617"/>
                  <a:gd name="connsiteX2" fmla="*/ 151060 w 151060"/>
                  <a:gd name="connsiteY2" fmla="*/ 53618 h 536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51060" h="53617">
                    <a:moveTo>
                      <a:pt x="0" y="0"/>
                    </a:moveTo>
                    <a:lnTo>
                      <a:pt x="71" y="0"/>
                    </a:lnTo>
                    <a:lnTo>
                      <a:pt x="151060" y="53618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2162" name="Gráfico 18">
            <a:extLst>
              <a:ext uri="{FF2B5EF4-FFF2-40B4-BE49-F238E27FC236}">
                <a16:creationId xmlns:a16="http://schemas.microsoft.com/office/drawing/2014/main" id="{02A0A7A3-987A-CA16-44C0-46F9F4F8003F}"/>
              </a:ext>
            </a:extLst>
          </p:cNvPr>
          <p:cNvGrpSpPr/>
          <p:nvPr/>
        </p:nvGrpSpPr>
        <p:grpSpPr>
          <a:xfrm>
            <a:off x="9334775" y="4174149"/>
            <a:ext cx="338584" cy="382219"/>
            <a:chOff x="9334775" y="4174149"/>
            <a:chExt cx="338584" cy="382219"/>
          </a:xfrm>
          <a:noFill/>
        </p:grpSpPr>
        <p:sp>
          <p:nvSpPr>
            <p:cNvPr id="2163" name="Forma livre: Forma 2162">
              <a:extLst>
                <a:ext uri="{FF2B5EF4-FFF2-40B4-BE49-F238E27FC236}">
                  <a16:creationId xmlns:a16="http://schemas.microsoft.com/office/drawing/2014/main" id="{FEF3ABBB-FB7D-9348-CD7A-5FE51D9C3844}"/>
                </a:ext>
              </a:extLst>
            </p:cNvPr>
            <p:cNvSpPr/>
            <p:nvPr/>
          </p:nvSpPr>
          <p:spPr>
            <a:xfrm>
              <a:off x="9503859" y="4363806"/>
              <a:ext cx="1191" cy="35737"/>
            </a:xfrm>
            <a:custGeom>
              <a:avLst/>
              <a:gdLst>
                <a:gd name="connsiteX0" fmla="*/ 0 w 1191"/>
                <a:gd name="connsiteY0" fmla="*/ 0 h 35737"/>
                <a:gd name="connsiteX1" fmla="*/ 0 w 1191"/>
                <a:gd name="connsiteY1" fmla="*/ 35737 h 357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91" h="35737">
                  <a:moveTo>
                    <a:pt x="0" y="0"/>
                  </a:moveTo>
                  <a:lnTo>
                    <a:pt x="0" y="35737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64" name="Forma livre: Forma 2163">
              <a:extLst>
                <a:ext uri="{FF2B5EF4-FFF2-40B4-BE49-F238E27FC236}">
                  <a16:creationId xmlns:a16="http://schemas.microsoft.com/office/drawing/2014/main" id="{193B158F-9728-9E88-C7E7-FCEE0CC9C506}"/>
                </a:ext>
              </a:extLst>
            </p:cNvPr>
            <p:cNvSpPr/>
            <p:nvPr/>
          </p:nvSpPr>
          <p:spPr>
            <a:xfrm>
              <a:off x="9558584" y="4396350"/>
              <a:ext cx="1191" cy="34307"/>
            </a:xfrm>
            <a:custGeom>
              <a:avLst/>
              <a:gdLst>
                <a:gd name="connsiteX0" fmla="*/ 0 w 1191"/>
                <a:gd name="connsiteY0" fmla="*/ 0 h 34307"/>
                <a:gd name="connsiteX1" fmla="*/ 0 w 1191"/>
                <a:gd name="connsiteY1" fmla="*/ 34308 h 343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91" h="34307">
                  <a:moveTo>
                    <a:pt x="0" y="0"/>
                  </a:moveTo>
                  <a:lnTo>
                    <a:pt x="0" y="34308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65" name="Forma livre: Forma 2164">
              <a:extLst>
                <a:ext uri="{FF2B5EF4-FFF2-40B4-BE49-F238E27FC236}">
                  <a16:creationId xmlns:a16="http://schemas.microsoft.com/office/drawing/2014/main" id="{3E4EC9A3-AA89-CE21-E329-21B06E43C268}"/>
                </a:ext>
              </a:extLst>
            </p:cNvPr>
            <p:cNvSpPr/>
            <p:nvPr/>
          </p:nvSpPr>
          <p:spPr>
            <a:xfrm>
              <a:off x="9448395" y="4396803"/>
              <a:ext cx="1191" cy="34307"/>
            </a:xfrm>
            <a:custGeom>
              <a:avLst/>
              <a:gdLst>
                <a:gd name="connsiteX0" fmla="*/ 0 w 1191"/>
                <a:gd name="connsiteY0" fmla="*/ 0 h 34307"/>
                <a:gd name="connsiteX1" fmla="*/ 0 w 1191"/>
                <a:gd name="connsiteY1" fmla="*/ 34308 h 343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91" h="34307">
                  <a:moveTo>
                    <a:pt x="0" y="0"/>
                  </a:moveTo>
                  <a:lnTo>
                    <a:pt x="0" y="34308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66" name="Forma livre: Forma 2165">
              <a:extLst>
                <a:ext uri="{FF2B5EF4-FFF2-40B4-BE49-F238E27FC236}">
                  <a16:creationId xmlns:a16="http://schemas.microsoft.com/office/drawing/2014/main" id="{6531884D-EF1D-9100-9B2A-78C043CE58F1}"/>
                </a:ext>
              </a:extLst>
            </p:cNvPr>
            <p:cNvSpPr/>
            <p:nvPr/>
          </p:nvSpPr>
          <p:spPr>
            <a:xfrm>
              <a:off x="9503109" y="4429085"/>
              <a:ext cx="1191" cy="34307"/>
            </a:xfrm>
            <a:custGeom>
              <a:avLst/>
              <a:gdLst>
                <a:gd name="connsiteX0" fmla="*/ 0 w 1191"/>
                <a:gd name="connsiteY0" fmla="*/ 0 h 34307"/>
                <a:gd name="connsiteX1" fmla="*/ 0 w 1191"/>
                <a:gd name="connsiteY1" fmla="*/ 34308 h 343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91" h="34307">
                  <a:moveTo>
                    <a:pt x="0" y="0"/>
                  </a:moveTo>
                  <a:lnTo>
                    <a:pt x="0" y="34308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67" name="Forma livre: Forma 2166">
              <a:extLst>
                <a:ext uri="{FF2B5EF4-FFF2-40B4-BE49-F238E27FC236}">
                  <a16:creationId xmlns:a16="http://schemas.microsoft.com/office/drawing/2014/main" id="{17851FEB-26FD-4C7E-A057-C50F7DB84F30}"/>
                </a:ext>
              </a:extLst>
            </p:cNvPr>
            <p:cNvSpPr/>
            <p:nvPr/>
          </p:nvSpPr>
          <p:spPr>
            <a:xfrm>
              <a:off x="9560610" y="4330213"/>
              <a:ext cx="1191" cy="34307"/>
            </a:xfrm>
            <a:custGeom>
              <a:avLst/>
              <a:gdLst>
                <a:gd name="connsiteX0" fmla="*/ 0 w 1191"/>
                <a:gd name="connsiteY0" fmla="*/ 0 h 34307"/>
                <a:gd name="connsiteX1" fmla="*/ 0 w 1191"/>
                <a:gd name="connsiteY1" fmla="*/ 34308 h 343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91" h="34307">
                  <a:moveTo>
                    <a:pt x="0" y="0"/>
                  </a:moveTo>
                  <a:lnTo>
                    <a:pt x="0" y="34308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68" name="Forma livre: Forma 2167">
              <a:extLst>
                <a:ext uri="{FF2B5EF4-FFF2-40B4-BE49-F238E27FC236}">
                  <a16:creationId xmlns:a16="http://schemas.microsoft.com/office/drawing/2014/main" id="{BC150C32-B708-783E-B8F1-3B343BEC4022}"/>
                </a:ext>
              </a:extLst>
            </p:cNvPr>
            <p:cNvSpPr/>
            <p:nvPr/>
          </p:nvSpPr>
          <p:spPr>
            <a:xfrm>
              <a:off x="9447442" y="4330511"/>
              <a:ext cx="1191" cy="34307"/>
            </a:xfrm>
            <a:custGeom>
              <a:avLst/>
              <a:gdLst>
                <a:gd name="connsiteX0" fmla="*/ 0 w 1191"/>
                <a:gd name="connsiteY0" fmla="*/ 0 h 34307"/>
                <a:gd name="connsiteX1" fmla="*/ 0 w 1191"/>
                <a:gd name="connsiteY1" fmla="*/ 34308 h 343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91" h="34307">
                  <a:moveTo>
                    <a:pt x="0" y="0"/>
                  </a:moveTo>
                  <a:lnTo>
                    <a:pt x="0" y="34308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69" name="Forma livre: Forma 2168">
              <a:extLst>
                <a:ext uri="{FF2B5EF4-FFF2-40B4-BE49-F238E27FC236}">
                  <a16:creationId xmlns:a16="http://schemas.microsoft.com/office/drawing/2014/main" id="{C5B6E9D4-FF4A-79EC-088C-AEEFADE488FA}"/>
                </a:ext>
              </a:extLst>
            </p:cNvPr>
            <p:cNvSpPr/>
            <p:nvPr/>
          </p:nvSpPr>
          <p:spPr>
            <a:xfrm>
              <a:off x="9615621" y="4363639"/>
              <a:ext cx="1191" cy="32878"/>
            </a:xfrm>
            <a:custGeom>
              <a:avLst/>
              <a:gdLst>
                <a:gd name="connsiteX0" fmla="*/ 0 w 1191"/>
                <a:gd name="connsiteY0" fmla="*/ 0 h 32878"/>
                <a:gd name="connsiteX1" fmla="*/ 0 w 1191"/>
                <a:gd name="connsiteY1" fmla="*/ 32878 h 328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91" h="32878">
                  <a:moveTo>
                    <a:pt x="0" y="0"/>
                  </a:moveTo>
                  <a:lnTo>
                    <a:pt x="0" y="32878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70" name="Forma livre: Forma 2169">
              <a:extLst>
                <a:ext uri="{FF2B5EF4-FFF2-40B4-BE49-F238E27FC236}">
                  <a16:creationId xmlns:a16="http://schemas.microsoft.com/office/drawing/2014/main" id="{25EA36DE-E63A-ECBD-1748-2C26623110C8}"/>
                </a:ext>
              </a:extLst>
            </p:cNvPr>
            <p:cNvSpPr/>
            <p:nvPr/>
          </p:nvSpPr>
          <p:spPr>
            <a:xfrm>
              <a:off x="9391752" y="4363103"/>
              <a:ext cx="1191" cy="34307"/>
            </a:xfrm>
            <a:custGeom>
              <a:avLst/>
              <a:gdLst>
                <a:gd name="connsiteX0" fmla="*/ 0 w 1191"/>
                <a:gd name="connsiteY0" fmla="*/ 0 h 34307"/>
                <a:gd name="connsiteX1" fmla="*/ 0 w 1191"/>
                <a:gd name="connsiteY1" fmla="*/ 34308 h 343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91" h="34307">
                  <a:moveTo>
                    <a:pt x="0" y="0"/>
                  </a:moveTo>
                  <a:lnTo>
                    <a:pt x="0" y="34308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71" name="Forma livre: Forma 2170">
              <a:extLst>
                <a:ext uri="{FF2B5EF4-FFF2-40B4-BE49-F238E27FC236}">
                  <a16:creationId xmlns:a16="http://schemas.microsoft.com/office/drawing/2014/main" id="{A46E6EC9-7754-77B1-31E3-9B8A5EC7DA8D}"/>
                </a:ext>
              </a:extLst>
            </p:cNvPr>
            <p:cNvSpPr/>
            <p:nvPr/>
          </p:nvSpPr>
          <p:spPr>
            <a:xfrm>
              <a:off x="9446787" y="4362400"/>
              <a:ext cx="168559" cy="99658"/>
            </a:xfrm>
            <a:custGeom>
              <a:avLst/>
              <a:gdLst>
                <a:gd name="connsiteX0" fmla="*/ 0 w 168559"/>
                <a:gd name="connsiteY0" fmla="*/ 99659 h 99658"/>
                <a:gd name="connsiteX1" fmla="*/ 168560 w 168559"/>
                <a:gd name="connsiteY1" fmla="*/ 0 h 996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68559" h="99658">
                  <a:moveTo>
                    <a:pt x="0" y="99659"/>
                  </a:moveTo>
                  <a:lnTo>
                    <a:pt x="16856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72" name="Forma livre: Forma 2171">
              <a:extLst>
                <a:ext uri="{FF2B5EF4-FFF2-40B4-BE49-F238E27FC236}">
                  <a16:creationId xmlns:a16="http://schemas.microsoft.com/office/drawing/2014/main" id="{682CD778-CF68-7CD8-1C42-0598DAE08207}"/>
                </a:ext>
              </a:extLst>
            </p:cNvPr>
            <p:cNvSpPr/>
            <p:nvPr/>
          </p:nvSpPr>
          <p:spPr>
            <a:xfrm>
              <a:off x="9392181" y="4330034"/>
              <a:ext cx="168571" cy="99670"/>
            </a:xfrm>
            <a:custGeom>
              <a:avLst/>
              <a:gdLst>
                <a:gd name="connsiteX0" fmla="*/ 0 w 168571"/>
                <a:gd name="connsiteY0" fmla="*/ 99671 h 99670"/>
                <a:gd name="connsiteX1" fmla="*/ 168572 w 168571"/>
                <a:gd name="connsiteY1" fmla="*/ 0 h 996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68571" h="99670">
                  <a:moveTo>
                    <a:pt x="0" y="99671"/>
                  </a:moveTo>
                  <a:lnTo>
                    <a:pt x="168572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73" name="Forma livre: Forma 2172">
              <a:extLst>
                <a:ext uri="{FF2B5EF4-FFF2-40B4-BE49-F238E27FC236}">
                  <a16:creationId xmlns:a16="http://schemas.microsoft.com/office/drawing/2014/main" id="{B4BAD2E4-44EF-9E50-7A0C-B68393BFEBBA}"/>
                </a:ext>
              </a:extLst>
            </p:cNvPr>
            <p:cNvSpPr/>
            <p:nvPr/>
          </p:nvSpPr>
          <p:spPr>
            <a:xfrm>
              <a:off x="9391835" y="4362948"/>
              <a:ext cx="168607" cy="99777"/>
            </a:xfrm>
            <a:custGeom>
              <a:avLst/>
              <a:gdLst>
                <a:gd name="connsiteX0" fmla="*/ 168607 w 168607"/>
                <a:gd name="connsiteY0" fmla="*/ 99778 h 99777"/>
                <a:gd name="connsiteX1" fmla="*/ 0 w 168607"/>
                <a:gd name="connsiteY1" fmla="*/ 0 h 997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68607" h="99777">
                  <a:moveTo>
                    <a:pt x="168607" y="99778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74" name="Forma livre: Forma 2173">
              <a:extLst>
                <a:ext uri="{FF2B5EF4-FFF2-40B4-BE49-F238E27FC236}">
                  <a16:creationId xmlns:a16="http://schemas.microsoft.com/office/drawing/2014/main" id="{DFA1CF58-4928-0C05-3832-6699BCE2C4C7}"/>
                </a:ext>
              </a:extLst>
            </p:cNvPr>
            <p:cNvSpPr/>
            <p:nvPr/>
          </p:nvSpPr>
          <p:spPr>
            <a:xfrm>
              <a:off x="9447919" y="4330570"/>
              <a:ext cx="168130" cy="99408"/>
            </a:xfrm>
            <a:custGeom>
              <a:avLst/>
              <a:gdLst>
                <a:gd name="connsiteX0" fmla="*/ 168131 w 168130"/>
                <a:gd name="connsiteY0" fmla="*/ 99409 h 99408"/>
                <a:gd name="connsiteX1" fmla="*/ 0 w 168130"/>
                <a:gd name="connsiteY1" fmla="*/ 0 h 994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68130" h="99408">
                  <a:moveTo>
                    <a:pt x="168131" y="99409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75" name="Forma livre: Forma 2174">
              <a:extLst>
                <a:ext uri="{FF2B5EF4-FFF2-40B4-BE49-F238E27FC236}">
                  <a16:creationId xmlns:a16="http://schemas.microsoft.com/office/drawing/2014/main" id="{24E97D3A-4A60-95DB-2806-3C9E1521E6C4}"/>
                </a:ext>
              </a:extLst>
            </p:cNvPr>
            <p:cNvSpPr/>
            <p:nvPr/>
          </p:nvSpPr>
          <p:spPr>
            <a:xfrm>
              <a:off x="9504228" y="4297335"/>
              <a:ext cx="1191" cy="34307"/>
            </a:xfrm>
            <a:custGeom>
              <a:avLst/>
              <a:gdLst>
                <a:gd name="connsiteX0" fmla="*/ 0 w 1191"/>
                <a:gd name="connsiteY0" fmla="*/ 0 h 34307"/>
                <a:gd name="connsiteX1" fmla="*/ 0 w 1191"/>
                <a:gd name="connsiteY1" fmla="*/ 34308 h 343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91" h="34307">
                  <a:moveTo>
                    <a:pt x="0" y="0"/>
                  </a:moveTo>
                  <a:lnTo>
                    <a:pt x="0" y="34308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2176" name="Gráfico 18">
              <a:extLst>
                <a:ext uri="{FF2B5EF4-FFF2-40B4-BE49-F238E27FC236}">
                  <a16:creationId xmlns:a16="http://schemas.microsoft.com/office/drawing/2014/main" id="{A23A599F-47AB-4090-F06E-E4A55D9B1579}"/>
                </a:ext>
              </a:extLst>
            </p:cNvPr>
            <p:cNvGrpSpPr/>
            <p:nvPr/>
          </p:nvGrpSpPr>
          <p:grpSpPr>
            <a:xfrm>
              <a:off x="9334775" y="4174149"/>
              <a:ext cx="338584" cy="382219"/>
              <a:chOff x="9334775" y="4174149"/>
              <a:chExt cx="338584" cy="382219"/>
            </a:xfrm>
            <a:noFill/>
          </p:grpSpPr>
          <p:sp>
            <p:nvSpPr>
              <p:cNvPr id="2177" name="Forma livre: Forma 2176">
                <a:extLst>
                  <a:ext uri="{FF2B5EF4-FFF2-40B4-BE49-F238E27FC236}">
                    <a16:creationId xmlns:a16="http://schemas.microsoft.com/office/drawing/2014/main" id="{BEA9558D-4027-2284-E9E2-253F87A08B59}"/>
                  </a:ext>
                </a:extLst>
              </p:cNvPr>
              <p:cNvSpPr/>
              <p:nvPr/>
            </p:nvSpPr>
            <p:spPr>
              <a:xfrm>
                <a:off x="9334823" y="4174149"/>
                <a:ext cx="338489" cy="222046"/>
              </a:xfrm>
              <a:custGeom>
                <a:avLst/>
                <a:gdLst>
                  <a:gd name="connsiteX0" fmla="*/ 0 w 338489"/>
                  <a:gd name="connsiteY0" fmla="*/ 222046 h 222046"/>
                  <a:gd name="connsiteX1" fmla="*/ 169239 w 338489"/>
                  <a:gd name="connsiteY1" fmla="*/ 122864 h 222046"/>
                  <a:gd name="connsiteX2" fmla="*/ 338490 w 338489"/>
                  <a:gd name="connsiteY2" fmla="*/ 222046 h 222046"/>
                  <a:gd name="connsiteX3" fmla="*/ 247491 w 338489"/>
                  <a:gd name="connsiteY3" fmla="*/ 99182 h 222046"/>
                  <a:gd name="connsiteX4" fmla="*/ 78240 w 338489"/>
                  <a:gd name="connsiteY4" fmla="*/ 0 h 222046"/>
                  <a:gd name="connsiteX5" fmla="*/ 151716 w 338489"/>
                  <a:gd name="connsiteY5" fmla="*/ 99206 h 2220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338489" h="222046">
                    <a:moveTo>
                      <a:pt x="0" y="222046"/>
                    </a:moveTo>
                    <a:lnTo>
                      <a:pt x="169239" y="122864"/>
                    </a:lnTo>
                    <a:lnTo>
                      <a:pt x="338490" y="222046"/>
                    </a:lnTo>
                    <a:lnTo>
                      <a:pt x="247491" y="99182"/>
                    </a:lnTo>
                    <a:lnTo>
                      <a:pt x="78240" y="0"/>
                    </a:lnTo>
                    <a:lnTo>
                      <a:pt x="151716" y="99206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2178" name="Gráfico 18">
                <a:extLst>
                  <a:ext uri="{FF2B5EF4-FFF2-40B4-BE49-F238E27FC236}">
                    <a16:creationId xmlns:a16="http://schemas.microsoft.com/office/drawing/2014/main" id="{5FE3E847-05AA-6CE5-84CD-0DE68093EE81}"/>
                  </a:ext>
                </a:extLst>
              </p:cNvPr>
              <p:cNvGrpSpPr/>
              <p:nvPr/>
            </p:nvGrpSpPr>
            <p:grpSpPr>
              <a:xfrm>
                <a:off x="9334775" y="4396160"/>
                <a:ext cx="338584" cy="160209"/>
                <a:chOff x="9334775" y="4396160"/>
                <a:chExt cx="338584" cy="160209"/>
              </a:xfrm>
              <a:noFill/>
            </p:grpSpPr>
            <p:grpSp>
              <p:nvGrpSpPr>
                <p:cNvPr id="2179" name="Gráfico 18">
                  <a:extLst>
                    <a:ext uri="{FF2B5EF4-FFF2-40B4-BE49-F238E27FC236}">
                      <a16:creationId xmlns:a16="http://schemas.microsoft.com/office/drawing/2014/main" id="{46AADEA5-DBB2-2D74-FEE5-906E601E0FF3}"/>
                    </a:ext>
                  </a:extLst>
                </p:cNvPr>
                <p:cNvGrpSpPr/>
                <p:nvPr/>
              </p:nvGrpSpPr>
              <p:grpSpPr>
                <a:xfrm>
                  <a:off x="9334775" y="4396160"/>
                  <a:ext cx="338584" cy="159863"/>
                  <a:chOff x="9334775" y="4396160"/>
                  <a:chExt cx="338584" cy="159863"/>
                </a:xfrm>
                <a:noFill/>
              </p:grpSpPr>
              <p:sp>
                <p:nvSpPr>
                  <p:cNvPr id="2180" name="Forma livre: Forma 2179">
                    <a:extLst>
                      <a:ext uri="{FF2B5EF4-FFF2-40B4-BE49-F238E27FC236}">
                        <a16:creationId xmlns:a16="http://schemas.microsoft.com/office/drawing/2014/main" id="{739B091A-15AF-6941-B9F7-4818CDBC952A}"/>
                      </a:ext>
                    </a:extLst>
                  </p:cNvPr>
                  <p:cNvSpPr/>
                  <p:nvPr/>
                </p:nvSpPr>
                <p:spPr>
                  <a:xfrm>
                    <a:off x="9334775" y="4396160"/>
                    <a:ext cx="169298" cy="159863"/>
                  </a:xfrm>
                  <a:custGeom>
                    <a:avLst/>
                    <a:gdLst>
                      <a:gd name="connsiteX0" fmla="*/ 169298 w 169298"/>
                      <a:gd name="connsiteY0" fmla="*/ 100088 h 159863"/>
                      <a:gd name="connsiteX1" fmla="*/ 0 w 169298"/>
                      <a:gd name="connsiteY1" fmla="*/ 0 h 159863"/>
                      <a:gd name="connsiteX2" fmla="*/ 0 w 169298"/>
                      <a:gd name="connsiteY2" fmla="*/ 59764 h 159863"/>
                      <a:gd name="connsiteX3" fmla="*/ 169298 w 169298"/>
                      <a:gd name="connsiteY3" fmla="*/ 159864 h 15986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169298" h="159863">
                        <a:moveTo>
                          <a:pt x="169298" y="100088"/>
                        </a:moveTo>
                        <a:lnTo>
                          <a:pt x="0" y="0"/>
                        </a:lnTo>
                        <a:lnTo>
                          <a:pt x="0" y="59764"/>
                        </a:lnTo>
                        <a:lnTo>
                          <a:pt x="169298" y="159864"/>
                        </a:lnTo>
                      </a:path>
                    </a:pathLst>
                  </a:custGeom>
                  <a:noFill/>
                  <a:ln w="6350" cap="rnd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2181" name="Forma livre: Forma 2180">
                    <a:extLst>
                      <a:ext uri="{FF2B5EF4-FFF2-40B4-BE49-F238E27FC236}">
                        <a16:creationId xmlns:a16="http://schemas.microsoft.com/office/drawing/2014/main" id="{E1482820-8705-8187-18B7-F023A74CDD0C}"/>
                      </a:ext>
                    </a:extLst>
                  </p:cNvPr>
                  <p:cNvSpPr/>
                  <p:nvPr/>
                </p:nvSpPr>
                <p:spPr>
                  <a:xfrm>
                    <a:off x="9504074" y="4396160"/>
                    <a:ext cx="169286" cy="159863"/>
                  </a:xfrm>
                  <a:custGeom>
                    <a:avLst/>
                    <a:gdLst>
                      <a:gd name="connsiteX0" fmla="*/ 0 w 169286"/>
                      <a:gd name="connsiteY0" fmla="*/ 100088 h 159863"/>
                      <a:gd name="connsiteX1" fmla="*/ 169286 w 169286"/>
                      <a:gd name="connsiteY1" fmla="*/ 0 h 159863"/>
                      <a:gd name="connsiteX2" fmla="*/ 169286 w 169286"/>
                      <a:gd name="connsiteY2" fmla="*/ 59764 h 159863"/>
                      <a:gd name="connsiteX3" fmla="*/ 0 w 169286"/>
                      <a:gd name="connsiteY3" fmla="*/ 159864 h 15986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169286" h="159863">
                        <a:moveTo>
                          <a:pt x="0" y="100088"/>
                        </a:moveTo>
                        <a:lnTo>
                          <a:pt x="169286" y="0"/>
                        </a:lnTo>
                        <a:lnTo>
                          <a:pt x="169286" y="59764"/>
                        </a:lnTo>
                        <a:lnTo>
                          <a:pt x="0" y="159864"/>
                        </a:lnTo>
                      </a:path>
                    </a:pathLst>
                  </a:custGeom>
                  <a:noFill/>
                  <a:ln w="6350" cap="rnd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  <p:sp>
              <p:nvSpPr>
                <p:cNvPr id="2182" name="Forma livre: Forma 2181">
                  <a:extLst>
                    <a:ext uri="{FF2B5EF4-FFF2-40B4-BE49-F238E27FC236}">
                      <a16:creationId xmlns:a16="http://schemas.microsoft.com/office/drawing/2014/main" id="{9FB40B0E-05F8-AF56-3C6A-41548843CD3D}"/>
                    </a:ext>
                  </a:extLst>
                </p:cNvPr>
                <p:cNvSpPr/>
                <p:nvPr/>
              </p:nvSpPr>
              <p:spPr>
                <a:xfrm>
                  <a:off x="9504074" y="4517296"/>
                  <a:ext cx="1191" cy="39072"/>
                </a:xfrm>
                <a:custGeom>
                  <a:avLst/>
                  <a:gdLst>
                    <a:gd name="connsiteX0" fmla="*/ 0 w 1191"/>
                    <a:gd name="connsiteY0" fmla="*/ 0 h 39072"/>
                    <a:gd name="connsiteX1" fmla="*/ 0 w 1191"/>
                    <a:gd name="connsiteY1" fmla="*/ 39073 h 390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191" h="39072">
                      <a:moveTo>
                        <a:pt x="0" y="0"/>
                      </a:moveTo>
                      <a:lnTo>
                        <a:pt x="0" y="39073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</p:grpSp>
      <p:grpSp>
        <p:nvGrpSpPr>
          <p:cNvPr id="2183" name="Gráfico 18">
            <a:extLst>
              <a:ext uri="{FF2B5EF4-FFF2-40B4-BE49-F238E27FC236}">
                <a16:creationId xmlns:a16="http://schemas.microsoft.com/office/drawing/2014/main" id="{B55D5AAC-16B8-FCA8-7E35-97EA790F82B1}"/>
              </a:ext>
            </a:extLst>
          </p:cNvPr>
          <p:cNvGrpSpPr/>
          <p:nvPr/>
        </p:nvGrpSpPr>
        <p:grpSpPr>
          <a:xfrm>
            <a:off x="8715571" y="4780714"/>
            <a:ext cx="340359" cy="229300"/>
            <a:chOff x="8715571" y="4780714"/>
            <a:chExt cx="340359" cy="229300"/>
          </a:xfrm>
          <a:noFill/>
        </p:grpSpPr>
        <p:grpSp>
          <p:nvGrpSpPr>
            <p:cNvPr id="2184" name="Gráfico 18">
              <a:extLst>
                <a:ext uri="{FF2B5EF4-FFF2-40B4-BE49-F238E27FC236}">
                  <a16:creationId xmlns:a16="http://schemas.microsoft.com/office/drawing/2014/main" id="{E01E73D3-7D49-2286-D69C-FD96CA483F5C}"/>
                </a:ext>
              </a:extLst>
            </p:cNvPr>
            <p:cNvGrpSpPr/>
            <p:nvPr/>
          </p:nvGrpSpPr>
          <p:grpSpPr>
            <a:xfrm>
              <a:off x="8715571" y="4780714"/>
              <a:ext cx="340359" cy="229300"/>
              <a:chOff x="8715571" y="4780714"/>
              <a:chExt cx="340359" cy="229300"/>
            </a:xfrm>
            <a:noFill/>
          </p:grpSpPr>
          <p:grpSp>
            <p:nvGrpSpPr>
              <p:cNvPr id="2185" name="Gráfico 18">
                <a:extLst>
                  <a:ext uri="{FF2B5EF4-FFF2-40B4-BE49-F238E27FC236}">
                    <a16:creationId xmlns:a16="http://schemas.microsoft.com/office/drawing/2014/main" id="{1EEB0A84-19F1-10FD-2AAB-6C367B0E1FAB}"/>
                  </a:ext>
                </a:extLst>
              </p:cNvPr>
              <p:cNvGrpSpPr/>
              <p:nvPr/>
            </p:nvGrpSpPr>
            <p:grpSpPr>
              <a:xfrm>
                <a:off x="8715571" y="4780714"/>
                <a:ext cx="340204" cy="69353"/>
                <a:chOff x="8715571" y="4780714"/>
                <a:chExt cx="340204" cy="69353"/>
              </a:xfrm>
            </p:grpSpPr>
            <p:sp>
              <p:nvSpPr>
                <p:cNvPr id="2186" name="Forma livre: Forma 2185">
                  <a:extLst>
                    <a:ext uri="{FF2B5EF4-FFF2-40B4-BE49-F238E27FC236}">
                      <a16:creationId xmlns:a16="http://schemas.microsoft.com/office/drawing/2014/main" id="{CFADFCA2-B714-301D-C3E9-4EA709F5C22E}"/>
                    </a:ext>
                  </a:extLst>
                </p:cNvPr>
                <p:cNvSpPr/>
                <p:nvPr/>
              </p:nvSpPr>
              <p:spPr>
                <a:xfrm>
                  <a:off x="8715571" y="4780714"/>
                  <a:ext cx="200353" cy="69353"/>
                </a:xfrm>
                <a:custGeom>
                  <a:avLst/>
                  <a:gdLst>
                    <a:gd name="connsiteX0" fmla="*/ 200354 w 200353"/>
                    <a:gd name="connsiteY0" fmla="*/ 0 h 69353"/>
                    <a:gd name="connsiteX1" fmla="*/ 0 w 200353"/>
                    <a:gd name="connsiteY1" fmla="*/ 69354 h 6935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00353" h="69353">
                      <a:moveTo>
                        <a:pt x="200354" y="0"/>
                      </a:moveTo>
                      <a:lnTo>
                        <a:pt x="0" y="69354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187" name="Forma livre: Forma 2186">
                  <a:extLst>
                    <a:ext uri="{FF2B5EF4-FFF2-40B4-BE49-F238E27FC236}">
                      <a16:creationId xmlns:a16="http://schemas.microsoft.com/office/drawing/2014/main" id="{7ECFDBFA-3775-5448-F27E-17E4E2AFEE42}"/>
                    </a:ext>
                  </a:extLst>
                </p:cNvPr>
                <p:cNvSpPr/>
                <p:nvPr/>
              </p:nvSpPr>
              <p:spPr>
                <a:xfrm>
                  <a:off x="8915925" y="4780714"/>
                  <a:ext cx="139851" cy="47971"/>
                </a:xfrm>
                <a:custGeom>
                  <a:avLst/>
                  <a:gdLst>
                    <a:gd name="connsiteX0" fmla="*/ 0 w 139851"/>
                    <a:gd name="connsiteY0" fmla="*/ 0 h 47971"/>
                    <a:gd name="connsiteX1" fmla="*/ 139851 w 139851"/>
                    <a:gd name="connsiteY1" fmla="*/ 47971 h 479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39851" h="47971">
                      <a:moveTo>
                        <a:pt x="0" y="0"/>
                      </a:moveTo>
                      <a:lnTo>
                        <a:pt x="139851" y="47971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2188" name="Forma livre: Forma 2187">
                <a:extLst>
                  <a:ext uri="{FF2B5EF4-FFF2-40B4-BE49-F238E27FC236}">
                    <a16:creationId xmlns:a16="http://schemas.microsoft.com/office/drawing/2014/main" id="{2A2E870B-D427-173D-B946-FC7D9A32B25B}"/>
                  </a:ext>
                </a:extLst>
              </p:cNvPr>
              <p:cNvSpPr/>
              <p:nvPr/>
            </p:nvSpPr>
            <p:spPr>
              <a:xfrm>
                <a:off x="8855529" y="4898039"/>
                <a:ext cx="1191" cy="111976"/>
              </a:xfrm>
              <a:custGeom>
                <a:avLst/>
                <a:gdLst>
                  <a:gd name="connsiteX0" fmla="*/ 0 w 1191"/>
                  <a:gd name="connsiteY0" fmla="*/ 0 h 111976"/>
                  <a:gd name="connsiteX1" fmla="*/ 0 w 1191"/>
                  <a:gd name="connsiteY1" fmla="*/ 111976 h 1119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1" h="111976">
                    <a:moveTo>
                      <a:pt x="0" y="0"/>
                    </a:moveTo>
                    <a:lnTo>
                      <a:pt x="0" y="111976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189" name="Forma livre: Forma 2188">
                <a:extLst>
                  <a:ext uri="{FF2B5EF4-FFF2-40B4-BE49-F238E27FC236}">
                    <a16:creationId xmlns:a16="http://schemas.microsoft.com/office/drawing/2014/main" id="{5B2D0C2B-D8AD-8F69-10AB-D549F6998F48}"/>
                  </a:ext>
                </a:extLst>
              </p:cNvPr>
              <p:cNvSpPr/>
              <p:nvPr/>
            </p:nvSpPr>
            <p:spPr>
              <a:xfrm>
                <a:off x="8715571" y="4828685"/>
                <a:ext cx="340359" cy="181329"/>
              </a:xfrm>
              <a:custGeom>
                <a:avLst/>
                <a:gdLst>
                  <a:gd name="connsiteX0" fmla="*/ 256997 w 340359"/>
                  <a:gd name="connsiteY0" fmla="*/ 28840 h 181329"/>
                  <a:gd name="connsiteX1" fmla="*/ 139958 w 340359"/>
                  <a:gd name="connsiteY1" fmla="*/ 69354 h 181329"/>
                  <a:gd name="connsiteX2" fmla="*/ 0 w 340359"/>
                  <a:gd name="connsiteY2" fmla="*/ 21383 h 181329"/>
                  <a:gd name="connsiteX3" fmla="*/ 0 w 340359"/>
                  <a:gd name="connsiteY3" fmla="*/ 128939 h 181329"/>
                  <a:gd name="connsiteX4" fmla="*/ 139958 w 340359"/>
                  <a:gd name="connsiteY4" fmla="*/ 181330 h 181329"/>
                  <a:gd name="connsiteX5" fmla="*/ 340360 w 340359"/>
                  <a:gd name="connsiteY5" fmla="*/ 107545 h 181329"/>
                  <a:gd name="connsiteX6" fmla="*/ 340360 w 340359"/>
                  <a:gd name="connsiteY6" fmla="*/ 0 h 181329"/>
                  <a:gd name="connsiteX7" fmla="*/ 285003 w 340359"/>
                  <a:gd name="connsiteY7" fmla="*/ 19155 h 1813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40359" h="181329">
                    <a:moveTo>
                      <a:pt x="256997" y="28840"/>
                    </a:moveTo>
                    <a:lnTo>
                      <a:pt x="139958" y="69354"/>
                    </a:lnTo>
                    <a:lnTo>
                      <a:pt x="0" y="21383"/>
                    </a:lnTo>
                    <a:lnTo>
                      <a:pt x="0" y="128939"/>
                    </a:lnTo>
                    <a:lnTo>
                      <a:pt x="139958" y="181330"/>
                    </a:lnTo>
                    <a:lnTo>
                      <a:pt x="340360" y="107545"/>
                    </a:lnTo>
                    <a:lnTo>
                      <a:pt x="340360" y="0"/>
                    </a:lnTo>
                    <a:lnTo>
                      <a:pt x="285003" y="19155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2190" name="Forma livre: Forma 2189">
              <a:extLst>
                <a:ext uri="{FF2B5EF4-FFF2-40B4-BE49-F238E27FC236}">
                  <a16:creationId xmlns:a16="http://schemas.microsoft.com/office/drawing/2014/main" id="{A6547713-D636-B948-1FFF-87DC9843E99F}"/>
                </a:ext>
              </a:extLst>
            </p:cNvPr>
            <p:cNvSpPr/>
            <p:nvPr/>
          </p:nvSpPr>
          <p:spPr>
            <a:xfrm>
              <a:off x="8715571" y="4850068"/>
              <a:ext cx="139958" cy="101040"/>
            </a:xfrm>
            <a:custGeom>
              <a:avLst/>
              <a:gdLst>
                <a:gd name="connsiteX0" fmla="*/ 0 w 139958"/>
                <a:gd name="connsiteY0" fmla="*/ 0 h 101040"/>
                <a:gd name="connsiteX1" fmla="*/ 66328 w 139958"/>
                <a:gd name="connsiteY1" fmla="*/ 101041 h 101040"/>
                <a:gd name="connsiteX2" fmla="*/ 139958 w 139958"/>
                <a:gd name="connsiteY2" fmla="*/ 47971 h 1010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39958" h="101040">
                  <a:moveTo>
                    <a:pt x="0" y="0"/>
                  </a:moveTo>
                  <a:lnTo>
                    <a:pt x="66328" y="101041"/>
                  </a:lnTo>
                  <a:lnTo>
                    <a:pt x="139958" y="47971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91" name="Forma livre: Forma 2190">
              <a:extLst>
                <a:ext uri="{FF2B5EF4-FFF2-40B4-BE49-F238E27FC236}">
                  <a16:creationId xmlns:a16="http://schemas.microsoft.com/office/drawing/2014/main" id="{5F01C489-0E5F-0057-C7C0-88D98F4F8483}"/>
                </a:ext>
              </a:extLst>
            </p:cNvPr>
            <p:cNvSpPr/>
            <p:nvPr/>
          </p:nvSpPr>
          <p:spPr>
            <a:xfrm>
              <a:off x="8814467" y="4957958"/>
              <a:ext cx="41061" cy="52056"/>
            </a:xfrm>
            <a:custGeom>
              <a:avLst/>
              <a:gdLst>
                <a:gd name="connsiteX0" fmla="*/ 41062 w 41061"/>
                <a:gd name="connsiteY0" fmla="*/ 52057 h 52056"/>
                <a:gd name="connsiteX1" fmla="*/ 0 w 41061"/>
                <a:gd name="connsiteY1" fmla="*/ 0 h 52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1061" h="52056">
                  <a:moveTo>
                    <a:pt x="41062" y="52057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92" name="Forma livre: Forma 2191">
              <a:extLst>
                <a:ext uri="{FF2B5EF4-FFF2-40B4-BE49-F238E27FC236}">
                  <a16:creationId xmlns:a16="http://schemas.microsoft.com/office/drawing/2014/main" id="{E91FFC86-122B-FA88-D429-E4D5C0316CB3}"/>
                </a:ext>
              </a:extLst>
            </p:cNvPr>
            <p:cNvSpPr/>
            <p:nvPr/>
          </p:nvSpPr>
          <p:spPr>
            <a:xfrm>
              <a:off x="8715571" y="4940256"/>
              <a:ext cx="29935" cy="17368"/>
            </a:xfrm>
            <a:custGeom>
              <a:avLst/>
              <a:gdLst>
                <a:gd name="connsiteX0" fmla="*/ 0 w 29935"/>
                <a:gd name="connsiteY0" fmla="*/ 17368 h 17368"/>
                <a:gd name="connsiteX1" fmla="*/ 29936 w 29935"/>
                <a:gd name="connsiteY1" fmla="*/ 0 h 173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9935" h="17368">
                  <a:moveTo>
                    <a:pt x="0" y="17368"/>
                  </a:moveTo>
                  <a:lnTo>
                    <a:pt x="29936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2193" name="Gráfico 18">
            <a:extLst>
              <a:ext uri="{FF2B5EF4-FFF2-40B4-BE49-F238E27FC236}">
                <a16:creationId xmlns:a16="http://schemas.microsoft.com/office/drawing/2014/main" id="{617F06AD-2FEA-32D7-177A-01CCD22891D2}"/>
              </a:ext>
            </a:extLst>
          </p:cNvPr>
          <p:cNvGrpSpPr/>
          <p:nvPr/>
        </p:nvGrpSpPr>
        <p:grpSpPr>
          <a:xfrm>
            <a:off x="8697000" y="3665099"/>
            <a:ext cx="377490" cy="340121"/>
            <a:chOff x="8697000" y="3665099"/>
            <a:chExt cx="377490" cy="340121"/>
          </a:xfrm>
          <a:noFill/>
        </p:grpSpPr>
        <p:grpSp>
          <p:nvGrpSpPr>
            <p:cNvPr id="2194" name="Gráfico 18">
              <a:extLst>
                <a:ext uri="{FF2B5EF4-FFF2-40B4-BE49-F238E27FC236}">
                  <a16:creationId xmlns:a16="http://schemas.microsoft.com/office/drawing/2014/main" id="{F51EBE87-5086-B7F0-AB17-D33E21E77F42}"/>
                </a:ext>
              </a:extLst>
            </p:cNvPr>
            <p:cNvGrpSpPr/>
            <p:nvPr/>
          </p:nvGrpSpPr>
          <p:grpSpPr>
            <a:xfrm>
              <a:off x="8745340" y="3848930"/>
              <a:ext cx="280821" cy="156290"/>
              <a:chOff x="8745340" y="3848930"/>
              <a:chExt cx="280821" cy="156290"/>
            </a:xfrm>
            <a:noFill/>
          </p:grpSpPr>
          <p:sp>
            <p:nvSpPr>
              <p:cNvPr id="2195" name="Forma livre: Forma 2194">
                <a:extLst>
                  <a:ext uri="{FF2B5EF4-FFF2-40B4-BE49-F238E27FC236}">
                    <a16:creationId xmlns:a16="http://schemas.microsoft.com/office/drawing/2014/main" id="{B1079CA2-5621-7B4B-F955-0182D63E9616}"/>
                  </a:ext>
                </a:extLst>
              </p:cNvPr>
              <p:cNvSpPr/>
              <p:nvPr/>
            </p:nvSpPr>
            <p:spPr>
              <a:xfrm>
                <a:off x="8885751" y="3848930"/>
                <a:ext cx="140410" cy="156290"/>
              </a:xfrm>
              <a:custGeom>
                <a:avLst/>
                <a:gdLst>
                  <a:gd name="connsiteX0" fmla="*/ 140411 w 140410"/>
                  <a:gd name="connsiteY0" fmla="*/ 0 h 156290"/>
                  <a:gd name="connsiteX1" fmla="*/ 140411 w 140410"/>
                  <a:gd name="connsiteY1" fmla="*/ 76263 h 156290"/>
                  <a:gd name="connsiteX2" fmla="*/ 0 w 140410"/>
                  <a:gd name="connsiteY2" fmla="*/ 156290 h 156290"/>
                  <a:gd name="connsiteX3" fmla="*/ 0 w 140410"/>
                  <a:gd name="connsiteY3" fmla="*/ 51366 h 1562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40410" h="156290">
                    <a:moveTo>
                      <a:pt x="140411" y="0"/>
                    </a:moveTo>
                    <a:lnTo>
                      <a:pt x="140411" y="76263"/>
                    </a:lnTo>
                    <a:lnTo>
                      <a:pt x="0" y="156290"/>
                    </a:lnTo>
                    <a:lnTo>
                      <a:pt x="0" y="51366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196" name="Forma livre: Forma 2195">
                <a:extLst>
                  <a:ext uri="{FF2B5EF4-FFF2-40B4-BE49-F238E27FC236}">
                    <a16:creationId xmlns:a16="http://schemas.microsoft.com/office/drawing/2014/main" id="{A96B3B14-DF29-1C15-AB45-3EE482E6C2DA}"/>
                  </a:ext>
                </a:extLst>
              </p:cNvPr>
              <p:cNvSpPr/>
              <p:nvPr/>
            </p:nvSpPr>
            <p:spPr>
              <a:xfrm>
                <a:off x="8745340" y="3879307"/>
                <a:ext cx="140410" cy="125913"/>
              </a:xfrm>
              <a:custGeom>
                <a:avLst/>
                <a:gdLst>
                  <a:gd name="connsiteX0" fmla="*/ 140411 w 140410"/>
                  <a:gd name="connsiteY0" fmla="*/ 125914 h 125913"/>
                  <a:gd name="connsiteX1" fmla="*/ 0 w 140410"/>
                  <a:gd name="connsiteY1" fmla="*/ 45886 h 125913"/>
                  <a:gd name="connsiteX2" fmla="*/ 0 w 140410"/>
                  <a:gd name="connsiteY2" fmla="*/ 0 h 1259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40410" h="125913">
                    <a:moveTo>
                      <a:pt x="140411" y="125914"/>
                    </a:moveTo>
                    <a:lnTo>
                      <a:pt x="0" y="45886"/>
                    </a:lnTo>
                    <a:lnTo>
                      <a:pt x="0" y="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2197" name="Gráfico 18">
              <a:extLst>
                <a:ext uri="{FF2B5EF4-FFF2-40B4-BE49-F238E27FC236}">
                  <a16:creationId xmlns:a16="http://schemas.microsoft.com/office/drawing/2014/main" id="{03AC3398-882D-5F37-0AA0-A9C8A7E0FDC6}"/>
                </a:ext>
              </a:extLst>
            </p:cNvPr>
            <p:cNvGrpSpPr/>
            <p:nvPr/>
          </p:nvGrpSpPr>
          <p:grpSpPr>
            <a:xfrm>
              <a:off x="8709055" y="3776348"/>
              <a:ext cx="353391" cy="127235"/>
              <a:chOff x="8709055" y="3776348"/>
              <a:chExt cx="353391" cy="127235"/>
            </a:xfrm>
            <a:noFill/>
          </p:grpSpPr>
          <p:sp>
            <p:nvSpPr>
              <p:cNvPr id="2198" name="Forma livre: Forma 2197">
                <a:extLst>
                  <a:ext uri="{FF2B5EF4-FFF2-40B4-BE49-F238E27FC236}">
                    <a16:creationId xmlns:a16="http://schemas.microsoft.com/office/drawing/2014/main" id="{2E03BD28-F0B2-DA5B-DE2B-320DD717F91F}"/>
                  </a:ext>
                </a:extLst>
              </p:cNvPr>
              <p:cNvSpPr/>
              <p:nvPr/>
            </p:nvSpPr>
            <p:spPr>
              <a:xfrm>
                <a:off x="8709055" y="3776348"/>
                <a:ext cx="176695" cy="127235"/>
              </a:xfrm>
              <a:custGeom>
                <a:avLst/>
                <a:gdLst>
                  <a:gd name="connsiteX0" fmla="*/ 36285 w 176695"/>
                  <a:gd name="connsiteY0" fmla="*/ 0 h 127235"/>
                  <a:gd name="connsiteX1" fmla="*/ 176696 w 176695"/>
                  <a:gd name="connsiteY1" fmla="*/ 74416 h 127235"/>
                  <a:gd name="connsiteX2" fmla="*/ 140411 w 176695"/>
                  <a:gd name="connsiteY2" fmla="*/ 127236 h 127235"/>
                  <a:gd name="connsiteX3" fmla="*/ 0 w 176695"/>
                  <a:gd name="connsiteY3" fmla="*/ 52819 h 127235"/>
                  <a:gd name="connsiteX4" fmla="*/ 36285 w 176695"/>
                  <a:gd name="connsiteY4" fmla="*/ 0 h 1272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6695" h="127235">
                    <a:moveTo>
                      <a:pt x="36285" y="0"/>
                    </a:moveTo>
                    <a:lnTo>
                      <a:pt x="176696" y="74416"/>
                    </a:lnTo>
                    <a:lnTo>
                      <a:pt x="140411" y="127236"/>
                    </a:lnTo>
                    <a:lnTo>
                      <a:pt x="0" y="52819"/>
                    </a:lnTo>
                    <a:lnTo>
                      <a:pt x="36285" y="0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199" name="Forma livre: Forma 2198">
                <a:extLst>
                  <a:ext uri="{FF2B5EF4-FFF2-40B4-BE49-F238E27FC236}">
                    <a16:creationId xmlns:a16="http://schemas.microsoft.com/office/drawing/2014/main" id="{D67CC03E-8F96-885B-0FB4-EBE6B74F826E}"/>
                  </a:ext>
                </a:extLst>
              </p:cNvPr>
              <p:cNvSpPr/>
              <p:nvPr/>
            </p:nvSpPr>
            <p:spPr>
              <a:xfrm>
                <a:off x="8885751" y="3776348"/>
                <a:ext cx="176695" cy="127235"/>
              </a:xfrm>
              <a:custGeom>
                <a:avLst/>
                <a:gdLst>
                  <a:gd name="connsiteX0" fmla="*/ 140411 w 176695"/>
                  <a:gd name="connsiteY0" fmla="*/ 0 h 127235"/>
                  <a:gd name="connsiteX1" fmla="*/ 0 w 176695"/>
                  <a:gd name="connsiteY1" fmla="*/ 74416 h 127235"/>
                  <a:gd name="connsiteX2" fmla="*/ 36285 w 176695"/>
                  <a:gd name="connsiteY2" fmla="*/ 127236 h 127235"/>
                  <a:gd name="connsiteX3" fmla="*/ 176696 w 176695"/>
                  <a:gd name="connsiteY3" fmla="*/ 52819 h 127235"/>
                  <a:gd name="connsiteX4" fmla="*/ 140411 w 176695"/>
                  <a:gd name="connsiteY4" fmla="*/ 0 h 1272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6695" h="127235">
                    <a:moveTo>
                      <a:pt x="140411" y="0"/>
                    </a:moveTo>
                    <a:lnTo>
                      <a:pt x="0" y="74416"/>
                    </a:lnTo>
                    <a:lnTo>
                      <a:pt x="36285" y="127236"/>
                    </a:lnTo>
                    <a:lnTo>
                      <a:pt x="176696" y="52819"/>
                    </a:lnTo>
                    <a:lnTo>
                      <a:pt x="140411" y="0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2200" name="Gráfico 18">
              <a:extLst>
                <a:ext uri="{FF2B5EF4-FFF2-40B4-BE49-F238E27FC236}">
                  <a16:creationId xmlns:a16="http://schemas.microsoft.com/office/drawing/2014/main" id="{75139F25-A919-1BB6-64A8-804A9A2838EF}"/>
                </a:ext>
              </a:extLst>
            </p:cNvPr>
            <p:cNvGrpSpPr/>
            <p:nvPr/>
          </p:nvGrpSpPr>
          <p:grpSpPr>
            <a:xfrm>
              <a:off x="8697000" y="3665099"/>
              <a:ext cx="377490" cy="111249"/>
              <a:chOff x="8697000" y="3665099"/>
              <a:chExt cx="377490" cy="111249"/>
            </a:xfrm>
            <a:noFill/>
          </p:grpSpPr>
          <p:sp>
            <p:nvSpPr>
              <p:cNvPr id="2201" name="Forma livre: Forma 2200">
                <a:extLst>
                  <a:ext uri="{FF2B5EF4-FFF2-40B4-BE49-F238E27FC236}">
                    <a16:creationId xmlns:a16="http://schemas.microsoft.com/office/drawing/2014/main" id="{DC42283D-322E-494F-DDB0-344D186BEF1A}"/>
                  </a:ext>
                </a:extLst>
              </p:cNvPr>
              <p:cNvSpPr/>
              <p:nvPr/>
            </p:nvSpPr>
            <p:spPr>
              <a:xfrm>
                <a:off x="8697000" y="3665099"/>
                <a:ext cx="188679" cy="111249"/>
              </a:xfrm>
              <a:custGeom>
                <a:avLst/>
                <a:gdLst>
                  <a:gd name="connsiteX0" fmla="*/ 188680 w 188679"/>
                  <a:gd name="connsiteY0" fmla="*/ 39442 h 111249"/>
                  <a:gd name="connsiteX1" fmla="*/ 140411 w 188679"/>
                  <a:gd name="connsiteY1" fmla="*/ 0 h 111249"/>
                  <a:gd name="connsiteX2" fmla="*/ 0 w 188679"/>
                  <a:gd name="connsiteY2" fmla="*/ 71307 h 111249"/>
                  <a:gd name="connsiteX3" fmla="*/ 48269 w 188679"/>
                  <a:gd name="connsiteY3" fmla="*/ 111249 h 111249"/>
                  <a:gd name="connsiteX4" fmla="*/ 188680 w 188679"/>
                  <a:gd name="connsiteY4" fmla="*/ 39442 h 1112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88679" h="111249">
                    <a:moveTo>
                      <a:pt x="188680" y="39442"/>
                    </a:moveTo>
                    <a:lnTo>
                      <a:pt x="140411" y="0"/>
                    </a:lnTo>
                    <a:lnTo>
                      <a:pt x="0" y="71307"/>
                    </a:lnTo>
                    <a:lnTo>
                      <a:pt x="48269" y="111249"/>
                    </a:lnTo>
                    <a:lnTo>
                      <a:pt x="188680" y="39442"/>
                    </a:lnTo>
                    <a:close/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202" name="Forma livre: Forma 2201">
                <a:extLst>
                  <a:ext uri="{FF2B5EF4-FFF2-40B4-BE49-F238E27FC236}">
                    <a16:creationId xmlns:a16="http://schemas.microsoft.com/office/drawing/2014/main" id="{D234069B-1165-1D6D-055D-29EE13DFBF59}"/>
                  </a:ext>
                </a:extLst>
              </p:cNvPr>
              <p:cNvSpPr/>
              <p:nvPr/>
            </p:nvSpPr>
            <p:spPr>
              <a:xfrm>
                <a:off x="8885810" y="3665099"/>
                <a:ext cx="188679" cy="111249"/>
              </a:xfrm>
              <a:custGeom>
                <a:avLst/>
                <a:gdLst>
                  <a:gd name="connsiteX0" fmla="*/ 0 w 188679"/>
                  <a:gd name="connsiteY0" fmla="*/ 39442 h 111249"/>
                  <a:gd name="connsiteX1" fmla="*/ 48269 w 188679"/>
                  <a:gd name="connsiteY1" fmla="*/ 0 h 111249"/>
                  <a:gd name="connsiteX2" fmla="*/ 188680 w 188679"/>
                  <a:gd name="connsiteY2" fmla="*/ 71307 h 111249"/>
                  <a:gd name="connsiteX3" fmla="*/ 140411 w 188679"/>
                  <a:gd name="connsiteY3" fmla="*/ 111249 h 111249"/>
                  <a:gd name="connsiteX4" fmla="*/ 0 w 188679"/>
                  <a:gd name="connsiteY4" fmla="*/ 39442 h 1112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88679" h="111249">
                    <a:moveTo>
                      <a:pt x="0" y="39442"/>
                    </a:moveTo>
                    <a:lnTo>
                      <a:pt x="48269" y="0"/>
                    </a:lnTo>
                    <a:lnTo>
                      <a:pt x="188680" y="71307"/>
                    </a:lnTo>
                    <a:lnTo>
                      <a:pt x="140411" y="111249"/>
                    </a:lnTo>
                    <a:lnTo>
                      <a:pt x="0" y="39442"/>
                    </a:lnTo>
                    <a:close/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2203" name="Forma livre: Forma 2202">
              <a:extLst>
                <a:ext uri="{FF2B5EF4-FFF2-40B4-BE49-F238E27FC236}">
                  <a16:creationId xmlns:a16="http://schemas.microsoft.com/office/drawing/2014/main" id="{DF8AEA3D-60AF-DED4-4392-F6AC537E3622}"/>
                </a:ext>
              </a:extLst>
            </p:cNvPr>
            <p:cNvSpPr/>
            <p:nvPr/>
          </p:nvSpPr>
          <p:spPr>
            <a:xfrm>
              <a:off x="8885751" y="3706923"/>
              <a:ext cx="1191" cy="102398"/>
            </a:xfrm>
            <a:custGeom>
              <a:avLst/>
              <a:gdLst>
                <a:gd name="connsiteX0" fmla="*/ 0 w 1191"/>
                <a:gd name="connsiteY0" fmla="*/ 0 h 102398"/>
                <a:gd name="connsiteX1" fmla="*/ 0 w 1191"/>
                <a:gd name="connsiteY1" fmla="*/ 102399 h 1023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91" h="102398">
                  <a:moveTo>
                    <a:pt x="0" y="0"/>
                  </a:moveTo>
                  <a:lnTo>
                    <a:pt x="0" y="102399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2204" name="Gráfico 18">
            <a:extLst>
              <a:ext uri="{FF2B5EF4-FFF2-40B4-BE49-F238E27FC236}">
                <a16:creationId xmlns:a16="http://schemas.microsoft.com/office/drawing/2014/main" id="{D8C35D92-AA4A-5782-7B2C-B10CC9842F1C}"/>
              </a:ext>
            </a:extLst>
          </p:cNvPr>
          <p:cNvGrpSpPr/>
          <p:nvPr/>
        </p:nvGrpSpPr>
        <p:grpSpPr>
          <a:xfrm>
            <a:off x="8712247" y="5318104"/>
            <a:ext cx="347006" cy="214720"/>
            <a:chOff x="8712247" y="5318104"/>
            <a:chExt cx="347006" cy="214720"/>
          </a:xfrm>
          <a:noFill/>
        </p:grpSpPr>
        <p:sp>
          <p:nvSpPr>
            <p:cNvPr id="2205" name="Forma livre: Forma 2204">
              <a:extLst>
                <a:ext uri="{FF2B5EF4-FFF2-40B4-BE49-F238E27FC236}">
                  <a16:creationId xmlns:a16="http://schemas.microsoft.com/office/drawing/2014/main" id="{7CBF6AEC-C6D1-D44D-BA28-9F7F00DEEAC7}"/>
                </a:ext>
              </a:extLst>
            </p:cNvPr>
            <p:cNvSpPr/>
            <p:nvPr/>
          </p:nvSpPr>
          <p:spPr>
            <a:xfrm>
              <a:off x="8712247" y="5377547"/>
              <a:ext cx="347006" cy="94905"/>
            </a:xfrm>
            <a:custGeom>
              <a:avLst/>
              <a:gdLst>
                <a:gd name="connsiteX0" fmla="*/ 72665 w 347006"/>
                <a:gd name="connsiteY0" fmla="*/ 60372 h 94905"/>
                <a:gd name="connsiteX1" fmla="*/ 173503 w 347006"/>
                <a:gd name="connsiteY1" fmla="*/ 94906 h 94905"/>
                <a:gd name="connsiteX2" fmla="*/ 347007 w 347006"/>
                <a:gd name="connsiteY2" fmla="*/ 35475 h 94905"/>
                <a:gd name="connsiteX3" fmla="*/ 347007 w 347006"/>
                <a:gd name="connsiteY3" fmla="*/ 0 h 94905"/>
                <a:gd name="connsiteX4" fmla="*/ 173503 w 347006"/>
                <a:gd name="connsiteY4" fmla="*/ 59431 h 94905"/>
                <a:gd name="connsiteX5" fmla="*/ 0 w 347006"/>
                <a:gd name="connsiteY5" fmla="*/ 0 h 94905"/>
                <a:gd name="connsiteX6" fmla="*/ 0 w 347006"/>
                <a:gd name="connsiteY6" fmla="*/ 35475 h 94905"/>
                <a:gd name="connsiteX7" fmla="*/ 46268 w 347006"/>
                <a:gd name="connsiteY7" fmla="*/ 51330 h 949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47006" h="94905">
                  <a:moveTo>
                    <a:pt x="72665" y="60372"/>
                  </a:moveTo>
                  <a:lnTo>
                    <a:pt x="173503" y="94906"/>
                  </a:lnTo>
                  <a:lnTo>
                    <a:pt x="347007" y="35475"/>
                  </a:lnTo>
                  <a:lnTo>
                    <a:pt x="347007" y="0"/>
                  </a:lnTo>
                  <a:lnTo>
                    <a:pt x="173503" y="59431"/>
                  </a:lnTo>
                  <a:lnTo>
                    <a:pt x="0" y="0"/>
                  </a:lnTo>
                  <a:lnTo>
                    <a:pt x="0" y="35475"/>
                  </a:lnTo>
                  <a:lnTo>
                    <a:pt x="46268" y="51330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206" name="Forma livre: Forma 2205">
              <a:extLst>
                <a:ext uri="{FF2B5EF4-FFF2-40B4-BE49-F238E27FC236}">
                  <a16:creationId xmlns:a16="http://schemas.microsoft.com/office/drawing/2014/main" id="{1157A55F-FFF5-E6A4-890D-8CF48344B18C}"/>
                </a:ext>
              </a:extLst>
            </p:cNvPr>
            <p:cNvSpPr/>
            <p:nvPr/>
          </p:nvSpPr>
          <p:spPr>
            <a:xfrm>
              <a:off x="8712438" y="5318104"/>
              <a:ext cx="346625" cy="59442"/>
            </a:xfrm>
            <a:custGeom>
              <a:avLst/>
              <a:gdLst>
                <a:gd name="connsiteX0" fmla="*/ 346626 w 346625"/>
                <a:gd name="connsiteY0" fmla="*/ 59443 h 59442"/>
                <a:gd name="connsiteX1" fmla="*/ 173313 w 346625"/>
                <a:gd name="connsiteY1" fmla="*/ 0 h 59442"/>
                <a:gd name="connsiteX2" fmla="*/ 0 w 346625"/>
                <a:gd name="connsiteY2" fmla="*/ 59443 h 59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46625" h="59442">
                  <a:moveTo>
                    <a:pt x="346626" y="59443"/>
                  </a:moveTo>
                  <a:lnTo>
                    <a:pt x="173313" y="0"/>
                  </a:lnTo>
                  <a:lnTo>
                    <a:pt x="0" y="59443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207" name="Forma livre: Forma 2206">
              <a:extLst>
                <a:ext uri="{FF2B5EF4-FFF2-40B4-BE49-F238E27FC236}">
                  <a16:creationId xmlns:a16="http://schemas.microsoft.com/office/drawing/2014/main" id="{A212FB35-DEFD-903E-F761-9C0C9A9BD155}"/>
                </a:ext>
              </a:extLst>
            </p:cNvPr>
            <p:cNvSpPr/>
            <p:nvPr/>
          </p:nvSpPr>
          <p:spPr>
            <a:xfrm>
              <a:off x="8724803" y="5418609"/>
              <a:ext cx="321895" cy="114215"/>
            </a:xfrm>
            <a:custGeom>
              <a:avLst/>
              <a:gdLst>
                <a:gd name="connsiteX0" fmla="*/ 0 w 321895"/>
                <a:gd name="connsiteY0" fmla="*/ 23062 h 114215"/>
                <a:gd name="connsiteX1" fmla="*/ 0 w 321895"/>
                <a:gd name="connsiteY1" fmla="*/ 53987 h 114215"/>
                <a:gd name="connsiteX2" fmla="*/ 160948 w 321895"/>
                <a:gd name="connsiteY2" fmla="*/ 114216 h 114215"/>
                <a:gd name="connsiteX3" fmla="*/ 321896 w 321895"/>
                <a:gd name="connsiteY3" fmla="*/ 53987 h 114215"/>
                <a:gd name="connsiteX4" fmla="*/ 321896 w 321895"/>
                <a:gd name="connsiteY4" fmla="*/ 0 h 1142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21895" h="114215">
                  <a:moveTo>
                    <a:pt x="0" y="23062"/>
                  </a:moveTo>
                  <a:lnTo>
                    <a:pt x="0" y="53987"/>
                  </a:lnTo>
                  <a:lnTo>
                    <a:pt x="160948" y="114216"/>
                  </a:lnTo>
                  <a:lnTo>
                    <a:pt x="321896" y="53987"/>
                  </a:lnTo>
                  <a:lnTo>
                    <a:pt x="321896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208" name="Forma livre: Forma 2207">
              <a:extLst>
                <a:ext uri="{FF2B5EF4-FFF2-40B4-BE49-F238E27FC236}">
                  <a16:creationId xmlns:a16="http://schemas.microsoft.com/office/drawing/2014/main" id="{5637E430-3D27-E0CF-AA5F-9E3B44C15838}"/>
                </a:ext>
              </a:extLst>
            </p:cNvPr>
            <p:cNvSpPr/>
            <p:nvPr/>
          </p:nvSpPr>
          <p:spPr>
            <a:xfrm>
              <a:off x="8885751" y="5494705"/>
              <a:ext cx="1191" cy="38119"/>
            </a:xfrm>
            <a:custGeom>
              <a:avLst/>
              <a:gdLst>
                <a:gd name="connsiteX0" fmla="*/ 0 w 1191"/>
                <a:gd name="connsiteY0" fmla="*/ 0 h 38119"/>
                <a:gd name="connsiteX1" fmla="*/ 0 w 1191"/>
                <a:gd name="connsiteY1" fmla="*/ 38120 h 381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91" h="38119">
                  <a:moveTo>
                    <a:pt x="0" y="0"/>
                  </a:moveTo>
                  <a:lnTo>
                    <a:pt x="0" y="3812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2209" name="Gráfico 18">
            <a:extLst>
              <a:ext uri="{FF2B5EF4-FFF2-40B4-BE49-F238E27FC236}">
                <a16:creationId xmlns:a16="http://schemas.microsoft.com/office/drawing/2014/main" id="{6D376293-9ED3-7981-9EBF-160FE9132627}"/>
              </a:ext>
            </a:extLst>
          </p:cNvPr>
          <p:cNvGrpSpPr/>
          <p:nvPr/>
        </p:nvGrpSpPr>
        <p:grpSpPr>
          <a:xfrm>
            <a:off x="8771869" y="5795087"/>
            <a:ext cx="227764" cy="320954"/>
            <a:chOff x="8771869" y="5795087"/>
            <a:chExt cx="227764" cy="320954"/>
          </a:xfrm>
          <a:noFill/>
        </p:grpSpPr>
        <p:sp>
          <p:nvSpPr>
            <p:cNvPr id="2210" name="Forma livre: Forma 2209">
              <a:extLst>
                <a:ext uri="{FF2B5EF4-FFF2-40B4-BE49-F238E27FC236}">
                  <a16:creationId xmlns:a16="http://schemas.microsoft.com/office/drawing/2014/main" id="{8BE158EE-2DB3-21E9-DE8A-A590FA8460CA}"/>
                </a:ext>
              </a:extLst>
            </p:cNvPr>
            <p:cNvSpPr/>
            <p:nvPr/>
          </p:nvSpPr>
          <p:spPr>
            <a:xfrm>
              <a:off x="8771988" y="5795087"/>
              <a:ext cx="227525" cy="39012"/>
            </a:xfrm>
            <a:custGeom>
              <a:avLst/>
              <a:gdLst>
                <a:gd name="connsiteX0" fmla="*/ 227526 w 227525"/>
                <a:gd name="connsiteY0" fmla="*/ 39013 h 39012"/>
                <a:gd name="connsiteX1" fmla="*/ 113763 w 227525"/>
                <a:gd name="connsiteY1" fmla="*/ 0 h 39012"/>
                <a:gd name="connsiteX2" fmla="*/ 0 w 227525"/>
                <a:gd name="connsiteY2" fmla="*/ 39013 h 390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27525" h="39012">
                  <a:moveTo>
                    <a:pt x="227526" y="39013"/>
                  </a:moveTo>
                  <a:lnTo>
                    <a:pt x="113763" y="0"/>
                  </a:lnTo>
                  <a:lnTo>
                    <a:pt x="0" y="39013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211" name="Forma livre: Forma 2210">
              <a:extLst>
                <a:ext uri="{FF2B5EF4-FFF2-40B4-BE49-F238E27FC236}">
                  <a16:creationId xmlns:a16="http://schemas.microsoft.com/office/drawing/2014/main" id="{05A38596-1AA7-20C2-49E3-AB58B271906E}"/>
                </a:ext>
              </a:extLst>
            </p:cNvPr>
            <p:cNvSpPr/>
            <p:nvPr/>
          </p:nvSpPr>
          <p:spPr>
            <a:xfrm>
              <a:off x="8885751" y="5940572"/>
              <a:ext cx="1191" cy="174051"/>
            </a:xfrm>
            <a:custGeom>
              <a:avLst/>
              <a:gdLst>
                <a:gd name="connsiteX0" fmla="*/ 0 w 1191"/>
                <a:gd name="connsiteY0" fmla="*/ 0 h 174051"/>
                <a:gd name="connsiteX1" fmla="*/ 0 w 1191"/>
                <a:gd name="connsiteY1" fmla="*/ 174051 h 1740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91" h="174051">
                  <a:moveTo>
                    <a:pt x="0" y="0"/>
                  </a:moveTo>
                  <a:lnTo>
                    <a:pt x="0" y="174051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212" name="Forma livre: Forma 2211">
              <a:extLst>
                <a:ext uri="{FF2B5EF4-FFF2-40B4-BE49-F238E27FC236}">
                  <a16:creationId xmlns:a16="http://schemas.microsoft.com/office/drawing/2014/main" id="{02BCDB3B-2913-7214-D9CF-0DA070F6FAF9}"/>
                </a:ext>
              </a:extLst>
            </p:cNvPr>
            <p:cNvSpPr/>
            <p:nvPr/>
          </p:nvSpPr>
          <p:spPr>
            <a:xfrm>
              <a:off x="8780112" y="5881546"/>
              <a:ext cx="211277" cy="234494"/>
            </a:xfrm>
            <a:custGeom>
              <a:avLst/>
              <a:gdLst>
                <a:gd name="connsiteX0" fmla="*/ 0 w 211277"/>
                <a:gd name="connsiteY0" fmla="*/ 25064 h 234494"/>
                <a:gd name="connsiteX1" fmla="*/ 0 w 211277"/>
                <a:gd name="connsiteY1" fmla="*/ 194970 h 234494"/>
                <a:gd name="connsiteX2" fmla="*/ 105639 w 211277"/>
                <a:gd name="connsiteY2" fmla="*/ 234495 h 234494"/>
                <a:gd name="connsiteX3" fmla="*/ 211277 w 211277"/>
                <a:gd name="connsiteY3" fmla="*/ 194970 h 234494"/>
                <a:gd name="connsiteX4" fmla="*/ 211277 w 211277"/>
                <a:gd name="connsiteY4" fmla="*/ 0 h 2344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11277" h="234494">
                  <a:moveTo>
                    <a:pt x="0" y="25064"/>
                  </a:moveTo>
                  <a:lnTo>
                    <a:pt x="0" y="194970"/>
                  </a:lnTo>
                  <a:lnTo>
                    <a:pt x="105639" y="234495"/>
                  </a:lnTo>
                  <a:lnTo>
                    <a:pt x="211277" y="194970"/>
                  </a:lnTo>
                  <a:lnTo>
                    <a:pt x="211277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213" name="Forma livre: Forma 2212">
              <a:extLst>
                <a:ext uri="{FF2B5EF4-FFF2-40B4-BE49-F238E27FC236}">
                  <a16:creationId xmlns:a16="http://schemas.microsoft.com/office/drawing/2014/main" id="{725455FD-5337-A323-1786-812B48D9C994}"/>
                </a:ext>
              </a:extLst>
            </p:cNvPr>
            <p:cNvSpPr/>
            <p:nvPr/>
          </p:nvSpPr>
          <p:spPr>
            <a:xfrm>
              <a:off x="8771869" y="5834100"/>
              <a:ext cx="227764" cy="81373"/>
            </a:xfrm>
            <a:custGeom>
              <a:avLst/>
              <a:gdLst>
                <a:gd name="connsiteX0" fmla="*/ 51104 w 227764"/>
                <a:gd name="connsiteY0" fmla="*/ 59871 h 81373"/>
                <a:gd name="connsiteX1" fmla="*/ 113882 w 227764"/>
                <a:gd name="connsiteY1" fmla="*/ 81373 h 81373"/>
                <a:gd name="connsiteX2" fmla="*/ 227764 w 227764"/>
                <a:gd name="connsiteY2" fmla="*/ 42372 h 81373"/>
                <a:gd name="connsiteX3" fmla="*/ 227764 w 227764"/>
                <a:gd name="connsiteY3" fmla="*/ 0 h 81373"/>
                <a:gd name="connsiteX4" fmla="*/ 113882 w 227764"/>
                <a:gd name="connsiteY4" fmla="*/ 39025 h 81373"/>
                <a:gd name="connsiteX5" fmla="*/ 0 w 227764"/>
                <a:gd name="connsiteY5" fmla="*/ 0 h 81373"/>
                <a:gd name="connsiteX6" fmla="*/ 0 w 227764"/>
                <a:gd name="connsiteY6" fmla="*/ 42372 h 81373"/>
                <a:gd name="connsiteX7" fmla="*/ 26517 w 227764"/>
                <a:gd name="connsiteY7" fmla="*/ 51449 h 813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27764" h="81373">
                  <a:moveTo>
                    <a:pt x="51104" y="59871"/>
                  </a:moveTo>
                  <a:lnTo>
                    <a:pt x="113882" y="81373"/>
                  </a:lnTo>
                  <a:lnTo>
                    <a:pt x="227764" y="42372"/>
                  </a:lnTo>
                  <a:lnTo>
                    <a:pt x="227764" y="0"/>
                  </a:lnTo>
                  <a:lnTo>
                    <a:pt x="113882" y="39025"/>
                  </a:lnTo>
                  <a:lnTo>
                    <a:pt x="0" y="0"/>
                  </a:lnTo>
                  <a:lnTo>
                    <a:pt x="0" y="42372"/>
                  </a:lnTo>
                  <a:lnTo>
                    <a:pt x="26517" y="51449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214" name="Forma livre: Forma 2213">
              <a:extLst>
                <a:ext uri="{FF2B5EF4-FFF2-40B4-BE49-F238E27FC236}">
                  <a16:creationId xmlns:a16="http://schemas.microsoft.com/office/drawing/2014/main" id="{2845D21A-FBBF-66E9-3D92-B24EC5294EBB}"/>
                </a:ext>
              </a:extLst>
            </p:cNvPr>
            <p:cNvSpPr/>
            <p:nvPr/>
          </p:nvSpPr>
          <p:spPr>
            <a:xfrm>
              <a:off x="8885751" y="5873446"/>
              <a:ext cx="1191" cy="40096"/>
            </a:xfrm>
            <a:custGeom>
              <a:avLst/>
              <a:gdLst>
                <a:gd name="connsiteX0" fmla="*/ 0 w 1191"/>
                <a:gd name="connsiteY0" fmla="*/ 0 h 40096"/>
                <a:gd name="connsiteX1" fmla="*/ 0 w 1191"/>
                <a:gd name="connsiteY1" fmla="*/ 40097 h 400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91" h="40096">
                  <a:moveTo>
                    <a:pt x="0" y="0"/>
                  </a:moveTo>
                  <a:lnTo>
                    <a:pt x="0" y="40097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2215" name="Gráfico 18">
            <a:extLst>
              <a:ext uri="{FF2B5EF4-FFF2-40B4-BE49-F238E27FC236}">
                <a16:creationId xmlns:a16="http://schemas.microsoft.com/office/drawing/2014/main" id="{81276FBB-FA83-5D75-CF93-C0E3B0A3857F}"/>
              </a:ext>
            </a:extLst>
          </p:cNvPr>
          <p:cNvGrpSpPr/>
          <p:nvPr/>
        </p:nvGrpSpPr>
        <p:grpSpPr>
          <a:xfrm>
            <a:off x="8717882" y="4177354"/>
            <a:ext cx="335725" cy="375810"/>
            <a:chOff x="8717882" y="4177354"/>
            <a:chExt cx="335725" cy="375810"/>
          </a:xfrm>
          <a:noFill/>
        </p:grpSpPr>
        <p:grpSp>
          <p:nvGrpSpPr>
            <p:cNvPr id="2216" name="Gráfico 18">
              <a:extLst>
                <a:ext uri="{FF2B5EF4-FFF2-40B4-BE49-F238E27FC236}">
                  <a16:creationId xmlns:a16="http://schemas.microsoft.com/office/drawing/2014/main" id="{5F055CBC-9236-34E7-D462-7310261E7A0C}"/>
                </a:ext>
              </a:extLst>
            </p:cNvPr>
            <p:cNvGrpSpPr/>
            <p:nvPr/>
          </p:nvGrpSpPr>
          <p:grpSpPr>
            <a:xfrm>
              <a:off x="8756692" y="4409513"/>
              <a:ext cx="258104" cy="143651"/>
              <a:chOff x="8756692" y="4409513"/>
              <a:chExt cx="258104" cy="143651"/>
            </a:xfrm>
            <a:noFill/>
          </p:grpSpPr>
          <p:sp>
            <p:nvSpPr>
              <p:cNvPr id="2217" name="Forma livre: Forma 2216">
                <a:extLst>
                  <a:ext uri="{FF2B5EF4-FFF2-40B4-BE49-F238E27FC236}">
                    <a16:creationId xmlns:a16="http://schemas.microsoft.com/office/drawing/2014/main" id="{158A377C-75D4-FBE3-C665-F8DD34BF9395}"/>
                  </a:ext>
                </a:extLst>
              </p:cNvPr>
              <p:cNvSpPr/>
              <p:nvPr/>
            </p:nvSpPr>
            <p:spPr>
              <a:xfrm>
                <a:off x="8885751" y="4409513"/>
                <a:ext cx="129046" cy="143651"/>
              </a:xfrm>
              <a:custGeom>
                <a:avLst/>
                <a:gdLst>
                  <a:gd name="connsiteX0" fmla="*/ 129046 w 129046"/>
                  <a:gd name="connsiteY0" fmla="*/ 0 h 143651"/>
                  <a:gd name="connsiteX1" fmla="*/ 129046 w 129046"/>
                  <a:gd name="connsiteY1" fmla="*/ 70092 h 143651"/>
                  <a:gd name="connsiteX2" fmla="*/ 0 w 129046"/>
                  <a:gd name="connsiteY2" fmla="*/ 143651 h 143651"/>
                  <a:gd name="connsiteX3" fmla="*/ 0 w 129046"/>
                  <a:gd name="connsiteY3" fmla="*/ 49841 h 1436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29046" h="143651">
                    <a:moveTo>
                      <a:pt x="129046" y="0"/>
                    </a:moveTo>
                    <a:lnTo>
                      <a:pt x="129046" y="70092"/>
                    </a:lnTo>
                    <a:lnTo>
                      <a:pt x="0" y="143651"/>
                    </a:lnTo>
                    <a:lnTo>
                      <a:pt x="0" y="49841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218" name="Forma livre: Forma 2217">
                <a:extLst>
                  <a:ext uri="{FF2B5EF4-FFF2-40B4-BE49-F238E27FC236}">
                    <a16:creationId xmlns:a16="http://schemas.microsoft.com/office/drawing/2014/main" id="{B966C293-5C6F-D6C0-AB82-6E6A53A0A99D}"/>
                  </a:ext>
                </a:extLst>
              </p:cNvPr>
              <p:cNvSpPr/>
              <p:nvPr/>
            </p:nvSpPr>
            <p:spPr>
              <a:xfrm>
                <a:off x="8756692" y="4436018"/>
                <a:ext cx="129058" cy="117146"/>
              </a:xfrm>
              <a:custGeom>
                <a:avLst/>
                <a:gdLst>
                  <a:gd name="connsiteX0" fmla="*/ 129058 w 129058"/>
                  <a:gd name="connsiteY0" fmla="*/ 117146 h 117146"/>
                  <a:gd name="connsiteX1" fmla="*/ 0 w 129058"/>
                  <a:gd name="connsiteY1" fmla="*/ 43587 h 117146"/>
                  <a:gd name="connsiteX2" fmla="*/ 0 w 129058"/>
                  <a:gd name="connsiteY2" fmla="*/ 0 h 1171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29058" h="117146">
                    <a:moveTo>
                      <a:pt x="129058" y="117146"/>
                    </a:moveTo>
                    <a:lnTo>
                      <a:pt x="0" y="43587"/>
                    </a:lnTo>
                    <a:lnTo>
                      <a:pt x="0" y="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2219" name="Gráfico 18">
              <a:extLst>
                <a:ext uri="{FF2B5EF4-FFF2-40B4-BE49-F238E27FC236}">
                  <a16:creationId xmlns:a16="http://schemas.microsoft.com/office/drawing/2014/main" id="{6A4D0B3D-9C55-46E7-E807-BAE28A33DED3}"/>
                </a:ext>
              </a:extLst>
            </p:cNvPr>
            <p:cNvGrpSpPr/>
            <p:nvPr/>
          </p:nvGrpSpPr>
          <p:grpSpPr>
            <a:xfrm>
              <a:off x="8723350" y="4342804"/>
              <a:ext cx="324802" cy="116955"/>
              <a:chOff x="8723350" y="4342804"/>
              <a:chExt cx="324802" cy="116955"/>
            </a:xfrm>
            <a:noFill/>
          </p:grpSpPr>
          <p:sp>
            <p:nvSpPr>
              <p:cNvPr id="2220" name="Forma livre: Forma 2219">
                <a:extLst>
                  <a:ext uri="{FF2B5EF4-FFF2-40B4-BE49-F238E27FC236}">
                    <a16:creationId xmlns:a16="http://schemas.microsoft.com/office/drawing/2014/main" id="{FD4CFE79-B3A0-C96D-89B7-44B1941DE637}"/>
                  </a:ext>
                </a:extLst>
              </p:cNvPr>
              <p:cNvSpPr/>
              <p:nvPr/>
            </p:nvSpPr>
            <p:spPr>
              <a:xfrm>
                <a:off x="8723350" y="4342804"/>
                <a:ext cx="162401" cy="116955"/>
              </a:xfrm>
              <a:custGeom>
                <a:avLst/>
                <a:gdLst>
                  <a:gd name="connsiteX0" fmla="*/ 33343 w 162401"/>
                  <a:gd name="connsiteY0" fmla="*/ 0 h 116955"/>
                  <a:gd name="connsiteX1" fmla="*/ 162401 w 162401"/>
                  <a:gd name="connsiteY1" fmla="*/ 68401 h 116955"/>
                  <a:gd name="connsiteX2" fmla="*/ 129058 w 162401"/>
                  <a:gd name="connsiteY2" fmla="*/ 116956 h 116955"/>
                  <a:gd name="connsiteX3" fmla="*/ 0 w 162401"/>
                  <a:gd name="connsiteY3" fmla="*/ 48543 h 116955"/>
                  <a:gd name="connsiteX4" fmla="*/ 33343 w 162401"/>
                  <a:gd name="connsiteY4" fmla="*/ 0 h 1169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2401" h="116955">
                    <a:moveTo>
                      <a:pt x="33343" y="0"/>
                    </a:moveTo>
                    <a:lnTo>
                      <a:pt x="162401" y="68401"/>
                    </a:lnTo>
                    <a:lnTo>
                      <a:pt x="129058" y="116956"/>
                    </a:lnTo>
                    <a:lnTo>
                      <a:pt x="0" y="48543"/>
                    </a:lnTo>
                    <a:lnTo>
                      <a:pt x="33343" y="0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221" name="Forma livre: Forma 2220">
                <a:extLst>
                  <a:ext uri="{FF2B5EF4-FFF2-40B4-BE49-F238E27FC236}">
                    <a16:creationId xmlns:a16="http://schemas.microsoft.com/office/drawing/2014/main" id="{3428895F-486F-223E-E98D-049A0FC329B4}"/>
                  </a:ext>
                </a:extLst>
              </p:cNvPr>
              <p:cNvSpPr/>
              <p:nvPr/>
            </p:nvSpPr>
            <p:spPr>
              <a:xfrm>
                <a:off x="8885751" y="4342804"/>
                <a:ext cx="162401" cy="116955"/>
              </a:xfrm>
              <a:custGeom>
                <a:avLst/>
                <a:gdLst>
                  <a:gd name="connsiteX0" fmla="*/ 129046 w 162401"/>
                  <a:gd name="connsiteY0" fmla="*/ 0 h 116955"/>
                  <a:gd name="connsiteX1" fmla="*/ 0 w 162401"/>
                  <a:gd name="connsiteY1" fmla="*/ 68401 h 116955"/>
                  <a:gd name="connsiteX2" fmla="*/ 33343 w 162401"/>
                  <a:gd name="connsiteY2" fmla="*/ 116956 h 116955"/>
                  <a:gd name="connsiteX3" fmla="*/ 162401 w 162401"/>
                  <a:gd name="connsiteY3" fmla="*/ 48543 h 116955"/>
                  <a:gd name="connsiteX4" fmla="*/ 129046 w 162401"/>
                  <a:gd name="connsiteY4" fmla="*/ 0 h 1169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2401" h="116955">
                    <a:moveTo>
                      <a:pt x="129046" y="0"/>
                    </a:moveTo>
                    <a:lnTo>
                      <a:pt x="0" y="68401"/>
                    </a:lnTo>
                    <a:lnTo>
                      <a:pt x="33343" y="116956"/>
                    </a:lnTo>
                    <a:lnTo>
                      <a:pt x="162401" y="48543"/>
                    </a:lnTo>
                    <a:lnTo>
                      <a:pt x="129046" y="0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2222" name="Gráfico 18">
              <a:extLst>
                <a:ext uri="{FF2B5EF4-FFF2-40B4-BE49-F238E27FC236}">
                  <a16:creationId xmlns:a16="http://schemas.microsoft.com/office/drawing/2014/main" id="{3AD1C711-D269-C4B6-8D97-A9F5914AEBC0}"/>
                </a:ext>
              </a:extLst>
            </p:cNvPr>
            <p:cNvGrpSpPr/>
            <p:nvPr/>
          </p:nvGrpSpPr>
          <p:grpSpPr>
            <a:xfrm>
              <a:off x="8780053" y="4177354"/>
              <a:ext cx="211396" cy="173539"/>
              <a:chOff x="8780053" y="4177354"/>
              <a:chExt cx="211396" cy="173539"/>
            </a:xfrm>
            <a:noFill/>
          </p:grpSpPr>
          <p:sp>
            <p:nvSpPr>
              <p:cNvPr id="2223" name="Forma livre: Forma 2222">
                <a:extLst>
                  <a:ext uri="{FF2B5EF4-FFF2-40B4-BE49-F238E27FC236}">
                    <a16:creationId xmlns:a16="http://schemas.microsoft.com/office/drawing/2014/main" id="{7820DE2E-6F8C-9882-5E83-5B41CF38095A}"/>
                  </a:ext>
                </a:extLst>
              </p:cNvPr>
              <p:cNvSpPr/>
              <p:nvPr/>
            </p:nvSpPr>
            <p:spPr>
              <a:xfrm>
                <a:off x="8885751" y="4261550"/>
                <a:ext cx="84005" cy="89342"/>
              </a:xfrm>
              <a:custGeom>
                <a:avLst/>
                <a:gdLst>
                  <a:gd name="connsiteX0" fmla="*/ 84006 w 84005"/>
                  <a:gd name="connsiteY0" fmla="*/ 0 h 89342"/>
                  <a:gd name="connsiteX1" fmla="*/ 84006 w 84005"/>
                  <a:gd name="connsiteY1" fmla="*/ 45112 h 89342"/>
                  <a:gd name="connsiteX2" fmla="*/ 0 w 84005"/>
                  <a:gd name="connsiteY2" fmla="*/ 89343 h 89342"/>
                  <a:gd name="connsiteX3" fmla="*/ 0 w 84005"/>
                  <a:gd name="connsiteY3" fmla="*/ 37965 h 893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4005" h="89342">
                    <a:moveTo>
                      <a:pt x="84006" y="0"/>
                    </a:moveTo>
                    <a:lnTo>
                      <a:pt x="84006" y="45112"/>
                    </a:lnTo>
                    <a:lnTo>
                      <a:pt x="0" y="89343"/>
                    </a:lnTo>
                    <a:lnTo>
                      <a:pt x="0" y="37965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224" name="Forma livre: Forma 2223">
                <a:extLst>
                  <a:ext uri="{FF2B5EF4-FFF2-40B4-BE49-F238E27FC236}">
                    <a16:creationId xmlns:a16="http://schemas.microsoft.com/office/drawing/2014/main" id="{172EBD8C-796B-E1CB-84CD-8D44538980D0}"/>
                  </a:ext>
                </a:extLst>
              </p:cNvPr>
              <p:cNvSpPr/>
              <p:nvPr/>
            </p:nvSpPr>
            <p:spPr>
              <a:xfrm>
                <a:off x="8801757" y="4177354"/>
                <a:ext cx="167999" cy="41478"/>
              </a:xfrm>
              <a:custGeom>
                <a:avLst/>
                <a:gdLst>
                  <a:gd name="connsiteX0" fmla="*/ 168000 w 167999"/>
                  <a:gd name="connsiteY0" fmla="*/ 39049 h 41478"/>
                  <a:gd name="connsiteX1" fmla="*/ 83994 w 167999"/>
                  <a:gd name="connsiteY1" fmla="*/ 0 h 41478"/>
                  <a:gd name="connsiteX2" fmla="*/ 0 w 167999"/>
                  <a:gd name="connsiteY2" fmla="*/ 41479 h 414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67999" h="41478">
                    <a:moveTo>
                      <a:pt x="168000" y="39049"/>
                    </a:moveTo>
                    <a:lnTo>
                      <a:pt x="83994" y="0"/>
                    </a:lnTo>
                    <a:lnTo>
                      <a:pt x="0" y="41479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225" name="Forma livre: Forma 2224">
                <a:extLst>
                  <a:ext uri="{FF2B5EF4-FFF2-40B4-BE49-F238E27FC236}">
                    <a16:creationId xmlns:a16="http://schemas.microsoft.com/office/drawing/2014/main" id="{A8D78612-CE98-95F1-4CED-475D3D46F62B}"/>
                  </a:ext>
                </a:extLst>
              </p:cNvPr>
              <p:cNvSpPr/>
              <p:nvPr/>
            </p:nvSpPr>
            <p:spPr>
              <a:xfrm>
                <a:off x="8801757" y="4261360"/>
                <a:ext cx="83994" cy="89533"/>
              </a:xfrm>
              <a:custGeom>
                <a:avLst/>
                <a:gdLst>
                  <a:gd name="connsiteX0" fmla="*/ 83994 w 83994"/>
                  <a:gd name="connsiteY0" fmla="*/ 89533 h 89533"/>
                  <a:gd name="connsiteX1" fmla="*/ 0 w 83994"/>
                  <a:gd name="connsiteY1" fmla="*/ 45303 h 89533"/>
                  <a:gd name="connsiteX2" fmla="*/ 0 w 83994"/>
                  <a:gd name="connsiteY2" fmla="*/ 0 h 895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3994" h="89533">
                    <a:moveTo>
                      <a:pt x="83994" y="89533"/>
                    </a:moveTo>
                    <a:lnTo>
                      <a:pt x="0" y="45303"/>
                    </a:lnTo>
                    <a:lnTo>
                      <a:pt x="0" y="0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226" name="Forma livre: Forma 2225">
                <a:extLst>
                  <a:ext uri="{FF2B5EF4-FFF2-40B4-BE49-F238E27FC236}">
                    <a16:creationId xmlns:a16="http://schemas.microsoft.com/office/drawing/2014/main" id="{71CFF134-D19B-73FE-AE50-506AA0A52A2B}"/>
                  </a:ext>
                </a:extLst>
              </p:cNvPr>
              <p:cNvSpPr/>
              <p:nvPr/>
            </p:nvSpPr>
            <p:spPr>
              <a:xfrm>
                <a:off x="8780053" y="4218832"/>
                <a:ext cx="105698" cy="71259"/>
              </a:xfrm>
              <a:custGeom>
                <a:avLst/>
                <a:gdLst>
                  <a:gd name="connsiteX0" fmla="*/ 21704 w 105698"/>
                  <a:gd name="connsiteY0" fmla="*/ 0 h 71259"/>
                  <a:gd name="connsiteX1" fmla="*/ 105698 w 105698"/>
                  <a:gd name="connsiteY1" fmla="*/ 39668 h 71259"/>
                  <a:gd name="connsiteX2" fmla="*/ 83994 w 105698"/>
                  <a:gd name="connsiteY2" fmla="*/ 71260 h 71259"/>
                  <a:gd name="connsiteX3" fmla="*/ 0 w 105698"/>
                  <a:gd name="connsiteY3" fmla="*/ 31592 h 71259"/>
                  <a:gd name="connsiteX4" fmla="*/ 21704 w 105698"/>
                  <a:gd name="connsiteY4" fmla="*/ 0 h 712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05698" h="71259">
                    <a:moveTo>
                      <a:pt x="21704" y="0"/>
                    </a:moveTo>
                    <a:lnTo>
                      <a:pt x="105698" y="39668"/>
                    </a:lnTo>
                    <a:lnTo>
                      <a:pt x="83994" y="71260"/>
                    </a:lnTo>
                    <a:lnTo>
                      <a:pt x="0" y="31592"/>
                    </a:lnTo>
                    <a:lnTo>
                      <a:pt x="21704" y="0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227" name="Forma livre: Forma 2226">
                <a:extLst>
                  <a:ext uri="{FF2B5EF4-FFF2-40B4-BE49-F238E27FC236}">
                    <a16:creationId xmlns:a16="http://schemas.microsoft.com/office/drawing/2014/main" id="{50BAA48B-B0BA-5F48-3BE1-3D7DFAC53B5B}"/>
                  </a:ext>
                </a:extLst>
              </p:cNvPr>
              <p:cNvSpPr/>
              <p:nvPr/>
            </p:nvSpPr>
            <p:spPr>
              <a:xfrm>
                <a:off x="8885751" y="4216402"/>
                <a:ext cx="105698" cy="73689"/>
              </a:xfrm>
              <a:custGeom>
                <a:avLst/>
                <a:gdLst>
                  <a:gd name="connsiteX0" fmla="*/ 84006 w 105698"/>
                  <a:gd name="connsiteY0" fmla="*/ 0 h 73689"/>
                  <a:gd name="connsiteX1" fmla="*/ 0 w 105698"/>
                  <a:gd name="connsiteY1" fmla="*/ 42098 h 73689"/>
                  <a:gd name="connsiteX2" fmla="*/ 21704 w 105698"/>
                  <a:gd name="connsiteY2" fmla="*/ 73690 h 73689"/>
                  <a:gd name="connsiteX3" fmla="*/ 105698 w 105698"/>
                  <a:gd name="connsiteY3" fmla="*/ 31603 h 73689"/>
                  <a:gd name="connsiteX4" fmla="*/ 84006 w 105698"/>
                  <a:gd name="connsiteY4" fmla="*/ 0 h 736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05698" h="73689">
                    <a:moveTo>
                      <a:pt x="84006" y="0"/>
                    </a:moveTo>
                    <a:lnTo>
                      <a:pt x="0" y="42098"/>
                    </a:lnTo>
                    <a:lnTo>
                      <a:pt x="21704" y="73690"/>
                    </a:lnTo>
                    <a:lnTo>
                      <a:pt x="105698" y="31603"/>
                    </a:lnTo>
                    <a:lnTo>
                      <a:pt x="84006" y="0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228" name="Forma livre: Forma 2227">
                <a:extLst>
                  <a:ext uri="{FF2B5EF4-FFF2-40B4-BE49-F238E27FC236}">
                    <a16:creationId xmlns:a16="http://schemas.microsoft.com/office/drawing/2014/main" id="{27F92EC1-BB54-45EF-EF04-0B97D61CC8C9}"/>
                  </a:ext>
                </a:extLst>
              </p:cNvPr>
              <p:cNvSpPr/>
              <p:nvPr/>
            </p:nvSpPr>
            <p:spPr>
              <a:xfrm>
                <a:off x="8885751" y="4179009"/>
                <a:ext cx="1191" cy="42908"/>
              </a:xfrm>
              <a:custGeom>
                <a:avLst/>
                <a:gdLst>
                  <a:gd name="connsiteX0" fmla="*/ 0 w 1191"/>
                  <a:gd name="connsiteY0" fmla="*/ 0 h 42908"/>
                  <a:gd name="connsiteX1" fmla="*/ 0 w 1191"/>
                  <a:gd name="connsiteY1" fmla="*/ 42908 h 429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1" h="42908">
                    <a:moveTo>
                      <a:pt x="0" y="0"/>
                    </a:moveTo>
                    <a:lnTo>
                      <a:pt x="0" y="42908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2229" name="Gráfico 18">
              <a:extLst>
                <a:ext uri="{FF2B5EF4-FFF2-40B4-BE49-F238E27FC236}">
                  <a16:creationId xmlns:a16="http://schemas.microsoft.com/office/drawing/2014/main" id="{FB5BF011-4E92-66E8-B58B-285B0693B6E2}"/>
                </a:ext>
              </a:extLst>
            </p:cNvPr>
            <p:cNvGrpSpPr/>
            <p:nvPr/>
          </p:nvGrpSpPr>
          <p:grpSpPr>
            <a:xfrm>
              <a:off x="8717882" y="4303875"/>
              <a:ext cx="335725" cy="39024"/>
              <a:chOff x="8717882" y="4303875"/>
              <a:chExt cx="335725" cy="39024"/>
            </a:xfrm>
            <a:noFill/>
          </p:grpSpPr>
          <p:sp>
            <p:nvSpPr>
              <p:cNvPr id="2230" name="Forma livre: Forma 2229">
                <a:extLst>
                  <a:ext uri="{FF2B5EF4-FFF2-40B4-BE49-F238E27FC236}">
                    <a16:creationId xmlns:a16="http://schemas.microsoft.com/office/drawing/2014/main" id="{6C2ACB0D-4832-D1F3-70D4-B57AC143B7F2}"/>
                  </a:ext>
                </a:extLst>
              </p:cNvPr>
              <p:cNvSpPr/>
              <p:nvPr/>
            </p:nvSpPr>
            <p:spPr>
              <a:xfrm>
                <a:off x="8993736" y="4303946"/>
                <a:ext cx="59871" cy="38953"/>
              </a:xfrm>
              <a:custGeom>
                <a:avLst/>
                <a:gdLst>
                  <a:gd name="connsiteX0" fmla="*/ 0 w 59871"/>
                  <a:gd name="connsiteY0" fmla="*/ 0 h 38953"/>
                  <a:gd name="connsiteX1" fmla="*/ 59872 w 59871"/>
                  <a:gd name="connsiteY1" fmla="*/ 30686 h 38953"/>
                  <a:gd name="connsiteX2" fmla="*/ 21013 w 59871"/>
                  <a:gd name="connsiteY2" fmla="*/ 38953 h 389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59871" h="38953">
                    <a:moveTo>
                      <a:pt x="0" y="0"/>
                    </a:moveTo>
                    <a:lnTo>
                      <a:pt x="59872" y="30686"/>
                    </a:lnTo>
                    <a:lnTo>
                      <a:pt x="21013" y="38953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231" name="Forma livre: Forma 2230">
                <a:extLst>
                  <a:ext uri="{FF2B5EF4-FFF2-40B4-BE49-F238E27FC236}">
                    <a16:creationId xmlns:a16="http://schemas.microsoft.com/office/drawing/2014/main" id="{66C0C88E-D924-8B1F-4F25-583D9BC31813}"/>
                  </a:ext>
                </a:extLst>
              </p:cNvPr>
              <p:cNvSpPr/>
              <p:nvPr/>
            </p:nvSpPr>
            <p:spPr>
              <a:xfrm>
                <a:off x="8982777" y="4326377"/>
                <a:ext cx="32044" cy="16427"/>
              </a:xfrm>
              <a:custGeom>
                <a:avLst/>
                <a:gdLst>
                  <a:gd name="connsiteX0" fmla="*/ 0 w 32044"/>
                  <a:gd name="connsiteY0" fmla="*/ 0 h 16427"/>
                  <a:gd name="connsiteX1" fmla="*/ 32044 w 32044"/>
                  <a:gd name="connsiteY1" fmla="*/ 16427 h 164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2044" h="16427">
                    <a:moveTo>
                      <a:pt x="0" y="0"/>
                    </a:moveTo>
                    <a:lnTo>
                      <a:pt x="32044" y="16427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2232" name="Gráfico 18">
                <a:extLst>
                  <a:ext uri="{FF2B5EF4-FFF2-40B4-BE49-F238E27FC236}">
                    <a16:creationId xmlns:a16="http://schemas.microsoft.com/office/drawing/2014/main" id="{58F9EF34-F093-9D0D-5686-2A2D8B421476}"/>
                  </a:ext>
                </a:extLst>
              </p:cNvPr>
              <p:cNvGrpSpPr/>
              <p:nvPr/>
            </p:nvGrpSpPr>
            <p:grpSpPr>
              <a:xfrm>
                <a:off x="8717882" y="4303875"/>
                <a:ext cx="70973" cy="38953"/>
                <a:chOff x="8717882" y="4303875"/>
                <a:chExt cx="70973" cy="38953"/>
              </a:xfrm>
              <a:noFill/>
            </p:grpSpPr>
            <p:sp>
              <p:nvSpPr>
                <p:cNvPr id="2233" name="Forma livre: Forma 2232">
                  <a:extLst>
                    <a:ext uri="{FF2B5EF4-FFF2-40B4-BE49-F238E27FC236}">
                      <a16:creationId xmlns:a16="http://schemas.microsoft.com/office/drawing/2014/main" id="{8865E2EF-0EB4-FE45-BFB3-6646FFDAB0CB}"/>
                    </a:ext>
                  </a:extLst>
                </p:cNvPr>
                <p:cNvSpPr/>
                <p:nvPr/>
              </p:nvSpPr>
              <p:spPr>
                <a:xfrm>
                  <a:off x="8756812" y="4326377"/>
                  <a:ext cx="32044" cy="16427"/>
                </a:xfrm>
                <a:custGeom>
                  <a:avLst/>
                  <a:gdLst>
                    <a:gd name="connsiteX0" fmla="*/ 32044 w 32044"/>
                    <a:gd name="connsiteY0" fmla="*/ 0 h 16427"/>
                    <a:gd name="connsiteX1" fmla="*/ 0 w 32044"/>
                    <a:gd name="connsiteY1" fmla="*/ 16427 h 1642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32044" h="16427">
                      <a:moveTo>
                        <a:pt x="32044" y="0"/>
                      </a:moveTo>
                      <a:lnTo>
                        <a:pt x="0" y="16427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234" name="Forma livre: Forma 2233">
                  <a:extLst>
                    <a:ext uri="{FF2B5EF4-FFF2-40B4-BE49-F238E27FC236}">
                      <a16:creationId xmlns:a16="http://schemas.microsoft.com/office/drawing/2014/main" id="{44299483-4208-2E3A-F8E5-32E55FC2202D}"/>
                    </a:ext>
                  </a:extLst>
                </p:cNvPr>
                <p:cNvSpPr/>
                <p:nvPr/>
              </p:nvSpPr>
              <p:spPr>
                <a:xfrm>
                  <a:off x="8717882" y="4303875"/>
                  <a:ext cx="59883" cy="38953"/>
                </a:xfrm>
                <a:custGeom>
                  <a:avLst/>
                  <a:gdLst>
                    <a:gd name="connsiteX0" fmla="*/ 59883 w 59883"/>
                    <a:gd name="connsiteY0" fmla="*/ 0 h 38953"/>
                    <a:gd name="connsiteX1" fmla="*/ 0 w 59883"/>
                    <a:gd name="connsiteY1" fmla="*/ 30674 h 38953"/>
                    <a:gd name="connsiteX2" fmla="*/ 38870 w 59883"/>
                    <a:gd name="connsiteY2" fmla="*/ 38953 h 3895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59883" h="38953">
                      <a:moveTo>
                        <a:pt x="59883" y="0"/>
                      </a:moveTo>
                      <a:lnTo>
                        <a:pt x="0" y="30674"/>
                      </a:lnTo>
                      <a:lnTo>
                        <a:pt x="38870" y="38953"/>
                      </a:ln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</p:grpSp>
      <p:grpSp>
        <p:nvGrpSpPr>
          <p:cNvPr id="2236" name="Gráfico 19">
            <a:extLst>
              <a:ext uri="{FF2B5EF4-FFF2-40B4-BE49-F238E27FC236}">
                <a16:creationId xmlns:a16="http://schemas.microsoft.com/office/drawing/2014/main" id="{F36DA5BF-9A9E-615D-3B2E-C029C9444367}"/>
              </a:ext>
            </a:extLst>
          </p:cNvPr>
          <p:cNvGrpSpPr/>
          <p:nvPr/>
        </p:nvGrpSpPr>
        <p:grpSpPr>
          <a:xfrm>
            <a:off x="11097788" y="5760429"/>
            <a:ext cx="319133" cy="374839"/>
            <a:chOff x="11097788" y="5760429"/>
            <a:chExt cx="319133" cy="374839"/>
          </a:xfrm>
          <a:noFill/>
        </p:grpSpPr>
        <p:grpSp>
          <p:nvGrpSpPr>
            <p:cNvPr id="2237" name="Gráfico 19">
              <a:extLst>
                <a:ext uri="{FF2B5EF4-FFF2-40B4-BE49-F238E27FC236}">
                  <a16:creationId xmlns:a16="http://schemas.microsoft.com/office/drawing/2014/main" id="{88AC39D4-CF8D-6895-E062-FA97446B59CD}"/>
                </a:ext>
              </a:extLst>
            </p:cNvPr>
            <p:cNvGrpSpPr/>
            <p:nvPr/>
          </p:nvGrpSpPr>
          <p:grpSpPr>
            <a:xfrm>
              <a:off x="11189194" y="5760429"/>
              <a:ext cx="164798" cy="231763"/>
              <a:chOff x="11189194" y="5760429"/>
              <a:chExt cx="164798" cy="231763"/>
            </a:xfrm>
            <a:noFill/>
          </p:grpSpPr>
          <p:grpSp>
            <p:nvGrpSpPr>
              <p:cNvPr id="2238" name="Gráfico 19">
                <a:extLst>
                  <a:ext uri="{FF2B5EF4-FFF2-40B4-BE49-F238E27FC236}">
                    <a16:creationId xmlns:a16="http://schemas.microsoft.com/office/drawing/2014/main" id="{0736D8D5-6A43-4AB8-007F-89B4D15BE7B1}"/>
                  </a:ext>
                </a:extLst>
              </p:cNvPr>
              <p:cNvGrpSpPr/>
              <p:nvPr/>
            </p:nvGrpSpPr>
            <p:grpSpPr>
              <a:xfrm>
                <a:off x="11189194" y="5760429"/>
                <a:ext cx="150844" cy="231763"/>
                <a:chOff x="11189194" y="5760429"/>
                <a:chExt cx="150844" cy="231763"/>
              </a:xfrm>
              <a:noFill/>
            </p:grpSpPr>
            <p:sp>
              <p:nvSpPr>
                <p:cNvPr id="2239" name="Forma livre: Forma 2238">
                  <a:extLst>
                    <a:ext uri="{FF2B5EF4-FFF2-40B4-BE49-F238E27FC236}">
                      <a16:creationId xmlns:a16="http://schemas.microsoft.com/office/drawing/2014/main" id="{A4610D54-9CDA-6FF5-4D68-30422E758355}"/>
                    </a:ext>
                  </a:extLst>
                </p:cNvPr>
                <p:cNvSpPr/>
                <p:nvPr/>
              </p:nvSpPr>
              <p:spPr>
                <a:xfrm>
                  <a:off x="11189194" y="5841147"/>
                  <a:ext cx="150844" cy="151044"/>
                </a:xfrm>
                <a:custGeom>
                  <a:avLst/>
                  <a:gdLst>
                    <a:gd name="connsiteX0" fmla="*/ 0 w 150844"/>
                    <a:gd name="connsiteY0" fmla="*/ 151045 h 151044"/>
                    <a:gd name="connsiteX1" fmla="*/ 150844 w 150844"/>
                    <a:gd name="connsiteY1" fmla="*/ 151009 h 151044"/>
                    <a:gd name="connsiteX2" fmla="*/ 150844 w 150844"/>
                    <a:gd name="connsiteY2" fmla="*/ 0 h 151044"/>
                    <a:gd name="connsiteX3" fmla="*/ 131930 w 150844"/>
                    <a:gd name="connsiteY3" fmla="*/ 13406 h 151044"/>
                    <a:gd name="connsiteX4" fmla="*/ 113192 w 150844"/>
                    <a:gd name="connsiteY4" fmla="*/ 47 h 151044"/>
                    <a:gd name="connsiteX5" fmla="*/ 94137 w 150844"/>
                    <a:gd name="connsiteY5" fmla="*/ 13406 h 151044"/>
                    <a:gd name="connsiteX6" fmla="*/ 75375 w 150844"/>
                    <a:gd name="connsiteY6" fmla="*/ 47 h 151044"/>
                    <a:gd name="connsiteX7" fmla="*/ 56449 w 150844"/>
                    <a:gd name="connsiteY7" fmla="*/ 13406 h 151044"/>
                    <a:gd name="connsiteX8" fmla="*/ 37711 w 150844"/>
                    <a:gd name="connsiteY8" fmla="*/ 35 h 151044"/>
                    <a:gd name="connsiteX9" fmla="*/ 18750 w 150844"/>
                    <a:gd name="connsiteY9" fmla="*/ 13406 h 151044"/>
                    <a:gd name="connsiteX10" fmla="*/ 0 w 150844"/>
                    <a:gd name="connsiteY10" fmla="*/ 35 h 151044"/>
                    <a:gd name="connsiteX11" fmla="*/ 0 w 150844"/>
                    <a:gd name="connsiteY11" fmla="*/ 151045 h 15104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</a:cxnLst>
                  <a:rect l="l" t="t" r="r" b="b"/>
                  <a:pathLst>
                    <a:path w="150844" h="151044">
                      <a:moveTo>
                        <a:pt x="0" y="151045"/>
                      </a:moveTo>
                      <a:lnTo>
                        <a:pt x="150844" y="151009"/>
                      </a:lnTo>
                      <a:lnTo>
                        <a:pt x="150844" y="0"/>
                      </a:lnTo>
                      <a:lnTo>
                        <a:pt x="131930" y="13406"/>
                      </a:lnTo>
                      <a:lnTo>
                        <a:pt x="113192" y="47"/>
                      </a:lnTo>
                      <a:lnTo>
                        <a:pt x="94137" y="13406"/>
                      </a:lnTo>
                      <a:lnTo>
                        <a:pt x="75375" y="47"/>
                      </a:lnTo>
                      <a:lnTo>
                        <a:pt x="56449" y="13406"/>
                      </a:lnTo>
                      <a:lnTo>
                        <a:pt x="37711" y="35"/>
                      </a:lnTo>
                      <a:lnTo>
                        <a:pt x="18750" y="13406"/>
                      </a:lnTo>
                      <a:lnTo>
                        <a:pt x="0" y="35"/>
                      </a:lnTo>
                      <a:lnTo>
                        <a:pt x="0" y="151045"/>
                      </a:lnTo>
                      <a:close/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240" name="Forma livre: Forma 2239">
                  <a:extLst>
                    <a:ext uri="{FF2B5EF4-FFF2-40B4-BE49-F238E27FC236}">
                      <a16:creationId xmlns:a16="http://schemas.microsoft.com/office/drawing/2014/main" id="{36EAE48D-0A7D-6D74-6E9D-96E2BFD106BC}"/>
                    </a:ext>
                  </a:extLst>
                </p:cNvPr>
                <p:cNvSpPr/>
                <p:nvPr/>
              </p:nvSpPr>
              <p:spPr>
                <a:xfrm>
                  <a:off x="11243348" y="5760429"/>
                  <a:ext cx="37075" cy="35980"/>
                </a:xfrm>
                <a:custGeom>
                  <a:avLst/>
                  <a:gdLst>
                    <a:gd name="connsiteX0" fmla="*/ 0 w 37075"/>
                    <a:gd name="connsiteY0" fmla="*/ 35981 h 35980"/>
                    <a:gd name="connsiteX1" fmla="*/ 0 w 37075"/>
                    <a:gd name="connsiteY1" fmla="*/ 0 h 35980"/>
                    <a:gd name="connsiteX2" fmla="*/ 37076 w 37075"/>
                    <a:gd name="connsiteY2" fmla="*/ 0 h 35980"/>
                    <a:gd name="connsiteX3" fmla="*/ 37076 w 37075"/>
                    <a:gd name="connsiteY3" fmla="*/ 27047 h 359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37075" h="35980">
                      <a:moveTo>
                        <a:pt x="0" y="35981"/>
                      </a:moveTo>
                      <a:lnTo>
                        <a:pt x="0" y="0"/>
                      </a:lnTo>
                      <a:lnTo>
                        <a:pt x="37076" y="0"/>
                      </a:lnTo>
                      <a:lnTo>
                        <a:pt x="37076" y="27047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241" name="Forma livre: Forma 2240">
                  <a:extLst>
                    <a:ext uri="{FF2B5EF4-FFF2-40B4-BE49-F238E27FC236}">
                      <a16:creationId xmlns:a16="http://schemas.microsoft.com/office/drawing/2014/main" id="{0C00EBBD-4A4E-0B84-0F6C-30FA719C9E15}"/>
                    </a:ext>
                  </a:extLst>
                </p:cNvPr>
                <p:cNvSpPr/>
                <p:nvPr/>
              </p:nvSpPr>
              <p:spPr>
                <a:xfrm>
                  <a:off x="11201682" y="5796009"/>
                  <a:ext cx="54683" cy="29154"/>
                </a:xfrm>
                <a:custGeom>
                  <a:avLst/>
                  <a:gdLst>
                    <a:gd name="connsiteX0" fmla="*/ 0 w 54683"/>
                    <a:gd name="connsiteY0" fmla="*/ 29154 h 29154"/>
                    <a:gd name="connsiteX1" fmla="*/ 0 w 54683"/>
                    <a:gd name="connsiteY1" fmla="*/ 0 h 29154"/>
                    <a:gd name="connsiteX2" fmla="*/ 54683 w 54683"/>
                    <a:gd name="connsiteY2" fmla="*/ 0 h 29154"/>
                    <a:gd name="connsiteX3" fmla="*/ 54683 w 54683"/>
                    <a:gd name="connsiteY3" fmla="*/ 29154 h 2915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54683" h="29154">
                      <a:moveTo>
                        <a:pt x="0" y="29154"/>
                      </a:moveTo>
                      <a:lnTo>
                        <a:pt x="0" y="0"/>
                      </a:lnTo>
                      <a:lnTo>
                        <a:pt x="54683" y="0"/>
                      </a:lnTo>
                      <a:lnTo>
                        <a:pt x="54683" y="29154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2242" name="Gráfico 19">
                <a:extLst>
                  <a:ext uri="{FF2B5EF4-FFF2-40B4-BE49-F238E27FC236}">
                    <a16:creationId xmlns:a16="http://schemas.microsoft.com/office/drawing/2014/main" id="{46D26042-2ACB-C782-9623-225660879E18}"/>
                  </a:ext>
                </a:extLst>
              </p:cNvPr>
              <p:cNvGrpSpPr/>
              <p:nvPr/>
            </p:nvGrpSpPr>
            <p:grpSpPr>
              <a:xfrm>
                <a:off x="11276115" y="5762733"/>
                <a:ext cx="77876" cy="65514"/>
                <a:chOff x="11276115" y="5762733"/>
                <a:chExt cx="77876" cy="65514"/>
              </a:xfrm>
              <a:noFill/>
            </p:grpSpPr>
            <p:sp>
              <p:nvSpPr>
                <p:cNvPr id="2243" name="Forma livre: Forma 2242">
                  <a:extLst>
                    <a:ext uri="{FF2B5EF4-FFF2-40B4-BE49-F238E27FC236}">
                      <a16:creationId xmlns:a16="http://schemas.microsoft.com/office/drawing/2014/main" id="{19007525-FDA1-038B-775D-9D24F6DEC3CA}"/>
                    </a:ext>
                  </a:extLst>
                </p:cNvPr>
                <p:cNvSpPr/>
                <p:nvPr/>
              </p:nvSpPr>
              <p:spPr>
                <a:xfrm>
                  <a:off x="11276115" y="5762733"/>
                  <a:ext cx="77876" cy="65514"/>
                </a:xfrm>
                <a:custGeom>
                  <a:avLst/>
                  <a:gdLst>
                    <a:gd name="connsiteX0" fmla="*/ 0 w 77876"/>
                    <a:gd name="connsiteY0" fmla="*/ 61513 h 65514"/>
                    <a:gd name="connsiteX1" fmla="*/ 40618 w 77876"/>
                    <a:gd name="connsiteY1" fmla="*/ 7430 h 65514"/>
                    <a:gd name="connsiteX2" fmla="*/ 66724 w 77876"/>
                    <a:gd name="connsiteY2" fmla="*/ 3710 h 65514"/>
                    <a:gd name="connsiteX3" fmla="*/ 70443 w 77876"/>
                    <a:gd name="connsiteY3" fmla="*/ 6512 h 65514"/>
                    <a:gd name="connsiteX4" fmla="*/ 74163 w 77876"/>
                    <a:gd name="connsiteY4" fmla="*/ 32618 h 65514"/>
                    <a:gd name="connsiteX5" fmla="*/ 49469 w 77876"/>
                    <a:gd name="connsiteY5" fmla="*/ 65515 h 6551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77876" h="65514">
                      <a:moveTo>
                        <a:pt x="0" y="61513"/>
                      </a:moveTo>
                      <a:lnTo>
                        <a:pt x="40618" y="7430"/>
                      </a:lnTo>
                      <a:cubicBezTo>
                        <a:pt x="46774" y="-762"/>
                        <a:pt x="58520" y="-2445"/>
                        <a:pt x="66724" y="3710"/>
                      </a:cubicBezTo>
                      <a:lnTo>
                        <a:pt x="70443" y="6512"/>
                      </a:lnTo>
                      <a:cubicBezTo>
                        <a:pt x="78647" y="12667"/>
                        <a:pt x="80318" y="24425"/>
                        <a:pt x="74163" y="32618"/>
                      </a:cubicBezTo>
                      <a:lnTo>
                        <a:pt x="49469" y="65515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244" name="Forma livre: Forma 2243">
                  <a:extLst>
                    <a:ext uri="{FF2B5EF4-FFF2-40B4-BE49-F238E27FC236}">
                      <a16:creationId xmlns:a16="http://schemas.microsoft.com/office/drawing/2014/main" id="{FC2BDFB4-BBBF-5B02-A3E8-D9367FEC6799}"/>
                    </a:ext>
                  </a:extLst>
                </p:cNvPr>
                <p:cNvSpPr/>
                <p:nvPr/>
              </p:nvSpPr>
              <p:spPr>
                <a:xfrm>
                  <a:off x="11299985" y="5785033"/>
                  <a:ext cx="26094" cy="7433"/>
                </a:xfrm>
                <a:custGeom>
                  <a:avLst/>
                  <a:gdLst>
                    <a:gd name="connsiteX0" fmla="*/ 0 w 26094"/>
                    <a:gd name="connsiteY0" fmla="*/ 7433 h 7433"/>
                    <a:gd name="connsiteX1" fmla="*/ 26094 w 26094"/>
                    <a:gd name="connsiteY1" fmla="*/ 3714 h 74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6094" h="7433">
                      <a:moveTo>
                        <a:pt x="0" y="7433"/>
                      </a:moveTo>
                      <a:cubicBezTo>
                        <a:pt x="6156" y="-771"/>
                        <a:pt x="17890" y="-2442"/>
                        <a:pt x="26094" y="3714"/>
                      </a:cubicBez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245" name="Forma livre: Forma 2244">
                  <a:extLst>
                    <a:ext uri="{FF2B5EF4-FFF2-40B4-BE49-F238E27FC236}">
                      <a16:creationId xmlns:a16="http://schemas.microsoft.com/office/drawing/2014/main" id="{06DAB4E4-42F2-A690-378E-5D22AC4CEE28}"/>
                    </a:ext>
                  </a:extLst>
                </p:cNvPr>
                <p:cNvSpPr/>
                <p:nvPr/>
              </p:nvSpPr>
              <p:spPr>
                <a:xfrm>
                  <a:off x="11283895" y="5806467"/>
                  <a:ext cx="26093" cy="7433"/>
                </a:xfrm>
                <a:custGeom>
                  <a:avLst/>
                  <a:gdLst>
                    <a:gd name="connsiteX0" fmla="*/ 0 w 26093"/>
                    <a:gd name="connsiteY0" fmla="*/ 7433 h 7433"/>
                    <a:gd name="connsiteX1" fmla="*/ 26094 w 26093"/>
                    <a:gd name="connsiteY1" fmla="*/ 3714 h 74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6093" h="7433">
                      <a:moveTo>
                        <a:pt x="0" y="7433"/>
                      </a:moveTo>
                      <a:cubicBezTo>
                        <a:pt x="6156" y="-771"/>
                        <a:pt x="17890" y="-2442"/>
                        <a:pt x="26094" y="3714"/>
                      </a:cubicBez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grpSp>
          <p:nvGrpSpPr>
            <p:cNvPr id="2246" name="Gráfico 19">
              <a:extLst>
                <a:ext uri="{FF2B5EF4-FFF2-40B4-BE49-F238E27FC236}">
                  <a16:creationId xmlns:a16="http://schemas.microsoft.com/office/drawing/2014/main" id="{4C9DB49D-E8A8-F047-1DB1-D8271B904036}"/>
                </a:ext>
              </a:extLst>
            </p:cNvPr>
            <p:cNvGrpSpPr/>
            <p:nvPr/>
          </p:nvGrpSpPr>
          <p:grpSpPr>
            <a:xfrm>
              <a:off x="11097788" y="6005124"/>
              <a:ext cx="319133" cy="130143"/>
              <a:chOff x="11097788" y="6005124"/>
              <a:chExt cx="319133" cy="130143"/>
            </a:xfrm>
            <a:noFill/>
          </p:grpSpPr>
          <p:sp>
            <p:nvSpPr>
              <p:cNvPr id="2247" name="Forma livre: Forma 2246">
                <a:extLst>
                  <a:ext uri="{FF2B5EF4-FFF2-40B4-BE49-F238E27FC236}">
                    <a16:creationId xmlns:a16="http://schemas.microsoft.com/office/drawing/2014/main" id="{07BF3F65-435E-E30B-3E7D-EFCDE7FC2887}"/>
                  </a:ext>
                </a:extLst>
              </p:cNvPr>
              <p:cNvSpPr/>
              <p:nvPr/>
            </p:nvSpPr>
            <p:spPr>
              <a:xfrm>
                <a:off x="11137147" y="6005124"/>
                <a:ext cx="279774" cy="130143"/>
              </a:xfrm>
              <a:custGeom>
                <a:avLst/>
                <a:gdLst>
                  <a:gd name="connsiteX0" fmla="*/ 190956 w 279774"/>
                  <a:gd name="connsiteY0" fmla="*/ 32464 h 130143"/>
                  <a:gd name="connsiteX1" fmla="*/ 248182 w 279774"/>
                  <a:gd name="connsiteY1" fmla="*/ 3216 h 130143"/>
                  <a:gd name="connsiteX2" fmla="*/ 277572 w 279774"/>
                  <a:gd name="connsiteY2" fmla="*/ 9607 h 130143"/>
                  <a:gd name="connsiteX3" fmla="*/ 267167 w 279774"/>
                  <a:gd name="connsiteY3" fmla="*/ 38526 h 130143"/>
                  <a:gd name="connsiteX4" fmla="*/ 148420 w 279774"/>
                  <a:gd name="connsiteY4" fmla="*/ 102178 h 130143"/>
                  <a:gd name="connsiteX5" fmla="*/ 142135 w 279774"/>
                  <a:gd name="connsiteY5" fmla="*/ 103755 h 130143"/>
                  <a:gd name="connsiteX6" fmla="*/ 31391 w 279774"/>
                  <a:gd name="connsiteY6" fmla="*/ 106745 h 130143"/>
                  <a:gd name="connsiteX7" fmla="*/ 0 w 279774"/>
                  <a:gd name="connsiteY7" fmla="*/ 130144 h 1301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79774" h="130143">
                    <a:moveTo>
                      <a:pt x="190956" y="32464"/>
                    </a:moveTo>
                    <a:lnTo>
                      <a:pt x="248182" y="3216"/>
                    </a:lnTo>
                    <a:cubicBezTo>
                      <a:pt x="259246" y="-2728"/>
                      <a:pt x="272217" y="-339"/>
                      <a:pt x="277572" y="9607"/>
                    </a:cubicBezTo>
                    <a:cubicBezTo>
                      <a:pt x="282904" y="19564"/>
                      <a:pt x="278219" y="32582"/>
                      <a:pt x="267167" y="38526"/>
                    </a:cubicBezTo>
                    <a:lnTo>
                      <a:pt x="148420" y="102178"/>
                    </a:lnTo>
                    <a:lnTo>
                      <a:pt x="142135" y="103755"/>
                    </a:lnTo>
                    <a:lnTo>
                      <a:pt x="31391" y="106745"/>
                    </a:lnTo>
                    <a:cubicBezTo>
                      <a:pt x="31391" y="106745"/>
                      <a:pt x="17125" y="110735"/>
                      <a:pt x="0" y="130144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248" name="Forma livre: Forma 2247">
                <a:extLst>
                  <a:ext uri="{FF2B5EF4-FFF2-40B4-BE49-F238E27FC236}">
                    <a16:creationId xmlns:a16="http://schemas.microsoft.com/office/drawing/2014/main" id="{7FAE9B36-C951-9E80-3D87-91D080C08F1B}"/>
                  </a:ext>
                </a:extLst>
              </p:cNvPr>
              <p:cNvSpPr/>
              <p:nvPr/>
            </p:nvSpPr>
            <p:spPr>
              <a:xfrm>
                <a:off x="11097788" y="6020869"/>
                <a:ext cx="211177" cy="56183"/>
              </a:xfrm>
              <a:custGeom>
                <a:avLst/>
                <a:gdLst>
                  <a:gd name="connsiteX0" fmla="*/ 0 w 211177"/>
                  <a:gd name="connsiteY0" fmla="*/ 56184 h 56183"/>
                  <a:gd name="connsiteX1" fmla="*/ 50234 w 211177"/>
                  <a:gd name="connsiteY1" fmla="*/ 9939 h 56183"/>
                  <a:gd name="connsiteX2" fmla="*/ 103894 w 211177"/>
                  <a:gd name="connsiteY2" fmla="*/ 2513 h 56183"/>
                  <a:gd name="connsiteX3" fmla="*/ 144171 w 211177"/>
                  <a:gd name="connsiteY3" fmla="*/ 7068 h 56183"/>
                  <a:gd name="connsiteX4" fmla="*/ 187637 w 211177"/>
                  <a:gd name="connsiteY4" fmla="*/ 7068 h 56183"/>
                  <a:gd name="connsiteX5" fmla="*/ 211177 w 211177"/>
                  <a:gd name="connsiteY5" fmla="*/ 27606 h 56183"/>
                  <a:gd name="connsiteX6" fmla="*/ 187637 w 211177"/>
                  <a:gd name="connsiteY6" fmla="*/ 48157 h 56183"/>
                  <a:gd name="connsiteX7" fmla="*/ 127504 w 211177"/>
                  <a:gd name="connsiteY7" fmla="*/ 48157 h 561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11177" h="56183">
                    <a:moveTo>
                      <a:pt x="0" y="56184"/>
                    </a:moveTo>
                    <a:lnTo>
                      <a:pt x="50234" y="9939"/>
                    </a:lnTo>
                    <a:cubicBezTo>
                      <a:pt x="74786" y="-6621"/>
                      <a:pt x="103894" y="2513"/>
                      <a:pt x="103894" y="2513"/>
                    </a:cubicBezTo>
                    <a:cubicBezTo>
                      <a:pt x="117994" y="6220"/>
                      <a:pt x="144171" y="7068"/>
                      <a:pt x="144171" y="7068"/>
                    </a:cubicBezTo>
                    <a:lnTo>
                      <a:pt x="187637" y="7068"/>
                    </a:lnTo>
                    <a:cubicBezTo>
                      <a:pt x="200584" y="7068"/>
                      <a:pt x="211177" y="16307"/>
                      <a:pt x="211177" y="27606"/>
                    </a:cubicBezTo>
                    <a:cubicBezTo>
                      <a:pt x="211177" y="38905"/>
                      <a:pt x="200584" y="48157"/>
                      <a:pt x="187637" y="48157"/>
                    </a:cubicBezTo>
                    <a:lnTo>
                      <a:pt x="127504" y="48157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2249" name="Gráfico 19">
            <a:extLst>
              <a:ext uri="{FF2B5EF4-FFF2-40B4-BE49-F238E27FC236}">
                <a16:creationId xmlns:a16="http://schemas.microsoft.com/office/drawing/2014/main" id="{E6A8F3B0-8FCF-8971-DC11-6ACEA36CDE7B}"/>
              </a:ext>
            </a:extLst>
          </p:cNvPr>
          <p:cNvGrpSpPr/>
          <p:nvPr/>
        </p:nvGrpSpPr>
        <p:grpSpPr>
          <a:xfrm>
            <a:off x="11071412" y="4742699"/>
            <a:ext cx="371896" cy="311918"/>
            <a:chOff x="11071412" y="4742699"/>
            <a:chExt cx="371896" cy="311918"/>
          </a:xfrm>
          <a:noFill/>
        </p:grpSpPr>
        <p:sp>
          <p:nvSpPr>
            <p:cNvPr id="2250" name="Forma livre: Forma 2249">
              <a:extLst>
                <a:ext uri="{FF2B5EF4-FFF2-40B4-BE49-F238E27FC236}">
                  <a16:creationId xmlns:a16="http://schemas.microsoft.com/office/drawing/2014/main" id="{F02B2F28-0DFF-C0A1-BBC0-1C87D8E1413F}"/>
                </a:ext>
              </a:extLst>
            </p:cNvPr>
            <p:cNvSpPr/>
            <p:nvPr/>
          </p:nvSpPr>
          <p:spPr>
            <a:xfrm>
              <a:off x="11208850" y="4824384"/>
              <a:ext cx="233964" cy="230232"/>
            </a:xfrm>
            <a:custGeom>
              <a:avLst/>
              <a:gdLst>
                <a:gd name="connsiteX0" fmla="*/ 211330 w 233964"/>
                <a:gd name="connsiteY0" fmla="*/ 0 h 230232"/>
                <a:gd name="connsiteX1" fmla="*/ 233964 w 233964"/>
                <a:gd name="connsiteY1" fmla="*/ 53448 h 230232"/>
                <a:gd name="connsiteX2" fmla="*/ 233964 w 233964"/>
                <a:gd name="connsiteY2" fmla="*/ 230233 h 230232"/>
                <a:gd name="connsiteX3" fmla="*/ 0 w 233964"/>
                <a:gd name="connsiteY3" fmla="*/ 230233 h 230232"/>
                <a:gd name="connsiteX4" fmla="*/ 0 w 233964"/>
                <a:gd name="connsiteY4" fmla="*/ 53448 h 230232"/>
                <a:gd name="connsiteX5" fmla="*/ 16054 w 233964"/>
                <a:gd name="connsiteY5" fmla="*/ 9875 h 2302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33964" h="230232">
                  <a:moveTo>
                    <a:pt x="211330" y="0"/>
                  </a:moveTo>
                  <a:lnTo>
                    <a:pt x="233964" y="53448"/>
                  </a:lnTo>
                  <a:lnTo>
                    <a:pt x="233964" y="230233"/>
                  </a:lnTo>
                  <a:lnTo>
                    <a:pt x="0" y="230233"/>
                  </a:lnTo>
                  <a:lnTo>
                    <a:pt x="0" y="53448"/>
                  </a:lnTo>
                  <a:lnTo>
                    <a:pt x="16054" y="9875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251" name="Forma livre: Forma 2250">
              <a:extLst>
                <a:ext uri="{FF2B5EF4-FFF2-40B4-BE49-F238E27FC236}">
                  <a16:creationId xmlns:a16="http://schemas.microsoft.com/office/drawing/2014/main" id="{79D6995E-D2EC-6AEE-A116-10B6F13780C6}"/>
                </a:ext>
              </a:extLst>
            </p:cNvPr>
            <p:cNvSpPr/>
            <p:nvPr/>
          </p:nvSpPr>
          <p:spPr>
            <a:xfrm>
              <a:off x="11265770" y="4855904"/>
              <a:ext cx="7838" cy="197994"/>
            </a:xfrm>
            <a:custGeom>
              <a:avLst/>
              <a:gdLst>
                <a:gd name="connsiteX0" fmla="*/ 7839 w 7838"/>
                <a:gd name="connsiteY0" fmla="*/ 197995 h 197994"/>
                <a:gd name="connsiteX1" fmla="*/ 7839 w 7838"/>
                <a:gd name="connsiteY1" fmla="*/ 21928 h 197994"/>
                <a:gd name="connsiteX2" fmla="*/ 0 w 7838"/>
                <a:gd name="connsiteY2" fmla="*/ 0 h 1979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7838" h="197994">
                  <a:moveTo>
                    <a:pt x="7839" y="197995"/>
                  </a:moveTo>
                  <a:lnTo>
                    <a:pt x="7839" y="21928"/>
                  </a:lnTo>
                  <a:lnTo>
                    <a:pt x="0" y="0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252" name="Forma livre: Forma 2251">
              <a:extLst>
                <a:ext uri="{FF2B5EF4-FFF2-40B4-BE49-F238E27FC236}">
                  <a16:creationId xmlns:a16="http://schemas.microsoft.com/office/drawing/2014/main" id="{10A81932-9B86-D63E-C9DE-6426A8B08E6C}"/>
                </a:ext>
              </a:extLst>
            </p:cNvPr>
            <p:cNvSpPr/>
            <p:nvPr/>
          </p:nvSpPr>
          <p:spPr>
            <a:xfrm>
              <a:off x="11271631" y="4789592"/>
              <a:ext cx="171677" cy="34297"/>
            </a:xfrm>
            <a:custGeom>
              <a:avLst/>
              <a:gdLst>
                <a:gd name="connsiteX0" fmla="*/ 73374 w 171677"/>
                <a:gd name="connsiteY0" fmla="*/ 34298 h 34297"/>
                <a:gd name="connsiteX1" fmla="*/ 171677 w 171677"/>
                <a:gd name="connsiteY1" fmla="*/ 34298 h 34297"/>
                <a:gd name="connsiteX2" fmla="*/ 148149 w 171677"/>
                <a:gd name="connsiteY2" fmla="*/ 0 h 34297"/>
                <a:gd name="connsiteX3" fmla="*/ 0 w 171677"/>
                <a:gd name="connsiteY3" fmla="*/ 0 h 342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1677" h="34297">
                  <a:moveTo>
                    <a:pt x="73374" y="34298"/>
                  </a:moveTo>
                  <a:lnTo>
                    <a:pt x="171677" y="34298"/>
                  </a:lnTo>
                  <a:lnTo>
                    <a:pt x="148149" y="0"/>
                  </a:lnTo>
                  <a:lnTo>
                    <a:pt x="0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2253" name="Gráfico 19">
              <a:extLst>
                <a:ext uri="{FF2B5EF4-FFF2-40B4-BE49-F238E27FC236}">
                  <a16:creationId xmlns:a16="http://schemas.microsoft.com/office/drawing/2014/main" id="{8D3DFD26-3948-5CB9-3C83-55049B405B71}"/>
                </a:ext>
              </a:extLst>
            </p:cNvPr>
            <p:cNvGrpSpPr/>
            <p:nvPr/>
          </p:nvGrpSpPr>
          <p:grpSpPr>
            <a:xfrm>
              <a:off x="11303281" y="4873932"/>
              <a:ext cx="108001" cy="146657"/>
              <a:chOff x="11303281" y="4873932"/>
              <a:chExt cx="108001" cy="146657"/>
            </a:xfrm>
            <a:noFill/>
          </p:grpSpPr>
          <p:grpSp>
            <p:nvGrpSpPr>
              <p:cNvPr id="2254" name="Gráfico 19">
                <a:extLst>
                  <a:ext uri="{FF2B5EF4-FFF2-40B4-BE49-F238E27FC236}">
                    <a16:creationId xmlns:a16="http://schemas.microsoft.com/office/drawing/2014/main" id="{383A9EAE-F1AE-7A3B-F1ED-BB8353E88BA6}"/>
                  </a:ext>
                </a:extLst>
              </p:cNvPr>
              <p:cNvGrpSpPr/>
              <p:nvPr/>
            </p:nvGrpSpPr>
            <p:grpSpPr>
              <a:xfrm>
                <a:off x="11363013" y="4880739"/>
                <a:ext cx="48268" cy="139851"/>
                <a:chOff x="11363013" y="4880739"/>
                <a:chExt cx="48268" cy="139851"/>
              </a:xfrm>
              <a:noFill/>
            </p:grpSpPr>
            <p:grpSp>
              <p:nvGrpSpPr>
                <p:cNvPr id="2255" name="Gráfico 19">
                  <a:extLst>
                    <a:ext uri="{FF2B5EF4-FFF2-40B4-BE49-F238E27FC236}">
                      <a16:creationId xmlns:a16="http://schemas.microsoft.com/office/drawing/2014/main" id="{AEBB9CDB-9A68-9585-E6D5-6ECD49C8FE9E}"/>
                    </a:ext>
                  </a:extLst>
                </p:cNvPr>
                <p:cNvGrpSpPr/>
                <p:nvPr/>
              </p:nvGrpSpPr>
              <p:grpSpPr>
                <a:xfrm>
                  <a:off x="11363013" y="4880739"/>
                  <a:ext cx="48268" cy="139851"/>
                  <a:chOff x="11363013" y="4880739"/>
                  <a:chExt cx="48268" cy="139851"/>
                </a:xfrm>
                <a:noFill/>
              </p:grpSpPr>
              <p:sp>
                <p:nvSpPr>
                  <p:cNvPr id="2256" name="Forma livre: Forma 2255">
                    <a:extLst>
                      <a:ext uri="{FF2B5EF4-FFF2-40B4-BE49-F238E27FC236}">
                        <a16:creationId xmlns:a16="http://schemas.microsoft.com/office/drawing/2014/main" id="{A292DF51-350D-C90D-580A-CD0B17E7AE75}"/>
                      </a:ext>
                    </a:extLst>
                  </p:cNvPr>
                  <p:cNvSpPr/>
                  <p:nvPr/>
                </p:nvSpPr>
                <p:spPr>
                  <a:xfrm>
                    <a:off x="11398523" y="4880739"/>
                    <a:ext cx="12758" cy="139851"/>
                  </a:xfrm>
                  <a:custGeom>
                    <a:avLst/>
                    <a:gdLst>
                      <a:gd name="connsiteX0" fmla="*/ 12759 w 12758"/>
                      <a:gd name="connsiteY0" fmla="*/ 0 h 139851"/>
                      <a:gd name="connsiteX1" fmla="*/ 12759 w 12758"/>
                      <a:gd name="connsiteY1" fmla="*/ 43278 h 139851"/>
                      <a:gd name="connsiteX2" fmla="*/ 0 w 12758"/>
                      <a:gd name="connsiteY2" fmla="*/ 66830 h 139851"/>
                      <a:gd name="connsiteX3" fmla="*/ 0 w 12758"/>
                      <a:gd name="connsiteY3" fmla="*/ 139851 h 13985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12758" h="139851">
                        <a:moveTo>
                          <a:pt x="12759" y="0"/>
                        </a:moveTo>
                        <a:lnTo>
                          <a:pt x="12759" y="43278"/>
                        </a:lnTo>
                        <a:cubicBezTo>
                          <a:pt x="12759" y="53860"/>
                          <a:pt x="9169" y="62946"/>
                          <a:pt x="0" y="66830"/>
                        </a:cubicBezTo>
                        <a:lnTo>
                          <a:pt x="0" y="139851"/>
                        </a:lnTo>
                      </a:path>
                    </a:pathLst>
                  </a:custGeom>
                  <a:noFill/>
                  <a:ln w="6350" cap="flat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2257" name="Forma livre: Forma 2256">
                    <a:extLst>
                      <a:ext uri="{FF2B5EF4-FFF2-40B4-BE49-F238E27FC236}">
                        <a16:creationId xmlns:a16="http://schemas.microsoft.com/office/drawing/2014/main" id="{2680E58A-EB2C-9889-F89A-844887E1051A}"/>
                      </a:ext>
                    </a:extLst>
                  </p:cNvPr>
                  <p:cNvSpPr/>
                  <p:nvPr/>
                </p:nvSpPr>
                <p:spPr>
                  <a:xfrm>
                    <a:off x="11363013" y="4880739"/>
                    <a:ext cx="12758" cy="139851"/>
                  </a:xfrm>
                  <a:custGeom>
                    <a:avLst/>
                    <a:gdLst>
                      <a:gd name="connsiteX0" fmla="*/ 0 w 12758"/>
                      <a:gd name="connsiteY0" fmla="*/ 0 h 139851"/>
                      <a:gd name="connsiteX1" fmla="*/ 0 w 12758"/>
                      <a:gd name="connsiteY1" fmla="*/ 43278 h 139851"/>
                      <a:gd name="connsiteX2" fmla="*/ 12759 w 12758"/>
                      <a:gd name="connsiteY2" fmla="*/ 66830 h 139851"/>
                      <a:gd name="connsiteX3" fmla="*/ 12759 w 12758"/>
                      <a:gd name="connsiteY3" fmla="*/ 139851 h 13985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12758" h="139851">
                        <a:moveTo>
                          <a:pt x="0" y="0"/>
                        </a:moveTo>
                        <a:lnTo>
                          <a:pt x="0" y="43278"/>
                        </a:lnTo>
                        <a:cubicBezTo>
                          <a:pt x="0" y="53860"/>
                          <a:pt x="3590" y="62946"/>
                          <a:pt x="12759" y="66830"/>
                        </a:cubicBezTo>
                        <a:lnTo>
                          <a:pt x="12759" y="139851"/>
                        </a:lnTo>
                      </a:path>
                    </a:pathLst>
                  </a:custGeom>
                  <a:noFill/>
                  <a:ln w="6350" cap="flat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  <p:sp>
              <p:nvSpPr>
                <p:cNvPr id="2258" name="Forma livre: Forma 2257">
                  <a:extLst>
                    <a:ext uri="{FF2B5EF4-FFF2-40B4-BE49-F238E27FC236}">
                      <a16:creationId xmlns:a16="http://schemas.microsoft.com/office/drawing/2014/main" id="{59005DB1-4147-B18B-A1C5-506FE83F372A}"/>
                    </a:ext>
                  </a:extLst>
                </p:cNvPr>
                <p:cNvSpPr/>
                <p:nvPr/>
              </p:nvSpPr>
              <p:spPr>
                <a:xfrm>
                  <a:off x="11387154" y="4880739"/>
                  <a:ext cx="1177" cy="42772"/>
                </a:xfrm>
                <a:custGeom>
                  <a:avLst/>
                  <a:gdLst>
                    <a:gd name="connsiteX0" fmla="*/ 0 w 1177"/>
                    <a:gd name="connsiteY0" fmla="*/ 42772 h 42772"/>
                    <a:gd name="connsiteX1" fmla="*/ 0 w 1177"/>
                    <a:gd name="connsiteY1" fmla="*/ 0 h 427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177" h="42772">
                      <a:moveTo>
                        <a:pt x="0" y="42772"/>
                      </a:moveTo>
                      <a:lnTo>
                        <a:pt x="0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2259" name="Forma livre: Forma 2258">
                <a:extLst>
                  <a:ext uri="{FF2B5EF4-FFF2-40B4-BE49-F238E27FC236}">
                    <a16:creationId xmlns:a16="http://schemas.microsoft.com/office/drawing/2014/main" id="{97D9B9CF-8C78-8CA4-184A-ED7EEB6E98E0}"/>
                  </a:ext>
                </a:extLst>
              </p:cNvPr>
              <p:cNvSpPr/>
              <p:nvPr/>
            </p:nvSpPr>
            <p:spPr>
              <a:xfrm>
                <a:off x="11303281" y="4873932"/>
                <a:ext cx="35027" cy="146657"/>
              </a:xfrm>
              <a:custGeom>
                <a:avLst/>
                <a:gdLst>
                  <a:gd name="connsiteX0" fmla="*/ 11829 w 35027"/>
                  <a:gd name="connsiteY0" fmla="*/ 146657 h 146657"/>
                  <a:gd name="connsiteX1" fmla="*/ 11829 w 35027"/>
                  <a:gd name="connsiteY1" fmla="*/ 90620 h 146657"/>
                  <a:gd name="connsiteX2" fmla="*/ 0 w 35027"/>
                  <a:gd name="connsiteY2" fmla="*/ 86736 h 146657"/>
                  <a:gd name="connsiteX3" fmla="*/ 11323 w 35027"/>
                  <a:gd name="connsiteY3" fmla="*/ 17941 h 146657"/>
                  <a:gd name="connsiteX4" fmla="*/ 27424 w 35027"/>
                  <a:gd name="connsiteY4" fmla="*/ 392 h 146657"/>
                  <a:gd name="connsiteX5" fmla="*/ 35028 w 35027"/>
                  <a:gd name="connsiteY5" fmla="*/ 10926 h 146657"/>
                  <a:gd name="connsiteX6" fmla="*/ 35028 w 35027"/>
                  <a:gd name="connsiteY6" fmla="*/ 146304 h 1466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5027" h="146657">
                    <a:moveTo>
                      <a:pt x="11829" y="146657"/>
                    </a:moveTo>
                    <a:lnTo>
                      <a:pt x="11829" y="90620"/>
                    </a:lnTo>
                    <a:lnTo>
                      <a:pt x="0" y="86736"/>
                    </a:lnTo>
                    <a:lnTo>
                      <a:pt x="11323" y="17941"/>
                    </a:lnTo>
                    <a:cubicBezTo>
                      <a:pt x="14371" y="5147"/>
                      <a:pt x="27424" y="392"/>
                      <a:pt x="27424" y="392"/>
                    </a:cubicBezTo>
                    <a:cubicBezTo>
                      <a:pt x="32579" y="-1645"/>
                      <a:pt x="34922" y="4617"/>
                      <a:pt x="35028" y="10926"/>
                    </a:cubicBezTo>
                    <a:lnTo>
                      <a:pt x="35028" y="146304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2260" name="Forma livre: Forma 2259">
              <a:extLst>
                <a:ext uri="{FF2B5EF4-FFF2-40B4-BE49-F238E27FC236}">
                  <a16:creationId xmlns:a16="http://schemas.microsoft.com/office/drawing/2014/main" id="{33AA9C24-718E-5122-CDA7-9D5C85007F03}"/>
                </a:ext>
              </a:extLst>
            </p:cNvPr>
            <p:cNvSpPr/>
            <p:nvPr/>
          </p:nvSpPr>
          <p:spPr>
            <a:xfrm>
              <a:off x="11190724" y="4822030"/>
              <a:ext cx="96502" cy="20303"/>
            </a:xfrm>
            <a:custGeom>
              <a:avLst/>
              <a:gdLst>
                <a:gd name="connsiteX0" fmla="*/ 96502 w 96502"/>
                <a:gd name="connsiteY0" fmla="*/ 20303 h 20303"/>
                <a:gd name="connsiteX1" fmla="*/ 57814 w 96502"/>
                <a:gd name="connsiteY1" fmla="*/ 0 h 20303"/>
                <a:gd name="connsiteX2" fmla="*/ 0 w 96502"/>
                <a:gd name="connsiteY2" fmla="*/ 5732 h 203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6502" h="20303">
                  <a:moveTo>
                    <a:pt x="96502" y="20303"/>
                  </a:moveTo>
                  <a:lnTo>
                    <a:pt x="57814" y="0"/>
                  </a:lnTo>
                  <a:cubicBezTo>
                    <a:pt x="57814" y="0"/>
                    <a:pt x="39500" y="20974"/>
                    <a:pt x="0" y="5732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261" name="Forma livre: Forma 2260">
              <a:extLst>
                <a:ext uri="{FF2B5EF4-FFF2-40B4-BE49-F238E27FC236}">
                  <a16:creationId xmlns:a16="http://schemas.microsoft.com/office/drawing/2014/main" id="{6B214735-F7F3-10A1-D12B-B1D029C86883}"/>
                </a:ext>
              </a:extLst>
            </p:cNvPr>
            <p:cNvSpPr/>
            <p:nvPr/>
          </p:nvSpPr>
          <p:spPr>
            <a:xfrm>
              <a:off x="11135311" y="4742699"/>
              <a:ext cx="155152" cy="31921"/>
            </a:xfrm>
            <a:custGeom>
              <a:avLst/>
              <a:gdLst>
                <a:gd name="connsiteX0" fmla="*/ 155152 w 155152"/>
                <a:gd name="connsiteY0" fmla="*/ 23471 h 31921"/>
                <a:gd name="connsiteX1" fmla="*/ 121066 w 155152"/>
                <a:gd name="connsiteY1" fmla="*/ 5086 h 31921"/>
                <a:gd name="connsiteX2" fmla="*/ 105518 w 155152"/>
                <a:gd name="connsiteY2" fmla="*/ 84 h 31921"/>
                <a:gd name="connsiteX3" fmla="*/ 89864 w 155152"/>
                <a:gd name="connsiteY3" fmla="*/ 2979 h 31921"/>
                <a:gd name="connsiteX4" fmla="*/ 0 w 155152"/>
                <a:gd name="connsiteY4" fmla="*/ 31922 h 319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5152" h="31921">
                  <a:moveTo>
                    <a:pt x="155152" y="23471"/>
                  </a:moveTo>
                  <a:lnTo>
                    <a:pt x="121066" y="5086"/>
                  </a:lnTo>
                  <a:cubicBezTo>
                    <a:pt x="121066" y="5086"/>
                    <a:pt x="115040" y="1120"/>
                    <a:pt x="105518" y="84"/>
                  </a:cubicBezTo>
                  <a:cubicBezTo>
                    <a:pt x="99315" y="-587"/>
                    <a:pt x="89864" y="2979"/>
                    <a:pt x="89864" y="2979"/>
                  </a:cubicBezTo>
                  <a:lnTo>
                    <a:pt x="0" y="31922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262" name="Forma livre: Forma 2261">
              <a:extLst>
                <a:ext uri="{FF2B5EF4-FFF2-40B4-BE49-F238E27FC236}">
                  <a16:creationId xmlns:a16="http://schemas.microsoft.com/office/drawing/2014/main" id="{D51427F2-71B9-5591-AB13-F2A9EB3CADD5}"/>
                </a:ext>
              </a:extLst>
            </p:cNvPr>
            <p:cNvSpPr/>
            <p:nvPr/>
          </p:nvSpPr>
          <p:spPr>
            <a:xfrm>
              <a:off x="11243913" y="4774573"/>
              <a:ext cx="78131" cy="72923"/>
            </a:xfrm>
            <a:custGeom>
              <a:avLst/>
              <a:gdLst>
                <a:gd name="connsiteX0" fmla="*/ 0 w 78131"/>
                <a:gd name="connsiteY0" fmla="*/ 0 h 72923"/>
                <a:gd name="connsiteX1" fmla="*/ 67748 w 78131"/>
                <a:gd name="connsiteY1" fmla="*/ 35557 h 72923"/>
                <a:gd name="connsiteX2" fmla="*/ 75917 w 78131"/>
                <a:gd name="connsiteY2" fmla="*/ 61769 h 72923"/>
                <a:gd name="connsiteX3" fmla="*/ 75504 w 78131"/>
                <a:gd name="connsiteY3" fmla="*/ 62546 h 72923"/>
                <a:gd name="connsiteX4" fmla="*/ 49293 w 78131"/>
                <a:gd name="connsiteY4" fmla="*/ 70714 h 72923"/>
                <a:gd name="connsiteX5" fmla="*/ 5343 w 78131"/>
                <a:gd name="connsiteY5" fmla="*/ 47645 h 729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8131" h="72923">
                  <a:moveTo>
                    <a:pt x="0" y="0"/>
                  </a:moveTo>
                  <a:lnTo>
                    <a:pt x="67748" y="35557"/>
                  </a:lnTo>
                  <a:cubicBezTo>
                    <a:pt x="77211" y="40512"/>
                    <a:pt x="80883" y="52306"/>
                    <a:pt x="75917" y="61769"/>
                  </a:cubicBezTo>
                  <a:lnTo>
                    <a:pt x="75504" y="62546"/>
                  </a:lnTo>
                  <a:cubicBezTo>
                    <a:pt x="70549" y="72009"/>
                    <a:pt x="58756" y="75669"/>
                    <a:pt x="49293" y="70714"/>
                  </a:cubicBezTo>
                  <a:lnTo>
                    <a:pt x="5343" y="47645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263" name="Forma livre: Forma 2262">
              <a:extLst>
                <a:ext uri="{FF2B5EF4-FFF2-40B4-BE49-F238E27FC236}">
                  <a16:creationId xmlns:a16="http://schemas.microsoft.com/office/drawing/2014/main" id="{91E8A528-10B1-9351-27FD-09EC1C4E2DC6}"/>
                </a:ext>
              </a:extLst>
            </p:cNvPr>
            <p:cNvSpPr/>
            <p:nvPr/>
          </p:nvSpPr>
          <p:spPr>
            <a:xfrm>
              <a:off x="11148799" y="4854209"/>
              <a:ext cx="64358" cy="10117"/>
            </a:xfrm>
            <a:custGeom>
              <a:avLst/>
              <a:gdLst>
                <a:gd name="connsiteX0" fmla="*/ 64358 w 64358"/>
                <a:gd name="connsiteY0" fmla="*/ 10087 h 10117"/>
                <a:gd name="connsiteX1" fmla="*/ 27966 w 64358"/>
                <a:gd name="connsiteY1" fmla="*/ 0 h 10117"/>
                <a:gd name="connsiteX2" fmla="*/ 0 w 64358"/>
                <a:gd name="connsiteY2" fmla="*/ 8886 h 10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4358" h="10117">
                  <a:moveTo>
                    <a:pt x="64358" y="10087"/>
                  </a:moveTo>
                  <a:cubicBezTo>
                    <a:pt x="50905" y="10428"/>
                    <a:pt x="37664" y="7992"/>
                    <a:pt x="27966" y="0"/>
                  </a:cubicBezTo>
                  <a:lnTo>
                    <a:pt x="0" y="8886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264" name="Forma livre: Forma 2263">
              <a:extLst>
                <a:ext uri="{FF2B5EF4-FFF2-40B4-BE49-F238E27FC236}">
                  <a16:creationId xmlns:a16="http://schemas.microsoft.com/office/drawing/2014/main" id="{283EC48C-774F-8FD5-3CE7-487D59B5E913}"/>
                </a:ext>
              </a:extLst>
            </p:cNvPr>
            <p:cNvSpPr/>
            <p:nvPr/>
          </p:nvSpPr>
          <p:spPr>
            <a:xfrm>
              <a:off x="11071412" y="4764757"/>
              <a:ext cx="84614" cy="131800"/>
            </a:xfrm>
            <a:custGeom>
              <a:avLst/>
              <a:gdLst>
                <a:gd name="connsiteX0" fmla="*/ 0 w 84614"/>
                <a:gd name="connsiteY0" fmla="*/ 16372 h 131800"/>
                <a:gd name="connsiteX1" fmla="*/ 40501 w 84614"/>
                <a:gd name="connsiteY1" fmla="*/ 0 h 131800"/>
                <a:gd name="connsiteX2" fmla="*/ 84615 w 84614"/>
                <a:gd name="connsiteY2" fmla="*/ 115428 h 131800"/>
                <a:gd name="connsiteX3" fmla="*/ 44114 w 84614"/>
                <a:gd name="connsiteY3" fmla="*/ 131801 h 131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4614" h="131800">
                  <a:moveTo>
                    <a:pt x="0" y="16372"/>
                  </a:moveTo>
                  <a:lnTo>
                    <a:pt x="40501" y="0"/>
                  </a:lnTo>
                  <a:lnTo>
                    <a:pt x="84615" y="115428"/>
                  </a:lnTo>
                  <a:lnTo>
                    <a:pt x="44114" y="131801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2265" name="Gráfico 19">
            <a:extLst>
              <a:ext uri="{FF2B5EF4-FFF2-40B4-BE49-F238E27FC236}">
                <a16:creationId xmlns:a16="http://schemas.microsoft.com/office/drawing/2014/main" id="{0E41191C-B170-A3C2-6BB0-B0B6BBDA5A8D}"/>
              </a:ext>
            </a:extLst>
          </p:cNvPr>
          <p:cNvGrpSpPr/>
          <p:nvPr/>
        </p:nvGrpSpPr>
        <p:grpSpPr>
          <a:xfrm>
            <a:off x="11074483" y="3685091"/>
            <a:ext cx="365752" cy="328739"/>
            <a:chOff x="11074483" y="3685091"/>
            <a:chExt cx="365752" cy="328739"/>
          </a:xfrm>
          <a:noFill/>
        </p:grpSpPr>
        <p:sp>
          <p:nvSpPr>
            <p:cNvPr id="2266" name="Forma livre: Forma 2265">
              <a:extLst>
                <a:ext uri="{FF2B5EF4-FFF2-40B4-BE49-F238E27FC236}">
                  <a16:creationId xmlns:a16="http://schemas.microsoft.com/office/drawing/2014/main" id="{F87227ED-D770-3D42-546A-9FA2A0450CF4}"/>
                </a:ext>
              </a:extLst>
            </p:cNvPr>
            <p:cNvSpPr/>
            <p:nvPr/>
          </p:nvSpPr>
          <p:spPr>
            <a:xfrm>
              <a:off x="11145115" y="3982876"/>
              <a:ext cx="55789" cy="30955"/>
            </a:xfrm>
            <a:custGeom>
              <a:avLst/>
              <a:gdLst>
                <a:gd name="connsiteX0" fmla="*/ 55790 w 55789"/>
                <a:gd name="connsiteY0" fmla="*/ 0 h 30955"/>
                <a:gd name="connsiteX1" fmla="*/ 24823 w 55789"/>
                <a:gd name="connsiteY1" fmla="*/ 30955 h 30955"/>
                <a:gd name="connsiteX2" fmla="*/ 0 w 55789"/>
                <a:gd name="connsiteY2" fmla="*/ 18491 h 30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55789" h="30955">
                  <a:moveTo>
                    <a:pt x="55790" y="0"/>
                  </a:moveTo>
                  <a:cubicBezTo>
                    <a:pt x="55790" y="17090"/>
                    <a:pt x="41925" y="30955"/>
                    <a:pt x="24823" y="30955"/>
                  </a:cubicBezTo>
                  <a:cubicBezTo>
                    <a:pt x="14665" y="30955"/>
                    <a:pt x="5638" y="26059"/>
                    <a:pt x="0" y="18491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267" name="Forma livre: Forma 2266">
              <a:extLst>
                <a:ext uri="{FF2B5EF4-FFF2-40B4-BE49-F238E27FC236}">
                  <a16:creationId xmlns:a16="http://schemas.microsoft.com/office/drawing/2014/main" id="{EA6810F2-6FD4-19AB-5C7F-4B5859054EFF}"/>
                </a:ext>
              </a:extLst>
            </p:cNvPr>
            <p:cNvSpPr/>
            <p:nvPr/>
          </p:nvSpPr>
          <p:spPr>
            <a:xfrm>
              <a:off x="11117161" y="3839659"/>
              <a:ext cx="270274" cy="140321"/>
            </a:xfrm>
            <a:custGeom>
              <a:avLst/>
              <a:gdLst>
                <a:gd name="connsiteX0" fmla="*/ 226125 w 270274"/>
                <a:gd name="connsiteY0" fmla="*/ 0 h 140321"/>
                <a:gd name="connsiteX1" fmla="*/ 270275 w 270274"/>
                <a:gd name="connsiteY1" fmla="*/ 68395 h 140321"/>
                <a:gd name="connsiteX2" fmla="*/ 228515 w 270274"/>
                <a:gd name="connsiteY2" fmla="*/ 132071 h 140321"/>
                <a:gd name="connsiteX3" fmla="*/ 213096 w 270274"/>
                <a:gd name="connsiteY3" fmla="*/ 140322 h 140321"/>
                <a:gd name="connsiteX4" fmla="*/ 0 w 270274"/>
                <a:gd name="connsiteY4" fmla="*/ 140322 h 140321"/>
                <a:gd name="connsiteX5" fmla="*/ 63381 w 270274"/>
                <a:gd name="connsiteY5" fmla="*/ 62263 h 140321"/>
                <a:gd name="connsiteX6" fmla="*/ 151245 w 270274"/>
                <a:gd name="connsiteY6" fmla="*/ 62263 h 1403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70274" h="140321">
                  <a:moveTo>
                    <a:pt x="226125" y="0"/>
                  </a:moveTo>
                  <a:cubicBezTo>
                    <a:pt x="226125" y="0"/>
                    <a:pt x="256657" y="32473"/>
                    <a:pt x="270275" y="68395"/>
                  </a:cubicBezTo>
                  <a:cubicBezTo>
                    <a:pt x="270275" y="68395"/>
                    <a:pt x="230927" y="128446"/>
                    <a:pt x="228515" y="132071"/>
                  </a:cubicBezTo>
                  <a:cubicBezTo>
                    <a:pt x="226102" y="135696"/>
                    <a:pt x="221535" y="140322"/>
                    <a:pt x="213096" y="140322"/>
                  </a:cubicBezTo>
                  <a:lnTo>
                    <a:pt x="0" y="140322"/>
                  </a:lnTo>
                  <a:cubicBezTo>
                    <a:pt x="0" y="85121"/>
                    <a:pt x="45420" y="62263"/>
                    <a:pt x="63381" y="62263"/>
                  </a:cubicBezTo>
                  <a:lnTo>
                    <a:pt x="151245" y="62263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268" name="Forma livre: Forma 2267">
              <a:extLst>
                <a:ext uri="{FF2B5EF4-FFF2-40B4-BE49-F238E27FC236}">
                  <a16:creationId xmlns:a16="http://schemas.microsoft.com/office/drawing/2014/main" id="{08C30D29-B8F6-6C81-575C-879887CEF759}"/>
                </a:ext>
              </a:extLst>
            </p:cNvPr>
            <p:cNvSpPr/>
            <p:nvPr/>
          </p:nvSpPr>
          <p:spPr>
            <a:xfrm>
              <a:off x="11375525" y="3920895"/>
              <a:ext cx="64711" cy="92935"/>
            </a:xfrm>
            <a:custGeom>
              <a:avLst/>
              <a:gdLst>
                <a:gd name="connsiteX0" fmla="*/ 28024 w 64711"/>
                <a:gd name="connsiteY0" fmla="*/ 0 h 92935"/>
                <a:gd name="connsiteX1" fmla="*/ 64711 w 64711"/>
                <a:gd name="connsiteY1" fmla="*/ 23505 h 92935"/>
                <a:gd name="connsiteX2" fmla="*/ 6850 w 64711"/>
                <a:gd name="connsiteY2" fmla="*/ 42525 h 92935"/>
                <a:gd name="connsiteX3" fmla="*/ 235 w 64711"/>
                <a:gd name="connsiteY3" fmla="*/ 58144 h 92935"/>
                <a:gd name="connsiteX4" fmla="*/ 0 w 64711"/>
                <a:gd name="connsiteY4" fmla="*/ 61981 h 92935"/>
                <a:gd name="connsiteX5" fmla="*/ 30967 w 64711"/>
                <a:gd name="connsiteY5" fmla="*/ 92936 h 92935"/>
                <a:gd name="connsiteX6" fmla="*/ 61934 w 64711"/>
                <a:gd name="connsiteY6" fmla="*/ 61981 h 92935"/>
                <a:gd name="connsiteX7" fmla="*/ 58391 w 64711"/>
                <a:gd name="connsiteY7" fmla="*/ 47598 h 929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64711" h="92935">
                  <a:moveTo>
                    <a:pt x="28024" y="0"/>
                  </a:moveTo>
                  <a:cubicBezTo>
                    <a:pt x="42878" y="2389"/>
                    <a:pt x="56131" y="10652"/>
                    <a:pt x="64711" y="23505"/>
                  </a:cubicBezTo>
                  <a:lnTo>
                    <a:pt x="6850" y="42525"/>
                  </a:lnTo>
                  <a:cubicBezTo>
                    <a:pt x="3378" y="46880"/>
                    <a:pt x="942" y="52341"/>
                    <a:pt x="235" y="58144"/>
                  </a:cubicBezTo>
                  <a:cubicBezTo>
                    <a:pt x="82" y="59403"/>
                    <a:pt x="0" y="60686"/>
                    <a:pt x="0" y="61981"/>
                  </a:cubicBezTo>
                  <a:cubicBezTo>
                    <a:pt x="0" y="79071"/>
                    <a:pt x="13865" y="92936"/>
                    <a:pt x="30967" y="92936"/>
                  </a:cubicBezTo>
                  <a:cubicBezTo>
                    <a:pt x="48069" y="92936"/>
                    <a:pt x="61934" y="79071"/>
                    <a:pt x="61934" y="61981"/>
                  </a:cubicBezTo>
                  <a:cubicBezTo>
                    <a:pt x="61934" y="56790"/>
                    <a:pt x="60651" y="51894"/>
                    <a:pt x="58391" y="47598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269" name="Forma livre: Forma 2268">
              <a:extLst>
                <a:ext uri="{FF2B5EF4-FFF2-40B4-BE49-F238E27FC236}">
                  <a16:creationId xmlns:a16="http://schemas.microsoft.com/office/drawing/2014/main" id="{3545AFEC-23BB-C791-F926-59CA31B1B2AF}"/>
                </a:ext>
              </a:extLst>
            </p:cNvPr>
            <p:cNvSpPr/>
            <p:nvPr/>
          </p:nvSpPr>
          <p:spPr>
            <a:xfrm>
              <a:off x="11286967" y="3805432"/>
              <a:ext cx="76057" cy="150255"/>
            </a:xfrm>
            <a:custGeom>
              <a:avLst/>
              <a:gdLst>
                <a:gd name="connsiteX0" fmla="*/ 0 w 76057"/>
                <a:gd name="connsiteY0" fmla="*/ 150256 h 150255"/>
                <a:gd name="connsiteX1" fmla="*/ 22798 w 76057"/>
                <a:gd name="connsiteY1" fmla="*/ 150256 h 150255"/>
                <a:gd name="connsiteX2" fmla="*/ 54154 w 76057"/>
                <a:gd name="connsiteY2" fmla="*/ 115005 h 150255"/>
                <a:gd name="connsiteX3" fmla="*/ 23693 w 76057"/>
                <a:gd name="connsiteY3" fmla="*/ 15489 h 150255"/>
                <a:gd name="connsiteX4" fmla="*/ 40830 w 76057"/>
                <a:gd name="connsiteY4" fmla="*/ 0 h 150255"/>
                <a:gd name="connsiteX5" fmla="*/ 66701 w 76057"/>
                <a:gd name="connsiteY5" fmla="*/ 0 h 150255"/>
                <a:gd name="connsiteX6" fmla="*/ 76058 w 76057"/>
                <a:gd name="connsiteY6" fmla="*/ 17784 h 1502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6057" h="150255">
                  <a:moveTo>
                    <a:pt x="0" y="150256"/>
                  </a:moveTo>
                  <a:lnTo>
                    <a:pt x="22798" y="150256"/>
                  </a:lnTo>
                  <a:cubicBezTo>
                    <a:pt x="34333" y="150256"/>
                    <a:pt x="53106" y="141570"/>
                    <a:pt x="54154" y="115005"/>
                  </a:cubicBezTo>
                  <a:cubicBezTo>
                    <a:pt x="54154" y="115005"/>
                    <a:pt x="56896" y="73268"/>
                    <a:pt x="23693" y="15489"/>
                  </a:cubicBezTo>
                  <a:lnTo>
                    <a:pt x="40830" y="0"/>
                  </a:lnTo>
                  <a:lnTo>
                    <a:pt x="66701" y="0"/>
                  </a:lnTo>
                  <a:lnTo>
                    <a:pt x="76058" y="17784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270" name="Forma livre: Forma 2269">
              <a:extLst>
                <a:ext uri="{FF2B5EF4-FFF2-40B4-BE49-F238E27FC236}">
                  <a16:creationId xmlns:a16="http://schemas.microsoft.com/office/drawing/2014/main" id="{63F5876A-CCD3-3BCE-3AF7-12088F4EE3B7}"/>
                </a:ext>
              </a:extLst>
            </p:cNvPr>
            <p:cNvSpPr/>
            <p:nvPr/>
          </p:nvSpPr>
          <p:spPr>
            <a:xfrm>
              <a:off x="11218066" y="3901922"/>
              <a:ext cx="21056" cy="50293"/>
            </a:xfrm>
            <a:custGeom>
              <a:avLst/>
              <a:gdLst>
                <a:gd name="connsiteX0" fmla="*/ 0 w 21056"/>
                <a:gd name="connsiteY0" fmla="*/ 0 h 50293"/>
                <a:gd name="connsiteX1" fmla="*/ 21057 w 21056"/>
                <a:gd name="connsiteY1" fmla="*/ 29955 h 50293"/>
                <a:gd name="connsiteX2" fmla="*/ 9475 w 21056"/>
                <a:gd name="connsiteY2" fmla="*/ 50293 h 502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1056" h="50293">
                  <a:moveTo>
                    <a:pt x="0" y="0"/>
                  </a:moveTo>
                  <a:cubicBezTo>
                    <a:pt x="2248" y="0"/>
                    <a:pt x="21057" y="5603"/>
                    <a:pt x="21057" y="29955"/>
                  </a:cubicBezTo>
                  <a:cubicBezTo>
                    <a:pt x="21057" y="41171"/>
                    <a:pt x="14395" y="47104"/>
                    <a:pt x="9475" y="50293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271" name="Forma livre: Forma 2270">
              <a:extLst>
                <a:ext uri="{FF2B5EF4-FFF2-40B4-BE49-F238E27FC236}">
                  <a16:creationId xmlns:a16="http://schemas.microsoft.com/office/drawing/2014/main" id="{B40EC84A-4BBF-5C78-9DA7-1F1B3B9D04F4}"/>
                </a:ext>
              </a:extLst>
            </p:cNvPr>
            <p:cNvSpPr/>
            <p:nvPr/>
          </p:nvSpPr>
          <p:spPr>
            <a:xfrm>
              <a:off x="11074483" y="3778431"/>
              <a:ext cx="104788" cy="123490"/>
            </a:xfrm>
            <a:custGeom>
              <a:avLst/>
              <a:gdLst>
                <a:gd name="connsiteX0" fmla="*/ 0 w 104788"/>
                <a:gd name="connsiteY0" fmla="*/ 0 h 123490"/>
                <a:gd name="connsiteX1" fmla="*/ 104788 w 104788"/>
                <a:gd name="connsiteY1" fmla="*/ 0 h 123490"/>
                <a:gd name="connsiteX2" fmla="*/ 104788 w 104788"/>
                <a:gd name="connsiteY2" fmla="*/ 123491 h 123490"/>
                <a:gd name="connsiteX3" fmla="*/ 0 w 104788"/>
                <a:gd name="connsiteY3" fmla="*/ 123491 h 123490"/>
                <a:gd name="connsiteX4" fmla="*/ 0 w 104788"/>
                <a:gd name="connsiteY4" fmla="*/ 74163 h 123490"/>
                <a:gd name="connsiteX5" fmla="*/ 0 w 104788"/>
                <a:gd name="connsiteY5" fmla="*/ 0 h 1234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04788" h="123490">
                  <a:moveTo>
                    <a:pt x="0" y="0"/>
                  </a:moveTo>
                  <a:lnTo>
                    <a:pt x="104788" y="0"/>
                  </a:lnTo>
                  <a:lnTo>
                    <a:pt x="104788" y="123491"/>
                  </a:lnTo>
                  <a:lnTo>
                    <a:pt x="0" y="123491"/>
                  </a:lnTo>
                  <a:lnTo>
                    <a:pt x="0" y="74163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272" name="Forma livre: Forma 2271">
              <a:extLst>
                <a:ext uri="{FF2B5EF4-FFF2-40B4-BE49-F238E27FC236}">
                  <a16:creationId xmlns:a16="http://schemas.microsoft.com/office/drawing/2014/main" id="{585F2E0D-36D7-6122-8EDB-CC997CEC3BF8}"/>
                </a:ext>
              </a:extLst>
            </p:cNvPr>
            <p:cNvSpPr/>
            <p:nvPr/>
          </p:nvSpPr>
          <p:spPr>
            <a:xfrm>
              <a:off x="11227254" y="3685091"/>
              <a:ext cx="49844" cy="49853"/>
            </a:xfrm>
            <a:custGeom>
              <a:avLst/>
              <a:gdLst>
                <a:gd name="connsiteX0" fmla="*/ 1710 w 49844"/>
                <a:gd name="connsiteY0" fmla="*/ 33984 h 49853"/>
                <a:gd name="connsiteX1" fmla="*/ 33984 w 49844"/>
                <a:gd name="connsiteY1" fmla="*/ 48143 h 49853"/>
                <a:gd name="connsiteX2" fmla="*/ 48131 w 49844"/>
                <a:gd name="connsiteY2" fmla="*/ 15870 h 49853"/>
                <a:gd name="connsiteX3" fmla="*/ 15870 w 49844"/>
                <a:gd name="connsiteY3" fmla="*/ 1710 h 49853"/>
                <a:gd name="connsiteX4" fmla="*/ 1710 w 49844"/>
                <a:gd name="connsiteY4" fmla="*/ 33984 h 498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9844" h="49853">
                  <a:moveTo>
                    <a:pt x="1710" y="33984"/>
                  </a:moveTo>
                  <a:cubicBezTo>
                    <a:pt x="6713" y="46801"/>
                    <a:pt x="21166" y="53145"/>
                    <a:pt x="33984" y="48143"/>
                  </a:cubicBezTo>
                  <a:cubicBezTo>
                    <a:pt x="46813" y="43141"/>
                    <a:pt x="53134" y="28699"/>
                    <a:pt x="48131" y="15870"/>
                  </a:cubicBezTo>
                  <a:cubicBezTo>
                    <a:pt x="43129" y="3052"/>
                    <a:pt x="28687" y="-3292"/>
                    <a:pt x="15870" y="1710"/>
                  </a:cubicBezTo>
                  <a:cubicBezTo>
                    <a:pt x="3052" y="6713"/>
                    <a:pt x="-3292" y="21154"/>
                    <a:pt x="1710" y="33984"/>
                  </a:cubicBez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273" name="Forma livre: Forma 2272">
              <a:extLst>
                <a:ext uri="{FF2B5EF4-FFF2-40B4-BE49-F238E27FC236}">
                  <a16:creationId xmlns:a16="http://schemas.microsoft.com/office/drawing/2014/main" id="{4B58CDE4-4039-C18D-C917-46A4EF9222EC}"/>
                </a:ext>
              </a:extLst>
            </p:cNvPr>
            <p:cNvSpPr/>
            <p:nvPr/>
          </p:nvSpPr>
          <p:spPr>
            <a:xfrm>
              <a:off x="11189316" y="3755447"/>
              <a:ext cx="137504" cy="195780"/>
            </a:xfrm>
            <a:custGeom>
              <a:avLst/>
              <a:gdLst>
                <a:gd name="connsiteX0" fmla="*/ 43156 w 137504"/>
                <a:gd name="connsiteY0" fmla="*/ 39227 h 195780"/>
                <a:gd name="connsiteX1" fmla="*/ 95450 w 137504"/>
                <a:gd name="connsiteY1" fmla="*/ 61695 h 195780"/>
                <a:gd name="connsiteX2" fmla="*/ 123439 w 137504"/>
                <a:gd name="connsiteY2" fmla="*/ 44982 h 195780"/>
                <a:gd name="connsiteX3" fmla="*/ 47076 w 137504"/>
                <a:gd name="connsiteY3" fmla="*/ 2339 h 195780"/>
                <a:gd name="connsiteX4" fmla="*/ 13872 w 137504"/>
                <a:gd name="connsiteY4" fmla="*/ 16781 h 195780"/>
                <a:gd name="connsiteX5" fmla="*/ 819 w 137504"/>
                <a:gd name="connsiteY5" fmla="*/ 95393 h 195780"/>
                <a:gd name="connsiteX6" fmla="*/ 27667 w 137504"/>
                <a:gd name="connsiteY6" fmla="*/ 138083 h 195780"/>
                <a:gd name="connsiteX7" fmla="*/ 76618 w 137504"/>
                <a:gd name="connsiteY7" fmla="*/ 138083 h 195780"/>
                <a:gd name="connsiteX8" fmla="*/ 103371 w 137504"/>
                <a:gd name="connsiteY8" fmla="*/ 179807 h 195780"/>
                <a:gd name="connsiteX9" fmla="*/ 137504 w 137504"/>
                <a:gd name="connsiteY9" fmla="*/ 193461 h 195780"/>
                <a:gd name="connsiteX10" fmla="*/ 105820 w 137504"/>
                <a:gd name="connsiteY10" fmla="*/ 120440 h 195780"/>
                <a:gd name="connsiteX11" fmla="*/ 100170 w 137504"/>
                <a:gd name="connsiteY11" fmla="*/ 112306 h 195780"/>
                <a:gd name="connsiteX12" fmla="*/ 92331 w 137504"/>
                <a:gd name="connsiteY12" fmla="*/ 107175 h 195780"/>
                <a:gd name="connsiteX13" fmla="*/ 46040 w 137504"/>
                <a:gd name="connsiteY13" fmla="*/ 95899 h 195780"/>
                <a:gd name="connsiteX14" fmla="*/ 54138 w 137504"/>
                <a:gd name="connsiteY14" fmla="*/ 65886 h 1957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37504" h="195780">
                  <a:moveTo>
                    <a:pt x="43156" y="39227"/>
                  </a:moveTo>
                  <a:lnTo>
                    <a:pt x="95450" y="61695"/>
                  </a:lnTo>
                  <a:cubicBezTo>
                    <a:pt x="109715" y="65168"/>
                    <a:pt x="124192" y="60660"/>
                    <a:pt x="123439" y="44982"/>
                  </a:cubicBezTo>
                  <a:lnTo>
                    <a:pt x="47076" y="2339"/>
                  </a:lnTo>
                  <a:cubicBezTo>
                    <a:pt x="28244" y="-5111"/>
                    <a:pt x="14826" y="6741"/>
                    <a:pt x="13872" y="16781"/>
                  </a:cubicBezTo>
                  <a:lnTo>
                    <a:pt x="819" y="95393"/>
                  </a:lnTo>
                  <a:cubicBezTo>
                    <a:pt x="819" y="95393"/>
                    <a:pt x="-7314" y="132127"/>
                    <a:pt x="27667" y="138083"/>
                  </a:cubicBezTo>
                  <a:lnTo>
                    <a:pt x="76618" y="138083"/>
                  </a:lnTo>
                  <a:cubicBezTo>
                    <a:pt x="76618" y="138083"/>
                    <a:pt x="90860" y="158362"/>
                    <a:pt x="103371" y="179807"/>
                  </a:cubicBezTo>
                  <a:cubicBezTo>
                    <a:pt x="114788" y="199357"/>
                    <a:pt x="125169" y="196827"/>
                    <a:pt x="137504" y="193461"/>
                  </a:cubicBezTo>
                  <a:lnTo>
                    <a:pt x="105820" y="120440"/>
                  </a:lnTo>
                  <a:cubicBezTo>
                    <a:pt x="105820" y="120440"/>
                    <a:pt x="104078" y="115779"/>
                    <a:pt x="100170" y="112306"/>
                  </a:cubicBezTo>
                  <a:cubicBezTo>
                    <a:pt x="96015" y="108258"/>
                    <a:pt x="92331" y="107175"/>
                    <a:pt x="92331" y="107175"/>
                  </a:cubicBezTo>
                  <a:lnTo>
                    <a:pt x="46040" y="95899"/>
                  </a:lnTo>
                  <a:lnTo>
                    <a:pt x="54138" y="65886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274" name="Forma livre: Forma 2273">
              <a:extLst>
                <a:ext uri="{FF2B5EF4-FFF2-40B4-BE49-F238E27FC236}">
                  <a16:creationId xmlns:a16="http://schemas.microsoft.com/office/drawing/2014/main" id="{EB92B338-5B55-3EA4-D7C6-85F465320FE6}"/>
                </a:ext>
              </a:extLst>
            </p:cNvPr>
            <p:cNvSpPr/>
            <p:nvPr/>
          </p:nvSpPr>
          <p:spPr>
            <a:xfrm>
              <a:off x="11095305" y="3807385"/>
              <a:ext cx="79729" cy="1177"/>
            </a:xfrm>
            <a:custGeom>
              <a:avLst/>
              <a:gdLst>
                <a:gd name="connsiteX0" fmla="*/ 0 w 79729"/>
                <a:gd name="connsiteY0" fmla="*/ 0 h 1177"/>
                <a:gd name="connsiteX1" fmla="*/ 79730 w 79729"/>
                <a:gd name="connsiteY1" fmla="*/ 0 h 11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9729" h="1177">
                  <a:moveTo>
                    <a:pt x="0" y="0"/>
                  </a:moveTo>
                  <a:lnTo>
                    <a:pt x="7973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2275" name="Gráfico 19">
            <a:extLst>
              <a:ext uri="{FF2B5EF4-FFF2-40B4-BE49-F238E27FC236}">
                <a16:creationId xmlns:a16="http://schemas.microsoft.com/office/drawing/2014/main" id="{CCC20D6F-C424-1549-EEE8-6187B0D8BF64}"/>
              </a:ext>
            </a:extLst>
          </p:cNvPr>
          <p:cNvGrpSpPr/>
          <p:nvPr/>
        </p:nvGrpSpPr>
        <p:grpSpPr>
          <a:xfrm>
            <a:off x="11094292" y="4211332"/>
            <a:ext cx="326134" cy="325464"/>
            <a:chOff x="11094292" y="4211332"/>
            <a:chExt cx="326134" cy="325464"/>
          </a:xfrm>
          <a:noFill/>
        </p:grpSpPr>
        <p:sp>
          <p:nvSpPr>
            <p:cNvPr id="2276" name="Forma livre: Forma 2275">
              <a:extLst>
                <a:ext uri="{FF2B5EF4-FFF2-40B4-BE49-F238E27FC236}">
                  <a16:creationId xmlns:a16="http://schemas.microsoft.com/office/drawing/2014/main" id="{A1E20AB1-FED5-BFEF-FADB-010305EC1220}"/>
                </a:ext>
              </a:extLst>
            </p:cNvPr>
            <p:cNvSpPr/>
            <p:nvPr/>
          </p:nvSpPr>
          <p:spPr>
            <a:xfrm>
              <a:off x="11155861" y="4278032"/>
              <a:ext cx="70125" cy="1177"/>
            </a:xfrm>
            <a:custGeom>
              <a:avLst/>
              <a:gdLst>
                <a:gd name="connsiteX0" fmla="*/ 70126 w 70125"/>
                <a:gd name="connsiteY0" fmla="*/ 0 h 1177"/>
                <a:gd name="connsiteX1" fmla="*/ 0 w 70125"/>
                <a:gd name="connsiteY1" fmla="*/ 0 h 11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0125" h="1177">
                  <a:moveTo>
                    <a:pt x="70126" y="0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277" name="Forma livre: Forma 2276">
              <a:extLst>
                <a:ext uri="{FF2B5EF4-FFF2-40B4-BE49-F238E27FC236}">
                  <a16:creationId xmlns:a16="http://schemas.microsoft.com/office/drawing/2014/main" id="{DC84B149-0B92-5D4F-AF21-17F45BAC2606}"/>
                </a:ext>
              </a:extLst>
            </p:cNvPr>
            <p:cNvSpPr/>
            <p:nvPr/>
          </p:nvSpPr>
          <p:spPr>
            <a:xfrm>
              <a:off x="11127625" y="4322629"/>
              <a:ext cx="87615" cy="1177"/>
            </a:xfrm>
            <a:custGeom>
              <a:avLst/>
              <a:gdLst>
                <a:gd name="connsiteX0" fmla="*/ 87616 w 87615"/>
                <a:gd name="connsiteY0" fmla="*/ 0 h 1177"/>
                <a:gd name="connsiteX1" fmla="*/ 0 w 87615"/>
                <a:gd name="connsiteY1" fmla="*/ 0 h 11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7615" h="1177">
                  <a:moveTo>
                    <a:pt x="87616" y="0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278" name="Forma livre: Forma 2277">
              <a:extLst>
                <a:ext uri="{FF2B5EF4-FFF2-40B4-BE49-F238E27FC236}">
                  <a16:creationId xmlns:a16="http://schemas.microsoft.com/office/drawing/2014/main" id="{88D50E99-EDA1-5F9D-D3C4-D25C4FC76405}"/>
                </a:ext>
              </a:extLst>
            </p:cNvPr>
            <p:cNvSpPr/>
            <p:nvPr/>
          </p:nvSpPr>
          <p:spPr>
            <a:xfrm>
              <a:off x="11094292" y="4322629"/>
              <a:ext cx="12346" cy="1177"/>
            </a:xfrm>
            <a:custGeom>
              <a:avLst/>
              <a:gdLst>
                <a:gd name="connsiteX0" fmla="*/ 12347 w 12346"/>
                <a:gd name="connsiteY0" fmla="*/ 0 h 1177"/>
                <a:gd name="connsiteX1" fmla="*/ 0 w 12346"/>
                <a:gd name="connsiteY1" fmla="*/ 0 h 11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46" h="1177">
                  <a:moveTo>
                    <a:pt x="12347" y="0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279" name="Forma livre: Forma 2278">
              <a:extLst>
                <a:ext uri="{FF2B5EF4-FFF2-40B4-BE49-F238E27FC236}">
                  <a16:creationId xmlns:a16="http://schemas.microsoft.com/office/drawing/2014/main" id="{271D57BD-4386-58A1-E350-D66D0B7AF416}"/>
                </a:ext>
              </a:extLst>
            </p:cNvPr>
            <p:cNvSpPr/>
            <p:nvPr/>
          </p:nvSpPr>
          <p:spPr>
            <a:xfrm>
              <a:off x="11134593" y="4238603"/>
              <a:ext cx="46962" cy="1177"/>
            </a:xfrm>
            <a:custGeom>
              <a:avLst/>
              <a:gdLst>
                <a:gd name="connsiteX0" fmla="*/ 46962 w 46962"/>
                <a:gd name="connsiteY0" fmla="*/ 0 h 1177"/>
                <a:gd name="connsiteX1" fmla="*/ 0 w 46962"/>
                <a:gd name="connsiteY1" fmla="*/ 0 h 11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6962" h="1177">
                  <a:moveTo>
                    <a:pt x="46962" y="0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280" name="Forma livre: Forma 2279">
              <a:extLst>
                <a:ext uri="{FF2B5EF4-FFF2-40B4-BE49-F238E27FC236}">
                  <a16:creationId xmlns:a16="http://schemas.microsoft.com/office/drawing/2014/main" id="{04348ADC-C1E9-297D-D044-E16838254BEF}"/>
                </a:ext>
              </a:extLst>
            </p:cNvPr>
            <p:cNvSpPr/>
            <p:nvPr/>
          </p:nvSpPr>
          <p:spPr>
            <a:xfrm>
              <a:off x="11204001" y="4381973"/>
              <a:ext cx="11970" cy="70690"/>
            </a:xfrm>
            <a:custGeom>
              <a:avLst/>
              <a:gdLst>
                <a:gd name="connsiteX0" fmla="*/ 0 w 11970"/>
                <a:gd name="connsiteY0" fmla="*/ 70691 h 70690"/>
                <a:gd name="connsiteX1" fmla="*/ 11629 w 11970"/>
                <a:gd name="connsiteY1" fmla="*/ 38476 h 70690"/>
                <a:gd name="connsiteX2" fmla="*/ 5873 w 11970"/>
                <a:gd name="connsiteY2" fmla="*/ 0 h 706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1970" h="70690">
                  <a:moveTo>
                    <a:pt x="0" y="70691"/>
                  </a:moveTo>
                  <a:cubicBezTo>
                    <a:pt x="15089" y="56084"/>
                    <a:pt x="11629" y="38476"/>
                    <a:pt x="11629" y="38476"/>
                  </a:cubicBezTo>
                  <a:lnTo>
                    <a:pt x="5873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281" name="Forma livre: Forma 2280">
              <a:extLst>
                <a:ext uri="{FF2B5EF4-FFF2-40B4-BE49-F238E27FC236}">
                  <a16:creationId xmlns:a16="http://schemas.microsoft.com/office/drawing/2014/main" id="{1F6D5E37-242C-ED10-E95C-6CD4A8CF2EE2}"/>
                </a:ext>
              </a:extLst>
            </p:cNvPr>
            <p:cNvSpPr/>
            <p:nvPr/>
          </p:nvSpPr>
          <p:spPr>
            <a:xfrm>
              <a:off x="11157968" y="4379843"/>
              <a:ext cx="262459" cy="1177"/>
            </a:xfrm>
            <a:custGeom>
              <a:avLst/>
              <a:gdLst>
                <a:gd name="connsiteX0" fmla="*/ 262459 w 262459"/>
                <a:gd name="connsiteY0" fmla="*/ 0 h 1177"/>
                <a:gd name="connsiteX1" fmla="*/ 0 w 262459"/>
                <a:gd name="connsiteY1" fmla="*/ 0 h 11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62459" h="1177">
                  <a:moveTo>
                    <a:pt x="262459" y="0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282" name="Forma livre: Forma 2281">
              <a:extLst>
                <a:ext uri="{FF2B5EF4-FFF2-40B4-BE49-F238E27FC236}">
                  <a16:creationId xmlns:a16="http://schemas.microsoft.com/office/drawing/2014/main" id="{8F3C0E3A-C753-0DFA-9C89-FDBE715F15D6}"/>
                </a:ext>
              </a:extLst>
            </p:cNvPr>
            <p:cNvSpPr/>
            <p:nvPr/>
          </p:nvSpPr>
          <p:spPr>
            <a:xfrm>
              <a:off x="11223268" y="4379984"/>
              <a:ext cx="151656" cy="123502"/>
            </a:xfrm>
            <a:custGeom>
              <a:avLst/>
              <a:gdLst>
                <a:gd name="connsiteX0" fmla="*/ 151656 w 151656"/>
                <a:gd name="connsiteY0" fmla="*/ 0 h 123502"/>
                <a:gd name="connsiteX1" fmla="*/ 86145 w 151656"/>
                <a:gd name="connsiteY1" fmla="*/ 72621 h 123502"/>
                <a:gd name="connsiteX2" fmla="*/ 0 w 151656"/>
                <a:gd name="connsiteY2" fmla="*/ 123503 h 1235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51656" h="123502">
                  <a:moveTo>
                    <a:pt x="151656" y="0"/>
                  </a:moveTo>
                  <a:lnTo>
                    <a:pt x="86145" y="72621"/>
                  </a:lnTo>
                  <a:lnTo>
                    <a:pt x="0" y="123503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283" name="Forma livre: Forma 2282">
              <a:extLst>
                <a:ext uri="{FF2B5EF4-FFF2-40B4-BE49-F238E27FC236}">
                  <a16:creationId xmlns:a16="http://schemas.microsoft.com/office/drawing/2014/main" id="{F1E2589E-C6D2-E96E-E29D-ECFD37586C27}"/>
                </a:ext>
              </a:extLst>
            </p:cNvPr>
            <p:cNvSpPr/>
            <p:nvPr/>
          </p:nvSpPr>
          <p:spPr>
            <a:xfrm>
              <a:off x="11235073" y="4380502"/>
              <a:ext cx="108483" cy="41133"/>
            </a:xfrm>
            <a:custGeom>
              <a:avLst/>
              <a:gdLst>
                <a:gd name="connsiteX0" fmla="*/ 108484 w 108483"/>
                <a:gd name="connsiteY0" fmla="*/ 0 h 41133"/>
                <a:gd name="connsiteX1" fmla="*/ 55966 w 108483"/>
                <a:gd name="connsiteY1" fmla="*/ 37794 h 41133"/>
                <a:gd name="connsiteX2" fmla="*/ 11287 w 108483"/>
                <a:gd name="connsiteY2" fmla="*/ 32944 h 41133"/>
                <a:gd name="connsiteX3" fmla="*/ 0 w 108483"/>
                <a:gd name="connsiteY3" fmla="*/ 506 h 411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8483" h="41133">
                  <a:moveTo>
                    <a:pt x="108484" y="0"/>
                  </a:moveTo>
                  <a:lnTo>
                    <a:pt x="55966" y="37794"/>
                  </a:lnTo>
                  <a:cubicBezTo>
                    <a:pt x="55966" y="37794"/>
                    <a:pt x="35581" y="47904"/>
                    <a:pt x="11287" y="32944"/>
                  </a:cubicBezTo>
                  <a:lnTo>
                    <a:pt x="0" y="506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284" name="Forma livre: Forma 2283">
              <a:extLst>
                <a:ext uri="{FF2B5EF4-FFF2-40B4-BE49-F238E27FC236}">
                  <a16:creationId xmlns:a16="http://schemas.microsoft.com/office/drawing/2014/main" id="{4119AA65-9DFF-8A50-7A38-3D0DC7C58FC9}"/>
                </a:ext>
              </a:extLst>
            </p:cNvPr>
            <p:cNvSpPr/>
            <p:nvPr/>
          </p:nvSpPr>
          <p:spPr>
            <a:xfrm>
              <a:off x="11151601" y="4452476"/>
              <a:ext cx="55836" cy="84320"/>
            </a:xfrm>
            <a:custGeom>
              <a:avLst/>
              <a:gdLst>
                <a:gd name="connsiteX0" fmla="*/ 28683 w 55836"/>
                <a:gd name="connsiteY0" fmla="*/ 84320 h 84320"/>
                <a:gd name="connsiteX1" fmla="*/ 55837 w 55836"/>
                <a:gd name="connsiteY1" fmla="*/ 73763 h 84320"/>
                <a:gd name="connsiteX2" fmla="*/ 27153 w 55836"/>
                <a:gd name="connsiteY2" fmla="*/ 0 h 84320"/>
                <a:gd name="connsiteX3" fmla="*/ 0 w 55836"/>
                <a:gd name="connsiteY3" fmla="*/ 10569 h 843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5836" h="84320">
                  <a:moveTo>
                    <a:pt x="28683" y="84320"/>
                  </a:moveTo>
                  <a:lnTo>
                    <a:pt x="55837" y="73763"/>
                  </a:lnTo>
                  <a:lnTo>
                    <a:pt x="27153" y="0"/>
                  </a:lnTo>
                  <a:lnTo>
                    <a:pt x="0" y="10569"/>
                  </a:lnTo>
                </a:path>
              </a:pathLst>
            </a:custGeom>
            <a:noFill/>
            <a:ln w="6350" cap="sq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285" name="Forma livre: Forma 2284">
              <a:extLst>
                <a:ext uri="{FF2B5EF4-FFF2-40B4-BE49-F238E27FC236}">
                  <a16:creationId xmlns:a16="http://schemas.microsoft.com/office/drawing/2014/main" id="{88204C75-2CAE-72C9-9E67-5A3B54DC3791}"/>
                </a:ext>
              </a:extLst>
            </p:cNvPr>
            <p:cNvSpPr/>
            <p:nvPr/>
          </p:nvSpPr>
          <p:spPr>
            <a:xfrm>
              <a:off x="11317534" y="4272736"/>
              <a:ext cx="36216" cy="34438"/>
            </a:xfrm>
            <a:custGeom>
              <a:avLst/>
              <a:gdLst>
                <a:gd name="connsiteX0" fmla="*/ 0 w 36216"/>
                <a:gd name="connsiteY0" fmla="*/ 0 h 34438"/>
                <a:gd name="connsiteX1" fmla="*/ 36216 w 36216"/>
                <a:gd name="connsiteY1" fmla="*/ 34439 h 344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6216" h="34438">
                  <a:moveTo>
                    <a:pt x="0" y="0"/>
                  </a:moveTo>
                  <a:cubicBezTo>
                    <a:pt x="16137" y="6980"/>
                    <a:pt x="29131" y="19173"/>
                    <a:pt x="36216" y="34439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286" name="Forma livre: Forma 2285">
              <a:extLst>
                <a:ext uri="{FF2B5EF4-FFF2-40B4-BE49-F238E27FC236}">
                  <a16:creationId xmlns:a16="http://schemas.microsoft.com/office/drawing/2014/main" id="{8CF540D1-9DA1-DFFA-1C60-F8CBF7F1EF4B}"/>
                </a:ext>
              </a:extLst>
            </p:cNvPr>
            <p:cNvSpPr/>
            <p:nvPr/>
          </p:nvSpPr>
          <p:spPr>
            <a:xfrm>
              <a:off x="11273844" y="4211332"/>
              <a:ext cx="30707" cy="30719"/>
            </a:xfrm>
            <a:custGeom>
              <a:avLst/>
              <a:gdLst>
                <a:gd name="connsiteX0" fmla="*/ 0 w 30707"/>
                <a:gd name="connsiteY0" fmla="*/ 15372 h 30719"/>
                <a:gd name="connsiteX1" fmla="*/ 15336 w 30707"/>
                <a:gd name="connsiteY1" fmla="*/ 30720 h 30719"/>
                <a:gd name="connsiteX2" fmla="*/ 30708 w 30707"/>
                <a:gd name="connsiteY2" fmla="*/ 15372 h 30719"/>
                <a:gd name="connsiteX3" fmla="*/ 15336 w 30707"/>
                <a:gd name="connsiteY3" fmla="*/ 0 h 30719"/>
                <a:gd name="connsiteX4" fmla="*/ 0 w 30707"/>
                <a:gd name="connsiteY4" fmla="*/ 15372 h 307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0707" h="30719">
                  <a:moveTo>
                    <a:pt x="0" y="15372"/>
                  </a:moveTo>
                  <a:cubicBezTo>
                    <a:pt x="0" y="23870"/>
                    <a:pt x="6838" y="30720"/>
                    <a:pt x="15336" y="30720"/>
                  </a:cubicBezTo>
                  <a:cubicBezTo>
                    <a:pt x="23834" y="30720"/>
                    <a:pt x="30708" y="23870"/>
                    <a:pt x="30708" y="15372"/>
                  </a:cubicBezTo>
                  <a:cubicBezTo>
                    <a:pt x="30708" y="6874"/>
                    <a:pt x="23811" y="0"/>
                    <a:pt x="15336" y="0"/>
                  </a:cubicBezTo>
                  <a:cubicBezTo>
                    <a:pt x="6862" y="0"/>
                    <a:pt x="0" y="6850"/>
                    <a:pt x="0" y="15372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2287" name="Gráfico 19">
              <a:extLst>
                <a:ext uri="{FF2B5EF4-FFF2-40B4-BE49-F238E27FC236}">
                  <a16:creationId xmlns:a16="http://schemas.microsoft.com/office/drawing/2014/main" id="{0EBED76B-2077-DCAB-CF20-4E21C6F0FAF4}"/>
                </a:ext>
              </a:extLst>
            </p:cNvPr>
            <p:cNvGrpSpPr/>
            <p:nvPr/>
          </p:nvGrpSpPr>
          <p:grpSpPr>
            <a:xfrm>
              <a:off x="11172480" y="4242287"/>
              <a:ext cx="233434" cy="116723"/>
              <a:chOff x="11172480" y="4242287"/>
              <a:chExt cx="233434" cy="116723"/>
            </a:xfrm>
            <a:noFill/>
          </p:grpSpPr>
          <p:sp>
            <p:nvSpPr>
              <p:cNvPr id="2288" name="Forma livre: Forma 2287">
                <a:extLst>
                  <a:ext uri="{FF2B5EF4-FFF2-40B4-BE49-F238E27FC236}">
                    <a16:creationId xmlns:a16="http://schemas.microsoft.com/office/drawing/2014/main" id="{81F3DE8E-B1E8-B31E-CED1-A17777E0321F}"/>
                  </a:ext>
                </a:extLst>
              </p:cNvPr>
              <p:cNvSpPr/>
              <p:nvPr/>
            </p:nvSpPr>
            <p:spPr>
              <a:xfrm>
                <a:off x="11187982" y="4278327"/>
                <a:ext cx="16878" cy="22527"/>
              </a:xfrm>
              <a:custGeom>
                <a:avLst/>
                <a:gdLst>
                  <a:gd name="connsiteX0" fmla="*/ 16878 w 16878"/>
                  <a:gd name="connsiteY0" fmla="*/ 0 h 22527"/>
                  <a:gd name="connsiteX1" fmla="*/ 0 w 16878"/>
                  <a:gd name="connsiteY1" fmla="*/ 22528 h 225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6878" h="22527">
                    <a:moveTo>
                      <a:pt x="16878" y="0"/>
                    </a:moveTo>
                    <a:cubicBezTo>
                      <a:pt x="10381" y="6779"/>
                      <a:pt x="4708" y="14336"/>
                      <a:pt x="0" y="22528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289" name="Forma livre: Forma 2288">
                <a:extLst>
                  <a:ext uri="{FF2B5EF4-FFF2-40B4-BE49-F238E27FC236}">
                    <a16:creationId xmlns:a16="http://schemas.microsoft.com/office/drawing/2014/main" id="{0E84397D-C772-BF48-5799-9DDC692DB5B1}"/>
                  </a:ext>
                </a:extLst>
              </p:cNvPr>
              <p:cNvSpPr/>
              <p:nvPr/>
            </p:nvSpPr>
            <p:spPr>
              <a:xfrm>
                <a:off x="11172480" y="4242287"/>
                <a:ext cx="233434" cy="116723"/>
              </a:xfrm>
              <a:custGeom>
                <a:avLst/>
                <a:gdLst>
                  <a:gd name="connsiteX0" fmla="*/ 5814 w 233434"/>
                  <a:gd name="connsiteY0" fmla="*/ 80236 h 116723"/>
                  <a:gd name="connsiteX1" fmla="*/ 0 w 233434"/>
                  <a:gd name="connsiteY1" fmla="*/ 116723 h 116723"/>
                  <a:gd name="connsiteX2" fmla="*/ 233434 w 233434"/>
                  <a:gd name="connsiteY2" fmla="*/ 116723 h 116723"/>
                  <a:gd name="connsiteX3" fmla="*/ 116723 w 233434"/>
                  <a:gd name="connsiteY3" fmla="*/ 0 h 116723"/>
                  <a:gd name="connsiteX4" fmla="*/ 57991 w 233434"/>
                  <a:gd name="connsiteY4" fmla="*/ 15831 h 1167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33434" h="116723">
                    <a:moveTo>
                      <a:pt x="5814" y="80236"/>
                    </a:moveTo>
                    <a:cubicBezTo>
                      <a:pt x="2048" y="91712"/>
                      <a:pt x="0" y="103988"/>
                      <a:pt x="0" y="116723"/>
                    </a:cubicBezTo>
                    <a:lnTo>
                      <a:pt x="233434" y="116723"/>
                    </a:lnTo>
                    <a:cubicBezTo>
                      <a:pt x="233434" y="52259"/>
                      <a:pt x="181176" y="0"/>
                      <a:pt x="116723" y="0"/>
                    </a:cubicBezTo>
                    <a:cubicBezTo>
                      <a:pt x="95313" y="0"/>
                      <a:pt x="75246" y="5767"/>
                      <a:pt x="57991" y="15831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2290" name="Gráfico 19">
            <a:extLst>
              <a:ext uri="{FF2B5EF4-FFF2-40B4-BE49-F238E27FC236}">
                <a16:creationId xmlns:a16="http://schemas.microsoft.com/office/drawing/2014/main" id="{A88EED9C-321F-4843-4B2B-E26B542D5343}"/>
              </a:ext>
            </a:extLst>
          </p:cNvPr>
          <p:cNvGrpSpPr/>
          <p:nvPr/>
        </p:nvGrpSpPr>
        <p:grpSpPr>
          <a:xfrm>
            <a:off x="11065574" y="5259497"/>
            <a:ext cx="383572" cy="327523"/>
            <a:chOff x="11065574" y="5259497"/>
            <a:chExt cx="383572" cy="327523"/>
          </a:xfrm>
          <a:noFill/>
        </p:grpSpPr>
        <p:grpSp>
          <p:nvGrpSpPr>
            <p:cNvPr id="2291" name="Gráfico 19">
              <a:extLst>
                <a:ext uri="{FF2B5EF4-FFF2-40B4-BE49-F238E27FC236}">
                  <a16:creationId xmlns:a16="http://schemas.microsoft.com/office/drawing/2014/main" id="{31F0C15B-E0E1-2AA8-BA63-180D4BF29B34}"/>
                </a:ext>
              </a:extLst>
            </p:cNvPr>
            <p:cNvGrpSpPr/>
            <p:nvPr/>
          </p:nvGrpSpPr>
          <p:grpSpPr>
            <a:xfrm>
              <a:off x="11200069" y="5259497"/>
              <a:ext cx="180634" cy="253231"/>
              <a:chOff x="11200069" y="5259497"/>
              <a:chExt cx="180634" cy="253231"/>
            </a:xfrm>
            <a:noFill/>
          </p:grpSpPr>
          <p:sp>
            <p:nvSpPr>
              <p:cNvPr id="2292" name="Forma livre: Forma 2291">
                <a:extLst>
                  <a:ext uri="{FF2B5EF4-FFF2-40B4-BE49-F238E27FC236}">
                    <a16:creationId xmlns:a16="http://schemas.microsoft.com/office/drawing/2014/main" id="{CE69F688-6E4B-B63C-A771-40992ECC9A4E}"/>
                  </a:ext>
                </a:extLst>
              </p:cNvPr>
              <p:cNvSpPr/>
              <p:nvPr/>
            </p:nvSpPr>
            <p:spPr>
              <a:xfrm>
                <a:off x="11229953" y="5259497"/>
                <a:ext cx="73362" cy="38134"/>
              </a:xfrm>
              <a:custGeom>
                <a:avLst/>
                <a:gdLst>
                  <a:gd name="connsiteX0" fmla="*/ 0 w 73362"/>
                  <a:gd name="connsiteY0" fmla="*/ 38135 h 38134"/>
                  <a:gd name="connsiteX1" fmla="*/ 0 w 73362"/>
                  <a:gd name="connsiteY1" fmla="*/ 18655 h 38134"/>
                  <a:gd name="connsiteX2" fmla="*/ 18667 w 73362"/>
                  <a:gd name="connsiteY2" fmla="*/ 0 h 38134"/>
                  <a:gd name="connsiteX3" fmla="*/ 54695 w 73362"/>
                  <a:gd name="connsiteY3" fmla="*/ 0 h 38134"/>
                  <a:gd name="connsiteX4" fmla="*/ 73363 w 73362"/>
                  <a:gd name="connsiteY4" fmla="*/ 18655 h 38134"/>
                  <a:gd name="connsiteX5" fmla="*/ 73363 w 73362"/>
                  <a:gd name="connsiteY5" fmla="*/ 38135 h 381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73362" h="38134">
                    <a:moveTo>
                      <a:pt x="0" y="38135"/>
                    </a:moveTo>
                    <a:lnTo>
                      <a:pt x="0" y="18655"/>
                    </a:lnTo>
                    <a:cubicBezTo>
                      <a:pt x="0" y="8392"/>
                      <a:pt x="8392" y="0"/>
                      <a:pt x="18667" y="0"/>
                    </a:cubicBezTo>
                    <a:lnTo>
                      <a:pt x="54695" y="0"/>
                    </a:lnTo>
                    <a:cubicBezTo>
                      <a:pt x="64970" y="0"/>
                      <a:pt x="73363" y="8392"/>
                      <a:pt x="73363" y="18655"/>
                    </a:cubicBezTo>
                    <a:lnTo>
                      <a:pt x="73363" y="38135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293" name="Forma livre: Forma 2292">
                <a:extLst>
                  <a:ext uri="{FF2B5EF4-FFF2-40B4-BE49-F238E27FC236}">
                    <a16:creationId xmlns:a16="http://schemas.microsoft.com/office/drawing/2014/main" id="{D2F4968E-0387-EF86-6C2B-49EE7F9B32D4}"/>
                  </a:ext>
                </a:extLst>
              </p:cNvPr>
              <p:cNvSpPr/>
              <p:nvPr/>
            </p:nvSpPr>
            <p:spPr>
              <a:xfrm>
                <a:off x="11345770" y="5309437"/>
                <a:ext cx="34933" cy="31861"/>
              </a:xfrm>
              <a:custGeom>
                <a:avLst/>
                <a:gdLst>
                  <a:gd name="connsiteX0" fmla="*/ 0 w 34933"/>
                  <a:gd name="connsiteY0" fmla="*/ 0 h 31861"/>
                  <a:gd name="connsiteX1" fmla="*/ 34933 w 34933"/>
                  <a:gd name="connsiteY1" fmla="*/ 31861 h 318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4933" h="31861">
                    <a:moveTo>
                      <a:pt x="0" y="0"/>
                    </a:moveTo>
                    <a:cubicBezTo>
                      <a:pt x="13312" y="8663"/>
                      <a:pt x="25117" y="19444"/>
                      <a:pt x="34933" y="31861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294" name="Forma livre: Forma 2293">
                <a:extLst>
                  <a:ext uri="{FF2B5EF4-FFF2-40B4-BE49-F238E27FC236}">
                    <a16:creationId xmlns:a16="http://schemas.microsoft.com/office/drawing/2014/main" id="{110DD315-C3AB-08A3-F9B0-D28B86D2C9CE}"/>
                  </a:ext>
                </a:extLst>
              </p:cNvPr>
              <p:cNvSpPr/>
              <p:nvPr/>
            </p:nvSpPr>
            <p:spPr>
              <a:xfrm>
                <a:off x="11266629" y="5285344"/>
                <a:ext cx="1177" cy="31108"/>
              </a:xfrm>
              <a:custGeom>
                <a:avLst/>
                <a:gdLst>
                  <a:gd name="connsiteX0" fmla="*/ 0 w 1177"/>
                  <a:gd name="connsiteY0" fmla="*/ 0 h 31108"/>
                  <a:gd name="connsiteX1" fmla="*/ 0 w 1177"/>
                  <a:gd name="connsiteY1" fmla="*/ 31108 h 311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77" h="31108">
                    <a:moveTo>
                      <a:pt x="0" y="0"/>
                    </a:moveTo>
                    <a:lnTo>
                      <a:pt x="0" y="31108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295" name="Forma livre: Forma 2294">
                <a:extLst>
                  <a:ext uri="{FF2B5EF4-FFF2-40B4-BE49-F238E27FC236}">
                    <a16:creationId xmlns:a16="http://schemas.microsoft.com/office/drawing/2014/main" id="{500886CC-A1F9-D433-6242-82B84B102449}"/>
                  </a:ext>
                </a:extLst>
              </p:cNvPr>
              <p:cNvSpPr/>
              <p:nvPr/>
            </p:nvSpPr>
            <p:spPr>
              <a:xfrm>
                <a:off x="11220408" y="5498287"/>
                <a:ext cx="88145" cy="14441"/>
              </a:xfrm>
              <a:custGeom>
                <a:avLst/>
                <a:gdLst>
                  <a:gd name="connsiteX0" fmla="*/ 88146 w 88145"/>
                  <a:gd name="connsiteY0" fmla="*/ 2789 h 14441"/>
                  <a:gd name="connsiteX1" fmla="*/ 46221 w 88145"/>
                  <a:gd name="connsiteY1" fmla="*/ 14442 h 14441"/>
                  <a:gd name="connsiteX2" fmla="*/ 0 w 88145"/>
                  <a:gd name="connsiteY2" fmla="*/ 0 h 144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8145" h="14441">
                    <a:moveTo>
                      <a:pt x="88146" y="2789"/>
                    </a:moveTo>
                    <a:cubicBezTo>
                      <a:pt x="75905" y="10193"/>
                      <a:pt x="61557" y="14442"/>
                      <a:pt x="46221" y="14442"/>
                    </a:cubicBezTo>
                    <a:cubicBezTo>
                      <a:pt x="29048" y="14442"/>
                      <a:pt x="13124" y="9110"/>
                      <a:pt x="0" y="0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296" name="Forma livre: Forma 2295">
                <a:extLst>
                  <a:ext uri="{FF2B5EF4-FFF2-40B4-BE49-F238E27FC236}">
                    <a16:creationId xmlns:a16="http://schemas.microsoft.com/office/drawing/2014/main" id="{F992750D-D6E1-2720-79C8-15288913282B}"/>
                  </a:ext>
                </a:extLst>
              </p:cNvPr>
              <p:cNvSpPr/>
              <p:nvPr/>
            </p:nvSpPr>
            <p:spPr>
              <a:xfrm>
                <a:off x="11266629" y="5350456"/>
                <a:ext cx="67277" cy="35769"/>
              </a:xfrm>
              <a:custGeom>
                <a:avLst/>
                <a:gdLst>
                  <a:gd name="connsiteX0" fmla="*/ 0 w 67277"/>
                  <a:gd name="connsiteY0" fmla="*/ 0 h 35769"/>
                  <a:gd name="connsiteX1" fmla="*/ 67277 w 67277"/>
                  <a:gd name="connsiteY1" fmla="*/ 35769 h 357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7277" h="35769">
                    <a:moveTo>
                      <a:pt x="0" y="0"/>
                    </a:moveTo>
                    <a:cubicBezTo>
                      <a:pt x="28001" y="0"/>
                      <a:pt x="52694" y="14183"/>
                      <a:pt x="67277" y="35769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297" name="Forma livre: Forma 2296">
                <a:extLst>
                  <a:ext uri="{FF2B5EF4-FFF2-40B4-BE49-F238E27FC236}">
                    <a16:creationId xmlns:a16="http://schemas.microsoft.com/office/drawing/2014/main" id="{D2660067-4423-92BA-54D4-33409EA0707E}"/>
                  </a:ext>
                </a:extLst>
              </p:cNvPr>
              <p:cNvSpPr/>
              <p:nvPr/>
            </p:nvSpPr>
            <p:spPr>
              <a:xfrm>
                <a:off x="11245196" y="5410177"/>
                <a:ext cx="42842" cy="42842"/>
              </a:xfrm>
              <a:custGeom>
                <a:avLst/>
                <a:gdLst>
                  <a:gd name="connsiteX0" fmla="*/ 42843 w 42842"/>
                  <a:gd name="connsiteY0" fmla="*/ 21421 h 42842"/>
                  <a:gd name="connsiteX1" fmla="*/ 21421 w 42842"/>
                  <a:gd name="connsiteY1" fmla="*/ 42843 h 42842"/>
                  <a:gd name="connsiteX2" fmla="*/ 0 w 42842"/>
                  <a:gd name="connsiteY2" fmla="*/ 21421 h 42842"/>
                  <a:gd name="connsiteX3" fmla="*/ 21421 w 42842"/>
                  <a:gd name="connsiteY3" fmla="*/ 0 h 42842"/>
                  <a:gd name="connsiteX4" fmla="*/ 42843 w 42842"/>
                  <a:gd name="connsiteY4" fmla="*/ 21421 h 428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2842" h="42842">
                    <a:moveTo>
                      <a:pt x="42843" y="21421"/>
                    </a:moveTo>
                    <a:cubicBezTo>
                      <a:pt x="42843" y="33250"/>
                      <a:pt x="33250" y="42843"/>
                      <a:pt x="21421" y="42843"/>
                    </a:cubicBezTo>
                    <a:cubicBezTo>
                      <a:pt x="9593" y="42843"/>
                      <a:pt x="0" y="33250"/>
                      <a:pt x="0" y="21421"/>
                    </a:cubicBezTo>
                    <a:cubicBezTo>
                      <a:pt x="0" y="9592"/>
                      <a:pt x="9581" y="0"/>
                      <a:pt x="21421" y="0"/>
                    </a:cubicBezTo>
                    <a:cubicBezTo>
                      <a:pt x="33262" y="0"/>
                      <a:pt x="42843" y="9592"/>
                      <a:pt x="42843" y="21421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298" name="Forma livre: Forma 2297">
                <a:extLst>
                  <a:ext uri="{FF2B5EF4-FFF2-40B4-BE49-F238E27FC236}">
                    <a16:creationId xmlns:a16="http://schemas.microsoft.com/office/drawing/2014/main" id="{C45E2640-8B49-8964-2B3C-2B072A56F031}"/>
                  </a:ext>
                </a:extLst>
              </p:cNvPr>
              <p:cNvSpPr/>
              <p:nvPr/>
            </p:nvSpPr>
            <p:spPr>
              <a:xfrm>
                <a:off x="11284566" y="5404104"/>
                <a:ext cx="17890" cy="14406"/>
              </a:xfrm>
              <a:custGeom>
                <a:avLst/>
                <a:gdLst>
                  <a:gd name="connsiteX0" fmla="*/ 0 w 17890"/>
                  <a:gd name="connsiteY0" fmla="*/ 14406 h 14406"/>
                  <a:gd name="connsiteX1" fmla="*/ 17890 w 17890"/>
                  <a:gd name="connsiteY1" fmla="*/ 0 h 144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7890" h="14406">
                    <a:moveTo>
                      <a:pt x="0" y="14406"/>
                    </a:moveTo>
                    <a:lnTo>
                      <a:pt x="1789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299" name="Forma livre: Forma 2298">
                <a:extLst>
                  <a:ext uri="{FF2B5EF4-FFF2-40B4-BE49-F238E27FC236}">
                    <a16:creationId xmlns:a16="http://schemas.microsoft.com/office/drawing/2014/main" id="{23BE9DA2-E4C3-BA86-D51B-4584D881921B}"/>
                  </a:ext>
                </a:extLst>
              </p:cNvPr>
              <p:cNvSpPr/>
              <p:nvPr/>
            </p:nvSpPr>
            <p:spPr>
              <a:xfrm>
                <a:off x="11200069" y="5445675"/>
                <a:ext cx="50752" cy="40877"/>
              </a:xfrm>
              <a:custGeom>
                <a:avLst/>
                <a:gdLst>
                  <a:gd name="connsiteX0" fmla="*/ 0 w 50752"/>
                  <a:gd name="connsiteY0" fmla="*/ 40877 h 40877"/>
                  <a:gd name="connsiteX1" fmla="*/ 50752 w 50752"/>
                  <a:gd name="connsiteY1" fmla="*/ 0 h 408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0752" h="40877">
                    <a:moveTo>
                      <a:pt x="0" y="40877"/>
                    </a:moveTo>
                    <a:lnTo>
                      <a:pt x="50752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2300" name="Gráfico 19">
              <a:extLst>
                <a:ext uri="{FF2B5EF4-FFF2-40B4-BE49-F238E27FC236}">
                  <a16:creationId xmlns:a16="http://schemas.microsoft.com/office/drawing/2014/main" id="{4146840F-57D3-7D04-F33C-1236BED42615}"/>
                </a:ext>
              </a:extLst>
            </p:cNvPr>
            <p:cNvGrpSpPr/>
            <p:nvPr/>
          </p:nvGrpSpPr>
          <p:grpSpPr>
            <a:xfrm>
              <a:off x="11395957" y="5404751"/>
              <a:ext cx="53188" cy="182270"/>
              <a:chOff x="11395957" y="5404751"/>
              <a:chExt cx="53188" cy="182270"/>
            </a:xfrm>
            <a:noFill/>
          </p:grpSpPr>
          <p:grpSp>
            <p:nvGrpSpPr>
              <p:cNvPr id="2301" name="Gráfico 19">
                <a:extLst>
                  <a:ext uri="{FF2B5EF4-FFF2-40B4-BE49-F238E27FC236}">
                    <a16:creationId xmlns:a16="http://schemas.microsoft.com/office/drawing/2014/main" id="{35B37D4E-6942-6F65-DB17-F396543BBB02}"/>
                  </a:ext>
                </a:extLst>
              </p:cNvPr>
              <p:cNvGrpSpPr/>
              <p:nvPr/>
            </p:nvGrpSpPr>
            <p:grpSpPr>
              <a:xfrm>
                <a:off x="11395957" y="5404751"/>
                <a:ext cx="53188" cy="182270"/>
                <a:chOff x="11395957" y="5404751"/>
                <a:chExt cx="53188" cy="182270"/>
              </a:xfrm>
              <a:noFill/>
            </p:grpSpPr>
            <p:sp>
              <p:nvSpPr>
                <p:cNvPr id="2302" name="Forma livre: Forma 2301">
                  <a:extLst>
                    <a:ext uri="{FF2B5EF4-FFF2-40B4-BE49-F238E27FC236}">
                      <a16:creationId xmlns:a16="http://schemas.microsoft.com/office/drawing/2014/main" id="{06EA1AB5-2970-E504-A7EB-97949038A016}"/>
                    </a:ext>
                  </a:extLst>
                </p:cNvPr>
                <p:cNvSpPr/>
                <p:nvPr/>
              </p:nvSpPr>
              <p:spPr>
                <a:xfrm>
                  <a:off x="11435093" y="5404751"/>
                  <a:ext cx="14053" cy="182270"/>
                </a:xfrm>
                <a:custGeom>
                  <a:avLst/>
                  <a:gdLst>
                    <a:gd name="connsiteX0" fmla="*/ 14053 w 14053"/>
                    <a:gd name="connsiteY0" fmla="*/ 0 h 182270"/>
                    <a:gd name="connsiteX1" fmla="*/ 14053 w 14053"/>
                    <a:gd name="connsiteY1" fmla="*/ 44561 h 182270"/>
                    <a:gd name="connsiteX2" fmla="*/ 0 w 14053"/>
                    <a:gd name="connsiteY2" fmla="*/ 70502 h 182270"/>
                    <a:gd name="connsiteX3" fmla="*/ 0 w 14053"/>
                    <a:gd name="connsiteY3" fmla="*/ 182270 h 18227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4053" h="182270">
                      <a:moveTo>
                        <a:pt x="14053" y="0"/>
                      </a:moveTo>
                      <a:lnTo>
                        <a:pt x="14053" y="44561"/>
                      </a:lnTo>
                      <a:cubicBezTo>
                        <a:pt x="14053" y="56214"/>
                        <a:pt x="10099" y="66230"/>
                        <a:pt x="0" y="70502"/>
                      </a:cubicBezTo>
                      <a:lnTo>
                        <a:pt x="0" y="182270"/>
                      </a:lnTo>
                    </a:path>
                  </a:pathLst>
                </a:custGeom>
                <a:noFill/>
                <a:ln w="6350" cap="sq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303" name="Forma livre: Forma 2302">
                  <a:extLst>
                    <a:ext uri="{FF2B5EF4-FFF2-40B4-BE49-F238E27FC236}">
                      <a16:creationId xmlns:a16="http://schemas.microsoft.com/office/drawing/2014/main" id="{B5B60AD5-CE2B-5F50-EDC1-6B40C8D0B911}"/>
                    </a:ext>
                  </a:extLst>
                </p:cNvPr>
                <p:cNvSpPr/>
                <p:nvPr/>
              </p:nvSpPr>
              <p:spPr>
                <a:xfrm>
                  <a:off x="11395957" y="5404751"/>
                  <a:ext cx="14065" cy="182270"/>
                </a:xfrm>
                <a:custGeom>
                  <a:avLst/>
                  <a:gdLst>
                    <a:gd name="connsiteX0" fmla="*/ 0 w 14065"/>
                    <a:gd name="connsiteY0" fmla="*/ 0 h 182270"/>
                    <a:gd name="connsiteX1" fmla="*/ 0 w 14065"/>
                    <a:gd name="connsiteY1" fmla="*/ 44550 h 182270"/>
                    <a:gd name="connsiteX2" fmla="*/ 14065 w 14065"/>
                    <a:gd name="connsiteY2" fmla="*/ 70502 h 182270"/>
                    <a:gd name="connsiteX3" fmla="*/ 14065 w 14065"/>
                    <a:gd name="connsiteY3" fmla="*/ 182270 h 18227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4065" h="182270">
                      <a:moveTo>
                        <a:pt x="0" y="0"/>
                      </a:moveTo>
                      <a:lnTo>
                        <a:pt x="0" y="44550"/>
                      </a:lnTo>
                      <a:cubicBezTo>
                        <a:pt x="0" y="56214"/>
                        <a:pt x="3955" y="66218"/>
                        <a:pt x="14065" y="70502"/>
                      </a:cubicBezTo>
                      <a:lnTo>
                        <a:pt x="14065" y="182270"/>
                      </a:lnTo>
                    </a:path>
                  </a:pathLst>
                </a:custGeom>
                <a:noFill/>
                <a:ln w="6350" cap="sq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2304" name="Forma livre: Forma 2303">
                <a:extLst>
                  <a:ext uri="{FF2B5EF4-FFF2-40B4-BE49-F238E27FC236}">
                    <a16:creationId xmlns:a16="http://schemas.microsoft.com/office/drawing/2014/main" id="{6042EC17-2EE8-AD36-6D57-CD5C7B6EA3B4}"/>
                  </a:ext>
                </a:extLst>
              </p:cNvPr>
              <p:cNvSpPr/>
              <p:nvPr/>
            </p:nvSpPr>
            <p:spPr>
              <a:xfrm>
                <a:off x="11422558" y="5404751"/>
                <a:ext cx="1177" cy="38499"/>
              </a:xfrm>
              <a:custGeom>
                <a:avLst/>
                <a:gdLst>
                  <a:gd name="connsiteX0" fmla="*/ 0 w 1177"/>
                  <a:gd name="connsiteY0" fmla="*/ 38500 h 38499"/>
                  <a:gd name="connsiteX1" fmla="*/ 0 w 1177"/>
                  <a:gd name="connsiteY1" fmla="*/ 0 h 384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77" h="38499">
                    <a:moveTo>
                      <a:pt x="0" y="38500"/>
                    </a:moveTo>
                    <a:lnTo>
                      <a:pt x="0" y="0"/>
                    </a:lnTo>
                  </a:path>
                </a:pathLst>
              </a:custGeom>
              <a:ln w="6350" cap="sq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2305" name="Forma livre: Forma 2304">
              <a:extLst>
                <a:ext uri="{FF2B5EF4-FFF2-40B4-BE49-F238E27FC236}">
                  <a16:creationId xmlns:a16="http://schemas.microsoft.com/office/drawing/2014/main" id="{48E0AA84-3F31-B899-6AD4-91EE512D178C}"/>
                </a:ext>
              </a:extLst>
            </p:cNvPr>
            <p:cNvSpPr/>
            <p:nvPr/>
          </p:nvSpPr>
          <p:spPr>
            <a:xfrm>
              <a:off x="11330140" y="5398848"/>
              <a:ext cx="38593" cy="188172"/>
            </a:xfrm>
            <a:custGeom>
              <a:avLst/>
              <a:gdLst>
                <a:gd name="connsiteX0" fmla="*/ 13029 w 38593"/>
                <a:gd name="connsiteY0" fmla="*/ 188173 h 188172"/>
                <a:gd name="connsiteX1" fmla="*/ 13029 w 38593"/>
                <a:gd name="connsiteY1" fmla="*/ 104547 h 188172"/>
                <a:gd name="connsiteX2" fmla="*/ 0 w 38593"/>
                <a:gd name="connsiteY2" fmla="*/ 100274 h 188172"/>
                <a:gd name="connsiteX3" fmla="*/ 12476 w 38593"/>
                <a:gd name="connsiteY3" fmla="*/ 19768 h 188172"/>
                <a:gd name="connsiteX4" fmla="*/ 30214 w 38593"/>
                <a:gd name="connsiteY4" fmla="*/ 430 h 188172"/>
                <a:gd name="connsiteX5" fmla="*/ 38594 w 38593"/>
                <a:gd name="connsiteY5" fmla="*/ 12035 h 188172"/>
                <a:gd name="connsiteX6" fmla="*/ 38594 w 38593"/>
                <a:gd name="connsiteY6" fmla="*/ 188173 h 1881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8593" h="188172">
                  <a:moveTo>
                    <a:pt x="13029" y="188173"/>
                  </a:moveTo>
                  <a:lnTo>
                    <a:pt x="13029" y="104547"/>
                  </a:lnTo>
                  <a:lnTo>
                    <a:pt x="0" y="100274"/>
                  </a:lnTo>
                  <a:lnTo>
                    <a:pt x="12476" y="19768"/>
                  </a:lnTo>
                  <a:cubicBezTo>
                    <a:pt x="15831" y="5667"/>
                    <a:pt x="30214" y="430"/>
                    <a:pt x="30214" y="430"/>
                  </a:cubicBezTo>
                  <a:cubicBezTo>
                    <a:pt x="35887" y="-1807"/>
                    <a:pt x="38476" y="5079"/>
                    <a:pt x="38594" y="12035"/>
                  </a:cubicBezTo>
                  <a:lnTo>
                    <a:pt x="38594" y="188173"/>
                  </a:lnTo>
                </a:path>
              </a:pathLst>
            </a:custGeom>
            <a:noFill/>
            <a:ln w="6350" cap="sq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306" name="Forma livre: Forma 2305">
              <a:extLst>
                <a:ext uri="{FF2B5EF4-FFF2-40B4-BE49-F238E27FC236}">
                  <a16:creationId xmlns:a16="http://schemas.microsoft.com/office/drawing/2014/main" id="{2B5B6D7C-0508-C107-17BC-CF4E1A58C5D1}"/>
                </a:ext>
              </a:extLst>
            </p:cNvPr>
            <p:cNvSpPr/>
            <p:nvPr/>
          </p:nvSpPr>
          <p:spPr>
            <a:xfrm>
              <a:off x="11170986" y="5315428"/>
              <a:ext cx="200348" cy="65794"/>
            </a:xfrm>
            <a:custGeom>
              <a:avLst/>
              <a:gdLst>
                <a:gd name="connsiteX0" fmla="*/ 0 w 200348"/>
                <a:gd name="connsiteY0" fmla="*/ 50211 h 65794"/>
                <a:gd name="connsiteX1" fmla="*/ 95655 w 200348"/>
                <a:gd name="connsiteY1" fmla="*/ 0 h 65794"/>
                <a:gd name="connsiteX2" fmla="*/ 200349 w 200348"/>
                <a:gd name="connsiteY2" fmla="*/ 65794 h 657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00348" h="65794">
                  <a:moveTo>
                    <a:pt x="0" y="50211"/>
                  </a:moveTo>
                  <a:cubicBezTo>
                    <a:pt x="20951" y="19879"/>
                    <a:pt x="55966" y="0"/>
                    <a:pt x="95655" y="0"/>
                  </a:cubicBezTo>
                  <a:cubicBezTo>
                    <a:pt x="141746" y="0"/>
                    <a:pt x="181576" y="26859"/>
                    <a:pt x="200349" y="65794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307" name="Forma livre: Forma 2306">
              <a:extLst>
                <a:ext uri="{FF2B5EF4-FFF2-40B4-BE49-F238E27FC236}">
                  <a16:creationId xmlns:a16="http://schemas.microsoft.com/office/drawing/2014/main" id="{0C9B2C67-29C5-DDA4-3669-9E4EDF12EC6F}"/>
                </a:ext>
              </a:extLst>
            </p:cNvPr>
            <p:cNvSpPr/>
            <p:nvPr/>
          </p:nvSpPr>
          <p:spPr>
            <a:xfrm>
              <a:off x="11152224" y="5385707"/>
              <a:ext cx="7650" cy="25658"/>
            </a:xfrm>
            <a:custGeom>
              <a:avLst/>
              <a:gdLst>
                <a:gd name="connsiteX0" fmla="*/ 0 w 7650"/>
                <a:gd name="connsiteY0" fmla="*/ 25659 h 25658"/>
                <a:gd name="connsiteX1" fmla="*/ 7651 w 7650"/>
                <a:gd name="connsiteY1" fmla="*/ 0 h 256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650" h="25658">
                  <a:moveTo>
                    <a:pt x="0" y="25659"/>
                  </a:moveTo>
                  <a:cubicBezTo>
                    <a:pt x="1577" y="16713"/>
                    <a:pt x="4166" y="8121"/>
                    <a:pt x="7651" y="0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308" name="Forma livre: Forma 2307">
              <a:extLst>
                <a:ext uri="{FF2B5EF4-FFF2-40B4-BE49-F238E27FC236}">
                  <a16:creationId xmlns:a16="http://schemas.microsoft.com/office/drawing/2014/main" id="{2BD4818B-CA59-4474-C92A-223B75533D6C}"/>
                </a:ext>
              </a:extLst>
            </p:cNvPr>
            <p:cNvSpPr/>
            <p:nvPr/>
          </p:nvSpPr>
          <p:spPr>
            <a:xfrm>
              <a:off x="11150459" y="5431610"/>
              <a:ext cx="173065" cy="116146"/>
            </a:xfrm>
            <a:custGeom>
              <a:avLst/>
              <a:gdLst>
                <a:gd name="connsiteX0" fmla="*/ 173066 w 173065"/>
                <a:gd name="connsiteY0" fmla="*/ 101281 h 116146"/>
                <a:gd name="connsiteX1" fmla="*/ 116170 w 173065"/>
                <a:gd name="connsiteY1" fmla="*/ 116146 h 116146"/>
                <a:gd name="connsiteX2" fmla="*/ 0 w 173065"/>
                <a:gd name="connsiteY2" fmla="*/ 0 h 1161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73065" h="116146">
                  <a:moveTo>
                    <a:pt x="173066" y="101281"/>
                  </a:moveTo>
                  <a:cubicBezTo>
                    <a:pt x="156247" y="110744"/>
                    <a:pt x="136838" y="116146"/>
                    <a:pt x="116170" y="116146"/>
                  </a:cubicBezTo>
                  <a:cubicBezTo>
                    <a:pt x="51988" y="116146"/>
                    <a:pt x="0" y="64147"/>
                    <a:pt x="0" y="0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309" name="Forma livre: Forma 2308">
              <a:extLst>
                <a:ext uri="{FF2B5EF4-FFF2-40B4-BE49-F238E27FC236}">
                  <a16:creationId xmlns:a16="http://schemas.microsoft.com/office/drawing/2014/main" id="{71F2A8BB-D9D9-D99D-4DEE-DD013A842772}"/>
                </a:ext>
              </a:extLst>
            </p:cNvPr>
            <p:cNvSpPr/>
            <p:nvPr/>
          </p:nvSpPr>
          <p:spPr>
            <a:xfrm>
              <a:off x="11118668" y="5385272"/>
              <a:ext cx="78600" cy="1177"/>
            </a:xfrm>
            <a:custGeom>
              <a:avLst/>
              <a:gdLst>
                <a:gd name="connsiteX0" fmla="*/ 78600 w 78600"/>
                <a:gd name="connsiteY0" fmla="*/ 0 h 1177"/>
                <a:gd name="connsiteX1" fmla="*/ 0 w 78600"/>
                <a:gd name="connsiteY1" fmla="*/ 0 h 11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8600" h="1177">
                  <a:moveTo>
                    <a:pt x="78600" y="0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2310" name="Gráfico 19">
              <a:extLst>
                <a:ext uri="{FF2B5EF4-FFF2-40B4-BE49-F238E27FC236}">
                  <a16:creationId xmlns:a16="http://schemas.microsoft.com/office/drawing/2014/main" id="{CBF13176-04DA-5A2B-190F-4050912E340B}"/>
                </a:ext>
              </a:extLst>
            </p:cNvPr>
            <p:cNvGrpSpPr/>
            <p:nvPr/>
          </p:nvGrpSpPr>
          <p:grpSpPr>
            <a:xfrm>
              <a:off x="11065574" y="5429868"/>
              <a:ext cx="120948" cy="1177"/>
              <a:chOff x="11065574" y="5429868"/>
              <a:chExt cx="120948" cy="1177"/>
            </a:xfrm>
          </p:grpSpPr>
          <p:sp>
            <p:nvSpPr>
              <p:cNvPr id="2311" name="Forma livre: Forma 2310">
                <a:extLst>
                  <a:ext uri="{FF2B5EF4-FFF2-40B4-BE49-F238E27FC236}">
                    <a16:creationId xmlns:a16="http://schemas.microsoft.com/office/drawing/2014/main" id="{ECD2BEC6-0D0E-61FF-B78B-80360BC79AED}"/>
                  </a:ext>
                </a:extLst>
              </p:cNvPr>
              <p:cNvSpPr/>
              <p:nvPr/>
            </p:nvSpPr>
            <p:spPr>
              <a:xfrm>
                <a:off x="11098906" y="5429868"/>
                <a:ext cx="87615" cy="1177"/>
              </a:xfrm>
              <a:custGeom>
                <a:avLst/>
                <a:gdLst>
                  <a:gd name="connsiteX0" fmla="*/ 87616 w 87615"/>
                  <a:gd name="connsiteY0" fmla="*/ 0 h 1177"/>
                  <a:gd name="connsiteX1" fmla="*/ 0 w 87615"/>
                  <a:gd name="connsiteY1" fmla="*/ 0 h 11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87615" h="1177">
                    <a:moveTo>
                      <a:pt x="87616" y="0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312" name="Forma livre: Forma 2311">
                <a:extLst>
                  <a:ext uri="{FF2B5EF4-FFF2-40B4-BE49-F238E27FC236}">
                    <a16:creationId xmlns:a16="http://schemas.microsoft.com/office/drawing/2014/main" id="{6F171C4B-0F5F-5953-41F0-DE31282C5CD8}"/>
                  </a:ext>
                </a:extLst>
              </p:cNvPr>
              <p:cNvSpPr/>
              <p:nvPr/>
            </p:nvSpPr>
            <p:spPr>
              <a:xfrm>
                <a:off x="11065574" y="5429868"/>
                <a:ext cx="12346" cy="1177"/>
              </a:xfrm>
              <a:custGeom>
                <a:avLst/>
                <a:gdLst>
                  <a:gd name="connsiteX0" fmla="*/ 12347 w 12346"/>
                  <a:gd name="connsiteY0" fmla="*/ 0 h 1177"/>
                  <a:gd name="connsiteX1" fmla="*/ 0 w 12346"/>
                  <a:gd name="connsiteY1" fmla="*/ 0 h 11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346" h="1177">
                    <a:moveTo>
                      <a:pt x="12347" y="0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2313" name="Forma livre: Forma 2312">
              <a:extLst>
                <a:ext uri="{FF2B5EF4-FFF2-40B4-BE49-F238E27FC236}">
                  <a16:creationId xmlns:a16="http://schemas.microsoft.com/office/drawing/2014/main" id="{AD708268-0654-E122-6E6D-D7A68DCF24B2}"/>
                </a:ext>
              </a:extLst>
            </p:cNvPr>
            <p:cNvSpPr/>
            <p:nvPr/>
          </p:nvSpPr>
          <p:spPr>
            <a:xfrm>
              <a:off x="11105862" y="5345842"/>
              <a:ext cx="46974" cy="1177"/>
            </a:xfrm>
            <a:custGeom>
              <a:avLst/>
              <a:gdLst>
                <a:gd name="connsiteX0" fmla="*/ 46974 w 46974"/>
                <a:gd name="connsiteY0" fmla="*/ 0 h 1177"/>
                <a:gd name="connsiteX1" fmla="*/ 0 w 46974"/>
                <a:gd name="connsiteY1" fmla="*/ 0 h 11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6974" h="1177">
                  <a:moveTo>
                    <a:pt x="46974" y="0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2314" name="Gráfico 19">
            <a:extLst>
              <a:ext uri="{FF2B5EF4-FFF2-40B4-BE49-F238E27FC236}">
                <a16:creationId xmlns:a16="http://schemas.microsoft.com/office/drawing/2014/main" id="{FAE1D879-5C5F-389D-4CCC-562608333BE8}"/>
              </a:ext>
            </a:extLst>
          </p:cNvPr>
          <p:cNvGrpSpPr/>
          <p:nvPr/>
        </p:nvGrpSpPr>
        <p:grpSpPr>
          <a:xfrm>
            <a:off x="9953050" y="5801365"/>
            <a:ext cx="162014" cy="292966"/>
            <a:chOff x="9953050" y="5801365"/>
            <a:chExt cx="162014" cy="292966"/>
          </a:xfrm>
        </p:grpSpPr>
        <p:grpSp>
          <p:nvGrpSpPr>
            <p:cNvPr id="2315" name="Gráfico 19">
              <a:extLst>
                <a:ext uri="{FF2B5EF4-FFF2-40B4-BE49-F238E27FC236}">
                  <a16:creationId xmlns:a16="http://schemas.microsoft.com/office/drawing/2014/main" id="{878A6145-59A9-5268-75A8-7EBBA3FE8E88}"/>
                </a:ext>
              </a:extLst>
            </p:cNvPr>
            <p:cNvGrpSpPr/>
            <p:nvPr/>
          </p:nvGrpSpPr>
          <p:grpSpPr>
            <a:xfrm>
              <a:off x="9953050" y="5801365"/>
              <a:ext cx="162014" cy="292966"/>
              <a:chOff x="9953050" y="5801365"/>
              <a:chExt cx="162014" cy="292966"/>
            </a:xfrm>
            <a:noFill/>
          </p:grpSpPr>
          <p:sp>
            <p:nvSpPr>
              <p:cNvPr id="2316" name="Forma livre: Forma 2315">
                <a:extLst>
                  <a:ext uri="{FF2B5EF4-FFF2-40B4-BE49-F238E27FC236}">
                    <a16:creationId xmlns:a16="http://schemas.microsoft.com/office/drawing/2014/main" id="{CFFBA808-D408-D518-617F-2BB1C8ACC188}"/>
                  </a:ext>
                </a:extLst>
              </p:cNvPr>
              <p:cNvSpPr/>
              <p:nvPr/>
            </p:nvSpPr>
            <p:spPr>
              <a:xfrm>
                <a:off x="9953050" y="5801365"/>
                <a:ext cx="162014" cy="292966"/>
              </a:xfrm>
              <a:custGeom>
                <a:avLst/>
                <a:gdLst>
                  <a:gd name="connsiteX0" fmla="*/ 162014 w 162014"/>
                  <a:gd name="connsiteY0" fmla="*/ 279290 h 292966"/>
                  <a:gd name="connsiteX1" fmla="*/ 148749 w 162014"/>
                  <a:gd name="connsiteY1" fmla="*/ 292967 h 292966"/>
                  <a:gd name="connsiteX2" fmla="*/ 13265 w 162014"/>
                  <a:gd name="connsiteY2" fmla="*/ 292967 h 292966"/>
                  <a:gd name="connsiteX3" fmla="*/ 0 w 162014"/>
                  <a:gd name="connsiteY3" fmla="*/ 279290 h 292966"/>
                  <a:gd name="connsiteX4" fmla="*/ 0 w 162014"/>
                  <a:gd name="connsiteY4" fmla="*/ 13253 h 292966"/>
                  <a:gd name="connsiteX5" fmla="*/ 13265 w 162014"/>
                  <a:gd name="connsiteY5" fmla="*/ 0 h 292966"/>
                  <a:gd name="connsiteX6" fmla="*/ 148749 w 162014"/>
                  <a:gd name="connsiteY6" fmla="*/ 0 h 292966"/>
                  <a:gd name="connsiteX7" fmla="*/ 162014 w 162014"/>
                  <a:gd name="connsiteY7" fmla="*/ 13253 h 292966"/>
                  <a:gd name="connsiteX8" fmla="*/ 162014 w 162014"/>
                  <a:gd name="connsiteY8" fmla="*/ 279290 h 2929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62014" h="292966">
                    <a:moveTo>
                      <a:pt x="162014" y="279290"/>
                    </a:moveTo>
                    <a:cubicBezTo>
                      <a:pt x="162014" y="286588"/>
                      <a:pt x="156047" y="292967"/>
                      <a:pt x="148749" y="292967"/>
                    </a:cubicBezTo>
                    <a:lnTo>
                      <a:pt x="13265" y="292967"/>
                    </a:lnTo>
                    <a:cubicBezTo>
                      <a:pt x="5967" y="292967"/>
                      <a:pt x="0" y="286576"/>
                      <a:pt x="0" y="279290"/>
                    </a:cubicBezTo>
                    <a:lnTo>
                      <a:pt x="0" y="13253"/>
                    </a:lnTo>
                    <a:cubicBezTo>
                      <a:pt x="0" y="5956"/>
                      <a:pt x="5967" y="0"/>
                      <a:pt x="13265" y="0"/>
                    </a:cubicBezTo>
                    <a:lnTo>
                      <a:pt x="148749" y="0"/>
                    </a:lnTo>
                    <a:cubicBezTo>
                      <a:pt x="156047" y="0"/>
                      <a:pt x="162014" y="5956"/>
                      <a:pt x="162014" y="13253"/>
                    </a:cubicBezTo>
                    <a:lnTo>
                      <a:pt x="162014" y="279290"/>
                    </a:ln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317" name="Forma livre: Forma 2316">
                <a:extLst>
                  <a:ext uri="{FF2B5EF4-FFF2-40B4-BE49-F238E27FC236}">
                    <a16:creationId xmlns:a16="http://schemas.microsoft.com/office/drawing/2014/main" id="{3A46BD9F-A02A-BB66-40E2-BD92573EF3BC}"/>
                  </a:ext>
                </a:extLst>
              </p:cNvPr>
              <p:cNvSpPr/>
              <p:nvPr/>
            </p:nvSpPr>
            <p:spPr>
              <a:xfrm>
                <a:off x="9974165" y="6036517"/>
                <a:ext cx="119759" cy="1177"/>
              </a:xfrm>
              <a:custGeom>
                <a:avLst/>
                <a:gdLst>
                  <a:gd name="connsiteX0" fmla="*/ 0 w 119759"/>
                  <a:gd name="connsiteY0" fmla="*/ 0 h 1177"/>
                  <a:gd name="connsiteX1" fmla="*/ 119760 w 119759"/>
                  <a:gd name="connsiteY1" fmla="*/ 0 h 11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759" h="1177">
                    <a:moveTo>
                      <a:pt x="0" y="0"/>
                    </a:moveTo>
                    <a:lnTo>
                      <a:pt x="11976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318" name="Forma livre: Forma 2317">
                <a:extLst>
                  <a:ext uri="{FF2B5EF4-FFF2-40B4-BE49-F238E27FC236}">
                    <a16:creationId xmlns:a16="http://schemas.microsoft.com/office/drawing/2014/main" id="{FDB9BF68-749C-8759-50AB-67039804AAB5}"/>
                  </a:ext>
                </a:extLst>
              </p:cNvPr>
              <p:cNvSpPr/>
              <p:nvPr/>
            </p:nvSpPr>
            <p:spPr>
              <a:xfrm>
                <a:off x="10023046" y="6064601"/>
                <a:ext cx="22033" cy="1177"/>
              </a:xfrm>
              <a:custGeom>
                <a:avLst/>
                <a:gdLst>
                  <a:gd name="connsiteX0" fmla="*/ 0 w 22033"/>
                  <a:gd name="connsiteY0" fmla="*/ 0 h 1177"/>
                  <a:gd name="connsiteX1" fmla="*/ 22033 w 22033"/>
                  <a:gd name="connsiteY1" fmla="*/ 0 h 11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2033" h="1177">
                    <a:moveTo>
                      <a:pt x="0" y="0"/>
                    </a:moveTo>
                    <a:lnTo>
                      <a:pt x="22033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2319" name="Gráfico 19">
              <a:extLst>
                <a:ext uri="{FF2B5EF4-FFF2-40B4-BE49-F238E27FC236}">
                  <a16:creationId xmlns:a16="http://schemas.microsoft.com/office/drawing/2014/main" id="{FBF7800F-964F-DF6E-3BD4-51FAF3C811B1}"/>
                </a:ext>
              </a:extLst>
            </p:cNvPr>
            <p:cNvGrpSpPr/>
            <p:nvPr/>
          </p:nvGrpSpPr>
          <p:grpSpPr>
            <a:xfrm>
              <a:off x="9994245" y="5850034"/>
              <a:ext cx="79647" cy="128881"/>
              <a:chOff x="9994245" y="5850034"/>
              <a:chExt cx="79647" cy="128881"/>
            </a:xfrm>
          </p:grpSpPr>
          <p:sp>
            <p:nvSpPr>
              <p:cNvPr id="2320" name="Forma livre: Forma 2319">
                <a:extLst>
                  <a:ext uri="{FF2B5EF4-FFF2-40B4-BE49-F238E27FC236}">
                    <a16:creationId xmlns:a16="http://schemas.microsoft.com/office/drawing/2014/main" id="{6FDE4DFA-535B-6D52-CBA0-44C64DD18582}"/>
                  </a:ext>
                </a:extLst>
              </p:cNvPr>
              <p:cNvSpPr/>
              <p:nvPr/>
            </p:nvSpPr>
            <p:spPr>
              <a:xfrm>
                <a:off x="9994245" y="5850034"/>
                <a:ext cx="79647" cy="128881"/>
              </a:xfrm>
              <a:custGeom>
                <a:avLst/>
                <a:gdLst>
                  <a:gd name="connsiteX0" fmla="*/ 0 w 79647"/>
                  <a:gd name="connsiteY0" fmla="*/ 39830 h 128881"/>
                  <a:gd name="connsiteX1" fmla="*/ 39830 w 79647"/>
                  <a:gd name="connsiteY1" fmla="*/ 128882 h 128881"/>
                  <a:gd name="connsiteX2" fmla="*/ 79648 w 79647"/>
                  <a:gd name="connsiteY2" fmla="*/ 39830 h 128881"/>
                  <a:gd name="connsiteX3" fmla="*/ 39830 w 79647"/>
                  <a:gd name="connsiteY3" fmla="*/ 0 h 128881"/>
                  <a:gd name="connsiteX4" fmla="*/ 0 w 79647"/>
                  <a:gd name="connsiteY4" fmla="*/ 39830 h 1288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647" h="128881">
                    <a:moveTo>
                      <a:pt x="0" y="39830"/>
                    </a:moveTo>
                    <a:cubicBezTo>
                      <a:pt x="0" y="61816"/>
                      <a:pt x="39830" y="128882"/>
                      <a:pt x="39830" y="128882"/>
                    </a:cubicBezTo>
                    <a:cubicBezTo>
                      <a:pt x="39830" y="128882"/>
                      <a:pt x="79648" y="61816"/>
                      <a:pt x="79648" y="39830"/>
                    </a:cubicBezTo>
                    <a:cubicBezTo>
                      <a:pt x="79648" y="17843"/>
                      <a:pt x="61816" y="0"/>
                      <a:pt x="39830" y="0"/>
                    </a:cubicBezTo>
                    <a:cubicBezTo>
                      <a:pt x="17843" y="0"/>
                      <a:pt x="0" y="17832"/>
                      <a:pt x="0" y="39830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321" name="Forma livre: Forma 2320">
                <a:extLst>
                  <a:ext uri="{FF2B5EF4-FFF2-40B4-BE49-F238E27FC236}">
                    <a16:creationId xmlns:a16="http://schemas.microsoft.com/office/drawing/2014/main" id="{E98AAD02-7D8E-826A-3815-6034DBDBAC86}"/>
                  </a:ext>
                </a:extLst>
              </p:cNvPr>
              <p:cNvSpPr/>
              <p:nvPr/>
            </p:nvSpPr>
            <p:spPr>
              <a:xfrm>
                <a:off x="10029472" y="5882660"/>
                <a:ext cx="9192" cy="9192"/>
              </a:xfrm>
              <a:custGeom>
                <a:avLst/>
                <a:gdLst>
                  <a:gd name="connsiteX0" fmla="*/ 0 w 9192"/>
                  <a:gd name="connsiteY0" fmla="*/ 4602 h 9192"/>
                  <a:gd name="connsiteX1" fmla="*/ 4590 w 9192"/>
                  <a:gd name="connsiteY1" fmla="*/ 9192 h 9192"/>
                  <a:gd name="connsiteX2" fmla="*/ 9192 w 9192"/>
                  <a:gd name="connsiteY2" fmla="*/ 4602 h 9192"/>
                  <a:gd name="connsiteX3" fmla="*/ 4590 w 9192"/>
                  <a:gd name="connsiteY3" fmla="*/ 0 h 9192"/>
                  <a:gd name="connsiteX4" fmla="*/ 0 w 9192"/>
                  <a:gd name="connsiteY4" fmla="*/ 4602 h 91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9192" h="9192">
                    <a:moveTo>
                      <a:pt x="0" y="4602"/>
                    </a:moveTo>
                    <a:cubicBezTo>
                      <a:pt x="0" y="7144"/>
                      <a:pt x="2036" y="9192"/>
                      <a:pt x="4590" y="9192"/>
                    </a:cubicBezTo>
                    <a:cubicBezTo>
                      <a:pt x="7144" y="9192"/>
                      <a:pt x="9192" y="7133"/>
                      <a:pt x="9192" y="4602"/>
                    </a:cubicBezTo>
                    <a:cubicBezTo>
                      <a:pt x="9192" y="2072"/>
                      <a:pt x="7133" y="0"/>
                      <a:pt x="4590" y="0"/>
                    </a:cubicBezTo>
                    <a:cubicBezTo>
                      <a:pt x="2048" y="0"/>
                      <a:pt x="0" y="2048"/>
                      <a:pt x="0" y="4602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2322" name="Gráfico 19">
            <a:extLst>
              <a:ext uri="{FF2B5EF4-FFF2-40B4-BE49-F238E27FC236}">
                <a16:creationId xmlns:a16="http://schemas.microsoft.com/office/drawing/2014/main" id="{90EDF0DA-7879-7739-C187-01907DDA8B35}"/>
              </a:ext>
            </a:extLst>
          </p:cNvPr>
          <p:cNvGrpSpPr/>
          <p:nvPr/>
        </p:nvGrpSpPr>
        <p:grpSpPr>
          <a:xfrm>
            <a:off x="9917175" y="4734238"/>
            <a:ext cx="233788" cy="328853"/>
            <a:chOff x="9917175" y="4734238"/>
            <a:chExt cx="233788" cy="328853"/>
          </a:xfrm>
          <a:noFill/>
        </p:grpSpPr>
        <p:grpSp>
          <p:nvGrpSpPr>
            <p:cNvPr id="2323" name="Gráfico 19">
              <a:extLst>
                <a:ext uri="{FF2B5EF4-FFF2-40B4-BE49-F238E27FC236}">
                  <a16:creationId xmlns:a16="http://schemas.microsoft.com/office/drawing/2014/main" id="{4A5F0A42-E2A7-1222-9A02-E8163DB65C1E}"/>
                </a:ext>
              </a:extLst>
            </p:cNvPr>
            <p:cNvGrpSpPr/>
            <p:nvPr/>
          </p:nvGrpSpPr>
          <p:grpSpPr>
            <a:xfrm>
              <a:off x="9917175" y="4756089"/>
              <a:ext cx="233788" cy="307002"/>
              <a:chOff x="9917175" y="4756089"/>
              <a:chExt cx="233788" cy="307002"/>
            </a:xfrm>
            <a:noFill/>
          </p:grpSpPr>
          <p:grpSp>
            <p:nvGrpSpPr>
              <p:cNvPr id="2324" name="Gráfico 19">
                <a:extLst>
                  <a:ext uri="{FF2B5EF4-FFF2-40B4-BE49-F238E27FC236}">
                    <a16:creationId xmlns:a16="http://schemas.microsoft.com/office/drawing/2014/main" id="{7419E196-038F-4883-C8E9-EE91E6851FC5}"/>
                  </a:ext>
                </a:extLst>
              </p:cNvPr>
              <p:cNvGrpSpPr/>
              <p:nvPr/>
            </p:nvGrpSpPr>
            <p:grpSpPr>
              <a:xfrm>
                <a:off x="9917175" y="4794500"/>
                <a:ext cx="217674" cy="268591"/>
                <a:chOff x="9917175" y="4794500"/>
                <a:chExt cx="217674" cy="268591"/>
              </a:xfrm>
              <a:noFill/>
            </p:grpSpPr>
            <p:sp>
              <p:nvSpPr>
                <p:cNvPr id="2325" name="Forma livre: Forma 2324">
                  <a:extLst>
                    <a:ext uri="{FF2B5EF4-FFF2-40B4-BE49-F238E27FC236}">
                      <a16:creationId xmlns:a16="http://schemas.microsoft.com/office/drawing/2014/main" id="{72D4CD61-B95E-2DEE-A1B1-262915CCFD4B}"/>
                    </a:ext>
                  </a:extLst>
                </p:cNvPr>
                <p:cNvSpPr/>
                <p:nvPr/>
              </p:nvSpPr>
              <p:spPr>
                <a:xfrm>
                  <a:off x="9917175" y="4841721"/>
                  <a:ext cx="217674" cy="221370"/>
                </a:xfrm>
                <a:custGeom>
                  <a:avLst/>
                  <a:gdLst>
                    <a:gd name="connsiteX0" fmla="*/ 217674 w 217674"/>
                    <a:gd name="connsiteY0" fmla="*/ 0 h 221370"/>
                    <a:gd name="connsiteX1" fmla="*/ 195841 w 217674"/>
                    <a:gd name="connsiteY1" fmla="*/ 15478 h 221370"/>
                    <a:gd name="connsiteX2" fmla="*/ 174208 w 217674"/>
                    <a:gd name="connsiteY2" fmla="*/ 59 h 221370"/>
                    <a:gd name="connsiteX3" fmla="*/ 152210 w 217674"/>
                    <a:gd name="connsiteY3" fmla="*/ 15478 h 221370"/>
                    <a:gd name="connsiteX4" fmla="*/ 130553 w 217674"/>
                    <a:gd name="connsiteY4" fmla="*/ 59 h 221370"/>
                    <a:gd name="connsiteX5" fmla="*/ 108696 w 217674"/>
                    <a:gd name="connsiteY5" fmla="*/ 15478 h 221370"/>
                    <a:gd name="connsiteX6" fmla="*/ 87051 w 217674"/>
                    <a:gd name="connsiteY6" fmla="*/ 59 h 221370"/>
                    <a:gd name="connsiteX7" fmla="*/ 65182 w 217674"/>
                    <a:gd name="connsiteY7" fmla="*/ 15478 h 221370"/>
                    <a:gd name="connsiteX8" fmla="*/ 43514 w 217674"/>
                    <a:gd name="connsiteY8" fmla="*/ 47 h 221370"/>
                    <a:gd name="connsiteX9" fmla="*/ 21633 w 217674"/>
                    <a:gd name="connsiteY9" fmla="*/ 15478 h 221370"/>
                    <a:gd name="connsiteX10" fmla="*/ 0 w 217674"/>
                    <a:gd name="connsiteY10" fmla="*/ 59 h 221370"/>
                    <a:gd name="connsiteX11" fmla="*/ 0 w 217674"/>
                    <a:gd name="connsiteY11" fmla="*/ 221370 h 221370"/>
                    <a:gd name="connsiteX12" fmla="*/ 217674 w 217674"/>
                    <a:gd name="connsiteY12" fmla="*/ 221323 h 221370"/>
                    <a:gd name="connsiteX13" fmla="*/ 217674 w 217674"/>
                    <a:gd name="connsiteY13" fmla="*/ 0 h 22137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</a:cxnLst>
                  <a:rect l="l" t="t" r="r" b="b"/>
                  <a:pathLst>
                    <a:path w="217674" h="221370">
                      <a:moveTo>
                        <a:pt x="217674" y="0"/>
                      </a:moveTo>
                      <a:lnTo>
                        <a:pt x="195841" y="15478"/>
                      </a:lnTo>
                      <a:lnTo>
                        <a:pt x="174208" y="59"/>
                      </a:lnTo>
                      <a:lnTo>
                        <a:pt x="152210" y="15478"/>
                      </a:lnTo>
                      <a:lnTo>
                        <a:pt x="130553" y="59"/>
                      </a:lnTo>
                      <a:lnTo>
                        <a:pt x="108696" y="15478"/>
                      </a:lnTo>
                      <a:lnTo>
                        <a:pt x="87051" y="59"/>
                      </a:lnTo>
                      <a:lnTo>
                        <a:pt x="65182" y="15478"/>
                      </a:lnTo>
                      <a:lnTo>
                        <a:pt x="43514" y="47"/>
                      </a:lnTo>
                      <a:lnTo>
                        <a:pt x="21633" y="15478"/>
                      </a:lnTo>
                      <a:lnTo>
                        <a:pt x="0" y="59"/>
                      </a:lnTo>
                      <a:lnTo>
                        <a:pt x="0" y="221370"/>
                      </a:lnTo>
                      <a:lnTo>
                        <a:pt x="217674" y="221323"/>
                      </a:lnTo>
                      <a:lnTo>
                        <a:pt x="217674" y="0"/>
                      </a:lnTo>
                      <a:close/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326" name="Forma livre: Forma 2325">
                  <a:extLst>
                    <a:ext uri="{FF2B5EF4-FFF2-40B4-BE49-F238E27FC236}">
                      <a16:creationId xmlns:a16="http://schemas.microsoft.com/office/drawing/2014/main" id="{8F798FE4-A4A4-91C2-2435-AE365956508E}"/>
                    </a:ext>
                  </a:extLst>
                </p:cNvPr>
                <p:cNvSpPr/>
                <p:nvPr/>
              </p:nvSpPr>
              <p:spPr>
                <a:xfrm>
                  <a:off x="9945164" y="5021896"/>
                  <a:ext cx="187037" cy="1177"/>
                </a:xfrm>
                <a:custGeom>
                  <a:avLst/>
                  <a:gdLst>
                    <a:gd name="connsiteX0" fmla="*/ 0 w 187037"/>
                    <a:gd name="connsiteY0" fmla="*/ 0 h 1177"/>
                    <a:gd name="connsiteX1" fmla="*/ 187037 w 187037"/>
                    <a:gd name="connsiteY1" fmla="*/ 0 h 117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87037" h="1177">
                      <a:moveTo>
                        <a:pt x="0" y="0"/>
                      </a:moveTo>
                      <a:lnTo>
                        <a:pt x="187037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327" name="Forma livre: Forma 2326">
                  <a:extLst>
                    <a:ext uri="{FF2B5EF4-FFF2-40B4-BE49-F238E27FC236}">
                      <a16:creationId xmlns:a16="http://schemas.microsoft.com/office/drawing/2014/main" id="{27C2AE73-6302-22FF-C894-6E27DF1AFA6C}"/>
                    </a:ext>
                  </a:extLst>
                </p:cNvPr>
                <p:cNvSpPr/>
                <p:nvPr/>
              </p:nvSpPr>
              <p:spPr>
                <a:xfrm>
                  <a:off x="9938831" y="4794500"/>
                  <a:ext cx="99421" cy="33673"/>
                </a:xfrm>
                <a:custGeom>
                  <a:avLst/>
                  <a:gdLst>
                    <a:gd name="connsiteX0" fmla="*/ 0 w 99421"/>
                    <a:gd name="connsiteY0" fmla="*/ 33674 h 33673"/>
                    <a:gd name="connsiteX1" fmla="*/ 0 w 99421"/>
                    <a:gd name="connsiteY1" fmla="*/ 0 h 33673"/>
                    <a:gd name="connsiteX2" fmla="*/ 99421 w 99421"/>
                    <a:gd name="connsiteY2" fmla="*/ 0 h 33673"/>
                    <a:gd name="connsiteX3" fmla="*/ 99421 w 99421"/>
                    <a:gd name="connsiteY3" fmla="*/ 33674 h 3367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9421" h="33673">
                      <a:moveTo>
                        <a:pt x="0" y="33674"/>
                      </a:moveTo>
                      <a:lnTo>
                        <a:pt x="0" y="0"/>
                      </a:lnTo>
                      <a:lnTo>
                        <a:pt x="99421" y="0"/>
                      </a:lnTo>
                      <a:lnTo>
                        <a:pt x="99421" y="33674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2328" name="Gráfico 19">
                <a:extLst>
                  <a:ext uri="{FF2B5EF4-FFF2-40B4-BE49-F238E27FC236}">
                    <a16:creationId xmlns:a16="http://schemas.microsoft.com/office/drawing/2014/main" id="{D87FD8BA-B0A3-AD55-B6CD-E2386A56A351}"/>
                  </a:ext>
                </a:extLst>
              </p:cNvPr>
              <p:cNvGrpSpPr/>
              <p:nvPr/>
            </p:nvGrpSpPr>
            <p:grpSpPr>
              <a:xfrm>
                <a:off x="10061051" y="4756089"/>
                <a:ext cx="89912" cy="75651"/>
                <a:chOff x="10061051" y="4756089"/>
                <a:chExt cx="89912" cy="75651"/>
              </a:xfrm>
              <a:noFill/>
            </p:grpSpPr>
            <p:sp>
              <p:nvSpPr>
                <p:cNvPr id="2329" name="Forma livre: Forma 2328">
                  <a:extLst>
                    <a:ext uri="{FF2B5EF4-FFF2-40B4-BE49-F238E27FC236}">
                      <a16:creationId xmlns:a16="http://schemas.microsoft.com/office/drawing/2014/main" id="{BC8F04A4-E3AB-EC38-1FA8-AECD8A4D5757}"/>
                    </a:ext>
                  </a:extLst>
                </p:cNvPr>
                <p:cNvSpPr/>
                <p:nvPr/>
              </p:nvSpPr>
              <p:spPr>
                <a:xfrm>
                  <a:off x="10061051" y="4756089"/>
                  <a:ext cx="89912" cy="75651"/>
                </a:xfrm>
                <a:custGeom>
                  <a:avLst/>
                  <a:gdLst>
                    <a:gd name="connsiteX0" fmla="*/ 0 w 89912"/>
                    <a:gd name="connsiteY0" fmla="*/ 71014 h 75651"/>
                    <a:gd name="connsiteX1" fmla="*/ 46892 w 89912"/>
                    <a:gd name="connsiteY1" fmla="*/ 8574 h 75651"/>
                    <a:gd name="connsiteX2" fmla="*/ 77035 w 89912"/>
                    <a:gd name="connsiteY2" fmla="*/ 4290 h 75651"/>
                    <a:gd name="connsiteX3" fmla="*/ 81331 w 89912"/>
                    <a:gd name="connsiteY3" fmla="*/ 7526 h 75651"/>
                    <a:gd name="connsiteX4" fmla="*/ 85627 w 89912"/>
                    <a:gd name="connsiteY4" fmla="*/ 37669 h 75651"/>
                    <a:gd name="connsiteX5" fmla="*/ 57108 w 89912"/>
                    <a:gd name="connsiteY5" fmla="*/ 75651 h 7565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89912" h="75651">
                      <a:moveTo>
                        <a:pt x="0" y="71014"/>
                      </a:moveTo>
                      <a:lnTo>
                        <a:pt x="46892" y="8574"/>
                      </a:lnTo>
                      <a:cubicBezTo>
                        <a:pt x="53989" y="-889"/>
                        <a:pt x="67560" y="-2819"/>
                        <a:pt x="77035" y="4290"/>
                      </a:cubicBezTo>
                      <a:lnTo>
                        <a:pt x="81331" y="7526"/>
                      </a:lnTo>
                      <a:cubicBezTo>
                        <a:pt x="90794" y="14636"/>
                        <a:pt x="92736" y="28195"/>
                        <a:pt x="85627" y="37669"/>
                      </a:cubicBezTo>
                      <a:lnTo>
                        <a:pt x="57108" y="75651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330" name="Forma livre: Forma 2329">
                  <a:extLst>
                    <a:ext uri="{FF2B5EF4-FFF2-40B4-BE49-F238E27FC236}">
                      <a16:creationId xmlns:a16="http://schemas.microsoft.com/office/drawing/2014/main" id="{BBBE1303-70BF-CFB4-4AC7-52216329D687}"/>
                    </a:ext>
                  </a:extLst>
                </p:cNvPr>
                <p:cNvSpPr/>
                <p:nvPr/>
              </p:nvSpPr>
              <p:spPr>
                <a:xfrm>
                  <a:off x="10088605" y="4781831"/>
                  <a:ext cx="30131" cy="8584"/>
                </a:xfrm>
                <a:custGeom>
                  <a:avLst/>
                  <a:gdLst>
                    <a:gd name="connsiteX0" fmla="*/ 0 w 30131"/>
                    <a:gd name="connsiteY0" fmla="*/ 8585 h 8584"/>
                    <a:gd name="connsiteX1" fmla="*/ 30131 w 30131"/>
                    <a:gd name="connsiteY1" fmla="*/ 4289 h 858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30131" h="8584">
                      <a:moveTo>
                        <a:pt x="0" y="8585"/>
                      </a:moveTo>
                      <a:cubicBezTo>
                        <a:pt x="7109" y="-890"/>
                        <a:pt x="20668" y="-2820"/>
                        <a:pt x="30131" y="4289"/>
                      </a:cubicBez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331" name="Forma livre: Forma 2330">
                  <a:extLst>
                    <a:ext uri="{FF2B5EF4-FFF2-40B4-BE49-F238E27FC236}">
                      <a16:creationId xmlns:a16="http://schemas.microsoft.com/office/drawing/2014/main" id="{6D9D57B3-0E52-8757-6798-400B768A3B72}"/>
                    </a:ext>
                  </a:extLst>
                </p:cNvPr>
                <p:cNvSpPr/>
                <p:nvPr/>
              </p:nvSpPr>
              <p:spPr>
                <a:xfrm>
                  <a:off x="10070032" y="4806579"/>
                  <a:ext cx="30131" cy="8577"/>
                </a:xfrm>
                <a:custGeom>
                  <a:avLst/>
                  <a:gdLst>
                    <a:gd name="connsiteX0" fmla="*/ 0 w 30131"/>
                    <a:gd name="connsiteY0" fmla="*/ 8577 h 8577"/>
                    <a:gd name="connsiteX1" fmla="*/ 30131 w 30131"/>
                    <a:gd name="connsiteY1" fmla="*/ 4293 h 857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30131" h="8577">
                      <a:moveTo>
                        <a:pt x="0" y="8577"/>
                      </a:moveTo>
                      <a:cubicBezTo>
                        <a:pt x="7109" y="-897"/>
                        <a:pt x="20668" y="-2816"/>
                        <a:pt x="30131" y="4293"/>
                      </a:cubicBez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sp>
          <p:nvSpPr>
            <p:cNvPr id="2332" name="Forma livre: Forma 2331">
              <a:extLst>
                <a:ext uri="{FF2B5EF4-FFF2-40B4-BE49-F238E27FC236}">
                  <a16:creationId xmlns:a16="http://schemas.microsoft.com/office/drawing/2014/main" id="{F33145EC-D110-82DF-4229-7644CBC4D850}"/>
                </a:ext>
              </a:extLst>
            </p:cNvPr>
            <p:cNvSpPr/>
            <p:nvPr/>
          </p:nvSpPr>
          <p:spPr>
            <a:xfrm>
              <a:off x="10001507" y="4734238"/>
              <a:ext cx="58226" cy="23540"/>
            </a:xfrm>
            <a:custGeom>
              <a:avLst/>
              <a:gdLst>
                <a:gd name="connsiteX0" fmla="*/ 16101 w 58226"/>
                <a:gd name="connsiteY0" fmla="*/ 23540 h 23540"/>
                <a:gd name="connsiteX1" fmla="*/ 0 w 58226"/>
                <a:gd name="connsiteY1" fmla="*/ 23540 h 23540"/>
                <a:gd name="connsiteX2" fmla="*/ 0 w 58226"/>
                <a:gd name="connsiteY2" fmla="*/ 9910 h 23540"/>
                <a:gd name="connsiteX3" fmla="*/ 9910 w 58226"/>
                <a:gd name="connsiteY3" fmla="*/ 0 h 23540"/>
                <a:gd name="connsiteX4" fmla="*/ 48316 w 58226"/>
                <a:gd name="connsiteY4" fmla="*/ 0 h 23540"/>
                <a:gd name="connsiteX5" fmla="*/ 58226 w 58226"/>
                <a:gd name="connsiteY5" fmla="*/ 9910 h 23540"/>
                <a:gd name="connsiteX6" fmla="*/ 58226 w 58226"/>
                <a:gd name="connsiteY6" fmla="*/ 23540 h 23540"/>
                <a:gd name="connsiteX7" fmla="*/ 32450 w 58226"/>
                <a:gd name="connsiteY7" fmla="*/ 23540 h 235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8226" h="23540">
                  <a:moveTo>
                    <a:pt x="16101" y="23540"/>
                  </a:moveTo>
                  <a:lnTo>
                    <a:pt x="0" y="23540"/>
                  </a:lnTo>
                  <a:lnTo>
                    <a:pt x="0" y="9910"/>
                  </a:lnTo>
                  <a:cubicBezTo>
                    <a:pt x="0" y="4461"/>
                    <a:pt x="4461" y="0"/>
                    <a:pt x="9910" y="0"/>
                  </a:cubicBezTo>
                  <a:lnTo>
                    <a:pt x="48316" y="0"/>
                  </a:lnTo>
                  <a:cubicBezTo>
                    <a:pt x="53765" y="0"/>
                    <a:pt x="58226" y="4461"/>
                    <a:pt x="58226" y="9910"/>
                  </a:cubicBezTo>
                  <a:lnTo>
                    <a:pt x="58226" y="23540"/>
                  </a:lnTo>
                  <a:lnTo>
                    <a:pt x="32450" y="2354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2333" name="Gráfico 19">
              <a:extLst>
                <a:ext uri="{FF2B5EF4-FFF2-40B4-BE49-F238E27FC236}">
                  <a16:creationId xmlns:a16="http://schemas.microsoft.com/office/drawing/2014/main" id="{3D76FC89-B7AD-E8EC-0BBC-DD1ACE5DADB3}"/>
                </a:ext>
              </a:extLst>
            </p:cNvPr>
            <p:cNvGrpSpPr/>
            <p:nvPr/>
          </p:nvGrpSpPr>
          <p:grpSpPr>
            <a:xfrm>
              <a:off x="9995551" y="4761497"/>
              <a:ext cx="66888" cy="33874"/>
              <a:chOff x="9995551" y="4761497"/>
              <a:chExt cx="66888" cy="33874"/>
            </a:xfrm>
            <a:noFill/>
          </p:grpSpPr>
          <p:sp>
            <p:nvSpPr>
              <p:cNvPr id="2334" name="Forma livre: Forma 2333">
                <a:extLst>
                  <a:ext uri="{FF2B5EF4-FFF2-40B4-BE49-F238E27FC236}">
                    <a16:creationId xmlns:a16="http://schemas.microsoft.com/office/drawing/2014/main" id="{D014ADAF-548D-8ABE-1611-99CF47B79643}"/>
                  </a:ext>
                </a:extLst>
              </p:cNvPr>
              <p:cNvSpPr/>
              <p:nvPr/>
            </p:nvSpPr>
            <p:spPr>
              <a:xfrm>
                <a:off x="9995551" y="4761497"/>
                <a:ext cx="12393" cy="33874"/>
              </a:xfrm>
              <a:custGeom>
                <a:avLst/>
                <a:gdLst>
                  <a:gd name="connsiteX0" fmla="*/ 12394 w 12393"/>
                  <a:gd name="connsiteY0" fmla="*/ 0 h 33874"/>
                  <a:gd name="connsiteX1" fmla="*/ 0 w 12393"/>
                  <a:gd name="connsiteY1" fmla="*/ 33874 h 338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393" h="33874">
                    <a:moveTo>
                      <a:pt x="12394" y="0"/>
                    </a:moveTo>
                    <a:cubicBezTo>
                      <a:pt x="12394" y="0"/>
                      <a:pt x="9922" y="16937"/>
                      <a:pt x="0" y="33874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335" name="Forma livre: Forma 2334">
                <a:extLst>
                  <a:ext uri="{FF2B5EF4-FFF2-40B4-BE49-F238E27FC236}">
                    <a16:creationId xmlns:a16="http://schemas.microsoft.com/office/drawing/2014/main" id="{8CB72C37-F3C4-C8C4-836B-2BA775027DAC}"/>
                  </a:ext>
                </a:extLst>
              </p:cNvPr>
              <p:cNvSpPr/>
              <p:nvPr/>
            </p:nvSpPr>
            <p:spPr>
              <a:xfrm>
                <a:off x="10053295" y="4761497"/>
                <a:ext cx="9145" cy="27800"/>
              </a:xfrm>
              <a:custGeom>
                <a:avLst/>
                <a:gdLst>
                  <a:gd name="connsiteX0" fmla="*/ 0 w 9145"/>
                  <a:gd name="connsiteY0" fmla="*/ 0 h 27800"/>
                  <a:gd name="connsiteX1" fmla="*/ 9145 w 9145"/>
                  <a:gd name="connsiteY1" fmla="*/ 27801 h 278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145" h="27800">
                    <a:moveTo>
                      <a:pt x="0" y="0"/>
                    </a:moveTo>
                    <a:cubicBezTo>
                      <a:pt x="0" y="0"/>
                      <a:pt x="1918" y="13112"/>
                      <a:pt x="9145" y="27801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2336" name="Gráfico 19">
            <a:extLst>
              <a:ext uri="{FF2B5EF4-FFF2-40B4-BE49-F238E27FC236}">
                <a16:creationId xmlns:a16="http://schemas.microsoft.com/office/drawing/2014/main" id="{39A91C71-28DE-957A-A8DE-43521E8B1AB2}"/>
              </a:ext>
            </a:extLst>
          </p:cNvPr>
          <p:cNvGrpSpPr/>
          <p:nvPr/>
        </p:nvGrpSpPr>
        <p:grpSpPr>
          <a:xfrm>
            <a:off x="9890881" y="3682718"/>
            <a:ext cx="286364" cy="333491"/>
            <a:chOff x="9890881" y="3682718"/>
            <a:chExt cx="286364" cy="333491"/>
          </a:xfrm>
          <a:noFill/>
        </p:grpSpPr>
        <p:sp>
          <p:nvSpPr>
            <p:cNvPr id="2337" name="Forma livre: Forma 2336">
              <a:extLst>
                <a:ext uri="{FF2B5EF4-FFF2-40B4-BE49-F238E27FC236}">
                  <a16:creationId xmlns:a16="http://schemas.microsoft.com/office/drawing/2014/main" id="{77CA9826-C034-D0D5-5AD0-24B68A559432}"/>
                </a:ext>
              </a:extLst>
            </p:cNvPr>
            <p:cNvSpPr/>
            <p:nvPr/>
          </p:nvSpPr>
          <p:spPr>
            <a:xfrm>
              <a:off x="10061110" y="3695818"/>
              <a:ext cx="49822" cy="49834"/>
            </a:xfrm>
            <a:custGeom>
              <a:avLst/>
              <a:gdLst>
                <a:gd name="connsiteX0" fmla="*/ 0 w 49822"/>
                <a:gd name="connsiteY0" fmla="*/ 24917 h 49834"/>
                <a:gd name="connsiteX1" fmla="*/ 24917 w 49822"/>
                <a:gd name="connsiteY1" fmla="*/ 49834 h 49834"/>
                <a:gd name="connsiteX2" fmla="*/ 49822 w 49822"/>
                <a:gd name="connsiteY2" fmla="*/ 24917 h 49834"/>
                <a:gd name="connsiteX3" fmla="*/ 24917 w 49822"/>
                <a:gd name="connsiteY3" fmla="*/ 0 h 49834"/>
                <a:gd name="connsiteX4" fmla="*/ 0 w 49822"/>
                <a:gd name="connsiteY4" fmla="*/ 24917 h 498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9822" h="49834">
                  <a:moveTo>
                    <a:pt x="0" y="24917"/>
                  </a:moveTo>
                  <a:cubicBezTo>
                    <a:pt x="0" y="38676"/>
                    <a:pt x="11158" y="49834"/>
                    <a:pt x="24917" y="49834"/>
                  </a:cubicBezTo>
                  <a:cubicBezTo>
                    <a:pt x="38676" y="49834"/>
                    <a:pt x="49822" y="38676"/>
                    <a:pt x="49822" y="24917"/>
                  </a:cubicBezTo>
                  <a:cubicBezTo>
                    <a:pt x="49822" y="11158"/>
                    <a:pt x="38676" y="0"/>
                    <a:pt x="24917" y="0"/>
                  </a:cubicBezTo>
                  <a:cubicBezTo>
                    <a:pt x="11158" y="0"/>
                    <a:pt x="0" y="11158"/>
                    <a:pt x="0" y="24917"/>
                  </a:cubicBez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338" name="Forma livre: Forma 2337">
              <a:extLst>
                <a:ext uri="{FF2B5EF4-FFF2-40B4-BE49-F238E27FC236}">
                  <a16:creationId xmlns:a16="http://schemas.microsoft.com/office/drawing/2014/main" id="{0857A193-E54F-AE19-C1AB-5372AF068FCB}"/>
                </a:ext>
              </a:extLst>
            </p:cNvPr>
            <p:cNvSpPr/>
            <p:nvPr/>
          </p:nvSpPr>
          <p:spPr>
            <a:xfrm>
              <a:off x="9971188" y="3817872"/>
              <a:ext cx="109825" cy="169005"/>
            </a:xfrm>
            <a:custGeom>
              <a:avLst/>
              <a:gdLst>
                <a:gd name="connsiteX0" fmla="*/ 1318 w 109825"/>
                <a:gd name="connsiteY0" fmla="*/ 20845 h 169005"/>
                <a:gd name="connsiteX1" fmla="*/ 16842 w 109825"/>
                <a:gd name="connsiteY1" fmla="*/ 57226 h 169005"/>
                <a:gd name="connsiteX2" fmla="*/ 63817 w 109825"/>
                <a:gd name="connsiteY2" fmla="*/ 86227 h 169005"/>
                <a:gd name="connsiteX3" fmla="*/ 79682 w 109825"/>
                <a:gd name="connsiteY3" fmla="*/ 143182 h 169005"/>
                <a:gd name="connsiteX4" fmla="*/ 109825 w 109825"/>
                <a:gd name="connsiteY4" fmla="*/ 169005 h 169005"/>
                <a:gd name="connsiteX5" fmla="*/ 98809 w 109825"/>
                <a:gd name="connsiteY5" fmla="*/ 77694 h 169005"/>
                <a:gd name="connsiteX6" fmla="*/ 96502 w 109825"/>
                <a:gd name="connsiteY6" fmla="*/ 68066 h 169005"/>
                <a:gd name="connsiteX7" fmla="*/ 91064 w 109825"/>
                <a:gd name="connsiteY7" fmla="*/ 60427 h 169005"/>
                <a:gd name="connsiteX8" fmla="*/ 49116 w 109825"/>
                <a:gd name="connsiteY8" fmla="*/ 27518 h 169005"/>
                <a:gd name="connsiteX9" fmla="*/ 69419 w 109825"/>
                <a:gd name="connsiteY9" fmla="*/ 0 h 1690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09825" h="169005">
                  <a:moveTo>
                    <a:pt x="1318" y="20845"/>
                  </a:moveTo>
                  <a:cubicBezTo>
                    <a:pt x="-1483" y="31273"/>
                    <a:pt x="-1272" y="46350"/>
                    <a:pt x="16842" y="57226"/>
                  </a:cubicBezTo>
                  <a:lnTo>
                    <a:pt x="63817" y="86227"/>
                  </a:lnTo>
                  <a:cubicBezTo>
                    <a:pt x="63817" y="86227"/>
                    <a:pt x="74739" y="114557"/>
                    <a:pt x="79682" y="143182"/>
                  </a:cubicBezTo>
                  <a:cubicBezTo>
                    <a:pt x="84767" y="172607"/>
                    <a:pt x="97102" y="167664"/>
                    <a:pt x="109825" y="169005"/>
                  </a:cubicBezTo>
                  <a:lnTo>
                    <a:pt x="98809" y="77694"/>
                  </a:lnTo>
                  <a:cubicBezTo>
                    <a:pt x="98809" y="77694"/>
                    <a:pt x="98879" y="72715"/>
                    <a:pt x="96502" y="68066"/>
                  </a:cubicBezTo>
                  <a:cubicBezTo>
                    <a:pt x="94101" y="62781"/>
                    <a:pt x="91064" y="60427"/>
                    <a:pt x="91064" y="60427"/>
                  </a:cubicBezTo>
                  <a:lnTo>
                    <a:pt x="49116" y="27518"/>
                  </a:lnTo>
                  <a:lnTo>
                    <a:pt x="69419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339" name="Forma livre: Forma 2338">
              <a:extLst>
                <a:ext uri="{FF2B5EF4-FFF2-40B4-BE49-F238E27FC236}">
                  <a16:creationId xmlns:a16="http://schemas.microsoft.com/office/drawing/2014/main" id="{A9479970-AE24-498C-FC01-6F11A3A3F7FA}"/>
                </a:ext>
              </a:extLst>
            </p:cNvPr>
            <p:cNvSpPr/>
            <p:nvPr/>
          </p:nvSpPr>
          <p:spPr>
            <a:xfrm>
              <a:off x="9892966" y="3874933"/>
              <a:ext cx="107963" cy="75057"/>
            </a:xfrm>
            <a:custGeom>
              <a:avLst/>
              <a:gdLst>
                <a:gd name="connsiteX0" fmla="*/ 70276 w 107963"/>
                <a:gd name="connsiteY0" fmla="*/ 0 h 75057"/>
                <a:gd name="connsiteX1" fmla="*/ 63508 w 107963"/>
                <a:gd name="connsiteY1" fmla="*/ 8321 h 75057"/>
                <a:gd name="connsiteX2" fmla="*/ 18323 w 107963"/>
                <a:gd name="connsiteY2" fmla="*/ 39853 h 75057"/>
                <a:gd name="connsiteX3" fmla="*/ 4482 w 107963"/>
                <a:gd name="connsiteY3" fmla="*/ 75057 h 75057"/>
                <a:gd name="connsiteX4" fmla="*/ 85259 w 107963"/>
                <a:gd name="connsiteY4" fmla="*/ 35981 h 75057"/>
                <a:gd name="connsiteX5" fmla="*/ 98053 w 107963"/>
                <a:gd name="connsiteY5" fmla="*/ 26859 h 75057"/>
                <a:gd name="connsiteX6" fmla="*/ 107964 w 107963"/>
                <a:gd name="connsiteY6" fmla="*/ 11935 h 75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7963" h="75057">
                  <a:moveTo>
                    <a:pt x="70276" y="0"/>
                  </a:moveTo>
                  <a:lnTo>
                    <a:pt x="63508" y="8321"/>
                  </a:lnTo>
                  <a:cubicBezTo>
                    <a:pt x="63508" y="8321"/>
                    <a:pt x="38897" y="24435"/>
                    <a:pt x="18323" y="39853"/>
                  </a:cubicBezTo>
                  <a:cubicBezTo>
                    <a:pt x="-6417" y="58391"/>
                    <a:pt x="-615" y="63311"/>
                    <a:pt x="4482" y="75057"/>
                  </a:cubicBezTo>
                  <a:lnTo>
                    <a:pt x="85259" y="35981"/>
                  </a:lnTo>
                  <a:cubicBezTo>
                    <a:pt x="85259" y="35981"/>
                    <a:pt x="95040" y="31320"/>
                    <a:pt x="98053" y="26859"/>
                  </a:cubicBezTo>
                  <a:cubicBezTo>
                    <a:pt x="101620" y="22069"/>
                    <a:pt x="107964" y="11935"/>
                    <a:pt x="107964" y="11935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340" name="Forma livre: Forma 2339">
              <a:extLst>
                <a:ext uri="{FF2B5EF4-FFF2-40B4-BE49-F238E27FC236}">
                  <a16:creationId xmlns:a16="http://schemas.microsoft.com/office/drawing/2014/main" id="{07278A76-3A8E-2D8C-1B8E-2B7BCEFD1229}"/>
                </a:ext>
              </a:extLst>
            </p:cNvPr>
            <p:cNvSpPr/>
            <p:nvPr/>
          </p:nvSpPr>
          <p:spPr>
            <a:xfrm>
              <a:off x="10015266" y="3749848"/>
              <a:ext cx="108154" cy="83135"/>
            </a:xfrm>
            <a:custGeom>
              <a:avLst/>
              <a:gdLst>
                <a:gd name="connsiteX0" fmla="*/ 22669 w 108154"/>
                <a:gd name="connsiteY0" fmla="*/ 42436 h 83135"/>
                <a:gd name="connsiteX1" fmla="*/ 75281 w 108154"/>
                <a:gd name="connsiteY1" fmla="*/ 79088 h 83135"/>
                <a:gd name="connsiteX2" fmla="*/ 108155 w 108154"/>
                <a:gd name="connsiteY2" fmla="*/ 71838 h 83135"/>
                <a:gd name="connsiteX3" fmla="*/ 32579 w 108154"/>
                <a:gd name="connsiteY3" fmla="*/ 4101 h 83135"/>
                <a:gd name="connsiteX4" fmla="*/ 0 w 108154"/>
                <a:gd name="connsiteY4" fmla="*/ 10951 h 83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8154" h="83135">
                  <a:moveTo>
                    <a:pt x="22669" y="42436"/>
                  </a:moveTo>
                  <a:lnTo>
                    <a:pt x="75281" y="79088"/>
                  </a:lnTo>
                  <a:cubicBezTo>
                    <a:pt x="90417" y="84161"/>
                    <a:pt x="103070" y="86974"/>
                    <a:pt x="108155" y="71838"/>
                  </a:cubicBezTo>
                  <a:lnTo>
                    <a:pt x="32579" y="4101"/>
                  </a:lnTo>
                  <a:cubicBezTo>
                    <a:pt x="19067" y="-4538"/>
                    <a:pt x="4626" y="1783"/>
                    <a:pt x="0" y="10951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341" name="Forma livre: Forma 2340">
              <a:extLst>
                <a:ext uri="{FF2B5EF4-FFF2-40B4-BE49-F238E27FC236}">
                  <a16:creationId xmlns:a16="http://schemas.microsoft.com/office/drawing/2014/main" id="{B07F6F33-A231-6395-B497-D72A7CDB8434}"/>
                </a:ext>
              </a:extLst>
            </p:cNvPr>
            <p:cNvSpPr/>
            <p:nvPr/>
          </p:nvSpPr>
          <p:spPr>
            <a:xfrm>
              <a:off x="9957499" y="3718475"/>
              <a:ext cx="59932" cy="34556"/>
            </a:xfrm>
            <a:custGeom>
              <a:avLst/>
              <a:gdLst>
                <a:gd name="connsiteX0" fmla="*/ 0 w 59932"/>
                <a:gd name="connsiteY0" fmla="*/ 0 h 34556"/>
                <a:gd name="connsiteX1" fmla="*/ 59933 w 59932"/>
                <a:gd name="connsiteY1" fmla="*/ 34557 h 345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9932" h="34556">
                  <a:moveTo>
                    <a:pt x="0" y="0"/>
                  </a:moveTo>
                  <a:lnTo>
                    <a:pt x="59933" y="34557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342" name="Forma livre: Forma 2341">
              <a:extLst>
                <a:ext uri="{FF2B5EF4-FFF2-40B4-BE49-F238E27FC236}">
                  <a16:creationId xmlns:a16="http://schemas.microsoft.com/office/drawing/2014/main" id="{BDB4F877-6D4F-E48B-3C79-47D52112FB1A}"/>
                </a:ext>
              </a:extLst>
            </p:cNvPr>
            <p:cNvSpPr/>
            <p:nvPr/>
          </p:nvSpPr>
          <p:spPr>
            <a:xfrm>
              <a:off x="9971988" y="3807444"/>
              <a:ext cx="52141" cy="31225"/>
            </a:xfrm>
            <a:custGeom>
              <a:avLst/>
              <a:gdLst>
                <a:gd name="connsiteX0" fmla="*/ 0 w 52141"/>
                <a:gd name="connsiteY0" fmla="*/ 31226 h 31225"/>
                <a:gd name="connsiteX1" fmla="*/ 52141 w 52141"/>
                <a:gd name="connsiteY1" fmla="*/ 0 h 312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2141" h="31225">
                  <a:moveTo>
                    <a:pt x="0" y="31226"/>
                  </a:moveTo>
                  <a:lnTo>
                    <a:pt x="52141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343" name="Forma livre: Forma 2342">
              <a:extLst>
                <a:ext uri="{FF2B5EF4-FFF2-40B4-BE49-F238E27FC236}">
                  <a16:creationId xmlns:a16="http://schemas.microsoft.com/office/drawing/2014/main" id="{DFC23132-6AEE-F754-DA0F-838F5B70A3FA}"/>
                </a:ext>
              </a:extLst>
            </p:cNvPr>
            <p:cNvSpPr/>
            <p:nvPr/>
          </p:nvSpPr>
          <p:spPr>
            <a:xfrm>
              <a:off x="9890881" y="3682718"/>
              <a:ext cx="142793" cy="155505"/>
            </a:xfrm>
            <a:custGeom>
              <a:avLst/>
              <a:gdLst>
                <a:gd name="connsiteX0" fmla="*/ 79589 w 142793"/>
                <a:gd name="connsiteY0" fmla="*/ 155505 h 155505"/>
                <a:gd name="connsiteX1" fmla="*/ 0 w 142793"/>
                <a:gd name="connsiteY1" fmla="*/ 109626 h 155505"/>
                <a:gd name="connsiteX2" fmla="*/ 63205 w 142793"/>
                <a:gd name="connsiteY2" fmla="*/ 0 h 155505"/>
                <a:gd name="connsiteX3" fmla="*/ 142794 w 142793"/>
                <a:gd name="connsiteY3" fmla="*/ 45879 h 155505"/>
                <a:gd name="connsiteX4" fmla="*/ 102375 w 142793"/>
                <a:gd name="connsiteY4" fmla="*/ 115993 h 1555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2793" h="155505">
                  <a:moveTo>
                    <a:pt x="79589" y="155505"/>
                  </a:moveTo>
                  <a:lnTo>
                    <a:pt x="0" y="109626"/>
                  </a:lnTo>
                  <a:lnTo>
                    <a:pt x="63205" y="0"/>
                  </a:lnTo>
                  <a:lnTo>
                    <a:pt x="142794" y="45879"/>
                  </a:lnTo>
                  <a:lnTo>
                    <a:pt x="102375" y="115993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2344" name="Gráfico 19">
              <a:extLst>
                <a:ext uri="{FF2B5EF4-FFF2-40B4-BE49-F238E27FC236}">
                  <a16:creationId xmlns:a16="http://schemas.microsoft.com/office/drawing/2014/main" id="{434C91FE-79EF-CCB1-2D9F-1CC79BD6779B}"/>
                </a:ext>
              </a:extLst>
            </p:cNvPr>
            <p:cNvGrpSpPr/>
            <p:nvPr/>
          </p:nvGrpSpPr>
          <p:grpSpPr>
            <a:xfrm>
              <a:off x="9952120" y="3835186"/>
              <a:ext cx="225124" cy="181022"/>
              <a:chOff x="9952120" y="3835186"/>
              <a:chExt cx="225124" cy="181022"/>
            </a:xfrm>
            <a:noFill/>
          </p:grpSpPr>
          <p:sp>
            <p:nvSpPr>
              <p:cNvPr id="2345" name="Forma livre: Forma 2344">
                <a:extLst>
                  <a:ext uri="{FF2B5EF4-FFF2-40B4-BE49-F238E27FC236}">
                    <a16:creationId xmlns:a16="http://schemas.microsoft.com/office/drawing/2014/main" id="{89DCB725-C5C1-3A9D-13FF-E51A75BF3DFF}"/>
                  </a:ext>
                </a:extLst>
              </p:cNvPr>
              <p:cNvSpPr/>
              <p:nvPr/>
            </p:nvSpPr>
            <p:spPr>
              <a:xfrm>
                <a:off x="9952120" y="3950744"/>
                <a:ext cx="69313" cy="42277"/>
              </a:xfrm>
              <a:custGeom>
                <a:avLst/>
                <a:gdLst>
                  <a:gd name="connsiteX0" fmla="*/ 0 w 69313"/>
                  <a:gd name="connsiteY0" fmla="*/ 7615 h 42277"/>
                  <a:gd name="connsiteX1" fmla="*/ 24858 w 69313"/>
                  <a:gd name="connsiteY1" fmla="*/ 0 h 42277"/>
                  <a:gd name="connsiteX2" fmla="*/ 69314 w 69313"/>
                  <a:gd name="connsiteY2" fmla="*/ 42278 h 422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69313" h="42277">
                    <a:moveTo>
                      <a:pt x="0" y="7615"/>
                    </a:moveTo>
                    <a:cubicBezTo>
                      <a:pt x="7109" y="2813"/>
                      <a:pt x="15654" y="0"/>
                      <a:pt x="24858" y="0"/>
                    </a:cubicBezTo>
                    <a:cubicBezTo>
                      <a:pt x="48610" y="0"/>
                      <a:pt x="68137" y="18573"/>
                      <a:pt x="69314" y="42278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346" name="Forma livre: Forma 2345">
                <a:extLst>
                  <a:ext uri="{FF2B5EF4-FFF2-40B4-BE49-F238E27FC236}">
                    <a16:creationId xmlns:a16="http://schemas.microsoft.com/office/drawing/2014/main" id="{3828BAA8-BBB6-ACBD-DF1F-3740948E152D}"/>
                  </a:ext>
                </a:extLst>
              </p:cNvPr>
              <p:cNvSpPr/>
              <p:nvPr/>
            </p:nvSpPr>
            <p:spPr>
              <a:xfrm>
                <a:off x="9956027" y="3974284"/>
                <a:ext cx="41901" cy="41924"/>
              </a:xfrm>
              <a:custGeom>
                <a:avLst/>
                <a:gdLst>
                  <a:gd name="connsiteX0" fmla="*/ 32862 w 41901"/>
                  <a:gd name="connsiteY0" fmla="*/ 38229 h 41924"/>
                  <a:gd name="connsiteX1" fmla="*/ 20962 w 41901"/>
                  <a:gd name="connsiteY1" fmla="*/ 41925 h 41924"/>
                  <a:gd name="connsiteX2" fmla="*/ 0 w 41901"/>
                  <a:gd name="connsiteY2" fmla="*/ 20962 h 41924"/>
                  <a:gd name="connsiteX3" fmla="*/ 20962 w 41901"/>
                  <a:gd name="connsiteY3" fmla="*/ 0 h 41924"/>
                  <a:gd name="connsiteX4" fmla="*/ 41901 w 41901"/>
                  <a:gd name="connsiteY4" fmla="*/ 19903 h 419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901" h="41924">
                    <a:moveTo>
                      <a:pt x="32862" y="38229"/>
                    </a:moveTo>
                    <a:cubicBezTo>
                      <a:pt x="29484" y="40559"/>
                      <a:pt x="25388" y="41925"/>
                      <a:pt x="20962" y="41925"/>
                    </a:cubicBezTo>
                    <a:cubicBezTo>
                      <a:pt x="9381" y="41925"/>
                      <a:pt x="0" y="32544"/>
                      <a:pt x="0" y="20962"/>
                    </a:cubicBezTo>
                    <a:cubicBezTo>
                      <a:pt x="0" y="9381"/>
                      <a:pt x="9392" y="0"/>
                      <a:pt x="20962" y="0"/>
                    </a:cubicBezTo>
                    <a:cubicBezTo>
                      <a:pt x="32532" y="0"/>
                      <a:pt x="41348" y="8816"/>
                      <a:pt x="41901" y="19903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347" name="Forma livre: Forma 2346">
                <a:extLst>
                  <a:ext uri="{FF2B5EF4-FFF2-40B4-BE49-F238E27FC236}">
                    <a16:creationId xmlns:a16="http://schemas.microsoft.com/office/drawing/2014/main" id="{E7A213AD-9612-B21A-8F49-5F4003258364}"/>
                  </a:ext>
                </a:extLst>
              </p:cNvPr>
              <p:cNvSpPr/>
              <p:nvPr/>
            </p:nvSpPr>
            <p:spPr>
              <a:xfrm>
                <a:off x="10135320" y="3974284"/>
                <a:ext cx="41924" cy="41924"/>
              </a:xfrm>
              <a:custGeom>
                <a:avLst/>
                <a:gdLst>
                  <a:gd name="connsiteX0" fmla="*/ 17384 w 41924"/>
                  <a:gd name="connsiteY0" fmla="*/ 306 h 41924"/>
                  <a:gd name="connsiteX1" fmla="*/ 20962 w 41924"/>
                  <a:gd name="connsiteY1" fmla="*/ 0 h 41924"/>
                  <a:gd name="connsiteX2" fmla="*/ 41925 w 41924"/>
                  <a:gd name="connsiteY2" fmla="*/ 20962 h 41924"/>
                  <a:gd name="connsiteX3" fmla="*/ 20962 w 41924"/>
                  <a:gd name="connsiteY3" fmla="*/ 41925 h 41924"/>
                  <a:gd name="connsiteX4" fmla="*/ 0 w 41924"/>
                  <a:gd name="connsiteY4" fmla="*/ 20962 h 41924"/>
                  <a:gd name="connsiteX5" fmla="*/ 589 w 41924"/>
                  <a:gd name="connsiteY5" fmla="*/ 16031 h 419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41924" h="41924">
                    <a:moveTo>
                      <a:pt x="17384" y="306"/>
                    </a:moveTo>
                    <a:cubicBezTo>
                      <a:pt x="18538" y="106"/>
                      <a:pt x="19738" y="0"/>
                      <a:pt x="20962" y="0"/>
                    </a:cubicBezTo>
                    <a:cubicBezTo>
                      <a:pt x="32544" y="0"/>
                      <a:pt x="41925" y="9392"/>
                      <a:pt x="41925" y="20962"/>
                    </a:cubicBezTo>
                    <a:cubicBezTo>
                      <a:pt x="41925" y="32532"/>
                      <a:pt x="32544" y="41925"/>
                      <a:pt x="20962" y="41925"/>
                    </a:cubicBezTo>
                    <a:cubicBezTo>
                      <a:pt x="9381" y="41925"/>
                      <a:pt x="0" y="32544"/>
                      <a:pt x="0" y="20962"/>
                    </a:cubicBezTo>
                    <a:cubicBezTo>
                      <a:pt x="0" y="19267"/>
                      <a:pt x="200" y="17620"/>
                      <a:pt x="589" y="16031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348" name="Forma livre: Forma 2347">
                <a:extLst>
                  <a:ext uri="{FF2B5EF4-FFF2-40B4-BE49-F238E27FC236}">
                    <a16:creationId xmlns:a16="http://schemas.microsoft.com/office/drawing/2014/main" id="{A75F0EF7-0329-95F4-7C90-C75613F92AC8}"/>
                  </a:ext>
                </a:extLst>
              </p:cNvPr>
              <p:cNvSpPr/>
              <p:nvPr/>
            </p:nvSpPr>
            <p:spPr>
              <a:xfrm>
                <a:off x="10118701" y="3835186"/>
                <a:ext cx="37581" cy="160060"/>
              </a:xfrm>
              <a:custGeom>
                <a:avLst/>
                <a:gdLst>
                  <a:gd name="connsiteX0" fmla="*/ 37582 w 37581"/>
                  <a:gd name="connsiteY0" fmla="*/ 160060 h 160060"/>
                  <a:gd name="connsiteX1" fmla="*/ 0 w 37581"/>
                  <a:gd name="connsiteY1" fmla="*/ 0 h 1600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7581" h="160060">
                    <a:moveTo>
                      <a:pt x="37582" y="160060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349" name="Forma livre: Forma 2348">
                <a:extLst>
                  <a:ext uri="{FF2B5EF4-FFF2-40B4-BE49-F238E27FC236}">
                    <a16:creationId xmlns:a16="http://schemas.microsoft.com/office/drawing/2014/main" id="{3F3EB9C3-9473-2752-C260-FBB3267F27CA}"/>
                  </a:ext>
                </a:extLst>
              </p:cNvPr>
              <p:cNvSpPr/>
              <p:nvPr/>
            </p:nvSpPr>
            <p:spPr>
              <a:xfrm>
                <a:off x="9976990" y="3942988"/>
                <a:ext cx="166651" cy="52258"/>
              </a:xfrm>
              <a:custGeom>
                <a:avLst/>
                <a:gdLst>
                  <a:gd name="connsiteX0" fmla="*/ 0 w 166651"/>
                  <a:gd name="connsiteY0" fmla="*/ 52259 h 52258"/>
                  <a:gd name="connsiteX1" fmla="*/ 126563 w 166651"/>
                  <a:gd name="connsiteY1" fmla="*/ 52259 h 52258"/>
                  <a:gd name="connsiteX2" fmla="*/ 166651 w 166651"/>
                  <a:gd name="connsiteY2" fmla="*/ 0 h 522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66651" h="52258">
                    <a:moveTo>
                      <a:pt x="0" y="52259"/>
                    </a:moveTo>
                    <a:lnTo>
                      <a:pt x="126563" y="52259"/>
                    </a:lnTo>
                    <a:lnTo>
                      <a:pt x="166651" y="0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2350" name="Gráfico 19">
            <a:extLst>
              <a:ext uri="{FF2B5EF4-FFF2-40B4-BE49-F238E27FC236}">
                <a16:creationId xmlns:a16="http://schemas.microsoft.com/office/drawing/2014/main" id="{12462E7D-EB34-C812-81D1-FC63A2B10B7B}"/>
              </a:ext>
            </a:extLst>
          </p:cNvPr>
          <p:cNvGrpSpPr/>
          <p:nvPr/>
        </p:nvGrpSpPr>
        <p:grpSpPr>
          <a:xfrm>
            <a:off x="9899273" y="4201445"/>
            <a:ext cx="269591" cy="345249"/>
            <a:chOff x="9899273" y="4201445"/>
            <a:chExt cx="269591" cy="345249"/>
          </a:xfrm>
          <a:noFill/>
        </p:grpSpPr>
        <p:grpSp>
          <p:nvGrpSpPr>
            <p:cNvPr id="2351" name="Gráfico 19">
              <a:extLst>
                <a:ext uri="{FF2B5EF4-FFF2-40B4-BE49-F238E27FC236}">
                  <a16:creationId xmlns:a16="http://schemas.microsoft.com/office/drawing/2014/main" id="{70DF8265-59F9-1250-253D-200EBEA6061E}"/>
                </a:ext>
              </a:extLst>
            </p:cNvPr>
            <p:cNvGrpSpPr/>
            <p:nvPr/>
          </p:nvGrpSpPr>
          <p:grpSpPr>
            <a:xfrm>
              <a:off x="9899273" y="4201445"/>
              <a:ext cx="269591" cy="198230"/>
              <a:chOff x="9899273" y="4201445"/>
              <a:chExt cx="269591" cy="198230"/>
            </a:xfrm>
            <a:noFill/>
          </p:grpSpPr>
          <p:grpSp>
            <p:nvGrpSpPr>
              <p:cNvPr id="2352" name="Gráfico 19">
                <a:extLst>
                  <a:ext uri="{FF2B5EF4-FFF2-40B4-BE49-F238E27FC236}">
                    <a16:creationId xmlns:a16="http://schemas.microsoft.com/office/drawing/2014/main" id="{C44C14DC-87B7-75E2-C205-3992AB134727}"/>
                  </a:ext>
                </a:extLst>
              </p:cNvPr>
              <p:cNvGrpSpPr/>
              <p:nvPr/>
            </p:nvGrpSpPr>
            <p:grpSpPr>
              <a:xfrm>
                <a:off x="9916292" y="4201457"/>
                <a:ext cx="252219" cy="198218"/>
                <a:chOff x="9916292" y="4201457"/>
                <a:chExt cx="252219" cy="198218"/>
              </a:xfrm>
              <a:noFill/>
            </p:grpSpPr>
            <p:sp>
              <p:nvSpPr>
                <p:cNvPr id="2353" name="Forma livre: Forma 2352">
                  <a:extLst>
                    <a:ext uri="{FF2B5EF4-FFF2-40B4-BE49-F238E27FC236}">
                      <a16:creationId xmlns:a16="http://schemas.microsoft.com/office/drawing/2014/main" id="{E3F7C3F8-9725-820E-74B4-160F251537FA}"/>
                    </a:ext>
                  </a:extLst>
                </p:cNvPr>
                <p:cNvSpPr/>
                <p:nvPr/>
              </p:nvSpPr>
              <p:spPr>
                <a:xfrm>
                  <a:off x="10034216" y="4201457"/>
                  <a:ext cx="53919" cy="119912"/>
                </a:xfrm>
                <a:custGeom>
                  <a:avLst/>
                  <a:gdLst>
                    <a:gd name="connsiteX0" fmla="*/ 51105 w 53919"/>
                    <a:gd name="connsiteY0" fmla="*/ 119913 h 119912"/>
                    <a:gd name="connsiteX1" fmla="*/ 0 w 53919"/>
                    <a:gd name="connsiteY1" fmla="*/ 0 h 11991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53919" h="119912">
                      <a:moveTo>
                        <a:pt x="51105" y="119913"/>
                      </a:moveTo>
                      <a:cubicBezTo>
                        <a:pt x="68443" y="39477"/>
                        <a:pt x="0" y="0"/>
                        <a:pt x="0" y="0"/>
                      </a:cubicBez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354" name="Forma livre: Forma 2353">
                  <a:extLst>
                    <a:ext uri="{FF2B5EF4-FFF2-40B4-BE49-F238E27FC236}">
                      <a16:creationId xmlns:a16="http://schemas.microsoft.com/office/drawing/2014/main" id="{7CC16BAE-B40F-65FD-BE6B-9EF131B91B09}"/>
                    </a:ext>
                  </a:extLst>
                </p:cNvPr>
                <p:cNvSpPr/>
                <p:nvPr/>
              </p:nvSpPr>
              <p:spPr>
                <a:xfrm>
                  <a:off x="10052600" y="4327878"/>
                  <a:ext cx="31625" cy="71797"/>
                </a:xfrm>
                <a:custGeom>
                  <a:avLst/>
                  <a:gdLst>
                    <a:gd name="connsiteX0" fmla="*/ 0 w 31625"/>
                    <a:gd name="connsiteY0" fmla="*/ 71797 h 71797"/>
                    <a:gd name="connsiteX1" fmla="*/ 31626 w 31625"/>
                    <a:gd name="connsiteY1" fmla="*/ 0 h 7179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31625" h="71797">
                      <a:moveTo>
                        <a:pt x="0" y="71797"/>
                      </a:moveTo>
                      <a:lnTo>
                        <a:pt x="31626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355" name="Forma livre: Forma 2354">
                  <a:extLst>
                    <a:ext uri="{FF2B5EF4-FFF2-40B4-BE49-F238E27FC236}">
                      <a16:creationId xmlns:a16="http://schemas.microsoft.com/office/drawing/2014/main" id="{2C7D12A2-7DDE-CEBF-E482-45CCB18E53B2}"/>
                    </a:ext>
                  </a:extLst>
                </p:cNvPr>
                <p:cNvSpPr/>
                <p:nvPr/>
              </p:nvSpPr>
              <p:spPr>
                <a:xfrm>
                  <a:off x="10083202" y="4327290"/>
                  <a:ext cx="85308" cy="72385"/>
                </a:xfrm>
                <a:custGeom>
                  <a:avLst/>
                  <a:gdLst>
                    <a:gd name="connsiteX0" fmla="*/ 0 w 85308"/>
                    <a:gd name="connsiteY0" fmla="*/ 72386 h 72385"/>
                    <a:gd name="connsiteX1" fmla="*/ 85309 w 85308"/>
                    <a:gd name="connsiteY1" fmla="*/ 0 h 7238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85308" h="72385">
                      <a:moveTo>
                        <a:pt x="0" y="72386"/>
                      </a:moveTo>
                      <a:lnTo>
                        <a:pt x="85309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356" name="Forma livre: Forma 2355">
                  <a:extLst>
                    <a:ext uri="{FF2B5EF4-FFF2-40B4-BE49-F238E27FC236}">
                      <a16:creationId xmlns:a16="http://schemas.microsoft.com/office/drawing/2014/main" id="{51DA52DF-D3D2-82C5-CFFC-9B1C91213B41}"/>
                    </a:ext>
                  </a:extLst>
                </p:cNvPr>
                <p:cNvSpPr/>
                <p:nvPr/>
              </p:nvSpPr>
              <p:spPr>
                <a:xfrm>
                  <a:off x="9983652" y="4326631"/>
                  <a:ext cx="31637" cy="73044"/>
                </a:xfrm>
                <a:custGeom>
                  <a:avLst/>
                  <a:gdLst>
                    <a:gd name="connsiteX0" fmla="*/ 31638 w 31637"/>
                    <a:gd name="connsiteY0" fmla="*/ 73045 h 73044"/>
                    <a:gd name="connsiteX1" fmla="*/ 0 w 31637"/>
                    <a:gd name="connsiteY1" fmla="*/ 0 h 7304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31637" h="73044">
                      <a:moveTo>
                        <a:pt x="31638" y="73045"/>
                      </a:moveTo>
                      <a:lnTo>
                        <a:pt x="0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357" name="Forma livre: Forma 2356">
                  <a:extLst>
                    <a:ext uri="{FF2B5EF4-FFF2-40B4-BE49-F238E27FC236}">
                      <a16:creationId xmlns:a16="http://schemas.microsoft.com/office/drawing/2014/main" id="{AC72E160-1B05-F754-723C-24E2B6563A11}"/>
                    </a:ext>
                  </a:extLst>
                </p:cNvPr>
                <p:cNvSpPr/>
                <p:nvPr/>
              </p:nvSpPr>
              <p:spPr>
                <a:xfrm>
                  <a:off x="9916292" y="4343179"/>
                  <a:ext cx="68395" cy="56496"/>
                </a:xfrm>
                <a:custGeom>
                  <a:avLst/>
                  <a:gdLst>
                    <a:gd name="connsiteX0" fmla="*/ 68395 w 68395"/>
                    <a:gd name="connsiteY0" fmla="*/ 56496 h 56496"/>
                    <a:gd name="connsiteX1" fmla="*/ 0 w 68395"/>
                    <a:gd name="connsiteY1" fmla="*/ 0 h 5649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68395" h="56496">
                      <a:moveTo>
                        <a:pt x="68395" y="56496"/>
                      </a:moveTo>
                      <a:lnTo>
                        <a:pt x="0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2358" name="Forma livre: Forma 2357">
                <a:extLst>
                  <a:ext uri="{FF2B5EF4-FFF2-40B4-BE49-F238E27FC236}">
                    <a16:creationId xmlns:a16="http://schemas.microsoft.com/office/drawing/2014/main" id="{67FD8928-366E-782E-A7B9-727180E272FF}"/>
                  </a:ext>
                </a:extLst>
              </p:cNvPr>
              <p:cNvSpPr/>
              <p:nvPr/>
            </p:nvSpPr>
            <p:spPr>
              <a:xfrm>
                <a:off x="9899273" y="4201445"/>
                <a:ext cx="269591" cy="125550"/>
              </a:xfrm>
              <a:custGeom>
                <a:avLst/>
                <a:gdLst>
                  <a:gd name="connsiteX0" fmla="*/ 111474 w 269591"/>
                  <a:gd name="connsiteY0" fmla="*/ 23152 h 125550"/>
                  <a:gd name="connsiteX1" fmla="*/ 84379 w 269591"/>
                  <a:gd name="connsiteY1" fmla="*/ 125186 h 125550"/>
                  <a:gd name="connsiteX2" fmla="*/ 134790 w 269591"/>
                  <a:gd name="connsiteY2" fmla="*/ 104047 h 125550"/>
                  <a:gd name="connsiteX3" fmla="*/ 185307 w 269591"/>
                  <a:gd name="connsiteY3" fmla="*/ 125551 h 125550"/>
                  <a:gd name="connsiteX4" fmla="*/ 269592 w 269591"/>
                  <a:gd name="connsiteY4" fmla="*/ 125551 h 125550"/>
                  <a:gd name="connsiteX5" fmla="*/ 134661 w 269591"/>
                  <a:gd name="connsiteY5" fmla="*/ 0 h 125550"/>
                  <a:gd name="connsiteX6" fmla="*/ 134496 w 269591"/>
                  <a:gd name="connsiteY6" fmla="*/ 0 h 125550"/>
                  <a:gd name="connsiteX7" fmla="*/ 0 w 269591"/>
                  <a:gd name="connsiteY7" fmla="*/ 125551 h 125550"/>
                  <a:gd name="connsiteX8" fmla="*/ 56178 w 269591"/>
                  <a:gd name="connsiteY8" fmla="*/ 106589 h 1255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69591" h="125550">
                    <a:moveTo>
                      <a:pt x="111474" y="23152"/>
                    </a:moveTo>
                    <a:cubicBezTo>
                      <a:pt x="93489" y="42137"/>
                      <a:pt x="72503" y="74586"/>
                      <a:pt x="84379" y="125186"/>
                    </a:cubicBezTo>
                    <a:cubicBezTo>
                      <a:pt x="84379" y="125186"/>
                      <a:pt x="93936" y="104059"/>
                      <a:pt x="134790" y="104047"/>
                    </a:cubicBezTo>
                    <a:cubicBezTo>
                      <a:pt x="175644" y="104047"/>
                      <a:pt x="185307" y="125551"/>
                      <a:pt x="185307" y="125551"/>
                    </a:cubicBezTo>
                    <a:cubicBezTo>
                      <a:pt x="225242" y="79506"/>
                      <a:pt x="269592" y="125551"/>
                      <a:pt x="269592" y="125551"/>
                    </a:cubicBezTo>
                    <a:cubicBezTo>
                      <a:pt x="269592" y="56214"/>
                      <a:pt x="208929" y="0"/>
                      <a:pt x="134661" y="0"/>
                    </a:cubicBezTo>
                    <a:lnTo>
                      <a:pt x="134496" y="0"/>
                    </a:lnTo>
                    <a:cubicBezTo>
                      <a:pt x="60215" y="0"/>
                      <a:pt x="0" y="56214"/>
                      <a:pt x="0" y="125551"/>
                    </a:cubicBezTo>
                    <a:cubicBezTo>
                      <a:pt x="0" y="125551"/>
                      <a:pt x="26035" y="98515"/>
                      <a:pt x="56178" y="106589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2359" name="Gráfico 19">
              <a:extLst>
                <a:ext uri="{FF2B5EF4-FFF2-40B4-BE49-F238E27FC236}">
                  <a16:creationId xmlns:a16="http://schemas.microsoft.com/office/drawing/2014/main" id="{E93FE135-08C6-9FBF-C741-EA71212E9885}"/>
                </a:ext>
              </a:extLst>
            </p:cNvPr>
            <p:cNvGrpSpPr/>
            <p:nvPr/>
          </p:nvGrpSpPr>
          <p:grpSpPr>
            <a:xfrm>
              <a:off x="9958864" y="4423557"/>
              <a:ext cx="150397" cy="123137"/>
              <a:chOff x="9958864" y="4423557"/>
              <a:chExt cx="150397" cy="123137"/>
            </a:xfrm>
            <a:noFill/>
          </p:grpSpPr>
          <p:sp>
            <p:nvSpPr>
              <p:cNvPr id="2360" name="Forma livre: Forma 2359">
                <a:extLst>
                  <a:ext uri="{FF2B5EF4-FFF2-40B4-BE49-F238E27FC236}">
                    <a16:creationId xmlns:a16="http://schemas.microsoft.com/office/drawing/2014/main" id="{98D9DCC1-89D7-C587-2C94-EDC60E858035}"/>
                  </a:ext>
                </a:extLst>
              </p:cNvPr>
              <p:cNvSpPr/>
              <p:nvPr/>
            </p:nvSpPr>
            <p:spPr>
              <a:xfrm>
                <a:off x="9958864" y="4423557"/>
                <a:ext cx="150397" cy="123137"/>
              </a:xfrm>
              <a:custGeom>
                <a:avLst/>
                <a:gdLst>
                  <a:gd name="connsiteX0" fmla="*/ 0 w 150397"/>
                  <a:gd name="connsiteY0" fmla="*/ 0 h 123137"/>
                  <a:gd name="connsiteX1" fmla="*/ 150397 w 150397"/>
                  <a:gd name="connsiteY1" fmla="*/ 0 h 123137"/>
                  <a:gd name="connsiteX2" fmla="*/ 150397 w 150397"/>
                  <a:gd name="connsiteY2" fmla="*/ 123138 h 123137"/>
                  <a:gd name="connsiteX3" fmla="*/ 0 w 150397"/>
                  <a:gd name="connsiteY3" fmla="*/ 123138 h 1231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50397" h="123137">
                    <a:moveTo>
                      <a:pt x="0" y="0"/>
                    </a:moveTo>
                    <a:lnTo>
                      <a:pt x="150397" y="0"/>
                    </a:lnTo>
                    <a:lnTo>
                      <a:pt x="150397" y="123138"/>
                    </a:lnTo>
                    <a:lnTo>
                      <a:pt x="0" y="123138"/>
                    </a:ln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361" name="Forma livre: Forma 2360">
                <a:extLst>
                  <a:ext uri="{FF2B5EF4-FFF2-40B4-BE49-F238E27FC236}">
                    <a16:creationId xmlns:a16="http://schemas.microsoft.com/office/drawing/2014/main" id="{6AFDDB0D-96B0-36B0-EB3B-26779E97E56C}"/>
                  </a:ext>
                </a:extLst>
              </p:cNvPr>
              <p:cNvSpPr/>
              <p:nvPr/>
            </p:nvSpPr>
            <p:spPr>
              <a:xfrm>
                <a:off x="10014207" y="4424333"/>
                <a:ext cx="39711" cy="41359"/>
              </a:xfrm>
              <a:custGeom>
                <a:avLst/>
                <a:gdLst>
                  <a:gd name="connsiteX0" fmla="*/ 39712 w 39711"/>
                  <a:gd name="connsiteY0" fmla="*/ 0 h 41359"/>
                  <a:gd name="connsiteX1" fmla="*/ 39712 w 39711"/>
                  <a:gd name="connsiteY1" fmla="*/ 41360 h 41359"/>
                  <a:gd name="connsiteX2" fmla="*/ 0 w 39711"/>
                  <a:gd name="connsiteY2" fmla="*/ 41360 h 41359"/>
                  <a:gd name="connsiteX3" fmla="*/ 0 w 39711"/>
                  <a:gd name="connsiteY3" fmla="*/ 0 h 413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9711" h="41359">
                    <a:moveTo>
                      <a:pt x="39712" y="0"/>
                    </a:moveTo>
                    <a:lnTo>
                      <a:pt x="39712" y="41360"/>
                    </a:lnTo>
                    <a:lnTo>
                      <a:pt x="0" y="41360"/>
                    </a:lnTo>
                    <a:lnTo>
                      <a:pt x="0" y="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2362" name="Gráfico 19">
            <a:extLst>
              <a:ext uri="{FF2B5EF4-FFF2-40B4-BE49-F238E27FC236}">
                <a16:creationId xmlns:a16="http://schemas.microsoft.com/office/drawing/2014/main" id="{5481F23B-7EC1-D30A-6175-DF565A7CEC31}"/>
              </a:ext>
            </a:extLst>
          </p:cNvPr>
          <p:cNvGrpSpPr/>
          <p:nvPr/>
        </p:nvGrpSpPr>
        <p:grpSpPr>
          <a:xfrm>
            <a:off x="9909230" y="5240230"/>
            <a:ext cx="249665" cy="366058"/>
            <a:chOff x="9909230" y="5240230"/>
            <a:chExt cx="249665" cy="366058"/>
          </a:xfrm>
          <a:noFill/>
        </p:grpSpPr>
        <p:grpSp>
          <p:nvGrpSpPr>
            <p:cNvPr id="2363" name="Gráfico 19">
              <a:extLst>
                <a:ext uri="{FF2B5EF4-FFF2-40B4-BE49-F238E27FC236}">
                  <a16:creationId xmlns:a16="http://schemas.microsoft.com/office/drawing/2014/main" id="{F815D70E-71C3-92CD-7C36-218C40423FF4}"/>
                </a:ext>
              </a:extLst>
            </p:cNvPr>
            <p:cNvGrpSpPr/>
            <p:nvPr/>
          </p:nvGrpSpPr>
          <p:grpSpPr>
            <a:xfrm>
              <a:off x="10004214" y="5342582"/>
              <a:ext cx="47868" cy="152739"/>
              <a:chOff x="10004214" y="5342582"/>
              <a:chExt cx="47868" cy="152739"/>
            </a:xfrm>
            <a:noFill/>
          </p:grpSpPr>
          <p:grpSp>
            <p:nvGrpSpPr>
              <p:cNvPr id="2364" name="Gráfico 19">
                <a:extLst>
                  <a:ext uri="{FF2B5EF4-FFF2-40B4-BE49-F238E27FC236}">
                    <a16:creationId xmlns:a16="http://schemas.microsoft.com/office/drawing/2014/main" id="{D88E3E88-B76F-5719-E65B-7054CC55369D}"/>
                  </a:ext>
                </a:extLst>
              </p:cNvPr>
              <p:cNvGrpSpPr/>
              <p:nvPr/>
            </p:nvGrpSpPr>
            <p:grpSpPr>
              <a:xfrm>
                <a:off x="10004214" y="5342582"/>
                <a:ext cx="47868" cy="152739"/>
                <a:chOff x="10004214" y="5342582"/>
                <a:chExt cx="47868" cy="152739"/>
              </a:xfrm>
              <a:noFill/>
            </p:grpSpPr>
            <p:sp>
              <p:nvSpPr>
                <p:cNvPr id="2365" name="Forma livre: Forma 2364">
                  <a:extLst>
                    <a:ext uri="{FF2B5EF4-FFF2-40B4-BE49-F238E27FC236}">
                      <a16:creationId xmlns:a16="http://schemas.microsoft.com/office/drawing/2014/main" id="{2CD7525E-51D1-6EEC-769D-D73BEE773D6D}"/>
                    </a:ext>
                  </a:extLst>
                </p:cNvPr>
                <p:cNvSpPr/>
                <p:nvPr/>
              </p:nvSpPr>
              <p:spPr>
                <a:xfrm>
                  <a:off x="10039430" y="5342582"/>
                  <a:ext cx="12652" cy="152739"/>
                </a:xfrm>
                <a:custGeom>
                  <a:avLst/>
                  <a:gdLst>
                    <a:gd name="connsiteX0" fmla="*/ 12653 w 12652"/>
                    <a:gd name="connsiteY0" fmla="*/ 0 h 152739"/>
                    <a:gd name="connsiteX1" fmla="*/ 12653 w 12652"/>
                    <a:gd name="connsiteY1" fmla="*/ 40100 h 152739"/>
                    <a:gd name="connsiteX2" fmla="*/ 0 w 12652"/>
                    <a:gd name="connsiteY2" fmla="*/ 63452 h 152739"/>
                    <a:gd name="connsiteX3" fmla="*/ 0 w 12652"/>
                    <a:gd name="connsiteY3" fmla="*/ 152739 h 15273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2652" h="152739">
                      <a:moveTo>
                        <a:pt x="12653" y="0"/>
                      </a:moveTo>
                      <a:lnTo>
                        <a:pt x="12653" y="40100"/>
                      </a:lnTo>
                      <a:cubicBezTo>
                        <a:pt x="12653" y="50599"/>
                        <a:pt x="9086" y="59603"/>
                        <a:pt x="0" y="63452"/>
                      </a:cubicBezTo>
                      <a:lnTo>
                        <a:pt x="0" y="152739"/>
                      </a:lnTo>
                    </a:path>
                  </a:pathLst>
                </a:custGeom>
                <a:noFill/>
                <a:ln w="6350" cap="sq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366" name="Forma livre: Forma 2365">
                  <a:extLst>
                    <a:ext uri="{FF2B5EF4-FFF2-40B4-BE49-F238E27FC236}">
                      <a16:creationId xmlns:a16="http://schemas.microsoft.com/office/drawing/2014/main" id="{4809A4BD-6CEC-93CD-E872-2D73B808387B}"/>
                    </a:ext>
                  </a:extLst>
                </p:cNvPr>
                <p:cNvSpPr/>
                <p:nvPr/>
              </p:nvSpPr>
              <p:spPr>
                <a:xfrm>
                  <a:off x="10004214" y="5342582"/>
                  <a:ext cx="12652" cy="152739"/>
                </a:xfrm>
                <a:custGeom>
                  <a:avLst/>
                  <a:gdLst>
                    <a:gd name="connsiteX0" fmla="*/ 0 w 12652"/>
                    <a:gd name="connsiteY0" fmla="*/ 0 h 152739"/>
                    <a:gd name="connsiteX1" fmla="*/ 0 w 12652"/>
                    <a:gd name="connsiteY1" fmla="*/ 40100 h 152739"/>
                    <a:gd name="connsiteX2" fmla="*/ 12653 w 12652"/>
                    <a:gd name="connsiteY2" fmla="*/ 63452 h 152739"/>
                    <a:gd name="connsiteX3" fmla="*/ 12653 w 12652"/>
                    <a:gd name="connsiteY3" fmla="*/ 152739 h 15273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2652" h="152739">
                      <a:moveTo>
                        <a:pt x="0" y="0"/>
                      </a:moveTo>
                      <a:lnTo>
                        <a:pt x="0" y="40100"/>
                      </a:lnTo>
                      <a:cubicBezTo>
                        <a:pt x="0" y="50587"/>
                        <a:pt x="3555" y="59603"/>
                        <a:pt x="12653" y="63452"/>
                      </a:cubicBezTo>
                      <a:lnTo>
                        <a:pt x="12653" y="152739"/>
                      </a:lnTo>
                    </a:path>
                  </a:pathLst>
                </a:custGeom>
                <a:noFill/>
                <a:ln w="6350" cap="sq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2367" name="Forma livre: Forma 2366">
                <a:extLst>
                  <a:ext uri="{FF2B5EF4-FFF2-40B4-BE49-F238E27FC236}">
                    <a16:creationId xmlns:a16="http://schemas.microsoft.com/office/drawing/2014/main" id="{F01D48C7-DF58-24FF-2149-6531CDB19E33}"/>
                  </a:ext>
                </a:extLst>
              </p:cNvPr>
              <p:cNvSpPr/>
              <p:nvPr/>
            </p:nvSpPr>
            <p:spPr>
              <a:xfrm>
                <a:off x="10028142" y="5342582"/>
                <a:ext cx="1177" cy="33932"/>
              </a:xfrm>
              <a:custGeom>
                <a:avLst/>
                <a:gdLst>
                  <a:gd name="connsiteX0" fmla="*/ 0 w 1177"/>
                  <a:gd name="connsiteY0" fmla="*/ 33933 h 33932"/>
                  <a:gd name="connsiteX1" fmla="*/ 0 w 1177"/>
                  <a:gd name="connsiteY1" fmla="*/ 0 h 339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77" h="33932">
                    <a:moveTo>
                      <a:pt x="0" y="33933"/>
                    </a:moveTo>
                    <a:lnTo>
                      <a:pt x="0" y="0"/>
                    </a:lnTo>
                  </a:path>
                </a:pathLst>
              </a:custGeom>
              <a:ln w="6350" cap="sq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2368" name="Forma livre: Forma 2367">
              <a:extLst>
                <a:ext uri="{FF2B5EF4-FFF2-40B4-BE49-F238E27FC236}">
                  <a16:creationId xmlns:a16="http://schemas.microsoft.com/office/drawing/2014/main" id="{2978BE7F-AB70-4E9E-8145-4E6C6C50982E}"/>
                </a:ext>
              </a:extLst>
            </p:cNvPr>
            <p:cNvSpPr/>
            <p:nvPr/>
          </p:nvSpPr>
          <p:spPr>
            <a:xfrm>
              <a:off x="9944987" y="5337264"/>
              <a:ext cx="34733" cy="158045"/>
            </a:xfrm>
            <a:custGeom>
              <a:avLst/>
              <a:gdLst>
                <a:gd name="connsiteX0" fmla="*/ 11723 w 34733"/>
                <a:gd name="connsiteY0" fmla="*/ 158045 h 158045"/>
                <a:gd name="connsiteX1" fmla="*/ 11723 w 34733"/>
                <a:gd name="connsiteY1" fmla="*/ 94087 h 158045"/>
                <a:gd name="connsiteX2" fmla="*/ 0 w 34733"/>
                <a:gd name="connsiteY2" fmla="*/ 90239 h 158045"/>
                <a:gd name="connsiteX3" fmla="*/ 11229 w 34733"/>
                <a:gd name="connsiteY3" fmla="*/ 17782 h 158045"/>
                <a:gd name="connsiteX4" fmla="*/ 27189 w 34733"/>
                <a:gd name="connsiteY4" fmla="*/ 386 h 158045"/>
                <a:gd name="connsiteX5" fmla="*/ 34733 w 34733"/>
                <a:gd name="connsiteY5" fmla="*/ 10838 h 158045"/>
                <a:gd name="connsiteX6" fmla="*/ 34733 w 34733"/>
                <a:gd name="connsiteY6" fmla="*/ 158045 h 1580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4733" h="158045">
                  <a:moveTo>
                    <a:pt x="11723" y="158045"/>
                  </a:moveTo>
                  <a:lnTo>
                    <a:pt x="11723" y="94087"/>
                  </a:lnTo>
                  <a:lnTo>
                    <a:pt x="0" y="90239"/>
                  </a:lnTo>
                  <a:lnTo>
                    <a:pt x="11229" y="17782"/>
                  </a:lnTo>
                  <a:cubicBezTo>
                    <a:pt x="14253" y="5094"/>
                    <a:pt x="27189" y="386"/>
                    <a:pt x="27189" y="386"/>
                  </a:cubicBezTo>
                  <a:cubicBezTo>
                    <a:pt x="32297" y="-1626"/>
                    <a:pt x="34627" y="4576"/>
                    <a:pt x="34733" y="10838"/>
                  </a:cubicBezTo>
                  <a:lnTo>
                    <a:pt x="34733" y="158045"/>
                  </a:lnTo>
                </a:path>
              </a:pathLst>
            </a:custGeom>
            <a:noFill/>
            <a:ln w="6350" cap="sq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369" name="Forma livre: Forma 2368">
              <a:extLst>
                <a:ext uri="{FF2B5EF4-FFF2-40B4-BE49-F238E27FC236}">
                  <a16:creationId xmlns:a16="http://schemas.microsoft.com/office/drawing/2014/main" id="{DB3B0133-BD2F-BEF9-8912-1512FB8C5653}"/>
                </a:ext>
              </a:extLst>
            </p:cNvPr>
            <p:cNvSpPr/>
            <p:nvPr/>
          </p:nvSpPr>
          <p:spPr>
            <a:xfrm>
              <a:off x="9909230" y="5293195"/>
              <a:ext cx="181258" cy="313093"/>
            </a:xfrm>
            <a:custGeom>
              <a:avLst/>
              <a:gdLst>
                <a:gd name="connsiteX0" fmla="*/ 0 w 181258"/>
                <a:gd name="connsiteY0" fmla="*/ 0 h 313093"/>
                <a:gd name="connsiteX1" fmla="*/ 181258 w 181258"/>
                <a:gd name="connsiteY1" fmla="*/ 0 h 313093"/>
                <a:gd name="connsiteX2" fmla="*/ 181258 w 181258"/>
                <a:gd name="connsiteY2" fmla="*/ 313094 h 313093"/>
                <a:gd name="connsiteX3" fmla="*/ 0 w 181258"/>
                <a:gd name="connsiteY3" fmla="*/ 313094 h 3130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1258" h="313093">
                  <a:moveTo>
                    <a:pt x="0" y="0"/>
                  </a:moveTo>
                  <a:lnTo>
                    <a:pt x="181258" y="0"/>
                  </a:lnTo>
                  <a:lnTo>
                    <a:pt x="181258" y="313094"/>
                  </a:lnTo>
                  <a:lnTo>
                    <a:pt x="0" y="313094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370" name="Forma livre: Forma 2369">
              <a:extLst>
                <a:ext uri="{FF2B5EF4-FFF2-40B4-BE49-F238E27FC236}">
                  <a16:creationId xmlns:a16="http://schemas.microsoft.com/office/drawing/2014/main" id="{DB4A53F9-CA77-48C4-99E0-6E21C6999CFA}"/>
                </a:ext>
              </a:extLst>
            </p:cNvPr>
            <p:cNvSpPr/>
            <p:nvPr/>
          </p:nvSpPr>
          <p:spPr>
            <a:xfrm>
              <a:off x="9977637" y="5240230"/>
              <a:ext cx="181258" cy="313082"/>
            </a:xfrm>
            <a:custGeom>
              <a:avLst/>
              <a:gdLst>
                <a:gd name="connsiteX0" fmla="*/ 0 w 181258"/>
                <a:gd name="connsiteY0" fmla="*/ 30990 h 313082"/>
                <a:gd name="connsiteX1" fmla="*/ 0 w 181258"/>
                <a:gd name="connsiteY1" fmla="*/ 0 h 313082"/>
                <a:gd name="connsiteX2" fmla="*/ 181258 w 181258"/>
                <a:gd name="connsiteY2" fmla="*/ 0 h 313082"/>
                <a:gd name="connsiteX3" fmla="*/ 181258 w 181258"/>
                <a:gd name="connsiteY3" fmla="*/ 313082 h 313082"/>
                <a:gd name="connsiteX4" fmla="*/ 135590 w 181258"/>
                <a:gd name="connsiteY4" fmla="*/ 313082 h 3130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1258" h="313082">
                  <a:moveTo>
                    <a:pt x="0" y="30990"/>
                  </a:moveTo>
                  <a:lnTo>
                    <a:pt x="0" y="0"/>
                  </a:lnTo>
                  <a:lnTo>
                    <a:pt x="181258" y="0"/>
                  </a:lnTo>
                  <a:lnTo>
                    <a:pt x="181258" y="313082"/>
                  </a:lnTo>
                  <a:lnTo>
                    <a:pt x="135590" y="313082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371" name="Forma livre: Forma 2370">
              <a:extLst>
                <a:ext uri="{FF2B5EF4-FFF2-40B4-BE49-F238E27FC236}">
                  <a16:creationId xmlns:a16="http://schemas.microsoft.com/office/drawing/2014/main" id="{B72DF45C-9A22-6367-CA10-1EBAA57A3562}"/>
                </a:ext>
              </a:extLst>
            </p:cNvPr>
            <p:cNvSpPr/>
            <p:nvPr/>
          </p:nvSpPr>
          <p:spPr>
            <a:xfrm>
              <a:off x="9977637" y="5240230"/>
              <a:ext cx="112992" cy="52965"/>
            </a:xfrm>
            <a:custGeom>
              <a:avLst/>
              <a:gdLst>
                <a:gd name="connsiteX0" fmla="*/ 0 w 112992"/>
                <a:gd name="connsiteY0" fmla="*/ 0 h 52965"/>
                <a:gd name="connsiteX1" fmla="*/ 112992 w 112992"/>
                <a:gd name="connsiteY1" fmla="*/ 52965 h 529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992" h="52965">
                  <a:moveTo>
                    <a:pt x="0" y="0"/>
                  </a:moveTo>
                  <a:lnTo>
                    <a:pt x="112992" y="52965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372" name="Forma livre: Forma 2371">
              <a:extLst>
                <a:ext uri="{FF2B5EF4-FFF2-40B4-BE49-F238E27FC236}">
                  <a16:creationId xmlns:a16="http://schemas.microsoft.com/office/drawing/2014/main" id="{4A1859C6-8776-2D0F-069B-091BD68795F4}"/>
                </a:ext>
              </a:extLst>
            </p:cNvPr>
            <p:cNvSpPr/>
            <p:nvPr/>
          </p:nvSpPr>
          <p:spPr>
            <a:xfrm>
              <a:off x="9950425" y="5537222"/>
              <a:ext cx="98868" cy="1177"/>
            </a:xfrm>
            <a:custGeom>
              <a:avLst/>
              <a:gdLst>
                <a:gd name="connsiteX0" fmla="*/ 0 w 98868"/>
                <a:gd name="connsiteY0" fmla="*/ 0 h 1177"/>
                <a:gd name="connsiteX1" fmla="*/ 98868 w 98868"/>
                <a:gd name="connsiteY1" fmla="*/ 0 h 11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8868" h="1177">
                  <a:moveTo>
                    <a:pt x="0" y="0"/>
                  </a:moveTo>
                  <a:lnTo>
                    <a:pt x="98868" y="0"/>
                  </a:lnTo>
                </a:path>
              </a:pathLst>
            </a:custGeom>
            <a:ln w="6350" cap="sq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373" name="Forma livre: Forma 2372">
              <a:extLst>
                <a:ext uri="{FF2B5EF4-FFF2-40B4-BE49-F238E27FC236}">
                  <a16:creationId xmlns:a16="http://schemas.microsoft.com/office/drawing/2014/main" id="{7F11DC16-CAB2-1FE2-087A-9F320C4DAD23}"/>
                </a:ext>
              </a:extLst>
            </p:cNvPr>
            <p:cNvSpPr/>
            <p:nvPr/>
          </p:nvSpPr>
          <p:spPr>
            <a:xfrm>
              <a:off x="9950425" y="5567518"/>
              <a:ext cx="98868" cy="1177"/>
            </a:xfrm>
            <a:custGeom>
              <a:avLst/>
              <a:gdLst>
                <a:gd name="connsiteX0" fmla="*/ 0 w 98868"/>
                <a:gd name="connsiteY0" fmla="*/ 0 h 1177"/>
                <a:gd name="connsiteX1" fmla="*/ 98868 w 98868"/>
                <a:gd name="connsiteY1" fmla="*/ 0 h 11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8868" h="1177">
                  <a:moveTo>
                    <a:pt x="0" y="0"/>
                  </a:moveTo>
                  <a:lnTo>
                    <a:pt x="98868" y="0"/>
                  </a:lnTo>
                </a:path>
              </a:pathLst>
            </a:custGeom>
            <a:ln w="6350" cap="sq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2374" name="Gráfico 19">
            <a:extLst>
              <a:ext uri="{FF2B5EF4-FFF2-40B4-BE49-F238E27FC236}">
                <a16:creationId xmlns:a16="http://schemas.microsoft.com/office/drawing/2014/main" id="{1218FE8A-5176-E196-4D56-A306DD744AB7}"/>
              </a:ext>
            </a:extLst>
          </p:cNvPr>
          <p:cNvGrpSpPr/>
          <p:nvPr/>
        </p:nvGrpSpPr>
        <p:grpSpPr>
          <a:xfrm>
            <a:off x="10532769" y="5774388"/>
            <a:ext cx="253775" cy="369041"/>
            <a:chOff x="10532769" y="5774388"/>
            <a:chExt cx="253775" cy="369041"/>
          </a:xfrm>
          <a:noFill/>
        </p:grpSpPr>
        <p:sp>
          <p:nvSpPr>
            <p:cNvPr id="2375" name="Forma livre: Forma 2374">
              <a:extLst>
                <a:ext uri="{FF2B5EF4-FFF2-40B4-BE49-F238E27FC236}">
                  <a16:creationId xmlns:a16="http://schemas.microsoft.com/office/drawing/2014/main" id="{6E3607BD-00C5-2E7D-17FA-0146E67211FC}"/>
                </a:ext>
              </a:extLst>
            </p:cNvPr>
            <p:cNvSpPr/>
            <p:nvPr/>
          </p:nvSpPr>
          <p:spPr>
            <a:xfrm rot="-2700000">
              <a:off x="10623952" y="5980837"/>
              <a:ext cx="134695" cy="134695"/>
            </a:xfrm>
            <a:custGeom>
              <a:avLst/>
              <a:gdLst>
                <a:gd name="connsiteX0" fmla="*/ 134696 w 134695"/>
                <a:gd name="connsiteY0" fmla="*/ 67348 h 134695"/>
                <a:gd name="connsiteX1" fmla="*/ 67348 w 134695"/>
                <a:gd name="connsiteY1" fmla="*/ 134696 h 134695"/>
                <a:gd name="connsiteX2" fmla="*/ 0 w 134695"/>
                <a:gd name="connsiteY2" fmla="*/ 67348 h 134695"/>
                <a:gd name="connsiteX3" fmla="*/ 67348 w 134695"/>
                <a:gd name="connsiteY3" fmla="*/ 0 h 134695"/>
                <a:gd name="connsiteX4" fmla="*/ 134696 w 134695"/>
                <a:gd name="connsiteY4" fmla="*/ 67348 h 1346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4695" h="134695">
                  <a:moveTo>
                    <a:pt x="134696" y="67348"/>
                  </a:moveTo>
                  <a:cubicBezTo>
                    <a:pt x="134696" y="104543"/>
                    <a:pt x="104543" y="134696"/>
                    <a:pt x="67348" y="134696"/>
                  </a:cubicBezTo>
                  <a:cubicBezTo>
                    <a:pt x="30153" y="134696"/>
                    <a:pt x="0" y="104543"/>
                    <a:pt x="0" y="67348"/>
                  </a:cubicBezTo>
                  <a:cubicBezTo>
                    <a:pt x="0" y="30153"/>
                    <a:pt x="30153" y="0"/>
                    <a:pt x="67348" y="0"/>
                  </a:cubicBezTo>
                  <a:cubicBezTo>
                    <a:pt x="104543" y="0"/>
                    <a:pt x="134696" y="30153"/>
                    <a:pt x="134696" y="67348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2376" name="Gráfico 19">
              <a:extLst>
                <a:ext uri="{FF2B5EF4-FFF2-40B4-BE49-F238E27FC236}">
                  <a16:creationId xmlns:a16="http://schemas.microsoft.com/office/drawing/2014/main" id="{44F2FB74-3EC8-3529-CB81-5D9284B54A5E}"/>
                </a:ext>
              </a:extLst>
            </p:cNvPr>
            <p:cNvGrpSpPr/>
            <p:nvPr/>
          </p:nvGrpSpPr>
          <p:grpSpPr>
            <a:xfrm>
              <a:off x="10532769" y="5774388"/>
              <a:ext cx="217285" cy="346920"/>
              <a:chOff x="10532769" y="5774388"/>
              <a:chExt cx="217285" cy="346920"/>
            </a:xfrm>
            <a:noFill/>
          </p:grpSpPr>
          <p:grpSp>
            <p:nvGrpSpPr>
              <p:cNvPr id="2377" name="Gráfico 19">
                <a:extLst>
                  <a:ext uri="{FF2B5EF4-FFF2-40B4-BE49-F238E27FC236}">
                    <a16:creationId xmlns:a16="http://schemas.microsoft.com/office/drawing/2014/main" id="{7D8C04AE-67FB-D63C-61FE-90EC00346AFC}"/>
                  </a:ext>
                </a:extLst>
              </p:cNvPr>
              <p:cNvGrpSpPr/>
              <p:nvPr/>
            </p:nvGrpSpPr>
            <p:grpSpPr>
              <a:xfrm>
                <a:off x="10547470" y="5776189"/>
                <a:ext cx="75940" cy="345119"/>
                <a:chOff x="10547470" y="5776189"/>
                <a:chExt cx="75940" cy="345119"/>
              </a:xfrm>
              <a:noFill/>
            </p:grpSpPr>
            <p:sp>
              <p:nvSpPr>
                <p:cNvPr id="2378" name="Forma livre: Forma 2377">
                  <a:extLst>
                    <a:ext uri="{FF2B5EF4-FFF2-40B4-BE49-F238E27FC236}">
                      <a16:creationId xmlns:a16="http://schemas.microsoft.com/office/drawing/2014/main" id="{4149DF00-C0DD-1BE5-4ADA-6E71CB64C7A8}"/>
                    </a:ext>
                  </a:extLst>
                </p:cNvPr>
                <p:cNvSpPr/>
                <p:nvPr/>
              </p:nvSpPr>
              <p:spPr>
                <a:xfrm>
                  <a:off x="10568303" y="5827694"/>
                  <a:ext cx="55107" cy="27553"/>
                </a:xfrm>
                <a:custGeom>
                  <a:avLst/>
                  <a:gdLst>
                    <a:gd name="connsiteX0" fmla="*/ 0 w 55107"/>
                    <a:gd name="connsiteY0" fmla="*/ 0 h 27553"/>
                    <a:gd name="connsiteX1" fmla="*/ 27554 w 55107"/>
                    <a:gd name="connsiteY1" fmla="*/ 27553 h 27553"/>
                    <a:gd name="connsiteX2" fmla="*/ 55107 w 55107"/>
                    <a:gd name="connsiteY2" fmla="*/ 0 h 2755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55107" h="27553">
                      <a:moveTo>
                        <a:pt x="0" y="0"/>
                      </a:moveTo>
                      <a:cubicBezTo>
                        <a:pt x="0" y="15219"/>
                        <a:pt x="12347" y="27553"/>
                        <a:pt x="27554" y="27553"/>
                      </a:cubicBezTo>
                      <a:cubicBezTo>
                        <a:pt x="42760" y="27553"/>
                        <a:pt x="55107" y="15219"/>
                        <a:pt x="55107" y="0"/>
                      </a:cubicBez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379" name="Forma livre: Forma 2378">
                  <a:extLst>
                    <a:ext uri="{FF2B5EF4-FFF2-40B4-BE49-F238E27FC236}">
                      <a16:creationId xmlns:a16="http://schemas.microsoft.com/office/drawing/2014/main" id="{B53A0470-A8EE-73F7-800D-82C4DD245390}"/>
                    </a:ext>
                  </a:extLst>
                </p:cNvPr>
                <p:cNvSpPr/>
                <p:nvPr/>
              </p:nvSpPr>
              <p:spPr>
                <a:xfrm>
                  <a:off x="10547470" y="5776189"/>
                  <a:ext cx="75940" cy="33120"/>
                </a:xfrm>
                <a:custGeom>
                  <a:avLst/>
                  <a:gdLst>
                    <a:gd name="connsiteX0" fmla="*/ 20833 w 75940"/>
                    <a:gd name="connsiteY0" fmla="*/ 33121 h 33120"/>
                    <a:gd name="connsiteX1" fmla="*/ 48387 w 75940"/>
                    <a:gd name="connsiteY1" fmla="*/ 0 h 33120"/>
                    <a:gd name="connsiteX2" fmla="*/ 75940 w 75940"/>
                    <a:gd name="connsiteY2" fmla="*/ 33121 h 33120"/>
                    <a:gd name="connsiteX3" fmla="*/ 0 w 75940"/>
                    <a:gd name="connsiteY3" fmla="*/ 33121 h 3312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75940" h="33120">
                      <a:moveTo>
                        <a:pt x="20833" y="33121"/>
                      </a:moveTo>
                      <a:cubicBezTo>
                        <a:pt x="20833" y="17902"/>
                        <a:pt x="23116" y="0"/>
                        <a:pt x="48387" y="0"/>
                      </a:cubicBezTo>
                      <a:cubicBezTo>
                        <a:pt x="72174" y="0"/>
                        <a:pt x="75940" y="17902"/>
                        <a:pt x="75940" y="33121"/>
                      </a:cubicBezTo>
                      <a:lnTo>
                        <a:pt x="0" y="33121"/>
                      </a:ln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grpSp>
              <p:nvGrpSpPr>
                <p:cNvPr id="2380" name="Gráfico 19">
                  <a:extLst>
                    <a:ext uri="{FF2B5EF4-FFF2-40B4-BE49-F238E27FC236}">
                      <a16:creationId xmlns:a16="http://schemas.microsoft.com/office/drawing/2014/main" id="{313EAFD5-B025-103C-31F8-11DFB2640537}"/>
                    </a:ext>
                  </a:extLst>
                </p:cNvPr>
                <p:cNvGrpSpPr/>
                <p:nvPr/>
              </p:nvGrpSpPr>
              <p:grpSpPr>
                <a:xfrm>
                  <a:off x="10560170" y="5927727"/>
                  <a:ext cx="35686" cy="193581"/>
                  <a:chOff x="10560170" y="5927727"/>
                  <a:chExt cx="35686" cy="193581"/>
                </a:xfrm>
              </p:grpSpPr>
              <p:sp>
                <p:nvSpPr>
                  <p:cNvPr id="2381" name="Forma livre: Forma 2380">
                    <a:extLst>
                      <a:ext uri="{FF2B5EF4-FFF2-40B4-BE49-F238E27FC236}">
                        <a16:creationId xmlns:a16="http://schemas.microsoft.com/office/drawing/2014/main" id="{4425D78E-EA3A-7686-5C42-FC5DE4E37F6C}"/>
                      </a:ext>
                    </a:extLst>
                  </p:cNvPr>
                  <p:cNvSpPr/>
                  <p:nvPr/>
                </p:nvSpPr>
                <p:spPr>
                  <a:xfrm>
                    <a:off x="10560170" y="5927727"/>
                    <a:ext cx="1177" cy="193581"/>
                  </a:xfrm>
                  <a:custGeom>
                    <a:avLst/>
                    <a:gdLst>
                      <a:gd name="connsiteX0" fmla="*/ 0 w 1177"/>
                      <a:gd name="connsiteY0" fmla="*/ 0 h 193581"/>
                      <a:gd name="connsiteX1" fmla="*/ 0 w 1177"/>
                      <a:gd name="connsiteY1" fmla="*/ 193581 h 19358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177" h="193581">
                        <a:moveTo>
                          <a:pt x="0" y="0"/>
                        </a:moveTo>
                        <a:lnTo>
                          <a:pt x="0" y="193581"/>
                        </a:lnTo>
                      </a:path>
                    </a:pathLst>
                  </a:custGeom>
                  <a:ln w="6350" cap="flat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2382" name="Forma livre: Forma 2381">
                    <a:extLst>
                      <a:ext uri="{FF2B5EF4-FFF2-40B4-BE49-F238E27FC236}">
                        <a16:creationId xmlns:a16="http://schemas.microsoft.com/office/drawing/2014/main" id="{FC04D439-8507-868C-16B0-621972E8BCEC}"/>
                      </a:ext>
                    </a:extLst>
                  </p:cNvPr>
                  <p:cNvSpPr/>
                  <p:nvPr/>
                </p:nvSpPr>
                <p:spPr>
                  <a:xfrm>
                    <a:off x="10595856" y="6015155"/>
                    <a:ext cx="1177" cy="106153"/>
                  </a:xfrm>
                  <a:custGeom>
                    <a:avLst/>
                    <a:gdLst>
                      <a:gd name="connsiteX0" fmla="*/ 0 w 1177"/>
                      <a:gd name="connsiteY0" fmla="*/ 0 h 106153"/>
                      <a:gd name="connsiteX1" fmla="*/ 0 w 1177"/>
                      <a:gd name="connsiteY1" fmla="*/ 106154 h 10615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177" h="106153">
                        <a:moveTo>
                          <a:pt x="0" y="0"/>
                        </a:moveTo>
                        <a:lnTo>
                          <a:pt x="0" y="106154"/>
                        </a:lnTo>
                      </a:path>
                    </a:pathLst>
                  </a:custGeom>
                  <a:ln w="6350" cap="flat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</p:grpSp>
          <p:sp>
            <p:nvSpPr>
              <p:cNvPr id="2383" name="Forma livre: Forma 2382">
                <a:extLst>
                  <a:ext uri="{FF2B5EF4-FFF2-40B4-BE49-F238E27FC236}">
                    <a16:creationId xmlns:a16="http://schemas.microsoft.com/office/drawing/2014/main" id="{786D7F99-8AEA-B587-6CC7-C128B212920C}"/>
                  </a:ext>
                </a:extLst>
              </p:cNvPr>
              <p:cNvSpPr/>
              <p:nvPr/>
            </p:nvSpPr>
            <p:spPr>
              <a:xfrm>
                <a:off x="10532769" y="5843525"/>
                <a:ext cx="139545" cy="174254"/>
              </a:xfrm>
              <a:custGeom>
                <a:avLst/>
                <a:gdLst>
                  <a:gd name="connsiteX0" fmla="*/ 139545 w 139545"/>
                  <a:gd name="connsiteY0" fmla="*/ 0 h 174254"/>
                  <a:gd name="connsiteX1" fmla="*/ 125786 w 139545"/>
                  <a:gd name="connsiteY1" fmla="*/ 19515 h 174254"/>
                  <a:gd name="connsiteX2" fmla="*/ 89935 w 139545"/>
                  <a:gd name="connsiteY2" fmla="*/ 37299 h 174254"/>
                  <a:gd name="connsiteX3" fmla="*/ 36593 w 139545"/>
                  <a:gd name="connsiteY3" fmla="*/ 37299 h 174254"/>
                  <a:gd name="connsiteX4" fmla="*/ 0 w 139545"/>
                  <a:gd name="connsiteY4" fmla="*/ 73880 h 174254"/>
                  <a:gd name="connsiteX5" fmla="*/ 0 w 139545"/>
                  <a:gd name="connsiteY5" fmla="*/ 137662 h 174254"/>
                  <a:gd name="connsiteX6" fmla="*/ 28201 w 139545"/>
                  <a:gd name="connsiteY6" fmla="*/ 174255 h 1742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39545" h="174254">
                    <a:moveTo>
                      <a:pt x="139545" y="0"/>
                    </a:moveTo>
                    <a:lnTo>
                      <a:pt x="125786" y="19515"/>
                    </a:lnTo>
                    <a:cubicBezTo>
                      <a:pt x="119983" y="29578"/>
                      <a:pt x="104223" y="37299"/>
                      <a:pt x="89935" y="37299"/>
                    </a:cubicBezTo>
                    <a:lnTo>
                      <a:pt x="36593" y="37299"/>
                    </a:lnTo>
                    <a:cubicBezTo>
                      <a:pt x="16455" y="37299"/>
                      <a:pt x="0" y="53754"/>
                      <a:pt x="0" y="73880"/>
                    </a:cubicBezTo>
                    <a:lnTo>
                      <a:pt x="0" y="137662"/>
                    </a:lnTo>
                    <a:cubicBezTo>
                      <a:pt x="0" y="157789"/>
                      <a:pt x="8074" y="174255"/>
                      <a:pt x="28201" y="174255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384" name="Forma livre: Forma 2383">
                <a:extLst>
                  <a:ext uri="{FF2B5EF4-FFF2-40B4-BE49-F238E27FC236}">
                    <a16:creationId xmlns:a16="http://schemas.microsoft.com/office/drawing/2014/main" id="{CF8D4CE6-9C34-5883-5781-54A1096A1C02}"/>
                  </a:ext>
                </a:extLst>
              </p:cNvPr>
              <p:cNvSpPr/>
              <p:nvPr/>
            </p:nvSpPr>
            <p:spPr>
              <a:xfrm>
                <a:off x="10631520" y="5826152"/>
                <a:ext cx="75528" cy="154716"/>
              </a:xfrm>
              <a:custGeom>
                <a:avLst/>
                <a:gdLst>
                  <a:gd name="connsiteX0" fmla="*/ 0 w 75528"/>
                  <a:gd name="connsiteY0" fmla="*/ 154717 h 154716"/>
                  <a:gd name="connsiteX1" fmla="*/ 0 w 75528"/>
                  <a:gd name="connsiteY1" fmla="*/ 103858 h 154716"/>
                  <a:gd name="connsiteX2" fmla="*/ 64076 w 75528"/>
                  <a:gd name="connsiteY2" fmla="*/ 28366 h 154716"/>
                  <a:gd name="connsiteX3" fmla="*/ 75528 w 75528"/>
                  <a:gd name="connsiteY3" fmla="*/ 0 h 1547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5528" h="154716">
                    <a:moveTo>
                      <a:pt x="0" y="154717"/>
                    </a:moveTo>
                    <a:lnTo>
                      <a:pt x="0" y="103858"/>
                    </a:lnTo>
                    <a:cubicBezTo>
                      <a:pt x="0" y="103858"/>
                      <a:pt x="37511" y="87592"/>
                      <a:pt x="64076" y="28366"/>
                    </a:cubicBezTo>
                    <a:cubicBezTo>
                      <a:pt x="70714" y="13583"/>
                      <a:pt x="74210" y="7227"/>
                      <a:pt x="75528" y="0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385" name="Forma livre: Forma 2384">
                <a:extLst>
                  <a:ext uri="{FF2B5EF4-FFF2-40B4-BE49-F238E27FC236}">
                    <a16:creationId xmlns:a16="http://schemas.microsoft.com/office/drawing/2014/main" id="{6863B2F7-317A-28F8-341F-D81AD53FA923}"/>
                  </a:ext>
                </a:extLst>
              </p:cNvPr>
              <p:cNvSpPr/>
              <p:nvPr/>
            </p:nvSpPr>
            <p:spPr>
              <a:xfrm>
                <a:off x="10631520" y="6081373"/>
                <a:ext cx="1177" cy="39935"/>
              </a:xfrm>
              <a:custGeom>
                <a:avLst/>
                <a:gdLst>
                  <a:gd name="connsiteX0" fmla="*/ 0 w 1177"/>
                  <a:gd name="connsiteY0" fmla="*/ 39936 h 39935"/>
                  <a:gd name="connsiteX1" fmla="*/ 0 w 1177"/>
                  <a:gd name="connsiteY1" fmla="*/ 0 h 399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77" h="39935">
                    <a:moveTo>
                      <a:pt x="0" y="39936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386" name="Forma livre: Forma 2385">
                <a:extLst>
                  <a:ext uri="{FF2B5EF4-FFF2-40B4-BE49-F238E27FC236}">
                    <a16:creationId xmlns:a16="http://schemas.microsoft.com/office/drawing/2014/main" id="{AC16F71A-A708-041D-82CC-67B34632AA64}"/>
                  </a:ext>
                </a:extLst>
              </p:cNvPr>
              <p:cNvSpPr/>
              <p:nvPr/>
            </p:nvSpPr>
            <p:spPr>
              <a:xfrm>
                <a:off x="10642642" y="5800176"/>
                <a:ext cx="107412" cy="25776"/>
              </a:xfrm>
              <a:custGeom>
                <a:avLst/>
                <a:gdLst>
                  <a:gd name="connsiteX0" fmla="*/ 0 w 107412"/>
                  <a:gd name="connsiteY0" fmla="*/ 0 h 25776"/>
                  <a:gd name="connsiteX1" fmla="*/ 107413 w 107412"/>
                  <a:gd name="connsiteY1" fmla="*/ 0 h 25776"/>
                  <a:gd name="connsiteX2" fmla="*/ 107413 w 107412"/>
                  <a:gd name="connsiteY2" fmla="*/ 25776 h 25776"/>
                  <a:gd name="connsiteX3" fmla="*/ 0 w 107412"/>
                  <a:gd name="connsiteY3" fmla="*/ 25776 h 257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07412" h="25776">
                    <a:moveTo>
                      <a:pt x="0" y="0"/>
                    </a:moveTo>
                    <a:lnTo>
                      <a:pt x="107413" y="0"/>
                    </a:lnTo>
                    <a:lnTo>
                      <a:pt x="107413" y="25776"/>
                    </a:lnTo>
                    <a:lnTo>
                      <a:pt x="0" y="25776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387" name="Forma livre: Forma 2386">
                <a:extLst>
                  <a:ext uri="{FF2B5EF4-FFF2-40B4-BE49-F238E27FC236}">
                    <a16:creationId xmlns:a16="http://schemas.microsoft.com/office/drawing/2014/main" id="{D7D4CF37-BB81-D41F-9E7E-2A9A46608D2B}"/>
                  </a:ext>
                </a:extLst>
              </p:cNvPr>
              <p:cNvSpPr/>
              <p:nvPr/>
            </p:nvSpPr>
            <p:spPr>
              <a:xfrm>
                <a:off x="10642642" y="5774388"/>
                <a:ext cx="107412" cy="25788"/>
              </a:xfrm>
              <a:custGeom>
                <a:avLst/>
                <a:gdLst>
                  <a:gd name="connsiteX0" fmla="*/ 0 w 107412"/>
                  <a:gd name="connsiteY0" fmla="*/ 0 h 25788"/>
                  <a:gd name="connsiteX1" fmla="*/ 107413 w 107412"/>
                  <a:gd name="connsiteY1" fmla="*/ 0 h 25788"/>
                  <a:gd name="connsiteX2" fmla="*/ 107413 w 107412"/>
                  <a:gd name="connsiteY2" fmla="*/ 25788 h 257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07412" h="25788">
                    <a:moveTo>
                      <a:pt x="0" y="0"/>
                    </a:moveTo>
                    <a:lnTo>
                      <a:pt x="107413" y="0"/>
                    </a:lnTo>
                    <a:lnTo>
                      <a:pt x="107413" y="25788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2388" name="Forma livre: Forma 2387">
              <a:extLst>
                <a:ext uri="{FF2B5EF4-FFF2-40B4-BE49-F238E27FC236}">
                  <a16:creationId xmlns:a16="http://schemas.microsoft.com/office/drawing/2014/main" id="{B2E3E786-31DB-AF37-4051-E48655400022}"/>
                </a:ext>
              </a:extLst>
            </p:cNvPr>
            <p:cNvSpPr/>
            <p:nvPr/>
          </p:nvSpPr>
          <p:spPr>
            <a:xfrm>
              <a:off x="10655071" y="6003514"/>
              <a:ext cx="36228" cy="47456"/>
            </a:xfrm>
            <a:custGeom>
              <a:avLst/>
              <a:gdLst>
                <a:gd name="connsiteX0" fmla="*/ 0 w 36228"/>
                <a:gd name="connsiteY0" fmla="*/ 39594 h 47456"/>
                <a:gd name="connsiteX1" fmla="*/ 36228 w 36228"/>
                <a:gd name="connsiteY1" fmla="*/ 47457 h 47456"/>
                <a:gd name="connsiteX2" fmla="*/ 36228 w 36228"/>
                <a:gd name="connsiteY2" fmla="*/ 0 h 474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6228" h="47456">
                  <a:moveTo>
                    <a:pt x="0" y="39594"/>
                  </a:moveTo>
                  <a:lnTo>
                    <a:pt x="36228" y="47457"/>
                  </a:lnTo>
                  <a:lnTo>
                    <a:pt x="36228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2389" name="Gráfico 19">
            <a:extLst>
              <a:ext uri="{FF2B5EF4-FFF2-40B4-BE49-F238E27FC236}">
                <a16:creationId xmlns:a16="http://schemas.microsoft.com/office/drawing/2014/main" id="{524670DF-2C72-4644-83D1-A8CAD8ECA76E}"/>
              </a:ext>
            </a:extLst>
          </p:cNvPr>
          <p:cNvGrpSpPr/>
          <p:nvPr/>
        </p:nvGrpSpPr>
        <p:grpSpPr>
          <a:xfrm>
            <a:off x="10488514" y="4741829"/>
            <a:ext cx="314376" cy="313670"/>
            <a:chOff x="10488514" y="4741829"/>
            <a:chExt cx="314376" cy="313670"/>
          </a:xfrm>
          <a:noFill/>
        </p:grpSpPr>
        <p:grpSp>
          <p:nvGrpSpPr>
            <p:cNvPr id="2390" name="Gráfico 19">
              <a:extLst>
                <a:ext uri="{FF2B5EF4-FFF2-40B4-BE49-F238E27FC236}">
                  <a16:creationId xmlns:a16="http://schemas.microsoft.com/office/drawing/2014/main" id="{72360BC3-3629-4BEE-38A1-99E595BEDAF6}"/>
                </a:ext>
              </a:extLst>
            </p:cNvPr>
            <p:cNvGrpSpPr/>
            <p:nvPr/>
          </p:nvGrpSpPr>
          <p:grpSpPr>
            <a:xfrm>
              <a:off x="10488514" y="4807092"/>
              <a:ext cx="248574" cy="248407"/>
              <a:chOff x="10488514" y="4807092"/>
              <a:chExt cx="248574" cy="248407"/>
            </a:xfrm>
            <a:noFill/>
          </p:grpSpPr>
          <p:sp>
            <p:nvSpPr>
              <p:cNvPr id="2391" name="Forma livre: Forma 2390">
                <a:extLst>
                  <a:ext uri="{FF2B5EF4-FFF2-40B4-BE49-F238E27FC236}">
                    <a16:creationId xmlns:a16="http://schemas.microsoft.com/office/drawing/2014/main" id="{A59E420E-0BD3-801B-6EE0-C06053A68E61}"/>
                  </a:ext>
                </a:extLst>
              </p:cNvPr>
              <p:cNvSpPr/>
              <p:nvPr/>
            </p:nvSpPr>
            <p:spPr>
              <a:xfrm>
                <a:off x="10665794" y="5006737"/>
                <a:ext cx="51540" cy="34544"/>
              </a:xfrm>
              <a:custGeom>
                <a:avLst/>
                <a:gdLst>
                  <a:gd name="connsiteX0" fmla="*/ 51541 w 51540"/>
                  <a:gd name="connsiteY0" fmla="*/ 34545 h 34544"/>
                  <a:gd name="connsiteX1" fmla="*/ 0 w 51540"/>
                  <a:gd name="connsiteY1" fmla="*/ 0 h 345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1540" h="34544">
                    <a:moveTo>
                      <a:pt x="51541" y="34545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392" name="Forma livre: Forma 2391">
                <a:extLst>
                  <a:ext uri="{FF2B5EF4-FFF2-40B4-BE49-F238E27FC236}">
                    <a16:creationId xmlns:a16="http://schemas.microsoft.com/office/drawing/2014/main" id="{5C3B622E-D9CF-1847-CBDF-C08F922931F1}"/>
                  </a:ext>
                </a:extLst>
              </p:cNvPr>
              <p:cNvSpPr/>
              <p:nvPr/>
            </p:nvSpPr>
            <p:spPr>
              <a:xfrm>
                <a:off x="10488514" y="4807092"/>
                <a:ext cx="248574" cy="248407"/>
              </a:xfrm>
              <a:custGeom>
                <a:avLst/>
                <a:gdLst>
                  <a:gd name="connsiteX0" fmla="*/ 48151 w 248574"/>
                  <a:gd name="connsiteY0" fmla="*/ 71458 h 248407"/>
                  <a:gd name="connsiteX1" fmla="*/ 13912 w 248574"/>
                  <a:gd name="connsiteY1" fmla="*/ 20058 h 248407"/>
                  <a:gd name="connsiteX2" fmla="*/ 10275 w 248574"/>
                  <a:gd name="connsiteY2" fmla="*/ 23389 h 248407"/>
                  <a:gd name="connsiteX3" fmla="*/ 271 w 248574"/>
                  <a:gd name="connsiteY3" fmla="*/ 44858 h 248407"/>
                  <a:gd name="connsiteX4" fmla="*/ 78330 w 248574"/>
                  <a:gd name="connsiteY4" fmla="*/ 170208 h 248407"/>
                  <a:gd name="connsiteX5" fmla="*/ 203786 w 248574"/>
                  <a:gd name="connsiteY5" fmla="*/ 248137 h 248407"/>
                  <a:gd name="connsiteX6" fmla="*/ 225243 w 248574"/>
                  <a:gd name="connsiteY6" fmla="*/ 238109 h 248407"/>
                  <a:gd name="connsiteX7" fmla="*/ 228797 w 248574"/>
                  <a:gd name="connsiteY7" fmla="*/ 234190 h 248407"/>
                  <a:gd name="connsiteX8" fmla="*/ 248465 w 248574"/>
                  <a:gd name="connsiteY8" fmla="*/ 205542 h 248407"/>
                  <a:gd name="connsiteX9" fmla="*/ 242368 w 248574"/>
                  <a:gd name="connsiteY9" fmla="*/ 193748 h 248407"/>
                  <a:gd name="connsiteX10" fmla="*/ 197301 w 248574"/>
                  <a:gd name="connsiteY10" fmla="*/ 163735 h 248407"/>
                  <a:gd name="connsiteX11" fmla="*/ 178351 w 248574"/>
                  <a:gd name="connsiteY11" fmla="*/ 162675 h 248407"/>
                  <a:gd name="connsiteX12" fmla="*/ 151174 w 248574"/>
                  <a:gd name="connsiteY12" fmla="*/ 177706 h 248407"/>
                  <a:gd name="connsiteX13" fmla="*/ 108802 w 248574"/>
                  <a:gd name="connsiteY13" fmla="*/ 139688 h 248407"/>
                  <a:gd name="connsiteX14" fmla="*/ 70726 w 248574"/>
                  <a:gd name="connsiteY14" fmla="*/ 97363 h 248407"/>
                  <a:gd name="connsiteX15" fmla="*/ 85733 w 248574"/>
                  <a:gd name="connsiteY15" fmla="*/ 70187 h 248407"/>
                  <a:gd name="connsiteX16" fmla="*/ 84650 w 248574"/>
                  <a:gd name="connsiteY16" fmla="*/ 51225 h 248407"/>
                  <a:gd name="connsiteX17" fmla="*/ 54578 w 248574"/>
                  <a:gd name="connsiteY17" fmla="*/ 6181 h 248407"/>
                  <a:gd name="connsiteX18" fmla="*/ 42784 w 248574"/>
                  <a:gd name="connsiteY18" fmla="*/ 108 h 248407"/>
                  <a:gd name="connsiteX19" fmla="*/ 27613 w 248574"/>
                  <a:gd name="connsiteY19" fmla="*/ 8594 h 2484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248574" h="248407">
                    <a:moveTo>
                      <a:pt x="48151" y="71458"/>
                    </a:moveTo>
                    <a:lnTo>
                      <a:pt x="13912" y="20058"/>
                    </a:lnTo>
                    <a:cubicBezTo>
                      <a:pt x="11676" y="22071"/>
                      <a:pt x="10275" y="23389"/>
                      <a:pt x="10275" y="23389"/>
                    </a:cubicBezTo>
                    <a:cubicBezTo>
                      <a:pt x="-2589" y="34841"/>
                      <a:pt x="271" y="44858"/>
                      <a:pt x="271" y="44858"/>
                    </a:cubicBezTo>
                    <a:cubicBezTo>
                      <a:pt x="8957" y="106085"/>
                      <a:pt x="73410" y="165076"/>
                      <a:pt x="78330" y="170208"/>
                    </a:cubicBezTo>
                    <a:cubicBezTo>
                      <a:pt x="84980" y="176387"/>
                      <a:pt x="142547" y="239522"/>
                      <a:pt x="203786" y="248137"/>
                    </a:cubicBezTo>
                    <a:cubicBezTo>
                      <a:pt x="203786" y="248137"/>
                      <a:pt x="213802" y="250997"/>
                      <a:pt x="225243" y="238109"/>
                    </a:cubicBezTo>
                    <a:lnTo>
                      <a:pt x="228797" y="234190"/>
                    </a:lnTo>
                    <a:cubicBezTo>
                      <a:pt x="233199" y="228375"/>
                      <a:pt x="248324" y="208814"/>
                      <a:pt x="248465" y="205542"/>
                    </a:cubicBezTo>
                    <a:cubicBezTo>
                      <a:pt x="248465" y="205542"/>
                      <a:pt x="249901" y="199115"/>
                      <a:pt x="242368" y="193748"/>
                    </a:cubicBezTo>
                    <a:lnTo>
                      <a:pt x="197301" y="163735"/>
                    </a:lnTo>
                    <a:cubicBezTo>
                      <a:pt x="197301" y="163735"/>
                      <a:pt x="189427" y="156578"/>
                      <a:pt x="178351" y="162675"/>
                    </a:cubicBezTo>
                    <a:lnTo>
                      <a:pt x="151174" y="177706"/>
                    </a:lnTo>
                    <a:cubicBezTo>
                      <a:pt x="151174" y="177706"/>
                      <a:pt x="123915" y="156072"/>
                      <a:pt x="108802" y="139688"/>
                    </a:cubicBezTo>
                    <a:cubicBezTo>
                      <a:pt x="92407" y="124599"/>
                      <a:pt x="70726" y="97363"/>
                      <a:pt x="70726" y="97363"/>
                    </a:cubicBezTo>
                    <a:lnTo>
                      <a:pt x="85733" y="70187"/>
                    </a:lnTo>
                    <a:cubicBezTo>
                      <a:pt x="91806" y="59099"/>
                      <a:pt x="84650" y="51225"/>
                      <a:pt x="84650" y="51225"/>
                    </a:cubicBezTo>
                    <a:lnTo>
                      <a:pt x="54578" y="6181"/>
                    </a:lnTo>
                    <a:cubicBezTo>
                      <a:pt x="49222" y="-1316"/>
                      <a:pt x="42784" y="108"/>
                      <a:pt x="42784" y="108"/>
                    </a:cubicBezTo>
                    <a:cubicBezTo>
                      <a:pt x="39465" y="249"/>
                      <a:pt x="33521" y="4086"/>
                      <a:pt x="27613" y="8594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2393" name="Forma livre: Forma 2392">
              <a:extLst>
                <a:ext uri="{FF2B5EF4-FFF2-40B4-BE49-F238E27FC236}">
                  <a16:creationId xmlns:a16="http://schemas.microsoft.com/office/drawing/2014/main" id="{9F60C009-A98D-6DE9-8495-A255FB451633}"/>
                </a:ext>
              </a:extLst>
            </p:cNvPr>
            <p:cNvSpPr/>
            <p:nvPr/>
          </p:nvSpPr>
          <p:spPr>
            <a:xfrm>
              <a:off x="10602495" y="4814179"/>
              <a:ext cx="49881" cy="83343"/>
            </a:xfrm>
            <a:custGeom>
              <a:avLst/>
              <a:gdLst>
                <a:gd name="connsiteX0" fmla="*/ 0 w 49881"/>
                <a:gd name="connsiteY0" fmla="*/ 0 h 83343"/>
                <a:gd name="connsiteX1" fmla="*/ 49881 w 49881"/>
                <a:gd name="connsiteY1" fmla="*/ 0 h 83343"/>
                <a:gd name="connsiteX2" fmla="*/ 15148 w 49881"/>
                <a:gd name="connsiteY2" fmla="*/ 83343 h 833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9881" h="83343">
                  <a:moveTo>
                    <a:pt x="0" y="0"/>
                  </a:moveTo>
                  <a:lnTo>
                    <a:pt x="49881" y="0"/>
                  </a:lnTo>
                  <a:lnTo>
                    <a:pt x="15148" y="83343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394" name="Forma livre: Forma 2393">
              <a:extLst>
                <a:ext uri="{FF2B5EF4-FFF2-40B4-BE49-F238E27FC236}">
                  <a16:creationId xmlns:a16="http://schemas.microsoft.com/office/drawing/2014/main" id="{D16C4F4B-8EF4-5D2B-08B9-B7C827FCF0F8}"/>
                </a:ext>
              </a:extLst>
            </p:cNvPr>
            <p:cNvSpPr/>
            <p:nvPr/>
          </p:nvSpPr>
          <p:spPr>
            <a:xfrm>
              <a:off x="10637510" y="4798160"/>
              <a:ext cx="49881" cy="125009"/>
            </a:xfrm>
            <a:custGeom>
              <a:avLst/>
              <a:gdLst>
                <a:gd name="connsiteX0" fmla="*/ 49881 w 49881"/>
                <a:gd name="connsiteY0" fmla="*/ 0 h 125009"/>
                <a:gd name="connsiteX1" fmla="*/ 0 w 49881"/>
                <a:gd name="connsiteY1" fmla="*/ 125009 h 1250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9881" h="125009">
                  <a:moveTo>
                    <a:pt x="49881" y="0"/>
                  </a:moveTo>
                  <a:lnTo>
                    <a:pt x="0" y="125009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2395" name="Gráfico 19">
              <a:extLst>
                <a:ext uri="{FF2B5EF4-FFF2-40B4-BE49-F238E27FC236}">
                  <a16:creationId xmlns:a16="http://schemas.microsoft.com/office/drawing/2014/main" id="{B3B2655F-9A58-DF8C-C95A-2DA0D3C5CBA4}"/>
                </a:ext>
              </a:extLst>
            </p:cNvPr>
            <p:cNvGrpSpPr/>
            <p:nvPr/>
          </p:nvGrpSpPr>
          <p:grpSpPr>
            <a:xfrm>
              <a:off x="10689451" y="4845264"/>
              <a:ext cx="78129" cy="52258"/>
              <a:chOff x="10689451" y="4845264"/>
              <a:chExt cx="78129" cy="52258"/>
            </a:xfrm>
            <a:noFill/>
          </p:grpSpPr>
          <p:sp>
            <p:nvSpPr>
              <p:cNvPr id="2396" name="Forma livre: Forma 2395">
                <a:extLst>
                  <a:ext uri="{FF2B5EF4-FFF2-40B4-BE49-F238E27FC236}">
                    <a16:creationId xmlns:a16="http://schemas.microsoft.com/office/drawing/2014/main" id="{1BACCE35-E40A-CECE-C19B-17FCCCA39890}"/>
                  </a:ext>
                </a:extLst>
              </p:cNvPr>
              <p:cNvSpPr/>
              <p:nvPr/>
            </p:nvSpPr>
            <p:spPr>
              <a:xfrm>
                <a:off x="10689451" y="4845264"/>
                <a:ext cx="27094" cy="52258"/>
              </a:xfrm>
              <a:custGeom>
                <a:avLst/>
                <a:gdLst>
                  <a:gd name="connsiteX0" fmla="*/ 27095 w 27094"/>
                  <a:gd name="connsiteY0" fmla="*/ 52259 h 52258"/>
                  <a:gd name="connsiteX1" fmla="*/ 7580 w 27094"/>
                  <a:gd name="connsiteY1" fmla="*/ 52259 h 52258"/>
                  <a:gd name="connsiteX2" fmla="*/ 0 w 27094"/>
                  <a:gd name="connsiteY2" fmla="*/ 44679 h 52258"/>
                  <a:gd name="connsiteX3" fmla="*/ 0 w 27094"/>
                  <a:gd name="connsiteY3" fmla="*/ 33709 h 52258"/>
                  <a:gd name="connsiteX4" fmla="*/ 7580 w 27094"/>
                  <a:gd name="connsiteY4" fmla="*/ 26129 h 52258"/>
                  <a:gd name="connsiteX5" fmla="*/ 19515 w 27094"/>
                  <a:gd name="connsiteY5" fmla="*/ 26129 h 52258"/>
                  <a:gd name="connsiteX6" fmla="*/ 27095 w 27094"/>
                  <a:gd name="connsiteY6" fmla="*/ 18550 h 52258"/>
                  <a:gd name="connsiteX7" fmla="*/ 27095 w 27094"/>
                  <a:gd name="connsiteY7" fmla="*/ 7580 h 52258"/>
                  <a:gd name="connsiteX8" fmla="*/ 19515 w 27094"/>
                  <a:gd name="connsiteY8" fmla="*/ 0 h 52258"/>
                  <a:gd name="connsiteX9" fmla="*/ 2272 w 27094"/>
                  <a:gd name="connsiteY9" fmla="*/ 0 h 522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7094" h="52258">
                    <a:moveTo>
                      <a:pt x="27095" y="52259"/>
                    </a:moveTo>
                    <a:lnTo>
                      <a:pt x="7580" y="52259"/>
                    </a:lnTo>
                    <a:cubicBezTo>
                      <a:pt x="3413" y="52259"/>
                      <a:pt x="0" y="48846"/>
                      <a:pt x="0" y="44679"/>
                    </a:cubicBezTo>
                    <a:lnTo>
                      <a:pt x="0" y="33709"/>
                    </a:lnTo>
                    <a:cubicBezTo>
                      <a:pt x="0" y="29543"/>
                      <a:pt x="3413" y="26129"/>
                      <a:pt x="7580" y="26129"/>
                    </a:cubicBezTo>
                    <a:lnTo>
                      <a:pt x="19515" y="26129"/>
                    </a:lnTo>
                    <a:cubicBezTo>
                      <a:pt x="23681" y="26129"/>
                      <a:pt x="27095" y="22716"/>
                      <a:pt x="27095" y="18550"/>
                    </a:cubicBezTo>
                    <a:lnTo>
                      <a:pt x="27095" y="7580"/>
                    </a:lnTo>
                    <a:cubicBezTo>
                      <a:pt x="27095" y="3413"/>
                      <a:pt x="23681" y="0"/>
                      <a:pt x="19515" y="0"/>
                    </a:cubicBezTo>
                    <a:lnTo>
                      <a:pt x="2272" y="0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397" name="Forma livre: Forma 2396">
                <a:extLst>
                  <a:ext uri="{FF2B5EF4-FFF2-40B4-BE49-F238E27FC236}">
                    <a16:creationId xmlns:a16="http://schemas.microsoft.com/office/drawing/2014/main" id="{CBB4637B-78B4-641B-2AD7-8A073BC478F2}"/>
                  </a:ext>
                </a:extLst>
              </p:cNvPr>
              <p:cNvSpPr/>
              <p:nvPr/>
            </p:nvSpPr>
            <p:spPr>
              <a:xfrm>
                <a:off x="10731447" y="4845276"/>
                <a:ext cx="36133" cy="52247"/>
              </a:xfrm>
              <a:custGeom>
                <a:avLst/>
                <a:gdLst>
                  <a:gd name="connsiteX0" fmla="*/ 25659 w 36133"/>
                  <a:gd name="connsiteY0" fmla="*/ 52247 h 52247"/>
                  <a:gd name="connsiteX1" fmla="*/ 25659 w 36133"/>
                  <a:gd name="connsiteY1" fmla="*/ 0 h 52247"/>
                  <a:gd name="connsiteX2" fmla="*/ 0 w 36133"/>
                  <a:gd name="connsiteY2" fmla="*/ 38653 h 52247"/>
                  <a:gd name="connsiteX3" fmla="*/ 36134 w 36133"/>
                  <a:gd name="connsiteY3" fmla="*/ 38653 h 522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6133" h="52247">
                    <a:moveTo>
                      <a:pt x="25659" y="52247"/>
                    </a:moveTo>
                    <a:lnTo>
                      <a:pt x="25659" y="0"/>
                    </a:lnTo>
                    <a:lnTo>
                      <a:pt x="0" y="38653"/>
                    </a:lnTo>
                    <a:lnTo>
                      <a:pt x="36134" y="38653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2398" name="Forma livre: Forma 2397">
              <a:extLst>
                <a:ext uri="{FF2B5EF4-FFF2-40B4-BE49-F238E27FC236}">
                  <a16:creationId xmlns:a16="http://schemas.microsoft.com/office/drawing/2014/main" id="{967B1E98-C71E-F482-4E42-1857687B6044}"/>
                </a:ext>
              </a:extLst>
            </p:cNvPr>
            <p:cNvSpPr/>
            <p:nvPr/>
          </p:nvSpPr>
          <p:spPr>
            <a:xfrm>
              <a:off x="10568291" y="4741829"/>
              <a:ext cx="234599" cy="234328"/>
            </a:xfrm>
            <a:custGeom>
              <a:avLst/>
              <a:gdLst>
                <a:gd name="connsiteX0" fmla="*/ 0 w 234599"/>
                <a:gd name="connsiteY0" fmla="*/ 65535 h 234328"/>
                <a:gd name="connsiteX1" fmla="*/ 109838 w 234599"/>
                <a:gd name="connsiteY1" fmla="*/ 0 h 234328"/>
                <a:gd name="connsiteX2" fmla="*/ 234600 w 234599"/>
                <a:gd name="connsiteY2" fmla="*/ 124762 h 234328"/>
                <a:gd name="connsiteX3" fmla="*/ 169559 w 234599"/>
                <a:gd name="connsiteY3" fmla="*/ 234329 h 2343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4599" h="234328">
                  <a:moveTo>
                    <a:pt x="0" y="65535"/>
                  </a:moveTo>
                  <a:cubicBezTo>
                    <a:pt x="21092" y="26506"/>
                    <a:pt x="62369" y="0"/>
                    <a:pt x="109838" y="0"/>
                  </a:cubicBezTo>
                  <a:cubicBezTo>
                    <a:pt x="178739" y="0"/>
                    <a:pt x="234600" y="55860"/>
                    <a:pt x="234600" y="124762"/>
                  </a:cubicBezTo>
                  <a:cubicBezTo>
                    <a:pt x="234600" y="172030"/>
                    <a:pt x="208317" y="213155"/>
                    <a:pt x="169559" y="234329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2399" name="Gráfico 19">
            <a:extLst>
              <a:ext uri="{FF2B5EF4-FFF2-40B4-BE49-F238E27FC236}">
                <a16:creationId xmlns:a16="http://schemas.microsoft.com/office/drawing/2014/main" id="{20B22526-ABFA-A4AB-1595-80EC6B765A25}"/>
              </a:ext>
            </a:extLst>
          </p:cNvPr>
          <p:cNvGrpSpPr/>
          <p:nvPr/>
        </p:nvGrpSpPr>
        <p:grpSpPr>
          <a:xfrm>
            <a:off x="10483747" y="3685436"/>
            <a:ext cx="323922" cy="328065"/>
            <a:chOff x="10483747" y="3685436"/>
            <a:chExt cx="323922" cy="328065"/>
          </a:xfrm>
          <a:noFill/>
        </p:grpSpPr>
        <p:sp>
          <p:nvSpPr>
            <p:cNvPr id="2400" name="Forma livre: Forma 2399">
              <a:extLst>
                <a:ext uri="{FF2B5EF4-FFF2-40B4-BE49-F238E27FC236}">
                  <a16:creationId xmlns:a16="http://schemas.microsoft.com/office/drawing/2014/main" id="{2A9C7206-EE8F-B630-B7B7-35DF0D213D11}"/>
                </a:ext>
              </a:extLst>
            </p:cNvPr>
            <p:cNvSpPr/>
            <p:nvPr/>
          </p:nvSpPr>
          <p:spPr>
            <a:xfrm>
              <a:off x="10659626" y="3883243"/>
              <a:ext cx="50552" cy="71114"/>
            </a:xfrm>
            <a:custGeom>
              <a:avLst/>
              <a:gdLst>
                <a:gd name="connsiteX0" fmla="*/ 0 w 50552"/>
                <a:gd name="connsiteY0" fmla="*/ 71114 h 71114"/>
                <a:gd name="connsiteX1" fmla="*/ 50552 w 50552"/>
                <a:gd name="connsiteY1" fmla="*/ 0 h 71114"/>
                <a:gd name="connsiteX2" fmla="*/ 19103 w 50552"/>
                <a:gd name="connsiteY2" fmla="*/ 0 h 711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50552" h="71114">
                  <a:moveTo>
                    <a:pt x="0" y="71114"/>
                  </a:moveTo>
                  <a:lnTo>
                    <a:pt x="50552" y="0"/>
                  </a:lnTo>
                  <a:lnTo>
                    <a:pt x="19103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401" name="Forma livre: Forma 2400">
              <a:extLst>
                <a:ext uri="{FF2B5EF4-FFF2-40B4-BE49-F238E27FC236}">
                  <a16:creationId xmlns:a16="http://schemas.microsoft.com/office/drawing/2014/main" id="{54960DF6-1515-1D9B-6F3E-DEC5BDD63A88}"/>
                </a:ext>
              </a:extLst>
            </p:cNvPr>
            <p:cNvSpPr/>
            <p:nvPr/>
          </p:nvSpPr>
          <p:spPr>
            <a:xfrm>
              <a:off x="10551154" y="3881477"/>
              <a:ext cx="84179" cy="83425"/>
            </a:xfrm>
            <a:custGeom>
              <a:avLst/>
              <a:gdLst>
                <a:gd name="connsiteX0" fmla="*/ 34804 w 84179"/>
                <a:gd name="connsiteY0" fmla="*/ 0 h 83425"/>
                <a:gd name="connsiteX1" fmla="*/ 0 w 84179"/>
                <a:gd name="connsiteY1" fmla="*/ 83426 h 83425"/>
                <a:gd name="connsiteX2" fmla="*/ 84179 w 84179"/>
                <a:gd name="connsiteY2" fmla="*/ 83426 h 834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84179" h="83425">
                  <a:moveTo>
                    <a:pt x="34804" y="0"/>
                  </a:moveTo>
                  <a:lnTo>
                    <a:pt x="0" y="83426"/>
                  </a:lnTo>
                  <a:lnTo>
                    <a:pt x="84179" y="83426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402" name="Forma livre: Forma 2401">
              <a:extLst>
                <a:ext uri="{FF2B5EF4-FFF2-40B4-BE49-F238E27FC236}">
                  <a16:creationId xmlns:a16="http://schemas.microsoft.com/office/drawing/2014/main" id="{1D567D8E-97BF-5B95-3B1C-5CF185259F10}"/>
                </a:ext>
              </a:extLst>
            </p:cNvPr>
            <p:cNvSpPr/>
            <p:nvPr/>
          </p:nvSpPr>
          <p:spPr>
            <a:xfrm>
              <a:off x="10686709" y="3840459"/>
              <a:ext cx="71785" cy="123632"/>
            </a:xfrm>
            <a:custGeom>
              <a:avLst/>
              <a:gdLst>
                <a:gd name="connsiteX0" fmla="*/ 51906 w 71785"/>
                <a:gd name="connsiteY0" fmla="*/ 34663 h 123632"/>
                <a:gd name="connsiteX1" fmla="*/ 71785 w 71785"/>
                <a:gd name="connsiteY1" fmla="*/ 17349 h 123632"/>
                <a:gd name="connsiteX2" fmla="*/ 51906 w 71785"/>
                <a:gd name="connsiteY2" fmla="*/ 35 h 123632"/>
                <a:gd name="connsiteX3" fmla="*/ 0 w 71785"/>
                <a:gd name="connsiteY3" fmla="*/ 0 h 123632"/>
                <a:gd name="connsiteX4" fmla="*/ 70173 w 71785"/>
                <a:gd name="connsiteY4" fmla="*/ 123632 h 1236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785" h="123632">
                  <a:moveTo>
                    <a:pt x="51906" y="34663"/>
                  </a:moveTo>
                  <a:cubicBezTo>
                    <a:pt x="62840" y="34663"/>
                    <a:pt x="71785" y="27153"/>
                    <a:pt x="71785" y="17349"/>
                  </a:cubicBezTo>
                  <a:cubicBezTo>
                    <a:pt x="71785" y="7545"/>
                    <a:pt x="62840" y="35"/>
                    <a:pt x="51906" y="35"/>
                  </a:cubicBezTo>
                  <a:lnTo>
                    <a:pt x="0" y="0"/>
                  </a:lnTo>
                  <a:lnTo>
                    <a:pt x="70173" y="123632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403" name="Forma livre: Forma 2402">
              <a:extLst>
                <a:ext uri="{FF2B5EF4-FFF2-40B4-BE49-F238E27FC236}">
                  <a16:creationId xmlns:a16="http://schemas.microsoft.com/office/drawing/2014/main" id="{F7D131DB-9C73-5A37-D906-18225347129D}"/>
                </a:ext>
              </a:extLst>
            </p:cNvPr>
            <p:cNvSpPr/>
            <p:nvPr/>
          </p:nvSpPr>
          <p:spPr>
            <a:xfrm>
              <a:off x="10653977" y="3698536"/>
              <a:ext cx="49822" cy="49834"/>
            </a:xfrm>
            <a:custGeom>
              <a:avLst/>
              <a:gdLst>
                <a:gd name="connsiteX0" fmla="*/ 0 w 49822"/>
                <a:gd name="connsiteY0" fmla="*/ 24917 h 49834"/>
                <a:gd name="connsiteX1" fmla="*/ 24917 w 49822"/>
                <a:gd name="connsiteY1" fmla="*/ 49834 h 49834"/>
                <a:gd name="connsiteX2" fmla="*/ 49822 w 49822"/>
                <a:gd name="connsiteY2" fmla="*/ 24917 h 49834"/>
                <a:gd name="connsiteX3" fmla="*/ 24917 w 49822"/>
                <a:gd name="connsiteY3" fmla="*/ 0 h 49834"/>
                <a:gd name="connsiteX4" fmla="*/ 0 w 49822"/>
                <a:gd name="connsiteY4" fmla="*/ 24917 h 498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9822" h="49834">
                  <a:moveTo>
                    <a:pt x="0" y="24917"/>
                  </a:moveTo>
                  <a:cubicBezTo>
                    <a:pt x="0" y="38676"/>
                    <a:pt x="11158" y="49834"/>
                    <a:pt x="24917" y="49834"/>
                  </a:cubicBezTo>
                  <a:cubicBezTo>
                    <a:pt x="38676" y="49834"/>
                    <a:pt x="49822" y="38676"/>
                    <a:pt x="49822" y="24917"/>
                  </a:cubicBezTo>
                  <a:cubicBezTo>
                    <a:pt x="49822" y="11158"/>
                    <a:pt x="38676" y="0"/>
                    <a:pt x="24917" y="0"/>
                  </a:cubicBezTo>
                  <a:cubicBezTo>
                    <a:pt x="11158" y="0"/>
                    <a:pt x="0" y="11158"/>
                    <a:pt x="0" y="24917"/>
                  </a:cubicBez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404" name="Forma livre: Forma 2403">
              <a:extLst>
                <a:ext uri="{FF2B5EF4-FFF2-40B4-BE49-F238E27FC236}">
                  <a16:creationId xmlns:a16="http://schemas.microsoft.com/office/drawing/2014/main" id="{DE7AFB47-4875-9347-7B1C-2B22A74C4B7C}"/>
                </a:ext>
              </a:extLst>
            </p:cNvPr>
            <p:cNvSpPr/>
            <p:nvPr/>
          </p:nvSpPr>
          <p:spPr>
            <a:xfrm>
              <a:off x="10504168" y="3913362"/>
              <a:ext cx="100127" cy="100139"/>
            </a:xfrm>
            <a:custGeom>
              <a:avLst/>
              <a:gdLst>
                <a:gd name="connsiteX0" fmla="*/ 50058 w 100127"/>
                <a:gd name="connsiteY0" fmla="*/ 0 h 100139"/>
                <a:gd name="connsiteX1" fmla="*/ 0 w 100127"/>
                <a:gd name="connsiteY1" fmla="*/ 50070 h 100139"/>
                <a:gd name="connsiteX2" fmla="*/ 50058 w 100127"/>
                <a:gd name="connsiteY2" fmla="*/ 100139 h 100139"/>
                <a:gd name="connsiteX3" fmla="*/ 100127 w 100127"/>
                <a:gd name="connsiteY3" fmla="*/ 50070 h 100139"/>
                <a:gd name="connsiteX4" fmla="*/ 82543 w 100127"/>
                <a:gd name="connsiteY4" fmla="*/ 11970 h 1001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0127" h="100139">
                  <a:moveTo>
                    <a:pt x="50058" y="0"/>
                  </a:moveTo>
                  <a:cubicBezTo>
                    <a:pt x="22410" y="0"/>
                    <a:pt x="0" y="22422"/>
                    <a:pt x="0" y="50070"/>
                  </a:cubicBezTo>
                  <a:cubicBezTo>
                    <a:pt x="0" y="77717"/>
                    <a:pt x="22410" y="100139"/>
                    <a:pt x="50058" y="100139"/>
                  </a:cubicBezTo>
                  <a:cubicBezTo>
                    <a:pt x="77706" y="100139"/>
                    <a:pt x="100127" y="77729"/>
                    <a:pt x="100127" y="50070"/>
                  </a:cubicBezTo>
                  <a:cubicBezTo>
                    <a:pt x="100127" y="34816"/>
                    <a:pt x="93301" y="21151"/>
                    <a:pt x="82543" y="11970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405" name="Forma livre: Forma 2404">
              <a:extLst>
                <a:ext uri="{FF2B5EF4-FFF2-40B4-BE49-F238E27FC236}">
                  <a16:creationId xmlns:a16="http://schemas.microsoft.com/office/drawing/2014/main" id="{E6E21713-B64E-5986-9BB4-5B519F627893}"/>
                </a:ext>
              </a:extLst>
            </p:cNvPr>
            <p:cNvSpPr/>
            <p:nvPr/>
          </p:nvSpPr>
          <p:spPr>
            <a:xfrm>
              <a:off x="10707542" y="3913362"/>
              <a:ext cx="100127" cy="100139"/>
            </a:xfrm>
            <a:custGeom>
              <a:avLst/>
              <a:gdLst>
                <a:gd name="connsiteX0" fmla="*/ 11229 w 100127"/>
                <a:gd name="connsiteY0" fmla="*/ 18455 h 100139"/>
                <a:gd name="connsiteX1" fmla="*/ 0 w 100127"/>
                <a:gd name="connsiteY1" fmla="*/ 50070 h 100139"/>
                <a:gd name="connsiteX2" fmla="*/ 50058 w 100127"/>
                <a:gd name="connsiteY2" fmla="*/ 100139 h 100139"/>
                <a:gd name="connsiteX3" fmla="*/ 100127 w 100127"/>
                <a:gd name="connsiteY3" fmla="*/ 50070 h 100139"/>
                <a:gd name="connsiteX4" fmla="*/ 50058 w 100127"/>
                <a:gd name="connsiteY4" fmla="*/ 0 h 100139"/>
                <a:gd name="connsiteX5" fmla="*/ 42913 w 100127"/>
                <a:gd name="connsiteY5" fmla="*/ 506 h 1001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00127" h="100139">
                  <a:moveTo>
                    <a:pt x="11229" y="18455"/>
                  </a:moveTo>
                  <a:cubicBezTo>
                    <a:pt x="4202" y="27071"/>
                    <a:pt x="0" y="38088"/>
                    <a:pt x="0" y="50070"/>
                  </a:cubicBezTo>
                  <a:cubicBezTo>
                    <a:pt x="0" y="77717"/>
                    <a:pt x="22410" y="100139"/>
                    <a:pt x="50058" y="100139"/>
                  </a:cubicBezTo>
                  <a:cubicBezTo>
                    <a:pt x="77706" y="100139"/>
                    <a:pt x="100127" y="77729"/>
                    <a:pt x="100127" y="50070"/>
                  </a:cubicBezTo>
                  <a:cubicBezTo>
                    <a:pt x="100127" y="22410"/>
                    <a:pt x="77717" y="0"/>
                    <a:pt x="50058" y="0"/>
                  </a:cubicBezTo>
                  <a:cubicBezTo>
                    <a:pt x="47633" y="0"/>
                    <a:pt x="45256" y="165"/>
                    <a:pt x="42913" y="506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406" name="Forma livre: Forma 2405">
              <a:extLst>
                <a:ext uri="{FF2B5EF4-FFF2-40B4-BE49-F238E27FC236}">
                  <a16:creationId xmlns:a16="http://schemas.microsoft.com/office/drawing/2014/main" id="{94558AB0-FA2D-FE64-DE5C-EA269C1FA245}"/>
                </a:ext>
              </a:extLst>
            </p:cNvPr>
            <p:cNvSpPr/>
            <p:nvPr/>
          </p:nvSpPr>
          <p:spPr>
            <a:xfrm>
              <a:off x="10564054" y="3820603"/>
              <a:ext cx="98808" cy="163579"/>
            </a:xfrm>
            <a:custGeom>
              <a:avLst/>
              <a:gdLst>
                <a:gd name="connsiteX0" fmla="*/ 1318 w 98808"/>
                <a:gd name="connsiteY0" fmla="*/ 20833 h 163579"/>
                <a:gd name="connsiteX1" fmla="*/ 16842 w 98808"/>
                <a:gd name="connsiteY1" fmla="*/ 57214 h 163579"/>
                <a:gd name="connsiteX2" fmla="*/ 65229 w 98808"/>
                <a:gd name="connsiteY2" fmla="*/ 83390 h 163579"/>
                <a:gd name="connsiteX3" fmla="*/ 70267 w 98808"/>
                <a:gd name="connsiteY3" fmla="*/ 136344 h 163579"/>
                <a:gd name="connsiteX4" fmla="*/ 94760 w 98808"/>
                <a:gd name="connsiteY4" fmla="*/ 163579 h 163579"/>
                <a:gd name="connsiteX5" fmla="*/ 98809 w 98808"/>
                <a:gd name="connsiteY5" fmla="*/ 77694 h 163579"/>
                <a:gd name="connsiteX6" fmla="*/ 96502 w 98808"/>
                <a:gd name="connsiteY6" fmla="*/ 68066 h 163579"/>
                <a:gd name="connsiteX7" fmla="*/ 91064 w 98808"/>
                <a:gd name="connsiteY7" fmla="*/ 60427 h 163579"/>
                <a:gd name="connsiteX8" fmla="*/ 49116 w 98808"/>
                <a:gd name="connsiteY8" fmla="*/ 28931 h 163579"/>
                <a:gd name="connsiteX9" fmla="*/ 69419 w 98808"/>
                <a:gd name="connsiteY9" fmla="*/ 0 h 1635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98808" h="163579">
                  <a:moveTo>
                    <a:pt x="1318" y="20833"/>
                  </a:moveTo>
                  <a:cubicBezTo>
                    <a:pt x="-1483" y="31261"/>
                    <a:pt x="-1272" y="46338"/>
                    <a:pt x="16842" y="57214"/>
                  </a:cubicBezTo>
                  <a:lnTo>
                    <a:pt x="65229" y="83390"/>
                  </a:lnTo>
                  <a:cubicBezTo>
                    <a:pt x="65229" y="83390"/>
                    <a:pt x="67053" y="111721"/>
                    <a:pt x="70267" y="136344"/>
                  </a:cubicBezTo>
                  <a:cubicBezTo>
                    <a:pt x="74127" y="165945"/>
                    <a:pt x="82037" y="162238"/>
                    <a:pt x="94760" y="163579"/>
                  </a:cubicBezTo>
                  <a:lnTo>
                    <a:pt x="98809" y="77694"/>
                  </a:lnTo>
                  <a:cubicBezTo>
                    <a:pt x="98809" y="77694"/>
                    <a:pt x="98879" y="72715"/>
                    <a:pt x="96502" y="68066"/>
                  </a:cubicBezTo>
                  <a:cubicBezTo>
                    <a:pt x="94101" y="62781"/>
                    <a:pt x="91064" y="60427"/>
                    <a:pt x="91064" y="60427"/>
                  </a:cubicBezTo>
                  <a:lnTo>
                    <a:pt x="49116" y="28931"/>
                  </a:lnTo>
                  <a:lnTo>
                    <a:pt x="69419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407" name="Forma livre: Forma 2406">
              <a:extLst>
                <a:ext uri="{FF2B5EF4-FFF2-40B4-BE49-F238E27FC236}">
                  <a16:creationId xmlns:a16="http://schemas.microsoft.com/office/drawing/2014/main" id="{A306531C-D197-55C5-6827-1BE803E7D090}"/>
                </a:ext>
              </a:extLst>
            </p:cNvPr>
            <p:cNvSpPr/>
            <p:nvPr/>
          </p:nvSpPr>
          <p:spPr>
            <a:xfrm>
              <a:off x="10608144" y="3752555"/>
              <a:ext cx="108154" cy="83135"/>
            </a:xfrm>
            <a:custGeom>
              <a:avLst/>
              <a:gdLst>
                <a:gd name="connsiteX0" fmla="*/ 22669 w 108154"/>
                <a:gd name="connsiteY0" fmla="*/ 42448 h 83135"/>
                <a:gd name="connsiteX1" fmla="*/ 75281 w 108154"/>
                <a:gd name="connsiteY1" fmla="*/ 79088 h 83135"/>
                <a:gd name="connsiteX2" fmla="*/ 108154 w 108154"/>
                <a:gd name="connsiteY2" fmla="*/ 71838 h 83135"/>
                <a:gd name="connsiteX3" fmla="*/ 32579 w 108154"/>
                <a:gd name="connsiteY3" fmla="*/ 4101 h 83135"/>
                <a:gd name="connsiteX4" fmla="*/ 0 w 108154"/>
                <a:gd name="connsiteY4" fmla="*/ 10951 h 83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8154" h="83135">
                  <a:moveTo>
                    <a:pt x="22669" y="42448"/>
                  </a:moveTo>
                  <a:lnTo>
                    <a:pt x="75281" y="79088"/>
                  </a:lnTo>
                  <a:cubicBezTo>
                    <a:pt x="90417" y="84161"/>
                    <a:pt x="103070" y="86974"/>
                    <a:pt x="108154" y="71838"/>
                  </a:cubicBezTo>
                  <a:lnTo>
                    <a:pt x="32579" y="4101"/>
                  </a:lnTo>
                  <a:cubicBezTo>
                    <a:pt x="19067" y="-4538"/>
                    <a:pt x="4626" y="1783"/>
                    <a:pt x="0" y="10951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408" name="Forma livre: Forma 2407">
              <a:extLst>
                <a:ext uri="{FF2B5EF4-FFF2-40B4-BE49-F238E27FC236}">
                  <a16:creationId xmlns:a16="http://schemas.microsoft.com/office/drawing/2014/main" id="{01687080-3925-06FC-201C-C454388F26EE}"/>
                </a:ext>
              </a:extLst>
            </p:cNvPr>
            <p:cNvSpPr/>
            <p:nvPr/>
          </p:nvSpPr>
          <p:spPr>
            <a:xfrm>
              <a:off x="10551072" y="3721594"/>
              <a:ext cx="59238" cy="34156"/>
            </a:xfrm>
            <a:custGeom>
              <a:avLst/>
              <a:gdLst>
                <a:gd name="connsiteX0" fmla="*/ 0 w 59238"/>
                <a:gd name="connsiteY0" fmla="*/ 0 h 34156"/>
                <a:gd name="connsiteX1" fmla="*/ 59238 w 59238"/>
                <a:gd name="connsiteY1" fmla="*/ 34157 h 341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9238" h="34156">
                  <a:moveTo>
                    <a:pt x="0" y="0"/>
                  </a:moveTo>
                  <a:lnTo>
                    <a:pt x="59238" y="34157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409" name="Forma livre: Forma 2408">
              <a:extLst>
                <a:ext uri="{FF2B5EF4-FFF2-40B4-BE49-F238E27FC236}">
                  <a16:creationId xmlns:a16="http://schemas.microsoft.com/office/drawing/2014/main" id="{6C0EEB28-0B6C-0471-2706-12359411E8CA}"/>
                </a:ext>
              </a:extLst>
            </p:cNvPr>
            <p:cNvSpPr/>
            <p:nvPr/>
          </p:nvSpPr>
          <p:spPr>
            <a:xfrm>
              <a:off x="10564866" y="3810163"/>
              <a:ext cx="52129" cy="31225"/>
            </a:xfrm>
            <a:custGeom>
              <a:avLst/>
              <a:gdLst>
                <a:gd name="connsiteX0" fmla="*/ 0 w 52129"/>
                <a:gd name="connsiteY0" fmla="*/ 31226 h 31225"/>
                <a:gd name="connsiteX1" fmla="*/ 52129 w 52129"/>
                <a:gd name="connsiteY1" fmla="*/ 0 h 312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2129" h="31225">
                  <a:moveTo>
                    <a:pt x="0" y="31226"/>
                  </a:moveTo>
                  <a:lnTo>
                    <a:pt x="52129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410" name="Forma livre: Forma 2409">
              <a:extLst>
                <a:ext uri="{FF2B5EF4-FFF2-40B4-BE49-F238E27FC236}">
                  <a16:creationId xmlns:a16="http://schemas.microsoft.com/office/drawing/2014/main" id="{5CD5883A-C596-9313-C725-AC2B74222958}"/>
                </a:ext>
              </a:extLst>
            </p:cNvPr>
            <p:cNvSpPr/>
            <p:nvPr/>
          </p:nvSpPr>
          <p:spPr>
            <a:xfrm>
              <a:off x="10483747" y="3685436"/>
              <a:ext cx="142793" cy="155517"/>
            </a:xfrm>
            <a:custGeom>
              <a:avLst/>
              <a:gdLst>
                <a:gd name="connsiteX0" fmla="*/ 79589 w 142793"/>
                <a:gd name="connsiteY0" fmla="*/ 155517 h 155517"/>
                <a:gd name="connsiteX1" fmla="*/ 0 w 142793"/>
                <a:gd name="connsiteY1" fmla="*/ 109626 h 155517"/>
                <a:gd name="connsiteX2" fmla="*/ 63217 w 142793"/>
                <a:gd name="connsiteY2" fmla="*/ 0 h 155517"/>
                <a:gd name="connsiteX3" fmla="*/ 142794 w 142793"/>
                <a:gd name="connsiteY3" fmla="*/ 45879 h 155517"/>
                <a:gd name="connsiteX4" fmla="*/ 102375 w 142793"/>
                <a:gd name="connsiteY4" fmla="*/ 115993 h 1555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2793" h="155517">
                  <a:moveTo>
                    <a:pt x="79589" y="155517"/>
                  </a:moveTo>
                  <a:lnTo>
                    <a:pt x="0" y="109626"/>
                  </a:lnTo>
                  <a:lnTo>
                    <a:pt x="63217" y="0"/>
                  </a:lnTo>
                  <a:lnTo>
                    <a:pt x="142794" y="45879"/>
                  </a:lnTo>
                  <a:lnTo>
                    <a:pt x="102375" y="115993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2411" name="Gráfico 19">
            <a:extLst>
              <a:ext uri="{FF2B5EF4-FFF2-40B4-BE49-F238E27FC236}">
                <a16:creationId xmlns:a16="http://schemas.microsoft.com/office/drawing/2014/main" id="{21884546-B979-16FD-7BF4-2EC82D59364F}"/>
              </a:ext>
            </a:extLst>
          </p:cNvPr>
          <p:cNvGrpSpPr/>
          <p:nvPr/>
        </p:nvGrpSpPr>
        <p:grpSpPr>
          <a:xfrm>
            <a:off x="10491304" y="4230682"/>
            <a:ext cx="308821" cy="286752"/>
            <a:chOff x="10491304" y="4230682"/>
            <a:chExt cx="308821" cy="286752"/>
          </a:xfrm>
        </p:grpSpPr>
        <p:grpSp>
          <p:nvGrpSpPr>
            <p:cNvPr id="2412" name="Gráfico 19">
              <a:extLst>
                <a:ext uri="{FF2B5EF4-FFF2-40B4-BE49-F238E27FC236}">
                  <a16:creationId xmlns:a16="http://schemas.microsoft.com/office/drawing/2014/main" id="{CEBFB679-5911-D470-72A4-14269CD8601F}"/>
                </a:ext>
              </a:extLst>
            </p:cNvPr>
            <p:cNvGrpSpPr/>
            <p:nvPr/>
          </p:nvGrpSpPr>
          <p:grpSpPr>
            <a:xfrm>
              <a:off x="10491304" y="4230682"/>
              <a:ext cx="308821" cy="286752"/>
              <a:chOff x="10491304" y="4230682"/>
              <a:chExt cx="308821" cy="286752"/>
            </a:xfrm>
            <a:noFill/>
          </p:grpSpPr>
          <p:sp>
            <p:nvSpPr>
              <p:cNvPr id="2413" name="Forma livre: Forma 2412">
                <a:extLst>
                  <a:ext uri="{FF2B5EF4-FFF2-40B4-BE49-F238E27FC236}">
                    <a16:creationId xmlns:a16="http://schemas.microsoft.com/office/drawing/2014/main" id="{9E738480-EC18-A7BB-AAA0-EBDD5C970994}"/>
                  </a:ext>
                </a:extLst>
              </p:cNvPr>
              <p:cNvSpPr/>
              <p:nvPr/>
            </p:nvSpPr>
            <p:spPr>
              <a:xfrm>
                <a:off x="10616831" y="4230682"/>
                <a:ext cx="183294" cy="261788"/>
              </a:xfrm>
              <a:custGeom>
                <a:avLst/>
                <a:gdLst>
                  <a:gd name="connsiteX0" fmla="*/ 76411 w 183294"/>
                  <a:gd name="connsiteY0" fmla="*/ 241944 h 261788"/>
                  <a:gd name="connsiteX1" fmla="*/ 91170 w 183294"/>
                  <a:gd name="connsiteY1" fmla="*/ 261788 h 261788"/>
                  <a:gd name="connsiteX2" fmla="*/ 183294 w 183294"/>
                  <a:gd name="connsiteY2" fmla="*/ 92124 h 261788"/>
                  <a:gd name="connsiteX3" fmla="*/ 91170 w 183294"/>
                  <a:gd name="connsiteY3" fmla="*/ 0 h 261788"/>
                  <a:gd name="connsiteX4" fmla="*/ 0 w 183294"/>
                  <a:gd name="connsiteY4" fmla="*/ 78824 h 2617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83294" h="261788">
                    <a:moveTo>
                      <a:pt x="76411" y="241944"/>
                    </a:moveTo>
                    <a:cubicBezTo>
                      <a:pt x="85250" y="254161"/>
                      <a:pt x="91170" y="261788"/>
                      <a:pt x="91170" y="261788"/>
                    </a:cubicBezTo>
                    <a:cubicBezTo>
                      <a:pt x="91170" y="261788"/>
                      <a:pt x="183294" y="143006"/>
                      <a:pt x="183294" y="92124"/>
                    </a:cubicBezTo>
                    <a:cubicBezTo>
                      <a:pt x="183294" y="41242"/>
                      <a:pt x="142040" y="0"/>
                      <a:pt x="91170" y="0"/>
                    </a:cubicBezTo>
                    <a:cubicBezTo>
                      <a:pt x="44808" y="0"/>
                      <a:pt x="6450" y="34251"/>
                      <a:pt x="0" y="78824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414" name="Forma livre: Forma 2413">
                <a:extLst>
                  <a:ext uri="{FF2B5EF4-FFF2-40B4-BE49-F238E27FC236}">
                    <a16:creationId xmlns:a16="http://schemas.microsoft.com/office/drawing/2014/main" id="{DD4B5AD2-D2BC-CF21-9D2A-CD836E93574A}"/>
                  </a:ext>
                </a:extLst>
              </p:cNvPr>
              <p:cNvSpPr/>
              <p:nvPr/>
            </p:nvSpPr>
            <p:spPr>
              <a:xfrm>
                <a:off x="10491304" y="4517434"/>
                <a:ext cx="236553" cy="1177"/>
              </a:xfrm>
              <a:custGeom>
                <a:avLst/>
                <a:gdLst>
                  <a:gd name="connsiteX0" fmla="*/ 0 w 236553"/>
                  <a:gd name="connsiteY0" fmla="*/ 0 h 1177"/>
                  <a:gd name="connsiteX1" fmla="*/ 236553 w 236553"/>
                  <a:gd name="connsiteY1" fmla="*/ 0 h 11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36553" h="1177">
                    <a:moveTo>
                      <a:pt x="0" y="0"/>
                    </a:moveTo>
                    <a:lnTo>
                      <a:pt x="236553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415" name="Forma livre: Forma 2414">
                <a:extLst>
                  <a:ext uri="{FF2B5EF4-FFF2-40B4-BE49-F238E27FC236}">
                    <a16:creationId xmlns:a16="http://schemas.microsoft.com/office/drawing/2014/main" id="{5D15E047-509E-446D-3C06-7F9BC63B30CD}"/>
                  </a:ext>
                </a:extLst>
              </p:cNvPr>
              <p:cNvSpPr/>
              <p:nvPr/>
            </p:nvSpPr>
            <p:spPr>
              <a:xfrm>
                <a:off x="10749125" y="4517434"/>
                <a:ext cx="14088" cy="1177"/>
              </a:xfrm>
              <a:custGeom>
                <a:avLst/>
                <a:gdLst>
                  <a:gd name="connsiteX0" fmla="*/ 0 w 14088"/>
                  <a:gd name="connsiteY0" fmla="*/ 0 h 1177"/>
                  <a:gd name="connsiteX1" fmla="*/ 14089 w 14088"/>
                  <a:gd name="connsiteY1" fmla="*/ 0 h 11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4088" h="1177">
                    <a:moveTo>
                      <a:pt x="0" y="0"/>
                    </a:moveTo>
                    <a:lnTo>
                      <a:pt x="14089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2416" name="Gráfico 19">
                <a:extLst>
                  <a:ext uri="{FF2B5EF4-FFF2-40B4-BE49-F238E27FC236}">
                    <a16:creationId xmlns:a16="http://schemas.microsoft.com/office/drawing/2014/main" id="{3DE5A0C7-A51B-9540-F585-8C8BF469EEE1}"/>
                  </a:ext>
                </a:extLst>
              </p:cNvPr>
              <p:cNvGrpSpPr/>
              <p:nvPr/>
            </p:nvGrpSpPr>
            <p:grpSpPr>
              <a:xfrm>
                <a:off x="10508193" y="4334246"/>
                <a:ext cx="160684" cy="183082"/>
                <a:chOff x="10508193" y="4334246"/>
                <a:chExt cx="160684" cy="183082"/>
              </a:xfrm>
              <a:noFill/>
            </p:grpSpPr>
            <p:sp>
              <p:nvSpPr>
                <p:cNvPr id="2417" name="Forma livre: Forma 2416">
                  <a:extLst>
                    <a:ext uri="{FF2B5EF4-FFF2-40B4-BE49-F238E27FC236}">
                      <a16:creationId xmlns:a16="http://schemas.microsoft.com/office/drawing/2014/main" id="{4D5E52F1-66E4-295E-EA7C-3DCCCFA07533}"/>
                    </a:ext>
                  </a:extLst>
                </p:cNvPr>
                <p:cNvSpPr/>
                <p:nvPr/>
              </p:nvSpPr>
              <p:spPr>
                <a:xfrm>
                  <a:off x="10624493" y="4380961"/>
                  <a:ext cx="5437" cy="135872"/>
                </a:xfrm>
                <a:custGeom>
                  <a:avLst/>
                  <a:gdLst>
                    <a:gd name="connsiteX0" fmla="*/ 0 w 5437"/>
                    <a:gd name="connsiteY0" fmla="*/ 135873 h 135872"/>
                    <a:gd name="connsiteX1" fmla="*/ 0 w 5437"/>
                    <a:gd name="connsiteY1" fmla="*/ 15207 h 135872"/>
                    <a:gd name="connsiteX2" fmla="*/ 5438 w 5437"/>
                    <a:gd name="connsiteY2" fmla="*/ 0 h 1358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5437" h="135872">
                      <a:moveTo>
                        <a:pt x="0" y="135873"/>
                      </a:moveTo>
                      <a:lnTo>
                        <a:pt x="0" y="15207"/>
                      </a:lnTo>
                      <a:lnTo>
                        <a:pt x="5438" y="0"/>
                      </a:ln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418" name="Forma livre: Forma 2417">
                  <a:extLst>
                    <a:ext uri="{FF2B5EF4-FFF2-40B4-BE49-F238E27FC236}">
                      <a16:creationId xmlns:a16="http://schemas.microsoft.com/office/drawing/2014/main" id="{89160079-B63F-1906-5357-A800E80E64D0}"/>
                    </a:ext>
                  </a:extLst>
                </p:cNvPr>
                <p:cNvSpPr/>
                <p:nvPr/>
              </p:nvSpPr>
              <p:spPr>
                <a:xfrm>
                  <a:off x="10508193" y="4334246"/>
                  <a:ext cx="160684" cy="183082"/>
                </a:xfrm>
                <a:custGeom>
                  <a:avLst/>
                  <a:gdLst>
                    <a:gd name="connsiteX0" fmla="*/ 119936 w 160684"/>
                    <a:gd name="connsiteY0" fmla="*/ 24952 h 183082"/>
                    <a:gd name="connsiteX1" fmla="*/ 0 w 160684"/>
                    <a:gd name="connsiteY1" fmla="*/ 24952 h 183082"/>
                    <a:gd name="connsiteX2" fmla="*/ 16125 w 160684"/>
                    <a:gd name="connsiteY2" fmla="*/ 0 h 183082"/>
                    <a:gd name="connsiteX3" fmla="*/ 138368 w 160684"/>
                    <a:gd name="connsiteY3" fmla="*/ 0 h 183082"/>
                    <a:gd name="connsiteX4" fmla="*/ 160684 w 160684"/>
                    <a:gd name="connsiteY4" fmla="*/ 61922 h 183082"/>
                    <a:gd name="connsiteX5" fmla="*/ 160684 w 160684"/>
                    <a:gd name="connsiteY5" fmla="*/ 183082 h 183082"/>
                    <a:gd name="connsiteX6" fmla="*/ 341 w 160684"/>
                    <a:gd name="connsiteY6" fmla="*/ 183082 h 183082"/>
                    <a:gd name="connsiteX7" fmla="*/ 341 w 160684"/>
                    <a:gd name="connsiteY7" fmla="*/ 61922 h 183082"/>
                    <a:gd name="connsiteX8" fmla="*/ 15854 w 160684"/>
                    <a:gd name="connsiteY8" fmla="*/ 25294 h 18308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160684" h="183082">
                      <a:moveTo>
                        <a:pt x="119936" y="24952"/>
                      </a:moveTo>
                      <a:lnTo>
                        <a:pt x="0" y="24952"/>
                      </a:lnTo>
                      <a:lnTo>
                        <a:pt x="16125" y="0"/>
                      </a:lnTo>
                      <a:lnTo>
                        <a:pt x="138368" y="0"/>
                      </a:lnTo>
                      <a:lnTo>
                        <a:pt x="160684" y="61922"/>
                      </a:lnTo>
                      <a:lnTo>
                        <a:pt x="160684" y="183082"/>
                      </a:lnTo>
                      <a:lnTo>
                        <a:pt x="341" y="183082"/>
                      </a:lnTo>
                      <a:lnTo>
                        <a:pt x="341" y="61922"/>
                      </a:lnTo>
                      <a:lnTo>
                        <a:pt x="15854" y="25294"/>
                      </a:ln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2419" name="Forma livre: Forma 2418">
                <a:extLst>
                  <a:ext uri="{FF2B5EF4-FFF2-40B4-BE49-F238E27FC236}">
                    <a16:creationId xmlns:a16="http://schemas.microsoft.com/office/drawing/2014/main" id="{FC9ABF9F-FA9D-F224-5EA9-C3A42695E1C4}"/>
                  </a:ext>
                </a:extLst>
              </p:cNvPr>
              <p:cNvSpPr/>
              <p:nvPr/>
            </p:nvSpPr>
            <p:spPr>
              <a:xfrm>
                <a:off x="10661509" y="4274407"/>
                <a:ext cx="93901" cy="95242"/>
              </a:xfrm>
              <a:custGeom>
                <a:avLst/>
                <a:gdLst>
                  <a:gd name="connsiteX0" fmla="*/ 0 w 93901"/>
                  <a:gd name="connsiteY0" fmla="*/ 36322 h 95242"/>
                  <a:gd name="connsiteX1" fmla="*/ 46280 w 93901"/>
                  <a:gd name="connsiteY1" fmla="*/ 0 h 95242"/>
                  <a:gd name="connsiteX2" fmla="*/ 93901 w 93901"/>
                  <a:gd name="connsiteY2" fmla="*/ 47621 h 95242"/>
                  <a:gd name="connsiteX3" fmla="*/ 46280 w 93901"/>
                  <a:gd name="connsiteY3" fmla="*/ 95243 h 95242"/>
                  <a:gd name="connsiteX4" fmla="*/ 27742 w 93901"/>
                  <a:gd name="connsiteY4" fmla="*/ 91500 h 952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93901" h="95242">
                    <a:moveTo>
                      <a:pt x="0" y="36322"/>
                    </a:moveTo>
                    <a:cubicBezTo>
                      <a:pt x="5085" y="15478"/>
                      <a:pt x="23870" y="0"/>
                      <a:pt x="46280" y="0"/>
                    </a:cubicBezTo>
                    <a:cubicBezTo>
                      <a:pt x="72586" y="0"/>
                      <a:pt x="93901" y="21315"/>
                      <a:pt x="93901" y="47621"/>
                    </a:cubicBezTo>
                    <a:cubicBezTo>
                      <a:pt x="93901" y="73927"/>
                      <a:pt x="72574" y="95243"/>
                      <a:pt x="46280" y="95243"/>
                    </a:cubicBezTo>
                    <a:cubicBezTo>
                      <a:pt x="39700" y="95243"/>
                      <a:pt x="33439" y="93913"/>
                      <a:pt x="27742" y="91500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2420" name="Forma livre: Forma 2419">
              <a:extLst>
                <a:ext uri="{FF2B5EF4-FFF2-40B4-BE49-F238E27FC236}">
                  <a16:creationId xmlns:a16="http://schemas.microsoft.com/office/drawing/2014/main" id="{6A0A2982-A151-0A9D-92F1-91BD01BA62C9}"/>
                </a:ext>
              </a:extLst>
            </p:cNvPr>
            <p:cNvSpPr/>
            <p:nvPr/>
          </p:nvSpPr>
          <p:spPr>
            <a:xfrm>
              <a:off x="10703858" y="4317438"/>
              <a:ext cx="9192" cy="9192"/>
            </a:xfrm>
            <a:custGeom>
              <a:avLst/>
              <a:gdLst>
                <a:gd name="connsiteX0" fmla="*/ 0 w 9192"/>
                <a:gd name="connsiteY0" fmla="*/ 4602 h 9192"/>
                <a:gd name="connsiteX1" fmla="*/ 4590 w 9192"/>
                <a:gd name="connsiteY1" fmla="*/ 9192 h 9192"/>
                <a:gd name="connsiteX2" fmla="*/ 9192 w 9192"/>
                <a:gd name="connsiteY2" fmla="*/ 4602 h 9192"/>
                <a:gd name="connsiteX3" fmla="*/ 4590 w 9192"/>
                <a:gd name="connsiteY3" fmla="*/ 0 h 9192"/>
                <a:gd name="connsiteX4" fmla="*/ 0 w 9192"/>
                <a:gd name="connsiteY4" fmla="*/ 4602 h 91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192" h="9192">
                  <a:moveTo>
                    <a:pt x="0" y="4602"/>
                  </a:moveTo>
                  <a:cubicBezTo>
                    <a:pt x="0" y="7144"/>
                    <a:pt x="2036" y="9192"/>
                    <a:pt x="4590" y="9192"/>
                  </a:cubicBezTo>
                  <a:cubicBezTo>
                    <a:pt x="7144" y="9192"/>
                    <a:pt x="9192" y="7144"/>
                    <a:pt x="9192" y="4602"/>
                  </a:cubicBezTo>
                  <a:cubicBezTo>
                    <a:pt x="9192" y="2060"/>
                    <a:pt x="7133" y="0"/>
                    <a:pt x="4590" y="0"/>
                  </a:cubicBezTo>
                  <a:cubicBezTo>
                    <a:pt x="2048" y="0"/>
                    <a:pt x="0" y="2048"/>
                    <a:pt x="0" y="4602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2421" name="Gráfico 19">
            <a:extLst>
              <a:ext uri="{FF2B5EF4-FFF2-40B4-BE49-F238E27FC236}">
                <a16:creationId xmlns:a16="http://schemas.microsoft.com/office/drawing/2014/main" id="{528E4D4D-1E43-077F-0993-A9294EC06461}"/>
              </a:ext>
            </a:extLst>
          </p:cNvPr>
          <p:cNvGrpSpPr/>
          <p:nvPr/>
        </p:nvGrpSpPr>
        <p:grpSpPr>
          <a:xfrm>
            <a:off x="10499484" y="5263111"/>
            <a:ext cx="292449" cy="320297"/>
            <a:chOff x="10499484" y="5263111"/>
            <a:chExt cx="292449" cy="320297"/>
          </a:xfrm>
          <a:noFill/>
        </p:grpSpPr>
        <p:grpSp>
          <p:nvGrpSpPr>
            <p:cNvPr id="2422" name="Gráfico 19">
              <a:extLst>
                <a:ext uri="{FF2B5EF4-FFF2-40B4-BE49-F238E27FC236}">
                  <a16:creationId xmlns:a16="http://schemas.microsoft.com/office/drawing/2014/main" id="{01371881-9C8C-5505-E1E5-4F50C9D40E61}"/>
                </a:ext>
              </a:extLst>
            </p:cNvPr>
            <p:cNvGrpSpPr/>
            <p:nvPr/>
          </p:nvGrpSpPr>
          <p:grpSpPr>
            <a:xfrm>
              <a:off x="10514879" y="5263111"/>
              <a:ext cx="69760" cy="72644"/>
              <a:chOff x="10514879" y="5263111"/>
              <a:chExt cx="69760" cy="72644"/>
            </a:xfrm>
            <a:noFill/>
          </p:grpSpPr>
          <p:sp>
            <p:nvSpPr>
              <p:cNvPr id="2423" name="Forma livre: Forma 2422">
                <a:extLst>
                  <a:ext uri="{FF2B5EF4-FFF2-40B4-BE49-F238E27FC236}">
                    <a16:creationId xmlns:a16="http://schemas.microsoft.com/office/drawing/2014/main" id="{FCA2D0AA-7F15-01E8-6413-5164041AD965}"/>
                  </a:ext>
                </a:extLst>
              </p:cNvPr>
              <p:cNvSpPr/>
              <p:nvPr/>
            </p:nvSpPr>
            <p:spPr>
              <a:xfrm>
                <a:off x="10514879" y="5310438"/>
                <a:ext cx="50622" cy="25317"/>
              </a:xfrm>
              <a:custGeom>
                <a:avLst/>
                <a:gdLst>
                  <a:gd name="connsiteX0" fmla="*/ 50623 w 50622"/>
                  <a:gd name="connsiteY0" fmla="*/ 0 h 25317"/>
                  <a:gd name="connsiteX1" fmla="*/ 25306 w 50622"/>
                  <a:gd name="connsiteY1" fmla="*/ 25317 h 25317"/>
                  <a:gd name="connsiteX2" fmla="*/ 0 w 50622"/>
                  <a:gd name="connsiteY2" fmla="*/ 0 h 253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50622" h="25317">
                    <a:moveTo>
                      <a:pt x="50623" y="0"/>
                    </a:moveTo>
                    <a:cubicBezTo>
                      <a:pt x="50623" y="13983"/>
                      <a:pt x="39277" y="25317"/>
                      <a:pt x="25306" y="25317"/>
                    </a:cubicBezTo>
                    <a:cubicBezTo>
                      <a:pt x="11335" y="25317"/>
                      <a:pt x="0" y="13983"/>
                      <a:pt x="0" y="0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424" name="Forma livre: Forma 2423">
                <a:extLst>
                  <a:ext uri="{FF2B5EF4-FFF2-40B4-BE49-F238E27FC236}">
                    <a16:creationId xmlns:a16="http://schemas.microsoft.com/office/drawing/2014/main" id="{96DFF715-302C-4762-EF7C-78EF7EB0A72F}"/>
                  </a:ext>
                </a:extLst>
              </p:cNvPr>
              <p:cNvSpPr/>
              <p:nvPr/>
            </p:nvSpPr>
            <p:spPr>
              <a:xfrm>
                <a:off x="10514879" y="5263111"/>
                <a:ext cx="69760" cy="30437"/>
              </a:xfrm>
              <a:custGeom>
                <a:avLst/>
                <a:gdLst>
                  <a:gd name="connsiteX0" fmla="*/ 50623 w 69760"/>
                  <a:gd name="connsiteY0" fmla="*/ 30437 h 30437"/>
                  <a:gd name="connsiteX1" fmla="*/ 25306 w 69760"/>
                  <a:gd name="connsiteY1" fmla="*/ 0 h 30437"/>
                  <a:gd name="connsiteX2" fmla="*/ 0 w 69760"/>
                  <a:gd name="connsiteY2" fmla="*/ 30437 h 30437"/>
                  <a:gd name="connsiteX3" fmla="*/ 69761 w 69760"/>
                  <a:gd name="connsiteY3" fmla="*/ 30437 h 304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9760" h="30437">
                    <a:moveTo>
                      <a:pt x="50623" y="30437"/>
                    </a:moveTo>
                    <a:cubicBezTo>
                      <a:pt x="50623" y="16454"/>
                      <a:pt x="48516" y="0"/>
                      <a:pt x="25306" y="0"/>
                    </a:cubicBezTo>
                    <a:cubicBezTo>
                      <a:pt x="3449" y="0"/>
                      <a:pt x="0" y="16454"/>
                      <a:pt x="0" y="30437"/>
                    </a:cubicBezTo>
                    <a:lnTo>
                      <a:pt x="69761" y="30437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2425" name="Forma livre: Forma 2424">
              <a:extLst>
                <a:ext uri="{FF2B5EF4-FFF2-40B4-BE49-F238E27FC236}">
                  <a16:creationId xmlns:a16="http://schemas.microsoft.com/office/drawing/2014/main" id="{B68627CB-E259-8645-199C-65AEF5CC2C5D}"/>
                </a:ext>
              </a:extLst>
            </p:cNvPr>
            <p:cNvSpPr/>
            <p:nvPr/>
          </p:nvSpPr>
          <p:spPr>
            <a:xfrm>
              <a:off x="10536865" y="5478031"/>
              <a:ext cx="1177" cy="105376"/>
            </a:xfrm>
            <a:custGeom>
              <a:avLst/>
              <a:gdLst>
                <a:gd name="connsiteX0" fmla="*/ 0 w 1177"/>
                <a:gd name="connsiteY0" fmla="*/ 0 h 105376"/>
                <a:gd name="connsiteX1" fmla="*/ 0 w 1177"/>
                <a:gd name="connsiteY1" fmla="*/ 105377 h 1053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7" h="105376">
                  <a:moveTo>
                    <a:pt x="0" y="0"/>
                  </a:moveTo>
                  <a:lnTo>
                    <a:pt x="0" y="105377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426" name="Forma livre: Forma 2425">
              <a:extLst>
                <a:ext uri="{FF2B5EF4-FFF2-40B4-BE49-F238E27FC236}">
                  <a16:creationId xmlns:a16="http://schemas.microsoft.com/office/drawing/2014/main" id="{61E28690-8B34-F09E-9583-41332AA95FC9}"/>
                </a:ext>
              </a:extLst>
            </p:cNvPr>
            <p:cNvSpPr/>
            <p:nvPr/>
          </p:nvSpPr>
          <p:spPr>
            <a:xfrm>
              <a:off x="10564854" y="5416391"/>
              <a:ext cx="1177" cy="167016"/>
            </a:xfrm>
            <a:custGeom>
              <a:avLst/>
              <a:gdLst>
                <a:gd name="connsiteX0" fmla="*/ 0 w 1177"/>
                <a:gd name="connsiteY0" fmla="*/ 167016 h 167016"/>
                <a:gd name="connsiteX1" fmla="*/ 0 w 1177"/>
                <a:gd name="connsiteY1" fmla="*/ 33191 h 167016"/>
                <a:gd name="connsiteX2" fmla="*/ 0 w 1177"/>
                <a:gd name="connsiteY2" fmla="*/ 0 h 1670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177" h="167016">
                  <a:moveTo>
                    <a:pt x="0" y="167016"/>
                  </a:moveTo>
                  <a:lnTo>
                    <a:pt x="0" y="33191"/>
                  </a:lnTo>
                  <a:lnTo>
                    <a:pt x="0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427" name="Forma livre: Forma 2426">
              <a:extLst>
                <a:ext uri="{FF2B5EF4-FFF2-40B4-BE49-F238E27FC236}">
                  <a16:creationId xmlns:a16="http://schemas.microsoft.com/office/drawing/2014/main" id="{4D1BB4F4-0F7D-27F4-B8B1-A77D951E320D}"/>
                </a:ext>
              </a:extLst>
            </p:cNvPr>
            <p:cNvSpPr/>
            <p:nvPr/>
          </p:nvSpPr>
          <p:spPr>
            <a:xfrm>
              <a:off x="10499484" y="5360190"/>
              <a:ext cx="131368" cy="223218"/>
            </a:xfrm>
            <a:custGeom>
              <a:avLst/>
              <a:gdLst>
                <a:gd name="connsiteX0" fmla="*/ 46080 w 131368"/>
                <a:gd name="connsiteY0" fmla="*/ 37417 h 223218"/>
                <a:gd name="connsiteX1" fmla="*/ 101481 w 131368"/>
                <a:gd name="connsiteY1" fmla="*/ 29048 h 223218"/>
                <a:gd name="connsiteX2" fmla="*/ 131047 w 131368"/>
                <a:gd name="connsiteY2" fmla="*/ 0 h 223218"/>
                <a:gd name="connsiteX3" fmla="*/ 21621 w 131368"/>
                <a:gd name="connsiteY3" fmla="*/ 0 h 223218"/>
                <a:gd name="connsiteX4" fmla="*/ 0 w 131368"/>
                <a:gd name="connsiteY4" fmla="*/ 21610 h 223218"/>
                <a:gd name="connsiteX5" fmla="*/ 0 w 131368"/>
                <a:gd name="connsiteY5" fmla="*/ 223218 h 2232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31368" h="223218">
                  <a:moveTo>
                    <a:pt x="46080" y="37417"/>
                  </a:moveTo>
                  <a:lnTo>
                    <a:pt x="101481" y="29048"/>
                  </a:lnTo>
                  <a:cubicBezTo>
                    <a:pt x="119772" y="26412"/>
                    <a:pt x="133684" y="18291"/>
                    <a:pt x="131047" y="0"/>
                  </a:cubicBezTo>
                  <a:lnTo>
                    <a:pt x="21621" y="0"/>
                  </a:lnTo>
                  <a:cubicBezTo>
                    <a:pt x="9722" y="0"/>
                    <a:pt x="0" y="9710"/>
                    <a:pt x="0" y="21610"/>
                  </a:cubicBezTo>
                  <a:lnTo>
                    <a:pt x="0" y="223218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428" name="Forma livre: Forma 2427">
              <a:extLst>
                <a:ext uri="{FF2B5EF4-FFF2-40B4-BE49-F238E27FC236}">
                  <a16:creationId xmlns:a16="http://schemas.microsoft.com/office/drawing/2014/main" id="{15EFF1A1-DF1B-4895-4569-2F124AD91045}"/>
                </a:ext>
              </a:extLst>
            </p:cNvPr>
            <p:cNvSpPr/>
            <p:nvPr/>
          </p:nvSpPr>
          <p:spPr>
            <a:xfrm>
              <a:off x="10754563" y="5478031"/>
              <a:ext cx="1177" cy="105376"/>
            </a:xfrm>
            <a:custGeom>
              <a:avLst/>
              <a:gdLst>
                <a:gd name="connsiteX0" fmla="*/ 0 w 1177"/>
                <a:gd name="connsiteY0" fmla="*/ 0 h 105376"/>
                <a:gd name="connsiteX1" fmla="*/ 0 w 1177"/>
                <a:gd name="connsiteY1" fmla="*/ 105377 h 1053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7" h="105376">
                  <a:moveTo>
                    <a:pt x="0" y="0"/>
                  </a:moveTo>
                  <a:lnTo>
                    <a:pt x="0" y="105377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429" name="Forma livre: Forma 2428">
              <a:extLst>
                <a:ext uri="{FF2B5EF4-FFF2-40B4-BE49-F238E27FC236}">
                  <a16:creationId xmlns:a16="http://schemas.microsoft.com/office/drawing/2014/main" id="{3C7552BB-DE50-1FD9-8ECD-875016E70C32}"/>
                </a:ext>
              </a:extLst>
            </p:cNvPr>
            <p:cNvSpPr/>
            <p:nvPr/>
          </p:nvSpPr>
          <p:spPr>
            <a:xfrm>
              <a:off x="10726562" y="5416391"/>
              <a:ext cx="1177" cy="167016"/>
            </a:xfrm>
            <a:custGeom>
              <a:avLst/>
              <a:gdLst>
                <a:gd name="connsiteX0" fmla="*/ 0 w 1177"/>
                <a:gd name="connsiteY0" fmla="*/ 167016 h 167016"/>
                <a:gd name="connsiteX1" fmla="*/ 0 w 1177"/>
                <a:gd name="connsiteY1" fmla="*/ 33191 h 167016"/>
                <a:gd name="connsiteX2" fmla="*/ 0 w 1177"/>
                <a:gd name="connsiteY2" fmla="*/ 0 h 1670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177" h="167016">
                  <a:moveTo>
                    <a:pt x="0" y="167016"/>
                  </a:moveTo>
                  <a:lnTo>
                    <a:pt x="0" y="33191"/>
                  </a:lnTo>
                  <a:lnTo>
                    <a:pt x="0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430" name="Forma livre: Forma 2429">
              <a:extLst>
                <a:ext uri="{FF2B5EF4-FFF2-40B4-BE49-F238E27FC236}">
                  <a16:creationId xmlns:a16="http://schemas.microsoft.com/office/drawing/2014/main" id="{291AC615-66B1-EA2B-53DA-5A6A49AE1B64}"/>
                </a:ext>
              </a:extLst>
            </p:cNvPr>
            <p:cNvSpPr/>
            <p:nvPr/>
          </p:nvSpPr>
          <p:spPr>
            <a:xfrm>
              <a:off x="10660564" y="5360190"/>
              <a:ext cx="131368" cy="223218"/>
            </a:xfrm>
            <a:custGeom>
              <a:avLst/>
              <a:gdLst>
                <a:gd name="connsiteX0" fmla="*/ 85289 w 131368"/>
                <a:gd name="connsiteY0" fmla="*/ 37417 h 223218"/>
                <a:gd name="connsiteX1" fmla="*/ 29888 w 131368"/>
                <a:gd name="connsiteY1" fmla="*/ 29048 h 223218"/>
                <a:gd name="connsiteX2" fmla="*/ 322 w 131368"/>
                <a:gd name="connsiteY2" fmla="*/ 0 h 223218"/>
                <a:gd name="connsiteX3" fmla="*/ 109747 w 131368"/>
                <a:gd name="connsiteY3" fmla="*/ 0 h 223218"/>
                <a:gd name="connsiteX4" fmla="*/ 131369 w 131368"/>
                <a:gd name="connsiteY4" fmla="*/ 21610 h 223218"/>
                <a:gd name="connsiteX5" fmla="*/ 131369 w 131368"/>
                <a:gd name="connsiteY5" fmla="*/ 223218 h 2232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31368" h="223218">
                  <a:moveTo>
                    <a:pt x="85289" y="37417"/>
                  </a:moveTo>
                  <a:lnTo>
                    <a:pt x="29888" y="29048"/>
                  </a:lnTo>
                  <a:cubicBezTo>
                    <a:pt x="11586" y="26412"/>
                    <a:pt x="-2315" y="18291"/>
                    <a:pt x="322" y="0"/>
                  </a:cubicBezTo>
                  <a:lnTo>
                    <a:pt x="109747" y="0"/>
                  </a:lnTo>
                  <a:cubicBezTo>
                    <a:pt x="121647" y="0"/>
                    <a:pt x="131369" y="9710"/>
                    <a:pt x="131369" y="21610"/>
                  </a:cubicBezTo>
                  <a:lnTo>
                    <a:pt x="131369" y="223218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431" name="Forma livre: Forma 2430">
              <a:extLst>
                <a:ext uri="{FF2B5EF4-FFF2-40B4-BE49-F238E27FC236}">
                  <a16:creationId xmlns:a16="http://schemas.microsoft.com/office/drawing/2014/main" id="{CB74E1CB-49A0-6536-B6C2-20F45B584713}"/>
                </a:ext>
              </a:extLst>
            </p:cNvPr>
            <p:cNvSpPr/>
            <p:nvPr/>
          </p:nvSpPr>
          <p:spPr>
            <a:xfrm>
              <a:off x="10725173" y="5283355"/>
              <a:ext cx="52388" cy="52399"/>
            </a:xfrm>
            <a:custGeom>
              <a:avLst/>
              <a:gdLst>
                <a:gd name="connsiteX0" fmla="*/ 52388 w 52388"/>
                <a:gd name="connsiteY0" fmla="*/ 26200 h 52399"/>
                <a:gd name="connsiteX1" fmla="*/ 26200 w 52388"/>
                <a:gd name="connsiteY1" fmla="*/ 52400 h 52399"/>
                <a:gd name="connsiteX2" fmla="*/ 0 w 52388"/>
                <a:gd name="connsiteY2" fmla="*/ 26200 h 52399"/>
                <a:gd name="connsiteX3" fmla="*/ 26200 w 52388"/>
                <a:gd name="connsiteY3" fmla="*/ 0 h 52399"/>
                <a:gd name="connsiteX4" fmla="*/ 52388 w 52388"/>
                <a:gd name="connsiteY4" fmla="*/ 26200 h 523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2388" h="52399">
                  <a:moveTo>
                    <a:pt x="52388" y="26200"/>
                  </a:moveTo>
                  <a:cubicBezTo>
                    <a:pt x="52388" y="40665"/>
                    <a:pt x="40665" y="52400"/>
                    <a:pt x="26200" y="52400"/>
                  </a:cubicBezTo>
                  <a:cubicBezTo>
                    <a:pt x="11735" y="52400"/>
                    <a:pt x="0" y="40677"/>
                    <a:pt x="0" y="26200"/>
                  </a:cubicBezTo>
                  <a:cubicBezTo>
                    <a:pt x="0" y="11723"/>
                    <a:pt x="11723" y="0"/>
                    <a:pt x="26200" y="0"/>
                  </a:cubicBezTo>
                  <a:cubicBezTo>
                    <a:pt x="40677" y="0"/>
                    <a:pt x="52388" y="11723"/>
                    <a:pt x="52388" y="26200"/>
                  </a:cubicBez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2432" name="Gráfico 19">
              <a:extLst>
                <a:ext uri="{FF2B5EF4-FFF2-40B4-BE49-F238E27FC236}">
                  <a16:creationId xmlns:a16="http://schemas.microsoft.com/office/drawing/2014/main" id="{820E6785-481B-66C7-4858-C13496BF1982}"/>
                </a:ext>
              </a:extLst>
            </p:cNvPr>
            <p:cNvGrpSpPr/>
            <p:nvPr/>
          </p:nvGrpSpPr>
          <p:grpSpPr>
            <a:xfrm>
              <a:off x="10591231" y="5387390"/>
              <a:ext cx="74539" cy="118076"/>
              <a:chOff x="10591231" y="5387390"/>
              <a:chExt cx="74539" cy="118076"/>
            </a:xfrm>
            <a:noFill/>
          </p:grpSpPr>
          <p:grpSp>
            <p:nvGrpSpPr>
              <p:cNvPr id="2433" name="Gráfico 19">
                <a:extLst>
                  <a:ext uri="{FF2B5EF4-FFF2-40B4-BE49-F238E27FC236}">
                    <a16:creationId xmlns:a16="http://schemas.microsoft.com/office/drawing/2014/main" id="{3495B804-A849-7824-55C6-507D7A9281DB}"/>
                  </a:ext>
                </a:extLst>
              </p:cNvPr>
              <p:cNvGrpSpPr/>
              <p:nvPr/>
            </p:nvGrpSpPr>
            <p:grpSpPr>
              <a:xfrm>
                <a:off x="10609392" y="5387390"/>
                <a:ext cx="38205" cy="39300"/>
                <a:chOff x="10609392" y="5387390"/>
                <a:chExt cx="38205" cy="39300"/>
              </a:xfrm>
              <a:noFill/>
            </p:grpSpPr>
            <p:sp>
              <p:nvSpPr>
                <p:cNvPr id="2434" name="Forma livre: Forma 2433">
                  <a:extLst>
                    <a:ext uri="{FF2B5EF4-FFF2-40B4-BE49-F238E27FC236}">
                      <a16:creationId xmlns:a16="http://schemas.microsoft.com/office/drawing/2014/main" id="{205C1D5B-CB11-CB02-4190-8BE925490432}"/>
                    </a:ext>
                  </a:extLst>
                </p:cNvPr>
                <p:cNvSpPr/>
                <p:nvPr/>
              </p:nvSpPr>
              <p:spPr>
                <a:xfrm>
                  <a:off x="10641147" y="5387390"/>
                  <a:ext cx="6449" cy="39300"/>
                </a:xfrm>
                <a:custGeom>
                  <a:avLst/>
                  <a:gdLst>
                    <a:gd name="connsiteX0" fmla="*/ 6450 w 6449"/>
                    <a:gd name="connsiteY0" fmla="*/ 39300 h 39300"/>
                    <a:gd name="connsiteX1" fmla="*/ 6450 w 6449"/>
                    <a:gd name="connsiteY1" fmla="*/ 16172 h 39300"/>
                    <a:gd name="connsiteX2" fmla="*/ 0 w 6449"/>
                    <a:gd name="connsiteY2" fmla="*/ 0 h 393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6449" h="39300">
                      <a:moveTo>
                        <a:pt x="6450" y="39300"/>
                      </a:moveTo>
                      <a:lnTo>
                        <a:pt x="6450" y="16172"/>
                      </a:lnTo>
                      <a:cubicBezTo>
                        <a:pt x="6450" y="9757"/>
                        <a:pt x="3955" y="3966"/>
                        <a:pt x="0" y="0"/>
                      </a:cubicBez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435" name="Forma livre: Forma 2434">
                  <a:extLst>
                    <a:ext uri="{FF2B5EF4-FFF2-40B4-BE49-F238E27FC236}">
                      <a16:creationId xmlns:a16="http://schemas.microsoft.com/office/drawing/2014/main" id="{991CE632-EB74-ADE5-3081-4BD3C05261EB}"/>
                    </a:ext>
                  </a:extLst>
                </p:cNvPr>
                <p:cNvSpPr/>
                <p:nvPr/>
              </p:nvSpPr>
              <p:spPr>
                <a:xfrm>
                  <a:off x="10609392" y="5406387"/>
                  <a:ext cx="1177" cy="20303"/>
                </a:xfrm>
                <a:custGeom>
                  <a:avLst/>
                  <a:gdLst>
                    <a:gd name="connsiteX0" fmla="*/ 0 w 1177"/>
                    <a:gd name="connsiteY0" fmla="*/ 0 h 20303"/>
                    <a:gd name="connsiteX1" fmla="*/ 0 w 1177"/>
                    <a:gd name="connsiteY1" fmla="*/ 20303 h 203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177" h="20303">
                      <a:moveTo>
                        <a:pt x="0" y="0"/>
                      </a:moveTo>
                      <a:lnTo>
                        <a:pt x="0" y="20303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2436" name="Forma livre: Forma 2435">
                <a:extLst>
                  <a:ext uri="{FF2B5EF4-FFF2-40B4-BE49-F238E27FC236}">
                    <a16:creationId xmlns:a16="http://schemas.microsoft.com/office/drawing/2014/main" id="{C0074377-7625-7216-BD95-7D2D903FC4FF}"/>
                  </a:ext>
                </a:extLst>
              </p:cNvPr>
              <p:cNvSpPr/>
              <p:nvPr/>
            </p:nvSpPr>
            <p:spPr>
              <a:xfrm>
                <a:off x="10591231" y="5427938"/>
                <a:ext cx="74539" cy="77528"/>
              </a:xfrm>
              <a:custGeom>
                <a:avLst/>
                <a:gdLst>
                  <a:gd name="connsiteX0" fmla="*/ 0 w 74539"/>
                  <a:gd name="connsiteY0" fmla="*/ 0 h 77528"/>
                  <a:gd name="connsiteX1" fmla="*/ 74539 w 74539"/>
                  <a:gd name="connsiteY1" fmla="*/ 0 h 77528"/>
                  <a:gd name="connsiteX2" fmla="*/ 74539 w 74539"/>
                  <a:gd name="connsiteY2" fmla="*/ 77529 h 77528"/>
                  <a:gd name="connsiteX3" fmla="*/ 0 w 74539"/>
                  <a:gd name="connsiteY3" fmla="*/ 77529 h 775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4539" h="77528">
                    <a:moveTo>
                      <a:pt x="0" y="0"/>
                    </a:moveTo>
                    <a:lnTo>
                      <a:pt x="74539" y="0"/>
                    </a:lnTo>
                    <a:lnTo>
                      <a:pt x="74539" y="77529"/>
                    </a:lnTo>
                    <a:lnTo>
                      <a:pt x="0" y="77529"/>
                    </a:lnTo>
                    <a:close/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5327368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áfico 2">
            <a:extLst>
              <a:ext uri="{FF2B5EF4-FFF2-40B4-BE49-F238E27FC236}">
                <a16:creationId xmlns:a16="http://schemas.microsoft.com/office/drawing/2014/main" id="{360204FF-4B4E-7F00-E509-B6C89E1D5463}"/>
              </a:ext>
            </a:extLst>
          </p:cNvPr>
          <p:cNvGrpSpPr/>
          <p:nvPr/>
        </p:nvGrpSpPr>
        <p:grpSpPr>
          <a:xfrm>
            <a:off x="1334536" y="2612322"/>
            <a:ext cx="288391" cy="277580"/>
            <a:chOff x="1334536" y="2612322"/>
            <a:chExt cx="288391" cy="277580"/>
          </a:xfrm>
        </p:grpSpPr>
        <p:sp>
          <p:nvSpPr>
            <p:cNvPr id="23" name="Forma livre: Forma 22">
              <a:extLst>
                <a:ext uri="{FF2B5EF4-FFF2-40B4-BE49-F238E27FC236}">
                  <a16:creationId xmlns:a16="http://schemas.microsoft.com/office/drawing/2014/main" id="{D2AD6DA0-3201-306D-D856-32DF902A9C3A}"/>
                </a:ext>
              </a:extLst>
            </p:cNvPr>
            <p:cNvSpPr/>
            <p:nvPr/>
          </p:nvSpPr>
          <p:spPr>
            <a:xfrm>
              <a:off x="1579257" y="2655896"/>
              <a:ext cx="43539" cy="68688"/>
            </a:xfrm>
            <a:custGeom>
              <a:avLst/>
              <a:gdLst>
                <a:gd name="connsiteX0" fmla="*/ 43539 w 43539"/>
                <a:gd name="connsiteY0" fmla="*/ 0 h 68688"/>
                <a:gd name="connsiteX1" fmla="*/ 0 w 43539"/>
                <a:gd name="connsiteY1" fmla="*/ 68688 h 686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3539" h="68688">
                  <a:moveTo>
                    <a:pt x="43539" y="0"/>
                  </a:moveTo>
                  <a:lnTo>
                    <a:pt x="0" y="68688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4" name="Forma livre: Forma 23">
              <a:extLst>
                <a:ext uri="{FF2B5EF4-FFF2-40B4-BE49-F238E27FC236}">
                  <a16:creationId xmlns:a16="http://schemas.microsoft.com/office/drawing/2014/main" id="{1BB3AC6A-3CCF-14AA-6EE2-5638EED60534}"/>
                </a:ext>
              </a:extLst>
            </p:cNvPr>
            <p:cNvSpPr/>
            <p:nvPr/>
          </p:nvSpPr>
          <p:spPr>
            <a:xfrm>
              <a:off x="1334571" y="2724585"/>
              <a:ext cx="288355" cy="165317"/>
            </a:xfrm>
            <a:custGeom>
              <a:avLst/>
              <a:gdLst>
                <a:gd name="connsiteX0" fmla="*/ 245304 w 288355"/>
                <a:gd name="connsiteY0" fmla="*/ 0 h 165317"/>
                <a:gd name="connsiteX1" fmla="*/ 43480 w 288355"/>
                <a:gd name="connsiteY1" fmla="*/ 0 h 165317"/>
                <a:gd name="connsiteX2" fmla="*/ 0 w 288355"/>
                <a:gd name="connsiteY2" fmla="*/ 121767 h 165317"/>
                <a:gd name="connsiteX3" fmla="*/ 0 w 288355"/>
                <a:gd name="connsiteY3" fmla="*/ 165318 h 165317"/>
                <a:gd name="connsiteX4" fmla="*/ 288355 w 288355"/>
                <a:gd name="connsiteY4" fmla="*/ 165318 h 165317"/>
                <a:gd name="connsiteX5" fmla="*/ 288355 w 288355"/>
                <a:gd name="connsiteY5" fmla="*/ 121767 h 165317"/>
                <a:gd name="connsiteX6" fmla="*/ 245304 w 288355"/>
                <a:gd name="connsiteY6" fmla="*/ 0 h 1653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88355" h="165317">
                  <a:moveTo>
                    <a:pt x="245304" y="0"/>
                  </a:moveTo>
                  <a:lnTo>
                    <a:pt x="43480" y="0"/>
                  </a:lnTo>
                  <a:lnTo>
                    <a:pt x="0" y="121767"/>
                  </a:lnTo>
                  <a:lnTo>
                    <a:pt x="0" y="165318"/>
                  </a:lnTo>
                  <a:lnTo>
                    <a:pt x="288355" y="165318"/>
                  </a:lnTo>
                  <a:lnTo>
                    <a:pt x="288355" y="121767"/>
                  </a:lnTo>
                  <a:lnTo>
                    <a:pt x="245304" y="0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5" name="Forma livre: Forma 24">
              <a:extLst>
                <a:ext uri="{FF2B5EF4-FFF2-40B4-BE49-F238E27FC236}">
                  <a16:creationId xmlns:a16="http://schemas.microsoft.com/office/drawing/2014/main" id="{A3A15DD8-A2D8-C481-DFDD-62C6E244C18D}"/>
                </a:ext>
              </a:extLst>
            </p:cNvPr>
            <p:cNvSpPr/>
            <p:nvPr/>
          </p:nvSpPr>
          <p:spPr>
            <a:xfrm>
              <a:off x="1336104" y="2846351"/>
              <a:ext cx="285112" cy="1187"/>
            </a:xfrm>
            <a:custGeom>
              <a:avLst/>
              <a:gdLst>
                <a:gd name="connsiteX0" fmla="*/ 0 w 285112"/>
                <a:gd name="connsiteY0" fmla="*/ 0 h 1187"/>
                <a:gd name="connsiteX1" fmla="*/ 285112 w 285112"/>
                <a:gd name="connsiteY1" fmla="*/ 0 h 11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85112" h="1187">
                  <a:moveTo>
                    <a:pt x="0" y="0"/>
                  </a:moveTo>
                  <a:lnTo>
                    <a:pt x="285112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6" name="Forma livre: Forma 25">
              <a:extLst>
                <a:ext uri="{FF2B5EF4-FFF2-40B4-BE49-F238E27FC236}">
                  <a16:creationId xmlns:a16="http://schemas.microsoft.com/office/drawing/2014/main" id="{740FC061-1789-92B9-EE8E-9AF396DFA9E6}"/>
                </a:ext>
              </a:extLst>
            </p:cNvPr>
            <p:cNvSpPr/>
            <p:nvPr/>
          </p:nvSpPr>
          <p:spPr>
            <a:xfrm>
              <a:off x="1334536" y="2612322"/>
              <a:ext cx="288260" cy="92257"/>
            </a:xfrm>
            <a:custGeom>
              <a:avLst/>
              <a:gdLst>
                <a:gd name="connsiteX0" fmla="*/ 33441 w 288260"/>
                <a:gd name="connsiteY0" fmla="*/ 43575 h 92257"/>
                <a:gd name="connsiteX1" fmla="*/ 114817 w 288260"/>
                <a:gd name="connsiteY1" fmla="*/ 43575 h 92257"/>
                <a:gd name="connsiteX2" fmla="*/ 144136 w 288260"/>
                <a:gd name="connsiteY2" fmla="*/ 26943 h 92257"/>
                <a:gd name="connsiteX3" fmla="*/ 173431 w 288260"/>
                <a:gd name="connsiteY3" fmla="*/ 43575 h 92257"/>
                <a:gd name="connsiteX4" fmla="*/ 288261 w 288260"/>
                <a:gd name="connsiteY4" fmla="*/ 43575 h 92257"/>
                <a:gd name="connsiteX5" fmla="*/ 273862 w 288260"/>
                <a:gd name="connsiteY5" fmla="*/ 0 h 92257"/>
                <a:gd name="connsiteX6" fmla="*/ 14410 w 288260"/>
                <a:gd name="connsiteY6" fmla="*/ 0 h 92257"/>
                <a:gd name="connsiteX7" fmla="*/ 0 w 288260"/>
                <a:gd name="connsiteY7" fmla="*/ 43551 h 92257"/>
                <a:gd name="connsiteX8" fmla="*/ 30709 w 288260"/>
                <a:gd name="connsiteY8" fmla="*/ 92258 h 922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8260" h="92257">
                  <a:moveTo>
                    <a:pt x="33441" y="43575"/>
                  </a:moveTo>
                  <a:lnTo>
                    <a:pt x="114817" y="43575"/>
                  </a:lnTo>
                  <a:cubicBezTo>
                    <a:pt x="120745" y="33536"/>
                    <a:pt x="131639" y="26943"/>
                    <a:pt x="144136" y="26943"/>
                  </a:cubicBezTo>
                  <a:cubicBezTo>
                    <a:pt x="156562" y="26943"/>
                    <a:pt x="167480" y="33631"/>
                    <a:pt x="173431" y="43575"/>
                  </a:cubicBezTo>
                  <a:lnTo>
                    <a:pt x="288261" y="43575"/>
                  </a:lnTo>
                  <a:lnTo>
                    <a:pt x="273862" y="0"/>
                  </a:lnTo>
                  <a:lnTo>
                    <a:pt x="14410" y="0"/>
                  </a:lnTo>
                  <a:lnTo>
                    <a:pt x="0" y="43551"/>
                  </a:lnTo>
                  <a:lnTo>
                    <a:pt x="30709" y="92258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7" name="Forma livre: Forma 26">
              <a:extLst>
                <a:ext uri="{FF2B5EF4-FFF2-40B4-BE49-F238E27FC236}">
                  <a16:creationId xmlns:a16="http://schemas.microsoft.com/office/drawing/2014/main" id="{83C46797-0842-C4F6-3034-809FC74DC190}"/>
                </a:ext>
              </a:extLst>
            </p:cNvPr>
            <p:cNvSpPr/>
            <p:nvPr/>
          </p:nvSpPr>
          <p:spPr>
            <a:xfrm>
              <a:off x="1378669" y="2754438"/>
              <a:ext cx="196513" cy="90487"/>
            </a:xfrm>
            <a:custGeom>
              <a:avLst/>
              <a:gdLst>
                <a:gd name="connsiteX0" fmla="*/ 0 w 196513"/>
                <a:gd name="connsiteY0" fmla="*/ 67120 h 90487"/>
                <a:gd name="connsiteX1" fmla="*/ 98257 w 196513"/>
                <a:gd name="connsiteY1" fmla="*/ 0 h 90487"/>
                <a:gd name="connsiteX2" fmla="*/ 196514 w 196513"/>
                <a:gd name="connsiteY2" fmla="*/ 67120 h 90487"/>
                <a:gd name="connsiteX3" fmla="*/ 190407 w 196513"/>
                <a:gd name="connsiteY3" fmla="*/ 90487 h 904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6513" h="90487">
                  <a:moveTo>
                    <a:pt x="0" y="67120"/>
                  </a:moveTo>
                  <a:cubicBezTo>
                    <a:pt x="0" y="30055"/>
                    <a:pt x="43990" y="0"/>
                    <a:pt x="98257" y="0"/>
                  </a:cubicBezTo>
                  <a:cubicBezTo>
                    <a:pt x="152523" y="0"/>
                    <a:pt x="196514" y="30055"/>
                    <a:pt x="196514" y="67120"/>
                  </a:cubicBezTo>
                  <a:cubicBezTo>
                    <a:pt x="196514" y="75341"/>
                    <a:pt x="194352" y="83205"/>
                    <a:pt x="190407" y="90487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8" name="Forma livre: Forma 27">
              <a:extLst>
                <a:ext uri="{FF2B5EF4-FFF2-40B4-BE49-F238E27FC236}">
                  <a16:creationId xmlns:a16="http://schemas.microsoft.com/office/drawing/2014/main" id="{A7952137-3B98-B292-5154-0EB7FA04E192}"/>
                </a:ext>
              </a:extLst>
            </p:cNvPr>
            <p:cNvSpPr/>
            <p:nvPr/>
          </p:nvSpPr>
          <p:spPr>
            <a:xfrm>
              <a:off x="1419519" y="2795777"/>
              <a:ext cx="6646" cy="6640"/>
            </a:xfrm>
            <a:custGeom>
              <a:avLst/>
              <a:gdLst>
                <a:gd name="connsiteX0" fmla="*/ 182 w 6646"/>
                <a:gd name="connsiteY0" fmla="*/ 4398 h 6640"/>
                <a:gd name="connsiteX1" fmla="*/ 2237 w 6646"/>
                <a:gd name="connsiteY1" fmla="*/ 181 h 6640"/>
                <a:gd name="connsiteX2" fmla="*/ 6467 w 6646"/>
                <a:gd name="connsiteY2" fmla="*/ 2236 h 6640"/>
                <a:gd name="connsiteX3" fmla="*/ 4400 w 6646"/>
                <a:gd name="connsiteY3" fmla="*/ 6454 h 6640"/>
                <a:gd name="connsiteX4" fmla="*/ 182 w 6646"/>
                <a:gd name="connsiteY4" fmla="*/ 4398 h 66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646" h="6640">
                  <a:moveTo>
                    <a:pt x="182" y="4398"/>
                  </a:moveTo>
                  <a:cubicBezTo>
                    <a:pt x="-412" y="2664"/>
                    <a:pt x="491" y="775"/>
                    <a:pt x="2237" y="181"/>
                  </a:cubicBezTo>
                  <a:cubicBezTo>
                    <a:pt x="3972" y="-413"/>
                    <a:pt x="5873" y="502"/>
                    <a:pt x="6467" y="2236"/>
                  </a:cubicBezTo>
                  <a:cubicBezTo>
                    <a:pt x="7061" y="3971"/>
                    <a:pt x="6134" y="5860"/>
                    <a:pt x="4400" y="6454"/>
                  </a:cubicBezTo>
                  <a:cubicBezTo>
                    <a:pt x="2665" y="7059"/>
                    <a:pt x="776" y="6145"/>
                    <a:pt x="182" y="4398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9" name="Forma livre: Forma 28">
              <a:extLst>
                <a:ext uri="{FF2B5EF4-FFF2-40B4-BE49-F238E27FC236}">
                  <a16:creationId xmlns:a16="http://schemas.microsoft.com/office/drawing/2014/main" id="{D2ACEFD2-F1CF-9D1A-00AF-887E6CE014D9}"/>
                </a:ext>
              </a:extLst>
            </p:cNvPr>
            <p:cNvSpPr/>
            <p:nvPr/>
          </p:nvSpPr>
          <p:spPr>
            <a:xfrm>
              <a:off x="1538565" y="2803712"/>
              <a:ext cx="6646" cy="6646"/>
            </a:xfrm>
            <a:custGeom>
              <a:avLst/>
              <a:gdLst>
                <a:gd name="connsiteX0" fmla="*/ 182 w 6646"/>
                <a:gd name="connsiteY0" fmla="*/ 4410 h 6646"/>
                <a:gd name="connsiteX1" fmla="*/ 2237 w 6646"/>
                <a:gd name="connsiteY1" fmla="*/ 181 h 6646"/>
                <a:gd name="connsiteX2" fmla="*/ 6467 w 6646"/>
                <a:gd name="connsiteY2" fmla="*/ 2236 h 6646"/>
                <a:gd name="connsiteX3" fmla="*/ 4400 w 6646"/>
                <a:gd name="connsiteY3" fmla="*/ 6465 h 6646"/>
                <a:gd name="connsiteX4" fmla="*/ 182 w 6646"/>
                <a:gd name="connsiteY4" fmla="*/ 4410 h 66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646" h="6646">
                  <a:moveTo>
                    <a:pt x="182" y="4410"/>
                  </a:moveTo>
                  <a:cubicBezTo>
                    <a:pt x="-412" y="2676"/>
                    <a:pt x="491" y="775"/>
                    <a:pt x="2237" y="181"/>
                  </a:cubicBezTo>
                  <a:cubicBezTo>
                    <a:pt x="3972" y="-413"/>
                    <a:pt x="5873" y="502"/>
                    <a:pt x="6467" y="2236"/>
                  </a:cubicBezTo>
                  <a:cubicBezTo>
                    <a:pt x="7061" y="3971"/>
                    <a:pt x="6134" y="5860"/>
                    <a:pt x="4400" y="6465"/>
                  </a:cubicBezTo>
                  <a:cubicBezTo>
                    <a:pt x="2665" y="7059"/>
                    <a:pt x="776" y="6145"/>
                    <a:pt x="182" y="4410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0" name="Forma livre: Forma 29">
              <a:extLst>
                <a:ext uri="{FF2B5EF4-FFF2-40B4-BE49-F238E27FC236}">
                  <a16:creationId xmlns:a16="http://schemas.microsoft.com/office/drawing/2014/main" id="{A09F68E3-C81D-1F26-D6C0-E293DA68EAE2}"/>
                </a:ext>
              </a:extLst>
            </p:cNvPr>
            <p:cNvSpPr/>
            <p:nvPr/>
          </p:nvSpPr>
          <p:spPr>
            <a:xfrm>
              <a:off x="1482794" y="2796219"/>
              <a:ext cx="33453" cy="28523"/>
            </a:xfrm>
            <a:custGeom>
              <a:avLst/>
              <a:gdLst>
                <a:gd name="connsiteX0" fmla="*/ 16727 w 33453"/>
                <a:gd name="connsiteY0" fmla="*/ 0 h 28523"/>
                <a:gd name="connsiteX1" fmla="*/ 33453 w 33453"/>
                <a:gd name="connsiteY1" fmla="*/ 14256 h 28523"/>
                <a:gd name="connsiteX2" fmla="*/ 16727 w 33453"/>
                <a:gd name="connsiteY2" fmla="*/ 28523 h 28523"/>
                <a:gd name="connsiteX3" fmla="*/ 0 w 33453"/>
                <a:gd name="connsiteY3" fmla="*/ 14256 h 285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453" h="28523">
                  <a:moveTo>
                    <a:pt x="16727" y="0"/>
                  </a:moveTo>
                  <a:cubicBezTo>
                    <a:pt x="25969" y="0"/>
                    <a:pt x="33453" y="6380"/>
                    <a:pt x="33453" y="14256"/>
                  </a:cubicBezTo>
                  <a:cubicBezTo>
                    <a:pt x="33453" y="22132"/>
                    <a:pt x="25969" y="28523"/>
                    <a:pt x="16727" y="28523"/>
                  </a:cubicBezTo>
                  <a:cubicBezTo>
                    <a:pt x="7484" y="28523"/>
                    <a:pt x="0" y="22132"/>
                    <a:pt x="0" y="14256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1" name="Forma livre: Forma 30">
              <a:extLst>
                <a:ext uri="{FF2B5EF4-FFF2-40B4-BE49-F238E27FC236}">
                  <a16:creationId xmlns:a16="http://schemas.microsoft.com/office/drawing/2014/main" id="{F712985A-19BB-4D49-F537-23BC905A0430}"/>
                </a:ext>
              </a:extLst>
            </p:cNvPr>
            <p:cNvSpPr/>
            <p:nvPr/>
          </p:nvSpPr>
          <p:spPr>
            <a:xfrm>
              <a:off x="1455340" y="2754985"/>
              <a:ext cx="30447" cy="28511"/>
            </a:xfrm>
            <a:custGeom>
              <a:avLst/>
              <a:gdLst>
                <a:gd name="connsiteX0" fmla="*/ 13721 w 30447"/>
                <a:gd name="connsiteY0" fmla="*/ 0 h 28511"/>
                <a:gd name="connsiteX1" fmla="*/ 30448 w 30447"/>
                <a:gd name="connsiteY1" fmla="*/ 14256 h 28511"/>
                <a:gd name="connsiteX2" fmla="*/ 13721 w 30447"/>
                <a:gd name="connsiteY2" fmla="*/ 28511 h 28511"/>
                <a:gd name="connsiteX3" fmla="*/ 0 w 30447"/>
                <a:gd name="connsiteY3" fmla="*/ 22405 h 285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0447" h="28511">
                  <a:moveTo>
                    <a:pt x="13721" y="0"/>
                  </a:moveTo>
                  <a:cubicBezTo>
                    <a:pt x="22963" y="0"/>
                    <a:pt x="30448" y="6379"/>
                    <a:pt x="30448" y="14256"/>
                  </a:cubicBezTo>
                  <a:cubicBezTo>
                    <a:pt x="30448" y="23534"/>
                    <a:pt x="22963" y="28511"/>
                    <a:pt x="13721" y="28511"/>
                  </a:cubicBezTo>
                  <a:cubicBezTo>
                    <a:pt x="8043" y="28511"/>
                    <a:pt x="3029" y="26100"/>
                    <a:pt x="0" y="22405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2" name="Forma livre: Forma 31">
              <a:extLst>
                <a:ext uri="{FF2B5EF4-FFF2-40B4-BE49-F238E27FC236}">
                  <a16:creationId xmlns:a16="http://schemas.microsoft.com/office/drawing/2014/main" id="{4DF83AE4-52BB-7274-1EF3-AEAFB3325BD4}"/>
                </a:ext>
              </a:extLst>
            </p:cNvPr>
            <p:cNvSpPr/>
            <p:nvPr/>
          </p:nvSpPr>
          <p:spPr>
            <a:xfrm>
              <a:off x="1434313" y="2824564"/>
              <a:ext cx="27145" cy="20599"/>
            </a:xfrm>
            <a:custGeom>
              <a:avLst/>
              <a:gdLst>
                <a:gd name="connsiteX0" fmla="*/ 0 w 27145"/>
                <a:gd name="connsiteY0" fmla="*/ 1437 h 20599"/>
                <a:gd name="connsiteX1" fmla="*/ 7757 w 27145"/>
                <a:gd name="connsiteY1" fmla="*/ 0 h 20599"/>
                <a:gd name="connsiteX2" fmla="*/ 27145 w 27145"/>
                <a:gd name="connsiteY2" fmla="*/ 17309 h 20599"/>
                <a:gd name="connsiteX3" fmla="*/ 27145 w 27145"/>
                <a:gd name="connsiteY3" fmla="*/ 20599 h 205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7145" h="20599">
                  <a:moveTo>
                    <a:pt x="0" y="1437"/>
                  </a:moveTo>
                  <a:cubicBezTo>
                    <a:pt x="2376" y="511"/>
                    <a:pt x="5001" y="0"/>
                    <a:pt x="7757" y="0"/>
                  </a:cubicBezTo>
                  <a:cubicBezTo>
                    <a:pt x="18473" y="0"/>
                    <a:pt x="27145" y="7745"/>
                    <a:pt x="27145" y="17309"/>
                  </a:cubicBezTo>
                  <a:lnTo>
                    <a:pt x="27145" y="20599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33" name="Gráfico 2">
            <a:extLst>
              <a:ext uri="{FF2B5EF4-FFF2-40B4-BE49-F238E27FC236}">
                <a16:creationId xmlns:a16="http://schemas.microsoft.com/office/drawing/2014/main" id="{96E75801-1790-11BB-2AA4-9387171C8A60}"/>
              </a:ext>
            </a:extLst>
          </p:cNvPr>
          <p:cNvGrpSpPr/>
          <p:nvPr/>
        </p:nvGrpSpPr>
        <p:grpSpPr>
          <a:xfrm>
            <a:off x="1946803" y="2609019"/>
            <a:ext cx="303799" cy="284197"/>
            <a:chOff x="1946803" y="2609019"/>
            <a:chExt cx="303799" cy="284197"/>
          </a:xfrm>
        </p:grpSpPr>
        <p:grpSp>
          <p:nvGrpSpPr>
            <p:cNvPr id="34" name="Gráfico 2">
              <a:extLst>
                <a:ext uri="{FF2B5EF4-FFF2-40B4-BE49-F238E27FC236}">
                  <a16:creationId xmlns:a16="http://schemas.microsoft.com/office/drawing/2014/main" id="{0367BEF6-6FAC-553E-5B79-209947FD7FBE}"/>
                </a:ext>
              </a:extLst>
            </p:cNvPr>
            <p:cNvGrpSpPr/>
            <p:nvPr/>
          </p:nvGrpSpPr>
          <p:grpSpPr>
            <a:xfrm>
              <a:off x="2142794" y="2609019"/>
              <a:ext cx="107808" cy="284197"/>
              <a:chOff x="2142794" y="2609019"/>
              <a:chExt cx="107808" cy="284197"/>
            </a:xfrm>
          </p:grpSpPr>
          <p:sp>
            <p:nvSpPr>
              <p:cNvPr id="35" name="Forma livre: Forma 34">
                <a:extLst>
                  <a:ext uri="{FF2B5EF4-FFF2-40B4-BE49-F238E27FC236}">
                    <a16:creationId xmlns:a16="http://schemas.microsoft.com/office/drawing/2014/main" id="{1AF1DEC0-0D90-4B42-B42E-FE8BCE679D8D}"/>
                  </a:ext>
                </a:extLst>
              </p:cNvPr>
              <p:cNvSpPr/>
              <p:nvPr/>
            </p:nvSpPr>
            <p:spPr>
              <a:xfrm>
                <a:off x="2142794" y="2741572"/>
                <a:ext cx="97009" cy="151644"/>
              </a:xfrm>
              <a:custGeom>
                <a:avLst/>
                <a:gdLst>
                  <a:gd name="connsiteX0" fmla="*/ 0 w 97009"/>
                  <a:gd name="connsiteY0" fmla="*/ 151644 h 151644"/>
                  <a:gd name="connsiteX1" fmla="*/ 48350 w 97009"/>
                  <a:gd name="connsiteY1" fmla="*/ 151644 h 151644"/>
                  <a:gd name="connsiteX2" fmla="*/ 97009 w 97009"/>
                  <a:gd name="connsiteY2" fmla="*/ 102985 h 151644"/>
                  <a:gd name="connsiteX3" fmla="*/ 97009 w 97009"/>
                  <a:gd name="connsiteY3" fmla="*/ 102498 h 151644"/>
                  <a:gd name="connsiteX4" fmla="*/ 48350 w 97009"/>
                  <a:gd name="connsiteY4" fmla="*/ 53839 h 151644"/>
                  <a:gd name="connsiteX5" fmla="*/ 30804 w 97009"/>
                  <a:gd name="connsiteY5" fmla="*/ 53839 h 151644"/>
                  <a:gd name="connsiteX6" fmla="*/ 3005 w 97009"/>
                  <a:gd name="connsiteY6" fmla="*/ 26017 h 151644"/>
                  <a:gd name="connsiteX7" fmla="*/ 3005 w 97009"/>
                  <a:gd name="connsiteY7" fmla="*/ 27798 h 151644"/>
                  <a:gd name="connsiteX8" fmla="*/ 30804 w 97009"/>
                  <a:gd name="connsiteY8" fmla="*/ 0 h 151644"/>
                  <a:gd name="connsiteX9" fmla="*/ 41448 w 97009"/>
                  <a:gd name="connsiteY9" fmla="*/ 0 h 1516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97009" h="151644">
                    <a:moveTo>
                      <a:pt x="0" y="151644"/>
                    </a:moveTo>
                    <a:lnTo>
                      <a:pt x="48350" y="151644"/>
                    </a:lnTo>
                    <a:cubicBezTo>
                      <a:pt x="75115" y="151644"/>
                      <a:pt x="97009" y="129750"/>
                      <a:pt x="97009" y="102985"/>
                    </a:cubicBezTo>
                    <a:lnTo>
                      <a:pt x="97009" y="102498"/>
                    </a:lnTo>
                    <a:cubicBezTo>
                      <a:pt x="97009" y="75733"/>
                      <a:pt x="75115" y="53839"/>
                      <a:pt x="48350" y="53839"/>
                    </a:cubicBezTo>
                    <a:lnTo>
                      <a:pt x="30804" y="53839"/>
                    </a:lnTo>
                    <a:cubicBezTo>
                      <a:pt x="15515" y="53839"/>
                      <a:pt x="3005" y="41318"/>
                      <a:pt x="3005" y="26017"/>
                    </a:cubicBezTo>
                    <a:lnTo>
                      <a:pt x="3005" y="27798"/>
                    </a:lnTo>
                    <a:cubicBezTo>
                      <a:pt x="3005" y="12509"/>
                      <a:pt x="15515" y="0"/>
                      <a:pt x="30804" y="0"/>
                    </a:cubicBezTo>
                    <a:lnTo>
                      <a:pt x="41448" y="0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6" name="Forma livre: Forma 35">
                <a:extLst>
                  <a:ext uri="{FF2B5EF4-FFF2-40B4-BE49-F238E27FC236}">
                    <a16:creationId xmlns:a16="http://schemas.microsoft.com/office/drawing/2014/main" id="{89692447-A674-27D9-E7E9-736F2C156893}"/>
                  </a:ext>
                </a:extLst>
              </p:cNvPr>
              <p:cNvSpPr/>
              <p:nvPr/>
            </p:nvSpPr>
            <p:spPr>
              <a:xfrm>
                <a:off x="2170200" y="2609019"/>
                <a:ext cx="80401" cy="130070"/>
              </a:xfrm>
              <a:custGeom>
                <a:avLst/>
                <a:gdLst>
                  <a:gd name="connsiteX0" fmla="*/ 0 w 80401"/>
                  <a:gd name="connsiteY0" fmla="*/ 40189 h 130070"/>
                  <a:gd name="connsiteX1" fmla="*/ 40201 w 80401"/>
                  <a:gd name="connsiteY1" fmla="*/ 130071 h 130070"/>
                  <a:gd name="connsiteX2" fmla="*/ 80402 w 80401"/>
                  <a:gd name="connsiteY2" fmla="*/ 40189 h 130070"/>
                  <a:gd name="connsiteX3" fmla="*/ 40201 w 80401"/>
                  <a:gd name="connsiteY3" fmla="*/ 0 h 130070"/>
                  <a:gd name="connsiteX4" fmla="*/ 0 w 80401"/>
                  <a:gd name="connsiteY4" fmla="*/ 40189 h 1300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0401" h="130070">
                    <a:moveTo>
                      <a:pt x="0" y="40189"/>
                    </a:moveTo>
                    <a:cubicBezTo>
                      <a:pt x="0" y="62380"/>
                      <a:pt x="40201" y="130071"/>
                      <a:pt x="40201" y="130071"/>
                    </a:cubicBezTo>
                    <a:cubicBezTo>
                      <a:pt x="40201" y="130071"/>
                      <a:pt x="80402" y="62380"/>
                      <a:pt x="80402" y="40189"/>
                    </a:cubicBezTo>
                    <a:cubicBezTo>
                      <a:pt x="80402" y="17998"/>
                      <a:pt x="62404" y="0"/>
                      <a:pt x="40201" y="0"/>
                    </a:cubicBezTo>
                    <a:cubicBezTo>
                      <a:pt x="17998" y="0"/>
                      <a:pt x="0" y="17986"/>
                      <a:pt x="0" y="40189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7" name="Forma livre: Forma 36">
                <a:extLst>
                  <a:ext uri="{FF2B5EF4-FFF2-40B4-BE49-F238E27FC236}">
                    <a16:creationId xmlns:a16="http://schemas.microsoft.com/office/drawing/2014/main" id="{2951DE34-B7AA-A686-81DA-D7FB29E997A5}"/>
                  </a:ext>
                </a:extLst>
              </p:cNvPr>
              <p:cNvSpPr/>
              <p:nvPr/>
            </p:nvSpPr>
            <p:spPr>
              <a:xfrm>
                <a:off x="2205756" y="2641938"/>
                <a:ext cx="9277" cy="9278"/>
              </a:xfrm>
              <a:custGeom>
                <a:avLst/>
                <a:gdLst>
                  <a:gd name="connsiteX0" fmla="*/ 0 w 9277"/>
                  <a:gd name="connsiteY0" fmla="*/ 4645 h 9278"/>
                  <a:gd name="connsiteX1" fmla="*/ 4633 w 9277"/>
                  <a:gd name="connsiteY1" fmla="*/ 9278 h 9278"/>
                  <a:gd name="connsiteX2" fmla="*/ 9278 w 9277"/>
                  <a:gd name="connsiteY2" fmla="*/ 4645 h 9278"/>
                  <a:gd name="connsiteX3" fmla="*/ 4633 w 9277"/>
                  <a:gd name="connsiteY3" fmla="*/ 0 h 9278"/>
                  <a:gd name="connsiteX4" fmla="*/ 0 w 9277"/>
                  <a:gd name="connsiteY4" fmla="*/ 4645 h 92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9277" h="9278">
                    <a:moveTo>
                      <a:pt x="0" y="4645"/>
                    </a:moveTo>
                    <a:cubicBezTo>
                      <a:pt x="0" y="7199"/>
                      <a:pt x="2055" y="9278"/>
                      <a:pt x="4633" y="9278"/>
                    </a:cubicBezTo>
                    <a:cubicBezTo>
                      <a:pt x="7211" y="9278"/>
                      <a:pt x="9278" y="7199"/>
                      <a:pt x="9278" y="4645"/>
                    </a:cubicBezTo>
                    <a:cubicBezTo>
                      <a:pt x="9278" y="2091"/>
                      <a:pt x="7187" y="0"/>
                      <a:pt x="4633" y="0"/>
                    </a:cubicBezTo>
                    <a:cubicBezTo>
                      <a:pt x="2079" y="0"/>
                      <a:pt x="0" y="2067"/>
                      <a:pt x="0" y="4645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38" name="Gráfico 2">
              <a:extLst>
                <a:ext uri="{FF2B5EF4-FFF2-40B4-BE49-F238E27FC236}">
                  <a16:creationId xmlns:a16="http://schemas.microsoft.com/office/drawing/2014/main" id="{7637B8AD-FBE3-2553-D22B-0B22749B7882}"/>
                </a:ext>
              </a:extLst>
            </p:cNvPr>
            <p:cNvGrpSpPr/>
            <p:nvPr/>
          </p:nvGrpSpPr>
          <p:grpSpPr>
            <a:xfrm>
              <a:off x="1946803" y="2700778"/>
              <a:ext cx="168834" cy="192438"/>
              <a:chOff x="1946803" y="2700778"/>
              <a:chExt cx="168834" cy="192438"/>
            </a:xfrm>
            <a:noFill/>
          </p:grpSpPr>
          <p:sp>
            <p:nvSpPr>
              <p:cNvPr id="39" name="Forma livre: Forma 38">
                <a:extLst>
                  <a:ext uri="{FF2B5EF4-FFF2-40B4-BE49-F238E27FC236}">
                    <a16:creationId xmlns:a16="http://schemas.microsoft.com/office/drawing/2014/main" id="{44CD091A-F77E-A4B2-B824-C61F737F1595}"/>
                  </a:ext>
                </a:extLst>
              </p:cNvPr>
              <p:cNvSpPr/>
              <p:nvPr/>
            </p:nvSpPr>
            <p:spPr>
              <a:xfrm>
                <a:off x="2069009" y="2748225"/>
                <a:ext cx="6319" cy="144468"/>
              </a:xfrm>
              <a:custGeom>
                <a:avLst/>
                <a:gdLst>
                  <a:gd name="connsiteX0" fmla="*/ 0 w 6319"/>
                  <a:gd name="connsiteY0" fmla="*/ 144469 h 144468"/>
                  <a:gd name="connsiteX1" fmla="*/ 0 w 6319"/>
                  <a:gd name="connsiteY1" fmla="*/ 17677 h 144468"/>
                  <a:gd name="connsiteX2" fmla="*/ 6320 w 6319"/>
                  <a:gd name="connsiteY2" fmla="*/ 0 h 1444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6319" h="144468">
                    <a:moveTo>
                      <a:pt x="0" y="144469"/>
                    </a:moveTo>
                    <a:lnTo>
                      <a:pt x="0" y="17677"/>
                    </a:lnTo>
                    <a:lnTo>
                      <a:pt x="6320" y="0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0" name="Forma livre: Forma 39">
                <a:extLst>
                  <a:ext uri="{FF2B5EF4-FFF2-40B4-BE49-F238E27FC236}">
                    <a16:creationId xmlns:a16="http://schemas.microsoft.com/office/drawing/2014/main" id="{18AC526F-5558-73D0-93EB-AEB5AC605012}"/>
                  </a:ext>
                </a:extLst>
              </p:cNvPr>
              <p:cNvSpPr/>
              <p:nvPr/>
            </p:nvSpPr>
            <p:spPr>
              <a:xfrm>
                <a:off x="1946803" y="2700778"/>
                <a:ext cx="168834" cy="192438"/>
              </a:xfrm>
              <a:custGeom>
                <a:avLst/>
                <a:gdLst>
                  <a:gd name="connsiteX0" fmla="*/ 127505 w 168834"/>
                  <a:gd name="connsiteY0" fmla="*/ 26278 h 192438"/>
                  <a:gd name="connsiteX1" fmla="*/ 0 w 168834"/>
                  <a:gd name="connsiteY1" fmla="*/ 26278 h 192438"/>
                  <a:gd name="connsiteX2" fmla="*/ 16940 w 168834"/>
                  <a:gd name="connsiteY2" fmla="*/ 0 h 192438"/>
                  <a:gd name="connsiteX3" fmla="*/ 145288 w 168834"/>
                  <a:gd name="connsiteY3" fmla="*/ 0 h 192438"/>
                  <a:gd name="connsiteX4" fmla="*/ 168834 w 168834"/>
                  <a:gd name="connsiteY4" fmla="*/ 65124 h 192438"/>
                  <a:gd name="connsiteX5" fmla="*/ 168834 w 168834"/>
                  <a:gd name="connsiteY5" fmla="*/ 192439 h 192438"/>
                  <a:gd name="connsiteX6" fmla="*/ 356 w 168834"/>
                  <a:gd name="connsiteY6" fmla="*/ 192439 h 192438"/>
                  <a:gd name="connsiteX7" fmla="*/ 356 w 168834"/>
                  <a:gd name="connsiteY7" fmla="*/ 65124 h 192438"/>
                  <a:gd name="connsiteX8" fmla="*/ 16655 w 168834"/>
                  <a:gd name="connsiteY8" fmla="*/ 26634 h 1924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68834" h="192438">
                    <a:moveTo>
                      <a:pt x="127505" y="26278"/>
                    </a:moveTo>
                    <a:lnTo>
                      <a:pt x="0" y="26278"/>
                    </a:lnTo>
                    <a:lnTo>
                      <a:pt x="16940" y="0"/>
                    </a:lnTo>
                    <a:lnTo>
                      <a:pt x="145288" y="0"/>
                    </a:lnTo>
                    <a:lnTo>
                      <a:pt x="168834" y="65124"/>
                    </a:lnTo>
                    <a:lnTo>
                      <a:pt x="168834" y="192439"/>
                    </a:lnTo>
                    <a:lnTo>
                      <a:pt x="356" y="192439"/>
                    </a:lnTo>
                    <a:lnTo>
                      <a:pt x="356" y="65124"/>
                    </a:lnTo>
                    <a:lnTo>
                      <a:pt x="16655" y="26634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41" name="Gráfico 2">
            <a:extLst>
              <a:ext uri="{FF2B5EF4-FFF2-40B4-BE49-F238E27FC236}">
                <a16:creationId xmlns:a16="http://schemas.microsoft.com/office/drawing/2014/main" id="{137FBA9B-EEA7-F6B5-4ADE-2A1A22B72E9F}"/>
              </a:ext>
            </a:extLst>
          </p:cNvPr>
          <p:cNvGrpSpPr/>
          <p:nvPr/>
        </p:nvGrpSpPr>
        <p:grpSpPr>
          <a:xfrm>
            <a:off x="686511" y="2599573"/>
            <a:ext cx="344583" cy="303087"/>
            <a:chOff x="686511" y="2599573"/>
            <a:chExt cx="344583" cy="303087"/>
          </a:xfrm>
          <a:noFill/>
        </p:grpSpPr>
        <p:sp>
          <p:nvSpPr>
            <p:cNvPr id="42" name="Forma livre: Forma 41">
              <a:extLst>
                <a:ext uri="{FF2B5EF4-FFF2-40B4-BE49-F238E27FC236}">
                  <a16:creationId xmlns:a16="http://schemas.microsoft.com/office/drawing/2014/main" id="{EA0B95E4-A2EC-6CCD-78EF-82F3537E7E2F}"/>
                </a:ext>
              </a:extLst>
            </p:cNvPr>
            <p:cNvSpPr/>
            <p:nvPr/>
          </p:nvSpPr>
          <p:spPr>
            <a:xfrm>
              <a:off x="870456" y="2601250"/>
              <a:ext cx="61893" cy="41959"/>
            </a:xfrm>
            <a:custGeom>
              <a:avLst/>
              <a:gdLst>
                <a:gd name="connsiteX0" fmla="*/ 0 w 61893"/>
                <a:gd name="connsiteY0" fmla="*/ 41959 h 41959"/>
                <a:gd name="connsiteX1" fmla="*/ 0 w 61893"/>
                <a:gd name="connsiteY1" fmla="*/ 0 h 41959"/>
                <a:gd name="connsiteX2" fmla="*/ 61893 w 61893"/>
                <a:gd name="connsiteY2" fmla="*/ 0 h 41959"/>
                <a:gd name="connsiteX3" fmla="*/ 61893 w 61893"/>
                <a:gd name="connsiteY3" fmla="*/ 38063 h 419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1893" h="41959">
                  <a:moveTo>
                    <a:pt x="0" y="41959"/>
                  </a:moveTo>
                  <a:lnTo>
                    <a:pt x="0" y="0"/>
                  </a:lnTo>
                  <a:lnTo>
                    <a:pt x="61893" y="0"/>
                  </a:lnTo>
                  <a:lnTo>
                    <a:pt x="61893" y="38063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3" name="Forma livre: Forma 42">
              <a:extLst>
                <a:ext uri="{FF2B5EF4-FFF2-40B4-BE49-F238E27FC236}">
                  <a16:creationId xmlns:a16="http://schemas.microsoft.com/office/drawing/2014/main" id="{8CFCB73E-5F1A-A3A6-6DA1-A09D91FD7B5A}"/>
                </a:ext>
              </a:extLst>
            </p:cNvPr>
            <p:cNvSpPr/>
            <p:nvPr/>
          </p:nvSpPr>
          <p:spPr>
            <a:xfrm>
              <a:off x="807589" y="2646440"/>
              <a:ext cx="96213" cy="34605"/>
            </a:xfrm>
            <a:custGeom>
              <a:avLst/>
              <a:gdLst>
                <a:gd name="connsiteX0" fmla="*/ 0 w 96213"/>
                <a:gd name="connsiteY0" fmla="*/ 34606 h 34605"/>
                <a:gd name="connsiteX1" fmla="*/ 0 w 96213"/>
                <a:gd name="connsiteY1" fmla="*/ 0 h 34605"/>
                <a:gd name="connsiteX2" fmla="*/ 96214 w 96213"/>
                <a:gd name="connsiteY2" fmla="*/ 0 h 34605"/>
                <a:gd name="connsiteX3" fmla="*/ 96214 w 96213"/>
                <a:gd name="connsiteY3" fmla="*/ 34606 h 346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6213" h="34605">
                  <a:moveTo>
                    <a:pt x="0" y="34606"/>
                  </a:moveTo>
                  <a:lnTo>
                    <a:pt x="0" y="0"/>
                  </a:lnTo>
                  <a:lnTo>
                    <a:pt x="96214" y="0"/>
                  </a:lnTo>
                  <a:lnTo>
                    <a:pt x="96214" y="34606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4" name="Forma livre: Forma 43">
              <a:extLst>
                <a:ext uri="{FF2B5EF4-FFF2-40B4-BE49-F238E27FC236}">
                  <a16:creationId xmlns:a16="http://schemas.microsoft.com/office/drawing/2014/main" id="{D08C512D-FD3A-553E-A541-1697B6AB344B}"/>
                </a:ext>
              </a:extLst>
            </p:cNvPr>
            <p:cNvSpPr/>
            <p:nvPr/>
          </p:nvSpPr>
          <p:spPr>
            <a:xfrm>
              <a:off x="780586" y="2700647"/>
              <a:ext cx="226236" cy="138374"/>
            </a:xfrm>
            <a:custGeom>
              <a:avLst/>
              <a:gdLst>
                <a:gd name="connsiteX0" fmla="*/ 200969 w 226236"/>
                <a:gd name="connsiteY0" fmla="*/ 138374 h 138374"/>
                <a:gd name="connsiteX1" fmla="*/ 57355 w 226236"/>
                <a:gd name="connsiteY1" fmla="*/ 138374 h 138374"/>
                <a:gd name="connsiteX2" fmla="*/ 38110 w 226236"/>
                <a:gd name="connsiteY2" fmla="*/ 119034 h 138374"/>
                <a:gd name="connsiteX3" fmla="*/ 38110 w 226236"/>
                <a:gd name="connsiteY3" fmla="*/ 119034 h 138374"/>
                <a:gd name="connsiteX4" fmla="*/ 57355 w 226236"/>
                <a:gd name="connsiteY4" fmla="*/ 99694 h 138374"/>
                <a:gd name="connsiteX5" fmla="*/ 170711 w 226236"/>
                <a:gd name="connsiteY5" fmla="*/ 99694 h 138374"/>
                <a:gd name="connsiteX6" fmla="*/ 195967 w 226236"/>
                <a:gd name="connsiteY6" fmla="*/ 82053 h 138374"/>
                <a:gd name="connsiteX7" fmla="*/ 226237 w 226236"/>
                <a:gd name="connsiteY7" fmla="*/ 0 h 138374"/>
                <a:gd name="connsiteX8" fmla="*/ 0 w 226236"/>
                <a:gd name="connsiteY8" fmla="*/ 0 h 1383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26236" h="138374">
                  <a:moveTo>
                    <a:pt x="200969" y="138374"/>
                  </a:moveTo>
                  <a:lnTo>
                    <a:pt x="57355" y="138374"/>
                  </a:lnTo>
                  <a:cubicBezTo>
                    <a:pt x="46770" y="138374"/>
                    <a:pt x="38110" y="129619"/>
                    <a:pt x="38110" y="119034"/>
                  </a:cubicBezTo>
                  <a:lnTo>
                    <a:pt x="38110" y="119034"/>
                  </a:lnTo>
                  <a:cubicBezTo>
                    <a:pt x="38110" y="108450"/>
                    <a:pt x="46770" y="99694"/>
                    <a:pt x="57355" y="99694"/>
                  </a:cubicBezTo>
                  <a:lnTo>
                    <a:pt x="170711" y="99694"/>
                  </a:lnTo>
                  <a:cubicBezTo>
                    <a:pt x="191560" y="99694"/>
                    <a:pt x="195967" y="82053"/>
                    <a:pt x="195967" y="82053"/>
                  </a:cubicBezTo>
                  <a:lnTo>
                    <a:pt x="226237" y="0"/>
                  </a:lnTo>
                  <a:lnTo>
                    <a:pt x="0" y="0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5" name="Forma livre: Forma 44">
              <a:extLst>
                <a:ext uri="{FF2B5EF4-FFF2-40B4-BE49-F238E27FC236}">
                  <a16:creationId xmlns:a16="http://schemas.microsoft.com/office/drawing/2014/main" id="{28EE34D0-3B6A-37A5-7FE0-8B89A3334F3B}"/>
                </a:ext>
              </a:extLst>
            </p:cNvPr>
            <p:cNvSpPr/>
            <p:nvPr/>
          </p:nvSpPr>
          <p:spPr>
            <a:xfrm>
              <a:off x="820644" y="2865121"/>
              <a:ext cx="37527" cy="37539"/>
            </a:xfrm>
            <a:custGeom>
              <a:avLst/>
              <a:gdLst>
                <a:gd name="connsiteX0" fmla="*/ 37528 w 37527"/>
                <a:gd name="connsiteY0" fmla="*/ 18770 h 37539"/>
                <a:gd name="connsiteX1" fmla="*/ 18758 w 37527"/>
                <a:gd name="connsiteY1" fmla="*/ 37540 h 37539"/>
                <a:gd name="connsiteX2" fmla="*/ 0 w 37527"/>
                <a:gd name="connsiteY2" fmla="*/ 18770 h 37539"/>
                <a:gd name="connsiteX3" fmla="*/ 18758 w 37527"/>
                <a:gd name="connsiteY3" fmla="*/ 0 h 37539"/>
                <a:gd name="connsiteX4" fmla="*/ 37528 w 37527"/>
                <a:gd name="connsiteY4" fmla="*/ 18770 h 375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7527" h="37539">
                  <a:moveTo>
                    <a:pt x="37528" y="18770"/>
                  </a:moveTo>
                  <a:cubicBezTo>
                    <a:pt x="37528" y="29141"/>
                    <a:pt x="29129" y="37540"/>
                    <a:pt x="18758" y="37540"/>
                  </a:cubicBezTo>
                  <a:cubicBezTo>
                    <a:pt x="8387" y="37540"/>
                    <a:pt x="0" y="29141"/>
                    <a:pt x="0" y="18770"/>
                  </a:cubicBezTo>
                  <a:cubicBezTo>
                    <a:pt x="0" y="8399"/>
                    <a:pt x="8399" y="0"/>
                    <a:pt x="18758" y="0"/>
                  </a:cubicBezTo>
                  <a:cubicBezTo>
                    <a:pt x="29117" y="0"/>
                    <a:pt x="37528" y="8399"/>
                    <a:pt x="37528" y="18770"/>
                  </a:cubicBez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6" name="Forma livre: Forma 45">
              <a:extLst>
                <a:ext uri="{FF2B5EF4-FFF2-40B4-BE49-F238E27FC236}">
                  <a16:creationId xmlns:a16="http://schemas.microsoft.com/office/drawing/2014/main" id="{4981DE03-4BE9-476A-0275-E5FE96784090}"/>
                </a:ext>
              </a:extLst>
            </p:cNvPr>
            <p:cNvSpPr/>
            <p:nvPr/>
          </p:nvSpPr>
          <p:spPr>
            <a:xfrm>
              <a:off x="944122" y="2865121"/>
              <a:ext cx="37527" cy="37539"/>
            </a:xfrm>
            <a:custGeom>
              <a:avLst/>
              <a:gdLst>
                <a:gd name="connsiteX0" fmla="*/ 37528 w 37527"/>
                <a:gd name="connsiteY0" fmla="*/ 18770 h 37539"/>
                <a:gd name="connsiteX1" fmla="*/ 18770 w 37527"/>
                <a:gd name="connsiteY1" fmla="*/ 37540 h 37539"/>
                <a:gd name="connsiteX2" fmla="*/ 0 w 37527"/>
                <a:gd name="connsiteY2" fmla="*/ 18770 h 37539"/>
                <a:gd name="connsiteX3" fmla="*/ 18770 w 37527"/>
                <a:gd name="connsiteY3" fmla="*/ 0 h 37539"/>
                <a:gd name="connsiteX4" fmla="*/ 37528 w 37527"/>
                <a:gd name="connsiteY4" fmla="*/ 18770 h 375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7527" h="37539">
                  <a:moveTo>
                    <a:pt x="37528" y="18770"/>
                  </a:moveTo>
                  <a:cubicBezTo>
                    <a:pt x="37528" y="29141"/>
                    <a:pt x="29129" y="37540"/>
                    <a:pt x="18770" y="37540"/>
                  </a:cubicBezTo>
                  <a:cubicBezTo>
                    <a:pt x="8411" y="37540"/>
                    <a:pt x="0" y="29141"/>
                    <a:pt x="0" y="18770"/>
                  </a:cubicBezTo>
                  <a:cubicBezTo>
                    <a:pt x="0" y="8399"/>
                    <a:pt x="8399" y="0"/>
                    <a:pt x="18770" y="0"/>
                  </a:cubicBezTo>
                  <a:cubicBezTo>
                    <a:pt x="29141" y="0"/>
                    <a:pt x="37528" y="8399"/>
                    <a:pt x="37528" y="18770"/>
                  </a:cubicBez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7" name="Forma livre: Forma 46">
              <a:extLst>
                <a:ext uri="{FF2B5EF4-FFF2-40B4-BE49-F238E27FC236}">
                  <a16:creationId xmlns:a16="http://schemas.microsoft.com/office/drawing/2014/main" id="{B892C37A-6581-08D6-34F6-FA1BE0E40C69}"/>
                </a:ext>
              </a:extLst>
            </p:cNvPr>
            <p:cNvSpPr/>
            <p:nvPr/>
          </p:nvSpPr>
          <p:spPr>
            <a:xfrm>
              <a:off x="738092" y="2668821"/>
              <a:ext cx="53755" cy="63972"/>
            </a:xfrm>
            <a:custGeom>
              <a:avLst/>
              <a:gdLst>
                <a:gd name="connsiteX0" fmla="*/ 53756 w 53755"/>
                <a:gd name="connsiteY0" fmla="*/ 63972 h 63972"/>
                <a:gd name="connsiteX1" fmla="*/ 29664 w 53755"/>
                <a:gd name="connsiteY1" fmla="*/ 0 h 63972"/>
                <a:gd name="connsiteX2" fmla="*/ 0 w 53755"/>
                <a:gd name="connsiteY2" fmla="*/ 0 h 639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53755" h="63972">
                  <a:moveTo>
                    <a:pt x="53756" y="63972"/>
                  </a:moveTo>
                  <a:lnTo>
                    <a:pt x="29664" y="0"/>
                  </a:lnTo>
                  <a:lnTo>
                    <a:pt x="0" y="0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8" name="Forma livre: Forma 47">
              <a:extLst>
                <a:ext uri="{FF2B5EF4-FFF2-40B4-BE49-F238E27FC236}">
                  <a16:creationId xmlns:a16="http://schemas.microsoft.com/office/drawing/2014/main" id="{36D91EFF-75BE-344D-955C-7DEA0903C255}"/>
                </a:ext>
              </a:extLst>
            </p:cNvPr>
            <p:cNvSpPr/>
            <p:nvPr/>
          </p:nvSpPr>
          <p:spPr>
            <a:xfrm>
              <a:off x="802148" y="2757860"/>
              <a:ext cx="9432" cy="25113"/>
            </a:xfrm>
            <a:custGeom>
              <a:avLst/>
              <a:gdLst>
                <a:gd name="connsiteX0" fmla="*/ 9432 w 9432"/>
                <a:gd name="connsiteY0" fmla="*/ 25114 h 25113"/>
                <a:gd name="connsiteX1" fmla="*/ 0 w 9432"/>
                <a:gd name="connsiteY1" fmla="*/ 0 h 251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432" h="25113">
                  <a:moveTo>
                    <a:pt x="9432" y="25114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49" name="Gráfico 2">
              <a:extLst>
                <a:ext uri="{FF2B5EF4-FFF2-40B4-BE49-F238E27FC236}">
                  <a16:creationId xmlns:a16="http://schemas.microsoft.com/office/drawing/2014/main" id="{95F22764-9B0C-DA6B-6050-50CBF9F55986}"/>
                </a:ext>
              </a:extLst>
            </p:cNvPr>
            <p:cNvGrpSpPr/>
            <p:nvPr/>
          </p:nvGrpSpPr>
          <p:grpSpPr>
            <a:xfrm>
              <a:off x="928678" y="2599573"/>
              <a:ext cx="102416" cy="79559"/>
              <a:chOff x="928678" y="2599573"/>
              <a:chExt cx="102416" cy="79559"/>
            </a:xfrm>
            <a:noFill/>
          </p:grpSpPr>
          <p:sp>
            <p:nvSpPr>
              <p:cNvPr id="50" name="Forma livre: Forma 49">
                <a:extLst>
                  <a:ext uri="{FF2B5EF4-FFF2-40B4-BE49-F238E27FC236}">
                    <a16:creationId xmlns:a16="http://schemas.microsoft.com/office/drawing/2014/main" id="{2B465BDC-DC0B-E6E0-3E88-8A07A19CCAD8}"/>
                  </a:ext>
                </a:extLst>
              </p:cNvPr>
              <p:cNvSpPr/>
              <p:nvPr/>
            </p:nvSpPr>
            <p:spPr>
              <a:xfrm>
                <a:off x="928678" y="2599573"/>
                <a:ext cx="102416" cy="79559"/>
              </a:xfrm>
              <a:custGeom>
                <a:avLst/>
                <a:gdLst>
                  <a:gd name="connsiteX0" fmla="*/ 0 w 102416"/>
                  <a:gd name="connsiteY0" fmla="*/ 77540 h 79559"/>
                  <a:gd name="connsiteX1" fmla="*/ 64055 w 102416"/>
                  <a:gd name="connsiteY1" fmla="*/ 6547 h 79559"/>
                  <a:gd name="connsiteX2" fmla="*/ 92174 w 102416"/>
                  <a:gd name="connsiteY2" fmla="*/ 5098 h 79559"/>
                  <a:gd name="connsiteX3" fmla="*/ 95869 w 102416"/>
                  <a:gd name="connsiteY3" fmla="*/ 8424 h 79559"/>
                  <a:gd name="connsiteX4" fmla="*/ 97318 w 102416"/>
                  <a:gd name="connsiteY4" fmla="*/ 36544 h 79559"/>
                  <a:gd name="connsiteX5" fmla="*/ 58507 w 102416"/>
                  <a:gd name="connsiteY5" fmla="*/ 79560 h 795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02416" h="79559">
                    <a:moveTo>
                      <a:pt x="0" y="77540"/>
                    </a:moveTo>
                    <a:lnTo>
                      <a:pt x="64055" y="6547"/>
                    </a:lnTo>
                    <a:cubicBezTo>
                      <a:pt x="71385" y="-1578"/>
                      <a:pt x="84037" y="-2232"/>
                      <a:pt x="92174" y="5098"/>
                    </a:cubicBezTo>
                    <a:lnTo>
                      <a:pt x="95869" y="8424"/>
                    </a:lnTo>
                    <a:cubicBezTo>
                      <a:pt x="103995" y="15766"/>
                      <a:pt x="104648" y="28418"/>
                      <a:pt x="97318" y="36544"/>
                    </a:cubicBezTo>
                    <a:lnTo>
                      <a:pt x="58507" y="7956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1" name="Forma livre: Forma 50">
                <a:extLst>
                  <a:ext uri="{FF2B5EF4-FFF2-40B4-BE49-F238E27FC236}">
                    <a16:creationId xmlns:a16="http://schemas.microsoft.com/office/drawing/2014/main" id="{DAD4EFA1-2C60-49B2-B792-DC3EE131800A}"/>
                  </a:ext>
                </a:extLst>
              </p:cNvPr>
              <p:cNvSpPr/>
              <p:nvPr/>
            </p:nvSpPr>
            <p:spPr>
              <a:xfrm>
                <a:off x="972787" y="2621677"/>
                <a:ext cx="28119" cy="6551"/>
              </a:xfrm>
              <a:custGeom>
                <a:avLst/>
                <a:gdLst>
                  <a:gd name="connsiteX0" fmla="*/ 0 w 28119"/>
                  <a:gd name="connsiteY0" fmla="*/ 6551 h 6551"/>
                  <a:gd name="connsiteX1" fmla="*/ 28119 w 28119"/>
                  <a:gd name="connsiteY1" fmla="*/ 5102 h 65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8119" h="6551">
                    <a:moveTo>
                      <a:pt x="0" y="6551"/>
                    </a:moveTo>
                    <a:cubicBezTo>
                      <a:pt x="7342" y="-1586"/>
                      <a:pt x="19982" y="-2228"/>
                      <a:pt x="28119" y="5102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2" name="Forma livre: Forma 51">
                <a:extLst>
                  <a:ext uri="{FF2B5EF4-FFF2-40B4-BE49-F238E27FC236}">
                    <a16:creationId xmlns:a16="http://schemas.microsoft.com/office/drawing/2014/main" id="{03034B20-2C4C-74AA-FE7B-220063F42360}"/>
                  </a:ext>
                </a:extLst>
              </p:cNvPr>
              <p:cNvSpPr/>
              <p:nvPr/>
            </p:nvSpPr>
            <p:spPr>
              <a:xfrm>
                <a:off x="953626" y="2642920"/>
                <a:ext cx="28119" cy="6549"/>
              </a:xfrm>
              <a:custGeom>
                <a:avLst/>
                <a:gdLst>
                  <a:gd name="connsiteX0" fmla="*/ 0 w 28119"/>
                  <a:gd name="connsiteY0" fmla="*/ 6550 h 6549"/>
                  <a:gd name="connsiteX1" fmla="*/ 28119 w 28119"/>
                  <a:gd name="connsiteY1" fmla="*/ 5112 h 65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8119" h="6549">
                    <a:moveTo>
                      <a:pt x="0" y="6550"/>
                    </a:moveTo>
                    <a:cubicBezTo>
                      <a:pt x="7330" y="-1588"/>
                      <a:pt x="19982" y="-2230"/>
                      <a:pt x="28119" y="5112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53" name="Gráfico 2">
              <a:extLst>
                <a:ext uri="{FF2B5EF4-FFF2-40B4-BE49-F238E27FC236}">
                  <a16:creationId xmlns:a16="http://schemas.microsoft.com/office/drawing/2014/main" id="{4D84F5E7-A35B-6BF2-BBD8-8945E9A3A4D8}"/>
                </a:ext>
              </a:extLst>
            </p:cNvPr>
            <p:cNvGrpSpPr/>
            <p:nvPr/>
          </p:nvGrpSpPr>
          <p:grpSpPr>
            <a:xfrm>
              <a:off x="730454" y="2753987"/>
              <a:ext cx="94502" cy="1484"/>
              <a:chOff x="730454" y="2753987"/>
              <a:chExt cx="94502" cy="1484"/>
            </a:xfrm>
          </p:grpSpPr>
          <p:sp>
            <p:nvSpPr>
              <p:cNvPr id="54" name="Forma livre: Forma 53">
                <a:extLst>
                  <a:ext uri="{FF2B5EF4-FFF2-40B4-BE49-F238E27FC236}">
                    <a16:creationId xmlns:a16="http://schemas.microsoft.com/office/drawing/2014/main" id="{1DCA46AE-4F9D-0F1C-D48F-C65D851435F2}"/>
                  </a:ext>
                </a:extLst>
              </p:cNvPr>
              <p:cNvSpPr/>
              <p:nvPr/>
            </p:nvSpPr>
            <p:spPr>
              <a:xfrm>
                <a:off x="765143" y="2755472"/>
                <a:ext cx="59814" cy="1187"/>
              </a:xfrm>
              <a:custGeom>
                <a:avLst/>
                <a:gdLst>
                  <a:gd name="connsiteX0" fmla="*/ 59814 w 59814"/>
                  <a:gd name="connsiteY0" fmla="*/ 0 h 1187"/>
                  <a:gd name="connsiteX1" fmla="*/ 0 w 59814"/>
                  <a:gd name="connsiteY1" fmla="*/ 0 h 11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9814" h="1187">
                    <a:moveTo>
                      <a:pt x="59814" y="0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5" name="Forma livre: Forma 54">
                <a:extLst>
                  <a:ext uri="{FF2B5EF4-FFF2-40B4-BE49-F238E27FC236}">
                    <a16:creationId xmlns:a16="http://schemas.microsoft.com/office/drawing/2014/main" id="{5110B82C-0C56-E750-1CFA-4CB5D9C0DADC}"/>
                  </a:ext>
                </a:extLst>
              </p:cNvPr>
              <p:cNvSpPr/>
              <p:nvPr/>
            </p:nvSpPr>
            <p:spPr>
              <a:xfrm>
                <a:off x="730454" y="2753987"/>
                <a:ext cx="11630" cy="1187"/>
              </a:xfrm>
              <a:custGeom>
                <a:avLst/>
                <a:gdLst>
                  <a:gd name="connsiteX0" fmla="*/ 11630 w 11630"/>
                  <a:gd name="connsiteY0" fmla="*/ 0 h 1187"/>
                  <a:gd name="connsiteX1" fmla="*/ 0 w 11630"/>
                  <a:gd name="connsiteY1" fmla="*/ 0 h 11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630" h="1187">
                    <a:moveTo>
                      <a:pt x="11630" y="0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56" name="Forma livre: Forma 55">
              <a:extLst>
                <a:ext uri="{FF2B5EF4-FFF2-40B4-BE49-F238E27FC236}">
                  <a16:creationId xmlns:a16="http://schemas.microsoft.com/office/drawing/2014/main" id="{F2DAA31F-6D06-30EF-FF34-10A41EAC4F61}"/>
                </a:ext>
              </a:extLst>
            </p:cNvPr>
            <p:cNvSpPr/>
            <p:nvPr/>
          </p:nvSpPr>
          <p:spPr>
            <a:xfrm>
              <a:off x="686511" y="2723824"/>
              <a:ext cx="69508" cy="1187"/>
            </a:xfrm>
            <a:custGeom>
              <a:avLst/>
              <a:gdLst>
                <a:gd name="connsiteX0" fmla="*/ 69508 w 69508"/>
                <a:gd name="connsiteY0" fmla="*/ 0 h 1187"/>
                <a:gd name="connsiteX1" fmla="*/ 0 w 69508"/>
                <a:gd name="connsiteY1" fmla="*/ 0 h 11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9508" h="1187">
                  <a:moveTo>
                    <a:pt x="69508" y="0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57" name="Forma livre: Forma 56">
              <a:extLst>
                <a:ext uri="{FF2B5EF4-FFF2-40B4-BE49-F238E27FC236}">
                  <a16:creationId xmlns:a16="http://schemas.microsoft.com/office/drawing/2014/main" id="{B05A34D2-1667-9E78-1839-F7DC52A1C637}"/>
                </a:ext>
              </a:extLst>
            </p:cNvPr>
            <p:cNvSpPr/>
            <p:nvPr/>
          </p:nvSpPr>
          <p:spPr>
            <a:xfrm>
              <a:off x="720119" y="2784149"/>
              <a:ext cx="53078" cy="1187"/>
            </a:xfrm>
            <a:custGeom>
              <a:avLst/>
              <a:gdLst>
                <a:gd name="connsiteX0" fmla="*/ 53078 w 53078"/>
                <a:gd name="connsiteY0" fmla="*/ 0 h 1187"/>
                <a:gd name="connsiteX1" fmla="*/ 0 w 53078"/>
                <a:gd name="connsiteY1" fmla="*/ 0 h 11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3078" h="1187">
                  <a:moveTo>
                    <a:pt x="53078" y="0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58" name="Gráfico 2">
            <a:extLst>
              <a:ext uri="{FF2B5EF4-FFF2-40B4-BE49-F238E27FC236}">
                <a16:creationId xmlns:a16="http://schemas.microsoft.com/office/drawing/2014/main" id="{49835A2F-C8CA-3417-601E-21FA90926ADA}"/>
              </a:ext>
            </a:extLst>
          </p:cNvPr>
          <p:cNvGrpSpPr/>
          <p:nvPr/>
        </p:nvGrpSpPr>
        <p:grpSpPr>
          <a:xfrm>
            <a:off x="1331483" y="3125595"/>
            <a:ext cx="294509" cy="310332"/>
            <a:chOff x="1331483" y="3125595"/>
            <a:chExt cx="294509" cy="310332"/>
          </a:xfrm>
          <a:noFill/>
        </p:grpSpPr>
        <p:grpSp>
          <p:nvGrpSpPr>
            <p:cNvPr id="59" name="Gráfico 2">
              <a:extLst>
                <a:ext uri="{FF2B5EF4-FFF2-40B4-BE49-F238E27FC236}">
                  <a16:creationId xmlns:a16="http://schemas.microsoft.com/office/drawing/2014/main" id="{ACA7CD35-5647-2EAC-785F-AA628586E8D2}"/>
                </a:ext>
              </a:extLst>
            </p:cNvPr>
            <p:cNvGrpSpPr/>
            <p:nvPr/>
          </p:nvGrpSpPr>
          <p:grpSpPr>
            <a:xfrm>
              <a:off x="1331483" y="3125595"/>
              <a:ext cx="261269" cy="265784"/>
              <a:chOff x="1331483" y="3125595"/>
              <a:chExt cx="261269" cy="265784"/>
            </a:xfrm>
            <a:noFill/>
          </p:grpSpPr>
          <p:grpSp>
            <p:nvGrpSpPr>
              <p:cNvPr id="60" name="Gráfico 2">
                <a:extLst>
                  <a:ext uri="{FF2B5EF4-FFF2-40B4-BE49-F238E27FC236}">
                    <a16:creationId xmlns:a16="http://schemas.microsoft.com/office/drawing/2014/main" id="{0BE50528-F403-EA43-05F8-801AEE602494}"/>
                  </a:ext>
                </a:extLst>
              </p:cNvPr>
              <p:cNvGrpSpPr/>
              <p:nvPr/>
            </p:nvGrpSpPr>
            <p:grpSpPr>
              <a:xfrm>
                <a:off x="1333680" y="3128387"/>
                <a:ext cx="189231" cy="259012"/>
                <a:chOff x="1333680" y="3128387"/>
                <a:chExt cx="189231" cy="259012"/>
              </a:xfrm>
              <a:noFill/>
            </p:grpSpPr>
            <p:sp>
              <p:nvSpPr>
                <p:cNvPr id="61" name="Forma livre: Forma 60">
                  <a:extLst>
                    <a:ext uri="{FF2B5EF4-FFF2-40B4-BE49-F238E27FC236}">
                      <a16:creationId xmlns:a16="http://schemas.microsoft.com/office/drawing/2014/main" id="{12324273-6AE1-FE0E-ACAE-2237977C719C}"/>
                    </a:ext>
                  </a:extLst>
                </p:cNvPr>
                <p:cNvSpPr/>
                <p:nvPr/>
              </p:nvSpPr>
              <p:spPr>
                <a:xfrm>
                  <a:off x="1464416" y="3354493"/>
                  <a:ext cx="1187" cy="32906"/>
                </a:xfrm>
                <a:custGeom>
                  <a:avLst/>
                  <a:gdLst>
                    <a:gd name="connsiteX0" fmla="*/ 0 w 1187"/>
                    <a:gd name="connsiteY0" fmla="*/ 0 h 32906"/>
                    <a:gd name="connsiteX1" fmla="*/ 0 w 1187"/>
                    <a:gd name="connsiteY1" fmla="*/ 32907 h 3290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187" h="32906">
                      <a:moveTo>
                        <a:pt x="0" y="0"/>
                      </a:moveTo>
                      <a:lnTo>
                        <a:pt x="0" y="32907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62" name="Forma livre: Forma 61">
                  <a:extLst>
                    <a:ext uri="{FF2B5EF4-FFF2-40B4-BE49-F238E27FC236}">
                      <a16:creationId xmlns:a16="http://schemas.microsoft.com/office/drawing/2014/main" id="{222D95DA-4DF9-CFBC-04A8-F8CAADC674E6}"/>
                    </a:ext>
                  </a:extLst>
                </p:cNvPr>
                <p:cNvSpPr/>
                <p:nvPr/>
              </p:nvSpPr>
              <p:spPr>
                <a:xfrm>
                  <a:off x="1333680" y="3128387"/>
                  <a:ext cx="103436" cy="105907"/>
                </a:xfrm>
                <a:custGeom>
                  <a:avLst/>
                  <a:gdLst>
                    <a:gd name="connsiteX0" fmla="*/ 0 w 103436"/>
                    <a:gd name="connsiteY0" fmla="*/ 105907 h 105907"/>
                    <a:gd name="connsiteX1" fmla="*/ 103436 w 103436"/>
                    <a:gd name="connsiteY1" fmla="*/ 0 h 10590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03436" h="105907">
                      <a:moveTo>
                        <a:pt x="0" y="105907"/>
                      </a:moveTo>
                      <a:cubicBezTo>
                        <a:pt x="9741" y="52936"/>
                        <a:pt x="50904" y="10953"/>
                        <a:pt x="103436" y="0"/>
                      </a:cubicBez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63" name="Forma livre: Forma 62">
                  <a:extLst>
                    <a:ext uri="{FF2B5EF4-FFF2-40B4-BE49-F238E27FC236}">
                      <a16:creationId xmlns:a16="http://schemas.microsoft.com/office/drawing/2014/main" id="{BC7DF223-223B-1170-34D7-2DDF846A378A}"/>
                    </a:ext>
                  </a:extLst>
                </p:cNvPr>
                <p:cNvSpPr/>
                <p:nvPr/>
              </p:nvSpPr>
              <p:spPr>
                <a:xfrm>
                  <a:off x="1420034" y="3183223"/>
                  <a:ext cx="102878" cy="87992"/>
                </a:xfrm>
                <a:custGeom>
                  <a:avLst/>
                  <a:gdLst>
                    <a:gd name="connsiteX0" fmla="*/ 102878 w 102878"/>
                    <a:gd name="connsiteY0" fmla="*/ 0 h 87992"/>
                    <a:gd name="connsiteX1" fmla="*/ 44703 w 102878"/>
                    <a:gd name="connsiteY1" fmla="*/ 87993 h 87992"/>
                    <a:gd name="connsiteX2" fmla="*/ 0 w 102878"/>
                    <a:gd name="connsiteY2" fmla="*/ 45737 h 879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02878" h="87992">
                      <a:moveTo>
                        <a:pt x="102878" y="0"/>
                      </a:moveTo>
                      <a:lnTo>
                        <a:pt x="44703" y="87993"/>
                      </a:lnTo>
                      <a:lnTo>
                        <a:pt x="0" y="45737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64" name="Forma livre: Forma 63">
                <a:extLst>
                  <a:ext uri="{FF2B5EF4-FFF2-40B4-BE49-F238E27FC236}">
                    <a16:creationId xmlns:a16="http://schemas.microsoft.com/office/drawing/2014/main" id="{30C28B4C-72B3-BABD-6926-CC5EC0ED951B}"/>
                  </a:ext>
                </a:extLst>
              </p:cNvPr>
              <p:cNvSpPr/>
              <p:nvPr/>
            </p:nvSpPr>
            <p:spPr>
              <a:xfrm>
                <a:off x="1464392" y="3125595"/>
                <a:ext cx="128360" cy="98161"/>
              </a:xfrm>
              <a:custGeom>
                <a:avLst/>
                <a:gdLst>
                  <a:gd name="connsiteX0" fmla="*/ 128360 w 128360"/>
                  <a:gd name="connsiteY0" fmla="*/ 98162 h 98161"/>
                  <a:gd name="connsiteX1" fmla="*/ 0 w 128360"/>
                  <a:gd name="connsiteY1" fmla="*/ 0 h 98161"/>
                  <a:gd name="connsiteX2" fmla="*/ 0 w 128360"/>
                  <a:gd name="connsiteY2" fmla="*/ 36875 h 981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28360" h="98161">
                    <a:moveTo>
                      <a:pt x="128360" y="98162"/>
                    </a:moveTo>
                    <a:cubicBezTo>
                      <a:pt x="113095" y="41615"/>
                      <a:pt x="61430" y="0"/>
                      <a:pt x="0" y="0"/>
                    </a:cubicBezTo>
                    <a:lnTo>
                      <a:pt x="0" y="36875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65" name="Forma livre: Forma 64">
                <a:extLst>
                  <a:ext uri="{FF2B5EF4-FFF2-40B4-BE49-F238E27FC236}">
                    <a16:creationId xmlns:a16="http://schemas.microsoft.com/office/drawing/2014/main" id="{35889CB7-DED3-BB5E-599E-53963F5BD233}"/>
                  </a:ext>
                </a:extLst>
              </p:cNvPr>
              <p:cNvSpPr/>
              <p:nvPr/>
            </p:nvSpPr>
            <p:spPr>
              <a:xfrm>
                <a:off x="1331483" y="3258481"/>
                <a:ext cx="160375" cy="132897"/>
              </a:xfrm>
              <a:custGeom>
                <a:avLst/>
                <a:gdLst>
                  <a:gd name="connsiteX0" fmla="*/ 36209 w 160375"/>
                  <a:gd name="connsiteY0" fmla="*/ 0 h 132897"/>
                  <a:gd name="connsiteX1" fmla="*/ 0 w 160375"/>
                  <a:gd name="connsiteY1" fmla="*/ 0 h 132897"/>
                  <a:gd name="connsiteX2" fmla="*/ 132910 w 160375"/>
                  <a:gd name="connsiteY2" fmla="*/ 132898 h 132897"/>
                  <a:gd name="connsiteX3" fmla="*/ 160376 w 160375"/>
                  <a:gd name="connsiteY3" fmla="*/ 130059 h 1328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60375" h="132897">
                    <a:moveTo>
                      <a:pt x="36209" y="0"/>
                    </a:moveTo>
                    <a:lnTo>
                      <a:pt x="0" y="0"/>
                    </a:lnTo>
                    <a:cubicBezTo>
                      <a:pt x="0" y="73393"/>
                      <a:pt x="59505" y="132898"/>
                      <a:pt x="132910" y="132898"/>
                    </a:cubicBezTo>
                    <a:cubicBezTo>
                      <a:pt x="142330" y="132898"/>
                      <a:pt x="151514" y="131912"/>
                      <a:pt x="160376" y="130059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66" name="Gráfico 2">
              <a:extLst>
                <a:ext uri="{FF2B5EF4-FFF2-40B4-BE49-F238E27FC236}">
                  <a16:creationId xmlns:a16="http://schemas.microsoft.com/office/drawing/2014/main" id="{44252A45-8AE7-6F69-AB9B-064715C7022F}"/>
                </a:ext>
              </a:extLst>
            </p:cNvPr>
            <p:cNvGrpSpPr/>
            <p:nvPr/>
          </p:nvGrpSpPr>
          <p:grpSpPr>
            <a:xfrm>
              <a:off x="1572296" y="3251959"/>
              <a:ext cx="53696" cy="183968"/>
              <a:chOff x="1572296" y="3251959"/>
              <a:chExt cx="53696" cy="183968"/>
            </a:xfrm>
            <a:noFill/>
          </p:grpSpPr>
          <p:grpSp>
            <p:nvGrpSpPr>
              <p:cNvPr id="67" name="Gráfico 2">
                <a:extLst>
                  <a:ext uri="{FF2B5EF4-FFF2-40B4-BE49-F238E27FC236}">
                    <a16:creationId xmlns:a16="http://schemas.microsoft.com/office/drawing/2014/main" id="{CFA2D1D9-C8D8-A825-AF67-46DA26683B6E}"/>
                  </a:ext>
                </a:extLst>
              </p:cNvPr>
              <p:cNvGrpSpPr/>
              <p:nvPr/>
            </p:nvGrpSpPr>
            <p:grpSpPr>
              <a:xfrm>
                <a:off x="1572296" y="3251959"/>
                <a:ext cx="53696" cy="183968"/>
                <a:chOff x="1572296" y="3251959"/>
                <a:chExt cx="53696" cy="183968"/>
              </a:xfrm>
              <a:noFill/>
            </p:grpSpPr>
            <p:sp>
              <p:nvSpPr>
                <p:cNvPr id="68" name="Forma livre: Forma 67">
                  <a:extLst>
                    <a:ext uri="{FF2B5EF4-FFF2-40B4-BE49-F238E27FC236}">
                      <a16:creationId xmlns:a16="http://schemas.microsoft.com/office/drawing/2014/main" id="{8ECB622D-03E2-6631-1807-70BF761438BE}"/>
                    </a:ext>
                  </a:extLst>
                </p:cNvPr>
                <p:cNvSpPr/>
                <p:nvPr/>
              </p:nvSpPr>
              <p:spPr>
                <a:xfrm>
                  <a:off x="1611807" y="3251959"/>
                  <a:ext cx="14184" cy="183968"/>
                </a:xfrm>
                <a:custGeom>
                  <a:avLst/>
                  <a:gdLst>
                    <a:gd name="connsiteX0" fmla="*/ 14184 w 14184"/>
                    <a:gd name="connsiteY0" fmla="*/ 0 h 183968"/>
                    <a:gd name="connsiteX1" fmla="*/ 14184 w 14184"/>
                    <a:gd name="connsiteY1" fmla="*/ 44977 h 183968"/>
                    <a:gd name="connsiteX2" fmla="*/ 0 w 14184"/>
                    <a:gd name="connsiteY2" fmla="*/ 71159 h 183968"/>
                    <a:gd name="connsiteX3" fmla="*/ 0 w 14184"/>
                    <a:gd name="connsiteY3" fmla="*/ 183969 h 18396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4184" h="183968">
                      <a:moveTo>
                        <a:pt x="14184" y="0"/>
                      </a:moveTo>
                      <a:lnTo>
                        <a:pt x="14184" y="44977"/>
                      </a:lnTo>
                      <a:cubicBezTo>
                        <a:pt x="14184" y="56737"/>
                        <a:pt x="10193" y="66847"/>
                        <a:pt x="0" y="71159"/>
                      </a:cubicBezTo>
                      <a:lnTo>
                        <a:pt x="0" y="183969"/>
                      </a:lnTo>
                    </a:path>
                  </a:pathLst>
                </a:custGeom>
                <a:noFill/>
                <a:ln w="6350" cap="sq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69" name="Forma livre: Forma 68">
                  <a:extLst>
                    <a:ext uri="{FF2B5EF4-FFF2-40B4-BE49-F238E27FC236}">
                      <a16:creationId xmlns:a16="http://schemas.microsoft.com/office/drawing/2014/main" id="{112D525D-8BD7-A8DB-2474-E952BC6CBDBF}"/>
                    </a:ext>
                  </a:extLst>
                </p:cNvPr>
                <p:cNvSpPr/>
                <p:nvPr/>
              </p:nvSpPr>
              <p:spPr>
                <a:xfrm>
                  <a:off x="1572296" y="3251959"/>
                  <a:ext cx="14196" cy="183968"/>
                </a:xfrm>
                <a:custGeom>
                  <a:avLst/>
                  <a:gdLst>
                    <a:gd name="connsiteX0" fmla="*/ 0 w 14196"/>
                    <a:gd name="connsiteY0" fmla="*/ 0 h 183968"/>
                    <a:gd name="connsiteX1" fmla="*/ 0 w 14196"/>
                    <a:gd name="connsiteY1" fmla="*/ 44965 h 183968"/>
                    <a:gd name="connsiteX2" fmla="*/ 14196 w 14196"/>
                    <a:gd name="connsiteY2" fmla="*/ 71159 h 183968"/>
                    <a:gd name="connsiteX3" fmla="*/ 14196 w 14196"/>
                    <a:gd name="connsiteY3" fmla="*/ 183969 h 18396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4196" h="183968">
                      <a:moveTo>
                        <a:pt x="0" y="0"/>
                      </a:moveTo>
                      <a:lnTo>
                        <a:pt x="0" y="44965"/>
                      </a:lnTo>
                      <a:cubicBezTo>
                        <a:pt x="0" y="56737"/>
                        <a:pt x="3992" y="66835"/>
                        <a:pt x="14196" y="71159"/>
                      </a:cubicBezTo>
                      <a:lnTo>
                        <a:pt x="14196" y="183969"/>
                      </a:lnTo>
                    </a:path>
                  </a:pathLst>
                </a:custGeom>
                <a:noFill/>
                <a:ln w="6350" cap="sq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70" name="Forma livre: Forma 69">
                <a:extLst>
                  <a:ext uri="{FF2B5EF4-FFF2-40B4-BE49-F238E27FC236}">
                    <a16:creationId xmlns:a16="http://schemas.microsoft.com/office/drawing/2014/main" id="{51C6288F-8F96-EB09-2DA2-4D95140E0FD7}"/>
                  </a:ext>
                </a:extLst>
              </p:cNvPr>
              <p:cNvSpPr/>
              <p:nvPr/>
            </p:nvSpPr>
            <p:spPr>
              <a:xfrm>
                <a:off x="1599144" y="3251959"/>
                <a:ext cx="1187" cy="38846"/>
              </a:xfrm>
              <a:custGeom>
                <a:avLst/>
                <a:gdLst>
                  <a:gd name="connsiteX0" fmla="*/ 0 w 1187"/>
                  <a:gd name="connsiteY0" fmla="*/ 38847 h 38846"/>
                  <a:gd name="connsiteX1" fmla="*/ 0 w 1187"/>
                  <a:gd name="connsiteY1" fmla="*/ 0 h 388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87" h="38846">
                    <a:moveTo>
                      <a:pt x="0" y="38847"/>
                    </a:moveTo>
                    <a:lnTo>
                      <a:pt x="0" y="0"/>
                    </a:lnTo>
                  </a:path>
                </a:pathLst>
              </a:custGeom>
              <a:ln w="6350" cap="sq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71" name="Forma livre: Forma 70">
              <a:extLst>
                <a:ext uri="{FF2B5EF4-FFF2-40B4-BE49-F238E27FC236}">
                  <a16:creationId xmlns:a16="http://schemas.microsoft.com/office/drawing/2014/main" id="{27BC69DC-7492-AA88-AF50-6FEA9F8A9FF0}"/>
                </a:ext>
              </a:extLst>
            </p:cNvPr>
            <p:cNvSpPr/>
            <p:nvPr/>
          </p:nvSpPr>
          <p:spPr>
            <a:xfrm>
              <a:off x="1505876" y="3245990"/>
              <a:ext cx="38953" cy="189938"/>
            </a:xfrm>
            <a:custGeom>
              <a:avLst/>
              <a:gdLst>
                <a:gd name="connsiteX0" fmla="*/ 13151 w 38953"/>
                <a:gd name="connsiteY0" fmla="*/ 189938 h 189938"/>
                <a:gd name="connsiteX1" fmla="*/ 13151 w 38953"/>
                <a:gd name="connsiteY1" fmla="*/ 105533 h 189938"/>
                <a:gd name="connsiteX2" fmla="*/ 0 w 38953"/>
                <a:gd name="connsiteY2" fmla="*/ 101221 h 189938"/>
                <a:gd name="connsiteX3" fmla="*/ 12592 w 38953"/>
                <a:gd name="connsiteY3" fmla="*/ 19952 h 189938"/>
                <a:gd name="connsiteX4" fmla="*/ 30495 w 38953"/>
                <a:gd name="connsiteY4" fmla="*/ 434 h 189938"/>
                <a:gd name="connsiteX5" fmla="*/ 38953 w 38953"/>
                <a:gd name="connsiteY5" fmla="*/ 12159 h 189938"/>
                <a:gd name="connsiteX6" fmla="*/ 38953 w 38953"/>
                <a:gd name="connsiteY6" fmla="*/ 189926 h 1899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8953" h="189938">
                  <a:moveTo>
                    <a:pt x="13151" y="189938"/>
                  </a:moveTo>
                  <a:lnTo>
                    <a:pt x="13151" y="105533"/>
                  </a:lnTo>
                  <a:lnTo>
                    <a:pt x="0" y="101221"/>
                  </a:lnTo>
                  <a:lnTo>
                    <a:pt x="12592" y="19952"/>
                  </a:lnTo>
                  <a:cubicBezTo>
                    <a:pt x="15978" y="5720"/>
                    <a:pt x="30495" y="434"/>
                    <a:pt x="30495" y="434"/>
                  </a:cubicBezTo>
                  <a:cubicBezTo>
                    <a:pt x="36221" y="-1824"/>
                    <a:pt x="38835" y="5126"/>
                    <a:pt x="38953" y="12159"/>
                  </a:cubicBezTo>
                  <a:lnTo>
                    <a:pt x="38953" y="189926"/>
                  </a:lnTo>
                </a:path>
              </a:pathLst>
            </a:custGeom>
            <a:noFill/>
            <a:ln w="6350" cap="sq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72" name="Gráfico 2">
            <a:extLst>
              <a:ext uri="{FF2B5EF4-FFF2-40B4-BE49-F238E27FC236}">
                <a16:creationId xmlns:a16="http://schemas.microsoft.com/office/drawing/2014/main" id="{AD3AF4AB-E167-263D-C050-93A07DCD1C4C}"/>
              </a:ext>
            </a:extLst>
          </p:cNvPr>
          <p:cNvGrpSpPr/>
          <p:nvPr/>
        </p:nvGrpSpPr>
        <p:grpSpPr>
          <a:xfrm>
            <a:off x="1895304" y="3115485"/>
            <a:ext cx="406792" cy="330540"/>
            <a:chOff x="1895304" y="3115485"/>
            <a:chExt cx="406792" cy="330540"/>
          </a:xfrm>
          <a:noFill/>
        </p:grpSpPr>
        <p:grpSp>
          <p:nvGrpSpPr>
            <p:cNvPr id="73" name="Gráfico 2">
              <a:extLst>
                <a:ext uri="{FF2B5EF4-FFF2-40B4-BE49-F238E27FC236}">
                  <a16:creationId xmlns:a16="http://schemas.microsoft.com/office/drawing/2014/main" id="{BF465BE6-1880-B1DD-9332-A30741500CB3}"/>
                </a:ext>
              </a:extLst>
            </p:cNvPr>
            <p:cNvGrpSpPr/>
            <p:nvPr/>
          </p:nvGrpSpPr>
          <p:grpSpPr>
            <a:xfrm>
              <a:off x="1950758" y="3115485"/>
              <a:ext cx="291372" cy="330540"/>
              <a:chOff x="1950758" y="3115485"/>
              <a:chExt cx="291372" cy="330540"/>
            </a:xfrm>
            <a:noFill/>
          </p:grpSpPr>
          <p:sp>
            <p:nvSpPr>
              <p:cNvPr id="74" name="Forma livre: Forma 73">
                <a:extLst>
                  <a:ext uri="{FF2B5EF4-FFF2-40B4-BE49-F238E27FC236}">
                    <a16:creationId xmlns:a16="http://schemas.microsoft.com/office/drawing/2014/main" id="{51E5C974-82AE-3AE3-9AFC-E00C0ADC9FB9}"/>
                  </a:ext>
                </a:extLst>
              </p:cNvPr>
              <p:cNvSpPr/>
              <p:nvPr/>
            </p:nvSpPr>
            <p:spPr>
              <a:xfrm>
                <a:off x="2006819" y="3227760"/>
                <a:ext cx="16857" cy="24068"/>
              </a:xfrm>
              <a:custGeom>
                <a:avLst/>
                <a:gdLst>
                  <a:gd name="connsiteX0" fmla="*/ 16857 w 16857"/>
                  <a:gd name="connsiteY0" fmla="*/ 0 h 24068"/>
                  <a:gd name="connsiteX1" fmla="*/ 0 w 16857"/>
                  <a:gd name="connsiteY1" fmla="*/ 24068 h 240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6857" h="24068">
                    <a:moveTo>
                      <a:pt x="16857" y="0"/>
                    </a:moveTo>
                    <a:lnTo>
                      <a:pt x="0" y="24068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5" name="Forma livre: Forma 74">
                <a:extLst>
                  <a:ext uri="{FF2B5EF4-FFF2-40B4-BE49-F238E27FC236}">
                    <a16:creationId xmlns:a16="http://schemas.microsoft.com/office/drawing/2014/main" id="{10A7EA59-5FE4-C628-0EC6-F5A02E6F683F}"/>
                  </a:ext>
                </a:extLst>
              </p:cNvPr>
              <p:cNvSpPr/>
              <p:nvPr/>
            </p:nvSpPr>
            <p:spPr>
              <a:xfrm>
                <a:off x="1950758" y="3148677"/>
                <a:ext cx="291372" cy="297348"/>
              </a:xfrm>
              <a:custGeom>
                <a:avLst/>
                <a:gdLst>
                  <a:gd name="connsiteX0" fmla="*/ 41686 w 291372"/>
                  <a:gd name="connsiteY0" fmla="*/ 123679 h 297348"/>
                  <a:gd name="connsiteX1" fmla="*/ 0 w 291372"/>
                  <a:gd name="connsiteY1" fmla="*/ 183208 h 297348"/>
                  <a:gd name="connsiteX2" fmla="*/ 163096 w 291372"/>
                  <a:gd name="connsiteY2" fmla="*/ 297348 h 297348"/>
                  <a:gd name="connsiteX3" fmla="*/ 291373 w 291372"/>
                  <a:gd name="connsiteY3" fmla="*/ 114152 h 297348"/>
                  <a:gd name="connsiteX4" fmla="*/ 266913 w 291372"/>
                  <a:gd name="connsiteY4" fmla="*/ 114282 h 297348"/>
                  <a:gd name="connsiteX5" fmla="*/ 258787 w 291372"/>
                  <a:gd name="connsiteY5" fmla="*/ 91379 h 297348"/>
                  <a:gd name="connsiteX6" fmla="*/ 234220 w 291372"/>
                  <a:gd name="connsiteY6" fmla="*/ 91402 h 297348"/>
                  <a:gd name="connsiteX7" fmla="*/ 226082 w 291372"/>
                  <a:gd name="connsiteY7" fmla="*/ 68486 h 297348"/>
                  <a:gd name="connsiteX8" fmla="*/ 201622 w 291372"/>
                  <a:gd name="connsiteY8" fmla="*/ 68581 h 297348"/>
                  <a:gd name="connsiteX9" fmla="*/ 193496 w 291372"/>
                  <a:gd name="connsiteY9" fmla="*/ 45665 h 297348"/>
                  <a:gd name="connsiteX10" fmla="*/ 169024 w 291372"/>
                  <a:gd name="connsiteY10" fmla="*/ 45749 h 297348"/>
                  <a:gd name="connsiteX11" fmla="*/ 160886 w 291372"/>
                  <a:gd name="connsiteY11" fmla="*/ 22833 h 297348"/>
                  <a:gd name="connsiteX12" fmla="*/ 136402 w 291372"/>
                  <a:gd name="connsiteY12" fmla="*/ 22904 h 297348"/>
                  <a:gd name="connsiteX13" fmla="*/ 128289 w 291372"/>
                  <a:gd name="connsiteY13" fmla="*/ 0 h 297348"/>
                  <a:gd name="connsiteX14" fmla="*/ 89216 w 291372"/>
                  <a:gd name="connsiteY14" fmla="*/ 55799 h 2973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291372" h="297348">
                    <a:moveTo>
                      <a:pt x="41686" y="123679"/>
                    </a:moveTo>
                    <a:lnTo>
                      <a:pt x="0" y="183208"/>
                    </a:lnTo>
                    <a:lnTo>
                      <a:pt x="163096" y="297348"/>
                    </a:lnTo>
                    <a:lnTo>
                      <a:pt x="291373" y="114152"/>
                    </a:lnTo>
                    <a:lnTo>
                      <a:pt x="266913" y="114282"/>
                    </a:lnTo>
                    <a:lnTo>
                      <a:pt x="258787" y="91379"/>
                    </a:lnTo>
                    <a:lnTo>
                      <a:pt x="234220" y="91402"/>
                    </a:lnTo>
                    <a:lnTo>
                      <a:pt x="226082" y="68486"/>
                    </a:lnTo>
                    <a:lnTo>
                      <a:pt x="201622" y="68581"/>
                    </a:lnTo>
                    <a:lnTo>
                      <a:pt x="193496" y="45665"/>
                    </a:lnTo>
                    <a:lnTo>
                      <a:pt x="169024" y="45749"/>
                    </a:lnTo>
                    <a:lnTo>
                      <a:pt x="160886" y="22833"/>
                    </a:lnTo>
                    <a:lnTo>
                      <a:pt x="136402" y="22904"/>
                    </a:lnTo>
                    <a:lnTo>
                      <a:pt x="128289" y="0"/>
                    </a:lnTo>
                    <a:lnTo>
                      <a:pt x="89216" y="55799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6" name="Forma livre: Forma 75">
                <a:extLst>
                  <a:ext uri="{FF2B5EF4-FFF2-40B4-BE49-F238E27FC236}">
                    <a16:creationId xmlns:a16="http://schemas.microsoft.com/office/drawing/2014/main" id="{793C8AC5-EA12-E281-9DD9-45A607B6DE0E}"/>
                  </a:ext>
                </a:extLst>
              </p:cNvPr>
              <p:cNvSpPr/>
              <p:nvPr/>
            </p:nvSpPr>
            <p:spPr>
              <a:xfrm>
                <a:off x="1993335" y="3315717"/>
                <a:ext cx="140120" cy="98102"/>
              </a:xfrm>
              <a:custGeom>
                <a:avLst/>
                <a:gdLst>
                  <a:gd name="connsiteX0" fmla="*/ 0 w 140120"/>
                  <a:gd name="connsiteY0" fmla="*/ 0 h 98102"/>
                  <a:gd name="connsiteX1" fmla="*/ 140121 w 140120"/>
                  <a:gd name="connsiteY1" fmla="*/ 98102 h 981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40120" h="98102">
                    <a:moveTo>
                      <a:pt x="0" y="0"/>
                    </a:moveTo>
                    <a:lnTo>
                      <a:pt x="140121" y="98102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7" name="Forma livre: Forma 76">
                <a:extLst>
                  <a:ext uri="{FF2B5EF4-FFF2-40B4-BE49-F238E27FC236}">
                    <a16:creationId xmlns:a16="http://schemas.microsoft.com/office/drawing/2014/main" id="{748C3853-903A-4BBF-DE63-69A908D7C2F2}"/>
                  </a:ext>
                </a:extLst>
              </p:cNvPr>
              <p:cNvSpPr/>
              <p:nvPr/>
            </p:nvSpPr>
            <p:spPr>
              <a:xfrm>
                <a:off x="2154424" y="3115485"/>
                <a:ext cx="81007" cy="65920"/>
              </a:xfrm>
              <a:custGeom>
                <a:avLst/>
                <a:gdLst>
                  <a:gd name="connsiteX0" fmla="*/ 0 w 81007"/>
                  <a:gd name="connsiteY0" fmla="*/ 33299 h 65920"/>
                  <a:gd name="connsiteX1" fmla="*/ 23308 w 81007"/>
                  <a:gd name="connsiteY1" fmla="*/ 0 h 65920"/>
                  <a:gd name="connsiteX2" fmla="*/ 81008 w 81007"/>
                  <a:gd name="connsiteY2" fmla="*/ 40355 h 65920"/>
                  <a:gd name="connsiteX3" fmla="*/ 63105 w 81007"/>
                  <a:gd name="connsiteY3" fmla="*/ 65920 h 659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1007" h="65920">
                    <a:moveTo>
                      <a:pt x="0" y="33299"/>
                    </a:moveTo>
                    <a:lnTo>
                      <a:pt x="23308" y="0"/>
                    </a:lnTo>
                    <a:lnTo>
                      <a:pt x="81008" y="40355"/>
                    </a:lnTo>
                    <a:lnTo>
                      <a:pt x="63105" y="6592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8" name="Forma livre: Forma 77">
                <a:extLst>
                  <a:ext uri="{FF2B5EF4-FFF2-40B4-BE49-F238E27FC236}">
                    <a16:creationId xmlns:a16="http://schemas.microsoft.com/office/drawing/2014/main" id="{80300E08-9070-E962-D61D-E442F6E3C5C0}"/>
                  </a:ext>
                </a:extLst>
              </p:cNvPr>
              <p:cNvSpPr/>
              <p:nvPr/>
            </p:nvSpPr>
            <p:spPr>
              <a:xfrm>
                <a:off x="2102403" y="3124621"/>
                <a:ext cx="92138" cy="77384"/>
              </a:xfrm>
              <a:custGeom>
                <a:avLst/>
                <a:gdLst>
                  <a:gd name="connsiteX0" fmla="*/ 0 w 92138"/>
                  <a:gd name="connsiteY0" fmla="*/ 25221 h 77384"/>
                  <a:gd name="connsiteX1" fmla="*/ 17653 w 92138"/>
                  <a:gd name="connsiteY1" fmla="*/ 0 h 77384"/>
                  <a:gd name="connsiteX2" fmla="*/ 92139 w 92138"/>
                  <a:gd name="connsiteY2" fmla="*/ 52164 h 77384"/>
                  <a:gd name="connsiteX3" fmla="*/ 74474 w 92138"/>
                  <a:gd name="connsiteY3" fmla="*/ 77384 h 773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2138" h="77384">
                    <a:moveTo>
                      <a:pt x="0" y="25221"/>
                    </a:moveTo>
                    <a:lnTo>
                      <a:pt x="17653" y="0"/>
                    </a:lnTo>
                    <a:lnTo>
                      <a:pt x="92139" y="52164"/>
                    </a:lnTo>
                    <a:lnTo>
                      <a:pt x="74474" y="77384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79" name="Forma livre: Forma 78">
              <a:extLst>
                <a:ext uri="{FF2B5EF4-FFF2-40B4-BE49-F238E27FC236}">
                  <a16:creationId xmlns:a16="http://schemas.microsoft.com/office/drawing/2014/main" id="{209C1C9A-46BC-1389-6799-400AA03E4175}"/>
                </a:ext>
              </a:extLst>
            </p:cNvPr>
            <p:cNvSpPr/>
            <p:nvPr/>
          </p:nvSpPr>
          <p:spPr>
            <a:xfrm>
              <a:off x="1974530" y="3227249"/>
              <a:ext cx="73630" cy="1187"/>
            </a:xfrm>
            <a:custGeom>
              <a:avLst/>
              <a:gdLst>
                <a:gd name="connsiteX0" fmla="*/ 73630 w 73630"/>
                <a:gd name="connsiteY0" fmla="*/ 0 h 1187"/>
                <a:gd name="connsiteX1" fmla="*/ 0 w 73630"/>
                <a:gd name="connsiteY1" fmla="*/ 0 h 11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3630" h="1187">
                  <a:moveTo>
                    <a:pt x="73630" y="0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80" name="Gráfico 2">
              <a:extLst>
                <a:ext uri="{FF2B5EF4-FFF2-40B4-BE49-F238E27FC236}">
                  <a16:creationId xmlns:a16="http://schemas.microsoft.com/office/drawing/2014/main" id="{37782354-AA0F-A1B9-7137-ABE9734B6628}"/>
                </a:ext>
              </a:extLst>
            </p:cNvPr>
            <p:cNvGrpSpPr/>
            <p:nvPr/>
          </p:nvGrpSpPr>
          <p:grpSpPr>
            <a:xfrm>
              <a:off x="1895304" y="3272261"/>
              <a:ext cx="132042" cy="1187"/>
              <a:chOff x="1895304" y="3272261"/>
              <a:chExt cx="132042" cy="1187"/>
            </a:xfrm>
          </p:grpSpPr>
          <p:sp>
            <p:nvSpPr>
              <p:cNvPr id="81" name="Forma livre: Forma 80">
                <a:extLst>
                  <a:ext uri="{FF2B5EF4-FFF2-40B4-BE49-F238E27FC236}">
                    <a16:creationId xmlns:a16="http://schemas.microsoft.com/office/drawing/2014/main" id="{54133850-40DD-13A4-B177-D10F03EDF035}"/>
                  </a:ext>
                </a:extLst>
              </p:cNvPr>
              <p:cNvSpPr/>
              <p:nvPr/>
            </p:nvSpPr>
            <p:spPr>
              <a:xfrm>
                <a:off x="1928947" y="3272261"/>
                <a:ext cx="98399" cy="1187"/>
              </a:xfrm>
              <a:custGeom>
                <a:avLst/>
                <a:gdLst>
                  <a:gd name="connsiteX0" fmla="*/ 98399 w 98399"/>
                  <a:gd name="connsiteY0" fmla="*/ 0 h 1187"/>
                  <a:gd name="connsiteX1" fmla="*/ 0 w 98399"/>
                  <a:gd name="connsiteY1" fmla="*/ 0 h 11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8399" h="1187">
                    <a:moveTo>
                      <a:pt x="98399" y="0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82" name="Forma livre: Forma 81">
                <a:extLst>
                  <a:ext uri="{FF2B5EF4-FFF2-40B4-BE49-F238E27FC236}">
                    <a16:creationId xmlns:a16="http://schemas.microsoft.com/office/drawing/2014/main" id="{506F335E-783E-A9EE-BA7A-A8BB1D051EC1}"/>
                  </a:ext>
                </a:extLst>
              </p:cNvPr>
              <p:cNvSpPr/>
              <p:nvPr/>
            </p:nvSpPr>
            <p:spPr>
              <a:xfrm>
                <a:off x="1895304" y="3272261"/>
                <a:ext cx="12461" cy="1187"/>
              </a:xfrm>
              <a:custGeom>
                <a:avLst/>
                <a:gdLst>
                  <a:gd name="connsiteX0" fmla="*/ 12462 w 12461"/>
                  <a:gd name="connsiteY0" fmla="*/ 0 h 1187"/>
                  <a:gd name="connsiteX1" fmla="*/ 0 w 12461"/>
                  <a:gd name="connsiteY1" fmla="*/ 0 h 11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461" h="1187">
                    <a:moveTo>
                      <a:pt x="12462" y="0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83" name="Forma livre: Forma 82">
              <a:extLst>
                <a:ext uri="{FF2B5EF4-FFF2-40B4-BE49-F238E27FC236}">
                  <a16:creationId xmlns:a16="http://schemas.microsoft.com/office/drawing/2014/main" id="{87E3B000-CFE9-15C4-B06D-657D2256518D}"/>
                </a:ext>
              </a:extLst>
            </p:cNvPr>
            <p:cNvSpPr/>
            <p:nvPr/>
          </p:nvSpPr>
          <p:spPr>
            <a:xfrm>
              <a:off x="1954489" y="3187452"/>
              <a:ext cx="55953" cy="1187"/>
            </a:xfrm>
            <a:custGeom>
              <a:avLst/>
              <a:gdLst>
                <a:gd name="connsiteX0" fmla="*/ 55953 w 55953"/>
                <a:gd name="connsiteY0" fmla="*/ 0 h 1187"/>
                <a:gd name="connsiteX1" fmla="*/ 0 w 55953"/>
                <a:gd name="connsiteY1" fmla="*/ 0 h 11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5953" h="1187">
                  <a:moveTo>
                    <a:pt x="55953" y="0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84" name="Gráfico 2">
              <a:extLst>
                <a:ext uri="{FF2B5EF4-FFF2-40B4-BE49-F238E27FC236}">
                  <a16:creationId xmlns:a16="http://schemas.microsoft.com/office/drawing/2014/main" id="{E24F7CCE-4F9B-6F03-EED6-BB89C31E7F2F}"/>
                </a:ext>
              </a:extLst>
            </p:cNvPr>
            <p:cNvGrpSpPr/>
            <p:nvPr/>
          </p:nvGrpSpPr>
          <p:grpSpPr>
            <a:xfrm>
              <a:off x="2199935" y="3184664"/>
              <a:ext cx="102161" cy="60689"/>
              <a:chOff x="2199935" y="3184664"/>
              <a:chExt cx="102161" cy="60689"/>
            </a:xfrm>
            <a:noFill/>
          </p:grpSpPr>
          <p:sp>
            <p:nvSpPr>
              <p:cNvPr id="85" name="Forma livre: Forma 84">
                <a:extLst>
                  <a:ext uri="{FF2B5EF4-FFF2-40B4-BE49-F238E27FC236}">
                    <a16:creationId xmlns:a16="http://schemas.microsoft.com/office/drawing/2014/main" id="{F845F2CA-CACB-EF86-0ABA-56B1017ECD1A}"/>
                  </a:ext>
                </a:extLst>
              </p:cNvPr>
              <p:cNvSpPr/>
              <p:nvPr/>
            </p:nvSpPr>
            <p:spPr>
              <a:xfrm>
                <a:off x="2199935" y="3184664"/>
                <a:ext cx="102161" cy="60689"/>
              </a:xfrm>
              <a:custGeom>
                <a:avLst/>
                <a:gdLst>
                  <a:gd name="connsiteX0" fmla="*/ 0 w 102161"/>
                  <a:gd name="connsiteY0" fmla="*/ 24849 h 60689"/>
                  <a:gd name="connsiteX1" fmla="*/ 72834 w 102161"/>
                  <a:gd name="connsiteY1" fmla="*/ 1042 h 60689"/>
                  <a:gd name="connsiteX2" fmla="*/ 99480 w 102161"/>
                  <a:gd name="connsiteY2" fmla="*/ 14561 h 60689"/>
                  <a:gd name="connsiteX3" fmla="*/ 101120 w 102161"/>
                  <a:gd name="connsiteY3" fmla="*/ 19574 h 60689"/>
                  <a:gd name="connsiteX4" fmla="*/ 87601 w 102161"/>
                  <a:gd name="connsiteY4" fmla="*/ 46220 h 60689"/>
                  <a:gd name="connsiteX5" fmla="*/ 43301 w 102161"/>
                  <a:gd name="connsiteY5" fmla="*/ 60690 h 606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02161" h="60689">
                    <a:moveTo>
                      <a:pt x="0" y="24849"/>
                    </a:moveTo>
                    <a:lnTo>
                      <a:pt x="72834" y="1042"/>
                    </a:lnTo>
                    <a:cubicBezTo>
                      <a:pt x="83871" y="-2570"/>
                      <a:pt x="95869" y="3513"/>
                      <a:pt x="99480" y="14561"/>
                    </a:cubicBezTo>
                    <a:lnTo>
                      <a:pt x="101120" y="19574"/>
                    </a:lnTo>
                    <a:cubicBezTo>
                      <a:pt x="104731" y="30622"/>
                      <a:pt x="98649" y="42609"/>
                      <a:pt x="87601" y="46220"/>
                    </a:cubicBezTo>
                    <a:lnTo>
                      <a:pt x="43301" y="6069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86" name="Forma livre: Forma 85">
                <a:extLst>
                  <a:ext uri="{FF2B5EF4-FFF2-40B4-BE49-F238E27FC236}">
                    <a16:creationId xmlns:a16="http://schemas.microsoft.com/office/drawing/2014/main" id="{4D4DE734-637F-4929-8F5C-B66633EF1F4A}"/>
                  </a:ext>
                </a:extLst>
              </p:cNvPr>
              <p:cNvSpPr/>
              <p:nvPr/>
            </p:nvSpPr>
            <p:spPr>
              <a:xfrm>
                <a:off x="2242725" y="3194487"/>
                <a:ext cx="26646" cy="14550"/>
              </a:xfrm>
              <a:custGeom>
                <a:avLst/>
                <a:gdLst>
                  <a:gd name="connsiteX0" fmla="*/ 0 w 26646"/>
                  <a:gd name="connsiteY0" fmla="*/ 1043 h 14550"/>
                  <a:gd name="connsiteX1" fmla="*/ 26646 w 26646"/>
                  <a:gd name="connsiteY1" fmla="*/ 14550 h 145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6646" h="14550">
                    <a:moveTo>
                      <a:pt x="0" y="1043"/>
                    </a:moveTo>
                    <a:cubicBezTo>
                      <a:pt x="11048" y="-2568"/>
                      <a:pt x="23035" y="3502"/>
                      <a:pt x="26646" y="14550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87" name="Forma livre: Forma 86">
                <a:extLst>
                  <a:ext uri="{FF2B5EF4-FFF2-40B4-BE49-F238E27FC236}">
                    <a16:creationId xmlns:a16="http://schemas.microsoft.com/office/drawing/2014/main" id="{D309DF49-2A72-52D7-2C3D-24E565F57117}"/>
                  </a:ext>
                </a:extLst>
              </p:cNvPr>
              <p:cNvSpPr/>
              <p:nvPr/>
            </p:nvSpPr>
            <p:spPr>
              <a:xfrm>
                <a:off x="2213870" y="3203909"/>
                <a:ext cx="26634" cy="14561"/>
              </a:xfrm>
              <a:custGeom>
                <a:avLst/>
                <a:gdLst>
                  <a:gd name="connsiteX0" fmla="*/ 0 w 26634"/>
                  <a:gd name="connsiteY0" fmla="*/ 1042 h 14561"/>
                  <a:gd name="connsiteX1" fmla="*/ 26634 w 26634"/>
                  <a:gd name="connsiteY1" fmla="*/ 14561 h 145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6634" h="14561">
                    <a:moveTo>
                      <a:pt x="0" y="1042"/>
                    </a:moveTo>
                    <a:cubicBezTo>
                      <a:pt x="11048" y="-2570"/>
                      <a:pt x="23023" y="3513"/>
                      <a:pt x="26634" y="14561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88" name="Gráfico 2">
            <a:extLst>
              <a:ext uri="{FF2B5EF4-FFF2-40B4-BE49-F238E27FC236}">
                <a16:creationId xmlns:a16="http://schemas.microsoft.com/office/drawing/2014/main" id="{563CE0E5-685A-EF61-83F0-B4F4B4F87034}"/>
              </a:ext>
            </a:extLst>
          </p:cNvPr>
          <p:cNvGrpSpPr/>
          <p:nvPr/>
        </p:nvGrpSpPr>
        <p:grpSpPr>
          <a:xfrm>
            <a:off x="760034" y="3132913"/>
            <a:ext cx="197523" cy="295697"/>
            <a:chOff x="760034" y="3132913"/>
            <a:chExt cx="197523" cy="295697"/>
          </a:xfrm>
          <a:noFill/>
        </p:grpSpPr>
        <p:grpSp>
          <p:nvGrpSpPr>
            <p:cNvPr id="89" name="Gráfico 2">
              <a:extLst>
                <a:ext uri="{FF2B5EF4-FFF2-40B4-BE49-F238E27FC236}">
                  <a16:creationId xmlns:a16="http://schemas.microsoft.com/office/drawing/2014/main" id="{2DBDF3A9-E155-84A2-B81C-85E906DED743}"/>
                </a:ext>
              </a:extLst>
            </p:cNvPr>
            <p:cNvGrpSpPr/>
            <p:nvPr/>
          </p:nvGrpSpPr>
          <p:grpSpPr>
            <a:xfrm>
              <a:off x="807339" y="3177390"/>
              <a:ext cx="150218" cy="137400"/>
              <a:chOff x="807339" y="3177390"/>
              <a:chExt cx="150218" cy="137400"/>
            </a:xfrm>
            <a:noFill/>
          </p:grpSpPr>
          <p:sp>
            <p:nvSpPr>
              <p:cNvPr id="90" name="Forma livre: Forma 89">
                <a:extLst>
                  <a:ext uri="{FF2B5EF4-FFF2-40B4-BE49-F238E27FC236}">
                    <a16:creationId xmlns:a16="http://schemas.microsoft.com/office/drawing/2014/main" id="{3F8ED43E-D5BF-BBA1-4F07-6D52F6ED1DCE}"/>
                  </a:ext>
                </a:extLst>
              </p:cNvPr>
              <p:cNvSpPr/>
              <p:nvPr/>
            </p:nvSpPr>
            <p:spPr>
              <a:xfrm>
                <a:off x="818601" y="3282834"/>
                <a:ext cx="127706" cy="31956"/>
              </a:xfrm>
              <a:custGeom>
                <a:avLst/>
                <a:gdLst>
                  <a:gd name="connsiteX0" fmla="*/ 127707 w 127706"/>
                  <a:gd name="connsiteY0" fmla="*/ 0 h 31956"/>
                  <a:gd name="connsiteX1" fmla="*/ 127707 w 127706"/>
                  <a:gd name="connsiteY1" fmla="*/ 21918 h 31956"/>
                  <a:gd name="connsiteX2" fmla="*/ 117823 w 127706"/>
                  <a:gd name="connsiteY2" fmla="*/ 31956 h 31956"/>
                  <a:gd name="connsiteX3" fmla="*/ 9884 w 127706"/>
                  <a:gd name="connsiteY3" fmla="*/ 31956 h 31956"/>
                  <a:gd name="connsiteX4" fmla="*/ 0 w 127706"/>
                  <a:gd name="connsiteY4" fmla="*/ 21918 h 31956"/>
                  <a:gd name="connsiteX5" fmla="*/ 0 w 127706"/>
                  <a:gd name="connsiteY5" fmla="*/ 0 h 319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27706" h="31956">
                    <a:moveTo>
                      <a:pt x="127707" y="0"/>
                    </a:moveTo>
                    <a:lnTo>
                      <a:pt x="127707" y="21918"/>
                    </a:lnTo>
                    <a:cubicBezTo>
                      <a:pt x="127707" y="27359"/>
                      <a:pt x="123252" y="31956"/>
                      <a:pt x="117823" y="31956"/>
                    </a:cubicBezTo>
                    <a:lnTo>
                      <a:pt x="9884" y="31956"/>
                    </a:lnTo>
                    <a:cubicBezTo>
                      <a:pt x="4443" y="31956"/>
                      <a:pt x="0" y="27347"/>
                      <a:pt x="0" y="21918"/>
                    </a:cubicBezTo>
                    <a:lnTo>
                      <a:pt x="0" y="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1" name="Forma livre: Forma 90">
                <a:extLst>
                  <a:ext uri="{FF2B5EF4-FFF2-40B4-BE49-F238E27FC236}">
                    <a16:creationId xmlns:a16="http://schemas.microsoft.com/office/drawing/2014/main" id="{88D8AFEE-0217-F6AE-AC19-F741F740B125}"/>
                  </a:ext>
                </a:extLst>
              </p:cNvPr>
              <p:cNvSpPr/>
              <p:nvPr/>
            </p:nvSpPr>
            <p:spPr>
              <a:xfrm>
                <a:off x="818423" y="3177390"/>
                <a:ext cx="128062" cy="44952"/>
              </a:xfrm>
              <a:custGeom>
                <a:avLst/>
                <a:gdLst>
                  <a:gd name="connsiteX0" fmla="*/ 128063 w 128062"/>
                  <a:gd name="connsiteY0" fmla="*/ 38229 h 44952"/>
                  <a:gd name="connsiteX1" fmla="*/ 71730 w 128062"/>
                  <a:gd name="connsiteY1" fmla="*/ 0 h 44952"/>
                  <a:gd name="connsiteX2" fmla="*/ 56345 w 128062"/>
                  <a:gd name="connsiteY2" fmla="*/ 0 h 44952"/>
                  <a:gd name="connsiteX3" fmla="*/ 0 w 128062"/>
                  <a:gd name="connsiteY3" fmla="*/ 38229 h 44952"/>
                  <a:gd name="connsiteX4" fmla="*/ 0 w 128062"/>
                  <a:gd name="connsiteY4" fmla="*/ 44953 h 44952"/>
                  <a:gd name="connsiteX5" fmla="*/ 128063 w 128062"/>
                  <a:gd name="connsiteY5" fmla="*/ 44953 h 44952"/>
                  <a:gd name="connsiteX6" fmla="*/ 128063 w 128062"/>
                  <a:gd name="connsiteY6" fmla="*/ 38229 h 449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28062" h="44952">
                    <a:moveTo>
                      <a:pt x="128063" y="38229"/>
                    </a:moveTo>
                    <a:cubicBezTo>
                      <a:pt x="128063" y="17202"/>
                      <a:pt x="102712" y="0"/>
                      <a:pt x="71730" y="0"/>
                    </a:cubicBezTo>
                    <a:lnTo>
                      <a:pt x="56345" y="0"/>
                    </a:lnTo>
                    <a:cubicBezTo>
                      <a:pt x="25351" y="0"/>
                      <a:pt x="0" y="17214"/>
                      <a:pt x="0" y="38229"/>
                    </a:cubicBezTo>
                    <a:lnTo>
                      <a:pt x="0" y="44953"/>
                    </a:lnTo>
                    <a:lnTo>
                      <a:pt x="128063" y="44953"/>
                    </a:lnTo>
                    <a:lnTo>
                      <a:pt x="128063" y="38229"/>
                    </a:lnTo>
                    <a:close/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2" name="Forma livre: Forma 91">
                <a:extLst>
                  <a:ext uri="{FF2B5EF4-FFF2-40B4-BE49-F238E27FC236}">
                    <a16:creationId xmlns:a16="http://schemas.microsoft.com/office/drawing/2014/main" id="{2880C3F6-2F70-AC5C-D968-E9083CCDD935}"/>
                  </a:ext>
                </a:extLst>
              </p:cNvPr>
              <p:cNvSpPr/>
              <p:nvPr/>
            </p:nvSpPr>
            <p:spPr>
              <a:xfrm>
                <a:off x="807339" y="3251044"/>
                <a:ext cx="150218" cy="26883"/>
              </a:xfrm>
              <a:custGeom>
                <a:avLst/>
                <a:gdLst>
                  <a:gd name="connsiteX0" fmla="*/ 0 w 150218"/>
                  <a:gd name="connsiteY0" fmla="*/ 0 h 26883"/>
                  <a:gd name="connsiteX1" fmla="*/ 70138 w 150218"/>
                  <a:gd name="connsiteY1" fmla="*/ 0 h 26883"/>
                  <a:gd name="connsiteX2" fmla="*/ 97116 w 150218"/>
                  <a:gd name="connsiteY2" fmla="*/ 26884 h 26883"/>
                  <a:gd name="connsiteX3" fmla="*/ 107345 w 150218"/>
                  <a:gd name="connsiteY3" fmla="*/ 0 h 26883"/>
                  <a:gd name="connsiteX4" fmla="*/ 150219 w 150218"/>
                  <a:gd name="connsiteY4" fmla="*/ 0 h 268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50218" h="26883">
                    <a:moveTo>
                      <a:pt x="0" y="0"/>
                    </a:moveTo>
                    <a:lnTo>
                      <a:pt x="70138" y="0"/>
                    </a:lnTo>
                    <a:lnTo>
                      <a:pt x="97116" y="26884"/>
                    </a:lnTo>
                    <a:lnTo>
                      <a:pt x="107345" y="0"/>
                    </a:lnTo>
                    <a:lnTo>
                      <a:pt x="150219" y="0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93" name="Gráfico 2">
                <a:extLst>
                  <a:ext uri="{FF2B5EF4-FFF2-40B4-BE49-F238E27FC236}">
                    <a16:creationId xmlns:a16="http://schemas.microsoft.com/office/drawing/2014/main" id="{1E25D219-92CD-8C69-513F-3FB81DC62DD9}"/>
                  </a:ext>
                </a:extLst>
              </p:cNvPr>
              <p:cNvGrpSpPr/>
              <p:nvPr/>
            </p:nvGrpSpPr>
            <p:grpSpPr>
              <a:xfrm>
                <a:off x="807339" y="3278581"/>
                <a:ext cx="150218" cy="1187"/>
                <a:chOff x="807339" y="3278581"/>
                <a:chExt cx="150218" cy="1187"/>
              </a:xfrm>
            </p:grpSpPr>
            <p:sp>
              <p:nvSpPr>
                <p:cNvPr id="94" name="Forma livre: Forma 93">
                  <a:extLst>
                    <a:ext uri="{FF2B5EF4-FFF2-40B4-BE49-F238E27FC236}">
                      <a16:creationId xmlns:a16="http://schemas.microsoft.com/office/drawing/2014/main" id="{F6D994AF-E500-DEBA-8B51-1725D1F29EF1}"/>
                    </a:ext>
                  </a:extLst>
                </p:cNvPr>
                <p:cNvSpPr/>
                <p:nvPr/>
              </p:nvSpPr>
              <p:spPr>
                <a:xfrm>
                  <a:off x="932064" y="3278581"/>
                  <a:ext cx="25493" cy="1187"/>
                </a:xfrm>
                <a:custGeom>
                  <a:avLst/>
                  <a:gdLst>
                    <a:gd name="connsiteX0" fmla="*/ 0 w 25493"/>
                    <a:gd name="connsiteY0" fmla="*/ 0 h 1187"/>
                    <a:gd name="connsiteX1" fmla="*/ 25494 w 25493"/>
                    <a:gd name="connsiteY1" fmla="*/ 0 h 11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5493" h="1187">
                      <a:moveTo>
                        <a:pt x="0" y="0"/>
                      </a:moveTo>
                      <a:lnTo>
                        <a:pt x="25494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95" name="Forma livre: Forma 94">
                  <a:extLst>
                    <a:ext uri="{FF2B5EF4-FFF2-40B4-BE49-F238E27FC236}">
                      <a16:creationId xmlns:a16="http://schemas.microsoft.com/office/drawing/2014/main" id="{F010FC65-8294-4351-4AAA-6AA6B6D31181}"/>
                    </a:ext>
                  </a:extLst>
                </p:cNvPr>
                <p:cNvSpPr/>
                <p:nvPr/>
              </p:nvSpPr>
              <p:spPr>
                <a:xfrm>
                  <a:off x="807339" y="3278581"/>
                  <a:ext cx="65100" cy="1187"/>
                </a:xfrm>
                <a:custGeom>
                  <a:avLst/>
                  <a:gdLst>
                    <a:gd name="connsiteX0" fmla="*/ 0 w 65100"/>
                    <a:gd name="connsiteY0" fmla="*/ 0 h 1187"/>
                    <a:gd name="connsiteX1" fmla="*/ 65101 w 65100"/>
                    <a:gd name="connsiteY1" fmla="*/ 0 h 11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65100" h="1187">
                      <a:moveTo>
                        <a:pt x="0" y="0"/>
                      </a:moveTo>
                      <a:lnTo>
                        <a:pt x="65101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grpSp>
          <p:nvGrpSpPr>
            <p:cNvPr id="96" name="Gráfico 2">
              <a:extLst>
                <a:ext uri="{FF2B5EF4-FFF2-40B4-BE49-F238E27FC236}">
                  <a16:creationId xmlns:a16="http://schemas.microsoft.com/office/drawing/2014/main" id="{2ADBB745-748A-6660-90C2-18DA04F6F8E5}"/>
                </a:ext>
              </a:extLst>
            </p:cNvPr>
            <p:cNvGrpSpPr/>
            <p:nvPr/>
          </p:nvGrpSpPr>
          <p:grpSpPr>
            <a:xfrm>
              <a:off x="760034" y="3132913"/>
              <a:ext cx="163523" cy="295697"/>
              <a:chOff x="760034" y="3132913"/>
              <a:chExt cx="163523" cy="295697"/>
            </a:xfrm>
            <a:noFill/>
          </p:grpSpPr>
          <p:sp>
            <p:nvSpPr>
              <p:cNvPr id="97" name="Forma livre: Forma 96">
                <a:extLst>
                  <a:ext uri="{FF2B5EF4-FFF2-40B4-BE49-F238E27FC236}">
                    <a16:creationId xmlns:a16="http://schemas.microsoft.com/office/drawing/2014/main" id="{B2B4CBC8-F9F7-E944-750F-84CA2AA7EB5F}"/>
                  </a:ext>
                </a:extLst>
              </p:cNvPr>
              <p:cNvSpPr/>
              <p:nvPr/>
            </p:nvSpPr>
            <p:spPr>
              <a:xfrm>
                <a:off x="760034" y="3132913"/>
                <a:ext cx="163523" cy="295697"/>
              </a:xfrm>
              <a:custGeom>
                <a:avLst/>
                <a:gdLst>
                  <a:gd name="connsiteX0" fmla="*/ 163524 w 163523"/>
                  <a:gd name="connsiteY0" fmla="*/ 204366 h 295697"/>
                  <a:gd name="connsiteX1" fmla="*/ 163524 w 163523"/>
                  <a:gd name="connsiteY1" fmla="*/ 281881 h 295697"/>
                  <a:gd name="connsiteX2" fmla="*/ 150135 w 163523"/>
                  <a:gd name="connsiteY2" fmla="*/ 295697 h 295697"/>
                  <a:gd name="connsiteX3" fmla="*/ 13388 w 163523"/>
                  <a:gd name="connsiteY3" fmla="*/ 295697 h 295697"/>
                  <a:gd name="connsiteX4" fmla="*/ 0 w 163523"/>
                  <a:gd name="connsiteY4" fmla="*/ 281881 h 295697"/>
                  <a:gd name="connsiteX5" fmla="*/ 0 w 163523"/>
                  <a:gd name="connsiteY5" fmla="*/ 13377 h 295697"/>
                  <a:gd name="connsiteX6" fmla="*/ 13388 w 163523"/>
                  <a:gd name="connsiteY6" fmla="*/ 0 h 295697"/>
                  <a:gd name="connsiteX7" fmla="*/ 150135 w 163523"/>
                  <a:gd name="connsiteY7" fmla="*/ 0 h 295697"/>
                  <a:gd name="connsiteX8" fmla="*/ 163524 w 163523"/>
                  <a:gd name="connsiteY8" fmla="*/ 13377 h 295697"/>
                  <a:gd name="connsiteX9" fmla="*/ 163524 w 163523"/>
                  <a:gd name="connsiteY9" fmla="*/ 26908 h 2956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63523" h="295697">
                    <a:moveTo>
                      <a:pt x="163524" y="204366"/>
                    </a:moveTo>
                    <a:lnTo>
                      <a:pt x="163524" y="281881"/>
                    </a:lnTo>
                    <a:cubicBezTo>
                      <a:pt x="163524" y="289247"/>
                      <a:pt x="157501" y="295697"/>
                      <a:pt x="150135" y="295697"/>
                    </a:cubicBezTo>
                    <a:lnTo>
                      <a:pt x="13388" y="295697"/>
                    </a:lnTo>
                    <a:cubicBezTo>
                      <a:pt x="6023" y="295697"/>
                      <a:pt x="0" y="289247"/>
                      <a:pt x="0" y="281881"/>
                    </a:cubicBezTo>
                    <a:lnTo>
                      <a:pt x="0" y="13377"/>
                    </a:lnTo>
                    <a:cubicBezTo>
                      <a:pt x="0" y="6011"/>
                      <a:pt x="6023" y="0"/>
                      <a:pt x="13388" y="0"/>
                    </a:cubicBezTo>
                    <a:lnTo>
                      <a:pt x="150135" y="0"/>
                    </a:lnTo>
                    <a:cubicBezTo>
                      <a:pt x="157501" y="0"/>
                      <a:pt x="163524" y="6011"/>
                      <a:pt x="163524" y="13377"/>
                    </a:cubicBezTo>
                    <a:lnTo>
                      <a:pt x="163524" y="26908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8" name="Forma livre: Forma 97">
                <a:extLst>
                  <a:ext uri="{FF2B5EF4-FFF2-40B4-BE49-F238E27FC236}">
                    <a16:creationId xmlns:a16="http://schemas.microsoft.com/office/drawing/2014/main" id="{EAA7BC2A-AF36-FE6F-9C1A-C0821301AE5B}"/>
                  </a:ext>
                </a:extLst>
              </p:cNvPr>
              <p:cNvSpPr/>
              <p:nvPr/>
            </p:nvSpPr>
            <p:spPr>
              <a:xfrm>
                <a:off x="779933" y="3370245"/>
                <a:ext cx="123714" cy="1187"/>
              </a:xfrm>
              <a:custGeom>
                <a:avLst/>
                <a:gdLst>
                  <a:gd name="connsiteX0" fmla="*/ 0 w 123714"/>
                  <a:gd name="connsiteY0" fmla="*/ 0 h 1187"/>
                  <a:gd name="connsiteX1" fmla="*/ 123715 w 123714"/>
                  <a:gd name="connsiteY1" fmla="*/ 0 h 11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3714" h="1187">
                    <a:moveTo>
                      <a:pt x="0" y="0"/>
                    </a:moveTo>
                    <a:lnTo>
                      <a:pt x="123715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9" name="Forma livre: Forma 98">
                <a:extLst>
                  <a:ext uri="{FF2B5EF4-FFF2-40B4-BE49-F238E27FC236}">
                    <a16:creationId xmlns:a16="http://schemas.microsoft.com/office/drawing/2014/main" id="{F8BF8F61-2C85-1266-3F00-7E3966BDC717}"/>
                  </a:ext>
                </a:extLst>
              </p:cNvPr>
              <p:cNvSpPr/>
              <p:nvPr/>
            </p:nvSpPr>
            <p:spPr>
              <a:xfrm>
                <a:off x="830683" y="3398590"/>
                <a:ext cx="22238" cy="1187"/>
              </a:xfrm>
              <a:custGeom>
                <a:avLst/>
                <a:gdLst>
                  <a:gd name="connsiteX0" fmla="*/ 0 w 22238"/>
                  <a:gd name="connsiteY0" fmla="*/ 0 h 1187"/>
                  <a:gd name="connsiteX1" fmla="*/ 22239 w 22238"/>
                  <a:gd name="connsiteY1" fmla="*/ 0 h 11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2238" h="1187">
                    <a:moveTo>
                      <a:pt x="0" y="0"/>
                    </a:moveTo>
                    <a:lnTo>
                      <a:pt x="22239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00" name="Gráfico 2">
            <a:extLst>
              <a:ext uri="{FF2B5EF4-FFF2-40B4-BE49-F238E27FC236}">
                <a16:creationId xmlns:a16="http://schemas.microsoft.com/office/drawing/2014/main" id="{CCB4B5B3-9A05-F248-2729-6AEBCDC39613}"/>
              </a:ext>
            </a:extLst>
          </p:cNvPr>
          <p:cNvGrpSpPr/>
          <p:nvPr/>
        </p:nvGrpSpPr>
        <p:grpSpPr>
          <a:xfrm>
            <a:off x="1302259" y="1576984"/>
            <a:ext cx="352945" cy="229681"/>
            <a:chOff x="1302259" y="1576984"/>
            <a:chExt cx="352945" cy="229681"/>
          </a:xfrm>
          <a:noFill/>
        </p:grpSpPr>
        <p:sp>
          <p:nvSpPr>
            <p:cNvPr id="101" name="Forma livre: Forma 100">
              <a:extLst>
                <a:ext uri="{FF2B5EF4-FFF2-40B4-BE49-F238E27FC236}">
                  <a16:creationId xmlns:a16="http://schemas.microsoft.com/office/drawing/2014/main" id="{1E4A2F82-EA1B-E5E4-F8D3-7708223F38AB}"/>
                </a:ext>
              </a:extLst>
            </p:cNvPr>
            <p:cNvSpPr/>
            <p:nvPr/>
          </p:nvSpPr>
          <p:spPr>
            <a:xfrm>
              <a:off x="1450668" y="1639477"/>
              <a:ext cx="156910" cy="167188"/>
            </a:xfrm>
            <a:custGeom>
              <a:avLst/>
              <a:gdLst>
                <a:gd name="connsiteX0" fmla="*/ 156910 w 156910"/>
                <a:gd name="connsiteY0" fmla="*/ 148264 h 167188"/>
                <a:gd name="connsiteX1" fmla="*/ 149462 w 156910"/>
                <a:gd name="connsiteY1" fmla="*/ 84019 h 167188"/>
                <a:gd name="connsiteX2" fmla="*/ 127057 w 156910"/>
                <a:gd name="connsiteY2" fmla="*/ 61352 h 167188"/>
                <a:gd name="connsiteX3" fmla="*/ 72434 w 156910"/>
                <a:gd name="connsiteY3" fmla="*/ 63051 h 167188"/>
                <a:gd name="connsiteX4" fmla="*/ 62205 w 156910"/>
                <a:gd name="connsiteY4" fmla="*/ 11232 h 167188"/>
                <a:gd name="connsiteX5" fmla="*/ 45099 w 156910"/>
                <a:gd name="connsiteY5" fmla="*/ 267 h 167188"/>
                <a:gd name="connsiteX6" fmla="*/ 33445 w 156910"/>
                <a:gd name="connsiteY6" fmla="*/ 16910 h 167188"/>
                <a:gd name="connsiteX7" fmla="*/ 46845 w 156910"/>
                <a:gd name="connsiteY7" fmla="*/ 84767 h 167188"/>
                <a:gd name="connsiteX8" fmla="*/ 53343 w 156910"/>
                <a:gd name="connsiteY8" fmla="*/ 117650 h 167188"/>
                <a:gd name="connsiteX9" fmla="*/ 23169 w 156910"/>
                <a:gd name="connsiteY9" fmla="*/ 97454 h 167188"/>
                <a:gd name="connsiteX10" fmla="*/ 3627 w 156910"/>
                <a:gd name="connsiteY10" fmla="*/ 101197 h 167188"/>
                <a:gd name="connsiteX11" fmla="*/ 2415 w 156910"/>
                <a:gd name="connsiteY11" fmla="*/ 102990 h 167188"/>
                <a:gd name="connsiteX12" fmla="*/ 6157 w 156910"/>
                <a:gd name="connsiteY12" fmla="*/ 122532 h 167188"/>
                <a:gd name="connsiteX13" fmla="*/ 72648 w 156910"/>
                <a:gd name="connsiteY13" fmla="*/ 167188 h 1671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56910" h="167188">
                  <a:moveTo>
                    <a:pt x="156910" y="148264"/>
                  </a:moveTo>
                  <a:lnTo>
                    <a:pt x="149462" y="84019"/>
                  </a:lnTo>
                  <a:cubicBezTo>
                    <a:pt x="144995" y="61400"/>
                    <a:pt x="127057" y="61352"/>
                    <a:pt x="127057" y="61352"/>
                  </a:cubicBezTo>
                  <a:lnTo>
                    <a:pt x="72434" y="63051"/>
                  </a:lnTo>
                  <a:lnTo>
                    <a:pt x="62205" y="11232"/>
                  </a:lnTo>
                  <a:cubicBezTo>
                    <a:pt x="60697" y="3641"/>
                    <a:pt x="52702" y="-1218"/>
                    <a:pt x="45099" y="267"/>
                  </a:cubicBezTo>
                  <a:cubicBezTo>
                    <a:pt x="37508" y="1752"/>
                    <a:pt x="31948" y="9319"/>
                    <a:pt x="33445" y="16910"/>
                  </a:cubicBezTo>
                  <a:lnTo>
                    <a:pt x="46845" y="84767"/>
                  </a:lnTo>
                  <a:lnTo>
                    <a:pt x="53343" y="117650"/>
                  </a:lnTo>
                  <a:lnTo>
                    <a:pt x="23169" y="97454"/>
                  </a:lnTo>
                  <a:cubicBezTo>
                    <a:pt x="16766" y="93106"/>
                    <a:pt x="7975" y="94793"/>
                    <a:pt x="3627" y="101197"/>
                  </a:cubicBezTo>
                  <a:lnTo>
                    <a:pt x="2415" y="102990"/>
                  </a:lnTo>
                  <a:cubicBezTo>
                    <a:pt x="-1933" y="109405"/>
                    <a:pt x="-246" y="118196"/>
                    <a:pt x="6157" y="122532"/>
                  </a:cubicBezTo>
                  <a:lnTo>
                    <a:pt x="72648" y="167188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2" name="Forma livre: Forma 101">
              <a:extLst>
                <a:ext uri="{FF2B5EF4-FFF2-40B4-BE49-F238E27FC236}">
                  <a16:creationId xmlns:a16="http://schemas.microsoft.com/office/drawing/2014/main" id="{E8F7A0A0-1B51-7216-5824-E8D6842C73C3}"/>
                </a:ext>
              </a:extLst>
            </p:cNvPr>
            <p:cNvSpPr/>
            <p:nvPr/>
          </p:nvSpPr>
          <p:spPr>
            <a:xfrm>
              <a:off x="1302259" y="1576984"/>
              <a:ext cx="102236" cy="97235"/>
            </a:xfrm>
            <a:custGeom>
              <a:avLst/>
              <a:gdLst>
                <a:gd name="connsiteX0" fmla="*/ 51118 w 102236"/>
                <a:gd name="connsiteY0" fmla="*/ 0 h 97235"/>
                <a:gd name="connsiteX1" fmla="*/ 65980 w 102236"/>
                <a:gd name="connsiteY1" fmla="*/ 33311 h 97235"/>
                <a:gd name="connsiteX2" fmla="*/ 102237 w 102236"/>
                <a:gd name="connsiteY2" fmla="*/ 37136 h 97235"/>
                <a:gd name="connsiteX3" fmla="*/ 75163 w 102236"/>
                <a:gd name="connsiteY3" fmla="*/ 61561 h 97235"/>
                <a:gd name="connsiteX4" fmla="*/ 82706 w 102236"/>
                <a:gd name="connsiteY4" fmla="*/ 97235 h 97235"/>
                <a:gd name="connsiteX5" fmla="*/ 51118 w 102236"/>
                <a:gd name="connsiteY5" fmla="*/ 79024 h 97235"/>
                <a:gd name="connsiteX6" fmla="*/ 19530 w 102236"/>
                <a:gd name="connsiteY6" fmla="*/ 97235 h 97235"/>
                <a:gd name="connsiteX7" fmla="*/ 27086 w 102236"/>
                <a:gd name="connsiteY7" fmla="*/ 61561 h 97235"/>
                <a:gd name="connsiteX8" fmla="*/ 0 w 102236"/>
                <a:gd name="connsiteY8" fmla="*/ 37136 h 97235"/>
                <a:gd name="connsiteX9" fmla="*/ 36269 w 102236"/>
                <a:gd name="connsiteY9" fmla="*/ 33311 h 97235"/>
                <a:gd name="connsiteX10" fmla="*/ 51118 w 102236"/>
                <a:gd name="connsiteY10" fmla="*/ 0 h 972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02236" h="97235">
                  <a:moveTo>
                    <a:pt x="51118" y="0"/>
                  </a:moveTo>
                  <a:lnTo>
                    <a:pt x="65980" y="33311"/>
                  </a:lnTo>
                  <a:lnTo>
                    <a:pt x="102237" y="37136"/>
                  </a:lnTo>
                  <a:lnTo>
                    <a:pt x="75163" y="61561"/>
                  </a:lnTo>
                  <a:lnTo>
                    <a:pt x="82706" y="97235"/>
                  </a:lnTo>
                  <a:lnTo>
                    <a:pt x="51118" y="79024"/>
                  </a:lnTo>
                  <a:lnTo>
                    <a:pt x="19530" y="97235"/>
                  </a:lnTo>
                  <a:lnTo>
                    <a:pt x="27086" y="61561"/>
                  </a:lnTo>
                  <a:lnTo>
                    <a:pt x="0" y="37136"/>
                  </a:lnTo>
                  <a:lnTo>
                    <a:pt x="36269" y="33311"/>
                  </a:lnTo>
                  <a:lnTo>
                    <a:pt x="51118" y="0"/>
                  </a:ln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3" name="Forma livre: Forma 102">
              <a:extLst>
                <a:ext uri="{FF2B5EF4-FFF2-40B4-BE49-F238E27FC236}">
                  <a16:creationId xmlns:a16="http://schemas.microsoft.com/office/drawing/2014/main" id="{ADBE954E-0BE5-D250-60A3-8BD2C155DBE8}"/>
                </a:ext>
              </a:extLst>
            </p:cNvPr>
            <p:cNvSpPr/>
            <p:nvPr/>
          </p:nvSpPr>
          <p:spPr>
            <a:xfrm>
              <a:off x="1427613" y="1576984"/>
              <a:ext cx="102236" cy="97235"/>
            </a:xfrm>
            <a:custGeom>
              <a:avLst/>
              <a:gdLst>
                <a:gd name="connsiteX0" fmla="*/ 39488 w 102236"/>
                <a:gd name="connsiteY0" fmla="*/ 85736 h 97235"/>
                <a:gd name="connsiteX1" fmla="*/ 19530 w 102236"/>
                <a:gd name="connsiteY1" fmla="*/ 97235 h 97235"/>
                <a:gd name="connsiteX2" fmla="*/ 27086 w 102236"/>
                <a:gd name="connsiteY2" fmla="*/ 61561 h 97235"/>
                <a:gd name="connsiteX3" fmla="*/ 0 w 102236"/>
                <a:gd name="connsiteY3" fmla="*/ 37136 h 97235"/>
                <a:gd name="connsiteX4" fmla="*/ 36269 w 102236"/>
                <a:gd name="connsiteY4" fmla="*/ 33311 h 97235"/>
                <a:gd name="connsiteX5" fmla="*/ 51118 w 102236"/>
                <a:gd name="connsiteY5" fmla="*/ 0 h 97235"/>
                <a:gd name="connsiteX6" fmla="*/ 65980 w 102236"/>
                <a:gd name="connsiteY6" fmla="*/ 33311 h 97235"/>
                <a:gd name="connsiteX7" fmla="*/ 102237 w 102236"/>
                <a:gd name="connsiteY7" fmla="*/ 37136 h 97235"/>
                <a:gd name="connsiteX8" fmla="*/ 87696 w 102236"/>
                <a:gd name="connsiteY8" fmla="*/ 50263 h 972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02236" h="97235">
                  <a:moveTo>
                    <a:pt x="39488" y="85736"/>
                  </a:moveTo>
                  <a:lnTo>
                    <a:pt x="19530" y="97235"/>
                  </a:lnTo>
                  <a:lnTo>
                    <a:pt x="27086" y="61561"/>
                  </a:lnTo>
                  <a:lnTo>
                    <a:pt x="0" y="37136"/>
                  </a:lnTo>
                  <a:lnTo>
                    <a:pt x="36269" y="33311"/>
                  </a:lnTo>
                  <a:lnTo>
                    <a:pt x="51118" y="0"/>
                  </a:lnTo>
                  <a:lnTo>
                    <a:pt x="65980" y="33311"/>
                  </a:lnTo>
                  <a:lnTo>
                    <a:pt x="102237" y="37136"/>
                  </a:lnTo>
                  <a:lnTo>
                    <a:pt x="87696" y="50263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4" name="Forma livre: Forma 103">
              <a:extLst>
                <a:ext uri="{FF2B5EF4-FFF2-40B4-BE49-F238E27FC236}">
                  <a16:creationId xmlns:a16="http://schemas.microsoft.com/office/drawing/2014/main" id="{B0C818BE-92FF-98A6-220B-68DF6A05D472}"/>
                </a:ext>
              </a:extLst>
            </p:cNvPr>
            <p:cNvSpPr/>
            <p:nvPr/>
          </p:nvSpPr>
          <p:spPr>
            <a:xfrm>
              <a:off x="1552967" y="1576984"/>
              <a:ext cx="102236" cy="97235"/>
            </a:xfrm>
            <a:custGeom>
              <a:avLst/>
              <a:gdLst>
                <a:gd name="connsiteX0" fmla="*/ 51118 w 102236"/>
                <a:gd name="connsiteY0" fmla="*/ 0 h 97235"/>
                <a:gd name="connsiteX1" fmla="*/ 65968 w 102236"/>
                <a:gd name="connsiteY1" fmla="*/ 33311 h 97235"/>
                <a:gd name="connsiteX2" fmla="*/ 102237 w 102236"/>
                <a:gd name="connsiteY2" fmla="*/ 37136 h 97235"/>
                <a:gd name="connsiteX3" fmla="*/ 75151 w 102236"/>
                <a:gd name="connsiteY3" fmla="*/ 61561 h 97235"/>
                <a:gd name="connsiteX4" fmla="*/ 82706 w 102236"/>
                <a:gd name="connsiteY4" fmla="*/ 97235 h 97235"/>
                <a:gd name="connsiteX5" fmla="*/ 51118 w 102236"/>
                <a:gd name="connsiteY5" fmla="*/ 79024 h 97235"/>
                <a:gd name="connsiteX6" fmla="*/ 19530 w 102236"/>
                <a:gd name="connsiteY6" fmla="*/ 97235 h 97235"/>
                <a:gd name="connsiteX7" fmla="*/ 27086 w 102236"/>
                <a:gd name="connsiteY7" fmla="*/ 61561 h 97235"/>
                <a:gd name="connsiteX8" fmla="*/ 0 w 102236"/>
                <a:gd name="connsiteY8" fmla="*/ 37136 h 97235"/>
                <a:gd name="connsiteX9" fmla="*/ 36269 w 102236"/>
                <a:gd name="connsiteY9" fmla="*/ 33311 h 97235"/>
                <a:gd name="connsiteX10" fmla="*/ 51118 w 102236"/>
                <a:gd name="connsiteY10" fmla="*/ 0 h 972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02236" h="97235">
                  <a:moveTo>
                    <a:pt x="51118" y="0"/>
                  </a:moveTo>
                  <a:lnTo>
                    <a:pt x="65968" y="33311"/>
                  </a:lnTo>
                  <a:lnTo>
                    <a:pt x="102237" y="37136"/>
                  </a:lnTo>
                  <a:lnTo>
                    <a:pt x="75151" y="61561"/>
                  </a:lnTo>
                  <a:lnTo>
                    <a:pt x="82706" y="97235"/>
                  </a:lnTo>
                  <a:lnTo>
                    <a:pt x="51118" y="79024"/>
                  </a:lnTo>
                  <a:lnTo>
                    <a:pt x="19530" y="97235"/>
                  </a:lnTo>
                  <a:lnTo>
                    <a:pt x="27086" y="61561"/>
                  </a:lnTo>
                  <a:lnTo>
                    <a:pt x="0" y="37136"/>
                  </a:lnTo>
                  <a:lnTo>
                    <a:pt x="36269" y="33311"/>
                  </a:lnTo>
                  <a:lnTo>
                    <a:pt x="51118" y="0"/>
                  </a:ln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05" name="Gráfico 2">
            <a:extLst>
              <a:ext uri="{FF2B5EF4-FFF2-40B4-BE49-F238E27FC236}">
                <a16:creationId xmlns:a16="http://schemas.microsoft.com/office/drawing/2014/main" id="{94C2951A-98CC-3D8B-C4C8-7DA57E79AB7A}"/>
              </a:ext>
            </a:extLst>
          </p:cNvPr>
          <p:cNvGrpSpPr/>
          <p:nvPr/>
        </p:nvGrpSpPr>
        <p:grpSpPr>
          <a:xfrm>
            <a:off x="1925324" y="1567314"/>
            <a:ext cx="346732" cy="249033"/>
            <a:chOff x="1925324" y="1567314"/>
            <a:chExt cx="346732" cy="249033"/>
          </a:xfrm>
          <a:noFill/>
        </p:grpSpPr>
        <p:grpSp>
          <p:nvGrpSpPr>
            <p:cNvPr id="106" name="Gráfico 2">
              <a:extLst>
                <a:ext uri="{FF2B5EF4-FFF2-40B4-BE49-F238E27FC236}">
                  <a16:creationId xmlns:a16="http://schemas.microsoft.com/office/drawing/2014/main" id="{E4BE10B2-95C3-2A8A-977B-16122EB67531}"/>
                </a:ext>
              </a:extLst>
            </p:cNvPr>
            <p:cNvGrpSpPr/>
            <p:nvPr/>
          </p:nvGrpSpPr>
          <p:grpSpPr>
            <a:xfrm>
              <a:off x="2036910" y="1567314"/>
              <a:ext cx="123097" cy="191963"/>
              <a:chOff x="2036910" y="1567314"/>
              <a:chExt cx="123097" cy="191963"/>
            </a:xfrm>
            <a:noFill/>
          </p:grpSpPr>
          <p:grpSp>
            <p:nvGrpSpPr>
              <p:cNvPr id="107" name="Gráfico 2">
                <a:extLst>
                  <a:ext uri="{FF2B5EF4-FFF2-40B4-BE49-F238E27FC236}">
                    <a16:creationId xmlns:a16="http://schemas.microsoft.com/office/drawing/2014/main" id="{DC069487-4E84-E97E-A0C2-92CCCCEF619A}"/>
                  </a:ext>
                </a:extLst>
              </p:cNvPr>
              <p:cNvGrpSpPr/>
              <p:nvPr/>
            </p:nvGrpSpPr>
            <p:grpSpPr>
              <a:xfrm>
                <a:off x="2104980" y="1567314"/>
                <a:ext cx="55026" cy="191963"/>
                <a:chOff x="2104980" y="1567314"/>
                <a:chExt cx="55026" cy="191963"/>
              </a:xfrm>
              <a:noFill/>
            </p:grpSpPr>
            <p:grpSp>
              <p:nvGrpSpPr>
                <p:cNvPr id="108" name="Gráfico 2">
                  <a:extLst>
                    <a:ext uri="{FF2B5EF4-FFF2-40B4-BE49-F238E27FC236}">
                      <a16:creationId xmlns:a16="http://schemas.microsoft.com/office/drawing/2014/main" id="{15818242-9431-3CF4-F09D-DE40C08690BE}"/>
                    </a:ext>
                  </a:extLst>
                </p:cNvPr>
                <p:cNvGrpSpPr/>
                <p:nvPr/>
              </p:nvGrpSpPr>
              <p:grpSpPr>
                <a:xfrm>
                  <a:off x="2104980" y="1567314"/>
                  <a:ext cx="55026" cy="191963"/>
                  <a:chOff x="2104980" y="1567314"/>
                  <a:chExt cx="55026" cy="191963"/>
                </a:xfrm>
                <a:noFill/>
              </p:grpSpPr>
              <p:sp>
                <p:nvSpPr>
                  <p:cNvPr id="109" name="Forma livre: Forma 108">
                    <a:extLst>
                      <a:ext uri="{FF2B5EF4-FFF2-40B4-BE49-F238E27FC236}">
                        <a16:creationId xmlns:a16="http://schemas.microsoft.com/office/drawing/2014/main" id="{F8A7D461-020B-F92F-FC73-874C2D6A1CF8}"/>
                      </a:ext>
                    </a:extLst>
                  </p:cNvPr>
                  <p:cNvSpPr/>
                  <p:nvPr/>
                </p:nvSpPr>
                <p:spPr>
                  <a:xfrm>
                    <a:off x="2145466" y="1567314"/>
                    <a:ext cx="14540" cy="191963"/>
                  </a:xfrm>
                  <a:custGeom>
                    <a:avLst/>
                    <a:gdLst>
                      <a:gd name="connsiteX0" fmla="*/ 14541 w 14540"/>
                      <a:gd name="connsiteY0" fmla="*/ 0 h 191963"/>
                      <a:gd name="connsiteX1" fmla="*/ 14541 w 14540"/>
                      <a:gd name="connsiteY1" fmla="*/ 45713 h 191963"/>
                      <a:gd name="connsiteX2" fmla="*/ 0 w 14540"/>
                      <a:gd name="connsiteY2" fmla="*/ 72549 h 191963"/>
                      <a:gd name="connsiteX3" fmla="*/ 0 w 14540"/>
                      <a:gd name="connsiteY3" fmla="*/ 191964 h 19196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14540" h="191963">
                        <a:moveTo>
                          <a:pt x="14541" y="0"/>
                        </a:moveTo>
                        <a:lnTo>
                          <a:pt x="14541" y="45713"/>
                        </a:lnTo>
                        <a:cubicBezTo>
                          <a:pt x="14541" y="57771"/>
                          <a:pt x="10442" y="68130"/>
                          <a:pt x="0" y="72549"/>
                        </a:cubicBezTo>
                        <a:lnTo>
                          <a:pt x="0" y="191964"/>
                        </a:lnTo>
                      </a:path>
                    </a:pathLst>
                  </a:custGeom>
                  <a:noFill/>
                  <a:ln w="6350" cap="sq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110" name="Forma livre: Forma 109">
                    <a:extLst>
                      <a:ext uri="{FF2B5EF4-FFF2-40B4-BE49-F238E27FC236}">
                        <a16:creationId xmlns:a16="http://schemas.microsoft.com/office/drawing/2014/main" id="{2B2D4985-42F6-FC20-75CE-32B1316B6BB4}"/>
                      </a:ext>
                    </a:extLst>
                  </p:cNvPr>
                  <p:cNvSpPr/>
                  <p:nvPr/>
                </p:nvSpPr>
                <p:spPr>
                  <a:xfrm>
                    <a:off x="2104980" y="1567326"/>
                    <a:ext cx="14540" cy="191939"/>
                  </a:xfrm>
                  <a:custGeom>
                    <a:avLst/>
                    <a:gdLst>
                      <a:gd name="connsiteX0" fmla="*/ 0 w 14540"/>
                      <a:gd name="connsiteY0" fmla="*/ 0 h 191939"/>
                      <a:gd name="connsiteX1" fmla="*/ 0 w 14540"/>
                      <a:gd name="connsiteY1" fmla="*/ 45689 h 191939"/>
                      <a:gd name="connsiteX2" fmla="*/ 14541 w 14540"/>
                      <a:gd name="connsiteY2" fmla="*/ 72525 h 191939"/>
                      <a:gd name="connsiteX3" fmla="*/ 14541 w 14540"/>
                      <a:gd name="connsiteY3" fmla="*/ 191940 h 19193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14540" h="191939">
                        <a:moveTo>
                          <a:pt x="0" y="0"/>
                        </a:moveTo>
                        <a:lnTo>
                          <a:pt x="0" y="45689"/>
                        </a:lnTo>
                        <a:cubicBezTo>
                          <a:pt x="0" y="57759"/>
                          <a:pt x="4087" y="68106"/>
                          <a:pt x="14541" y="72525"/>
                        </a:cubicBezTo>
                        <a:lnTo>
                          <a:pt x="14541" y="191940"/>
                        </a:lnTo>
                      </a:path>
                    </a:pathLst>
                  </a:custGeom>
                  <a:noFill/>
                  <a:ln w="6350" cap="sq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  <p:sp>
              <p:nvSpPr>
                <p:cNvPr id="111" name="Forma livre: Forma 110">
                  <a:extLst>
                    <a:ext uri="{FF2B5EF4-FFF2-40B4-BE49-F238E27FC236}">
                      <a16:creationId xmlns:a16="http://schemas.microsoft.com/office/drawing/2014/main" id="{68FF0D1C-B063-81CC-09B8-1A7CEB9C5244}"/>
                    </a:ext>
                  </a:extLst>
                </p:cNvPr>
                <p:cNvSpPr/>
                <p:nvPr/>
              </p:nvSpPr>
              <p:spPr>
                <a:xfrm>
                  <a:off x="2132506" y="1567314"/>
                  <a:ext cx="1187" cy="38181"/>
                </a:xfrm>
                <a:custGeom>
                  <a:avLst/>
                  <a:gdLst>
                    <a:gd name="connsiteX0" fmla="*/ 0 w 1187"/>
                    <a:gd name="connsiteY0" fmla="*/ 38181 h 38181"/>
                    <a:gd name="connsiteX1" fmla="*/ 0 w 1187"/>
                    <a:gd name="connsiteY1" fmla="*/ 0 h 3818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187" h="38181">
                      <a:moveTo>
                        <a:pt x="0" y="38181"/>
                      </a:moveTo>
                      <a:lnTo>
                        <a:pt x="0" y="0"/>
                      </a:lnTo>
                    </a:path>
                  </a:pathLst>
                </a:custGeom>
                <a:ln w="6350" cap="sq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112" name="Forma livre: Forma 111">
                <a:extLst>
                  <a:ext uri="{FF2B5EF4-FFF2-40B4-BE49-F238E27FC236}">
                    <a16:creationId xmlns:a16="http://schemas.microsoft.com/office/drawing/2014/main" id="{77A842CF-648C-3474-65CD-EE7AF19CB454}"/>
                  </a:ext>
                </a:extLst>
              </p:cNvPr>
              <p:cNvSpPr/>
              <p:nvPr/>
            </p:nvSpPr>
            <p:spPr>
              <a:xfrm>
                <a:off x="2036910" y="1567344"/>
                <a:ext cx="39927" cy="191921"/>
              </a:xfrm>
              <a:custGeom>
                <a:avLst/>
                <a:gdLst>
                  <a:gd name="connsiteX0" fmla="*/ 13472 w 39927"/>
                  <a:gd name="connsiteY0" fmla="*/ 191922 h 191921"/>
                  <a:gd name="connsiteX1" fmla="*/ 13472 w 39927"/>
                  <a:gd name="connsiteY1" fmla="*/ 108158 h 191921"/>
                  <a:gd name="connsiteX2" fmla="*/ 0 w 39927"/>
                  <a:gd name="connsiteY2" fmla="*/ 103739 h 191921"/>
                  <a:gd name="connsiteX3" fmla="*/ 12901 w 39927"/>
                  <a:gd name="connsiteY3" fmla="*/ 20439 h 191921"/>
                  <a:gd name="connsiteX4" fmla="*/ 31255 w 39927"/>
                  <a:gd name="connsiteY4" fmla="*/ 445 h 191921"/>
                  <a:gd name="connsiteX5" fmla="*/ 39928 w 39927"/>
                  <a:gd name="connsiteY5" fmla="*/ 12456 h 191921"/>
                  <a:gd name="connsiteX6" fmla="*/ 39928 w 39927"/>
                  <a:gd name="connsiteY6" fmla="*/ 191530 h 1919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9927" h="191921">
                    <a:moveTo>
                      <a:pt x="13472" y="191922"/>
                    </a:moveTo>
                    <a:lnTo>
                      <a:pt x="13472" y="108158"/>
                    </a:lnTo>
                    <a:lnTo>
                      <a:pt x="0" y="103739"/>
                    </a:lnTo>
                    <a:lnTo>
                      <a:pt x="12901" y="20439"/>
                    </a:lnTo>
                    <a:cubicBezTo>
                      <a:pt x="16370" y="5862"/>
                      <a:pt x="31255" y="445"/>
                      <a:pt x="31255" y="445"/>
                    </a:cubicBezTo>
                    <a:cubicBezTo>
                      <a:pt x="37124" y="-1871"/>
                      <a:pt x="39797" y="5257"/>
                      <a:pt x="39928" y="12456"/>
                    </a:cubicBezTo>
                    <a:lnTo>
                      <a:pt x="39928" y="191530"/>
                    </a:lnTo>
                  </a:path>
                </a:pathLst>
              </a:custGeom>
              <a:noFill/>
              <a:ln w="6350" cap="sq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13" name="Gráfico 2">
              <a:extLst>
                <a:ext uri="{FF2B5EF4-FFF2-40B4-BE49-F238E27FC236}">
                  <a16:creationId xmlns:a16="http://schemas.microsoft.com/office/drawing/2014/main" id="{C20B6548-BB9A-4F0C-37AD-726894488731}"/>
                </a:ext>
              </a:extLst>
            </p:cNvPr>
            <p:cNvGrpSpPr/>
            <p:nvPr/>
          </p:nvGrpSpPr>
          <p:grpSpPr>
            <a:xfrm>
              <a:off x="1925324" y="1595029"/>
              <a:ext cx="346732" cy="221318"/>
              <a:chOff x="1925324" y="1595029"/>
              <a:chExt cx="346732" cy="221318"/>
            </a:xfrm>
            <a:noFill/>
          </p:grpSpPr>
          <p:grpSp>
            <p:nvGrpSpPr>
              <p:cNvPr id="114" name="Gráfico 2">
                <a:extLst>
                  <a:ext uri="{FF2B5EF4-FFF2-40B4-BE49-F238E27FC236}">
                    <a16:creationId xmlns:a16="http://schemas.microsoft.com/office/drawing/2014/main" id="{B78EB6F8-28B8-3EBC-5074-D35BE84C3D1E}"/>
                  </a:ext>
                </a:extLst>
              </p:cNvPr>
              <p:cNvGrpSpPr/>
              <p:nvPr/>
            </p:nvGrpSpPr>
            <p:grpSpPr>
              <a:xfrm>
                <a:off x="1958231" y="1595029"/>
                <a:ext cx="280918" cy="172671"/>
                <a:chOff x="1958231" y="1595029"/>
                <a:chExt cx="280918" cy="172671"/>
              </a:xfrm>
              <a:noFill/>
            </p:grpSpPr>
            <p:sp>
              <p:nvSpPr>
                <p:cNvPr id="115" name="Forma livre: Forma 114">
                  <a:extLst>
                    <a:ext uri="{FF2B5EF4-FFF2-40B4-BE49-F238E27FC236}">
                      <a16:creationId xmlns:a16="http://schemas.microsoft.com/office/drawing/2014/main" id="{621573B8-9860-4DDF-D921-A6F4DC34ACAF}"/>
                    </a:ext>
                  </a:extLst>
                </p:cNvPr>
                <p:cNvSpPr/>
                <p:nvPr/>
              </p:nvSpPr>
              <p:spPr>
                <a:xfrm>
                  <a:off x="2183778" y="1595029"/>
                  <a:ext cx="55371" cy="172671"/>
                </a:xfrm>
                <a:custGeom>
                  <a:avLst/>
                  <a:gdLst>
                    <a:gd name="connsiteX0" fmla="*/ 0 w 55371"/>
                    <a:gd name="connsiteY0" fmla="*/ 0 h 172671"/>
                    <a:gd name="connsiteX1" fmla="*/ 34855 w 55371"/>
                    <a:gd name="connsiteY1" fmla="*/ 0 h 172671"/>
                    <a:gd name="connsiteX2" fmla="*/ 55371 w 55371"/>
                    <a:gd name="connsiteY2" fmla="*/ 20504 h 172671"/>
                    <a:gd name="connsiteX3" fmla="*/ 55371 w 55371"/>
                    <a:gd name="connsiteY3" fmla="*/ 172671 h 1726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55371" h="172671">
                      <a:moveTo>
                        <a:pt x="0" y="0"/>
                      </a:moveTo>
                      <a:lnTo>
                        <a:pt x="34855" y="0"/>
                      </a:lnTo>
                      <a:cubicBezTo>
                        <a:pt x="46141" y="0"/>
                        <a:pt x="55371" y="9231"/>
                        <a:pt x="55371" y="20504"/>
                      </a:cubicBezTo>
                      <a:lnTo>
                        <a:pt x="55371" y="172671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16" name="Forma livre: Forma 115">
                  <a:extLst>
                    <a:ext uri="{FF2B5EF4-FFF2-40B4-BE49-F238E27FC236}">
                      <a16:creationId xmlns:a16="http://schemas.microsoft.com/office/drawing/2014/main" id="{9371EAC6-C249-2B94-B15C-A81F25F447EC}"/>
                    </a:ext>
                  </a:extLst>
                </p:cNvPr>
                <p:cNvSpPr/>
                <p:nvPr/>
              </p:nvSpPr>
              <p:spPr>
                <a:xfrm>
                  <a:off x="1958231" y="1595029"/>
                  <a:ext cx="65421" cy="172671"/>
                </a:xfrm>
                <a:custGeom>
                  <a:avLst/>
                  <a:gdLst>
                    <a:gd name="connsiteX0" fmla="*/ 0 w 65421"/>
                    <a:gd name="connsiteY0" fmla="*/ 172671 h 172671"/>
                    <a:gd name="connsiteX1" fmla="*/ 0 w 65421"/>
                    <a:gd name="connsiteY1" fmla="*/ 20504 h 172671"/>
                    <a:gd name="connsiteX2" fmla="*/ 20492 w 65421"/>
                    <a:gd name="connsiteY2" fmla="*/ 0 h 172671"/>
                    <a:gd name="connsiteX3" fmla="*/ 65421 w 65421"/>
                    <a:gd name="connsiteY3" fmla="*/ 0 h 1726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65421" h="172671">
                      <a:moveTo>
                        <a:pt x="0" y="172671"/>
                      </a:moveTo>
                      <a:lnTo>
                        <a:pt x="0" y="20504"/>
                      </a:lnTo>
                      <a:cubicBezTo>
                        <a:pt x="0" y="9231"/>
                        <a:pt x="9230" y="0"/>
                        <a:pt x="20492" y="0"/>
                      </a:cubicBezTo>
                      <a:lnTo>
                        <a:pt x="65421" y="0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117" name="Forma livre: Forma 116">
                <a:extLst>
                  <a:ext uri="{FF2B5EF4-FFF2-40B4-BE49-F238E27FC236}">
                    <a16:creationId xmlns:a16="http://schemas.microsoft.com/office/drawing/2014/main" id="{8B8ADB46-9D37-0EF9-10C1-889ECA925946}"/>
                  </a:ext>
                </a:extLst>
              </p:cNvPr>
              <p:cNvSpPr/>
              <p:nvPr/>
            </p:nvSpPr>
            <p:spPr>
              <a:xfrm>
                <a:off x="1925324" y="1789214"/>
                <a:ext cx="346732" cy="27133"/>
              </a:xfrm>
              <a:custGeom>
                <a:avLst/>
                <a:gdLst>
                  <a:gd name="connsiteX0" fmla="*/ 204176 w 346732"/>
                  <a:gd name="connsiteY0" fmla="*/ 0 h 27133"/>
                  <a:gd name="connsiteX1" fmla="*/ 199258 w 346732"/>
                  <a:gd name="connsiteY1" fmla="*/ 5702 h 27133"/>
                  <a:gd name="connsiteX2" fmla="*/ 147486 w 346732"/>
                  <a:gd name="connsiteY2" fmla="*/ 5702 h 27133"/>
                  <a:gd name="connsiteX3" fmla="*/ 142580 w 346732"/>
                  <a:gd name="connsiteY3" fmla="*/ 0 h 27133"/>
                  <a:gd name="connsiteX4" fmla="*/ 0 w 346732"/>
                  <a:gd name="connsiteY4" fmla="*/ 0 h 27133"/>
                  <a:gd name="connsiteX5" fmla="*/ 25815 w 346732"/>
                  <a:gd name="connsiteY5" fmla="*/ 27133 h 27133"/>
                  <a:gd name="connsiteX6" fmla="*/ 320918 w 346732"/>
                  <a:gd name="connsiteY6" fmla="*/ 27133 h 27133"/>
                  <a:gd name="connsiteX7" fmla="*/ 346732 w 346732"/>
                  <a:gd name="connsiteY7" fmla="*/ 0 h 27133"/>
                  <a:gd name="connsiteX8" fmla="*/ 204164 w 346732"/>
                  <a:gd name="connsiteY8" fmla="*/ 0 h 271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46732" h="27133">
                    <a:moveTo>
                      <a:pt x="204176" y="0"/>
                    </a:moveTo>
                    <a:lnTo>
                      <a:pt x="199258" y="5702"/>
                    </a:lnTo>
                    <a:lnTo>
                      <a:pt x="147486" y="5702"/>
                    </a:lnTo>
                    <a:lnTo>
                      <a:pt x="142580" y="0"/>
                    </a:lnTo>
                    <a:lnTo>
                      <a:pt x="0" y="0"/>
                    </a:lnTo>
                    <a:cubicBezTo>
                      <a:pt x="0" y="0"/>
                      <a:pt x="5976" y="27133"/>
                      <a:pt x="25815" y="27133"/>
                    </a:cubicBezTo>
                    <a:lnTo>
                      <a:pt x="320918" y="27133"/>
                    </a:lnTo>
                    <a:cubicBezTo>
                      <a:pt x="340757" y="27133"/>
                      <a:pt x="346732" y="0"/>
                      <a:pt x="346732" y="0"/>
                    </a:cubicBezTo>
                    <a:lnTo>
                      <a:pt x="204164" y="0"/>
                    </a:ln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18" name="Gráfico 2">
            <a:extLst>
              <a:ext uri="{FF2B5EF4-FFF2-40B4-BE49-F238E27FC236}">
                <a16:creationId xmlns:a16="http://schemas.microsoft.com/office/drawing/2014/main" id="{AD35B2F9-EF69-B496-C894-738E662B4931}"/>
              </a:ext>
            </a:extLst>
          </p:cNvPr>
          <p:cNvGrpSpPr/>
          <p:nvPr/>
        </p:nvGrpSpPr>
        <p:grpSpPr>
          <a:xfrm>
            <a:off x="713930" y="1521292"/>
            <a:ext cx="289756" cy="341089"/>
            <a:chOff x="713930" y="1521292"/>
            <a:chExt cx="289756" cy="341089"/>
          </a:xfrm>
          <a:noFill/>
        </p:grpSpPr>
        <p:sp>
          <p:nvSpPr>
            <p:cNvPr id="119" name="Forma livre: Forma 118">
              <a:extLst>
                <a:ext uri="{FF2B5EF4-FFF2-40B4-BE49-F238E27FC236}">
                  <a16:creationId xmlns:a16="http://schemas.microsoft.com/office/drawing/2014/main" id="{995AC78F-B619-AB86-BE41-B660ECF79407}"/>
                </a:ext>
              </a:extLst>
            </p:cNvPr>
            <p:cNvSpPr/>
            <p:nvPr/>
          </p:nvSpPr>
          <p:spPr>
            <a:xfrm>
              <a:off x="783045" y="1521292"/>
              <a:ext cx="220641" cy="266033"/>
            </a:xfrm>
            <a:custGeom>
              <a:avLst/>
              <a:gdLst>
                <a:gd name="connsiteX0" fmla="*/ 87755 w 220641"/>
                <a:gd name="connsiteY0" fmla="*/ 218348 h 266033"/>
                <a:gd name="connsiteX1" fmla="*/ 87755 w 220641"/>
                <a:gd name="connsiteY1" fmla="*/ 266034 h 266033"/>
                <a:gd name="connsiteX2" fmla="*/ 178136 w 220641"/>
                <a:gd name="connsiteY2" fmla="*/ 197345 h 266033"/>
                <a:gd name="connsiteX3" fmla="*/ 220641 w 220641"/>
                <a:gd name="connsiteY3" fmla="*/ 110315 h 266033"/>
                <a:gd name="connsiteX4" fmla="*/ 110315 w 220641"/>
                <a:gd name="connsiteY4" fmla="*/ 0 h 266033"/>
                <a:gd name="connsiteX5" fmla="*/ 0 w 220641"/>
                <a:gd name="connsiteY5" fmla="*/ 110315 h 266033"/>
                <a:gd name="connsiteX6" fmla="*/ 61287 w 220641"/>
                <a:gd name="connsiteY6" fmla="*/ 209213 h 266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20641" h="266033">
                  <a:moveTo>
                    <a:pt x="87755" y="218348"/>
                  </a:moveTo>
                  <a:lnTo>
                    <a:pt x="87755" y="266034"/>
                  </a:lnTo>
                  <a:lnTo>
                    <a:pt x="178136" y="197345"/>
                  </a:lnTo>
                  <a:cubicBezTo>
                    <a:pt x="204010" y="177150"/>
                    <a:pt x="220641" y="145681"/>
                    <a:pt x="220641" y="110315"/>
                  </a:cubicBezTo>
                  <a:cubicBezTo>
                    <a:pt x="220641" y="49384"/>
                    <a:pt x="171257" y="0"/>
                    <a:pt x="110315" y="0"/>
                  </a:cubicBezTo>
                  <a:cubicBezTo>
                    <a:pt x="49372" y="0"/>
                    <a:pt x="0" y="49384"/>
                    <a:pt x="0" y="110315"/>
                  </a:cubicBezTo>
                  <a:cubicBezTo>
                    <a:pt x="0" y="153664"/>
                    <a:pt x="24947" y="191168"/>
                    <a:pt x="61287" y="209213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0" name="Forma livre: Forma 119">
              <a:extLst>
                <a:ext uri="{FF2B5EF4-FFF2-40B4-BE49-F238E27FC236}">
                  <a16:creationId xmlns:a16="http://schemas.microsoft.com/office/drawing/2014/main" id="{D8C48C75-E062-2FDB-9FBE-9B6C8764DC42}"/>
                </a:ext>
              </a:extLst>
            </p:cNvPr>
            <p:cNvSpPr/>
            <p:nvPr/>
          </p:nvSpPr>
          <p:spPr>
            <a:xfrm>
              <a:off x="713930" y="1673632"/>
              <a:ext cx="150452" cy="188749"/>
            </a:xfrm>
            <a:custGeom>
              <a:avLst/>
              <a:gdLst>
                <a:gd name="connsiteX0" fmla="*/ 12259 w 150452"/>
                <a:gd name="connsiteY0" fmla="*/ 10185 h 188749"/>
                <a:gd name="connsiteX1" fmla="*/ 9384 w 150452"/>
                <a:gd name="connsiteY1" fmla="*/ 12015 h 188749"/>
                <a:gd name="connsiteX2" fmla="*/ 35 w 150452"/>
                <a:gd name="connsiteY2" fmla="*/ 25475 h 188749"/>
                <a:gd name="connsiteX3" fmla="*/ 38383 w 150452"/>
                <a:gd name="connsiteY3" fmla="*/ 120144 h 188749"/>
                <a:gd name="connsiteX4" fmla="*/ 114638 w 150452"/>
                <a:gd name="connsiteY4" fmla="*/ 188096 h 188749"/>
                <a:gd name="connsiteX5" fmla="*/ 130450 w 150452"/>
                <a:gd name="connsiteY5" fmla="*/ 183807 h 188749"/>
                <a:gd name="connsiteX6" fmla="*/ 133337 w 150452"/>
                <a:gd name="connsiteY6" fmla="*/ 181562 h 188749"/>
                <a:gd name="connsiteX7" fmla="*/ 150123 w 150452"/>
                <a:gd name="connsiteY7" fmla="*/ 164384 h 188749"/>
                <a:gd name="connsiteX8" fmla="*/ 147367 w 150452"/>
                <a:gd name="connsiteY8" fmla="*/ 155617 h 188749"/>
                <a:gd name="connsiteX9" fmla="*/ 120210 w 150452"/>
                <a:gd name="connsiteY9" fmla="*/ 129838 h 188749"/>
                <a:gd name="connsiteX10" fmla="*/ 107416 w 150452"/>
                <a:gd name="connsiteY10" fmla="*/ 126856 h 188749"/>
                <a:gd name="connsiteX11" fmla="*/ 87113 w 150452"/>
                <a:gd name="connsiteY11" fmla="*/ 133877 h 188749"/>
                <a:gd name="connsiteX12" fmla="*/ 62748 w 150452"/>
                <a:gd name="connsiteY12" fmla="*/ 102954 h 188749"/>
                <a:gd name="connsiteX13" fmla="*/ 41816 w 150452"/>
                <a:gd name="connsiteY13" fmla="*/ 69596 h 188749"/>
                <a:gd name="connsiteX14" fmla="*/ 55264 w 150452"/>
                <a:gd name="connsiteY14" fmla="*/ 52857 h 188749"/>
                <a:gd name="connsiteX15" fmla="*/ 56772 w 150452"/>
                <a:gd name="connsiteY15" fmla="*/ 39813 h 188749"/>
                <a:gd name="connsiteX16" fmla="*/ 41614 w 150452"/>
                <a:gd name="connsiteY16" fmla="*/ 5564 h 188749"/>
                <a:gd name="connsiteX17" fmla="*/ 34296 w 150452"/>
                <a:gd name="connsiteY17" fmla="*/ 28 h 188749"/>
                <a:gd name="connsiteX18" fmla="*/ 22951 w 150452"/>
                <a:gd name="connsiteY18" fmla="*/ 4008 h 188749"/>
                <a:gd name="connsiteX19" fmla="*/ 12259 w 150452"/>
                <a:gd name="connsiteY19" fmla="*/ 10197 h 1887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50452" h="188749">
                  <a:moveTo>
                    <a:pt x="12259" y="10185"/>
                  </a:moveTo>
                  <a:cubicBezTo>
                    <a:pt x="10489" y="11290"/>
                    <a:pt x="9384" y="12015"/>
                    <a:pt x="9384" y="12015"/>
                  </a:cubicBezTo>
                  <a:cubicBezTo>
                    <a:pt x="-737" y="18311"/>
                    <a:pt x="35" y="25475"/>
                    <a:pt x="35" y="25475"/>
                  </a:cubicBezTo>
                  <a:cubicBezTo>
                    <a:pt x="-1295" y="68218"/>
                    <a:pt x="35638" y="116045"/>
                    <a:pt x="38383" y="120144"/>
                  </a:cubicBezTo>
                  <a:cubicBezTo>
                    <a:pt x="42172" y="125133"/>
                    <a:pt x="73939" y="174969"/>
                    <a:pt x="114638" y="188096"/>
                  </a:cubicBezTo>
                  <a:cubicBezTo>
                    <a:pt x="114638" y="188096"/>
                    <a:pt x="121125" y="191220"/>
                    <a:pt x="130450" y="183807"/>
                  </a:cubicBezTo>
                  <a:lnTo>
                    <a:pt x="133337" y="181562"/>
                  </a:lnTo>
                  <a:cubicBezTo>
                    <a:pt x="137020" y="178129"/>
                    <a:pt x="149636" y="166581"/>
                    <a:pt x="150123" y="164384"/>
                  </a:cubicBezTo>
                  <a:cubicBezTo>
                    <a:pt x="150123" y="164384"/>
                    <a:pt x="151857" y="160166"/>
                    <a:pt x="147367" y="155617"/>
                  </a:cubicBezTo>
                  <a:lnTo>
                    <a:pt x="120210" y="129838"/>
                  </a:lnTo>
                  <a:cubicBezTo>
                    <a:pt x="120210" y="129838"/>
                    <a:pt x="115684" y="124028"/>
                    <a:pt x="107416" y="126856"/>
                  </a:cubicBezTo>
                  <a:lnTo>
                    <a:pt x="87113" y="133877"/>
                  </a:lnTo>
                  <a:cubicBezTo>
                    <a:pt x="87113" y="133877"/>
                    <a:pt x="71099" y="115915"/>
                    <a:pt x="62748" y="102954"/>
                  </a:cubicBezTo>
                  <a:cubicBezTo>
                    <a:pt x="53363" y="90730"/>
                    <a:pt x="41816" y="69596"/>
                    <a:pt x="41816" y="69596"/>
                  </a:cubicBezTo>
                  <a:lnTo>
                    <a:pt x="55264" y="52857"/>
                  </a:lnTo>
                  <a:cubicBezTo>
                    <a:pt x="60717" y="46026"/>
                    <a:pt x="56772" y="39813"/>
                    <a:pt x="56772" y="39813"/>
                  </a:cubicBezTo>
                  <a:lnTo>
                    <a:pt x="41614" y="5564"/>
                  </a:lnTo>
                  <a:cubicBezTo>
                    <a:pt x="38846" y="-185"/>
                    <a:pt x="34296" y="28"/>
                    <a:pt x="34296" y="28"/>
                  </a:cubicBezTo>
                  <a:cubicBezTo>
                    <a:pt x="32015" y="-257"/>
                    <a:pt x="27513" y="1644"/>
                    <a:pt x="22951" y="4008"/>
                  </a:cubicBezTo>
                  <a:lnTo>
                    <a:pt x="12259" y="10197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21" name="Gráfico 2">
              <a:extLst>
                <a:ext uri="{FF2B5EF4-FFF2-40B4-BE49-F238E27FC236}">
                  <a16:creationId xmlns:a16="http://schemas.microsoft.com/office/drawing/2014/main" id="{DFAD6CBF-087F-8300-DAB8-C94E5F8F32EB}"/>
                </a:ext>
              </a:extLst>
            </p:cNvPr>
            <p:cNvGrpSpPr/>
            <p:nvPr/>
          </p:nvGrpSpPr>
          <p:grpSpPr>
            <a:xfrm>
              <a:off x="824574" y="1577994"/>
              <a:ext cx="148213" cy="117442"/>
              <a:chOff x="824574" y="1577994"/>
              <a:chExt cx="148213" cy="117442"/>
            </a:xfrm>
            <a:noFill/>
          </p:grpSpPr>
          <p:sp>
            <p:nvSpPr>
              <p:cNvPr id="122" name="Forma livre: Forma 121">
                <a:extLst>
                  <a:ext uri="{FF2B5EF4-FFF2-40B4-BE49-F238E27FC236}">
                    <a16:creationId xmlns:a16="http://schemas.microsoft.com/office/drawing/2014/main" id="{4915EBA0-1D6F-E3CD-272C-010B2A35DC8F}"/>
                  </a:ext>
                </a:extLst>
              </p:cNvPr>
              <p:cNvSpPr/>
              <p:nvPr/>
            </p:nvSpPr>
            <p:spPr>
              <a:xfrm>
                <a:off x="824574" y="1580200"/>
                <a:ext cx="114119" cy="110935"/>
              </a:xfrm>
              <a:custGeom>
                <a:avLst/>
                <a:gdLst>
                  <a:gd name="connsiteX0" fmla="*/ 114119 w 114119"/>
                  <a:gd name="connsiteY0" fmla="*/ 110936 h 110935"/>
                  <a:gd name="connsiteX1" fmla="*/ 12572 w 114119"/>
                  <a:gd name="connsiteY1" fmla="*/ 5907 h 110935"/>
                  <a:gd name="connsiteX2" fmla="*/ 2367 w 114119"/>
                  <a:gd name="connsiteY2" fmla="*/ 2035 h 110935"/>
                  <a:gd name="connsiteX3" fmla="*/ 2961 w 114119"/>
                  <a:gd name="connsiteY3" fmla="*/ 24356 h 110935"/>
                  <a:gd name="connsiteX4" fmla="*/ 38303 w 114119"/>
                  <a:gd name="connsiteY4" fmla="*/ 71602 h 1109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14119" h="110935">
                    <a:moveTo>
                      <a:pt x="114119" y="110936"/>
                    </a:moveTo>
                    <a:lnTo>
                      <a:pt x="12572" y="5907"/>
                    </a:lnTo>
                    <a:cubicBezTo>
                      <a:pt x="8378" y="1726"/>
                      <a:pt x="4505" y="-2682"/>
                      <a:pt x="2367" y="2035"/>
                    </a:cubicBezTo>
                    <a:cubicBezTo>
                      <a:pt x="2367" y="2035"/>
                      <a:pt x="-3335" y="13760"/>
                      <a:pt x="2961" y="24356"/>
                    </a:cubicBezTo>
                    <a:lnTo>
                      <a:pt x="38303" y="71602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123" name="Gráfico 2">
                <a:extLst>
                  <a:ext uri="{FF2B5EF4-FFF2-40B4-BE49-F238E27FC236}">
                    <a16:creationId xmlns:a16="http://schemas.microsoft.com/office/drawing/2014/main" id="{426BCD7A-1A82-20D2-2E01-C517802198C8}"/>
                  </a:ext>
                </a:extLst>
              </p:cNvPr>
              <p:cNvGrpSpPr/>
              <p:nvPr/>
            </p:nvGrpSpPr>
            <p:grpSpPr>
              <a:xfrm>
                <a:off x="855333" y="1577994"/>
                <a:ext cx="117454" cy="117442"/>
                <a:chOff x="855333" y="1577994"/>
                <a:chExt cx="117454" cy="117442"/>
              </a:xfrm>
              <a:noFill/>
            </p:grpSpPr>
            <p:sp>
              <p:nvSpPr>
                <p:cNvPr id="124" name="Forma livre: Forma 123">
                  <a:extLst>
                    <a:ext uri="{FF2B5EF4-FFF2-40B4-BE49-F238E27FC236}">
                      <a16:creationId xmlns:a16="http://schemas.microsoft.com/office/drawing/2014/main" id="{DD5D9559-B421-5CF9-9040-ED61F7641060}"/>
                    </a:ext>
                  </a:extLst>
                </p:cNvPr>
                <p:cNvSpPr/>
                <p:nvPr/>
              </p:nvSpPr>
              <p:spPr>
                <a:xfrm>
                  <a:off x="855333" y="1667661"/>
                  <a:ext cx="27774" cy="27774"/>
                </a:xfrm>
                <a:custGeom>
                  <a:avLst/>
                  <a:gdLst>
                    <a:gd name="connsiteX0" fmla="*/ 0 w 27774"/>
                    <a:gd name="connsiteY0" fmla="*/ 27775 h 27774"/>
                    <a:gd name="connsiteX1" fmla="*/ 27775 w 27774"/>
                    <a:gd name="connsiteY1" fmla="*/ 0 h 277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7774" h="27774">
                      <a:moveTo>
                        <a:pt x="0" y="27775"/>
                      </a:moveTo>
                      <a:lnTo>
                        <a:pt x="27775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25" name="Forma livre: Forma 124">
                  <a:extLst>
                    <a:ext uri="{FF2B5EF4-FFF2-40B4-BE49-F238E27FC236}">
                      <a16:creationId xmlns:a16="http://schemas.microsoft.com/office/drawing/2014/main" id="{30C5CC9E-22B0-0EC7-6273-6EC0CD3B82BC}"/>
                    </a:ext>
                  </a:extLst>
                </p:cNvPr>
                <p:cNvSpPr/>
                <p:nvPr/>
              </p:nvSpPr>
              <p:spPr>
                <a:xfrm>
                  <a:off x="910000" y="1577994"/>
                  <a:ext cx="62787" cy="62787"/>
                </a:xfrm>
                <a:custGeom>
                  <a:avLst/>
                  <a:gdLst>
                    <a:gd name="connsiteX0" fmla="*/ 29607 w 62787"/>
                    <a:gd name="connsiteY0" fmla="*/ 0 h 62787"/>
                    <a:gd name="connsiteX1" fmla="*/ 6869 w 62787"/>
                    <a:gd name="connsiteY1" fmla="*/ 22738 h 62787"/>
                    <a:gd name="connsiteX2" fmla="*/ 6869 w 62787"/>
                    <a:gd name="connsiteY2" fmla="*/ 55918 h 62787"/>
                    <a:gd name="connsiteX3" fmla="*/ 40049 w 62787"/>
                    <a:gd name="connsiteY3" fmla="*/ 55918 h 62787"/>
                    <a:gd name="connsiteX4" fmla="*/ 62787 w 62787"/>
                    <a:gd name="connsiteY4" fmla="*/ 33180 h 627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62787" h="62787">
                      <a:moveTo>
                        <a:pt x="29607" y="0"/>
                      </a:moveTo>
                      <a:lnTo>
                        <a:pt x="6869" y="22738"/>
                      </a:lnTo>
                      <a:cubicBezTo>
                        <a:pt x="-2290" y="31897"/>
                        <a:pt x="-2290" y="46758"/>
                        <a:pt x="6869" y="55918"/>
                      </a:cubicBezTo>
                      <a:cubicBezTo>
                        <a:pt x="16029" y="65077"/>
                        <a:pt x="30890" y="65077"/>
                        <a:pt x="40049" y="55918"/>
                      </a:cubicBezTo>
                      <a:lnTo>
                        <a:pt x="62787" y="33180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26" name="Forma livre: Forma 125">
                  <a:extLst>
                    <a:ext uri="{FF2B5EF4-FFF2-40B4-BE49-F238E27FC236}">
                      <a16:creationId xmlns:a16="http://schemas.microsoft.com/office/drawing/2014/main" id="{18E8A53A-6731-1224-2658-867F5962BF1E}"/>
                    </a:ext>
                  </a:extLst>
                </p:cNvPr>
                <p:cNvSpPr/>
                <p:nvPr/>
              </p:nvSpPr>
              <p:spPr>
                <a:xfrm>
                  <a:off x="932872" y="1594590"/>
                  <a:ext cx="23319" cy="23319"/>
                </a:xfrm>
                <a:custGeom>
                  <a:avLst/>
                  <a:gdLst>
                    <a:gd name="connsiteX0" fmla="*/ 0 w 23319"/>
                    <a:gd name="connsiteY0" fmla="*/ 23320 h 23319"/>
                    <a:gd name="connsiteX1" fmla="*/ 23320 w 23319"/>
                    <a:gd name="connsiteY1" fmla="*/ 0 h 2331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3319" h="23319">
                      <a:moveTo>
                        <a:pt x="0" y="23320"/>
                      </a:moveTo>
                      <a:lnTo>
                        <a:pt x="23320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</p:grpSp>
      <p:grpSp>
        <p:nvGrpSpPr>
          <p:cNvPr id="127" name="Gráfico 2">
            <a:extLst>
              <a:ext uri="{FF2B5EF4-FFF2-40B4-BE49-F238E27FC236}">
                <a16:creationId xmlns:a16="http://schemas.microsoft.com/office/drawing/2014/main" id="{BEE07C99-F49B-AAB4-5F96-890738E35BEF}"/>
              </a:ext>
            </a:extLst>
          </p:cNvPr>
          <p:cNvGrpSpPr/>
          <p:nvPr/>
        </p:nvGrpSpPr>
        <p:grpSpPr>
          <a:xfrm>
            <a:off x="1354517" y="2081051"/>
            <a:ext cx="248427" cy="280847"/>
            <a:chOff x="1354517" y="2081051"/>
            <a:chExt cx="248427" cy="280847"/>
          </a:xfrm>
          <a:noFill/>
        </p:grpSpPr>
        <p:sp>
          <p:nvSpPr>
            <p:cNvPr id="128" name="Forma livre: Forma 127">
              <a:extLst>
                <a:ext uri="{FF2B5EF4-FFF2-40B4-BE49-F238E27FC236}">
                  <a16:creationId xmlns:a16="http://schemas.microsoft.com/office/drawing/2014/main" id="{376D069A-DB5B-4565-C1F0-6A585DE94244}"/>
                </a:ext>
              </a:extLst>
            </p:cNvPr>
            <p:cNvSpPr/>
            <p:nvPr/>
          </p:nvSpPr>
          <p:spPr>
            <a:xfrm>
              <a:off x="1534340" y="2136612"/>
              <a:ext cx="13554" cy="224513"/>
            </a:xfrm>
            <a:custGeom>
              <a:avLst/>
              <a:gdLst>
                <a:gd name="connsiteX0" fmla="*/ 0 w 13554"/>
                <a:gd name="connsiteY0" fmla="*/ 224514 h 224513"/>
                <a:gd name="connsiteX1" fmla="*/ 0 w 13554"/>
                <a:gd name="connsiteY1" fmla="*/ 37956 h 224513"/>
                <a:gd name="connsiteX2" fmla="*/ 13555 w 13554"/>
                <a:gd name="connsiteY2" fmla="*/ 0 h 2245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3554" h="224513">
                  <a:moveTo>
                    <a:pt x="0" y="224514"/>
                  </a:moveTo>
                  <a:lnTo>
                    <a:pt x="0" y="37956"/>
                  </a:lnTo>
                  <a:lnTo>
                    <a:pt x="13555" y="0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9" name="Forma livre: Forma 128">
              <a:extLst>
                <a:ext uri="{FF2B5EF4-FFF2-40B4-BE49-F238E27FC236}">
                  <a16:creationId xmlns:a16="http://schemas.microsoft.com/office/drawing/2014/main" id="{3FF40CCC-8DC9-1E5D-6DD7-B3E207F0CC59}"/>
                </a:ext>
              </a:extLst>
            </p:cNvPr>
            <p:cNvSpPr/>
            <p:nvPr/>
          </p:nvSpPr>
          <p:spPr>
            <a:xfrm>
              <a:off x="1354517" y="2081051"/>
              <a:ext cx="248427" cy="280847"/>
            </a:xfrm>
            <a:custGeom>
              <a:avLst/>
              <a:gdLst>
                <a:gd name="connsiteX0" fmla="*/ 196846 w 248427"/>
                <a:gd name="connsiteY0" fmla="*/ 23011 h 280847"/>
                <a:gd name="connsiteX1" fmla="*/ 187628 w 248427"/>
                <a:gd name="connsiteY1" fmla="*/ 36352 h 280847"/>
                <a:gd name="connsiteX2" fmla="*/ 0 w 248427"/>
                <a:gd name="connsiteY2" fmla="*/ 36352 h 280847"/>
                <a:gd name="connsiteX3" fmla="*/ 24935 w 248427"/>
                <a:gd name="connsiteY3" fmla="*/ 0 h 280847"/>
                <a:gd name="connsiteX4" fmla="*/ 214001 w 248427"/>
                <a:gd name="connsiteY4" fmla="*/ 0 h 280847"/>
                <a:gd name="connsiteX5" fmla="*/ 248428 w 248427"/>
                <a:gd name="connsiteY5" fmla="*/ 93517 h 280847"/>
                <a:gd name="connsiteX6" fmla="*/ 248428 w 248427"/>
                <a:gd name="connsiteY6" fmla="*/ 280847 h 280847"/>
                <a:gd name="connsiteX7" fmla="*/ 535 w 248427"/>
                <a:gd name="connsiteY7" fmla="*/ 280847 h 280847"/>
                <a:gd name="connsiteX8" fmla="*/ 535 w 248427"/>
                <a:gd name="connsiteY8" fmla="*/ 93517 h 280847"/>
                <a:gd name="connsiteX9" fmla="*/ 24508 w 248427"/>
                <a:gd name="connsiteY9" fmla="*/ 36886 h 2808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48427" h="280847">
                  <a:moveTo>
                    <a:pt x="196846" y="23011"/>
                  </a:moveTo>
                  <a:lnTo>
                    <a:pt x="187628" y="36352"/>
                  </a:lnTo>
                  <a:lnTo>
                    <a:pt x="0" y="36352"/>
                  </a:lnTo>
                  <a:lnTo>
                    <a:pt x="24935" y="0"/>
                  </a:lnTo>
                  <a:lnTo>
                    <a:pt x="214001" y="0"/>
                  </a:lnTo>
                  <a:lnTo>
                    <a:pt x="248428" y="93517"/>
                  </a:lnTo>
                  <a:lnTo>
                    <a:pt x="248428" y="280847"/>
                  </a:lnTo>
                  <a:lnTo>
                    <a:pt x="535" y="280847"/>
                  </a:lnTo>
                  <a:lnTo>
                    <a:pt x="535" y="93517"/>
                  </a:lnTo>
                  <a:lnTo>
                    <a:pt x="24508" y="36886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30" name="Gráfico 2">
              <a:extLst>
                <a:ext uri="{FF2B5EF4-FFF2-40B4-BE49-F238E27FC236}">
                  <a16:creationId xmlns:a16="http://schemas.microsoft.com/office/drawing/2014/main" id="{ED52F658-82F9-A89C-7B31-8243C110EFC4}"/>
                </a:ext>
              </a:extLst>
            </p:cNvPr>
            <p:cNvGrpSpPr/>
            <p:nvPr/>
          </p:nvGrpSpPr>
          <p:grpSpPr>
            <a:xfrm>
              <a:off x="1388054" y="2168963"/>
              <a:ext cx="114436" cy="155383"/>
              <a:chOff x="1388054" y="2168963"/>
              <a:chExt cx="114436" cy="155383"/>
            </a:xfrm>
            <a:noFill/>
          </p:grpSpPr>
          <p:grpSp>
            <p:nvGrpSpPr>
              <p:cNvPr id="131" name="Gráfico 2">
                <a:extLst>
                  <a:ext uri="{FF2B5EF4-FFF2-40B4-BE49-F238E27FC236}">
                    <a16:creationId xmlns:a16="http://schemas.microsoft.com/office/drawing/2014/main" id="{874599A0-7F10-D024-A41B-CCBE91BAAB3E}"/>
                  </a:ext>
                </a:extLst>
              </p:cNvPr>
              <p:cNvGrpSpPr/>
              <p:nvPr/>
            </p:nvGrpSpPr>
            <p:grpSpPr>
              <a:xfrm>
                <a:off x="1451349" y="2176147"/>
                <a:ext cx="51142" cy="148198"/>
                <a:chOff x="1451349" y="2176147"/>
                <a:chExt cx="51142" cy="148198"/>
              </a:xfrm>
              <a:noFill/>
            </p:grpSpPr>
            <p:grpSp>
              <p:nvGrpSpPr>
                <p:cNvPr id="132" name="Gráfico 2">
                  <a:extLst>
                    <a:ext uri="{FF2B5EF4-FFF2-40B4-BE49-F238E27FC236}">
                      <a16:creationId xmlns:a16="http://schemas.microsoft.com/office/drawing/2014/main" id="{50D6A2E6-D23D-65C0-3A26-3020D42971F4}"/>
                    </a:ext>
                  </a:extLst>
                </p:cNvPr>
                <p:cNvGrpSpPr/>
                <p:nvPr/>
              </p:nvGrpSpPr>
              <p:grpSpPr>
                <a:xfrm>
                  <a:off x="1451349" y="2176147"/>
                  <a:ext cx="51142" cy="148198"/>
                  <a:chOff x="1451349" y="2176147"/>
                  <a:chExt cx="51142" cy="148198"/>
                </a:xfrm>
                <a:noFill/>
              </p:grpSpPr>
              <p:sp>
                <p:nvSpPr>
                  <p:cNvPr id="133" name="Forma livre: Forma 132">
                    <a:extLst>
                      <a:ext uri="{FF2B5EF4-FFF2-40B4-BE49-F238E27FC236}">
                        <a16:creationId xmlns:a16="http://schemas.microsoft.com/office/drawing/2014/main" id="{7CC5018B-2808-4072-C7F2-426DE09CD668}"/>
                      </a:ext>
                    </a:extLst>
                  </p:cNvPr>
                  <p:cNvSpPr/>
                  <p:nvPr/>
                </p:nvSpPr>
                <p:spPr>
                  <a:xfrm>
                    <a:off x="1488971" y="2176147"/>
                    <a:ext cx="13519" cy="148198"/>
                  </a:xfrm>
                  <a:custGeom>
                    <a:avLst/>
                    <a:gdLst>
                      <a:gd name="connsiteX0" fmla="*/ 13519 w 13519"/>
                      <a:gd name="connsiteY0" fmla="*/ 0 h 148198"/>
                      <a:gd name="connsiteX1" fmla="*/ 13519 w 13519"/>
                      <a:gd name="connsiteY1" fmla="*/ 45867 h 148198"/>
                      <a:gd name="connsiteX2" fmla="*/ 0 w 13519"/>
                      <a:gd name="connsiteY2" fmla="*/ 70815 h 148198"/>
                      <a:gd name="connsiteX3" fmla="*/ 0 w 13519"/>
                      <a:gd name="connsiteY3" fmla="*/ 148199 h 14819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13519" h="148198">
                        <a:moveTo>
                          <a:pt x="13519" y="0"/>
                        </a:moveTo>
                        <a:lnTo>
                          <a:pt x="13519" y="45867"/>
                        </a:lnTo>
                        <a:cubicBezTo>
                          <a:pt x="13519" y="57082"/>
                          <a:pt x="9718" y="66704"/>
                          <a:pt x="0" y="70815"/>
                        </a:cubicBezTo>
                        <a:lnTo>
                          <a:pt x="0" y="148199"/>
                        </a:lnTo>
                      </a:path>
                    </a:pathLst>
                  </a:custGeom>
                  <a:noFill/>
                  <a:ln w="6350" cap="flat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134" name="Forma livre: Forma 133">
                    <a:extLst>
                      <a:ext uri="{FF2B5EF4-FFF2-40B4-BE49-F238E27FC236}">
                        <a16:creationId xmlns:a16="http://schemas.microsoft.com/office/drawing/2014/main" id="{5353A9C0-EC24-DAFE-62B6-41C4CA37C0B1}"/>
                      </a:ext>
                    </a:extLst>
                  </p:cNvPr>
                  <p:cNvSpPr/>
                  <p:nvPr/>
                </p:nvSpPr>
                <p:spPr>
                  <a:xfrm>
                    <a:off x="1451349" y="2176147"/>
                    <a:ext cx="13519" cy="148187"/>
                  </a:xfrm>
                  <a:custGeom>
                    <a:avLst/>
                    <a:gdLst>
                      <a:gd name="connsiteX0" fmla="*/ 0 w 13519"/>
                      <a:gd name="connsiteY0" fmla="*/ 0 h 148187"/>
                      <a:gd name="connsiteX1" fmla="*/ 0 w 13519"/>
                      <a:gd name="connsiteY1" fmla="*/ 45856 h 148187"/>
                      <a:gd name="connsiteX2" fmla="*/ 13519 w 13519"/>
                      <a:gd name="connsiteY2" fmla="*/ 70803 h 148187"/>
                      <a:gd name="connsiteX3" fmla="*/ 13519 w 13519"/>
                      <a:gd name="connsiteY3" fmla="*/ 148187 h 1481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13519" h="148187">
                        <a:moveTo>
                          <a:pt x="0" y="0"/>
                        </a:moveTo>
                        <a:lnTo>
                          <a:pt x="0" y="45856"/>
                        </a:lnTo>
                        <a:cubicBezTo>
                          <a:pt x="0" y="57070"/>
                          <a:pt x="3802" y="66693"/>
                          <a:pt x="13519" y="70803"/>
                        </a:cubicBezTo>
                        <a:lnTo>
                          <a:pt x="13519" y="148187"/>
                        </a:lnTo>
                      </a:path>
                    </a:pathLst>
                  </a:custGeom>
                  <a:noFill/>
                  <a:ln w="6350" cap="flat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  <p:sp>
              <p:nvSpPr>
                <p:cNvPr id="135" name="Forma livre: Forma 134">
                  <a:extLst>
                    <a:ext uri="{FF2B5EF4-FFF2-40B4-BE49-F238E27FC236}">
                      <a16:creationId xmlns:a16="http://schemas.microsoft.com/office/drawing/2014/main" id="{9069CF38-AF4E-7E6B-1EA9-732F9980B53F}"/>
                    </a:ext>
                  </a:extLst>
                </p:cNvPr>
                <p:cNvSpPr/>
                <p:nvPr/>
              </p:nvSpPr>
              <p:spPr>
                <a:xfrm>
                  <a:off x="1476925" y="2176147"/>
                  <a:ext cx="1187" cy="42541"/>
                </a:xfrm>
                <a:custGeom>
                  <a:avLst/>
                  <a:gdLst>
                    <a:gd name="connsiteX0" fmla="*/ 0 w 1187"/>
                    <a:gd name="connsiteY0" fmla="*/ 42541 h 42541"/>
                    <a:gd name="connsiteX1" fmla="*/ 0 w 1187"/>
                    <a:gd name="connsiteY1" fmla="*/ 0 h 4254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187" h="42541">
                      <a:moveTo>
                        <a:pt x="0" y="42541"/>
                      </a:moveTo>
                      <a:lnTo>
                        <a:pt x="0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136" name="Forma livre: Forma 135">
                <a:extLst>
                  <a:ext uri="{FF2B5EF4-FFF2-40B4-BE49-F238E27FC236}">
                    <a16:creationId xmlns:a16="http://schemas.microsoft.com/office/drawing/2014/main" id="{461F86AF-BC01-F9B9-8929-1D886E28412A}"/>
                  </a:ext>
                </a:extLst>
              </p:cNvPr>
              <p:cNvSpPr/>
              <p:nvPr/>
            </p:nvSpPr>
            <p:spPr>
              <a:xfrm>
                <a:off x="1388054" y="2168963"/>
                <a:ext cx="37124" cy="155371"/>
              </a:xfrm>
              <a:custGeom>
                <a:avLst/>
                <a:gdLst>
                  <a:gd name="connsiteX0" fmla="*/ 12533 w 37124"/>
                  <a:gd name="connsiteY0" fmla="*/ 155372 h 155371"/>
                  <a:gd name="connsiteX1" fmla="*/ 12533 w 37124"/>
                  <a:gd name="connsiteY1" fmla="*/ 95997 h 155371"/>
                  <a:gd name="connsiteX2" fmla="*/ 0 w 37124"/>
                  <a:gd name="connsiteY2" fmla="*/ 91887 h 155371"/>
                  <a:gd name="connsiteX3" fmla="*/ 11999 w 37124"/>
                  <a:gd name="connsiteY3" fmla="*/ 18993 h 155371"/>
                  <a:gd name="connsiteX4" fmla="*/ 29058 w 37124"/>
                  <a:gd name="connsiteY4" fmla="*/ 413 h 155371"/>
                  <a:gd name="connsiteX5" fmla="*/ 37124 w 37124"/>
                  <a:gd name="connsiteY5" fmla="*/ 11580 h 155371"/>
                  <a:gd name="connsiteX6" fmla="*/ 37124 w 37124"/>
                  <a:gd name="connsiteY6" fmla="*/ 155027 h 1553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7124" h="155371">
                    <a:moveTo>
                      <a:pt x="12533" y="155372"/>
                    </a:moveTo>
                    <a:lnTo>
                      <a:pt x="12533" y="95997"/>
                    </a:lnTo>
                    <a:lnTo>
                      <a:pt x="0" y="91887"/>
                    </a:lnTo>
                    <a:lnTo>
                      <a:pt x="11999" y="18993"/>
                    </a:lnTo>
                    <a:cubicBezTo>
                      <a:pt x="15230" y="5438"/>
                      <a:pt x="29058" y="413"/>
                      <a:pt x="29058" y="413"/>
                    </a:cubicBezTo>
                    <a:cubicBezTo>
                      <a:pt x="34511" y="-1737"/>
                      <a:pt x="37005" y="4880"/>
                      <a:pt x="37124" y="11580"/>
                    </a:cubicBezTo>
                    <a:lnTo>
                      <a:pt x="37124" y="155027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37" name="Gráfico 2">
            <a:extLst>
              <a:ext uri="{FF2B5EF4-FFF2-40B4-BE49-F238E27FC236}">
                <a16:creationId xmlns:a16="http://schemas.microsoft.com/office/drawing/2014/main" id="{990A195C-59F3-6DBD-171A-B52F61D41479}"/>
              </a:ext>
            </a:extLst>
          </p:cNvPr>
          <p:cNvGrpSpPr/>
          <p:nvPr/>
        </p:nvGrpSpPr>
        <p:grpSpPr>
          <a:xfrm>
            <a:off x="1951246" y="2047514"/>
            <a:ext cx="294889" cy="347920"/>
            <a:chOff x="1951246" y="2047514"/>
            <a:chExt cx="294889" cy="347920"/>
          </a:xfrm>
        </p:grpSpPr>
        <p:grpSp>
          <p:nvGrpSpPr>
            <p:cNvPr id="138" name="Gráfico 2">
              <a:extLst>
                <a:ext uri="{FF2B5EF4-FFF2-40B4-BE49-F238E27FC236}">
                  <a16:creationId xmlns:a16="http://schemas.microsoft.com/office/drawing/2014/main" id="{D0C20587-272B-1434-6417-8CFC71E8B908}"/>
                </a:ext>
              </a:extLst>
            </p:cNvPr>
            <p:cNvGrpSpPr/>
            <p:nvPr/>
          </p:nvGrpSpPr>
          <p:grpSpPr>
            <a:xfrm>
              <a:off x="2031971" y="2047514"/>
              <a:ext cx="133453" cy="104661"/>
              <a:chOff x="2031971" y="2047514"/>
              <a:chExt cx="133453" cy="104661"/>
            </a:xfrm>
          </p:grpSpPr>
          <p:sp>
            <p:nvSpPr>
              <p:cNvPr id="139" name="Forma livre: Forma 138">
                <a:extLst>
                  <a:ext uri="{FF2B5EF4-FFF2-40B4-BE49-F238E27FC236}">
                    <a16:creationId xmlns:a16="http://schemas.microsoft.com/office/drawing/2014/main" id="{75CE19BD-CD4D-15AA-7231-18632B5AECF4}"/>
                  </a:ext>
                </a:extLst>
              </p:cNvPr>
              <p:cNvSpPr/>
              <p:nvPr/>
            </p:nvSpPr>
            <p:spPr>
              <a:xfrm>
                <a:off x="2031971" y="2051791"/>
                <a:ext cx="133453" cy="100385"/>
              </a:xfrm>
              <a:custGeom>
                <a:avLst/>
                <a:gdLst>
                  <a:gd name="connsiteX0" fmla="*/ 129949 w 133453"/>
                  <a:gd name="connsiteY0" fmla="*/ 75210 h 100385"/>
                  <a:gd name="connsiteX1" fmla="*/ 128191 w 133453"/>
                  <a:gd name="connsiteY1" fmla="*/ 35853 h 100385"/>
                  <a:gd name="connsiteX2" fmla="*/ 93894 w 133453"/>
                  <a:gd name="connsiteY2" fmla="*/ 6629 h 100385"/>
                  <a:gd name="connsiteX3" fmla="*/ 66713 w 133453"/>
                  <a:gd name="connsiteY3" fmla="*/ 0 h 100385"/>
                  <a:gd name="connsiteX4" fmla="*/ 39533 w 133453"/>
                  <a:gd name="connsiteY4" fmla="*/ 6629 h 100385"/>
                  <a:gd name="connsiteX5" fmla="*/ 5248 w 133453"/>
                  <a:gd name="connsiteY5" fmla="*/ 35853 h 100385"/>
                  <a:gd name="connsiteX6" fmla="*/ 3490 w 133453"/>
                  <a:gd name="connsiteY6" fmla="*/ 75210 h 100385"/>
                  <a:gd name="connsiteX7" fmla="*/ 9121 w 133453"/>
                  <a:gd name="connsiteY7" fmla="*/ 99956 h 100385"/>
                  <a:gd name="connsiteX8" fmla="*/ 36622 w 133453"/>
                  <a:gd name="connsiteY8" fmla="*/ 93362 h 100385"/>
                  <a:gd name="connsiteX9" fmla="*/ 66725 w 133453"/>
                  <a:gd name="connsiteY9" fmla="*/ 85367 h 100385"/>
                  <a:gd name="connsiteX10" fmla="*/ 96828 w 133453"/>
                  <a:gd name="connsiteY10" fmla="*/ 93362 h 100385"/>
                  <a:gd name="connsiteX11" fmla="*/ 124318 w 133453"/>
                  <a:gd name="connsiteY11" fmla="*/ 99956 h 100385"/>
                  <a:gd name="connsiteX12" fmla="*/ 129961 w 133453"/>
                  <a:gd name="connsiteY12" fmla="*/ 75210 h 1003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33453" h="100385">
                    <a:moveTo>
                      <a:pt x="129949" y="75210"/>
                    </a:moveTo>
                    <a:lnTo>
                      <a:pt x="128191" y="35853"/>
                    </a:lnTo>
                    <a:cubicBezTo>
                      <a:pt x="126528" y="18414"/>
                      <a:pt x="107758" y="8541"/>
                      <a:pt x="93894" y="6629"/>
                    </a:cubicBezTo>
                    <a:cubicBezTo>
                      <a:pt x="79615" y="4645"/>
                      <a:pt x="67117" y="154"/>
                      <a:pt x="66713" y="0"/>
                    </a:cubicBezTo>
                    <a:cubicBezTo>
                      <a:pt x="66309" y="143"/>
                      <a:pt x="53812" y="4645"/>
                      <a:pt x="39533" y="6629"/>
                    </a:cubicBezTo>
                    <a:cubicBezTo>
                      <a:pt x="25669" y="8541"/>
                      <a:pt x="6899" y="18414"/>
                      <a:pt x="5248" y="35853"/>
                    </a:cubicBezTo>
                    <a:lnTo>
                      <a:pt x="3490" y="75210"/>
                    </a:lnTo>
                    <a:cubicBezTo>
                      <a:pt x="460" y="84809"/>
                      <a:pt x="-4660" y="95857"/>
                      <a:pt x="9121" y="99956"/>
                    </a:cubicBezTo>
                    <a:cubicBezTo>
                      <a:pt x="9121" y="99956"/>
                      <a:pt x="19396" y="102902"/>
                      <a:pt x="36622" y="93362"/>
                    </a:cubicBezTo>
                    <a:cubicBezTo>
                      <a:pt x="41659" y="90559"/>
                      <a:pt x="47207" y="85367"/>
                      <a:pt x="66725" y="85367"/>
                    </a:cubicBezTo>
                    <a:cubicBezTo>
                      <a:pt x="86243" y="85367"/>
                      <a:pt x="91779" y="90571"/>
                      <a:pt x="96828" y="93362"/>
                    </a:cubicBezTo>
                    <a:cubicBezTo>
                      <a:pt x="114066" y="102890"/>
                      <a:pt x="124318" y="99956"/>
                      <a:pt x="124318" y="99956"/>
                    </a:cubicBezTo>
                    <a:cubicBezTo>
                      <a:pt x="138122" y="95857"/>
                      <a:pt x="132990" y="84809"/>
                      <a:pt x="129961" y="75210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40" name="Forma livre: Forma 139">
                <a:extLst>
                  <a:ext uri="{FF2B5EF4-FFF2-40B4-BE49-F238E27FC236}">
                    <a16:creationId xmlns:a16="http://schemas.microsoft.com/office/drawing/2014/main" id="{59867EE3-8471-8E64-B6D0-72769B6D1599}"/>
                  </a:ext>
                </a:extLst>
              </p:cNvPr>
              <p:cNvSpPr/>
              <p:nvPr/>
            </p:nvSpPr>
            <p:spPr>
              <a:xfrm>
                <a:off x="2060313" y="2106901"/>
                <a:ext cx="102117" cy="21703"/>
              </a:xfrm>
              <a:custGeom>
                <a:avLst/>
                <a:gdLst>
                  <a:gd name="connsiteX0" fmla="*/ 0 w 102117"/>
                  <a:gd name="connsiteY0" fmla="*/ 7602 h 21703"/>
                  <a:gd name="connsiteX1" fmla="*/ 102118 w 102117"/>
                  <a:gd name="connsiteY1" fmla="*/ 21704 h 217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02117" h="21703">
                    <a:moveTo>
                      <a:pt x="0" y="7602"/>
                    </a:moveTo>
                    <a:cubicBezTo>
                      <a:pt x="22702" y="-1913"/>
                      <a:pt x="58995" y="-7354"/>
                      <a:pt x="102118" y="21704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41" name="Forma livre: Forma 140">
                <a:extLst>
                  <a:ext uri="{FF2B5EF4-FFF2-40B4-BE49-F238E27FC236}">
                    <a16:creationId xmlns:a16="http://schemas.microsoft.com/office/drawing/2014/main" id="{7BB27BBA-12B4-9F2C-CF9D-2383FC4D9EF5}"/>
                  </a:ext>
                </a:extLst>
              </p:cNvPr>
              <p:cNvSpPr/>
              <p:nvPr/>
            </p:nvSpPr>
            <p:spPr>
              <a:xfrm>
                <a:off x="2092483" y="2047514"/>
                <a:ext cx="12438" cy="4145"/>
              </a:xfrm>
              <a:custGeom>
                <a:avLst/>
                <a:gdLst>
                  <a:gd name="connsiteX0" fmla="*/ 6213 w 12438"/>
                  <a:gd name="connsiteY0" fmla="*/ 0 h 4145"/>
                  <a:gd name="connsiteX1" fmla="*/ 0 w 12438"/>
                  <a:gd name="connsiteY1" fmla="*/ 4146 h 4145"/>
                  <a:gd name="connsiteX2" fmla="*/ 12438 w 12438"/>
                  <a:gd name="connsiteY2" fmla="*/ 4146 h 4145"/>
                  <a:gd name="connsiteX3" fmla="*/ 6225 w 12438"/>
                  <a:gd name="connsiteY3" fmla="*/ 0 h 41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2438" h="4145">
                    <a:moveTo>
                      <a:pt x="6213" y="0"/>
                    </a:moveTo>
                    <a:cubicBezTo>
                      <a:pt x="2792" y="0"/>
                      <a:pt x="0" y="1853"/>
                      <a:pt x="0" y="4146"/>
                    </a:cubicBezTo>
                    <a:lnTo>
                      <a:pt x="12438" y="4146"/>
                    </a:lnTo>
                    <a:cubicBezTo>
                      <a:pt x="12438" y="1853"/>
                      <a:pt x="9658" y="0"/>
                      <a:pt x="6225" y="0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42" name="Gráfico 2">
              <a:extLst>
                <a:ext uri="{FF2B5EF4-FFF2-40B4-BE49-F238E27FC236}">
                  <a16:creationId xmlns:a16="http://schemas.microsoft.com/office/drawing/2014/main" id="{1DE4D4F1-EF05-548B-54B4-FDAA0651458F}"/>
                </a:ext>
              </a:extLst>
            </p:cNvPr>
            <p:cNvGrpSpPr/>
            <p:nvPr/>
          </p:nvGrpSpPr>
          <p:grpSpPr>
            <a:xfrm>
              <a:off x="2037908" y="2153041"/>
              <a:ext cx="121564" cy="73606"/>
              <a:chOff x="2037908" y="2153041"/>
              <a:chExt cx="121564" cy="73606"/>
            </a:xfrm>
            <a:noFill/>
          </p:grpSpPr>
          <p:sp>
            <p:nvSpPr>
              <p:cNvPr id="143" name="Forma livre: Forma 142">
                <a:extLst>
                  <a:ext uri="{FF2B5EF4-FFF2-40B4-BE49-F238E27FC236}">
                    <a16:creationId xmlns:a16="http://schemas.microsoft.com/office/drawing/2014/main" id="{62B81DFA-BA32-FBCE-77E8-47CE62635EA9}"/>
                  </a:ext>
                </a:extLst>
              </p:cNvPr>
              <p:cNvSpPr/>
              <p:nvPr/>
            </p:nvSpPr>
            <p:spPr>
              <a:xfrm>
                <a:off x="2037908" y="2153041"/>
                <a:ext cx="40509" cy="73606"/>
              </a:xfrm>
              <a:custGeom>
                <a:avLst/>
                <a:gdLst>
                  <a:gd name="connsiteX0" fmla="*/ 0 w 40509"/>
                  <a:gd name="connsiteY0" fmla="*/ 0 h 73606"/>
                  <a:gd name="connsiteX1" fmla="*/ 27109 w 40509"/>
                  <a:gd name="connsiteY1" fmla="*/ 67512 h 73606"/>
                  <a:gd name="connsiteX2" fmla="*/ 40510 w 40509"/>
                  <a:gd name="connsiteY2" fmla="*/ 73606 h 736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40509" h="73606">
                    <a:moveTo>
                      <a:pt x="0" y="0"/>
                    </a:moveTo>
                    <a:cubicBezTo>
                      <a:pt x="2792" y="23415"/>
                      <a:pt x="12105" y="56856"/>
                      <a:pt x="27109" y="67512"/>
                    </a:cubicBezTo>
                    <a:cubicBezTo>
                      <a:pt x="27109" y="67512"/>
                      <a:pt x="31647" y="71480"/>
                      <a:pt x="40510" y="73606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44" name="Forma livre: Forma 143">
                <a:extLst>
                  <a:ext uri="{FF2B5EF4-FFF2-40B4-BE49-F238E27FC236}">
                    <a16:creationId xmlns:a16="http://schemas.microsoft.com/office/drawing/2014/main" id="{0D2955FF-4BBA-08F5-DE89-85A2736FA44B}"/>
                  </a:ext>
                </a:extLst>
              </p:cNvPr>
              <p:cNvSpPr/>
              <p:nvPr/>
            </p:nvSpPr>
            <p:spPr>
              <a:xfrm>
                <a:off x="2118963" y="2153041"/>
                <a:ext cx="40509" cy="73606"/>
              </a:xfrm>
              <a:custGeom>
                <a:avLst/>
                <a:gdLst>
                  <a:gd name="connsiteX0" fmla="*/ 0 w 40509"/>
                  <a:gd name="connsiteY0" fmla="*/ 73606 h 73606"/>
                  <a:gd name="connsiteX1" fmla="*/ 13388 w 40509"/>
                  <a:gd name="connsiteY1" fmla="*/ 67512 h 73606"/>
                  <a:gd name="connsiteX2" fmla="*/ 40510 w 40509"/>
                  <a:gd name="connsiteY2" fmla="*/ 0 h 736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40509" h="73606">
                    <a:moveTo>
                      <a:pt x="0" y="73606"/>
                    </a:moveTo>
                    <a:cubicBezTo>
                      <a:pt x="8862" y="71468"/>
                      <a:pt x="13388" y="67512"/>
                      <a:pt x="13388" y="67512"/>
                    </a:cubicBezTo>
                    <a:cubicBezTo>
                      <a:pt x="28392" y="56844"/>
                      <a:pt x="37706" y="23415"/>
                      <a:pt x="40510" y="0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45" name="Gráfico 2">
              <a:extLst>
                <a:ext uri="{FF2B5EF4-FFF2-40B4-BE49-F238E27FC236}">
                  <a16:creationId xmlns:a16="http://schemas.microsoft.com/office/drawing/2014/main" id="{CC258753-AA33-2BD0-F9A4-2FC8E3BA5128}"/>
                </a:ext>
              </a:extLst>
            </p:cNvPr>
            <p:cNvGrpSpPr/>
            <p:nvPr/>
          </p:nvGrpSpPr>
          <p:grpSpPr>
            <a:xfrm>
              <a:off x="1951246" y="2222597"/>
              <a:ext cx="294889" cy="127445"/>
              <a:chOff x="1951246" y="2222597"/>
              <a:chExt cx="294889" cy="127445"/>
            </a:xfrm>
            <a:noFill/>
          </p:grpSpPr>
          <p:sp>
            <p:nvSpPr>
              <p:cNvPr id="146" name="Forma livre: Forma 145">
                <a:extLst>
                  <a:ext uri="{FF2B5EF4-FFF2-40B4-BE49-F238E27FC236}">
                    <a16:creationId xmlns:a16="http://schemas.microsoft.com/office/drawing/2014/main" id="{9E8FB91C-793E-1B79-685A-C7E75BC9A5A4}"/>
                  </a:ext>
                </a:extLst>
              </p:cNvPr>
              <p:cNvSpPr/>
              <p:nvPr/>
            </p:nvSpPr>
            <p:spPr>
              <a:xfrm>
                <a:off x="1951246" y="2222597"/>
                <a:ext cx="110897" cy="127445"/>
              </a:xfrm>
              <a:custGeom>
                <a:avLst/>
                <a:gdLst>
                  <a:gd name="connsiteX0" fmla="*/ 110897 w 110897"/>
                  <a:gd name="connsiteY0" fmla="*/ 0 h 127445"/>
                  <a:gd name="connsiteX1" fmla="*/ 109578 w 110897"/>
                  <a:gd name="connsiteY1" fmla="*/ 29866 h 127445"/>
                  <a:gd name="connsiteX2" fmla="*/ 52805 w 110897"/>
                  <a:gd name="connsiteY2" fmla="*/ 46022 h 127445"/>
                  <a:gd name="connsiteX3" fmla="*/ 0 w 110897"/>
                  <a:gd name="connsiteY3" fmla="*/ 100158 h 127445"/>
                  <a:gd name="connsiteX4" fmla="*/ 0 w 110897"/>
                  <a:gd name="connsiteY4" fmla="*/ 127445 h 1274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10897" h="127445">
                    <a:moveTo>
                      <a:pt x="110897" y="0"/>
                    </a:moveTo>
                    <a:cubicBezTo>
                      <a:pt x="110921" y="8185"/>
                      <a:pt x="109578" y="29866"/>
                      <a:pt x="109578" y="29866"/>
                    </a:cubicBezTo>
                    <a:cubicBezTo>
                      <a:pt x="109578" y="29866"/>
                      <a:pt x="90939" y="43385"/>
                      <a:pt x="52805" y="46022"/>
                    </a:cubicBezTo>
                    <a:cubicBezTo>
                      <a:pt x="19055" y="49253"/>
                      <a:pt x="0" y="71112"/>
                      <a:pt x="0" y="100158"/>
                    </a:cubicBezTo>
                    <a:lnTo>
                      <a:pt x="0" y="127445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47" name="Forma livre: Forma 146">
                <a:extLst>
                  <a:ext uri="{FF2B5EF4-FFF2-40B4-BE49-F238E27FC236}">
                    <a16:creationId xmlns:a16="http://schemas.microsoft.com/office/drawing/2014/main" id="{1AACBBFB-D839-DDB4-DCD0-E0387EAECA56}"/>
                  </a:ext>
                </a:extLst>
              </p:cNvPr>
              <p:cNvSpPr/>
              <p:nvPr/>
            </p:nvSpPr>
            <p:spPr>
              <a:xfrm>
                <a:off x="2135238" y="2222597"/>
                <a:ext cx="110897" cy="126126"/>
              </a:xfrm>
              <a:custGeom>
                <a:avLst/>
                <a:gdLst>
                  <a:gd name="connsiteX0" fmla="*/ 0 w 110897"/>
                  <a:gd name="connsiteY0" fmla="*/ 0 h 126126"/>
                  <a:gd name="connsiteX1" fmla="*/ 1319 w 110897"/>
                  <a:gd name="connsiteY1" fmla="*/ 29866 h 126126"/>
                  <a:gd name="connsiteX2" fmla="*/ 58092 w 110897"/>
                  <a:gd name="connsiteY2" fmla="*/ 44703 h 126126"/>
                  <a:gd name="connsiteX3" fmla="*/ 110897 w 110897"/>
                  <a:gd name="connsiteY3" fmla="*/ 98839 h 126126"/>
                  <a:gd name="connsiteX4" fmla="*/ 110897 w 110897"/>
                  <a:gd name="connsiteY4" fmla="*/ 126127 h 1261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10897" h="126126">
                    <a:moveTo>
                      <a:pt x="0" y="0"/>
                    </a:moveTo>
                    <a:cubicBezTo>
                      <a:pt x="-23" y="8185"/>
                      <a:pt x="1319" y="29866"/>
                      <a:pt x="1319" y="29866"/>
                    </a:cubicBezTo>
                    <a:cubicBezTo>
                      <a:pt x="1319" y="29866"/>
                      <a:pt x="19958" y="42066"/>
                      <a:pt x="58092" y="44703"/>
                    </a:cubicBezTo>
                    <a:cubicBezTo>
                      <a:pt x="91842" y="47923"/>
                      <a:pt x="110897" y="69793"/>
                      <a:pt x="110897" y="98839"/>
                    </a:cubicBezTo>
                    <a:lnTo>
                      <a:pt x="110897" y="126127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48" name="Gráfico 2">
              <a:extLst>
                <a:ext uri="{FF2B5EF4-FFF2-40B4-BE49-F238E27FC236}">
                  <a16:creationId xmlns:a16="http://schemas.microsoft.com/office/drawing/2014/main" id="{1F4E93D7-55E2-2D66-0453-2EBD9582266C}"/>
                </a:ext>
              </a:extLst>
            </p:cNvPr>
            <p:cNvGrpSpPr/>
            <p:nvPr/>
          </p:nvGrpSpPr>
          <p:grpSpPr>
            <a:xfrm>
              <a:off x="1976561" y="2323836"/>
              <a:ext cx="244270" cy="71598"/>
              <a:chOff x="1976561" y="2323836"/>
              <a:chExt cx="244270" cy="71598"/>
            </a:xfrm>
            <a:noFill/>
          </p:grpSpPr>
          <p:sp>
            <p:nvSpPr>
              <p:cNvPr id="149" name="Forma livre: Forma 148">
                <a:extLst>
                  <a:ext uri="{FF2B5EF4-FFF2-40B4-BE49-F238E27FC236}">
                    <a16:creationId xmlns:a16="http://schemas.microsoft.com/office/drawing/2014/main" id="{DDFD7748-B8BB-10B0-B3DA-8E8FCF549D5B}"/>
                  </a:ext>
                </a:extLst>
              </p:cNvPr>
              <p:cNvSpPr/>
              <p:nvPr/>
            </p:nvSpPr>
            <p:spPr>
              <a:xfrm>
                <a:off x="1976561" y="2355412"/>
                <a:ext cx="244269" cy="40022"/>
              </a:xfrm>
              <a:custGeom>
                <a:avLst/>
                <a:gdLst>
                  <a:gd name="connsiteX0" fmla="*/ 0 w 244269"/>
                  <a:gd name="connsiteY0" fmla="*/ 0 h 40022"/>
                  <a:gd name="connsiteX1" fmla="*/ 244270 w 244269"/>
                  <a:gd name="connsiteY1" fmla="*/ 0 h 40022"/>
                  <a:gd name="connsiteX2" fmla="*/ 244270 w 244269"/>
                  <a:gd name="connsiteY2" fmla="*/ 40023 h 40022"/>
                  <a:gd name="connsiteX3" fmla="*/ 0 w 244269"/>
                  <a:gd name="connsiteY3" fmla="*/ 40023 h 400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44269" h="40022">
                    <a:moveTo>
                      <a:pt x="0" y="0"/>
                    </a:moveTo>
                    <a:lnTo>
                      <a:pt x="244270" y="0"/>
                    </a:lnTo>
                    <a:lnTo>
                      <a:pt x="244270" y="40023"/>
                    </a:lnTo>
                    <a:lnTo>
                      <a:pt x="0" y="40023"/>
                    </a:lnTo>
                    <a:close/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50" name="Forma livre: Forma 149">
                <a:extLst>
                  <a:ext uri="{FF2B5EF4-FFF2-40B4-BE49-F238E27FC236}">
                    <a16:creationId xmlns:a16="http://schemas.microsoft.com/office/drawing/2014/main" id="{0196CAC0-14BB-702F-CF5F-27DB770CEF6C}"/>
                  </a:ext>
                </a:extLst>
              </p:cNvPr>
              <p:cNvSpPr/>
              <p:nvPr/>
            </p:nvSpPr>
            <p:spPr>
              <a:xfrm>
                <a:off x="1976561" y="2323836"/>
                <a:ext cx="244269" cy="31576"/>
              </a:xfrm>
              <a:custGeom>
                <a:avLst/>
                <a:gdLst>
                  <a:gd name="connsiteX0" fmla="*/ 0 w 244269"/>
                  <a:gd name="connsiteY0" fmla="*/ 31576 h 31576"/>
                  <a:gd name="connsiteX1" fmla="*/ 54967 w 244269"/>
                  <a:gd name="connsiteY1" fmla="*/ 0 h 31576"/>
                  <a:gd name="connsiteX2" fmla="*/ 189303 w 244269"/>
                  <a:gd name="connsiteY2" fmla="*/ 0 h 31576"/>
                  <a:gd name="connsiteX3" fmla="*/ 244270 w 244269"/>
                  <a:gd name="connsiteY3" fmla="*/ 31576 h 315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44269" h="31576">
                    <a:moveTo>
                      <a:pt x="0" y="31576"/>
                    </a:moveTo>
                    <a:lnTo>
                      <a:pt x="54967" y="0"/>
                    </a:lnTo>
                    <a:lnTo>
                      <a:pt x="189303" y="0"/>
                    </a:lnTo>
                    <a:lnTo>
                      <a:pt x="244270" y="31576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51" name="Forma livre: Forma 150">
              <a:extLst>
                <a:ext uri="{FF2B5EF4-FFF2-40B4-BE49-F238E27FC236}">
                  <a16:creationId xmlns:a16="http://schemas.microsoft.com/office/drawing/2014/main" id="{F4607D14-E6FC-DBFA-98AD-97BB09100D44}"/>
                </a:ext>
              </a:extLst>
            </p:cNvPr>
            <p:cNvSpPr/>
            <p:nvPr/>
          </p:nvSpPr>
          <p:spPr>
            <a:xfrm>
              <a:off x="2059410" y="2255195"/>
              <a:ext cx="78572" cy="15811"/>
            </a:xfrm>
            <a:custGeom>
              <a:avLst/>
              <a:gdLst>
                <a:gd name="connsiteX0" fmla="*/ 78572 w 78572"/>
                <a:gd name="connsiteY0" fmla="*/ 962 h 15811"/>
                <a:gd name="connsiteX1" fmla="*/ 39821 w 78572"/>
                <a:gd name="connsiteY1" fmla="*/ 15812 h 15811"/>
                <a:gd name="connsiteX2" fmla="*/ 0 w 78572"/>
                <a:gd name="connsiteY2" fmla="*/ 0 h 158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78572" h="15811">
                  <a:moveTo>
                    <a:pt x="78572" y="962"/>
                  </a:moveTo>
                  <a:cubicBezTo>
                    <a:pt x="68308" y="10193"/>
                    <a:pt x="54718" y="15812"/>
                    <a:pt x="39821" y="15812"/>
                  </a:cubicBezTo>
                  <a:cubicBezTo>
                    <a:pt x="24924" y="15812"/>
                    <a:pt x="10395" y="9801"/>
                    <a:pt x="0" y="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52" name="Gráfico 2">
            <a:extLst>
              <a:ext uri="{FF2B5EF4-FFF2-40B4-BE49-F238E27FC236}">
                <a16:creationId xmlns:a16="http://schemas.microsoft.com/office/drawing/2014/main" id="{B989B16E-5048-6689-6593-1D448DC39CB5}"/>
              </a:ext>
            </a:extLst>
          </p:cNvPr>
          <p:cNvGrpSpPr/>
          <p:nvPr/>
        </p:nvGrpSpPr>
        <p:grpSpPr>
          <a:xfrm>
            <a:off x="639372" y="2117212"/>
            <a:ext cx="438871" cy="208524"/>
            <a:chOff x="639372" y="2117212"/>
            <a:chExt cx="438871" cy="208524"/>
          </a:xfrm>
          <a:noFill/>
        </p:grpSpPr>
        <p:grpSp>
          <p:nvGrpSpPr>
            <p:cNvPr id="153" name="Gráfico 2">
              <a:extLst>
                <a:ext uri="{FF2B5EF4-FFF2-40B4-BE49-F238E27FC236}">
                  <a16:creationId xmlns:a16="http://schemas.microsoft.com/office/drawing/2014/main" id="{674A2E78-3612-7CE4-E25D-98FCFDB722B2}"/>
                </a:ext>
              </a:extLst>
            </p:cNvPr>
            <p:cNvGrpSpPr/>
            <p:nvPr/>
          </p:nvGrpSpPr>
          <p:grpSpPr>
            <a:xfrm>
              <a:off x="639372" y="2117212"/>
              <a:ext cx="438871" cy="208524"/>
              <a:chOff x="639372" y="2117212"/>
              <a:chExt cx="438871" cy="208524"/>
            </a:xfrm>
            <a:noFill/>
          </p:grpSpPr>
          <p:sp>
            <p:nvSpPr>
              <p:cNvPr id="154" name="Forma livre: Forma 153">
                <a:extLst>
                  <a:ext uri="{FF2B5EF4-FFF2-40B4-BE49-F238E27FC236}">
                    <a16:creationId xmlns:a16="http://schemas.microsoft.com/office/drawing/2014/main" id="{EE97FEBF-F735-166C-B143-90F6A33EC195}"/>
                  </a:ext>
                </a:extLst>
              </p:cNvPr>
              <p:cNvSpPr/>
              <p:nvPr/>
            </p:nvSpPr>
            <p:spPr>
              <a:xfrm>
                <a:off x="663250" y="2149026"/>
                <a:ext cx="70398" cy="1187"/>
              </a:xfrm>
              <a:custGeom>
                <a:avLst/>
                <a:gdLst>
                  <a:gd name="connsiteX0" fmla="*/ 70399 w 70398"/>
                  <a:gd name="connsiteY0" fmla="*/ 0 h 1187"/>
                  <a:gd name="connsiteX1" fmla="*/ 0 w 70398"/>
                  <a:gd name="connsiteY1" fmla="*/ 0 h 11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70398" h="1187">
                    <a:moveTo>
                      <a:pt x="70399" y="0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55" name="Forma livre: Forma 154">
                <a:extLst>
                  <a:ext uri="{FF2B5EF4-FFF2-40B4-BE49-F238E27FC236}">
                    <a16:creationId xmlns:a16="http://schemas.microsoft.com/office/drawing/2014/main" id="{78E42DED-B55C-6240-DFA5-9ED459CD8D2B}"/>
                  </a:ext>
                </a:extLst>
              </p:cNvPr>
              <p:cNvSpPr/>
              <p:nvPr/>
            </p:nvSpPr>
            <p:spPr>
              <a:xfrm>
                <a:off x="685157" y="2244230"/>
                <a:ext cx="62510" cy="1187"/>
              </a:xfrm>
              <a:custGeom>
                <a:avLst/>
                <a:gdLst>
                  <a:gd name="connsiteX0" fmla="*/ 62511 w 62510"/>
                  <a:gd name="connsiteY0" fmla="*/ 0 h 1187"/>
                  <a:gd name="connsiteX1" fmla="*/ 0 w 62510"/>
                  <a:gd name="connsiteY1" fmla="*/ 0 h 11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2510" h="1187">
                    <a:moveTo>
                      <a:pt x="62511" y="0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56" name="Forma livre: Forma 155">
                <a:extLst>
                  <a:ext uri="{FF2B5EF4-FFF2-40B4-BE49-F238E27FC236}">
                    <a16:creationId xmlns:a16="http://schemas.microsoft.com/office/drawing/2014/main" id="{CA11F4A3-8213-CCFB-454B-13D84336D06D}"/>
                  </a:ext>
                </a:extLst>
              </p:cNvPr>
              <p:cNvSpPr/>
              <p:nvPr/>
            </p:nvSpPr>
            <p:spPr>
              <a:xfrm>
                <a:off x="639372" y="2214388"/>
                <a:ext cx="76671" cy="1187"/>
              </a:xfrm>
              <a:custGeom>
                <a:avLst/>
                <a:gdLst>
                  <a:gd name="connsiteX0" fmla="*/ 76671 w 76671"/>
                  <a:gd name="connsiteY0" fmla="*/ 0 h 1187"/>
                  <a:gd name="connsiteX1" fmla="*/ 0 w 76671"/>
                  <a:gd name="connsiteY1" fmla="*/ 0 h 11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76671" h="1187">
                    <a:moveTo>
                      <a:pt x="76671" y="0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57" name="Forma livre: Forma 156">
                <a:extLst>
                  <a:ext uri="{FF2B5EF4-FFF2-40B4-BE49-F238E27FC236}">
                    <a16:creationId xmlns:a16="http://schemas.microsoft.com/office/drawing/2014/main" id="{0AEB97A0-FB30-824C-74B4-F748B48205CC}"/>
                  </a:ext>
                </a:extLst>
              </p:cNvPr>
              <p:cNvSpPr/>
              <p:nvPr/>
            </p:nvSpPr>
            <p:spPr>
              <a:xfrm>
                <a:off x="691750" y="2181707"/>
                <a:ext cx="54955" cy="1187"/>
              </a:xfrm>
              <a:custGeom>
                <a:avLst/>
                <a:gdLst>
                  <a:gd name="connsiteX0" fmla="*/ 54955 w 54955"/>
                  <a:gd name="connsiteY0" fmla="*/ 0 h 1187"/>
                  <a:gd name="connsiteX1" fmla="*/ 0 w 54955"/>
                  <a:gd name="connsiteY1" fmla="*/ 0 h 11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4955" h="1187">
                    <a:moveTo>
                      <a:pt x="54955" y="0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158" name="Gráfico 2">
                <a:extLst>
                  <a:ext uri="{FF2B5EF4-FFF2-40B4-BE49-F238E27FC236}">
                    <a16:creationId xmlns:a16="http://schemas.microsoft.com/office/drawing/2014/main" id="{6A76F2A8-00F8-5138-6A0A-2F0C4761E070}"/>
                  </a:ext>
                </a:extLst>
              </p:cNvPr>
              <p:cNvGrpSpPr/>
              <p:nvPr/>
            </p:nvGrpSpPr>
            <p:grpSpPr>
              <a:xfrm>
                <a:off x="715034" y="2117212"/>
                <a:ext cx="363209" cy="208524"/>
                <a:chOff x="715034" y="2117212"/>
                <a:chExt cx="363209" cy="208524"/>
              </a:xfrm>
              <a:noFill/>
            </p:grpSpPr>
            <p:grpSp>
              <p:nvGrpSpPr>
                <p:cNvPr id="159" name="Gráfico 2">
                  <a:extLst>
                    <a:ext uri="{FF2B5EF4-FFF2-40B4-BE49-F238E27FC236}">
                      <a16:creationId xmlns:a16="http://schemas.microsoft.com/office/drawing/2014/main" id="{32D13CB1-BD8B-73C8-3975-F4A7671C4E90}"/>
                    </a:ext>
                  </a:extLst>
                </p:cNvPr>
                <p:cNvGrpSpPr/>
                <p:nvPr/>
              </p:nvGrpSpPr>
              <p:grpSpPr>
                <a:xfrm>
                  <a:off x="753631" y="2270199"/>
                  <a:ext cx="324612" cy="55537"/>
                  <a:chOff x="753631" y="2270199"/>
                  <a:chExt cx="324612" cy="55537"/>
                </a:xfrm>
                <a:noFill/>
              </p:grpSpPr>
              <p:sp>
                <p:nvSpPr>
                  <p:cNvPr id="160" name="Forma livre: Forma 159">
                    <a:extLst>
                      <a:ext uri="{FF2B5EF4-FFF2-40B4-BE49-F238E27FC236}">
                        <a16:creationId xmlns:a16="http://schemas.microsoft.com/office/drawing/2014/main" id="{8778204E-844A-AAFA-0429-4317E01ABEF8}"/>
                      </a:ext>
                    </a:extLst>
                  </p:cNvPr>
                  <p:cNvSpPr/>
                  <p:nvPr/>
                </p:nvSpPr>
                <p:spPr>
                  <a:xfrm>
                    <a:off x="828628" y="2294707"/>
                    <a:ext cx="131852" cy="1187"/>
                  </a:xfrm>
                  <a:custGeom>
                    <a:avLst/>
                    <a:gdLst>
                      <a:gd name="connsiteX0" fmla="*/ 0 w 131852"/>
                      <a:gd name="connsiteY0" fmla="*/ 0 h 1187"/>
                      <a:gd name="connsiteX1" fmla="*/ 131853 w 131852"/>
                      <a:gd name="connsiteY1" fmla="*/ 0 h 11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31852" h="1187">
                        <a:moveTo>
                          <a:pt x="0" y="0"/>
                        </a:moveTo>
                        <a:lnTo>
                          <a:pt x="131853" y="0"/>
                        </a:lnTo>
                      </a:path>
                    </a:pathLst>
                  </a:custGeom>
                  <a:ln w="6350" cap="flat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161" name="Forma livre: Forma 160">
                    <a:extLst>
                      <a:ext uri="{FF2B5EF4-FFF2-40B4-BE49-F238E27FC236}">
                        <a16:creationId xmlns:a16="http://schemas.microsoft.com/office/drawing/2014/main" id="{74A610BD-786F-7471-DEFC-4CCAC9D13174}"/>
                      </a:ext>
                    </a:extLst>
                  </p:cNvPr>
                  <p:cNvSpPr/>
                  <p:nvPr/>
                </p:nvSpPr>
                <p:spPr>
                  <a:xfrm>
                    <a:off x="1039266" y="2270199"/>
                    <a:ext cx="38977" cy="24507"/>
                  </a:xfrm>
                  <a:custGeom>
                    <a:avLst/>
                    <a:gdLst>
                      <a:gd name="connsiteX0" fmla="*/ 0 w 38977"/>
                      <a:gd name="connsiteY0" fmla="*/ 24508 h 24507"/>
                      <a:gd name="connsiteX1" fmla="*/ 38977 w 38977"/>
                      <a:gd name="connsiteY1" fmla="*/ 24508 h 24507"/>
                      <a:gd name="connsiteX2" fmla="*/ 38977 w 38977"/>
                      <a:gd name="connsiteY2" fmla="*/ 0 h 24507"/>
                      <a:gd name="connsiteX3" fmla="*/ 13127 w 38977"/>
                      <a:gd name="connsiteY3" fmla="*/ 0 h 2450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38977" h="24507">
                        <a:moveTo>
                          <a:pt x="0" y="24508"/>
                        </a:moveTo>
                        <a:lnTo>
                          <a:pt x="38977" y="24508"/>
                        </a:lnTo>
                        <a:lnTo>
                          <a:pt x="38977" y="0"/>
                        </a:lnTo>
                        <a:lnTo>
                          <a:pt x="13127" y="0"/>
                        </a:lnTo>
                      </a:path>
                    </a:pathLst>
                  </a:custGeom>
                  <a:noFill/>
                  <a:ln w="6350" cap="flat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162" name="Forma livre: Forma 161">
                    <a:extLst>
                      <a:ext uri="{FF2B5EF4-FFF2-40B4-BE49-F238E27FC236}">
                        <a16:creationId xmlns:a16="http://schemas.microsoft.com/office/drawing/2014/main" id="{8B5B2D86-5776-76F5-5976-C053DF67300B}"/>
                      </a:ext>
                    </a:extLst>
                  </p:cNvPr>
                  <p:cNvSpPr/>
                  <p:nvPr/>
                </p:nvSpPr>
                <p:spPr>
                  <a:xfrm>
                    <a:off x="982624" y="2271589"/>
                    <a:ext cx="54147" cy="54147"/>
                  </a:xfrm>
                  <a:custGeom>
                    <a:avLst/>
                    <a:gdLst>
                      <a:gd name="connsiteX0" fmla="*/ 54148 w 54147"/>
                      <a:gd name="connsiteY0" fmla="*/ 27074 h 54147"/>
                      <a:gd name="connsiteX1" fmla="*/ 27074 w 54147"/>
                      <a:gd name="connsiteY1" fmla="*/ 54148 h 54147"/>
                      <a:gd name="connsiteX2" fmla="*/ 0 w 54147"/>
                      <a:gd name="connsiteY2" fmla="*/ 27074 h 54147"/>
                      <a:gd name="connsiteX3" fmla="*/ 27074 w 54147"/>
                      <a:gd name="connsiteY3" fmla="*/ 0 h 54147"/>
                      <a:gd name="connsiteX4" fmla="*/ 54148 w 54147"/>
                      <a:gd name="connsiteY4" fmla="*/ 27074 h 5414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54147" h="54147">
                        <a:moveTo>
                          <a:pt x="54148" y="27074"/>
                        </a:moveTo>
                        <a:cubicBezTo>
                          <a:pt x="54148" y="42030"/>
                          <a:pt x="42030" y="54148"/>
                          <a:pt x="27074" y="54148"/>
                        </a:cubicBezTo>
                        <a:cubicBezTo>
                          <a:pt x="12117" y="54148"/>
                          <a:pt x="0" y="42030"/>
                          <a:pt x="0" y="27074"/>
                        </a:cubicBezTo>
                        <a:cubicBezTo>
                          <a:pt x="0" y="12117"/>
                          <a:pt x="12117" y="0"/>
                          <a:pt x="27074" y="0"/>
                        </a:cubicBezTo>
                        <a:cubicBezTo>
                          <a:pt x="42030" y="0"/>
                          <a:pt x="54148" y="12117"/>
                          <a:pt x="54148" y="27074"/>
                        </a:cubicBezTo>
                        <a:close/>
                      </a:path>
                    </a:pathLst>
                  </a:custGeom>
                  <a:noFill/>
                  <a:ln w="6350" cap="flat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163" name="Forma livre: Forma 162">
                    <a:extLst>
                      <a:ext uri="{FF2B5EF4-FFF2-40B4-BE49-F238E27FC236}">
                        <a16:creationId xmlns:a16="http://schemas.microsoft.com/office/drawing/2014/main" id="{C48899BD-3BC3-8414-17DA-C593960DD649}"/>
                      </a:ext>
                    </a:extLst>
                  </p:cNvPr>
                  <p:cNvSpPr/>
                  <p:nvPr/>
                </p:nvSpPr>
                <p:spPr>
                  <a:xfrm>
                    <a:off x="753631" y="2271589"/>
                    <a:ext cx="54147" cy="54147"/>
                  </a:xfrm>
                  <a:custGeom>
                    <a:avLst/>
                    <a:gdLst>
                      <a:gd name="connsiteX0" fmla="*/ 54148 w 54147"/>
                      <a:gd name="connsiteY0" fmla="*/ 27074 h 54147"/>
                      <a:gd name="connsiteX1" fmla="*/ 27074 w 54147"/>
                      <a:gd name="connsiteY1" fmla="*/ 54148 h 54147"/>
                      <a:gd name="connsiteX2" fmla="*/ 0 w 54147"/>
                      <a:gd name="connsiteY2" fmla="*/ 27074 h 54147"/>
                      <a:gd name="connsiteX3" fmla="*/ 27074 w 54147"/>
                      <a:gd name="connsiteY3" fmla="*/ 0 h 54147"/>
                      <a:gd name="connsiteX4" fmla="*/ 54148 w 54147"/>
                      <a:gd name="connsiteY4" fmla="*/ 27074 h 5414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54147" h="54147">
                        <a:moveTo>
                          <a:pt x="54148" y="27074"/>
                        </a:moveTo>
                        <a:cubicBezTo>
                          <a:pt x="54148" y="42030"/>
                          <a:pt x="42030" y="54148"/>
                          <a:pt x="27074" y="54148"/>
                        </a:cubicBezTo>
                        <a:cubicBezTo>
                          <a:pt x="12117" y="54148"/>
                          <a:pt x="0" y="42030"/>
                          <a:pt x="0" y="27074"/>
                        </a:cubicBezTo>
                        <a:cubicBezTo>
                          <a:pt x="0" y="12117"/>
                          <a:pt x="12117" y="0"/>
                          <a:pt x="27074" y="0"/>
                        </a:cubicBezTo>
                        <a:cubicBezTo>
                          <a:pt x="42030" y="0"/>
                          <a:pt x="54148" y="12117"/>
                          <a:pt x="54148" y="27074"/>
                        </a:cubicBezTo>
                        <a:close/>
                      </a:path>
                    </a:pathLst>
                  </a:custGeom>
                  <a:noFill/>
                  <a:ln w="6350" cap="flat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  <p:sp>
              <p:nvSpPr>
                <p:cNvPr id="164" name="Forma livre: Forma 163">
                  <a:extLst>
                    <a:ext uri="{FF2B5EF4-FFF2-40B4-BE49-F238E27FC236}">
                      <a16:creationId xmlns:a16="http://schemas.microsoft.com/office/drawing/2014/main" id="{FAE89FA7-6B53-7F79-D7CF-32F793E53972}"/>
                    </a:ext>
                  </a:extLst>
                </p:cNvPr>
                <p:cNvSpPr/>
                <p:nvPr/>
              </p:nvSpPr>
              <p:spPr>
                <a:xfrm>
                  <a:off x="939453" y="2156879"/>
                  <a:ext cx="132434" cy="108473"/>
                </a:xfrm>
                <a:custGeom>
                  <a:avLst/>
                  <a:gdLst>
                    <a:gd name="connsiteX0" fmla="*/ 132435 w 132434"/>
                    <a:gd name="connsiteY0" fmla="*/ 108473 h 108473"/>
                    <a:gd name="connsiteX1" fmla="*/ 132435 w 132434"/>
                    <a:gd name="connsiteY1" fmla="*/ 81388 h 108473"/>
                    <a:gd name="connsiteX2" fmla="*/ 74640 w 132434"/>
                    <a:gd name="connsiteY2" fmla="*/ 57034 h 108473"/>
                    <a:gd name="connsiteX3" fmla="*/ 33560 w 132434"/>
                    <a:gd name="connsiteY3" fmla="*/ 0 h 108473"/>
                    <a:gd name="connsiteX4" fmla="*/ 0 w 132434"/>
                    <a:gd name="connsiteY4" fmla="*/ 0 h 10847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32434" h="108473">
                      <a:moveTo>
                        <a:pt x="132435" y="108473"/>
                      </a:moveTo>
                      <a:lnTo>
                        <a:pt x="132435" y="81388"/>
                      </a:lnTo>
                      <a:lnTo>
                        <a:pt x="74640" y="57034"/>
                      </a:lnTo>
                      <a:lnTo>
                        <a:pt x="33560" y="0"/>
                      </a:lnTo>
                      <a:lnTo>
                        <a:pt x="0" y="0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65" name="Forma livre: Forma 164">
                  <a:extLst>
                    <a:ext uri="{FF2B5EF4-FFF2-40B4-BE49-F238E27FC236}">
                      <a16:creationId xmlns:a16="http://schemas.microsoft.com/office/drawing/2014/main" id="{9EFDBB7C-E616-BCA9-43EB-58A22A4DBC75}"/>
                    </a:ext>
                  </a:extLst>
                </p:cNvPr>
                <p:cNvSpPr/>
                <p:nvPr/>
              </p:nvSpPr>
              <p:spPr>
                <a:xfrm>
                  <a:off x="961430" y="2213913"/>
                  <a:ext cx="52662" cy="1187"/>
                </a:xfrm>
                <a:custGeom>
                  <a:avLst/>
                  <a:gdLst>
                    <a:gd name="connsiteX0" fmla="*/ 52663 w 52662"/>
                    <a:gd name="connsiteY0" fmla="*/ 0 h 1187"/>
                    <a:gd name="connsiteX1" fmla="*/ 0 w 52662"/>
                    <a:gd name="connsiteY1" fmla="*/ 0 h 11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52662" h="1187">
                      <a:moveTo>
                        <a:pt x="52663" y="0"/>
                      </a:moveTo>
                      <a:lnTo>
                        <a:pt x="0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66" name="Forma livre: Forma 165">
                  <a:extLst>
                    <a:ext uri="{FF2B5EF4-FFF2-40B4-BE49-F238E27FC236}">
                      <a16:creationId xmlns:a16="http://schemas.microsoft.com/office/drawing/2014/main" id="{736E01C3-9B96-EF85-E719-B1954ED49022}"/>
                    </a:ext>
                  </a:extLst>
                </p:cNvPr>
                <p:cNvSpPr/>
                <p:nvPr/>
              </p:nvSpPr>
              <p:spPr>
                <a:xfrm>
                  <a:off x="716246" y="2117212"/>
                  <a:ext cx="222506" cy="126720"/>
                </a:xfrm>
                <a:custGeom>
                  <a:avLst/>
                  <a:gdLst>
                    <a:gd name="connsiteX0" fmla="*/ 0 w 222506"/>
                    <a:gd name="connsiteY0" fmla="*/ 0 h 126720"/>
                    <a:gd name="connsiteX1" fmla="*/ 212753 w 222506"/>
                    <a:gd name="connsiteY1" fmla="*/ 0 h 126720"/>
                    <a:gd name="connsiteX2" fmla="*/ 222506 w 222506"/>
                    <a:gd name="connsiteY2" fmla="*/ 9753 h 126720"/>
                    <a:gd name="connsiteX3" fmla="*/ 222506 w 222506"/>
                    <a:gd name="connsiteY3" fmla="*/ 126721 h 12672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222506" h="126720">
                      <a:moveTo>
                        <a:pt x="0" y="0"/>
                      </a:moveTo>
                      <a:lnTo>
                        <a:pt x="212753" y="0"/>
                      </a:lnTo>
                      <a:cubicBezTo>
                        <a:pt x="218123" y="0"/>
                        <a:pt x="222506" y="4395"/>
                        <a:pt x="222506" y="9753"/>
                      </a:cubicBezTo>
                      <a:lnTo>
                        <a:pt x="222506" y="126721"/>
                      </a:ln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67" name="Forma livre: Forma 166">
                  <a:extLst>
                    <a:ext uri="{FF2B5EF4-FFF2-40B4-BE49-F238E27FC236}">
                      <a16:creationId xmlns:a16="http://schemas.microsoft.com/office/drawing/2014/main" id="{E22A89C5-71AB-ACF9-C198-16BABC27AAA8}"/>
                    </a:ext>
                  </a:extLst>
                </p:cNvPr>
                <p:cNvSpPr/>
                <p:nvPr/>
              </p:nvSpPr>
              <p:spPr>
                <a:xfrm>
                  <a:off x="715034" y="2245370"/>
                  <a:ext cx="37563" cy="50037"/>
                </a:xfrm>
                <a:custGeom>
                  <a:avLst/>
                  <a:gdLst>
                    <a:gd name="connsiteX0" fmla="*/ 37564 w 37563"/>
                    <a:gd name="connsiteY0" fmla="*/ 50037 h 50037"/>
                    <a:gd name="connsiteX1" fmla="*/ 9753 w 37563"/>
                    <a:gd name="connsiteY1" fmla="*/ 50037 h 50037"/>
                    <a:gd name="connsiteX2" fmla="*/ 0 w 37563"/>
                    <a:gd name="connsiteY2" fmla="*/ 40284 h 50037"/>
                    <a:gd name="connsiteX3" fmla="*/ 0 w 37563"/>
                    <a:gd name="connsiteY3" fmla="*/ 0 h 5003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37563" h="50037">
                      <a:moveTo>
                        <a:pt x="37564" y="50037"/>
                      </a:moveTo>
                      <a:lnTo>
                        <a:pt x="9753" y="50037"/>
                      </a:lnTo>
                      <a:cubicBezTo>
                        <a:pt x="4384" y="50037"/>
                        <a:pt x="0" y="45654"/>
                        <a:pt x="0" y="40284"/>
                      </a:cubicBezTo>
                      <a:lnTo>
                        <a:pt x="0" y="0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grpSp>
          <p:nvGrpSpPr>
            <p:cNvPr id="168" name="Gráfico 2">
              <a:extLst>
                <a:ext uri="{FF2B5EF4-FFF2-40B4-BE49-F238E27FC236}">
                  <a16:creationId xmlns:a16="http://schemas.microsoft.com/office/drawing/2014/main" id="{76847D42-43C5-CF8C-CB69-32B5CF47AB0D}"/>
                </a:ext>
              </a:extLst>
            </p:cNvPr>
            <p:cNvGrpSpPr/>
            <p:nvPr/>
          </p:nvGrpSpPr>
          <p:grpSpPr>
            <a:xfrm>
              <a:off x="770493" y="2142528"/>
              <a:ext cx="135791" cy="107618"/>
              <a:chOff x="770493" y="2142528"/>
              <a:chExt cx="135791" cy="107618"/>
            </a:xfrm>
            <a:noFill/>
          </p:grpSpPr>
          <p:sp>
            <p:nvSpPr>
              <p:cNvPr id="169" name="Forma livre: Forma 168">
                <a:extLst>
                  <a:ext uri="{FF2B5EF4-FFF2-40B4-BE49-F238E27FC236}">
                    <a16:creationId xmlns:a16="http://schemas.microsoft.com/office/drawing/2014/main" id="{321C2BDD-4143-8AA8-545D-7D484A68160D}"/>
                  </a:ext>
                </a:extLst>
              </p:cNvPr>
              <p:cNvSpPr/>
              <p:nvPr/>
            </p:nvSpPr>
            <p:spPr>
              <a:xfrm>
                <a:off x="770493" y="2144565"/>
                <a:ext cx="104548" cy="101636"/>
              </a:xfrm>
              <a:custGeom>
                <a:avLst/>
                <a:gdLst>
                  <a:gd name="connsiteX0" fmla="*/ 104548 w 104548"/>
                  <a:gd name="connsiteY0" fmla="*/ 101637 h 101636"/>
                  <a:gd name="connsiteX1" fmla="*/ 11519 w 104548"/>
                  <a:gd name="connsiteY1" fmla="*/ 5411 h 101636"/>
                  <a:gd name="connsiteX2" fmla="*/ 2169 w 104548"/>
                  <a:gd name="connsiteY2" fmla="*/ 1871 h 101636"/>
                  <a:gd name="connsiteX3" fmla="*/ 2716 w 104548"/>
                  <a:gd name="connsiteY3" fmla="*/ 22316 h 101636"/>
                  <a:gd name="connsiteX4" fmla="*/ 34423 w 104548"/>
                  <a:gd name="connsiteY4" fmla="*/ 65558 h 1016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04548" h="101636">
                    <a:moveTo>
                      <a:pt x="104548" y="101637"/>
                    </a:moveTo>
                    <a:lnTo>
                      <a:pt x="11519" y="5411"/>
                    </a:lnTo>
                    <a:cubicBezTo>
                      <a:pt x="7681" y="1586"/>
                      <a:pt x="4129" y="-2465"/>
                      <a:pt x="2169" y="1871"/>
                    </a:cubicBezTo>
                    <a:cubicBezTo>
                      <a:pt x="2169" y="1871"/>
                      <a:pt x="-3058" y="12611"/>
                      <a:pt x="2716" y="22316"/>
                    </a:cubicBezTo>
                    <a:lnTo>
                      <a:pt x="34423" y="65558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170" name="Gráfico 2">
                <a:extLst>
                  <a:ext uri="{FF2B5EF4-FFF2-40B4-BE49-F238E27FC236}">
                    <a16:creationId xmlns:a16="http://schemas.microsoft.com/office/drawing/2014/main" id="{836B87F5-A307-0B2D-097A-896EDB50E368}"/>
                  </a:ext>
                </a:extLst>
              </p:cNvPr>
              <p:cNvGrpSpPr/>
              <p:nvPr/>
            </p:nvGrpSpPr>
            <p:grpSpPr>
              <a:xfrm>
                <a:off x="798679" y="2142528"/>
                <a:ext cx="107606" cy="107618"/>
                <a:chOff x="798679" y="2142528"/>
                <a:chExt cx="107606" cy="107618"/>
              </a:xfrm>
              <a:noFill/>
            </p:grpSpPr>
            <p:sp>
              <p:nvSpPr>
                <p:cNvPr id="171" name="Forma livre: Forma 170">
                  <a:extLst>
                    <a:ext uri="{FF2B5EF4-FFF2-40B4-BE49-F238E27FC236}">
                      <a16:creationId xmlns:a16="http://schemas.microsoft.com/office/drawing/2014/main" id="{41CA06DC-10A5-67FE-6D80-8827367D74DA}"/>
                    </a:ext>
                  </a:extLst>
                </p:cNvPr>
                <p:cNvSpPr/>
                <p:nvPr/>
              </p:nvSpPr>
              <p:spPr>
                <a:xfrm>
                  <a:off x="798679" y="2224688"/>
                  <a:ext cx="25446" cy="25458"/>
                </a:xfrm>
                <a:custGeom>
                  <a:avLst/>
                  <a:gdLst>
                    <a:gd name="connsiteX0" fmla="*/ 0 w 25446"/>
                    <a:gd name="connsiteY0" fmla="*/ 25458 h 25458"/>
                    <a:gd name="connsiteX1" fmla="*/ 25446 w 25446"/>
                    <a:gd name="connsiteY1" fmla="*/ 0 h 2545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5446" h="25458">
                      <a:moveTo>
                        <a:pt x="0" y="25458"/>
                      </a:moveTo>
                      <a:lnTo>
                        <a:pt x="25446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72" name="Forma livre: Forma 171">
                  <a:extLst>
                    <a:ext uri="{FF2B5EF4-FFF2-40B4-BE49-F238E27FC236}">
                      <a16:creationId xmlns:a16="http://schemas.microsoft.com/office/drawing/2014/main" id="{BCF3D1C0-4864-E5B1-3AF8-D3B859989228}"/>
                    </a:ext>
                  </a:extLst>
                </p:cNvPr>
                <p:cNvSpPr/>
                <p:nvPr/>
              </p:nvSpPr>
              <p:spPr>
                <a:xfrm>
                  <a:off x="848749" y="2142528"/>
                  <a:ext cx="57536" cy="57527"/>
                </a:xfrm>
                <a:custGeom>
                  <a:avLst/>
                  <a:gdLst>
                    <a:gd name="connsiteX0" fmla="*/ 27136 w 57536"/>
                    <a:gd name="connsiteY0" fmla="*/ 0 h 57527"/>
                    <a:gd name="connsiteX1" fmla="*/ 6299 w 57536"/>
                    <a:gd name="connsiteY1" fmla="*/ 20837 h 57527"/>
                    <a:gd name="connsiteX2" fmla="*/ 6299 w 57536"/>
                    <a:gd name="connsiteY2" fmla="*/ 51237 h 57527"/>
                    <a:gd name="connsiteX3" fmla="*/ 36699 w 57536"/>
                    <a:gd name="connsiteY3" fmla="*/ 51237 h 57527"/>
                    <a:gd name="connsiteX4" fmla="*/ 57536 w 57536"/>
                    <a:gd name="connsiteY4" fmla="*/ 30400 h 5752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7536" h="57527">
                      <a:moveTo>
                        <a:pt x="27136" y="0"/>
                      </a:moveTo>
                      <a:lnTo>
                        <a:pt x="6299" y="20837"/>
                      </a:lnTo>
                      <a:cubicBezTo>
                        <a:pt x="-2100" y="29224"/>
                        <a:pt x="-2100" y="42838"/>
                        <a:pt x="6299" y="51237"/>
                      </a:cubicBezTo>
                      <a:cubicBezTo>
                        <a:pt x="14698" y="59624"/>
                        <a:pt x="28312" y="59624"/>
                        <a:pt x="36699" y="51237"/>
                      </a:cubicBezTo>
                      <a:lnTo>
                        <a:pt x="57536" y="30400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73" name="Forma livre: Forma 172">
                  <a:extLst>
                    <a:ext uri="{FF2B5EF4-FFF2-40B4-BE49-F238E27FC236}">
                      <a16:creationId xmlns:a16="http://schemas.microsoft.com/office/drawing/2014/main" id="{66166D1A-6B49-589B-9A46-D770CE507AA8}"/>
                    </a:ext>
                  </a:extLst>
                </p:cNvPr>
                <p:cNvSpPr/>
                <p:nvPr/>
              </p:nvSpPr>
              <p:spPr>
                <a:xfrm>
                  <a:off x="869707" y="2157734"/>
                  <a:ext cx="21371" cy="21371"/>
                </a:xfrm>
                <a:custGeom>
                  <a:avLst/>
                  <a:gdLst>
                    <a:gd name="connsiteX0" fmla="*/ 0 w 21371"/>
                    <a:gd name="connsiteY0" fmla="*/ 21372 h 21371"/>
                    <a:gd name="connsiteX1" fmla="*/ 21372 w 21371"/>
                    <a:gd name="connsiteY1" fmla="*/ 0 h 213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1371" h="21371">
                      <a:moveTo>
                        <a:pt x="0" y="21372"/>
                      </a:moveTo>
                      <a:lnTo>
                        <a:pt x="21372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</p:grpSp>
      <p:grpSp>
        <p:nvGrpSpPr>
          <p:cNvPr id="174" name="Gráfico 2">
            <a:extLst>
              <a:ext uri="{FF2B5EF4-FFF2-40B4-BE49-F238E27FC236}">
                <a16:creationId xmlns:a16="http://schemas.microsoft.com/office/drawing/2014/main" id="{50E830AC-5BA1-F49F-BDB9-96F4312F985F}"/>
              </a:ext>
            </a:extLst>
          </p:cNvPr>
          <p:cNvGrpSpPr/>
          <p:nvPr/>
        </p:nvGrpSpPr>
        <p:grpSpPr>
          <a:xfrm>
            <a:off x="1396963" y="1014339"/>
            <a:ext cx="163523" cy="295697"/>
            <a:chOff x="1396963" y="1014339"/>
            <a:chExt cx="163523" cy="295697"/>
          </a:xfrm>
          <a:noFill/>
        </p:grpSpPr>
        <p:grpSp>
          <p:nvGrpSpPr>
            <p:cNvPr id="175" name="Gráfico 2">
              <a:extLst>
                <a:ext uri="{FF2B5EF4-FFF2-40B4-BE49-F238E27FC236}">
                  <a16:creationId xmlns:a16="http://schemas.microsoft.com/office/drawing/2014/main" id="{300AA26B-8ABC-B2CC-2469-FFED72E69042}"/>
                </a:ext>
              </a:extLst>
            </p:cNvPr>
            <p:cNvGrpSpPr/>
            <p:nvPr/>
          </p:nvGrpSpPr>
          <p:grpSpPr>
            <a:xfrm>
              <a:off x="1396963" y="1014339"/>
              <a:ext cx="163523" cy="295697"/>
              <a:chOff x="1396963" y="1014339"/>
              <a:chExt cx="163523" cy="295697"/>
            </a:xfrm>
            <a:noFill/>
          </p:grpSpPr>
          <p:sp>
            <p:nvSpPr>
              <p:cNvPr id="176" name="Forma livre: Forma 175">
                <a:extLst>
                  <a:ext uri="{FF2B5EF4-FFF2-40B4-BE49-F238E27FC236}">
                    <a16:creationId xmlns:a16="http://schemas.microsoft.com/office/drawing/2014/main" id="{F81607AA-9D2A-105F-FE4A-DECDB92B41F4}"/>
                  </a:ext>
                </a:extLst>
              </p:cNvPr>
              <p:cNvSpPr/>
              <p:nvPr/>
            </p:nvSpPr>
            <p:spPr>
              <a:xfrm>
                <a:off x="1396963" y="1014339"/>
                <a:ext cx="163523" cy="295697"/>
              </a:xfrm>
              <a:custGeom>
                <a:avLst/>
                <a:gdLst>
                  <a:gd name="connsiteX0" fmla="*/ 163524 w 163523"/>
                  <a:gd name="connsiteY0" fmla="*/ 281893 h 295697"/>
                  <a:gd name="connsiteX1" fmla="*/ 150135 w 163523"/>
                  <a:gd name="connsiteY1" fmla="*/ 295697 h 295697"/>
                  <a:gd name="connsiteX2" fmla="*/ 13388 w 163523"/>
                  <a:gd name="connsiteY2" fmla="*/ 295697 h 295697"/>
                  <a:gd name="connsiteX3" fmla="*/ 0 w 163523"/>
                  <a:gd name="connsiteY3" fmla="*/ 281893 h 295697"/>
                  <a:gd name="connsiteX4" fmla="*/ 0 w 163523"/>
                  <a:gd name="connsiteY4" fmla="*/ 13377 h 295697"/>
                  <a:gd name="connsiteX5" fmla="*/ 13388 w 163523"/>
                  <a:gd name="connsiteY5" fmla="*/ 0 h 295697"/>
                  <a:gd name="connsiteX6" fmla="*/ 150135 w 163523"/>
                  <a:gd name="connsiteY6" fmla="*/ 0 h 295697"/>
                  <a:gd name="connsiteX7" fmla="*/ 163524 w 163523"/>
                  <a:gd name="connsiteY7" fmla="*/ 13377 h 295697"/>
                  <a:gd name="connsiteX8" fmla="*/ 163524 w 163523"/>
                  <a:gd name="connsiteY8" fmla="*/ 281893 h 2956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63523" h="295697">
                    <a:moveTo>
                      <a:pt x="163524" y="281893"/>
                    </a:moveTo>
                    <a:cubicBezTo>
                      <a:pt x="163524" y="289258"/>
                      <a:pt x="157501" y="295697"/>
                      <a:pt x="150135" y="295697"/>
                    </a:cubicBezTo>
                    <a:lnTo>
                      <a:pt x="13388" y="295697"/>
                    </a:lnTo>
                    <a:cubicBezTo>
                      <a:pt x="6023" y="295697"/>
                      <a:pt x="0" y="289246"/>
                      <a:pt x="0" y="281893"/>
                    </a:cubicBezTo>
                    <a:lnTo>
                      <a:pt x="0" y="13377"/>
                    </a:lnTo>
                    <a:cubicBezTo>
                      <a:pt x="0" y="6011"/>
                      <a:pt x="6023" y="0"/>
                      <a:pt x="13388" y="0"/>
                    </a:cubicBezTo>
                    <a:lnTo>
                      <a:pt x="150135" y="0"/>
                    </a:lnTo>
                    <a:cubicBezTo>
                      <a:pt x="157501" y="0"/>
                      <a:pt x="163524" y="6011"/>
                      <a:pt x="163524" y="13377"/>
                    </a:cubicBezTo>
                    <a:lnTo>
                      <a:pt x="163524" y="281893"/>
                    </a:ln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77" name="Forma livre: Forma 176">
                <a:extLst>
                  <a:ext uri="{FF2B5EF4-FFF2-40B4-BE49-F238E27FC236}">
                    <a16:creationId xmlns:a16="http://schemas.microsoft.com/office/drawing/2014/main" id="{DED853CE-50CF-F441-DD4F-24BC4C7112AF}"/>
                  </a:ext>
                </a:extLst>
              </p:cNvPr>
              <p:cNvSpPr/>
              <p:nvPr/>
            </p:nvSpPr>
            <p:spPr>
              <a:xfrm>
                <a:off x="1418287" y="1251683"/>
                <a:ext cx="120863" cy="1187"/>
              </a:xfrm>
              <a:custGeom>
                <a:avLst/>
                <a:gdLst>
                  <a:gd name="connsiteX0" fmla="*/ 0 w 120863"/>
                  <a:gd name="connsiteY0" fmla="*/ 0 h 1187"/>
                  <a:gd name="connsiteX1" fmla="*/ 120864 w 120863"/>
                  <a:gd name="connsiteY1" fmla="*/ 0 h 11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0863" h="1187">
                    <a:moveTo>
                      <a:pt x="0" y="0"/>
                    </a:moveTo>
                    <a:lnTo>
                      <a:pt x="120864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78" name="Forma livre: Forma 177">
                <a:extLst>
                  <a:ext uri="{FF2B5EF4-FFF2-40B4-BE49-F238E27FC236}">
                    <a16:creationId xmlns:a16="http://schemas.microsoft.com/office/drawing/2014/main" id="{FD4997F6-1725-618F-FEC2-8AE4BE2BFE31}"/>
                  </a:ext>
                </a:extLst>
              </p:cNvPr>
              <p:cNvSpPr/>
              <p:nvPr/>
            </p:nvSpPr>
            <p:spPr>
              <a:xfrm>
                <a:off x="1467612" y="1280028"/>
                <a:ext cx="22238" cy="1187"/>
              </a:xfrm>
              <a:custGeom>
                <a:avLst/>
                <a:gdLst>
                  <a:gd name="connsiteX0" fmla="*/ 0 w 22238"/>
                  <a:gd name="connsiteY0" fmla="*/ 0 h 1187"/>
                  <a:gd name="connsiteX1" fmla="*/ 22239 w 22238"/>
                  <a:gd name="connsiteY1" fmla="*/ 0 h 11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2238" h="1187">
                    <a:moveTo>
                      <a:pt x="0" y="0"/>
                    </a:moveTo>
                    <a:lnTo>
                      <a:pt x="22239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79" name="Gráfico 2">
              <a:extLst>
                <a:ext uri="{FF2B5EF4-FFF2-40B4-BE49-F238E27FC236}">
                  <a16:creationId xmlns:a16="http://schemas.microsoft.com/office/drawing/2014/main" id="{1B446E04-1088-E0A9-CD73-50DC870EDB2C}"/>
                </a:ext>
              </a:extLst>
            </p:cNvPr>
            <p:cNvGrpSpPr/>
            <p:nvPr/>
          </p:nvGrpSpPr>
          <p:grpSpPr>
            <a:xfrm>
              <a:off x="1424691" y="1051952"/>
              <a:ext cx="108093" cy="159518"/>
              <a:chOff x="1424691" y="1051952"/>
              <a:chExt cx="108093" cy="159518"/>
            </a:xfrm>
            <a:noFill/>
          </p:grpSpPr>
          <p:grpSp>
            <p:nvGrpSpPr>
              <p:cNvPr id="180" name="Gráfico 2">
                <a:extLst>
                  <a:ext uri="{FF2B5EF4-FFF2-40B4-BE49-F238E27FC236}">
                    <a16:creationId xmlns:a16="http://schemas.microsoft.com/office/drawing/2014/main" id="{760FD304-D1B5-68AE-B7F5-03188D5AE6D0}"/>
                  </a:ext>
                </a:extLst>
              </p:cNvPr>
              <p:cNvGrpSpPr/>
              <p:nvPr/>
            </p:nvGrpSpPr>
            <p:grpSpPr>
              <a:xfrm>
                <a:off x="1484469" y="1057307"/>
                <a:ext cx="48314" cy="154150"/>
                <a:chOff x="1484469" y="1057307"/>
                <a:chExt cx="48314" cy="154150"/>
              </a:xfrm>
              <a:noFill/>
            </p:grpSpPr>
            <p:grpSp>
              <p:nvGrpSpPr>
                <p:cNvPr id="181" name="Gráfico 2">
                  <a:extLst>
                    <a:ext uri="{FF2B5EF4-FFF2-40B4-BE49-F238E27FC236}">
                      <a16:creationId xmlns:a16="http://schemas.microsoft.com/office/drawing/2014/main" id="{1779D555-7057-0810-E370-43B21EB0B0A7}"/>
                    </a:ext>
                  </a:extLst>
                </p:cNvPr>
                <p:cNvGrpSpPr/>
                <p:nvPr/>
              </p:nvGrpSpPr>
              <p:grpSpPr>
                <a:xfrm>
                  <a:off x="1484469" y="1057307"/>
                  <a:ext cx="48314" cy="154150"/>
                  <a:chOff x="1484469" y="1057307"/>
                  <a:chExt cx="48314" cy="154150"/>
                </a:xfrm>
                <a:noFill/>
              </p:grpSpPr>
              <p:sp>
                <p:nvSpPr>
                  <p:cNvPr id="182" name="Forma livre: Forma 181">
                    <a:extLst>
                      <a:ext uri="{FF2B5EF4-FFF2-40B4-BE49-F238E27FC236}">
                        <a16:creationId xmlns:a16="http://schemas.microsoft.com/office/drawing/2014/main" id="{5D5B693A-E739-43E0-596C-F97B3EFDE2D4}"/>
                      </a:ext>
                    </a:extLst>
                  </p:cNvPr>
                  <p:cNvSpPr/>
                  <p:nvPr/>
                </p:nvSpPr>
                <p:spPr>
                  <a:xfrm>
                    <a:off x="1520013" y="1057307"/>
                    <a:ext cx="12770" cy="154150"/>
                  </a:xfrm>
                  <a:custGeom>
                    <a:avLst/>
                    <a:gdLst>
                      <a:gd name="connsiteX0" fmla="*/ 12771 w 12770"/>
                      <a:gd name="connsiteY0" fmla="*/ 0 h 154150"/>
                      <a:gd name="connsiteX1" fmla="*/ 12771 w 12770"/>
                      <a:gd name="connsiteY1" fmla="*/ 40474 h 154150"/>
                      <a:gd name="connsiteX2" fmla="*/ 0 w 12770"/>
                      <a:gd name="connsiteY2" fmla="*/ 64031 h 154150"/>
                      <a:gd name="connsiteX3" fmla="*/ 0 w 12770"/>
                      <a:gd name="connsiteY3" fmla="*/ 154151 h 15415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12770" h="154150">
                        <a:moveTo>
                          <a:pt x="12771" y="0"/>
                        </a:moveTo>
                        <a:lnTo>
                          <a:pt x="12771" y="40474"/>
                        </a:lnTo>
                        <a:cubicBezTo>
                          <a:pt x="12771" y="51059"/>
                          <a:pt x="9171" y="60147"/>
                          <a:pt x="0" y="64031"/>
                        </a:cubicBezTo>
                        <a:lnTo>
                          <a:pt x="0" y="154151"/>
                        </a:lnTo>
                      </a:path>
                    </a:pathLst>
                  </a:custGeom>
                  <a:noFill/>
                  <a:ln w="6350" cap="sq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183" name="Forma livre: Forma 182">
                    <a:extLst>
                      <a:ext uri="{FF2B5EF4-FFF2-40B4-BE49-F238E27FC236}">
                        <a16:creationId xmlns:a16="http://schemas.microsoft.com/office/drawing/2014/main" id="{3021C781-99AE-6E74-A4EE-D061B8FF8671}"/>
                      </a:ext>
                    </a:extLst>
                  </p:cNvPr>
                  <p:cNvSpPr/>
                  <p:nvPr/>
                </p:nvSpPr>
                <p:spPr>
                  <a:xfrm>
                    <a:off x="1484469" y="1057307"/>
                    <a:ext cx="12770" cy="154150"/>
                  </a:xfrm>
                  <a:custGeom>
                    <a:avLst/>
                    <a:gdLst>
                      <a:gd name="connsiteX0" fmla="*/ 0 w 12770"/>
                      <a:gd name="connsiteY0" fmla="*/ 0 h 154150"/>
                      <a:gd name="connsiteX1" fmla="*/ 0 w 12770"/>
                      <a:gd name="connsiteY1" fmla="*/ 40462 h 154150"/>
                      <a:gd name="connsiteX2" fmla="*/ 12771 w 12770"/>
                      <a:gd name="connsiteY2" fmla="*/ 64031 h 154150"/>
                      <a:gd name="connsiteX3" fmla="*/ 12771 w 12770"/>
                      <a:gd name="connsiteY3" fmla="*/ 154151 h 15415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12770" h="154150">
                        <a:moveTo>
                          <a:pt x="0" y="0"/>
                        </a:moveTo>
                        <a:lnTo>
                          <a:pt x="0" y="40462"/>
                        </a:lnTo>
                        <a:cubicBezTo>
                          <a:pt x="0" y="51047"/>
                          <a:pt x="3588" y="60147"/>
                          <a:pt x="12771" y="64031"/>
                        </a:cubicBezTo>
                        <a:lnTo>
                          <a:pt x="12771" y="154151"/>
                        </a:lnTo>
                      </a:path>
                    </a:pathLst>
                  </a:custGeom>
                  <a:noFill/>
                  <a:ln w="6350" cap="sq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  <p:sp>
              <p:nvSpPr>
                <p:cNvPr id="184" name="Forma livre: Forma 183">
                  <a:extLst>
                    <a:ext uri="{FF2B5EF4-FFF2-40B4-BE49-F238E27FC236}">
                      <a16:creationId xmlns:a16="http://schemas.microsoft.com/office/drawing/2014/main" id="{F4CE49F0-1E04-1BB7-A19A-9AF0DAD1C748}"/>
                    </a:ext>
                  </a:extLst>
                </p:cNvPr>
                <p:cNvSpPr/>
                <p:nvPr/>
              </p:nvSpPr>
              <p:spPr>
                <a:xfrm>
                  <a:off x="1508632" y="1057307"/>
                  <a:ext cx="1187" cy="32823"/>
                </a:xfrm>
                <a:custGeom>
                  <a:avLst/>
                  <a:gdLst>
                    <a:gd name="connsiteX0" fmla="*/ 0 w 1187"/>
                    <a:gd name="connsiteY0" fmla="*/ 32824 h 32823"/>
                    <a:gd name="connsiteX1" fmla="*/ 0 w 1187"/>
                    <a:gd name="connsiteY1" fmla="*/ 0 h 3282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187" h="32823">
                      <a:moveTo>
                        <a:pt x="0" y="32824"/>
                      </a:moveTo>
                      <a:lnTo>
                        <a:pt x="0" y="0"/>
                      </a:lnTo>
                    </a:path>
                  </a:pathLst>
                </a:custGeom>
                <a:ln w="6350" cap="sq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185" name="Forma livre: Forma 184">
                <a:extLst>
                  <a:ext uri="{FF2B5EF4-FFF2-40B4-BE49-F238E27FC236}">
                    <a16:creationId xmlns:a16="http://schemas.microsoft.com/office/drawing/2014/main" id="{606B810F-2ADF-5F2D-072E-167770596780}"/>
                  </a:ext>
                </a:extLst>
              </p:cNvPr>
              <p:cNvSpPr/>
              <p:nvPr/>
            </p:nvSpPr>
            <p:spPr>
              <a:xfrm>
                <a:off x="1424691" y="1051952"/>
                <a:ext cx="35056" cy="159518"/>
              </a:xfrm>
              <a:custGeom>
                <a:avLst/>
                <a:gdLst>
                  <a:gd name="connsiteX0" fmla="*/ 11832 w 35056"/>
                  <a:gd name="connsiteY0" fmla="*/ 159518 h 159518"/>
                  <a:gd name="connsiteX1" fmla="*/ 11832 w 35056"/>
                  <a:gd name="connsiteY1" fmla="*/ 94964 h 159518"/>
                  <a:gd name="connsiteX2" fmla="*/ 0 w 35056"/>
                  <a:gd name="connsiteY2" fmla="*/ 91079 h 159518"/>
                  <a:gd name="connsiteX3" fmla="*/ 11333 w 35056"/>
                  <a:gd name="connsiteY3" fmla="*/ 17948 h 159518"/>
                  <a:gd name="connsiteX4" fmla="*/ 27442 w 35056"/>
                  <a:gd name="connsiteY4" fmla="*/ 390 h 159518"/>
                  <a:gd name="connsiteX5" fmla="*/ 35057 w 35056"/>
                  <a:gd name="connsiteY5" fmla="*/ 10939 h 159518"/>
                  <a:gd name="connsiteX6" fmla="*/ 35057 w 35056"/>
                  <a:gd name="connsiteY6" fmla="*/ 159518 h 1595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5056" h="159518">
                    <a:moveTo>
                      <a:pt x="11832" y="159518"/>
                    </a:moveTo>
                    <a:lnTo>
                      <a:pt x="11832" y="94964"/>
                    </a:lnTo>
                    <a:lnTo>
                      <a:pt x="0" y="91079"/>
                    </a:lnTo>
                    <a:lnTo>
                      <a:pt x="11333" y="17948"/>
                    </a:lnTo>
                    <a:cubicBezTo>
                      <a:pt x="14386" y="5142"/>
                      <a:pt x="27442" y="390"/>
                      <a:pt x="27442" y="390"/>
                    </a:cubicBezTo>
                    <a:cubicBezTo>
                      <a:pt x="32598" y="-1641"/>
                      <a:pt x="34950" y="4619"/>
                      <a:pt x="35057" y="10939"/>
                    </a:cubicBezTo>
                    <a:lnTo>
                      <a:pt x="35057" y="159518"/>
                    </a:lnTo>
                  </a:path>
                </a:pathLst>
              </a:custGeom>
              <a:noFill/>
              <a:ln w="6350" cap="sq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86" name="Gráfico 2">
            <a:extLst>
              <a:ext uri="{FF2B5EF4-FFF2-40B4-BE49-F238E27FC236}">
                <a16:creationId xmlns:a16="http://schemas.microsoft.com/office/drawing/2014/main" id="{EE21146E-546A-B823-E193-261DDDABE6DB}"/>
              </a:ext>
            </a:extLst>
          </p:cNvPr>
          <p:cNvGrpSpPr/>
          <p:nvPr/>
        </p:nvGrpSpPr>
        <p:grpSpPr>
          <a:xfrm>
            <a:off x="2005678" y="987015"/>
            <a:ext cx="186023" cy="350343"/>
            <a:chOff x="2005678" y="987015"/>
            <a:chExt cx="186023" cy="350343"/>
          </a:xfrm>
          <a:noFill/>
        </p:grpSpPr>
        <p:sp>
          <p:nvSpPr>
            <p:cNvPr id="187" name="Forma livre: Forma 186">
              <a:extLst>
                <a:ext uri="{FF2B5EF4-FFF2-40B4-BE49-F238E27FC236}">
                  <a16:creationId xmlns:a16="http://schemas.microsoft.com/office/drawing/2014/main" id="{87C26556-EECE-C072-67E4-7BBB15B5A44B}"/>
                </a:ext>
              </a:extLst>
            </p:cNvPr>
            <p:cNvSpPr/>
            <p:nvPr/>
          </p:nvSpPr>
          <p:spPr>
            <a:xfrm>
              <a:off x="2022595" y="1039013"/>
              <a:ext cx="55620" cy="27810"/>
            </a:xfrm>
            <a:custGeom>
              <a:avLst/>
              <a:gdLst>
                <a:gd name="connsiteX0" fmla="*/ 55621 w 55620"/>
                <a:gd name="connsiteY0" fmla="*/ 0 h 27810"/>
                <a:gd name="connsiteX1" fmla="*/ 27810 w 55620"/>
                <a:gd name="connsiteY1" fmla="*/ 27810 h 27810"/>
                <a:gd name="connsiteX2" fmla="*/ 0 w 55620"/>
                <a:gd name="connsiteY2" fmla="*/ 0 h 278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55620" h="27810">
                  <a:moveTo>
                    <a:pt x="55621" y="0"/>
                  </a:moveTo>
                  <a:cubicBezTo>
                    <a:pt x="55621" y="15360"/>
                    <a:pt x="43159" y="27810"/>
                    <a:pt x="27810" y="27810"/>
                  </a:cubicBezTo>
                  <a:cubicBezTo>
                    <a:pt x="12462" y="27810"/>
                    <a:pt x="0" y="15360"/>
                    <a:pt x="0" y="0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8" name="Forma livre: Forma 187">
              <a:extLst>
                <a:ext uri="{FF2B5EF4-FFF2-40B4-BE49-F238E27FC236}">
                  <a16:creationId xmlns:a16="http://schemas.microsoft.com/office/drawing/2014/main" id="{84E35426-6681-51DE-7F5D-6C25570AB963}"/>
                </a:ext>
              </a:extLst>
            </p:cNvPr>
            <p:cNvSpPr/>
            <p:nvPr/>
          </p:nvSpPr>
          <p:spPr>
            <a:xfrm>
              <a:off x="2022595" y="987015"/>
              <a:ext cx="76647" cy="33441"/>
            </a:xfrm>
            <a:custGeom>
              <a:avLst/>
              <a:gdLst>
                <a:gd name="connsiteX0" fmla="*/ 55621 w 76647"/>
                <a:gd name="connsiteY0" fmla="*/ 33441 h 33441"/>
                <a:gd name="connsiteX1" fmla="*/ 27810 w 76647"/>
                <a:gd name="connsiteY1" fmla="*/ 0 h 33441"/>
                <a:gd name="connsiteX2" fmla="*/ 0 w 76647"/>
                <a:gd name="connsiteY2" fmla="*/ 33441 h 33441"/>
                <a:gd name="connsiteX3" fmla="*/ 76648 w 76647"/>
                <a:gd name="connsiteY3" fmla="*/ 33441 h 334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6647" h="33441">
                  <a:moveTo>
                    <a:pt x="55621" y="33441"/>
                  </a:moveTo>
                  <a:cubicBezTo>
                    <a:pt x="55621" y="18081"/>
                    <a:pt x="53316" y="0"/>
                    <a:pt x="27810" y="0"/>
                  </a:cubicBezTo>
                  <a:cubicBezTo>
                    <a:pt x="3802" y="0"/>
                    <a:pt x="0" y="18081"/>
                    <a:pt x="0" y="33441"/>
                  </a:cubicBezTo>
                  <a:lnTo>
                    <a:pt x="76648" y="33441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9" name="Forma livre: Forma 188">
              <a:extLst>
                <a:ext uri="{FF2B5EF4-FFF2-40B4-BE49-F238E27FC236}">
                  <a16:creationId xmlns:a16="http://schemas.microsoft.com/office/drawing/2014/main" id="{A4177ED3-F098-2EE5-4A0C-888DAE4764E4}"/>
                </a:ext>
              </a:extLst>
            </p:cNvPr>
            <p:cNvSpPr/>
            <p:nvPr/>
          </p:nvSpPr>
          <p:spPr>
            <a:xfrm>
              <a:off x="2046758" y="1221591"/>
              <a:ext cx="1187" cy="115767"/>
            </a:xfrm>
            <a:custGeom>
              <a:avLst/>
              <a:gdLst>
                <a:gd name="connsiteX0" fmla="*/ 0 w 1187"/>
                <a:gd name="connsiteY0" fmla="*/ 0 h 115767"/>
                <a:gd name="connsiteX1" fmla="*/ 0 w 1187"/>
                <a:gd name="connsiteY1" fmla="*/ 115767 h 1157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87" h="115767">
                  <a:moveTo>
                    <a:pt x="0" y="0"/>
                  </a:moveTo>
                  <a:lnTo>
                    <a:pt x="0" y="115767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0" name="Forma livre: Forma 189">
              <a:extLst>
                <a:ext uri="{FF2B5EF4-FFF2-40B4-BE49-F238E27FC236}">
                  <a16:creationId xmlns:a16="http://schemas.microsoft.com/office/drawing/2014/main" id="{8C6C3302-DD94-9BAC-B28A-9D56D5A04186}"/>
                </a:ext>
              </a:extLst>
            </p:cNvPr>
            <p:cNvSpPr/>
            <p:nvPr/>
          </p:nvSpPr>
          <p:spPr>
            <a:xfrm>
              <a:off x="2077515" y="1152452"/>
              <a:ext cx="1187" cy="184907"/>
            </a:xfrm>
            <a:custGeom>
              <a:avLst/>
              <a:gdLst>
                <a:gd name="connsiteX0" fmla="*/ 0 w 1187"/>
                <a:gd name="connsiteY0" fmla="*/ 184907 h 184907"/>
                <a:gd name="connsiteX1" fmla="*/ 0 w 1187"/>
                <a:gd name="connsiteY1" fmla="*/ 37872 h 184907"/>
                <a:gd name="connsiteX2" fmla="*/ 0 w 1187"/>
                <a:gd name="connsiteY2" fmla="*/ 0 h 1849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187" h="184907">
                  <a:moveTo>
                    <a:pt x="0" y="184907"/>
                  </a:moveTo>
                  <a:lnTo>
                    <a:pt x="0" y="37872"/>
                  </a:lnTo>
                  <a:lnTo>
                    <a:pt x="0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1" name="Forma livre: Forma 190">
              <a:extLst>
                <a:ext uri="{FF2B5EF4-FFF2-40B4-BE49-F238E27FC236}">
                  <a16:creationId xmlns:a16="http://schemas.microsoft.com/office/drawing/2014/main" id="{CF193CC5-DD56-9832-5882-04D4205BE04F}"/>
                </a:ext>
              </a:extLst>
            </p:cNvPr>
            <p:cNvSpPr/>
            <p:nvPr/>
          </p:nvSpPr>
          <p:spPr>
            <a:xfrm>
              <a:off x="2005678" y="1092115"/>
              <a:ext cx="144337" cy="245244"/>
            </a:xfrm>
            <a:custGeom>
              <a:avLst/>
              <a:gdLst>
                <a:gd name="connsiteX0" fmla="*/ 50643 w 144337"/>
                <a:gd name="connsiteY0" fmla="*/ 41116 h 245244"/>
                <a:gd name="connsiteX1" fmla="*/ 111503 w 144337"/>
                <a:gd name="connsiteY1" fmla="*/ 31921 h 245244"/>
                <a:gd name="connsiteX2" fmla="*/ 143982 w 144337"/>
                <a:gd name="connsiteY2" fmla="*/ 0 h 245244"/>
                <a:gd name="connsiteX3" fmla="*/ 23759 w 144337"/>
                <a:gd name="connsiteY3" fmla="*/ 0 h 245244"/>
                <a:gd name="connsiteX4" fmla="*/ 0 w 144337"/>
                <a:gd name="connsiteY4" fmla="*/ 23747 h 245244"/>
                <a:gd name="connsiteX5" fmla="*/ 0 w 144337"/>
                <a:gd name="connsiteY5" fmla="*/ 245244 h 2452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44337" h="245244">
                  <a:moveTo>
                    <a:pt x="50643" y="41116"/>
                  </a:moveTo>
                  <a:lnTo>
                    <a:pt x="111503" y="31921"/>
                  </a:lnTo>
                  <a:cubicBezTo>
                    <a:pt x="131603" y="29022"/>
                    <a:pt x="146892" y="20100"/>
                    <a:pt x="143982" y="0"/>
                  </a:cubicBezTo>
                  <a:lnTo>
                    <a:pt x="23759" y="0"/>
                  </a:lnTo>
                  <a:cubicBezTo>
                    <a:pt x="10692" y="0"/>
                    <a:pt x="0" y="10680"/>
                    <a:pt x="0" y="23747"/>
                  </a:cubicBezTo>
                  <a:lnTo>
                    <a:pt x="0" y="245244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92" name="Gráfico 2">
              <a:extLst>
                <a:ext uri="{FF2B5EF4-FFF2-40B4-BE49-F238E27FC236}">
                  <a16:creationId xmlns:a16="http://schemas.microsoft.com/office/drawing/2014/main" id="{B99D1BA7-A21E-C059-7361-17B18ECAC097}"/>
                </a:ext>
              </a:extLst>
            </p:cNvPr>
            <p:cNvGrpSpPr/>
            <p:nvPr/>
          </p:nvGrpSpPr>
          <p:grpSpPr>
            <a:xfrm>
              <a:off x="2106168" y="1122004"/>
              <a:ext cx="85533" cy="128870"/>
              <a:chOff x="2106168" y="1122004"/>
              <a:chExt cx="85533" cy="128870"/>
            </a:xfrm>
            <a:noFill/>
          </p:grpSpPr>
          <p:grpSp>
            <p:nvGrpSpPr>
              <p:cNvPr id="193" name="Gráfico 2">
                <a:extLst>
                  <a:ext uri="{FF2B5EF4-FFF2-40B4-BE49-F238E27FC236}">
                    <a16:creationId xmlns:a16="http://schemas.microsoft.com/office/drawing/2014/main" id="{2F104BB8-EBFB-3E3A-C1C2-9671D1CE1F06}"/>
                  </a:ext>
                </a:extLst>
              </p:cNvPr>
              <p:cNvGrpSpPr/>
              <p:nvPr/>
            </p:nvGrpSpPr>
            <p:grpSpPr>
              <a:xfrm>
                <a:off x="2127956" y="1122004"/>
                <a:ext cx="41970" cy="42006"/>
                <a:chOff x="2127956" y="1122004"/>
                <a:chExt cx="41970" cy="42006"/>
              </a:xfrm>
              <a:noFill/>
            </p:grpSpPr>
            <p:sp>
              <p:nvSpPr>
                <p:cNvPr id="194" name="Forma livre: Forma 193">
                  <a:extLst>
                    <a:ext uri="{FF2B5EF4-FFF2-40B4-BE49-F238E27FC236}">
                      <a16:creationId xmlns:a16="http://schemas.microsoft.com/office/drawing/2014/main" id="{AAD4D6B6-1FC0-EA65-8028-92214AF2D0D7}"/>
                    </a:ext>
                  </a:extLst>
                </p:cNvPr>
                <p:cNvSpPr/>
                <p:nvPr/>
              </p:nvSpPr>
              <p:spPr>
                <a:xfrm>
                  <a:off x="2162835" y="1122004"/>
                  <a:ext cx="7092" cy="42006"/>
                </a:xfrm>
                <a:custGeom>
                  <a:avLst/>
                  <a:gdLst>
                    <a:gd name="connsiteX0" fmla="*/ 7092 w 7092"/>
                    <a:gd name="connsiteY0" fmla="*/ 42007 h 42006"/>
                    <a:gd name="connsiteX1" fmla="*/ 7092 w 7092"/>
                    <a:gd name="connsiteY1" fmla="*/ 17772 h 42006"/>
                    <a:gd name="connsiteX2" fmla="*/ 0 w 7092"/>
                    <a:gd name="connsiteY2" fmla="*/ 0 h 4200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7092" h="42006">
                      <a:moveTo>
                        <a:pt x="7092" y="42007"/>
                      </a:moveTo>
                      <a:lnTo>
                        <a:pt x="7092" y="17772"/>
                      </a:lnTo>
                      <a:cubicBezTo>
                        <a:pt x="7092" y="10715"/>
                        <a:pt x="4348" y="4360"/>
                        <a:pt x="0" y="0"/>
                      </a:cubicBez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95" name="Forma livre: Forma 194">
                  <a:extLst>
                    <a:ext uri="{FF2B5EF4-FFF2-40B4-BE49-F238E27FC236}">
                      <a16:creationId xmlns:a16="http://schemas.microsoft.com/office/drawing/2014/main" id="{810394D2-063A-94EC-605A-A8F260BB59B3}"/>
                    </a:ext>
                  </a:extLst>
                </p:cNvPr>
                <p:cNvSpPr/>
                <p:nvPr/>
              </p:nvSpPr>
              <p:spPr>
                <a:xfrm>
                  <a:off x="2127956" y="1141202"/>
                  <a:ext cx="1187" cy="22808"/>
                </a:xfrm>
                <a:custGeom>
                  <a:avLst/>
                  <a:gdLst>
                    <a:gd name="connsiteX0" fmla="*/ 0 w 1187"/>
                    <a:gd name="connsiteY0" fmla="*/ 0 h 22808"/>
                    <a:gd name="connsiteX1" fmla="*/ 0 w 1187"/>
                    <a:gd name="connsiteY1" fmla="*/ 22809 h 2280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187" h="22808">
                      <a:moveTo>
                        <a:pt x="0" y="0"/>
                      </a:moveTo>
                      <a:lnTo>
                        <a:pt x="0" y="22809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196" name="Forma livre: Forma 195">
                <a:extLst>
                  <a:ext uri="{FF2B5EF4-FFF2-40B4-BE49-F238E27FC236}">
                    <a16:creationId xmlns:a16="http://schemas.microsoft.com/office/drawing/2014/main" id="{6923F0D5-C4B3-F1DA-930F-C1684962AA5F}"/>
                  </a:ext>
                </a:extLst>
              </p:cNvPr>
              <p:cNvSpPr/>
              <p:nvPr/>
            </p:nvSpPr>
            <p:spPr>
              <a:xfrm>
                <a:off x="2106168" y="1163916"/>
                <a:ext cx="85533" cy="86959"/>
              </a:xfrm>
              <a:custGeom>
                <a:avLst/>
                <a:gdLst>
                  <a:gd name="connsiteX0" fmla="*/ 0 w 85533"/>
                  <a:gd name="connsiteY0" fmla="*/ 0 h 86959"/>
                  <a:gd name="connsiteX1" fmla="*/ 85534 w 85533"/>
                  <a:gd name="connsiteY1" fmla="*/ 0 h 86959"/>
                  <a:gd name="connsiteX2" fmla="*/ 85534 w 85533"/>
                  <a:gd name="connsiteY2" fmla="*/ 86959 h 86959"/>
                  <a:gd name="connsiteX3" fmla="*/ 0 w 85533"/>
                  <a:gd name="connsiteY3" fmla="*/ 86959 h 869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5533" h="86959">
                    <a:moveTo>
                      <a:pt x="0" y="0"/>
                    </a:moveTo>
                    <a:lnTo>
                      <a:pt x="85534" y="0"/>
                    </a:lnTo>
                    <a:lnTo>
                      <a:pt x="85534" y="86959"/>
                    </a:lnTo>
                    <a:lnTo>
                      <a:pt x="0" y="86959"/>
                    </a:lnTo>
                    <a:close/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97" name="Gráfico 2">
            <a:extLst>
              <a:ext uri="{FF2B5EF4-FFF2-40B4-BE49-F238E27FC236}">
                <a16:creationId xmlns:a16="http://schemas.microsoft.com/office/drawing/2014/main" id="{D8F76812-507C-03C3-77DA-670528AD00F4}"/>
              </a:ext>
            </a:extLst>
          </p:cNvPr>
          <p:cNvGrpSpPr/>
          <p:nvPr/>
        </p:nvGrpSpPr>
        <p:grpSpPr>
          <a:xfrm>
            <a:off x="671127" y="1004774"/>
            <a:ext cx="375362" cy="314824"/>
            <a:chOff x="671127" y="1004774"/>
            <a:chExt cx="375362" cy="314824"/>
          </a:xfrm>
          <a:noFill/>
        </p:grpSpPr>
        <p:grpSp>
          <p:nvGrpSpPr>
            <p:cNvPr id="198" name="Gráfico 2">
              <a:extLst>
                <a:ext uri="{FF2B5EF4-FFF2-40B4-BE49-F238E27FC236}">
                  <a16:creationId xmlns:a16="http://schemas.microsoft.com/office/drawing/2014/main" id="{E22074CC-2326-0E91-542F-F5C43D3A6AF2}"/>
                </a:ext>
              </a:extLst>
            </p:cNvPr>
            <p:cNvGrpSpPr/>
            <p:nvPr/>
          </p:nvGrpSpPr>
          <p:grpSpPr>
            <a:xfrm>
              <a:off x="671127" y="1004774"/>
              <a:ext cx="375362" cy="314824"/>
              <a:chOff x="671127" y="1004774"/>
              <a:chExt cx="375362" cy="314824"/>
            </a:xfrm>
            <a:noFill/>
          </p:grpSpPr>
          <p:sp>
            <p:nvSpPr>
              <p:cNvPr id="199" name="Forma livre: Forma 198">
                <a:extLst>
                  <a:ext uri="{FF2B5EF4-FFF2-40B4-BE49-F238E27FC236}">
                    <a16:creationId xmlns:a16="http://schemas.microsoft.com/office/drawing/2014/main" id="{2BABA83D-9443-44D5-207E-323B7DD7E144}"/>
                  </a:ext>
                </a:extLst>
              </p:cNvPr>
              <p:cNvSpPr/>
              <p:nvPr/>
            </p:nvSpPr>
            <p:spPr>
              <a:xfrm>
                <a:off x="809846" y="1087220"/>
                <a:ext cx="236144" cy="232378"/>
              </a:xfrm>
              <a:custGeom>
                <a:avLst/>
                <a:gdLst>
                  <a:gd name="connsiteX0" fmla="*/ 213300 w 236144"/>
                  <a:gd name="connsiteY0" fmla="*/ 0 h 232378"/>
                  <a:gd name="connsiteX1" fmla="*/ 236144 w 236144"/>
                  <a:gd name="connsiteY1" fmla="*/ 53946 h 232378"/>
                  <a:gd name="connsiteX2" fmla="*/ 236144 w 236144"/>
                  <a:gd name="connsiteY2" fmla="*/ 232378 h 232378"/>
                  <a:gd name="connsiteX3" fmla="*/ 0 w 236144"/>
                  <a:gd name="connsiteY3" fmla="*/ 232378 h 232378"/>
                  <a:gd name="connsiteX4" fmla="*/ 0 w 236144"/>
                  <a:gd name="connsiteY4" fmla="*/ 53946 h 232378"/>
                  <a:gd name="connsiteX5" fmla="*/ 16192 w 236144"/>
                  <a:gd name="connsiteY5" fmla="*/ 9967 h 2323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36144" h="232378">
                    <a:moveTo>
                      <a:pt x="213300" y="0"/>
                    </a:moveTo>
                    <a:lnTo>
                      <a:pt x="236144" y="53946"/>
                    </a:lnTo>
                    <a:lnTo>
                      <a:pt x="236144" y="232378"/>
                    </a:lnTo>
                    <a:lnTo>
                      <a:pt x="0" y="232378"/>
                    </a:lnTo>
                    <a:lnTo>
                      <a:pt x="0" y="53946"/>
                    </a:lnTo>
                    <a:lnTo>
                      <a:pt x="16192" y="9967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00" name="Forma livre: Forma 199">
                <a:extLst>
                  <a:ext uri="{FF2B5EF4-FFF2-40B4-BE49-F238E27FC236}">
                    <a16:creationId xmlns:a16="http://schemas.microsoft.com/office/drawing/2014/main" id="{344FB785-28D0-1F00-ADE2-DF748618F22E}"/>
                  </a:ext>
                </a:extLst>
              </p:cNvPr>
              <p:cNvSpPr/>
              <p:nvPr/>
            </p:nvSpPr>
            <p:spPr>
              <a:xfrm>
                <a:off x="867296" y="1119034"/>
                <a:ext cx="7899" cy="199828"/>
              </a:xfrm>
              <a:custGeom>
                <a:avLst/>
                <a:gdLst>
                  <a:gd name="connsiteX0" fmla="*/ 7900 w 7899"/>
                  <a:gd name="connsiteY0" fmla="*/ 199828 h 199828"/>
                  <a:gd name="connsiteX1" fmla="*/ 7900 w 7899"/>
                  <a:gd name="connsiteY1" fmla="*/ 22132 h 199828"/>
                  <a:gd name="connsiteX2" fmla="*/ 0 w 7899"/>
                  <a:gd name="connsiteY2" fmla="*/ 0 h 1998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7899" h="199828">
                    <a:moveTo>
                      <a:pt x="7900" y="199828"/>
                    </a:moveTo>
                    <a:lnTo>
                      <a:pt x="7900" y="22132"/>
                    </a:lnTo>
                    <a:lnTo>
                      <a:pt x="0" y="0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01" name="Forma livre: Forma 200">
                <a:extLst>
                  <a:ext uri="{FF2B5EF4-FFF2-40B4-BE49-F238E27FC236}">
                    <a16:creationId xmlns:a16="http://schemas.microsoft.com/office/drawing/2014/main" id="{E381F8DE-116F-E7A9-DFD5-ECCD304AD2E8}"/>
                  </a:ext>
                </a:extLst>
              </p:cNvPr>
              <p:cNvSpPr/>
              <p:nvPr/>
            </p:nvSpPr>
            <p:spPr>
              <a:xfrm>
                <a:off x="873212" y="1052104"/>
                <a:ext cx="173277" cy="34617"/>
              </a:xfrm>
              <a:custGeom>
                <a:avLst/>
                <a:gdLst>
                  <a:gd name="connsiteX0" fmla="*/ 74046 w 173277"/>
                  <a:gd name="connsiteY0" fmla="*/ 34617 h 34617"/>
                  <a:gd name="connsiteX1" fmla="*/ 173277 w 173277"/>
                  <a:gd name="connsiteY1" fmla="*/ 34617 h 34617"/>
                  <a:gd name="connsiteX2" fmla="*/ 149530 w 173277"/>
                  <a:gd name="connsiteY2" fmla="*/ 0 h 34617"/>
                  <a:gd name="connsiteX3" fmla="*/ 0 w 173277"/>
                  <a:gd name="connsiteY3" fmla="*/ 0 h 346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73277" h="34617">
                    <a:moveTo>
                      <a:pt x="74046" y="34617"/>
                    </a:moveTo>
                    <a:lnTo>
                      <a:pt x="173277" y="34617"/>
                    </a:lnTo>
                    <a:lnTo>
                      <a:pt x="149530" y="0"/>
                    </a:lnTo>
                    <a:lnTo>
                      <a:pt x="0" y="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02" name="Forma livre: Forma 201">
                <a:extLst>
                  <a:ext uri="{FF2B5EF4-FFF2-40B4-BE49-F238E27FC236}">
                    <a16:creationId xmlns:a16="http://schemas.microsoft.com/office/drawing/2014/main" id="{C18126F1-4BAC-286B-3C95-455732F50939}"/>
                  </a:ext>
                </a:extLst>
              </p:cNvPr>
              <p:cNvSpPr/>
              <p:nvPr/>
            </p:nvSpPr>
            <p:spPr>
              <a:xfrm>
                <a:off x="791539" y="1084833"/>
                <a:ext cx="97413" cy="20504"/>
              </a:xfrm>
              <a:custGeom>
                <a:avLst/>
                <a:gdLst>
                  <a:gd name="connsiteX0" fmla="*/ 97413 w 97413"/>
                  <a:gd name="connsiteY0" fmla="*/ 20504 h 20504"/>
                  <a:gd name="connsiteX1" fmla="*/ 58353 w 97413"/>
                  <a:gd name="connsiteY1" fmla="*/ 0 h 20504"/>
                  <a:gd name="connsiteX2" fmla="*/ 0 w 97413"/>
                  <a:gd name="connsiteY2" fmla="*/ 5785 h 205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97413" h="20504">
                    <a:moveTo>
                      <a:pt x="97413" y="20504"/>
                    </a:moveTo>
                    <a:lnTo>
                      <a:pt x="58353" y="0"/>
                    </a:lnTo>
                    <a:cubicBezTo>
                      <a:pt x="58353" y="0"/>
                      <a:pt x="39868" y="21181"/>
                      <a:pt x="0" y="5785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03" name="Forma livre: Forma 202">
                <a:extLst>
                  <a:ext uri="{FF2B5EF4-FFF2-40B4-BE49-F238E27FC236}">
                    <a16:creationId xmlns:a16="http://schemas.microsoft.com/office/drawing/2014/main" id="{CC893EF4-65E5-2619-AC53-19DBB5A77172}"/>
                  </a:ext>
                </a:extLst>
              </p:cNvPr>
              <p:cNvSpPr/>
              <p:nvPr/>
            </p:nvSpPr>
            <p:spPr>
              <a:xfrm>
                <a:off x="737356" y="1004774"/>
                <a:ext cx="154875" cy="31661"/>
              </a:xfrm>
              <a:custGeom>
                <a:avLst/>
                <a:gdLst>
                  <a:gd name="connsiteX0" fmla="*/ 154875 w 154875"/>
                  <a:gd name="connsiteY0" fmla="*/ 23690 h 31661"/>
                  <a:gd name="connsiteX1" fmla="*/ 120460 w 154875"/>
                  <a:gd name="connsiteY1" fmla="*/ 5134 h 31661"/>
                  <a:gd name="connsiteX2" fmla="*/ 104767 w 154875"/>
                  <a:gd name="connsiteY2" fmla="*/ 85 h 31661"/>
                  <a:gd name="connsiteX3" fmla="*/ 88967 w 154875"/>
                  <a:gd name="connsiteY3" fmla="*/ 3007 h 31661"/>
                  <a:gd name="connsiteX4" fmla="*/ 0 w 154875"/>
                  <a:gd name="connsiteY4" fmla="*/ 31661 h 316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54875" h="31661">
                    <a:moveTo>
                      <a:pt x="154875" y="23690"/>
                    </a:moveTo>
                    <a:lnTo>
                      <a:pt x="120460" y="5134"/>
                    </a:lnTo>
                    <a:cubicBezTo>
                      <a:pt x="120460" y="5134"/>
                      <a:pt x="114378" y="1130"/>
                      <a:pt x="104767" y="85"/>
                    </a:cubicBezTo>
                    <a:cubicBezTo>
                      <a:pt x="98506" y="-592"/>
                      <a:pt x="88967" y="3007"/>
                      <a:pt x="88967" y="3007"/>
                    </a:cubicBezTo>
                    <a:lnTo>
                      <a:pt x="0" y="31661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04" name="Forma livre: Forma 203">
                <a:extLst>
                  <a:ext uri="{FF2B5EF4-FFF2-40B4-BE49-F238E27FC236}">
                    <a16:creationId xmlns:a16="http://schemas.microsoft.com/office/drawing/2014/main" id="{1854F54C-6E6F-D4B6-DBE2-D10C70F643B4}"/>
                  </a:ext>
                </a:extLst>
              </p:cNvPr>
              <p:cNvSpPr/>
              <p:nvPr/>
            </p:nvSpPr>
            <p:spPr>
              <a:xfrm>
                <a:off x="845235" y="1036946"/>
                <a:ext cx="78857" cy="73606"/>
              </a:xfrm>
              <a:custGeom>
                <a:avLst/>
                <a:gdLst>
                  <a:gd name="connsiteX0" fmla="*/ 0 w 78857"/>
                  <a:gd name="connsiteY0" fmla="*/ 0 h 73606"/>
                  <a:gd name="connsiteX1" fmla="*/ 68379 w 78857"/>
                  <a:gd name="connsiteY1" fmla="*/ 35889 h 73606"/>
                  <a:gd name="connsiteX2" fmla="*/ 76624 w 78857"/>
                  <a:gd name="connsiteY2" fmla="*/ 62345 h 73606"/>
                  <a:gd name="connsiteX3" fmla="*/ 76208 w 78857"/>
                  <a:gd name="connsiteY3" fmla="*/ 63129 h 73606"/>
                  <a:gd name="connsiteX4" fmla="*/ 49752 w 78857"/>
                  <a:gd name="connsiteY4" fmla="*/ 71373 h 73606"/>
                  <a:gd name="connsiteX5" fmla="*/ 5393 w 78857"/>
                  <a:gd name="connsiteY5" fmla="*/ 48089 h 736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78857" h="73606">
                    <a:moveTo>
                      <a:pt x="0" y="0"/>
                    </a:moveTo>
                    <a:lnTo>
                      <a:pt x="68379" y="35889"/>
                    </a:lnTo>
                    <a:cubicBezTo>
                      <a:pt x="77919" y="40902"/>
                      <a:pt x="81637" y="52793"/>
                      <a:pt x="76624" y="62345"/>
                    </a:cubicBezTo>
                    <a:lnTo>
                      <a:pt x="76208" y="63129"/>
                    </a:lnTo>
                    <a:cubicBezTo>
                      <a:pt x="71207" y="72668"/>
                      <a:pt x="59303" y="76386"/>
                      <a:pt x="49752" y="71373"/>
                    </a:cubicBezTo>
                    <a:lnTo>
                      <a:pt x="5393" y="48089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05" name="Forma livre: Forma 204">
                <a:extLst>
                  <a:ext uri="{FF2B5EF4-FFF2-40B4-BE49-F238E27FC236}">
                    <a16:creationId xmlns:a16="http://schemas.microsoft.com/office/drawing/2014/main" id="{905A0AB3-BEEB-D7C9-D8FC-C07BBE719D29}"/>
                  </a:ext>
                </a:extLst>
              </p:cNvPr>
              <p:cNvSpPr/>
              <p:nvPr/>
            </p:nvSpPr>
            <p:spPr>
              <a:xfrm>
                <a:off x="749236" y="1117324"/>
                <a:ext cx="64958" cy="10223"/>
              </a:xfrm>
              <a:custGeom>
                <a:avLst/>
                <a:gdLst>
                  <a:gd name="connsiteX0" fmla="*/ 64958 w 64958"/>
                  <a:gd name="connsiteY0" fmla="*/ 10193 h 10223"/>
                  <a:gd name="connsiteX1" fmla="*/ 28226 w 64958"/>
                  <a:gd name="connsiteY1" fmla="*/ 0 h 10223"/>
                  <a:gd name="connsiteX2" fmla="*/ 0 w 64958"/>
                  <a:gd name="connsiteY2" fmla="*/ 8969 h 102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64958" h="10223">
                    <a:moveTo>
                      <a:pt x="64958" y="10193"/>
                    </a:moveTo>
                    <a:cubicBezTo>
                      <a:pt x="51380" y="10537"/>
                      <a:pt x="38015" y="8066"/>
                      <a:pt x="28226" y="0"/>
                    </a:cubicBezTo>
                    <a:lnTo>
                      <a:pt x="0" y="8969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06" name="Forma livre: Forma 205">
                <a:extLst>
                  <a:ext uri="{FF2B5EF4-FFF2-40B4-BE49-F238E27FC236}">
                    <a16:creationId xmlns:a16="http://schemas.microsoft.com/office/drawing/2014/main" id="{9091BE22-32C6-EF22-D613-13D9BF7A04B9}"/>
                  </a:ext>
                </a:extLst>
              </p:cNvPr>
              <p:cNvSpPr/>
              <p:nvPr/>
            </p:nvSpPr>
            <p:spPr>
              <a:xfrm>
                <a:off x="671127" y="1027038"/>
                <a:ext cx="85403" cy="133016"/>
              </a:xfrm>
              <a:custGeom>
                <a:avLst/>
                <a:gdLst>
                  <a:gd name="connsiteX0" fmla="*/ 0 w 85403"/>
                  <a:gd name="connsiteY0" fmla="*/ 16525 h 133016"/>
                  <a:gd name="connsiteX1" fmla="*/ 40866 w 85403"/>
                  <a:gd name="connsiteY1" fmla="*/ 0 h 133016"/>
                  <a:gd name="connsiteX2" fmla="*/ 85403 w 85403"/>
                  <a:gd name="connsiteY2" fmla="*/ 116504 h 133016"/>
                  <a:gd name="connsiteX3" fmla="*/ 44525 w 85403"/>
                  <a:gd name="connsiteY3" fmla="*/ 133017 h 1330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5403" h="133016">
                    <a:moveTo>
                      <a:pt x="0" y="16525"/>
                    </a:moveTo>
                    <a:lnTo>
                      <a:pt x="40866" y="0"/>
                    </a:lnTo>
                    <a:lnTo>
                      <a:pt x="85403" y="116504"/>
                    </a:lnTo>
                    <a:lnTo>
                      <a:pt x="44525" y="133017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207" name="Gráfico 2">
              <a:extLst>
                <a:ext uri="{FF2B5EF4-FFF2-40B4-BE49-F238E27FC236}">
                  <a16:creationId xmlns:a16="http://schemas.microsoft.com/office/drawing/2014/main" id="{819A7012-83F1-575D-E22D-ECF02717CFEE}"/>
                </a:ext>
              </a:extLst>
            </p:cNvPr>
            <p:cNvGrpSpPr/>
            <p:nvPr/>
          </p:nvGrpSpPr>
          <p:grpSpPr>
            <a:xfrm>
              <a:off x="900951" y="1158011"/>
              <a:ext cx="120222" cy="111276"/>
              <a:chOff x="900951" y="1158011"/>
              <a:chExt cx="120222" cy="111276"/>
            </a:xfrm>
            <a:noFill/>
          </p:grpSpPr>
          <p:sp>
            <p:nvSpPr>
              <p:cNvPr id="208" name="Forma livre: Forma 207">
                <a:extLst>
                  <a:ext uri="{FF2B5EF4-FFF2-40B4-BE49-F238E27FC236}">
                    <a16:creationId xmlns:a16="http://schemas.microsoft.com/office/drawing/2014/main" id="{C431CBC0-4097-1611-8D08-0C5F4D10DCD4}"/>
                  </a:ext>
                </a:extLst>
              </p:cNvPr>
              <p:cNvSpPr/>
              <p:nvPr/>
            </p:nvSpPr>
            <p:spPr>
              <a:xfrm>
                <a:off x="910075" y="1240551"/>
                <a:ext cx="101987" cy="28736"/>
              </a:xfrm>
              <a:custGeom>
                <a:avLst/>
                <a:gdLst>
                  <a:gd name="connsiteX0" fmla="*/ 101987 w 101987"/>
                  <a:gd name="connsiteY0" fmla="*/ 0 h 28736"/>
                  <a:gd name="connsiteX1" fmla="*/ 101987 w 101987"/>
                  <a:gd name="connsiteY1" fmla="*/ 20599 h 28736"/>
                  <a:gd name="connsiteX2" fmla="*/ 93980 w 101987"/>
                  <a:gd name="connsiteY2" fmla="*/ 28737 h 28736"/>
                  <a:gd name="connsiteX3" fmla="*/ 8007 w 101987"/>
                  <a:gd name="connsiteY3" fmla="*/ 28737 h 28736"/>
                  <a:gd name="connsiteX4" fmla="*/ 0 w 101987"/>
                  <a:gd name="connsiteY4" fmla="*/ 20599 h 28736"/>
                  <a:gd name="connsiteX5" fmla="*/ 0 w 101987"/>
                  <a:gd name="connsiteY5" fmla="*/ 0 h 287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01987" h="28736">
                    <a:moveTo>
                      <a:pt x="101987" y="0"/>
                    </a:moveTo>
                    <a:lnTo>
                      <a:pt x="101987" y="20599"/>
                    </a:lnTo>
                    <a:cubicBezTo>
                      <a:pt x="101987" y="25007"/>
                      <a:pt x="98376" y="28737"/>
                      <a:pt x="93980" y="28737"/>
                    </a:cubicBezTo>
                    <a:lnTo>
                      <a:pt x="8007" y="28737"/>
                    </a:lnTo>
                    <a:cubicBezTo>
                      <a:pt x="3600" y="28737"/>
                      <a:pt x="0" y="25007"/>
                      <a:pt x="0" y="20599"/>
                    </a:cubicBezTo>
                    <a:lnTo>
                      <a:pt x="0" y="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09" name="Forma livre: Forma 208">
                <a:extLst>
                  <a:ext uri="{FF2B5EF4-FFF2-40B4-BE49-F238E27FC236}">
                    <a16:creationId xmlns:a16="http://schemas.microsoft.com/office/drawing/2014/main" id="{44ABEFCC-7387-552A-BDD0-AB981A62B9F3}"/>
                  </a:ext>
                </a:extLst>
              </p:cNvPr>
              <p:cNvSpPr/>
              <p:nvPr/>
            </p:nvSpPr>
            <p:spPr>
              <a:xfrm>
                <a:off x="909908" y="1158011"/>
                <a:ext cx="102295" cy="36399"/>
              </a:xfrm>
              <a:custGeom>
                <a:avLst/>
                <a:gdLst>
                  <a:gd name="connsiteX0" fmla="*/ 102296 w 102295"/>
                  <a:gd name="connsiteY0" fmla="*/ 30958 h 36399"/>
                  <a:gd name="connsiteX1" fmla="*/ 56666 w 102295"/>
                  <a:gd name="connsiteY1" fmla="*/ 0 h 36399"/>
                  <a:gd name="connsiteX2" fmla="*/ 45630 w 102295"/>
                  <a:gd name="connsiteY2" fmla="*/ 0 h 36399"/>
                  <a:gd name="connsiteX3" fmla="*/ 0 w 102295"/>
                  <a:gd name="connsiteY3" fmla="*/ 30958 h 36399"/>
                  <a:gd name="connsiteX4" fmla="*/ 0 w 102295"/>
                  <a:gd name="connsiteY4" fmla="*/ 36399 h 36399"/>
                  <a:gd name="connsiteX5" fmla="*/ 102284 w 102295"/>
                  <a:gd name="connsiteY5" fmla="*/ 36399 h 36399"/>
                  <a:gd name="connsiteX6" fmla="*/ 102284 w 102295"/>
                  <a:gd name="connsiteY6" fmla="*/ 30958 h 363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02295" h="36399">
                    <a:moveTo>
                      <a:pt x="102296" y="30958"/>
                    </a:moveTo>
                    <a:cubicBezTo>
                      <a:pt x="102296" y="13935"/>
                      <a:pt x="81768" y="0"/>
                      <a:pt x="56666" y="0"/>
                    </a:cubicBezTo>
                    <a:lnTo>
                      <a:pt x="45630" y="0"/>
                    </a:lnTo>
                    <a:cubicBezTo>
                      <a:pt x="20528" y="0"/>
                      <a:pt x="0" y="13935"/>
                      <a:pt x="0" y="30958"/>
                    </a:cubicBezTo>
                    <a:lnTo>
                      <a:pt x="0" y="36399"/>
                    </a:lnTo>
                    <a:lnTo>
                      <a:pt x="102284" y="36399"/>
                    </a:lnTo>
                    <a:lnTo>
                      <a:pt x="102284" y="30958"/>
                    </a:lnTo>
                    <a:close/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10" name="Forma livre: Forma 209">
                <a:extLst>
                  <a:ext uri="{FF2B5EF4-FFF2-40B4-BE49-F238E27FC236}">
                    <a16:creationId xmlns:a16="http://schemas.microsoft.com/office/drawing/2014/main" id="{8F4AE8E9-1163-912A-48E6-AE521B56685A}"/>
                  </a:ext>
                </a:extLst>
              </p:cNvPr>
              <p:cNvSpPr/>
              <p:nvPr/>
            </p:nvSpPr>
            <p:spPr>
              <a:xfrm>
                <a:off x="900951" y="1217659"/>
                <a:ext cx="120222" cy="21763"/>
              </a:xfrm>
              <a:custGeom>
                <a:avLst/>
                <a:gdLst>
                  <a:gd name="connsiteX0" fmla="*/ 0 w 120222"/>
                  <a:gd name="connsiteY0" fmla="*/ 0 h 21763"/>
                  <a:gd name="connsiteX1" fmla="*/ 55359 w 120222"/>
                  <a:gd name="connsiteY1" fmla="*/ 0 h 21763"/>
                  <a:gd name="connsiteX2" fmla="*/ 77206 w 120222"/>
                  <a:gd name="connsiteY2" fmla="*/ 21764 h 21763"/>
                  <a:gd name="connsiteX3" fmla="*/ 85510 w 120222"/>
                  <a:gd name="connsiteY3" fmla="*/ 0 h 21763"/>
                  <a:gd name="connsiteX4" fmla="*/ 120222 w 120222"/>
                  <a:gd name="connsiteY4" fmla="*/ 0 h 217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0222" h="21763">
                    <a:moveTo>
                      <a:pt x="0" y="0"/>
                    </a:moveTo>
                    <a:lnTo>
                      <a:pt x="55359" y="0"/>
                    </a:lnTo>
                    <a:lnTo>
                      <a:pt x="77206" y="21764"/>
                    </a:lnTo>
                    <a:lnTo>
                      <a:pt x="85510" y="0"/>
                    </a:lnTo>
                    <a:lnTo>
                      <a:pt x="120222" y="0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211" name="Gráfico 2">
                <a:extLst>
                  <a:ext uri="{FF2B5EF4-FFF2-40B4-BE49-F238E27FC236}">
                    <a16:creationId xmlns:a16="http://schemas.microsoft.com/office/drawing/2014/main" id="{1A458F95-2E69-48C8-38C3-EA781B62E9D4}"/>
                  </a:ext>
                </a:extLst>
              </p:cNvPr>
              <p:cNvGrpSpPr/>
              <p:nvPr/>
            </p:nvGrpSpPr>
            <p:grpSpPr>
              <a:xfrm>
                <a:off x="900951" y="1239957"/>
                <a:ext cx="120222" cy="1187"/>
                <a:chOff x="900951" y="1239957"/>
                <a:chExt cx="120222" cy="1187"/>
              </a:xfrm>
            </p:grpSpPr>
            <p:sp>
              <p:nvSpPr>
                <p:cNvPr id="212" name="Forma livre: Forma 211">
                  <a:extLst>
                    <a:ext uri="{FF2B5EF4-FFF2-40B4-BE49-F238E27FC236}">
                      <a16:creationId xmlns:a16="http://schemas.microsoft.com/office/drawing/2014/main" id="{F814375F-CF3F-0064-C7DD-93E38F9E6B39}"/>
                    </a:ext>
                  </a:extLst>
                </p:cNvPr>
                <p:cNvSpPr/>
                <p:nvPr/>
              </p:nvSpPr>
              <p:spPr>
                <a:xfrm>
                  <a:off x="1001952" y="1239957"/>
                  <a:ext cx="19221" cy="1187"/>
                </a:xfrm>
                <a:custGeom>
                  <a:avLst/>
                  <a:gdLst>
                    <a:gd name="connsiteX0" fmla="*/ 0 w 19221"/>
                    <a:gd name="connsiteY0" fmla="*/ 0 h 1187"/>
                    <a:gd name="connsiteX1" fmla="*/ 19221 w 19221"/>
                    <a:gd name="connsiteY1" fmla="*/ 0 h 11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9221" h="1187">
                      <a:moveTo>
                        <a:pt x="0" y="0"/>
                      </a:moveTo>
                      <a:lnTo>
                        <a:pt x="19221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13" name="Forma livre: Forma 212">
                  <a:extLst>
                    <a:ext uri="{FF2B5EF4-FFF2-40B4-BE49-F238E27FC236}">
                      <a16:creationId xmlns:a16="http://schemas.microsoft.com/office/drawing/2014/main" id="{25915864-111D-9BC3-614C-F37A55B46A5C}"/>
                    </a:ext>
                  </a:extLst>
                </p:cNvPr>
                <p:cNvSpPr/>
                <p:nvPr/>
              </p:nvSpPr>
              <p:spPr>
                <a:xfrm>
                  <a:off x="900951" y="1239957"/>
                  <a:ext cx="49870" cy="1187"/>
                </a:xfrm>
                <a:custGeom>
                  <a:avLst/>
                  <a:gdLst>
                    <a:gd name="connsiteX0" fmla="*/ 0 w 49870"/>
                    <a:gd name="connsiteY0" fmla="*/ 0 h 1187"/>
                    <a:gd name="connsiteX1" fmla="*/ 49871 w 49870"/>
                    <a:gd name="connsiteY1" fmla="*/ 0 h 11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9870" h="1187">
                      <a:moveTo>
                        <a:pt x="0" y="0"/>
                      </a:moveTo>
                      <a:lnTo>
                        <a:pt x="49871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</p:grpSp>
      <p:grpSp>
        <p:nvGrpSpPr>
          <p:cNvPr id="215" name="Gráfico 4">
            <a:extLst>
              <a:ext uri="{FF2B5EF4-FFF2-40B4-BE49-F238E27FC236}">
                <a16:creationId xmlns:a16="http://schemas.microsoft.com/office/drawing/2014/main" id="{453BC7B1-19F1-426C-AB4B-F238B40EE5A8}"/>
              </a:ext>
            </a:extLst>
          </p:cNvPr>
          <p:cNvGrpSpPr/>
          <p:nvPr/>
        </p:nvGrpSpPr>
        <p:grpSpPr>
          <a:xfrm>
            <a:off x="3774114" y="2572119"/>
            <a:ext cx="221664" cy="336626"/>
            <a:chOff x="3774114" y="2572119"/>
            <a:chExt cx="221664" cy="336626"/>
          </a:xfrm>
          <a:noFill/>
        </p:grpSpPr>
        <p:sp>
          <p:nvSpPr>
            <p:cNvPr id="216" name="Forma livre: Forma 215">
              <a:extLst>
                <a:ext uri="{FF2B5EF4-FFF2-40B4-BE49-F238E27FC236}">
                  <a16:creationId xmlns:a16="http://schemas.microsoft.com/office/drawing/2014/main" id="{E1398774-157F-822F-858A-D48CBA8E3546}"/>
                </a:ext>
              </a:extLst>
            </p:cNvPr>
            <p:cNvSpPr/>
            <p:nvPr/>
          </p:nvSpPr>
          <p:spPr>
            <a:xfrm>
              <a:off x="3949423" y="2595895"/>
              <a:ext cx="46356" cy="73267"/>
            </a:xfrm>
            <a:custGeom>
              <a:avLst/>
              <a:gdLst>
                <a:gd name="connsiteX0" fmla="*/ 0 w 46356"/>
                <a:gd name="connsiteY0" fmla="*/ 19983 h 73267"/>
                <a:gd name="connsiteX1" fmla="*/ 20785 w 46356"/>
                <a:gd name="connsiteY1" fmla="*/ 0 h 73267"/>
                <a:gd name="connsiteX2" fmla="*/ 25595 w 46356"/>
                <a:gd name="connsiteY2" fmla="*/ 0 h 73267"/>
                <a:gd name="connsiteX3" fmla="*/ 46356 w 46356"/>
                <a:gd name="connsiteY3" fmla="*/ 19983 h 73267"/>
                <a:gd name="connsiteX4" fmla="*/ 46356 w 46356"/>
                <a:gd name="connsiteY4" fmla="*/ 53285 h 73267"/>
                <a:gd name="connsiteX5" fmla="*/ 25595 w 46356"/>
                <a:gd name="connsiteY5" fmla="*/ 73268 h 73267"/>
                <a:gd name="connsiteX6" fmla="*/ 20785 w 46356"/>
                <a:gd name="connsiteY6" fmla="*/ 73268 h 73267"/>
                <a:gd name="connsiteX7" fmla="*/ 0 w 46356"/>
                <a:gd name="connsiteY7" fmla="*/ 53285 h 73267"/>
                <a:gd name="connsiteX8" fmla="*/ 0 w 46356"/>
                <a:gd name="connsiteY8" fmla="*/ 19983 h 732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6356" h="73267">
                  <a:moveTo>
                    <a:pt x="0" y="19983"/>
                  </a:moveTo>
                  <a:cubicBezTo>
                    <a:pt x="0" y="8986"/>
                    <a:pt x="9345" y="0"/>
                    <a:pt x="20785" y="0"/>
                  </a:cubicBezTo>
                  <a:lnTo>
                    <a:pt x="25595" y="0"/>
                  </a:lnTo>
                  <a:cubicBezTo>
                    <a:pt x="37011" y="0"/>
                    <a:pt x="46356" y="8998"/>
                    <a:pt x="46356" y="19983"/>
                  </a:cubicBezTo>
                  <a:lnTo>
                    <a:pt x="46356" y="53285"/>
                  </a:lnTo>
                  <a:cubicBezTo>
                    <a:pt x="46356" y="64269"/>
                    <a:pt x="37011" y="73268"/>
                    <a:pt x="25595" y="73268"/>
                  </a:cubicBezTo>
                  <a:lnTo>
                    <a:pt x="20785" y="73268"/>
                  </a:lnTo>
                  <a:cubicBezTo>
                    <a:pt x="9357" y="73268"/>
                    <a:pt x="0" y="64269"/>
                    <a:pt x="0" y="53285"/>
                  </a:cubicBezTo>
                  <a:lnTo>
                    <a:pt x="0" y="19983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7" name="Forma livre: Forma 216">
              <a:extLst>
                <a:ext uri="{FF2B5EF4-FFF2-40B4-BE49-F238E27FC236}">
                  <a16:creationId xmlns:a16="http://schemas.microsoft.com/office/drawing/2014/main" id="{BFD483CB-785D-3200-354A-C065EC69C394}"/>
                </a:ext>
              </a:extLst>
            </p:cNvPr>
            <p:cNvSpPr/>
            <p:nvPr/>
          </p:nvSpPr>
          <p:spPr>
            <a:xfrm>
              <a:off x="3903079" y="2583534"/>
              <a:ext cx="46344" cy="85640"/>
            </a:xfrm>
            <a:custGeom>
              <a:avLst/>
              <a:gdLst>
                <a:gd name="connsiteX0" fmla="*/ 0 w 46344"/>
                <a:gd name="connsiteY0" fmla="*/ 19983 h 85640"/>
                <a:gd name="connsiteX1" fmla="*/ 20773 w 46344"/>
                <a:gd name="connsiteY1" fmla="*/ 0 h 85640"/>
                <a:gd name="connsiteX2" fmla="*/ 25583 w 46344"/>
                <a:gd name="connsiteY2" fmla="*/ 0 h 85640"/>
                <a:gd name="connsiteX3" fmla="*/ 46344 w 46344"/>
                <a:gd name="connsiteY3" fmla="*/ 19983 h 85640"/>
                <a:gd name="connsiteX4" fmla="*/ 46344 w 46344"/>
                <a:gd name="connsiteY4" fmla="*/ 65657 h 85640"/>
                <a:gd name="connsiteX5" fmla="*/ 25583 w 46344"/>
                <a:gd name="connsiteY5" fmla="*/ 85640 h 85640"/>
                <a:gd name="connsiteX6" fmla="*/ 20773 w 46344"/>
                <a:gd name="connsiteY6" fmla="*/ 85640 h 85640"/>
                <a:gd name="connsiteX7" fmla="*/ 0 w 46344"/>
                <a:gd name="connsiteY7" fmla="*/ 65657 h 85640"/>
                <a:gd name="connsiteX8" fmla="*/ 0 w 46344"/>
                <a:gd name="connsiteY8" fmla="*/ 19983 h 856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6344" h="85640">
                  <a:moveTo>
                    <a:pt x="0" y="19983"/>
                  </a:moveTo>
                  <a:cubicBezTo>
                    <a:pt x="0" y="8998"/>
                    <a:pt x="9357" y="0"/>
                    <a:pt x="20773" y="0"/>
                  </a:cubicBezTo>
                  <a:lnTo>
                    <a:pt x="25583" y="0"/>
                  </a:lnTo>
                  <a:cubicBezTo>
                    <a:pt x="36999" y="0"/>
                    <a:pt x="46344" y="8986"/>
                    <a:pt x="46344" y="19983"/>
                  </a:cubicBezTo>
                  <a:lnTo>
                    <a:pt x="46344" y="65657"/>
                  </a:lnTo>
                  <a:cubicBezTo>
                    <a:pt x="46344" y="76642"/>
                    <a:pt x="36987" y="85640"/>
                    <a:pt x="25583" y="85640"/>
                  </a:cubicBezTo>
                  <a:lnTo>
                    <a:pt x="20773" y="85640"/>
                  </a:lnTo>
                  <a:cubicBezTo>
                    <a:pt x="9345" y="85640"/>
                    <a:pt x="0" y="76642"/>
                    <a:pt x="0" y="65657"/>
                  </a:cubicBezTo>
                  <a:lnTo>
                    <a:pt x="0" y="19983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8" name="Forma livre: Forma 217">
              <a:extLst>
                <a:ext uri="{FF2B5EF4-FFF2-40B4-BE49-F238E27FC236}">
                  <a16:creationId xmlns:a16="http://schemas.microsoft.com/office/drawing/2014/main" id="{3350A8D4-5B45-A262-C8C8-2B498091780C}"/>
                </a:ext>
              </a:extLst>
            </p:cNvPr>
            <p:cNvSpPr/>
            <p:nvPr/>
          </p:nvSpPr>
          <p:spPr>
            <a:xfrm>
              <a:off x="3856735" y="2572119"/>
              <a:ext cx="46344" cy="83402"/>
            </a:xfrm>
            <a:custGeom>
              <a:avLst/>
              <a:gdLst>
                <a:gd name="connsiteX0" fmla="*/ 0 w 46344"/>
                <a:gd name="connsiteY0" fmla="*/ 83403 h 83402"/>
                <a:gd name="connsiteX1" fmla="*/ 0 w 46344"/>
                <a:gd name="connsiteY1" fmla="*/ 19983 h 83402"/>
                <a:gd name="connsiteX2" fmla="*/ 20773 w 46344"/>
                <a:gd name="connsiteY2" fmla="*/ 0 h 83402"/>
                <a:gd name="connsiteX3" fmla="*/ 25571 w 46344"/>
                <a:gd name="connsiteY3" fmla="*/ 0 h 83402"/>
                <a:gd name="connsiteX4" fmla="*/ 46344 w 46344"/>
                <a:gd name="connsiteY4" fmla="*/ 19983 h 83402"/>
                <a:gd name="connsiteX5" fmla="*/ 46344 w 46344"/>
                <a:gd name="connsiteY5" fmla="*/ 77061 h 834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6344" h="83402">
                  <a:moveTo>
                    <a:pt x="0" y="83403"/>
                  </a:moveTo>
                  <a:lnTo>
                    <a:pt x="0" y="19983"/>
                  </a:lnTo>
                  <a:cubicBezTo>
                    <a:pt x="0" y="8998"/>
                    <a:pt x="9334" y="0"/>
                    <a:pt x="20773" y="0"/>
                  </a:cubicBezTo>
                  <a:lnTo>
                    <a:pt x="25571" y="0"/>
                  </a:lnTo>
                  <a:cubicBezTo>
                    <a:pt x="36999" y="0"/>
                    <a:pt x="46344" y="8998"/>
                    <a:pt x="46344" y="19983"/>
                  </a:cubicBezTo>
                  <a:lnTo>
                    <a:pt x="46344" y="77061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9" name="Forma livre: Forma 218">
              <a:extLst>
                <a:ext uri="{FF2B5EF4-FFF2-40B4-BE49-F238E27FC236}">
                  <a16:creationId xmlns:a16="http://schemas.microsoft.com/office/drawing/2014/main" id="{8EDA412F-E46F-34E4-F663-45A17C38E83E}"/>
                </a:ext>
              </a:extLst>
            </p:cNvPr>
            <p:cNvSpPr/>
            <p:nvPr/>
          </p:nvSpPr>
          <p:spPr>
            <a:xfrm>
              <a:off x="3838140" y="2697737"/>
              <a:ext cx="58884" cy="41354"/>
            </a:xfrm>
            <a:custGeom>
              <a:avLst/>
              <a:gdLst>
                <a:gd name="connsiteX0" fmla="*/ 58885 w 58884"/>
                <a:gd name="connsiteY0" fmla="*/ 41354 h 41354"/>
                <a:gd name="connsiteX1" fmla="*/ 0 w 58884"/>
                <a:gd name="connsiteY1" fmla="*/ 0 h 413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8884" h="41354">
                  <a:moveTo>
                    <a:pt x="58885" y="41354"/>
                  </a:moveTo>
                  <a:cubicBezTo>
                    <a:pt x="58885" y="41354"/>
                    <a:pt x="44286" y="0"/>
                    <a:pt x="0" y="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20" name="Forma livre: Forma 219">
              <a:extLst>
                <a:ext uri="{FF2B5EF4-FFF2-40B4-BE49-F238E27FC236}">
                  <a16:creationId xmlns:a16="http://schemas.microsoft.com/office/drawing/2014/main" id="{313176C4-839E-CAB7-7489-DBB49EA10E6A}"/>
                </a:ext>
              </a:extLst>
            </p:cNvPr>
            <p:cNvSpPr/>
            <p:nvPr/>
          </p:nvSpPr>
          <p:spPr>
            <a:xfrm>
              <a:off x="3960587" y="2653092"/>
              <a:ext cx="35180" cy="255652"/>
            </a:xfrm>
            <a:custGeom>
              <a:avLst/>
              <a:gdLst>
                <a:gd name="connsiteX0" fmla="*/ 0 w 35180"/>
                <a:gd name="connsiteY0" fmla="*/ 255653 h 255652"/>
                <a:gd name="connsiteX1" fmla="*/ 0 w 35180"/>
                <a:gd name="connsiteY1" fmla="*/ 158477 h 255652"/>
                <a:gd name="connsiteX2" fmla="*/ 22975 w 35180"/>
                <a:gd name="connsiteY2" fmla="*/ 129675 h 255652"/>
                <a:gd name="connsiteX3" fmla="*/ 35180 w 35180"/>
                <a:gd name="connsiteY3" fmla="*/ 0 h 2556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5180" h="255652">
                  <a:moveTo>
                    <a:pt x="0" y="255653"/>
                  </a:moveTo>
                  <a:lnTo>
                    <a:pt x="0" y="158477"/>
                  </a:lnTo>
                  <a:cubicBezTo>
                    <a:pt x="0" y="158477"/>
                    <a:pt x="14886" y="150472"/>
                    <a:pt x="22975" y="129675"/>
                  </a:cubicBezTo>
                  <a:cubicBezTo>
                    <a:pt x="32380" y="105492"/>
                    <a:pt x="35180" y="56982"/>
                    <a:pt x="35180" y="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21" name="Forma livre: Forma 220">
              <a:extLst>
                <a:ext uri="{FF2B5EF4-FFF2-40B4-BE49-F238E27FC236}">
                  <a16:creationId xmlns:a16="http://schemas.microsoft.com/office/drawing/2014/main" id="{FBBB1A69-3F49-C06D-43E5-B08B203494ED}"/>
                </a:ext>
              </a:extLst>
            </p:cNvPr>
            <p:cNvSpPr/>
            <p:nvPr/>
          </p:nvSpPr>
          <p:spPr>
            <a:xfrm>
              <a:off x="3774114" y="2655294"/>
              <a:ext cx="125039" cy="253451"/>
            </a:xfrm>
            <a:custGeom>
              <a:avLst/>
              <a:gdLst>
                <a:gd name="connsiteX0" fmla="*/ 46100 w 125039"/>
                <a:gd name="connsiteY0" fmla="*/ 42372 h 253451"/>
                <a:gd name="connsiteX1" fmla="*/ 90972 w 125039"/>
                <a:gd name="connsiteY1" fmla="*/ 42372 h 253451"/>
                <a:gd name="connsiteX2" fmla="*/ 125040 w 125039"/>
                <a:gd name="connsiteY2" fmla="*/ 0 h 253451"/>
                <a:gd name="connsiteX3" fmla="*/ 28522 w 125039"/>
                <a:gd name="connsiteY3" fmla="*/ 0 h 253451"/>
                <a:gd name="connsiteX4" fmla="*/ 4195 w 125039"/>
                <a:gd name="connsiteY4" fmla="*/ 10470 h 253451"/>
                <a:gd name="connsiteX5" fmla="*/ 6660 w 125039"/>
                <a:gd name="connsiteY5" fmla="*/ 79047 h 253451"/>
                <a:gd name="connsiteX6" fmla="*/ 48421 w 125039"/>
                <a:gd name="connsiteY6" fmla="*/ 137956 h 253451"/>
                <a:gd name="connsiteX7" fmla="*/ 58162 w 125039"/>
                <a:gd name="connsiteY7" fmla="*/ 156994 h 253451"/>
                <a:gd name="connsiteX8" fmla="*/ 58162 w 125039"/>
                <a:gd name="connsiteY8" fmla="*/ 253451 h 2534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25039" h="253451">
                  <a:moveTo>
                    <a:pt x="46100" y="42372"/>
                  </a:moveTo>
                  <a:lnTo>
                    <a:pt x="90972" y="42372"/>
                  </a:lnTo>
                  <a:cubicBezTo>
                    <a:pt x="125028" y="42372"/>
                    <a:pt x="125040" y="0"/>
                    <a:pt x="125040" y="0"/>
                  </a:cubicBezTo>
                  <a:lnTo>
                    <a:pt x="28522" y="0"/>
                  </a:lnTo>
                  <a:cubicBezTo>
                    <a:pt x="10226" y="0"/>
                    <a:pt x="4195" y="10470"/>
                    <a:pt x="4195" y="10470"/>
                  </a:cubicBezTo>
                  <a:cubicBezTo>
                    <a:pt x="-6514" y="48522"/>
                    <a:pt x="6660" y="79047"/>
                    <a:pt x="6660" y="79047"/>
                  </a:cubicBezTo>
                  <a:cubicBezTo>
                    <a:pt x="10549" y="91420"/>
                    <a:pt x="48421" y="137956"/>
                    <a:pt x="48421" y="137956"/>
                  </a:cubicBezTo>
                  <a:cubicBezTo>
                    <a:pt x="56702" y="147481"/>
                    <a:pt x="58162" y="156994"/>
                    <a:pt x="58162" y="156994"/>
                  </a:cubicBezTo>
                  <a:lnTo>
                    <a:pt x="58162" y="253451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22" name="Forma livre: Forma 221">
              <a:extLst>
                <a:ext uri="{FF2B5EF4-FFF2-40B4-BE49-F238E27FC236}">
                  <a16:creationId xmlns:a16="http://schemas.microsoft.com/office/drawing/2014/main" id="{9DCA2770-5271-A99D-77C6-76F28FFABBD4}"/>
                </a:ext>
              </a:extLst>
            </p:cNvPr>
            <p:cNvSpPr/>
            <p:nvPr/>
          </p:nvSpPr>
          <p:spPr>
            <a:xfrm>
              <a:off x="3810366" y="2583749"/>
              <a:ext cx="46344" cy="52028"/>
            </a:xfrm>
            <a:custGeom>
              <a:avLst/>
              <a:gdLst>
                <a:gd name="connsiteX0" fmla="*/ 0 w 46344"/>
                <a:gd name="connsiteY0" fmla="*/ 52028 h 52028"/>
                <a:gd name="connsiteX1" fmla="*/ 0 w 46344"/>
                <a:gd name="connsiteY1" fmla="*/ 19971 h 52028"/>
                <a:gd name="connsiteX2" fmla="*/ 20773 w 46344"/>
                <a:gd name="connsiteY2" fmla="*/ 0 h 52028"/>
                <a:gd name="connsiteX3" fmla="*/ 25583 w 46344"/>
                <a:gd name="connsiteY3" fmla="*/ 0 h 52028"/>
                <a:gd name="connsiteX4" fmla="*/ 46344 w 46344"/>
                <a:gd name="connsiteY4" fmla="*/ 19971 h 520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6344" h="52028">
                  <a:moveTo>
                    <a:pt x="0" y="52028"/>
                  </a:moveTo>
                  <a:lnTo>
                    <a:pt x="0" y="19971"/>
                  </a:lnTo>
                  <a:cubicBezTo>
                    <a:pt x="0" y="8986"/>
                    <a:pt x="9357" y="0"/>
                    <a:pt x="20773" y="0"/>
                  </a:cubicBezTo>
                  <a:lnTo>
                    <a:pt x="25583" y="0"/>
                  </a:lnTo>
                  <a:cubicBezTo>
                    <a:pt x="36999" y="0"/>
                    <a:pt x="46344" y="8974"/>
                    <a:pt x="46344" y="19971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223" name="Gráfico 4">
            <a:extLst>
              <a:ext uri="{FF2B5EF4-FFF2-40B4-BE49-F238E27FC236}">
                <a16:creationId xmlns:a16="http://schemas.microsoft.com/office/drawing/2014/main" id="{3DAF3CD3-6421-5A3D-1525-B60C89D7BAA8}"/>
              </a:ext>
            </a:extLst>
          </p:cNvPr>
          <p:cNvGrpSpPr/>
          <p:nvPr/>
        </p:nvGrpSpPr>
        <p:grpSpPr>
          <a:xfrm>
            <a:off x="3710319" y="2080712"/>
            <a:ext cx="349262" cy="253283"/>
            <a:chOff x="3710319" y="2080712"/>
            <a:chExt cx="349262" cy="253283"/>
          </a:xfrm>
          <a:noFill/>
        </p:grpSpPr>
        <p:grpSp>
          <p:nvGrpSpPr>
            <p:cNvPr id="224" name="Gráfico 4">
              <a:extLst>
                <a:ext uri="{FF2B5EF4-FFF2-40B4-BE49-F238E27FC236}">
                  <a16:creationId xmlns:a16="http://schemas.microsoft.com/office/drawing/2014/main" id="{94BA7D42-F1A4-FB14-0F88-3A07757B8AC5}"/>
                </a:ext>
              </a:extLst>
            </p:cNvPr>
            <p:cNvGrpSpPr/>
            <p:nvPr/>
          </p:nvGrpSpPr>
          <p:grpSpPr>
            <a:xfrm>
              <a:off x="3775857" y="2080712"/>
              <a:ext cx="218163" cy="185400"/>
              <a:chOff x="3775857" y="2080712"/>
              <a:chExt cx="218163" cy="185400"/>
            </a:xfrm>
            <a:noFill/>
          </p:grpSpPr>
          <p:grpSp>
            <p:nvGrpSpPr>
              <p:cNvPr id="225" name="Gráfico 4">
                <a:extLst>
                  <a:ext uri="{FF2B5EF4-FFF2-40B4-BE49-F238E27FC236}">
                    <a16:creationId xmlns:a16="http://schemas.microsoft.com/office/drawing/2014/main" id="{9C8439F9-C75B-3874-6B36-109FCDBA52EB}"/>
                  </a:ext>
                </a:extLst>
              </p:cNvPr>
              <p:cNvGrpSpPr/>
              <p:nvPr/>
            </p:nvGrpSpPr>
            <p:grpSpPr>
              <a:xfrm>
                <a:off x="3801069" y="2080712"/>
                <a:ext cx="167751" cy="168516"/>
                <a:chOff x="3801069" y="2080712"/>
                <a:chExt cx="167751" cy="168516"/>
              </a:xfrm>
              <a:noFill/>
            </p:grpSpPr>
            <p:sp>
              <p:nvSpPr>
                <p:cNvPr id="226" name="Forma livre: Forma 225">
                  <a:extLst>
                    <a:ext uri="{FF2B5EF4-FFF2-40B4-BE49-F238E27FC236}">
                      <a16:creationId xmlns:a16="http://schemas.microsoft.com/office/drawing/2014/main" id="{54F97563-40A0-4694-812B-A785A5B6910C}"/>
                    </a:ext>
                  </a:extLst>
                </p:cNvPr>
                <p:cNvSpPr/>
                <p:nvPr/>
              </p:nvSpPr>
              <p:spPr>
                <a:xfrm>
                  <a:off x="3801069" y="2189758"/>
                  <a:ext cx="35897" cy="59470"/>
                </a:xfrm>
                <a:custGeom>
                  <a:avLst/>
                  <a:gdLst>
                    <a:gd name="connsiteX0" fmla="*/ 0 w 35897"/>
                    <a:gd name="connsiteY0" fmla="*/ 59471 h 59470"/>
                    <a:gd name="connsiteX1" fmla="*/ 0 w 35897"/>
                    <a:gd name="connsiteY1" fmla="*/ 0 h 59470"/>
                    <a:gd name="connsiteX2" fmla="*/ 35898 w 35897"/>
                    <a:gd name="connsiteY2" fmla="*/ 0 h 59470"/>
                    <a:gd name="connsiteX3" fmla="*/ 35898 w 35897"/>
                    <a:gd name="connsiteY3" fmla="*/ 59471 h 5947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35897" h="59470">
                      <a:moveTo>
                        <a:pt x="0" y="59471"/>
                      </a:moveTo>
                      <a:lnTo>
                        <a:pt x="0" y="0"/>
                      </a:lnTo>
                      <a:lnTo>
                        <a:pt x="35898" y="0"/>
                      </a:lnTo>
                      <a:lnTo>
                        <a:pt x="35898" y="59471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27" name="Forma livre: Forma 226">
                  <a:extLst>
                    <a:ext uri="{FF2B5EF4-FFF2-40B4-BE49-F238E27FC236}">
                      <a16:creationId xmlns:a16="http://schemas.microsoft.com/office/drawing/2014/main" id="{3D69B58D-1073-B454-A4CA-ED98F410EAB2}"/>
                    </a:ext>
                  </a:extLst>
                </p:cNvPr>
                <p:cNvSpPr/>
                <p:nvPr/>
              </p:nvSpPr>
              <p:spPr>
                <a:xfrm>
                  <a:off x="3867049" y="2147901"/>
                  <a:ext cx="35826" cy="101327"/>
                </a:xfrm>
                <a:custGeom>
                  <a:avLst/>
                  <a:gdLst>
                    <a:gd name="connsiteX0" fmla="*/ 0 w 35826"/>
                    <a:gd name="connsiteY0" fmla="*/ 101328 h 101327"/>
                    <a:gd name="connsiteX1" fmla="*/ 0 w 35826"/>
                    <a:gd name="connsiteY1" fmla="*/ 0 h 101327"/>
                    <a:gd name="connsiteX2" fmla="*/ 35826 w 35826"/>
                    <a:gd name="connsiteY2" fmla="*/ 0 h 101327"/>
                    <a:gd name="connsiteX3" fmla="*/ 35826 w 35826"/>
                    <a:gd name="connsiteY3" fmla="*/ 101328 h 10132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35826" h="101327">
                      <a:moveTo>
                        <a:pt x="0" y="101328"/>
                      </a:moveTo>
                      <a:lnTo>
                        <a:pt x="0" y="0"/>
                      </a:lnTo>
                      <a:lnTo>
                        <a:pt x="35826" y="0"/>
                      </a:lnTo>
                      <a:lnTo>
                        <a:pt x="35826" y="101328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28" name="Forma livre: Forma 227">
                  <a:extLst>
                    <a:ext uri="{FF2B5EF4-FFF2-40B4-BE49-F238E27FC236}">
                      <a16:creationId xmlns:a16="http://schemas.microsoft.com/office/drawing/2014/main" id="{D1256FDF-80BA-7E82-0AC8-2D7E5B9D0047}"/>
                    </a:ext>
                  </a:extLst>
                </p:cNvPr>
                <p:cNvSpPr/>
                <p:nvPr/>
              </p:nvSpPr>
              <p:spPr>
                <a:xfrm>
                  <a:off x="3932994" y="2080712"/>
                  <a:ext cx="35826" cy="168516"/>
                </a:xfrm>
                <a:custGeom>
                  <a:avLst/>
                  <a:gdLst>
                    <a:gd name="connsiteX0" fmla="*/ 0 w 35826"/>
                    <a:gd name="connsiteY0" fmla="*/ 168517 h 168516"/>
                    <a:gd name="connsiteX1" fmla="*/ 0 w 35826"/>
                    <a:gd name="connsiteY1" fmla="*/ 0 h 168516"/>
                    <a:gd name="connsiteX2" fmla="*/ 35826 w 35826"/>
                    <a:gd name="connsiteY2" fmla="*/ 0 h 168516"/>
                    <a:gd name="connsiteX3" fmla="*/ 35826 w 35826"/>
                    <a:gd name="connsiteY3" fmla="*/ 168517 h 16851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35826" h="168516">
                      <a:moveTo>
                        <a:pt x="0" y="168517"/>
                      </a:moveTo>
                      <a:lnTo>
                        <a:pt x="0" y="0"/>
                      </a:lnTo>
                      <a:lnTo>
                        <a:pt x="35826" y="0"/>
                      </a:lnTo>
                      <a:lnTo>
                        <a:pt x="35826" y="168517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229" name="Forma livre: Forma 228">
                <a:extLst>
                  <a:ext uri="{FF2B5EF4-FFF2-40B4-BE49-F238E27FC236}">
                    <a16:creationId xmlns:a16="http://schemas.microsoft.com/office/drawing/2014/main" id="{B72E5DF4-5D49-55A7-96CC-B2E283A47D37}"/>
                  </a:ext>
                </a:extLst>
              </p:cNvPr>
              <p:cNvSpPr/>
              <p:nvPr/>
            </p:nvSpPr>
            <p:spPr>
              <a:xfrm>
                <a:off x="3775857" y="2266113"/>
                <a:ext cx="218163" cy="1196"/>
              </a:xfrm>
              <a:custGeom>
                <a:avLst/>
                <a:gdLst>
                  <a:gd name="connsiteX0" fmla="*/ 218164 w 218163"/>
                  <a:gd name="connsiteY0" fmla="*/ 0 h 1196"/>
                  <a:gd name="connsiteX1" fmla="*/ 0 w 218163"/>
                  <a:gd name="connsiteY1" fmla="*/ 0 h 11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18163" h="1196">
                    <a:moveTo>
                      <a:pt x="218164" y="0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230" name="Gráfico 4">
              <a:extLst>
                <a:ext uri="{FF2B5EF4-FFF2-40B4-BE49-F238E27FC236}">
                  <a16:creationId xmlns:a16="http://schemas.microsoft.com/office/drawing/2014/main" id="{C3D08D7A-9675-1FEA-72F5-0BCF3D372997}"/>
                </a:ext>
              </a:extLst>
            </p:cNvPr>
            <p:cNvGrpSpPr/>
            <p:nvPr/>
          </p:nvGrpSpPr>
          <p:grpSpPr>
            <a:xfrm>
              <a:off x="3710319" y="2111069"/>
              <a:ext cx="349262" cy="222926"/>
              <a:chOff x="3710319" y="2111069"/>
              <a:chExt cx="349262" cy="222926"/>
            </a:xfrm>
            <a:noFill/>
          </p:grpSpPr>
          <p:grpSp>
            <p:nvGrpSpPr>
              <p:cNvPr id="231" name="Gráfico 4">
                <a:extLst>
                  <a:ext uri="{FF2B5EF4-FFF2-40B4-BE49-F238E27FC236}">
                    <a16:creationId xmlns:a16="http://schemas.microsoft.com/office/drawing/2014/main" id="{C7626BFD-25C7-D4EA-9D1C-E14B44367BFA}"/>
                  </a:ext>
                </a:extLst>
              </p:cNvPr>
              <p:cNvGrpSpPr/>
              <p:nvPr/>
            </p:nvGrpSpPr>
            <p:grpSpPr>
              <a:xfrm>
                <a:off x="3743465" y="2111069"/>
                <a:ext cx="282959" cy="173913"/>
                <a:chOff x="3743465" y="2111069"/>
                <a:chExt cx="282959" cy="173913"/>
              </a:xfrm>
              <a:noFill/>
            </p:grpSpPr>
            <p:sp>
              <p:nvSpPr>
                <p:cNvPr id="232" name="Forma livre: Forma 231">
                  <a:extLst>
                    <a:ext uri="{FF2B5EF4-FFF2-40B4-BE49-F238E27FC236}">
                      <a16:creationId xmlns:a16="http://schemas.microsoft.com/office/drawing/2014/main" id="{426635E7-266E-196C-5F56-60A7AE72A4E4}"/>
                    </a:ext>
                  </a:extLst>
                </p:cNvPr>
                <p:cNvSpPr/>
                <p:nvPr/>
              </p:nvSpPr>
              <p:spPr>
                <a:xfrm>
                  <a:off x="3990742" y="2111069"/>
                  <a:ext cx="35682" cy="173913"/>
                </a:xfrm>
                <a:custGeom>
                  <a:avLst/>
                  <a:gdLst>
                    <a:gd name="connsiteX0" fmla="*/ 0 w 35682"/>
                    <a:gd name="connsiteY0" fmla="*/ 0 h 173913"/>
                    <a:gd name="connsiteX1" fmla="*/ 15017 w 35682"/>
                    <a:gd name="connsiteY1" fmla="*/ 0 h 173913"/>
                    <a:gd name="connsiteX2" fmla="*/ 35683 w 35682"/>
                    <a:gd name="connsiteY2" fmla="*/ 20653 h 173913"/>
                    <a:gd name="connsiteX3" fmla="*/ 35683 w 35682"/>
                    <a:gd name="connsiteY3" fmla="*/ 173914 h 17391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35682" h="173913">
                      <a:moveTo>
                        <a:pt x="0" y="0"/>
                      </a:moveTo>
                      <a:lnTo>
                        <a:pt x="15017" y="0"/>
                      </a:lnTo>
                      <a:cubicBezTo>
                        <a:pt x="26385" y="0"/>
                        <a:pt x="35683" y="9298"/>
                        <a:pt x="35683" y="20653"/>
                      </a:cubicBezTo>
                      <a:lnTo>
                        <a:pt x="35683" y="173914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33" name="Forma livre: Forma 232">
                  <a:extLst>
                    <a:ext uri="{FF2B5EF4-FFF2-40B4-BE49-F238E27FC236}">
                      <a16:creationId xmlns:a16="http://schemas.microsoft.com/office/drawing/2014/main" id="{6900B710-A7BF-6A0F-CDBF-276D74954722}"/>
                    </a:ext>
                  </a:extLst>
                </p:cNvPr>
                <p:cNvSpPr/>
                <p:nvPr/>
              </p:nvSpPr>
              <p:spPr>
                <a:xfrm>
                  <a:off x="3743465" y="2111069"/>
                  <a:ext cx="168229" cy="173913"/>
                </a:xfrm>
                <a:custGeom>
                  <a:avLst/>
                  <a:gdLst>
                    <a:gd name="connsiteX0" fmla="*/ 0 w 168229"/>
                    <a:gd name="connsiteY0" fmla="*/ 173914 h 173913"/>
                    <a:gd name="connsiteX1" fmla="*/ 0 w 168229"/>
                    <a:gd name="connsiteY1" fmla="*/ 20653 h 173913"/>
                    <a:gd name="connsiteX2" fmla="*/ 20641 w 168229"/>
                    <a:gd name="connsiteY2" fmla="*/ 0 h 173913"/>
                    <a:gd name="connsiteX3" fmla="*/ 168230 w 168229"/>
                    <a:gd name="connsiteY3" fmla="*/ 0 h 17391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68229" h="173913">
                      <a:moveTo>
                        <a:pt x="0" y="173914"/>
                      </a:moveTo>
                      <a:lnTo>
                        <a:pt x="0" y="20653"/>
                      </a:lnTo>
                      <a:cubicBezTo>
                        <a:pt x="0" y="9298"/>
                        <a:pt x="9297" y="0"/>
                        <a:pt x="20641" y="0"/>
                      </a:cubicBezTo>
                      <a:lnTo>
                        <a:pt x="168230" y="0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234" name="Forma livre: Forma 233">
                <a:extLst>
                  <a:ext uri="{FF2B5EF4-FFF2-40B4-BE49-F238E27FC236}">
                    <a16:creationId xmlns:a16="http://schemas.microsoft.com/office/drawing/2014/main" id="{FCCB542A-BA62-64C9-8935-F204D2FF5721}"/>
                  </a:ext>
                </a:extLst>
              </p:cNvPr>
              <p:cNvSpPr/>
              <p:nvPr/>
            </p:nvSpPr>
            <p:spPr>
              <a:xfrm>
                <a:off x="3710319" y="2306665"/>
                <a:ext cx="349262" cy="27330"/>
              </a:xfrm>
              <a:custGeom>
                <a:avLst/>
                <a:gdLst>
                  <a:gd name="connsiteX0" fmla="*/ 205659 w 349262"/>
                  <a:gd name="connsiteY0" fmla="*/ 0 h 27330"/>
                  <a:gd name="connsiteX1" fmla="*/ 200693 w 349262"/>
                  <a:gd name="connsiteY1" fmla="*/ 5744 h 27330"/>
                  <a:gd name="connsiteX2" fmla="*/ 148546 w 349262"/>
                  <a:gd name="connsiteY2" fmla="*/ 5744 h 27330"/>
                  <a:gd name="connsiteX3" fmla="*/ 143604 w 349262"/>
                  <a:gd name="connsiteY3" fmla="*/ 0 h 27330"/>
                  <a:gd name="connsiteX4" fmla="*/ 0 w 349262"/>
                  <a:gd name="connsiteY4" fmla="*/ 0 h 27330"/>
                  <a:gd name="connsiteX5" fmla="*/ 26014 w 349262"/>
                  <a:gd name="connsiteY5" fmla="*/ 27330 h 27330"/>
                  <a:gd name="connsiteX6" fmla="*/ 323261 w 349262"/>
                  <a:gd name="connsiteY6" fmla="*/ 27330 h 27330"/>
                  <a:gd name="connsiteX7" fmla="*/ 349263 w 349262"/>
                  <a:gd name="connsiteY7" fmla="*/ 0 h 27330"/>
                  <a:gd name="connsiteX8" fmla="*/ 205659 w 349262"/>
                  <a:gd name="connsiteY8" fmla="*/ 0 h 273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49262" h="27330">
                    <a:moveTo>
                      <a:pt x="205659" y="0"/>
                    </a:moveTo>
                    <a:lnTo>
                      <a:pt x="200693" y="5744"/>
                    </a:lnTo>
                    <a:lnTo>
                      <a:pt x="148546" y="5744"/>
                    </a:lnTo>
                    <a:lnTo>
                      <a:pt x="143604" y="0"/>
                    </a:lnTo>
                    <a:lnTo>
                      <a:pt x="0" y="0"/>
                    </a:lnTo>
                    <a:cubicBezTo>
                      <a:pt x="0" y="0"/>
                      <a:pt x="6019" y="27330"/>
                      <a:pt x="26014" y="27330"/>
                    </a:cubicBezTo>
                    <a:lnTo>
                      <a:pt x="323261" y="27330"/>
                    </a:lnTo>
                    <a:cubicBezTo>
                      <a:pt x="343244" y="27330"/>
                      <a:pt x="349263" y="0"/>
                      <a:pt x="349263" y="0"/>
                    </a:cubicBezTo>
                    <a:lnTo>
                      <a:pt x="205659" y="0"/>
                    </a:ln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235" name="Gráfico 4">
            <a:extLst>
              <a:ext uri="{FF2B5EF4-FFF2-40B4-BE49-F238E27FC236}">
                <a16:creationId xmlns:a16="http://schemas.microsoft.com/office/drawing/2014/main" id="{181B365D-211A-1781-493F-F531EBFD2109}"/>
              </a:ext>
            </a:extLst>
          </p:cNvPr>
          <p:cNvGrpSpPr/>
          <p:nvPr/>
        </p:nvGrpSpPr>
        <p:grpSpPr>
          <a:xfrm>
            <a:off x="3740354" y="3101134"/>
            <a:ext cx="289181" cy="344739"/>
            <a:chOff x="3740354" y="3101134"/>
            <a:chExt cx="289181" cy="344739"/>
          </a:xfrm>
          <a:noFill/>
        </p:grpSpPr>
        <p:sp>
          <p:nvSpPr>
            <p:cNvPr id="236" name="Forma livre: Forma 235">
              <a:extLst>
                <a:ext uri="{FF2B5EF4-FFF2-40B4-BE49-F238E27FC236}">
                  <a16:creationId xmlns:a16="http://schemas.microsoft.com/office/drawing/2014/main" id="{A072102C-CB7B-3E55-AA77-5B60D7EA6FA2}"/>
                </a:ext>
              </a:extLst>
            </p:cNvPr>
            <p:cNvSpPr/>
            <p:nvPr/>
          </p:nvSpPr>
          <p:spPr>
            <a:xfrm>
              <a:off x="3853396" y="3393379"/>
              <a:ext cx="63096" cy="52494"/>
            </a:xfrm>
            <a:custGeom>
              <a:avLst/>
              <a:gdLst>
                <a:gd name="connsiteX0" fmla="*/ 26421 w 63096"/>
                <a:gd name="connsiteY0" fmla="*/ 52495 h 52494"/>
                <a:gd name="connsiteX1" fmla="*/ 63097 w 63096"/>
                <a:gd name="connsiteY1" fmla="*/ 52495 h 52494"/>
                <a:gd name="connsiteX2" fmla="*/ 31542 w 63096"/>
                <a:gd name="connsiteY2" fmla="*/ 0 h 52494"/>
                <a:gd name="connsiteX3" fmla="*/ 0 w 63096"/>
                <a:gd name="connsiteY3" fmla="*/ 52495 h 524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3096" h="52494">
                  <a:moveTo>
                    <a:pt x="26421" y="52495"/>
                  </a:moveTo>
                  <a:lnTo>
                    <a:pt x="63097" y="52495"/>
                  </a:lnTo>
                  <a:lnTo>
                    <a:pt x="31542" y="0"/>
                  </a:lnTo>
                  <a:lnTo>
                    <a:pt x="0" y="52495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37" name="Forma livre: Forma 236">
              <a:extLst>
                <a:ext uri="{FF2B5EF4-FFF2-40B4-BE49-F238E27FC236}">
                  <a16:creationId xmlns:a16="http://schemas.microsoft.com/office/drawing/2014/main" id="{B830C797-EE44-4A76-6541-34EAEA5FBC58}"/>
                </a:ext>
              </a:extLst>
            </p:cNvPr>
            <p:cNvSpPr/>
            <p:nvPr/>
          </p:nvSpPr>
          <p:spPr>
            <a:xfrm>
              <a:off x="3740354" y="3351821"/>
              <a:ext cx="289181" cy="69031"/>
            </a:xfrm>
            <a:custGeom>
              <a:avLst/>
              <a:gdLst>
                <a:gd name="connsiteX0" fmla="*/ 0 w 289181"/>
                <a:gd name="connsiteY0" fmla="*/ 69032 h 69031"/>
                <a:gd name="connsiteX1" fmla="*/ 289182 w 289181"/>
                <a:gd name="connsiteY1" fmla="*/ 0 h 690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89181" h="69031">
                  <a:moveTo>
                    <a:pt x="0" y="69032"/>
                  </a:moveTo>
                  <a:lnTo>
                    <a:pt x="289182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238" name="Gráfico 4">
              <a:extLst>
                <a:ext uri="{FF2B5EF4-FFF2-40B4-BE49-F238E27FC236}">
                  <a16:creationId xmlns:a16="http://schemas.microsoft.com/office/drawing/2014/main" id="{C9485840-D8E9-C38A-54C1-2C6ACF7E3B8E}"/>
                </a:ext>
              </a:extLst>
            </p:cNvPr>
            <p:cNvGrpSpPr/>
            <p:nvPr/>
          </p:nvGrpSpPr>
          <p:grpSpPr>
            <a:xfrm>
              <a:off x="3750285" y="3101134"/>
              <a:ext cx="269318" cy="311438"/>
              <a:chOff x="3750285" y="3101134"/>
              <a:chExt cx="269318" cy="311438"/>
            </a:xfrm>
            <a:noFill/>
          </p:grpSpPr>
          <p:grpSp>
            <p:nvGrpSpPr>
              <p:cNvPr id="239" name="Gráfico 4">
                <a:extLst>
                  <a:ext uri="{FF2B5EF4-FFF2-40B4-BE49-F238E27FC236}">
                    <a16:creationId xmlns:a16="http://schemas.microsoft.com/office/drawing/2014/main" id="{9BA23DEA-D1E5-6FEB-9D8F-55A0F120A136}"/>
                  </a:ext>
                </a:extLst>
              </p:cNvPr>
              <p:cNvGrpSpPr/>
              <p:nvPr/>
            </p:nvGrpSpPr>
            <p:grpSpPr>
              <a:xfrm>
                <a:off x="3915523" y="3101134"/>
                <a:ext cx="104080" cy="272501"/>
                <a:chOff x="3915523" y="3101134"/>
                <a:chExt cx="104080" cy="272501"/>
              </a:xfrm>
              <a:noFill/>
            </p:grpSpPr>
            <p:sp>
              <p:nvSpPr>
                <p:cNvPr id="240" name="Forma livre: Forma 239">
                  <a:extLst>
                    <a:ext uri="{FF2B5EF4-FFF2-40B4-BE49-F238E27FC236}">
                      <a16:creationId xmlns:a16="http://schemas.microsoft.com/office/drawing/2014/main" id="{12809AA7-6722-3C40-19F5-31DC8FC52C5F}"/>
                    </a:ext>
                  </a:extLst>
                </p:cNvPr>
                <p:cNvSpPr/>
                <p:nvPr/>
              </p:nvSpPr>
              <p:spPr>
                <a:xfrm>
                  <a:off x="3944816" y="3101134"/>
                  <a:ext cx="45470" cy="45470"/>
                </a:xfrm>
                <a:custGeom>
                  <a:avLst/>
                  <a:gdLst>
                    <a:gd name="connsiteX0" fmla="*/ 45471 w 45470"/>
                    <a:gd name="connsiteY0" fmla="*/ 22735 h 45470"/>
                    <a:gd name="connsiteX1" fmla="*/ 22747 w 45470"/>
                    <a:gd name="connsiteY1" fmla="*/ 45471 h 45470"/>
                    <a:gd name="connsiteX2" fmla="*/ 0 w 45470"/>
                    <a:gd name="connsiteY2" fmla="*/ 22735 h 45470"/>
                    <a:gd name="connsiteX3" fmla="*/ 22747 w 45470"/>
                    <a:gd name="connsiteY3" fmla="*/ 0 h 45470"/>
                    <a:gd name="connsiteX4" fmla="*/ 45471 w 45470"/>
                    <a:gd name="connsiteY4" fmla="*/ 22735 h 4547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45470" h="45470">
                      <a:moveTo>
                        <a:pt x="45471" y="22735"/>
                      </a:moveTo>
                      <a:cubicBezTo>
                        <a:pt x="45471" y="35288"/>
                        <a:pt x="35300" y="45471"/>
                        <a:pt x="22747" y="45471"/>
                      </a:cubicBezTo>
                      <a:cubicBezTo>
                        <a:pt x="10195" y="45471"/>
                        <a:pt x="0" y="35288"/>
                        <a:pt x="0" y="22735"/>
                      </a:cubicBezTo>
                      <a:cubicBezTo>
                        <a:pt x="0" y="10183"/>
                        <a:pt x="10183" y="0"/>
                        <a:pt x="22747" y="0"/>
                      </a:cubicBezTo>
                      <a:cubicBezTo>
                        <a:pt x="35312" y="0"/>
                        <a:pt x="45471" y="10171"/>
                        <a:pt x="45471" y="22735"/>
                      </a:cubicBezTo>
                      <a:close/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41" name="Forma livre: Forma 240">
                  <a:extLst>
                    <a:ext uri="{FF2B5EF4-FFF2-40B4-BE49-F238E27FC236}">
                      <a16:creationId xmlns:a16="http://schemas.microsoft.com/office/drawing/2014/main" id="{99F5A46A-434A-0679-0797-C36B28660E97}"/>
                    </a:ext>
                  </a:extLst>
                </p:cNvPr>
                <p:cNvSpPr/>
                <p:nvPr/>
              </p:nvSpPr>
              <p:spPr>
                <a:xfrm>
                  <a:off x="3915523" y="3169137"/>
                  <a:ext cx="104080" cy="108567"/>
                </a:xfrm>
                <a:custGeom>
                  <a:avLst/>
                  <a:gdLst>
                    <a:gd name="connsiteX0" fmla="*/ 22317 w 104080"/>
                    <a:gd name="connsiteY0" fmla="*/ 108567 h 108567"/>
                    <a:gd name="connsiteX1" fmla="*/ 0 w 104080"/>
                    <a:gd name="connsiteY1" fmla="*/ 78377 h 108567"/>
                    <a:gd name="connsiteX2" fmla="*/ 0 w 104080"/>
                    <a:gd name="connsiteY2" fmla="*/ 30178 h 108567"/>
                    <a:gd name="connsiteX3" fmla="*/ 30178 w 104080"/>
                    <a:gd name="connsiteY3" fmla="*/ 0 h 108567"/>
                    <a:gd name="connsiteX4" fmla="*/ 73890 w 104080"/>
                    <a:gd name="connsiteY4" fmla="*/ 0 h 108567"/>
                    <a:gd name="connsiteX5" fmla="*/ 104080 w 104080"/>
                    <a:gd name="connsiteY5" fmla="*/ 30178 h 108567"/>
                    <a:gd name="connsiteX6" fmla="*/ 104080 w 104080"/>
                    <a:gd name="connsiteY6" fmla="*/ 78377 h 108567"/>
                    <a:gd name="connsiteX7" fmla="*/ 81752 w 104080"/>
                    <a:gd name="connsiteY7" fmla="*/ 108567 h 10856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04080" h="108567">
                      <a:moveTo>
                        <a:pt x="22317" y="108567"/>
                      </a:moveTo>
                      <a:cubicBezTo>
                        <a:pt x="5720" y="108567"/>
                        <a:pt x="0" y="94974"/>
                        <a:pt x="0" y="78377"/>
                      </a:cubicBezTo>
                      <a:lnTo>
                        <a:pt x="0" y="30178"/>
                      </a:lnTo>
                      <a:cubicBezTo>
                        <a:pt x="0" y="13581"/>
                        <a:pt x="13581" y="0"/>
                        <a:pt x="30178" y="0"/>
                      </a:cubicBezTo>
                      <a:lnTo>
                        <a:pt x="73890" y="0"/>
                      </a:lnTo>
                      <a:cubicBezTo>
                        <a:pt x="90499" y="0"/>
                        <a:pt x="104080" y="13581"/>
                        <a:pt x="104080" y="30178"/>
                      </a:cubicBezTo>
                      <a:lnTo>
                        <a:pt x="104080" y="78377"/>
                      </a:lnTo>
                      <a:cubicBezTo>
                        <a:pt x="104080" y="94974"/>
                        <a:pt x="98360" y="108567"/>
                        <a:pt x="81752" y="108567"/>
                      </a:cubicBez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grpSp>
              <p:nvGrpSpPr>
                <p:cNvPr id="242" name="Gráfico 4">
                  <a:extLst>
                    <a:ext uri="{FF2B5EF4-FFF2-40B4-BE49-F238E27FC236}">
                      <a16:creationId xmlns:a16="http://schemas.microsoft.com/office/drawing/2014/main" id="{D9252E76-347D-F4CC-CE54-2825F44C793A}"/>
                    </a:ext>
                  </a:extLst>
                </p:cNvPr>
                <p:cNvGrpSpPr/>
                <p:nvPr/>
              </p:nvGrpSpPr>
              <p:grpSpPr>
                <a:xfrm>
                  <a:off x="3937577" y="3208457"/>
                  <a:ext cx="59973" cy="165178"/>
                  <a:chOff x="3937577" y="3208457"/>
                  <a:chExt cx="59973" cy="165178"/>
                </a:xfrm>
              </p:grpSpPr>
              <p:sp>
                <p:nvSpPr>
                  <p:cNvPr id="243" name="Forma livre: Forma 242">
                    <a:extLst>
                      <a:ext uri="{FF2B5EF4-FFF2-40B4-BE49-F238E27FC236}">
                        <a16:creationId xmlns:a16="http://schemas.microsoft.com/office/drawing/2014/main" id="{CBFD095F-80DA-B398-6AD0-5649FC5084E5}"/>
                      </a:ext>
                    </a:extLst>
                  </p:cNvPr>
                  <p:cNvSpPr/>
                  <p:nvPr/>
                </p:nvSpPr>
                <p:spPr>
                  <a:xfrm>
                    <a:off x="3997550" y="3208457"/>
                    <a:ext cx="1196" cy="151429"/>
                  </a:xfrm>
                  <a:custGeom>
                    <a:avLst/>
                    <a:gdLst>
                      <a:gd name="connsiteX0" fmla="*/ 0 w 1196"/>
                      <a:gd name="connsiteY0" fmla="*/ 0 h 151429"/>
                      <a:gd name="connsiteX1" fmla="*/ 0 w 1196"/>
                      <a:gd name="connsiteY1" fmla="*/ 151429 h 15142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196" h="151429">
                        <a:moveTo>
                          <a:pt x="0" y="0"/>
                        </a:moveTo>
                        <a:lnTo>
                          <a:pt x="0" y="151429"/>
                        </a:lnTo>
                      </a:path>
                    </a:pathLst>
                  </a:custGeom>
                  <a:ln w="6350" cap="flat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244" name="Forma livre: Forma 243">
                    <a:extLst>
                      <a:ext uri="{FF2B5EF4-FFF2-40B4-BE49-F238E27FC236}">
                        <a16:creationId xmlns:a16="http://schemas.microsoft.com/office/drawing/2014/main" id="{2E229F2C-BF11-DFCC-300F-E7C4325C21B5}"/>
                      </a:ext>
                    </a:extLst>
                  </p:cNvPr>
                  <p:cNvSpPr/>
                  <p:nvPr/>
                </p:nvSpPr>
                <p:spPr>
                  <a:xfrm>
                    <a:off x="3967564" y="3279020"/>
                    <a:ext cx="1196" cy="87626"/>
                  </a:xfrm>
                  <a:custGeom>
                    <a:avLst/>
                    <a:gdLst>
                      <a:gd name="connsiteX0" fmla="*/ 0 w 1196"/>
                      <a:gd name="connsiteY0" fmla="*/ 0 h 87626"/>
                      <a:gd name="connsiteX1" fmla="*/ 0 w 1196"/>
                      <a:gd name="connsiteY1" fmla="*/ 87627 h 8762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196" h="87626">
                        <a:moveTo>
                          <a:pt x="0" y="0"/>
                        </a:moveTo>
                        <a:lnTo>
                          <a:pt x="0" y="87627"/>
                        </a:lnTo>
                      </a:path>
                    </a:pathLst>
                  </a:custGeom>
                  <a:ln w="6350" cap="flat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245" name="Forma livre: Forma 244">
                    <a:extLst>
                      <a:ext uri="{FF2B5EF4-FFF2-40B4-BE49-F238E27FC236}">
                        <a16:creationId xmlns:a16="http://schemas.microsoft.com/office/drawing/2014/main" id="{68715FD3-4795-9237-71AA-2BA4B0536FBE}"/>
                      </a:ext>
                    </a:extLst>
                  </p:cNvPr>
                  <p:cNvSpPr/>
                  <p:nvPr/>
                </p:nvSpPr>
                <p:spPr>
                  <a:xfrm>
                    <a:off x="3937577" y="3208457"/>
                    <a:ext cx="1196" cy="165178"/>
                  </a:xfrm>
                  <a:custGeom>
                    <a:avLst/>
                    <a:gdLst>
                      <a:gd name="connsiteX0" fmla="*/ 0 w 1196"/>
                      <a:gd name="connsiteY0" fmla="*/ 0 h 165178"/>
                      <a:gd name="connsiteX1" fmla="*/ 0 w 1196"/>
                      <a:gd name="connsiteY1" fmla="*/ 165178 h 16517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196" h="165178">
                        <a:moveTo>
                          <a:pt x="0" y="0"/>
                        </a:moveTo>
                        <a:lnTo>
                          <a:pt x="0" y="165178"/>
                        </a:lnTo>
                      </a:path>
                    </a:pathLst>
                  </a:custGeom>
                  <a:ln w="6350" cap="flat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</p:grpSp>
          <p:grpSp>
            <p:nvGrpSpPr>
              <p:cNvPr id="246" name="Gráfico 4">
                <a:extLst>
                  <a:ext uri="{FF2B5EF4-FFF2-40B4-BE49-F238E27FC236}">
                    <a16:creationId xmlns:a16="http://schemas.microsoft.com/office/drawing/2014/main" id="{679043D1-89FE-0BD7-EA23-0C2006551EE4}"/>
                  </a:ext>
                </a:extLst>
              </p:cNvPr>
              <p:cNvGrpSpPr/>
              <p:nvPr/>
            </p:nvGrpSpPr>
            <p:grpSpPr>
              <a:xfrm>
                <a:off x="3750285" y="3140000"/>
                <a:ext cx="104092" cy="272572"/>
                <a:chOff x="3750285" y="3140000"/>
                <a:chExt cx="104092" cy="272572"/>
              </a:xfrm>
              <a:noFill/>
            </p:grpSpPr>
            <p:sp>
              <p:nvSpPr>
                <p:cNvPr id="247" name="Forma livre: Forma 246">
                  <a:extLst>
                    <a:ext uri="{FF2B5EF4-FFF2-40B4-BE49-F238E27FC236}">
                      <a16:creationId xmlns:a16="http://schemas.microsoft.com/office/drawing/2014/main" id="{E50C741A-C24D-4D4A-1A1C-C2D0F28C8083}"/>
                    </a:ext>
                  </a:extLst>
                </p:cNvPr>
                <p:cNvSpPr/>
                <p:nvPr/>
              </p:nvSpPr>
              <p:spPr>
                <a:xfrm>
                  <a:off x="3779578" y="3140000"/>
                  <a:ext cx="45470" cy="45470"/>
                </a:xfrm>
                <a:custGeom>
                  <a:avLst/>
                  <a:gdLst>
                    <a:gd name="connsiteX0" fmla="*/ 45471 w 45470"/>
                    <a:gd name="connsiteY0" fmla="*/ 22735 h 45470"/>
                    <a:gd name="connsiteX1" fmla="*/ 22747 w 45470"/>
                    <a:gd name="connsiteY1" fmla="*/ 45471 h 45470"/>
                    <a:gd name="connsiteX2" fmla="*/ 0 w 45470"/>
                    <a:gd name="connsiteY2" fmla="*/ 22735 h 45470"/>
                    <a:gd name="connsiteX3" fmla="*/ 22747 w 45470"/>
                    <a:gd name="connsiteY3" fmla="*/ 0 h 45470"/>
                    <a:gd name="connsiteX4" fmla="*/ 45471 w 45470"/>
                    <a:gd name="connsiteY4" fmla="*/ 22735 h 4547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45470" h="45470">
                      <a:moveTo>
                        <a:pt x="45471" y="22735"/>
                      </a:moveTo>
                      <a:cubicBezTo>
                        <a:pt x="45471" y="35288"/>
                        <a:pt x="35300" y="45471"/>
                        <a:pt x="22747" y="45471"/>
                      </a:cubicBezTo>
                      <a:cubicBezTo>
                        <a:pt x="10195" y="45471"/>
                        <a:pt x="0" y="35288"/>
                        <a:pt x="0" y="22735"/>
                      </a:cubicBezTo>
                      <a:cubicBezTo>
                        <a:pt x="0" y="10183"/>
                        <a:pt x="10183" y="0"/>
                        <a:pt x="22747" y="0"/>
                      </a:cubicBezTo>
                      <a:cubicBezTo>
                        <a:pt x="35312" y="0"/>
                        <a:pt x="45471" y="10183"/>
                        <a:pt x="45471" y="22735"/>
                      </a:cubicBezTo>
                      <a:close/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48" name="Forma livre: Forma 247">
                  <a:extLst>
                    <a:ext uri="{FF2B5EF4-FFF2-40B4-BE49-F238E27FC236}">
                      <a16:creationId xmlns:a16="http://schemas.microsoft.com/office/drawing/2014/main" id="{FD5D6B27-25C9-22E7-E925-4DCD32890A5A}"/>
                    </a:ext>
                  </a:extLst>
                </p:cNvPr>
                <p:cNvSpPr/>
                <p:nvPr/>
              </p:nvSpPr>
              <p:spPr>
                <a:xfrm>
                  <a:off x="3750285" y="3207991"/>
                  <a:ext cx="104092" cy="108567"/>
                </a:xfrm>
                <a:custGeom>
                  <a:avLst/>
                  <a:gdLst>
                    <a:gd name="connsiteX0" fmla="*/ 22317 w 104092"/>
                    <a:gd name="connsiteY0" fmla="*/ 108567 h 108567"/>
                    <a:gd name="connsiteX1" fmla="*/ 0 w 104092"/>
                    <a:gd name="connsiteY1" fmla="*/ 78377 h 108567"/>
                    <a:gd name="connsiteX2" fmla="*/ 0 w 104092"/>
                    <a:gd name="connsiteY2" fmla="*/ 30190 h 108567"/>
                    <a:gd name="connsiteX3" fmla="*/ 30178 w 104092"/>
                    <a:gd name="connsiteY3" fmla="*/ 0 h 108567"/>
                    <a:gd name="connsiteX4" fmla="*/ 73902 w 104092"/>
                    <a:gd name="connsiteY4" fmla="*/ 0 h 108567"/>
                    <a:gd name="connsiteX5" fmla="*/ 104092 w 104092"/>
                    <a:gd name="connsiteY5" fmla="*/ 30190 h 108567"/>
                    <a:gd name="connsiteX6" fmla="*/ 104092 w 104092"/>
                    <a:gd name="connsiteY6" fmla="*/ 78377 h 108567"/>
                    <a:gd name="connsiteX7" fmla="*/ 81763 w 104092"/>
                    <a:gd name="connsiteY7" fmla="*/ 108567 h 10856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04092" h="108567">
                      <a:moveTo>
                        <a:pt x="22317" y="108567"/>
                      </a:moveTo>
                      <a:cubicBezTo>
                        <a:pt x="5708" y="108567"/>
                        <a:pt x="0" y="94974"/>
                        <a:pt x="0" y="78377"/>
                      </a:cubicBezTo>
                      <a:lnTo>
                        <a:pt x="0" y="30190"/>
                      </a:lnTo>
                      <a:cubicBezTo>
                        <a:pt x="0" y="13581"/>
                        <a:pt x="13581" y="0"/>
                        <a:pt x="30178" y="0"/>
                      </a:cubicBezTo>
                      <a:lnTo>
                        <a:pt x="73902" y="0"/>
                      </a:lnTo>
                      <a:cubicBezTo>
                        <a:pt x="90511" y="0"/>
                        <a:pt x="104092" y="13581"/>
                        <a:pt x="104092" y="30190"/>
                      </a:cubicBezTo>
                      <a:lnTo>
                        <a:pt x="104092" y="78377"/>
                      </a:lnTo>
                      <a:cubicBezTo>
                        <a:pt x="104092" y="94986"/>
                        <a:pt x="98372" y="108567"/>
                        <a:pt x="81763" y="108567"/>
                      </a:cubicBez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grpSp>
              <p:nvGrpSpPr>
                <p:cNvPr id="249" name="Gráfico 4">
                  <a:extLst>
                    <a:ext uri="{FF2B5EF4-FFF2-40B4-BE49-F238E27FC236}">
                      <a16:creationId xmlns:a16="http://schemas.microsoft.com/office/drawing/2014/main" id="{6F7BED14-53DA-27D0-8F84-DBBB636780EC}"/>
                    </a:ext>
                  </a:extLst>
                </p:cNvPr>
                <p:cNvGrpSpPr/>
                <p:nvPr/>
              </p:nvGrpSpPr>
              <p:grpSpPr>
                <a:xfrm>
                  <a:off x="3772339" y="3247311"/>
                  <a:ext cx="59973" cy="165262"/>
                  <a:chOff x="3772339" y="3247311"/>
                  <a:chExt cx="59973" cy="165262"/>
                </a:xfrm>
              </p:grpSpPr>
              <p:sp>
                <p:nvSpPr>
                  <p:cNvPr id="250" name="Forma livre: Forma 249">
                    <a:extLst>
                      <a:ext uri="{FF2B5EF4-FFF2-40B4-BE49-F238E27FC236}">
                        <a16:creationId xmlns:a16="http://schemas.microsoft.com/office/drawing/2014/main" id="{B999159F-8AAC-FE58-F48B-3E26DA362944}"/>
                      </a:ext>
                    </a:extLst>
                  </p:cNvPr>
                  <p:cNvSpPr/>
                  <p:nvPr/>
                </p:nvSpPr>
                <p:spPr>
                  <a:xfrm>
                    <a:off x="3832312" y="3247311"/>
                    <a:ext cx="1196" cy="151501"/>
                  </a:xfrm>
                  <a:custGeom>
                    <a:avLst/>
                    <a:gdLst>
                      <a:gd name="connsiteX0" fmla="*/ 0 w 1196"/>
                      <a:gd name="connsiteY0" fmla="*/ 0 h 151501"/>
                      <a:gd name="connsiteX1" fmla="*/ 0 w 1196"/>
                      <a:gd name="connsiteY1" fmla="*/ 151501 h 15150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196" h="151501">
                        <a:moveTo>
                          <a:pt x="0" y="0"/>
                        </a:moveTo>
                        <a:lnTo>
                          <a:pt x="0" y="151501"/>
                        </a:lnTo>
                      </a:path>
                    </a:pathLst>
                  </a:custGeom>
                  <a:ln w="6350" cap="flat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251" name="Forma livre: Forma 250">
                    <a:extLst>
                      <a:ext uri="{FF2B5EF4-FFF2-40B4-BE49-F238E27FC236}">
                        <a16:creationId xmlns:a16="http://schemas.microsoft.com/office/drawing/2014/main" id="{3FEE8B6A-F852-F0D9-AE3C-76A7151AC45C}"/>
                      </a:ext>
                    </a:extLst>
                  </p:cNvPr>
                  <p:cNvSpPr/>
                  <p:nvPr/>
                </p:nvSpPr>
                <p:spPr>
                  <a:xfrm>
                    <a:off x="3802325" y="3317886"/>
                    <a:ext cx="1196" cy="87626"/>
                  </a:xfrm>
                  <a:custGeom>
                    <a:avLst/>
                    <a:gdLst>
                      <a:gd name="connsiteX0" fmla="*/ 0 w 1196"/>
                      <a:gd name="connsiteY0" fmla="*/ 0 h 87626"/>
                      <a:gd name="connsiteX1" fmla="*/ 0 w 1196"/>
                      <a:gd name="connsiteY1" fmla="*/ 87627 h 8762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196" h="87626">
                        <a:moveTo>
                          <a:pt x="0" y="0"/>
                        </a:moveTo>
                        <a:lnTo>
                          <a:pt x="0" y="87627"/>
                        </a:lnTo>
                      </a:path>
                    </a:pathLst>
                  </a:custGeom>
                  <a:ln w="6350" cap="flat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252" name="Forma livre: Forma 251">
                    <a:extLst>
                      <a:ext uri="{FF2B5EF4-FFF2-40B4-BE49-F238E27FC236}">
                        <a16:creationId xmlns:a16="http://schemas.microsoft.com/office/drawing/2014/main" id="{381D7917-79E1-A6EF-D919-DE87330BD1F4}"/>
                      </a:ext>
                    </a:extLst>
                  </p:cNvPr>
                  <p:cNvSpPr/>
                  <p:nvPr/>
                </p:nvSpPr>
                <p:spPr>
                  <a:xfrm>
                    <a:off x="3772339" y="3247311"/>
                    <a:ext cx="1196" cy="165262"/>
                  </a:xfrm>
                  <a:custGeom>
                    <a:avLst/>
                    <a:gdLst>
                      <a:gd name="connsiteX0" fmla="*/ 0 w 1196"/>
                      <a:gd name="connsiteY0" fmla="*/ 0 h 165262"/>
                      <a:gd name="connsiteX1" fmla="*/ 0 w 1196"/>
                      <a:gd name="connsiteY1" fmla="*/ 165262 h 16526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196" h="165262">
                        <a:moveTo>
                          <a:pt x="0" y="0"/>
                        </a:moveTo>
                        <a:lnTo>
                          <a:pt x="0" y="165262"/>
                        </a:lnTo>
                      </a:path>
                    </a:pathLst>
                  </a:custGeom>
                  <a:ln w="6350" cap="flat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</p:grpSp>
        </p:grpSp>
      </p:grpSp>
      <p:grpSp>
        <p:nvGrpSpPr>
          <p:cNvPr id="253" name="Gráfico 4">
            <a:extLst>
              <a:ext uri="{FF2B5EF4-FFF2-40B4-BE49-F238E27FC236}">
                <a16:creationId xmlns:a16="http://schemas.microsoft.com/office/drawing/2014/main" id="{9D3A0263-76B6-99E4-940C-46ADB9D7B657}"/>
              </a:ext>
            </a:extLst>
          </p:cNvPr>
          <p:cNvGrpSpPr/>
          <p:nvPr/>
        </p:nvGrpSpPr>
        <p:grpSpPr>
          <a:xfrm>
            <a:off x="3721531" y="987057"/>
            <a:ext cx="326826" cy="308255"/>
            <a:chOff x="3721531" y="987057"/>
            <a:chExt cx="326826" cy="308255"/>
          </a:xfrm>
          <a:noFill/>
        </p:grpSpPr>
        <p:sp>
          <p:nvSpPr>
            <p:cNvPr id="254" name="Forma livre: Forma 253">
              <a:extLst>
                <a:ext uri="{FF2B5EF4-FFF2-40B4-BE49-F238E27FC236}">
                  <a16:creationId xmlns:a16="http://schemas.microsoft.com/office/drawing/2014/main" id="{C98DCA9D-24D8-5A76-F3F2-A7F5781AC72A}"/>
                </a:ext>
              </a:extLst>
            </p:cNvPr>
            <p:cNvSpPr/>
            <p:nvPr/>
          </p:nvSpPr>
          <p:spPr>
            <a:xfrm>
              <a:off x="3871449" y="1138127"/>
              <a:ext cx="166569" cy="157185"/>
            </a:xfrm>
            <a:custGeom>
              <a:avLst/>
              <a:gdLst>
                <a:gd name="connsiteX0" fmla="*/ 89904 w 166569"/>
                <a:gd name="connsiteY0" fmla="*/ 157186 h 157185"/>
                <a:gd name="connsiteX1" fmla="*/ 10450 w 166569"/>
                <a:gd name="connsiteY1" fmla="*/ 134474 h 157185"/>
                <a:gd name="connsiteX2" fmla="*/ 578 w 166569"/>
                <a:gd name="connsiteY2" fmla="*/ 116490 h 157185"/>
                <a:gd name="connsiteX3" fmla="*/ 1200 w 166569"/>
                <a:gd name="connsiteY3" fmla="*/ 114348 h 157185"/>
                <a:gd name="connsiteX4" fmla="*/ 19173 w 166569"/>
                <a:gd name="connsiteY4" fmla="*/ 104464 h 157185"/>
                <a:gd name="connsiteX5" fmla="*/ 55203 w 166569"/>
                <a:gd name="connsiteY5" fmla="*/ 114695 h 157185"/>
                <a:gd name="connsiteX6" fmla="*/ 38390 w 166569"/>
                <a:gd name="connsiteY6" fmla="*/ 84481 h 157185"/>
                <a:gd name="connsiteX7" fmla="*/ 3677 w 166569"/>
                <a:gd name="connsiteY7" fmla="*/ 22138 h 157185"/>
                <a:gd name="connsiteX8" fmla="*/ 9301 w 166569"/>
                <a:gd name="connsiteY8" fmla="*/ 2406 h 157185"/>
                <a:gd name="connsiteX9" fmla="*/ 10354 w 166569"/>
                <a:gd name="connsiteY9" fmla="*/ 1820 h 157185"/>
                <a:gd name="connsiteX10" fmla="*/ 30098 w 166569"/>
                <a:gd name="connsiteY10" fmla="*/ 7432 h 157185"/>
                <a:gd name="connsiteX11" fmla="*/ 56603 w 166569"/>
                <a:gd name="connsiteY11" fmla="*/ 55044 h 157185"/>
                <a:gd name="connsiteX12" fmla="*/ 109684 w 166569"/>
                <a:gd name="connsiteY12" fmla="*/ 36018 h 157185"/>
                <a:gd name="connsiteX13" fmla="*/ 138857 w 166569"/>
                <a:gd name="connsiteY13" fmla="*/ 51143 h 157185"/>
                <a:gd name="connsiteX14" fmla="*/ 166570 w 166569"/>
                <a:gd name="connsiteY14" fmla="*/ 111835 h 1571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66569" h="157185">
                  <a:moveTo>
                    <a:pt x="89904" y="157186"/>
                  </a:moveTo>
                  <a:lnTo>
                    <a:pt x="10450" y="134474"/>
                  </a:lnTo>
                  <a:cubicBezTo>
                    <a:pt x="2804" y="132249"/>
                    <a:pt x="-1660" y="124160"/>
                    <a:pt x="578" y="116490"/>
                  </a:cubicBezTo>
                  <a:lnTo>
                    <a:pt x="1200" y="114348"/>
                  </a:lnTo>
                  <a:cubicBezTo>
                    <a:pt x="3426" y="106689"/>
                    <a:pt x="11515" y="102238"/>
                    <a:pt x="19173" y="104464"/>
                  </a:cubicBezTo>
                  <a:lnTo>
                    <a:pt x="55203" y="114695"/>
                  </a:lnTo>
                  <a:lnTo>
                    <a:pt x="38390" y="84481"/>
                  </a:lnTo>
                  <a:lnTo>
                    <a:pt x="3677" y="22138"/>
                  </a:lnTo>
                  <a:cubicBezTo>
                    <a:pt x="-200" y="15174"/>
                    <a:pt x="2337" y="6283"/>
                    <a:pt x="9301" y="2406"/>
                  </a:cubicBezTo>
                  <a:lnTo>
                    <a:pt x="10354" y="1820"/>
                  </a:lnTo>
                  <a:cubicBezTo>
                    <a:pt x="17330" y="-2057"/>
                    <a:pt x="26221" y="467"/>
                    <a:pt x="30098" y="7432"/>
                  </a:cubicBezTo>
                  <a:lnTo>
                    <a:pt x="56603" y="55044"/>
                  </a:lnTo>
                  <a:lnTo>
                    <a:pt x="109684" y="36018"/>
                  </a:lnTo>
                  <a:cubicBezTo>
                    <a:pt x="109684" y="36018"/>
                    <a:pt x="127298" y="30370"/>
                    <a:pt x="138857" y="51143"/>
                  </a:cubicBezTo>
                  <a:lnTo>
                    <a:pt x="166570" y="111835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255" name="Gráfico 4">
              <a:extLst>
                <a:ext uri="{FF2B5EF4-FFF2-40B4-BE49-F238E27FC236}">
                  <a16:creationId xmlns:a16="http://schemas.microsoft.com/office/drawing/2014/main" id="{0EFEA7E0-F7BC-C524-3FCB-3930D5869A0E}"/>
                </a:ext>
              </a:extLst>
            </p:cNvPr>
            <p:cNvGrpSpPr/>
            <p:nvPr/>
          </p:nvGrpSpPr>
          <p:grpSpPr>
            <a:xfrm>
              <a:off x="3817642" y="987057"/>
              <a:ext cx="134593" cy="156514"/>
              <a:chOff x="3817642" y="987057"/>
              <a:chExt cx="134593" cy="156514"/>
            </a:xfrm>
            <a:noFill/>
          </p:grpSpPr>
          <p:sp>
            <p:nvSpPr>
              <p:cNvPr id="256" name="Forma livre: Forma 255">
                <a:extLst>
                  <a:ext uri="{FF2B5EF4-FFF2-40B4-BE49-F238E27FC236}">
                    <a16:creationId xmlns:a16="http://schemas.microsoft.com/office/drawing/2014/main" id="{61132596-CFC0-36FA-D180-AE2AEFD1BE9F}"/>
                  </a:ext>
                </a:extLst>
              </p:cNvPr>
              <p:cNvSpPr/>
              <p:nvPr/>
            </p:nvSpPr>
            <p:spPr>
              <a:xfrm>
                <a:off x="3817642" y="1082558"/>
                <a:ext cx="134593" cy="61014"/>
              </a:xfrm>
              <a:custGeom>
                <a:avLst/>
                <a:gdLst>
                  <a:gd name="connsiteX0" fmla="*/ 134593 w 134593"/>
                  <a:gd name="connsiteY0" fmla="*/ 61015 h 61014"/>
                  <a:gd name="connsiteX1" fmla="*/ 134593 w 134593"/>
                  <a:gd name="connsiteY1" fmla="*/ 35958 h 61014"/>
                  <a:gd name="connsiteX2" fmla="*/ 93442 w 134593"/>
                  <a:gd name="connsiteY2" fmla="*/ 0 h 61014"/>
                  <a:gd name="connsiteX3" fmla="*/ 67297 w 134593"/>
                  <a:gd name="connsiteY3" fmla="*/ 30310 h 61014"/>
                  <a:gd name="connsiteX4" fmla="*/ 41163 w 134593"/>
                  <a:gd name="connsiteY4" fmla="*/ 0 h 61014"/>
                  <a:gd name="connsiteX5" fmla="*/ 0 w 134593"/>
                  <a:gd name="connsiteY5" fmla="*/ 35958 h 61014"/>
                  <a:gd name="connsiteX6" fmla="*/ 0 w 134593"/>
                  <a:gd name="connsiteY6" fmla="*/ 61015 h 610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34593" h="61014">
                    <a:moveTo>
                      <a:pt x="134593" y="61015"/>
                    </a:moveTo>
                    <a:lnTo>
                      <a:pt x="134593" y="35958"/>
                    </a:lnTo>
                    <a:cubicBezTo>
                      <a:pt x="134593" y="9800"/>
                      <a:pt x="134713" y="5468"/>
                      <a:pt x="93442" y="0"/>
                    </a:cubicBezTo>
                    <a:lnTo>
                      <a:pt x="67297" y="30310"/>
                    </a:lnTo>
                    <a:lnTo>
                      <a:pt x="41163" y="0"/>
                    </a:lnTo>
                    <a:cubicBezTo>
                      <a:pt x="-120" y="5468"/>
                      <a:pt x="0" y="9812"/>
                      <a:pt x="0" y="35958"/>
                    </a:cubicBezTo>
                    <a:lnTo>
                      <a:pt x="0" y="61015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57" name="Forma livre: Forma 256">
                <a:extLst>
                  <a:ext uri="{FF2B5EF4-FFF2-40B4-BE49-F238E27FC236}">
                    <a16:creationId xmlns:a16="http://schemas.microsoft.com/office/drawing/2014/main" id="{76805BC7-A5DE-EE3C-4C00-EDB0E4D460D1}"/>
                  </a:ext>
                </a:extLst>
              </p:cNvPr>
              <p:cNvSpPr/>
              <p:nvPr/>
            </p:nvSpPr>
            <p:spPr>
              <a:xfrm>
                <a:off x="3854688" y="987057"/>
                <a:ext cx="60500" cy="72800"/>
              </a:xfrm>
              <a:custGeom>
                <a:avLst/>
                <a:gdLst>
                  <a:gd name="connsiteX0" fmla="*/ 60500 w 60500"/>
                  <a:gd name="connsiteY0" fmla="*/ 42084 h 72800"/>
                  <a:gd name="connsiteX1" fmla="*/ 30250 w 60500"/>
                  <a:gd name="connsiteY1" fmla="*/ 72801 h 72800"/>
                  <a:gd name="connsiteX2" fmla="*/ 0 w 60500"/>
                  <a:gd name="connsiteY2" fmla="*/ 42084 h 72800"/>
                  <a:gd name="connsiteX3" fmla="*/ 0 w 60500"/>
                  <a:gd name="connsiteY3" fmla="*/ 30705 h 72800"/>
                  <a:gd name="connsiteX4" fmla="*/ 30250 w 60500"/>
                  <a:gd name="connsiteY4" fmla="*/ 0 h 72800"/>
                  <a:gd name="connsiteX5" fmla="*/ 60500 w 60500"/>
                  <a:gd name="connsiteY5" fmla="*/ 30705 h 72800"/>
                  <a:gd name="connsiteX6" fmla="*/ 60500 w 60500"/>
                  <a:gd name="connsiteY6" fmla="*/ 42084 h 728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0500" h="72800">
                    <a:moveTo>
                      <a:pt x="60500" y="42084"/>
                    </a:moveTo>
                    <a:cubicBezTo>
                      <a:pt x="60500" y="58980"/>
                      <a:pt x="46883" y="72801"/>
                      <a:pt x="30250" y="72801"/>
                    </a:cubicBezTo>
                    <a:cubicBezTo>
                      <a:pt x="13617" y="72801"/>
                      <a:pt x="0" y="58980"/>
                      <a:pt x="0" y="42084"/>
                    </a:cubicBezTo>
                    <a:lnTo>
                      <a:pt x="0" y="30705"/>
                    </a:lnTo>
                    <a:cubicBezTo>
                      <a:pt x="0" y="13809"/>
                      <a:pt x="13617" y="0"/>
                      <a:pt x="30250" y="0"/>
                    </a:cubicBezTo>
                    <a:cubicBezTo>
                      <a:pt x="46883" y="0"/>
                      <a:pt x="60500" y="13821"/>
                      <a:pt x="60500" y="30705"/>
                    </a:cubicBezTo>
                    <a:lnTo>
                      <a:pt x="60500" y="42084"/>
                    </a:ln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258" name="Gráfico 4">
              <a:extLst>
                <a:ext uri="{FF2B5EF4-FFF2-40B4-BE49-F238E27FC236}">
                  <a16:creationId xmlns:a16="http://schemas.microsoft.com/office/drawing/2014/main" id="{43875117-6D85-863E-8A50-C0DAB3248493}"/>
                </a:ext>
              </a:extLst>
            </p:cNvPr>
            <p:cNvGrpSpPr/>
            <p:nvPr/>
          </p:nvGrpSpPr>
          <p:grpSpPr>
            <a:xfrm>
              <a:off x="3721531" y="1010882"/>
              <a:ext cx="326826" cy="132690"/>
              <a:chOff x="3721531" y="1010882"/>
              <a:chExt cx="326826" cy="132690"/>
            </a:xfrm>
            <a:noFill/>
          </p:grpSpPr>
          <p:grpSp>
            <p:nvGrpSpPr>
              <p:cNvPr id="259" name="Gráfico 4">
                <a:extLst>
                  <a:ext uri="{FF2B5EF4-FFF2-40B4-BE49-F238E27FC236}">
                    <a16:creationId xmlns:a16="http://schemas.microsoft.com/office/drawing/2014/main" id="{65E8CF36-8F84-11B8-E9E6-516FE6BBFBC0}"/>
                  </a:ext>
                </a:extLst>
              </p:cNvPr>
              <p:cNvGrpSpPr/>
              <p:nvPr/>
            </p:nvGrpSpPr>
            <p:grpSpPr>
              <a:xfrm>
                <a:off x="3721531" y="1010882"/>
                <a:ext cx="80483" cy="132690"/>
                <a:chOff x="3721531" y="1010882"/>
                <a:chExt cx="80483" cy="132690"/>
              </a:xfrm>
              <a:noFill/>
            </p:grpSpPr>
            <p:sp>
              <p:nvSpPr>
                <p:cNvPr id="260" name="Forma livre: Forma 259">
                  <a:extLst>
                    <a:ext uri="{FF2B5EF4-FFF2-40B4-BE49-F238E27FC236}">
                      <a16:creationId xmlns:a16="http://schemas.microsoft.com/office/drawing/2014/main" id="{6457BCE9-C4C6-6B22-5F7A-D327D2406A83}"/>
                    </a:ext>
                  </a:extLst>
                </p:cNvPr>
                <p:cNvSpPr/>
                <p:nvPr/>
              </p:nvSpPr>
              <p:spPr>
                <a:xfrm>
                  <a:off x="3721531" y="1093232"/>
                  <a:ext cx="77084" cy="50340"/>
                </a:xfrm>
                <a:custGeom>
                  <a:avLst/>
                  <a:gdLst>
                    <a:gd name="connsiteX0" fmla="*/ 77085 w 77084"/>
                    <a:gd name="connsiteY0" fmla="*/ 0 h 50340"/>
                    <a:gd name="connsiteX1" fmla="*/ 55522 w 77084"/>
                    <a:gd name="connsiteY1" fmla="*/ 25009 h 50340"/>
                    <a:gd name="connsiteX2" fmla="*/ 33959 w 77084"/>
                    <a:gd name="connsiteY2" fmla="*/ 0 h 50340"/>
                    <a:gd name="connsiteX3" fmla="*/ 0 w 77084"/>
                    <a:gd name="connsiteY3" fmla="*/ 29664 h 50340"/>
                    <a:gd name="connsiteX4" fmla="*/ 0 w 77084"/>
                    <a:gd name="connsiteY4" fmla="*/ 50341 h 5034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77084" h="50340">
                      <a:moveTo>
                        <a:pt x="77085" y="0"/>
                      </a:moveTo>
                      <a:lnTo>
                        <a:pt x="55522" y="25009"/>
                      </a:lnTo>
                      <a:lnTo>
                        <a:pt x="33959" y="0"/>
                      </a:lnTo>
                      <a:cubicBezTo>
                        <a:pt x="-96" y="4511"/>
                        <a:pt x="0" y="8089"/>
                        <a:pt x="0" y="29664"/>
                      </a:cubicBezTo>
                      <a:lnTo>
                        <a:pt x="0" y="50341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61" name="Forma livre: Forma 260">
                  <a:extLst>
                    <a:ext uri="{FF2B5EF4-FFF2-40B4-BE49-F238E27FC236}">
                      <a16:creationId xmlns:a16="http://schemas.microsoft.com/office/drawing/2014/main" id="{4DC50431-28D3-C666-334A-5FE4E6FBE1EE}"/>
                    </a:ext>
                  </a:extLst>
                </p:cNvPr>
                <p:cNvSpPr/>
                <p:nvPr/>
              </p:nvSpPr>
              <p:spPr>
                <a:xfrm>
                  <a:off x="3752092" y="1010882"/>
                  <a:ext cx="49922" cy="60069"/>
                </a:xfrm>
                <a:custGeom>
                  <a:avLst/>
                  <a:gdLst>
                    <a:gd name="connsiteX0" fmla="*/ 49922 w 49922"/>
                    <a:gd name="connsiteY0" fmla="*/ 34725 h 60069"/>
                    <a:gd name="connsiteX1" fmla="*/ 24961 w 49922"/>
                    <a:gd name="connsiteY1" fmla="*/ 60069 h 60069"/>
                    <a:gd name="connsiteX2" fmla="*/ 0 w 49922"/>
                    <a:gd name="connsiteY2" fmla="*/ 34725 h 60069"/>
                    <a:gd name="connsiteX3" fmla="*/ 0 w 49922"/>
                    <a:gd name="connsiteY3" fmla="*/ 25344 h 60069"/>
                    <a:gd name="connsiteX4" fmla="*/ 24961 w 49922"/>
                    <a:gd name="connsiteY4" fmla="*/ 0 h 60069"/>
                    <a:gd name="connsiteX5" fmla="*/ 49922 w 49922"/>
                    <a:gd name="connsiteY5" fmla="*/ 25344 h 60069"/>
                    <a:gd name="connsiteX6" fmla="*/ 49922 w 49922"/>
                    <a:gd name="connsiteY6" fmla="*/ 34725 h 6006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49922" h="60069">
                      <a:moveTo>
                        <a:pt x="49922" y="34725"/>
                      </a:moveTo>
                      <a:cubicBezTo>
                        <a:pt x="49922" y="48666"/>
                        <a:pt x="38698" y="60069"/>
                        <a:pt x="24961" y="60069"/>
                      </a:cubicBezTo>
                      <a:cubicBezTo>
                        <a:pt x="11224" y="60069"/>
                        <a:pt x="0" y="48666"/>
                        <a:pt x="0" y="34725"/>
                      </a:cubicBezTo>
                      <a:lnTo>
                        <a:pt x="0" y="25344"/>
                      </a:lnTo>
                      <a:cubicBezTo>
                        <a:pt x="0" y="11404"/>
                        <a:pt x="11224" y="0"/>
                        <a:pt x="24961" y="0"/>
                      </a:cubicBezTo>
                      <a:cubicBezTo>
                        <a:pt x="38698" y="0"/>
                        <a:pt x="49922" y="11404"/>
                        <a:pt x="49922" y="25344"/>
                      </a:cubicBezTo>
                      <a:lnTo>
                        <a:pt x="49922" y="34725"/>
                      </a:lnTo>
                      <a:close/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262" name="Gráfico 4">
                <a:extLst>
                  <a:ext uri="{FF2B5EF4-FFF2-40B4-BE49-F238E27FC236}">
                    <a16:creationId xmlns:a16="http://schemas.microsoft.com/office/drawing/2014/main" id="{557E8DEF-1A88-2253-983B-04A586E0A612}"/>
                  </a:ext>
                </a:extLst>
              </p:cNvPr>
              <p:cNvGrpSpPr/>
              <p:nvPr/>
            </p:nvGrpSpPr>
            <p:grpSpPr>
              <a:xfrm>
                <a:off x="3967887" y="1010882"/>
                <a:ext cx="80471" cy="132690"/>
                <a:chOff x="3967887" y="1010882"/>
                <a:chExt cx="80471" cy="132690"/>
              </a:xfrm>
              <a:noFill/>
            </p:grpSpPr>
            <p:sp>
              <p:nvSpPr>
                <p:cNvPr id="263" name="Forma livre: Forma 262">
                  <a:extLst>
                    <a:ext uri="{FF2B5EF4-FFF2-40B4-BE49-F238E27FC236}">
                      <a16:creationId xmlns:a16="http://schemas.microsoft.com/office/drawing/2014/main" id="{FAE6ED27-D14D-6BE3-989F-B83B939E3A36}"/>
                    </a:ext>
                  </a:extLst>
                </p:cNvPr>
                <p:cNvSpPr/>
                <p:nvPr/>
              </p:nvSpPr>
              <p:spPr>
                <a:xfrm>
                  <a:off x="3971273" y="1093232"/>
                  <a:ext cx="77084" cy="50340"/>
                </a:xfrm>
                <a:custGeom>
                  <a:avLst/>
                  <a:gdLst>
                    <a:gd name="connsiteX0" fmla="*/ 0 w 77084"/>
                    <a:gd name="connsiteY0" fmla="*/ 0 h 50340"/>
                    <a:gd name="connsiteX1" fmla="*/ 21563 w 77084"/>
                    <a:gd name="connsiteY1" fmla="*/ 25009 h 50340"/>
                    <a:gd name="connsiteX2" fmla="*/ 43125 w 77084"/>
                    <a:gd name="connsiteY2" fmla="*/ 0 h 50340"/>
                    <a:gd name="connsiteX3" fmla="*/ 77085 w 77084"/>
                    <a:gd name="connsiteY3" fmla="*/ 29664 h 50340"/>
                    <a:gd name="connsiteX4" fmla="*/ 77085 w 77084"/>
                    <a:gd name="connsiteY4" fmla="*/ 50341 h 5034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77084" h="50340">
                      <a:moveTo>
                        <a:pt x="0" y="0"/>
                      </a:moveTo>
                      <a:lnTo>
                        <a:pt x="21563" y="25009"/>
                      </a:lnTo>
                      <a:lnTo>
                        <a:pt x="43125" y="0"/>
                      </a:lnTo>
                      <a:cubicBezTo>
                        <a:pt x="77181" y="4511"/>
                        <a:pt x="77085" y="8089"/>
                        <a:pt x="77085" y="29664"/>
                      </a:cubicBezTo>
                      <a:lnTo>
                        <a:pt x="77085" y="50341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64" name="Forma livre: Forma 263">
                  <a:extLst>
                    <a:ext uri="{FF2B5EF4-FFF2-40B4-BE49-F238E27FC236}">
                      <a16:creationId xmlns:a16="http://schemas.microsoft.com/office/drawing/2014/main" id="{D6E96D87-EEFE-21AA-D2F0-6FE7F5E20657}"/>
                    </a:ext>
                  </a:extLst>
                </p:cNvPr>
                <p:cNvSpPr/>
                <p:nvPr/>
              </p:nvSpPr>
              <p:spPr>
                <a:xfrm>
                  <a:off x="3967887" y="1010882"/>
                  <a:ext cx="49922" cy="60069"/>
                </a:xfrm>
                <a:custGeom>
                  <a:avLst/>
                  <a:gdLst>
                    <a:gd name="connsiteX0" fmla="*/ 0 w 49922"/>
                    <a:gd name="connsiteY0" fmla="*/ 34725 h 60069"/>
                    <a:gd name="connsiteX1" fmla="*/ 24961 w 49922"/>
                    <a:gd name="connsiteY1" fmla="*/ 60069 h 60069"/>
                    <a:gd name="connsiteX2" fmla="*/ 49922 w 49922"/>
                    <a:gd name="connsiteY2" fmla="*/ 34725 h 60069"/>
                    <a:gd name="connsiteX3" fmla="*/ 49922 w 49922"/>
                    <a:gd name="connsiteY3" fmla="*/ 25344 h 60069"/>
                    <a:gd name="connsiteX4" fmla="*/ 24961 w 49922"/>
                    <a:gd name="connsiteY4" fmla="*/ 0 h 60069"/>
                    <a:gd name="connsiteX5" fmla="*/ 0 w 49922"/>
                    <a:gd name="connsiteY5" fmla="*/ 25344 h 60069"/>
                    <a:gd name="connsiteX6" fmla="*/ 0 w 49922"/>
                    <a:gd name="connsiteY6" fmla="*/ 34725 h 6006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49922" h="60069">
                      <a:moveTo>
                        <a:pt x="0" y="34725"/>
                      </a:moveTo>
                      <a:cubicBezTo>
                        <a:pt x="0" y="48666"/>
                        <a:pt x="11224" y="60069"/>
                        <a:pt x="24961" y="60069"/>
                      </a:cubicBezTo>
                      <a:cubicBezTo>
                        <a:pt x="38698" y="60069"/>
                        <a:pt x="49922" y="48666"/>
                        <a:pt x="49922" y="34725"/>
                      </a:cubicBezTo>
                      <a:lnTo>
                        <a:pt x="49922" y="25344"/>
                      </a:lnTo>
                      <a:cubicBezTo>
                        <a:pt x="49922" y="11404"/>
                        <a:pt x="38698" y="0"/>
                        <a:pt x="24961" y="0"/>
                      </a:cubicBezTo>
                      <a:cubicBezTo>
                        <a:pt x="11224" y="0"/>
                        <a:pt x="0" y="11404"/>
                        <a:pt x="0" y="25344"/>
                      </a:cubicBezTo>
                      <a:lnTo>
                        <a:pt x="0" y="34725"/>
                      </a:lnTo>
                      <a:close/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</p:grpSp>
      <p:grpSp>
        <p:nvGrpSpPr>
          <p:cNvPr id="265" name="Gráfico 4">
            <a:extLst>
              <a:ext uri="{FF2B5EF4-FFF2-40B4-BE49-F238E27FC236}">
                <a16:creationId xmlns:a16="http://schemas.microsoft.com/office/drawing/2014/main" id="{2494DD1B-E2CC-4479-AB91-36CAEB18751F}"/>
              </a:ext>
            </a:extLst>
          </p:cNvPr>
          <p:cNvGrpSpPr/>
          <p:nvPr/>
        </p:nvGrpSpPr>
        <p:grpSpPr>
          <a:xfrm>
            <a:off x="3749113" y="1508068"/>
            <a:ext cx="271663" cy="332414"/>
            <a:chOff x="3749113" y="1508068"/>
            <a:chExt cx="271663" cy="332414"/>
          </a:xfrm>
          <a:noFill/>
        </p:grpSpPr>
        <p:sp>
          <p:nvSpPr>
            <p:cNvPr id="266" name="Forma livre: Forma 265">
              <a:extLst>
                <a:ext uri="{FF2B5EF4-FFF2-40B4-BE49-F238E27FC236}">
                  <a16:creationId xmlns:a16="http://schemas.microsoft.com/office/drawing/2014/main" id="{CD68D1D2-A586-3E9C-1A1D-5A43B1BB2BF3}"/>
                </a:ext>
              </a:extLst>
            </p:cNvPr>
            <p:cNvSpPr/>
            <p:nvPr/>
          </p:nvSpPr>
          <p:spPr>
            <a:xfrm>
              <a:off x="3778316" y="1529571"/>
              <a:ext cx="213251" cy="138829"/>
            </a:xfrm>
            <a:custGeom>
              <a:avLst/>
              <a:gdLst>
                <a:gd name="connsiteX0" fmla="*/ 143729 w 213251"/>
                <a:gd name="connsiteY0" fmla="*/ 138829 h 138829"/>
                <a:gd name="connsiteX1" fmla="*/ 143729 w 213251"/>
                <a:gd name="connsiteY1" fmla="*/ 113007 h 138829"/>
                <a:gd name="connsiteX2" fmla="*/ 200436 w 213251"/>
                <a:gd name="connsiteY2" fmla="*/ 45184 h 138829"/>
                <a:gd name="connsiteX3" fmla="*/ 204648 w 213251"/>
                <a:gd name="connsiteY3" fmla="*/ 0 h 138829"/>
                <a:gd name="connsiteX4" fmla="*/ 133127 w 213251"/>
                <a:gd name="connsiteY4" fmla="*/ 67751 h 138829"/>
                <a:gd name="connsiteX5" fmla="*/ 80118 w 213251"/>
                <a:gd name="connsiteY5" fmla="*/ 67751 h 138829"/>
                <a:gd name="connsiteX6" fmla="*/ 8609 w 213251"/>
                <a:gd name="connsiteY6" fmla="*/ 0 h 138829"/>
                <a:gd name="connsiteX7" fmla="*/ 12809 w 213251"/>
                <a:gd name="connsiteY7" fmla="*/ 45184 h 138829"/>
                <a:gd name="connsiteX8" fmla="*/ 69516 w 213251"/>
                <a:gd name="connsiteY8" fmla="*/ 113007 h 138829"/>
                <a:gd name="connsiteX9" fmla="*/ 69516 w 213251"/>
                <a:gd name="connsiteY9" fmla="*/ 138829 h 1388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13251" h="138829">
                  <a:moveTo>
                    <a:pt x="143729" y="138829"/>
                  </a:moveTo>
                  <a:lnTo>
                    <a:pt x="143729" y="113007"/>
                  </a:lnTo>
                  <a:lnTo>
                    <a:pt x="200436" y="45184"/>
                  </a:lnTo>
                  <a:cubicBezTo>
                    <a:pt x="215178" y="26158"/>
                    <a:pt x="218026" y="12947"/>
                    <a:pt x="204648" y="0"/>
                  </a:cubicBezTo>
                  <a:lnTo>
                    <a:pt x="133127" y="67751"/>
                  </a:lnTo>
                  <a:lnTo>
                    <a:pt x="80118" y="67751"/>
                  </a:lnTo>
                  <a:lnTo>
                    <a:pt x="8609" y="0"/>
                  </a:lnTo>
                  <a:cubicBezTo>
                    <a:pt x="-4769" y="12947"/>
                    <a:pt x="-1933" y="26158"/>
                    <a:pt x="12809" y="45184"/>
                  </a:cubicBezTo>
                  <a:lnTo>
                    <a:pt x="69516" y="113007"/>
                  </a:lnTo>
                  <a:lnTo>
                    <a:pt x="69516" y="138829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67" name="Forma livre: Forma 266">
              <a:extLst>
                <a:ext uri="{FF2B5EF4-FFF2-40B4-BE49-F238E27FC236}">
                  <a16:creationId xmlns:a16="http://schemas.microsoft.com/office/drawing/2014/main" id="{A1A30624-B850-12C3-9F50-4DE55A040DF0}"/>
                </a:ext>
              </a:extLst>
            </p:cNvPr>
            <p:cNvSpPr/>
            <p:nvPr/>
          </p:nvSpPr>
          <p:spPr>
            <a:xfrm>
              <a:off x="3749113" y="1689951"/>
              <a:ext cx="271663" cy="55940"/>
            </a:xfrm>
            <a:custGeom>
              <a:avLst/>
              <a:gdLst>
                <a:gd name="connsiteX0" fmla="*/ 55115 w 271663"/>
                <a:gd name="connsiteY0" fmla="*/ 55941 h 55940"/>
                <a:gd name="connsiteX1" fmla="*/ 0 w 271663"/>
                <a:gd name="connsiteY1" fmla="*/ 25176 h 55940"/>
                <a:gd name="connsiteX2" fmla="*/ 0 w 271663"/>
                <a:gd name="connsiteY2" fmla="*/ 0 h 55940"/>
                <a:gd name="connsiteX3" fmla="*/ 271664 w 271663"/>
                <a:gd name="connsiteY3" fmla="*/ 0 h 55940"/>
                <a:gd name="connsiteX4" fmla="*/ 271664 w 271663"/>
                <a:gd name="connsiteY4" fmla="*/ 25176 h 55940"/>
                <a:gd name="connsiteX5" fmla="*/ 216620 w 271663"/>
                <a:gd name="connsiteY5" fmla="*/ 55941 h 559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71663" h="55940">
                  <a:moveTo>
                    <a:pt x="55115" y="55941"/>
                  </a:moveTo>
                  <a:lnTo>
                    <a:pt x="0" y="25176"/>
                  </a:lnTo>
                  <a:lnTo>
                    <a:pt x="0" y="0"/>
                  </a:lnTo>
                  <a:lnTo>
                    <a:pt x="271664" y="0"/>
                  </a:lnTo>
                  <a:lnTo>
                    <a:pt x="271664" y="25176"/>
                  </a:lnTo>
                  <a:lnTo>
                    <a:pt x="216620" y="55941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268" name="Gráfico 4">
              <a:extLst>
                <a:ext uri="{FF2B5EF4-FFF2-40B4-BE49-F238E27FC236}">
                  <a16:creationId xmlns:a16="http://schemas.microsoft.com/office/drawing/2014/main" id="{6D3E33DF-176D-1DB1-1878-500922CFF8BE}"/>
                </a:ext>
              </a:extLst>
            </p:cNvPr>
            <p:cNvGrpSpPr/>
            <p:nvPr/>
          </p:nvGrpSpPr>
          <p:grpSpPr>
            <a:xfrm>
              <a:off x="3806370" y="1721158"/>
              <a:ext cx="157149" cy="119324"/>
              <a:chOff x="3806370" y="1721158"/>
              <a:chExt cx="157149" cy="119324"/>
            </a:xfrm>
          </p:grpSpPr>
          <p:sp>
            <p:nvSpPr>
              <p:cNvPr id="269" name="Forma livre: Forma 268">
                <a:extLst>
                  <a:ext uri="{FF2B5EF4-FFF2-40B4-BE49-F238E27FC236}">
                    <a16:creationId xmlns:a16="http://schemas.microsoft.com/office/drawing/2014/main" id="{F3385FC5-BD45-E3DA-B0F2-6A5D0EC7F326}"/>
                  </a:ext>
                </a:extLst>
              </p:cNvPr>
              <p:cNvSpPr/>
              <p:nvPr/>
            </p:nvSpPr>
            <p:spPr>
              <a:xfrm>
                <a:off x="3963519" y="1721158"/>
                <a:ext cx="1196" cy="119324"/>
              </a:xfrm>
              <a:custGeom>
                <a:avLst/>
                <a:gdLst>
                  <a:gd name="connsiteX0" fmla="*/ 0 w 1196"/>
                  <a:gd name="connsiteY0" fmla="*/ 0 h 119324"/>
                  <a:gd name="connsiteX1" fmla="*/ 0 w 1196"/>
                  <a:gd name="connsiteY1" fmla="*/ 119325 h 1193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6" h="119324">
                    <a:moveTo>
                      <a:pt x="0" y="0"/>
                    </a:moveTo>
                    <a:lnTo>
                      <a:pt x="0" y="119325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70" name="Forma livre: Forma 269">
                <a:extLst>
                  <a:ext uri="{FF2B5EF4-FFF2-40B4-BE49-F238E27FC236}">
                    <a16:creationId xmlns:a16="http://schemas.microsoft.com/office/drawing/2014/main" id="{99CFCC47-865E-4FB6-DB6C-14412727E0ED}"/>
                  </a:ext>
                </a:extLst>
              </p:cNvPr>
              <p:cNvSpPr/>
              <p:nvPr/>
            </p:nvSpPr>
            <p:spPr>
              <a:xfrm>
                <a:off x="3806370" y="1721158"/>
                <a:ext cx="1196" cy="119324"/>
              </a:xfrm>
              <a:custGeom>
                <a:avLst/>
                <a:gdLst>
                  <a:gd name="connsiteX0" fmla="*/ 0 w 1196"/>
                  <a:gd name="connsiteY0" fmla="*/ 119325 h 119324"/>
                  <a:gd name="connsiteX1" fmla="*/ 0 w 1196"/>
                  <a:gd name="connsiteY1" fmla="*/ 0 h 1193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6" h="119324">
                    <a:moveTo>
                      <a:pt x="0" y="119325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271" name="Forma livre: Forma 270">
              <a:extLst>
                <a:ext uri="{FF2B5EF4-FFF2-40B4-BE49-F238E27FC236}">
                  <a16:creationId xmlns:a16="http://schemas.microsoft.com/office/drawing/2014/main" id="{8BB65563-EF85-10B8-5632-3B04E96C77A1}"/>
                </a:ext>
              </a:extLst>
            </p:cNvPr>
            <p:cNvSpPr/>
            <p:nvPr/>
          </p:nvSpPr>
          <p:spPr>
            <a:xfrm>
              <a:off x="3843225" y="1723551"/>
              <a:ext cx="83390" cy="116931"/>
            </a:xfrm>
            <a:custGeom>
              <a:avLst/>
              <a:gdLst>
                <a:gd name="connsiteX0" fmla="*/ 0 w 83390"/>
                <a:gd name="connsiteY0" fmla="*/ 116932 h 116931"/>
                <a:gd name="connsiteX1" fmla="*/ 0 w 83390"/>
                <a:gd name="connsiteY1" fmla="*/ 0 h 116931"/>
                <a:gd name="connsiteX2" fmla="*/ 41689 w 83390"/>
                <a:gd name="connsiteY2" fmla="*/ 0 h 116931"/>
                <a:gd name="connsiteX3" fmla="*/ 83391 w 83390"/>
                <a:gd name="connsiteY3" fmla="*/ 0 h 116931"/>
                <a:gd name="connsiteX4" fmla="*/ 83391 w 83390"/>
                <a:gd name="connsiteY4" fmla="*/ 116932 h 1169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3390" h="116931">
                  <a:moveTo>
                    <a:pt x="0" y="116932"/>
                  </a:moveTo>
                  <a:lnTo>
                    <a:pt x="0" y="0"/>
                  </a:lnTo>
                  <a:lnTo>
                    <a:pt x="41689" y="0"/>
                  </a:lnTo>
                  <a:lnTo>
                    <a:pt x="83391" y="0"/>
                  </a:lnTo>
                  <a:lnTo>
                    <a:pt x="83391" y="116932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72" name="Forma livre: Forma 271">
              <a:extLst>
                <a:ext uri="{FF2B5EF4-FFF2-40B4-BE49-F238E27FC236}">
                  <a16:creationId xmlns:a16="http://schemas.microsoft.com/office/drawing/2014/main" id="{3933089B-E7F0-EC83-57A0-6B0A5D9228C4}"/>
                </a:ext>
              </a:extLst>
            </p:cNvPr>
            <p:cNvSpPr/>
            <p:nvPr/>
          </p:nvSpPr>
          <p:spPr>
            <a:xfrm>
              <a:off x="3859355" y="1508068"/>
              <a:ext cx="51190" cy="61588"/>
            </a:xfrm>
            <a:custGeom>
              <a:avLst/>
              <a:gdLst>
                <a:gd name="connsiteX0" fmla="*/ 51190 w 51190"/>
                <a:gd name="connsiteY0" fmla="*/ 35599 h 61588"/>
                <a:gd name="connsiteX1" fmla="*/ 25595 w 51190"/>
                <a:gd name="connsiteY1" fmla="*/ 61589 h 61588"/>
                <a:gd name="connsiteX2" fmla="*/ 0 w 51190"/>
                <a:gd name="connsiteY2" fmla="*/ 35599 h 61588"/>
                <a:gd name="connsiteX3" fmla="*/ 0 w 51190"/>
                <a:gd name="connsiteY3" fmla="*/ 25978 h 61588"/>
                <a:gd name="connsiteX4" fmla="*/ 25595 w 51190"/>
                <a:gd name="connsiteY4" fmla="*/ 0 h 61588"/>
                <a:gd name="connsiteX5" fmla="*/ 51190 w 51190"/>
                <a:gd name="connsiteY5" fmla="*/ 25978 h 61588"/>
                <a:gd name="connsiteX6" fmla="*/ 51190 w 51190"/>
                <a:gd name="connsiteY6" fmla="*/ 35599 h 615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1190" h="61588">
                  <a:moveTo>
                    <a:pt x="51190" y="35599"/>
                  </a:moveTo>
                  <a:cubicBezTo>
                    <a:pt x="51190" y="49898"/>
                    <a:pt x="39679" y="61589"/>
                    <a:pt x="25595" y="61589"/>
                  </a:cubicBezTo>
                  <a:cubicBezTo>
                    <a:pt x="11511" y="61589"/>
                    <a:pt x="0" y="49898"/>
                    <a:pt x="0" y="35599"/>
                  </a:cubicBezTo>
                  <a:lnTo>
                    <a:pt x="0" y="25978"/>
                  </a:lnTo>
                  <a:cubicBezTo>
                    <a:pt x="0" y="11679"/>
                    <a:pt x="11511" y="0"/>
                    <a:pt x="25595" y="0"/>
                  </a:cubicBezTo>
                  <a:cubicBezTo>
                    <a:pt x="39679" y="0"/>
                    <a:pt x="51190" y="11691"/>
                    <a:pt x="51190" y="25978"/>
                  </a:cubicBezTo>
                  <a:lnTo>
                    <a:pt x="51190" y="35599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273" name="Gráfico 4">
            <a:extLst>
              <a:ext uri="{FF2B5EF4-FFF2-40B4-BE49-F238E27FC236}">
                <a16:creationId xmlns:a16="http://schemas.microsoft.com/office/drawing/2014/main" id="{F1A49395-3F5A-D1AA-A433-61B21DC2EE02}"/>
              </a:ext>
            </a:extLst>
          </p:cNvPr>
          <p:cNvGrpSpPr/>
          <p:nvPr/>
        </p:nvGrpSpPr>
        <p:grpSpPr>
          <a:xfrm>
            <a:off x="2509713" y="2581177"/>
            <a:ext cx="262928" cy="318510"/>
            <a:chOff x="2509713" y="2581177"/>
            <a:chExt cx="262928" cy="318510"/>
          </a:xfrm>
          <a:noFill/>
        </p:grpSpPr>
        <p:grpSp>
          <p:nvGrpSpPr>
            <p:cNvPr id="274" name="Gráfico 4">
              <a:extLst>
                <a:ext uri="{FF2B5EF4-FFF2-40B4-BE49-F238E27FC236}">
                  <a16:creationId xmlns:a16="http://schemas.microsoft.com/office/drawing/2014/main" id="{49D69461-4793-A80F-2814-0140C91B9AAE}"/>
                </a:ext>
              </a:extLst>
            </p:cNvPr>
            <p:cNvGrpSpPr/>
            <p:nvPr/>
          </p:nvGrpSpPr>
          <p:grpSpPr>
            <a:xfrm>
              <a:off x="2654716" y="2735741"/>
              <a:ext cx="117924" cy="163945"/>
              <a:chOff x="2654716" y="2735741"/>
              <a:chExt cx="117924" cy="163945"/>
            </a:xfrm>
            <a:noFill/>
          </p:grpSpPr>
          <p:sp>
            <p:nvSpPr>
              <p:cNvPr id="275" name="Forma livre: Forma 274">
                <a:extLst>
                  <a:ext uri="{FF2B5EF4-FFF2-40B4-BE49-F238E27FC236}">
                    <a16:creationId xmlns:a16="http://schemas.microsoft.com/office/drawing/2014/main" id="{06A976A9-3CB2-FC45-60D9-43C334FBDAA0}"/>
                  </a:ext>
                </a:extLst>
              </p:cNvPr>
              <p:cNvSpPr/>
              <p:nvPr/>
            </p:nvSpPr>
            <p:spPr>
              <a:xfrm>
                <a:off x="2654716" y="2735741"/>
                <a:ext cx="117924" cy="163945"/>
              </a:xfrm>
              <a:custGeom>
                <a:avLst/>
                <a:gdLst>
                  <a:gd name="connsiteX0" fmla="*/ 9202 w 117924"/>
                  <a:gd name="connsiteY0" fmla="*/ 163946 h 163945"/>
                  <a:gd name="connsiteX1" fmla="*/ 0 w 117924"/>
                  <a:gd name="connsiteY1" fmla="*/ 154624 h 163945"/>
                  <a:gd name="connsiteX2" fmla="*/ 0 w 117924"/>
                  <a:gd name="connsiteY2" fmla="*/ 9214 h 163945"/>
                  <a:gd name="connsiteX3" fmla="*/ 9202 w 117924"/>
                  <a:gd name="connsiteY3" fmla="*/ 0 h 163945"/>
                  <a:gd name="connsiteX4" fmla="*/ 108723 w 117924"/>
                  <a:gd name="connsiteY4" fmla="*/ 0 h 163945"/>
                  <a:gd name="connsiteX5" fmla="*/ 117925 w 117924"/>
                  <a:gd name="connsiteY5" fmla="*/ 9214 h 163945"/>
                  <a:gd name="connsiteX6" fmla="*/ 117925 w 117924"/>
                  <a:gd name="connsiteY6" fmla="*/ 154624 h 163945"/>
                  <a:gd name="connsiteX7" fmla="*/ 108723 w 117924"/>
                  <a:gd name="connsiteY7" fmla="*/ 163946 h 163945"/>
                  <a:gd name="connsiteX8" fmla="*/ 9202 w 117924"/>
                  <a:gd name="connsiteY8" fmla="*/ 163946 h 1639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17924" h="163945">
                    <a:moveTo>
                      <a:pt x="9202" y="163946"/>
                    </a:moveTo>
                    <a:cubicBezTo>
                      <a:pt x="4140" y="163946"/>
                      <a:pt x="0" y="159698"/>
                      <a:pt x="0" y="154624"/>
                    </a:cubicBezTo>
                    <a:lnTo>
                      <a:pt x="0" y="9214"/>
                    </a:lnTo>
                    <a:cubicBezTo>
                      <a:pt x="0" y="4152"/>
                      <a:pt x="4140" y="0"/>
                      <a:pt x="9202" y="0"/>
                    </a:cubicBezTo>
                    <a:lnTo>
                      <a:pt x="108723" y="0"/>
                    </a:lnTo>
                    <a:cubicBezTo>
                      <a:pt x="113784" y="0"/>
                      <a:pt x="117925" y="4140"/>
                      <a:pt x="117925" y="9214"/>
                    </a:cubicBezTo>
                    <a:lnTo>
                      <a:pt x="117925" y="154624"/>
                    </a:lnTo>
                    <a:cubicBezTo>
                      <a:pt x="117925" y="159686"/>
                      <a:pt x="113784" y="163946"/>
                      <a:pt x="108723" y="163946"/>
                    </a:cubicBezTo>
                    <a:lnTo>
                      <a:pt x="9202" y="163946"/>
                    </a:ln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76" name="Forma livre: Forma 275">
                <a:extLst>
                  <a:ext uri="{FF2B5EF4-FFF2-40B4-BE49-F238E27FC236}">
                    <a16:creationId xmlns:a16="http://schemas.microsoft.com/office/drawing/2014/main" id="{92782827-707B-64C4-F942-1CC409B3297F}"/>
                  </a:ext>
                </a:extLst>
              </p:cNvPr>
              <p:cNvSpPr/>
              <p:nvPr/>
            </p:nvSpPr>
            <p:spPr>
              <a:xfrm>
                <a:off x="2674221" y="2789756"/>
                <a:ext cx="98180" cy="1196"/>
              </a:xfrm>
              <a:custGeom>
                <a:avLst/>
                <a:gdLst>
                  <a:gd name="connsiteX0" fmla="*/ 0 w 98180"/>
                  <a:gd name="connsiteY0" fmla="*/ 0 h 1196"/>
                  <a:gd name="connsiteX1" fmla="*/ 98181 w 98180"/>
                  <a:gd name="connsiteY1" fmla="*/ 0 h 11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8180" h="1196">
                    <a:moveTo>
                      <a:pt x="0" y="0"/>
                    </a:moveTo>
                    <a:lnTo>
                      <a:pt x="98181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77" name="Forma livre: Forma 276">
                <a:extLst>
                  <a:ext uri="{FF2B5EF4-FFF2-40B4-BE49-F238E27FC236}">
                    <a16:creationId xmlns:a16="http://schemas.microsoft.com/office/drawing/2014/main" id="{DDD05CA1-E0A1-5E8C-31C8-92EF8842D20E}"/>
                  </a:ext>
                </a:extLst>
              </p:cNvPr>
              <p:cNvSpPr/>
              <p:nvPr/>
            </p:nvSpPr>
            <p:spPr>
              <a:xfrm>
                <a:off x="2694096" y="2790330"/>
                <a:ext cx="1196" cy="108627"/>
              </a:xfrm>
              <a:custGeom>
                <a:avLst/>
                <a:gdLst>
                  <a:gd name="connsiteX0" fmla="*/ 0 w 1196"/>
                  <a:gd name="connsiteY0" fmla="*/ 0 h 108627"/>
                  <a:gd name="connsiteX1" fmla="*/ 0 w 1196"/>
                  <a:gd name="connsiteY1" fmla="*/ 108627 h 1086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6" h="108627">
                    <a:moveTo>
                      <a:pt x="0" y="0"/>
                    </a:moveTo>
                    <a:lnTo>
                      <a:pt x="0" y="108627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78" name="Forma livre: Forma 277">
                <a:extLst>
                  <a:ext uri="{FF2B5EF4-FFF2-40B4-BE49-F238E27FC236}">
                    <a16:creationId xmlns:a16="http://schemas.microsoft.com/office/drawing/2014/main" id="{786C4DD0-FB0F-9C16-2D02-F34588096730}"/>
                  </a:ext>
                </a:extLst>
              </p:cNvPr>
              <p:cNvSpPr/>
              <p:nvPr/>
            </p:nvSpPr>
            <p:spPr>
              <a:xfrm>
                <a:off x="2733464" y="2790222"/>
                <a:ext cx="1196" cy="108591"/>
              </a:xfrm>
              <a:custGeom>
                <a:avLst/>
                <a:gdLst>
                  <a:gd name="connsiteX0" fmla="*/ 0 w 1196"/>
                  <a:gd name="connsiteY0" fmla="*/ 0 h 108591"/>
                  <a:gd name="connsiteX1" fmla="*/ 0 w 1196"/>
                  <a:gd name="connsiteY1" fmla="*/ 108591 h 1085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6" h="108591">
                    <a:moveTo>
                      <a:pt x="0" y="0"/>
                    </a:moveTo>
                    <a:lnTo>
                      <a:pt x="0" y="108591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79" name="Forma livre: Forma 278">
                <a:extLst>
                  <a:ext uri="{FF2B5EF4-FFF2-40B4-BE49-F238E27FC236}">
                    <a16:creationId xmlns:a16="http://schemas.microsoft.com/office/drawing/2014/main" id="{4A86B4D6-FC94-ED2B-E884-C3CAE5310CEB}"/>
                  </a:ext>
                </a:extLst>
              </p:cNvPr>
              <p:cNvSpPr/>
              <p:nvPr/>
            </p:nvSpPr>
            <p:spPr>
              <a:xfrm>
                <a:off x="2674221" y="2826288"/>
                <a:ext cx="98180" cy="1196"/>
              </a:xfrm>
              <a:custGeom>
                <a:avLst/>
                <a:gdLst>
                  <a:gd name="connsiteX0" fmla="*/ 0 w 98180"/>
                  <a:gd name="connsiteY0" fmla="*/ 0 h 1196"/>
                  <a:gd name="connsiteX1" fmla="*/ 98181 w 98180"/>
                  <a:gd name="connsiteY1" fmla="*/ 0 h 11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8180" h="1196">
                    <a:moveTo>
                      <a:pt x="0" y="0"/>
                    </a:moveTo>
                    <a:lnTo>
                      <a:pt x="98181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80" name="Forma livre: Forma 279">
                <a:extLst>
                  <a:ext uri="{FF2B5EF4-FFF2-40B4-BE49-F238E27FC236}">
                    <a16:creationId xmlns:a16="http://schemas.microsoft.com/office/drawing/2014/main" id="{8DA5C17A-E67A-663F-59D9-93067825DA7F}"/>
                  </a:ext>
                </a:extLst>
              </p:cNvPr>
              <p:cNvSpPr/>
              <p:nvPr/>
            </p:nvSpPr>
            <p:spPr>
              <a:xfrm>
                <a:off x="2674221" y="2862808"/>
                <a:ext cx="58525" cy="1196"/>
              </a:xfrm>
              <a:custGeom>
                <a:avLst/>
                <a:gdLst>
                  <a:gd name="connsiteX0" fmla="*/ 0 w 58525"/>
                  <a:gd name="connsiteY0" fmla="*/ 0 h 1196"/>
                  <a:gd name="connsiteX1" fmla="*/ 58526 w 58525"/>
                  <a:gd name="connsiteY1" fmla="*/ 0 h 11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8525" h="1196">
                    <a:moveTo>
                      <a:pt x="0" y="0"/>
                    </a:moveTo>
                    <a:lnTo>
                      <a:pt x="58526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281" name="Gráfico 4">
              <a:extLst>
                <a:ext uri="{FF2B5EF4-FFF2-40B4-BE49-F238E27FC236}">
                  <a16:creationId xmlns:a16="http://schemas.microsoft.com/office/drawing/2014/main" id="{6928BC2B-04F0-F517-4A71-DFB04590E0D1}"/>
                </a:ext>
              </a:extLst>
            </p:cNvPr>
            <p:cNvGrpSpPr/>
            <p:nvPr/>
          </p:nvGrpSpPr>
          <p:grpSpPr>
            <a:xfrm>
              <a:off x="2509713" y="2581177"/>
              <a:ext cx="251453" cy="318510"/>
              <a:chOff x="2509713" y="2581177"/>
              <a:chExt cx="251453" cy="318510"/>
            </a:xfrm>
            <a:noFill/>
          </p:grpSpPr>
          <p:sp>
            <p:nvSpPr>
              <p:cNvPr id="282" name="Forma livre: Forma 281">
                <a:extLst>
                  <a:ext uri="{FF2B5EF4-FFF2-40B4-BE49-F238E27FC236}">
                    <a16:creationId xmlns:a16="http://schemas.microsoft.com/office/drawing/2014/main" id="{99B4068C-7228-95BF-9990-908ADA492301}"/>
                  </a:ext>
                </a:extLst>
              </p:cNvPr>
              <p:cNvSpPr/>
              <p:nvPr/>
            </p:nvSpPr>
            <p:spPr>
              <a:xfrm>
                <a:off x="2541195" y="2631769"/>
                <a:ext cx="30010" cy="51190"/>
              </a:xfrm>
              <a:custGeom>
                <a:avLst/>
                <a:gdLst>
                  <a:gd name="connsiteX0" fmla="*/ 30011 w 30010"/>
                  <a:gd name="connsiteY0" fmla="*/ 0 h 51190"/>
                  <a:gd name="connsiteX1" fmla="*/ 30011 w 30010"/>
                  <a:gd name="connsiteY1" fmla="*/ 51190 h 51190"/>
                  <a:gd name="connsiteX2" fmla="*/ 0 w 30010"/>
                  <a:gd name="connsiteY2" fmla="*/ 51190 h 511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0010" h="51190">
                    <a:moveTo>
                      <a:pt x="30011" y="0"/>
                    </a:moveTo>
                    <a:lnTo>
                      <a:pt x="30011" y="51190"/>
                    </a:lnTo>
                    <a:lnTo>
                      <a:pt x="0" y="5119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83" name="Forma livre: Forma 282">
                <a:extLst>
                  <a:ext uri="{FF2B5EF4-FFF2-40B4-BE49-F238E27FC236}">
                    <a16:creationId xmlns:a16="http://schemas.microsoft.com/office/drawing/2014/main" id="{4037FAC2-63CE-7015-C612-AAA47073EEE0}"/>
                  </a:ext>
                </a:extLst>
              </p:cNvPr>
              <p:cNvSpPr/>
              <p:nvPr/>
            </p:nvSpPr>
            <p:spPr>
              <a:xfrm>
                <a:off x="2509713" y="2630237"/>
                <a:ext cx="202392" cy="269449"/>
              </a:xfrm>
              <a:custGeom>
                <a:avLst/>
                <a:gdLst>
                  <a:gd name="connsiteX0" fmla="*/ 121144 w 202392"/>
                  <a:gd name="connsiteY0" fmla="*/ 269450 h 269449"/>
                  <a:gd name="connsiteX1" fmla="*/ 0 w 202392"/>
                  <a:gd name="connsiteY1" fmla="*/ 269450 h 269449"/>
                  <a:gd name="connsiteX2" fmla="*/ 0 w 202392"/>
                  <a:gd name="connsiteY2" fmla="*/ 52267 h 269449"/>
                  <a:gd name="connsiteX3" fmla="*/ 52291 w 202392"/>
                  <a:gd name="connsiteY3" fmla="*/ 0 h 269449"/>
                  <a:gd name="connsiteX4" fmla="*/ 202393 w 202392"/>
                  <a:gd name="connsiteY4" fmla="*/ 0 h 269449"/>
                  <a:gd name="connsiteX5" fmla="*/ 202393 w 202392"/>
                  <a:gd name="connsiteY5" fmla="*/ 82876 h 2694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02392" h="269449">
                    <a:moveTo>
                      <a:pt x="121144" y="269450"/>
                    </a:moveTo>
                    <a:lnTo>
                      <a:pt x="0" y="269450"/>
                    </a:lnTo>
                    <a:lnTo>
                      <a:pt x="0" y="52267"/>
                    </a:lnTo>
                    <a:lnTo>
                      <a:pt x="52291" y="0"/>
                    </a:lnTo>
                    <a:lnTo>
                      <a:pt x="202393" y="0"/>
                    </a:lnTo>
                    <a:lnTo>
                      <a:pt x="202393" y="82876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84" name="Forma livre: Forma 283">
                <a:extLst>
                  <a:ext uri="{FF2B5EF4-FFF2-40B4-BE49-F238E27FC236}">
                    <a16:creationId xmlns:a16="http://schemas.microsoft.com/office/drawing/2014/main" id="{D5B04A6A-1B8D-DC0D-F9E0-BA6F40B3C18E}"/>
                  </a:ext>
                </a:extLst>
              </p:cNvPr>
              <p:cNvSpPr/>
              <p:nvPr/>
            </p:nvSpPr>
            <p:spPr>
              <a:xfrm>
                <a:off x="2586534" y="2605707"/>
                <a:ext cx="150101" cy="107406"/>
              </a:xfrm>
              <a:custGeom>
                <a:avLst/>
                <a:gdLst>
                  <a:gd name="connsiteX0" fmla="*/ 0 w 150101"/>
                  <a:gd name="connsiteY0" fmla="*/ 0 h 107406"/>
                  <a:gd name="connsiteX1" fmla="*/ 150101 w 150101"/>
                  <a:gd name="connsiteY1" fmla="*/ 0 h 107406"/>
                  <a:gd name="connsiteX2" fmla="*/ 150101 w 150101"/>
                  <a:gd name="connsiteY2" fmla="*/ 107407 h 1074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50101" h="107406">
                    <a:moveTo>
                      <a:pt x="0" y="0"/>
                    </a:moveTo>
                    <a:lnTo>
                      <a:pt x="150101" y="0"/>
                    </a:lnTo>
                    <a:lnTo>
                      <a:pt x="150101" y="107407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85" name="Forma livre: Forma 284">
                <a:extLst>
                  <a:ext uri="{FF2B5EF4-FFF2-40B4-BE49-F238E27FC236}">
                    <a16:creationId xmlns:a16="http://schemas.microsoft.com/office/drawing/2014/main" id="{EB9F64C9-8643-8947-FC46-F591326C7548}"/>
                  </a:ext>
                </a:extLst>
              </p:cNvPr>
              <p:cNvSpPr/>
              <p:nvPr/>
            </p:nvSpPr>
            <p:spPr>
              <a:xfrm>
                <a:off x="2611064" y="2581177"/>
                <a:ext cx="150101" cy="131936"/>
              </a:xfrm>
              <a:custGeom>
                <a:avLst/>
                <a:gdLst>
                  <a:gd name="connsiteX0" fmla="*/ 0 w 150101"/>
                  <a:gd name="connsiteY0" fmla="*/ 0 h 131936"/>
                  <a:gd name="connsiteX1" fmla="*/ 150101 w 150101"/>
                  <a:gd name="connsiteY1" fmla="*/ 0 h 131936"/>
                  <a:gd name="connsiteX2" fmla="*/ 150101 w 150101"/>
                  <a:gd name="connsiteY2" fmla="*/ 131937 h 1319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50101" h="131936">
                    <a:moveTo>
                      <a:pt x="0" y="0"/>
                    </a:moveTo>
                    <a:lnTo>
                      <a:pt x="150101" y="0"/>
                    </a:lnTo>
                    <a:lnTo>
                      <a:pt x="150101" y="131937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286" name="Gráfico 4">
              <a:extLst>
                <a:ext uri="{FF2B5EF4-FFF2-40B4-BE49-F238E27FC236}">
                  <a16:creationId xmlns:a16="http://schemas.microsoft.com/office/drawing/2014/main" id="{31FEC551-E86B-25A4-0554-286D6F98BD15}"/>
                </a:ext>
              </a:extLst>
            </p:cNvPr>
            <p:cNvGrpSpPr/>
            <p:nvPr/>
          </p:nvGrpSpPr>
          <p:grpSpPr>
            <a:xfrm>
              <a:off x="2554645" y="2721478"/>
              <a:ext cx="66554" cy="146451"/>
              <a:chOff x="2554645" y="2721478"/>
              <a:chExt cx="66554" cy="146451"/>
            </a:xfrm>
            <a:noFill/>
          </p:grpSpPr>
          <p:sp>
            <p:nvSpPr>
              <p:cNvPr id="287" name="Forma livre: Forma 286">
                <a:extLst>
                  <a:ext uri="{FF2B5EF4-FFF2-40B4-BE49-F238E27FC236}">
                    <a16:creationId xmlns:a16="http://schemas.microsoft.com/office/drawing/2014/main" id="{732E4F4F-F3C3-4012-49E2-FC659DEA9F3A}"/>
                  </a:ext>
                </a:extLst>
              </p:cNvPr>
              <p:cNvSpPr/>
              <p:nvPr/>
            </p:nvSpPr>
            <p:spPr>
              <a:xfrm>
                <a:off x="2554645" y="2809906"/>
                <a:ext cx="58011" cy="58023"/>
              </a:xfrm>
              <a:custGeom>
                <a:avLst/>
                <a:gdLst>
                  <a:gd name="connsiteX0" fmla="*/ 0 w 58011"/>
                  <a:gd name="connsiteY0" fmla="*/ 0 h 58023"/>
                  <a:gd name="connsiteX1" fmla="*/ 58011 w 58011"/>
                  <a:gd name="connsiteY1" fmla="*/ 0 h 58023"/>
                  <a:gd name="connsiteX2" fmla="*/ 58011 w 58011"/>
                  <a:gd name="connsiteY2" fmla="*/ 58023 h 58023"/>
                  <a:gd name="connsiteX3" fmla="*/ 0 w 58011"/>
                  <a:gd name="connsiteY3" fmla="*/ 58023 h 580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8011" h="58023">
                    <a:moveTo>
                      <a:pt x="0" y="0"/>
                    </a:moveTo>
                    <a:lnTo>
                      <a:pt x="58011" y="0"/>
                    </a:lnTo>
                    <a:lnTo>
                      <a:pt x="58011" y="58023"/>
                    </a:lnTo>
                    <a:lnTo>
                      <a:pt x="0" y="58023"/>
                    </a:lnTo>
                    <a:close/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288" name="Gráfico 4">
                <a:extLst>
                  <a:ext uri="{FF2B5EF4-FFF2-40B4-BE49-F238E27FC236}">
                    <a16:creationId xmlns:a16="http://schemas.microsoft.com/office/drawing/2014/main" id="{FF21A6D1-BE02-2B0C-76A7-A4A1E9CAD0B6}"/>
                  </a:ext>
                </a:extLst>
              </p:cNvPr>
              <p:cNvGrpSpPr/>
              <p:nvPr/>
            </p:nvGrpSpPr>
            <p:grpSpPr>
              <a:xfrm>
                <a:off x="2554645" y="2721478"/>
                <a:ext cx="66554" cy="60799"/>
                <a:chOff x="2554645" y="2721478"/>
                <a:chExt cx="66554" cy="60799"/>
              </a:xfrm>
              <a:noFill/>
            </p:grpSpPr>
            <p:sp>
              <p:nvSpPr>
                <p:cNvPr id="289" name="Forma livre: Forma 288">
                  <a:extLst>
                    <a:ext uri="{FF2B5EF4-FFF2-40B4-BE49-F238E27FC236}">
                      <a16:creationId xmlns:a16="http://schemas.microsoft.com/office/drawing/2014/main" id="{1818F643-24AC-05AE-4023-B43C77578E4A}"/>
                    </a:ext>
                  </a:extLst>
                </p:cNvPr>
                <p:cNvSpPr/>
                <p:nvPr/>
              </p:nvSpPr>
              <p:spPr>
                <a:xfrm>
                  <a:off x="2574604" y="2721478"/>
                  <a:ext cx="46595" cy="42539"/>
                </a:xfrm>
                <a:custGeom>
                  <a:avLst/>
                  <a:gdLst>
                    <a:gd name="connsiteX0" fmla="*/ 0 w 46595"/>
                    <a:gd name="connsiteY0" fmla="*/ 27354 h 42539"/>
                    <a:gd name="connsiteX1" fmla="*/ 13665 w 46595"/>
                    <a:gd name="connsiteY1" fmla="*/ 42539 h 42539"/>
                    <a:gd name="connsiteX2" fmla="*/ 46596 w 46595"/>
                    <a:gd name="connsiteY2" fmla="*/ 0 h 4253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46595" h="42539">
                      <a:moveTo>
                        <a:pt x="0" y="27354"/>
                      </a:moveTo>
                      <a:lnTo>
                        <a:pt x="13665" y="42539"/>
                      </a:lnTo>
                      <a:lnTo>
                        <a:pt x="46596" y="0"/>
                      </a:ln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90" name="Forma livre: Forma 289">
                  <a:extLst>
                    <a:ext uri="{FF2B5EF4-FFF2-40B4-BE49-F238E27FC236}">
                      <a16:creationId xmlns:a16="http://schemas.microsoft.com/office/drawing/2014/main" id="{2C64221F-A11A-4A5E-BF7A-D5E4EE1DBD81}"/>
                    </a:ext>
                  </a:extLst>
                </p:cNvPr>
                <p:cNvSpPr/>
                <p:nvPr/>
              </p:nvSpPr>
              <p:spPr>
                <a:xfrm>
                  <a:off x="2554645" y="2724266"/>
                  <a:ext cx="58023" cy="58011"/>
                </a:xfrm>
                <a:custGeom>
                  <a:avLst/>
                  <a:gdLst>
                    <a:gd name="connsiteX0" fmla="*/ 37178 w 58023"/>
                    <a:gd name="connsiteY0" fmla="*/ 0 h 58011"/>
                    <a:gd name="connsiteX1" fmla="*/ 0 w 58023"/>
                    <a:gd name="connsiteY1" fmla="*/ 0 h 58011"/>
                    <a:gd name="connsiteX2" fmla="*/ 0 w 58023"/>
                    <a:gd name="connsiteY2" fmla="*/ 58011 h 58011"/>
                    <a:gd name="connsiteX3" fmla="*/ 58023 w 58023"/>
                    <a:gd name="connsiteY3" fmla="*/ 58011 h 58011"/>
                    <a:gd name="connsiteX4" fmla="*/ 58023 w 58023"/>
                    <a:gd name="connsiteY4" fmla="*/ 44202 h 5801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8023" h="58011">
                      <a:moveTo>
                        <a:pt x="37178" y="0"/>
                      </a:moveTo>
                      <a:lnTo>
                        <a:pt x="0" y="0"/>
                      </a:lnTo>
                      <a:lnTo>
                        <a:pt x="0" y="58011"/>
                      </a:lnTo>
                      <a:lnTo>
                        <a:pt x="58023" y="58011"/>
                      </a:lnTo>
                      <a:lnTo>
                        <a:pt x="58023" y="44202"/>
                      </a:ln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</p:grpSp>
      <p:grpSp>
        <p:nvGrpSpPr>
          <p:cNvPr id="291" name="Gráfico 4">
            <a:extLst>
              <a:ext uri="{FF2B5EF4-FFF2-40B4-BE49-F238E27FC236}">
                <a16:creationId xmlns:a16="http://schemas.microsoft.com/office/drawing/2014/main" id="{FAD29AF2-2A9E-6079-DC4B-E447DD9AF10C}"/>
              </a:ext>
            </a:extLst>
          </p:cNvPr>
          <p:cNvGrpSpPr/>
          <p:nvPr/>
        </p:nvGrpSpPr>
        <p:grpSpPr>
          <a:xfrm>
            <a:off x="2529002" y="2031041"/>
            <a:ext cx="224362" cy="352613"/>
            <a:chOff x="2529002" y="2031041"/>
            <a:chExt cx="224362" cy="352613"/>
          </a:xfrm>
          <a:noFill/>
        </p:grpSpPr>
        <p:grpSp>
          <p:nvGrpSpPr>
            <p:cNvPr id="292" name="Gráfico 4">
              <a:extLst>
                <a:ext uri="{FF2B5EF4-FFF2-40B4-BE49-F238E27FC236}">
                  <a16:creationId xmlns:a16="http://schemas.microsoft.com/office/drawing/2014/main" id="{8B9F1B7E-6CC2-545A-F220-489058EC3836}"/>
                </a:ext>
              </a:extLst>
            </p:cNvPr>
            <p:cNvGrpSpPr/>
            <p:nvPr/>
          </p:nvGrpSpPr>
          <p:grpSpPr>
            <a:xfrm>
              <a:off x="2668752" y="2174130"/>
              <a:ext cx="84611" cy="80267"/>
              <a:chOff x="2668752" y="2174130"/>
              <a:chExt cx="84611" cy="80267"/>
            </a:xfrm>
            <a:noFill/>
          </p:grpSpPr>
          <p:sp>
            <p:nvSpPr>
              <p:cNvPr id="293" name="Forma livre: Forma 292">
                <a:extLst>
                  <a:ext uri="{FF2B5EF4-FFF2-40B4-BE49-F238E27FC236}">
                    <a16:creationId xmlns:a16="http://schemas.microsoft.com/office/drawing/2014/main" id="{2EE8D852-C86C-21FF-FC53-E7FC43FFD9AC}"/>
                  </a:ext>
                </a:extLst>
              </p:cNvPr>
              <p:cNvSpPr/>
              <p:nvPr/>
            </p:nvSpPr>
            <p:spPr>
              <a:xfrm>
                <a:off x="2668752" y="2181729"/>
                <a:ext cx="69881" cy="72669"/>
              </a:xfrm>
              <a:custGeom>
                <a:avLst/>
                <a:gdLst>
                  <a:gd name="connsiteX0" fmla="*/ 39476 w 69881"/>
                  <a:gd name="connsiteY0" fmla="*/ 0 h 72669"/>
                  <a:gd name="connsiteX1" fmla="*/ 0 w 69881"/>
                  <a:gd name="connsiteY1" fmla="*/ 0 h 72669"/>
                  <a:gd name="connsiteX2" fmla="*/ 0 w 69881"/>
                  <a:gd name="connsiteY2" fmla="*/ 72669 h 72669"/>
                  <a:gd name="connsiteX3" fmla="*/ 69881 w 69881"/>
                  <a:gd name="connsiteY3" fmla="*/ 72669 h 72669"/>
                  <a:gd name="connsiteX4" fmla="*/ 69881 w 69881"/>
                  <a:gd name="connsiteY4" fmla="*/ 54098 h 726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9881" h="72669">
                    <a:moveTo>
                      <a:pt x="39476" y="0"/>
                    </a:moveTo>
                    <a:lnTo>
                      <a:pt x="0" y="0"/>
                    </a:lnTo>
                    <a:lnTo>
                      <a:pt x="0" y="72669"/>
                    </a:lnTo>
                    <a:lnTo>
                      <a:pt x="69881" y="72669"/>
                    </a:lnTo>
                    <a:lnTo>
                      <a:pt x="69881" y="54098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94" name="Forma livre: Forma 293">
                <a:extLst>
                  <a:ext uri="{FF2B5EF4-FFF2-40B4-BE49-F238E27FC236}">
                    <a16:creationId xmlns:a16="http://schemas.microsoft.com/office/drawing/2014/main" id="{0B0CB02A-52E7-9903-3655-B1B5F0F22D8C}"/>
                  </a:ext>
                </a:extLst>
              </p:cNvPr>
              <p:cNvSpPr/>
              <p:nvPr/>
            </p:nvSpPr>
            <p:spPr>
              <a:xfrm>
                <a:off x="2693761" y="2174130"/>
                <a:ext cx="59602" cy="54409"/>
              </a:xfrm>
              <a:custGeom>
                <a:avLst/>
                <a:gdLst>
                  <a:gd name="connsiteX0" fmla="*/ 0 w 59602"/>
                  <a:gd name="connsiteY0" fmla="*/ 35001 h 54409"/>
                  <a:gd name="connsiteX1" fmla="*/ 17482 w 59602"/>
                  <a:gd name="connsiteY1" fmla="*/ 54409 h 54409"/>
                  <a:gd name="connsiteX2" fmla="*/ 59603 w 59602"/>
                  <a:gd name="connsiteY2" fmla="*/ 0 h 544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59602" h="54409">
                    <a:moveTo>
                      <a:pt x="0" y="35001"/>
                    </a:moveTo>
                    <a:lnTo>
                      <a:pt x="17482" y="54409"/>
                    </a:lnTo>
                    <a:lnTo>
                      <a:pt x="59603" y="0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295" name="Gráfico 4">
              <a:extLst>
                <a:ext uri="{FF2B5EF4-FFF2-40B4-BE49-F238E27FC236}">
                  <a16:creationId xmlns:a16="http://schemas.microsoft.com/office/drawing/2014/main" id="{F13A68DE-AA34-2043-5DC7-A8E18707BFFC}"/>
                </a:ext>
              </a:extLst>
            </p:cNvPr>
            <p:cNvGrpSpPr/>
            <p:nvPr/>
          </p:nvGrpSpPr>
          <p:grpSpPr>
            <a:xfrm>
              <a:off x="2529002" y="2031041"/>
              <a:ext cx="86167" cy="106592"/>
              <a:chOff x="2529002" y="2031041"/>
              <a:chExt cx="86167" cy="106592"/>
            </a:xfrm>
            <a:noFill/>
          </p:grpSpPr>
          <p:sp>
            <p:nvSpPr>
              <p:cNvPr id="296" name="Forma livre: Forma 295">
                <a:extLst>
                  <a:ext uri="{FF2B5EF4-FFF2-40B4-BE49-F238E27FC236}">
                    <a16:creationId xmlns:a16="http://schemas.microsoft.com/office/drawing/2014/main" id="{BE777FB9-0608-1F79-CD39-7DC906E7C9E2}"/>
                  </a:ext>
                </a:extLst>
              </p:cNvPr>
              <p:cNvSpPr/>
              <p:nvPr/>
            </p:nvSpPr>
            <p:spPr>
              <a:xfrm>
                <a:off x="2529002" y="2101712"/>
                <a:ext cx="86167" cy="35921"/>
              </a:xfrm>
              <a:custGeom>
                <a:avLst/>
                <a:gdLst>
                  <a:gd name="connsiteX0" fmla="*/ 0 w 86167"/>
                  <a:gd name="connsiteY0" fmla="*/ 35922 h 35921"/>
                  <a:gd name="connsiteX1" fmla="*/ 0 w 86167"/>
                  <a:gd name="connsiteY1" fmla="*/ 21072 h 35921"/>
                  <a:gd name="connsiteX2" fmla="*/ 25476 w 86167"/>
                  <a:gd name="connsiteY2" fmla="*/ 0 h 35921"/>
                  <a:gd name="connsiteX3" fmla="*/ 59447 w 86167"/>
                  <a:gd name="connsiteY3" fmla="*/ 0 h 35921"/>
                  <a:gd name="connsiteX4" fmla="*/ 86167 w 86167"/>
                  <a:gd name="connsiteY4" fmla="*/ 21072 h 35921"/>
                  <a:gd name="connsiteX5" fmla="*/ 86167 w 86167"/>
                  <a:gd name="connsiteY5" fmla="*/ 35922 h 359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86167" h="35921">
                    <a:moveTo>
                      <a:pt x="0" y="35922"/>
                    </a:moveTo>
                    <a:lnTo>
                      <a:pt x="0" y="21072"/>
                    </a:lnTo>
                    <a:cubicBezTo>
                      <a:pt x="0" y="5684"/>
                      <a:pt x="11140" y="0"/>
                      <a:pt x="25476" y="0"/>
                    </a:cubicBezTo>
                    <a:lnTo>
                      <a:pt x="59447" y="0"/>
                    </a:lnTo>
                    <a:cubicBezTo>
                      <a:pt x="73782" y="0"/>
                      <a:pt x="86167" y="5684"/>
                      <a:pt x="86167" y="21072"/>
                    </a:cubicBezTo>
                    <a:lnTo>
                      <a:pt x="86167" y="35922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97" name="Forma livre: Forma 296">
                <a:extLst>
                  <a:ext uri="{FF2B5EF4-FFF2-40B4-BE49-F238E27FC236}">
                    <a16:creationId xmlns:a16="http://schemas.microsoft.com/office/drawing/2014/main" id="{F0F5379A-5696-2A2B-BD51-096EE26DADEA}"/>
                  </a:ext>
                </a:extLst>
              </p:cNvPr>
              <p:cNvSpPr/>
              <p:nvPr/>
            </p:nvSpPr>
            <p:spPr>
              <a:xfrm>
                <a:off x="2552144" y="2031041"/>
                <a:ext cx="39858" cy="47971"/>
              </a:xfrm>
              <a:custGeom>
                <a:avLst/>
                <a:gdLst>
                  <a:gd name="connsiteX0" fmla="*/ 39859 w 39858"/>
                  <a:gd name="connsiteY0" fmla="*/ 27737 h 47971"/>
                  <a:gd name="connsiteX1" fmla="*/ 19935 w 39858"/>
                  <a:gd name="connsiteY1" fmla="*/ 47972 h 47971"/>
                  <a:gd name="connsiteX2" fmla="*/ 0 w 39858"/>
                  <a:gd name="connsiteY2" fmla="*/ 27737 h 47971"/>
                  <a:gd name="connsiteX3" fmla="*/ 0 w 39858"/>
                  <a:gd name="connsiteY3" fmla="*/ 20234 h 47971"/>
                  <a:gd name="connsiteX4" fmla="*/ 19935 w 39858"/>
                  <a:gd name="connsiteY4" fmla="*/ 0 h 47971"/>
                  <a:gd name="connsiteX5" fmla="*/ 39859 w 39858"/>
                  <a:gd name="connsiteY5" fmla="*/ 20234 h 47971"/>
                  <a:gd name="connsiteX6" fmla="*/ 39859 w 39858"/>
                  <a:gd name="connsiteY6" fmla="*/ 27737 h 479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9858" h="47971">
                    <a:moveTo>
                      <a:pt x="39859" y="27737"/>
                    </a:moveTo>
                    <a:cubicBezTo>
                      <a:pt x="39859" y="38865"/>
                      <a:pt x="30896" y="47972"/>
                      <a:pt x="19935" y="47972"/>
                    </a:cubicBezTo>
                    <a:cubicBezTo>
                      <a:pt x="8974" y="47972"/>
                      <a:pt x="0" y="38865"/>
                      <a:pt x="0" y="27737"/>
                    </a:cubicBezTo>
                    <a:lnTo>
                      <a:pt x="0" y="20234"/>
                    </a:lnTo>
                    <a:cubicBezTo>
                      <a:pt x="0" y="9106"/>
                      <a:pt x="8974" y="0"/>
                      <a:pt x="19935" y="0"/>
                    </a:cubicBezTo>
                    <a:cubicBezTo>
                      <a:pt x="30896" y="0"/>
                      <a:pt x="39859" y="9106"/>
                      <a:pt x="39859" y="20234"/>
                    </a:cubicBezTo>
                    <a:lnTo>
                      <a:pt x="39859" y="27737"/>
                    </a:ln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298" name="Gráfico 4">
              <a:extLst>
                <a:ext uri="{FF2B5EF4-FFF2-40B4-BE49-F238E27FC236}">
                  <a16:creationId xmlns:a16="http://schemas.microsoft.com/office/drawing/2014/main" id="{4254B592-782E-90D1-B758-2082C1434452}"/>
                </a:ext>
              </a:extLst>
            </p:cNvPr>
            <p:cNvGrpSpPr/>
            <p:nvPr/>
          </p:nvGrpSpPr>
          <p:grpSpPr>
            <a:xfrm>
              <a:off x="2529002" y="2153573"/>
              <a:ext cx="86167" cy="106604"/>
              <a:chOff x="2529002" y="2153573"/>
              <a:chExt cx="86167" cy="106604"/>
            </a:xfrm>
            <a:noFill/>
          </p:grpSpPr>
          <p:sp>
            <p:nvSpPr>
              <p:cNvPr id="299" name="Forma livre: Forma 298">
                <a:extLst>
                  <a:ext uri="{FF2B5EF4-FFF2-40B4-BE49-F238E27FC236}">
                    <a16:creationId xmlns:a16="http://schemas.microsoft.com/office/drawing/2014/main" id="{A5CCFD79-2748-ED0D-110B-423BC94AE6DA}"/>
                  </a:ext>
                </a:extLst>
              </p:cNvPr>
              <p:cNvSpPr/>
              <p:nvPr/>
            </p:nvSpPr>
            <p:spPr>
              <a:xfrm>
                <a:off x="2529002" y="2224256"/>
                <a:ext cx="86167" cy="35921"/>
              </a:xfrm>
              <a:custGeom>
                <a:avLst/>
                <a:gdLst>
                  <a:gd name="connsiteX0" fmla="*/ 0 w 86167"/>
                  <a:gd name="connsiteY0" fmla="*/ 35922 h 35921"/>
                  <a:gd name="connsiteX1" fmla="*/ 0 w 86167"/>
                  <a:gd name="connsiteY1" fmla="*/ 21072 h 35921"/>
                  <a:gd name="connsiteX2" fmla="*/ 25476 w 86167"/>
                  <a:gd name="connsiteY2" fmla="*/ 0 h 35921"/>
                  <a:gd name="connsiteX3" fmla="*/ 59447 w 86167"/>
                  <a:gd name="connsiteY3" fmla="*/ 0 h 35921"/>
                  <a:gd name="connsiteX4" fmla="*/ 86167 w 86167"/>
                  <a:gd name="connsiteY4" fmla="*/ 21072 h 35921"/>
                  <a:gd name="connsiteX5" fmla="*/ 86167 w 86167"/>
                  <a:gd name="connsiteY5" fmla="*/ 35922 h 359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86167" h="35921">
                    <a:moveTo>
                      <a:pt x="0" y="35922"/>
                    </a:moveTo>
                    <a:lnTo>
                      <a:pt x="0" y="21072"/>
                    </a:lnTo>
                    <a:cubicBezTo>
                      <a:pt x="0" y="5684"/>
                      <a:pt x="11140" y="0"/>
                      <a:pt x="25476" y="0"/>
                    </a:cubicBezTo>
                    <a:lnTo>
                      <a:pt x="59447" y="0"/>
                    </a:lnTo>
                    <a:cubicBezTo>
                      <a:pt x="73782" y="0"/>
                      <a:pt x="86167" y="5684"/>
                      <a:pt x="86167" y="21072"/>
                    </a:cubicBezTo>
                    <a:lnTo>
                      <a:pt x="86167" y="35922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00" name="Forma livre: Forma 299">
                <a:extLst>
                  <a:ext uri="{FF2B5EF4-FFF2-40B4-BE49-F238E27FC236}">
                    <a16:creationId xmlns:a16="http://schemas.microsoft.com/office/drawing/2014/main" id="{7F339D2F-470A-FCB4-4EB0-3A1FDC167C12}"/>
                  </a:ext>
                </a:extLst>
              </p:cNvPr>
              <p:cNvSpPr/>
              <p:nvPr/>
            </p:nvSpPr>
            <p:spPr>
              <a:xfrm>
                <a:off x="2552144" y="2153573"/>
                <a:ext cx="39858" cy="47971"/>
              </a:xfrm>
              <a:custGeom>
                <a:avLst/>
                <a:gdLst>
                  <a:gd name="connsiteX0" fmla="*/ 39859 w 39858"/>
                  <a:gd name="connsiteY0" fmla="*/ 27737 h 47971"/>
                  <a:gd name="connsiteX1" fmla="*/ 19935 w 39858"/>
                  <a:gd name="connsiteY1" fmla="*/ 47972 h 47971"/>
                  <a:gd name="connsiteX2" fmla="*/ 0 w 39858"/>
                  <a:gd name="connsiteY2" fmla="*/ 27737 h 47971"/>
                  <a:gd name="connsiteX3" fmla="*/ 0 w 39858"/>
                  <a:gd name="connsiteY3" fmla="*/ 20235 h 47971"/>
                  <a:gd name="connsiteX4" fmla="*/ 19935 w 39858"/>
                  <a:gd name="connsiteY4" fmla="*/ 0 h 47971"/>
                  <a:gd name="connsiteX5" fmla="*/ 39859 w 39858"/>
                  <a:gd name="connsiteY5" fmla="*/ 20235 h 47971"/>
                  <a:gd name="connsiteX6" fmla="*/ 39859 w 39858"/>
                  <a:gd name="connsiteY6" fmla="*/ 27737 h 479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9858" h="47971">
                    <a:moveTo>
                      <a:pt x="39859" y="27737"/>
                    </a:moveTo>
                    <a:cubicBezTo>
                      <a:pt x="39859" y="38866"/>
                      <a:pt x="30896" y="47972"/>
                      <a:pt x="19935" y="47972"/>
                    </a:cubicBezTo>
                    <a:cubicBezTo>
                      <a:pt x="8974" y="47972"/>
                      <a:pt x="0" y="38866"/>
                      <a:pt x="0" y="27737"/>
                    </a:cubicBezTo>
                    <a:lnTo>
                      <a:pt x="0" y="20235"/>
                    </a:lnTo>
                    <a:cubicBezTo>
                      <a:pt x="0" y="9106"/>
                      <a:pt x="8974" y="0"/>
                      <a:pt x="19935" y="0"/>
                    </a:cubicBezTo>
                    <a:cubicBezTo>
                      <a:pt x="30896" y="0"/>
                      <a:pt x="39859" y="9106"/>
                      <a:pt x="39859" y="20235"/>
                    </a:cubicBezTo>
                    <a:lnTo>
                      <a:pt x="39859" y="27737"/>
                    </a:ln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301" name="Gráfico 4">
              <a:extLst>
                <a:ext uri="{FF2B5EF4-FFF2-40B4-BE49-F238E27FC236}">
                  <a16:creationId xmlns:a16="http://schemas.microsoft.com/office/drawing/2014/main" id="{9A39EE00-C459-3732-DF63-FC263B81149E}"/>
                </a:ext>
              </a:extLst>
            </p:cNvPr>
            <p:cNvGrpSpPr/>
            <p:nvPr/>
          </p:nvGrpSpPr>
          <p:grpSpPr>
            <a:xfrm>
              <a:off x="2529002" y="2277050"/>
              <a:ext cx="86167" cy="106604"/>
              <a:chOff x="2529002" y="2277050"/>
              <a:chExt cx="86167" cy="106604"/>
            </a:xfrm>
            <a:noFill/>
          </p:grpSpPr>
          <p:sp>
            <p:nvSpPr>
              <p:cNvPr id="302" name="Forma livre: Forma 301">
                <a:extLst>
                  <a:ext uri="{FF2B5EF4-FFF2-40B4-BE49-F238E27FC236}">
                    <a16:creationId xmlns:a16="http://schemas.microsoft.com/office/drawing/2014/main" id="{EB29A035-4A01-857B-F82F-347577601959}"/>
                  </a:ext>
                </a:extLst>
              </p:cNvPr>
              <p:cNvSpPr/>
              <p:nvPr/>
            </p:nvSpPr>
            <p:spPr>
              <a:xfrm>
                <a:off x="2529002" y="2347733"/>
                <a:ext cx="86167" cy="35921"/>
              </a:xfrm>
              <a:custGeom>
                <a:avLst/>
                <a:gdLst>
                  <a:gd name="connsiteX0" fmla="*/ 0 w 86167"/>
                  <a:gd name="connsiteY0" fmla="*/ 35922 h 35921"/>
                  <a:gd name="connsiteX1" fmla="*/ 0 w 86167"/>
                  <a:gd name="connsiteY1" fmla="*/ 21072 h 35921"/>
                  <a:gd name="connsiteX2" fmla="*/ 25476 w 86167"/>
                  <a:gd name="connsiteY2" fmla="*/ 0 h 35921"/>
                  <a:gd name="connsiteX3" fmla="*/ 59447 w 86167"/>
                  <a:gd name="connsiteY3" fmla="*/ 0 h 35921"/>
                  <a:gd name="connsiteX4" fmla="*/ 86167 w 86167"/>
                  <a:gd name="connsiteY4" fmla="*/ 21072 h 35921"/>
                  <a:gd name="connsiteX5" fmla="*/ 86167 w 86167"/>
                  <a:gd name="connsiteY5" fmla="*/ 35922 h 359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86167" h="35921">
                    <a:moveTo>
                      <a:pt x="0" y="35922"/>
                    </a:moveTo>
                    <a:lnTo>
                      <a:pt x="0" y="21072"/>
                    </a:lnTo>
                    <a:cubicBezTo>
                      <a:pt x="0" y="5684"/>
                      <a:pt x="11140" y="0"/>
                      <a:pt x="25476" y="0"/>
                    </a:cubicBezTo>
                    <a:lnTo>
                      <a:pt x="59447" y="0"/>
                    </a:lnTo>
                    <a:cubicBezTo>
                      <a:pt x="73782" y="0"/>
                      <a:pt x="86167" y="5684"/>
                      <a:pt x="86167" y="21072"/>
                    </a:cubicBezTo>
                    <a:lnTo>
                      <a:pt x="86167" y="35922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03" name="Forma livre: Forma 302">
                <a:extLst>
                  <a:ext uri="{FF2B5EF4-FFF2-40B4-BE49-F238E27FC236}">
                    <a16:creationId xmlns:a16="http://schemas.microsoft.com/office/drawing/2014/main" id="{4897834E-8DFE-8023-4AED-1FF482055933}"/>
                  </a:ext>
                </a:extLst>
              </p:cNvPr>
              <p:cNvSpPr/>
              <p:nvPr/>
            </p:nvSpPr>
            <p:spPr>
              <a:xfrm>
                <a:off x="2552144" y="2277050"/>
                <a:ext cx="39858" cy="47971"/>
              </a:xfrm>
              <a:custGeom>
                <a:avLst/>
                <a:gdLst>
                  <a:gd name="connsiteX0" fmla="*/ 39859 w 39858"/>
                  <a:gd name="connsiteY0" fmla="*/ 27737 h 47971"/>
                  <a:gd name="connsiteX1" fmla="*/ 19935 w 39858"/>
                  <a:gd name="connsiteY1" fmla="*/ 47972 h 47971"/>
                  <a:gd name="connsiteX2" fmla="*/ 0 w 39858"/>
                  <a:gd name="connsiteY2" fmla="*/ 27737 h 47971"/>
                  <a:gd name="connsiteX3" fmla="*/ 0 w 39858"/>
                  <a:gd name="connsiteY3" fmla="*/ 20234 h 47971"/>
                  <a:gd name="connsiteX4" fmla="*/ 19935 w 39858"/>
                  <a:gd name="connsiteY4" fmla="*/ 0 h 47971"/>
                  <a:gd name="connsiteX5" fmla="*/ 39859 w 39858"/>
                  <a:gd name="connsiteY5" fmla="*/ 20234 h 47971"/>
                  <a:gd name="connsiteX6" fmla="*/ 39859 w 39858"/>
                  <a:gd name="connsiteY6" fmla="*/ 27737 h 479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9858" h="47971">
                    <a:moveTo>
                      <a:pt x="39859" y="27737"/>
                    </a:moveTo>
                    <a:cubicBezTo>
                      <a:pt x="39859" y="38865"/>
                      <a:pt x="30896" y="47972"/>
                      <a:pt x="19935" y="47972"/>
                    </a:cubicBezTo>
                    <a:cubicBezTo>
                      <a:pt x="8974" y="47972"/>
                      <a:pt x="0" y="38865"/>
                      <a:pt x="0" y="27737"/>
                    </a:cubicBezTo>
                    <a:lnTo>
                      <a:pt x="0" y="20234"/>
                    </a:lnTo>
                    <a:cubicBezTo>
                      <a:pt x="0" y="9106"/>
                      <a:pt x="8974" y="0"/>
                      <a:pt x="19935" y="0"/>
                    </a:cubicBezTo>
                    <a:cubicBezTo>
                      <a:pt x="30896" y="0"/>
                      <a:pt x="39859" y="9106"/>
                      <a:pt x="39859" y="20234"/>
                    </a:cubicBezTo>
                    <a:lnTo>
                      <a:pt x="39859" y="27737"/>
                    </a:ln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304" name="Forma livre: Forma 303">
              <a:extLst>
                <a:ext uri="{FF2B5EF4-FFF2-40B4-BE49-F238E27FC236}">
                  <a16:creationId xmlns:a16="http://schemas.microsoft.com/office/drawing/2014/main" id="{D136114D-059C-F7E8-43A4-970F69834E18}"/>
                </a:ext>
              </a:extLst>
            </p:cNvPr>
            <p:cNvSpPr/>
            <p:nvPr/>
          </p:nvSpPr>
          <p:spPr>
            <a:xfrm>
              <a:off x="2668752" y="2304655"/>
              <a:ext cx="72836" cy="72848"/>
            </a:xfrm>
            <a:custGeom>
              <a:avLst/>
              <a:gdLst>
                <a:gd name="connsiteX0" fmla="*/ 0 w 72836"/>
                <a:gd name="connsiteY0" fmla="*/ 0 h 72848"/>
                <a:gd name="connsiteX1" fmla="*/ 72837 w 72836"/>
                <a:gd name="connsiteY1" fmla="*/ 0 h 72848"/>
                <a:gd name="connsiteX2" fmla="*/ 72837 w 72836"/>
                <a:gd name="connsiteY2" fmla="*/ 72849 h 72848"/>
                <a:gd name="connsiteX3" fmla="*/ 0 w 72836"/>
                <a:gd name="connsiteY3" fmla="*/ 72849 h 72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2836" h="72848">
                  <a:moveTo>
                    <a:pt x="0" y="0"/>
                  </a:moveTo>
                  <a:lnTo>
                    <a:pt x="72837" y="0"/>
                  </a:lnTo>
                  <a:lnTo>
                    <a:pt x="72837" y="72849"/>
                  </a:lnTo>
                  <a:lnTo>
                    <a:pt x="0" y="72849"/>
                  </a:ln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05" name="Forma livre: Forma 304">
              <a:extLst>
                <a:ext uri="{FF2B5EF4-FFF2-40B4-BE49-F238E27FC236}">
                  <a16:creationId xmlns:a16="http://schemas.microsoft.com/office/drawing/2014/main" id="{8381F622-2882-C547-E4A1-B1DABEDECE3B}"/>
                </a:ext>
              </a:extLst>
            </p:cNvPr>
            <p:cNvSpPr/>
            <p:nvPr/>
          </p:nvSpPr>
          <p:spPr>
            <a:xfrm>
              <a:off x="2668752" y="2058802"/>
              <a:ext cx="72836" cy="72848"/>
            </a:xfrm>
            <a:custGeom>
              <a:avLst/>
              <a:gdLst>
                <a:gd name="connsiteX0" fmla="*/ 0 w 72836"/>
                <a:gd name="connsiteY0" fmla="*/ 0 h 72848"/>
                <a:gd name="connsiteX1" fmla="*/ 72837 w 72836"/>
                <a:gd name="connsiteY1" fmla="*/ 0 h 72848"/>
                <a:gd name="connsiteX2" fmla="*/ 72837 w 72836"/>
                <a:gd name="connsiteY2" fmla="*/ 72849 h 72848"/>
                <a:gd name="connsiteX3" fmla="*/ 0 w 72836"/>
                <a:gd name="connsiteY3" fmla="*/ 72849 h 72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2836" h="72848">
                  <a:moveTo>
                    <a:pt x="0" y="0"/>
                  </a:moveTo>
                  <a:lnTo>
                    <a:pt x="72837" y="0"/>
                  </a:lnTo>
                  <a:lnTo>
                    <a:pt x="72837" y="72849"/>
                  </a:lnTo>
                  <a:lnTo>
                    <a:pt x="0" y="72849"/>
                  </a:ln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306" name="Gráfico 4">
            <a:extLst>
              <a:ext uri="{FF2B5EF4-FFF2-40B4-BE49-F238E27FC236}">
                <a16:creationId xmlns:a16="http://schemas.microsoft.com/office/drawing/2014/main" id="{0632125E-6A94-54E7-CD94-BAA3738A5886}"/>
              </a:ext>
            </a:extLst>
          </p:cNvPr>
          <p:cNvGrpSpPr/>
          <p:nvPr/>
        </p:nvGrpSpPr>
        <p:grpSpPr>
          <a:xfrm>
            <a:off x="2474437" y="3127029"/>
            <a:ext cx="333491" cy="292951"/>
            <a:chOff x="2474437" y="3127029"/>
            <a:chExt cx="333491" cy="292951"/>
          </a:xfrm>
          <a:noFill/>
        </p:grpSpPr>
        <p:sp>
          <p:nvSpPr>
            <p:cNvPr id="307" name="Forma livre: Forma 306">
              <a:extLst>
                <a:ext uri="{FF2B5EF4-FFF2-40B4-BE49-F238E27FC236}">
                  <a16:creationId xmlns:a16="http://schemas.microsoft.com/office/drawing/2014/main" id="{29A4C385-17B9-E4D2-1C06-72B3F47654E2}"/>
                </a:ext>
              </a:extLst>
            </p:cNvPr>
            <p:cNvSpPr/>
            <p:nvPr/>
          </p:nvSpPr>
          <p:spPr>
            <a:xfrm>
              <a:off x="2509437" y="3318532"/>
              <a:ext cx="83953" cy="40935"/>
            </a:xfrm>
            <a:custGeom>
              <a:avLst/>
              <a:gdLst>
                <a:gd name="connsiteX0" fmla="*/ 0 w 83953"/>
                <a:gd name="connsiteY0" fmla="*/ 40936 h 40935"/>
                <a:gd name="connsiteX1" fmla="*/ 0 w 83953"/>
                <a:gd name="connsiteY1" fmla="*/ 19516 h 40935"/>
                <a:gd name="connsiteX2" fmla="*/ 25069 w 83953"/>
                <a:gd name="connsiteY2" fmla="*/ 0 h 40935"/>
                <a:gd name="connsiteX3" fmla="*/ 41989 w 83953"/>
                <a:gd name="connsiteY3" fmla="*/ 17327 h 40935"/>
                <a:gd name="connsiteX4" fmla="*/ 57688 w 83953"/>
                <a:gd name="connsiteY4" fmla="*/ 0 h 40935"/>
                <a:gd name="connsiteX5" fmla="*/ 83953 w 83953"/>
                <a:gd name="connsiteY5" fmla="*/ 19516 h 40935"/>
                <a:gd name="connsiteX6" fmla="*/ 83953 w 83953"/>
                <a:gd name="connsiteY6" fmla="*/ 40936 h 409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3953" h="40935">
                  <a:moveTo>
                    <a:pt x="0" y="40936"/>
                  </a:moveTo>
                  <a:lnTo>
                    <a:pt x="0" y="19516"/>
                  </a:lnTo>
                  <a:cubicBezTo>
                    <a:pt x="0" y="6234"/>
                    <a:pt x="6091" y="0"/>
                    <a:pt x="25069" y="0"/>
                  </a:cubicBezTo>
                  <a:lnTo>
                    <a:pt x="41989" y="17327"/>
                  </a:lnTo>
                  <a:lnTo>
                    <a:pt x="57688" y="0"/>
                  </a:lnTo>
                  <a:cubicBezTo>
                    <a:pt x="75721" y="0"/>
                    <a:pt x="83953" y="3829"/>
                    <a:pt x="83953" y="19516"/>
                  </a:cubicBezTo>
                  <a:lnTo>
                    <a:pt x="83953" y="40936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308" name="Gráfico 4">
              <a:extLst>
                <a:ext uri="{FF2B5EF4-FFF2-40B4-BE49-F238E27FC236}">
                  <a16:creationId xmlns:a16="http://schemas.microsoft.com/office/drawing/2014/main" id="{6B1C76D0-CD2E-0907-B0D7-D67D8DE938DF}"/>
                </a:ext>
              </a:extLst>
            </p:cNvPr>
            <p:cNvGrpSpPr/>
            <p:nvPr/>
          </p:nvGrpSpPr>
          <p:grpSpPr>
            <a:xfrm>
              <a:off x="2490423" y="3387576"/>
              <a:ext cx="121969" cy="32403"/>
              <a:chOff x="2490423" y="3387576"/>
              <a:chExt cx="121969" cy="32403"/>
            </a:xfrm>
          </p:grpSpPr>
          <p:sp>
            <p:nvSpPr>
              <p:cNvPr id="309" name="Forma livre: Forma 308">
                <a:extLst>
                  <a:ext uri="{FF2B5EF4-FFF2-40B4-BE49-F238E27FC236}">
                    <a16:creationId xmlns:a16="http://schemas.microsoft.com/office/drawing/2014/main" id="{66B547D3-CFB0-468B-C574-CE0037B66403}"/>
                  </a:ext>
                </a:extLst>
              </p:cNvPr>
              <p:cNvSpPr/>
              <p:nvPr/>
            </p:nvSpPr>
            <p:spPr>
              <a:xfrm>
                <a:off x="2612393" y="3387576"/>
                <a:ext cx="1196" cy="32403"/>
              </a:xfrm>
              <a:custGeom>
                <a:avLst/>
                <a:gdLst>
                  <a:gd name="connsiteX0" fmla="*/ 0 w 1196"/>
                  <a:gd name="connsiteY0" fmla="*/ 0 h 32403"/>
                  <a:gd name="connsiteX1" fmla="*/ 0 w 1196"/>
                  <a:gd name="connsiteY1" fmla="*/ 32404 h 324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6" h="32403">
                    <a:moveTo>
                      <a:pt x="0" y="0"/>
                    </a:moveTo>
                    <a:lnTo>
                      <a:pt x="0" y="32404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10" name="Forma livre: Forma 309">
                <a:extLst>
                  <a:ext uri="{FF2B5EF4-FFF2-40B4-BE49-F238E27FC236}">
                    <a16:creationId xmlns:a16="http://schemas.microsoft.com/office/drawing/2014/main" id="{20F22C4A-DB85-4989-8BB8-01C5F9E3D131}"/>
                  </a:ext>
                </a:extLst>
              </p:cNvPr>
              <p:cNvSpPr/>
              <p:nvPr/>
            </p:nvSpPr>
            <p:spPr>
              <a:xfrm>
                <a:off x="2490423" y="3387576"/>
                <a:ext cx="1196" cy="32403"/>
              </a:xfrm>
              <a:custGeom>
                <a:avLst/>
                <a:gdLst>
                  <a:gd name="connsiteX0" fmla="*/ 0 w 1196"/>
                  <a:gd name="connsiteY0" fmla="*/ 32404 h 32403"/>
                  <a:gd name="connsiteX1" fmla="*/ 0 w 1196"/>
                  <a:gd name="connsiteY1" fmla="*/ 0 h 324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6" h="32403">
                    <a:moveTo>
                      <a:pt x="0" y="32404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311" name="Forma livre: Forma 310">
              <a:extLst>
                <a:ext uri="{FF2B5EF4-FFF2-40B4-BE49-F238E27FC236}">
                  <a16:creationId xmlns:a16="http://schemas.microsoft.com/office/drawing/2014/main" id="{E1C00C68-963E-3D28-280C-2AC61FDAC10D}"/>
                </a:ext>
              </a:extLst>
            </p:cNvPr>
            <p:cNvSpPr/>
            <p:nvPr/>
          </p:nvSpPr>
          <p:spPr>
            <a:xfrm>
              <a:off x="2532615" y="3253617"/>
              <a:ext cx="37573" cy="45207"/>
            </a:xfrm>
            <a:custGeom>
              <a:avLst/>
              <a:gdLst>
                <a:gd name="connsiteX0" fmla="*/ 37573 w 37573"/>
                <a:gd name="connsiteY0" fmla="*/ 26146 h 45207"/>
                <a:gd name="connsiteX1" fmla="*/ 18787 w 37573"/>
                <a:gd name="connsiteY1" fmla="*/ 45207 h 45207"/>
                <a:gd name="connsiteX2" fmla="*/ 0 w 37573"/>
                <a:gd name="connsiteY2" fmla="*/ 26146 h 45207"/>
                <a:gd name="connsiteX3" fmla="*/ 0 w 37573"/>
                <a:gd name="connsiteY3" fmla="*/ 19074 h 45207"/>
                <a:gd name="connsiteX4" fmla="*/ 18787 w 37573"/>
                <a:gd name="connsiteY4" fmla="*/ 0 h 45207"/>
                <a:gd name="connsiteX5" fmla="*/ 37573 w 37573"/>
                <a:gd name="connsiteY5" fmla="*/ 19074 h 45207"/>
                <a:gd name="connsiteX6" fmla="*/ 37573 w 37573"/>
                <a:gd name="connsiteY6" fmla="*/ 26146 h 452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7573" h="45207">
                  <a:moveTo>
                    <a:pt x="37573" y="26146"/>
                  </a:moveTo>
                  <a:cubicBezTo>
                    <a:pt x="37573" y="36640"/>
                    <a:pt x="29113" y="45207"/>
                    <a:pt x="18787" y="45207"/>
                  </a:cubicBezTo>
                  <a:cubicBezTo>
                    <a:pt x="8460" y="45207"/>
                    <a:pt x="0" y="36628"/>
                    <a:pt x="0" y="26146"/>
                  </a:cubicBezTo>
                  <a:lnTo>
                    <a:pt x="0" y="19074"/>
                  </a:lnTo>
                  <a:cubicBezTo>
                    <a:pt x="0" y="8580"/>
                    <a:pt x="8460" y="0"/>
                    <a:pt x="18787" y="0"/>
                  </a:cubicBezTo>
                  <a:cubicBezTo>
                    <a:pt x="29113" y="0"/>
                    <a:pt x="37573" y="8580"/>
                    <a:pt x="37573" y="19074"/>
                  </a:cubicBezTo>
                  <a:lnTo>
                    <a:pt x="37573" y="26146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12" name="Forma livre: Forma 311">
              <a:extLst>
                <a:ext uri="{FF2B5EF4-FFF2-40B4-BE49-F238E27FC236}">
                  <a16:creationId xmlns:a16="http://schemas.microsoft.com/office/drawing/2014/main" id="{8CB9E7FE-0288-8CFF-C5C0-A5E789EFE7D8}"/>
                </a:ext>
              </a:extLst>
            </p:cNvPr>
            <p:cNvSpPr/>
            <p:nvPr/>
          </p:nvSpPr>
          <p:spPr>
            <a:xfrm>
              <a:off x="2474437" y="3361131"/>
              <a:ext cx="153954" cy="24422"/>
            </a:xfrm>
            <a:custGeom>
              <a:avLst/>
              <a:gdLst>
                <a:gd name="connsiteX0" fmla="*/ 40840 w 153954"/>
                <a:gd name="connsiteY0" fmla="*/ 24423 h 24422"/>
                <a:gd name="connsiteX1" fmla="*/ 0 w 153954"/>
                <a:gd name="connsiteY1" fmla="*/ 24423 h 24422"/>
                <a:gd name="connsiteX2" fmla="*/ 0 w 153954"/>
                <a:gd name="connsiteY2" fmla="*/ 0 h 24422"/>
                <a:gd name="connsiteX3" fmla="*/ 153954 w 153954"/>
                <a:gd name="connsiteY3" fmla="*/ 0 h 24422"/>
                <a:gd name="connsiteX4" fmla="*/ 153954 w 153954"/>
                <a:gd name="connsiteY4" fmla="*/ 24423 h 24422"/>
                <a:gd name="connsiteX5" fmla="*/ 63838 w 153954"/>
                <a:gd name="connsiteY5" fmla="*/ 24423 h 244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53954" h="24422">
                  <a:moveTo>
                    <a:pt x="40840" y="24423"/>
                  </a:moveTo>
                  <a:lnTo>
                    <a:pt x="0" y="24423"/>
                  </a:lnTo>
                  <a:lnTo>
                    <a:pt x="0" y="0"/>
                  </a:lnTo>
                  <a:lnTo>
                    <a:pt x="153954" y="0"/>
                  </a:lnTo>
                  <a:lnTo>
                    <a:pt x="153954" y="24423"/>
                  </a:lnTo>
                  <a:lnTo>
                    <a:pt x="63838" y="24423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13" name="Forma livre: Forma 312">
              <a:extLst>
                <a:ext uri="{FF2B5EF4-FFF2-40B4-BE49-F238E27FC236}">
                  <a16:creationId xmlns:a16="http://schemas.microsoft.com/office/drawing/2014/main" id="{5CC46B2A-4326-1788-529C-CD4CBDDE0FA1}"/>
                </a:ext>
              </a:extLst>
            </p:cNvPr>
            <p:cNvSpPr/>
            <p:nvPr/>
          </p:nvSpPr>
          <p:spPr>
            <a:xfrm>
              <a:off x="2688963" y="3318532"/>
              <a:ext cx="83953" cy="40935"/>
            </a:xfrm>
            <a:custGeom>
              <a:avLst/>
              <a:gdLst>
                <a:gd name="connsiteX0" fmla="*/ 0 w 83953"/>
                <a:gd name="connsiteY0" fmla="*/ 40936 h 40935"/>
                <a:gd name="connsiteX1" fmla="*/ 0 w 83953"/>
                <a:gd name="connsiteY1" fmla="*/ 19516 h 40935"/>
                <a:gd name="connsiteX2" fmla="*/ 25069 w 83953"/>
                <a:gd name="connsiteY2" fmla="*/ 0 h 40935"/>
                <a:gd name="connsiteX3" fmla="*/ 41989 w 83953"/>
                <a:gd name="connsiteY3" fmla="*/ 17327 h 40935"/>
                <a:gd name="connsiteX4" fmla="*/ 57688 w 83953"/>
                <a:gd name="connsiteY4" fmla="*/ 0 h 40935"/>
                <a:gd name="connsiteX5" fmla="*/ 83953 w 83953"/>
                <a:gd name="connsiteY5" fmla="*/ 19516 h 40935"/>
                <a:gd name="connsiteX6" fmla="*/ 83953 w 83953"/>
                <a:gd name="connsiteY6" fmla="*/ 40936 h 409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3953" h="40935">
                  <a:moveTo>
                    <a:pt x="0" y="40936"/>
                  </a:moveTo>
                  <a:lnTo>
                    <a:pt x="0" y="19516"/>
                  </a:lnTo>
                  <a:cubicBezTo>
                    <a:pt x="0" y="6234"/>
                    <a:pt x="6091" y="0"/>
                    <a:pt x="25069" y="0"/>
                  </a:cubicBezTo>
                  <a:lnTo>
                    <a:pt x="41989" y="17327"/>
                  </a:lnTo>
                  <a:lnTo>
                    <a:pt x="57688" y="0"/>
                  </a:lnTo>
                  <a:cubicBezTo>
                    <a:pt x="75721" y="0"/>
                    <a:pt x="83953" y="3829"/>
                    <a:pt x="83953" y="19516"/>
                  </a:cubicBezTo>
                  <a:lnTo>
                    <a:pt x="83953" y="40936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314" name="Gráfico 4">
              <a:extLst>
                <a:ext uri="{FF2B5EF4-FFF2-40B4-BE49-F238E27FC236}">
                  <a16:creationId xmlns:a16="http://schemas.microsoft.com/office/drawing/2014/main" id="{4A95DF5F-89C6-F0B6-E9AF-19922411A29F}"/>
                </a:ext>
              </a:extLst>
            </p:cNvPr>
            <p:cNvGrpSpPr/>
            <p:nvPr/>
          </p:nvGrpSpPr>
          <p:grpSpPr>
            <a:xfrm>
              <a:off x="2669961" y="3387576"/>
              <a:ext cx="121969" cy="32403"/>
              <a:chOff x="2669961" y="3387576"/>
              <a:chExt cx="121969" cy="32403"/>
            </a:xfrm>
          </p:grpSpPr>
          <p:sp>
            <p:nvSpPr>
              <p:cNvPr id="315" name="Forma livre: Forma 314">
                <a:extLst>
                  <a:ext uri="{FF2B5EF4-FFF2-40B4-BE49-F238E27FC236}">
                    <a16:creationId xmlns:a16="http://schemas.microsoft.com/office/drawing/2014/main" id="{A23F0255-45AD-C13D-E35D-CF8335A8F022}"/>
                  </a:ext>
                </a:extLst>
              </p:cNvPr>
              <p:cNvSpPr/>
              <p:nvPr/>
            </p:nvSpPr>
            <p:spPr>
              <a:xfrm>
                <a:off x="2791930" y="3387576"/>
                <a:ext cx="1196" cy="32403"/>
              </a:xfrm>
              <a:custGeom>
                <a:avLst/>
                <a:gdLst>
                  <a:gd name="connsiteX0" fmla="*/ 0 w 1196"/>
                  <a:gd name="connsiteY0" fmla="*/ 0 h 32403"/>
                  <a:gd name="connsiteX1" fmla="*/ 0 w 1196"/>
                  <a:gd name="connsiteY1" fmla="*/ 32404 h 324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6" h="32403">
                    <a:moveTo>
                      <a:pt x="0" y="0"/>
                    </a:moveTo>
                    <a:lnTo>
                      <a:pt x="0" y="32404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16" name="Forma livre: Forma 315">
                <a:extLst>
                  <a:ext uri="{FF2B5EF4-FFF2-40B4-BE49-F238E27FC236}">
                    <a16:creationId xmlns:a16="http://schemas.microsoft.com/office/drawing/2014/main" id="{6E898169-D1A0-9066-49F0-9310632228A2}"/>
                  </a:ext>
                </a:extLst>
              </p:cNvPr>
              <p:cNvSpPr/>
              <p:nvPr/>
            </p:nvSpPr>
            <p:spPr>
              <a:xfrm>
                <a:off x="2669961" y="3387576"/>
                <a:ext cx="1196" cy="32403"/>
              </a:xfrm>
              <a:custGeom>
                <a:avLst/>
                <a:gdLst>
                  <a:gd name="connsiteX0" fmla="*/ 0 w 1196"/>
                  <a:gd name="connsiteY0" fmla="*/ 32404 h 32403"/>
                  <a:gd name="connsiteX1" fmla="*/ 0 w 1196"/>
                  <a:gd name="connsiteY1" fmla="*/ 0 h 324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6" h="32403">
                    <a:moveTo>
                      <a:pt x="0" y="32404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317" name="Forma livre: Forma 316">
              <a:extLst>
                <a:ext uri="{FF2B5EF4-FFF2-40B4-BE49-F238E27FC236}">
                  <a16:creationId xmlns:a16="http://schemas.microsoft.com/office/drawing/2014/main" id="{BB3481EC-B319-14DE-F10F-137472EDCCFC}"/>
                </a:ext>
              </a:extLst>
            </p:cNvPr>
            <p:cNvSpPr/>
            <p:nvPr/>
          </p:nvSpPr>
          <p:spPr>
            <a:xfrm>
              <a:off x="2712153" y="3253617"/>
              <a:ext cx="37573" cy="45207"/>
            </a:xfrm>
            <a:custGeom>
              <a:avLst/>
              <a:gdLst>
                <a:gd name="connsiteX0" fmla="*/ 37573 w 37573"/>
                <a:gd name="connsiteY0" fmla="*/ 26146 h 45207"/>
                <a:gd name="connsiteX1" fmla="*/ 18787 w 37573"/>
                <a:gd name="connsiteY1" fmla="*/ 45207 h 45207"/>
                <a:gd name="connsiteX2" fmla="*/ 0 w 37573"/>
                <a:gd name="connsiteY2" fmla="*/ 26146 h 45207"/>
                <a:gd name="connsiteX3" fmla="*/ 0 w 37573"/>
                <a:gd name="connsiteY3" fmla="*/ 19074 h 45207"/>
                <a:gd name="connsiteX4" fmla="*/ 18787 w 37573"/>
                <a:gd name="connsiteY4" fmla="*/ 0 h 45207"/>
                <a:gd name="connsiteX5" fmla="*/ 37573 w 37573"/>
                <a:gd name="connsiteY5" fmla="*/ 19074 h 45207"/>
                <a:gd name="connsiteX6" fmla="*/ 37573 w 37573"/>
                <a:gd name="connsiteY6" fmla="*/ 26146 h 452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7573" h="45207">
                  <a:moveTo>
                    <a:pt x="37573" y="26146"/>
                  </a:moveTo>
                  <a:cubicBezTo>
                    <a:pt x="37573" y="36640"/>
                    <a:pt x="29113" y="45207"/>
                    <a:pt x="18787" y="45207"/>
                  </a:cubicBezTo>
                  <a:cubicBezTo>
                    <a:pt x="8460" y="45207"/>
                    <a:pt x="0" y="36628"/>
                    <a:pt x="0" y="26146"/>
                  </a:cubicBezTo>
                  <a:lnTo>
                    <a:pt x="0" y="19074"/>
                  </a:lnTo>
                  <a:cubicBezTo>
                    <a:pt x="0" y="8580"/>
                    <a:pt x="8460" y="0"/>
                    <a:pt x="18787" y="0"/>
                  </a:cubicBezTo>
                  <a:cubicBezTo>
                    <a:pt x="29113" y="0"/>
                    <a:pt x="37573" y="8580"/>
                    <a:pt x="37573" y="19074"/>
                  </a:cubicBezTo>
                  <a:lnTo>
                    <a:pt x="37573" y="26146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18" name="Forma livre: Forma 317">
              <a:extLst>
                <a:ext uri="{FF2B5EF4-FFF2-40B4-BE49-F238E27FC236}">
                  <a16:creationId xmlns:a16="http://schemas.microsoft.com/office/drawing/2014/main" id="{2D4BFF94-25AC-A54B-CB1F-3B3F4BE48E4C}"/>
                </a:ext>
              </a:extLst>
            </p:cNvPr>
            <p:cNvSpPr/>
            <p:nvPr/>
          </p:nvSpPr>
          <p:spPr>
            <a:xfrm>
              <a:off x="2653962" y="3361131"/>
              <a:ext cx="153966" cy="24422"/>
            </a:xfrm>
            <a:custGeom>
              <a:avLst/>
              <a:gdLst>
                <a:gd name="connsiteX0" fmla="*/ 40852 w 153966"/>
                <a:gd name="connsiteY0" fmla="*/ 24423 h 24422"/>
                <a:gd name="connsiteX1" fmla="*/ 0 w 153966"/>
                <a:gd name="connsiteY1" fmla="*/ 24423 h 24422"/>
                <a:gd name="connsiteX2" fmla="*/ 0 w 153966"/>
                <a:gd name="connsiteY2" fmla="*/ 0 h 24422"/>
                <a:gd name="connsiteX3" fmla="*/ 153966 w 153966"/>
                <a:gd name="connsiteY3" fmla="*/ 0 h 24422"/>
                <a:gd name="connsiteX4" fmla="*/ 153966 w 153966"/>
                <a:gd name="connsiteY4" fmla="*/ 24423 h 24422"/>
                <a:gd name="connsiteX5" fmla="*/ 63850 w 153966"/>
                <a:gd name="connsiteY5" fmla="*/ 24423 h 244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53966" h="24422">
                  <a:moveTo>
                    <a:pt x="40852" y="24423"/>
                  </a:moveTo>
                  <a:lnTo>
                    <a:pt x="0" y="24423"/>
                  </a:lnTo>
                  <a:lnTo>
                    <a:pt x="0" y="0"/>
                  </a:lnTo>
                  <a:lnTo>
                    <a:pt x="153966" y="0"/>
                  </a:lnTo>
                  <a:lnTo>
                    <a:pt x="153966" y="24423"/>
                  </a:lnTo>
                  <a:lnTo>
                    <a:pt x="63850" y="24423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19" name="Forma livre: Forma 318">
              <a:extLst>
                <a:ext uri="{FF2B5EF4-FFF2-40B4-BE49-F238E27FC236}">
                  <a16:creationId xmlns:a16="http://schemas.microsoft.com/office/drawing/2014/main" id="{A9472F0B-FE3B-8F81-4010-22FC9F8696A9}"/>
                </a:ext>
              </a:extLst>
            </p:cNvPr>
            <p:cNvSpPr/>
            <p:nvPr/>
          </p:nvSpPr>
          <p:spPr>
            <a:xfrm>
              <a:off x="2491297" y="3169639"/>
              <a:ext cx="149467" cy="121466"/>
            </a:xfrm>
            <a:custGeom>
              <a:avLst/>
              <a:gdLst>
                <a:gd name="connsiteX0" fmla="*/ 103972 w 149467"/>
                <a:gd name="connsiteY0" fmla="*/ 89278 h 121466"/>
                <a:gd name="connsiteX1" fmla="*/ 103972 w 149467"/>
                <a:gd name="connsiteY1" fmla="*/ 121467 h 121466"/>
                <a:gd name="connsiteX2" fmla="*/ 130812 w 149467"/>
                <a:gd name="connsiteY2" fmla="*/ 89278 h 121466"/>
                <a:gd name="connsiteX3" fmla="*/ 149467 w 149467"/>
                <a:gd name="connsiteY3" fmla="*/ 89278 h 121466"/>
                <a:gd name="connsiteX4" fmla="*/ 149467 w 149467"/>
                <a:gd name="connsiteY4" fmla="*/ 0 h 121466"/>
                <a:gd name="connsiteX5" fmla="*/ 0 w 149467"/>
                <a:gd name="connsiteY5" fmla="*/ 0 h 121466"/>
                <a:gd name="connsiteX6" fmla="*/ 0 w 149467"/>
                <a:gd name="connsiteY6" fmla="*/ 89278 h 121466"/>
                <a:gd name="connsiteX7" fmla="*/ 17123 w 149467"/>
                <a:gd name="connsiteY7" fmla="*/ 89278 h 1214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49467" h="121466">
                  <a:moveTo>
                    <a:pt x="103972" y="89278"/>
                  </a:moveTo>
                  <a:lnTo>
                    <a:pt x="103972" y="121467"/>
                  </a:lnTo>
                  <a:lnTo>
                    <a:pt x="130812" y="89278"/>
                  </a:lnTo>
                  <a:lnTo>
                    <a:pt x="149467" y="89278"/>
                  </a:lnTo>
                  <a:lnTo>
                    <a:pt x="149467" y="0"/>
                  </a:lnTo>
                  <a:lnTo>
                    <a:pt x="0" y="0"/>
                  </a:lnTo>
                  <a:lnTo>
                    <a:pt x="0" y="89278"/>
                  </a:lnTo>
                  <a:lnTo>
                    <a:pt x="17123" y="89278"/>
                  </a:lnTo>
                </a:path>
              </a:pathLst>
            </a:custGeom>
            <a:noFill/>
            <a:ln w="6350" cap="sq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20" name="Forma livre: Forma 319">
              <a:extLst>
                <a:ext uri="{FF2B5EF4-FFF2-40B4-BE49-F238E27FC236}">
                  <a16:creationId xmlns:a16="http://schemas.microsoft.com/office/drawing/2014/main" id="{49858790-1F56-2A9F-9DA9-AFF3416E59D6}"/>
                </a:ext>
              </a:extLst>
            </p:cNvPr>
            <p:cNvSpPr/>
            <p:nvPr/>
          </p:nvSpPr>
          <p:spPr>
            <a:xfrm>
              <a:off x="2610358" y="3127029"/>
              <a:ext cx="149467" cy="124422"/>
            </a:xfrm>
            <a:custGeom>
              <a:avLst/>
              <a:gdLst>
                <a:gd name="connsiteX0" fmla="*/ 0 w 149467"/>
                <a:gd name="connsiteY0" fmla="*/ 20462 h 124422"/>
                <a:gd name="connsiteX1" fmla="*/ 0 w 149467"/>
                <a:gd name="connsiteY1" fmla="*/ 0 h 124422"/>
                <a:gd name="connsiteX2" fmla="*/ 149467 w 149467"/>
                <a:gd name="connsiteY2" fmla="*/ 0 h 124422"/>
                <a:gd name="connsiteX3" fmla="*/ 149467 w 149467"/>
                <a:gd name="connsiteY3" fmla="*/ 92234 h 124422"/>
                <a:gd name="connsiteX4" fmla="*/ 84480 w 149467"/>
                <a:gd name="connsiteY4" fmla="*/ 92234 h 124422"/>
                <a:gd name="connsiteX5" fmla="*/ 84480 w 149467"/>
                <a:gd name="connsiteY5" fmla="*/ 124422 h 124422"/>
                <a:gd name="connsiteX6" fmla="*/ 57652 w 149467"/>
                <a:gd name="connsiteY6" fmla="*/ 92234 h 1244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9467" h="124422">
                  <a:moveTo>
                    <a:pt x="0" y="20462"/>
                  </a:moveTo>
                  <a:lnTo>
                    <a:pt x="0" y="0"/>
                  </a:lnTo>
                  <a:lnTo>
                    <a:pt x="149467" y="0"/>
                  </a:lnTo>
                  <a:lnTo>
                    <a:pt x="149467" y="92234"/>
                  </a:lnTo>
                  <a:lnTo>
                    <a:pt x="84480" y="92234"/>
                  </a:lnTo>
                  <a:lnTo>
                    <a:pt x="84480" y="124422"/>
                  </a:lnTo>
                  <a:lnTo>
                    <a:pt x="57652" y="92234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321" name="Gráfico 4">
            <a:extLst>
              <a:ext uri="{FF2B5EF4-FFF2-40B4-BE49-F238E27FC236}">
                <a16:creationId xmlns:a16="http://schemas.microsoft.com/office/drawing/2014/main" id="{63FC0E44-BECF-2E79-7F1E-580FE0F33A3B}"/>
              </a:ext>
            </a:extLst>
          </p:cNvPr>
          <p:cNvGrpSpPr/>
          <p:nvPr/>
        </p:nvGrpSpPr>
        <p:grpSpPr>
          <a:xfrm>
            <a:off x="2493977" y="999155"/>
            <a:ext cx="294398" cy="284060"/>
            <a:chOff x="2493977" y="999155"/>
            <a:chExt cx="294398" cy="284060"/>
          </a:xfrm>
          <a:noFill/>
        </p:grpSpPr>
        <p:sp>
          <p:nvSpPr>
            <p:cNvPr id="322" name="Forma livre: Forma 321">
              <a:extLst>
                <a:ext uri="{FF2B5EF4-FFF2-40B4-BE49-F238E27FC236}">
                  <a16:creationId xmlns:a16="http://schemas.microsoft.com/office/drawing/2014/main" id="{196F8075-4ABC-96E6-D6E2-8DE2B7306E14}"/>
                </a:ext>
              </a:extLst>
            </p:cNvPr>
            <p:cNvSpPr/>
            <p:nvPr/>
          </p:nvSpPr>
          <p:spPr>
            <a:xfrm>
              <a:off x="2587934" y="1108763"/>
              <a:ext cx="156898" cy="174451"/>
            </a:xfrm>
            <a:custGeom>
              <a:avLst/>
              <a:gdLst>
                <a:gd name="connsiteX0" fmla="*/ 62546 w 156898"/>
                <a:gd name="connsiteY0" fmla="*/ 174452 h 174451"/>
                <a:gd name="connsiteX1" fmla="*/ 4176 w 156898"/>
                <a:gd name="connsiteY1" fmla="*/ 115962 h 174451"/>
                <a:gd name="connsiteX2" fmla="*/ 4296 w 156898"/>
                <a:gd name="connsiteY2" fmla="*/ 95441 h 174451"/>
                <a:gd name="connsiteX3" fmla="*/ 5887 w 156898"/>
                <a:gd name="connsiteY3" fmla="*/ 93861 h 174451"/>
                <a:gd name="connsiteX4" fmla="*/ 26409 w 156898"/>
                <a:gd name="connsiteY4" fmla="*/ 93969 h 174451"/>
                <a:gd name="connsiteX5" fmla="*/ 52914 w 156898"/>
                <a:gd name="connsiteY5" fmla="*/ 120438 h 174451"/>
                <a:gd name="connsiteX6" fmla="*/ 52914 w 156898"/>
                <a:gd name="connsiteY6" fmla="*/ 14503 h 174451"/>
                <a:gd name="connsiteX7" fmla="*/ 67417 w 156898"/>
                <a:gd name="connsiteY7" fmla="*/ 0 h 174451"/>
                <a:gd name="connsiteX8" fmla="*/ 68625 w 156898"/>
                <a:gd name="connsiteY8" fmla="*/ 0 h 174451"/>
                <a:gd name="connsiteX9" fmla="*/ 83140 w 156898"/>
                <a:gd name="connsiteY9" fmla="*/ 14503 h 174451"/>
                <a:gd name="connsiteX10" fmla="*/ 83140 w 156898"/>
                <a:gd name="connsiteY10" fmla="*/ 68996 h 174451"/>
                <a:gd name="connsiteX11" fmla="*/ 138770 w 156898"/>
                <a:gd name="connsiteY11" fmla="*/ 78198 h 174451"/>
                <a:gd name="connsiteX12" fmla="*/ 156898 w 156898"/>
                <a:gd name="connsiteY12" fmla="*/ 105612 h 174451"/>
                <a:gd name="connsiteX13" fmla="*/ 151597 w 156898"/>
                <a:gd name="connsiteY13" fmla="*/ 172119 h 1744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56898" h="174451">
                  <a:moveTo>
                    <a:pt x="62546" y="174452"/>
                  </a:moveTo>
                  <a:lnTo>
                    <a:pt x="4176" y="115962"/>
                  </a:lnTo>
                  <a:cubicBezTo>
                    <a:pt x="-1436" y="110290"/>
                    <a:pt x="-1388" y="101053"/>
                    <a:pt x="4296" y="95441"/>
                  </a:cubicBezTo>
                  <a:lnTo>
                    <a:pt x="5887" y="93861"/>
                  </a:lnTo>
                  <a:cubicBezTo>
                    <a:pt x="11559" y="88249"/>
                    <a:pt x="20797" y="88297"/>
                    <a:pt x="26409" y="93969"/>
                  </a:cubicBezTo>
                  <a:lnTo>
                    <a:pt x="52914" y="120438"/>
                  </a:lnTo>
                  <a:lnTo>
                    <a:pt x="52914" y="14503"/>
                  </a:lnTo>
                  <a:cubicBezTo>
                    <a:pt x="52914" y="6533"/>
                    <a:pt x="59447" y="0"/>
                    <a:pt x="67417" y="0"/>
                  </a:cubicBezTo>
                  <a:lnTo>
                    <a:pt x="68625" y="0"/>
                  </a:lnTo>
                  <a:cubicBezTo>
                    <a:pt x="76606" y="0"/>
                    <a:pt x="83140" y="6533"/>
                    <a:pt x="83140" y="14503"/>
                  </a:cubicBezTo>
                  <a:lnTo>
                    <a:pt x="83140" y="68996"/>
                  </a:lnTo>
                  <a:lnTo>
                    <a:pt x="138770" y="78198"/>
                  </a:lnTo>
                  <a:cubicBezTo>
                    <a:pt x="138770" y="78198"/>
                    <a:pt x="156898" y="81835"/>
                    <a:pt x="156898" y="105612"/>
                  </a:cubicBezTo>
                  <a:lnTo>
                    <a:pt x="151597" y="172119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23" name="Forma livre: Forma 322">
              <a:extLst>
                <a:ext uri="{FF2B5EF4-FFF2-40B4-BE49-F238E27FC236}">
                  <a16:creationId xmlns:a16="http://schemas.microsoft.com/office/drawing/2014/main" id="{A9FB5C3F-DB36-3F1E-AF3E-EA54A23396D5}"/>
                </a:ext>
              </a:extLst>
            </p:cNvPr>
            <p:cNvSpPr/>
            <p:nvPr/>
          </p:nvSpPr>
          <p:spPr>
            <a:xfrm>
              <a:off x="2493977" y="999155"/>
              <a:ext cx="294398" cy="128634"/>
            </a:xfrm>
            <a:custGeom>
              <a:avLst/>
              <a:gdLst>
                <a:gd name="connsiteX0" fmla="*/ 201352 w 294398"/>
                <a:gd name="connsiteY0" fmla="*/ 128634 h 128634"/>
                <a:gd name="connsiteX1" fmla="*/ 273399 w 294398"/>
                <a:gd name="connsiteY1" fmla="*/ 128634 h 128634"/>
                <a:gd name="connsiteX2" fmla="*/ 294399 w 294398"/>
                <a:gd name="connsiteY2" fmla="*/ 107036 h 128634"/>
                <a:gd name="connsiteX3" fmla="*/ 294399 w 294398"/>
                <a:gd name="connsiteY3" fmla="*/ 21276 h 128634"/>
                <a:gd name="connsiteX4" fmla="*/ 273399 w 294398"/>
                <a:gd name="connsiteY4" fmla="*/ 0 h 128634"/>
                <a:gd name="connsiteX5" fmla="*/ 20988 w 294398"/>
                <a:gd name="connsiteY5" fmla="*/ 0 h 128634"/>
                <a:gd name="connsiteX6" fmla="*/ 0 w 294398"/>
                <a:gd name="connsiteY6" fmla="*/ 21276 h 128634"/>
                <a:gd name="connsiteX7" fmla="*/ 0 w 294398"/>
                <a:gd name="connsiteY7" fmla="*/ 107036 h 128634"/>
                <a:gd name="connsiteX8" fmla="*/ 20988 w 294398"/>
                <a:gd name="connsiteY8" fmla="*/ 128634 h 128634"/>
                <a:gd name="connsiteX9" fmla="*/ 122795 w 294398"/>
                <a:gd name="connsiteY9" fmla="*/ 128634 h 1286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4398" h="128634">
                  <a:moveTo>
                    <a:pt x="201352" y="128634"/>
                  </a:moveTo>
                  <a:lnTo>
                    <a:pt x="273399" y="128634"/>
                  </a:lnTo>
                  <a:cubicBezTo>
                    <a:pt x="284958" y="128634"/>
                    <a:pt x="294399" y="118750"/>
                    <a:pt x="294399" y="107036"/>
                  </a:cubicBezTo>
                  <a:lnTo>
                    <a:pt x="294399" y="21276"/>
                  </a:lnTo>
                  <a:cubicBezTo>
                    <a:pt x="294399" y="9573"/>
                    <a:pt x="284958" y="0"/>
                    <a:pt x="273399" y="0"/>
                  </a:cubicBezTo>
                  <a:lnTo>
                    <a:pt x="20988" y="0"/>
                  </a:lnTo>
                  <a:cubicBezTo>
                    <a:pt x="9453" y="0"/>
                    <a:pt x="0" y="9573"/>
                    <a:pt x="0" y="21276"/>
                  </a:cubicBezTo>
                  <a:lnTo>
                    <a:pt x="0" y="107036"/>
                  </a:lnTo>
                  <a:cubicBezTo>
                    <a:pt x="0" y="118750"/>
                    <a:pt x="9453" y="128634"/>
                    <a:pt x="20988" y="128634"/>
                  </a:cubicBezTo>
                  <a:lnTo>
                    <a:pt x="122795" y="128634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324" name="Gráfico 4">
              <a:extLst>
                <a:ext uri="{FF2B5EF4-FFF2-40B4-BE49-F238E27FC236}">
                  <a16:creationId xmlns:a16="http://schemas.microsoft.com/office/drawing/2014/main" id="{65D3C9F7-994C-D234-4136-DC7763EF6C51}"/>
                </a:ext>
              </a:extLst>
            </p:cNvPr>
            <p:cNvGrpSpPr/>
            <p:nvPr/>
          </p:nvGrpSpPr>
          <p:grpSpPr>
            <a:xfrm>
              <a:off x="2521990" y="1028220"/>
              <a:ext cx="238948" cy="72214"/>
              <a:chOff x="2521990" y="1028220"/>
              <a:chExt cx="238948" cy="72214"/>
            </a:xfrm>
            <a:noFill/>
          </p:grpSpPr>
          <p:sp>
            <p:nvSpPr>
              <p:cNvPr id="325" name="Forma livre: Forma 324">
                <a:extLst>
                  <a:ext uri="{FF2B5EF4-FFF2-40B4-BE49-F238E27FC236}">
                    <a16:creationId xmlns:a16="http://schemas.microsoft.com/office/drawing/2014/main" id="{1987EF17-2C0E-4721-9B6F-99EE89BA2BBC}"/>
                  </a:ext>
                </a:extLst>
              </p:cNvPr>
              <p:cNvSpPr/>
              <p:nvPr/>
            </p:nvSpPr>
            <p:spPr>
              <a:xfrm>
                <a:off x="2591368" y="1032050"/>
                <a:ext cx="56958" cy="63658"/>
              </a:xfrm>
              <a:custGeom>
                <a:avLst/>
                <a:gdLst>
                  <a:gd name="connsiteX0" fmla="*/ 56958 w 56958"/>
                  <a:gd name="connsiteY0" fmla="*/ 31829 h 63658"/>
                  <a:gd name="connsiteX1" fmla="*/ 28479 w 56958"/>
                  <a:gd name="connsiteY1" fmla="*/ 63659 h 63658"/>
                  <a:gd name="connsiteX2" fmla="*/ 0 w 56958"/>
                  <a:gd name="connsiteY2" fmla="*/ 31829 h 63658"/>
                  <a:gd name="connsiteX3" fmla="*/ 28479 w 56958"/>
                  <a:gd name="connsiteY3" fmla="*/ 0 h 63658"/>
                  <a:gd name="connsiteX4" fmla="*/ 56958 w 56958"/>
                  <a:gd name="connsiteY4" fmla="*/ 31829 h 636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6958" h="63658">
                    <a:moveTo>
                      <a:pt x="56958" y="31829"/>
                    </a:moveTo>
                    <a:cubicBezTo>
                      <a:pt x="56958" y="49408"/>
                      <a:pt x="44202" y="63659"/>
                      <a:pt x="28479" y="63659"/>
                    </a:cubicBezTo>
                    <a:cubicBezTo>
                      <a:pt x="12756" y="63659"/>
                      <a:pt x="0" y="49408"/>
                      <a:pt x="0" y="31829"/>
                    </a:cubicBezTo>
                    <a:cubicBezTo>
                      <a:pt x="0" y="14251"/>
                      <a:pt x="12744" y="0"/>
                      <a:pt x="28479" y="0"/>
                    </a:cubicBezTo>
                    <a:cubicBezTo>
                      <a:pt x="44214" y="0"/>
                      <a:pt x="56958" y="14251"/>
                      <a:pt x="56958" y="31829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26" name="Forma livre: Forma 325">
                <a:extLst>
                  <a:ext uri="{FF2B5EF4-FFF2-40B4-BE49-F238E27FC236}">
                    <a16:creationId xmlns:a16="http://schemas.microsoft.com/office/drawing/2014/main" id="{2D91755A-0811-91C6-DE97-64310E41E783}"/>
                  </a:ext>
                </a:extLst>
              </p:cNvPr>
              <p:cNvSpPr/>
              <p:nvPr/>
            </p:nvSpPr>
            <p:spPr>
              <a:xfrm>
                <a:off x="2659000" y="1032672"/>
                <a:ext cx="47780" cy="1196"/>
              </a:xfrm>
              <a:custGeom>
                <a:avLst/>
                <a:gdLst>
                  <a:gd name="connsiteX0" fmla="*/ 0 w 47780"/>
                  <a:gd name="connsiteY0" fmla="*/ 0 h 1196"/>
                  <a:gd name="connsiteX1" fmla="*/ 47780 w 47780"/>
                  <a:gd name="connsiteY1" fmla="*/ 0 h 11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780" h="1196">
                    <a:moveTo>
                      <a:pt x="0" y="0"/>
                    </a:moveTo>
                    <a:lnTo>
                      <a:pt x="4778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27" name="Forma livre: Forma 326">
                <a:extLst>
                  <a:ext uri="{FF2B5EF4-FFF2-40B4-BE49-F238E27FC236}">
                    <a16:creationId xmlns:a16="http://schemas.microsoft.com/office/drawing/2014/main" id="{B74F95A6-C110-6AAE-4FFB-D2048B531051}"/>
                  </a:ext>
                </a:extLst>
              </p:cNvPr>
              <p:cNvSpPr/>
              <p:nvPr/>
            </p:nvSpPr>
            <p:spPr>
              <a:xfrm>
                <a:off x="2682884" y="1032540"/>
                <a:ext cx="1196" cy="67894"/>
              </a:xfrm>
              <a:custGeom>
                <a:avLst/>
                <a:gdLst>
                  <a:gd name="connsiteX0" fmla="*/ 0 w 1196"/>
                  <a:gd name="connsiteY0" fmla="*/ 0 h 67894"/>
                  <a:gd name="connsiteX1" fmla="*/ 0 w 1196"/>
                  <a:gd name="connsiteY1" fmla="*/ 67895 h 678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6" h="67894">
                    <a:moveTo>
                      <a:pt x="0" y="0"/>
                    </a:moveTo>
                    <a:lnTo>
                      <a:pt x="0" y="67895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28" name="Forma livre: Forma 327">
                <a:extLst>
                  <a:ext uri="{FF2B5EF4-FFF2-40B4-BE49-F238E27FC236}">
                    <a16:creationId xmlns:a16="http://schemas.microsoft.com/office/drawing/2014/main" id="{BADF0F53-2891-F5CC-387C-CA5066DDF69A}"/>
                  </a:ext>
                </a:extLst>
              </p:cNvPr>
              <p:cNvSpPr/>
              <p:nvPr/>
            </p:nvSpPr>
            <p:spPr>
              <a:xfrm>
                <a:off x="2521990" y="1028220"/>
                <a:ext cx="54098" cy="67308"/>
              </a:xfrm>
              <a:custGeom>
                <a:avLst/>
                <a:gdLst>
                  <a:gd name="connsiteX0" fmla="*/ 0 w 54098"/>
                  <a:gd name="connsiteY0" fmla="*/ 0 h 67308"/>
                  <a:gd name="connsiteX1" fmla="*/ 27055 w 54098"/>
                  <a:gd name="connsiteY1" fmla="*/ 67309 h 67308"/>
                  <a:gd name="connsiteX2" fmla="*/ 54098 w 54098"/>
                  <a:gd name="connsiteY2" fmla="*/ 0 h 673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54098" h="67308">
                    <a:moveTo>
                      <a:pt x="0" y="0"/>
                    </a:moveTo>
                    <a:lnTo>
                      <a:pt x="27055" y="67309"/>
                    </a:lnTo>
                    <a:lnTo>
                      <a:pt x="54098" y="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329" name="Gráfico 4">
                <a:extLst>
                  <a:ext uri="{FF2B5EF4-FFF2-40B4-BE49-F238E27FC236}">
                    <a16:creationId xmlns:a16="http://schemas.microsoft.com/office/drawing/2014/main" id="{C8472251-E71E-C17F-D4C8-9818F967C9E9}"/>
                  </a:ext>
                </a:extLst>
              </p:cNvPr>
              <p:cNvGrpSpPr/>
              <p:nvPr/>
            </p:nvGrpSpPr>
            <p:grpSpPr>
              <a:xfrm>
                <a:off x="2727541" y="1032756"/>
                <a:ext cx="33397" cy="62007"/>
                <a:chOff x="2727541" y="1032756"/>
                <a:chExt cx="33397" cy="62007"/>
              </a:xfrm>
              <a:noFill/>
            </p:grpSpPr>
            <p:sp>
              <p:nvSpPr>
                <p:cNvPr id="330" name="Forma livre: Forma 329">
                  <a:extLst>
                    <a:ext uri="{FF2B5EF4-FFF2-40B4-BE49-F238E27FC236}">
                      <a16:creationId xmlns:a16="http://schemas.microsoft.com/office/drawing/2014/main" id="{5C0B2174-6349-1960-54BF-CB22269D643E}"/>
                    </a:ext>
                  </a:extLst>
                </p:cNvPr>
                <p:cNvSpPr/>
                <p:nvPr/>
              </p:nvSpPr>
              <p:spPr>
                <a:xfrm>
                  <a:off x="2727541" y="1032756"/>
                  <a:ext cx="33397" cy="62007"/>
                </a:xfrm>
                <a:custGeom>
                  <a:avLst/>
                  <a:gdLst>
                    <a:gd name="connsiteX0" fmla="*/ 33397 w 33397"/>
                    <a:gd name="connsiteY0" fmla="*/ 0 h 62007"/>
                    <a:gd name="connsiteX1" fmla="*/ 0 w 33397"/>
                    <a:gd name="connsiteY1" fmla="*/ 0 h 62007"/>
                    <a:gd name="connsiteX2" fmla="*/ 0 w 33397"/>
                    <a:gd name="connsiteY2" fmla="*/ 62008 h 62007"/>
                    <a:gd name="connsiteX3" fmla="*/ 33397 w 33397"/>
                    <a:gd name="connsiteY3" fmla="*/ 62008 h 6200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33397" h="62007">
                      <a:moveTo>
                        <a:pt x="33397" y="0"/>
                      </a:moveTo>
                      <a:lnTo>
                        <a:pt x="0" y="0"/>
                      </a:lnTo>
                      <a:lnTo>
                        <a:pt x="0" y="62008"/>
                      </a:lnTo>
                      <a:lnTo>
                        <a:pt x="33397" y="62008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331" name="Forma livre: Forma 330">
                  <a:extLst>
                    <a:ext uri="{FF2B5EF4-FFF2-40B4-BE49-F238E27FC236}">
                      <a16:creationId xmlns:a16="http://schemas.microsoft.com/office/drawing/2014/main" id="{A7FBE7FE-EDCF-E3C6-A156-4ACD97308886}"/>
                    </a:ext>
                  </a:extLst>
                </p:cNvPr>
                <p:cNvSpPr/>
                <p:nvPr/>
              </p:nvSpPr>
              <p:spPr>
                <a:xfrm>
                  <a:off x="2728415" y="1063759"/>
                  <a:ext cx="32523" cy="1196"/>
                </a:xfrm>
                <a:custGeom>
                  <a:avLst/>
                  <a:gdLst>
                    <a:gd name="connsiteX0" fmla="*/ 0 w 32523"/>
                    <a:gd name="connsiteY0" fmla="*/ 0 h 1196"/>
                    <a:gd name="connsiteX1" fmla="*/ 32524 w 32523"/>
                    <a:gd name="connsiteY1" fmla="*/ 0 h 119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32523" h="1196">
                      <a:moveTo>
                        <a:pt x="0" y="0"/>
                      </a:moveTo>
                      <a:lnTo>
                        <a:pt x="32524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</p:grpSp>
      <p:grpSp>
        <p:nvGrpSpPr>
          <p:cNvPr id="332" name="Gráfico 4">
            <a:extLst>
              <a:ext uri="{FF2B5EF4-FFF2-40B4-BE49-F238E27FC236}">
                <a16:creationId xmlns:a16="http://schemas.microsoft.com/office/drawing/2014/main" id="{06DAACD2-4E1B-2BC8-5946-D051E92FC581}"/>
              </a:ext>
            </a:extLst>
          </p:cNvPr>
          <p:cNvGrpSpPr/>
          <p:nvPr/>
        </p:nvGrpSpPr>
        <p:grpSpPr>
          <a:xfrm>
            <a:off x="2467532" y="1505388"/>
            <a:ext cx="347288" cy="337739"/>
            <a:chOff x="2467532" y="1505388"/>
            <a:chExt cx="347288" cy="337739"/>
          </a:xfrm>
          <a:noFill/>
        </p:grpSpPr>
        <p:grpSp>
          <p:nvGrpSpPr>
            <p:cNvPr id="333" name="Gráfico 4">
              <a:extLst>
                <a:ext uri="{FF2B5EF4-FFF2-40B4-BE49-F238E27FC236}">
                  <a16:creationId xmlns:a16="http://schemas.microsoft.com/office/drawing/2014/main" id="{2A8F3AB0-B732-3586-5A0D-FF0738526A7A}"/>
                </a:ext>
              </a:extLst>
            </p:cNvPr>
            <p:cNvGrpSpPr/>
            <p:nvPr/>
          </p:nvGrpSpPr>
          <p:grpSpPr>
            <a:xfrm>
              <a:off x="2467532" y="1505388"/>
              <a:ext cx="236038" cy="337739"/>
              <a:chOff x="2467532" y="1505388"/>
              <a:chExt cx="236038" cy="337739"/>
            </a:xfrm>
            <a:noFill/>
          </p:grpSpPr>
          <p:grpSp>
            <p:nvGrpSpPr>
              <p:cNvPr id="334" name="Gráfico 4">
                <a:extLst>
                  <a:ext uri="{FF2B5EF4-FFF2-40B4-BE49-F238E27FC236}">
                    <a16:creationId xmlns:a16="http://schemas.microsoft.com/office/drawing/2014/main" id="{CB46CBAE-88A6-771C-B6A3-30FAC8905ED5}"/>
                  </a:ext>
                </a:extLst>
              </p:cNvPr>
              <p:cNvGrpSpPr/>
              <p:nvPr/>
            </p:nvGrpSpPr>
            <p:grpSpPr>
              <a:xfrm>
                <a:off x="2544715" y="1505388"/>
                <a:ext cx="158855" cy="201148"/>
                <a:chOff x="2544715" y="1505388"/>
                <a:chExt cx="158855" cy="201148"/>
              </a:xfrm>
              <a:noFill/>
            </p:grpSpPr>
            <p:sp>
              <p:nvSpPr>
                <p:cNvPr id="335" name="Forma livre: Forma 334">
                  <a:extLst>
                    <a:ext uri="{FF2B5EF4-FFF2-40B4-BE49-F238E27FC236}">
                      <a16:creationId xmlns:a16="http://schemas.microsoft.com/office/drawing/2014/main" id="{A43A3F4E-EA05-D9CE-F450-1A7885C7EBD7}"/>
                    </a:ext>
                  </a:extLst>
                </p:cNvPr>
                <p:cNvSpPr/>
                <p:nvPr/>
              </p:nvSpPr>
              <p:spPr>
                <a:xfrm>
                  <a:off x="2550792" y="1505388"/>
                  <a:ext cx="146287" cy="101866"/>
                </a:xfrm>
                <a:custGeom>
                  <a:avLst/>
                  <a:gdLst>
                    <a:gd name="connsiteX0" fmla="*/ 145578 w 146287"/>
                    <a:gd name="connsiteY0" fmla="*/ 101866 h 101866"/>
                    <a:gd name="connsiteX1" fmla="*/ 146188 w 146287"/>
                    <a:gd name="connsiteY1" fmla="*/ 96984 h 101866"/>
                    <a:gd name="connsiteX2" fmla="*/ 123297 w 146287"/>
                    <a:gd name="connsiteY2" fmla="*/ 18224 h 101866"/>
                    <a:gd name="connsiteX3" fmla="*/ 103913 w 146287"/>
                    <a:gd name="connsiteY3" fmla="*/ 8077 h 101866"/>
                    <a:gd name="connsiteX4" fmla="*/ 72514 w 146287"/>
                    <a:gd name="connsiteY4" fmla="*/ 0 h 101866"/>
                    <a:gd name="connsiteX5" fmla="*/ 0 w 146287"/>
                    <a:gd name="connsiteY5" fmla="*/ 87794 h 10186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146287" h="101866">
                      <a:moveTo>
                        <a:pt x="145578" y="101866"/>
                      </a:moveTo>
                      <a:cubicBezTo>
                        <a:pt x="145805" y="100215"/>
                        <a:pt x="146188" y="98600"/>
                        <a:pt x="146188" y="96984"/>
                      </a:cubicBezTo>
                      <a:cubicBezTo>
                        <a:pt x="146188" y="65538"/>
                        <a:pt x="149108" y="36759"/>
                        <a:pt x="123297" y="18224"/>
                      </a:cubicBezTo>
                      <a:cubicBezTo>
                        <a:pt x="118200" y="14563"/>
                        <a:pt x="107275" y="15053"/>
                        <a:pt x="103913" y="8077"/>
                      </a:cubicBezTo>
                      <a:cubicBezTo>
                        <a:pt x="100969" y="1974"/>
                        <a:pt x="95668" y="562"/>
                        <a:pt x="72514" y="0"/>
                      </a:cubicBezTo>
                      <a:cubicBezTo>
                        <a:pt x="7419" y="1568"/>
                        <a:pt x="0" y="46655"/>
                        <a:pt x="0" y="87794"/>
                      </a:cubicBez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336" name="Forma livre: Forma 335">
                  <a:extLst>
                    <a:ext uri="{FF2B5EF4-FFF2-40B4-BE49-F238E27FC236}">
                      <a16:creationId xmlns:a16="http://schemas.microsoft.com/office/drawing/2014/main" id="{05930F23-A888-C337-E93E-BBA22CF47D37}"/>
                    </a:ext>
                  </a:extLst>
                </p:cNvPr>
                <p:cNvSpPr/>
                <p:nvPr/>
              </p:nvSpPr>
              <p:spPr>
                <a:xfrm>
                  <a:off x="2567688" y="1557033"/>
                  <a:ext cx="112587" cy="33277"/>
                </a:xfrm>
                <a:custGeom>
                  <a:avLst/>
                  <a:gdLst>
                    <a:gd name="connsiteX0" fmla="*/ 112588 w 112587"/>
                    <a:gd name="connsiteY0" fmla="*/ 33265 h 33277"/>
                    <a:gd name="connsiteX1" fmla="*/ 90475 w 112587"/>
                    <a:gd name="connsiteY1" fmla="*/ 0 h 33277"/>
                    <a:gd name="connsiteX2" fmla="*/ 60572 w 112587"/>
                    <a:gd name="connsiteY2" fmla="*/ 11978 h 33277"/>
                    <a:gd name="connsiteX3" fmla="*/ 34797 w 112587"/>
                    <a:gd name="connsiteY3" fmla="*/ 5480 h 33277"/>
                    <a:gd name="connsiteX4" fmla="*/ 0 w 112587"/>
                    <a:gd name="connsiteY4" fmla="*/ 33277 h 3327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12587" h="33277">
                      <a:moveTo>
                        <a:pt x="112588" y="33265"/>
                      </a:moveTo>
                      <a:cubicBezTo>
                        <a:pt x="112588" y="33265"/>
                        <a:pt x="94914" y="14144"/>
                        <a:pt x="90475" y="0"/>
                      </a:cubicBezTo>
                      <a:cubicBezTo>
                        <a:pt x="90475" y="0"/>
                        <a:pt x="78341" y="11978"/>
                        <a:pt x="60572" y="11978"/>
                      </a:cubicBezTo>
                      <a:cubicBezTo>
                        <a:pt x="60572" y="11978"/>
                        <a:pt x="50365" y="10829"/>
                        <a:pt x="34797" y="5480"/>
                      </a:cubicBezTo>
                      <a:cubicBezTo>
                        <a:pt x="34797" y="5480"/>
                        <a:pt x="8663" y="-1903"/>
                        <a:pt x="0" y="33277"/>
                      </a:cubicBez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337" name="Forma livre: Forma 336">
                  <a:extLst>
                    <a:ext uri="{FF2B5EF4-FFF2-40B4-BE49-F238E27FC236}">
                      <a16:creationId xmlns:a16="http://schemas.microsoft.com/office/drawing/2014/main" id="{EC272E8A-7784-0A01-91DE-DE5B5713649D}"/>
                    </a:ext>
                  </a:extLst>
                </p:cNvPr>
                <p:cNvSpPr/>
                <p:nvPr/>
              </p:nvSpPr>
              <p:spPr>
                <a:xfrm>
                  <a:off x="2544715" y="1608439"/>
                  <a:ext cx="158855" cy="98097"/>
                </a:xfrm>
                <a:custGeom>
                  <a:avLst/>
                  <a:gdLst>
                    <a:gd name="connsiteX0" fmla="*/ 9451 w 158855"/>
                    <a:gd name="connsiteY0" fmla="*/ 0 h 98097"/>
                    <a:gd name="connsiteX1" fmla="*/ 1613 w 158855"/>
                    <a:gd name="connsiteY1" fmla="*/ 22029 h 98097"/>
                    <a:gd name="connsiteX2" fmla="*/ 15278 w 158855"/>
                    <a:gd name="connsiteY2" fmla="*/ 37992 h 98097"/>
                    <a:gd name="connsiteX3" fmla="*/ 34579 w 158855"/>
                    <a:gd name="connsiteY3" fmla="*/ 74512 h 98097"/>
                    <a:gd name="connsiteX4" fmla="*/ 79428 w 158855"/>
                    <a:gd name="connsiteY4" fmla="*/ 98097 h 98097"/>
                    <a:gd name="connsiteX5" fmla="*/ 124276 w 158855"/>
                    <a:gd name="connsiteY5" fmla="*/ 74512 h 98097"/>
                    <a:gd name="connsiteX6" fmla="*/ 143577 w 158855"/>
                    <a:gd name="connsiteY6" fmla="*/ 37992 h 98097"/>
                    <a:gd name="connsiteX7" fmla="*/ 157242 w 158855"/>
                    <a:gd name="connsiteY7" fmla="*/ 22029 h 98097"/>
                    <a:gd name="connsiteX8" fmla="*/ 149405 w 158855"/>
                    <a:gd name="connsiteY8" fmla="*/ 0 h 9809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158855" h="98097">
                      <a:moveTo>
                        <a:pt x="9451" y="0"/>
                      </a:moveTo>
                      <a:cubicBezTo>
                        <a:pt x="2139" y="790"/>
                        <a:pt x="-2671" y="6342"/>
                        <a:pt x="1613" y="22029"/>
                      </a:cubicBezTo>
                      <a:cubicBezTo>
                        <a:pt x="3528" y="29017"/>
                        <a:pt x="7835" y="38459"/>
                        <a:pt x="15278" y="37992"/>
                      </a:cubicBezTo>
                      <a:cubicBezTo>
                        <a:pt x="15278" y="37992"/>
                        <a:pt x="18449" y="55845"/>
                        <a:pt x="34579" y="74512"/>
                      </a:cubicBezTo>
                      <a:cubicBezTo>
                        <a:pt x="47431" y="88931"/>
                        <a:pt x="58356" y="98097"/>
                        <a:pt x="79428" y="98097"/>
                      </a:cubicBezTo>
                      <a:cubicBezTo>
                        <a:pt x="100500" y="98097"/>
                        <a:pt x="111425" y="88931"/>
                        <a:pt x="124276" y="74512"/>
                      </a:cubicBezTo>
                      <a:cubicBezTo>
                        <a:pt x="140394" y="55857"/>
                        <a:pt x="143577" y="37992"/>
                        <a:pt x="143577" y="37992"/>
                      </a:cubicBezTo>
                      <a:cubicBezTo>
                        <a:pt x="151020" y="38459"/>
                        <a:pt x="155328" y="29029"/>
                        <a:pt x="157242" y="22029"/>
                      </a:cubicBezTo>
                      <a:cubicBezTo>
                        <a:pt x="161526" y="6342"/>
                        <a:pt x="156716" y="790"/>
                        <a:pt x="149405" y="0"/>
                      </a:cubicBez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338" name="Forma livre: Forma 337">
                <a:extLst>
                  <a:ext uri="{FF2B5EF4-FFF2-40B4-BE49-F238E27FC236}">
                    <a16:creationId xmlns:a16="http://schemas.microsoft.com/office/drawing/2014/main" id="{F0354609-6F90-2BD4-3D31-3E6938644371}"/>
                  </a:ext>
                </a:extLst>
              </p:cNvPr>
              <p:cNvSpPr/>
              <p:nvPr/>
            </p:nvSpPr>
            <p:spPr>
              <a:xfrm>
                <a:off x="2657337" y="1726818"/>
                <a:ext cx="37668" cy="13413"/>
              </a:xfrm>
              <a:custGeom>
                <a:avLst/>
                <a:gdLst>
                  <a:gd name="connsiteX0" fmla="*/ 0 w 37668"/>
                  <a:gd name="connsiteY0" fmla="*/ 0 h 13413"/>
                  <a:gd name="connsiteX1" fmla="*/ 37669 w 37668"/>
                  <a:gd name="connsiteY1" fmla="*/ 13414 h 134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7668" h="13413">
                    <a:moveTo>
                      <a:pt x="0" y="0"/>
                    </a:moveTo>
                    <a:cubicBezTo>
                      <a:pt x="0" y="0"/>
                      <a:pt x="18308" y="7168"/>
                      <a:pt x="37669" y="13414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39" name="Forma livre: Forma 338">
                <a:extLst>
                  <a:ext uri="{FF2B5EF4-FFF2-40B4-BE49-F238E27FC236}">
                    <a16:creationId xmlns:a16="http://schemas.microsoft.com/office/drawing/2014/main" id="{EEF7DB3F-6F7F-BB6C-5058-CAC4FFFB9E28}"/>
                  </a:ext>
                </a:extLst>
              </p:cNvPr>
              <p:cNvSpPr/>
              <p:nvPr/>
            </p:nvSpPr>
            <p:spPr>
              <a:xfrm>
                <a:off x="2467532" y="1726818"/>
                <a:ext cx="122220" cy="112169"/>
              </a:xfrm>
              <a:custGeom>
                <a:avLst/>
                <a:gdLst>
                  <a:gd name="connsiteX0" fmla="*/ 122220 w 122220"/>
                  <a:gd name="connsiteY0" fmla="*/ 0 h 112169"/>
                  <a:gd name="connsiteX1" fmla="*/ 53608 w 122220"/>
                  <a:gd name="connsiteY1" fmla="*/ 21694 h 112169"/>
                  <a:gd name="connsiteX2" fmla="*/ 0 w 122220"/>
                  <a:gd name="connsiteY2" fmla="*/ 84408 h 112169"/>
                  <a:gd name="connsiteX3" fmla="*/ 0 w 122220"/>
                  <a:gd name="connsiteY3" fmla="*/ 112169 h 1121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22220" h="112169">
                    <a:moveTo>
                      <a:pt x="122220" y="0"/>
                    </a:moveTo>
                    <a:cubicBezTo>
                      <a:pt x="122220" y="0"/>
                      <a:pt x="77049" y="17686"/>
                      <a:pt x="53608" y="21694"/>
                    </a:cubicBezTo>
                    <a:cubicBezTo>
                      <a:pt x="23788" y="26804"/>
                      <a:pt x="0" y="36377"/>
                      <a:pt x="0" y="84408"/>
                    </a:cubicBezTo>
                    <a:lnTo>
                      <a:pt x="0" y="112169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340" name="Gráfico 4">
                <a:extLst>
                  <a:ext uri="{FF2B5EF4-FFF2-40B4-BE49-F238E27FC236}">
                    <a16:creationId xmlns:a16="http://schemas.microsoft.com/office/drawing/2014/main" id="{673B1AEE-66BC-192F-B9D2-FEB71B95B4BD}"/>
                  </a:ext>
                </a:extLst>
              </p:cNvPr>
              <p:cNvGrpSpPr/>
              <p:nvPr/>
            </p:nvGrpSpPr>
            <p:grpSpPr>
              <a:xfrm>
                <a:off x="2569901" y="1734476"/>
                <a:ext cx="108483" cy="44669"/>
                <a:chOff x="2569901" y="1734476"/>
                <a:chExt cx="108483" cy="44669"/>
              </a:xfrm>
              <a:noFill/>
            </p:grpSpPr>
            <p:sp>
              <p:nvSpPr>
                <p:cNvPr id="341" name="Forma livre: Forma 340">
                  <a:extLst>
                    <a:ext uri="{FF2B5EF4-FFF2-40B4-BE49-F238E27FC236}">
                      <a16:creationId xmlns:a16="http://schemas.microsoft.com/office/drawing/2014/main" id="{1793F778-C058-C10B-FCBD-9A979FF6316F}"/>
                    </a:ext>
                  </a:extLst>
                </p:cNvPr>
                <p:cNvSpPr/>
                <p:nvPr/>
              </p:nvSpPr>
              <p:spPr>
                <a:xfrm>
                  <a:off x="2624143" y="1734476"/>
                  <a:ext cx="54241" cy="44669"/>
                </a:xfrm>
                <a:custGeom>
                  <a:avLst/>
                  <a:gdLst>
                    <a:gd name="connsiteX0" fmla="*/ 0 w 54241"/>
                    <a:gd name="connsiteY0" fmla="*/ 7981 h 44669"/>
                    <a:gd name="connsiteX1" fmla="*/ 39571 w 54241"/>
                    <a:gd name="connsiteY1" fmla="*/ 44669 h 44669"/>
                    <a:gd name="connsiteX2" fmla="*/ 54242 w 54241"/>
                    <a:gd name="connsiteY2" fmla="*/ 0 h 4466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54241" h="44669">
                      <a:moveTo>
                        <a:pt x="0" y="7981"/>
                      </a:moveTo>
                      <a:lnTo>
                        <a:pt x="39571" y="44669"/>
                      </a:lnTo>
                      <a:lnTo>
                        <a:pt x="54242" y="0"/>
                      </a:ln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342" name="Forma livre: Forma 341">
                  <a:extLst>
                    <a:ext uri="{FF2B5EF4-FFF2-40B4-BE49-F238E27FC236}">
                      <a16:creationId xmlns:a16="http://schemas.microsoft.com/office/drawing/2014/main" id="{C95404A8-A8F1-8FE5-6742-C69DDDA397D7}"/>
                    </a:ext>
                  </a:extLst>
                </p:cNvPr>
                <p:cNvSpPr/>
                <p:nvPr/>
              </p:nvSpPr>
              <p:spPr>
                <a:xfrm>
                  <a:off x="2569901" y="1734476"/>
                  <a:ext cx="54241" cy="44669"/>
                </a:xfrm>
                <a:custGeom>
                  <a:avLst/>
                  <a:gdLst>
                    <a:gd name="connsiteX0" fmla="*/ 54242 w 54241"/>
                    <a:gd name="connsiteY0" fmla="*/ 7981 h 44669"/>
                    <a:gd name="connsiteX1" fmla="*/ 14682 w 54241"/>
                    <a:gd name="connsiteY1" fmla="*/ 44669 h 44669"/>
                    <a:gd name="connsiteX2" fmla="*/ 0 w 54241"/>
                    <a:gd name="connsiteY2" fmla="*/ 0 h 4466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54241" h="44669">
                      <a:moveTo>
                        <a:pt x="54242" y="7981"/>
                      </a:moveTo>
                      <a:lnTo>
                        <a:pt x="14682" y="44669"/>
                      </a:lnTo>
                      <a:lnTo>
                        <a:pt x="0" y="0"/>
                      </a:ln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343" name="Gráfico 4">
                <a:extLst>
                  <a:ext uri="{FF2B5EF4-FFF2-40B4-BE49-F238E27FC236}">
                    <a16:creationId xmlns:a16="http://schemas.microsoft.com/office/drawing/2014/main" id="{DE5A23A3-FD6D-8E3A-C103-829F67CF93B5}"/>
                  </a:ext>
                </a:extLst>
              </p:cNvPr>
              <p:cNvGrpSpPr/>
              <p:nvPr/>
            </p:nvGrpSpPr>
            <p:grpSpPr>
              <a:xfrm>
                <a:off x="2597986" y="1772767"/>
                <a:ext cx="52327" cy="70359"/>
                <a:chOff x="2597986" y="1772767"/>
                <a:chExt cx="52327" cy="70359"/>
              </a:xfrm>
              <a:noFill/>
            </p:grpSpPr>
            <p:sp>
              <p:nvSpPr>
                <p:cNvPr id="344" name="Forma livre: Forma 343">
                  <a:extLst>
                    <a:ext uri="{FF2B5EF4-FFF2-40B4-BE49-F238E27FC236}">
                      <a16:creationId xmlns:a16="http://schemas.microsoft.com/office/drawing/2014/main" id="{68E8FD06-EACF-69AE-3993-257A4208789C}"/>
                    </a:ext>
                  </a:extLst>
                </p:cNvPr>
                <p:cNvSpPr/>
                <p:nvPr/>
              </p:nvSpPr>
              <p:spPr>
                <a:xfrm>
                  <a:off x="2597986" y="1772767"/>
                  <a:ext cx="13401" cy="70359"/>
                </a:xfrm>
                <a:custGeom>
                  <a:avLst/>
                  <a:gdLst>
                    <a:gd name="connsiteX0" fmla="*/ 0 w 13401"/>
                    <a:gd name="connsiteY0" fmla="*/ 0 h 70359"/>
                    <a:gd name="connsiteX1" fmla="*/ 13402 w 13401"/>
                    <a:gd name="connsiteY1" fmla="*/ 19146 h 70359"/>
                    <a:gd name="connsiteX2" fmla="*/ 7335 w 13401"/>
                    <a:gd name="connsiteY2" fmla="*/ 70360 h 7035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3401" h="70359">
                      <a:moveTo>
                        <a:pt x="0" y="0"/>
                      </a:moveTo>
                      <a:lnTo>
                        <a:pt x="13402" y="19146"/>
                      </a:lnTo>
                      <a:lnTo>
                        <a:pt x="7335" y="70360"/>
                      </a:ln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345" name="Forma livre: Forma 344">
                  <a:extLst>
                    <a:ext uri="{FF2B5EF4-FFF2-40B4-BE49-F238E27FC236}">
                      <a16:creationId xmlns:a16="http://schemas.microsoft.com/office/drawing/2014/main" id="{8005E5CF-6C2F-7D2E-A31E-C249D89E3352}"/>
                    </a:ext>
                  </a:extLst>
                </p:cNvPr>
                <p:cNvSpPr/>
                <p:nvPr/>
              </p:nvSpPr>
              <p:spPr>
                <a:xfrm>
                  <a:off x="2636899" y="1772767"/>
                  <a:ext cx="13413" cy="70359"/>
                </a:xfrm>
                <a:custGeom>
                  <a:avLst/>
                  <a:gdLst>
                    <a:gd name="connsiteX0" fmla="*/ 13414 w 13413"/>
                    <a:gd name="connsiteY0" fmla="*/ 0 h 70359"/>
                    <a:gd name="connsiteX1" fmla="*/ 0 w 13413"/>
                    <a:gd name="connsiteY1" fmla="*/ 19146 h 70359"/>
                    <a:gd name="connsiteX2" fmla="*/ 6067 w 13413"/>
                    <a:gd name="connsiteY2" fmla="*/ 70360 h 7035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3413" h="70359">
                      <a:moveTo>
                        <a:pt x="13414" y="0"/>
                      </a:moveTo>
                      <a:lnTo>
                        <a:pt x="0" y="19146"/>
                      </a:lnTo>
                      <a:lnTo>
                        <a:pt x="6067" y="70360"/>
                      </a:ln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grpSp>
          <p:nvGrpSpPr>
            <p:cNvPr id="346" name="Gráfico 4">
              <a:extLst>
                <a:ext uri="{FF2B5EF4-FFF2-40B4-BE49-F238E27FC236}">
                  <a16:creationId xmlns:a16="http://schemas.microsoft.com/office/drawing/2014/main" id="{4546CC6E-E5DC-0256-E7F2-72F261C8094F}"/>
                </a:ext>
              </a:extLst>
            </p:cNvPr>
            <p:cNvGrpSpPr/>
            <p:nvPr/>
          </p:nvGrpSpPr>
          <p:grpSpPr>
            <a:xfrm>
              <a:off x="2700199" y="1728493"/>
              <a:ext cx="114622" cy="114634"/>
              <a:chOff x="2700199" y="1728493"/>
              <a:chExt cx="114622" cy="114634"/>
            </a:xfrm>
            <a:noFill/>
          </p:grpSpPr>
          <p:sp>
            <p:nvSpPr>
              <p:cNvPr id="347" name="Forma livre: Forma 346">
                <a:extLst>
                  <a:ext uri="{FF2B5EF4-FFF2-40B4-BE49-F238E27FC236}">
                    <a16:creationId xmlns:a16="http://schemas.microsoft.com/office/drawing/2014/main" id="{E23CA78F-1CCD-B710-6B3B-7B4534A2A695}"/>
                  </a:ext>
                </a:extLst>
              </p:cNvPr>
              <p:cNvSpPr/>
              <p:nvPr/>
            </p:nvSpPr>
            <p:spPr>
              <a:xfrm>
                <a:off x="2700199" y="1728493"/>
                <a:ext cx="114622" cy="114634"/>
              </a:xfrm>
              <a:custGeom>
                <a:avLst/>
                <a:gdLst>
                  <a:gd name="connsiteX0" fmla="*/ 104834 w 114622"/>
                  <a:gd name="connsiteY0" fmla="*/ 25272 h 114634"/>
                  <a:gd name="connsiteX1" fmla="*/ 114622 w 114622"/>
                  <a:gd name="connsiteY1" fmla="*/ 57317 h 114634"/>
                  <a:gd name="connsiteX2" fmla="*/ 57305 w 114622"/>
                  <a:gd name="connsiteY2" fmla="*/ 114634 h 114634"/>
                  <a:gd name="connsiteX3" fmla="*/ 0 w 114622"/>
                  <a:gd name="connsiteY3" fmla="*/ 57317 h 114634"/>
                  <a:gd name="connsiteX4" fmla="*/ 57305 w 114622"/>
                  <a:gd name="connsiteY4" fmla="*/ 0 h 114634"/>
                  <a:gd name="connsiteX5" fmla="*/ 85545 w 114622"/>
                  <a:gd name="connsiteY5" fmla="*/ 7419 h 1146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14622" h="114634">
                    <a:moveTo>
                      <a:pt x="104834" y="25272"/>
                    </a:moveTo>
                    <a:cubicBezTo>
                      <a:pt x="111008" y="34426"/>
                      <a:pt x="114622" y="45447"/>
                      <a:pt x="114622" y="57317"/>
                    </a:cubicBezTo>
                    <a:cubicBezTo>
                      <a:pt x="114622" y="88967"/>
                      <a:pt x="88967" y="114634"/>
                      <a:pt x="57305" y="114634"/>
                    </a:cubicBezTo>
                    <a:cubicBezTo>
                      <a:pt x="25643" y="114634"/>
                      <a:pt x="0" y="88967"/>
                      <a:pt x="0" y="57317"/>
                    </a:cubicBezTo>
                    <a:cubicBezTo>
                      <a:pt x="0" y="25667"/>
                      <a:pt x="25667" y="0"/>
                      <a:pt x="57305" y="0"/>
                    </a:cubicBezTo>
                    <a:cubicBezTo>
                      <a:pt x="67584" y="0"/>
                      <a:pt x="77204" y="2716"/>
                      <a:pt x="85545" y="7419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48" name="Forma livre: Forma 347">
                <a:extLst>
                  <a:ext uri="{FF2B5EF4-FFF2-40B4-BE49-F238E27FC236}">
                    <a16:creationId xmlns:a16="http://schemas.microsoft.com/office/drawing/2014/main" id="{0DDC32B3-D5DA-550F-53E8-EB0CBEF0D6CF}"/>
                  </a:ext>
                </a:extLst>
              </p:cNvPr>
              <p:cNvSpPr/>
              <p:nvPr/>
            </p:nvSpPr>
            <p:spPr>
              <a:xfrm>
                <a:off x="2729887" y="1763829"/>
                <a:ext cx="50580" cy="41892"/>
              </a:xfrm>
              <a:custGeom>
                <a:avLst/>
                <a:gdLst>
                  <a:gd name="connsiteX0" fmla="*/ 0 w 50580"/>
                  <a:gd name="connsiteY0" fmla="*/ 20689 h 41892"/>
                  <a:gd name="connsiteX1" fmla="*/ 18152 w 50580"/>
                  <a:gd name="connsiteY1" fmla="*/ 41893 h 41892"/>
                  <a:gd name="connsiteX2" fmla="*/ 50580 w 50580"/>
                  <a:gd name="connsiteY2" fmla="*/ 0 h 418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50580" h="41892">
                    <a:moveTo>
                      <a:pt x="0" y="20689"/>
                    </a:moveTo>
                    <a:lnTo>
                      <a:pt x="18152" y="41893"/>
                    </a:lnTo>
                    <a:lnTo>
                      <a:pt x="50580" y="0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349" name="Gráfico 4">
            <a:extLst>
              <a:ext uri="{FF2B5EF4-FFF2-40B4-BE49-F238E27FC236}">
                <a16:creationId xmlns:a16="http://schemas.microsoft.com/office/drawing/2014/main" id="{A484575E-BF15-2DE8-50E2-DB657825876F}"/>
              </a:ext>
            </a:extLst>
          </p:cNvPr>
          <p:cNvGrpSpPr/>
          <p:nvPr/>
        </p:nvGrpSpPr>
        <p:grpSpPr>
          <a:xfrm>
            <a:off x="3087239" y="2597642"/>
            <a:ext cx="351680" cy="285579"/>
            <a:chOff x="3087239" y="2597642"/>
            <a:chExt cx="351680" cy="285579"/>
          </a:xfrm>
          <a:noFill/>
        </p:grpSpPr>
        <p:grpSp>
          <p:nvGrpSpPr>
            <p:cNvPr id="350" name="Gráfico 4">
              <a:extLst>
                <a:ext uri="{FF2B5EF4-FFF2-40B4-BE49-F238E27FC236}">
                  <a16:creationId xmlns:a16="http://schemas.microsoft.com/office/drawing/2014/main" id="{A879E80A-7113-6127-8FE7-2958C3F47677}"/>
                </a:ext>
              </a:extLst>
            </p:cNvPr>
            <p:cNvGrpSpPr/>
            <p:nvPr/>
          </p:nvGrpSpPr>
          <p:grpSpPr>
            <a:xfrm>
              <a:off x="3184689" y="2597642"/>
              <a:ext cx="254229" cy="285579"/>
              <a:chOff x="3184689" y="2597642"/>
              <a:chExt cx="254229" cy="285579"/>
            </a:xfrm>
            <a:noFill/>
          </p:grpSpPr>
          <p:grpSp>
            <p:nvGrpSpPr>
              <p:cNvPr id="351" name="Gráfico 4">
                <a:extLst>
                  <a:ext uri="{FF2B5EF4-FFF2-40B4-BE49-F238E27FC236}">
                    <a16:creationId xmlns:a16="http://schemas.microsoft.com/office/drawing/2014/main" id="{50FB9880-DC88-143F-C595-88005A37AC9F}"/>
                  </a:ext>
                </a:extLst>
              </p:cNvPr>
              <p:cNvGrpSpPr/>
              <p:nvPr/>
            </p:nvGrpSpPr>
            <p:grpSpPr>
              <a:xfrm>
                <a:off x="3208562" y="2629902"/>
                <a:ext cx="230356" cy="221071"/>
                <a:chOff x="3208562" y="2629902"/>
                <a:chExt cx="230356" cy="221071"/>
              </a:xfrm>
              <a:noFill/>
            </p:grpSpPr>
            <p:grpSp>
              <p:nvGrpSpPr>
                <p:cNvPr id="352" name="Gráfico 4">
                  <a:extLst>
                    <a:ext uri="{FF2B5EF4-FFF2-40B4-BE49-F238E27FC236}">
                      <a16:creationId xmlns:a16="http://schemas.microsoft.com/office/drawing/2014/main" id="{B3283133-8A97-A112-E289-84187FD0509E}"/>
                    </a:ext>
                  </a:extLst>
                </p:cNvPr>
                <p:cNvGrpSpPr/>
                <p:nvPr/>
              </p:nvGrpSpPr>
              <p:grpSpPr>
                <a:xfrm>
                  <a:off x="3208562" y="2629902"/>
                  <a:ext cx="128825" cy="49060"/>
                  <a:chOff x="3208562" y="2629902"/>
                  <a:chExt cx="128825" cy="49060"/>
                </a:xfrm>
                <a:noFill/>
              </p:grpSpPr>
              <p:sp>
                <p:nvSpPr>
                  <p:cNvPr id="353" name="Forma livre: Forma 352">
                    <a:extLst>
                      <a:ext uri="{FF2B5EF4-FFF2-40B4-BE49-F238E27FC236}">
                        <a16:creationId xmlns:a16="http://schemas.microsoft.com/office/drawing/2014/main" id="{DC7CD0A5-E641-0B58-DBF9-1B41A63BFA92}"/>
                      </a:ext>
                    </a:extLst>
                  </p:cNvPr>
                  <p:cNvSpPr/>
                  <p:nvPr/>
                </p:nvSpPr>
                <p:spPr>
                  <a:xfrm>
                    <a:off x="3208562" y="2629902"/>
                    <a:ext cx="128825" cy="49060"/>
                  </a:xfrm>
                  <a:custGeom>
                    <a:avLst/>
                    <a:gdLst>
                      <a:gd name="connsiteX0" fmla="*/ 0 w 128825"/>
                      <a:gd name="connsiteY0" fmla="*/ 0 h 49060"/>
                      <a:gd name="connsiteX1" fmla="*/ 128826 w 128825"/>
                      <a:gd name="connsiteY1" fmla="*/ 0 h 49060"/>
                      <a:gd name="connsiteX2" fmla="*/ 128826 w 128825"/>
                      <a:gd name="connsiteY2" fmla="*/ 49061 h 49060"/>
                      <a:gd name="connsiteX3" fmla="*/ 0 w 128825"/>
                      <a:gd name="connsiteY3" fmla="*/ 49061 h 4906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128825" h="49060">
                        <a:moveTo>
                          <a:pt x="0" y="0"/>
                        </a:moveTo>
                        <a:lnTo>
                          <a:pt x="128826" y="0"/>
                        </a:lnTo>
                        <a:lnTo>
                          <a:pt x="128826" y="49061"/>
                        </a:lnTo>
                        <a:lnTo>
                          <a:pt x="0" y="49061"/>
                        </a:lnTo>
                      </a:path>
                    </a:pathLst>
                  </a:custGeom>
                  <a:noFill/>
                  <a:ln w="6350" cap="flat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354" name="Forma livre: Forma 353">
                    <a:extLst>
                      <a:ext uri="{FF2B5EF4-FFF2-40B4-BE49-F238E27FC236}">
                        <a16:creationId xmlns:a16="http://schemas.microsoft.com/office/drawing/2014/main" id="{FD896332-E964-4457-C151-909B26D4C19D}"/>
                      </a:ext>
                    </a:extLst>
                  </p:cNvPr>
                  <p:cNvSpPr/>
                  <p:nvPr/>
                </p:nvSpPr>
                <p:spPr>
                  <a:xfrm>
                    <a:off x="3282368" y="2629950"/>
                    <a:ext cx="1196" cy="48952"/>
                  </a:xfrm>
                  <a:custGeom>
                    <a:avLst/>
                    <a:gdLst>
                      <a:gd name="connsiteX0" fmla="*/ 0 w 1196"/>
                      <a:gd name="connsiteY0" fmla="*/ 0 h 48952"/>
                      <a:gd name="connsiteX1" fmla="*/ 0 w 1196"/>
                      <a:gd name="connsiteY1" fmla="*/ 48953 h 4895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196" h="48952">
                        <a:moveTo>
                          <a:pt x="0" y="0"/>
                        </a:moveTo>
                        <a:lnTo>
                          <a:pt x="0" y="48953"/>
                        </a:lnTo>
                      </a:path>
                    </a:pathLst>
                  </a:custGeom>
                  <a:ln w="6350" cap="flat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  <p:grpSp>
              <p:nvGrpSpPr>
                <p:cNvPr id="355" name="Gráfico 4">
                  <a:extLst>
                    <a:ext uri="{FF2B5EF4-FFF2-40B4-BE49-F238E27FC236}">
                      <a16:creationId xmlns:a16="http://schemas.microsoft.com/office/drawing/2014/main" id="{55E23635-DACD-1D9C-A55B-7F28639E170A}"/>
                    </a:ext>
                  </a:extLst>
                </p:cNvPr>
                <p:cNvGrpSpPr/>
                <p:nvPr/>
              </p:nvGrpSpPr>
              <p:grpSpPr>
                <a:xfrm>
                  <a:off x="3208562" y="2715902"/>
                  <a:ext cx="191659" cy="49060"/>
                  <a:chOff x="3208562" y="2715902"/>
                  <a:chExt cx="191659" cy="49060"/>
                </a:xfrm>
                <a:noFill/>
              </p:grpSpPr>
              <p:sp>
                <p:nvSpPr>
                  <p:cNvPr id="356" name="Forma livre: Forma 355">
                    <a:extLst>
                      <a:ext uri="{FF2B5EF4-FFF2-40B4-BE49-F238E27FC236}">
                        <a16:creationId xmlns:a16="http://schemas.microsoft.com/office/drawing/2014/main" id="{8ACEE480-3759-09ED-B484-F4FCDB8F9D78}"/>
                      </a:ext>
                    </a:extLst>
                  </p:cNvPr>
                  <p:cNvSpPr/>
                  <p:nvPr/>
                </p:nvSpPr>
                <p:spPr>
                  <a:xfrm>
                    <a:off x="3208562" y="2715902"/>
                    <a:ext cx="191659" cy="49060"/>
                  </a:xfrm>
                  <a:custGeom>
                    <a:avLst/>
                    <a:gdLst>
                      <a:gd name="connsiteX0" fmla="*/ 0 w 191659"/>
                      <a:gd name="connsiteY0" fmla="*/ 0 h 49060"/>
                      <a:gd name="connsiteX1" fmla="*/ 191659 w 191659"/>
                      <a:gd name="connsiteY1" fmla="*/ 0 h 49060"/>
                      <a:gd name="connsiteX2" fmla="*/ 191659 w 191659"/>
                      <a:gd name="connsiteY2" fmla="*/ 49061 h 49060"/>
                      <a:gd name="connsiteX3" fmla="*/ 0 w 191659"/>
                      <a:gd name="connsiteY3" fmla="*/ 49061 h 4906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191659" h="49060">
                        <a:moveTo>
                          <a:pt x="0" y="0"/>
                        </a:moveTo>
                        <a:lnTo>
                          <a:pt x="191659" y="0"/>
                        </a:lnTo>
                        <a:lnTo>
                          <a:pt x="191659" y="49061"/>
                        </a:lnTo>
                        <a:lnTo>
                          <a:pt x="0" y="49061"/>
                        </a:lnTo>
                      </a:path>
                    </a:pathLst>
                  </a:custGeom>
                  <a:noFill/>
                  <a:ln w="6350" cap="flat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357" name="Forma livre: Forma 356">
                    <a:extLst>
                      <a:ext uri="{FF2B5EF4-FFF2-40B4-BE49-F238E27FC236}">
                        <a16:creationId xmlns:a16="http://schemas.microsoft.com/office/drawing/2014/main" id="{544C8EFA-B326-1D6E-B7B8-06052E90D464}"/>
                      </a:ext>
                    </a:extLst>
                  </p:cNvPr>
                  <p:cNvSpPr/>
                  <p:nvPr/>
                </p:nvSpPr>
                <p:spPr>
                  <a:xfrm>
                    <a:off x="3311098" y="2715950"/>
                    <a:ext cx="1196" cy="48964"/>
                  </a:xfrm>
                  <a:custGeom>
                    <a:avLst/>
                    <a:gdLst>
                      <a:gd name="connsiteX0" fmla="*/ 0 w 1196"/>
                      <a:gd name="connsiteY0" fmla="*/ 0 h 48964"/>
                      <a:gd name="connsiteX1" fmla="*/ 0 w 1196"/>
                      <a:gd name="connsiteY1" fmla="*/ 48965 h 4896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196" h="48964">
                        <a:moveTo>
                          <a:pt x="0" y="0"/>
                        </a:moveTo>
                        <a:lnTo>
                          <a:pt x="0" y="48965"/>
                        </a:lnTo>
                      </a:path>
                    </a:pathLst>
                  </a:custGeom>
                  <a:ln w="6350" cap="flat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  <p:grpSp>
              <p:nvGrpSpPr>
                <p:cNvPr id="358" name="Gráfico 4">
                  <a:extLst>
                    <a:ext uri="{FF2B5EF4-FFF2-40B4-BE49-F238E27FC236}">
                      <a16:creationId xmlns:a16="http://schemas.microsoft.com/office/drawing/2014/main" id="{2CEB9488-DCCC-1600-6BF9-5AE165462400}"/>
                    </a:ext>
                  </a:extLst>
                </p:cNvPr>
                <p:cNvGrpSpPr/>
                <p:nvPr/>
              </p:nvGrpSpPr>
              <p:grpSpPr>
                <a:xfrm>
                  <a:off x="3208562" y="2801913"/>
                  <a:ext cx="230356" cy="49060"/>
                  <a:chOff x="3208562" y="2801913"/>
                  <a:chExt cx="230356" cy="49060"/>
                </a:xfrm>
                <a:noFill/>
              </p:grpSpPr>
              <p:sp>
                <p:nvSpPr>
                  <p:cNvPr id="359" name="Forma livre: Forma 358">
                    <a:extLst>
                      <a:ext uri="{FF2B5EF4-FFF2-40B4-BE49-F238E27FC236}">
                        <a16:creationId xmlns:a16="http://schemas.microsoft.com/office/drawing/2014/main" id="{9B546564-4707-6F87-8722-6BF9720F69F7}"/>
                      </a:ext>
                    </a:extLst>
                  </p:cNvPr>
                  <p:cNvSpPr/>
                  <p:nvPr/>
                </p:nvSpPr>
                <p:spPr>
                  <a:xfrm>
                    <a:off x="3208562" y="2801913"/>
                    <a:ext cx="230356" cy="49060"/>
                  </a:xfrm>
                  <a:custGeom>
                    <a:avLst/>
                    <a:gdLst>
                      <a:gd name="connsiteX0" fmla="*/ 0 w 230356"/>
                      <a:gd name="connsiteY0" fmla="*/ 0 h 49060"/>
                      <a:gd name="connsiteX1" fmla="*/ 230357 w 230356"/>
                      <a:gd name="connsiteY1" fmla="*/ 0 h 49060"/>
                      <a:gd name="connsiteX2" fmla="*/ 230357 w 230356"/>
                      <a:gd name="connsiteY2" fmla="*/ 49061 h 49060"/>
                      <a:gd name="connsiteX3" fmla="*/ 0 w 230356"/>
                      <a:gd name="connsiteY3" fmla="*/ 49061 h 4906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230356" h="49060">
                        <a:moveTo>
                          <a:pt x="0" y="0"/>
                        </a:moveTo>
                        <a:lnTo>
                          <a:pt x="230357" y="0"/>
                        </a:lnTo>
                        <a:lnTo>
                          <a:pt x="230357" y="49061"/>
                        </a:lnTo>
                        <a:lnTo>
                          <a:pt x="0" y="49061"/>
                        </a:lnTo>
                      </a:path>
                    </a:pathLst>
                  </a:custGeom>
                  <a:noFill/>
                  <a:ln w="6350" cap="flat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360" name="Forma livre: Forma 359">
                    <a:extLst>
                      <a:ext uri="{FF2B5EF4-FFF2-40B4-BE49-F238E27FC236}">
                        <a16:creationId xmlns:a16="http://schemas.microsoft.com/office/drawing/2014/main" id="{B38BFDF9-600E-F86F-11F7-316890941EFD}"/>
                      </a:ext>
                    </a:extLst>
                  </p:cNvPr>
                  <p:cNvSpPr/>
                  <p:nvPr/>
                </p:nvSpPr>
                <p:spPr>
                  <a:xfrm>
                    <a:off x="3345751" y="2801949"/>
                    <a:ext cx="1196" cy="48964"/>
                  </a:xfrm>
                  <a:custGeom>
                    <a:avLst/>
                    <a:gdLst>
                      <a:gd name="connsiteX0" fmla="*/ 0 w 1196"/>
                      <a:gd name="connsiteY0" fmla="*/ 0 h 48964"/>
                      <a:gd name="connsiteX1" fmla="*/ 0 w 1196"/>
                      <a:gd name="connsiteY1" fmla="*/ 48965 h 4896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196" h="48964">
                        <a:moveTo>
                          <a:pt x="0" y="0"/>
                        </a:moveTo>
                        <a:lnTo>
                          <a:pt x="0" y="48965"/>
                        </a:lnTo>
                      </a:path>
                    </a:pathLst>
                  </a:custGeom>
                  <a:ln w="6350" cap="flat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</p:grpSp>
          <p:sp>
            <p:nvSpPr>
              <p:cNvPr id="361" name="Forma livre: Forma 360">
                <a:extLst>
                  <a:ext uri="{FF2B5EF4-FFF2-40B4-BE49-F238E27FC236}">
                    <a16:creationId xmlns:a16="http://schemas.microsoft.com/office/drawing/2014/main" id="{C535AEC6-CA2D-853B-BB69-58B04BC2F652}"/>
                  </a:ext>
                </a:extLst>
              </p:cNvPr>
              <p:cNvSpPr/>
              <p:nvPr/>
            </p:nvSpPr>
            <p:spPr>
              <a:xfrm>
                <a:off x="3184689" y="2597642"/>
                <a:ext cx="1196" cy="285579"/>
              </a:xfrm>
              <a:custGeom>
                <a:avLst/>
                <a:gdLst>
                  <a:gd name="connsiteX0" fmla="*/ 0 w 1196"/>
                  <a:gd name="connsiteY0" fmla="*/ 0 h 285579"/>
                  <a:gd name="connsiteX1" fmla="*/ 0 w 1196"/>
                  <a:gd name="connsiteY1" fmla="*/ 285580 h 2855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6" h="285579">
                    <a:moveTo>
                      <a:pt x="0" y="0"/>
                    </a:moveTo>
                    <a:lnTo>
                      <a:pt x="0" y="28558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362" name="Gráfico 4">
              <a:extLst>
                <a:ext uri="{FF2B5EF4-FFF2-40B4-BE49-F238E27FC236}">
                  <a16:creationId xmlns:a16="http://schemas.microsoft.com/office/drawing/2014/main" id="{A508D58B-A210-4F43-1A93-954C22890C1C}"/>
                </a:ext>
              </a:extLst>
            </p:cNvPr>
            <p:cNvGrpSpPr/>
            <p:nvPr/>
          </p:nvGrpSpPr>
          <p:grpSpPr>
            <a:xfrm>
              <a:off x="3087239" y="2614358"/>
              <a:ext cx="70024" cy="80136"/>
              <a:chOff x="3087239" y="2614358"/>
              <a:chExt cx="70024" cy="80136"/>
            </a:xfrm>
            <a:noFill/>
          </p:grpSpPr>
          <p:sp>
            <p:nvSpPr>
              <p:cNvPr id="363" name="Forma livre: Forma 362">
                <a:extLst>
                  <a:ext uri="{FF2B5EF4-FFF2-40B4-BE49-F238E27FC236}">
                    <a16:creationId xmlns:a16="http://schemas.microsoft.com/office/drawing/2014/main" id="{44E1D233-6CD0-824B-2808-8AAAF6DB0D36}"/>
                  </a:ext>
                </a:extLst>
              </p:cNvPr>
              <p:cNvSpPr/>
              <p:nvPr/>
            </p:nvSpPr>
            <p:spPr>
              <a:xfrm>
                <a:off x="3087239" y="2665298"/>
                <a:ext cx="70024" cy="29197"/>
              </a:xfrm>
              <a:custGeom>
                <a:avLst/>
                <a:gdLst>
                  <a:gd name="connsiteX0" fmla="*/ 0 w 70024"/>
                  <a:gd name="connsiteY0" fmla="*/ 29197 h 29197"/>
                  <a:gd name="connsiteX1" fmla="*/ 0 w 70024"/>
                  <a:gd name="connsiteY1" fmla="*/ 17123 h 29197"/>
                  <a:gd name="connsiteX2" fmla="*/ 20701 w 70024"/>
                  <a:gd name="connsiteY2" fmla="*/ 0 h 29197"/>
                  <a:gd name="connsiteX3" fmla="*/ 48307 w 70024"/>
                  <a:gd name="connsiteY3" fmla="*/ 0 h 29197"/>
                  <a:gd name="connsiteX4" fmla="*/ 70025 w 70024"/>
                  <a:gd name="connsiteY4" fmla="*/ 17123 h 29197"/>
                  <a:gd name="connsiteX5" fmla="*/ 70025 w 70024"/>
                  <a:gd name="connsiteY5" fmla="*/ 29197 h 291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70024" h="29197">
                    <a:moveTo>
                      <a:pt x="0" y="29197"/>
                    </a:moveTo>
                    <a:lnTo>
                      <a:pt x="0" y="17123"/>
                    </a:lnTo>
                    <a:cubicBezTo>
                      <a:pt x="0" y="4619"/>
                      <a:pt x="9046" y="0"/>
                      <a:pt x="20701" y="0"/>
                    </a:cubicBezTo>
                    <a:lnTo>
                      <a:pt x="48307" y="0"/>
                    </a:lnTo>
                    <a:cubicBezTo>
                      <a:pt x="59950" y="0"/>
                      <a:pt x="70025" y="4619"/>
                      <a:pt x="70025" y="17123"/>
                    </a:cubicBezTo>
                    <a:lnTo>
                      <a:pt x="70025" y="29197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64" name="Forma livre: Forma 363">
                <a:extLst>
                  <a:ext uri="{FF2B5EF4-FFF2-40B4-BE49-F238E27FC236}">
                    <a16:creationId xmlns:a16="http://schemas.microsoft.com/office/drawing/2014/main" id="{BA35E237-0908-C92C-F02D-E8FB7D8332FB}"/>
                  </a:ext>
                </a:extLst>
              </p:cNvPr>
              <p:cNvSpPr/>
              <p:nvPr/>
            </p:nvSpPr>
            <p:spPr>
              <a:xfrm>
                <a:off x="3103369" y="2614358"/>
                <a:ext cx="37752" cy="45434"/>
              </a:xfrm>
              <a:custGeom>
                <a:avLst/>
                <a:gdLst>
                  <a:gd name="connsiteX0" fmla="*/ 37753 w 37752"/>
                  <a:gd name="connsiteY0" fmla="*/ 26265 h 45434"/>
                  <a:gd name="connsiteX1" fmla="*/ 18882 w 37752"/>
                  <a:gd name="connsiteY1" fmla="*/ 45435 h 45434"/>
                  <a:gd name="connsiteX2" fmla="*/ 0 w 37752"/>
                  <a:gd name="connsiteY2" fmla="*/ 26265 h 45434"/>
                  <a:gd name="connsiteX3" fmla="*/ 0 w 37752"/>
                  <a:gd name="connsiteY3" fmla="*/ 19170 h 45434"/>
                  <a:gd name="connsiteX4" fmla="*/ 18882 w 37752"/>
                  <a:gd name="connsiteY4" fmla="*/ 0 h 45434"/>
                  <a:gd name="connsiteX5" fmla="*/ 37753 w 37752"/>
                  <a:gd name="connsiteY5" fmla="*/ 19170 h 45434"/>
                  <a:gd name="connsiteX6" fmla="*/ 37753 w 37752"/>
                  <a:gd name="connsiteY6" fmla="*/ 26265 h 454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7752" h="45434">
                    <a:moveTo>
                      <a:pt x="37753" y="26265"/>
                    </a:moveTo>
                    <a:cubicBezTo>
                      <a:pt x="37753" y="36807"/>
                      <a:pt x="29257" y="45435"/>
                      <a:pt x="18882" y="45435"/>
                    </a:cubicBezTo>
                    <a:cubicBezTo>
                      <a:pt x="8508" y="45435"/>
                      <a:pt x="0" y="36807"/>
                      <a:pt x="0" y="26265"/>
                    </a:cubicBezTo>
                    <a:lnTo>
                      <a:pt x="0" y="19170"/>
                    </a:lnTo>
                    <a:cubicBezTo>
                      <a:pt x="0" y="8640"/>
                      <a:pt x="8496" y="0"/>
                      <a:pt x="18882" y="0"/>
                    </a:cubicBezTo>
                    <a:cubicBezTo>
                      <a:pt x="29269" y="0"/>
                      <a:pt x="37753" y="8628"/>
                      <a:pt x="37753" y="19170"/>
                    </a:cubicBezTo>
                    <a:lnTo>
                      <a:pt x="37753" y="26265"/>
                    </a:ln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365" name="Gráfico 4">
              <a:extLst>
                <a:ext uri="{FF2B5EF4-FFF2-40B4-BE49-F238E27FC236}">
                  <a16:creationId xmlns:a16="http://schemas.microsoft.com/office/drawing/2014/main" id="{82BAE45D-B782-E922-C2EB-709C98181BEF}"/>
                </a:ext>
              </a:extLst>
            </p:cNvPr>
            <p:cNvGrpSpPr/>
            <p:nvPr/>
          </p:nvGrpSpPr>
          <p:grpSpPr>
            <a:xfrm>
              <a:off x="3087239" y="2704378"/>
              <a:ext cx="70024" cy="80136"/>
              <a:chOff x="3087239" y="2704378"/>
              <a:chExt cx="70024" cy="80136"/>
            </a:xfrm>
            <a:noFill/>
          </p:grpSpPr>
          <p:sp>
            <p:nvSpPr>
              <p:cNvPr id="366" name="Forma livre: Forma 365">
                <a:extLst>
                  <a:ext uri="{FF2B5EF4-FFF2-40B4-BE49-F238E27FC236}">
                    <a16:creationId xmlns:a16="http://schemas.microsoft.com/office/drawing/2014/main" id="{DC67FE9F-459E-3EC4-F484-7DFC5C86ACAA}"/>
                  </a:ext>
                </a:extLst>
              </p:cNvPr>
              <p:cNvSpPr/>
              <p:nvPr/>
            </p:nvSpPr>
            <p:spPr>
              <a:xfrm>
                <a:off x="3087239" y="2755318"/>
                <a:ext cx="70024" cy="29197"/>
              </a:xfrm>
              <a:custGeom>
                <a:avLst/>
                <a:gdLst>
                  <a:gd name="connsiteX0" fmla="*/ 0 w 70024"/>
                  <a:gd name="connsiteY0" fmla="*/ 29197 h 29197"/>
                  <a:gd name="connsiteX1" fmla="*/ 0 w 70024"/>
                  <a:gd name="connsiteY1" fmla="*/ 17123 h 29197"/>
                  <a:gd name="connsiteX2" fmla="*/ 20701 w 70024"/>
                  <a:gd name="connsiteY2" fmla="*/ 0 h 29197"/>
                  <a:gd name="connsiteX3" fmla="*/ 48307 w 70024"/>
                  <a:gd name="connsiteY3" fmla="*/ 0 h 29197"/>
                  <a:gd name="connsiteX4" fmla="*/ 70025 w 70024"/>
                  <a:gd name="connsiteY4" fmla="*/ 17123 h 29197"/>
                  <a:gd name="connsiteX5" fmla="*/ 70025 w 70024"/>
                  <a:gd name="connsiteY5" fmla="*/ 29197 h 291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70024" h="29197">
                    <a:moveTo>
                      <a:pt x="0" y="29197"/>
                    </a:moveTo>
                    <a:lnTo>
                      <a:pt x="0" y="17123"/>
                    </a:lnTo>
                    <a:cubicBezTo>
                      <a:pt x="0" y="4619"/>
                      <a:pt x="9046" y="0"/>
                      <a:pt x="20701" y="0"/>
                    </a:cubicBezTo>
                    <a:lnTo>
                      <a:pt x="48307" y="0"/>
                    </a:lnTo>
                    <a:cubicBezTo>
                      <a:pt x="59950" y="0"/>
                      <a:pt x="70025" y="4619"/>
                      <a:pt x="70025" y="17123"/>
                    </a:cubicBezTo>
                    <a:lnTo>
                      <a:pt x="70025" y="29197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67" name="Forma livre: Forma 366">
                <a:extLst>
                  <a:ext uri="{FF2B5EF4-FFF2-40B4-BE49-F238E27FC236}">
                    <a16:creationId xmlns:a16="http://schemas.microsoft.com/office/drawing/2014/main" id="{C157DB7F-AFD6-AE1E-47E0-C3BA4324FE05}"/>
                  </a:ext>
                </a:extLst>
              </p:cNvPr>
              <p:cNvSpPr/>
              <p:nvPr/>
            </p:nvSpPr>
            <p:spPr>
              <a:xfrm>
                <a:off x="3103369" y="2704378"/>
                <a:ext cx="37752" cy="45434"/>
              </a:xfrm>
              <a:custGeom>
                <a:avLst/>
                <a:gdLst>
                  <a:gd name="connsiteX0" fmla="*/ 37753 w 37752"/>
                  <a:gd name="connsiteY0" fmla="*/ 26265 h 45434"/>
                  <a:gd name="connsiteX1" fmla="*/ 18882 w 37752"/>
                  <a:gd name="connsiteY1" fmla="*/ 45435 h 45434"/>
                  <a:gd name="connsiteX2" fmla="*/ 0 w 37752"/>
                  <a:gd name="connsiteY2" fmla="*/ 26265 h 45434"/>
                  <a:gd name="connsiteX3" fmla="*/ 0 w 37752"/>
                  <a:gd name="connsiteY3" fmla="*/ 19169 h 45434"/>
                  <a:gd name="connsiteX4" fmla="*/ 18882 w 37752"/>
                  <a:gd name="connsiteY4" fmla="*/ 0 h 45434"/>
                  <a:gd name="connsiteX5" fmla="*/ 37753 w 37752"/>
                  <a:gd name="connsiteY5" fmla="*/ 19169 h 45434"/>
                  <a:gd name="connsiteX6" fmla="*/ 37753 w 37752"/>
                  <a:gd name="connsiteY6" fmla="*/ 26265 h 454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7752" h="45434">
                    <a:moveTo>
                      <a:pt x="37753" y="26265"/>
                    </a:moveTo>
                    <a:cubicBezTo>
                      <a:pt x="37753" y="36807"/>
                      <a:pt x="29257" y="45435"/>
                      <a:pt x="18882" y="45435"/>
                    </a:cubicBezTo>
                    <a:cubicBezTo>
                      <a:pt x="8508" y="45435"/>
                      <a:pt x="0" y="36807"/>
                      <a:pt x="0" y="26265"/>
                    </a:cubicBezTo>
                    <a:lnTo>
                      <a:pt x="0" y="19169"/>
                    </a:lnTo>
                    <a:cubicBezTo>
                      <a:pt x="0" y="8627"/>
                      <a:pt x="8496" y="0"/>
                      <a:pt x="18882" y="0"/>
                    </a:cubicBezTo>
                    <a:cubicBezTo>
                      <a:pt x="29269" y="0"/>
                      <a:pt x="37753" y="8627"/>
                      <a:pt x="37753" y="19169"/>
                    </a:cubicBezTo>
                    <a:lnTo>
                      <a:pt x="37753" y="26265"/>
                    </a:ln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368" name="Gráfico 4">
              <a:extLst>
                <a:ext uri="{FF2B5EF4-FFF2-40B4-BE49-F238E27FC236}">
                  <a16:creationId xmlns:a16="http://schemas.microsoft.com/office/drawing/2014/main" id="{ABA0DA8C-7F22-0395-838D-1941781B9C91}"/>
                </a:ext>
              </a:extLst>
            </p:cNvPr>
            <p:cNvGrpSpPr/>
            <p:nvPr/>
          </p:nvGrpSpPr>
          <p:grpSpPr>
            <a:xfrm>
              <a:off x="3087239" y="2794398"/>
              <a:ext cx="70024" cy="80136"/>
              <a:chOff x="3087239" y="2794398"/>
              <a:chExt cx="70024" cy="80136"/>
            </a:xfrm>
            <a:noFill/>
          </p:grpSpPr>
          <p:sp>
            <p:nvSpPr>
              <p:cNvPr id="369" name="Forma livre: Forma 368">
                <a:extLst>
                  <a:ext uri="{FF2B5EF4-FFF2-40B4-BE49-F238E27FC236}">
                    <a16:creationId xmlns:a16="http://schemas.microsoft.com/office/drawing/2014/main" id="{814B8D1E-39B6-DD2A-94DD-89FCF8ECC434}"/>
                  </a:ext>
                </a:extLst>
              </p:cNvPr>
              <p:cNvSpPr/>
              <p:nvPr/>
            </p:nvSpPr>
            <p:spPr>
              <a:xfrm>
                <a:off x="3087239" y="2845338"/>
                <a:ext cx="70024" cy="29197"/>
              </a:xfrm>
              <a:custGeom>
                <a:avLst/>
                <a:gdLst>
                  <a:gd name="connsiteX0" fmla="*/ 0 w 70024"/>
                  <a:gd name="connsiteY0" fmla="*/ 29197 h 29197"/>
                  <a:gd name="connsiteX1" fmla="*/ 0 w 70024"/>
                  <a:gd name="connsiteY1" fmla="*/ 17123 h 29197"/>
                  <a:gd name="connsiteX2" fmla="*/ 20701 w 70024"/>
                  <a:gd name="connsiteY2" fmla="*/ 0 h 29197"/>
                  <a:gd name="connsiteX3" fmla="*/ 48307 w 70024"/>
                  <a:gd name="connsiteY3" fmla="*/ 0 h 29197"/>
                  <a:gd name="connsiteX4" fmla="*/ 70025 w 70024"/>
                  <a:gd name="connsiteY4" fmla="*/ 17123 h 29197"/>
                  <a:gd name="connsiteX5" fmla="*/ 70025 w 70024"/>
                  <a:gd name="connsiteY5" fmla="*/ 29197 h 291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70024" h="29197">
                    <a:moveTo>
                      <a:pt x="0" y="29197"/>
                    </a:moveTo>
                    <a:lnTo>
                      <a:pt x="0" y="17123"/>
                    </a:lnTo>
                    <a:cubicBezTo>
                      <a:pt x="0" y="4619"/>
                      <a:pt x="9046" y="0"/>
                      <a:pt x="20701" y="0"/>
                    </a:cubicBezTo>
                    <a:lnTo>
                      <a:pt x="48307" y="0"/>
                    </a:lnTo>
                    <a:cubicBezTo>
                      <a:pt x="59950" y="0"/>
                      <a:pt x="70025" y="4619"/>
                      <a:pt x="70025" y="17123"/>
                    </a:cubicBezTo>
                    <a:lnTo>
                      <a:pt x="70025" y="29197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70" name="Forma livre: Forma 369">
                <a:extLst>
                  <a:ext uri="{FF2B5EF4-FFF2-40B4-BE49-F238E27FC236}">
                    <a16:creationId xmlns:a16="http://schemas.microsoft.com/office/drawing/2014/main" id="{0A8D7CE9-01F8-B4CA-F0CF-FD01ADDE6AC7}"/>
                  </a:ext>
                </a:extLst>
              </p:cNvPr>
              <p:cNvSpPr/>
              <p:nvPr/>
            </p:nvSpPr>
            <p:spPr>
              <a:xfrm>
                <a:off x="3103369" y="2794398"/>
                <a:ext cx="37752" cy="45434"/>
              </a:xfrm>
              <a:custGeom>
                <a:avLst/>
                <a:gdLst>
                  <a:gd name="connsiteX0" fmla="*/ 37753 w 37752"/>
                  <a:gd name="connsiteY0" fmla="*/ 26265 h 45434"/>
                  <a:gd name="connsiteX1" fmla="*/ 18882 w 37752"/>
                  <a:gd name="connsiteY1" fmla="*/ 45435 h 45434"/>
                  <a:gd name="connsiteX2" fmla="*/ 0 w 37752"/>
                  <a:gd name="connsiteY2" fmla="*/ 26265 h 45434"/>
                  <a:gd name="connsiteX3" fmla="*/ 0 w 37752"/>
                  <a:gd name="connsiteY3" fmla="*/ 19170 h 45434"/>
                  <a:gd name="connsiteX4" fmla="*/ 18882 w 37752"/>
                  <a:gd name="connsiteY4" fmla="*/ 0 h 45434"/>
                  <a:gd name="connsiteX5" fmla="*/ 37753 w 37752"/>
                  <a:gd name="connsiteY5" fmla="*/ 19170 h 45434"/>
                  <a:gd name="connsiteX6" fmla="*/ 37753 w 37752"/>
                  <a:gd name="connsiteY6" fmla="*/ 26265 h 454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7752" h="45434">
                    <a:moveTo>
                      <a:pt x="37753" y="26265"/>
                    </a:moveTo>
                    <a:cubicBezTo>
                      <a:pt x="37753" y="36807"/>
                      <a:pt x="29257" y="45435"/>
                      <a:pt x="18882" y="45435"/>
                    </a:cubicBezTo>
                    <a:cubicBezTo>
                      <a:pt x="8508" y="45435"/>
                      <a:pt x="0" y="36807"/>
                      <a:pt x="0" y="26265"/>
                    </a:cubicBezTo>
                    <a:lnTo>
                      <a:pt x="0" y="19170"/>
                    </a:lnTo>
                    <a:cubicBezTo>
                      <a:pt x="0" y="8627"/>
                      <a:pt x="8496" y="0"/>
                      <a:pt x="18882" y="0"/>
                    </a:cubicBezTo>
                    <a:cubicBezTo>
                      <a:pt x="29269" y="0"/>
                      <a:pt x="37753" y="8627"/>
                      <a:pt x="37753" y="19170"/>
                    </a:cubicBezTo>
                    <a:lnTo>
                      <a:pt x="37753" y="26265"/>
                    </a:ln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371" name="Gráfico 4">
            <a:extLst>
              <a:ext uri="{FF2B5EF4-FFF2-40B4-BE49-F238E27FC236}">
                <a16:creationId xmlns:a16="http://schemas.microsoft.com/office/drawing/2014/main" id="{36613835-E272-4D36-13EC-9C7385BDF4AA}"/>
              </a:ext>
            </a:extLst>
          </p:cNvPr>
          <p:cNvGrpSpPr/>
          <p:nvPr/>
        </p:nvGrpSpPr>
        <p:grpSpPr>
          <a:xfrm>
            <a:off x="3112618" y="2056911"/>
            <a:ext cx="300944" cy="300872"/>
            <a:chOff x="3112618" y="2056911"/>
            <a:chExt cx="300944" cy="300872"/>
          </a:xfrm>
          <a:noFill/>
        </p:grpSpPr>
        <p:sp>
          <p:nvSpPr>
            <p:cNvPr id="372" name="Forma livre: Forma 371">
              <a:extLst>
                <a:ext uri="{FF2B5EF4-FFF2-40B4-BE49-F238E27FC236}">
                  <a16:creationId xmlns:a16="http://schemas.microsoft.com/office/drawing/2014/main" id="{3D50C26C-B9E3-5961-1231-90673316CDEA}"/>
                </a:ext>
              </a:extLst>
            </p:cNvPr>
            <p:cNvSpPr/>
            <p:nvPr/>
          </p:nvSpPr>
          <p:spPr>
            <a:xfrm>
              <a:off x="3112618" y="2056911"/>
              <a:ext cx="300944" cy="300872"/>
            </a:xfrm>
            <a:custGeom>
              <a:avLst/>
              <a:gdLst>
                <a:gd name="connsiteX0" fmla="*/ 300944 w 300944"/>
                <a:gd name="connsiteY0" fmla="*/ 150448 h 300872"/>
                <a:gd name="connsiteX1" fmla="*/ 150448 w 300944"/>
                <a:gd name="connsiteY1" fmla="*/ 300873 h 300872"/>
                <a:gd name="connsiteX2" fmla="*/ 0 w 300944"/>
                <a:gd name="connsiteY2" fmla="*/ 150448 h 300872"/>
                <a:gd name="connsiteX3" fmla="*/ 150448 w 300944"/>
                <a:gd name="connsiteY3" fmla="*/ 0 h 300872"/>
                <a:gd name="connsiteX4" fmla="*/ 300944 w 300944"/>
                <a:gd name="connsiteY4" fmla="*/ 150448 h 3008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00944" h="300872">
                  <a:moveTo>
                    <a:pt x="300944" y="150448"/>
                  </a:moveTo>
                  <a:cubicBezTo>
                    <a:pt x="300944" y="233528"/>
                    <a:pt x="233588" y="300873"/>
                    <a:pt x="150448" y="300873"/>
                  </a:cubicBezTo>
                  <a:cubicBezTo>
                    <a:pt x="67309" y="300873"/>
                    <a:pt x="0" y="233528"/>
                    <a:pt x="0" y="150448"/>
                  </a:cubicBezTo>
                  <a:cubicBezTo>
                    <a:pt x="0" y="67368"/>
                    <a:pt x="67357" y="0"/>
                    <a:pt x="150448" y="0"/>
                  </a:cubicBezTo>
                  <a:cubicBezTo>
                    <a:pt x="233540" y="0"/>
                    <a:pt x="300944" y="67356"/>
                    <a:pt x="300944" y="150448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373" name="Gráfico 4">
              <a:extLst>
                <a:ext uri="{FF2B5EF4-FFF2-40B4-BE49-F238E27FC236}">
                  <a16:creationId xmlns:a16="http://schemas.microsoft.com/office/drawing/2014/main" id="{186C9485-A0F5-E8A3-2C4B-CAD5AD22C5E7}"/>
                </a:ext>
              </a:extLst>
            </p:cNvPr>
            <p:cNvGrpSpPr/>
            <p:nvPr/>
          </p:nvGrpSpPr>
          <p:grpSpPr>
            <a:xfrm>
              <a:off x="3164323" y="2180137"/>
              <a:ext cx="194626" cy="58824"/>
              <a:chOff x="3164323" y="2180137"/>
              <a:chExt cx="194626" cy="58824"/>
            </a:xfrm>
            <a:noFill/>
          </p:grpSpPr>
          <p:sp>
            <p:nvSpPr>
              <p:cNvPr id="374" name="Forma livre: Forma 373">
                <a:extLst>
                  <a:ext uri="{FF2B5EF4-FFF2-40B4-BE49-F238E27FC236}">
                    <a16:creationId xmlns:a16="http://schemas.microsoft.com/office/drawing/2014/main" id="{29FDF817-9A1B-F884-F1FB-15BCBA3E8424}"/>
                  </a:ext>
                </a:extLst>
              </p:cNvPr>
              <p:cNvSpPr/>
              <p:nvPr/>
            </p:nvSpPr>
            <p:spPr>
              <a:xfrm>
                <a:off x="3220839" y="2183272"/>
                <a:ext cx="46380" cy="51836"/>
              </a:xfrm>
              <a:custGeom>
                <a:avLst/>
                <a:gdLst>
                  <a:gd name="connsiteX0" fmla="*/ 46380 w 46380"/>
                  <a:gd name="connsiteY0" fmla="*/ 25918 h 51836"/>
                  <a:gd name="connsiteX1" fmla="*/ 23190 w 46380"/>
                  <a:gd name="connsiteY1" fmla="*/ 51837 h 51836"/>
                  <a:gd name="connsiteX2" fmla="*/ 0 w 46380"/>
                  <a:gd name="connsiteY2" fmla="*/ 25918 h 51836"/>
                  <a:gd name="connsiteX3" fmla="*/ 23190 w 46380"/>
                  <a:gd name="connsiteY3" fmla="*/ 0 h 51836"/>
                  <a:gd name="connsiteX4" fmla="*/ 46380 w 46380"/>
                  <a:gd name="connsiteY4" fmla="*/ 25918 h 518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6380" h="51836">
                    <a:moveTo>
                      <a:pt x="46380" y="25918"/>
                    </a:moveTo>
                    <a:cubicBezTo>
                      <a:pt x="46380" y="40233"/>
                      <a:pt x="35998" y="51837"/>
                      <a:pt x="23190" y="51837"/>
                    </a:cubicBezTo>
                    <a:cubicBezTo>
                      <a:pt x="10382" y="51837"/>
                      <a:pt x="0" y="40233"/>
                      <a:pt x="0" y="25918"/>
                    </a:cubicBezTo>
                    <a:cubicBezTo>
                      <a:pt x="0" y="11604"/>
                      <a:pt x="10382" y="0"/>
                      <a:pt x="23190" y="0"/>
                    </a:cubicBezTo>
                    <a:cubicBezTo>
                      <a:pt x="35998" y="0"/>
                      <a:pt x="46380" y="11604"/>
                      <a:pt x="46380" y="25918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75" name="Forma livre: Forma 374">
                <a:extLst>
                  <a:ext uri="{FF2B5EF4-FFF2-40B4-BE49-F238E27FC236}">
                    <a16:creationId xmlns:a16="http://schemas.microsoft.com/office/drawing/2014/main" id="{FEA79753-8F30-0A6B-4AE8-153DD1596726}"/>
                  </a:ext>
                </a:extLst>
              </p:cNvPr>
              <p:cNvSpPr/>
              <p:nvPr/>
            </p:nvSpPr>
            <p:spPr>
              <a:xfrm>
                <a:off x="3275918" y="2183775"/>
                <a:ext cx="38925" cy="1196"/>
              </a:xfrm>
              <a:custGeom>
                <a:avLst/>
                <a:gdLst>
                  <a:gd name="connsiteX0" fmla="*/ 0 w 38925"/>
                  <a:gd name="connsiteY0" fmla="*/ 0 h 1196"/>
                  <a:gd name="connsiteX1" fmla="*/ 38925 w 38925"/>
                  <a:gd name="connsiteY1" fmla="*/ 0 h 11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8925" h="1196">
                    <a:moveTo>
                      <a:pt x="0" y="0"/>
                    </a:moveTo>
                    <a:lnTo>
                      <a:pt x="38925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76" name="Forma livre: Forma 375">
                <a:extLst>
                  <a:ext uri="{FF2B5EF4-FFF2-40B4-BE49-F238E27FC236}">
                    <a16:creationId xmlns:a16="http://schemas.microsoft.com/office/drawing/2014/main" id="{FFFDF212-DAB8-0ABD-F16F-5481D264F352}"/>
                  </a:ext>
                </a:extLst>
              </p:cNvPr>
              <p:cNvSpPr/>
              <p:nvPr/>
            </p:nvSpPr>
            <p:spPr>
              <a:xfrm>
                <a:off x="3295387" y="2183667"/>
                <a:ext cx="1196" cy="55294"/>
              </a:xfrm>
              <a:custGeom>
                <a:avLst/>
                <a:gdLst>
                  <a:gd name="connsiteX0" fmla="*/ 0 w 1196"/>
                  <a:gd name="connsiteY0" fmla="*/ 0 h 55294"/>
                  <a:gd name="connsiteX1" fmla="*/ 0 w 1196"/>
                  <a:gd name="connsiteY1" fmla="*/ 55295 h 552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6" h="55294">
                    <a:moveTo>
                      <a:pt x="0" y="0"/>
                    </a:moveTo>
                    <a:lnTo>
                      <a:pt x="0" y="55295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77" name="Forma livre: Forma 376">
                <a:extLst>
                  <a:ext uri="{FF2B5EF4-FFF2-40B4-BE49-F238E27FC236}">
                    <a16:creationId xmlns:a16="http://schemas.microsoft.com/office/drawing/2014/main" id="{041C24F6-0144-CAD7-C474-43A5C6BAD42C}"/>
                  </a:ext>
                </a:extLst>
              </p:cNvPr>
              <p:cNvSpPr/>
              <p:nvPr/>
            </p:nvSpPr>
            <p:spPr>
              <a:xfrm>
                <a:off x="3164323" y="2180137"/>
                <a:ext cx="44070" cy="54828"/>
              </a:xfrm>
              <a:custGeom>
                <a:avLst/>
                <a:gdLst>
                  <a:gd name="connsiteX0" fmla="*/ 0 w 44070"/>
                  <a:gd name="connsiteY0" fmla="*/ 0 h 54828"/>
                  <a:gd name="connsiteX1" fmla="*/ 22041 w 44070"/>
                  <a:gd name="connsiteY1" fmla="*/ 54828 h 54828"/>
                  <a:gd name="connsiteX2" fmla="*/ 44071 w 44070"/>
                  <a:gd name="connsiteY2" fmla="*/ 0 h 548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44070" h="54828">
                    <a:moveTo>
                      <a:pt x="0" y="0"/>
                    </a:moveTo>
                    <a:lnTo>
                      <a:pt x="22041" y="54828"/>
                    </a:lnTo>
                    <a:lnTo>
                      <a:pt x="44071" y="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378" name="Gráfico 4">
                <a:extLst>
                  <a:ext uri="{FF2B5EF4-FFF2-40B4-BE49-F238E27FC236}">
                    <a16:creationId xmlns:a16="http://schemas.microsoft.com/office/drawing/2014/main" id="{C31C3995-CF06-5385-0BE3-A4FBCD7417D0}"/>
                  </a:ext>
                </a:extLst>
              </p:cNvPr>
              <p:cNvGrpSpPr/>
              <p:nvPr/>
            </p:nvGrpSpPr>
            <p:grpSpPr>
              <a:xfrm>
                <a:off x="3331763" y="2183835"/>
                <a:ext cx="27186" cy="50508"/>
                <a:chOff x="3331763" y="2183835"/>
                <a:chExt cx="27186" cy="50508"/>
              </a:xfrm>
              <a:noFill/>
            </p:grpSpPr>
            <p:sp>
              <p:nvSpPr>
                <p:cNvPr id="379" name="Forma livre: Forma 378">
                  <a:extLst>
                    <a:ext uri="{FF2B5EF4-FFF2-40B4-BE49-F238E27FC236}">
                      <a16:creationId xmlns:a16="http://schemas.microsoft.com/office/drawing/2014/main" id="{31A7509B-FDA4-5344-4B62-8C0DE71E7141}"/>
                    </a:ext>
                  </a:extLst>
                </p:cNvPr>
                <p:cNvSpPr/>
                <p:nvPr/>
              </p:nvSpPr>
              <p:spPr>
                <a:xfrm>
                  <a:off x="3331763" y="2183835"/>
                  <a:ext cx="27186" cy="50508"/>
                </a:xfrm>
                <a:custGeom>
                  <a:avLst/>
                  <a:gdLst>
                    <a:gd name="connsiteX0" fmla="*/ 27187 w 27186"/>
                    <a:gd name="connsiteY0" fmla="*/ 0 h 50508"/>
                    <a:gd name="connsiteX1" fmla="*/ 0 w 27186"/>
                    <a:gd name="connsiteY1" fmla="*/ 0 h 50508"/>
                    <a:gd name="connsiteX2" fmla="*/ 0 w 27186"/>
                    <a:gd name="connsiteY2" fmla="*/ 50508 h 50508"/>
                    <a:gd name="connsiteX3" fmla="*/ 27187 w 27186"/>
                    <a:gd name="connsiteY3" fmla="*/ 50508 h 5050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27186" h="50508">
                      <a:moveTo>
                        <a:pt x="27187" y="0"/>
                      </a:moveTo>
                      <a:lnTo>
                        <a:pt x="0" y="0"/>
                      </a:lnTo>
                      <a:lnTo>
                        <a:pt x="0" y="50508"/>
                      </a:lnTo>
                      <a:lnTo>
                        <a:pt x="27187" y="50508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380" name="Forma livre: Forma 379">
                  <a:extLst>
                    <a:ext uri="{FF2B5EF4-FFF2-40B4-BE49-F238E27FC236}">
                      <a16:creationId xmlns:a16="http://schemas.microsoft.com/office/drawing/2014/main" id="{2F8F6DEC-0223-7088-9809-63A6006D2AEF}"/>
                    </a:ext>
                  </a:extLst>
                </p:cNvPr>
                <p:cNvSpPr/>
                <p:nvPr/>
              </p:nvSpPr>
              <p:spPr>
                <a:xfrm>
                  <a:off x="3332457" y="2209095"/>
                  <a:ext cx="26492" cy="1196"/>
                </a:xfrm>
                <a:custGeom>
                  <a:avLst/>
                  <a:gdLst>
                    <a:gd name="connsiteX0" fmla="*/ 0 w 26492"/>
                    <a:gd name="connsiteY0" fmla="*/ 0 h 1196"/>
                    <a:gd name="connsiteX1" fmla="*/ 26493 w 26492"/>
                    <a:gd name="connsiteY1" fmla="*/ 0 h 119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6492" h="1196">
                      <a:moveTo>
                        <a:pt x="0" y="0"/>
                      </a:moveTo>
                      <a:lnTo>
                        <a:pt x="26493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grpSp>
          <p:nvGrpSpPr>
            <p:cNvPr id="381" name="Gráfico 4">
              <a:extLst>
                <a:ext uri="{FF2B5EF4-FFF2-40B4-BE49-F238E27FC236}">
                  <a16:creationId xmlns:a16="http://schemas.microsoft.com/office/drawing/2014/main" id="{1511154D-BAA6-7335-68D3-E40C00A5F50A}"/>
                </a:ext>
              </a:extLst>
            </p:cNvPr>
            <p:cNvGrpSpPr/>
            <p:nvPr/>
          </p:nvGrpSpPr>
          <p:grpSpPr>
            <a:xfrm>
              <a:off x="3155385" y="2145723"/>
              <a:ext cx="215387" cy="123249"/>
              <a:chOff x="3155385" y="2145723"/>
              <a:chExt cx="215387" cy="123249"/>
            </a:xfrm>
          </p:grpSpPr>
          <p:sp>
            <p:nvSpPr>
              <p:cNvPr id="382" name="Forma livre: Forma 381">
                <a:extLst>
                  <a:ext uri="{FF2B5EF4-FFF2-40B4-BE49-F238E27FC236}">
                    <a16:creationId xmlns:a16="http://schemas.microsoft.com/office/drawing/2014/main" id="{17FECC8F-01F7-426A-971A-3BAF78231AB5}"/>
                  </a:ext>
                </a:extLst>
              </p:cNvPr>
              <p:cNvSpPr/>
              <p:nvPr/>
            </p:nvSpPr>
            <p:spPr>
              <a:xfrm>
                <a:off x="3155385" y="2145723"/>
                <a:ext cx="215387" cy="1196"/>
              </a:xfrm>
              <a:custGeom>
                <a:avLst/>
                <a:gdLst>
                  <a:gd name="connsiteX0" fmla="*/ 0 w 215387"/>
                  <a:gd name="connsiteY0" fmla="*/ 0 h 1196"/>
                  <a:gd name="connsiteX1" fmla="*/ 215388 w 215387"/>
                  <a:gd name="connsiteY1" fmla="*/ 0 h 11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15387" h="1196">
                    <a:moveTo>
                      <a:pt x="0" y="0"/>
                    </a:moveTo>
                    <a:lnTo>
                      <a:pt x="215388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83" name="Forma livre: Forma 382">
                <a:extLst>
                  <a:ext uri="{FF2B5EF4-FFF2-40B4-BE49-F238E27FC236}">
                    <a16:creationId xmlns:a16="http://schemas.microsoft.com/office/drawing/2014/main" id="{D5339D9A-6F82-2518-CF1F-0AC8B1A57E0C}"/>
                  </a:ext>
                </a:extLst>
              </p:cNvPr>
              <p:cNvSpPr/>
              <p:nvPr/>
            </p:nvSpPr>
            <p:spPr>
              <a:xfrm>
                <a:off x="3155385" y="2268972"/>
                <a:ext cx="215387" cy="1196"/>
              </a:xfrm>
              <a:custGeom>
                <a:avLst/>
                <a:gdLst>
                  <a:gd name="connsiteX0" fmla="*/ 0 w 215387"/>
                  <a:gd name="connsiteY0" fmla="*/ 0 h 1196"/>
                  <a:gd name="connsiteX1" fmla="*/ 215388 w 215387"/>
                  <a:gd name="connsiteY1" fmla="*/ 0 h 11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15387" h="1196">
                    <a:moveTo>
                      <a:pt x="0" y="0"/>
                    </a:moveTo>
                    <a:lnTo>
                      <a:pt x="215388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384" name="Forma livre: Forma 383">
              <a:extLst>
                <a:ext uri="{FF2B5EF4-FFF2-40B4-BE49-F238E27FC236}">
                  <a16:creationId xmlns:a16="http://schemas.microsoft.com/office/drawing/2014/main" id="{81B63F8C-1F8A-86BA-4E14-99C834010421}"/>
                </a:ext>
              </a:extLst>
            </p:cNvPr>
            <p:cNvSpPr/>
            <p:nvPr/>
          </p:nvSpPr>
          <p:spPr>
            <a:xfrm>
              <a:off x="3259333" y="2092020"/>
              <a:ext cx="7179" cy="7179"/>
            </a:xfrm>
            <a:custGeom>
              <a:avLst/>
              <a:gdLst>
                <a:gd name="connsiteX0" fmla="*/ 7180 w 7179"/>
                <a:gd name="connsiteY0" fmla="*/ 3590 h 7179"/>
                <a:gd name="connsiteX1" fmla="*/ 3590 w 7179"/>
                <a:gd name="connsiteY1" fmla="*/ 7180 h 7179"/>
                <a:gd name="connsiteX2" fmla="*/ 0 w 7179"/>
                <a:gd name="connsiteY2" fmla="*/ 3590 h 7179"/>
                <a:gd name="connsiteX3" fmla="*/ 3590 w 7179"/>
                <a:gd name="connsiteY3" fmla="*/ 0 h 7179"/>
                <a:gd name="connsiteX4" fmla="*/ 7180 w 7179"/>
                <a:gd name="connsiteY4" fmla="*/ 3590 h 71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79" h="7179">
                  <a:moveTo>
                    <a:pt x="7180" y="3590"/>
                  </a:moveTo>
                  <a:cubicBezTo>
                    <a:pt x="7180" y="5572"/>
                    <a:pt x="5572" y="7180"/>
                    <a:pt x="3590" y="7180"/>
                  </a:cubicBezTo>
                  <a:cubicBezTo>
                    <a:pt x="1607" y="7180"/>
                    <a:pt x="0" y="5572"/>
                    <a:pt x="0" y="3590"/>
                  </a:cubicBezTo>
                  <a:cubicBezTo>
                    <a:pt x="0" y="1607"/>
                    <a:pt x="1607" y="0"/>
                    <a:pt x="3590" y="0"/>
                  </a:cubicBezTo>
                  <a:cubicBezTo>
                    <a:pt x="5572" y="0"/>
                    <a:pt x="7180" y="1607"/>
                    <a:pt x="7180" y="3590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385" name="Gráfico 4">
              <a:extLst>
                <a:ext uri="{FF2B5EF4-FFF2-40B4-BE49-F238E27FC236}">
                  <a16:creationId xmlns:a16="http://schemas.microsoft.com/office/drawing/2014/main" id="{4C5A7423-9D4C-9A28-8C32-8EFDEF84B446}"/>
                </a:ext>
              </a:extLst>
            </p:cNvPr>
            <p:cNvGrpSpPr/>
            <p:nvPr/>
          </p:nvGrpSpPr>
          <p:grpSpPr>
            <a:xfrm>
              <a:off x="3210273" y="2103244"/>
              <a:ext cx="105300" cy="7179"/>
              <a:chOff x="3210273" y="2103244"/>
              <a:chExt cx="105300" cy="7179"/>
            </a:xfrm>
            <a:noFill/>
          </p:grpSpPr>
          <p:sp>
            <p:nvSpPr>
              <p:cNvPr id="386" name="Forma livre: Forma 385">
                <a:extLst>
                  <a:ext uri="{FF2B5EF4-FFF2-40B4-BE49-F238E27FC236}">
                    <a16:creationId xmlns:a16="http://schemas.microsoft.com/office/drawing/2014/main" id="{1956CB2B-E9B3-647F-575E-3C6E27F57FE8}"/>
                  </a:ext>
                </a:extLst>
              </p:cNvPr>
              <p:cNvSpPr/>
              <p:nvPr/>
            </p:nvSpPr>
            <p:spPr>
              <a:xfrm>
                <a:off x="3308394" y="2103244"/>
                <a:ext cx="7179" cy="7179"/>
              </a:xfrm>
              <a:custGeom>
                <a:avLst/>
                <a:gdLst>
                  <a:gd name="connsiteX0" fmla="*/ 7180 w 7179"/>
                  <a:gd name="connsiteY0" fmla="*/ 3590 h 7179"/>
                  <a:gd name="connsiteX1" fmla="*/ 3590 w 7179"/>
                  <a:gd name="connsiteY1" fmla="*/ 7180 h 7179"/>
                  <a:gd name="connsiteX2" fmla="*/ 0 w 7179"/>
                  <a:gd name="connsiteY2" fmla="*/ 3590 h 7179"/>
                  <a:gd name="connsiteX3" fmla="*/ 3590 w 7179"/>
                  <a:gd name="connsiteY3" fmla="*/ 0 h 7179"/>
                  <a:gd name="connsiteX4" fmla="*/ 7180 w 7179"/>
                  <a:gd name="connsiteY4" fmla="*/ 3590 h 71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179" h="7179">
                    <a:moveTo>
                      <a:pt x="7180" y="3590"/>
                    </a:moveTo>
                    <a:cubicBezTo>
                      <a:pt x="7180" y="5572"/>
                      <a:pt x="5572" y="7180"/>
                      <a:pt x="3590" y="7180"/>
                    </a:cubicBezTo>
                    <a:cubicBezTo>
                      <a:pt x="1607" y="7180"/>
                      <a:pt x="0" y="5572"/>
                      <a:pt x="0" y="3590"/>
                    </a:cubicBezTo>
                    <a:cubicBezTo>
                      <a:pt x="0" y="1607"/>
                      <a:pt x="1607" y="0"/>
                      <a:pt x="3590" y="0"/>
                    </a:cubicBezTo>
                    <a:cubicBezTo>
                      <a:pt x="5572" y="0"/>
                      <a:pt x="7180" y="1607"/>
                      <a:pt x="7180" y="3590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87" name="Forma livre: Forma 386">
                <a:extLst>
                  <a:ext uri="{FF2B5EF4-FFF2-40B4-BE49-F238E27FC236}">
                    <a16:creationId xmlns:a16="http://schemas.microsoft.com/office/drawing/2014/main" id="{E5357915-940F-9F90-6478-CBAD60EE7E87}"/>
                  </a:ext>
                </a:extLst>
              </p:cNvPr>
              <p:cNvSpPr/>
              <p:nvPr/>
            </p:nvSpPr>
            <p:spPr>
              <a:xfrm>
                <a:off x="3210273" y="2103244"/>
                <a:ext cx="7179" cy="7179"/>
              </a:xfrm>
              <a:custGeom>
                <a:avLst/>
                <a:gdLst>
                  <a:gd name="connsiteX0" fmla="*/ 7180 w 7179"/>
                  <a:gd name="connsiteY0" fmla="*/ 3590 h 7179"/>
                  <a:gd name="connsiteX1" fmla="*/ 3590 w 7179"/>
                  <a:gd name="connsiteY1" fmla="*/ 7180 h 7179"/>
                  <a:gd name="connsiteX2" fmla="*/ 0 w 7179"/>
                  <a:gd name="connsiteY2" fmla="*/ 3590 h 7179"/>
                  <a:gd name="connsiteX3" fmla="*/ 3590 w 7179"/>
                  <a:gd name="connsiteY3" fmla="*/ 0 h 7179"/>
                  <a:gd name="connsiteX4" fmla="*/ 7180 w 7179"/>
                  <a:gd name="connsiteY4" fmla="*/ 3590 h 71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179" h="7179">
                    <a:moveTo>
                      <a:pt x="7180" y="3590"/>
                    </a:moveTo>
                    <a:cubicBezTo>
                      <a:pt x="7180" y="5572"/>
                      <a:pt x="5572" y="7180"/>
                      <a:pt x="3590" y="7180"/>
                    </a:cubicBezTo>
                    <a:cubicBezTo>
                      <a:pt x="1607" y="7180"/>
                      <a:pt x="0" y="5572"/>
                      <a:pt x="0" y="3590"/>
                    </a:cubicBezTo>
                    <a:cubicBezTo>
                      <a:pt x="0" y="1607"/>
                      <a:pt x="1607" y="0"/>
                      <a:pt x="3590" y="0"/>
                    </a:cubicBezTo>
                    <a:cubicBezTo>
                      <a:pt x="5572" y="0"/>
                      <a:pt x="7180" y="1607"/>
                      <a:pt x="7180" y="3590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388" name="Forma livre: Forma 387">
              <a:extLst>
                <a:ext uri="{FF2B5EF4-FFF2-40B4-BE49-F238E27FC236}">
                  <a16:creationId xmlns:a16="http://schemas.microsoft.com/office/drawing/2014/main" id="{75FC6A62-A27D-7C04-A195-277CB891D1BE}"/>
                </a:ext>
              </a:extLst>
            </p:cNvPr>
            <p:cNvSpPr/>
            <p:nvPr/>
          </p:nvSpPr>
          <p:spPr>
            <a:xfrm>
              <a:off x="3259333" y="2315903"/>
              <a:ext cx="7179" cy="7179"/>
            </a:xfrm>
            <a:custGeom>
              <a:avLst/>
              <a:gdLst>
                <a:gd name="connsiteX0" fmla="*/ 7180 w 7179"/>
                <a:gd name="connsiteY0" fmla="*/ 3590 h 7179"/>
                <a:gd name="connsiteX1" fmla="*/ 3590 w 7179"/>
                <a:gd name="connsiteY1" fmla="*/ 7180 h 7179"/>
                <a:gd name="connsiteX2" fmla="*/ 0 w 7179"/>
                <a:gd name="connsiteY2" fmla="*/ 3590 h 7179"/>
                <a:gd name="connsiteX3" fmla="*/ 3590 w 7179"/>
                <a:gd name="connsiteY3" fmla="*/ 0 h 7179"/>
                <a:gd name="connsiteX4" fmla="*/ 7180 w 7179"/>
                <a:gd name="connsiteY4" fmla="*/ 3590 h 71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79" h="7179">
                  <a:moveTo>
                    <a:pt x="7180" y="3590"/>
                  </a:moveTo>
                  <a:cubicBezTo>
                    <a:pt x="7180" y="5572"/>
                    <a:pt x="5572" y="7180"/>
                    <a:pt x="3590" y="7180"/>
                  </a:cubicBezTo>
                  <a:cubicBezTo>
                    <a:pt x="1607" y="7180"/>
                    <a:pt x="0" y="5572"/>
                    <a:pt x="0" y="3590"/>
                  </a:cubicBezTo>
                  <a:cubicBezTo>
                    <a:pt x="0" y="1607"/>
                    <a:pt x="1607" y="0"/>
                    <a:pt x="3590" y="0"/>
                  </a:cubicBezTo>
                  <a:cubicBezTo>
                    <a:pt x="5572" y="0"/>
                    <a:pt x="7180" y="1607"/>
                    <a:pt x="7180" y="3590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389" name="Gráfico 4">
              <a:extLst>
                <a:ext uri="{FF2B5EF4-FFF2-40B4-BE49-F238E27FC236}">
                  <a16:creationId xmlns:a16="http://schemas.microsoft.com/office/drawing/2014/main" id="{88CAA864-1DD7-F32E-A959-5344F58576E3}"/>
                </a:ext>
              </a:extLst>
            </p:cNvPr>
            <p:cNvGrpSpPr/>
            <p:nvPr/>
          </p:nvGrpSpPr>
          <p:grpSpPr>
            <a:xfrm>
              <a:off x="3210273" y="2304691"/>
              <a:ext cx="105300" cy="7179"/>
              <a:chOff x="3210273" y="2304691"/>
              <a:chExt cx="105300" cy="7179"/>
            </a:xfrm>
            <a:noFill/>
          </p:grpSpPr>
          <p:sp>
            <p:nvSpPr>
              <p:cNvPr id="390" name="Forma livre: Forma 389">
                <a:extLst>
                  <a:ext uri="{FF2B5EF4-FFF2-40B4-BE49-F238E27FC236}">
                    <a16:creationId xmlns:a16="http://schemas.microsoft.com/office/drawing/2014/main" id="{2E6CF65E-2ACE-C03A-B69F-D00EBAB77A3C}"/>
                  </a:ext>
                </a:extLst>
              </p:cNvPr>
              <p:cNvSpPr/>
              <p:nvPr/>
            </p:nvSpPr>
            <p:spPr>
              <a:xfrm>
                <a:off x="3210273" y="2304691"/>
                <a:ext cx="7179" cy="7179"/>
              </a:xfrm>
              <a:custGeom>
                <a:avLst/>
                <a:gdLst>
                  <a:gd name="connsiteX0" fmla="*/ 7180 w 7179"/>
                  <a:gd name="connsiteY0" fmla="*/ 3590 h 7179"/>
                  <a:gd name="connsiteX1" fmla="*/ 3590 w 7179"/>
                  <a:gd name="connsiteY1" fmla="*/ 7180 h 7179"/>
                  <a:gd name="connsiteX2" fmla="*/ 0 w 7179"/>
                  <a:gd name="connsiteY2" fmla="*/ 3590 h 7179"/>
                  <a:gd name="connsiteX3" fmla="*/ 3590 w 7179"/>
                  <a:gd name="connsiteY3" fmla="*/ 0 h 7179"/>
                  <a:gd name="connsiteX4" fmla="*/ 7180 w 7179"/>
                  <a:gd name="connsiteY4" fmla="*/ 3590 h 71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179" h="7179">
                    <a:moveTo>
                      <a:pt x="7180" y="3590"/>
                    </a:moveTo>
                    <a:cubicBezTo>
                      <a:pt x="7180" y="5572"/>
                      <a:pt x="5572" y="7180"/>
                      <a:pt x="3590" y="7180"/>
                    </a:cubicBezTo>
                    <a:cubicBezTo>
                      <a:pt x="1607" y="7180"/>
                      <a:pt x="0" y="5572"/>
                      <a:pt x="0" y="3590"/>
                    </a:cubicBezTo>
                    <a:cubicBezTo>
                      <a:pt x="0" y="1607"/>
                      <a:pt x="1607" y="0"/>
                      <a:pt x="3590" y="0"/>
                    </a:cubicBezTo>
                    <a:cubicBezTo>
                      <a:pt x="5572" y="0"/>
                      <a:pt x="7180" y="1607"/>
                      <a:pt x="7180" y="3590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91" name="Forma livre: Forma 390">
                <a:extLst>
                  <a:ext uri="{FF2B5EF4-FFF2-40B4-BE49-F238E27FC236}">
                    <a16:creationId xmlns:a16="http://schemas.microsoft.com/office/drawing/2014/main" id="{794341A1-015B-94AA-4CE7-4862F62DB916}"/>
                  </a:ext>
                </a:extLst>
              </p:cNvPr>
              <p:cNvSpPr/>
              <p:nvPr/>
            </p:nvSpPr>
            <p:spPr>
              <a:xfrm>
                <a:off x="3308394" y="2304691"/>
                <a:ext cx="7179" cy="7179"/>
              </a:xfrm>
              <a:custGeom>
                <a:avLst/>
                <a:gdLst>
                  <a:gd name="connsiteX0" fmla="*/ 7180 w 7179"/>
                  <a:gd name="connsiteY0" fmla="*/ 3590 h 7179"/>
                  <a:gd name="connsiteX1" fmla="*/ 3590 w 7179"/>
                  <a:gd name="connsiteY1" fmla="*/ 7180 h 7179"/>
                  <a:gd name="connsiteX2" fmla="*/ 0 w 7179"/>
                  <a:gd name="connsiteY2" fmla="*/ 3590 h 7179"/>
                  <a:gd name="connsiteX3" fmla="*/ 3590 w 7179"/>
                  <a:gd name="connsiteY3" fmla="*/ 0 h 7179"/>
                  <a:gd name="connsiteX4" fmla="*/ 7180 w 7179"/>
                  <a:gd name="connsiteY4" fmla="*/ 3590 h 71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179" h="7179">
                    <a:moveTo>
                      <a:pt x="7180" y="3590"/>
                    </a:moveTo>
                    <a:cubicBezTo>
                      <a:pt x="7180" y="5572"/>
                      <a:pt x="5572" y="7180"/>
                      <a:pt x="3590" y="7180"/>
                    </a:cubicBezTo>
                    <a:cubicBezTo>
                      <a:pt x="1607" y="7180"/>
                      <a:pt x="0" y="5572"/>
                      <a:pt x="0" y="3590"/>
                    </a:cubicBezTo>
                    <a:cubicBezTo>
                      <a:pt x="0" y="1607"/>
                      <a:pt x="1607" y="0"/>
                      <a:pt x="3590" y="0"/>
                    </a:cubicBezTo>
                    <a:cubicBezTo>
                      <a:pt x="5572" y="0"/>
                      <a:pt x="7180" y="1607"/>
                      <a:pt x="7180" y="3590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392" name="Gráfico 4">
            <a:extLst>
              <a:ext uri="{FF2B5EF4-FFF2-40B4-BE49-F238E27FC236}">
                <a16:creationId xmlns:a16="http://schemas.microsoft.com/office/drawing/2014/main" id="{D48DAD6C-79A6-26B8-FD42-7A9D4E5F2F89}"/>
              </a:ext>
            </a:extLst>
          </p:cNvPr>
          <p:cNvGrpSpPr/>
          <p:nvPr/>
        </p:nvGrpSpPr>
        <p:grpSpPr>
          <a:xfrm>
            <a:off x="3108545" y="3114859"/>
            <a:ext cx="309074" cy="317289"/>
            <a:chOff x="3108545" y="3114859"/>
            <a:chExt cx="309074" cy="317289"/>
          </a:xfrm>
          <a:noFill/>
        </p:grpSpPr>
        <p:sp>
          <p:nvSpPr>
            <p:cNvPr id="393" name="Forma livre: Forma 392">
              <a:extLst>
                <a:ext uri="{FF2B5EF4-FFF2-40B4-BE49-F238E27FC236}">
                  <a16:creationId xmlns:a16="http://schemas.microsoft.com/office/drawing/2014/main" id="{1E90BEAA-BB04-B8E0-BCEF-6ECA10FF9129}"/>
                </a:ext>
              </a:extLst>
            </p:cNvPr>
            <p:cNvSpPr/>
            <p:nvPr/>
          </p:nvSpPr>
          <p:spPr>
            <a:xfrm>
              <a:off x="3153087" y="3230474"/>
              <a:ext cx="77180" cy="67129"/>
            </a:xfrm>
            <a:custGeom>
              <a:avLst/>
              <a:gdLst>
                <a:gd name="connsiteX0" fmla="*/ 0 w 77180"/>
                <a:gd name="connsiteY0" fmla="*/ 39751 h 67129"/>
                <a:gd name="connsiteX1" fmla="*/ 31877 w 77180"/>
                <a:gd name="connsiteY1" fmla="*/ 67129 h 67129"/>
                <a:gd name="connsiteX2" fmla="*/ 77181 w 77180"/>
                <a:gd name="connsiteY2" fmla="*/ 0 h 671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77180" h="67129">
                  <a:moveTo>
                    <a:pt x="0" y="39751"/>
                  </a:moveTo>
                  <a:lnTo>
                    <a:pt x="31877" y="67129"/>
                  </a:lnTo>
                  <a:lnTo>
                    <a:pt x="77181" y="0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94" name="Forma livre: Forma 393">
              <a:extLst>
                <a:ext uri="{FF2B5EF4-FFF2-40B4-BE49-F238E27FC236}">
                  <a16:creationId xmlns:a16="http://schemas.microsoft.com/office/drawing/2014/main" id="{B0CCD96E-DF72-85DC-8519-2D8D17D8FB39}"/>
                </a:ext>
              </a:extLst>
            </p:cNvPr>
            <p:cNvSpPr/>
            <p:nvPr/>
          </p:nvSpPr>
          <p:spPr>
            <a:xfrm rot="-371400">
              <a:off x="3116234" y="3189641"/>
              <a:ext cx="150771" cy="150771"/>
            </a:xfrm>
            <a:custGeom>
              <a:avLst/>
              <a:gdLst>
                <a:gd name="connsiteX0" fmla="*/ 0 w 150771"/>
                <a:gd name="connsiteY0" fmla="*/ 0 h 150771"/>
                <a:gd name="connsiteX1" fmla="*/ 150771 w 150771"/>
                <a:gd name="connsiteY1" fmla="*/ 0 h 150771"/>
                <a:gd name="connsiteX2" fmla="*/ 150771 w 150771"/>
                <a:gd name="connsiteY2" fmla="*/ 150771 h 150771"/>
                <a:gd name="connsiteX3" fmla="*/ 0 w 150771"/>
                <a:gd name="connsiteY3" fmla="*/ 150771 h 1507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0771" h="150771">
                  <a:moveTo>
                    <a:pt x="0" y="0"/>
                  </a:moveTo>
                  <a:lnTo>
                    <a:pt x="150771" y="0"/>
                  </a:lnTo>
                  <a:lnTo>
                    <a:pt x="150771" y="150771"/>
                  </a:lnTo>
                  <a:lnTo>
                    <a:pt x="0" y="150771"/>
                  </a:ln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395" name="Gráfico 4">
              <a:extLst>
                <a:ext uri="{FF2B5EF4-FFF2-40B4-BE49-F238E27FC236}">
                  <a16:creationId xmlns:a16="http://schemas.microsoft.com/office/drawing/2014/main" id="{4387D5BC-1830-53F5-F077-ADF9427A021B}"/>
                </a:ext>
              </a:extLst>
            </p:cNvPr>
            <p:cNvGrpSpPr/>
            <p:nvPr/>
          </p:nvGrpSpPr>
          <p:grpSpPr>
            <a:xfrm>
              <a:off x="3187406" y="3338384"/>
              <a:ext cx="36807" cy="93597"/>
              <a:chOff x="3187406" y="3338384"/>
              <a:chExt cx="36807" cy="93597"/>
            </a:xfrm>
          </p:grpSpPr>
          <p:sp>
            <p:nvSpPr>
              <p:cNvPr id="396" name="Forma livre: Forma 395">
                <a:extLst>
                  <a:ext uri="{FF2B5EF4-FFF2-40B4-BE49-F238E27FC236}">
                    <a16:creationId xmlns:a16="http://schemas.microsoft.com/office/drawing/2014/main" id="{834A9484-3931-0A7A-D270-211F28D86973}"/>
                  </a:ext>
                </a:extLst>
              </p:cNvPr>
              <p:cNvSpPr/>
              <p:nvPr/>
            </p:nvSpPr>
            <p:spPr>
              <a:xfrm>
                <a:off x="3187406" y="3363046"/>
                <a:ext cx="7466" cy="68935"/>
              </a:xfrm>
              <a:custGeom>
                <a:avLst/>
                <a:gdLst>
                  <a:gd name="connsiteX0" fmla="*/ 0 w 7466"/>
                  <a:gd name="connsiteY0" fmla="*/ 0 h 68935"/>
                  <a:gd name="connsiteX1" fmla="*/ 7467 w 7466"/>
                  <a:gd name="connsiteY1" fmla="*/ 68936 h 689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7466" h="68935">
                    <a:moveTo>
                      <a:pt x="0" y="0"/>
                    </a:moveTo>
                    <a:lnTo>
                      <a:pt x="7467" y="68936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97" name="Forma livre: Forma 396">
                <a:extLst>
                  <a:ext uri="{FF2B5EF4-FFF2-40B4-BE49-F238E27FC236}">
                    <a16:creationId xmlns:a16="http://schemas.microsoft.com/office/drawing/2014/main" id="{9F121137-8BD3-D791-7602-FB2E0B74D6E3}"/>
                  </a:ext>
                </a:extLst>
              </p:cNvPr>
              <p:cNvSpPr/>
              <p:nvPr/>
            </p:nvSpPr>
            <p:spPr>
              <a:xfrm>
                <a:off x="3214413" y="3338384"/>
                <a:ext cx="9800" cy="90414"/>
              </a:xfrm>
              <a:custGeom>
                <a:avLst/>
                <a:gdLst>
                  <a:gd name="connsiteX0" fmla="*/ 0 w 9800"/>
                  <a:gd name="connsiteY0" fmla="*/ 0 h 90414"/>
                  <a:gd name="connsiteX1" fmla="*/ 9800 w 9800"/>
                  <a:gd name="connsiteY1" fmla="*/ 90415 h 904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800" h="90414">
                    <a:moveTo>
                      <a:pt x="0" y="0"/>
                    </a:moveTo>
                    <a:lnTo>
                      <a:pt x="9800" y="90415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398" name="Forma livre: Forma 397">
              <a:extLst>
                <a:ext uri="{FF2B5EF4-FFF2-40B4-BE49-F238E27FC236}">
                  <a16:creationId xmlns:a16="http://schemas.microsoft.com/office/drawing/2014/main" id="{32F77A5B-1254-17E5-3D0C-BF632B600650}"/>
                </a:ext>
              </a:extLst>
            </p:cNvPr>
            <p:cNvSpPr/>
            <p:nvPr/>
          </p:nvSpPr>
          <p:spPr>
            <a:xfrm>
              <a:off x="3166166" y="3164111"/>
              <a:ext cx="31937" cy="26767"/>
            </a:xfrm>
            <a:custGeom>
              <a:avLst/>
              <a:gdLst>
                <a:gd name="connsiteX0" fmla="*/ 31937 w 31937"/>
                <a:gd name="connsiteY0" fmla="*/ 23872 h 26767"/>
                <a:gd name="connsiteX1" fmla="*/ 29353 w 31937"/>
                <a:gd name="connsiteY1" fmla="*/ 0 h 26767"/>
                <a:gd name="connsiteX2" fmla="*/ 0 w 31937"/>
                <a:gd name="connsiteY2" fmla="*/ 3183 h 26767"/>
                <a:gd name="connsiteX3" fmla="*/ 2561 w 31937"/>
                <a:gd name="connsiteY3" fmla="*/ 26768 h 267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1937" h="26767">
                  <a:moveTo>
                    <a:pt x="31937" y="23872"/>
                  </a:moveTo>
                  <a:lnTo>
                    <a:pt x="29353" y="0"/>
                  </a:lnTo>
                  <a:lnTo>
                    <a:pt x="0" y="3183"/>
                  </a:lnTo>
                  <a:lnTo>
                    <a:pt x="2561" y="26768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399" name="Gráfico 4">
              <a:extLst>
                <a:ext uri="{FF2B5EF4-FFF2-40B4-BE49-F238E27FC236}">
                  <a16:creationId xmlns:a16="http://schemas.microsoft.com/office/drawing/2014/main" id="{F965FD28-F782-A959-50DF-A96FB5298EB0}"/>
                </a:ext>
              </a:extLst>
            </p:cNvPr>
            <p:cNvGrpSpPr/>
            <p:nvPr/>
          </p:nvGrpSpPr>
          <p:grpSpPr>
            <a:xfrm>
              <a:off x="3265316" y="3134292"/>
              <a:ext cx="152302" cy="162725"/>
              <a:chOff x="3265316" y="3134292"/>
              <a:chExt cx="152302" cy="162725"/>
            </a:xfrm>
            <a:noFill/>
          </p:grpSpPr>
          <p:sp>
            <p:nvSpPr>
              <p:cNvPr id="400" name="Forma livre: Forma 399">
                <a:extLst>
                  <a:ext uri="{FF2B5EF4-FFF2-40B4-BE49-F238E27FC236}">
                    <a16:creationId xmlns:a16="http://schemas.microsoft.com/office/drawing/2014/main" id="{DC682876-17B0-0AA2-272B-7449CB01F530}"/>
                  </a:ext>
                </a:extLst>
              </p:cNvPr>
              <p:cNvSpPr/>
              <p:nvPr/>
            </p:nvSpPr>
            <p:spPr>
              <a:xfrm>
                <a:off x="3305426" y="3188785"/>
                <a:ext cx="63790" cy="54014"/>
              </a:xfrm>
              <a:custGeom>
                <a:avLst/>
                <a:gdLst>
                  <a:gd name="connsiteX0" fmla="*/ 63791 w 63790"/>
                  <a:gd name="connsiteY0" fmla="*/ 0 h 54014"/>
                  <a:gd name="connsiteX1" fmla="*/ 0 w 63790"/>
                  <a:gd name="connsiteY1" fmla="*/ 54014 h 540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3790" h="54014">
                    <a:moveTo>
                      <a:pt x="63791" y="0"/>
                    </a:moveTo>
                    <a:lnTo>
                      <a:pt x="0" y="54014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01" name="Forma livre: Forma 400">
                <a:extLst>
                  <a:ext uri="{FF2B5EF4-FFF2-40B4-BE49-F238E27FC236}">
                    <a16:creationId xmlns:a16="http://schemas.microsoft.com/office/drawing/2014/main" id="{D44684ED-8DEE-F772-A3EA-12010081BF1D}"/>
                  </a:ext>
                </a:extLst>
              </p:cNvPr>
              <p:cNvSpPr/>
              <p:nvPr/>
            </p:nvSpPr>
            <p:spPr>
              <a:xfrm>
                <a:off x="3310308" y="3183903"/>
                <a:ext cx="54014" cy="63778"/>
              </a:xfrm>
              <a:custGeom>
                <a:avLst/>
                <a:gdLst>
                  <a:gd name="connsiteX0" fmla="*/ 54014 w 54014"/>
                  <a:gd name="connsiteY0" fmla="*/ 63779 h 63778"/>
                  <a:gd name="connsiteX1" fmla="*/ 0 w 54014"/>
                  <a:gd name="connsiteY1" fmla="*/ 0 h 637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4014" h="63778">
                    <a:moveTo>
                      <a:pt x="54014" y="63779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02" name="Forma livre: Forma 401">
                <a:extLst>
                  <a:ext uri="{FF2B5EF4-FFF2-40B4-BE49-F238E27FC236}">
                    <a16:creationId xmlns:a16="http://schemas.microsoft.com/office/drawing/2014/main" id="{3B53AEF0-ADE7-7629-2F39-7B696EB88256}"/>
                  </a:ext>
                </a:extLst>
              </p:cNvPr>
              <p:cNvSpPr/>
              <p:nvPr/>
            </p:nvSpPr>
            <p:spPr>
              <a:xfrm>
                <a:off x="3265316" y="3134292"/>
                <a:ext cx="152302" cy="162725"/>
              </a:xfrm>
              <a:custGeom>
                <a:avLst/>
                <a:gdLst>
                  <a:gd name="connsiteX0" fmla="*/ 0 w 152302"/>
                  <a:gd name="connsiteY0" fmla="*/ 24722 h 162725"/>
                  <a:gd name="connsiteX1" fmla="*/ 2058 w 152302"/>
                  <a:gd name="connsiteY1" fmla="*/ 0 h 162725"/>
                  <a:gd name="connsiteX2" fmla="*/ 152303 w 152302"/>
                  <a:gd name="connsiteY2" fmla="*/ 12469 h 162725"/>
                  <a:gd name="connsiteX3" fmla="*/ 139834 w 152302"/>
                  <a:gd name="connsiteY3" fmla="*/ 162725 h 162725"/>
                  <a:gd name="connsiteX4" fmla="*/ 27785 w 152302"/>
                  <a:gd name="connsiteY4" fmla="*/ 153416 h 1627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52302" h="162725">
                    <a:moveTo>
                      <a:pt x="0" y="24722"/>
                    </a:moveTo>
                    <a:lnTo>
                      <a:pt x="2058" y="0"/>
                    </a:lnTo>
                    <a:lnTo>
                      <a:pt x="152303" y="12469"/>
                    </a:lnTo>
                    <a:lnTo>
                      <a:pt x="139834" y="162725"/>
                    </a:lnTo>
                    <a:lnTo>
                      <a:pt x="27785" y="153416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403" name="Gráfico 4">
              <a:extLst>
                <a:ext uri="{FF2B5EF4-FFF2-40B4-BE49-F238E27FC236}">
                  <a16:creationId xmlns:a16="http://schemas.microsoft.com/office/drawing/2014/main" id="{CB3219B5-5FE1-AA4B-F04F-8F5DE71C5F2C}"/>
                </a:ext>
              </a:extLst>
            </p:cNvPr>
            <p:cNvGrpSpPr/>
            <p:nvPr/>
          </p:nvGrpSpPr>
          <p:grpSpPr>
            <a:xfrm>
              <a:off x="3303679" y="3292004"/>
              <a:ext cx="41055" cy="140145"/>
              <a:chOff x="3303679" y="3292004"/>
              <a:chExt cx="41055" cy="140145"/>
            </a:xfrm>
          </p:grpSpPr>
          <p:sp>
            <p:nvSpPr>
              <p:cNvPr id="404" name="Forma livre: Forma 403">
                <a:extLst>
                  <a:ext uri="{FF2B5EF4-FFF2-40B4-BE49-F238E27FC236}">
                    <a16:creationId xmlns:a16="http://schemas.microsoft.com/office/drawing/2014/main" id="{31FF62DD-5117-F34C-6F44-FE1E94444FB1}"/>
                  </a:ext>
                </a:extLst>
              </p:cNvPr>
              <p:cNvSpPr/>
              <p:nvPr/>
            </p:nvSpPr>
            <p:spPr>
              <a:xfrm>
                <a:off x="3303679" y="3311018"/>
                <a:ext cx="9859" cy="118690"/>
              </a:xfrm>
              <a:custGeom>
                <a:avLst/>
                <a:gdLst>
                  <a:gd name="connsiteX0" fmla="*/ 9860 w 9859"/>
                  <a:gd name="connsiteY0" fmla="*/ 0 h 118690"/>
                  <a:gd name="connsiteX1" fmla="*/ 0 w 9859"/>
                  <a:gd name="connsiteY1" fmla="*/ 118690 h 1186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859" h="118690">
                    <a:moveTo>
                      <a:pt x="9860" y="0"/>
                    </a:moveTo>
                    <a:lnTo>
                      <a:pt x="0" y="11869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05" name="Forma livre: Forma 404">
                <a:extLst>
                  <a:ext uri="{FF2B5EF4-FFF2-40B4-BE49-F238E27FC236}">
                    <a16:creationId xmlns:a16="http://schemas.microsoft.com/office/drawing/2014/main" id="{B32A95A0-9B8C-1D5C-E541-598B2A9E951C}"/>
                  </a:ext>
                </a:extLst>
              </p:cNvPr>
              <p:cNvSpPr/>
              <p:nvPr/>
            </p:nvSpPr>
            <p:spPr>
              <a:xfrm>
                <a:off x="3333103" y="3292004"/>
                <a:ext cx="11630" cy="140145"/>
              </a:xfrm>
              <a:custGeom>
                <a:avLst/>
                <a:gdLst>
                  <a:gd name="connsiteX0" fmla="*/ 11631 w 11630"/>
                  <a:gd name="connsiteY0" fmla="*/ 0 h 140145"/>
                  <a:gd name="connsiteX1" fmla="*/ 0 w 11630"/>
                  <a:gd name="connsiteY1" fmla="*/ 140146 h 1401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630" h="140145">
                    <a:moveTo>
                      <a:pt x="11631" y="0"/>
                    </a:moveTo>
                    <a:lnTo>
                      <a:pt x="0" y="140146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406" name="Forma livre: Forma 405">
              <a:extLst>
                <a:ext uri="{FF2B5EF4-FFF2-40B4-BE49-F238E27FC236}">
                  <a16:creationId xmlns:a16="http://schemas.microsoft.com/office/drawing/2014/main" id="{C51FE846-A632-61AA-DEEA-40D512F6F354}"/>
                </a:ext>
              </a:extLst>
            </p:cNvPr>
            <p:cNvSpPr/>
            <p:nvPr/>
          </p:nvSpPr>
          <p:spPr>
            <a:xfrm>
              <a:off x="3327850" y="3114859"/>
              <a:ext cx="31386" cy="26385"/>
            </a:xfrm>
            <a:custGeom>
              <a:avLst/>
              <a:gdLst>
                <a:gd name="connsiteX0" fmla="*/ 29400 w 31386"/>
                <a:gd name="connsiteY0" fmla="*/ 26385 h 26385"/>
                <a:gd name="connsiteX1" fmla="*/ 31387 w 31386"/>
                <a:gd name="connsiteY1" fmla="*/ 2441 h 26385"/>
                <a:gd name="connsiteX2" fmla="*/ 1962 w 31386"/>
                <a:gd name="connsiteY2" fmla="*/ 0 h 26385"/>
                <a:gd name="connsiteX3" fmla="*/ 0 w 31386"/>
                <a:gd name="connsiteY3" fmla="*/ 23657 h 263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1386" h="26385">
                  <a:moveTo>
                    <a:pt x="29400" y="26385"/>
                  </a:moveTo>
                  <a:lnTo>
                    <a:pt x="31387" y="2441"/>
                  </a:lnTo>
                  <a:lnTo>
                    <a:pt x="1962" y="0"/>
                  </a:lnTo>
                  <a:lnTo>
                    <a:pt x="0" y="23657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407" name="Gráfico 4">
            <a:extLst>
              <a:ext uri="{FF2B5EF4-FFF2-40B4-BE49-F238E27FC236}">
                <a16:creationId xmlns:a16="http://schemas.microsoft.com/office/drawing/2014/main" id="{046A00FF-5123-B7D7-7969-BD8773C5A521}"/>
              </a:ext>
            </a:extLst>
          </p:cNvPr>
          <p:cNvGrpSpPr/>
          <p:nvPr/>
        </p:nvGrpSpPr>
        <p:grpSpPr>
          <a:xfrm>
            <a:off x="3088447" y="1016913"/>
            <a:ext cx="349250" cy="248545"/>
            <a:chOff x="3088447" y="1016913"/>
            <a:chExt cx="349250" cy="248545"/>
          </a:xfrm>
          <a:noFill/>
        </p:grpSpPr>
        <p:grpSp>
          <p:nvGrpSpPr>
            <p:cNvPr id="408" name="Gráfico 4">
              <a:extLst>
                <a:ext uri="{FF2B5EF4-FFF2-40B4-BE49-F238E27FC236}">
                  <a16:creationId xmlns:a16="http://schemas.microsoft.com/office/drawing/2014/main" id="{354D1E71-99F9-F217-9F3F-C3F7994EED21}"/>
                </a:ext>
              </a:extLst>
            </p:cNvPr>
            <p:cNvGrpSpPr/>
            <p:nvPr/>
          </p:nvGrpSpPr>
          <p:grpSpPr>
            <a:xfrm>
              <a:off x="3153386" y="1016913"/>
              <a:ext cx="219384" cy="199676"/>
              <a:chOff x="3153386" y="1016913"/>
              <a:chExt cx="219384" cy="199676"/>
            </a:xfrm>
            <a:noFill/>
          </p:grpSpPr>
          <p:sp>
            <p:nvSpPr>
              <p:cNvPr id="409" name="Forma livre: Forma 408">
                <a:extLst>
                  <a:ext uri="{FF2B5EF4-FFF2-40B4-BE49-F238E27FC236}">
                    <a16:creationId xmlns:a16="http://schemas.microsoft.com/office/drawing/2014/main" id="{C814ED88-EFB7-2D53-7AB2-9049160DFB9F}"/>
                  </a:ext>
                </a:extLst>
              </p:cNvPr>
              <p:cNvSpPr/>
              <p:nvPr/>
            </p:nvSpPr>
            <p:spPr>
              <a:xfrm>
                <a:off x="3213683" y="1016913"/>
                <a:ext cx="98791" cy="112635"/>
              </a:xfrm>
              <a:custGeom>
                <a:avLst/>
                <a:gdLst>
                  <a:gd name="connsiteX0" fmla="*/ 98791 w 98791"/>
                  <a:gd name="connsiteY0" fmla="*/ 112636 h 112635"/>
                  <a:gd name="connsiteX1" fmla="*/ 98791 w 98791"/>
                  <a:gd name="connsiteY1" fmla="*/ 0 h 112635"/>
                  <a:gd name="connsiteX2" fmla="*/ 0 w 98791"/>
                  <a:gd name="connsiteY2" fmla="*/ 0 h 112635"/>
                  <a:gd name="connsiteX3" fmla="*/ 0 w 98791"/>
                  <a:gd name="connsiteY3" fmla="*/ 112636 h 1126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8791" h="112635">
                    <a:moveTo>
                      <a:pt x="98791" y="112636"/>
                    </a:moveTo>
                    <a:lnTo>
                      <a:pt x="98791" y="0"/>
                    </a:lnTo>
                    <a:lnTo>
                      <a:pt x="0" y="0"/>
                    </a:lnTo>
                    <a:lnTo>
                      <a:pt x="0" y="112636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10" name="Forma livre: Forma 409">
                <a:extLst>
                  <a:ext uri="{FF2B5EF4-FFF2-40B4-BE49-F238E27FC236}">
                    <a16:creationId xmlns:a16="http://schemas.microsoft.com/office/drawing/2014/main" id="{B389B007-EE98-12B9-B181-F19DCD005D18}"/>
                  </a:ext>
                </a:extLst>
              </p:cNvPr>
              <p:cNvSpPr/>
              <p:nvPr/>
            </p:nvSpPr>
            <p:spPr>
              <a:xfrm>
                <a:off x="3193903" y="1129967"/>
                <a:ext cx="138350" cy="1196"/>
              </a:xfrm>
              <a:custGeom>
                <a:avLst/>
                <a:gdLst>
                  <a:gd name="connsiteX0" fmla="*/ 0 w 138350"/>
                  <a:gd name="connsiteY0" fmla="*/ 0 h 1196"/>
                  <a:gd name="connsiteX1" fmla="*/ 138351 w 138350"/>
                  <a:gd name="connsiteY1" fmla="*/ 0 h 11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38350" h="1196">
                    <a:moveTo>
                      <a:pt x="0" y="0"/>
                    </a:moveTo>
                    <a:lnTo>
                      <a:pt x="138351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11" name="Forma livre: Forma 410">
                <a:extLst>
                  <a:ext uri="{FF2B5EF4-FFF2-40B4-BE49-F238E27FC236}">
                    <a16:creationId xmlns:a16="http://schemas.microsoft.com/office/drawing/2014/main" id="{93F0CA21-8B34-1574-89CE-F0650F1DA82B}"/>
                  </a:ext>
                </a:extLst>
              </p:cNvPr>
              <p:cNvSpPr/>
              <p:nvPr/>
            </p:nvSpPr>
            <p:spPr>
              <a:xfrm>
                <a:off x="3153386" y="1103474"/>
                <a:ext cx="219384" cy="53715"/>
              </a:xfrm>
              <a:custGeom>
                <a:avLst/>
                <a:gdLst>
                  <a:gd name="connsiteX0" fmla="*/ 58035 w 219384"/>
                  <a:gd name="connsiteY0" fmla="*/ 0 h 53715"/>
                  <a:gd name="connsiteX1" fmla="*/ 25811 w 219384"/>
                  <a:gd name="connsiteY1" fmla="*/ 0 h 53715"/>
                  <a:gd name="connsiteX2" fmla="*/ 0 w 219384"/>
                  <a:gd name="connsiteY2" fmla="*/ 53715 h 53715"/>
                  <a:gd name="connsiteX3" fmla="*/ 219384 w 219384"/>
                  <a:gd name="connsiteY3" fmla="*/ 53715 h 53715"/>
                  <a:gd name="connsiteX4" fmla="*/ 193574 w 219384"/>
                  <a:gd name="connsiteY4" fmla="*/ 0 h 53715"/>
                  <a:gd name="connsiteX5" fmla="*/ 160954 w 219384"/>
                  <a:gd name="connsiteY5" fmla="*/ 0 h 537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19384" h="53715">
                    <a:moveTo>
                      <a:pt x="58035" y="0"/>
                    </a:moveTo>
                    <a:lnTo>
                      <a:pt x="25811" y="0"/>
                    </a:lnTo>
                    <a:lnTo>
                      <a:pt x="0" y="53715"/>
                    </a:lnTo>
                    <a:lnTo>
                      <a:pt x="219384" y="53715"/>
                    </a:lnTo>
                    <a:lnTo>
                      <a:pt x="193574" y="0"/>
                    </a:lnTo>
                    <a:lnTo>
                      <a:pt x="160954" y="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412" name="Gráfico 4">
                <a:extLst>
                  <a:ext uri="{FF2B5EF4-FFF2-40B4-BE49-F238E27FC236}">
                    <a16:creationId xmlns:a16="http://schemas.microsoft.com/office/drawing/2014/main" id="{35799160-B6D2-5DB5-4C27-2365339BF493}"/>
                  </a:ext>
                </a:extLst>
              </p:cNvPr>
              <p:cNvGrpSpPr/>
              <p:nvPr/>
            </p:nvGrpSpPr>
            <p:grpSpPr>
              <a:xfrm>
                <a:off x="3153386" y="1156819"/>
                <a:ext cx="219384" cy="59770"/>
                <a:chOff x="3153386" y="1156819"/>
                <a:chExt cx="219384" cy="59770"/>
              </a:xfrm>
            </p:grpSpPr>
            <p:sp>
              <p:nvSpPr>
                <p:cNvPr id="413" name="Forma livre: Forma 412">
                  <a:extLst>
                    <a:ext uri="{FF2B5EF4-FFF2-40B4-BE49-F238E27FC236}">
                      <a16:creationId xmlns:a16="http://schemas.microsoft.com/office/drawing/2014/main" id="{C4D90A2F-3F41-A933-4C7E-D3278BFCAC24}"/>
                    </a:ext>
                  </a:extLst>
                </p:cNvPr>
                <p:cNvSpPr/>
                <p:nvPr/>
              </p:nvSpPr>
              <p:spPr>
                <a:xfrm>
                  <a:off x="3153386" y="1156819"/>
                  <a:ext cx="1196" cy="59770"/>
                </a:xfrm>
                <a:custGeom>
                  <a:avLst/>
                  <a:gdLst>
                    <a:gd name="connsiteX0" fmla="*/ 0 w 1196"/>
                    <a:gd name="connsiteY0" fmla="*/ 0 h 59770"/>
                    <a:gd name="connsiteX1" fmla="*/ 0 w 1196"/>
                    <a:gd name="connsiteY1" fmla="*/ 59770 h 5977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196" h="59770">
                      <a:moveTo>
                        <a:pt x="0" y="0"/>
                      </a:moveTo>
                      <a:lnTo>
                        <a:pt x="0" y="5977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414" name="Forma livre: Forma 413">
                  <a:extLst>
                    <a:ext uri="{FF2B5EF4-FFF2-40B4-BE49-F238E27FC236}">
                      <a16:creationId xmlns:a16="http://schemas.microsoft.com/office/drawing/2014/main" id="{5C8793BB-A9D1-43D3-5FDF-3FEBFD87B0F0}"/>
                    </a:ext>
                  </a:extLst>
                </p:cNvPr>
                <p:cNvSpPr/>
                <p:nvPr/>
              </p:nvSpPr>
              <p:spPr>
                <a:xfrm>
                  <a:off x="3372771" y="1157190"/>
                  <a:ext cx="1196" cy="59399"/>
                </a:xfrm>
                <a:custGeom>
                  <a:avLst/>
                  <a:gdLst>
                    <a:gd name="connsiteX0" fmla="*/ 0 w 1196"/>
                    <a:gd name="connsiteY0" fmla="*/ 0 h 59399"/>
                    <a:gd name="connsiteX1" fmla="*/ 0 w 1196"/>
                    <a:gd name="connsiteY1" fmla="*/ 59399 h 5939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196" h="59399">
                      <a:moveTo>
                        <a:pt x="0" y="0"/>
                      </a:moveTo>
                      <a:lnTo>
                        <a:pt x="0" y="59399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415" name="Forma livre: Forma 414">
                <a:extLst>
                  <a:ext uri="{FF2B5EF4-FFF2-40B4-BE49-F238E27FC236}">
                    <a16:creationId xmlns:a16="http://schemas.microsoft.com/office/drawing/2014/main" id="{678ED92F-D3D5-3096-0596-1062D2213D3E}"/>
                  </a:ext>
                </a:extLst>
              </p:cNvPr>
              <p:cNvSpPr/>
              <p:nvPr/>
            </p:nvSpPr>
            <p:spPr>
              <a:xfrm>
                <a:off x="3242294" y="1056999"/>
                <a:ext cx="43269" cy="35838"/>
              </a:xfrm>
              <a:custGeom>
                <a:avLst/>
                <a:gdLst>
                  <a:gd name="connsiteX0" fmla="*/ 0 w 43269"/>
                  <a:gd name="connsiteY0" fmla="*/ 17698 h 35838"/>
                  <a:gd name="connsiteX1" fmla="*/ 15520 w 43269"/>
                  <a:gd name="connsiteY1" fmla="*/ 35838 h 35838"/>
                  <a:gd name="connsiteX2" fmla="*/ 43269 w 43269"/>
                  <a:gd name="connsiteY2" fmla="*/ 0 h 358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43269" h="35838">
                    <a:moveTo>
                      <a:pt x="0" y="17698"/>
                    </a:moveTo>
                    <a:lnTo>
                      <a:pt x="15520" y="35838"/>
                    </a:lnTo>
                    <a:lnTo>
                      <a:pt x="43269" y="0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416" name="Gráfico 4">
              <a:extLst>
                <a:ext uri="{FF2B5EF4-FFF2-40B4-BE49-F238E27FC236}">
                  <a16:creationId xmlns:a16="http://schemas.microsoft.com/office/drawing/2014/main" id="{3BED3E02-69D8-F713-F04A-011F63E90CE9}"/>
                </a:ext>
              </a:extLst>
            </p:cNvPr>
            <p:cNvGrpSpPr/>
            <p:nvPr/>
          </p:nvGrpSpPr>
          <p:grpSpPr>
            <a:xfrm>
              <a:off x="3088447" y="1042544"/>
              <a:ext cx="349250" cy="222914"/>
              <a:chOff x="3088447" y="1042544"/>
              <a:chExt cx="349250" cy="222914"/>
            </a:xfrm>
            <a:noFill/>
          </p:grpSpPr>
          <p:grpSp>
            <p:nvGrpSpPr>
              <p:cNvPr id="417" name="Gráfico 4">
                <a:extLst>
                  <a:ext uri="{FF2B5EF4-FFF2-40B4-BE49-F238E27FC236}">
                    <a16:creationId xmlns:a16="http://schemas.microsoft.com/office/drawing/2014/main" id="{F822E992-080F-3456-4307-A6F2A42FAD6E}"/>
                  </a:ext>
                </a:extLst>
              </p:cNvPr>
              <p:cNvGrpSpPr/>
              <p:nvPr/>
            </p:nvGrpSpPr>
            <p:grpSpPr>
              <a:xfrm>
                <a:off x="3121605" y="1042544"/>
                <a:ext cx="282959" cy="174045"/>
                <a:chOff x="3121605" y="1042544"/>
                <a:chExt cx="282959" cy="174045"/>
              </a:xfrm>
              <a:noFill/>
            </p:grpSpPr>
            <p:sp>
              <p:nvSpPr>
                <p:cNvPr id="418" name="Forma livre: Forma 417">
                  <a:extLst>
                    <a:ext uri="{FF2B5EF4-FFF2-40B4-BE49-F238E27FC236}">
                      <a16:creationId xmlns:a16="http://schemas.microsoft.com/office/drawing/2014/main" id="{CCD40598-5C8D-26F8-C31A-4EE4FD910EBB}"/>
                    </a:ext>
                  </a:extLst>
                </p:cNvPr>
                <p:cNvSpPr/>
                <p:nvPr/>
              </p:nvSpPr>
              <p:spPr>
                <a:xfrm>
                  <a:off x="3335868" y="1042544"/>
                  <a:ext cx="68696" cy="174045"/>
                </a:xfrm>
                <a:custGeom>
                  <a:avLst/>
                  <a:gdLst>
                    <a:gd name="connsiteX0" fmla="*/ 0 w 68696"/>
                    <a:gd name="connsiteY0" fmla="*/ 0 h 174045"/>
                    <a:gd name="connsiteX1" fmla="*/ 48031 w 68696"/>
                    <a:gd name="connsiteY1" fmla="*/ 0 h 174045"/>
                    <a:gd name="connsiteX2" fmla="*/ 68697 w 68696"/>
                    <a:gd name="connsiteY2" fmla="*/ 20653 h 174045"/>
                    <a:gd name="connsiteX3" fmla="*/ 68697 w 68696"/>
                    <a:gd name="connsiteY3" fmla="*/ 174045 h 17404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68696" h="174045">
                      <a:moveTo>
                        <a:pt x="0" y="0"/>
                      </a:moveTo>
                      <a:lnTo>
                        <a:pt x="48031" y="0"/>
                      </a:lnTo>
                      <a:cubicBezTo>
                        <a:pt x="59399" y="0"/>
                        <a:pt x="68697" y="9298"/>
                        <a:pt x="68697" y="20653"/>
                      </a:cubicBezTo>
                      <a:lnTo>
                        <a:pt x="68697" y="174045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419" name="Forma livre: Forma 418">
                  <a:extLst>
                    <a:ext uri="{FF2B5EF4-FFF2-40B4-BE49-F238E27FC236}">
                      <a16:creationId xmlns:a16="http://schemas.microsoft.com/office/drawing/2014/main" id="{FC412904-A27E-0B78-CCF2-365E95406D1B}"/>
                    </a:ext>
                  </a:extLst>
                </p:cNvPr>
                <p:cNvSpPr/>
                <p:nvPr/>
              </p:nvSpPr>
              <p:spPr>
                <a:xfrm>
                  <a:off x="3121605" y="1042544"/>
                  <a:ext cx="68744" cy="174045"/>
                </a:xfrm>
                <a:custGeom>
                  <a:avLst/>
                  <a:gdLst>
                    <a:gd name="connsiteX0" fmla="*/ 0 w 68744"/>
                    <a:gd name="connsiteY0" fmla="*/ 174045 h 174045"/>
                    <a:gd name="connsiteX1" fmla="*/ 0 w 68744"/>
                    <a:gd name="connsiteY1" fmla="*/ 20653 h 174045"/>
                    <a:gd name="connsiteX2" fmla="*/ 20641 w 68744"/>
                    <a:gd name="connsiteY2" fmla="*/ 0 h 174045"/>
                    <a:gd name="connsiteX3" fmla="*/ 68745 w 68744"/>
                    <a:gd name="connsiteY3" fmla="*/ 0 h 17404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68744" h="174045">
                      <a:moveTo>
                        <a:pt x="0" y="174045"/>
                      </a:moveTo>
                      <a:lnTo>
                        <a:pt x="0" y="20653"/>
                      </a:lnTo>
                      <a:cubicBezTo>
                        <a:pt x="0" y="9298"/>
                        <a:pt x="9298" y="0"/>
                        <a:pt x="20641" y="0"/>
                      </a:cubicBezTo>
                      <a:lnTo>
                        <a:pt x="68745" y="0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420" name="Forma livre: Forma 419">
                <a:extLst>
                  <a:ext uri="{FF2B5EF4-FFF2-40B4-BE49-F238E27FC236}">
                    <a16:creationId xmlns:a16="http://schemas.microsoft.com/office/drawing/2014/main" id="{20E5F441-A64B-777B-04F0-F8948A388A6D}"/>
                  </a:ext>
                </a:extLst>
              </p:cNvPr>
              <p:cNvSpPr/>
              <p:nvPr/>
            </p:nvSpPr>
            <p:spPr>
              <a:xfrm>
                <a:off x="3088447" y="1238128"/>
                <a:ext cx="349250" cy="27330"/>
              </a:xfrm>
              <a:custGeom>
                <a:avLst/>
                <a:gdLst>
                  <a:gd name="connsiteX0" fmla="*/ 205659 w 349250"/>
                  <a:gd name="connsiteY0" fmla="*/ 0 h 27330"/>
                  <a:gd name="connsiteX1" fmla="*/ 200705 w 349250"/>
                  <a:gd name="connsiteY1" fmla="*/ 5744 h 27330"/>
                  <a:gd name="connsiteX2" fmla="*/ 148558 w 349250"/>
                  <a:gd name="connsiteY2" fmla="*/ 5744 h 27330"/>
                  <a:gd name="connsiteX3" fmla="*/ 143604 w 349250"/>
                  <a:gd name="connsiteY3" fmla="*/ 0 h 27330"/>
                  <a:gd name="connsiteX4" fmla="*/ 0 w 349250"/>
                  <a:gd name="connsiteY4" fmla="*/ 0 h 27330"/>
                  <a:gd name="connsiteX5" fmla="*/ 26002 w 349250"/>
                  <a:gd name="connsiteY5" fmla="*/ 27330 h 27330"/>
                  <a:gd name="connsiteX6" fmla="*/ 323249 w 349250"/>
                  <a:gd name="connsiteY6" fmla="*/ 27330 h 27330"/>
                  <a:gd name="connsiteX7" fmla="*/ 349251 w 349250"/>
                  <a:gd name="connsiteY7" fmla="*/ 0 h 27330"/>
                  <a:gd name="connsiteX8" fmla="*/ 205647 w 349250"/>
                  <a:gd name="connsiteY8" fmla="*/ 0 h 273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49250" h="27330">
                    <a:moveTo>
                      <a:pt x="205659" y="0"/>
                    </a:moveTo>
                    <a:lnTo>
                      <a:pt x="200705" y="5744"/>
                    </a:lnTo>
                    <a:lnTo>
                      <a:pt x="148558" y="5744"/>
                    </a:lnTo>
                    <a:lnTo>
                      <a:pt x="143604" y="0"/>
                    </a:lnTo>
                    <a:lnTo>
                      <a:pt x="0" y="0"/>
                    </a:lnTo>
                    <a:cubicBezTo>
                      <a:pt x="0" y="0"/>
                      <a:pt x="6019" y="27330"/>
                      <a:pt x="26002" y="27330"/>
                    </a:cubicBezTo>
                    <a:lnTo>
                      <a:pt x="323249" y="27330"/>
                    </a:lnTo>
                    <a:cubicBezTo>
                      <a:pt x="343232" y="27330"/>
                      <a:pt x="349251" y="0"/>
                      <a:pt x="349251" y="0"/>
                    </a:cubicBezTo>
                    <a:lnTo>
                      <a:pt x="205647" y="0"/>
                    </a:ln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421" name="Gráfico 4">
            <a:extLst>
              <a:ext uri="{FF2B5EF4-FFF2-40B4-BE49-F238E27FC236}">
                <a16:creationId xmlns:a16="http://schemas.microsoft.com/office/drawing/2014/main" id="{5D63231C-3561-8EAF-4DD0-06145CBDBA3C}"/>
              </a:ext>
            </a:extLst>
          </p:cNvPr>
          <p:cNvGrpSpPr/>
          <p:nvPr/>
        </p:nvGrpSpPr>
        <p:grpSpPr>
          <a:xfrm>
            <a:off x="3097278" y="1509739"/>
            <a:ext cx="331613" cy="329056"/>
            <a:chOff x="3097278" y="1509739"/>
            <a:chExt cx="331613" cy="329056"/>
          </a:xfrm>
          <a:noFill/>
        </p:grpSpPr>
        <p:grpSp>
          <p:nvGrpSpPr>
            <p:cNvPr id="422" name="Gráfico 4">
              <a:extLst>
                <a:ext uri="{FF2B5EF4-FFF2-40B4-BE49-F238E27FC236}">
                  <a16:creationId xmlns:a16="http://schemas.microsoft.com/office/drawing/2014/main" id="{89B98349-92FB-1FBA-347F-C7771A59C4F1}"/>
                </a:ext>
              </a:extLst>
            </p:cNvPr>
            <p:cNvGrpSpPr/>
            <p:nvPr/>
          </p:nvGrpSpPr>
          <p:grpSpPr>
            <a:xfrm>
              <a:off x="3314269" y="1724162"/>
              <a:ext cx="114622" cy="114634"/>
              <a:chOff x="3314269" y="1724162"/>
              <a:chExt cx="114622" cy="114634"/>
            </a:xfrm>
            <a:noFill/>
          </p:grpSpPr>
          <p:sp>
            <p:nvSpPr>
              <p:cNvPr id="423" name="Forma livre: Forma 422">
                <a:extLst>
                  <a:ext uri="{FF2B5EF4-FFF2-40B4-BE49-F238E27FC236}">
                    <a16:creationId xmlns:a16="http://schemas.microsoft.com/office/drawing/2014/main" id="{7CDE843E-6A16-5530-8F6F-DD4D7A6036FD}"/>
                  </a:ext>
                </a:extLst>
              </p:cNvPr>
              <p:cNvSpPr/>
              <p:nvPr/>
            </p:nvSpPr>
            <p:spPr>
              <a:xfrm>
                <a:off x="3314269" y="1724162"/>
                <a:ext cx="114622" cy="114634"/>
              </a:xfrm>
              <a:custGeom>
                <a:avLst/>
                <a:gdLst>
                  <a:gd name="connsiteX0" fmla="*/ 104834 w 114622"/>
                  <a:gd name="connsiteY0" fmla="*/ 25272 h 114634"/>
                  <a:gd name="connsiteX1" fmla="*/ 114622 w 114622"/>
                  <a:gd name="connsiteY1" fmla="*/ 57317 h 114634"/>
                  <a:gd name="connsiteX2" fmla="*/ 57305 w 114622"/>
                  <a:gd name="connsiteY2" fmla="*/ 114634 h 114634"/>
                  <a:gd name="connsiteX3" fmla="*/ 0 w 114622"/>
                  <a:gd name="connsiteY3" fmla="*/ 57317 h 114634"/>
                  <a:gd name="connsiteX4" fmla="*/ 57305 w 114622"/>
                  <a:gd name="connsiteY4" fmla="*/ 0 h 114634"/>
                  <a:gd name="connsiteX5" fmla="*/ 85545 w 114622"/>
                  <a:gd name="connsiteY5" fmla="*/ 7419 h 1146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14622" h="114634">
                    <a:moveTo>
                      <a:pt x="104834" y="25272"/>
                    </a:moveTo>
                    <a:cubicBezTo>
                      <a:pt x="111008" y="34426"/>
                      <a:pt x="114622" y="45447"/>
                      <a:pt x="114622" y="57317"/>
                    </a:cubicBezTo>
                    <a:cubicBezTo>
                      <a:pt x="114622" y="88967"/>
                      <a:pt x="88967" y="114634"/>
                      <a:pt x="57305" y="114634"/>
                    </a:cubicBezTo>
                    <a:cubicBezTo>
                      <a:pt x="25643" y="114634"/>
                      <a:pt x="0" y="88967"/>
                      <a:pt x="0" y="57317"/>
                    </a:cubicBezTo>
                    <a:cubicBezTo>
                      <a:pt x="0" y="25667"/>
                      <a:pt x="25667" y="0"/>
                      <a:pt x="57305" y="0"/>
                    </a:cubicBezTo>
                    <a:cubicBezTo>
                      <a:pt x="67584" y="0"/>
                      <a:pt x="77205" y="2716"/>
                      <a:pt x="85545" y="7419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24" name="Forma livre: Forma 423">
                <a:extLst>
                  <a:ext uri="{FF2B5EF4-FFF2-40B4-BE49-F238E27FC236}">
                    <a16:creationId xmlns:a16="http://schemas.microsoft.com/office/drawing/2014/main" id="{04F0B85A-BB28-3E30-0935-82BF0380F847}"/>
                  </a:ext>
                </a:extLst>
              </p:cNvPr>
              <p:cNvSpPr/>
              <p:nvPr/>
            </p:nvSpPr>
            <p:spPr>
              <a:xfrm>
                <a:off x="3343969" y="1759485"/>
                <a:ext cx="50580" cy="41904"/>
              </a:xfrm>
              <a:custGeom>
                <a:avLst/>
                <a:gdLst>
                  <a:gd name="connsiteX0" fmla="*/ 0 w 50580"/>
                  <a:gd name="connsiteY0" fmla="*/ 20701 h 41904"/>
                  <a:gd name="connsiteX1" fmla="*/ 18152 w 50580"/>
                  <a:gd name="connsiteY1" fmla="*/ 41905 h 41904"/>
                  <a:gd name="connsiteX2" fmla="*/ 50580 w 50580"/>
                  <a:gd name="connsiteY2" fmla="*/ 0 h 419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50580" h="41904">
                    <a:moveTo>
                      <a:pt x="0" y="20701"/>
                    </a:moveTo>
                    <a:lnTo>
                      <a:pt x="18152" y="41905"/>
                    </a:lnTo>
                    <a:lnTo>
                      <a:pt x="50580" y="0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425" name="Gráfico 4">
              <a:extLst>
                <a:ext uri="{FF2B5EF4-FFF2-40B4-BE49-F238E27FC236}">
                  <a16:creationId xmlns:a16="http://schemas.microsoft.com/office/drawing/2014/main" id="{C228D827-CC04-AAF7-74D0-B72C61619A59}"/>
                </a:ext>
              </a:extLst>
            </p:cNvPr>
            <p:cNvGrpSpPr/>
            <p:nvPr/>
          </p:nvGrpSpPr>
          <p:grpSpPr>
            <a:xfrm>
              <a:off x="3097278" y="1704298"/>
              <a:ext cx="222579" cy="130201"/>
              <a:chOff x="3097278" y="1704298"/>
              <a:chExt cx="222579" cy="130201"/>
            </a:xfrm>
            <a:noFill/>
          </p:grpSpPr>
          <p:sp>
            <p:nvSpPr>
              <p:cNvPr id="426" name="Forma livre: Forma 425">
                <a:extLst>
                  <a:ext uri="{FF2B5EF4-FFF2-40B4-BE49-F238E27FC236}">
                    <a16:creationId xmlns:a16="http://schemas.microsoft.com/office/drawing/2014/main" id="{51CDE953-9C44-40D8-D95F-914E6261A8B1}"/>
                  </a:ext>
                </a:extLst>
              </p:cNvPr>
              <p:cNvSpPr/>
              <p:nvPr/>
            </p:nvSpPr>
            <p:spPr>
              <a:xfrm>
                <a:off x="3097278" y="1718657"/>
                <a:ext cx="81117" cy="115842"/>
              </a:xfrm>
              <a:custGeom>
                <a:avLst/>
                <a:gdLst>
                  <a:gd name="connsiteX0" fmla="*/ 81117 w 81117"/>
                  <a:gd name="connsiteY0" fmla="*/ 0 h 115842"/>
                  <a:gd name="connsiteX1" fmla="*/ 48570 w 81117"/>
                  <a:gd name="connsiteY1" fmla="*/ 7036 h 115842"/>
                  <a:gd name="connsiteX2" fmla="*/ 4296 w 81117"/>
                  <a:gd name="connsiteY2" fmla="*/ 47577 h 115842"/>
                  <a:gd name="connsiteX3" fmla="*/ 0 w 81117"/>
                  <a:gd name="connsiteY3" fmla="*/ 115843 h 1158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1117" h="115842">
                    <a:moveTo>
                      <a:pt x="81117" y="0"/>
                    </a:moveTo>
                    <a:lnTo>
                      <a:pt x="48570" y="7036"/>
                    </a:lnTo>
                    <a:cubicBezTo>
                      <a:pt x="48570" y="7036"/>
                      <a:pt x="9477" y="14742"/>
                      <a:pt x="4296" y="47577"/>
                    </a:cubicBezTo>
                    <a:lnTo>
                      <a:pt x="0" y="115843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27" name="Forma livre: Forma 426">
                <a:extLst>
                  <a:ext uri="{FF2B5EF4-FFF2-40B4-BE49-F238E27FC236}">
                    <a16:creationId xmlns:a16="http://schemas.microsoft.com/office/drawing/2014/main" id="{2662417D-882C-F149-B3C4-53FFC572C6AB}"/>
                  </a:ext>
                </a:extLst>
              </p:cNvPr>
              <p:cNvSpPr/>
              <p:nvPr/>
            </p:nvSpPr>
            <p:spPr>
              <a:xfrm>
                <a:off x="3149438" y="1704298"/>
                <a:ext cx="87614" cy="119504"/>
              </a:xfrm>
              <a:custGeom>
                <a:avLst/>
                <a:gdLst>
                  <a:gd name="connsiteX0" fmla="*/ 87615 w 87614"/>
                  <a:gd name="connsiteY0" fmla="*/ 119504 h 119504"/>
                  <a:gd name="connsiteX1" fmla="*/ 44777 w 87614"/>
                  <a:gd name="connsiteY1" fmla="*/ 0 h 119504"/>
                  <a:gd name="connsiteX2" fmla="*/ 0 w 87614"/>
                  <a:gd name="connsiteY2" fmla="*/ 52495 h 119504"/>
                  <a:gd name="connsiteX3" fmla="*/ 33409 w 87614"/>
                  <a:gd name="connsiteY3" fmla="*/ 51059 h 1195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7614" h="119504">
                    <a:moveTo>
                      <a:pt x="87615" y="119504"/>
                    </a:moveTo>
                    <a:lnTo>
                      <a:pt x="44777" y="0"/>
                    </a:lnTo>
                    <a:lnTo>
                      <a:pt x="0" y="52495"/>
                    </a:lnTo>
                    <a:lnTo>
                      <a:pt x="33409" y="51059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428" name="Gráfico 4">
                <a:extLst>
                  <a:ext uri="{FF2B5EF4-FFF2-40B4-BE49-F238E27FC236}">
                    <a16:creationId xmlns:a16="http://schemas.microsoft.com/office/drawing/2014/main" id="{0AB99FC0-26B5-81E8-E3AA-2AD3A104C312}"/>
                  </a:ext>
                </a:extLst>
              </p:cNvPr>
              <p:cNvGrpSpPr/>
              <p:nvPr/>
            </p:nvGrpSpPr>
            <p:grpSpPr>
              <a:xfrm>
                <a:off x="3237244" y="1704298"/>
                <a:ext cx="82613" cy="119504"/>
                <a:chOff x="3237244" y="1704298"/>
                <a:chExt cx="82613" cy="119504"/>
              </a:xfrm>
              <a:noFill/>
            </p:grpSpPr>
            <p:sp>
              <p:nvSpPr>
                <p:cNvPr id="429" name="Forma livre: Forma 428">
                  <a:extLst>
                    <a:ext uri="{FF2B5EF4-FFF2-40B4-BE49-F238E27FC236}">
                      <a16:creationId xmlns:a16="http://schemas.microsoft.com/office/drawing/2014/main" id="{A055AFA7-D7EF-6941-1F12-FCF46088A1EC}"/>
                    </a:ext>
                  </a:extLst>
                </p:cNvPr>
                <p:cNvSpPr/>
                <p:nvPr/>
              </p:nvSpPr>
              <p:spPr>
                <a:xfrm>
                  <a:off x="3295913" y="1718657"/>
                  <a:ext cx="23943" cy="4044"/>
                </a:xfrm>
                <a:custGeom>
                  <a:avLst/>
                  <a:gdLst>
                    <a:gd name="connsiteX0" fmla="*/ 0 w 23943"/>
                    <a:gd name="connsiteY0" fmla="*/ 0 h 4044"/>
                    <a:gd name="connsiteX1" fmla="*/ 21706 w 23943"/>
                    <a:gd name="connsiteY1" fmla="*/ 3566 h 4044"/>
                    <a:gd name="connsiteX2" fmla="*/ 23944 w 23943"/>
                    <a:gd name="connsiteY2" fmla="*/ 4045 h 404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23943" h="4044">
                      <a:moveTo>
                        <a:pt x="0" y="0"/>
                      </a:moveTo>
                      <a:lnTo>
                        <a:pt x="21706" y="3566"/>
                      </a:lnTo>
                      <a:lnTo>
                        <a:pt x="23944" y="4045"/>
                      </a:ln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430" name="Forma livre: Forma 429">
                  <a:extLst>
                    <a:ext uri="{FF2B5EF4-FFF2-40B4-BE49-F238E27FC236}">
                      <a16:creationId xmlns:a16="http://schemas.microsoft.com/office/drawing/2014/main" id="{4E8EC573-55A4-2797-51B1-94353324DB7B}"/>
                    </a:ext>
                  </a:extLst>
                </p:cNvPr>
                <p:cNvSpPr/>
                <p:nvPr/>
              </p:nvSpPr>
              <p:spPr>
                <a:xfrm>
                  <a:off x="3237244" y="1704298"/>
                  <a:ext cx="70144" cy="119504"/>
                </a:xfrm>
                <a:custGeom>
                  <a:avLst/>
                  <a:gdLst>
                    <a:gd name="connsiteX0" fmla="*/ 0 w 70144"/>
                    <a:gd name="connsiteY0" fmla="*/ 119504 h 119504"/>
                    <a:gd name="connsiteX1" fmla="*/ 42850 w 70144"/>
                    <a:gd name="connsiteY1" fmla="*/ 0 h 119504"/>
                    <a:gd name="connsiteX2" fmla="*/ 70145 w 70144"/>
                    <a:gd name="connsiteY2" fmla="*/ 32930 h 11950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70144" h="119504">
                      <a:moveTo>
                        <a:pt x="0" y="119504"/>
                      </a:moveTo>
                      <a:lnTo>
                        <a:pt x="42850" y="0"/>
                      </a:lnTo>
                      <a:lnTo>
                        <a:pt x="70145" y="32930"/>
                      </a:ln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sp>
          <p:nvSpPr>
            <p:cNvPr id="431" name="Forma livre: Forma 430">
              <a:extLst>
                <a:ext uri="{FF2B5EF4-FFF2-40B4-BE49-F238E27FC236}">
                  <a16:creationId xmlns:a16="http://schemas.microsoft.com/office/drawing/2014/main" id="{070FF741-D719-B594-744E-DE889DB3D1E6}"/>
                </a:ext>
              </a:extLst>
            </p:cNvPr>
            <p:cNvSpPr/>
            <p:nvPr/>
          </p:nvSpPr>
          <p:spPr>
            <a:xfrm>
              <a:off x="3151903" y="1509739"/>
              <a:ext cx="175229" cy="187738"/>
            </a:xfrm>
            <a:custGeom>
              <a:avLst/>
              <a:gdLst>
                <a:gd name="connsiteX0" fmla="*/ 0 w 175229"/>
                <a:gd name="connsiteY0" fmla="*/ 187738 h 187738"/>
                <a:gd name="connsiteX1" fmla="*/ 0 w 175229"/>
                <a:gd name="connsiteY1" fmla="*/ 93937 h 187738"/>
                <a:gd name="connsiteX2" fmla="*/ 60189 w 175229"/>
                <a:gd name="connsiteY2" fmla="*/ 3199 h 187738"/>
                <a:gd name="connsiteX3" fmla="*/ 78413 w 175229"/>
                <a:gd name="connsiteY3" fmla="*/ 5221 h 187738"/>
                <a:gd name="connsiteX4" fmla="*/ 98085 w 175229"/>
                <a:gd name="connsiteY4" fmla="*/ 4 h 187738"/>
                <a:gd name="connsiteX5" fmla="*/ 175230 w 175229"/>
                <a:gd name="connsiteY5" fmla="*/ 93937 h 187738"/>
                <a:gd name="connsiteX6" fmla="*/ 175230 w 175229"/>
                <a:gd name="connsiteY6" fmla="*/ 187738 h 1877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75229" h="187738">
                  <a:moveTo>
                    <a:pt x="0" y="187738"/>
                  </a:moveTo>
                  <a:lnTo>
                    <a:pt x="0" y="93937"/>
                  </a:lnTo>
                  <a:cubicBezTo>
                    <a:pt x="0" y="31462"/>
                    <a:pt x="34426" y="10318"/>
                    <a:pt x="60189" y="3199"/>
                  </a:cubicBezTo>
                  <a:cubicBezTo>
                    <a:pt x="72334" y="734"/>
                    <a:pt x="73531" y="5221"/>
                    <a:pt x="78413" y="5221"/>
                  </a:cubicBezTo>
                  <a:cubicBezTo>
                    <a:pt x="82888" y="5221"/>
                    <a:pt x="84887" y="-164"/>
                    <a:pt x="98085" y="4"/>
                  </a:cubicBezTo>
                  <a:cubicBezTo>
                    <a:pt x="121479" y="2241"/>
                    <a:pt x="175230" y="15643"/>
                    <a:pt x="175230" y="93937"/>
                  </a:cubicBezTo>
                  <a:lnTo>
                    <a:pt x="175230" y="187738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32" name="Forma livre: Forma 431">
              <a:extLst>
                <a:ext uri="{FF2B5EF4-FFF2-40B4-BE49-F238E27FC236}">
                  <a16:creationId xmlns:a16="http://schemas.microsoft.com/office/drawing/2014/main" id="{80E83057-BF13-5A0B-FE87-6D8C8C1D4D93}"/>
                </a:ext>
              </a:extLst>
            </p:cNvPr>
            <p:cNvSpPr/>
            <p:nvPr/>
          </p:nvSpPr>
          <p:spPr>
            <a:xfrm>
              <a:off x="3177175" y="1559833"/>
              <a:ext cx="122567" cy="27473"/>
            </a:xfrm>
            <a:custGeom>
              <a:avLst/>
              <a:gdLst>
                <a:gd name="connsiteX0" fmla="*/ 122568 w 122567"/>
                <a:gd name="connsiteY0" fmla="*/ 25571 h 27473"/>
                <a:gd name="connsiteX1" fmla="*/ 65083 w 122567"/>
                <a:gd name="connsiteY1" fmla="*/ 19397 h 27473"/>
                <a:gd name="connsiteX2" fmla="*/ 49312 w 122567"/>
                <a:gd name="connsiteY2" fmla="*/ 0 h 27473"/>
                <a:gd name="connsiteX3" fmla="*/ 35312 w 122567"/>
                <a:gd name="connsiteY3" fmla="*/ 21551 h 27473"/>
                <a:gd name="connsiteX4" fmla="*/ 0 w 122567"/>
                <a:gd name="connsiteY4" fmla="*/ 27474 h 274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2567" h="27473">
                  <a:moveTo>
                    <a:pt x="122568" y="25571"/>
                  </a:moveTo>
                  <a:cubicBezTo>
                    <a:pt x="115077" y="24016"/>
                    <a:pt x="81476" y="19397"/>
                    <a:pt x="65083" y="19397"/>
                  </a:cubicBezTo>
                  <a:lnTo>
                    <a:pt x="49312" y="0"/>
                  </a:lnTo>
                  <a:lnTo>
                    <a:pt x="35312" y="21551"/>
                  </a:lnTo>
                  <a:cubicBezTo>
                    <a:pt x="15735" y="21551"/>
                    <a:pt x="0" y="27474"/>
                    <a:pt x="0" y="27474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33" name="Forma livre: Forma 432">
              <a:extLst>
                <a:ext uri="{FF2B5EF4-FFF2-40B4-BE49-F238E27FC236}">
                  <a16:creationId xmlns:a16="http://schemas.microsoft.com/office/drawing/2014/main" id="{94F01BE9-C4ED-10DA-7A50-5FF293FB573A}"/>
                </a:ext>
              </a:extLst>
            </p:cNvPr>
            <p:cNvSpPr/>
            <p:nvPr/>
          </p:nvSpPr>
          <p:spPr>
            <a:xfrm>
              <a:off x="3183936" y="1609851"/>
              <a:ext cx="106760" cy="79501"/>
            </a:xfrm>
            <a:custGeom>
              <a:avLst/>
              <a:gdLst>
                <a:gd name="connsiteX0" fmla="*/ 0 w 106760"/>
                <a:gd name="connsiteY0" fmla="*/ 0 h 79501"/>
                <a:gd name="connsiteX1" fmla="*/ 16908 w 106760"/>
                <a:gd name="connsiteY1" fmla="*/ 55403 h 79501"/>
                <a:gd name="connsiteX2" fmla="*/ 53380 w 106760"/>
                <a:gd name="connsiteY2" fmla="*/ 79502 h 79501"/>
                <a:gd name="connsiteX3" fmla="*/ 89852 w 106760"/>
                <a:gd name="connsiteY3" fmla="*/ 55403 h 79501"/>
                <a:gd name="connsiteX4" fmla="*/ 106760 w 106760"/>
                <a:gd name="connsiteY4" fmla="*/ 0 h 795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6760" h="79501">
                  <a:moveTo>
                    <a:pt x="0" y="0"/>
                  </a:moveTo>
                  <a:cubicBezTo>
                    <a:pt x="0" y="0"/>
                    <a:pt x="2154" y="31435"/>
                    <a:pt x="16908" y="55403"/>
                  </a:cubicBezTo>
                  <a:cubicBezTo>
                    <a:pt x="24817" y="68242"/>
                    <a:pt x="35934" y="79502"/>
                    <a:pt x="53380" y="79502"/>
                  </a:cubicBezTo>
                  <a:cubicBezTo>
                    <a:pt x="70827" y="79502"/>
                    <a:pt x="81943" y="68242"/>
                    <a:pt x="89852" y="55403"/>
                  </a:cubicBezTo>
                  <a:cubicBezTo>
                    <a:pt x="104607" y="31447"/>
                    <a:pt x="106760" y="0"/>
                    <a:pt x="106760" y="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435" name="Gráfico 6">
            <a:extLst>
              <a:ext uri="{FF2B5EF4-FFF2-40B4-BE49-F238E27FC236}">
                <a16:creationId xmlns:a16="http://schemas.microsoft.com/office/drawing/2014/main" id="{AE3A58B1-B5FC-5E19-A587-1D0F5651C901}"/>
              </a:ext>
            </a:extLst>
          </p:cNvPr>
          <p:cNvGrpSpPr/>
          <p:nvPr/>
        </p:nvGrpSpPr>
        <p:grpSpPr>
          <a:xfrm>
            <a:off x="4224070" y="1057879"/>
            <a:ext cx="350098" cy="223455"/>
            <a:chOff x="4224070" y="1057879"/>
            <a:chExt cx="350098" cy="223455"/>
          </a:xfrm>
        </p:grpSpPr>
        <p:grpSp>
          <p:nvGrpSpPr>
            <p:cNvPr id="436" name="Gráfico 6">
              <a:extLst>
                <a:ext uri="{FF2B5EF4-FFF2-40B4-BE49-F238E27FC236}">
                  <a16:creationId xmlns:a16="http://schemas.microsoft.com/office/drawing/2014/main" id="{0E89C2C6-F120-29C9-C7FA-01DDC7881079}"/>
                </a:ext>
              </a:extLst>
            </p:cNvPr>
            <p:cNvGrpSpPr/>
            <p:nvPr/>
          </p:nvGrpSpPr>
          <p:grpSpPr>
            <a:xfrm>
              <a:off x="4224070" y="1057879"/>
              <a:ext cx="350098" cy="223455"/>
              <a:chOff x="4224070" y="1057879"/>
              <a:chExt cx="350098" cy="223455"/>
            </a:xfrm>
            <a:noFill/>
          </p:grpSpPr>
          <p:sp>
            <p:nvSpPr>
              <p:cNvPr id="437" name="Forma livre: Forma 436">
                <a:extLst>
                  <a:ext uri="{FF2B5EF4-FFF2-40B4-BE49-F238E27FC236}">
                    <a16:creationId xmlns:a16="http://schemas.microsoft.com/office/drawing/2014/main" id="{6A246564-5BD5-4F94-A1AA-5E2F167D1CDA}"/>
                  </a:ext>
                </a:extLst>
              </p:cNvPr>
              <p:cNvSpPr/>
              <p:nvPr/>
            </p:nvSpPr>
            <p:spPr>
              <a:xfrm>
                <a:off x="4257296" y="1057879"/>
                <a:ext cx="283646" cy="174335"/>
              </a:xfrm>
              <a:custGeom>
                <a:avLst/>
                <a:gdLst>
                  <a:gd name="connsiteX0" fmla="*/ 0 w 283646"/>
                  <a:gd name="connsiteY0" fmla="*/ 174336 h 174335"/>
                  <a:gd name="connsiteX1" fmla="*/ 0 w 283646"/>
                  <a:gd name="connsiteY1" fmla="*/ 20703 h 174335"/>
                  <a:gd name="connsiteX2" fmla="*/ 20691 w 283646"/>
                  <a:gd name="connsiteY2" fmla="*/ 0 h 174335"/>
                  <a:gd name="connsiteX3" fmla="*/ 262931 w 283646"/>
                  <a:gd name="connsiteY3" fmla="*/ 0 h 174335"/>
                  <a:gd name="connsiteX4" fmla="*/ 283646 w 283646"/>
                  <a:gd name="connsiteY4" fmla="*/ 20703 h 174335"/>
                  <a:gd name="connsiteX5" fmla="*/ 283646 w 283646"/>
                  <a:gd name="connsiteY5" fmla="*/ 174336 h 1743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83646" h="174335">
                    <a:moveTo>
                      <a:pt x="0" y="174336"/>
                    </a:moveTo>
                    <a:lnTo>
                      <a:pt x="0" y="20703"/>
                    </a:lnTo>
                    <a:cubicBezTo>
                      <a:pt x="0" y="9320"/>
                      <a:pt x="9320" y="0"/>
                      <a:pt x="20691" y="0"/>
                    </a:cubicBezTo>
                    <a:lnTo>
                      <a:pt x="262931" y="0"/>
                    </a:lnTo>
                    <a:cubicBezTo>
                      <a:pt x="274326" y="0"/>
                      <a:pt x="283646" y="9320"/>
                      <a:pt x="283646" y="20703"/>
                    </a:cubicBezTo>
                    <a:lnTo>
                      <a:pt x="283646" y="174336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38" name="Forma livre: Forma 437">
                <a:extLst>
                  <a:ext uri="{FF2B5EF4-FFF2-40B4-BE49-F238E27FC236}">
                    <a16:creationId xmlns:a16="http://schemas.microsoft.com/office/drawing/2014/main" id="{EB43D03E-4E84-082E-C0E3-606FEC668903}"/>
                  </a:ext>
                </a:extLst>
              </p:cNvPr>
              <p:cNvSpPr/>
              <p:nvPr/>
            </p:nvSpPr>
            <p:spPr>
              <a:xfrm>
                <a:off x="4224070" y="1253937"/>
                <a:ext cx="350098" cy="27396"/>
              </a:xfrm>
              <a:custGeom>
                <a:avLst/>
                <a:gdLst>
                  <a:gd name="connsiteX0" fmla="*/ 206158 w 350098"/>
                  <a:gd name="connsiteY0" fmla="*/ 0 h 27396"/>
                  <a:gd name="connsiteX1" fmla="*/ 201192 w 350098"/>
                  <a:gd name="connsiteY1" fmla="*/ 5758 h 27396"/>
                  <a:gd name="connsiteX2" fmla="*/ 148918 w 350098"/>
                  <a:gd name="connsiteY2" fmla="*/ 5758 h 27396"/>
                  <a:gd name="connsiteX3" fmla="*/ 143964 w 350098"/>
                  <a:gd name="connsiteY3" fmla="*/ 0 h 27396"/>
                  <a:gd name="connsiteX4" fmla="*/ 0 w 350098"/>
                  <a:gd name="connsiteY4" fmla="*/ 0 h 27396"/>
                  <a:gd name="connsiteX5" fmla="*/ 26065 w 350098"/>
                  <a:gd name="connsiteY5" fmla="*/ 27397 h 27396"/>
                  <a:gd name="connsiteX6" fmla="*/ 324033 w 350098"/>
                  <a:gd name="connsiteY6" fmla="*/ 27397 h 27396"/>
                  <a:gd name="connsiteX7" fmla="*/ 350099 w 350098"/>
                  <a:gd name="connsiteY7" fmla="*/ 0 h 27396"/>
                  <a:gd name="connsiteX8" fmla="*/ 206146 w 350098"/>
                  <a:gd name="connsiteY8" fmla="*/ 0 h 273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50098" h="27396">
                    <a:moveTo>
                      <a:pt x="206158" y="0"/>
                    </a:moveTo>
                    <a:lnTo>
                      <a:pt x="201192" y="5758"/>
                    </a:lnTo>
                    <a:lnTo>
                      <a:pt x="148918" y="5758"/>
                    </a:lnTo>
                    <a:lnTo>
                      <a:pt x="143964" y="0"/>
                    </a:lnTo>
                    <a:lnTo>
                      <a:pt x="0" y="0"/>
                    </a:lnTo>
                    <a:cubicBezTo>
                      <a:pt x="0" y="0"/>
                      <a:pt x="6033" y="27397"/>
                      <a:pt x="26065" y="27397"/>
                    </a:cubicBezTo>
                    <a:lnTo>
                      <a:pt x="324033" y="27397"/>
                    </a:lnTo>
                    <a:cubicBezTo>
                      <a:pt x="344065" y="27397"/>
                      <a:pt x="350099" y="0"/>
                      <a:pt x="350099" y="0"/>
                    </a:cubicBezTo>
                    <a:lnTo>
                      <a:pt x="206146" y="0"/>
                    </a:ln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439" name="Gráfico 6">
              <a:extLst>
                <a:ext uri="{FF2B5EF4-FFF2-40B4-BE49-F238E27FC236}">
                  <a16:creationId xmlns:a16="http://schemas.microsoft.com/office/drawing/2014/main" id="{29DD1F7A-E295-75C1-E310-085746312D3C}"/>
                </a:ext>
              </a:extLst>
            </p:cNvPr>
            <p:cNvGrpSpPr/>
            <p:nvPr/>
          </p:nvGrpSpPr>
          <p:grpSpPr>
            <a:xfrm>
              <a:off x="4328822" y="1087614"/>
              <a:ext cx="140617" cy="140569"/>
              <a:chOff x="4328822" y="1087614"/>
              <a:chExt cx="140617" cy="140569"/>
            </a:xfrm>
          </p:grpSpPr>
          <p:grpSp>
            <p:nvGrpSpPr>
              <p:cNvPr id="440" name="Gráfico 6">
                <a:extLst>
                  <a:ext uri="{FF2B5EF4-FFF2-40B4-BE49-F238E27FC236}">
                    <a16:creationId xmlns:a16="http://schemas.microsoft.com/office/drawing/2014/main" id="{152DCDF9-F487-AE5C-F1E3-0FB91AFC1DF1}"/>
                  </a:ext>
                </a:extLst>
              </p:cNvPr>
              <p:cNvGrpSpPr/>
              <p:nvPr/>
            </p:nvGrpSpPr>
            <p:grpSpPr>
              <a:xfrm>
                <a:off x="4377474" y="1115191"/>
                <a:ext cx="43290" cy="79035"/>
                <a:chOff x="4377474" y="1115191"/>
                <a:chExt cx="43290" cy="79035"/>
              </a:xfrm>
            </p:grpSpPr>
            <p:sp>
              <p:nvSpPr>
                <p:cNvPr id="441" name="Forma livre: Forma 440">
                  <a:extLst>
                    <a:ext uri="{FF2B5EF4-FFF2-40B4-BE49-F238E27FC236}">
                      <a16:creationId xmlns:a16="http://schemas.microsoft.com/office/drawing/2014/main" id="{A99E3B71-6BE3-3EAA-4EB3-68F78C8131F1}"/>
                    </a:ext>
                  </a:extLst>
                </p:cNvPr>
                <p:cNvSpPr/>
                <p:nvPr/>
              </p:nvSpPr>
              <p:spPr>
                <a:xfrm>
                  <a:off x="4382272" y="1140404"/>
                  <a:ext cx="17008" cy="53329"/>
                </a:xfrm>
                <a:custGeom>
                  <a:avLst/>
                  <a:gdLst>
                    <a:gd name="connsiteX0" fmla="*/ 0 w 17008"/>
                    <a:gd name="connsiteY0" fmla="*/ 0 h 53329"/>
                    <a:gd name="connsiteX1" fmla="*/ 17009 w 17008"/>
                    <a:gd name="connsiteY1" fmla="*/ 0 h 53329"/>
                    <a:gd name="connsiteX2" fmla="*/ 17009 w 17008"/>
                    <a:gd name="connsiteY2" fmla="*/ 53330 h 5332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7008" h="53329">
                      <a:moveTo>
                        <a:pt x="0" y="0"/>
                      </a:moveTo>
                      <a:lnTo>
                        <a:pt x="17009" y="0"/>
                      </a:lnTo>
                      <a:lnTo>
                        <a:pt x="17009" y="53330"/>
                      </a:ln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442" name="Forma livre: Forma 441">
                  <a:extLst>
                    <a:ext uri="{FF2B5EF4-FFF2-40B4-BE49-F238E27FC236}">
                      <a16:creationId xmlns:a16="http://schemas.microsoft.com/office/drawing/2014/main" id="{0637514E-2B78-5D57-3C96-C2E41FDC7577}"/>
                    </a:ext>
                  </a:extLst>
                </p:cNvPr>
                <p:cNvSpPr/>
                <p:nvPr/>
              </p:nvSpPr>
              <p:spPr>
                <a:xfrm>
                  <a:off x="4377474" y="1194226"/>
                  <a:ext cx="43290" cy="1199"/>
                </a:xfrm>
                <a:custGeom>
                  <a:avLst/>
                  <a:gdLst>
                    <a:gd name="connsiteX0" fmla="*/ 0 w 43290"/>
                    <a:gd name="connsiteY0" fmla="*/ 0 h 1199"/>
                    <a:gd name="connsiteX1" fmla="*/ 43290 w 43290"/>
                    <a:gd name="connsiteY1" fmla="*/ 0 h 119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3290" h="1199">
                      <a:moveTo>
                        <a:pt x="0" y="0"/>
                      </a:moveTo>
                      <a:lnTo>
                        <a:pt x="43290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443" name="Forma livre: Forma 442">
                  <a:extLst>
                    <a:ext uri="{FF2B5EF4-FFF2-40B4-BE49-F238E27FC236}">
                      <a16:creationId xmlns:a16="http://schemas.microsoft.com/office/drawing/2014/main" id="{A3BC29C4-3895-9B91-5755-332ECE71012C}"/>
                    </a:ext>
                  </a:extLst>
                </p:cNvPr>
                <p:cNvSpPr/>
                <p:nvPr/>
              </p:nvSpPr>
              <p:spPr>
                <a:xfrm>
                  <a:off x="4396091" y="1115191"/>
                  <a:ext cx="4126" cy="4126"/>
                </a:xfrm>
                <a:custGeom>
                  <a:avLst/>
                  <a:gdLst>
                    <a:gd name="connsiteX0" fmla="*/ 4126 w 4126"/>
                    <a:gd name="connsiteY0" fmla="*/ 2063 h 4126"/>
                    <a:gd name="connsiteX1" fmla="*/ 2063 w 4126"/>
                    <a:gd name="connsiteY1" fmla="*/ 4126 h 4126"/>
                    <a:gd name="connsiteX2" fmla="*/ 0 w 4126"/>
                    <a:gd name="connsiteY2" fmla="*/ 2063 h 4126"/>
                    <a:gd name="connsiteX3" fmla="*/ 2063 w 4126"/>
                    <a:gd name="connsiteY3" fmla="*/ 0 h 4126"/>
                    <a:gd name="connsiteX4" fmla="*/ 4126 w 4126"/>
                    <a:gd name="connsiteY4" fmla="*/ 2063 h 412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4126" h="4126">
                      <a:moveTo>
                        <a:pt x="4126" y="2063"/>
                      </a:moveTo>
                      <a:cubicBezTo>
                        <a:pt x="4126" y="3203"/>
                        <a:pt x="3203" y="4126"/>
                        <a:pt x="2063" y="4126"/>
                      </a:cubicBezTo>
                      <a:cubicBezTo>
                        <a:pt x="924" y="4126"/>
                        <a:pt x="0" y="3203"/>
                        <a:pt x="0" y="2063"/>
                      </a:cubicBezTo>
                      <a:cubicBezTo>
                        <a:pt x="0" y="924"/>
                        <a:pt x="924" y="0"/>
                        <a:pt x="2063" y="0"/>
                      </a:cubicBezTo>
                      <a:cubicBezTo>
                        <a:pt x="3203" y="0"/>
                        <a:pt x="4126" y="924"/>
                        <a:pt x="4126" y="2063"/>
                      </a:cubicBezTo>
                      <a:close/>
                    </a:path>
                  </a:pathLst>
                </a:custGeom>
                <a:solidFill>
                  <a:srgbClr val="394553"/>
                </a:solidFill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444" name="Forma livre: Forma 443">
                <a:extLst>
                  <a:ext uri="{FF2B5EF4-FFF2-40B4-BE49-F238E27FC236}">
                    <a16:creationId xmlns:a16="http://schemas.microsoft.com/office/drawing/2014/main" id="{567D96F9-AAC8-CBAA-344F-5567D9A5EBEF}"/>
                  </a:ext>
                </a:extLst>
              </p:cNvPr>
              <p:cNvSpPr/>
              <p:nvPr/>
            </p:nvSpPr>
            <p:spPr>
              <a:xfrm>
                <a:off x="4328822" y="1087614"/>
                <a:ext cx="140617" cy="140569"/>
              </a:xfrm>
              <a:custGeom>
                <a:avLst/>
                <a:gdLst>
                  <a:gd name="connsiteX0" fmla="*/ 70291 w 140617"/>
                  <a:gd name="connsiteY0" fmla="*/ 0 h 140569"/>
                  <a:gd name="connsiteX1" fmla="*/ 140618 w 140617"/>
                  <a:gd name="connsiteY1" fmla="*/ 70291 h 140569"/>
                  <a:gd name="connsiteX2" fmla="*/ 70291 w 140617"/>
                  <a:gd name="connsiteY2" fmla="*/ 140570 h 140569"/>
                  <a:gd name="connsiteX3" fmla="*/ 0 w 140617"/>
                  <a:gd name="connsiteY3" fmla="*/ 70291 h 140569"/>
                  <a:gd name="connsiteX4" fmla="*/ 27025 w 140617"/>
                  <a:gd name="connsiteY4" fmla="*/ 14898 h 1405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40617" h="140569">
                    <a:moveTo>
                      <a:pt x="70291" y="0"/>
                    </a:moveTo>
                    <a:cubicBezTo>
                      <a:pt x="109143" y="0"/>
                      <a:pt x="140618" y="31463"/>
                      <a:pt x="140618" y="70291"/>
                    </a:cubicBezTo>
                    <a:cubicBezTo>
                      <a:pt x="140618" y="109119"/>
                      <a:pt x="109143" y="140570"/>
                      <a:pt x="70291" y="140570"/>
                    </a:cubicBezTo>
                    <a:cubicBezTo>
                      <a:pt x="31439" y="140570"/>
                      <a:pt x="0" y="109107"/>
                      <a:pt x="0" y="70291"/>
                    </a:cubicBezTo>
                    <a:cubicBezTo>
                      <a:pt x="0" y="47788"/>
                      <a:pt x="10580" y="27756"/>
                      <a:pt x="27025" y="14898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445" name="Gráfico 6">
            <a:extLst>
              <a:ext uri="{FF2B5EF4-FFF2-40B4-BE49-F238E27FC236}">
                <a16:creationId xmlns:a16="http://schemas.microsoft.com/office/drawing/2014/main" id="{9FE6CD69-04C4-A3C7-D354-1694E8766DFE}"/>
              </a:ext>
            </a:extLst>
          </p:cNvPr>
          <p:cNvGrpSpPr/>
          <p:nvPr/>
        </p:nvGrpSpPr>
        <p:grpSpPr>
          <a:xfrm>
            <a:off x="4264457" y="2625255"/>
            <a:ext cx="269336" cy="264657"/>
            <a:chOff x="4264457" y="2625255"/>
            <a:chExt cx="269336" cy="264657"/>
          </a:xfrm>
          <a:noFill/>
        </p:grpSpPr>
        <p:grpSp>
          <p:nvGrpSpPr>
            <p:cNvPr id="446" name="Gráfico 6">
              <a:extLst>
                <a:ext uri="{FF2B5EF4-FFF2-40B4-BE49-F238E27FC236}">
                  <a16:creationId xmlns:a16="http://schemas.microsoft.com/office/drawing/2014/main" id="{58FAC04B-5429-867C-FDAC-DF8138C62385}"/>
                </a:ext>
              </a:extLst>
            </p:cNvPr>
            <p:cNvGrpSpPr/>
            <p:nvPr/>
          </p:nvGrpSpPr>
          <p:grpSpPr>
            <a:xfrm>
              <a:off x="4264457" y="2636756"/>
              <a:ext cx="253338" cy="253156"/>
              <a:chOff x="4264457" y="2636756"/>
              <a:chExt cx="253338" cy="253156"/>
            </a:xfrm>
            <a:noFill/>
          </p:grpSpPr>
          <p:sp>
            <p:nvSpPr>
              <p:cNvPr id="447" name="Forma livre: Forma 446">
                <a:extLst>
                  <a:ext uri="{FF2B5EF4-FFF2-40B4-BE49-F238E27FC236}">
                    <a16:creationId xmlns:a16="http://schemas.microsoft.com/office/drawing/2014/main" id="{50FF008A-780F-A3D0-9874-5435264D9C7F}"/>
                  </a:ext>
                </a:extLst>
              </p:cNvPr>
              <p:cNvSpPr/>
              <p:nvPr/>
            </p:nvSpPr>
            <p:spPr>
              <a:xfrm>
                <a:off x="4445114" y="2840206"/>
                <a:ext cx="52526" cy="35217"/>
              </a:xfrm>
              <a:custGeom>
                <a:avLst/>
                <a:gdLst>
                  <a:gd name="connsiteX0" fmla="*/ 52526 w 52526"/>
                  <a:gd name="connsiteY0" fmla="*/ 35217 h 35217"/>
                  <a:gd name="connsiteX1" fmla="*/ 0 w 52526"/>
                  <a:gd name="connsiteY1" fmla="*/ 0 h 352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2526" h="35217">
                    <a:moveTo>
                      <a:pt x="52526" y="35217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48" name="Forma livre: Forma 447">
                <a:extLst>
                  <a:ext uri="{FF2B5EF4-FFF2-40B4-BE49-F238E27FC236}">
                    <a16:creationId xmlns:a16="http://schemas.microsoft.com/office/drawing/2014/main" id="{DD453AB5-03F4-D684-692C-920AF28BDC58}"/>
                  </a:ext>
                </a:extLst>
              </p:cNvPr>
              <p:cNvSpPr/>
              <p:nvPr/>
            </p:nvSpPr>
            <p:spPr>
              <a:xfrm>
                <a:off x="4264457" y="2636756"/>
                <a:ext cx="253338" cy="253156"/>
              </a:xfrm>
              <a:custGeom>
                <a:avLst/>
                <a:gdLst>
                  <a:gd name="connsiteX0" fmla="*/ 49072 w 253338"/>
                  <a:gd name="connsiteY0" fmla="*/ 72824 h 253156"/>
                  <a:gd name="connsiteX1" fmla="*/ 14178 w 253338"/>
                  <a:gd name="connsiteY1" fmla="*/ 20442 h 253156"/>
                  <a:gd name="connsiteX2" fmla="*/ 10472 w 253338"/>
                  <a:gd name="connsiteY2" fmla="*/ 23836 h 253156"/>
                  <a:gd name="connsiteX3" fmla="*/ 276 w 253338"/>
                  <a:gd name="connsiteY3" fmla="*/ 45715 h 253156"/>
                  <a:gd name="connsiteX4" fmla="*/ 79839 w 253338"/>
                  <a:gd name="connsiteY4" fmla="*/ 173462 h 253156"/>
                  <a:gd name="connsiteX5" fmla="*/ 207694 w 253338"/>
                  <a:gd name="connsiteY5" fmla="*/ 252881 h 253156"/>
                  <a:gd name="connsiteX6" fmla="*/ 229561 w 253338"/>
                  <a:gd name="connsiteY6" fmla="*/ 242661 h 253156"/>
                  <a:gd name="connsiteX7" fmla="*/ 233183 w 253338"/>
                  <a:gd name="connsiteY7" fmla="*/ 238667 h 253156"/>
                  <a:gd name="connsiteX8" fmla="*/ 253227 w 253338"/>
                  <a:gd name="connsiteY8" fmla="*/ 209471 h 253156"/>
                  <a:gd name="connsiteX9" fmla="*/ 247014 w 253338"/>
                  <a:gd name="connsiteY9" fmla="*/ 197452 h 253156"/>
                  <a:gd name="connsiteX10" fmla="*/ 201085 w 253338"/>
                  <a:gd name="connsiteY10" fmla="*/ 166865 h 253156"/>
                  <a:gd name="connsiteX11" fmla="*/ 181773 w 253338"/>
                  <a:gd name="connsiteY11" fmla="*/ 165785 h 253156"/>
                  <a:gd name="connsiteX12" fmla="*/ 154076 w 253338"/>
                  <a:gd name="connsiteY12" fmla="*/ 181103 h 253156"/>
                  <a:gd name="connsiteX13" fmla="*/ 110894 w 253338"/>
                  <a:gd name="connsiteY13" fmla="*/ 142359 h 253156"/>
                  <a:gd name="connsiteX14" fmla="*/ 72102 w 253338"/>
                  <a:gd name="connsiteY14" fmla="*/ 99225 h 253156"/>
                  <a:gd name="connsiteX15" fmla="*/ 87396 w 253338"/>
                  <a:gd name="connsiteY15" fmla="*/ 71528 h 253156"/>
                  <a:gd name="connsiteX16" fmla="*/ 86292 w 253338"/>
                  <a:gd name="connsiteY16" fmla="*/ 52204 h 253156"/>
                  <a:gd name="connsiteX17" fmla="*/ 55645 w 253338"/>
                  <a:gd name="connsiteY17" fmla="*/ 6299 h 253156"/>
                  <a:gd name="connsiteX18" fmla="*/ 43626 w 253338"/>
                  <a:gd name="connsiteY18" fmla="*/ 110 h 253156"/>
                  <a:gd name="connsiteX19" fmla="*/ 28165 w 253338"/>
                  <a:gd name="connsiteY19" fmla="*/ 8758 h 2531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253338" h="253156">
                    <a:moveTo>
                      <a:pt x="49072" y="72824"/>
                    </a:moveTo>
                    <a:lnTo>
                      <a:pt x="14178" y="20442"/>
                    </a:lnTo>
                    <a:cubicBezTo>
                      <a:pt x="11899" y="22493"/>
                      <a:pt x="10472" y="23836"/>
                      <a:pt x="10472" y="23836"/>
                    </a:cubicBezTo>
                    <a:cubicBezTo>
                      <a:pt x="-2639" y="35507"/>
                      <a:pt x="276" y="45715"/>
                      <a:pt x="276" y="45715"/>
                    </a:cubicBezTo>
                    <a:cubicBezTo>
                      <a:pt x="9128" y="108113"/>
                      <a:pt x="74813" y="168232"/>
                      <a:pt x="79839" y="173462"/>
                    </a:cubicBezTo>
                    <a:cubicBezTo>
                      <a:pt x="86616" y="179759"/>
                      <a:pt x="145284" y="244101"/>
                      <a:pt x="207694" y="252881"/>
                    </a:cubicBezTo>
                    <a:cubicBezTo>
                      <a:pt x="207694" y="252881"/>
                      <a:pt x="217902" y="255796"/>
                      <a:pt x="229561" y="242661"/>
                    </a:cubicBezTo>
                    <a:lnTo>
                      <a:pt x="233183" y="238667"/>
                    </a:lnTo>
                    <a:cubicBezTo>
                      <a:pt x="237669" y="232741"/>
                      <a:pt x="253083" y="212806"/>
                      <a:pt x="253227" y="209471"/>
                    </a:cubicBezTo>
                    <a:cubicBezTo>
                      <a:pt x="253227" y="209471"/>
                      <a:pt x="254690" y="202922"/>
                      <a:pt x="247014" y="197452"/>
                    </a:cubicBezTo>
                    <a:lnTo>
                      <a:pt x="201085" y="166865"/>
                    </a:lnTo>
                    <a:cubicBezTo>
                      <a:pt x="201085" y="166865"/>
                      <a:pt x="193060" y="159572"/>
                      <a:pt x="181773" y="165785"/>
                    </a:cubicBezTo>
                    <a:lnTo>
                      <a:pt x="154076" y="181103"/>
                    </a:lnTo>
                    <a:cubicBezTo>
                      <a:pt x="154076" y="181103"/>
                      <a:pt x="126296" y="159056"/>
                      <a:pt x="110894" y="142359"/>
                    </a:cubicBezTo>
                    <a:cubicBezTo>
                      <a:pt x="94185" y="126981"/>
                      <a:pt x="72102" y="99225"/>
                      <a:pt x="72102" y="99225"/>
                    </a:cubicBezTo>
                    <a:lnTo>
                      <a:pt x="87396" y="71528"/>
                    </a:lnTo>
                    <a:cubicBezTo>
                      <a:pt x="93585" y="60229"/>
                      <a:pt x="86292" y="52204"/>
                      <a:pt x="86292" y="52204"/>
                    </a:cubicBezTo>
                    <a:lnTo>
                      <a:pt x="55645" y="6299"/>
                    </a:lnTo>
                    <a:cubicBezTo>
                      <a:pt x="50187" y="-1341"/>
                      <a:pt x="43626" y="110"/>
                      <a:pt x="43626" y="110"/>
                    </a:cubicBezTo>
                    <a:cubicBezTo>
                      <a:pt x="40244" y="254"/>
                      <a:pt x="34186" y="4164"/>
                      <a:pt x="28165" y="8758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449" name="Forma livre: Forma 448">
              <a:extLst>
                <a:ext uri="{FF2B5EF4-FFF2-40B4-BE49-F238E27FC236}">
                  <a16:creationId xmlns:a16="http://schemas.microsoft.com/office/drawing/2014/main" id="{2A95FC57-BDEF-0FBB-3B73-047DA8E1A6FC}"/>
                </a:ext>
              </a:extLst>
            </p:cNvPr>
            <p:cNvSpPr/>
            <p:nvPr/>
          </p:nvSpPr>
          <p:spPr>
            <a:xfrm>
              <a:off x="4399209" y="2625255"/>
              <a:ext cx="134584" cy="134584"/>
            </a:xfrm>
            <a:custGeom>
              <a:avLst/>
              <a:gdLst>
                <a:gd name="connsiteX0" fmla="*/ 29736 w 134584"/>
                <a:gd name="connsiteY0" fmla="*/ 134584 h 134584"/>
                <a:gd name="connsiteX1" fmla="*/ 100134 w 134584"/>
                <a:gd name="connsiteY1" fmla="*/ 64173 h 134584"/>
                <a:gd name="connsiteX2" fmla="*/ 120550 w 134584"/>
                <a:gd name="connsiteY2" fmla="*/ 84589 h 134584"/>
                <a:gd name="connsiteX3" fmla="*/ 134584 w 134584"/>
                <a:gd name="connsiteY3" fmla="*/ 0 h 134584"/>
                <a:gd name="connsiteX4" fmla="*/ 49995 w 134584"/>
                <a:gd name="connsiteY4" fmla="*/ 14034 h 134584"/>
                <a:gd name="connsiteX5" fmla="*/ 70399 w 134584"/>
                <a:gd name="connsiteY5" fmla="*/ 34438 h 134584"/>
                <a:gd name="connsiteX6" fmla="*/ 0 w 134584"/>
                <a:gd name="connsiteY6" fmla="*/ 104836 h 1345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34584" h="134584">
                  <a:moveTo>
                    <a:pt x="29736" y="134584"/>
                  </a:moveTo>
                  <a:lnTo>
                    <a:pt x="100134" y="64173"/>
                  </a:lnTo>
                  <a:lnTo>
                    <a:pt x="120550" y="84589"/>
                  </a:lnTo>
                  <a:lnTo>
                    <a:pt x="134584" y="0"/>
                  </a:lnTo>
                  <a:lnTo>
                    <a:pt x="49995" y="14034"/>
                  </a:lnTo>
                  <a:lnTo>
                    <a:pt x="70399" y="34438"/>
                  </a:lnTo>
                  <a:lnTo>
                    <a:pt x="0" y="104836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450" name="Gráfico 6">
            <a:extLst>
              <a:ext uri="{FF2B5EF4-FFF2-40B4-BE49-F238E27FC236}">
                <a16:creationId xmlns:a16="http://schemas.microsoft.com/office/drawing/2014/main" id="{0F16A858-8E1C-017C-C89D-043214F2490F}"/>
              </a:ext>
            </a:extLst>
          </p:cNvPr>
          <p:cNvGrpSpPr/>
          <p:nvPr/>
        </p:nvGrpSpPr>
        <p:grpSpPr>
          <a:xfrm>
            <a:off x="4239759" y="1562941"/>
            <a:ext cx="318707" cy="271986"/>
            <a:chOff x="4239759" y="1562941"/>
            <a:chExt cx="318707" cy="271986"/>
          </a:xfrm>
          <a:noFill/>
        </p:grpSpPr>
        <p:grpSp>
          <p:nvGrpSpPr>
            <p:cNvPr id="451" name="Gráfico 6">
              <a:extLst>
                <a:ext uri="{FF2B5EF4-FFF2-40B4-BE49-F238E27FC236}">
                  <a16:creationId xmlns:a16="http://schemas.microsoft.com/office/drawing/2014/main" id="{46A6E6CF-FCBB-4549-A7DD-EA1378A52EFF}"/>
                </a:ext>
              </a:extLst>
            </p:cNvPr>
            <p:cNvGrpSpPr/>
            <p:nvPr/>
          </p:nvGrpSpPr>
          <p:grpSpPr>
            <a:xfrm>
              <a:off x="4345927" y="1562953"/>
              <a:ext cx="212539" cy="222723"/>
              <a:chOff x="4345927" y="1562953"/>
              <a:chExt cx="212539" cy="222723"/>
            </a:xfrm>
            <a:noFill/>
          </p:grpSpPr>
          <p:sp>
            <p:nvSpPr>
              <p:cNvPr id="452" name="Forma livre: Forma 451">
                <a:extLst>
                  <a:ext uri="{FF2B5EF4-FFF2-40B4-BE49-F238E27FC236}">
                    <a16:creationId xmlns:a16="http://schemas.microsoft.com/office/drawing/2014/main" id="{0B2D1813-9FD1-7ABC-681D-23FF2BF0096F}"/>
                  </a:ext>
                </a:extLst>
              </p:cNvPr>
              <p:cNvSpPr/>
              <p:nvPr/>
            </p:nvSpPr>
            <p:spPr>
              <a:xfrm>
                <a:off x="4345927" y="1562953"/>
                <a:ext cx="212539" cy="222723"/>
              </a:xfrm>
              <a:custGeom>
                <a:avLst/>
                <a:gdLst>
                  <a:gd name="connsiteX0" fmla="*/ 94437 w 212539"/>
                  <a:gd name="connsiteY0" fmla="*/ 161357 h 222723"/>
                  <a:gd name="connsiteX1" fmla="*/ 43614 w 212539"/>
                  <a:gd name="connsiteY1" fmla="*/ 222723 h 222723"/>
                  <a:gd name="connsiteX2" fmla="*/ 43614 w 212539"/>
                  <a:gd name="connsiteY2" fmla="*/ 161357 h 222723"/>
                  <a:gd name="connsiteX3" fmla="*/ 29304 w 212539"/>
                  <a:gd name="connsiteY3" fmla="*/ 161357 h 222723"/>
                  <a:gd name="connsiteX4" fmla="*/ 0 w 212539"/>
                  <a:gd name="connsiteY4" fmla="*/ 132053 h 222723"/>
                  <a:gd name="connsiteX5" fmla="*/ 0 w 212539"/>
                  <a:gd name="connsiteY5" fmla="*/ 29304 h 222723"/>
                  <a:gd name="connsiteX6" fmla="*/ 29304 w 212539"/>
                  <a:gd name="connsiteY6" fmla="*/ 0 h 222723"/>
                  <a:gd name="connsiteX7" fmla="*/ 183248 w 212539"/>
                  <a:gd name="connsiteY7" fmla="*/ 0 h 222723"/>
                  <a:gd name="connsiteX8" fmla="*/ 212540 w 212539"/>
                  <a:gd name="connsiteY8" fmla="*/ 29304 h 222723"/>
                  <a:gd name="connsiteX9" fmla="*/ 212540 w 212539"/>
                  <a:gd name="connsiteY9" fmla="*/ 132053 h 222723"/>
                  <a:gd name="connsiteX10" fmla="*/ 183248 w 212539"/>
                  <a:gd name="connsiteY10" fmla="*/ 161357 h 222723"/>
                  <a:gd name="connsiteX11" fmla="*/ 122577 w 212539"/>
                  <a:gd name="connsiteY11" fmla="*/ 161357 h 2227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212539" h="222723">
                    <a:moveTo>
                      <a:pt x="94437" y="161357"/>
                    </a:moveTo>
                    <a:lnTo>
                      <a:pt x="43614" y="222723"/>
                    </a:lnTo>
                    <a:lnTo>
                      <a:pt x="43614" y="161357"/>
                    </a:lnTo>
                    <a:lnTo>
                      <a:pt x="29304" y="161357"/>
                    </a:lnTo>
                    <a:cubicBezTo>
                      <a:pt x="13195" y="161357"/>
                      <a:pt x="0" y="148174"/>
                      <a:pt x="0" y="132053"/>
                    </a:cubicBezTo>
                    <a:lnTo>
                      <a:pt x="0" y="29304"/>
                    </a:lnTo>
                    <a:cubicBezTo>
                      <a:pt x="0" y="13171"/>
                      <a:pt x="13183" y="0"/>
                      <a:pt x="29304" y="0"/>
                    </a:cubicBezTo>
                    <a:lnTo>
                      <a:pt x="183248" y="0"/>
                    </a:lnTo>
                    <a:cubicBezTo>
                      <a:pt x="199357" y="0"/>
                      <a:pt x="212540" y="13183"/>
                      <a:pt x="212540" y="29304"/>
                    </a:cubicBezTo>
                    <a:lnTo>
                      <a:pt x="212540" y="132053"/>
                    </a:lnTo>
                    <a:cubicBezTo>
                      <a:pt x="212540" y="148174"/>
                      <a:pt x="199357" y="161357"/>
                      <a:pt x="183248" y="161357"/>
                    </a:cubicBezTo>
                    <a:lnTo>
                      <a:pt x="122577" y="161357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453" name="Gráfico 6">
                <a:extLst>
                  <a:ext uri="{FF2B5EF4-FFF2-40B4-BE49-F238E27FC236}">
                    <a16:creationId xmlns:a16="http://schemas.microsoft.com/office/drawing/2014/main" id="{D2F29ABB-4067-E1AB-8419-898F34EAE871}"/>
                  </a:ext>
                </a:extLst>
              </p:cNvPr>
              <p:cNvGrpSpPr/>
              <p:nvPr/>
            </p:nvGrpSpPr>
            <p:grpSpPr>
              <a:xfrm>
                <a:off x="4383736" y="1609817"/>
                <a:ext cx="136959" cy="68491"/>
                <a:chOff x="4383736" y="1609817"/>
                <a:chExt cx="136959" cy="68491"/>
              </a:xfrm>
            </p:grpSpPr>
            <p:sp>
              <p:nvSpPr>
                <p:cNvPr id="454" name="Forma livre: Forma 453">
                  <a:extLst>
                    <a:ext uri="{FF2B5EF4-FFF2-40B4-BE49-F238E27FC236}">
                      <a16:creationId xmlns:a16="http://schemas.microsoft.com/office/drawing/2014/main" id="{878D9A9B-1B4C-E419-503F-791470C19928}"/>
                    </a:ext>
                  </a:extLst>
                </p:cNvPr>
                <p:cNvSpPr/>
                <p:nvPr/>
              </p:nvSpPr>
              <p:spPr>
                <a:xfrm>
                  <a:off x="4383736" y="1609817"/>
                  <a:ext cx="136959" cy="1199"/>
                </a:xfrm>
                <a:custGeom>
                  <a:avLst/>
                  <a:gdLst>
                    <a:gd name="connsiteX0" fmla="*/ 0 w 136959"/>
                    <a:gd name="connsiteY0" fmla="*/ 0 h 1199"/>
                    <a:gd name="connsiteX1" fmla="*/ 136959 w 136959"/>
                    <a:gd name="connsiteY1" fmla="*/ 0 h 119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36959" h="1199">
                      <a:moveTo>
                        <a:pt x="0" y="0"/>
                      </a:moveTo>
                      <a:lnTo>
                        <a:pt x="136959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455" name="Forma livre: Forma 454">
                  <a:extLst>
                    <a:ext uri="{FF2B5EF4-FFF2-40B4-BE49-F238E27FC236}">
                      <a16:creationId xmlns:a16="http://schemas.microsoft.com/office/drawing/2014/main" id="{2A69CA5A-DAC3-1704-67FE-C699FF131D46}"/>
                    </a:ext>
                  </a:extLst>
                </p:cNvPr>
                <p:cNvSpPr/>
                <p:nvPr/>
              </p:nvSpPr>
              <p:spPr>
                <a:xfrm>
                  <a:off x="4383736" y="1644063"/>
                  <a:ext cx="136959" cy="1199"/>
                </a:xfrm>
                <a:custGeom>
                  <a:avLst/>
                  <a:gdLst>
                    <a:gd name="connsiteX0" fmla="*/ 0 w 136959"/>
                    <a:gd name="connsiteY0" fmla="*/ 0 h 1199"/>
                    <a:gd name="connsiteX1" fmla="*/ 136959 w 136959"/>
                    <a:gd name="connsiteY1" fmla="*/ 0 h 119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36959" h="1199">
                      <a:moveTo>
                        <a:pt x="0" y="0"/>
                      </a:moveTo>
                      <a:lnTo>
                        <a:pt x="136959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456" name="Forma livre: Forma 455">
                  <a:extLst>
                    <a:ext uri="{FF2B5EF4-FFF2-40B4-BE49-F238E27FC236}">
                      <a16:creationId xmlns:a16="http://schemas.microsoft.com/office/drawing/2014/main" id="{C967833E-546D-30A1-817E-15B69DF74DD2}"/>
                    </a:ext>
                  </a:extLst>
                </p:cNvPr>
                <p:cNvSpPr/>
                <p:nvPr/>
              </p:nvSpPr>
              <p:spPr>
                <a:xfrm>
                  <a:off x="4383736" y="1678309"/>
                  <a:ext cx="82681" cy="1199"/>
                </a:xfrm>
                <a:custGeom>
                  <a:avLst/>
                  <a:gdLst>
                    <a:gd name="connsiteX0" fmla="*/ 0 w 82681"/>
                    <a:gd name="connsiteY0" fmla="*/ 0 h 1199"/>
                    <a:gd name="connsiteX1" fmla="*/ 82682 w 82681"/>
                    <a:gd name="connsiteY1" fmla="*/ 0 h 119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82681" h="1199">
                      <a:moveTo>
                        <a:pt x="0" y="0"/>
                      </a:moveTo>
                      <a:lnTo>
                        <a:pt x="82682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grpSp>
          <p:nvGrpSpPr>
            <p:cNvPr id="457" name="Gráfico 6">
              <a:extLst>
                <a:ext uri="{FF2B5EF4-FFF2-40B4-BE49-F238E27FC236}">
                  <a16:creationId xmlns:a16="http://schemas.microsoft.com/office/drawing/2014/main" id="{3A4111A1-A0B0-F579-02A6-E1A2AF717A6E}"/>
                </a:ext>
              </a:extLst>
            </p:cNvPr>
            <p:cNvGrpSpPr/>
            <p:nvPr/>
          </p:nvGrpSpPr>
          <p:grpSpPr>
            <a:xfrm>
              <a:off x="4239759" y="1562941"/>
              <a:ext cx="68467" cy="271986"/>
              <a:chOff x="4239759" y="1562941"/>
              <a:chExt cx="68467" cy="271986"/>
            </a:xfrm>
            <a:noFill/>
          </p:grpSpPr>
          <p:sp>
            <p:nvSpPr>
              <p:cNvPr id="458" name="Forma livre: Forma 457">
                <a:extLst>
                  <a:ext uri="{FF2B5EF4-FFF2-40B4-BE49-F238E27FC236}">
                    <a16:creationId xmlns:a16="http://schemas.microsoft.com/office/drawing/2014/main" id="{06D35300-1DAA-D5BB-6889-E67C28847D9C}"/>
                  </a:ext>
                </a:extLst>
              </p:cNvPr>
              <p:cNvSpPr/>
              <p:nvPr/>
            </p:nvSpPr>
            <p:spPr>
              <a:xfrm>
                <a:off x="4256600" y="1795044"/>
                <a:ext cx="34797" cy="1199"/>
              </a:xfrm>
              <a:custGeom>
                <a:avLst/>
                <a:gdLst>
                  <a:gd name="connsiteX0" fmla="*/ 34798 w 34797"/>
                  <a:gd name="connsiteY0" fmla="*/ 0 h 1199"/>
                  <a:gd name="connsiteX1" fmla="*/ 0 w 34797"/>
                  <a:gd name="connsiteY1" fmla="*/ 0 h 11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4797" h="1199">
                    <a:moveTo>
                      <a:pt x="34798" y="0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59" name="Forma livre: Forma 458">
                <a:extLst>
                  <a:ext uri="{FF2B5EF4-FFF2-40B4-BE49-F238E27FC236}">
                    <a16:creationId xmlns:a16="http://schemas.microsoft.com/office/drawing/2014/main" id="{961F23E7-522E-D26C-0ABB-A8735681866A}"/>
                  </a:ext>
                </a:extLst>
              </p:cNvPr>
              <p:cNvSpPr/>
              <p:nvPr/>
            </p:nvSpPr>
            <p:spPr>
              <a:xfrm>
                <a:off x="4239759" y="1562941"/>
                <a:ext cx="68467" cy="34293"/>
              </a:xfrm>
              <a:custGeom>
                <a:avLst/>
                <a:gdLst>
                  <a:gd name="connsiteX0" fmla="*/ 52538 w 68467"/>
                  <a:gd name="connsiteY0" fmla="*/ 0 h 34293"/>
                  <a:gd name="connsiteX1" fmla="*/ 15929 w 68467"/>
                  <a:gd name="connsiteY1" fmla="*/ 0 h 34293"/>
                  <a:gd name="connsiteX2" fmla="*/ 0 w 68467"/>
                  <a:gd name="connsiteY2" fmla="*/ 15929 h 34293"/>
                  <a:gd name="connsiteX3" fmla="*/ 0 w 68467"/>
                  <a:gd name="connsiteY3" fmla="*/ 34294 h 34293"/>
                  <a:gd name="connsiteX4" fmla="*/ 68468 w 68467"/>
                  <a:gd name="connsiteY4" fmla="*/ 34294 h 34293"/>
                  <a:gd name="connsiteX5" fmla="*/ 68468 w 68467"/>
                  <a:gd name="connsiteY5" fmla="*/ 15929 h 34293"/>
                  <a:gd name="connsiteX6" fmla="*/ 52538 w 68467"/>
                  <a:gd name="connsiteY6" fmla="*/ 12 h 342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8467" h="34293">
                    <a:moveTo>
                      <a:pt x="52538" y="0"/>
                    </a:moveTo>
                    <a:lnTo>
                      <a:pt x="15929" y="0"/>
                    </a:lnTo>
                    <a:cubicBezTo>
                      <a:pt x="7173" y="0"/>
                      <a:pt x="0" y="7161"/>
                      <a:pt x="0" y="15929"/>
                    </a:cubicBezTo>
                    <a:lnTo>
                      <a:pt x="0" y="34294"/>
                    </a:lnTo>
                    <a:lnTo>
                      <a:pt x="68468" y="34294"/>
                    </a:lnTo>
                    <a:lnTo>
                      <a:pt x="68468" y="15929"/>
                    </a:lnTo>
                    <a:cubicBezTo>
                      <a:pt x="68468" y="7173"/>
                      <a:pt x="61307" y="12"/>
                      <a:pt x="52538" y="12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60" name="Forma livre: Forma 459">
                <a:extLst>
                  <a:ext uri="{FF2B5EF4-FFF2-40B4-BE49-F238E27FC236}">
                    <a16:creationId xmlns:a16="http://schemas.microsoft.com/office/drawing/2014/main" id="{14FA29F4-8C9B-9D7A-3BFC-468BACDBA203}"/>
                  </a:ext>
                </a:extLst>
              </p:cNvPr>
              <p:cNvSpPr/>
              <p:nvPr/>
            </p:nvSpPr>
            <p:spPr>
              <a:xfrm>
                <a:off x="4239939" y="1617398"/>
                <a:ext cx="68095" cy="217529"/>
              </a:xfrm>
              <a:custGeom>
                <a:avLst/>
                <a:gdLst>
                  <a:gd name="connsiteX0" fmla="*/ 68096 w 68095"/>
                  <a:gd name="connsiteY0" fmla="*/ 948 h 217529"/>
                  <a:gd name="connsiteX1" fmla="*/ 68096 w 68095"/>
                  <a:gd name="connsiteY1" fmla="*/ 144648 h 217529"/>
                  <a:gd name="connsiteX2" fmla="*/ 33886 w 68095"/>
                  <a:gd name="connsiteY2" fmla="*/ 217530 h 217529"/>
                  <a:gd name="connsiteX3" fmla="*/ 0 w 68095"/>
                  <a:gd name="connsiteY3" fmla="*/ 144708 h 217529"/>
                  <a:gd name="connsiteX4" fmla="*/ 0 w 68095"/>
                  <a:gd name="connsiteY4" fmla="*/ 0 h 2175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8095" h="217529">
                    <a:moveTo>
                      <a:pt x="68096" y="948"/>
                    </a:moveTo>
                    <a:lnTo>
                      <a:pt x="68096" y="144648"/>
                    </a:lnTo>
                    <a:lnTo>
                      <a:pt x="33886" y="217530"/>
                    </a:lnTo>
                    <a:lnTo>
                      <a:pt x="0" y="144708"/>
                    </a:lnTo>
                    <a:lnTo>
                      <a:pt x="0" y="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61" name="Forma livre: Forma 460">
                <a:extLst>
                  <a:ext uri="{FF2B5EF4-FFF2-40B4-BE49-F238E27FC236}">
                    <a16:creationId xmlns:a16="http://schemas.microsoft.com/office/drawing/2014/main" id="{682AD214-1F73-733D-B796-0D2B8E4D6891}"/>
                  </a:ext>
                </a:extLst>
              </p:cNvPr>
              <p:cNvSpPr/>
              <p:nvPr/>
            </p:nvSpPr>
            <p:spPr>
              <a:xfrm>
                <a:off x="4273993" y="1617386"/>
                <a:ext cx="1199" cy="119314"/>
              </a:xfrm>
              <a:custGeom>
                <a:avLst/>
                <a:gdLst>
                  <a:gd name="connsiteX0" fmla="*/ 0 w 1199"/>
                  <a:gd name="connsiteY0" fmla="*/ 119314 h 119314"/>
                  <a:gd name="connsiteX1" fmla="*/ 0 w 1199"/>
                  <a:gd name="connsiteY1" fmla="*/ 0 h 1193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9" h="119314">
                    <a:moveTo>
                      <a:pt x="0" y="119314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62" name="Forma livre: Forma 461">
                <a:extLst>
                  <a:ext uri="{FF2B5EF4-FFF2-40B4-BE49-F238E27FC236}">
                    <a16:creationId xmlns:a16="http://schemas.microsoft.com/office/drawing/2014/main" id="{A70EA4FB-DA39-1D64-18E8-D98C2AB7B3EC}"/>
                  </a:ext>
                </a:extLst>
              </p:cNvPr>
              <p:cNvSpPr/>
              <p:nvPr/>
            </p:nvSpPr>
            <p:spPr>
              <a:xfrm>
                <a:off x="4240347" y="1757800"/>
                <a:ext cx="67292" cy="1199"/>
              </a:xfrm>
              <a:custGeom>
                <a:avLst/>
                <a:gdLst>
                  <a:gd name="connsiteX0" fmla="*/ 67292 w 67292"/>
                  <a:gd name="connsiteY0" fmla="*/ 0 h 1199"/>
                  <a:gd name="connsiteX1" fmla="*/ 0 w 67292"/>
                  <a:gd name="connsiteY1" fmla="*/ 0 h 11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7292" h="1199">
                    <a:moveTo>
                      <a:pt x="67292" y="0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463" name="Gráfico 6">
            <a:extLst>
              <a:ext uri="{FF2B5EF4-FFF2-40B4-BE49-F238E27FC236}">
                <a16:creationId xmlns:a16="http://schemas.microsoft.com/office/drawing/2014/main" id="{D708EF26-BDE2-3E49-3110-253765C2A864}"/>
              </a:ext>
            </a:extLst>
          </p:cNvPr>
          <p:cNvGrpSpPr/>
          <p:nvPr/>
        </p:nvGrpSpPr>
        <p:grpSpPr>
          <a:xfrm>
            <a:off x="4260423" y="2071493"/>
            <a:ext cx="277397" cy="313525"/>
            <a:chOff x="4260423" y="2071493"/>
            <a:chExt cx="277397" cy="313525"/>
          </a:xfrm>
          <a:noFill/>
        </p:grpSpPr>
        <p:grpSp>
          <p:nvGrpSpPr>
            <p:cNvPr id="464" name="Gráfico 6">
              <a:extLst>
                <a:ext uri="{FF2B5EF4-FFF2-40B4-BE49-F238E27FC236}">
                  <a16:creationId xmlns:a16="http://schemas.microsoft.com/office/drawing/2014/main" id="{688CEF5E-EE82-4421-BCC5-8539083D35B6}"/>
                </a:ext>
              </a:extLst>
            </p:cNvPr>
            <p:cNvGrpSpPr/>
            <p:nvPr/>
          </p:nvGrpSpPr>
          <p:grpSpPr>
            <a:xfrm>
              <a:off x="4260423" y="2071493"/>
              <a:ext cx="277397" cy="244630"/>
              <a:chOff x="4260423" y="2071493"/>
              <a:chExt cx="277397" cy="244630"/>
            </a:xfrm>
            <a:noFill/>
          </p:grpSpPr>
          <p:grpSp>
            <p:nvGrpSpPr>
              <p:cNvPr id="465" name="Gráfico 6">
                <a:extLst>
                  <a:ext uri="{FF2B5EF4-FFF2-40B4-BE49-F238E27FC236}">
                    <a16:creationId xmlns:a16="http://schemas.microsoft.com/office/drawing/2014/main" id="{A31D2DC1-F721-B3C4-52B9-268AD03E5664}"/>
                  </a:ext>
                </a:extLst>
              </p:cNvPr>
              <p:cNvGrpSpPr/>
              <p:nvPr/>
            </p:nvGrpSpPr>
            <p:grpSpPr>
              <a:xfrm>
                <a:off x="4463598" y="2217724"/>
                <a:ext cx="74222" cy="98399"/>
                <a:chOff x="4463598" y="2217724"/>
                <a:chExt cx="74222" cy="98399"/>
              </a:xfrm>
              <a:noFill/>
            </p:grpSpPr>
            <p:sp>
              <p:nvSpPr>
                <p:cNvPr id="466" name="Forma livre: Forma 465">
                  <a:extLst>
                    <a:ext uri="{FF2B5EF4-FFF2-40B4-BE49-F238E27FC236}">
                      <a16:creationId xmlns:a16="http://schemas.microsoft.com/office/drawing/2014/main" id="{991D2785-01E3-6402-FA75-83F57F608DDE}"/>
                    </a:ext>
                  </a:extLst>
                </p:cNvPr>
                <p:cNvSpPr/>
                <p:nvPr/>
              </p:nvSpPr>
              <p:spPr>
                <a:xfrm>
                  <a:off x="4463598" y="2217724"/>
                  <a:ext cx="49275" cy="98399"/>
                </a:xfrm>
                <a:custGeom>
                  <a:avLst/>
                  <a:gdLst>
                    <a:gd name="connsiteX0" fmla="*/ 42102 w 49275"/>
                    <a:gd name="connsiteY0" fmla="*/ 71034 h 98399"/>
                    <a:gd name="connsiteX1" fmla="*/ 41179 w 49275"/>
                    <a:gd name="connsiteY1" fmla="*/ 76600 h 98399"/>
                    <a:gd name="connsiteX2" fmla="*/ 18532 w 49275"/>
                    <a:gd name="connsiteY2" fmla="*/ 98203 h 98399"/>
                    <a:gd name="connsiteX3" fmla="*/ 0 w 49275"/>
                    <a:gd name="connsiteY3" fmla="*/ 95109 h 98399"/>
                    <a:gd name="connsiteX4" fmla="*/ 15905 w 49275"/>
                    <a:gd name="connsiteY4" fmla="*/ 0 h 98399"/>
                    <a:gd name="connsiteX5" fmla="*/ 34426 w 49275"/>
                    <a:gd name="connsiteY5" fmla="*/ 3095 h 98399"/>
                    <a:gd name="connsiteX6" fmla="*/ 48820 w 49275"/>
                    <a:gd name="connsiteY6" fmla="*/ 30899 h 98399"/>
                    <a:gd name="connsiteX7" fmla="*/ 44490 w 49275"/>
                    <a:gd name="connsiteY7" fmla="*/ 56796 h 9839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9275" h="98399">
                      <a:moveTo>
                        <a:pt x="42102" y="71034"/>
                      </a:moveTo>
                      <a:lnTo>
                        <a:pt x="41179" y="76600"/>
                      </a:lnTo>
                      <a:cubicBezTo>
                        <a:pt x="38912" y="90191"/>
                        <a:pt x="28716" y="99919"/>
                        <a:pt x="18532" y="98203"/>
                      </a:cubicBezTo>
                      <a:lnTo>
                        <a:pt x="0" y="95109"/>
                      </a:lnTo>
                      <a:lnTo>
                        <a:pt x="15905" y="0"/>
                      </a:lnTo>
                      <a:lnTo>
                        <a:pt x="34426" y="3095"/>
                      </a:lnTo>
                      <a:cubicBezTo>
                        <a:pt x="44609" y="4798"/>
                        <a:pt x="51099" y="17309"/>
                        <a:pt x="48820" y="30899"/>
                      </a:cubicBezTo>
                      <a:lnTo>
                        <a:pt x="44490" y="56796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467" name="Forma livre: Forma 466">
                  <a:extLst>
                    <a:ext uri="{FF2B5EF4-FFF2-40B4-BE49-F238E27FC236}">
                      <a16:creationId xmlns:a16="http://schemas.microsoft.com/office/drawing/2014/main" id="{6ADDBEF4-E08F-0342-C773-9B0043196D07}"/>
                    </a:ext>
                  </a:extLst>
                </p:cNvPr>
                <p:cNvSpPr/>
                <p:nvPr/>
              </p:nvSpPr>
              <p:spPr>
                <a:xfrm>
                  <a:off x="4502078" y="2239867"/>
                  <a:ext cx="35742" cy="63954"/>
                </a:xfrm>
                <a:custGeom>
                  <a:avLst/>
                  <a:gdLst>
                    <a:gd name="connsiteX0" fmla="*/ 10400 w 35742"/>
                    <a:gd name="connsiteY0" fmla="*/ 0 h 63954"/>
                    <a:gd name="connsiteX1" fmla="*/ 14826 w 35742"/>
                    <a:gd name="connsiteY1" fmla="*/ 624 h 63954"/>
                    <a:gd name="connsiteX2" fmla="*/ 35397 w 35742"/>
                    <a:gd name="connsiteY2" fmla="*/ 29460 h 63954"/>
                    <a:gd name="connsiteX3" fmla="*/ 33130 w 35742"/>
                    <a:gd name="connsiteY3" fmla="*/ 43038 h 63954"/>
                    <a:gd name="connsiteX4" fmla="*/ 4294 w 35742"/>
                    <a:gd name="connsiteY4" fmla="*/ 63609 h 63954"/>
                    <a:gd name="connsiteX5" fmla="*/ 0 w 35742"/>
                    <a:gd name="connsiteY5" fmla="*/ 62698 h 6395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35742" h="63954">
                      <a:moveTo>
                        <a:pt x="10400" y="0"/>
                      </a:moveTo>
                      <a:lnTo>
                        <a:pt x="14826" y="624"/>
                      </a:lnTo>
                      <a:cubicBezTo>
                        <a:pt x="28416" y="2891"/>
                        <a:pt x="37676" y="15869"/>
                        <a:pt x="35397" y="29460"/>
                      </a:cubicBezTo>
                      <a:lnTo>
                        <a:pt x="33130" y="43038"/>
                      </a:lnTo>
                      <a:cubicBezTo>
                        <a:pt x="30851" y="56628"/>
                        <a:pt x="17885" y="65889"/>
                        <a:pt x="4294" y="63609"/>
                      </a:cubicBezTo>
                      <a:lnTo>
                        <a:pt x="0" y="62698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468" name="Forma livre: Forma 467">
                <a:extLst>
                  <a:ext uri="{FF2B5EF4-FFF2-40B4-BE49-F238E27FC236}">
                    <a16:creationId xmlns:a16="http://schemas.microsoft.com/office/drawing/2014/main" id="{216208C8-8E73-EE20-63E5-888FDA958000}"/>
                  </a:ext>
                </a:extLst>
              </p:cNvPr>
              <p:cNvSpPr/>
              <p:nvPr/>
            </p:nvSpPr>
            <p:spPr>
              <a:xfrm>
                <a:off x="4303465" y="2093852"/>
                <a:ext cx="163863" cy="21217"/>
              </a:xfrm>
              <a:custGeom>
                <a:avLst/>
                <a:gdLst>
                  <a:gd name="connsiteX0" fmla="*/ 0 w 163863"/>
                  <a:gd name="connsiteY0" fmla="*/ 0 h 21217"/>
                  <a:gd name="connsiteX1" fmla="*/ 35169 w 163863"/>
                  <a:gd name="connsiteY1" fmla="*/ 16733 h 21217"/>
                  <a:gd name="connsiteX2" fmla="*/ 46649 w 163863"/>
                  <a:gd name="connsiteY2" fmla="*/ 11335 h 21217"/>
                  <a:gd name="connsiteX3" fmla="*/ 47080 w 163863"/>
                  <a:gd name="connsiteY3" fmla="*/ 11155 h 21217"/>
                  <a:gd name="connsiteX4" fmla="*/ 81758 w 163863"/>
                  <a:gd name="connsiteY4" fmla="*/ 5866 h 21217"/>
                  <a:gd name="connsiteX5" fmla="*/ 82106 w 163863"/>
                  <a:gd name="connsiteY5" fmla="*/ 5866 h 21217"/>
                  <a:gd name="connsiteX6" fmla="*/ 116783 w 163863"/>
                  <a:gd name="connsiteY6" fmla="*/ 11155 h 21217"/>
                  <a:gd name="connsiteX7" fmla="*/ 117215 w 163863"/>
                  <a:gd name="connsiteY7" fmla="*/ 11335 h 21217"/>
                  <a:gd name="connsiteX8" fmla="*/ 128695 w 163863"/>
                  <a:gd name="connsiteY8" fmla="*/ 16733 h 21217"/>
                  <a:gd name="connsiteX9" fmla="*/ 163864 w 163863"/>
                  <a:gd name="connsiteY9" fmla="*/ 0 h 212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63863" h="21217">
                    <a:moveTo>
                      <a:pt x="0" y="0"/>
                    </a:moveTo>
                    <a:cubicBezTo>
                      <a:pt x="5074" y="26389"/>
                      <a:pt x="24530" y="23138"/>
                      <a:pt x="35169" y="16733"/>
                    </a:cubicBezTo>
                    <a:cubicBezTo>
                      <a:pt x="40651" y="13434"/>
                      <a:pt x="46649" y="11335"/>
                      <a:pt x="46649" y="11335"/>
                    </a:cubicBezTo>
                    <a:lnTo>
                      <a:pt x="47080" y="11155"/>
                    </a:lnTo>
                    <a:cubicBezTo>
                      <a:pt x="57252" y="7725"/>
                      <a:pt x="68587" y="5866"/>
                      <a:pt x="81758" y="5866"/>
                    </a:cubicBezTo>
                    <a:lnTo>
                      <a:pt x="82106" y="5866"/>
                    </a:lnTo>
                    <a:cubicBezTo>
                      <a:pt x="95276" y="5866"/>
                      <a:pt x="106612" y="7737"/>
                      <a:pt x="116783" y="11155"/>
                    </a:cubicBezTo>
                    <a:lnTo>
                      <a:pt x="117215" y="11335"/>
                    </a:lnTo>
                    <a:cubicBezTo>
                      <a:pt x="117215" y="11335"/>
                      <a:pt x="123213" y="13434"/>
                      <a:pt x="128695" y="16733"/>
                    </a:cubicBezTo>
                    <a:cubicBezTo>
                      <a:pt x="139334" y="23138"/>
                      <a:pt x="158790" y="26389"/>
                      <a:pt x="163864" y="0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69" name="Forma livre: Forma 468">
                <a:extLst>
                  <a:ext uri="{FF2B5EF4-FFF2-40B4-BE49-F238E27FC236}">
                    <a16:creationId xmlns:a16="http://schemas.microsoft.com/office/drawing/2014/main" id="{39235EDF-944D-FBA9-D585-C92E4D2DBBF8}"/>
                  </a:ext>
                </a:extLst>
              </p:cNvPr>
              <p:cNvSpPr/>
              <p:nvPr/>
            </p:nvSpPr>
            <p:spPr>
              <a:xfrm>
                <a:off x="4264312" y="2071493"/>
                <a:ext cx="242110" cy="130121"/>
              </a:xfrm>
              <a:custGeom>
                <a:avLst/>
                <a:gdLst>
                  <a:gd name="connsiteX0" fmla="*/ 240945 w 242110"/>
                  <a:gd name="connsiteY0" fmla="*/ 130122 h 130121"/>
                  <a:gd name="connsiteX1" fmla="*/ 122099 w 242110"/>
                  <a:gd name="connsiteY1" fmla="*/ 0 h 130121"/>
                  <a:gd name="connsiteX2" fmla="*/ 120012 w 242110"/>
                  <a:gd name="connsiteY2" fmla="*/ 0 h 130121"/>
                  <a:gd name="connsiteX3" fmla="*/ 1165 w 242110"/>
                  <a:gd name="connsiteY3" fmla="*/ 130122 h 1301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42110" h="130121">
                    <a:moveTo>
                      <a:pt x="240945" y="130122"/>
                    </a:moveTo>
                    <a:cubicBezTo>
                      <a:pt x="248958" y="60599"/>
                      <a:pt x="216308" y="0"/>
                      <a:pt x="122099" y="0"/>
                    </a:cubicBezTo>
                    <a:lnTo>
                      <a:pt x="120012" y="0"/>
                    </a:lnTo>
                    <a:cubicBezTo>
                      <a:pt x="25803" y="0"/>
                      <a:pt x="-6848" y="60599"/>
                      <a:pt x="1165" y="130122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70" name="Forma livre: Forma 469">
                <a:extLst>
                  <a:ext uri="{FF2B5EF4-FFF2-40B4-BE49-F238E27FC236}">
                    <a16:creationId xmlns:a16="http://schemas.microsoft.com/office/drawing/2014/main" id="{720A01D8-0891-F45B-ECAE-9B11CC897D6A}"/>
                  </a:ext>
                </a:extLst>
              </p:cNvPr>
              <p:cNvSpPr/>
              <p:nvPr/>
            </p:nvSpPr>
            <p:spPr>
              <a:xfrm>
                <a:off x="4260423" y="2216561"/>
                <a:ext cx="51965" cy="98522"/>
              </a:xfrm>
              <a:custGeom>
                <a:avLst/>
                <a:gdLst>
                  <a:gd name="connsiteX0" fmla="*/ 51966 w 51965"/>
                  <a:gd name="connsiteY0" fmla="*/ 94413 h 98522"/>
                  <a:gd name="connsiteX1" fmla="*/ 32390 w 51965"/>
                  <a:gd name="connsiteY1" fmla="*/ 0 h 98522"/>
                  <a:gd name="connsiteX2" fmla="*/ 13990 w 51965"/>
                  <a:gd name="connsiteY2" fmla="*/ 3814 h 98522"/>
                  <a:gd name="connsiteX3" fmla="*/ 687 w 51965"/>
                  <a:gd name="connsiteY3" fmla="*/ 32147 h 98522"/>
                  <a:gd name="connsiteX4" fmla="*/ 10091 w 51965"/>
                  <a:gd name="connsiteY4" fmla="*/ 77512 h 98522"/>
                  <a:gd name="connsiteX5" fmla="*/ 33566 w 51965"/>
                  <a:gd name="connsiteY5" fmla="*/ 98227 h 98522"/>
                  <a:gd name="connsiteX6" fmla="*/ 51966 w 51965"/>
                  <a:gd name="connsiteY6" fmla="*/ 94413 h 985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51965" h="98522">
                    <a:moveTo>
                      <a:pt x="51966" y="94413"/>
                    </a:moveTo>
                    <a:lnTo>
                      <a:pt x="32390" y="0"/>
                    </a:lnTo>
                    <a:lnTo>
                      <a:pt x="13990" y="3814"/>
                    </a:lnTo>
                    <a:cubicBezTo>
                      <a:pt x="3878" y="5902"/>
                      <a:pt x="-2108" y="18664"/>
                      <a:pt x="687" y="32147"/>
                    </a:cubicBezTo>
                    <a:lnTo>
                      <a:pt x="10091" y="77512"/>
                    </a:lnTo>
                    <a:cubicBezTo>
                      <a:pt x="12898" y="91006"/>
                      <a:pt x="23454" y="100326"/>
                      <a:pt x="33566" y="98227"/>
                    </a:cubicBezTo>
                    <a:lnTo>
                      <a:pt x="51966" y="94413"/>
                    </a:lnTo>
                    <a:close/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471" name="Forma livre: Forma 470">
              <a:extLst>
                <a:ext uri="{FF2B5EF4-FFF2-40B4-BE49-F238E27FC236}">
                  <a16:creationId xmlns:a16="http://schemas.microsoft.com/office/drawing/2014/main" id="{DF9411D4-10F1-70AD-F7C8-58F1B0794A08}"/>
                </a:ext>
              </a:extLst>
            </p:cNvPr>
            <p:cNvSpPr/>
            <p:nvPr/>
          </p:nvSpPr>
          <p:spPr>
            <a:xfrm>
              <a:off x="4361677" y="2357430"/>
              <a:ext cx="51578" cy="27588"/>
            </a:xfrm>
            <a:custGeom>
              <a:avLst/>
              <a:gdLst>
                <a:gd name="connsiteX0" fmla="*/ 41983 w 51578"/>
                <a:gd name="connsiteY0" fmla="*/ 0 h 27588"/>
                <a:gd name="connsiteX1" fmla="*/ 51579 w 51578"/>
                <a:gd name="connsiteY1" fmla="*/ 9596 h 27588"/>
                <a:gd name="connsiteX2" fmla="*/ 51579 w 51578"/>
                <a:gd name="connsiteY2" fmla="*/ 17992 h 27588"/>
                <a:gd name="connsiteX3" fmla="*/ 41983 w 51578"/>
                <a:gd name="connsiteY3" fmla="*/ 27588 h 27588"/>
                <a:gd name="connsiteX4" fmla="*/ 9596 w 51578"/>
                <a:gd name="connsiteY4" fmla="*/ 27588 h 27588"/>
                <a:gd name="connsiteX5" fmla="*/ 0 w 51578"/>
                <a:gd name="connsiteY5" fmla="*/ 17992 h 27588"/>
                <a:gd name="connsiteX6" fmla="*/ 0 w 51578"/>
                <a:gd name="connsiteY6" fmla="*/ 9596 h 27588"/>
                <a:gd name="connsiteX7" fmla="*/ 9596 w 51578"/>
                <a:gd name="connsiteY7" fmla="*/ 0 h 275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1578" h="27588">
                  <a:moveTo>
                    <a:pt x="41983" y="0"/>
                  </a:moveTo>
                  <a:cubicBezTo>
                    <a:pt x="47282" y="0"/>
                    <a:pt x="51579" y="4296"/>
                    <a:pt x="51579" y="9596"/>
                  </a:cubicBezTo>
                  <a:lnTo>
                    <a:pt x="51579" y="17992"/>
                  </a:lnTo>
                  <a:cubicBezTo>
                    <a:pt x="51579" y="23292"/>
                    <a:pt x="47282" y="27588"/>
                    <a:pt x="41983" y="27588"/>
                  </a:cubicBezTo>
                  <a:lnTo>
                    <a:pt x="9596" y="27588"/>
                  </a:lnTo>
                  <a:cubicBezTo>
                    <a:pt x="4296" y="27588"/>
                    <a:pt x="0" y="23292"/>
                    <a:pt x="0" y="17992"/>
                  </a:cubicBezTo>
                  <a:lnTo>
                    <a:pt x="0" y="9596"/>
                  </a:lnTo>
                  <a:cubicBezTo>
                    <a:pt x="0" y="4296"/>
                    <a:pt x="4296" y="0"/>
                    <a:pt x="9596" y="0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72" name="Forma livre: Forma 471">
              <a:extLst>
                <a:ext uri="{FF2B5EF4-FFF2-40B4-BE49-F238E27FC236}">
                  <a16:creationId xmlns:a16="http://schemas.microsoft.com/office/drawing/2014/main" id="{B7CB10F5-E662-9E29-5C75-17F238F9C158}"/>
                </a:ext>
              </a:extLst>
            </p:cNvPr>
            <p:cNvSpPr/>
            <p:nvPr/>
          </p:nvSpPr>
          <p:spPr>
            <a:xfrm>
              <a:off x="4414143" y="2285904"/>
              <a:ext cx="120262" cy="85560"/>
            </a:xfrm>
            <a:custGeom>
              <a:avLst/>
              <a:gdLst>
                <a:gd name="connsiteX0" fmla="*/ 120262 w 120262"/>
                <a:gd name="connsiteY0" fmla="*/ 0 h 85560"/>
                <a:gd name="connsiteX1" fmla="*/ 41095 w 120262"/>
                <a:gd name="connsiteY1" fmla="*/ 85560 h 85560"/>
                <a:gd name="connsiteX2" fmla="*/ 0 w 120262"/>
                <a:gd name="connsiteY2" fmla="*/ 85560 h 855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0262" h="85560">
                  <a:moveTo>
                    <a:pt x="120262" y="0"/>
                  </a:moveTo>
                  <a:cubicBezTo>
                    <a:pt x="120262" y="0"/>
                    <a:pt x="105868" y="85560"/>
                    <a:pt x="41095" y="85560"/>
                  </a:cubicBezTo>
                  <a:lnTo>
                    <a:pt x="0" y="8556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473" name="Gráfico 6">
            <a:extLst>
              <a:ext uri="{FF2B5EF4-FFF2-40B4-BE49-F238E27FC236}">
                <a16:creationId xmlns:a16="http://schemas.microsoft.com/office/drawing/2014/main" id="{5F2154AA-7C1F-48EA-B7BD-3CEA78C9B3B1}"/>
              </a:ext>
            </a:extLst>
          </p:cNvPr>
          <p:cNvGrpSpPr/>
          <p:nvPr/>
        </p:nvGrpSpPr>
        <p:grpSpPr>
          <a:xfrm>
            <a:off x="4251479" y="3139277"/>
            <a:ext cx="295293" cy="295209"/>
            <a:chOff x="4251479" y="3139277"/>
            <a:chExt cx="295293" cy="295209"/>
          </a:xfrm>
          <a:noFill/>
        </p:grpSpPr>
        <p:sp>
          <p:nvSpPr>
            <p:cNvPr id="474" name="Forma livre: Forma 473">
              <a:extLst>
                <a:ext uri="{FF2B5EF4-FFF2-40B4-BE49-F238E27FC236}">
                  <a16:creationId xmlns:a16="http://schemas.microsoft.com/office/drawing/2014/main" id="{CCE6E1DF-475B-5664-4E23-E2D107A8FFD3}"/>
                </a:ext>
              </a:extLst>
            </p:cNvPr>
            <p:cNvSpPr/>
            <p:nvPr/>
          </p:nvSpPr>
          <p:spPr>
            <a:xfrm>
              <a:off x="4251479" y="3139277"/>
              <a:ext cx="295293" cy="295209"/>
            </a:xfrm>
            <a:custGeom>
              <a:avLst/>
              <a:gdLst>
                <a:gd name="connsiteX0" fmla="*/ 59963 w 295293"/>
                <a:gd name="connsiteY0" fmla="*/ 28836 h 295209"/>
                <a:gd name="connsiteX1" fmla="*/ 147623 w 295293"/>
                <a:gd name="connsiteY1" fmla="*/ 0 h 295209"/>
                <a:gd name="connsiteX2" fmla="*/ 295293 w 295293"/>
                <a:gd name="connsiteY2" fmla="*/ 147611 h 295209"/>
                <a:gd name="connsiteX3" fmla="*/ 147623 w 295293"/>
                <a:gd name="connsiteY3" fmla="*/ 295209 h 295209"/>
                <a:gd name="connsiteX4" fmla="*/ 0 w 295293"/>
                <a:gd name="connsiteY4" fmla="*/ 147611 h 295209"/>
                <a:gd name="connsiteX5" fmla="*/ 37532 w 295293"/>
                <a:gd name="connsiteY5" fmla="*/ 49263 h 2952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95293" h="295209">
                  <a:moveTo>
                    <a:pt x="59963" y="28836"/>
                  </a:moveTo>
                  <a:cubicBezTo>
                    <a:pt x="84481" y="10712"/>
                    <a:pt x="114792" y="0"/>
                    <a:pt x="147623" y="0"/>
                  </a:cubicBezTo>
                  <a:cubicBezTo>
                    <a:pt x="229213" y="0"/>
                    <a:pt x="295293" y="66080"/>
                    <a:pt x="295293" y="147611"/>
                  </a:cubicBezTo>
                  <a:cubicBezTo>
                    <a:pt x="295293" y="229141"/>
                    <a:pt x="229213" y="295209"/>
                    <a:pt x="147623" y="295209"/>
                  </a:cubicBezTo>
                  <a:cubicBezTo>
                    <a:pt x="66033" y="295209"/>
                    <a:pt x="0" y="229129"/>
                    <a:pt x="0" y="147611"/>
                  </a:cubicBezTo>
                  <a:cubicBezTo>
                    <a:pt x="0" y="109838"/>
                    <a:pt x="14190" y="75365"/>
                    <a:pt x="37532" y="49263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475" name="Gráfico 6">
              <a:extLst>
                <a:ext uri="{FF2B5EF4-FFF2-40B4-BE49-F238E27FC236}">
                  <a16:creationId xmlns:a16="http://schemas.microsoft.com/office/drawing/2014/main" id="{09D0D26F-C596-AC9C-ACDB-CBA23E4BDCC2}"/>
                </a:ext>
              </a:extLst>
            </p:cNvPr>
            <p:cNvGrpSpPr/>
            <p:nvPr/>
          </p:nvGrpSpPr>
          <p:grpSpPr>
            <a:xfrm>
              <a:off x="4357071" y="3177193"/>
              <a:ext cx="84085" cy="216535"/>
              <a:chOff x="4357071" y="3177193"/>
              <a:chExt cx="84085" cy="216535"/>
            </a:xfrm>
            <a:noFill/>
          </p:grpSpPr>
          <p:sp>
            <p:nvSpPr>
              <p:cNvPr id="476" name="Forma livre: Forma 475">
                <a:extLst>
                  <a:ext uri="{FF2B5EF4-FFF2-40B4-BE49-F238E27FC236}">
                    <a16:creationId xmlns:a16="http://schemas.microsoft.com/office/drawing/2014/main" id="{6017DD6F-1F97-0431-2A81-2CF360C56913}"/>
                  </a:ext>
                </a:extLst>
              </p:cNvPr>
              <p:cNvSpPr/>
              <p:nvPr/>
            </p:nvSpPr>
            <p:spPr>
              <a:xfrm>
                <a:off x="4357071" y="3250632"/>
                <a:ext cx="83039" cy="143096"/>
              </a:xfrm>
              <a:custGeom>
                <a:avLst/>
                <a:gdLst>
                  <a:gd name="connsiteX0" fmla="*/ 82154 w 83039"/>
                  <a:gd name="connsiteY0" fmla="*/ 114500 h 143096"/>
                  <a:gd name="connsiteX1" fmla="*/ 57660 w 83039"/>
                  <a:gd name="connsiteY1" fmla="*/ 132984 h 143096"/>
                  <a:gd name="connsiteX2" fmla="*/ 24758 w 83039"/>
                  <a:gd name="connsiteY2" fmla="*/ 143096 h 143096"/>
                  <a:gd name="connsiteX3" fmla="*/ 24398 w 83039"/>
                  <a:gd name="connsiteY3" fmla="*/ 143096 h 143096"/>
                  <a:gd name="connsiteX4" fmla="*/ 4606 w 83039"/>
                  <a:gd name="connsiteY4" fmla="*/ 134004 h 143096"/>
                  <a:gd name="connsiteX5" fmla="*/ 0 w 83039"/>
                  <a:gd name="connsiteY5" fmla="*/ 118902 h 143096"/>
                  <a:gd name="connsiteX6" fmla="*/ 6957 w 83039"/>
                  <a:gd name="connsiteY6" fmla="*/ 86300 h 143096"/>
                  <a:gd name="connsiteX7" fmla="*/ 18388 w 83039"/>
                  <a:gd name="connsiteY7" fmla="*/ 44413 h 143096"/>
                  <a:gd name="connsiteX8" fmla="*/ 21927 w 83039"/>
                  <a:gd name="connsiteY8" fmla="*/ 29791 h 143096"/>
                  <a:gd name="connsiteX9" fmla="*/ 20739 w 83039"/>
                  <a:gd name="connsiteY9" fmla="*/ 27092 h 143096"/>
                  <a:gd name="connsiteX10" fmla="*/ 13902 w 83039"/>
                  <a:gd name="connsiteY10" fmla="*/ 26121 h 143096"/>
                  <a:gd name="connsiteX11" fmla="*/ 10927 w 83039"/>
                  <a:gd name="connsiteY11" fmla="*/ 26169 h 143096"/>
                  <a:gd name="connsiteX12" fmla="*/ 7017 w 83039"/>
                  <a:gd name="connsiteY12" fmla="*/ 24669 h 143096"/>
                  <a:gd name="connsiteX13" fmla="*/ 5326 w 83039"/>
                  <a:gd name="connsiteY13" fmla="*/ 20795 h 143096"/>
                  <a:gd name="connsiteX14" fmla="*/ 5326 w 83039"/>
                  <a:gd name="connsiteY14" fmla="*/ 13226 h 143096"/>
                  <a:gd name="connsiteX15" fmla="*/ 10292 w 83039"/>
                  <a:gd name="connsiteY15" fmla="*/ 7888 h 143096"/>
                  <a:gd name="connsiteX16" fmla="*/ 66260 w 83039"/>
                  <a:gd name="connsiteY16" fmla="*/ 139 h 143096"/>
                  <a:gd name="connsiteX17" fmla="*/ 71334 w 83039"/>
                  <a:gd name="connsiteY17" fmla="*/ 1615 h 143096"/>
                  <a:gd name="connsiteX18" fmla="*/ 72642 w 83039"/>
                  <a:gd name="connsiteY18" fmla="*/ 6737 h 143096"/>
                  <a:gd name="connsiteX19" fmla="*/ 47416 w 83039"/>
                  <a:gd name="connsiteY19" fmla="*/ 99974 h 143096"/>
                  <a:gd name="connsiteX20" fmla="*/ 44909 w 83039"/>
                  <a:gd name="connsiteY20" fmla="*/ 112077 h 143096"/>
                  <a:gd name="connsiteX21" fmla="*/ 51962 w 83039"/>
                  <a:gd name="connsiteY21" fmla="*/ 109258 h 143096"/>
                  <a:gd name="connsiteX22" fmla="*/ 66956 w 83039"/>
                  <a:gd name="connsiteY22" fmla="*/ 102361 h 143096"/>
                  <a:gd name="connsiteX23" fmla="*/ 74357 w 83039"/>
                  <a:gd name="connsiteY23" fmla="*/ 101653 h 143096"/>
                  <a:gd name="connsiteX24" fmla="*/ 80547 w 83039"/>
                  <a:gd name="connsiteY24" fmla="*/ 107027 h 143096"/>
                  <a:gd name="connsiteX25" fmla="*/ 82886 w 83039"/>
                  <a:gd name="connsiteY25" fmla="*/ 110434 h 143096"/>
                  <a:gd name="connsiteX26" fmla="*/ 82142 w 83039"/>
                  <a:gd name="connsiteY26" fmla="*/ 114476 h 1430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83039" h="143096">
                    <a:moveTo>
                      <a:pt x="82154" y="114500"/>
                    </a:moveTo>
                    <a:cubicBezTo>
                      <a:pt x="73254" y="124288"/>
                      <a:pt x="67556" y="127586"/>
                      <a:pt x="57660" y="132984"/>
                    </a:cubicBezTo>
                    <a:cubicBezTo>
                      <a:pt x="48124" y="138190"/>
                      <a:pt x="36609" y="143156"/>
                      <a:pt x="24758" y="143096"/>
                    </a:cubicBezTo>
                    <a:lnTo>
                      <a:pt x="24398" y="143096"/>
                    </a:lnTo>
                    <a:cubicBezTo>
                      <a:pt x="15114" y="143096"/>
                      <a:pt x="8277" y="139234"/>
                      <a:pt x="4606" y="134004"/>
                    </a:cubicBezTo>
                    <a:cubicBezTo>
                      <a:pt x="876" y="128798"/>
                      <a:pt x="24" y="123040"/>
                      <a:pt x="0" y="118902"/>
                    </a:cubicBezTo>
                    <a:cubicBezTo>
                      <a:pt x="120" y="112689"/>
                      <a:pt x="3167" y="100813"/>
                      <a:pt x="6957" y="86300"/>
                    </a:cubicBezTo>
                    <a:cubicBezTo>
                      <a:pt x="10724" y="72013"/>
                      <a:pt x="15294" y="56000"/>
                      <a:pt x="18388" y="44413"/>
                    </a:cubicBezTo>
                    <a:cubicBezTo>
                      <a:pt x="20404" y="37000"/>
                      <a:pt x="21879" y="30870"/>
                      <a:pt x="21927" y="29791"/>
                    </a:cubicBezTo>
                    <a:cubicBezTo>
                      <a:pt x="21699" y="27332"/>
                      <a:pt x="21615" y="27776"/>
                      <a:pt x="20739" y="27092"/>
                    </a:cubicBezTo>
                    <a:cubicBezTo>
                      <a:pt x="19744" y="26492"/>
                      <a:pt x="17069" y="26049"/>
                      <a:pt x="13902" y="26121"/>
                    </a:cubicBezTo>
                    <a:cubicBezTo>
                      <a:pt x="12907" y="26121"/>
                      <a:pt x="11911" y="26145"/>
                      <a:pt x="10927" y="26169"/>
                    </a:cubicBezTo>
                    <a:cubicBezTo>
                      <a:pt x="9476" y="26216"/>
                      <a:pt x="8049" y="25701"/>
                      <a:pt x="7017" y="24669"/>
                    </a:cubicBezTo>
                    <a:cubicBezTo>
                      <a:pt x="5950" y="23673"/>
                      <a:pt x="5326" y="22270"/>
                      <a:pt x="5326" y="20795"/>
                    </a:cubicBezTo>
                    <a:lnTo>
                      <a:pt x="5326" y="13226"/>
                    </a:lnTo>
                    <a:cubicBezTo>
                      <a:pt x="5326" y="10419"/>
                      <a:pt x="7497" y="8104"/>
                      <a:pt x="10292" y="7888"/>
                    </a:cubicBezTo>
                    <a:cubicBezTo>
                      <a:pt x="21351" y="7036"/>
                      <a:pt x="47716" y="4493"/>
                      <a:pt x="66260" y="139"/>
                    </a:cubicBezTo>
                    <a:cubicBezTo>
                      <a:pt x="68084" y="-281"/>
                      <a:pt x="69991" y="259"/>
                      <a:pt x="71334" y="1615"/>
                    </a:cubicBezTo>
                    <a:cubicBezTo>
                      <a:pt x="72654" y="2982"/>
                      <a:pt x="73134" y="4937"/>
                      <a:pt x="72642" y="6737"/>
                    </a:cubicBezTo>
                    <a:cubicBezTo>
                      <a:pt x="64425" y="36928"/>
                      <a:pt x="52706" y="77855"/>
                      <a:pt x="47416" y="99974"/>
                    </a:cubicBezTo>
                    <a:cubicBezTo>
                      <a:pt x="46133" y="105240"/>
                      <a:pt x="45269" y="109690"/>
                      <a:pt x="44909" y="112077"/>
                    </a:cubicBezTo>
                    <a:cubicBezTo>
                      <a:pt x="45185" y="111897"/>
                      <a:pt x="49371" y="110230"/>
                      <a:pt x="51962" y="109258"/>
                    </a:cubicBezTo>
                    <a:cubicBezTo>
                      <a:pt x="60659" y="105959"/>
                      <a:pt x="62086" y="104808"/>
                      <a:pt x="66956" y="102361"/>
                    </a:cubicBezTo>
                    <a:cubicBezTo>
                      <a:pt x="69547" y="101053"/>
                      <a:pt x="71922" y="100106"/>
                      <a:pt x="74357" y="101653"/>
                    </a:cubicBezTo>
                    <a:lnTo>
                      <a:pt x="80547" y="107027"/>
                    </a:lnTo>
                    <a:cubicBezTo>
                      <a:pt x="81758" y="107831"/>
                      <a:pt x="82598" y="109018"/>
                      <a:pt x="82886" y="110434"/>
                    </a:cubicBezTo>
                    <a:cubicBezTo>
                      <a:pt x="83185" y="111825"/>
                      <a:pt x="83101" y="113420"/>
                      <a:pt x="82142" y="114476"/>
                    </a:cubicBezTo>
                    <a:close/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77" name="Forma livre: Forma 476">
                <a:extLst>
                  <a:ext uri="{FF2B5EF4-FFF2-40B4-BE49-F238E27FC236}">
                    <a16:creationId xmlns:a16="http://schemas.microsoft.com/office/drawing/2014/main" id="{9C2BCD8C-D79C-42B9-5DD9-E05490216ADD}"/>
                  </a:ext>
                </a:extLst>
              </p:cNvPr>
              <p:cNvSpPr/>
              <p:nvPr/>
            </p:nvSpPr>
            <p:spPr>
              <a:xfrm>
                <a:off x="4392504" y="3177193"/>
                <a:ext cx="48651" cy="48388"/>
              </a:xfrm>
              <a:custGeom>
                <a:avLst/>
                <a:gdLst>
                  <a:gd name="connsiteX0" fmla="*/ 23918 w 48651"/>
                  <a:gd name="connsiteY0" fmla="*/ 48365 h 48388"/>
                  <a:gd name="connsiteX1" fmla="*/ 23726 w 48651"/>
                  <a:gd name="connsiteY1" fmla="*/ 48389 h 48388"/>
                  <a:gd name="connsiteX2" fmla="*/ 5422 w 48651"/>
                  <a:gd name="connsiteY2" fmla="*/ 39488 h 48388"/>
                  <a:gd name="connsiteX3" fmla="*/ 0 w 48651"/>
                  <a:gd name="connsiteY3" fmla="*/ 23931 h 48388"/>
                  <a:gd name="connsiteX4" fmla="*/ 5710 w 48651"/>
                  <a:gd name="connsiteY4" fmla="*/ 8745 h 48388"/>
                  <a:gd name="connsiteX5" fmla="*/ 23906 w 48651"/>
                  <a:gd name="connsiteY5" fmla="*/ 1 h 48388"/>
                  <a:gd name="connsiteX6" fmla="*/ 48652 w 48651"/>
                  <a:gd name="connsiteY6" fmla="*/ 24483 h 48388"/>
                  <a:gd name="connsiteX7" fmla="*/ 23906 w 48651"/>
                  <a:gd name="connsiteY7" fmla="*/ 48377 h 483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8651" h="48388">
                    <a:moveTo>
                      <a:pt x="23918" y="48365"/>
                    </a:moveTo>
                    <a:cubicBezTo>
                      <a:pt x="23834" y="48389"/>
                      <a:pt x="23774" y="48389"/>
                      <a:pt x="23726" y="48389"/>
                    </a:cubicBezTo>
                    <a:cubicBezTo>
                      <a:pt x="15570" y="48389"/>
                      <a:pt x="9140" y="44394"/>
                      <a:pt x="5422" y="39488"/>
                    </a:cubicBezTo>
                    <a:cubicBezTo>
                      <a:pt x="1619" y="34498"/>
                      <a:pt x="12" y="28825"/>
                      <a:pt x="0" y="23931"/>
                    </a:cubicBezTo>
                    <a:cubicBezTo>
                      <a:pt x="60" y="19061"/>
                      <a:pt x="1871" y="13591"/>
                      <a:pt x="5710" y="8745"/>
                    </a:cubicBezTo>
                    <a:cubicBezTo>
                      <a:pt x="9488" y="3971"/>
                      <a:pt x="15833" y="-59"/>
                      <a:pt x="23906" y="1"/>
                    </a:cubicBezTo>
                    <a:cubicBezTo>
                      <a:pt x="37532" y="49"/>
                      <a:pt x="48592" y="11036"/>
                      <a:pt x="48652" y="24483"/>
                    </a:cubicBezTo>
                    <a:cubicBezTo>
                      <a:pt x="48604" y="37653"/>
                      <a:pt x="37652" y="48353"/>
                      <a:pt x="23906" y="48377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478" name="Gráfico 6">
            <a:extLst>
              <a:ext uri="{FF2B5EF4-FFF2-40B4-BE49-F238E27FC236}">
                <a16:creationId xmlns:a16="http://schemas.microsoft.com/office/drawing/2014/main" id="{AFA28DBE-7924-7A36-1CA9-74B7A487FA97}"/>
              </a:ext>
            </a:extLst>
          </p:cNvPr>
          <p:cNvGrpSpPr/>
          <p:nvPr/>
        </p:nvGrpSpPr>
        <p:grpSpPr>
          <a:xfrm>
            <a:off x="4884540" y="987072"/>
            <a:ext cx="277144" cy="365056"/>
            <a:chOff x="4884540" y="987072"/>
            <a:chExt cx="277144" cy="365056"/>
          </a:xfrm>
          <a:noFill/>
        </p:grpSpPr>
        <p:sp>
          <p:nvSpPr>
            <p:cNvPr id="479" name="Forma livre: Forma 478">
              <a:extLst>
                <a:ext uri="{FF2B5EF4-FFF2-40B4-BE49-F238E27FC236}">
                  <a16:creationId xmlns:a16="http://schemas.microsoft.com/office/drawing/2014/main" id="{8CB5EA2B-9F6A-F34A-041F-0418693F13A5}"/>
                </a:ext>
              </a:extLst>
            </p:cNvPr>
            <p:cNvSpPr/>
            <p:nvPr/>
          </p:nvSpPr>
          <p:spPr>
            <a:xfrm>
              <a:off x="4932385" y="987072"/>
              <a:ext cx="188923" cy="261575"/>
            </a:xfrm>
            <a:custGeom>
              <a:avLst/>
              <a:gdLst>
                <a:gd name="connsiteX0" fmla="*/ 125362 w 188923"/>
                <a:gd name="connsiteY0" fmla="*/ 261575 h 261575"/>
                <a:gd name="connsiteX1" fmla="*/ 160616 w 188923"/>
                <a:gd name="connsiteY1" fmla="*/ 198374 h 261575"/>
                <a:gd name="connsiteX2" fmla="*/ 160616 w 188923"/>
                <a:gd name="connsiteY2" fmla="*/ 139358 h 261575"/>
                <a:gd name="connsiteX3" fmla="*/ 187257 w 188923"/>
                <a:gd name="connsiteY3" fmla="*/ 86628 h 261575"/>
                <a:gd name="connsiteX4" fmla="*/ 181043 w 188923"/>
                <a:gd name="connsiteY4" fmla="*/ 66524 h 261575"/>
                <a:gd name="connsiteX5" fmla="*/ 161167 w 188923"/>
                <a:gd name="connsiteY5" fmla="*/ 73398 h 261575"/>
                <a:gd name="connsiteX6" fmla="*/ 132427 w 188923"/>
                <a:gd name="connsiteY6" fmla="*/ 128707 h 261575"/>
                <a:gd name="connsiteX7" fmla="*/ 128241 w 188923"/>
                <a:gd name="connsiteY7" fmla="*/ 126212 h 261575"/>
                <a:gd name="connsiteX8" fmla="*/ 150396 w 188923"/>
                <a:gd name="connsiteY8" fmla="*/ 43962 h 261575"/>
                <a:gd name="connsiteX9" fmla="*/ 139684 w 188923"/>
                <a:gd name="connsiteY9" fmla="*/ 24602 h 261575"/>
                <a:gd name="connsiteX10" fmla="*/ 120696 w 188923"/>
                <a:gd name="connsiteY10" fmla="*/ 35961 h 261575"/>
                <a:gd name="connsiteX11" fmla="*/ 97582 w 188923"/>
                <a:gd name="connsiteY11" fmla="*/ 121737 h 261575"/>
                <a:gd name="connsiteX12" fmla="*/ 91380 w 188923"/>
                <a:gd name="connsiteY12" fmla="*/ 119638 h 261575"/>
                <a:gd name="connsiteX13" fmla="*/ 91380 w 188923"/>
                <a:gd name="connsiteY13" fmla="*/ 15905 h 261575"/>
                <a:gd name="connsiteX14" fmla="*/ 76003 w 188923"/>
                <a:gd name="connsiteY14" fmla="*/ 0 h 261575"/>
                <a:gd name="connsiteX15" fmla="*/ 60613 w 188923"/>
                <a:gd name="connsiteY15" fmla="*/ 15905 h 261575"/>
                <a:gd name="connsiteX16" fmla="*/ 60613 w 188923"/>
                <a:gd name="connsiteY16" fmla="*/ 121090 h 261575"/>
                <a:gd name="connsiteX17" fmla="*/ 57231 w 188923"/>
                <a:gd name="connsiteY17" fmla="*/ 121090 h 261575"/>
                <a:gd name="connsiteX18" fmla="*/ 30098 w 188923"/>
                <a:gd name="connsiteY18" fmla="*/ 35841 h 261575"/>
                <a:gd name="connsiteX19" fmla="*/ 10606 w 188923"/>
                <a:gd name="connsiteY19" fmla="*/ 25345 h 261575"/>
                <a:gd name="connsiteX20" fmla="*/ 770 w 188923"/>
                <a:gd name="connsiteY20" fmla="*/ 45173 h 261575"/>
                <a:gd name="connsiteX21" fmla="*/ 31393 w 188923"/>
                <a:gd name="connsiteY21" fmla="*/ 141325 h 2615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88923" h="261575">
                  <a:moveTo>
                    <a:pt x="125362" y="261575"/>
                  </a:moveTo>
                  <a:cubicBezTo>
                    <a:pt x="146546" y="248477"/>
                    <a:pt x="160616" y="225002"/>
                    <a:pt x="160616" y="198374"/>
                  </a:cubicBezTo>
                  <a:lnTo>
                    <a:pt x="160616" y="139358"/>
                  </a:lnTo>
                  <a:lnTo>
                    <a:pt x="187257" y="86628"/>
                  </a:lnTo>
                  <a:cubicBezTo>
                    <a:pt x="191011" y="79203"/>
                    <a:pt x="188204" y="70159"/>
                    <a:pt x="181043" y="66524"/>
                  </a:cubicBezTo>
                  <a:cubicBezTo>
                    <a:pt x="173870" y="62878"/>
                    <a:pt x="164922" y="65985"/>
                    <a:pt x="161167" y="73398"/>
                  </a:cubicBezTo>
                  <a:lnTo>
                    <a:pt x="132427" y="128707"/>
                  </a:lnTo>
                  <a:lnTo>
                    <a:pt x="128241" y="126212"/>
                  </a:lnTo>
                  <a:lnTo>
                    <a:pt x="150396" y="43962"/>
                  </a:lnTo>
                  <a:cubicBezTo>
                    <a:pt x="152663" y="35517"/>
                    <a:pt x="147853" y="26797"/>
                    <a:pt x="139684" y="24602"/>
                  </a:cubicBezTo>
                  <a:cubicBezTo>
                    <a:pt x="131504" y="22395"/>
                    <a:pt x="122951" y="27517"/>
                    <a:pt x="120696" y="35961"/>
                  </a:cubicBezTo>
                  <a:lnTo>
                    <a:pt x="97582" y="121737"/>
                  </a:lnTo>
                  <a:lnTo>
                    <a:pt x="91380" y="119638"/>
                  </a:lnTo>
                  <a:lnTo>
                    <a:pt x="91380" y="15905"/>
                  </a:lnTo>
                  <a:cubicBezTo>
                    <a:pt x="91380" y="7161"/>
                    <a:pt x="84459" y="0"/>
                    <a:pt x="76003" y="0"/>
                  </a:cubicBezTo>
                  <a:cubicBezTo>
                    <a:pt x="67546" y="0"/>
                    <a:pt x="60613" y="7173"/>
                    <a:pt x="60613" y="15905"/>
                  </a:cubicBezTo>
                  <a:lnTo>
                    <a:pt x="60613" y="121090"/>
                  </a:lnTo>
                  <a:lnTo>
                    <a:pt x="57231" y="121090"/>
                  </a:lnTo>
                  <a:lnTo>
                    <a:pt x="30098" y="35841"/>
                  </a:lnTo>
                  <a:cubicBezTo>
                    <a:pt x="27447" y="27505"/>
                    <a:pt x="18679" y="22779"/>
                    <a:pt x="10606" y="25345"/>
                  </a:cubicBezTo>
                  <a:cubicBezTo>
                    <a:pt x="2533" y="27912"/>
                    <a:pt x="-1881" y="36849"/>
                    <a:pt x="770" y="45173"/>
                  </a:cubicBezTo>
                  <a:lnTo>
                    <a:pt x="31393" y="141325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80" name="Forma livre: Forma 479">
              <a:extLst>
                <a:ext uri="{FF2B5EF4-FFF2-40B4-BE49-F238E27FC236}">
                  <a16:creationId xmlns:a16="http://schemas.microsoft.com/office/drawing/2014/main" id="{325CCE20-043E-CEAA-B453-DE208AF5997F}"/>
                </a:ext>
              </a:extLst>
            </p:cNvPr>
            <p:cNvSpPr/>
            <p:nvPr/>
          </p:nvSpPr>
          <p:spPr>
            <a:xfrm>
              <a:off x="5073365" y="1237708"/>
              <a:ext cx="1199" cy="83509"/>
            </a:xfrm>
            <a:custGeom>
              <a:avLst/>
              <a:gdLst>
                <a:gd name="connsiteX0" fmla="*/ 0 w 1199"/>
                <a:gd name="connsiteY0" fmla="*/ 0 h 83509"/>
                <a:gd name="connsiteX1" fmla="*/ 0 w 1199"/>
                <a:gd name="connsiteY1" fmla="*/ 83509 h 835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99" h="83509">
                  <a:moveTo>
                    <a:pt x="0" y="0"/>
                  </a:moveTo>
                  <a:lnTo>
                    <a:pt x="0" y="83509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81" name="Forma livre: Forma 480">
              <a:extLst>
                <a:ext uri="{FF2B5EF4-FFF2-40B4-BE49-F238E27FC236}">
                  <a16:creationId xmlns:a16="http://schemas.microsoft.com/office/drawing/2014/main" id="{3BAEB13C-D12D-DD35-6BE7-D076F81E6521}"/>
                </a:ext>
              </a:extLst>
            </p:cNvPr>
            <p:cNvSpPr/>
            <p:nvPr/>
          </p:nvSpPr>
          <p:spPr>
            <a:xfrm>
              <a:off x="4973962" y="1237708"/>
              <a:ext cx="1199" cy="83509"/>
            </a:xfrm>
            <a:custGeom>
              <a:avLst/>
              <a:gdLst>
                <a:gd name="connsiteX0" fmla="*/ 0 w 1199"/>
                <a:gd name="connsiteY0" fmla="*/ 0 h 83509"/>
                <a:gd name="connsiteX1" fmla="*/ 0 w 1199"/>
                <a:gd name="connsiteY1" fmla="*/ 83509 h 835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99" h="83509">
                  <a:moveTo>
                    <a:pt x="0" y="0"/>
                  </a:moveTo>
                  <a:lnTo>
                    <a:pt x="0" y="83509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82" name="Forma livre: Forma 481">
              <a:extLst>
                <a:ext uri="{FF2B5EF4-FFF2-40B4-BE49-F238E27FC236}">
                  <a16:creationId xmlns:a16="http://schemas.microsoft.com/office/drawing/2014/main" id="{A9DA6DF9-CB5A-F1FD-DA46-9EADC2C6D859}"/>
                </a:ext>
              </a:extLst>
            </p:cNvPr>
            <p:cNvSpPr/>
            <p:nvPr/>
          </p:nvSpPr>
          <p:spPr>
            <a:xfrm>
              <a:off x="4893398" y="1108936"/>
              <a:ext cx="112830" cy="132022"/>
            </a:xfrm>
            <a:custGeom>
              <a:avLst/>
              <a:gdLst>
                <a:gd name="connsiteX0" fmla="*/ 112831 w 112830"/>
                <a:gd name="connsiteY0" fmla="*/ 75957 h 132022"/>
                <a:gd name="connsiteX1" fmla="*/ 57126 w 112830"/>
                <a:gd name="connsiteY1" fmla="*/ 51703 h 132022"/>
                <a:gd name="connsiteX2" fmla="*/ 57006 w 112830"/>
                <a:gd name="connsiteY2" fmla="*/ 51643 h 132022"/>
                <a:gd name="connsiteX3" fmla="*/ 38210 w 112830"/>
                <a:gd name="connsiteY3" fmla="*/ 15155 h 132022"/>
                <a:gd name="connsiteX4" fmla="*/ 18742 w 112830"/>
                <a:gd name="connsiteY4" fmla="*/ 1001 h 132022"/>
                <a:gd name="connsiteX5" fmla="*/ 11413 w 112830"/>
                <a:gd name="connsiteY5" fmla="*/ 41 h 132022"/>
                <a:gd name="connsiteX6" fmla="*/ 965 w 112830"/>
                <a:gd name="connsiteY6" fmla="*/ 13295 h 132022"/>
                <a:gd name="connsiteX7" fmla="*/ 41292 w 112830"/>
                <a:gd name="connsiteY7" fmla="*/ 91587 h 132022"/>
                <a:gd name="connsiteX8" fmla="*/ 97057 w 112830"/>
                <a:gd name="connsiteY8" fmla="*/ 132022 h 132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2830" h="132022">
                  <a:moveTo>
                    <a:pt x="112831" y="75957"/>
                  </a:moveTo>
                  <a:cubicBezTo>
                    <a:pt x="98701" y="48513"/>
                    <a:pt x="57126" y="51703"/>
                    <a:pt x="57126" y="51703"/>
                  </a:cubicBezTo>
                  <a:lnTo>
                    <a:pt x="57006" y="51643"/>
                  </a:lnTo>
                  <a:lnTo>
                    <a:pt x="38210" y="15155"/>
                  </a:lnTo>
                  <a:cubicBezTo>
                    <a:pt x="34743" y="8413"/>
                    <a:pt x="27762" y="3196"/>
                    <a:pt x="18742" y="1001"/>
                  </a:cubicBezTo>
                  <a:lnTo>
                    <a:pt x="11413" y="41"/>
                  </a:lnTo>
                  <a:cubicBezTo>
                    <a:pt x="3976" y="-607"/>
                    <a:pt x="-2513" y="6554"/>
                    <a:pt x="965" y="13295"/>
                  </a:cubicBezTo>
                  <a:lnTo>
                    <a:pt x="41292" y="91587"/>
                  </a:lnTo>
                  <a:cubicBezTo>
                    <a:pt x="53131" y="114557"/>
                    <a:pt x="73019" y="129443"/>
                    <a:pt x="97057" y="132022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83" name="Forma livre: Forma 482">
              <a:extLst>
                <a:ext uri="{FF2B5EF4-FFF2-40B4-BE49-F238E27FC236}">
                  <a16:creationId xmlns:a16="http://schemas.microsoft.com/office/drawing/2014/main" id="{5C2156A7-E260-B001-E598-78F1A27C37B2}"/>
                </a:ext>
              </a:extLst>
            </p:cNvPr>
            <p:cNvSpPr/>
            <p:nvPr/>
          </p:nvSpPr>
          <p:spPr>
            <a:xfrm>
              <a:off x="4884540" y="1258483"/>
              <a:ext cx="87191" cy="93645"/>
            </a:xfrm>
            <a:custGeom>
              <a:avLst/>
              <a:gdLst>
                <a:gd name="connsiteX0" fmla="*/ 87192 w 87191"/>
                <a:gd name="connsiteY0" fmla="*/ 93645 h 93645"/>
                <a:gd name="connsiteX1" fmla="*/ 61978 w 87191"/>
                <a:gd name="connsiteY1" fmla="*/ 88379 h 93645"/>
                <a:gd name="connsiteX2" fmla="*/ 0 w 87191"/>
                <a:gd name="connsiteY2" fmla="*/ 42210 h 93645"/>
                <a:gd name="connsiteX3" fmla="*/ 48832 w 87191"/>
                <a:gd name="connsiteY3" fmla="*/ 0 h 936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7191" h="93645">
                  <a:moveTo>
                    <a:pt x="87192" y="93645"/>
                  </a:moveTo>
                  <a:cubicBezTo>
                    <a:pt x="78291" y="92230"/>
                    <a:pt x="69859" y="90454"/>
                    <a:pt x="61978" y="88379"/>
                  </a:cubicBezTo>
                  <a:cubicBezTo>
                    <a:pt x="24638" y="78483"/>
                    <a:pt x="0" y="61498"/>
                    <a:pt x="0" y="42210"/>
                  </a:cubicBezTo>
                  <a:cubicBezTo>
                    <a:pt x="0" y="25297"/>
                    <a:pt x="18952" y="10148"/>
                    <a:pt x="48832" y="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84" name="Forma livre: Forma 483">
              <a:extLst>
                <a:ext uri="{FF2B5EF4-FFF2-40B4-BE49-F238E27FC236}">
                  <a16:creationId xmlns:a16="http://schemas.microsoft.com/office/drawing/2014/main" id="{3E759971-4D90-C590-B275-7FE159C8625B}"/>
                </a:ext>
              </a:extLst>
            </p:cNvPr>
            <p:cNvSpPr/>
            <p:nvPr/>
          </p:nvSpPr>
          <p:spPr>
            <a:xfrm>
              <a:off x="5074493" y="1258483"/>
              <a:ext cx="87191" cy="93645"/>
            </a:xfrm>
            <a:custGeom>
              <a:avLst/>
              <a:gdLst>
                <a:gd name="connsiteX0" fmla="*/ 0 w 87191"/>
                <a:gd name="connsiteY0" fmla="*/ 93645 h 93645"/>
                <a:gd name="connsiteX1" fmla="*/ 25214 w 87191"/>
                <a:gd name="connsiteY1" fmla="*/ 88379 h 93645"/>
                <a:gd name="connsiteX2" fmla="*/ 87192 w 87191"/>
                <a:gd name="connsiteY2" fmla="*/ 42210 h 93645"/>
                <a:gd name="connsiteX3" fmla="*/ 38372 w 87191"/>
                <a:gd name="connsiteY3" fmla="*/ 0 h 936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7191" h="93645">
                  <a:moveTo>
                    <a:pt x="0" y="93645"/>
                  </a:moveTo>
                  <a:cubicBezTo>
                    <a:pt x="8888" y="92230"/>
                    <a:pt x="17333" y="90454"/>
                    <a:pt x="25214" y="88379"/>
                  </a:cubicBezTo>
                  <a:cubicBezTo>
                    <a:pt x="62566" y="78483"/>
                    <a:pt x="87192" y="61498"/>
                    <a:pt x="87192" y="42210"/>
                  </a:cubicBezTo>
                  <a:cubicBezTo>
                    <a:pt x="87192" y="25297"/>
                    <a:pt x="68240" y="10148"/>
                    <a:pt x="38372" y="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85" name="Forma livre: Forma 484">
              <a:extLst>
                <a:ext uri="{FF2B5EF4-FFF2-40B4-BE49-F238E27FC236}">
                  <a16:creationId xmlns:a16="http://schemas.microsoft.com/office/drawing/2014/main" id="{8EB071D6-2545-3BAE-7666-56534AE8EE3B}"/>
                </a:ext>
              </a:extLst>
            </p:cNvPr>
            <p:cNvSpPr/>
            <p:nvPr/>
          </p:nvSpPr>
          <p:spPr>
            <a:xfrm>
              <a:off x="4935638" y="1286300"/>
              <a:ext cx="174959" cy="41118"/>
            </a:xfrm>
            <a:custGeom>
              <a:avLst/>
              <a:gdLst>
                <a:gd name="connsiteX0" fmla="*/ 161057 w 174959"/>
                <a:gd name="connsiteY0" fmla="*/ 0 h 41118"/>
                <a:gd name="connsiteX1" fmla="*/ 174959 w 174959"/>
                <a:gd name="connsiteY1" fmla="*/ 14394 h 41118"/>
                <a:gd name="connsiteX2" fmla="*/ 87888 w 174959"/>
                <a:gd name="connsiteY2" fmla="*/ 40999 h 41118"/>
                <a:gd name="connsiteX3" fmla="*/ 87072 w 174959"/>
                <a:gd name="connsiteY3" fmla="*/ 41119 h 41118"/>
                <a:gd name="connsiteX4" fmla="*/ 0 w 174959"/>
                <a:gd name="connsiteY4" fmla="*/ 14394 h 41118"/>
                <a:gd name="connsiteX5" fmla="*/ 13902 w 174959"/>
                <a:gd name="connsiteY5" fmla="*/ 0 h 411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74959" h="41118">
                  <a:moveTo>
                    <a:pt x="161057" y="0"/>
                  </a:moveTo>
                  <a:cubicBezTo>
                    <a:pt x="169849" y="4150"/>
                    <a:pt x="174959" y="9092"/>
                    <a:pt x="174959" y="14394"/>
                  </a:cubicBezTo>
                  <a:cubicBezTo>
                    <a:pt x="174959" y="29076"/>
                    <a:pt x="136179" y="40999"/>
                    <a:pt x="87888" y="40999"/>
                  </a:cubicBezTo>
                  <a:lnTo>
                    <a:pt x="87072" y="41119"/>
                  </a:lnTo>
                  <a:cubicBezTo>
                    <a:pt x="38792" y="41119"/>
                    <a:pt x="0" y="29076"/>
                    <a:pt x="0" y="14394"/>
                  </a:cubicBezTo>
                  <a:cubicBezTo>
                    <a:pt x="0" y="9092"/>
                    <a:pt x="5110" y="4150"/>
                    <a:pt x="13902" y="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486" name="Gráfico 6">
            <a:extLst>
              <a:ext uri="{FF2B5EF4-FFF2-40B4-BE49-F238E27FC236}">
                <a16:creationId xmlns:a16="http://schemas.microsoft.com/office/drawing/2014/main" id="{D793B655-5443-B4BC-D40E-7848720D7BB5}"/>
              </a:ext>
            </a:extLst>
          </p:cNvPr>
          <p:cNvGrpSpPr/>
          <p:nvPr/>
        </p:nvGrpSpPr>
        <p:grpSpPr>
          <a:xfrm>
            <a:off x="4881013" y="2617806"/>
            <a:ext cx="284198" cy="279531"/>
            <a:chOff x="4881013" y="2617806"/>
            <a:chExt cx="284198" cy="279531"/>
          </a:xfrm>
          <a:noFill/>
        </p:grpSpPr>
        <p:grpSp>
          <p:nvGrpSpPr>
            <p:cNvPr id="487" name="Gráfico 6">
              <a:extLst>
                <a:ext uri="{FF2B5EF4-FFF2-40B4-BE49-F238E27FC236}">
                  <a16:creationId xmlns:a16="http://schemas.microsoft.com/office/drawing/2014/main" id="{C8C6B229-1726-8CA0-AE97-A93E7DA59071}"/>
                </a:ext>
              </a:extLst>
            </p:cNvPr>
            <p:cNvGrpSpPr/>
            <p:nvPr/>
          </p:nvGrpSpPr>
          <p:grpSpPr>
            <a:xfrm>
              <a:off x="4881013" y="2644203"/>
              <a:ext cx="253338" cy="253134"/>
              <a:chOff x="4881013" y="2644203"/>
              <a:chExt cx="253338" cy="253134"/>
            </a:xfrm>
            <a:noFill/>
          </p:grpSpPr>
          <p:sp>
            <p:nvSpPr>
              <p:cNvPr id="488" name="Forma livre: Forma 487">
                <a:extLst>
                  <a:ext uri="{FF2B5EF4-FFF2-40B4-BE49-F238E27FC236}">
                    <a16:creationId xmlns:a16="http://schemas.microsoft.com/office/drawing/2014/main" id="{ED443434-7406-3E40-6EFE-32C7EDC76A46}"/>
                  </a:ext>
                </a:extLst>
              </p:cNvPr>
              <p:cNvSpPr/>
              <p:nvPr/>
            </p:nvSpPr>
            <p:spPr>
              <a:xfrm>
                <a:off x="5061670" y="2847655"/>
                <a:ext cx="52526" cy="35205"/>
              </a:xfrm>
              <a:custGeom>
                <a:avLst/>
                <a:gdLst>
                  <a:gd name="connsiteX0" fmla="*/ 52526 w 52526"/>
                  <a:gd name="connsiteY0" fmla="*/ 35205 h 35205"/>
                  <a:gd name="connsiteX1" fmla="*/ 0 w 52526"/>
                  <a:gd name="connsiteY1" fmla="*/ 0 h 352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2526" h="35205">
                    <a:moveTo>
                      <a:pt x="52526" y="35205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89" name="Forma livre: Forma 488">
                <a:extLst>
                  <a:ext uri="{FF2B5EF4-FFF2-40B4-BE49-F238E27FC236}">
                    <a16:creationId xmlns:a16="http://schemas.microsoft.com/office/drawing/2014/main" id="{D64C48D3-D996-AC84-8BC0-54A7F6362E38}"/>
                  </a:ext>
                </a:extLst>
              </p:cNvPr>
              <p:cNvSpPr/>
              <p:nvPr/>
            </p:nvSpPr>
            <p:spPr>
              <a:xfrm>
                <a:off x="4881013" y="2644203"/>
                <a:ext cx="253338" cy="253134"/>
              </a:xfrm>
              <a:custGeom>
                <a:avLst/>
                <a:gdLst>
                  <a:gd name="connsiteX0" fmla="*/ 49072 w 253338"/>
                  <a:gd name="connsiteY0" fmla="*/ 72814 h 253134"/>
                  <a:gd name="connsiteX1" fmla="*/ 14178 w 253338"/>
                  <a:gd name="connsiteY1" fmla="*/ 20432 h 253134"/>
                  <a:gd name="connsiteX2" fmla="*/ 10472 w 253338"/>
                  <a:gd name="connsiteY2" fmla="*/ 23826 h 253134"/>
                  <a:gd name="connsiteX3" fmla="*/ 276 w 253338"/>
                  <a:gd name="connsiteY3" fmla="*/ 45705 h 253134"/>
                  <a:gd name="connsiteX4" fmla="*/ 79839 w 253338"/>
                  <a:gd name="connsiteY4" fmla="*/ 173452 h 253134"/>
                  <a:gd name="connsiteX5" fmla="*/ 207694 w 253338"/>
                  <a:gd name="connsiteY5" fmla="*/ 252859 h 253134"/>
                  <a:gd name="connsiteX6" fmla="*/ 229561 w 253338"/>
                  <a:gd name="connsiteY6" fmla="*/ 242640 h 253134"/>
                  <a:gd name="connsiteX7" fmla="*/ 233183 w 253338"/>
                  <a:gd name="connsiteY7" fmla="*/ 238645 h 253134"/>
                  <a:gd name="connsiteX8" fmla="*/ 253227 w 253338"/>
                  <a:gd name="connsiteY8" fmla="*/ 209461 h 253134"/>
                  <a:gd name="connsiteX9" fmla="*/ 247014 w 253338"/>
                  <a:gd name="connsiteY9" fmla="*/ 197442 h 253134"/>
                  <a:gd name="connsiteX10" fmla="*/ 201085 w 253338"/>
                  <a:gd name="connsiteY10" fmla="*/ 166855 h 253134"/>
                  <a:gd name="connsiteX11" fmla="*/ 181773 w 253338"/>
                  <a:gd name="connsiteY11" fmla="*/ 165775 h 253134"/>
                  <a:gd name="connsiteX12" fmla="*/ 154076 w 253338"/>
                  <a:gd name="connsiteY12" fmla="*/ 181093 h 253134"/>
                  <a:gd name="connsiteX13" fmla="*/ 110894 w 253338"/>
                  <a:gd name="connsiteY13" fmla="*/ 142349 h 253134"/>
                  <a:gd name="connsiteX14" fmla="*/ 72102 w 253338"/>
                  <a:gd name="connsiteY14" fmla="*/ 99215 h 253134"/>
                  <a:gd name="connsiteX15" fmla="*/ 87396 w 253338"/>
                  <a:gd name="connsiteY15" fmla="*/ 71519 h 253134"/>
                  <a:gd name="connsiteX16" fmla="*/ 86292 w 253338"/>
                  <a:gd name="connsiteY16" fmla="*/ 52195 h 253134"/>
                  <a:gd name="connsiteX17" fmla="*/ 55645 w 253338"/>
                  <a:gd name="connsiteY17" fmla="*/ 6290 h 253134"/>
                  <a:gd name="connsiteX18" fmla="*/ 43626 w 253338"/>
                  <a:gd name="connsiteY18" fmla="*/ 112 h 253134"/>
                  <a:gd name="connsiteX19" fmla="*/ 28165 w 253338"/>
                  <a:gd name="connsiteY19" fmla="*/ 8749 h 2531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253338" h="253134">
                    <a:moveTo>
                      <a:pt x="49072" y="72814"/>
                    </a:moveTo>
                    <a:lnTo>
                      <a:pt x="14178" y="20432"/>
                    </a:lnTo>
                    <a:cubicBezTo>
                      <a:pt x="11887" y="22483"/>
                      <a:pt x="10472" y="23826"/>
                      <a:pt x="10472" y="23826"/>
                    </a:cubicBezTo>
                    <a:cubicBezTo>
                      <a:pt x="-2639" y="35498"/>
                      <a:pt x="276" y="45705"/>
                      <a:pt x="276" y="45705"/>
                    </a:cubicBezTo>
                    <a:cubicBezTo>
                      <a:pt x="9128" y="108103"/>
                      <a:pt x="74813" y="168210"/>
                      <a:pt x="79839" y="173452"/>
                    </a:cubicBezTo>
                    <a:cubicBezTo>
                      <a:pt x="86616" y="179750"/>
                      <a:pt x="145284" y="244091"/>
                      <a:pt x="207694" y="252859"/>
                    </a:cubicBezTo>
                    <a:cubicBezTo>
                      <a:pt x="207694" y="252859"/>
                      <a:pt x="217902" y="255774"/>
                      <a:pt x="229561" y="242640"/>
                    </a:cubicBezTo>
                    <a:lnTo>
                      <a:pt x="233183" y="238645"/>
                    </a:lnTo>
                    <a:cubicBezTo>
                      <a:pt x="237670" y="232720"/>
                      <a:pt x="253083" y="212796"/>
                      <a:pt x="253227" y="209461"/>
                    </a:cubicBezTo>
                    <a:cubicBezTo>
                      <a:pt x="253227" y="209461"/>
                      <a:pt x="254690" y="202912"/>
                      <a:pt x="247014" y="197442"/>
                    </a:cubicBezTo>
                    <a:lnTo>
                      <a:pt x="201085" y="166855"/>
                    </a:lnTo>
                    <a:cubicBezTo>
                      <a:pt x="201085" y="166855"/>
                      <a:pt x="193060" y="159562"/>
                      <a:pt x="181773" y="165775"/>
                    </a:cubicBezTo>
                    <a:lnTo>
                      <a:pt x="154076" y="181093"/>
                    </a:lnTo>
                    <a:cubicBezTo>
                      <a:pt x="154076" y="181093"/>
                      <a:pt x="126296" y="159046"/>
                      <a:pt x="110894" y="142349"/>
                    </a:cubicBezTo>
                    <a:cubicBezTo>
                      <a:pt x="94185" y="126972"/>
                      <a:pt x="72102" y="99215"/>
                      <a:pt x="72102" y="99215"/>
                    </a:cubicBezTo>
                    <a:lnTo>
                      <a:pt x="87396" y="71519"/>
                    </a:lnTo>
                    <a:cubicBezTo>
                      <a:pt x="93585" y="60207"/>
                      <a:pt x="86292" y="52195"/>
                      <a:pt x="86292" y="52195"/>
                    </a:cubicBezTo>
                    <a:lnTo>
                      <a:pt x="55645" y="6290"/>
                    </a:lnTo>
                    <a:cubicBezTo>
                      <a:pt x="50187" y="-1351"/>
                      <a:pt x="43626" y="112"/>
                      <a:pt x="43626" y="112"/>
                    </a:cubicBezTo>
                    <a:cubicBezTo>
                      <a:pt x="40244" y="256"/>
                      <a:pt x="34186" y="4155"/>
                      <a:pt x="28165" y="8749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490" name="Forma livre: Forma 489">
              <a:extLst>
                <a:ext uri="{FF2B5EF4-FFF2-40B4-BE49-F238E27FC236}">
                  <a16:creationId xmlns:a16="http://schemas.microsoft.com/office/drawing/2014/main" id="{C0CB1635-23A7-DC51-DD9A-E5CA1A13CFB4}"/>
                </a:ext>
              </a:extLst>
            </p:cNvPr>
            <p:cNvSpPr/>
            <p:nvPr/>
          </p:nvSpPr>
          <p:spPr>
            <a:xfrm>
              <a:off x="5030627" y="2617806"/>
              <a:ext cx="134584" cy="134596"/>
            </a:xfrm>
            <a:custGeom>
              <a:avLst/>
              <a:gdLst>
                <a:gd name="connsiteX0" fmla="*/ 104848 w 134584"/>
                <a:gd name="connsiteY0" fmla="*/ 0 h 134596"/>
                <a:gd name="connsiteX1" fmla="*/ 34450 w 134584"/>
                <a:gd name="connsiteY1" fmla="*/ 70411 h 134596"/>
                <a:gd name="connsiteX2" fmla="*/ 14034 w 134584"/>
                <a:gd name="connsiteY2" fmla="*/ 50007 h 134596"/>
                <a:gd name="connsiteX3" fmla="*/ 0 w 134584"/>
                <a:gd name="connsiteY3" fmla="*/ 134596 h 134596"/>
                <a:gd name="connsiteX4" fmla="*/ 84589 w 134584"/>
                <a:gd name="connsiteY4" fmla="*/ 120550 h 134596"/>
                <a:gd name="connsiteX5" fmla="*/ 64185 w 134584"/>
                <a:gd name="connsiteY5" fmla="*/ 100146 h 134596"/>
                <a:gd name="connsiteX6" fmla="*/ 134584 w 134584"/>
                <a:gd name="connsiteY6" fmla="*/ 29748 h 1345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34584" h="134596">
                  <a:moveTo>
                    <a:pt x="104848" y="0"/>
                  </a:moveTo>
                  <a:lnTo>
                    <a:pt x="34450" y="70411"/>
                  </a:lnTo>
                  <a:lnTo>
                    <a:pt x="14034" y="50007"/>
                  </a:lnTo>
                  <a:lnTo>
                    <a:pt x="0" y="134596"/>
                  </a:lnTo>
                  <a:lnTo>
                    <a:pt x="84589" y="120550"/>
                  </a:lnTo>
                  <a:lnTo>
                    <a:pt x="64185" y="100146"/>
                  </a:lnTo>
                  <a:lnTo>
                    <a:pt x="134584" y="29748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491" name="Gráfico 6">
            <a:extLst>
              <a:ext uri="{FF2B5EF4-FFF2-40B4-BE49-F238E27FC236}">
                <a16:creationId xmlns:a16="http://schemas.microsoft.com/office/drawing/2014/main" id="{FF65BECF-BE21-DB33-462C-32E31818EF49}"/>
              </a:ext>
            </a:extLst>
          </p:cNvPr>
          <p:cNvGrpSpPr/>
          <p:nvPr/>
        </p:nvGrpSpPr>
        <p:grpSpPr>
          <a:xfrm>
            <a:off x="4895803" y="1545428"/>
            <a:ext cx="254618" cy="307000"/>
            <a:chOff x="4895803" y="1545428"/>
            <a:chExt cx="254618" cy="307000"/>
          </a:xfrm>
        </p:grpSpPr>
        <p:sp>
          <p:nvSpPr>
            <p:cNvPr id="492" name="Forma livre: Forma 491">
              <a:extLst>
                <a:ext uri="{FF2B5EF4-FFF2-40B4-BE49-F238E27FC236}">
                  <a16:creationId xmlns:a16="http://schemas.microsoft.com/office/drawing/2014/main" id="{871F4390-EAB4-3013-5761-3C881AF271FB}"/>
                </a:ext>
              </a:extLst>
            </p:cNvPr>
            <p:cNvSpPr/>
            <p:nvPr/>
          </p:nvSpPr>
          <p:spPr>
            <a:xfrm>
              <a:off x="4895803" y="1545428"/>
              <a:ext cx="254618" cy="307000"/>
            </a:xfrm>
            <a:custGeom>
              <a:avLst/>
              <a:gdLst>
                <a:gd name="connsiteX0" fmla="*/ 101274 w 254618"/>
                <a:gd name="connsiteY0" fmla="*/ 251979 h 307000"/>
                <a:gd name="connsiteX1" fmla="*/ 101274 w 254618"/>
                <a:gd name="connsiteY1" fmla="*/ 307000 h 307000"/>
                <a:gd name="connsiteX2" fmla="*/ 205571 w 254618"/>
                <a:gd name="connsiteY2" fmla="*/ 227737 h 307000"/>
                <a:gd name="connsiteX3" fmla="*/ 254618 w 254618"/>
                <a:gd name="connsiteY3" fmla="*/ 127303 h 307000"/>
                <a:gd name="connsiteX4" fmla="*/ 127303 w 254618"/>
                <a:gd name="connsiteY4" fmla="*/ 0 h 307000"/>
                <a:gd name="connsiteX5" fmla="*/ 0 w 254618"/>
                <a:gd name="connsiteY5" fmla="*/ 127303 h 307000"/>
                <a:gd name="connsiteX6" fmla="*/ 70723 w 254618"/>
                <a:gd name="connsiteY6" fmla="*/ 241436 h 307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54618" h="307000">
                  <a:moveTo>
                    <a:pt x="101274" y="251979"/>
                  </a:moveTo>
                  <a:lnTo>
                    <a:pt x="101274" y="307000"/>
                  </a:lnTo>
                  <a:lnTo>
                    <a:pt x="205571" y="227737"/>
                  </a:lnTo>
                  <a:cubicBezTo>
                    <a:pt x="235426" y="204431"/>
                    <a:pt x="254618" y="168122"/>
                    <a:pt x="254618" y="127303"/>
                  </a:cubicBezTo>
                  <a:cubicBezTo>
                    <a:pt x="254618" y="57000"/>
                    <a:pt x="197630" y="0"/>
                    <a:pt x="127303" y="0"/>
                  </a:cubicBezTo>
                  <a:cubicBezTo>
                    <a:pt x="56976" y="0"/>
                    <a:pt x="0" y="57000"/>
                    <a:pt x="0" y="127303"/>
                  </a:cubicBezTo>
                  <a:cubicBezTo>
                    <a:pt x="0" y="177334"/>
                    <a:pt x="28788" y="220612"/>
                    <a:pt x="70723" y="241436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493" name="Gráfico 6">
              <a:extLst>
                <a:ext uri="{FF2B5EF4-FFF2-40B4-BE49-F238E27FC236}">
                  <a16:creationId xmlns:a16="http://schemas.microsoft.com/office/drawing/2014/main" id="{1976D74B-E698-CB26-028E-6481D6E5B45C}"/>
                </a:ext>
              </a:extLst>
            </p:cNvPr>
            <p:cNvGrpSpPr/>
            <p:nvPr/>
          </p:nvGrpSpPr>
          <p:grpSpPr>
            <a:xfrm>
              <a:off x="4989472" y="1604779"/>
              <a:ext cx="75285" cy="134979"/>
              <a:chOff x="4989472" y="1604779"/>
              <a:chExt cx="75285" cy="134979"/>
            </a:xfrm>
          </p:grpSpPr>
          <p:sp>
            <p:nvSpPr>
              <p:cNvPr id="494" name="Forma livre: Forma 493">
                <a:extLst>
                  <a:ext uri="{FF2B5EF4-FFF2-40B4-BE49-F238E27FC236}">
                    <a16:creationId xmlns:a16="http://schemas.microsoft.com/office/drawing/2014/main" id="{E1DA27B4-8DEE-6793-BCAD-23ABDDFE24F4}"/>
                  </a:ext>
                </a:extLst>
              </p:cNvPr>
              <p:cNvSpPr/>
              <p:nvPr/>
            </p:nvSpPr>
            <p:spPr>
              <a:xfrm>
                <a:off x="5019675" y="1732538"/>
                <a:ext cx="7208" cy="7221"/>
              </a:xfrm>
              <a:custGeom>
                <a:avLst/>
                <a:gdLst>
                  <a:gd name="connsiteX0" fmla="*/ 7209 w 7208"/>
                  <a:gd name="connsiteY0" fmla="*/ 3611 h 7221"/>
                  <a:gd name="connsiteX1" fmla="*/ 3610 w 7208"/>
                  <a:gd name="connsiteY1" fmla="*/ 7221 h 7221"/>
                  <a:gd name="connsiteX2" fmla="*/ 0 w 7208"/>
                  <a:gd name="connsiteY2" fmla="*/ 3611 h 7221"/>
                  <a:gd name="connsiteX3" fmla="*/ 3610 w 7208"/>
                  <a:gd name="connsiteY3" fmla="*/ 0 h 7221"/>
                  <a:gd name="connsiteX4" fmla="*/ 7209 w 7208"/>
                  <a:gd name="connsiteY4" fmla="*/ 3611 h 72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208" h="7221">
                    <a:moveTo>
                      <a:pt x="7209" y="3611"/>
                    </a:moveTo>
                    <a:cubicBezTo>
                      <a:pt x="7209" y="5602"/>
                      <a:pt x="5602" y="7221"/>
                      <a:pt x="3610" y="7221"/>
                    </a:cubicBezTo>
                    <a:cubicBezTo>
                      <a:pt x="1619" y="7221"/>
                      <a:pt x="0" y="5602"/>
                      <a:pt x="0" y="3611"/>
                    </a:cubicBezTo>
                    <a:cubicBezTo>
                      <a:pt x="0" y="1619"/>
                      <a:pt x="1619" y="0"/>
                      <a:pt x="3610" y="0"/>
                    </a:cubicBezTo>
                    <a:cubicBezTo>
                      <a:pt x="5602" y="0"/>
                      <a:pt x="7209" y="1607"/>
                      <a:pt x="7209" y="3611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95" name="Forma livre: Forma 494">
                <a:extLst>
                  <a:ext uri="{FF2B5EF4-FFF2-40B4-BE49-F238E27FC236}">
                    <a16:creationId xmlns:a16="http://schemas.microsoft.com/office/drawing/2014/main" id="{AB2C66CD-4A75-83AC-991E-A07BE8816886}"/>
                  </a:ext>
                </a:extLst>
              </p:cNvPr>
              <p:cNvSpPr/>
              <p:nvPr/>
            </p:nvSpPr>
            <p:spPr>
              <a:xfrm>
                <a:off x="4989472" y="1604779"/>
                <a:ext cx="75285" cy="105580"/>
              </a:xfrm>
              <a:custGeom>
                <a:avLst/>
                <a:gdLst>
                  <a:gd name="connsiteX0" fmla="*/ 0 w 75285"/>
                  <a:gd name="connsiteY0" fmla="*/ 32986 h 105580"/>
                  <a:gd name="connsiteX1" fmla="*/ 37640 w 75285"/>
                  <a:gd name="connsiteY1" fmla="*/ 0 h 105580"/>
                  <a:gd name="connsiteX2" fmla="*/ 75281 w 75285"/>
                  <a:gd name="connsiteY2" fmla="*/ 32986 h 105580"/>
                  <a:gd name="connsiteX3" fmla="*/ 56545 w 75285"/>
                  <a:gd name="connsiteY3" fmla="*/ 61414 h 105580"/>
                  <a:gd name="connsiteX4" fmla="*/ 33370 w 75285"/>
                  <a:gd name="connsiteY4" fmla="*/ 105580 h 1055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5285" h="105580">
                    <a:moveTo>
                      <a:pt x="0" y="32986"/>
                    </a:moveTo>
                    <a:cubicBezTo>
                      <a:pt x="0" y="14766"/>
                      <a:pt x="16841" y="0"/>
                      <a:pt x="37640" y="0"/>
                    </a:cubicBezTo>
                    <a:cubicBezTo>
                      <a:pt x="58440" y="0"/>
                      <a:pt x="75281" y="14766"/>
                      <a:pt x="75281" y="32986"/>
                    </a:cubicBezTo>
                    <a:cubicBezTo>
                      <a:pt x="75281" y="32986"/>
                      <a:pt x="76108" y="48016"/>
                      <a:pt x="56545" y="61414"/>
                    </a:cubicBezTo>
                    <a:cubicBezTo>
                      <a:pt x="43506" y="71550"/>
                      <a:pt x="33370" y="87480"/>
                      <a:pt x="33370" y="105580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496" name="Gráfico 6">
            <a:extLst>
              <a:ext uri="{FF2B5EF4-FFF2-40B4-BE49-F238E27FC236}">
                <a16:creationId xmlns:a16="http://schemas.microsoft.com/office/drawing/2014/main" id="{62F35665-402D-3606-B011-C748B44E1409}"/>
              </a:ext>
            </a:extLst>
          </p:cNvPr>
          <p:cNvGrpSpPr/>
          <p:nvPr/>
        </p:nvGrpSpPr>
        <p:grpSpPr>
          <a:xfrm>
            <a:off x="4868574" y="2080334"/>
            <a:ext cx="309075" cy="295833"/>
            <a:chOff x="4868574" y="2080334"/>
            <a:chExt cx="309075" cy="295833"/>
          </a:xfrm>
        </p:grpSpPr>
        <p:grpSp>
          <p:nvGrpSpPr>
            <p:cNvPr id="497" name="Gráfico 6">
              <a:extLst>
                <a:ext uri="{FF2B5EF4-FFF2-40B4-BE49-F238E27FC236}">
                  <a16:creationId xmlns:a16="http://schemas.microsoft.com/office/drawing/2014/main" id="{12E2ADF3-6DB0-5AF3-7C39-58DE0FED14C0}"/>
                </a:ext>
              </a:extLst>
            </p:cNvPr>
            <p:cNvGrpSpPr/>
            <p:nvPr/>
          </p:nvGrpSpPr>
          <p:grpSpPr>
            <a:xfrm>
              <a:off x="4868574" y="2080334"/>
              <a:ext cx="309075" cy="227017"/>
              <a:chOff x="4868574" y="2080334"/>
              <a:chExt cx="309075" cy="227017"/>
            </a:xfrm>
          </p:grpSpPr>
          <p:sp>
            <p:nvSpPr>
              <p:cNvPr id="498" name="Forma livre: Forma 497">
                <a:extLst>
                  <a:ext uri="{FF2B5EF4-FFF2-40B4-BE49-F238E27FC236}">
                    <a16:creationId xmlns:a16="http://schemas.microsoft.com/office/drawing/2014/main" id="{FCA00CD5-F376-E7F9-4D6F-449D89535B2B}"/>
                  </a:ext>
                </a:extLst>
              </p:cNvPr>
              <p:cNvSpPr/>
              <p:nvPr/>
            </p:nvSpPr>
            <p:spPr>
              <a:xfrm>
                <a:off x="4890225" y="2137262"/>
                <a:ext cx="265785" cy="1199"/>
              </a:xfrm>
              <a:custGeom>
                <a:avLst/>
                <a:gdLst>
                  <a:gd name="connsiteX0" fmla="*/ 0 w 265785"/>
                  <a:gd name="connsiteY0" fmla="*/ 0 h 1199"/>
                  <a:gd name="connsiteX1" fmla="*/ 265786 w 265785"/>
                  <a:gd name="connsiteY1" fmla="*/ 0 h 11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65785" h="1199">
                    <a:moveTo>
                      <a:pt x="0" y="0"/>
                    </a:moveTo>
                    <a:lnTo>
                      <a:pt x="265786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499" name="Gráfico 6">
                <a:extLst>
                  <a:ext uri="{FF2B5EF4-FFF2-40B4-BE49-F238E27FC236}">
                    <a16:creationId xmlns:a16="http://schemas.microsoft.com/office/drawing/2014/main" id="{40A7DE8B-AA58-F83A-9C03-3C9BBC412374}"/>
                  </a:ext>
                </a:extLst>
              </p:cNvPr>
              <p:cNvGrpSpPr/>
              <p:nvPr/>
            </p:nvGrpSpPr>
            <p:grpSpPr>
              <a:xfrm>
                <a:off x="4904763" y="2105475"/>
                <a:ext cx="78975" cy="7484"/>
                <a:chOff x="4904763" y="2105475"/>
                <a:chExt cx="78975" cy="7484"/>
              </a:xfrm>
              <a:solidFill>
                <a:srgbClr val="394553"/>
              </a:solidFill>
            </p:grpSpPr>
            <p:sp>
              <p:nvSpPr>
                <p:cNvPr id="500" name="Forma livre: Forma 499">
                  <a:extLst>
                    <a:ext uri="{FF2B5EF4-FFF2-40B4-BE49-F238E27FC236}">
                      <a16:creationId xmlns:a16="http://schemas.microsoft.com/office/drawing/2014/main" id="{C85B61A4-3280-4159-6192-4701E8A163BA}"/>
                    </a:ext>
                  </a:extLst>
                </p:cNvPr>
                <p:cNvSpPr/>
                <p:nvPr/>
              </p:nvSpPr>
              <p:spPr>
                <a:xfrm>
                  <a:off x="4904763" y="2105475"/>
                  <a:ext cx="7472" cy="7484"/>
                </a:xfrm>
                <a:custGeom>
                  <a:avLst/>
                  <a:gdLst>
                    <a:gd name="connsiteX0" fmla="*/ 7473 w 7472"/>
                    <a:gd name="connsiteY0" fmla="*/ 3742 h 7484"/>
                    <a:gd name="connsiteX1" fmla="*/ 3742 w 7472"/>
                    <a:gd name="connsiteY1" fmla="*/ 7485 h 7484"/>
                    <a:gd name="connsiteX2" fmla="*/ 0 w 7472"/>
                    <a:gd name="connsiteY2" fmla="*/ 3742 h 7484"/>
                    <a:gd name="connsiteX3" fmla="*/ 3742 w 7472"/>
                    <a:gd name="connsiteY3" fmla="*/ 0 h 7484"/>
                    <a:gd name="connsiteX4" fmla="*/ 7473 w 7472"/>
                    <a:gd name="connsiteY4" fmla="*/ 3742 h 748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7472" h="7484">
                      <a:moveTo>
                        <a:pt x="7473" y="3742"/>
                      </a:moveTo>
                      <a:cubicBezTo>
                        <a:pt x="7473" y="5818"/>
                        <a:pt x="5818" y="7485"/>
                        <a:pt x="3742" y="7485"/>
                      </a:cubicBezTo>
                      <a:cubicBezTo>
                        <a:pt x="1667" y="7485"/>
                        <a:pt x="0" y="5818"/>
                        <a:pt x="0" y="3742"/>
                      </a:cubicBezTo>
                      <a:cubicBezTo>
                        <a:pt x="0" y="1667"/>
                        <a:pt x="1679" y="0"/>
                        <a:pt x="3742" y="0"/>
                      </a:cubicBezTo>
                      <a:cubicBezTo>
                        <a:pt x="5806" y="0"/>
                        <a:pt x="7473" y="1667"/>
                        <a:pt x="7473" y="3742"/>
                      </a:cubicBezTo>
                      <a:close/>
                    </a:path>
                  </a:pathLst>
                </a:custGeom>
                <a:solidFill>
                  <a:srgbClr val="394553"/>
                </a:solidFill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501" name="Forma livre: Forma 500">
                  <a:extLst>
                    <a:ext uri="{FF2B5EF4-FFF2-40B4-BE49-F238E27FC236}">
                      <a16:creationId xmlns:a16="http://schemas.microsoft.com/office/drawing/2014/main" id="{D35D11C7-ECCE-361F-1807-D6706BA75EA4}"/>
                    </a:ext>
                  </a:extLst>
                </p:cNvPr>
                <p:cNvSpPr/>
                <p:nvPr/>
              </p:nvSpPr>
              <p:spPr>
                <a:xfrm>
                  <a:off x="4940496" y="2105475"/>
                  <a:ext cx="7484" cy="7484"/>
                </a:xfrm>
                <a:custGeom>
                  <a:avLst/>
                  <a:gdLst>
                    <a:gd name="connsiteX0" fmla="*/ 7485 w 7484"/>
                    <a:gd name="connsiteY0" fmla="*/ 3742 h 7484"/>
                    <a:gd name="connsiteX1" fmla="*/ 3742 w 7484"/>
                    <a:gd name="connsiteY1" fmla="*/ 7485 h 7484"/>
                    <a:gd name="connsiteX2" fmla="*/ 0 w 7484"/>
                    <a:gd name="connsiteY2" fmla="*/ 3742 h 7484"/>
                    <a:gd name="connsiteX3" fmla="*/ 3742 w 7484"/>
                    <a:gd name="connsiteY3" fmla="*/ 0 h 7484"/>
                    <a:gd name="connsiteX4" fmla="*/ 7485 w 7484"/>
                    <a:gd name="connsiteY4" fmla="*/ 3742 h 748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7484" h="7484">
                      <a:moveTo>
                        <a:pt x="7485" y="3742"/>
                      </a:moveTo>
                      <a:cubicBezTo>
                        <a:pt x="7485" y="5809"/>
                        <a:pt x="5809" y="7485"/>
                        <a:pt x="3742" y="7485"/>
                      </a:cubicBezTo>
                      <a:cubicBezTo>
                        <a:pt x="1676" y="7485"/>
                        <a:pt x="0" y="5809"/>
                        <a:pt x="0" y="3742"/>
                      </a:cubicBezTo>
                      <a:cubicBezTo>
                        <a:pt x="0" y="1676"/>
                        <a:pt x="1676" y="0"/>
                        <a:pt x="3742" y="0"/>
                      </a:cubicBezTo>
                      <a:cubicBezTo>
                        <a:pt x="5809" y="0"/>
                        <a:pt x="7485" y="1676"/>
                        <a:pt x="7485" y="3742"/>
                      </a:cubicBezTo>
                      <a:close/>
                    </a:path>
                  </a:pathLst>
                </a:custGeom>
                <a:solidFill>
                  <a:srgbClr val="394553"/>
                </a:solidFill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502" name="Forma livre: Forma 501">
                  <a:extLst>
                    <a:ext uri="{FF2B5EF4-FFF2-40B4-BE49-F238E27FC236}">
                      <a16:creationId xmlns:a16="http://schemas.microsoft.com/office/drawing/2014/main" id="{7A3659EC-D24C-236C-8410-D32CE57C4129}"/>
                    </a:ext>
                  </a:extLst>
                </p:cNvPr>
                <p:cNvSpPr/>
                <p:nvPr/>
              </p:nvSpPr>
              <p:spPr>
                <a:xfrm>
                  <a:off x="4976253" y="2105475"/>
                  <a:ext cx="7484" cy="7484"/>
                </a:xfrm>
                <a:custGeom>
                  <a:avLst/>
                  <a:gdLst>
                    <a:gd name="connsiteX0" fmla="*/ 7485 w 7484"/>
                    <a:gd name="connsiteY0" fmla="*/ 3742 h 7484"/>
                    <a:gd name="connsiteX1" fmla="*/ 3742 w 7484"/>
                    <a:gd name="connsiteY1" fmla="*/ 7485 h 7484"/>
                    <a:gd name="connsiteX2" fmla="*/ 0 w 7484"/>
                    <a:gd name="connsiteY2" fmla="*/ 3742 h 7484"/>
                    <a:gd name="connsiteX3" fmla="*/ 3742 w 7484"/>
                    <a:gd name="connsiteY3" fmla="*/ 0 h 7484"/>
                    <a:gd name="connsiteX4" fmla="*/ 7485 w 7484"/>
                    <a:gd name="connsiteY4" fmla="*/ 3742 h 748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7484" h="7484">
                      <a:moveTo>
                        <a:pt x="7485" y="3742"/>
                      </a:moveTo>
                      <a:cubicBezTo>
                        <a:pt x="7485" y="5809"/>
                        <a:pt x="5809" y="7485"/>
                        <a:pt x="3742" y="7485"/>
                      </a:cubicBezTo>
                      <a:cubicBezTo>
                        <a:pt x="1676" y="7485"/>
                        <a:pt x="0" y="5809"/>
                        <a:pt x="0" y="3742"/>
                      </a:cubicBezTo>
                      <a:cubicBezTo>
                        <a:pt x="0" y="1676"/>
                        <a:pt x="1676" y="0"/>
                        <a:pt x="3742" y="0"/>
                      </a:cubicBezTo>
                      <a:cubicBezTo>
                        <a:pt x="5809" y="0"/>
                        <a:pt x="7485" y="1676"/>
                        <a:pt x="7485" y="3742"/>
                      </a:cubicBezTo>
                      <a:close/>
                    </a:path>
                  </a:pathLst>
                </a:custGeom>
                <a:solidFill>
                  <a:srgbClr val="394553"/>
                </a:solidFill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503" name="Forma livre: Forma 502">
                <a:extLst>
                  <a:ext uri="{FF2B5EF4-FFF2-40B4-BE49-F238E27FC236}">
                    <a16:creationId xmlns:a16="http://schemas.microsoft.com/office/drawing/2014/main" id="{0A636134-E03C-FF63-F0E8-0FB07F8E0FD1}"/>
                  </a:ext>
                </a:extLst>
              </p:cNvPr>
              <p:cNvSpPr/>
              <p:nvPr/>
            </p:nvSpPr>
            <p:spPr>
              <a:xfrm>
                <a:off x="4868574" y="2080334"/>
                <a:ext cx="309075" cy="227017"/>
              </a:xfrm>
              <a:custGeom>
                <a:avLst/>
                <a:gdLst>
                  <a:gd name="connsiteX0" fmla="*/ 161633 w 309075"/>
                  <a:gd name="connsiteY0" fmla="*/ 227018 h 227017"/>
                  <a:gd name="connsiteX1" fmla="*/ 17153 w 309075"/>
                  <a:gd name="connsiteY1" fmla="*/ 227018 h 227017"/>
                  <a:gd name="connsiteX2" fmla="*/ 0 w 309075"/>
                  <a:gd name="connsiteY2" fmla="*/ 209865 h 227017"/>
                  <a:gd name="connsiteX3" fmla="*/ 0 w 309075"/>
                  <a:gd name="connsiteY3" fmla="*/ 17153 h 227017"/>
                  <a:gd name="connsiteX4" fmla="*/ 17153 w 309075"/>
                  <a:gd name="connsiteY4" fmla="*/ 0 h 227017"/>
                  <a:gd name="connsiteX5" fmla="*/ 291923 w 309075"/>
                  <a:gd name="connsiteY5" fmla="*/ 0 h 227017"/>
                  <a:gd name="connsiteX6" fmla="*/ 309076 w 309075"/>
                  <a:gd name="connsiteY6" fmla="*/ 17153 h 227017"/>
                  <a:gd name="connsiteX7" fmla="*/ 309076 w 309075"/>
                  <a:gd name="connsiteY7" fmla="*/ 209865 h 227017"/>
                  <a:gd name="connsiteX8" fmla="*/ 291923 w 309075"/>
                  <a:gd name="connsiteY8" fmla="*/ 227018 h 227017"/>
                  <a:gd name="connsiteX9" fmla="*/ 259272 w 309075"/>
                  <a:gd name="connsiteY9" fmla="*/ 227018 h 2270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309075" h="227017">
                    <a:moveTo>
                      <a:pt x="161633" y="227018"/>
                    </a:moveTo>
                    <a:lnTo>
                      <a:pt x="17153" y="227018"/>
                    </a:lnTo>
                    <a:cubicBezTo>
                      <a:pt x="7713" y="227018"/>
                      <a:pt x="0" y="219293"/>
                      <a:pt x="0" y="209865"/>
                    </a:cubicBezTo>
                    <a:lnTo>
                      <a:pt x="0" y="17153"/>
                    </a:lnTo>
                    <a:cubicBezTo>
                      <a:pt x="0" y="7725"/>
                      <a:pt x="7713" y="0"/>
                      <a:pt x="17153" y="0"/>
                    </a:cubicBezTo>
                    <a:lnTo>
                      <a:pt x="291923" y="0"/>
                    </a:lnTo>
                    <a:cubicBezTo>
                      <a:pt x="301351" y="0"/>
                      <a:pt x="309076" y="7713"/>
                      <a:pt x="309076" y="17153"/>
                    </a:cubicBezTo>
                    <a:lnTo>
                      <a:pt x="309076" y="209865"/>
                    </a:lnTo>
                    <a:cubicBezTo>
                      <a:pt x="309076" y="219293"/>
                      <a:pt x="301363" y="227018"/>
                      <a:pt x="291923" y="227018"/>
                    </a:cubicBezTo>
                    <a:lnTo>
                      <a:pt x="259272" y="227018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504" name="Gráfico 6">
              <a:extLst>
                <a:ext uri="{FF2B5EF4-FFF2-40B4-BE49-F238E27FC236}">
                  <a16:creationId xmlns:a16="http://schemas.microsoft.com/office/drawing/2014/main" id="{C36B4A28-164C-6C91-DE28-69F3B8A1CE3A}"/>
                </a:ext>
              </a:extLst>
            </p:cNvPr>
            <p:cNvGrpSpPr/>
            <p:nvPr/>
          </p:nvGrpSpPr>
          <p:grpSpPr>
            <a:xfrm>
              <a:off x="4904799" y="2167238"/>
              <a:ext cx="224390" cy="112105"/>
              <a:chOff x="4904799" y="2167238"/>
              <a:chExt cx="224390" cy="112105"/>
            </a:xfrm>
            <a:noFill/>
          </p:grpSpPr>
          <p:sp>
            <p:nvSpPr>
              <p:cNvPr id="505" name="Forma livre: Forma 504">
                <a:extLst>
                  <a:ext uri="{FF2B5EF4-FFF2-40B4-BE49-F238E27FC236}">
                    <a16:creationId xmlns:a16="http://schemas.microsoft.com/office/drawing/2014/main" id="{A1B4B55A-DEF7-ED3A-4C00-DFCC339ABB7A}"/>
                  </a:ext>
                </a:extLst>
              </p:cNvPr>
              <p:cNvSpPr/>
              <p:nvPr/>
            </p:nvSpPr>
            <p:spPr>
              <a:xfrm>
                <a:off x="4981051" y="2254081"/>
                <a:ext cx="148138" cy="25261"/>
              </a:xfrm>
              <a:custGeom>
                <a:avLst/>
                <a:gdLst>
                  <a:gd name="connsiteX0" fmla="*/ 48184 w 148138"/>
                  <a:gd name="connsiteY0" fmla="*/ 25261 h 25261"/>
                  <a:gd name="connsiteX1" fmla="*/ 0 w 148138"/>
                  <a:gd name="connsiteY1" fmla="*/ 25261 h 25261"/>
                  <a:gd name="connsiteX2" fmla="*/ 0 w 148138"/>
                  <a:gd name="connsiteY2" fmla="*/ 0 h 25261"/>
                  <a:gd name="connsiteX3" fmla="*/ 148138 w 148138"/>
                  <a:gd name="connsiteY3" fmla="*/ 0 h 25261"/>
                  <a:gd name="connsiteX4" fmla="*/ 148138 w 148138"/>
                  <a:gd name="connsiteY4" fmla="*/ 25261 h 25261"/>
                  <a:gd name="connsiteX5" fmla="*/ 107907 w 148138"/>
                  <a:gd name="connsiteY5" fmla="*/ 25261 h 252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48138" h="25261">
                    <a:moveTo>
                      <a:pt x="48184" y="25261"/>
                    </a:moveTo>
                    <a:lnTo>
                      <a:pt x="0" y="25261"/>
                    </a:lnTo>
                    <a:lnTo>
                      <a:pt x="0" y="0"/>
                    </a:lnTo>
                    <a:lnTo>
                      <a:pt x="148138" y="0"/>
                    </a:lnTo>
                    <a:lnTo>
                      <a:pt x="148138" y="25261"/>
                    </a:lnTo>
                    <a:lnTo>
                      <a:pt x="107907" y="25261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06" name="Forma livre: Forma 505">
                <a:extLst>
                  <a:ext uri="{FF2B5EF4-FFF2-40B4-BE49-F238E27FC236}">
                    <a16:creationId xmlns:a16="http://schemas.microsoft.com/office/drawing/2014/main" id="{A9BA37CE-53DE-6348-ECDF-608AD8DC4D4F}"/>
                  </a:ext>
                </a:extLst>
              </p:cNvPr>
              <p:cNvSpPr/>
              <p:nvPr/>
            </p:nvSpPr>
            <p:spPr>
              <a:xfrm>
                <a:off x="4981051" y="2167238"/>
                <a:ext cx="148138" cy="61090"/>
              </a:xfrm>
              <a:custGeom>
                <a:avLst/>
                <a:gdLst>
                  <a:gd name="connsiteX0" fmla="*/ 0 w 148138"/>
                  <a:gd name="connsiteY0" fmla="*/ 0 h 61090"/>
                  <a:gd name="connsiteX1" fmla="*/ 148138 w 148138"/>
                  <a:gd name="connsiteY1" fmla="*/ 0 h 61090"/>
                  <a:gd name="connsiteX2" fmla="*/ 148138 w 148138"/>
                  <a:gd name="connsiteY2" fmla="*/ 61091 h 61090"/>
                  <a:gd name="connsiteX3" fmla="*/ 0 w 148138"/>
                  <a:gd name="connsiteY3" fmla="*/ 61091 h 610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48138" h="61090">
                    <a:moveTo>
                      <a:pt x="0" y="0"/>
                    </a:moveTo>
                    <a:lnTo>
                      <a:pt x="148138" y="0"/>
                    </a:lnTo>
                    <a:lnTo>
                      <a:pt x="148138" y="61091"/>
                    </a:lnTo>
                    <a:lnTo>
                      <a:pt x="0" y="61091"/>
                    </a:ln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07" name="Forma livre: Forma 506">
                <a:extLst>
                  <a:ext uri="{FF2B5EF4-FFF2-40B4-BE49-F238E27FC236}">
                    <a16:creationId xmlns:a16="http://schemas.microsoft.com/office/drawing/2014/main" id="{3A7FC942-A111-66FF-CE77-C6858CB45D8F}"/>
                  </a:ext>
                </a:extLst>
              </p:cNvPr>
              <p:cNvSpPr/>
              <p:nvPr/>
            </p:nvSpPr>
            <p:spPr>
              <a:xfrm>
                <a:off x="4904799" y="2167249"/>
                <a:ext cx="51506" cy="1199"/>
              </a:xfrm>
              <a:custGeom>
                <a:avLst/>
                <a:gdLst>
                  <a:gd name="connsiteX0" fmla="*/ 51507 w 51506"/>
                  <a:gd name="connsiteY0" fmla="*/ 0 h 1199"/>
                  <a:gd name="connsiteX1" fmla="*/ 0 w 51506"/>
                  <a:gd name="connsiteY1" fmla="*/ 0 h 11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1506" h="1199">
                    <a:moveTo>
                      <a:pt x="51507" y="0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508" name="Forma livre: Forma 507">
              <a:extLst>
                <a:ext uri="{FF2B5EF4-FFF2-40B4-BE49-F238E27FC236}">
                  <a16:creationId xmlns:a16="http://schemas.microsoft.com/office/drawing/2014/main" id="{4056AF45-E512-96DC-D0A0-321C35168241}"/>
                </a:ext>
              </a:extLst>
            </p:cNvPr>
            <p:cNvSpPr/>
            <p:nvPr/>
          </p:nvSpPr>
          <p:spPr>
            <a:xfrm>
              <a:off x="5051546" y="2279667"/>
              <a:ext cx="58967" cy="96499"/>
            </a:xfrm>
            <a:custGeom>
              <a:avLst/>
              <a:gdLst>
                <a:gd name="connsiteX0" fmla="*/ 53762 w 58967"/>
                <a:gd name="connsiteY0" fmla="*/ 36537 h 96499"/>
                <a:gd name="connsiteX1" fmla="*/ 0 w 58967"/>
                <a:gd name="connsiteY1" fmla="*/ 0 h 96499"/>
                <a:gd name="connsiteX2" fmla="*/ 504 w 58967"/>
                <a:gd name="connsiteY2" fmla="*/ 65001 h 96499"/>
                <a:gd name="connsiteX3" fmla="*/ 16793 w 58967"/>
                <a:gd name="connsiteY3" fmla="*/ 56293 h 96499"/>
                <a:gd name="connsiteX4" fmla="*/ 38276 w 58967"/>
                <a:gd name="connsiteY4" fmla="*/ 96500 h 96499"/>
                <a:gd name="connsiteX5" fmla="*/ 58968 w 58967"/>
                <a:gd name="connsiteY5" fmla="*/ 85452 h 96499"/>
                <a:gd name="connsiteX6" fmla="*/ 37484 w 58967"/>
                <a:gd name="connsiteY6" fmla="*/ 45245 h 96499"/>
                <a:gd name="connsiteX7" fmla="*/ 53762 w 58967"/>
                <a:gd name="connsiteY7" fmla="*/ 36537 h 964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8967" h="96499">
                  <a:moveTo>
                    <a:pt x="53762" y="36537"/>
                  </a:moveTo>
                  <a:lnTo>
                    <a:pt x="0" y="0"/>
                  </a:lnTo>
                  <a:lnTo>
                    <a:pt x="504" y="65001"/>
                  </a:lnTo>
                  <a:lnTo>
                    <a:pt x="16793" y="56293"/>
                  </a:lnTo>
                  <a:lnTo>
                    <a:pt x="38276" y="96500"/>
                  </a:lnTo>
                  <a:lnTo>
                    <a:pt x="58968" y="85452"/>
                  </a:lnTo>
                  <a:lnTo>
                    <a:pt x="37484" y="45245"/>
                  </a:lnTo>
                  <a:lnTo>
                    <a:pt x="53762" y="36537"/>
                  </a:ln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509" name="Gráfico 6">
            <a:extLst>
              <a:ext uri="{FF2B5EF4-FFF2-40B4-BE49-F238E27FC236}">
                <a16:creationId xmlns:a16="http://schemas.microsoft.com/office/drawing/2014/main" id="{24E98D7E-F4CD-4C24-F741-4C1EE67D036F}"/>
              </a:ext>
            </a:extLst>
          </p:cNvPr>
          <p:cNvGrpSpPr/>
          <p:nvPr/>
        </p:nvGrpSpPr>
        <p:grpSpPr>
          <a:xfrm>
            <a:off x="4860586" y="3128314"/>
            <a:ext cx="325076" cy="317160"/>
            <a:chOff x="4860586" y="3128314"/>
            <a:chExt cx="325076" cy="317160"/>
          </a:xfrm>
        </p:grpSpPr>
        <p:grpSp>
          <p:nvGrpSpPr>
            <p:cNvPr id="510" name="Gráfico 6">
              <a:extLst>
                <a:ext uri="{FF2B5EF4-FFF2-40B4-BE49-F238E27FC236}">
                  <a16:creationId xmlns:a16="http://schemas.microsoft.com/office/drawing/2014/main" id="{C2E71429-661A-2238-6145-A2A24438DCD3}"/>
                </a:ext>
              </a:extLst>
            </p:cNvPr>
            <p:cNvGrpSpPr/>
            <p:nvPr/>
          </p:nvGrpSpPr>
          <p:grpSpPr>
            <a:xfrm>
              <a:off x="4887646" y="3128314"/>
              <a:ext cx="62482" cy="317160"/>
              <a:chOff x="4887646" y="3128314"/>
              <a:chExt cx="62482" cy="317160"/>
            </a:xfrm>
            <a:noFill/>
          </p:grpSpPr>
          <p:sp>
            <p:nvSpPr>
              <p:cNvPr id="511" name="Forma livre: Forma 510">
                <a:extLst>
                  <a:ext uri="{FF2B5EF4-FFF2-40B4-BE49-F238E27FC236}">
                    <a16:creationId xmlns:a16="http://schemas.microsoft.com/office/drawing/2014/main" id="{45D64273-B63A-A6E6-8CDC-2E3F1D40D77B}"/>
                  </a:ext>
                </a:extLst>
              </p:cNvPr>
              <p:cNvSpPr/>
              <p:nvPr/>
            </p:nvSpPr>
            <p:spPr>
              <a:xfrm>
                <a:off x="4895671" y="3128314"/>
                <a:ext cx="54457" cy="54457"/>
              </a:xfrm>
              <a:custGeom>
                <a:avLst/>
                <a:gdLst>
                  <a:gd name="connsiteX0" fmla="*/ 0 w 54457"/>
                  <a:gd name="connsiteY0" fmla="*/ 27229 h 54457"/>
                  <a:gd name="connsiteX1" fmla="*/ 27229 w 54457"/>
                  <a:gd name="connsiteY1" fmla="*/ 54457 h 54457"/>
                  <a:gd name="connsiteX2" fmla="*/ 54457 w 54457"/>
                  <a:gd name="connsiteY2" fmla="*/ 27229 h 54457"/>
                  <a:gd name="connsiteX3" fmla="*/ 27229 w 54457"/>
                  <a:gd name="connsiteY3" fmla="*/ 0 h 54457"/>
                  <a:gd name="connsiteX4" fmla="*/ 0 w 54457"/>
                  <a:gd name="connsiteY4" fmla="*/ 27229 h 544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4457" h="54457">
                    <a:moveTo>
                      <a:pt x="0" y="27229"/>
                    </a:moveTo>
                    <a:cubicBezTo>
                      <a:pt x="0" y="42270"/>
                      <a:pt x="12199" y="54457"/>
                      <a:pt x="27229" y="54457"/>
                    </a:cubicBezTo>
                    <a:cubicBezTo>
                      <a:pt x="42258" y="54457"/>
                      <a:pt x="54457" y="42270"/>
                      <a:pt x="54457" y="27229"/>
                    </a:cubicBezTo>
                    <a:cubicBezTo>
                      <a:pt x="54457" y="12187"/>
                      <a:pt x="42258" y="0"/>
                      <a:pt x="27229" y="0"/>
                    </a:cubicBezTo>
                    <a:cubicBezTo>
                      <a:pt x="12199" y="0"/>
                      <a:pt x="0" y="12199"/>
                      <a:pt x="0" y="27229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512" name="Gráfico 6">
                <a:extLst>
                  <a:ext uri="{FF2B5EF4-FFF2-40B4-BE49-F238E27FC236}">
                    <a16:creationId xmlns:a16="http://schemas.microsoft.com/office/drawing/2014/main" id="{B7245557-F6C1-1E7D-1CC5-D2BE9CFA96CE}"/>
                  </a:ext>
                </a:extLst>
              </p:cNvPr>
              <p:cNvGrpSpPr/>
              <p:nvPr/>
            </p:nvGrpSpPr>
            <p:grpSpPr>
              <a:xfrm>
                <a:off x="4887646" y="3255125"/>
                <a:ext cx="35253" cy="190348"/>
                <a:chOff x="4887646" y="3255125"/>
                <a:chExt cx="35253" cy="190348"/>
              </a:xfrm>
            </p:grpSpPr>
            <p:sp>
              <p:nvSpPr>
                <p:cNvPr id="513" name="Forma livre: Forma 512">
                  <a:extLst>
                    <a:ext uri="{FF2B5EF4-FFF2-40B4-BE49-F238E27FC236}">
                      <a16:creationId xmlns:a16="http://schemas.microsoft.com/office/drawing/2014/main" id="{9702040B-F3B4-4D9C-EF96-645AA37E5299}"/>
                    </a:ext>
                  </a:extLst>
                </p:cNvPr>
                <p:cNvSpPr/>
                <p:nvPr/>
              </p:nvSpPr>
              <p:spPr>
                <a:xfrm>
                  <a:off x="4887646" y="3255125"/>
                  <a:ext cx="1199" cy="190348"/>
                </a:xfrm>
                <a:custGeom>
                  <a:avLst/>
                  <a:gdLst>
                    <a:gd name="connsiteX0" fmla="*/ 0 w 1199"/>
                    <a:gd name="connsiteY0" fmla="*/ 0 h 190348"/>
                    <a:gd name="connsiteX1" fmla="*/ 0 w 1199"/>
                    <a:gd name="connsiteY1" fmla="*/ 190349 h 1903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199" h="190348">
                      <a:moveTo>
                        <a:pt x="0" y="0"/>
                      </a:moveTo>
                      <a:lnTo>
                        <a:pt x="0" y="190349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514" name="Forma livre: Forma 513">
                  <a:extLst>
                    <a:ext uri="{FF2B5EF4-FFF2-40B4-BE49-F238E27FC236}">
                      <a16:creationId xmlns:a16="http://schemas.microsoft.com/office/drawing/2014/main" id="{20BBC85A-CABD-9F8A-841D-B840E44396BF}"/>
                    </a:ext>
                  </a:extLst>
                </p:cNvPr>
                <p:cNvSpPr/>
                <p:nvPr/>
              </p:nvSpPr>
              <p:spPr>
                <a:xfrm>
                  <a:off x="4922900" y="3338743"/>
                  <a:ext cx="1199" cy="106731"/>
                </a:xfrm>
                <a:custGeom>
                  <a:avLst/>
                  <a:gdLst>
                    <a:gd name="connsiteX0" fmla="*/ 0 w 1199"/>
                    <a:gd name="connsiteY0" fmla="*/ 0 h 106731"/>
                    <a:gd name="connsiteX1" fmla="*/ 0 w 1199"/>
                    <a:gd name="connsiteY1" fmla="*/ 106732 h 10673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199" h="106731">
                      <a:moveTo>
                        <a:pt x="0" y="0"/>
                      </a:moveTo>
                      <a:lnTo>
                        <a:pt x="0" y="106732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sp>
          <p:nvSpPr>
            <p:cNvPr id="515" name="Forma livre: Forma 514">
              <a:extLst>
                <a:ext uri="{FF2B5EF4-FFF2-40B4-BE49-F238E27FC236}">
                  <a16:creationId xmlns:a16="http://schemas.microsoft.com/office/drawing/2014/main" id="{45FC89F7-0621-C8AC-265D-4375E56A56FE}"/>
                </a:ext>
              </a:extLst>
            </p:cNvPr>
            <p:cNvSpPr/>
            <p:nvPr/>
          </p:nvSpPr>
          <p:spPr>
            <a:xfrm>
              <a:off x="4860586" y="3208033"/>
              <a:ext cx="189605" cy="237441"/>
            </a:xfrm>
            <a:custGeom>
              <a:avLst/>
              <a:gdLst>
                <a:gd name="connsiteX0" fmla="*/ 97555 w 189605"/>
                <a:gd name="connsiteY0" fmla="*/ 237441 h 237441"/>
                <a:gd name="connsiteX1" fmla="*/ 97555 w 189605"/>
                <a:gd name="connsiteY1" fmla="*/ 28776 h 237441"/>
                <a:gd name="connsiteX2" fmla="*/ 153452 w 189605"/>
                <a:gd name="connsiteY2" fmla="*/ 28776 h 237441"/>
                <a:gd name="connsiteX3" fmla="*/ 189605 w 189605"/>
                <a:gd name="connsiteY3" fmla="*/ 912 h 237441"/>
                <a:gd name="connsiteX4" fmla="*/ 189605 w 189605"/>
                <a:gd name="connsiteY4" fmla="*/ 0 h 237441"/>
                <a:gd name="connsiteX5" fmla="*/ 36153 w 189605"/>
                <a:gd name="connsiteY5" fmla="*/ 0 h 237441"/>
                <a:gd name="connsiteX6" fmla="*/ 0 w 189605"/>
                <a:gd name="connsiteY6" fmla="*/ 36153 h 237441"/>
                <a:gd name="connsiteX7" fmla="*/ 0 w 189605"/>
                <a:gd name="connsiteY7" fmla="*/ 97568 h 237441"/>
                <a:gd name="connsiteX8" fmla="*/ 27864 w 189605"/>
                <a:gd name="connsiteY8" fmla="*/ 133721 h 2374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89605" h="237441">
                  <a:moveTo>
                    <a:pt x="97555" y="237441"/>
                  </a:moveTo>
                  <a:lnTo>
                    <a:pt x="97555" y="28776"/>
                  </a:lnTo>
                  <a:lnTo>
                    <a:pt x="153452" y="28776"/>
                  </a:lnTo>
                  <a:cubicBezTo>
                    <a:pt x="173328" y="28776"/>
                    <a:pt x="189605" y="20799"/>
                    <a:pt x="189605" y="912"/>
                  </a:cubicBezTo>
                  <a:lnTo>
                    <a:pt x="189605" y="0"/>
                  </a:lnTo>
                  <a:cubicBezTo>
                    <a:pt x="189605" y="0"/>
                    <a:pt x="36153" y="0"/>
                    <a:pt x="36153" y="0"/>
                  </a:cubicBezTo>
                  <a:cubicBezTo>
                    <a:pt x="16265" y="0"/>
                    <a:pt x="0" y="16277"/>
                    <a:pt x="0" y="36153"/>
                  </a:cubicBezTo>
                  <a:lnTo>
                    <a:pt x="0" y="97568"/>
                  </a:lnTo>
                  <a:cubicBezTo>
                    <a:pt x="0" y="117443"/>
                    <a:pt x="7989" y="133721"/>
                    <a:pt x="27864" y="133721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516" name="Gráfico 6">
              <a:extLst>
                <a:ext uri="{FF2B5EF4-FFF2-40B4-BE49-F238E27FC236}">
                  <a16:creationId xmlns:a16="http://schemas.microsoft.com/office/drawing/2014/main" id="{D74D8474-9A72-F093-FB4C-9141FA430D37}"/>
                </a:ext>
              </a:extLst>
            </p:cNvPr>
            <p:cNvGrpSpPr/>
            <p:nvPr/>
          </p:nvGrpSpPr>
          <p:grpSpPr>
            <a:xfrm>
              <a:off x="4993958" y="3253770"/>
              <a:ext cx="191704" cy="191704"/>
              <a:chOff x="4993958" y="3253770"/>
              <a:chExt cx="191704" cy="191704"/>
            </a:xfrm>
          </p:grpSpPr>
          <p:grpSp>
            <p:nvGrpSpPr>
              <p:cNvPr id="517" name="Gráfico 6">
                <a:extLst>
                  <a:ext uri="{FF2B5EF4-FFF2-40B4-BE49-F238E27FC236}">
                    <a16:creationId xmlns:a16="http://schemas.microsoft.com/office/drawing/2014/main" id="{A4F6F9BF-9FBB-4772-2E3C-4042E3783BF6}"/>
                  </a:ext>
                </a:extLst>
              </p:cNvPr>
              <p:cNvGrpSpPr/>
              <p:nvPr/>
            </p:nvGrpSpPr>
            <p:grpSpPr>
              <a:xfrm>
                <a:off x="5059103" y="3290439"/>
                <a:ext cx="64137" cy="108590"/>
                <a:chOff x="5059103" y="3290439"/>
                <a:chExt cx="64137" cy="108590"/>
              </a:xfrm>
            </p:grpSpPr>
            <p:sp>
              <p:nvSpPr>
                <p:cNvPr id="518" name="Forma livre: Forma 517">
                  <a:extLst>
                    <a:ext uri="{FF2B5EF4-FFF2-40B4-BE49-F238E27FC236}">
                      <a16:creationId xmlns:a16="http://schemas.microsoft.com/office/drawing/2014/main" id="{7BB318BD-7AB2-7DEB-085F-39319E5DA3B2}"/>
                    </a:ext>
                  </a:extLst>
                </p:cNvPr>
                <p:cNvSpPr/>
                <p:nvPr/>
              </p:nvSpPr>
              <p:spPr>
                <a:xfrm>
                  <a:off x="5066204" y="3319263"/>
                  <a:ext cx="25201" cy="79035"/>
                </a:xfrm>
                <a:custGeom>
                  <a:avLst/>
                  <a:gdLst>
                    <a:gd name="connsiteX0" fmla="*/ 0 w 25201"/>
                    <a:gd name="connsiteY0" fmla="*/ 0 h 79035"/>
                    <a:gd name="connsiteX1" fmla="*/ 25202 w 25201"/>
                    <a:gd name="connsiteY1" fmla="*/ 0 h 79035"/>
                    <a:gd name="connsiteX2" fmla="*/ 25202 w 25201"/>
                    <a:gd name="connsiteY2" fmla="*/ 79035 h 7903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25201" h="79035">
                      <a:moveTo>
                        <a:pt x="0" y="0"/>
                      </a:moveTo>
                      <a:lnTo>
                        <a:pt x="25202" y="0"/>
                      </a:lnTo>
                      <a:lnTo>
                        <a:pt x="25202" y="79035"/>
                      </a:ln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519" name="Forma livre: Forma 518">
                  <a:extLst>
                    <a:ext uri="{FF2B5EF4-FFF2-40B4-BE49-F238E27FC236}">
                      <a16:creationId xmlns:a16="http://schemas.microsoft.com/office/drawing/2014/main" id="{4F247829-148F-D7BD-21E2-63F95A1B1795}"/>
                    </a:ext>
                  </a:extLst>
                </p:cNvPr>
                <p:cNvSpPr/>
                <p:nvPr/>
              </p:nvSpPr>
              <p:spPr>
                <a:xfrm>
                  <a:off x="5059103" y="3399030"/>
                  <a:ext cx="64137" cy="1199"/>
                </a:xfrm>
                <a:custGeom>
                  <a:avLst/>
                  <a:gdLst>
                    <a:gd name="connsiteX0" fmla="*/ 0 w 64137"/>
                    <a:gd name="connsiteY0" fmla="*/ 0 h 1199"/>
                    <a:gd name="connsiteX1" fmla="*/ 64137 w 64137"/>
                    <a:gd name="connsiteY1" fmla="*/ 0 h 119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64137" h="1199">
                      <a:moveTo>
                        <a:pt x="0" y="0"/>
                      </a:moveTo>
                      <a:lnTo>
                        <a:pt x="64137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520" name="Forma livre: Forma 519">
                  <a:extLst>
                    <a:ext uri="{FF2B5EF4-FFF2-40B4-BE49-F238E27FC236}">
                      <a16:creationId xmlns:a16="http://schemas.microsoft.com/office/drawing/2014/main" id="{77C9E8FC-5ABE-39EB-27C9-A83B20C9BE39}"/>
                    </a:ext>
                  </a:extLst>
                </p:cNvPr>
                <p:cNvSpPr/>
                <p:nvPr/>
              </p:nvSpPr>
              <p:spPr>
                <a:xfrm>
                  <a:off x="5086680" y="3290439"/>
                  <a:ext cx="6117" cy="6117"/>
                </a:xfrm>
                <a:custGeom>
                  <a:avLst/>
                  <a:gdLst>
                    <a:gd name="connsiteX0" fmla="*/ 6117 w 6117"/>
                    <a:gd name="connsiteY0" fmla="*/ 3059 h 6117"/>
                    <a:gd name="connsiteX1" fmla="*/ 3059 w 6117"/>
                    <a:gd name="connsiteY1" fmla="*/ 6117 h 6117"/>
                    <a:gd name="connsiteX2" fmla="*/ 0 w 6117"/>
                    <a:gd name="connsiteY2" fmla="*/ 3059 h 6117"/>
                    <a:gd name="connsiteX3" fmla="*/ 3059 w 6117"/>
                    <a:gd name="connsiteY3" fmla="*/ 0 h 6117"/>
                    <a:gd name="connsiteX4" fmla="*/ 6117 w 6117"/>
                    <a:gd name="connsiteY4" fmla="*/ 3059 h 611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6117" h="6117">
                      <a:moveTo>
                        <a:pt x="6117" y="3059"/>
                      </a:moveTo>
                      <a:cubicBezTo>
                        <a:pt x="6117" y="4750"/>
                        <a:pt x="4750" y="6117"/>
                        <a:pt x="3059" y="6117"/>
                      </a:cubicBezTo>
                      <a:cubicBezTo>
                        <a:pt x="1367" y="6117"/>
                        <a:pt x="0" y="4750"/>
                        <a:pt x="0" y="3059"/>
                      </a:cubicBezTo>
                      <a:cubicBezTo>
                        <a:pt x="0" y="1367"/>
                        <a:pt x="1367" y="0"/>
                        <a:pt x="3059" y="0"/>
                      </a:cubicBezTo>
                      <a:cubicBezTo>
                        <a:pt x="4750" y="0"/>
                        <a:pt x="6117" y="1367"/>
                        <a:pt x="6117" y="3059"/>
                      </a:cubicBezTo>
                      <a:close/>
                    </a:path>
                  </a:pathLst>
                </a:custGeom>
                <a:solidFill>
                  <a:srgbClr val="394553"/>
                </a:solidFill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521" name="Forma livre: Forma 520">
                <a:extLst>
                  <a:ext uri="{FF2B5EF4-FFF2-40B4-BE49-F238E27FC236}">
                    <a16:creationId xmlns:a16="http://schemas.microsoft.com/office/drawing/2014/main" id="{865CB035-D69F-5C90-2EA5-E0E3073548C0}"/>
                  </a:ext>
                </a:extLst>
              </p:cNvPr>
              <p:cNvSpPr/>
              <p:nvPr/>
            </p:nvSpPr>
            <p:spPr>
              <a:xfrm>
                <a:off x="4993958" y="3253770"/>
                <a:ext cx="191704" cy="191704"/>
              </a:xfrm>
              <a:custGeom>
                <a:avLst/>
                <a:gdLst>
                  <a:gd name="connsiteX0" fmla="*/ 168638 w 191704"/>
                  <a:gd name="connsiteY0" fmla="*/ 33478 h 191704"/>
                  <a:gd name="connsiteX1" fmla="*/ 191704 w 191704"/>
                  <a:gd name="connsiteY1" fmla="*/ 95852 h 191704"/>
                  <a:gd name="connsiteX2" fmla="*/ 95852 w 191704"/>
                  <a:gd name="connsiteY2" fmla="*/ 191704 h 191704"/>
                  <a:gd name="connsiteX3" fmla="*/ 0 w 191704"/>
                  <a:gd name="connsiteY3" fmla="*/ 95852 h 191704"/>
                  <a:gd name="connsiteX4" fmla="*/ 95852 w 191704"/>
                  <a:gd name="connsiteY4" fmla="*/ 0 h 191704"/>
                  <a:gd name="connsiteX5" fmla="*/ 139226 w 191704"/>
                  <a:gd name="connsiteY5" fmla="*/ 10352 h 1917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91704" h="191704">
                    <a:moveTo>
                      <a:pt x="168638" y="33478"/>
                    </a:moveTo>
                    <a:cubicBezTo>
                      <a:pt x="183020" y="50247"/>
                      <a:pt x="191704" y="72030"/>
                      <a:pt x="191704" y="95852"/>
                    </a:cubicBezTo>
                    <a:cubicBezTo>
                      <a:pt x="191704" y="148786"/>
                      <a:pt x="148786" y="191704"/>
                      <a:pt x="95852" y="191704"/>
                    </a:cubicBezTo>
                    <a:cubicBezTo>
                      <a:pt x="42918" y="191704"/>
                      <a:pt x="0" y="148786"/>
                      <a:pt x="0" y="95852"/>
                    </a:cubicBezTo>
                    <a:cubicBezTo>
                      <a:pt x="0" y="42918"/>
                      <a:pt x="42918" y="0"/>
                      <a:pt x="95852" y="0"/>
                    </a:cubicBezTo>
                    <a:cubicBezTo>
                      <a:pt x="111458" y="0"/>
                      <a:pt x="126200" y="3731"/>
                      <a:pt x="139226" y="10352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522" name="Gráfico 6">
            <a:extLst>
              <a:ext uri="{FF2B5EF4-FFF2-40B4-BE49-F238E27FC236}">
                <a16:creationId xmlns:a16="http://schemas.microsoft.com/office/drawing/2014/main" id="{DE922DBB-4CF8-B7F8-2F8F-165C562747BD}"/>
              </a:ext>
            </a:extLst>
          </p:cNvPr>
          <p:cNvGrpSpPr/>
          <p:nvPr/>
        </p:nvGrpSpPr>
        <p:grpSpPr>
          <a:xfrm>
            <a:off x="5492543" y="1056103"/>
            <a:ext cx="309075" cy="227005"/>
            <a:chOff x="5492543" y="1056103"/>
            <a:chExt cx="309075" cy="227005"/>
          </a:xfrm>
        </p:grpSpPr>
        <p:grpSp>
          <p:nvGrpSpPr>
            <p:cNvPr id="523" name="Gráfico 6">
              <a:extLst>
                <a:ext uri="{FF2B5EF4-FFF2-40B4-BE49-F238E27FC236}">
                  <a16:creationId xmlns:a16="http://schemas.microsoft.com/office/drawing/2014/main" id="{10749A6E-73F9-D991-C06C-E605403EAF48}"/>
                </a:ext>
              </a:extLst>
            </p:cNvPr>
            <p:cNvGrpSpPr/>
            <p:nvPr/>
          </p:nvGrpSpPr>
          <p:grpSpPr>
            <a:xfrm>
              <a:off x="5492543" y="1056103"/>
              <a:ext cx="309075" cy="227005"/>
              <a:chOff x="5492543" y="1056103"/>
              <a:chExt cx="309075" cy="227005"/>
            </a:xfrm>
          </p:grpSpPr>
          <p:sp>
            <p:nvSpPr>
              <p:cNvPr id="524" name="Forma livre: Forma 523">
                <a:extLst>
                  <a:ext uri="{FF2B5EF4-FFF2-40B4-BE49-F238E27FC236}">
                    <a16:creationId xmlns:a16="http://schemas.microsoft.com/office/drawing/2014/main" id="{7D2D84D5-2BF2-AD94-2537-19354767099E}"/>
                  </a:ext>
                </a:extLst>
              </p:cNvPr>
              <p:cNvSpPr/>
              <p:nvPr/>
            </p:nvSpPr>
            <p:spPr>
              <a:xfrm>
                <a:off x="5514194" y="1113020"/>
                <a:ext cx="265785" cy="1199"/>
              </a:xfrm>
              <a:custGeom>
                <a:avLst/>
                <a:gdLst>
                  <a:gd name="connsiteX0" fmla="*/ 0 w 265785"/>
                  <a:gd name="connsiteY0" fmla="*/ 0 h 1199"/>
                  <a:gd name="connsiteX1" fmla="*/ 265786 w 265785"/>
                  <a:gd name="connsiteY1" fmla="*/ 0 h 11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65785" h="1199">
                    <a:moveTo>
                      <a:pt x="0" y="0"/>
                    </a:moveTo>
                    <a:lnTo>
                      <a:pt x="265786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525" name="Gráfico 6">
                <a:extLst>
                  <a:ext uri="{FF2B5EF4-FFF2-40B4-BE49-F238E27FC236}">
                    <a16:creationId xmlns:a16="http://schemas.microsoft.com/office/drawing/2014/main" id="{724F39A7-0E63-43D6-58A6-35F0F19A6D23}"/>
                  </a:ext>
                </a:extLst>
              </p:cNvPr>
              <p:cNvGrpSpPr/>
              <p:nvPr/>
            </p:nvGrpSpPr>
            <p:grpSpPr>
              <a:xfrm>
                <a:off x="5528732" y="1081233"/>
                <a:ext cx="78975" cy="7484"/>
                <a:chOff x="5528732" y="1081233"/>
                <a:chExt cx="78975" cy="7484"/>
              </a:xfrm>
              <a:solidFill>
                <a:srgbClr val="394553"/>
              </a:solidFill>
            </p:grpSpPr>
            <p:sp>
              <p:nvSpPr>
                <p:cNvPr id="526" name="Forma livre: Forma 525">
                  <a:extLst>
                    <a:ext uri="{FF2B5EF4-FFF2-40B4-BE49-F238E27FC236}">
                      <a16:creationId xmlns:a16="http://schemas.microsoft.com/office/drawing/2014/main" id="{FFC7B226-763F-6CD9-3E13-C5F573BB3022}"/>
                    </a:ext>
                  </a:extLst>
                </p:cNvPr>
                <p:cNvSpPr/>
                <p:nvPr/>
              </p:nvSpPr>
              <p:spPr>
                <a:xfrm>
                  <a:off x="5528732" y="1081233"/>
                  <a:ext cx="7472" cy="7484"/>
                </a:xfrm>
                <a:custGeom>
                  <a:avLst/>
                  <a:gdLst>
                    <a:gd name="connsiteX0" fmla="*/ 7473 w 7472"/>
                    <a:gd name="connsiteY0" fmla="*/ 3742 h 7484"/>
                    <a:gd name="connsiteX1" fmla="*/ 3742 w 7472"/>
                    <a:gd name="connsiteY1" fmla="*/ 7485 h 7484"/>
                    <a:gd name="connsiteX2" fmla="*/ 0 w 7472"/>
                    <a:gd name="connsiteY2" fmla="*/ 3742 h 7484"/>
                    <a:gd name="connsiteX3" fmla="*/ 3742 w 7472"/>
                    <a:gd name="connsiteY3" fmla="*/ 0 h 7484"/>
                    <a:gd name="connsiteX4" fmla="*/ 7473 w 7472"/>
                    <a:gd name="connsiteY4" fmla="*/ 3742 h 748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7472" h="7484">
                      <a:moveTo>
                        <a:pt x="7473" y="3742"/>
                      </a:moveTo>
                      <a:cubicBezTo>
                        <a:pt x="7473" y="5818"/>
                        <a:pt x="5818" y="7485"/>
                        <a:pt x="3742" y="7485"/>
                      </a:cubicBezTo>
                      <a:cubicBezTo>
                        <a:pt x="1667" y="7485"/>
                        <a:pt x="0" y="5818"/>
                        <a:pt x="0" y="3742"/>
                      </a:cubicBezTo>
                      <a:cubicBezTo>
                        <a:pt x="0" y="1667"/>
                        <a:pt x="1679" y="0"/>
                        <a:pt x="3742" y="0"/>
                      </a:cubicBezTo>
                      <a:cubicBezTo>
                        <a:pt x="5806" y="0"/>
                        <a:pt x="7473" y="1667"/>
                        <a:pt x="7473" y="3742"/>
                      </a:cubicBezTo>
                      <a:close/>
                    </a:path>
                  </a:pathLst>
                </a:custGeom>
                <a:solidFill>
                  <a:srgbClr val="394553"/>
                </a:solidFill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527" name="Forma livre: Forma 526">
                  <a:extLst>
                    <a:ext uri="{FF2B5EF4-FFF2-40B4-BE49-F238E27FC236}">
                      <a16:creationId xmlns:a16="http://schemas.microsoft.com/office/drawing/2014/main" id="{301D82EB-AE1A-D53B-3289-6B2ADA0E5926}"/>
                    </a:ext>
                  </a:extLst>
                </p:cNvPr>
                <p:cNvSpPr/>
                <p:nvPr/>
              </p:nvSpPr>
              <p:spPr>
                <a:xfrm>
                  <a:off x="5564477" y="1081233"/>
                  <a:ext cx="7484" cy="7484"/>
                </a:xfrm>
                <a:custGeom>
                  <a:avLst/>
                  <a:gdLst>
                    <a:gd name="connsiteX0" fmla="*/ 7485 w 7484"/>
                    <a:gd name="connsiteY0" fmla="*/ 3742 h 7484"/>
                    <a:gd name="connsiteX1" fmla="*/ 3742 w 7484"/>
                    <a:gd name="connsiteY1" fmla="*/ 7485 h 7484"/>
                    <a:gd name="connsiteX2" fmla="*/ 0 w 7484"/>
                    <a:gd name="connsiteY2" fmla="*/ 3742 h 7484"/>
                    <a:gd name="connsiteX3" fmla="*/ 3742 w 7484"/>
                    <a:gd name="connsiteY3" fmla="*/ 0 h 7484"/>
                    <a:gd name="connsiteX4" fmla="*/ 7485 w 7484"/>
                    <a:gd name="connsiteY4" fmla="*/ 3742 h 748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7484" h="7484">
                      <a:moveTo>
                        <a:pt x="7485" y="3742"/>
                      </a:moveTo>
                      <a:cubicBezTo>
                        <a:pt x="7485" y="5818"/>
                        <a:pt x="5818" y="7485"/>
                        <a:pt x="3742" y="7485"/>
                      </a:cubicBezTo>
                      <a:cubicBezTo>
                        <a:pt x="1667" y="7485"/>
                        <a:pt x="0" y="5818"/>
                        <a:pt x="0" y="3742"/>
                      </a:cubicBezTo>
                      <a:cubicBezTo>
                        <a:pt x="0" y="1667"/>
                        <a:pt x="1679" y="0"/>
                        <a:pt x="3742" y="0"/>
                      </a:cubicBezTo>
                      <a:cubicBezTo>
                        <a:pt x="5806" y="0"/>
                        <a:pt x="7485" y="1667"/>
                        <a:pt x="7485" y="3742"/>
                      </a:cubicBezTo>
                      <a:close/>
                    </a:path>
                  </a:pathLst>
                </a:custGeom>
                <a:solidFill>
                  <a:srgbClr val="394553"/>
                </a:solidFill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528" name="Forma livre: Forma 527">
                  <a:extLst>
                    <a:ext uri="{FF2B5EF4-FFF2-40B4-BE49-F238E27FC236}">
                      <a16:creationId xmlns:a16="http://schemas.microsoft.com/office/drawing/2014/main" id="{BF7CF641-7CB5-B472-6243-871C372BBF9F}"/>
                    </a:ext>
                  </a:extLst>
                </p:cNvPr>
                <p:cNvSpPr/>
                <p:nvPr/>
              </p:nvSpPr>
              <p:spPr>
                <a:xfrm>
                  <a:off x="5600222" y="1081233"/>
                  <a:ext cx="7484" cy="7484"/>
                </a:xfrm>
                <a:custGeom>
                  <a:avLst/>
                  <a:gdLst>
                    <a:gd name="connsiteX0" fmla="*/ 7485 w 7484"/>
                    <a:gd name="connsiteY0" fmla="*/ 3742 h 7484"/>
                    <a:gd name="connsiteX1" fmla="*/ 3742 w 7484"/>
                    <a:gd name="connsiteY1" fmla="*/ 7485 h 7484"/>
                    <a:gd name="connsiteX2" fmla="*/ 0 w 7484"/>
                    <a:gd name="connsiteY2" fmla="*/ 3742 h 7484"/>
                    <a:gd name="connsiteX3" fmla="*/ 3742 w 7484"/>
                    <a:gd name="connsiteY3" fmla="*/ 0 h 7484"/>
                    <a:gd name="connsiteX4" fmla="*/ 7485 w 7484"/>
                    <a:gd name="connsiteY4" fmla="*/ 3742 h 748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7484" h="7484">
                      <a:moveTo>
                        <a:pt x="7485" y="3742"/>
                      </a:moveTo>
                      <a:cubicBezTo>
                        <a:pt x="7485" y="5818"/>
                        <a:pt x="5818" y="7485"/>
                        <a:pt x="3742" y="7485"/>
                      </a:cubicBezTo>
                      <a:cubicBezTo>
                        <a:pt x="1667" y="7485"/>
                        <a:pt x="0" y="5818"/>
                        <a:pt x="0" y="3742"/>
                      </a:cubicBezTo>
                      <a:cubicBezTo>
                        <a:pt x="0" y="1667"/>
                        <a:pt x="1679" y="0"/>
                        <a:pt x="3742" y="0"/>
                      </a:cubicBezTo>
                      <a:cubicBezTo>
                        <a:pt x="5806" y="0"/>
                        <a:pt x="7485" y="1667"/>
                        <a:pt x="7485" y="3742"/>
                      </a:cubicBezTo>
                      <a:close/>
                    </a:path>
                  </a:pathLst>
                </a:custGeom>
                <a:solidFill>
                  <a:srgbClr val="394553"/>
                </a:solidFill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529" name="Forma livre: Forma 528">
                <a:extLst>
                  <a:ext uri="{FF2B5EF4-FFF2-40B4-BE49-F238E27FC236}">
                    <a16:creationId xmlns:a16="http://schemas.microsoft.com/office/drawing/2014/main" id="{F0FEAFB9-E6A7-4DA3-27B2-5BA87A615052}"/>
                  </a:ext>
                </a:extLst>
              </p:cNvPr>
              <p:cNvSpPr/>
              <p:nvPr/>
            </p:nvSpPr>
            <p:spPr>
              <a:xfrm>
                <a:off x="5492543" y="1056103"/>
                <a:ext cx="309075" cy="227005"/>
              </a:xfrm>
              <a:custGeom>
                <a:avLst/>
                <a:gdLst>
                  <a:gd name="connsiteX0" fmla="*/ 309076 w 309075"/>
                  <a:gd name="connsiteY0" fmla="*/ 209853 h 227005"/>
                  <a:gd name="connsiteX1" fmla="*/ 291923 w 309075"/>
                  <a:gd name="connsiteY1" fmla="*/ 227006 h 227005"/>
                  <a:gd name="connsiteX2" fmla="*/ 17153 w 309075"/>
                  <a:gd name="connsiteY2" fmla="*/ 227006 h 227005"/>
                  <a:gd name="connsiteX3" fmla="*/ 0 w 309075"/>
                  <a:gd name="connsiteY3" fmla="*/ 209853 h 227005"/>
                  <a:gd name="connsiteX4" fmla="*/ 0 w 309075"/>
                  <a:gd name="connsiteY4" fmla="*/ 17141 h 227005"/>
                  <a:gd name="connsiteX5" fmla="*/ 17153 w 309075"/>
                  <a:gd name="connsiteY5" fmla="*/ 0 h 227005"/>
                  <a:gd name="connsiteX6" fmla="*/ 291923 w 309075"/>
                  <a:gd name="connsiteY6" fmla="*/ 0 h 227005"/>
                  <a:gd name="connsiteX7" fmla="*/ 309076 w 309075"/>
                  <a:gd name="connsiteY7" fmla="*/ 17141 h 227005"/>
                  <a:gd name="connsiteX8" fmla="*/ 309076 w 309075"/>
                  <a:gd name="connsiteY8" fmla="*/ 209853 h 2270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09075" h="227005">
                    <a:moveTo>
                      <a:pt x="309076" y="209853"/>
                    </a:moveTo>
                    <a:cubicBezTo>
                      <a:pt x="309076" y="219281"/>
                      <a:pt x="301363" y="227006"/>
                      <a:pt x="291923" y="227006"/>
                    </a:cubicBezTo>
                    <a:lnTo>
                      <a:pt x="17153" y="227006"/>
                    </a:lnTo>
                    <a:cubicBezTo>
                      <a:pt x="7713" y="227006"/>
                      <a:pt x="0" y="219281"/>
                      <a:pt x="0" y="209853"/>
                    </a:cubicBezTo>
                    <a:lnTo>
                      <a:pt x="0" y="17141"/>
                    </a:lnTo>
                    <a:cubicBezTo>
                      <a:pt x="0" y="7713"/>
                      <a:pt x="7713" y="0"/>
                      <a:pt x="17153" y="0"/>
                    </a:cubicBezTo>
                    <a:lnTo>
                      <a:pt x="291923" y="0"/>
                    </a:lnTo>
                    <a:cubicBezTo>
                      <a:pt x="301363" y="0"/>
                      <a:pt x="309076" y="7713"/>
                      <a:pt x="309076" y="17141"/>
                    </a:cubicBezTo>
                    <a:lnTo>
                      <a:pt x="309076" y="209853"/>
                    </a:ln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530" name="Gráfico 6">
              <a:extLst>
                <a:ext uri="{FF2B5EF4-FFF2-40B4-BE49-F238E27FC236}">
                  <a16:creationId xmlns:a16="http://schemas.microsoft.com/office/drawing/2014/main" id="{9ADD1065-BBE9-4B0C-B380-821A08DA585A}"/>
                </a:ext>
              </a:extLst>
            </p:cNvPr>
            <p:cNvGrpSpPr/>
            <p:nvPr/>
          </p:nvGrpSpPr>
          <p:grpSpPr>
            <a:xfrm>
              <a:off x="5546029" y="1158025"/>
              <a:ext cx="202116" cy="87083"/>
              <a:chOff x="5546029" y="1158025"/>
              <a:chExt cx="202116" cy="87083"/>
            </a:xfrm>
            <a:noFill/>
          </p:grpSpPr>
          <p:grpSp>
            <p:nvGrpSpPr>
              <p:cNvPr id="531" name="Gráfico 6">
                <a:extLst>
                  <a:ext uri="{FF2B5EF4-FFF2-40B4-BE49-F238E27FC236}">
                    <a16:creationId xmlns:a16="http://schemas.microsoft.com/office/drawing/2014/main" id="{819FBFFF-D372-670C-B199-6EFA7994F736}"/>
                  </a:ext>
                </a:extLst>
              </p:cNvPr>
              <p:cNvGrpSpPr/>
              <p:nvPr/>
            </p:nvGrpSpPr>
            <p:grpSpPr>
              <a:xfrm>
                <a:off x="5684355" y="1158025"/>
                <a:ext cx="63789" cy="87083"/>
                <a:chOff x="5684355" y="1158025"/>
                <a:chExt cx="63789" cy="87083"/>
              </a:xfrm>
              <a:noFill/>
            </p:grpSpPr>
            <p:sp>
              <p:nvSpPr>
                <p:cNvPr id="532" name="Forma livre: Forma 531">
                  <a:extLst>
                    <a:ext uri="{FF2B5EF4-FFF2-40B4-BE49-F238E27FC236}">
                      <a16:creationId xmlns:a16="http://schemas.microsoft.com/office/drawing/2014/main" id="{B1E6CCEC-8C49-CE79-53BA-E136702CF7D6}"/>
                    </a:ext>
                  </a:extLst>
                </p:cNvPr>
                <p:cNvSpPr/>
                <p:nvPr/>
              </p:nvSpPr>
              <p:spPr>
                <a:xfrm>
                  <a:off x="5684355" y="1158025"/>
                  <a:ext cx="63789" cy="77091"/>
                </a:xfrm>
                <a:custGeom>
                  <a:avLst/>
                  <a:gdLst>
                    <a:gd name="connsiteX0" fmla="*/ 63789 w 63789"/>
                    <a:gd name="connsiteY0" fmla="*/ 38552 h 77091"/>
                    <a:gd name="connsiteX1" fmla="*/ 31895 w 63789"/>
                    <a:gd name="connsiteY1" fmla="*/ 77092 h 77091"/>
                    <a:gd name="connsiteX2" fmla="*/ 0 w 63789"/>
                    <a:gd name="connsiteY2" fmla="*/ 38552 h 77091"/>
                    <a:gd name="connsiteX3" fmla="*/ 31895 w 63789"/>
                    <a:gd name="connsiteY3" fmla="*/ 0 h 77091"/>
                    <a:gd name="connsiteX4" fmla="*/ 63789 w 63789"/>
                    <a:gd name="connsiteY4" fmla="*/ 38552 h 7709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63789" h="77091">
                      <a:moveTo>
                        <a:pt x="63789" y="38552"/>
                      </a:moveTo>
                      <a:cubicBezTo>
                        <a:pt x="63789" y="59843"/>
                        <a:pt x="49503" y="77092"/>
                        <a:pt x="31895" y="77092"/>
                      </a:cubicBezTo>
                      <a:cubicBezTo>
                        <a:pt x="14286" y="77092"/>
                        <a:pt x="0" y="59843"/>
                        <a:pt x="0" y="38552"/>
                      </a:cubicBezTo>
                      <a:cubicBezTo>
                        <a:pt x="0" y="17261"/>
                        <a:pt x="14286" y="0"/>
                        <a:pt x="31895" y="0"/>
                      </a:cubicBezTo>
                      <a:cubicBezTo>
                        <a:pt x="49503" y="0"/>
                        <a:pt x="63789" y="17261"/>
                        <a:pt x="63789" y="38552"/>
                      </a:cubicBezTo>
                      <a:close/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533" name="Forma livre: Forma 532">
                  <a:extLst>
                    <a:ext uri="{FF2B5EF4-FFF2-40B4-BE49-F238E27FC236}">
                      <a16:creationId xmlns:a16="http://schemas.microsoft.com/office/drawing/2014/main" id="{25D86E9F-5641-63CD-C206-B867CDF0B7C2}"/>
                    </a:ext>
                  </a:extLst>
                </p:cNvPr>
                <p:cNvSpPr/>
                <p:nvPr/>
              </p:nvSpPr>
              <p:spPr>
                <a:xfrm>
                  <a:off x="5732359" y="1231818"/>
                  <a:ext cx="10639" cy="13290"/>
                </a:xfrm>
                <a:custGeom>
                  <a:avLst/>
                  <a:gdLst>
                    <a:gd name="connsiteX0" fmla="*/ 0 w 10639"/>
                    <a:gd name="connsiteY0" fmla="*/ 0 h 13290"/>
                    <a:gd name="connsiteX1" fmla="*/ 10640 w 10639"/>
                    <a:gd name="connsiteY1" fmla="*/ 13290 h 132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0639" h="13290">
                      <a:moveTo>
                        <a:pt x="0" y="0"/>
                      </a:moveTo>
                      <a:lnTo>
                        <a:pt x="10640" y="1329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534" name="Gráfico 6">
                <a:extLst>
                  <a:ext uri="{FF2B5EF4-FFF2-40B4-BE49-F238E27FC236}">
                    <a16:creationId xmlns:a16="http://schemas.microsoft.com/office/drawing/2014/main" id="{7C1093E6-746B-20E0-F38D-4F51C2A27CD7}"/>
                  </a:ext>
                </a:extLst>
              </p:cNvPr>
              <p:cNvGrpSpPr/>
              <p:nvPr/>
            </p:nvGrpSpPr>
            <p:grpSpPr>
              <a:xfrm>
                <a:off x="5600126" y="1159081"/>
                <a:ext cx="65084" cy="75124"/>
                <a:chOff x="5600126" y="1159081"/>
                <a:chExt cx="65084" cy="75124"/>
              </a:xfrm>
              <a:noFill/>
            </p:grpSpPr>
            <p:sp>
              <p:nvSpPr>
                <p:cNvPr id="535" name="Forma livre: Forma 534">
                  <a:extLst>
                    <a:ext uri="{FF2B5EF4-FFF2-40B4-BE49-F238E27FC236}">
                      <a16:creationId xmlns:a16="http://schemas.microsoft.com/office/drawing/2014/main" id="{18D55C19-B2BB-3110-5240-E2966C614565}"/>
                    </a:ext>
                  </a:extLst>
                </p:cNvPr>
                <p:cNvSpPr/>
                <p:nvPr/>
              </p:nvSpPr>
              <p:spPr>
                <a:xfrm>
                  <a:off x="5632657" y="1159081"/>
                  <a:ext cx="11" cy="1199"/>
                </a:xfrm>
                <a:custGeom>
                  <a:avLst/>
                  <a:gdLst>
                    <a:gd name="connsiteX0" fmla="*/ 0 w 11"/>
                    <a:gd name="connsiteY0" fmla="*/ 0 h 1199"/>
                    <a:gd name="connsiteX1" fmla="*/ 12 w 11"/>
                    <a:gd name="connsiteY1" fmla="*/ 0 h 1199"/>
                    <a:gd name="connsiteX2" fmla="*/ 12 w 11"/>
                    <a:gd name="connsiteY2" fmla="*/ 0 h 1199"/>
                    <a:gd name="connsiteX3" fmla="*/ 0 w 11"/>
                    <a:gd name="connsiteY3" fmla="*/ 0 h 119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1" h="1199">
                      <a:moveTo>
                        <a:pt x="0" y="0"/>
                      </a:moveTo>
                      <a:lnTo>
                        <a:pt x="12" y="0"/>
                      </a:lnTo>
                      <a:lnTo>
                        <a:pt x="12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536" name="Forma livre: Forma 535">
                  <a:extLst>
                    <a:ext uri="{FF2B5EF4-FFF2-40B4-BE49-F238E27FC236}">
                      <a16:creationId xmlns:a16="http://schemas.microsoft.com/office/drawing/2014/main" id="{62CDA4EE-123B-D21F-8CD6-E53AF9D1FECA}"/>
                    </a:ext>
                  </a:extLst>
                </p:cNvPr>
                <p:cNvSpPr/>
                <p:nvPr/>
              </p:nvSpPr>
              <p:spPr>
                <a:xfrm>
                  <a:off x="5600126" y="1159081"/>
                  <a:ext cx="65084" cy="75124"/>
                </a:xfrm>
                <a:custGeom>
                  <a:avLst/>
                  <a:gdLst>
                    <a:gd name="connsiteX0" fmla="*/ 65085 w 65084"/>
                    <a:gd name="connsiteY0" fmla="*/ 75125 h 75124"/>
                    <a:gd name="connsiteX1" fmla="*/ 32542 w 65084"/>
                    <a:gd name="connsiteY1" fmla="*/ 0 h 75124"/>
                    <a:gd name="connsiteX2" fmla="*/ 0 w 65084"/>
                    <a:gd name="connsiteY2" fmla="*/ 75125 h 7512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65084" h="75124">
                      <a:moveTo>
                        <a:pt x="65085" y="75125"/>
                      </a:moveTo>
                      <a:lnTo>
                        <a:pt x="32542" y="0"/>
                      </a:lnTo>
                      <a:lnTo>
                        <a:pt x="0" y="75125"/>
                      </a:ln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537" name="Forma livre: Forma 536">
                  <a:extLst>
                    <a:ext uri="{FF2B5EF4-FFF2-40B4-BE49-F238E27FC236}">
                      <a16:creationId xmlns:a16="http://schemas.microsoft.com/office/drawing/2014/main" id="{D2D5B45A-E3CE-253D-22AE-5424F9E22FDA}"/>
                    </a:ext>
                  </a:extLst>
                </p:cNvPr>
                <p:cNvSpPr/>
                <p:nvPr/>
              </p:nvSpPr>
              <p:spPr>
                <a:xfrm>
                  <a:off x="5613177" y="1207157"/>
                  <a:ext cx="38971" cy="1199"/>
                </a:xfrm>
                <a:custGeom>
                  <a:avLst/>
                  <a:gdLst>
                    <a:gd name="connsiteX0" fmla="*/ 0 w 38971"/>
                    <a:gd name="connsiteY0" fmla="*/ 0 h 1199"/>
                    <a:gd name="connsiteX1" fmla="*/ 38972 w 38971"/>
                    <a:gd name="connsiteY1" fmla="*/ 0 h 119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38971" h="1199">
                      <a:moveTo>
                        <a:pt x="0" y="0"/>
                      </a:moveTo>
                      <a:lnTo>
                        <a:pt x="38972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538" name="Gráfico 6">
                <a:extLst>
                  <a:ext uri="{FF2B5EF4-FFF2-40B4-BE49-F238E27FC236}">
                    <a16:creationId xmlns:a16="http://schemas.microsoft.com/office/drawing/2014/main" id="{90C10F35-880B-1001-438D-8C1BFC1AA9F7}"/>
                  </a:ext>
                </a:extLst>
              </p:cNvPr>
              <p:cNvGrpSpPr/>
              <p:nvPr/>
            </p:nvGrpSpPr>
            <p:grpSpPr>
              <a:xfrm>
                <a:off x="5546029" y="1159081"/>
                <a:ext cx="42258" cy="74932"/>
                <a:chOff x="5546029" y="1159081"/>
                <a:chExt cx="42258" cy="74932"/>
              </a:xfrm>
              <a:noFill/>
            </p:grpSpPr>
            <p:sp>
              <p:nvSpPr>
                <p:cNvPr id="539" name="Forma livre: Forma 538">
                  <a:extLst>
                    <a:ext uri="{FF2B5EF4-FFF2-40B4-BE49-F238E27FC236}">
                      <a16:creationId xmlns:a16="http://schemas.microsoft.com/office/drawing/2014/main" id="{5ED7D2F6-8768-70C8-AC47-802CCFD4B835}"/>
                    </a:ext>
                  </a:extLst>
                </p:cNvPr>
                <p:cNvSpPr/>
                <p:nvPr/>
              </p:nvSpPr>
              <p:spPr>
                <a:xfrm>
                  <a:off x="5546029" y="1159081"/>
                  <a:ext cx="42258" cy="74932"/>
                </a:xfrm>
                <a:custGeom>
                  <a:avLst/>
                  <a:gdLst>
                    <a:gd name="connsiteX0" fmla="*/ 0 w 42258"/>
                    <a:gd name="connsiteY0" fmla="*/ 74933 h 74932"/>
                    <a:gd name="connsiteX1" fmla="*/ 0 w 42258"/>
                    <a:gd name="connsiteY1" fmla="*/ 0 h 74932"/>
                    <a:gd name="connsiteX2" fmla="*/ 42258 w 42258"/>
                    <a:gd name="connsiteY2" fmla="*/ 0 h 7493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42258" h="74932">
                      <a:moveTo>
                        <a:pt x="0" y="74933"/>
                      </a:moveTo>
                      <a:lnTo>
                        <a:pt x="0" y="0"/>
                      </a:lnTo>
                      <a:lnTo>
                        <a:pt x="42258" y="0"/>
                      </a:ln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540" name="Forma livre: Forma 539">
                  <a:extLst>
                    <a:ext uri="{FF2B5EF4-FFF2-40B4-BE49-F238E27FC236}">
                      <a16:creationId xmlns:a16="http://schemas.microsoft.com/office/drawing/2014/main" id="{19C2340C-412D-BFF3-8C4E-EBE6BD9CC064}"/>
                    </a:ext>
                  </a:extLst>
                </p:cNvPr>
                <p:cNvSpPr/>
                <p:nvPr/>
              </p:nvSpPr>
              <p:spPr>
                <a:xfrm>
                  <a:off x="5547132" y="1188420"/>
                  <a:ext cx="29003" cy="1199"/>
                </a:xfrm>
                <a:custGeom>
                  <a:avLst/>
                  <a:gdLst>
                    <a:gd name="connsiteX0" fmla="*/ 0 w 29003"/>
                    <a:gd name="connsiteY0" fmla="*/ 0 h 1199"/>
                    <a:gd name="connsiteX1" fmla="*/ 29004 w 29003"/>
                    <a:gd name="connsiteY1" fmla="*/ 0 h 119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9003" h="1199">
                      <a:moveTo>
                        <a:pt x="0" y="0"/>
                      </a:moveTo>
                      <a:lnTo>
                        <a:pt x="29004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</p:grpSp>
      <p:grpSp>
        <p:nvGrpSpPr>
          <p:cNvPr id="541" name="Gráfico 6">
            <a:extLst>
              <a:ext uri="{FF2B5EF4-FFF2-40B4-BE49-F238E27FC236}">
                <a16:creationId xmlns:a16="http://schemas.microsoft.com/office/drawing/2014/main" id="{B53B3BD7-0293-701B-E835-D8D675F4BE1E}"/>
              </a:ext>
            </a:extLst>
          </p:cNvPr>
          <p:cNvGrpSpPr/>
          <p:nvPr/>
        </p:nvGrpSpPr>
        <p:grpSpPr>
          <a:xfrm>
            <a:off x="5531311" y="2608282"/>
            <a:ext cx="231539" cy="298579"/>
            <a:chOff x="5531311" y="2608282"/>
            <a:chExt cx="231539" cy="298579"/>
          </a:xfrm>
        </p:grpSpPr>
        <p:sp>
          <p:nvSpPr>
            <p:cNvPr id="542" name="Forma livre: Forma 541">
              <a:extLst>
                <a:ext uri="{FF2B5EF4-FFF2-40B4-BE49-F238E27FC236}">
                  <a16:creationId xmlns:a16="http://schemas.microsoft.com/office/drawing/2014/main" id="{0CB94479-B007-DFCD-6370-AA0DBE95EB53}"/>
                </a:ext>
              </a:extLst>
            </p:cNvPr>
            <p:cNvSpPr/>
            <p:nvPr/>
          </p:nvSpPr>
          <p:spPr>
            <a:xfrm>
              <a:off x="5531311" y="2608282"/>
              <a:ext cx="165111" cy="298579"/>
            </a:xfrm>
            <a:custGeom>
              <a:avLst/>
              <a:gdLst>
                <a:gd name="connsiteX0" fmla="*/ 165111 w 165111"/>
                <a:gd name="connsiteY0" fmla="*/ 204947 h 298579"/>
                <a:gd name="connsiteX1" fmla="*/ 165111 w 165111"/>
                <a:gd name="connsiteY1" fmla="*/ 284630 h 298579"/>
                <a:gd name="connsiteX2" fmla="*/ 151593 w 165111"/>
                <a:gd name="connsiteY2" fmla="*/ 298580 h 298579"/>
                <a:gd name="connsiteX3" fmla="*/ 13518 w 165111"/>
                <a:gd name="connsiteY3" fmla="*/ 298580 h 298579"/>
                <a:gd name="connsiteX4" fmla="*/ 0 w 165111"/>
                <a:gd name="connsiteY4" fmla="*/ 284630 h 298579"/>
                <a:gd name="connsiteX5" fmla="*/ 0 w 165111"/>
                <a:gd name="connsiteY5" fmla="*/ 13506 h 298579"/>
                <a:gd name="connsiteX6" fmla="*/ 13518 w 165111"/>
                <a:gd name="connsiteY6" fmla="*/ 0 h 298579"/>
                <a:gd name="connsiteX7" fmla="*/ 151593 w 165111"/>
                <a:gd name="connsiteY7" fmla="*/ 0 h 298579"/>
                <a:gd name="connsiteX8" fmla="*/ 165111 w 165111"/>
                <a:gd name="connsiteY8" fmla="*/ 13506 h 298579"/>
                <a:gd name="connsiteX9" fmla="*/ 165111 w 165111"/>
                <a:gd name="connsiteY9" fmla="*/ 24302 h 2985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65111" h="298579">
                  <a:moveTo>
                    <a:pt x="165111" y="204947"/>
                  </a:moveTo>
                  <a:lnTo>
                    <a:pt x="165111" y="284630"/>
                  </a:lnTo>
                  <a:cubicBezTo>
                    <a:pt x="165111" y="292067"/>
                    <a:pt x="159030" y="298580"/>
                    <a:pt x="151593" y="298580"/>
                  </a:cubicBezTo>
                  <a:lnTo>
                    <a:pt x="13518" y="298580"/>
                  </a:lnTo>
                  <a:cubicBezTo>
                    <a:pt x="6082" y="298580"/>
                    <a:pt x="0" y="292067"/>
                    <a:pt x="0" y="284630"/>
                  </a:cubicBezTo>
                  <a:lnTo>
                    <a:pt x="0" y="13506"/>
                  </a:lnTo>
                  <a:cubicBezTo>
                    <a:pt x="0" y="6070"/>
                    <a:pt x="6082" y="0"/>
                    <a:pt x="13518" y="0"/>
                  </a:cubicBezTo>
                  <a:lnTo>
                    <a:pt x="151593" y="0"/>
                  </a:lnTo>
                  <a:cubicBezTo>
                    <a:pt x="159030" y="0"/>
                    <a:pt x="165111" y="6070"/>
                    <a:pt x="165111" y="13506"/>
                  </a:cubicBezTo>
                  <a:lnTo>
                    <a:pt x="165111" y="24302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543" name="Forma livre: Forma 542">
              <a:extLst>
                <a:ext uri="{FF2B5EF4-FFF2-40B4-BE49-F238E27FC236}">
                  <a16:creationId xmlns:a16="http://schemas.microsoft.com/office/drawing/2014/main" id="{7F916C60-22B4-1D2B-E879-E58FD435A28B}"/>
                </a:ext>
              </a:extLst>
            </p:cNvPr>
            <p:cNvSpPr/>
            <p:nvPr/>
          </p:nvSpPr>
          <p:spPr>
            <a:xfrm>
              <a:off x="5552854" y="2847943"/>
              <a:ext cx="122037" cy="1199"/>
            </a:xfrm>
            <a:custGeom>
              <a:avLst/>
              <a:gdLst>
                <a:gd name="connsiteX0" fmla="*/ 0 w 122037"/>
                <a:gd name="connsiteY0" fmla="*/ 0 h 1199"/>
                <a:gd name="connsiteX1" fmla="*/ 122037 w 122037"/>
                <a:gd name="connsiteY1" fmla="*/ 0 h 11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2037" h="1199">
                  <a:moveTo>
                    <a:pt x="0" y="0"/>
                  </a:moveTo>
                  <a:lnTo>
                    <a:pt x="122037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544" name="Forma livre: Forma 543">
              <a:extLst>
                <a:ext uri="{FF2B5EF4-FFF2-40B4-BE49-F238E27FC236}">
                  <a16:creationId xmlns:a16="http://schemas.microsoft.com/office/drawing/2014/main" id="{83C7DD2D-CDAF-1DCA-8C88-39EAF6FACDDB}"/>
                </a:ext>
              </a:extLst>
            </p:cNvPr>
            <p:cNvSpPr/>
            <p:nvPr/>
          </p:nvSpPr>
          <p:spPr>
            <a:xfrm>
              <a:off x="5602645" y="2876563"/>
              <a:ext cx="22454" cy="1199"/>
            </a:xfrm>
            <a:custGeom>
              <a:avLst/>
              <a:gdLst>
                <a:gd name="connsiteX0" fmla="*/ 0 w 22454"/>
                <a:gd name="connsiteY0" fmla="*/ 0 h 1199"/>
                <a:gd name="connsiteX1" fmla="*/ 22455 w 22454"/>
                <a:gd name="connsiteY1" fmla="*/ 0 h 11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2454" h="1199">
                  <a:moveTo>
                    <a:pt x="0" y="0"/>
                  </a:moveTo>
                  <a:lnTo>
                    <a:pt x="22455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545" name="Forma livre: Forma 544">
              <a:extLst>
                <a:ext uri="{FF2B5EF4-FFF2-40B4-BE49-F238E27FC236}">
                  <a16:creationId xmlns:a16="http://schemas.microsoft.com/office/drawing/2014/main" id="{321DB6B7-6ABC-473D-E0D8-5D65AE04FDBD}"/>
                </a:ext>
              </a:extLst>
            </p:cNvPr>
            <p:cNvSpPr/>
            <p:nvPr/>
          </p:nvSpPr>
          <p:spPr>
            <a:xfrm>
              <a:off x="5622089" y="2652940"/>
              <a:ext cx="140761" cy="165675"/>
            </a:xfrm>
            <a:custGeom>
              <a:avLst/>
              <a:gdLst>
                <a:gd name="connsiteX0" fmla="*/ 0 w 140761"/>
                <a:gd name="connsiteY0" fmla="*/ 134488 h 165675"/>
                <a:gd name="connsiteX1" fmla="*/ 31703 w 140761"/>
                <a:gd name="connsiteY1" fmla="*/ 134488 h 165675"/>
                <a:gd name="connsiteX2" fmla="*/ 23618 w 140761"/>
                <a:gd name="connsiteY2" fmla="*/ 165675 h 165675"/>
                <a:gd name="connsiteX3" fmla="*/ 69367 w 140761"/>
                <a:gd name="connsiteY3" fmla="*/ 134488 h 165675"/>
                <a:gd name="connsiteX4" fmla="*/ 140761 w 140761"/>
                <a:gd name="connsiteY4" fmla="*/ 134488 h 165675"/>
                <a:gd name="connsiteX5" fmla="*/ 140761 w 140761"/>
                <a:gd name="connsiteY5" fmla="*/ 0 h 165675"/>
                <a:gd name="connsiteX6" fmla="*/ 0 w 140761"/>
                <a:gd name="connsiteY6" fmla="*/ 0 h 165675"/>
                <a:gd name="connsiteX7" fmla="*/ 0 w 140761"/>
                <a:gd name="connsiteY7" fmla="*/ 92649 h 165675"/>
                <a:gd name="connsiteX8" fmla="*/ 0 w 140761"/>
                <a:gd name="connsiteY8" fmla="*/ 134488 h 1656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0761" h="165675">
                  <a:moveTo>
                    <a:pt x="0" y="134488"/>
                  </a:moveTo>
                  <a:lnTo>
                    <a:pt x="31703" y="134488"/>
                  </a:lnTo>
                  <a:lnTo>
                    <a:pt x="23618" y="165675"/>
                  </a:lnTo>
                  <a:lnTo>
                    <a:pt x="69367" y="134488"/>
                  </a:lnTo>
                  <a:lnTo>
                    <a:pt x="140761" y="134488"/>
                  </a:lnTo>
                  <a:lnTo>
                    <a:pt x="140761" y="0"/>
                  </a:lnTo>
                  <a:lnTo>
                    <a:pt x="0" y="0"/>
                  </a:lnTo>
                  <a:lnTo>
                    <a:pt x="0" y="92649"/>
                  </a:lnTo>
                  <a:lnTo>
                    <a:pt x="0" y="134488"/>
                  </a:ln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546" name="Forma livre: Forma 545">
              <a:extLst>
                <a:ext uri="{FF2B5EF4-FFF2-40B4-BE49-F238E27FC236}">
                  <a16:creationId xmlns:a16="http://schemas.microsoft.com/office/drawing/2014/main" id="{719D7FF8-C19A-C6B9-2686-2575630FBF53}"/>
                </a:ext>
              </a:extLst>
            </p:cNvPr>
            <p:cNvSpPr/>
            <p:nvPr/>
          </p:nvSpPr>
          <p:spPr>
            <a:xfrm>
              <a:off x="5688278" y="2756025"/>
              <a:ext cx="4078" cy="4078"/>
            </a:xfrm>
            <a:custGeom>
              <a:avLst/>
              <a:gdLst>
                <a:gd name="connsiteX0" fmla="*/ 4078 w 4078"/>
                <a:gd name="connsiteY0" fmla="*/ 2039 h 4078"/>
                <a:gd name="connsiteX1" fmla="*/ 2039 w 4078"/>
                <a:gd name="connsiteY1" fmla="*/ 4078 h 4078"/>
                <a:gd name="connsiteX2" fmla="*/ 0 w 4078"/>
                <a:gd name="connsiteY2" fmla="*/ 2039 h 4078"/>
                <a:gd name="connsiteX3" fmla="*/ 2039 w 4078"/>
                <a:gd name="connsiteY3" fmla="*/ 0 h 4078"/>
                <a:gd name="connsiteX4" fmla="*/ 4078 w 4078"/>
                <a:gd name="connsiteY4" fmla="*/ 2039 h 40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078" h="4078">
                  <a:moveTo>
                    <a:pt x="4078" y="2039"/>
                  </a:moveTo>
                  <a:cubicBezTo>
                    <a:pt x="4078" y="3167"/>
                    <a:pt x="3179" y="4078"/>
                    <a:pt x="2039" y="4078"/>
                  </a:cubicBezTo>
                  <a:cubicBezTo>
                    <a:pt x="900" y="4078"/>
                    <a:pt x="0" y="3179"/>
                    <a:pt x="0" y="2039"/>
                  </a:cubicBezTo>
                  <a:cubicBezTo>
                    <a:pt x="0" y="900"/>
                    <a:pt x="911" y="0"/>
                    <a:pt x="2039" y="0"/>
                  </a:cubicBezTo>
                  <a:cubicBezTo>
                    <a:pt x="3167" y="0"/>
                    <a:pt x="4078" y="912"/>
                    <a:pt x="4078" y="2039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547" name="Forma livre: Forma 546">
              <a:extLst>
                <a:ext uri="{FF2B5EF4-FFF2-40B4-BE49-F238E27FC236}">
                  <a16:creationId xmlns:a16="http://schemas.microsoft.com/office/drawing/2014/main" id="{897B20B5-C691-3B3C-3915-17E1FAC83A8F}"/>
                </a:ext>
              </a:extLst>
            </p:cNvPr>
            <p:cNvSpPr/>
            <p:nvPr/>
          </p:nvSpPr>
          <p:spPr>
            <a:xfrm>
              <a:off x="5671233" y="2679497"/>
              <a:ext cx="42489" cy="59603"/>
            </a:xfrm>
            <a:custGeom>
              <a:avLst/>
              <a:gdLst>
                <a:gd name="connsiteX0" fmla="*/ 0 w 42489"/>
                <a:gd name="connsiteY0" fmla="*/ 18616 h 59603"/>
                <a:gd name="connsiteX1" fmla="*/ 21243 w 42489"/>
                <a:gd name="connsiteY1" fmla="*/ 0 h 59603"/>
                <a:gd name="connsiteX2" fmla="*/ 42486 w 42489"/>
                <a:gd name="connsiteY2" fmla="*/ 18616 h 59603"/>
                <a:gd name="connsiteX3" fmla="*/ 31919 w 42489"/>
                <a:gd name="connsiteY3" fmla="*/ 34666 h 59603"/>
                <a:gd name="connsiteX4" fmla="*/ 18844 w 42489"/>
                <a:gd name="connsiteY4" fmla="*/ 59603 h 596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2489" h="59603">
                  <a:moveTo>
                    <a:pt x="0" y="18616"/>
                  </a:moveTo>
                  <a:cubicBezTo>
                    <a:pt x="0" y="8337"/>
                    <a:pt x="9512" y="0"/>
                    <a:pt x="21243" y="0"/>
                  </a:cubicBezTo>
                  <a:cubicBezTo>
                    <a:pt x="32974" y="0"/>
                    <a:pt x="42486" y="8337"/>
                    <a:pt x="42486" y="18616"/>
                  </a:cubicBezTo>
                  <a:cubicBezTo>
                    <a:pt x="42486" y="18616"/>
                    <a:pt x="42954" y="27097"/>
                    <a:pt x="31919" y="34666"/>
                  </a:cubicBezTo>
                  <a:cubicBezTo>
                    <a:pt x="24566" y="40387"/>
                    <a:pt x="18844" y="49384"/>
                    <a:pt x="18844" y="59603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548" name="Gráfico 6">
            <a:extLst>
              <a:ext uri="{FF2B5EF4-FFF2-40B4-BE49-F238E27FC236}">
                <a16:creationId xmlns:a16="http://schemas.microsoft.com/office/drawing/2014/main" id="{D74AB070-3A66-B480-63BB-0F06C8776217}"/>
              </a:ext>
            </a:extLst>
          </p:cNvPr>
          <p:cNvGrpSpPr/>
          <p:nvPr/>
        </p:nvGrpSpPr>
        <p:grpSpPr>
          <a:xfrm>
            <a:off x="5519783" y="1545428"/>
            <a:ext cx="254618" cy="307000"/>
            <a:chOff x="5519783" y="1545428"/>
            <a:chExt cx="254618" cy="307000"/>
          </a:xfrm>
        </p:grpSpPr>
        <p:grpSp>
          <p:nvGrpSpPr>
            <p:cNvPr id="549" name="Gráfico 6">
              <a:extLst>
                <a:ext uri="{FF2B5EF4-FFF2-40B4-BE49-F238E27FC236}">
                  <a16:creationId xmlns:a16="http://schemas.microsoft.com/office/drawing/2014/main" id="{598BA5EE-7625-E170-8949-5753E233FC33}"/>
                </a:ext>
              </a:extLst>
            </p:cNvPr>
            <p:cNvGrpSpPr/>
            <p:nvPr/>
          </p:nvGrpSpPr>
          <p:grpSpPr>
            <a:xfrm>
              <a:off x="5617375" y="1608090"/>
              <a:ext cx="67543" cy="114360"/>
              <a:chOff x="5617375" y="1608090"/>
              <a:chExt cx="67543" cy="114360"/>
            </a:xfrm>
          </p:grpSpPr>
          <p:sp>
            <p:nvSpPr>
              <p:cNvPr id="550" name="Forma livre: Forma 549">
                <a:extLst>
                  <a:ext uri="{FF2B5EF4-FFF2-40B4-BE49-F238E27FC236}">
                    <a16:creationId xmlns:a16="http://schemas.microsoft.com/office/drawing/2014/main" id="{C7348FD3-F4F3-974F-DD46-F50981DCF884}"/>
                  </a:ext>
                </a:extLst>
              </p:cNvPr>
              <p:cNvSpPr/>
              <p:nvPr/>
            </p:nvSpPr>
            <p:spPr>
              <a:xfrm>
                <a:off x="5624860" y="1638461"/>
                <a:ext cx="26520" cy="83221"/>
              </a:xfrm>
              <a:custGeom>
                <a:avLst/>
                <a:gdLst>
                  <a:gd name="connsiteX0" fmla="*/ 0 w 26520"/>
                  <a:gd name="connsiteY0" fmla="*/ 0 h 83221"/>
                  <a:gd name="connsiteX1" fmla="*/ 26521 w 26520"/>
                  <a:gd name="connsiteY1" fmla="*/ 0 h 83221"/>
                  <a:gd name="connsiteX2" fmla="*/ 26521 w 26520"/>
                  <a:gd name="connsiteY2" fmla="*/ 83221 h 832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6520" h="83221">
                    <a:moveTo>
                      <a:pt x="0" y="0"/>
                    </a:moveTo>
                    <a:lnTo>
                      <a:pt x="26521" y="0"/>
                    </a:lnTo>
                    <a:lnTo>
                      <a:pt x="26521" y="83221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51" name="Forma livre: Forma 550">
                <a:extLst>
                  <a:ext uri="{FF2B5EF4-FFF2-40B4-BE49-F238E27FC236}">
                    <a16:creationId xmlns:a16="http://schemas.microsoft.com/office/drawing/2014/main" id="{98AE7CFA-EE3A-8D58-A90D-1C242567B4A1}"/>
                  </a:ext>
                </a:extLst>
              </p:cNvPr>
              <p:cNvSpPr/>
              <p:nvPr/>
            </p:nvSpPr>
            <p:spPr>
              <a:xfrm>
                <a:off x="5617375" y="1722450"/>
                <a:ext cx="67543" cy="1199"/>
              </a:xfrm>
              <a:custGeom>
                <a:avLst/>
                <a:gdLst>
                  <a:gd name="connsiteX0" fmla="*/ 0 w 67543"/>
                  <a:gd name="connsiteY0" fmla="*/ 0 h 1199"/>
                  <a:gd name="connsiteX1" fmla="*/ 67544 w 67543"/>
                  <a:gd name="connsiteY1" fmla="*/ 0 h 11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7543" h="1199">
                    <a:moveTo>
                      <a:pt x="0" y="0"/>
                    </a:moveTo>
                    <a:lnTo>
                      <a:pt x="67544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52" name="Forma livre: Forma 551">
                <a:extLst>
                  <a:ext uri="{FF2B5EF4-FFF2-40B4-BE49-F238E27FC236}">
                    <a16:creationId xmlns:a16="http://schemas.microsoft.com/office/drawing/2014/main" id="{32763770-5CD1-EEB5-F851-C7963934E6CC}"/>
                  </a:ext>
                </a:extLst>
              </p:cNvPr>
              <p:cNvSpPr/>
              <p:nvPr/>
            </p:nvSpPr>
            <p:spPr>
              <a:xfrm>
                <a:off x="5646415" y="1608090"/>
                <a:ext cx="6441" cy="6453"/>
              </a:xfrm>
              <a:custGeom>
                <a:avLst/>
                <a:gdLst>
                  <a:gd name="connsiteX0" fmla="*/ 6441 w 6441"/>
                  <a:gd name="connsiteY0" fmla="*/ 3227 h 6453"/>
                  <a:gd name="connsiteX1" fmla="*/ 3227 w 6441"/>
                  <a:gd name="connsiteY1" fmla="*/ 6453 h 6453"/>
                  <a:gd name="connsiteX2" fmla="*/ 0 w 6441"/>
                  <a:gd name="connsiteY2" fmla="*/ 3227 h 6453"/>
                  <a:gd name="connsiteX3" fmla="*/ 3227 w 6441"/>
                  <a:gd name="connsiteY3" fmla="*/ 0 h 6453"/>
                  <a:gd name="connsiteX4" fmla="*/ 6441 w 6441"/>
                  <a:gd name="connsiteY4" fmla="*/ 3227 h 64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441" h="6453">
                    <a:moveTo>
                      <a:pt x="6441" y="3227"/>
                    </a:moveTo>
                    <a:cubicBezTo>
                      <a:pt x="6441" y="5014"/>
                      <a:pt x="5002" y="6453"/>
                      <a:pt x="3227" y="6453"/>
                    </a:cubicBezTo>
                    <a:cubicBezTo>
                      <a:pt x="1451" y="6453"/>
                      <a:pt x="0" y="5014"/>
                      <a:pt x="0" y="3227"/>
                    </a:cubicBezTo>
                    <a:cubicBezTo>
                      <a:pt x="0" y="1439"/>
                      <a:pt x="1451" y="0"/>
                      <a:pt x="3227" y="0"/>
                    </a:cubicBezTo>
                    <a:cubicBezTo>
                      <a:pt x="5002" y="0"/>
                      <a:pt x="6441" y="1439"/>
                      <a:pt x="6441" y="3227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553" name="Forma livre: Forma 552">
              <a:extLst>
                <a:ext uri="{FF2B5EF4-FFF2-40B4-BE49-F238E27FC236}">
                  <a16:creationId xmlns:a16="http://schemas.microsoft.com/office/drawing/2014/main" id="{7DCD6896-BFAB-19FC-FDEE-9F56C083B330}"/>
                </a:ext>
              </a:extLst>
            </p:cNvPr>
            <p:cNvSpPr/>
            <p:nvPr/>
          </p:nvSpPr>
          <p:spPr>
            <a:xfrm>
              <a:off x="5519783" y="1545428"/>
              <a:ext cx="254618" cy="307000"/>
            </a:xfrm>
            <a:custGeom>
              <a:avLst/>
              <a:gdLst>
                <a:gd name="connsiteX0" fmla="*/ 101262 w 254618"/>
                <a:gd name="connsiteY0" fmla="*/ 251979 h 307000"/>
                <a:gd name="connsiteX1" fmla="*/ 101262 w 254618"/>
                <a:gd name="connsiteY1" fmla="*/ 307000 h 307000"/>
                <a:gd name="connsiteX2" fmla="*/ 205559 w 254618"/>
                <a:gd name="connsiteY2" fmla="*/ 227737 h 307000"/>
                <a:gd name="connsiteX3" fmla="*/ 254618 w 254618"/>
                <a:gd name="connsiteY3" fmla="*/ 127303 h 307000"/>
                <a:gd name="connsiteX4" fmla="*/ 127303 w 254618"/>
                <a:gd name="connsiteY4" fmla="*/ 0 h 307000"/>
                <a:gd name="connsiteX5" fmla="*/ 0 w 254618"/>
                <a:gd name="connsiteY5" fmla="*/ 127303 h 307000"/>
                <a:gd name="connsiteX6" fmla="*/ 70723 w 254618"/>
                <a:gd name="connsiteY6" fmla="*/ 241436 h 307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54618" h="307000">
                  <a:moveTo>
                    <a:pt x="101262" y="251979"/>
                  </a:moveTo>
                  <a:lnTo>
                    <a:pt x="101262" y="307000"/>
                  </a:lnTo>
                  <a:lnTo>
                    <a:pt x="205559" y="227737"/>
                  </a:lnTo>
                  <a:cubicBezTo>
                    <a:pt x="235426" y="204431"/>
                    <a:pt x="254618" y="168122"/>
                    <a:pt x="254618" y="127303"/>
                  </a:cubicBezTo>
                  <a:cubicBezTo>
                    <a:pt x="254618" y="57000"/>
                    <a:pt x="197618" y="0"/>
                    <a:pt x="127303" y="0"/>
                  </a:cubicBezTo>
                  <a:cubicBezTo>
                    <a:pt x="56988" y="0"/>
                    <a:pt x="0" y="57000"/>
                    <a:pt x="0" y="127303"/>
                  </a:cubicBezTo>
                  <a:cubicBezTo>
                    <a:pt x="0" y="177334"/>
                    <a:pt x="28788" y="220612"/>
                    <a:pt x="70723" y="241436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554" name="Gráfico 6">
            <a:extLst>
              <a:ext uri="{FF2B5EF4-FFF2-40B4-BE49-F238E27FC236}">
                <a16:creationId xmlns:a16="http://schemas.microsoft.com/office/drawing/2014/main" id="{657010B3-3F51-5C80-00A4-27644997E993}"/>
              </a:ext>
            </a:extLst>
          </p:cNvPr>
          <p:cNvGrpSpPr/>
          <p:nvPr/>
        </p:nvGrpSpPr>
        <p:grpSpPr>
          <a:xfrm>
            <a:off x="5481459" y="2097955"/>
            <a:ext cx="331254" cy="260603"/>
            <a:chOff x="5481459" y="2097955"/>
            <a:chExt cx="331254" cy="260603"/>
          </a:xfrm>
        </p:grpSpPr>
        <p:grpSp>
          <p:nvGrpSpPr>
            <p:cNvPr id="555" name="Gráfico 6">
              <a:extLst>
                <a:ext uri="{FF2B5EF4-FFF2-40B4-BE49-F238E27FC236}">
                  <a16:creationId xmlns:a16="http://schemas.microsoft.com/office/drawing/2014/main" id="{E7BC405A-188E-7B5D-815F-0BAFC3617522}"/>
                </a:ext>
              </a:extLst>
            </p:cNvPr>
            <p:cNvGrpSpPr/>
            <p:nvPr/>
          </p:nvGrpSpPr>
          <p:grpSpPr>
            <a:xfrm>
              <a:off x="5481459" y="2097955"/>
              <a:ext cx="331254" cy="260603"/>
              <a:chOff x="5481459" y="2097955"/>
              <a:chExt cx="331254" cy="260603"/>
            </a:xfrm>
            <a:noFill/>
          </p:grpSpPr>
          <p:grpSp>
            <p:nvGrpSpPr>
              <p:cNvPr id="556" name="Gráfico 6">
                <a:extLst>
                  <a:ext uri="{FF2B5EF4-FFF2-40B4-BE49-F238E27FC236}">
                    <a16:creationId xmlns:a16="http://schemas.microsoft.com/office/drawing/2014/main" id="{9BC1F5DA-9C3E-8B2A-9EB6-CC2A0095DD2F}"/>
                  </a:ext>
                </a:extLst>
              </p:cNvPr>
              <p:cNvGrpSpPr/>
              <p:nvPr/>
            </p:nvGrpSpPr>
            <p:grpSpPr>
              <a:xfrm>
                <a:off x="5508736" y="2097955"/>
                <a:ext cx="276712" cy="237932"/>
                <a:chOff x="5508736" y="2097955"/>
                <a:chExt cx="276712" cy="237932"/>
              </a:xfrm>
              <a:noFill/>
            </p:grpSpPr>
            <p:sp>
              <p:nvSpPr>
                <p:cNvPr id="557" name="Forma livre: Forma 556">
                  <a:extLst>
                    <a:ext uri="{FF2B5EF4-FFF2-40B4-BE49-F238E27FC236}">
                      <a16:creationId xmlns:a16="http://schemas.microsoft.com/office/drawing/2014/main" id="{D223BBE3-5B88-25AF-FC80-2C5E31D7F6CA}"/>
                    </a:ext>
                  </a:extLst>
                </p:cNvPr>
                <p:cNvSpPr/>
                <p:nvPr/>
              </p:nvSpPr>
              <p:spPr>
                <a:xfrm>
                  <a:off x="5647099" y="2097955"/>
                  <a:ext cx="138350" cy="237932"/>
                </a:xfrm>
                <a:custGeom>
                  <a:avLst/>
                  <a:gdLst>
                    <a:gd name="connsiteX0" fmla="*/ 74525 w 138350"/>
                    <a:gd name="connsiteY0" fmla="*/ 12 h 237932"/>
                    <a:gd name="connsiteX1" fmla="*/ 0 w 138350"/>
                    <a:gd name="connsiteY1" fmla="*/ 19503 h 237932"/>
                    <a:gd name="connsiteX2" fmla="*/ 0 w 138350"/>
                    <a:gd name="connsiteY2" fmla="*/ 237933 h 237932"/>
                    <a:gd name="connsiteX3" fmla="*/ 74525 w 138350"/>
                    <a:gd name="connsiteY3" fmla="*/ 218453 h 237932"/>
                    <a:gd name="connsiteX4" fmla="*/ 138350 w 138350"/>
                    <a:gd name="connsiteY4" fmla="*/ 218453 h 237932"/>
                    <a:gd name="connsiteX5" fmla="*/ 138350 w 138350"/>
                    <a:gd name="connsiteY5" fmla="*/ 12 h 237932"/>
                    <a:gd name="connsiteX6" fmla="*/ 74525 w 138350"/>
                    <a:gd name="connsiteY6" fmla="*/ 12 h 23793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38350" h="237932">
                      <a:moveTo>
                        <a:pt x="74525" y="12"/>
                      </a:moveTo>
                      <a:cubicBezTo>
                        <a:pt x="35817" y="12"/>
                        <a:pt x="17033" y="-1140"/>
                        <a:pt x="0" y="19503"/>
                      </a:cubicBezTo>
                      <a:lnTo>
                        <a:pt x="0" y="237933"/>
                      </a:lnTo>
                      <a:cubicBezTo>
                        <a:pt x="17033" y="217289"/>
                        <a:pt x="35829" y="218453"/>
                        <a:pt x="74525" y="218453"/>
                      </a:cubicBezTo>
                      <a:lnTo>
                        <a:pt x="138350" y="218453"/>
                      </a:lnTo>
                      <a:lnTo>
                        <a:pt x="138350" y="12"/>
                      </a:lnTo>
                      <a:lnTo>
                        <a:pt x="74525" y="12"/>
                      </a:lnTo>
                      <a:close/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558" name="Forma livre: Forma 557">
                  <a:extLst>
                    <a:ext uri="{FF2B5EF4-FFF2-40B4-BE49-F238E27FC236}">
                      <a16:creationId xmlns:a16="http://schemas.microsoft.com/office/drawing/2014/main" id="{151388F9-DFB4-8DBC-7DEE-03F33FA1BD55}"/>
                    </a:ext>
                  </a:extLst>
                </p:cNvPr>
                <p:cNvSpPr/>
                <p:nvPr/>
              </p:nvSpPr>
              <p:spPr>
                <a:xfrm>
                  <a:off x="5508736" y="2097955"/>
                  <a:ext cx="138350" cy="237932"/>
                </a:xfrm>
                <a:custGeom>
                  <a:avLst/>
                  <a:gdLst>
                    <a:gd name="connsiteX0" fmla="*/ 138350 w 138350"/>
                    <a:gd name="connsiteY0" fmla="*/ 237933 h 237932"/>
                    <a:gd name="connsiteX1" fmla="*/ 63813 w 138350"/>
                    <a:gd name="connsiteY1" fmla="*/ 218453 h 237932"/>
                    <a:gd name="connsiteX2" fmla="*/ 0 w 138350"/>
                    <a:gd name="connsiteY2" fmla="*/ 218453 h 237932"/>
                    <a:gd name="connsiteX3" fmla="*/ 0 w 138350"/>
                    <a:gd name="connsiteY3" fmla="*/ 12 h 237932"/>
                    <a:gd name="connsiteX4" fmla="*/ 63813 w 138350"/>
                    <a:gd name="connsiteY4" fmla="*/ 12 h 237932"/>
                    <a:gd name="connsiteX5" fmla="*/ 138350 w 138350"/>
                    <a:gd name="connsiteY5" fmla="*/ 19503 h 23793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138350" h="237932">
                      <a:moveTo>
                        <a:pt x="138350" y="237933"/>
                      </a:moveTo>
                      <a:cubicBezTo>
                        <a:pt x="121318" y="217289"/>
                        <a:pt x="102509" y="218453"/>
                        <a:pt x="63813" y="218453"/>
                      </a:cubicBezTo>
                      <a:lnTo>
                        <a:pt x="0" y="218453"/>
                      </a:lnTo>
                      <a:lnTo>
                        <a:pt x="0" y="12"/>
                      </a:lnTo>
                      <a:lnTo>
                        <a:pt x="63813" y="12"/>
                      </a:lnTo>
                      <a:cubicBezTo>
                        <a:pt x="102521" y="12"/>
                        <a:pt x="121318" y="-1140"/>
                        <a:pt x="138350" y="19503"/>
                      </a:cubicBez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559" name="Forma livre: Forma 558">
                <a:extLst>
                  <a:ext uri="{FF2B5EF4-FFF2-40B4-BE49-F238E27FC236}">
                    <a16:creationId xmlns:a16="http://schemas.microsoft.com/office/drawing/2014/main" id="{3BF36635-CE05-3834-53FC-A401D6C960F1}"/>
                  </a:ext>
                </a:extLst>
              </p:cNvPr>
              <p:cNvSpPr/>
              <p:nvPr/>
            </p:nvSpPr>
            <p:spPr>
              <a:xfrm>
                <a:off x="5481459" y="2132608"/>
                <a:ext cx="331254" cy="225950"/>
              </a:xfrm>
              <a:custGeom>
                <a:avLst/>
                <a:gdLst>
                  <a:gd name="connsiteX0" fmla="*/ 0 w 331254"/>
                  <a:gd name="connsiteY0" fmla="*/ 0 h 225950"/>
                  <a:gd name="connsiteX1" fmla="*/ 0 w 331254"/>
                  <a:gd name="connsiteY1" fmla="*/ 210129 h 225950"/>
                  <a:gd name="connsiteX2" fmla="*/ 134620 w 331254"/>
                  <a:gd name="connsiteY2" fmla="*/ 210129 h 225950"/>
                  <a:gd name="connsiteX3" fmla="*/ 149710 w 331254"/>
                  <a:gd name="connsiteY3" fmla="*/ 225950 h 225950"/>
                  <a:gd name="connsiteX4" fmla="*/ 149962 w 331254"/>
                  <a:gd name="connsiteY4" fmla="*/ 225950 h 225950"/>
                  <a:gd name="connsiteX5" fmla="*/ 181293 w 331254"/>
                  <a:gd name="connsiteY5" fmla="*/ 225950 h 225950"/>
                  <a:gd name="connsiteX6" fmla="*/ 181545 w 331254"/>
                  <a:gd name="connsiteY6" fmla="*/ 225950 h 225950"/>
                  <a:gd name="connsiteX7" fmla="*/ 196634 w 331254"/>
                  <a:gd name="connsiteY7" fmla="*/ 210129 h 225950"/>
                  <a:gd name="connsiteX8" fmla="*/ 331254 w 331254"/>
                  <a:gd name="connsiteY8" fmla="*/ 210129 h 225950"/>
                  <a:gd name="connsiteX9" fmla="*/ 331254 w 331254"/>
                  <a:gd name="connsiteY9" fmla="*/ 0 h 2259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331254" h="225950">
                    <a:moveTo>
                      <a:pt x="0" y="0"/>
                    </a:moveTo>
                    <a:lnTo>
                      <a:pt x="0" y="210129"/>
                    </a:lnTo>
                    <a:lnTo>
                      <a:pt x="134620" y="210129"/>
                    </a:lnTo>
                    <a:cubicBezTo>
                      <a:pt x="134620" y="210129"/>
                      <a:pt x="141349" y="225950"/>
                      <a:pt x="149710" y="225950"/>
                    </a:cubicBezTo>
                    <a:cubicBezTo>
                      <a:pt x="149974" y="225950"/>
                      <a:pt x="150034" y="225950"/>
                      <a:pt x="149962" y="225950"/>
                    </a:cubicBezTo>
                    <a:lnTo>
                      <a:pt x="181293" y="225950"/>
                    </a:lnTo>
                    <a:cubicBezTo>
                      <a:pt x="181233" y="225950"/>
                      <a:pt x="181281" y="225950"/>
                      <a:pt x="181545" y="225950"/>
                    </a:cubicBezTo>
                    <a:cubicBezTo>
                      <a:pt x="189905" y="225950"/>
                      <a:pt x="196634" y="210129"/>
                      <a:pt x="196634" y="210129"/>
                    </a:cubicBezTo>
                    <a:lnTo>
                      <a:pt x="331254" y="210129"/>
                    </a:lnTo>
                    <a:lnTo>
                      <a:pt x="331254" y="0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560" name="Gráfico 6">
              <a:extLst>
                <a:ext uri="{FF2B5EF4-FFF2-40B4-BE49-F238E27FC236}">
                  <a16:creationId xmlns:a16="http://schemas.microsoft.com/office/drawing/2014/main" id="{F8F00D24-87CE-90EC-97A6-F140F11D1D52}"/>
                </a:ext>
              </a:extLst>
            </p:cNvPr>
            <p:cNvGrpSpPr/>
            <p:nvPr/>
          </p:nvGrpSpPr>
          <p:grpSpPr>
            <a:xfrm>
              <a:off x="5689981" y="2154547"/>
              <a:ext cx="57180" cy="102737"/>
              <a:chOff x="5689981" y="2154547"/>
              <a:chExt cx="57180" cy="102737"/>
            </a:xfrm>
          </p:grpSpPr>
          <p:sp>
            <p:nvSpPr>
              <p:cNvPr id="561" name="Forma livre: Forma 560">
                <a:extLst>
                  <a:ext uri="{FF2B5EF4-FFF2-40B4-BE49-F238E27FC236}">
                    <a16:creationId xmlns:a16="http://schemas.microsoft.com/office/drawing/2014/main" id="{3AEBF68E-E369-E1F3-A16A-D1521E2D481A}"/>
                  </a:ext>
                </a:extLst>
              </p:cNvPr>
              <p:cNvSpPr/>
              <p:nvPr/>
            </p:nvSpPr>
            <p:spPr>
              <a:xfrm>
                <a:off x="5696314" y="2186178"/>
                <a:ext cx="22466" cy="70458"/>
              </a:xfrm>
              <a:custGeom>
                <a:avLst/>
                <a:gdLst>
                  <a:gd name="connsiteX0" fmla="*/ 0 w 22466"/>
                  <a:gd name="connsiteY0" fmla="*/ 0 h 70458"/>
                  <a:gd name="connsiteX1" fmla="*/ 22467 w 22466"/>
                  <a:gd name="connsiteY1" fmla="*/ 0 h 70458"/>
                  <a:gd name="connsiteX2" fmla="*/ 22467 w 22466"/>
                  <a:gd name="connsiteY2" fmla="*/ 70459 h 704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2466" h="70458">
                    <a:moveTo>
                      <a:pt x="0" y="0"/>
                    </a:moveTo>
                    <a:lnTo>
                      <a:pt x="22467" y="0"/>
                    </a:lnTo>
                    <a:lnTo>
                      <a:pt x="22467" y="70459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62" name="Forma livre: Forma 561">
                <a:extLst>
                  <a:ext uri="{FF2B5EF4-FFF2-40B4-BE49-F238E27FC236}">
                    <a16:creationId xmlns:a16="http://schemas.microsoft.com/office/drawing/2014/main" id="{CCFF20E8-76AA-F907-E6E2-56BCB4EB32B0}"/>
                  </a:ext>
                </a:extLst>
              </p:cNvPr>
              <p:cNvSpPr/>
              <p:nvPr/>
            </p:nvSpPr>
            <p:spPr>
              <a:xfrm>
                <a:off x="5689981" y="2257284"/>
                <a:ext cx="57180" cy="1199"/>
              </a:xfrm>
              <a:custGeom>
                <a:avLst/>
                <a:gdLst>
                  <a:gd name="connsiteX0" fmla="*/ 0 w 57180"/>
                  <a:gd name="connsiteY0" fmla="*/ 0 h 1199"/>
                  <a:gd name="connsiteX1" fmla="*/ 57180 w 57180"/>
                  <a:gd name="connsiteY1" fmla="*/ 0 h 11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7180" h="1199">
                    <a:moveTo>
                      <a:pt x="0" y="0"/>
                    </a:moveTo>
                    <a:lnTo>
                      <a:pt x="5718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63" name="Forma livre: Forma 562">
                <a:extLst>
                  <a:ext uri="{FF2B5EF4-FFF2-40B4-BE49-F238E27FC236}">
                    <a16:creationId xmlns:a16="http://schemas.microsoft.com/office/drawing/2014/main" id="{487CC335-BD27-6E65-C907-89675DD2FEB1}"/>
                  </a:ext>
                </a:extLst>
              </p:cNvPr>
              <p:cNvSpPr/>
              <p:nvPr/>
            </p:nvSpPr>
            <p:spPr>
              <a:xfrm>
                <a:off x="5713119" y="2154547"/>
                <a:ext cx="6717" cy="6717"/>
              </a:xfrm>
              <a:custGeom>
                <a:avLst/>
                <a:gdLst>
                  <a:gd name="connsiteX0" fmla="*/ 6717 w 6717"/>
                  <a:gd name="connsiteY0" fmla="*/ 3359 h 6717"/>
                  <a:gd name="connsiteX1" fmla="*/ 3371 w 6717"/>
                  <a:gd name="connsiteY1" fmla="*/ 6717 h 6717"/>
                  <a:gd name="connsiteX2" fmla="*/ 0 w 6717"/>
                  <a:gd name="connsiteY2" fmla="*/ 3359 h 6717"/>
                  <a:gd name="connsiteX3" fmla="*/ 3371 w 6717"/>
                  <a:gd name="connsiteY3" fmla="*/ 0 h 6717"/>
                  <a:gd name="connsiteX4" fmla="*/ 6717 w 6717"/>
                  <a:gd name="connsiteY4" fmla="*/ 3359 h 67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717" h="6717">
                    <a:moveTo>
                      <a:pt x="6717" y="3359"/>
                    </a:moveTo>
                    <a:cubicBezTo>
                      <a:pt x="6717" y="5218"/>
                      <a:pt x="5230" y="6717"/>
                      <a:pt x="3371" y="6717"/>
                    </a:cubicBezTo>
                    <a:cubicBezTo>
                      <a:pt x="1511" y="6717"/>
                      <a:pt x="0" y="5218"/>
                      <a:pt x="0" y="3359"/>
                    </a:cubicBezTo>
                    <a:cubicBezTo>
                      <a:pt x="0" y="1499"/>
                      <a:pt x="1511" y="0"/>
                      <a:pt x="3371" y="0"/>
                    </a:cubicBezTo>
                    <a:cubicBezTo>
                      <a:pt x="5230" y="0"/>
                      <a:pt x="6717" y="1499"/>
                      <a:pt x="6717" y="3359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564" name="Gráfico 6">
            <a:extLst>
              <a:ext uri="{FF2B5EF4-FFF2-40B4-BE49-F238E27FC236}">
                <a16:creationId xmlns:a16="http://schemas.microsoft.com/office/drawing/2014/main" id="{6056B0FB-391B-E2D1-02C9-EE7AD23D8FDA}"/>
              </a:ext>
            </a:extLst>
          </p:cNvPr>
          <p:cNvGrpSpPr/>
          <p:nvPr/>
        </p:nvGrpSpPr>
        <p:grpSpPr>
          <a:xfrm>
            <a:off x="5484914" y="3128314"/>
            <a:ext cx="324333" cy="317160"/>
            <a:chOff x="5484914" y="3128314"/>
            <a:chExt cx="324333" cy="317160"/>
          </a:xfrm>
        </p:grpSpPr>
        <p:grpSp>
          <p:nvGrpSpPr>
            <p:cNvPr id="565" name="Gráfico 6">
              <a:extLst>
                <a:ext uri="{FF2B5EF4-FFF2-40B4-BE49-F238E27FC236}">
                  <a16:creationId xmlns:a16="http://schemas.microsoft.com/office/drawing/2014/main" id="{A3B4353F-43A7-133A-5344-178FA9E21320}"/>
                </a:ext>
              </a:extLst>
            </p:cNvPr>
            <p:cNvGrpSpPr/>
            <p:nvPr/>
          </p:nvGrpSpPr>
          <p:grpSpPr>
            <a:xfrm>
              <a:off x="5682904" y="3295297"/>
              <a:ext cx="61010" cy="109394"/>
              <a:chOff x="5682904" y="3295297"/>
              <a:chExt cx="61010" cy="109394"/>
            </a:xfrm>
          </p:grpSpPr>
          <p:sp>
            <p:nvSpPr>
              <p:cNvPr id="566" name="Forma livre: Forma 565">
                <a:extLst>
                  <a:ext uri="{FF2B5EF4-FFF2-40B4-BE49-F238E27FC236}">
                    <a16:creationId xmlns:a16="http://schemas.microsoft.com/office/drawing/2014/main" id="{B32C6837-A337-2F3C-D9E8-E64B2303FE9F}"/>
                  </a:ext>
                </a:extLst>
              </p:cNvPr>
              <p:cNvSpPr/>
              <p:nvPr/>
            </p:nvSpPr>
            <p:spPr>
              <a:xfrm>
                <a:off x="5707386" y="3398826"/>
                <a:ext cx="5829" cy="5865"/>
              </a:xfrm>
              <a:custGeom>
                <a:avLst/>
                <a:gdLst>
                  <a:gd name="connsiteX0" fmla="*/ 5830 w 5829"/>
                  <a:gd name="connsiteY0" fmla="*/ 2939 h 5865"/>
                  <a:gd name="connsiteX1" fmla="*/ 2915 w 5829"/>
                  <a:gd name="connsiteY1" fmla="*/ 5866 h 5865"/>
                  <a:gd name="connsiteX2" fmla="*/ 0 w 5829"/>
                  <a:gd name="connsiteY2" fmla="*/ 2939 h 5865"/>
                  <a:gd name="connsiteX3" fmla="*/ 2915 w 5829"/>
                  <a:gd name="connsiteY3" fmla="*/ 0 h 5865"/>
                  <a:gd name="connsiteX4" fmla="*/ 5830 w 5829"/>
                  <a:gd name="connsiteY4" fmla="*/ 2939 h 58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829" h="5865">
                    <a:moveTo>
                      <a:pt x="5830" y="2939"/>
                    </a:moveTo>
                    <a:cubicBezTo>
                      <a:pt x="5830" y="4558"/>
                      <a:pt x="4534" y="5866"/>
                      <a:pt x="2915" y="5866"/>
                    </a:cubicBezTo>
                    <a:cubicBezTo>
                      <a:pt x="1295" y="5866"/>
                      <a:pt x="0" y="4558"/>
                      <a:pt x="0" y="2939"/>
                    </a:cubicBezTo>
                    <a:cubicBezTo>
                      <a:pt x="0" y="1319"/>
                      <a:pt x="1307" y="0"/>
                      <a:pt x="2915" y="0"/>
                    </a:cubicBezTo>
                    <a:cubicBezTo>
                      <a:pt x="4522" y="0"/>
                      <a:pt x="5830" y="1307"/>
                      <a:pt x="5830" y="2939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67" name="Forma livre: Forma 566">
                <a:extLst>
                  <a:ext uri="{FF2B5EF4-FFF2-40B4-BE49-F238E27FC236}">
                    <a16:creationId xmlns:a16="http://schemas.microsoft.com/office/drawing/2014/main" id="{0E60FC03-4CC1-ADD1-899B-486E97666E97}"/>
                  </a:ext>
                </a:extLst>
              </p:cNvPr>
              <p:cNvSpPr/>
              <p:nvPr/>
            </p:nvSpPr>
            <p:spPr>
              <a:xfrm>
                <a:off x="5682904" y="3295297"/>
                <a:ext cx="61010" cy="85560"/>
              </a:xfrm>
              <a:custGeom>
                <a:avLst/>
                <a:gdLst>
                  <a:gd name="connsiteX0" fmla="*/ 0 w 61010"/>
                  <a:gd name="connsiteY0" fmla="*/ 26737 h 85560"/>
                  <a:gd name="connsiteX1" fmla="*/ 30503 w 61010"/>
                  <a:gd name="connsiteY1" fmla="*/ 0 h 85560"/>
                  <a:gd name="connsiteX2" fmla="*/ 61007 w 61010"/>
                  <a:gd name="connsiteY2" fmla="*/ 26737 h 85560"/>
                  <a:gd name="connsiteX3" fmla="*/ 45821 w 61010"/>
                  <a:gd name="connsiteY3" fmla="*/ 49767 h 85560"/>
                  <a:gd name="connsiteX4" fmla="*/ 27037 w 61010"/>
                  <a:gd name="connsiteY4" fmla="*/ 85561 h 855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1010" h="85560">
                    <a:moveTo>
                      <a:pt x="0" y="26737"/>
                    </a:moveTo>
                    <a:cubicBezTo>
                      <a:pt x="0" y="11971"/>
                      <a:pt x="13650" y="0"/>
                      <a:pt x="30503" y="0"/>
                    </a:cubicBezTo>
                    <a:cubicBezTo>
                      <a:pt x="47356" y="0"/>
                      <a:pt x="61007" y="11971"/>
                      <a:pt x="61007" y="26737"/>
                    </a:cubicBezTo>
                    <a:cubicBezTo>
                      <a:pt x="61007" y="26737"/>
                      <a:pt x="61666" y="38912"/>
                      <a:pt x="45821" y="49767"/>
                    </a:cubicBezTo>
                    <a:cubicBezTo>
                      <a:pt x="35265" y="57984"/>
                      <a:pt x="27037" y="70903"/>
                      <a:pt x="27037" y="85561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568" name="Gráfico 6">
              <a:extLst>
                <a:ext uri="{FF2B5EF4-FFF2-40B4-BE49-F238E27FC236}">
                  <a16:creationId xmlns:a16="http://schemas.microsoft.com/office/drawing/2014/main" id="{FF59CD62-BBB0-2EC8-D24F-54231882DB99}"/>
                </a:ext>
              </a:extLst>
            </p:cNvPr>
            <p:cNvGrpSpPr/>
            <p:nvPr/>
          </p:nvGrpSpPr>
          <p:grpSpPr>
            <a:xfrm>
              <a:off x="5511999" y="3128314"/>
              <a:ext cx="62482" cy="317160"/>
              <a:chOff x="5511999" y="3128314"/>
              <a:chExt cx="62482" cy="317160"/>
            </a:xfrm>
            <a:noFill/>
          </p:grpSpPr>
          <p:sp>
            <p:nvSpPr>
              <p:cNvPr id="569" name="Forma livre: Forma 568">
                <a:extLst>
                  <a:ext uri="{FF2B5EF4-FFF2-40B4-BE49-F238E27FC236}">
                    <a16:creationId xmlns:a16="http://schemas.microsoft.com/office/drawing/2014/main" id="{B1BEA3C5-EEE4-BF1D-A8BE-A581293533C4}"/>
                  </a:ext>
                </a:extLst>
              </p:cNvPr>
              <p:cNvSpPr/>
              <p:nvPr/>
            </p:nvSpPr>
            <p:spPr>
              <a:xfrm>
                <a:off x="5520023" y="3128314"/>
                <a:ext cx="54457" cy="54457"/>
              </a:xfrm>
              <a:custGeom>
                <a:avLst/>
                <a:gdLst>
                  <a:gd name="connsiteX0" fmla="*/ 0 w 54457"/>
                  <a:gd name="connsiteY0" fmla="*/ 27229 h 54457"/>
                  <a:gd name="connsiteX1" fmla="*/ 27229 w 54457"/>
                  <a:gd name="connsiteY1" fmla="*/ 54457 h 54457"/>
                  <a:gd name="connsiteX2" fmla="*/ 54457 w 54457"/>
                  <a:gd name="connsiteY2" fmla="*/ 27229 h 54457"/>
                  <a:gd name="connsiteX3" fmla="*/ 27229 w 54457"/>
                  <a:gd name="connsiteY3" fmla="*/ 0 h 54457"/>
                  <a:gd name="connsiteX4" fmla="*/ 0 w 54457"/>
                  <a:gd name="connsiteY4" fmla="*/ 27229 h 544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4457" h="54457">
                    <a:moveTo>
                      <a:pt x="0" y="27229"/>
                    </a:moveTo>
                    <a:cubicBezTo>
                      <a:pt x="0" y="42270"/>
                      <a:pt x="12199" y="54457"/>
                      <a:pt x="27229" y="54457"/>
                    </a:cubicBezTo>
                    <a:cubicBezTo>
                      <a:pt x="42258" y="54457"/>
                      <a:pt x="54457" y="42270"/>
                      <a:pt x="54457" y="27229"/>
                    </a:cubicBezTo>
                    <a:cubicBezTo>
                      <a:pt x="54457" y="12187"/>
                      <a:pt x="42258" y="0"/>
                      <a:pt x="27229" y="0"/>
                    </a:cubicBezTo>
                    <a:cubicBezTo>
                      <a:pt x="12199" y="0"/>
                      <a:pt x="0" y="12199"/>
                      <a:pt x="0" y="27229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570" name="Gráfico 6">
                <a:extLst>
                  <a:ext uri="{FF2B5EF4-FFF2-40B4-BE49-F238E27FC236}">
                    <a16:creationId xmlns:a16="http://schemas.microsoft.com/office/drawing/2014/main" id="{9FB3D2FD-BC80-6752-B766-0B46B5C29B4E}"/>
                  </a:ext>
                </a:extLst>
              </p:cNvPr>
              <p:cNvGrpSpPr/>
              <p:nvPr/>
            </p:nvGrpSpPr>
            <p:grpSpPr>
              <a:xfrm>
                <a:off x="5511999" y="3255125"/>
                <a:ext cx="35253" cy="190348"/>
                <a:chOff x="5511999" y="3255125"/>
                <a:chExt cx="35253" cy="190348"/>
              </a:xfrm>
            </p:grpSpPr>
            <p:sp>
              <p:nvSpPr>
                <p:cNvPr id="571" name="Forma livre: Forma 570">
                  <a:extLst>
                    <a:ext uri="{FF2B5EF4-FFF2-40B4-BE49-F238E27FC236}">
                      <a16:creationId xmlns:a16="http://schemas.microsoft.com/office/drawing/2014/main" id="{1B38F4DF-A14F-4624-25F8-CDDB9A58EACC}"/>
                    </a:ext>
                  </a:extLst>
                </p:cNvPr>
                <p:cNvSpPr/>
                <p:nvPr/>
              </p:nvSpPr>
              <p:spPr>
                <a:xfrm>
                  <a:off x="5511999" y="3255125"/>
                  <a:ext cx="1199" cy="190348"/>
                </a:xfrm>
                <a:custGeom>
                  <a:avLst/>
                  <a:gdLst>
                    <a:gd name="connsiteX0" fmla="*/ 0 w 1199"/>
                    <a:gd name="connsiteY0" fmla="*/ 0 h 190348"/>
                    <a:gd name="connsiteX1" fmla="*/ 0 w 1199"/>
                    <a:gd name="connsiteY1" fmla="*/ 190349 h 1903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199" h="190348">
                      <a:moveTo>
                        <a:pt x="0" y="0"/>
                      </a:moveTo>
                      <a:lnTo>
                        <a:pt x="0" y="190349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572" name="Forma livre: Forma 571">
                  <a:extLst>
                    <a:ext uri="{FF2B5EF4-FFF2-40B4-BE49-F238E27FC236}">
                      <a16:creationId xmlns:a16="http://schemas.microsoft.com/office/drawing/2014/main" id="{C74B5DBE-D281-A993-E7A7-5653BF9B59A8}"/>
                    </a:ext>
                  </a:extLst>
                </p:cNvPr>
                <p:cNvSpPr/>
                <p:nvPr/>
              </p:nvSpPr>
              <p:spPr>
                <a:xfrm>
                  <a:off x="5547252" y="3338743"/>
                  <a:ext cx="1199" cy="106731"/>
                </a:xfrm>
                <a:custGeom>
                  <a:avLst/>
                  <a:gdLst>
                    <a:gd name="connsiteX0" fmla="*/ 0 w 1199"/>
                    <a:gd name="connsiteY0" fmla="*/ 0 h 106731"/>
                    <a:gd name="connsiteX1" fmla="*/ 0 w 1199"/>
                    <a:gd name="connsiteY1" fmla="*/ 106732 h 10673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199" h="106731">
                      <a:moveTo>
                        <a:pt x="0" y="0"/>
                      </a:moveTo>
                      <a:lnTo>
                        <a:pt x="0" y="106732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sp>
          <p:nvSpPr>
            <p:cNvPr id="573" name="Forma livre: Forma 572">
              <a:extLst>
                <a:ext uri="{FF2B5EF4-FFF2-40B4-BE49-F238E27FC236}">
                  <a16:creationId xmlns:a16="http://schemas.microsoft.com/office/drawing/2014/main" id="{3DDBF4D4-3326-365D-D38D-2AEE40B19B73}"/>
                </a:ext>
              </a:extLst>
            </p:cNvPr>
            <p:cNvSpPr/>
            <p:nvPr/>
          </p:nvSpPr>
          <p:spPr>
            <a:xfrm>
              <a:off x="5484914" y="3208033"/>
              <a:ext cx="189605" cy="237441"/>
            </a:xfrm>
            <a:custGeom>
              <a:avLst/>
              <a:gdLst>
                <a:gd name="connsiteX0" fmla="*/ 97579 w 189605"/>
                <a:gd name="connsiteY0" fmla="*/ 237441 h 237441"/>
                <a:gd name="connsiteX1" fmla="*/ 97579 w 189605"/>
                <a:gd name="connsiteY1" fmla="*/ 28776 h 237441"/>
                <a:gd name="connsiteX2" fmla="*/ 153464 w 189605"/>
                <a:gd name="connsiteY2" fmla="*/ 28776 h 237441"/>
                <a:gd name="connsiteX3" fmla="*/ 189605 w 189605"/>
                <a:gd name="connsiteY3" fmla="*/ 912 h 237441"/>
                <a:gd name="connsiteX4" fmla="*/ 189605 w 189605"/>
                <a:gd name="connsiteY4" fmla="*/ 0 h 237441"/>
                <a:gd name="connsiteX5" fmla="*/ 36153 w 189605"/>
                <a:gd name="connsiteY5" fmla="*/ 0 h 237441"/>
                <a:gd name="connsiteX6" fmla="*/ 0 w 189605"/>
                <a:gd name="connsiteY6" fmla="*/ 36153 h 237441"/>
                <a:gd name="connsiteX7" fmla="*/ 0 w 189605"/>
                <a:gd name="connsiteY7" fmla="*/ 97568 h 237441"/>
                <a:gd name="connsiteX8" fmla="*/ 27864 w 189605"/>
                <a:gd name="connsiteY8" fmla="*/ 133721 h 2374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89605" h="237441">
                  <a:moveTo>
                    <a:pt x="97579" y="237441"/>
                  </a:moveTo>
                  <a:lnTo>
                    <a:pt x="97579" y="28776"/>
                  </a:lnTo>
                  <a:lnTo>
                    <a:pt x="153464" y="28776"/>
                  </a:lnTo>
                  <a:cubicBezTo>
                    <a:pt x="173340" y="28776"/>
                    <a:pt x="189605" y="20799"/>
                    <a:pt x="189605" y="912"/>
                  </a:cubicBezTo>
                  <a:lnTo>
                    <a:pt x="189605" y="0"/>
                  </a:lnTo>
                  <a:cubicBezTo>
                    <a:pt x="189605" y="0"/>
                    <a:pt x="36153" y="0"/>
                    <a:pt x="36153" y="0"/>
                  </a:cubicBezTo>
                  <a:cubicBezTo>
                    <a:pt x="16253" y="0"/>
                    <a:pt x="0" y="16277"/>
                    <a:pt x="0" y="36153"/>
                  </a:cubicBezTo>
                  <a:lnTo>
                    <a:pt x="0" y="97568"/>
                  </a:lnTo>
                  <a:cubicBezTo>
                    <a:pt x="0" y="117443"/>
                    <a:pt x="7989" y="133721"/>
                    <a:pt x="27864" y="133721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574" name="Forma livre: Forma 573">
              <a:extLst>
                <a:ext uri="{FF2B5EF4-FFF2-40B4-BE49-F238E27FC236}">
                  <a16:creationId xmlns:a16="http://schemas.microsoft.com/office/drawing/2014/main" id="{C446C9A7-83CC-AA6C-EA4D-9D6A2E9BF25E}"/>
                </a:ext>
              </a:extLst>
            </p:cNvPr>
            <p:cNvSpPr/>
            <p:nvPr/>
          </p:nvSpPr>
          <p:spPr>
            <a:xfrm>
              <a:off x="5617543" y="3253770"/>
              <a:ext cx="191704" cy="191704"/>
            </a:xfrm>
            <a:custGeom>
              <a:avLst/>
              <a:gdLst>
                <a:gd name="connsiteX0" fmla="*/ 168638 w 191704"/>
                <a:gd name="connsiteY0" fmla="*/ 33478 h 191704"/>
                <a:gd name="connsiteX1" fmla="*/ 191704 w 191704"/>
                <a:gd name="connsiteY1" fmla="*/ 95852 h 191704"/>
                <a:gd name="connsiteX2" fmla="*/ 95852 w 191704"/>
                <a:gd name="connsiteY2" fmla="*/ 191704 h 191704"/>
                <a:gd name="connsiteX3" fmla="*/ 0 w 191704"/>
                <a:gd name="connsiteY3" fmla="*/ 95852 h 191704"/>
                <a:gd name="connsiteX4" fmla="*/ 95852 w 191704"/>
                <a:gd name="connsiteY4" fmla="*/ 0 h 191704"/>
                <a:gd name="connsiteX5" fmla="*/ 139226 w 191704"/>
                <a:gd name="connsiteY5" fmla="*/ 10352 h 1917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91704" h="191704">
                  <a:moveTo>
                    <a:pt x="168638" y="33478"/>
                  </a:moveTo>
                  <a:cubicBezTo>
                    <a:pt x="183008" y="50247"/>
                    <a:pt x="191704" y="72030"/>
                    <a:pt x="191704" y="95852"/>
                  </a:cubicBezTo>
                  <a:cubicBezTo>
                    <a:pt x="191704" y="148786"/>
                    <a:pt x="148786" y="191704"/>
                    <a:pt x="95852" y="191704"/>
                  </a:cubicBezTo>
                  <a:cubicBezTo>
                    <a:pt x="42918" y="191704"/>
                    <a:pt x="0" y="148786"/>
                    <a:pt x="0" y="95852"/>
                  </a:cubicBezTo>
                  <a:cubicBezTo>
                    <a:pt x="0" y="42918"/>
                    <a:pt x="42906" y="0"/>
                    <a:pt x="95852" y="0"/>
                  </a:cubicBezTo>
                  <a:cubicBezTo>
                    <a:pt x="111470" y="0"/>
                    <a:pt x="126200" y="3731"/>
                    <a:pt x="139226" y="10352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576" name="Gráfico 9">
            <a:extLst>
              <a:ext uri="{FF2B5EF4-FFF2-40B4-BE49-F238E27FC236}">
                <a16:creationId xmlns:a16="http://schemas.microsoft.com/office/drawing/2014/main" id="{0239A38E-E95C-3D81-8E76-870F30399FFD}"/>
              </a:ext>
            </a:extLst>
          </p:cNvPr>
          <p:cNvGrpSpPr/>
          <p:nvPr/>
        </p:nvGrpSpPr>
        <p:grpSpPr>
          <a:xfrm>
            <a:off x="7372984" y="2592322"/>
            <a:ext cx="265317" cy="265233"/>
            <a:chOff x="7372984" y="2592322"/>
            <a:chExt cx="265317" cy="265233"/>
          </a:xfrm>
        </p:grpSpPr>
        <p:grpSp>
          <p:nvGrpSpPr>
            <p:cNvPr id="577" name="Gráfico 9">
              <a:extLst>
                <a:ext uri="{FF2B5EF4-FFF2-40B4-BE49-F238E27FC236}">
                  <a16:creationId xmlns:a16="http://schemas.microsoft.com/office/drawing/2014/main" id="{98A88A5C-C632-7A2D-B5B4-BEAF08D0274E}"/>
                </a:ext>
              </a:extLst>
            </p:cNvPr>
            <p:cNvGrpSpPr/>
            <p:nvPr/>
          </p:nvGrpSpPr>
          <p:grpSpPr>
            <a:xfrm>
              <a:off x="7472012" y="2661423"/>
              <a:ext cx="67273" cy="113901"/>
              <a:chOff x="7472012" y="2661423"/>
              <a:chExt cx="67273" cy="113901"/>
            </a:xfrm>
          </p:grpSpPr>
          <p:sp>
            <p:nvSpPr>
              <p:cNvPr id="578" name="Forma livre: Forma 577">
                <a:extLst>
                  <a:ext uri="{FF2B5EF4-FFF2-40B4-BE49-F238E27FC236}">
                    <a16:creationId xmlns:a16="http://schemas.microsoft.com/office/drawing/2014/main" id="{F5A42FC4-3A22-A1DD-E28A-1C1AC22F1657}"/>
                  </a:ext>
                </a:extLst>
              </p:cNvPr>
              <p:cNvSpPr/>
              <p:nvPr/>
            </p:nvSpPr>
            <p:spPr>
              <a:xfrm>
                <a:off x="7479467" y="2691660"/>
                <a:ext cx="26426" cy="82899"/>
              </a:xfrm>
              <a:custGeom>
                <a:avLst/>
                <a:gdLst>
                  <a:gd name="connsiteX0" fmla="*/ 0 w 26426"/>
                  <a:gd name="connsiteY0" fmla="*/ 0 h 82899"/>
                  <a:gd name="connsiteX1" fmla="*/ 26427 w 26426"/>
                  <a:gd name="connsiteY1" fmla="*/ 0 h 82899"/>
                  <a:gd name="connsiteX2" fmla="*/ 26427 w 26426"/>
                  <a:gd name="connsiteY2" fmla="*/ 82900 h 828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6426" h="82899">
                    <a:moveTo>
                      <a:pt x="0" y="0"/>
                    </a:moveTo>
                    <a:lnTo>
                      <a:pt x="26427" y="0"/>
                    </a:lnTo>
                    <a:lnTo>
                      <a:pt x="26427" y="82900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79" name="Forma livre: Forma 578">
                <a:extLst>
                  <a:ext uri="{FF2B5EF4-FFF2-40B4-BE49-F238E27FC236}">
                    <a16:creationId xmlns:a16="http://schemas.microsoft.com/office/drawing/2014/main" id="{67048FB8-661B-7595-CF41-2A8F5AEE3172}"/>
                  </a:ext>
                </a:extLst>
              </p:cNvPr>
              <p:cNvSpPr/>
              <p:nvPr/>
            </p:nvSpPr>
            <p:spPr>
              <a:xfrm>
                <a:off x="7472012" y="2775324"/>
                <a:ext cx="67273" cy="1194"/>
              </a:xfrm>
              <a:custGeom>
                <a:avLst/>
                <a:gdLst>
                  <a:gd name="connsiteX0" fmla="*/ 0 w 67273"/>
                  <a:gd name="connsiteY0" fmla="*/ 0 h 1194"/>
                  <a:gd name="connsiteX1" fmla="*/ 67273 w 67273"/>
                  <a:gd name="connsiteY1" fmla="*/ 0 h 11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7273" h="1194">
                    <a:moveTo>
                      <a:pt x="0" y="0"/>
                    </a:moveTo>
                    <a:lnTo>
                      <a:pt x="67273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80" name="Forma livre: Forma 579">
                <a:extLst>
                  <a:ext uri="{FF2B5EF4-FFF2-40B4-BE49-F238E27FC236}">
                    <a16:creationId xmlns:a16="http://schemas.microsoft.com/office/drawing/2014/main" id="{AF72A9D3-780E-B967-CDE3-A9890E0C3078}"/>
                  </a:ext>
                </a:extLst>
              </p:cNvPr>
              <p:cNvSpPr/>
              <p:nvPr/>
            </p:nvSpPr>
            <p:spPr>
              <a:xfrm>
                <a:off x="7500935" y="2661423"/>
                <a:ext cx="6415" cy="6427"/>
              </a:xfrm>
              <a:custGeom>
                <a:avLst/>
                <a:gdLst>
                  <a:gd name="connsiteX0" fmla="*/ 6415 w 6415"/>
                  <a:gd name="connsiteY0" fmla="*/ 3214 h 6427"/>
                  <a:gd name="connsiteX1" fmla="*/ 3214 w 6415"/>
                  <a:gd name="connsiteY1" fmla="*/ 6427 h 6427"/>
                  <a:gd name="connsiteX2" fmla="*/ 0 w 6415"/>
                  <a:gd name="connsiteY2" fmla="*/ 3214 h 6427"/>
                  <a:gd name="connsiteX3" fmla="*/ 3214 w 6415"/>
                  <a:gd name="connsiteY3" fmla="*/ 0 h 6427"/>
                  <a:gd name="connsiteX4" fmla="*/ 6415 w 6415"/>
                  <a:gd name="connsiteY4" fmla="*/ 3214 h 64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415" h="6427">
                    <a:moveTo>
                      <a:pt x="6415" y="3214"/>
                    </a:moveTo>
                    <a:cubicBezTo>
                      <a:pt x="6415" y="4994"/>
                      <a:pt x="4982" y="6427"/>
                      <a:pt x="3214" y="6427"/>
                    </a:cubicBezTo>
                    <a:cubicBezTo>
                      <a:pt x="1446" y="6427"/>
                      <a:pt x="0" y="4994"/>
                      <a:pt x="0" y="3214"/>
                    </a:cubicBezTo>
                    <a:cubicBezTo>
                      <a:pt x="0" y="1434"/>
                      <a:pt x="1434" y="0"/>
                      <a:pt x="3214" y="0"/>
                    </a:cubicBezTo>
                    <a:cubicBezTo>
                      <a:pt x="4994" y="0"/>
                      <a:pt x="6415" y="1434"/>
                      <a:pt x="6415" y="3214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581" name="Gráfico 9">
              <a:extLst>
                <a:ext uri="{FF2B5EF4-FFF2-40B4-BE49-F238E27FC236}">
                  <a16:creationId xmlns:a16="http://schemas.microsoft.com/office/drawing/2014/main" id="{AA025F0C-8568-D8D1-4B7C-192D217CB150}"/>
                </a:ext>
              </a:extLst>
            </p:cNvPr>
            <p:cNvGrpSpPr/>
            <p:nvPr/>
          </p:nvGrpSpPr>
          <p:grpSpPr>
            <a:xfrm>
              <a:off x="7372984" y="2592322"/>
              <a:ext cx="265317" cy="265233"/>
              <a:chOff x="7372984" y="2592322"/>
              <a:chExt cx="265317" cy="265233"/>
            </a:xfrm>
            <a:noFill/>
          </p:grpSpPr>
          <p:sp>
            <p:nvSpPr>
              <p:cNvPr id="582" name="Forma livre: Forma 581">
                <a:extLst>
                  <a:ext uri="{FF2B5EF4-FFF2-40B4-BE49-F238E27FC236}">
                    <a16:creationId xmlns:a16="http://schemas.microsoft.com/office/drawing/2014/main" id="{A2B94F73-8F13-6457-F103-ED92C24907C0}"/>
                  </a:ext>
                </a:extLst>
              </p:cNvPr>
              <p:cNvSpPr/>
              <p:nvPr/>
            </p:nvSpPr>
            <p:spPr>
              <a:xfrm>
                <a:off x="7372984" y="2592322"/>
                <a:ext cx="265317" cy="265233"/>
              </a:xfrm>
              <a:custGeom>
                <a:avLst/>
                <a:gdLst>
                  <a:gd name="connsiteX0" fmla="*/ 265317 w 265317"/>
                  <a:gd name="connsiteY0" fmla="*/ 132623 h 265233"/>
                  <a:gd name="connsiteX1" fmla="*/ 132635 w 265317"/>
                  <a:gd name="connsiteY1" fmla="*/ 265234 h 265233"/>
                  <a:gd name="connsiteX2" fmla="*/ 0 w 265317"/>
                  <a:gd name="connsiteY2" fmla="*/ 132623 h 265233"/>
                  <a:gd name="connsiteX3" fmla="*/ 132635 w 265317"/>
                  <a:gd name="connsiteY3" fmla="*/ 0 h 265233"/>
                  <a:gd name="connsiteX4" fmla="*/ 265317 w 265317"/>
                  <a:gd name="connsiteY4" fmla="*/ 132623 h 2652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65317" h="265233">
                    <a:moveTo>
                      <a:pt x="265317" y="132623"/>
                    </a:moveTo>
                    <a:cubicBezTo>
                      <a:pt x="265317" y="205869"/>
                      <a:pt x="205941" y="265234"/>
                      <a:pt x="132635" y="265234"/>
                    </a:cubicBezTo>
                    <a:cubicBezTo>
                      <a:pt x="59328" y="265234"/>
                      <a:pt x="0" y="205857"/>
                      <a:pt x="0" y="132623"/>
                    </a:cubicBezTo>
                    <a:cubicBezTo>
                      <a:pt x="0" y="59388"/>
                      <a:pt x="59376" y="0"/>
                      <a:pt x="132635" y="0"/>
                    </a:cubicBezTo>
                    <a:cubicBezTo>
                      <a:pt x="205893" y="0"/>
                      <a:pt x="265317" y="59376"/>
                      <a:pt x="265317" y="132623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83" name="Forma livre: Forma 582">
                <a:extLst>
                  <a:ext uri="{FF2B5EF4-FFF2-40B4-BE49-F238E27FC236}">
                    <a16:creationId xmlns:a16="http://schemas.microsoft.com/office/drawing/2014/main" id="{F00DDAB5-C817-B235-D080-CADC0013639C}"/>
                  </a:ext>
                </a:extLst>
              </p:cNvPr>
              <p:cNvSpPr/>
              <p:nvPr/>
            </p:nvSpPr>
            <p:spPr>
              <a:xfrm>
                <a:off x="7406148" y="2625474"/>
                <a:ext cx="198999" cy="198928"/>
              </a:xfrm>
              <a:custGeom>
                <a:avLst/>
                <a:gdLst>
                  <a:gd name="connsiteX0" fmla="*/ 99482 w 198999"/>
                  <a:gd name="connsiteY0" fmla="*/ 0 h 198928"/>
                  <a:gd name="connsiteX1" fmla="*/ 199000 w 198999"/>
                  <a:gd name="connsiteY1" fmla="*/ 99470 h 198928"/>
                  <a:gd name="connsiteX2" fmla="*/ 99482 w 198999"/>
                  <a:gd name="connsiteY2" fmla="*/ 198928 h 198928"/>
                  <a:gd name="connsiteX3" fmla="*/ 0 w 198999"/>
                  <a:gd name="connsiteY3" fmla="*/ 99470 h 198928"/>
                  <a:gd name="connsiteX4" fmla="*/ 38242 w 198999"/>
                  <a:gd name="connsiteY4" fmla="*/ 21074 h 1989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98999" h="198928">
                    <a:moveTo>
                      <a:pt x="99482" y="0"/>
                    </a:moveTo>
                    <a:cubicBezTo>
                      <a:pt x="154462" y="0"/>
                      <a:pt x="199000" y="44526"/>
                      <a:pt x="199000" y="99470"/>
                    </a:cubicBezTo>
                    <a:cubicBezTo>
                      <a:pt x="199000" y="154414"/>
                      <a:pt x="154462" y="198928"/>
                      <a:pt x="99482" y="198928"/>
                    </a:cubicBezTo>
                    <a:cubicBezTo>
                      <a:pt x="44502" y="198928"/>
                      <a:pt x="0" y="154402"/>
                      <a:pt x="0" y="99470"/>
                    </a:cubicBezTo>
                    <a:cubicBezTo>
                      <a:pt x="0" y="67620"/>
                      <a:pt x="14957" y="39281"/>
                      <a:pt x="38242" y="21074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584" name="Gráfico 9">
            <a:extLst>
              <a:ext uri="{FF2B5EF4-FFF2-40B4-BE49-F238E27FC236}">
                <a16:creationId xmlns:a16="http://schemas.microsoft.com/office/drawing/2014/main" id="{53EC6BBC-CAB8-EAA2-F479-6A8A65F41480}"/>
              </a:ext>
            </a:extLst>
          </p:cNvPr>
          <p:cNvGrpSpPr/>
          <p:nvPr/>
        </p:nvGrpSpPr>
        <p:grpSpPr>
          <a:xfrm>
            <a:off x="7375039" y="987049"/>
            <a:ext cx="261195" cy="290561"/>
            <a:chOff x="7375039" y="987049"/>
            <a:chExt cx="261195" cy="290561"/>
          </a:xfrm>
        </p:grpSpPr>
        <p:grpSp>
          <p:nvGrpSpPr>
            <p:cNvPr id="585" name="Gráfico 9">
              <a:extLst>
                <a:ext uri="{FF2B5EF4-FFF2-40B4-BE49-F238E27FC236}">
                  <a16:creationId xmlns:a16="http://schemas.microsoft.com/office/drawing/2014/main" id="{3AF1B42C-91E4-F3A5-B0FF-B99D47A9B134}"/>
                </a:ext>
              </a:extLst>
            </p:cNvPr>
            <p:cNvGrpSpPr/>
            <p:nvPr/>
          </p:nvGrpSpPr>
          <p:grpSpPr>
            <a:xfrm>
              <a:off x="7522739" y="1150770"/>
              <a:ext cx="113495" cy="126840"/>
              <a:chOff x="7522739" y="1150770"/>
              <a:chExt cx="113495" cy="126840"/>
            </a:xfrm>
            <a:noFill/>
          </p:grpSpPr>
          <p:sp>
            <p:nvSpPr>
              <p:cNvPr id="586" name="Forma livre: Forma 585">
                <a:extLst>
                  <a:ext uri="{FF2B5EF4-FFF2-40B4-BE49-F238E27FC236}">
                    <a16:creationId xmlns:a16="http://schemas.microsoft.com/office/drawing/2014/main" id="{59A5EE0C-CEF5-A612-64FC-6AD0F6755CD7}"/>
                  </a:ext>
                </a:extLst>
              </p:cNvPr>
              <p:cNvSpPr/>
              <p:nvPr/>
            </p:nvSpPr>
            <p:spPr>
              <a:xfrm>
                <a:off x="7522739" y="1234960"/>
                <a:ext cx="113495" cy="42650"/>
              </a:xfrm>
              <a:custGeom>
                <a:avLst/>
                <a:gdLst>
                  <a:gd name="connsiteX0" fmla="*/ 113496 w 113495"/>
                  <a:gd name="connsiteY0" fmla="*/ 42651 h 42650"/>
                  <a:gd name="connsiteX1" fmla="*/ 113496 w 113495"/>
                  <a:gd name="connsiteY1" fmla="*/ 30321 h 42650"/>
                  <a:gd name="connsiteX2" fmla="*/ 78790 w 113495"/>
                  <a:gd name="connsiteY2" fmla="*/ 0 h 42650"/>
                  <a:gd name="connsiteX3" fmla="*/ 56748 w 113495"/>
                  <a:gd name="connsiteY3" fmla="*/ 25566 h 42650"/>
                  <a:gd name="connsiteX4" fmla="*/ 34706 w 113495"/>
                  <a:gd name="connsiteY4" fmla="*/ 0 h 42650"/>
                  <a:gd name="connsiteX5" fmla="*/ 0 w 113495"/>
                  <a:gd name="connsiteY5" fmla="*/ 30321 h 42650"/>
                  <a:gd name="connsiteX6" fmla="*/ 0 w 113495"/>
                  <a:gd name="connsiteY6" fmla="*/ 42651 h 426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13495" h="42650">
                    <a:moveTo>
                      <a:pt x="113496" y="42651"/>
                    </a:moveTo>
                    <a:lnTo>
                      <a:pt x="113496" y="30321"/>
                    </a:lnTo>
                    <a:cubicBezTo>
                      <a:pt x="113496" y="8267"/>
                      <a:pt x="113603" y="4600"/>
                      <a:pt x="78790" y="0"/>
                    </a:cubicBezTo>
                    <a:lnTo>
                      <a:pt x="56748" y="25566"/>
                    </a:lnTo>
                    <a:lnTo>
                      <a:pt x="34706" y="0"/>
                    </a:lnTo>
                    <a:cubicBezTo>
                      <a:pt x="-107" y="4612"/>
                      <a:pt x="0" y="8279"/>
                      <a:pt x="0" y="30321"/>
                    </a:cubicBezTo>
                    <a:lnTo>
                      <a:pt x="0" y="42651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87" name="Forma livre: Forma 586">
                <a:extLst>
                  <a:ext uri="{FF2B5EF4-FFF2-40B4-BE49-F238E27FC236}">
                    <a16:creationId xmlns:a16="http://schemas.microsoft.com/office/drawing/2014/main" id="{E306DFAA-A724-EC19-9447-F1AD4EA7DC55}"/>
                  </a:ext>
                </a:extLst>
              </p:cNvPr>
              <p:cNvSpPr/>
              <p:nvPr/>
            </p:nvSpPr>
            <p:spPr>
              <a:xfrm>
                <a:off x="7553968" y="1150770"/>
                <a:ext cx="51025" cy="61395"/>
              </a:xfrm>
              <a:custGeom>
                <a:avLst/>
                <a:gdLst>
                  <a:gd name="connsiteX0" fmla="*/ 51025 w 51025"/>
                  <a:gd name="connsiteY0" fmla="*/ 35494 h 61395"/>
                  <a:gd name="connsiteX1" fmla="*/ 25507 w 51025"/>
                  <a:gd name="connsiteY1" fmla="*/ 61395 h 61395"/>
                  <a:gd name="connsiteX2" fmla="*/ 0 w 51025"/>
                  <a:gd name="connsiteY2" fmla="*/ 35494 h 61395"/>
                  <a:gd name="connsiteX3" fmla="*/ 0 w 51025"/>
                  <a:gd name="connsiteY3" fmla="*/ 25901 h 61395"/>
                  <a:gd name="connsiteX4" fmla="*/ 25507 w 51025"/>
                  <a:gd name="connsiteY4" fmla="*/ 0 h 61395"/>
                  <a:gd name="connsiteX5" fmla="*/ 51025 w 51025"/>
                  <a:gd name="connsiteY5" fmla="*/ 25901 h 61395"/>
                  <a:gd name="connsiteX6" fmla="*/ 51025 w 51025"/>
                  <a:gd name="connsiteY6" fmla="*/ 35494 h 613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51025" h="61395">
                    <a:moveTo>
                      <a:pt x="51025" y="35494"/>
                    </a:moveTo>
                    <a:cubicBezTo>
                      <a:pt x="51025" y="49735"/>
                      <a:pt x="39544" y="61395"/>
                      <a:pt x="25507" y="61395"/>
                    </a:cubicBezTo>
                    <a:cubicBezTo>
                      <a:pt x="11469" y="61395"/>
                      <a:pt x="0" y="49735"/>
                      <a:pt x="0" y="35494"/>
                    </a:cubicBezTo>
                    <a:lnTo>
                      <a:pt x="0" y="25901"/>
                    </a:lnTo>
                    <a:cubicBezTo>
                      <a:pt x="0" y="11648"/>
                      <a:pt x="11481" y="0"/>
                      <a:pt x="25507" y="0"/>
                    </a:cubicBezTo>
                    <a:cubicBezTo>
                      <a:pt x="39532" y="0"/>
                      <a:pt x="51025" y="11648"/>
                      <a:pt x="51025" y="25901"/>
                    </a:cubicBezTo>
                    <a:lnTo>
                      <a:pt x="51025" y="35494"/>
                    </a:ln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588" name="Gráfico 9">
              <a:extLst>
                <a:ext uri="{FF2B5EF4-FFF2-40B4-BE49-F238E27FC236}">
                  <a16:creationId xmlns:a16="http://schemas.microsoft.com/office/drawing/2014/main" id="{8A568232-3F5B-1C57-F4EC-87501B1A3572}"/>
                </a:ext>
              </a:extLst>
            </p:cNvPr>
            <p:cNvGrpSpPr/>
            <p:nvPr/>
          </p:nvGrpSpPr>
          <p:grpSpPr>
            <a:xfrm>
              <a:off x="7375051" y="1005961"/>
              <a:ext cx="113507" cy="126840"/>
              <a:chOff x="7375051" y="1005961"/>
              <a:chExt cx="113507" cy="126840"/>
            </a:xfrm>
            <a:noFill/>
          </p:grpSpPr>
          <p:sp>
            <p:nvSpPr>
              <p:cNvPr id="589" name="Forma livre: Forma 588">
                <a:extLst>
                  <a:ext uri="{FF2B5EF4-FFF2-40B4-BE49-F238E27FC236}">
                    <a16:creationId xmlns:a16="http://schemas.microsoft.com/office/drawing/2014/main" id="{D6059B70-D6D6-244A-8422-8D0095B91404}"/>
                  </a:ext>
                </a:extLst>
              </p:cNvPr>
              <p:cNvSpPr/>
              <p:nvPr/>
            </p:nvSpPr>
            <p:spPr>
              <a:xfrm>
                <a:off x="7375051" y="1090151"/>
                <a:ext cx="113507" cy="42650"/>
              </a:xfrm>
              <a:custGeom>
                <a:avLst/>
                <a:gdLst>
                  <a:gd name="connsiteX0" fmla="*/ 113508 w 113507"/>
                  <a:gd name="connsiteY0" fmla="*/ 42651 h 42650"/>
                  <a:gd name="connsiteX1" fmla="*/ 113508 w 113507"/>
                  <a:gd name="connsiteY1" fmla="*/ 30321 h 42650"/>
                  <a:gd name="connsiteX2" fmla="*/ 78790 w 113507"/>
                  <a:gd name="connsiteY2" fmla="*/ 0 h 42650"/>
                  <a:gd name="connsiteX3" fmla="*/ 56748 w 113507"/>
                  <a:gd name="connsiteY3" fmla="*/ 25566 h 42650"/>
                  <a:gd name="connsiteX4" fmla="*/ 34706 w 113507"/>
                  <a:gd name="connsiteY4" fmla="*/ 0 h 42650"/>
                  <a:gd name="connsiteX5" fmla="*/ 0 w 113507"/>
                  <a:gd name="connsiteY5" fmla="*/ 30321 h 42650"/>
                  <a:gd name="connsiteX6" fmla="*/ 0 w 113507"/>
                  <a:gd name="connsiteY6" fmla="*/ 42651 h 426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13507" h="42650">
                    <a:moveTo>
                      <a:pt x="113508" y="42651"/>
                    </a:moveTo>
                    <a:lnTo>
                      <a:pt x="113508" y="30321"/>
                    </a:lnTo>
                    <a:cubicBezTo>
                      <a:pt x="113508" y="8267"/>
                      <a:pt x="113603" y="4600"/>
                      <a:pt x="78790" y="0"/>
                    </a:cubicBezTo>
                    <a:lnTo>
                      <a:pt x="56748" y="25566"/>
                    </a:lnTo>
                    <a:lnTo>
                      <a:pt x="34706" y="0"/>
                    </a:lnTo>
                    <a:cubicBezTo>
                      <a:pt x="-107" y="4612"/>
                      <a:pt x="0" y="8267"/>
                      <a:pt x="0" y="30321"/>
                    </a:cubicBezTo>
                    <a:lnTo>
                      <a:pt x="0" y="42651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90" name="Forma livre: Forma 589">
                <a:extLst>
                  <a:ext uri="{FF2B5EF4-FFF2-40B4-BE49-F238E27FC236}">
                    <a16:creationId xmlns:a16="http://schemas.microsoft.com/office/drawing/2014/main" id="{2C17A52E-8A5A-AAF6-20E0-986217CDBDE9}"/>
                  </a:ext>
                </a:extLst>
              </p:cNvPr>
              <p:cNvSpPr/>
              <p:nvPr/>
            </p:nvSpPr>
            <p:spPr>
              <a:xfrm>
                <a:off x="7406280" y="1005961"/>
                <a:ext cx="51025" cy="61395"/>
              </a:xfrm>
              <a:custGeom>
                <a:avLst/>
                <a:gdLst>
                  <a:gd name="connsiteX0" fmla="*/ 51025 w 51025"/>
                  <a:gd name="connsiteY0" fmla="*/ 35494 h 61395"/>
                  <a:gd name="connsiteX1" fmla="*/ 25507 w 51025"/>
                  <a:gd name="connsiteY1" fmla="*/ 61395 h 61395"/>
                  <a:gd name="connsiteX2" fmla="*/ 0 w 51025"/>
                  <a:gd name="connsiteY2" fmla="*/ 35494 h 61395"/>
                  <a:gd name="connsiteX3" fmla="*/ 0 w 51025"/>
                  <a:gd name="connsiteY3" fmla="*/ 25901 h 61395"/>
                  <a:gd name="connsiteX4" fmla="*/ 25507 w 51025"/>
                  <a:gd name="connsiteY4" fmla="*/ 0 h 61395"/>
                  <a:gd name="connsiteX5" fmla="*/ 51025 w 51025"/>
                  <a:gd name="connsiteY5" fmla="*/ 25901 h 61395"/>
                  <a:gd name="connsiteX6" fmla="*/ 51025 w 51025"/>
                  <a:gd name="connsiteY6" fmla="*/ 35494 h 613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51025" h="61395">
                    <a:moveTo>
                      <a:pt x="51025" y="35494"/>
                    </a:moveTo>
                    <a:cubicBezTo>
                      <a:pt x="51025" y="49735"/>
                      <a:pt x="39544" y="61395"/>
                      <a:pt x="25507" y="61395"/>
                    </a:cubicBezTo>
                    <a:cubicBezTo>
                      <a:pt x="11469" y="61395"/>
                      <a:pt x="0" y="49735"/>
                      <a:pt x="0" y="35494"/>
                    </a:cubicBezTo>
                    <a:lnTo>
                      <a:pt x="0" y="25901"/>
                    </a:lnTo>
                    <a:cubicBezTo>
                      <a:pt x="0" y="11648"/>
                      <a:pt x="11481" y="0"/>
                      <a:pt x="25507" y="0"/>
                    </a:cubicBezTo>
                    <a:cubicBezTo>
                      <a:pt x="39532" y="0"/>
                      <a:pt x="51025" y="11648"/>
                      <a:pt x="51025" y="25901"/>
                    </a:cubicBezTo>
                    <a:lnTo>
                      <a:pt x="51025" y="35494"/>
                    </a:ln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591" name="Gráfico 9">
              <a:extLst>
                <a:ext uri="{FF2B5EF4-FFF2-40B4-BE49-F238E27FC236}">
                  <a16:creationId xmlns:a16="http://schemas.microsoft.com/office/drawing/2014/main" id="{E68934A4-A0A9-88E3-8AD0-4678E836BF22}"/>
                </a:ext>
              </a:extLst>
            </p:cNvPr>
            <p:cNvGrpSpPr/>
            <p:nvPr/>
          </p:nvGrpSpPr>
          <p:grpSpPr>
            <a:xfrm>
              <a:off x="7375039" y="1163362"/>
              <a:ext cx="154330" cy="79781"/>
              <a:chOff x="7375039" y="1163362"/>
              <a:chExt cx="154330" cy="79781"/>
            </a:xfrm>
            <a:noFill/>
          </p:grpSpPr>
          <p:grpSp>
            <p:nvGrpSpPr>
              <p:cNvPr id="592" name="Gráfico 9">
                <a:extLst>
                  <a:ext uri="{FF2B5EF4-FFF2-40B4-BE49-F238E27FC236}">
                    <a16:creationId xmlns:a16="http://schemas.microsoft.com/office/drawing/2014/main" id="{E84301CB-A416-0707-01A1-F7A35DA918FE}"/>
                  </a:ext>
                </a:extLst>
              </p:cNvPr>
              <p:cNvGrpSpPr/>
              <p:nvPr/>
            </p:nvGrpSpPr>
            <p:grpSpPr>
              <a:xfrm>
                <a:off x="7396328" y="1191509"/>
                <a:ext cx="69124" cy="23475"/>
                <a:chOff x="7396328" y="1191509"/>
                <a:chExt cx="69124" cy="23475"/>
              </a:xfrm>
            </p:grpSpPr>
            <p:sp>
              <p:nvSpPr>
                <p:cNvPr id="593" name="Forma livre: Forma 592">
                  <a:extLst>
                    <a:ext uri="{FF2B5EF4-FFF2-40B4-BE49-F238E27FC236}">
                      <a16:creationId xmlns:a16="http://schemas.microsoft.com/office/drawing/2014/main" id="{113D83BB-EA41-E94A-151D-C473DAE75E7A}"/>
                    </a:ext>
                  </a:extLst>
                </p:cNvPr>
                <p:cNvSpPr/>
                <p:nvPr/>
              </p:nvSpPr>
              <p:spPr>
                <a:xfrm>
                  <a:off x="7396328" y="1191509"/>
                  <a:ext cx="69124" cy="1194"/>
                </a:xfrm>
                <a:custGeom>
                  <a:avLst/>
                  <a:gdLst>
                    <a:gd name="connsiteX0" fmla="*/ 69125 w 69124"/>
                    <a:gd name="connsiteY0" fmla="*/ 0 h 1194"/>
                    <a:gd name="connsiteX1" fmla="*/ 0 w 69124"/>
                    <a:gd name="connsiteY1" fmla="*/ 0 h 119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69124" h="1194">
                      <a:moveTo>
                        <a:pt x="69125" y="0"/>
                      </a:moveTo>
                      <a:lnTo>
                        <a:pt x="0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594" name="Forma livre: Forma 593">
                  <a:extLst>
                    <a:ext uri="{FF2B5EF4-FFF2-40B4-BE49-F238E27FC236}">
                      <a16:creationId xmlns:a16="http://schemas.microsoft.com/office/drawing/2014/main" id="{FB4EC6BE-2027-D922-0790-73FFD7E2FE9C}"/>
                    </a:ext>
                  </a:extLst>
                </p:cNvPr>
                <p:cNvSpPr/>
                <p:nvPr/>
              </p:nvSpPr>
              <p:spPr>
                <a:xfrm>
                  <a:off x="7415407" y="1214984"/>
                  <a:ext cx="50045" cy="1194"/>
                </a:xfrm>
                <a:custGeom>
                  <a:avLst/>
                  <a:gdLst>
                    <a:gd name="connsiteX0" fmla="*/ 50046 w 50045"/>
                    <a:gd name="connsiteY0" fmla="*/ 0 h 1194"/>
                    <a:gd name="connsiteX1" fmla="*/ 0 w 50045"/>
                    <a:gd name="connsiteY1" fmla="*/ 0 h 119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50045" h="1194">
                      <a:moveTo>
                        <a:pt x="50046" y="0"/>
                      </a:moveTo>
                      <a:lnTo>
                        <a:pt x="0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595" name="Forma livre: Forma 594">
                <a:extLst>
                  <a:ext uri="{FF2B5EF4-FFF2-40B4-BE49-F238E27FC236}">
                    <a16:creationId xmlns:a16="http://schemas.microsoft.com/office/drawing/2014/main" id="{53974B12-3DD1-A4CC-38CE-E930874021A1}"/>
                  </a:ext>
                </a:extLst>
              </p:cNvPr>
              <p:cNvSpPr/>
              <p:nvPr/>
            </p:nvSpPr>
            <p:spPr>
              <a:xfrm>
                <a:off x="7375039" y="1163362"/>
                <a:ext cx="154330" cy="79781"/>
              </a:xfrm>
              <a:custGeom>
                <a:avLst/>
                <a:gdLst>
                  <a:gd name="connsiteX0" fmla="*/ 113520 w 154330"/>
                  <a:gd name="connsiteY0" fmla="*/ 53976 h 79781"/>
                  <a:gd name="connsiteX1" fmla="*/ 113520 w 154330"/>
                  <a:gd name="connsiteY1" fmla="*/ 79782 h 79781"/>
                  <a:gd name="connsiteX2" fmla="*/ 0 w 154330"/>
                  <a:gd name="connsiteY2" fmla="*/ 79782 h 79781"/>
                  <a:gd name="connsiteX3" fmla="*/ 0 w 154330"/>
                  <a:gd name="connsiteY3" fmla="*/ 0 h 79781"/>
                  <a:gd name="connsiteX4" fmla="*/ 113520 w 154330"/>
                  <a:gd name="connsiteY4" fmla="*/ 0 h 79781"/>
                  <a:gd name="connsiteX5" fmla="*/ 113520 w 154330"/>
                  <a:gd name="connsiteY5" fmla="*/ 25351 h 79781"/>
                  <a:gd name="connsiteX6" fmla="*/ 154330 w 154330"/>
                  <a:gd name="connsiteY6" fmla="*/ 41492 h 79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54330" h="79781">
                    <a:moveTo>
                      <a:pt x="113520" y="53976"/>
                    </a:moveTo>
                    <a:lnTo>
                      <a:pt x="113520" y="79782"/>
                    </a:lnTo>
                    <a:lnTo>
                      <a:pt x="0" y="79782"/>
                    </a:lnTo>
                    <a:lnTo>
                      <a:pt x="0" y="0"/>
                    </a:lnTo>
                    <a:lnTo>
                      <a:pt x="113520" y="0"/>
                    </a:lnTo>
                    <a:lnTo>
                      <a:pt x="113520" y="25351"/>
                    </a:lnTo>
                    <a:lnTo>
                      <a:pt x="154330" y="41492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596" name="Forma livre: Forma 595">
              <a:extLst>
                <a:ext uri="{FF2B5EF4-FFF2-40B4-BE49-F238E27FC236}">
                  <a16:creationId xmlns:a16="http://schemas.microsoft.com/office/drawing/2014/main" id="{1E11BD1D-B51A-0185-FB6A-7E7AA93DD0CE}"/>
                </a:ext>
              </a:extLst>
            </p:cNvPr>
            <p:cNvSpPr/>
            <p:nvPr/>
          </p:nvSpPr>
          <p:spPr>
            <a:xfrm>
              <a:off x="7486551" y="987049"/>
              <a:ext cx="149683" cy="125144"/>
            </a:xfrm>
            <a:custGeom>
              <a:avLst/>
              <a:gdLst>
                <a:gd name="connsiteX0" fmla="*/ 0 w 149683"/>
                <a:gd name="connsiteY0" fmla="*/ 60248 h 125144"/>
                <a:gd name="connsiteX1" fmla="*/ 36175 w 149683"/>
                <a:gd name="connsiteY1" fmla="*/ 46306 h 125144"/>
                <a:gd name="connsiteX2" fmla="*/ 36175 w 149683"/>
                <a:gd name="connsiteY2" fmla="*/ 0 h 125144"/>
                <a:gd name="connsiteX3" fmla="*/ 149683 w 149683"/>
                <a:gd name="connsiteY3" fmla="*/ 0 h 125144"/>
                <a:gd name="connsiteX4" fmla="*/ 149683 w 149683"/>
                <a:gd name="connsiteY4" fmla="*/ 125144 h 125144"/>
                <a:gd name="connsiteX5" fmla="*/ 36175 w 149683"/>
                <a:gd name="connsiteY5" fmla="*/ 125144 h 125144"/>
                <a:gd name="connsiteX6" fmla="*/ 36175 w 149683"/>
                <a:gd name="connsiteY6" fmla="*/ 73497 h 1251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9683" h="125144">
                  <a:moveTo>
                    <a:pt x="0" y="60248"/>
                  </a:moveTo>
                  <a:lnTo>
                    <a:pt x="36175" y="46306"/>
                  </a:lnTo>
                  <a:lnTo>
                    <a:pt x="36175" y="0"/>
                  </a:lnTo>
                  <a:lnTo>
                    <a:pt x="149683" y="0"/>
                  </a:lnTo>
                  <a:lnTo>
                    <a:pt x="149683" y="125144"/>
                  </a:lnTo>
                  <a:lnTo>
                    <a:pt x="36175" y="125144"/>
                  </a:lnTo>
                  <a:lnTo>
                    <a:pt x="36175" y="73497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597" name="Gráfico 9">
              <a:extLst>
                <a:ext uri="{FF2B5EF4-FFF2-40B4-BE49-F238E27FC236}">
                  <a16:creationId xmlns:a16="http://schemas.microsoft.com/office/drawing/2014/main" id="{5665B6AD-C134-A7BD-C789-F351BAB35E5A}"/>
                </a:ext>
              </a:extLst>
            </p:cNvPr>
            <p:cNvGrpSpPr/>
            <p:nvPr/>
          </p:nvGrpSpPr>
          <p:grpSpPr>
            <a:xfrm>
              <a:off x="7559427" y="1011504"/>
              <a:ext cx="41291" cy="76902"/>
              <a:chOff x="7559427" y="1011504"/>
              <a:chExt cx="41291" cy="76902"/>
            </a:xfrm>
          </p:grpSpPr>
          <p:sp>
            <p:nvSpPr>
              <p:cNvPr id="598" name="Forma livre: Forma 597">
                <a:extLst>
                  <a:ext uri="{FF2B5EF4-FFF2-40B4-BE49-F238E27FC236}">
                    <a16:creationId xmlns:a16="http://schemas.microsoft.com/office/drawing/2014/main" id="{0A826C64-9508-1BF4-C853-607EC0FFBF45}"/>
                  </a:ext>
                </a:extLst>
              </p:cNvPr>
              <p:cNvSpPr/>
              <p:nvPr/>
            </p:nvSpPr>
            <p:spPr>
              <a:xfrm>
                <a:off x="7575998" y="1084440"/>
                <a:ext cx="3954" cy="3966"/>
              </a:xfrm>
              <a:custGeom>
                <a:avLst/>
                <a:gdLst>
                  <a:gd name="connsiteX0" fmla="*/ 3955 w 3954"/>
                  <a:gd name="connsiteY0" fmla="*/ 1983 h 3966"/>
                  <a:gd name="connsiteX1" fmla="*/ 1983 w 3954"/>
                  <a:gd name="connsiteY1" fmla="*/ 3966 h 3966"/>
                  <a:gd name="connsiteX2" fmla="*/ 0 w 3954"/>
                  <a:gd name="connsiteY2" fmla="*/ 1983 h 3966"/>
                  <a:gd name="connsiteX3" fmla="*/ 1983 w 3954"/>
                  <a:gd name="connsiteY3" fmla="*/ 0 h 3966"/>
                  <a:gd name="connsiteX4" fmla="*/ 3955 w 3954"/>
                  <a:gd name="connsiteY4" fmla="*/ 1983 h 39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954" h="3966">
                    <a:moveTo>
                      <a:pt x="3955" y="1983"/>
                    </a:moveTo>
                    <a:cubicBezTo>
                      <a:pt x="3955" y="3082"/>
                      <a:pt x="3082" y="3966"/>
                      <a:pt x="1983" y="3966"/>
                    </a:cubicBezTo>
                    <a:cubicBezTo>
                      <a:pt x="884" y="3966"/>
                      <a:pt x="0" y="3082"/>
                      <a:pt x="0" y="1983"/>
                    </a:cubicBezTo>
                    <a:cubicBezTo>
                      <a:pt x="0" y="884"/>
                      <a:pt x="884" y="0"/>
                      <a:pt x="1983" y="0"/>
                    </a:cubicBezTo>
                    <a:cubicBezTo>
                      <a:pt x="3082" y="0"/>
                      <a:pt x="3955" y="884"/>
                      <a:pt x="3955" y="1983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99" name="Forma livre: Forma 598">
                <a:extLst>
                  <a:ext uri="{FF2B5EF4-FFF2-40B4-BE49-F238E27FC236}">
                    <a16:creationId xmlns:a16="http://schemas.microsoft.com/office/drawing/2014/main" id="{C41DF91E-57EA-7770-2B7A-E8894AE784C1}"/>
                  </a:ext>
                </a:extLst>
              </p:cNvPr>
              <p:cNvSpPr/>
              <p:nvPr/>
            </p:nvSpPr>
            <p:spPr>
              <a:xfrm>
                <a:off x="7559427" y="1011504"/>
                <a:ext cx="41291" cy="57906"/>
              </a:xfrm>
              <a:custGeom>
                <a:avLst/>
                <a:gdLst>
                  <a:gd name="connsiteX0" fmla="*/ 0 w 41291"/>
                  <a:gd name="connsiteY0" fmla="*/ 18088 h 57906"/>
                  <a:gd name="connsiteX1" fmla="*/ 20644 w 41291"/>
                  <a:gd name="connsiteY1" fmla="*/ 0 h 57906"/>
                  <a:gd name="connsiteX2" fmla="*/ 41289 w 41291"/>
                  <a:gd name="connsiteY2" fmla="*/ 18088 h 57906"/>
                  <a:gd name="connsiteX3" fmla="*/ 31014 w 41291"/>
                  <a:gd name="connsiteY3" fmla="*/ 33678 h 57906"/>
                  <a:gd name="connsiteX4" fmla="*/ 18303 w 41291"/>
                  <a:gd name="connsiteY4" fmla="*/ 57907 h 579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291" h="57906">
                    <a:moveTo>
                      <a:pt x="0" y="18088"/>
                    </a:moveTo>
                    <a:cubicBezTo>
                      <a:pt x="0" y="8100"/>
                      <a:pt x="9235" y="0"/>
                      <a:pt x="20644" y="0"/>
                    </a:cubicBezTo>
                    <a:cubicBezTo>
                      <a:pt x="32054" y="0"/>
                      <a:pt x="41289" y="8100"/>
                      <a:pt x="41289" y="18088"/>
                    </a:cubicBezTo>
                    <a:cubicBezTo>
                      <a:pt x="41289" y="18088"/>
                      <a:pt x="41743" y="26331"/>
                      <a:pt x="31014" y="33678"/>
                    </a:cubicBezTo>
                    <a:cubicBezTo>
                      <a:pt x="23870" y="39234"/>
                      <a:pt x="18303" y="47979"/>
                      <a:pt x="18303" y="57907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600" name="Gráfico 9">
            <a:extLst>
              <a:ext uri="{FF2B5EF4-FFF2-40B4-BE49-F238E27FC236}">
                <a16:creationId xmlns:a16="http://schemas.microsoft.com/office/drawing/2014/main" id="{1B0DC4E4-BDF0-CB74-4C5B-98E8E3D1D108}"/>
              </a:ext>
            </a:extLst>
          </p:cNvPr>
          <p:cNvGrpSpPr/>
          <p:nvPr/>
        </p:nvGrpSpPr>
        <p:grpSpPr>
          <a:xfrm>
            <a:off x="7372984" y="3123159"/>
            <a:ext cx="265317" cy="265233"/>
            <a:chOff x="7372984" y="3123159"/>
            <a:chExt cx="265317" cy="265233"/>
          </a:xfrm>
        </p:grpSpPr>
        <p:grpSp>
          <p:nvGrpSpPr>
            <p:cNvPr id="601" name="Gráfico 9">
              <a:extLst>
                <a:ext uri="{FF2B5EF4-FFF2-40B4-BE49-F238E27FC236}">
                  <a16:creationId xmlns:a16="http://schemas.microsoft.com/office/drawing/2014/main" id="{8B053798-B697-2095-7A7E-0F51223D5999}"/>
                </a:ext>
              </a:extLst>
            </p:cNvPr>
            <p:cNvGrpSpPr/>
            <p:nvPr/>
          </p:nvGrpSpPr>
          <p:grpSpPr>
            <a:xfrm>
              <a:off x="7372984" y="3123159"/>
              <a:ext cx="265317" cy="265233"/>
              <a:chOff x="7372984" y="3123159"/>
              <a:chExt cx="265317" cy="265233"/>
            </a:xfrm>
            <a:noFill/>
          </p:grpSpPr>
          <p:sp>
            <p:nvSpPr>
              <p:cNvPr id="602" name="Forma livre: Forma 601">
                <a:extLst>
                  <a:ext uri="{FF2B5EF4-FFF2-40B4-BE49-F238E27FC236}">
                    <a16:creationId xmlns:a16="http://schemas.microsoft.com/office/drawing/2014/main" id="{EFE64D08-6DF7-6469-C29F-E94EF37A99F6}"/>
                  </a:ext>
                </a:extLst>
              </p:cNvPr>
              <p:cNvSpPr/>
              <p:nvPr/>
            </p:nvSpPr>
            <p:spPr>
              <a:xfrm>
                <a:off x="7372984" y="3123159"/>
                <a:ext cx="265317" cy="265233"/>
              </a:xfrm>
              <a:custGeom>
                <a:avLst/>
                <a:gdLst>
                  <a:gd name="connsiteX0" fmla="*/ 265317 w 265317"/>
                  <a:gd name="connsiteY0" fmla="*/ 132623 h 265233"/>
                  <a:gd name="connsiteX1" fmla="*/ 132635 w 265317"/>
                  <a:gd name="connsiteY1" fmla="*/ 265234 h 265233"/>
                  <a:gd name="connsiteX2" fmla="*/ 0 w 265317"/>
                  <a:gd name="connsiteY2" fmla="*/ 132623 h 265233"/>
                  <a:gd name="connsiteX3" fmla="*/ 132635 w 265317"/>
                  <a:gd name="connsiteY3" fmla="*/ 0 h 265233"/>
                  <a:gd name="connsiteX4" fmla="*/ 265317 w 265317"/>
                  <a:gd name="connsiteY4" fmla="*/ 132623 h 2652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65317" h="265233">
                    <a:moveTo>
                      <a:pt x="265317" y="132623"/>
                    </a:moveTo>
                    <a:cubicBezTo>
                      <a:pt x="265317" y="205869"/>
                      <a:pt x="205941" y="265234"/>
                      <a:pt x="132635" y="265234"/>
                    </a:cubicBezTo>
                    <a:cubicBezTo>
                      <a:pt x="59328" y="265234"/>
                      <a:pt x="0" y="205858"/>
                      <a:pt x="0" y="132623"/>
                    </a:cubicBezTo>
                    <a:cubicBezTo>
                      <a:pt x="0" y="59388"/>
                      <a:pt x="59376" y="0"/>
                      <a:pt x="132635" y="0"/>
                    </a:cubicBezTo>
                    <a:cubicBezTo>
                      <a:pt x="205893" y="0"/>
                      <a:pt x="265317" y="59376"/>
                      <a:pt x="265317" y="132623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603" name="Forma livre: Forma 602">
                <a:extLst>
                  <a:ext uri="{FF2B5EF4-FFF2-40B4-BE49-F238E27FC236}">
                    <a16:creationId xmlns:a16="http://schemas.microsoft.com/office/drawing/2014/main" id="{1258BAE5-A7ED-3D48-D984-5F49F5D1B425}"/>
                  </a:ext>
                </a:extLst>
              </p:cNvPr>
              <p:cNvSpPr/>
              <p:nvPr/>
            </p:nvSpPr>
            <p:spPr>
              <a:xfrm>
                <a:off x="7406148" y="3156312"/>
                <a:ext cx="198987" cy="198928"/>
              </a:xfrm>
              <a:custGeom>
                <a:avLst/>
                <a:gdLst>
                  <a:gd name="connsiteX0" fmla="*/ 99470 w 198987"/>
                  <a:gd name="connsiteY0" fmla="*/ 0 h 198928"/>
                  <a:gd name="connsiteX1" fmla="*/ 198988 w 198987"/>
                  <a:gd name="connsiteY1" fmla="*/ 99470 h 198928"/>
                  <a:gd name="connsiteX2" fmla="*/ 99470 w 198987"/>
                  <a:gd name="connsiteY2" fmla="*/ 198928 h 198928"/>
                  <a:gd name="connsiteX3" fmla="*/ 0 w 198987"/>
                  <a:gd name="connsiteY3" fmla="*/ 99470 h 198928"/>
                  <a:gd name="connsiteX4" fmla="*/ 38242 w 198987"/>
                  <a:gd name="connsiteY4" fmla="*/ 21074 h 1989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98987" h="198928">
                    <a:moveTo>
                      <a:pt x="99470" y="0"/>
                    </a:moveTo>
                    <a:cubicBezTo>
                      <a:pt x="154450" y="0"/>
                      <a:pt x="198988" y="44526"/>
                      <a:pt x="198988" y="99470"/>
                    </a:cubicBezTo>
                    <a:cubicBezTo>
                      <a:pt x="198988" y="154414"/>
                      <a:pt x="154450" y="198928"/>
                      <a:pt x="99470" y="198928"/>
                    </a:cubicBezTo>
                    <a:cubicBezTo>
                      <a:pt x="44490" y="198928"/>
                      <a:pt x="0" y="154402"/>
                      <a:pt x="0" y="99470"/>
                    </a:cubicBezTo>
                    <a:cubicBezTo>
                      <a:pt x="0" y="67620"/>
                      <a:pt x="14957" y="39281"/>
                      <a:pt x="38242" y="21074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604" name="Gráfico 9">
              <a:extLst>
                <a:ext uri="{FF2B5EF4-FFF2-40B4-BE49-F238E27FC236}">
                  <a16:creationId xmlns:a16="http://schemas.microsoft.com/office/drawing/2014/main" id="{FDAFEAB6-12D8-9350-AEBB-22A9397C6678}"/>
                </a:ext>
              </a:extLst>
            </p:cNvPr>
            <p:cNvGrpSpPr/>
            <p:nvPr/>
          </p:nvGrpSpPr>
          <p:grpSpPr>
            <a:xfrm>
              <a:off x="7472932" y="3195402"/>
              <a:ext cx="65425" cy="117294"/>
              <a:chOff x="7472932" y="3195402"/>
              <a:chExt cx="65425" cy="117294"/>
            </a:xfrm>
          </p:grpSpPr>
          <p:sp>
            <p:nvSpPr>
              <p:cNvPr id="605" name="Forma livre: Forma 604">
                <a:extLst>
                  <a:ext uri="{FF2B5EF4-FFF2-40B4-BE49-F238E27FC236}">
                    <a16:creationId xmlns:a16="http://schemas.microsoft.com/office/drawing/2014/main" id="{7E5291A6-E1BD-A032-6984-B01BFDA2FB4B}"/>
                  </a:ext>
                </a:extLst>
              </p:cNvPr>
              <p:cNvSpPr/>
              <p:nvPr/>
            </p:nvSpPr>
            <p:spPr>
              <a:xfrm>
                <a:off x="7499191" y="3306425"/>
                <a:ext cx="6260" cy="6272"/>
              </a:xfrm>
              <a:custGeom>
                <a:avLst/>
                <a:gdLst>
                  <a:gd name="connsiteX0" fmla="*/ 6260 w 6260"/>
                  <a:gd name="connsiteY0" fmla="*/ 3142 h 6272"/>
                  <a:gd name="connsiteX1" fmla="*/ 3130 w 6260"/>
                  <a:gd name="connsiteY1" fmla="*/ 6272 h 6272"/>
                  <a:gd name="connsiteX2" fmla="*/ 0 w 6260"/>
                  <a:gd name="connsiteY2" fmla="*/ 3142 h 6272"/>
                  <a:gd name="connsiteX3" fmla="*/ 3130 w 6260"/>
                  <a:gd name="connsiteY3" fmla="*/ 0 h 6272"/>
                  <a:gd name="connsiteX4" fmla="*/ 6260 w 6260"/>
                  <a:gd name="connsiteY4" fmla="*/ 3142 h 62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260" h="6272">
                    <a:moveTo>
                      <a:pt x="6260" y="3142"/>
                    </a:moveTo>
                    <a:cubicBezTo>
                      <a:pt x="6260" y="4874"/>
                      <a:pt x="4874" y="6272"/>
                      <a:pt x="3130" y="6272"/>
                    </a:cubicBezTo>
                    <a:cubicBezTo>
                      <a:pt x="1386" y="6272"/>
                      <a:pt x="0" y="4874"/>
                      <a:pt x="0" y="3142"/>
                    </a:cubicBezTo>
                    <a:cubicBezTo>
                      <a:pt x="0" y="1410"/>
                      <a:pt x="1410" y="0"/>
                      <a:pt x="3130" y="0"/>
                    </a:cubicBezTo>
                    <a:cubicBezTo>
                      <a:pt x="4850" y="0"/>
                      <a:pt x="6260" y="1410"/>
                      <a:pt x="6260" y="3142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606" name="Forma livre: Forma 605">
                <a:extLst>
                  <a:ext uri="{FF2B5EF4-FFF2-40B4-BE49-F238E27FC236}">
                    <a16:creationId xmlns:a16="http://schemas.microsoft.com/office/drawing/2014/main" id="{9B20DFAA-467D-3696-423E-20986F423DED}"/>
                  </a:ext>
                </a:extLst>
              </p:cNvPr>
              <p:cNvSpPr/>
              <p:nvPr/>
            </p:nvSpPr>
            <p:spPr>
              <a:xfrm>
                <a:off x="7472932" y="3195402"/>
                <a:ext cx="65425" cy="91764"/>
              </a:xfrm>
              <a:custGeom>
                <a:avLst/>
                <a:gdLst>
                  <a:gd name="connsiteX0" fmla="*/ 0 w 65425"/>
                  <a:gd name="connsiteY0" fmla="*/ 28673 h 91764"/>
                  <a:gd name="connsiteX1" fmla="*/ 32711 w 65425"/>
                  <a:gd name="connsiteY1" fmla="*/ 0 h 91764"/>
                  <a:gd name="connsiteX2" fmla="*/ 65421 w 65425"/>
                  <a:gd name="connsiteY2" fmla="*/ 28673 h 91764"/>
                  <a:gd name="connsiteX3" fmla="*/ 49150 w 65425"/>
                  <a:gd name="connsiteY3" fmla="*/ 53379 h 91764"/>
                  <a:gd name="connsiteX4" fmla="*/ 29007 w 65425"/>
                  <a:gd name="connsiteY4" fmla="*/ 91764 h 917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5425" h="91764">
                    <a:moveTo>
                      <a:pt x="0" y="28673"/>
                    </a:moveTo>
                    <a:cubicBezTo>
                      <a:pt x="0" y="12843"/>
                      <a:pt x="14635" y="0"/>
                      <a:pt x="32711" y="0"/>
                    </a:cubicBezTo>
                    <a:cubicBezTo>
                      <a:pt x="50786" y="0"/>
                      <a:pt x="65421" y="12831"/>
                      <a:pt x="65421" y="28673"/>
                    </a:cubicBezTo>
                    <a:cubicBezTo>
                      <a:pt x="65421" y="28673"/>
                      <a:pt x="66138" y="41731"/>
                      <a:pt x="49150" y="53379"/>
                    </a:cubicBezTo>
                    <a:cubicBezTo>
                      <a:pt x="37824" y="62196"/>
                      <a:pt x="29007" y="76030"/>
                      <a:pt x="29007" y="91764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607" name="Gráfico 9">
            <a:extLst>
              <a:ext uri="{FF2B5EF4-FFF2-40B4-BE49-F238E27FC236}">
                <a16:creationId xmlns:a16="http://schemas.microsoft.com/office/drawing/2014/main" id="{7E11FF6D-A102-9B60-53BC-88BF106C6744}"/>
              </a:ext>
            </a:extLst>
          </p:cNvPr>
          <p:cNvGrpSpPr/>
          <p:nvPr/>
        </p:nvGrpSpPr>
        <p:grpSpPr>
          <a:xfrm>
            <a:off x="7372733" y="2053993"/>
            <a:ext cx="265819" cy="280143"/>
            <a:chOff x="7372733" y="2053993"/>
            <a:chExt cx="265819" cy="280143"/>
          </a:xfrm>
          <a:noFill/>
        </p:grpSpPr>
        <p:sp>
          <p:nvSpPr>
            <p:cNvPr id="608" name="Forma livre: Forma 607">
              <a:extLst>
                <a:ext uri="{FF2B5EF4-FFF2-40B4-BE49-F238E27FC236}">
                  <a16:creationId xmlns:a16="http://schemas.microsoft.com/office/drawing/2014/main" id="{C3EAD840-24D0-DCDD-A0C4-FE7A77D5B62A}"/>
                </a:ext>
              </a:extLst>
            </p:cNvPr>
            <p:cNvSpPr/>
            <p:nvPr/>
          </p:nvSpPr>
          <p:spPr>
            <a:xfrm>
              <a:off x="7372733" y="2053993"/>
              <a:ext cx="265819" cy="280143"/>
            </a:xfrm>
            <a:custGeom>
              <a:avLst/>
              <a:gdLst>
                <a:gd name="connsiteX0" fmla="*/ 157042 w 265819"/>
                <a:gd name="connsiteY0" fmla="*/ 241196 h 280143"/>
                <a:gd name="connsiteX1" fmla="*/ 227840 w 265819"/>
                <a:gd name="connsiteY1" fmla="*/ 269511 h 280143"/>
                <a:gd name="connsiteX2" fmla="*/ 265819 w 265819"/>
                <a:gd name="connsiteY2" fmla="*/ 0 h 280143"/>
                <a:gd name="connsiteX3" fmla="*/ 0 w 265819"/>
                <a:gd name="connsiteY3" fmla="*/ 178857 h 280143"/>
                <a:gd name="connsiteX4" fmla="*/ 79626 w 265819"/>
                <a:gd name="connsiteY4" fmla="*/ 208259 h 280143"/>
                <a:gd name="connsiteX5" fmla="*/ 106089 w 265819"/>
                <a:gd name="connsiteY5" fmla="*/ 280144 h 280143"/>
                <a:gd name="connsiteX6" fmla="*/ 129851 w 265819"/>
                <a:gd name="connsiteY6" fmla="*/ 230313 h 2801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65819" h="280143">
                  <a:moveTo>
                    <a:pt x="157042" y="241196"/>
                  </a:moveTo>
                  <a:lnTo>
                    <a:pt x="227840" y="269511"/>
                  </a:lnTo>
                  <a:lnTo>
                    <a:pt x="265819" y="0"/>
                  </a:lnTo>
                  <a:lnTo>
                    <a:pt x="0" y="178857"/>
                  </a:lnTo>
                  <a:lnTo>
                    <a:pt x="79626" y="208259"/>
                  </a:lnTo>
                  <a:lnTo>
                    <a:pt x="106089" y="280144"/>
                  </a:lnTo>
                  <a:lnTo>
                    <a:pt x="129851" y="230313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09" name="Forma livre: Forma 608">
              <a:extLst>
                <a:ext uri="{FF2B5EF4-FFF2-40B4-BE49-F238E27FC236}">
                  <a16:creationId xmlns:a16="http://schemas.microsoft.com/office/drawing/2014/main" id="{FAF21A86-EF00-1B23-BDBB-3F973042C316}"/>
                </a:ext>
              </a:extLst>
            </p:cNvPr>
            <p:cNvSpPr/>
            <p:nvPr/>
          </p:nvSpPr>
          <p:spPr>
            <a:xfrm>
              <a:off x="7472442" y="2056812"/>
              <a:ext cx="163959" cy="183241"/>
            </a:xfrm>
            <a:custGeom>
              <a:avLst/>
              <a:gdLst>
                <a:gd name="connsiteX0" fmla="*/ 0 w 163959"/>
                <a:gd name="connsiteY0" fmla="*/ 183242 h 183241"/>
                <a:gd name="connsiteX1" fmla="*/ 163960 w 163959"/>
                <a:gd name="connsiteY1" fmla="*/ 0 h 1832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63959" h="183241">
                  <a:moveTo>
                    <a:pt x="0" y="183242"/>
                  </a:moveTo>
                  <a:lnTo>
                    <a:pt x="16396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10" name="Forma livre: Forma 609">
              <a:extLst>
                <a:ext uri="{FF2B5EF4-FFF2-40B4-BE49-F238E27FC236}">
                  <a16:creationId xmlns:a16="http://schemas.microsoft.com/office/drawing/2014/main" id="{9E4ADAAD-522E-4F1C-D4BF-C44BA02FBF6B}"/>
                </a:ext>
              </a:extLst>
            </p:cNvPr>
            <p:cNvSpPr/>
            <p:nvPr/>
          </p:nvSpPr>
          <p:spPr>
            <a:xfrm>
              <a:off x="7502584" y="2056884"/>
              <a:ext cx="134498" cy="227421"/>
            </a:xfrm>
            <a:custGeom>
              <a:avLst/>
              <a:gdLst>
                <a:gd name="connsiteX0" fmla="*/ 0 w 134498"/>
                <a:gd name="connsiteY0" fmla="*/ 227422 h 227421"/>
                <a:gd name="connsiteX1" fmla="*/ 134498 w 134498"/>
                <a:gd name="connsiteY1" fmla="*/ 0 h 2274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34498" h="227421">
                  <a:moveTo>
                    <a:pt x="0" y="227422"/>
                  </a:moveTo>
                  <a:lnTo>
                    <a:pt x="134498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611" name="Gráfico 9">
            <a:extLst>
              <a:ext uri="{FF2B5EF4-FFF2-40B4-BE49-F238E27FC236}">
                <a16:creationId xmlns:a16="http://schemas.microsoft.com/office/drawing/2014/main" id="{330FEF3C-C6DB-0568-AA14-48D39BEEC8E0}"/>
              </a:ext>
            </a:extLst>
          </p:cNvPr>
          <p:cNvGrpSpPr/>
          <p:nvPr/>
        </p:nvGrpSpPr>
        <p:grpSpPr>
          <a:xfrm>
            <a:off x="7346091" y="1504004"/>
            <a:ext cx="319114" cy="318385"/>
            <a:chOff x="7346091" y="1504004"/>
            <a:chExt cx="319114" cy="318385"/>
          </a:xfrm>
          <a:noFill/>
        </p:grpSpPr>
        <p:grpSp>
          <p:nvGrpSpPr>
            <p:cNvPr id="612" name="Gráfico 9">
              <a:extLst>
                <a:ext uri="{FF2B5EF4-FFF2-40B4-BE49-F238E27FC236}">
                  <a16:creationId xmlns:a16="http://schemas.microsoft.com/office/drawing/2014/main" id="{0E3F780F-E039-A583-B575-B6F5C3363D13}"/>
                </a:ext>
              </a:extLst>
            </p:cNvPr>
            <p:cNvGrpSpPr/>
            <p:nvPr/>
          </p:nvGrpSpPr>
          <p:grpSpPr>
            <a:xfrm>
              <a:off x="7467460" y="1598063"/>
              <a:ext cx="152430" cy="68205"/>
              <a:chOff x="7467460" y="1598063"/>
              <a:chExt cx="152430" cy="68205"/>
            </a:xfrm>
            <a:noFill/>
          </p:grpSpPr>
          <p:sp>
            <p:nvSpPr>
              <p:cNvPr id="613" name="Forma livre: Forma 612">
                <a:extLst>
                  <a:ext uri="{FF2B5EF4-FFF2-40B4-BE49-F238E27FC236}">
                    <a16:creationId xmlns:a16="http://schemas.microsoft.com/office/drawing/2014/main" id="{46DBA1E9-315F-0AC3-6DD1-7DEB7FBB1A15}"/>
                  </a:ext>
                </a:extLst>
              </p:cNvPr>
              <p:cNvSpPr/>
              <p:nvPr/>
            </p:nvSpPr>
            <p:spPr>
              <a:xfrm>
                <a:off x="7467460" y="1598063"/>
                <a:ext cx="37035" cy="68121"/>
              </a:xfrm>
              <a:custGeom>
                <a:avLst/>
                <a:gdLst>
                  <a:gd name="connsiteX0" fmla="*/ 0 w 37035"/>
                  <a:gd name="connsiteY0" fmla="*/ 53785 h 68121"/>
                  <a:gd name="connsiteX1" fmla="*/ 14336 w 37035"/>
                  <a:gd name="connsiteY1" fmla="*/ 68121 h 68121"/>
                  <a:gd name="connsiteX2" fmla="*/ 22699 w 37035"/>
                  <a:gd name="connsiteY2" fmla="*/ 68121 h 68121"/>
                  <a:gd name="connsiteX3" fmla="*/ 37035 w 37035"/>
                  <a:gd name="connsiteY3" fmla="*/ 53785 h 68121"/>
                  <a:gd name="connsiteX4" fmla="*/ 37035 w 37035"/>
                  <a:gd name="connsiteY4" fmla="*/ 48397 h 68121"/>
                  <a:gd name="connsiteX5" fmla="*/ 22699 w 37035"/>
                  <a:gd name="connsiteY5" fmla="*/ 34061 h 68121"/>
                  <a:gd name="connsiteX6" fmla="*/ 14336 w 37035"/>
                  <a:gd name="connsiteY6" fmla="*/ 34061 h 68121"/>
                  <a:gd name="connsiteX7" fmla="*/ 0 w 37035"/>
                  <a:gd name="connsiteY7" fmla="*/ 19724 h 68121"/>
                  <a:gd name="connsiteX8" fmla="*/ 0 w 37035"/>
                  <a:gd name="connsiteY8" fmla="*/ 14336 h 68121"/>
                  <a:gd name="connsiteX9" fmla="*/ 14336 w 37035"/>
                  <a:gd name="connsiteY9" fmla="*/ 0 h 68121"/>
                  <a:gd name="connsiteX10" fmla="*/ 22699 w 37035"/>
                  <a:gd name="connsiteY10" fmla="*/ 0 h 68121"/>
                  <a:gd name="connsiteX11" fmla="*/ 37035 w 37035"/>
                  <a:gd name="connsiteY11" fmla="*/ 14336 h 681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37035" h="68121">
                    <a:moveTo>
                      <a:pt x="0" y="53785"/>
                    </a:moveTo>
                    <a:cubicBezTo>
                      <a:pt x="0" y="61670"/>
                      <a:pt x="6451" y="68121"/>
                      <a:pt x="14336" y="68121"/>
                    </a:cubicBezTo>
                    <a:lnTo>
                      <a:pt x="22699" y="68121"/>
                    </a:lnTo>
                    <a:cubicBezTo>
                      <a:pt x="30584" y="68121"/>
                      <a:pt x="37035" y="61670"/>
                      <a:pt x="37035" y="53785"/>
                    </a:cubicBezTo>
                    <a:lnTo>
                      <a:pt x="37035" y="48397"/>
                    </a:lnTo>
                    <a:cubicBezTo>
                      <a:pt x="37035" y="40512"/>
                      <a:pt x="30584" y="34061"/>
                      <a:pt x="22699" y="34061"/>
                    </a:cubicBezTo>
                    <a:lnTo>
                      <a:pt x="14336" y="34061"/>
                    </a:lnTo>
                    <a:cubicBezTo>
                      <a:pt x="6451" y="34061"/>
                      <a:pt x="0" y="27609"/>
                      <a:pt x="0" y="19724"/>
                    </a:cubicBezTo>
                    <a:lnTo>
                      <a:pt x="0" y="14336"/>
                    </a:lnTo>
                    <a:cubicBezTo>
                      <a:pt x="0" y="6451"/>
                      <a:pt x="6451" y="0"/>
                      <a:pt x="14336" y="0"/>
                    </a:cubicBezTo>
                    <a:lnTo>
                      <a:pt x="22699" y="0"/>
                    </a:lnTo>
                    <a:cubicBezTo>
                      <a:pt x="30584" y="0"/>
                      <a:pt x="37035" y="6451"/>
                      <a:pt x="37035" y="14336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614" name="Forma livre: Forma 613">
                <a:extLst>
                  <a:ext uri="{FF2B5EF4-FFF2-40B4-BE49-F238E27FC236}">
                    <a16:creationId xmlns:a16="http://schemas.microsoft.com/office/drawing/2014/main" id="{14535A21-6879-FDFB-4597-45E2FAD4CF13}"/>
                  </a:ext>
                </a:extLst>
              </p:cNvPr>
              <p:cNvSpPr/>
              <p:nvPr/>
            </p:nvSpPr>
            <p:spPr>
              <a:xfrm>
                <a:off x="7582855" y="1598063"/>
                <a:ext cx="37035" cy="68121"/>
              </a:xfrm>
              <a:custGeom>
                <a:avLst/>
                <a:gdLst>
                  <a:gd name="connsiteX0" fmla="*/ 0 w 37035"/>
                  <a:gd name="connsiteY0" fmla="*/ 53785 h 68121"/>
                  <a:gd name="connsiteX1" fmla="*/ 14336 w 37035"/>
                  <a:gd name="connsiteY1" fmla="*/ 68121 h 68121"/>
                  <a:gd name="connsiteX2" fmla="*/ 22699 w 37035"/>
                  <a:gd name="connsiteY2" fmla="*/ 68121 h 68121"/>
                  <a:gd name="connsiteX3" fmla="*/ 37035 w 37035"/>
                  <a:gd name="connsiteY3" fmla="*/ 53785 h 68121"/>
                  <a:gd name="connsiteX4" fmla="*/ 37035 w 37035"/>
                  <a:gd name="connsiteY4" fmla="*/ 48397 h 68121"/>
                  <a:gd name="connsiteX5" fmla="*/ 22699 w 37035"/>
                  <a:gd name="connsiteY5" fmla="*/ 34061 h 68121"/>
                  <a:gd name="connsiteX6" fmla="*/ 14336 w 37035"/>
                  <a:gd name="connsiteY6" fmla="*/ 34061 h 68121"/>
                  <a:gd name="connsiteX7" fmla="*/ 0 w 37035"/>
                  <a:gd name="connsiteY7" fmla="*/ 19724 h 68121"/>
                  <a:gd name="connsiteX8" fmla="*/ 0 w 37035"/>
                  <a:gd name="connsiteY8" fmla="*/ 14336 h 68121"/>
                  <a:gd name="connsiteX9" fmla="*/ 14336 w 37035"/>
                  <a:gd name="connsiteY9" fmla="*/ 0 h 68121"/>
                  <a:gd name="connsiteX10" fmla="*/ 22699 w 37035"/>
                  <a:gd name="connsiteY10" fmla="*/ 0 h 68121"/>
                  <a:gd name="connsiteX11" fmla="*/ 37035 w 37035"/>
                  <a:gd name="connsiteY11" fmla="*/ 14336 h 681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37035" h="68121">
                    <a:moveTo>
                      <a:pt x="0" y="53785"/>
                    </a:moveTo>
                    <a:cubicBezTo>
                      <a:pt x="0" y="61670"/>
                      <a:pt x="6463" y="68121"/>
                      <a:pt x="14336" y="68121"/>
                    </a:cubicBezTo>
                    <a:lnTo>
                      <a:pt x="22699" y="68121"/>
                    </a:lnTo>
                    <a:cubicBezTo>
                      <a:pt x="30584" y="68121"/>
                      <a:pt x="37035" y="61670"/>
                      <a:pt x="37035" y="53785"/>
                    </a:cubicBezTo>
                    <a:lnTo>
                      <a:pt x="37035" y="48397"/>
                    </a:lnTo>
                    <a:cubicBezTo>
                      <a:pt x="37035" y="40512"/>
                      <a:pt x="30584" y="34061"/>
                      <a:pt x="22699" y="34061"/>
                    </a:cubicBezTo>
                    <a:lnTo>
                      <a:pt x="14336" y="34061"/>
                    </a:lnTo>
                    <a:cubicBezTo>
                      <a:pt x="6463" y="34061"/>
                      <a:pt x="0" y="27609"/>
                      <a:pt x="0" y="19724"/>
                    </a:cubicBezTo>
                    <a:lnTo>
                      <a:pt x="0" y="14336"/>
                    </a:lnTo>
                    <a:cubicBezTo>
                      <a:pt x="0" y="6451"/>
                      <a:pt x="6463" y="0"/>
                      <a:pt x="14336" y="0"/>
                    </a:cubicBezTo>
                    <a:lnTo>
                      <a:pt x="22699" y="0"/>
                    </a:lnTo>
                    <a:cubicBezTo>
                      <a:pt x="30584" y="0"/>
                      <a:pt x="37035" y="6451"/>
                      <a:pt x="37035" y="14336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615" name="Forma livre: Forma 614">
                <a:extLst>
                  <a:ext uri="{FF2B5EF4-FFF2-40B4-BE49-F238E27FC236}">
                    <a16:creationId xmlns:a16="http://schemas.microsoft.com/office/drawing/2014/main" id="{9C832421-5937-7B27-32F8-1CEAFED9FD0E}"/>
                  </a:ext>
                </a:extLst>
              </p:cNvPr>
              <p:cNvSpPr/>
              <p:nvPr/>
            </p:nvSpPr>
            <p:spPr>
              <a:xfrm>
                <a:off x="7525343" y="1598170"/>
                <a:ext cx="36653" cy="68097"/>
              </a:xfrm>
              <a:custGeom>
                <a:avLst/>
                <a:gdLst>
                  <a:gd name="connsiteX0" fmla="*/ 36653 w 36653"/>
                  <a:gd name="connsiteY0" fmla="*/ 48982 h 68097"/>
                  <a:gd name="connsiteX1" fmla="*/ 18327 w 36653"/>
                  <a:gd name="connsiteY1" fmla="*/ 68097 h 68097"/>
                  <a:gd name="connsiteX2" fmla="*/ 0 w 36653"/>
                  <a:gd name="connsiteY2" fmla="*/ 48982 h 68097"/>
                  <a:gd name="connsiteX3" fmla="*/ 0 w 36653"/>
                  <a:gd name="connsiteY3" fmla="*/ 19115 h 68097"/>
                  <a:gd name="connsiteX4" fmla="*/ 18327 w 36653"/>
                  <a:gd name="connsiteY4" fmla="*/ 0 h 68097"/>
                  <a:gd name="connsiteX5" fmla="*/ 36653 w 36653"/>
                  <a:gd name="connsiteY5" fmla="*/ 19115 h 68097"/>
                  <a:gd name="connsiteX6" fmla="*/ 36653 w 36653"/>
                  <a:gd name="connsiteY6" fmla="*/ 48982 h 680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6653" h="68097">
                    <a:moveTo>
                      <a:pt x="36653" y="48982"/>
                    </a:moveTo>
                    <a:cubicBezTo>
                      <a:pt x="36653" y="59496"/>
                      <a:pt x="28410" y="68097"/>
                      <a:pt x="18327" y="68097"/>
                    </a:cubicBezTo>
                    <a:cubicBezTo>
                      <a:pt x="8243" y="68097"/>
                      <a:pt x="0" y="59496"/>
                      <a:pt x="0" y="48982"/>
                    </a:cubicBezTo>
                    <a:lnTo>
                      <a:pt x="0" y="19115"/>
                    </a:lnTo>
                    <a:cubicBezTo>
                      <a:pt x="0" y="8602"/>
                      <a:pt x="8255" y="0"/>
                      <a:pt x="18327" y="0"/>
                    </a:cubicBezTo>
                    <a:cubicBezTo>
                      <a:pt x="28398" y="0"/>
                      <a:pt x="36653" y="8602"/>
                      <a:pt x="36653" y="19115"/>
                    </a:cubicBezTo>
                    <a:lnTo>
                      <a:pt x="36653" y="48982"/>
                    </a:ln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616" name="Gráfico 9">
              <a:extLst>
                <a:ext uri="{FF2B5EF4-FFF2-40B4-BE49-F238E27FC236}">
                  <a16:creationId xmlns:a16="http://schemas.microsoft.com/office/drawing/2014/main" id="{CEDEB2BD-D689-F3CF-185F-E939996A34A7}"/>
                </a:ext>
              </a:extLst>
            </p:cNvPr>
            <p:cNvGrpSpPr/>
            <p:nvPr/>
          </p:nvGrpSpPr>
          <p:grpSpPr>
            <a:xfrm>
              <a:off x="7346091" y="1504004"/>
              <a:ext cx="319114" cy="318385"/>
              <a:chOff x="7346091" y="1504004"/>
              <a:chExt cx="319114" cy="318385"/>
            </a:xfrm>
            <a:noFill/>
          </p:grpSpPr>
          <p:grpSp>
            <p:nvGrpSpPr>
              <p:cNvPr id="617" name="Gráfico 9">
                <a:extLst>
                  <a:ext uri="{FF2B5EF4-FFF2-40B4-BE49-F238E27FC236}">
                    <a16:creationId xmlns:a16="http://schemas.microsoft.com/office/drawing/2014/main" id="{B970E50D-6715-40ED-D315-93D865A21CC1}"/>
                  </a:ext>
                </a:extLst>
              </p:cNvPr>
              <p:cNvGrpSpPr/>
              <p:nvPr/>
            </p:nvGrpSpPr>
            <p:grpSpPr>
              <a:xfrm>
                <a:off x="7346091" y="1570248"/>
                <a:ext cx="252310" cy="252141"/>
                <a:chOff x="7346091" y="1570248"/>
                <a:chExt cx="252310" cy="252141"/>
              </a:xfrm>
              <a:noFill/>
            </p:grpSpPr>
            <p:sp>
              <p:nvSpPr>
                <p:cNvPr id="618" name="Forma livre: Forma 617">
                  <a:extLst>
                    <a:ext uri="{FF2B5EF4-FFF2-40B4-BE49-F238E27FC236}">
                      <a16:creationId xmlns:a16="http://schemas.microsoft.com/office/drawing/2014/main" id="{453B8C97-81F0-F084-B684-7090E03732CC}"/>
                    </a:ext>
                  </a:extLst>
                </p:cNvPr>
                <p:cNvSpPr/>
                <p:nvPr/>
              </p:nvSpPr>
              <p:spPr>
                <a:xfrm>
                  <a:off x="7526036" y="1772894"/>
                  <a:ext cx="52315" cy="35064"/>
                </a:xfrm>
                <a:custGeom>
                  <a:avLst/>
                  <a:gdLst>
                    <a:gd name="connsiteX0" fmla="*/ 52316 w 52315"/>
                    <a:gd name="connsiteY0" fmla="*/ 35064 h 35064"/>
                    <a:gd name="connsiteX1" fmla="*/ 0 w 52315"/>
                    <a:gd name="connsiteY1" fmla="*/ 0 h 3506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52315" h="35064">
                      <a:moveTo>
                        <a:pt x="52316" y="35064"/>
                      </a:moveTo>
                      <a:lnTo>
                        <a:pt x="0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619" name="Forma livre: Forma 618">
                  <a:extLst>
                    <a:ext uri="{FF2B5EF4-FFF2-40B4-BE49-F238E27FC236}">
                      <a16:creationId xmlns:a16="http://schemas.microsoft.com/office/drawing/2014/main" id="{3C547E51-68CE-CECD-78D1-5CC4D9A42F78}"/>
                    </a:ext>
                  </a:extLst>
                </p:cNvPr>
                <p:cNvSpPr/>
                <p:nvPr/>
              </p:nvSpPr>
              <p:spPr>
                <a:xfrm>
                  <a:off x="7346091" y="1570248"/>
                  <a:ext cx="252310" cy="252141"/>
                </a:xfrm>
                <a:custGeom>
                  <a:avLst/>
                  <a:gdLst>
                    <a:gd name="connsiteX0" fmla="*/ 48875 w 252310"/>
                    <a:gd name="connsiteY0" fmla="*/ 72532 h 252141"/>
                    <a:gd name="connsiteX1" fmla="*/ 14121 w 252310"/>
                    <a:gd name="connsiteY1" fmla="*/ 20360 h 252141"/>
                    <a:gd name="connsiteX2" fmla="*/ 10430 w 252310"/>
                    <a:gd name="connsiteY2" fmla="*/ 23741 h 252141"/>
                    <a:gd name="connsiteX3" fmla="*/ 275 w 252310"/>
                    <a:gd name="connsiteY3" fmla="*/ 45532 h 252141"/>
                    <a:gd name="connsiteX4" fmla="*/ 79507 w 252310"/>
                    <a:gd name="connsiteY4" fmla="*/ 172767 h 252141"/>
                    <a:gd name="connsiteX5" fmla="*/ 206849 w 252310"/>
                    <a:gd name="connsiteY5" fmla="*/ 251867 h 252141"/>
                    <a:gd name="connsiteX6" fmla="*/ 228629 w 252310"/>
                    <a:gd name="connsiteY6" fmla="*/ 241688 h 252141"/>
                    <a:gd name="connsiteX7" fmla="*/ 232237 w 252310"/>
                    <a:gd name="connsiteY7" fmla="*/ 237710 h 252141"/>
                    <a:gd name="connsiteX8" fmla="*/ 252200 w 252310"/>
                    <a:gd name="connsiteY8" fmla="*/ 208631 h 252141"/>
                    <a:gd name="connsiteX9" fmla="*/ 246011 w 252310"/>
                    <a:gd name="connsiteY9" fmla="*/ 196660 h 252141"/>
                    <a:gd name="connsiteX10" fmla="*/ 200267 w 252310"/>
                    <a:gd name="connsiteY10" fmla="*/ 166196 h 252141"/>
                    <a:gd name="connsiteX11" fmla="*/ 181032 w 252310"/>
                    <a:gd name="connsiteY11" fmla="*/ 165121 h 252141"/>
                    <a:gd name="connsiteX12" fmla="*/ 153447 w 252310"/>
                    <a:gd name="connsiteY12" fmla="*/ 180377 h 252141"/>
                    <a:gd name="connsiteX13" fmla="*/ 110438 w 252310"/>
                    <a:gd name="connsiteY13" fmla="*/ 141788 h 252141"/>
                    <a:gd name="connsiteX14" fmla="*/ 71801 w 252310"/>
                    <a:gd name="connsiteY14" fmla="*/ 98827 h 252141"/>
                    <a:gd name="connsiteX15" fmla="*/ 87034 w 252310"/>
                    <a:gd name="connsiteY15" fmla="*/ 71242 h 252141"/>
                    <a:gd name="connsiteX16" fmla="*/ 85934 w 252310"/>
                    <a:gd name="connsiteY16" fmla="*/ 51995 h 252141"/>
                    <a:gd name="connsiteX17" fmla="*/ 55410 w 252310"/>
                    <a:gd name="connsiteY17" fmla="*/ 6274 h 252141"/>
                    <a:gd name="connsiteX18" fmla="*/ 43439 w 252310"/>
                    <a:gd name="connsiteY18" fmla="*/ 110 h 252141"/>
                    <a:gd name="connsiteX19" fmla="*/ 28040 w 252310"/>
                    <a:gd name="connsiteY19" fmla="*/ 8723 h 25214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</a:cxnLst>
                  <a:rect l="l" t="t" r="r" b="b"/>
                  <a:pathLst>
                    <a:path w="252310" h="252141">
                      <a:moveTo>
                        <a:pt x="48875" y="72532"/>
                      </a:moveTo>
                      <a:lnTo>
                        <a:pt x="14121" y="20360"/>
                      </a:lnTo>
                      <a:cubicBezTo>
                        <a:pt x="11840" y="22403"/>
                        <a:pt x="10430" y="23741"/>
                        <a:pt x="10430" y="23741"/>
                      </a:cubicBezTo>
                      <a:cubicBezTo>
                        <a:pt x="-2628" y="35365"/>
                        <a:pt x="275" y="45532"/>
                        <a:pt x="275" y="45532"/>
                      </a:cubicBezTo>
                      <a:cubicBezTo>
                        <a:pt x="9092" y="107680"/>
                        <a:pt x="74513" y="167558"/>
                        <a:pt x="79507" y="172767"/>
                      </a:cubicBezTo>
                      <a:cubicBezTo>
                        <a:pt x="86257" y="179039"/>
                        <a:pt x="144690" y="243122"/>
                        <a:pt x="206849" y="251867"/>
                      </a:cubicBezTo>
                      <a:cubicBezTo>
                        <a:pt x="206849" y="251867"/>
                        <a:pt x="217016" y="254770"/>
                        <a:pt x="228629" y="241688"/>
                      </a:cubicBezTo>
                      <a:lnTo>
                        <a:pt x="232237" y="237710"/>
                      </a:lnTo>
                      <a:cubicBezTo>
                        <a:pt x="236705" y="231808"/>
                        <a:pt x="252057" y="211952"/>
                        <a:pt x="252200" y="208631"/>
                      </a:cubicBezTo>
                      <a:cubicBezTo>
                        <a:pt x="252200" y="208631"/>
                        <a:pt x="253657" y="202108"/>
                        <a:pt x="246011" y="196660"/>
                      </a:cubicBezTo>
                      <a:lnTo>
                        <a:pt x="200267" y="166196"/>
                      </a:lnTo>
                      <a:cubicBezTo>
                        <a:pt x="200267" y="166196"/>
                        <a:pt x="192274" y="158932"/>
                        <a:pt x="181032" y="165121"/>
                      </a:cubicBezTo>
                      <a:lnTo>
                        <a:pt x="153447" y="180377"/>
                      </a:lnTo>
                      <a:cubicBezTo>
                        <a:pt x="153447" y="180377"/>
                        <a:pt x="125778" y="158418"/>
                        <a:pt x="110438" y="141788"/>
                      </a:cubicBezTo>
                      <a:cubicBezTo>
                        <a:pt x="93796" y="126472"/>
                        <a:pt x="71801" y="98827"/>
                        <a:pt x="71801" y="98827"/>
                      </a:cubicBezTo>
                      <a:lnTo>
                        <a:pt x="87034" y="71242"/>
                      </a:lnTo>
                      <a:cubicBezTo>
                        <a:pt x="93198" y="59988"/>
                        <a:pt x="85934" y="51995"/>
                        <a:pt x="85934" y="51995"/>
                      </a:cubicBezTo>
                      <a:lnTo>
                        <a:pt x="55410" y="6274"/>
                      </a:lnTo>
                      <a:cubicBezTo>
                        <a:pt x="49974" y="-1336"/>
                        <a:pt x="43439" y="110"/>
                        <a:pt x="43439" y="110"/>
                      </a:cubicBezTo>
                      <a:cubicBezTo>
                        <a:pt x="40070" y="265"/>
                        <a:pt x="34025" y="4148"/>
                        <a:pt x="28040" y="8723"/>
                      </a:cubicBez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620" name="Forma livre: Forma 619">
                <a:extLst>
                  <a:ext uri="{FF2B5EF4-FFF2-40B4-BE49-F238E27FC236}">
                    <a16:creationId xmlns:a16="http://schemas.microsoft.com/office/drawing/2014/main" id="{A3B48BC2-3DCD-125C-4BF4-443FA9D0F035}"/>
                  </a:ext>
                </a:extLst>
              </p:cNvPr>
              <p:cNvSpPr/>
              <p:nvPr/>
            </p:nvSpPr>
            <p:spPr>
              <a:xfrm>
                <a:off x="7428119" y="1504004"/>
                <a:ext cx="237086" cy="236381"/>
              </a:xfrm>
              <a:custGeom>
                <a:avLst/>
                <a:gdLst>
                  <a:gd name="connsiteX0" fmla="*/ 0 w 237086"/>
                  <a:gd name="connsiteY0" fmla="*/ 64621 h 236381"/>
                  <a:gd name="connsiteX1" fmla="*/ 110449 w 237086"/>
                  <a:gd name="connsiteY1" fmla="*/ 0 h 236381"/>
                  <a:gd name="connsiteX2" fmla="*/ 237087 w 237086"/>
                  <a:gd name="connsiteY2" fmla="*/ 126637 h 236381"/>
                  <a:gd name="connsiteX3" fmla="*/ 173708 w 237086"/>
                  <a:gd name="connsiteY3" fmla="*/ 236382 h 2363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37086" h="236381">
                    <a:moveTo>
                      <a:pt x="0" y="64621"/>
                    </a:moveTo>
                    <a:cubicBezTo>
                      <a:pt x="21696" y="26044"/>
                      <a:pt x="63044" y="0"/>
                      <a:pt x="110449" y="0"/>
                    </a:cubicBezTo>
                    <a:cubicBezTo>
                      <a:pt x="180399" y="0"/>
                      <a:pt x="237087" y="56700"/>
                      <a:pt x="237087" y="126637"/>
                    </a:cubicBezTo>
                    <a:cubicBezTo>
                      <a:pt x="237087" y="173541"/>
                      <a:pt x="211592" y="214495"/>
                      <a:pt x="173708" y="236382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621" name="Gráfico 9">
            <a:extLst>
              <a:ext uri="{FF2B5EF4-FFF2-40B4-BE49-F238E27FC236}">
                <a16:creationId xmlns:a16="http://schemas.microsoft.com/office/drawing/2014/main" id="{78D4BD20-977C-C405-CF4D-7142991CF6B1}"/>
              </a:ext>
            </a:extLst>
          </p:cNvPr>
          <p:cNvGrpSpPr/>
          <p:nvPr/>
        </p:nvGrpSpPr>
        <p:grpSpPr>
          <a:xfrm>
            <a:off x="6708651" y="2613647"/>
            <a:ext cx="353079" cy="222571"/>
            <a:chOff x="6708651" y="2613647"/>
            <a:chExt cx="353079" cy="222571"/>
          </a:xfrm>
          <a:noFill/>
        </p:grpSpPr>
        <p:grpSp>
          <p:nvGrpSpPr>
            <p:cNvPr id="622" name="Gráfico 9">
              <a:extLst>
                <a:ext uri="{FF2B5EF4-FFF2-40B4-BE49-F238E27FC236}">
                  <a16:creationId xmlns:a16="http://schemas.microsoft.com/office/drawing/2014/main" id="{756FF0DF-9242-1F21-C774-ED136A6A55C0}"/>
                </a:ext>
              </a:extLst>
            </p:cNvPr>
            <p:cNvGrpSpPr/>
            <p:nvPr/>
          </p:nvGrpSpPr>
          <p:grpSpPr>
            <a:xfrm>
              <a:off x="6708651" y="2613647"/>
              <a:ext cx="348695" cy="222571"/>
              <a:chOff x="6708651" y="2613647"/>
              <a:chExt cx="348695" cy="222571"/>
            </a:xfrm>
            <a:noFill/>
          </p:grpSpPr>
          <p:grpSp>
            <p:nvGrpSpPr>
              <p:cNvPr id="623" name="Gráfico 9">
                <a:extLst>
                  <a:ext uri="{FF2B5EF4-FFF2-40B4-BE49-F238E27FC236}">
                    <a16:creationId xmlns:a16="http://schemas.microsoft.com/office/drawing/2014/main" id="{BCE352C7-CDA7-25BE-323D-219A83C23397}"/>
                  </a:ext>
                </a:extLst>
              </p:cNvPr>
              <p:cNvGrpSpPr/>
              <p:nvPr/>
            </p:nvGrpSpPr>
            <p:grpSpPr>
              <a:xfrm>
                <a:off x="6741732" y="2613647"/>
                <a:ext cx="282509" cy="194101"/>
                <a:chOff x="6741732" y="2613647"/>
                <a:chExt cx="282509" cy="194101"/>
              </a:xfrm>
              <a:noFill/>
            </p:grpSpPr>
            <p:sp>
              <p:nvSpPr>
                <p:cNvPr id="624" name="Forma livre: Forma 623">
                  <a:extLst>
                    <a:ext uri="{FF2B5EF4-FFF2-40B4-BE49-F238E27FC236}">
                      <a16:creationId xmlns:a16="http://schemas.microsoft.com/office/drawing/2014/main" id="{398D1D2D-38B5-4E9B-AF92-E7FD686A1C2D}"/>
                    </a:ext>
                  </a:extLst>
                </p:cNvPr>
                <p:cNvSpPr/>
                <p:nvPr/>
              </p:nvSpPr>
              <p:spPr>
                <a:xfrm>
                  <a:off x="7024241" y="2777320"/>
                  <a:ext cx="1194" cy="29628"/>
                </a:xfrm>
                <a:custGeom>
                  <a:avLst/>
                  <a:gdLst>
                    <a:gd name="connsiteX0" fmla="*/ 0 w 1194"/>
                    <a:gd name="connsiteY0" fmla="*/ 0 h 29628"/>
                    <a:gd name="connsiteX1" fmla="*/ 0 w 1194"/>
                    <a:gd name="connsiteY1" fmla="*/ 29628 h 2962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194" h="29628">
                      <a:moveTo>
                        <a:pt x="0" y="0"/>
                      </a:moveTo>
                      <a:lnTo>
                        <a:pt x="0" y="29628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625" name="Forma livre: Forma 624">
                  <a:extLst>
                    <a:ext uri="{FF2B5EF4-FFF2-40B4-BE49-F238E27FC236}">
                      <a16:creationId xmlns:a16="http://schemas.microsoft.com/office/drawing/2014/main" id="{9AD44E7F-DA79-ABBC-B7BB-9C283BD156A0}"/>
                    </a:ext>
                  </a:extLst>
                </p:cNvPr>
                <p:cNvSpPr/>
                <p:nvPr/>
              </p:nvSpPr>
              <p:spPr>
                <a:xfrm>
                  <a:off x="6741732" y="2613647"/>
                  <a:ext cx="282509" cy="194101"/>
                </a:xfrm>
                <a:custGeom>
                  <a:avLst/>
                  <a:gdLst>
                    <a:gd name="connsiteX0" fmla="*/ 0 w 282509"/>
                    <a:gd name="connsiteY0" fmla="*/ 194102 h 194101"/>
                    <a:gd name="connsiteX1" fmla="*/ 0 w 282509"/>
                    <a:gd name="connsiteY1" fmla="*/ 20620 h 194101"/>
                    <a:gd name="connsiteX2" fmla="*/ 20608 w 282509"/>
                    <a:gd name="connsiteY2" fmla="*/ 0 h 194101"/>
                    <a:gd name="connsiteX3" fmla="*/ 261877 w 282509"/>
                    <a:gd name="connsiteY3" fmla="*/ 0 h 194101"/>
                    <a:gd name="connsiteX4" fmla="*/ 282509 w 282509"/>
                    <a:gd name="connsiteY4" fmla="*/ 20620 h 194101"/>
                    <a:gd name="connsiteX5" fmla="*/ 282509 w 282509"/>
                    <a:gd name="connsiteY5" fmla="*/ 23416 h 19410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282509" h="194101">
                      <a:moveTo>
                        <a:pt x="0" y="194102"/>
                      </a:moveTo>
                      <a:lnTo>
                        <a:pt x="0" y="20620"/>
                      </a:lnTo>
                      <a:cubicBezTo>
                        <a:pt x="0" y="9283"/>
                        <a:pt x="9283" y="0"/>
                        <a:pt x="20608" y="0"/>
                      </a:cubicBezTo>
                      <a:lnTo>
                        <a:pt x="261877" y="0"/>
                      </a:lnTo>
                      <a:cubicBezTo>
                        <a:pt x="273226" y="0"/>
                        <a:pt x="282509" y="9283"/>
                        <a:pt x="282509" y="20620"/>
                      </a:cubicBezTo>
                      <a:lnTo>
                        <a:pt x="282509" y="23416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626" name="Forma livre: Forma 625">
                <a:extLst>
                  <a:ext uri="{FF2B5EF4-FFF2-40B4-BE49-F238E27FC236}">
                    <a16:creationId xmlns:a16="http://schemas.microsoft.com/office/drawing/2014/main" id="{DD0B39D6-B2EE-429E-5F4D-6FA3B483EC25}"/>
                  </a:ext>
                </a:extLst>
              </p:cNvPr>
              <p:cNvSpPr/>
              <p:nvPr/>
            </p:nvSpPr>
            <p:spPr>
              <a:xfrm>
                <a:off x="6708651" y="2808931"/>
                <a:ext cx="348695" cy="27286"/>
              </a:xfrm>
              <a:custGeom>
                <a:avLst/>
                <a:gdLst>
                  <a:gd name="connsiteX0" fmla="*/ 205320 w 348695"/>
                  <a:gd name="connsiteY0" fmla="*/ 0 h 27286"/>
                  <a:gd name="connsiteX1" fmla="*/ 200374 w 348695"/>
                  <a:gd name="connsiteY1" fmla="*/ 5735 h 27286"/>
                  <a:gd name="connsiteX2" fmla="*/ 148309 w 348695"/>
                  <a:gd name="connsiteY2" fmla="*/ 5735 h 27286"/>
                  <a:gd name="connsiteX3" fmla="*/ 143375 w 348695"/>
                  <a:gd name="connsiteY3" fmla="*/ 0 h 27286"/>
                  <a:gd name="connsiteX4" fmla="*/ 0 w 348695"/>
                  <a:gd name="connsiteY4" fmla="*/ 0 h 27286"/>
                  <a:gd name="connsiteX5" fmla="*/ 25961 w 348695"/>
                  <a:gd name="connsiteY5" fmla="*/ 27287 h 27286"/>
                  <a:gd name="connsiteX6" fmla="*/ 322734 w 348695"/>
                  <a:gd name="connsiteY6" fmla="*/ 27287 h 27286"/>
                  <a:gd name="connsiteX7" fmla="*/ 348695 w 348695"/>
                  <a:gd name="connsiteY7" fmla="*/ 0 h 27286"/>
                  <a:gd name="connsiteX8" fmla="*/ 205320 w 348695"/>
                  <a:gd name="connsiteY8" fmla="*/ 0 h 272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48695" h="27286">
                    <a:moveTo>
                      <a:pt x="205320" y="0"/>
                    </a:moveTo>
                    <a:lnTo>
                      <a:pt x="200374" y="5735"/>
                    </a:lnTo>
                    <a:lnTo>
                      <a:pt x="148309" y="5735"/>
                    </a:lnTo>
                    <a:lnTo>
                      <a:pt x="143375" y="0"/>
                    </a:lnTo>
                    <a:lnTo>
                      <a:pt x="0" y="0"/>
                    </a:lnTo>
                    <a:cubicBezTo>
                      <a:pt x="0" y="0"/>
                      <a:pt x="6009" y="27287"/>
                      <a:pt x="25961" y="27287"/>
                    </a:cubicBezTo>
                    <a:lnTo>
                      <a:pt x="322734" y="27287"/>
                    </a:lnTo>
                    <a:cubicBezTo>
                      <a:pt x="342686" y="27287"/>
                      <a:pt x="348695" y="0"/>
                      <a:pt x="348695" y="0"/>
                    </a:cubicBezTo>
                    <a:lnTo>
                      <a:pt x="205320" y="0"/>
                    </a:ln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627" name="Gráfico 9">
              <a:extLst>
                <a:ext uri="{FF2B5EF4-FFF2-40B4-BE49-F238E27FC236}">
                  <a16:creationId xmlns:a16="http://schemas.microsoft.com/office/drawing/2014/main" id="{FB0218E8-F80A-C3B8-00BA-2E4B49D2953D}"/>
                </a:ext>
              </a:extLst>
            </p:cNvPr>
            <p:cNvGrpSpPr/>
            <p:nvPr/>
          </p:nvGrpSpPr>
          <p:grpSpPr>
            <a:xfrm>
              <a:off x="6790225" y="2648412"/>
              <a:ext cx="271505" cy="134761"/>
              <a:chOff x="6790225" y="2648412"/>
              <a:chExt cx="271505" cy="134761"/>
            </a:xfrm>
            <a:noFill/>
          </p:grpSpPr>
          <p:sp>
            <p:nvSpPr>
              <p:cNvPr id="628" name="Forma livre: Forma 627">
                <a:extLst>
                  <a:ext uri="{FF2B5EF4-FFF2-40B4-BE49-F238E27FC236}">
                    <a16:creationId xmlns:a16="http://schemas.microsoft.com/office/drawing/2014/main" id="{E9EDCB82-ABCD-8328-A499-D7923AB742D0}"/>
                  </a:ext>
                </a:extLst>
              </p:cNvPr>
              <p:cNvSpPr/>
              <p:nvPr/>
            </p:nvSpPr>
            <p:spPr>
              <a:xfrm>
                <a:off x="6959023" y="2749101"/>
                <a:ext cx="26856" cy="23"/>
              </a:xfrm>
              <a:custGeom>
                <a:avLst/>
                <a:gdLst>
                  <a:gd name="connsiteX0" fmla="*/ 0 w 26856"/>
                  <a:gd name="connsiteY0" fmla="*/ 24 h 23"/>
                  <a:gd name="connsiteX1" fmla="*/ 26857 w 26856"/>
                  <a:gd name="connsiteY1" fmla="*/ 0 h 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6856" h="23">
                    <a:moveTo>
                      <a:pt x="0" y="24"/>
                    </a:moveTo>
                    <a:lnTo>
                      <a:pt x="26857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629" name="Forma livre: Forma 628">
                <a:extLst>
                  <a:ext uri="{FF2B5EF4-FFF2-40B4-BE49-F238E27FC236}">
                    <a16:creationId xmlns:a16="http://schemas.microsoft.com/office/drawing/2014/main" id="{AF36A51E-419F-58D6-CF88-40714E0ED859}"/>
                  </a:ext>
                </a:extLst>
              </p:cNvPr>
              <p:cNvSpPr/>
              <p:nvPr/>
            </p:nvSpPr>
            <p:spPr>
              <a:xfrm>
                <a:off x="6823449" y="2736557"/>
                <a:ext cx="66484" cy="46617"/>
              </a:xfrm>
              <a:custGeom>
                <a:avLst/>
                <a:gdLst>
                  <a:gd name="connsiteX0" fmla="*/ 0 w 66484"/>
                  <a:gd name="connsiteY0" fmla="*/ 0 h 46617"/>
                  <a:gd name="connsiteX1" fmla="*/ 13608 w 66484"/>
                  <a:gd name="connsiteY1" fmla="*/ 0 h 46617"/>
                  <a:gd name="connsiteX2" fmla="*/ 36044 w 66484"/>
                  <a:gd name="connsiteY2" fmla="*/ 38505 h 46617"/>
                  <a:gd name="connsiteX3" fmla="*/ 53534 w 66484"/>
                  <a:gd name="connsiteY3" fmla="*/ 46223 h 46617"/>
                  <a:gd name="connsiteX4" fmla="*/ 66485 w 66484"/>
                  <a:gd name="connsiteY4" fmla="*/ 41575 h 466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6484" h="46617">
                    <a:moveTo>
                      <a:pt x="0" y="0"/>
                    </a:moveTo>
                    <a:lnTo>
                      <a:pt x="13608" y="0"/>
                    </a:lnTo>
                    <a:lnTo>
                      <a:pt x="36044" y="38505"/>
                    </a:lnTo>
                    <a:cubicBezTo>
                      <a:pt x="41360" y="47513"/>
                      <a:pt x="49723" y="47011"/>
                      <a:pt x="53534" y="46223"/>
                    </a:cubicBezTo>
                    <a:lnTo>
                      <a:pt x="66485" y="41575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630" name="Forma livre: Forma 629">
                <a:extLst>
                  <a:ext uri="{FF2B5EF4-FFF2-40B4-BE49-F238E27FC236}">
                    <a16:creationId xmlns:a16="http://schemas.microsoft.com/office/drawing/2014/main" id="{46F0104B-062A-3FCE-D672-3DED2878E7FD}"/>
                  </a:ext>
                </a:extLst>
              </p:cNvPr>
              <p:cNvSpPr/>
              <p:nvPr/>
            </p:nvSpPr>
            <p:spPr>
              <a:xfrm>
                <a:off x="6898906" y="2742901"/>
                <a:ext cx="13440" cy="24204"/>
              </a:xfrm>
              <a:custGeom>
                <a:avLst/>
                <a:gdLst>
                  <a:gd name="connsiteX0" fmla="*/ 0 w 13440"/>
                  <a:gd name="connsiteY0" fmla="*/ 0 h 24204"/>
                  <a:gd name="connsiteX1" fmla="*/ 13440 w 13440"/>
                  <a:gd name="connsiteY1" fmla="*/ 24204 h 242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3440" h="24204">
                    <a:moveTo>
                      <a:pt x="0" y="0"/>
                    </a:moveTo>
                    <a:lnTo>
                      <a:pt x="13440" y="24204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631" name="Forma livre: Forma 630">
                <a:extLst>
                  <a:ext uri="{FF2B5EF4-FFF2-40B4-BE49-F238E27FC236}">
                    <a16:creationId xmlns:a16="http://schemas.microsoft.com/office/drawing/2014/main" id="{45774173-6DD9-941F-BFA3-3803EFFE648F}"/>
                  </a:ext>
                </a:extLst>
              </p:cNvPr>
              <p:cNvSpPr/>
              <p:nvPr/>
            </p:nvSpPr>
            <p:spPr>
              <a:xfrm>
                <a:off x="6879468" y="2758706"/>
                <a:ext cx="8721" cy="15160"/>
              </a:xfrm>
              <a:custGeom>
                <a:avLst/>
                <a:gdLst>
                  <a:gd name="connsiteX0" fmla="*/ 0 w 8721"/>
                  <a:gd name="connsiteY0" fmla="*/ 0 h 15160"/>
                  <a:gd name="connsiteX1" fmla="*/ 8721 w 8721"/>
                  <a:gd name="connsiteY1" fmla="*/ 15161 h 151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8721" h="15160">
                    <a:moveTo>
                      <a:pt x="0" y="0"/>
                    </a:moveTo>
                    <a:lnTo>
                      <a:pt x="8721" y="15161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632" name="Forma livre: Forma 631">
                <a:extLst>
                  <a:ext uri="{FF2B5EF4-FFF2-40B4-BE49-F238E27FC236}">
                    <a16:creationId xmlns:a16="http://schemas.microsoft.com/office/drawing/2014/main" id="{C56ECD80-8124-EEF7-FF25-02BA0C98B52F}"/>
                  </a:ext>
                </a:extLst>
              </p:cNvPr>
              <p:cNvSpPr/>
              <p:nvPr/>
            </p:nvSpPr>
            <p:spPr>
              <a:xfrm>
                <a:off x="6912251" y="2765444"/>
                <a:ext cx="27454" cy="8914"/>
              </a:xfrm>
              <a:custGeom>
                <a:avLst/>
                <a:gdLst>
                  <a:gd name="connsiteX0" fmla="*/ 0 w 27454"/>
                  <a:gd name="connsiteY0" fmla="*/ 1565 h 8914"/>
                  <a:gd name="connsiteX1" fmla="*/ 17431 w 27454"/>
                  <a:gd name="connsiteY1" fmla="*/ 7156 h 8914"/>
                  <a:gd name="connsiteX2" fmla="*/ 27454 w 27454"/>
                  <a:gd name="connsiteY2" fmla="*/ 0 h 89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7454" h="8914">
                    <a:moveTo>
                      <a:pt x="0" y="1565"/>
                    </a:moveTo>
                    <a:cubicBezTo>
                      <a:pt x="6033" y="11911"/>
                      <a:pt x="13524" y="8817"/>
                      <a:pt x="17431" y="7156"/>
                    </a:cubicBezTo>
                    <a:lnTo>
                      <a:pt x="27454" y="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633" name="Forma livre: Forma 632">
                <a:extLst>
                  <a:ext uri="{FF2B5EF4-FFF2-40B4-BE49-F238E27FC236}">
                    <a16:creationId xmlns:a16="http://schemas.microsoft.com/office/drawing/2014/main" id="{3E33D646-EFBB-2B0E-947A-B4CD68122782}"/>
                  </a:ext>
                </a:extLst>
              </p:cNvPr>
              <p:cNvSpPr/>
              <p:nvPr/>
            </p:nvSpPr>
            <p:spPr>
              <a:xfrm>
                <a:off x="6888201" y="2771920"/>
                <a:ext cx="27609" cy="8637"/>
              </a:xfrm>
              <a:custGeom>
                <a:avLst/>
                <a:gdLst>
                  <a:gd name="connsiteX0" fmla="*/ 0 w 27609"/>
                  <a:gd name="connsiteY0" fmla="*/ 1947 h 8637"/>
                  <a:gd name="connsiteX1" fmla="*/ 14145 w 27609"/>
                  <a:gd name="connsiteY1" fmla="*/ 7180 h 8637"/>
                  <a:gd name="connsiteX2" fmla="*/ 27609 w 27609"/>
                  <a:gd name="connsiteY2" fmla="*/ 0 h 86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7609" h="8637">
                    <a:moveTo>
                      <a:pt x="0" y="1947"/>
                    </a:moveTo>
                    <a:cubicBezTo>
                      <a:pt x="5950" y="12807"/>
                      <a:pt x="14145" y="7180"/>
                      <a:pt x="14145" y="7180"/>
                    </a:cubicBezTo>
                    <a:lnTo>
                      <a:pt x="27609" y="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634" name="Forma livre: Forma 633">
                <a:extLst>
                  <a:ext uri="{FF2B5EF4-FFF2-40B4-BE49-F238E27FC236}">
                    <a16:creationId xmlns:a16="http://schemas.microsoft.com/office/drawing/2014/main" id="{8DDD9C4E-869F-1D59-5052-30C3DBC6621A}"/>
                  </a:ext>
                </a:extLst>
              </p:cNvPr>
              <p:cNvSpPr/>
              <p:nvPr/>
            </p:nvSpPr>
            <p:spPr>
              <a:xfrm>
                <a:off x="6823389" y="2658376"/>
                <a:ext cx="37131" cy="1194"/>
              </a:xfrm>
              <a:custGeom>
                <a:avLst/>
                <a:gdLst>
                  <a:gd name="connsiteX0" fmla="*/ 0 w 37131"/>
                  <a:gd name="connsiteY0" fmla="*/ 0 h 1194"/>
                  <a:gd name="connsiteX1" fmla="*/ 37131 w 37131"/>
                  <a:gd name="connsiteY1" fmla="*/ 0 h 11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7131" h="1194">
                    <a:moveTo>
                      <a:pt x="0" y="0"/>
                    </a:moveTo>
                    <a:lnTo>
                      <a:pt x="37131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635" name="Forma livre: Forma 634">
                <a:extLst>
                  <a:ext uri="{FF2B5EF4-FFF2-40B4-BE49-F238E27FC236}">
                    <a16:creationId xmlns:a16="http://schemas.microsoft.com/office/drawing/2014/main" id="{DA454476-7CCB-4A15-A2C5-A1A40995166A}"/>
                  </a:ext>
                </a:extLst>
              </p:cNvPr>
              <p:cNvSpPr/>
              <p:nvPr/>
            </p:nvSpPr>
            <p:spPr>
              <a:xfrm>
                <a:off x="6790225" y="2648412"/>
                <a:ext cx="32268" cy="99398"/>
              </a:xfrm>
              <a:custGeom>
                <a:avLst/>
                <a:gdLst>
                  <a:gd name="connsiteX0" fmla="*/ 239 w 32268"/>
                  <a:gd name="connsiteY0" fmla="*/ 0 h 99398"/>
                  <a:gd name="connsiteX1" fmla="*/ 32269 w 32268"/>
                  <a:gd name="connsiteY1" fmla="*/ 0 h 99398"/>
                  <a:gd name="connsiteX2" fmla="*/ 32269 w 32268"/>
                  <a:gd name="connsiteY2" fmla="*/ 99398 h 99398"/>
                  <a:gd name="connsiteX3" fmla="*/ 0 w 32268"/>
                  <a:gd name="connsiteY3" fmla="*/ 99398 h 993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2268" h="99398">
                    <a:moveTo>
                      <a:pt x="239" y="0"/>
                    </a:moveTo>
                    <a:lnTo>
                      <a:pt x="32269" y="0"/>
                    </a:lnTo>
                    <a:lnTo>
                      <a:pt x="32269" y="99398"/>
                    </a:lnTo>
                    <a:lnTo>
                      <a:pt x="0" y="99398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636" name="Forma livre: Forma 635">
                <a:extLst>
                  <a:ext uri="{FF2B5EF4-FFF2-40B4-BE49-F238E27FC236}">
                    <a16:creationId xmlns:a16="http://schemas.microsoft.com/office/drawing/2014/main" id="{026EF924-DD04-BA0C-436F-7363DD3C12F3}"/>
                  </a:ext>
                </a:extLst>
              </p:cNvPr>
              <p:cNvSpPr/>
              <p:nvPr/>
            </p:nvSpPr>
            <p:spPr>
              <a:xfrm>
                <a:off x="6986130" y="2657468"/>
                <a:ext cx="75600" cy="99398"/>
              </a:xfrm>
              <a:custGeom>
                <a:avLst/>
                <a:gdLst>
                  <a:gd name="connsiteX0" fmla="*/ 75361 w 75600"/>
                  <a:gd name="connsiteY0" fmla="*/ 0 h 99398"/>
                  <a:gd name="connsiteX1" fmla="*/ 0 w 75600"/>
                  <a:gd name="connsiteY1" fmla="*/ 0 h 99398"/>
                  <a:gd name="connsiteX2" fmla="*/ 0 w 75600"/>
                  <a:gd name="connsiteY2" fmla="*/ 99399 h 99398"/>
                  <a:gd name="connsiteX3" fmla="*/ 75600 w 75600"/>
                  <a:gd name="connsiteY3" fmla="*/ 99399 h 993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5600" h="99398">
                    <a:moveTo>
                      <a:pt x="75361" y="0"/>
                    </a:moveTo>
                    <a:lnTo>
                      <a:pt x="0" y="0"/>
                    </a:lnTo>
                    <a:lnTo>
                      <a:pt x="0" y="99399"/>
                    </a:lnTo>
                    <a:lnTo>
                      <a:pt x="75600" y="99399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637" name="Forma livre: Forma 636">
                <a:extLst>
                  <a:ext uri="{FF2B5EF4-FFF2-40B4-BE49-F238E27FC236}">
                    <a16:creationId xmlns:a16="http://schemas.microsoft.com/office/drawing/2014/main" id="{1D5028DC-BA5B-6057-C50F-243CDD750465}"/>
                  </a:ext>
                </a:extLst>
              </p:cNvPr>
              <p:cNvSpPr/>
              <p:nvPr/>
            </p:nvSpPr>
            <p:spPr>
              <a:xfrm>
                <a:off x="6857796" y="2650467"/>
                <a:ext cx="127820" cy="102886"/>
              </a:xfrm>
              <a:custGeom>
                <a:avLst/>
                <a:gdLst>
                  <a:gd name="connsiteX0" fmla="*/ 103891 w 127820"/>
                  <a:gd name="connsiteY0" fmla="*/ 102887 h 102886"/>
                  <a:gd name="connsiteX1" fmla="*/ 67679 w 127820"/>
                  <a:gd name="connsiteY1" fmla="*/ 33870 h 102886"/>
                  <a:gd name="connsiteX2" fmla="*/ 48994 w 127820"/>
                  <a:gd name="connsiteY2" fmla="*/ 32269 h 102886"/>
                  <a:gd name="connsiteX3" fmla="*/ 27609 w 127820"/>
                  <a:gd name="connsiteY3" fmla="*/ 53988 h 102886"/>
                  <a:gd name="connsiteX4" fmla="*/ 0 w 127820"/>
                  <a:gd name="connsiteY4" fmla="*/ 47525 h 102886"/>
                  <a:gd name="connsiteX5" fmla="*/ 27478 w 127820"/>
                  <a:gd name="connsiteY5" fmla="*/ 11708 h 102886"/>
                  <a:gd name="connsiteX6" fmla="*/ 45960 w 127820"/>
                  <a:gd name="connsiteY6" fmla="*/ 0 h 102886"/>
                  <a:gd name="connsiteX7" fmla="*/ 87320 w 127820"/>
                  <a:gd name="connsiteY7" fmla="*/ 60 h 102886"/>
                  <a:gd name="connsiteX8" fmla="*/ 127820 w 127820"/>
                  <a:gd name="connsiteY8" fmla="*/ 17682 h 1028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27820" h="102886">
                    <a:moveTo>
                      <a:pt x="103891" y="102887"/>
                    </a:moveTo>
                    <a:lnTo>
                      <a:pt x="67679" y="33870"/>
                    </a:lnTo>
                    <a:cubicBezTo>
                      <a:pt x="64609" y="33678"/>
                      <a:pt x="48994" y="32269"/>
                      <a:pt x="48994" y="32269"/>
                    </a:cubicBezTo>
                    <a:lnTo>
                      <a:pt x="27609" y="53988"/>
                    </a:lnTo>
                    <a:cubicBezTo>
                      <a:pt x="9749" y="67632"/>
                      <a:pt x="0" y="47525"/>
                      <a:pt x="0" y="47525"/>
                    </a:cubicBezTo>
                    <a:lnTo>
                      <a:pt x="27478" y="11708"/>
                    </a:lnTo>
                    <a:cubicBezTo>
                      <a:pt x="36689" y="131"/>
                      <a:pt x="45960" y="0"/>
                      <a:pt x="45960" y="0"/>
                    </a:cubicBezTo>
                    <a:lnTo>
                      <a:pt x="87320" y="60"/>
                    </a:lnTo>
                    <a:lnTo>
                      <a:pt x="127820" y="17682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638" name="Forma livre: Forma 637">
                <a:extLst>
                  <a:ext uri="{FF2B5EF4-FFF2-40B4-BE49-F238E27FC236}">
                    <a16:creationId xmlns:a16="http://schemas.microsoft.com/office/drawing/2014/main" id="{788F0490-EBA9-DB1A-DD24-115E0BD5ADE8}"/>
                  </a:ext>
                </a:extLst>
              </p:cNvPr>
              <p:cNvSpPr/>
              <p:nvPr/>
            </p:nvSpPr>
            <p:spPr>
              <a:xfrm>
                <a:off x="6919335" y="2728899"/>
                <a:ext cx="44729" cy="39349"/>
              </a:xfrm>
              <a:custGeom>
                <a:avLst/>
                <a:gdLst>
                  <a:gd name="connsiteX0" fmla="*/ 44729 w 44729"/>
                  <a:gd name="connsiteY0" fmla="*/ 21696 h 39349"/>
                  <a:gd name="connsiteX1" fmla="*/ 18948 w 44729"/>
                  <a:gd name="connsiteY1" fmla="*/ 29712 h 39349"/>
                  <a:gd name="connsiteX2" fmla="*/ 0 w 44729"/>
                  <a:gd name="connsiteY2" fmla="*/ 0 h 393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44729" h="39349">
                    <a:moveTo>
                      <a:pt x="44729" y="21696"/>
                    </a:moveTo>
                    <a:cubicBezTo>
                      <a:pt x="43093" y="26343"/>
                      <a:pt x="32555" y="53498"/>
                      <a:pt x="18948" y="29712"/>
                    </a:cubicBezTo>
                    <a:lnTo>
                      <a:pt x="0" y="0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639" name="Gráfico 9">
            <a:extLst>
              <a:ext uri="{FF2B5EF4-FFF2-40B4-BE49-F238E27FC236}">
                <a16:creationId xmlns:a16="http://schemas.microsoft.com/office/drawing/2014/main" id="{041CA5C5-3227-FD4D-6F40-2D54184CB534}"/>
              </a:ext>
            </a:extLst>
          </p:cNvPr>
          <p:cNvGrpSpPr/>
          <p:nvPr/>
        </p:nvGrpSpPr>
        <p:grpSpPr>
          <a:xfrm>
            <a:off x="6710837" y="1021050"/>
            <a:ext cx="348694" cy="222559"/>
            <a:chOff x="6710837" y="1021050"/>
            <a:chExt cx="348694" cy="222559"/>
          </a:xfrm>
          <a:noFill/>
        </p:grpSpPr>
        <p:grpSp>
          <p:nvGrpSpPr>
            <p:cNvPr id="640" name="Gráfico 9">
              <a:extLst>
                <a:ext uri="{FF2B5EF4-FFF2-40B4-BE49-F238E27FC236}">
                  <a16:creationId xmlns:a16="http://schemas.microsoft.com/office/drawing/2014/main" id="{AE834532-59F9-2C50-E8DD-ABB5A9A122AF}"/>
                </a:ext>
              </a:extLst>
            </p:cNvPr>
            <p:cNvGrpSpPr/>
            <p:nvPr/>
          </p:nvGrpSpPr>
          <p:grpSpPr>
            <a:xfrm>
              <a:off x="6710837" y="1021050"/>
              <a:ext cx="348694" cy="222559"/>
              <a:chOff x="6710837" y="1021050"/>
              <a:chExt cx="348694" cy="222559"/>
            </a:xfrm>
            <a:noFill/>
          </p:grpSpPr>
          <p:sp>
            <p:nvSpPr>
              <p:cNvPr id="641" name="Forma livre: Forma 640">
                <a:extLst>
                  <a:ext uri="{FF2B5EF4-FFF2-40B4-BE49-F238E27FC236}">
                    <a16:creationId xmlns:a16="http://schemas.microsoft.com/office/drawing/2014/main" id="{5031B5FA-8441-29FA-C39D-F7AB03E1538B}"/>
                  </a:ext>
                </a:extLst>
              </p:cNvPr>
              <p:cNvSpPr/>
              <p:nvPr/>
            </p:nvSpPr>
            <p:spPr>
              <a:xfrm>
                <a:off x="6743930" y="1021050"/>
                <a:ext cx="282508" cy="173636"/>
              </a:xfrm>
              <a:custGeom>
                <a:avLst/>
                <a:gdLst>
                  <a:gd name="connsiteX0" fmla="*/ 0 w 282508"/>
                  <a:gd name="connsiteY0" fmla="*/ 173637 h 173636"/>
                  <a:gd name="connsiteX1" fmla="*/ 0 w 282508"/>
                  <a:gd name="connsiteY1" fmla="*/ 20620 h 173636"/>
                  <a:gd name="connsiteX2" fmla="*/ 20608 w 282508"/>
                  <a:gd name="connsiteY2" fmla="*/ 0 h 173636"/>
                  <a:gd name="connsiteX3" fmla="*/ 261877 w 282508"/>
                  <a:gd name="connsiteY3" fmla="*/ 0 h 173636"/>
                  <a:gd name="connsiteX4" fmla="*/ 282509 w 282508"/>
                  <a:gd name="connsiteY4" fmla="*/ 20620 h 173636"/>
                  <a:gd name="connsiteX5" fmla="*/ 282509 w 282508"/>
                  <a:gd name="connsiteY5" fmla="*/ 173637 h 1736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82508" h="173636">
                    <a:moveTo>
                      <a:pt x="0" y="173637"/>
                    </a:moveTo>
                    <a:lnTo>
                      <a:pt x="0" y="20620"/>
                    </a:lnTo>
                    <a:cubicBezTo>
                      <a:pt x="0" y="9283"/>
                      <a:pt x="9283" y="0"/>
                      <a:pt x="20608" y="0"/>
                    </a:cubicBezTo>
                    <a:lnTo>
                      <a:pt x="261877" y="0"/>
                    </a:lnTo>
                    <a:cubicBezTo>
                      <a:pt x="273226" y="0"/>
                      <a:pt x="282509" y="9283"/>
                      <a:pt x="282509" y="20620"/>
                    </a:cubicBezTo>
                    <a:lnTo>
                      <a:pt x="282509" y="173637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642" name="Forma livre: Forma 641">
                <a:extLst>
                  <a:ext uri="{FF2B5EF4-FFF2-40B4-BE49-F238E27FC236}">
                    <a16:creationId xmlns:a16="http://schemas.microsoft.com/office/drawing/2014/main" id="{6E55BD1E-D91A-FBFF-E583-96B42C2E5058}"/>
                  </a:ext>
                </a:extLst>
              </p:cNvPr>
              <p:cNvSpPr/>
              <p:nvPr/>
            </p:nvSpPr>
            <p:spPr>
              <a:xfrm>
                <a:off x="6710837" y="1216322"/>
                <a:ext cx="348694" cy="27286"/>
              </a:xfrm>
              <a:custGeom>
                <a:avLst/>
                <a:gdLst>
                  <a:gd name="connsiteX0" fmla="*/ 205320 w 348694"/>
                  <a:gd name="connsiteY0" fmla="*/ 0 h 27286"/>
                  <a:gd name="connsiteX1" fmla="*/ 200374 w 348694"/>
                  <a:gd name="connsiteY1" fmla="*/ 5735 h 27286"/>
                  <a:gd name="connsiteX2" fmla="*/ 148309 w 348694"/>
                  <a:gd name="connsiteY2" fmla="*/ 5735 h 27286"/>
                  <a:gd name="connsiteX3" fmla="*/ 143375 w 348694"/>
                  <a:gd name="connsiteY3" fmla="*/ 0 h 27286"/>
                  <a:gd name="connsiteX4" fmla="*/ 0 w 348694"/>
                  <a:gd name="connsiteY4" fmla="*/ 0 h 27286"/>
                  <a:gd name="connsiteX5" fmla="*/ 25961 w 348694"/>
                  <a:gd name="connsiteY5" fmla="*/ 27287 h 27286"/>
                  <a:gd name="connsiteX6" fmla="*/ 322734 w 348694"/>
                  <a:gd name="connsiteY6" fmla="*/ 27287 h 27286"/>
                  <a:gd name="connsiteX7" fmla="*/ 348695 w 348694"/>
                  <a:gd name="connsiteY7" fmla="*/ 0 h 27286"/>
                  <a:gd name="connsiteX8" fmla="*/ 205320 w 348694"/>
                  <a:gd name="connsiteY8" fmla="*/ 0 h 272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48694" h="27286">
                    <a:moveTo>
                      <a:pt x="205320" y="0"/>
                    </a:moveTo>
                    <a:lnTo>
                      <a:pt x="200374" y="5735"/>
                    </a:lnTo>
                    <a:lnTo>
                      <a:pt x="148309" y="5735"/>
                    </a:lnTo>
                    <a:lnTo>
                      <a:pt x="143375" y="0"/>
                    </a:lnTo>
                    <a:lnTo>
                      <a:pt x="0" y="0"/>
                    </a:lnTo>
                    <a:cubicBezTo>
                      <a:pt x="0" y="0"/>
                      <a:pt x="6009" y="27287"/>
                      <a:pt x="25961" y="27287"/>
                    </a:cubicBezTo>
                    <a:lnTo>
                      <a:pt x="322734" y="27287"/>
                    </a:lnTo>
                    <a:cubicBezTo>
                      <a:pt x="342686" y="27287"/>
                      <a:pt x="348695" y="0"/>
                      <a:pt x="348695" y="0"/>
                    </a:cubicBezTo>
                    <a:lnTo>
                      <a:pt x="205320" y="0"/>
                    </a:ln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643" name="Gráfico 9">
              <a:extLst>
                <a:ext uri="{FF2B5EF4-FFF2-40B4-BE49-F238E27FC236}">
                  <a16:creationId xmlns:a16="http://schemas.microsoft.com/office/drawing/2014/main" id="{A83570DC-408C-CAAD-6E19-5FF1CA65DE71}"/>
                </a:ext>
              </a:extLst>
            </p:cNvPr>
            <p:cNvGrpSpPr/>
            <p:nvPr/>
          </p:nvGrpSpPr>
          <p:grpSpPr>
            <a:xfrm>
              <a:off x="6802685" y="1059483"/>
              <a:ext cx="164975" cy="119791"/>
              <a:chOff x="6802685" y="1059483"/>
              <a:chExt cx="164975" cy="119791"/>
            </a:xfrm>
            <a:noFill/>
          </p:grpSpPr>
          <p:sp>
            <p:nvSpPr>
              <p:cNvPr id="644" name="Forma livre: Forma 643">
                <a:extLst>
                  <a:ext uri="{FF2B5EF4-FFF2-40B4-BE49-F238E27FC236}">
                    <a16:creationId xmlns:a16="http://schemas.microsoft.com/office/drawing/2014/main" id="{9CF99DF1-1095-DA7D-8988-64A54B572CF6}"/>
                  </a:ext>
                </a:extLst>
              </p:cNvPr>
              <p:cNvSpPr/>
              <p:nvPr/>
            </p:nvSpPr>
            <p:spPr>
              <a:xfrm>
                <a:off x="6802685" y="1059483"/>
                <a:ext cx="164975" cy="119791"/>
              </a:xfrm>
              <a:custGeom>
                <a:avLst/>
                <a:gdLst>
                  <a:gd name="connsiteX0" fmla="*/ 9020 w 164975"/>
                  <a:gd name="connsiteY0" fmla="*/ 119792 h 119791"/>
                  <a:gd name="connsiteX1" fmla="*/ 0 w 164975"/>
                  <a:gd name="connsiteY1" fmla="*/ 110796 h 119791"/>
                  <a:gd name="connsiteX2" fmla="*/ 0 w 164975"/>
                  <a:gd name="connsiteY2" fmla="*/ 9020 h 119791"/>
                  <a:gd name="connsiteX3" fmla="*/ 9020 w 164975"/>
                  <a:gd name="connsiteY3" fmla="*/ 0 h 119791"/>
                  <a:gd name="connsiteX4" fmla="*/ 155955 w 164975"/>
                  <a:gd name="connsiteY4" fmla="*/ 0 h 119791"/>
                  <a:gd name="connsiteX5" fmla="*/ 164975 w 164975"/>
                  <a:gd name="connsiteY5" fmla="*/ 9020 h 119791"/>
                  <a:gd name="connsiteX6" fmla="*/ 164975 w 164975"/>
                  <a:gd name="connsiteY6" fmla="*/ 110796 h 119791"/>
                  <a:gd name="connsiteX7" fmla="*/ 155955 w 164975"/>
                  <a:gd name="connsiteY7" fmla="*/ 119792 h 119791"/>
                  <a:gd name="connsiteX8" fmla="*/ 9020 w 164975"/>
                  <a:gd name="connsiteY8" fmla="*/ 119792 h 1197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64975" h="119791">
                    <a:moveTo>
                      <a:pt x="9020" y="119792"/>
                    </a:moveTo>
                    <a:cubicBezTo>
                      <a:pt x="4062" y="119792"/>
                      <a:pt x="0" y="115754"/>
                      <a:pt x="0" y="110796"/>
                    </a:cubicBezTo>
                    <a:lnTo>
                      <a:pt x="0" y="9020"/>
                    </a:lnTo>
                    <a:cubicBezTo>
                      <a:pt x="0" y="4062"/>
                      <a:pt x="4062" y="0"/>
                      <a:pt x="9020" y="0"/>
                    </a:cubicBezTo>
                    <a:lnTo>
                      <a:pt x="155955" y="0"/>
                    </a:lnTo>
                    <a:cubicBezTo>
                      <a:pt x="160913" y="0"/>
                      <a:pt x="164975" y="4062"/>
                      <a:pt x="164975" y="9020"/>
                    </a:cubicBezTo>
                    <a:lnTo>
                      <a:pt x="164975" y="110796"/>
                    </a:lnTo>
                    <a:cubicBezTo>
                      <a:pt x="164975" y="115754"/>
                      <a:pt x="160913" y="119792"/>
                      <a:pt x="155955" y="119792"/>
                    </a:cubicBezTo>
                    <a:lnTo>
                      <a:pt x="9020" y="119792"/>
                    </a:ln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645" name="Gráfico 9">
                <a:extLst>
                  <a:ext uri="{FF2B5EF4-FFF2-40B4-BE49-F238E27FC236}">
                    <a16:creationId xmlns:a16="http://schemas.microsoft.com/office/drawing/2014/main" id="{81DFBCBA-7AF5-CC3C-CF37-19F4D583BE7F}"/>
                  </a:ext>
                </a:extLst>
              </p:cNvPr>
              <p:cNvGrpSpPr/>
              <p:nvPr/>
            </p:nvGrpSpPr>
            <p:grpSpPr>
              <a:xfrm>
                <a:off x="6807906" y="1130221"/>
                <a:ext cx="154545" cy="44597"/>
                <a:chOff x="6807906" y="1130221"/>
                <a:chExt cx="154545" cy="44597"/>
              </a:xfrm>
            </p:grpSpPr>
            <p:sp>
              <p:nvSpPr>
                <p:cNvPr id="646" name="Forma livre: Forma 645">
                  <a:extLst>
                    <a:ext uri="{FF2B5EF4-FFF2-40B4-BE49-F238E27FC236}">
                      <a16:creationId xmlns:a16="http://schemas.microsoft.com/office/drawing/2014/main" id="{52CF56ED-488C-ED25-6AC6-60DE8DCA1AFD}"/>
                    </a:ext>
                  </a:extLst>
                </p:cNvPr>
                <p:cNvSpPr/>
                <p:nvPr/>
              </p:nvSpPr>
              <p:spPr>
                <a:xfrm>
                  <a:off x="6807906" y="1130221"/>
                  <a:ext cx="37274" cy="44597"/>
                </a:xfrm>
                <a:custGeom>
                  <a:avLst/>
                  <a:gdLst>
                    <a:gd name="connsiteX0" fmla="*/ 37274 w 37274"/>
                    <a:gd name="connsiteY0" fmla="*/ 0 h 44597"/>
                    <a:gd name="connsiteX1" fmla="*/ 0 w 37274"/>
                    <a:gd name="connsiteY1" fmla="*/ 44598 h 4459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37274" h="44597">
                      <a:moveTo>
                        <a:pt x="37274" y="0"/>
                      </a:moveTo>
                      <a:lnTo>
                        <a:pt x="0" y="44598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647" name="Forma livre: Forma 646">
                  <a:extLst>
                    <a:ext uri="{FF2B5EF4-FFF2-40B4-BE49-F238E27FC236}">
                      <a16:creationId xmlns:a16="http://schemas.microsoft.com/office/drawing/2014/main" id="{A1AE0D71-EC9A-416F-2A43-747253BF1448}"/>
                    </a:ext>
                  </a:extLst>
                </p:cNvPr>
                <p:cNvSpPr/>
                <p:nvPr/>
              </p:nvSpPr>
              <p:spPr>
                <a:xfrm>
                  <a:off x="6925177" y="1130221"/>
                  <a:ext cx="37274" cy="44597"/>
                </a:xfrm>
                <a:custGeom>
                  <a:avLst/>
                  <a:gdLst>
                    <a:gd name="connsiteX0" fmla="*/ 0 w 37274"/>
                    <a:gd name="connsiteY0" fmla="*/ 0 h 44597"/>
                    <a:gd name="connsiteX1" fmla="*/ 37274 w 37274"/>
                    <a:gd name="connsiteY1" fmla="*/ 44598 h 4459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37274" h="44597">
                      <a:moveTo>
                        <a:pt x="0" y="0"/>
                      </a:moveTo>
                      <a:lnTo>
                        <a:pt x="37274" y="44598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648" name="Forma livre: Forma 647">
                <a:extLst>
                  <a:ext uri="{FF2B5EF4-FFF2-40B4-BE49-F238E27FC236}">
                    <a16:creationId xmlns:a16="http://schemas.microsoft.com/office/drawing/2014/main" id="{BB82DFA8-E5BA-EBA5-10EF-07F520704CE9}"/>
                  </a:ext>
                </a:extLst>
              </p:cNvPr>
              <p:cNvSpPr/>
              <p:nvPr/>
            </p:nvSpPr>
            <p:spPr>
              <a:xfrm>
                <a:off x="6831525" y="1082409"/>
                <a:ext cx="107140" cy="41694"/>
              </a:xfrm>
              <a:custGeom>
                <a:avLst/>
                <a:gdLst>
                  <a:gd name="connsiteX0" fmla="*/ 0 w 107140"/>
                  <a:gd name="connsiteY0" fmla="*/ 0 h 41694"/>
                  <a:gd name="connsiteX1" fmla="*/ 53893 w 107140"/>
                  <a:gd name="connsiteY1" fmla="*/ 41695 h 41694"/>
                  <a:gd name="connsiteX2" fmla="*/ 107140 w 107140"/>
                  <a:gd name="connsiteY2" fmla="*/ 0 h 416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07140" h="41694">
                    <a:moveTo>
                      <a:pt x="0" y="0"/>
                    </a:moveTo>
                    <a:lnTo>
                      <a:pt x="53893" y="41695"/>
                    </a:lnTo>
                    <a:lnTo>
                      <a:pt x="107140" y="0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649" name="Gráfico 9">
            <a:extLst>
              <a:ext uri="{FF2B5EF4-FFF2-40B4-BE49-F238E27FC236}">
                <a16:creationId xmlns:a16="http://schemas.microsoft.com/office/drawing/2014/main" id="{A56E7572-83A3-9F0E-23F3-4DB41C242597}"/>
              </a:ext>
            </a:extLst>
          </p:cNvPr>
          <p:cNvGrpSpPr/>
          <p:nvPr/>
        </p:nvGrpSpPr>
        <p:grpSpPr>
          <a:xfrm>
            <a:off x="6709356" y="3087976"/>
            <a:ext cx="351669" cy="335612"/>
            <a:chOff x="6709356" y="3087976"/>
            <a:chExt cx="351669" cy="335612"/>
          </a:xfrm>
          <a:noFill/>
        </p:grpSpPr>
        <p:sp>
          <p:nvSpPr>
            <p:cNvPr id="650" name="Forma livre: Forma 649">
              <a:extLst>
                <a:ext uri="{FF2B5EF4-FFF2-40B4-BE49-F238E27FC236}">
                  <a16:creationId xmlns:a16="http://schemas.microsoft.com/office/drawing/2014/main" id="{41C6AB09-7C7B-1B79-5F1A-B7990AEF4C79}"/>
                </a:ext>
              </a:extLst>
            </p:cNvPr>
            <p:cNvSpPr/>
            <p:nvPr/>
          </p:nvSpPr>
          <p:spPr>
            <a:xfrm>
              <a:off x="6709356" y="3087976"/>
              <a:ext cx="198330" cy="191258"/>
            </a:xfrm>
            <a:custGeom>
              <a:avLst/>
              <a:gdLst>
                <a:gd name="connsiteX0" fmla="*/ 198331 w 198330"/>
                <a:gd name="connsiteY0" fmla="*/ 74919 h 191258"/>
                <a:gd name="connsiteX1" fmla="*/ 100844 w 198330"/>
                <a:gd name="connsiteY1" fmla="*/ 0 h 191258"/>
                <a:gd name="connsiteX2" fmla="*/ 0 w 198330"/>
                <a:gd name="connsiteY2" fmla="*/ 100844 h 191258"/>
                <a:gd name="connsiteX3" fmla="*/ 56031 w 198330"/>
                <a:gd name="connsiteY3" fmla="*/ 191258 h 1912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8330" h="191258">
                  <a:moveTo>
                    <a:pt x="198331" y="74919"/>
                  </a:moveTo>
                  <a:cubicBezTo>
                    <a:pt x="186886" y="31779"/>
                    <a:pt x="147580" y="0"/>
                    <a:pt x="100844" y="0"/>
                  </a:cubicBezTo>
                  <a:cubicBezTo>
                    <a:pt x="45147" y="0"/>
                    <a:pt x="0" y="45147"/>
                    <a:pt x="0" y="100844"/>
                  </a:cubicBezTo>
                  <a:cubicBezTo>
                    <a:pt x="0" y="140472"/>
                    <a:pt x="22807" y="174760"/>
                    <a:pt x="56031" y="191258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51" name="Forma livre: Forma 650">
              <a:extLst>
                <a:ext uri="{FF2B5EF4-FFF2-40B4-BE49-F238E27FC236}">
                  <a16:creationId xmlns:a16="http://schemas.microsoft.com/office/drawing/2014/main" id="{D81C9726-8E7B-2F3F-D5AF-C4642DA2AFA9}"/>
                </a:ext>
              </a:extLst>
            </p:cNvPr>
            <p:cNvSpPr/>
            <p:nvPr/>
          </p:nvSpPr>
          <p:spPr>
            <a:xfrm>
              <a:off x="6789579" y="3279676"/>
              <a:ext cx="67750" cy="51479"/>
            </a:xfrm>
            <a:custGeom>
              <a:avLst/>
              <a:gdLst>
                <a:gd name="connsiteX0" fmla="*/ 0 w 67750"/>
                <a:gd name="connsiteY0" fmla="*/ 7897 h 51479"/>
                <a:gd name="connsiteX1" fmla="*/ 0 w 67750"/>
                <a:gd name="connsiteY1" fmla="*/ 51479 h 51479"/>
                <a:gd name="connsiteX2" fmla="*/ 67751 w 67750"/>
                <a:gd name="connsiteY2" fmla="*/ 0 h 514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7750" h="51479">
                  <a:moveTo>
                    <a:pt x="0" y="7897"/>
                  </a:moveTo>
                  <a:lnTo>
                    <a:pt x="0" y="51479"/>
                  </a:lnTo>
                  <a:lnTo>
                    <a:pt x="67751" y="0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52" name="Forma livre: Forma 651">
              <a:extLst>
                <a:ext uri="{FF2B5EF4-FFF2-40B4-BE49-F238E27FC236}">
                  <a16:creationId xmlns:a16="http://schemas.microsoft.com/office/drawing/2014/main" id="{C6BBACD6-6EB4-8149-C5ED-C3516F6B078F}"/>
                </a:ext>
              </a:extLst>
            </p:cNvPr>
            <p:cNvSpPr/>
            <p:nvPr/>
          </p:nvSpPr>
          <p:spPr>
            <a:xfrm>
              <a:off x="6774694" y="3143732"/>
              <a:ext cx="71012" cy="85802"/>
            </a:xfrm>
            <a:custGeom>
              <a:avLst/>
              <a:gdLst>
                <a:gd name="connsiteX0" fmla="*/ 71013 w 71012"/>
                <a:gd name="connsiteY0" fmla="*/ 42901 h 85802"/>
                <a:gd name="connsiteX1" fmla="*/ 35506 w 71012"/>
                <a:gd name="connsiteY1" fmla="*/ 85803 h 85802"/>
                <a:gd name="connsiteX2" fmla="*/ 0 w 71012"/>
                <a:gd name="connsiteY2" fmla="*/ 42901 h 85802"/>
                <a:gd name="connsiteX3" fmla="*/ 35506 w 71012"/>
                <a:gd name="connsiteY3" fmla="*/ 0 h 85802"/>
                <a:gd name="connsiteX4" fmla="*/ 71013 w 71012"/>
                <a:gd name="connsiteY4" fmla="*/ 42901 h 85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012" h="85802">
                  <a:moveTo>
                    <a:pt x="71013" y="42901"/>
                  </a:moveTo>
                  <a:cubicBezTo>
                    <a:pt x="71013" y="66592"/>
                    <a:pt x="55111" y="85803"/>
                    <a:pt x="35506" y="85803"/>
                  </a:cubicBezTo>
                  <a:cubicBezTo>
                    <a:pt x="15901" y="85803"/>
                    <a:pt x="0" y="66604"/>
                    <a:pt x="0" y="42901"/>
                  </a:cubicBezTo>
                  <a:cubicBezTo>
                    <a:pt x="0" y="19199"/>
                    <a:pt x="15889" y="0"/>
                    <a:pt x="35506" y="0"/>
                  </a:cubicBezTo>
                  <a:cubicBezTo>
                    <a:pt x="55123" y="0"/>
                    <a:pt x="71013" y="19211"/>
                    <a:pt x="71013" y="42901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53" name="Forma livre: Forma 652">
              <a:extLst>
                <a:ext uri="{FF2B5EF4-FFF2-40B4-BE49-F238E27FC236}">
                  <a16:creationId xmlns:a16="http://schemas.microsoft.com/office/drawing/2014/main" id="{D5C8F1B4-90F2-5BB5-42C0-7DE70AED383C}"/>
                </a:ext>
              </a:extLst>
            </p:cNvPr>
            <p:cNvSpPr/>
            <p:nvPr/>
          </p:nvSpPr>
          <p:spPr>
            <a:xfrm>
              <a:off x="6821729" y="3227468"/>
              <a:ext cx="11839" cy="14790"/>
            </a:xfrm>
            <a:custGeom>
              <a:avLst/>
              <a:gdLst>
                <a:gd name="connsiteX0" fmla="*/ 0 w 11839"/>
                <a:gd name="connsiteY0" fmla="*/ 0 h 14790"/>
                <a:gd name="connsiteX1" fmla="*/ 11839 w 11839"/>
                <a:gd name="connsiteY1" fmla="*/ 14790 h 147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839" h="14790">
                  <a:moveTo>
                    <a:pt x="0" y="0"/>
                  </a:moveTo>
                  <a:lnTo>
                    <a:pt x="11839" y="1479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54" name="Forma livre: Forma 653">
              <a:extLst>
                <a:ext uri="{FF2B5EF4-FFF2-40B4-BE49-F238E27FC236}">
                  <a16:creationId xmlns:a16="http://schemas.microsoft.com/office/drawing/2014/main" id="{60CC7F51-E21E-D618-A47A-4052097F2915}"/>
                </a:ext>
              </a:extLst>
            </p:cNvPr>
            <p:cNvSpPr/>
            <p:nvPr/>
          </p:nvSpPr>
          <p:spPr>
            <a:xfrm>
              <a:off x="6859326" y="3180397"/>
              <a:ext cx="201699" cy="243191"/>
            </a:xfrm>
            <a:custGeom>
              <a:avLst/>
              <a:gdLst>
                <a:gd name="connsiteX0" fmla="*/ 121476 w 201699"/>
                <a:gd name="connsiteY0" fmla="*/ 199609 h 243191"/>
                <a:gd name="connsiteX1" fmla="*/ 121476 w 201699"/>
                <a:gd name="connsiteY1" fmla="*/ 243192 h 243191"/>
                <a:gd name="connsiteX2" fmla="*/ 38863 w 201699"/>
                <a:gd name="connsiteY2" fmla="*/ 180399 h 243191"/>
                <a:gd name="connsiteX3" fmla="*/ 0 w 201699"/>
                <a:gd name="connsiteY3" fmla="*/ 100844 h 243191"/>
                <a:gd name="connsiteX4" fmla="*/ 100856 w 201699"/>
                <a:gd name="connsiteY4" fmla="*/ 0 h 243191"/>
                <a:gd name="connsiteX5" fmla="*/ 201700 w 201699"/>
                <a:gd name="connsiteY5" fmla="*/ 100844 h 243191"/>
                <a:gd name="connsiteX6" fmla="*/ 145669 w 201699"/>
                <a:gd name="connsiteY6" fmla="*/ 191258 h 2431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1699" h="243191">
                  <a:moveTo>
                    <a:pt x="121476" y="199609"/>
                  </a:moveTo>
                  <a:lnTo>
                    <a:pt x="121476" y="243192"/>
                  </a:lnTo>
                  <a:lnTo>
                    <a:pt x="38863" y="180399"/>
                  </a:lnTo>
                  <a:cubicBezTo>
                    <a:pt x="15208" y="161940"/>
                    <a:pt x="0" y="133172"/>
                    <a:pt x="0" y="100844"/>
                  </a:cubicBezTo>
                  <a:cubicBezTo>
                    <a:pt x="0" y="45147"/>
                    <a:pt x="45147" y="0"/>
                    <a:pt x="100856" y="0"/>
                  </a:cubicBezTo>
                  <a:cubicBezTo>
                    <a:pt x="156564" y="0"/>
                    <a:pt x="201700" y="45147"/>
                    <a:pt x="201700" y="100844"/>
                  </a:cubicBezTo>
                  <a:cubicBezTo>
                    <a:pt x="201700" y="140472"/>
                    <a:pt x="178893" y="174760"/>
                    <a:pt x="145669" y="191258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655" name="Gráfico 9">
              <a:extLst>
                <a:ext uri="{FF2B5EF4-FFF2-40B4-BE49-F238E27FC236}">
                  <a16:creationId xmlns:a16="http://schemas.microsoft.com/office/drawing/2014/main" id="{18B84A98-60A4-ED80-E2EF-3557DE534239}"/>
                </a:ext>
              </a:extLst>
            </p:cNvPr>
            <p:cNvGrpSpPr/>
            <p:nvPr/>
          </p:nvGrpSpPr>
          <p:grpSpPr>
            <a:xfrm>
              <a:off x="6923074" y="3234134"/>
              <a:ext cx="74190" cy="85647"/>
              <a:chOff x="6923074" y="3234134"/>
              <a:chExt cx="74190" cy="85647"/>
            </a:xfrm>
            <a:noFill/>
          </p:grpSpPr>
          <p:sp>
            <p:nvSpPr>
              <p:cNvPr id="656" name="Forma livre: Forma 655">
                <a:extLst>
                  <a:ext uri="{FF2B5EF4-FFF2-40B4-BE49-F238E27FC236}">
                    <a16:creationId xmlns:a16="http://schemas.microsoft.com/office/drawing/2014/main" id="{A35D895A-E05F-C7FE-8F12-ABD596630787}"/>
                  </a:ext>
                </a:extLst>
              </p:cNvPr>
              <p:cNvSpPr/>
              <p:nvPr/>
            </p:nvSpPr>
            <p:spPr>
              <a:xfrm>
                <a:off x="6960158" y="3234134"/>
                <a:ext cx="11" cy="11"/>
              </a:xfrm>
              <a:custGeom>
                <a:avLst/>
                <a:gdLst>
                  <a:gd name="connsiteX0" fmla="*/ 0 w 11"/>
                  <a:gd name="connsiteY0" fmla="*/ 0 h 11"/>
                  <a:gd name="connsiteX1" fmla="*/ 12 w 11"/>
                  <a:gd name="connsiteY1" fmla="*/ 12 h 11"/>
                  <a:gd name="connsiteX2" fmla="*/ 12 w 11"/>
                  <a:gd name="connsiteY2" fmla="*/ 0 h 11"/>
                  <a:gd name="connsiteX3" fmla="*/ 0 w 11"/>
                  <a:gd name="connsiteY3" fmla="*/ 0 h 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" h="11">
                    <a:moveTo>
                      <a:pt x="0" y="0"/>
                    </a:moveTo>
                    <a:lnTo>
                      <a:pt x="12" y="12"/>
                    </a:lnTo>
                    <a:lnTo>
                      <a:pt x="12" y="0"/>
                    </a:lnTo>
                    <a:lnTo>
                      <a:pt x="0" y="0"/>
                    </a:lnTo>
                    <a:close/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657" name="Forma livre: Forma 656">
                <a:extLst>
                  <a:ext uri="{FF2B5EF4-FFF2-40B4-BE49-F238E27FC236}">
                    <a16:creationId xmlns:a16="http://schemas.microsoft.com/office/drawing/2014/main" id="{37614D98-C7EA-8E44-A59F-DF5756AA8B39}"/>
                  </a:ext>
                </a:extLst>
              </p:cNvPr>
              <p:cNvSpPr/>
              <p:nvPr/>
            </p:nvSpPr>
            <p:spPr>
              <a:xfrm>
                <a:off x="6923074" y="3234146"/>
                <a:ext cx="74190" cy="85635"/>
              </a:xfrm>
              <a:custGeom>
                <a:avLst/>
                <a:gdLst>
                  <a:gd name="connsiteX0" fmla="*/ 74190 w 74190"/>
                  <a:gd name="connsiteY0" fmla="*/ 85635 h 85635"/>
                  <a:gd name="connsiteX1" fmla="*/ 37095 w 74190"/>
                  <a:gd name="connsiteY1" fmla="*/ 0 h 85635"/>
                  <a:gd name="connsiteX2" fmla="*/ 0 w 74190"/>
                  <a:gd name="connsiteY2" fmla="*/ 85635 h 856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74190" h="85635">
                    <a:moveTo>
                      <a:pt x="74190" y="85635"/>
                    </a:moveTo>
                    <a:lnTo>
                      <a:pt x="37095" y="0"/>
                    </a:lnTo>
                    <a:lnTo>
                      <a:pt x="0" y="85635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658" name="Forma livre: Forma 657">
              <a:extLst>
                <a:ext uri="{FF2B5EF4-FFF2-40B4-BE49-F238E27FC236}">
                  <a16:creationId xmlns:a16="http://schemas.microsoft.com/office/drawing/2014/main" id="{A4152508-A42B-87B8-038F-45A9FD325107}"/>
                </a:ext>
              </a:extLst>
            </p:cNvPr>
            <p:cNvSpPr/>
            <p:nvPr/>
          </p:nvSpPr>
          <p:spPr>
            <a:xfrm>
              <a:off x="6937948" y="3288947"/>
              <a:ext cx="44430" cy="1194"/>
            </a:xfrm>
            <a:custGeom>
              <a:avLst/>
              <a:gdLst>
                <a:gd name="connsiteX0" fmla="*/ 0 w 44430"/>
                <a:gd name="connsiteY0" fmla="*/ 0 h 1194"/>
                <a:gd name="connsiteX1" fmla="*/ 44431 w 44430"/>
                <a:gd name="connsiteY1" fmla="*/ 0 h 11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4430" h="1194">
                  <a:moveTo>
                    <a:pt x="0" y="0"/>
                  </a:moveTo>
                  <a:lnTo>
                    <a:pt x="44431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659" name="Gráfico 9">
            <a:extLst>
              <a:ext uri="{FF2B5EF4-FFF2-40B4-BE49-F238E27FC236}">
                <a16:creationId xmlns:a16="http://schemas.microsoft.com/office/drawing/2014/main" id="{D9B28665-98F6-D14A-FF82-D3D44D865792}"/>
              </a:ext>
            </a:extLst>
          </p:cNvPr>
          <p:cNvGrpSpPr/>
          <p:nvPr/>
        </p:nvGrpSpPr>
        <p:grpSpPr>
          <a:xfrm>
            <a:off x="6717181" y="2056514"/>
            <a:ext cx="336007" cy="275101"/>
            <a:chOff x="6717181" y="2056514"/>
            <a:chExt cx="336007" cy="275101"/>
          </a:xfrm>
          <a:noFill/>
        </p:grpSpPr>
        <p:sp>
          <p:nvSpPr>
            <p:cNvPr id="660" name="Forma livre: Forma 659">
              <a:extLst>
                <a:ext uri="{FF2B5EF4-FFF2-40B4-BE49-F238E27FC236}">
                  <a16:creationId xmlns:a16="http://schemas.microsoft.com/office/drawing/2014/main" id="{A9B9B521-C82E-2C33-6E75-C1F56FE3C4F6}"/>
                </a:ext>
              </a:extLst>
            </p:cNvPr>
            <p:cNvSpPr/>
            <p:nvPr/>
          </p:nvSpPr>
          <p:spPr>
            <a:xfrm>
              <a:off x="6856673" y="2056514"/>
              <a:ext cx="196515" cy="205917"/>
            </a:xfrm>
            <a:custGeom>
              <a:avLst/>
              <a:gdLst>
                <a:gd name="connsiteX0" fmla="*/ 79710 w 196515"/>
                <a:gd name="connsiteY0" fmla="*/ 149181 h 205917"/>
                <a:gd name="connsiteX1" fmla="*/ 107857 w 196515"/>
                <a:gd name="connsiteY1" fmla="*/ 149181 h 205917"/>
                <a:gd name="connsiteX2" fmla="*/ 156194 w 196515"/>
                <a:gd name="connsiteY2" fmla="*/ 205917 h 205917"/>
                <a:gd name="connsiteX3" fmla="*/ 156194 w 196515"/>
                <a:gd name="connsiteY3" fmla="*/ 149181 h 205917"/>
                <a:gd name="connsiteX4" fmla="*/ 169419 w 196515"/>
                <a:gd name="connsiteY4" fmla="*/ 149181 h 205917"/>
                <a:gd name="connsiteX5" fmla="*/ 196515 w 196515"/>
                <a:gd name="connsiteY5" fmla="*/ 122098 h 205917"/>
                <a:gd name="connsiteX6" fmla="*/ 196515 w 196515"/>
                <a:gd name="connsiteY6" fmla="*/ 27096 h 205917"/>
                <a:gd name="connsiteX7" fmla="*/ 169419 w 196515"/>
                <a:gd name="connsiteY7" fmla="*/ 0 h 205917"/>
                <a:gd name="connsiteX8" fmla="*/ 27096 w 196515"/>
                <a:gd name="connsiteY8" fmla="*/ 0 h 205917"/>
                <a:gd name="connsiteX9" fmla="*/ 0 w 196515"/>
                <a:gd name="connsiteY9" fmla="*/ 27096 h 205917"/>
                <a:gd name="connsiteX10" fmla="*/ 0 w 196515"/>
                <a:gd name="connsiteY10" fmla="*/ 48134 h 2059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96515" h="205917">
                  <a:moveTo>
                    <a:pt x="79710" y="149181"/>
                  </a:moveTo>
                  <a:lnTo>
                    <a:pt x="107857" y="149181"/>
                  </a:lnTo>
                  <a:lnTo>
                    <a:pt x="156194" y="205917"/>
                  </a:lnTo>
                  <a:lnTo>
                    <a:pt x="156194" y="149181"/>
                  </a:lnTo>
                  <a:lnTo>
                    <a:pt x="169419" y="149181"/>
                  </a:lnTo>
                  <a:cubicBezTo>
                    <a:pt x="184329" y="149181"/>
                    <a:pt x="196515" y="136995"/>
                    <a:pt x="196515" y="122098"/>
                  </a:cubicBezTo>
                  <a:lnTo>
                    <a:pt x="196515" y="27096"/>
                  </a:lnTo>
                  <a:cubicBezTo>
                    <a:pt x="196515" y="12186"/>
                    <a:pt x="184329" y="0"/>
                    <a:pt x="169419" y="0"/>
                  </a:cubicBezTo>
                  <a:lnTo>
                    <a:pt x="27096" y="0"/>
                  </a:lnTo>
                  <a:cubicBezTo>
                    <a:pt x="12186" y="0"/>
                    <a:pt x="0" y="12186"/>
                    <a:pt x="0" y="27096"/>
                  </a:cubicBezTo>
                  <a:lnTo>
                    <a:pt x="0" y="48134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61" name="Forma livre: Forma 660">
              <a:extLst>
                <a:ext uri="{FF2B5EF4-FFF2-40B4-BE49-F238E27FC236}">
                  <a16:creationId xmlns:a16="http://schemas.microsoft.com/office/drawing/2014/main" id="{DA87D7C9-7075-0EA4-B85E-25C7234954D0}"/>
                </a:ext>
              </a:extLst>
            </p:cNvPr>
            <p:cNvSpPr/>
            <p:nvPr/>
          </p:nvSpPr>
          <p:spPr>
            <a:xfrm>
              <a:off x="6717181" y="2125687"/>
              <a:ext cx="196526" cy="205929"/>
            </a:xfrm>
            <a:custGeom>
              <a:avLst/>
              <a:gdLst>
                <a:gd name="connsiteX0" fmla="*/ 87308 w 196526"/>
                <a:gd name="connsiteY0" fmla="*/ 149193 h 205929"/>
                <a:gd name="connsiteX1" fmla="*/ 40321 w 196526"/>
                <a:gd name="connsiteY1" fmla="*/ 205929 h 205929"/>
                <a:gd name="connsiteX2" fmla="*/ 40321 w 196526"/>
                <a:gd name="connsiteY2" fmla="*/ 149193 h 205929"/>
                <a:gd name="connsiteX3" fmla="*/ 27096 w 196526"/>
                <a:gd name="connsiteY3" fmla="*/ 149193 h 205929"/>
                <a:gd name="connsiteX4" fmla="*/ 0 w 196526"/>
                <a:gd name="connsiteY4" fmla="*/ 122098 h 205929"/>
                <a:gd name="connsiteX5" fmla="*/ 0 w 196526"/>
                <a:gd name="connsiteY5" fmla="*/ 27096 h 205929"/>
                <a:gd name="connsiteX6" fmla="*/ 27096 w 196526"/>
                <a:gd name="connsiteY6" fmla="*/ 0 h 205929"/>
                <a:gd name="connsiteX7" fmla="*/ 169431 w 196526"/>
                <a:gd name="connsiteY7" fmla="*/ 0 h 205929"/>
                <a:gd name="connsiteX8" fmla="*/ 196527 w 196526"/>
                <a:gd name="connsiteY8" fmla="*/ 27096 h 205929"/>
                <a:gd name="connsiteX9" fmla="*/ 196527 w 196526"/>
                <a:gd name="connsiteY9" fmla="*/ 122098 h 205929"/>
                <a:gd name="connsiteX10" fmla="*/ 169431 w 196526"/>
                <a:gd name="connsiteY10" fmla="*/ 149193 h 205929"/>
                <a:gd name="connsiteX11" fmla="*/ 113341 w 196526"/>
                <a:gd name="connsiteY11" fmla="*/ 149193 h 2059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96526" h="205929">
                  <a:moveTo>
                    <a:pt x="87308" y="149193"/>
                  </a:moveTo>
                  <a:lnTo>
                    <a:pt x="40321" y="205929"/>
                  </a:lnTo>
                  <a:lnTo>
                    <a:pt x="40321" y="149193"/>
                  </a:lnTo>
                  <a:lnTo>
                    <a:pt x="27096" y="149193"/>
                  </a:lnTo>
                  <a:cubicBezTo>
                    <a:pt x="12198" y="149193"/>
                    <a:pt x="0" y="137007"/>
                    <a:pt x="0" y="122098"/>
                  </a:cubicBezTo>
                  <a:lnTo>
                    <a:pt x="0" y="27096"/>
                  </a:lnTo>
                  <a:cubicBezTo>
                    <a:pt x="0" y="12186"/>
                    <a:pt x="12186" y="0"/>
                    <a:pt x="27096" y="0"/>
                  </a:cubicBezTo>
                  <a:lnTo>
                    <a:pt x="169431" y="0"/>
                  </a:lnTo>
                  <a:cubicBezTo>
                    <a:pt x="184329" y="0"/>
                    <a:pt x="196527" y="12186"/>
                    <a:pt x="196527" y="27096"/>
                  </a:cubicBezTo>
                  <a:lnTo>
                    <a:pt x="196527" y="122098"/>
                  </a:lnTo>
                  <a:cubicBezTo>
                    <a:pt x="196527" y="136995"/>
                    <a:pt x="184341" y="149193"/>
                    <a:pt x="169431" y="149193"/>
                  </a:cubicBezTo>
                  <a:lnTo>
                    <a:pt x="113341" y="149193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662" name="Gráfico 9">
              <a:extLst>
                <a:ext uri="{FF2B5EF4-FFF2-40B4-BE49-F238E27FC236}">
                  <a16:creationId xmlns:a16="http://schemas.microsoft.com/office/drawing/2014/main" id="{BB47E181-EEEC-0CD9-469B-A8BF413A4687}"/>
                </a:ext>
              </a:extLst>
            </p:cNvPr>
            <p:cNvGrpSpPr/>
            <p:nvPr/>
          </p:nvGrpSpPr>
          <p:grpSpPr>
            <a:xfrm>
              <a:off x="6752126" y="2169042"/>
              <a:ext cx="126637" cy="63318"/>
              <a:chOff x="6752126" y="2169042"/>
              <a:chExt cx="126637" cy="63318"/>
            </a:xfrm>
          </p:grpSpPr>
          <p:sp>
            <p:nvSpPr>
              <p:cNvPr id="663" name="Forma livre: Forma 662">
                <a:extLst>
                  <a:ext uri="{FF2B5EF4-FFF2-40B4-BE49-F238E27FC236}">
                    <a16:creationId xmlns:a16="http://schemas.microsoft.com/office/drawing/2014/main" id="{5014A8F7-D569-807B-BF1C-D13708F16DBB}"/>
                  </a:ext>
                </a:extLst>
              </p:cNvPr>
              <p:cNvSpPr/>
              <p:nvPr/>
            </p:nvSpPr>
            <p:spPr>
              <a:xfrm>
                <a:off x="6752126" y="2169042"/>
                <a:ext cx="126637" cy="1194"/>
              </a:xfrm>
              <a:custGeom>
                <a:avLst/>
                <a:gdLst>
                  <a:gd name="connsiteX0" fmla="*/ 0 w 126637"/>
                  <a:gd name="connsiteY0" fmla="*/ 0 h 1194"/>
                  <a:gd name="connsiteX1" fmla="*/ 126637 w 126637"/>
                  <a:gd name="connsiteY1" fmla="*/ 0 h 11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6637" h="1194">
                    <a:moveTo>
                      <a:pt x="0" y="0"/>
                    </a:moveTo>
                    <a:lnTo>
                      <a:pt x="126637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664" name="Forma livre: Forma 663">
                <a:extLst>
                  <a:ext uri="{FF2B5EF4-FFF2-40B4-BE49-F238E27FC236}">
                    <a16:creationId xmlns:a16="http://schemas.microsoft.com/office/drawing/2014/main" id="{7286E50D-D4BA-019A-4055-4036779874FF}"/>
                  </a:ext>
                </a:extLst>
              </p:cNvPr>
              <p:cNvSpPr/>
              <p:nvPr/>
            </p:nvSpPr>
            <p:spPr>
              <a:xfrm>
                <a:off x="6752126" y="2200701"/>
                <a:ext cx="126637" cy="1194"/>
              </a:xfrm>
              <a:custGeom>
                <a:avLst/>
                <a:gdLst>
                  <a:gd name="connsiteX0" fmla="*/ 0 w 126637"/>
                  <a:gd name="connsiteY0" fmla="*/ 0 h 1194"/>
                  <a:gd name="connsiteX1" fmla="*/ 126637 w 126637"/>
                  <a:gd name="connsiteY1" fmla="*/ 0 h 11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6637" h="1194">
                    <a:moveTo>
                      <a:pt x="0" y="0"/>
                    </a:moveTo>
                    <a:lnTo>
                      <a:pt x="126637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665" name="Forma livre: Forma 664">
                <a:extLst>
                  <a:ext uri="{FF2B5EF4-FFF2-40B4-BE49-F238E27FC236}">
                    <a16:creationId xmlns:a16="http://schemas.microsoft.com/office/drawing/2014/main" id="{8FB8FB00-91CC-57B6-BFBC-D638C2FD4F34}"/>
                  </a:ext>
                </a:extLst>
              </p:cNvPr>
              <p:cNvSpPr/>
              <p:nvPr/>
            </p:nvSpPr>
            <p:spPr>
              <a:xfrm>
                <a:off x="6752126" y="2232361"/>
                <a:ext cx="76460" cy="1194"/>
              </a:xfrm>
              <a:custGeom>
                <a:avLst/>
                <a:gdLst>
                  <a:gd name="connsiteX0" fmla="*/ 0 w 76460"/>
                  <a:gd name="connsiteY0" fmla="*/ 0 h 1194"/>
                  <a:gd name="connsiteX1" fmla="*/ 76460 w 76460"/>
                  <a:gd name="connsiteY1" fmla="*/ 0 h 11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76460" h="1194">
                    <a:moveTo>
                      <a:pt x="0" y="0"/>
                    </a:moveTo>
                    <a:lnTo>
                      <a:pt x="7646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666" name="Gráfico 9">
            <a:extLst>
              <a:ext uri="{FF2B5EF4-FFF2-40B4-BE49-F238E27FC236}">
                <a16:creationId xmlns:a16="http://schemas.microsoft.com/office/drawing/2014/main" id="{720B8BB7-1DCA-4EC8-6A49-805761657D37}"/>
              </a:ext>
            </a:extLst>
          </p:cNvPr>
          <p:cNvGrpSpPr/>
          <p:nvPr/>
        </p:nvGrpSpPr>
        <p:grpSpPr>
          <a:xfrm>
            <a:off x="6725627" y="1504004"/>
            <a:ext cx="319114" cy="318385"/>
            <a:chOff x="6725627" y="1504004"/>
            <a:chExt cx="319114" cy="318385"/>
          </a:xfrm>
        </p:grpSpPr>
        <p:grpSp>
          <p:nvGrpSpPr>
            <p:cNvPr id="667" name="Gráfico 9">
              <a:extLst>
                <a:ext uri="{FF2B5EF4-FFF2-40B4-BE49-F238E27FC236}">
                  <a16:creationId xmlns:a16="http://schemas.microsoft.com/office/drawing/2014/main" id="{E2824F03-C782-4666-9663-E1EDF405210E}"/>
                </a:ext>
              </a:extLst>
            </p:cNvPr>
            <p:cNvGrpSpPr/>
            <p:nvPr/>
          </p:nvGrpSpPr>
          <p:grpSpPr>
            <a:xfrm>
              <a:off x="6887329" y="1567108"/>
              <a:ext cx="64326" cy="115323"/>
              <a:chOff x="6887329" y="1567108"/>
              <a:chExt cx="64326" cy="115323"/>
            </a:xfrm>
          </p:grpSpPr>
          <p:sp>
            <p:nvSpPr>
              <p:cNvPr id="668" name="Forma livre: Forma 667">
                <a:extLst>
                  <a:ext uri="{FF2B5EF4-FFF2-40B4-BE49-F238E27FC236}">
                    <a16:creationId xmlns:a16="http://schemas.microsoft.com/office/drawing/2014/main" id="{E56E47C1-84F6-D40C-A2AC-A34C78D53362}"/>
                  </a:ext>
                </a:extLst>
              </p:cNvPr>
              <p:cNvSpPr/>
              <p:nvPr/>
            </p:nvSpPr>
            <p:spPr>
              <a:xfrm>
                <a:off x="6913147" y="1676255"/>
                <a:ext cx="6152" cy="6176"/>
              </a:xfrm>
              <a:custGeom>
                <a:avLst/>
                <a:gdLst>
                  <a:gd name="connsiteX0" fmla="*/ 6153 w 6152"/>
                  <a:gd name="connsiteY0" fmla="*/ 3094 h 6176"/>
                  <a:gd name="connsiteX1" fmla="*/ 3082 w 6152"/>
                  <a:gd name="connsiteY1" fmla="*/ 6177 h 6176"/>
                  <a:gd name="connsiteX2" fmla="*/ 0 w 6152"/>
                  <a:gd name="connsiteY2" fmla="*/ 3094 h 6176"/>
                  <a:gd name="connsiteX3" fmla="*/ 3082 w 6152"/>
                  <a:gd name="connsiteY3" fmla="*/ 0 h 6176"/>
                  <a:gd name="connsiteX4" fmla="*/ 6153 w 6152"/>
                  <a:gd name="connsiteY4" fmla="*/ 3094 h 61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152" h="6176">
                    <a:moveTo>
                      <a:pt x="6153" y="3094"/>
                    </a:moveTo>
                    <a:cubicBezTo>
                      <a:pt x="6153" y="4803"/>
                      <a:pt x="4779" y="6177"/>
                      <a:pt x="3082" y="6177"/>
                    </a:cubicBezTo>
                    <a:cubicBezTo>
                      <a:pt x="1386" y="6177"/>
                      <a:pt x="0" y="4803"/>
                      <a:pt x="0" y="3094"/>
                    </a:cubicBezTo>
                    <a:cubicBezTo>
                      <a:pt x="0" y="1386"/>
                      <a:pt x="1386" y="0"/>
                      <a:pt x="3082" y="0"/>
                    </a:cubicBezTo>
                    <a:cubicBezTo>
                      <a:pt x="4779" y="0"/>
                      <a:pt x="6153" y="1386"/>
                      <a:pt x="6153" y="3094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669" name="Forma livre: Forma 668">
                <a:extLst>
                  <a:ext uri="{FF2B5EF4-FFF2-40B4-BE49-F238E27FC236}">
                    <a16:creationId xmlns:a16="http://schemas.microsoft.com/office/drawing/2014/main" id="{D6AEBCEA-C295-5133-AADD-E5ED7BAE3638}"/>
                  </a:ext>
                </a:extLst>
              </p:cNvPr>
              <p:cNvSpPr/>
              <p:nvPr/>
            </p:nvSpPr>
            <p:spPr>
              <a:xfrm>
                <a:off x="6887329" y="1567108"/>
                <a:ext cx="64326" cy="90211"/>
              </a:xfrm>
              <a:custGeom>
                <a:avLst/>
                <a:gdLst>
                  <a:gd name="connsiteX0" fmla="*/ 0 w 64326"/>
                  <a:gd name="connsiteY0" fmla="*/ 28183 h 90211"/>
                  <a:gd name="connsiteX1" fmla="*/ 32161 w 64326"/>
                  <a:gd name="connsiteY1" fmla="*/ 0 h 90211"/>
                  <a:gd name="connsiteX2" fmla="*/ 64322 w 64326"/>
                  <a:gd name="connsiteY2" fmla="*/ 28183 h 90211"/>
                  <a:gd name="connsiteX3" fmla="*/ 48313 w 64326"/>
                  <a:gd name="connsiteY3" fmla="*/ 52471 h 90211"/>
                  <a:gd name="connsiteX4" fmla="*/ 28517 w 64326"/>
                  <a:gd name="connsiteY4" fmla="*/ 90211 h 902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4326" h="90211">
                    <a:moveTo>
                      <a:pt x="0" y="28183"/>
                    </a:moveTo>
                    <a:cubicBezTo>
                      <a:pt x="0" y="12616"/>
                      <a:pt x="14396" y="0"/>
                      <a:pt x="32161" y="0"/>
                    </a:cubicBezTo>
                    <a:cubicBezTo>
                      <a:pt x="49926" y="0"/>
                      <a:pt x="64322" y="12616"/>
                      <a:pt x="64322" y="28183"/>
                    </a:cubicBezTo>
                    <a:cubicBezTo>
                      <a:pt x="64322" y="28183"/>
                      <a:pt x="65027" y="41014"/>
                      <a:pt x="48313" y="52471"/>
                    </a:cubicBezTo>
                    <a:cubicBezTo>
                      <a:pt x="37179" y="61132"/>
                      <a:pt x="28517" y="74740"/>
                      <a:pt x="28517" y="90211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670" name="Gráfico 9">
              <a:extLst>
                <a:ext uri="{FF2B5EF4-FFF2-40B4-BE49-F238E27FC236}">
                  <a16:creationId xmlns:a16="http://schemas.microsoft.com/office/drawing/2014/main" id="{78E7397F-CBF5-A20B-F01E-A2608EE8134D}"/>
                </a:ext>
              </a:extLst>
            </p:cNvPr>
            <p:cNvGrpSpPr/>
            <p:nvPr/>
          </p:nvGrpSpPr>
          <p:grpSpPr>
            <a:xfrm>
              <a:off x="6725627" y="1504004"/>
              <a:ext cx="319114" cy="318385"/>
              <a:chOff x="6725627" y="1504004"/>
              <a:chExt cx="319114" cy="318385"/>
            </a:xfrm>
            <a:noFill/>
          </p:grpSpPr>
          <p:grpSp>
            <p:nvGrpSpPr>
              <p:cNvPr id="671" name="Gráfico 9">
                <a:extLst>
                  <a:ext uri="{FF2B5EF4-FFF2-40B4-BE49-F238E27FC236}">
                    <a16:creationId xmlns:a16="http://schemas.microsoft.com/office/drawing/2014/main" id="{58CC0C43-3DA2-C5B0-9E4C-BCE4436F2EB1}"/>
                  </a:ext>
                </a:extLst>
              </p:cNvPr>
              <p:cNvGrpSpPr/>
              <p:nvPr/>
            </p:nvGrpSpPr>
            <p:grpSpPr>
              <a:xfrm>
                <a:off x="6725627" y="1570248"/>
                <a:ext cx="252310" cy="252141"/>
                <a:chOff x="6725627" y="1570248"/>
                <a:chExt cx="252310" cy="252141"/>
              </a:xfrm>
              <a:noFill/>
            </p:grpSpPr>
            <p:sp>
              <p:nvSpPr>
                <p:cNvPr id="672" name="Forma livre: Forma 671">
                  <a:extLst>
                    <a:ext uri="{FF2B5EF4-FFF2-40B4-BE49-F238E27FC236}">
                      <a16:creationId xmlns:a16="http://schemas.microsoft.com/office/drawing/2014/main" id="{F6669098-A41A-EB6B-CC2E-C7537C5D3451}"/>
                    </a:ext>
                  </a:extLst>
                </p:cNvPr>
                <p:cNvSpPr/>
                <p:nvPr/>
              </p:nvSpPr>
              <p:spPr>
                <a:xfrm>
                  <a:off x="6905572" y="1772894"/>
                  <a:ext cx="52315" cy="35064"/>
                </a:xfrm>
                <a:custGeom>
                  <a:avLst/>
                  <a:gdLst>
                    <a:gd name="connsiteX0" fmla="*/ 52316 w 52315"/>
                    <a:gd name="connsiteY0" fmla="*/ 35064 h 35064"/>
                    <a:gd name="connsiteX1" fmla="*/ 0 w 52315"/>
                    <a:gd name="connsiteY1" fmla="*/ 0 h 3506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52315" h="35064">
                      <a:moveTo>
                        <a:pt x="52316" y="35064"/>
                      </a:moveTo>
                      <a:lnTo>
                        <a:pt x="0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673" name="Forma livre: Forma 672">
                  <a:extLst>
                    <a:ext uri="{FF2B5EF4-FFF2-40B4-BE49-F238E27FC236}">
                      <a16:creationId xmlns:a16="http://schemas.microsoft.com/office/drawing/2014/main" id="{EC6BB066-F5E7-5E85-5055-7195510359A5}"/>
                    </a:ext>
                  </a:extLst>
                </p:cNvPr>
                <p:cNvSpPr/>
                <p:nvPr/>
              </p:nvSpPr>
              <p:spPr>
                <a:xfrm>
                  <a:off x="6725627" y="1570248"/>
                  <a:ext cx="252310" cy="252141"/>
                </a:xfrm>
                <a:custGeom>
                  <a:avLst/>
                  <a:gdLst>
                    <a:gd name="connsiteX0" fmla="*/ 48875 w 252310"/>
                    <a:gd name="connsiteY0" fmla="*/ 72532 h 252141"/>
                    <a:gd name="connsiteX1" fmla="*/ 14122 w 252310"/>
                    <a:gd name="connsiteY1" fmla="*/ 20360 h 252141"/>
                    <a:gd name="connsiteX2" fmla="*/ 10430 w 252310"/>
                    <a:gd name="connsiteY2" fmla="*/ 23741 h 252141"/>
                    <a:gd name="connsiteX3" fmla="*/ 275 w 252310"/>
                    <a:gd name="connsiteY3" fmla="*/ 45532 h 252141"/>
                    <a:gd name="connsiteX4" fmla="*/ 79507 w 252310"/>
                    <a:gd name="connsiteY4" fmla="*/ 172767 h 252141"/>
                    <a:gd name="connsiteX5" fmla="*/ 206849 w 252310"/>
                    <a:gd name="connsiteY5" fmla="*/ 251867 h 252141"/>
                    <a:gd name="connsiteX6" fmla="*/ 228629 w 252310"/>
                    <a:gd name="connsiteY6" fmla="*/ 241688 h 252141"/>
                    <a:gd name="connsiteX7" fmla="*/ 232237 w 252310"/>
                    <a:gd name="connsiteY7" fmla="*/ 237710 h 252141"/>
                    <a:gd name="connsiteX8" fmla="*/ 252200 w 252310"/>
                    <a:gd name="connsiteY8" fmla="*/ 208631 h 252141"/>
                    <a:gd name="connsiteX9" fmla="*/ 246011 w 252310"/>
                    <a:gd name="connsiteY9" fmla="*/ 196660 h 252141"/>
                    <a:gd name="connsiteX10" fmla="*/ 200267 w 252310"/>
                    <a:gd name="connsiteY10" fmla="*/ 166196 h 252141"/>
                    <a:gd name="connsiteX11" fmla="*/ 181032 w 252310"/>
                    <a:gd name="connsiteY11" fmla="*/ 165121 h 252141"/>
                    <a:gd name="connsiteX12" fmla="*/ 153447 w 252310"/>
                    <a:gd name="connsiteY12" fmla="*/ 180377 h 252141"/>
                    <a:gd name="connsiteX13" fmla="*/ 110438 w 252310"/>
                    <a:gd name="connsiteY13" fmla="*/ 141788 h 252141"/>
                    <a:gd name="connsiteX14" fmla="*/ 71789 w 252310"/>
                    <a:gd name="connsiteY14" fmla="*/ 98827 h 252141"/>
                    <a:gd name="connsiteX15" fmla="*/ 87022 w 252310"/>
                    <a:gd name="connsiteY15" fmla="*/ 71242 h 252141"/>
                    <a:gd name="connsiteX16" fmla="*/ 85923 w 252310"/>
                    <a:gd name="connsiteY16" fmla="*/ 51995 h 252141"/>
                    <a:gd name="connsiteX17" fmla="*/ 55398 w 252310"/>
                    <a:gd name="connsiteY17" fmla="*/ 6274 h 252141"/>
                    <a:gd name="connsiteX18" fmla="*/ 43427 w 252310"/>
                    <a:gd name="connsiteY18" fmla="*/ 110 h 252141"/>
                    <a:gd name="connsiteX19" fmla="*/ 28028 w 252310"/>
                    <a:gd name="connsiteY19" fmla="*/ 8723 h 25214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</a:cxnLst>
                  <a:rect l="l" t="t" r="r" b="b"/>
                  <a:pathLst>
                    <a:path w="252310" h="252141">
                      <a:moveTo>
                        <a:pt x="48875" y="72532"/>
                      </a:moveTo>
                      <a:lnTo>
                        <a:pt x="14122" y="20360"/>
                      </a:lnTo>
                      <a:cubicBezTo>
                        <a:pt x="11852" y="22403"/>
                        <a:pt x="10430" y="23741"/>
                        <a:pt x="10430" y="23741"/>
                      </a:cubicBezTo>
                      <a:cubicBezTo>
                        <a:pt x="-2628" y="35365"/>
                        <a:pt x="275" y="45532"/>
                        <a:pt x="275" y="45532"/>
                      </a:cubicBezTo>
                      <a:cubicBezTo>
                        <a:pt x="9092" y="107680"/>
                        <a:pt x="74513" y="167558"/>
                        <a:pt x="79507" y="172767"/>
                      </a:cubicBezTo>
                      <a:cubicBezTo>
                        <a:pt x="86257" y="179039"/>
                        <a:pt x="144689" y="243122"/>
                        <a:pt x="206849" y="251867"/>
                      </a:cubicBezTo>
                      <a:cubicBezTo>
                        <a:pt x="206849" y="251867"/>
                        <a:pt x="217016" y="254770"/>
                        <a:pt x="228629" y="241688"/>
                      </a:cubicBezTo>
                      <a:lnTo>
                        <a:pt x="232237" y="237710"/>
                      </a:lnTo>
                      <a:cubicBezTo>
                        <a:pt x="236705" y="231808"/>
                        <a:pt x="252057" y="211952"/>
                        <a:pt x="252200" y="208631"/>
                      </a:cubicBezTo>
                      <a:cubicBezTo>
                        <a:pt x="252200" y="208631"/>
                        <a:pt x="253657" y="202108"/>
                        <a:pt x="246011" y="196660"/>
                      </a:cubicBezTo>
                      <a:lnTo>
                        <a:pt x="200267" y="166196"/>
                      </a:lnTo>
                      <a:cubicBezTo>
                        <a:pt x="200267" y="166196"/>
                        <a:pt x="192274" y="158932"/>
                        <a:pt x="181032" y="165121"/>
                      </a:cubicBezTo>
                      <a:lnTo>
                        <a:pt x="153447" y="180377"/>
                      </a:lnTo>
                      <a:cubicBezTo>
                        <a:pt x="153447" y="180377"/>
                        <a:pt x="125778" y="158418"/>
                        <a:pt x="110438" y="141788"/>
                      </a:cubicBezTo>
                      <a:cubicBezTo>
                        <a:pt x="93796" y="126472"/>
                        <a:pt x="71789" y="98827"/>
                        <a:pt x="71789" y="98827"/>
                      </a:cubicBezTo>
                      <a:lnTo>
                        <a:pt x="87022" y="71242"/>
                      </a:lnTo>
                      <a:cubicBezTo>
                        <a:pt x="93186" y="59988"/>
                        <a:pt x="85923" y="51995"/>
                        <a:pt x="85923" y="51995"/>
                      </a:cubicBezTo>
                      <a:lnTo>
                        <a:pt x="55398" y="6274"/>
                      </a:lnTo>
                      <a:cubicBezTo>
                        <a:pt x="49962" y="-1336"/>
                        <a:pt x="43427" y="110"/>
                        <a:pt x="43427" y="110"/>
                      </a:cubicBezTo>
                      <a:cubicBezTo>
                        <a:pt x="40058" y="265"/>
                        <a:pt x="34025" y="4148"/>
                        <a:pt x="28028" y="8723"/>
                      </a:cubicBez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674" name="Forma livre: Forma 673">
                <a:extLst>
                  <a:ext uri="{FF2B5EF4-FFF2-40B4-BE49-F238E27FC236}">
                    <a16:creationId xmlns:a16="http://schemas.microsoft.com/office/drawing/2014/main" id="{6CEF9E64-B85A-F7FE-DEEB-8A1972D7B6C2}"/>
                  </a:ext>
                </a:extLst>
              </p:cNvPr>
              <p:cNvSpPr/>
              <p:nvPr/>
            </p:nvSpPr>
            <p:spPr>
              <a:xfrm>
                <a:off x="6807655" y="1504004"/>
                <a:ext cx="237086" cy="236381"/>
              </a:xfrm>
              <a:custGeom>
                <a:avLst/>
                <a:gdLst>
                  <a:gd name="connsiteX0" fmla="*/ 0 w 237086"/>
                  <a:gd name="connsiteY0" fmla="*/ 64621 h 236381"/>
                  <a:gd name="connsiteX1" fmla="*/ 110449 w 237086"/>
                  <a:gd name="connsiteY1" fmla="*/ 0 h 236381"/>
                  <a:gd name="connsiteX2" fmla="*/ 237087 w 237086"/>
                  <a:gd name="connsiteY2" fmla="*/ 126637 h 236381"/>
                  <a:gd name="connsiteX3" fmla="*/ 173696 w 237086"/>
                  <a:gd name="connsiteY3" fmla="*/ 236382 h 2363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37086" h="236381">
                    <a:moveTo>
                      <a:pt x="0" y="64621"/>
                    </a:moveTo>
                    <a:cubicBezTo>
                      <a:pt x="21696" y="26044"/>
                      <a:pt x="63032" y="0"/>
                      <a:pt x="110449" y="0"/>
                    </a:cubicBezTo>
                    <a:cubicBezTo>
                      <a:pt x="180387" y="0"/>
                      <a:pt x="237087" y="56700"/>
                      <a:pt x="237087" y="126637"/>
                    </a:cubicBezTo>
                    <a:cubicBezTo>
                      <a:pt x="237087" y="173541"/>
                      <a:pt x="211592" y="214495"/>
                      <a:pt x="173696" y="236382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675" name="Gráfico 9">
            <a:extLst>
              <a:ext uri="{FF2B5EF4-FFF2-40B4-BE49-F238E27FC236}">
                <a16:creationId xmlns:a16="http://schemas.microsoft.com/office/drawing/2014/main" id="{CBC86370-56AD-4EEF-7454-27FB28B919AB}"/>
              </a:ext>
            </a:extLst>
          </p:cNvPr>
          <p:cNvGrpSpPr/>
          <p:nvPr/>
        </p:nvGrpSpPr>
        <p:grpSpPr>
          <a:xfrm>
            <a:off x="6128902" y="2576241"/>
            <a:ext cx="271649" cy="297382"/>
            <a:chOff x="6128902" y="2576241"/>
            <a:chExt cx="271649" cy="297382"/>
          </a:xfrm>
          <a:noFill/>
        </p:grpSpPr>
        <p:sp>
          <p:nvSpPr>
            <p:cNvPr id="676" name="Forma livre: Forma 675">
              <a:extLst>
                <a:ext uri="{FF2B5EF4-FFF2-40B4-BE49-F238E27FC236}">
                  <a16:creationId xmlns:a16="http://schemas.microsoft.com/office/drawing/2014/main" id="{C54A3674-06F1-1289-ADA0-17930BEDFA80}"/>
                </a:ext>
              </a:extLst>
            </p:cNvPr>
            <p:cNvSpPr/>
            <p:nvPr/>
          </p:nvSpPr>
          <p:spPr>
            <a:xfrm>
              <a:off x="6182508" y="2576241"/>
              <a:ext cx="164449" cy="83580"/>
            </a:xfrm>
            <a:custGeom>
              <a:avLst/>
              <a:gdLst>
                <a:gd name="connsiteX0" fmla="*/ 0 w 164449"/>
                <a:gd name="connsiteY0" fmla="*/ 83581 h 83580"/>
                <a:gd name="connsiteX1" fmla="*/ 0 w 164449"/>
                <a:gd name="connsiteY1" fmla="*/ 13452 h 83580"/>
                <a:gd name="connsiteX2" fmla="*/ 13464 w 164449"/>
                <a:gd name="connsiteY2" fmla="*/ 0 h 83580"/>
                <a:gd name="connsiteX3" fmla="*/ 150985 w 164449"/>
                <a:gd name="connsiteY3" fmla="*/ 0 h 83580"/>
                <a:gd name="connsiteX4" fmla="*/ 164449 w 164449"/>
                <a:gd name="connsiteY4" fmla="*/ 13452 h 83580"/>
                <a:gd name="connsiteX5" fmla="*/ 164449 w 164449"/>
                <a:gd name="connsiteY5" fmla="*/ 24204 h 835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64449" h="83580">
                  <a:moveTo>
                    <a:pt x="0" y="83581"/>
                  </a:moveTo>
                  <a:lnTo>
                    <a:pt x="0" y="13452"/>
                  </a:lnTo>
                  <a:cubicBezTo>
                    <a:pt x="0" y="6045"/>
                    <a:pt x="6057" y="0"/>
                    <a:pt x="13464" y="0"/>
                  </a:cubicBezTo>
                  <a:lnTo>
                    <a:pt x="150985" y="0"/>
                  </a:lnTo>
                  <a:cubicBezTo>
                    <a:pt x="158392" y="0"/>
                    <a:pt x="164449" y="6045"/>
                    <a:pt x="164449" y="13452"/>
                  </a:cubicBezTo>
                  <a:lnTo>
                    <a:pt x="164449" y="24204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77" name="Forma livre: Forma 676">
              <a:extLst>
                <a:ext uri="{FF2B5EF4-FFF2-40B4-BE49-F238E27FC236}">
                  <a16:creationId xmlns:a16="http://schemas.microsoft.com/office/drawing/2014/main" id="{B1B4D18A-EFC4-8D50-A632-400695975CE1}"/>
                </a:ext>
              </a:extLst>
            </p:cNvPr>
            <p:cNvSpPr/>
            <p:nvPr/>
          </p:nvSpPr>
          <p:spPr>
            <a:xfrm>
              <a:off x="6182496" y="2716808"/>
              <a:ext cx="164449" cy="156815"/>
            </a:xfrm>
            <a:custGeom>
              <a:avLst/>
              <a:gdLst>
                <a:gd name="connsiteX0" fmla="*/ 164449 w 164449"/>
                <a:gd name="connsiteY0" fmla="*/ 0 h 156815"/>
                <a:gd name="connsiteX1" fmla="*/ 164449 w 164449"/>
                <a:gd name="connsiteY1" fmla="*/ 142933 h 156815"/>
                <a:gd name="connsiteX2" fmla="*/ 150985 w 164449"/>
                <a:gd name="connsiteY2" fmla="*/ 156815 h 156815"/>
                <a:gd name="connsiteX3" fmla="*/ 13464 w 164449"/>
                <a:gd name="connsiteY3" fmla="*/ 156815 h 156815"/>
                <a:gd name="connsiteX4" fmla="*/ 0 w 164449"/>
                <a:gd name="connsiteY4" fmla="*/ 142933 h 156815"/>
                <a:gd name="connsiteX5" fmla="*/ 0 w 164449"/>
                <a:gd name="connsiteY5" fmla="*/ 61168 h 1568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64449" h="156815">
                  <a:moveTo>
                    <a:pt x="164449" y="0"/>
                  </a:moveTo>
                  <a:lnTo>
                    <a:pt x="164449" y="142933"/>
                  </a:lnTo>
                  <a:cubicBezTo>
                    <a:pt x="164449" y="150340"/>
                    <a:pt x="158392" y="156815"/>
                    <a:pt x="150985" y="156815"/>
                  </a:cubicBezTo>
                  <a:lnTo>
                    <a:pt x="13464" y="156815"/>
                  </a:lnTo>
                  <a:cubicBezTo>
                    <a:pt x="6057" y="156815"/>
                    <a:pt x="0" y="150328"/>
                    <a:pt x="0" y="142933"/>
                  </a:cubicBezTo>
                  <a:lnTo>
                    <a:pt x="0" y="61168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78" name="Forma livre: Forma 677">
              <a:extLst>
                <a:ext uri="{FF2B5EF4-FFF2-40B4-BE49-F238E27FC236}">
                  <a16:creationId xmlns:a16="http://schemas.microsoft.com/office/drawing/2014/main" id="{2F61C167-45AA-BA1C-F179-EF256697294D}"/>
                </a:ext>
              </a:extLst>
            </p:cNvPr>
            <p:cNvSpPr/>
            <p:nvPr/>
          </p:nvSpPr>
          <p:spPr>
            <a:xfrm>
              <a:off x="6202519" y="2814940"/>
              <a:ext cx="124415" cy="1194"/>
            </a:xfrm>
            <a:custGeom>
              <a:avLst/>
              <a:gdLst>
                <a:gd name="connsiteX0" fmla="*/ 0 w 124415"/>
                <a:gd name="connsiteY0" fmla="*/ 0 h 1194"/>
                <a:gd name="connsiteX1" fmla="*/ 124415 w 124415"/>
                <a:gd name="connsiteY1" fmla="*/ 0 h 11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4415" h="1194">
                  <a:moveTo>
                    <a:pt x="0" y="0"/>
                  </a:moveTo>
                  <a:lnTo>
                    <a:pt x="124415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79" name="Forma livre: Forma 678">
              <a:extLst>
                <a:ext uri="{FF2B5EF4-FFF2-40B4-BE49-F238E27FC236}">
                  <a16:creationId xmlns:a16="http://schemas.microsoft.com/office/drawing/2014/main" id="{545887E2-A244-B81A-9793-60DE7C9A967A}"/>
                </a:ext>
              </a:extLst>
            </p:cNvPr>
            <p:cNvSpPr/>
            <p:nvPr/>
          </p:nvSpPr>
          <p:spPr>
            <a:xfrm>
              <a:off x="6253545" y="2843446"/>
              <a:ext cx="22364" cy="1194"/>
            </a:xfrm>
            <a:custGeom>
              <a:avLst/>
              <a:gdLst>
                <a:gd name="connsiteX0" fmla="*/ 0 w 22364"/>
                <a:gd name="connsiteY0" fmla="*/ 0 h 1194"/>
                <a:gd name="connsiteX1" fmla="*/ 22365 w 22364"/>
                <a:gd name="connsiteY1" fmla="*/ 0 h 11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2364" h="1194">
                  <a:moveTo>
                    <a:pt x="0" y="0"/>
                  </a:moveTo>
                  <a:lnTo>
                    <a:pt x="22365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680" name="Gráfico 9">
              <a:extLst>
                <a:ext uri="{FF2B5EF4-FFF2-40B4-BE49-F238E27FC236}">
                  <a16:creationId xmlns:a16="http://schemas.microsoft.com/office/drawing/2014/main" id="{2D0AEB2A-A207-473B-D9F2-CF5BE8EB42FA}"/>
                </a:ext>
              </a:extLst>
            </p:cNvPr>
            <p:cNvGrpSpPr/>
            <p:nvPr/>
          </p:nvGrpSpPr>
          <p:grpSpPr>
            <a:xfrm>
              <a:off x="6128902" y="2620206"/>
              <a:ext cx="271649" cy="161749"/>
              <a:chOff x="6128902" y="2620206"/>
              <a:chExt cx="271649" cy="161749"/>
            </a:xfrm>
            <a:noFill/>
          </p:grpSpPr>
          <p:grpSp>
            <p:nvGrpSpPr>
              <p:cNvPr id="681" name="Gráfico 9">
                <a:extLst>
                  <a:ext uri="{FF2B5EF4-FFF2-40B4-BE49-F238E27FC236}">
                    <a16:creationId xmlns:a16="http://schemas.microsoft.com/office/drawing/2014/main" id="{55DB3D76-8DD2-C014-B2A7-B9D118C8C429}"/>
                  </a:ext>
                </a:extLst>
              </p:cNvPr>
              <p:cNvGrpSpPr/>
              <p:nvPr/>
            </p:nvGrpSpPr>
            <p:grpSpPr>
              <a:xfrm>
                <a:off x="6281954" y="2620206"/>
                <a:ext cx="118597" cy="101309"/>
                <a:chOff x="6281954" y="2620206"/>
                <a:chExt cx="118597" cy="101309"/>
              </a:xfrm>
              <a:noFill/>
            </p:grpSpPr>
            <p:grpSp>
              <p:nvGrpSpPr>
                <p:cNvPr id="682" name="Gráfico 9">
                  <a:extLst>
                    <a:ext uri="{FF2B5EF4-FFF2-40B4-BE49-F238E27FC236}">
                      <a16:creationId xmlns:a16="http://schemas.microsoft.com/office/drawing/2014/main" id="{3EE111AF-2FC0-3A3C-23D8-10E19D061599}"/>
                    </a:ext>
                  </a:extLst>
                </p:cNvPr>
                <p:cNvGrpSpPr/>
                <p:nvPr/>
              </p:nvGrpSpPr>
              <p:grpSpPr>
                <a:xfrm>
                  <a:off x="6304689" y="2646799"/>
                  <a:ext cx="73115" cy="22938"/>
                  <a:chOff x="6304689" y="2646799"/>
                  <a:chExt cx="73115" cy="22938"/>
                </a:xfrm>
              </p:grpSpPr>
              <p:sp>
                <p:nvSpPr>
                  <p:cNvPr id="683" name="Forma livre: Forma 682">
                    <a:extLst>
                      <a:ext uri="{FF2B5EF4-FFF2-40B4-BE49-F238E27FC236}">
                        <a16:creationId xmlns:a16="http://schemas.microsoft.com/office/drawing/2014/main" id="{BC598E96-6E38-0F82-D187-6E936E08198E}"/>
                      </a:ext>
                    </a:extLst>
                  </p:cNvPr>
                  <p:cNvSpPr/>
                  <p:nvPr/>
                </p:nvSpPr>
                <p:spPr>
                  <a:xfrm>
                    <a:off x="6304689" y="2646799"/>
                    <a:ext cx="73115" cy="1194"/>
                  </a:xfrm>
                  <a:custGeom>
                    <a:avLst/>
                    <a:gdLst>
                      <a:gd name="connsiteX0" fmla="*/ 0 w 73115"/>
                      <a:gd name="connsiteY0" fmla="*/ 0 h 1194"/>
                      <a:gd name="connsiteX1" fmla="*/ 73115 w 73115"/>
                      <a:gd name="connsiteY1" fmla="*/ 0 h 119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73115" h="1194">
                        <a:moveTo>
                          <a:pt x="0" y="0"/>
                        </a:moveTo>
                        <a:lnTo>
                          <a:pt x="73115" y="0"/>
                        </a:lnTo>
                      </a:path>
                    </a:pathLst>
                  </a:custGeom>
                  <a:ln w="6350" cap="flat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684" name="Forma livre: Forma 683">
                    <a:extLst>
                      <a:ext uri="{FF2B5EF4-FFF2-40B4-BE49-F238E27FC236}">
                        <a16:creationId xmlns:a16="http://schemas.microsoft.com/office/drawing/2014/main" id="{D97442DC-FA32-B6E0-06E1-610A21667D3E}"/>
                      </a:ext>
                    </a:extLst>
                  </p:cNvPr>
                  <p:cNvSpPr/>
                  <p:nvPr/>
                </p:nvSpPr>
                <p:spPr>
                  <a:xfrm>
                    <a:off x="6304689" y="2669738"/>
                    <a:ext cx="54501" cy="1194"/>
                  </a:xfrm>
                  <a:custGeom>
                    <a:avLst/>
                    <a:gdLst>
                      <a:gd name="connsiteX0" fmla="*/ 0 w 54501"/>
                      <a:gd name="connsiteY0" fmla="*/ 0 h 1194"/>
                      <a:gd name="connsiteX1" fmla="*/ 54502 w 54501"/>
                      <a:gd name="connsiteY1" fmla="*/ 0 h 119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54501" h="1194">
                        <a:moveTo>
                          <a:pt x="0" y="0"/>
                        </a:moveTo>
                        <a:lnTo>
                          <a:pt x="54502" y="0"/>
                        </a:lnTo>
                      </a:path>
                    </a:pathLst>
                  </a:custGeom>
                  <a:ln w="6350" cap="flat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  <p:sp>
              <p:nvSpPr>
                <p:cNvPr id="685" name="Forma livre: Forma 684">
                  <a:extLst>
                    <a:ext uri="{FF2B5EF4-FFF2-40B4-BE49-F238E27FC236}">
                      <a16:creationId xmlns:a16="http://schemas.microsoft.com/office/drawing/2014/main" id="{EF6B504A-5742-1497-3AC0-9F03AE90FC86}"/>
                    </a:ext>
                  </a:extLst>
                </p:cNvPr>
                <p:cNvSpPr/>
                <p:nvPr/>
              </p:nvSpPr>
              <p:spPr>
                <a:xfrm>
                  <a:off x="6281954" y="2620206"/>
                  <a:ext cx="118597" cy="101309"/>
                </a:xfrm>
                <a:custGeom>
                  <a:avLst/>
                  <a:gdLst>
                    <a:gd name="connsiteX0" fmla="*/ 0 w 118597"/>
                    <a:gd name="connsiteY0" fmla="*/ 0 h 101309"/>
                    <a:gd name="connsiteX1" fmla="*/ 0 w 118597"/>
                    <a:gd name="connsiteY1" fmla="*/ 101310 h 101309"/>
                    <a:gd name="connsiteX2" fmla="*/ 26845 w 118597"/>
                    <a:gd name="connsiteY2" fmla="*/ 76616 h 101309"/>
                    <a:gd name="connsiteX3" fmla="*/ 118597 w 118597"/>
                    <a:gd name="connsiteY3" fmla="*/ 76616 h 101309"/>
                    <a:gd name="connsiteX4" fmla="*/ 118597 w 118597"/>
                    <a:gd name="connsiteY4" fmla="*/ 0 h 101309"/>
                    <a:gd name="connsiteX5" fmla="*/ 0 w 118597"/>
                    <a:gd name="connsiteY5" fmla="*/ 0 h 10130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118597" h="101309">
                      <a:moveTo>
                        <a:pt x="0" y="0"/>
                      </a:moveTo>
                      <a:lnTo>
                        <a:pt x="0" y="101310"/>
                      </a:lnTo>
                      <a:lnTo>
                        <a:pt x="26845" y="76616"/>
                      </a:lnTo>
                      <a:lnTo>
                        <a:pt x="118597" y="76616"/>
                      </a:lnTo>
                      <a:lnTo>
                        <a:pt x="118597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686" name="Gráfico 9">
                <a:extLst>
                  <a:ext uri="{FF2B5EF4-FFF2-40B4-BE49-F238E27FC236}">
                    <a16:creationId xmlns:a16="http://schemas.microsoft.com/office/drawing/2014/main" id="{FC12891D-EE4E-3EAD-12AF-F4D5F231D60E}"/>
                  </a:ext>
                </a:extLst>
              </p:cNvPr>
              <p:cNvGrpSpPr/>
              <p:nvPr/>
            </p:nvGrpSpPr>
            <p:grpSpPr>
              <a:xfrm>
                <a:off x="6128902" y="2680645"/>
                <a:ext cx="118597" cy="101309"/>
                <a:chOff x="6128902" y="2680645"/>
                <a:chExt cx="118597" cy="101309"/>
              </a:xfrm>
              <a:noFill/>
            </p:grpSpPr>
            <p:grpSp>
              <p:nvGrpSpPr>
                <p:cNvPr id="687" name="Gráfico 9">
                  <a:extLst>
                    <a:ext uri="{FF2B5EF4-FFF2-40B4-BE49-F238E27FC236}">
                      <a16:creationId xmlns:a16="http://schemas.microsoft.com/office/drawing/2014/main" id="{9509257A-44A0-FF95-9436-D28D4FC9D113}"/>
                    </a:ext>
                  </a:extLst>
                </p:cNvPr>
                <p:cNvGrpSpPr/>
                <p:nvPr/>
              </p:nvGrpSpPr>
              <p:grpSpPr>
                <a:xfrm>
                  <a:off x="6151649" y="2707251"/>
                  <a:ext cx="73115" cy="22938"/>
                  <a:chOff x="6151649" y="2707251"/>
                  <a:chExt cx="73115" cy="22938"/>
                </a:xfrm>
              </p:grpSpPr>
              <p:sp>
                <p:nvSpPr>
                  <p:cNvPr id="688" name="Forma livre: Forma 687">
                    <a:extLst>
                      <a:ext uri="{FF2B5EF4-FFF2-40B4-BE49-F238E27FC236}">
                        <a16:creationId xmlns:a16="http://schemas.microsoft.com/office/drawing/2014/main" id="{B4E3A1AA-EBDF-D6E8-7437-55D601EEC517}"/>
                      </a:ext>
                    </a:extLst>
                  </p:cNvPr>
                  <p:cNvSpPr/>
                  <p:nvPr/>
                </p:nvSpPr>
                <p:spPr>
                  <a:xfrm>
                    <a:off x="6151649" y="2707251"/>
                    <a:ext cx="73115" cy="1194"/>
                  </a:xfrm>
                  <a:custGeom>
                    <a:avLst/>
                    <a:gdLst>
                      <a:gd name="connsiteX0" fmla="*/ 73115 w 73115"/>
                      <a:gd name="connsiteY0" fmla="*/ 0 h 1194"/>
                      <a:gd name="connsiteX1" fmla="*/ 0 w 73115"/>
                      <a:gd name="connsiteY1" fmla="*/ 0 h 119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73115" h="1194">
                        <a:moveTo>
                          <a:pt x="73115" y="0"/>
                        </a:moveTo>
                        <a:lnTo>
                          <a:pt x="0" y="0"/>
                        </a:lnTo>
                      </a:path>
                    </a:pathLst>
                  </a:custGeom>
                  <a:ln w="6350" cap="flat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689" name="Forma livre: Forma 688">
                    <a:extLst>
                      <a:ext uri="{FF2B5EF4-FFF2-40B4-BE49-F238E27FC236}">
                        <a16:creationId xmlns:a16="http://schemas.microsoft.com/office/drawing/2014/main" id="{463E3424-CD2D-D905-1992-00A7F1C920CA}"/>
                      </a:ext>
                    </a:extLst>
                  </p:cNvPr>
                  <p:cNvSpPr/>
                  <p:nvPr/>
                </p:nvSpPr>
                <p:spPr>
                  <a:xfrm>
                    <a:off x="6170275" y="2730189"/>
                    <a:ext cx="54489" cy="1194"/>
                  </a:xfrm>
                  <a:custGeom>
                    <a:avLst/>
                    <a:gdLst>
                      <a:gd name="connsiteX0" fmla="*/ 54490 w 54489"/>
                      <a:gd name="connsiteY0" fmla="*/ 0 h 1194"/>
                      <a:gd name="connsiteX1" fmla="*/ 0 w 54489"/>
                      <a:gd name="connsiteY1" fmla="*/ 0 h 119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54489" h="1194">
                        <a:moveTo>
                          <a:pt x="54490" y="0"/>
                        </a:moveTo>
                        <a:lnTo>
                          <a:pt x="0" y="0"/>
                        </a:lnTo>
                      </a:path>
                    </a:pathLst>
                  </a:custGeom>
                  <a:ln w="6350" cap="flat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  <p:sp>
              <p:nvSpPr>
                <p:cNvPr id="690" name="Forma livre: Forma 689">
                  <a:extLst>
                    <a:ext uri="{FF2B5EF4-FFF2-40B4-BE49-F238E27FC236}">
                      <a16:creationId xmlns:a16="http://schemas.microsoft.com/office/drawing/2014/main" id="{C2B41034-96BE-E9DD-CBCB-A70D91241807}"/>
                    </a:ext>
                  </a:extLst>
                </p:cNvPr>
                <p:cNvSpPr/>
                <p:nvPr/>
              </p:nvSpPr>
              <p:spPr>
                <a:xfrm>
                  <a:off x="6128902" y="2680645"/>
                  <a:ext cx="118597" cy="101309"/>
                </a:xfrm>
                <a:custGeom>
                  <a:avLst/>
                  <a:gdLst>
                    <a:gd name="connsiteX0" fmla="*/ 118597 w 118597"/>
                    <a:gd name="connsiteY0" fmla="*/ 0 h 101309"/>
                    <a:gd name="connsiteX1" fmla="*/ 118597 w 118597"/>
                    <a:gd name="connsiteY1" fmla="*/ 101310 h 101309"/>
                    <a:gd name="connsiteX2" fmla="*/ 91764 w 118597"/>
                    <a:gd name="connsiteY2" fmla="*/ 76628 h 101309"/>
                    <a:gd name="connsiteX3" fmla="*/ 0 w 118597"/>
                    <a:gd name="connsiteY3" fmla="*/ 76628 h 101309"/>
                    <a:gd name="connsiteX4" fmla="*/ 0 w 118597"/>
                    <a:gd name="connsiteY4" fmla="*/ 0 h 101309"/>
                    <a:gd name="connsiteX5" fmla="*/ 118597 w 118597"/>
                    <a:gd name="connsiteY5" fmla="*/ 0 h 10130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118597" h="101309">
                      <a:moveTo>
                        <a:pt x="118597" y="0"/>
                      </a:moveTo>
                      <a:lnTo>
                        <a:pt x="118597" y="101310"/>
                      </a:lnTo>
                      <a:lnTo>
                        <a:pt x="91764" y="76628"/>
                      </a:lnTo>
                      <a:lnTo>
                        <a:pt x="0" y="76628"/>
                      </a:lnTo>
                      <a:lnTo>
                        <a:pt x="0" y="0"/>
                      </a:lnTo>
                      <a:lnTo>
                        <a:pt x="118597" y="0"/>
                      </a:lnTo>
                      <a:close/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</p:grpSp>
      <p:grpSp>
        <p:nvGrpSpPr>
          <p:cNvPr id="691" name="Gráfico 9">
            <a:extLst>
              <a:ext uri="{FF2B5EF4-FFF2-40B4-BE49-F238E27FC236}">
                <a16:creationId xmlns:a16="http://schemas.microsoft.com/office/drawing/2014/main" id="{1A3D31F9-D64D-2FD5-89F2-241636BC62E5}"/>
              </a:ext>
            </a:extLst>
          </p:cNvPr>
          <p:cNvGrpSpPr/>
          <p:nvPr/>
        </p:nvGrpSpPr>
        <p:grpSpPr>
          <a:xfrm>
            <a:off x="6119763" y="987360"/>
            <a:ext cx="289928" cy="289939"/>
            <a:chOff x="6119763" y="987360"/>
            <a:chExt cx="289928" cy="289939"/>
          </a:xfrm>
          <a:noFill/>
        </p:grpSpPr>
        <p:grpSp>
          <p:nvGrpSpPr>
            <p:cNvPr id="692" name="Gráfico 9">
              <a:extLst>
                <a:ext uri="{FF2B5EF4-FFF2-40B4-BE49-F238E27FC236}">
                  <a16:creationId xmlns:a16="http://schemas.microsoft.com/office/drawing/2014/main" id="{628F3261-02EB-AD7A-0A7A-212B35F88914}"/>
                </a:ext>
              </a:extLst>
            </p:cNvPr>
            <p:cNvGrpSpPr/>
            <p:nvPr/>
          </p:nvGrpSpPr>
          <p:grpSpPr>
            <a:xfrm>
              <a:off x="6119763" y="987360"/>
              <a:ext cx="289928" cy="289939"/>
              <a:chOff x="6119763" y="987360"/>
              <a:chExt cx="289928" cy="289939"/>
            </a:xfrm>
            <a:noFill/>
          </p:grpSpPr>
          <p:sp>
            <p:nvSpPr>
              <p:cNvPr id="693" name="Forma livre: Forma 692">
                <a:extLst>
                  <a:ext uri="{FF2B5EF4-FFF2-40B4-BE49-F238E27FC236}">
                    <a16:creationId xmlns:a16="http://schemas.microsoft.com/office/drawing/2014/main" id="{B51D60D2-CCEC-4453-E3F3-043AAF0B9FE4}"/>
                  </a:ext>
                </a:extLst>
              </p:cNvPr>
              <p:cNvSpPr/>
              <p:nvPr/>
            </p:nvSpPr>
            <p:spPr>
              <a:xfrm>
                <a:off x="6137982" y="1006176"/>
                <a:ext cx="89793" cy="91286"/>
              </a:xfrm>
              <a:custGeom>
                <a:avLst/>
                <a:gdLst>
                  <a:gd name="connsiteX0" fmla="*/ 0 w 89793"/>
                  <a:gd name="connsiteY0" fmla="*/ 91286 h 91286"/>
                  <a:gd name="connsiteX1" fmla="*/ 89793 w 89793"/>
                  <a:gd name="connsiteY1" fmla="*/ 0 h 912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89793" h="91286">
                    <a:moveTo>
                      <a:pt x="0" y="91286"/>
                    </a:moveTo>
                    <a:cubicBezTo>
                      <a:pt x="12043" y="47441"/>
                      <a:pt x="46235" y="12735"/>
                      <a:pt x="89793" y="0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694" name="Forma livre: Forma 693">
                <a:extLst>
                  <a:ext uri="{FF2B5EF4-FFF2-40B4-BE49-F238E27FC236}">
                    <a16:creationId xmlns:a16="http://schemas.microsoft.com/office/drawing/2014/main" id="{17064EB0-09DF-211F-1B07-992894C9B42C}"/>
                  </a:ext>
                </a:extLst>
              </p:cNvPr>
              <p:cNvSpPr/>
              <p:nvPr/>
            </p:nvSpPr>
            <p:spPr>
              <a:xfrm>
                <a:off x="6134302" y="1148631"/>
                <a:ext cx="114224" cy="114128"/>
              </a:xfrm>
              <a:custGeom>
                <a:avLst/>
                <a:gdLst>
                  <a:gd name="connsiteX0" fmla="*/ 114225 w 114224"/>
                  <a:gd name="connsiteY0" fmla="*/ 114129 h 114128"/>
                  <a:gd name="connsiteX1" fmla="*/ 0 w 114224"/>
                  <a:gd name="connsiteY1" fmla="*/ 0 h 1141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4224" h="114128">
                    <a:moveTo>
                      <a:pt x="114225" y="114129"/>
                    </a:moveTo>
                    <a:cubicBezTo>
                      <a:pt x="54621" y="106806"/>
                      <a:pt x="7371" y="59579"/>
                      <a:pt x="0" y="0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695" name="Forma livre: Forma 694">
                <a:extLst>
                  <a:ext uri="{FF2B5EF4-FFF2-40B4-BE49-F238E27FC236}">
                    <a16:creationId xmlns:a16="http://schemas.microsoft.com/office/drawing/2014/main" id="{DC9A45AC-DB5B-ADE0-D8E2-66D47165FE27}"/>
                  </a:ext>
                </a:extLst>
              </p:cNvPr>
              <p:cNvSpPr/>
              <p:nvPr/>
            </p:nvSpPr>
            <p:spPr>
              <a:xfrm>
                <a:off x="6280867" y="1148631"/>
                <a:ext cx="114272" cy="114128"/>
              </a:xfrm>
              <a:custGeom>
                <a:avLst/>
                <a:gdLst>
                  <a:gd name="connsiteX0" fmla="*/ 114272 w 114272"/>
                  <a:gd name="connsiteY0" fmla="*/ 0 h 114128"/>
                  <a:gd name="connsiteX1" fmla="*/ 0 w 114272"/>
                  <a:gd name="connsiteY1" fmla="*/ 114129 h 1141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4272" h="114128">
                    <a:moveTo>
                      <a:pt x="114272" y="0"/>
                    </a:moveTo>
                    <a:cubicBezTo>
                      <a:pt x="106889" y="59603"/>
                      <a:pt x="59615" y="106829"/>
                      <a:pt x="0" y="114129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696" name="Forma livre: Forma 695">
                <a:extLst>
                  <a:ext uri="{FF2B5EF4-FFF2-40B4-BE49-F238E27FC236}">
                    <a16:creationId xmlns:a16="http://schemas.microsoft.com/office/drawing/2014/main" id="{4BB3FA6F-08B5-E621-BFC7-2A6DE6F4DAEC}"/>
                  </a:ext>
                </a:extLst>
              </p:cNvPr>
              <p:cNvSpPr/>
              <p:nvPr/>
            </p:nvSpPr>
            <p:spPr>
              <a:xfrm>
                <a:off x="6281393" y="1001959"/>
                <a:ext cx="113710" cy="113806"/>
              </a:xfrm>
              <a:custGeom>
                <a:avLst/>
                <a:gdLst>
                  <a:gd name="connsiteX0" fmla="*/ 0 w 113710"/>
                  <a:gd name="connsiteY0" fmla="*/ 0 h 113806"/>
                  <a:gd name="connsiteX1" fmla="*/ 113711 w 113710"/>
                  <a:gd name="connsiteY1" fmla="*/ 113806 h 1138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3710" h="113806">
                    <a:moveTo>
                      <a:pt x="0" y="0"/>
                    </a:moveTo>
                    <a:cubicBezTo>
                      <a:pt x="59281" y="7503"/>
                      <a:pt x="106256" y="54502"/>
                      <a:pt x="113711" y="113806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697" name="Forma livre: Forma 696">
                <a:extLst>
                  <a:ext uri="{FF2B5EF4-FFF2-40B4-BE49-F238E27FC236}">
                    <a16:creationId xmlns:a16="http://schemas.microsoft.com/office/drawing/2014/main" id="{657878AB-BD92-7098-E16C-4B7E383FE830}"/>
                  </a:ext>
                </a:extLst>
              </p:cNvPr>
              <p:cNvSpPr/>
              <p:nvPr/>
            </p:nvSpPr>
            <p:spPr>
              <a:xfrm>
                <a:off x="6195495" y="1147592"/>
                <a:ext cx="53785" cy="53928"/>
              </a:xfrm>
              <a:custGeom>
                <a:avLst/>
                <a:gdLst>
                  <a:gd name="connsiteX0" fmla="*/ 53785 w 53785"/>
                  <a:gd name="connsiteY0" fmla="*/ 53928 h 53928"/>
                  <a:gd name="connsiteX1" fmla="*/ 0 w 53785"/>
                  <a:gd name="connsiteY1" fmla="*/ 0 h 539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3785" h="53928">
                    <a:moveTo>
                      <a:pt x="53785" y="53928"/>
                    </a:moveTo>
                    <a:cubicBezTo>
                      <a:pt x="26976" y="47967"/>
                      <a:pt x="5890" y="26833"/>
                      <a:pt x="0" y="0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698" name="Forma livre: Forma 697">
                <a:extLst>
                  <a:ext uri="{FF2B5EF4-FFF2-40B4-BE49-F238E27FC236}">
                    <a16:creationId xmlns:a16="http://schemas.microsoft.com/office/drawing/2014/main" id="{55054042-60D1-71DB-CDBB-BFD861614F73}"/>
                  </a:ext>
                </a:extLst>
              </p:cNvPr>
              <p:cNvSpPr/>
              <p:nvPr/>
            </p:nvSpPr>
            <p:spPr>
              <a:xfrm>
                <a:off x="6280019" y="1147747"/>
                <a:ext cx="53904" cy="53808"/>
              </a:xfrm>
              <a:custGeom>
                <a:avLst/>
                <a:gdLst>
                  <a:gd name="connsiteX0" fmla="*/ 53905 w 53904"/>
                  <a:gd name="connsiteY0" fmla="*/ 0 h 53808"/>
                  <a:gd name="connsiteX1" fmla="*/ 0 w 53904"/>
                  <a:gd name="connsiteY1" fmla="*/ 53809 h 538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3904" h="53808">
                    <a:moveTo>
                      <a:pt x="53905" y="0"/>
                    </a:moveTo>
                    <a:cubicBezTo>
                      <a:pt x="47955" y="26821"/>
                      <a:pt x="26833" y="47919"/>
                      <a:pt x="0" y="53809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699" name="Forma livre: Forma 698">
                <a:extLst>
                  <a:ext uri="{FF2B5EF4-FFF2-40B4-BE49-F238E27FC236}">
                    <a16:creationId xmlns:a16="http://schemas.microsoft.com/office/drawing/2014/main" id="{DC3F196E-C56A-5FC5-7014-DBCEF4002D2A}"/>
                  </a:ext>
                </a:extLst>
              </p:cNvPr>
              <p:cNvSpPr/>
              <p:nvPr/>
            </p:nvSpPr>
            <p:spPr>
              <a:xfrm>
                <a:off x="6280067" y="1063115"/>
                <a:ext cx="53785" cy="53450"/>
              </a:xfrm>
              <a:custGeom>
                <a:avLst/>
                <a:gdLst>
                  <a:gd name="connsiteX0" fmla="*/ 0 w 53785"/>
                  <a:gd name="connsiteY0" fmla="*/ 0 h 53450"/>
                  <a:gd name="connsiteX1" fmla="*/ 53785 w 53785"/>
                  <a:gd name="connsiteY1" fmla="*/ 53451 h 534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3785" h="53450">
                    <a:moveTo>
                      <a:pt x="0" y="0"/>
                    </a:moveTo>
                    <a:cubicBezTo>
                      <a:pt x="26689" y="5890"/>
                      <a:pt x="47740" y="26821"/>
                      <a:pt x="53785" y="53451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00" name="Forma livre: Forma 699">
                <a:extLst>
                  <a:ext uri="{FF2B5EF4-FFF2-40B4-BE49-F238E27FC236}">
                    <a16:creationId xmlns:a16="http://schemas.microsoft.com/office/drawing/2014/main" id="{EEBD3B13-557D-5916-1920-AE924D889290}"/>
                  </a:ext>
                </a:extLst>
              </p:cNvPr>
              <p:cNvSpPr/>
              <p:nvPr/>
            </p:nvSpPr>
            <p:spPr>
              <a:xfrm>
                <a:off x="6195578" y="1063139"/>
                <a:ext cx="53689" cy="53522"/>
              </a:xfrm>
              <a:custGeom>
                <a:avLst/>
                <a:gdLst>
                  <a:gd name="connsiteX0" fmla="*/ 0 w 53689"/>
                  <a:gd name="connsiteY0" fmla="*/ 53522 h 53522"/>
                  <a:gd name="connsiteX1" fmla="*/ 53689 w 53689"/>
                  <a:gd name="connsiteY1" fmla="*/ 0 h 535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3689" h="53522">
                    <a:moveTo>
                      <a:pt x="0" y="53522"/>
                    </a:moveTo>
                    <a:cubicBezTo>
                      <a:pt x="6021" y="26893"/>
                      <a:pt x="27024" y="5938"/>
                      <a:pt x="53689" y="0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701" name="Gráfico 9">
                <a:extLst>
                  <a:ext uri="{FF2B5EF4-FFF2-40B4-BE49-F238E27FC236}">
                    <a16:creationId xmlns:a16="http://schemas.microsoft.com/office/drawing/2014/main" id="{B158730C-7514-34C6-0A0D-71BA4880E270}"/>
                  </a:ext>
                </a:extLst>
              </p:cNvPr>
              <p:cNvGrpSpPr/>
              <p:nvPr/>
            </p:nvGrpSpPr>
            <p:grpSpPr>
              <a:xfrm>
                <a:off x="6249793" y="987360"/>
                <a:ext cx="29867" cy="289939"/>
                <a:chOff x="6249793" y="987360"/>
                <a:chExt cx="29867" cy="289939"/>
              </a:xfrm>
              <a:noFill/>
            </p:grpSpPr>
            <p:sp>
              <p:nvSpPr>
                <p:cNvPr id="702" name="Forma livre: Forma 701">
                  <a:extLst>
                    <a:ext uri="{FF2B5EF4-FFF2-40B4-BE49-F238E27FC236}">
                      <a16:creationId xmlns:a16="http://schemas.microsoft.com/office/drawing/2014/main" id="{68E78C23-561E-D857-0595-16213154A4CC}"/>
                    </a:ext>
                  </a:extLst>
                </p:cNvPr>
                <p:cNvSpPr/>
                <p:nvPr/>
              </p:nvSpPr>
              <p:spPr>
                <a:xfrm>
                  <a:off x="6249793" y="987360"/>
                  <a:ext cx="29867" cy="84823"/>
                </a:xfrm>
                <a:custGeom>
                  <a:avLst/>
                  <a:gdLst>
                    <a:gd name="connsiteX0" fmla="*/ 20310 w 29867"/>
                    <a:gd name="connsiteY0" fmla="*/ 0 h 84823"/>
                    <a:gd name="connsiteX1" fmla="*/ 29867 w 29867"/>
                    <a:gd name="connsiteY1" fmla="*/ 9558 h 84823"/>
                    <a:gd name="connsiteX2" fmla="*/ 29867 w 29867"/>
                    <a:gd name="connsiteY2" fmla="*/ 75266 h 84823"/>
                    <a:gd name="connsiteX3" fmla="*/ 20310 w 29867"/>
                    <a:gd name="connsiteY3" fmla="*/ 84823 h 84823"/>
                    <a:gd name="connsiteX4" fmla="*/ 9558 w 29867"/>
                    <a:gd name="connsiteY4" fmla="*/ 84823 h 84823"/>
                    <a:gd name="connsiteX5" fmla="*/ 0 w 29867"/>
                    <a:gd name="connsiteY5" fmla="*/ 75266 h 84823"/>
                    <a:gd name="connsiteX6" fmla="*/ 0 w 29867"/>
                    <a:gd name="connsiteY6" fmla="*/ 9558 h 84823"/>
                    <a:gd name="connsiteX7" fmla="*/ 9558 w 29867"/>
                    <a:gd name="connsiteY7" fmla="*/ 0 h 8482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29867" h="84823">
                      <a:moveTo>
                        <a:pt x="20310" y="0"/>
                      </a:moveTo>
                      <a:cubicBezTo>
                        <a:pt x="25588" y="0"/>
                        <a:pt x="29867" y="4279"/>
                        <a:pt x="29867" y="9558"/>
                      </a:cubicBezTo>
                      <a:lnTo>
                        <a:pt x="29867" y="75266"/>
                      </a:lnTo>
                      <a:cubicBezTo>
                        <a:pt x="29867" y="80544"/>
                        <a:pt x="25588" y="84823"/>
                        <a:pt x="20310" y="84823"/>
                      </a:cubicBezTo>
                      <a:lnTo>
                        <a:pt x="9558" y="84823"/>
                      </a:lnTo>
                      <a:cubicBezTo>
                        <a:pt x="4279" y="84823"/>
                        <a:pt x="0" y="80544"/>
                        <a:pt x="0" y="75266"/>
                      </a:cubicBezTo>
                      <a:lnTo>
                        <a:pt x="0" y="9558"/>
                      </a:lnTo>
                      <a:cubicBezTo>
                        <a:pt x="0" y="4279"/>
                        <a:pt x="4279" y="0"/>
                        <a:pt x="9558" y="0"/>
                      </a:cubicBezTo>
                      <a:close/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703" name="Forma livre: Forma 702">
                  <a:extLst>
                    <a:ext uri="{FF2B5EF4-FFF2-40B4-BE49-F238E27FC236}">
                      <a16:creationId xmlns:a16="http://schemas.microsoft.com/office/drawing/2014/main" id="{2EDDB654-07C9-18DD-69A4-78658F31C1C1}"/>
                    </a:ext>
                  </a:extLst>
                </p:cNvPr>
                <p:cNvSpPr/>
                <p:nvPr/>
              </p:nvSpPr>
              <p:spPr>
                <a:xfrm>
                  <a:off x="6249793" y="1192476"/>
                  <a:ext cx="29867" cy="84823"/>
                </a:xfrm>
                <a:custGeom>
                  <a:avLst/>
                  <a:gdLst>
                    <a:gd name="connsiteX0" fmla="*/ 20310 w 29867"/>
                    <a:gd name="connsiteY0" fmla="*/ 0 h 84823"/>
                    <a:gd name="connsiteX1" fmla="*/ 29867 w 29867"/>
                    <a:gd name="connsiteY1" fmla="*/ 9558 h 84823"/>
                    <a:gd name="connsiteX2" fmla="*/ 29867 w 29867"/>
                    <a:gd name="connsiteY2" fmla="*/ 75266 h 84823"/>
                    <a:gd name="connsiteX3" fmla="*/ 20310 w 29867"/>
                    <a:gd name="connsiteY3" fmla="*/ 84823 h 84823"/>
                    <a:gd name="connsiteX4" fmla="*/ 9558 w 29867"/>
                    <a:gd name="connsiteY4" fmla="*/ 84823 h 84823"/>
                    <a:gd name="connsiteX5" fmla="*/ 0 w 29867"/>
                    <a:gd name="connsiteY5" fmla="*/ 75266 h 84823"/>
                    <a:gd name="connsiteX6" fmla="*/ 0 w 29867"/>
                    <a:gd name="connsiteY6" fmla="*/ 9558 h 84823"/>
                    <a:gd name="connsiteX7" fmla="*/ 9558 w 29867"/>
                    <a:gd name="connsiteY7" fmla="*/ 0 h 8482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29867" h="84823">
                      <a:moveTo>
                        <a:pt x="20310" y="0"/>
                      </a:moveTo>
                      <a:cubicBezTo>
                        <a:pt x="25588" y="0"/>
                        <a:pt x="29867" y="4279"/>
                        <a:pt x="29867" y="9558"/>
                      </a:cubicBezTo>
                      <a:lnTo>
                        <a:pt x="29867" y="75266"/>
                      </a:lnTo>
                      <a:cubicBezTo>
                        <a:pt x="29867" y="80544"/>
                        <a:pt x="25588" y="84823"/>
                        <a:pt x="20310" y="84823"/>
                      </a:cubicBezTo>
                      <a:lnTo>
                        <a:pt x="9558" y="84823"/>
                      </a:lnTo>
                      <a:cubicBezTo>
                        <a:pt x="4279" y="84823"/>
                        <a:pt x="0" y="80544"/>
                        <a:pt x="0" y="75266"/>
                      </a:cubicBezTo>
                      <a:lnTo>
                        <a:pt x="0" y="9558"/>
                      </a:lnTo>
                      <a:cubicBezTo>
                        <a:pt x="0" y="4279"/>
                        <a:pt x="4279" y="0"/>
                        <a:pt x="9558" y="0"/>
                      </a:cubicBezTo>
                      <a:close/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704" name="Gráfico 9">
                <a:extLst>
                  <a:ext uri="{FF2B5EF4-FFF2-40B4-BE49-F238E27FC236}">
                    <a16:creationId xmlns:a16="http://schemas.microsoft.com/office/drawing/2014/main" id="{BF909B39-244B-F119-4F1B-E42A0C1DFDDE}"/>
                  </a:ext>
                </a:extLst>
              </p:cNvPr>
              <p:cNvGrpSpPr/>
              <p:nvPr/>
            </p:nvGrpSpPr>
            <p:grpSpPr>
              <a:xfrm>
                <a:off x="6119763" y="1117390"/>
                <a:ext cx="289928" cy="29867"/>
                <a:chOff x="6119763" y="1117390"/>
                <a:chExt cx="289928" cy="29867"/>
              </a:xfrm>
              <a:noFill/>
            </p:grpSpPr>
            <p:sp>
              <p:nvSpPr>
                <p:cNvPr id="705" name="Forma livre: Forma 704">
                  <a:extLst>
                    <a:ext uri="{FF2B5EF4-FFF2-40B4-BE49-F238E27FC236}">
                      <a16:creationId xmlns:a16="http://schemas.microsoft.com/office/drawing/2014/main" id="{CF1DA305-F71D-92BB-2599-A3DE5F067A77}"/>
                    </a:ext>
                  </a:extLst>
                </p:cNvPr>
                <p:cNvSpPr/>
                <p:nvPr/>
              </p:nvSpPr>
              <p:spPr>
                <a:xfrm>
                  <a:off x="6324868" y="1117390"/>
                  <a:ext cx="84823" cy="29867"/>
                </a:xfrm>
                <a:custGeom>
                  <a:avLst/>
                  <a:gdLst>
                    <a:gd name="connsiteX0" fmla="*/ 75266 w 84823"/>
                    <a:gd name="connsiteY0" fmla="*/ 0 h 29867"/>
                    <a:gd name="connsiteX1" fmla="*/ 84823 w 84823"/>
                    <a:gd name="connsiteY1" fmla="*/ 9558 h 29867"/>
                    <a:gd name="connsiteX2" fmla="*/ 84823 w 84823"/>
                    <a:gd name="connsiteY2" fmla="*/ 20310 h 29867"/>
                    <a:gd name="connsiteX3" fmla="*/ 75266 w 84823"/>
                    <a:gd name="connsiteY3" fmla="*/ 29867 h 29867"/>
                    <a:gd name="connsiteX4" fmla="*/ 9558 w 84823"/>
                    <a:gd name="connsiteY4" fmla="*/ 29867 h 29867"/>
                    <a:gd name="connsiteX5" fmla="*/ 0 w 84823"/>
                    <a:gd name="connsiteY5" fmla="*/ 20310 h 29867"/>
                    <a:gd name="connsiteX6" fmla="*/ 0 w 84823"/>
                    <a:gd name="connsiteY6" fmla="*/ 9558 h 29867"/>
                    <a:gd name="connsiteX7" fmla="*/ 9558 w 84823"/>
                    <a:gd name="connsiteY7" fmla="*/ 0 h 2986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84823" h="29867">
                      <a:moveTo>
                        <a:pt x="75266" y="0"/>
                      </a:moveTo>
                      <a:cubicBezTo>
                        <a:pt x="80544" y="0"/>
                        <a:pt x="84823" y="4279"/>
                        <a:pt x="84823" y="9558"/>
                      </a:cubicBezTo>
                      <a:lnTo>
                        <a:pt x="84823" y="20310"/>
                      </a:lnTo>
                      <a:cubicBezTo>
                        <a:pt x="84823" y="25588"/>
                        <a:pt x="80544" y="29867"/>
                        <a:pt x="75266" y="29867"/>
                      </a:cubicBezTo>
                      <a:lnTo>
                        <a:pt x="9558" y="29867"/>
                      </a:lnTo>
                      <a:cubicBezTo>
                        <a:pt x="4279" y="29867"/>
                        <a:pt x="0" y="25588"/>
                        <a:pt x="0" y="20310"/>
                      </a:cubicBezTo>
                      <a:lnTo>
                        <a:pt x="0" y="9558"/>
                      </a:lnTo>
                      <a:cubicBezTo>
                        <a:pt x="0" y="4279"/>
                        <a:pt x="4279" y="0"/>
                        <a:pt x="9558" y="0"/>
                      </a:cubicBezTo>
                      <a:close/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706" name="Forma livre: Forma 705">
                  <a:extLst>
                    <a:ext uri="{FF2B5EF4-FFF2-40B4-BE49-F238E27FC236}">
                      <a16:creationId xmlns:a16="http://schemas.microsoft.com/office/drawing/2014/main" id="{8D8DA669-4F74-5970-BAE5-227C7256051E}"/>
                    </a:ext>
                  </a:extLst>
                </p:cNvPr>
                <p:cNvSpPr/>
                <p:nvPr/>
              </p:nvSpPr>
              <p:spPr>
                <a:xfrm>
                  <a:off x="6119763" y="1117390"/>
                  <a:ext cx="84823" cy="29867"/>
                </a:xfrm>
                <a:custGeom>
                  <a:avLst/>
                  <a:gdLst>
                    <a:gd name="connsiteX0" fmla="*/ 75266 w 84823"/>
                    <a:gd name="connsiteY0" fmla="*/ 0 h 29867"/>
                    <a:gd name="connsiteX1" fmla="*/ 84823 w 84823"/>
                    <a:gd name="connsiteY1" fmla="*/ 9558 h 29867"/>
                    <a:gd name="connsiteX2" fmla="*/ 84823 w 84823"/>
                    <a:gd name="connsiteY2" fmla="*/ 20310 h 29867"/>
                    <a:gd name="connsiteX3" fmla="*/ 75266 w 84823"/>
                    <a:gd name="connsiteY3" fmla="*/ 29867 h 29867"/>
                    <a:gd name="connsiteX4" fmla="*/ 9558 w 84823"/>
                    <a:gd name="connsiteY4" fmla="*/ 29867 h 29867"/>
                    <a:gd name="connsiteX5" fmla="*/ 0 w 84823"/>
                    <a:gd name="connsiteY5" fmla="*/ 20310 h 29867"/>
                    <a:gd name="connsiteX6" fmla="*/ 0 w 84823"/>
                    <a:gd name="connsiteY6" fmla="*/ 9558 h 29867"/>
                    <a:gd name="connsiteX7" fmla="*/ 9558 w 84823"/>
                    <a:gd name="connsiteY7" fmla="*/ 0 h 2986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84823" h="29867">
                      <a:moveTo>
                        <a:pt x="75266" y="0"/>
                      </a:moveTo>
                      <a:cubicBezTo>
                        <a:pt x="80544" y="0"/>
                        <a:pt x="84823" y="4279"/>
                        <a:pt x="84823" y="9558"/>
                      </a:cubicBezTo>
                      <a:lnTo>
                        <a:pt x="84823" y="20310"/>
                      </a:lnTo>
                      <a:cubicBezTo>
                        <a:pt x="84823" y="25588"/>
                        <a:pt x="80544" y="29867"/>
                        <a:pt x="75266" y="29867"/>
                      </a:cubicBezTo>
                      <a:lnTo>
                        <a:pt x="9558" y="29867"/>
                      </a:lnTo>
                      <a:cubicBezTo>
                        <a:pt x="4279" y="29867"/>
                        <a:pt x="0" y="25588"/>
                        <a:pt x="0" y="20310"/>
                      </a:cubicBezTo>
                      <a:lnTo>
                        <a:pt x="0" y="9558"/>
                      </a:lnTo>
                      <a:cubicBezTo>
                        <a:pt x="0" y="4279"/>
                        <a:pt x="4279" y="0"/>
                        <a:pt x="9558" y="0"/>
                      </a:cubicBezTo>
                      <a:close/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sp>
          <p:nvSpPr>
            <p:cNvPr id="707" name="Forma livre: Forma 706">
              <a:extLst>
                <a:ext uri="{FF2B5EF4-FFF2-40B4-BE49-F238E27FC236}">
                  <a16:creationId xmlns:a16="http://schemas.microsoft.com/office/drawing/2014/main" id="{601D0064-3DA0-A0FA-39AC-EEF1CA3232A7}"/>
                </a:ext>
              </a:extLst>
            </p:cNvPr>
            <p:cNvSpPr/>
            <p:nvPr/>
          </p:nvSpPr>
          <p:spPr>
            <a:xfrm>
              <a:off x="6125342" y="992951"/>
              <a:ext cx="66902" cy="66902"/>
            </a:xfrm>
            <a:custGeom>
              <a:avLst/>
              <a:gdLst>
                <a:gd name="connsiteX0" fmla="*/ 0 w 66902"/>
                <a:gd name="connsiteY0" fmla="*/ 66903 h 66902"/>
                <a:gd name="connsiteX1" fmla="*/ 66903 w 66902"/>
                <a:gd name="connsiteY1" fmla="*/ 0 h 669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6902" h="66902">
                  <a:moveTo>
                    <a:pt x="0" y="66903"/>
                  </a:moveTo>
                  <a:cubicBezTo>
                    <a:pt x="0" y="30106"/>
                    <a:pt x="30106" y="0"/>
                    <a:pt x="66903" y="0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708" name="Forma livre: Forma 707">
              <a:extLst>
                <a:ext uri="{FF2B5EF4-FFF2-40B4-BE49-F238E27FC236}">
                  <a16:creationId xmlns:a16="http://schemas.microsoft.com/office/drawing/2014/main" id="{BDE4C05D-A405-CC2F-6B66-F95CC396EF37}"/>
                </a:ext>
              </a:extLst>
            </p:cNvPr>
            <p:cNvSpPr/>
            <p:nvPr/>
          </p:nvSpPr>
          <p:spPr>
            <a:xfrm>
              <a:off x="6125342" y="1204806"/>
              <a:ext cx="66902" cy="66902"/>
            </a:xfrm>
            <a:custGeom>
              <a:avLst/>
              <a:gdLst>
                <a:gd name="connsiteX0" fmla="*/ 66903 w 66902"/>
                <a:gd name="connsiteY0" fmla="*/ 66903 h 66902"/>
                <a:gd name="connsiteX1" fmla="*/ 0 w 66902"/>
                <a:gd name="connsiteY1" fmla="*/ 0 h 669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6902" h="66902">
                  <a:moveTo>
                    <a:pt x="66903" y="66903"/>
                  </a:moveTo>
                  <a:cubicBezTo>
                    <a:pt x="30106" y="66903"/>
                    <a:pt x="0" y="36797"/>
                    <a:pt x="0" y="0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709" name="Forma livre: Forma 708">
              <a:extLst>
                <a:ext uri="{FF2B5EF4-FFF2-40B4-BE49-F238E27FC236}">
                  <a16:creationId xmlns:a16="http://schemas.microsoft.com/office/drawing/2014/main" id="{AFD7B4F6-6BC4-427C-1042-6B985C59DC59}"/>
                </a:ext>
              </a:extLst>
            </p:cNvPr>
            <p:cNvSpPr/>
            <p:nvPr/>
          </p:nvSpPr>
          <p:spPr>
            <a:xfrm>
              <a:off x="6337209" y="1204806"/>
              <a:ext cx="66902" cy="66902"/>
            </a:xfrm>
            <a:custGeom>
              <a:avLst/>
              <a:gdLst>
                <a:gd name="connsiteX0" fmla="*/ 66903 w 66902"/>
                <a:gd name="connsiteY0" fmla="*/ 0 h 66902"/>
                <a:gd name="connsiteX1" fmla="*/ 0 w 66902"/>
                <a:gd name="connsiteY1" fmla="*/ 66903 h 669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6902" h="66902">
                  <a:moveTo>
                    <a:pt x="66903" y="0"/>
                  </a:moveTo>
                  <a:cubicBezTo>
                    <a:pt x="66903" y="36797"/>
                    <a:pt x="36797" y="66903"/>
                    <a:pt x="0" y="66903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710" name="Forma livre: Forma 709">
              <a:extLst>
                <a:ext uri="{FF2B5EF4-FFF2-40B4-BE49-F238E27FC236}">
                  <a16:creationId xmlns:a16="http://schemas.microsoft.com/office/drawing/2014/main" id="{BC3CEA5C-A39D-E640-0216-7070B302044E}"/>
                </a:ext>
              </a:extLst>
            </p:cNvPr>
            <p:cNvSpPr/>
            <p:nvPr/>
          </p:nvSpPr>
          <p:spPr>
            <a:xfrm>
              <a:off x="6337209" y="992951"/>
              <a:ext cx="66902" cy="66902"/>
            </a:xfrm>
            <a:custGeom>
              <a:avLst/>
              <a:gdLst>
                <a:gd name="connsiteX0" fmla="*/ 0 w 66902"/>
                <a:gd name="connsiteY0" fmla="*/ 0 h 66902"/>
                <a:gd name="connsiteX1" fmla="*/ 66903 w 66902"/>
                <a:gd name="connsiteY1" fmla="*/ 66903 h 669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6902" h="66902">
                  <a:moveTo>
                    <a:pt x="0" y="0"/>
                  </a:moveTo>
                  <a:cubicBezTo>
                    <a:pt x="36797" y="0"/>
                    <a:pt x="66903" y="30106"/>
                    <a:pt x="66903" y="66903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711" name="Gráfico 9">
            <a:extLst>
              <a:ext uri="{FF2B5EF4-FFF2-40B4-BE49-F238E27FC236}">
                <a16:creationId xmlns:a16="http://schemas.microsoft.com/office/drawing/2014/main" id="{274543E4-A676-F2B2-963A-61DBBA560836}"/>
              </a:ext>
            </a:extLst>
          </p:cNvPr>
          <p:cNvGrpSpPr/>
          <p:nvPr/>
        </p:nvGrpSpPr>
        <p:grpSpPr>
          <a:xfrm>
            <a:off x="6090732" y="3106493"/>
            <a:ext cx="347990" cy="298577"/>
            <a:chOff x="6090732" y="3106493"/>
            <a:chExt cx="347990" cy="298577"/>
          </a:xfrm>
          <a:noFill/>
        </p:grpSpPr>
        <p:grpSp>
          <p:nvGrpSpPr>
            <p:cNvPr id="712" name="Gráfico 9">
              <a:extLst>
                <a:ext uri="{FF2B5EF4-FFF2-40B4-BE49-F238E27FC236}">
                  <a16:creationId xmlns:a16="http://schemas.microsoft.com/office/drawing/2014/main" id="{C4EAC65F-8460-E850-2901-75DCAE78324E}"/>
                </a:ext>
              </a:extLst>
            </p:cNvPr>
            <p:cNvGrpSpPr/>
            <p:nvPr/>
          </p:nvGrpSpPr>
          <p:grpSpPr>
            <a:xfrm>
              <a:off x="6202806" y="3208735"/>
              <a:ext cx="137186" cy="97092"/>
              <a:chOff x="6202806" y="3208735"/>
              <a:chExt cx="137186" cy="97092"/>
            </a:xfrm>
            <a:noFill/>
          </p:grpSpPr>
          <p:sp>
            <p:nvSpPr>
              <p:cNvPr id="713" name="Forma livre: Forma 712">
                <a:extLst>
                  <a:ext uri="{FF2B5EF4-FFF2-40B4-BE49-F238E27FC236}">
                    <a16:creationId xmlns:a16="http://schemas.microsoft.com/office/drawing/2014/main" id="{AA08C418-47D8-C234-2C7B-9534F22AE4AA}"/>
                  </a:ext>
                </a:extLst>
              </p:cNvPr>
              <p:cNvSpPr/>
              <p:nvPr/>
            </p:nvSpPr>
            <p:spPr>
              <a:xfrm>
                <a:off x="6270951" y="3208735"/>
                <a:ext cx="69041" cy="97092"/>
              </a:xfrm>
              <a:custGeom>
                <a:avLst/>
                <a:gdLst>
                  <a:gd name="connsiteX0" fmla="*/ 42603 w 69041"/>
                  <a:gd name="connsiteY0" fmla="*/ 97093 h 97092"/>
                  <a:gd name="connsiteX1" fmla="*/ 42495 w 69041"/>
                  <a:gd name="connsiteY1" fmla="*/ 0 h 97092"/>
                  <a:gd name="connsiteX2" fmla="*/ 0 w 69041"/>
                  <a:gd name="connsiteY2" fmla="*/ 68623 h 97092"/>
                  <a:gd name="connsiteX3" fmla="*/ 69041 w 69041"/>
                  <a:gd name="connsiteY3" fmla="*/ 68551 h 970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9041" h="97092">
                    <a:moveTo>
                      <a:pt x="42603" y="97093"/>
                    </a:moveTo>
                    <a:lnTo>
                      <a:pt x="42495" y="0"/>
                    </a:lnTo>
                    <a:lnTo>
                      <a:pt x="0" y="68623"/>
                    </a:lnTo>
                    <a:lnTo>
                      <a:pt x="69041" y="68551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14" name="Forma livre: Forma 713">
                <a:extLst>
                  <a:ext uri="{FF2B5EF4-FFF2-40B4-BE49-F238E27FC236}">
                    <a16:creationId xmlns:a16="http://schemas.microsoft.com/office/drawing/2014/main" id="{AF088B86-143C-6D23-91E6-1C8413270BF6}"/>
                  </a:ext>
                </a:extLst>
              </p:cNvPr>
              <p:cNvSpPr/>
              <p:nvPr/>
            </p:nvSpPr>
            <p:spPr>
              <a:xfrm>
                <a:off x="6202806" y="3208998"/>
                <a:ext cx="53868" cy="91859"/>
              </a:xfrm>
              <a:custGeom>
                <a:avLst/>
                <a:gdLst>
                  <a:gd name="connsiteX0" fmla="*/ 0 w 53868"/>
                  <a:gd name="connsiteY0" fmla="*/ 28649 h 91859"/>
                  <a:gd name="connsiteX1" fmla="*/ 0 w 53868"/>
                  <a:gd name="connsiteY1" fmla="*/ 23392 h 91859"/>
                  <a:gd name="connsiteX2" fmla="*/ 23332 w 53868"/>
                  <a:gd name="connsiteY2" fmla="*/ 0 h 91859"/>
                  <a:gd name="connsiteX3" fmla="*/ 46736 w 53868"/>
                  <a:gd name="connsiteY3" fmla="*/ 23344 h 91859"/>
                  <a:gd name="connsiteX4" fmla="*/ 34335 w 53868"/>
                  <a:gd name="connsiteY4" fmla="*/ 46844 h 91859"/>
                  <a:gd name="connsiteX5" fmla="*/ 944 w 53868"/>
                  <a:gd name="connsiteY5" fmla="*/ 91860 h 91859"/>
                  <a:gd name="connsiteX6" fmla="*/ 53869 w 53868"/>
                  <a:gd name="connsiteY6" fmla="*/ 91800 h 918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53868" h="91859">
                    <a:moveTo>
                      <a:pt x="0" y="28649"/>
                    </a:moveTo>
                    <a:lnTo>
                      <a:pt x="0" y="23392"/>
                    </a:lnTo>
                    <a:cubicBezTo>
                      <a:pt x="-12" y="10489"/>
                      <a:pt x="10442" y="12"/>
                      <a:pt x="23332" y="0"/>
                    </a:cubicBezTo>
                    <a:cubicBezTo>
                      <a:pt x="36247" y="-12"/>
                      <a:pt x="46724" y="10442"/>
                      <a:pt x="46736" y="23344"/>
                    </a:cubicBezTo>
                    <a:cubicBezTo>
                      <a:pt x="46736" y="32747"/>
                      <a:pt x="41169" y="41026"/>
                      <a:pt x="34335" y="46844"/>
                    </a:cubicBezTo>
                    <a:cubicBezTo>
                      <a:pt x="25160" y="54657"/>
                      <a:pt x="3309" y="72518"/>
                      <a:pt x="944" y="91860"/>
                    </a:cubicBezTo>
                    <a:lnTo>
                      <a:pt x="53869" y="9180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715" name="Forma livre: Forma 714">
              <a:extLst>
                <a:ext uri="{FF2B5EF4-FFF2-40B4-BE49-F238E27FC236}">
                  <a16:creationId xmlns:a16="http://schemas.microsoft.com/office/drawing/2014/main" id="{6AABE9E9-49FF-3836-86B1-A2BA63050ECD}"/>
                </a:ext>
              </a:extLst>
            </p:cNvPr>
            <p:cNvSpPr/>
            <p:nvPr/>
          </p:nvSpPr>
          <p:spPr>
            <a:xfrm>
              <a:off x="6166571" y="3191030"/>
              <a:ext cx="272151" cy="214041"/>
            </a:xfrm>
            <a:custGeom>
              <a:avLst/>
              <a:gdLst>
                <a:gd name="connsiteX0" fmla="*/ 98502 w 272151"/>
                <a:gd name="connsiteY0" fmla="*/ 214041 h 214041"/>
                <a:gd name="connsiteX1" fmla="*/ 247815 w 272151"/>
                <a:gd name="connsiteY1" fmla="*/ 64752 h 214041"/>
                <a:gd name="connsiteX2" fmla="*/ 247815 w 272151"/>
                <a:gd name="connsiteY2" fmla="*/ 59197 h 214041"/>
                <a:gd name="connsiteX3" fmla="*/ 272151 w 272151"/>
                <a:gd name="connsiteY3" fmla="*/ 59197 h 214041"/>
                <a:gd name="connsiteX4" fmla="*/ 232547 w 272151"/>
                <a:gd name="connsiteY4" fmla="*/ 0 h 214041"/>
                <a:gd name="connsiteX5" fmla="*/ 192907 w 272151"/>
                <a:gd name="connsiteY5" fmla="*/ 59197 h 214041"/>
                <a:gd name="connsiteX6" fmla="*/ 218163 w 272151"/>
                <a:gd name="connsiteY6" fmla="*/ 59197 h 214041"/>
                <a:gd name="connsiteX7" fmla="*/ 218163 w 272151"/>
                <a:gd name="connsiteY7" fmla="*/ 64358 h 214041"/>
                <a:gd name="connsiteX8" fmla="*/ 98252 w 272151"/>
                <a:gd name="connsiteY8" fmla="*/ 184389 h 214041"/>
                <a:gd name="connsiteX9" fmla="*/ 0 w 272151"/>
                <a:gd name="connsiteY9" fmla="*/ 133208 h 2140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72151" h="214041">
                  <a:moveTo>
                    <a:pt x="98502" y="214041"/>
                  </a:moveTo>
                  <a:cubicBezTo>
                    <a:pt x="180948" y="214041"/>
                    <a:pt x="247815" y="147198"/>
                    <a:pt x="247815" y="64752"/>
                  </a:cubicBezTo>
                  <a:lnTo>
                    <a:pt x="247815" y="59197"/>
                  </a:lnTo>
                  <a:lnTo>
                    <a:pt x="272151" y="59197"/>
                  </a:lnTo>
                  <a:lnTo>
                    <a:pt x="232547" y="0"/>
                  </a:lnTo>
                  <a:lnTo>
                    <a:pt x="192907" y="59197"/>
                  </a:lnTo>
                  <a:lnTo>
                    <a:pt x="218163" y="59197"/>
                  </a:lnTo>
                  <a:lnTo>
                    <a:pt x="218163" y="64358"/>
                  </a:lnTo>
                  <a:cubicBezTo>
                    <a:pt x="218163" y="130544"/>
                    <a:pt x="164366" y="184389"/>
                    <a:pt x="98252" y="184389"/>
                  </a:cubicBezTo>
                  <a:cubicBezTo>
                    <a:pt x="59173" y="184389"/>
                    <a:pt x="22436" y="165262"/>
                    <a:pt x="0" y="133208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716" name="Forma livre: Forma 715">
              <a:extLst>
                <a:ext uri="{FF2B5EF4-FFF2-40B4-BE49-F238E27FC236}">
                  <a16:creationId xmlns:a16="http://schemas.microsoft.com/office/drawing/2014/main" id="{5AF7C830-27BB-0CD6-803F-9FDC2D2C3A2F}"/>
                </a:ext>
              </a:extLst>
            </p:cNvPr>
            <p:cNvSpPr/>
            <p:nvPr/>
          </p:nvSpPr>
          <p:spPr>
            <a:xfrm>
              <a:off x="6090732" y="3106493"/>
              <a:ext cx="272139" cy="214256"/>
            </a:xfrm>
            <a:custGeom>
              <a:avLst/>
              <a:gdLst>
                <a:gd name="connsiteX0" fmla="*/ 173601 w 272139"/>
                <a:gd name="connsiteY0" fmla="*/ 0 h 214256"/>
                <a:gd name="connsiteX1" fmla="*/ 24312 w 272139"/>
                <a:gd name="connsiteY1" fmla="*/ 149289 h 214256"/>
                <a:gd name="connsiteX2" fmla="*/ 24312 w 272139"/>
                <a:gd name="connsiteY2" fmla="*/ 155059 h 214256"/>
                <a:gd name="connsiteX3" fmla="*/ 0 w 272139"/>
                <a:gd name="connsiteY3" fmla="*/ 155059 h 214256"/>
                <a:gd name="connsiteX4" fmla="*/ 39592 w 272139"/>
                <a:gd name="connsiteY4" fmla="*/ 214256 h 214256"/>
                <a:gd name="connsiteX5" fmla="*/ 79232 w 272139"/>
                <a:gd name="connsiteY5" fmla="*/ 155059 h 214256"/>
                <a:gd name="connsiteX6" fmla="*/ 53976 w 272139"/>
                <a:gd name="connsiteY6" fmla="*/ 155059 h 214256"/>
                <a:gd name="connsiteX7" fmla="*/ 53976 w 272139"/>
                <a:gd name="connsiteY7" fmla="*/ 149910 h 214256"/>
                <a:gd name="connsiteX8" fmla="*/ 173888 w 272139"/>
                <a:gd name="connsiteY8" fmla="*/ 29879 h 214256"/>
                <a:gd name="connsiteX9" fmla="*/ 272139 w 272139"/>
                <a:gd name="connsiteY9" fmla="*/ 81060 h 2142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72139" h="214256">
                  <a:moveTo>
                    <a:pt x="173601" y="0"/>
                  </a:moveTo>
                  <a:cubicBezTo>
                    <a:pt x="91143" y="0"/>
                    <a:pt x="24312" y="66843"/>
                    <a:pt x="24312" y="149289"/>
                  </a:cubicBezTo>
                  <a:lnTo>
                    <a:pt x="24312" y="155059"/>
                  </a:lnTo>
                  <a:lnTo>
                    <a:pt x="0" y="155059"/>
                  </a:lnTo>
                  <a:lnTo>
                    <a:pt x="39592" y="214256"/>
                  </a:lnTo>
                  <a:lnTo>
                    <a:pt x="79232" y="155059"/>
                  </a:lnTo>
                  <a:lnTo>
                    <a:pt x="53976" y="155059"/>
                  </a:lnTo>
                  <a:lnTo>
                    <a:pt x="53976" y="149910"/>
                  </a:lnTo>
                  <a:cubicBezTo>
                    <a:pt x="53976" y="83724"/>
                    <a:pt x="107761" y="29879"/>
                    <a:pt x="173888" y="29879"/>
                  </a:cubicBezTo>
                  <a:cubicBezTo>
                    <a:pt x="212954" y="29879"/>
                    <a:pt x="249691" y="49018"/>
                    <a:pt x="272139" y="81060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717" name="Gráfico 9">
            <a:extLst>
              <a:ext uri="{FF2B5EF4-FFF2-40B4-BE49-F238E27FC236}">
                <a16:creationId xmlns:a16="http://schemas.microsoft.com/office/drawing/2014/main" id="{7789EA46-62EC-939A-4369-C115564AF307}"/>
              </a:ext>
            </a:extLst>
          </p:cNvPr>
          <p:cNvGrpSpPr/>
          <p:nvPr/>
        </p:nvGrpSpPr>
        <p:grpSpPr>
          <a:xfrm>
            <a:off x="6133645" y="2098866"/>
            <a:ext cx="262175" cy="190398"/>
            <a:chOff x="6133645" y="2098866"/>
            <a:chExt cx="262175" cy="190398"/>
          </a:xfrm>
          <a:noFill/>
        </p:grpSpPr>
        <p:grpSp>
          <p:nvGrpSpPr>
            <p:cNvPr id="718" name="Gráfico 9">
              <a:extLst>
                <a:ext uri="{FF2B5EF4-FFF2-40B4-BE49-F238E27FC236}">
                  <a16:creationId xmlns:a16="http://schemas.microsoft.com/office/drawing/2014/main" id="{C2E72F8D-D55E-80C5-F45B-2BE8C5284E4C}"/>
                </a:ext>
              </a:extLst>
            </p:cNvPr>
            <p:cNvGrpSpPr/>
            <p:nvPr/>
          </p:nvGrpSpPr>
          <p:grpSpPr>
            <a:xfrm>
              <a:off x="6133645" y="2098866"/>
              <a:ext cx="262175" cy="190398"/>
              <a:chOff x="6133645" y="2098866"/>
              <a:chExt cx="262175" cy="190398"/>
            </a:xfrm>
            <a:noFill/>
          </p:grpSpPr>
          <p:sp>
            <p:nvSpPr>
              <p:cNvPr id="719" name="Forma livre: Forma 718">
                <a:extLst>
                  <a:ext uri="{FF2B5EF4-FFF2-40B4-BE49-F238E27FC236}">
                    <a16:creationId xmlns:a16="http://schemas.microsoft.com/office/drawing/2014/main" id="{95B45449-8B70-13B0-2E0C-1BE1684C287A}"/>
                  </a:ext>
                </a:extLst>
              </p:cNvPr>
              <p:cNvSpPr/>
              <p:nvPr/>
            </p:nvSpPr>
            <p:spPr>
              <a:xfrm>
                <a:off x="6133645" y="2098866"/>
                <a:ext cx="262175" cy="190398"/>
              </a:xfrm>
              <a:custGeom>
                <a:avLst/>
                <a:gdLst>
                  <a:gd name="connsiteX0" fmla="*/ 247839 w 262175"/>
                  <a:gd name="connsiteY0" fmla="*/ 0 h 190398"/>
                  <a:gd name="connsiteX1" fmla="*/ 262175 w 262175"/>
                  <a:gd name="connsiteY1" fmla="*/ 14336 h 190398"/>
                  <a:gd name="connsiteX2" fmla="*/ 262175 w 262175"/>
                  <a:gd name="connsiteY2" fmla="*/ 176062 h 190398"/>
                  <a:gd name="connsiteX3" fmla="*/ 247839 w 262175"/>
                  <a:gd name="connsiteY3" fmla="*/ 190398 h 190398"/>
                  <a:gd name="connsiteX4" fmla="*/ 14336 w 262175"/>
                  <a:gd name="connsiteY4" fmla="*/ 190398 h 190398"/>
                  <a:gd name="connsiteX5" fmla="*/ 0 w 262175"/>
                  <a:gd name="connsiteY5" fmla="*/ 176062 h 190398"/>
                  <a:gd name="connsiteX6" fmla="*/ 0 w 262175"/>
                  <a:gd name="connsiteY6" fmla="*/ 14336 h 190398"/>
                  <a:gd name="connsiteX7" fmla="*/ 14336 w 262175"/>
                  <a:gd name="connsiteY7" fmla="*/ 0 h 1903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62175" h="190398">
                    <a:moveTo>
                      <a:pt x="247839" y="0"/>
                    </a:moveTo>
                    <a:cubicBezTo>
                      <a:pt x="255757" y="0"/>
                      <a:pt x="262175" y="6419"/>
                      <a:pt x="262175" y="14336"/>
                    </a:cubicBezTo>
                    <a:lnTo>
                      <a:pt x="262175" y="176062"/>
                    </a:lnTo>
                    <a:cubicBezTo>
                      <a:pt x="262175" y="183980"/>
                      <a:pt x="255757" y="190398"/>
                      <a:pt x="247839" y="190398"/>
                    </a:cubicBezTo>
                    <a:lnTo>
                      <a:pt x="14336" y="190398"/>
                    </a:lnTo>
                    <a:cubicBezTo>
                      <a:pt x="6419" y="190398"/>
                      <a:pt x="0" y="183980"/>
                      <a:pt x="0" y="176062"/>
                    </a:cubicBezTo>
                    <a:lnTo>
                      <a:pt x="0" y="14336"/>
                    </a:lnTo>
                    <a:cubicBezTo>
                      <a:pt x="0" y="6419"/>
                      <a:pt x="6419" y="0"/>
                      <a:pt x="14336" y="0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720" name="Gráfico 9">
                <a:extLst>
                  <a:ext uri="{FF2B5EF4-FFF2-40B4-BE49-F238E27FC236}">
                    <a16:creationId xmlns:a16="http://schemas.microsoft.com/office/drawing/2014/main" id="{8FA6BC3C-187B-4C42-F4EB-55FBB0CC4284}"/>
                  </a:ext>
                </a:extLst>
              </p:cNvPr>
              <p:cNvGrpSpPr/>
              <p:nvPr/>
            </p:nvGrpSpPr>
            <p:grpSpPr>
              <a:xfrm>
                <a:off x="6141936" y="2211274"/>
                <a:ext cx="245592" cy="70881"/>
                <a:chOff x="6141936" y="2211274"/>
                <a:chExt cx="245592" cy="70881"/>
              </a:xfrm>
            </p:grpSpPr>
            <p:sp>
              <p:nvSpPr>
                <p:cNvPr id="721" name="Forma livre: Forma 720">
                  <a:extLst>
                    <a:ext uri="{FF2B5EF4-FFF2-40B4-BE49-F238E27FC236}">
                      <a16:creationId xmlns:a16="http://schemas.microsoft.com/office/drawing/2014/main" id="{DED7A5FE-90D4-B3D3-9F14-7B6699D1768C}"/>
                    </a:ext>
                  </a:extLst>
                </p:cNvPr>
                <p:cNvSpPr/>
                <p:nvPr/>
              </p:nvSpPr>
              <p:spPr>
                <a:xfrm>
                  <a:off x="6141936" y="2211274"/>
                  <a:ext cx="59220" cy="70881"/>
                </a:xfrm>
                <a:custGeom>
                  <a:avLst/>
                  <a:gdLst>
                    <a:gd name="connsiteX0" fmla="*/ 59221 w 59220"/>
                    <a:gd name="connsiteY0" fmla="*/ 0 h 70881"/>
                    <a:gd name="connsiteX1" fmla="*/ 0 w 59220"/>
                    <a:gd name="connsiteY1" fmla="*/ 70881 h 7088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59220" h="70881">
                      <a:moveTo>
                        <a:pt x="59221" y="0"/>
                      </a:moveTo>
                      <a:lnTo>
                        <a:pt x="0" y="70881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722" name="Forma livre: Forma 721">
                  <a:extLst>
                    <a:ext uri="{FF2B5EF4-FFF2-40B4-BE49-F238E27FC236}">
                      <a16:creationId xmlns:a16="http://schemas.microsoft.com/office/drawing/2014/main" id="{F791C09B-561B-6166-4206-75608C4E280F}"/>
                    </a:ext>
                  </a:extLst>
                </p:cNvPr>
                <p:cNvSpPr/>
                <p:nvPr/>
              </p:nvSpPr>
              <p:spPr>
                <a:xfrm>
                  <a:off x="6328309" y="2211274"/>
                  <a:ext cx="59220" cy="70881"/>
                </a:xfrm>
                <a:custGeom>
                  <a:avLst/>
                  <a:gdLst>
                    <a:gd name="connsiteX0" fmla="*/ 0 w 59220"/>
                    <a:gd name="connsiteY0" fmla="*/ 0 h 70881"/>
                    <a:gd name="connsiteX1" fmla="*/ 59221 w 59220"/>
                    <a:gd name="connsiteY1" fmla="*/ 70881 h 7088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59220" h="70881">
                      <a:moveTo>
                        <a:pt x="0" y="0"/>
                      </a:moveTo>
                      <a:lnTo>
                        <a:pt x="59221" y="70881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grpSp>
          <p:nvGrpSpPr>
            <p:cNvPr id="723" name="Gráfico 9">
              <a:extLst>
                <a:ext uri="{FF2B5EF4-FFF2-40B4-BE49-F238E27FC236}">
                  <a16:creationId xmlns:a16="http://schemas.microsoft.com/office/drawing/2014/main" id="{95C489B5-43EC-08AF-5506-6CECDC1EDA8F}"/>
                </a:ext>
              </a:extLst>
            </p:cNvPr>
            <p:cNvGrpSpPr/>
            <p:nvPr/>
          </p:nvGrpSpPr>
          <p:grpSpPr>
            <a:xfrm>
              <a:off x="6168506" y="2126977"/>
              <a:ext cx="191628" cy="74572"/>
              <a:chOff x="6168506" y="2126977"/>
              <a:chExt cx="191628" cy="74572"/>
            </a:xfrm>
            <a:noFill/>
          </p:grpSpPr>
          <p:sp>
            <p:nvSpPr>
              <p:cNvPr id="724" name="Forma livre: Forma 723">
                <a:extLst>
                  <a:ext uri="{FF2B5EF4-FFF2-40B4-BE49-F238E27FC236}">
                    <a16:creationId xmlns:a16="http://schemas.microsoft.com/office/drawing/2014/main" id="{DE53F0FD-C052-E805-DD11-8A0D366760E9}"/>
                  </a:ext>
                </a:extLst>
              </p:cNvPr>
              <p:cNvSpPr/>
              <p:nvPr/>
            </p:nvSpPr>
            <p:spPr>
              <a:xfrm>
                <a:off x="6168506" y="2126977"/>
                <a:ext cx="191628" cy="74572"/>
              </a:xfrm>
              <a:custGeom>
                <a:avLst/>
                <a:gdLst>
                  <a:gd name="connsiteX0" fmla="*/ 0 w 191628"/>
                  <a:gd name="connsiteY0" fmla="*/ 0 h 74572"/>
                  <a:gd name="connsiteX1" fmla="*/ 96603 w 191628"/>
                  <a:gd name="connsiteY1" fmla="*/ 74573 h 74572"/>
                  <a:gd name="connsiteX2" fmla="*/ 191629 w 191628"/>
                  <a:gd name="connsiteY2" fmla="*/ 0 h 745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91628" h="74572">
                    <a:moveTo>
                      <a:pt x="0" y="0"/>
                    </a:moveTo>
                    <a:lnTo>
                      <a:pt x="96603" y="74573"/>
                    </a:lnTo>
                    <a:lnTo>
                      <a:pt x="191629" y="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25" name="Forma livre: Forma 724">
                <a:extLst>
                  <a:ext uri="{FF2B5EF4-FFF2-40B4-BE49-F238E27FC236}">
                    <a16:creationId xmlns:a16="http://schemas.microsoft.com/office/drawing/2014/main" id="{BB4792FB-9338-C52E-A2D9-C89AD19C21D0}"/>
                  </a:ext>
                </a:extLst>
              </p:cNvPr>
              <p:cNvSpPr/>
              <p:nvPr/>
            </p:nvSpPr>
            <p:spPr>
              <a:xfrm>
                <a:off x="6168506" y="2126977"/>
                <a:ext cx="191628" cy="74572"/>
              </a:xfrm>
              <a:custGeom>
                <a:avLst/>
                <a:gdLst>
                  <a:gd name="connsiteX0" fmla="*/ 191629 w 191628"/>
                  <a:gd name="connsiteY0" fmla="*/ 0 h 74572"/>
                  <a:gd name="connsiteX1" fmla="*/ 96603 w 191628"/>
                  <a:gd name="connsiteY1" fmla="*/ 74573 h 74572"/>
                  <a:gd name="connsiteX2" fmla="*/ 0 w 191628"/>
                  <a:gd name="connsiteY2" fmla="*/ 0 h 745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91628" h="74572">
                    <a:moveTo>
                      <a:pt x="191629" y="0"/>
                    </a:moveTo>
                    <a:lnTo>
                      <a:pt x="96603" y="74573"/>
                    </a:lnTo>
                    <a:lnTo>
                      <a:pt x="0" y="0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726" name="Gráfico 9">
            <a:extLst>
              <a:ext uri="{FF2B5EF4-FFF2-40B4-BE49-F238E27FC236}">
                <a16:creationId xmlns:a16="http://schemas.microsoft.com/office/drawing/2014/main" id="{6D3F8376-CD57-C25F-E6CF-0F1977D468C1}"/>
              </a:ext>
            </a:extLst>
          </p:cNvPr>
          <p:cNvGrpSpPr/>
          <p:nvPr/>
        </p:nvGrpSpPr>
        <p:grpSpPr>
          <a:xfrm>
            <a:off x="6105176" y="1504004"/>
            <a:ext cx="319102" cy="318385"/>
            <a:chOff x="6105176" y="1504004"/>
            <a:chExt cx="319102" cy="318385"/>
          </a:xfrm>
          <a:noFill/>
        </p:grpSpPr>
        <p:sp>
          <p:nvSpPr>
            <p:cNvPr id="727" name="Forma livre: Forma 726">
              <a:extLst>
                <a:ext uri="{FF2B5EF4-FFF2-40B4-BE49-F238E27FC236}">
                  <a16:creationId xmlns:a16="http://schemas.microsoft.com/office/drawing/2014/main" id="{A5E69190-F7B2-4BDF-326E-16C2407AD11E}"/>
                </a:ext>
              </a:extLst>
            </p:cNvPr>
            <p:cNvSpPr/>
            <p:nvPr/>
          </p:nvSpPr>
          <p:spPr>
            <a:xfrm>
              <a:off x="6220858" y="1579019"/>
              <a:ext cx="50631" cy="84596"/>
            </a:xfrm>
            <a:custGeom>
              <a:avLst/>
              <a:gdLst>
                <a:gd name="connsiteX0" fmla="*/ 0 w 50631"/>
                <a:gd name="connsiteY0" fmla="*/ 0 h 84596"/>
                <a:gd name="connsiteX1" fmla="*/ 50631 w 50631"/>
                <a:gd name="connsiteY1" fmla="*/ 0 h 84596"/>
                <a:gd name="connsiteX2" fmla="*/ 15388 w 50631"/>
                <a:gd name="connsiteY2" fmla="*/ 84596 h 845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50631" h="84596">
                  <a:moveTo>
                    <a:pt x="0" y="0"/>
                  </a:moveTo>
                  <a:lnTo>
                    <a:pt x="50631" y="0"/>
                  </a:lnTo>
                  <a:lnTo>
                    <a:pt x="15388" y="84596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728" name="Forma livre: Forma 727">
              <a:extLst>
                <a:ext uri="{FF2B5EF4-FFF2-40B4-BE49-F238E27FC236}">
                  <a16:creationId xmlns:a16="http://schemas.microsoft.com/office/drawing/2014/main" id="{388AC632-E83F-3609-C303-FA52D7074CBC}"/>
                </a:ext>
              </a:extLst>
            </p:cNvPr>
            <p:cNvSpPr/>
            <p:nvPr/>
          </p:nvSpPr>
          <p:spPr>
            <a:xfrm>
              <a:off x="6256412" y="1562759"/>
              <a:ext cx="50619" cy="126888"/>
            </a:xfrm>
            <a:custGeom>
              <a:avLst/>
              <a:gdLst>
                <a:gd name="connsiteX0" fmla="*/ 50619 w 50619"/>
                <a:gd name="connsiteY0" fmla="*/ 0 h 126888"/>
                <a:gd name="connsiteX1" fmla="*/ 0 w 50619"/>
                <a:gd name="connsiteY1" fmla="*/ 126888 h 1268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0619" h="126888">
                  <a:moveTo>
                    <a:pt x="50619" y="0"/>
                  </a:moveTo>
                  <a:lnTo>
                    <a:pt x="0" y="126888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729" name="Gráfico 9">
              <a:extLst>
                <a:ext uri="{FF2B5EF4-FFF2-40B4-BE49-F238E27FC236}">
                  <a16:creationId xmlns:a16="http://schemas.microsoft.com/office/drawing/2014/main" id="{56C76C43-525C-DA91-D787-214D72961523}"/>
                </a:ext>
              </a:extLst>
            </p:cNvPr>
            <p:cNvGrpSpPr/>
            <p:nvPr/>
          </p:nvGrpSpPr>
          <p:grpSpPr>
            <a:xfrm>
              <a:off x="6309134" y="1610571"/>
              <a:ext cx="79303" cy="53044"/>
              <a:chOff x="6309134" y="1610571"/>
              <a:chExt cx="79303" cy="53044"/>
            </a:xfrm>
            <a:noFill/>
          </p:grpSpPr>
          <p:sp>
            <p:nvSpPr>
              <p:cNvPr id="730" name="Forma livre: Forma 729">
                <a:extLst>
                  <a:ext uri="{FF2B5EF4-FFF2-40B4-BE49-F238E27FC236}">
                    <a16:creationId xmlns:a16="http://schemas.microsoft.com/office/drawing/2014/main" id="{6C356DF8-7586-F936-AF05-AF97ADCE9A61}"/>
                  </a:ext>
                </a:extLst>
              </p:cNvPr>
              <p:cNvSpPr/>
              <p:nvPr/>
            </p:nvSpPr>
            <p:spPr>
              <a:xfrm>
                <a:off x="6309134" y="1610571"/>
                <a:ext cx="27501" cy="53044"/>
              </a:xfrm>
              <a:custGeom>
                <a:avLst/>
                <a:gdLst>
                  <a:gd name="connsiteX0" fmla="*/ 27502 w 27501"/>
                  <a:gd name="connsiteY0" fmla="*/ 53044 h 53044"/>
                  <a:gd name="connsiteX1" fmla="*/ 7694 w 27501"/>
                  <a:gd name="connsiteY1" fmla="*/ 53044 h 53044"/>
                  <a:gd name="connsiteX2" fmla="*/ 0 w 27501"/>
                  <a:gd name="connsiteY2" fmla="*/ 45351 h 53044"/>
                  <a:gd name="connsiteX3" fmla="*/ 0 w 27501"/>
                  <a:gd name="connsiteY3" fmla="*/ 34216 h 53044"/>
                  <a:gd name="connsiteX4" fmla="*/ 7694 w 27501"/>
                  <a:gd name="connsiteY4" fmla="*/ 26522 h 53044"/>
                  <a:gd name="connsiteX5" fmla="*/ 19808 w 27501"/>
                  <a:gd name="connsiteY5" fmla="*/ 26522 h 53044"/>
                  <a:gd name="connsiteX6" fmla="*/ 27502 w 27501"/>
                  <a:gd name="connsiteY6" fmla="*/ 18828 h 53044"/>
                  <a:gd name="connsiteX7" fmla="*/ 27502 w 27501"/>
                  <a:gd name="connsiteY7" fmla="*/ 7694 h 53044"/>
                  <a:gd name="connsiteX8" fmla="*/ 19808 w 27501"/>
                  <a:gd name="connsiteY8" fmla="*/ 0 h 53044"/>
                  <a:gd name="connsiteX9" fmla="*/ 2306 w 27501"/>
                  <a:gd name="connsiteY9" fmla="*/ 0 h 530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7501" h="53044">
                    <a:moveTo>
                      <a:pt x="27502" y="53044"/>
                    </a:moveTo>
                    <a:lnTo>
                      <a:pt x="7694" y="53044"/>
                    </a:lnTo>
                    <a:cubicBezTo>
                      <a:pt x="3465" y="53044"/>
                      <a:pt x="0" y="49580"/>
                      <a:pt x="0" y="45351"/>
                    </a:cubicBezTo>
                    <a:lnTo>
                      <a:pt x="0" y="34216"/>
                    </a:lnTo>
                    <a:cubicBezTo>
                      <a:pt x="0" y="29987"/>
                      <a:pt x="3465" y="26522"/>
                      <a:pt x="7694" y="26522"/>
                    </a:cubicBezTo>
                    <a:lnTo>
                      <a:pt x="19808" y="26522"/>
                    </a:lnTo>
                    <a:cubicBezTo>
                      <a:pt x="24037" y="26522"/>
                      <a:pt x="27502" y="23070"/>
                      <a:pt x="27502" y="18828"/>
                    </a:cubicBezTo>
                    <a:lnTo>
                      <a:pt x="27502" y="7694"/>
                    </a:lnTo>
                    <a:cubicBezTo>
                      <a:pt x="27502" y="3465"/>
                      <a:pt x="24037" y="0"/>
                      <a:pt x="19808" y="0"/>
                    </a:cubicBezTo>
                    <a:lnTo>
                      <a:pt x="2306" y="0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31" name="Forma livre: Forma 730">
                <a:extLst>
                  <a:ext uri="{FF2B5EF4-FFF2-40B4-BE49-F238E27FC236}">
                    <a16:creationId xmlns:a16="http://schemas.microsoft.com/office/drawing/2014/main" id="{87C9B01B-40C2-E84B-101D-DBC92A4E1C79}"/>
                  </a:ext>
                </a:extLst>
              </p:cNvPr>
              <p:cNvSpPr/>
              <p:nvPr/>
            </p:nvSpPr>
            <p:spPr>
              <a:xfrm>
                <a:off x="6351748" y="1610583"/>
                <a:ext cx="36689" cy="53032"/>
              </a:xfrm>
              <a:custGeom>
                <a:avLst/>
                <a:gdLst>
                  <a:gd name="connsiteX0" fmla="*/ 26056 w 36689"/>
                  <a:gd name="connsiteY0" fmla="*/ 53032 h 53032"/>
                  <a:gd name="connsiteX1" fmla="*/ 26056 w 36689"/>
                  <a:gd name="connsiteY1" fmla="*/ 0 h 53032"/>
                  <a:gd name="connsiteX2" fmla="*/ 0 w 36689"/>
                  <a:gd name="connsiteY2" fmla="*/ 39234 h 53032"/>
                  <a:gd name="connsiteX3" fmla="*/ 36689 w 36689"/>
                  <a:gd name="connsiteY3" fmla="*/ 39234 h 530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6689" h="53032">
                    <a:moveTo>
                      <a:pt x="26056" y="53032"/>
                    </a:moveTo>
                    <a:lnTo>
                      <a:pt x="26056" y="0"/>
                    </a:lnTo>
                    <a:lnTo>
                      <a:pt x="0" y="39234"/>
                    </a:lnTo>
                    <a:lnTo>
                      <a:pt x="36689" y="39234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732" name="Gráfico 9">
              <a:extLst>
                <a:ext uri="{FF2B5EF4-FFF2-40B4-BE49-F238E27FC236}">
                  <a16:creationId xmlns:a16="http://schemas.microsoft.com/office/drawing/2014/main" id="{7C83876F-2F23-B014-D68B-15E1A6E02731}"/>
                </a:ext>
              </a:extLst>
            </p:cNvPr>
            <p:cNvGrpSpPr/>
            <p:nvPr/>
          </p:nvGrpSpPr>
          <p:grpSpPr>
            <a:xfrm>
              <a:off x="6105176" y="1504004"/>
              <a:ext cx="319102" cy="318385"/>
              <a:chOff x="6105176" y="1504004"/>
              <a:chExt cx="319102" cy="318385"/>
            </a:xfrm>
            <a:noFill/>
          </p:grpSpPr>
          <p:grpSp>
            <p:nvGrpSpPr>
              <p:cNvPr id="733" name="Gráfico 9">
                <a:extLst>
                  <a:ext uri="{FF2B5EF4-FFF2-40B4-BE49-F238E27FC236}">
                    <a16:creationId xmlns:a16="http://schemas.microsoft.com/office/drawing/2014/main" id="{36376FFC-285D-E97A-26F0-86E5BBE29742}"/>
                  </a:ext>
                </a:extLst>
              </p:cNvPr>
              <p:cNvGrpSpPr/>
              <p:nvPr/>
            </p:nvGrpSpPr>
            <p:grpSpPr>
              <a:xfrm>
                <a:off x="6105176" y="1570248"/>
                <a:ext cx="252310" cy="252141"/>
                <a:chOff x="6105176" y="1570248"/>
                <a:chExt cx="252310" cy="252141"/>
              </a:xfrm>
              <a:noFill/>
            </p:grpSpPr>
            <p:sp>
              <p:nvSpPr>
                <p:cNvPr id="734" name="Forma livre: Forma 733">
                  <a:extLst>
                    <a:ext uri="{FF2B5EF4-FFF2-40B4-BE49-F238E27FC236}">
                      <a16:creationId xmlns:a16="http://schemas.microsoft.com/office/drawing/2014/main" id="{E8D38267-F390-7098-77B3-294331BFC504}"/>
                    </a:ext>
                  </a:extLst>
                </p:cNvPr>
                <p:cNvSpPr/>
                <p:nvPr/>
              </p:nvSpPr>
              <p:spPr>
                <a:xfrm>
                  <a:off x="6285120" y="1772894"/>
                  <a:ext cx="52303" cy="35064"/>
                </a:xfrm>
                <a:custGeom>
                  <a:avLst/>
                  <a:gdLst>
                    <a:gd name="connsiteX0" fmla="*/ 52304 w 52303"/>
                    <a:gd name="connsiteY0" fmla="*/ 35064 h 35064"/>
                    <a:gd name="connsiteX1" fmla="*/ 0 w 52303"/>
                    <a:gd name="connsiteY1" fmla="*/ 0 h 3506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52303" h="35064">
                      <a:moveTo>
                        <a:pt x="52304" y="35064"/>
                      </a:moveTo>
                      <a:lnTo>
                        <a:pt x="0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735" name="Forma livre: Forma 734">
                  <a:extLst>
                    <a:ext uri="{FF2B5EF4-FFF2-40B4-BE49-F238E27FC236}">
                      <a16:creationId xmlns:a16="http://schemas.microsoft.com/office/drawing/2014/main" id="{47C97D88-2440-E3A7-8D12-076071043BA4}"/>
                    </a:ext>
                  </a:extLst>
                </p:cNvPr>
                <p:cNvSpPr/>
                <p:nvPr/>
              </p:nvSpPr>
              <p:spPr>
                <a:xfrm>
                  <a:off x="6105176" y="1570248"/>
                  <a:ext cx="252310" cy="252141"/>
                </a:xfrm>
                <a:custGeom>
                  <a:avLst/>
                  <a:gdLst>
                    <a:gd name="connsiteX0" fmla="*/ 48875 w 252310"/>
                    <a:gd name="connsiteY0" fmla="*/ 72532 h 252141"/>
                    <a:gd name="connsiteX1" fmla="*/ 14122 w 252310"/>
                    <a:gd name="connsiteY1" fmla="*/ 20360 h 252141"/>
                    <a:gd name="connsiteX2" fmla="*/ 10430 w 252310"/>
                    <a:gd name="connsiteY2" fmla="*/ 23741 h 252141"/>
                    <a:gd name="connsiteX3" fmla="*/ 275 w 252310"/>
                    <a:gd name="connsiteY3" fmla="*/ 45532 h 252141"/>
                    <a:gd name="connsiteX4" fmla="*/ 79507 w 252310"/>
                    <a:gd name="connsiteY4" fmla="*/ 172767 h 252141"/>
                    <a:gd name="connsiteX5" fmla="*/ 206849 w 252310"/>
                    <a:gd name="connsiteY5" fmla="*/ 251867 h 252141"/>
                    <a:gd name="connsiteX6" fmla="*/ 228629 w 252310"/>
                    <a:gd name="connsiteY6" fmla="*/ 241688 h 252141"/>
                    <a:gd name="connsiteX7" fmla="*/ 232237 w 252310"/>
                    <a:gd name="connsiteY7" fmla="*/ 237710 h 252141"/>
                    <a:gd name="connsiteX8" fmla="*/ 252200 w 252310"/>
                    <a:gd name="connsiteY8" fmla="*/ 208631 h 252141"/>
                    <a:gd name="connsiteX9" fmla="*/ 246011 w 252310"/>
                    <a:gd name="connsiteY9" fmla="*/ 196660 h 252141"/>
                    <a:gd name="connsiteX10" fmla="*/ 200267 w 252310"/>
                    <a:gd name="connsiteY10" fmla="*/ 166196 h 252141"/>
                    <a:gd name="connsiteX11" fmla="*/ 181032 w 252310"/>
                    <a:gd name="connsiteY11" fmla="*/ 165121 h 252141"/>
                    <a:gd name="connsiteX12" fmla="*/ 153447 w 252310"/>
                    <a:gd name="connsiteY12" fmla="*/ 180377 h 252141"/>
                    <a:gd name="connsiteX13" fmla="*/ 110438 w 252310"/>
                    <a:gd name="connsiteY13" fmla="*/ 141788 h 252141"/>
                    <a:gd name="connsiteX14" fmla="*/ 71789 w 252310"/>
                    <a:gd name="connsiteY14" fmla="*/ 98827 h 252141"/>
                    <a:gd name="connsiteX15" fmla="*/ 87022 w 252310"/>
                    <a:gd name="connsiteY15" fmla="*/ 71242 h 252141"/>
                    <a:gd name="connsiteX16" fmla="*/ 85923 w 252310"/>
                    <a:gd name="connsiteY16" fmla="*/ 51995 h 252141"/>
                    <a:gd name="connsiteX17" fmla="*/ 55398 w 252310"/>
                    <a:gd name="connsiteY17" fmla="*/ 6274 h 252141"/>
                    <a:gd name="connsiteX18" fmla="*/ 43427 w 252310"/>
                    <a:gd name="connsiteY18" fmla="*/ 110 h 252141"/>
                    <a:gd name="connsiteX19" fmla="*/ 28028 w 252310"/>
                    <a:gd name="connsiteY19" fmla="*/ 8723 h 25214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</a:cxnLst>
                  <a:rect l="l" t="t" r="r" b="b"/>
                  <a:pathLst>
                    <a:path w="252310" h="252141">
                      <a:moveTo>
                        <a:pt x="48875" y="72532"/>
                      </a:moveTo>
                      <a:lnTo>
                        <a:pt x="14122" y="20360"/>
                      </a:lnTo>
                      <a:cubicBezTo>
                        <a:pt x="11852" y="22403"/>
                        <a:pt x="10430" y="23741"/>
                        <a:pt x="10430" y="23741"/>
                      </a:cubicBezTo>
                      <a:cubicBezTo>
                        <a:pt x="-2628" y="35365"/>
                        <a:pt x="275" y="45532"/>
                        <a:pt x="275" y="45532"/>
                      </a:cubicBezTo>
                      <a:cubicBezTo>
                        <a:pt x="9092" y="107680"/>
                        <a:pt x="74513" y="167558"/>
                        <a:pt x="79507" y="172767"/>
                      </a:cubicBezTo>
                      <a:cubicBezTo>
                        <a:pt x="86257" y="179039"/>
                        <a:pt x="144689" y="243122"/>
                        <a:pt x="206849" y="251867"/>
                      </a:cubicBezTo>
                      <a:cubicBezTo>
                        <a:pt x="206849" y="251867"/>
                        <a:pt x="217016" y="254770"/>
                        <a:pt x="228629" y="241688"/>
                      </a:cubicBezTo>
                      <a:lnTo>
                        <a:pt x="232237" y="237710"/>
                      </a:lnTo>
                      <a:cubicBezTo>
                        <a:pt x="236705" y="231808"/>
                        <a:pt x="252057" y="211952"/>
                        <a:pt x="252200" y="208631"/>
                      </a:cubicBezTo>
                      <a:cubicBezTo>
                        <a:pt x="252200" y="208631"/>
                        <a:pt x="253657" y="202108"/>
                        <a:pt x="246011" y="196660"/>
                      </a:cubicBezTo>
                      <a:lnTo>
                        <a:pt x="200267" y="166196"/>
                      </a:lnTo>
                      <a:cubicBezTo>
                        <a:pt x="200267" y="166196"/>
                        <a:pt x="192274" y="158932"/>
                        <a:pt x="181032" y="165121"/>
                      </a:cubicBezTo>
                      <a:lnTo>
                        <a:pt x="153447" y="180377"/>
                      </a:lnTo>
                      <a:cubicBezTo>
                        <a:pt x="153447" y="180377"/>
                        <a:pt x="125778" y="158418"/>
                        <a:pt x="110438" y="141788"/>
                      </a:cubicBezTo>
                      <a:cubicBezTo>
                        <a:pt x="93796" y="126472"/>
                        <a:pt x="71789" y="98827"/>
                        <a:pt x="71789" y="98827"/>
                      </a:cubicBezTo>
                      <a:lnTo>
                        <a:pt x="87022" y="71242"/>
                      </a:lnTo>
                      <a:cubicBezTo>
                        <a:pt x="93186" y="59988"/>
                        <a:pt x="85923" y="51995"/>
                        <a:pt x="85923" y="51995"/>
                      </a:cubicBezTo>
                      <a:lnTo>
                        <a:pt x="55398" y="6274"/>
                      </a:lnTo>
                      <a:cubicBezTo>
                        <a:pt x="49962" y="-1336"/>
                        <a:pt x="43427" y="110"/>
                        <a:pt x="43427" y="110"/>
                      </a:cubicBezTo>
                      <a:cubicBezTo>
                        <a:pt x="40058" y="265"/>
                        <a:pt x="34025" y="4148"/>
                        <a:pt x="28028" y="8723"/>
                      </a:cubicBez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736" name="Forma livre: Forma 735">
                <a:extLst>
                  <a:ext uri="{FF2B5EF4-FFF2-40B4-BE49-F238E27FC236}">
                    <a16:creationId xmlns:a16="http://schemas.microsoft.com/office/drawing/2014/main" id="{F3315710-B08A-6C66-D818-BF4D093ABA52}"/>
                  </a:ext>
                </a:extLst>
              </p:cNvPr>
              <p:cNvSpPr/>
              <p:nvPr/>
            </p:nvSpPr>
            <p:spPr>
              <a:xfrm>
                <a:off x="6187191" y="1504004"/>
                <a:ext cx="237086" cy="236381"/>
              </a:xfrm>
              <a:custGeom>
                <a:avLst/>
                <a:gdLst>
                  <a:gd name="connsiteX0" fmla="*/ 0 w 237086"/>
                  <a:gd name="connsiteY0" fmla="*/ 64621 h 236381"/>
                  <a:gd name="connsiteX1" fmla="*/ 110449 w 237086"/>
                  <a:gd name="connsiteY1" fmla="*/ 0 h 236381"/>
                  <a:gd name="connsiteX2" fmla="*/ 237087 w 237086"/>
                  <a:gd name="connsiteY2" fmla="*/ 126637 h 236381"/>
                  <a:gd name="connsiteX3" fmla="*/ 173696 w 237086"/>
                  <a:gd name="connsiteY3" fmla="*/ 236382 h 2363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37086" h="236381">
                    <a:moveTo>
                      <a:pt x="0" y="64621"/>
                    </a:moveTo>
                    <a:cubicBezTo>
                      <a:pt x="21696" y="26044"/>
                      <a:pt x="63032" y="0"/>
                      <a:pt x="110449" y="0"/>
                    </a:cubicBezTo>
                    <a:cubicBezTo>
                      <a:pt x="180387" y="0"/>
                      <a:pt x="237087" y="56700"/>
                      <a:pt x="237087" y="126637"/>
                    </a:cubicBezTo>
                    <a:cubicBezTo>
                      <a:pt x="237087" y="173541"/>
                      <a:pt x="211592" y="214495"/>
                      <a:pt x="173696" y="236382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738" name="Gráfico 10">
            <a:extLst>
              <a:ext uri="{FF2B5EF4-FFF2-40B4-BE49-F238E27FC236}">
                <a16:creationId xmlns:a16="http://schemas.microsoft.com/office/drawing/2014/main" id="{175A3597-ECDC-783C-F239-3DD5E1CB88CA}"/>
              </a:ext>
            </a:extLst>
          </p:cNvPr>
          <p:cNvGrpSpPr/>
          <p:nvPr/>
        </p:nvGrpSpPr>
        <p:grpSpPr>
          <a:xfrm>
            <a:off x="8517283" y="995784"/>
            <a:ext cx="363031" cy="287154"/>
            <a:chOff x="8517283" y="995784"/>
            <a:chExt cx="363031" cy="287154"/>
          </a:xfrm>
        </p:grpSpPr>
        <p:grpSp>
          <p:nvGrpSpPr>
            <p:cNvPr id="739" name="Gráfico 10">
              <a:extLst>
                <a:ext uri="{FF2B5EF4-FFF2-40B4-BE49-F238E27FC236}">
                  <a16:creationId xmlns:a16="http://schemas.microsoft.com/office/drawing/2014/main" id="{F545FF03-E0A4-B84F-BA97-C76ED3759E5D}"/>
                </a:ext>
              </a:extLst>
            </p:cNvPr>
            <p:cNvGrpSpPr/>
            <p:nvPr/>
          </p:nvGrpSpPr>
          <p:grpSpPr>
            <a:xfrm>
              <a:off x="8555926" y="995784"/>
              <a:ext cx="324388" cy="275145"/>
              <a:chOff x="8555926" y="995784"/>
              <a:chExt cx="324388" cy="275145"/>
            </a:xfrm>
          </p:grpSpPr>
          <p:sp>
            <p:nvSpPr>
              <p:cNvPr id="740" name="Forma livre: Forma 739">
                <a:extLst>
                  <a:ext uri="{FF2B5EF4-FFF2-40B4-BE49-F238E27FC236}">
                    <a16:creationId xmlns:a16="http://schemas.microsoft.com/office/drawing/2014/main" id="{9470D0DA-ED9E-BD00-607A-0BAE01201BF5}"/>
                  </a:ext>
                </a:extLst>
              </p:cNvPr>
              <p:cNvSpPr/>
              <p:nvPr/>
            </p:nvSpPr>
            <p:spPr>
              <a:xfrm>
                <a:off x="8626581" y="1004169"/>
                <a:ext cx="1184" cy="35469"/>
              </a:xfrm>
              <a:custGeom>
                <a:avLst/>
                <a:gdLst>
                  <a:gd name="connsiteX0" fmla="*/ 0 w 1184"/>
                  <a:gd name="connsiteY0" fmla="*/ 0 h 35469"/>
                  <a:gd name="connsiteX1" fmla="*/ 0 w 1184"/>
                  <a:gd name="connsiteY1" fmla="*/ 35469 h 354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84" h="35469">
                    <a:moveTo>
                      <a:pt x="0" y="0"/>
                    </a:moveTo>
                    <a:lnTo>
                      <a:pt x="0" y="35469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41" name="Forma livre: Forma 740">
                <a:extLst>
                  <a:ext uri="{FF2B5EF4-FFF2-40B4-BE49-F238E27FC236}">
                    <a16:creationId xmlns:a16="http://schemas.microsoft.com/office/drawing/2014/main" id="{5F733CD2-D676-D262-7EA7-DC6A96CE3A7B}"/>
                  </a:ext>
                </a:extLst>
              </p:cNvPr>
              <p:cNvSpPr/>
              <p:nvPr/>
            </p:nvSpPr>
            <p:spPr>
              <a:xfrm>
                <a:off x="8608852" y="1021898"/>
                <a:ext cx="35469" cy="1184"/>
              </a:xfrm>
              <a:custGeom>
                <a:avLst/>
                <a:gdLst>
                  <a:gd name="connsiteX0" fmla="*/ 35469 w 35469"/>
                  <a:gd name="connsiteY0" fmla="*/ 0 h 1184"/>
                  <a:gd name="connsiteX1" fmla="*/ 0 w 35469"/>
                  <a:gd name="connsiteY1" fmla="*/ 0 h 11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5469" h="1184">
                    <a:moveTo>
                      <a:pt x="35469" y="0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42" name="Forma livre: Forma 741">
                <a:extLst>
                  <a:ext uri="{FF2B5EF4-FFF2-40B4-BE49-F238E27FC236}">
                    <a16:creationId xmlns:a16="http://schemas.microsoft.com/office/drawing/2014/main" id="{1A989A0E-DD46-FFFB-0F37-32C1969A6879}"/>
                  </a:ext>
                </a:extLst>
              </p:cNvPr>
              <p:cNvSpPr/>
              <p:nvPr/>
            </p:nvSpPr>
            <p:spPr>
              <a:xfrm>
                <a:off x="8855504" y="1107652"/>
                <a:ext cx="1184" cy="35469"/>
              </a:xfrm>
              <a:custGeom>
                <a:avLst/>
                <a:gdLst>
                  <a:gd name="connsiteX0" fmla="*/ 0 w 1184"/>
                  <a:gd name="connsiteY0" fmla="*/ 0 h 35469"/>
                  <a:gd name="connsiteX1" fmla="*/ 0 w 1184"/>
                  <a:gd name="connsiteY1" fmla="*/ 35469 h 354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84" h="35469">
                    <a:moveTo>
                      <a:pt x="0" y="0"/>
                    </a:moveTo>
                    <a:lnTo>
                      <a:pt x="0" y="35469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43" name="Forma livre: Forma 742">
                <a:extLst>
                  <a:ext uri="{FF2B5EF4-FFF2-40B4-BE49-F238E27FC236}">
                    <a16:creationId xmlns:a16="http://schemas.microsoft.com/office/drawing/2014/main" id="{62D12033-687F-1EB8-8E0B-5B7B284522CA}"/>
                  </a:ext>
                </a:extLst>
              </p:cNvPr>
              <p:cNvSpPr/>
              <p:nvPr/>
            </p:nvSpPr>
            <p:spPr>
              <a:xfrm>
                <a:off x="8837787" y="1125393"/>
                <a:ext cx="35457" cy="1184"/>
              </a:xfrm>
              <a:custGeom>
                <a:avLst/>
                <a:gdLst>
                  <a:gd name="connsiteX0" fmla="*/ 35458 w 35457"/>
                  <a:gd name="connsiteY0" fmla="*/ 0 h 1184"/>
                  <a:gd name="connsiteX1" fmla="*/ 0 w 35457"/>
                  <a:gd name="connsiteY1" fmla="*/ 0 h 11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5457" h="1184">
                    <a:moveTo>
                      <a:pt x="35458" y="0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44" name="Forma livre: Forma 743">
                <a:extLst>
                  <a:ext uri="{FF2B5EF4-FFF2-40B4-BE49-F238E27FC236}">
                    <a16:creationId xmlns:a16="http://schemas.microsoft.com/office/drawing/2014/main" id="{C4079B3D-9865-48CA-7731-AE67DBC3C700}"/>
                  </a:ext>
                </a:extLst>
              </p:cNvPr>
              <p:cNvSpPr/>
              <p:nvPr/>
            </p:nvSpPr>
            <p:spPr>
              <a:xfrm>
                <a:off x="8804627" y="1073959"/>
                <a:ext cx="7105" cy="7105"/>
              </a:xfrm>
              <a:custGeom>
                <a:avLst/>
                <a:gdLst>
                  <a:gd name="connsiteX0" fmla="*/ 7106 w 7105"/>
                  <a:gd name="connsiteY0" fmla="*/ 3553 h 7105"/>
                  <a:gd name="connsiteX1" fmla="*/ 3553 w 7105"/>
                  <a:gd name="connsiteY1" fmla="*/ 7106 h 7105"/>
                  <a:gd name="connsiteX2" fmla="*/ 0 w 7105"/>
                  <a:gd name="connsiteY2" fmla="*/ 3553 h 7105"/>
                  <a:gd name="connsiteX3" fmla="*/ 3553 w 7105"/>
                  <a:gd name="connsiteY3" fmla="*/ 0 h 7105"/>
                  <a:gd name="connsiteX4" fmla="*/ 7106 w 7105"/>
                  <a:gd name="connsiteY4" fmla="*/ 3553 h 71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105" h="7105">
                    <a:moveTo>
                      <a:pt x="7106" y="3553"/>
                    </a:moveTo>
                    <a:cubicBezTo>
                      <a:pt x="7106" y="5519"/>
                      <a:pt x="5531" y="7106"/>
                      <a:pt x="3553" y="7106"/>
                    </a:cubicBezTo>
                    <a:cubicBezTo>
                      <a:pt x="1575" y="7106"/>
                      <a:pt x="0" y="5519"/>
                      <a:pt x="0" y="3553"/>
                    </a:cubicBezTo>
                    <a:cubicBezTo>
                      <a:pt x="0" y="1587"/>
                      <a:pt x="1599" y="0"/>
                      <a:pt x="3553" y="0"/>
                    </a:cubicBezTo>
                    <a:cubicBezTo>
                      <a:pt x="5507" y="0"/>
                      <a:pt x="7106" y="1587"/>
                      <a:pt x="7106" y="3553"/>
                    </a:cubicBezTo>
                    <a:close/>
                  </a:path>
                </a:pathLst>
              </a:custGeom>
              <a:solidFill>
                <a:srgbClr val="066CFD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45" name="Forma livre: Forma 744">
                <a:extLst>
                  <a:ext uri="{FF2B5EF4-FFF2-40B4-BE49-F238E27FC236}">
                    <a16:creationId xmlns:a16="http://schemas.microsoft.com/office/drawing/2014/main" id="{27C4EDB6-F573-888C-4542-E98DF1AC6E9A}"/>
                  </a:ext>
                </a:extLst>
              </p:cNvPr>
              <p:cNvSpPr/>
              <p:nvPr/>
            </p:nvSpPr>
            <p:spPr>
              <a:xfrm>
                <a:off x="8665615" y="1043416"/>
                <a:ext cx="7105" cy="7105"/>
              </a:xfrm>
              <a:custGeom>
                <a:avLst/>
                <a:gdLst>
                  <a:gd name="connsiteX0" fmla="*/ 7106 w 7105"/>
                  <a:gd name="connsiteY0" fmla="*/ 3553 h 7105"/>
                  <a:gd name="connsiteX1" fmla="*/ 3553 w 7105"/>
                  <a:gd name="connsiteY1" fmla="*/ 7106 h 7105"/>
                  <a:gd name="connsiteX2" fmla="*/ 0 w 7105"/>
                  <a:gd name="connsiteY2" fmla="*/ 3565 h 7105"/>
                  <a:gd name="connsiteX3" fmla="*/ 3565 w 7105"/>
                  <a:gd name="connsiteY3" fmla="*/ 0 h 7105"/>
                  <a:gd name="connsiteX4" fmla="*/ 7106 w 7105"/>
                  <a:gd name="connsiteY4" fmla="*/ 3553 h 71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105" h="7105">
                    <a:moveTo>
                      <a:pt x="7106" y="3553"/>
                    </a:moveTo>
                    <a:cubicBezTo>
                      <a:pt x="7106" y="5519"/>
                      <a:pt x="5519" y="7106"/>
                      <a:pt x="3553" y="7106"/>
                    </a:cubicBezTo>
                    <a:cubicBezTo>
                      <a:pt x="1587" y="7106"/>
                      <a:pt x="0" y="5519"/>
                      <a:pt x="0" y="3565"/>
                    </a:cubicBezTo>
                    <a:cubicBezTo>
                      <a:pt x="0" y="1611"/>
                      <a:pt x="1599" y="0"/>
                      <a:pt x="3565" y="0"/>
                    </a:cubicBezTo>
                    <a:cubicBezTo>
                      <a:pt x="5531" y="0"/>
                      <a:pt x="7106" y="1587"/>
                      <a:pt x="7106" y="3553"/>
                    </a:cubicBezTo>
                    <a:close/>
                  </a:path>
                </a:pathLst>
              </a:custGeom>
              <a:solidFill>
                <a:srgbClr val="066CFD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46" name="Forma livre: Forma 745">
                <a:extLst>
                  <a:ext uri="{FF2B5EF4-FFF2-40B4-BE49-F238E27FC236}">
                    <a16:creationId xmlns:a16="http://schemas.microsoft.com/office/drawing/2014/main" id="{5BE31CA3-7D13-F0AA-CF4D-6A345BAF297C}"/>
                  </a:ext>
                </a:extLst>
              </p:cNvPr>
              <p:cNvSpPr/>
              <p:nvPr/>
            </p:nvSpPr>
            <p:spPr>
              <a:xfrm>
                <a:off x="8750149" y="995784"/>
                <a:ext cx="7105" cy="7105"/>
              </a:xfrm>
              <a:custGeom>
                <a:avLst/>
                <a:gdLst>
                  <a:gd name="connsiteX0" fmla="*/ 7106 w 7105"/>
                  <a:gd name="connsiteY0" fmla="*/ 3553 h 7105"/>
                  <a:gd name="connsiteX1" fmla="*/ 3553 w 7105"/>
                  <a:gd name="connsiteY1" fmla="*/ 7106 h 7105"/>
                  <a:gd name="connsiteX2" fmla="*/ 0 w 7105"/>
                  <a:gd name="connsiteY2" fmla="*/ 3553 h 7105"/>
                  <a:gd name="connsiteX3" fmla="*/ 3553 w 7105"/>
                  <a:gd name="connsiteY3" fmla="*/ 0 h 7105"/>
                  <a:gd name="connsiteX4" fmla="*/ 7106 w 7105"/>
                  <a:gd name="connsiteY4" fmla="*/ 3553 h 71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105" h="7105">
                    <a:moveTo>
                      <a:pt x="7106" y="3553"/>
                    </a:moveTo>
                    <a:cubicBezTo>
                      <a:pt x="7106" y="5519"/>
                      <a:pt x="5531" y="7106"/>
                      <a:pt x="3553" y="7106"/>
                    </a:cubicBezTo>
                    <a:cubicBezTo>
                      <a:pt x="1575" y="7106"/>
                      <a:pt x="0" y="5519"/>
                      <a:pt x="0" y="3553"/>
                    </a:cubicBezTo>
                    <a:cubicBezTo>
                      <a:pt x="0" y="1587"/>
                      <a:pt x="1599" y="0"/>
                      <a:pt x="3553" y="0"/>
                    </a:cubicBezTo>
                    <a:cubicBezTo>
                      <a:pt x="5507" y="0"/>
                      <a:pt x="7106" y="1587"/>
                      <a:pt x="7106" y="3553"/>
                    </a:cubicBezTo>
                    <a:close/>
                  </a:path>
                </a:pathLst>
              </a:custGeom>
              <a:solidFill>
                <a:srgbClr val="066CFD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47" name="Forma livre: Forma 746">
                <a:extLst>
                  <a:ext uri="{FF2B5EF4-FFF2-40B4-BE49-F238E27FC236}">
                    <a16:creationId xmlns:a16="http://schemas.microsoft.com/office/drawing/2014/main" id="{7069E85C-C33F-82E9-E307-478948C61ACF}"/>
                  </a:ext>
                </a:extLst>
              </p:cNvPr>
              <p:cNvSpPr/>
              <p:nvPr/>
            </p:nvSpPr>
            <p:spPr>
              <a:xfrm>
                <a:off x="8555926" y="1081053"/>
                <a:ext cx="7105" cy="7105"/>
              </a:xfrm>
              <a:custGeom>
                <a:avLst/>
                <a:gdLst>
                  <a:gd name="connsiteX0" fmla="*/ 7106 w 7105"/>
                  <a:gd name="connsiteY0" fmla="*/ 3553 h 7105"/>
                  <a:gd name="connsiteX1" fmla="*/ 3553 w 7105"/>
                  <a:gd name="connsiteY1" fmla="*/ 7106 h 7105"/>
                  <a:gd name="connsiteX2" fmla="*/ 0 w 7105"/>
                  <a:gd name="connsiteY2" fmla="*/ 3553 h 7105"/>
                  <a:gd name="connsiteX3" fmla="*/ 3553 w 7105"/>
                  <a:gd name="connsiteY3" fmla="*/ 0 h 7105"/>
                  <a:gd name="connsiteX4" fmla="*/ 7106 w 7105"/>
                  <a:gd name="connsiteY4" fmla="*/ 3553 h 71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105" h="7105">
                    <a:moveTo>
                      <a:pt x="7106" y="3553"/>
                    </a:moveTo>
                    <a:cubicBezTo>
                      <a:pt x="7106" y="5519"/>
                      <a:pt x="5531" y="7106"/>
                      <a:pt x="3553" y="7106"/>
                    </a:cubicBezTo>
                    <a:cubicBezTo>
                      <a:pt x="1575" y="7106"/>
                      <a:pt x="0" y="5519"/>
                      <a:pt x="0" y="3553"/>
                    </a:cubicBezTo>
                    <a:cubicBezTo>
                      <a:pt x="0" y="1587"/>
                      <a:pt x="1599" y="0"/>
                      <a:pt x="3553" y="0"/>
                    </a:cubicBezTo>
                    <a:cubicBezTo>
                      <a:pt x="5507" y="0"/>
                      <a:pt x="7106" y="1587"/>
                      <a:pt x="7106" y="3553"/>
                    </a:cubicBezTo>
                    <a:close/>
                  </a:path>
                </a:pathLst>
              </a:custGeom>
              <a:solidFill>
                <a:srgbClr val="066CFD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48" name="Forma livre: Forma 747">
                <a:extLst>
                  <a:ext uri="{FF2B5EF4-FFF2-40B4-BE49-F238E27FC236}">
                    <a16:creationId xmlns:a16="http://schemas.microsoft.com/office/drawing/2014/main" id="{CA0CA4CF-C56E-4524-11D8-255EAB68531B}"/>
                  </a:ext>
                </a:extLst>
              </p:cNvPr>
              <p:cNvSpPr/>
              <p:nvPr/>
            </p:nvSpPr>
            <p:spPr>
              <a:xfrm>
                <a:off x="8749593" y="1044802"/>
                <a:ext cx="130721" cy="226128"/>
              </a:xfrm>
              <a:custGeom>
                <a:avLst/>
                <a:gdLst>
                  <a:gd name="connsiteX0" fmla="*/ 130722 w 130721"/>
                  <a:gd name="connsiteY0" fmla="*/ 226128 h 226128"/>
                  <a:gd name="connsiteX1" fmla="*/ 0 w 130721"/>
                  <a:gd name="connsiteY1" fmla="*/ 0 h 2261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30721" h="226128">
                    <a:moveTo>
                      <a:pt x="130722" y="226128"/>
                    </a:moveTo>
                    <a:lnTo>
                      <a:pt x="0" y="0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49" name="Forma livre: Forma 748">
                <a:extLst>
                  <a:ext uri="{FF2B5EF4-FFF2-40B4-BE49-F238E27FC236}">
                    <a16:creationId xmlns:a16="http://schemas.microsoft.com/office/drawing/2014/main" id="{64539FF6-B816-D8E9-770F-C93B05AF6D0F}"/>
                  </a:ext>
                </a:extLst>
              </p:cNvPr>
              <p:cNvSpPr/>
              <p:nvPr/>
            </p:nvSpPr>
            <p:spPr>
              <a:xfrm>
                <a:off x="8601367" y="1044802"/>
                <a:ext cx="113099" cy="194081"/>
              </a:xfrm>
              <a:custGeom>
                <a:avLst/>
                <a:gdLst>
                  <a:gd name="connsiteX0" fmla="*/ 113100 w 113099"/>
                  <a:gd name="connsiteY0" fmla="*/ 0 h 194081"/>
                  <a:gd name="connsiteX1" fmla="*/ 0 w 113099"/>
                  <a:gd name="connsiteY1" fmla="*/ 194081 h 1940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3099" h="194081">
                    <a:moveTo>
                      <a:pt x="113100" y="0"/>
                    </a:moveTo>
                    <a:lnTo>
                      <a:pt x="0" y="194081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750" name="Gráfico 10">
              <a:extLst>
                <a:ext uri="{FF2B5EF4-FFF2-40B4-BE49-F238E27FC236}">
                  <a16:creationId xmlns:a16="http://schemas.microsoft.com/office/drawing/2014/main" id="{CC1A3E0B-EF5C-3A6A-903B-1E69C46A868F}"/>
                </a:ext>
              </a:extLst>
            </p:cNvPr>
            <p:cNvGrpSpPr/>
            <p:nvPr/>
          </p:nvGrpSpPr>
          <p:grpSpPr>
            <a:xfrm>
              <a:off x="8620233" y="1131291"/>
              <a:ext cx="254835" cy="151648"/>
              <a:chOff x="8620233" y="1131291"/>
              <a:chExt cx="254835" cy="151648"/>
            </a:xfrm>
            <a:noFill/>
          </p:grpSpPr>
          <p:sp>
            <p:nvSpPr>
              <p:cNvPr id="751" name="Forma livre: Forma 750">
                <a:extLst>
                  <a:ext uri="{FF2B5EF4-FFF2-40B4-BE49-F238E27FC236}">
                    <a16:creationId xmlns:a16="http://schemas.microsoft.com/office/drawing/2014/main" id="{F1C1C26E-62AC-DC24-5050-BCB1F08871D8}"/>
                  </a:ext>
                </a:extLst>
              </p:cNvPr>
              <p:cNvSpPr/>
              <p:nvPr/>
            </p:nvSpPr>
            <p:spPr>
              <a:xfrm>
                <a:off x="8699616" y="1131291"/>
                <a:ext cx="102654" cy="48638"/>
              </a:xfrm>
              <a:custGeom>
                <a:avLst/>
                <a:gdLst>
                  <a:gd name="connsiteX0" fmla="*/ 0 w 102654"/>
                  <a:gd name="connsiteY0" fmla="*/ 10955 h 48638"/>
                  <a:gd name="connsiteX1" fmla="*/ 15526 w 102654"/>
                  <a:gd name="connsiteY1" fmla="*/ 0 h 48638"/>
                  <a:gd name="connsiteX2" fmla="*/ 30969 w 102654"/>
                  <a:gd name="connsiteY2" fmla="*/ 48639 h 48638"/>
                  <a:gd name="connsiteX3" fmla="*/ 53175 w 102654"/>
                  <a:gd name="connsiteY3" fmla="*/ 6371 h 48638"/>
                  <a:gd name="connsiteX4" fmla="*/ 102654 w 102654"/>
                  <a:gd name="connsiteY4" fmla="*/ 37613 h 486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02654" h="48638">
                    <a:moveTo>
                      <a:pt x="0" y="10955"/>
                    </a:moveTo>
                    <a:lnTo>
                      <a:pt x="15526" y="0"/>
                    </a:lnTo>
                    <a:lnTo>
                      <a:pt x="30969" y="48639"/>
                    </a:lnTo>
                    <a:lnTo>
                      <a:pt x="53175" y="6371"/>
                    </a:lnTo>
                    <a:lnTo>
                      <a:pt x="102654" y="37613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52" name="Forma livre: Forma 751">
                <a:extLst>
                  <a:ext uri="{FF2B5EF4-FFF2-40B4-BE49-F238E27FC236}">
                    <a16:creationId xmlns:a16="http://schemas.microsoft.com/office/drawing/2014/main" id="{EFA521E5-AB8F-DFE5-B93A-AF46C30B3A43}"/>
                  </a:ext>
                </a:extLst>
              </p:cNvPr>
              <p:cNvSpPr/>
              <p:nvPr/>
            </p:nvSpPr>
            <p:spPr>
              <a:xfrm>
                <a:off x="8685499" y="1274590"/>
                <a:ext cx="46447" cy="8349"/>
              </a:xfrm>
              <a:custGeom>
                <a:avLst/>
                <a:gdLst>
                  <a:gd name="connsiteX0" fmla="*/ 46448 w 46447"/>
                  <a:gd name="connsiteY0" fmla="*/ 0 h 8349"/>
                  <a:gd name="connsiteX1" fmla="*/ 0 w 46447"/>
                  <a:gd name="connsiteY1" fmla="*/ 8349 h 83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6447" h="8349">
                    <a:moveTo>
                      <a:pt x="46448" y="0"/>
                    </a:moveTo>
                    <a:cubicBezTo>
                      <a:pt x="29512" y="2333"/>
                      <a:pt x="13832" y="5294"/>
                      <a:pt x="0" y="8349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53" name="Forma livre: Forma 752">
                <a:extLst>
                  <a:ext uri="{FF2B5EF4-FFF2-40B4-BE49-F238E27FC236}">
                    <a16:creationId xmlns:a16="http://schemas.microsoft.com/office/drawing/2014/main" id="{3B31D143-EE97-79A6-17F1-4CE96F8A6174}"/>
                  </a:ext>
                </a:extLst>
              </p:cNvPr>
              <p:cNvSpPr/>
              <p:nvPr/>
            </p:nvSpPr>
            <p:spPr>
              <a:xfrm>
                <a:off x="8753027" y="1269693"/>
                <a:ext cx="79750" cy="2398"/>
              </a:xfrm>
              <a:custGeom>
                <a:avLst/>
                <a:gdLst>
                  <a:gd name="connsiteX0" fmla="*/ 79750 w 79750"/>
                  <a:gd name="connsiteY0" fmla="*/ 1237 h 2398"/>
                  <a:gd name="connsiteX1" fmla="*/ 0 w 79750"/>
                  <a:gd name="connsiteY1" fmla="*/ 2398 h 23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79750" h="2398">
                    <a:moveTo>
                      <a:pt x="79750" y="1237"/>
                    </a:moveTo>
                    <a:cubicBezTo>
                      <a:pt x="52180" y="-930"/>
                      <a:pt x="25071" y="-65"/>
                      <a:pt x="0" y="2398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54" name="Forma livre: Forma 753">
                <a:extLst>
                  <a:ext uri="{FF2B5EF4-FFF2-40B4-BE49-F238E27FC236}">
                    <a16:creationId xmlns:a16="http://schemas.microsoft.com/office/drawing/2014/main" id="{2561F8C3-CB44-ECE4-1C74-1AAB52A24884}"/>
                  </a:ext>
                </a:extLst>
              </p:cNvPr>
              <p:cNvSpPr/>
              <p:nvPr/>
            </p:nvSpPr>
            <p:spPr>
              <a:xfrm>
                <a:off x="8648490" y="1245887"/>
                <a:ext cx="226578" cy="21691"/>
              </a:xfrm>
              <a:custGeom>
                <a:avLst/>
                <a:gdLst>
                  <a:gd name="connsiteX0" fmla="*/ 0 w 226578"/>
                  <a:gd name="connsiteY0" fmla="*/ 21692 h 21691"/>
                  <a:gd name="connsiteX1" fmla="*/ 226578 w 226578"/>
                  <a:gd name="connsiteY1" fmla="*/ 6592 h 216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26578" h="21691">
                    <a:moveTo>
                      <a:pt x="0" y="21692"/>
                    </a:moveTo>
                    <a:cubicBezTo>
                      <a:pt x="44221" y="9411"/>
                      <a:pt x="136513" y="-10402"/>
                      <a:pt x="226578" y="6592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55" name="Forma livre: Forma 754">
                <a:extLst>
                  <a:ext uri="{FF2B5EF4-FFF2-40B4-BE49-F238E27FC236}">
                    <a16:creationId xmlns:a16="http://schemas.microsoft.com/office/drawing/2014/main" id="{C6D658DE-F8EB-DFE0-BC20-FB3681173689}"/>
                  </a:ext>
                </a:extLst>
              </p:cNvPr>
              <p:cNvSpPr/>
              <p:nvPr/>
            </p:nvSpPr>
            <p:spPr>
              <a:xfrm>
                <a:off x="8620233" y="1273701"/>
                <a:ext cx="10848" cy="3600"/>
              </a:xfrm>
              <a:custGeom>
                <a:avLst/>
                <a:gdLst>
                  <a:gd name="connsiteX0" fmla="*/ 0 w 10848"/>
                  <a:gd name="connsiteY0" fmla="*/ 3600 h 3600"/>
                  <a:gd name="connsiteX1" fmla="*/ 10848 w 10848"/>
                  <a:gd name="connsiteY1" fmla="*/ 0 h 36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0848" h="3600">
                    <a:moveTo>
                      <a:pt x="0" y="3600"/>
                    </a:moveTo>
                    <a:cubicBezTo>
                      <a:pt x="0" y="3600"/>
                      <a:pt x="3849" y="2203"/>
                      <a:pt x="10848" y="0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756" name="Forma livre: Forma 755">
              <a:extLst>
                <a:ext uri="{FF2B5EF4-FFF2-40B4-BE49-F238E27FC236}">
                  <a16:creationId xmlns:a16="http://schemas.microsoft.com/office/drawing/2014/main" id="{9A2DB90B-6711-D0CA-B08F-697F3B4D9D65}"/>
                </a:ext>
              </a:extLst>
            </p:cNvPr>
            <p:cNvSpPr/>
            <p:nvPr/>
          </p:nvSpPr>
          <p:spPr>
            <a:xfrm>
              <a:off x="8539654" y="1082723"/>
              <a:ext cx="113383" cy="140586"/>
            </a:xfrm>
            <a:custGeom>
              <a:avLst/>
              <a:gdLst>
                <a:gd name="connsiteX0" fmla="*/ 0 w 113383"/>
                <a:gd name="connsiteY0" fmla="*/ 140587 h 140586"/>
                <a:gd name="connsiteX1" fmla="*/ 81159 w 113383"/>
                <a:gd name="connsiteY1" fmla="*/ 0 h 140586"/>
                <a:gd name="connsiteX2" fmla="*/ 113384 w 113383"/>
                <a:gd name="connsiteY2" fmla="*/ 55306 h 1405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13383" h="140586">
                  <a:moveTo>
                    <a:pt x="0" y="140587"/>
                  </a:moveTo>
                  <a:lnTo>
                    <a:pt x="81159" y="0"/>
                  </a:lnTo>
                  <a:lnTo>
                    <a:pt x="113384" y="55306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757" name="Forma livre: Forma 756">
              <a:extLst>
                <a:ext uri="{FF2B5EF4-FFF2-40B4-BE49-F238E27FC236}">
                  <a16:creationId xmlns:a16="http://schemas.microsoft.com/office/drawing/2014/main" id="{511BFE86-EA6A-79B7-AE52-0B1B2E7D5CE2}"/>
                </a:ext>
              </a:extLst>
            </p:cNvPr>
            <p:cNvSpPr/>
            <p:nvPr/>
          </p:nvSpPr>
          <p:spPr>
            <a:xfrm>
              <a:off x="8586244" y="1144507"/>
              <a:ext cx="47928" cy="41284"/>
            </a:xfrm>
            <a:custGeom>
              <a:avLst/>
              <a:gdLst>
                <a:gd name="connsiteX0" fmla="*/ 0 w 47928"/>
                <a:gd name="connsiteY0" fmla="*/ 0 h 41284"/>
                <a:gd name="connsiteX1" fmla="*/ 12163 w 47928"/>
                <a:gd name="connsiteY1" fmla="*/ 41284 h 41284"/>
                <a:gd name="connsiteX2" fmla="*/ 37992 w 47928"/>
                <a:gd name="connsiteY2" fmla="*/ 2570 h 41284"/>
                <a:gd name="connsiteX3" fmla="*/ 47928 w 47928"/>
                <a:gd name="connsiteY3" fmla="*/ 29690 h 412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7928" h="41284">
                  <a:moveTo>
                    <a:pt x="0" y="0"/>
                  </a:moveTo>
                  <a:lnTo>
                    <a:pt x="12163" y="41284"/>
                  </a:lnTo>
                  <a:lnTo>
                    <a:pt x="37992" y="2570"/>
                  </a:lnTo>
                  <a:lnTo>
                    <a:pt x="47928" y="2969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758" name="Forma livre: Forma 757">
              <a:extLst>
                <a:ext uri="{FF2B5EF4-FFF2-40B4-BE49-F238E27FC236}">
                  <a16:creationId xmlns:a16="http://schemas.microsoft.com/office/drawing/2014/main" id="{D36C7542-2A8E-ECA7-83BA-318859C3E9E8}"/>
                </a:ext>
              </a:extLst>
            </p:cNvPr>
            <p:cNvSpPr/>
            <p:nvPr/>
          </p:nvSpPr>
          <p:spPr>
            <a:xfrm>
              <a:off x="8517283" y="1224045"/>
              <a:ext cx="167718" cy="33076"/>
            </a:xfrm>
            <a:custGeom>
              <a:avLst/>
              <a:gdLst>
                <a:gd name="connsiteX0" fmla="*/ 0 w 167718"/>
                <a:gd name="connsiteY0" fmla="*/ 1646 h 33076"/>
                <a:gd name="connsiteX1" fmla="*/ 167719 w 167718"/>
                <a:gd name="connsiteY1" fmla="*/ 33077 h 330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67718" h="33076">
                  <a:moveTo>
                    <a:pt x="0" y="1646"/>
                  </a:moveTo>
                  <a:cubicBezTo>
                    <a:pt x="0" y="1646"/>
                    <a:pt x="73615" y="-10860"/>
                    <a:pt x="167719" y="33077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759" name="Forma livre: Forma 758">
              <a:extLst>
                <a:ext uri="{FF2B5EF4-FFF2-40B4-BE49-F238E27FC236}">
                  <a16:creationId xmlns:a16="http://schemas.microsoft.com/office/drawing/2014/main" id="{F635FEB0-B7C8-D359-2D51-EA897878EDF8}"/>
                </a:ext>
              </a:extLst>
            </p:cNvPr>
            <p:cNvSpPr/>
            <p:nvPr/>
          </p:nvSpPr>
          <p:spPr>
            <a:xfrm>
              <a:off x="8623253" y="1045750"/>
              <a:ext cx="224979" cy="201648"/>
            </a:xfrm>
            <a:custGeom>
              <a:avLst/>
              <a:gdLst>
                <a:gd name="connsiteX0" fmla="*/ 0 w 224979"/>
                <a:gd name="connsiteY0" fmla="*/ 187354 h 201648"/>
                <a:gd name="connsiteX1" fmla="*/ 108481 w 224979"/>
                <a:gd name="connsiteY1" fmla="*/ 0 h 201648"/>
                <a:gd name="connsiteX2" fmla="*/ 224979 w 224979"/>
                <a:gd name="connsiteY2" fmla="*/ 201649 h 2016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24979" h="201648">
                  <a:moveTo>
                    <a:pt x="0" y="187354"/>
                  </a:moveTo>
                  <a:lnTo>
                    <a:pt x="108481" y="0"/>
                  </a:lnTo>
                  <a:lnTo>
                    <a:pt x="224979" y="201649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760" name="Gráfico 10">
            <a:extLst>
              <a:ext uri="{FF2B5EF4-FFF2-40B4-BE49-F238E27FC236}">
                <a16:creationId xmlns:a16="http://schemas.microsoft.com/office/drawing/2014/main" id="{127EC681-F6A5-ABC0-5EDB-CF8D9CCD3013}"/>
              </a:ext>
            </a:extLst>
          </p:cNvPr>
          <p:cNvGrpSpPr/>
          <p:nvPr/>
        </p:nvGrpSpPr>
        <p:grpSpPr>
          <a:xfrm>
            <a:off x="8529623" y="2053141"/>
            <a:ext cx="338339" cy="306020"/>
            <a:chOff x="8529623" y="2053141"/>
            <a:chExt cx="338339" cy="306020"/>
          </a:xfrm>
          <a:noFill/>
        </p:grpSpPr>
        <p:sp>
          <p:nvSpPr>
            <p:cNvPr id="761" name="Forma livre: Forma 760">
              <a:extLst>
                <a:ext uri="{FF2B5EF4-FFF2-40B4-BE49-F238E27FC236}">
                  <a16:creationId xmlns:a16="http://schemas.microsoft.com/office/drawing/2014/main" id="{F8B2F770-8DC8-435D-7EDA-E646406F1C36}"/>
                </a:ext>
              </a:extLst>
            </p:cNvPr>
            <p:cNvSpPr/>
            <p:nvPr/>
          </p:nvSpPr>
          <p:spPr>
            <a:xfrm>
              <a:off x="8644310" y="2355064"/>
              <a:ext cx="15111" cy="4097"/>
            </a:xfrm>
            <a:custGeom>
              <a:avLst/>
              <a:gdLst>
                <a:gd name="connsiteX0" fmla="*/ 15112 w 15111"/>
                <a:gd name="connsiteY0" fmla="*/ 0 h 4097"/>
                <a:gd name="connsiteX1" fmla="*/ 0 w 15111"/>
                <a:gd name="connsiteY1" fmla="*/ 4098 h 40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11" h="4097">
                  <a:moveTo>
                    <a:pt x="15112" y="0"/>
                  </a:moveTo>
                  <a:cubicBezTo>
                    <a:pt x="9652" y="1362"/>
                    <a:pt x="4595" y="2759"/>
                    <a:pt x="0" y="4098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762" name="Forma livre: Forma 761">
              <a:extLst>
                <a:ext uri="{FF2B5EF4-FFF2-40B4-BE49-F238E27FC236}">
                  <a16:creationId xmlns:a16="http://schemas.microsoft.com/office/drawing/2014/main" id="{811BA8D5-9C67-BB10-0148-E8963D6291EF}"/>
                </a:ext>
              </a:extLst>
            </p:cNvPr>
            <p:cNvSpPr/>
            <p:nvPr/>
          </p:nvSpPr>
          <p:spPr>
            <a:xfrm>
              <a:off x="8679329" y="2344361"/>
              <a:ext cx="93866" cy="6285"/>
            </a:xfrm>
            <a:custGeom>
              <a:avLst/>
              <a:gdLst>
                <a:gd name="connsiteX0" fmla="*/ 93867 w 93866"/>
                <a:gd name="connsiteY0" fmla="*/ 1975 h 6285"/>
                <a:gd name="connsiteX1" fmla="*/ 0 w 93866"/>
                <a:gd name="connsiteY1" fmla="*/ 6286 h 62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3866" h="6285">
                  <a:moveTo>
                    <a:pt x="93867" y="1975"/>
                  </a:moveTo>
                  <a:cubicBezTo>
                    <a:pt x="60422" y="-2324"/>
                    <a:pt x="27250" y="980"/>
                    <a:pt x="0" y="6286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763" name="Forma livre: Forma 762">
              <a:extLst>
                <a:ext uri="{FF2B5EF4-FFF2-40B4-BE49-F238E27FC236}">
                  <a16:creationId xmlns:a16="http://schemas.microsoft.com/office/drawing/2014/main" id="{221EAEFA-96DB-9AA5-70A2-A9A5C82383F9}"/>
                </a:ext>
              </a:extLst>
            </p:cNvPr>
            <p:cNvSpPr/>
            <p:nvPr/>
          </p:nvSpPr>
          <p:spPr>
            <a:xfrm>
              <a:off x="8606969" y="2317679"/>
              <a:ext cx="221213" cy="25482"/>
            </a:xfrm>
            <a:custGeom>
              <a:avLst/>
              <a:gdLst>
                <a:gd name="connsiteX0" fmla="*/ 0 w 221213"/>
                <a:gd name="connsiteY0" fmla="*/ 25482 h 25482"/>
                <a:gd name="connsiteX1" fmla="*/ 221213 w 221213"/>
                <a:gd name="connsiteY1" fmla="*/ 6534 h 25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21213" h="25482">
                  <a:moveTo>
                    <a:pt x="0" y="25482"/>
                  </a:moveTo>
                  <a:cubicBezTo>
                    <a:pt x="0" y="25482"/>
                    <a:pt x="82249" y="-15565"/>
                    <a:pt x="221213" y="6534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764" name="Forma livre: Forma 763">
              <a:extLst>
                <a:ext uri="{FF2B5EF4-FFF2-40B4-BE49-F238E27FC236}">
                  <a16:creationId xmlns:a16="http://schemas.microsoft.com/office/drawing/2014/main" id="{017860AB-A050-36E7-20EF-E9A2B3A126C6}"/>
                </a:ext>
              </a:extLst>
            </p:cNvPr>
            <p:cNvSpPr/>
            <p:nvPr/>
          </p:nvSpPr>
          <p:spPr>
            <a:xfrm>
              <a:off x="8529623" y="2297917"/>
              <a:ext cx="124279" cy="28865"/>
            </a:xfrm>
            <a:custGeom>
              <a:avLst/>
              <a:gdLst>
                <a:gd name="connsiteX0" fmla="*/ 0 w 124279"/>
                <a:gd name="connsiteY0" fmla="*/ 1438 h 28865"/>
                <a:gd name="connsiteX1" fmla="*/ 124279 w 124279"/>
                <a:gd name="connsiteY1" fmla="*/ 28866 h 288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4279" h="28865">
                  <a:moveTo>
                    <a:pt x="0" y="1438"/>
                  </a:moveTo>
                  <a:cubicBezTo>
                    <a:pt x="0" y="1438"/>
                    <a:pt x="54548" y="-9482"/>
                    <a:pt x="124279" y="28866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765" name="Forma livre: Forma 764">
              <a:extLst>
                <a:ext uri="{FF2B5EF4-FFF2-40B4-BE49-F238E27FC236}">
                  <a16:creationId xmlns:a16="http://schemas.microsoft.com/office/drawing/2014/main" id="{0620F157-48D9-FC7A-7AD9-7B24417AD4F0}"/>
                </a:ext>
              </a:extLst>
            </p:cNvPr>
            <p:cNvSpPr/>
            <p:nvPr/>
          </p:nvSpPr>
          <p:spPr>
            <a:xfrm>
              <a:off x="8544249" y="2155736"/>
              <a:ext cx="225251" cy="74977"/>
            </a:xfrm>
            <a:custGeom>
              <a:avLst/>
              <a:gdLst>
                <a:gd name="connsiteX0" fmla="*/ 0 w 225251"/>
                <a:gd name="connsiteY0" fmla="*/ 74977 h 74977"/>
                <a:gd name="connsiteX1" fmla="*/ 112697 w 225251"/>
                <a:gd name="connsiteY1" fmla="*/ 0 h 74977"/>
                <a:gd name="connsiteX2" fmla="*/ 225252 w 225251"/>
                <a:gd name="connsiteY2" fmla="*/ 74977 h 749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25251" h="74977">
                  <a:moveTo>
                    <a:pt x="0" y="74977"/>
                  </a:moveTo>
                  <a:lnTo>
                    <a:pt x="112697" y="0"/>
                  </a:lnTo>
                  <a:lnTo>
                    <a:pt x="225252" y="74977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766" name="Gráfico 10">
              <a:extLst>
                <a:ext uri="{FF2B5EF4-FFF2-40B4-BE49-F238E27FC236}">
                  <a16:creationId xmlns:a16="http://schemas.microsoft.com/office/drawing/2014/main" id="{F6ED81E5-F524-A268-036A-98A72148212C}"/>
                </a:ext>
              </a:extLst>
            </p:cNvPr>
            <p:cNvGrpSpPr/>
            <p:nvPr/>
          </p:nvGrpSpPr>
          <p:grpSpPr>
            <a:xfrm>
              <a:off x="8574448" y="2213044"/>
              <a:ext cx="163716" cy="102677"/>
              <a:chOff x="8574448" y="2213044"/>
              <a:chExt cx="163716" cy="102677"/>
            </a:xfrm>
          </p:grpSpPr>
          <p:sp>
            <p:nvSpPr>
              <p:cNvPr id="767" name="Forma livre: Forma 766">
                <a:extLst>
                  <a:ext uri="{FF2B5EF4-FFF2-40B4-BE49-F238E27FC236}">
                    <a16:creationId xmlns:a16="http://schemas.microsoft.com/office/drawing/2014/main" id="{E0F7EF1B-B771-511F-431A-6E2C3E1EFA17}"/>
                  </a:ext>
                </a:extLst>
              </p:cNvPr>
              <p:cNvSpPr/>
              <p:nvPr/>
            </p:nvSpPr>
            <p:spPr>
              <a:xfrm>
                <a:off x="8574448" y="2234491"/>
                <a:ext cx="1184" cy="64851"/>
              </a:xfrm>
              <a:custGeom>
                <a:avLst/>
                <a:gdLst>
                  <a:gd name="connsiteX0" fmla="*/ 0 w 1184"/>
                  <a:gd name="connsiteY0" fmla="*/ 0 h 64851"/>
                  <a:gd name="connsiteX1" fmla="*/ 0 w 1184"/>
                  <a:gd name="connsiteY1" fmla="*/ 64852 h 648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84" h="64851">
                    <a:moveTo>
                      <a:pt x="0" y="0"/>
                    </a:moveTo>
                    <a:lnTo>
                      <a:pt x="0" y="64852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68" name="Forma livre: Forma 767">
                <a:extLst>
                  <a:ext uri="{FF2B5EF4-FFF2-40B4-BE49-F238E27FC236}">
                    <a16:creationId xmlns:a16="http://schemas.microsoft.com/office/drawing/2014/main" id="{AA30697E-B031-B2CF-7EC6-C9FA6965BD9E}"/>
                  </a:ext>
                </a:extLst>
              </p:cNvPr>
              <p:cNvSpPr/>
              <p:nvPr/>
            </p:nvSpPr>
            <p:spPr>
              <a:xfrm>
                <a:off x="8738164" y="2213044"/>
                <a:ext cx="1184" cy="102677"/>
              </a:xfrm>
              <a:custGeom>
                <a:avLst/>
                <a:gdLst>
                  <a:gd name="connsiteX0" fmla="*/ 0 w 1184"/>
                  <a:gd name="connsiteY0" fmla="*/ 0 h 102677"/>
                  <a:gd name="connsiteX1" fmla="*/ 0 w 1184"/>
                  <a:gd name="connsiteY1" fmla="*/ 102678 h 1026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84" h="102677">
                    <a:moveTo>
                      <a:pt x="0" y="0"/>
                    </a:moveTo>
                    <a:lnTo>
                      <a:pt x="0" y="102678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769" name="Forma livre: Forma 768">
              <a:extLst>
                <a:ext uri="{FF2B5EF4-FFF2-40B4-BE49-F238E27FC236}">
                  <a16:creationId xmlns:a16="http://schemas.microsoft.com/office/drawing/2014/main" id="{B1F22F29-F8BF-3D54-E188-3798CC0BB638}"/>
                </a:ext>
              </a:extLst>
            </p:cNvPr>
            <p:cNvSpPr/>
            <p:nvPr/>
          </p:nvSpPr>
          <p:spPr>
            <a:xfrm>
              <a:off x="8575751" y="2162404"/>
              <a:ext cx="24159" cy="31158"/>
            </a:xfrm>
            <a:custGeom>
              <a:avLst/>
              <a:gdLst>
                <a:gd name="connsiteX0" fmla="*/ 0 w 24159"/>
                <a:gd name="connsiteY0" fmla="*/ 25723 h 31158"/>
                <a:gd name="connsiteX1" fmla="*/ 0 w 24159"/>
                <a:gd name="connsiteY1" fmla="*/ 0 h 31158"/>
                <a:gd name="connsiteX2" fmla="*/ 24160 w 24159"/>
                <a:gd name="connsiteY2" fmla="*/ 0 h 31158"/>
                <a:gd name="connsiteX3" fmla="*/ 24160 w 24159"/>
                <a:gd name="connsiteY3" fmla="*/ 31159 h 311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159" h="31158">
                  <a:moveTo>
                    <a:pt x="0" y="25723"/>
                  </a:moveTo>
                  <a:lnTo>
                    <a:pt x="0" y="0"/>
                  </a:lnTo>
                  <a:lnTo>
                    <a:pt x="24160" y="0"/>
                  </a:lnTo>
                  <a:lnTo>
                    <a:pt x="24160" y="31159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770" name="Forma livre: Forma 769">
              <a:extLst>
                <a:ext uri="{FF2B5EF4-FFF2-40B4-BE49-F238E27FC236}">
                  <a16:creationId xmlns:a16="http://schemas.microsoft.com/office/drawing/2014/main" id="{6DB26E93-BADE-BBDB-5D7F-DCD2FECDFFC9}"/>
                </a:ext>
              </a:extLst>
            </p:cNvPr>
            <p:cNvSpPr/>
            <p:nvPr/>
          </p:nvSpPr>
          <p:spPr>
            <a:xfrm>
              <a:off x="8564524" y="2063835"/>
              <a:ext cx="90242" cy="76836"/>
            </a:xfrm>
            <a:custGeom>
              <a:avLst/>
              <a:gdLst>
                <a:gd name="connsiteX0" fmla="*/ 22205 w 90242"/>
                <a:gd name="connsiteY0" fmla="*/ 76837 h 76836"/>
                <a:gd name="connsiteX1" fmla="*/ 22205 w 90242"/>
                <a:gd name="connsiteY1" fmla="*/ 75901 h 76836"/>
                <a:gd name="connsiteX2" fmla="*/ 35422 w 90242"/>
                <a:gd name="connsiteY2" fmla="*/ 62673 h 76836"/>
                <a:gd name="connsiteX3" fmla="*/ 49835 w 90242"/>
                <a:gd name="connsiteY3" fmla="*/ 62673 h 76836"/>
                <a:gd name="connsiteX4" fmla="*/ 63052 w 90242"/>
                <a:gd name="connsiteY4" fmla="*/ 49397 h 76836"/>
                <a:gd name="connsiteX5" fmla="*/ 63052 w 90242"/>
                <a:gd name="connsiteY5" fmla="*/ 48651 h 76836"/>
                <a:gd name="connsiteX6" fmla="*/ 49835 w 90242"/>
                <a:gd name="connsiteY6" fmla="*/ 35434 h 76836"/>
                <a:gd name="connsiteX7" fmla="*/ 16995 w 90242"/>
                <a:gd name="connsiteY7" fmla="*/ 35434 h 76836"/>
                <a:gd name="connsiteX8" fmla="*/ 0 w 90242"/>
                <a:gd name="connsiteY8" fmla="*/ 18439 h 76836"/>
                <a:gd name="connsiteX9" fmla="*/ 0 w 90242"/>
                <a:gd name="connsiteY9" fmla="*/ 17006 h 76836"/>
                <a:gd name="connsiteX10" fmla="*/ 16995 w 90242"/>
                <a:gd name="connsiteY10" fmla="*/ 0 h 76836"/>
                <a:gd name="connsiteX11" fmla="*/ 90243 w 90242"/>
                <a:gd name="connsiteY11" fmla="*/ 0 h 768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90242" h="76836">
                  <a:moveTo>
                    <a:pt x="22205" y="76837"/>
                  </a:moveTo>
                  <a:lnTo>
                    <a:pt x="22205" y="75901"/>
                  </a:lnTo>
                  <a:cubicBezTo>
                    <a:pt x="22205" y="68629"/>
                    <a:pt x="28151" y="62673"/>
                    <a:pt x="35422" y="62673"/>
                  </a:cubicBezTo>
                  <a:lnTo>
                    <a:pt x="49835" y="62673"/>
                  </a:lnTo>
                  <a:cubicBezTo>
                    <a:pt x="57106" y="62673"/>
                    <a:pt x="63052" y="56668"/>
                    <a:pt x="63052" y="49397"/>
                  </a:cubicBezTo>
                  <a:lnTo>
                    <a:pt x="63052" y="48651"/>
                  </a:lnTo>
                  <a:cubicBezTo>
                    <a:pt x="63052" y="41379"/>
                    <a:pt x="57095" y="35434"/>
                    <a:pt x="49835" y="35434"/>
                  </a:cubicBezTo>
                  <a:lnTo>
                    <a:pt x="16995" y="35434"/>
                  </a:lnTo>
                  <a:cubicBezTo>
                    <a:pt x="7651" y="35434"/>
                    <a:pt x="0" y="27795"/>
                    <a:pt x="0" y="18439"/>
                  </a:cubicBezTo>
                  <a:lnTo>
                    <a:pt x="0" y="17006"/>
                  </a:lnTo>
                  <a:cubicBezTo>
                    <a:pt x="0" y="7650"/>
                    <a:pt x="7639" y="0"/>
                    <a:pt x="16995" y="0"/>
                  </a:cubicBezTo>
                  <a:lnTo>
                    <a:pt x="90243" y="0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771" name="Forma livre: Forma 770">
              <a:extLst>
                <a:ext uri="{FF2B5EF4-FFF2-40B4-BE49-F238E27FC236}">
                  <a16:creationId xmlns:a16="http://schemas.microsoft.com/office/drawing/2014/main" id="{3EED6F8D-008E-EBA7-8B91-9CB29A4A87A1}"/>
                </a:ext>
              </a:extLst>
            </p:cNvPr>
            <p:cNvSpPr/>
            <p:nvPr/>
          </p:nvSpPr>
          <p:spPr>
            <a:xfrm>
              <a:off x="8791943" y="2067905"/>
              <a:ext cx="54031" cy="61006"/>
            </a:xfrm>
            <a:custGeom>
              <a:avLst/>
              <a:gdLst>
                <a:gd name="connsiteX0" fmla="*/ 0 w 54031"/>
                <a:gd name="connsiteY0" fmla="*/ 10592 h 61006"/>
                <a:gd name="connsiteX1" fmla="*/ 24230 w 54031"/>
                <a:gd name="connsiteY1" fmla="*/ 16 h 61006"/>
                <a:gd name="connsiteX2" fmla="*/ 54015 w 54031"/>
                <a:gd name="connsiteY2" fmla="*/ 31779 h 61006"/>
                <a:gd name="connsiteX3" fmla="*/ 29169 w 54031"/>
                <a:gd name="connsiteY3" fmla="*/ 61007 h 610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4031" h="61006">
                  <a:moveTo>
                    <a:pt x="0" y="10592"/>
                  </a:moveTo>
                  <a:cubicBezTo>
                    <a:pt x="5862" y="3853"/>
                    <a:pt x="14602" y="-292"/>
                    <a:pt x="24230" y="16"/>
                  </a:cubicBezTo>
                  <a:cubicBezTo>
                    <a:pt x="41225" y="561"/>
                    <a:pt x="54560" y="14784"/>
                    <a:pt x="54015" y="31779"/>
                  </a:cubicBezTo>
                  <a:cubicBezTo>
                    <a:pt x="53542" y="46405"/>
                    <a:pt x="42954" y="58319"/>
                    <a:pt x="29169" y="61007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772" name="Forma livre: Forma 771">
              <a:extLst>
                <a:ext uri="{FF2B5EF4-FFF2-40B4-BE49-F238E27FC236}">
                  <a16:creationId xmlns:a16="http://schemas.microsoft.com/office/drawing/2014/main" id="{AA4688ED-AD68-92B9-3736-B42D0A49C03A}"/>
                </a:ext>
              </a:extLst>
            </p:cNvPr>
            <p:cNvSpPr/>
            <p:nvPr/>
          </p:nvSpPr>
          <p:spPr>
            <a:xfrm>
              <a:off x="8719346" y="2138682"/>
              <a:ext cx="102654" cy="48638"/>
            </a:xfrm>
            <a:custGeom>
              <a:avLst/>
              <a:gdLst>
                <a:gd name="connsiteX0" fmla="*/ 0 w 102654"/>
                <a:gd name="connsiteY0" fmla="*/ 10955 h 48638"/>
                <a:gd name="connsiteX1" fmla="*/ 15526 w 102654"/>
                <a:gd name="connsiteY1" fmla="*/ 0 h 48638"/>
                <a:gd name="connsiteX2" fmla="*/ 30969 w 102654"/>
                <a:gd name="connsiteY2" fmla="*/ 48639 h 48638"/>
                <a:gd name="connsiteX3" fmla="*/ 53175 w 102654"/>
                <a:gd name="connsiteY3" fmla="*/ 6371 h 48638"/>
                <a:gd name="connsiteX4" fmla="*/ 102654 w 102654"/>
                <a:gd name="connsiteY4" fmla="*/ 37613 h 486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654" h="48638">
                  <a:moveTo>
                    <a:pt x="0" y="10955"/>
                  </a:moveTo>
                  <a:lnTo>
                    <a:pt x="15526" y="0"/>
                  </a:lnTo>
                  <a:lnTo>
                    <a:pt x="30969" y="48639"/>
                  </a:lnTo>
                  <a:lnTo>
                    <a:pt x="53175" y="6371"/>
                  </a:lnTo>
                  <a:lnTo>
                    <a:pt x="102654" y="37613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773" name="Forma livre: Forma 772">
              <a:extLst>
                <a:ext uri="{FF2B5EF4-FFF2-40B4-BE49-F238E27FC236}">
                  <a16:creationId xmlns:a16="http://schemas.microsoft.com/office/drawing/2014/main" id="{42FFE6B5-308E-F398-0D31-0F5C34916960}"/>
                </a:ext>
              </a:extLst>
            </p:cNvPr>
            <p:cNvSpPr/>
            <p:nvPr/>
          </p:nvSpPr>
          <p:spPr>
            <a:xfrm>
              <a:off x="8693233" y="2053141"/>
              <a:ext cx="174729" cy="201648"/>
            </a:xfrm>
            <a:custGeom>
              <a:avLst/>
              <a:gdLst>
                <a:gd name="connsiteX0" fmla="*/ 0 w 174729"/>
                <a:gd name="connsiteY0" fmla="*/ 100570 h 201648"/>
                <a:gd name="connsiteX1" fmla="*/ 58232 w 174729"/>
                <a:gd name="connsiteY1" fmla="*/ 0 h 201648"/>
                <a:gd name="connsiteX2" fmla="*/ 174730 w 174729"/>
                <a:gd name="connsiteY2" fmla="*/ 201649 h 2016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74729" h="201648">
                  <a:moveTo>
                    <a:pt x="0" y="100570"/>
                  </a:moveTo>
                  <a:lnTo>
                    <a:pt x="58232" y="0"/>
                  </a:lnTo>
                  <a:lnTo>
                    <a:pt x="174730" y="201649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774" name="Forma livre: Forma 773">
              <a:extLst>
                <a:ext uri="{FF2B5EF4-FFF2-40B4-BE49-F238E27FC236}">
                  <a16:creationId xmlns:a16="http://schemas.microsoft.com/office/drawing/2014/main" id="{F19874CC-BCA9-9148-D0FA-799681D9273E}"/>
                </a:ext>
              </a:extLst>
            </p:cNvPr>
            <p:cNvSpPr/>
            <p:nvPr/>
          </p:nvSpPr>
          <p:spPr>
            <a:xfrm>
              <a:off x="8638826" y="2249911"/>
              <a:ext cx="36108" cy="72395"/>
            </a:xfrm>
            <a:custGeom>
              <a:avLst/>
              <a:gdLst>
                <a:gd name="connsiteX0" fmla="*/ 0 w 36108"/>
                <a:gd name="connsiteY0" fmla="*/ 68144 h 72395"/>
                <a:gd name="connsiteX1" fmla="*/ 0 w 36108"/>
                <a:gd name="connsiteY1" fmla="*/ 0 h 72395"/>
                <a:gd name="connsiteX2" fmla="*/ 36109 w 36108"/>
                <a:gd name="connsiteY2" fmla="*/ 0 h 72395"/>
                <a:gd name="connsiteX3" fmla="*/ 36109 w 36108"/>
                <a:gd name="connsiteY3" fmla="*/ 72396 h 723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108" h="72395">
                  <a:moveTo>
                    <a:pt x="0" y="68144"/>
                  </a:moveTo>
                  <a:lnTo>
                    <a:pt x="0" y="0"/>
                  </a:lnTo>
                  <a:lnTo>
                    <a:pt x="36109" y="0"/>
                  </a:lnTo>
                  <a:lnTo>
                    <a:pt x="36109" y="72396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775" name="Forma livre: Forma 774">
              <a:extLst>
                <a:ext uri="{FF2B5EF4-FFF2-40B4-BE49-F238E27FC236}">
                  <a16:creationId xmlns:a16="http://schemas.microsoft.com/office/drawing/2014/main" id="{1436EF64-0A7C-1698-2449-3FA5C7395014}"/>
                </a:ext>
              </a:extLst>
            </p:cNvPr>
            <p:cNvSpPr/>
            <p:nvPr/>
          </p:nvSpPr>
          <p:spPr>
            <a:xfrm>
              <a:off x="8632798" y="2191727"/>
              <a:ext cx="48165" cy="1184"/>
            </a:xfrm>
            <a:custGeom>
              <a:avLst/>
              <a:gdLst>
                <a:gd name="connsiteX0" fmla="*/ 0 w 48165"/>
                <a:gd name="connsiteY0" fmla="*/ 0 h 1184"/>
                <a:gd name="connsiteX1" fmla="*/ 48165 w 48165"/>
                <a:gd name="connsiteY1" fmla="*/ 0 h 11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8165" h="1184">
                  <a:moveTo>
                    <a:pt x="0" y="0"/>
                  </a:moveTo>
                  <a:lnTo>
                    <a:pt x="48165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776" name="Forma livre: Forma 775">
              <a:extLst>
                <a:ext uri="{FF2B5EF4-FFF2-40B4-BE49-F238E27FC236}">
                  <a16:creationId xmlns:a16="http://schemas.microsoft.com/office/drawing/2014/main" id="{88790052-0179-3B3D-BCB8-9F7FE219062E}"/>
                </a:ext>
              </a:extLst>
            </p:cNvPr>
            <p:cNvSpPr/>
            <p:nvPr/>
          </p:nvSpPr>
          <p:spPr>
            <a:xfrm>
              <a:off x="8598063" y="2220150"/>
              <a:ext cx="117635" cy="1184"/>
            </a:xfrm>
            <a:custGeom>
              <a:avLst/>
              <a:gdLst>
                <a:gd name="connsiteX0" fmla="*/ 0 w 117635"/>
                <a:gd name="connsiteY0" fmla="*/ 0 h 1184"/>
                <a:gd name="connsiteX1" fmla="*/ 117635 w 117635"/>
                <a:gd name="connsiteY1" fmla="*/ 0 h 11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635" h="1184">
                  <a:moveTo>
                    <a:pt x="0" y="0"/>
                  </a:moveTo>
                  <a:lnTo>
                    <a:pt x="117635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777" name="Gráfico 10">
              <a:extLst>
                <a:ext uri="{FF2B5EF4-FFF2-40B4-BE49-F238E27FC236}">
                  <a16:creationId xmlns:a16="http://schemas.microsoft.com/office/drawing/2014/main" id="{BEB64D3E-63D6-AF5E-BF54-CDD221DE9449}"/>
                </a:ext>
              </a:extLst>
            </p:cNvPr>
            <p:cNvGrpSpPr/>
            <p:nvPr/>
          </p:nvGrpSpPr>
          <p:grpSpPr>
            <a:xfrm>
              <a:off x="8575076" y="2249686"/>
              <a:ext cx="162602" cy="32200"/>
              <a:chOff x="8575076" y="2249686"/>
              <a:chExt cx="162602" cy="32200"/>
            </a:xfrm>
          </p:grpSpPr>
          <p:grpSp>
            <p:nvGrpSpPr>
              <p:cNvPr id="778" name="Gráfico 10">
                <a:extLst>
                  <a:ext uri="{FF2B5EF4-FFF2-40B4-BE49-F238E27FC236}">
                    <a16:creationId xmlns:a16="http://schemas.microsoft.com/office/drawing/2014/main" id="{478FA1F3-0C95-9825-C925-7DECF944B0E5}"/>
                  </a:ext>
                </a:extLst>
              </p:cNvPr>
              <p:cNvGrpSpPr/>
              <p:nvPr/>
            </p:nvGrpSpPr>
            <p:grpSpPr>
              <a:xfrm>
                <a:off x="8575076" y="2249686"/>
                <a:ext cx="43344" cy="32200"/>
                <a:chOff x="8575076" y="2249686"/>
                <a:chExt cx="43344" cy="32200"/>
              </a:xfrm>
            </p:grpSpPr>
            <p:sp>
              <p:nvSpPr>
                <p:cNvPr id="779" name="Forma livre: Forma 778">
                  <a:extLst>
                    <a:ext uri="{FF2B5EF4-FFF2-40B4-BE49-F238E27FC236}">
                      <a16:creationId xmlns:a16="http://schemas.microsoft.com/office/drawing/2014/main" id="{ABC3A0FB-E259-6AC8-6761-733939669B5D}"/>
                    </a:ext>
                  </a:extLst>
                </p:cNvPr>
                <p:cNvSpPr/>
                <p:nvPr/>
              </p:nvSpPr>
              <p:spPr>
                <a:xfrm>
                  <a:off x="8575076" y="2249686"/>
                  <a:ext cx="43344" cy="1184"/>
                </a:xfrm>
                <a:custGeom>
                  <a:avLst/>
                  <a:gdLst>
                    <a:gd name="connsiteX0" fmla="*/ 0 w 43344"/>
                    <a:gd name="connsiteY0" fmla="*/ 0 h 1184"/>
                    <a:gd name="connsiteX1" fmla="*/ 43345 w 43344"/>
                    <a:gd name="connsiteY1" fmla="*/ 0 h 118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3344" h="1184">
                      <a:moveTo>
                        <a:pt x="0" y="0"/>
                      </a:moveTo>
                      <a:lnTo>
                        <a:pt x="43345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780" name="Forma livre: Forma 779">
                  <a:extLst>
                    <a:ext uri="{FF2B5EF4-FFF2-40B4-BE49-F238E27FC236}">
                      <a16:creationId xmlns:a16="http://schemas.microsoft.com/office/drawing/2014/main" id="{31AF0A3E-95E9-FF04-4D3F-C67467917E2D}"/>
                    </a:ext>
                  </a:extLst>
                </p:cNvPr>
                <p:cNvSpPr/>
                <p:nvPr/>
              </p:nvSpPr>
              <p:spPr>
                <a:xfrm>
                  <a:off x="8575076" y="2281887"/>
                  <a:ext cx="43344" cy="1184"/>
                </a:xfrm>
                <a:custGeom>
                  <a:avLst/>
                  <a:gdLst>
                    <a:gd name="connsiteX0" fmla="*/ 0 w 43344"/>
                    <a:gd name="connsiteY0" fmla="*/ 0 h 1184"/>
                    <a:gd name="connsiteX1" fmla="*/ 43345 w 43344"/>
                    <a:gd name="connsiteY1" fmla="*/ 0 h 118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3344" h="1184">
                      <a:moveTo>
                        <a:pt x="0" y="0"/>
                      </a:moveTo>
                      <a:lnTo>
                        <a:pt x="43345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781" name="Gráfico 10">
                <a:extLst>
                  <a:ext uri="{FF2B5EF4-FFF2-40B4-BE49-F238E27FC236}">
                    <a16:creationId xmlns:a16="http://schemas.microsoft.com/office/drawing/2014/main" id="{166F0C18-413B-93C4-545B-34145700F246}"/>
                  </a:ext>
                </a:extLst>
              </p:cNvPr>
              <p:cNvGrpSpPr/>
              <p:nvPr/>
            </p:nvGrpSpPr>
            <p:grpSpPr>
              <a:xfrm>
                <a:off x="8694334" y="2249686"/>
                <a:ext cx="43344" cy="32200"/>
                <a:chOff x="8694334" y="2249686"/>
                <a:chExt cx="43344" cy="32200"/>
              </a:xfrm>
            </p:grpSpPr>
            <p:sp>
              <p:nvSpPr>
                <p:cNvPr id="782" name="Forma livre: Forma 781">
                  <a:extLst>
                    <a:ext uri="{FF2B5EF4-FFF2-40B4-BE49-F238E27FC236}">
                      <a16:creationId xmlns:a16="http://schemas.microsoft.com/office/drawing/2014/main" id="{D78156A6-F60E-40C7-2C81-2981C58FF2E2}"/>
                    </a:ext>
                  </a:extLst>
                </p:cNvPr>
                <p:cNvSpPr/>
                <p:nvPr/>
              </p:nvSpPr>
              <p:spPr>
                <a:xfrm>
                  <a:off x="8694334" y="2249686"/>
                  <a:ext cx="43344" cy="1184"/>
                </a:xfrm>
                <a:custGeom>
                  <a:avLst/>
                  <a:gdLst>
                    <a:gd name="connsiteX0" fmla="*/ 0 w 43344"/>
                    <a:gd name="connsiteY0" fmla="*/ 0 h 1184"/>
                    <a:gd name="connsiteX1" fmla="*/ 43345 w 43344"/>
                    <a:gd name="connsiteY1" fmla="*/ 0 h 118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3344" h="1184">
                      <a:moveTo>
                        <a:pt x="0" y="0"/>
                      </a:moveTo>
                      <a:lnTo>
                        <a:pt x="43345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783" name="Forma livre: Forma 782">
                  <a:extLst>
                    <a:ext uri="{FF2B5EF4-FFF2-40B4-BE49-F238E27FC236}">
                      <a16:creationId xmlns:a16="http://schemas.microsoft.com/office/drawing/2014/main" id="{4089665C-D1BC-8050-E39B-DAFD1F769618}"/>
                    </a:ext>
                  </a:extLst>
                </p:cNvPr>
                <p:cNvSpPr/>
                <p:nvPr/>
              </p:nvSpPr>
              <p:spPr>
                <a:xfrm>
                  <a:off x="8694334" y="2281887"/>
                  <a:ext cx="43344" cy="1184"/>
                </a:xfrm>
                <a:custGeom>
                  <a:avLst/>
                  <a:gdLst>
                    <a:gd name="connsiteX0" fmla="*/ 0 w 43344"/>
                    <a:gd name="connsiteY0" fmla="*/ 0 h 1184"/>
                    <a:gd name="connsiteX1" fmla="*/ 43345 w 43344"/>
                    <a:gd name="connsiteY1" fmla="*/ 0 h 118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3344" h="1184">
                      <a:moveTo>
                        <a:pt x="0" y="0"/>
                      </a:moveTo>
                      <a:lnTo>
                        <a:pt x="43345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</p:grpSp>
      <p:grpSp>
        <p:nvGrpSpPr>
          <p:cNvPr id="784" name="Gráfico 10">
            <a:extLst>
              <a:ext uri="{FF2B5EF4-FFF2-40B4-BE49-F238E27FC236}">
                <a16:creationId xmlns:a16="http://schemas.microsoft.com/office/drawing/2014/main" id="{2E46DCD8-912B-B984-5164-71F8C5459D19}"/>
              </a:ext>
            </a:extLst>
          </p:cNvPr>
          <p:cNvGrpSpPr/>
          <p:nvPr/>
        </p:nvGrpSpPr>
        <p:grpSpPr>
          <a:xfrm>
            <a:off x="8551390" y="1507990"/>
            <a:ext cx="294816" cy="329539"/>
            <a:chOff x="8551390" y="1507990"/>
            <a:chExt cx="294816" cy="329539"/>
          </a:xfrm>
          <a:noFill/>
        </p:grpSpPr>
        <p:sp>
          <p:nvSpPr>
            <p:cNvPr id="785" name="Forma livre: Forma 784">
              <a:extLst>
                <a:ext uri="{FF2B5EF4-FFF2-40B4-BE49-F238E27FC236}">
                  <a16:creationId xmlns:a16="http://schemas.microsoft.com/office/drawing/2014/main" id="{785DB793-E021-E3B6-76B8-BB3CDFFC9729}"/>
                </a:ext>
              </a:extLst>
            </p:cNvPr>
            <p:cNvSpPr/>
            <p:nvPr/>
          </p:nvSpPr>
          <p:spPr>
            <a:xfrm>
              <a:off x="8551390" y="1583192"/>
              <a:ext cx="63797" cy="221414"/>
            </a:xfrm>
            <a:custGeom>
              <a:avLst/>
              <a:gdLst>
                <a:gd name="connsiteX0" fmla="*/ 63798 w 63797"/>
                <a:gd name="connsiteY0" fmla="*/ 221415 h 221414"/>
                <a:gd name="connsiteX1" fmla="*/ 63798 w 63797"/>
                <a:gd name="connsiteY1" fmla="*/ 98284 h 221414"/>
                <a:gd name="connsiteX2" fmla="*/ 39283 w 63797"/>
                <a:gd name="connsiteY2" fmla="*/ 98284 h 221414"/>
                <a:gd name="connsiteX3" fmla="*/ 0 w 63797"/>
                <a:gd name="connsiteY3" fmla="*/ 60233 h 221414"/>
                <a:gd name="connsiteX4" fmla="*/ 0 w 63797"/>
                <a:gd name="connsiteY4" fmla="*/ 16710 h 221414"/>
                <a:gd name="connsiteX5" fmla="*/ 15775 w 63797"/>
                <a:gd name="connsiteY5" fmla="*/ 0 h 221414"/>
                <a:gd name="connsiteX6" fmla="*/ 31549 w 63797"/>
                <a:gd name="connsiteY6" fmla="*/ 16710 h 221414"/>
                <a:gd name="connsiteX7" fmla="*/ 31549 w 63797"/>
                <a:gd name="connsiteY7" fmla="*/ 52748 h 221414"/>
                <a:gd name="connsiteX8" fmla="*/ 47324 w 63797"/>
                <a:gd name="connsiteY8" fmla="*/ 67552 h 221414"/>
                <a:gd name="connsiteX9" fmla="*/ 63798 w 63797"/>
                <a:gd name="connsiteY9" fmla="*/ 67552 h 2214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63797" h="221414">
                  <a:moveTo>
                    <a:pt x="63798" y="221415"/>
                  </a:moveTo>
                  <a:lnTo>
                    <a:pt x="63798" y="98284"/>
                  </a:lnTo>
                  <a:lnTo>
                    <a:pt x="39283" y="98284"/>
                  </a:lnTo>
                  <a:cubicBezTo>
                    <a:pt x="12684" y="98284"/>
                    <a:pt x="0" y="83741"/>
                    <a:pt x="0" y="60233"/>
                  </a:cubicBezTo>
                  <a:lnTo>
                    <a:pt x="0" y="16710"/>
                  </a:lnTo>
                  <a:cubicBezTo>
                    <a:pt x="0" y="7520"/>
                    <a:pt x="7094" y="0"/>
                    <a:pt x="15775" y="0"/>
                  </a:cubicBezTo>
                  <a:cubicBezTo>
                    <a:pt x="24456" y="0"/>
                    <a:pt x="31549" y="7520"/>
                    <a:pt x="31549" y="16710"/>
                  </a:cubicBezTo>
                  <a:lnTo>
                    <a:pt x="31549" y="52748"/>
                  </a:lnTo>
                  <a:cubicBezTo>
                    <a:pt x="31549" y="61938"/>
                    <a:pt x="36819" y="67552"/>
                    <a:pt x="47324" y="67552"/>
                  </a:cubicBezTo>
                  <a:lnTo>
                    <a:pt x="63798" y="67552"/>
                  </a:lnTo>
                </a:path>
              </a:pathLst>
            </a:custGeom>
            <a:noFill/>
            <a:ln w="6350" cap="sq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786" name="Forma livre: Forma 785">
              <a:extLst>
                <a:ext uri="{FF2B5EF4-FFF2-40B4-BE49-F238E27FC236}">
                  <a16:creationId xmlns:a16="http://schemas.microsoft.com/office/drawing/2014/main" id="{D95652E7-87F2-15A4-C002-3C84EB434D84}"/>
                </a:ext>
              </a:extLst>
            </p:cNvPr>
            <p:cNvSpPr/>
            <p:nvPr/>
          </p:nvSpPr>
          <p:spPr>
            <a:xfrm>
              <a:off x="8615176" y="1529946"/>
              <a:ext cx="122408" cy="274660"/>
            </a:xfrm>
            <a:custGeom>
              <a:avLst/>
              <a:gdLst>
                <a:gd name="connsiteX0" fmla="*/ 50995 w 122408"/>
                <a:gd name="connsiteY0" fmla="*/ 274660 h 274660"/>
                <a:gd name="connsiteX1" fmla="*/ 50995 w 122408"/>
                <a:gd name="connsiteY1" fmla="*/ 199257 h 274660"/>
                <a:gd name="connsiteX2" fmla="*/ 83125 w 122408"/>
                <a:gd name="connsiteY2" fmla="*/ 199257 h 274660"/>
                <a:gd name="connsiteX3" fmla="*/ 122408 w 122408"/>
                <a:gd name="connsiteY3" fmla="*/ 161205 h 274660"/>
                <a:gd name="connsiteX4" fmla="*/ 122408 w 122408"/>
                <a:gd name="connsiteY4" fmla="*/ 116404 h 274660"/>
                <a:gd name="connsiteX5" fmla="*/ 106633 w 122408"/>
                <a:gd name="connsiteY5" fmla="*/ 99705 h 274660"/>
                <a:gd name="connsiteX6" fmla="*/ 90859 w 122408"/>
                <a:gd name="connsiteY6" fmla="*/ 116404 h 274660"/>
                <a:gd name="connsiteX7" fmla="*/ 90859 w 122408"/>
                <a:gd name="connsiteY7" fmla="*/ 153709 h 274660"/>
                <a:gd name="connsiteX8" fmla="*/ 75084 w 122408"/>
                <a:gd name="connsiteY8" fmla="*/ 168512 h 274660"/>
                <a:gd name="connsiteX9" fmla="*/ 50984 w 122408"/>
                <a:gd name="connsiteY9" fmla="*/ 168512 h 274660"/>
                <a:gd name="connsiteX10" fmla="*/ 50984 w 122408"/>
                <a:gd name="connsiteY10" fmla="*/ 25486 h 274660"/>
                <a:gd name="connsiteX11" fmla="*/ 25486 w 122408"/>
                <a:gd name="connsiteY11" fmla="*/ 0 h 274660"/>
                <a:gd name="connsiteX12" fmla="*/ 0 w 122408"/>
                <a:gd name="connsiteY12" fmla="*/ 25486 h 274660"/>
                <a:gd name="connsiteX13" fmla="*/ 0 w 122408"/>
                <a:gd name="connsiteY13" fmla="*/ 95489 h 2746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22408" h="274660">
                  <a:moveTo>
                    <a:pt x="50995" y="274660"/>
                  </a:moveTo>
                  <a:lnTo>
                    <a:pt x="50995" y="199257"/>
                  </a:lnTo>
                  <a:lnTo>
                    <a:pt x="83125" y="199257"/>
                  </a:lnTo>
                  <a:cubicBezTo>
                    <a:pt x="109724" y="199257"/>
                    <a:pt x="122408" y="184702"/>
                    <a:pt x="122408" y="161205"/>
                  </a:cubicBezTo>
                  <a:lnTo>
                    <a:pt x="122408" y="116404"/>
                  </a:lnTo>
                  <a:cubicBezTo>
                    <a:pt x="122408" y="107226"/>
                    <a:pt x="115302" y="99705"/>
                    <a:pt x="106633" y="99705"/>
                  </a:cubicBezTo>
                  <a:cubicBezTo>
                    <a:pt x="97964" y="99705"/>
                    <a:pt x="90859" y="107226"/>
                    <a:pt x="90859" y="116404"/>
                  </a:cubicBezTo>
                  <a:lnTo>
                    <a:pt x="90859" y="153709"/>
                  </a:lnTo>
                  <a:cubicBezTo>
                    <a:pt x="90859" y="162899"/>
                    <a:pt x="85588" y="168512"/>
                    <a:pt x="75084" y="168512"/>
                  </a:cubicBezTo>
                  <a:lnTo>
                    <a:pt x="50984" y="168512"/>
                  </a:lnTo>
                  <a:cubicBezTo>
                    <a:pt x="50984" y="168512"/>
                    <a:pt x="50984" y="25486"/>
                    <a:pt x="50984" y="25486"/>
                  </a:cubicBezTo>
                  <a:cubicBezTo>
                    <a:pt x="50984" y="11464"/>
                    <a:pt x="39508" y="0"/>
                    <a:pt x="25486" y="0"/>
                  </a:cubicBezTo>
                  <a:cubicBezTo>
                    <a:pt x="11464" y="0"/>
                    <a:pt x="0" y="11476"/>
                    <a:pt x="0" y="25486"/>
                  </a:cubicBezTo>
                  <a:lnTo>
                    <a:pt x="0" y="95489"/>
                  </a:lnTo>
                </a:path>
              </a:pathLst>
            </a:custGeom>
            <a:noFill/>
            <a:ln w="6350" cap="sq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787" name="Forma livre: Forma 786">
              <a:extLst>
                <a:ext uri="{FF2B5EF4-FFF2-40B4-BE49-F238E27FC236}">
                  <a16:creationId xmlns:a16="http://schemas.microsoft.com/office/drawing/2014/main" id="{FE4486F4-4B50-45EC-3437-D72A4B4E16A6}"/>
                </a:ext>
              </a:extLst>
            </p:cNvPr>
            <p:cNvSpPr/>
            <p:nvPr/>
          </p:nvSpPr>
          <p:spPr>
            <a:xfrm>
              <a:off x="8639620" y="1562419"/>
              <a:ext cx="1184" cy="170738"/>
            </a:xfrm>
            <a:custGeom>
              <a:avLst/>
              <a:gdLst>
                <a:gd name="connsiteX0" fmla="*/ 0 w 1184"/>
                <a:gd name="connsiteY0" fmla="*/ 0 h 170738"/>
                <a:gd name="connsiteX1" fmla="*/ 0 w 1184"/>
                <a:gd name="connsiteY1" fmla="*/ 170739 h 1707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84" h="170738">
                  <a:moveTo>
                    <a:pt x="0" y="0"/>
                  </a:moveTo>
                  <a:lnTo>
                    <a:pt x="0" y="170739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788" name="Forma livre: Forma 787">
              <a:extLst>
                <a:ext uri="{FF2B5EF4-FFF2-40B4-BE49-F238E27FC236}">
                  <a16:creationId xmlns:a16="http://schemas.microsoft.com/office/drawing/2014/main" id="{24BDC170-8BAE-2279-5C2B-6176AD6FB7EA}"/>
                </a:ext>
              </a:extLst>
            </p:cNvPr>
            <p:cNvSpPr/>
            <p:nvPr/>
          </p:nvSpPr>
          <p:spPr>
            <a:xfrm>
              <a:off x="8639620" y="1755103"/>
              <a:ext cx="1184" cy="48153"/>
            </a:xfrm>
            <a:custGeom>
              <a:avLst/>
              <a:gdLst>
                <a:gd name="connsiteX0" fmla="*/ 0 w 1184"/>
                <a:gd name="connsiteY0" fmla="*/ 0 h 48153"/>
                <a:gd name="connsiteX1" fmla="*/ 0 w 1184"/>
                <a:gd name="connsiteY1" fmla="*/ 48153 h 481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84" h="48153">
                  <a:moveTo>
                    <a:pt x="0" y="0"/>
                  </a:moveTo>
                  <a:lnTo>
                    <a:pt x="0" y="48153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789" name="Forma livre: Forma 788">
              <a:extLst>
                <a:ext uri="{FF2B5EF4-FFF2-40B4-BE49-F238E27FC236}">
                  <a16:creationId xmlns:a16="http://schemas.microsoft.com/office/drawing/2014/main" id="{AE5C6EB1-0F6C-F264-79EC-3E292F4416FA}"/>
                </a:ext>
              </a:extLst>
            </p:cNvPr>
            <p:cNvSpPr/>
            <p:nvPr/>
          </p:nvSpPr>
          <p:spPr>
            <a:xfrm>
              <a:off x="8593515" y="1806087"/>
              <a:ext cx="95595" cy="1184"/>
            </a:xfrm>
            <a:custGeom>
              <a:avLst/>
              <a:gdLst>
                <a:gd name="connsiteX0" fmla="*/ 0 w 95595"/>
                <a:gd name="connsiteY0" fmla="*/ 0 h 1184"/>
                <a:gd name="connsiteX1" fmla="*/ 95596 w 95595"/>
                <a:gd name="connsiteY1" fmla="*/ 0 h 11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595" h="1184">
                  <a:moveTo>
                    <a:pt x="0" y="0"/>
                  </a:moveTo>
                  <a:lnTo>
                    <a:pt x="95596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790" name="Forma livre: Forma 789">
              <a:extLst>
                <a:ext uri="{FF2B5EF4-FFF2-40B4-BE49-F238E27FC236}">
                  <a16:creationId xmlns:a16="http://schemas.microsoft.com/office/drawing/2014/main" id="{9BCC6211-357C-FFD2-5226-BB2E4086B454}"/>
                </a:ext>
              </a:extLst>
            </p:cNvPr>
            <p:cNvSpPr/>
            <p:nvPr/>
          </p:nvSpPr>
          <p:spPr>
            <a:xfrm>
              <a:off x="8709078" y="1806087"/>
              <a:ext cx="15573" cy="1184"/>
            </a:xfrm>
            <a:custGeom>
              <a:avLst/>
              <a:gdLst>
                <a:gd name="connsiteX0" fmla="*/ 0 w 15573"/>
                <a:gd name="connsiteY0" fmla="*/ 0 h 1184"/>
                <a:gd name="connsiteX1" fmla="*/ 15573 w 15573"/>
                <a:gd name="connsiteY1" fmla="*/ 0 h 11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573" h="1184">
                  <a:moveTo>
                    <a:pt x="0" y="0"/>
                  </a:moveTo>
                  <a:lnTo>
                    <a:pt x="15573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791" name="Forma livre: Forma 790">
              <a:extLst>
                <a:ext uri="{FF2B5EF4-FFF2-40B4-BE49-F238E27FC236}">
                  <a16:creationId xmlns:a16="http://schemas.microsoft.com/office/drawing/2014/main" id="{C0AB2E3D-6CB8-E396-08BD-8D0453641312}"/>
                </a:ext>
              </a:extLst>
            </p:cNvPr>
            <p:cNvSpPr/>
            <p:nvPr/>
          </p:nvSpPr>
          <p:spPr>
            <a:xfrm>
              <a:off x="8752222" y="1530053"/>
              <a:ext cx="49744" cy="49740"/>
            </a:xfrm>
            <a:custGeom>
              <a:avLst/>
              <a:gdLst>
                <a:gd name="connsiteX0" fmla="*/ 42457 w 49744"/>
                <a:gd name="connsiteY0" fmla="*/ 42457 h 49740"/>
                <a:gd name="connsiteX1" fmla="*/ 7283 w 49744"/>
                <a:gd name="connsiteY1" fmla="*/ 42457 h 49740"/>
                <a:gd name="connsiteX2" fmla="*/ 7283 w 49744"/>
                <a:gd name="connsiteY2" fmla="*/ 7283 h 49740"/>
                <a:gd name="connsiteX3" fmla="*/ 42457 w 49744"/>
                <a:gd name="connsiteY3" fmla="*/ 7283 h 49740"/>
                <a:gd name="connsiteX4" fmla="*/ 42457 w 49744"/>
                <a:gd name="connsiteY4" fmla="*/ 42457 h 497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9744" h="49740">
                  <a:moveTo>
                    <a:pt x="42457" y="42457"/>
                  </a:moveTo>
                  <a:cubicBezTo>
                    <a:pt x="32746" y="52168"/>
                    <a:pt x="16995" y="52168"/>
                    <a:pt x="7283" y="42457"/>
                  </a:cubicBezTo>
                  <a:cubicBezTo>
                    <a:pt x="-2428" y="32746"/>
                    <a:pt x="-2428" y="16995"/>
                    <a:pt x="7283" y="7283"/>
                  </a:cubicBezTo>
                  <a:cubicBezTo>
                    <a:pt x="16995" y="-2428"/>
                    <a:pt x="32746" y="-2428"/>
                    <a:pt x="42457" y="7283"/>
                  </a:cubicBezTo>
                  <a:cubicBezTo>
                    <a:pt x="52180" y="16995"/>
                    <a:pt x="52168" y="32746"/>
                    <a:pt x="42457" y="42457"/>
                  </a:cubicBez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792" name="Forma livre: Forma 791">
              <a:extLst>
                <a:ext uri="{FF2B5EF4-FFF2-40B4-BE49-F238E27FC236}">
                  <a16:creationId xmlns:a16="http://schemas.microsoft.com/office/drawing/2014/main" id="{065EE00C-A75A-81EC-C817-8F9E37FE50B5}"/>
                </a:ext>
              </a:extLst>
            </p:cNvPr>
            <p:cNvSpPr/>
            <p:nvPr/>
          </p:nvSpPr>
          <p:spPr>
            <a:xfrm>
              <a:off x="8730163" y="1516090"/>
              <a:ext cx="20554" cy="74112"/>
            </a:xfrm>
            <a:custGeom>
              <a:avLst/>
              <a:gdLst>
                <a:gd name="connsiteX0" fmla="*/ 15983 w 20554"/>
                <a:gd name="connsiteY0" fmla="*/ 74113 h 74112"/>
                <a:gd name="connsiteX1" fmla="*/ 13745 w 20554"/>
                <a:gd name="connsiteY1" fmla="*/ 72017 h 74112"/>
                <a:gd name="connsiteX2" fmla="*/ 13745 w 20554"/>
                <a:gd name="connsiteY2" fmla="*/ 5649 h 74112"/>
                <a:gd name="connsiteX3" fmla="*/ 20555 w 20554"/>
                <a:gd name="connsiteY3" fmla="*/ 0 h 741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554" h="74112">
                  <a:moveTo>
                    <a:pt x="15983" y="74113"/>
                  </a:moveTo>
                  <a:cubicBezTo>
                    <a:pt x="15226" y="73438"/>
                    <a:pt x="14468" y="72739"/>
                    <a:pt x="13745" y="72017"/>
                  </a:cubicBezTo>
                  <a:cubicBezTo>
                    <a:pt x="-4576" y="53684"/>
                    <a:pt x="-4588" y="23982"/>
                    <a:pt x="13745" y="5649"/>
                  </a:cubicBezTo>
                  <a:cubicBezTo>
                    <a:pt x="15877" y="3517"/>
                    <a:pt x="18151" y="1646"/>
                    <a:pt x="20555" y="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793" name="Forma livre: Forma 792">
              <a:extLst>
                <a:ext uri="{FF2B5EF4-FFF2-40B4-BE49-F238E27FC236}">
                  <a16:creationId xmlns:a16="http://schemas.microsoft.com/office/drawing/2014/main" id="{77389F5A-3B19-A1FF-A88E-C7D2DD929716}"/>
                </a:ext>
              </a:extLst>
            </p:cNvPr>
            <p:cNvSpPr/>
            <p:nvPr/>
          </p:nvSpPr>
          <p:spPr>
            <a:xfrm>
              <a:off x="8764349" y="1534967"/>
              <a:ext cx="59669" cy="66883"/>
            </a:xfrm>
            <a:custGeom>
              <a:avLst/>
              <a:gdLst>
                <a:gd name="connsiteX0" fmla="*/ 55235 w 59669"/>
                <a:gd name="connsiteY0" fmla="*/ 0 h 66883"/>
                <a:gd name="connsiteX1" fmla="*/ 45927 w 59669"/>
                <a:gd name="connsiteY1" fmla="*/ 53139 h 66883"/>
                <a:gd name="connsiteX2" fmla="*/ 0 w 59669"/>
                <a:gd name="connsiteY2" fmla="*/ 65124 h 668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59669" h="66883">
                  <a:moveTo>
                    <a:pt x="55235" y="0"/>
                  </a:moveTo>
                  <a:cubicBezTo>
                    <a:pt x="63395" y="17397"/>
                    <a:pt x="60292" y="38762"/>
                    <a:pt x="45927" y="53139"/>
                  </a:cubicBezTo>
                  <a:cubicBezTo>
                    <a:pt x="33492" y="65574"/>
                    <a:pt x="15810" y="69577"/>
                    <a:pt x="0" y="65124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794" name="Forma livre: Forma 793">
              <a:extLst>
                <a:ext uri="{FF2B5EF4-FFF2-40B4-BE49-F238E27FC236}">
                  <a16:creationId xmlns:a16="http://schemas.microsoft.com/office/drawing/2014/main" id="{69AA5320-4910-B706-E8A2-1C71B493419C}"/>
                </a:ext>
              </a:extLst>
            </p:cNvPr>
            <p:cNvSpPr/>
            <p:nvPr/>
          </p:nvSpPr>
          <p:spPr>
            <a:xfrm>
              <a:off x="8769868" y="1507990"/>
              <a:ext cx="37873" cy="11392"/>
            </a:xfrm>
            <a:custGeom>
              <a:avLst/>
              <a:gdLst>
                <a:gd name="connsiteX0" fmla="*/ 0 w 37873"/>
                <a:gd name="connsiteY0" fmla="*/ 556 h 11392"/>
                <a:gd name="connsiteX1" fmla="*/ 37874 w 37873"/>
                <a:gd name="connsiteY1" fmla="*/ 11392 h 113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7873" h="11392">
                  <a:moveTo>
                    <a:pt x="0" y="556"/>
                  </a:moveTo>
                  <a:cubicBezTo>
                    <a:pt x="13228" y="-1493"/>
                    <a:pt x="27144" y="2119"/>
                    <a:pt x="37874" y="11392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795" name="Gráfico 10">
              <a:extLst>
                <a:ext uri="{FF2B5EF4-FFF2-40B4-BE49-F238E27FC236}">
                  <a16:creationId xmlns:a16="http://schemas.microsoft.com/office/drawing/2014/main" id="{58EEAE33-E58C-BF44-4C29-65DC6A913E1A}"/>
                </a:ext>
              </a:extLst>
            </p:cNvPr>
            <p:cNvGrpSpPr/>
            <p:nvPr/>
          </p:nvGrpSpPr>
          <p:grpSpPr>
            <a:xfrm>
              <a:off x="8783842" y="1665891"/>
              <a:ext cx="45050" cy="102381"/>
              <a:chOff x="8783842" y="1665891"/>
              <a:chExt cx="45050" cy="102381"/>
            </a:xfrm>
            <a:noFill/>
          </p:grpSpPr>
          <p:sp>
            <p:nvSpPr>
              <p:cNvPr id="796" name="Forma livre: Forma 795">
                <a:extLst>
                  <a:ext uri="{FF2B5EF4-FFF2-40B4-BE49-F238E27FC236}">
                    <a16:creationId xmlns:a16="http://schemas.microsoft.com/office/drawing/2014/main" id="{0BE94D5B-8EA7-D7B4-BEFB-67BA2F54397E}"/>
                  </a:ext>
                </a:extLst>
              </p:cNvPr>
              <p:cNvSpPr/>
              <p:nvPr/>
            </p:nvSpPr>
            <p:spPr>
              <a:xfrm>
                <a:off x="8805100" y="1665891"/>
                <a:ext cx="1184" cy="102381"/>
              </a:xfrm>
              <a:custGeom>
                <a:avLst/>
                <a:gdLst>
                  <a:gd name="connsiteX0" fmla="*/ 0 w 1184"/>
                  <a:gd name="connsiteY0" fmla="*/ 0 h 102381"/>
                  <a:gd name="connsiteX1" fmla="*/ 0 w 1184"/>
                  <a:gd name="connsiteY1" fmla="*/ 102382 h 1023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84" h="102381">
                    <a:moveTo>
                      <a:pt x="0" y="0"/>
                    </a:moveTo>
                    <a:lnTo>
                      <a:pt x="0" y="102382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97" name="Forma livre: Forma 796">
                <a:extLst>
                  <a:ext uri="{FF2B5EF4-FFF2-40B4-BE49-F238E27FC236}">
                    <a16:creationId xmlns:a16="http://schemas.microsoft.com/office/drawing/2014/main" id="{52CBE1BA-52A3-7943-49AC-C8427CDCC0D0}"/>
                  </a:ext>
                </a:extLst>
              </p:cNvPr>
              <p:cNvSpPr/>
              <p:nvPr/>
            </p:nvSpPr>
            <p:spPr>
              <a:xfrm>
                <a:off x="8783842" y="1682234"/>
                <a:ext cx="19765" cy="30815"/>
              </a:xfrm>
              <a:custGeom>
                <a:avLst/>
                <a:gdLst>
                  <a:gd name="connsiteX0" fmla="*/ 19766 w 19765"/>
                  <a:gd name="connsiteY0" fmla="*/ 30815 h 30815"/>
                  <a:gd name="connsiteX1" fmla="*/ 8503 w 19765"/>
                  <a:gd name="connsiteY1" fmla="*/ 30815 h 30815"/>
                  <a:gd name="connsiteX2" fmla="*/ 0 w 19765"/>
                  <a:gd name="connsiteY2" fmla="*/ 22312 h 30815"/>
                  <a:gd name="connsiteX3" fmla="*/ 0 w 19765"/>
                  <a:gd name="connsiteY3" fmla="*/ 0 h 308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9765" h="30815">
                    <a:moveTo>
                      <a:pt x="19766" y="30815"/>
                    </a:moveTo>
                    <a:lnTo>
                      <a:pt x="8503" y="30815"/>
                    </a:lnTo>
                    <a:cubicBezTo>
                      <a:pt x="3825" y="30815"/>
                      <a:pt x="0" y="26990"/>
                      <a:pt x="0" y="22312"/>
                    </a:cubicBezTo>
                    <a:lnTo>
                      <a:pt x="0" y="0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98" name="Forma livre: Forma 797">
                <a:extLst>
                  <a:ext uri="{FF2B5EF4-FFF2-40B4-BE49-F238E27FC236}">
                    <a16:creationId xmlns:a16="http://schemas.microsoft.com/office/drawing/2014/main" id="{B7A4B6B2-61E0-6993-3D87-D32F8E0DD524}"/>
                  </a:ext>
                </a:extLst>
              </p:cNvPr>
              <p:cNvSpPr/>
              <p:nvPr/>
            </p:nvSpPr>
            <p:spPr>
              <a:xfrm>
                <a:off x="8806297" y="1705173"/>
                <a:ext cx="22596" cy="30803"/>
              </a:xfrm>
              <a:custGeom>
                <a:avLst/>
                <a:gdLst>
                  <a:gd name="connsiteX0" fmla="*/ 0 w 22596"/>
                  <a:gd name="connsiteY0" fmla="*/ 30803 h 30803"/>
                  <a:gd name="connsiteX1" fmla="*/ 14105 w 22596"/>
                  <a:gd name="connsiteY1" fmla="*/ 30803 h 30803"/>
                  <a:gd name="connsiteX2" fmla="*/ 22596 w 22596"/>
                  <a:gd name="connsiteY2" fmla="*/ 22300 h 30803"/>
                  <a:gd name="connsiteX3" fmla="*/ 22596 w 22596"/>
                  <a:gd name="connsiteY3" fmla="*/ 0 h 308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2596" h="30803">
                    <a:moveTo>
                      <a:pt x="0" y="30803"/>
                    </a:moveTo>
                    <a:lnTo>
                      <a:pt x="14105" y="30803"/>
                    </a:lnTo>
                    <a:cubicBezTo>
                      <a:pt x="18783" y="30803"/>
                      <a:pt x="22596" y="26978"/>
                      <a:pt x="22596" y="22300"/>
                    </a:cubicBezTo>
                    <a:lnTo>
                      <a:pt x="22596" y="0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799" name="Forma livre: Forma 798">
              <a:extLst>
                <a:ext uri="{FF2B5EF4-FFF2-40B4-BE49-F238E27FC236}">
                  <a16:creationId xmlns:a16="http://schemas.microsoft.com/office/drawing/2014/main" id="{D4973ACF-EFBE-B175-3AA0-C09F01EE31AA}"/>
                </a:ext>
              </a:extLst>
            </p:cNvPr>
            <p:cNvSpPr/>
            <p:nvPr/>
          </p:nvSpPr>
          <p:spPr>
            <a:xfrm>
              <a:off x="8560912" y="1769978"/>
              <a:ext cx="28778" cy="1184"/>
            </a:xfrm>
            <a:custGeom>
              <a:avLst/>
              <a:gdLst>
                <a:gd name="connsiteX0" fmla="*/ 0 w 28778"/>
                <a:gd name="connsiteY0" fmla="*/ 0 h 1184"/>
                <a:gd name="connsiteX1" fmla="*/ 28778 w 28778"/>
                <a:gd name="connsiteY1" fmla="*/ 0 h 11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8778" h="1184">
                  <a:moveTo>
                    <a:pt x="0" y="0"/>
                  </a:moveTo>
                  <a:lnTo>
                    <a:pt x="28778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00" name="Forma livre: Forma 799">
              <a:extLst>
                <a:ext uri="{FF2B5EF4-FFF2-40B4-BE49-F238E27FC236}">
                  <a16:creationId xmlns:a16="http://schemas.microsoft.com/office/drawing/2014/main" id="{675413B5-2C92-40AA-7107-C7E128501F72}"/>
                </a:ext>
              </a:extLst>
            </p:cNvPr>
            <p:cNvSpPr/>
            <p:nvPr/>
          </p:nvSpPr>
          <p:spPr>
            <a:xfrm>
              <a:off x="8693789" y="1769978"/>
              <a:ext cx="152417" cy="1184"/>
            </a:xfrm>
            <a:custGeom>
              <a:avLst/>
              <a:gdLst>
                <a:gd name="connsiteX0" fmla="*/ 0 w 152417"/>
                <a:gd name="connsiteY0" fmla="*/ 0 h 1184"/>
                <a:gd name="connsiteX1" fmla="*/ 152418 w 152417"/>
                <a:gd name="connsiteY1" fmla="*/ 0 h 11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2417" h="1184">
                  <a:moveTo>
                    <a:pt x="0" y="0"/>
                  </a:moveTo>
                  <a:lnTo>
                    <a:pt x="152418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01" name="Forma livre: Forma 800">
              <a:extLst>
                <a:ext uri="{FF2B5EF4-FFF2-40B4-BE49-F238E27FC236}">
                  <a16:creationId xmlns:a16="http://schemas.microsoft.com/office/drawing/2014/main" id="{6D3591B4-6C1A-E60C-B882-75C893492F1D}"/>
                </a:ext>
              </a:extLst>
            </p:cNvPr>
            <p:cNvSpPr/>
            <p:nvPr/>
          </p:nvSpPr>
          <p:spPr>
            <a:xfrm>
              <a:off x="8674663" y="1837529"/>
              <a:ext cx="112590" cy="1184"/>
            </a:xfrm>
            <a:custGeom>
              <a:avLst/>
              <a:gdLst>
                <a:gd name="connsiteX0" fmla="*/ 0 w 112590"/>
                <a:gd name="connsiteY0" fmla="*/ 0 h 1184"/>
                <a:gd name="connsiteX1" fmla="*/ 112590 w 112590"/>
                <a:gd name="connsiteY1" fmla="*/ 0 h 11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590" h="1184">
                  <a:moveTo>
                    <a:pt x="0" y="0"/>
                  </a:moveTo>
                  <a:lnTo>
                    <a:pt x="11259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02" name="Forma livre: Forma 801">
              <a:extLst>
                <a:ext uri="{FF2B5EF4-FFF2-40B4-BE49-F238E27FC236}">
                  <a16:creationId xmlns:a16="http://schemas.microsoft.com/office/drawing/2014/main" id="{D5DC51F6-E3DE-A480-F2D6-319D3CFB656A}"/>
                </a:ext>
              </a:extLst>
            </p:cNvPr>
            <p:cNvSpPr/>
            <p:nvPr/>
          </p:nvSpPr>
          <p:spPr>
            <a:xfrm>
              <a:off x="8767499" y="1806087"/>
              <a:ext cx="55235" cy="1184"/>
            </a:xfrm>
            <a:custGeom>
              <a:avLst/>
              <a:gdLst>
                <a:gd name="connsiteX0" fmla="*/ 0 w 55235"/>
                <a:gd name="connsiteY0" fmla="*/ 0 h 1184"/>
                <a:gd name="connsiteX1" fmla="*/ 55235 w 55235"/>
                <a:gd name="connsiteY1" fmla="*/ 0 h 11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5235" h="1184">
                  <a:moveTo>
                    <a:pt x="0" y="0"/>
                  </a:moveTo>
                  <a:lnTo>
                    <a:pt x="55235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03" name="Forma livre: Forma 802">
              <a:extLst>
                <a:ext uri="{FF2B5EF4-FFF2-40B4-BE49-F238E27FC236}">
                  <a16:creationId xmlns:a16="http://schemas.microsoft.com/office/drawing/2014/main" id="{5CEA4EC5-B2FF-205E-6976-407FBD5DC521}"/>
                </a:ext>
              </a:extLst>
            </p:cNvPr>
            <p:cNvSpPr/>
            <p:nvPr/>
          </p:nvSpPr>
          <p:spPr>
            <a:xfrm>
              <a:off x="8751855" y="1731749"/>
              <a:ext cx="1184" cy="36108"/>
            </a:xfrm>
            <a:custGeom>
              <a:avLst/>
              <a:gdLst>
                <a:gd name="connsiteX0" fmla="*/ 0 w 1184"/>
                <a:gd name="connsiteY0" fmla="*/ 0 h 36108"/>
                <a:gd name="connsiteX1" fmla="*/ 0 w 1184"/>
                <a:gd name="connsiteY1" fmla="*/ 36109 h 361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84" h="36108">
                  <a:moveTo>
                    <a:pt x="0" y="0"/>
                  </a:moveTo>
                  <a:lnTo>
                    <a:pt x="0" y="36109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804" name="Gráfico 10">
            <a:extLst>
              <a:ext uri="{FF2B5EF4-FFF2-40B4-BE49-F238E27FC236}">
                <a16:creationId xmlns:a16="http://schemas.microsoft.com/office/drawing/2014/main" id="{CAC4A765-83DA-665D-7FB3-C81AB998BF74}"/>
              </a:ext>
            </a:extLst>
          </p:cNvPr>
          <p:cNvGrpSpPr/>
          <p:nvPr/>
        </p:nvGrpSpPr>
        <p:grpSpPr>
          <a:xfrm>
            <a:off x="8517153" y="3137784"/>
            <a:ext cx="363292" cy="270361"/>
            <a:chOff x="8517153" y="3137784"/>
            <a:chExt cx="363292" cy="270361"/>
          </a:xfrm>
        </p:grpSpPr>
        <p:sp>
          <p:nvSpPr>
            <p:cNvPr id="805" name="Forma livre: Forma 804">
              <a:extLst>
                <a:ext uri="{FF2B5EF4-FFF2-40B4-BE49-F238E27FC236}">
                  <a16:creationId xmlns:a16="http://schemas.microsoft.com/office/drawing/2014/main" id="{4C733B1E-852A-9E06-835F-A58B392F51B7}"/>
                </a:ext>
              </a:extLst>
            </p:cNvPr>
            <p:cNvSpPr/>
            <p:nvPr/>
          </p:nvSpPr>
          <p:spPr>
            <a:xfrm>
              <a:off x="8638791" y="3137784"/>
              <a:ext cx="1184" cy="37423"/>
            </a:xfrm>
            <a:custGeom>
              <a:avLst/>
              <a:gdLst>
                <a:gd name="connsiteX0" fmla="*/ 0 w 1184"/>
                <a:gd name="connsiteY0" fmla="*/ 0 h 37423"/>
                <a:gd name="connsiteX1" fmla="*/ 0 w 1184"/>
                <a:gd name="connsiteY1" fmla="*/ 37423 h 374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84" h="37423">
                  <a:moveTo>
                    <a:pt x="0" y="0"/>
                  </a:moveTo>
                  <a:lnTo>
                    <a:pt x="0" y="37423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06" name="Forma livre: Forma 805">
              <a:extLst>
                <a:ext uri="{FF2B5EF4-FFF2-40B4-BE49-F238E27FC236}">
                  <a16:creationId xmlns:a16="http://schemas.microsoft.com/office/drawing/2014/main" id="{934E77CD-27E1-82C9-917C-F57AD6C43BD8}"/>
                </a:ext>
              </a:extLst>
            </p:cNvPr>
            <p:cNvSpPr/>
            <p:nvPr/>
          </p:nvSpPr>
          <p:spPr>
            <a:xfrm>
              <a:off x="8620067" y="3156496"/>
              <a:ext cx="37423" cy="1184"/>
            </a:xfrm>
            <a:custGeom>
              <a:avLst/>
              <a:gdLst>
                <a:gd name="connsiteX0" fmla="*/ 37424 w 37423"/>
                <a:gd name="connsiteY0" fmla="*/ 0 h 1184"/>
                <a:gd name="connsiteX1" fmla="*/ 0 w 37423"/>
                <a:gd name="connsiteY1" fmla="*/ 0 h 11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7423" h="1184">
                  <a:moveTo>
                    <a:pt x="37424" y="0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07" name="Forma livre: Forma 806">
              <a:extLst>
                <a:ext uri="{FF2B5EF4-FFF2-40B4-BE49-F238E27FC236}">
                  <a16:creationId xmlns:a16="http://schemas.microsoft.com/office/drawing/2014/main" id="{CBBF52A4-3633-2D1C-31F6-E5BA6400B594}"/>
                </a:ext>
              </a:extLst>
            </p:cNvPr>
            <p:cNvSpPr/>
            <p:nvPr/>
          </p:nvSpPr>
          <p:spPr>
            <a:xfrm>
              <a:off x="8821065" y="3174805"/>
              <a:ext cx="7105" cy="7105"/>
            </a:xfrm>
            <a:custGeom>
              <a:avLst/>
              <a:gdLst>
                <a:gd name="connsiteX0" fmla="*/ 7106 w 7105"/>
                <a:gd name="connsiteY0" fmla="*/ 3553 h 7105"/>
                <a:gd name="connsiteX1" fmla="*/ 3565 w 7105"/>
                <a:gd name="connsiteY1" fmla="*/ 7106 h 7105"/>
                <a:gd name="connsiteX2" fmla="*/ 0 w 7105"/>
                <a:gd name="connsiteY2" fmla="*/ 3553 h 7105"/>
                <a:gd name="connsiteX3" fmla="*/ 3565 w 7105"/>
                <a:gd name="connsiteY3" fmla="*/ 0 h 7105"/>
                <a:gd name="connsiteX4" fmla="*/ 7106 w 7105"/>
                <a:gd name="connsiteY4" fmla="*/ 3553 h 71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05" h="7105">
                  <a:moveTo>
                    <a:pt x="7106" y="3553"/>
                  </a:moveTo>
                  <a:cubicBezTo>
                    <a:pt x="7106" y="5519"/>
                    <a:pt x="5531" y="7106"/>
                    <a:pt x="3565" y="7106"/>
                  </a:cubicBezTo>
                  <a:cubicBezTo>
                    <a:pt x="1599" y="7106"/>
                    <a:pt x="0" y="5519"/>
                    <a:pt x="0" y="3553"/>
                  </a:cubicBezTo>
                  <a:cubicBezTo>
                    <a:pt x="0" y="1587"/>
                    <a:pt x="1599" y="0"/>
                    <a:pt x="3565" y="0"/>
                  </a:cubicBezTo>
                  <a:cubicBezTo>
                    <a:pt x="5531" y="0"/>
                    <a:pt x="7106" y="1587"/>
                    <a:pt x="7106" y="3553"/>
                  </a:cubicBezTo>
                  <a:close/>
                </a:path>
              </a:pathLst>
            </a:custGeom>
            <a:solidFill>
              <a:srgbClr val="394552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08" name="Forma livre: Forma 807">
              <a:extLst>
                <a:ext uri="{FF2B5EF4-FFF2-40B4-BE49-F238E27FC236}">
                  <a16:creationId xmlns:a16="http://schemas.microsoft.com/office/drawing/2014/main" id="{13FD4CC2-FF04-0B59-38F1-BB8B610A0C75}"/>
                </a:ext>
              </a:extLst>
            </p:cNvPr>
            <p:cNvSpPr/>
            <p:nvPr/>
          </p:nvSpPr>
          <p:spPr>
            <a:xfrm>
              <a:off x="8654483" y="3244855"/>
              <a:ext cx="7105" cy="7105"/>
            </a:xfrm>
            <a:custGeom>
              <a:avLst/>
              <a:gdLst>
                <a:gd name="connsiteX0" fmla="*/ 7106 w 7105"/>
                <a:gd name="connsiteY0" fmla="*/ 3553 h 7105"/>
                <a:gd name="connsiteX1" fmla="*/ 3553 w 7105"/>
                <a:gd name="connsiteY1" fmla="*/ 7106 h 7105"/>
                <a:gd name="connsiteX2" fmla="*/ 0 w 7105"/>
                <a:gd name="connsiteY2" fmla="*/ 3553 h 7105"/>
                <a:gd name="connsiteX3" fmla="*/ 3565 w 7105"/>
                <a:gd name="connsiteY3" fmla="*/ 0 h 7105"/>
                <a:gd name="connsiteX4" fmla="*/ 7106 w 7105"/>
                <a:gd name="connsiteY4" fmla="*/ 3553 h 71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05" h="7105">
                  <a:moveTo>
                    <a:pt x="7106" y="3553"/>
                  </a:moveTo>
                  <a:cubicBezTo>
                    <a:pt x="7106" y="5519"/>
                    <a:pt x="5531" y="7106"/>
                    <a:pt x="3553" y="7106"/>
                  </a:cubicBezTo>
                  <a:cubicBezTo>
                    <a:pt x="1575" y="7106"/>
                    <a:pt x="0" y="5519"/>
                    <a:pt x="0" y="3553"/>
                  </a:cubicBezTo>
                  <a:cubicBezTo>
                    <a:pt x="0" y="1587"/>
                    <a:pt x="1599" y="0"/>
                    <a:pt x="3565" y="0"/>
                  </a:cubicBezTo>
                  <a:cubicBezTo>
                    <a:pt x="5531" y="0"/>
                    <a:pt x="7106" y="1587"/>
                    <a:pt x="7106" y="3553"/>
                  </a:cubicBezTo>
                  <a:close/>
                </a:path>
              </a:pathLst>
            </a:custGeom>
            <a:solidFill>
              <a:srgbClr val="394552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09" name="Forma livre: Forma 808">
              <a:extLst>
                <a:ext uri="{FF2B5EF4-FFF2-40B4-BE49-F238E27FC236}">
                  <a16:creationId xmlns:a16="http://schemas.microsoft.com/office/drawing/2014/main" id="{98F7EE7E-EEC0-0F6C-DAEC-8D301C25FE1D}"/>
                </a:ext>
              </a:extLst>
            </p:cNvPr>
            <p:cNvSpPr/>
            <p:nvPr/>
          </p:nvSpPr>
          <p:spPr>
            <a:xfrm>
              <a:off x="8750967" y="3138992"/>
              <a:ext cx="7105" cy="7105"/>
            </a:xfrm>
            <a:custGeom>
              <a:avLst/>
              <a:gdLst>
                <a:gd name="connsiteX0" fmla="*/ 7106 w 7105"/>
                <a:gd name="connsiteY0" fmla="*/ 3553 h 7105"/>
                <a:gd name="connsiteX1" fmla="*/ 3565 w 7105"/>
                <a:gd name="connsiteY1" fmla="*/ 7106 h 7105"/>
                <a:gd name="connsiteX2" fmla="*/ 0 w 7105"/>
                <a:gd name="connsiteY2" fmla="*/ 3553 h 7105"/>
                <a:gd name="connsiteX3" fmla="*/ 3553 w 7105"/>
                <a:gd name="connsiteY3" fmla="*/ 0 h 7105"/>
                <a:gd name="connsiteX4" fmla="*/ 7106 w 7105"/>
                <a:gd name="connsiteY4" fmla="*/ 3553 h 71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05" h="7105">
                  <a:moveTo>
                    <a:pt x="7106" y="3553"/>
                  </a:moveTo>
                  <a:cubicBezTo>
                    <a:pt x="7106" y="5519"/>
                    <a:pt x="5531" y="7106"/>
                    <a:pt x="3565" y="7106"/>
                  </a:cubicBezTo>
                  <a:cubicBezTo>
                    <a:pt x="1599" y="7106"/>
                    <a:pt x="0" y="5519"/>
                    <a:pt x="0" y="3553"/>
                  </a:cubicBezTo>
                  <a:cubicBezTo>
                    <a:pt x="0" y="1587"/>
                    <a:pt x="1599" y="0"/>
                    <a:pt x="3553" y="0"/>
                  </a:cubicBezTo>
                  <a:cubicBezTo>
                    <a:pt x="5507" y="0"/>
                    <a:pt x="7106" y="1587"/>
                    <a:pt x="7106" y="3553"/>
                  </a:cubicBezTo>
                  <a:close/>
                </a:path>
              </a:pathLst>
            </a:custGeom>
            <a:solidFill>
              <a:srgbClr val="394552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10" name="Forma livre: Forma 809">
              <a:extLst>
                <a:ext uri="{FF2B5EF4-FFF2-40B4-BE49-F238E27FC236}">
                  <a16:creationId xmlns:a16="http://schemas.microsoft.com/office/drawing/2014/main" id="{360B1AF4-6F0B-2948-618E-44C867375172}"/>
                </a:ext>
              </a:extLst>
            </p:cNvPr>
            <p:cNvSpPr/>
            <p:nvPr/>
          </p:nvSpPr>
          <p:spPr>
            <a:xfrm>
              <a:off x="8547245" y="3201357"/>
              <a:ext cx="7105" cy="7105"/>
            </a:xfrm>
            <a:custGeom>
              <a:avLst/>
              <a:gdLst>
                <a:gd name="connsiteX0" fmla="*/ 7106 w 7105"/>
                <a:gd name="connsiteY0" fmla="*/ 3553 h 7105"/>
                <a:gd name="connsiteX1" fmla="*/ 3553 w 7105"/>
                <a:gd name="connsiteY1" fmla="*/ 7106 h 7105"/>
                <a:gd name="connsiteX2" fmla="*/ 0 w 7105"/>
                <a:gd name="connsiteY2" fmla="*/ 3553 h 7105"/>
                <a:gd name="connsiteX3" fmla="*/ 3553 w 7105"/>
                <a:gd name="connsiteY3" fmla="*/ 0 h 7105"/>
                <a:gd name="connsiteX4" fmla="*/ 7106 w 7105"/>
                <a:gd name="connsiteY4" fmla="*/ 3553 h 71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05" h="7105">
                  <a:moveTo>
                    <a:pt x="7106" y="3553"/>
                  </a:moveTo>
                  <a:cubicBezTo>
                    <a:pt x="7106" y="5515"/>
                    <a:pt x="5515" y="7106"/>
                    <a:pt x="3553" y="7106"/>
                  </a:cubicBezTo>
                  <a:cubicBezTo>
                    <a:pt x="1591" y="7106"/>
                    <a:pt x="0" y="5515"/>
                    <a:pt x="0" y="3553"/>
                  </a:cubicBezTo>
                  <a:cubicBezTo>
                    <a:pt x="0" y="1591"/>
                    <a:pt x="1591" y="0"/>
                    <a:pt x="3553" y="0"/>
                  </a:cubicBezTo>
                  <a:cubicBezTo>
                    <a:pt x="5515" y="0"/>
                    <a:pt x="7106" y="1591"/>
                    <a:pt x="7106" y="3553"/>
                  </a:cubicBezTo>
                  <a:close/>
                </a:path>
              </a:pathLst>
            </a:custGeom>
            <a:solidFill>
              <a:srgbClr val="394552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11" name="Forma livre: Forma 810">
              <a:extLst>
                <a:ext uri="{FF2B5EF4-FFF2-40B4-BE49-F238E27FC236}">
                  <a16:creationId xmlns:a16="http://schemas.microsoft.com/office/drawing/2014/main" id="{60766C8E-C7F7-920E-BC8D-A84849CA54FB}"/>
                </a:ext>
              </a:extLst>
            </p:cNvPr>
            <p:cNvSpPr/>
            <p:nvPr/>
          </p:nvSpPr>
          <p:spPr>
            <a:xfrm>
              <a:off x="8620979" y="3376205"/>
              <a:ext cx="252135" cy="31939"/>
            </a:xfrm>
            <a:custGeom>
              <a:avLst/>
              <a:gdLst>
                <a:gd name="connsiteX0" fmla="*/ 0 w 252135"/>
                <a:gd name="connsiteY0" fmla="*/ 31940 h 31939"/>
                <a:gd name="connsiteX1" fmla="*/ 252135 w 252135"/>
                <a:gd name="connsiteY1" fmla="*/ 7022 h 319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52135" h="31939">
                  <a:moveTo>
                    <a:pt x="0" y="31940"/>
                  </a:moveTo>
                  <a:cubicBezTo>
                    <a:pt x="0" y="31940"/>
                    <a:pt x="128187" y="-18013"/>
                    <a:pt x="252135" y="7022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12" name="Forma livre: Forma 811">
              <a:extLst>
                <a:ext uri="{FF2B5EF4-FFF2-40B4-BE49-F238E27FC236}">
                  <a16:creationId xmlns:a16="http://schemas.microsoft.com/office/drawing/2014/main" id="{3BD9224B-3188-6B13-646C-56AABE7E2706}"/>
                </a:ext>
              </a:extLst>
            </p:cNvPr>
            <p:cNvSpPr/>
            <p:nvPr/>
          </p:nvSpPr>
          <p:spPr>
            <a:xfrm>
              <a:off x="8517153" y="3352956"/>
              <a:ext cx="166878" cy="35222"/>
            </a:xfrm>
            <a:custGeom>
              <a:avLst/>
              <a:gdLst>
                <a:gd name="connsiteX0" fmla="*/ 0 w 166878"/>
                <a:gd name="connsiteY0" fmla="*/ 1754 h 35222"/>
                <a:gd name="connsiteX1" fmla="*/ 166878 w 166878"/>
                <a:gd name="connsiteY1" fmla="*/ 35222 h 352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66878" h="35222">
                  <a:moveTo>
                    <a:pt x="0" y="1754"/>
                  </a:moveTo>
                  <a:cubicBezTo>
                    <a:pt x="0" y="1754"/>
                    <a:pt x="73236" y="-11569"/>
                    <a:pt x="166878" y="35222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13" name="Forma livre: Forma 812">
              <a:extLst>
                <a:ext uri="{FF2B5EF4-FFF2-40B4-BE49-F238E27FC236}">
                  <a16:creationId xmlns:a16="http://schemas.microsoft.com/office/drawing/2014/main" id="{F5D9BA92-CC96-371E-D54D-EB2CAE32BB24}"/>
                </a:ext>
              </a:extLst>
            </p:cNvPr>
            <p:cNvSpPr/>
            <p:nvPr/>
          </p:nvSpPr>
          <p:spPr>
            <a:xfrm>
              <a:off x="8754010" y="3204329"/>
              <a:ext cx="80259" cy="127204"/>
            </a:xfrm>
            <a:custGeom>
              <a:avLst/>
              <a:gdLst>
                <a:gd name="connsiteX0" fmla="*/ 0 w 80259"/>
                <a:gd name="connsiteY0" fmla="*/ 127204 h 127204"/>
                <a:gd name="connsiteX1" fmla="*/ 40159 w 80259"/>
                <a:gd name="connsiteY1" fmla="*/ 0 h 127204"/>
                <a:gd name="connsiteX2" fmla="*/ 80259 w 80259"/>
                <a:gd name="connsiteY2" fmla="*/ 127204 h 127204"/>
                <a:gd name="connsiteX3" fmla="*/ 0 w 80259"/>
                <a:gd name="connsiteY3" fmla="*/ 127204 h 1272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0259" h="127204">
                  <a:moveTo>
                    <a:pt x="0" y="127204"/>
                  </a:moveTo>
                  <a:lnTo>
                    <a:pt x="40159" y="0"/>
                  </a:lnTo>
                  <a:lnTo>
                    <a:pt x="80259" y="127204"/>
                  </a:lnTo>
                  <a:lnTo>
                    <a:pt x="0" y="127204"/>
                  </a:ln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14" name="Forma livre: Forma 813">
              <a:extLst>
                <a:ext uri="{FF2B5EF4-FFF2-40B4-BE49-F238E27FC236}">
                  <a16:creationId xmlns:a16="http://schemas.microsoft.com/office/drawing/2014/main" id="{E3C439EB-ACE6-0AFE-1616-2CBAA930E651}"/>
                </a:ext>
              </a:extLst>
            </p:cNvPr>
            <p:cNvSpPr/>
            <p:nvPr/>
          </p:nvSpPr>
          <p:spPr>
            <a:xfrm>
              <a:off x="8794122" y="3332552"/>
              <a:ext cx="1184" cy="42788"/>
            </a:xfrm>
            <a:custGeom>
              <a:avLst/>
              <a:gdLst>
                <a:gd name="connsiteX0" fmla="*/ 0 w 1184"/>
                <a:gd name="connsiteY0" fmla="*/ 0 h 42788"/>
                <a:gd name="connsiteX1" fmla="*/ 0 w 1184"/>
                <a:gd name="connsiteY1" fmla="*/ 42788 h 427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84" h="42788">
                  <a:moveTo>
                    <a:pt x="0" y="0"/>
                  </a:moveTo>
                  <a:lnTo>
                    <a:pt x="0" y="42788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15" name="Forma livre: Forma 814">
              <a:extLst>
                <a:ext uri="{FF2B5EF4-FFF2-40B4-BE49-F238E27FC236}">
                  <a16:creationId xmlns:a16="http://schemas.microsoft.com/office/drawing/2014/main" id="{B9E7D237-F7CE-42AA-A481-47A972F018C0}"/>
                </a:ext>
              </a:extLst>
            </p:cNvPr>
            <p:cNvSpPr/>
            <p:nvPr/>
          </p:nvSpPr>
          <p:spPr>
            <a:xfrm>
              <a:off x="8564820" y="3216397"/>
              <a:ext cx="66758" cy="105828"/>
            </a:xfrm>
            <a:custGeom>
              <a:avLst/>
              <a:gdLst>
                <a:gd name="connsiteX0" fmla="*/ 0 w 66758"/>
                <a:gd name="connsiteY0" fmla="*/ 105828 h 105828"/>
                <a:gd name="connsiteX1" fmla="*/ 33397 w 66758"/>
                <a:gd name="connsiteY1" fmla="*/ 0 h 105828"/>
                <a:gd name="connsiteX2" fmla="*/ 66758 w 66758"/>
                <a:gd name="connsiteY2" fmla="*/ 105828 h 105828"/>
                <a:gd name="connsiteX3" fmla="*/ 0 w 66758"/>
                <a:gd name="connsiteY3" fmla="*/ 105828 h 1058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6758" h="105828">
                  <a:moveTo>
                    <a:pt x="0" y="105828"/>
                  </a:moveTo>
                  <a:lnTo>
                    <a:pt x="33397" y="0"/>
                  </a:lnTo>
                  <a:lnTo>
                    <a:pt x="66758" y="105828"/>
                  </a:lnTo>
                  <a:lnTo>
                    <a:pt x="0" y="105828"/>
                  </a:ln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16" name="Forma livre: Forma 815">
              <a:extLst>
                <a:ext uri="{FF2B5EF4-FFF2-40B4-BE49-F238E27FC236}">
                  <a16:creationId xmlns:a16="http://schemas.microsoft.com/office/drawing/2014/main" id="{5F05B7AE-9BDE-BFE5-307E-F554CFC209C8}"/>
                </a:ext>
              </a:extLst>
            </p:cNvPr>
            <p:cNvSpPr/>
            <p:nvPr/>
          </p:nvSpPr>
          <p:spPr>
            <a:xfrm>
              <a:off x="8598205" y="3323066"/>
              <a:ext cx="1184" cy="35599"/>
            </a:xfrm>
            <a:custGeom>
              <a:avLst/>
              <a:gdLst>
                <a:gd name="connsiteX0" fmla="*/ 0 w 1184"/>
                <a:gd name="connsiteY0" fmla="*/ 0 h 35599"/>
                <a:gd name="connsiteX1" fmla="*/ 0 w 1184"/>
                <a:gd name="connsiteY1" fmla="*/ 35600 h 355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84" h="35599">
                  <a:moveTo>
                    <a:pt x="0" y="0"/>
                  </a:moveTo>
                  <a:lnTo>
                    <a:pt x="0" y="3560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17" name="Forma livre: Forma 816">
              <a:extLst>
                <a:ext uri="{FF2B5EF4-FFF2-40B4-BE49-F238E27FC236}">
                  <a16:creationId xmlns:a16="http://schemas.microsoft.com/office/drawing/2014/main" id="{A58C9848-0779-FA67-A7FD-B3D8AD566984}"/>
                </a:ext>
              </a:extLst>
            </p:cNvPr>
            <p:cNvSpPr/>
            <p:nvPr/>
          </p:nvSpPr>
          <p:spPr>
            <a:xfrm>
              <a:off x="8689159" y="3215663"/>
              <a:ext cx="57852" cy="164734"/>
            </a:xfrm>
            <a:custGeom>
              <a:avLst/>
              <a:gdLst>
                <a:gd name="connsiteX0" fmla="*/ 40112 w 57852"/>
                <a:gd name="connsiteY0" fmla="*/ 164735 h 164734"/>
                <a:gd name="connsiteX1" fmla="*/ 40112 w 57852"/>
                <a:gd name="connsiteY1" fmla="*/ 127205 h 164734"/>
                <a:gd name="connsiteX2" fmla="*/ 0 w 57852"/>
                <a:gd name="connsiteY2" fmla="*/ 127205 h 164734"/>
                <a:gd name="connsiteX3" fmla="*/ 40147 w 57852"/>
                <a:gd name="connsiteY3" fmla="*/ 0 h 164734"/>
                <a:gd name="connsiteX4" fmla="*/ 57853 w 57852"/>
                <a:gd name="connsiteY4" fmla="*/ 56467 h 1647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852" h="164734">
                  <a:moveTo>
                    <a:pt x="40112" y="164735"/>
                  </a:moveTo>
                  <a:lnTo>
                    <a:pt x="40112" y="127205"/>
                  </a:lnTo>
                  <a:lnTo>
                    <a:pt x="0" y="127205"/>
                  </a:lnTo>
                  <a:lnTo>
                    <a:pt x="40147" y="0"/>
                  </a:lnTo>
                  <a:lnTo>
                    <a:pt x="57853" y="56467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18" name="Forma livre: Forma 817">
              <a:extLst>
                <a:ext uri="{FF2B5EF4-FFF2-40B4-BE49-F238E27FC236}">
                  <a16:creationId xmlns:a16="http://schemas.microsoft.com/office/drawing/2014/main" id="{5D806C83-80D4-081D-70A4-DE8647BFC0F8}"/>
                </a:ext>
              </a:extLst>
            </p:cNvPr>
            <p:cNvSpPr/>
            <p:nvPr/>
          </p:nvSpPr>
          <p:spPr>
            <a:xfrm>
              <a:off x="8861733" y="3225658"/>
              <a:ext cx="1184" cy="37423"/>
            </a:xfrm>
            <a:custGeom>
              <a:avLst/>
              <a:gdLst>
                <a:gd name="connsiteX0" fmla="*/ 0 w 1184"/>
                <a:gd name="connsiteY0" fmla="*/ 0 h 37423"/>
                <a:gd name="connsiteX1" fmla="*/ 0 w 1184"/>
                <a:gd name="connsiteY1" fmla="*/ 37424 h 374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84" h="37423">
                  <a:moveTo>
                    <a:pt x="0" y="0"/>
                  </a:moveTo>
                  <a:lnTo>
                    <a:pt x="0" y="37424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19" name="Forma livre: Forma 818">
              <a:extLst>
                <a:ext uri="{FF2B5EF4-FFF2-40B4-BE49-F238E27FC236}">
                  <a16:creationId xmlns:a16="http://schemas.microsoft.com/office/drawing/2014/main" id="{236A66B3-B14C-0629-2989-EE1627C397C0}"/>
                </a:ext>
              </a:extLst>
            </p:cNvPr>
            <p:cNvSpPr/>
            <p:nvPr/>
          </p:nvSpPr>
          <p:spPr>
            <a:xfrm>
              <a:off x="8843021" y="3244370"/>
              <a:ext cx="37423" cy="1184"/>
            </a:xfrm>
            <a:custGeom>
              <a:avLst/>
              <a:gdLst>
                <a:gd name="connsiteX0" fmla="*/ 37424 w 37423"/>
                <a:gd name="connsiteY0" fmla="*/ 0 h 1184"/>
                <a:gd name="connsiteX1" fmla="*/ 0 w 37423"/>
                <a:gd name="connsiteY1" fmla="*/ 0 h 11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7423" h="1184">
                  <a:moveTo>
                    <a:pt x="37424" y="0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820" name="Gráfico 10">
            <a:extLst>
              <a:ext uri="{FF2B5EF4-FFF2-40B4-BE49-F238E27FC236}">
                <a16:creationId xmlns:a16="http://schemas.microsoft.com/office/drawing/2014/main" id="{98B57ECF-6164-6D14-BC6C-54817802D1FB}"/>
              </a:ext>
            </a:extLst>
          </p:cNvPr>
          <p:cNvGrpSpPr/>
          <p:nvPr/>
        </p:nvGrpSpPr>
        <p:grpSpPr>
          <a:xfrm>
            <a:off x="8515246" y="2554936"/>
            <a:ext cx="367117" cy="369213"/>
            <a:chOff x="8515246" y="2554936"/>
            <a:chExt cx="367117" cy="369213"/>
          </a:xfrm>
          <a:noFill/>
        </p:grpSpPr>
        <p:grpSp>
          <p:nvGrpSpPr>
            <p:cNvPr id="821" name="Gráfico 10">
              <a:extLst>
                <a:ext uri="{FF2B5EF4-FFF2-40B4-BE49-F238E27FC236}">
                  <a16:creationId xmlns:a16="http://schemas.microsoft.com/office/drawing/2014/main" id="{07559C44-02BD-88B2-88AA-749746421819}"/>
                </a:ext>
              </a:extLst>
            </p:cNvPr>
            <p:cNvGrpSpPr/>
            <p:nvPr/>
          </p:nvGrpSpPr>
          <p:grpSpPr>
            <a:xfrm>
              <a:off x="8515246" y="2580908"/>
              <a:ext cx="367117" cy="343242"/>
              <a:chOff x="8515246" y="2580908"/>
              <a:chExt cx="367117" cy="343242"/>
            </a:xfrm>
            <a:noFill/>
          </p:grpSpPr>
          <p:sp>
            <p:nvSpPr>
              <p:cNvPr id="822" name="Forma livre: Forma 821">
                <a:extLst>
                  <a:ext uri="{FF2B5EF4-FFF2-40B4-BE49-F238E27FC236}">
                    <a16:creationId xmlns:a16="http://schemas.microsoft.com/office/drawing/2014/main" id="{1C134120-066D-931F-EB1D-D2CF4F568D09}"/>
                  </a:ext>
                </a:extLst>
              </p:cNvPr>
              <p:cNvSpPr/>
              <p:nvPr/>
            </p:nvSpPr>
            <p:spPr>
              <a:xfrm>
                <a:off x="8604399" y="2580908"/>
                <a:ext cx="178756" cy="114876"/>
              </a:xfrm>
              <a:custGeom>
                <a:avLst/>
                <a:gdLst>
                  <a:gd name="connsiteX0" fmla="*/ 178757 w 178756"/>
                  <a:gd name="connsiteY0" fmla="*/ 114876 h 114876"/>
                  <a:gd name="connsiteX1" fmla="*/ 173321 w 178756"/>
                  <a:gd name="connsiteY1" fmla="*/ 67208 h 114876"/>
                  <a:gd name="connsiteX2" fmla="*/ 112981 w 178756"/>
                  <a:gd name="connsiteY2" fmla="*/ 0 h 114876"/>
                  <a:gd name="connsiteX3" fmla="*/ 75214 w 178756"/>
                  <a:gd name="connsiteY3" fmla="*/ 57995 h 114876"/>
                  <a:gd name="connsiteX4" fmla="*/ 37435 w 178756"/>
                  <a:gd name="connsiteY4" fmla="*/ 45903 h 114876"/>
                  <a:gd name="connsiteX5" fmla="*/ 0 w 178756"/>
                  <a:gd name="connsiteY5" fmla="*/ 111785 h 1148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78756" h="114876">
                    <a:moveTo>
                      <a:pt x="178757" y="114876"/>
                    </a:moveTo>
                    <a:lnTo>
                      <a:pt x="173321" y="67208"/>
                    </a:lnTo>
                    <a:lnTo>
                      <a:pt x="112981" y="0"/>
                    </a:lnTo>
                    <a:lnTo>
                      <a:pt x="75214" y="57995"/>
                    </a:lnTo>
                    <a:lnTo>
                      <a:pt x="37435" y="45903"/>
                    </a:lnTo>
                    <a:lnTo>
                      <a:pt x="0" y="111785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823" name="Forma livre: Forma 822">
                <a:extLst>
                  <a:ext uri="{FF2B5EF4-FFF2-40B4-BE49-F238E27FC236}">
                    <a16:creationId xmlns:a16="http://schemas.microsoft.com/office/drawing/2014/main" id="{7D239BFF-02E6-B711-16E2-93E18633BC7C}"/>
                  </a:ext>
                </a:extLst>
              </p:cNvPr>
              <p:cNvSpPr/>
              <p:nvPr/>
            </p:nvSpPr>
            <p:spPr>
              <a:xfrm>
                <a:off x="8606732" y="2718593"/>
                <a:ext cx="188751" cy="205556"/>
              </a:xfrm>
              <a:custGeom>
                <a:avLst/>
                <a:gdLst>
                  <a:gd name="connsiteX0" fmla="*/ 0 w 188751"/>
                  <a:gd name="connsiteY0" fmla="*/ 261 h 205556"/>
                  <a:gd name="connsiteX1" fmla="*/ 11369 w 188751"/>
                  <a:gd name="connsiteY1" fmla="*/ 62069 h 205556"/>
                  <a:gd name="connsiteX2" fmla="*/ 83575 w 188751"/>
                  <a:gd name="connsiteY2" fmla="*/ 205557 h 205556"/>
                  <a:gd name="connsiteX3" fmla="*/ 188752 w 188751"/>
                  <a:gd name="connsiteY3" fmla="*/ 85316 h 205556"/>
                  <a:gd name="connsiteX4" fmla="*/ 179017 w 188751"/>
                  <a:gd name="connsiteY4" fmla="*/ 0 h 2055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88751" h="205556">
                    <a:moveTo>
                      <a:pt x="0" y="261"/>
                    </a:moveTo>
                    <a:lnTo>
                      <a:pt x="11369" y="62069"/>
                    </a:lnTo>
                    <a:lnTo>
                      <a:pt x="83575" y="205557"/>
                    </a:lnTo>
                    <a:lnTo>
                      <a:pt x="188752" y="85316"/>
                    </a:lnTo>
                    <a:lnTo>
                      <a:pt x="179017" y="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824" name="Forma livre: Forma 823">
                <a:extLst>
                  <a:ext uri="{FF2B5EF4-FFF2-40B4-BE49-F238E27FC236}">
                    <a16:creationId xmlns:a16="http://schemas.microsoft.com/office/drawing/2014/main" id="{EA110E52-B065-A58E-FF14-DF9B1911280A}"/>
                  </a:ext>
                </a:extLst>
              </p:cNvPr>
              <p:cNvSpPr/>
              <p:nvPr/>
            </p:nvSpPr>
            <p:spPr>
              <a:xfrm>
                <a:off x="8515246" y="2683171"/>
                <a:ext cx="367117" cy="13879"/>
              </a:xfrm>
              <a:custGeom>
                <a:avLst/>
                <a:gdLst>
                  <a:gd name="connsiteX0" fmla="*/ 0 w 367117"/>
                  <a:gd name="connsiteY0" fmla="*/ 0 h 13879"/>
                  <a:gd name="connsiteX1" fmla="*/ 73319 w 367117"/>
                  <a:gd name="connsiteY1" fmla="*/ 0 h 13879"/>
                  <a:gd name="connsiteX2" fmla="*/ 73367 w 367117"/>
                  <a:gd name="connsiteY2" fmla="*/ 0 h 13879"/>
                  <a:gd name="connsiteX3" fmla="*/ 146686 w 367117"/>
                  <a:gd name="connsiteY3" fmla="*/ 0 h 13879"/>
                  <a:gd name="connsiteX4" fmla="*/ 146864 w 367117"/>
                  <a:gd name="connsiteY4" fmla="*/ 0 h 13879"/>
                  <a:gd name="connsiteX5" fmla="*/ 220183 w 367117"/>
                  <a:gd name="connsiteY5" fmla="*/ 0 h 13879"/>
                  <a:gd name="connsiteX6" fmla="*/ 220503 w 367117"/>
                  <a:gd name="connsiteY6" fmla="*/ 0 h 13879"/>
                  <a:gd name="connsiteX7" fmla="*/ 293822 w 367117"/>
                  <a:gd name="connsiteY7" fmla="*/ 0 h 13879"/>
                  <a:gd name="connsiteX8" fmla="*/ 293798 w 367117"/>
                  <a:gd name="connsiteY8" fmla="*/ 0 h 13879"/>
                  <a:gd name="connsiteX9" fmla="*/ 367118 w 367117"/>
                  <a:gd name="connsiteY9" fmla="*/ 0 h 138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367117" h="13879">
                    <a:moveTo>
                      <a:pt x="0" y="0"/>
                    </a:moveTo>
                    <a:cubicBezTo>
                      <a:pt x="0" y="0"/>
                      <a:pt x="30803" y="31230"/>
                      <a:pt x="73319" y="0"/>
                    </a:cubicBezTo>
                    <a:lnTo>
                      <a:pt x="73367" y="0"/>
                    </a:lnTo>
                    <a:cubicBezTo>
                      <a:pt x="73367" y="0"/>
                      <a:pt x="104170" y="31230"/>
                      <a:pt x="146686" y="0"/>
                    </a:cubicBezTo>
                    <a:lnTo>
                      <a:pt x="146864" y="0"/>
                    </a:lnTo>
                    <a:cubicBezTo>
                      <a:pt x="146864" y="0"/>
                      <a:pt x="177667" y="31230"/>
                      <a:pt x="220183" y="0"/>
                    </a:cubicBezTo>
                    <a:lnTo>
                      <a:pt x="220503" y="0"/>
                    </a:lnTo>
                    <a:cubicBezTo>
                      <a:pt x="220503" y="0"/>
                      <a:pt x="251306" y="31230"/>
                      <a:pt x="293822" y="0"/>
                    </a:cubicBezTo>
                    <a:lnTo>
                      <a:pt x="293798" y="0"/>
                    </a:lnTo>
                    <a:cubicBezTo>
                      <a:pt x="293798" y="0"/>
                      <a:pt x="324602" y="31230"/>
                      <a:pt x="367118" y="0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825" name="Forma livre: Forma 824">
              <a:extLst>
                <a:ext uri="{FF2B5EF4-FFF2-40B4-BE49-F238E27FC236}">
                  <a16:creationId xmlns:a16="http://schemas.microsoft.com/office/drawing/2014/main" id="{501FEBBA-F763-E8D6-6B09-DE35D4C655C7}"/>
                </a:ext>
              </a:extLst>
            </p:cNvPr>
            <p:cNvSpPr/>
            <p:nvPr/>
          </p:nvSpPr>
          <p:spPr>
            <a:xfrm>
              <a:off x="8567959" y="2554936"/>
              <a:ext cx="70879" cy="16272"/>
            </a:xfrm>
            <a:custGeom>
              <a:avLst/>
              <a:gdLst>
                <a:gd name="connsiteX0" fmla="*/ 0 w 70879"/>
                <a:gd name="connsiteY0" fmla="*/ 16272 h 16272"/>
                <a:gd name="connsiteX1" fmla="*/ 23899 w 70879"/>
                <a:gd name="connsiteY1" fmla="*/ 16272 h 16272"/>
                <a:gd name="connsiteX2" fmla="*/ 40159 w 70879"/>
                <a:gd name="connsiteY2" fmla="*/ 0 h 16272"/>
                <a:gd name="connsiteX3" fmla="*/ 56419 w 70879"/>
                <a:gd name="connsiteY3" fmla="*/ 16272 h 16272"/>
                <a:gd name="connsiteX4" fmla="*/ 70880 w 70879"/>
                <a:gd name="connsiteY4" fmla="*/ 16272 h 162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0879" h="16272">
                  <a:moveTo>
                    <a:pt x="0" y="16272"/>
                  </a:moveTo>
                  <a:lnTo>
                    <a:pt x="23899" y="16272"/>
                  </a:lnTo>
                  <a:cubicBezTo>
                    <a:pt x="23899" y="7283"/>
                    <a:pt x="31182" y="0"/>
                    <a:pt x="40159" y="0"/>
                  </a:cubicBezTo>
                  <a:cubicBezTo>
                    <a:pt x="49136" y="0"/>
                    <a:pt x="56419" y="7283"/>
                    <a:pt x="56419" y="16272"/>
                  </a:cubicBezTo>
                  <a:lnTo>
                    <a:pt x="70880" y="16272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26" name="Forma livre: Forma 825">
              <a:extLst>
                <a:ext uri="{FF2B5EF4-FFF2-40B4-BE49-F238E27FC236}">
                  <a16:creationId xmlns:a16="http://schemas.microsoft.com/office/drawing/2014/main" id="{85601A87-604F-4FD3-D01C-A9300D10CDEC}"/>
                </a:ext>
              </a:extLst>
            </p:cNvPr>
            <p:cNvSpPr/>
            <p:nvPr/>
          </p:nvSpPr>
          <p:spPr>
            <a:xfrm>
              <a:off x="8783902" y="2578752"/>
              <a:ext cx="63596" cy="13287"/>
            </a:xfrm>
            <a:custGeom>
              <a:avLst/>
              <a:gdLst>
                <a:gd name="connsiteX0" fmla="*/ 63596 w 63596"/>
                <a:gd name="connsiteY0" fmla="*/ 13288 h 13287"/>
                <a:gd name="connsiteX1" fmla="*/ 50723 w 63596"/>
                <a:gd name="connsiteY1" fmla="*/ 13288 h 13287"/>
                <a:gd name="connsiteX2" fmla="*/ 37435 w 63596"/>
                <a:gd name="connsiteY2" fmla="*/ 0 h 13287"/>
                <a:gd name="connsiteX3" fmla="*/ 24148 w 63596"/>
                <a:gd name="connsiteY3" fmla="*/ 13288 h 13287"/>
                <a:gd name="connsiteX4" fmla="*/ 0 w 63596"/>
                <a:gd name="connsiteY4" fmla="*/ 13288 h 132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596" h="13287">
                  <a:moveTo>
                    <a:pt x="63596" y="13288"/>
                  </a:moveTo>
                  <a:lnTo>
                    <a:pt x="50723" y="13288"/>
                  </a:lnTo>
                  <a:cubicBezTo>
                    <a:pt x="50723" y="5957"/>
                    <a:pt x="44778" y="0"/>
                    <a:pt x="37435" y="0"/>
                  </a:cubicBezTo>
                  <a:cubicBezTo>
                    <a:pt x="30093" y="0"/>
                    <a:pt x="24148" y="5957"/>
                    <a:pt x="24148" y="13288"/>
                  </a:cubicBezTo>
                  <a:lnTo>
                    <a:pt x="0" y="13288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27" name="Forma livre: Forma 826">
              <a:extLst>
                <a:ext uri="{FF2B5EF4-FFF2-40B4-BE49-F238E27FC236}">
                  <a16:creationId xmlns:a16="http://schemas.microsoft.com/office/drawing/2014/main" id="{6592BB44-A954-7EF0-8301-7D91B012FD7F}"/>
                </a:ext>
              </a:extLst>
            </p:cNvPr>
            <p:cNvSpPr/>
            <p:nvPr/>
          </p:nvSpPr>
          <p:spPr>
            <a:xfrm>
              <a:off x="8848066" y="2614139"/>
              <a:ext cx="26539" cy="1184"/>
            </a:xfrm>
            <a:custGeom>
              <a:avLst/>
              <a:gdLst>
                <a:gd name="connsiteX0" fmla="*/ 0 w 26539"/>
                <a:gd name="connsiteY0" fmla="*/ 0 h 1184"/>
                <a:gd name="connsiteX1" fmla="*/ 26540 w 26539"/>
                <a:gd name="connsiteY1" fmla="*/ 0 h 11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6539" h="1184">
                  <a:moveTo>
                    <a:pt x="0" y="0"/>
                  </a:moveTo>
                  <a:lnTo>
                    <a:pt x="2654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28" name="Forma livre: Forma 827">
              <a:extLst>
                <a:ext uri="{FF2B5EF4-FFF2-40B4-BE49-F238E27FC236}">
                  <a16:creationId xmlns:a16="http://schemas.microsoft.com/office/drawing/2014/main" id="{CB3DCD5D-F55F-3C1E-DDE6-4F1B6B831C90}"/>
                </a:ext>
              </a:extLst>
            </p:cNvPr>
            <p:cNvSpPr/>
            <p:nvPr/>
          </p:nvSpPr>
          <p:spPr>
            <a:xfrm>
              <a:off x="8810963" y="2619539"/>
              <a:ext cx="11096" cy="1184"/>
            </a:xfrm>
            <a:custGeom>
              <a:avLst/>
              <a:gdLst>
                <a:gd name="connsiteX0" fmla="*/ 0 w 11096"/>
                <a:gd name="connsiteY0" fmla="*/ 0 h 1184"/>
                <a:gd name="connsiteX1" fmla="*/ 11097 w 11096"/>
                <a:gd name="connsiteY1" fmla="*/ 0 h 11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096" h="1184">
                  <a:moveTo>
                    <a:pt x="0" y="0"/>
                  </a:moveTo>
                  <a:lnTo>
                    <a:pt x="11097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829" name="Gráfico 10">
            <a:extLst>
              <a:ext uri="{FF2B5EF4-FFF2-40B4-BE49-F238E27FC236}">
                <a16:creationId xmlns:a16="http://schemas.microsoft.com/office/drawing/2014/main" id="{2B04E76F-C118-A858-DAF4-CAB5CC5A709E}"/>
              </a:ext>
            </a:extLst>
          </p:cNvPr>
          <p:cNvGrpSpPr/>
          <p:nvPr/>
        </p:nvGrpSpPr>
        <p:grpSpPr>
          <a:xfrm>
            <a:off x="7870910" y="1022135"/>
            <a:ext cx="420457" cy="234465"/>
            <a:chOff x="7870910" y="1022135"/>
            <a:chExt cx="420457" cy="234465"/>
          </a:xfrm>
          <a:noFill/>
        </p:grpSpPr>
        <p:grpSp>
          <p:nvGrpSpPr>
            <p:cNvPr id="830" name="Gráfico 10">
              <a:extLst>
                <a:ext uri="{FF2B5EF4-FFF2-40B4-BE49-F238E27FC236}">
                  <a16:creationId xmlns:a16="http://schemas.microsoft.com/office/drawing/2014/main" id="{E8FDB90A-FE25-4303-5969-33D431A6A03C}"/>
                </a:ext>
              </a:extLst>
            </p:cNvPr>
            <p:cNvGrpSpPr/>
            <p:nvPr/>
          </p:nvGrpSpPr>
          <p:grpSpPr>
            <a:xfrm>
              <a:off x="7870910" y="1034357"/>
              <a:ext cx="99196" cy="99196"/>
              <a:chOff x="7870910" y="1034357"/>
              <a:chExt cx="99196" cy="99196"/>
            </a:xfrm>
            <a:noFill/>
          </p:grpSpPr>
          <p:sp>
            <p:nvSpPr>
              <p:cNvPr id="831" name="Forma livre: Forma 830">
                <a:extLst>
                  <a:ext uri="{FF2B5EF4-FFF2-40B4-BE49-F238E27FC236}">
                    <a16:creationId xmlns:a16="http://schemas.microsoft.com/office/drawing/2014/main" id="{515A74DA-2CBD-0A7E-FBCA-A29D7D2666F4}"/>
                  </a:ext>
                </a:extLst>
              </p:cNvPr>
              <p:cNvSpPr/>
              <p:nvPr/>
            </p:nvSpPr>
            <p:spPr>
              <a:xfrm>
                <a:off x="7900091" y="1063703"/>
                <a:ext cx="40644" cy="40645"/>
              </a:xfrm>
              <a:custGeom>
                <a:avLst/>
                <a:gdLst>
                  <a:gd name="connsiteX0" fmla="*/ 0 w 40644"/>
                  <a:gd name="connsiteY0" fmla="*/ 20405 h 40645"/>
                  <a:gd name="connsiteX1" fmla="*/ 20405 w 40644"/>
                  <a:gd name="connsiteY1" fmla="*/ 40645 h 40645"/>
                  <a:gd name="connsiteX2" fmla="*/ 40645 w 40644"/>
                  <a:gd name="connsiteY2" fmla="*/ 20228 h 40645"/>
                  <a:gd name="connsiteX3" fmla="*/ 20240 w 40644"/>
                  <a:gd name="connsiteY3" fmla="*/ 0 h 40645"/>
                  <a:gd name="connsiteX4" fmla="*/ 0 w 40644"/>
                  <a:gd name="connsiteY4" fmla="*/ 20405 h 406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0644" h="40645">
                    <a:moveTo>
                      <a:pt x="0" y="20405"/>
                    </a:moveTo>
                    <a:cubicBezTo>
                      <a:pt x="59" y="31609"/>
                      <a:pt x="9202" y="40692"/>
                      <a:pt x="20405" y="40645"/>
                    </a:cubicBezTo>
                    <a:cubicBezTo>
                      <a:pt x="31609" y="40586"/>
                      <a:pt x="40680" y="31443"/>
                      <a:pt x="40645" y="20228"/>
                    </a:cubicBezTo>
                    <a:cubicBezTo>
                      <a:pt x="40586" y="9024"/>
                      <a:pt x="31443" y="-47"/>
                      <a:pt x="20240" y="0"/>
                    </a:cubicBezTo>
                    <a:cubicBezTo>
                      <a:pt x="9036" y="48"/>
                      <a:pt x="-35" y="9202"/>
                      <a:pt x="0" y="20405"/>
                    </a:cubicBezTo>
                    <a:close/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832" name="Gráfico 10">
                <a:extLst>
                  <a:ext uri="{FF2B5EF4-FFF2-40B4-BE49-F238E27FC236}">
                    <a16:creationId xmlns:a16="http://schemas.microsoft.com/office/drawing/2014/main" id="{F213F5E8-37AC-0742-7BA7-B6CA0B7E4E3F}"/>
                  </a:ext>
                </a:extLst>
              </p:cNvPr>
              <p:cNvGrpSpPr/>
              <p:nvPr/>
            </p:nvGrpSpPr>
            <p:grpSpPr>
              <a:xfrm>
                <a:off x="7900174" y="1034357"/>
                <a:ext cx="40668" cy="99196"/>
                <a:chOff x="7900174" y="1034357"/>
                <a:chExt cx="40668" cy="99196"/>
              </a:xfrm>
            </p:grpSpPr>
            <p:sp>
              <p:nvSpPr>
                <p:cNvPr id="833" name="Forma livre: Forma 832">
                  <a:extLst>
                    <a:ext uri="{FF2B5EF4-FFF2-40B4-BE49-F238E27FC236}">
                      <a16:creationId xmlns:a16="http://schemas.microsoft.com/office/drawing/2014/main" id="{10DD71A1-9C08-15B4-3B5C-CACF216CF413}"/>
                    </a:ext>
                  </a:extLst>
                </p:cNvPr>
                <p:cNvSpPr/>
                <p:nvPr/>
              </p:nvSpPr>
              <p:spPr>
                <a:xfrm>
                  <a:off x="7900174" y="1122977"/>
                  <a:ext cx="4429" cy="10575"/>
                </a:xfrm>
                <a:custGeom>
                  <a:avLst/>
                  <a:gdLst>
                    <a:gd name="connsiteX0" fmla="*/ 0 w 4429"/>
                    <a:gd name="connsiteY0" fmla="*/ 10576 h 10575"/>
                    <a:gd name="connsiteX1" fmla="*/ 4429 w 4429"/>
                    <a:gd name="connsiteY1" fmla="*/ 0 h 105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429" h="10575">
                      <a:moveTo>
                        <a:pt x="0" y="10576"/>
                      </a:moveTo>
                      <a:lnTo>
                        <a:pt x="4429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834" name="Forma livre: Forma 833">
                  <a:extLst>
                    <a:ext uri="{FF2B5EF4-FFF2-40B4-BE49-F238E27FC236}">
                      <a16:creationId xmlns:a16="http://schemas.microsoft.com/office/drawing/2014/main" id="{18968444-4589-B9C7-314B-E1C777E4E681}"/>
                    </a:ext>
                  </a:extLst>
                </p:cNvPr>
                <p:cNvSpPr/>
                <p:nvPr/>
              </p:nvSpPr>
              <p:spPr>
                <a:xfrm>
                  <a:off x="7936401" y="1034357"/>
                  <a:ext cx="4441" cy="10575"/>
                </a:xfrm>
                <a:custGeom>
                  <a:avLst/>
                  <a:gdLst>
                    <a:gd name="connsiteX0" fmla="*/ 0 w 4441"/>
                    <a:gd name="connsiteY0" fmla="*/ 10576 h 10575"/>
                    <a:gd name="connsiteX1" fmla="*/ 4441 w 4441"/>
                    <a:gd name="connsiteY1" fmla="*/ 0 h 105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441" h="10575">
                      <a:moveTo>
                        <a:pt x="0" y="10576"/>
                      </a:moveTo>
                      <a:lnTo>
                        <a:pt x="4441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835" name="Gráfico 10">
                <a:extLst>
                  <a:ext uri="{FF2B5EF4-FFF2-40B4-BE49-F238E27FC236}">
                    <a16:creationId xmlns:a16="http://schemas.microsoft.com/office/drawing/2014/main" id="{53008A08-7408-242A-F096-CA2EE2BF0D51}"/>
                  </a:ext>
                </a:extLst>
              </p:cNvPr>
              <p:cNvGrpSpPr/>
              <p:nvPr/>
            </p:nvGrpSpPr>
            <p:grpSpPr>
              <a:xfrm>
                <a:off x="7871052" y="1063265"/>
                <a:ext cx="98888" cy="41379"/>
                <a:chOff x="7871052" y="1063265"/>
                <a:chExt cx="98888" cy="41379"/>
              </a:xfrm>
            </p:grpSpPr>
            <p:sp>
              <p:nvSpPr>
                <p:cNvPr id="836" name="Forma livre: Forma 835">
                  <a:extLst>
                    <a:ext uri="{FF2B5EF4-FFF2-40B4-BE49-F238E27FC236}">
                      <a16:creationId xmlns:a16="http://schemas.microsoft.com/office/drawing/2014/main" id="{B842557F-FEB1-9CA7-4010-455220C2CC4E}"/>
                    </a:ext>
                  </a:extLst>
                </p:cNvPr>
                <p:cNvSpPr/>
                <p:nvPr/>
              </p:nvSpPr>
              <p:spPr>
                <a:xfrm>
                  <a:off x="7871052" y="1100310"/>
                  <a:ext cx="10623" cy="4334"/>
                </a:xfrm>
                <a:custGeom>
                  <a:avLst/>
                  <a:gdLst>
                    <a:gd name="connsiteX0" fmla="*/ 0 w 10623"/>
                    <a:gd name="connsiteY0" fmla="*/ 4334 h 4334"/>
                    <a:gd name="connsiteX1" fmla="*/ 10623 w 10623"/>
                    <a:gd name="connsiteY1" fmla="*/ 0 h 433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0623" h="4334">
                      <a:moveTo>
                        <a:pt x="0" y="4334"/>
                      </a:moveTo>
                      <a:lnTo>
                        <a:pt x="10623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837" name="Forma livre: Forma 836">
                  <a:extLst>
                    <a:ext uri="{FF2B5EF4-FFF2-40B4-BE49-F238E27FC236}">
                      <a16:creationId xmlns:a16="http://schemas.microsoft.com/office/drawing/2014/main" id="{674A496E-AABE-F96F-C396-A190909C34DC}"/>
                    </a:ext>
                  </a:extLst>
                </p:cNvPr>
                <p:cNvSpPr/>
                <p:nvPr/>
              </p:nvSpPr>
              <p:spPr>
                <a:xfrm>
                  <a:off x="7959341" y="1063265"/>
                  <a:ext cx="10599" cy="4334"/>
                </a:xfrm>
                <a:custGeom>
                  <a:avLst/>
                  <a:gdLst>
                    <a:gd name="connsiteX0" fmla="*/ 0 w 10599"/>
                    <a:gd name="connsiteY0" fmla="*/ 4334 h 4334"/>
                    <a:gd name="connsiteX1" fmla="*/ 10599 w 10599"/>
                    <a:gd name="connsiteY1" fmla="*/ 0 h 433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0599" h="4334">
                      <a:moveTo>
                        <a:pt x="0" y="4334"/>
                      </a:moveTo>
                      <a:lnTo>
                        <a:pt x="10599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838" name="Gráfico 10">
                <a:extLst>
                  <a:ext uri="{FF2B5EF4-FFF2-40B4-BE49-F238E27FC236}">
                    <a16:creationId xmlns:a16="http://schemas.microsoft.com/office/drawing/2014/main" id="{038D93A5-03EA-4573-7309-596D6274E237}"/>
                  </a:ext>
                </a:extLst>
              </p:cNvPr>
              <p:cNvGrpSpPr/>
              <p:nvPr/>
            </p:nvGrpSpPr>
            <p:grpSpPr>
              <a:xfrm>
                <a:off x="7870910" y="1063620"/>
                <a:ext cx="99196" cy="40656"/>
                <a:chOff x="7870910" y="1063620"/>
                <a:chExt cx="99196" cy="40656"/>
              </a:xfrm>
            </p:grpSpPr>
            <p:sp>
              <p:nvSpPr>
                <p:cNvPr id="839" name="Forma livre: Forma 838">
                  <a:extLst>
                    <a:ext uri="{FF2B5EF4-FFF2-40B4-BE49-F238E27FC236}">
                      <a16:creationId xmlns:a16="http://schemas.microsoft.com/office/drawing/2014/main" id="{2DDAD902-FCE5-0666-AA60-BEB5377CDDE7}"/>
                    </a:ext>
                  </a:extLst>
                </p:cNvPr>
                <p:cNvSpPr/>
                <p:nvPr/>
              </p:nvSpPr>
              <p:spPr>
                <a:xfrm>
                  <a:off x="7870910" y="1063620"/>
                  <a:ext cx="10575" cy="4429"/>
                </a:xfrm>
                <a:custGeom>
                  <a:avLst/>
                  <a:gdLst>
                    <a:gd name="connsiteX0" fmla="*/ 0 w 10575"/>
                    <a:gd name="connsiteY0" fmla="*/ 0 h 4429"/>
                    <a:gd name="connsiteX1" fmla="*/ 10576 w 10575"/>
                    <a:gd name="connsiteY1" fmla="*/ 4429 h 442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0575" h="4429">
                      <a:moveTo>
                        <a:pt x="0" y="0"/>
                      </a:moveTo>
                      <a:lnTo>
                        <a:pt x="10576" y="4429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840" name="Forma livre: Forma 839">
                  <a:extLst>
                    <a:ext uri="{FF2B5EF4-FFF2-40B4-BE49-F238E27FC236}">
                      <a16:creationId xmlns:a16="http://schemas.microsoft.com/office/drawing/2014/main" id="{0B46951D-9A43-8B98-A463-B92982A5E92E}"/>
                    </a:ext>
                  </a:extLst>
                </p:cNvPr>
                <p:cNvSpPr/>
                <p:nvPr/>
              </p:nvSpPr>
              <p:spPr>
                <a:xfrm>
                  <a:off x="7959530" y="1099848"/>
                  <a:ext cx="10575" cy="4429"/>
                </a:xfrm>
                <a:custGeom>
                  <a:avLst/>
                  <a:gdLst>
                    <a:gd name="connsiteX0" fmla="*/ 0 w 10575"/>
                    <a:gd name="connsiteY0" fmla="*/ 0 h 4429"/>
                    <a:gd name="connsiteX1" fmla="*/ 10576 w 10575"/>
                    <a:gd name="connsiteY1" fmla="*/ 4429 h 442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0575" h="4429">
                      <a:moveTo>
                        <a:pt x="0" y="0"/>
                      </a:moveTo>
                      <a:lnTo>
                        <a:pt x="10576" y="4429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841" name="Gráfico 10">
                <a:extLst>
                  <a:ext uri="{FF2B5EF4-FFF2-40B4-BE49-F238E27FC236}">
                    <a16:creationId xmlns:a16="http://schemas.microsoft.com/office/drawing/2014/main" id="{4D29FC9C-514D-64EF-C968-79444BD7EC01}"/>
                  </a:ext>
                </a:extLst>
              </p:cNvPr>
              <p:cNvGrpSpPr/>
              <p:nvPr/>
            </p:nvGrpSpPr>
            <p:grpSpPr>
              <a:xfrm>
                <a:off x="7899818" y="1034511"/>
                <a:ext cx="41379" cy="98888"/>
                <a:chOff x="7899818" y="1034511"/>
                <a:chExt cx="41379" cy="98888"/>
              </a:xfrm>
            </p:grpSpPr>
            <p:sp>
              <p:nvSpPr>
                <p:cNvPr id="842" name="Forma livre: Forma 841">
                  <a:extLst>
                    <a:ext uri="{FF2B5EF4-FFF2-40B4-BE49-F238E27FC236}">
                      <a16:creationId xmlns:a16="http://schemas.microsoft.com/office/drawing/2014/main" id="{7FE550FA-19AA-B332-0C06-2095DD7BC1A0}"/>
                    </a:ext>
                  </a:extLst>
                </p:cNvPr>
                <p:cNvSpPr/>
                <p:nvPr/>
              </p:nvSpPr>
              <p:spPr>
                <a:xfrm>
                  <a:off x="7936863" y="1122799"/>
                  <a:ext cx="4334" cy="10599"/>
                </a:xfrm>
                <a:custGeom>
                  <a:avLst/>
                  <a:gdLst>
                    <a:gd name="connsiteX0" fmla="*/ 4334 w 4334"/>
                    <a:gd name="connsiteY0" fmla="*/ 10599 h 10599"/>
                    <a:gd name="connsiteX1" fmla="*/ 0 w 4334"/>
                    <a:gd name="connsiteY1" fmla="*/ 0 h 1059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334" h="10599">
                      <a:moveTo>
                        <a:pt x="4334" y="10599"/>
                      </a:moveTo>
                      <a:lnTo>
                        <a:pt x="0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843" name="Forma livre: Forma 842">
                  <a:extLst>
                    <a:ext uri="{FF2B5EF4-FFF2-40B4-BE49-F238E27FC236}">
                      <a16:creationId xmlns:a16="http://schemas.microsoft.com/office/drawing/2014/main" id="{97A19369-05BC-5E26-02AC-45650D1BEF51}"/>
                    </a:ext>
                  </a:extLst>
                </p:cNvPr>
                <p:cNvSpPr/>
                <p:nvPr/>
              </p:nvSpPr>
              <p:spPr>
                <a:xfrm>
                  <a:off x="7899818" y="1034511"/>
                  <a:ext cx="4334" cy="10611"/>
                </a:xfrm>
                <a:custGeom>
                  <a:avLst/>
                  <a:gdLst>
                    <a:gd name="connsiteX0" fmla="*/ 4334 w 4334"/>
                    <a:gd name="connsiteY0" fmla="*/ 10611 h 10611"/>
                    <a:gd name="connsiteX1" fmla="*/ 0 w 4334"/>
                    <a:gd name="connsiteY1" fmla="*/ 0 h 1061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334" h="10611">
                      <a:moveTo>
                        <a:pt x="4334" y="10611"/>
                      </a:moveTo>
                      <a:lnTo>
                        <a:pt x="0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sp>
          <p:nvSpPr>
            <p:cNvPr id="844" name="Forma livre: Forma 843">
              <a:extLst>
                <a:ext uri="{FF2B5EF4-FFF2-40B4-BE49-F238E27FC236}">
                  <a16:creationId xmlns:a16="http://schemas.microsoft.com/office/drawing/2014/main" id="{D1DD3F1A-0BDC-7D62-AD7E-4A7E830644EB}"/>
                </a:ext>
              </a:extLst>
            </p:cNvPr>
            <p:cNvSpPr/>
            <p:nvPr/>
          </p:nvSpPr>
          <p:spPr>
            <a:xfrm>
              <a:off x="7945449" y="1142162"/>
              <a:ext cx="94316" cy="114437"/>
            </a:xfrm>
            <a:custGeom>
              <a:avLst/>
              <a:gdLst>
                <a:gd name="connsiteX0" fmla="*/ 26635 w 94316"/>
                <a:gd name="connsiteY0" fmla="*/ 114071 h 114437"/>
                <a:gd name="connsiteX1" fmla="*/ 0 w 94316"/>
                <a:gd name="connsiteY1" fmla="*/ 60020 h 114437"/>
                <a:gd name="connsiteX2" fmla="*/ 47158 w 94316"/>
                <a:gd name="connsiteY2" fmla="*/ 0 h 114437"/>
                <a:gd name="connsiteX3" fmla="*/ 94317 w 94316"/>
                <a:gd name="connsiteY3" fmla="*/ 60020 h 114437"/>
                <a:gd name="connsiteX4" fmla="*/ 67078 w 94316"/>
                <a:gd name="connsiteY4" fmla="*/ 114438 h 1144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4316" h="114437">
                  <a:moveTo>
                    <a:pt x="26635" y="114071"/>
                  </a:moveTo>
                  <a:cubicBezTo>
                    <a:pt x="10872" y="104360"/>
                    <a:pt x="0" y="83812"/>
                    <a:pt x="0" y="60020"/>
                  </a:cubicBezTo>
                  <a:cubicBezTo>
                    <a:pt x="0" y="26872"/>
                    <a:pt x="21116" y="0"/>
                    <a:pt x="47158" y="0"/>
                  </a:cubicBezTo>
                  <a:cubicBezTo>
                    <a:pt x="73201" y="0"/>
                    <a:pt x="94317" y="26872"/>
                    <a:pt x="94317" y="60020"/>
                  </a:cubicBezTo>
                  <a:cubicBezTo>
                    <a:pt x="94317" y="84108"/>
                    <a:pt x="83173" y="104881"/>
                    <a:pt x="67078" y="114438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45" name="Forma livre: Forma 844">
              <a:extLst>
                <a:ext uri="{FF2B5EF4-FFF2-40B4-BE49-F238E27FC236}">
                  <a16:creationId xmlns:a16="http://schemas.microsoft.com/office/drawing/2014/main" id="{F8BB34C3-D170-52DC-FF51-8C3123BCBA6B}"/>
                </a:ext>
              </a:extLst>
            </p:cNvPr>
            <p:cNvSpPr/>
            <p:nvPr/>
          </p:nvSpPr>
          <p:spPr>
            <a:xfrm>
              <a:off x="7973457" y="1170159"/>
              <a:ext cx="38323" cy="62246"/>
            </a:xfrm>
            <a:custGeom>
              <a:avLst/>
              <a:gdLst>
                <a:gd name="connsiteX0" fmla="*/ 38324 w 38323"/>
                <a:gd name="connsiteY0" fmla="*/ 32023 h 62246"/>
                <a:gd name="connsiteX1" fmla="*/ 19162 w 38323"/>
                <a:gd name="connsiteY1" fmla="*/ 0 h 62246"/>
                <a:gd name="connsiteX2" fmla="*/ 0 w 38323"/>
                <a:gd name="connsiteY2" fmla="*/ 32023 h 62246"/>
                <a:gd name="connsiteX3" fmla="*/ 13323 w 38323"/>
                <a:gd name="connsiteY3" fmla="*/ 62246 h 62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8323" h="62246">
                  <a:moveTo>
                    <a:pt x="38324" y="32023"/>
                  </a:moveTo>
                  <a:cubicBezTo>
                    <a:pt x="38324" y="13690"/>
                    <a:pt x="28210" y="0"/>
                    <a:pt x="19162" y="0"/>
                  </a:cubicBezTo>
                  <a:cubicBezTo>
                    <a:pt x="10114" y="0"/>
                    <a:pt x="0" y="13690"/>
                    <a:pt x="0" y="32023"/>
                  </a:cubicBezTo>
                  <a:cubicBezTo>
                    <a:pt x="0" y="47218"/>
                    <a:pt x="6691" y="58160"/>
                    <a:pt x="13323" y="62246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846" name="Gráfico 10">
              <a:extLst>
                <a:ext uri="{FF2B5EF4-FFF2-40B4-BE49-F238E27FC236}">
                  <a16:creationId xmlns:a16="http://schemas.microsoft.com/office/drawing/2014/main" id="{599B9B0D-B150-9FD0-E051-8BCBBF5C50D1}"/>
                </a:ext>
              </a:extLst>
            </p:cNvPr>
            <p:cNvGrpSpPr/>
            <p:nvPr/>
          </p:nvGrpSpPr>
          <p:grpSpPr>
            <a:xfrm>
              <a:off x="8064908" y="1142162"/>
              <a:ext cx="174694" cy="114366"/>
              <a:chOff x="8064908" y="1142162"/>
              <a:chExt cx="174694" cy="114366"/>
            </a:xfrm>
            <a:noFill/>
          </p:grpSpPr>
          <p:sp>
            <p:nvSpPr>
              <p:cNvPr id="847" name="Forma livre: Forma 846">
                <a:extLst>
                  <a:ext uri="{FF2B5EF4-FFF2-40B4-BE49-F238E27FC236}">
                    <a16:creationId xmlns:a16="http://schemas.microsoft.com/office/drawing/2014/main" id="{D02D0A20-D96B-CDAC-B753-2D12384822B9}"/>
                  </a:ext>
                </a:extLst>
              </p:cNvPr>
              <p:cNvSpPr/>
              <p:nvPr/>
            </p:nvSpPr>
            <p:spPr>
              <a:xfrm>
                <a:off x="8064908" y="1142162"/>
                <a:ext cx="94316" cy="114366"/>
              </a:xfrm>
              <a:custGeom>
                <a:avLst/>
                <a:gdLst>
                  <a:gd name="connsiteX0" fmla="*/ 24053 w 94316"/>
                  <a:gd name="connsiteY0" fmla="*/ 112365 h 114366"/>
                  <a:gd name="connsiteX1" fmla="*/ 0 w 94316"/>
                  <a:gd name="connsiteY1" fmla="*/ 60020 h 114366"/>
                  <a:gd name="connsiteX2" fmla="*/ 47158 w 94316"/>
                  <a:gd name="connsiteY2" fmla="*/ 0 h 114366"/>
                  <a:gd name="connsiteX3" fmla="*/ 94317 w 94316"/>
                  <a:gd name="connsiteY3" fmla="*/ 60020 h 114366"/>
                  <a:gd name="connsiteX4" fmla="*/ 67185 w 94316"/>
                  <a:gd name="connsiteY4" fmla="*/ 114367 h 1143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94316" h="114366">
                    <a:moveTo>
                      <a:pt x="24053" y="112365"/>
                    </a:moveTo>
                    <a:cubicBezTo>
                      <a:pt x="9699" y="102074"/>
                      <a:pt x="0" y="82486"/>
                      <a:pt x="0" y="60020"/>
                    </a:cubicBezTo>
                    <a:cubicBezTo>
                      <a:pt x="0" y="26872"/>
                      <a:pt x="21116" y="0"/>
                      <a:pt x="47158" y="0"/>
                    </a:cubicBezTo>
                    <a:cubicBezTo>
                      <a:pt x="73201" y="0"/>
                      <a:pt x="94317" y="26872"/>
                      <a:pt x="94317" y="60020"/>
                    </a:cubicBezTo>
                    <a:cubicBezTo>
                      <a:pt x="94317" y="84061"/>
                      <a:pt x="83220" y="104798"/>
                      <a:pt x="67185" y="114367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848" name="Forma livre: Forma 847">
                <a:extLst>
                  <a:ext uri="{FF2B5EF4-FFF2-40B4-BE49-F238E27FC236}">
                    <a16:creationId xmlns:a16="http://schemas.microsoft.com/office/drawing/2014/main" id="{37E1E446-8666-11D5-3EC2-85F4404BDE2A}"/>
                  </a:ext>
                </a:extLst>
              </p:cNvPr>
              <p:cNvSpPr/>
              <p:nvPr/>
            </p:nvSpPr>
            <p:spPr>
              <a:xfrm>
                <a:off x="8097346" y="1170171"/>
                <a:ext cx="33882" cy="64046"/>
              </a:xfrm>
              <a:custGeom>
                <a:avLst/>
                <a:gdLst>
                  <a:gd name="connsiteX0" fmla="*/ 0 w 33882"/>
                  <a:gd name="connsiteY0" fmla="*/ 12198 h 64046"/>
                  <a:gd name="connsiteX1" fmla="*/ 14721 w 33882"/>
                  <a:gd name="connsiteY1" fmla="*/ 0 h 64046"/>
                  <a:gd name="connsiteX2" fmla="*/ 33882 w 33882"/>
                  <a:gd name="connsiteY2" fmla="*/ 32023 h 64046"/>
                  <a:gd name="connsiteX3" fmla="*/ 14721 w 33882"/>
                  <a:gd name="connsiteY3" fmla="*/ 64046 h 640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882" h="64046">
                    <a:moveTo>
                      <a:pt x="0" y="12198"/>
                    </a:moveTo>
                    <a:cubicBezTo>
                      <a:pt x="3790" y="4666"/>
                      <a:pt x="9439" y="0"/>
                      <a:pt x="14721" y="0"/>
                    </a:cubicBezTo>
                    <a:cubicBezTo>
                      <a:pt x="23757" y="0"/>
                      <a:pt x="33882" y="13690"/>
                      <a:pt x="33882" y="32023"/>
                    </a:cubicBezTo>
                    <a:cubicBezTo>
                      <a:pt x="33882" y="50356"/>
                      <a:pt x="23769" y="64046"/>
                      <a:pt x="14721" y="64046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849" name="Forma livre: Forma 848">
                <a:extLst>
                  <a:ext uri="{FF2B5EF4-FFF2-40B4-BE49-F238E27FC236}">
                    <a16:creationId xmlns:a16="http://schemas.microsoft.com/office/drawing/2014/main" id="{2D81FE39-9210-8910-320D-243B9850B3F8}"/>
                  </a:ext>
                </a:extLst>
              </p:cNvPr>
              <p:cNvSpPr/>
              <p:nvPr/>
            </p:nvSpPr>
            <p:spPr>
              <a:xfrm>
                <a:off x="8114719" y="1142162"/>
                <a:ext cx="124883" cy="114058"/>
              </a:xfrm>
              <a:custGeom>
                <a:avLst/>
                <a:gdLst>
                  <a:gd name="connsiteX0" fmla="*/ 0 w 124883"/>
                  <a:gd name="connsiteY0" fmla="*/ 0 h 114058"/>
                  <a:gd name="connsiteX1" fmla="*/ 77725 w 124883"/>
                  <a:gd name="connsiteY1" fmla="*/ 0 h 114058"/>
                  <a:gd name="connsiteX2" fmla="*/ 124883 w 124883"/>
                  <a:gd name="connsiteY2" fmla="*/ 60020 h 114058"/>
                  <a:gd name="connsiteX3" fmla="*/ 98272 w 124883"/>
                  <a:gd name="connsiteY3" fmla="*/ 114059 h 1140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24883" h="114058">
                    <a:moveTo>
                      <a:pt x="0" y="0"/>
                    </a:moveTo>
                    <a:lnTo>
                      <a:pt x="77725" y="0"/>
                    </a:lnTo>
                    <a:cubicBezTo>
                      <a:pt x="103767" y="0"/>
                      <a:pt x="124883" y="26872"/>
                      <a:pt x="124883" y="60020"/>
                    </a:cubicBezTo>
                    <a:cubicBezTo>
                      <a:pt x="124883" y="83812"/>
                      <a:pt x="114023" y="104336"/>
                      <a:pt x="98272" y="114059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850" name="Gráfico 10">
              <a:extLst>
                <a:ext uri="{FF2B5EF4-FFF2-40B4-BE49-F238E27FC236}">
                  <a16:creationId xmlns:a16="http://schemas.microsoft.com/office/drawing/2014/main" id="{578FB3CF-187A-CA8A-F1ED-6A4FAD686F60}"/>
                </a:ext>
              </a:extLst>
            </p:cNvPr>
            <p:cNvGrpSpPr/>
            <p:nvPr/>
          </p:nvGrpSpPr>
          <p:grpSpPr>
            <a:xfrm>
              <a:off x="8004450" y="1022135"/>
              <a:ext cx="174706" cy="120039"/>
              <a:chOff x="8004450" y="1022135"/>
              <a:chExt cx="174706" cy="120039"/>
            </a:xfrm>
            <a:noFill/>
          </p:grpSpPr>
          <p:sp>
            <p:nvSpPr>
              <p:cNvPr id="851" name="Forma livre: Forma 850">
                <a:extLst>
                  <a:ext uri="{FF2B5EF4-FFF2-40B4-BE49-F238E27FC236}">
                    <a16:creationId xmlns:a16="http://schemas.microsoft.com/office/drawing/2014/main" id="{3DE17ED5-2489-F129-C700-1BE12DA9218B}"/>
                  </a:ext>
                </a:extLst>
              </p:cNvPr>
              <p:cNvSpPr/>
              <p:nvPr/>
            </p:nvSpPr>
            <p:spPr>
              <a:xfrm>
                <a:off x="8004450" y="1022135"/>
                <a:ext cx="94316" cy="120039"/>
              </a:xfrm>
              <a:custGeom>
                <a:avLst/>
                <a:gdLst>
                  <a:gd name="connsiteX0" fmla="*/ 94317 w 94316"/>
                  <a:gd name="connsiteY0" fmla="*/ 60020 h 120039"/>
                  <a:gd name="connsiteX1" fmla="*/ 47158 w 94316"/>
                  <a:gd name="connsiteY1" fmla="*/ 120040 h 120039"/>
                  <a:gd name="connsiteX2" fmla="*/ 0 w 94316"/>
                  <a:gd name="connsiteY2" fmla="*/ 60020 h 120039"/>
                  <a:gd name="connsiteX3" fmla="*/ 47158 w 94316"/>
                  <a:gd name="connsiteY3" fmla="*/ 0 h 120039"/>
                  <a:gd name="connsiteX4" fmla="*/ 83634 w 94316"/>
                  <a:gd name="connsiteY4" fmla="*/ 21980 h 120039"/>
                  <a:gd name="connsiteX5" fmla="*/ 94317 w 94316"/>
                  <a:gd name="connsiteY5" fmla="*/ 60020 h 1200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94316" h="120039">
                    <a:moveTo>
                      <a:pt x="94317" y="60020"/>
                    </a:moveTo>
                    <a:cubicBezTo>
                      <a:pt x="94317" y="93168"/>
                      <a:pt x="73201" y="120040"/>
                      <a:pt x="47158" y="120040"/>
                    </a:cubicBezTo>
                    <a:cubicBezTo>
                      <a:pt x="21116" y="120040"/>
                      <a:pt x="0" y="93168"/>
                      <a:pt x="0" y="60020"/>
                    </a:cubicBezTo>
                    <a:cubicBezTo>
                      <a:pt x="0" y="26872"/>
                      <a:pt x="21116" y="0"/>
                      <a:pt x="47158" y="0"/>
                    </a:cubicBezTo>
                    <a:cubicBezTo>
                      <a:pt x="61855" y="0"/>
                      <a:pt x="74989" y="8551"/>
                      <a:pt x="83634" y="21980"/>
                    </a:cubicBezTo>
                    <a:cubicBezTo>
                      <a:pt x="90314" y="32331"/>
                      <a:pt x="94317" y="45583"/>
                      <a:pt x="94317" y="60020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852" name="Forma livre: Forma 851">
                <a:extLst>
                  <a:ext uri="{FF2B5EF4-FFF2-40B4-BE49-F238E27FC236}">
                    <a16:creationId xmlns:a16="http://schemas.microsoft.com/office/drawing/2014/main" id="{FA8D2E0F-9EEA-6304-1AFC-DB9B0482A973}"/>
                  </a:ext>
                </a:extLst>
              </p:cNvPr>
              <p:cNvSpPr/>
              <p:nvPr/>
            </p:nvSpPr>
            <p:spPr>
              <a:xfrm>
                <a:off x="8036462" y="1050131"/>
                <a:ext cx="34308" cy="64046"/>
              </a:xfrm>
              <a:custGeom>
                <a:avLst/>
                <a:gdLst>
                  <a:gd name="connsiteX0" fmla="*/ 0 w 34308"/>
                  <a:gd name="connsiteY0" fmla="*/ 13086 h 64046"/>
                  <a:gd name="connsiteX1" fmla="*/ 15147 w 34308"/>
                  <a:gd name="connsiteY1" fmla="*/ 0 h 64046"/>
                  <a:gd name="connsiteX2" fmla="*/ 34309 w 34308"/>
                  <a:gd name="connsiteY2" fmla="*/ 32023 h 64046"/>
                  <a:gd name="connsiteX3" fmla="*/ 15147 w 34308"/>
                  <a:gd name="connsiteY3" fmla="*/ 64046 h 640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4308" h="64046">
                    <a:moveTo>
                      <a:pt x="0" y="13086"/>
                    </a:moveTo>
                    <a:cubicBezTo>
                      <a:pt x="3778" y="5033"/>
                      <a:pt x="9652" y="0"/>
                      <a:pt x="15147" y="0"/>
                    </a:cubicBezTo>
                    <a:cubicBezTo>
                      <a:pt x="24195" y="0"/>
                      <a:pt x="34309" y="13690"/>
                      <a:pt x="34309" y="32023"/>
                    </a:cubicBezTo>
                    <a:cubicBezTo>
                      <a:pt x="34309" y="50356"/>
                      <a:pt x="24195" y="64046"/>
                      <a:pt x="15147" y="64046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853" name="Forma livre: Forma 852">
                <a:extLst>
                  <a:ext uri="{FF2B5EF4-FFF2-40B4-BE49-F238E27FC236}">
                    <a16:creationId xmlns:a16="http://schemas.microsoft.com/office/drawing/2014/main" id="{C732CC53-FF2C-5451-45FE-3B4473813BDB}"/>
                  </a:ext>
                </a:extLst>
              </p:cNvPr>
              <p:cNvSpPr/>
              <p:nvPr/>
            </p:nvSpPr>
            <p:spPr>
              <a:xfrm>
                <a:off x="8052082" y="1022135"/>
                <a:ext cx="127074" cy="120039"/>
              </a:xfrm>
              <a:custGeom>
                <a:avLst/>
                <a:gdLst>
                  <a:gd name="connsiteX0" fmla="*/ 0 w 127074"/>
                  <a:gd name="connsiteY0" fmla="*/ 0 h 120039"/>
                  <a:gd name="connsiteX1" fmla="*/ 79916 w 127074"/>
                  <a:gd name="connsiteY1" fmla="*/ 0 h 120039"/>
                  <a:gd name="connsiteX2" fmla="*/ 127074 w 127074"/>
                  <a:gd name="connsiteY2" fmla="*/ 60020 h 120039"/>
                  <a:gd name="connsiteX3" fmla="*/ 79916 w 127074"/>
                  <a:gd name="connsiteY3" fmla="*/ 120040 h 1200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27074" h="120039">
                    <a:moveTo>
                      <a:pt x="0" y="0"/>
                    </a:moveTo>
                    <a:lnTo>
                      <a:pt x="79916" y="0"/>
                    </a:lnTo>
                    <a:cubicBezTo>
                      <a:pt x="105958" y="0"/>
                      <a:pt x="127074" y="26860"/>
                      <a:pt x="127074" y="60020"/>
                    </a:cubicBezTo>
                    <a:cubicBezTo>
                      <a:pt x="127074" y="93180"/>
                      <a:pt x="105958" y="120040"/>
                      <a:pt x="79916" y="120040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854" name="Forma livre: Forma 853">
              <a:extLst>
                <a:ext uri="{FF2B5EF4-FFF2-40B4-BE49-F238E27FC236}">
                  <a16:creationId xmlns:a16="http://schemas.microsoft.com/office/drawing/2014/main" id="{1341E43D-BECE-AA1D-ACB5-829D0A94A268}"/>
                </a:ext>
              </a:extLst>
            </p:cNvPr>
            <p:cNvSpPr/>
            <p:nvPr/>
          </p:nvSpPr>
          <p:spPr>
            <a:xfrm>
              <a:off x="7892381" y="1220053"/>
              <a:ext cx="54027" cy="1184"/>
            </a:xfrm>
            <a:custGeom>
              <a:avLst/>
              <a:gdLst>
                <a:gd name="connsiteX0" fmla="*/ 54027 w 54027"/>
                <a:gd name="connsiteY0" fmla="*/ 0 h 1184"/>
                <a:gd name="connsiteX1" fmla="*/ 0 w 54027"/>
                <a:gd name="connsiteY1" fmla="*/ 0 h 11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4027" h="1184">
                  <a:moveTo>
                    <a:pt x="54027" y="0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55" name="Forma livre: Forma 854">
              <a:extLst>
                <a:ext uri="{FF2B5EF4-FFF2-40B4-BE49-F238E27FC236}">
                  <a16:creationId xmlns:a16="http://schemas.microsoft.com/office/drawing/2014/main" id="{5628E4A2-C5F5-3498-9A29-308133666D61}"/>
                </a:ext>
              </a:extLst>
            </p:cNvPr>
            <p:cNvSpPr/>
            <p:nvPr/>
          </p:nvSpPr>
          <p:spPr>
            <a:xfrm>
              <a:off x="8238655" y="1217412"/>
              <a:ext cx="52712" cy="1184"/>
            </a:xfrm>
            <a:custGeom>
              <a:avLst/>
              <a:gdLst>
                <a:gd name="connsiteX0" fmla="*/ 0 w 52712"/>
                <a:gd name="connsiteY0" fmla="*/ 0 h 1184"/>
                <a:gd name="connsiteX1" fmla="*/ 52713 w 52712"/>
                <a:gd name="connsiteY1" fmla="*/ 0 h 11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2712" h="1184">
                  <a:moveTo>
                    <a:pt x="0" y="0"/>
                  </a:moveTo>
                  <a:lnTo>
                    <a:pt x="52713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56" name="Forma livre: Forma 855">
              <a:extLst>
                <a:ext uri="{FF2B5EF4-FFF2-40B4-BE49-F238E27FC236}">
                  <a16:creationId xmlns:a16="http://schemas.microsoft.com/office/drawing/2014/main" id="{7E8CFC6F-4963-6E4F-F546-67C693D6D314}"/>
                </a:ext>
              </a:extLst>
            </p:cNvPr>
            <p:cNvSpPr/>
            <p:nvPr/>
          </p:nvSpPr>
          <p:spPr>
            <a:xfrm>
              <a:off x="7931001" y="1255617"/>
              <a:ext cx="322884" cy="1184"/>
            </a:xfrm>
            <a:custGeom>
              <a:avLst/>
              <a:gdLst>
                <a:gd name="connsiteX0" fmla="*/ 0 w 322884"/>
                <a:gd name="connsiteY0" fmla="*/ 0 h 1184"/>
                <a:gd name="connsiteX1" fmla="*/ 322884 w 322884"/>
                <a:gd name="connsiteY1" fmla="*/ 0 h 11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22884" h="1184">
                  <a:moveTo>
                    <a:pt x="0" y="0"/>
                  </a:moveTo>
                  <a:lnTo>
                    <a:pt x="322884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57" name="Forma livre: Forma 856">
              <a:extLst>
                <a:ext uri="{FF2B5EF4-FFF2-40B4-BE49-F238E27FC236}">
                  <a16:creationId xmlns:a16="http://schemas.microsoft.com/office/drawing/2014/main" id="{88899B69-011B-15BB-3D68-5F2D6563F2A6}"/>
                </a:ext>
              </a:extLst>
            </p:cNvPr>
            <p:cNvSpPr/>
            <p:nvPr/>
          </p:nvSpPr>
          <p:spPr>
            <a:xfrm>
              <a:off x="8275771" y="1255617"/>
              <a:ext cx="14602" cy="1184"/>
            </a:xfrm>
            <a:custGeom>
              <a:avLst/>
              <a:gdLst>
                <a:gd name="connsiteX0" fmla="*/ 0 w 14602"/>
                <a:gd name="connsiteY0" fmla="*/ 0 h 1184"/>
                <a:gd name="connsiteX1" fmla="*/ 14602 w 14602"/>
                <a:gd name="connsiteY1" fmla="*/ 0 h 11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4602" h="1184">
                  <a:moveTo>
                    <a:pt x="0" y="0"/>
                  </a:moveTo>
                  <a:lnTo>
                    <a:pt x="14602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858" name="Gráfico 10">
            <a:extLst>
              <a:ext uri="{FF2B5EF4-FFF2-40B4-BE49-F238E27FC236}">
                <a16:creationId xmlns:a16="http://schemas.microsoft.com/office/drawing/2014/main" id="{A3AA2AD5-76D0-14A6-5609-1701B34A7882}"/>
              </a:ext>
            </a:extLst>
          </p:cNvPr>
          <p:cNvGrpSpPr/>
          <p:nvPr/>
        </p:nvGrpSpPr>
        <p:grpSpPr>
          <a:xfrm>
            <a:off x="7896739" y="2055365"/>
            <a:ext cx="368799" cy="301582"/>
            <a:chOff x="7896739" y="2055365"/>
            <a:chExt cx="368799" cy="301582"/>
          </a:xfrm>
          <a:noFill/>
        </p:grpSpPr>
        <p:sp>
          <p:nvSpPr>
            <p:cNvPr id="859" name="Forma livre: Forma 858">
              <a:extLst>
                <a:ext uri="{FF2B5EF4-FFF2-40B4-BE49-F238E27FC236}">
                  <a16:creationId xmlns:a16="http://schemas.microsoft.com/office/drawing/2014/main" id="{842BF09C-3D2C-1BA0-23AE-4ACE95863661}"/>
                </a:ext>
              </a:extLst>
            </p:cNvPr>
            <p:cNvSpPr/>
            <p:nvPr/>
          </p:nvSpPr>
          <p:spPr>
            <a:xfrm>
              <a:off x="8002011" y="2055365"/>
              <a:ext cx="62400" cy="14581"/>
            </a:xfrm>
            <a:custGeom>
              <a:avLst/>
              <a:gdLst>
                <a:gd name="connsiteX0" fmla="*/ 62400 w 62400"/>
                <a:gd name="connsiteY0" fmla="*/ 4278 h 14581"/>
                <a:gd name="connsiteX1" fmla="*/ 47786 w 62400"/>
                <a:gd name="connsiteY1" fmla="*/ 192 h 14581"/>
                <a:gd name="connsiteX2" fmla="*/ 32035 w 62400"/>
                <a:gd name="connsiteY2" fmla="*/ 14582 h 14581"/>
                <a:gd name="connsiteX3" fmla="*/ 12885 w 62400"/>
                <a:gd name="connsiteY3" fmla="*/ 5190 h 14581"/>
                <a:gd name="connsiteX4" fmla="*/ 0 w 62400"/>
                <a:gd name="connsiteY4" fmla="*/ 13208 h 145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2400" h="14581">
                  <a:moveTo>
                    <a:pt x="62400" y="4278"/>
                  </a:moveTo>
                  <a:cubicBezTo>
                    <a:pt x="58456" y="1057"/>
                    <a:pt x="53234" y="-589"/>
                    <a:pt x="47786" y="192"/>
                  </a:cubicBezTo>
                  <a:cubicBezTo>
                    <a:pt x="39863" y="1329"/>
                    <a:pt x="33764" y="7251"/>
                    <a:pt x="32035" y="14582"/>
                  </a:cubicBezTo>
                  <a:cubicBezTo>
                    <a:pt x="28316" y="8009"/>
                    <a:pt x="20796" y="4041"/>
                    <a:pt x="12885" y="5190"/>
                  </a:cubicBezTo>
                  <a:cubicBezTo>
                    <a:pt x="7425" y="5972"/>
                    <a:pt x="2878" y="9015"/>
                    <a:pt x="0" y="13208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60" name="Forma livre: Forma 859">
              <a:extLst>
                <a:ext uri="{FF2B5EF4-FFF2-40B4-BE49-F238E27FC236}">
                  <a16:creationId xmlns:a16="http://schemas.microsoft.com/office/drawing/2014/main" id="{1BE6CB36-D937-F406-59BF-CFA3BCCAA5DB}"/>
                </a:ext>
              </a:extLst>
            </p:cNvPr>
            <p:cNvSpPr/>
            <p:nvPr/>
          </p:nvSpPr>
          <p:spPr>
            <a:xfrm>
              <a:off x="8060965" y="2096785"/>
              <a:ext cx="61642" cy="16648"/>
            </a:xfrm>
            <a:custGeom>
              <a:avLst/>
              <a:gdLst>
                <a:gd name="connsiteX0" fmla="*/ 61642 w 61642"/>
                <a:gd name="connsiteY0" fmla="*/ 16648 h 16648"/>
                <a:gd name="connsiteX1" fmla="*/ 49337 w 61642"/>
                <a:gd name="connsiteY1" fmla="*/ 7766 h 16648"/>
                <a:gd name="connsiteX2" fmla="*/ 29595 w 61642"/>
                <a:gd name="connsiteY2" fmla="*/ 15843 h 16648"/>
                <a:gd name="connsiteX3" fmla="*/ 14851 w 61642"/>
                <a:gd name="connsiteY3" fmla="*/ 423 h 16648"/>
                <a:gd name="connsiteX4" fmla="*/ 0 w 61642"/>
                <a:gd name="connsiteY4" fmla="*/ 3502 h 166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1642" h="16648">
                  <a:moveTo>
                    <a:pt x="61642" y="16648"/>
                  </a:moveTo>
                  <a:cubicBezTo>
                    <a:pt x="59060" y="12266"/>
                    <a:pt x="54714" y="8926"/>
                    <a:pt x="49337" y="7766"/>
                  </a:cubicBezTo>
                  <a:cubicBezTo>
                    <a:pt x="41521" y="6108"/>
                    <a:pt x="33752" y="9542"/>
                    <a:pt x="29595" y="15843"/>
                  </a:cubicBezTo>
                  <a:cubicBezTo>
                    <a:pt x="28364" y="8394"/>
                    <a:pt x="22679" y="2081"/>
                    <a:pt x="14851" y="423"/>
                  </a:cubicBezTo>
                  <a:cubicBezTo>
                    <a:pt x="9486" y="-737"/>
                    <a:pt x="4145" y="554"/>
                    <a:pt x="0" y="3502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861" name="Gráfico 10">
              <a:extLst>
                <a:ext uri="{FF2B5EF4-FFF2-40B4-BE49-F238E27FC236}">
                  <a16:creationId xmlns:a16="http://schemas.microsoft.com/office/drawing/2014/main" id="{C2570923-F21C-3AC2-1E20-1196E9D0D5C0}"/>
                </a:ext>
              </a:extLst>
            </p:cNvPr>
            <p:cNvGrpSpPr/>
            <p:nvPr/>
          </p:nvGrpSpPr>
          <p:grpSpPr>
            <a:xfrm>
              <a:off x="7899238" y="2269215"/>
              <a:ext cx="178709" cy="1184"/>
              <a:chOff x="7899238" y="2269215"/>
              <a:chExt cx="178709" cy="1184"/>
            </a:xfrm>
          </p:grpSpPr>
          <p:sp>
            <p:nvSpPr>
              <p:cNvPr id="862" name="Forma livre: Forma 861">
                <a:extLst>
                  <a:ext uri="{FF2B5EF4-FFF2-40B4-BE49-F238E27FC236}">
                    <a16:creationId xmlns:a16="http://schemas.microsoft.com/office/drawing/2014/main" id="{DC946F59-2B06-7893-C9E4-EF6D923251C6}"/>
                  </a:ext>
                </a:extLst>
              </p:cNvPr>
              <p:cNvSpPr/>
              <p:nvPr/>
            </p:nvSpPr>
            <p:spPr>
              <a:xfrm>
                <a:off x="7899238" y="2269215"/>
                <a:ext cx="88407" cy="1184"/>
              </a:xfrm>
              <a:custGeom>
                <a:avLst/>
                <a:gdLst>
                  <a:gd name="connsiteX0" fmla="*/ 0 w 88407"/>
                  <a:gd name="connsiteY0" fmla="*/ 0 h 1184"/>
                  <a:gd name="connsiteX1" fmla="*/ 88407 w 88407"/>
                  <a:gd name="connsiteY1" fmla="*/ 0 h 11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88407" h="1184">
                    <a:moveTo>
                      <a:pt x="0" y="0"/>
                    </a:moveTo>
                    <a:lnTo>
                      <a:pt x="88407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863" name="Forma livre: Forma 862">
                <a:extLst>
                  <a:ext uri="{FF2B5EF4-FFF2-40B4-BE49-F238E27FC236}">
                    <a16:creationId xmlns:a16="http://schemas.microsoft.com/office/drawing/2014/main" id="{18F16A20-1567-ECD7-84FD-4CBF098D1859}"/>
                  </a:ext>
                </a:extLst>
              </p:cNvPr>
              <p:cNvSpPr/>
              <p:nvPr/>
            </p:nvSpPr>
            <p:spPr>
              <a:xfrm>
                <a:off x="8017750" y="2269215"/>
                <a:ext cx="60197" cy="1184"/>
              </a:xfrm>
              <a:custGeom>
                <a:avLst/>
                <a:gdLst>
                  <a:gd name="connsiteX0" fmla="*/ 0 w 60197"/>
                  <a:gd name="connsiteY0" fmla="*/ 0 h 1184"/>
                  <a:gd name="connsiteX1" fmla="*/ 60197 w 60197"/>
                  <a:gd name="connsiteY1" fmla="*/ 0 h 11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0197" h="1184">
                    <a:moveTo>
                      <a:pt x="0" y="0"/>
                    </a:moveTo>
                    <a:lnTo>
                      <a:pt x="60197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864" name="Gráfico 10">
              <a:extLst>
                <a:ext uri="{FF2B5EF4-FFF2-40B4-BE49-F238E27FC236}">
                  <a16:creationId xmlns:a16="http://schemas.microsoft.com/office/drawing/2014/main" id="{56BE1C30-B9CF-59F2-B989-F3B57465BE5E}"/>
                </a:ext>
              </a:extLst>
            </p:cNvPr>
            <p:cNvGrpSpPr/>
            <p:nvPr/>
          </p:nvGrpSpPr>
          <p:grpSpPr>
            <a:xfrm>
              <a:off x="7929769" y="2304080"/>
              <a:ext cx="111654" cy="1184"/>
              <a:chOff x="7929769" y="2304080"/>
              <a:chExt cx="111654" cy="1184"/>
            </a:xfrm>
          </p:grpSpPr>
          <p:sp>
            <p:nvSpPr>
              <p:cNvPr id="865" name="Forma livre: Forma 864">
                <a:extLst>
                  <a:ext uri="{FF2B5EF4-FFF2-40B4-BE49-F238E27FC236}">
                    <a16:creationId xmlns:a16="http://schemas.microsoft.com/office/drawing/2014/main" id="{87CEB1CC-804B-B18C-1FD0-50C889D8D480}"/>
                  </a:ext>
                </a:extLst>
              </p:cNvPr>
              <p:cNvSpPr/>
              <p:nvPr/>
            </p:nvSpPr>
            <p:spPr>
              <a:xfrm>
                <a:off x="7989966" y="2304080"/>
                <a:ext cx="51457" cy="1184"/>
              </a:xfrm>
              <a:custGeom>
                <a:avLst/>
                <a:gdLst>
                  <a:gd name="connsiteX0" fmla="*/ 51457 w 51457"/>
                  <a:gd name="connsiteY0" fmla="*/ 0 h 1184"/>
                  <a:gd name="connsiteX1" fmla="*/ 0 w 51457"/>
                  <a:gd name="connsiteY1" fmla="*/ 0 h 11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1457" h="1184">
                    <a:moveTo>
                      <a:pt x="51457" y="0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866" name="Forma livre: Forma 865">
                <a:extLst>
                  <a:ext uri="{FF2B5EF4-FFF2-40B4-BE49-F238E27FC236}">
                    <a16:creationId xmlns:a16="http://schemas.microsoft.com/office/drawing/2014/main" id="{F2A5AD50-613C-E6CF-C46F-6BEADDC917CF}"/>
                  </a:ext>
                </a:extLst>
              </p:cNvPr>
              <p:cNvSpPr/>
              <p:nvPr/>
            </p:nvSpPr>
            <p:spPr>
              <a:xfrm>
                <a:off x="7929769" y="2304080"/>
                <a:ext cx="31063" cy="1184"/>
              </a:xfrm>
              <a:custGeom>
                <a:avLst/>
                <a:gdLst>
                  <a:gd name="connsiteX0" fmla="*/ 31064 w 31063"/>
                  <a:gd name="connsiteY0" fmla="*/ 0 h 1184"/>
                  <a:gd name="connsiteX1" fmla="*/ 0 w 31063"/>
                  <a:gd name="connsiteY1" fmla="*/ 0 h 11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1063" h="1184">
                    <a:moveTo>
                      <a:pt x="31064" y="0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867" name="Forma livre: Forma 866">
              <a:extLst>
                <a:ext uri="{FF2B5EF4-FFF2-40B4-BE49-F238E27FC236}">
                  <a16:creationId xmlns:a16="http://schemas.microsoft.com/office/drawing/2014/main" id="{DB234326-D03A-8FCD-701B-98E17E9D7759}"/>
                </a:ext>
              </a:extLst>
            </p:cNvPr>
            <p:cNvSpPr/>
            <p:nvPr/>
          </p:nvSpPr>
          <p:spPr>
            <a:xfrm>
              <a:off x="7896739" y="2231495"/>
              <a:ext cx="306079" cy="1184"/>
            </a:xfrm>
            <a:custGeom>
              <a:avLst/>
              <a:gdLst>
                <a:gd name="connsiteX0" fmla="*/ 306079 w 306079"/>
                <a:gd name="connsiteY0" fmla="*/ 0 h 1184"/>
                <a:gd name="connsiteX1" fmla="*/ 0 w 306079"/>
                <a:gd name="connsiteY1" fmla="*/ 0 h 11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06079" h="1184">
                  <a:moveTo>
                    <a:pt x="306079" y="0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68" name="Forma livre: Forma 867">
              <a:extLst>
                <a:ext uri="{FF2B5EF4-FFF2-40B4-BE49-F238E27FC236}">
                  <a16:creationId xmlns:a16="http://schemas.microsoft.com/office/drawing/2014/main" id="{2C18D1F9-4483-0180-BCB8-380C33C2EA8A}"/>
                </a:ext>
              </a:extLst>
            </p:cNvPr>
            <p:cNvSpPr/>
            <p:nvPr/>
          </p:nvSpPr>
          <p:spPr>
            <a:xfrm>
              <a:off x="8225711" y="2231495"/>
              <a:ext cx="13287" cy="1184"/>
            </a:xfrm>
            <a:custGeom>
              <a:avLst/>
              <a:gdLst>
                <a:gd name="connsiteX0" fmla="*/ 13288 w 13287"/>
                <a:gd name="connsiteY0" fmla="*/ 0 h 1184"/>
                <a:gd name="connsiteX1" fmla="*/ 0 w 13287"/>
                <a:gd name="connsiteY1" fmla="*/ 0 h 11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3287" h="1184">
                  <a:moveTo>
                    <a:pt x="13288" y="0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69" name="Forma livre: Forma 868">
              <a:extLst>
                <a:ext uri="{FF2B5EF4-FFF2-40B4-BE49-F238E27FC236}">
                  <a16:creationId xmlns:a16="http://schemas.microsoft.com/office/drawing/2014/main" id="{BBA47985-0EEF-CF66-1A60-0E89CA77BF2D}"/>
                </a:ext>
              </a:extLst>
            </p:cNvPr>
            <p:cNvSpPr/>
            <p:nvPr/>
          </p:nvSpPr>
          <p:spPr>
            <a:xfrm>
              <a:off x="7918116" y="2145847"/>
              <a:ext cx="137294" cy="64401"/>
            </a:xfrm>
            <a:custGeom>
              <a:avLst/>
              <a:gdLst>
                <a:gd name="connsiteX0" fmla="*/ 137295 w 137294"/>
                <a:gd name="connsiteY0" fmla="*/ 64402 h 64401"/>
                <a:gd name="connsiteX1" fmla="*/ 91309 w 137294"/>
                <a:gd name="connsiteY1" fmla="*/ 3861 h 64401"/>
                <a:gd name="connsiteX2" fmla="*/ 3707 w 137294"/>
                <a:gd name="connsiteY2" fmla="*/ 46128 h 64401"/>
                <a:gd name="connsiteX3" fmla="*/ 0 w 137294"/>
                <a:gd name="connsiteY3" fmla="*/ 64260 h 64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7294" h="64401">
                  <a:moveTo>
                    <a:pt x="137295" y="64402"/>
                  </a:moveTo>
                  <a:cubicBezTo>
                    <a:pt x="135577" y="37649"/>
                    <a:pt x="118204" y="13240"/>
                    <a:pt x="91309" y="3861"/>
                  </a:cubicBezTo>
                  <a:cubicBezTo>
                    <a:pt x="55437" y="-8657"/>
                    <a:pt x="16225" y="10268"/>
                    <a:pt x="3707" y="46128"/>
                  </a:cubicBezTo>
                  <a:cubicBezTo>
                    <a:pt x="1611" y="52132"/>
                    <a:pt x="403" y="58208"/>
                    <a:pt x="0" y="64260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70" name="Forma livre: Forma 869">
              <a:extLst>
                <a:ext uri="{FF2B5EF4-FFF2-40B4-BE49-F238E27FC236}">
                  <a16:creationId xmlns:a16="http://schemas.microsoft.com/office/drawing/2014/main" id="{CBB6AD30-A8AE-BFA8-2696-A5FFC6583830}"/>
                </a:ext>
              </a:extLst>
            </p:cNvPr>
            <p:cNvSpPr/>
            <p:nvPr/>
          </p:nvSpPr>
          <p:spPr>
            <a:xfrm>
              <a:off x="8186677" y="2127467"/>
              <a:ext cx="78861" cy="46258"/>
            </a:xfrm>
            <a:custGeom>
              <a:avLst/>
              <a:gdLst>
                <a:gd name="connsiteX0" fmla="*/ 78862 w 78861"/>
                <a:gd name="connsiteY0" fmla="*/ 22762 h 46258"/>
                <a:gd name="connsiteX1" fmla="*/ 53779 w 78861"/>
                <a:gd name="connsiteY1" fmla="*/ 0 h 46258"/>
                <a:gd name="connsiteX2" fmla="*/ 0 w 78861"/>
                <a:gd name="connsiteY2" fmla="*/ 46258 h 462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78861" h="46258">
                  <a:moveTo>
                    <a:pt x="78862" y="22762"/>
                  </a:moveTo>
                  <a:lnTo>
                    <a:pt x="53779" y="0"/>
                  </a:lnTo>
                  <a:lnTo>
                    <a:pt x="0" y="46258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71" name="Forma livre: Forma 870">
              <a:extLst>
                <a:ext uri="{FF2B5EF4-FFF2-40B4-BE49-F238E27FC236}">
                  <a16:creationId xmlns:a16="http://schemas.microsoft.com/office/drawing/2014/main" id="{29F4430F-8D5F-CCF8-2001-ED346BD55CB1}"/>
                </a:ext>
              </a:extLst>
            </p:cNvPr>
            <p:cNvSpPr/>
            <p:nvPr/>
          </p:nvSpPr>
          <p:spPr>
            <a:xfrm>
              <a:off x="8077864" y="2154564"/>
              <a:ext cx="132060" cy="77168"/>
            </a:xfrm>
            <a:custGeom>
              <a:avLst/>
              <a:gdLst>
                <a:gd name="connsiteX0" fmla="*/ 132060 w 132060"/>
                <a:gd name="connsiteY0" fmla="*/ 41367 h 77168"/>
                <a:gd name="connsiteX1" fmla="*/ 85778 w 132060"/>
                <a:gd name="connsiteY1" fmla="*/ 0 h 77168"/>
                <a:gd name="connsiteX2" fmla="*/ 0 w 132060"/>
                <a:gd name="connsiteY2" fmla="*/ 77168 h 771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32060" h="77168">
                  <a:moveTo>
                    <a:pt x="132060" y="41367"/>
                  </a:moveTo>
                  <a:lnTo>
                    <a:pt x="85778" y="0"/>
                  </a:lnTo>
                  <a:lnTo>
                    <a:pt x="0" y="77168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72" name="Forma livre: Forma 871">
              <a:extLst>
                <a:ext uri="{FF2B5EF4-FFF2-40B4-BE49-F238E27FC236}">
                  <a16:creationId xmlns:a16="http://schemas.microsoft.com/office/drawing/2014/main" id="{E2E95C26-45DE-E6B5-EEBD-FAA1D100965D}"/>
                </a:ext>
              </a:extLst>
            </p:cNvPr>
            <p:cNvSpPr/>
            <p:nvPr/>
          </p:nvSpPr>
          <p:spPr>
            <a:xfrm>
              <a:off x="7943080" y="2232028"/>
              <a:ext cx="220704" cy="124918"/>
            </a:xfrm>
            <a:custGeom>
              <a:avLst/>
              <a:gdLst>
                <a:gd name="connsiteX0" fmla="*/ 220704 w 220704"/>
                <a:gd name="connsiteY0" fmla="*/ 0 h 124918"/>
                <a:gd name="connsiteX1" fmla="*/ 0 w 220704"/>
                <a:gd name="connsiteY1" fmla="*/ 124919 h 1249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20704" h="124918">
                  <a:moveTo>
                    <a:pt x="220704" y="0"/>
                  </a:moveTo>
                  <a:cubicBezTo>
                    <a:pt x="220704" y="68997"/>
                    <a:pt x="121887" y="124919"/>
                    <a:pt x="0" y="124919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873" name="Gráfico 10">
            <a:extLst>
              <a:ext uri="{FF2B5EF4-FFF2-40B4-BE49-F238E27FC236}">
                <a16:creationId xmlns:a16="http://schemas.microsoft.com/office/drawing/2014/main" id="{D611E094-A354-02D0-A0EA-FC365D622722}"/>
              </a:ext>
            </a:extLst>
          </p:cNvPr>
          <p:cNvGrpSpPr/>
          <p:nvPr/>
        </p:nvGrpSpPr>
        <p:grpSpPr>
          <a:xfrm>
            <a:off x="7899274" y="1540048"/>
            <a:ext cx="363739" cy="265434"/>
            <a:chOff x="7899274" y="1540048"/>
            <a:chExt cx="363739" cy="265434"/>
          </a:xfrm>
          <a:noFill/>
        </p:grpSpPr>
        <p:sp>
          <p:nvSpPr>
            <p:cNvPr id="874" name="Forma livre: Forma 873">
              <a:extLst>
                <a:ext uri="{FF2B5EF4-FFF2-40B4-BE49-F238E27FC236}">
                  <a16:creationId xmlns:a16="http://schemas.microsoft.com/office/drawing/2014/main" id="{E702228A-8B84-8D75-E2B0-FD09F501DE87}"/>
                </a:ext>
              </a:extLst>
            </p:cNvPr>
            <p:cNvSpPr/>
            <p:nvPr/>
          </p:nvSpPr>
          <p:spPr>
            <a:xfrm>
              <a:off x="8153497" y="1587135"/>
              <a:ext cx="109516" cy="172219"/>
            </a:xfrm>
            <a:custGeom>
              <a:avLst/>
              <a:gdLst>
                <a:gd name="connsiteX0" fmla="*/ 31368 w 109516"/>
                <a:gd name="connsiteY0" fmla="*/ 166570 h 172219"/>
                <a:gd name="connsiteX1" fmla="*/ 979 w 109516"/>
                <a:gd name="connsiteY1" fmla="*/ 100475 h 172219"/>
                <a:gd name="connsiteX2" fmla="*/ 54853 w 109516"/>
                <a:gd name="connsiteY2" fmla="*/ 0 h 172219"/>
                <a:gd name="connsiteX3" fmla="*/ 108193 w 109516"/>
                <a:gd name="connsiteY3" fmla="*/ 99836 h 172219"/>
                <a:gd name="connsiteX4" fmla="*/ 56771 w 109516"/>
                <a:gd name="connsiteY4" fmla="*/ 172219 h 1722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9516" h="172219">
                  <a:moveTo>
                    <a:pt x="31368" y="166570"/>
                  </a:moveTo>
                  <a:cubicBezTo>
                    <a:pt x="11342" y="156883"/>
                    <a:pt x="-4113" y="134796"/>
                    <a:pt x="979" y="100475"/>
                  </a:cubicBezTo>
                  <a:cubicBezTo>
                    <a:pt x="6261" y="64958"/>
                    <a:pt x="25944" y="0"/>
                    <a:pt x="54853" y="0"/>
                  </a:cubicBezTo>
                  <a:cubicBezTo>
                    <a:pt x="83761" y="0"/>
                    <a:pt x="102130" y="61974"/>
                    <a:pt x="108193" y="99836"/>
                  </a:cubicBezTo>
                  <a:cubicBezTo>
                    <a:pt x="116353" y="150748"/>
                    <a:pt x="85253" y="171852"/>
                    <a:pt x="56771" y="172219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875" name="Gráfico 10">
              <a:extLst>
                <a:ext uri="{FF2B5EF4-FFF2-40B4-BE49-F238E27FC236}">
                  <a16:creationId xmlns:a16="http://schemas.microsoft.com/office/drawing/2014/main" id="{E8A9D4D8-0906-E894-CA5E-FA4DF3224673}"/>
                </a:ext>
              </a:extLst>
            </p:cNvPr>
            <p:cNvGrpSpPr/>
            <p:nvPr/>
          </p:nvGrpSpPr>
          <p:grpSpPr>
            <a:xfrm>
              <a:off x="8175237" y="1667252"/>
              <a:ext cx="32094" cy="58243"/>
              <a:chOff x="8175237" y="1667252"/>
              <a:chExt cx="32094" cy="58243"/>
            </a:xfrm>
          </p:grpSpPr>
          <p:sp>
            <p:nvSpPr>
              <p:cNvPr id="876" name="Forma livre: Forma 875">
                <a:extLst>
                  <a:ext uri="{FF2B5EF4-FFF2-40B4-BE49-F238E27FC236}">
                    <a16:creationId xmlns:a16="http://schemas.microsoft.com/office/drawing/2014/main" id="{95BF03FF-6A6C-96A4-EAD4-7CD9978CA736}"/>
                  </a:ext>
                </a:extLst>
              </p:cNvPr>
              <p:cNvSpPr/>
              <p:nvPr/>
            </p:nvSpPr>
            <p:spPr>
              <a:xfrm>
                <a:off x="8175237" y="1696765"/>
                <a:ext cx="32094" cy="28730"/>
              </a:xfrm>
              <a:custGeom>
                <a:avLst/>
                <a:gdLst>
                  <a:gd name="connsiteX0" fmla="*/ 32094 w 32094"/>
                  <a:gd name="connsiteY0" fmla="*/ 28731 h 28730"/>
                  <a:gd name="connsiteX1" fmla="*/ 0 w 32094"/>
                  <a:gd name="connsiteY1" fmla="*/ 0 h 287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2094" h="28730">
                    <a:moveTo>
                      <a:pt x="32094" y="28731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877" name="Forma livre: Forma 876">
                <a:extLst>
                  <a:ext uri="{FF2B5EF4-FFF2-40B4-BE49-F238E27FC236}">
                    <a16:creationId xmlns:a16="http://schemas.microsoft.com/office/drawing/2014/main" id="{572CE23B-A209-9BDD-AC4A-2749B780731C}"/>
                  </a:ext>
                </a:extLst>
              </p:cNvPr>
              <p:cNvSpPr/>
              <p:nvPr/>
            </p:nvSpPr>
            <p:spPr>
              <a:xfrm>
                <a:off x="8187447" y="1667252"/>
                <a:ext cx="19339" cy="17373"/>
              </a:xfrm>
              <a:custGeom>
                <a:avLst/>
                <a:gdLst>
                  <a:gd name="connsiteX0" fmla="*/ 19339 w 19339"/>
                  <a:gd name="connsiteY0" fmla="*/ 17374 h 17373"/>
                  <a:gd name="connsiteX1" fmla="*/ 0 w 19339"/>
                  <a:gd name="connsiteY1" fmla="*/ 0 h 173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9339" h="17373">
                    <a:moveTo>
                      <a:pt x="19339" y="17374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878" name="Gráfico 10">
              <a:extLst>
                <a:ext uri="{FF2B5EF4-FFF2-40B4-BE49-F238E27FC236}">
                  <a16:creationId xmlns:a16="http://schemas.microsoft.com/office/drawing/2014/main" id="{ACBD0B26-6B9E-DAF3-94CC-D60B11E65FD7}"/>
                </a:ext>
              </a:extLst>
            </p:cNvPr>
            <p:cNvGrpSpPr/>
            <p:nvPr/>
          </p:nvGrpSpPr>
          <p:grpSpPr>
            <a:xfrm>
              <a:off x="8209072" y="1667252"/>
              <a:ext cx="32106" cy="58243"/>
              <a:chOff x="8209072" y="1667252"/>
              <a:chExt cx="32106" cy="58243"/>
            </a:xfrm>
          </p:grpSpPr>
          <p:sp>
            <p:nvSpPr>
              <p:cNvPr id="879" name="Forma livre: Forma 878">
                <a:extLst>
                  <a:ext uri="{FF2B5EF4-FFF2-40B4-BE49-F238E27FC236}">
                    <a16:creationId xmlns:a16="http://schemas.microsoft.com/office/drawing/2014/main" id="{C1A1EC7F-8E3F-5751-2DA8-994415F7EB68}"/>
                  </a:ext>
                </a:extLst>
              </p:cNvPr>
              <p:cNvSpPr/>
              <p:nvPr/>
            </p:nvSpPr>
            <p:spPr>
              <a:xfrm>
                <a:off x="8209072" y="1696765"/>
                <a:ext cx="32106" cy="28730"/>
              </a:xfrm>
              <a:custGeom>
                <a:avLst/>
                <a:gdLst>
                  <a:gd name="connsiteX0" fmla="*/ 0 w 32106"/>
                  <a:gd name="connsiteY0" fmla="*/ 28731 h 28730"/>
                  <a:gd name="connsiteX1" fmla="*/ 32106 w 32106"/>
                  <a:gd name="connsiteY1" fmla="*/ 0 h 287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2106" h="28730">
                    <a:moveTo>
                      <a:pt x="0" y="28731"/>
                    </a:moveTo>
                    <a:lnTo>
                      <a:pt x="32106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880" name="Forma livre: Forma 879">
                <a:extLst>
                  <a:ext uri="{FF2B5EF4-FFF2-40B4-BE49-F238E27FC236}">
                    <a16:creationId xmlns:a16="http://schemas.microsoft.com/office/drawing/2014/main" id="{1461BBB1-B9C0-A487-B5D0-EB161777D54A}"/>
                  </a:ext>
                </a:extLst>
              </p:cNvPr>
              <p:cNvSpPr/>
              <p:nvPr/>
            </p:nvSpPr>
            <p:spPr>
              <a:xfrm>
                <a:off x="8209616" y="1667252"/>
                <a:ext cx="19351" cy="17373"/>
              </a:xfrm>
              <a:custGeom>
                <a:avLst/>
                <a:gdLst>
                  <a:gd name="connsiteX0" fmla="*/ 0 w 19351"/>
                  <a:gd name="connsiteY0" fmla="*/ 17374 h 17373"/>
                  <a:gd name="connsiteX1" fmla="*/ 19351 w 19351"/>
                  <a:gd name="connsiteY1" fmla="*/ 0 h 173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9351" h="17373">
                    <a:moveTo>
                      <a:pt x="0" y="17374"/>
                    </a:moveTo>
                    <a:lnTo>
                      <a:pt x="19351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881" name="Forma livre: Forma 880">
              <a:extLst>
                <a:ext uri="{FF2B5EF4-FFF2-40B4-BE49-F238E27FC236}">
                  <a16:creationId xmlns:a16="http://schemas.microsoft.com/office/drawing/2014/main" id="{BC574CA0-F7D8-0EA1-D60E-B9FB28421EEE}"/>
                </a:ext>
              </a:extLst>
            </p:cNvPr>
            <p:cNvSpPr/>
            <p:nvPr/>
          </p:nvSpPr>
          <p:spPr>
            <a:xfrm>
              <a:off x="8208255" y="1642560"/>
              <a:ext cx="1184" cy="162922"/>
            </a:xfrm>
            <a:custGeom>
              <a:avLst/>
              <a:gdLst>
                <a:gd name="connsiteX0" fmla="*/ 0 w 1184"/>
                <a:gd name="connsiteY0" fmla="*/ 0 h 162922"/>
                <a:gd name="connsiteX1" fmla="*/ 0 w 1184"/>
                <a:gd name="connsiteY1" fmla="*/ 162923 h 1629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84" h="162922">
                  <a:moveTo>
                    <a:pt x="0" y="0"/>
                  </a:moveTo>
                  <a:lnTo>
                    <a:pt x="0" y="162923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882" name="Gráfico 10">
              <a:extLst>
                <a:ext uri="{FF2B5EF4-FFF2-40B4-BE49-F238E27FC236}">
                  <a16:creationId xmlns:a16="http://schemas.microsoft.com/office/drawing/2014/main" id="{FED046BA-E007-73D5-889F-710BFFAE0B27}"/>
                </a:ext>
              </a:extLst>
            </p:cNvPr>
            <p:cNvGrpSpPr/>
            <p:nvPr/>
          </p:nvGrpSpPr>
          <p:grpSpPr>
            <a:xfrm>
              <a:off x="7919704" y="1679332"/>
              <a:ext cx="57123" cy="114224"/>
              <a:chOff x="7919704" y="1679332"/>
              <a:chExt cx="57123" cy="114224"/>
            </a:xfrm>
            <a:noFill/>
          </p:grpSpPr>
          <p:sp>
            <p:nvSpPr>
              <p:cNvPr id="883" name="Forma livre: Forma 882">
                <a:extLst>
                  <a:ext uri="{FF2B5EF4-FFF2-40B4-BE49-F238E27FC236}">
                    <a16:creationId xmlns:a16="http://schemas.microsoft.com/office/drawing/2014/main" id="{54C8F8B1-2000-A1F2-671C-0271FFB148AF}"/>
                  </a:ext>
                </a:extLst>
              </p:cNvPr>
              <p:cNvSpPr/>
              <p:nvPr/>
            </p:nvSpPr>
            <p:spPr>
              <a:xfrm>
                <a:off x="7919704" y="1679332"/>
                <a:ext cx="57123" cy="90100"/>
              </a:xfrm>
              <a:custGeom>
                <a:avLst/>
                <a:gdLst>
                  <a:gd name="connsiteX0" fmla="*/ 56465 w 57123"/>
                  <a:gd name="connsiteY0" fmla="*/ 52227 h 90100"/>
                  <a:gd name="connsiteX1" fmla="*/ 28563 w 57123"/>
                  <a:gd name="connsiteY1" fmla="*/ 0 h 90100"/>
                  <a:gd name="connsiteX2" fmla="*/ 662 w 57123"/>
                  <a:gd name="connsiteY2" fmla="*/ 52227 h 90100"/>
                  <a:gd name="connsiteX3" fmla="*/ 28563 w 57123"/>
                  <a:gd name="connsiteY3" fmla="*/ 90101 h 90100"/>
                  <a:gd name="connsiteX4" fmla="*/ 56465 w 57123"/>
                  <a:gd name="connsiteY4" fmla="*/ 52227 h 90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7123" h="90100">
                    <a:moveTo>
                      <a:pt x="56465" y="52227"/>
                    </a:moveTo>
                    <a:cubicBezTo>
                      <a:pt x="53291" y="32414"/>
                      <a:pt x="43687" y="0"/>
                      <a:pt x="28563" y="0"/>
                    </a:cubicBezTo>
                    <a:cubicBezTo>
                      <a:pt x="13440" y="0"/>
                      <a:pt x="3835" y="32426"/>
                      <a:pt x="662" y="52227"/>
                    </a:cubicBezTo>
                    <a:cubicBezTo>
                      <a:pt x="-3614" y="78862"/>
                      <a:pt x="13665" y="89899"/>
                      <a:pt x="28563" y="90101"/>
                    </a:cubicBezTo>
                    <a:cubicBezTo>
                      <a:pt x="43462" y="89911"/>
                      <a:pt x="60729" y="78874"/>
                      <a:pt x="56465" y="52227"/>
                    </a:cubicBezTo>
                    <a:close/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884" name="Forma livre: Forma 883">
                <a:extLst>
                  <a:ext uri="{FF2B5EF4-FFF2-40B4-BE49-F238E27FC236}">
                    <a16:creationId xmlns:a16="http://schemas.microsoft.com/office/drawing/2014/main" id="{D9EA7555-C363-58C1-BF2F-73129BE11EF0}"/>
                  </a:ext>
                </a:extLst>
              </p:cNvPr>
              <p:cNvSpPr/>
              <p:nvPr/>
            </p:nvSpPr>
            <p:spPr>
              <a:xfrm>
                <a:off x="7948268" y="1727663"/>
                <a:ext cx="1184" cy="65893"/>
              </a:xfrm>
              <a:custGeom>
                <a:avLst/>
                <a:gdLst>
                  <a:gd name="connsiteX0" fmla="*/ 0 w 1184"/>
                  <a:gd name="connsiteY0" fmla="*/ 0 h 65893"/>
                  <a:gd name="connsiteX1" fmla="*/ 0 w 1184"/>
                  <a:gd name="connsiteY1" fmla="*/ 65894 h 658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84" h="65893">
                    <a:moveTo>
                      <a:pt x="0" y="0"/>
                    </a:moveTo>
                    <a:lnTo>
                      <a:pt x="0" y="65894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885" name="Gráfico 10">
              <a:extLst>
                <a:ext uri="{FF2B5EF4-FFF2-40B4-BE49-F238E27FC236}">
                  <a16:creationId xmlns:a16="http://schemas.microsoft.com/office/drawing/2014/main" id="{9CFF9970-0F53-5752-AD74-33AB9E16D7C5}"/>
                </a:ext>
              </a:extLst>
            </p:cNvPr>
            <p:cNvGrpSpPr/>
            <p:nvPr/>
          </p:nvGrpSpPr>
          <p:grpSpPr>
            <a:xfrm>
              <a:off x="8040269" y="1596278"/>
              <a:ext cx="37376" cy="88951"/>
              <a:chOff x="8040269" y="1596278"/>
              <a:chExt cx="37376" cy="88951"/>
            </a:xfrm>
            <a:noFill/>
          </p:grpSpPr>
          <p:sp>
            <p:nvSpPr>
              <p:cNvPr id="886" name="Forma livre: Forma 885">
                <a:extLst>
                  <a:ext uri="{FF2B5EF4-FFF2-40B4-BE49-F238E27FC236}">
                    <a16:creationId xmlns:a16="http://schemas.microsoft.com/office/drawing/2014/main" id="{2628C254-B7FA-F4B2-6323-65A0E42F072E}"/>
                  </a:ext>
                </a:extLst>
              </p:cNvPr>
              <p:cNvSpPr/>
              <p:nvPr/>
            </p:nvSpPr>
            <p:spPr>
              <a:xfrm>
                <a:off x="8040269" y="1596278"/>
                <a:ext cx="37376" cy="58965"/>
              </a:xfrm>
              <a:custGeom>
                <a:avLst/>
                <a:gdLst>
                  <a:gd name="connsiteX0" fmla="*/ 36944 w 37376"/>
                  <a:gd name="connsiteY0" fmla="*/ 34179 h 58965"/>
                  <a:gd name="connsiteX1" fmla="*/ 18694 w 37376"/>
                  <a:gd name="connsiteY1" fmla="*/ 0 h 58965"/>
                  <a:gd name="connsiteX2" fmla="*/ 432 w 37376"/>
                  <a:gd name="connsiteY2" fmla="*/ 34179 h 58965"/>
                  <a:gd name="connsiteX3" fmla="*/ 18694 w 37376"/>
                  <a:gd name="connsiteY3" fmla="*/ 58966 h 58965"/>
                  <a:gd name="connsiteX4" fmla="*/ 36944 w 37376"/>
                  <a:gd name="connsiteY4" fmla="*/ 34179 h 589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7376" h="58965">
                    <a:moveTo>
                      <a:pt x="36944" y="34179"/>
                    </a:moveTo>
                    <a:cubicBezTo>
                      <a:pt x="34871" y="21223"/>
                      <a:pt x="28583" y="0"/>
                      <a:pt x="18694" y="0"/>
                    </a:cubicBezTo>
                    <a:cubicBezTo>
                      <a:pt x="8805" y="0"/>
                      <a:pt x="2517" y="21211"/>
                      <a:pt x="432" y="34179"/>
                    </a:cubicBezTo>
                    <a:cubicBezTo>
                      <a:pt x="-2363" y="51611"/>
                      <a:pt x="8936" y="58836"/>
                      <a:pt x="18694" y="58966"/>
                    </a:cubicBezTo>
                    <a:cubicBezTo>
                      <a:pt x="28441" y="58836"/>
                      <a:pt x="39739" y="51611"/>
                      <a:pt x="36944" y="34179"/>
                    </a:cubicBezTo>
                    <a:close/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887" name="Forma livre: Forma 886">
                <a:extLst>
                  <a:ext uri="{FF2B5EF4-FFF2-40B4-BE49-F238E27FC236}">
                    <a16:creationId xmlns:a16="http://schemas.microsoft.com/office/drawing/2014/main" id="{DC43D730-D33A-A4B4-D524-EFDA7A7BE1D2}"/>
                  </a:ext>
                </a:extLst>
              </p:cNvPr>
              <p:cNvSpPr/>
              <p:nvPr/>
            </p:nvSpPr>
            <p:spPr>
              <a:xfrm>
                <a:off x="8058963" y="1655244"/>
                <a:ext cx="1184" cy="29986"/>
              </a:xfrm>
              <a:custGeom>
                <a:avLst/>
                <a:gdLst>
                  <a:gd name="connsiteX0" fmla="*/ 0 w 1184"/>
                  <a:gd name="connsiteY0" fmla="*/ 0 h 29986"/>
                  <a:gd name="connsiteX1" fmla="*/ 0 w 1184"/>
                  <a:gd name="connsiteY1" fmla="*/ 29986 h 299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84" h="29986">
                    <a:moveTo>
                      <a:pt x="0" y="0"/>
                    </a:moveTo>
                    <a:lnTo>
                      <a:pt x="0" y="29986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888" name="Gráfico 10">
              <a:extLst>
                <a:ext uri="{FF2B5EF4-FFF2-40B4-BE49-F238E27FC236}">
                  <a16:creationId xmlns:a16="http://schemas.microsoft.com/office/drawing/2014/main" id="{60DCA8D3-680D-26A1-B64D-FC180B939E17}"/>
                </a:ext>
              </a:extLst>
            </p:cNvPr>
            <p:cNvGrpSpPr/>
            <p:nvPr/>
          </p:nvGrpSpPr>
          <p:grpSpPr>
            <a:xfrm>
              <a:off x="8097737" y="1581380"/>
              <a:ext cx="30743" cy="73141"/>
              <a:chOff x="8097737" y="1581380"/>
              <a:chExt cx="30743" cy="73141"/>
            </a:xfrm>
            <a:noFill/>
          </p:grpSpPr>
          <p:sp>
            <p:nvSpPr>
              <p:cNvPr id="889" name="Forma livre: Forma 888">
                <a:extLst>
                  <a:ext uri="{FF2B5EF4-FFF2-40B4-BE49-F238E27FC236}">
                    <a16:creationId xmlns:a16="http://schemas.microsoft.com/office/drawing/2014/main" id="{010A72B5-FF84-B8CF-D024-19FD46B73A17}"/>
                  </a:ext>
                </a:extLst>
              </p:cNvPr>
              <p:cNvSpPr/>
              <p:nvPr/>
            </p:nvSpPr>
            <p:spPr>
              <a:xfrm>
                <a:off x="8097737" y="1581380"/>
                <a:ext cx="30743" cy="48484"/>
              </a:xfrm>
              <a:custGeom>
                <a:avLst/>
                <a:gdLst>
                  <a:gd name="connsiteX0" fmla="*/ 30389 w 30743"/>
                  <a:gd name="connsiteY0" fmla="*/ 28103 h 48484"/>
                  <a:gd name="connsiteX1" fmla="*/ 15372 w 30743"/>
                  <a:gd name="connsiteY1" fmla="*/ 0 h 48484"/>
                  <a:gd name="connsiteX2" fmla="*/ 355 w 30743"/>
                  <a:gd name="connsiteY2" fmla="*/ 28103 h 48484"/>
                  <a:gd name="connsiteX3" fmla="*/ 15372 w 30743"/>
                  <a:gd name="connsiteY3" fmla="*/ 48485 h 48484"/>
                  <a:gd name="connsiteX4" fmla="*/ 30389 w 30743"/>
                  <a:gd name="connsiteY4" fmla="*/ 28103 h 484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0743" h="48484">
                    <a:moveTo>
                      <a:pt x="30389" y="28103"/>
                    </a:moveTo>
                    <a:cubicBezTo>
                      <a:pt x="28683" y="17445"/>
                      <a:pt x="23520" y="0"/>
                      <a:pt x="15372" y="0"/>
                    </a:cubicBezTo>
                    <a:cubicBezTo>
                      <a:pt x="7224" y="0"/>
                      <a:pt x="2061" y="17445"/>
                      <a:pt x="355" y="28103"/>
                    </a:cubicBezTo>
                    <a:cubicBezTo>
                      <a:pt x="-1942" y="42445"/>
                      <a:pt x="7354" y="48378"/>
                      <a:pt x="15372" y="48485"/>
                    </a:cubicBezTo>
                    <a:cubicBezTo>
                      <a:pt x="23390" y="48378"/>
                      <a:pt x="32686" y="42433"/>
                      <a:pt x="30389" y="28103"/>
                    </a:cubicBezTo>
                    <a:close/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890" name="Forma livre: Forma 889">
                <a:extLst>
                  <a:ext uri="{FF2B5EF4-FFF2-40B4-BE49-F238E27FC236}">
                    <a16:creationId xmlns:a16="http://schemas.microsoft.com/office/drawing/2014/main" id="{13F59C60-EE6E-ACCB-DE67-22AE09C1553E}"/>
                  </a:ext>
                </a:extLst>
              </p:cNvPr>
              <p:cNvSpPr/>
              <p:nvPr/>
            </p:nvSpPr>
            <p:spPr>
              <a:xfrm>
                <a:off x="8113109" y="1629864"/>
                <a:ext cx="1184" cy="24656"/>
              </a:xfrm>
              <a:custGeom>
                <a:avLst/>
                <a:gdLst>
                  <a:gd name="connsiteX0" fmla="*/ 0 w 1184"/>
                  <a:gd name="connsiteY0" fmla="*/ 0 h 24656"/>
                  <a:gd name="connsiteX1" fmla="*/ 0 w 1184"/>
                  <a:gd name="connsiteY1" fmla="*/ 24657 h 246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84" h="24656">
                    <a:moveTo>
                      <a:pt x="0" y="0"/>
                    </a:moveTo>
                    <a:lnTo>
                      <a:pt x="0" y="24657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891" name="Forma livre: Forma 890">
              <a:extLst>
                <a:ext uri="{FF2B5EF4-FFF2-40B4-BE49-F238E27FC236}">
                  <a16:creationId xmlns:a16="http://schemas.microsoft.com/office/drawing/2014/main" id="{C8360F86-69C0-F8C0-ECD4-8F0CD018C791}"/>
                </a:ext>
              </a:extLst>
            </p:cNvPr>
            <p:cNvSpPr/>
            <p:nvPr/>
          </p:nvSpPr>
          <p:spPr>
            <a:xfrm>
              <a:off x="7938935" y="1555148"/>
              <a:ext cx="50225" cy="50225"/>
            </a:xfrm>
            <a:custGeom>
              <a:avLst/>
              <a:gdLst>
                <a:gd name="connsiteX0" fmla="*/ 50226 w 50225"/>
                <a:gd name="connsiteY0" fmla="*/ 25119 h 50225"/>
                <a:gd name="connsiteX1" fmla="*/ 25107 w 50225"/>
                <a:gd name="connsiteY1" fmla="*/ 50226 h 50225"/>
                <a:gd name="connsiteX2" fmla="*/ 0 w 50225"/>
                <a:gd name="connsiteY2" fmla="*/ 25119 h 50225"/>
                <a:gd name="connsiteX3" fmla="*/ 25107 w 50225"/>
                <a:gd name="connsiteY3" fmla="*/ 0 h 50225"/>
                <a:gd name="connsiteX4" fmla="*/ 50226 w 50225"/>
                <a:gd name="connsiteY4" fmla="*/ 25119 h 502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225" h="50225">
                  <a:moveTo>
                    <a:pt x="50226" y="25119"/>
                  </a:moveTo>
                  <a:cubicBezTo>
                    <a:pt x="50226" y="38987"/>
                    <a:pt x="38987" y="50226"/>
                    <a:pt x="25107" y="50226"/>
                  </a:cubicBezTo>
                  <a:cubicBezTo>
                    <a:pt x="11227" y="50226"/>
                    <a:pt x="0" y="38975"/>
                    <a:pt x="0" y="25119"/>
                  </a:cubicBezTo>
                  <a:cubicBezTo>
                    <a:pt x="0" y="11263"/>
                    <a:pt x="11251" y="0"/>
                    <a:pt x="25107" y="0"/>
                  </a:cubicBezTo>
                  <a:cubicBezTo>
                    <a:pt x="38963" y="0"/>
                    <a:pt x="50226" y="11251"/>
                    <a:pt x="50226" y="25119"/>
                  </a:cubicBez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92" name="Forma livre: Forma 891">
              <a:extLst>
                <a:ext uri="{FF2B5EF4-FFF2-40B4-BE49-F238E27FC236}">
                  <a16:creationId xmlns:a16="http://schemas.microsoft.com/office/drawing/2014/main" id="{D11AE3A1-B06E-72FC-2D87-B671AA834F1E}"/>
                </a:ext>
              </a:extLst>
            </p:cNvPr>
            <p:cNvSpPr/>
            <p:nvPr/>
          </p:nvSpPr>
          <p:spPr>
            <a:xfrm>
              <a:off x="8123910" y="1540048"/>
              <a:ext cx="66106" cy="13808"/>
            </a:xfrm>
            <a:custGeom>
              <a:avLst/>
              <a:gdLst>
                <a:gd name="connsiteX0" fmla="*/ 66107 w 66106"/>
                <a:gd name="connsiteY0" fmla="*/ 13809 h 13808"/>
                <a:gd name="connsiteX1" fmla="*/ 52725 w 66106"/>
                <a:gd name="connsiteY1" fmla="*/ 13809 h 13808"/>
                <a:gd name="connsiteX2" fmla="*/ 38916 w 66106"/>
                <a:gd name="connsiteY2" fmla="*/ 0 h 13808"/>
                <a:gd name="connsiteX3" fmla="*/ 25107 w 66106"/>
                <a:gd name="connsiteY3" fmla="*/ 13809 h 13808"/>
                <a:gd name="connsiteX4" fmla="*/ 0 w 66106"/>
                <a:gd name="connsiteY4" fmla="*/ 13809 h 138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6106" h="13808">
                  <a:moveTo>
                    <a:pt x="66107" y="13809"/>
                  </a:moveTo>
                  <a:lnTo>
                    <a:pt x="52725" y="13809"/>
                  </a:lnTo>
                  <a:cubicBezTo>
                    <a:pt x="52725" y="6194"/>
                    <a:pt x="46543" y="0"/>
                    <a:pt x="38916" y="0"/>
                  </a:cubicBezTo>
                  <a:cubicBezTo>
                    <a:pt x="31289" y="0"/>
                    <a:pt x="25107" y="6194"/>
                    <a:pt x="25107" y="13809"/>
                  </a:cubicBezTo>
                  <a:lnTo>
                    <a:pt x="0" y="13809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93" name="Forma livre: Forma 892">
              <a:extLst>
                <a:ext uri="{FF2B5EF4-FFF2-40B4-BE49-F238E27FC236}">
                  <a16:creationId xmlns:a16="http://schemas.microsoft.com/office/drawing/2014/main" id="{F8D33788-F81C-CC01-82EF-5EF1E202E85B}"/>
                </a:ext>
              </a:extLst>
            </p:cNvPr>
            <p:cNvSpPr/>
            <p:nvPr/>
          </p:nvSpPr>
          <p:spPr>
            <a:xfrm>
              <a:off x="7899274" y="1723506"/>
              <a:ext cx="234394" cy="71103"/>
            </a:xfrm>
            <a:custGeom>
              <a:avLst/>
              <a:gdLst>
                <a:gd name="connsiteX0" fmla="*/ 0 w 234394"/>
                <a:gd name="connsiteY0" fmla="*/ 66770 h 71103"/>
                <a:gd name="connsiteX1" fmla="*/ 195644 w 234394"/>
                <a:gd name="connsiteY1" fmla="*/ 17527 h 71103"/>
                <a:gd name="connsiteX2" fmla="*/ 234394 w 234394"/>
                <a:gd name="connsiteY2" fmla="*/ 0 h 711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34394" h="71103">
                  <a:moveTo>
                    <a:pt x="0" y="66770"/>
                  </a:moveTo>
                  <a:cubicBezTo>
                    <a:pt x="0" y="66770"/>
                    <a:pt x="87010" y="92742"/>
                    <a:pt x="195644" y="17527"/>
                  </a:cubicBezTo>
                  <a:cubicBezTo>
                    <a:pt x="207807" y="9107"/>
                    <a:pt x="220680" y="3541"/>
                    <a:pt x="234394" y="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94" name="Forma livre: Forma 893">
              <a:extLst>
                <a:ext uri="{FF2B5EF4-FFF2-40B4-BE49-F238E27FC236}">
                  <a16:creationId xmlns:a16="http://schemas.microsoft.com/office/drawing/2014/main" id="{1125F261-B92B-0389-8970-8586DFD31D1A}"/>
                </a:ext>
              </a:extLst>
            </p:cNvPr>
            <p:cNvSpPr/>
            <p:nvPr/>
          </p:nvSpPr>
          <p:spPr>
            <a:xfrm>
              <a:off x="7969774" y="1698695"/>
              <a:ext cx="125143" cy="42338"/>
            </a:xfrm>
            <a:custGeom>
              <a:avLst/>
              <a:gdLst>
                <a:gd name="connsiteX0" fmla="*/ 0 w 125143"/>
                <a:gd name="connsiteY0" fmla="*/ 0 h 42338"/>
                <a:gd name="connsiteX1" fmla="*/ 125144 w 125143"/>
                <a:gd name="connsiteY1" fmla="*/ 42338 h 423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143" h="42338">
                  <a:moveTo>
                    <a:pt x="0" y="0"/>
                  </a:moveTo>
                  <a:cubicBezTo>
                    <a:pt x="39378" y="5886"/>
                    <a:pt x="87862" y="17895"/>
                    <a:pt x="125144" y="42338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95" name="Forma livre: Forma 894">
              <a:extLst>
                <a:ext uri="{FF2B5EF4-FFF2-40B4-BE49-F238E27FC236}">
                  <a16:creationId xmlns:a16="http://schemas.microsoft.com/office/drawing/2014/main" id="{5EF5EDBC-8BA9-7849-CE61-F76D9629BA9C}"/>
                </a:ext>
              </a:extLst>
            </p:cNvPr>
            <p:cNvSpPr/>
            <p:nvPr/>
          </p:nvSpPr>
          <p:spPr>
            <a:xfrm>
              <a:off x="7899274" y="1693020"/>
              <a:ext cx="31762" cy="1329"/>
            </a:xfrm>
            <a:custGeom>
              <a:avLst/>
              <a:gdLst>
                <a:gd name="connsiteX0" fmla="*/ 0 w 31762"/>
                <a:gd name="connsiteY0" fmla="*/ 3 h 1329"/>
                <a:gd name="connsiteX1" fmla="*/ 31763 w 31762"/>
                <a:gd name="connsiteY1" fmla="*/ 1329 h 13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1762" h="1329">
                  <a:moveTo>
                    <a:pt x="0" y="3"/>
                  </a:moveTo>
                  <a:cubicBezTo>
                    <a:pt x="0" y="3"/>
                    <a:pt x="12411" y="-127"/>
                    <a:pt x="31763" y="1329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96" name="Forma livre: Forma 895">
              <a:extLst>
                <a:ext uri="{FF2B5EF4-FFF2-40B4-BE49-F238E27FC236}">
                  <a16:creationId xmlns:a16="http://schemas.microsoft.com/office/drawing/2014/main" id="{D235D892-53E8-FE75-3247-05A1C9856A9E}"/>
                </a:ext>
              </a:extLst>
            </p:cNvPr>
            <p:cNvSpPr/>
            <p:nvPr/>
          </p:nvSpPr>
          <p:spPr>
            <a:xfrm>
              <a:off x="8037054" y="1648304"/>
              <a:ext cx="103601" cy="63181"/>
            </a:xfrm>
            <a:custGeom>
              <a:avLst/>
              <a:gdLst>
                <a:gd name="connsiteX0" fmla="*/ 0 w 103601"/>
                <a:gd name="connsiteY0" fmla="*/ 63182 h 63181"/>
                <a:gd name="connsiteX1" fmla="*/ 103602 w 103601"/>
                <a:gd name="connsiteY1" fmla="*/ 0 h 631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3601" h="63181">
                  <a:moveTo>
                    <a:pt x="0" y="63182"/>
                  </a:moveTo>
                  <a:cubicBezTo>
                    <a:pt x="0" y="63182"/>
                    <a:pt x="24704" y="17752"/>
                    <a:pt x="103602" y="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97" name="Forma livre: Forma 896">
              <a:extLst>
                <a:ext uri="{FF2B5EF4-FFF2-40B4-BE49-F238E27FC236}">
                  <a16:creationId xmlns:a16="http://schemas.microsoft.com/office/drawing/2014/main" id="{BEAA8315-10B0-0C43-9FCF-5838C07516B0}"/>
                </a:ext>
              </a:extLst>
            </p:cNvPr>
            <p:cNvSpPr/>
            <p:nvPr/>
          </p:nvSpPr>
          <p:spPr>
            <a:xfrm>
              <a:off x="7899274" y="1637906"/>
              <a:ext cx="112317" cy="67421"/>
            </a:xfrm>
            <a:custGeom>
              <a:avLst/>
              <a:gdLst>
                <a:gd name="connsiteX0" fmla="*/ 0 w 112317"/>
                <a:gd name="connsiteY0" fmla="*/ 0 h 67421"/>
                <a:gd name="connsiteX1" fmla="*/ 112318 w 112317"/>
                <a:gd name="connsiteY1" fmla="*/ 67422 h 674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317" h="67421">
                  <a:moveTo>
                    <a:pt x="0" y="0"/>
                  </a:moveTo>
                  <a:cubicBezTo>
                    <a:pt x="0" y="0"/>
                    <a:pt x="76422" y="2499"/>
                    <a:pt x="112318" y="67422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898" name="Gráfico 10">
            <a:extLst>
              <a:ext uri="{FF2B5EF4-FFF2-40B4-BE49-F238E27FC236}">
                <a16:creationId xmlns:a16="http://schemas.microsoft.com/office/drawing/2014/main" id="{5C5C1B7C-AED9-1E5C-4C52-119C2135C693}"/>
              </a:ext>
            </a:extLst>
          </p:cNvPr>
          <p:cNvGrpSpPr/>
          <p:nvPr/>
        </p:nvGrpSpPr>
        <p:grpSpPr>
          <a:xfrm>
            <a:off x="7908419" y="3113545"/>
            <a:ext cx="345436" cy="309593"/>
            <a:chOff x="7908419" y="3113545"/>
            <a:chExt cx="345436" cy="309593"/>
          </a:xfrm>
          <a:noFill/>
        </p:grpSpPr>
        <p:sp>
          <p:nvSpPr>
            <p:cNvPr id="899" name="Forma livre: Forma 898">
              <a:extLst>
                <a:ext uri="{FF2B5EF4-FFF2-40B4-BE49-F238E27FC236}">
                  <a16:creationId xmlns:a16="http://schemas.microsoft.com/office/drawing/2014/main" id="{A08E39DD-F2EA-1ABD-D218-B95016E3C34E}"/>
                </a:ext>
              </a:extLst>
            </p:cNvPr>
            <p:cNvSpPr/>
            <p:nvPr/>
          </p:nvSpPr>
          <p:spPr>
            <a:xfrm>
              <a:off x="8002686" y="3381665"/>
              <a:ext cx="103637" cy="6510"/>
            </a:xfrm>
            <a:custGeom>
              <a:avLst/>
              <a:gdLst>
                <a:gd name="connsiteX0" fmla="*/ 103637 w 103637"/>
                <a:gd name="connsiteY0" fmla="*/ 0 h 6510"/>
                <a:gd name="connsiteX1" fmla="*/ 69234 w 103637"/>
                <a:gd name="connsiteY1" fmla="*/ 0 h 6510"/>
                <a:gd name="connsiteX2" fmla="*/ 69032 w 103637"/>
                <a:gd name="connsiteY2" fmla="*/ 0 h 6510"/>
                <a:gd name="connsiteX3" fmla="*/ 34617 w 103637"/>
                <a:gd name="connsiteY3" fmla="*/ 0 h 6510"/>
                <a:gd name="connsiteX4" fmla="*/ 34404 w 103637"/>
                <a:gd name="connsiteY4" fmla="*/ 0 h 6510"/>
                <a:gd name="connsiteX5" fmla="*/ 0 w 103637"/>
                <a:gd name="connsiteY5" fmla="*/ 0 h 65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03637" h="6510">
                  <a:moveTo>
                    <a:pt x="103637" y="0"/>
                  </a:moveTo>
                  <a:cubicBezTo>
                    <a:pt x="83682" y="14650"/>
                    <a:pt x="69234" y="0"/>
                    <a:pt x="69234" y="0"/>
                  </a:cubicBezTo>
                  <a:lnTo>
                    <a:pt x="69032" y="0"/>
                  </a:lnTo>
                  <a:cubicBezTo>
                    <a:pt x="49065" y="14650"/>
                    <a:pt x="34617" y="0"/>
                    <a:pt x="34617" y="0"/>
                  </a:cubicBezTo>
                  <a:lnTo>
                    <a:pt x="34404" y="0"/>
                  </a:lnTo>
                  <a:cubicBezTo>
                    <a:pt x="14448" y="14650"/>
                    <a:pt x="0" y="0"/>
                    <a:pt x="0" y="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00" name="Forma livre: Forma 899">
              <a:extLst>
                <a:ext uri="{FF2B5EF4-FFF2-40B4-BE49-F238E27FC236}">
                  <a16:creationId xmlns:a16="http://schemas.microsoft.com/office/drawing/2014/main" id="{C9BAD2B2-9CDC-6A09-8A4D-411133C8EC94}"/>
                </a:ext>
              </a:extLst>
            </p:cNvPr>
            <p:cNvSpPr/>
            <p:nvPr/>
          </p:nvSpPr>
          <p:spPr>
            <a:xfrm>
              <a:off x="8070072" y="3334790"/>
              <a:ext cx="69221" cy="6516"/>
            </a:xfrm>
            <a:custGeom>
              <a:avLst/>
              <a:gdLst>
                <a:gd name="connsiteX0" fmla="*/ 69222 w 69221"/>
                <a:gd name="connsiteY0" fmla="*/ 0 h 6516"/>
                <a:gd name="connsiteX1" fmla="*/ 69009 w 69221"/>
                <a:gd name="connsiteY1" fmla="*/ 0 h 6516"/>
                <a:gd name="connsiteX2" fmla="*/ 34605 w 69221"/>
                <a:gd name="connsiteY2" fmla="*/ 0 h 6516"/>
                <a:gd name="connsiteX3" fmla="*/ 34404 w 69221"/>
                <a:gd name="connsiteY3" fmla="*/ 0 h 6516"/>
                <a:gd name="connsiteX4" fmla="*/ 0 w 69221"/>
                <a:gd name="connsiteY4" fmla="*/ 0 h 65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9221" h="6516">
                  <a:moveTo>
                    <a:pt x="69222" y="0"/>
                  </a:moveTo>
                  <a:lnTo>
                    <a:pt x="69009" y="0"/>
                  </a:lnTo>
                  <a:cubicBezTo>
                    <a:pt x="49053" y="14662"/>
                    <a:pt x="34605" y="0"/>
                    <a:pt x="34605" y="0"/>
                  </a:cubicBezTo>
                  <a:lnTo>
                    <a:pt x="34404" y="0"/>
                  </a:lnTo>
                  <a:cubicBezTo>
                    <a:pt x="14448" y="14662"/>
                    <a:pt x="0" y="0"/>
                    <a:pt x="0" y="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01" name="Forma livre: Forma 900">
              <a:extLst>
                <a:ext uri="{FF2B5EF4-FFF2-40B4-BE49-F238E27FC236}">
                  <a16:creationId xmlns:a16="http://schemas.microsoft.com/office/drawing/2014/main" id="{0284761C-871C-FFFB-DD51-8CB5CA8370C7}"/>
                </a:ext>
              </a:extLst>
            </p:cNvPr>
            <p:cNvSpPr/>
            <p:nvPr/>
          </p:nvSpPr>
          <p:spPr>
            <a:xfrm rot="-2700000">
              <a:off x="8029555" y="3122792"/>
              <a:ext cx="44647" cy="44647"/>
            </a:xfrm>
            <a:custGeom>
              <a:avLst/>
              <a:gdLst>
                <a:gd name="connsiteX0" fmla="*/ 44648 w 44647"/>
                <a:gd name="connsiteY0" fmla="*/ 22324 h 44647"/>
                <a:gd name="connsiteX1" fmla="*/ 22324 w 44647"/>
                <a:gd name="connsiteY1" fmla="*/ 44648 h 44647"/>
                <a:gd name="connsiteX2" fmla="*/ 0 w 44647"/>
                <a:gd name="connsiteY2" fmla="*/ 22324 h 44647"/>
                <a:gd name="connsiteX3" fmla="*/ 22324 w 44647"/>
                <a:gd name="connsiteY3" fmla="*/ 0 h 44647"/>
                <a:gd name="connsiteX4" fmla="*/ 44648 w 44647"/>
                <a:gd name="connsiteY4" fmla="*/ 22324 h 44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647" h="44647">
                  <a:moveTo>
                    <a:pt x="44648" y="22324"/>
                  </a:moveTo>
                  <a:cubicBezTo>
                    <a:pt x="44648" y="34653"/>
                    <a:pt x="34653" y="44648"/>
                    <a:pt x="22324" y="44648"/>
                  </a:cubicBezTo>
                  <a:cubicBezTo>
                    <a:pt x="9995" y="44648"/>
                    <a:pt x="0" y="34653"/>
                    <a:pt x="0" y="22324"/>
                  </a:cubicBezTo>
                  <a:cubicBezTo>
                    <a:pt x="0" y="9995"/>
                    <a:pt x="9995" y="0"/>
                    <a:pt x="22324" y="0"/>
                  </a:cubicBezTo>
                  <a:cubicBezTo>
                    <a:pt x="34653" y="0"/>
                    <a:pt x="44648" y="9995"/>
                    <a:pt x="44648" y="22324"/>
                  </a:cubicBez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02" name="Forma livre: Forma 901">
              <a:extLst>
                <a:ext uri="{FF2B5EF4-FFF2-40B4-BE49-F238E27FC236}">
                  <a16:creationId xmlns:a16="http://schemas.microsoft.com/office/drawing/2014/main" id="{7D3B834E-5BDD-62C7-318B-A3940B217C8D}"/>
                </a:ext>
              </a:extLst>
            </p:cNvPr>
            <p:cNvSpPr/>
            <p:nvPr/>
          </p:nvSpPr>
          <p:spPr>
            <a:xfrm>
              <a:off x="7908419" y="3305812"/>
              <a:ext cx="345436" cy="117326"/>
            </a:xfrm>
            <a:custGeom>
              <a:avLst/>
              <a:gdLst>
                <a:gd name="connsiteX0" fmla="*/ 296757 w 345436"/>
                <a:gd name="connsiteY0" fmla="*/ 46992 h 117326"/>
                <a:gd name="connsiteX1" fmla="*/ 345407 w 345436"/>
                <a:gd name="connsiteY1" fmla="*/ 26195 h 117326"/>
                <a:gd name="connsiteX2" fmla="*/ 318500 w 345436"/>
                <a:gd name="connsiteY2" fmla="*/ 9367 h 117326"/>
                <a:gd name="connsiteX3" fmla="*/ 134296 w 345436"/>
                <a:gd name="connsiteY3" fmla="*/ 5056 h 117326"/>
                <a:gd name="connsiteX4" fmla="*/ 116212 w 345436"/>
                <a:gd name="connsiteY4" fmla="*/ 22868 h 117326"/>
                <a:gd name="connsiteX5" fmla="*/ 104381 w 345436"/>
                <a:gd name="connsiteY5" fmla="*/ 42195 h 117326"/>
                <a:gd name="connsiteX6" fmla="*/ 33 w 345436"/>
                <a:gd name="connsiteY6" fmla="*/ 71412 h 117326"/>
                <a:gd name="connsiteX7" fmla="*/ 180886 w 345436"/>
                <a:gd name="connsiteY7" fmla="*/ 117326 h 117326"/>
                <a:gd name="connsiteX8" fmla="*/ 323486 w 345436"/>
                <a:gd name="connsiteY8" fmla="*/ 96874 h 117326"/>
                <a:gd name="connsiteX9" fmla="*/ 268535 w 345436"/>
                <a:gd name="connsiteY9" fmla="*/ 70713 h 117326"/>
                <a:gd name="connsiteX10" fmla="*/ 251517 w 345436"/>
                <a:gd name="connsiteY10" fmla="*/ 59841 h 117326"/>
                <a:gd name="connsiteX11" fmla="*/ 272704 w 345436"/>
                <a:gd name="connsiteY11" fmla="*/ 49988 h 1173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45436" h="117326">
                  <a:moveTo>
                    <a:pt x="296757" y="46992"/>
                  </a:moveTo>
                  <a:cubicBezTo>
                    <a:pt x="317636" y="43652"/>
                    <a:pt x="344661" y="37209"/>
                    <a:pt x="345407" y="26195"/>
                  </a:cubicBezTo>
                  <a:cubicBezTo>
                    <a:pt x="345999" y="17349"/>
                    <a:pt x="337626" y="12008"/>
                    <a:pt x="318500" y="9367"/>
                  </a:cubicBezTo>
                  <a:cubicBezTo>
                    <a:pt x="318500" y="9367"/>
                    <a:pt x="208728" y="-8445"/>
                    <a:pt x="134296" y="5056"/>
                  </a:cubicBezTo>
                  <a:cubicBezTo>
                    <a:pt x="134296" y="5056"/>
                    <a:pt x="99525" y="10338"/>
                    <a:pt x="116212" y="22868"/>
                  </a:cubicBezTo>
                  <a:cubicBezTo>
                    <a:pt x="116212" y="22868"/>
                    <a:pt x="143687" y="40123"/>
                    <a:pt x="104381" y="42195"/>
                  </a:cubicBezTo>
                  <a:cubicBezTo>
                    <a:pt x="104381" y="42195"/>
                    <a:pt x="33" y="44291"/>
                    <a:pt x="33" y="71412"/>
                  </a:cubicBezTo>
                  <a:cubicBezTo>
                    <a:pt x="33" y="71412"/>
                    <a:pt x="-6919" y="117326"/>
                    <a:pt x="180886" y="117326"/>
                  </a:cubicBezTo>
                  <a:cubicBezTo>
                    <a:pt x="180886" y="117326"/>
                    <a:pt x="313550" y="114970"/>
                    <a:pt x="323486" y="96874"/>
                  </a:cubicBezTo>
                  <a:cubicBezTo>
                    <a:pt x="326968" y="90550"/>
                    <a:pt x="323829" y="81502"/>
                    <a:pt x="268535" y="70713"/>
                  </a:cubicBezTo>
                  <a:cubicBezTo>
                    <a:pt x="268535" y="70713"/>
                    <a:pt x="250794" y="68285"/>
                    <a:pt x="251517" y="59841"/>
                  </a:cubicBezTo>
                  <a:cubicBezTo>
                    <a:pt x="251801" y="56537"/>
                    <a:pt x="253933" y="50900"/>
                    <a:pt x="272704" y="49988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03" name="Forma livre: Forma 902">
              <a:extLst>
                <a:ext uri="{FF2B5EF4-FFF2-40B4-BE49-F238E27FC236}">
                  <a16:creationId xmlns:a16="http://schemas.microsoft.com/office/drawing/2014/main" id="{B7372E94-2A55-C148-A9B4-9F9E8CD527C5}"/>
                </a:ext>
              </a:extLst>
            </p:cNvPr>
            <p:cNvSpPr/>
            <p:nvPr/>
          </p:nvSpPr>
          <p:spPr>
            <a:xfrm>
              <a:off x="7940013" y="3164940"/>
              <a:ext cx="201092" cy="101315"/>
            </a:xfrm>
            <a:custGeom>
              <a:avLst/>
              <a:gdLst>
                <a:gd name="connsiteX0" fmla="*/ 0 w 201092"/>
                <a:gd name="connsiteY0" fmla="*/ 51422 h 101315"/>
                <a:gd name="connsiteX1" fmla="*/ 53400 w 201092"/>
                <a:gd name="connsiteY1" fmla="*/ 0 h 101315"/>
                <a:gd name="connsiteX2" fmla="*/ 201092 w 201092"/>
                <a:gd name="connsiteY2" fmla="*/ 101316 h 1013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01092" h="101315">
                  <a:moveTo>
                    <a:pt x="0" y="51422"/>
                  </a:moveTo>
                  <a:lnTo>
                    <a:pt x="53400" y="0"/>
                  </a:lnTo>
                  <a:lnTo>
                    <a:pt x="201092" y="101316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04" name="Forma livre: Forma 903">
              <a:extLst>
                <a:ext uri="{FF2B5EF4-FFF2-40B4-BE49-F238E27FC236}">
                  <a16:creationId xmlns:a16="http://schemas.microsoft.com/office/drawing/2014/main" id="{76F9244C-7B1E-18C9-682C-59679CE0438E}"/>
                </a:ext>
              </a:extLst>
            </p:cNvPr>
            <p:cNvSpPr/>
            <p:nvPr/>
          </p:nvSpPr>
          <p:spPr>
            <a:xfrm>
              <a:off x="8078800" y="3174947"/>
              <a:ext cx="63726" cy="30223"/>
            </a:xfrm>
            <a:custGeom>
              <a:avLst/>
              <a:gdLst>
                <a:gd name="connsiteX0" fmla="*/ 0 w 63726"/>
                <a:gd name="connsiteY0" fmla="*/ 19032 h 30223"/>
                <a:gd name="connsiteX1" fmla="*/ 25936 w 63726"/>
                <a:gd name="connsiteY1" fmla="*/ 0 h 30223"/>
                <a:gd name="connsiteX2" fmla="*/ 63727 w 63726"/>
                <a:gd name="connsiteY2" fmla="*/ 30223 h 302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3726" h="30223">
                  <a:moveTo>
                    <a:pt x="0" y="19032"/>
                  </a:moveTo>
                  <a:lnTo>
                    <a:pt x="25936" y="0"/>
                  </a:lnTo>
                  <a:lnTo>
                    <a:pt x="63727" y="30223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05" name="Forma livre: Forma 904">
              <a:extLst>
                <a:ext uri="{FF2B5EF4-FFF2-40B4-BE49-F238E27FC236}">
                  <a16:creationId xmlns:a16="http://schemas.microsoft.com/office/drawing/2014/main" id="{6AA935E8-46C6-A61F-FAE0-7459F4DB0316}"/>
                </a:ext>
              </a:extLst>
            </p:cNvPr>
            <p:cNvSpPr/>
            <p:nvPr/>
          </p:nvSpPr>
          <p:spPr>
            <a:xfrm>
              <a:off x="8099892" y="3188720"/>
              <a:ext cx="128329" cy="48342"/>
            </a:xfrm>
            <a:custGeom>
              <a:avLst/>
              <a:gdLst>
                <a:gd name="connsiteX0" fmla="*/ 0 w 128329"/>
                <a:gd name="connsiteY0" fmla="*/ 46874 h 48342"/>
                <a:gd name="connsiteX1" fmla="*/ 65917 w 128329"/>
                <a:gd name="connsiteY1" fmla="*/ 0 h 48342"/>
                <a:gd name="connsiteX2" fmla="*/ 128329 w 128329"/>
                <a:gd name="connsiteY2" fmla="*/ 48343 h 483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8329" h="48342">
                  <a:moveTo>
                    <a:pt x="0" y="46874"/>
                  </a:moveTo>
                  <a:lnTo>
                    <a:pt x="65917" y="0"/>
                  </a:lnTo>
                  <a:lnTo>
                    <a:pt x="128329" y="48343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06" name="Forma livre: Forma 905">
              <a:extLst>
                <a:ext uri="{FF2B5EF4-FFF2-40B4-BE49-F238E27FC236}">
                  <a16:creationId xmlns:a16="http://schemas.microsoft.com/office/drawing/2014/main" id="{1E98485A-8426-0EB0-C402-76FD20EC2210}"/>
                </a:ext>
              </a:extLst>
            </p:cNvPr>
            <p:cNvSpPr/>
            <p:nvPr/>
          </p:nvSpPr>
          <p:spPr>
            <a:xfrm>
              <a:off x="7994005" y="3168966"/>
              <a:ext cx="45772" cy="116178"/>
            </a:xfrm>
            <a:custGeom>
              <a:avLst/>
              <a:gdLst>
                <a:gd name="connsiteX0" fmla="*/ 0 w 45772"/>
                <a:gd name="connsiteY0" fmla="*/ 0 h 116178"/>
                <a:gd name="connsiteX1" fmla="*/ 30318 w 45772"/>
                <a:gd name="connsiteY1" fmla="*/ 54359 h 116178"/>
                <a:gd name="connsiteX2" fmla="*/ 14863 w 45772"/>
                <a:gd name="connsiteY2" fmla="*/ 73248 h 116178"/>
                <a:gd name="connsiteX3" fmla="*/ 45773 w 45772"/>
                <a:gd name="connsiteY3" fmla="*/ 116179 h 1161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5772" h="116178">
                  <a:moveTo>
                    <a:pt x="0" y="0"/>
                  </a:moveTo>
                  <a:lnTo>
                    <a:pt x="30318" y="54359"/>
                  </a:lnTo>
                  <a:lnTo>
                    <a:pt x="14863" y="73248"/>
                  </a:lnTo>
                  <a:lnTo>
                    <a:pt x="45773" y="116179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907" name="Gráfico 10">
              <a:extLst>
                <a:ext uri="{FF2B5EF4-FFF2-40B4-BE49-F238E27FC236}">
                  <a16:creationId xmlns:a16="http://schemas.microsoft.com/office/drawing/2014/main" id="{833B0900-F34F-8FDE-710E-CBE9CBE9FF59}"/>
                </a:ext>
              </a:extLst>
            </p:cNvPr>
            <p:cNvGrpSpPr/>
            <p:nvPr/>
          </p:nvGrpSpPr>
          <p:grpSpPr>
            <a:xfrm>
              <a:off x="7923634" y="3234955"/>
              <a:ext cx="65372" cy="92386"/>
              <a:chOff x="7923634" y="3234955"/>
              <a:chExt cx="65372" cy="92386"/>
            </a:xfrm>
            <a:noFill/>
          </p:grpSpPr>
          <p:sp>
            <p:nvSpPr>
              <p:cNvPr id="908" name="Forma livre: Forma 907">
                <a:extLst>
                  <a:ext uri="{FF2B5EF4-FFF2-40B4-BE49-F238E27FC236}">
                    <a16:creationId xmlns:a16="http://schemas.microsoft.com/office/drawing/2014/main" id="{EC710997-D3AB-29EA-A6E8-6EF87949BF70}"/>
                  </a:ext>
                </a:extLst>
              </p:cNvPr>
              <p:cNvSpPr/>
              <p:nvPr/>
            </p:nvSpPr>
            <p:spPr>
              <a:xfrm>
                <a:off x="7923634" y="3286365"/>
                <a:ext cx="65372" cy="22027"/>
              </a:xfrm>
              <a:custGeom>
                <a:avLst/>
                <a:gdLst>
                  <a:gd name="connsiteX0" fmla="*/ 65373 w 65372"/>
                  <a:gd name="connsiteY0" fmla="*/ 22028 h 22027"/>
                  <a:gd name="connsiteX1" fmla="*/ 32686 w 65372"/>
                  <a:gd name="connsiteY1" fmla="*/ 0 h 22027"/>
                  <a:gd name="connsiteX2" fmla="*/ 0 w 65372"/>
                  <a:gd name="connsiteY2" fmla="*/ 22028 h 220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65372" h="22027">
                    <a:moveTo>
                      <a:pt x="65373" y="22028"/>
                    </a:moveTo>
                    <a:cubicBezTo>
                      <a:pt x="39318" y="16106"/>
                      <a:pt x="32686" y="0"/>
                      <a:pt x="32686" y="0"/>
                    </a:cubicBezTo>
                    <a:cubicBezTo>
                      <a:pt x="32686" y="0"/>
                      <a:pt x="26054" y="16106"/>
                      <a:pt x="0" y="22028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09" name="Forma livre: Forma 908">
                <a:extLst>
                  <a:ext uri="{FF2B5EF4-FFF2-40B4-BE49-F238E27FC236}">
                    <a16:creationId xmlns:a16="http://schemas.microsoft.com/office/drawing/2014/main" id="{FA7BA801-4E72-8913-92B3-348C3822D254}"/>
                  </a:ext>
                </a:extLst>
              </p:cNvPr>
              <p:cNvSpPr/>
              <p:nvPr/>
            </p:nvSpPr>
            <p:spPr>
              <a:xfrm>
                <a:off x="7925233" y="3260239"/>
                <a:ext cx="62175" cy="19813"/>
              </a:xfrm>
              <a:custGeom>
                <a:avLst/>
                <a:gdLst>
                  <a:gd name="connsiteX0" fmla="*/ 62175 w 62175"/>
                  <a:gd name="connsiteY0" fmla="*/ 19813 h 19813"/>
                  <a:gd name="connsiteX1" fmla="*/ 31088 w 62175"/>
                  <a:gd name="connsiteY1" fmla="*/ 0 h 19813"/>
                  <a:gd name="connsiteX2" fmla="*/ 0 w 62175"/>
                  <a:gd name="connsiteY2" fmla="*/ 19813 h 198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62175" h="19813">
                    <a:moveTo>
                      <a:pt x="62175" y="19813"/>
                    </a:moveTo>
                    <a:cubicBezTo>
                      <a:pt x="39378" y="14626"/>
                      <a:pt x="31088" y="0"/>
                      <a:pt x="31088" y="0"/>
                    </a:cubicBezTo>
                    <a:cubicBezTo>
                      <a:pt x="31088" y="0"/>
                      <a:pt x="22798" y="14626"/>
                      <a:pt x="0" y="19813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10" name="Forma livre: Forma 909">
                <a:extLst>
                  <a:ext uri="{FF2B5EF4-FFF2-40B4-BE49-F238E27FC236}">
                    <a16:creationId xmlns:a16="http://schemas.microsoft.com/office/drawing/2014/main" id="{5F7DF21D-69F3-0615-C259-F6DA4558BBC7}"/>
                  </a:ext>
                </a:extLst>
              </p:cNvPr>
              <p:cNvSpPr/>
              <p:nvPr/>
            </p:nvSpPr>
            <p:spPr>
              <a:xfrm>
                <a:off x="7933002" y="3234955"/>
                <a:ext cx="46637" cy="15916"/>
              </a:xfrm>
              <a:custGeom>
                <a:avLst/>
                <a:gdLst>
                  <a:gd name="connsiteX0" fmla="*/ 46637 w 46637"/>
                  <a:gd name="connsiteY0" fmla="*/ 15917 h 15916"/>
                  <a:gd name="connsiteX1" fmla="*/ 23319 w 46637"/>
                  <a:gd name="connsiteY1" fmla="*/ 0 h 15916"/>
                  <a:gd name="connsiteX2" fmla="*/ 0 w 46637"/>
                  <a:gd name="connsiteY2" fmla="*/ 15917 h 159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46637" h="15916">
                    <a:moveTo>
                      <a:pt x="46637" y="15917"/>
                    </a:moveTo>
                    <a:cubicBezTo>
                      <a:pt x="29536" y="12032"/>
                      <a:pt x="23319" y="0"/>
                      <a:pt x="23319" y="0"/>
                    </a:cubicBezTo>
                    <a:cubicBezTo>
                      <a:pt x="23319" y="0"/>
                      <a:pt x="17101" y="12032"/>
                      <a:pt x="0" y="15917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11" name="Forma livre: Forma 910">
                <a:extLst>
                  <a:ext uri="{FF2B5EF4-FFF2-40B4-BE49-F238E27FC236}">
                    <a16:creationId xmlns:a16="http://schemas.microsoft.com/office/drawing/2014/main" id="{100449B3-9DA2-9CE9-6E45-2ABD5A189BB5}"/>
                  </a:ext>
                </a:extLst>
              </p:cNvPr>
              <p:cNvSpPr/>
              <p:nvPr/>
            </p:nvSpPr>
            <p:spPr>
              <a:xfrm>
                <a:off x="7956321" y="3289444"/>
                <a:ext cx="1184" cy="37897"/>
              </a:xfrm>
              <a:custGeom>
                <a:avLst/>
                <a:gdLst>
                  <a:gd name="connsiteX0" fmla="*/ 0 w 1184"/>
                  <a:gd name="connsiteY0" fmla="*/ 0 h 37897"/>
                  <a:gd name="connsiteX1" fmla="*/ 0 w 1184"/>
                  <a:gd name="connsiteY1" fmla="*/ 37897 h 378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84" h="37897">
                    <a:moveTo>
                      <a:pt x="0" y="0"/>
                    </a:moveTo>
                    <a:lnTo>
                      <a:pt x="0" y="37897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912" name="Gráfico 10">
            <a:extLst>
              <a:ext uri="{FF2B5EF4-FFF2-40B4-BE49-F238E27FC236}">
                <a16:creationId xmlns:a16="http://schemas.microsoft.com/office/drawing/2014/main" id="{3B2E08A2-B085-AF5D-2F55-2ECA18C06F25}"/>
              </a:ext>
            </a:extLst>
          </p:cNvPr>
          <p:cNvGrpSpPr/>
          <p:nvPr/>
        </p:nvGrpSpPr>
        <p:grpSpPr>
          <a:xfrm>
            <a:off x="7908298" y="2587812"/>
            <a:ext cx="345670" cy="303462"/>
            <a:chOff x="7908298" y="2587812"/>
            <a:chExt cx="345670" cy="303462"/>
          </a:xfrm>
          <a:noFill/>
        </p:grpSpPr>
        <p:sp>
          <p:nvSpPr>
            <p:cNvPr id="913" name="Forma livre: Forma 912">
              <a:extLst>
                <a:ext uri="{FF2B5EF4-FFF2-40B4-BE49-F238E27FC236}">
                  <a16:creationId xmlns:a16="http://schemas.microsoft.com/office/drawing/2014/main" id="{8A7DB9A8-65EA-5C99-1AA6-BCAF44DF5F9C}"/>
                </a:ext>
              </a:extLst>
            </p:cNvPr>
            <p:cNvSpPr/>
            <p:nvPr/>
          </p:nvSpPr>
          <p:spPr>
            <a:xfrm>
              <a:off x="8109331" y="2707188"/>
              <a:ext cx="144637" cy="108599"/>
            </a:xfrm>
            <a:custGeom>
              <a:avLst/>
              <a:gdLst>
                <a:gd name="connsiteX0" fmla="*/ 76398 w 144637"/>
                <a:gd name="connsiteY0" fmla="*/ 108587 h 108599"/>
                <a:gd name="connsiteX1" fmla="*/ 110992 w 144637"/>
                <a:gd name="connsiteY1" fmla="*/ 108587 h 108599"/>
                <a:gd name="connsiteX2" fmla="*/ 144637 w 144637"/>
                <a:gd name="connsiteY2" fmla="*/ 74942 h 108599"/>
                <a:gd name="connsiteX3" fmla="*/ 114355 w 144637"/>
                <a:gd name="connsiteY3" fmla="*/ 41332 h 108599"/>
                <a:gd name="connsiteX4" fmla="*/ 72976 w 144637"/>
                <a:gd name="connsiteY4" fmla="*/ 0 h 108599"/>
                <a:gd name="connsiteX5" fmla="*/ 31597 w 144637"/>
                <a:gd name="connsiteY5" fmla="*/ 41355 h 108599"/>
                <a:gd name="connsiteX6" fmla="*/ 0 w 144637"/>
                <a:gd name="connsiteY6" fmla="*/ 74954 h 108599"/>
                <a:gd name="connsiteX7" fmla="*/ 33646 w 144637"/>
                <a:gd name="connsiteY7" fmla="*/ 108599 h 108599"/>
                <a:gd name="connsiteX8" fmla="*/ 52736 w 144637"/>
                <a:gd name="connsiteY8" fmla="*/ 108599 h 1085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4637" h="108599">
                  <a:moveTo>
                    <a:pt x="76398" y="108587"/>
                  </a:moveTo>
                  <a:lnTo>
                    <a:pt x="110992" y="108587"/>
                  </a:lnTo>
                  <a:cubicBezTo>
                    <a:pt x="129585" y="108587"/>
                    <a:pt x="144637" y="93523"/>
                    <a:pt x="144637" y="74942"/>
                  </a:cubicBezTo>
                  <a:cubicBezTo>
                    <a:pt x="144637" y="57379"/>
                    <a:pt x="131515" y="42859"/>
                    <a:pt x="114355" y="41332"/>
                  </a:cubicBezTo>
                  <a:cubicBezTo>
                    <a:pt x="114355" y="18487"/>
                    <a:pt x="95821" y="0"/>
                    <a:pt x="72976" y="0"/>
                  </a:cubicBezTo>
                  <a:cubicBezTo>
                    <a:pt x="50131" y="0"/>
                    <a:pt x="31597" y="18510"/>
                    <a:pt x="31597" y="41355"/>
                  </a:cubicBezTo>
                  <a:cubicBezTo>
                    <a:pt x="13821" y="42255"/>
                    <a:pt x="0" y="56941"/>
                    <a:pt x="0" y="74954"/>
                  </a:cubicBezTo>
                  <a:cubicBezTo>
                    <a:pt x="0" y="93547"/>
                    <a:pt x="15064" y="108599"/>
                    <a:pt x="33646" y="108599"/>
                  </a:cubicBezTo>
                  <a:lnTo>
                    <a:pt x="52736" y="108599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14" name="Forma livre: Forma 913">
              <a:extLst>
                <a:ext uri="{FF2B5EF4-FFF2-40B4-BE49-F238E27FC236}">
                  <a16:creationId xmlns:a16="http://schemas.microsoft.com/office/drawing/2014/main" id="{473E2A3E-749D-A6FD-0936-5EC77AC3AB2B}"/>
                </a:ext>
              </a:extLst>
            </p:cNvPr>
            <p:cNvSpPr/>
            <p:nvPr/>
          </p:nvSpPr>
          <p:spPr>
            <a:xfrm>
              <a:off x="8183053" y="2765479"/>
              <a:ext cx="14661" cy="10741"/>
            </a:xfrm>
            <a:custGeom>
              <a:avLst/>
              <a:gdLst>
                <a:gd name="connsiteX0" fmla="*/ 0 w 14661"/>
                <a:gd name="connsiteY0" fmla="*/ 10742 h 10741"/>
                <a:gd name="connsiteX1" fmla="*/ 14662 w 14661"/>
                <a:gd name="connsiteY1" fmla="*/ 0 h 107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4661" h="10741">
                  <a:moveTo>
                    <a:pt x="0" y="10742"/>
                  </a:moveTo>
                  <a:lnTo>
                    <a:pt x="14662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15" name="Forma livre: Forma 914">
              <a:extLst>
                <a:ext uri="{FF2B5EF4-FFF2-40B4-BE49-F238E27FC236}">
                  <a16:creationId xmlns:a16="http://schemas.microsoft.com/office/drawing/2014/main" id="{378D936A-8BB7-615C-8E6A-A313170A80C5}"/>
                </a:ext>
              </a:extLst>
            </p:cNvPr>
            <p:cNvSpPr/>
            <p:nvPr/>
          </p:nvSpPr>
          <p:spPr>
            <a:xfrm>
              <a:off x="8186748" y="2675165"/>
              <a:ext cx="14661" cy="10729"/>
            </a:xfrm>
            <a:custGeom>
              <a:avLst/>
              <a:gdLst>
                <a:gd name="connsiteX0" fmla="*/ 14662 w 14661"/>
                <a:gd name="connsiteY0" fmla="*/ 10730 h 10729"/>
                <a:gd name="connsiteX1" fmla="*/ 0 w 14661"/>
                <a:gd name="connsiteY1" fmla="*/ 0 h 107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4661" h="10729">
                  <a:moveTo>
                    <a:pt x="14662" y="10730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16" name="Forma livre: Forma 915">
              <a:extLst>
                <a:ext uri="{FF2B5EF4-FFF2-40B4-BE49-F238E27FC236}">
                  <a16:creationId xmlns:a16="http://schemas.microsoft.com/office/drawing/2014/main" id="{D3F5F01C-3E27-F174-2D42-B1E2127DE7EB}"/>
                </a:ext>
              </a:extLst>
            </p:cNvPr>
            <p:cNvSpPr/>
            <p:nvPr/>
          </p:nvSpPr>
          <p:spPr>
            <a:xfrm>
              <a:off x="8207426" y="2661262"/>
              <a:ext cx="11819" cy="6478"/>
            </a:xfrm>
            <a:custGeom>
              <a:avLst/>
              <a:gdLst>
                <a:gd name="connsiteX0" fmla="*/ 0 w 11819"/>
                <a:gd name="connsiteY0" fmla="*/ 6478 h 6478"/>
                <a:gd name="connsiteX1" fmla="*/ 11819 w 11819"/>
                <a:gd name="connsiteY1" fmla="*/ 0 h 64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819" h="6478">
                  <a:moveTo>
                    <a:pt x="0" y="6478"/>
                  </a:moveTo>
                  <a:lnTo>
                    <a:pt x="11819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17" name="Forma livre: Forma 916">
              <a:extLst>
                <a:ext uri="{FF2B5EF4-FFF2-40B4-BE49-F238E27FC236}">
                  <a16:creationId xmlns:a16="http://schemas.microsoft.com/office/drawing/2014/main" id="{0A4F11D0-CC7D-ECEC-A480-E78146890D13}"/>
                </a:ext>
              </a:extLst>
            </p:cNvPr>
            <p:cNvSpPr/>
            <p:nvPr/>
          </p:nvSpPr>
          <p:spPr>
            <a:xfrm>
              <a:off x="8156075" y="2777831"/>
              <a:ext cx="24491" cy="18238"/>
            </a:xfrm>
            <a:custGeom>
              <a:avLst/>
              <a:gdLst>
                <a:gd name="connsiteX0" fmla="*/ 24491 w 24491"/>
                <a:gd name="connsiteY0" fmla="*/ 18238 h 18238"/>
                <a:gd name="connsiteX1" fmla="*/ 0 w 24491"/>
                <a:gd name="connsiteY1" fmla="*/ 0 h 182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4491" h="18238">
                  <a:moveTo>
                    <a:pt x="24491" y="18238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18" name="Forma livre: Forma 917">
              <a:extLst>
                <a:ext uri="{FF2B5EF4-FFF2-40B4-BE49-F238E27FC236}">
                  <a16:creationId xmlns:a16="http://schemas.microsoft.com/office/drawing/2014/main" id="{57F80675-75A2-F66B-9912-DC9EB57F0869}"/>
                </a:ext>
              </a:extLst>
            </p:cNvPr>
            <p:cNvSpPr/>
            <p:nvPr/>
          </p:nvSpPr>
          <p:spPr>
            <a:xfrm>
              <a:off x="8181679" y="2751066"/>
              <a:ext cx="1184" cy="105342"/>
            </a:xfrm>
            <a:custGeom>
              <a:avLst/>
              <a:gdLst>
                <a:gd name="connsiteX0" fmla="*/ 0 w 1184"/>
                <a:gd name="connsiteY0" fmla="*/ 0 h 105342"/>
                <a:gd name="connsiteX1" fmla="*/ 0 w 1184"/>
                <a:gd name="connsiteY1" fmla="*/ 105343 h 1053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84" h="105342">
                  <a:moveTo>
                    <a:pt x="0" y="0"/>
                  </a:moveTo>
                  <a:lnTo>
                    <a:pt x="0" y="105343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19" name="Forma livre: Forma 918">
              <a:extLst>
                <a:ext uri="{FF2B5EF4-FFF2-40B4-BE49-F238E27FC236}">
                  <a16:creationId xmlns:a16="http://schemas.microsoft.com/office/drawing/2014/main" id="{354BBE71-1831-B105-146A-B2610091F00A}"/>
                </a:ext>
              </a:extLst>
            </p:cNvPr>
            <p:cNvSpPr/>
            <p:nvPr/>
          </p:nvSpPr>
          <p:spPr>
            <a:xfrm>
              <a:off x="8161096" y="2605351"/>
              <a:ext cx="86433" cy="109783"/>
            </a:xfrm>
            <a:custGeom>
              <a:avLst/>
              <a:gdLst>
                <a:gd name="connsiteX0" fmla="*/ 76884 w 86433"/>
                <a:gd name="connsiteY0" fmla="*/ 109784 h 109783"/>
                <a:gd name="connsiteX1" fmla="*/ 85660 w 86433"/>
                <a:gd name="connsiteY1" fmla="*/ 73011 h 109783"/>
                <a:gd name="connsiteX2" fmla="*/ 43132 w 86433"/>
                <a:gd name="connsiteY2" fmla="*/ 0 h 109783"/>
                <a:gd name="connsiteX3" fmla="*/ 1018 w 86433"/>
                <a:gd name="connsiteY3" fmla="*/ 72550 h 109783"/>
                <a:gd name="connsiteX4" fmla="*/ 0 w 86433"/>
                <a:gd name="connsiteY4" fmla="*/ 82225 h 1097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6433" h="109783">
                  <a:moveTo>
                    <a:pt x="76884" y="109784"/>
                  </a:moveTo>
                  <a:cubicBezTo>
                    <a:pt x="84215" y="101150"/>
                    <a:pt x="88218" y="88881"/>
                    <a:pt x="85660" y="73011"/>
                  </a:cubicBezTo>
                  <a:cubicBezTo>
                    <a:pt x="81491" y="47206"/>
                    <a:pt x="65953" y="0"/>
                    <a:pt x="43132" y="0"/>
                  </a:cubicBezTo>
                  <a:cubicBezTo>
                    <a:pt x="20311" y="0"/>
                    <a:pt x="5803" y="45039"/>
                    <a:pt x="1018" y="72550"/>
                  </a:cubicBezTo>
                  <a:cubicBezTo>
                    <a:pt x="426" y="75960"/>
                    <a:pt x="95" y="79182"/>
                    <a:pt x="0" y="82225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20" name="Forma livre: Forma 919">
              <a:extLst>
                <a:ext uri="{FF2B5EF4-FFF2-40B4-BE49-F238E27FC236}">
                  <a16:creationId xmlns:a16="http://schemas.microsoft.com/office/drawing/2014/main" id="{85A03F12-1137-0877-581F-05FEA158E6BB}"/>
                </a:ext>
              </a:extLst>
            </p:cNvPr>
            <p:cNvSpPr/>
            <p:nvPr/>
          </p:nvSpPr>
          <p:spPr>
            <a:xfrm>
              <a:off x="8204287" y="2645878"/>
              <a:ext cx="11" cy="66166"/>
            </a:xfrm>
            <a:custGeom>
              <a:avLst/>
              <a:gdLst>
                <a:gd name="connsiteX0" fmla="*/ 12 w 11"/>
                <a:gd name="connsiteY0" fmla="*/ 0 h 66166"/>
                <a:gd name="connsiteX1" fmla="*/ 0 w 11"/>
                <a:gd name="connsiteY1" fmla="*/ 66166 h 661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" h="66166">
                  <a:moveTo>
                    <a:pt x="12" y="0"/>
                  </a:moveTo>
                  <a:lnTo>
                    <a:pt x="0" y="66166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21" name="Forma livre: Forma 920">
              <a:extLst>
                <a:ext uri="{FF2B5EF4-FFF2-40B4-BE49-F238E27FC236}">
                  <a16:creationId xmlns:a16="http://schemas.microsoft.com/office/drawing/2014/main" id="{00D6ED85-EE3F-E9C1-378D-379F253F1755}"/>
                </a:ext>
              </a:extLst>
            </p:cNvPr>
            <p:cNvSpPr/>
            <p:nvPr/>
          </p:nvSpPr>
          <p:spPr>
            <a:xfrm>
              <a:off x="7966448" y="2726243"/>
              <a:ext cx="126188" cy="165030"/>
            </a:xfrm>
            <a:custGeom>
              <a:avLst/>
              <a:gdLst>
                <a:gd name="connsiteX0" fmla="*/ 123555 w 126188"/>
                <a:gd name="connsiteY0" fmla="*/ 0 h 165030"/>
                <a:gd name="connsiteX1" fmla="*/ 80151 w 126188"/>
                <a:gd name="connsiteY1" fmla="*/ 47075 h 165030"/>
                <a:gd name="connsiteX2" fmla="*/ 34674 w 126188"/>
                <a:gd name="connsiteY2" fmla="*/ 165031 h 1650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6188" h="165030">
                  <a:moveTo>
                    <a:pt x="123555" y="0"/>
                  </a:moveTo>
                  <a:cubicBezTo>
                    <a:pt x="129417" y="12731"/>
                    <a:pt x="129500" y="31289"/>
                    <a:pt x="80151" y="47075"/>
                  </a:cubicBezTo>
                  <a:cubicBezTo>
                    <a:pt x="80151" y="47075"/>
                    <a:pt x="-64332" y="82604"/>
                    <a:pt x="34674" y="165031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22" name="Forma livre: Forma 921">
              <a:extLst>
                <a:ext uri="{FF2B5EF4-FFF2-40B4-BE49-F238E27FC236}">
                  <a16:creationId xmlns:a16="http://schemas.microsoft.com/office/drawing/2014/main" id="{3CB749C9-D44E-D1A1-7BE8-B29FCCDACE77}"/>
                </a:ext>
              </a:extLst>
            </p:cNvPr>
            <p:cNvSpPr/>
            <p:nvPr/>
          </p:nvSpPr>
          <p:spPr>
            <a:xfrm>
              <a:off x="8064013" y="2794115"/>
              <a:ext cx="91540" cy="92895"/>
            </a:xfrm>
            <a:custGeom>
              <a:avLst/>
              <a:gdLst>
                <a:gd name="connsiteX0" fmla="*/ 26334 w 91540"/>
                <a:gd name="connsiteY0" fmla="*/ 0 h 92895"/>
                <a:gd name="connsiteX1" fmla="*/ 21727 w 91540"/>
                <a:gd name="connsiteY1" fmla="*/ 1895 h 92895"/>
                <a:gd name="connsiteX2" fmla="*/ 91541 w 91540"/>
                <a:gd name="connsiteY2" fmla="*/ 92896 h 928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1540" h="92895">
                  <a:moveTo>
                    <a:pt x="26334" y="0"/>
                  </a:moveTo>
                  <a:cubicBezTo>
                    <a:pt x="24297" y="841"/>
                    <a:pt x="22094" y="1753"/>
                    <a:pt x="21727" y="1895"/>
                  </a:cubicBezTo>
                  <a:cubicBezTo>
                    <a:pt x="12276" y="5637"/>
                    <a:pt x="-49935" y="35647"/>
                    <a:pt x="91541" y="92896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23" name="Forma livre: Forma 922">
              <a:extLst>
                <a:ext uri="{FF2B5EF4-FFF2-40B4-BE49-F238E27FC236}">
                  <a16:creationId xmlns:a16="http://schemas.microsoft.com/office/drawing/2014/main" id="{11A32995-755F-2C41-5EE3-04094F0AB7CE}"/>
                </a:ext>
              </a:extLst>
            </p:cNvPr>
            <p:cNvSpPr/>
            <p:nvPr/>
          </p:nvSpPr>
          <p:spPr>
            <a:xfrm>
              <a:off x="7908298" y="2625082"/>
              <a:ext cx="109226" cy="119317"/>
            </a:xfrm>
            <a:custGeom>
              <a:avLst/>
              <a:gdLst>
                <a:gd name="connsiteX0" fmla="*/ 35209 w 109226"/>
                <a:gd name="connsiteY0" fmla="*/ 119317 h 119317"/>
                <a:gd name="connsiteX1" fmla="*/ 0 w 109226"/>
                <a:gd name="connsiteY1" fmla="*/ 119317 h 119317"/>
                <a:gd name="connsiteX2" fmla="*/ 39733 w 109226"/>
                <a:gd name="connsiteY2" fmla="*/ 78601 h 119317"/>
                <a:gd name="connsiteX3" fmla="*/ 9770 w 109226"/>
                <a:gd name="connsiteY3" fmla="*/ 78601 h 119317"/>
                <a:gd name="connsiteX4" fmla="*/ 41545 w 109226"/>
                <a:gd name="connsiteY4" fmla="*/ 39555 h 119317"/>
                <a:gd name="connsiteX5" fmla="*/ 20358 w 109226"/>
                <a:gd name="connsiteY5" fmla="*/ 39555 h 119317"/>
                <a:gd name="connsiteX6" fmla="*/ 54454 w 109226"/>
                <a:gd name="connsiteY6" fmla="*/ 0 h 119317"/>
                <a:gd name="connsiteX7" fmla="*/ 54773 w 109226"/>
                <a:gd name="connsiteY7" fmla="*/ 0 h 119317"/>
                <a:gd name="connsiteX8" fmla="*/ 88881 w 109226"/>
                <a:gd name="connsiteY8" fmla="*/ 39555 h 119317"/>
                <a:gd name="connsiteX9" fmla="*/ 67682 w 109226"/>
                <a:gd name="connsiteY9" fmla="*/ 39555 h 119317"/>
                <a:gd name="connsiteX10" fmla="*/ 99457 w 109226"/>
                <a:gd name="connsiteY10" fmla="*/ 78601 h 119317"/>
                <a:gd name="connsiteX11" fmla="*/ 69494 w 109226"/>
                <a:gd name="connsiteY11" fmla="*/ 78601 h 119317"/>
                <a:gd name="connsiteX12" fmla="*/ 109227 w 109226"/>
                <a:gd name="connsiteY12" fmla="*/ 119317 h 119317"/>
                <a:gd name="connsiteX13" fmla="*/ 56052 w 109226"/>
                <a:gd name="connsiteY13" fmla="*/ 119317 h 1193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09226" h="119317">
                  <a:moveTo>
                    <a:pt x="35209" y="119317"/>
                  </a:moveTo>
                  <a:lnTo>
                    <a:pt x="0" y="119317"/>
                  </a:lnTo>
                  <a:lnTo>
                    <a:pt x="39733" y="78601"/>
                  </a:lnTo>
                  <a:lnTo>
                    <a:pt x="9770" y="78601"/>
                  </a:lnTo>
                  <a:lnTo>
                    <a:pt x="41545" y="39555"/>
                  </a:lnTo>
                  <a:lnTo>
                    <a:pt x="20358" y="39555"/>
                  </a:lnTo>
                  <a:lnTo>
                    <a:pt x="54454" y="0"/>
                  </a:lnTo>
                  <a:lnTo>
                    <a:pt x="54773" y="0"/>
                  </a:lnTo>
                  <a:lnTo>
                    <a:pt x="88881" y="39555"/>
                  </a:lnTo>
                  <a:lnTo>
                    <a:pt x="67682" y="39555"/>
                  </a:lnTo>
                  <a:lnTo>
                    <a:pt x="99457" y="78601"/>
                  </a:lnTo>
                  <a:lnTo>
                    <a:pt x="69494" y="78601"/>
                  </a:lnTo>
                  <a:lnTo>
                    <a:pt x="109227" y="119317"/>
                  </a:lnTo>
                  <a:lnTo>
                    <a:pt x="56052" y="119317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24" name="Forma livre: Forma 923">
              <a:extLst>
                <a:ext uri="{FF2B5EF4-FFF2-40B4-BE49-F238E27FC236}">
                  <a16:creationId xmlns:a16="http://schemas.microsoft.com/office/drawing/2014/main" id="{E7D0603F-3885-17C8-915A-1B1B625ABCDE}"/>
                </a:ext>
              </a:extLst>
            </p:cNvPr>
            <p:cNvSpPr/>
            <p:nvPr/>
          </p:nvSpPr>
          <p:spPr>
            <a:xfrm>
              <a:off x="7962917" y="2724739"/>
              <a:ext cx="1184" cy="54477"/>
            </a:xfrm>
            <a:custGeom>
              <a:avLst/>
              <a:gdLst>
                <a:gd name="connsiteX0" fmla="*/ 0 w 1184"/>
                <a:gd name="connsiteY0" fmla="*/ 0 h 54477"/>
                <a:gd name="connsiteX1" fmla="*/ 0 w 1184"/>
                <a:gd name="connsiteY1" fmla="*/ 54477 h 544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84" h="54477">
                  <a:moveTo>
                    <a:pt x="0" y="0"/>
                  </a:moveTo>
                  <a:lnTo>
                    <a:pt x="0" y="54477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25" name="Forma livre: Forma 924">
              <a:extLst>
                <a:ext uri="{FF2B5EF4-FFF2-40B4-BE49-F238E27FC236}">
                  <a16:creationId xmlns:a16="http://schemas.microsoft.com/office/drawing/2014/main" id="{BB4BB5A0-208B-E8B5-2C00-01148239CA50}"/>
                </a:ext>
              </a:extLst>
            </p:cNvPr>
            <p:cNvSpPr/>
            <p:nvPr/>
          </p:nvSpPr>
          <p:spPr>
            <a:xfrm>
              <a:off x="8006499" y="2587812"/>
              <a:ext cx="88869" cy="119328"/>
            </a:xfrm>
            <a:custGeom>
              <a:avLst/>
              <a:gdLst>
                <a:gd name="connsiteX0" fmla="*/ 2807 w 88869"/>
                <a:gd name="connsiteY0" fmla="*/ 62483 h 119328"/>
                <a:gd name="connsiteX1" fmla="*/ 21187 w 88869"/>
                <a:gd name="connsiteY1" fmla="*/ 39555 h 119328"/>
                <a:gd name="connsiteX2" fmla="*/ 0 w 88869"/>
                <a:gd name="connsiteY2" fmla="*/ 39555 h 119328"/>
                <a:gd name="connsiteX3" fmla="*/ 34096 w 88869"/>
                <a:gd name="connsiteY3" fmla="*/ 0 h 119328"/>
                <a:gd name="connsiteX4" fmla="*/ 34415 w 88869"/>
                <a:gd name="connsiteY4" fmla="*/ 0 h 119328"/>
                <a:gd name="connsiteX5" fmla="*/ 68523 w 88869"/>
                <a:gd name="connsiteY5" fmla="*/ 39555 h 119328"/>
                <a:gd name="connsiteX6" fmla="*/ 47324 w 88869"/>
                <a:gd name="connsiteY6" fmla="*/ 39555 h 119328"/>
                <a:gd name="connsiteX7" fmla="*/ 79099 w 88869"/>
                <a:gd name="connsiteY7" fmla="*/ 78613 h 119328"/>
                <a:gd name="connsiteX8" fmla="*/ 49136 w 88869"/>
                <a:gd name="connsiteY8" fmla="*/ 78613 h 119328"/>
                <a:gd name="connsiteX9" fmla="*/ 88869 w 88869"/>
                <a:gd name="connsiteY9" fmla="*/ 119329 h 119328"/>
                <a:gd name="connsiteX10" fmla="*/ 35694 w 88869"/>
                <a:gd name="connsiteY10" fmla="*/ 119329 h 1193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8869" h="119328">
                  <a:moveTo>
                    <a:pt x="2807" y="62483"/>
                  </a:moveTo>
                  <a:lnTo>
                    <a:pt x="21187" y="39555"/>
                  </a:lnTo>
                  <a:lnTo>
                    <a:pt x="0" y="39555"/>
                  </a:lnTo>
                  <a:lnTo>
                    <a:pt x="34096" y="0"/>
                  </a:lnTo>
                  <a:lnTo>
                    <a:pt x="34415" y="0"/>
                  </a:lnTo>
                  <a:lnTo>
                    <a:pt x="68523" y="39555"/>
                  </a:lnTo>
                  <a:lnTo>
                    <a:pt x="47324" y="39555"/>
                  </a:lnTo>
                  <a:lnTo>
                    <a:pt x="79099" y="78613"/>
                  </a:lnTo>
                  <a:lnTo>
                    <a:pt x="49136" y="78613"/>
                  </a:lnTo>
                  <a:lnTo>
                    <a:pt x="88869" y="119329"/>
                  </a:lnTo>
                  <a:lnTo>
                    <a:pt x="35694" y="119329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26" name="Forma livre: Forma 925">
              <a:extLst>
                <a:ext uri="{FF2B5EF4-FFF2-40B4-BE49-F238E27FC236}">
                  <a16:creationId xmlns:a16="http://schemas.microsoft.com/office/drawing/2014/main" id="{B7526155-1C01-8156-40C5-9F1558A5B1C1}"/>
                </a:ext>
              </a:extLst>
            </p:cNvPr>
            <p:cNvSpPr/>
            <p:nvPr/>
          </p:nvSpPr>
          <p:spPr>
            <a:xfrm>
              <a:off x="8040761" y="2687470"/>
              <a:ext cx="1184" cy="54477"/>
            </a:xfrm>
            <a:custGeom>
              <a:avLst/>
              <a:gdLst>
                <a:gd name="connsiteX0" fmla="*/ 0 w 1184"/>
                <a:gd name="connsiteY0" fmla="*/ 0 h 54477"/>
                <a:gd name="connsiteX1" fmla="*/ 0 w 1184"/>
                <a:gd name="connsiteY1" fmla="*/ 54477 h 544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84" h="54477">
                  <a:moveTo>
                    <a:pt x="0" y="0"/>
                  </a:moveTo>
                  <a:lnTo>
                    <a:pt x="0" y="54477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27" name="Forma livre: Forma 926">
              <a:extLst>
                <a:ext uri="{FF2B5EF4-FFF2-40B4-BE49-F238E27FC236}">
                  <a16:creationId xmlns:a16="http://schemas.microsoft.com/office/drawing/2014/main" id="{9DE6172E-7608-9D23-C9C7-A6D1EE18F947}"/>
                </a:ext>
              </a:extLst>
            </p:cNvPr>
            <p:cNvSpPr/>
            <p:nvPr/>
          </p:nvSpPr>
          <p:spPr>
            <a:xfrm>
              <a:off x="8094231" y="2632345"/>
              <a:ext cx="59344" cy="14799"/>
            </a:xfrm>
            <a:custGeom>
              <a:avLst/>
              <a:gdLst>
                <a:gd name="connsiteX0" fmla="*/ 59345 w 59344"/>
                <a:gd name="connsiteY0" fmla="*/ 9210 h 14799"/>
                <a:gd name="connsiteX1" fmla="*/ 51007 w 59344"/>
                <a:gd name="connsiteY1" fmla="*/ 2874 h 14799"/>
                <a:gd name="connsiteX2" fmla="*/ 19138 w 59344"/>
                <a:gd name="connsiteY2" fmla="*/ 14231 h 14799"/>
                <a:gd name="connsiteX3" fmla="*/ 0 w 59344"/>
                <a:gd name="connsiteY3" fmla="*/ 14800 h 147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9344" h="14799">
                  <a:moveTo>
                    <a:pt x="59345" y="9210"/>
                  </a:moveTo>
                  <a:cubicBezTo>
                    <a:pt x="57083" y="6628"/>
                    <a:pt x="54288" y="4461"/>
                    <a:pt x="51007" y="2874"/>
                  </a:cubicBezTo>
                  <a:cubicBezTo>
                    <a:pt x="37897" y="-3474"/>
                    <a:pt x="26871" y="861"/>
                    <a:pt x="19138" y="14231"/>
                  </a:cubicBezTo>
                  <a:cubicBezTo>
                    <a:pt x="13915" y="12016"/>
                    <a:pt x="4938" y="12917"/>
                    <a:pt x="0" y="14800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28" name="Forma livre: Forma 927">
              <a:extLst>
                <a:ext uri="{FF2B5EF4-FFF2-40B4-BE49-F238E27FC236}">
                  <a16:creationId xmlns:a16="http://schemas.microsoft.com/office/drawing/2014/main" id="{F130B16C-E7D4-74D8-0829-BA2CC87C7C08}"/>
                </a:ext>
              </a:extLst>
            </p:cNvPr>
            <p:cNvSpPr/>
            <p:nvPr/>
          </p:nvSpPr>
          <p:spPr>
            <a:xfrm>
              <a:off x="8111581" y="2703031"/>
              <a:ext cx="17989" cy="18546"/>
            </a:xfrm>
            <a:custGeom>
              <a:avLst/>
              <a:gdLst>
                <a:gd name="connsiteX0" fmla="*/ 0 w 17989"/>
                <a:gd name="connsiteY0" fmla="*/ 0 h 18546"/>
                <a:gd name="connsiteX1" fmla="*/ 17989 w 17989"/>
                <a:gd name="connsiteY1" fmla="*/ 18546 h 185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7989" h="18546">
                  <a:moveTo>
                    <a:pt x="0" y="0"/>
                  </a:moveTo>
                  <a:cubicBezTo>
                    <a:pt x="0" y="0"/>
                    <a:pt x="17374" y="5839"/>
                    <a:pt x="17989" y="18546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929" name="Gráfico 10">
            <a:extLst>
              <a:ext uri="{FF2B5EF4-FFF2-40B4-BE49-F238E27FC236}">
                <a16:creationId xmlns:a16="http://schemas.microsoft.com/office/drawing/2014/main" id="{04396A2F-A369-1CE7-3040-FB1360D558F5}"/>
              </a:ext>
            </a:extLst>
          </p:cNvPr>
          <p:cNvGrpSpPr/>
          <p:nvPr/>
        </p:nvGrpSpPr>
        <p:grpSpPr>
          <a:xfrm>
            <a:off x="9146057" y="986997"/>
            <a:ext cx="340779" cy="304741"/>
            <a:chOff x="9146057" y="986997"/>
            <a:chExt cx="340779" cy="304741"/>
          </a:xfrm>
        </p:grpSpPr>
        <p:sp>
          <p:nvSpPr>
            <p:cNvPr id="930" name="Forma livre: Forma 929">
              <a:extLst>
                <a:ext uri="{FF2B5EF4-FFF2-40B4-BE49-F238E27FC236}">
                  <a16:creationId xmlns:a16="http://schemas.microsoft.com/office/drawing/2014/main" id="{F035566F-C5F3-B977-DA35-85F9119DA895}"/>
                </a:ext>
              </a:extLst>
            </p:cNvPr>
            <p:cNvSpPr/>
            <p:nvPr/>
          </p:nvSpPr>
          <p:spPr>
            <a:xfrm>
              <a:off x="9364973" y="1162639"/>
              <a:ext cx="78838" cy="129099"/>
            </a:xfrm>
            <a:custGeom>
              <a:avLst/>
              <a:gdLst>
                <a:gd name="connsiteX0" fmla="*/ 0 w 78838"/>
                <a:gd name="connsiteY0" fmla="*/ 129099 h 129099"/>
                <a:gd name="connsiteX1" fmla="*/ 78838 w 78838"/>
                <a:gd name="connsiteY1" fmla="*/ 0 h 1290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8838" h="129099">
                  <a:moveTo>
                    <a:pt x="0" y="129099"/>
                  </a:moveTo>
                  <a:lnTo>
                    <a:pt x="78838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31" name="Forma livre: Forma 930">
              <a:extLst>
                <a:ext uri="{FF2B5EF4-FFF2-40B4-BE49-F238E27FC236}">
                  <a16:creationId xmlns:a16="http://schemas.microsoft.com/office/drawing/2014/main" id="{BED46D60-4594-C37B-0E50-87090A25B86E}"/>
                </a:ext>
              </a:extLst>
            </p:cNvPr>
            <p:cNvSpPr/>
            <p:nvPr/>
          </p:nvSpPr>
          <p:spPr>
            <a:xfrm>
              <a:off x="9146057" y="1161774"/>
              <a:ext cx="340779" cy="106254"/>
            </a:xfrm>
            <a:custGeom>
              <a:avLst/>
              <a:gdLst>
                <a:gd name="connsiteX0" fmla="*/ 275963 w 340779"/>
                <a:gd name="connsiteY0" fmla="*/ 106254 h 106254"/>
                <a:gd name="connsiteX1" fmla="*/ 340779 w 340779"/>
                <a:gd name="connsiteY1" fmla="*/ 0 h 106254"/>
                <a:gd name="connsiteX2" fmla="*/ 0 w 340779"/>
                <a:gd name="connsiteY2" fmla="*/ 0 h 1062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40779" h="106254">
                  <a:moveTo>
                    <a:pt x="275963" y="106254"/>
                  </a:moveTo>
                  <a:lnTo>
                    <a:pt x="340779" y="0"/>
                  </a:lnTo>
                  <a:lnTo>
                    <a:pt x="0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32" name="Forma livre: Forma 931">
              <a:extLst>
                <a:ext uri="{FF2B5EF4-FFF2-40B4-BE49-F238E27FC236}">
                  <a16:creationId xmlns:a16="http://schemas.microsoft.com/office/drawing/2014/main" id="{632582B9-D241-2F8D-77D1-9FB9BFCBFF0A}"/>
                </a:ext>
              </a:extLst>
            </p:cNvPr>
            <p:cNvSpPr/>
            <p:nvPr/>
          </p:nvSpPr>
          <p:spPr>
            <a:xfrm>
              <a:off x="9165894" y="1193750"/>
              <a:ext cx="231528" cy="1184"/>
            </a:xfrm>
            <a:custGeom>
              <a:avLst/>
              <a:gdLst>
                <a:gd name="connsiteX0" fmla="*/ 0 w 231528"/>
                <a:gd name="connsiteY0" fmla="*/ 0 h 1184"/>
                <a:gd name="connsiteX1" fmla="*/ 231528 w 231528"/>
                <a:gd name="connsiteY1" fmla="*/ 0 h 11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31528" h="1184">
                  <a:moveTo>
                    <a:pt x="0" y="0"/>
                  </a:moveTo>
                  <a:lnTo>
                    <a:pt x="231528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33" name="Forma livre: Forma 932">
              <a:extLst>
                <a:ext uri="{FF2B5EF4-FFF2-40B4-BE49-F238E27FC236}">
                  <a16:creationId xmlns:a16="http://schemas.microsoft.com/office/drawing/2014/main" id="{46F7BFDF-D8B6-3E24-60E9-91443B61734E}"/>
                </a:ext>
              </a:extLst>
            </p:cNvPr>
            <p:cNvSpPr/>
            <p:nvPr/>
          </p:nvSpPr>
          <p:spPr>
            <a:xfrm>
              <a:off x="9185139" y="1225726"/>
              <a:ext cx="193335" cy="1184"/>
            </a:xfrm>
            <a:custGeom>
              <a:avLst/>
              <a:gdLst>
                <a:gd name="connsiteX0" fmla="*/ 0 w 193335"/>
                <a:gd name="connsiteY0" fmla="*/ 0 h 1184"/>
                <a:gd name="connsiteX1" fmla="*/ 193335 w 193335"/>
                <a:gd name="connsiteY1" fmla="*/ 0 h 11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93335" h="1184">
                  <a:moveTo>
                    <a:pt x="0" y="0"/>
                  </a:moveTo>
                  <a:lnTo>
                    <a:pt x="193335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34" name="Forma livre: Forma 933">
              <a:extLst>
                <a:ext uri="{FF2B5EF4-FFF2-40B4-BE49-F238E27FC236}">
                  <a16:creationId xmlns:a16="http://schemas.microsoft.com/office/drawing/2014/main" id="{3A651213-811F-49F2-B4A7-9995C9E73FBB}"/>
                </a:ext>
              </a:extLst>
            </p:cNvPr>
            <p:cNvSpPr/>
            <p:nvPr/>
          </p:nvSpPr>
          <p:spPr>
            <a:xfrm>
              <a:off x="9204976" y="1257702"/>
              <a:ext cx="154158" cy="1184"/>
            </a:xfrm>
            <a:custGeom>
              <a:avLst/>
              <a:gdLst>
                <a:gd name="connsiteX0" fmla="*/ 0 w 154158"/>
                <a:gd name="connsiteY0" fmla="*/ 0 h 1184"/>
                <a:gd name="connsiteX1" fmla="*/ 154159 w 154158"/>
                <a:gd name="connsiteY1" fmla="*/ 0 h 11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4158" h="1184">
                  <a:moveTo>
                    <a:pt x="0" y="0"/>
                  </a:moveTo>
                  <a:lnTo>
                    <a:pt x="154159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35" name="Forma livre: Forma 934">
              <a:extLst>
                <a:ext uri="{FF2B5EF4-FFF2-40B4-BE49-F238E27FC236}">
                  <a16:creationId xmlns:a16="http://schemas.microsoft.com/office/drawing/2014/main" id="{B1D6E6B5-7A22-3036-B93C-4559331EB28A}"/>
                </a:ext>
              </a:extLst>
            </p:cNvPr>
            <p:cNvSpPr/>
            <p:nvPr/>
          </p:nvSpPr>
          <p:spPr>
            <a:xfrm>
              <a:off x="9224220" y="1289677"/>
              <a:ext cx="114781" cy="1184"/>
            </a:xfrm>
            <a:custGeom>
              <a:avLst/>
              <a:gdLst>
                <a:gd name="connsiteX0" fmla="*/ 0 w 114781"/>
                <a:gd name="connsiteY0" fmla="*/ 0 h 1184"/>
                <a:gd name="connsiteX1" fmla="*/ 114781 w 114781"/>
                <a:gd name="connsiteY1" fmla="*/ 0 h 11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4781" h="1184">
                  <a:moveTo>
                    <a:pt x="0" y="0"/>
                  </a:moveTo>
                  <a:lnTo>
                    <a:pt x="114781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36" name="Forma livre: Forma 935">
              <a:extLst>
                <a:ext uri="{FF2B5EF4-FFF2-40B4-BE49-F238E27FC236}">
                  <a16:creationId xmlns:a16="http://schemas.microsoft.com/office/drawing/2014/main" id="{9076A191-8D0C-C596-95AE-8CF135B9B767}"/>
                </a:ext>
              </a:extLst>
            </p:cNvPr>
            <p:cNvSpPr/>
            <p:nvPr/>
          </p:nvSpPr>
          <p:spPr>
            <a:xfrm>
              <a:off x="9401958" y="1068831"/>
              <a:ext cx="70879" cy="16272"/>
            </a:xfrm>
            <a:custGeom>
              <a:avLst/>
              <a:gdLst>
                <a:gd name="connsiteX0" fmla="*/ 0 w 70879"/>
                <a:gd name="connsiteY0" fmla="*/ 16272 h 16272"/>
                <a:gd name="connsiteX1" fmla="*/ 23899 w 70879"/>
                <a:gd name="connsiteY1" fmla="*/ 16272 h 16272"/>
                <a:gd name="connsiteX2" fmla="*/ 40159 w 70879"/>
                <a:gd name="connsiteY2" fmla="*/ 0 h 16272"/>
                <a:gd name="connsiteX3" fmla="*/ 56419 w 70879"/>
                <a:gd name="connsiteY3" fmla="*/ 16272 h 16272"/>
                <a:gd name="connsiteX4" fmla="*/ 70880 w 70879"/>
                <a:gd name="connsiteY4" fmla="*/ 16272 h 162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0879" h="16272">
                  <a:moveTo>
                    <a:pt x="0" y="16272"/>
                  </a:moveTo>
                  <a:lnTo>
                    <a:pt x="23899" y="16272"/>
                  </a:lnTo>
                  <a:cubicBezTo>
                    <a:pt x="23899" y="7283"/>
                    <a:pt x="31182" y="0"/>
                    <a:pt x="40159" y="0"/>
                  </a:cubicBezTo>
                  <a:cubicBezTo>
                    <a:pt x="49136" y="0"/>
                    <a:pt x="56419" y="7283"/>
                    <a:pt x="56419" y="16272"/>
                  </a:cubicBezTo>
                  <a:lnTo>
                    <a:pt x="70880" y="16272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37" name="Forma livre: Forma 936">
              <a:extLst>
                <a:ext uri="{FF2B5EF4-FFF2-40B4-BE49-F238E27FC236}">
                  <a16:creationId xmlns:a16="http://schemas.microsoft.com/office/drawing/2014/main" id="{0F4B14F7-6664-C24C-ADA7-FD8959814833}"/>
                </a:ext>
              </a:extLst>
            </p:cNvPr>
            <p:cNvSpPr/>
            <p:nvPr/>
          </p:nvSpPr>
          <p:spPr>
            <a:xfrm>
              <a:off x="9349281" y="986997"/>
              <a:ext cx="63596" cy="13287"/>
            </a:xfrm>
            <a:custGeom>
              <a:avLst/>
              <a:gdLst>
                <a:gd name="connsiteX0" fmla="*/ 63596 w 63596"/>
                <a:gd name="connsiteY0" fmla="*/ 13288 h 13287"/>
                <a:gd name="connsiteX1" fmla="*/ 50723 w 63596"/>
                <a:gd name="connsiteY1" fmla="*/ 13288 h 13287"/>
                <a:gd name="connsiteX2" fmla="*/ 37435 w 63596"/>
                <a:gd name="connsiteY2" fmla="*/ 0 h 13287"/>
                <a:gd name="connsiteX3" fmla="*/ 24148 w 63596"/>
                <a:gd name="connsiteY3" fmla="*/ 13288 h 13287"/>
                <a:gd name="connsiteX4" fmla="*/ 0 w 63596"/>
                <a:gd name="connsiteY4" fmla="*/ 13288 h 132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596" h="13287">
                  <a:moveTo>
                    <a:pt x="63596" y="13288"/>
                  </a:moveTo>
                  <a:lnTo>
                    <a:pt x="50723" y="13288"/>
                  </a:lnTo>
                  <a:cubicBezTo>
                    <a:pt x="50723" y="5945"/>
                    <a:pt x="44778" y="0"/>
                    <a:pt x="37435" y="0"/>
                  </a:cubicBezTo>
                  <a:cubicBezTo>
                    <a:pt x="30093" y="0"/>
                    <a:pt x="24148" y="5945"/>
                    <a:pt x="24148" y="13288"/>
                  </a:cubicBezTo>
                  <a:lnTo>
                    <a:pt x="0" y="13288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38" name="Forma livre: Forma 937">
              <a:extLst>
                <a:ext uri="{FF2B5EF4-FFF2-40B4-BE49-F238E27FC236}">
                  <a16:creationId xmlns:a16="http://schemas.microsoft.com/office/drawing/2014/main" id="{2C710CAA-D956-F99C-3B5D-9A556A6069F3}"/>
                </a:ext>
              </a:extLst>
            </p:cNvPr>
            <p:cNvSpPr/>
            <p:nvPr/>
          </p:nvSpPr>
          <p:spPr>
            <a:xfrm>
              <a:off x="9413434" y="1022383"/>
              <a:ext cx="26551" cy="1184"/>
            </a:xfrm>
            <a:custGeom>
              <a:avLst/>
              <a:gdLst>
                <a:gd name="connsiteX0" fmla="*/ 0 w 26551"/>
                <a:gd name="connsiteY0" fmla="*/ 0 h 1184"/>
                <a:gd name="connsiteX1" fmla="*/ 26552 w 26551"/>
                <a:gd name="connsiteY1" fmla="*/ 0 h 11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6551" h="1184">
                  <a:moveTo>
                    <a:pt x="0" y="0"/>
                  </a:moveTo>
                  <a:lnTo>
                    <a:pt x="26552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39" name="Forma livre: Forma 938">
              <a:extLst>
                <a:ext uri="{FF2B5EF4-FFF2-40B4-BE49-F238E27FC236}">
                  <a16:creationId xmlns:a16="http://schemas.microsoft.com/office/drawing/2014/main" id="{3769DFF6-F7CE-11DE-1A66-D9B56885D099}"/>
                </a:ext>
              </a:extLst>
            </p:cNvPr>
            <p:cNvSpPr/>
            <p:nvPr/>
          </p:nvSpPr>
          <p:spPr>
            <a:xfrm>
              <a:off x="9376330" y="1027772"/>
              <a:ext cx="11096" cy="1184"/>
            </a:xfrm>
            <a:custGeom>
              <a:avLst/>
              <a:gdLst>
                <a:gd name="connsiteX0" fmla="*/ 0 w 11096"/>
                <a:gd name="connsiteY0" fmla="*/ 0 h 1184"/>
                <a:gd name="connsiteX1" fmla="*/ 11097 w 11096"/>
                <a:gd name="connsiteY1" fmla="*/ 0 h 11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096" h="1184">
                  <a:moveTo>
                    <a:pt x="0" y="0"/>
                  </a:moveTo>
                  <a:lnTo>
                    <a:pt x="11097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40" name="Forma livre: Forma 939">
              <a:extLst>
                <a:ext uri="{FF2B5EF4-FFF2-40B4-BE49-F238E27FC236}">
                  <a16:creationId xmlns:a16="http://schemas.microsoft.com/office/drawing/2014/main" id="{1FB4FE69-1456-5FB6-728F-7CC985FCB11E}"/>
                </a:ext>
              </a:extLst>
            </p:cNvPr>
            <p:cNvSpPr/>
            <p:nvPr/>
          </p:nvSpPr>
          <p:spPr>
            <a:xfrm>
              <a:off x="9206053" y="1028802"/>
              <a:ext cx="7686" cy="43155"/>
            </a:xfrm>
            <a:custGeom>
              <a:avLst/>
              <a:gdLst>
                <a:gd name="connsiteX0" fmla="*/ 7686 w 7686"/>
                <a:gd name="connsiteY0" fmla="*/ 0 h 43155"/>
                <a:gd name="connsiteX1" fmla="*/ 0 w 7686"/>
                <a:gd name="connsiteY1" fmla="*/ 43155 h 431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686" h="43155">
                  <a:moveTo>
                    <a:pt x="7686" y="0"/>
                  </a:moveTo>
                  <a:lnTo>
                    <a:pt x="0" y="43155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41" name="Forma livre: Forma 940">
              <a:extLst>
                <a:ext uri="{FF2B5EF4-FFF2-40B4-BE49-F238E27FC236}">
                  <a16:creationId xmlns:a16="http://schemas.microsoft.com/office/drawing/2014/main" id="{78B9F410-B70A-AB01-6B03-CC238BE8B3E5}"/>
                </a:ext>
              </a:extLst>
            </p:cNvPr>
            <p:cNvSpPr/>
            <p:nvPr/>
          </p:nvSpPr>
          <p:spPr>
            <a:xfrm>
              <a:off x="9235424" y="1027642"/>
              <a:ext cx="1184" cy="44209"/>
            </a:xfrm>
            <a:custGeom>
              <a:avLst/>
              <a:gdLst>
                <a:gd name="connsiteX0" fmla="*/ 0 w 1184"/>
                <a:gd name="connsiteY0" fmla="*/ 0 h 44209"/>
                <a:gd name="connsiteX1" fmla="*/ 0 w 1184"/>
                <a:gd name="connsiteY1" fmla="*/ 44210 h 442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84" h="44209">
                  <a:moveTo>
                    <a:pt x="0" y="0"/>
                  </a:moveTo>
                  <a:lnTo>
                    <a:pt x="0" y="4421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42" name="Forma livre: Forma 941">
              <a:extLst>
                <a:ext uri="{FF2B5EF4-FFF2-40B4-BE49-F238E27FC236}">
                  <a16:creationId xmlns:a16="http://schemas.microsoft.com/office/drawing/2014/main" id="{2DFFB8CE-C8A3-4957-69C7-25BB5AC0CBDC}"/>
                </a:ext>
              </a:extLst>
            </p:cNvPr>
            <p:cNvSpPr/>
            <p:nvPr/>
          </p:nvSpPr>
          <p:spPr>
            <a:xfrm>
              <a:off x="9206799" y="1027760"/>
              <a:ext cx="140339" cy="81786"/>
            </a:xfrm>
            <a:custGeom>
              <a:avLst/>
              <a:gdLst>
                <a:gd name="connsiteX0" fmla="*/ 0 w 140339"/>
                <a:gd name="connsiteY0" fmla="*/ 0 h 81786"/>
                <a:gd name="connsiteX1" fmla="*/ 58895 w 140339"/>
                <a:gd name="connsiteY1" fmla="*/ 0 h 81786"/>
                <a:gd name="connsiteX2" fmla="*/ 67741 w 140339"/>
                <a:gd name="connsiteY2" fmla="*/ 46708 h 81786"/>
                <a:gd name="connsiteX3" fmla="*/ 132534 w 140339"/>
                <a:gd name="connsiteY3" fmla="*/ 53850 h 81786"/>
                <a:gd name="connsiteX4" fmla="*/ 140078 w 140339"/>
                <a:gd name="connsiteY4" fmla="*/ 63928 h 81786"/>
                <a:gd name="connsiteX5" fmla="*/ 134819 w 140339"/>
                <a:gd name="connsiteY5" fmla="*/ 81787 h 817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40339" h="81786">
                  <a:moveTo>
                    <a:pt x="0" y="0"/>
                  </a:moveTo>
                  <a:lnTo>
                    <a:pt x="58895" y="0"/>
                  </a:lnTo>
                  <a:lnTo>
                    <a:pt x="67741" y="46708"/>
                  </a:lnTo>
                  <a:lnTo>
                    <a:pt x="132534" y="53850"/>
                  </a:lnTo>
                  <a:cubicBezTo>
                    <a:pt x="132534" y="53850"/>
                    <a:pt x="142020" y="54240"/>
                    <a:pt x="140078" y="63928"/>
                  </a:cubicBezTo>
                  <a:lnTo>
                    <a:pt x="134819" y="81787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43" name="Forma livre: Forma 942">
              <a:extLst>
                <a:ext uri="{FF2B5EF4-FFF2-40B4-BE49-F238E27FC236}">
                  <a16:creationId xmlns:a16="http://schemas.microsoft.com/office/drawing/2014/main" id="{7E5F1D31-0CA4-3F3C-CC26-8EC7184F566E}"/>
                </a:ext>
              </a:extLst>
            </p:cNvPr>
            <p:cNvSpPr/>
            <p:nvPr/>
          </p:nvSpPr>
          <p:spPr>
            <a:xfrm>
              <a:off x="9303437" y="1106290"/>
              <a:ext cx="47489" cy="47478"/>
            </a:xfrm>
            <a:custGeom>
              <a:avLst/>
              <a:gdLst>
                <a:gd name="connsiteX0" fmla="*/ 47490 w 47489"/>
                <a:gd name="connsiteY0" fmla="*/ 23733 h 47478"/>
                <a:gd name="connsiteX1" fmla="*/ 23745 w 47489"/>
                <a:gd name="connsiteY1" fmla="*/ 47478 h 47478"/>
                <a:gd name="connsiteX2" fmla="*/ 0 w 47489"/>
                <a:gd name="connsiteY2" fmla="*/ 23733 h 47478"/>
                <a:gd name="connsiteX3" fmla="*/ 23745 w 47489"/>
                <a:gd name="connsiteY3" fmla="*/ 0 h 47478"/>
                <a:gd name="connsiteX4" fmla="*/ 47490 w 47489"/>
                <a:gd name="connsiteY4" fmla="*/ 23733 h 474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7489" h="47478">
                  <a:moveTo>
                    <a:pt x="47490" y="23733"/>
                  </a:moveTo>
                  <a:cubicBezTo>
                    <a:pt x="47490" y="36843"/>
                    <a:pt x="36855" y="47478"/>
                    <a:pt x="23745" y="47478"/>
                  </a:cubicBezTo>
                  <a:cubicBezTo>
                    <a:pt x="10635" y="47478"/>
                    <a:pt x="0" y="36843"/>
                    <a:pt x="0" y="23733"/>
                  </a:cubicBezTo>
                  <a:cubicBezTo>
                    <a:pt x="0" y="10623"/>
                    <a:pt x="10623" y="0"/>
                    <a:pt x="23745" y="0"/>
                  </a:cubicBezTo>
                  <a:cubicBezTo>
                    <a:pt x="36867" y="0"/>
                    <a:pt x="47490" y="10623"/>
                    <a:pt x="47490" y="23733"/>
                  </a:cubicBez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44" name="Forma livre: Forma 943">
              <a:extLst>
                <a:ext uri="{FF2B5EF4-FFF2-40B4-BE49-F238E27FC236}">
                  <a16:creationId xmlns:a16="http://schemas.microsoft.com/office/drawing/2014/main" id="{3D0F3A22-E243-94F1-E3CF-BBB411F7EF64}"/>
                </a:ext>
              </a:extLst>
            </p:cNvPr>
            <p:cNvSpPr/>
            <p:nvPr/>
          </p:nvSpPr>
          <p:spPr>
            <a:xfrm>
              <a:off x="9297078" y="1034416"/>
              <a:ext cx="8171" cy="41651"/>
            </a:xfrm>
            <a:custGeom>
              <a:avLst/>
              <a:gdLst>
                <a:gd name="connsiteX0" fmla="*/ 8172 w 8171"/>
                <a:gd name="connsiteY0" fmla="*/ 0 h 41651"/>
                <a:gd name="connsiteX1" fmla="*/ 0 w 8171"/>
                <a:gd name="connsiteY1" fmla="*/ 7781 h 41651"/>
                <a:gd name="connsiteX2" fmla="*/ 0 w 8171"/>
                <a:gd name="connsiteY2" fmla="*/ 41651 h 416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8171" h="41651">
                  <a:moveTo>
                    <a:pt x="8172" y="0"/>
                  </a:moveTo>
                  <a:cubicBezTo>
                    <a:pt x="3032" y="0"/>
                    <a:pt x="0" y="2641"/>
                    <a:pt x="0" y="7781"/>
                  </a:cubicBezTo>
                  <a:lnTo>
                    <a:pt x="0" y="41651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45" name="Forma livre: Forma 944">
              <a:extLst>
                <a:ext uri="{FF2B5EF4-FFF2-40B4-BE49-F238E27FC236}">
                  <a16:creationId xmlns:a16="http://schemas.microsoft.com/office/drawing/2014/main" id="{82E217E9-AD5F-F2DA-DA33-44BE5DE1BD7C}"/>
                </a:ext>
              </a:extLst>
            </p:cNvPr>
            <p:cNvSpPr/>
            <p:nvPr/>
          </p:nvSpPr>
          <p:spPr>
            <a:xfrm>
              <a:off x="9274931" y="1073805"/>
              <a:ext cx="1184" cy="29358"/>
            </a:xfrm>
            <a:custGeom>
              <a:avLst/>
              <a:gdLst>
                <a:gd name="connsiteX0" fmla="*/ 0 w 1184"/>
                <a:gd name="connsiteY0" fmla="*/ 0 h 29358"/>
                <a:gd name="connsiteX1" fmla="*/ 0 w 1184"/>
                <a:gd name="connsiteY1" fmla="*/ 29359 h 293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84" h="29358">
                  <a:moveTo>
                    <a:pt x="0" y="0"/>
                  </a:moveTo>
                  <a:lnTo>
                    <a:pt x="0" y="29359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946" name="Gráfico 10">
              <a:extLst>
                <a:ext uri="{FF2B5EF4-FFF2-40B4-BE49-F238E27FC236}">
                  <a16:creationId xmlns:a16="http://schemas.microsoft.com/office/drawing/2014/main" id="{E4BF8E90-9850-5C2F-8CA7-091E6197733A}"/>
                </a:ext>
              </a:extLst>
            </p:cNvPr>
            <p:cNvGrpSpPr/>
            <p:nvPr/>
          </p:nvGrpSpPr>
          <p:grpSpPr>
            <a:xfrm>
              <a:off x="9185731" y="1087792"/>
              <a:ext cx="65976" cy="65976"/>
              <a:chOff x="9185731" y="1087792"/>
              <a:chExt cx="65976" cy="65976"/>
            </a:xfrm>
          </p:grpSpPr>
          <p:sp>
            <p:nvSpPr>
              <p:cNvPr id="947" name="Forma livre: Forma 946">
                <a:extLst>
                  <a:ext uri="{FF2B5EF4-FFF2-40B4-BE49-F238E27FC236}">
                    <a16:creationId xmlns:a16="http://schemas.microsoft.com/office/drawing/2014/main" id="{27FD8C50-AB8F-A232-24B2-201812BCD432}"/>
                  </a:ext>
                </a:extLst>
              </p:cNvPr>
              <p:cNvSpPr/>
              <p:nvPr/>
            </p:nvSpPr>
            <p:spPr>
              <a:xfrm>
                <a:off x="9185731" y="1087792"/>
                <a:ext cx="65976" cy="65976"/>
              </a:xfrm>
              <a:custGeom>
                <a:avLst/>
                <a:gdLst>
                  <a:gd name="connsiteX0" fmla="*/ 65977 w 65976"/>
                  <a:gd name="connsiteY0" fmla="*/ 32994 h 65976"/>
                  <a:gd name="connsiteX1" fmla="*/ 32982 w 65976"/>
                  <a:gd name="connsiteY1" fmla="*/ 65977 h 65976"/>
                  <a:gd name="connsiteX2" fmla="*/ 0 w 65976"/>
                  <a:gd name="connsiteY2" fmla="*/ 32994 h 65976"/>
                  <a:gd name="connsiteX3" fmla="*/ 32982 w 65976"/>
                  <a:gd name="connsiteY3" fmla="*/ 0 h 65976"/>
                  <a:gd name="connsiteX4" fmla="*/ 65977 w 65976"/>
                  <a:gd name="connsiteY4" fmla="*/ 32994 h 659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5976" h="65976">
                    <a:moveTo>
                      <a:pt x="65977" y="32994"/>
                    </a:moveTo>
                    <a:cubicBezTo>
                      <a:pt x="65977" y="51209"/>
                      <a:pt x="51197" y="65977"/>
                      <a:pt x="32982" y="65977"/>
                    </a:cubicBezTo>
                    <a:cubicBezTo>
                      <a:pt x="14768" y="65977"/>
                      <a:pt x="0" y="51209"/>
                      <a:pt x="0" y="32994"/>
                    </a:cubicBezTo>
                    <a:cubicBezTo>
                      <a:pt x="0" y="14780"/>
                      <a:pt x="14780" y="0"/>
                      <a:pt x="32982" y="0"/>
                    </a:cubicBezTo>
                    <a:cubicBezTo>
                      <a:pt x="51185" y="0"/>
                      <a:pt x="65977" y="14768"/>
                      <a:pt x="65977" y="32994"/>
                    </a:cubicBezTo>
                    <a:close/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48" name="Forma livre: Forma 947">
                <a:extLst>
                  <a:ext uri="{FF2B5EF4-FFF2-40B4-BE49-F238E27FC236}">
                    <a16:creationId xmlns:a16="http://schemas.microsoft.com/office/drawing/2014/main" id="{C72D95A7-9716-D491-16FF-266DC58DC6BA}"/>
                  </a:ext>
                </a:extLst>
              </p:cNvPr>
              <p:cNvSpPr/>
              <p:nvPr/>
            </p:nvSpPr>
            <p:spPr>
              <a:xfrm>
                <a:off x="9215160" y="1117233"/>
                <a:ext cx="7105" cy="7105"/>
              </a:xfrm>
              <a:custGeom>
                <a:avLst/>
                <a:gdLst>
                  <a:gd name="connsiteX0" fmla="*/ 0 w 7105"/>
                  <a:gd name="connsiteY0" fmla="*/ 3565 h 7105"/>
                  <a:gd name="connsiteX1" fmla="*/ 3553 w 7105"/>
                  <a:gd name="connsiteY1" fmla="*/ 7106 h 7105"/>
                  <a:gd name="connsiteX2" fmla="*/ 7106 w 7105"/>
                  <a:gd name="connsiteY2" fmla="*/ 3565 h 7105"/>
                  <a:gd name="connsiteX3" fmla="*/ 3553 w 7105"/>
                  <a:gd name="connsiteY3" fmla="*/ 0 h 7105"/>
                  <a:gd name="connsiteX4" fmla="*/ 0 w 7105"/>
                  <a:gd name="connsiteY4" fmla="*/ 3565 h 71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105" h="7105">
                    <a:moveTo>
                      <a:pt x="0" y="3565"/>
                    </a:moveTo>
                    <a:cubicBezTo>
                      <a:pt x="0" y="5519"/>
                      <a:pt x="1587" y="7106"/>
                      <a:pt x="3553" y="7106"/>
                    </a:cubicBezTo>
                    <a:cubicBezTo>
                      <a:pt x="5519" y="7106"/>
                      <a:pt x="7106" y="5519"/>
                      <a:pt x="7106" y="3565"/>
                    </a:cubicBezTo>
                    <a:cubicBezTo>
                      <a:pt x="7106" y="1611"/>
                      <a:pt x="5519" y="0"/>
                      <a:pt x="3553" y="0"/>
                    </a:cubicBezTo>
                    <a:cubicBezTo>
                      <a:pt x="1587" y="0"/>
                      <a:pt x="0" y="1587"/>
                      <a:pt x="0" y="3565"/>
                    </a:cubicBezTo>
                    <a:close/>
                  </a:path>
                </a:pathLst>
              </a:custGeom>
              <a:solidFill>
                <a:srgbClr val="F18F31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949" name="Forma livre: Forma 948">
              <a:extLst>
                <a:ext uri="{FF2B5EF4-FFF2-40B4-BE49-F238E27FC236}">
                  <a16:creationId xmlns:a16="http://schemas.microsoft.com/office/drawing/2014/main" id="{E3833C48-8179-4C4B-8D21-C9D066F3142D}"/>
                </a:ext>
              </a:extLst>
            </p:cNvPr>
            <p:cNvSpPr/>
            <p:nvPr/>
          </p:nvSpPr>
          <p:spPr>
            <a:xfrm>
              <a:off x="9269199" y="1126175"/>
              <a:ext cx="34154" cy="1184"/>
            </a:xfrm>
            <a:custGeom>
              <a:avLst/>
              <a:gdLst>
                <a:gd name="connsiteX0" fmla="*/ 0 w 34154"/>
                <a:gd name="connsiteY0" fmla="*/ 0 h 1184"/>
                <a:gd name="connsiteX1" fmla="*/ 34155 w 34154"/>
                <a:gd name="connsiteY1" fmla="*/ 0 h 11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4154" h="1184">
                  <a:moveTo>
                    <a:pt x="0" y="0"/>
                  </a:moveTo>
                  <a:lnTo>
                    <a:pt x="34155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950" name="Gráfico 10">
            <a:extLst>
              <a:ext uri="{FF2B5EF4-FFF2-40B4-BE49-F238E27FC236}">
                <a16:creationId xmlns:a16="http://schemas.microsoft.com/office/drawing/2014/main" id="{2FEBE955-B0AD-4EB0-FEF5-2108C6B2097C}"/>
              </a:ext>
            </a:extLst>
          </p:cNvPr>
          <p:cNvGrpSpPr/>
          <p:nvPr/>
        </p:nvGrpSpPr>
        <p:grpSpPr>
          <a:xfrm>
            <a:off x="9149184" y="2069070"/>
            <a:ext cx="334512" cy="274174"/>
            <a:chOff x="9149184" y="2069070"/>
            <a:chExt cx="334512" cy="274174"/>
          </a:xfrm>
          <a:noFill/>
        </p:grpSpPr>
        <p:sp>
          <p:nvSpPr>
            <p:cNvPr id="951" name="Forma livre: Forma 950">
              <a:extLst>
                <a:ext uri="{FF2B5EF4-FFF2-40B4-BE49-F238E27FC236}">
                  <a16:creationId xmlns:a16="http://schemas.microsoft.com/office/drawing/2014/main" id="{23736DBA-3B6E-185F-0F97-7C591CA63297}"/>
                </a:ext>
              </a:extLst>
            </p:cNvPr>
            <p:cNvSpPr/>
            <p:nvPr/>
          </p:nvSpPr>
          <p:spPr>
            <a:xfrm>
              <a:off x="9340615" y="2076602"/>
              <a:ext cx="143081" cy="207106"/>
            </a:xfrm>
            <a:custGeom>
              <a:avLst/>
              <a:gdLst>
                <a:gd name="connsiteX0" fmla="*/ 1051 w 143081"/>
                <a:gd name="connsiteY0" fmla="*/ 149327 h 207106"/>
                <a:gd name="connsiteX1" fmla="*/ 1288 w 143081"/>
                <a:gd name="connsiteY1" fmla="*/ 120821 h 207106"/>
                <a:gd name="connsiteX2" fmla="*/ 71670 w 143081"/>
                <a:gd name="connsiteY2" fmla="*/ 0 h 207106"/>
                <a:gd name="connsiteX3" fmla="*/ 141353 w 143081"/>
                <a:gd name="connsiteY3" fmla="*/ 120051 h 207106"/>
                <a:gd name="connsiteX4" fmla="*/ 71291 w 143081"/>
                <a:gd name="connsiteY4" fmla="*/ 207085 h 207106"/>
                <a:gd name="connsiteX5" fmla="*/ 40582 w 143081"/>
                <a:gd name="connsiteY5" fmla="*/ 200121 h 2071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43081" h="207106">
                  <a:moveTo>
                    <a:pt x="1051" y="149327"/>
                  </a:moveTo>
                  <a:cubicBezTo>
                    <a:pt x="-370" y="140765"/>
                    <a:pt x="-406" y="131267"/>
                    <a:pt x="1288" y="120821"/>
                  </a:cubicBezTo>
                  <a:cubicBezTo>
                    <a:pt x="8192" y="78116"/>
                    <a:pt x="33903" y="0"/>
                    <a:pt x="71670" y="0"/>
                  </a:cubicBezTo>
                  <a:cubicBezTo>
                    <a:pt x="109437" y="0"/>
                    <a:pt x="133443" y="74515"/>
                    <a:pt x="141353" y="120051"/>
                  </a:cubicBezTo>
                  <a:cubicBezTo>
                    <a:pt x="152284" y="182866"/>
                    <a:pt x="109247" y="207949"/>
                    <a:pt x="71291" y="207085"/>
                  </a:cubicBezTo>
                  <a:cubicBezTo>
                    <a:pt x="60928" y="206848"/>
                    <a:pt x="50329" y="204527"/>
                    <a:pt x="40582" y="200121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52" name="Forma livre: Forma 951">
              <a:extLst>
                <a:ext uri="{FF2B5EF4-FFF2-40B4-BE49-F238E27FC236}">
                  <a16:creationId xmlns:a16="http://schemas.microsoft.com/office/drawing/2014/main" id="{FC2C4A4D-73DD-3FE9-2718-FD25FB4A0E2A}"/>
                </a:ext>
              </a:extLst>
            </p:cNvPr>
            <p:cNvSpPr/>
            <p:nvPr/>
          </p:nvSpPr>
          <p:spPr>
            <a:xfrm>
              <a:off x="9369035" y="2208425"/>
              <a:ext cx="41935" cy="34545"/>
            </a:xfrm>
            <a:custGeom>
              <a:avLst/>
              <a:gdLst>
                <a:gd name="connsiteX0" fmla="*/ 41936 w 41935"/>
                <a:gd name="connsiteY0" fmla="*/ 34546 h 34545"/>
                <a:gd name="connsiteX1" fmla="*/ 0 w 41935"/>
                <a:gd name="connsiteY1" fmla="*/ 0 h 345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1935" h="34545">
                  <a:moveTo>
                    <a:pt x="41936" y="34546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53" name="Forma livre: Forma 952">
              <a:extLst>
                <a:ext uri="{FF2B5EF4-FFF2-40B4-BE49-F238E27FC236}">
                  <a16:creationId xmlns:a16="http://schemas.microsoft.com/office/drawing/2014/main" id="{BD1F548E-B7E8-447D-9C5C-5998A16089E4}"/>
                </a:ext>
              </a:extLst>
            </p:cNvPr>
            <p:cNvSpPr/>
            <p:nvPr/>
          </p:nvSpPr>
          <p:spPr>
            <a:xfrm>
              <a:off x="9384976" y="2172944"/>
              <a:ext cx="25284" cy="20890"/>
            </a:xfrm>
            <a:custGeom>
              <a:avLst/>
              <a:gdLst>
                <a:gd name="connsiteX0" fmla="*/ 25285 w 25284"/>
                <a:gd name="connsiteY0" fmla="*/ 20891 h 20890"/>
                <a:gd name="connsiteX1" fmla="*/ 0 w 25284"/>
                <a:gd name="connsiteY1" fmla="*/ 0 h 208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5284" h="20890">
                  <a:moveTo>
                    <a:pt x="25285" y="20891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54" name="Forma livre: Forma 953">
              <a:extLst>
                <a:ext uri="{FF2B5EF4-FFF2-40B4-BE49-F238E27FC236}">
                  <a16:creationId xmlns:a16="http://schemas.microsoft.com/office/drawing/2014/main" id="{03A28850-B4DE-6E77-EBC8-696BD013F801}"/>
                </a:ext>
              </a:extLst>
            </p:cNvPr>
            <p:cNvSpPr/>
            <p:nvPr/>
          </p:nvSpPr>
          <p:spPr>
            <a:xfrm>
              <a:off x="9413244" y="2208425"/>
              <a:ext cx="41935" cy="34545"/>
            </a:xfrm>
            <a:custGeom>
              <a:avLst/>
              <a:gdLst>
                <a:gd name="connsiteX0" fmla="*/ 0 w 41935"/>
                <a:gd name="connsiteY0" fmla="*/ 34546 h 34545"/>
                <a:gd name="connsiteX1" fmla="*/ 41936 w 41935"/>
                <a:gd name="connsiteY1" fmla="*/ 0 h 345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1935" h="34545">
                  <a:moveTo>
                    <a:pt x="0" y="34546"/>
                  </a:moveTo>
                  <a:lnTo>
                    <a:pt x="41936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55" name="Forma livre: Forma 954">
              <a:extLst>
                <a:ext uri="{FF2B5EF4-FFF2-40B4-BE49-F238E27FC236}">
                  <a16:creationId xmlns:a16="http://schemas.microsoft.com/office/drawing/2014/main" id="{C569B6A1-F235-7A8F-EE17-711EB09E86E4}"/>
                </a:ext>
              </a:extLst>
            </p:cNvPr>
            <p:cNvSpPr/>
            <p:nvPr/>
          </p:nvSpPr>
          <p:spPr>
            <a:xfrm>
              <a:off x="9413955" y="2172944"/>
              <a:ext cx="25284" cy="20890"/>
            </a:xfrm>
            <a:custGeom>
              <a:avLst/>
              <a:gdLst>
                <a:gd name="connsiteX0" fmla="*/ 0 w 25284"/>
                <a:gd name="connsiteY0" fmla="*/ 20891 h 20890"/>
                <a:gd name="connsiteX1" fmla="*/ 25285 w 25284"/>
                <a:gd name="connsiteY1" fmla="*/ 0 h 208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5284" h="20890">
                  <a:moveTo>
                    <a:pt x="0" y="20891"/>
                  </a:moveTo>
                  <a:lnTo>
                    <a:pt x="25285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56" name="Forma livre: Forma 955">
              <a:extLst>
                <a:ext uri="{FF2B5EF4-FFF2-40B4-BE49-F238E27FC236}">
                  <a16:creationId xmlns:a16="http://schemas.microsoft.com/office/drawing/2014/main" id="{BFBF9385-90AD-2E10-11A4-FF22523CB883}"/>
                </a:ext>
              </a:extLst>
            </p:cNvPr>
            <p:cNvSpPr/>
            <p:nvPr/>
          </p:nvSpPr>
          <p:spPr>
            <a:xfrm>
              <a:off x="9412179" y="2148382"/>
              <a:ext cx="1184" cy="193039"/>
            </a:xfrm>
            <a:custGeom>
              <a:avLst/>
              <a:gdLst>
                <a:gd name="connsiteX0" fmla="*/ 0 w 1184"/>
                <a:gd name="connsiteY0" fmla="*/ 0 h 193039"/>
                <a:gd name="connsiteX1" fmla="*/ 0 w 1184"/>
                <a:gd name="connsiteY1" fmla="*/ 193039 h 1930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84" h="193039">
                  <a:moveTo>
                    <a:pt x="0" y="0"/>
                  </a:moveTo>
                  <a:lnTo>
                    <a:pt x="0" y="193039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57" name="Forma livre: Forma 956">
              <a:extLst>
                <a:ext uri="{FF2B5EF4-FFF2-40B4-BE49-F238E27FC236}">
                  <a16:creationId xmlns:a16="http://schemas.microsoft.com/office/drawing/2014/main" id="{3444314C-1832-52F8-81CF-916EEAE0C9D1}"/>
                </a:ext>
              </a:extLst>
            </p:cNvPr>
            <p:cNvSpPr/>
            <p:nvPr/>
          </p:nvSpPr>
          <p:spPr>
            <a:xfrm>
              <a:off x="9250073" y="2122801"/>
              <a:ext cx="63596" cy="13287"/>
            </a:xfrm>
            <a:custGeom>
              <a:avLst/>
              <a:gdLst>
                <a:gd name="connsiteX0" fmla="*/ 63596 w 63596"/>
                <a:gd name="connsiteY0" fmla="*/ 13288 h 13287"/>
                <a:gd name="connsiteX1" fmla="*/ 50723 w 63596"/>
                <a:gd name="connsiteY1" fmla="*/ 13288 h 13287"/>
                <a:gd name="connsiteX2" fmla="*/ 37435 w 63596"/>
                <a:gd name="connsiteY2" fmla="*/ 0 h 13287"/>
                <a:gd name="connsiteX3" fmla="*/ 24148 w 63596"/>
                <a:gd name="connsiteY3" fmla="*/ 13288 h 13287"/>
                <a:gd name="connsiteX4" fmla="*/ 0 w 63596"/>
                <a:gd name="connsiteY4" fmla="*/ 13288 h 132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596" h="13287">
                  <a:moveTo>
                    <a:pt x="63596" y="13288"/>
                  </a:moveTo>
                  <a:lnTo>
                    <a:pt x="50723" y="13288"/>
                  </a:lnTo>
                  <a:cubicBezTo>
                    <a:pt x="50723" y="5957"/>
                    <a:pt x="44778" y="0"/>
                    <a:pt x="37435" y="0"/>
                  </a:cubicBezTo>
                  <a:cubicBezTo>
                    <a:pt x="30093" y="0"/>
                    <a:pt x="24148" y="5957"/>
                    <a:pt x="24148" y="13288"/>
                  </a:cubicBezTo>
                  <a:lnTo>
                    <a:pt x="0" y="13288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58" name="Forma livre: Forma 957">
              <a:extLst>
                <a:ext uri="{FF2B5EF4-FFF2-40B4-BE49-F238E27FC236}">
                  <a16:creationId xmlns:a16="http://schemas.microsoft.com/office/drawing/2014/main" id="{233BFE9A-4F95-A862-B0A2-F30B4F517BBB}"/>
                </a:ext>
              </a:extLst>
            </p:cNvPr>
            <p:cNvSpPr/>
            <p:nvPr/>
          </p:nvSpPr>
          <p:spPr>
            <a:xfrm>
              <a:off x="9278733" y="2162439"/>
              <a:ext cx="26539" cy="1184"/>
            </a:xfrm>
            <a:custGeom>
              <a:avLst/>
              <a:gdLst>
                <a:gd name="connsiteX0" fmla="*/ 0 w 26539"/>
                <a:gd name="connsiteY0" fmla="*/ 0 h 1184"/>
                <a:gd name="connsiteX1" fmla="*/ 26540 w 26539"/>
                <a:gd name="connsiteY1" fmla="*/ 0 h 11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6539" h="1184">
                  <a:moveTo>
                    <a:pt x="0" y="0"/>
                  </a:moveTo>
                  <a:lnTo>
                    <a:pt x="2654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59" name="Forma livre: Forma 958">
              <a:extLst>
                <a:ext uri="{FF2B5EF4-FFF2-40B4-BE49-F238E27FC236}">
                  <a16:creationId xmlns:a16="http://schemas.microsoft.com/office/drawing/2014/main" id="{90ADD9EB-03EC-22C8-E7D5-C9472F37EA42}"/>
                </a:ext>
              </a:extLst>
            </p:cNvPr>
            <p:cNvSpPr/>
            <p:nvPr/>
          </p:nvSpPr>
          <p:spPr>
            <a:xfrm>
              <a:off x="9227086" y="2182809"/>
              <a:ext cx="14602" cy="1184"/>
            </a:xfrm>
            <a:custGeom>
              <a:avLst/>
              <a:gdLst>
                <a:gd name="connsiteX0" fmla="*/ 0 w 14602"/>
                <a:gd name="connsiteY0" fmla="*/ 0 h 1184"/>
                <a:gd name="connsiteX1" fmla="*/ 14602 w 14602"/>
                <a:gd name="connsiteY1" fmla="*/ 0 h 11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4602" h="1184">
                  <a:moveTo>
                    <a:pt x="0" y="0"/>
                  </a:moveTo>
                  <a:lnTo>
                    <a:pt x="14602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960" name="Gráfico 10">
              <a:extLst>
                <a:ext uri="{FF2B5EF4-FFF2-40B4-BE49-F238E27FC236}">
                  <a16:creationId xmlns:a16="http://schemas.microsoft.com/office/drawing/2014/main" id="{A33006D3-F832-EA49-4480-8ED4FE8A4234}"/>
                </a:ext>
              </a:extLst>
            </p:cNvPr>
            <p:cNvGrpSpPr/>
            <p:nvPr/>
          </p:nvGrpSpPr>
          <p:grpSpPr>
            <a:xfrm>
              <a:off x="9234985" y="2252445"/>
              <a:ext cx="122384" cy="23993"/>
              <a:chOff x="9234985" y="2252445"/>
              <a:chExt cx="122384" cy="23993"/>
            </a:xfrm>
          </p:grpSpPr>
          <p:sp>
            <p:nvSpPr>
              <p:cNvPr id="961" name="Forma livre: Forma 960">
                <a:extLst>
                  <a:ext uri="{FF2B5EF4-FFF2-40B4-BE49-F238E27FC236}">
                    <a16:creationId xmlns:a16="http://schemas.microsoft.com/office/drawing/2014/main" id="{ADF80F83-22F5-16F7-63FC-8F60AAF9A08A}"/>
                  </a:ext>
                </a:extLst>
              </p:cNvPr>
              <p:cNvSpPr/>
              <p:nvPr/>
            </p:nvSpPr>
            <p:spPr>
              <a:xfrm>
                <a:off x="9234985" y="2252445"/>
                <a:ext cx="122384" cy="1184"/>
              </a:xfrm>
              <a:custGeom>
                <a:avLst/>
                <a:gdLst>
                  <a:gd name="connsiteX0" fmla="*/ 0 w 122384"/>
                  <a:gd name="connsiteY0" fmla="*/ 0 h 1184"/>
                  <a:gd name="connsiteX1" fmla="*/ 122384 w 122384"/>
                  <a:gd name="connsiteY1" fmla="*/ 0 h 11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2384" h="1184">
                    <a:moveTo>
                      <a:pt x="0" y="0"/>
                    </a:moveTo>
                    <a:lnTo>
                      <a:pt x="122384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62" name="Forma livre: Forma 961">
                <a:extLst>
                  <a:ext uri="{FF2B5EF4-FFF2-40B4-BE49-F238E27FC236}">
                    <a16:creationId xmlns:a16="http://schemas.microsoft.com/office/drawing/2014/main" id="{6513D5F9-A5E7-F431-72BC-0E7F49C540CA}"/>
                  </a:ext>
                </a:extLst>
              </p:cNvPr>
              <p:cNvSpPr/>
              <p:nvPr/>
            </p:nvSpPr>
            <p:spPr>
              <a:xfrm>
                <a:off x="9234985" y="2276439"/>
                <a:ext cx="122384" cy="1184"/>
              </a:xfrm>
              <a:custGeom>
                <a:avLst/>
                <a:gdLst>
                  <a:gd name="connsiteX0" fmla="*/ 0 w 122384"/>
                  <a:gd name="connsiteY0" fmla="*/ 0 h 1184"/>
                  <a:gd name="connsiteX1" fmla="*/ 122384 w 122384"/>
                  <a:gd name="connsiteY1" fmla="*/ 0 h 11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2384" h="1184">
                    <a:moveTo>
                      <a:pt x="0" y="0"/>
                    </a:moveTo>
                    <a:lnTo>
                      <a:pt x="122384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963" name="Forma livre: Forma 962">
              <a:extLst>
                <a:ext uri="{FF2B5EF4-FFF2-40B4-BE49-F238E27FC236}">
                  <a16:creationId xmlns:a16="http://schemas.microsoft.com/office/drawing/2014/main" id="{2E05267B-3856-F557-1D3A-83F7DEC43A9D}"/>
                </a:ext>
              </a:extLst>
            </p:cNvPr>
            <p:cNvSpPr/>
            <p:nvPr/>
          </p:nvSpPr>
          <p:spPr>
            <a:xfrm>
              <a:off x="9208469" y="2309445"/>
              <a:ext cx="175416" cy="1184"/>
            </a:xfrm>
            <a:custGeom>
              <a:avLst/>
              <a:gdLst>
                <a:gd name="connsiteX0" fmla="*/ 175417 w 175416"/>
                <a:gd name="connsiteY0" fmla="*/ 0 h 1184"/>
                <a:gd name="connsiteX1" fmla="*/ 0 w 175416"/>
                <a:gd name="connsiteY1" fmla="*/ 0 h 11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75416" h="1184">
                  <a:moveTo>
                    <a:pt x="175417" y="0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964" name="Gráfico 10">
              <a:extLst>
                <a:ext uri="{FF2B5EF4-FFF2-40B4-BE49-F238E27FC236}">
                  <a16:creationId xmlns:a16="http://schemas.microsoft.com/office/drawing/2014/main" id="{79CF1ADB-47DF-240C-FA34-6DF3273635A2}"/>
                </a:ext>
              </a:extLst>
            </p:cNvPr>
            <p:cNvGrpSpPr/>
            <p:nvPr/>
          </p:nvGrpSpPr>
          <p:grpSpPr>
            <a:xfrm>
              <a:off x="9234985" y="2237405"/>
              <a:ext cx="122372" cy="71732"/>
              <a:chOff x="9234985" y="2237405"/>
              <a:chExt cx="122372" cy="71732"/>
            </a:xfrm>
          </p:grpSpPr>
          <p:sp>
            <p:nvSpPr>
              <p:cNvPr id="965" name="Forma livre: Forma 964">
                <a:extLst>
                  <a:ext uri="{FF2B5EF4-FFF2-40B4-BE49-F238E27FC236}">
                    <a16:creationId xmlns:a16="http://schemas.microsoft.com/office/drawing/2014/main" id="{E96D7C0D-7F22-1FDA-E858-79295AB9C63E}"/>
                  </a:ext>
                </a:extLst>
              </p:cNvPr>
              <p:cNvSpPr/>
              <p:nvPr/>
            </p:nvSpPr>
            <p:spPr>
              <a:xfrm>
                <a:off x="9234985" y="2237405"/>
                <a:ext cx="1184" cy="71732"/>
              </a:xfrm>
              <a:custGeom>
                <a:avLst/>
                <a:gdLst>
                  <a:gd name="connsiteX0" fmla="*/ 0 w 1184"/>
                  <a:gd name="connsiteY0" fmla="*/ 0 h 71732"/>
                  <a:gd name="connsiteX1" fmla="*/ 0 w 1184"/>
                  <a:gd name="connsiteY1" fmla="*/ 71732 h 717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84" h="71732">
                    <a:moveTo>
                      <a:pt x="0" y="0"/>
                    </a:moveTo>
                    <a:lnTo>
                      <a:pt x="0" y="71732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66" name="Forma livre: Forma 965">
                <a:extLst>
                  <a:ext uri="{FF2B5EF4-FFF2-40B4-BE49-F238E27FC236}">
                    <a16:creationId xmlns:a16="http://schemas.microsoft.com/office/drawing/2014/main" id="{B9254AC9-2962-528D-01A1-BD205005BD17}"/>
                  </a:ext>
                </a:extLst>
              </p:cNvPr>
              <p:cNvSpPr/>
              <p:nvPr/>
            </p:nvSpPr>
            <p:spPr>
              <a:xfrm>
                <a:off x="9357358" y="2237405"/>
                <a:ext cx="1184" cy="71732"/>
              </a:xfrm>
              <a:custGeom>
                <a:avLst/>
                <a:gdLst>
                  <a:gd name="connsiteX0" fmla="*/ 0 w 1184"/>
                  <a:gd name="connsiteY0" fmla="*/ 0 h 71732"/>
                  <a:gd name="connsiteX1" fmla="*/ 0 w 1184"/>
                  <a:gd name="connsiteY1" fmla="*/ 71732 h 717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84" h="71732">
                    <a:moveTo>
                      <a:pt x="0" y="0"/>
                    </a:moveTo>
                    <a:lnTo>
                      <a:pt x="0" y="71732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967" name="Gráfico 10">
              <a:extLst>
                <a:ext uri="{FF2B5EF4-FFF2-40B4-BE49-F238E27FC236}">
                  <a16:creationId xmlns:a16="http://schemas.microsoft.com/office/drawing/2014/main" id="{65A7BF81-D35E-799C-C9B8-B77F25AC5911}"/>
                </a:ext>
              </a:extLst>
            </p:cNvPr>
            <p:cNvGrpSpPr/>
            <p:nvPr/>
          </p:nvGrpSpPr>
          <p:grpSpPr>
            <a:xfrm>
              <a:off x="9227489" y="2309765"/>
              <a:ext cx="137377" cy="32946"/>
              <a:chOff x="9227489" y="2309765"/>
              <a:chExt cx="137377" cy="32946"/>
            </a:xfrm>
          </p:grpSpPr>
          <p:sp>
            <p:nvSpPr>
              <p:cNvPr id="968" name="Forma livre: Forma 967">
                <a:extLst>
                  <a:ext uri="{FF2B5EF4-FFF2-40B4-BE49-F238E27FC236}">
                    <a16:creationId xmlns:a16="http://schemas.microsoft.com/office/drawing/2014/main" id="{F66B457D-BAFB-2BD9-E5AA-EBBA01924532}"/>
                  </a:ext>
                </a:extLst>
              </p:cNvPr>
              <p:cNvSpPr/>
              <p:nvPr/>
            </p:nvSpPr>
            <p:spPr>
              <a:xfrm>
                <a:off x="9227489" y="2309765"/>
                <a:ext cx="1184" cy="32946"/>
              </a:xfrm>
              <a:custGeom>
                <a:avLst/>
                <a:gdLst>
                  <a:gd name="connsiteX0" fmla="*/ 0 w 1184"/>
                  <a:gd name="connsiteY0" fmla="*/ 0 h 32946"/>
                  <a:gd name="connsiteX1" fmla="*/ 0 w 1184"/>
                  <a:gd name="connsiteY1" fmla="*/ 32947 h 329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84" h="32946">
                    <a:moveTo>
                      <a:pt x="0" y="0"/>
                    </a:moveTo>
                    <a:lnTo>
                      <a:pt x="0" y="32947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69" name="Forma livre: Forma 968">
                <a:extLst>
                  <a:ext uri="{FF2B5EF4-FFF2-40B4-BE49-F238E27FC236}">
                    <a16:creationId xmlns:a16="http://schemas.microsoft.com/office/drawing/2014/main" id="{43F303A7-6C4A-CF97-11F0-CB659015D585}"/>
                  </a:ext>
                </a:extLst>
              </p:cNvPr>
              <p:cNvSpPr/>
              <p:nvPr/>
            </p:nvSpPr>
            <p:spPr>
              <a:xfrm>
                <a:off x="9364866" y="2309765"/>
                <a:ext cx="1184" cy="32946"/>
              </a:xfrm>
              <a:custGeom>
                <a:avLst/>
                <a:gdLst>
                  <a:gd name="connsiteX0" fmla="*/ 0 w 1184"/>
                  <a:gd name="connsiteY0" fmla="*/ 0 h 32946"/>
                  <a:gd name="connsiteX1" fmla="*/ 0 w 1184"/>
                  <a:gd name="connsiteY1" fmla="*/ 32947 h 329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84" h="32946">
                    <a:moveTo>
                      <a:pt x="0" y="0"/>
                    </a:moveTo>
                    <a:lnTo>
                      <a:pt x="0" y="32947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970" name="Forma livre: Forma 969">
              <a:extLst>
                <a:ext uri="{FF2B5EF4-FFF2-40B4-BE49-F238E27FC236}">
                  <a16:creationId xmlns:a16="http://schemas.microsoft.com/office/drawing/2014/main" id="{863E6A2C-44D2-5BFD-CCCF-72D1BA0C97CF}"/>
                </a:ext>
              </a:extLst>
            </p:cNvPr>
            <p:cNvSpPr/>
            <p:nvPr/>
          </p:nvSpPr>
          <p:spPr>
            <a:xfrm>
              <a:off x="9183528" y="2117424"/>
              <a:ext cx="1184" cy="225287"/>
            </a:xfrm>
            <a:custGeom>
              <a:avLst/>
              <a:gdLst>
                <a:gd name="connsiteX0" fmla="*/ 0 w 1184"/>
                <a:gd name="connsiteY0" fmla="*/ 225287 h 225287"/>
                <a:gd name="connsiteX1" fmla="*/ 0 w 1184"/>
                <a:gd name="connsiteY1" fmla="*/ 0 h 2252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84" h="225287">
                  <a:moveTo>
                    <a:pt x="0" y="225287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71" name="Forma livre: Forma 970">
              <a:extLst>
                <a:ext uri="{FF2B5EF4-FFF2-40B4-BE49-F238E27FC236}">
                  <a16:creationId xmlns:a16="http://schemas.microsoft.com/office/drawing/2014/main" id="{0EB37670-E2AB-E092-98F4-2D5D5C42368F}"/>
                </a:ext>
              </a:extLst>
            </p:cNvPr>
            <p:cNvSpPr/>
            <p:nvPr/>
          </p:nvSpPr>
          <p:spPr>
            <a:xfrm>
              <a:off x="9151683" y="2343245"/>
              <a:ext cx="293940" cy="1184"/>
            </a:xfrm>
            <a:custGeom>
              <a:avLst/>
              <a:gdLst>
                <a:gd name="connsiteX0" fmla="*/ 0 w 293940"/>
                <a:gd name="connsiteY0" fmla="*/ 0 h 1184"/>
                <a:gd name="connsiteX1" fmla="*/ 293940 w 293940"/>
                <a:gd name="connsiteY1" fmla="*/ 0 h 11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93940" h="1184">
                  <a:moveTo>
                    <a:pt x="0" y="0"/>
                  </a:moveTo>
                  <a:lnTo>
                    <a:pt x="29394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72" name="Forma livre: Forma 971">
              <a:extLst>
                <a:ext uri="{FF2B5EF4-FFF2-40B4-BE49-F238E27FC236}">
                  <a16:creationId xmlns:a16="http://schemas.microsoft.com/office/drawing/2014/main" id="{C71DFA89-079D-51A9-33EB-F1A7C88C3457}"/>
                </a:ext>
              </a:extLst>
            </p:cNvPr>
            <p:cNvSpPr/>
            <p:nvPr/>
          </p:nvSpPr>
          <p:spPr>
            <a:xfrm>
              <a:off x="9466230" y="2343245"/>
              <a:ext cx="15158" cy="1184"/>
            </a:xfrm>
            <a:custGeom>
              <a:avLst/>
              <a:gdLst>
                <a:gd name="connsiteX0" fmla="*/ 0 w 15158"/>
                <a:gd name="connsiteY0" fmla="*/ 0 h 1184"/>
                <a:gd name="connsiteX1" fmla="*/ 15159 w 15158"/>
                <a:gd name="connsiteY1" fmla="*/ 0 h 11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58" h="1184">
                  <a:moveTo>
                    <a:pt x="0" y="0"/>
                  </a:moveTo>
                  <a:lnTo>
                    <a:pt x="15159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73" name="Forma livre: Forma 972">
              <a:extLst>
                <a:ext uri="{FF2B5EF4-FFF2-40B4-BE49-F238E27FC236}">
                  <a16:creationId xmlns:a16="http://schemas.microsoft.com/office/drawing/2014/main" id="{BEC0464D-ACB1-80AF-D236-11E6EF307806}"/>
                </a:ext>
              </a:extLst>
            </p:cNvPr>
            <p:cNvSpPr/>
            <p:nvPr/>
          </p:nvSpPr>
          <p:spPr>
            <a:xfrm>
              <a:off x="9149184" y="2094650"/>
              <a:ext cx="68676" cy="50924"/>
            </a:xfrm>
            <a:custGeom>
              <a:avLst/>
              <a:gdLst>
                <a:gd name="connsiteX0" fmla="*/ 50569 w 68676"/>
                <a:gd name="connsiteY0" fmla="*/ 50924 h 50924"/>
                <a:gd name="connsiteX1" fmla="*/ 18108 w 68676"/>
                <a:gd name="connsiteY1" fmla="*/ 50924 h 50924"/>
                <a:gd name="connsiteX2" fmla="*/ 0 w 68676"/>
                <a:gd name="connsiteY2" fmla="*/ 0 h 50924"/>
                <a:gd name="connsiteX3" fmla="*/ 68677 w 68676"/>
                <a:gd name="connsiteY3" fmla="*/ 0 h 50924"/>
                <a:gd name="connsiteX4" fmla="*/ 50569 w 68676"/>
                <a:gd name="connsiteY4" fmla="*/ 50924 h 509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8676" h="50924">
                  <a:moveTo>
                    <a:pt x="50569" y="50924"/>
                  </a:moveTo>
                  <a:lnTo>
                    <a:pt x="18108" y="50924"/>
                  </a:lnTo>
                  <a:lnTo>
                    <a:pt x="0" y="0"/>
                  </a:lnTo>
                  <a:lnTo>
                    <a:pt x="68677" y="0"/>
                  </a:lnTo>
                  <a:lnTo>
                    <a:pt x="50569" y="50924"/>
                  </a:ln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74" name="Forma livre: Forma 973">
              <a:extLst>
                <a:ext uri="{FF2B5EF4-FFF2-40B4-BE49-F238E27FC236}">
                  <a16:creationId xmlns:a16="http://schemas.microsoft.com/office/drawing/2014/main" id="{F29EFE0B-A870-9548-8B1C-35E1128A869A}"/>
                </a:ext>
              </a:extLst>
            </p:cNvPr>
            <p:cNvSpPr/>
            <p:nvPr/>
          </p:nvSpPr>
          <p:spPr>
            <a:xfrm>
              <a:off x="9149184" y="2069070"/>
              <a:ext cx="68676" cy="25580"/>
            </a:xfrm>
            <a:custGeom>
              <a:avLst/>
              <a:gdLst>
                <a:gd name="connsiteX0" fmla="*/ 68677 w 68676"/>
                <a:gd name="connsiteY0" fmla="*/ 25581 h 25580"/>
                <a:gd name="connsiteX1" fmla="*/ 53411 w 68676"/>
                <a:gd name="connsiteY1" fmla="*/ 0 h 25580"/>
                <a:gd name="connsiteX2" fmla="*/ 15265 w 68676"/>
                <a:gd name="connsiteY2" fmla="*/ 0 h 25580"/>
                <a:gd name="connsiteX3" fmla="*/ 0 w 68676"/>
                <a:gd name="connsiteY3" fmla="*/ 25581 h 255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8676" h="25580">
                  <a:moveTo>
                    <a:pt x="68677" y="25581"/>
                  </a:moveTo>
                  <a:lnTo>
                    <a:pt x="53411" y="0"/>
                  </a:lnTo>
                  <a:lnTo>
                    <a:pt x="15265" y="0"/>
                  </a:lnTo>
                  <a:lnTo>
                    <a:pt x="0" y="25581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975" name="Gráfico 10">
            <a:extLst>
              <a:ext uri="{FF2B5EF4-FFF2-40B4-BE49-F238E27FC236}">
                <a16:creationId xmlns:a16="http://schemas.microsoft.com/office/drawing/2014/main" id="{6F863938-F2E9-AA9B-12A8-24C616052BD6}"/>
              </a:ext>
            </a:extLst>
          </p:cNvPr>
          <p:cNvGrpSpPr/>
          <p:nvPr/>
        </p:nvGrpSpPr>
        <p:grpSpPr>
          <a:xfrm>
            <a:off x="9154276" y="1502861"/>
            <a:ext cx="324341" cy="339807"/>
            <a:chOff x="9154276" y="1502861"/>
            <a:chExt cx="324341" cy="339807"/>
          </a:xfrm>
          <a:noFill/>
        </p:grpSpPr>
        <p:sp>
          <p:nvSpPr>
            <p:cNvPr id="976" name="Forma livre: Forma 975">
              <a:extLst>
                <a:ext uri="{FF2B5EF4-FFF2-40B4-BE49-F238E27FC236}">
                  <a16:creationId xmlns:a16="http://schemas.microsoft.com/office/drawing/2014/main" id="{A13C54CC-5F0E-8EEA-8A40-9A095EC7CD44}"/>
                </a:ext>
              </a:extLst>
            </p:cNvPr>
            <p:cNvSpPr/>
            <p:nvPr/>
          </p:nvSpPr>
          <p:spPr>
            <a:xfrm>
              <a:off x="9415021" y="1521170"/>
              <a:ext cx="63596" cy="13287"/>
            </a:xfrm>
            <a:custGeom>
              <a:avLst/>
              <a:gdLst>
                <a:gd name="connsiteX0" fmla="*/ 63596 w 63596"/>
                <a:gd name="connsiteY0" fmla="*/ 13288 h 13287"/>
                <a:gd name="connsiteX1" fmla="*/ 50723 w 63596"/>
                <a:gd name="connsiteY1" fmla="*/ 13288 h 13287"/>
                <a:gd name="connsiteX2" fmla="*/ 37435 w 63596"/>
                <a:gd name="connsiteY2" fmla="*/ 0 h 13287"/>
                <a:gd name="connsiteX3" fmla="*/ 24148 w 63596"/>
                <a:gd name="connsiteY3" fmla="*/ 13288 h 13287"/>
                <a:gd name="connsiteX4" fmla="*/ 0 w 63596"/>
                <a:gd name="connsiteY4" fmla="*/ 13288 h 132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596" h="13287">
                  <a:moveTo>
                    <a:pt x="63596" y="13288"/>
                  </a:moveTo>
                  <a:lnTo>
                    <a:pt x="50723" y="13288"/>
                  </a:lnTo>
                  <a:cubicBezTo>
                    <a:pt x="50723" y="5957"/>
                    <a:pt x="44778" y="0"/>
                    <a:pt x="37435" y="0"/>
                  </a:cubicBezTo>
                  <a:cubicBezTo>
                    <a:pt x="30093" y="0"/>
                    <a:pt x="24148" y="5957"/>
                    <a:pt x="24148" y="13288"/>
                  </a:cubicBezTo>
                  <a:lnTo>
                    <a:pt x="0" y="13288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77" name="Forma livre: Forma 976">
              <a:extLst>
                <a:ext uri="{FF2B5EF4-FFF2-40B4-BE49-F238E27FC236}">
                  <a16:creationId xmlns:a16="http://schemas.microsoft.com/office/drawing/2014/main" id="{EEA4F7C5-8138-138A-D85F-4BD0E19B18C3}"/>
                </a:ext>
              </a:extLst>
            </p:cNvPr>
            <p:cNvSpPr/>
            <p:nvPr/>
          </p:nvSpPr>
          <p:spPr>
            <a:xfrm>
              <a:off x="9443681" y="1560809"/>
              <a:ext cx="26539" cy="1184"/>
            </a:xfrm>
            <a:custGeom>
              <a:avLst/>
              <a:gdLst>
                <a:gd name="connsiteX0" fmla="*/ 0 w 26539"/>
                <a:gd name="connsiteY0" fmla="*/ 0 h 1184"/>
                <a:gd name="connsiteX1" fmla="*/ 26540 w 26539"/>
                <a:gd name="connsiteY1" fmla="*/ 0 h 11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6539" h="1184">
                  <a:moveTo>
                    <a:pt x="0" y="0"/>
                  </a:moveTo>
                  <a:lnTo>
                    <a:pt x="2654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78" name="Forma livre: Forma 977">
              <a:extLst>
                <a:ext uri="{FF2B5EF4-FFF2-40B4-BE49-F238E27FC236}">
                  <a16:creationId xmlns:a16="http://schemas.microsoft.com/office/drawing/2014/main" id="{6DF26479-D2E8-0CAE-5A3C-CCFB0D0F008D}"/>
                </a:ext>
              </a:extLst>
            </p:cNvPr>
            <p:cNvSpPr/>
            <p:nvPr/>
          </p:nvSpPr>
          <p:spPr>
            <a:xfrm>
              <a:off x="9176825" y="1688534"/>
              <a:ext cx="88869" cy="119317"/>
            </a:xfrm>
            <a:custGeom>
              <a:avLst/>
              <a:gdLst>
                <a:gd name="connsiteX0" fmla="*/ 21187 w 88869"/>
                <a:gd name="connsiteY0" fmla="*/ 39555 h 119317"/>
                <a:gd name="connsiteX1" fmla="*/ 0 w 88869"/>
                <a:gd name="connsiteY1" fmla="*/ 39555 h 119317"/>
                <a:gd name="connsiteX2" fmla="*/ 34096 w 88869"/>
                <a:gd name="connsiteY2" fmla="*/ 0 h 119317"/>
                <a:gd name="connsiteX3" fmla="*/ 34427 w 88869"/>
                <a:gd name="connsiteY3" fmla="*/ 0 h 119317"/>
                <a:gd name="connsiteX4" fmla="*/ 68523 w 88869"/>
                <a:gd name="connsiteY4" fmla="*/ 39555 h 119317"/>
                <a:gd name="connsiteX5" fmla="*/ 47324 w 88869"/>
                <a:gd name="connsiteY5" fmla="*/ 39555 h 119317"/>
                <a:gd name="connsiteX6" fmla="*/ 79099 w 88869"/>
                <a:gd name="connsiteY6" fmla="*/ 78589 h 119317"/>
                <a:gd name="connsiteX7" fmla="*/ 49148 w 88869"/>
                <a:gd name="connsiteY7" fmla="*/ 78589 h 119317"/>
                <a:gd name="connsiteX8" fmla="*/ 88869 w 88869"/>
                <a:gd name="connsiteY8" fmla="*/ 119317 h 119317"/>
                <a:gd name="connsiteX9" fmla="*/ 35694 w 88869"/>
                <a:gd name="connsiteY9" fmla="*/ 119317 h 1193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8869" h="119317">
                  <a:moveTo>
                    <a:pt x="21187" y="39555"/>
                  </a:moveTo>
                  <a:lnTo>
                    <a:pt x="0" y="39555"/>
                  </a:lnTo>
                  <a:lnTo>
                    <a:pt x="34096" y="0"/>
                  </a:lnTo>
                  <a:lnTo>
                    <a:pt x="34427" y="0"/>
                  </a:lnTo>
                  <a:lnTo>
                    <a:pt x="68523" y="39555"/>
                  </a:lnTo>
                  <a:lnTo>
                    <a:pt x="47324" y="39555"/>
                  </a:lnTo>
                  <a:lnTo>
                    <a:pt x="79099" y="78589"/>
                  </a:lnTo>
                  <a:lnTo>
                    <a:pt x="49148" y="78589"/>
                  </a:lnTo>
                  <a:lnTo>
                    <a:pt x="88869" y="119317"/>
                  </a:lnTo>
                  <a:lnTo>
                    <a:pt x="35694" y="119317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79" name="Forma livre: Forma 978">
              <a:extLst>
                <a:ext uri="{FF2B5EF4-FFF2-40B4-BE49-F238E27FC236}">
                  <a16:creationId xmlns:a16="http://schemas.microsoft.com/office/drawing/2014/main" id="{D38E91F6-2BBF-8231-8103-B8F433414836}"/>
                </a:ext>
              </a:extLst>
            </p:cNvPr>
            <p:cNvSpPr/>
            <p:nvPr/>
          </p:nvSpPr>
          <p:spPr>
            <a:xfrm>
              <a:off x="9166249" y="1747452"/>
              <a:ext cx="29962" cy="19671"/>
            </a:xfrm>
            <a:custGeom>
              <a:avLst/>
              <a:gdLst>
                <a:gd name="connsiteX0" fmla="*/ 29962 w 29962"/>
                <a:gd name="connsiteY0" fmla="*/ 19671 h 19671"/>
                <a:gd name="connsiteX1" fmla="*/ 0 w 29962"/>
                <a:gd name="connsiteY1" fmla="*/ 19671 h 19671"/>
                <a:gd name="connsiteX2" fmla="*/ 16012 w 29962"/>
                <a:gd name="connsiteY2" fmla="*/ 0 h 196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9962" h="19671">
                  <a:moveTo>
                    <a:pt x="29962" y="19671"/>
                  </a:moveTo>
                  <a:lnTo>
                    <a:pt x="0" y="19671"/>
                  </a:lnTo>
                  <a:lnTo>
                    <a:pt x="16012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80" name="Forma livre: Forma 979">
              <a:extLst>
                <a:ext uri="{FF2B5EF4-FFF2-40B4-BE49-F238E27FC236}">
                  <a16:creationId xmlns:a16="http://schemas.microsoft.com/office/drawing/2014/main" id="{8C560948-17FD-B0E4-12F2-B043C2F9A6AA}"/>
                </a:ext>
              </a:extLst>
            </p:cNvPr>
            <p:cNvSpPr/>
            <p:nvPr/>
          </p:nvSpPr>
          <p:spPr>
            <a:xfrm>
              <a:off x="9156479" y="1787813"/>
              <a:ext cx="36618" cy="20038"/>
            </a:xfrm>
            <a:custGeom>
              <a:avLst/>
              <a:gdLst>
                <a:gd name="connsiteX0" fmla="*/ 36618 w 36618"/>
                <a:gd name="connsiteY0" fmla="*/ 20038 h 20038"/>
                <a:gd name="connsiteX1" fmla="*/ 0 w 36618"/>
                <a:gd name="connsiteY1" fmla="*/ 20038 h 20038"/>
                <a:gd name="connsiteX2" fmla="*/ 19647 w 36618"/>
                <a:gd name="connsiteY2" fmla="*/ 0 h 200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6618" h="20038">
                  <a:moveTo>
                    <a:pt x="36618" y="20038"/>
                  </a:moveTo>
                  <a:lnTo>
                    <a:pt x="0" y="20038"/>
                  </a:lnTo>
                  <a:lnTo>
                    <a:pt x="19647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81" name="Forma livre: Forma 980">
              <a:extLst>
                <a:ext uri="{FF2B5EF4-FFF2-40B4-BE49-F238E27FC236}">
                  <a16:creationId xmlns:a16="http://schemas.microsoft.com/office/drawing/2014/main" id="{4047F7D0-308C-FA53-7CFC-F7C95D4F64B6}"/>
                </a:ext>
              </a:extLst>
            </p:cNvPr>
            <p:cNvSpPr/>
            <p:nvPr/>
          </p:nvSpPr>
          <p:spPr>
            <a:xfrm>
              <a:off x="9211086" y="1788192"/>
              <a:ext cx="1184" cy="54477"/>
            </a:xfrm>
            <a:custGeom>
              <a:avLst/>
              <a:gdLst>
                <a:gd name="connsiteX0" fmla="*/ 0 w 1184"/>
                <a:gd name="connsiteY0" fmla="*/ 0 h 54477"/>
                <a:gd name="connsiteX1" fmla="*/ 0 w 1184"/>
                <a:gd name="connsiteY1" fmla="*/ 54477 h 544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84" h="54477">
                  <a:moveTo>
                    <a:pt x="0" y="0"/>
                  </a:moveTo>
                  <a:lnTo>
                    <a:pt x="0" y="54477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82" name="Forma livre: Forma 981">
              <a:extLst>
                <a:ext uri="{FF2B5EF4-FFF2-40B4-BE49-F238E27FC236}">
                  <a16:creationId xmlns:a16="http://schemas.microsoft.com/office/drawing/2014/main" id="{96D8B227-4ED5-BEFE-C2BE-F5CA28A8410C}"/>
                </a:ext>
              </a:extLst>
            </p:cNvPr>
            <p:cNvSpPr/>
            <p:nvPr/>
          </p:nvSpPr>
          <p:spPr>
            <a:xfrm>
              <a:off x="9383685" y="1688534"/>
              <a:ext cx="88869" cy="119317"/>
            </a:xfrm>
            <a:custGeom>
              <a:avLst/>
              <a:gdLst>
                <a:gd name="connsiteX0" fmla="*/ 21187 w 88869"/>
                <a:gd name="connsiteY0" fmla="*/ 39555 h 119317"/>
                <a:gd name="connsiteX1" fmla="*/ 0 w 88869"/>
                <a:gd name="connsiteY1" fmla="*/ 39555 h 119317"/>
                <a:gd name="connsiteX2" fmla="*/ 34096 w 88869"/>
                <a:gd name="connsiteY2" fmla="*/ 0 h 119317"/>
                <a:gd name="connsiteX3" fmla="*/ 34415 w 88869"/>
                <a:gd name="connsiteY3" fmla="*/ 0 h 119317"/>
                <a:gd name="connsiteX4" fmla="*/ 68523 w 88869"/>
                <a:gd name="connsiteY4" fmla="*/ 39555 h 119317"/>
                <a:gd name="connsiteX5" fmla="*/ 47324 w 88869"/>
                <a:gd name="connsiteY5" fmla="*/ 39555 h 119317"/>
                <a:gd name="connsiteX6" fmla="*/ 79099 w 88869"/>
                <a:gd name="connsiteY6" fmla="*/ 78589 h 119317"/>
                <a:gd name="connsiteX7" fmla="*/ 49136 w 88869"/>
                <a:gd name="connsiteY7" fmla="*/ 78589 h 119317"/>
                <a:gd name="connsiteX8" fmla="*/ 88869 w 88869"/>
                <a:gd name="connsiteY8" fmla="*/ 119317 h 119317"/>
                <a:gd name="connsiteX9" fmla="*/ 35694 w 88869"/>
                <a:gd name="connsiteY9" fmla="*/ 119317 h 1193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8869" h="119317">
                  <a:moveTo>
                    <a:pt x="21187" y="39555"/>
                  </a:moveTo>
                  <a:lnTo>
                    <a:pt x="0" y="39555"/>
                  </a:lnTo>
                  <a:lnTo>
                    <a:pt x="34096" y="0"/>
                  </a:lnTo>
                  <a:lnTo>
                    <a:pt x="34415" y="0"/>
                  </a:lnTo>
                  <a:lnTo>
                    <a:pt x="68523" y="39555"/>
                  </a:lnTo>
                  <a:lnTo>
                    <a:pt x="47324" y="39555"/>
                  </a:lnTo>
                  <a:lnTo>
                    <a:pt x="79099" y="78589"/>
                  </a:lnTo>
                  <a:lnTo>
                    <a:pt x="49136" y="78589"/>
                  </a:lnTo>
                  <a:lnTo>
                    <a:pt x="88869" y="119317"/>
                  </a:lnTo>
                  <a:lnTo>
                    <a:pt x="35694" y="119317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83" name="Forma livre: Forma 982">
              <a:extLst>
                <a:ext uri="{FF2B5EF4-FFF2-40B4-BE49-F238E27FC236}">
                  <a16:creationId xmlns:a16="http://schemas.microsoft.com/office/drawing/2014/main" id="{E1F83539-461E-C851-DD85-BDCA47E8304F}"/>
                </a:ext>
              </a:extLst>
            </p:cNvPr>
            <p:cNvSpPr/>
            <p:nvPr/>
          </p:nvSpPr>
          <p:spPr>
            <a:xfrm>
              <a:off x="9373097" y="1747452"/>
              <a:ext cx="29962" cy="19671"/>
            </a:xfrm>
            <a:custGeom>
              <a:avLst/>
              <a:gdLst>
                <a:gd name="connsiteX0" fmla="*/ 29962 w 29962"/>
                <a:gd name="connsiteY0" fmla="*/ 19671 h 19671"/>
                <a:gd name="connsiteX1" fmla="*/ 0 w 29962"/>
                <a:gd name="connsiteY1" fmla="*/ 19671 h 19671"/>
                <a:gd name="connsiteX2" fmla="*/ 16011 w 29962"/>
                <a:gd name="connsiteY2" fmla="*/ 0 h 196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9962" h="19671">
                  <a:moveTo>
                    <a:pt x="29962" y="19671"/>
                  </a:moveTo>
                  <a:lnTo>
                    <a:pt x="0" y="19671"/>
                  </a:lnTo>
                  <a:lnTo>
                    <a:pt x="16011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84" name="Forma livre: Forma 983">
              <a:extLst>
                <a:ext uri="{FF2B5EF4-FFF2-40B4-BE49-F238E27FC236}">
                  <a16:creationId xmlns:a16="http://schemas.microsoft.com/office/drawing/2014/main" id="{E997600B-2615-DDA3-A981-B4497174A0CC}"/>
                </a:ext>
              </a:extLst>
            </p:cNvPr>
            <p:cNvSpPr/>
            <p:nvPr/>
          </p:nvSpPr>
          <p:spPr>
            <a:xfrm>
              <a:off x="9363327" y="1788109"/>
              <a:ext cx="36629" cy="19742"/>
            </a:xfrm>
            <a:custGeom>
              <a:avLst/>
              <a:gdLst>
                <a:gd name="connsiteX0" fmla="*/ 36630 w 36629"/>
                <a:gd name="connsiteY0" fmla="*/ 19742 h 19742"/>
                <a:gd name="connsiteX1" fmla="*/ 0 w 36629"/>
                <a:gd name="connsiteY1" fmla="*/ 19742 h 19742"/>
                <a:gd name="connsiteX2" fmla="*/ 19754 w 36629"/>
                <a:gd name="connsiteY2" fmla="*/ 0 h 197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6629" h="19742">
                  <a:moveTo>
                    <a:pt x="36630" y="19742"/>
                  </a:moveTo>
                  <a:lnTo>
                    <a:pt x="0" y="19742"/>
                  </a:lnTo>
                  <a:lnTo>
                    <a:pt x="19754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85" name="Forma livre: Forma 984">
              <a:extLst>
                <a:ext uri="{FF2B5EF4-FFF2-40B4-BE49-F238E27FC236}">
                  <a16:creationId xmlns:a16="http://schemas.microsoft.com/office/drawing/2014/main" id="{3F368638-155E-C9A7-7C81-AEAA74B99B5E}"/>
                </a:ext>
              </a:extLst>
            </p:cNvPr>
            <p:cNvSpPr/>
            <p:nvPr/>
          </p:nvSpPr>
          <p:spPr>
            <a:xfrm>
              <a:off x="9417946" y="1788192"/>
              <a:ext cx="1184" cy="54477"/>
            </a:xfrm>
            <a:custGeom>
              <a:avLst/>
              <a:gdLst>
                <a:gd name="connsiteX0" fmla="*/ 0 w 1184"/>
                <a:gd name="connsiteY0" fmla="*/ 0 h 54477"/>
                <a:gd name="connsiteX1" fmla="*/ 0 w 1184"/>
                <a:gd name="connsiteY1" fmla="*/ 54477 h 544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84" h="54477">
                  <a:moveTo>
                    <a:pt x="0" y="0"/>
                  </a:moveTo>
                  <a:lnTo>
                    <a:pt x="0" y="54477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86" name="Forma livre: Forma 985">
              <a:extLst>
                <a:ext uri="{FF2B5EF4-FFF2-40B4-BE49-F238E27FC236}">
                  <a16:creationId xmlns:a16="http://schemas.microsoft.com/office/drawing/2014/main" id="{7091AA93-D7A5-7ED7-E8C5-DABE05AE44E4}"/>
                </a:ext>
              </a:extLst>
            </p:cNvPr>
            <p:cNvSpPr/>
            <p:nvPr/>
          </p:nvSpPr>
          <p:spPr>
            <a:xfrm>
              <a:off x="9254680" y="1651276"/>
              <a:ext cx="88869" cy="119317"/>
            </a:xfrm>
            <a:custGeom>
              <a:avLst/>
              <a:gdLst>
                <a:gd name="connsiteX0" fmla="*/ 2795 w 88869"/>
                <a:gd name="connsiteY0" fmla="*/ 62471 h 119317"/>
                <a:gd name="connsiteX1" fmla="*/ 21187 w 88869"/>
                <a:gd name="connsiteY1" fmla="*/ 39543 h 119317"/>
                <a:gd name="connsiteX2" fmla="*/ 0 w 88869"/>
                <a:gd name="connsiteY2" fmla="*/ 39543 h 119317"/>
                <a:gd name="connsiteX3" fmla="*/ 34096 w 88869"/>
                <a:gd name="connsiteY3" fmla="*/ 0 h 119317"/>
                <a:gd name="connsiteX4" fmla="*/ 34415 w 88869"/>
                <a:gd name="connsiteY4" fmla="*/ 0 h 119317"/>
                <a:gd name="connsiteX5" fmla="*/ 68523 w 88869"/>
                <a:gd name="connsiteY5" fmla="*/ 39543 h 119317"/>
                <a:gd name="connsiteX6" fmla="*/ 47324 w 88869"/>
                <a:gd name="connsiteY6" fmla="*/ 39543 h 119317"/>
                <a:gd name="connsiteX7" fmla="*/ 79099 w 88869"/>
                <a:gd name="connsiteY7" fmla="*/ 78589 h 119317"/>
                <a:gd name="connsiteX8" fmla="*/ 49136 w 88869"/>
                <a:gd name="connsiteY8" fmla="*/ 78589 h 119317"/>
                <a:gd name="connsiteX9" fmla="*/ 88869 w 88869"/>
                <a:gd name="connsiteY9" fmla="*/ 119317 h 119317"/>
                <a:gd name="connsiteX10" fmla="*/ 35552 w 88869"/>
                <a:gd name="connsiteY10" fmla="*/ 119317 h 1193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8869" h="119317">
                  <a:moveTo>
                    <a:pt x="2795" y="62471"/>
                  </a:moveTo>
                  <a:lnTo>
                    <a:pt x="21187" y="39543"/>
                  </a:lnTo>
                  <a:lnTo>
                    <a:pt x="0" y="39543"/>
                  </a:lnTo>
                  <a:lnTo>
                    <a:pt x="34096" y="0"/>
                  </a:lnTo>
                  <a:lnTo>
                    <a:pt x="34415" y="0"/>
                  </a:lnTo>
                  <a:lnTo>
                    <a:pt x="68523" y="39543"/>
                  </a:lnTo>
                  <a:lnTo>
                    <a:pt x="47324" y="39543"/>
                  </a:lnTo>
                  <a:lnTo>
                    <a:pt x="79099" y="78589"/>
                  </a:lnTo>
                  <a:lnTo>
                    <a:pt x="49136" y="78589"/>
                  </a:lnTo>
                  <a:lnTo>
                    <a:pt x="88869" y="119317"/>
                  </a:lnTo>
                  <a:lnTo>
                    <a:pt x="35552" y="119317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87" name="Forma livre: Forma 986">
              <a:extLst>
                <a:ext uri="{FF2B5EF4-FFF2-40B4-BE49-F238E27FC236}">
                  <a16:creationId xmlns:a16="http://schemas.microsoft.com/office/drawing/2014/main" id="{A677F538-DE87-E35A-E88D-CF24E8362AF6}"/>
                </a:ext>
              </a:extLst>
            </p:cNvPr>
            <p:cNvSpPr/>
            <p:nvPr/>
          </p:nvSpPr>
          <p:spPr>
            <a:xfrm>
              <a:off x="9288942" y="1750922"/>
              <a:ext cx="1184" cy="54477"/>
            </a:xfrm>
            <a:custGeom>
              <a:avLst/>
              <a:gdLst>
                <a:gd name="connsiteX0" fmla="*/ 0 w 1184"/>
                <a:gd name="connsiteY0" fmla="*/ 0 h 54477"/>
                <a:gd name="connsiteX1" fmla="*/ 0 w 1184"/>
                <a:gd name="connsiteY1" fmla="*/ 54477 h 544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84" h="54477">
                  <a:moveTo>
                    <a:pt x="0" y="0"/>
                  </a:moveTo>
                  <a:lnTo>
                    <a:pt x="0" y="54477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88" name="Forma livre: Forma 987">
              <a:extLst>
                <a:ext uri="{FF2B5EF4-FFF2-40B4-BE49-F238E27FC236}">
                  <a16:creationId xmlns:a16="http://schemas.microsoft.com/office/drawing/2014/main" id="{1C6A8A59-CE3A-D750-C6F1-E2EF10120F73}"/>
                </a:ext>
              </a:extLst>
            </p:cNvPr>
            <p:cNvSpPr/>
            <p:nvPr/>
          </p:nvSpPr>
          <p:spPr>
            <a:xfrm>
              <a:off x="9251186" y="1502861"/>
              <a:ext cx="48319" cy="48319"/>
            </a:xfrm>
            <a:custGeom>
              <a:avLst/>
              <a:gdLst>
                <a:gd name="connsiteX0" fmla="*/ 48319 w 48319"/>
                <a:gd name="connsiteY0" fmla="*/ 24159 h 48319"/>
                <a:gd name="connsiteX1" fmla="*/ 24160 w 48319"/>
                <a:gd name="connsiteY1" fmla="*/ 48319 h 48319"/>
                <a:gd name="connsiteX2" fmla="*/ 0 w 48319"/>
                <a:gd name="connsiteY2" fmla="*/ 24159 h 48319"/>
                <a:gd name="connsiteX3" fmla="*/ 24160 w 48319"/>
                <a:gd name="connsiteY3" fmla="*/ 0 h 48319"/>
                <a:gd name="connsiteX4" fmla="*/ 48319 w 48319"/>
                <a:gd name="connsiteY4" fmla="*/ 24159 h 483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8319" h="48319">
                  <a:moveTo>
                    <a:pt x="48319" y="24159"/>
                  </a:moveTo>
                  <a:cubicBezTo>
                    <a:pt x="48319" y="37506"/>
                    <a:pt x="37506" y="48319"/>
                    <a:pt x="24160" y="48319"/>
                  </a:cubicBezTo>
                  <a:cubicBezTo>
                    <a:pt x="10813" y="48319"/>
                    <a:pt x="0" y="37495"/>
                    <a:pt x="0" y="24159"/>
                  </a:cubicBezTo>
                  <a:cubicBezTo>
                    <a:pt x="0" y="10824"/>
                    <a:pt x="10824" y="0"/>
                    <a:pt x="24160" y="0"/>
                  </a:cubicBezTo>
                  <a:cubicBezTo>
                    <a:pt x="37495" y="0"/>
                    <a:pt x="48319" y="10824"/>
                    <a:pt x="48319" y="24159"/>
                  </a:cubicBez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89" name="Forma livre: Forma 988">
              <a:extLst>
                <a:ext uri="{FF2B5EF4-FFF2-40B4-BE49-F238E27FC236}">
                  <a16:creationId xmlns:a16="http://schemas.microsoft.com/office/drawing/2014/main" id="{830972AF-33AA-6CE3-4D5C-F6E0E9AE5F0D}"/>
                </a:ext>
              </a:extLst>
            </p:cNvPr>
            <p:cNvSpPr/>
            <p:nvPr/>
          </p:nvSpPr>
          <p:spPr>
            <a:xfrm>
              <a:off x="9154276" y="1548468"/>
              <a:ext cx="217613" cy="109653"/>
            </a:xfrm>
            <a:custGeom>
              <a:avLst/>
              <a:gdLst>
                <a:gd name="connsiteX0" fmla="*/ 0 w 217613"/>
                <a:gd name="connsiteY0" fmla="*/ 55650 h 109653"/>
                <a:gd name="connsiteX1" fmla="*/ 57793 w 217613"/>
                <a:gd name="connsiteY1" fmla="*/ 0 h 109653"/>
                <a:gd name="connsiteX2" fmla="*/ 217613 w 217613"/>
                <a:gd name="connsiteY2" fmla="*/ 109653 h 109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17613" h="109653">
                  <a:moveTo>
                    <a:pt x="0" y="55650"/>
                  </a:moveTo>
                  <a:lnTo>
                    <a:pt x="57793" y="0"/>
                  </a:lnTo>
                  <a:lnTo>
                    <a:pt x="217613" y="109653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90" name="Forma livre: Forma 989">
              <a:extLst>
                <a:ext uri="{FF2B5EF4-FFF2-40B4-BE49-F238E27FC236}">
                  <a16:creationId xmlns:a16="http://schemas.microsoft.com/office/drawing/2014/main" id="{95AADF4C-5FE2-9DE9-19D5-202BDDA698D4}"/>
                </a:ext>
              </a:extLst>
            </p:cNvPr>
            <p:cNvSpPr/>
            <p:nvPr/>
          </p:nvSpPr>
          <p:spPr>
            <a:xfrm>
              <a:off x="9304479" y="1559293"/>
              <a:ext cx="68949" cy="32721"/>
            </a:xfrm>
            <a:custGeom>
              <a:avLst/>
              <a:gdLst>
                <a:gd name="connsiteX0" fmla="*/ 0 w 68949"/>
                <a:gd name="connsiteY0" fmla="*/ 20607 h 32721"/>
                <a:gd name="connsiteX1" fmla="*/ 28068 w 68949"/>
                <a:gd name="connsiteY1" fmla="*/ 0 h 32721"/>
                <a:gd name="connsiteX2" fmla="*/ 68949 w 68949"/>
                <a:gd name="connsiteY2" fmla="*/ 32722 h 327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8949" h="32721">
                  <a:moveTo>
                    <a:pt x="0" y="20607"/>
                  </a:moveTo>
                  <a:lnTo>
                    <a:pt x="28068" y="0"/>
                  </a:lnTo>
                  <a:lnTo>
                    <a:pt x="68949" y="32722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91" name="Forma livre: Forma 990">
              <a:extLst>
                <a:ext uri="{FF2B5EF4-FFF2-40B4-BE49-F238E27FC236}">
                  <a16:creationId xmlns:a16="http://schemas.microsoft.com/office/drawing/2014/main" id="{245168F7-C51C-17C3-7071-5A5E1FAEE483}"/>
                </a:ext>
              </a:extLst>
            </p:cNvPr>
            <p:cNvSpPr/>
            <p:nvPr/>
          </p:nvSpPr>
          <p:spPr>
            <a:xfrm>
              <a:off x="9327289" y="1574203"/>
              <a:ext cx="138881" cy="52321"/>
            </a:xfrm>
            <a:custGeom>
              <a:avLst/>
              <a:gdLst>
                <a:gd name="connsiteX0" fmla="*/ 0 w 138881"/>
                <a:gd name="connsiteY0" fmla="*/ 50735 h 52321"/>
                <a:gd name="connsiteX1" fmla="*/ 71353 w 138881"/>
                <a:gd name="connsiteY1" fmla="*/ 0 h 52321"/>
                <a:gd name="connsiteX2" fmla="*/ 138882 w 138881"/>
                <a:gd name="connsiteY2" fmla="*/ 52322 h 523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38881" h="52321">
                  <a:moveTo>
                    <a:pt x="0" y="50735"/>
                  </a:moveTo>
                  <a:lnTo>
                    <a:pt x="71353" y="0"/>
                  </a:lnTo>
                  <a:lnTo>
                    <a:pt x="138882" y="52322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92" name="Forma livre: Forma 991">
              <a:extLst>
                <a:ext uri="{FF2B5EF4-FFF2-40B4-BE49-F238E27FC236}">
                  <a16:creationId xmlns:a16="http://schemas.microsoft.com/office/drawing/2014/main" id="{2F20AF2E-3739-D72B-EE64-288B7A843DC0}"/>
                </a:ext>
              </a:extLst>
            </p:cNvPr>
            <p:cNvSpPr/>
            <p:nvPr/>
          </p:nvSpPr>
          <p:spPr>
            <a:xfrm>
              <a:off x="9214367" y="1553063"/>
              <a:ext cx="39034" cy="107616"/>
            </a:xfrm>
            <a:custGeom>
              <a:avLst/>
              <a:gdLst>
                <a:gd name="connsiteX0" fmla="*/ 0 w 39034"/>
                <a:gd name="connsiteY0" fmla="*/ 0 h 107616"/>
                <a:gd name="connsiteX1" fmla="*/ 31159 w 39034"/>
                <a:gd name="connsiteY1" fmla="*/ 58587 h 107616"/>
                <a:gd name="connsiteX2" fmla="*/ 14436 w 39034"/>
                <a:gd name="connsiteY2" fmla="*/ 76197 h 107616"/>
                <a:gd name="connsiteX3" fmla="*/ 39034 w 39034"/>
                <a:gd name="connsiteY3" fmla="*/ 107616 h 1076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034" h="107616">
                  <a:moveTo>
                    <a:pt x="0" y="0"/>
                  </a:moveTo>
                  <a:lnTo>
                    <a:pt x="31159" y="58587"/>
                  </a:lnTo>
                  <a:lnTo>
                    <a:pt x="14436" y="76197"/>
                  </a:lnTo>
                  <a:lnTo>
                    <a:pt x="39034" y="107616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993" name="Gráfico 10">
            <a:extLst>
              <a:ext uri="{FF2B5EF4-FFF2-40B4-BE49-F238E27FC236}">
                <a16:creationId xmlns:a16="http://schemas.microsoft.com/office/drawing/2014/main" id="{72448C66-40A2-9C0A-7BBD-478098DA6216}"/>
              </a:ext>
            </a:extLst>
          </p:cNvPr>
          <p:cNvGrpSpPr/>
          <p:nvPr/>
        </p:nvGrpSpPr>
        <p:grpSpPr>
          <a:xfrm>
            <a:off x="9123982" y="3149327"/>
            <a:ext cx="384929" cy="247264"/>
            <a:chOff x="9123982" y="3149327"/>
            <a:chExt cx="384929" cy="247264"/>
          </a:xfrm>
          <a:noFill/>
        </p:grpSpPr>
        <p:grpSp>
          <p:nvGrpSpPr>
            <p:cNvPr id="994" name="Gráfico 10">
              <a:extLst>
                <a:ext uri="{FF2B5EF4-FFF2-40B4-BE49-F238E27FC236}">
                  <a16:creationId xmlns:a16="http://schemas.microsoft.com/office/drawing/2014/main" id="{241EA45C-4BD4-29E2-5C0E-9EF43D48CDF9}"/>
                </a:ext>
              </a:extLst>
            </p:cNvPr>
            <p:cNvGrpSpPr/>
            <p:nvPr/>
          </p:nvGrpSpPr>
          <p:grpSpPr>
            <a:xfrm>
              <a:off x="9123982" y="3344691"/>
              <a:ext cx="78163" cy="1184"/>
              <a:chOff x="9123982" y="3344691"/>
              <a:chExt cx="78163" cy="1184"/>
            </a:xfrm>
          </p:grpSpPr>
          <p:sp>
            <p:nvSpPr>
              <p:cNvPr id="995" name="Forma livre: Forma 994">
                <a:extLst>
                  <a:ext uri="{FF2B5EF4-FFF2-40B4-BE49-F238E27FC236}">
                    <a16:creationId xmlns:a16="http://schemas.microsoft.com/office/drawing/2014/main" id="{96D6A684-02E8-D34B-7626-4F02BA3737D9}"/>
                  </a:ext>
                </a:extLst>
              </p:cNvPr>
              <p:cNvSpPr/>
              <p:nvPr/>
            </p:nvSpPr>
            <p:spPr>
              <a:xfrm>
                <a:off x="9123982" y="3344691"/>
                <a:ext cx="14886" cy="1184"/>
              </a:xfrm>
              <a:custGeom>
                <a:avLst/>
                <a:gdLst>
                  <a:gd name="connsiteX0" fmla="*/ 0 w 14886"/>
                  <a:gd name="connsiteY0" fmla="*/ 0 h 1184"/>
                  <a:gd name="connsiteX1" fmla="*/ 14887 w 14886"/>
                  <a:gd name="connsiteY1" fmla="*/ 0 h 11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4886" h="1184">
                    <a:moveTo>
                      <a:pt x="0" y="0"/>
                    </a:moveTo>
                    <a:lnTo>
                      <a:pt x="14887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96" name="Forma livre: Forma 995">
                <a:extLst>
                  <a:ext uri="{FF2B5EF4-FFF2-40B4-BE49-F238E27FC236}">
                    <a16:creationId xmlns:a16="http://schemas.microsoft.com/office/drawing/2014/main" id="{53ED118F-E41F-21C0-1772-374FCD3BDD2D}"/>
                  </a:ext>
                </a:extLst>
              </p:cNvPr>
              <p:cNvSpPr/>
              <p:nvPr/>
            </p:nvSpPr>
            <p:spPr>
              <a:xfrm>
                <a:off x="9163845" y="3344691"/>
                <a:ext cx="38299" cy="1184"/>
              </a:xfrm>
              <a:custGeom>
                <a:avLst/>
                <a:gdLst>
                  <a:gd name="connsiteX0" fmla="*/ 0 w 38299"/>
                  <a:gd name="connsiteY0" fmla="*/ 0 h 1184"/>
                  <a:gd name="connsiteX1" fmla="*/ 38300 w 38299"/>
                  <a:gd name="connsiteY1" fmla="*/ 0 h 11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8299" h="1184">
                    <a:moveTo>
                      <a:pt x="0" y="0"/>
                    </a:moveTo>
                    <a:lnTo>
                      <a:pt x="3830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997" name="Forma livre: Forma 996">
              <a:extLst>
                <a:ext uri="{FF2B5EF4-FFF2-40B4-BE49-F238E27FC236}">
                  <a16:creationId xmlns:a16="http://schemas.microsoft.com/office/drawing/2014/main" id="{C7CFDAD0-3EB1-BC0D-8F37-5F7AAF7C3A71}"/>
                </a:ext>
              </a:extLst>
            </p:cNvPr>
            <p:cNvSpPr/>
            <p:nvPr/>
          </p:nvSpPr>
          <p:spPr>
            <a:xfrm>
              <a:off x="9460604" y="3359258"/>
              <a:ext cx="24479" cy="1184"/>
            </a:xfrm>
            <a:custGeom>
              <a:avLst/>
              <a:gdLst>
                <a:gd name="connsiteX0" fmla="*/ 0 w 24479"/>
                <a:gd name="connsiteY0" fmla="*/ 0 h 1184"/>
                <a:gd name="connsiteX1" fmla="*/ 24479 w 24479"/>
                <a:gd name="connsiteY1" fmla="*/ 0 h 11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4479" h="1184">
                  <a:moveTo>
                    <a:pt x="0" y="0"/>
                  </a:moveTo>
                  <a:lnTo>
                    <a:pt x="24479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98" name="Forma livre: Forma 997">
              <a:extLst>
                <a:ext uri="{FF2B5EF4-FFF2-40B4-BE49-F238E27FC236}">
                  <a16:creationId xmlns:a16="http://schemas.microsoft.com/office/drawing/2014/main" id="{37A203C8-2F7F-ADE4-1373-5CAF815CE95C}"/>
                </a:ext>
              </a:extLst>
            </p:cNvPr>
            <p:cNvSpPr/>
            <p:nvPr/>
          </p:nvSpPr>
          <p:spPr>
            <a:xfrm>
              <a:off x="9145157" y="3371456"/>
              <a:ext cx="31052" cy="1184"/>
            </a:xfrm>
            <a:custGeom>
              <a:avLst/>
              <a:gdLst>
                <a:gd name="connsiteX0" fmla="*/ 31052 w 31052"/>
                <a:gd name="connsiteY0" fmla="*/ 0 h 1184"/>
                <a:gd name="connsiteX1" fmla="*/ 0 w 31052"/>
                <a:gd name="connsiteY1" fmla="*/ 0 h 11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1052" h="1184">
                  <a:moveTo>
                    <a:pt x="31052" y="0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999" name="Forma livre: Forma 998">
              <a:extLst>
                <a:ext uri="{FF2B5EF4-FFF2-40B4-BE49-F238E27FC236}">
                  <a16:creationId xmlns:a16="http://schemas.microsoft.com/office/drawing/2014/main" id="{8A158492-91E4-6DA8-37D8-0A64DE98585F}"/>
                </a:ext>
              </a:extLst>
            </p:cNvPr>
            <p:cNvSpPr/>
            <p:nvPr/>
          </p:nvSpPr>
          <p:spPr>
            <a:xfrm>
              <a:off x="9156834" y="3181721"/>
              <a:ext cx="51481" cy="51492"/>
            </a:xfrm>
            <a:custGeom>
              <a:avLst/>
              <a:gdLst>
                <a:gd name="connsiteX0" fmla="*/ 51481 w 51481"/>
                <a:gd name="connsiteY0" fmla="*/ 25746 h 51492"/>
                <a:gd name="connsiteX1" fmla="*/ 25735 w 51481"/>
                <a:gd name="connsiteY1" fmla="*/ 51493 h 51492"/>
                <a:gd name="connsiteX2" fmla="*/ 0 w 51481"/>
                <a:gd name="connsiteY2" fmla="*/ 25746 h 51492"/>
                <a:gd name="connsiteX3" fmla="*/ 25735 w 51481"/>
                <a:gd name="connsiteY3" fmla="*/ 0 h 51492"/>
                <a:gd name="connsiteX4" fmla="*/ 51481 w 51481"/>
                <a:gd name="connsiteY4" fmla="*/ 25746 h 514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1481" h="51492">
                  <a:moveTo>
                    <a:pt x="51481" y="25746"/>
                  </a:moveTo>
                  <a:cubicBezTo>
                    <a:pt x="51481" y="39958"/>
                    <a:pt x="39958" y="51493"/>
                    <a:pt x="25735" y="51493"/>
                  </a:cubicBezTo>
                  <a:cubicBezTo>
                    <a:pt x="11511" y="51493"/>
                    <a:pt x="0" y="39970"/>
                    <a:pt x="0" y="25746"/>
                  </a:cubicBezTo>
                  <a:cubicBezTo>
                    <a:pt x="0" y="11523"/>
                    <a:pt x="11523" y="0"/>
                    <a:pt x="25735" y="0"/>
                  </a:cubicBezTo>
                  <a:cubicBezTo>
                    <a:pt x="39946" y="0"/>
                    <a:pt x="51481" y="11523"/>
                    <a:pt x="51481" y="25746"/>
                  </a:cubicBez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000" name="Gráfico 10">
              <a:extLst>
                <a:ext uri="{FF2B5EF4-FFF2-40B4-BE49-F238E27FC236}">
                  <a16:creationId xmlns:a16="http://schemas.microsoft.com/office/drawing/2014/main" id="{48D579AF-6ADA-941E-7568-15F995EC3C64}"/>
                </a:ext>
              </a:extLst>
            </p:cNvPr>
            <p:cNvGrpSpPr/>
            <p:nvPr/>
          </p:nvGrpSpPr>
          <p:grpSpPr>
            <a:xfrm>
              <a:off x="9213799" y="3164194"/>
              <a:ext cx="260614" cy="232398"/>
              <a:chOff x="9213799" y="3164194"/>
              <a:chExt cx="260614" cy="232398"/>
            </a:xfrm>
            <a:noFill/>
          </p:grpSpPr>
          <p:sp>
            <p:nvSpPr>
              <p:cNvPr id="1001" name="Forma livre: Forma 1000">
                <a:extLst>
                  <a:ext uri="{FF2B5EF4-FFF2-40B4-BE49-F238E27FC236}">
                    <a16:creationId xmlns:a16="http://schemas.microsoft.com/office/drawing/2014/main" id="{11172321-9D17-782B-09E5-9659A90BCBE8}"/>
                  </a:ext>
                </a:extLst>
              </p:cNvPr>
              <p:cNvSpPr/>
              <p:nvPr/>
            </p:nvSpPr>
            <p:spPr>
              <a:xfrm>
                <a:off x="9226044" y="3164194"/>
                <a:ext cx="236135" cy="119956"/>
              </a:xfrm>
              <a:custGeom>
                <a:avLst/>
                <a:gdLst>
                  <a:gd name="connsiteX0" fmla="*/ 117943 w 236135"/>
                  <a:gd name="connsiteY0" fmla="*/ 0 h 119956"/>
                  <a:gd name="connsiteX1" fmla="*/ 20986 w 236135"/>
                  <a:gd name="connsiteY1" fmla="*/ 77227 h 119956"/>
                  <a:gd name="connsiteX2" fmla="*/ 0 w 236135"/>
                  <a:gd name="connsiteY2" fmla="*/ 119957 h 119956"/>
                  <a:gd name="connsiteX3" fmla="*/ 236135 w 236135"/>
                  <a:gd name="connsiteY3" fmla="*/ 119957 h 119956"/>
                  <a:gd name="connsiteX4" fmla="*/ 215150 w 236135"/>
                  <a:gd name="connsiteY4" fmla="*/ 77227 h 119956"/>
                  <a:gd name="connsiteX5" fmla="*/ 118192 w 236135"/>
                  <a:gd name="connsiteY5" fmla="*/ 0 h 119956"/>
                  <a:gd name="connsiteX6" fmla="*/ 117955 w 236135"/>
                  <a:gd name="connsiteY6" fmla="*/ 0 h 1199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36135" h="119956">
                    <a:moveTo>
                      <a:pt x="117943" y="0"/>
                    </a:moveTo>
                    <a:lnTo>
                      <a:pt x="20986" y="77227"/>
                    </a:lnTo>
                    <a:cubicBezTo>
                      <a:pt x="20986" y="77227"/>
                      <a:pt x="0" y="90527"/>
                      <a:pt x="0" y="119957"/>
                    </a:cubicBezTo>
                    <a:lnTo>
                      <a:pt x="236135" y="119957"/>
                    </a:lnTo>
                    <a:cubicBezTo>
                      <a:pt x="236135" y="90515"/>
                      <a:pt x="215150" y="77227"/>
                      <a:pt x="215150" y="77227"/>
                    </a:cubicBezTo>
                    <a:lnTo>
                      <a:pt x="118192" y="0"/>
                    </a:lnTo>
                    <a:lnTo>
                      <a:pt x="117955" y="0"/>
                    </a:lnTo>
                    <a:close/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002" name="Forma livre: Forma 1001">
                <a:extLst>
                  <a:ext uri="{FF2B5EF4-FFF2-40B4-BE49-F238E27FC236}">
                    <a16:creationId xmlns:a16="http://schemas.microsoft.com/office/drawing/2014/main" id="{A4691F49-0B48-AE56-D8A0-7F950C6472F8}"/>
                  </a:ext>
                </a:extLst>
              </p:cNvPr>
              <p:cNvSpPr/>
              <p:nvPr/>
            </p:nvSpPr>
            <p:spPr>
              <a:xfrm>
                <a:off x="9321960" y="3196631"/>
                <a:ext cx="14531" cy="31525"/>
              </a:xfrm>
              <a:custGeom>
                <a:avLst/>
                <a:gdLst>
                  <a:gd name="connsiteX0" fmla="*/ 14531 w 14531"/>
                  <a:gd name="connsiteY0" fmla="*/ 0 h 31525"/>
                  <a:gd name="connsiteX1" fmla="*/ 0 w 14531"/>
                  <a:gd name="connsiteY1" fmla="*/ 31526 h 31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4531" h="31525">
                    <a:moveTo>
                      <a:pt x="14531" y="0"/>
                    </a:moveTo>
                    <a:lnTo>
                      <a:pt x="0" y="31526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003" name="Forma livre: Forma 1002">
                <a:extLst>
                  <a:ext uri="{FF2B5EF4-FFF2-40B4-BE49-F238E27FC236}">
                    <a16:creationId xmlns:a16="http://schemas.microsoft.com/office/drawing/2014/main" id="{49DAED4A-DF54-605A-DD8A-35951B26D81B}"/>
                  </a:ext>
                </a:extLst>
              </p:cNvPr>
              <p:cNvSpPr/>
              <p:nvPr/>
            </p:nvSpPr>
            <p:spPr>
              <a:xfrm>
                <a:off x="9267541" y="3232468"/>
                <a:ext cx="24502" cy="29855"/>
              </a:xfrm>
              <a:custGeom>
                <a:avLst/>
                <a:gdLst>
                  <a:gd name="connsiteX0" fmla="*/ 24503 w 24502"/>
                  <a:gd name="connsiteY0" fmla="*/ 0 h 29855"/>
                  <a:gd name="connsiteX1" fmla="*/ 0 w 24502"/>
                  <a:gd name="connsiteY1" fmla="*/ 29856 h 298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4502" h="29855">
                    <a:moveTo>
                      <a:pt x="24503" y="0"/>
                    </a:moveTo>
                    <a:lnTo>
                      <a:pt x="0" y="29856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004" name="Forma livre: Forma 1003">
                <a:extLst>
                  <a:ext uri="{FF2B5EF4-FFF2-40B4-BE49-F238E27FC236}">
                    <a16:creationId xmlns:a16="http://schemas.microsoft.com/office/drawing/2014/main" id="{DE1A9504-1921-616B-F282-A561A97C11BD}"/>
                  </a:ext>
                </a:extLst>
              </p:cNvPr>
              <p:cNvSpPr/>
              <p:nvPr/>
            </p:nvSpPr>
            <p:spPr>
              <a:xfrm>
                <a:off x="9308790" y="3249036"/>
                <a:ext cx="4038" cy="13086"/>
              </a:xfrm>
              <a:custGeom>
                <a:avLst/>
                <a:gdLst>
                  <a:gd name="connsiteX0" fmla="*/ 4038 w 4038"/>
                  <a:gd name="connsiteY0" fmla="*/ 0 h 13086"/>
                  <a:gd name="connsiteX1" fmla="*/ 0 w 4038"/>
                  <a:gd name="connsiteY1" fmla="*/ 13086 h 130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038" h="13086">
                    <a:moveTo>
                      <a:pt x="4038" y="0"/>
                    </a:moveTo>
                    <a:lnTo>
                      <a:pt x="0" y="13086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005" name="Forma livre: Forma 1004">
                <a:extLst>
                  <a:ext uri="{FF2B5EF4-FFF2-40B4-BE49-F238E27FC236}">
                    <a16:creationId xmlns:a16="http://schemas.microsoft.com/office/drawing/2014/main" id="{1DB4CA3E-2664-6A0B-C455-F9858BD21D39}"/>
                  </a:ext>
                </a:extLst>
              </p:cNvPr>
              <p:cNvSpPr/>
              <p:nvPr/>
            </p:nvSpPr>
            <p:spPr>
              <a:xfrm>
                <a:off x="9397778" y="3234564"/>
                <a:ext cx="20511" cy="26989"/>
              </a:xfrm>
              <a:custGeom>
                <a:avLst/>
                <a:gdLst>
                  <a:gd name="connsiteX0" fmla="*/ 0 w 20511"/>
                  <a:gd name="connsiteY0" fmla="*/ 0 h 26989"/>
                  <a:gd name="connsiteX1" fmla="*/ 20512 w 20511"/>
                  <a:gd name="connsiteY1" fmla="*/ 26990 h 269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0511" h="26989">
                    <a:moveTo>
                      <a:pt x="0" y="0"/>
                    </a:moveTo>
                    <a:lnTo>
                      <a:pt x="20512" y="2699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006" name="Forma livre: Forma 1005">
                <a:extLst>
                  <a:ext uri="{FF2B5EF4-FFF2-40B4-BE49-F238E27FC236}">
                    <a16:creationId xmlns:a16="http://schemas.microsoft.com/office/drawing/2014/main" id="{44053C34-95CC-EC9A-092A-E8567B138E4A}"/>
                  </a:ext>
                </a:extLst>
              </p:cNvPr>
              <p:cNvSpPr/>
              <p:nvPr/>
            </p:nvSpPr>
            <p:spPr>
              <a:xfrm>
                <a:off x="9347327" y="3239455"/>
                <a:ext cx="5045" cy="24135"/>
              </a:xfrm>
              <a:custGeom>
                <a:avLst/>
                <a:gdLst>
                  <a:gd name="connsiteX0" fmla="*/ 0 w 5045"/>
                  <a:gd name="connsiteY0" fmla="*/ 0 h 24135"/>
                  <a:gd name="connsiteX1" fmla="*/ 5045 w 5045"/>
                  <a:gd name="connsiteY1" fmla="*/ 24136 h 241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045" h="24135">
                    <a:moveTo>
                      <a:pt x="0" y="0"/>
                    </a:moveTo>
                    <a:lnTo>
                      <a:pt x="5045" y="24136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007" name="Forma livre: Forma 1006">
                <a:extLst>
                  <a:ext uri="{FF2B5EF4-FFF2-40B4-BE49-F238E27FC236}">
                    <a16:creationId xmlns:a16="http://schemas.microsoft.com/office/drawing/2014/main" id="{64AD458B-54A8-588B-CEA3-3E018EE014E2}"/>
                  </a:ext>
                </a:extLst>
              </p:cNvPr>
              <p:cNvSpPr/>
              <p:nvPr/>
            </p:nvSpPr>
            <p:spPr>
              <a:xfrm>
                <a:off x="9357761" y="3208391"/>
                <a:ext cx="23081" cy="43084"/>
              </a:xfrm>
              <a:custGeom>
                <a:avLst/>
                <a:gdLst>
                  <a:gd name="connsiteX0" fmla="*/ 0 w 23081"/>
                  <a:gd name="connsiteY0" fmla="*/ 0 h 43084"/>
                  <a:gd name="connsiteX1" fmla="*/ 23082 w 23081"/>
                  <a:gd name="connsiteY1" fmla="*/ 43084 h 430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3081" h="43084">
                    <a:moveTo>
                      <a:pt x="0" y="0"/>
                    </a:moveTo>
                    <a:lnTo>
                      <a:pt x="23082" y="43084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1008" name="Gráfico 10">
                <a:extLst>
                  <a:ext uri="{FF2B5EF4-FFF2-40B4-BE49-F238E27FC236}">
                    <a16:creationId xmlns:a16="http://schemas.microsoft.com/office/drawing/2014/main" id="{9B9EE3DB-4873-0B3A-FD44-12750EE5B3E3}"/>
                  </a:ext>
                </a:extLst>
              </p:cNvPr>
              <p:cNvGrpSpPr/>
              <p:nvPr/>
            </p:nvGrpSpPr>
            <p:grpSpPr>
              <a:xfrm>
                <a:off x="9244791" y="3284482"/>
                <a:ext cx="198640" cy="50971"/>
                <a:chOff x="9244791" y="3284482"/>
                <a:chExt cx="198640" cy="50971"/>
              </a:xfrm>
            </p:grpSpPr>
            <p:sp>
              <p:nvSpPr>
                <p:cNvPr id="1009" name="Forma livre: Forma 1008">
                  <a:extLst>
                    <a:ext uri="{FF2B5EF4-FFF2-40B4-BE49-F238E27FC236}">
                      <a16:creationId xmlns:a16="http://schemas.microsoft.com/office/drawing/2014/main" id="{F7A3270C-60EB-2BBF-8A75-6CC28D71EB3B}"/>
                    </a:ext>
                  </a:extLst>
                </p:cNvPr>
                <p:cNvSpPr/>
                <p:nvPr/>
              </p:nvSpPr>
              <p:spPr>
                <a:xfrm>
                  <a:off x="9244791" y="3284482"/>
                  <a:ext cx="1184" cy="50971"/>
                </a:xfrm>
                <a:custGeom>
                  <a:avLst/>
                  <a:gdLst>
                    <a:gd name="connsiteX0" fmla="*/ 0 w 1184"/>
                    <a:gd name="connsiteY0" fmla="*/ 0 h 50971"/>
                    <a:gd name="connsiteX1" fmla="*/ 0 w 1184"/>
                    <a:gd name="connsiteY1" fmla="*/ 50972 h 509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184" h="50971">
                      <a:moveTo>
                        <a:pt x="0" y="0"/>
                      </a:moveTo>
                      <a:lnTo>
                        <a:pt x="0" y="50972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010" name="Forma livre: Forma 1009">
                  <a:extLst>
                    <a:ext uri="{FF2B5EF4-FFF2-40B4-BE49-F238E27FC236}">
                      <a16:creationId xmlns:a16="http://schemas.microsoft.com/office/drawing/2014/main" id="{7F3C1E74-E4B1-3087-14CA-3E82A694E0CB}"/>
                    </a:ext>
                  </a:extLst>
                </p:cNvPr>
                <p:cNvSpPr/>
                <p:nvPr/>
              </p:nvSpPr>
              <p:spPr>
                <a:xfrm>
                  <a:off x="9443432" y="3284482"/>
                  <a:ext cx="1184" cy="50971"/>
                </a:xfrm>
                <a:custGeom>
                  <a:avLst/>
                  <a:gdLst>
                    <a:gd name="connsiteX0" fmla="*/ 0 w 1184"/>
                    <a:gd name="connsiteY0" fmla="*/ 0 h 50971"/>
                    <a:gd name="connsiteX1" fmla="*/ 0 w 1184"/>
                    <a:gd name="connsiteY1" fmla="*/ 50972 h 509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184" h="50971">
                      <a:moveTo>
                        <a:pt x="0" y="0"/>
                      </a:moveTo>
                      <a:lnTo>
                        <a:pt x="0" y="50972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1011" name="Forma livre: Forma 1010">
                <a:extLst>
                  <a:ext uri="{FF2B5EF4-FFF2-40B4-BE49-F238E27FC236}">
                    <a16:creationId xmlns:a16="http://schemas.microsoft.com/office/drawing/2014/main" id="{8090489A-C439-5248-42F3-BB134793E19A}"/>
                  </a:ext>
                </a:extLst>
              </p:cNvPr>
              <p:cNvSpPr/>
              <p:nvPr/>
            </p:nvSpPr>
            <p:spPr>
              <a:xfrm>
                <a:off x="9231279" y="3336223"/>
                <a:ext cx="225654" cy="1184"/>
              </a:xfrm>
              <a:custGeom>
                <a:avLst/>
                <a:gdLst>
                  <a:gd name="connsiteX0" fmla="*/ 0 w 225654"/>
                  <a:gd name="connsiteY0" fmla="*/ 0 h 1184"/>
                  <a:gd name="connsiteX1" fmla="*/ 225654 w 225654"/>
                  <a:gd name="connsiteY1" fmla="*/ 0 h 11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25654" h="1184">
                    <a:moveTo>
                      <a:pt x="0" y="0"/>
                    </a:moveTo>
                    <a:lnTo>
                      <a:pt x="225654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1012" name="Gráfico 10">
                <a:extLst>
                  <a:ext uri="{FF2B5EF4-FFF2-40B4-BE49-F238E27FC236}">
                    <a16:creationId xmlns:a16="http://schemas.microsoft.com/office/drawing/2014/main" id="{39CAD2B2-B6A8-C584-39BF-18E5BB87B167}"/>
                  </a:ext>
                </a:extLst>
              </p:cNvPr>
              <p:cNvGrpSpPr/>
              <p:nvPr/>
            </p:nvGrpSpPr>
            <p:grpSpPr>
              <a:xfrm>
                <a:off x="9259453" y="3336756"/>
                <a:ext cx="169305" cy="33491"/>
                <a:chOff x="9259453" y="3336756"/>
                <a:chExt cx="169305" cy="33491"/>
              </a:xfrm>
            </p:grpSpPr>
            <p:sp>
              <p:nvSpPr>
                <p:cNvPr id="1013" name="Forma livre: Forma 1012">
                  <a:extLst>
                    <a:ext uri="{FF2B5EF4-FFF2-40B4-BE49-F238E27FC236}">
                      <a16:creationId xmlns:a16="http://schemas.microsoft.com/office/drawing/2014/main" id="{B9ACA8B0-8DFD-3928-EA98-AA90D8CD393B}"/>
                    </a:ext>
                  </a:extLst>
                </p:cNvPr>
                <p:cNvSpPr/>
                <p:nvPr/>
              </p:nvSpPr>
              <p:spPr>
                <a:xfrm>
                  <a:off x="9259453" y="3336756"/>
                  <a:ext cx="1184" cy="33491"/>
                </a:xfrm>
                <a:custGeom>
                  <a:avLst/>
                  <a:gdLst>
                    <a:gd name="connsiteX0" fmla="*/ 0 w 1184"/>
                    <a:gd name="connsiteY0" fmla="*/ 0 h 33491"/>
                    <a:gd name="connsiteX1" fmla="*/ 0 w 1184"/>
                    <a:gd name="connsiteY1" fmla="*/ 33492 h 3349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184" h="33491">
                      <a:moveTo>
                        <a:pt x="0" y="0"/>
                      </a:moveTo>
                      <a:lnTo>
                        <a:pt x="0" y="33492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014" name="Forma livre: Forma 1013">
                  <a:extLst>
                    <a:ext uri="{FF2B5EF4-FFF2-40B4-BE49-F238E27FC236}">
                      <a16:creationId xmlns:a16="http://schemas.microsoft.com/office/drawing/2014/main" id="{219565C7-7FBC-B8D0-92B3-2A6FAD2022B6}"/>
                    </a:ext>
                  </a:extLst>
                </p:cNvPr>
                <p:cNvSpPr/>
                <p:nvPr/>
              </p:nvSpPr>
              <p:spPr>
                <a:xfrm>
                  <a:off x="9428759" y="3336756"/>
                  <a:ext cx="1184" cy="33491"/>
                </a:xfrm>
                <a:custGeom>
                  <a:avLst/>
                  <a:gdLst>
                    <a:gd name="connsiteX0" fmla="*/ 0 w 1184"/>
                    <a:gd name="connsiteY0" fmla="*/ 0 h 33491"/>
                    <a:gd name="connsiteX1" fmla="*/ 0 w 1184"/>
                    <a:gd name="connsiteY1" fmla="*/ 33492 h 3349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184" h="33491">
                      <a:moveTo>
                        <a:pt x="0" y="0"/>
                      </a:moveTo>
                      <a:lnTo>
                        <a:pt x="0" y="33492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1015" name="Forma livre: Forma 1014">
                <a:extLst>
                  <a:ext uri="{FF2B5EF4-FFF2-40B4-BE49-F238E27FC236}">
                    <a16:creationId xmlns:a16="http://schemas.microsoft.com/office/drawing/2014/main" id="{13A6C257-6566-BF49-AF0D-82E7F545D5E5}"/>
                  </a:ext>
                </a:extLst>
              </p:cNvPr>
              <p:cNvSpPr/>
              <p:nvPr/>
            </p:nvSpPr>
            <p:spPr>
              <a:xfrm>
                <a:off x="9213799" y="3384317"/>
                <a:ext cx="260614" cy="12274"/>
              </a:xfrm>
              <a:custGeom>
                <a:avLst/>
                <a:gdLst>
                  <a:gd name="connsiteX0" fmla="*/ 260614 w 260614"/>
                  <a:gd name="connsiteY0" fmla="*/ 0 h 12274"/>
                  <a:gd name="connsiteX1" fmla="*/ 195763 w 260614"/>
                  <a:gd name="connsiteY1" fmla="*/ 0 h 12274"/>
                  <a:gd name="connsiteX2" fmla="*/ 195360 w 260614"/>
                  <a:gd name="connsiteY2" fmla="*/ 0 h 12274"/>
                  <a:gd name="connsiteX3" fmla="*/ 130509 w 260614"/>
                  <a:gd name="connsiteY3" fmla="*/ 0 h 12274"/>
                  <a:gd name="connsiteX4" fmla="*/ 130106 w 260614"/>
                  <a:gd name="connsiteY4" fmla="*/ 0 h 12274"/>
                  <a:gd name="connsiteX5" fmla="*/ 65254 w 260614"/>
                  <a:gd name="connsiteY5" fmla="*/ 0 h 12274"/>
                  <a:gd name="connsiteX6" fmla="*/ 64852 w 260614"/>
                  <a:gd name="connsiteY6" fmla="*/ 0 h 12274"/>
                  <a:gd name="connsiteX7" fmla="*/ 0 w 260614"/>
                  <a:gd name="connsiteY7" fmla="*/ 0 h 122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60614" h="12274">
                    <a:moveTo>
                      <a:pt x="260614" y="0"/>
                    </a:moveTo>
                    <a:cubicBezTo>
                      <a:pt x="223001" y="27618"/>
                      <a:pt x="195763" y="0"/>
                      <a:pt x="195763" y="0"/>
                    </a:cubicBezTo>
                    <a:lnTo>
                      <a:pt x="195360" y="0"/>
                    </a:lnTo>
                    <a:cubicBezTo>
                      <a:pt x="157747" y="27618"/>
                      <a:pt x="130509" y="0"/>
                      <a:pt x="130509" y="0"/>
                    </a:cubicBezTo>
                    <a:lnTo>
                      <a:pt x="130106" y="0"/>
                    </a:lnTo>
                    <a:cubicBezTo>
                      <a:pt x="92493" y="27618"/>
                      <a:pt x="65254" y="0"/>
                      <a:pt x="65254" y="0"/>
                    </a:cubicBezTo>
                    <a:lnTo>
                      <a:pt x="64852" y="0"/>
                    </a:lnTo>
                    <a:cubicBezTo>
                      <a:pt x="27250" y="27618"/>
                      <a:pt x="0" y="0"/>
                      <a:pt x="0" y="0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016" name="Forma livre: Forma 1015">
                <a:extLst>
                  <a:ext uri="{FF2B5EF4-FFF2-40B4-BE49-F238E27FC236}">
                    <a16:creationId xmlns:a16="http://schemas.microsoft.com/office/drawing/2014/main" id="{BB1BEED9-0DE4-23B7-4347-5A64F3A95EC5}"/>
                  </a:ext>
                </a:extLst>
              </p:cNvPr>
              <p:cNvSpPr/>
              <p:nvPr/>
            </p:nvSpPr>
            <p:spPr>
              <a:xfrm>
                <a:off x="9408685" y="3284695"/>
                <a:ext cx="1184" cy="50983"/>
              </a:xfrm>
              <a:custGeom>
                <a:avLst/>
                <a:gdLst>
                  <a:gd name="connsiteX0" fmla="*/ 0 w 1184"/>
                  <a:gd name="connsiteY0" fmla="*/ 0 h 50983"/>
                  <a:gd name="connsiteX1" fmla="*/ 0 w 1184"/>
                  <a:gd name="connsiteY1" fmla="*/ 50984 h 509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84" h="50983">
                    <a:moveTo>
                      <a:pt x="0" y="0"/>
                    </a:moveTo>
                    <a:lnTo>
                      <a:pt x="0" y="50984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017" name="Forma livre: Forma 1016">
                <a:extLst>
                  <a:ext uri="{FF2B5EF4-FFF2-40B4-BE49-F238E27FC236}">
                    <a16:creationId xmlns:a16="http://schemas.microsoft.com/office/drawing/2014/main" id="{AECE38A6-2E6F-E67B-8502-7E37BD186A54}"/>
                  </a:ext>
                </a:extLst>
              </p:cNvPr>
              <p:cNvSpPr/>
              <p:nvPr/>
            </p:nvSpPr>
            <p:spPr>
              <a:xfrm>
                <a:off x="9380558" y="3284541"/>
                <a:ext cx="1184" cy="51350"/>
              </a:xfrm>
              <a:custGeom>
                <a:avLst/>
                <a:gdLst>
                  <a:gd name="connsiteX0" fmla="*/ 0 w 1184"/>
                  <a:gd name="connsiteY0" fmla="*/ 0 h 51350"/>
                  <a:gd name="connsiteX1" fmla="*/ 0 w 1184"/>
                  <a:gd name="connsiteY1" fmla="*/ 51351 h 513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84" h="51350">
                    <a:moveTo>
                      <a:pt x="0" y="0"/>
                    </a:moveTo>
                    <a:lnTo>
                      <a:pt x="0" y="51351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018" name="Forma livre: Forma 1017">
                <a:extLst>
                  <a:ext uri="{FF2B5EF4-FFF2-40B4-BE49-F238E27FC236}">
                    <a16:creationId xmlns:a16="http://schemas.microsoft.com/office/drawing/2014/main" id="{4AE7A8A5-C276-17B5-13C9-3A151AFDD2C5}"/>
                  </a:ext>
                </a:extLst>
              </p:cNvPr>
              <p:cNvSpPr/>
              <p:nvPr/>
            </p:nvSpPr>
            <p:spPr>
              <a:xfrm>
                <a:off x="9353308" y="3310216"/>
                <a:ext cx="54500" cy="1184"/>
              </a:xfrm>
              <a:custGeom>
                <a:avLst/>
                <a:gdLst>
                  <a:gd name="connsiteX0" fmla="*/ 54501 w 54500"/>
                  <a:gd name="connsiteY0" fmla="*/ 0 h 1184"/>
                  <a:gd name="connsiteX1" fmla="*/ 0 w 54500"/>
                  <a:gd name="connsiteY1" fmla="*/ 0 h 11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4500" h="1184">
                    <a:moveTo>
                      <a:pt x="54501" y="0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019" name="Forma livre: Forma 1018">
                <a:extLst>
                  <a:ext uri="{FF2B5EF4-FFF2-40B4-BE49-F238E27FC236}">
                    <a16:creationId xmlns:a16="http://schemas.microsoft.com/office/drawing/2014/main" id="{9850AB62-D48B-45CD-B89D-ABCF9F77C164}"/>
                  </a:ext>
                </a:extLst>
              </p:cNvPr>
              <p:cNvSpPr/>
              <p:nvPr/>
            </p:nvSpPr>
            <p:spPr>
              <a:xfrm>
                <a:off x="9352941" y="3284695"/>
                <a:ext cx="1184" cy="50983"/>
              </a:xfrm>
              <a:custGeom>
                <a:avLst/>
                <a:gdLst>
                  <a:gd name="connsiteX0" fmla="*/ 0 w 1184"/>
                  <a:gd name="connsiteY0" fmla="*/ 0 h 50983"/>
                  <a:gd name="connsiteX1" fmla="*/ 0 w 1184"/>
                  <a:gd name="connsiteY1" fmla="*/ 50984 h 509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84" h="50983">
                    <a:moveTo>
                      <a:pt x="0" y="0"/>
                    </a:moveTo>
                    <a:lnTo>
                      <a:pt x="0" y="50984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020" name="Forma livre: Forma 1019">
              <a:extLst>
                <a:ext uri="{FF2B5EF4-FFF2-40B4-BE49-F238E27FC236}">
                  <a16:creationId xmlns:a16="http://schemas.microsoft.com/office/drawing/2014/main" id="{F7549D32-C815-9B3D-0DC4-F1998FCEF015}"/>
                </a:ext>
              </a:extLst>
            </p:cNvPr>
            <p:cNvSpPr/>
            <p:nvPr/>
          </p:nvSpPr>
          <p:spPr>
            <a:xfrm>
              <a:off x="9126078" y="3309754"/>
              <a:ext cx="91000" cy="1184"/>
            </a:xfrm>
            <a:custGeom>
              <a:avLst/>
              <a:gdLst>
                <a:gd name="connsiteX0" fmla="*/ 91001 w 91000"/>
                <a:gd name="connsiteY0" fmla="*/ 0 h 1184"/>
                <a:gd name="connsiteX1" fmla="*/ 0 w 91000"/>
                <a:gd name="connsiteY1" fmla="*/ 0 h 11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1000" h="1184">
                  <a:moveTo>
                    <a:pt x="91001" y="0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21" name="Forma livre: Forma 1020">
              <a:extLst>
                <a:ext uri="{FF2B5EF4-FFF2-40B4-BE49-F238E27FC236}">
                  <a16:creationId xmlns:a16="http://schemas.microsoft.com/office/drawing/2014/main" id="{76B77AD0-FDC0-DAC8-B034-A3DA41C384CF}"/>
                </a:ext>
              </a:extLst>
            </p:cNvPr>
            <p:cNvSpPr/>
            <p:nvPr/>
          </p:nvSpPr>
          <p:spPr>
            <a:xfrm>
              <a:off x="9469794" y="3309754"/>
              <a:ext cx="35931" cy="1184"/>
            </a:xfrm>
            <a:custGeom>
              <a:avLst/>
              <a:gdLst>
                <a:gd name="connsiteX0" fmla="*/ 35931 w 35931"/>
                <a:gd name="connsiteY0" fmla="*/ 0 h 1184"/>
                <a:gd name="connsiteX1" fmla="*/ 0 w 35931"/>
                <a:gd name="connsiteY1" fmla="*/ 0 h 11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5931" h="1184">
                  <a:moveTo>
                    <a:pt x="35931" y="0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22" name="Forma livre: Forma 1021">
              <a:extLst>
                <a:ext uri="{FF2B5EF4-FFF2-40B4-BE49-F238E27FC236}">
                  <a16:creationId xmlns:a16="http://schemas.microsoft.com/office/drawing/2014/main" id="{FB8E4975-3C8A-51C5-86D7-B57C05A2A2CD}"/>
                </a:ext>
              </a:extLst>
            </p:cNvPr>
            <p:cNvSpPr/>
            <p:nvPr/>
          </p:nvSpPr>
          <p:spPr>
            <a:xfrm>
              <a:off x="9429682" y="3149327"/>
              <a:ext cx="58243" cy="13611"/>
            </a:xfrm>
            <a:custGeom>
              <a:avLst/>
              <a:gdLst>
                <a:gd name="connsiteX0" fmla="*/ 58243 w 58243"/>
                <a:gd name="connsiteY0" fmla="*/ 3995 h 13611"/>
                <a:gd name="connsiteX1" fmla="*/ 44600 w 58243"/>
                <a:gd name="connsiteY1" fmla="*/ 181 h 13611"/>
                <a:gd name="connsiteX2" fmla="*/ 29903 w 58243"/>
                <a:gd name="connsiteY2" fmla="*/ 13611 h 13611"/>
                <a:gd name="connsiteX3" fmla="*/ 12032 w 58243"/>
                <a:gd name="connsiteY3" fmla="*/ 4847 h 13611"/>
                <a:gd name="connsiteX4" fmla="*/ 0 w 58243"/>
                <a:gd name="connsiteY4" fmla="*/ 12332 h 136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8243" h="13611">
                  <a:moveTo>
                    <a:pt x="58243" y="3995"/>
                  </a:moveTo>
                  <a:cubicBezTo>
                    <a:pt x="54560" y="987"/>
                    <a:pt x="49693" y="-553"/>
                    <a:pt x="44600" y="181"/>
                  </a:cubicBezTo>
                  <a:cubicBezTo>
                    <a:pt x="37210" y="1235"/>
                    <a:pt x="31514" y="6766"/>
                    <a:pt x="29903" y="13611"/>
                  </a:cubicBezTo>
                  <a:cubicBezTo>
                    <a:pt x="26433" y="7488"/>
                    <a:pt x="19411" y="3782"/>
                    <a:pt x="12032" y="4847"/>
                  </a:cubicBezTo>
                  <a:cubicBezTo>
                    <a:pt x="6940" y="5570"/>
                    <a:pt x="2700" y="8412"/>
                    <a:pt x="0" y="12332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23" name="Forma livre: Forma 1022">
              <a:extLst>
                <a:ext uri="{FF2B5EF4-FFF2-40B4-BE49-F238E27FC236}">
                  <a16:creationId xmlns:a16="http://schemas.microsoft.com/office/drawing/2014/main" id="{D9D7FBC5-7062-03E4-D970-70A8F548FC5A}"/>
                </a:ext>
              </a:extLst>
            </p:cNvPr>
            <p:cNvSpPr/>
            <p:nvPr/>
          </p:nvSpPr>
          <p:spPr>
            <a:xfrm>
              <a:off x="9452350" y="3197317"/>
              <a:ext cx="56561" cy="18748"/>
            </a:xfrm>
            <a:custGeom>
              <a:avLst/>
              <a:gdLst>
                <a:gd name="connsiteX0" fmla="*/ 56562 w 56561"/>
                <a:gd name="connsiteY0" fmla="*/ 18749 h 18748"/>
                <a:gd name="connsiteX1" fmla="*/ 45666 w 56561"/>
                <a:gd name="connsiteY1" fmla="*/ 9701 h 18748"/>
                <a:gd name="connsiteX2" fmla="*/ 26777 w 56561"/>
                <a:gd name="connsiteY2" fmla="*/ 15965 h 18748"/>
                <a:gd name="connsiteX3" fmla="*/ 14034 w 56561"/>
                <a:gd name="connsiteY3" fmla="*/ 676 h 18748"/>
                <a:gd name="connsiteX4" fmla="*/ 0 w 56561"/>
                <a:gd name="connsiteY4" fmla="*/ 2607 h 187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6561" h="18748">
                  <a:moveTo>
                    <a:pt x="56562" y="18749"/>
                  </a:moveTo>
                  <a:cubicBezTo>
                    <a:pt x="54430" y="14497"/>
                    <a:pt x="50593" y="11110"/>
                    <a:pt x="45666" y="9701"/>
                  </a:cubicBezTo>
                  <a:cubicBezTo>
                    <a:pt x="38489" y="7652"/>
                    <a:pt x="31040" y="10376"/>
                    <a:pt x="26777" y="15965"/>
                  </a:cubicBezTo>
                  <a:cubicBezTo>
                    <a:pt x="26102" y="8955"/>
                    <a:pt x="21211" y="2713"/>
                    <a:pt x="14034" y="676"/>
                  </a:cubicBezTo>
                  <a:cubicBezTo>
                    <a:pt x="9084" y="-733"/>
                    <a:pt x="4062" y="132"/>
                    <a:pt x="0" y="2607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024" name="Gráfico 10">
            <a:extLst>
              <a:ext uri="{FF2B5EF4-FFF2-40B4-BE49-F238E27FC236}">
                <a16:creationId xmlns:a16="http://schemas.microsoft.com/office/drawing/2014/main" id="{791CFC46-368E-175F-982E-2F8CA38EEBC1}"/>
              </a:ext>
            </a:extLst>
          </p:cNvPr>
          <p:cNvGrpSpPr/>
          <p:nvPr/>
        </p:nvGrpSpPr>
        <p:grpSpPr>
          <a:xfrm>
            <a:off x="9166119" y="2573932"/>
            <a:ext cx="300667" cy="331245"/>
            <a:chOff x="9166119" y="2573932"/>
            <a:chExt cx="300667" cy="331245"/>
          </a:xfrm>
          <a:noFill/>
        </p:grpSpPr>
        <p:grpSp>
          <p:nvGrpSpPr>
            <p:cNvPr id="1025" name="Gráfico 10">
              <a:extLst>
                <a:ext uri="{FF2B5EF4-FFF2-40B4-BE49-F238E27FC236}">
                  <a16:creationId xmlns:a16="http://schemas.microsoft.com/office/drawing/2014/main" id="{EADB7933-72A0-8CF5-F55F-B483A156F238}"/>
                </a:ext>
              </a:extLst>
            </p:cNvPr>
            <p:cNvGrpSpPr/>
            <p:nvPr/>
          </p:nvGrpSpPr>
          <p:grpSpPr>
            <a:xfrm>
              <a:off x="9395516" y="2777251"/>
              <a:ext cx="45050" cy="102393"/>
              <a:chOff x="9395516" y="2777251"/>
              <a:chExt cx="45050" cy="102393"/>
            </a:xfrm>
            <a:noFill/>
          </p:grpSpPr>
          <p:sp>
            <p:nvSpPr>
              <p:cNvPr id="1026" name="Forma livre: Forma 1025">
                <a:extLst>
                  <a:ext uri="{FF2B5EF4-FFF2-40B4-BE49-F238E27FC236}">
                    <a16:creationId xmlns:a16="http://schemas.microsoft.com/office/drawing/2014/main" id="{9801C873-B005-EFD2-70BA-24ABD0CD3A5B}"/>
                  </a:ext>
                </a:extLst>
              </p:cNvPr>
              <p:cNvSpPr/>
              <p:nvPr/>
            </p:nvSpPr>
            <p:spPr>
              <a:xfrm>
                <a:off x="9416762" y="2777251"/>
                <a:ext cx="1184" cy="102393"/>
              </a:xfrm>
              <a:custGeom>
                <a:avLst/>
                <a:gdLst>
                  <a:gd name="connsiteX0" fmla="*/ 0 w 1184"/>
                  <a:gd name="connsiteY0" fmla="*/ 0 h 102393"/>
                  <a:gd name="connsiteX1" fmla="*/ 0 w 1184"/>
                  <a:gd name="connsiteY1" fmla="*/ 102394 h 1023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84" h="102393">
                    <a:moveTo>
                      <a:pt x="0" y="0"/>
                    </a:moveTo>
                    <a:lnTo>
                      <a:pt x="0" y="102394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027" name="Forma livre: Forma 1026">
                <a:extLst>
                  <a:ext uri="{FF2B5EF4-FFF2-40B4-BE49-F238E27FC236}">
                    <a16:creationId xmlns:a16="http://schemas.microsoft.com/office/drawing/2014/main" id="{B24532AB-4146-F15B-AD5C-D44015F1B321}"/>
                  </a:ext>
                </a:extLst>
              </p:cNvPr>
              <p:cNvSpPr/>
              <p:nvPr/>
            </p:nvSpPr>
            <p:spPr>
              <a:xfrm>
                <a:off x="9395516" y="2793594"/>
                <a:ext cx="19765" cy="30815"/>
              </a:xfrm>
              <a:custGeom>
                <a:avLst/>
                <a:gdLst>
                  <a:gd name="connsiteX0" fmla="*/ 19766 w 19765"/>
                  <a:gd name="connsiteY0" fmla="*/ 30815 h 30815"/>
                  <a:gd name="connsiteX1" fmla="*/ 8503 w 19765"/>
                  <a:gd name="connsiteY1" fmla="*/ 30815 h 30815"/>
                  <a:gd name="connsiteX2" fmla="*/ 0 w 19765"/>
                  <a:gd name="connsiteY2" fmla="*/ 22312 h 30815"/>
                  <a:gd name="connsiteX3" fmla="*/ 0 w 19765"/>
                  <a:gd name="connsiteY3" fmla="*/ 0 h 308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9765" h="30815">
                    <a:moveTo>
                      <a:pt x="19766" y="30815"/>
                    </a:moveTo>
                    <a:lnTo>
                      <a:pt x="8503" y="30815"/>
                    </a:lnTo>
                    <a:cubicBezTo>
                      <a:pt x="3825" y="30815"/>
                      <a:pt x="0" y="26990"/>
                      <a:pt x="0" y="22312"/>
                    </a:cubicBezTo>
                    <a:lnTo>
                      <a:pt x="0" y="0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028" name="Forma livre: Forma 1027">
                <a:extLst>
                  <a:ext uri="{FF2B5EF4-FFF2-40B4-BE49-F238E27FC236}">
                    <a16:creationId xmlns:a16="http://schemas.microsoft.com/office/drawing/2014/main" id="{D77CA413-449A-A43A-42FE-396DEF448A76}"/>
                  </a:ext>
                </a:extLst>
              </p:cNvPr>
              <p:cNvSpPr/>
              <p:nvPr/>
            </p:nvSpPr>
            <p:spPr>
              <a:xfrm>
                <a:off x="9417970" y="2816546"/>
                <a:ext cx="22596" cy="30791"/>
              </a:xfrm>
              <a:custGeom>
                <a:avLst/>
                <a:gdLst>
                  <a:gd name="connsiteX0" fmla="*/ 0 w 22596"/>
                  <a:gd name="connsiteY0" fmla="*/ 30792 h 30791"/>
                  <a:gd name="connsiteX1" fmla="*/ 14105 w 22596"/>
                  <a:gd name="connsiteY1" fmla="*/ 30792 h 30791"/>
                  <a:gd name="connsiteX2" fmla="*/ 22596 w 22596"/>
                  <a:gd name="connsiteY2" fmla="*/ 22300 h 30791"/>
                  <a:gd name="connsiteX3" fmla="*/ 22596 w 22596"/>
                  <a:gd name="connsiteY3" fmla="*/ 0 h 307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2596" h="30791">
                    <a:moveTo>
                      <a:pt x="0" y="30792"/>
                    </a:moveTo>
                    <a:lnTo>
                      <a:pt x="14105" y="30792"/>
                    </a:lnTo>
                    <a:cubicBezTo>
                      <a:pt x="18783" y="30792"/>
                      <a:pt x="22596" y="26966"/>
                      <a:pt x="22596" y="22300"/>
                    </a:cubicBezTo>
                    <a:lnTo>
                      <a:pt x="22596" y="0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029" name="Forma livre: Forma 1028">
              <a:extLst>
                <a:ext uri="{FF2B5EF4-FFF2-40B4-BE49-F238E27FC236}">
                  <a16:creationId xmlns:a16="http://schemas.microsoft.com/office/drawing/2014/main" id="{290001DF-5FA3-9BEB-02CF-34296C62174A}"/>
                </a:ext>
              </a:extLst>
            </p:cNvPr>
            <p:cNvSpPr/>
            <p:nvPr/>
          </p:nvSpPr>
          <p:spPr>
            <a:xfrm>
              <a:off x="9303816" y="2573932"/>
              <a:ext cx="48318" cy="48319"/>
            </a:xfrm>
            <a:custGeom>
              <a:avLst/>
              <a:gdLst>
                <a:gd name="connsiteX0" fmla="*/ 48319 w 48318"/>
                <a:gd name="connsiteY0" fmla="*/ 24160 h 48319"/>
                <a:gd name="connsiteX1" fmla="*/ 24159 w 48318"/>
                <a:gd name="connsiteY1" fmla="*/ 48319 h 48319"/>
                <a:gd name="connsiteX2" fmla="*/ 0 w 48318"/>
                <a:gd name="connsiteY2" fmla="*/ 24160 h 48319"/>
                <a:gd name="connsiteX3" fmla="*/ 24159 w 48318"/>
                <a:gd name="connsiteY3" fmla="*/ 0 h 48319"/>
                <a:gd name="connsiteX4" fmla="*/ 48319 w 48318"/>
                <a:gd name="connsiteY4" fmla="*/ 24160 h 483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8318" h="48319">
                  <a:moveTo>
                    <a:pt x="48319" y="24160"/>
                  </a:moveTo>
                  <a:cubicBezTo>
                    <a:pt x="48319" y="37506"/>
                    <a:pt x="37506" y="48319"/>
                    <a:pt x="24159" y="48319"/>
                  </a:cubicBezTo>
                  <a:cubicBezTo>
                    <a:pt x="10813" y="48319"/>
                    <a:pt x="0" y="37506"/>
                    <a:pt x="0" y="24160"/>
                  </a:cubicBezTo>
                  <a:cubicBezTo>
                    <a:pt x="0" y="10813"/>
                    <a:pt x="10824" y="0"/>
                    <a:pt x="24159" y="0"/>
                  </a:cubicBezTo>
                  <a:cubicBezTo>
                    <a:pt x="37494" y="0"/>
                    <a:pt x="48319" y="10824"/>
                    <a:pt x="48319" y="24160"/>
                  </a:cubicBez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30" name="Forma livre: Forma 1029">
              <a:extLst>
                <a:ext uri="{FF2B5EF4-FFF2-40B4-BE49-F238E27FC236}">
                  <a16:creationId xmlns:a16="http://schemas.microsoft.com/office/drawing/2014/main" id="{7EBB8B7E-476A-9A0D-D016-5178AEAC6244}"/>
                </a:ext>
              </a:extLst>
            </p:cNvPr>
            <p:cNvSpPr/>
            <p:nvPr/>
          </p:nvSpPr>
          <p:spPr>
            <a:xfrm>
              <a:off x="9231749" y="2742563"/>
              <a:ext cx="129193" cy="162614"/>
            </a:xfrm>
            <a:custGeom>
              <a:avLst/>
              <a:gdLst>
                <a:gd name="connsiteX0" fmla="*/ 126024 w 129193"/>
                <a:gd name="connsiteY0" fmla="*/ 0 h 162614"/>
                <a:gd name="connsiteX1" fmla="*/ 81755 w 129193"/>
                <a:gd name="connsiteY1" fmla="*/ 50865 h 162614"/>
                <a:gd name="connsiteX2" fmla="*/ 35366 w 129193"/>
                <a:gd name="connsiteY2" fmla="*/ 162615 h 1626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9193" h="162614">
                  <a:moveTo>
                    <a:pt x="126024" y="0"/>
                  </a:moveTo>
                  <a:cubicBezTo>
                    <a:pt x="132004" y="12980"/>
                    <a:pt x="135095" y="34960"/>
                    <a:pt x="81755" y="50865"/>
                  </a:cubicBezTo>
                  <a:cubicBezTo>
                    <a:pt x="81755" y="50865"/>
                    <a:pt x="-65618" y="78542"/>
                    <a:pt x="35366" y="162615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31" name="Forma livre: Forma 1030">
              <a:extLst>
                <a:ext uri="{FF2B5EF4-FFF2-40B4-BE49-F238E27FC236}">
                  <a16:creationId xmlns:a16="http://schemas.microsoft.com/office/drawing/2014/main" id="{6EDA378B-2A10-2ACA-66FE-785AA48B4C50}"/>
                </a:ext>
              </a:extLst>
            </p:cNvPr>
            <p:cNvSpPr/>
            <p:nvPr/>
          </p:nvSpPr>
          <p:spPr>
            <a:xfrm>
              <a:off x="9382654" y="2741935"/>
              <a:ext cx="6043" cy="34427"/>
            </a:xfrm>
            <a:custGeom>
              <a:avLst/>
              <a:gdLst>
                <a:gd name="connsiteX0" fmla="*/ 0 w 6043"/>
                <a:gd name="connsiteY0" fmla="*/ 0 h 34427"/>
                <a:gd name="connsiteX1" fmla="*/ 2582 w 6043"/>
                <a:gd name="connsiteY1" fmla="*/ 34427 h 344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" h="34427">
                  <a:moveTo>
                    <a:pt x="0" y="0"/>
                  </a:moveTo>
                  <a:cubicBezTo>
                    <a:pt x="8491" y="18451"/>
                    <a:pt x="6750" y="24953"/>
                    <a:pt x="2582" y="34427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32" name="Forma livre: Forma 1031">
              <a:extLst>
                <a:ext uri="{FF2B5EF4-FFF2-40B4-BE49-F238E27FC236}">
                  <a16:creationId xmlns:a16="http://schemas.microsoft.com/office/drawing/2014/main" id="{B1FDCEBA-278F-F7CE-2C42-62F2AC9D1E2B}"/>
                </a:ext>
              </a:extLst>
            </p:cNvPr>
            <p:cNvSpPr/>
            <p:nvPr/>
          </p:nvSpPr>
          <p:spPr>
            <a:xfrm>
              <a:off x="9330806" y="2802938"/>
              <a:ext cx="83895" cy="102227"/>
            </a:xfrm>
            <a:custGeom>
              <a:avLst/>
              <a:gdLst>
                <a:gd name="connsiteX0" fmla="*/ 42327 w 83895"/>
                <a:gd name="connsiteY0" fmla="*/ 0 h 102227"/>
                <a:gd name="connsiteX1" fmla="*/ 22620 w 83895"/>
                <a:gd name="connsiteY1" fmla="*/ 13619 h 102227"/>
                <a:gd name="connsiteX2" fmla="*/ 83895 w 83895"/>
                <a:gd name="connsiteY2" fmla="*/ 102228 h 1022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83895" h="102227">
                  <a:moveTo>
                    <a:pt x="42327" y="0"/>
                  </a:moveTo>
                  <a:cubicBezTo>
                    <a:pt x="36464" y="6371"/>
                    <a:pt x="26978" y="11713"/>
                    <a:pt x="22620" y="13619"/>
                  </a:cubicBezTo>
                  <a:cubicBezTo>
                    <a:pt x="13122" y="17752"/>
                    <a:pt x="-48627" y="41415"/>
                    <a:pt x="83895" y="102228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33" name="Forma livre: Forma 1032">
              <a:extLst>
                <a:ext uri="{FF2B5EF4-FFF2-40B4-BE49-F238E27FC236}">
                  <a16:creationId xmlns:a16="http://schemas.microsoft.com/office/drawing/2014/main" id="{037EC7A6-F029-CB01-9852-EC5437C47086}"/>
                </a:ext>
              </a:extLst>
            </p:cNvPr>
            <p:cNvSpPr/>
            <p:nvPr/>
          </p:nvSpPr>
          <p:spPr>
            <a:xfrm>
              <a:off x="9170844" y="2741118"/>
              <a:ext cx="250737" cy="1184"/>
            </a:xfrm>
            <a:custGeom>
              <a:avLst/>
              <a:gdLst>
                <a:gd name="connsiteX0" fmla="*/ 0 w 250737"/>
                <a:gd name="connsiteY0" fmla="*/ 0 h 1184"/>
                <a:gd name="connsiteX1" fmla="*/ 250738 w 250737"/>
                <a:gd name="connsiteY1" fmla="*/ 0 h 11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50737" h="1184">
                  <a:moveTo>
                    <a:pt x="0" y="0"/>
                  </a:moveTo>
                  <a:lnTo>
                    <a:pt x="250738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34" name="Forma livre: Forma 1033">
              <a:extLst>
                <a:ext uri="{FF2B5EF4-FFF2-40B4-BE49-F238E27FC236}">
                  <a16:creationId xmlns:a16="http://schemas.microsoft.com/office/drawing/2014/main" id="{DD839EBD-558D-FE0C-5E7F-F722713EB7C3}"/>
                </a:ext>
              </a:extLst>
            </p:cNvPr>
            <p:cNvSpPr/>
            <p:nvPr/>
          </p:nvSpPr>
          <p:spPr>
            <a:xfrm>
              <a:off x="9442781" y="2741118"/>
              <a:ext cx="15632" cy="1184"/>
            </a:xfrm>
            <a:custGeom>
              <a:avLst/>
              <a:gdLst>
                <a:gd name="connsiteX0" fmla="*/ 0 w 15632"/>
                <a:gd name="connsiteY0" fmla="*/ 0 h 1184"/>
                <a:gd name="connsiteX1" fmla="*/ 15633 w 15632"/>
                <a:gd name="connsiteY1" fmla="*/ 0 h 11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632" h="1184">
                  <a:moveTo>
                    <a:pt x="0" y="0"/>
                  </a:moveTo>
                  <a:lnTo>
                    <a:pt x="15633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35" name="Forma livre: Forma 1034">
              <a:extLst>
                <a:ext uri="{FF2B5EF4-FFF2-40B4-BE49-F238E27FC236}">
                  <a16:creationId xmlns:a16="http://schemas.microsoft.com/office/drawing/2014/main" id="{10893C41-0F1C-55DC-D77C-7F2D59E5BDB1}"/>
                </a:ext>
              </a:extLst>
            </p:cNvPr>
            <p:cNvSpPr/>
            <p:nvPr/>
          </p:nvSpPr>
          <p:spPr>
            <a:xfrm>
              <a:off x="9166119" y="2620108"/>
              <a:ext cx="173190" cy="121271"/>
            </a:xfrm>
            <a:custGeom>
              <a:avLst/>
              <a:gdLst>
                <a:gd name="connsiteX0" fmla="*/ 173190 w 173190"/>
                <a:gd name="connsiteY0" fmla="*/ 121271 h 121271"/>
                <a:gd name="connsiteX1" fmla="*/ 125594 w 173190"/>
                <a:gd name="connsiteY1" fmla="*/ 75333 h 121271"/>
                <a:gd name="connsiteX2" fmla="*/ 125594 w 173190"/>
                <a:gd name="connsiteY2" fmla="*/ 30330 h 121271"/>
                <a:gd name="connsiteX3" fmla="*/ 99753 w 173190"/>
                <a:gd name="connsiteY3" fmla="*/ 30330 h 121271"/>
                <a:gd name="connsiteX4" fmla="*/ 99753 w 173190"/>
                <a:gd name="connsiteY4" fmla="*/ 0 h 121271"/>
                <a:gd name="connsiteX5" fmla="*/ 23496 w 173190"/>
                <a:gd name="connsiteY5" fmla="*/ 0 h 121271"/>
                <a:gd name="connsiteX6" fmla="*/ 23496 w 173190"/>
                <a:gd name="connsiteY6" fmla="*/ 50818 h 121271"/>
                <a:gd name="connsiteX7" fmla="*/ 0 w 173190"/>
                <a:gd name="connsiteY7" fmla="*/ 50818 h 1212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3190" h="121271">
                  <a:moveTo>
                    <a:pt x="173190" y="121271"/>
                  </a:moveTo>
                  <a:lnTo>
                    <a:pt x="125594" y="75333"/>
                  </a:lnTo>
                  <a:lnTo>
                    <a:pt x="125594" y="30330"/>
                  </a:lnTo>
                  <a:lnTo>
                    <a:pt x="99753" y="30330"/>
                  </a:lnTo>
                  <a:lnTo>
                    <a:pt x="99753" y="0"/>
                  </a:lnTo>
                  <a:lnTo>
                    <a:pt x="23496" y="0"/>
                  </a:lnTo>
                  <a:lnTo>
                    <a:pt x="23496" y="50818"/>
                  </a:lnTo>
                  <a:lnTo>
                    <a:pt x="0" y="50818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36" name="Forma livre: Forma 1035">
              <a:extLst>
                <a:ext uri="{FF2B5EF4-FFF2-40B4-BE49-F238E27FC236}">
                  <a16:creationId xmlns:a16="http://schemas.microsoft.com/office/drawing/2014/main" id="{05F92D66-B569-E4CF-2310-CF2C64E149DD}"/>
                </a:ext>
              </a:extLst>
            </p:cNvPr>
            <p:cNvSpPr/>
            <p:nvPr/>
          </p:nvSpPr>
          <p:spPr>
            <a:xfrm>
              <a:off x="9337770" y="2584591"/>
              <a:ext cx="129016" cy="125960"/>
            </a:xfrm>
            <a:custGeom>
              <a:avLst/>
              <a:gdLst>
                <a:gd name="connsiteX0" fmla="*/ 0 w 129016"/>
                <a:gd name="connsiteY0" fmla="*/ 125961 h 125960"/>
                <a:gd name="connsiteX1" fmla="*/ 38525 w 129016"/>
                <a:gd name="connsiteY1" fmla="*/ 98936 h 125960"/>
                <a:gd name="connsiteX2" fmla="*/ 38525 w 129016"/>
                <a:gd name="connsiteY2" fmla="*/ 53411 h 125960"/>
                <a:gd name="connsiteX3" fmla="*/ 55105 w 129016"/>
                <a:gd name="connsiteY3" fmla="*/ 53411 h 125960"/>
                <a:gd name="connsiteX4" fmla="*/ 55105 w 129016"/>
                <a:gd name="connsiteY4" fmla="*/ 0 h 125960"/>
                <a:gd name="connsiteX5" fmla="*/ 129016 w 129016"/>
                <a:gd name="connsiteY5" fmla="*/ 0 h 1259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29016" h="125960">
                  <a:moveTo>
                    <a:pt x="0" y="125961"/>
                  </a:moveTo>
                  <a:lnTo>
                    <a:pt x="38525" y="98936"/>
                  </a:lnTo>
                  <a:lnTo>
                    <a:pt x="38525" y="53411"/>
                  </a:lnTo>
                  <a:lnTo>
                    <a:pt x="55105" y="53411"/>
                  </a:lnTo>
                  <a:lnTo>
                    <a:pt x="55105" y="0"/>
                  </a:lnTo>
                  <a:lnTo>
                    <a:pt x="129016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37" name="Forma livre: Forma 1036">
              <a:extLst>
                <a:ext uri="{FF2B5EF4-FFF2-40B4-BE49-F238E27FC236}">
                  <a16:creationId xmlns:a16="http://schemas.microsoft.com/office/drawing/2014/main" id="{B8E8831F-275D-D359-28BF-5A637EB21BBB}"/>
                </a:ext>
              </a:extLst>
            </p:cNvPr>
            <p:cNvSpPr/>
            <p:nvPr/>
          </p:nvSpPr>
          <p:spPr>
            <a:xfrm>
              <a:off x="9215859" y="2640608"/>
              <a:ext cx="1184" cy="61594"/>
            </a:xfrm>
            <a:custGeom>
              <a:avLst/>
              <a:gdLst>
                <a:gd name="connsiteX0" fmla="*/ 0 w 1184"/>
                <a:gd name="connsiteY0" fmla="*/ 0 h 61594"/>
                <a:gd name="connsiteX1" fmla="*/ 0 w 1184"/>
                <a:gd name="connsiteY1" fmla="*/ 61595 h 615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84" h="61594">
                  <a:moveTo>
                    <a:pt x="0" y="0"/>
                  </a:moveTo>
                  <a:lnTo>
                    <a:pt x="0" y="61595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38" name="Forma livre: Forma 1037">
              <a:extLst>
                <a:ext uri="{FF2B5EF4-FFF2-40B4-BE49-F238E27FC236}">
                  <a16:creationId xmlns:a16="http://schemas.microsoft.com/office/drawing/2014/main" id="{B7D75E56-E58F-4E12-9EC8-98602242D768}"/>
                </a:ext>
              </a:extLst>
            </p:cNvPr>
            <p:cNvSpPr/>
            <p:nvPr/>
          </p:nvSpPr>
          <p:spPr>
            <a:xfrm>
              <a:off x="9419545" y="2605564"/>
              <a:ext cx="1184" cy="68688"/>
            </a:xfrm>
            <a:custGeom>
              <a:avLst/>
              <a:gdLst>
                <a:gd name="connsiteX0" fmla="*/ 0 w 1184"/>
                <a:gd name="connsiteY0" fmla="*/ 0 h 68688"/>
                <a:gd name="connsiteX1" fmla="*/ 0 w 1184"/>
                <a:gd name="connsiteY1" fmla="*/ 68689 h 686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84" h="68688">
                  <a:moveTo>
                    <a:pt x="0" y="0"/>
                  </a:moveTo>
                  <a:lnTo>
                    <a:pt x="0" y="68689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39" name="Forma livre: Forma 1038">
              <a:extLst>
                <a:ext uri="{FF2B5EF4-FFF2-40B4-BE49-F238E27FC236}">
                  <a16:creationId xmlns:a16="http://schemas.microsoft.com/office/drawing/2014/main" id="{640C35C9-2D11-5D01-8B15-9597BF5595F5}"/>
                </a:ext>
              </a:extLst>
            </p:cNvPr>
            <p:cNvSpPr/>
            <p:nvPr/>
          </p:nvSpPr>
          <p:spPr>
            <a:xfrm>
              <a:off x="9445599" y="2605564"/>
              <a:ext cx="1184" cy="68688"/>
            </a:xfrm>
            <a:custGeom>
              <a:avLst/>
              <a:gdLst>
                <a:gd name="connsiteX0" fmla="*/ 0 w 1184"/>
                <a:gd name="connsiteY0" fmla="*/ 0 h 68688"/>
                <a:gd name="connsiteX1" fmla="*/ 0 w 1184"/>
                <a:gd name="connsiteY1" fmla="*/ 68689 h 686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84" h="68688">
                  <a:moveTo>
                    <a:pt x="0" y="0"/>
                  </a:moveTo>
                  <a:lnTo>
                    <a:pt x="0" y="68689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40" name="Forma livre: Forma 1039">
              <a:extLst>
                <a:ext uri="{FF2B5EF4-FFF2-40B4-BE49-F238E27FC236}">
                  <a16:creationId xmlns:a16="http://schemas.microsoft.com/office/drawing/2014/main" id="{94C88444-D437-A2CC-7E04-C8F38C87ED97}"/>
                </a:ext>
              </a:extLst>
            </p:cNvPr>
            <p:cNvSpPr/>
            <p:nvPr/>
          </p:nvSpPr>
          <p:spPr>
            <a:xfrm>
              <a:off x="9240244" y="2640608"/>
              <a:ext cx="1184" cy="61594"/>
            </a:xfrm>
            <a:custGeom>
              <a:avLst/>
              <a:gdLst>
                <a:gd name="connsiteX0" fmla="*/ 0 w 1184"/>
                <a:gd name="connsiteY0" fmla="*/ 0 h 61594"/>
                <a:gd name="connsiteX1" fmla="*/ 0 w 1184"/>
                <a:gd name="connsiteY1" fmla="*/ 61595 h 615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84" h="61594">
                  <a:moveTo>
                    <a:pt x="0" y="0"/>
                  </a:moveTo>
                  <a:lnTo>
                    <a:pt x="0" y="61595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41" name="Forma livre: Forma 1040">
              <a:extLst>
                <a:ext uri="{FF2B5EF4-FFF2-40B4-BE49-F238E27FC236}">
                  <a16:creationId xmlns:a16="http://schemas.microsoft.com/office/drawing/2014/main" id="{2349D4A2-7E4F-8614-C88B-0C838F3BE15B}"/>
                </a:ext>
              </a:extLst>
            </p:cNvPr>
            <p:cNvSpPr/>
            <p:nvPr/>
          </p:nvSpPr>
          <p:spPr>
            <a:xfrm>
              <a:off x="9206373" y="2769221"/>
              <a:ext cx="52108" cy="1184"/>
            </a:xfrm>
            <a:custGeom>
              <a:avLst/>
              <a:gdLst>
                <a:gd name="connsiteX0" fmla="*/ 0 w 52108"/>
                <a:gd name="connsiteY0" fmla="*/ 0 h 1184"/>
                <a:gd name="connsiteX1" fmla="*/ 52109 w 52108"/>
                <a:gd name="connsiteY1" fmla="*/ 0 h 11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2108" h="1184">
                  <a:moveTo>
                    <a:pt x="0" y="0"/>
                  </a:moveTo>
                  <a:lnTo>
                    <a:pt x="52109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42" name="Forma livre: Forma 1041">
              <a:extLst>
                <a:ext uri="{FF2B5EF4-FFF2-40B4-BE49-F238E27FC236}">
                  <a16:creationId xmlns:a16="http://schemas.microsoft.com/office/drawing/2014/main" id="{3AAD923B-DE02-28D8-CC7F-665DF2DDC43C}"/>
                </a:ext>
              </a:extLst>
            </p:cNvPr>
            <p:cNvSpPr/>
            <p:nvPr/>
          </p:nvSpPr>
          <p:spPr>
            <a:xfrm>
              <a:off x="9189094" y="2802855"/>
              <a:ext cx="30791" cy="1184"/>
            </a:xfrm>
            <a:custGeom>
              <a:avLst/>
              <a:gdLst>
                <a:gd name="connsiteX0" fmla="*/ 0 w 30791"/>
                <a:gd name="connsiteY0" fmla="*/ 0 h 1184"/>
                <a:gd name="connsiteX1" fmla="*/ 30792 w 30791"/>
                <a:gd name="connsiteY1" fmla="*/ 0 h 11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0791" h="1184">
                  <a:moveTo>
                    <a:pt x="0" y="0"/>
                  </a:moveTo>
                  <a:lnTo>
                    <a:pt x="30792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044" name="Gráfico 11">
            <a:extLst>
              <a:ext uri="{FF2B5EF4-FFF2-40B4-BE49-F238E27FC236}">
                <a16:creationId xmlns:a16="http://schemas.microsoft.com/office/drawing/2014/main" id="{389CD20E-2CEA-4FC1-EA16-24D3939167DE}"/>
              </a:ext>
            </a:extLst>
          </p:cNvPr>
          <p:cNvGrpSpPr/>
          <p:nvPr/>
        </p:nvGrpSpPr>
        <p:grpSpPr>
          <a:xfrm>
            <a:off x="11010756" y="3131084"/>
            <a:ext cx="268043" cy="295196"/>
            <a:chOff x="11010756" y="3131084"/>
            <a:chExt cx="268043" cy="295196"/>
          </a:xfrm>
          <a:noFill/>
        </p:grpSpPr>
        <p:sp>
          <p:nvSpPr>
            <p:cNvPr id="1045" name="Forma livre: Forma 1044">
              <a:extLst>
                <a:ext uri="{FF2B5EF4-FFF2-40B4-BE49-F238E27FC236}">
                  <a16:creationId xmlns:a16="http://schemas.microsoft.com/office/drawing/2014/main" id="{06A073E5-BEBC-56A3-8F9C-F660FC020B14}"/>
                </a:ext>
              </a:extLst>
            </p:cNvPr>
            <p:cNvSpPr/>
            <p:nvPr/>
          </p:nvSpPr>
          <p:spPr>
            <a:xfrm>
              <a:off x="11010756" y="3221022"/>
              <a:ext cx="39450" cy="132929"/>
            </a:xfrm>
            <a:custGeom>
              <a:avLst/>
              <a:gdLst>
                <a:gd name="connsiteX0" fmla="*/ 39451 w 39450"/>
                <a:gd name="connsiteY0" fmla="*/ 132930 h 132929"/>
                <a:gd name="connsiteX1" fmla="*/ 0 w 39450"/>
                <a:gd name="connsiteY1" fmla="*/ 93849 h 132929"/>
                <a:gd name="connsiteX2" fmla="*/ 0 w 39450"/>
                <a:gd name="connsiteY2" fmla="*/ 0 h 1329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9450" h="132929">
                  <a:moveTo>
                    <a:pt x="39451" y="132930"/>
                  </a:moveTo>
                  <a:cubicBezTo>
                    <a:pt x="17763" y="132930"/>
                    <a:pt x="0" y="115549"/>
                    <a:pt x="0" y="93849"/>
                  </a:cubicBezTo>
                  <a:lnTo>
                    <a:pt x="0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46" name="Forma livre: Forma 1045">
              <a:extLst>
                <a:ext uri="{FF2B5EF4-FFF2-40B4-BE49-F238E27FC236}">
                  <a16:creationId xmlns:a16="http://schemas.microsoft.com/office/drawing/2014/main" id="{F4E321F1-0E08-4F7D-40F3-DC509D05DBF5}"/>
                </a:ext>
              </a:extLst>
            </p:cNvPr>
            <p:cNvSpPr/>
            <p:nvPr/>
          </p:nvSpPr>
          <p:spPr>
            <a:xfrm>
              <a:off x="11105476" y="3298433"/>
              <a:ext cx="173323" cy="1192"/>
            </a:xfrm>
            <a:custGeom>
              <a:avLst/>
              <a:gdLst>
                <a:gd name="connsiteX0" fmla="*/ 0 w 173323"/>
                <a:gd name="connsiteY0" fmla="*/ 0 h 1192"/>
                <a:gd name="connsiteX1" fmla="*/ 173323 w 173323"/>
                <a:gd name="connsiteY1" fmla="*/ 0 h 11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73323" h="1192">
                  <a:moveTo>
                    <a:pt x="0" y="0"/>
                  </a:moveTo>
                  <a:lnTo>
                    <a:pt x="173323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47" name="Forma livre: Forma 1046">
              <a:extLst>
                <a:ext uri="{FF2B5EF4-FFF2-40B4-BE49-F238E27FC236}">
                  <a16:creationId xmlns:a16="http://schemas.microsoft.com/office/drawing/2014/main" id="{697802D9-732A-5FFA-B080-0B012715CF9B}"/>
                </a:ext>
              </a:extLst>
            </p:cNvPr>
            <p:cNvSpPr/>
            <p:nvPr/>
          </p:nvSpPr>
          <p:spPr>
            <a:xfrm>
              <a:off x="11257195" y="3316243"/>
              <a:ext cx="1192" cy="110037"/>
            </a:xfrm>
            <a:custGeom>
              <a:avLst/>
              <a:gdLst>
                <a:gd name="connsiteX0" fmla="*/ 0 w 1192"/>
                <a:gd name="connsiteY0" fmla="*/ 0 h 110037"/>
                <a:gd name="connsiteX1" fmla="*/ 0 w 1192"/>
                <a:gd name="connsiteY1" fmla="*/ 110037 h 1100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92" h="110037">
                  <a:moveTo>
                    <a:pt x="0" y="0"/>
                  </a:moveTo>
                  <a:lnTo>
                    <a:pt x="0" y="110037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48" name="Forma livre: Forma 1047">
              <a:extLst>
                <a:ext uri="{FF2B5EF4-FFF2-40B4-BE49-F238E27FC236}">
                  <a16:creationId xmlns:a16="http://schemas.microsoft.com/office/drawing/2014/main" id="{821371BD-4F6A-1E77-5B54-213BAFADF010}"/>
                </a:ext>
              </a:extLst>
            </p:cNvPr>
            <p:cNvSpPr/>
            <p:nvPr/>
          </p:nvSpPr>
          <p:spPr>
            <a:xfrm>
              <a:off x="11162415" y="3223694"/>
              <a:ext cx="99789" cy="74678"/>
            </a:xfrm>
            <a:custGeom>
              <a:avLst/>
              <a:gdLst>
                <a:gd name="connsiteX0" fmla="*/ 0 w 99789"/>
                <a:gd name="connsiteY0" fmla="*/ 32484 h 74678"/>
                <a:gd name="connsiteX1" fmla="*/ 11739 w 99789"/>
                <a:gd name="connsiteY1" fmla="*/ 0 h 74678"/>
                <a:gd name="connsiteX2" fmla="*/ 99790 w 99789"/>
                <a:gd name="connsiteY2" fmla="*/ 0 h 74678"/>
                <a:gd name="connsiteX3" fmla="*/ 72293 w 99789"/>
                <a:gd name="connsiteY3" fmla="*/ 74678 h 746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9789" h="74678">
                  <a:moveTo>
                    <a:pt x="0" y="32484"/>
                  </a:moveTo>
                  <a:lnTo>
                    <a:pt x="11739" y="0"/>
                  </a:lnTo>
                  <a:lnTo>
                    <a:pt x="99790" y="0"/>
                  </a:lnTo>
                  <a:lnTo>
                    <a:pt x="72293" y="74678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49" name="Forma livre: Forma 1048">
              <a:extLst>
                <a:ext uri="{FF2B5EF4-FFF2-40B4-BE49-F238E27FC236}">
                  <a16:creationId xmlns:a16="http://schemas.microsoft.com/office/drawing/2014/main" id="{D843E629-B628-3EB8-C51F-895F5C3D7BB0}"/>
                </a:ext>
              </a:extLst>
            </p:cNvPr>
            <p:cNvSpPr/>
            <p:nvPr/>
          </p:nvSpPr>
          <p:spPr>
            <a:xfrm>
              <a:off x="11064203" y="3131084"/>
              <a:ext cx="54047" cy="54044"/>
            </a:xfrm>
            <a:custGeom>
              <a:avLst/>
              <a:gdLst>
                <a:gd name="connsiteX0" fmla="*/ 1846 w 54047"/>
                <a:gd name="connsiteY0" fmla="*/ 36840 h 54044"/>
                <a:gd name="connsiteX1" fmla="*/ 36847 w 54047"/>
                <a:gd name="connsiteY1" fmla="*/ 52194 h 54044"/>
                <a:gd name="connsiteX2" fmla="*/ 52188 w 54047"/>
                <a:gd name="connsiteY2" fmla="*/ 17204 h 54044"/>
                <a:gd name="connsiteX3" fmla="*/ 17211 w 54047"/>
                <a:gd name="connsiteY3" fmla="*/ 1851 h 54044"/>
                <a:gd name="connsiteX4" fmla="*/ 1846 w 54047"/>
                <a:gd name="connsiteY4" fmla="*/ 36840 h 540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4047" h="54044">
                  <a:moveTo>
                    <a:pt x="1846" y="36840"/>
                  </a:moveTo>
                  <a:cubicBezTo>
                    <a:pt x="7274" y="50738"/>
                    <a:pt x="22937" y="57610"/>
                    <a:pt x="36847" y="52194"/>
                  </a:cubicBezTo>
                  <a:cubicBezTo>
                    <a:pt x="50757" y="46766"/>
                    <a:pt x="57616" y="31102"/>
                    <a:pt x="52188" y="17204"/>
                  </a:cubicBezTo>
                  <a:cubicBezTo>
                    <a:pt x="46772" y="3307"/>
                    <a:pt x="31109" y="-3565"/>
                    <a:pt x="17211" y="1851"/>
                  </a:cubicBezTo>
                  <a:cubicBezTo>
                    <a:pt x="3302" y="7267"/>
                    <a:pt x="-3558" y="22942"/>
                    <a:pt x="1846" y="36840"/>
                  </a:cubicBez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50" name="Forma livre: Forma 1049">
              <a:extLst>
                <a:ext uri="{FF2B5EF4-FFF2-40B4-BE49-F238E27FC236}">
                  <a16:creationId xmlns:a16="http://schemas.microsoft.com/office/drawing/2014/main" id="{67FB39B4-FA70-07CF-0B6B-060585F27FAA}"/>
                </a:ext>
              </a:extLst>
            </p:cNvPr>
            <p:cNvSpPr/>
            <p:nvPr/>
          </p:nvSpPr>
          <p:spPr>
            <a:xfrm>
              <a:off x="11023086" y="3204302"/>
              <a:ext cx="152117" cy="218409"/>
            </a:xfrm>
            <a:custGeom>
              <a:avLst/>
              <a:gdLst>
                <a:gd name="connsiteX0" fmla="*/ 43906 w 152117"/>
                <a:gd name="connsiteY0" fmla="*/ 43955 h 218409"/>
                <a:gd name="connsiteX1" fmla="*/ 98113 w 152117"/>
                <a:gd name="connsiteY1" fmla="*/ 82976 h 218409"/>
                <a:gd name="connsiteX2" fmla="*/ 130191 w 152117"/>
                <a:gd name="connsiteY2" fmla="*/ 73075 h 218409"/>
                <a:gd name="connsiteX3" fmla="*/ 51027 w 152117"/>
                <a:gd name="connsiteY3" fmla="*/ 2536 h 218409"/>
                <a:gd name="connsiteX4" fmla="*/ 15024 w 152117"/>
                <a:gd name="connsiteY4" fmla="*/ 18199 h 218409"/>
                <a:gd name="connsiteX5" fmla="*/ 876 w 152117"/>
                <a:gd name="connsiteY5" fmla="*/ 103447 h 218409"/>
                <a:gd name="connsiteX6" fmla="*/ 29972 w 152117"/>
                <a:gd name="connsiteY6" fmla="*/ 149650 h 218409"/>
                <a:gd name="connsiteX7" fmla="*/ 83046 w 152117"/>
                <a:gd name="connsiteY7" fmla="*/ 149650 h 218409"/>
                <a:gd name="connsiteX8" fmla="*/ 115113 w 152117"/>
                <a:gd name="connsiteY8" fmla="*/ 201090 h 218409"/>
                <a:gd name="connsiteX9" fmla="*/ 152118 w 152117"/>
                <a:gd name="connsiteY9" fmla="*/ 215894 h 218409"/>
                <a:gd name="connsiteX10" fmla="*/ 114707 w 152117"/>
                <a:gd name="connsiteY10" fmla="*/ 130610 h 218409"/>
                <a:gd name="connsiteX11" fmla="*/ 108587 w 152117"/>
                <a:gd name="connsiteY11" fmla="*/ 121795 h 218409"/>
                <a:gd name="connsiteX12" fmla="*/ 100081 w 152117"/>
                <a:gd name="connsiteY12" fmla="*/ 116235 h 218409"/>
                <a:gd name="connsiteX13" fmla="*/ 49882 w 152117"/>
                <a:gd name="connsiteY13" fmla="*/ 104008 h 218409"/>
                <a:gd name="connsiteX14" fmla="*/ 57231 w 152117"/>
                <a:gd name="connsiteY14" fmla="*/ 75759 h 218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52117" h="218409">
                  <a:moveTo>
                    <a:pt x="43906" y="43955"/>
                  </a:moveTo>
                  <a:lnTo>
                    <a:pt x="98113" y="82976"/>
                  </a:lnTo>
                  <a:cubicBezTo>
                    <a:pt x="110126" y="89299"/>
                    <a:pt x="127805" y="88822"/>
                    <a:pt x="130191" y="73075"/>
                  </a:cubicBezTo>
                  <a:lnTo>
                    <a:pt x="51027" y="2536"/>
                  </a:lnTo>
                  <a:cubicBezTo>
                    <a:pt x="30604" y="-5540"/>
                    <a:pt x="16062" y="7308"/>
                    <a:pt x="15024" y="18199"/>
                  </a:cubicBezTo>
                  <a:lnTo>
                    <a:pt x="876" y="103447"/>
                  </a:lnTo>
                  <a:cubicBezTo>
                    <a:pt x="876" y="103447"/>
                    <a:pt x="-7880" y="149650"/>
                    <a:pt x="29972" y="149650"/>
                  </a:cubicBezTo>
                  <a:lnTo>
                    <a:pt x="83046" y="149650"/>
                  </a:lnTo>
                  <a:cubicBezTo>
                    <a:pt x="83046" y="149650"/>
                    <a:pt x="101549" y="177839"/>
                    <a:pt x="115113" y="201090"/>
                  </a:cubicBezTo>
                  <a:cubicBezTo>
                    <a:pt x="127495" y="222288"/>
                    <a:pt x="138745" y="219545"/>
                    <a:pt x="152118" y="215894"/>
                  </a:cubicBezTo>
                  <a:lnTo>
                    <a:pt x="114707" y="130610"/>
                  </a:lnTo>
                  <a:cubicBezTo>
                    <a:pt x="114707" y="130610"/>
                    <a:pt x="112822" y="125552"/>
                    <a:pt x="108587" y="121795"/>
                  </a:cubicBezTo>
                  <a:cubicBezTo>
                    <a:pt x="104078" y="117405"/>
                    <a:pt x="100081" y="116235"/>
                    <a:pt x="100081" y="116235"/>
                  </a:cubicBezTo>
                  <a:lnTo>
                    <a:pt x="49882" y="104008"/>
                  </a:lnTo>
                  <a:lnTo>
                    <a:pt x="57231" y="75759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051" name="Gráfico 11">
              <a:extLst>
                <a:ext uri="{FF2B5EF4-FFF2-40B4-BE49-F238E27FC236}">
                  <a16:creationId xmlns:a16="http://schemas.microsoft.com/office/drawing/2014/main" id="{3518CEDE-221A-6F6F-C219-57825ACA24EC}"/>
                </a:ext>
              </a:extLst>
            </p:cNvPr>
            <p:cNvGrpSpPr/>
            <p:nvPr/>
          </p:nvGrpSpPr>
          <p:grpSpPr>
            <a:xfrm>
              <a:off x="11027266" y="3354716"/>
              <a:ext cx="67174" cy="71564"/>
              <a:chOff x="11027266" y="3354716"/>
              <a:chExt cx="67174" cy="71564"/>
            </a:xfrm>
            <a:noFill/>
          </p:grpSpPr>
          <p:sp>
            <p:nvSpPr>
              <p:cNvPr id="1052" name="Forma livre: Forma 1051">
                <a:extLst>
                  <a:ext uri="{FF2B5EF4-FFF2-40B4-BE49-F238E27FC236}">
                    <a16:creationId xmlns:a16="http://schemas.microsoft.com/office/drawing/2014/main" id="{FF01A183-05A1-EDF7-1D03-D791E1FEF5A4}"/>
                  </a:ext>
                </a:extLst>
              </p:cNvPr>
              <p:cNvSpPr/>
              <p:nvPr/>
            </p:nvSpPr>
            <p:spPr>
              <a:xfrm>
                <a:off x="11060848" y="3354716"/>
                <a:ext cx="1192" cy="48958"/>
              </a:xfrm>
              <a:custGeom>
                <a:avLst/>
                <a:gdLst>
                  <a:gd name="connsiteX0" fmla="*/ 0 w 1192"/>
                  <a:gd name="connsiteY0" fmla="*/ 0 h 48958"/>
                  <a:gd name="connsiteX1" fmla="*/ 0 w 1192"/>
                  <a:gd name="connsiteY1" fmla="*/ 48959 h 489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2" h="48958">
                    <a:moveTo>
                      <a:pt x="0" y="0"/>
                    </a:moveTo>
                    <a:lnTo>
                      <a:pt x="0" y="48959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053" name="Forma livre: Forma 1052">
                <a:extLst>
                  <a:ext uri="{FF2B5EF4-FFF2-40B4-BE49-F238E27FC236}">
                    <a16:creationId xmlns:a16="http://schemas.microsoft.com/office/drawing/2014/main" id="{C9CBF017-1BBC-376D-E5F4-07E1935981D8}"/>
                  </a:ext>
                </a:extLst>
              </p:cNvPr>
              <p:cNvSpPr/>
              <p:nvPr/>
            </p:nvSpPr>
            <p:spPr>
              <a:xfrm>
                <a:off x="11027266" y="3404426"/>
                <a:ext cx="67174" cy="21854"/>
              </a:xfrm>
              <a:custGeom>
                <a:avLst/>
                <a:gdLst>
                  <a:gd name="connsiteX0" fmla="*/ 0 w 67174"/>
                  <a:gd name="connsiteY0" fmla="*/ 21855 h 21854"/>
                  <a:gd name="connsiteX1" fmla="*/ 0 w 67174"/>
                  <a:gd name="connsiteY1" fmla="*/ 10200 h 21854"/>
                  <a:gd name="connsiteX2" fmla="*/ 10212 w 67174"/>
                  <a:gd name="connsiteY2" fmla="*/ 0 h 21854"/>
                  <a:gd name="connsiteX3" fmla="*/ 56975 w 67174"/>
                  <a:gd name="connsiteY3" fmla="*/ 0 h 21854"/>
                  <a:gd name="connsiteX4" fmla="*/ 67175 w 67174"/>
                  <a:gd name="connsiteY4" fmla="*/ 10200 h 21854"/>
                  <a:gd name="connsiteX5" fmla="*/ 67175 w 67174"/>
                  <a:gd name="connsiteY5" fmla="*/ 21855 h 218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67174" h="21854">
                    <a:moveTo>
                      <a:pt x="0" y="21855"/>
                    </a:moveTo>
                    <a:lnTo>
                      <a:pt x="0" y="10200"/>
                    </a:lnTo>
                    <a:cubicBezTo>
                      <a:pt x="0" y="4593"/>
                      <a:pt x="4605" y="0"/>
                      <a:pt x="10212" y="0"/>
                    </a:cubicBezTo>
                    <a:lnTo>
                      <a:pt x="56975" y="0"/>
                    </a:lnTo>
                    <a:cubicBezTo>
                      <a:pt x="62582" y="0"/>
                      <a:pt x="67175" y="4593"/>
                      <a:pt x="67175" y="10200"/>
                    </a:cubicBezTo>
                    <a:lnTo>
                      <a:pt x="67175" y="21855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054" name="Gráfico 11">
            <a:extLst>
              <a:ext uri="{FF2B5EF4-FFF2-40B4-BE49-F238E27FC236}">
                <a16:creationId xmlns:a16="http://schemas.microsoft.com/office/drawing/2014/main" id="{BCB6D5FE-C86E-35E8-B4E3-1652DBB67E6F}"/>
              </a:ext>
            </a:extLst>
          </p:cNvPr>
          <p:cNvGrpSpPr/>
          <p:nvPr/>
        </p:nvGrpSpPr>
        <p:grpSpPr>
          <a:xfrm>
            <a:off x="11001833" y="2040793"/>
            <a:ext cx="285889" cy="342268"/>
            <a:chOff x="11001833" y="2040793"/>
            <a:chExt cx="285889" cy="342268"/>
          </a:xfrm>
          <a:noFill/>
        </p:grpSpPr>
        <p:sp>
          <p:nvSpPr>
            <p:cNvPr id="1055" name="Forma livre: Forma 1054">
              <a:extLst>
                <a:ext uri="{FF2B5EF4-FFF2-40B4-BE49-F238E27FC236}">
                  <a16:creationId xmlns:a16="http://schemas.microsoft.com/office/drawing/2014/main" id="{C6E4B4C0-1455-4691-8CBE-043C99E5104E}"/>
                </a:ext>
              </a:extLst>
            </p:cNvPr>
            <p:cNvSpPr/>
            <p:nvPr/>
          </p:nvSpPr>
          <p:spPr>
            <a:xfrm>
              <a:off x="11026777" y="2126375"/>
              <a:ext cx="69429" cy="1192"/>
            </a:xfrm>
            <a:custGeom>
              <a:avLst/>
              <a:gdLst>
                <a:gd name="connsiteX0" fmla="*/ 69429 w 69429"/>
                <a:gd name="connsiteY0" fmla="*/ 0 h 1192"/>
                <a:gd name="connsiteX1" fmla="*/ 0 w 69429"/>
                <a:gd name="connsiteY1" fmla="*/ 0 h 11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9429" h="1192">
                  <a:moveTo>
                    <a:pt x="69429" y="0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56" name="Forma livre: Forma 1055">
              <a:extLst>
                <a:ext uri="{FF2B5EF4-FFF2-40B4-BE49-F238E27FC236}">
                  <a16:creationId xmlns:a16="http://schemas.microsoft.com/office/drawing/2014/main" id="{1956E992-536A-ADAE-582A-CDF295A11320}"/>
                </a:ext>
              </a:extLst>
            </p:cNvPr>
            <p:cNvSpPr/>
            <p:nvPr/>
          </p:nvSpPr>
          <p:spPr>
            <a:xfrm>
              <a:off x="11026777" y="2153979"/>
              <a:ext cx="69429" cy="1192"/>
            </a:xfrm>
            <a:custGeom>
              <a:avLst/>
              <a:gdLst>
                <a:gd name="connsiteX0" fmla="*/ 69429 w 69429"/>
                <a:gd name="connsiteY0" fmla="*/ 0 h 1192"/>
                <a:gd name="connsiteX1" fmla="*/ 0 w 69429"/>
                <a:gd name="connsiteY1" fmla="*/ 0 h 11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9429" h="1192">
                  <a:moveTo>
                    <a:pt x="69429" y="0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57" name="Forma livre: Forma 1056">
              <a:extLst>
                <a:ext uri="{FF2B5EF4-FFF2-40B4-BE49-F238E27FC236}">
                  <a16:creationId xmlns:a16="http://schemas.microsoft.com/office/drawing/2014/main" id="{925CBBCF-F9B4-761E-A738-B940FB7469B8}"/>
                </a:ext>
              </a:extLst>
            </p:cNvPr>
            <p:cNvSpPr/>
            <p:nvPr/>
          </p:nvSpPr>
          <p:spPr>
            <a:xfrm>
              <a:off x="11026777" y="2181584"/>
              <a:ext cx="69429" cy="1192"/>
            </a:xfrm>
            <a:custGeom>
              <a:avLst/>
              <a:gdLst>
                <a:gd name="connsiteX0" fmla="*/ 69429 w 69429"/>
                <a:gd name="connsiteY0" fmla="*/ 0 h 1192"/>
                <a:gd name="connsiteX1" fmla="*/ 0 w 69429"/>
                <a:gd name="connsiteY1" fmla="*/ 0 h 11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9429" h="1192">
                  <a:moveTo>
                    <a:pt x="69429" y="0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58" name="Forma livre: Forma 1057">
              <a:extLst>
                <a:ext uri="{FF2B5EF4-FFF2-40B4-BE49-F238E27FC236}">
                  <a16:creationId xmlns:a16="http://schemas.microsoft.com/office/drawing/2014/main" id="{01374440-CD31-A2A6-A527-0C8BA9BBDD72}"/>
                </a:ext>
              </a:extLst>
            </p:cNvPr>
            <p:cNvSpPr/>
            <p:nvPr/>
          </p:nvSpPr>
          <p:spPr>
            <a:xfrm>
              <a:off x="11026777" y="2209189"/>
              <a:ext cx="69429" cy="1192"/>
            </a:xfrm>
            <a:custGeom>
              <a:avLst/>
              <a:gdLst>
                <a:gd name="connsiteX0" fmla="*/ 69429 w 69429"/>
                <a:gd name="connsiteY0" fmla="*/ 0 h 1192"/>
                <a:gd name="connsiteX1" fmla="*/ 0 w 69429"/>
                <a:gd name="connsiteY1" fmla="*/ 0 h 11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9429" h="1192">
                  <a:moveTo>
                    <a:pt x="69429" y="0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59" name="Forma livre: Forma 1058">
              <a:extLst>
                <a:ext uri="{FF2B5EF4-FFF2-40B4-BE49-F238E27FC236}">
                  <a16:creationId xmlns:a16="http://schemas.microsoft.com/office/drawing/2014/main" id="{4B286557-AA8A-52E4-4A16-FBB54A53DEF8}"/>
                </a:ext>
              </a:extLst>
            </p:cNvPr>
            <p:cNvSpPr/>
            <p:nvPr/>
          </p:nvSpPr>
          <p:spPr>
            <a:xfrm>
              <a:off x="11026777" y="2236782"/>
              <a:ext cx="69429" cy="1192"/>
            </a:xfrm>
            <a:custGeom>
              <a:avLst/>
              <a:gdLst>
                <a:gd name="connsiteX0" fmla="*/ 69429 w 69429"/>
                <a:gd name="connsiteY0" fmla="*/ 0 h 1192"/>
                <a:gd name="connsiteX1" fmla="*/ 0 w 69429"/>
                <a:gd name="connsiteY1" fmla="*/ 0 h 11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9429" h="1192">
                  <a:moveTo>
                    <a:pt x="69429" y="0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60" name="Forma livre: Forma 1059">
              <a:extLst>
                <a:ext uri="{FF2B5EF4-FFF2-40B4-BE49-F238E27FC236}">
                  <a16:creationId xmlns:a16="http://schemas.microsoft.com/office/drawing/2014/main" id="{5A0F176B-E17F-FFFA-14D5-DCA8093683D3}"/>
                </a:ext>
              </a:extLst>
            </p:cNvPr>
            <p:cNvSpPr/>
            <p:nvPr/>
          </p:nvSpPr>
          <p:spPr>
            <a:xfrm>
              <a:off x="11061492" y="2040793"/>
              <a:ext cx="1192" cy="27664"/>
            </a:xfrm>
            <a:custGeom>
              <a:avLst/>
              <a:gdLst>
                <a:gd name="connsiteX0" fmla="*/ 0 w 1192"/>
                <a:gd name="connsiteY0" fmla="*/ 0 h 27664"/>
                <a:gd name="connsiteX1" fmla="*/ 0 w 1192"/>
                <a:gd name="connsiteY1" fmla="*/ 27664 h 276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92" h="27664">
                  <a:moveTo>
                    <a:pt x="0" y="0"/>
                  </a:moveTo>
                  <a:lnTo>
                    <a:pt x="0" y="27664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61" name="Forma livre: Forma 1060">
              <a:extLst>
                <a:ext uri="{FF2B5EF4-FFF2-40B4-BE49-F238E27FC236}">
                  <a16:creationId xmlns:a16="http://schemas.microsoft.com/office/drawing/2014/main" id="{359209F7-7FBE-9AA5-07B5-74B198DC8A81}"/>
                </a:ext>
              </a:extLst>
            </p:cNvPr>
            <p:cNvSpPr/>
            <p:nvPr/>
          </p:nvSpPr>
          <p:spPr>
            <a:xfrm>
              <a:off x="11001833" y="2096444"/>
              <a:ext cx="119318" cy="146446"/>
            </a:xfrm>
            <a:custGeom>
              <a:avLst/>
              <a:gdLst>
                <a:gd name="connsiteX0" fmla="*/ 119319 w 119318"/>
                <a:gd name="connsiteY0" fmla="*/ 146446 h 146446"/>
                <a:gd name="connsiteX1" fmla="*/ 119319 w 119318"/>
                <a:gd name="connsiteY1" fmla="*/ 0 h 146446"/>
                <a:gd name="connsiteX2" fmla="*/ 0 w 119318"/>
                <a:gd name="connsiteY2" fmla="*/ 0 h 146446"/>
                <a:gd name="connsiteX3" fmla="*/ 0 w 119318"/>
                <a:gd name="connsiteY3" fmla="*/ 146446 h 1464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9318" h="146446">
                  <a:moveTo>
                    <a:pt x="119319" y="146446"/>
                  </a:moveTo>
                  <a:lnTo>
                    <a:pt x="119319" y="0"/>
                  </a:lnTo>
                  <a:lnTo>
                    <a:pt x="0" y="0"/>
                  </a:lnTo>
                  <a:lnTo>
                    <a:pt x="0" y="146446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62" name="Forma livre: Forma 1061">
              <a:extLst>
                <a:ext uri="{FF2B5EF4-FFF2-40B4-BE49-F238E27FC236}">
                  <a16:creationId xmlns:a16="http://schemas.microsoft.com/office/drawing/2014/main" id="{B24AD345-B35B-9459-A7C7-56125A67D671}"/>
                </a:ext>
              </a:extLst>
            </p:cNvPr>
            <p:cNvSpPr/>
            <p:nvPr/>
          </p:nvSpPr>
          <p:spPr>
            <a:xfrm>
              <a:off x="11021468" y="2069364"/>
              <a:ext cx="80058" cy="25099"/>
            </a:xfrm>
            <a:custGeom>
              <a:avLst/>
              <a:gdLst>
                <a:gd name="connsiteX0" fmla="*/ 80059 w 80058"/>
                <a:gd name="connsiteY0" fmla="*/ 24587 h 25099"/>
                <a:gd name="connsiteX1" fmla="*/ 80059 w 80058"/>
                <a:gd name="connsiteY1" fmla="*/ 0 h 25099"/>
                <a:gd name="connsiteX2" fmla="*/ 0 w 80058"/>
                <a:gd name="connsiteY2" fmla="*/ 0 h 25099"/>
                <a:gd name="connsiteX3" fmla="*/ 0 w 80058"/>
                <a:gd name="connsiteY3" fmla="*/ 25100 h 250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0058" h="25099">
                  <a:moveTo>
                    <a:pt x="80059" y="24587"/>
                  </a:moveTo>
                  <a:lnTo>
                    <a:pt x="80059" y="0"/>
                  </a:lnTo>
                  <a:lnTo>
                    <a:pt x="0" y="0"/>
                  </a:lnTo>
                  <a:lnTo>
                    <a:pt x="0" y="25100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063" name="Gráfico 11">
              <a:extLst>
                <a:ext uri="{FF2B5EF4-FFF2-40B4-BE49-F238E27FC236}">
                  <a16:creationId xmlns:a16="http://schemas.microsoft.com/office/drawing/2014/main" id="{31D23431-2A72-7EFA-3955-7D2E12352479}"/>
                </a:ext>
              </a:extLst>
            </p:cNvPr>
            <p:cNvGrpSpPr/>
            <p:nvPr/>
          </p:nvGrpSpPr>
          <p:grpSpPr>
            <a:xfrm>
              <a:off x="11146955" y="2259710"/>
              <a:ext cx="140767" cy="123350"/>
              <a:chOff x="11146955" y="2259710"/>
              <a:chExt cx="140767" cy="123350"/>
            </a:xfrm>
            <a:noFill/>
          </p:grpSpPr>
          <p:sp>
            <p:nvSpPr>
              <p:cNvPr id="1064" name="Forma livre: Forma 1063">
                <a:extLst>
                  <a:ext uri="{FF2B5EF4-FFF2-40B4-BE49-F238E27FC236}">
                    <a16:creationId xmlns:a16="http://schemas.microsoft.com/office/drawing/2014/main" id="{27B68A31-520E-8DC7-9384-976A850C4DB5}"/>
                  </a:ext>
                </a:extLst>
              </p:cNvPr>
              <p:cNvSpPr/>
              <p:nvPr/>
            </p:nvSpPr>
            <p:spPr>
              <a:xfrm>
                <a:off x="11146955" y="2259710"/>
                <a:ext cx="140767" cy="61234"/>
              </a:xfrm>
              <a:custGeom>
                <a:avLst/>
                <a:gdLst>
                  <a:gd name="connsiteX0" fmla="*/ 0 w 140767"/>
                  <a:gd name="connsiteY0" fmla="*/ 61222 h 61234"/>
                  <a:gd name="connsiteX1" fmla="*/ 70181 w 140767"/>
                  <a:gd name="connsiteY1" fmla="*/ 0 h 61234"/>
                  <a:gd name="connsiteX2" fmla="*/ 140768 w 140767"/>
                  <a:gd name="connsiteY2" fmla="*/ 61234 h 612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40767" h="61234">
                    <a:moveTo>
                      <a:pt x="0" y="61222"/>
                    </a:moveTo>
                    <a:lnTo>
                      <a:pt x="70181" y="0"/>
                    </a:lnTo>
                    <a:lnTo>
                      <a:pt x="140768" y="61234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065" name="Forma livre: Forma 1064">
                <a:extLst>
                  <a:ext uri="{FF2B5EF4-FFF2-40B4-BE49-F238E27FC236}">
                    <a16:creationId xmlns:a16="http://schemas.microsoft.com/office/drawing/2014/main" id="{6D96BA8F-4CF6-DABC-D230-12082B55BDEA}"/>
                  </a:ext>
                </a:extLst>
              </p:cNvPr>
              <p:cNvSpPr/>
              <p:nvPr/>
            </p:nvSpPr>
            <p:spPr>
              <a:xfrm>
                <a:off x="11167020" y="2304171"/>
                <a:ext cx="1192" cy="78889"/>
              </a:xfrm>
              <a:custGeom>
                <a:avLst/>
                <a:gdLst>
                  <a:gd name="connsiteX0" fmla="*/ 0 w 1192"/>
                  <a:gd name="connsiteY0" fmla="*/ 78890 h 78889"/>
                  <a:gd name="connsiteX1" fmla="*/ 0 w 1192"/>
                  <a:gd name="connsiteY1" fmla="*/ 0 h 788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2" h="78889">
                    <a:moveTo>
                      <a:pt x="0" y="78890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066" name="Forma livre: Forma 1065">
                <a:extLst>
                  <a:ext uri="{FF2B5EF4-FFF2-40B4-BE49-F238E27FC236}">
                    <a16:creationId xmlns:a16="http://schemas.microsoft.com/office/drawing/2014/main" id="{D9EA5BA8-8E50-AC7D-DECD-B934EB3C8BE4}"/>
                  </a:ext>
                </a:extLst>
              </p:cNvPr>
              <p:cNvSpPr/>
              <p:nvPr/>
            </p:nvSpPr>
            <p:spPr>
              <a:xfrm>
                <a:off x="11202880" y="2346485"/>
                <a:ext cx="28928" cy="36575"/>
              </a:xfrm>
              <a:custGeom>
                <a:avLst/>
                <a:gdLst>
                  <a:gd name="connsiteX0" fmla="*/ 28929 w 28928"/>
                  <a:gd name="connsiteY0" fmla="*/ 36576 h 36575"/>
                  <a:gd name="connsiteX1" fmla="*/ 28929 w 28928"/>
                  <a:gd name="connsiteY1" fmla="*/ 0 h 36575"/>
                  <a:gd name="connsiteX2" fmla="*/ 0 w 28928"/>
                  <a:gd name="connsiteY2" fmla="*/ 0 h 36575"/>
                  <a:gd name="connsiteX3" fmla="*/ 0 w 28928"/>
                  <a:gd name="connsiteY3" fmla="*/ 36576 h 365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8928" h="36575">
                    <a:moveTo>
                      <a:pt x="28929" y="36576"/>
                    </a:moveTo>
                    <a:lnTo>
                      <a:pt x="28929" y="0"/>
                    </a:lnTo>
                    <a:lnTo>
                      <a:pt x="0" y="0"/>
                    </a:lnTo>
                    <a:lnTo>
                      <a:pt x="0" y="36576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067" name="Forma livre: Forma 1066">
                <a:extLst>
                  <a:ext uri="{FF2B5EF4-FFF2-40B4-BE49-F238E27FC236}">
                    <a16:creationId xmlns:a16="http://schemas.microsoft.com/office/drawing/2014/main" id="{8869A9F0-BE61-F383-5C6F-FA771210E502}"/>
                  </a:ext>
                </a:extLst>
              </p:cNvPr>
              <p:cNvSpPr/>
              <p:nvPr/>
            </p:nvSpPr>
            <p:spPr>
              <a:xfrm>
                <a:off x="11267657" y="2304839"/>
                <a:ext cx="1192" cy="78221"/>
              </a:xfrm>
              <a:custGeom>
                <a:avLst/>
                <a:gdLst>
                  <a:gd name="connsiteX0" fmla="*/ 0 w 1192"/>
                  <a:gd name="connsiteY0" fmla="*/ 0 h 78221"/>
                  <a:gd name="connsiteX1" fmla="*/ 0 w 1192"/>
                  <a:gd name="connsiteY1" fmla="*/ 78221 h 782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2" h="78221">
                    <a:moveTo>
                      <a:pt x="0" y="0"/>
                    </a:moveTo>
                    <a:lnTo>
                      <a:pt x="0" y="78221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068" name="Forma livre: Forma 1067">
              <a:extLst>
                <a:ext uri="{FF2B5EF4-FFF2-40B4-BE49-F238E27FC236}">
                  <a16:creationId xmlns:a16="http://schemas.microsoft.com/office/drawing/2014/main" id="{727127DE-7EFA-F875-F16C-8AF722B2CD51}"/>
                </a:ext>
              </a:extLst>
            </p:cNvPr>
            <p:cNvSpPr/>
            <p:nvPr/>
          </p:nvSpPr>
          <p:spPr>
            <a:xfrm>
              <a:off x="11169609" y="2141537"/>
              <a:ext cx="46668" cy="83422"/>
            </a:xfrm>
            <a:custGeom>
              <a:avLst/>
              <a:gdLst>
                <a:gd name="connsiteX0" fmla="*/ 0 w 46668"/>
                <a:gd name="connsiteY0" fmla="*/ 0 h 83422"/>
                <a:gd name="connsiteX1" fmla="*/ 22642 w 46668"/>
                <a:gd name="connsiteY1" fmla="*/ 0 h 83422"/>
                <a:gd name="connsiteX2" fmla="*/ 46668 w 46668"/>
                <a:gd name="connsiteY2" fmla="*/ 24026 h 83422"/>
                <a:gd name="connsiteX3" fmla="*/ 46668 w 46668"/>
                <a:gd name="connsiteY3" fmla="*/ 83423 h 834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6668" h="83422">
                  <a:moveTo>
                    <a:pt x="0" y="0"/>
                  </a:moveTo>
                  <a:lnTo>
                    <a:pt x="22642" y="0"/>
                  </a:lnTo>
                  <a:cubicBezTo>
                    <a:pt x="35860" y="0"/>
                    <a:pt x="46668" y="10808"/>
                    <a:pt x="46668" y="24026"/>
                  </a:cubicBezTo>
                  <a:lnTo>
                    <a:pt x="46668" y="83423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69" name="Forma livre: Forma 1068">
              <a:extLst>
                <a:ext uri="{FF2B5EF4-FFF2-40B4-BE49-F238E27FC236}">
                  <a16:creationId xmlns:a16="http://schemas.microsoft.com/office/drawing/2014/main" id="{A9E1F595-92C7-286F-B16B-2354344D0272}"/>
                </a:ext>
              </a:extLst>
            </p:cNvPr>
            <p:cNvSpPr/>
            <p:nvPr/>
          </p:nvSpPr>
          <p:spPr>
            <a:xfrm>
              <a:off x="11140596" y="2141537"/>
              <a:ext cx="16915" cy="1192"/>
            </a:xfrm>
            <a:custGeom>
              <a:avLst/>
              <a:gdLst>
                <a:gd name="connsiteX0" fmla="*/ 0 w 16915"/>
                <a:gd name="connsiteY0" fmla="*/ 0 h 1192"/>
                <a:gd name="connsiteX1" fmla="*/ 16916 w 16915"/>
                <a:gd name="connsiteY1" fmla="*/ 0 h 11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6915" h="1192">
                  <a:moveTo>
                    <a:pt x="0" y="0"/>
                  </a:moveTo>
                  <a:lnTo>
                    <a:pt x="16916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70" name="Forma livre: Forma 1069">
              <a:extLst>
                <a:ext uri="{FF2B5EF4-FFF2-40B4-BE49-F238E27FC236}">
                  <a16:creationId xmlns:a16="http://schemas.microsoft.com/office/drawing/2014/main" id="{15FABE40-2D27-4DC2-081C-B61B52889612}"/>
                </a:ext>
              </a:extLst>
            </p:cNvPr>
            <p:cNvSpPr/>
            <p:nvPr/>
          </p:nvSpPr>
          <p:spPr>
            <a:xfrm>
              <a:off x="11123776" y="2356661"/>
              <a:ext cx="16915" cy="1192"/>
            </a:xfrm>
            <a:custGeom>
              <a:avLst/>
              <a:gdLst>
                <a:gd name="connsiteX0" fmla="*/ 0 w 16915"/>
                <a:gd name="connsiteY0" fmla="*/ 0 h 1192"/>
                <a:gd name="connsiteX1" fmla="*/ 16916 w 16915"/>
                <a:gd name="connsiteY1" fmla="*/ 0 h 11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6915" h="1192">
                  <a:moveTo>
                    <a:pt x="0" y="0"/>
                  </a:moveTo>
                  <a:lnTo>
                    <a:pt x="16916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71" name="Forma livre: Forma 1070">
              <a:extLst>
                <a:ext uri="{FF2B5EF4-FFF2-40B4-BE49-F238E27FC236}">
                  <a16:creationId xmlns:a16="http://schemas.microsoft.com/office/drawing/2014/main" id="{7D23DCB0-E8F3-8EDA-49D9-B0BB6F867A9D}"/>
                </a:ext>
              </a:extLst>
            </p:cNvPr>
            <p:cNvSpPr/>
            <p:nvPr/>
          </p:nvSpPr>
          <p:spPr>
            <a:xfrm>
              <a:off x="11189197" y="2199276"/>
              <a:ext cx="54195" cy="26972"/>
            </a:xfrm>
            <a:custGeom>
              <a:avLst/>
              <a:gdLst>
                <a:gd name="connsiteX0" fmla="*/ 0 w 54195"/>
                <a:gd name="connsiteY0" fmla="*/ 0 h 26972"/>
                <a:gd name="connsiteX1" fmla="*/ 27104 w 54195"/>
                <a:gd name="connsiteY1" fmla="*/ 26973 h 26972"/>
                <a:gd name="connsiteX2" fmla="*/ 54195 w 54195"/>
                <a:gd name="connsiteY2" fmla="*/ 0 h 269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54195" h="26972">
                  <a:moveTo>
                    <a:pt x="0" y="0"/>
                  </a:moveTo>
                  <a:lnTo>
                    <a:pt x="27104" y="26973"/>
                  </a:lnTo>
                  <a:lnTo>
                    <a:pt x="54195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072" name="Gráfico 11">
              <a:extLst>
                <a:ext uri="{FF2B5EF4-FFF2-40B4-BE49-F238E27FC236}">
                  <a16:creationId xmlns:a16="http://schemas.microsoft.com/office/drawing/2014/main" id="{98E30E0B-4744-FD9F-8A5C-D2B914202B5B}"/>
                </a:ext>
              </a:extLst>
            </p:cNvPr>
            <p:cNvGrpSpPr/>
            <p:nvPr/>
          </p:nvGrpSpPr>
          <p:grpSpPr>
            <a:xfrm>
              <a:off x="11036225" y="2270852"/>
              <a:ext cx="74762" cy="85808"/>
              <a:chOff x="11036225" y="2270852"/>
              <a:chExt cx="74762" cy="85808"/>
            </a:xfrm>
            <a:noFill/>
          </p:grpSpPr>
          <p:sp>
            <p:nvSpPr>
              <p:cNvPr id="1073" name="Forma livre: Forma 1072">
                <a:extLst>
                  <a:ext uri="{FF2B5EF4-FFF2-40B4-BE49-F238E27FC236}">
                    <a16:creationId xmlns:a16="http://schemas.microsoft.com/office/drawing/2014/main" id="{3C4EF4CA-0C61-1C2A-0426-06494998A35D}"/>
                  </a:ext>
                </a:extLst>
              </p:cNvPr>
              <p:cNvSpPr/>
              <p:nvPr/>
            </p:nvSpPr>
            <p:spPr>
              <a:xfrm>
                <a:off x="11063341" y="2272129"/>
                <a:ext cx="47646" cy="84532"/>
              </a:xfrm>
              <a:custGeom>
                <a:avLst/>
                <a:gdLst>
                  <a:gd name="connsiteX0" fmla="*/ 47646 w 47646"/>
                  <a:gd name="connsiteY0" fmla="*/ 84532 h 84532"/>
                  <a:gd name="connsiteX1" fmla="*/ 24026 w 47646"/>
                  <a:gd name="connsiteY1" fmla="*/ 84532 h 84532"/>
                  <a:gd name="connsiteX2" fmla="*/ 0 w 47646"/>
                  <a:gd name="connsiteY2" fmla="*/ 60566 h 84532"/>
                  <a:gd name="connsiteX3" fmla="*/ 0 w 47646"/>
                  <a:gd name="connsiteY3" fmla="*/ 0 h 845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7646" h="84532">
                    <a:moveTo>
                      <a:pt x="47646" y="84532"/>
                    </a:moveTo>
                    <a:lnTo>
                      <a:pt x="24026" y="84532"/>
                    </a:lnTo>
                    <a:cubicBezTo>
                      <a:pt x="10808" y="84532"/>
                      <a:pt x="0" y="73784"/>
                      <a:pt x="0" y="60566"/>
                    </a:cubicBezTo>
                    <a:lnTo>
                      <a:pt x="0" y="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074" name="Forma livre: Forma 1073">
                <a:extLst>
                  <a:ext uri="{FF2B5EF4-FFF2-40B4-BE49-F238E27FC236}">
                    <a16:creationId xmlns:a16="http://schemas.microsoft.com/office/drawing/2014/main" id="{AA7D4EAE-9A2C-24C3-1156-6C59CDBC912E}"/>
                  </a:ext>
                </a:extLst>
              </p:cNvPr>
              <p:cNvSpPr/>
              <p:nvPr/>
            </p:nvSpPr>
            <p:spPr>
              <a:xfrm>
                <a:off x="11036225" y="2270852"/>
                <a:ext cx="54195" cy="26972"/>
              </a:xfrm>
              <a:custGeom>
                <a:avLst/>
                <a:gdLst>
                  <a:gd name="connsiteX0" fmla="*/ 54196 w 54195"/>
                  <a:gd name="connsiteY0" fmla="*/ 26973 h 26972"/>
                  <a:gd name="connsiteX1" fmla="*/ 27092 w 54195"/>
                  <a:gd name="connsiteY1" fmla="*/ 0 h 26972"/>
                  <a:gd name="connsiteX2" fmla="*/ 0 w 54195"/>
                  <a:gd name="connsiteY2" fmla="*/ 26973 h 269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54195" h="26972">
                    <a:moveTo>
                      <a:pt x="54196" y="26973"/>
                    </a:moveTo>
                    <a:lnTo>
                      <a:pt x="27092" y="0"/>
                    </a:lnTo>
                    <a:lnTo>
                      <a:pt x="0" y="26973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075" name="Gráfico 11">
            <a:extLst>
              <a:ext uri="{FF2B5EF4-FFF2-40B4-BE49-F238E27FC236}">
                <a16:creationId xmlns:a16="http://schemas.microsoft.com/office/drawing/2014/main" id="{8BA42B1F-04B8-7AD1-B91F-AAEF6AB4E48A}"/>
              </a:ext>
            </a:extLst>
          </p:cNvPr>
          <p:cNvGrpSpPr/>
          <p:nvPr/>
        </p:nvGrpSpPr>
        <p:grpSpPr>
          <a:xfrm>
            <a:off x="10979274" y="2611272"/>
            <a:ext cx="331018" cy="268066"/>
            <a:chOff x="10979274" y="2611272"/>
            <a:chExt cx="331018" cy="268066"/>
          </a:xfrm>
          <a:noFill/>
        </p:grpSpPr>
        <p:grpSp>
          <p:nvGrpSpPr>
            <p:cNvPr id="1076" name="Gráfico 11">
              <a:extLst>
                <a:ext uri="{FF2B5EF4-FFF2-40B4-BE49-F238E27FC236}">
                  <a16:creationId xmlns:a16="http://schemas.microsoft.com/office/drawing/2014/main" id="{1D5AF5A0-F433-FBCC-C47B-03E7231994CD}"/>
                </a:ext>
              </a:extLst>
            </p:cNvPr>
            <p:cNvGrpSpPr/>
            <p:nvPr/>
          </p:nvGrpSpPr>
          <p:grpSpPr>
            <a:xfrm>
              <a:off x="10979274" y="2611272"/>
              <a:ext cx="331018" cy="268066"/>
              <a:chOff x="10979274" y="2611272"/>
              <a:chExt cx="331018" cy="268066"/>
            </a:xfrm>
            <a:noFill/>
          </p:grpSpPr>
          <p:grpSp>
            <p:nvGrpSpPr>
              <p:cNvPr id="1077" name="Gráfico 11">
                <a:extLst>
                  <a:ext uri="{FF2B5EF4-FFF2-40B4-BE49-F238E27FC236}">
                    <a16:creationId xmlns:a16="http://schemas.microsoft.com/office/drawing/2014/main" id="{EDA65EF8-9ED1-BDDD-1264-5E681561E34F}"/>
                  </a:ext>
                </a:extLst>
              </p:cNvPr>
              <p:cNvGrpSpPr/>
              <p:nvPr/>
            </p:nvGrpSpPr>
            <p:grpSpPr>
              <a:xfrm>
                <a:off x="11010768" y="2611272"/>
                <a:ext cx="286605" cy="219466"/>
                <a:chOff x="11010768" y="2611272"/>
                <a:chExt cx="286605" cy="219466"/>
              </a:xfrm>
              <a:noFill/>
            </p:grpSpPr>
            <p:sp>
              <p:nvSpPr>
                <p:cNvPr id="1078" name="Forma livre: Forma 1077">
                  <a:extLst>
                    <a:ext uri="{FF2B5EF4-FFF2-40B4-BE49-F238E27FC236}">
                      <a16:creationId xmlns:a16="http://schemas.microsoft.com/office/drawing/2014/main" id="{44EFDE30-5691-1553-C382-3A785369DE74}"/>
                    </a:ext>
                  </a:extLst>
                </p:cNvPr>
                <p:cNvSpPr/>
                <p:nvPr/>
              </p:nvSpPr>
              <p:spPr>
                <a:xfrm>
                  <a:off x="11187479" y="2642276"/>
                  <a:ext cx="82313" cy="1192"/>
                </a:xfrm>
                <a:custGeom>
                  <a:avLst/>
                  <a:gdLst>
                    <a:gd name="connsiteX0" fmla="*/ 0 w 82313"/>
                    <a:gd name="connsiteY0" fmla="*/ 0 h 1192"/>
                    <a:gd name="connsiteX1" fmla="*/ 82313 w 82313"/>
                    <a:gd name="connsiteY1" fmla="*/ 0 h 11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82313" h="1192">
                      <a:moveTo>
                        <a:pt x="0" y="0"/>
                      </a:moveTo>
                      <a:lnTo>
                        <a:pt x="82313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079" name="Forma livre: Forma 1078">
                  <a:extLst>
                    <a:ext uri="{FF2B5EF4-FFF2-40B4-BE49-F238E27FC236}">
                      <a16:creationId xmlns:a16="http://schemas.microsoft.com/office/drawing/2014/main" id="{6A65FE72-581E-DEA2-4DBE-13540D2051E5}"/>
                    </a:ext>
                  </a:extLst>
                </p:cNvPr>
                <p:cNvSpPr/>
                <p:nvPr/>
              </p:nvSpPr>
              <p:spPr>
                <a:xfrm>
                  <a:off x="11199766" y="2669941"/>
                  <a:ext cx="70025" cy="1192"/>
                </a:xfrm>
                <a:custGeom>
                  <a:avLst/>
                  <a:gdLst>
                    <a:gd name="connsiteX0" fmla="*/ 0 w 70025"/>
                    <a:gd name="connsiteY0" fmla="*/ 0 h 1192"/>
                    <a:gd name="connsiteX1" fmla="*/ 70026 w 70025"/>
                    <a:gd name="connsiteY1" fmla="*/ 0 h 11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70025" h="1192">
                      <a:moveTo>
                        <a:pt x="0" y="0"/>
                      </a:moveTo>
                      <a:lnTo>
                        <a:pt x="70026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080" name="Forma livre: Forma 1079">
                  <a:extLst>
                    <a:ext uri="{FF2B5EF4-FFF2-40B4-BE49-F238E27FC236}">
                      <a16:creationId xmlns:a16="http://schemas.microsoft.com/office/drawing/2014/main" id="{28A267B8-FEBF-DD89-5C60-6AEEB7B12972}"/>
                    </a:ext>
                  </a:extLst>
                </p:cNvPr>
                <p:cNvSpPr/>
                <p:nvPr/>
              </p:nvSpPr>
              <p:spPr>
                <a:xfrm>
                  <a:off x="11278238" y="2722335"/>
                  <a:ext cx="1192" cy="108403"/>
                </a:xfrm>
                <a:custGeom>
                  <a:avLst/>
                  <a:gdLst>
                    <a:gd name="connsiteX0" fmla="*/ 0 w 1192"/>
                    <a:gd name="connsiteY0" fmla="*/ 0 h 108403"/>
                    <a:gd name="connsiteX1" fmla="*/ 0 w 1192"/>
                    <a:gd name="connsiteY1" fmla="*/ 108403 h 1084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192" h="108403">
                      <a:moveTo>
                        <a:pt x="0" y="0"/>
                      </a:moveTo>
                      <a:lnTo>
                        <a:pt x="0" y="108403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081" name="Forma livre: Forma 1080">
                  <a:extLst>
                    <a:ext uri="{FF2B5EF4-FFF2-40B4-BE49-F238E27FC236}">
                      <a16:creationId xmlns:a16="http://schemas.microsoft.com/office/drawing/2014/main" id="{53ACFBAE-6ECA-B508-B20C-EC2272CA75F8}"/>
                    </a:ext>
                  </a:extLst>
                </p:cNvPr>
                <p:cNvSpPr/>
                <p:nvPr/>
              </p:nvSpPr>
              <p:spPr>
                <a:xfrm>
                  <a:off x="11010768" y="2667280"/>
                  <a:ext cx="78102" cy="163457"/>
                </a:xfrm>
                <a:custGeom>
                  <a:avLst/>
                  <a:gdLst>
                    <a:gd name="connsiteX0" fmla="*/ 0 w 78102"/>
                    <a:gd name="connsiteY0" fmla="*/ 163458 h 163457"/>
                    <a:gd name="connsiteX1" fmla="*/ 0 w 78102"/>
                    <a:gd name="connsiteY1" fmla="*/ 19529 h 163457"/>
                    <a:gd name="connsiteX2" fmla="*/ 19517 w 78102"/>
                    <a:gd name="connsiteY2" fmla="*/ 0 h 163457"/>
                    <a:gd name="connsiteX3" fmla="*/ 78102 w 78102"/>
                    <a:gd name="connsiteY3" fmla="*/ 0 h 16345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78102" h="163457">
                      <a:moveTo>
                        <a:pt x="0" y="163458"/>
                      </a:moveTo>
                      <a:lnTo>
                        <a:pt x="0" y="19529"/>
                      </a:lnTo>
                      <a:cubicBezTo>
                        <a:pt x="0" y="8792"/>
                        <a:pt x="8780" y="0"/>
                        <a:pt x="19517" y="0"/>
                      </a:cubicBezTo>
                      <a:lnTo>
                        <a:pt x="78102" y="0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grpSp>
              <p:nvGrpSpPr>
                <p:cNvPr id="1082" name="Gráfico 11">
                  <a:extLst>
                    <a:ext uri="{FF2B5EF4-FFF2-40B4-BE49-F238E27FC236}">
                      <a16:creationId xmlns:a16="http://schemas.microsoft.com/office/drawing/2014/main" id="{0944FD3D-BD1D-5422-0CBC-F64C653B92F3}"/>
                    </a:ext>
                  </a:extLst>
                </p:cNvPr>
                <p:cNvGrpSpPr/>
                <p:nvPr/>
              </p:nvGrpSpPr>
              <p:grpSpPr>
                <a:xfrm>
                  <a:off x="11109902" y="2655148"/>
                  <a:ext cx="69619" cy="92679"/>
                  <a:chOff x="11109902" y="2655148"/>
                  <a:chExt cx="69619" cy="92679"/>
                </a:xfrm>
                <a:noFill/>
              </p:grpSpPr>
              <p:sp>
                <p:nvSpPr>
                  <p:cNvPr id="1083" name="Forma livre: Forma 1082">
                    <a:extLst>
                      <a:ext uri="{FF2B5EF4-FFF2-40B4-BE49-F238E27FC236}">
                        <a16:creationId xmlns:a16="http://schemas.microsoft.com/office/drawing/2014/main" id="{B9945794-A3E0-180C-55E7-BC528377D066}"/>
                      </a:ext>
                    </a:extLst>
                  </p:cNvPr>
                  <p:cNvSpPr/>
                  <p:nvPr/>
                </p:nvSpPr>
                <p:spPr>
                  <a:xfrm>
                    <a:off x="11109902" y="2655148"/>
                    <a:ext cx="69619" cy="92679"/>
                  </a:xfrm>
                  <a:custGeom>
                    <a:avLst/>
                    <a:gdLst>
                      <a:gd name="connsiteX0" fmla="*/ 34810 w 69619"/>
                      <a:gd name="connsiteY0" fmla="*/ 0 h 92679"/>
                      <a:gd name="connsiteX1" fmla="*/ 715 w 69619"/>
                      <a:gd name="connsiteY1" fmla="*/ 46346 h 92679"/>
                      <a:gd name="connsiteX2" fmla="*/ 34810 w 69619"/>
                      <a:gd name="connsiteY2" fmla="*/ 92680 h 92679"/>
                      <a:gd name="connsiteX3" fmla="*/ 68904 w 69619"/>
                      <a:gd name="connsiteY3" fmla="*/ 46346 h 92679"/>
                      <a:gd name="connsiteX4" fmla="*/ 34810 w 69619"/>
                      <a:gd name="connsiteY4" fmla="*/ 0 h 9267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69619" h="92679">
                        <a:moveTo>
                          <a:pt x="34810" y="0"/>
                        </a:moveTo>
                        <a:cubicBezTo>
                          <a:pt x="226" y="0"/>
                          <a:pt x="-1694" y="20924"/>
                          <a:pt x="715" y="46346"/>
                        </a:cubicBezTo>
                        <a:cubicBezTo>
                          <a:pt x="3137" y="71815"/>
                          <a:pt x="19147" y="92680"/>
                          <a:pt x="34810" y="92680"/>
                        </a:cubicBezTo>
                        <a:cubicBezTo>
                          <a:pt x="50473" y="92680"/>
                          <a:pt x="66483" y="71827"/>
                          <a:pt x="68904" y="46346"/>
                        </a:cubicBezTo>
                        <a:cubicBezTo>
                          <a:pt x="71314" y="20912"/>
                          <a:pt x="69393" y="0"/>
                          <a:pt x="34810" y="0"/>
                        </a:cubicBezTo>
                        <a:close/>
                      </a:path>
                    </a:pathLst>
                  </a:custGeom>
                  <a:noFill/>
                  <a:ln w="6350" cap="flat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1084" name="Forma livre: Forma 1083">
                    <a:extLst>
                      <a:ext uri="{FF2B5EF4-FFF2-40B4-BE49-F238E27FC236}">
                        <a16:creationId xmlns:a16="http://schemas.microsoft.com/office/drawing/2014/main" id="{559BEA2B-BC79-D480-0F04-268384889AF2}"/>
                      </a:ext>
                    </a:extLst>
                  </p:cNvPr>
                  <p:cNvSpPr/>
                  <p:nvPr/>
                </p:nvSpPr>
                <p:spPr>
                  <a:xfrm>
                    <a:off x="11132341" y="2681620"/>
                    <a:ext cx="46095" cy="13062"/>
                  </a:xfrm>
                  <a:custGeom>
                    <a:avLst/>
                    <a:gdLst>
                      <a:gd name="connsiteX0" fmla="*/ 46095 w 46095"/>
                      <a:gd name="connsiteY0" fmla="*/ 13063 h 13062"/>
                      <a:gd name="connsiteX1" fmla="*/ 22392 w 46095"/>
                      <a:gd name="connsiteY1" fmla="*/ 0 h 13062"/>
                      <a:gd name="connsiteX2" fmla="*/ 0 w 46095"/>
                      <a:gd name="connsiteY2" fmla="*/ 11202 h 1306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</a:cxnLst>
                    <a:rect l="l" t="t" r="r" b="b"/>
                    <a:pathLst>
                      <a:path w="46095" h="13062">
                        <a:moveTo>
                          <a:pt x="46095" y="13063"/>
                        </a:moveTo>
                        <a:cubicBezTo>
                          <a:pt x="31470" y="9245"/>
                          <a:pt x="22392" y="0"/>
                          <a:pt x="22392" y="0"/>
                        </a:cubicBezTo>
                        <a:cubicBezTo>
                          <a:pt x="22392" y="0"/>
                          <a:pt x="18705" y="8184"/>
                          <a:pt x="0" y="11202"/>
                        </a:cubicBezTo>
                      </a:path>
                    </a:pathLst>
                  </a:custGeom>
                  <a:noFill/>
                  <a:ln w="6350" cap="rnd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  <p:sp>
              <p:nvSpPr>
                <p:cNvPr id="1085" name="Forma livre: Forma 1084">
                  <a:extLst>
                    <a:ext uri="{FF2B5EF4-FFF2-40B4-BE49-F238E27FC236}">
                      <a16:creationId xmlns:a16="http://schemas.microsoft.com/office/drawing/2014/main" id="{3DD43B24-BC1F-2C2C-A213-88855711EF2C}"/>
                    </a:ext>
                  </a:extLst>
                </p:cNvPr>
                <p:cNvSpPr/>
                <p:nvPr/>
              </p:nvSpPr>
              <p:spPr>
                <a:xfrm>
                  <a:off x="11157512" y="2611272"/>
                  <a:ext cx="139861" cy="89638"/>
                </a:xfrm>
                <a:custGeom>
                  <a:avLst/>
                  <a:gdLst>
                    <a:gd name="connsiteX0" fmla="*/ 0 w 139861"/>
                    <a:gd name="connsiteY0" fmla="*/ 24157 h 89638"/>
                    <a:gd name="connsiteX1" fmla="*/ 0 w 139861"/>
                    <a:gd name="connsiteY1" fmla="*/ 0 h 89638"/>
                    <a:gd name="connsiteX2" fmla="*/ 139861 w 139861"/>
                    <a:gd name="connsiteY2" fmla="*/ 0 h 89638"/>
                    <a:gd name="connsiteX3" fmla="*/ 139861 w 139861"/>
                    <a:gd name="connsiteY3" fmla="*/ 89638 h 89638"/>
                    <a:gd name="connsiteX4" fmla="*/ 42099 w 139861"/>
                    <a:gd name="connsiteY4" fmla="*/ 89638 h 8963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39861" h="89638">
                      <a:moveTo>
                        <a:pt x="0" y="24157"/>
                      </a:moveTo>
                      <a:lnTo>
                        <a:pt x="0" y="0"/>
                      </a:lnTo>
                      <a:lnTo>
                        <a:pt x="139861" y="0"/>
                      </a:lnTo>
                      <a:lnTo>
                        <a:pt x="139861" y="89638"/>
                      </a:lnTo>
                      <a:lnTo>
                        <a:pt x="42099" y="89638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086" name="Forma livre: Forma 1085">
                  <a:extLst>
                    <a:ext uri="{FF2B5EF4-FFF2-40B4-BE49-F238E27FC236}">
                      <a16:creationId xmlns:a16="http://schemas.microsoft.com/office/drawing/2014/main" id="{B87E9651-214E-3B5C-AB22-268C5C1B38CB}"/>
                    </a:ext>
                  </a:extLst>
                </p:cNvPr>
                <p:cNvSpPr/>
                <p:nvPr/>
              </p:nvSpPr>
              <p:spPr>
                <a:xfrm>
                  <a:off x="11211421" y="2701124"/>
                  <a:ext cx="22129" cy="27903"/>
                </a:xfrm>
                <a:custGeom>
                  <a:avLst/>
                  <a:gdLst>
                    <a:gd name="connsiteX0" fmla="*/ 22129 w 22129"/>
                    <a:gd name="connsiteY0" fmla="*/ 0 h 27903"/>
                    <a:gd name="connsiteX1" fmla="*/ 0 w 22129"/>
                    <a:gd name="connsiteY1" fmla="*/ 27903 h 279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2129" h="27903">
                      <a:moveTo>
                        <a:pt x="22129" y="0"/>
                      </a:moveTo>
                      <a:lnTo>
                        <a:pt x="0" y="27903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1087" name="Forma livre: Forma 1086">
                <a:extLst>
                  <a:ext uri="{FF2B5EF4-FFF2-40B4-BE49-F238E27FC236}">
                    <a16:creationId xmlns:a16="http://schemas.microsoft.com/office/drawing/2014/main" id="{49178324-EEAA-D48D-100D-9839CB686158}"/>
                  </a:ext>
                </a:extLst>
              </p:cNvPr>
              <p:cNvSpPr/>
              <p:nvPr/>
            </p:nvSpPr>
            <p:spPr>
              <a:xfrm>
                <a:off x="10979274" y="2852092"/>
                <a:ext cx="331018" cy="27246"/>
              </a:xfrm>
              <a:custGeom>
                <a:avLst/>
                <a:gdLst>
                  <a:gd name="connsiteX0" fmla="*/ 196443 w 331018"/>
                  <a:gd name="connsiteY0" fmla="*/ 0 h 27246"/>
                  <a:gd name="connsiteX1" fmla="*/ 191504 w 331018"/>
                  <a:gd name="connsiteY1" fmla="*/ 5726 h 27246"/>
                  <a:gd name="connsiteX2" fmla="*/ 139515 w 331018"/>
                  <a:gd name="connsiteY2" fmla="*/ 5726 h 27246"/>
                  <a:gd name="connsiteX3" fmla="*/ 134588 w 331018"/>
                  <a:gd name="connsiteY3" fmla="*/ 0 h 27246"/>
                  <a:gd name="connsiteX4" fmla="*/ 0 w 331018"/>
                  <a:gd name="connsiteY4" fmla="*/ 0 h 27246"/>
                  <a:gd name="connsiteX5" fmla="*/ 25923 w 331018"/>
                  <a:gd name="connsiteY5" fmla="*/ 27247 h 27246"/>
                  <a:gd name="connsiteX6" fmla="*/ 305096 w 331018"/>
                  <a:gd name="connsiteY6" fmla="*/ 27247 h 27246"/>
                  <a:gd name="connsiteX7" fmla="*/ 331019 w 331018"/>
                  <a:gd name="connsiteY7" fmla="*/ 0 h 27246"/>
                  <a:gd name="connsiteX8" fmla="*/ 196443 w 331018"/>
                  <a:gd name="connsiteY8" fmla="*/ 0 h 272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31018" h="27246">
                    <a:moveTo>
                      <a:pt x="196443" y="0"/>
                    </a:moveTo>
                    <a:lnTo>
                      <a:pt x="191504" y="5726"/>
                    </a:lnTo>
                    <a:lnTo>
                      <a:pt x="139515" y="5726"/>
                    </a:lnTo>
                    <a:lnTo>
                      <a:pt x="134588" y="0"/>
                    </a:lnTo>
                    <a:lnTo>
                      <a:pt x="0" y="0"/>
                    </a:lnTo>
                    <a:cubicBezTo>
                      <a:pt x="0" y="0"/>
                      <a:pt x="6001" y="27247"/>
                      <a:pt x="25923" y="27247"/>
                    </a:cubicBezTo>
                    <a:lnTo>
                      <a:pt x="305096" y="27247"/>
                    </a:lnTo>
                    <a:cubicBezTo>
                      <a:pt x="325018" y="27247"/>
                      <a:pt x="331019" y="0"/>
                      <a:pt x="331019" y="0"/>
                    </a:cubicBezTo>
                    <a:lnTo>
                      <a:pt x="196443" y="0"/>
                    </a:ln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088" name="Forma livre: Forma 1087">
              <a:extLst>
                <a:ext uri="{FF2B5EF4-FFF2-40B4-BE49-F238E27FC236}">
                  <a16:creationId xmlns:a16="http://schemas.microsoft.com/office/drawing/2014/main" id="{7C1E113C-F231-DDEE-80B3-E27C6CE9DEB9}"/>
                </a:ext>
              </a:extLst>
            </p:cNvPr>
            <p:cNvSpPr/>
            <p:nvPr/>
          </p:nvSpPr>
          <p:spPr>
            <a:xfrm>
              <a:off x="11074006" y="2763348"/>
              <a:ext cx="141209" cy="67389"/>
            </a:xfrm>
            <a:custGeom>
              <a:avLst/>
              <a:gdLst>
                <a:gd name="connsiteX0" fmla="*/ 141209 w 141209"/>
                <a:gd name="connsiteY0" fmla="*/ 67390 h 67389"/>
                <a:gd name="connsiteX1" fmla="*/ 141209 w 141209"/>
                <a:gd name="connsiteY1" fmla="*/ 37626 h 67389"/>
                <a:gd name="connsiteX2" fmla="*/ 96915 w 141209"/>
                <a:gd name="connsiteY2" fmla="*/ 0 h 67389"/>
                <a:gd name="connsiteX3" fmla="*/ 70599 w 141209"/>
                <a:gd name="connsiteY3" fmla="*/ 30504 h 67389"/>
                <a:gd name="connsiteX4" fmla="*/ 44294 w 141209"/>
                <a:gd name="connsiteY4" fmla="*/ 0 h 67389"/>
                <a:gd name="connsiteX5" fmla="*/ 0 w 141209"/>
                <a:gd name="connsiteY5" fmla="*/ 37626 h 67389"/>
                <a:gd name="connsiteX6" fmla="*/ 0 w 141209"/>
                <a:gd name="connsiteY6" fmla="*/ 67390 h 673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1209" h="67389">
                  <a:moveTo>
                    <a:pt x="141209" y="67390"/>
                  </a:moveTo>
                  <a:lnTo>
                    <a:pt x="141209" y="37626"/>
                  </a:lnTo>
                  <a:cubicBezTo>
                    <a:pt x="141209" y="11297"/>
                    <a:pt x="138465" y="5499"/>
                    <a:pt x="96915" y="0"/>
                  </a:cubicBezTo>
                  <a:lnTo>
                    <a:pt x="70599" y="30504"/>
                  </a:lnTo>
                  <a:lnTo>
                    <a:pt x="44294" y="0"/>
                  </a:lnTo>
                  <a:cubicBezTo>
                    <a:pt x="2744" y="5499"/>
                    <a:pt x="0" y="11309"/>
                    <a:pt x="0" y="37626"/>
                  </a:cubicBezTo>
                  <a:lnTo>
                    <a:pt x="0" y="6739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089" name="Gráfico 11">
            <a:extLst>
              <a:ext uri="{FF2B5EF4-FFF2-40B4-BE49-F238E27FC236}">
                <a16:creationId xmlns:a16="http://schemas.microsoft.com/office/drawing/2014/main" id="{E936610B-082F-CD1A-3317-4BBF569EF1E7}"/>
              </a:ext>
            </a:extLst>
          </p:cNvPr>
          <p:cNvGrpSpPr/>
          <p:nvPr/>
        </p:nvGrpSpPr>
        <p:grpSpPr>
          <a:xfrm>
            <a:off x="10965591" y="1022661"/>
            <a:ext cx="358385" cy="245019"/>
            <a:chOff x="10965591" y="1022661"/>
            <a:chExt cx="358385" cy="245019"/>
          </a:xfrm>
          <a:noFill/>
        </p:grpSpPr>
        <p:grpSp>
          <p:nvGrpSpPr>
            <p:cNvPr id="1090" name="Gráfico 11">
              <a:extLst>
                <a:ext uri="{FF2B5EF4-FFF2-40B4-BE49-F238E27FC236}">
                  <a16:creationId xmlns:a16="http://schemas.microsoft.com/office/drawing/2014/main" id="{EA0063FF-C56B-716B-646F-44AE29BF31FA}"/>
                </a:ext>
              </a:extLst>
            </p:cNvPr>
            <p:cNvGrpSpPr/>
            <p:nvPr/>
          </p:nvGrpSpPr>
          <p:grpSpPr>
            <a:xfrm>
              <a:off x="11004505" y="1022661"/>
              <a:ext cx="319471" cy="225275"/>
              <a:chOff x="11004505" y="1022661"/>
              <a:chExt cx="319471" cy="225275"/>
            </a:xfrm>
            <a:noFill/>
          </p:grpSpPr>
          <p:sp>
            <p:nvSpPr>
              <p:cNvPr id="1091" name="Forma livre: Forma 1090">
                <a:extLst>
                  <a:ext uri="{FF2B5EF4-FFF2-40B4-BE49-F238E27FC236}">
                    <a16:creationId xmlns:a16="http://schemas.microsoft.com/office/drawing/2014/main" id="{2449C02F-F02C-40B8-4576-4B9A82838DCF}"/>
                  </a:ext>
                </a:extLst>
              </p:cNvPr>
              <p:cNvSpPr/>
              <p:nvPr/>
            </p:nvSpPr>
            <p:spPr>
              <a:xfrm>
                <a:off x="11004505" y="1022661"/>
                <a:ext cx="285949" cy="178667"/>
              </a:xfrm>
              <a:custGeom>
                <a:avLst/>
                <a:gdLst>
                  <a:gd name="connsiteX0" fmla="*/ 0 w 285949"/>
                  <a:gd name="connsiteY0" fmla="*/ 81729 h 178667"/>
                  <a:gd name="connsiteX1" fmla="*/ 0 w 285949"/>
                  <a:gd name="connsiteY1" fmla="*/ 20877 h 178667"/>
                  <a:gd name="connsiteX2" fmla="*/ 20853 w 285949"/>
                  <a:gd name="connsiteY2" fmla="*/ 0 h 178667"/>
                  <a:gd name="connsiteX3" fmla="*/ 265073 w 285949"/>
                  <a:gd name="connsiteY3" fmla="*/ 0 h 178667"/>
                  <a:gd name="connsiteX4" fmla="*/ 285949 w 285949"/>
                  <a:gd name="connsiteY4" fmla="*/ 20877 h 178667"/>
                  <a:gd name="connsiteX5" fmla="*/ 285949 w 285949"/>
                  <a:gd name="connsiteY5" fmla="*/ 178668 h 1786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85949" h="178667">
                    <a:moveTo>
                      <a:pt x="0" y="81729"/>
                    </a:moveTo>
                    <a:lnTo>
                      <a:pt x="0" y="20877"/>
                    </a:lnTo>
                    <a:cubicBezTo>
                      <a:pt x="0" y="9400"/>
                      <a:pt x="9400" y="0"/>
                      <a:pt x="20853" y="0"/>
                    </a:cubicBezTo>
                    <a:lnTo>
                      <a:pt x="265073" y="0"/>
                    </a:lnTo>
                    <a:cubicBezTo>
                      <a:pt x="276561" y="0"/>
                      <a:pt x="285949" y="9400"/>
                      <a:pt x="285949" y="20877"/>
                    </a:cubicBezTo>
                    <a:lnTo>
                      <a:pt x="285949" y="178668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092" name="Forma livre: Forma 1091">
                <a:extLst>
                  <a:ext uri="{FF2B5EF4-FFF2-40B4-BE49-F238E27FC236}">
                    <a16:creationId xmlns:a16="http://schemas.microsoft.com/office/drawing/2014/main" id="{B1B29D70-9E82-7B24-516E-3239CA3E31D1}"/>
                  </a:ext>
                </a:extLst>
              </p:cNvPr>
              <p:cNvSpPr/>
              <p:nvPr/>
            </p:nvSpPr>
            <p:spPr>
              <a:xfrm>
                <a:off x="11204598" y="1220320"/>
                <a:ext cx="119378" cy="27616"/>
              </a:xfrm>
              <a:custGeom>
                <a:avLst/>
                <a:gdLst>
                  <a:gd name="connsiteX0" fmla="*/ 1563 w 119378"/>
                  <a:gd name="connsiteY0" fmla="*/ 27617 h 27616"/>
                  <a:gd name="connsiteX1" fmla="*/ 93098 w 119378"/>
                  <a:gd name="connsiteY1" fmla="*/ 27617 h 27616"/>
                  <a:gd name="connsiteX2" fmla="*/ 119378 w 119378"/>
                  <a:gd name="connsiteY2" fmla="*/ 0 h 27616"/>
                  <a:gd name="connsiteX3" fmla="*/ 0 w 119378"/>
                  <a:gd name="connsiteY3" fmla="*/ 0 h 276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9378" h="27616">
                    <a:moveTo>
                      <a:pt x="1563" y="27617"/>
                    </a:moveTo>
                    <a:lnTo>
                      <a:pt x="93098" y="27617"/>
                    </a:lnTo>
                    <a:cubicBezTo>
                      <a:pt x="113294" y="27617"/>
                      <a:pt x="119378" y="0"/>
                      <a:pt x="119378" y="0"/>
                    </a:cubicBezTo>
                    <a:lnTo>
                      <a:pt x="0" y="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093" name="Forma livre: Forma 1092">
              <a:extLst>
                <a:ext uri="{FF2B5EF4-FFF2-40B4-BE49-F238E27FC236}">
                  <a16:creationId xmlns:a16="http://schemas.microsoft.com/office/drawing/2014/main" id="{B25EA692-BA3E-D103-4611-6584F7389486}"/>
                </a:ext>
              </a:extLst>
            </p:cNvPr>
            <p:cNvSpPr/>
            <p:nvPr/>
          </p:nvSpPr>
          <p:spPr>
            <a:xfrm>
              <a:off x="10965591" y="1104437"/>
              <a:ext cx="218380" cy="143475"/>
            </a:xfrm>
            <a:custGeom>
              <a:avLst/>
              <a:gdLst>
                <a:gd name="connsiteX0" fmla="*/ 172929 w 218380"/>
                <a:gd name="connsiteY0" fmla="*/ 143476 h 143475"/>
                <a:gd name="connsiteX1" fmla="*/ 208121 w 218380"/>
                <a:gd name="connsiteY1" fmla="*/ 143476 h 143475"/>
                <a:gd name="connsiteX2" fmla="*/ 218381 w 218380"/>
                <a:gd name="connsiteY2" fmla="*/ 129566 h 143475"/>
                <a:gd name="connsiteX3" fmla="*/ 155345 w 218380"/>
                <a:gd name="connsiteY3" fmla="*/ 59564 h 143475"/>
                <a:gd name="connsiteX4" fmla="*/ 83303 w 218380"/>
                <a:gd name="connsiteY4" fmla="*/ 59564 h 143475"/>
                <a:gd name="connsiteX5" fmla="*/ 83303 w 218380"/>
                <a:gd name="connsiteY5" fmla="*/ 0 h 143475"/>
                <a:gd name="connsiteX6" fmla="*/ 54041 w 218380"/>
                <a:gd name="connsiteY6" fmla="*/ 23334 h 143475"/>
                <a:gd name="connsiteX7" fmla="*/ 22523 w 218380"/>
                <a:gd name="connsiteY7" fmla="*/ 23334 h 143475"/>
                <a:gd name="connsiteX8" fmla="*/ 0 w 218380"/>
                <a:gd name="connsiteY8" fmla="*/ 2243 h 143475"/>
                <a:gd name="connsiteX9" fmla="*/ 0 w 218380"/>
                <a:gd name="connsiteY9" fmla="*/ 76539 h 143475"/>
                <a:gd name="connsiteX10" fmla="*/ 45034 w 218380"/>
                <a:gd name="connsiteY10" fmla="*/ 96199 h 143475"/>
                <a:gd name="connsiteX11" fmla="*/ 61139 w 218380"/>
                <a:gd name="connsiteY11" fmla="*/ 124854 h 143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18380" h="143475">
                  <a:moveTo>
                    <a:pt x="172929" y="143476"/>
                  </a:moveTo>
                  <a:lnTo>
                    <a:pt x="208121" y="143476"/>
                  </a:lnTo>
                  <a:cubicBezTo>
                    <a:pt x="208121" y="143476"/>
                    <a:pt x="218381" y="142748"/>
                    <a:pt x="218381" y="129566"/>
                  </a:cubicBezTo>
                  <a:cubicBezTo>
                    <a:pt x="218381" y="53015"/>
                    <a:pt x="155345" y="59564"/>
                    <a:pt x="155345" y="59564"/>
                  </a:cubicBezTo>
                  <a:lnTo>
                    <a:pt x="83303" y="59564"/>
                  </a:lnTo>
                  <a:lnTo>
                    <a:pt x="83303" y="0"/>
                  </a:lnTo>
                  <a:lnTo>
                    <a:pt x="54041" y="23334"/>
                  </a:lnTo>
                  <a:lnTo>
                    <a:pt x="22523" y="23334"/>
                  </a:lnTo>
                  <a:lnTo>
                    <a:pt x="0" y="2243"/>
                  </a:lnTo>
                  <a:lnTo>
                    <a:pt x="0" y="76539"/>
                  </a:lnTo>
                  <a:cubicBezTo>
                    <a:pt x="0" y="76539"/>
                    <a:pt x="14852" y="96199"/>
                    <a:pt x="45034" y="96199"/>
                  </a:cubicBezTo>
                  <a:lnTo>
                    <a:pt x="61139" y="124854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94" name="Forma livre: Forma 1093">
              <a:extLst>
                <a:ext uri="{FF2B5EF4-FFF2-40B4-BE49-F238E27FC236}">
                  <a16:creationId xmlns:a16="http://schemas.microsoft.com/office/drawing/2014/main" id="{A1AD2CFB-3CA6-EA4F-AE43-32D6F8BD1AEA}"/>
                </a:ext>
              </a:extLst>
            </p:cNvPr>
            <p:cNvSpPr/>
            <p:nvPr/>
          </p:nvSpPr>
          <p:spPr>
            <a:xfrm>
              <a:off x="11074996" y="1218566"/>
              <a:ext cx="77398" cy="49113"/>
            </a:xfrm>
            <a:custGeom>
              <a:avLst/>
              <a:gdLst>
                <a:gd name="connsiteX0" fmla="*/ 38473 w 77398"/>
                <a:gd name="connsiteY0" fmla="*/ 49114 h 49113"/>
                <a:gd name="connsiteX1" fmla="*/ 26794 w 77398"/>
                <a:gd name="connsiteY1" fmla="*/ 49114 h 49113"/>
                <a:gd name="connsiteX2" fmla="*/ 0 w 77398"/>
                <a:gd name="connsiteY2" fmla="*/ 24563 h 49113"/>
                <a:gd name="connsiteX3" fmla="*/ 26794 w 77398"/>
                <a:gd name="connsiteY3" fmla="*/ 0 h 49113"/>
                <a:gd name="connsiteX4" fmla="*/ 77398 w 77398"/>
                <a:gd name="connsiteY4" fmla="*/ 0 h 491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7398" h="49113">
                  <a:moveTo>
                    <a:pt x="38473" y="49114"/>
                  </a:moveTo>
                  <a:lnTo>
                    <a:pt x="26794" y="49114"/>
                  </a:lnTo>
                  <a:cubicBezTo>
                    <a:pt x="12061" y="49114"/>
                    <a:pt x="0" y="38067"/>
                    <a:pt x="0" y="24563"/>
                  </a:cubicBezTo>
                  <a:cubicBezTo>
                    <a:pt x="0" y="11059"/>
                    <a:pt x="12061" y="0"/>
                    <a:pt x="26794" y="0"/>
                  </a:cubicBezTo>
                  <a:lnTo>
                    <a:pt x="77398" y="0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95" name="Forma livre: Forma 1094">
              <a:extLst>
                <a:ext uri="{FF2B5EF4-FFF2-40B4-BE49-F238E27FC236}">
                  <a16:creationId xmlns:a16="http://schemas.microsoft.com/office/drawing/2014/main" id="{07784EEF-23AA-D310-B716-5FED62E00319}"/>
                </a:ext>
              </a:extLst>
            </p:cNvPr>
            <p:cNvSpPr/>
            <p:nvPr/>
          </p:nvSpPr>
          <p:spPr>
            <a:xfrm>
              <a:off x="11105237" y="1243117"/>
              <a:ext cx="35668" cy="24550"/>
            </a:xfrm>
            <a:custGeom>
              <a:avLst/>
              <a:gdLst>
                <a:gd name="connsiteX0" fmla="*/ 0 w 35668"/>
                <a:gd name="connsiteY0" fmla="*/ 0 h 24550"/>
                <a:gd name="connsiteX1" fmla="*/ 22272 w 35668"/>
                <a:gd name="connsiteY1" fmla="*/ 0 h 24550"/>
                <a:gd name="connsiteX2" fmla="*/ 35669 w 35668"/>
                <a:gd name="connsiteY2" fmla="*/ 12275 h 24550"/>
                <a:gd name="connsiteX3" fmla="*/ 22272 w 35668"/>
                <a:gd name="connsiteY3" fmla="*/ 24551 h 24550"/>
                <a:gd name="connsiteX4" fmla="*/ 9424 w 35668"/>
                <a:gd name="connsiteY4" fmla="*/ 24551 h 245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5668" h="24550">
                  <a:moveTo>
                    <a:pt x="0" y="0"/>
                  </a:moveTo>
                  <a:lnTo>
                    <a:pt x="22272" y="0"/>
                  </a:lnTo>
                  <a:cubicBezTo>
                    <a:pt x="29633" y="0"/>
                    <a:pt x="35669" y="5523"/>
                    <a:pt x="35669" y="12275"/>
                  </a:cubicBezTo>
                  <a:cubicBezTo>
                    <a:pt x="35669" y="19027"/>
                    <a:pt x="29645" y="24551"/>
                    <a:pt x="22272" y="24551"/>
                  </a:cubicBezTo>
                  <a:lnTo>
                    <a:pt x="9424" y="24551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96" name="Forma livre: Forma 1095">
              <a:extLst>
                <a:ext uri="{FF2B5EF4-FFF2-40B4-BE49-F238E27FC236}">
                  <a16:creationId xmlns:a16="http://schemas.microsoft.com/office/drawing/2014/main" id="{9E3AA5E8-47EA-F302-6907-4F0A1E7CF78A}"/>
                </a:ext>
              </a:extLst>
            </p:cNvPr>
            <p:cNvSpPr/>
            <p:nvPr/>
          </p:nvSpPr>
          <p:spPr>
            <a:xfrm>
              <a:off x="11000735" y="1229064"/>
              <a:ext cx="56068" cy="22069"/>
            </a:xfrm>
            <a:custGeom>
              <a:avLst/>
              <a:gdLst>
                <a:gd name="connsiteX0" fmla="*/ 56068 w 56068"/>
                <a:gd name="connsiteY0" fmla="*/ 22070 h 22069"/>
                <a:gd name="connsiteX1" fmla="*/ 0 w 56068"/>
                <a:gd name="connsiteY1" fmla="*/ 22070 h 22069"/>
                <a:gd name="connsiteX2" fmla="*/ 17417 w 56068"/>
                <a:gd name="connsiteY2" fmla="*/ 0 h 22069"/>
                <a:gd name="connsiteX3" fmla="*/ 56068 w 56068"/>
                <a:gd name="connsiteY3" fmla="*/ 0 h 220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6068" h="22069">
                  <a:moveTo>
                    <a:pt x="56068" y="22070"/>
                  </a:moveTo>
                  <a:lnTo>
                    <a:pt x="0" y="22070"/>
                  </a:lnTo>
                  <a:cubicBezTo>
                    <a:pt x="0" y="22070"/>
                    <a:pt x="4175" y="0"/>
                    <a:pt x="17417" y="0"/>
                  </a:cubicBezTo>
                  <a:lnTo>
                    <a:pt x="56068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97" name="Forma livre: Forma 1096">
              <a:extLst>
                <a:ext uri="{FF2B5EF4-FFF2-40B4-BE49-F238E27FC236}">
                  <a16:creationId xmlns:a16="http://schemas.microsoft.com/office/drawing/2014/main" id="{AFD85A3F-B707-F03B-57B9-75976E0E94D6}"/>
                </a:ext>
              </a:extLst>
            </p:cNvPr>
            <p:cNvSpPr/>
            <p:nvPr/>
          </p:nvSpPr>
          <p:spPr>
            <a:xfrm>
              <a:off x="10986658" y="1152107"/>
              <a:ext cx="4294" cy="4294"/>
            </a:xfrm>
            <a:custGeom>
              <a:avLst/>
              <a:gdLst>
                <a:gd name="connsiteX0" fmla="*/ 4295 w 4294"/>
                <a:gd name="connsiteY0" fmla="*/ 2147 h 4294"/>
                <a:gd name="connsiteX1" fmla="*/ 2147 w 4294"/>
                <a:gd name="connsiteY1" fmla="*/ 4295 h 4294"/>
                <a:gd name="connsiteX2" fmla="*/ 0 w 4294"/>
                <a:gd name="connsiteY2" fmla="*/ 2147 h 4294"/>
                <a:gd name="connsiteX3" fmla="*/ 2147 w 4294"/>
                <a:gd name="connsiteY3" fmla="*/ 0 h 4294"/>
                <a:gd name="connsiteX4" fmla="*/ 4295 w 4294"/>
                <a:gd name="connsiteY4" fmla="*/ 2147 h 42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294" h="4294">
                  <a:moveTo>
                    <a:pt x="4295" y="2147"/>
                  </a:moveTo>
                  <a:cubicBezTo>
                    <a:pt x="4295" y="3340"/>
                    <a:pt x="3328" y="4295"/>
                    <a:pt x="2147" y="4295"/>
                  </a:cubicBezTo>
                  <a:cubicBezTo>
                    <a:pt x="966" y="4295"/>
                    <a:pt x="0" y="3340"/>
                    <a:pt x="0" y="2147"/>
                  </a:cubicBezTo>
                  <a:cubicBezTo>
                    <a:pt x="0" y="954"/>
                    <a:pt x="966" y="0"/>
                    <a:pt x="2147" y="0"/>
                  </a:cubicBezTo>
                  <a:cubicBezTo>
                    <a:pt x="3328" y="0"/>
                    <a:pt x="4295" y="954"/>
                    <a:pt x="4295" y="2147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98" name="Forma livre: Forma 1097">
              <a:extLst>
                <a:ext uri="{FF2B5EF4-FFF2-40B4-BE49-F238E27FC236}">
                  <a16:creationId xmlns:a16="http://schemas.microsoft.com/office/drawing/2014/main" id="{00FCEE2F-7EBD-F678-83EB-32CE721A768F}"/>
                </a:ext>
              </a:extLst>
            </p:cNvPr>
            <p:cNvSpPr/>
            <p:nvPr/>
          </p:nvSpPr>
          <p:spPr>
            <a:xfrm>
              <a:off x="11022125" y="1152107"/>
              <a:ext cx="4294" cy="4294"/>
            </a:xfrm>
            <a:custGeom>
              <a:avLst/>
              <a:gdLst>
                <a:gd name="connsiteX0" fmla="*/ 4295 w 4294"/>
                <a:gd name="connsiteY0" fmla="*/ 2147 h 4294"/>
                <a:gd name="connsiteX1" fmla="*/ 2147 w 4294"/>
                <a:gd name="connsiteY1" fmla="*/ 4295 h 4294"/>
                <a:gd name="connsiteX2" fmla="*/ 0 w 4294"/>
                <a:gd name="connsiteY2" fmla="*/ 2147 h 4294"/>
                <a:gd name="connsiteX3" fmla="*/ 2147 w 4294"/>
                <a:gd name="connsiteY3" fmla="*/ 0 h 4294"/>
                <a:gd name="connsiteX4" fmla="*/ 4295 w 4294"/>
                <a:gd name="connsiteY4" fmla="*/ 2147 h 42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294" h="4294">
                  <a:moveTo>
                    <a:pt x="4295" y="2147"/>
                  </a:moveTo>
                  <a:cubicBezTo>
                    <a:pt x="4295" y="3340"/>
                    <a:pt x="3328" y="4295"/>
                    <a:pt x="2147" y="4295"/>
                  </a:cubicBezTo>
                  <a:cubicBezTo>
                    <a:pt x="966" y="4295"/>
                    <a:pt x="0" y="3340"/>
                    <a:pt x="0" y="2147"/>
                  </a:cubicBezTo>
                  <a:cubicBezTo>
                    <a:pt x="0" y="954"/>
                    <a:pt x="954" y="0"/>
                    <a:pt x="2147" y="0"/>
                  </a:cubicBezTo>
                  <a:cubicBezTo>
                    <a:pt x="3340" y="0"/>
                    <a:pt x="4295" y="954"/>
                    <a:pt x="4295" y="2147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099" name="Forma livre: Forma 1098">
              <a:extLst>
                <a:ext uri="{FF2B5EF4-FFF2-40B4-BE49-F238E27FC236}">
                  <a16:creationId xmlns:a16="http://schemas.microsoft.com/office/drawing/2014/main" id="{7E124C8C-1272-2AA0-4F6E-3C2087E60F46}"/>
                </a:ext>
              </a:extLst>
            </p:cNvPr>
            <p:cNvSpPr/>
            <p:nvPr/>
          </p:nvSpPr>
          <p:spPr>
            <a:xfrm>
              <a:off x="11010625" y="1193145"/>
              <a:ext cx="20244" cy="7491"/>
            </a:xfrm>
            <a:custGeom>
              <a:avLst/>
              <a:gdLst>
                <a:gd name="connsiteX0" fmla="*/ 0 w 20244"/>
                <a:gd name="connsiteY0" fmla="*/ 7492 h 7491"/>
                <a:gd name="connsiteX1" fmla="*/ 20244 w 20244"/>
                <a:gd name="connsiteY1" fmla="*/ 0 h 74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0244" h="7491">
                  <a:moveTo>
                    <a:pt x="0" y="7492"/>
                  </a:moveTo>
                  <a:cubicBezTo>
                    <a:pt x="0" y="7492"/>
                    <a:pt x="11894" y="5965"/>
                    <a:pt x="20244" y="0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100" name="Gráfico 11">
              <a:extLst>
                <a:ext uri="{FF2B5EF4-FFF2-40B4-BE49-F238E27FC236}">
                  <a16:creationId xmlns:a16="http://schemas.microsoft.com/office/drawing/2014/main" id="{A5C52BEB-DCE9-62EE-9A67-35C135F39451}"/>
                </a:ext>
              </a:extLst>
            </p:cNvPr>
            <p:cNvGrpSpPr/>
            <p:nvPr/>
          </p:nvGrpSpPr>
          <p:grpSpPr>
            <a:xfrm>
              <a:off x="11090457" y="1059272"/>
              <a:ext cx="129768" cy="116025"/>
              <a:chOff x="11090457" y="1059272"/>
              <a:chExt cx="129768" cy="116025"/>
            </a:xfrm>
            <a:noFill/>
          </p:grpSpPr>
          <p:sp>
            <p:nvSpPr>
              <p:cNvPr id="1101" name="Forma livre: Forma 1100">
                <a:extLst>
                  <a:ext uri="{FF2B5EF4-FFF2-40B4-BE49-F238E27FC236}">
                    <a16:creationId xmlns:a16="http://schemas.microsoft.com/office/drawing/2014/main" id="{63C665E3-1E39-3607-361C-F234AD92CE61}"/>
                  </a:ext>
                </a:extLst>
              </p:cNvPr>
              <p:cNvSpPr/>
              <p:nvPr/>
            </p:nvSpPr>
            <p:spPr>
              <a:xfrm>
                <a:off x="11090457" y="1112299"/>
                <a:ext cx="25934" cy="31792"/>
              </a:xfrm>
              <a:custGeom>
                <a:avLst/>
                <a:gdLst>
                  <a:gd name="connsiteX0" fmla="*/ 0 w 25934"/>
                  <a:gd name="connsiteY0" fmla="*/ 31792 h 31792"/>
                  <a:gd name="connsiteX1" fmla="*/ 0 w 25934"/>
                  <a:gd name="connsiteY1" fmla="*/ 0 h 31792"/>
                  <a:gd name="connsiteX2" fmla="*/ 25935 w 25934"/>
                  <a:gd name="connsiteY2" fmla="*/ 0 h 31792"/>
                  <a:gd name="connsiteX3" fmla="*/ 25935 w 25934"/>
                  <a:gd name="connsiteY3" fmla="*/ 31792 h 317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5934" h="31792">
                    <a:moveTo>
                      <a:pt x="0" y="31792"/>
                    </a:moveTo>
                    <a:lnTo>
                      <a:pt x="0" y="0"/>
                    </a:lnTo>
                    <a:lnTo>
                      <a:pt x="25935" y="0"/>
                    </a:lnTo>
                    <a:lnTo>
                      <a:pt x="25935" y="31792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102" name="Forma livre: Forma 1101">
                <a:extLst>
                  <a:ext uri="{FF2B5EF4-FFF2-40B4-BE49-F238E27FC236}">
                    <a16:creationId xmlns:a16="http://schemas.microsoft.com/office/drawing/2014/main" id="{3A6D047B-2E72-A560-93D6-6147A9811F3C}"/>
                  </a:ext>
                </a:extLst>
              </p:cNvPr>
              <p:cNvSpPr/>
              <p:nvPr/>
            </p:nvSpPr>
            <p:spPr>
              <a:xfrm>
                <a:off x="11142409" y="1086364"/>
                <a:ext cx="25887" cy="67473"/>
              </a:xfrm>
              <a:custGeom>
                <a:avLst/>
                <a:gdLst>
                  <a:gd name="connsiteX0" fmla="*/ 0 w 25887"/>
                  <a:gd name="connsiteY0" fmla="*/ 59158 h 67473"/>
                  <a:gd name="connsiteX1" fmla="*/ 0 w 25887"/>
                  <a:gd name="connsiteY1" fmla="*/ 0 h 67473"/>
                  <a:gd name="connsiteX2" fmla="*/ 25887 w 25887"/>
                  <a:gd name="connsiteY2" fmla="*/ 0 h 67473"/>
                  <a:gd name="connsiteX3" fmla="*/ 25887 w 25887"/>
                  <a:gd name="connsiteY3" fmla="*/ 67473 h 674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5887" h="67473">
                    <a:moveTo>
                      <a:pt x="0" y="59158"/>
                    </a:moveTo>
                    <a:lnTo>
                      <a:pt x="0" y="0"/>
                    </a:lnTo>
                    <a:lnTo>
                      <a:pt x="25887" y="0"/>
                    </a:lnTo>
                    <a:lnTo>
                      <a:pt x="25887" y="67473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103" name="Forma livre: Forma 1102">
                <a:extLst>
                  <a:ext uri="{FF2B5EF4-FFF2-40B4-BE49-F238E27FC236}">
                    <a16:creationId xmlns:a16="http://schemas.microsoft.com/office/drawing/2014/main" id="{3C3EE75E-2581-3D4C-04EC-E2D05855C1C6}"/>
                  </a:ext>
                </a:extLst>
              </p:cNvPr>
              <p:cNvSpPr/>
              <p:nvPr/>
            </p:nvSpPr>
            <p:spPr>
              <a:xfrm>
                <a:off x="11194338" y="1059272"/>
                <a:ext cx="25886" cy="116025"/>
              </a:xfrm>
              <a:custGeom>
                <a:avLst/>
                <a:gdLst>
                  <a:gd name="connsiteX0" fmla="*/ 0 w 25886"/>
                  <a:gd name="connsiteY0" fmla="*/ 116026 h 116025"/>
                  <a:gd name="connsiteX1" fmla="*/ 0 w 25886"/>
                  <a:gd name="connsiteY1" fmla="*/ 0 h 116025"/>
                  <a:gd name="connsiteX2" fmla="*/ 25887 w 25886"/>
                  <a:gd name="connsiteY2" fmla="*/ 0 h 116025"/>
                  <a:gd name="connsiteX3" fmla="*/ 25887 w 25886"/>
                  <a:gd name="connsiteY3" fmla="*/ 116026 h 1160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5886" h="116025">
                    <a:moveTo>
                      <a:pt x="0" y="116026"/>
                    </a:moveTo>
                    <a:lnTo>
                      <a:pt x="0" y="0"/>
                    </a:lnTo>
                    <a:lnTo>
                      <a:pt x="25887" y="0"/>
                    </a:lnTo>
                    <a:lnTo>
                      <a:pt x="25887" y="116026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104" name="Forma livre: Forma 1103">
              <a:extLst>
                <a:ext uri="{FF2B5EF4-FFF2-40B4-BE49-F238E27FC236}">
                  <a16:creationId xmlns:a16="http://schemas.microsoft.com/office/drawing/2014/main" id="{BE3B54C1-2E15-484F-6554-2B3DD7AAAC25}"/>
                </a:ext>
              </a:extLst>
            </p:cNvPr>
            <p:cNvSpPr/>
            <p:nvPr/>
          </p:nvSpPr>
          <p:spPr>
            <a:xfrm>
              <a:off x="11199552" y="1194636"/>
              <a:ext cx="51761" cy="1192"/>
            </a:xfrm>
            <a:custGeom>
              <a:avLst/>
              <a:gdLst>
                <a:gd name="connsiteX0" fmla="*/ 51762 w 51761"/>
                <a:gd name="connsiteY0" fmla="*/ 0 h 1192"/>
                <a:gd name="connsiteX1" fmla="*/ 0 w 51761"/>
                <a:gd name="connsiteY1" fmla="*/ 0 h 11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1761" h="1192">
                  <a:moveTo>
                    <a:pt x="51762" y="0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105" name="Gráfico 11">
            <a:extLst>
              <a:ext uri="{FF2B5EF4-FFF2-40B4-BE49-F238E27FC236}">
                <a16:creationId xmlns:a16="http://schemas.microsoft.com/office/drawing/2014/main" id="{08521B35-A0F3-44AF-1D53-2E4A6EB22BB9}"/>
              </a:ext>
            </a:extLst>
          </p:cNvPr>
          <p:cNvGrpSpPr/>
          <p:nvPr/>
        </p:nvGrpSpPr>
        <p:grpSpPr>
          <a:xfrm>
            <a:off x="10962692" y="1531321"/>
            <a:ext cx="364165" cy="294443"/>
            <a:chOff x="10962692" y="1531321"/>
            <a:chExt cx="364165" cy="294443"/>
          </a:xfrm>
          <a:noFill/>
        </p:grpSpPr>
        <p:sp>
          <p:nvSpPr>
            <p:cNvPr id="1106" name="Forma livre: Forma 1105">
              <a:extLst>
                <a:ext uri="{FF2B5EF4-FFF2-40B4-BE49-F238E27FC236}">
                  <a16:creationId xmlns:a16="http://schemas.microsoft.com/office/drawing/2014/main" id="{FFDDB0C6-EE75-0A23-67F6-3A2AD338CE32}"/>
                </a:ext>
              </a:extLst>
            </p:cNvPr>
            <p:cNvSpPr/>
            <p:nvPr/>
          </p:nvSpPr>
          <p:spPr>
            <a:xfrm>
              <a:off x="11170718" y="1575305"/>
              <a:ext cx="101889" cy="91475"/>
            </a:xfrm>
            <a:custGeom>
              <a:avLst/>
              <a:gdLst>
                <a:gd name="connsiteX0" fmla="*/ 0 w 101889"/>
                <a:gd name="connsiteY0" fmla="*/ 91475 h 91475"/>
                <a:gd name="connsiteX1" fmla="*/ 0 w 101889"/>
                <a:gd name="connsiteY1" fmla="*/ 48207 h 91475"/>
                <a:gd name="connsiteX2" fmla="*/ 50951 w 101889"/>
                <a:gd name="connsiteY2" fmla="*/ 0 h 91475"/>
                <a:gd name="connsiteX3" fmla="*/ 101890 w 101889"/>
                <a:gd name="connsiteY3" fmla="*/ 48207 h 91475"/>
                <a:gd name="connsiteX4" fmla="*/ 101890 w 101889"/>
                <a:gd name="connsiteY4" fmla="*/ 91475 h 9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1889" h="91475">
                  <a:moveTo>
                    <a:pt x="0" y="91475"/>
                  </a:moveTo>
                  <a:lnTo>
                    <a:pt x="0" y="48207"/>
                  </a:lnTo>
                  <a:cubicBezTo>
                    <a:pt x="0" y="21592"/>
                    <a:pt x="22809" y="0"/>
                    <a:pt x="50951" y="0"/>
                  </a:cubicBezTo>
                  <a:cubicBezTo>
                    <a:pt x="79092" y="0"/>
                    <a:pt x="101890" y="21580"/>
                    <a:pt x="101890" y="48207"/>
                  </a:cubicBezTo>
                  <a:lnTo>
                    <a:pt x="101890" y="91475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07" name="Forma livre: Forma 1106">
              <a:extLst>
                <a:ext uri="{FF2B5EF4-FFF2-40B4-BE49-F238E27FC236}">
                  <a16:creationId xmlns:a16="http://schemas.microsoft.com/office/drawing/2014/main" id="{A007FE64-1E56-BDD2-01A0-E12FF2769735}"/>
                </a:ext>
              </a:extLst>
            </p:cNvPr>
            <p:cNvSpPr/>
            <p:nvPr/>
          </p:nvSpPr>
          <p:spPr>
            <a:xfrm>
              <a:off x="11193098" y="1608016"/>
              <a:ext cx="57142" cy="66459"/>
            </a:xfrm>
            <a:custGeom>
              <a:avLst/>
              <a:gdLst>
                <a:gd name="connsiteX0" fmla="*/ 57142 w 57142"/>
                <a:gd name="connsiteY0" fmla="*/ 14459 h 66459"/>
                <a:gd name="connsiteX1" fmla="*/ 37375 w 57142"/>
                <a:gd name="connsiteY1" fmla="*/ 0 h 66459"/>
                <a:gd name="connsiteX2" fmla="*/ 0 w 57142"/>
                <a:gd name="connsiteY2" fmla="*/ 17250 h 66459"/>
                <a:gd name="connsiteX3" fmla="*/ 0 w 57142"/>
                <a:gd name="connsiteY3" fmla="*/ 29740 h 66459"/>
                <a:gd name="connsiteX4" fmla="*/ 28678 w 57142"/>
                <a:gd name="connsiteY4" fmla="*/ 66459 h 66459"/>
                <a:gd name="connsiteX5" fmla="*/ 57142 w 57142"/>
                <a:gd name="connsiteY5" fmla="*/ 29740 h 66459"/>
                <a:gd name="connsiteX6" fmla="*/ 57142 w 57142"/>
                <a:gd name="connsiteY6" fmla="*/ 14459 h 664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7142" h="66459">
                  <a:moveTo>
                    <a:pt x="57142" y="14459"/>
                  </a:moveTo>
                  <a:cubicBezTo>
                    <a:pt x="43340" y="10271"/>
                    <a:pt x="37375" y="0"/>
                    <a:pt x="37375" y="0"/>
                  </a:cubicBezTo>
                  <a:cubicBezTo>
                    <a:pt x="37375" y="0"/>
                    <a:pt x="28547" y="17250"/>
                    <a:pt x="0" y="17250"/>
                  </a:cubicBezTo>
                  <a:lnTo>
                    <a:pt x="0" y="29740"/>
                  </a:lnTo>
                  <a:cubicBezTo>
                    <a:pt x="0" y="45463"/>
                    <a:pt x="12979" y="66459"/>
                    <a:pt x="28678" y="66459"/>
                  </a:cubicBezTo>
                  <a:cubicBezTo>
                    <a:pt x="44378" y="66459"/>
                    <a:pt x="57142" y="45463"/>
                    <a:pt x="57142" y="29740"/>
                  </a:cubicBezTo>
                  <a:lnTo>
                    <a:pt x="57142" y="14459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08" name="Forma livre: Forma 1107">
              <a:extLst>
                <a:ext uri="{FF2B5EF4-FFF2-40B4-BE49-F238E27FC236}">
                  <a16:creationId xmlns:a16="http://schemas.microsoft.com/office/drawing/2014/main" id="{8088E268-485E-723B-E87F-E087740833D5}"/>
                </a:ext>
              </a:extLst>
            </p:cNvPr>
            <p:cNvSpPr/>
            <p:nvPr/>
          </p:nvSpPr>
          <p:spPr>
            <a:xfrm>
              <a:off x="11158502" y="1739407"/>
              <a:ext cx="126333" cy="84711"/>
            </a:xfrm>
            <a:custGeom>
              <a:avLst/>
              <a:gdLst>
                <a:gd name="connsiteX0" fmla="*/ 0 w 126333"/>
                <a:gd name="connsiteY0" fmla="*/ 84711 h 84711"/>
                <a:gd name="connsiteX1" fmla="*/ 0 w 126333"/>
                <a:gd name="connsiteY1" fmla="*/ 0 h 84711"/>
                <a:gd name="connsiteX2" fmla="*/ 126333 w 126333"/>
                <a:gd name="connsiteY2" fmla="*/ 0 h 84711"/>
                <a:gd name="connsiteX3" fmla="*/ 126333 w 126333"/>
                <a:gd name="connsiteY3" fmla="*/ 84711 h 847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6333" h="84711">
                  <a:moveTo>
                    <a:pt x="0" y="84711"/>
                  </a:moveTo>
                  <a:lnTo>
                    <a:pt x="0" y="0"/>
                  </a:lnTo>
                  <a:lnTo>
                    <a:pt x="126333" y="0"/>
                  </a:lnTo>
                  <a:lnTo>
                    <a:pt x="126333" y="84711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09" name="Forma livre: Forma 1108">
              <a:extLst>
                <a:ext uri="{FF2B5EF4-FFF2-40B4-BE49-F238E27FC236}">
                  <a16:creationId xmlns:a16="http://schemas.microsoft.com/office/drawing/2014/main" id="{5BD7481D-C327-4EF1-C919-2EB96827F3B3}"/>
                </a:ext>
              </a:extLst>
            </p:cNvPr>
            <p:cNvSpPr/>
            <p:nvPr/>
          </p:nvSpPr>
          <p:spPr>
            <a:xfrm>
              <a:off x="11116468" y="1686165"/>
              <a:ext cx="210389" cy="115715"/>
            </a:xfrm>
            <a:custGeom>
              <a:avLst/>
              <a:gdLst>
                <a:gd name="connsiteX0" fmla="*/ 188039 w 210389"/>
                <a:gd name="connsiteY0" fmla="*/ 115716 h 115715"/>
                <a:gd name="connsiteX1" fmla="*/ 197869 w 210389"/>
                <a:gd name="connsiteY1" fmla="*/ 109071 h 115715"/>
                <a:gd name="connsiteX2" fmla="*/ 206243 w 210389"/>
                <a:gd name="connsiteY2" fmla="*/ 68177 h 115715"/>
                <a:gd name="connsiteX3" fmla="*/ 190807 w 210389"/>
                <a:gd name="connsiteY3" fmla="*/ 40178 h 115715"/>
                <a:gd name="connsiteX4" fmla="*/ 143733 w 210389"/>
                <a:gd name="connsiteY4" fmla="*/ 0 h 115715"/>
                <a:gd name="connsiteX5" fmla="*/ 105201 w 210389"/>
                <a:gd name="connsiteY5" fmla="*/ 26853 h 115715"/>
                <a:gd name="connsiteX6" fmla="*/ 66657 w 210389"/>
                <a:gd name="connsiteY6" fmla="*/ 0 h 115715"/>
                <a:gd name="connsiteX7" fmla="*/ 19583 w 210389"/>
                <a:gd name="connsiteY7" fmla="*/ 40178 h 115715"/>
                <a:gd name="connsiteX8" fmla="*/ 4146 w 210389"/>
                <a:gd name="connsiteY8" fmla="*/ 68177 h 115715"/>
                <a:gd name="connsiteX9" fmla="*/ 12521 w 210389"/>
                <a:gd name="connsiteY9" fmla="*/ 109071 h 115715"/>
                <a:gd name="connsiteX10" fmla="*/ 22351 w 210389"/>
                <a:gd name="connsiteY10" fmla="*/ 115716 h 1157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10389" h="115715">
                  <a:moveTo>
                    <a:pt x="188039" y="115716"/>
                  </a:moveTo>
                  <a:lnTo>
                    <a:pt x="197869" y="109071"/>
                  </a:lnTo>
                  <a:cubicBezTo>
                    <a:pt x="219807" y="93622"/>
                    <a:pt x="206243" y="68177"/>
                    <a:pt x="206243" y="68177"/>
                  </a:cubicBezTo>
                  <a:lnTo>
                    <a:pt x="190807" y="40178"/>
                  </a:lnTo>
                  <a:cubicBezTo>
                    <a:pt x="175119" y="9102"/>
                    <a:pt x="172841" y="4581"/>
                    <a:pt x="143733" y="0"/>
                  </a:cubicBezTo>
                  <a:cubicBezTo>
                    <a:pt x="133867" y="14101"/>
                    <a:pt x="121616" y="26853"/>
                    <a:pt x="105201" y="26853"/>
                  </a:cubicBezTo>
                  <a:cubicBezTo>
                    <a:pt x="88786" y="26853"/>
                    <a:pt x="76510" y="14101"/>
                    <a:pt x="66657" y="0"/>
                  </a:cubicBezTo>
                  <a:cubicBezTo>
                    <a:pt x="37549" y="4581"/>
                    <a:pt x="35270" y="9102"/>
                    <a:pt x="19583" y="40178"/>
                  </a:cubicBezTo>
                  <a:lnTo>
                    <a:pt x="4146" y="68177"/>
                  </a:lnTo>
                  <a:cubicBezTo>
                    <a:pt x="4146" y="68177"/>
                    <a:pt x="-9418" y="93622"/>
                    <a:pt x="12521" y="109071"/>
                  </a:cubicBezTo>
                  <a:lnTo>
                    <a:pt x="22351" y="115716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110" name="Gráfico 11">
              <a:extLst>
                <a:ext uri="{FF2B5EF4-FFF2-40B4-BE49-F238E27FC236}">
                  <a16:creationId xmlns:a16="http://schemas.microsoft.com/office/drawing/2014/main" id="{77967BCB-D2D6-0E76-5F2B-4E814C57828A}"/>
                </a:ext>
              </a:extLst>
            </p:cNvPr>
            <p:cNvGrpSpPr/>
            <p:nvPr/>
          </p:nvGrpSpPr>
          <p:grpSpPr>
            <a:xfrm>
              <a:off x="10962692" y="1531321"/>
              <a:ext cx="191992" cy="235356"/>
              <a:chOff x="10962692" y="1531321"/>
              <a:chExt cx="191992" cy="235356"/>
            </a:xfrm>
            <a:noFill/>
          </p:grpSpPr>
          <p:sp>
            <p:nvSpPr>
              <p:cNvPr id="1111" name="Forma livre: Forma 1110">
                <a:extLst>
                  <a:ext uri="{FF2B5EF4-FFF2-40B4-BE49-F238E27FC236}">
                    <a16:creationId xmlns:a16="http://schemas.microsoft.com/office/drawing/2014/main" id="{1922DCF0-7641-66A6-850C-7F68300C7387}"/>
                  </a:ext>
                </a:extLst>
              </p:cNvPr>
              <p:cNvSpPr/>
              <p:nvPr/>
            </p:nvSpPr>
            <p:spPr>
              <a:xfrm>
                <a:off x="10962692" y="1531321"/>
                <a:ext cx="191992" cy="126547"/>
              </a:xfrm>
              <a:custGeom>
                <a:avLst/>
                <a:gdLst>
                  <a:gd name="connsiteX0" fmla="*/ 191993 w 191992"/>
                  <a:gd name="connsiteY0" fmla="*/ 61520 h 126547"/>
                  <a:gd name="connsiteX1" fmla="*/ 129160 w 191992"/>
                  <a:gd name="connsiteY1" fmla="*/ 0 h 126547"/>
                  <a:gd name="connsiteX2" fmla="*/ 79343 w 191992"/>
                  <a:gd name="connsiteY2" fmla="*/ 48457 h 126547"/>
                  <a:gd name="connsiteX3" fmla="*/ 79343 w 191992"/>
                  <a:gd name="connsiteY3" fmla="*/ 18872 h 126547"/>
                  <a:gd name="connsiteX4" fmla="*/ 51273 w 191992"/>
                  <a:gd name="connsiteY4" fmla="*/ 18872 h 126547"/>
                  <a:gd name="connsiteX5" fmla="*/ 51273 w 191992"/>
                  <a:gd name="connsiteY5" fmla="*/ 75919 h 126547"/>
                  <a:gd name="connsiteX6" fmla="*/ 0 w 191992"/>
                  <a:gd name="connsiteY6" fmla="*/ 126548 h 1265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91992" h="126547">
                    <a:moveTo>
                      <a:pt x="191993" y="61520"/>
                    </a:moveTo>
                    <a:lnTo>
                      <a:pt x="129160" y="0"/>
                    </a:lnTo>
                    <a:lnTo>
                      <a:pt x="79343" y="48457"/>
                    </a:lnTo>
                    <a:lnTo>
                      <a:pt x="79343" y="18872"/>
                    </a:lnTo>
                    <a:lnTo>
                      <a:pt x="51273" y="18872"/>
                    </a:lnTo>
                    <a:lnTo>
                      <a:pt x="51273" y="75919"/>
                    </a:lnTo>
                    <a:lnTo>
                      <a:pt x="0" y="126548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112" name="Forma livre: Forma 1111">
                <a:extLst>
                  <a:ext uri="{FF2B5EF4-FFF2-40B4-BE49-F238E27FC236}">
                    <a16:creationId xmlns:a16="http://schemas.microsoft.com/office/drawing/2014/main" id="{E046DA30-DA02-C7D1-84E7-322F62A325D4}"/>
                  </a:ext>
                </a:extLst>
              </p:cNvPr>
              <p:cNvSpPr/>
              <p:nvPr/>
            </p:nvSpPr>
            <p:spPr>
              <a:xfrm>
                <a:off x="11002131" y="1651391"/>
                <a:ext cx="110848" cy="115286"/>
              </a:xfrm>
              <a:custGeom>
                <a:avLst/>
                <a:gdLst>
                  <a:gd name="connsiteX0" fmla="*/ 0 w 110848"/>
                  <a:gd name="connsiteY0" fmla="*/ 0 h 115286"/>
                  <a:gd name="connsiteX1" fmla="*/ 0 w 110848"/>
                  <a:gd name="connsiteY1" fmla="*/ 115286 h 115286"/>
                  <a:gd name="connsiteX2" fmla="*/ 67915 w 110848"/>
                  <a:gd name="connsiteY2" fmla="*/ 115286 h 115286"/>
                  <a:gd name="connsiteX3" fmla="*/ 67915 w 110848"/>
                  <a:gd name="connsiteY3" fmla="*/ 39952 h 115286"/>
                  <a:gd name="connsiteX4" fmla="*/ 110849 w 110848"/>
                  <a:gd name="connsiteY4" fmla="*/ 39952 h 115286"/>
                  <a:gd name="connsiteX5" fmla="*/ 110849 w 110848"/>
                  <a:gd name="connsiteY5" fmla="*/ 61198 h 1152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10848" h="115286">
                    <a:moveTo>
                      <a:pt x="0" y="0"/>
                    </a:moveTo>
                    <a:lnTo>
                      <a:pt x="0" y="115286"/>
                    </a:lnTo>
                    <a:lnTo>
                      <a:pt x="67915" y="115286"/>
                    </a:lnTo>
                    <a:lnTo>
                      <a:pt x="67915" y="39952"/>
                    </a:lnTo>
                    <a:lnTo>
                      <a:pt x="110849" y="39952"/>
                    </a:lnTo>
                    <a:lnTo>
                      <a:pt x="110849" y="61198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113" name="Forma livre: Forma 1112">
              <a:extLst>
                <a:ext uri="{FF2B5EF4-FFF2-40B4-BE49-F238E27FC236}">
                  <a16:creationId xmlns:a16="http://schemas.microsoft.com/office/drawing/2014/main" id="{23332E70-B70C-F4CD-334B-05F71525A217}"/>
                </a:ext>
              </a:extLst>
            </p:cNvPr>
            <p:cNvSpPr/>
            <p:nvPr/>
          </p:nvSpPr>
          <p:spPr>
            <a:xfrm>
              <a:off x="11127820" y="1825764"/>
              <a:ext cx="187698" cy="1192"/>
            </a:xfrm>
            <a:custGeom>
              <a:avLst/>
              <a:gdLst>
                <a:gd name="connsiteX0" fmla="*/ 0 w 187698"/>
                <a:gd name="connsiteY0" fmla="*/ 0 h 1192"/>
                <a:gd name="connsiteX1" fmla="*/ 187698 w 187698"/>
                <a:gd name="connsiteY1" fmla="*/ 0 h 11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7698" h="1192">
                  <a:moveTo>
                    <a:pt x="0" y="0"/>
                  </a:moveTo>
                  <a:lnTo>
                    <a:pt x="187698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14" name="Forma livre: Forma 1113">
              <a:extLst>
                <a:ext uri="{FF2B5EF4-FFF2-40B4-BE49-F238E27FC236}">
                  <a16:creationId xmlns:a16="http://schemas.microsoft.com/office/drawing/2014/main" id="{80FF73EA-A847-D2F4-36A9-FEA81DC7F35A}"/>
                </a:ext>
              </a:extLst>
            </p:cNvPr>
            <p:cNvSpPr/>
            <p:nvPr/>
          </p:nvSpPr>
          <p:spPr>
            <a:xfrm>
              <a:off x="11095169" y="1825764"/>
              <a:ext cx="12883" cy="1192"/>
            </a:xfrm>
            <a:custGeom>
              <a:avLst/>
              <a:gdLst>
                <a:gd name="connsiteX0" fmla="*/ 0 w 12883"/>
                <a:gd name="connsiteY0" fmla="*/ 0 h 1192"/>
                <a:gd name="connsiteX1" fmla="*/ 12884 w 12883"/>
                <a:gd name="connsiteY1" fmla="*/ 0 h 11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83" h="1192">
                  <a:moveTo>
                    <a:pt x="0" y="0"/>
                  </a:moveTo>
                  <a:lnTo>
                    <a:pt x="12884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115" name="Gráfico 11">
            <a:extLst>
              <a:ext uri="{FF2B5EF4-FFF2-40B4-BE49-F238E27FC236}">
                <a16:creationId xmlns:a16="http://schemas.microsoft.com/office/drawing/2014/main" id="{D9ACF5A6-9B17-999C-E55F-D6DF586056BE}"/>
              </a:ext>
            </a:extLst>
          </p:cNvPr>
          <p:cNvGrpSpPr/>
          <p:nvPr/>
        </p:nvGrpSpPr>
        <p:grpSpPr>
          <a:xfrm>
            <a:off x="10331910" y="3166039"/>
            <a:ext cx="382255" cy="225276"/>
            <a:chOff x="10331910" y="3166039"/>
            <a:chExt cx="382255" cy="225276"/>
          </a:xfrm>
          <a:noFill/>
        </p:grpSpPr>
        <p:grpSp>
          <p:nvGrpSpPr>
            <p:cNvPr id="1116" name="Gráfico 11">
              <a:extLst>
                <a:ext uri="{FF2B5EF4-FFF2-40B4-BE49-F238E27FC236}">
                  <a16:creationId xmlns:a16="http://schemas.microsoft.com/office/drawing/2014/main" id="{0D5AE049-45DE-4090-BA95-E14317AF4873}"/>
                </a:ext>
              </a:extLst>
            </p:cNvPr>
            <p:cNvGrpSpPr/>
            <p:nvPr/>
          </p:nvGrpSpPr>
          <p:grpSpPr>
            <a:xfrm>
              <a:off x="10611429" y="3221893"/>
              <a:ext cx="102736" cy="169422"/>
              <a:chOff x="10611429" y="3221893"/>
              <a:chExt cx="102736" cy="169422"/>
            </a:xfrm>
            <a:noFill/>
          </p:grpSpPr>
          <p:sp>
            <p:nvSpPr>
              <p:cNvPr id="1117" name="Forma livre: Forma 1116">
                <a:extLst>
                  <a:ext uri="{FF2B5EF4-FFF2-40B4-BE49-F238E27FC236}">
                    <a16:creationId xmlns:a16="http://schemas.microsoft.com/office/drawing/2014/main" id="{C50212CC-D563-1646-9500-38C0292E7E02}"/>
                  </a:ext>
                </a:extLst>
              </p:cNvPr>
              <p:cNvSpPr/>
              <p:nvPr/>
            </p:nvSpPr>
            <p:spPr>
              <a:xfrm>
                <a:off x="10626150" y="3221893"/>
                <a:ext cx="57392" cy="52787"/>
              </a:xfrm>
              <a:custGeom>
                <a:avLst/>
                <a:gdLst>
                  <a:gd name="connsiteX0" fmla="*/ 57393 w 57392"/>
                  <a:gd name="connsiteY0" fmla="*/ 0 h 52787"/>
                  <a:gd name="connsiteX1" fmla="*/ 10808 w 57392"/>
                  <a:gd name="connsiteY1" fmla="*/ 0 h 52787"/>
                  <a:gd name="connsiteX2" fmla="*/ 0 w 57392"/>
                  <a:gd name="connsiteY2" fmla="*/ 11273 h 52787"/>
                  <a:gd name="connsiteX3" fmla="*/ 10808 w 57392"/>
                  <a:gd name="connsiteY3" fmla="*/ 22547 h 52787"/>
                  <a:gd name="connsiteX4" fmla="*/ 31697 w 57392"/>
                  <a:gd name="connsiteY4" fmla="*/ 22547 h 52787"/>
                  <a:gd name="connsiteX5" fmla="*/ 40107 w 57392"/>
                  <a:gd name="connsiteY5" fmla="*/ 32734 h 52787"/>
                  <a:gd name="connsiteX6" fmla="*/ 31697 w 57392"/>
                  <a:gd name="connsiteY6" fmla="*/ 42958 h 52787"/>
                  <a:gd name="connsiteX7" fmla="*/ 22535 w 57392"/>
                  <a:gd name="connsiteY7" fmla="*/ 42958 h 52787"/>
                  <a:gd name="connsiteX8" fmla="*/ 14124 w 57392"/>
                  <a:gd name="connsiteY8" fmla="*/ 51368 h 52787"/>
                  <a:gd name="connsiteX9" fmla="*/ 14124 w 57392"/>
                  <a:gd name="connsiteY9" fmla="*/ 52788 h 527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57392" h="52787">
                    <a:moveTo>
                      <a:pt x="57393" y="0"/>
                    </a:moveTo>
                    <a:lnTo>
                      <a:pt x="10808" y="0"/>
                    </a:lnTo>
                    <a:cubicBezTo>
                      <a:pt x="4867" y="0"/>
                      <a:pt x="0" y="5320"/>
                      <a:pt x="0" y="11273"/>
                    </a:cubicBezTo>
                    <a:cubicBezTo>
                      <a:pt x="0" y="17226"/>
                      <a:pt x="4867" y="22547"/>
                      <a:pt x="10808" y="22547"/>
                    </a:cubicBezTo>
                    <a:lnTo>
                      <a:pt x="31697" y="22547"/>
                    </a:lnTo>
                    <a:cubicBezTo>
                      <a:pt x="36313" y="22547"/>
                      <a:pt x="40107" y="28118"/>
                      <a:pt x="40107" y="32734"/>
                    </a:cubicBezTo>
                    <a:cubicBezTo>
                      <a:pt x="40107" y="37351"/>
                      <a:pt x="36325" y="42958"/>
                      <a:pt x="31697" y="42958"/>
                    </a:cubicBezTo>
                    <a:lnTo>
                      <a:pt x="22535" y="42958"/>
                    </a:lnTo>
                    <a:cubicBezTo>
                      <a:pt x="17918" y="42958"/>
                      <a:pt x="14124" y="46752"/>
                      <a:pt x="14124" y="51368"/>
                    </a:cubicBezTo>
                    <a:lnTo>
                      <a:pt x="14124" y="52788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118" name="Forma livre: Forma 1117">
                <a:extLst>
                  <a:ext uri="{FF2B5EF4-FFF2-40B4-BE49-F238E27FC236}">
                    <a16:creationId xmlns:a16="http://schemas.microsoft.com/office/drawing/2014/main" id="{84BC519A-6FDD-1AB1-8923-8125978E6A0F}"/>
                  </a:ext>
                </a:extLst>
              </p:cNvPr>
              <p:cNvSpPr/>
              <p:nvPr/>
            </p:nvSpPr>
            <p:spPr>
              <a:xfrm>
                <a:off x="10611429" y="3296655"/>
                <a:ext cx="73759" cy="94660"/>
              </a:xfrm>
              <a:custGeom>
                <a:avLst/>
                <a:gdLst>
                  <a:gd name="connsiteX0" fmla="*/ 0 w 73759"/>
                  <a:gd name="connsiteY0" fmla="*/ 0 h 94660"/>
                  <a:gd name="connsiteX1" fmla="*/ 73760 w 73759"/>
                  <a:gd name="connsiteY1" fmla="*/ 0 h 94660"/>
                  <a:gd name="connsiteX2" fmla="*/ 73760 w 73759"/>
                  <a:gd name="connsiteY2" fmla="*/ 94660 h 94660"/>
                  <a:gd name="connsiteX3" fmla="*/ 0 w 73759"/>
                  <a:gd name="connsiteY3" fmla="*/ 94660 h 946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3759" h="94660">
                    <a:moveTo>
                      <a:pt x="0" y="0"/>
                    </a:moveTo>
                    <a:lnTo>
                      <a:pt x="73760" y="0"/>
                    </a:lnTo>
                    <a:lnTo>
                      <a:pt x="73760" y="94660"/>
                    </a:lnTo>
                    <a:lnTo>
                      <a:pt x="0" y="94660"/>
                    </a:ln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119" name="Forma livre: Forma 1118">
                <a:extLst>
                  <a:ext uri="{FF2B5EF4-FFF2-40B4-BE49-F238E27FC236}">
                    <a16:creationId xmlns:a16="http://schemas.microsoft.com/office/drawing/2014/main" id="{569A3F2C-9846-FC58-4955-A981019CCAFF}"/>
                  </a:ext>
                </a:extLst>
              </p:cNvPr>
              <p:cNvSpPr/>
              <p:nvPr/>
            </p:nvSpPr>
            <p:spPr>
              <a:xfrm>
                <a:off x="10687587" y="3313774"/>
                <a:ext cx="26578" cy="47741"/>
              </a:xfrm>
              <a:custGeom>
                <a:avLst/>
                <a:gdLst>
                  <a:gd name="connsiteX0" fmla="*/ 0 w 26578"/>
                  <a:gd name="connsiteY0" fmla="*/ 0 h 47741"/>
                  <a:gd name="connsiteX1" fmla="*/ 16260 w 26578"/>
                  <a:gd name="connsiteY1" fmla="*/ 0 h 47741"/>
                  <a:gd name="connsiteX2" fmla="*/ 26579 w 26578"/>
                  <a:gd name="connsiteY2" fmla="*/ 10319 h 47741"/>
                  <a:gd name="connsiteX3" fmla="*/ 26579 w 26578"/>
                  <a:gd name="connsiteY3" fmla="*/ 37411 h 47741"/>
                  <a:gd name="connsiteX4" fmla="*/ 16260 w 26578"/>
                  <a:gd name="connsiteY4" fmla="*/ 47742 h 47741"/>
                  <a:gd name="connsiteX5" fmla="*/ 0 w 26578"/>
                  <a:gd name="connsiteY5" fmla="*/ 47742 h 477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6578" h="47741">
                    <a:moveTo>
                      <a:pt x="0" y="0"/>
                    </a:moveTo>
                    <a:lnTo>
                      <a:pt x="16260" y="0"/>
                    </a:lnTo>
                    <a:cubicBezTo>
                      <a:pt x="21938" y="0"/>
                      <a:pt x="26579" y="4641"/>
                      <a:pt x="26579" y="10319"/>
                    </a:cubicBezTo>
                    <a:lnTo>
                      <a:pt x="26579" y="37411"/>
                    </a:lnTo>
                    <a:cubicBezTo>
                      <a:pt x="26579" y="43089"/>
                      <a:pt x="21938" y="47742"/>
                      <a:pt x="16260" y="47742"/>
                    </a:cubicBezTo>
                    <a:lnTo>
                      <a:pt x="0" y="47742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120" name="Gráfico 11">
              <a:extLst>
                <a:ext uri="{FF2B5EF4-FFF2-40B4-BE49-F238E27FC236}">
                  <a16:creationId xmlns:a16="http://schemas.microsoft.com/office/drawing/2014/main" id="{AE1F7DC2-6EF3-ADC5-01A2-7D9FDC4B5B32}"/>
                </a:ext>
              </a:extLst>
            </p:cNvPr>
            <p:cNvGrpSpPr/>
            <p:nvPr/>
          </p:nvGrpSpPr>
          <p:grpSpPr>
            <a:xfrm>
              <a:off x="10331910" y="3166039"/>
              <a:ext cx="319471" cy="225276"/>
              <a:chOff x="10331910" y="3166039"/>
              <a:chExt cx="319471" cy="225276"/>
            </a:xfrm>
            <a:noFill/>
          </p:grpSpPr>
          <p:grpSp>
            <p:nvGrpSpPr>
              <p:cNvPr id="1121" name="Gráfico 11">
                <a:extLst>
                  <a:ext uri="{FF2B5EF4-FFF2-40B4-BE49-F238E27FC236}">
                    <a16:creationId xmlns:a16="http://schemas.microsoft.com/office/drawing/2014/main" id="{4D5BB065-043A-666B-7469-8BD60D2F5DDF}"/>
                  </a:ext>
                </a:extLst>
              </p:cNvPr>
              <p:cNvGrpSpPr/>
              <p:nvPr/>
            </p:nvGrpSpPr>
            <p:grpSpPr>
              <a:xfrm>
                <a:off x="10331910" y="3166039"/>
                <a:ext cx="319471" cy="225276"/>
                <a:chOff x="10331910" y="3166039"/>
                <a:chExt cx="319471" cy="225276"/>
              </a:xfrm>
              <a:noFill/>
            </p:grpSpPr>
            <p:sp>
              <p:nvSpPr>
                <p:cNvPr id="1122" name="Forma livre: Forma 1121">
                  <a:extLst>
                    <a:ext uri="{FF2B5EF4-FFF2-40B4-BE49-F238E27FC236}">
                      <a16:creationId xmlns:a16="http://schemas.microsoft.com/office/drawing/2014/main" id="{CF19863E-0F9E-047F-CC16-0D95021E46B8}"/>
                    </a:ext>
                  </a:extLst>
                </p:cNvPr>
                <p:cNvSpPr/>
                <p:nvPr/>
              </p:nvSpPr>
              <p:spPr>
                <a:xfrm>
                  <a:off x="10365432" y="3166039"/>
                  <a:ext cx="285949" cy="178667"/>
                </a:xfrm>
                <a:custGeom>
                  <a:avLst/>
                  <a:gdLst>
                    <a:gd name="connsiteX0" fmla="*/ 0 w 285949"/>
                    <a:gd name="connsiteY0" fmla="*/ 178668 h 178667"/>
                    <a:gd name="connsiteX1" fmla="*/ 0 w 285949"/>
                    <a:gd name="connsiteY1" fmla="*/ 20877 h 178667"/>
                    <a:gd name="connsiteX2" fmla="*/ 20853 w 285949"/>
                    <a:gd name="connsiteY2" fmla="*/ 0 h 178667"/>
                    <a:gd name="connsiteX3" fmla="*/ 265073 w 285949"/>
                    <a:gd name="connsiteY3" fmla="*/ 0 h 178667"/>
                    <a:gd name="connsiteX4" fmla="*/ 285949 w 285949"/>
                    <a:gd name="connsiteY4" fmla="*/ 20877 h 178667"/>
                    <a:gd name="connsiteX5" fmla="*/ 285949 w 285949"/>
                    <a:gd name="connsiteY5" fmla="*/ 35514 h 17866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285949" h="178667">
                      <a:moveTo>
                        <a:pt x="0" y="178668"/>
                      </a:moveTo>
                      <a:lnTo>
                        <a:pt x="0" y="20877"/>
                      </a:lnTo>
                      <a:cubicBezTo>
                        <a:pt x="0" y="9400"/>
                        <a:pt x="9388" y="0"/>
                        <a:pt x="20853" y="0"/>
                      </a:cubicBezTo>
                      <a:lnTo>
                        <a:pt x="265073" y="0"/>
                      </a:lnTo>
                      <a:cubicBezTo>
                        <a:pt x="276561" y="0"/>
                        <a:pt x="285949" y="9400"/>
                        <a:pt x="285949" y="20877"/>
                      </a:cubicBezTo>
                      <a:lnTo>
                        <a:pt x="285949" y="35514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123" name="Forma livre: Forma 1122">
                  <a:extLst>
                    <a:ext uri="{FF2B5EF4-FFF2-40B4-BE49-F238E27FC236}">
                      <a16:creationId xmlns:a16="http://schemas.microsoft.com/office/drawing/2014/main" id="{48170D37-6768-15BA-D4AC-4F53E8EEEE99}"/>
                    </a:ext>
                  </a:extLst>
                </p:cNvPr>
                <p:cNvSpPr/>
                <p:nvPr/>
              </p:nvSpPr>
              <p:spPr>
                <a:xfrm>
                  <a:off x="10331910" y="3363699"/>
                  <a:ext cx="256399" cy="27616"/>
                </a:xfrm>
                <a:custGeom>
                  <a:avLst/>
                  <a:gdLst>
                    <a:gd name="connsiteX0" fmla="*/ 256400 w 256399"/>
                    <a:gd name="connsiteY0" fmla="*/ 0 h 27616"/>
                    <a:gd name="connsiteX1" fmla="*/ 207859 w 256399"/>
                    <a:gd name="connsiteY1" fmla="*/ 0 h 27616"/>
                    <a:gd name="connsiteX2" fmla="*/ 202837 w 256399"/>
                    <a:gd name="connsiteY2" fmla="*/ 5810 h 27616"/>
                    <a:gd name="connsiteX3" fmla="*/ 150132 w 256399"/>
                    <a:gd name="connsiteY3" fmla="*/ 5810 h 27616"/>
                    <a:gd name="connsiteX4" fmla="*/ 145134 w 256399"/>
                    <a:gd name="connsiteY4" fmla="*/ 0 h 27616"/>
                    <a:gd name="connsiteX5" fmla="*/ 0 w 256399"/>
                    <a:gd name="connsiteY5" fmla="*/ 0 h 27616"/>
                    <a:gd name="connsiteX6" fmla="*/ 26293 w 256399"/>
                    <a:gd name="connsiteY6" fmla="*/ 27617 h 27616"/>
                    <a:gd name="connsiteX7" fmla="*/ 256388 w 256399"/>
                    <a:gd name="connsiteY7" fmla="*/ 27617 h 2761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256399" h="27616">
                      <a:moveTo>
                        <a:pt x="256400" y="0"/>
                      </a:moveTo>
                      <a:lnTo>
                        <a:pt x="207859" y="0"/>
                      </a:lnTo>
                      <a:lnTo>
                        <a:pt x="202837" y="5810"/>
                      </a:lnTo>
                      <a:lnTo>
                        <a:pt x="150132" y="5810"/>
                      </a:lnTo>
                      <a:lnTo>
                        <a:pt x="145134" y="0"/>
                      </a:lnTo>
                      <a:lnTo>
                        <a:pt x="0" y="0"/>
                      </a:lnTo>
                      <a:cubicBezTo>
                        <a:pt x="0" y="0"/>
                        <a:pt x="6084" y="27617"/>
                        <a:pt x="26293" y="27617"/>
                      </a:cubicBezTo>
                      <a:lnTo>
                        <a:pt x="256388" y="27617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1124" name="Gráfico 11">
                <a:extLst>
                  <a:ext uri="{FF2B5EF4-FFF2-40B4-BE49-F238E27FC236}">
                    <a16:creationId xmlns:a16="http://schemas.microsoft.com/office/drawing/2014/main" id="{E5BF1574-118B-A3DF-8443-EF23C3B7860C}"/>
                  </a:ext>
                </a:extLst>
              </p:cNvPr>
              <p:cNvGrpSpPr/>
              <p:nvPr/>
            </p:nvGrpSpPr>
            <p:grpSpPr>
              <a:xfrm>
                <a:off x="10416251" y="3223074"/>
                <a:ext cx="178142" cy="85892"/>
                <a:chOff x="10416251" y="3223074"/>
                <a:chExt cx="178142" cy="85892"/>
              </a:xfrm>
            </p:grpSpPr>
            <p:sp>
              <p:nvSpPr>
                <p:cNvPr id="1125" name="Forma livre: Forma 1124">
                  <a:extLst>
                    <a:ext uri="{FF2B5EF4-FFF2-40B4-BE49-F238E27FC236}">
                      <a16:creationId xmlns:a16="http://schemas.microsoft.com/office/drawing/2014/main" id="{BDFC7616-C02F-94EC-8C12-DF3EE162E503}"/>
                    </a:ext>
                  </a:extLst>
                </p:cNvPr>
                <p:cNvSpPr/>
                <p:nvPr/>
              </p:nvSpPr>
              <p:spPr>
                <a:xfrm>
                  <a:off x="10416251" y="3223074"/>
                  <a:ext cx="178142" cy="1192"/>
                </a:xfrm>
                <a:custGeom>
                  <a:avLst/>
                  <a:gdLst>
                    <a:gd name="connsiteX0" fmla="*/ 0 w 178142"/>
                    <a:gd name="connsiteY0" fmla="*/ 0 h 1192"/>
                    <a:gd name="connsiteX1" fmla="*/ 178143 w 178142"/>
                    <a:gd name="connsiteY1" fmla="*/ 0 h 11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78142" h="1192">
                      <a:moveTo>
                        <a:pt x="0" y="0"/>
                      </a:moveTo>
                      <a:lnTo>
                        <a:pt x="178143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126" name="Forma livre: Forma 1125">
                  <a:extLst>
                    <a:ext uri="{FF2B5EF4-FFF2-40B4-BE49-F238E27FC236}">
                      <a16:creationId xmlns:a16="http://schemas.microsoft.com/office/drawing/2014/main" id="{46E93568-32B7-1208-3E72-5AE3F98EA056}"/>
                    </a:ext>
                  </a:extLst>
                </p:cNvPr>
                <p:cNvSpPr/>
                <p:nvPr/>
              </p:nvSpPr>
              <p:spPr>
                <a:xfrm>
                  <a:off x="10416251" y="3251705"/>
                  <a:ext cx="178142" cy="1192"/>
                </a:xfrm>
                <a:custGeom>
                  <a:avLst/>
                  <a:gdLst>
                    <a:gd name="connsiteX0" fmla="*/ 0 w 178142"/>
                    <a:gd name="connsiteY0" fmla="*/ 0 h 1192"/>
                    <a:gd name="connsiteX1" fmla="*/ 178143 w 178142"/>
                    <a:gd name="connsiteY1" fmla="*/ 0 h 11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78142" h="1192">
                      <a:moveTo>
                        <a:pt x="0" y="0"/>
                      </a:moveTo>
                      <a:lnTo>
                        <a:pt x="178143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127" name="Forma livre: Forma 1126">
                  <a:extLst>
                    <a:ext uri="{FF2B5EF4-FFF2-40B4-BE49-F238E27FC236}">
                      <a16:creationId xmlns:a16="http://schemas.microsoft.com/office/drawing/2014/main" id="{942421A7-253C-B5E2-A28B-6AAA7A295300}"/>
                    </a:ext>
                  </a:extLst>
                </p:cNvPr>
                <p:cNvSpPr/>
                <p:nvPr/>
              </p:nvSpPr>
              <p:spPr>
                <a:xfrm>
                  <a:off x="10416251" y="3280336"/>
                  <a:ext cx="178142" cy="1192"/>
                </a:xfrm>
                <a:custGeom>
                  <a:avLst/>
                  <a:gdLst>
                    <a:gd name="connsiteX0" fmla="*/ 0 w 178142"/>
                    <a:gd name="connsiteY0" fmla="*/ 0 h 1192"/>
                    <a:gd name="connsiteX1" fmla="*/ 178143 w 178142"/>
                    <a:gd name="connsiteY1" fmla="*/ 0 h 11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78142" h="1192">
                      <a:moveTo>
                        <a:pt x="0" y="0"/>
                      </a:moveTo>
                      <a:lnTo>
                        <a:pt x="178143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128" name="Forma livre: Forma 1127">
                  <a:extLst>
                    <a:ext uri="{FF2B5EF4-FFF2-40B4-BE49-F238E27FC236}">
                      <a16:creationId xmlns:a16="http://schemas.microsoft.com/office/drawing/2014/main" id="{30B05CCD-DC49-FF35-376B-4A0C995FA11B}"/>
                    </a:ext>
                  </a:extLst>
                </p:cNvPr>
                <p:cNvSpPr/>
                <p:nvPr/>
              </p:nvSpPr>
              <p:spPr>
                <a:xfrm>
                  <a:off x="10416251" y="3308966"/>
                  <a:ext cx="106565" cy="1192"/>
                </a:xfrm>
                <a:custGeom>
                  <a:avLst/>
                  <a:gdLst>
                    <a:gd name="connsiteX0" fmla="*/ 0 w 106565"/>
                    <a:gd name="connsiteY0" fmla="*/ 0 h 1192"/>
                    <a:gd name="connsiteX1" fmla="*/ 106566 w 106565"/>
                    <a:gd name="connsiteY1" fmla="*/ 0 h 11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06565" h="1192">
                      <a:moveTo>
                        <a:pt x="0" y="0"/>
                      </a:moveTo>
                      <a:lnTo>
                        <a:pt x="106566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</p:grpSp>
      <p:grpSp>
        <p:nvGrpSpPr>
          <p:cNvPr id="1129" name="Gráfico 11">
            <a:extLst>
              <a:ext uri="{FF2B5EF4-FFF2-40B4-BE49-F238E27FC236}">
                <a16:creationId xmlns:a16="http://schemas.microsoft.com/office/drawing/2014/main" id="{9B6983BA-EF92-F511-2FE3-8E5097FDCFA7}"/>
              </a:ext>
            </a:extLst>
          </p:cNvPr>
          <p:cNvGrpSpPr/>
          <p:nvPr/>
        </p:nvGrpSpPr>
        <p:grpSpPr>
          <a:xfrm>
            <a:off x="10363654" y="2071404"/>
            <a:ext cx="318791" cy="281046"/>
            <a:chOff x="10363654" y="2071404"/>
            <a:chExt cx="318791" cy="281046"/>
          </a:xfrm>
          <a:noFill/>
        </p:grpSpPr>
        <p:grpSp>
          <p:nvGrpSpPr>
            <p:cNvPr id="1130" name="Gráfico 11">
              <a:extLst>
                <a:ext uri="{FF2B5EF4-FFF2-40B4-BE49-F238E27FC236}">
                  <a16:creationId xmlns:a16="http://schemas.microsoft.com/office/drawing/2014/main" id="{BF9A10CF-3566-C9E2-C6AA-E001A8AC181D}"/>
                </a:ext>
              </a:extLst>
            </p:cNvPr>
            <p:cNvGrpSpPr/>
            <p:nvPr/>
          </p:nvGrpSpPr>
          <p:grpSpPr>
            <a:xfrm>
              <a:off x="10363654" y="2071404"/>
              <a:ext cx="315021" cy="281046"/>
              <a:chOff x="10363654" y="2071404"/>
              <a:chExt cx="315021" cy="281046"/>
            </a:xfrm>
            <a:noFill/>
          </p:grpSpPr>
          <p:sp>
            <p:nvSpPr>
              <p:cNvPr id="1131" name="Forma livre: Forma 1130">
                <a:extLst>
                  <a:ext uri="{FF2B5EF4-FFF2-40B4-BE49-F238E27FC236}">
                    <a16:creationId xmlns:a16="http://schemas.microsoft.com/office/drawing/2014/main" id="{A355936E-2A0E-7E1A-55F9-FCC1F7818ED8}"/>
                  </a:ext>
                </a:extLst>
              </p:cNvPr>
              <p:cNvSpPr/>
              <p:nvPr/>
            </p:nvSpPr>
            <p:spPr>
              <a:xfrm>
                <a:off x="10363654" y="2071404"/>
                <a:ext cx="315021" cy="154259"/>
              </a:xfrm>
              <a:custGeom>
                <a:avLst/>
                <a:gdLst>
                  <a:gd name="connsiteX0" fmla="*/ 315021 w 315021"/>
                  <a:gd name="connsiteY0" fmla="*/ 154260 h 154259"/>
                  <a:gd name="connsiteX1" fmla="*/ 157469 w 315021"/>
                  <a:gd name="connsiteY1" fmla="*/ 0 h 154259"/>
                  <a:gd name="connsiteX2" fmla="*/ 96724 w 315021"/>
                  <a:gd name="connsiteY2" fmla="*/ 59075 h 154259"/>
                  <a:gd name="connsiteX3" fmla="*/ 96724 w 315021"/>
                  <a:gd name="connsiteY3" fmla="*/ 22988 h 154259"/>
                  <a:gd name="connsiteX4" fmla="*/ 62498 w 315021"/>
                  <a:gd name="connsiteY4" fmla="*/ 22988 h 154259"/>
                  <a:gd name="connsiteX5" fmla="*/ 62498 w 315021"/>
                  <a:gd name="connsiteY5" fmla="*/ 92549 h 154259"/>
                  <a:gd name="connsiteX6" fmla="*/ 0 w 315021"/>
                  <a:gd name="connsiteY6" fmla="*/ 154260 h 1542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15021" h="154259">
                    <a:moveTo>
                      <a:pt x="315021" y="154260"/>
                    </a:moveTo>
                    <a:lnTo>
                      <a:pt x="157469" y="0"/>
                    </a:lnTo>
                    <a:lnTo>
                      <a:pt x="96724" y="59075"/>
                    </a:lnTo>
                    <a:lnTo>
                      <a:pt x="96724" y="22988"/>
                    </a:lnTo>
                    <a:lnTo>
                      <a:pt x="62498" y="22988"/>
                    </a:lnTo>
                    <a:lnTo>
                      <a:pt x="62498" y="92549"/>
                    </a:lnTo>
                    <a:lnTo>
                      <a:pt x="0" y="15426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132" name="Forma livre: Forma 1131">
                <a:extLst>
                  <a:ext uri="{FF2B5EF4-FFF2-40B4-BE49-F238E27FC236}">
                    <a16:creationId xmlns:a16="http://schemas.microsoft.com/office/drawing/2014/main" id="{3C69763E-5301-A091-74CA-2EF66F0CB27C}"/>
                  </a:ext>
                </a:extLst>
              </p:cNvPr>
              <p:cNvSpPr/>
              <p:nvPr/>
            </p:nvSpPr>
            <p:spPr>
              <a:xfrm>
                <a:off x="10525251" y="2276423"/>
                <a:ext cx="128325" cy="74714"/>
              </a:xfrm>
              <a:custGeom>
                <a:avLst/>
                <a:gdLst>
                  <a:gd name="connsiteX0" fmla="*/ 91988 w 128325"/>
                  <a:gd name="connsiteY0" fmla="*/ 74714 h 74714"/>
                  <a:gd name="connsiteX1" fmla="*/ 128325 w 128325"/>
                  <a:gd name="connsiteY1" fmla="*/ 0 h 74714"/>
                  <a:gd name="connsiteX2" fmla="*/ 36337 w 128325"/>
                  <a:gd name="connsiteY2" fmla="*/ 0 h 74714"/>
                  <a:gd name="connsiteX3" fmla="*/ 0 w 128325"/>
                  <a:gd name="connsiteY3" fmla="*/ 74714 h 747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28325" h="74714">
                    <a:moveTo>
                      <a:pt x="91988" y="74714"/>
                    </a:moveTo>
                    <a:lnTo>
                      <a:pt x="128325" y="0"/>
                    </a:lnTo>
                    <a:lnTo>
                      <a:pt x="36337" y="0"/>
                    </a:lnTo>
                    <a:lnTo>
                      <a:pt x="0" y="74714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133" name="Forma livre: Forma 1132">
                <a:extLst>
                  <a:ext uri="{FF2B5EF4-FFF2-40B4-BE49-F238E27FC236}">
                    <a16:creationId xmlns:a16="http://schemas.microsoft.com/office/drawing/2014/main" id="{61236092-240A-F811-B7CD-32B52A5ACBF5}"/>
                  </a:ext>
                </a:extLst>
              </p:cNvPr>
              <p:cNvSpPr/>
              <p:nvPr/>
            </p:nvSpPr>
            <p:spPr>
              <a:xfrm>
                <a:off x="10386117" y="2352450"/>
                <a:ext cx="265323" cy="1192"/>
              </a:xfrm>
              <a:custGeom>
                <a:avLst/>
                <a:gdLst>
                  <a:gd name="connsiteX0" fmla="*/ 0 w 265323"/>
                  <a:gd name="connsiteY0" fmla="*/ 0 h 1192"/>
                  <a:gd name="connsiteX1" fmla="*/ 265323 w 265323"/>
                  <a:gd name="connsiteY1" fmla="*/ 0 h 11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65323" h="1192">
                    <a:moveTo>
                      <a:pt x="0" y="0"/>
                    </a:moveTo>
                    <a:lnTo>
                      <a:pt x="265323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1134" name="Gráfico 11">
                <a:extLst>
                  <a:ext uri="{FF2B5EF4-FFF2-40B4-BE49-F238E27FC236}">
                    <a16:creationId xmlns:a16="http://schemas.microsoft.com/office/drawing/2014/main" id="{59B9E315-3808-7F05-1331-5D703B638CB1}"/>
                  </a:ext>
                </a:extLst>
              </p:cNvPr>
              <p:cNvGrpSpPr/>
              <p:nvPr/>
            </p:nvGrpSpPr>
            <p:grpSpPr>
              <a:xfrm>
                <a:off x="10416502" y="2170096"/>
                <a:ext cx="117851" cy="182353"/>
                <a:chOff x="10416502" y="2170096"/>
                <a:chExt cx="117851" cy="182353"/>
              </a:xfrm>
              <a:noFill/>
            </p:grpSpPr>
            <p:sp>
              <p:nvSpPr>
                <p:cNvPr id="1135" name="Forma livre: Forma 1134">
                  <a:extLst>
                    <a:ext uri="{FF2B5EF4-FFF2-40B4-BE49-F238E27FC236}">
                      <a16:creationId xmlns:a16="http://schemas.microsoft.com/office/drawing/2014/main" id="{6E4AD741-9736-C42C-99D0-C1E7A0CBA98F}"/>
                    </a:ext>
                  </a:extLst>
                </p:cNvPr>
                <p:cNvSpPr/>
                <p:nvPr/>
              </p:nvSpPr>
              <p:spPr>
                <a:xfrm>
                  <a:off x="10452373" y="2170096"/>
                  <a:ext cx="53420" cy="64287"/>
                </a:xfrm>
                <a:custGeom>
                  <a:avLst/>
                  <a:gdLst>
                    <a:gd name="connsiteX0" fmla="*/ 53420 w 53420"/>
                    <a:gd name="connsiteY0" fmla="*/ 37172 h 64287"/>
                    <a:gd name="connsiteX1" fmla="*/ 26698 w 53420"/>
                    <a:gd name="connsiteY1" fmla="*/ 64288 h 64287"/>
                    <a:gd name="connsiteX2" fmla="*/ 0 w 53420"/>
                    <a:gd name="connsiteY2" fmla="*/ 37172 h 64287"/>
                    <a:gd name="connsiteX3" fmla="*/ 0 w 53420"/>
                    <a:gd name="connsiteY3" fmla="*/ 27116 h 64287"/>
                    <a:gd name="connsiteX4" fmla="*/ 26698 w 53420"/>
                    <a:gd name="connsiteY4" fmla="*/ 0 h 64287"/>
                    <a:gd name="connsiteX5" fmla="*/ 53420 w 53420"/>
                    <a:gd name="connsiteY5" fmla="*/ 27116 h 64287"/>
                    <a:gd name="connsiteX6" fmla="*/ 53420 w 53420"/>
                    <a:gd name="connsiteY6" fmla="*/ 37172 h 6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53420" h="64287">
                      <a:moveTo>
                        <a:pt x="53420" y="37172"/>
                      </a:moveTo>
                      <a:cubicBezTo>
                        <a:pt x="53420" y="52084"/>
                        <a:pt x="41395" y="64288"/>
                        <a:pt x="26698" y="64288"/>
                      </a:cubicBezTo>
                      <a:cubicBezTo>
                        <a:pt x="12001" y="64288"/>
                        <a:pt x="0" y="52084"/>
                        <a:pt x="0" y="37172"/>
                      </a:cubicBezTo>
                      <a:lnTo>
                        <a:pt x="0" y="27116"/>
                      </a:lnTo>
                      <a:cubicBezTo>
                        <a:pt x="0" y="12204"/>
                        <a:pt x="12013" y="0"/>
                        <a:pt x="26698" y="0"/>
                      </a:cubicBezTo>
                      <a:cubicBezTo>
                        <a:pt x="41383" y="0"/>
                        <a:pt x="53420" y="12204"/>
                        <a:pt x="53420" y="27116"/>
                      </a:cubicBezTo>
                      <a:lnTo>
                        <a:pt x="53420" y="37172"/>
                      </a:lnTo>
                      <a:close/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136" name="Forma livre: Forma 1135">
                  <a:extLst>
                    <a:ext uri="{FF2B5EF4-FFF2-40B4-BE49-F238E27FC236}">
                      <a16:creationId xmlns:a16="http://schemas.microsoft.com/office/drawing/2014/main" id="{425C3E73-1576-B5A5-202B-5D4DDBC07520}"/>
                    </a:ext>
                  </a:extLst>
                </p:cNvPr>
                <p:cNvSpPr/>
                <p:nvPr/>
              </p:nvSpPr>
              <p:spPr>
                <a:xfrm>
                  <a:off x="10452469" y="2287744"/>
                  <a:ext cx="58144" cy="64705"/>
                </a:xfrm>
                <a:custGeom>
                  <a:avLst/>
                  <a:gdLst>
                    <a:gd name="connsiteX0" fmla="*/ 58144 w 58144"/>
                    <a:gd name="connsiteY0" fmla="*/ 64705 h 64705"/>
                    <a:gd name="connsiteX1" fmla="*/ 39320 w 58144"/>
                    <a:gd name="connsiteY1" fmla="*/ 34524 h 64705"/>
                    <a:gd name="connsiteX2" fmla="*/ 0 w 58144"/>
                    <a:gd name="connsiteY2" fmla="*/ 34524 h 64705"/>
                    <a:gd name="connsiteX3" fmla="*/ 0 w 58144"/>
                    <a:gd name="connsiteY3" fmla="*/ 0 h 6470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58144" h="64705">
                      <a:moveTo>
                        <a:pt x="58144" y="64705"/>
                      </a:moveTo>
                      <a:cubicBezTo>
                        <a:pt x="58144" y="35108"/>
                        <a:pt x="39320" y="34524"/>
                        <a:pt x="39320" y="34524"/>
                      </a:cubicBezTo>
                      <a:lnTo>
                        <a:pt x="0" y="34524"/>
                      </a:lnTo>
                      <a:lnTo>
                        <a:pt x="0" y="0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137" name="Forma livre: Forma 1136">
                  <a:extLst>
                    <a:ext uri="{FF2B5EF4-FFF2-40B4-BE49-F238E27FC236}">
                      <a16:creationId xmlns:a16="http://schemas.microsoft.com/office/drawing/2014/main" id="{874F0E97-2358-0840-CCE2-D25205F8BBCF}"/>
                    </a:ext>
                  </a:extLst>
                </p:cNvPr>
                <p:cNvSpPr/>
                <p:nvPr/>
              </p:nvSpPr>
              <p:spPr>
                <a:xfrm>
                  <a:off x="10416502" y="2253459"/>
                  <a:ext cx="117851" cy="98990"/>
                </a:xfrm>
                <a:custGeom>
                  <a:avLst/>
                  <a:gdLst>
                    <a:gd name="connsiteX0" fmla="*/ 117851 w 117851"/>
                    <a:gd name="connsiteY0" fmla="*/ 31375 h 98990"/>
                    <a:gd name="connsiteX1" fmla="*/ 86477 w 117851"/>
                    <a:gd name="connsiteY1" fmla="*/ 0 h 98990"/>
                    <a:gd name="connsiteX2" fmla="*/ 82552 w 117851"/>
                    <a:gd name="connsiteY2" fmla="*/ 0 h 98990"/>
                    <a:gd name="connsiteX3" fmla="*/ 63620 w 117851"/>
                    <a:gd name="connsiteY3" fmla="*/ 9734 h 98990"/>
                    <a:gd name="connsiteX4" fmla="*/ 44688 w 117851"/>
                    <a:gd name="connsiteY4" fmla="*/ 0 h 98990"/>
                    <a:gd name="connsiteX5" fmla="*/ 28511 w 117851"/>
                    <a:gd name="connsiteY5" fmla="*/ 0 h 98990"/>
                    <a:gd name="connsiteX6" fmla="*/ 0 w 117851"/>
                    <a:gd name="connsiteY6" fmla="*/ 31375 h 98990"/>
                    <a:gd name="connsiteX7" fmla="*/ 0 w 117851"/>
                    <a:gd name="connsiteY7" fmla="*/ 77398 h 98990"/>
                    <a:gd name="connsiteX8" fmla="*/ 26137 w 117851"/>
                    <a:gd name="connsiteY8" fmla="*/ 98991 h 989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117851" h="98990">
                      <a:moveTo>
                        <a:pt x="117851" y="31375"/>
                      </a:moveTo>
                      <a:cubicBezTo>
                        <a:pt x="117851" y="14125"/>
                        <a:pt x="111350" y="0"/>
                        <a:pt x="86477" y="0"/>
                      </a:cubicBezTo>
                      <a:lnTo>
                        <a:pt x="82552" y="0"/>
                      </a:lnTo>
                      <a:cubicBezTo>
                        <a:pt x="79343" y="5726"/>
                        <a:pt x="72090" y="9734"/>
                        <a:pt x="63620" y="9734"/>
                      </a:cubicBezTo>
                      <a:cubicBezTo>
                        <a:pt x="55150" y="9734"/>
                        <a:pt x="47897" y="5726"/>
                        <a:pt x="44688" y="0"/>
                      </a:cubicBezTo>
                      <a:lnTo>
                        <a:pt x="28511" y="0"/>
                      </a:lnTo>
                      <a:cubicBezTo>
                        <a:pt x="11261" y="0"/>
                        <a:pt x="0" y="14125"/>
                        <a:pt x="0" y="31375"/>
                      </a:cubicBezTo>
                      <a:lnTo>
                        <a:pt x="0" y="77398"/>
                      </a:lnTo>
                      <a:cubicBezTo>
                        <a:pt x="0" y="94648"/>
                        <a:pt x="8887" y="98991"/>
                        <a:pt x="26137" y="98991"/>
                      </a:cubicBez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sp>
          <p:nvSpPr>
            <p:cNvPr id="1138" name="Forma livre: Forma 1137">
              <a:extLst>
                <a:ext uri="{FF2B5EF4-FFF2-40B4-BE49-F238E27FC236}">
                  <a16:creationId xmlns:a16="http://schemas.microsoft.com/office/drawing/2014/main" id="{9B6EDD69-AF9B-FAB5-2F04-C591C05A4DFE}"/>
                </a:ext>
              </a:extLst>
            </p:cNvPr>
            <p:cNvSpPr/>
            <p:nvPr/>
          </p:nvSpPr>
          <p:spPr>
            <a:xfrm>
              <a:off x="10669561" y="2352450"/>
              <a:ext cx="12883" cy="1192"/>
            </a:xfrm>
            <a:custGeom>
              <a:avLst/>
              <a:gdLst>
                <a:gd name="connsiteX0" fmla="*/ 0 w 12883"/>
                <a:gd name="connsiteY0" fmla="*/ 0 h 1192"/>
                <a:gd name="connsiteX1" fmla="*/ 12884 w 12883"/>
                <a:gd name="connsiteY1" fmla="*/ 0 h 11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83" h="1192">
                  <a:moveTo>
                    <a:pt x="0" y="0"/>
                  </a:moveTo>
                  <a:lnTo>
                    <a:pt x="12884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139" name="Gráfico 11">
            <a:extLst>
              <a:ext uri="{FF2B5EF4-FFF2-40B4-BE49-F238E27FC236}">
                <a16:creationId xmlns:a16="http://schemas.microsoft.com/office/drawing/2014/main" id="{801F36D3-9192-AD36-8123-798984903BEB}"/>
              </a:ext>
            </a:extLst>
          </p:cNvPr>
          <p:cNvGrpSpPr/>
          <p:nvPr/>
        </p:nvGrpSpPr>
        <p:grpSpPr>
          <a:xfrm>
            <a:off x="10335978" y="2606953"/>
            <a:ext cx="374143" cy="276703"/>
            <a:chOff x="10335978" y="2606953"/>
            <a:chExt cx="374143" cy="276703"/>
          </a:xfrm>
          <a:noFill/>
        </p:grpSpPr>
        <p:sp>
          <p:nvSpPr>
            <p:cNvPr id="1140" name="Forma livre: Forma 1139">
              <a:extLst>
                <a:ext uri="{FF2B5EF4-FFF2-40B4-BE49-F238E27FC236}">
                  <a16:creationId xmlns:a16="http://schemas.microsoft.com/office/drawing/2014/main" id="{6770A05A-B180-866E-B46A-B44988737488}"/>
                </a:ext>
              </a:extLst>
            </p:cNvPr>
            <p:cNvSpPr/>
            <p:nvPr/>
          </p:nvSpPr>
          <p:spPr>
            <a:xfrm>
              <a:off x="10410799" y="2791621"/>
              <a:ext cx="152589" cy="91558"/>
            </a:xfrm>
            <a:custGeom>
              <a:avLst/>
              <a:gdLst>
                <a:gd name="connsiteX0" fmla="*/ 0 w 152589"/>
                <a:gd name="connsiteY0" fmla="*/ 91559 h 91558"/>
                <a:gd name="connsiteX1" fmla="*/ 0 w 152589"/>
                <a:gd name="connsiteY1" fmla="*/ 0 h 91558"/>
                <a:gd name="connsiteX2" fmla="*/ 152590 w 152589"/>
                <a:gd name="connsiteY2" fmla="*/ 0 h 91558"/>
                <a:gd name="connsiteX3" fmla="*/ 152590 w 152589"/>
                <a:gd name="connsiteY3" fmla="*/ 91559 h 915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2589" h="91558">
                  <a:moveTo>
                    <a:pt x="0" y="91559"/>
                  </a:moveTo>
                  <a:lnTo>
                    <a:pt x="0" y="0"/>
                  </a:lnTo>
                  <a:lnTo>
                    <a:pt x="152590" y="0"/>
                  </a:lnTo>
                  <a:lnTo>
                    <a:pt x="152590" y="91559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41" name="Forma livre: Forma 1140">
              <a:extLst>
                <a:ext uri="{FF2B5EF4-FFF2-40B4-BE49-F238E27FC236}">
                  <a16:creationId xmlns:a16="http://schemas.microsoft.com/office/drawing/2014/main" id="{1959114F-BC43-4045-B2C5-AE3FCC635ADA}"/>
                </a:ext>
              </a:extLst>
            </p:cNvPr>
            <p:cNvSpPr/>
            <p:nvPr/>
          </p:nvSpPr>
          <p:spPr>
            <a:xfrm>
              <a:off x="10368855" y="2883657"/>
              <a:ext cx="335945" cy="1192"/>
            </a:xfrm>
            <a:custGeom>
              <a:avLst/>
              <a:gdLst>
                <a:gd name="connsiteX0" fmla="*/ 0 w 335945"/>
                <a:gd name="connsiteY0" fmla="*/ 0 h 1192"/>
                <a:gd name="connsiteX1" fmla="*/ 335946 w 335945"/>
                <a:gd name="connsiteY1" fmla="*/ 0 h 11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35945" h="1192">
                  <a:moveTo>
                    <a:pt x="0" y="0"/>
                  </a:moveTo>
                  <a:lnTo>
                    <a:pt x="335946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42" name="Forma livre: Forma 1141">
              <a:extLst>
                <a:ext uri="{FF2B5EF4-FFF2-40B4-BE49-F238E27FC236}">
                  <a16:creationId xmlns:a16="http://schemas.microsoft.com/office/drawing/2014/main" id="{58FCD36D-ED8C-3AE6-21A7-DC978861E621}"/>
                </a:ext>
              </a:extLst>
            </p:cNvPr>
            <p:cNvSpPr/>
            <p:nvPr/>
          </p:nvSpPr>
          <p:spPr>
            <a:xfrm>
              <a:off x="10335978" y="2883657"/>
              <a:ext cx="12621" cy="1192"/>
            </a:xfrm>
            <a:custGeom>
              <a:avLst/>
              <a:gdLst>
                <a:gd name="connsiteX0" fmla="*/ 0 w 12621"/>
                <a:gd name="connsiteY0" fmla="*/ 0 h 1192"/>
                <a:gd name="connsiteX1" fmla="*/ 12621 w 12621"/>
                <a:gd name="connsiteY1" fmla="*/ 0 h 11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621" h="1192">
                  <a:moveTo>
                    <a:pt x="0" y="0"/>
                  </a:moveTo>
                  <a:lnTo>
                    <a:pt x="12621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143" name="Gráfico 11">
              <a:extLst>
                <a:ext uri="{FF2B5EF4-FFF2-40B4-BE49-F238E27FC236}">
                  <a16:creationId xmlns:a16="http://schemas.microsoft.com/office/drawing/2014/main" id="{583F0D32-6C74-81E9-9A51-B48D0F4BD20F}"/>
                </a:ext>
              </a:extLst>
            </p:cNvPr>
            <p:cNvGrpSpPr/>
            <p:nvPr/>
          </p:nvGrpSpPr>
          <p:grpSpPr>
            <a:xfrm>
              <a:off x="10445005" y="2606953"/>
              <a:ext cx="83720" cy="111444"/>
              <a:chOff x="10445005" y="2606953"/>
              <a:chExt cx="83720" cy="111444"/>
            </a:xfrm>
            <a:noFill/>
          </p:grpSpPr>
          <p:sp>
            <p:nvSpPr>
              <p:cNvPr id="1144" name="Forma livre: Forma 1143">
                <a:extLst>
                  <a:ext uri="{FF2B5EF4-FFF2-40B4-BE49-F238E27FC236}">
                    <a16:creationId xmlns:a16="http://schemas.microsoft.com/office/drawing/2014/main" id="{CD3A2512-2C76-96CB-8868-E4A7975F96E0}"/>
                  </a:ext>
                </a:extLst>
              </p:cNvPr>
              <p:cNvSpPr/>
              <p:nvPr/>
            </p:nvSpPr>
            <p:spPr>
              <a:xfrm>
                <a:off x="10445005" y="2606953"/>
                <a:ext cx="83720" cy="111444"/>
              </a:xfrm>
              <a:custGeom>
                <a:avLst/>
                <a:gdLst>
                  <a:gd name="connsiteX0" fmla="*/ 41856 w 83720"/>
                  <a:gd name="connsiteY0" fmla="*/ 0 h 111444"/>
                  <a:gd name="connsiteX1" fmla="*/ 867 w 83720"/>
                  <a:gd name="connsiteY1" fmla="*/ 55722 h 111444"/>
                  <a:gd name="connsiteX2" fmla="*/ 41856 w 83720"/>
                  <a:gd name="connsiteY2" fmla="*/ 111445 h 111444"/>
                  <a:gd name="connsiteX3" fmla="*/ 82858 w 83720"/>
                  <a:gd name="connsiteY3" fmla="*/ 55722 h 111444"/>
                  <a:gd name="connsiteX4" fmla="*/ 41856 w 83720"/>
                  <a:gd name="connsiteY4" fmla="*/ 0 h 1114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3720" h="111444">
                    <a:moveTo>
                      <a:pt x="41856" y="0"/>
                    </a:moveTo>
                    <a:cubicBezTo>
                      <a:pt x="258" y="0"/>
                      <a:pt x="-2044" y="25159"/>
                      <a:pt x="867" y="55722"/>
                    </a:cubicBezTo>
                    <a:cubicBezTo>
                      <a:pt x="3777" y="86369"/>
                      <a:pt x="23032" y="111445"/>
                      <a:pt x="41856" y="111445"/>
                    </a:cubicBezTo>
                    <a:cubicBezTo>
                      <a:pt x="60681" y="111445"/>
                      <a:pt x="79947" y="86369"/>
                      <a:pt x="82858" y="55722"/>
                    </a:cubicBezTo>
                    <a:cubicBezTo>
                      <a:pt x="85757" y="25147"/>
                      <a:pt x="83466" y="0"/>
                      <a:pt x="41856" y="0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145" name="Forma livre: Forma 1144">
                <a:extLst>
                  <a:ext uri="{FF2B5EF4-FFF2-40B4-BE49-F238E27FC236}">
                    <a16:creationId xmlns:a16="http://schemas.microsoft.com/office/drawing/2014/main" id="{27A6B507-643B-F7A5-F45C-06C5B59C21A8}"/>
                  </a:ext>
                </a:extLst>
              </p:cNvPr>
              <p:cNvSpPr/>
              <p:nvPr/>
            </p:nvSpPr>
            <p:spPr>
              <a:xfrm>
                <a:off x="10468013" y="2638757"/>
                <a:ext cx="59408" cy="15746"/>
              </a:xfrm>
              <a:custGeom>
                <a:avLst/>
                <a:gdLst>
                  <a:gd name="connsiteX0" fmla="*/ 59409 w 59408"/>
                  <a:gd name="connsiteY0" fmla="*/ 15747 h 15746"/>
                  <a:gd name="connsiteX1" fmla="*/ 33140 w 59408"/>
                  <a:gd name="connsiteY1" fmla="*/ 0 h 15746"/>
                  <a:gd name="connsiteX2" fmla="*/ 0 w 59408"/>
                  <a:gd name="connsiteY2" fmla="*/ 13683 h 157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59408" h="15746">
                    <a:moveTo>
                      <a:pt x="59409" y="15747"/>
                    </a:moveTo>
                    <a:cubicBezTo>
                      <a:pt x="41837" y="11166"/>
                      <a:pt x="33140" y="0"/>
                      <a:pt x="33140" y="0"/>
                    </a:cubicBezTo>
                    <a:cubicBezTo>
                      <a:pt x="28678" y="5154"/>
                      <a:pt x="15818" y="12705"/>
                      <a:pt x="0" y="13683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146" name="Gráfico 11">
              <a:extLst>
                <a:ext uri="{FF2B5EF4-FFF2-40B4-BE49-F238E27FC236}">
                  <a16:creationId xmlns:a16="http://schemas.microsoft.com/office/drawing/2014/main" id="{F43E5C8B-9D82-7B25-74FB-49D1601CEB1A}"/>
                </a:ext>
              </a:extLst>
            </p:cNvPr>
            <p:cNvGrpSpPr/>
            <p:nvPr/>
          </p:nvGrpSpPr>
          <p:grpSpPr>
            <a:xfrm>
              <a:off x="10463420" y="2759817"/>
              <a:ext cx="46250" cy="29370"/>
              <a:chOff x="10463420" y="2759817"/>
              <a:chExt cx="46250" cy="29370"/>
            </a:xfrm>
            <a:noFill/>
          </p:grpSpPr>
          <p:sp>
            <p:nvSpPr>
              <p:cNvPr id="1147" name="Forma livre: Forma 1146">
                <a:extLst>
                  <a:ext uri="{FF2B5EF4-FFF2-40B4-BE49-F238E27FC236}">
                    <a16:creationId xmlns:a16="http://schemas.microsoft.com/office/drawing/2014/main" id="{FB437973-6840-01B6-9AD3-C5DD2B1B72DA}"/>
                  </a:ext>
                </a:extLst>
              </p:cNvPr>
              <p:cNvSpPr/>
              <p:nvPr/>
            </p:nvSpPr>
            <p:spPr>
              <a:xfrm>
                <a:off x="10463420" y="2759817"/>
                <a:ext cx="11822" cy="29262"/>
              </a:xfrm>
              <a:custGeom>
                <a:avLst/>
                <a:gdLst>
                  <a:gd name="connsiteX0" fmla="*/ 0 w 11822"/>
                  <a:gd name="connsiteY0" fmla="*/ 0 h 29262"/>
                  <a:gd name="connsiteX1" fmla="*/ 11822 w 11822"/>
                  <a:gd name="connsiteY1" fmla="*/ 17834 h 29262"/>
                  <a:gd name="connsiteX2" fmla="*/ 9913 w 11822"/>
                  <a:gd name="connsiteY2" fmla="*/ 29263 h 292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1822" h="29262">
                    <a:moveTo>
                      <a:pt x="0" y="0"/>
                    </a:moveTo>
                    <a:lnTo>
                      <a:pt x="11822" y="17834"/>
                    </a:lnTo>
                    <a:lnTo>
                      <a:pt x="9913" y="29263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148" name="Forma livre: Forma 1147">
                <a:extLst>
                  <a:ext uri="{FF2B5EF4-FFF2-40B4-BE49-F238E27FC236}">
                    <a16:creationId xmlns:a16="http://schemas.microsoft.com/office/drawing/2014/main" id="{24B4F4DA-3C67-7BCD-7B1C-EB772B9B265D}"/>
                  </a:ext>
                </a:extLst>
              </p:cNvPr>
              <p:cNvSpPr/>
              <p:nvPr/>
            </p:nvSpPr>
            <p:spPr>
              <a:xfrm>
                <a:off x="10497872" y="2759817"/>
                <a:ext cx="11798" cy="29370"/>
              </a:xfrm>
              <a:custGeom>
                <a:avLst/>
                <a:gdLst>
                  <a:gd name="connsiteX0" fmla="*/ 11798 w 11798"/>
                  <a:gd name="connsiteY0" fmla="*/ 0 h 29370"/>
                  <a:gd name="connsiteX1" fmla="*/ 0 w 11798"/>
                  <a:gd name="connsiteY1" fmla="*/ 17834 h 29370"/>
                  <a:gd name="connsiteX2" fmla="*/ 1921 w 11798"/>
                  <a:gd name="connsiteY2" fmla="*/ 29370 h 293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1798" h="29370">
                    <a:moveTo>
                      <a:pt x="11798" y="0"/>
                    </a:moveTo>
                    <a:lnTo>
                      <a:pt x="0" y="17834"/>
                    </a:lnTo>
                    <a:lnTo>
                      <a:pt x="1921" y="29370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149" name="Gráfico 11">
              <a:extLst>
                <a:ext uri="{FF2B5EF4-FFF2-40B4-BE49-F238E27FC236}">
                  <a16:creationId xmlns:a16="http://schemas.microsoft.com/office/drawing/2014/main" id="{D0C45D22-F19C-C48F-0767-F77E3A4CE99C}"/>
                </a:ext>
              </a:extLst>
            </p:cNvPr>
            <p:cNvGrpSpPr/>
            <p:nvPr/>
          </p:nvGrpSpPr>
          <p:grpSpPr>
            <a:xfrm>
              <a:off x="10445609" y="2733704"/>
              <a:ext cx="81883" cy="32638"/>
              <a:chOff x="10445609" y="2733704"/>
              <a:chExt cx="81883" cy="32638"/>
            </a:xfrm>
            <a:noFill/>
          </p:grpSpPr>
          <p:sp>
            <p:nvSpPr>
              <p:cNvPr id="1150" name="Forma livre: Forma 1149">
                <a:extLst>
                  <a:ext uri="{FF2B5EF4-FFF2-40B4-BE49-F238E27FC236}">
                    <a16:creationId xmlns:a16="http://schemas.microsoft.com/office/drawing/2014/main" id="{35CAB240-12F7-1D82-AE10-9CF383080DED}"/>
                  </a:ext>
                </a:extLst>
              </p:cNvPr>
              <p:cNvSpPr/>
              <p:nvPr/>
            </p:nvSpPr>
            <p:spPr>
              <a:xfrm>
                <a:off x="10445609" y="2733704"/>
                <a:ext cx="40941" cy="32638"/>
              </a:xfrm>
              <a:custGeom>
                <a:avLst/>
                <a:gdLst>
                  <a:gd name="connsiteX0" fmla="*/ 40942 w 40941"/>
                  <a:gd name="connsiteY0" fmla="*/ 6716 h 32638"/>
                  <a:gd name="connsiteX1" fmla="*/ 7730 w 40941"/>
                  <a:gd name="connsiteY1" fmla="*/ 32639 h 32638"/>
                  <a:gd name="connsiteX2" fmla="*/ 0 w 40941"/>
                  <a:gd name="connsiteY2" fmla="*/ 0 h 326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40941" h="32638">
                    <a:moveTo>
                      <a:pt x="40942" y="6716"/>
                    </a:moveTo>
                    <a:lnTo>
                      <a:pt x="7730" y="32639"/>
                    </a:lnTo>
                    <a:lnTo>
                      <a:pt x="0" y="0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151" name="Forma livre: Forma 1150">
                <a:extLst>
                  <a:ext uri="{FF2B5EF4-FFF2-40B4-BE49-F238E27FC236}">
                    <a16:creationId xmlns:a16="http://schemas.microsoft.com/office/drawing/2014/main" id="{6B3AA6D3-44E5-77B5-203A-5721F3241580}"/>
                  </a:ext>
                </a:extLst>
              </p:cNvPr>
              <p:cNvSpPr/>
              <p:nvPr/>
            </p:nvSpPr>
            <p:spPr>
              <a:xfrm>
                <a:off x="10486551" y="2733704"/>
                <a:ext cx="40941" cy="32638"/>
              </a:xfrm>
              <a:custGeom>
                <a:avLst/>
                <a:gdLst>
                  <a:gd name="connsiteX0" fmla="*/ 0 w 40941"/>
                  <a:gd name="connsiteY0" fmla="*/ 6716 h 32638"/>
                  <a:gd name="connsiteX1" fmla="*/ 33212 w 40941"/>
                  <a:gd name="connsiteY1" fmla="*/ 32639 h 32638"/>
                  <a:gd name="connsiteX2" fmla="*/ 40942 w 40941"/>
                  <a:gd name="connsiteY2" fmla="*/ 0 h 326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40941" h="32638">
                    <a:moveTo>
                      <a:pt x="0" y="6716"/>
                    </a:moveTo>
                    <a:lnTo>
                      <a:pt x="33212" y="32639"/>
                    </a:lnTo>
                    <a:lnTo>
                      <a:pt x="40942" y="0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152" name="Forma livre: Forma 1151">
              <a:extLst>
                <a:ext uri="{FF2B5EF4-FFF2-40B4-BE49-F238E27FC236}">
                  <a16:creationId xmlns:a16="http://schemas.microsoft.com/office/drawing/2014/main" id="{96F84BDF-B436-0ABC-6129-4FB62B569F27}"/>
                </a:ext>
              </a:extLst>
            </p:cNvPr>
            <p:cNvSpPr/>
            <p:nvPr/>
          </p:nvSpPr>
          <p:spPr>
            <a:xfrm>
              <a:off x="10372332" y="2733704"/>
              <a:ext cx="73277" cy="129160"/>
            </a:xfrm>
            <a:custGeom>
              <a:avLst/>
              <a:gdLst>
                <a:gd name="connsiteX0" fmla="*/ 73277 w 73277"/>
                <a:gd name="connsiteY0" fmla="*/ 0 h 129160"/>
                <a:gd name="connsiteX1" fmla="*/ 41378 w 73277"/>
                <a:gd name="connsiteY1" fmla="*/ 7861 h 129160"/>
                <a:gd name="connsiteX2" fmla="*/ 15217 w 73277"/>
                <a:gd name="connsiteY2" fmla="*/ 37482 h 129160"/>
                <a:gd name="connsiteX3" fmla="*/ 257 w 73277"/>
                <a:gd name="connsiteY3" fmla="*/ 105051 h 129160"/>
                <a:gd name="connsiteX4" fmla="*/ 9502 w 73277"/>
                <a:gd name="connsiteY4" fmla="*/ 129160 h 1291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3277" h="129160">
                  <a:moveTo>
                    <a:pt x="73277" y="0"/>
                  </a:moveTo>
                  <a:cubicBezTo>
                    <a:pt x="65774" y="2708"/>
                    <a:pt x="48452" y="6657"/>
                    <a:pt x="41378" y="7861"/>
                  </a:cubicBezTo>
                  <a:cubicBezTo>
                    <a:pt x="26752" y="10367"/>
                    <a:pt x="19714" y="14709"/>
                    <a:pt x="15217" y="37482"/>
                  </a:cubicBezTo>
                  <a:cubicBezTo>
                    <a:pt x="15217" y="37482"/>
                    <a:pt x="2750" y="92764"/>
                    <a:pt x="257" y="105051"/>
                  </a:cubicBezTo>
                  <a:cubicBezTo>
                    <a:pt x="-1174" y="112113"/>
                    <a:pt x="3573" y="121132"/>
                    <a:pt x="9502" y="12916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53" name="Forma livre: Forma 1152">
              <a:extLst>
                <a:ext uri="{FF2B5EF4-FFF2-40B4-BE49-F238E27FC236}">
                  <a16:creationId xmlns:a16="http://schemas.microsoft.com/office/drawing/2014/main" id="{4DD43446-8650-FB2D-0FA7-11654C3C9214}"/>
                </a:ext>
              </a:extLst>
            </p:cNvPr>
            <p:cNvSpPr/>
            <p:nvPr/>
          </p:nvSpPr>
          <p:spPr>
            <a:xfrm>
              <a:off x="10528817" y="2733704"/>
              <a:ext cx="73277" cy="149010"/>
            </a:xfrm>
            <a:custGeom>
              <a:avLst/>
              <a:gdLst>
                <a:gd name="connsiteX0" fmla="*/ 0 w 73277"/>
                <a:gd name="connsiteY0" fmla="*/ 0 h 149010"/>
                <a:gd name="connsiteX1" fmla="*/ 31899 w 73277"/>
                <a:gd name="connsiteY1" fmla="*/ 7861 h 149010"/>
                <a:gd name="connsiteX2" fmla="*/ 58061 w 73277"/>
                <a:gd name="connsiteY2" fmla="*/ 37482 h 149010"/>
                <a:gd name="connsiteX3" fmla="*/ 73020 w 73277"/>
                <a:gd name="connsiteY3" fmla="*/ 105051 h 149010"/>
                <a:gd name="connsiteX4" fmla="*/ 45642 w 73277"/>
                <a:gd name="connsiteY4" fmla="*/ 149011 h 1490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3277" h="149010">
                  <a:moveTo>
                    <a:pt x="0" y="0"/>
                  </a:moveTo>
                  <a:cubicBezTo>
                    <a:pt x="7504" y="2708"/>
                    <a:pt x="24825" y="6657"/>
                    <a:pt x="31899" y="7861"/>
                  </a:cubicBezTo>
                  <a:cubicBezTo>
                    <a:pt x="46525" y="10367"/>
                    <a:pt x="53563" y="14709"/>
                    <a:pt x="58061" y="37482"/>
                  </a:cubicBezTo>
                  <a:cubicBezTo>
                    <a:pt x="58061" y="37482"/>
                    <a:pt x="70527" y="92764"/>
                    <a:pt x="73020" y="105051"/>
                  </a:cubicBezTo>
                  <a:cubicBezTo>
                    <a:pt x="76384" y="121645"/>
                    <a:pt x="45642" y="149011"/>
                    <a:pt x="45642" y="149011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54" name="Forma livre: Forma 1153">
              <a:extLst>
                <a:ext uri="{FF2B5EF4-FFF2-40B4-BE49-F238E27FC236}">
                  <a16:creationId xmlns:a16="http://schemas.microsoft.com/office/drawing/2014/main" id="{3200A2F9-EEAE-8EAF-5D90-F83D379BF224}"/>
                </a:ext>
              </a:extLst>
            </p:cNvPr>
            <p:cNvSpPr/>
            <p:nvPr/>
          </p:nvSpPr>
          <p:spPr>
            <a:xfrm>
              <a:off x="10624444" y="2803610"/>
              <a:ext cx="61508" cy="78937"/>
            </a:xfrm>
            <a:custGeom>
              <a:avLst/>
              <a:gdLst>
                <a:gd name="connsiteX0" fmla="*/ 0 w 61508"/>
                <a:gd name="connsiteY0" fmla="*/ 78937 h 78937"/>
                <a:gd name="connsiteX1" fmla="*/ 0 w 61508"/>
                <a:gd name="connsiteY1" fmla="*/ 0 h 78937"/>
                <a:gd name="connsiteX2" fmla="*/ 61508 w 61508"/>
                <a:gd name="connsiteY2" fmla="*/ 0 h 78937"/>
                <a:gd name="connsiteX3" fmla="*/ 61508 w 61508"/>
                <a:gd name="connsiteY3" fmla="*/ 78937 h 789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1508" h="78937">
                  <a:moveTo>
                    <a:pt x="0" y="78937"/>
                  </a:moveTo>
                  <a:lnTo>
                    <a:pt x="0" y="0"/>
                  </a:lnTo>
                  <a:lnTo>
                    <a:pt x="61508" y="0"/>
                  </a:lnTo>
                  <a:lnTo>
                    <a:pt x="61508" y="78937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55" name="Forma livre: Forma 1154">
              <a:extLst>
                <a:ext uri="{FF2B5EF4-FFF2-40B4-BE49-F238E27FC236}">
                  <a16:creationId xmlns:a16="http://schemas.microsoft.com/office/drawing/2014/main" id="{326C7721-2001-0A68-27E7-384AECC97907}"/>
                </a:ext>
              </a:extLst>
            </p:cNvPr>
            <p:cNvSpPr/>
            <p:nvPr/>
          </p:nvSpPr>
          <p:spPr>
            <a:xfrm>
              <a:off x="10687957" y="2817890"/>
              <a:ext cx="22164" cy="39808"/>
            </a:xfrm>
            <a:custGeom>
              <a:avLst/>
              <a:gdLst>
                <a:gd name="connsiteX0" fmla="*/ 0 w 22164"/>
                <a:gd name="connsiteY0" fmla="*/ 0 h 39808"/>
                <a:gd name="connsiteX1" fmla="*/ 13552 w 22164"/>
                <a:gd name="connsiteY1" fmla="*/ 0 h 39808"/>
                <a:gd name="connsiteX2" fmla="*/ 22165 w 22164"/>
                <a:gd name="connsiteY2" fmla="*/ 8601 h 39808"/>
                <a:gd name="connsiteX3" fmla="*/ 22165 w 22164"/>
                <a:gd name="connsiteY3" fmla="*/ 31196 h 39808"/>
                <a:gd name="connsiteX4" fmla="*/ 13552 w 22164"/>
                <a:gd name="connsiteY4" fmla="*/ 39809 h 39808"/>
                <a:gd name="connsiteX5" fmla="*/ 0 w 22164"/>
                <a:gd name="connsiteY5" fmla="*/ 39809 h 398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2164" h="39808">
                  <a:moveTo>
                    <a:pt x="0" y="0"/>
                  </a:moveTo>
                  <a:lnTo>
                    <a:pt x="13552" y="0"/>
                  </a:lnTo>
                  <a:cubicBezTo>
                    <a:pt x="18288" y="0"/>
                    <a:pt x="22165" y="3877"/>
                    <a:pt x="22165" y="8601"/>
                  </a:cubicBezTo>
                  <a:lnTo>
                    <a:pt x="22165" y="31196"/>
                  </a:lnTo>
                  <a:cubicBezTo>
                    <a:pt x="22165" y="35932"/>
                    <a:pt x="18288" y="39809"/>
                    <a:pt x="13552" y="39809"/>
                  </a:cubicBezTo>
                  <a:lnTo>
                    <a:pt x="0" y="39809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56" name="Forma livre: Forma 1155">
              <a:extLst>
                <a:ext uri="{FF2B5EF4-FFF2-40B4-BE49-F238E27FC236}">
                  <a16:creationId xmlns:a16="http://schemas.microsoft.com/office/drawing/2014/main" id="{D98E986C-DDCB-A86E-9623-9AE3A8E91940}"/>
                </a:ext>
              </a:extLst>
            </p:cNvPr>
            <p:cNvSpPr/>
            <p:nvPr/>
          </p:nvSpPr>
          <p:spPr>
            <a:xfrm>
              <a:off x="10644199" y="2731199"/>
              <a:ext cx="48851" cy="50342"/>
            </a:xfrm>
            <a:custGeom>
              <a:avLst/>
              <a:gdLst>
                <a:gd name="connsiteX0" fmla="*/ 48851 w 48851"/>
                <a:gd name="connsiteY0" fmla="*/ 0 h 50342"/>
                <a:gd name="connsiteX1" fmla="*/ 9544 w 48851"/>
                <a:gd name="connsiteY1" fmla="*/ 0 h 50342"/>
                <a:gd name="connsiteX2" fmla="*/ 0 w 48851"/>
                <a:gd name="connsiteY2" fmla="*/ 10140 h 50342"/>
                <a:gd name="connsiteX3" fmla="*/ 0 w 48851"/>
                <a:gd name="connsiteY3" fmla="*/ 10140 h 50342"/>
                <a:gd name="connsiteX4" fmla="*/ 9544 w 48851"/>
                <a:gd name="connsiteY4" fmla="*/ 20280 h 50342"/>
                <a:gd name="connsiteX5" fmla="*/ 25768 w 48851"/>
                <a:gd name="connsiteY5" fmla="*/ 20280 h 50342"/>
                <a:gd name="connsiteX6" fmla="*/ 35311 w 48851"/>
                <a:gd name="connsiteY6" fmla="*/ 28989 h 50342"/>
                <a:gd name="connsiteX7" fmla="*/ 35311 w 48851"/>
                <a:gd name="connsiteY7" fmla="*/ 28989 h 50342"/>
                <a:gd name="connsiteX8" fmla="*/ 25768 w 48851"/>
                <a:gd name="connsiteY8" fmla="*/ 37697 h 50342"/>
                <a:gd name="connsiteX9" fmla="*/ 19326 w 48851"/>
                <a:gd name="connsiteY9" fmla="*/ 37697 h 50342"/>
                <a:gd name="connsiteX10" fmla="*/ 9782 w 48851"/>
                <a:gd name="connsiteY10" fmla="*/ 47241 h 50342"/>
                <a:gd name="connsiteX11" fmla="*/ 9782 w 48851"/>
                <a:gd name="connsiteY11" fmla="*/ 50342 h 503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48851" h="50342">
                  <a:moveTo>
                    <a:pt x="48851" y="0"/>
                  </a:moveTo>
                  <a:lnTo>
                    <a:pt x="9544" y="0"/>
                  </a:lnTo>
                  <a:cubicBezTo>
                    <a:pt x="4295" y="0"/>
                    <a:pt x="0" y="4891"/>
                    <a:pt x="0" y="10140"/>
                  </a:cubicBezTo>
                  <a:lnTo>
                    <a:pt x="0" y="10140"/>
                  </a:lnTo>
                  <a:cubicBezTo>
                    <a:pt x="0" y="15389"/>
                    <a:pt x="4295" y="20280"/>
                    <a:pt x="9544" y="20280"/>
                  </a:cubicBezTo>
                  <a:lnTo>
                    <a:pt x="25768" y="20280"/>
                  </a:lnTo>
                  <a:cubicBezTo>
                    <a:pt x="31017" y="20280"/>
                    <a:pt x="35311" y="23740"/>
                    <a:pt x="35311" y="28989"/>
                  </a:cubicBezTo>
                  <a:lnTo>
                    <a:pt x="35311" y="28989"/>
                  </a:lnTo>
                  <a:cubicBezTo>
                    <a:pt x="35311" y="34238"/>
                    <a:pt x="31017" y="37697"/>
                    <a:pt x="25768" y="37697"/>
                  </a:cubicBezTo>
                  <a:lnTo>
                    <a:pt x="19326" y="37697"/>
                  </a:lnTo>
                  <a:cubicBezTo>
                    <a:pt x="14077" y="37697"/>
                    <a:pt x="9782" y="41992"/>
                    <a:pt x="9782" y="47241"/>
                  </a:cubicBezTo>
                  <a:lnTo>
                    <a:pt x="9782" y="50342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157" name="Gráfico 11">
            <a:extLst>
              <a:ext uri="{FF2B5EF4-FFF2-40B4-BE49-F238E27FC236}">
                <a16:creationId xmlns:a16="http://schemas.microsoft.com/office/drawing/2014/main" id="{CB542616-4501-CAF1-1C36-3E53380126A6}"/>
              </a:ext>
            </a:extLst>
          </p:cNvPr>
          <p:cNvGrpSpPr/>
          <p:nvPr/>
        </p:nvGrpSpPr>
        <p:grpSpPr>
          <a:xfrm>
            <a:off x="10402067" y="996702"/>
            <a:ext cx="241977" cy="296948"/>
            <a:chOff x="10402067" y="996702"/>
            <a:chExt cx="241977" cy="296948"/>
          </a:xfrm>
          <a:noFill/>
        </p:grpSpPr>
        <p:grpSp>
          <p:nvGrpSpPr>
            <p:cNvPr id="1158" name="Gráfico 11">
              <a:extLst>
                <a:ext uri="{FF2B5EF4-FFF2-40B4-BE49-F238E27FC236}">
                  <a16:creationId xmlns:a16="http://schemas.microsoft.com/office/drawing/2014/main" id="{E17CF2F9-C741-D60E-E59A-1B9D52B6C155}"/>
                </a:ext>
              </a:extLst>
            </p:cNvPr>
            <p:cNvGrpSpPr/>
            <p:nvPr/>
          </p:nvGrpSpPr>
          <p:grpSpPr>
            <a:xfrm>
              <a:off x="10489212" y="1043406"/>
              <a:ext cx="154832" cy="138167"/>
              <a:chOff x="10489212" y="1043406"/>
              <a:chExt cx="154832" cy="138167"/>
            </a:xfrm>
            <a:noFill/>
          </p:grpSpPr>
          <p:sp>
            <p:nvSpPr>
              <p:cNvPr id="1159" name="Forma livre: Forma 1158">
                <a:extLst>
                  <a:ext uri="{FF2B5EF4-FFF2-40B4-BE49-F238E27FC236}">
                    <a16:creationId xmlns:a16="http://schemas.microsoft.com/office/drawing/2014/main" id="{8B1EB7D8-DB2E-BAE8-BCF8-BECADB6CEA96}"/>
                  </a:ext>
                </a:extLst>
              </p:cNvPr>
              <p:cNvSpPr/>
              <p:nvPr/>
            </p:nvSpPr>
            <p:spPr>
              <a:xfrm>
                <a:off x="10540007" y="1043406"/>
                <a:ext cx="53229" cy="22498"/>
              </a:xfrm>
              <a:custGeom>
                <a:avLst/>
                <a:gdLst>
                  <a:gd name="connsiteX0" fmla="*/ 0 w 53229"/>
                  <a:gd name="connsiteY0" fmla="*/ 22499 h 22498"/>
                  <a:gd name="connsiteX1" fmla="*/ 0 w 53229"/>
                  <a:gd name="connsiteY1" fmla="*/ 9555 h 22498"/>
                  <a:gd name="connsiteX2" fmla="*/ 9460 w 53229"/>
                  <a:gd name="connsiteY2" fmla="*/ 0 h 22498"/>
                  <a:gd name="connsiteX3" fmla="*/ 43757 w 53229"/>
                  <a:gd name="connsiteY3" fmla="*/ 0 h 22498"/>
                  <a:gd name="connsiteX4" fmla="*/ 53229 w 53229"/>
                  <a:gd name="connsiteY4" fmla="*/ 9555 h 22498"/>
                  <a:gd name="connsiteX5" fmla="*/ 53229 w 53229"/>
                  <a:gd name="connsiteY5" fmla="*/ 22499 h 224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53229" h="22498">
                    <a:moveTo>
                      <a:pt x="0" y="22499"/>
                    </a:moveTo>
                    <a:lnTo>
                      <a:pt x="0" y="9555"/>
                    </a:lnTo>
                    <a:cubicBezTo>
                      <a:pt x="0" y="4271"/>
                      <a:pt x="4259" y="0"/>
                      <a:pt x="9460" y="0"/>
                    </a:cubicBezTo>
                    <a:lnTo>
                      <a:pt x="43757" y="0"/>
                    </a:lnTo>
                    <a:cubicBezTo>
                      <a:pt x="48958" y="0"/>
                      <a:pt x="53229" y="4259"/>
                      <a:pt x="53229" y="9555"/>
                    </a:cubicBezTo>
                    <a:lnTo>
                      <a:pt x="53229" y="22499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160" name="Forma livre: Forma 1159">
                <a:extLst>
                  <a:ext uri="{FF2B5EF4-FFF2-40B4-BE49-F238E27FC236}">
                    <a16:creationId xmlns:a16="http://schemas.microsoft.com/office/drawing/2014/main" id="{9D881246-7AF7-77CB-8F76-48849B9AC888}"/>
                  </a:ext>
                </a:extLst>
              </p:cNvPr>
              <p:cNvSpPr/>
              <p:nvPr/>
            </p:nvSpPr>
            <p:spPr>
              <a:xfrm>
                <a:off x="10489224" y="1067444"/>
                <a:ext cx="154820" cy="58943"/>
              </a:xfrm>
              <a:custGeom>
                <a:avLst/>
                <a:gdLst>
                  <a:gd name="connsiteX0" fmla="*/ 154809 w 154820"/>
                  <a:gd name="connsiteY0" fmla="*/ 19719 h 58943"/>
                  <a:gd name="connsiteX1" fmla="*/ 88445 w 154820"/>
                  <a:gd name="connsiteY1" fmla="*/ 58943 h 58943"/>
                  <a:gd name="connsiteX2" fmla="*/ 66364 w 154820"/>
                  <a:gd name="connsiteY2" fmla="*/ 58943 h 58943"/>
                  <a:gd name="connsiteX3" fmla="*/ 0 w 154820"/>
                  <a:gd name="connsiteY3" fmla="*/ 19719 h 58943"/>
                  <a:gd name="connsiteX4" fmla="*/ 0 w 154820"/>
                  <a:gd name="connsiteY4" fmla="*/ 0 h 58943"/>
                  <a:gd name="connsiteX5" fmla="*/ 154821 w 154820"/>
                  <a:gd name="connsiteY5" fmla="*/ 0 h 58943"/>
                  <a:gd name="connsiteX6" fmla="*/ 154821 w 154820"/>
                  <a:gd name="connsiteY6" fmla="*/ 19719 h 589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54820" h="58943">
                    <a:moveTo>
                      <a:pt x="154809" y="19719"/>
                    </a:moveTo>
                    <a:cubicBezTo>
                      <a:pt x="154809" y="43018"/>
                      <a:pt x="131821" y="58943"/>
                      <a:pt x="88445" y="58943"/>
                    </a:cubicBezTo>
                    <a:lnTo>
                      <a:pt x="66364" y="58943"/>
                    </a:lnTo>
                    <a:cubicBezTo>
                      <a:pt x="22988" y="58943"/>
                      <a:pt x="0" y="43006"/>
                      <a:pt x="0" y="19719"/>
                    </a:cubicBezTo>
                    <a:lnTo>
                      <a:pt x="0" y="0"/>
                    </a:lnTo>
                    <a:lnTo>
                      <a:pt x="154821" y="0"/>
                    </a:lnTo>
                    <a:lnTo>
                      <a:pt x="154821" y="19719"/>
                    </a:lnTo>
                    <a:close/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161" name="Forma livre: Forma 1160">
                <a:extLst>
                  <a:ext uri="{FF2B5EF4-FFF2-40B4-BE49-F238E27FC236}">
                    <a16:creationId xmlns:a16="http://schemas.microsoft.com/office/drawing/2014/main" id="{EC6D6BAE-B843-ADF9-088E-15D9ED769B07}"/>
                  </a:ext>
                </a:extLst>
              </p:cNvPr>
              <p:cNvSpPr/>
              <p:nvPr/>
            </p:nvSpPr>
            <p:spPr>
              <a:xfrm>
                <a:off x="10489212" y="1128857"/>
                <a:ext cx="154820" cy="52716"/>
              </a:xfrm>
              <a:custGeom>
                <a:avLst/>
                <a:gdLst>
                  <a:gd name="connsiteX0" fmla="*/ 154821 w 154820"/>
                  <a:gd name="connsiteY0" fmla="*/ 0 h 52716"/>
                  <a:gd name="connsiteX1" fmla="*/ 154821 w 154820"/>
                  <a:gd name="connsiteY1" fmla="*/ 52716 h 52716"/>
                  <a:gd name="connsiteX2" fmla="*/ 0 w 154820"/>
                  <a:gd name="connsiteY2" fmla="*/ 52716 h 52716"/>
                  <a:gd name="connsiteX3" fmla="*/ 0 w 154820"/>
                  <a:gd name="connsiteY3" fmla="*/ 0 h 527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54820" h="52716">
                    <a:moveTo>
                      <a:pt x="154821" y="0"/>
                    </a:moveTo>
                    <a:lnTo>
                      <a:pt x="154821" y="52716"/>
                    </a:lnTo>
                    <a:lnTo>
                      <a:pt x="0" y="52716"/>
                    </a:lnTo>
                    <a:lnTo>
                      <a:pt x="0" y="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162" name="Forma livre: Forma 1161">
                <a:extLst>
                  <a:ext uri="{FF2B5EF4-FFF2-40B4-BE49-F238E27FC236}">
                    <a16:creationId xmlns:a16="http://schemas.microsoft.com/office/drawing/2014/main" id="{18588616-089D-2450-7D61-23F352060BFC}"/>
                  </a:ext>
                </a:extLst>
              </p:cNvPr>
              <p:cNvSpPr/>
              <p:nvPr/>
            </p:nvSpPr>
            <p:spPr>
              <a:xfrm>
                <a:off x="10554919" y="1103101"/>
                <a:ext cx="23393" cy="1192"/>
              </a:xfrm>
              <a:custGeom>
                <a:avLst/>
                <a:gdLst>
                  <a:gd name="connsiteX0" fmla="*/ 0 w 23393"/>
                  <a:gd name="connsiteY0" fmla="*/ 0 h 1192"/>
                  <a:gd name="connsiteX1" fmla="*/ 23394 w 23393"/>
                  <a:gd name="connsiteY1" fmla="*/ 0 h 11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3393" h="1192">
                    <a:moveTo>
                      <a:pt x="0" y="0"/>
                    </a:moveTo>
                    <a:lnTo>
                      <a:pt x="23394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163" name="Forma livre: Forma 1162">
              <a:extLst>
                <a:ext uri="{FF2B5EF4-FFF2-40B4-BE49-F238E27FC236}">
                  <a16:creationId xmlns:a16="http://schemas.microsoft.com/office/drawing/2014/main" id="{9E020421-9F61-18A0-464C-3E9448D63BFE}"/>
                </a:ext>
              </a:extLst>
            </p:cNvPr>
            <p:cNvSpPr/>
            <p:nvPr/>
          </p:nvSpPr>
          <p:spPr>
            <a:xfrm>
              <a:off x="10402067" y="996702"/>
              <a:ext cx="164209" cy="296948"/>
            </a:xfrm>
            <a:custGeom>
              <a:avLst/>
              <a:gdLst>
                <a:gd name="connsiteX0" fmla="*/ 164209 w 164209"/>
                <a:gd name="connsiteY0" fmla="*/ 207394 h 296948"/>
                <a:gd name="connsiteX1" fmla="*/ 164209 w 164209"/>
                <a:gd name="connsiteY1" fmla="*/ 283074 h 296948"/>
                <a:gd name="connsiteX2" fmla="*/ 150765 w 164209"/>
                <a:gd name="connsiteY2" fmla="*/ 296948 h 296948"/>
                <a:gd name="connsiteX3" fmla="*/ 13445 w 164209"/>
                <a:gd name="connsiteY3" fmla="*/ 296948 h 296948"/>
                <a:gd name="connsiteX4" fmla="*/ 0 w 164209"/>
                <a:gd name="connsiteY4" fmla="*/ 283074 h 296948"/>
                <a:gd name="connsiteX5" fmla="*/ 0 w 164209"/>
                <a:gd name="connsiteY5" fmla="*/ 13433 h 296948"/>
                <a:gd name="connsiteX6" fmla="*/ 13445 w 164209"/>
                <a:gd name="connsiteY6" fmla="*/ 0 h 296948"/>
                <a:gd name="connsiteX7" fmla="*/ 150765 w 164209"/>
                <a:gd name="connsiteY7" fmla="*/ 0 h 296948"/>
                <a:gd name="connsiteX8" fmla="*/ 164209 w 164209"/>
                <a:gd name="connsiteY8" fmla="*/ 13433 h 296948"/>
                <a:gd name="connsiteX9" fmla="*/ 164209 w 164209"/>
                <a:gd name="connsiteY9" fmla="*/ 24169 h 2969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64209" h="296948">
                  <a:moveTo>
                    <a:pt x="164209" y="207394"/>
                  </a:moveTo>
                  <a:lnTo>
                    <a:pt x="164209" y="283074"/>
                  </a:lnTo>
                  <a:cubicBezTo>
                    <a:pt x="164209" y="290471"/>
                    <a:pt x="158161" y="296948"/>
                    <a:pt x="150765" y="296948"/>
                  </a:cubicBezTo>
                  <a:lnTo>
                    <a:pt x="13445" y="296948"/>
                  </a:lnTo>
                  <a:cubicBezTo>
                    <a:pt x="6048" y="296948"/>
                    <a:pt x="0" y="290471"/>
                    <a:pt x="0" y="283074"/>
                  </a:cubicBezTo>
                  <a:lnTo>
                    <a:pt x="0" y="13433"/>
                  </a:lnTo>
                  <a:cubicBezTo>
                    <a:pt x="0" y="6036"/>
                    <a:pt x="6048" y="0"/>
                    <a:pt x="13445" y="0"/>
                  </a:cubicBezTo>
                  <a:lnTo>
                    <a:pt x="150765" y="0"/>
                  </a:lnTo>
                  <a:cubicBezTo>
                    <a:pt x="158161" y="0"/>
                    <a:pt x="164209" y="6036"/>
                    <a:pt x="164209" y="13433"/>
                  </a:cubicBezTo>
                  <a:lnTo>
                    <a:pt x="164209" y="24169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64" name="Forma livre: Forma 1163">
              <a:extLst>
                <a:ext uri="{FF2B5EF4-FFF2-40B4-BE49-F238E27FC236}">
                  <a16:creationId xmlns:a16="http://schemas.microsoft.com/office/drawing/2014/main" id="{51BF119E-32F9-4B67-A615-3FE9D2AAED9C}"/>
                </a:ext>
              </a:extLst>
            </p:cNvPr>
            <p:cNvSpPr/>
            <p:nvPr/>
          </p:nvSpPr>
          <p:spPr>
            <a:xfrm>
              <a:off x="10422061" y="1235041"/>
              <a:ext cx="124233" cy="1192"/>
            </a:xfrm>
            <a:custGeom>
              <a:avLst/>
              <a:gdLst>
                <a:gd name="connsiteX0" fmla="*/ 0 w 124233"/>
                <a:gd name="connsiteY0" fmla="*/ 0 h 1192"/>
                <a:gd name="connsiteX1" fmla="*/ 124233 w 124233"/>
                <a:gd name="connsiteY1" fmla="*/ 0 h 11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4233" h="1192">
                  <a:moveTo>
                    <a:pt x="0" y="0"/>
                  </a:moveTo>
                  <a:lnTo>
                    <a:pt x="124233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65" name="Forma livre: Forma 1164">
              <a:extLst>
                <a:ext uri="{FF2B5EF4-FFF2-40B4-BE49-F238E27FC236}">
                  <a16:creationId xmlns:a16="http://schemas.microsoft.com/office/drawing/2014/main" id="{3729A3E2-B9A3-059F-4DE3-1B5085DBE723}"/>
                </a:ext>
              </a:extLst>
            </p:cNvPr>
            <p:cNvSpPr/>
            <p:nvPr/>
          </p:nvSpPr>
          <p:spPr>
            <a:xfrm>
              <a:off x="10473011" y="1263505"/>
              <a:ext cx="22331" cy="1192"/>
            </a:xfrm>
            <a:custGeom>
              <a:avLst/>
              <a:gdLst>
                <a:gd name="connsiteX0" fmla="*/ 0 w 22331"/>
                <a:gd name="connsiteY0" fmla="*/ 0 h 1192"/>
                <a:gd name="connsiteX1" fmla="*/ 22332 w 22331"/>
                <a:gd name="connsiteY1" fmla="*/ 0 h 11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2331" h="1192">
                  <a:moveTo>
                    <a:pt x="0" y="0"/>
                  </a:moveTo>
                  <a:lnTo>
                    <a:pt x="22332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166" name="Gráfico 11">
            <a:extLst>
              <a:ext uri="{FF2B5EF4-FFF2-40B4-BE49-F238E27FC236}">
                <a16:creationId xmlns:a16="http://schemas.microsoft.com/office/drawing/2014/main" id="{65E3F0EB-DB3F-8188-2EED-66FBDD34E9B1}"/>
              </a:ext>
            </a:extLst>
          </p:cNvPr>
          <p:cNvGrpSpPr/>
          <p:nvPr/>
        </p:nvGrpSpPr>
        <p:grpSpPr>
          <a:xfrm>
            <a:off x="10338781" y="1531321"/>
            <a:ext cx="368527" cy="294443"/>
            <a:chOff x="10338781" y="1531321"/>
            <a:chExt cx="368527" cy="294443"/>
          </a:xfrm>
          <a:noFill/>
        </p:grpSpPr>
        <p:sp>
          <p:nvSpPr>
            <p:cNvPr id="1167" name="Forma livre: Forma 1166">
              <a:extLst>
                <a:ext uri="{FF2B5EF4-FFF2-40B4-BE49-F238E27FC236}">
                  <a16:creationId xmlns:a16="http://schemas.microsoft.com/office/drawing/2014/main" id="{9C3B51A4-C25E-7FB4-1BE9-F128B3473E54}"/>
                </a:ext>
              </a:extLst>
            </p:cNvPr>
            <p:cNvSpPr/>
            <p:nvPr/>
          </p:nvSpPr>
          <p:spPr>
            <a:xfrm>
              <a:off x="10536190" y="1739407"/>
              <a:ext cx="126333" cy="84711"/>
            </a:xfrm>
            <a:custGeom>
              <a:avLst/>
              <a:gdLst>
                <a:gd name="connsiteX0" fmla="*/ 0 w 126333"/>
                <a:gd name="connsiteY0" fmla="*/ 84711 h 84711"/>
                <a:gd name="connsiteX1" fmla="*/ 0 w 126333"/>
                <a:gd name="connsiteY1" fmla="*/ 0 h 84711"/>
                <a:gd name="connsiteX2" fmla="*/ 126333 w 126333"/>
                <a:gd name="connsiteY2" fmla="*/ 0 h 84711"/>
                <a:gd name="connsiteX3" fmla="*/ 126333 w 126333"/>
                <a:gd name="connsiteY3" fmla="*/ 84711 h 847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6333" h="84711">
                  <a:moveTo>
                    <a:pt x="0" y="84711"/>
                  </a:moveTo>
                  <a:lnTo>
                    <a:pt x="0" y="0"/>
                  </a:lnTo>
                  <a:lnTo>
                    <a:pt x="126333" y="0"/>
                  </a:lnTo>
                  <a:lnTo>
                    <a:pt x="126333" y="84711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68" name="Forma livre: Forma 1167">
              <a:extLst>
                <a:ext uri="{FF2B5EF4-FFF2-40B4-BE49-F238E27FC236}">
                  <a16:creationId xmlns:a16="http://schemas.microsoft.com/office/drawing/2014/main" id="{D2857C7B-C39D-28E5-73C2-05C911691B40}"/>
                </a:ext>
              </a:extLst>
            </p:cNvPr>
            <p:cNvSpPr/>
            <p:nvPr/>
          </p:nvSpPr>
          <p:spPr>
            <a:xfrm>
              <a:off x="10491380" y="1685068"/>
              <a:ext cx="215928" cy="116813"/>
            </a:xfrm>
            <a:custGeom>
              <a:avLst/>
              <a:gdLst>
                <a:gd name="connsiteX0" fmla="*/ 190814 w 215928"/>
                <a:gd name="connsiteY0" fmla="*/ 116813 h 116813"/>
                <a:gd name="connsiteX1" fmla="*/ 203507 w 215928"/>
                <a:gd name="connsiteY1" fmla="*/ 107317 h 116813"/>
                <a:gd name="connsiteX2" fmla="*/ 211643 w 215928"/>
                <a:gd name="connsiteY2" fmla="*/ 67759 h 116813"/>
                <a:gd name="connsiteX3" fmla="*/ 199308 w 215928"/>
                <a:gd name="connsiteY3" fmla="*/ 41288 h 116813"/>
                <a:gd name="connsiteX4" fmla="*/ 158163 w 215928"/>
                <a:gd name="connsiteY4" fmla="*/ 2195 h 116813"/>
                <a:gd name="connsiteX5" fmla="*/ 137716 w 215928"/>
                <a:gd name="connsiteY5" fmla="*/ 0 h 116813"/>
                <a:gd name="connsiteX6" fmla="*/ 107964 w 215928"/>
                <a:gd name="connsiteY6" fmla="*/ 22225 h 116813"/>
                <a:gd name="connsiteX7" fmla="*/ 78212 w 215928"/>
                <a:gd name="connsiteY7" fmla="*/ 0 h 116813"/>
                <a:gd name="connsiteX8" fmla="*/ 57765 w 215928"/>
                <a:gd name="connsiteY8" fmla="*/ 2195 h 116813"/>
                <a:gd name="connsiteX9" fmla="*/ 16620 w 215928"/>
                <a:gd name="connsiteY9" fmla="*/ 41288 h 116813"/>
                <a:gd name="connsiteX10" fmla="*/ 4285 w 215928"/>
                <a:gd name="connsiteY10" fmla="*/ 67759 h 116813"/>
                <a:gd name="connsiteX11" fmla="*/ 12421 w 215928"/>
                <a:gd name="connsiteY11" fmla="*/ 107317 h 116813"/>
                <a:gd name="connsiteX12" fmla="*/ 25114 w 215928"/>
                <a:gd name="connsiteY12" fmla="*/ 116813 h 1168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15928" h="116813">
                  <a:moveTo>
                    <a:pt x="190814" y="116813"/>
                  </a:moveTo>
                  <a:lnTo>
                    <a:pt x="203507" y="107317"/>
                  </a:lnTo>
                  <a:cubicBezTo>
                    <a:pt x="225445" y="91869"/>
                    <a:pt x="211643" y="67759"/>
                    <a:pt x="211643" y="67759"/>
                  </a:cubicBezTo>
                  <a:lnTo>
                    <a:pt x="199308" y="41288"/>
                  </a:lnTo>
                  <a:cubicBezTo>
                    <a:pt x="183621" y="10212"/>
                    <a:pt x="187271" y="6776"/>
                    <a:pt x="158163" y="2195"/>
                  </a:cubicBezTo>
                  <a:lnTo>
                    <a:pt x="137716" y="0"/>
                  </a:lnTo>
                  <a:cubicBezTo>
                    <a:pt x="133946" y="12788"/>
                    <a:pt x="124403" y="22225"/>
                    <a:pt x="107964" y="22225"/>
                  </a:cubicBezTo>
                  <a:cubicBezTo>
                    <a:pt x="91525" y="22225"/>
                    <a:pt x="81982" y="12788"/>
                    <a:pt x="78212" y="0"/>
                  </a:cubicBezTo>
                  <a:lnTo>
                    <a:pt x="57765" y="2195"/>
                  </a:lnTo>
                  <a:cubicBezTo>
                    <a:pt x="28657" y="6776"/>
                    <a:pt x="32307" y="10200"/>
                    <a:pt x="16620" y="41288"/>
                  </a:cubicBezTo>
                  <a:lnTo>
                    <a:pt x="4285" y="67759"/>
                  </a:lnTo>
                  <a:cubicBezTo>
                    <a:pt x="4285" y="67759"/>
                    <a:pt x="-9517" y="91881"/>
                    <a:pt x="12421" y="107317"/>
                  </a:cubicBezTo>
                  <a:lnTo>
                    <a:pt x="25114" y="116813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169" name="Gráfico 11">
              <a:extLst>
                <a:ext uri="{FF2B5EF4-FFF2-40B4-BE49-F238E27FC236}">
                  <a16:creationId xmlns:a16="http://schemas.microsoft.com/office/drawing/2014/main" id="{5CEAB74F-BBC1-E81C-942F-B31ADF14B7AF}"/>
                </a:ext>
              </a:extLst>
            </p:cNvPr>
            <p:cNvGrpSpPr/>
            <p:nvPr/>
          </p:nvGrpSpPr>
          <p:grpSpPr>
            <a:xfrm>
              <a:off x="10338781" y="1531321"/>
              <a:ext cx="200295" cy="235356"/>
              <a:chOff x="10338781" y="1531321"/>
              <a:chExt cx="200295" cy="235356"/>
            </a:xfrm>
            <a:noFill/>
          </p:grpSpPr>
          <p:sp>
            <p:nvSpPr>
              <p:cNvPr id="1170" name="Forma livre: Forma 1169">
                <a:extLst>
                  <a:ext uri="{FF2B5EF4-FFF2-40B4-BE49-F238E27FC236}">
                    <a16:creationId xmlns:a16="http://schemas.microsoft.com/office/drawing/2014/main" id="{CC406B9B-7E78-FAB8-B552-D45DABE9D5A3}"/>
                  </a:ext>
                </a:extLst>
              </p:cNvPr>
              <p:cNvSpPr/>
              <p:nvPr/>
            </p:nvSpPr>
            <p:spPr>
              <a:xfrm>
                <a:off x="10338781" y="1531321"/>
                <a:ext cx="200295" cy="126547"/>
              </a:xfrm>
              <a:custGeom>
                <a:avLst/>
                <a:gdLst>
                  <a:gd name="connsiteX0" fmla="*/ 200296 w 200295"/>
                  <a:gd name="connsiteY0" fmla="*/ 69632 h 126547"/>
                  <a:gd name="connsiteX1" fmla="*/ 129160 w 200295"/>
                  <a:gd name="connsiteY1" fmla="*/ 0 h 126547"/>
                  <a:gd name="connsiteX2" fmla="*/ 79343 w 200295"/>
                  <a:gd name="connsiteY2" fmla="*/ 48457 h 126547"/>
                  <a:gd name="connsiteX3" fmla="*/ 79343 w 200295"/>
                  <a:gd name="connsiteY3" fmla="*/ 18872 h 126547"/>
                  <a:gd name="connsiteX4" fmla="*/ 51273 w 200295"/>
                  <a:gd name="connsiteY4" fmla="*/ 18872 h 126547"/>
                  <a:gd name="connsiteX5" fmla="*/ 51273 w 200295"/>
                  <a:gd name="connsiteY5" fmla="*/ 75919 h 126547"/>
                  <a:gd name="connsiteX6" fmla="*/ 0 w 200295"/>
                  <a:gd name="connsiteY6" fmla="*/ 126548 h 1265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00295" h="126547">
                    <a:moveTo>
                      <a:pt x="200296" y="69632"/>
                    </a:moveTo>
                    <a:lnTo>
                      <a:pt x="129160" y="0"/>
                    </a:lnTo>
                    <a:lnTo>
                      <a:pt x="79343" y="48457"/>
                    </a:lnTo>
                    <a:lnTo>
                      <a:pt x="79343" y="18872"/>
                    </a:lnTo>
                    <a:lnTo>
                      <a:pt x="51273" y="18872"/>
                    </a:lnTo>
                    <a:lnTo>
                      <a:pt x="51273" y="75919"/>
                    </a:lnTo>
                    <a:lnTo>
                      <a:pt x="0" y="126548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171" name="Forma livre: Forma 1170">
                <a:extLst>
                  <a:ext uri="{FF2B5EF4-FFF2-40B4-BE49-F238E27FC236}">
                    <a16:creationId xmlns:a16="http://schemas.microsoft.com/office/drawing/2014/main" id="{6E9674D5-2780-357C-8C66-0612C04657A9}"/>
                  </a:ext>
                </a:extLst>
              </p:cNvPr>
              <p:cNvSpPr/>
              <p:nvPr/>
            </p:nvSpPr>
            <p:spPr>
              <a:xfrm>
                <a:off x="10378220" y="1651391"/>
                <a:ext cx="110848" cy="115286"/>
              </a:xfrm>
              <a:custGeom>
                <a:avLst/>
                <a:gdLst>
                  <a:gd name="connsiteX0" fmla="*/ 0 w 110848"/>
                  <a:gd name="connsiteY0" fmla="*/ 0 h 115286"/>
                  <a:gd name="connsiteX1" fmla="*/ 0 w 110848"/>
                  <a:gd name="connsiteY1" fmla="*/ 115286 h 115286"/>
                  <a:gd name="connsiteX2" fmla="*/ 67914 w 110848"/>
                  <a:gd name="connsiteY2" fmla="*/ 115286 h 115286"/>
                  <a:gd name="connsiteX3" fmla="*/ 67914 w 110848"/>
                  <a:gd name="connsiteY3" fmla="*/ 39952 h 115286"/>
                  <a:gd name="connsiteX4" fmla="*/ 110849 w 110848"/>
                  <a:gd name="connsiteY4" fmla="*/ 39952 h 115286"/>
                  <a:gd name="connsiteX5" fmla="*/ 110849 w 110848"/>
                  <a:gd name="connsiteY5" fmla="*/ 61198 h 1152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10848" h="115286">
                    <a:moveTo>
                      <a:pt x="0" y="0"/>
                    </a:moveTo>
                    <a:lnTo>
                      <a:pt x="0" y="115286"/>
                    </a:lnTo>
                    <a:lnTo>
                      <a:pt x="67914" y="115286"/>
                    </a:lnTo>
                    <a:lnTo>
                      <a:pt x="67914" y="39952"/>
                    </a:lnTo>
                    <a:lnTo>
                      <a:pt x="110849" y="39952"/>
                    </a:lnTo>
                    <a:lnTo>
                      <a:pt x="110849" y="61198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172" name="Gráfico 11">
              <a:extLst>
                <a:ext uri="{FF2B5EF4-FFF2-40B4-BE49-F238E27FC236}">
                  <a16:creationId xmlns:a16="http://schemas.microsoft.com/office/drawing/2014/main" id="{B113C9EA-27D5-3E73-EF16-4B103A63CBD1}"/>
                </a:ext>
              </a:extLst>
            </p:cNvPr>
            <p:cNvGrpSpPr/>
            <p:nvPr/>
          </p:nvGrpSpPr>
          <p:grpSpPr>
            <a:xfrm>
              <a:off x="10563353" y="1577858"/>
              <a:ext cx="72003" cy="95853"/>
              <a:chOff x="10563353" y="1577858"/>
              <a:chExt cx="72003" cy="95853"/>
            </a:xfrm>
            <a:noFill/>
          </p:grpSpPr>
          <p:sp>
            <p:nvSpPr>
              <p:cNvPr id="1173" name="Forma livre: Forma 1172">
                <a:extLst>
                  <a:ext uri="{FF2B5EF4-FFF2-40B4-BE49-F238E27FC236}">
                    <a16:creationId xmlns:a16="http://schemas.microsoft.com/office/drawing/2014/main" id="{DC790515-AB59-83CF-E595-8A7D972B4EAC}"/>
                  </a:ext>
                </a:extLst>
              </p:cNvPr>
              <p:cNvSpPr/>
              <p:nvPr/>
            </p:nvSpPr>
            <p:spPr>
              <a:xfrm>
                <a:off x="10563353" y="1577858"/>
                <a:ext cx="72003" cy="95853"/>
              </a:xfrm>
              <a:custGeom>
                <a:avLst/>
                <a:gdLst>
                  <a:gd name="connsiteX0" fmla="*/ 36003 w 72003"/>
                  <a:gd name="connsiteY0" fmla="*/ 0 h 95853"/>
                  <a:gd name="connsiteX1" fmla="*/ 740 w 72003"/>
                  <a:gd name="connsiteY1" fmla="*/ 47945 h 95853"/>
                  <a:gd name="connsiteX2" fmla="*/ 36003 w 72003"/>
                  <a:gd name="connsiteY2" fmla="*/ 95853 h 95853"/>
                  <a:gd name="connsiteX3" fmla="*/ 71267 w 72003"/>
                  <a:gd name="connsiteY3" fmla="*/ 47945 h 95853"/>
                  <a:gd name="connsiteX4" fmla="*/ 36003 w 72003"/>
                  <a:gd name="connsiteY4" fmla="*/ 0 h 958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2003" h="95853">
                    <a:moveTo>
                      <a:pt x="36003" y="0"/>
                    </a:moveTo>
                    <a:cubicBezTo>
                      <a:pt x="239" y="0"/>
                      <a:pt x="-1753" y="21640"/>
                      <a:pt x="740" y="47945"/>
                    </a:cubicBezTo>
                    <a:cubicBezTo>
                      <a:pt x="3245" y="74297"/>
                      <a:pt x="19803" y="95853"/>
                      <a:pt x="36003" y="95853"/>
                    </a:cubicBezTo>
                    <a:cubicBezTo>
                      <a:pt x="52204" y="95853"/>
                      <a:pt x="68762" y="74285"/>
                      <a:pt x="71267" y="47945"/>
                    </a:cubicBezTo>
                    <a:cubicBezTo>
                      <a:pt x="73748" y="21640"/>
                      <a:pt x="71780" y="0"/>
                      <a:pt x="36003" y="0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174" name="Forma livre: Forma 1173">
                <a:extLst>
                  <a:ext uri="{FF2B5EF4-FFF2-40B4-BE49-F238E27FC236}">
                    <a16:creationId xmlns:a16="http://schemas.microsoft.com/office/drawing/2014/main" id="{EBB3614C-825C-7F91-8A5B-7B783F637FE2}"/>
                  </a:ext>
                </a:extLst>
              </p:cNvPr>
              <p:cNvSpPr/>
              <p:nvPr/>
            </p:nvSpPr>
            <p:spPr>
              <a:xfrm>
                <a:off x="10586580" y="1605248"/>
                <a:ext cx="47670" cy="13504"/>
              </a:xfrm>
              <a:custGeom>
                <a:avLst/>
                <a:gdLst>
                  <a:gd name="connsiteX0" fmla="*/ 47670 w 47670"/>
                  <a:gd name="connsiteY0" fmla="*/ 13504 h 13504"/>
                  <a:gd name="connsiteX1" fmla="*/ 23155 w 47670"/>
                  <a:gd name="connsiteY1" fmla="*/ 0 h 13504"/>
                  <a:gd name="connsiteX2" fmla="*/ 0 w 47670"/>
                  <a:gd name="connsiteY2" fmla="*/ 11584 h 135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47670" h="13504">
                    <a:moveTo>
                      <a:pt x="47670" y="13504"/>
                    </a:moveTo>
                    <a:cubicBezTo>
                      <a:pt x="32544" y="9567"/>
                      <a:pt x="23155" y="0"/>
                      <a:pt x="23155" y="0"/>
                    </a:cubicBezTo>
                    <a:cubicBezTo>
                      <a:pt x="23155" y="0"/>
                      <a:pt x="19338" y="8458"/>
                      <a:pt x="0" y="11584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175" name="Forma livre: Forma 1174">
              <a:extLst>
                <a:ext uri="{FF2B5EF4-FFF2-40B4-BE49-F238E27FC236}">
                  <a16:creationId xmlns:a16="http://schemas.microsoft.com/office/drawing/2014/main" id="{91F4712C-031F-5621-2FAB-5F40ED92F8F1}"/>
                </a:ext>
              </a:extLst>
            </p:cNvPr>
            <p:cNvSpPr/>
            <p:nvPr/>
          </p:nvSpPr>
          <p:spPr>
            <a:xfrm>
              <a:off x="10505519" y="1825764"/>
              <a:ext cx="187686" cy="1192"/>
            </a:xfrm>
            <a:custGeom>
              <a:avLst/>
              <a:gdLst>
                <a:gd name="connsiteX0" fmla="*/ 0 w 187686"/>
                <a:gd name="connsiteY0" fmla="*/ 0 h 1192"/>
                <a:gd name="connsiteX1" fmla="*/ 187686 w 187686"/>
                <a:gd name="connsiteY1" fmla="*/ 0 h 11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7686" h="1192">
                  <a:moveTo>
                    <a:pt x="0" y="0"/>
                  </a:moveTo>
                  <a:lnTo>
                    <a:pt x="187686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76" name="Forma livre: Forma 1175">
              <a:extLst>
                <a:ext uri="{FF2B5EF4-FFF2-40B4-BE49-F238E27FC236}">
                  <a16:creationId xmlns:a16="http://schemas.microsoft.com/office/drawing/2014/main" id="{7F05AA61-B84F-FEDD-111D-6C06B4877986}"/>
                </a:ext>
              </a:extLst>
            </p:cNvPr>
            <p:cNvSpPr/>
            <p:nvPr/>
          </p:nvSpPr>
          <p:spPr>
            <a:xfrm>
              <a:off x="10471258" y="1825764"/>
              <a:ext cx="12883" cy="1192"/>
            </a:xfrm>
            <a:custGeom>
              <a:avLst/>
              <a:gdLst>
                <a:gd name="connsiteX0" fmla="*/ 0 w 12883"/>
                <a:gd name="connsiteY0" fmla="*/ 0 h 1192"/>
                <a:gd name="connsiteX1" fmla="*/ 12884 w 12883"/>
                <a:gd name="connsiteY1" fmla="*/ 0 h 11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83" h="1192">
                  <a:moveTo>
                    <a:pt x="0" y="0"/>
                  </a:moveTo>
                  <a:lnTo>
                    <a:pt x="12884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177" name="Gráfico 11">
            <a:extLst>
              <a:ext uri="{FF2B5EF4-FFF2-40B4-BE49-F238E27FC236}">
                <a16:creationId xmlns:a16="http://schemas.microsoft.com/office/drawing/2014/main" id="{DEFBE768-9E97-D4DC-E3DD-2B552B5F1535}"/>
              </a:ext>
            </a:extLst>
          </p:cNvPr>
          <p:cNvGrpSpPr/>
          <p:nvPr/>
        </p:nvGrpSpPr>
        <p:grpSpPr>
          <a:xfrm>
            <a:off x="9728386" y="3147119"/>
            <a:ext cx="345906" cy="263128"/>
            <a:chOff x="9728386" y="3147119"/>
            <a:chExt cx="345906" cy="263128"/>
          </a:xfrm>
          <a:noFill/>
        </p:grpSpPr>
        <p:sp>
          <p:nvSpPr>
            <p:cNvPr id="1178" name="Forma livre: Forma 1177">
              <a:extLst>
                <a:ext uri="{FF2B5EF4-FFF2-40B4-BE49-F238E27FC236}">
                  <a16:creationId xmlns:a16="http://schemas.microsoft.com/office/drawing/2014/main" id="{7C77AFFD-9B81-A3BF-0A24-0FB7D8D9168D}"/>
                </a:ext>
              </a:extLst>
            </p:cNvPr>
            <p:cNvSpPr/>
            <p:nvPr/>
          </p:nvSpPr>
          <p:spPr>
            <a:xfrm>
              <a:off x="9914414" y="3359643"/>
              <a:ext cx="77410" cy="1192"/>
            </a:xfrm>
            <a:custGeom>
              <a:avLst/>
              <a:gdLst>
                <a:gd name="connsiteX0" fmla="*/ 77410 w 77410"/>
                <a:gd name="connsiteY0" fmla="*/ 0 h 1192"/>
                <a:gd name="connsiteX1" fmla="*/ 0 w 77410"/>
                <a:gd name="connsiteY1" fmla="*/ 0 h 11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7410" h="1192">
                  <a:moveTo>
                    <a:pt x="77410" y="0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179" name="Gráfico 11">
              <a:extLst>
                <a:ext uri="{FF2B5EF4-FFF2-40B4-BE49-F238E27FC236}">
                  <a16:creationId xmlns:a16="http://schemas.microsoft.com/office/drawing/2014/main" id="{FC4D8AD2-0EC4-DAD2-4D70-17830514BAEA}"/>
                </a:ext>
              </a:extLst>
            </p:cNvPr>
            <p:cNvGrpSpPr/>
            <p:nvPr/>
          </p:nvGrpSpPr>
          <p:grpSpPr>
            <a:xfrm>
              <a:off x="9927405" y="3326753"/>
              <a:ext cx="41932" cy="31625"/>
              <a:chOff x="9927405" y="3326753"/>
              <a:chExt cx="41932" cy="31625"/>
            </a:xfrm>
          </p:grpSpPr>
          <p:sp>
            <p:nvSpPr>
              <p:cNvPr id="1180" name="Forma livre: Forma 1179">
                <a:extLst>
                  <a:ext uri="{FF2B5EF4-FFF2-40B4-BE49-F238E27FC236}">
                    <a16:creationId xmlns:a16="http://schemas.microsoft.com/office/drawing/2014/main" id="{DB7DB24E-EE56-94D5-44E0-F9FB86422A08}"/>
                  </a:ext>
                </a:extLst>
              </p:cNvPr>
              <p:cNvSpPr/>
              <p:nvPr/>
            </p:nvSpPr>
            <p:spPr>
              <a:xfrm>
                <a:off x="9927405" y="3326753"/>
                <a:ext cx="1192" cy="31625"/>
              </a:xfrm>
              <a:custGeom>
                <a:avLst/>
                <a:gdLst>
                  <a:gd name="connsiteX0" fmla="*/ 0 w 1192"/>
                  <a:gd name="connsiteY0" fmla="*/ 0 h 31625"/>
                  <a:gd name="connsiteX1" fmla="*/ 0 w 1192"/>
                  <a:gd name="connsiteY1" fmla="*/ 31625 h 316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2" h="31625">
                    <a:moveTo>
                      <a:pt x="0" y="0"/>
                    </a:moveTo>
                    <a:lnTo>
                      <a:pt x="0" y="31625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181" name="Forma livre: Forma 1180">
                <a:extLst>
                  <a:ext uri="{FF2B5EF4-FFF2-40B4-BE49-F238E27FC236}">
                    <a16:creationId xmlns:a16="http://schemas.microsoft.com/office/drawing/2014/main" id="{BDD90BED-D0E4-3CB3-35D9-0B10CEF740FF}"/>
                  </a:ext>
                </a:extLst>
              </p:cNvPr>
              <p:cNvSpPr/>
              <p:nvPr/>
            </p:nvSpPr>
            <p:spPr>
              <a:xfrm>
                <a:off x="9969338" y="3326753"/>
                <a:ext cx="1192" cy="31625"/>
              </a:xfrm>
              <a:custGeom>
                <a:avLst/>
                <a:gdLst>
                  <a:gd name="connsiteX0" fmla="*/ 0 w 1192"/>
                  <a:gd name="connsiteY0" fmla="*/ 0 h 31625"/>
                  <a:gd name="connsiteX1" fmla="*/ 0 w 1192"/>
                  <a:gd name="connsiteY1" fmla="*/ 31625 h 316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2" h="31625">
                    <a:moveTo>
                      <a:pt x="0" y="0"/>
                    </a:moveTo>
                    <a:lnTo>
                      <a:pt x="0" y="31625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182" name="Forma livre: Forma 1181">
              <a:extLst>
                <a:ext uri="{FF2B5EF4-FFF2-40B4-BE49-F238E27FC236}">
                  <a16:creationId xmlns:a16="http://schemas.microsoft.com/office/drawing/2014/main" id="{18589A84-C34C-5A01-C665-2B5811F19C9F}"/>
                </a:ext>
              </a:extLst>
            </p:cNvPr>
            <p:cNvSpPr/>
            <p:nvPr/>
          </p:nvSpPr>
          <p:spPr>
            <a:xfrm>
              <a:off x="9838304" y="3147119"/>
              <a:ext cx="235988" cy="179085"/>
            </a:xfrm>
            <a:custGeom>
              <a:avLst/>
              <a:gdLst>
                <a:gd name="connsiteX0" fmla="*/ 0 w 235988"/>
                <a:gd name="connsiteY0" fmla="*/ 0 h 179085"/>
                <a:gd name="connsiteX1" fmla="*/ 214062 w 235988"/>
                <a:gd name="connsiteY1" fmla="*/ 0 h 179085"/>
                <a:gd name="connsiteX2" fmla="*/ 235989 w 235988"/>
                <a:gd name="connsiteY2" fmla="*/ 21938 h 179085"/>
                <a:gd name="connsiteX3" fmla="*/ 235989 w 235988"/>
                <a:gd name="connsiteY3" fmla="*/ 157159 h 179085"/>
                <a:gd name="connsiteX4" fmla="*/ 214062 w 235988"/>
                <a:gd name="connsiteY4" fmla="*/ 179085 h 179085"/>
                <a:gd name="connsiteX5" fmla="*/ 42063 w 235988"/>
                <a:gd name="connsiteY5" fmla="*/ 179085 h 1790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35988" h="179085">
                  <a:moveTo>
                    <a:pt x="0" y="0"/>
                  </a:moveTo>
                  <a:lnTo>
                    <a:pt x="214062" y="0"/>
                  </a:lnTo>
                  <a:cubicBezTo>
                    <a:pt x="226123" y="0"/>
                    <a:pt x="235989" y="9866"/>
                    <a:pt x="235989" y="21938"/>
                  </a:cubicBezTo>
                  <a:lnTo>
                    <a:pt x="235989" y="157159"/>
                  </a:lnTo>
                  <a:cubicBezTo>
                    <a:pt x="235989" y="169220"/>
                    <a:pt x="226123" y="179085"/>
                    <a:pt x="214062" y="179085"/>
                  </a:cubicBezTo>
                  <a:lnTo>
                    <a:pt x="42063" y="179085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183" name="Gráfico 11">
              <a:extLst>
                <a:ext uri="{FF2B5EF4-FFF2-40B4-BE49-F238E27FC236}">
                  <a16:creationId xmlns:a16="http://schemas.microsoft.com/office/drawing/2014/main" id="{C6D99846-9A1E-4D24-EA7D-E734561C3C6A}"/>
                </a:ext>
              </a:extLst>
            </p:cNvPr>
            <p:cNvGrpSpPr/>
            <p:nvPr/>
          </p:nvGrpSpPr>
          <p:grpSpPr>
            <a:xfrm>
              <a:off x="9902914" y="3173066"/>
              <a:ext cx="90926" cy="104549"/>
              <a:chOff x="9902914" y="3173066"/>
              <a:chExt cx="90926" cy="104549"/>
            </a:xfrm>
            <a:noFill/>
          </p:grpSpPr>
          <p:sp>
            <p:nvSpPr>
              <p:cNvPr id="1184" name="Forma livre: Forma 1183">
                <a:extLst>
                  <a:ext uri="{FF2B5EF4-FFF2-40B4-BE49-F238E27FC236}">
                    <a16:creationId xmlns:a16="http://schemas.microsoft.com/office/drawing/2014/main" id="{CA6BBC9B-6F45-273B-E7AC-F8EB10D01C22}"/>
                  </a:ext>
                </a:extLst>
              </p:cNvPr>
              <p:cNvSpPr/>
              <p:nvPr/>
            </p:nvSpPr>
            <p:spPr>
              <a:xfrm>
                <a:off x="9902914" y="3241422"/>
                <a:ext cx="90926" cy="36193"/>
              </a:xfrm>
              <a:custGeom>
                <a:avLst/>
                <a:gdLst>
                  <a:gd name="connsiteX0" fmla="*/ 0 w 90926"/>
                  <a:gd name="connsiteY0" fmla="*/ 36194 h 36193"/>
                  <a:gd name="connsiteX1" fmla="*/ 0 w 90926"/>
                  <a:gd name="connsiteY1" fmla="*/ 22237 h 36193"/>
                  <a:gd name="connsiteX2" fmla="*/ 26877 w 90926"/>
                  <a:gd name="connsiteY2" fmla="*/ 0 h 36193"/>
                  <a:gd name="connsiteX3" fmla="*/ 45475 w 90926"/>
                  <a:gd name="connsiteY3" fmla="*/ 20459 h 36193"/>
                  <a:gd name="connsiteX4" fmla="*/ 62737 w 90926"/>
                  <a:gd name="connsiteY4" fmla="*/ 0 h 36193"/>
                  <a:gd name="connsiteX5" fmla="*/ 90926 w 90926"/>
                  <a:gd name="connsiteY5" fmla="*/ 22237 h 36193"/>
                  <a:gd name="connsiteX6" fmla="*/ 90926 w 90926"/>
                  <a:gd name="connsiteY6" fmla="*/ 36194 h 361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90926" h="36193">
                    <a:moveTo>
                      <a:pt x="0" y="36194"/>
                    </a:moveTo>
                    <a:lnTo>
                      <a:pt x="0" y="22237"/>
                    </a:lnTo>
                    <a:cubicBezTo>
                      <a:pt x="0" y="6001"/>
                      <a:pt x="11762" y="0"/>
                      <a:pt x="26877" y="0"/>
                    </a:cubicBezTo>
                    <a:lnTo>
                      <a:pt x="45475" y="20459"/>
                    </a:lnTo>
                    <a:lnTo>
                      <a:pt x="62737" y="0"/>
                    </a:lnTo>
                    <a:cubicBezTo>
                      <a:pt x="77864" y="0"/>
                      <a:pt x="90926" y="6001"/>
                      <a:pt x="90926" y="22237"/>
                    </a:cubicBezTo>
                    <a:lnTo>
                      <a:pt x="90926" y="36194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185" name="Forma livre: Forma 1184">
                <a:extLst>
                  <a:ext uri="{FF2B5EF4-FFF2-40B4-BE49-F238E27FC236}">
                    <a16:creationId xmlns:a16="http://schemas.microsoft.com/office/drawing/2014/main" id="{DBA6A50F-6C8E-6D4B-32C3-86781768BF85}"/>
                  </a:ext>
                </a:extLst>
              </p:cNvPr>
              <p:cNvSpPr/>
              <p:nvPr/>
            </p:nvSpPr>
            <p:spPr>
              <a:xfrm>
                <a:off x="9927346" y="3173066"/>
                <a:ext cx="42063" cy="50628"/>
              </a:xfrm>
              <a:custGeom>
                <a:avLst/>
                <a:gdLst>
                  <a:gd name="connsiteX0" fmla="*/ 42063 w 42063"/>
                  <a:gd name="connsiteY0" fmla="*/ 29275 h 50628"/>
                  <a:gd name="connsiteX1" fmla="*/ 21020 w 42063"/>
                  <a:gd name="connsiteY1" fmla="*/ 50629 h 50628"/>
                  <a:gd name="connsiteX2" fmla="*/ 0 w 42063"/>
                  <a:gd name="connsiteY2" fmla="*/ 29275 h 50628"/>
                  <a:gd name="connsiteX3" fmla="*/ 0 w 42063"/>
                  <a:gd name="connsiteY3" fmla="*/ 21354 h 50628"/>
                  <a:gd name="connsiteX4" fmla="*/ 21020 w 42063"/>
                  <a:gd name="connsiteY4" fmla="*/ 0 h 50628"/>
                  <a:gd name="connsiteX5" fmla="*/ 42063 w 42063"/>
                  <a:gd name="connsiteY5" fmla="*/ 21354 h 50628"/>
                  <a:gd name="connsiteX6" fmla="*/ 42063 w 42063"/>
                  <a:gd name="connsiteY6" fmla="*/ 29275 h 506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2063" h="50628">
                    <a:moveTo>
                      <a:pt x="42063" y="29275"/>
                    </a:moveTo>
                    <a:cubicBezTo>
                      <a:pt x="42063" y="41014"/>
                      <a:pt x="32591" y="50629"/>
                      <a:pt x="21020" y="50629"/>
                    </a:cubicBezTo>
                    <a:cubicBezTo>
                      <a:pt x="9448" y="50629"/>
                      <a:pt x="0" y="41025"/>
                      <a:pt x="0" y="29275"/>
                    </a:cubicBezTo>
                    <a:lnTo>
                      <a:pt x="0" y="21354"/>
                    </a:lnTo>
                    <a:cubicBezTo>
                      <a:pt x="0" y="9615"/>
                      <a:pt x="9460" y="0"/>
                      <a:pt x="21020" y="0"/>
                    </a:cubicBezTo>
                    <a:cubicBezTo>
                      <a:pt x="32579" y="0"/>
                      <a:pt x="42063" y="9615"/>
                      <a:pt x="42063" y="21354"/>
                    </a:cubicBezTo>
                    <a:lnTo>
                      <a:pt x="42063" y="29275"/>
                    </a:ln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186" name="Forma livre: Forma 1185">
              <a:extLst>
                <a:ext uri="{FF2B5EF4-FFF2-40B4-BE49-F238E27FC236}">
                  <a16:creationId xmlns:a16="http://schemas.microsoft.com/office/drawing/2014/main" id="{1189560F-3049-A3C2-5540-7E53C0CDCE87}"/>
                </a:ext>
              </a:extLst>
            </p:cNvPr>
            <p:cNvSpPr/>
            <p:nvPr/>
          </p:nvSpPr>
          <p:spPr>
            <a:xfrm>
              <a:off x="9728386" y="3277842"/>
              <a:ext cx="155333" cy="90986"/>
            </a:xfrm>
            <a:custGeom>
              <a:avLst/>
              <a:gdLst>
                <a:gd name="connsiteX0" fmla="*/ 0 w 155333"/>
                <a:gd name="connsiteY0" fmla="*/ 18276 h 90986"/>
                <a:gd name="connsiteX1" fmla="*/ 39689 w 155333"/>
                <a:gd name="connsiteY1" fmla="*/ 0 h 90986"/>
                <a:gd name="connsiteX2" fmla="*/ 98060 w 155333"/>
                <a:gd name="connsiteY2" fmla="*/ 0 h 90986"/>
                <a:gd name="connsiteX3" fmla="*/ 148951 w 155333"/>
                <a:gd name="connsiteY3" fmla="*/ 41586 h 90986"/>
                <a:gd name="connsiteX4" fmla="*/ 155334 w 155333"/>
                <a:gd name="connsiteY4" fmla="*/ 90986 h 909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5333" h="90986">
                  <a:moveTo>
                    <a:pt x="0" y="18276"/>
                  </a:moveTo>
                  <a:cubicBezTo>
                    <a:pt x="9627" y="7110"/>
                    <a:pt x="23871" y="0"/>
                    <a:pt x="39689" y="0"/>
                  </a:cubicBezTo>
                  <a:lnTo>
                    <a:pt x="98060" y="0"/>
                  </a:lnTo>
                  <a:cubicBezTo>
                    <a:pt x="126894" y="0"/>
                    <a:pt x="148951" y="23585"/>
                    <a:pt x="148951" y="41586"/>
                  </a:cubicBezTo>
                  <a:lnTo>
                    <a:pt x="155334" y="90986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87" name="Forma livre: Forma 1186">
              <a:extLst>
                <a:ext uri="{FF2B5EF4-FFF2-40B4-BE49-F238E27FC236}">
                  <a16:creationId xmlns:a16="http://schemas.microsoft.com/office/drawing/2014/main" id="{0AB4BD81-2F02-3A50-E3DC-59016AEE06F8}"/>
                </a:ext>
              </a:extLst>
            </p:cNvPr>
            <p:cNvSpPr/>
            <p:nvPr/>
          </p:nvSpPr>
          <p:spPr>
            <a:xfrm>
              <a:off x="9776617" y="3167208"/>
              <a:ext cx="69906" cy="84126"/>
            </a:xfrm>
            <a:custGeom>
              <a:avLst/>
              <a:gdLst>
                <a:gd name="connsiteX0" fmla="*/ 69907 w 69906"/>
                <a:gd name="connsiteY0" fmla="*/ 48636 h 84126"/>
                <a:gd name="connsiteX1" fmla="*/ 34953 w 69906"/>
                <a:gd name="connsiteY1" fmla="*/ 84126 h 84126"/>
                <a:gd name="connsiteX2" fmla="*/ 0 w 69906"/>
                <a:gd name="connsiteY2" fmla="*/ 48636 h 84126"/>
                <a:gd name="connsiteX3" fmla="*/ 0 w 69906"/>
                <a:gd name="connsiteY3" fmla="*/ 35478 h 84126"/>
                <a:gd name="connsiteX4" fmla="*/ 34953 w 69906"/>
                <a:gd name="connsiteY4" fmla="*/ 0 h 84126"/>
                <a:gd name="connsiteX5" fmla="*/ 69907 w 69906"/>
                <a:gd name="connsiteY5" fmla="*/ 35478 h 84126"/>
                <a:gd name="connsiteX6" fmla="*/ 69907 w 69906"/>
                <a:gd name="connsiteY6" fmla="*/ 48636 h 841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9906" h="84126">
                  <a:moveTo>
                    <a:pt x="69907" y="48636"/>
                  </a:moveTo>
                  <a:cubicBezTo>
                    <a:pt x="69907" y="68153"/>
                    <a:pt x="54172" y="84126"/>
                    <a:pt x="34953" y="84126"/>
                  </a:cubicBezTo>
                  <a:cubicBezTo>
                    <a:pt x="15735" y="84126"/>
                    <a:pt x="0" y="68153"/>
                    <a:pt x="0" y="48636"/>
                  </a:cubicBezTo>
                  <a:lnTo>
                    <a:pt x="0" y="35478"/>
                  </a:lnTo>
                  <a:cubicBezTo>
                    <a:pt x="0" y="15962"/>
                    <a:pt x="15735" y="0"/>
                    <a:pt x="34953" y="0"/>
                  </a:cubicBezTo>
                  <a:cubicBezTo>
                    <a:pt x="54172" y="0"/>
                    <a:pt x="69907" y="15973"/>
                    <a:pt x="69907" y="35478"/>
                  </a:cubicBezTo>
                  <a:lnTo>
                    <a:pt x="69907" y="48636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88" name="Forma livre: Forma 1187">
              <a:extLst>
                <a:ext uri="{FF2B5EF4-FFF2-40B4-BE49-F238E27FC236}">
                  <a16:creationId xmlns:a16="http://schemas.microsoft.com/office/drawing/2014/main" id="{DB5EFB5D-46A3-6A15-3CC9-F0AFAEACF3F9}"/>
                </a:ext>
              </a:extLst>
            </p:cNvPr>
            <p:cNvSpPr/>
            <p:nvPr/>
          </p:nvSpPr>
          <p:spPr>
            <a:xfrm>
              <a:off x="9835358" y="3326491"/>
              <a:ext cx="79056" cy="83756"/>
            </a:xfrm>
            <a:custGeom>
              <a:avLst/>
              <a:gdLst>
                <a:gd name="connsiteX0" fmla="*/ 0 w 79056"/>
                <a:gd name="connsiteY0" fmla="*/ 0 h 83756"/>
                <a:gd name="connsiteX1" fmla="*/ 16558 w 79056"/>
                <a:gd name="connsiteY1" fmla="*/ 68618 h 83756"/>
                <a:gd name="connsiteX2" fmla="*/ 40286 w 79056"/>
                <a:gd name="connsiteY2" fmla="*/ 83757 h 83756"/>
                <a:gd name="connsiteX3" fmla="*/ 48613 w 79056"/>
                <a:gd name="connsiteY3" fmla="*/ 83757 h 83756"/>
                <a:gd name="connsiteX4" fmla="*/ 74130 w 79056"/>
                <a:gd name="connsiteY4" fmla="*/ 50295 h 83756"/>
                <a:gd name="connsiteX5" fmla="*/ 79057 w 79056"/>
                <a:gd name="connsiteY5" fmla="*/ 35812 h 83756"/>
                <a:gd name="connsiteX6" fmla="*/ 50581 w 79056"/>
                <a:gd name="connsiteY6" fmla="*/ 25791 h 837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9056" h="83756">
                  <a:moveTo>
                    <a:pt x="0" y="0"/>
                  </a:moveTo>
                  <a:lnTo>
                    <a:pt x="16558" y="68618"/>
                  </a:lnTo>
                  <a:cubicBezTo>
                    <a:pt x="19696" y="82695"/>
                    <a:pt x="31947" y="83757"/>
                    <a:pt x="40286" y="83757"/>
                  </a:cubicBezTo>
                  <a:lnTo>
                    <a:pt x="48613" y="83757"/>
                  </a:lnTo>
                  <a:cubicBezTo>
                    <a:pt x="56939" y="83757"/>
                    <a:pt x="67771" y="66602"/>
                    <a:pt x="74130" y="50295"/>
                  </a:cubicBezTo>
                  <a:lnTo>
                    <a:pt x="79057" y="35812"/>
                  </a:lnTo>
                  <a:cubicBezTo>
                    <a:pt x="79057" y="35812"/>
                    <a:pt x="74440" y="21020"/>
                    <a:pt x="50581" y="25791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89" name="Forma livre: Forma 1188">
              <a:extLst>
                <a:ext uri="{FF2B5EF4-FFF2-40B4-BE49-F238E27FC236}">
                  <a16:creationId xmlns:a16="http://schemas.microsoft.com/office/drawing/2014/main" id="{2F48A636-15D1-4681-56F1-05D11051A4D7}"/>
                </a:ext>
              </a:extLst>
            </p:cNvPr>
            <p:cNvSpPr/>
            <p:nvPr/>
          </p:nvSpPr>
          <p:spPr>
            <a:xfrm>
              <a:off x="9869249" y="3296703"/>
              <a:ext cx="183439" cy="1192"/>
            </a:xfrm>
            <a:custGeom>
              <a:avLst/>
              <a:gdLst>
                <a:gd name="connsiteX0" fmla="*/ 0 w 183439"/>
                <a:gd name="connsiteY0" fmla="*/ 0 h 1192"/>
                <a:gd name="connsiteX1" fmla="*/ 183439 w 183439"/>
                <a:gd name="connsiteY1" fmla="*/ 0 h 11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3439" h="1192">
                  <a:moveTo>
                    <a:pt x="0" y="0"/>
                  </a:moveTo>
                  <a:lnTo>
                    <a:pt x="183439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190" name="Gráfico 11">
            <a:extLst>
              <a:ext uri="{FF2B5EF4-FFF2-40B4-BE49-F238E27FC236}">
                <a16:creationId xmlns:a16="http://schemas.microsoft.com/office/drawing/2014/main" id="{DF2957E0-412C-A7F3-3D9E-100637B8078C}"/>
              </a:ext>
            </a:extLst>
          </p:cNvPr>
          <p:cNvGrpSpPr/>
          <p:nvPr/>
        </p:nvGrpSpPr>
        <p:grpSpPr>
          <a:xfrm>
            <a:off x="9727241" y="2100810"/>
            <a:ext cx="348185" cy="222234"/>
            <a:chOff x="9727241" y="2100810"/>
            <a:chExt cx="348185" cy="222234"/>
          </a:xfrm>
          <a:noFill/>
        </p:grpSpPr>
        <p:grpSp>
          <p:nvGrpSpPr>
            <p:cNvPr id="1191" name="Gráfico 11">
              <a:extLst>
                <a:ext uri="{FF2B5EF4-FFF2-40B4-BE49-F238E27FC236}">
                  <a16:creationId xmlns:a16="http://schemas.microsoft.com/office/drawing/2014/main" id="{28D7B064-88A5-2C11-5FB5-FBDB2C1B812C}"/>
                </a:ext>
              </a:extLst>
            </p:cNvPr>
            <p:cNvGrpSpPr/>
            <p:nvPr/>
          </p:nvGrpSpPr>
          <p:grpSpPr>
            <a:xfrm>
              <a:off x="9727241" y="2100810"/>
              <a:ext cx="348185" cy="222234"/>
              <a:chOff x="9727241" y="2100810"/>
              <a:chExt cx="348185" cy="222234"/>
            </a:xfrm>
            <a:noFill/>
          </p:grpSpPr>
          <p:sp>
            <p:nvSpPr>
              <p:cNvPr id="1192" name="Forma livre: Forma 1191">
                <a:extLst>
                  <a:ext uri="{FF2B5EF4-FFF2-40B4-BE49-F238E27FC236}">
                    <a16:creationId xmlns:a16="http://schemas.microsoft.com/office/drawing/2014/main" id="{7C1C2301-DE9D-2287-FB7D-376938923ED1}"/>
                  </a:ext>
                </a:extLst>
              </p:cNvPr>
              <p:cNvSpPr/>
              <p:nvPr/>
            </p:nvSpPr>
            <p:spPr>
              <a:xfrm>
                <a:off x="9760286" y="2100810"/>
                <a:ext cx="282107" cy="173382"/>
              </a:xfrm>
              <a:custGeom>
                <a:avLst/>
                <a:gdLst>
                  <a:gd name="connsiteX0" fmla="*/ 0 w 282107"/>
                  <a:gd name="connsiteY0" fmla="*/ 173383 h 173382"/>
                  <a:gd name="connsiteX1" fmla="*/ 0 w 282107"/>
                  <a:gd name="connsiteY1" fmla="*/ 20590 h 173382"/>
                  <a:gd name="connsiteX2" fmla="*/ 20578 w 282107"/>
                  <a:gd name="connsiteY2" fmla="*/ 0 h 173382"/>
                  <a:gd name="connsiteX3" fmla="*/ 261506 w 282107"/>
                  <a:gd name="connsiteY3" fmla="*/ 0 h 173382"/>
                  <a:gd name="connsiteX4" fmla="*/ 282108 w 282107"/>
                  <a:gd name="connsiteY4" fmla="*/ 20590 h 173382"/>
                  <a:gd name="connsiteX5" fmla="*/ 282108 w 282107"/>
                  <a:gd name="connsiteY5" fmla="*/ 173383 h 1733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82107" h="173382">
                    <a:moveTo>
                      <a:pt x="0" y="173383"/>
                    </a:moveTo>
                    <a:lnTo>
                      <a:pt x="0" y="20590"/>
                    </a:lnTo>
                    <a:cubicBezTo>
                      <a:pt x="0" y="9269"/>
                      <a:pt x="9269" y="0"/>
                      <a:pt x="20578" y="0"/>
                    </a:cubicBezTo>
                    <a:lnTo>
                      <a:pt x="261506" y="0"/>
                    </a:lnTo>
                    <a:cubicBezTo>
                      <a:pt x="272839" y="0"/>
                      <a:pt x="282108" y="9269"/>
                      <a:pt x="282108" y="20590"/>
                    </a:cubicBezTo>
                    <a:lnTo>
                      <a:pt x="282108" y="173383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193" name="Forma livre: Forma 1192">
                <a:extLst>
                  <a:ext uri="{FF2B5EF4-FFF2-40B4-BE49-F238E27FC236}">
                    <a16:creationId xmlns:a16="http://schemas.microsoft.com/office/drawing/2014/main" id="{5A68E9BD-91AC-F86D-665B-886F72BB7454}"/>
                  </a:ext>
                </a:extLst>
              </p:cNvPr>
              <p:cNvSpPr/>
              <p:nvPr/>
            </p:nvSpPr>
            <p:spPr>
              <a:xfrm>
                <a:off x="9727241" y="2295797"/>
                <a:ext cx="348185" cy="27247"/>
              </a:xfrm>
              <a:custGeom>
                <a:avLst/>
                <a:gdLst>
                  <a:gd name="connsiteX0" fmla="*/ 205032 w 348185"/>
                  <a:gd name="connsiteY0" fmla="*/ 0 h 27247"/>
                  <a:gd name="connsiteX1" fmla="*/ 200081 w 348185"/>
                  <a:gd name="connsiteY1" fmla="*/ 5726 h 27247"/>
                  <a:gd name="connsiteX2" fmla="*/ 148092 w 348185"/>
                  <a:gd name="connsiteY2" fmla="*/ 5726 h 27247"/>
                  <a:gd name="connsiteX3" fmla="*/ 143166 w 348185"/>
                  <a:gd name="connsiteY3" fmla="*/ 0 h 27247"/>
                  <a:gd name="connsiteX4" fmla="*/ 0 w 348185"/>
                  <a:gd name="connsiteY4" fmla="*/ 0 h 27247"/>
                  <a:gd name="connsiteX5" fmla="*/ 25923 w 348185"/>
                  <a:gd name="connsiteY5" fmla="*/ 27247 h 27247"/>
                  <a:gd name="connsiteX6" fmla="*/ 322263 w 348185"/>
                  <a:gd name="connsiteY6" fmla="*/ 27247 h 27247"/>
                  <a:gd name="connsiteX7" fmla="*/ 348185 w 348185"/>
                  <a:gd name="connsiteY7" fmla="*/ 0 h 27247"/>
                  <a:gd name="connsiteX8" fmla="*/ 205020 w 348185"/>
                  <a:gd name="connsiteY8" fmla="*/ 0 h 272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48185" h="27247">
                    <a:moveTo>
                      <a:pt x="205032" y="0"/>
                    </a:moveTo>
                    <a:lnTo>
                      <a:pt x="200081" y="5726"/>
                    </a:lnTo>
                    <a:lnTo>
                      <a:pt x="148092" y="5726"/>
                    </a:lnTo>
                    <a:lnTo>
                      <a:pt x="143166" y="0"/>
                    </a:lnTo>
                    <a:lnTo>
                      <a:pt x="0" y="0"/>
                    </a:lnTo>
                    <a:cubicBezTo>
                      <a:pt x="0" y="0"/>
                      <a:pt x="6001" y="27247"/>
                      <a:pt x="25923" y="27247"/>
                    </a:cubicBezTo>
                    <a:lnTo>
                      <a:pt x="322263" y="27247"/>
                    </a:lnTo>
                    <a:cubicBezTo>
                      <a:pt x="342185" y="27247"/>
                      <a:pt x="348185" y="0"/>
                      <a:pt x="348185" y="0"/>
                    </a:cubicBezTo>
                    <a:lnTo>
                      <a:pt x="205020" y="0"/>
                    </a:ln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194" name="Gráfico 11">
              <a:extLst>
                <a:ext uri="{FF2B5EF4-FFF2-40B4-BE49-F238E27FC236}">
                  <a16:creationId xmlns:a16="http://schemas.microsoft.com/office/drawing/2014/main" id="{DB4BAFB3-3354-9FC2-73D5-B4EDB3C8CBF7}"/>
                </a:ext>
              </a:extLst>
            </p:cNvPr>
            <p:cNvGrpSpPr/>
            <p:nvPr/>
          </p:nvGrpSpPr>
          <p:grpSpPr>
            <a:xfrm>
              <a:off x="9835226" y="2134332"/>
              <a:ext cx="132226" cy="132226"/>
              <a:chOff x="9835226" y="2134332"/>
              <a:chExt cx="132226" cy="132226"/>
            </a:xfrm>
            <a:noFill/>
          </p:grpSpPr>
          <p:sp>
            <p:nvSpPr>
              <p:cNvPr id="1195" name="Forma livre: Forma 1194">
                <a:extLst>
                  <a:ext uri="{FF2B5EF4-FFF2-40B4-BE49-F238E27FC236}">
                    <a16:creationId xmlns:a16="http://schemas.microsoft.com/office/drawing/2014/main" id="{7DD976DF-7BEB-BFB5-14B3-369186A6C8F4}"/>
                  </a:ext>
                </a:extLst>
              </p:cNvPr>
              <p:cNvSpPr/>
              <p:nvPr/>
            </p:nvSpPr>
            <p:spPr>
              <a:xfrm>
                <a:off x="9881656" y="2163308"/>
                <a:ext cx="39367" cy="47371"/>
              </a:xfrm>
              <a:custGeom>
                <a:avLst/>
                <a:gdLst>
                  <a:gd name="connsiteX0" fmla="*/ 39367 w 39367"/>
                  <a:gd name="connsiteY0" fmla="*/ 27390 h 47371"/>
                  <a:gd name="connsiteX1" fmla="*/ 19672 w 39367"/>
                  <a:gd name="connsiteY1" fmla="*/ 47372 h 47371"/>
                  <a:gd name="connsiteX2" fmla="*/ 0 w 39367"/>
                  <a:gd name="connsiteY2" fmla="*/ 27390 h 47371"/>
                  <a:gd name="connsiteX3" fmla="*/ 0 w 39367"/>
                  <a:gd name="connsiteY3" fmla="*/ 19982 h 47371"/>
                  <a:gd name="connsiteX4" fmla="*/ 19672 w 39367"/>
                  <a:gd name="connsiteY4" fmla="*/ 0 h 47371"/>
                  <a:gd name="connsiteX5" fmla="*/ 39367 w 39367"/>
                  <a:gd name="connsiteY5" fmla="*/ 19982 h 47371"/>
                  <a:gd name="connsiteX6" fmla="*/ 39367 w 39367"/>
                  <a:gd name="connsiteY6" fmla="*/ 27390 h 473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9367" h="47371">
                    <a:moveTo>
                      <a:pt x="39367" y="27390"/>
                    </a:moveTo>
                    <a:cubicBezTo>
                      <a:pt x="39367" y="38377"/>
                      <a:pt x="30504" y="47372"/>
                      <a:pt x="19672" y="47372"/>
                    </a:cubicBezTo>
                    <a:cubicBezTo>
                      <a:pt x="8840" y="47372"/>
                      <a:pt x="0" y="38377"/>
                      <a:pt x="0" y="27390"/>
                    </a:cubicBezTo>
                    <a:lnTo>
                      <a:pt x="0" y="19982"/>
                    </a:lnTo>
                    <a:cubicBezTo>
                      <a:pt x="0" y="8995"/>
                      <a:pt x="8864" y="0"/>
                      <a:pt x="19672" y="0"/>
                    </a:cubicBezTo>
                    <a:cubicBezTo>
                      <a:pt x="30480" y="0"/>
                      <a:pt x="39367" y="8995"/>
                      <a:pt x="39367" y="19982"/>
                    </a:cubicBezTo>
                    <a:lnTo>
                      <a:pt x="39367" y="27390"/>
                    </a:ln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196" name="Forma livre: Forma 1195">
                <a:extLst>
                  <a:ext uri="{FF2B5EF4-FFF2-40B4-BE49-F238E27FC236}">
                    <a16:creationId xmlns:a16="http://schemas.microsoft.com/office/drawing/2014/main" id="{FCE816D5-DF31-A57D-3172-A8A51174E11E}"/>
                  </a:ext>
                </a:extLst>
              </p:cNvPr>
              <p:cNvSpPr/>
              <p:nvPr/>
            </p:nvSpPr>
            <p:spPr>
              <a:xfrm>
                <a:off x="9835226" y="2134332"/>
                <a:ext cx="132226" cy="132226"/>
              </a:xfrm>
              <a:custGeom>
                <a:avLst/>
                <a:gdLst>
                  <a:gd name="connsiteX0" fmla="*/ 132226 w 132226"/>
                  <a:gd name="connsiteY0" fmla="*/ 66113 h 132226"/>
                  <a:gd name="connsiteX1" fmla="*/ 66113 w 132226"/>
                  <a:gd name="connsiteY1" fmla="*/ 132226 h 132226"/>
                  <a:gd name="connsiteX2" fmla="*/ 0 w 132226"/>
                  <a:gd name="connsiteY2" fmla="*/ 66113 h 132226"/>
                  <a:gd name="connsiteX3" fmla="*/ 66113 w 132226"/>
                  <a:gd name="connsiteY3" fmla="*/ 0 h 132226"/>
                  <a:gd name="connsiteX4" fmla="*/ 132226 w 132226"/>
                  <a:gd name="connsiteY4" fmla="*/ 66113 h 1322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32226" h="132226">
                    <a:moveTo>
                      <a:pt x="132226" y="66113"/>
                    </a:moveTo>
                    <a:cubicBezTo>
                      <a:pt x="132226" y="102626"/>
                      <a:pt x="102626" y="132226"/>
                      <a:pt x="66113" y="132226"/>
                    </a:cubicBezTo>
                    <a:cubicBezTo>
                      <a:pt x="29600" y="132226"/>
                      <a:pt x="0" y="102626"/>
                      <a:pt x="0" y="66113"/>
                    </a:cubicBezTo>
                    <a:cubicBezTo>
                      <a:pt x="0" y="29600"/>
                      <a:pt x="29600" y="0"/>
                      <a:pt x="66113" y="0"/>
                    </a:cubicBezTo>
                    <a:cubicBezTo>
                      <a:pt x="102626" y="0"/>
                      <a:pt x="132226" y="29600"/>
                      <a:pt x="132226" y="66113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197" name="Forma livre: Forma 1196">
                <a:extLst>
                  <a:ext uri="{FF2B5EF4-FFF2-40B4-BE49-F238E27FC236}">
                    <a16:creationId xmlns:a16="http://schemas.microsoft.com/office/drawing/2014/main" id="{BDF84898-DBB5-C65A-DE1E-4B6E85A88E11}"/>
                  </a:ext>
                </a:extLst>
              </p:cNvPr>
              <p:cNvSpPr/>
              <p:nvPr/>
            </p:nvSpPr>
            <p:spPr>
              <a:xfrm>
                <a:off x="9864752" y="2216382"/>
                <a:ext cx="73175" cy="15162"/>
              </a:xfrm>
              <a:custGeom>
                <a:avLst/>
                <a:gdLst>
                  <a:gd name="connsiteX0" fmla="*/ 73175 w 73175"/>
                  <a:gd name="connsiteY0" fmla="*/ 15162 h 15162"/>
                  <a:gd name="connsiteX1" fmla="*/ 36588 w 73175"/>
                  <a:gd name="connsiteY1" fmla="*/ 0 h 15162"/>
                  <a:gd name="connsiteX2" fmla="*/ 0 w 73175"/>
                  <a:gd name="connsiteY2" fmla="*/ 15162 h 151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73175" h="15162">
                    <a:moveTo>
                      <a:pt x="73175" y="15162"/>
                    </a:moveTo>
                    <a:cubicBezTo>
                      <a:pt x="64932" y="5189"/>
                      <a:pt x="52633" y="0"/>
                      <a:pt x="36588" y="0"/>
                    </a:cubicBezTo>
                    <a:cubicBezTo>
                      <a:pt x="20543" y="0"/>
                      <a:pt x="8243" y="5189"/>
                      <a:pt x="0" y="15162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198" name="Gráfico 11">
            <a:extLst>
              <a:ext uri="{FF2B5EF4-FFF2-40B4-BE49-F238E27FC236}">
                <a16:creationId xmlns:a16="http://schemas.microsoft.com/office/drawing/2014/main" id="{5B81DAA0-B751-81CD-CCD3-3C25A46A3655}"/>
              </a:ext>
            </a:extLst>
          </p:cNvPr>
          <p:cNvGrpSpPr/>
          <p:nvPr/>
        </p:nvGrpSpPr>
        <p:grpSpPr>
          <a:xfrm>
            <a:off x="9714345" y="2602086"/>
            <a:ext cx="373988" cy="286426"/>
            <a:chOff x="9714345" y="2602086"/>
            <a:chExt cx="373988" cy="286426"/>
          </a:xfrm>
          <a:noFill/>
        </p:grpSpPr>
        <p:sp>
          <p:nvSpPr>
            <p:cNvPr id="1199" name="Forma livre: Forma 1198">
              <a:extLst>
                <a:ext uri="{FF2B5EF4-FFF2-40B4-BE49-F238E27FC236}">
                  <a16:creationId xmlns:a16="http://schemas.microsoft.com/office/drawing/2014/main" id="{FCAEECE8-EC17-F7CE-071C-2B7209A54428}"/>
                </a:ext>
              </a:extLst>
            </p:cNvPr>
            <p:cNvSpPr/>
            <p:nvPr/>
          </p:nvSpPr>
          <p:spPr>
            <a:xfrm>
              <a:off x="10002657" y="2808477"/>
              <a:ext cx="61496" cy="78937"/>
            </a:xfrm>
            <a:custGeom>
              <a:avLst/>
              <a:gdLst>
                <a:gd name="connsiteX0" fmla="*/ 0 w 61496"/>
                <a:gd name="connsiteY0" fmla="*/ 78937 h 78937"/>
                <a:gd name="connsiteX1" fmla="*/ 0 w 61496"/>
                <a:gd name="connsiteY1" fmla="*/ 0 h 78937"/>
                <a:gd name="connsiteX2" fmla="*/ 61496 w 61496"/>
                <a:gd name="connsiteY2" fmla="*/ 0 h 78937"/>
                <a:gd name="connsiteX3" fmla="*/ 61496 w 61496"/>
                <a:gd name="connsiteY3" fmla="*/ 78937 h 789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1496" h="78937">
                  <a:moveTo>
                    <a:pt x="0" y="78937"/>
                  </a:moveTo>
                  <a:lnTo>
                    <a:pt x="0" y="0"/>
                  </a:lnTo>
                  <a:lnTo>
                    <a:pt x="61496" y="0"/>
                  </a:lnTo>
                  <a:lnTo>
                    <a:pt x="61496" y="78937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00" name="Forma livre: Forma 1199">
              <a:extLst>
                <a:ext uri="{FF2B5EF4-FFF2-40B4-BE49-F238E27FC236}">
                  <a16:creationId xmlns:a16="http://schemas.microsoft.com/office/drawing/2014/main" id="{E6D62C19-49BE-99FE-337D-8579DBBC6338}"/>
                </a:ext>
              </a:extLst>
            </p:cNvPr>
            <p:cNvSpPr/>
            <p:nvPr/>
          </p:nvSpPr>
          <p:spPr>
            <a:xfrm>
              <a:off x="10066169" y="2822745"/>
              <a:ext cx="22164" cy="39808"/>
            </a:xfrm>
            <a:custGeom>
              <a:avLst/>
              <a:gdLst>
                <a:gd name="connsiteX0" fmla="*/ 0 w 22164"/>
                <a:gd name="connsiteY0" fmla="*/ 0 h 39808"/>
                <a:gd name="connsiteX1" fmla="*/ 13552 w 22164"/>
                <a:gd name="connsiteY1" fmla="*/ 0 h 39808"/>
                <a:gd name="connsiteX2" fmla="*/ 22165 w 22164"/>
                <a:gd name="connsiteY2" fmla="*/ 8601 h 39808"/>
                <a:gd name="connsiteX3" fmla="*/ 22165 w 22164"/>
                <a:gd name="connsiteY3" fmla="*/ 31195 h 39808"/>
                <a:gd name="connsiteX4" fmla="*/ 13552 w 22164"/>
                <a:gd name="connsiteY4" fmla="*/ 39809 h 39808"/>
                <a:gd name="connsiteX5" fmla="*/ 0 w 22164"/>
                <a:gd name="connsiteY5" fmla="*/ 39809 h 398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2164" h="39808">
                  <a:moveTo>
                    <a:pt x="0" y="0"/>
                  </a:moveTo>
                  <a:lnTo>
                    <a:pt x="13552" y="0"/>
                  </a:lnTo>
                  <a:cubicBezTo>
                    <a:pt x="18288" y="0"/>
                    <a:pt x="22165" y="3877"/>
                    <a:pt x="22165" y="8601"/>
                  </a:cubicBezTo>
                  <a:lnTo>
                    <a:pt x="22165" y="31195"/>
                  </a:lnTo>
                  <a:cubicBezTo>
                    <a:pt x="22165" y="35932"/>
                    <a:pt x="18288" y="39809"/>
                    <a:pt x="13552" y="39809"/>
                  </a:cubicBezTo>
                  <a:lnTo>
                    <a:pt x="0" y="39809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201" name="Gráfico 11">
              <a:extLst>
                <a:ext uri="{FF2B5EF4-FFF2-40B4-BE49-F238E27FC236}">
                  <a16:creationId xmlns:a16="http://schemas.microsoft.com/office/drawing/2014/main" id="{C9F22655-9FCE-ED2B-B363-8A8778307DEC}"/>
                </a:ext>
              </a:extLst>
            </p:cNvPr>
            <p:cNvGrpSpPr/>
            <p:nvPr/>
          </p:nvGrpSpPr>
          <p:grpSpPr>
            <a:xfrm>
              <a:off x="9750686" y="2602086"/>
              <a:ext cx="229561" cy="285949"/>
              <a:chOff x="9750686" y="2602086"/>
              <a:chExt cx="229561" cy="285949"/>
            </a:xfrm>
            <a:noFill/>
          </p:grpSpPr>
          <p:sp>
            <p:nvSpPr>
              <p:cNvPr id="1202" name="Forma livre: Forma 1201">
                <a:extLst>
                  <a:ext uri="{FF2B5EF4-FFF2-40B4-BE49-F238E27FC236}">
                    <a16:creationId xmlns:a16="http://schemas.microsoft.com/office/drawing/2014/main" id="{D8148BD3-131E-B90C-1960-580C71C0803B}"/>
                  </a:ext>
                </a:extLst>
              </p:cNvPr>
              <p:cNvSpPr/>
              <p:nvPr/>
            </p:nvSpPr>
            <p:spPr>
              <a:xfrm>
                <a:off x="9806417" y="2602086"/>
                <a:ext cx="118101" cy="116765"/>
              </a:xfrm>
              <a:custGeom>
                <a:avLst/>
                <a:gdLst>
                  <a:gd name="connsiteX0" fmla="*/ 0 w 118101"/>
                  <a:gd name="connsiteY0" fmla="*/ 116766 h 116765"/>
                  <a:gd name="connsiteX1" fmla="*/ 0 w 118101"/>
                  <a:gd name="connsiteY1" fmla="*/ 55866 h 116765"/>
                  <a:gd name="connsiteX2" fmla="*/ 59051 w 118101"/>
                  <a:gd name="connsiteY2" fmla="*/ 0 h 116765"/>
                  <a:gd name="connsiteX3" fmla="*/ 118102 w 118101"/>
                  <a:gd name="connsiteY3" fmla="*/ 55866 h 116765"/>
                  <a:gd name="connsiteX4" fmla="*/ 118102 w 118101"/>
                  <a:gd name="connsiteY4" fmla="*/ 116766 h 1167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18101" h="116765">
                    <a:moveTo>
                      <a:pt x="0" y="116766"/>
                    </a:moveTo>
                    <a:lnTo>
                      <a:pt x="0" y="55866"/>
                    </a:lnTo>
                    <a:cubicBezTo>
                      <a:pt x="0" y="25004"/>
                      <a:pt x="26436" y="0"/>
                      <a:pt x="59051" y="0"/>
                    </a:cubicBezTo>
                    <a:cubicBezTo>
                      <a:pt x="91666" y="0"/>
                      <a:pt x="118102" y="25004"/>
                      <a:pt x="118102" y="55866"/>
                    </a:cubicBezTo>
                    <a:lnTo>
                      <a:pt x="118102" y="116766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03" name="Forma livre: Forma 1202">
                <a:extLst>
                  <a:ext uri="{FF2B5EF4-FFF2-40B4-BE49-F238E27FC236}">
                    <a16:creationId xmlns:a16="http://schemas.microsoft.com/office/drawing/2014/main" id="{ADBFB067-1CCB-DE9A-3FEE-818F5CA7E429}"/>
                  </a:ext>
                </a:extLst>
              </p:cNvPr>
              <p:cNvSpPr/>
              <p:nvPr/>
            </p:nvSpPr>
            <p:spPr>
              <a:xfrm>
                <a:off x="9831015" y="2639139"/>
                <a:ext cx="68916" cy="80153"/>
              </a:xfrm>
              <a:custGeom>
                <a:avLst/>
                <a:gdLst>
                  <a:gd name="connsiteX0" fmla="*/ 68917 w 68916"/>
                  <a:gd name="connsiteY0" fmla="*/ 15830 h 80153"/>
                  <a:gd name="connsiteX1" fmla="*/ 50998 w 68916"/>
                  <a:gd name="connsiteY1" fmla="*/ 0 h 80153"/>
                  <a:gd name="connsiteX2" fmla="*/ 0 w 68916"/>
                  <a:gd name="connsiteY2" fmla="*/ 20817 h 80153"/>
                  <a:gd name="connsiteX3" fmla="*/ 0 w 68916"/>
                  <a:gd name="connsiteY3" fmla="*/ 35872 h 80153"/>
                  <a:gd name="connsiteX4" fmla="*/ 34595 w 68916"/>
                  <a:gd name="connsiteY4" fmla="*/ 80154 h 80153"/>
                  <a:gd name="connsiteX5" fmla="*/ 68917 w 68916"/>
                  <a:gd name="connsiteY5" fmla="*/ 36397 h 80153"/>
                  <a:gd name="connsiteX6" fmla="*/ 68917 w 68916"/>
                  <a:gd name="connsiteY6" fmla="*/ 15830 h 801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8916" h="80153">
                    <a:moveTo>
                      <a:pt x="68917" y="15830"/>
                    </a:moveTo>
                    <a:cubicBezTo>
                      <a:pt x="53611" y="10569"/>
                      <a:pt x="50998" y="0"/>
                      <a:pt x="50998" y="0"/>
                    </a:cubicBezTo>
                    <a:cubicBezTo>
                      <a:pt x="50998" y="0"/>
                      <a:pt x="38210" y="20817"/>
                      <a:pt x="0" y="20817"/>
                    </a:cubicBezTo>
                    <a:lnTo>
                      <a:pt x="0" y="35872"/>
                    </a:lnTo>
                    <a:cubicBezTo>
                      <a:pt x="0" y="54828"/>
                      <a:pt x="15640" y="80154"/>
                      <a:pt x="34595" y="80154"/>
                    </a:cubicBezTo>
                    <a:cubicBezTo>
                      <a:pt x="53551" y="80154"/>
                      <a:pt x="68642" y="55293"/>
                      <a:pt x="68917" y="36397"/>
                    </a:cubicBezTo>
                    <a:lnTo>
                      <a:pt x="68917" y="15830"/>
                    </a:lnTo>
                    <a:close/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1204" name="Gráfico 11">
                <a:extLst>
                  <a:ext uri="{FF2B5EF4-FFF2-40B4-BE49-F238E27FC236}">
                    <a16:creationId xmlns:a16="http://schemas.microsoft.com/office/drawing/2014/main" id="{063B20E1-49F2-A6B8-6D53-964B95889E61}"/>
                  </a:ext>
                </a:extLst>
              </p:cNvPr>
              <p:cNvGrpSpPr/>
              <p:nvPr/>
            </p:nvGrpSpPr>
            <p:grpSpPr>
              <a:xfrm>
                <a:off x="9750686" y="2740957"/>
                <a:ext cx="229561" cy="146625"/>
                <a:chOff x="9750686" y="2740957"/>
                <a:chExt cx="229561" cy="146625"/>
              </a:xfrm>
              <a:noFill/>
            </p:grpSpPr>
            <p:sp>
              <p:nvSpPr>
                <p:cNvPr id="1205" name="Forma livre: Forma 1204">
                  <a:extLst>
                    <a:ext uri="{FF2B5EF4-FFF2-40B4-BE49-F238E27FC236}">
                      <a16:creationId xmlns:a16="http://schemas.microsoft.com/office/drawing/2014/main" id="{856E681A-9840-8986-CBD6-F982D053BE87}"/>
                    </a:ext>
                  </a:extLst>
                </p:cNvPr>
                <p:cNvSpPr/>
                <p:nvPr/>
              </p:nvSpPr>
              <p:spPr>
                <a:xfrm>
                  <a:off x="9750686" y="2740957"/>
                  <a:ext cx="73052" cy="126476"/>
                </a:xfrm>
                <a:custGeom>
                  <a:avLst/>
                  <a:gdLst>
                    <a:gd name="connsiteX0" fmla="*/ 73052 w 73052"/>
                    <a:gd name="connsiteY0" fmla="*/ 0 h 126476"/>
                    <a:gd name="connsiteX1" fmla="*/ 49826 w 73052"/>
                    <a:gd name="connsiteY1" fmla="*/ 5022 h 126476"/>
                    <a:gd name="connsiteX2" fmla="*/ 18213 w 73052"/>
                    <a:gd name="connsiteY2" fmla="*/ 33951 h 126476"/>
                    <a:gd name="connsiteX3" fmla="*/ 259 w 73052"/>
                    <a:gd name="connsiteY3" fmla="*/ 102677 h 126476"/>
                    <a:gd name="connsiteX4" fmla="*/ 9278 w 73052"/>
                    <a:gd name="connsiteY4" fmla="*/ 126476 h 12647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73052" h="126476">
                      <a:moveTo>
                        <a:pt x="73052" y="0"/>
                      </a:moveTo>
                      <a:lnTo>
                        <a:pt x="49826" y="5022"/>
                      </a:lnTo>
                      <a:cubicBezTo>
                        <a:pt x="49826" y="5022"/>
                        <a:pt x="21923" y="10522"/>
                        <a:pt x="18213" y="33951"/>
                      </a:cubicBezTo>
                      <a:cubicBezTo>
                        <a:pt x="18213" y="33951"/>
                        <a:pt x="2752" y="90378"/>
                        <a:pt x="259" y="102677"/>
                      </a:cubicBezTo>
                      <a:cubicBezTo>
                        <a:pt x="-1161" y="109644"/>
                        <a:pt x="3456" y="118531"/>
                        <a:pt x="9278" y="126476"/>
                      </a:cubicBez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206" name="Forma livre: Forma 1205">
                  <a:extLst>
                    <a:ext uri="{FF2B5EF4-FFF2-40B4-BE49-F238E27FC236}">
                      <a16:creationId xmlns:a16="http://schemas.microsoft.com/office/drawing/2014/main" id="{511C0D7E-BA2A-3996-A39B-170E49C718E9}"/>
                    </a:ext>
                  </a:extLst>
                </p:cNvPr>
                <p:cNvSpPr/>
                <p:nvPr/>
              </p:nvSpPr>
              <p:spPr>
                <a:xfrm>
                  <a:off x="9907197" y="2740957"/>
                  <a:ext cx="73050" cy="146625"/>
                </a:xfrm>
                <a:custGeom>
                  <a:avLst/>
                  <a:gdLst>
                    <a:gd name="connsiteX0" fmla="*/ 0 w 73050"/>
                    <a:gd name="connsiteY0" fmla="*/ 0 h 146625"/>
                    <a:gd name="connsiteX1" fmla="*/ 23227 w 73050"/>
                    <a:gd name="connsiteY1" fmla="*/ 5022 h 146625"/>
                    <a:gd name="connsiteX2" fmla="*/ 54840 w 73050"/>
                    <a:gd name="connsiteY2" fmla="*/ 33951 h 146625"/>
                    <a:gd name="connsiteX3" fmla="*/ 72794 w 73050"/>
                    <a:gd name="connsiteY3" fmla="*/ 102677 h 146625"/>
                    <a:gd name="connsiteX4" fmla="*/ 45415 w 73050"/>
                    <a:gd name="connsiteY4" fmla="*/ 146625 h 14662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73050" h="146625">
                      <a:moveTo>
                        <a:pt x="0" y="0"/>
                      </a:moveTo>
                      <a:lnTo>
                        <a:pt x="23227" y="5022"/>
                      </a:lnTo>
                      <a:cubicBezTo>
                        <a:pt x="23227" y="5022"/>
                        <a:pt x="51130" y="10522"/>
                        <a:pt x="54840" y="33951"/>
                      </a:cubicBezTo>
                      <a:cubicBezTo>
                        <a:pt x="54840" y="33951"/>
                        <a:pt x="70300" y="90378"/>
                        <a:pt x="72794" y="102677"/>
                      </a:cubicBezTo>
                      <a:cubicBezTo>
                        <a:pt x="76158" y="119271"/>
                        <a:pt x="45415" y="146625"/>
                        <a:pt x="45415" y="146625"/>
                      </a:cubicBez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1207" name="Gráfico 11">
                <a:extLst>
                  <a:ext uri="{FF2B5EF4-FFF2-40B4-BE49-F238E27FC236}">
                    <a16:creationId xmlns:a16="http://schemas.microsoft.com/office/drawing/2014/main" id="{36049A74-70A4-F6C9-7197-57A7F3CB5BD4}"/>
                  </a:ext>
                </a:extLst>
              </p:cNvPr>
              <p:cNvGrpSpPr/>
              <p:nvPr/>
            </p:nvGrpSpPr>
            <p:grpSpPr>
              <a:xfrm>
                <a:off x="9800965" y="2730721"/>
                <a:ext cx="129005" cy="62569"/>
                <a:chOff x="9800965" y="2730721"/>
                <a:chExt cx="129005" cy="62569"/>
              </a:xfrm>
              <a:noFill/>
            </p:grpSpPr>
            <p:sp>
              <p:nvSpPr>
                <p:cNvPr id="1208" name="Forma livre: Forma 1207">
                  <a:extLst>
                    <a:ext uri="{FF2B5EF4-FFF2-40B4-BE49-F238E27FC236}">
                      <a16:creationId xmlns:a16="http://schemas.microsoft.com/office/drawing/2014/main" id="{1541654A-D84B-F39E-F4AE-24248A933669}"/>
                    </a:ext>
                  </a:extLst>
                </p:cNvPr>
                <p:cNvSpPr/>
                <p:nvPr/>
              </p:nvSpPr>
              <p:spPr>
                <a:xfrm>
                  <a:off x="9800965" y="2730721"/>
                  <a:ext cx="56151" cy="62212"/>
                </a:xfrm>
                <a:custGeom>
                  <a:avLst/>
                  <a:gdLst>
                    <a:gd name="connsiteX0" fmla="*/ 56152 w 56151"/>
                    <a:gd name="connsiteY0" fmla="*/ 62212 h 62212"/>
                    <a:gd name="connsiteX1" fmla="*/ 33856 w 56151"/>
                    <a:gd name="connsiteY1" fmla="*/ 0 h 62212"/>
                    <a:gd name="connsiteX2" fmla="*/ 0 w 56151"/>
                    <a:gd name="connsiteY2" fmla="*/ 41264 h 62212"/>
                    <a:gd name="connsiteX3" fmla="*/ 18849 w 56151"/>
                    <a:gd name="connsiteY3" fmla="*/ 41264 h 6221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56151" h="62212">
                      <a:moveTo>
                        <a:pt x="56152" y="62212"/>
                      </a:moveTo>
                      <a:lnTo>
                        <a:pt x="33856" y="0"/>
                      </a:lnTo>
                      <a:lnTo>
                        <a:pt x="0" y="41264"/>
                      </a:lnTo>
                      <a:lnTo>
                        <a:pt x="18849" y="41264"/>
                      </a:ln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209" name="Forma livre: Forma 1208">
                  <a:extLst>
                    <a:ext uri="{FF2B5EF4-FFF2-40B4-BE49-F238E27FC236}">
                      <a16:creationId xmlns:a16="http://schemas.microsoft.com/office/drawing/2014/main" id="{C54E6EB9-F6D2-C968-B263-A9246BDD4DE4}"/>
                    </a:ext>
                  </a:extLst>
                </p:cNvPr>
                <p:cNvSpPr/>
                <p:nvPr/>
              </p:nvSpPr>
              <p:spPr>
                <a:xfrm>
                  <a:off x="9873675" y="2730721"/>
                  <a:ext cx="56295" cy="62569"/>
                </a:xfrm>
                <a:custGeom>
                  <a:avLst/>
                  <a:gdLst>
                    <a:gd name="connsiteX0" fmla="*/ 0 w 56295"/>
                    <a:gd name="connsiteY0" fmla="*/ 62570 h 62569"/>
                    <a:gd name="connsiteX1" fmla="*/ 22439 w 56295"/>
                    <a:gd name="connsiteY1" fmla="*/ 0 h 62569"/>
                    <a:gd name="connsiteX2" fmla="*/ 56295 w 56295"/>
                    <a:gd name="connsiteY2" fmla="*/ 41264 h 62569"/>
                    <a:gd name="connsiteX3" fmla="*/ 37435 w 56295"/>
                    <a:gd name="connsiteY3" fmla="*/ 41264 h 6256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56295" h="62569">
                      <a:moveTo>
                        <a:pt x="0" y="62570"/>
                      </a:moveTo>
                      <a:lnTo>
                        <a:pt x="22439" y="0"/>
                      </a:lnTo>
                      <a:lnTo>
                        <a:pt x="56295" y="41264"/>
                      </a:lnTo>
                      <a:lnTo>
                        <a:pt x="37435" y="41264"/>
                      </a:ln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1210" name="Forma livre: Forma 1209">
                <a:extLst>
                  <a:ext uri="{FF2B5EF4-FFF2-40B4-BE49-F238E27FC236}">
                    <a16:creationId xmlns:a16="http://schemas.microsoft.com/office/drawing/2014/main" id="{1CFC5F0E-BD4F-8C7A-8BFB-1C25E58617EA}"/>
                  </a:ext>
                </a:extLst>
              </p:cNvPr>
              <p:cNvSpPr/>
              <p:nvPr/>
            </p:nvSpPr>
            <p:spPr>
              <a:xfrm>
                <a:off x="9789179" y="2796488"/>
                <a:ext cx="152577" cy="91546"/>
              </a:xfrm>
              <a:custGeom>
                <a:avLst/>
                <a:gdLst>
                  <a:gd name="connsiteX0" fmla="*/ 0 w 152577"/>
                  <a:gd name="connsiteY0" fmla="*/ 91547 h 91546"/>
                  <a:gd name="connsiteX1" fmla="*/ 0 w 152577"/>
                  <a:gd name="connsiteY1" fmla="*/ 0 h 91546"/>
                  <a:gd name="connsiteX2" fmla="*/ 152578 w 152577"/>
                  <a:gd name="connsiteY2" fmla="*/ 0 h 91546"/>
                  <a:gd name="connsiteX3" fmla="*/ 152578 w 152577"/>
                  <a:gd name="connsiteY3" fmla="*/ 91547 h 915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52577" h="91546">
                    <a:moveTo>
                      <a:pt x="0" y="91547"/>
                    </a:moveTo>
                    <a:lnTo>
                      <a:pt x="0" y="0"/>
                    </a:lnTo>
                    <a:lnTo>
                      <a:pt x="152578" y="0"/>
                    </a:lnTo>
                    <a:lnTo>
                      <a:pt x="152578" y="91547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211" name="Forma livre: Forma 1210">
              <a:extLst>
                <a:ext uri="{FF2B5EF4-FFF2-40B4-BE49-F238E27FC236}">
                  <a16:creationId xmlns:a16="http://schemas.microsoft.com/office/drawing/2014/main" id="{4D795CDE-A3F5-836E-64B7-94702BD97667}"/>
                </a:ext>
              </a:extLst>
            </p:cNvPr>
            <p:cNvSpPr/>
            <p:nvPr/>
          </p:nvSpPr>
          <p:spPr>
            <a:xfrm>
              <a:off x="9747223" y="2888512"/>
              <a:ext cx="335945" cy="1192"/>
            </a:xfrm>
            <a:custGeom>
              <a:avLst/>
              <a:gdLst>
                <a:gd name="connsiteX0" fmla="*/ 0 w 335945"/>
                <a:gd name="connsiteY0" fmla="*/ 0 h 1192"/>
                <a:gd name="connsiteX1" fmla="*/ 335946 w 335945"/>
                <a:gd name="connsiteY1" fmla="*/ 0 h 11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35945" h="1192">
                  <a:moveTo>
                    <a:pt x="0" y="0"/>
                  </a:moveTo>
                  <a:lnTo>
                    <a:pt x="335946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12" name="Forma livre: Forma 1211">
              <a:extLst>
                <a:ext uri="{FF2B5EF4-FFF2-40B4-BE49-F238E27FC236}">
                  <a16:creationId xmlns:a16="http://schemas.microsoft.com/office/drawing/2014/main" id="{F8078771-B79A-5F10-71E1-517760B01395}"/>
                </a:ext>
              </a:extLst>
            </p:cNvPr>
            <p:cNvSpPr/>
            <p:nvPr/>
          </p:nvSpPr>
          <p:spPr>
            <a:xfrm>
              <a:off x="9714345" y="2888512"/>
              <a:ext cx="12621" cy="1192"/>
            </a:xfrm>
            <a:custGeom>
              <a:avLst/>
              <a:gdLst>
                <a:gd name="connsiteX0" fmla="*/ 0 w 12621"/>
                <a:gd name="connsiteY0" fmla="*/ 0 h 1192"/>
                <a:gd name="connsiteX1" fmla="*/ 12621 w 12621"/>
                <a:gd name="connsiteY1" fmla="*/ 0 h 11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621" h="1192">
                  <a:moveTo>
                    <a:pt x="0" y="0"/>
                  </a:moveTo>
                  <a:lnTo>
                    <a:pt x="12621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213" name="Forma livre: Forma 1212">
              <a:extLst>
                <a:ext uri="{FF2B5EF4-FFF2-40B4-BE49-F238E27FC236}">
                  <a16:creationId xmlns:a16="http://schemas.microsoft.com/office/drawing/2014/main" id="{97C8CDE1-36ED-A43F-4D57-6EB8DDB29B72}"/>
                </a:ext>
              </a:extLst>
            </p:cNvPr>
            <p:cNvSpPr/>
            <p:nvPr/>
          </p:nvSpPr>
          <p:spPr>
            <a:xfrm>
              <a:off x="10022412" y="2736066"/>
              <a:ext cx="48851" cy="50354"/>
            </a:xfrm>
            <a:custGeom>
              <a:avLst/>
              <a:gdLst>
                <a:gd name="connsiteX0" fmla="*/ 48851 w 48851"/>
                <a:gd name="connsiteY0" fmla="*/ 0 h 50354"/>
                <a:gd name="connsiteX1" fmla="*/ 9544 w 48851"/>
                <a:gd name="connsiteY1" fmla="*/ 0 h 50354"/>
                <a:gd name="connsiteX2" fmla="*/ 0 w 48851"/>
                <a:gd name="connsiteY2" fmla="*/ 10140 h 50354"/>
                <a:gd name="connsiteX3" fmla="*/ 0 w 48851"/>
                <a:gd name="connsiteY3" fmla="*/ 10140 h 50354"/>
                <a:gd name="connsiteX4" fmla="*/ 9544 w 48851"/>
                <a:gd name="connsiteY4" fmla="*/ 20280 h 50354"/>
                <a:gd name="connsiteX5" fmla="*/ 25768 w 48851"/>
                <a:gd name="connsiteY5" fmla="*/ 20280 h 50354"/>
                <a:gd name="connsiteX6" fmla="*/ 35311 w 48851"/>
                <a:gd name="connsiteY6" fmla="*/ 28989 h 50354"/>
                <a:gd name="connsiteX7" fmla="*/ 35311 w 48851"/>
                <a:gd name="connsiteY7" fmla="*/ 28989 h 50354"/>
                <a:gd name="connsiteX8" fmla="*/ 25768 w 48851"/>
                <a:gd name="connsiteY8" fmla="*/ 37697 h 50354"/>
                <a:gd name="connsiteX9" fmla="*/ 19326 w 48851"/>
                <a:gd name="connsiteY9" fmla="*/ 37697 h 50354"/>
                <a:gd name="connsiteX10" fmla="*/ 9782 w 48851"/>
                <a:gd name="connsiteY10" fmla="*/ 47241 h 50354"/>
                <a:gd name="connsiteX11" fmla="*/ 9782 w 48851"/>
                <a:gd name="connsiteY11" fmla="*/ 50354 h 503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48851" h="50354">
                  <a:moveTo>
                    <a:pt x="48851" y="0"/>
                  </a:moveTo>
                  <a:lnTo>
                    <a:pt x="9544" y="0"/>
                  </a:lnTo>
                  <a:cubicBezTo>
                    <a:pt x="4295" y="0"/>
                    <a:pt x="0" y="4891"/>
                    <a:pt x="0" y="10140"/>
                  </a:cubicBezTo>
                  <a:lnTo>
                    <a:pt x="0" y="10140"/>
                  </a:lnTo>
                  <a:cubicBezTo>
                    <a:pt x="0" y="15389"/>
                    <a:pt x="4295" y="20280"/>
                    <a:pt x="9544" y="20280"/>
                  </a:cubicBezTo>
                  <a:lnTo>
                    <a:pt x="25768" y="20280"/>
                  </a:lnTo>
                  <a:cubicBezTo>
                    <a:pt x="31017" y="20280"/>
                    <a:pt x="35311" y="23740"/>
                    <a:pt x="35311" y="28989"/>
                  </a:cubicBezTo>
                  <a:lnTo>
                    <a:pt x="35311" y="28989"/>
                  </a:lnTo>
                  <a:cubicBezTo>
                    <a:pt x="35311" y="34238"/>
                    <a:pt x="31017" y="37697"/>
                    <a:pt x="25768" y="37697"/>
                  </a:cubicBezTo>
                  <a:lnTo>
                    <a:pt x="19326" y="37697"/>
                  </a:lnTo>
                  <a:cubicBezTo>
                    <a:pt x="14077" y="37697"/>
                    <a:pt x="9782" y="41992"/>
                    <a:pt x="9782" y="47241"/>
                  </a:cubicBezTo>
                  <a:lnTo>
                    <a:pt x="9782" y="50354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214" name="Gráfico 11">
            <a:extLst>
              <a:ext uri="{FF2B5EF4-FFF2-40B4-BE49-F238E27FC236}">
                <a16:creationId xmlns:a16="http://schemas.microsoft.com/office/drawing/2014/main" id="{E0B1681A-E65D-F29D-9B59-85FA1B1EEED6}"/>
              </a:ext>
            </a:extLst>
          </p:cNvPr>
          <p:cNvGrpSpPr/>
          <p:nvPr/>
        </p:nvGrpSpPr>
        <p:grpSpPr>
          <a:xfrm>
            <a:off x="9771464" y="987039"/>
            <a:ext cx="259764" cy="316262"/>
            <a:chOff x="9771464" y="987039"/>
            <a:chExt cx="259764" cy="316262"/>
          </a:xfrm>
          <a:noFill/>
        </p:grpSpPr>
        <p:grpSp>
          <p:nvGrpSpPr>
            <p:cNvPr id="1215" name="Gráfico 11">
              <a:extLst>
                <a:ext uri="{FF2B5EF4-FFF2-40B4-BE49-F238E27FC236}">
                  <a16:creationId xmlns:a16="http://schemas.microsoft.com/office/drawing/2014/main" id="{B889BA0C-E730-7F95-9D2E-136928FF6299}"/>
                </a:ext>
              </a:extLst>
            </p:cNvPr>
            <p:cNvGrpSpPr/>
            <p:nvPr/>
          </p:nvGrpSpPr>
          <p:grpSpPr>
            <a:xfrm>
              <a:off x="9777607" y="987039"/>
              <a:ext cx="253620" cy="175100"/>
              <a:chOff x="9777607" y="987039"/>
              <a:chExt cx="253620" cy="175100"/>
            </a:xfrm>
            <a:noFill/>
          </p:grpSpPr>
          <p:sp>
            <p:nvSpPr>
              <p:cNvPr id="1216" name="Forma livre: Forma 1215">
                <a:extLst>
                  <a:ext uri="{FF2B5EF4-FFF2-40B4-BE49-F238E27FC236}">
                    <a16:creationId xmlns:a16="http://schemas.microsoft.com/office/drawing/2014/main" id="{56D6D444-49E2-F87D-4CDC-567E9E09971A}"/>
                  </a:ext>
                </a:extLst>
              </p:cNvPr>
              <p:cNvSpPr/>
              <p:nvPr/>
            </p:nvSpPr>
            <p:spPr>
              <a:xfrm>
                <a:off x="9907901" y="1089227"/>
                <a:ext cx="123326" cy="71815"/>
              </a:xfrm>
              <a:custGeom>
                <a:avLst/>
                <a:gdLst>
                  <a:gd name="connsiteX0" fmla="*/ 88397 w 123326"/>
                  <a:gd name="connsiteY0" fmla="*/ 71815 h 71815"/>
                  <a:gd name="connsiteX1" fmla="*/ 123327 w 123326"/>
                  <a:gd name="connsiteY1" fmla="*/ 0 h 71815"/>
                  <a:gd name="connsiteX2" fmla="*/ 34929 w 123326"/>
                  <a:gd name="connsiteY2" fmla="*/ 0 h 71815"/>
                  <a:gd name="connsiteX3" fmla="*/ 0 w 123326"/>
                  <a:gd name="connsiteY3" fmla="*/ 71815 h 718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23326" h="71815">
                    <a:moveTo>
                      <a:pt x="88397" y="71815"/>
                    </a:moveTo>
                    <a:lnTo>
                      <a:pt x="123327" y="0"/>
                    </a:lnTo>
                    <a:lnTo>
                      <a:pt x="34929" y="0"/>
                    </a:lnTo>
                    <a:lnTo>
                      <a:pt x="0" y="71815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17" name="Forma livre: Forma 1216">
                <a:extLst>
                  <a:ext uri="{FF2B5EF4-FFF2-40B4-BE49-F238E27FC236}">
                    <a16:creationId xmlns:a16="http://schemas.microsoft.com/office/drawing/2014/main" id="{3233B219-AB5F-B205-EF93-D8E8F4707249}"/>
                  </a:ext>
                </a:extLst>
              </p:cNvPr>
              <p:cNvSpPr/>
              <p:nvPr/>
            </p:nvSpPr>
            <p:spPr>
              <a:xfrm>
                <a:off x="9777607" y="1162140"/>
                <a:ext cx="244947" cy="1192"/>
              </a:xfrm>
              <a:custGeom>
                <a:avLst/>
                <a:gdLst>
                  <a:gd name="connsiteX0" fmla="*/ 0 w 244947"/>
                  <a:gd name="connsiteY0" fmla="*/ 0 h 1192"/>
                  <a:gd name="connsiteX1" fmla="*/ 244948 w 244947"/>
                  <a:gd name="connsiteY1" fmla="*/ 0 h 11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44947" h="1192">
                    <a:moveTo>
                      <a:pt x="0" y="0"/>
                    </a:moveTo>
                    <a:lnTo>
                      <a:pt x="244948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1218" name="Gráfico 11">
                <a:extLst>
                  <a:ext uri="{FF2B5EF4-FFF2-40B4-BE49-F238E27FC236}">
                    <a16:creationId xmlns:a16="http://schemas.microsoft.com/office/drawing/2014/main" id="{C2D78A2D-B3D9-8E94-506C-7A3126C560B2}"/>
                  </a:ext>
                </a:extLst>
              </p:cNvPr>
              <p:cNvGrpSpPr/>
              <p:nvPr/>
            </p:nvGrpSpPr>
            <p:grpSpPr>
              <a:xfrm>
                <a:off x="9798961" y="987039"/>
                <a:ext cx="113270" cy="175100"/>
                <a:chOff x="9798961" y="987039"/>
                <a:chExt cx="113270" cy="175100"/>
              </a:xfrm>
              <a:noFill/>
            </p:grpSpPr>
            <p:sp>
              <p:nvSpPr>
                <p:cNvPr id="1219" name="Forma livre: Forma 1218">
                  <a:extLst>
                    <a:ext uri="{FF2B5EF4-FFF2-40B4-BE49-F238E27FC236}">
                      <a16:creationId xmlns:a16="http://schemas.microsoft.com/office/drawing/2014/main" id="{4CB88643-24F4-A586-9EDF-D69555925FAD}"/>
                    </a:ext>
                  </a:extLst>
                </p:cNvPr>
                <p:cNvSpPr/>
                <p:nvPr/>
              </p:nvSpPr>
              <p:spPr>
                <a:xfrm>
                  <a:off x="9833437" y="987039"/>
                  <a:ext cx="51356" cy="61782"/>
                </a:xfrm>
                <a:custGeom>
                  <a:avLst/>
                  <a:gdLst>
                    <a:gd name="connsiteX0" fmla="*/ 51356 w 51356"/>
                    <a:gd name="connsiteY0" fmla="*/ 35717 h 61782"/>
                    <a:gd name="connsiteX1" fmla="*/ 25672 w 51356"/>
                    <a:gd name="connsiteY1" fmla="*/ 61783 h 61782"/>
                    <a:gd name="connsiteX2" fmla="*/ 0 w 51356"/>
                    <a:gd name="connsiteY2" fmla="*/ 35717 h 61782"/>
                    <a:gd name="connsiteX3" fmla="*/ 0 w 51356"/>
                    <a:gd name="connsiteY3" fmla="*/ 26054 h 61782"/>
                    <a:gd name="connsiteX4" fmla="*/ 25672 w 51356"/>
                    <a:gd name="connsiteY4" fmla="*/ 0 h 61782"/>
                    <a:gd name="connsiteX5" fmla="*/ 51356 w 51356"/>
                    <a:gd name="connsiteY5" fmla="*/ 26054 h 61782"/>
                    <a:gd name="connsiteX6" fmla="*/ 51356 w 51356"/>
                    <a:gd name="connsiteY6" fmla="*/ 35717 h 6178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51356" h="61782">
                      <a:moveTo>
                        <a:pt x="51356" y="35717"/>
                      </a:moveTo>
                      <a:cubicBezTo>
                        <a:pt x="51356" y="50056"/>
                        <a:pt x="39797" y="61783"/>
                        <a:pt x="25672" y="61783"/>
                      </a:cubicBezTo>
                      <a:cubicBezTo>
                        <a:pt x="11548" y="61783"/>
                        <a:pt x="0" y="50056"/>
                        <a:pt x="0" y="35717"/>
                      </a:cubicBezTo>
                      <a:lnTo>
                        <a:pt x="0" y="26054"/>
                      </a:lnTo>
                      <a:cubicBezTo>
                        <a:pt x="0" y="11727"/>
                        <a:pt x="11560" y="0"/>
                        <a:pt x="25672" y="0"/>
                      </a:cubicBezTo>
                      <a:cubicBezTo>
                        <a:pt x="39785" y="0"/>
                        <a:pt x="51356" y="11727"/>
                        <a:pt x="51356" y="26054"/>
                      </a:cubicBezTo>
                      <a:lnTo>
                        <a:pt x="51356" y="35717"/>
                      </a:lnTo>
                      <a:close/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220" name="Forma livre: Forma 1219">
                  <a:extLst>
                    <a:ext uri="{FF2B5EF4-FFF2-40B4-BE49-F238E27FC236}">
                      <a16:creationId xmlns:a16="http://schemas.microsoft.com/office/drawing/2014/main" id="{332999B9-6435-3887-354F-625581450CD4}"/>
                    </a:ext>
                  </a:extLst>
                </p:cNvPr>
                <p:cNvSpPr/>
                <p:nvPr/>
              </p:nvSpPr>
              <p:spPr>
                <a:xfrm>
                  <a:off x="9833544" y="1100119"/>
                  <a:ext cx="54446" cy="62021"/>
                </a:xfrm>
                <a:custGeom>
                  <a:avLst/>
                  <a:gdLst>
                    <a:gd name="connsiteX0" fmla="*/ 54446 w 54446"/>
                    <a:gd name="connsiteY0" fmla="*/ 62021 h 62021"/>
                    <a:gd name="connsiteX1" fmla="*/ 36349 w 54446"/>
                    <a:gd name="connsiteY1" fmla="*/ 33176 h 62021"/>
                    <a:gd name="connsiteX2" fmla="*/ 0 w 54446"/>
                    <a:gd name="connsiteY2" fmla="*/ 33176 h 62021"/>
                    <a:gd name="connsiteX3" fmla="*/ 0 w 54446"/>
                    <a:gd name="connsiteY3" fmla="*/ 0 h 6202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54446" h="62021">
                      <a:moveTo>
                        <a:pt x="54446" y="62021"/>
                      </a:moveTo>
                      <a:cubicBezTo>
                        <a:pt x="54446" y="33570"/>
                        <a:pt x="36349" y="33176"/>
                        <a:pt x="36349" y="33176"/>
                      </a:cubicBezTo>
                      <a:lnTo>
                        <a:pt x="0" y="33176"/>
                      </a:lnTo>
                      <a:lnTo>
                        <a:pt x="0" y="0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221" name="Forma livre: Forma 1220">
                  <a:extLst>
                    <a:ext uri="{FF2B5EF4-FFF2-40B4-BE49-F238E27FC236}">
                      <a16:creationId xmlns:a16="http://schemas.microsoft.com/office/drawing/2014/main" id="{487C3E39-DB72-1EE5-C51D-85317422F5DE}"/>
                    </a:ext>
                  </a:extLst>
                </p:cNvPr>
                <p:cNvSpPr/>
                <p:nvPr/>
              </p:nvSpPr>
              <p:spPr>
                <a:xfrm>
                  <a:off x="9798961" y="1067146"/>
                  <a:ext cx="113270" cy="94994"/>
                </a:xfrm>
                <a:custGeom>
                  <a:avLst/>
                  <a:gdLst>
                    <a:gd name="connsiteX0" fmla="*/ 113270 w 113270"/>
                    <a:gd name="connsiteY0" fmla="*/ 30158 h 94994"/>
                    <a:gd name="connsiteX1" fmla="*/ 83113 w 113270"/>
                    <a:gd name="connsiteY1" fmla="*/ 0 h 94994"/>
                    <a:gd name="connsiteX2" fmla="*/ 79343 w 113270"/>
                    <a:gd name="connsiteY2" fmla="*/ 0 h 94994"/>
                    <a:gd name="connsiteX3" fmla="*/ 61150 w 113270"/>
                    <a:gd name="connsiteY3" fmla="*/ 9365 h 94994"/>
                    <a:gd name="connsiteX4" fmla="*/ 42958 w 113270"/>
                    <a:gd name="connsiteY4" fmla="*/ 0 h 94994"/>
                    <a:gd name="connsiteX5" fmla="*/ 27402 w 113270"/>
                    <a:gd name="connsiteY5" fmla="*/ 0 h 94994"/>
                    <a:gd name="connsiteX6" fmla="*/ 0 w 113270"/>
                    <a:gd name="connsiteY6" fmla="*/ 30158 h 94994"/>
                    <a:gd name="connsiteX7" fmla="*/ 0 w 113270"/>
                    <a:gd name="connsiteY7" fmla="*/ 74392 h 94994"/>
                    <a:gd name="connsiteX8" fmla="*/ 25123 w 113270"/>
                    <a:gd name="connsiteY8" fmla="*/ 94994 h 9499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113270" h="94994">
                      <a:moveTo>
                        <a:pt x="113270" y="30158"/>
                      </a:moveTo>
                      <a:cubicBezTo>
                        <a:pt x="113270" y="13576"/>
                        <a:pt x="107031" y="0"/>
                        <a:pt x="83113" y="0"/>
                      </a:cubicBezTo>
                      <a:lnTo>
                        <a:pt x="79343" y="0"/>
                      </a:lnTo>
                      <a:cubicBezTo>
                        <a:pt x="76253" y="5511"/>
                        <a:pt x="69286" y="9365"/>
                        <a:pt x="61150" y="9365"/>
                      </a:cubicBezTo>
                      <a:cubicBezTo>
                        <a:pt x="53015" y="9365"/>
                        <a:pt x="46048" y="5511"/>
                        <a:pt x="42958" y="0"/>
                      </a:cubicBezTo>
                      <a:lnTo>
                        <a:pt x="27402" y="0"/>
                      </a:lnTo>
                      <a:cubicBezTo>
                        <a:pt x="10820" y="0"/>
                        <a:pt x="0" y="13576"/>
                        <a:pt x="0" y="30158"/>
                      </a:cubicBezTo>
                      <a:lnTo>
                        <a:pt x="0" y="74392"/>
                      </a:lnTo>
                      <a:cubicBezTo>
                        <a:pt x="0" y="90974"/>
                        <a:pt x="8541" y="94994"/>
                        <a:pt x="25123" y="94994"/>
                      </a:cubicBez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grpSp>
          <p:nvGrpSpPr>
            <p:cNvPr id="1222" name="Gráfico 11">
              <a:extLst>
                <a:ext uri="{FF2B5EF4-FFF2-40B4-BE49-F238E27FC236}">
                  <a16:creationId xmlns:a16="http://schemas.microsoft.com/office/drawing/2014/main" id="{D50F4502-4A14-6773-5753-008D0308FA74}"/>
                </a:ext>
              </a:extLst>
            </p:cNvPr>
            <p:cNvGrpSpPr/>
            <p:nvPr/>
          </p:nvGrpSpPr>
          <p:grpSpPr>
            <a:xfrm>
              <a:off x="9771464" y="1190079"/>
              <a:ext cx="254968" cy="113222"/>
              <a:chOff x="9771464" y="1190079"/>
              <a:chExt cx="254968" cy="113222"/>
            </a:xfrm>
            <a:noFill/>
          </p:grpSpPr>
          <p:sp>
            <p:nvSpPr>
              <p:cNvPr id="1223" name="Forma livre: Forma 1222">
                <a:extLst>
                  <a:ext uri="{FF2B5EF4-FFF2-40B4-BE49-F238E27FC236}">
                    <a16:creationId xmlns:a16="http://schemas.microsoft.com/office/drawing/2014/main" id="{44BD947B-AF19-4BBE-BC28-FCA7108084B4}"/>
                  </a:ext>
                </a:extLst>
              </p:cNvPr>
              <p:cNvSpPr/>
              <p:nvPr/>
            </p:nvSpPr>
            <p:spPr>
              <a:xfrm>
                <a:off x="9898942" y="1190079"/>
                <a:ext cx="1192" cy="49722"/>
              </a:xfrm>
              <a:custGeom>
                <a:avLst/>
                <a:gdLst>
                  <a:gd name="connsiteX0" fmla="*/ 0 w 1192"/>
                  <a:gd name="connsiteY0" fmla="*/ 0 h 49722"/>
                  <a:gd name="connsiteX1" fmla="*/ 0 w 1192"/>
                  <a:gd name="connsiteY1" fmla="*/ 49722 h 497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2" h="49722">
                    <a:moveTo>
                      <a:pt x="0" y="0"/>
                    </a:moveTo>
                    <a:lnTo>
                      <a:pt x="0" y="49722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1224" name="Gráfico 11">
                <a:extLst>
                  <a:ext uri="{FF2B5EF4-FFF2-40B4-BE49-F238E27FC236}">
                    <a16:creationId xmlns:a16="http://schemas.microsoft.com/office/drawing/2014/main" id="{7540AFEF-4AD9-827E-DC5F-41F89FFE53F4}"/>
                  </a:ext>
                </a:extLst>
              </p:cNvPr>
              <p:cNvGrpSpPr/>
              <p:nvPr/>
            </p:nvGrpSpPr>
            <p:grpSpPr>
              <a:xfrm>
                <a:off x="9771464" y="1265187"/>
                <a:ext cx="254968" cy="38114"/>
                <a:chOff x="9771464" y="1265187"/>
                <a:chExt cx="254968" cy="38114"/>
              </a:xfrm>
              <a:noFill/>
            </p:grpSpPr>
            <p:sp>
              <p:nvSpPr>
                <p:cNvPr id="1225" name="Forma livre: Forma 1224">
                  <a:extLst>
                    <a:ext uri="{FF2B5EF4-FFF2-40B4-BE49-F238E27FC236}">
                      <a16:creationId xmlns:a16="http://schemas.microsoft.com/office/drawing/2014/main" id="{A935B9C8-B750-A101-1369-CB3AE92C76C9}"/>
                    </a:ext>
                  </a:extLst>
                </p:cNvPr>
                <p:cNvSpPr/>
                <p:nvPr/>
              </p:nvSpPr>
              <p:spPr>
                <a:xfrm>
                  <a:off x="9988317" y="1265187"/>
                  <a:ext cx="38114" cy="38114"/>
                </a:xfrm>
                <a:custGeom>
                  <a:avLst/>
                  <a:gdLst>
                    <a:gd name="connsiteX0" fmla="*/ 19051 w 38114"/>
                    <a:gd name="connsiteY0" fmla="*/ 38115 h 38114"/>
                    <a:gd name="connsiteX1" fmla="*/ 0 w 38114"/>
                    <a:gd name="connsiteY1" fmla="*/ 19063 h 38114"/>
                    <a:gd name="connsiteX2" fmla="*/ 19051 w 38114"/>
                    <a:gd name="connsiteY2" fmla="*/ 0 h 38114"/>
                    <a:gd name="connsiteX3" fmla="*/ 38115 w 38114"/>
                    <a:gd name="connsiteY3" fmla="*/ 19063 h 38114"/>
                    <a:gd name="connsiteX4" fmla="*/ 19051 w 38114"/>
                    <a:gd name="connsiteY4" fmla="*/ 38115 h 3811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8114" h="38114">
                      <a:moveTo>
                        <a:pt x="19051" y="38115"/>
                      </a:moveTo>
                      <a:cubicBezTo>
                        <a:pt x="8530" y="38115"/>
                        <a:pt x="0" y="29597"/>
                        <a:pt x="0" y="19063"/>
                      </a:cubicBezTo>
                      <a:cubicBezTo>
                        <a:pt x="0" y="8530"/>
                        <a:pt x="8530" y="0"/>
                        <a:pt x="19051" y="0"/>
                      </a:cubicBezTo>
                      <a:cubicBezTo>
                        <a:pt x="29573" y="0"/>
                        <a:pt x="38115" y="8530"/>
                        <a:pt x="38115" y="19063"/>
                      </a:cubicBezTo>
                      <a:cubicBezTo>
                        <a:pt x="38115" y="29597"/>
                        <a:pt x="29585" y="38115"/>
                        <a:pt x="19051" y="38115"/>
                      </a:cubicBezTo>
                      <a:close/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226" name="Forma livre: Forma 1225">
                  <a:extLst>
                    <a:ext uri="{FF2B5EF4-FFF2-40B4-BE49-F238E27FC236}">
                      <a16:creationId xmlns:a16="http://schemas.microsoft.com/office/drawing/2014/main" id="{38513919-7B96-D62C-901C-B2F8CD699D12}"/>
                    </a:ext>
                  </a:extLst>
                </p:cNvPr>
                <p:cNvSpPr/>
                <p:nvPr/>
              </p:nvSpPr>
              <p:spPr>
                <a:xfrm>
                  <a:off x="9879878" y="1265187"/>
                  <a:ext cx="38126" cy="38114"/>
                </a:xfrm>
                <a:custGeom>
                  <a:avLst/>
                  <a:gdLst>
                    <a:gd name="connsiteX0" fmla="*/ 19063 w 38126"/>
                    <a:gd name="connsiteY0" fmla="*/ 38115 h 38114"/>
                    <a:gd name="connsiteX1" fmla="*/ 0 w 38126"/>
                    <a:gd name="connsiteY1" fmla="*/ 19063 h 38114"/>
                    <a:gd name="connsiteX2" fmla="*/ 19063 w 38126"/>
                    <a:gd name="connsiteY2" fmla="*/ 0 h 38114"/>
                    <a:gd name="connsiteX3" fmla="*/ 38127 w 38126"/>
                    <a:gd name="connsiteY3" fmla="*/ 19063 h 38114"/>
                    <a:gd name="connsiteX4" fmla="*/ 19063 w 38126"/>
                    <a:gd name="connsiteY4" fmla="*/ 38115 h 3811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8126" h="38114">
                      <a:moveTo>
                        <a:pt x="19063" y="38115"/>
                      </a:moveTo>
                      <a:cubicBezTo>
                        <a:pt x="8542" y="38115"/>
                        <a:pt x="0" y="29597"/>
                        <a:pt x="0" y="19063"/>
                      </a:cubicBezTo>
                      <a:cubicBezTo>
                        <a:pt x="0" y="8530"/>
                        <a:pt x="8530" y="0"/>
                        <a:pt x="19063" y="0"/>
                      </a:cubicBezTo>
                      <a:cubicBezTo>
                        <a:pt x="29597" y="0"/>
                        <a:pt x="38127" y="8530"/>
                        <a:pt x="38127" y="19063"/>
                      </a:cubicBezTo>
                      <a:cubicBezTo>
                        <a:pt x="38127" y="29597"/>
                        <a:pt x="29597" y="38115"/>
                        <a:pt x="19063" y="38115"/>
                      </a:cubicBezTo>
                      <a:close/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227" name="Forma livre: Forma 1226">
                  <a:extLst>
                    <a:ext uri="{FF2B5EF4-FFF2-40B4-BE49-F238E27FC236}">
                      <a16:creationId xmlns:a16="http://schemas.microsoft.com/office/drawing/2014/main" id="{28CD1C09-11A8-37B5-732D-20270E9CB686}"/>
                    </a:ext>
                  </a:extLst>
                </p:cNvPr>
                <p:cNvSpPr/>
                <p:nvPr/>
              </p:nvSpPr>
              <p:spPr>
                <a:xfrm>
                  <a:off x="9771464" y="1265187"/>
                  <a:ext cx="38114" cy="38114"/>
                </a:xfrm>
                <a:custGeom>
                  <a:avLst/>
                  <a:gdLst>
                    <a:gd name="connsiteX0" fmla="*/ 19051 w 38114"/>
                    <a:gd name="connsiteY0" fmla="*/ 38115 h 38114"/>
                    <a:gd name="connsiteX1" fmla="*/ 38115 w 38114"/>
                    <a:gd name="connsiteY1" fmla="*/ 19063 h 38114"/>
                    <a:gd name="connsiteX2" fmla="*/ 19051 w 38114"/>
                    <a:gd name="connsiteY2" fmla="*/ 0 h 38114"/>
                    <a:gd name="connsiteX3" fmla="*/ 0 w 38114"/>
                    <a:gd name="connsiteY3" fmla="*/ 19063 h 38114"/>
                    <a:gd name="connsiteX4" fmla="*/ 19051 w 38114"/>
                    <a:gd name="connsiteY4" fmla="*/ 38115 h 3811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8114" h="38114">
                      <a:moveTo>
                        <a:pt x="19051" y="38115"/>
                      </a:moveTo>
                      <a:cubicBezTo>
                        <a:pt x="29573" y="38115"/>
                        <a:pt x="38115" y="29597"/>
                        <a:pt x="38115" y="19063"/>
                      </a:cubicBezTo>
                      <a:cubicBezTo>
                        <a:pt x="38115" y="8530"/>
                        <a:pt x="29585" y="0"/>
                        <a:pt x="19051" y="0"/>
                      </a:cubicBezTo>
                      <a:cubicBezTo>
                        <a:pt x="8518" y="0"/>
                        <a:pt x="0" y="8530"/>
                        <a:pt x="0" y="19063"/>
                      </a:cubicBezTo>
                      <a:cubicBezTo>
                        <a:pt x="0" y="29597"/>
                        <a:pt x="8530" y="38115"/>
                        <a:pt x="19051" y="38115"/>
                      </a:cubicBezTo>
                      <a:close/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1228" name="Gráfico 11">
                <a:extLst>
                  <a:ext uri="{FF2B5EF4-FFF2-40B4-BE49-F238E27FC236}">
                    <a16:creationId xmlns:a16="http://schemas.microsoft.com/office/drawing/2014/main" id="{A4AC8020-454F-2D16-BB68-4F851E322D65}"/>
                  </a:ext>
                </a:extLst>
              </p:cNvPr>
              <p:cNvGrpSpPr/>
              <p:nvPr/>
            </p:nvGrpSpPr>
            <p:grpSpPr>
              <a:xfrm>
                <a:off x="9790002" y="1214105"/>
                <a:ext cx="217879" cy="25600"/>
                <a:chOff x="9790002" y="1214105"/>
                <a:chExt cx="217879" cy="25600"/>
              </a:xfrm>
              <a:noFill/>
            </p:grpSpPr>
            <p:sp>
              <p:nvSpPr>
                <p:cNvPr id="1229" name="Forma livre: Forma 1228">
                  <a:extLst>
                    <a:ext uri="{FF2B5EF4-FFF2-40B4-BE49-F238E27FC236}">
                      <a16:creationId xmlns:a16="http://schemas.microsoft.com/office/drawing/2014/main" id="{D137F832-AF4B-7761-DCFE-64D0235D1509}"/>
                    </a:ext>
                  </a:extLst>
                </p:cNvPr>
                <p:cNvSpPr/>
                <p:nvPr/>
              </p:nvSpPr>
              <p:spPr>
                <a:xfrm>
                  <a:off x="9922669" y="1214105"/>
                  <a:ext cx="85212" cy="25600"/>
                </a:xfrm>
                <a:custGeom>
                  <a:avLst/>
                  <a:gdLst>
                    <a:gd name="connsiteX0" fmla="*/ 85212 w 85212"/>
                    <a:gd name="connsiteY0" fmla="*/ 25601 h 25600"/>
                    <a:gd name="connsiteX1" fmla="*/ 85212 w 85212"/>
                    <a:gd name="connsiteY1" fmla="*/ 0 h 25600"/>
                    <a:gd name="connsiteX2" fmla="*/ 0 w 85212"/>
                    <a:gd name="connsiteY2" fmla="*/ 0 h 256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85212" h="25600">
                      <a:moveTo>
                        <a:pt x="85212" y="25601"/>
                      </a:moveTo>
                      <a:lnTo>
                        <a:pt x="85212" y="0"/>
                      </a:lnTo>
                      <a:lnTo>
                        <a:pt x="0" y="0"/>
                      </a:ln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230" name="Forma livre: Forma 1229">
                  <a:extLst>
                    <a:ext uri="{FF2B5EF4-FFF2-40B4-BE49-F238E27FC236}">
                      <a16:creationId xmlns:a16="http://schemas.microsoft.com/office/drawing/2014/main" id="{C3156264-69D5-2650-8490-07E0A188C35E}"/>
                    </a:ext>
                  </a:extLst>
                </p:cNvPr>
                <p:cNvSpPr/>
                <p:nvPr/>
              </p:nvSpPr>
              <p:spPr>
                <a:xfrm>
                  <a:off x="9790002" y="1214105"/>
                  <a:ext cx="85212" cy="25600"/>
                </a:xfrm>
                <a:custGeom>
                  <a:avLst/>
                  <a:gdLst>
                    <a:gd name="connsiteX0" fmla="*/ 0 w 85212"/>
                    <a:gd name="connsiteY0" fmla="*/ 25601 h 25600"/>
                    <a:gd name="connsiteX1" fmla="*/ 0 w 85212"/>
                    <a:gd name="connsiteY1" fmla="*/ 0 h 25600"/>
                    <a:gd name="connsiteX2" fmla="*/ 85212 w 85212"/>
                    <a:gd name="connsiteY2" fmla="*/ 0 h 256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85212" h="25600">
                      <a:moveTo>
                        <a:pt x="0" y="25601"/>
                      </a:moveTo>
                      <a:lnTo>
                        <a:pt x="0" y="0"/>
                      </a:lnTo>
                      <a:lnTo>
                        <a:pt x="85212" y="0"/>
                      </a:ln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</p:grpSp>
      <p:grpSp>
        <p:nvGrpSpPr>
          <p:cNvPr id="1231" name="Gráfico 11">
            <a:extLst>
              <a:ext uri="{FF2B5EF4-FFF2-40B4-BE49-F238E27FC236}">
                <a16:creationId xmlns:a16="http://schemas.microsoft.com/office/drawing/2014/main" id="{A22818A4-7E2F-1E59-6FDB-6A5D6D3CB04C}"/>
              </a:ext>
            </a:extLst>
          </p:cNvPr>
          <p:cNvGrpSpPr/>
          <p:nvPr/>
        </p:nvGrpSpPr>
        <p:grpSpPr>
          <a:xfrm>
            <a:off x="9732729" y="1542976"/>
            <a:ext cx="337222" cy="271132"/>
            <a:chOff x="9732729" y="1542976"/>
            <a:chExt cx="337222" cy="271132"/>
          </a:xfrm>
          <a:noFill/>
        </p:grpSpPr>
        <p:grpSp>
          <p:nvGrpSpPr>
            <p:cNvPr id="1232" name="Gráfico 11">
              <a:extLst>
                <a:ext uri="{FF2B5EF4-FFF2-40B4-BE49-F238E27FC236}">
                  <a16:creationId xmlns:a16="http://schemas.microsoft.com/office/drawing/2014/main" id="{C5598AA1-8E25-3174-479B-57D7685CD4D2}"/>
                </a:ext>
              </a:extLst>
            </p:cNvPr>
            <p:cNvGrpSpPr/>
            <p:nvPr/>
          </p:nvGrpSpPr>
          <p:grpSpPr>
            <a:xfrm>
              <a:off x="9732729" y="1542976"/>
              <a:ext cx="337222" cy="271132"/>
              <a:chOff x="9732729" y="1542976"/>
              <a:chExt cx="337222" cy="271132"/>
            </a:xfrm>
            <a:noFill/>
          </p:grpSpPr>
          <p:grpSp>
            <p:nvGrpSpPr>
              <p:cNvPr id="1233" name="Gráfico 11">
                <a:extLst>
                  <a:ext uri="{FF2B5EF4-FFF2-40B4-BE49-F238E27FC236}">
                    <a16:creationId xmlns:a16="http://schemas.microsoft.com/office/drawing/2014/main" id="{413D44E9-961A-1E0D-C486-F2F2458C7016}"/>
                  </a:ext>
                </a:extLst>
              </p:cNvPr>
              <p:cNvGrpSpPr/>
              <p:nvPr/>
            </p:nvGrpSpPr>
            <p:grpSpPr>
              <a:xfrm>
                <a:off x="9732729" y="1632125"/>
                <a:ext cx="267446" cy="181983"/>
                <a:chOff x="9732729" y="1632125"/>
                <a:chExt cx="267446" cy="181983"/>
              </a:xfrm>
              <a:noFill/>
            </p:grpSpPr>
            <p:sp>
              <p:nvSpPr>
                <p:cNvPr id="1234" name="Forma livre: Forma 1233">
                  <a:extLst>
                    <a:ext uri="{FF2B5EF4-FFF2-40B4-BE49-F238E27FC236}">
                      <a16:creationId xmlns:a16="http://schemas.microsoft.com/office/drawing/2014/main" id="{C1A8CA5D-89BB-9A9B-40A2-A75879E7DBD8}"/>
                    </a:ext>
                  </a:extLst>
                </p:cNvPr>
                <p:cNvSpPr/>
                <p:nvPr/>
              </p:nvSpPr>
              <p:spPr>
                <a:xfrm>
                  <a:off x="9871862" y="1738452"/>
                  <a:ext cx="128313" cy="74714"/>
                </a:xfrm>
                <a:custGeom>
                  <a:avLst/>
                  <a:gdLst>
                    <a:gd name="connsiteX0" fmla="*/ 91976 w 128313"/>
                    <a:gd name="connsiteY0" fmla="*/ 74714 h 74714"/>
                    <a:gd name="connsiteX1" fmla="*/ 128313 w 128313"/>
                    <a:gd name="connsiteY1" fmla="*/ 0 h 74714"/>
                    <a:gd name="connsiteX2" fmla="*/ 36337 w 128313"/>
                    <a:gd name="connsiteY2" fmla="*/ 0 h 74714"/>
                    <a:gd name="connsiteX3" fmla="*/ 0 w 128313"/>
                    <a:gd name="connsiteY3" fmla="*/ 74714 h 7471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28313" h="74714">
                      <a:moveTo>
                        <a:pt x="91976" y="74714"/>
                      </a:moveTo>
                      <a:lnTo>
                        <a:pt x="128313" y="0"/>
                      </a:lnTo>
                      <a:lnTo>
                        <a:pt x="36337" y="0"/>
                      </a:lnTo>
                      <a:lnTo>
                        <a:pt x="0" y="74714"/>
                      </a:ln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235" name="Forma livre: Forma 1234">
                  <a:extLst>
                    <a:ext uri="{FF2B5EF4-FFF2-40B4-BE49-F238E27FC236}">
                      <a16:creationId xmlns:a16="http://schemas.microsoft.com/office/drawing/2014/main" id="{36BA53D7-7FAD-0BBB-3D7D-98643A032E11}"/>
                    </a:ext>
                  </a:extLst>
                </p:cNvPr>
                <p:cNvSpPr/>
                <p:nvPr/>
              </p:nvSpPr>
              <p:spPr>
                <a:xfrm>
                  <a:off x="9732729" y="1814109"/>
                  <a:ext cx="265323" cy="1192"/>
                </a:xfrm>
                <a:custGeom>
                  <a:avLst/>
                  <a:gdLst>
                    <a:gd name="connsiteX0" fmla="*/ 0 w 265323"/>
                    <a:gd name="connsiteY0" fmla="*/ 0 h 1192"/>
                    <a:gd name="connsiteX1" fmla="*/ 265323 w 265323"/>
                    <a:gd name="connsiteY1" fmla="*/ 0 h 11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65323" h="1192">
                      <a:moveTo>
                        <a:pt x="0" y="0"/>
                      </a:moveTo>
                      <a:lnTo>
                        <a:pt x="265323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grpSp>
              <p:nvGrpSpPr>
                <p:cNvPr id="1236" name="Gráfico 11">
                  <a:extLst>
                    <a:ext uri="{FF2B5EF4-FFF2-40B4-BE49-F238E27FC236}">
                      <a16:creationId xmlns:a16="http://schemas.microsoft.com/office/drawing/2014/main" id="{49E6A7E7-A1DB-3E39-6028-1D55315BB279}"/>
                    </a:ext>
                  </a:extLst>
                </p:cNvPr>
                <p:cNvGrpSpPr/>
                <p:nvPr/>
              </p:nvGrpSpPr>
              <p:grpSpPr>
                <a:xfrm>
                  <a:off x="9763113" y="1632125"/>
                  <a:ext cx="117851" cy="181983"/>
                  <a:chOff x="9763113" y="1632125"/>
                  <a:chExt cx="117851" cy="181983"/>
                </a:xfrm>
                <a:noFill/>
              </p:grpSpPr>
              <p:sp>
                <p:nvSpPr>
                  <p:cNvPr id="1237" name="Forma livre: Forma 1236">
                    <a:extLst>
                      <a:ext uri="{FF2B5EF4-FFF2-40B4-BE49-F238E27FC236}">
                        <a16:creationId xmlns:a16="http://schemas.microsoft.com/office/drawing/2014/main" id="{FA3191F2-92C9-625E-D1FC-0C594D583F11}"/>
                      </a:ext>
                    </a:extLst>
                  </p:cNvPr>
                  <p:cNvSpPr/>
                  <p:nvPr/>
                </p:nvSpPr>
                <p:spPr>
                  <a:xfrm>
                    <a:off x="9798985" y="1632125"/>
                    <a:ext cx="53420" cy="64287"/>
                  </a:xfrm>
                  <a:custGeom>
                    <a:avLst/>
                    <a:gdLst>
                      <a:gd name="connsiteX0" fmla="*/ 53420 w 53420"/>
                      <a:gd name="connsiteY0" fmla="*/ 37172 h 64287"/>
                      <a:gd name="connsiteX1" fmla="*/ 26698 w 53420"/>
                      <a:gd name="connsiteY1" fmla="*/ 64288 h 64287"/>
                      <a:gd name="connsiteX2" fmla="*/ 0 w 53420"/>
                      <a:gd name="connsiteY2" fmla="*/ 37172 h 64287"/>
                      <a:gd name="connsiteX3" fmla="*/ 0 w 53420"/>
                      <a:gd name="connsiteY3" fmla="*/ 27116 h 64287"/>
                      <a:gd name="connsiteX4" fmla="*/ 26698 w 53420"/>
                      <a:gd name="connsiteY4" fmla="*/ 0 h 64287"/>
                      <a:gd name="connsiteX5" fmla="*/ 53420 w 53420"/>
                      <a:gd name="connsiteY5" fmla="*/ 27116 h 64287"/>
                      <a:gd name="connsiteX6" fmla="*/ 53420 w 53420"/>
                      <a:gd name="connsiteY6" fmla="*/ 37172 h 6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53420" h="64287">
                        <a:moveTo>
                          <a:pt x="53420" y="37172"/>
                        </a:moveTo>
                        <a:cubicBezTo>
                          <a:pt x="53420" y="52084"/>
                          <a:pt x="41395" y="64288"/>
                          <a:pt x="26698" y="64288"/>
                        </a:cubicBezTo>
                        <a:cubicBezTo>
                          <a:pt x="12001" y="64288"/>
                          <a:pt x="0" y="52084"/>
                          <a:pt x="0" y="37172"/>
                        </a:cubicBezTo>
                        <a:lnTo>
                          <a:pt x="0" y="27116"/>
                        </a:lnTo>
                        <a:cubicBezTo>
                          <a:pt x="0" y="12204"/>
                          <a:pt x="12013" y="0"/>
                          <a:pt x="26698" y="0"/>
                        </a:cubicBezTo>
                        <a:cubicBezTo>
                          <a:pt x="41383" y="0"/>
                          <a:pt x="53420" y="12204"/>
                          <a:pt x="53420" y="27116"/>
                        </a:cubicBezTo>
                        <a:lnTo>
                          <a:pt x="53420" y="37172"/>
                        </a:lnTo>
                        <a:close/>
                      </a:path>
                    </a:pathLst>
                  </a:custGeom>
                  <a:noFill/>
                  <a:ln w="6350" cap="flat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1238" name="Forma livre: Forma 1237">
                    <a:extLst>
                      <a:ext uri="{FF2B5EF4-FFF2-40B4-BE49-F238E27FC236}">
                        <a16:creationId xmlns:a16="http://schemas.microsoft.com/office/drawing/2014/main" id="{B55F9965-D85A-FF5F-7B32-A3965A766B54}"/>
                      </a:ext>
                    </a:extLst>
                  </p:cNvPr>
                  <p:cNvSpPr/>
                  <p:nvPr/>
                </p:nvSpPr>
                <p:spPr>
                  <a:xfrm>
                    <a:off x="9799080" y="1749773"/>
                    <a:ext cx="58144" cy="64335"/>
                  </a:xfrm>
                  <a:custGeom>
                    <a:avLst/>
                    <a:gdLst>
                      <a:gd name="connsiteX0" fmla="*/ 58144 w 58144"/>
                      <a:gd name="connsiteY0" fmla="*/ 64336 h 64335"/>
                      <a:gd name="connsiteX1" fmla="*/ 39320 w 58144"/>
                      <a:gd name="connsiteY1" fmla="*/ 34524 h 64335"/>
                      <a:gd name="connsiteX2" fmla="*/ 0 w 58144"/>
                      <a:gd name="connsiteY2" fmla="*/ 34524 h 64335"/>
                      <a:gd name="connsiteX3" fmla="*/ 0 w 58144"/>
                      <a:gd name="connsiteY3" fmla="*/ 0 h 6433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58144" h="64335">
                        <a:moveTo>
                          <a:pt x="58144" y="64336"/>
                        </a:moveTo>
                        <a:cubicBezTo>
                          <a:pt x="58144" y="34739"/>
                          <a:pt x="39320" y="34524"/>
                          <a:pt x="39320" y="34524"/>
                        </a:cubicBezTo>
                        <a:lnTo>
                          <a:pt x="0" y="34524"/>
                        </a:lnTo>
                        <a:lnTo>
                          <a:pt x="0" y="0"/>
                        </a:lnTo>
                      </a:path>
                    </a:pathLst>
                  </a:custGeom>
                  <a:noFill/>
                  <a:ln w="6350" cap="flat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1239" name="Forma livre: Forma 1238">
                    <a:extLst>
                      <a:ext uri="{FF2B5EF4-FFF2-40B4-BE49-F238E27FC236}">
                        <a16:creationId xmlns:a16="http://schemas.microsoft.com/office/drawing/2014/main" id="{0717BCE9-E6CD-F6ED-6B48-75E28EA790FF}"/>
                      </a:ext>
                    </a:extLst>
                  </p:cNvPr>
                  <p:cNvSpPr/>
                  <p:nvPr/>
                </p:nvSpPr>
                <p:spPr>
                  <a:xfrm>
                    <a:off x="9763113" y="1715488"/>
                    <a:ext cx="117851" cy="98620"/>
                  </a:xfrm>
                  <a:custGeom>
                    <a:avLst/>
                    <a:gdLst>
                      <a:gd name="connsiteX0" fmla="*/ 117851 w 117851"/>
                      <a:gd name="connsiteY0" fmla="*/ 31374 h 98620"/>
                      <a:gd name="connsiteX1" fmla="*/ 86477 w 117851"/>
                      <a:gd name="connsiteY1" fmla="*/ 0 h 98620"/>
                      <a:gd name="connsiteX2" fmla="*/ 82552 w 117851"/>
                      <a:gd name="connsiteY2" fmla="*/ 0 h 98620"/>
                      <a:gd name="connsiteX3" fmla="*/ 63620 w 117851"/>
                      <a:gd name="connsiteY3" fmla="*/ 9734 h 98620"/>
                      <a:gd name="connsiteX4" fmla="*/ 44688 w 117851"/>
                      <a:gd name="connsiteY4" fmla="*/ 0 h 98620"/>
                      <a:gd name="connsiteX5" fmla="*/ 28511 w 117851"/>
                      <a:gd name="connsiteY5" fmla="*/ 0 h 98620"/>
                      <a:gd name="connsiteX6" fmla="*/ 0 w 117851"/>
                      <a:gd name="connsiteY6" fmla="*/ 31374 h 98620"/>
                      <a:gd name="connsiteX7" fmla="*/ 0 w 117851"/>
                      <a:gd name="connsiteY7" fmla="*/ 77398 h 98620"/>
                      <a:gd name="connsiteX8" fmla="*/ 26137 w 117851"/>
                      <a:gd name="connsiteY8" fmla="*/ 98621 h 9862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117851" h="98620">
                        <a:moveTo>
                          <a:pt x="117851" y="31374"/>
                        </a:moveTo>
                        <a:cubicBezTo>
                          <a:pt x="117851" y="14124"/>
                          <a:pt x="111350" y="0"/>
                          <a:pt x="86477" y="0"/>
                        </a:cubicBezTo>
                        <a:lnTo>
                          <a:pt x="82552" y="0"/>
                        </a:lnTo>
                        <a:cubicBezTo>
                          <a:pt x="79343" y="5726"/>
                          <a:pt x="72090" y="9734"/>
                          <a:pt x="63620" y="9734"/>
                        </a:cubicBezTo>
                        <a:cubicBezTo>
                          <a:pt x="55150" y="9734"/>
                          <a:pt x="47897" y="5726"/>
                          <a:pt x="44688" y="0"/>
                        </a:cubicBezTo>
                        <a:lnTo>
                          <a:pt x="28511" y="0"/>
                        </a:lnTo>
                        <a:cubicBezTo>
                          <a:pt x="11261" y="0"/>
                          <a:pt x="0" y="14124"/>
                          <a:pt x="0" y="31374"/>
                        </a:cubicBezTo>
                        <a:lnTo>
                          <a:pt x="0" y="77398"/>
                        </a:lnTo>
                        <a:cubicBezTo>
                          <a:pt x="0" y="94648"/>
                          <a:pt x="8887" y="98621"/>
                          <a:pt x="26137" y="98621"/>
                        </a:cubicBezTo>
                      </a:path>
                    </a:pathLst>
                  </a:custGeom>
                  <a:noFill/>
                  <a:ln w="6350" cap="flat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</p:grpSp>
          <p:sp>
            <p:nvSpPr>
              <p:cNvPr id="1240" name="Forma livre: Forma 1239">
                <a:extLst>
                  <a:ext uri="{FF2B5EF4-FFF2-40B4-BE49-F238E27FC236}">
                    <a16:creationId xmlns:a16="http://schemas.microsoft.com/office/drawing/2014/main" id="{7DE89612-880F-97E9-8E87-CB34E5CB177E}"/>
                  </a:ext>
                </a:extLst>
              </p:cNvPr>
              <p:cNvSpPr/>
              <p:nvPr/>
            </p:nvSpPr>
            <p:spPr>
              <a:xfrm>
                <a:off x="9877338" y="1589501"/>
                <a:ext cx="71767" cy="86238"/>
              </a:xfrm>
              <a:custGeom>
                <a:avLst/>
                <a:gdLst>
                  <a:gd name="connsiteX0" fmla="*/ 71768 w 71767"/>
                  <a:gd name="connsiteY0" fmla="*/ 13170 h 86238"/>
                  <a:gd name="connsiteX1" fmla="*/ 41503 w 71767"/>
                  <a:gd name="connsiteY1" fmla="*/ 0 h 86238"/>
                  <a:gd name="connsiteX2" fmla="*/ 39403 w 71767"/>
                  <a:gd name="connsiteY2" fmla="*/ 72 h 86238"/>
                  <a:gd name="connsiteX3" fmla="*/ 0 w 71767"/>
                  <a:gd name="connsiteY3" fmla="*/ 42338 h 86238"/>
                  <a:gd name="connsiteX4" fmla="*/ 0 w 71767"/>
                  <a:gd name="connsiteY4" fmla="*/ 43948 h 86238"/>
                  <a:gd name="connsiteX5" fmla="*/ 38699 w 71767"/>
                  <a:gd name="connsiteY5" fmla="*/ 86238 h 86238"/>
                  <a:gd name="connsiteX6" fmla="*/ 70324 w 71767"/>
                  <a:gd name="connsiteY6" fmla="*/ 86238 h 862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71767" h="86238">
                    <a:moveTo>
                      <a:pt x="71768" y="13170"/>
                    </a:moveTo>
                    <a:cubicBezTo>
                      <a:pt x="62785" y="3817"/>
                      <a:pt x="54995" y="0"/>
                      <a:pt x="41503" y="0"/>
                    </a:cubicBezTo>
                    <a:lnTo>
                      <a:pt x="39403" y="72"/>
                    </a:lnTo>
                    <a:cubicBezTo>
                      <a:pt x="17477" y="1610"/>
                      <a:pt x="0" y="20030"/>
                      <a:pt x="0" y="42338"/>
                    </a:cubicBezTo>
                    <a:lnTo>
                      <a:pt x="0" y="43948"/>
                    </a:lnTo>
                    <a:cubicBezTo>
                      <a:pt x="0" y="66018"/>
                      <a:pt x="17322" y="86238"/>
                      <a:pt x="38699" y="86238"/>
                    </a:cubicBezTo>
                    <a:lnTo>
                      <a:pt x="70324" y="86238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41" name="Forma livre: Forma 1240">
                <a:extLst>
                  <a:ext uri="{FF2B5EF4-FFF2-40B4-BE49-F238E27FC236}">
                    <a16:creationId xmlns:a16="http://schemas.microsoft.com/office/drawing/2014/main" id="{FC02AA2E-52D9-4677-0C21-591EB5EF2B3E}"/>
                  </a:ext>
                </a:extLst>
              </p:cNvPr>
              <p:cNvSpPr/>
              <p:nvPr/>
            </p:nvSpPr>
            <p:spPr>
              <a:xfrm>
                <a:off x="9946624" y="1617869"/>
                <a:ext cx="54028" cy="26889"/>
              </a:xfrm>
              <a:custGeom>
                <a:avLst/>
                <a:gdLst>
                  <a:gd name="connsiteX0" fmla="*/ 54029 w 54028"/>
                  <a:gd name="connsiteY0" fmla="*/ 26889 h 26889"/>
                  <a:gd name="connsiteX1" fmla="*/ 27008 w 54028"/>
                  <a:gd name="connsiteY1" fmla="*/ 0 h 26889"/>
                  <a:gd name="connsiteX2" fmla="*/ 0 w 54028"/>
                  <a:gd name="connsiteY2" fmla="*/ 26889 h 268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54028" h="26889">
                    <a:moveTo>
                      <a:pt x="54029" y="26889"/>
                    </a:moveTo>
                    <a:lnTo>
                      <a:pt x="27008" y="0"/>
                    </a:lnTo>
                    <a:lnTo>
                      <a:pt x="0" y="26889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42" name="Forma livre: Forma 1241">
                <a:extLst>
                  <a:ext uri="{FF2B5EF4-FFF2-40B4-BE49-F238E27FC236}">
                    <a16:creationId xmlns:a16="http://schemas.microsoft.com/office/drawing/2014/main" id="{97C24ECF-4417-1B4F-7FE7-66E3BC6BD199}"/>
                  </a:ext>
                </a:extLst>
              </p:cNvPr>
              <p:cNvSpPr/>
              <p:nvPr/>
            </p:nvSpPr>
            <p:spPr>
              <a:xfrm>
                <a:off x="9935422" y="1542976"/>
                <a:ext cx="134528" cy="132763"/>
              </a:xfrm>
              <a:custGeom>
                <a:avLst/>
                <a:gdLst>
                  <a:gd name="connsiteX0" fmla="*/ 38234 w 134528"/>
                  <a:gd name="connsiteY0" fmla="*/ 76158 h 132763"/>
                  <a:gd name="connsiteX1" fmla="*/ 38234 w 134528"/>
                  <a:gd name="connsiteY1" fmla="*/ 132763 h 132763"/>
                  <a:gd name="connsiteX2" fmla="*/ 92167 w 134528"/>
                  <a:gd name="connsiteY2" fmla="*/ 132763 h 132763"/>
                  <a:gd name="connsiteX3" fmla="*/ 134529 w 134528"/>
                  <a:gd name="connsiteY3" fmla="*/ 90473 h 132763"/>
                  <a:gd name="connsiteX4" fmla="*/ 134529 w 134528"/>
                  <a:gd name="connsiteY4" fmla="*/ 88863 h 132763"/>
                  <a:gd name="connsiteX5" fmla="*/ 92167 w 134528"/>
                  <a:gd name="connsiteY5" fmla="*/ 46489 h 132763"/>
                  <a:gd name="connsiteX6" fmla="*/ 81395 w 134528"/>
                  <a:gd name="connsiteY6" fmla="*/ 46489 h 132763"/>
                  <a:gd name="connsiteX7" fmla="*/ 81395 w 134528"/>
                  <a:gd name="connsiteY7" fmla="*/ 43173 h 132763"/>
                  <a:gd name="connsiteX8" fmla="*/ 38234 w 134528"/>
                  <a:gd name="connsiteY8" fmla="*/ 0 h 132763"/>
                  <a:gd name="connsiteX9" fmla="*/ 0 w 134528"/>
                  <a:gd name="connsiteY9" fmla="*/ 23131 h 1327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34528" h="132763">
                    <a:moveTo>
                      <a:pt x="38234" y="76158"/>
                    </a:moveTo>
                    <a:lnTo>
                      <a:pt x="38234" y="132763"/>
                    </a:lnTo>
                    <a:lnTo>
                      <a:pt x="92167" y="132763"/>
                    </a:lnTo>
                    <a:cubicBezTo>
                      <a:pt x="115465" y="132763"/>
                      <a:pt x="134529" y="113771"/>
                      <a:pt x="134529" y="90473"/>
                    </a:cubicBezTo>
                    <a:lnTo>
                      <a:pt x="134529" y="88863"/>
                    </a:lnTo>
                    <a:cubicBezTo>
                      <a:pt x="134529" y="65564"/>
                      <a:pt x="115465" y="46489"/>
                      <a:pt x="92167" y="46489"/>
                    </a:cubicBezTo>
                    <a:lnTo>
                      <a:pt x="81395" y="46489"/>
                    </a:lnTo>
                    <a:lnTo>
                      <a:pt x="81395" y="43173"/>
                    </a:lnTo>
                    <a:cubicBezTo>
                      <a:pt x="81395" y="19326"/>
                      <a:pt x="62069" y="0"/>
                      <a:pt x="38234" y="0"/>
                    </a:cubicBezTo>
                    <a:cubicBezTo>
                      <a:pt x="21640" y="0"/>
                      <a:pt x="7217" y="9377"/>
                      <a:pt x="0" y="23131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243" name="Forma livre: Forma 1242">
              <a:extLst>
                <a:ext uri="{FF2B5EF4-FFF2-40B4-BE49-F238E27FC236}">
                  <a16:creationId xmlns:a16="http://schemas.microsoft.com/office/drawing/2014/main" id="{49E0244D-1B1D-08E0-9396-F68D47D34AF5}"/>
                </a:ext>
              </a:extLst>
            </p:cNvPr>
            <p:cNvSpPr/>
            <p:nvPr/>
          </p:nvSpPr>
          <p:spPr>
            <a:xfrm>
              <a:off x="10017425" y="1814109"/>
              <a:ext cx="12883" cy="1192"/>
            </a:xfrm>
            <a:custGeom>
              <a:avLst/>
              <a:gdLst>
                <a:gd name="connsiteX0" fmla="*/ 0 w 12883"/>
                <a:gd name="connsiteY0" fmla="*/ 0 h 1192"/>
                <a:gd name="connsiteX1" fmla="*/ 12884 w 12883"/>
                <a:gd name="connsiteY1" fmla="*/ 0 h 11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83" h="1192">
                  <a:moveTo>
                    <a:pt x="0" y="0"/>
                  </a:moveTo>
                  <a:lnTo>
                    <a:pt x="12884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245" name="Gráfico 13">
            <a:extLst>
              <a:ext uri="{FF2B5EF4-FFF2-40B4-BE49-F238E27FC236}">
                <a16:creationId xmlns:a16="http://schemas.microsoft.com/office/drawing/2014/main" id="{D90955BC-47C9-7E1D-A177-2988AC8EA9EF}"/>
              </a:ext>
            </a:extLst>
          </p:cNvPr>
          <p:cNvGrpSpPr/>
          <p:nvPr/>
        </p:nvGrpSpPr>
        <p:grpSpPr>
          <a:xfrm>
            <a:off x="737666" y="5740534"/>
            <a:ext cx="352333" cy="217108"/>
            <a:chOff x="737666" y="5740534"/>
            <a:chExt cx="352333" cy="217108"/>
          </a:xfrm>
          <a:noFill/>
        </p:grpSpPr>
        <p:grpSp>
          <p:nvGrpSpPr>
            <p:cNvPr id="1246" name="Gráfico 13">
              <a:extLst>
                <a:ext uri="{FF2B5EF4-FFF2-40B4-BE49-F238E27FC236}">
                  <a16:creationId xmlns:a16="http://schemas.microsoft.com/office/drawing/2014/main" id="{E451CDC9-5F2E-77D3-B99D-D66B47BF29A5}"/>
                </a:ext>
              </a:extLst>
            </p:cNvPr>
            <p:cNvGrpSpPr/>
            <p:nvPr/>
          </p:nvGrpSpPr>
          <p:grpSpPr>
            <a:xfrm>
              <a:off x="1000960" y="5796615"/>
              <a:ext cx="89038" cy="161027"/>
              <a:chOff x="1000960" y="5796615"/>
              <a:chExt cx="89038" cy="161027"/>
            </a:xfrm>
            <a:noFill/>
          </p:grpSpPr>
          <p:sp>
            <p:nvSpPr>
              <p:cNvPr id="1247" name="Forma livre: Forma 1246">
                <a:extLst>
                  <a:ext uri="{FF2B5EF4-FFF2-40B4-BE49-F238E27FC236}">
                    <a16:creationId xmlns:a16="http://schemas.microsoft.com/office/drawing/2014/main" id="{2FBF1955-D4DB-3E93-810A-A0483A40B64D}"/>
                  </a:ext>
                </a:extLst>
              </p:cNvPr>
              <p:cNvSpPr/>
              <p:nvPr/>
            </p:nvSpPr>
            <p:spPr>
              <a:xfrm>
                <a:off x="1000960" y="5796615"/>
                <a:ext cx="89038" cy="161027"/>
              </a:xfrm>
              <a:custGeom>
                <a:avLst/>
                <a:gdLst>
                  <a:gd name="connsiteX0" fmla="*/ 89039 w 89038"/>
                  <a:gd name="connsiteY0" fmla="*/ 153511 h 161027"/>
                  <a:gd name="connsiteX1" fmla="*/ 81755 w 89038"/>
                  <a:gd name="connsiteY1" fmla="*/ 161028 h 161027"/>
                  <a:gd name="connsiteX2" fmla="*/ 7284 w 89038"/>
                  <a:gd name="connsiteY2" fmla="*/ 161028 h 161027"/>
                  <a:gd name="connsiteX3" fmla="*/ 0 w 89038"/>
                  <a:gd name="connsiteY3" fmla="*/ 153511 h 161027"/>
                  <a:gd name="connsiteX4" fmla="*/ 0 w 89038"/>
                  <a:gd name="connsiteY4" fmla="*/ 7284 h 161027"/>
                  <a:gd name="connsiteX5" fmla="*/ 7284 w 89038"/>
                  <a:gd name="connsiteY5" fmla="*/ 0 h 161027"/>
                  <a:gd name="connsiteX6" fmla="*/ 81755 w 89038"/>
                  <a:gd name="connsiteY6" fmla="*/ 0 h 161027"/>
                  <a:gd name="connsiteX7" fmla="*/ 89039 w 89038"/>
                  <a:gd name="connsiteY7" fmla="*/ 7284 h 161027"/>
                  <a:gd name="connsiteX8" fmla="*/ 89039 w 89038"/>
                  <a:gd name="connsiteY8" fmla="*/ 153511 h 1610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89038" h="161027">
                    <a:moveTo>
                      <a:pt x="89039" y="153511"/>
                    </a:moveTo>
                    <a:cubicBezTo>
                      <a:pt x="89039" y="157531"/>
                      <a:pt x="85752" y="161028"/>
                      <a:pt x="81755" y="161028"/>
                    </a:cubicBezTo>
                    <a:lnTo>
                      <a:pt x="7284" y="161028"/>
                    </a:lnTo>
                    <a:cubicBezTo>
                      <a:pt x="3275" y="161028"/>
                      <a:pt x="0" y="157520"/>
                      <a:pt x="0" y="153511"/>
                    </a:cubicBezTo>
                    <a:lnTo>
                      <a:pt x="0" y="7284"/>
                    </a:lnTo>
                    <a:cubicBezTo>
                      <a:pt x="0" y="3275"/>
                      <a:pt x="3287" y="0"/>
                      <a:pt x="7284" y="0"/>
                    </a:cubicBezTo>
                    <a:lnTo>
                      <a:pt x="81755" y="0"/>
                    </a:lnTo>
                    <a:cubicBezTo>
                      <a:pt x="85764" y="0"/>
                      <a:pt x="89039" y="3275"/>
                      <a:pt x="89039" y="7284"/>
                    </a:cubicBezTo>
                    <a:lnTo>
                      <a:pt x="89039" y="153511"/>
                    </a:ln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48" name="Forma livre: Forma 1247">
                <a:extLst>
                  <a:ext uri="{FF2B5EF4-FFF2-40B4-BE49-F238E27FC236}">
                    <a16:creationId xmlns:a16="http://schemas.microsoft.com/office/drawing/2014/main" id="{A89D1E81-5CF4-ABF9-B89C-351CD45CF71D}"/>
                  </a:ext>
                </a:extLst>
              </p:cNvPr>
              <p:cNvSpPr/>
              <p:nvPr/>
            </p:nvSpPr>
            <p:spPr>
              <a:xfrm>
                <a:off x="1037321" y="5934625"/>
                <a:ext cx="16304" cy="1165"/>
              </a:xfrm>
              <a:custGeom>
                <a:avLst/>
                <a:gdLst>
                  <a:gd name="connsiteX0" fmla="*/ 0 w 16304"/>
                  <a:gd name="connsiteY0" fmla="*/ 0 h 1165"/>
                  <a:gd name="connsiteX1" fmla="*/ 16304 w 16304"/>
                  <a:gd name="connsiteY1" fmla="*/ 0 h 11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6304" h="1165">
                    <a:moveTo>
                      <a:pt x="0" y="0"/>
                    </a:moveTo>
                    <a:lnTo>
                      <a:pt x="16304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249" name="Gráfico 13">
              <a:extLst>
                <a:ext uri="{FF2B5EF4-FFF2-40B4-BE49-F238E27FC236}">
                  <a16:creationId xmlns:a16="http://schemas.microsoft.com/office/drawing/2014/main" id="{6096A99A-2546-10D4-A3BD-29EDC1213828}"/>
                </a:ext>
              </a:extLst>
            </p:cNvPr>
            <p:cNvGrpSpPr/>
            <p:nvPr/>
          </p:nvGrpSpPr>
          <p:grpSpPr>
            <a:xfrm>
              <a:off x="737666" y="5740534"/>
              <a:ext cx="307883" cy="217108"/>
              <a:chOff x="737666" y="5740534"/>
              <a:chExt cx="307883" cy="217108"/>
            </a:xfrm>
            <a:noFill/>
          </p:grpSpPr>
          <p:sp>
            <p:nvSpPr>
              <p:cNvPr id="1250" name="Forma livre: Forma 1249">
                <a:extLst>
                  <a:ext uri="{FF2B5EF4-FFF2-40B4-BE49-F238E27FC236}">
                    <a16:creationId xmlns:a16="http://schemas.microsoft.com/office/drawing/2014/main" id="{FED834AC-1182-16DB-0343-481411247F2B}"/>
                  </a:ext>
                </a:extLst>
              </p:cNvPr>
              <p:cNvSpPr/>
              <p:nvPr/>
            </p:nvSpPr>
            <p:spPr>
              <a:xfrm>
                <a:off x="769948" y="5740534"/>
                <a:ext cx="275601" cy="169383"/>
              </a:xfrm>
              <a:custGeom>
                <a:avLst/>
                <a:gdLst>
                  <a:gd name="connsiteX0" fmla="*/ 0 w 275601"/>
                  <a:gd name="connsiteY0" fmla="*/ 169384 h 169383"/>
                  <a:gd name="connsiteX1" fmla="*/ 0 w 275601"/>
                  <a:gd name="connsiteY1" fmla="*/ 20115 h 169383"/>
                  <a:gd name="connsiteX2" fmla="*/ 20104 w 275601"/>
                  <a:gd name="connsiteY2" fmla="*/ 0 h 169383"/>
                  <a:gd name="connsiteX3" fmla="*/ 255474 w 275601"/>
                  <a:gd name="connsiteY3" fmla="*/ 0 h 169383"/>
                  <a:gd name="connsiteX4" fmla="*/ 275601 w 275601"/>
                  <a:gd name="connsiteY4" fmla="*/ 20115 h 169383"/>
                  <a:gd name="connsiteX5" fmla="*/ 275601 w 275601"/>
                  <a:gd name="connsiteY5" fmla="*/ 36664 h 1693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75601" h="169383">
                    <a:moveTo>
                      <a:pt x="0" y="169384"/>
                    </a:moveTo>
                    <a:lnTo>
                      <a:pt x="0" y="20115"/>
                    </a:lnTo>
                    <a:cubicBezTo>
                      <a:pt x="0" y="9055"/>
                      <a:pt x="9055" y="0"/>
                      <a:pt x="20104" y="0"/>
                    </a:cubicBezTo>
                    <a:lnTo>
                      <a:pt x="255474" y="0"/>
                    </a:lnTo>
                    <a:cubicBezTo>
                      <a:pt x="266546" y="0"/>
                      <a:pt x="275601" y="9055"/>
                      <a:pt x="275601" y="20115"/>
                    </a:cubicBezTo>
                    <a:lnTo>
                      <a:pt x="275601" y="36664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51" name="Forma livre: Forma 1250">
                <a:extLst>
                  <a:ext uri="{FF2B5EF4-FFF2-40B4-BE49-F238E27FC236}">
                    <a16:creationId xmlns:a16="http://schemas.microsoft.com/office/drawing/2014/main" id="{C7DBEC99-EEB4-D9D4-EFC9-33470772A98E}"/>
                  </a:ext>
                </a:extLst>
              </p:cNvPr>
              <p:cNvSpPr/>
              <p:nvPr/>
            </p:nvSpPr>
            <p:spPr>
              <a:xfrm>
                <a:off x="737666" y="5931036"/>
                <a:ext cx="243400" cy="26606"/>
              </a:xfrm>
              <a:custGeom>
                <a:avLst/>
                <a:gdLst>
                  <a:gd name="connsiteX0" fmla="*/ 243400 w 243400"/>
                  <a:gd name="connsiteY0" fmla="*/ 0 h 26606"/>
                  <a:gd name="connsiteX1" fmla="*/ 200303 w 243400"/>
                  <a:gd name="connsiteY1" fmla="*/ 0 h 26606"/>
                  <a:gd name="connsiteX2" fmla="*/ 195466 w 243400"/>
                  <a:gd name="connsiteY2" fmla="*/ 5594 h 26606"/>
                  <a:gd name="connsiteX3" fmla="*/ 144677 w 243400"/>
                  <a:gd name="connsiteY3" fmla="*/ 5594 h 26606"/>
                  <a:gd name="connsiteX4" fmla="*/ 139863 w 243400"/>
                  <a:gd name="connsiteY4" fmla="*/ 0 h 26606"/>
                  <a:gd name="connsiteX5" fmla="*/ 0 w 243400"/>
                  <a:gd name="connsiteY5" fmla="*/ 0 h 26606"/>
                  <a:gd name="connsiteX6" fmla="*/ 25325 w 243400"/>
                  <a:gd name="connsiteY6" fmla="*/ 26607 h 26606"/>
                  <a:gd name="connsiteX7" fmla="*/ 243389 w 243400"/>
                  <a:gd name="connsiteY7" fmla="*/ 26607 h 266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43400" h="26606">
                    <a:moveTo>
                      <a:pt x="243400" y="0"/>
                    </a:moveTo>
                    <a:lnTo>
                      <a:pt x="200303" y="0"/>
                    </a:lnTo>
                    <a:lnTo>
                      <a:pt x="195466" y="5594"/>
                    </a:lnTo>
                    <a:lnTo>
                      <a:pt x="144677" y="5594"/>
                    </a:lnTo>
                    <a:lnTo>
                      <a:pt x="139863" y="0"/>
                    </a:lnTo>
                    <a:lnTo>
                      <a:pt x="0" y="0"/>
                    </a:lnTo>
                    <a:cubicBezTo>
                      <a:pt x="0" y="0"/>
                      <a:pt x="5862" y="26607"/>
                      <a:pt x="25325" y="26607"/>
                    </a:cubicBezTo>
                    <a:lnTo>
                      <a:pt x="243389" y="26607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252" name="Gráfico 13">
            <a:extLst>
              <a:ext uri="{FF2B5EF4-FFF2-40B4-BE49-F238E27FC236}">
                <a16:creationId xmlns:a16="http://schemas.microsoft.com/office/drawing/2014/main" id="{B8C685DB-8403-95EE-5B48-F38A1139B45D}"/>
              </a:ext>
            </a:extLst>
          </p:cNvPr>
          <p:cNvGrpSpPr/>
          <p:nvPr/>
        </p:nvGrpSpPr>
        <p:grpSpPr>
          <a:xfrm>
            <a:off x="739857" y="5190448"/>
            <a:ext cx="347939" cy="267516"/>
            <a:chOff x="739857" y="5190448"/>
            <a:chExt cx="347939" cy="267516"/>
          </a:xfrm>
          <a:noFill/>
        </p:grpSpPr>
        <p:grpSp>
          <p:nvGrpSpPr>
            <p:cNvPr id="1253" name="Gráfico 13">
              <a:extLst>
                <a:ext uri="{FF2B5EF4-FFF2-40B4-BE49-F238E27FC236}">
                  <a16:creationId xmlns:a16="http://schemas.microsoft.com/office/drawing/2014/main" id="{C1898F6C-8471-5ECA-C6D0-EF7D63888CAE}"/>
                </a:ext>
              </a:extLst>
            </p:cNvPr>
            <p:cNvGrpSpPr/>
            <p:nvPr/>
          </p:nvGrpSpPr>
          <p:grpSpPr>
            <a:xfrm>
              <a:off x="739857" y="5219015"/>
              <a:ext cx="248784" cy="215278"/>
              <a:chOff x="739857" y="5219015"/>
              <a:chExt cx="248784" cy="215278"/>
            </a:xfrm>
            <a:noFill/>
          </p:grpSpPr>
          <p:grpSp>
            <p:nvGrpSpPr>
              <p:cNvPr id="1254" name="Gráfico 13">
                <a:extLst>
                  <a:ext uri="{FF2B5EF4-FFF2-40B4-BE49-F238E27FC236}">
                    <a16:creationId xmlns:a16="http://schemas.microsoft.com/office/drawing/2014/main" id="{59CAD3FD-D32C-DC72-130A-3BF021586F1A}"/>
                  </a:ext>
                </a:extLst>
              </p:cNvPr>
              <p:cNvGrpSpPr/>
              <p:nvPr/>
            </p:nvGrpSpPr>
            <p:grpSpPr>
              <a:xfrm>
                <a:off x="739857" y="5259060"/>
                <a:ext cx="248784" cy="175234"/>
                <a:chOff x="739857" y="5259060"/>
                <a:chExt cx="248784" cy="175234"/>
              </a:xfrm>
              <a:noFill/>
            </p:grpSpPr>
            <p:sp>
              <p:nvSpPr>
                <p:cNvPr id="1255" name="Forma livre: Forma 1254">
                  <a:extLst>
                    <a:ext uri="{FF2B5EF4-FFF2-40B4-BE49-F238E27FC236}">
                      <a16:creationId xmlns:a16="http://schemas.microsoft.com/office/drawing/2014/main" id="{DA9B1446-FFC9-3D9F-DD84-EB81D8D46940}"/>
                    </a:ext>
                  </a:extLst>
                </p:cNvPr>
                <p:cNvSpPr/>
                <p:nvPr/>
              </p:nvSpPr>
              <p:spPr>
                <a:xfrm>
                  <a:off x="739857" y="5259071"/>
                  <a:ext cx="248784" cy="175222"/>
                </a:xfrm>
                <a:custGeom>
                  <a:avLst/>
                  <a:gdLst>
                    <a:gd name="connsiteX0" fmla="*/ 248785 w 248784"/>
                    <a:gd name="connsiteY0" fmla="*/ 175223 h 175222"/>
                    <a:gd name="connsiteX1" fmla="*/ 13426 w 248784"/>
                    <a:gd name="connsiteY1" fmla="*/ 175223 h 175222"/>
                    <a:gd name="connsiteX2" fmla="*/ 0 w 248784"/>
                    <a:gd name="connsiteY2" fmla="*/ 161797 h 175222"/>
                    <a:gd name="connsiteX3" fmla="*/ 0 w 248784"/>
                    <a:gd name="connsiteY3" fmla="*/ 13426 h 175222"/>
                    <a:gd name="connsiteX4" fmla="*/ 13426 w 248784"/>
                    <a:gd name="connsiteY4" fmla="*/ 0 h 175222"/>
                    <a:gd name="connsiteX5" fmla="*/ 95437 w 248784"/>
                    <a:gd name="connsiteY5" fmla="*/ 0 h 1752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248784" h="175222">
                      <a:moveTo>
                        <a:pt x="248785" y="175223"/>
                      </a:moveTo>
                      <a:lnTo>
                        <a:pt x="13426" y="175223"/>
                      </a:lnTo>
                      <a:cubicBezTo>
                        <a:pt x="6037" y="175223"/>
                        <a:pt x="0" y="169186"/>
                        <a:pt x="0" y="161797"/>
                      </a:cubicBezTo>
                      <a:lnTo>
                        <a:pt x="0" y="13426"/>
                      </a:lnTo>
                      <a:cubicBezTo>
                        <a:pt x="0" y="6037"/>
                        <a:pt x="6037" y="0"/>
                        <a:pt x="13426" y="0"/>
                      </a:cubicBezTo>
                      <a:lnTo>
                        <a:pt x="95437" y="0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256" name="Forma livre: Forma 1255">
                  <a:extLst>
                    <a:ext uri="{FF2B5EF4-FFF2-40B4-BE49-F238E27FC236}">
                      <a16:creationId xmlns:a16="http://schemas.microsoft.com/office/drawing/2014/main" id="{07B4C69D-192A-154D-786B-387A7E25F0EB}"/>
                    </a:ext>
                  </a:extLst>
                </p:cNvPr>
                <p:cNvSpPr/>
                <p:nvPr/>
              </p:nvSpPr>
              <p:spPr>
                <a:xfrm>
                  <a:off x="914636" y="5259060"/>
                  <a:ext cx="26082" cy="1165"/>
                </a:xfrm>
                <a:custGeom>
                  <a:avLst/>
                  <a:gdLst>
                    <a:gd name="connsiteX0" fmla="*/ 0 w 26082"/>
                    <a:gd name="connsiteY0" fmla="*/ 0 h 1165"/>
                    <a:gd name="connsiteX1" fmla="*/ 26082 w 26082"/>
                    <a:gd name="connsiteY1" fmla="*/ 0 h 116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6082" h="1165">
                      <a:moveTo>
                        <a:pt x="0" y="0"/>
                      </a:moveTo>
                      <a:lnTo>
                        <a:pt x="26082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257" name="Forma livre: Forma 1256">
                  <a:extLst>
                    <a:ext uri="{FF2B5EF4-FFF2-40B4-BE49-F238E27FC236}">
                      <a16:creationId xmlns:a16="http://schemas.microsoft.com/office/drawing/2014/main" id="{67CB0612-AF88-C464-7435-4F6761582DE6}"/>
                    </a:ext>
                  </a:extLst>
                </p:cNvPr>
                <p:cNvSpPr/>
                <p:nvPr/>
              </p:nvSpPr>
              <p:spPr>
                <a:xfrm>
                  <a:off x="891386" y="5318672"/>
                  <a:ext cx="61243" cy="1165"/>
                </a:xfrm>
                <a:custGeom>
                  <a:avLst/>
                  <a:gdLst>
                    <a:gd name="connsiteX0" fmla="*/ 0 w 61243"/>
                    <a:gd name="connsiteY0" fmla="*/ 0 h 1165"/>
                    <a:gd name="connsiteX1" fmla="*/ 61243 w 61243"/>
                    <a:gd name="connsiteY1" fmla="*/ 0 h 116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61243" h="1165">
                      <a:moveTo>
                        <a:pt x="0" y="0"/>
                      </a:moveTo>
                      <a:lnTo>
                        <a:pt x="61243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258" name="Forma livre: Forma 1257">
                  <a:extLst>
                    <a:ext uri="{FF2B5EF4-FFF2-40B4-BE49-F238E27FC236}">
                      <a16:creationId xmlns:a16="http://schemas.microsoft.com/office/drawing/2014/main" id="{D773D6A5-9893-3905-DF5F-5AEB11B61DF2}"/>
                    </a:ext>
                  </a:extLst>
                </p:cNvPr>
                <p:cNvSpPr/>
                <p:nvPr/>
              </p:nvSpPr>
              <p:spPr>
                <a:xfrm>
                  <a:off x="891386" y="5352143"/>
                  <a:ext cx="65427" cy="1165"/>
                </a:xfrm>
                <a:custGeom>
                  <a:avLst/>
                  <a:gdLst>
                    <a:gd name="connsiteX0" fmla="*/ 0 w 65427"/>
                    <a:gd name="connsiteY0" fmla="*/ 0 h 1165"/>
                    <a:gd name="connsiteX1" fmla="*/ 65427 w 65427"/>
                    <a:gd name="connsiteY1" fmla="*/ 0 h 116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65427" h="1165">
                      <a:moveTo>
                        <a:pt x="0" y="0"/>
                      </a:moveTo>
                      <a:lnTo>
                        <a:pt x="65427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259" name="Forma livre: Forma 1258">
                  <a:extLst>
                    <a:ext uri="{FF2B5EF4-FFF2-40B4-BE49-F238E27FC236}">
                      <a16:creationId xmlns:a16="http://schemas.microsoft.com/office/drawing/2014/main" id="{6AEBC43F-84BC-EAEE-7E5E-33A6199CE45E}"/>
                    </a:ext>
                  </a:extLst>
                </p:cNvPr>
                <p:cNvSpPr/>
                <p:nvPr/>
              </p:nvSpPr>
              <p:spPr>
                <a:xfrm>
                  <a:off x="891386" y="5385637"/>
                  <a:ext cx="69622" cy="1165"/>
                </a:xfrm>
                <a:custGeom>
                  <a:avLst/>
                  <a:gdLst>
                    <a:gd name="connsiteX0" fmla="*/ 0 w 69622"/>
                    <a:gd name="connsiteY0" fmla="*/ 0 h 1165"/>
                    <a:gd name="connsiteX1" fmla="*/ 69623 w 69622"/>
                    <a:gd name="connsiteY1" fmla="*/ 0 h 116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69622" h="1165">
                      <a:moveTo>
                        <a:pt x="0" y="0"/>
                      </a:moveTo>
                      <a:lnTo>
                        <a:pt x="69623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260" name="Forma livre: Forma 1259">
                  <a:extLst>
                    <a:ext uri="{FF2B5EF4-FFF2-40B4-BE49-F238E27FC236}">
                      <a16:creationId xmlns:a16="http://schemas.microsoft.com/office/drawing/2014/main" id="{D4389EE5-2962-ADAB-538B-12147277970B}"/>
                    </a:ext>
                  </a:extLst>
                </p:cNvPr>
                <p:cNvSpPr/>
                <p:nvPr/>
              </p:nvSpPr>
              <p:spPr>
                <a:xfrm>
                  <a:off x="769016" y="5373552"/>
                  <a:ext cx="97465" cy="39309"/>
                </a:xfrm>
                <a:custGeom>
                  <a:avLst/>
                  <a:gdLst>
                    <a:gd name="connsiteX0" fmla="*/ 0 w 97465"/>
                    <a:gd name="connsiteY0" fmla="*/ 39310 h 39309"/>
                    <a:gd name="connsiteX1" fmla="*/ 0 w 97465"/>
                    <a:gd name="connsiteY1" fmla="*/ 27994 h 39309"/>
                    <a:gd name="connsiteX2" fmla="*/ 28553 w 97465"/>
                    <a:gd name="connsiteY2" fmla="*/ 0 h 39309"/>
                    <a:gd name="connsiteX3" fmla="*/ 48738 w 97465"/>
                    <a:gd name="connsiteY3" fmla="*/ 22237 h 39309"/>
                    <a:gd name="connsiteX4" fmla="*/ 67479 w 97465"/>
                    <a:gd name="connsiteY4" fmla="*/ 0 h 39309"/>
                    <a:gd name="connsiteX5" fmla="*/ 97465 w 97465"/>
                    <a:gd name="connsiteY5" fmla="*/ 27994 h 39309"/>
                    <a:gd name="connsiteX6" fmla="*/ 97465 w 97465"/>
                    <a:gd name="connsiteY6" fmla="*/ 39310 h 3930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97465" h="39309">
                      <a:moveTo>
                        <a:pt x="0" y="39310"/>
                      </a:moveTo>
                      <a:lnTo>
                        <a:pt x="0" y="27994"/>
                      </a:lnTo>
                      <a:cubicBezTo>
                        <a:pt x="0" y="10349"/>
                        <a:pt x="12132" y="0"/>
                        <a:pt x="28553" y="0"/>
                      </a:cubicBezTo>
                      <a:lnTo>
                        <a:pt x="48738" y="22237"/>
                      </a:lnTo>
                      <a:lnTo>
                        <a:pt x="67479" y="0"/>
                      </a:lnTo>
                      <a:cubicBezTo>
                        <a:pt x="83911" y="0"/>
                        <a:pt x="97465" y="10337"/>
                        <a:pt x="97465" y="27994"/>
                      </a:cubicBezTo>
                      <a:lnTo>
                        <a:pt x="97465" y="39310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261" name="Forma livre: Forma 1260">
                  <a:extLst>
                    <a:ext uri="{FF2B5EF4-FFF2-40B4-BE49-F238E27FC236}">
                      <a16:creationId xmlns:a16="http://schemas.microsoft.com/office/drawing/2014/main" id="{F9001A50-41B4-D86E-A387-70979EA7F712}"/>
                    </a:ext>
                  </a:extLst>
                </p:cNvPr>
                <p:cNvSpPr/>
                <p:nvPr/>
              </p:nvSpPr>
              <p:spPr>
                <a:xfrm>
                  <a:off x="793665" y="5301388"/>
                  <a:ext cx="48167" cy="54169"/>
                </a:xfrm>
                <a:custGeom>
                  <a:avLst/>
                  <a:gdLst>
                    <a:gd name="connsiteX0" fmla="*/ 48167 w 48167"/>
                    <a:gd name="connsiteY0" fmla="*/ 29707 h 54169"/>
                    <a:gd name="connsiteX1" fmla="*/ 24078 w 48167"/>
                    <a:gd name="connsiteY1" fmla="*/ 54169 h 54169"/>
                    <a:gd name="connsiteX2" fmla="*/ 0 w 48167"/>
                    <a:gd name="connsiteY2" fmla="*/ 29707 h 54169"/>
                    <a:gd name="connsiteX3" fmla="*/ 0 w 48167"/>
                    <a:gd name="connsiteY3" fmla="*/ 24462 h 54169"/>
                    <a:gd name="connsiteX4" fmla="*/ 24078 w 48167"/>
                    <a:gd name="connsiteY4" fmla="*/ 0 h 54169"/>
                    <a:gd name="connsiteX5" fmla="*/ 48167 w 48167"/>
                    <a:gd name="connsiteY5" fmla="*/ 24462 h 54169"/>
                    <a:gd name="connsiteX6" fmla="*/ 48167 w 48167"/>
                    <a:gd name="connsiteY6" fmla="*/ 29707 h 5416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48167" h="54169">
                      <a:moveTo>
                        <a:pt x="48167" y="29707"/>
                      </a:moveTo>
                      <a:cubicBezTo>
                        <a:pt x="48167" y="43156"/>
                        <a:pt x="37329" y="54169"/>
                        <a:pt x="24078" y="54169"/>
                      </a:cubicBezTo>
                      <a:cubicBezTo>
                        <a:pt x="10827" y="54169"/>
                        <a:pt x="0" y="43156"/>
                        <a:pt x="0" y="29707"/>
                      </a:cubicBezTo>
                      <a:lnTo>
                        <a:pt x="0" y="24462"/>
                      </a:lnTo>
                      <a:cubicBezTo>
                        <a:pt x="0" y="11013"/>
                        <a:pt x="10839" y="0"/>
                        <a:pt x="24078" y="0"/>
                      </a:cubicBezTo>
                      <a:cubicBezTo>
                        <a:pt x="37317" y="0"/>
                        <a:pt x="48167" y="11013"/>
                        <a:pt x="48167" y="24462"/>
                      </a:cubicBezTo>
                      <a:lnTo>
                        <a:pt x="48167" y="29707"/>
                      </a:lnTo>
                      <a:close/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1262" name="Gráfico 13">
                <a:extLst>
                  <a:ext uri="{FF2B5EF4-FFF2-40B4-BE49-F238E27FC236}">
                    <a16:creationId xmlns:a16="http://schemas.microsoft.com/office/drawing/2014/main" id="{33900BB8-2627-94CA-98B3-B1F24F34ADFD}"/>
                  </a:ext>
                </a:extLst>
              </p:cNvPr>
              <p:cNvGrpSpPr/>
              <p:nvPr/>
            </p:nvGrpSpPr>
            <p:grpSpPr>
              <a:xfrm>
                <a:off x="839443" y="5219015"/>
                <a:ext cx="69832" cy="62222"/>
                <a:chOff x="839443" y="5219015"/>
                <a:chExt cx="69832" cy="62222"/>
              </a:xfrm>
              <a:noFill/>
            </p:grpSpPr>
            <p:sp>
              <p:nvSpPr>
                <p:cNvPr id="1263" name="Forma livre: Forma 1262">
                  <a:extLst>
                    <a:ext uri="{FF2B5EF4-FFF2-40B4-BE49-F238E27FC236}">
                      <a16:creationId xmlns:a16="http://schemas.microsoft.com/office/drawing/2014/main" id="{83C46A73-2049-37C8-0511-D19D666B0D04}"/>
                    </a:ext>
                  </a:extLst>
                </p:cNvPr>
                <p:cNvSpPr/>
                <p:nvPr/>
              </p:nvSpPr>
              <p:spPr>
                <a:xfrm>
                  <a:off x="856155" y="5219015"/>
                  <a:ext cx="36408" cy="61360"/>
                </a:xfrm>
                <a:custGeom>
                  <a:avLst/>
                  <a:gdLst>
                    <a:gd name="connsiteX0" fmla="*/ 0 w 36408"/>
                    <a:gd name="connsiteY0" fmla="*/ 61360 h 61360"/>
                    <a:gd name="connsiteX1" fmla="*/ 0 w 36408"/>
                    <a:gd name="connsiteY1" fmla="*/ 0 h 61360"/>
                    <a:gd name="connsiteX2" fmla="*/ 36408 w 36408"/>
                    <a:gd name="connsiteY2" fmla="*/ 0 h 61360"/>
                    <a:gd name="connsiteX3" fmla="*/ 36408 w 36408"/>
                    <a:gd name="connsiteY3" fmla="*/ 61360 h 6136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36408" h="61360">
                      <a:moveTo>
                        <a:pt x="0" y="61360"/>
                      </a:moveTo>
                      <a:lnTo>
                        <a:pt x="0" y="0"/>
                      </a:lnTo>
                      <a:lnTo>
                        <a:pt x="36408" y="0"/>
                      </a:lnTo>
                      <a:lnTo>
                        <a:pt x="36408" y="61360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264" name="Forma livre: Forma 1263">
                  <a:extLst>
                    <a:ext uri="{FF2B5EF4-FFF2-40B4-BE49-F238E27FC236}">
                      <a16:creationId xmlns:a16="http://schemas.microsoft.com/office/drawing/2014/main" id="{673F2461-97AD-5FC8-33FA-A546DE093963}"/>
                    </a:ext>
                  </a:extLst>
                </p:cNvPr>
                <p:cNvSpPr/>
                <p:nvPr/>
              </p:nvSpPr>
              <p:spPr>
                <a:xfrm>
                  <a:off x="839443" y="5281238"/>
                  <a:ext cx="69832" cy="1165"/>
                </a:xfrm>
                <a:custGeom>
                  <a:avLst/>
                  <a:gdLst>
                    <a:gd name="connsiteX0" fmla="*/ 0 w 69832"/>
                    <a:gd name="connsiteY0" fmla="*/ 0 h 1165"/>
                    <a:gd name="connsiteX1" fmla="*/ 69833 w 69832"/>
                    <a:gd name="connsiteY1" fmla="*/ 0 h 116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69832" h="1165">
                      <a:moveTo>
                        <a:pt x="0" y="0"/>
                      </a:moveTo>
                      <a:lnTo>
                        <a:pt x="69833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grpSp>
          <p:nvGrpSpPr>
            <p:cNvPr id="1265" name="Gráfico 13">
              <a:extLst>
                <a:ext uri="{FF2B5EF4-FFF2-40B4-BE49-F238E27FC236}">
                  <a16:creationId xmlns:a16="http://schemas.microsoft.com/office/drawing/2014/main" id="{FD363334-A886-2E98-E5C0-8BB6D8D35FAD}"/>
                </a:ext>
              </a:extLst>
            </p:cNvPr>
            <p:cNvGrpSpPr/>
            <p:nvPr/>
          </p:nvGrpSpPr>
          <p:grpSpPr>
            <a:xfrm>
              <a:off x="960424" y="5190448"/>
              <a:ext cx="127372" cy="267516"/>
              <a:chOff x="960424" y="5190448"/>
              <a:chExt cx="127372" cy="267516"/>
            </a:xfrm>
            <a:noFill/>
          </p:grpSpPr>
          <p:sp>
            <p:nvSpPr>
              <p:cNvPr id="1266" name="Forma livre: Forma 1265">
                <a:extLst>
                  <a:ext uri="{FF2B5EF4-FFF2-40B4-BE49-F238E27FC236}">
                    <a16:creationId xmlns:a16="http://schemas.microsoft.com/office/drawing/2014/main" id="{19CD34DD-6C51-A366-E803-7DA49670A4BF}"/>
                  </a:ext>
                </a:extLst>
              </p:cNvPr>
              <p:cNvSpPr/>
              <p:nvPr/>
            </p:nvSpPr>
            <p:spPr>
              <a:xfrm>
                <a:off x="960424" y="5190448"/>
                <a:ext cx="104218" cy="92141"/>
              </a:xfrm>
              <a:custGeom>
                <a:avLst/>
                <a:gdLst>
                  <a:gd name="connsiteX0" fmla="*/ 18614 w 104218"/>
                  <a:gd name="connsiteY0" fmla="*/ 92142 h 92141"/>
                  <a:gd name="connsiteX1" fmla="*/ 2 w 104218"/>
                  <a:gd name="connsiteY1" fmla="*/ 51596 h 92141"/>
                  <a:gd name="connsiteX2" fmla="*/ 52633 w 104218"/>
                  <a:gd name="connsiteY2" fmla="*/ 3 h 92141"/>
                  <a:gd name="connsiteX3" fmla="*/ 104215 w 104218"/>
                  <a:gd name="connsiteY3" fmla="*/ 52634 h 92141"/>
                  <a:gd name="connsiteX4" fmla="*/ 85685 w 104218"/>
                  <a:gd name="connsiteY4" fmla="*/ 92072 h 921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04218" h="92141">
                    <a:moveTo>
                      <a:pt x="18614" y="92142"/>
                    </a:moveTo>
                    <a:cubicBezTo>
                      <a:pt x="7100" y="82434"/>
                      <a:pt x="-149" y="67842"/>
                      <a:pt x="2" y="51596"/>
                    </a:cubicBezTo>
                    <a:cubicBezTo>
                      <a:pt x="294" y="22810"/>
                      <a:pt x="23870" y="-289"/>
                      <a:pt x="52633" y="3"/>
                    </a:cubicBezTo>
                    <a:cubicBezTo>
                      <a:pt x="81396" y="282"/>
                      <a:pt x="104518" y="23847"/>
                      <a:pt x="104215" y="52634"/>
                    </a:cubicBezTo>
                    <a:cubicBezTo>
                      <a:pt x="104064" y="68472"/>
                      <a:pt x="96885" y="82597"/>
                      <a:pt x="85685" y="92072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67" name="Forma livre: Forma 1266">
                <a:extLst>
                  <a:ext uri="{FF2B5EF4-FFF2-40B4-BE49-F238E27FC236}">
                    <a16:creationId xmlns:a16="http://schemas.microsoft.com/office/drawing/2014/main" id="{F6F5A3B2-1B11-3CBE-E467-8B9894313ADC}"/>
                  </a:ext>
                </a:extLst>
              </p:cNvPr>
              <p:cNvSpPr/>
              <p:nvPr/>
            </p:nvSpPr>
            <p:spPr>
              <a:xfrm>
                <a:off x="975495" y="5281716"/>
                <a:ext cx="74296" cy="115098"/>
              </a:xfrm>
              <a:custGeom>
                <a:avLst/>
                <a:gdLst>
                  <a:gd name="connsiteX0" fmla="*/ 44718 w 74296"/>
                  <a:gd name="connsiteY0" fmla="*/ 115098 h 115098"/>
                  <a:gd name="connsiteX1" fmla="*/ 65218 w 74296"/>
                  <a:gd name="connsiteY1" fmla="*/ 99819 h 115098"/>
                  <a:gd name="connsiteX2" fmla="*/ 74296 w 74296"/>
                  <a:gd name="connsiteY2" fmla="*/ 0 h 115098"/>
                  <a:gd name="connsiteX3" fmla="*/ 0 w 74296"/>
                  <a:gd name="connsiteY3" fmla="*/ 0 h 115098"/>
                  <a:gd name="connsiteX4" fmla="*/ 9079 w 74296"/>
                  <a:gd name="connsiteY4" fmla="*/ 99819 h 115098"/>
                  <a:gd name="connsiteX5" fmla="*/ 29579 w 74296"/>
                  <a:gd name="connsiteY5" fmla="*/ 115098 h 115098"/>
                  <a:gd name="connsiteX6" fmla="*/ 44706 w 74296"/>
                  <a:gd name="connsiteY6" fmla="*/ 115098 h 1150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74296" h="115098">
                    <a:moveTo>
                      <a:pt x="44718" y="115098"/>
                    </a:moveTo>
                    <a:cubicBezTo>
                      <a:pt x="55276" y="115063"/>
                      <a:pt x="64320" y="110343"/>
                      <a:pt x="65218" y="99819"/>
                    </a:cubicBezTo>
                    <a:lnTo>
                      <a:pt x="74296" y="0"/>
                    </a:lnTo>
                    <a:lnTo>
                      <a:pt x="0" y="0"/>
                    </a:lnTo>
                    <a:lnTo>
                      <a:pt x="9079" y="99819"/>
                    </a:lnTo>
                    <a:cubicBezTo>
                      <a:pt x="9976" y="110343"/>
                      <a:pt x="19031" y="115063"/>
                      <a:pt x="29579" y="115098"/>
                    </a:cubicBezTo>
                    <a:lnTo>
                      <a:pt x="44706" y="115098"/>
                    </a:ln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68" name="Forma livre: Forma 1267">
                <a:extLst>
                  <a:ext uri="{FF2B5EF4-FFF2-40B4-BE49-F238E27FC236}">
                    <a16:creationId xmlns:a16="http://schemas.microsoft.com/office/drawing/2014/main" id="{410548C5-0084-3D50-5843-3D7D422AB0DF}"/>
                  </a:ext>
                </a:extLst>
              </p:cNvPr>
              <p:cNvSpPr/>
              <p:nvPr/>
            </p:nvSpPr>
            <p:spPr>
              <a:xfrm>
                <a:off x="989131" y="5252836"/>
                <a:ext cx="75030" cy="1165"/>
              </a:xfrm>
              <a:custGeom>
                <a:avLst/>
                <a:gdLst>
                  <a:gd name="connsiteX0" fmla="*/ 0 w 75030"/>
                  <a:gd name="connsiteY0" fmla="*/ 0 h 1165"/>
                  <a:gd name="connsiteX1" fmla="*/ 75030 w 75030"/>
                  <a:gd name="connsiteY1" fmla="*/ 0 h 11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75030" h="1165">
                    <a:moveTo>
                      <a:pt x="0" y="0"/>
                    </a:moveTo>
                    <a:lnTo>
                      <a:pt x="7503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69" name="Forma livre: Forma 1268">
                <a:extLst>
                  <a:ext uri="{FF2B5EF4-FFF2-40B4-BE49-F238E27FC236}">
                    <a16:creationId xmlns:a16="http://schemas.microsoft.com/office/drawing/2014/main" id="{FD94AD50-FB32-8842-3461-112630F19C75}"/>
                  </a:ext>
                </a:extLst>
              </p:cNvPr>
              <p:cNvSpPr/>
              <p:nvPr/>
            </p:nvSpPr>
            <p:spPr>
              <a:xfrm>
                <a:off x="1012638" y="5334883"/>
                <a:ext cx="11" cy="18914"/>
              </a:xfrm>
              <a:custGeom>
                <a:avLst/>
                <a:gdLst>
                  <a:gd name="connsiteX0" fmla="*/ 12 w 11"/>
                  <a:gd name="connsiteY0" fmla="*/ 0 h 18914"/>
                  <a:gd name="connsiteX1" fmla="*/ 0 w 11"/>
                  <a:gd name="connsiteY1" fmla="*/ 18915 h 189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" h="18914">
                    <a:moveTo>
                      <a:pt x="12" y="0"/>
                    </a:moveTo>
                    <a:lnTo>
                      <a:pt x="0" y="18915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70" name="Forma livre: Forma 1269">
                <a:extLst>
                  <a:ext uri="{FF2B5EF4-FFF2-40B4-BE49-F238E27FC236}">
                    <a16:creationId xmlns:a16="http://schemas.microsoft.com/office/drawing/2014/main" id="{B249B36E-008C-92C7-927A-AB327D7C5FF2}"/>
                  </a:ext>
                </a:extLst>
              </p:cNvPr>
              <p:cNvSpPr/>
              <p:nvPr/>
            </p:nvSpPr>
            <p:spPr>
              <a:xfrm>
                <a:off x="1012591" y="5385964"/>
                <a:ext cx="75205" cy="72000"/>
              </a:xfrm>
              <a:custGeom>
                <a:avLst/>
                <a:gdLst>
                  <a:gd name="connsiteX0" fmla="*/ 75205 w 75205"/>
                  <a:gd name="connsiteY0" fmla="*/ 0 h 72000"/>
                  <a:gd name="connsiteX1" fmla="*/ 50172 w 75205"/>
                  <a:gd name="connsiteY1" fmla="*/ 26269 h 72000"/>
                  <a:gd name="connsiteX2" fmla="*/ 50218 w 75205"/>
                  <a:gd name="connsiteY2" fmla="*/ 45732 h 72000"/>
                  <a:gd name="connsiteX3" fmla="*/ 25267 w 75205"/>
                  <a:gd name="connsiteY3" fmla="*/ 72000 h 72000"/>
                  <a:gd name="connsiteX4" fmla="*/ 82 w 75205"/>
                  <a:gd name="connsiteY4" fmla="*/ 45941 h 72000"/>
                  <a:gd name="connsiteX5" fmla="*/ 0 w 75205"/>
                  <a:gd name="connsiteY5" fmla="*/ 33821 h 72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75205" h="72000">
                    <a:moveTo>
                      <a:pt x="75205" y="0"/>
                    </a:moveTo>
                    <a:cubicBezTo>
                      <a:pt x="61418" y="58"/>
                      <a:pt x="50125" y="11887"/>
                      <a:pt x="50172" y="26269"/>
                    </a:cubicBezTo>
                    <a:lnTo>
                      <a:pt x="50218" y="45732"/>
                    </a:lnTo>
                    <a:cubicBezTo>
                      <a:pt x="50300" y="60113"/>
                      <a:pt x="39054" y="71930"/>
                      <a:pt x="25267" y="72000"/>
                    </a:cubicBezTo>
                    <a:cubicBezTo>
                      <a:pt x="11480" y="72059"/>
                      <a:pt x="152" y="60334"/>
                      <a:pt x="82" y="45941"/>
                    </a:cubicBezTo>
                    <a:lnTo>
                      <a:pt x="0" y="33821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271" name="Gráfico 13">
            <a:extLst>
              <a:ext uri="{FF2B5EF4-FFF2-40B4-BE49-F238E27FC236}">
                <a16:creationId xmlns:a16="http://schemas.microsoft.com/office/drawing/2014/main" id="{871B17BB-3FCF-7C31-B641-337A88366D7E}"/>
              </a:ext>
            </a:extLst>
          </p:cNvPr>
          <p:cNvGrpSpPr/>
          <p:nvPr/>
        </p:nvGrpSpPr>
        <p:grpSpPr>
          <a:xfrm>
            <a:off x="811496" y="4121377"/>
            <a:ext cx="204673" cy="306123"/>
            <a:chOff x="811496" y="4121377"/>
            <a:chExt cx="204673" cy="306123"/>
          </a:xfrm>
          <a:noFill/>
        </p:grpSpPr>
        <p:grpSp>
          <p:nvGrpSpPr>
            <p:cNvPr id="1272" name="Gráfico 13">
              <a:extLst>
                <a:ext uri="{FF2B5EF4-FFF2-40B4-BE49-F238E27FC236}">
                  <a16:creationId xmlns:a16="http://schemas.microsoft.com/office/drawing/2014/main" id="{0552C122-DFCE-E5A5-47EC-D855A4105D44}"/>
                </a:ext>
              </a:extLst>
            </p:cNvPr>
            <p:cNvGrpSpPr/>
            <p:nvPr/>
          </p:nvGrpSpPr>
          <p:grpSpPr>
            <a:xfrm>
              <a:off x="983304" y="4171630"/>
              <a:ext cx="32865" cy="143161"/>
              <a:chOff x="983304" y="4171630"/>
              <a:chExt cx="32865" cy="143161"/>
            </a:xfrm>
            <a:noFill/>
          </p:grpSpPr>
          <p:sp>
            <p:nvSpPr>
              <p:cNvPr id="1273" name="Forma livre: Forma 1272">
                <a:extLst>
                  <a:ext uri="{FF2B5EF4-FFF2-40B4-BE49-F238E27FC236}">
                    <a16:creationId xmlns:a16="http://schemas.microsoft.com/office/drawing/2014/main" id="{710E529F-491A-5684-C894-94680516FD1E}"/>
                  </a:ext>
                </a:extLst>
              </p:cNvPr>
              <p:cNvSpPr/>
              <p:nvPr/>
            </p:nvSpPr>
            <p:spPr>
              <a:xfrm>
                <a:off x="983304" y="4171630"/>
                <a:ext cx="32865" cy="143161"/>
              </a:xfrm>
              <a:custGeom>
                <a:avLst/>
                <a:gdLst>
                  <a:gd name="connsiteX0" fmla="*/ 16537 w 32865"/>
                  <a:gd name="connsiteY0" fmla="*/ 0 h 143161"/>
                  <a:gd name="connsiteX1" fmla="*/ 32865 w 32865"/>
                  <a:gd name="connsiteY1" fmla="*/ 0 h 143161"/>
                  <a:gd name="connsiteX2" fmla="*/ 32865 w 32865"/>
                  <a:gd name="connsiteY2" fmla="*/ 143162 h 143161"/>
                  <a:gd name="connsiteX3" fmla="*/ 0 w 32865"/>
                  <a:gd name="connsiteY3" fmla="*/ 143162 h 1431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2865" h="143161">
                    <a:moveTo>
                      <a:pt x="16537" y="0"/>
                    </a:moveTo>
                    <a:lnTo>
                      <a:pt x="32865" y="0"/>
                    </a:lnTo>
                    <a:lnTo>
                      <a:pt x="32865" y="143162"/>
                    </a:lnTo>
                    <a:lnTo>
                      <a:pt x="0" y="143162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74" name="Forma livre: Forma 1273">
                <a:extLst>
                  <a:ext uri="{FF2B5EF4-FFF2-40B4-BE49-F238E27FC236}">
                    <a16:creationId xmlns:a16="http://schemas.microsoft.com/office/drawing/2014/main" id="{E86DBB7B-560F-2F1F-86C7-2FAAC4CA6AC4}"/>
                  </a:ext>
                </a:extLst>
              </p:cNvPr>
              <p:cNvSpPr/>
              <p:nvPr/>
            </p:nvSpPr>
            <p:spPr>
              <a:xfrm>
                <a:off x="983933" y="4219215"/>
                <a:ext cx="31991" cy="1165"/>
              </a:xfrm>
              <a:custGeom>
                <a:avLst/>
                <a:gdLst>
                  <a:gd name="connsiteX0" fmla="*/ 31991 w 31991"/>
                  <a:gd name="connsiteY0" fmla="*/ 0 h 1165"/>
                  <a:gd name="connsiteX1" fmla="*/ 0 w 31991"/>
                  <a:gd name="connsiteY1" fmla="*/ 0 h 11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1991" h="1165">
                    <a:moveTo>
                      <a:pt x="31991" y="0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75" name="Forma livre: Forma 1274">
                <a:extLst>
                  <a:ext uri="{FF2B5EF4-FFF2-40B4-BE49-F238E27FC236}">
                    <a16:creationId xmlns:a16="http://schemas.microsoft.com/office/drawing/2014/main" id="{276A99F2-4D77-FAD9-FB07-FE5D2D79BCE8}"/>
                  </a:ext>
                </a:extLst>
              </p:cNvPr>
              <p:cNvSpPr/>
              <p:nvPr/>
            </p:nvSpPr>
            <p:spPr>
              <a:xfrm>
                <a:off x="983933" y="4266846"/>
                <a:ext cx="31991" cy="1165"/>
              </a:xfrm>
              <a:custGeom>
                <a:avLst/>
                <a:gdLst>
                  <a:gd name="connsiteX0" fmla="*/ 31991 w 31991"/>
                  <a:gd name="connsiteY0" fmla="*/ 0 h 1165"/>
                  <a:gd name="connsiteX1" fmla="*/ 0 w 31991"/>
                  <a:gd name="connsiteY1" fmla="*/ 0 h 11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1991" h="1165">
                    <a:moveTo>
                      <a:pt x="31991" y="0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276" name="Forma livre: Forma 1275">
              <a:extLst>
                <a:ext uri="{FF2B5EF4-FFF2-40B4-BE49-F238E27FC236}">
                  <a16:creationId xmlns:a16="http://schemas.microsoft.com/office/drawing/2014/main" id="{F5F81965-94EC-0DD1-A709-B58A9D29D8BE}"/>
                </a:ext>
              </a:extLst>
            </p:cNvPr>
            <p:cNvSpPr/>
            <p:nvPr/>
          </p:nvSpPr>
          <p:spPr>
            <a:xfrm>
              <a:off x="811496" y="4121377"/>
              <a:ext cx="170572" cy="306123"/>
            </a:xfrm>
            <a:custGeom>
              <a:avLst/>
              <a:gdLst>
                <a:gd name="connsiteX0" fmla="*/ 151926 w 170572"/>
                <a:gd name="connsiteY0" fmla="*/ 0 h 306123"/>
                <a:gd name="connsiteX1" fmla="*/ 170573 w 170572"/>
                <a:gd name="connsiteY1" fmla="*/ 18647 h 306123"/>
                <a:gd name="connsiteX2" fmla="*/ 170573 w 170572"/>
                <a:gd name="connsiteY2" fmla="*/ 287477 h 306123"/>
                <a:gd name="connsiteX3" fmla="*/ 151926 w 170572"/>
                <a:gd name="connsiteY3" fmla="*/ 306124 h 306123"/>
                <a:gd name="connsiteX4" fmla="*/ 18647 w 170572"/>
                <a:gd name="connsiteY4" fmla="*/ 306124 h 306123"/>
                <a:gd name="connsiteX5" fmla="*/ 0 w 170572"/>
                <a:gd name="connsiteY5" fmla="*/ 287477 h 306123"/>
                <a:gd name="connsiteX6" fmla="*/ 0 w 170572"/>
                <a:gd name="connsiteY6" fmla="*/ 18647 h 306123"/>
                <a:gd name="connsiteX7" fmla="*/ 18647 w 170572"/>
                <a:gd name="connsiteY7" fmla="*/ 0 h 3061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0572" h="306123">
                  <a:moveTo>
                    <a:pt x="151926" y="0"/>
                  </a:moveTo>
                  <a:cubicBezTo>
                    <a:pt x="162224" y="0"/>
                    <a:pt x="170573" y="8349"/>
                    <a:pt x="170573" y="18647"/>
                  </a:cubicBezTo>
                  <a:lnTo>
                    <a:pt x="170573" y="287477"/>
                  </a:lnTo>
                  <a:cubicBezTo>
                    <a:pt x="170573" y="297775"/>
                    <a:pt x="162224" y="306124"/>
                    <a:pt x="151926" y="306124"/>
                  </a:cubicBezTo>
                  <a:lnTo>
                    <a:pt x="18647" y="306124"/>
                  </a:lnTo>
                  <a:cubicBezTo>
                    <a:pt x="8349" y="306124"/>
                    <a:pt x="0" y="297775"/>
                    <a:pt x="0" y="287477"/>
                  </a:cubicBezTo>
                  <a:lnTo>
                    <a:pt x="0" y="18647"/>
                  </a:lnTo>
                  <a:cubicBezTo>
                    <a:pt x="0" y="8349"/>
                    <a:pt x="8349" y="0"/>
                    <a:pt x="18647" y="0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277" name="Gráfico 13">
              <a:extLst>
                <a:ext uri="{FF2B5EF4-FFF2-40B4-BE49-F238E27FC236}">
                  <a16:creationId xmlns:a16="http://schemas.microsoft.com/office/drawing/2014/main" id="{27EDA29C-0759-7432-D371-B6AFD2284E2E}"/>
                </a:ext>
              </a:extLst>
            </p:cNvPr>
            <p:cNvGrpSpPr/>
            <p:nvPr/>
          </p:nvGrpSpPr>
          <p:grpSpPr>
            <a:xfrm>
              <a:off x="848871" y="4150816"/>
              <a:ext cx="95821" cy="167903"/>
              <a:chOff x="848871" y="4150816"/>
              <a:chExt cx="95821" cy="167903"/>
            </a:xfrm>
            <a:noFill/>
          </p:grpSpPr>
          <p:sp>
            <p:nvSpPr>
              <p:cNvPr id="1278" name="Forma livre: Forma 1277">
                <a:extLst>
                  <a:ext uri="{FF2B5EF4-FFF2-40B4-BE49-F238E27FC236}">
                    <a16:creationId xmlns:a16="http://schemas.microsoft.com/office/drawing/2014/main" id="{A8DB734B-BA9F-5DB4-7033-30E7BD33E477}"/>
                  </a:ext>
                </a:extLst>
              </p:cNvPr>
              <p:cNvSpPr/>
              <p:nvPr/>
            </p:nvSpPr>
            <p:spPr>
              <a:xfrm>
                <a:off x="848871" y="4150816"/>
                <a:ext cx="95821" cy="167903"/>
              </a:xfrm>
              <a:custGeom>
                <a:avLst/>
                <a:gdLst>
                  <a:gd name="connsiteX0" fmla="*/ 0 w 95821"/>
                  <a:gd name="connsiteY0" fmla="*/ 47981 h 167903"/>
                  <a:gd name="connsiteX1" fmla="*/ 0 w 95821"/>
                  <a:gd name="connsiteY1" fmla="*/ 9323 h 167903"/>
                  <a:gd name="connsiteX2" fmla="*/ 9323 w 95821"/>
                  <a:gd name="connsiteY2" fmla="*/ 0 h 167903"/>
                  <a:gd name="connsiteX3" fmla="*/ 86498 w 95821"/>
                  <a:gd name="connsiteY3" fmla="*/ 0 h 167903"/>
                  <a:gd name="connsiteX4" fmla="*/ 95822 w 95821"/>
                  <a:gd name="connsiteY4" fmla="*/ 9323 h 167903"/>
                  <a:gd name="connsiteX5" fmla="*/ 95822 w 95821"/>
                  <a:gd name="connsiteY5" fmla="*/ 158580 h 167903"/>
                  <a:gd name="connsiteX6" fmla="*/ 86498 w 95821"/>
                  <a:gd name="connsiteY6" fmla="*/ 167904 h 167903"/>
                  <a:gd name="connsiteX7" fmla="*/ 9323 w 95821"/>
                  <a:gd name="connsiteY7" fmla="*/ 167904 h 167903"/>
                  <a:gd name="connsiteX8" fmla="*/ 0 w 95821"/>
                  <a:gd name="connsiteY8" fmla="*/ 158580 h 167903"/>
                  <a:gd name="connsiteX9" fmla="*/ 0 w 95821"/>
                  <a:gd name="connsiteY9" fmla="*/ 62432 h 1679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95821" h="167903">
                    <a:moveTo>
                      <a:pt x="0" y="47981"/>
                    </a:moveTo>
                    <a:lnTo>
                      <a:pt x="0" y="9323"/>
                    </a:lnTo>
                    <a:cubicBezTo>
                      <a:pt x="0" y="4196"/>
                      <a:pt x="4196" y="0"/>
                      <a:pt x="9323" y="0"/>
                    </a:cubicBezTo>
                    <a:lnTo>
                      <a:pt x="86498" y="0"/>
                    </a:lnTo>
                    <a:cubicBezTo>
                      <a:pt x="91626" y="0"/>
                      <a:pt x="95822" y="4196"/>
                      <a:pt x="95822" y="9323"/>
                    </a:cubicBezTo>
                    <a:lnTo>
                      <a:pt x="95822" y="158580"/>
                    </a:lnTo>
                    <a:cubicBezTo>
                      <a:pt x="95822" y="163708"/>
                      <a:pt x="91626" y="167904"/>
                      <a:pt x="86498" y="167904"/>
                    </a:cubicBezTo>
                    <a:lnTo>
                      <a:pt x="9323" y="167904"/>
                    </a:lnTo>
                    <a:cubicBezTo>
                      <a:pt x="4196" y="167904"/>
                      <a:pt x="0" y="163708"/>
                      <a:pt x="0" y="158580"/>
                    </a:cubicBezTo>
                    <a:lnTo>
                      <a:pt x="0" y="62432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1279" name="Gráfico 13">
                <a:extLst>
                  <a:ext uri="{FF2B5EF4-FFF2-40B4-BE49-F238E27FC236}">
                    <a16:creationId xmlns:a16="http://schemas.microsoft.com/office/drawing/2014/main" id="{A1919EF8-C50A-2C83-C0AA-C96668ABE685}"/>
                  </a:ext>
                </a:extLst>
              </p:cNvPr>
              <p:cNvGrpSpPr/>
              <p:nvPr/>
            </p:nvGrpSpPr>
            <p:grpSpPr>
              <a:xfrm>
                <a:off x="878601" y="4181385"/>
                <a:ext cx="36338" cy="106753"/>
                <a:chOff x="878601" y="4181385"/>
                <a:chExt cx="36338" cy="106753"/>
              </a:xfrm>
              <a:noFill/>
            </p:grpSpPr>
            <p:sp>
              <p:nvSpPr>
                <p:cNvPr id="1280" name="Forma livre: Forma 1279">
                  <a:extLst>
                    <a:ext uri="{FF2B5EF4-FFF2-40B4-BE49-F238E27FC236}">
                      <a16:creationId xmlns:a16="http://schemas.microsoft.com/office/drawing/2014/main" id="{D30A73C5-ED2B-D213-5F74-56F5ED9CFFBC}"/>
                    </a:ext>
                  </a:extLst>
                </p:cNvPr>
                <p:cNvSpPr/>
                <p:nvPr/>
              </p:nvSpPr>
              <p:spPr>
                <a:xfrm>
                  <a:off x="878601" y="4181385"/>
                  <a:ext cx="36338" cy="36326"/>
                </a:xfrm>
                <a:custGeom>
                  <a:avLst/>
                  <a:gdLst>
                    <a:gd name="connsiteX0" fmla="*/ 36338 w 36338"/>
                    <a:gd name="connsiteY0" fmla="*/ 18169 h 36326"/>
                    <a:gd name="connsiteX1" fmla="*/ 18169 w 36338"/>
                    <a:gd name="connsiteY1" fmla="*/ 36327 h 36326"/>
                    <a:gd name="connsiteX2" fmla="*/ 0 w 36338"/>
                    <a:gd name="connsiteY2" fmla="*/ 18169 h 36326"/>
                    <a:gd name="connsiteX3" fmla="*/ 18169 w 36338"/>
                    <a:gd name="connsiteY3" fmla="*/ 0 h 36326"/>
                    <a:gd name="connsiteX4" fmla="*/ 36338 w 36338"/>
                    <a:gd name="connsiteY4" fmla="*/ 18169 h 3632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6338" h="36326">
                      <a:moveTo>
                        <a:pt x="36338" y="18169"/>
                      </a:moveTo>
                      <a:cubicBezTo>
                        <a:pt x="36338" y="28203"/>
                        <a:pt x="28203" y="36327"/>
                        <a:pt x="18169" y="36327"/>
                      </a:cubicBezTo>
                      <a:cubicBezTo>
                        <a:pt x="8135" y="36327"/>
                        <a:pt x="0" y="28203"/>
                        <a:pt x="0" y="18169"/>
                      </a:cubicBezTo>
                      <a:cubicBezTo>
                        <a:pt x="0" y="8135"/>
                        <a:pt x="8135" y="0"/>
                        <a:pt x="18169" y="0"/>
                      </a:cubicBezTo>
                      <a:cubicBezTo>
                        <a:pt x="28203" y="0"/>
                        <a:pt x="36338" y="8135"/>
                        <a:pt x="36338" y="18169"/>
                      </a:cubicBezTo>
                      <a:close/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281" name="Forma livre: Forma 1280">
                  <a:extLst>
                    <a:ext uri="{FF2B5EF4-FFF2-40B4-BE49-F238E27FC236}">
                      <a16:creationId xmlns:a16="http://schemas.microsoft.com/office/drawing/2014/main" id="{5D3DC1D8-4E60-974A-977C-5F093393A366}"/>
                    </a:ext>
                  </a:extLst>
                </p:cNvPr>
                <p:cNvSpPr/>
                <p:nvPr/>
              </p:nvSpPr>
              <p:spPr>
                <a:xfrm>
                  <a:off x="878601" y="4251812"/>
                  <a:ext cx="36338" cy="36326"/>
                </a:xfrm>
                <a:custGeom>
                  <a:avLst/>
                  <a:gdLst>
                    <a:gd name="connsiteX0" fmla="*/ 36338 w 36338"/>
                    <a:gd name="connsiteY0" fmla="*/ 18169 h 36326"/>
                    <a:gd name="connsiteX1" fmla="*/ 18169 w 36338"/>
                    <a:gd name="connsiteY1" fmla="*/ 36326 h 36326"/>
                    <a:gd name="connsiteX2" fmla="*/ 0 w 36338"/>
                    <a:gd name="connsiteY2" fmla="*/ 18169 h 36326"/>
                    <a:gd name="connsiteX3" fmla="*/ 18169 w 36338"/>
                    <a:gd name="connsiteY3" fmla="*/ 0 h 36326"/>
                    <a:gd name="connsiteX4" fmla="*/ 36338 w 36338"/>
                    <a:gd name="connsiteY4" fmla="*/ 18169 h 3632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6338" h="36326">
                      <a:moveTo>
                        <a:pt x="36338" y="18169"/>
                      </a:moveTo>
                      <a:cubicBezTo>
                        <a:pt x="36338" y="28203"/>
                        <a:pt x="28203" y="36326"/>
                        <a:pt x="18169" y="36326"/>
                      </a:cubicBezTo>
                      <a:cubicBezTo>
                        <a:pt x="8135" y="36326"/>
                        <a:pt x="0" y="28192"/>
                        <a:pt x="0" y="18169"/>
                      </a:cubicBezTo>
                      <a:cubicBezTo>
                        <a:pt x="0" y="8146"/>
                        <a:pt x="8135" y="0"/>
                        <a:pt x="18169" y="0"/>
                      </a:cubicBezTo>
                      <a:cubicBezTo>
                        <a:pt x="28203" y="0"/>
                        <a:pt x="36338" y="8135"/>
                        <a:pt x="36338" y="18169"/>
                      </a:cubicBezTo>
                      <a:close/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282" name="Forma livre: Forma 1281">
                  <a:extLst>
                    <a:ext uri="{FF2B5EF4-FFF2-40B4-BE49-F238E27FC236}">
                      <a16:creationId xmlns:a16="http://schemas.microsoft.com/office/drawing/2014/main" id="{D0B26E56-1EB0-8F8F-CC77-EC5CAEC45823}"/>
                    </a:ext>
                  </a:extLst>
                </p:cNvPr>
                <p:cNvSpPr/>
                <p:nvPr/>
              </p:nvSpPr>
              <p:spPr>
                <a:xfrm>
                  <a:off x="878613" y="4199554"/>
                  <a:ext cx="1165" cy="69110"/>
                </a:xfrm>
                <a:custGeom>
                  <a:avLst/>
                  <a:gdLst>
                    <a:gd name="connsiteX0" fmla="*/ 0 w 1165"/>
                    <a:gd name="connsiteY0" fmla="*/ 0 h 69110"/>
                    <a:gd name="connsiteX1" fmla="*/ 0 w 1165"/>
                    <a:gd name="connsiteY1" fmla="*/ 69110 h 6911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165" h="69110">
                      <a:moveTo>
                        <a:pt x="0" y="0"/>
                      </a:moveTo>
                      <a:lnTo>
                        <a:pt x="0" y="6911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grpSp>
          <p:nvGrpSpPr>
            <p:cNvPr id="1283" name="Gráfico 13">
              <a:extLst>
                <a:ext uri="{FF2B5EF4-FFF2-40B4-BE49-F238E27FC236}">
                  <a16:creationId xmlns:a16="http://schemas.microsoft.com/office/drawing/2014/main" id="{25968107-3E92-4D7E-B842-C3202FE1DAEF}"/>
                </a:ext>
              </a:extLst>
            </p:cNvPr>
            <p:cNvGrpSpPr/>
            <p:nvPr/>
          </p:nvGrpSpPr>
          <p:grpSpPr>
            <a:xfrm>
              <a:off x="843172" y="4351200"/>
              <a:ext cx="107219" cy="40790"/>
              <a:chOff x="843172" y="4351200"/>
              <a:chExt cx="107219" cy="40790"/>
            </a:xfrm>
            <a:noFill/>
          </p:grpSpPr>
          <p:sp>
            <p:nvSpPr>
              <p:cNvPr id="1284" name="Forma livre: Forma 1283">
                <a:extLst>
                  <a:ext uri="{FF2B5EF4-FFF2-40B4-BE49-F238E27FC236}">
                    <a16:creationId xmlns:a16="http://schemas.microsoft.com/office/drawing/2014/main" id="{DEB82CEE-1FB5-99D0-1050-6CCFA9A45A86}"/>
                  </a:ext>
                </a:extLst>
              </p:cNvPr>
              <p:cNvSpPr/>
              <p:nvPr/>
            </p:nvSpPr>
            <p:spPr>
              <a:xfrm>
                <a:off x="843172" y="4351200"/>
                <a:ext cx="6992" cy="6992"/>
              </a:xfrm>
              <a:custGeom>
                <a:avLst/>
                <a:gdLst>
                  <a:gd name="connsiteX0" fmla="*/ 6993 w 6992"/>
                  <a:gd name="connsiteY0" fmla="*/ 3496 h 6992"/>
                  <a:gd name="connsiteX1" fmla="*/ 3496 w 6992"/>
                  <a:gd name="connsiteY1" fmla="*/ 6993 h 6992"/>
                  <a:gd name="connsiteX2" fmla="*/ 0 w 6992"/>
                  <a:gd name="connsiteY2" fmla="*/ 3496 h 6992"/>
                  <a:gd name="connsiteX3" fmla="*/ 3496 w 6992"/>
                  <a:gd name="connsiteY3" fmla="*/ 0 h 6992"/>
                  <a:gd name="connsiteX4" fmla="*/ 6993 w 6992"/>
                  <a:gd name="connsiteY4" fmla="*/ 3496 h 69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992" h="6992">
                    <a:moveTo>
                      <a:pt x="6993" y="3496"/>
                    </a:moveTo>
                    <a:cubicBezTo>
                      <a:pt x="6993" y="5427"/>
                      <a:pt x="5427" y="6993"/>
                      <a:pt x="3496" y="6993"/>
                    </a:cubicBezTo>
                    <a:cubicBezTo>
                      <a:pt x="1565" y="6993"/>
                      <a:pt x="0" y="5427"/>
                      <a:pt x="0" y="3496"/>
                    </a:cubicBezTo>
                    <a:cubicBezTo>
                      <a:pt x="0" y="1565"/>
                      <a:pt x="1565" y="0"/>
                      <a:pt x="3496" y="0"/>
                    </a:cubicBezTo>
                    <a:cubicBezTo>
                      <a:pt x="5427" y="0"/>
                      <a:pt x="6993" y="1565"/>
                      <a:pt x="6993" y="3496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85" name="Forma livre: Forma 1284">
                <a:extLst>
                  <a:ext uri="{FF2B5EF4-FFF2-40B4-BE49-F238E27FC236}">
                    <a16:creationId xmlns:a16="http://schemas.microsoft.com/office/drawing/2014/main" id="{280F8494-AE2D-ACBB-C680-DCE2215FB368}"/>
                  </a:ext>
                </a:extLst>
              </p:cNvPr>
              <p:cNvSpPr/>
              <p:nvPr/>
            </p:nvSpPr>
            <p:spPr>
              <a:xfrm>
                <a:off x="876573" y="4351200"/>
                <a:ext cx="6992" cy="6992"/>
              </a:xfrm>
              <a:custGeom>
                <a:avLst/>
                <a:gdLst>
                  <a:gd name="connsiteX0" fmla="*/ 6993 w 6992"/>
                  <a:gd name="connsiteY0" fmla="*/ 3496 h 6992"/>
                  <a:gd name="connsiteX1" fmla="*/ 3496 w 6992"/>
                  <a:gd name="connsiteY1" fmla="*/ 6993 h 6992"/>
                  <a:gd name="connsiteX2" fmla="*/ 0 w 6992"/>
                  <a:gd name="connsiteY2" fmla="*/ 3496 h 6992"/>
                  <a:gd name="connsiteX3" fmla="*/ 3496 w 6992"/>
                  <a:gd name="connsiteY3" fmla="*/ 0 h 6992"/>
                  <a:gd name="connsiteX4" fmla="*/ 6993 w 6992"/>
                  <a:gd name="connsiteY4" fmla="*/ 3496 h 69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992" h="6992">
                    <a:moveTo>
                      <a:pt x="6993" y="3496"/>
                    </a:moveTo>
                    <a:cubicBezTo>
                      <a:pt x="6993" y="5427"/>
                      <a:pt x="5427" y="6993"/>
                      <a:pt x="3496" y="6993"/>
                    </a:cubicBezTo>
                    <a:cubicBezTo>
                      <a:pt x="1565" y="6993"/>
                      <a:pt x="0" y="5427"/>
                      <a:pt x="0" y="3496"/>
                    </a:cubicBezTo>
                    <a:cubicBezTo>
                      <a:pt x="0" y="1565"/>
                      <a:pt x="1565" y="0"/>
                      <a:pt x="3496" y="0"/>
                    </a:cubicBezTo>
                    <a:cubicBezTo>
                      <a:pt x="5427" y="0"/>
                      <a:pt x="6993" y="1565"/>
                      <a:pt x="6993" y="3496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86" name="Forma livre: Forma 1285">
                <a:extLst>
                  <a:ext uri="{FF2B5EF4-FFF2-40B4-BE49-F238E27FC236}">
                    <a16:creationId xmlns:a16="http://schemas.microsoft.com/office/drawing/2014/main" id="{F4C5A6BA-F0B9-24E9-822D-27CF8070C8D9}"/>
                  </a:ext>
                </a:extLst>
              </p:cNvPr>
              <p:cNvSpPr/>
              <p:nvPr/>
            </p:nvSpPr>
            <p:spPr>
              <a:xfrm>
                <a:off x="909986" y="4351200"/>
                <a:ext cx="6992" cy="6992"/>
              </a:xfrm>
              <a:custGeom>
                <a:avLst/>
                <a:gdLst>
                  <a:gd name="connsiteX0" fmla="*/ 6993 w 6992"/>
                  <a:gd name="connsiteY0" fmla="*/ 3496 h 6992"/>
                  <a:gd name="connsiteX1" fmla="*/ 3496 w 6992"/>
                  <a:gd name="connsiteY1" fmla="*/ 6993 h 6992"/>
                  <a:gd name="connsiteX2" fmla="*/ 0 w 6992"/>
                  <a:gd name="connsiteY2" fmla="*/ 3496 h 6992"/>
                  <a:gd name="connsiteX3" fmla="*/ 3496 w 6992"/>
                  <a:gd name="connsiteY3" fmla="*/ 0 h 6992"/>
                  <a:gd name="connsiteX4" fmla="*/ 6993 w 6992"/>
                  <a:gd name="connsiteY4" fmla="*/ 3496 h 69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992" h="6992">
                    <a:moveTo>
                      <a:pt x="6993" y="3496"/>
                    </a:moveTo>
                    <a:cubicBezTo>
                      <a:pt x="6993" y="5427"/>
                      <a:pt x="5427" y="6993"/>
                      <a:pt x="3496" y="6993"/>
                    </a:cubicBezTo>
                    <a:cubicBezTo>
                      <a:pt x="1565" y="6993"/>
                      <a:pt x="0" y="5427"/>
                      <a:pt x="0" y="3496"/>
                    </a:cubicBezTo>
                    <a:cubicBezTo>
                      <a:pt x="0" y="1565"/>
                      <a:pt x="1565" y="0"/>
                      <a:pt x="3496" y="0"/>
                    </a:cubicBezTo>
                    <a:cubicBezTo>
                      <a:pt x="5427" y="0"/>
                      <a:pt x="6993" y="1565"/>
                      <a:pt x="6993" y="3496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87" name="Forma livre: Forma 1286">
                <a:extLst>
                  <a:ext uri="{FF2B5EF4-FFF2-40B4-BE49-F238E27FC236}">
                    <a16:creationId xmlns:a16="http://schemas.microsoft.com/office/drawing/2014/main" id="{53EF42A5-663C-89D7-D089-F35CEC787F03}"/>
                  </a:ext>
                </a:extLst>
              </p:cNvPr>
              <p:cNvSpPr/>
              <p:nvPr/>
            </p:nvSpPr>
            <p:spPr>
              <a:xfrm>
                <a:off x="943399" y="4351200"/>
                <a:ext cx="6992" cy="6992"/>
              </a:xfrm>
              <a:custGeom>
                <a:avLst/>
                <a:gdLst>
                  <a:gd name="connsiteX0" fmla="*/ 6993 w 6992"/>
                  <a:gd name="connsiteY0" fmla="*/ 3496 h 6992"/>
                  <a:gd name="connsiteX1" fmla="*/ 3496 w 6992"/>
                  <a:gd name="connsiteY1" fmla="*/ 6993 h 6992"/>
                  <a:gd name="connsiteX2" fmla="*/ 0 w 6992"/>
                  <a:gd name="connsiteY2" fmla="*/ 3496 h 6992"/>
                  <a:gd name="connsiteX3" fmla="*/ 3496 w 6992"/>
                  <a:gd name="connsiteY3" fmla="*/ 0 h 6992"/>
                  <a:gd name="connsiteX4" fmla="*/ 6993 w 6992"/>
                  <a:gd name="connsiteY4" fmla="*/ 3496 h 69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992" h="6992">
                    <a:moveTo>
                      <a:pt x="6993" y="3496"/>
                    </a:moveTo>
                    <a:cubicBezTo>
                      <a:pt x="6993" y="5427"/>
                      <a:pt x="5427" y="6993"/>
                      <a:pt x="3496" y="6993"/>
                    </a:cubicBezTo>
                    <a:cubicBezTo>
                      <a:pt x="1565" y="6993"/>
                      <a:pt x="0" y="5427"/>
                      <a:pt x="0" y="3496"/>
                    </a:cubicBezTo>
                    <a:cubicBezTo>
                      <a:pt x="0" y="1565"/>
                      <a:pt x="1565" y="0"/>
                      <a:pt x="3496" y="0"/>
                    </a:cubicBezTo>
                    <a:cubicBezTo>
                      <a:pt x="5427" y="0"/>
                      <a:pt x="6993" y="1565"/>
                      <a:pt x="6993" y="3496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88" name="Forma livre: Forma 1287">
                <a:extLst>
                  <a:ext uri="{FF2B5EF4-FFF2-40B4-BE49-F238E27FC236}">
                    <a16:creationId xmlns:a16="http://schemas.microsoft.com/office/drawing/2014/main" id="{475E35AE-454E-27DD-33F4-DE49463F9FCF}"/>
                  </a:ext>
                </a:extLst>
              </p:cNvPr>
              <p:cNvSpPr/>
              <p:nvPr/>
            </p:nvSpPr>
            <p:spPr>
              <a:xfrm>
                <a:off x="843172" y="4384998"/>
                <a:ext cx="6992" cy="6992"/>
              </a:xfrm>
              <a:custGeom>
                <a:avLst/>
                <a:gdLst>
                  <a:gd name="connsiteX0" fmla="*/ 6993 w 6992"/>
                  <a:gd name="connsiteY0" fmla="*/ 3496 h 6992"/>
                  <a:gd name="connsiteX1" fmla="*/ 3496 w 6992"/>
                  <a:gd name="connsiteY1" fmla="*/ 6993 h 6992"/>
                  <a:gd name="connsiteX2" fmla="*/ 0 w 6992"/>
                  <a:gd name="connsiteY2" fmla="*/ 3496 h 6992"/>
                  <a:gd name="connsiteX3" fmla="*/ 3496 w 6992"/>
                  <a:gd name="connsiteY3" fmla="*/ 0 h 6992"/>
                  <a:gd name="connsiteX4" fmla="*/ 6993 w 6992"/>
                  <a:gd name="connsiteY4" fmla="*/ 3496 h 69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992" h="6992">
                    <a:moveTo>
                      <a:pt x="6993" y="3496"/>
                    </a:moveTo>
                    <a:cubicBezTo>
                      <a:pt x="6993" y="5427"/>
                      <a:pt x="5427" y="6993"/>
                      <a:pt x="3496" y="6993"/>
                    </a:cubicBezTo>
                    <a:cubicBezTo>
                      <a:pt x="1565" y="6993"/>
                      <a:pt x="0" y="5427"/>
                      <a:pt x="0" y="3496"/>
                    </a:cubicBezTo>
                    <a:cubicBezTo>
                      <a:pt x="0" y="1565"/>
                      <a:pt x="1565" y="0"/>
                      <a:pt x="3496" y="0"/>
                    </a:cubicBezTo>
                    <a:cubicBezTo>
                      <a:pt x="5427" y="0"/>
                      <a:pt x="6993" y="1565"/>
                      <a:pt x="6993" y="3496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89" name="Forma livre: Forma 1288">
                <a:extLst>
                  <a:ext uri="{FF2B5EF4-FFF2-40B4-BE49-F238E27FC236}">
                    <a16:creationId xmlns:a16="http://schemas.microsoft.com/office/drawing/2014/main" id="{40CB88CA-4924-1AFB-4D7A-352D9B04672D}"/>
                  </a:ext>
                </a:extLst>
              </p:cNvPr>
              <p:cNvSpPr/>
              <p:nvPr/>
            </p:nvSpPr>
            <p:spPr>
              <a:xfrm>
                <a:off x="876573" y="4384998"/>
                <a:ext cx="6992" cy="6992"/>
              </a:xfrm>
              <a:custGeom>
                <a:avLst/>
                <a:gdLst>
                  <a:gd name="connsiteX0" fmla="*/ 6993 w 6992"/>
                  <a:gd name="connsiteY0" fmla="*/ 3496 h 6992"/>
                  <a:gd name="connsiteX1" fmla="*/ 3496 w 6992"/>
                  <a:gd name="connsiteY1" fmla="*/ 6993 h 6992"/>
                  <a:gd name="connsiteX2" fmla="*/ 0 w 6992"/>
                  <a:gd name="connsiteY2" fmla="*/ 3496 h 6992"/>
                  <a:gd name="connsiteX3" fmla="*/ 3496 w 6992"/>
                  <a:gd name="connsiteY3" fmla="*/ 0 h 6992"/>
                  <a:gd name="connsiteX4" fmla="*/ 6993 w 6992"/>
                  <a:gd name="connsiteY4" fmla="*/ 3496 h 69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992" h="6992">
                    <a:moveTo>
                      <a:pt x="6993" y="3496"/>
                    </a:moveTo>
                    <a:cubicBezTo>
                      <a:pt x="6993" y="5427"/>
                      <a:pt x="5427" y="6993"/>
                      <a:pt x="3496" y="6993"/>
                    </a:cubicBezTo>
                    <a:cubicBezTo>
                      <a:pt x="1565" y="6993"/>
                      <a:pt x="0" y="5427"/>
                      <a:pt x="0" y="3496"/>
                    </a:cubicBezTo>
                    <a:cubicBezTo>
                      <a:pt x="0" y="1565"/>
                      <a:pt x="1565" y="0"/>
                      <a:pt x="3496" y="0"/>
                    </a:cubicBezTo>
                    <a:cubicBezTo>
                      <a:pt x="5427" y="0"/>
                      <a:pt x="6993" y="1565"/>
                      <a:pt x="6993" y="3496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90" name="Forma livre: Forma 1289">
                <a:extLst>
                  <a:ext uri="{FF2B5EF4-FFF2-40B4-BE49-F238E27FC236}">
                    <a16:creationId xmlns:a16="http://schemas.microsoft.com/office/drawing/2014/main" id="{89D50F02-1A65-681F-A6F7-8DEE5570D252}"/>
                  </a:ext>
                </a:extLst>
              </p:cNvPr>
              <p:cNvSpPr/>
              <p:nvPr/>
            </p:nvSpPr>
            <p:spPr>
              <a:xfrm>
                <a:off x="909986" y="4384998"/>
                <a:ext cx="6992" cy="6992"/>
              </a:xfrm>
              <a:custGeom>
                <a:avLst/>
                <a:gdLst>
                  <a:gd name="connsiteX0" fmla="*/ 6993 w 6992"/>
                  <a:gd name="connsiteY0" fmla="*/ 3496 h 6992"/>
                  <a:gd name="connsiteX1" fmla="*/ 3496 w 6992"/>
                  <a:gd name="connsiteY1" fmla="*/ 6993 h 6992"/>
                  <a:gd name="connsiteX2" fmla="*/ 0 w 6992"/>
                  <a:gd name="connsiteY2" fmla="*/ 3496 h 6992"/>
                  <a:gd name="connsiteX3" fmla="*/ 3496 w 6992"/>
                  <a:gd name="connsiteY3" fmla="*/ 0 h 6992"/>
                  <a:gd name="connsiteX4" fmla="*/ 6993 w 6992"/>
                  <a:gd name="connsiteY4" fmla="*/ 3496 h 69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992" h="6992">
                    <a:moveTo>
                      <a:pt x="6993" y="3496"/>
                    </a:moveTo>
                    <a:cubicBezTo>
                      <a:pt x="6993" y="5427"/>
                      <a:pt x="5427" y="6993"/>
                      <a:pt x="3496" y="6993"/>
                    </a:cubicBezTo>
                    <a:cubicBezTo>
                      <a:pt x="1565" y="6993"/>
                      <a:pt x="0" y="5427"/>
                      <a:pt x="0" y="3496"/>
                    </a:cubicBezTo>
                    <a:cubicBezTo>
                      <a:pt x="0" y="1565"/>
                      <a:pt x="1565" y="0"/>
                      <a:pt x="3496" y="0"/>
                    </a:cubicBezTo>
                    <a:cubicBezTo>
                      <a:pt x="5427" y="0"/>
                      <a:pt x="6993" y="1565"/>
                      <a:pt x="6993" y="3496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91" name="Forma livre: Forma 1290">
                <a:extLst>
                  <a:ext uri="{FF2B5EF4-FFF2-40B4-BE49-F238E27FC236}">
                    <a16:creationId xmlns:a16="http://schemas.microsoft.com/office/drawing/2014/main" id="{1DDDC748-1A95-B1FA-7AF7-5FE3247CBF57}"/>
                  </a:ext>
                </a:extLst>
              </p:cNvPr>
              <p:cNvSpPr/>
              <p:nvPr/>
            </p:nvSpPr>
            <p:spPr>
              <a:xfrm>
                <a:off x="943399" y="4384998"/>
                <a:ext cx="6992" cy="6992"/>
              </a:xfrm>
              <a:custGeom>
                <a:avLst/>
                <a:gdLst>
                  <a:gd name="connsiteX0" fmla="*/ 6993 w 6992"/>
                  <a:gd name="connsiteY0" fmla="*/ 3496 h 6992"/>
                  <a:gd name="connsiteX1" fmla="*/ 3496 w 6992"/>
                  <a:gd name="connsiteY1" fmla="*/ 6993 h 6992"/>
                  <a:gd name="connsiteX2" fmla="*/ 0 w 6992"/>
                  <a:gd name="connsiteY2" fmla="*/ 3496 h 6992"/>
                  <a:gd name="connsiteX3" fmla="*/ 3496 w 6992"/>
                  <a:gd name="connsiteY3" fmla="*/ 0 h 6992"/>
                  <a:gd name="connsiteX4" fmla="*/ 6993 w 6992"/>
                  <a:gd name="connsiteY4" fmla="*/ 3496 h 69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992" h="6992">
                    <a:moveTo>
                      <a:pt x="6993" y="3496"/>
                    </a:moveTo>
                    <a:cubicBezTo>
                      <a:pt x="6993" y="5427"/>
                      <a:pt x="5427" y="6993"/>
                      <a:pt x="3496" y="6993"/>
                    </a:cubicBezTo>
                    <a:cubicBezTo>
                      <a:pt x="1565" y="6993"/>
                      <a:pt x="0" y="5427"/>
                      <a:pt x="0" y="3496"/>
                    </a:cubicBezTo>
                    <a:cubicBezTo>
                      <a:pt x="0" y="1565"/>
                      <a:pt x="1565" y="0"/>
                      <a:pt x="3496" y="0"/>
                    </a:cubicBezTo>
                    <a:cubicBezTo>
                      <a:pt x="5427" y="0"/>
                      <a:pt x="6993" y="1565"/>
                      <a:pt x="6993" y="3496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292" name="Gráfico 13">
            <a:extLst>
              <a:ext uri="{FF2B5EF4-FFF2-40B4-BE49-F238E27FC236}">
                <a16:creationId xmlns:a16="http://schemas.microsoft.com/office/drawing/2014/main" id="{8544C56A-CF4A-6556-EC0E-A47FFD15CCC2}"/>
              </a:ext>
            </a:extLst>
          </p:cNvPr>
          <p:cNvGrpSpPr/>
          <p:nvPr/>
        </p:nvGrpSpPr>
        <p:grpSpPr>
          <a:xfrm>
            <a:off x="763073" y="4665340"/>
            <a:ext cx="301519" cy="267990"/>
            <a:chOff x="763073" y="4665340"/>
            <a:chExt cx="301519" cy="267990"/>
          </a:xfrm>
          <a:noFill/>
        </p:grpSpPr>
        <p:grpSp>
          <p:nvGrpSpPr>
            <p:cNvPr id="1293" name="Gráfico 13">
              <a:extLst>
                <a:ext uri="{FF2B5EF4-FFF2-40B4-BE49-F238E27FC236}">
                  <a16:creationId xmlns:a16="http://schemas.microsoft.com/office/drawing/2014/main" id="{D4E82BC0-0B21-B469-6BE5-98A0A6D8FEFC}"/>
                </a:ext>
              </a:extLst>
            </p:cNvPr>
            <p:cNvGrpSpPr/>
            <p:nvPr/>
          </p:nvGrpSpPr>
          <p:grpSpPr>
            <a:xfrm>
              <a:off x="763073" y="4665340"/>
              <a:ext cx="184868" cy="267990"/>
              <a:chOff x="763073" y="4665340"/>
              <a:chExt cx="184868" cy="267990"/>
            </a:xfrm>
            <a:noFill/>
          </p:grpSpPr>
          <p:sp>
            <p:nvSpPr>
              <p:cNvPr id="1294" name="Forma livre: Forma 1293">
                <a:extLst>
                  <a:ext uri="{FF2B5EF4-FFF2-40B4-BE49-F238E27FC236}">
                    <a16:creationId xmlns:a16="http://schemas.microsoft.com/office/drawing/2014/main" id="{A8AC3BBF-DAA0-179B-A919-5A121FF2B1AC}"/>
                  </a:ext>
                </a:extLst>
              </p:cNvPr>
              <p:cNvSpPr/>
              <p:nvPr/>
            </p:nvSpPr>
            <p:spPr>
              <a:xfrm>
                <a:off x="763073" y="4665340"/>
                <a:ext cx="184868" cy="267990"/>
              </a:xfrm>
              <a:custGeom>
                <a:avLst/>
                <a:gdLst>
                  <a:gd name="connsiteX0" fmla="*/ 4066 w 184868"/>
                  <a:gd name="connsiteY0" fmla="*/ 119622 h 267990"/>
                  <a:gd name="connsiteX1" fmla="*/ 37456 w 184868"/>
                  <a:gd name="connsiteY1" fmla="*/ 14383 h 267990"/>
                  <a:gd name="connsiteX2" fmla="*/ 143720 w 184868"/>
                  <a:gd name="connsiteY2" fmla="*/ 15397 h 267990"/>
                  <a:gd name="connsiteX3" fmla="*/ 173066 w 184868"/>
                  <a:gd name="connsiteY3" fmla="*/ 133793 h 267990"/>
                  <a:gd name="connsiteX4" fmla="*/ 154850 w 184868"/>
                  <a:gd name="connsiteY4" fmla="*/ 157079 h 267990"/>
                  <a:gd name="connsiteX5" fmla="*/ 128546 w 184868"/>
                  <a:gd name="connsiteY5" fmla="*/ 215770 h 267990"/>
                  <a:gd name="connsiteX6" fmla="*/ 84015 w 184868"/>
                  <a:gd name="connsiteY6" fmla="*/ 267387 h 267990"/>
                  <a:gd name="connsiteX7" fmla="*/ 38878 w 184868"/>
                  <a:gd name="connsiteY7" fmla="*/ 226912 h 2679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84868" h="267990">
                    <a:moveTo>
                      <a:pt x="4066" y="119622"/>
                    </a:moveTo>
                    <a:cubicBezTo>
                      <a:pt x="4066" y="119622"/>
                      <a:pt x="-17180" y="45757"/>
                      <a:pt x="37456" y="14383"/>
                    </a:cubicBezTo>
                    <a:cubicBezTo>
                      <a:pt x="37456" y="14383"/>
                      <a:pt x="92627" y="-18645"/>
                      <a:pt x="143720" y="15397"/>
                    </a:cubicBezTo>
                    <a:cubicBezTo>
                      <a:pt x="143720" y="15397"/>
                      <a:pt x="211513" y="56887"/>
                      <a:pt x="173066" y="133793"/>
                    </a:cubicBezTo>
                    <a:cubicBezTo>
                      <a:pt x="173066" y="133793"/>
                      <a:pt x="165467" y="147464"/>
                      <a:pt x="154850" y="157079"/>
                    </a:cubicBezTo>
                    <a:cubicBezTo>
                      <a:pt x="154850" y="157079"/>
                      <a:pt x="132077" y="180353"/>
                      <a:pt x="128546" y="215770"/>
                    </a:cubicBezTo>
                    <a:cubicBezTo>
                      <a:pt x="128546" y="215770"/>
                      <a:pt x="128546" y="262317"/>
                      <a:pt x="84015" y="267387"/>
                    </a:cubicBezTo>
                    <a:cubicBezTo>
                      <a:pt x="84015" y="267387"/>
                      <a:pt x="49273" y="276151"/>
                      <a:pt x="38878" y="226912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295" name="Forma livre: Forma 1294">
                <a:extLst>
                  <a:ext uri="{FF2B5EF4-FFF2-40B4-BE49-F238E27FC236}">
                    <a16:creationId xmlns:a16="http://schemas.microsoft.com/office/drawing/2014/main" id="{332268A1-B787-617D-BEDC-D73E3D1F93A1}"/>
                  </a:ext>
                </a:extLst>
              </p:cNvPr>
              <p:cNvSpPr/>
              <p:nvPr/>
            </p:nvSpPr>
            <p:spPr>
              <a:xfrm>
                <a:off x="805731" y="4695583"/>
                <a:ext cx="108725" cy="167873"/>
              </a:xfrm>
              <a:custGeom>
                <a:avLst/>
                <a:gdLst>
                  <a:gd name="connsiteX0" fmla="*/ 106621 w 108725"/>
                  <a:gd name="connsiteY0" fmla="*/ 74205 h 167873"/>
                  <a:gd name="connsiteX1" fmla="*/ 78918 w 108725"/>
                  <a:gd name="connsiteY1" fmla="*/ 9104 h 167873"/>
                  <a:gd name="connsiteX2" fmla="*/ 18199 w 108725"/>
                  <a:gd name="connsiteY2" fmla="*/ 9768 h 167873"/>
                  <a:gd name="connsiteX3" fmla="*/ 660 w 108725"/>
                  <a:gd name="connsiteY3" fmla="*/ 56653 h 167873"/>
                  <a:gd name="connsiteX4" fmla="*/ 25483 w 108725"/>
                  <a:gd name="connsiteY4" fmla="*/ 69811 h 167873"/>
                  <a:gd name="connsiteX5" fmla="*/ 69921 w 108725"/>
                  <a:gd name="connsiteY5" fmla="*/ 75463 h 167873"/>
                  <a:gd name="connsiteX6" fmla="*/ 57521 w 108725"/>
                  <a:gd name="connsiteY6" fmla="*/ 107257 h 167873"/>
                  <a:gd name="connsiteX7" fmla="*/ 35716 w 108725"/>
                  <a:gd name="connsiteY7" fmla="*/ 153617 h 167873"/>
                  <a:gd name="connsiteX8" fmla="*/ 9156 w 108725"/>
                  <a:gd name="connsiteY8" fmla="*/ 153536 h 167873"/>
                  <a:gd name="connsiteX9" fmla="*/ 6056 w 108725"/>
                  <a:gd name="connsiteY9" fmla="*/ 132966 h 1678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08725" h="167873">
                    <a:moveTo>
                      <a:pt x="106621" y="74205"/>
                    </a:moveTo>
                    <a:cubicBezTo>
                      <a:pt x="106621" y="74205"/>
                      <a:pt x="120082" y="33391"/>
                      <a:pt x="78918" y="9104"/>
                    </a:cubicBezTo>
                    <a:cubicBezTo>
                      <a:pt x="78918" y="9104"/>
                      <a:pt x="44713" y="-11816"/>
                      <a:pt x="18199" y="9768"/>
                    </a:cubicBezTo>
                    <a:cubicBezTo>
                      <a:pt x="18199" y="9768"/>
                      <a:pt x="-4072" y="27984"/>
                      <a:pt x="660" y="56653"/>
                    </a:cubicBezTo>
                    <a:cubicBezTo>
                      <a:pt x="660" y="56653"/>
                      <a:pt x="4238" y="104553"/>
                      <a:pt x="25483" y="69811"/>
                    </a:cubicBezTo>
                    <a:cubicBezTo>
                      <a:pt x="25483" y="69811"/>
                      <a:pt x="44713" y="37098"/>
                      <a:pt x="69921" y="75463"/>
                    </a:cubicBezTo>
                    <a:cubicBezTo>
                      <a:pt x="69921" y="75463"/>
                      <a:pt x="84501" y="99157"/>
                      <a:pt x="57521" y="107257"/>
                    </a:cubicBezTo>
                    <a:cubicBezTo>
                      <a:pt x="57521" y="107257"/>
                      <a:pt x="34900" y="116347"/>
                      <a:pt x="35716" y="153617"/>
                    </a:cubicBezTo>
                    <a:cubicBezTo>
                      <a:pt x="36019" y="166542"/>
                      <a:pt x="13759" y="177917"/>
                      <a:pt x="9156" y="153536"/>
                    </a:cubicBezTo>
                    <a:cubicBezTo>
                      <a:pt x="5671" y="136928"/>
                      <a:pt x="6056" y="132966"/>
                      <a:pt x="6056" y="132966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296" name="Gráfico 13">
              <a:extLst>
                <a:ext uri="{FF2B5EF4-FFF2-40B4-BE49-F238E27FC236}">
                  <a16:creationId xmlns:a16="http://schemas.microsoft.com/office/drawing/2014/main" id="{109FADB9-CF8D-C875-9C8E-E5B54566B464}"/>
                </a:ext>
              </a:extLst>
            </p:cNvPr>
            <p:cNvGrpSpPr/>
            <p:nvPr/>
          </p:nvGrpSpPr>
          <p:grpSpPr>
            <a:xfrm>
              <a:off x="914555" y="4733963"/>
              <a:ext cx="150037" cy="199335"/>
              <a:chOff x="914555" y="4733963"/>
              <a:chExt cx="150037" cy="199335"/>
            </a:xfrm>
            <a:noFill/>
          </p:grpSpPr>
          <p:grpSp>
            <p:nvGrpSpPr>
              <p:cNvPr id="1297" name="Gráfico 13">
                <a:extLst>
                  <a:ext uri="{FF2B5EF4-FFF2-40B4-BE49-F238E27FC236}">
                    <a16:creationId xmlns:a16="http://schemas.microsoft.com/office/drawing/2014/main" id="{8F19CB8A-13F3-57E1-F488-E5E5F61E260D}"/>
                  </a:ext>
                </a:extLst>
              </p:cNvPr>
              <p:cNvGrpSpPr/>
              <p:nvPr/>
            </p:nvGrpSpPr>
            <p:grpSpPr>
              <a:xfrm>
                <a:off x="937584" y="4774869"/>
                <a:ext cx="87325" cy="61173"/>
                <a:chOff x="937584" y="4774869"/>
                <a:chExt cx="87325" cy="61173"/>
              </a:xfrm>
            </p:grpSpPr>
            <p:sp>
              <p:nvSpPr>
                <p:cNvPr id="1298" name="Forma livre: Forma 1297">
                  <a:extLst>
                    <a:ext uri="{FF2B5EF4-FFF2-40B4-BE49-F238E27FC236}">
                      <a16:creationId xmlns:a16="http://schemas.microsoft.com/office/drawing/2014/main" id="{FF45C752-6120-BEA4-D427-B018FA754F41}"/>
                    </a:ext>
                  </a:extLst>
                </p:cNvPr>
                <p:cNvSpPr/>
                <p:nvPr/>
              </p:nvSpPr>
              <p:spPr>
                <a:xfrm>
                  <a:off x="971603" y="4774869"/>
                  <a:ext cx="53306" cy="1165"/>
                </a:xfrm>
                <a:custGeom>
                  <a:avLst/>
                  <a:gdLst>
                    <a:gd name="connsiteX0" fmla="*/ 0 w 53306"/>
                    <a:gd name="connsiteY0" fmla="*/ 0 h 1165"/>
                    <a:gd name="connsiteX1" fmla="*/ 53307 w 53306"/>
                    <a:gd name="connsiteY1" fmla="*/ 0 h 116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53306" h="1165">
                      <a:moveTo>
                        <a:pt x="0" y="0"/>
                      </a:moveTo>
                      <a:lnTo>
                        <a:pt x="53307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299" name="Forma livre: Forma 1298">
                  <a:extLst>
                    <a:ext uri="{FF2B5EF4-FFF2-40B4-BE49-F238E27FC236}">
                      <a16:creationId xmlns:a16="http://schemas.microsoft.com/office/drawing/2014/main" id="{817A701C-5089-0789-B3F4-8DDEF7E49766}"/>
                    </a:ext>
                  </a:extLst>
                </p:cNvPr>
                <p:cNvSpPr/>
                <p:nvPr/>
              </p:nvSpPr>
              <p:spPr>
                <a:xfrm>
                  <a:off x="959296" y="4805462"/>
                  <a:ext cx="65613" cy="1165"/>
                </a:xfrm>
                <a:custGeom>
                  <a:avLst/>
                  <a:gdLst>
                    <a:gd name="connsiteX0" fmla="*/ 0 w 65613"/>
                    <a:gd name="connsiteY0" fmla="*/ 0 h 1165"/>
                    <a:gd name="connsiteX1" fmla="*/ 65614 w 65613"/>
                    <a:gd name="connsiteY1" fmla="*/ 0 h 116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65613" h="1165">
                      <a:moveTo>
                        <a:pt x="0" y="0"/>
                      </a:moveTo>
                      <a:lnTo>
                        <a:pt x="65614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300" name="Forma livre: Forma 1299">
                  <a:extLst>
                    <a:ext uri="{FF2B5EF4-FFF2-40B4-BE49-F238E27FC236}">
                      <a16:creationId xmlns:a16="http://schemas.microsoft.com/office/drawing/2014/main" id="{DDD6BC18-804F-6D69-A9F2-C497DEC8CD16}"/>
                    </a:ext>
                  </a:extLst>
                </p:cNvPr>
                <p:cNvSpPr/>
                <p:nvPr/>
              </p:nvSpPr>
              <p:spPr>
                <a:xfrm>
                  <a:off x="937584" y="4836043"/>
                  <a:ext cx="87325" cy="1165"/>
                </a:xfrm>
                <a:custGeom>
                  <a:avLst/>
                  <a:gdLst>
                    <a:gd name="connsiteX0" fmla="*/ 0 w 87325"/>
                    <a:gd name="connsiteY0" fmla="*/ 0 h 1165"/>
                    <a:gd name="connsiteX1" fmla="*/ 87326 w 87325"/>
                    <a:gd name="connsiteY1" fmla="*/ 0 h 116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87325" h="1165">
                      <a:moveTo>
                        <a:pt x="0" y="0"/>
                      </a:moveTo>
                      <a:lnTo>
                        <a:pt x="87326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1301" name="Forma livre: Forma 1300">
                <a:extLst>
                  <a:ext uri="{FF2B5EF4-FFF2-40B4-BE49-F238E27FC236}">
                    <a16:creationId xmlns:a16="http://schemas.microsoft.com/office/drawing/2014/main" id="{9061BC2F-DE28-4811-047F-0A1F13E116A0}"/>
                  </a:ext>
                </a:extLst>
              </p:cNvPr>
              <p:cNvSpPr/>
              <p:nvPr/>
            </p:nvSpPr>
            <p:spPr>
              <a:xfrm>
                <a:off x="914555" y="4733963"/>
                <a:ext cx="150037" cy="199335"/>
              </a:xfrm>
              <a:custGeom>
                <a:avLst/>
                <a:gdLst>
                  <a:gd name="connsiteX0" fmla="*/ 56419 w 150037"/>
                  <a:gd name="connsiteY0" fmla="*/ 0 h 199335"/>
                  <a:gd name="connsiteX1" fmla="*/ 131973 w 150037"/>
                  <a:gd name="connsiteY1" fmla="*/ 0 h 199335"/>
                  <a:gd name="connsiteX2" fmla="*/ 150038 w 150037"/>
                  <a:gd name="connsiteY2" fmla="*/ 18053 h 199335"/>
                  <a:gd name="connsiteX3" fmla="*/ 150038 w 150037"/>
                  <a:gd name="connsiteY3" fmla="*/ 127999 h 199335"/>
                  <a:gd name="connsiteX4" fmla="*/ 131973 w 150037"/>
                  <a:gd name="connsiteY4" fmla="*/ 146064 h 199335"/>
                  <a:gd name="connsiteX5" fmla="*/ 106870 w 150037"/>
                  <a:gd name="connsiteY5" fmla="*/ 146064 h 199335"/>
                  <a:gd name="connsiteX6" fmla="*/ 106870 w 150037"/>
                  <a:gd name="connsiteY6" fmla="*/ 199335 h 199335"/>
                  <a:gd name="connsiteX7" fmla="*/ 59017 w 150037"/>
                  <a:gd name="connsiteY7" fmla="*/ 146064 h 199335"/>
                  <a:gd name="connsiteX8" fmla="*/ 0 w 150037"/>
                  <a:gd name="connsiteY8" fmla="*/ 146064 h 1993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50037" h="199335">
                    <a:moveTo>
                      <a:pt x="56419" y="0"/>
                    </a:moveTo>
                    <a:lnTo>
                      <a:pt x="131973" y="0"/>
                    </a:lnTo>
                    <a:cubicBezTo>
                      <a:pt x="141903" y="0"/>
                      <a:pt x="150038" y="8123"/>
                      <a:pt x="150038" y="18053"/>
                    </a:cubicBezTo>
                    <a:lnTo>
                      <a:pt x="150038" y="127999"/>
                    </a:lnTo>
                    <a:cubicBezTo>
                      <a:pt x="150038" y="137929"/>
                      <a:pt x="141903" y="146064"/>
                      <a:pt x="131973" y="146064"/>
                    </a:cubicBezTo>
                    <a:lnTo>
                      <a:pt x="106870" y="146064"/>
                    </a:lnTo>
                    <a:lnTo>
                      <a:pt x="106870" y="199335"/>
                    </a:lnTo>
                    <a:lnTo>
                      <a:pt x="59017" y="146064"/>
                    </a:lnTo>
                    <a:lnTo>
                      <a:pt x="0" y="146064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302" name="Gráfico 13">
            <a:extLst>
              <a:ext uri="{FF2B5EF4-FFF2-40B4-BE49-F238E27FC236}">
                <a16:creationId xmlns:a16="http://schemas.microsoft.com/office/drawing/2014/main" id="{1C44AC7F-775E-56B3-96C6-D6BF0F08A019}"/>
              </a:ext>
            </a:extLst>
          </p:cNvPr>
          <p:cNvGrpSpPr/>
          <p:nvPr/>
        </p:nvGrpSpPr>
        <p:grpSpPr>
          <a:xfrm>
            <a:off x="748166" y="3610693"/>
            <a:ext cx="331332" cy="277725"/>
            <a:chOff x="748166" y="3610693"/>
            <a:chExt cx="331332" cy="277725"/>
          </a:xfrm>
          <a:noFill/>
        </p:grpSpPr>
        <p:grpSp>
          <p:nvGrpSpPr>
            <p:cNvPr id="1303" name="Gráfico 13">
              <a:extLst>
                <a:ext uri="{FF2B5EF4-FFF2-40B4-BE49-F238E27FC236}">
                  <a16:creationId xmlns:a16="http://schemas.microsoft.com/office/drawing/2014/main" id="{FD279590-0B1D-7A68-0964-81E190E56E50}"/>
                </a:ext>
              </a:extLst>
            </p:cNvPr>
            <p:cNvGrpSpPr/>
            <p:nvPr/>
          </p:nvGrpSpPr>
          <p:grpSpPr>
            <a:xfrm>
              <a:off x="946590" y="3610693"/>
              <a:ext cx="132908" cy="277725"/>
              <a:chOff x="946590" y="3610693"/>
              <a:chExt cx="132908" cy="277725"/>
            </a:xfrm>
            <a:noFill/>
          </p:grpSpPr>
          <p:sp>
            <p:nvSpPr>
              <p:cNvPr id="1304" name="Forma livre: Forma 1303">
                <a:extLst>
                  <a:ext uri="{FF2B5EF4-FFF2-40B4-BE49-F238E27FC236}">
                    <a16:creationId xmlns:a16="http://schemas.microsoft.com/office/drawing/2014/main" id="{FB54639C-66CB-6C4B-14D1-0AAEB617AFF8}"/>
                  </a:ext>
                </a:extLst>
              </p:cNvPr>
              <p:cNvSpPr/>
              <p:nvPr/>
            </p:nvSpPr>
            <p:spPr>
              <a:xfrm>
                <a:off x="946590" y="3610693"/>
                <a:ext cx="108751" cy="95533"/>
              </a:xfrm>
              <a:custGeom>
                <a:avLst/>
                <a:gdLst>
                  <a:gd name="connsiteX0" fmla="*/ 18685 w 108751"/>
                  <a:gd name="connsiteY0" fmla="*/ 95510 h 95533"/>
                  <a:gd name="connsiteX1" fmla="*/ 3 w 108751"/>
                  <a:gd name="connsiteY1" fmla="*/ 53823 h 95533"/>
                  <a:gd name="connsiteX2" fmla="*/ 54918 w 108751"/>
                  <a:gd name="connsiteY2" fmla="*/ 3 h 95533"/>
                  <a:gd name="connsiteX3" fmla="*/ 108749 w 108751"/>
                  <a:gd name="connsiteY3" fmla="*/ 54918 h 95533"/>
                  <a:gd name="connsiteX4" fmla="*/ 90044 w 108751"/>
                  <a:gd name="connsiteY4" fmla="*/ 95533 h 955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08751" h="95533">
                    <a:moveTo>
                      <a:pt x="18685" y="95510"/>
                    </a:moveTo>
                    <a:cubicBezTo>
                      <a:pt x="7100" y="85371"/>
                      <a:pt x="-160" y="70430"/>
                      <a:pt x="3" y="53823"/>
                    </a:cubicBezTo>
                    <a:cubicBezTo>
                      <a:pt x="317" y="23790"/>
                      <a:pt x="24908" y="-312"/>
                      <a:pt x="54918" y="3"/>
                    </a:cubicBezTo>
                    <a:cubicBezTo>
                      <a:pt x="84928" y="294"/>
                      <a:pt x="109052" y="24897"/>
                      <a:pt x="108749" y="54918"/>
                    </a:cubicBezTo>
                    <a:cubicBezTo>
                      <a:pt x="108586" y="71141"/>
                      <a:pt x="101360" y="85662"/>
                      <a:pt x="90044" y="95533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305" name="Forma livre: Forma 1304">
                <a:extLst>
                  <a:ext uri="{FF2B5EF4-FFF2-40B4-BE49-F238E27FC236}">
                    <a16:creationId xmlns:a16="http://schemas.microsoft.com/office/drawing/2014/main" id="{9DF04397-5EB5-BB37-B600-0D273B8E3497}"/>
                  </a:ext>
                </a:extLst>
              </p:cNvPr>
              <p:cNvSpPr/>
              <p:nvPr/>
            </p:nvSpPr>
            <p:spPr>
              <a:xfrm>
                <a:off x="962326" y="3705901"/>
                <a:ext cx="77524" cy="120109"/>
              </a:xfrm>
              <a:custGeom>
                <a:avLst/>
                <a:gdLst>
                  <a:gd name="connsiteX0" fmla="*/ 46652 w 77524"/>
                  <a:gd name="connsiteY0" fmla="*/ 120109 h 120109"/>
                  <a:gd name="connsiteX1" fmla="*/ 68050 w 77524"/>
                  <a:gd name="connsiteY1" fmla="*/ 104166 h 120109"/>
                  <a:gd name="connsiteX2" fmla="*/ 77525 w 77524"/>
                  <a:gd name="connsiteY2" fmla="*/ 0 h 120109"/>
                  <a:gd name="connsiteX3" fmla="*/ 0 w 77524"/>
                  <a:gd name="connsiteY3" fmla="*/ 0 h 120109"/>
                  <a:gd name="connsiteX4" fmla="*/ 9475 w 77524"/>
                  <a:gd name="connsiteY4" fmla="*/ 104166 h 120109"/>
                  <a:gd name="connsiteX5" fmla="*/ 30872 w 77524"/>
                  <a:gd name="connsiteY5" fmla="*/ 120109 h 120109"/>
                  <a:gd name="connsiteX6" fmla="*/ 46664 w 77524"/>
                  <a:gd name="connsiteY6" fmla="*/ 120109 h 1201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77524" h="120109">
                    <a:moveTo>
                      <a:pt x="46652" y="120109"/>
                    </a:moveTo>
                    <a:cubicBezTo>
                      <a:pt x="57677" y="120074"/>
                      <a:pt x="67106" y="115156"/>
                      <a:pt x="68050" y="104166"/>
                    </a:cubicBezTo>
                    <a:lnTo>
                      <a:pt x="77525" y="0"/>
                    </a:lnTo>
                    <a:lnTo>
                      <a:pt x="0" y="0"/>
                    </a:lnTo>
                    <a:lnTo>
                      <a:pt x="9475" y="104166"/>
                    </a:lnTo>
                    <a:cubicBezTo>
                      <a:pt x="10407" y="115145"/>
                      <a:pt x="19859" y="120074"/>
                      <a:pt x="30872" y="120109"/>
                    </a:cubicBezTo>
                    <a:lnTo>
                      <a:pt x="46664" y="120109"/>
                    </a:ln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306" name="Forma livre: Forma 1305">
                <a:extLst>
                  <a:ext uri="{FF2B5EF4-FFF2-40B4-BE49-F238E27FC236}">
                    <a16:creationId xmlns:a16="http://schemas.microsoft.com/office/drawing/2014/main" id="{A5A3EDC6-C582-8721-54AC-E3E5DBB4328E}"/>
                  </a:ext>
                </a:extLst>
              </p:cNvPr>
              <p:cNvSpPr/>
              <p:nvPr/>
            </p:nvSpPr>
            <p:spPr>
              <a:xfrm>
                <a:off x="976544" y="3675786"/>
                <a:ext cx="78293" cy="1165"/>
              </a:xfrm>
              <a:custGeom>
                <a:avLst/>
                <a:gdLst>
                  <a:gd name="connsiteX0" fmla="*/ 0 w 78293"/>
                  <a:gd name="connsiteY0" fmla="*/ 0 h 1165"/>
                  <a:gd name="connsiteX1" fmla="*/ 78294 w 78293"/>
                  <a:gd name="connsiteY1" fmla="*/ 0 h 11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78293" h="1165">
                    <a:moveTo>
                      <a:pt x="0" y="0"/>
                    </a:moveTo>
                    <a:lnTo>
                      <a:pt x="78294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307" name="Forma livre: Forma 1306">
                <a:extLst>
                  <a:ext uri="{FF2B5EF4-FFF2-40B4-BE49-F238E27FC236}">
                    <a16:creationId xmlns:a16="http://schemas.microsoft.com/office/drawing/2014/main" id="{07F5F523-CDF4-7E90-4078-FD40DB58505A}"/>
                  </a:ext>
                </a:extLst>
              </p:cNvPr>
              <p:cNvSpPr/>
              <p:nvPr/>
            </p:nvSpPr>
            <p:spPr>
              <a:xfrm>
                <a:off x="1001077" y="3761398"/>
                <a:ext cx="11" cy="19719"/>
              </a:xfrm>
              <a:custGeom>
                <a:avLst/>
                <a:gdLst>
                  <a:gd name="connsiteX0" fmla="*/ 12 w 11"/>
                  <a:gd name="connsiteY0" fmla="*/ 0 h 19719"/>
                  <a:gd name="connsiteX1" fmla="*/ 0 w 11"/>
                  <a:gd name="connsiteY1" fmla="*/ 19719 h 197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" h="19719">
                    <a:moveTo>
                      <a:pt x="12" y="0"/>
                    </a:moveTo>
                    <a:lnTo>
                      <a:pt x="0" y="19719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308" name="Forma livre: Forma 1307">
                <a:extLst>
                  <a:ext uri="{FF2B5EF4-FFF2-40B4-BE49-F238E27FC236}">
                    <a16:creationId xmlns:a16="http://schemas.microsoft.com/office/drawing/2014/main" id="{AC1E5ECB-4229-A168-D87E-463291F032AC}"/>
                  </a:ext>
                </a:extLst>
              </p:cNvPr>
              <p:cNvSpPr/>
              <p:nvPr/>
            </p:nvSpPr>
            <p:spPr>
              <a:xfrm>
                <a:off x="1001030" y="3813295"/>
                <a:ext cx="78468" cy="75123"/>
              </a:xfrm>
              <a:custGeom>
                <a:avLst/>
                <a:gdLst>
                  <a:gd name="connsiteX0" fmla="*/ 78469 w 78468"/>
                  <a:gd name="connsiteY0" fmla="*/ 0 h 75123"/>
                  <a:gd name="connsiteX1" fmla="*/ 52351 w 78468"/>
                  <a:gd name="connsiteY1" fmla="*/ 27411 h 75123"/>
                  <a:gd name="connsiteX2" fmla="*/ 52398 w 78468"/>
                  <a:gd name="connsiteY2" fmla="*/ 47713 h 75123"/>
                  <a:gd name="connsiteX3" fmla="*/ 26362 w 78468"/>
                  <a:gd name="connsiteY3" fmla="*/ 75124 h 75123"/>
                  <a:gd name="connsiteX4" fmla="*/ 82 w 78468"/>
                  <a:gd name="connsiteY4" fmla="*/ 47934 h 75123"/>
                  <a:gd name="connsiteX5" fmla="*/ 0 w 78468"/>
                  <a:gd name="connsiteY5" fmla="*/ 35289 h 751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78468" h="75123">
                    <a:moveTo>
                      <a:pt x="78469" y="0"/>
                    </a:moveTo>
                    <a:cubicBezTo>
                      <a:pt x="64087" y="58"/>
                      <a:pt x="52305" y="12400"/>
                      <a:pt x="52351" y="27411"/>
                    </a:cubicBezTo>
                    <a:lnTo>
                      <a:pt x="52398" y="47713"/>
                    </a:lnTo>
                    <a:cubicBezTo>
                      <a:pt x="52479" y="62724"/>
                      <a:pt x="40744" y="75054"/>
                      <a:pt x="26362" y="75124"/>
                    </a:cubicBezTo>
                    <a:cubicBezTo>
                      <a:pt x="11981" y="75182"/>
                      <a:pt x="163" y="62957"/>
                      <a:pt x="82" y="47934"/>
                    </a:cubicBezTo>
                    <a:lnTo>
                      <a:pt x="0" y="35289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309" name="Gráfico 13">
              <a:extLst>
                <a:ext uri="{FF2B5EF4-FFF2-40B4-BE49-F238E27FC236}">
                  <a16:creationId xmlns:a16="http://schemas.microsoft.com/office/drawing/2014/main" id="{49FA45F2-CE45-ED17-DA22-A140B4A336D5}"/>
                </a:ext>
              </a:extLst>
            </p:cNvPr>
            <p:cNvGrpSpPr/>
            <p:nvPr/>
          </p:nvGrpSpPr>
          <p:grpSpPr>
            <a:xfrm>
              <a:off x="792872" y="3707905"/>
              <a:ext cx="132847" cy="68958"/>
              <a:chOff x="792872" y="3707905"/>
              <a:chExt cx="132847" cy="68958"/>
            </a:xfrm>
          </p:grpSpPr>
          <p:sp>
            <p:nvSpPr>
              <p:cNvPr id="1310" name="Forma livre: Forma 1309">
                <a:extLst>
                  <a:ext uri="{FF2B5EF4-FFF2-40B4-BE49-F238E27FC236}">
                    <a16:creationId xmlns:a16="http://schemas.microsoft.com/office/drawing/2014/main" id="{AED69C60-5DEC-7767-7270-9B2B45B9D446}"/>
                  </a:ext>
                </a:extLst>
              </p:cNvPr>
              <p:cNvSpPr/>
              <p:nvPr/>
            </p:nvSpPr>
            <p:spPr>
              <a:xfrm>
                <a:off x="792872" y="3707905"/>
                <a:ext cx="132847" cy="1165"/>
              </a:xfrm>
              <a:custGeom>
                <a:avLst/>
                <a:gdLst>
                  <a:gd name="connsiteX0" fmla="*/ 132848 w 132847"/>
                  <a:gd name="connsiteY0" fmla="*/ 0 h 1165"/>
                  <a:gd name="connsiteX1" fmla="*/ 0 w 132847"/>
                  <a:gd name="connsiteY1" fmla="*/ 0 h 11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32847" h="1165">
                    <a:moveTo>
                      <a:pt x="132848" y="0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311" name="Forma livre: Forma 1310">
                <a:extLst>
                  <a:ext uri="{FF2B5EF4-FFF2-40B4-BE49-F238E27FC236}">
                    <a16:creationId xmlns:a16="http://schemas.microsoft.com/office/drawing/2014/main" id="{C10A16E9-3DA5-33BE-6494-DAE5FDDDB902}"/>
                  </a:ext>
                </a:extLst>
              </p:cNvPr>
              <p:cNvSpPr/>
              <p:nvPr/>
            </p:nvSpPr>
            <p:spPr>
              <a:xfrm>
                <a:off x="792872" y="3742390"/>
                <a:ext cx="132847" cy="1165"/>
              </a:xfrm>
              <a:custGeom>
                <a:avLst/>
                <a:gdLst>
                  <a:gd name="connsiteX0" fmla="*/ 132848 w 132847"/>
                  <a:gd name="connsiteY0" fmla="*/ 0 h 1165"/>
                  <a:gd name="connsiteX1" fmla="*/ 0 w 132847"/>
                  <a:gd name="connsiteY1" fmla="*/ 0 h 11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32847" h="1165">
                    <a:moveTo>
                      <a:pt x="132848" y="0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312" name="Forma livre: Forma 1311">
                <a:extLst>
                  <a:ext uri="{FF2B5EF4-FFF2-40B4-BE49-F238E27FC236}">
                    <a16:creationId xmlns:a16="http://schemas.microsoft.com/office/drawing/2014/main" id="{334A0650-97CE-3990-E26D-F2B76ED6EED2}"/>
                  </a:ext>
                </a:extLst>
              </p:cNvPr>
              <p:cNvSpPr/>
              <p:nvPr/>
            </p:nvSpPr>
            <p:spPr>
              <a:xfrm>
                <a:off x="792872" y="3776864"/>
                <a:ext cx="85927" cy="1165"/>
              </a:xfrm>
              <a:custGeom>
                <a:avLst/>
                <a:gdLst>
                  <a:gd name="connsiteX0" fmla="*/ 85927 w 85927"/>
                  <a:gd name="connsiteY0" fmla="*/ 0 h 1165"/>
                  <a:gd name="connsiteX1" fmla="*/ 0 w 85927"/>
                  <a:gd name="connsiteY1" fmla="*/ 0 h 11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85927" h="1165">
                    <a:moveTo>
                      <a:pt x="85927" y="0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313" name="Forma livre: Forma 1312">
              <a:extLst>
                <a:ext uri="{FF2B5EF4-FFF2-40B4-BE49-F238E27FC236}">
                  <a16:creationId xmlns:a16="http://schemas.microsoft.com/office/drawing/2014/main" id="{7ABF5ABE-147A-EA2B-405A-C8B5C0827802}"/>
                </a:ext>
              </a:extLst>
            </p:cNvPr>
            <p:cNvSpPr/>
            <p:nvPr/>
          </p:nvSpPr>
          <p:spPr>
            <a:xfrm>
              <a:off x="748166" y="3660192"/>
              <a:ext cx="204311" cy="224671"/>
            </a:xfrm>
            <a:custGeom>
              <a:avLst/>
              <a:gdLst>
                <a:gd name="connsiteX0" fmla="*/ 174081 w 204311"/>
                <a:gd name="connsiteY0" fmla="*/ 0 h 224671"/>
                <a:gd name="connsiteX1" fmla="*/ 20348 w 204311"/>
                <a:gd name="connsiteY1" fmla="*/ 0 h 224671"/>
                <a:gd name="connsiteX2" fmla="*/ 0 w 204311"/>
                <a:gd name="connsiteY2" fmla="*/ 20348 h 224671"/>
                <a:gd name="connsiteX3" fmla="*/ 0 w 204311"/>
                <a:gd name="connsiteY3" fmla="*/ 144269 h 224671"/>
                <a:gd name="connsiteX4" fmla="*/ 20348 w 204311"/>
                <a:gd name="connsiteY4" fmla="*/ 164617 h 224671"/>
                <a:gd name="connsiteX5" fmla="*/ 48645 w 204311"/>
                <a:gd name="connsiteY5" fmla="*/ 164617 h 224671"/>
                <a:gd name="connsiteX6" fmla="*/ 48645 w 204311"/>
                <a:gd name="connsiteY6" fmla="*/ 224672 h 224671"/>
                <a:gd name="connsiteX7" fmla="*/ 102581 w 204311"/>
                <a:gd name="connsiteY7" fmla="*/ 164617 h 224671"/>
                <a:gd name="connsiteX8" fmla="*/ 204312 w 204311"/>
                <a:gd name="connsiteY8" fmla="*/ 164617 h 2246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04311" h="224671">
                  <a:moveTo>
                    <a:pt x="174081" y="0"/>
                  </a:moveTo>
                  <a:lnTo>
                    <a:pt x="20348" y="0"/>
                  </a:lnTo>
                  <a:cubicBezTo>
                    <a:pt x="9149" y="0"/>
                    <a:pt x="0" y="9160"/>
                    <a:pt x="0" y="20348"/>
                  </a:cubicBezTo>
                  <a:lnTo>
                    <a:pt x="0" y="144269"/>
                  </a:lnTo>
                  <a:cubicBezTo>
                    <a:pt x="0" y="155469"/>
                    <a:pt x="9160" y="164617"/>
                    <a:pt x="20348" y="164617"/>
                  </a:cubicBezTo>
                  <a:lnTo>
                    <a:pt x="48645" y="164617"/>
                  </a:lnTo>
                  <a:lnTo>
                    <a:pt x="48645" y="224672"/>
                  </a:lnTo>
                  <a:lnTo>
                    <a:pt x="102581" y="164617"/>
                  </a:lnTo>
                  <a:lnTo>
                    <a:pt x="204312" y="164617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314" name="Gráfico 13">
            <a:extLst>
              <a:ext uri="{FF2B5EF4-FFF2-40B4-BE49-F238E27FC236}">
                <a16:creationId xmlns:a16="http://schemas.microsoft.com/office/drawing/2014/main" id="{EE9B30C4-14BB-6087-9824-669044366223}"/>
              </a:ext>
            </a:extLst>
          </p:cNvPr>
          <p:cNvGrpSpPr/>
          <p:nvPr/>
        </p:nvGrpSpPr>
        <p:grpSpPr>
          <a:xfrm>
            <a:off x="1361218" y="5718962"/>
            <a:ext cx="320598" cy="260252"/>
            <a:chOff x="1361218" y="5718962"/>
            <a:chExt cx="320598" cy="260252"/>
          </a:xfrm>
        </p:grpSpPr>
        <p:grpSp>
          <p:nvGrpSpPr>
            <p:cNvPr id="1315" name="Gráfico 13">
              <a:extLst>
                <a:ext uri="{FF2B5EF4-FFF2-40B4-BE49-F238E27FC236}">
                  <a16:creationId xmlns:a16="http://schemas.microsoft.com/office/drawing/2014/main" id="{D6788268-7977-0775-A43E-0C6A9507676F}"/>
                </a:ext>
              </a:extLst>
            </p:cNvPr>
            <p:cNvGrpSpPr/>
            <p:nvPr/>
          </p:nvGrpSpPr>
          <p:grpSpPr>
            <a:xfrm>
              <a:off x="1449185" y="5773714"/>
              <a:ext cx="108944" cy="129258"/>
              <a:chOff x="1449185" y="5773714"/>
              <a:chExt cx="108944" cy="129258"/>
            </a:xfrm>
            <a:noFill/>
          </p:grpSpPr>
          <p:sp>
            <p:nvSpPr>
              <p:cNvPr id="1316" name="Forma livre: Forma 1315">
                <a:extLst>
                  <a:ext uri="{FF2B5EF4-FFF2-40B4-BE49-F238E27FC236}">
                    <a16:creationId xmlns:a16="http://schemas.microsoft.com/office/drawing/2014/main" id="{930E3D42-E665-57A0-02B2-07D0B4451426}"/>
                  </a:ext>
                </a:extLst>
              </p:cNvPr>
              <p:cNvSpPr/>
              <p:nvPr/>
            </p:nvSpPr>
            <p:spPr>
              <a:xfrm>
                <a:off x="1480792" y="5773714"/>
                <a:ext cx="45743" cy="55054"/>
              </a:xfrm>
              <a:custGeom>
                <a:avLst/>
                <a:gdLst>
                  <a:gd name="connsiteX0" fmla="*/ 45743 w 45743"/>
                  <a:gd name="connsiteY0" fmla="*/ 31828 h 55054"/>
                  <a:gd name="connsiteX1" fmla="*/ 22866 w 45743"/>
                  <a:gd name="connsiteY1" fmla="*/ 55055 h 55054"/>
                  <a:gd name="connsiteX2" fmla="*/ 0 w 45743"/>
                  <a:gd name="connsiteY2" fmla="*/ 31828 h 55054"/>
                  <a:gd name="connsiteX3" fmla="*/ 0 w 45743"/>
                  <a:gd name="connsiteY3" fmla="*/ 23215 h 55054"/>
                  <a:gd name="connsiteX4" fmla="*/ 22866 w 45743"/>
                  <a:gd name="connsiteY4" fmla="*/ 0 h 55054"/>
                  <a:gd name="connsiteX5" fmla="*/ 45743 w 45743"/>
                  <a:gd name="connsiteY5" fmla="*/ 23215 h 55054"/>
                  <a:gd name="connsiteX6" fmla="*/ 45743 w 45743"/>
                  <a:gd name="connsiteY6" fmla="*/ 31828 h 550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5743" h="55054">
                    <a:moveTo>
                      <a:pt x="45743" y="31828"/>
                    </a:moveTo>
                    <a:cubicBezTo>
                      <a:pt x="45743" y="44601"/>
                      <a:pt x="35441" y="55055"/>
                      <a:pt x="22866" y="55055"/>
                    </a:cubicBezTo>
                    <a:cubicBezTo>
                      <a:pt x="10291" y="55055"/>
                      <a:pt x="0" y="44613"/>
                      <a:pt x="0" y="31828"/>
                    </a:cubicBezTo>
                    <a:lnTo>
                      <a:pt x="0" y="23215"/>
                    </a:lnTo>
                    <a:cubicBezTo>
                      <a:pt x="0" y="10454"/>
                      <a:pt x="10291" y="0"/>
                      <a:pt x="22866" y="0"/>
                    </a:cubicBezTo>
                    <a:cubicBezTo>
                      <a:pt x="35441" y="0"/>
                      <a:pt x="45743" y="10442"/>
                      <a:pt x="45743" y="23215"/>
                    </a:cubicBezTo>
                    <a:lnTo>
                      <a:pt x="45743" y="31828"/>
                    </a:ln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317" name="Forma livre: Forma 1316">
                <a:extLst>
                  <a:ext uri="{FF2B5EF4-FFF2-40B4-BE49-F238E27FC236}">
                    <a16:creationId xmlns:a16="http://schemas.microsoft.com/office/drawing/2014/main" id="{C8CA922F-99E0-B565-875D-266E3A6498D3}"/>
                  </a:ext>
                </a:extLst>
              </p:cNvPr>
              <p:cNvSpPr/>
              <p:nvPr/>
            </p:nvSpPr>
            <p:spPr>
              <a:xfrm>
                <a:off x="1449185" y="5849281"/>
                <a:ext cx="108944" cy="53691"/>
              </a:xfrm>
              <a:custGeom>
                <a:avLst/>
                <a:gdLst>
                  <a:gd name="connsiteX0" fmla="*/ 0 w 108944"/>
                  <a:gd name="connsiteY0" fmla="*/ 37014 h 53691"/>
                  <a:gd name="connsiteX1" fmla="*/ 0 w 108944"/>
                  <a:gd name="connsiteY1" fmla="*/ 26863 h 53691"/>
                  <a:gd name="connsiteX2" fmla="*/ 24416 w 108944"/>
                  <a:gd name="connsiteY2" fmla="*/ 0 h 53691"/>
                  <a:gd name="connsiteX3" fmla="*/ 38261 w 108944"/>
                  <a:gd name="connsiteY3" fmla="*/ 0 h 53691"/>
                  <a:gd name="connsiteX4" fmla="*/ 53913 w 108944"/>
                  <a:gd name="connsiteY4" fmla="*/ 24672 h 53691"/>
                  <a:gd name="connsiteX5" fmla="*/ 70683 w 108944"/>
                  <a:gd name="connsiteY5" fmla="*/ 0 h 53691"/>
                  <a:gd name="connsiteX6" fmla="*/ 84529 w 108944"/>
                  <a:gd name="connsiteY6" fmla="*/ 0 h 53691"/>
                  <a:gd name="connsiteX7" fmla="*/ 108945 w 108944"/>
                  <a:gd name="connsiteY7" fmla="*/ 26863 h 53691"/>
                  <a:gd name="connsiteX8" fmla="*/ 108945 w 108944"/>
                  <a:gd name="connsiteY8" fmla="*/ 53691 h 536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08944" h="53691">
                    <a:moveTo>
                      <a:pt x="0" y="37014"/>
                    </a:moveTo>
                    <a:lnTo>
                      <a:pt x="0" y="26863"/>
                    </a:lnTo>
                    <a:cubicBezTo>
                      <a:pt x="0" y="12086"/>
                      <a:pt x="9638" y="0"/>
                      <a:pt x="24416" y="0"/>
                    </a:cubicBezTo>
                    <a:lnTo>
                      <a:pt x="38261" y="0"/>
                    </a:lnTo>
                    <a:lnTo>
                      <a:pt x="53913" y="24672"/>
                    </a:lnTo>
                    <a:lnTo>
                      <a:pt x="70683" y="0"/>
                    </a:lnTo>
                    <a:lnTo>
                      <a:pt x="84529" y="0"/>
                    </a:lnTo>
                    <a:cubicBezTo>
                      <a:pt x="99306" y="0"/>
                      <a:pt x="108945" y="12086"/>
                      <a:pt x="108945" y="26863"/>
                    </a:cubicBezTo>
                    <a:lnTo>
                      <a:pt x="108945" y="53691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318" name="Forma livre: Forma 1317">
              <a:extLst>
                <a:ext uri="{FF2B5EF4-FFF2-40B4-BE49-F238E27FC236}">
                  <a16:creationId xmlns:a16="http://schemas.microsoft.com/office/drawing/2014/main" id="{94CDCAE0-6DD1-F390-6424-13F86C3648B1}"/>
                </a:ext>
              </a:extLst>
            </p:cNvPr>
            <p:cNvSpPr/>
            <p:nvPr/>
          </p:nvSpPr>
          <p:spPr>
            <a:xfrm>
              <a:off x="1445724" y="5979215"/>
              <a:ext cx="115867" cy="1165"/>
            </a:xfrm>
            <a:custGeom>
              <a:avLst/>
              <a:gdLst>
                <a:gd name="connsiteX0" fmla="*/ 0 w 115867"/>
                <a:gd name="connsiteY0" fmla="*/ 0 h 1165"/>
                <a:gd name="connsiteX1" fmla="*/ 115867 w 115867"/>
                <a:gd name="connsiteY1" fmla="*/ 0 h 11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5867" h="1165">
                  <a:moveTo>
                    <a:pt x="0" y="0"/>
                  </a:moveTo>
                  <a:lnTo>
                    <a:pt x="115867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319" name="Gráfico 13">
              <a:extLst>
                <a:ext uri="{FF2B5EF4-FFF2-40B4-BE49-F238E27FC236}">
                  <a16:creationId xmlns:a16="http://schemas.microsoft.com/office/drawing/2014/main" id="{72BCFC64-2DA5-8AD5-8404-57AE9A916195}"/>
                </a:ext>
              </a:extLst>
            </p:cNvPr>
            <p:cNvGrpSpPr/>
            <p:nvPr/>
          </p:nvGrpSpPr>
          <p:grpSpPr>
            <a:xfrm>
              <a:off x="1483530" y="5942271"/>
              <a:ext cx="40254" cy="35941"/>
              <a:chOff x="1483530" y="5942271"/>
              <a:chExt cx="40254" cy="35941"/>
            </a:xfrm>
          </p:grpSpPr>
          <p:sp>
            <p:nvSpPr>
              <p:cNvPr id="1320" name="Forma livre: Forma 1319">
                <a:extLst>
                  <a:ext uri="{FF2B5EF4-FFF2-40B4-BE49-F238E27FC236}">
                    <a16:creationId xmlns:a16="http://schemas.microsoft.com/office/drawing/2014/main" id="{A8200975-5134-8D23-8866-D0D9D0F351E4}"/>
                  </a:ext>
                </a:extLst>
              </p:cNvPr>
              <p:cNvSpPr/>
              <p:nvPr/>
            </p:nvSpPr>
            <p:spPr>
              <a:xfrm>
                <a:off x="1483530" y="5942271"/>
                <a:ext cx="1165" cy="35941"/>
              </a:xfrm>
              <a:custGeom>
                <a:avLst/>
                <a:gdLst>
                  <a:gd name="connsiteX0" fmla="*/ 0 w 1165"/>
                  <a:gd name="connsiteY0" fmla="*/ 0 h 35941"/>
                  <a:gd name="connsiteX1" fmla="*/ 0 w 1165"/>
                  <a:gd name="connsiteY1" fmla="*/ 35942 h 359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65" h="35941">
                    <a:moveTo>
                      <a:pt x="0" y="0"/>
                    </a:moveTo>
                    <a:lnTo>
                      <a:pt x="0" y="35942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321" name="Forma livre: Forma 1320">
                <a:extLst>
                  <a:ext uri="{FF2B5EF4-FFF2-40B4-BE49-F238E27FC236}">
                    <a16:creationId xmlns:a16="http://schemas.microsoft.com/office/drawing/2014/main" id="{74ECD021-FDE3-D824-B931-61348FCC0D29}"/>
                  </a:ext>
                </a:extLst>
              </p:cNvPr>
              <p:cNvSpPr/>
              <p:nvPr/>
            </p:nvSpPr>
            <p:spPr>
              <a:xfrm>
                <a:off x="1523784" y="5942271"/>
                <a:ext cx="1165" cy="35941"/>
              </a:xfrm>
              <a:custGeom>
                <a:avLst/>
                <a:gdLst>
                  <a:gd name="connsiteX0" fmla="*/ 0 w 1165"/>
                  <a:gd name="connsiteY0" fmla="*/ 0 h 35941"/>
                  <a:gd name="connsiteX1" fmla="*/ 0 w 1165"/>
                  <a:gd name="connsiteY1" fmla="*/ 35942 h 359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65" h="35941">
                    <a:moveTo>
                      <a:pt x="0" y="0"/>
                    </a:moveTo>
                    <a:lnTo>
                      <a:pt x="0" y="35942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322" name="Forma livre: Forma 1321">
              <a:extLst>
                <a:ext uri="{FF2B5EF4-FFF2-40B4-BE49-F238E27FC236}">
                  <a16:creationId xmlns:a16="http://schemas.microsoft.com/office/drawing/2014/main" id="{B7D8C841-9638-AD20-CA01-AA78DBC45401}"/>
                </a:ext>
              </a:extLst>
            </p:cNvPr>
            <p:cNvSpPr/>
            <p:nvPr/>
          </p:nvSpPr>
          <p:spPr>
            <a:xfrm>
              <a:off x="1361218" y="5746700"/>
              <a:ext cx="284878" cy="194242"/>
            </a:xfrm>
            <a:custGeom>
              <a:avLst/>
              <a:gdLst>
                <a:gd name="connsiteX0" fmla="*/ 284878 w 284878"/>
                <a:gd name="connsiteY0" fmla="*/ 133162 h 194242"/>
                <a:gd name="connsiteX1" fmla="*/ 284878 w 284878"/>
                <a:gd name="connsiteY1" fmla="*/ 170281 h 194242"/>
                <a:gd name="connsiteX2" fmla="*/ 260917 w 284878"/>
                <a:gd name="connsiteY2" fmla="*/ 194242 h 194242"/>
                <a:gd name="connsiteX3" fmla="*/ 23961 w 284878"/>
                <a:gd name="connsiteY3" fmla="*/ 194242 h 194242"/>
                <a:gd name="connsiteX4" fmla="*/ 0 w 284878"/>
                <a:gd name="connsiteY4" fmla="*/ 170281 h 194242"/>
                <a:gd name="connsiteX5" fmla="*/ 0 w 284878"/>
                <a:gd name="connsiteY5" fmla="*/ 23961 h 194242"/>
                <a:gd name="connsiteX6" fmla="*/ 23961 w 284878"/>
                <a:gd name="connsiteY6" fmla="*/ 0 h 194242"/>
                <a:gd name="connsiteX7" fmla="*/ 226385 w 284878"/>
                <a:gd name="connsiteY7" fmla="*/ 0 h 1942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4878" h="194242">
                  <a:moveTo>
                    <a:pt x="284878" y="133162"/>
                  </a:moveTo>
                  <a:lnTo>
                    <a:pt x="284878" y="170281"/>
                  </a:lnTo>
                  <a:cubicBezTo>
                    <a:pt x="284878" y="183462"/>
                    <a:pt x="274098" y="194242"/>
                    <a:pt x="260917" y="194242"/>
                  </a:cubicBezTo>
                  <a:lnTo>
                    <a:pt x="23961" y="194242"/>
                  </a:lnTo>
                  <a:cubicBezTo>
                    <a:pt x="10780" y="194242"/>
                    <a:pt x="0" y="183462"/>
                    <a:pt x="0" y="170281"/>
                  </a:cubicBezTo>
                  <a:lnTo>
                    <a:pt x="0" y="23961"/>
                  </a:lnTo>
                  <a:cubicBezTo>
                    <a:pt x="0" y="10780"/>
                    <a:pt x="10780" y="0"/>
                    <a:pt x="23961" y="0"/>
                  </a:cubicBezTo>
                  <a:lnTo>
                    <a:pt x="226385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323" name="Forma livre: Forma 1322">
              <a:extLst>
                <a:ext uri="{FF2B5EF4-FFF2-40B4-BE49-F238E27FC236}">
                  <a16:creationId xmlns:a16="http://schemas.microsoft.com/office/drawing/2014/main" id="{E9158861-E677-69FA-C014-D91A0886C87C}"/>
                </a:ext>
              </a:extLst>
            </p:cNvPr>
            <p:cNvSpPr/>
            <p:nvPr/>
          </p:nvSpPr>
          <p:spPr>
            <a:xfrm>
              <a:off x="1610341" y="5718962"/>
              <a:ext cx="71475" cy="139851"/>
            </a:xfrm>
            <a:custGeom>
              <a:avLst/>
              <a:gdLst>
                <a:gd name="connsiteX0" fmla="*/ 0 w 71475"/>
                <a:gd name="connsiteY0" fmla="*/ 0 h 139851"/>
                <a:gd name="connsiteX1" fmla="*/ 71476 w 71475"/>
                <a:gd name="connsiteY1" fmla="*/ 0 h 139851"/>
                <a:gd name="connsiteX2" fmla="*/ 71476 w 71475"/>
                <a:gd name="connsiteY2" fmla="*/ 139852 h 139851"/>
                <a:gd name="connsiteX3" fmla="*/ 0 w 71475"/>
                <a:gd name="connsiteY3" fmla="*/ 139852 h 1398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1475" h="139851">
                  <a:moveTo>
                    <a:pt x="0" y="0"/>
                  </a:moveTo>
                  <a:lnTo>
                    <a:pt x="71476" y="0"/>
                  </a:lnTo>
                  <a:lnTo>
                    <a:pt x="71476" y="139852"/>
                  </a:lnTo>
                  <a:lnTo>
                    <a:pt x="0" y="139852"/>
                  </a:ln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324" name="Gráfico 13">
              <a:extLst>
                <a:ext uri="{FF2B5EF4-FFF2-40B4-BE49-F238E27FC236}">
                  <a16:creationId xmlns:a16="http://schemas.microsoft.com/office/drawing/2014/main" id="{75B49547-CF41-7B70-A779-DAF6419634C0}"/>
                </a:ext>
              </a:extLst>
            </p:cNvPr>
            <p:cNvGrpSpPr/>
            <p:nvPr/>
          </p:nvGrpSpPr>
          <p:grpSpPr>
            <a:xfrm>
              <a:off x="1632391" y="5771652"/>
              <a:ext cx="27364" cy="55544"/>
              <a:chOff x="1632391" y="5771652"/>
              <a:chExt cx="27364" cy="55544"/>
            </a:xfrm>
            <a:solidFill>
              <a:srgbClr val="394553"/>
            </a:solidFill>
          </p:grpSpPr>
          <p:sp>
            <p:nvSpPr>
              <p:cNvPr id="1325" name="Forma livre: Forma 1324">
                <a:extLst>
                  <a:ext uri="{FF2B5EF4-FFF2-40B4-BE49-F238E27FC236}">
                    <a16:creationId xmlns:a16="http://schemas.microsoft.com/office/drawing/2014/main" id="{A66D9717-81B2-51D4-CF18-D6259D307F98}"/>
                  </a:ext>
                </a:extLst>
              </p:cNvPr>
              <p:cNvSpPr/>
              <p:nvPr/>
            </p:nvSpPr>
            <p:spPr>
              <a:xfrm>
                <a:off x="1632391" y="5771652"/>
                <a:ext cx="3123" cy="3123"/>
              </a:xfrm>
              <a:custGeom>
                <a:avLst/>
                <a:gdLst>
                  <a:gd name="connsiteX0" fmla="*/ 0 w 3123"/>
                  <a:gd name="connsiteY0" fmla="*/ 0 h 3123"/>
                  <a:gd name="connsiteX1" fmla="*/ 3123 w 3123"/>
                  <a:gd name="connsiteY1" fmla="*/ 0 h 3123"/>
                  <a:gd name="connsiteX2" fmla="*/ 3123 w 3123"/>
                  <a:gd name="connsiteY2" fmla="*/ 3123 h 3123"/>
                  <a:gd name="connsiteX3" fmla="*/ 0 w 3123"/>
                  <a:gd name="connsiteY3" fmla="*/ 3123 h 31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123" h="3123">
                    <a:moveTo>
                      <a:pt x="0" y="0"/>
                    </a:moveTo>
                    <a:lnTo>
                      <a:pt x="3123" y="0"/>
                    </a:lnTo>
                    <a:lnTo>
                      <a:pt x="3123" y="3123"/>
                    </a:lnTo>
                    <a:lnTo>
                      <a:pt x="0" y="3123"/>
                    </a:ln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326" name="Forma livre: Forma 1325">
                <a:extLst>
                  <a:ext uri="{FF2B5EF4-FFF2-40B4-BE49-F238E27FC236}">
                    <a16:creationId xmlns:a16="http://schemas.microsoft.com/office/drawing/2014/main" id="{84BCD1B9-C9CC-9C9B-88B1-DD522AC071DF}"/>
                  </a:ext>
                </a:extLst>
              </p:cNvPr>
              <p:cNvSpPr/>
              <p:nvPr/>
            </p:nvSpPr>
            <p:spPr>
              <a:xfrm>
                <a:off x="1656632" y="5771652"/>
                <a:ext cx="3123" cy="3123"/>
              </a:xfrm>
              <a:custGeom>
                <a:avLst/>
                <a:gdLst>
                  <a:gd name="connsiteX0" fmla="*/ 0 w 3123"/>
                  <a:gd name="connsiteY0" fmla="*/ 0 h 3123"/>
                  <a:gd name="connsiteX1" fmla="*/ 3123 w 3123"/>
                  <a:gd name="connsiteY1" fmla="*/ 0 h 3123"/>
                  <a:gd name="connsiteX2" fmla="*/ 3123 w 3123"/>
                  <a:gd name="connsiteY2" fmla="*/ 3123 h 3123"/>
                  <a:gd name="connsiteX3" fmla="*/ 0 w 3123"/>
                  <a:gd name="connsiteY3" fmla="*/ 3123 h 31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123" h="3123">
                    <a:moveTo>
                      <a:pt x="0" y="0"/>
                    </a:moveTo>
                    <a:lnTo>
                      <a:pt x="3123" y="0"/>
                    </a:lnTo>
                    <a:lnTo>
                      <a:pt x="3123" y="3123"/>
                    </a:lnTo>
                    <a:lnTo>
                      <a:pt x="0" y="3123"/>
                    </a:ln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327" name="Forma livre: Forma 1326">
                <a:extLst>
                  <a:ext uri="{FF2B5EF4-FFF2-40B4-BE49-F238E27FC236}">
                    <a16:creationId xmlns:a16="http://schemas.microsoft.com/office/drawing/2014/main" id="{C4F97263-3FFC-24D7-27D3-3BB447608D44}"/>
                  </a:ext>
                </a:extLst>
              </p:cNvPr>
              <p:cNvSpPr/>
              <p:nvPr/>
            </p:nvSpPr>
            <p:spPr>
              <a:xfrm>
                <a:off x="1632391" y="5797874"/>
                <a:ext cx="3123" cy="3123"/>
              </a:xfrm>
              <a:custGeom>
                <a:avLst/>
                <a:gdLst>
                  <a:gd name="connsiteX0" fmla="*/ 0 w 3123"/>
                  <a:gd name="connsiteY0" fmla="*/ 0 h 3123"/>
                  <a:gd name="connsiteX1" fmla="*/ 3123 w 3123"/>
                  <a:gd name="connsiteY1" fmla="*/ 0 h 3123"/>
                  <a:gd name="connsiteX2" fmla="*/ 3123 w 3123"/>
                  <a:gd name="connsiteY2" fmla="*/ 3123 h 3123"/>
                  <a:gd name="connsiteX3" fmla="*/ 0 w 3123"/>
                  <a:gd name="connsiteY3" fmla="*/ 3123 h 31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123" h="3123">
                    <a:moveTo>
                      <a:pt x="0" y="0"/>
                    </a:moveTo>
                    <a:lnTo>
                      <a:pt x="3123" y="0"/>
                    </a:lnTo>
                    <a:lnTo>
                      <a:pt x="3123" y="3123"/>
                    </a:lnTo>
                    <a:lnTo>
                      <a:pt x="0" y="3123"/>
                    </a:ln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328" name="Forma livre: Forma 1327">
                <a:extLst>
                  <a:ext uri="{FF2B5EF4-FFF2-40B4-BE49-F238E27FC236}">
                    <a16:creationId xmlns:a16="http://schemas.microsoft.com/office/drawing/2014/main" id="{7DB5EFF5-741E-EC85-FABD-3587F920DFDB}"/>
                  </a:ext>
                </a:extLst>
              </p:cNvPr>
              <p:cNvSpPr/>
              <p:nvPr/>
            </p:nvSpPr>
            <p:spPr>
              <a:xfrm>
                <a:off x="1656632" y="5797874"/>
                <a:ext cx="3123" cy="3123"/>
              </a:xfrm>
              <a:custGeom>
                <a:avLst/>
                <a:gdLst>
                  <a:gd name="connsiteX0" fmla="*/ 0 w 3123"/>
                  <a:gd name="connsiteY0" fmla="*/ 0 h 3123"/>
                  <a:gd name="connsiteX1" fmla="*/ 3123 w 3123"/>
                  <a:gd name="connsiteY1" fmla="*/ 0 h 3123"/>
                  <a:gd name="connsiteX2" fmla="*/ 3123 w 3123"/>
                  <a:gd name="connsiteY2" fmla="*/ 3123 h 3123"/>
                  <a:gd name="connsiteX3" fmla="*/ 0 w 3123"/>
                  <a:gd name="connsiteY3" fmla="*/ 3123 h 31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123" h="3123">
                    <a:moveTo>
                      <a:pt x="0" y="0"/>
                    </a:moveTo>
                    <a:lnTo>
                      <a:pt x="3123" y="0"/>
                    </a:lnTo>
                    <a:lnTo>
                      <a:pt x="3123" y="3123"/>
                    </a:lnTo>
                    <a:lnTo>
                      <a:pt x="0" y="3123"/>
                    </a:ln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329" name="Forma livre: Forma 1328">
                <a:extLst>
                  <a:ext uri="{FF2B5EF4-FFF2-40B4-BE49-F238E27FC236}">
                    <a16:creationId xmlns:a16="http://schemas.microsoft.com/office/drawing/2014/main" id="{B7C7EFAD-A6E4-DA0A-874B-8396C460D57F}"/>
                  </a:ext>
                </a:extLst>
              </p:cNvPr>
              <p:cNvSpPr/>
              <p:nvPr/>
            </p:nvSpPr>
            <p:spPr>
              <a:xfrm>
                <a:off x="1632391" y="5824073"/>
                <a:ext cx="3123" cy="3123"/>
              </a:xfrm>
              <a:custGeom>
                <a:avLst/>
                <a:gdLst>
                  <a:gd name="connsiteX0" fmla="*/ 0 w 3123"/>
                  <a:gd name="connsiteY0" fmla="*/ 0 h 3123"/>
                  <a:gd name="connsiteX1" fmla="*/ 3123 w 3123"/>
                  <a:gd name="connsiteY1" fmla="*/ 0 h 3123"/>
                  <a:gd name="connsiteX2" fmla="*/ 3123 w 3123"/>
                  <a:gd name="connsiteY2" fmla="*/ 3123 h 3123"/>
                  <a:gd name="connsiteX3" fmla="*/ 0 w 3123"/>
                  <a:gd name="connsiteY3" fmla="*/ 3123 h 31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123" h="3123">
                    <a:moveTo>
                      <a:pt x="0" y="0"/>
                    </a:moveTo>
                    <a:lnTo>
                      <a:pt x="3123" y="0"/>
                    </a:lnTo>
                    <a:lnTo>
                      <a:pt x="3123" y="3123"/>
                    </a:lnTo>
                    <a:lnTo>
                      <a:pt x="0" y="3123"/>
                    </a:ln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330" name="Forma livre: Forma 1329">
                <a:extLst>
                  <a:ext uri="{FF2B5EF4-FFF2-40B4-BE49-F238E27FC236}">
                    <a16:creationId xmlns:a16="http://schemas.microsoft.com/office/drawing/2014/main" id="{140E1713-FFE2-1F56-2213-1A712DCEFC4D}"/>
                  </a:ext>
                </a:extLst>
              </p:cNvPr>
              <p:cNvSpPr/>
              <p:nvPr/>
            </p:nvSpPr>
            <p:spPr>
              <a:xfrm>
                <a:off x="1656632" y="5824073"/>
                <a:ext cx="3123" cy="3123"/>
              </a:xfrm>
              <a:custGeom>
                <a:avLst/>
                <a:gdLst>
                  <a:gd name="connsiteX0" fmla="*/ 0 w 3123"/>
                  <a:gd name="connsiteY0" fmla="*/ 0 h 3123"/>
                  <a:gd name="connsiteX1" fmla="*/ 3123 w 3123"/>
                  <a:gd name="connsiteY1" fmla="*/ 0 h 3123"/>
                  <a:gd name="connsiteX2" fmla="*/ 3123 w 3123"/>
                  <a:gd name="connsiteY2" fmla="*/ 3123 h 3123"/>
                  <a:gd name="connsiteX3" fmla="*/ 0 w 3123"/>
                  <a:gd name="connsiteY3" fmla="*/ 3123 h 31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123" h="3123">
                    <a:moveTo>
                      <a:pt x="0" y="0"/>
                    </a:moveTo>
                    <a:lnTo>
                      <a:pt x="3123" y="0"/>
                    </a:lnTo>
                    <a:lnTo>
                      <a:pt x="3123" y="3123"/>
                    </a:lnTo>
                    <a:lnTo>
                      <a:pt x="0" y="3123"/>
                    </a:ln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331" name="Forma livre: Forma 1330">
              <a:extLst>
                <a:ext uri="{FF2B5EF4-FFF2-40B4-BE49-F238E27FC236}">
                  <a16:creationId xmlns:a16="http://schemas.microsoft.com/office/drawing/2014/main" id="{66AA9669-8D51-176C-E8A6-61D8A6A85A31}"/>
                </a:ext>
              </a:extLst>
            </p:cNvPr>
            <p:cNvSpPr/>
            <p:nvPr/>
          </p:nvSpPr>
          <p:spPr>
            <a:xfrm>
              <a:off x="1382254" y="5903986"/>
              <a:ext cx="242817" cy="1165"/>
            </a:xfrm>
            <a:custGeom>
              <a:avLst/>
              <a:gdLst>
                <a:gd name="connsiteX0" fmla="*/ 0 w 242817"/>
                <a:gd name="connsiteY0" fmla="*/ 0 h 1165"/>
                <a:gd name="connsiteX1" fmla="*/ 242818 w 242817"/>
                <a:gd name="connsiteY1" fmla="*/ 0 h 11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42817" h="1165">
                  <a:moveTo>
                    <a:pt x="0" y="0"/>
                  </a:moveTo>
                  <a:lnTo>
                    <a:pt x="242818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332" name="Gráfico 13">
            <a:extLst>
              <a:ext uri="{FF2B5EF4-FFF2-40B4-BE49-F238E27FC236}">
                <a16:creationId xmlns:a16="http://schemas.microsoft.com/office/drawing/2014/main" id="{AE011C5A-993E-3BD2-5C30-75008C267FA4}"/>
              </a:ext>
            </a:extLst>
          </p:cNvPr>
          <p:cNvGrpSpPr/>
          <p:nvPr/>
        </p:nvGrpSpPr>
        <p:grpSpPr>
          <a:xfrm>
            <a:off x="1391718" y="5200066"/>
            <a:ext cx="259599" cy="248271"/>
            <a:chOff x="1391718" y="5200066"/>
            <a:chExt cx="259599" cy="248271"/>
          </a:xfrm>
          <a:noFill/>
        </p:grpSpPr>
        <p:sp>
          <p:nvSpPr>
            <p:cNvPr id="1333" name="Forma livre: Forma 1332">
              <a:extLst>
                <a:ext uri="{FF2B5EF4-FFF2-40B4-BE49-F238E27FC236}">
                  <a16:creationId xmlns:a16="http://schemas.microsoft.com/office/drawing/2014/main" id="{43A0F0C9-930C-1A29-7E16-F2670DF6A372}"/>
                </a:ext>
              </a:extLst>
            </p:cNvPr>
            <p:cNvSpPr/>
            <p:nvPr/>
          </p:nvSpPr>
          <p:spPr>
            <a:xfrm>
              <a:off x="1391718" y="5200066"/>
              <a:ext cx="259599" cy="188496"/>
            </a:xfrm>
            <a:custGeom>
              <a:avLst/>
              <a:gdLst>
                <a:gd name="connsiteX0" fmla="*/ 14195 w 259599"/>
                <a:gd name="connsiteY0" fmla="*/ 188497 h 188496"/>
                <a:gd name="connsiteX1" fmla="*/ 0 w 259599"/>
                <a:gd name="connsiteY1" fmla="*/ 174349 h 188496"/>
                <a:gd name="connsiteX2" fmla="*/ 0 w 259599"/>
                <a:gd name="connsiteY2" fmla="*/ 14195 h 188496"/>
                <a:gd name="connsiteX3" fmla="*/ 14195 w 259599"/>
                <a:gd name="connsiteY3" fmla="*/ 0 h 188496"/>
                <a:gd name="connsiteX4" fmla="*/ 245405 w 259599"/>
                <a:gd name="connsiteY4" fmla="*/ 0 h 188496"/>
                <a:gd name="connsiteX5" fmla="*/ 259600 w 259599"/>
                <a:gd name="connsiteY5" fmla="*/ 14195 h 188496"/>
                <a:gd name="connsiteX6" fmla="*/ 259600 w 259599"/>
                <a:gd name="connsiteY6" fmla="*/ 174349 h 188496"/>
                <a:gd name="connsiteX7" fmla="*/ 245405 w 259599"/>
                <a:gd name="connsiteY7" fmla="*/ 188497 h 188496"/>
                <a:gd name="connsiteX8" fmla="*/ 14195 w 259599"/>
                <a:gd name="connsiteY8" fmla="*/ 188497 h 1884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59599" h="188496">
                  <a:moveTo>
                    <a:pt x="14195" y="188497"/>
                  </a:moveTo>
                  <a:cubicBezTo>
                    <a:pt x="6398" y="188497"/>
                    <a:pt x="0" y="182145"/>
                    <a:pt x="0" y="174349"/>
                  </a:cubicBezTo>
                  <a:lnTo>
                    <a:pt x="0" y="14195"/>
                  </a:lnTo>
                  <a:cubicBezTo>
                    <a:pt x="0" y="6398"/>
                    <a:pt x="6398" y="0"/>
                    <a:pt x="14195" y="0"/>
                  </a:cubicBezTo>
                  <a:lnTo>
                    <a:pt x="245405" y="0"/>
                  </a:lnTo>
                  <a:cubicBezTo>
                    <a:pt x="253202" y="0"/>
                    <a:pt x="259600" y="6387"/>
                    <a:pt x="259600" y="14195"/>
                  </a:cubicBezTo>
                  <a:lnTo>
                    <a:pt x="259600" y="174349"/>
                  </a:lnTo>
                  <a:cubicBezTo>
                    <a:pt x="259600" y="182145"/>
                    <a:pt x="253213" y="188497"/>
                    <a:pt x="245405" y="188497"/>
                  </a:cubicBezTo>
                  <a:lnTo>
                    <a:pt x="14195" y="188497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334" name="Forma livre: Forma 1333">
              <a:extLst>
                <a:ext uri="{FF2B5EF4-FFF2-40B4-BE49-F238E27FC236}">
                  <a16:creationId xmlns:a16="http://schemas.microsoft.com/office/drawing/2014/main" id="{262BB247-5468-5A40-2380-D78D47825747}"/>
                </a:ext>
              </a:extLst>
            </p:cNvPr>
            <p:cNvSpPr/>
            <p:nvPr/>
          </p:nvSpPr>
          <p:spPr>
            <a:xfrm>
              <a:off x="1488763" y="5244771"/>
              <a:ext cx="85659" cy="99108"/>
            </a:xfrm>
            <a:custGeom>
              <a:avLst/>
              <a:gdLst>
                <a:gd name="connsiteX0" fmla="*/ 0 w 85659"/>
                <a:gd name="connsiteY0" fmla="*/ 0 h 99108"/>
                <a:gd name="connsiteX1" fmla="*/ 85659 w 85659"/>
                <a:gd name="connsiteY1" fmla="*/ 49578 h 99108"/>
                <a:gd name="connsiteX2" fmla="*/ 0 w 85659"/>
                <a:gd name="connsiteY2" fmla="*/ 99108 h 99108"/>
                <a:gd name="connsiteX3" fmla="*/ 0 w 85659"/>
                <a:gd name="connsiteY3" fmla="*/ 0 h 991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5659" h="99108">
                  <a:moveTo>
                    <a:pt x="0" y="0"/>
                  </a:moveTo>
                  <a:lnTo>
                    <a:pt x="85659" y="49578"/>
                  </a:lnTo>
                  <a:lnTo>
                    <a:pt x="0" y="99108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335" name="Forma livre: Forma 1334">
              <a:extLst>
                <a:ext uri="{FF2B5EF4-FFF2-40B4-BE49-F238E27FC236}">
                  <a16:creationId xmlns:a16="http://schemas.microsoft.com/office/drawing/2014/main" id="{018919BF-0AFD-5975-B9A4-E640E4BB42C5}"/>
                </a:ext>
              </a:extLst>
            </p:cNvPr>
            <p:cNvSpPr/>
            <p:nvPr/>
          </p:nvSpPr>
          <p:spPr>
            <a:xfrm>
              <a:off x="1441575" y="5415705"/>
              <a:ext cx="32632" cy="32632"/>
            </a:xfrm>
            <a:custGeom>
              <a:avLst/>
              <a:gdLst>
                <a:gd name="connsiteX0" fmla="*/ 32632 w 32632"/>
                <a:gd name="connsiteY0" fmla="*/ 16316 h 32632"/>
                <a:gd name="connsiteX1" fmla="*/ 16316 w 32632"/>
                <a:gd name="connsiteY1" fmla="*/ 32632 h 32632"/>
                <a:gd name="connsiteX2" fmla="*/ 0 w 32632"/>
                <a:gd name="connsiteY2" fmla="*/ 16316 h 32632"/>
                <a:gd name="connsiteX3" fmla="*/ 16316 w 32632"/>
                <a:gd name="connsiteY3" fmla="*/ 0 h 32632"/>
                <a:gd name="connsiteX4" fmla="*/ 32632 w 32632"/>
                <a:gd name="connsiteY4" fmla="*/ 16316 h 326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2632" h="32632">
                  <a:moveTo>
                    <a:pt x="32632" y="16316"/>
                  </a:moveTo>
                  <a:cubicBezTo>
                    <a:pt x="32632" y="25327"/>
                    <a:pt x="25327" y="32632"/>
                    <a:pt x="16316" y="32632"/>
                  </a:cubicBezTo>
                  <a:cubicBezTo>
                    <a:pt x="7305" y="32632"/>
                    <a:pt x="0" y="25327"/>
                    <a:pt x="0" y="16316"/>
                  </a:cubicBezTo>
                  <a:cubicBezTo>
                    <a:pt x="0" y="7305"/>
                    <a:pt x="7305" y="0"/>
                    <a:pt x="16316" y="0"/>
                  </a:cubicBezTo>
                  <a:cubicBezTo>
                    <a:pt x="25327" y="0"/>
                    <a:pt x="32632" y="7305"/>
                    <a:pt x="32632" y="16316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336" name="Forma livre: Forma 1335">
              <a:extLst>
                <a:ext uri="{FF2B5EF4-FFF2-40B4-BE49-F238E27FC236}">
                  <a16:creationId xmlns:a16="http://schemas.microsoft.com/office/drawing/2014/main" id="{985124F1-9A8E-0926-FA4B-1D80AC473DD1}"/>
                </a:ext>
              </a:extLst>
            </p:cNvPr>
            <p:cNvSpPr/>
            <p:nvPr/>
          </p:nvSpPr>
          <p:spPr>
            <a:xfrm>
              <a:off x="1391718" y="5432021"/>
              <a:ext cx="49857" cy="1165"/>
            </a:xfrm>
            <a:custGeom>
              <a:avLst/>
              <a:gdLst>
                <a:gd name="connsiteX0" fmla="*/ 49857 w 49857"/>
                <a:gd name="connsiteY0" fmla="*/ 0 h 1165"/>
                <a:gd name="connsiteX1" fmla="*/ 0 w 49857"/>
                <a:gd name="connsiteY1" fmla="*/ 0 h 11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9857" h="1165">
                  <a:moveTo>
                    <a:pt x="49857" y="0"/>
                  </a:moveTo>
                  <a:lnTo>
                    <a:pt x="0" y="0"/>
                  </a:lnTo>
                </a:path>
              </a:pathLst>
            </a:custGeom>
            <a:ln w="6350" cap="sq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337" name="Forma livre: Forma 1336">
              <a:extLst>
                <a:ext uri="{FF2B5EF4-FFF2-40B4-BE49-F238E27FC236}">
                  <a16:creationId xmlns:a16="http://schemas.microsoft.com/office/drawing/2014/main" id="{5C584EF4-4F8B-3DCB-7754-A8A9AA1A6107}"/>
                </a:ext>
              </a:extLst>
            </p:cNvPr>
            <p:cNvSpPr/>
            <p:nvPr/>
          </p:nvSpPr>
          <p:spPr>
            <a:xfrm>
              <a:off x="1502807" y="5432021"/>
              <a:ext cx="148510" cy="1165"/>
            </a:xfrm>
            <a:custGeom>
              <a:avLst/>
              <a:gdLst>
                <a:gd name="connsiteX0" fmla="*/ 148511 w 148510"/>
                <a:gd name="connsiteY0" fmla="*/ 0 h 1165"/>
                <a:gd name="connsiteX1" fmla="*/ 0 w 148510"/>
                <a:gd name="connsiteY1" fmla="*/ 0 h 11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48510" h="1165">
                  <a:moveTo>
                    <a:pt x="148511" y="0"/>
                  </a:moveTo>
                  <a:lnTo>
                    <a:pt x="0" y="0"/>
                  </a:lnTo>
                </a:path>
              </a:pathLst>
            </a:custGeom>
            <a:ln w="6350" cap="sq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338" name="Gráfico 13">
            <a:extLst>
              <a:ext uri="{FF2B5EF4-FFF2-40B4-BE49-F238E27FC236}">
                <a16:creationId xmlns:a16="http://schemas.microsoft.com/office/drawing/2014/main" id="{94E955AC-734B-450F-F9AD-BA1BEF907F58}"/>
              </a:ext>
            </a:extLst>
          </p:cNvPr>
          <p:cNvGrpSpPr/>
          <p:nvPr/>
        </p:nvGrpSpPr>
        <p:grpSpPr>
          <a:xfrm>
            <a:off x="1354995" y="4130724"/>
            <a:ext cx="333045" cy="287430"/>
            <a:chOff x="1354995" y="4130724"/>
            <a:chExt cx="333045" cy="287430"/>
          </a:xfrm>
          <a:noFill/>
        </p:grpSpPr>
        <p:grpSp>
          <p:nvGrpSpPr>
            <p:cNvPr id="1339" name="Gráfico 13">
              <a:extLst>
                <a:ext uri="{FF2B5EF4-FFF2-40B4-BE49-F238E27FC236}">
                  <a16:creationId xmlns:a16="http://schemas.microsoft.com/office/drawing/2014/main" id="{9BD889A6-44A2-4BCF-A82C-90B514F629C5}"/>
                </a:ext>
              </a:extLst>
            </p:cNvPr>
            <p:cNvGrpSpPr/>
            <p:nvPr/>
          </p:nvGrpSpPr>
          <p:grpSpPr>
            <a:xfrm>
              <a:off x="1404724" y="4252185"/>
              <a:ext cx="233587" cy="44519"/>
              <a:chOff x="1404724" y="4252185"/>
              <a:chExt cx="233587" cy="44519"/>
            </a:xfrm>
            <a:noFill/>
          </p:grpSpPr>
          <p:sp>
            <p:nvSpPr>
              <p:cNvPr id="1340" name="Forma livre: Forma 1339">
                <a:extLst>
                  <a:ext uri="{FF2B5EF4-FFF2-40B4-BE49-F238E27FC236}">
                    <a16:creationId xmlns:a16="http://schemas.microsoft.com/office/drawing/2014/main" id="{BD628125-398A-F093-906B-83E3B92BBC68}"/>
                  </a:ext>
                </a:extLst>
              </p:cNvPr>
              <p:cNvSpPr/>
              <p:nvPr/>
            </p:nvSpPr>
            <p:spPr>
              <a:xfrm>
                <a:off x="1612206" y="4252185"/>
                <a:ext cx="26105" cy="44519"/>
              </a:xfrm>
              <a:custGeom>
                <a:avLst/>
                <a:gdLst>
                  <a:gd name="connsiteX0" fmla="*/ 0 w 26105"/>
                  <a:gd name="connsiteY0" fmla="*/ 37702 h 44519"/>
                  <a:gd name="connsiteX1" fmla="*/ 13111 w 26105"/>
                  <a:gd name="connsiteY1" fmla="*/ 44520 h 44519"/>
                  <a:gd name="connsiteX2" fmla="*/ 26106 w 26105"/>
                  <a:gd name="connsiteY2" fmla="*/ 33390 h 44519"/>
                  <a:gd name="connsiteX3" fmla="*/ 13111 w 26105"/>
                  <a:gd name="connsiteY3" fmla="*/ 22260 h 44519"/>
                  <a:gd name="connsiteX4" fmla="*/ 128 w 26105"/>
                  <a:gd name="connsiteY4" fmla="*/ 11130 h 44519"/>
                  <a:gd name="connsiteX5" fmla="*/ 13111 w 26105"/>
                  <a:gd name="connsiteY5" fmla="*/ 0 h 44519"/>
                  <a:gd name="connsiteX6" fmla="*/ 24054 w 26105"/>
                  <a:gd name="connsiteY6" fmla="*/ 4032 h 445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6105" h="44519">
                    <a:moveTo>
                      <a:pt x="0" y="37702"/>
                    </a:moveTo>
                    <a:cubicBezTo>
                      <a:pt x="2168" y="41699"/>
                      <a:pt x="7249" y="44520"/>
                      <a:pt x="13111" y="44520"/>
                    </a:cubicBezTo>
                    <a:cubicBezTo>
                      <a:pt x="20943" y="44520"/>
                      <a:pt x="26106" y="39508"/>
                      <a:pt x="26106" y="33390"/>
                    </a:cubicBezTo>
                    <a:cubicBezTo>
                      <a:pt x="26106" y="27271"/>
                      <a:pt x="20756" y="23961"/>
                      <a:pt x="13111" y="22260"/>
                    </a:cubicBezTo>
                    <a:cubicBezTo>
                      <a:pt x="5454" y="20477"/>
                      <a:pt x="128" y="17248"/>
                      <a:pt x="128" y="11130"/>
                    </a:cubicBezTo>
                    <a:cubicBezTo>
                      <a:pt x="128" y="5011"/>
                      <a:pt x="5291" y="0"/>
                      <a:pt x="13111" y="0"/>
                    </a:cubicBezTo>
                    <a:cubicBezTo>
                      <a:pt x="17505" y="0"/>
                      <a:pt x="21444" y="1573"/>
                      <a:pt x="24054" y="4032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341" name="Forma livre: Forma 1340">
                <a:extLst>
                  <a:ext uri="{FF2B5EF4-FFF2-40B4-BE49-F238E27FC236}">
                    <a16:creationId xmlns:a16="http://schemas.microsoft.com/office/drawing/2014/main" id="{FDDF56EC-D1F3-A2A3-9222-4B9BA729CDAD}"/>
                  </a:ext>
                </a:extLst>
              </p:cNvPr>
              <p:cNvSpPr/>
              <p:nvPr/>
            </p:nvSpPr>
            <p:spPr>
              <a:xfrm>
                <a:off x="1404724" y="4252185"/>
                <a:ext cx="30068" cy="44519"/>
              </a:xfrm>
              <a:custGeom>
                <a:avLst/>
                <a:gdLst>
                  <a:gd name="connsiteX0" fmla="*/ 0 w 30068"/>
                  <a:gd name="connsiteY0" fmla="*/ 44520 h 44519"/>
                  <a:gd name="connsiteX1" fmla="*/ 0 w 30068"/>
                  <a:gd name="connsiteY1" fmla="*/ 0 h 44519"/>
                  <a:gd name="connsiteX2" fmla="*/ 30068 w 30068"/>
                  <a:gd name="connsiteY2" fmla="*/ 44520 h 44519"/>
                  <a:gd name="connsiteX3" fmla="*/ 30068 w 30068"/>
                  <a:gd name="connsiteY3" fmla="*/ 0 h 445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0068" h="44519">
                    <a:moveTo>
                      <a:pt x="0" y="44520"/>
                    </a:moveTo>
                    <a:lnTo>
                      <a:pt x="0" y="0"/>
                    </a:lnTo>
                    <a:lnTo>
                      <a:pt x="30068" y="44520"/>
                    </a:lnTo>
                    <a:lnTo>
                      <a:pt x="30068" y="0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342" name="Forma livre: Forma 1341">
                <a:extLst>
                  <a:ext uri="{FF2B5EF4-FFF2-40B4-BE49-F238E27FC236}">
                    <a16:creationId xmlns:a16="http://schemas.microsoft.com/office/drawing/2014/main" id="{3243D9EC-BECB-FEF7-F924-5E1749A5B368}"/>
                  </a:ext>
                </a:extLst>
              </p:cNvPr>
              <p:cNvSpPr/>
              <p:nvPr/>
            </p:nvSpPr>
            <p:spPr>
              <a:xfrm>
                <a:off x="1522607" y="4252185"/>
                <a:ext cx="57630" cy="44519"/>
              </a:xfrm>
              <a:custGeom>
                <a:avLst/>
                <a:gdLst>
                  <a:gd name="connsiteX0" fmla="*/ 0 w 57630"/>
                  <a:gd name="connsiteY0" fmla="*/ 0 h 44519"/>
                  <a:gd name="connsiteX1" fmla="*/ 15069 w 57630"/>
                  <a:gd name="connsiteY1" fmla="*/ 44520 h 44519"/>
                  <a:gd name="connsiteX2" fmla="*/ 28809 w 57630"/>
                  <a:gd name="connsiteY2" fmla="*/ 0 h 44519"/>
                  <a:gd name="connsiteX3" fmla="*/ 45137 w 57630"/>
                  <a:gd name="connsiteY3" fmla="*/ 44520 h 44519"/>
                  <a:gd name="connsiteX4" fmla="*/ 57631 w 57630"/>
                  <a:gd name="connsiteY4" fmla="*/ 0 h 445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7630" h="44519">
                    <a:moveTo>
                      <a:pt x="0" y="0"/>
                    </a:moveTo>
                    <a:lnTo>
                      <a:pt x="15069" y="44520"/>
                    </a:lnTo>
                    <a:lnTo>
                      <a:pt x="28809" y="0"/>
                    </a:lnTo>
                    <a:lnTo>
                      <a:pt x="45137" y="44520"/>
                    </a:lnTo>
                    <a:lnTo>
                      <a:pt x="57631" y="0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1343" name="Gráfico 13">
                <a:extLst>
                  <a:ext uri="{FF2B5EF4-FFF2-40B4-BE49-F238E27FC236}">
                    <a16:creationId xmlns:a16="http://schemas.microsoft.com/office/drawing/2014/main" id="{3223A7E9-045D-C091-580C-266EF4251A94}"/>
                  </a:ext>
                </a:extLst>
              </p:cNvPr>
              <p:cNvGrpSpPr/>
              <p:nvPr/>
            </p:nvGrpSpPr>
            <p:grpSpPr>
              <a:xfrm>
                <a:off x="1471223" y="4252185"/>
                <a:ext cx="23063" cy="44519"/>
                <a:chOff x="1471223" y="4252185"/>
                <a:chExt cx="23063" cy="44519"/>
              </a:xfrm>
              <a:noFill/>
            </p:grpSpPr>
            <p:sp>
              <p:nvSpPr>
                <p:cNvPr id="1344" name="Forma livre: Forma 1343">
                  <a:extLst>
                    <a:ext uri="{FF2B5EF4-FFF2-40B4-BE49-F238E27FC236}">
                      <a16:creationId xmlns:a16="http://schemas.microsoft.com/office/drawing/2014/main" id="{F9460C6E-008D-3186-FF9D-DE42969A8AE3}"/>
                    </a:ext>
                  </a:extLst>
                </p:cNvPr>
                <p:cNvSpPr/>
                <p:nvPr/>
              </p:nvSpPr>
              <p:spPr>
                <a:xfrm>
                  <a:off x="1471223" y="4252185"/>
                  <a:ext cx="23063" cy="44519"/>
                </a:xfrm>
                <a:custGeom>
                  <a:avLst/>
                  <a:gdLst>
                    <a:gd name="connsiteX0" fmla="*/ 23064 w 23063"/>
                    <a:gd name="connsiteY0" fmla="*/ 0 h 44519"/>
                    <a:gd name="connsiteX1" fmla="*/ 0 w 23063"/>
                    <a:gd name="connsiteY1" fmla="*/ 0 h 44519"/>
                    <a:gd name="connsiteX2" fmla="*/ 0 w 23063"/>
                    <a:gd name="connsiteY2" fmla="*/ 44520 h 44519"/>
                    <a:gd name="connsiteX3" fmla="*/ 23064 w 23063"/>
                    <a:gd name="connsiteY3" fmla="*/ 44520 h 4451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23063" h="44519">
                      <a:moveTo>
                        <a:pt x="23064" y="0"/>
                      </a:moveTo>
                      <a:lnTo>
                        <a:pt x="0" y="0"/>
                      </a:lnTo>
                      <a:lnTo>
                        <a:pt x="0" y="44520"/>
                      </a:lnTo>
                      <a:lnTo>
                        <a:pt x="23064" y="44520"/>
                      </a:ln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345" name="Forma livre: Forma 1344">
                  <a:extLst>
                    <a:ext uri="{FF2B5EF4-FFF2-40B4-BE49-F238E27FC236}">
                      <a16:creationId xmlns:a16="http://schemas.microsoft.com/office/drawing/2014/main" id="{13A3319C-DFE8-49CC-CFAA-E35655A198C5}"/>
                    </a:ext>
                  </a:extLst>
                </p:cNvPr>
                <p:cNvSpPr/>
                <p:nvPr/>
              </p:nvSpPr>
              <p:spPr>
                <a:xfrm>
                  <a:off x="1472062" y="4274445"/>
                  <a:ext cx="16665" cy="1165"/>
                </a:xfrm>
                <a:custGeom>
                  <a:avLst/>
                  <a:gdLst>
                    <a:gd name="connsiteX0" fmla="*/ 0 w 16665"/>
                    <a:gd name="connsiteY0" fmla="*/ 0 h 1165"/>
                    <a:gd name="connsiteX1" fmla="*/ 16666 w 16665"/>
                    <a:gd name="connsiteY1" fmla="*/ 0 h 116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6665" h="1165">
                      <a:moveTo>
                        <a:pt x="0" y="0"/>
                      </a:moveTo>
                      <a:lnTo>
                        <a:pt x="16666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grpSp>
          <p:nvGrpSpPr>
            <p:cNvPr id="1346" name="Gráfico 13">
              <a:extLst>
                <a:ext uri="{FF2B5EF4-FFF2-40B4-BE49-F238E27FC236}">
                  <a16:creationId xmlns:a16="http://schemas.microsoft.com/office/drawing/2014/main" id="{87474A6C-02B6-4856-A8B0-A746B2ED5285}"/>
                </a:ext>
              </a:extLst>
            </p:cNvPr>
            <p:cNvGrpSpPr/>
            <p:nvPr/>
          </p:nvGrpSpPr>
          <p:grpSpPr>
            <a:xfrm>
              <a:off x="1354995" y="4130724"/>
              <a:ext cx="333045" cy="287430"/>
              <a:chOff x="1354995" y="4130724"/>
              <a:chExt cx="333045" cy="287430"/>
            </a:xfrm>
            <a:noFill/>
          </p:grpSpPr>
          <p:grpSp>
            <p:nvGrpSpPr>
              <p:cNvPr id="1347" name="Gráfico 13">
                <a:extLst>
                  <a:ext uri="{FF2B5EF4-FFF2-40B4-BE49-F238E27FC236}">
                    <a16:creationId xmlns:a16="http://schemas.microsoft.com/office/drawing/2014/main" id="{DDBE46DB-35BD-2A2A-D1F3-8D6E9141EDC2}"/>
                  </a:ext>
                </a:extLst>
              </p:cNvPr>
              <p:cNvGrpSpPr/>
              <p:nvPr/>
            </p:nvGrpSpPr>
            <p:grpSpPr>
              <a:xfrm>
                <a:off x="1354995" y="4130724"/>
                <a:ext cx="333045" cy="95518"/>
                <a:chOff x="1354995" y="4130724"/>
                <a:chExt cx="333045" cy="95518"/>
              </a:xfrm>
              <a:noFill/>
            </p:grpSpPr>
            <p:grpSp>
              <p:nvGrpSpPr>
                <p:cNvPr id="1348" name="Gráfico 13">
                  <a:extLst>
                    <a:ext uri="{FF2B5EF4-FFF2-40B4-BE49-F238E27FC236}">
                      <a16:creationId xmlns:a16="http://schemas.microsoft.com/office/drawing/2014/main" id="{6B9FAEFA-7369-5EAD-E5F9-A180C2CDE003}"/>
                    </a:ext>
                  </a:extLst>
                </p:cNvPr>
                <p:cNvGrpSpPr/>
                <p:nvPr/>
              </p:nvGrpSpPr>
              <p:grpSpPr>
                <a:xfrm>
                  <a:off x="1386881" y="4130724"/>
                  <a:ext cx="269261" cy="93537"/>
                  <a:chOff x="1386881" y="4130724"/>
                  <a:chExt cx="269261" cy="93537"/>
                </a:xfrm>
                <a:noFill/>
              </p:grpSpPr>
              <p:sp>
                <p:nvSpPr>
                  <p:cNvPr id="1349" name="Forma livre: Forma 1348">
                    <a:extLst>
                      <a:ext uri="{FF2B5EF4-FFF2-40B4-BE49-F238E27FC236}">
                        <a16:creationId xmlns:a16="http://schemas.microsoft.com/office/drawing/2014/main" id="{D831EC03-BEA2-B073-7266-D2CB0CCD0B34}"/>
                      </a:ext>
                    </a:extLst>
                  </p:cNvPr>
                  <p:cNvSpPr/>
                  <p:nvPr/>
                </p:nvSpPr>
                <p:spPr>
                  <a:xfrm>
                    <a:off x="1521605" y="4132693"/>
                    <a:ext cx="1165" cy="70217"/>
                  </a:xfrm>
                  <a:custGeom>
                    <a:avLst/>
                    <a:gdLst>
                      <a:gd name="connsiteX0" fmla="*/ 0 w 1165"/>
                      <a:gd name="connsiteY0" fmla="*/ 70217 h 70217"/>
                      <a:gd name="connsiteX1" fmla="*/ 0 w 1165"/>
                      <a:gd name="connsiteY1" fmla="*/ 0 h 7021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165" h="70217">
                        <a:moveTo>
                          <a:pt x="0" y="70217"/>
                        </a:moveTo>
                        <a:lnTo>
                          <a:pt x="0" y="0"/>
                        </a:lnTo>
                      </a:path>
                    </a:pathLst>
                  </a:custGeom>
                  <a:ln w="6350" cap="flat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1350" name="Forma livre: Forma 1349">
                    <a:extLst>
                      <a:ext uri="{FF2B5EF4-FFF2-40B4-BE49-F238E27FC236}">
                        <a16:creationId xmlns:a16="http://schemas.microsoft.com/office/drawing/2014/main" id="{DBADF25E-A775-E4A9-9193-D789AB4AEA95}"/>
                      </a:ext>
                    </a:extLst>
                  </p:cNvPr>
                  <p:cNvSpPr/>
                  <p:nvPr/>
                </p:nvSpPr>
                <p:spPr>
                  <a:xfrm>
                    <a:off x="1456784" y="4131295"/>
                    <a:ext cx="53714" cy="92966"/>
                  </a:xfrm>
                  <a:custGeom>
                    <a:avLst/>
                    <a:gdLst>
                      <a:gd name="connsiteX0" fmla="*/ 53715 w 53714"/>
                      <a:gd name="connsiteY0" fmla="*/ 0 h 92966"/>
                      <a:gd name="connsiteX1" fmla="*/ 0 w 53714"/>
                      <a:gd name="connsiteY1" fmla="*/ 92967 h 9296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53714" h="92966">
                        <a:moveTo>
                          <a:pt x="53715" y="0"/>
                        </a:moveTo>
                        <a:cubicBezTo>
                          <a:pt x="53715" y="0"/>
                          <a:pt x="15232" y="35301"/>
                          <a:pt x="0" y="92967"/>
                        </a:cubicBezTo>
                      </a:path>
                    </a:pathLst>
                  </a:custGeom>
                  <a:noFill/>
                  <a:ln w="6350" cap="flat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1351" name="Forma livre: Forma 1350">
                    <a:extLst>
                      <a:ext uri="{FF2B5EF4-FFF2-40B4-BE49-F238E27FC236}">
                        <a16:creationId xmlns:a16="http://schemas.microsoft.com/office/drawing/2014/main" id="{D550D605-0DD4-5619-DFE5-A160EB034F07}"/>
                      </a:ext>
                    </a:extLst>
                  </p:cNvPr>
                  <p:cNvSpPr/>
                  <p:nvPr/>
                </p:nvSpPr>
                <p:spPr>
                  <a:xfrm>
                    <a:off x="1532723" y="4131295"/>
                    <a:ext cx="53609" cy="92546"/>
                  </a:xfrm>
                  <a:custGeom>
                    <a:avLst/>
                    <a:gdLst>
                      <a:gd name="connsiteX0" fmla="*/ 0 w 53609"/>
                      <a:gd name="connsiteY0" fmla="*/ 0 h 92546"/>
                      <a:gd name="connsiteX1" fmla="*/ 53610 w 53609"/>
                      <a:gd name="connsiteY1" fmla="*/ 92547 h 9254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53609" h="92546">
                        <a:moveTo>
                          <a:pt x="0" y="0"/>
                        </a:moveTo>
                        <a:cubicBezTo>
                          <a:pt x="0" y="0"/>
                          <a:pt x="38308" y="35126"/>
                          <a:pt x="53610" y="92547"/>
                        </a:cubicBezTo>
                      </a:path>
                    </a:pathLst>
                  </a:custGeom>
                  <a:noFill/>
                  <a:ln w="6350" cap="flat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1352" name="Forma livre: Forma 1351">
                    <a:extLst>
                      <a:ext uri="{FF2B5EF4-FFF2-40B4-BE49-F238E27FC236}">
                        <a16:creationId xmlns:a16="http://schemas.microsoft.com/office/drawing/2014/main" id="{000A1FEE-1C2C-07EB-3911-925AD188DCAB}"/>
                      </a:ext>
                    </a:extLst>
                  </p:cNvPr>
                  <p:cNvSpPr/>
                  <p:nvPr/>
                </p:nvSpPr>
                <p:spPr>
                  <a:xfrm>
                    <a:off x="1438183" y="4174101"/>
                    <a:ext cx="187110" cy="28320"/>
                  </a:xfrm>
                  <a:custGeom>
                    <a:avLst/>
                    <a:gdLst>
                      <a:gd name="connsiteX0" fmla="*/ 187110 w 187110"/>
                      <a:gd name="connsiteY0" fmla="*/ 0 h 28320"/>
                      <a:gd name="connsiteX1" fmla="*/ 0 w 187110"/>
                      <a:gd name="connsiteY1" fmla="*/ 9836 h 2832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87110" h="28320">
                        <a:moveTo>
                          <a:pt x="187110" y="0"/>
                        </a:moveTo>
                        <a:cubicBezTo>
                          <a:pt x="148091" y="22528"/>
                          <a:pt x="81266" y="45463"/>
                          <a:pt x="0" y="9836"/>
                        </a:cubicBezTo>
                      </a:path>
                    </a:pathLst>
                  </a:custGeom>
                  <a:noFill/>
                  <a:ln w="6350" cap="flat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1353" name="Forma livre: Forma 1352">
                    <a:extLst>
                      <a:ext uri="{FF2B5EF4-FFF2-40B4-BE49-F238E27FC236}">
                        <a16:creationId xmlns:a16="http://schemas.microsoft.com/office/drawing/2014/main" id="{3502F29C-FFC0-9663-421F-DF08F901DCB0}"/>
                      </a:ext>
                    </a:extLst>
                  </p:cNvPr>
                  <p:cNvSpPr/>
                  <p:nvPr/>
                </p:nvSpPr>
                <p:spPr>
                  <a:xfrm>
                    <a:off x="1386881" y="4130724"/>
                    <a:ext cx="269261" cy="93316"/>
                  </a:xfrm>
                  <a:custGeom>
                    <a:avLst/>
                    <a:gdLst>
                      <a:gd name="connsiteX0" fmla="*/ 0 w 269261"/>
                      <a:gd name="connsiteY0" fmla="*/ 93316 h 93316"/>
                      <a:gd name="connsiteX1" fmla="*/ 134631 w 269261"/>
                      <a:gd name="connsiteY1" fmla="*/ 0 h 93316"/>
                      <a:gd name="connsiteX2" fmla="*/ 269261 w 269261"/>
                      <a:gd name="connsiteY2" fmla="*/ 93316 h 9331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</a:cxnLst>
                    <a:rect l="l" t="t" r="r" b="b"/>
                    <a:pathLst>
                      <a:path w="269261" h="93316">
                        <a:moveTo>
                          <a:pt x="0" y="93316"/>
                        </a:moveTo>
                        <a:cubicBezTo>
                          <a:pt x="20430" y="38809"/>
                          <a:pt x="72991" y="0"/>
                          <a:pt x="134631" y="0"/>
                        </a:cubicBezTo>
                        <a:cubicBezTo>
                          <a:pt x="196270" y="0"/>
                          <a:pt x="248831" y="38797"/>
                          <a:pt x="269261" y="93316"/>
                        </a:cubicBezTo>
                      </a:path>
                    </a:pathLst>
                  </a:custGeom>
                  <a:noFill/>
                  <a:ln w="6350" cap="flat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  <p:sp>
              <p:nvSpPr>
                <p:cNvPr id="1354" name="Forma livre: Forma 1353">
                  <a:extLst>
                    <a:ext uri="{FF2B5EF4-FFF2-40B4-BE49-F238E27FC236}">
                      <a16:creationId xmlns:a16="http://schemas.microsoft.com/office/drawing/2014/main" id="{5B587ED8-43AF-44DF-3AE9-0585368608BD}"/>
                    </a:ext>
                  </a:extLst>
                </p:cNvPr>
                <p:cNvSpPr/>
                <p:nvPr/>
              </p:nvSpPr>
              <p:spPr>
                <a:xfrm>
                  <a:off x="1354995" y="4226242"/>
                  <a:ext cx="333045" cy="1165"/>
                </a:xfrm>
                <a:custGeom>
                  <a:avLst/>
                  <a:gdLst>
                    <a:gd name="connsiteX0" fmla="*/ 0 w 333045"/>
                    <a:gd name="connsiteY0" fmla="*/ 0 h 1165"/>
                    <a:gd name="connsiteX1" fmla="*/ 333045 w 333045"/>
                    <a:gd name="connsiteY1" fmla="*/ 0 h 116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333045" h="1165">
                      <a:moveTo>
                        <a:pt x="0" y="0"/>
                      </a:moveTo>
                      <a:lnTo>
                        <a:pt x="333045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1355" name="Gráfico 13">
                <a:extLst>
                  <a:ext uri="{FF2B5EF4-FFF2-40B4-BE49-F238E27FC236}">
                    <a16:creationId xmlns:a16="http://schemas.microsoft.com/office/drawing/2014/main" id="{AB4C4EDA-D04B-7410-426A-6E0153716C8D}"/>
                  </a:ext>
                </a:extLst>
              </p:cNvPr>
              <p:cNvGrpSpPr/>
              <p:nvPr/>
            </p:nvGrpSpPr>
            <p:grpSpPr>
              <a:xfrm>
                <a:off x="1354995" y="4322624"/>
                <a:ext cx="333045" cy="95530"/>
                <a:chOff x="1354995" y="4322624"/>
                <a:chExt cx="333045" cy="95530"/>
              </a:xfrm>
              <a:noFill/>
            </p:grpSpPr>
            <p:grpSp>
              <p:nvGrpSpPr>
                <p:cNvPr id="1356" name="Gráfico 13">
                  <a:extLst>
                    <a:ext uri="{FF2B5EF4-FFF2-40B4-BE49-F238E27FC236}">
                      <a16:creationId xmlns:a16="http://schemas.microsoft.com/office/drawing/2014/main" id="{DD23FE2D-684E-A3A2-7C32-81153701D99F}"/>
                    </a:ext>
                  </a:extLst>
                </p:cNvPr>
                <p:cNvGrpSpPr/>
                <p:nvPr/>
              </p:nvGrpSpPr>
              <p:grpSpPr>
                <a:xfrm>
                  <a:off x="1386881" y="4324605"/>
                  <a:ext cx="269261" cy="93549"/>
                  <a:chOff x="1386881" y="4324605"/>
                  <a:chExt cx="269261" cy="93549"/>
                </a:xfrm>
                <a:noFill/>
              </p:grpSpPr>
              <p:sp>
                <p:nvSpPr>
                  <p:cNvPr id="1357" name="Forma livre: Forma 1356">
                    <a:extLst>
                      <a:ext uri="{FF2B5EF4-FFF2-40B4-BE49-F238E27FC236}">
                        <a16:creationId xmlns:a16="http://schemas.microsoft.com/office/drawing/2014/main" id="{556105BE-90C3-ED5E-99B6-5039326CFAF8}"/>
                      </a:ext>
                    </a:extLst>
                  </p:cNvPr>
                  <p:cNvSpPr/>
                  <p:nvPr/>
                </p:nvSpPr>
                <p:spPr>
                  <a:xfrm>
                    <a:off x="1521605" y="4345956"/>
                    <a:ext cx="1165" cy="70217"/>
                  </a:xfrm>
                  <a:custGeom>
                    <a:avLst/>
                    <a:gdLst>
                      <a:gd name="connsiteX0" fmla="*/ 0 w 1165"/>
                      <a:gd name="connsiteY0" fmla="*/ 0 h 70217"/>
                      <a:gd name="connsiteX1" fmla="*/ 0 w 1165"/>
                      <a:gd name="connsiteY1" fmla="*/ 70217 h 7021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165" h="70217">
                        <a:moveTo>
                          <a:pt x="0" y="0"/>
                        </a:moveTo>
                        <a:lnTo>
                          <a:pt x="0" y="70217"/>
                        </a:lnTo>
                      </a:path>
                    </a:pathLst>
                  </a:custGeom>
                  <a:ln w="6350" cap="flat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1358" name="Forma livre: Forma 1357">
                    <a:extLst>
                      <a:ext uri="{FF2B5EF4-FFF2-40B4-BE49-F238E27FC236}">
                        <a16:creationId xmlns:a16="http://schemas.microsoft.com/office/drawing/2014/main" id="{7EF8719C-0234-6BD3-E943-3AF3C4FA791A}"/>
                      </a:ext>
                    </a:extLst>
                  </p:cNvPr>
                  <p:cNvSpPr/>
                  <p:nvPr/>
                </p:nvSpPr>
                <p:spPr>
                  <a:xfrm>
                    <a:off x="1456784" y="4324605"/>
                    <a:ext cx="53714" cy="92966"/>
                  </a:xfrm>
                  <a:custGeom>
                    <a:avLst/>
                    <a:gdLst>
                      <a:gd name="connsiteX0" fmla="*/ 53715 w 53714"/>
                      <a:gd name="connsiteY0" fmla="*/ 92967 h 92966"/>
                      <a:gd name="connsiteX1" fmla="*/ 0 w 53714"/>
                      <a:gd name="connsiteY1" fmla="*/ 0 h 9296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53714" h="92966">
                        <a:moveTo>
                          <a:pt x="53715" y="92967"/>
                        </a:moveTo>
                        <a:cubicBezTo>
                          <a:pt x="53715" y="92967"/>
                          <a:pt x="15232" y="57666"/>
                          <a:pt x="0" y="0"/>
                        </a:cubicBezTo>
                      </a:path>
                    </a:pathLst>
                  </a:custGeom>
                  <a:noFill/>
                  <a:ln w="6350" cap="flat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1359" name="Forma livre: Forma 1358">
                    <a:extLst>
                      <a:ext uri="{FF2B5EF4-FFF2-40B4-BE49-F238E27FC236}">
                        <a16:creationId xmlns:a16="http://schemas.microsoft.com/office/drawing/2014/main" id="{0BD1838E-0EDF-B9FC-A359-586042FE7DDC}"/>
                      </a:ext>
                    </a:extLst>
                  </p:cNvPr>
                  <p:cNvSpPr/>
                  <p:nvPr/>
                </p:nvSpPr>
                <p:spPr>
                  <a:xfrm>
                    <a:off x="1532723" y="4325024"/>
                    <a:ext cx="53609" cy="92546"/>
                  </a:xfrm>
                  <a:custGeom>
                    <a:avLst/>
                    <a:gdLst>
                      <a:gd name="connsiteX0" fmla="*/ 0 w 53609"/>
                      <a:gd name="connsiteY0" fmla="*/ 92547 h 92546"/>
                      <a:gd name="connsiteX1" fmla="*/ 53610 w 53609"/>
                      <a:gd name="connsiteY1" fmla="*/ 0 h 9254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53609" h="92546">
                        <a:moveTo>
                          <a:pt x="0" y="92547"/>
                        </a:moveTo>
                        <a:cubicBezTo>
                          <a:pt x="0" y="92547"/>
                          <a:pt x="38308" y="57421"/>
                          <a:pt x="53610" y="0"/>
                        </a:cubicBezTo>
                      </a:path>
                    </a:pathLst>
                  </a:custGeom>
                  <a:noFill/>
                  <a:ln w="6350" cap="flat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1360" name="Forma livre: Forma 1359">
                    <a:extLst>
                      <a:ext uri="{FF2B5EF4-FFF2-40B4-BE49-F238E27FC236}">
                        <a16:creationId xmlns:a16="http://schemas.microsoft.com/office/drawing/2014/main" id="{B6DE0303-A558-18B9-E190-53DDE55AE7BD}"/>
                      </a:ext>
                    </a:extLst>
                  </p:cNvPr>
                  <p:cNvSpPr/>
                  <p:nvPr/>
                </p:nvSpPr>
                <p:spPr>
                  <a:xfrm>
                    <a:off x="1438183" y="4346445"/>
                    <a:ext cx="187110" cy="28320"/>
                  </a:xfrm>
                  <a:custGeom>
                    <a:avLst/>
                    <a:gdLst>
                      <a:gd name="connsiteX0" fmla="*/ 187110 w 187110"/>
                      <a:gd name="connsiteY0" fmla="*/ 28320 h 28320"/>
                      <a:gd name="connsiteX1" fmla="*/ 0 w 187110"/>
                      <a:gd name="connsiteY1" fmla="*/ 18484 h 2832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87110" h="28320">
                        <a:moveTo>
                          <a:pt x="187110" y="28320"/>
                        </a:moveTo>
                        <a:cubicBezTo>
                          <a:pt x="148091" y="5793"/>
                          <a:pt x="81266" y="-17143"/>
                          <a:pt x="0" y="18484"/>
                        </a:cubicBezTo>
                      </a:path>
                    </a:pathLst>
                  </a:custGeom>
                  <a:noFill/>
                  <a:ln w="6350" cap="flat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1361" name="Forma livre: Forma 1360">
                    <a:extLst>
                      <a:ext uri="{FF2B5EF4-FFF2-40B4-BE49-F238E27FC236}">
                        <a16:creationId xmlns:a16="http://schemas.microsoft.com/office/drawing/2014/main" id="{6A696DEB-224B-A037-F047-A6E6A4EB2188}"/>
                      </a:ext>
                    </a:extLst>
                  </p:cNvPr>
                  <p:cNvSpPr/>
                  <p:nvPr/>
                </p:nvSpPr>
                <p:spPr>
                  <a:xfrm>
                    <a:off x="1386881" y="4324838"/>
                    <a:ext cx="269261" cy="93316"/>
                  </a:xfrm>
                  <a:custGeom>
                    <a:avLst/>
                    <a:gdLst>
                      <a:gd name="connsiteX0" fmla="*/ 0 w 269261"/>
                      <a:gd name="connsiteY0" fmla="*/ 0 h 93316"/>
                      <a:gd name="connsiteX1" fmla="*/ 134631 w 269261"/>
                      <a:gd name="connsiteY1" fmla="*/ 93316 h 93316"/>
                      <a:gd name="connsiteX2" fmla="*/ 269261 w 269261"/>
                      <a:gd name="connsiteY2" fmla="*/ 0 h 9331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</a:cxnLst>
                    <a:rect l="l" t="t" r="r" b="b"/>
                    <a:pathLst>
                      <a:path w="269261" h="93316">
                        <a:moveTo>
                          <a:pt x="0" y="0"/>
                        </a:moveTo>
                        <a:cubicBezTo>
                          <a:pt x="20430" y="54507"/>
                          <a:pt x="72991" y="93316"/>
                          <a:pt x="134631" y="93316"/>
                        </a:cubicBezTo>
                        <a:cubicBezTo>
                          <a:pt x="196270" y="93316"/>
                          <a:pt x="248831" y="54519"/>
                          <a:pt x="269261" y="0"/>
                        </a:cubicBezTo>
                      </a:path>
                    </a:pathLst>
                  </a:custGeom>
                  <a:noFill/>
                  <a:ln w="6350" cap="flat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  <p:sp>
              <p:nvSpPr>
                <p:cNvPr id="1362" name="Forma livre: Forma 1361">
                  <a:extLst>
                    <a:ext uri="{FF2B5EF4-FFF2-40B4-BE49-F238E27FC236}">
                      <a16:creationId xmlns:a16="http://schemas.microsoft.com/office/drawing/2014/main" id="{B928388F-6E0C-8907-8F5D-5AD570CA6101}"/>
                    </a:ext>
                  </a:extLst>
                </p:cNvPr>
                <p:cNvSpPr/>
                <p:nvPr/>
              </p:nvSpPr>
              <p:spPr>
                <a:xfrm>
                  <a:off x="1354995" y="4322624"/>
                  <a:ext cx="333045" cy="1165"/>
                </a:xfrm>
                <a:custGeom>
                  <a:avLst/>
                  <a:gdLst>
                    <a:gd name="connsiteX0" fmla="*/ 0 w 333045"/>
                    <a:gd name="connsiteY0" fmla="*/ 0 h 1165"/>
                    <a:gd name="connsiteX1" fmla="*/ 333045 w 333045"/>
                    <a:gd name="connsiteY1" fmla="*/ 0 h 116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333045" h="1165">
                      <a:moveTo>
                        <a:pt x="0" y="0"/>
                      </a:moveTo>
                      <a:lnTo>
                        <a:pt x="333045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</p:grpSp>
      <p:grpSp>
        <p:nvGrpSpPr>
          <p:cNvPr id="1363" name="Gráfico 13">
            <a:extLst>
              <a:ext uri="{FF2B5EF4-FFF2-40B4-BE49-F238E27FC236}">
                <a16:creationId xmlns:a16="http://schemas.microsoft.com/office/drawing/2014/main" id="{B766EF7E-8181-ED41-283C-16FCA8474F43}"/>
              </a:ext>
            </a:extLst>
          </p:cNvPr>
          <p:cNvGrpSpPr/>
          <p:nvPr/>
        </p:nvGrpSpPr>
        <p:grpSpPr>
          <a:xfrm>
            <a:off x="1363118" y="4663769"/>
            <a:ext cx="316775" cy="271091"/>
            <a:chOff x="1363118" y="4663769"/>
            <a:chExt cx="316775" cy="271091"/>
          </a:xfrm>
          <a:noFill/>
        </p:grpSpPr>
        <p:grpSp>
          <p:nvGrpSpPr>
            <p:cNvPr id="1364" name="Gráfico 13">
              <a:extLst>
                <a:ext uri="{FF2B5EF4-FFF2-40B4-BE49-F238E27FC236}">
                  <a16:creationId xmlns:a16="http://schemas.microsoft.com/office/drawing/2014/main" id="{002BCF0E-B294-4BAA-BF7B-5B269790A25C}"/>
                </a:ext>
              </a:extLst>
            </p:cNvPr>
            <p:cNvGrpSpPr/>
            <p:nvPr/>
          </p:nvGrpSpPr>
          <p:grpSpPr>
            <a:xfrm>
              <a:off x="1555321" y="4694793"/>
              <a:ext cx="76603" cy="82407"/>
              <a:chOff x="1555321" y="4694793"/>
              <a:chExt cx="76603" cy="82407"/>
            </a:xfrm>
            <a:noFill/>
          </p:grpSpPr>
          <p:grpSp>
            <p:nvGrpSpPr>
              <p:cNvPr id="1365" name="Gráfico 13">
                <a:extLst>
                  <a:ext uri="{FF2B5EF4-FFF2-40B4-BE49-F238E27FC236}">
                    <a16:creationId xmlns:a16="http://schemas.microsoft.com/office/drawing/2014/main" id="{03DBC596-1156-4458-ACCB-3488D7D560B8}"/>
                  </a:ext>
                </a:extLst>
              </p:cNvPr>
              <p:cNvGrpSpPr/>
              <p:nvPr/>
            </p:nvGrpSpPr>
            <p:grpSpPr>
              <a:xfrm>
                <a:off x="1556545" y="4712600"/>
                <a:ext cx="74156" cy="64599"/>
                <a:chOff x="1556545" y="4712600"/>
                <a:chExt cx="74156" cy="64599"/>
              </a:xfrm>
              <a:noFill/>
            </p:grpSpPr>
            <p:sp>
              <p:nvSpPr>
                <p:cNvPr id="1366" name="Forma livre: Forma 1365">
                  <a:extLst>
                    <a:ext uri="{FF2B5EF4-FFF2-40B4-BE49-F238E27FC236}">
                      <a16:creationId xmlns:a16="http://schemas.microsoft.com/office/drawing/2014/main" id="{D4523C90-2266-D8C5-2C1B-F243995A43FA}"/>
                    </a:ext>
                  </a:extLst>
                </p:cNvPr>
                <p:cNvSpPr/>
                <p:nvPr/>
              </p:nvSpPr>
              <p:spPr>
                <a:xfrm>
                  <a:off x="1578233" y="4731107"/>
                  <a:ext cx="52467" cy="46092"/>
                </a:xfrm>
                <a:custGeom>
                  <a:avLst/>
                  <a:gdLst>
                    <a:gd name="connsiteX0" fmla="*/ 0 w 52467"/>
                    <a:gd name="connsiteY0" fmla="*/ 0 h 46092"/>
                    <a:gd name="connsiteX1" fmla="*/ 52468 w 52467"/>
                    <a:gd name="connsiteY1" fmla="*/ 46093 h 460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52467" h="46092">
                      <a:moveTo>
                        <a:pt x="0" y="0"/>
                      </a:moveTo>
                      <a:cubicBezTo>
                        <a:pt x="6923" y="13519"/>
                        <a:pt x="21572" y="31898"/>
                        <a:pt x="52468" y="46093"/>
                      </a:cubicBez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367" name="Forma livre: Forma 1366">
                  <a:extLst>
                    <a:ext uri="{FF2B5EF4-FFF2-40B4-BE49-F238E27FC236}">
                      <a16:creationId xmlns:a16="http://schemas.microsoft.com/office/drawing/2014/main" id="{E74193A3-6058-9150-8EFA-C8638246F79F}"/>
                    </a:ext>
                  </a:extLst>
                </p:cNvPr>
                <p:cNvSpPr/>
                <p:nvPr/>
              </p:nvSpPr>
              <p:spPr>
                <a:xfrm>
                  <a:off x="1556545" y="4712600"/>
                  <a:ext cx="58586" cy="64588"/>
                </a:xfrm>
                <a:custGeom>
                  <a:avLst/>
                  <a:gdLst>
                    <a:gd name="connsiteX0" fmla="*/ 58586 w 58586"/>
                    <a:gd name="connsiteY0" fmla="*/ 0 h 64588"/>
                    <a:gd name="connsiteX1" fmla="*/ 0 w 58586"/>
                    <a:gd name="connsiteY1" fmla="*/ 64588 h 6458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58586" h="64588">
                      <a:moveTo>
                        <a:pt x="58586" y="0"/>
                      </a:moveTo>
                      <a:cubicBezTo>
                        <a:pt x="58586" y="0"/>
                        <a:pt x="55579" y="39065"/>
                        <a:pt x="0" y="64588"/>
                      </a:cubicBez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1368" name="Forma livre: Forma 1367">
                <a:extLst>
                  <a:ext uri="{FF2B5EF4-FFF2-40B4-BE49-F238E27FC236}">
                    <a16:creationId xmlns:a16="http://schemas.microsoft.com/office/drawing/2014/main" id="{4B1C569E-D51D-0F5B-A19B-61A0AD0791F1}"/>
                  </a:ext>
                </a:extLst>
              </p:cNvPr>
              <p:cNvSpPr/>
              <p:nvPr/>
            </p:nvSpPr>
            <p:spPr>
              <a:xfrm>
                <a:off x="1555321" y="4711936"/>
                <a:ext cx="76603" cy="1165"/>
              </a:xfrm>
              <a:custGeom>
                <a:avLst/>
                <a:gdLst>
                  <a:gd name="connsiteX0" fmla="*/ 0 w 76603"/>
                  <a:gd name="connsiteY0" fmla="*/ 0 h 1165"/>
                  <a:gd name="connsiteX1" fmla="*/ 76604 w 76603"/>
                  <a:gd name="connsiteY1" fmla="*/ 0 h 11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76603" h="1165">
                    <a:moveTo>
                      <a:pt x="0" y="0"/>
                    </a:moveTo>
                    <a:lnTo>
                      <a:pt x="76604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369" name="Forma livre: Forma 1368">
                <a:extLst>
                  <a:ext uri="{FF2B5EF4-FFF2-40B4-BE49-F238E27FC236}">
                    <a16:creationId xmlns:a16="http://schemas.microsoft.com/office/drawing/2014/main" id="{493CEFD0-ABA0-9626-A80B-30A0DDAAD903}"/>
                  </a:ext>
                </a:extLst>
              </p:cNvPr>
              <p:cNvSpPr/>
              <p:nvPr/>
            </p:nvSpPr>
            <p:spPr>
              <a:xfrm>
                <a:off x="1593617" y="4694793"/>
                <a:ext cx="1165" cy="16910"/>
              </a:xfrm>
              <a:custGeom>
                <a:avLst/>
                <a:gdLst>
                  <a:gd name="connsiteX0" fmla="*/ 0 w 1165"/>
                  <a:gd name="connsiteY0" fmla="*/ 16910 h 16910"/>
                  <a:gd name="connsiteX1" fmla="*/ 0 w 1165"/>
                  <a:gd name="connsiteY1" fmla="*/ 0 h 169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65" h="16910">
                    <a:moveTo>
                      <a:pt x="0" y="16910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370" name="Gráfico 13">
              <a:extLst>
                <a:ext uri="{FF2B5EF4-FFF2-40B4-BE49-F238E27FC236}">
                  <a16:creationId xmlns:a16="http://schemas.microsoft.com/office/drawing/2014/main" id="{FBD67166-938F-6B00-65D6-B6DB01880DEF}"/>
                </a:ext>
              </a:extLst>
            </p:cNvPr>
            <p:cNvGrpSpPr/>
            <p:nvPr/>
          </p:nvGrpSpPr>
          <p:grpSpPr>
            <a:xfrm>
              <a:off x="1363118" y="4731818"/>
              <a:ext cx="172577" cy="203041"/>
              <a:chOff x="1363118" y="4731818"/>
              <a:chExt cx="172577" cy="203041"/>
            </a:xfrm>
            <a:noFill/>
          </p:grpSpPr>
          <p:sp>
            <p:nvSpPr>
              <p:cNvPr id="1371" name="Forma livre: Forma 1370">
                <a:extLst>
                  <a:ext uri="{FF2B5EF4-FFF2-40B4-BE49-F238E27FC236}">
                    <a16:creationId xmlns:a16="http://schemas.microsoft.com/office/drawing/2014/main" id="{A79ACA02-0F9A-5301-533D-FCE4A2DE57A3}"/>
                  </a:ext>
                </a:extLst>
              </p:cNvPr>
              <p:cNvSpPr/>
              <p:nvPr/>
            </p:nvSpPr>
            <p:spPr>
              <a:xfrm>
                <a:off x="1476270" y="4835542"/>
                <a:ext cx="59425" cy="43377"/>
              </a:xfrm>
              <a:custGeom>
                <a:avLst/>
                <a:gdLst>
                  <a:gd name="connsiteX0" fmla="*/ 59425 w 59425"/>
                  <a:gd name="connsiteY0" fmla="*/ 0 h 43377"/>
                  <a:gd name="connsiteX1" fmla="*/ 59425 w 59425"/>
                  <a:gd name="connsiteY1" fmla="*/ 16666 h 43377"/>
                  <a:gd name="connsiteX2" fmla="*/ 32714 w 59425"/>
                  <a:gd name="connsiteY2" fmla="*/ 43377 h 43377"/>
                  <a:gd name="connsiteX3" fmla="*/ 0 w 59425"/>
                  <a:gd name="connsiteY3" fmla="*/ 43377 h 433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9425" h="43377">
                    <a:moveTo>
                      <a:pt x="59425" y="0"/>
                    </a:moveTo>
                    <a:lnTo>
                      <a:pt x="59425" y="16666"/>
                    </a:lnTo>
                    <a:cubicBezTo>
                      <a:pt x="59425" y="31362"/>
                      <a:pt x="47410" y="43377"/>
                      <a:pt x="32714" y="43377"/>
                    </a:cubicBezTo>
                    <a:lnTo>
                      <a:pt x="0" y="43377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372" name="Forma livre: Forma 1371">
                <a:extLst>
                  <a:ext uri="{FF2B5EF4-FFF2-40B4-BE49-F238E27FC236}">
                    <a16:creationId xmlns:a16="http://schemas.microsoft.com/office/drawing/2014/main" id="{255ABFE9-C6C6-8841-2CEC-BAA882C1F24C}"/>
                  </a:ext>
                </a:extLst>
              </p:cNvPr>
              <p:cNvSpPr/>
              <p:nvPr/>
            </p:nvSpPr>
            <p:spPr>
              <a:xfrm>
                <a:off x="1363118" y="4731818"/>
                <a:ext cx="117393" cy="203041"/>
              </a:xfrm>
              <a:custGeom>
                <a:avLst/>
                <a:gdLst>
                  <a:gd name="connsiteX0" fmla="*/ 86079 w 117393"/>
                  <a:gd name="connsiteY0" fmla="*/ 147101 h 203041"/>
                  <a:gd name="connsiteX1" fmla="*/ 39753 w 117393"/>
                  <a:gd name="connsiteY1" fmla="*/ 203042 h 203041"/>
                  <a:gd name="connsiteX2" fmla="*/ 39753 w 117393"/>
                  <a:gd name="connsiteY2" fmla="*/ 147101 h 203041"/>
                  <a:gd name="connsiteX3" fmla="*/ 26712 w 117393"/>
                  <a:gd name="connsiteY3" fmla="*/ 147101 h 203041"/>
                  <a:gd name="connsiteX4" fmla="*/ 0 w 117393"/>
                  <a:gd name="connsiteY4" fmla="*/ 120389 h 203041"/>
                  <a:gd name="connsiteX5" fmla="*/ 0 w 117393"/>
                  <a:gd name="connsiteY5" fmla="*/ 26712 h 203041"/>
                  <a:gd name="connsiteX6" fmla="*/ 26712 w 117393"/>
                  <a:gd name="connsiteY6" fmla="*/ 0 h 203041"/>
                  <a:gd name="connsiteX7" fmla="*/ 117394 w 117393"/>
                  <a:gd name="connsiteY7" fmla="*/ 0 h 2030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17393" h="203041">
                    <a:moveTo>
                      <a:pt x="86079" y="147101"/>
                    </a:moveTo>
                    <a:lnTo>
                      <a:pt x="39753" y="203042"/>
                    </a:lnTo>
                    <a:lnTo>
                      <a:pt x="39753" y="147101"/>
                    </a:lnTo>
                    <a:lnTo>
                      <a:pt x="26712" y="147101"/>
                    </a:lnTo>
                    <a:cubicBezTo>
                      <a:pt x="12016" y="147101"/>
                      <a:pt x="0" y="135085"/>
                      <a:pt x="0" y="120389"/>
                    </a:cubicBezTo>
                    <a:lnTo>
                      <a:pt x="0" y="26712"/>
                    </a:lnTo>
                    <a:cubicBezTo>
                      <a:pt x="0" y="12016"/>
                      <a:pt x="12016" y="0"/>
                      <a:pt x="26712" y="0"/>
                    </a:cubicBezTo>
                    <a:lnTo>
                      <a:pt x="117394" y="0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373" name="Gráfico 13">
              <a:extLst>
                <a:ext uri="{FF2B5EF4-FFF2-40B4-BE49-F238E27FC236}">
                  <a16:creationId xmlns:a16="http://schemas.microsoft.com/office/drawing/2014/main" id="{DA3F522A-2A9D-AABA-E426-4C89951942EC}"/>
                </a:ext>
              </a:extLst>
            </p:cNvPr>
            <p:cNvGrpSpPr/>
            <p:nvPr/>
          </p:nvGrpSpPr>
          <p:grpSpPr>
            <a:xfrm>
              <a:off x="1414595" y="4765488"/>
              <a:ext cx="69622" cy="78864"/>
              <a:chOff x="1414595" y="4765488"/>
              <a:chExt cx="69622" cy="78864"/>
            </a:xfrm>
            <a:noFill/>
          </p:grpSpPr>
          <p:grpSp>
            <p:nvGrpSpPr>
              <p:cNvPr id="1374" name="Gráfico 13">
                <a:extLst>
                  <a:ext uri="{FF2B5EF4-FFF2-40B4-BE49-F238E27FC236}">
                    <a16:creationId xmlns:a16="http://schemas.microsoft.com/office/drawing/2014/main" id="{A5733341-A53A-9401-466C-9E4063751307}"/>
                  </a:ext>
                </a:extLst>
              </p:cNvPr>
              <p:cNvGrpSpPr/>
              <p:nvPr/>
            </p:nvGrpSpPr>
            <p:grpSpPr>
              <a:xfrm>
                <a:off x="1414595" y="4765488"/>
                <a:ext cx="69622" cy="78864"/>
                <a:chOff x="1414595" y="4765488"/>
                <a:chExt cx="69622" cy="78864"/>
              </a:xfrm>
              <a:noFill/>
            </p:grpSpPr>
            <p:sp>
              <p:nvSpPr>
                <p:cNvPr id="1375" name="Forma livre: Forma 1374">
                  <a:extLst>
                    <a:ext uri="{FF2B5EF4-FFF2-40B4-BE49-F238E27FC236}">
                      <a16:creationId xmlns:a16="http://schemas.microsoft.com/office/drawing/2014/main" id="{F25D4A58-D58E-F2DF-B002-61453A21B92F}"/>
                    </a:ext>
                  </a:extLst>
                </p:cNvPr>
                <p:cNvSpPr/>
                <p:nvPr/>
              </p:nvSpPr>
              <p:spPr>
                <a:xfrm>
                  <a:off x="1449406" y="4765488"/>
                  <a:ext cx="11" cy="11"/>
                </a:xfrm>
                <a:custGeom>
                  <a:avLst/>
                  <a:gdLst>
                    <a:gd name="connsiteX0" fmla="*/ 0 w 11"/>
                    <a:gd name="connsiteY0" fmla="*/ 0 h 11"/>
                    <a:gd name="connsiteX1" fmla="*/ 0 w 11"/>
                    <a:gd name="connsiteY1" fmla="*/ 12 h 11"/>
                    <a:gd name="connsiteX2" fmla="*/ 12 w 11"/>
                    <a:gd name="connsiteY2" fmla="*/ 0 h 11"/>
                    <a:gd name="connsiteX3" fmla="*/ 0 w 11"/>
                    <a:gd name="connsiteY3" fmla="*/ 0 h 1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1" h="11">
                      <a:moveTo>
                        <a:pt x="0" y="0"/>
                      </a:moveTo>
                      <a:lnTo>
                        <a:pt x="0" y="12"/>
                      </a:lnTo>
                      <a:lnTo>
                        <a:pt x="12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376" name="Forma livre: Forma 1375">
                  <a:extLst>
                    <a:ext uri="{FF2B5EF4-FFF2-40B4-BE49-F238E27FC236}">
                      <a16:creationId xmlns:a16="http://schemas.microsoft.com/office/drawing/2014/main" id="{3D1607E1-A085-624B-9AEC-FA31AA34E984}"/>
                    </a:ext>
                  </a:extLst>
                </p:cNvPr>
                <p:cNvSpPr/>
                <p:nvPr/>
              </p:nvSpPr>
              <p:spPr>
                <a:xfrm>
                  <a:off x="1414595" y="4765499"/>
                  <a:ext cx="69622" cy="78853"/>
                </a:xfrm>
                <a:custGeom>
                  <a:avLst/>
                  <a:gdLst>
                    <a:gd name="connsiteX0" fmla="*/ 69623 w 69622"/>
                    <a:gd name="connsiteY0" fmla="*/ 78853 h 78853"/>
                    <a:gd name="connsiteX1" fmla="*/ 34811 w 69622"/>
                    <a:gd name="connsiteY1" fmla="*/ 0 h 78853"/>
                    <a:gd name="connsiteX2" fmla="*/ 0 w 69622"/>
                    <a:gd name="connsiteY2" fmla="*/ 78853 h 7885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69622" h="78853">
                      <a:moveTo>
                        <a:pt x="69623" y="78853"/>
                      </a:moveTo>
                      <a:lnTo>
                        <a:pt x="34811" y="0"/>
                      </a:lnTo>
                      <a:lnTo>
                        <a:pt x="0" y="78853"/>
                      </a:ln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1377" name="Forma livre: Forma 1376">
                <a:extLst>
                  <a:ext uri="{FF2B5EF4-FFF2-40B4-BE49-F238E27FC236}">
                    <a16:creationId xmlns:a16="http://schemas.microsoft.com/office/drawing/2014/main" id="{AAE01686-F0CC-D8B6-8E09-B3516D099C7C}"/>
                  </a:ext>
                </a:extLst>
              </p:cNvPr>
              <p:cNvSpPr/>
              <p:nvPr/>
            </p:nvSpPr>
            <p:spPr>
              <a:xfrm>
                <a:off x="1426552" y="4820193"/>
                <a:ext cx="46174" cy="1165"/>
              </a:xfrm>
              <a:custGeom>
                <a:avLst/>
                <a:gdLst>
                  <a:gd name="connsiteX0" fmla="*/ 0 w 46174"/>
                  <a:gd name="connsiteY0" fmla="*/ 0 h 1165"/>
                  <a:gd name="connsiteX1" fmla="*/ 46174 w 46174"/>
                  <a:gd name="connsiteY1" fmla="*/ 0 h 11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6174" h="1165">
                    <a:moveTo>
                      <a:pt x="0" y="0"/>
                    </a:moveTo>
                    <a:lnTo>
                      <a:pt x="46174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378" name="Forma livre: Forma 1377">
              <a:extLst>
                <a:ext uri="{FF2B5EF4-FFF2-40B4-BE49-F238E27FC236}">
                  <a16:creationId xmlns:a16="http://schemas.microsoft.com/office/drawing/2014/main" id="{CCF19BE9-16D1-A97E-5E99-0E0148D8C690}"/>
                </a:ext>
              </a:extLst>
            </p:cNvPr>
            <p:cNvSpPr/>
            <p:nvPr/>
          </p:nvSpPr>
          <p:spPr>
            <a:xfrm>
              <a:off x="1507328" y="4663769"/>
              <a:ext cx="172565" cy="203041"/>
            </a:xfrm>
            <a:custGeom>
              <a:avLst/>
              <a:gdLst>
                <a:gd name="connsiteX0" fmla="*/ 86498 w 172565"/>
                <a:gd name="connsiteY0" fmla="*/ 147101 h 203041"/>
                <a:gd name="connsiteX1" fmla="*/ 132824 w 172565"/>
                <a:gd name="connsiteY1" fmla="*/ 203042 h 203041"/>
                <a:gd name="connsiteX2" fmla="*/ 132824 w 172565"/>
                <a:gd name="connsiteY2" fmla="*/ 147101 h 203041"/>
                <a:gd name="connsiteX3" fmla="*/ 145854 w 172565"/>
                <a:gd name="connsiteY3" fmla="*/ 147101 h 203041"/>
                <a:gd name="connsiteX4" fmla="*/ 172565 w 172565"/>
                <a:gd name="connsiteY4" fmla="*/ 120389 h 203041"/>
                <a:gd name="connsiteX5" fmla="*/ 172565 w 172565"/>
                <a:gd name="connsiteY5" fmla="*/ 26712 h 203041"/>
                <a:gd name="connsiteX6" fmla="*/ 145854 w 172565"/>
                <a:gd name="connsiteY6" fmla="*/ 0 h 203041"/>
                <a:gd name="connsiteX7" fmla="*/ 26712 w 172565"/>
                <a:gd name="connsiteY7" fmla="*/ 0 h 203041"/>
                <a:gd name="connsiteX8" fmla="*/ 0 w 172565"/>
                <a:gd name="connsiteY8" fmla="*/ 26712 h 203041"/>
                <a:gd name="connsiteX9" fmla="*/ 0 w 172565"/>
                <a:gd name="connsiteY9" fmla="*/ 120389 h 203041"/>
                <a:gd name="connsiteX10" fmla="*/ 26712 w 172565"/>
                <a:gd name="connsiteY10" fmla="*/ 147101 h 203041"/>
                <a:gd name="connsiteX11" fmla="*/ 59425 w 172565"/>
                <a:gd name="connsiteY11" fmla="*/ 147101 h 2030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72565" h="203041">
                  <a:moveTo>
                    <a:pt x="86498" y="147101"/>
                  </a:moveTo>
                  <a:lnTo>
                    <a:pt x="132824" y="203042"/>
                  </a:lnTo>
                  <a:lnTo>
                    <a:pt x="132824" y="147101"/>
                  </a:lnTo>
                  <a:lnTo>
                    <a:pt x="145854" y="147101"/>
                  </a:lnTo>
                  <a:cubicBezTo>
                    <a:pt x="160550" y="147101"/>
                    <a:pt x="172565" y="135085"/>
                    <a:pt x="172565" y="120389"/>
                  </a:cubicBezTo>
                  <a:lnTo>
                    <a:pt x="172565" y="26712"/>
                  </a:lnTo>
                  <a:cubicBezTo>
                    <a:pt x="172565" y="12016"/>
                    <a:pt x="160538" y="0"/>
                    <a:pt x="145854" y="0"/>
                  </a:cubicBezTo>
                  <a:lnTo>
                    <a:pt x="26712" y="0"/>
                  </a:lnTo>
                  <a:cubicBezTo>
                    <a:pt x="12016" y="0"/>
                    <a:pt x="0" y="12016"/>
                    <a:pt x="0" y="26712"/>
                  </a:cubicBezTo>
                  <a:lnTo>
                    <a:pt x="0" y="120389"/>
                  </a:lnTo>
                  <a:cubicBezTo>
                    <a:pt x="0" y="135085"/>
                    <a:pt x="12027" y="147101"/>
                    <a:pt x="26712" y="147101"/>
                  </a:cubicBezTo>
                  <a:lnTo>
                    <a:pt x="59425" y="147101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379" name="Gráfico 13">
            <a:extLst>
              <a:ext uri="{FF2B5EF4-FFF2-40B4-BE49-F238E27FC236}">
                <a16:creationId xmlns:a16="http://schemas.microsoft.com/office/drawing/2014/main" id="{F630C7A8-6E5D-968D-085C-12C63676288F}"/>
              </a:ext>
            </a:extLst>
          </p:cNvPr>
          <p:cNvGrpSpPr/>
          <p:nvPr/>
        </p:nvGrpSpPr>
        <p:grpSpPr>
          <a:xfrm>
            <a:off x="1350881" y="3609846"/>
            <a:ext cx="341273" cy="279400"/>
            <a:chOff x="1350881" y="3609846"/>
            <a:chExt cx="341273" cy="279400"/>
          </a:xfrm>
          <a:noFill/>
        </p:grpSpPr>
        <p:sp>
          <p:nvSpPr>
            <p:cNvPr id="1380" name="Forma livre: Forma 1379">
              <a:extLst>
                <a:ext uri="{FF2B5EF4-FFF2-40B4-BE49-F238E27FC236}">
                  <a16:creationId xmlns:a16="http://schemas.microsoft.com/office/drawing/2014/main" id="{C64598B7-20BB-7A43-DA12-F64620A6DA06}"/>
                </a:ext>
              </a:extLst>
            </p:cNvPr>
            <p:cNvSpPr/>
            <p:nvPr/>
          </p:nvSpPr>
          <p:spPr>
            <a:xfrm>
              <a:off x="1350881" y="3889083"/>
              <a:ext cx="258819" cy="1165"/>
            </a:xfrm>
            <a:custGeom>
              <a:avLst/>
              <a:gdLst>
                <a:gd name="connsiteX0" fmla="*/ 258819 w 258819"/>
                <a:gd name="connsiteY0" fmla="*/ 0 h 1165"/>
                <a:gd name="connsiteX1" fmla="*/ 0 w 258819"/>
                <a:gd name="connsiteY1" fmla="*/ 0 h 11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58819" h="1165">
                  <a:moveTo>
                    <a:pt x="258819" y="0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381" name="Forma livre: Forma 1380">
              <a:extLst>
                <a:ext uri="{FF2B5EF4-FFF2-40B4-BE49-F238E27FC236}">
                  <a16:creationId xmlns:a16="http://schemas.microsoft.com/office/drawing/2014/main" id="{08535C34-36E4-1D7B-3551-D07F344CB430}"/>
                </a:ext>
              </a:extLst>
            </p:cNvPr>
            <p:cNvSpPr/>
            <p:nvPr/>
          </p:nvSpPr>
          <p:spPr>
            <a:xfrm>
              <a:off x="1629745" y="3889071"/>
              <a:ext cx="12493" cy="1165"/>
            </a:xfrm>
            <a:custGeom>
              <a:avLst/>
              <a:gdLst>
                <a:gd name="connsiteX0" fmla="*/ 12493 w 12493"/>
                <a:gd name="connsiteY0" fmla="*/ 0 h 1165"/>
                <a:gd name="connsiteX1" fmla="*/ 0 w 12493"/>
                <a:gd name="connsiteY1" fmla="*/ 0 h 11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493" h="1165">
                  <a:moveTo>
                    <a:pt x="12493" y="0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382" name="Gráfico 13">
              <a:extLst>
                <a:ext uri="{FF2B5EF4-FFF2-40B4-BE49-F238E27FC236}">
                  <a16:creationId xmlns:a16="http://schemas.microsoft.com/office/drawing/2014/main" id="{DB257EDD-16C8-A0FF-CFA8-0D8FA6E9C063}"/>
                </a:ext>
              </a:extLst>
            </p:cNvPr>
            <p:cNvGrpSpPr/>
            <p:nvPr/>
          </p:nvGrpSpPr>
          <p:grpSpPr>
            <a:xfrm>
              <a:off x="1381242" y="3609846"/>
              <a:ext cx="196396" cy="279400"/>
              <a:chOff x="1381242" y="3609846"/>
              <a:chExt cx="196396" cy="279400"/>
            </a:xfrm>
            <a:noFill/>
          </p:grpSpPr>
          <p:sp>
            <p:nvSpPr>
              <p:cNvPr id="1383" name="Forma livre: Forma 1382">
                <a:extLst>
                  <a:ext uri="{FF2B5EF4-FFF2-40B4-BE49-F238E27FC236}">
                    <a16:creationId xmlns:a16="http://schemas.microsoft.com/office/drawing/2014/main" id="{8B1C98E5-3229-B927-C9C2-874BFB7ACB7C}"/>
                  </a:ext>
                </a:extLst>
              </p:cNvPr>
              <p:cNvSpPr/>
              <p:nvPr/>
            </p:nvSpPr>
            <p:spPr>
              <a:xfrm>
                <a:off x="1420993" y="3609846"/>
                <a:ext cx="116881" cy="115564"/>
              </a:xfrm>
              <a:custGeom>
                <a:avLst/>
                <a:gdLst>
                  <a:gd name="connsiteX0" fmla="*/ 0 w 116881"/>
                  <a:gd name="connsiteY0" fmla="*/ 115564 h 115564"/>
                  <a:gd name="connsiteX1" fmla="*/ 0 w 116881"/>
                  <a:gd name="connsiteY1" fmla="*/ 55288 h 115564"/>
                  <a:gd name="connsiteX2" fmla="*/ 58435 w 116881"/>
                  <a:gd name="connsiteY2" fmla="*/ 0 h 115564"/>
                  <a:gd name="connsiteX3" fmla="*/ 116881 w 116881"/>
                  <a:gd name="connsiteY3" fmla="*/ 55288 h 115564"/>
                  <a:gd name="connsiteX4" fmla="*/ 116881 w 116881"/>
                  <a:gd name="connsiteY4" fmla="*/ 115564 h 1155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16881" h="115564">
                    <a:moveTo>
                      <a:pt x="0" y="115564"/>
                    </a:moveTo>
                    <a:lnTo>
                      <a:pt x="0" y="55288"/>
                    </a:lnTo>
                    <a:cubicBezTo>
                      <a:pt x="0" y="24754"/>
                      <a:pt x="26164" y="0"/>
                      <a:pt x="58435" y="0"/>
                    </a:cubicBezTo>
                    <a:cubicBezTo>
                      <a:pt x="90706" y="0"/>
                      <a:pt x="116881" y="24754"/>
                      <a:pt x="116881" y="55288"/>
                    </a:cubicBezTo>
                    <a:lnTo>
                      <a:pt x="116881" y="115564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384" name="Forma livre: Forma 1383">
                <a:extLst>
                  <a:ext uri="{FF2B5EF4-FFF2-40B4-BE49-F238E27FC236}">
                    <a16:creationId xmlns:a16="http://schemas.microsoft.com/office/drawing/2014/main" id="{15B76467-0A54-3E6A-47D8-BA448CE93294}"/>
                  </a:ext>
                </a:extLst>
              </p:cNvPr>
              <p:cNvSpPr/>
              <p:nvPr/>
            </p:nvSpPr>
            <p:spPr>
              <a:xfrm>
                <a:off x="1445327" y="3646510"/>
                <a:ext cx="68212" cy="79330"/>
              </a:xfrm>
              <a:custGeom>
                <a:avLst/>
                <a:gdLst>
                  <a:gd name="connsiteX0" fmla="*/ 68213 w 68212"/>
                  <a:gd name="connsiteY0" fmla="*/ 15663 h 79330"/>
                  <a:gd name="connsiteX1" fmla="*/ 50475 w 68212"/>
                  <a:gd name="connsiteY1" fmla="*/ 0 h 79330"/>
                  <a:gd name="connsiteX2" fmla="*/ 0 w 68212"/>
                  <a:gd name="connsiteY2" fmla="*/ 20593 h 79330"/>
                  <a:gd name="connsiteX3" fmla="*/ 0 w 68212"/>
                  <a:gd name="connsiteY3" fmla="*/ 35499 h 79330"/>
                  <a:gd name="connsiteX4" fmla="*/ 34240 w 68212"/>
                  <a:gd name="connsiteY4" fmla="*/ 79331 h 79330"/>
                  <a:gd name="connsiteX5" fmla="*/ 68213 w 68212"/>
                  <a:gd name="connsiteY5" fmla="*/ 36023 h 79330"/>
                  <a:gd name="connsiteX6" fmla="*/ 68213 w 68212"/>
                  <a:gd name="connsiteY6" fmla="*/ 15663 h 793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8212" h="79330">
                    <a:moveTo>
                      <a:pt x="68213" y="15663"/>
                    </a:moveTo>
                    <a:cubicBezTo>
                      <a:pt x="53062" y="10466"/>
                      <a:pt x="50475" y="0"/>
                      <a:pt x="50475" y="0"/>
                    </a:cubicBezTo>
                    <a:cubicBezTo>
                      <a:pt x="50475" y="0"/>
                      <a:pt x="37818" y="20593"/>
                      <a:pt x="0" y="20593"/>
                    </a:cubicBezTo>
                    <a:lnTo>
                      <a:pt x="0" y="35499"/>
                    </a:lnTo>
                    <a:cubicBezTo>
                      <a:pt x="0" y="54262"/>
                      <a:pt x="15477" y="79331"/>
                      <a:pt x="34240" y="79331"/>
                    </a:cubicBezTo>
                    <a:cubicBezTo>
                      <a:pt x="53004" y="79331"/>
                      <a:pt x="67933" y="54729"/>
                      <a:pt x="68213" y="36023"/>
                    </a:cubicBezTo>
                    <a:lnTo>
                      <a:pt x="68213" y="15663"/>
                    </a:lnTo>
                    <a:close/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1385" name="Gráfico 13">
                <a:extLst>
                  <a:ext uri="{FF2B5EF4-FFF2-40B4-BE49-F238E27FC236}">
                    <a16:creationId xmlns:a16="http://schemas.microsoft.com/office/drawing/2014/main" id="{4649F163-3D9F-EB6D-92FE-EA4E10BD2AC6}"/>
                  </a:ext>
                </a:extLst>
              </p:cNvPr>
              <p:cNvGrpSpPr/>
              <p:nvPr/>
            </p:nvGrpSpPr>
            <p:grpSpPr>
              <a:xfrm>
                <a:off x="1381242" y="3737157"/>
                <a:ext cx="196396" cy="152088"/>
                <a:chOff x="1381242" y="3737157"/>
                <a:chExt cx="196396" cy="152088"/>
              </a:xfrm>
              <a:noFill/>
            </p:grpSpPr>
            <p:sp>
              <p:nvSpPr>
                <p:cNvPr id="1386" name="Forma livre: Forma 1385">
                  <a:extLst>
                    <a:ext uri="{FF2B5EF4-FFF2-40B4-BE49-F238E27FC236}">
                      <a16:creationId xmlns:a16="http://schemas.microsoft.com/office/drawing/2014/main" id="{C0864AED-5173-C665-F285-80F53DC779FF}"/>
                    </a:ext>
                  </a:extLst>
                </p:cNvPr>
                <p:cNvSpPr/>
                <p:nvPr/>
              </p:nvSpPr>
              <p:spPr>
                <a:xfrm>
                  <a:off x="1381242" y="3747285"/>
                  <a:ext cx="57629" cy="141798"/>
                </a:xfrm>
                <a:custGeom>
                  <a:avLst/>
                  <a:gdLst>
                    <a:gd name="connsiteX0" fmla="*/ 57629 w 57629"/>
                    <a:gd name="connsiteY0" fmla="*/ 0 h 141798"/>
                    <a:gd name="connsiteX1" fmla="*/ 30393 w 57629"/>
                    <a:gd name="connsiteY1" fmla="*/ 6387 h 141798"/>
                    <a:gd name="connsiteX2" fmla="*/ 6187 w 57629"/>
                    <a:gd name="connsiteY2" fmla="*/ 32189 h 141798"/>
                    <a:gd name="connsiteX3" fmla="*/ 162 w 57629"/>
                    <a:gd name="connsiteY3" fmla="*/ 115646 h 141798"/>
                    <a:gd name="connsiteX4" fmla="*/ 18459 w 57629"/>
                    <a:gd name="connsiteY4" fmla="*/ 141798 h 1417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7629" h="141798">
                      <a:moveTo>
                        <a:pt x="57629" y="0"/>
                      </a:moveTo>
                      <a:lnTo>
                        <a:pt x="30393" y="6387"/>
                      </a:lnTo>
                      <a:cubicBezTo>
                        <a:pt x="30393" y="6387"/>
                        <a:pt x="9847" y="8997"/>
                        <a:pt x="6187" y="32189"/>
                      </a:cubicBezTo>
                      <a:lnTo>
                        <a:pt x="162" y="115646"/>
                      </a:lnTo>
                      <a:cubicBezTo>
                        <a:pt x="162" y="115646"/>
                        <a:pt x="-2985" y="141798"/>
                        <a:pt x="18459" y="141798"/>
                      </a:cubicBez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387" name="Forma livre: Forma 1386">
                  <a:extLst>
                    <a:ext uri="{FF2B5EF4-FFF2-40B4-BE49-F238E27FC236}">
                      <a16:creationId xmlns:a16="http://schemas.microsoft.com/office/drawing/2014/main" id="{8F1BED36-AE60-3BB2-99C8-90BFAFF81A0C}"/>
                    </a:ext>
                  </a:extLst>
                </p:cNvPr>
                <p:cNvSpPr/>
                <p:nvPr/>
              </p:nvSpPr>
              <p:spPr>
                <a:xfrm>
                  <a:off x="1421984" y="3737157"/>
                  <a:ext cx="44426" cy="41897"/>
                </a:xfrm>
                <a:custGeom>
                  <a:avLst/>
                  <a:gdLst>
                    <a:gd name="connsiteX0" fmla="*/ 44426 w 44426"/>
                    <a:gd name="connsiteY0" fmla="*/ 41897 h 41897"/>
                    <a:gd name="connsiteX1" fmla="*/ 26432 w 44426"/>
                    <a:gd name="connsiteY1" fmla="*/ 0 h 41897"/>
                    <a:gd name="connsiteX2" fmla="*/ 0 w 44426"/>
                    <a:gd name="connsiteY2" fmla="*/ 38005 h 41897"/>
                    <a:gd name="connsiteX3" fmla="*/ 18670 w 44426"/>
                    <a:gd name="connsiteY3" fmla="*/ 38005 h 4189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4426" h="41897">
                      <a:moveTo>
                        <a:pt x="44426" y="41897"/>
                      </a:moveTo>
                      <a:lnTo>
                        <a:pt x="26432" y="0"/>
                      </a:lnTo>
                      <a:lnTo>
                        <a:pt x="0" y="38005"/>
                      </a:lnTo>
                      <a:lnTo>
                        <a:pt x="18670" y="38005"/>
                      </a:ln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388" name="Forma livre: Forma 1387">
                  <a:extLst>
                    <a:ext uri="{FF2B5EF4-FFF2-40B4-BE49-F238E27FC236}">
                      <a16:creationId xmlns:a16="http://schemas.microsoft.com/office/drawing/2014/main" id="{FEE79E25-4C1A-2ABC-D03F-22D45FE11FAE}"/>
                    </a:ext>
                  </a:extLst>
                </p:cNvPr>
                <p:cNvSpPr/>
                <p:nvPr/>
              </p:nvSpPr>
              <p:spPr>
                <a:xfrm>
                  <a:off x="1422928" y="3809694"/>
                  <a:ext cx="63201" cy="79552"/>
                </a:xfrm>
                <a:custGeom>
                  <a:avLst/>
                  <a:gdLst>
                    <a:gd name="connsiteX0" fmla="*/ 2832 w 63201"/>
                    <a:gd name="connsiteY0" fmla="*/ 0 h 79552"/>
                    <a:gd name="connsiteX1" fmla="*/ 0 w 63201"/>
                    <a:gd name="connsiteY1" fmla="*/ 42655 h 79552"/>
                    <a:gd name="connsiteX2" fmla="*/ 41746 w 63201"/>
                    <a:gd name="connsiteY2" fmla="*/ 42655 h 79552"/>
                    <a:gd name="connsiteX3" fmla="*/ 63201 w 63201"/>
                    <a:gd name="connsiteY3" fmla="*/ 75135 h 79552"/>
                    <a:gd name="connsiteX4" fmla="*/ 63201 w 63201"/>
                    <a:gd name="connsiteY4" fmla="*/ 79552 h 7955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63201" h="79552">
                      <a:moveTo>
                        <a:pt x="2832" y="0"/>
                      </a:moveTo>
                      <a:lnTo>
                        <a:pt x="0" y="42655"/>
                      </a:lnTo>
                      <a:lnTo>
                        <a:pt x="41746" y="42655"/>
                      </a:lnTo>
                      <a:cubicBezTo>
                        <a:pt x="41746" y="42655"/>
                        <a:pt x="63201" y="42655"/>
                        <a:pt x="63201" y="75135"/>
                      </a:cubicBezTo>
                      <a:lnTo>
                        <a:pt x="63201" y="79552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389" name="Forma livre: Forma 1388">
                  <a:extLst>
                    <a:ext uri="{FF2B5EF4-FFF2-40B4-BE49-F238E27FC236}">
                      <a16:creationId xmlns:a16="http://schemas.microsoft.com/office/drawing/2014/main" id="{A366F925-2EB2-13FE-78B0-867028FBE140}"/>
                    </a:ext>
                  </a:extLst>
                </p:cNvPr>
                <p:cNvSpPr/>
                <p:nvPr/>
              </p:nvSpPr>
              <p:spPr>
                <a:xfrm>
                  <a:off x="1520008" y="3747285"/>
                  <a:ext cx="57629" cy="141798"/>
                </a:xfrm>
                <a:custGeom>
                  <a:avLst/>
                  <a:gdLst>
                    <a:gd name="connsiteX0" fmla="*/ 0 w 57629"/>
                    <a:gd name="connsiteY0" fmla="*/ 0 h 141798"/>
                    <a:gd name="connsiteX1" fmla="*/ 27236 w 57629"/>
                    <a:gd name="connsiteY1" fmla="*/ 6387 h 141798"/>
                    <a:gd name="connsiteX2" fmla="*/ 51442 w 57629"/>
                    <a:gd name="connsiteY2" fmla="*/ 32189 h 141798"/>
                    <a:gd name="connsiteX3" fmla="*/ 57467 w 57629"/>
                    <a:gd name="connsiteY3" fmla="*/ 115646 h 141798"/>
                    <a:gd name="connsiteX4" fmla="*/ 39170 w 57629"/>
                    <a:gd name="connsiteY4" fmla="*/ 141798 h 1417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7629" h="141798">
                      <a:moveTo>
                        <a:pt x="0" y="0"/>
                      </a:moveTo>
                      <a:lnTo>
                        <a:pt x="27236" y="6387"/>
                      </a:lnTo>
                      <a:cubicBezTo>
                        <a:pt x="27236" y="6387"/>
                        <a:pt x="47783" y="8997"/>
                        <a:pt x="51442" y="32189"/>
                      </a:cubicBezTo>
                      <a:lnTo>
                        <a:pt x="57467" y="115646"/>
                      </a:lnTo>
                      <a:cubicBezTo>
                        <a:pt x="57467" y="115646"/>
                        <a:pt x="60614" y="141798"/>
                        <a:pt x="39170" y="141798"/>
                      </a:cubicBez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390" name="Forma livre: Forma 1389">
                  <a:extLst>
                    <a:ext uri="{FF2B5EF4-FFF2-40B4-BE49-F238E27FC236}">
                      <a16:creationId xmlns:a16="http://schemas.microsoft.com/office/drawing/2014/main" id="{598B6781-02CC-F6B7-ABA7-AC7869C114AB}"/>
                    </a:ext>
                  </a:extLst>
                </p:cNvPr>
                <p:cNvSpPr/>
                <p:nvPr/>
              </p:nvSpPr>
              <p:spPr>
                <a:xfrm>
                  <a:off x="1478985" y="3737157"/>
                  <a:ext cx="57910" cy="99201"/>
                </a:xfrm>
                <a:custGeom>
                  <a:avLst/>
                  <a:gdLst>
                    <a:gd name="connsiteX0" fmla="*/ 39240 w 57910"/>
                    <a:gd name="connsiteY0" fmla="*/ 38005 h 99201"/>
                    <a:gd name="connsiteX1" fmla="*/ 57910 w 57910"/>
                    <a:gd name="connsiteY1" fmla="*/ 38005 h 99201"/>
                    <a:gd name="connsiteX2" fmla="*/ 31478 w 57910"/>
                    <a:gd name="connsiteY2" fmla="*/ 0 h 99201"/>
                    <a:gd name="connsiteX3" fmla="*/ 0 w 57910"/>
                    <a:gd name="connsiteY3" fmla="*/ 67444 h 99201"/>
                    <a:gd name="connsiteX4" fmla="*/ 0 w 57910"/>
                    <a:gd name="connsiteY4" fmla="*/ 99202 h 9920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7910" h="99201">
                      <a:moveTo>
                        <a:pt x="39240" y="38005"/>
                      </a:moveTo>
                      <a:lnTo>
                        <a:pt x="57910" y="38005"/>
                      </a:lnTo>
                      <a:lnTo>
                        <a:pt x="31478" y="0"/>
                      </a:lnTo>
                      <a:lnTo>
                        <a:pt x="0" y="67444"/>
                      </a:lnTo>
                      <a:lnTo>
                        <a:pt x="0" y="99202"/>
                      </a:ln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391" name="Forma livre: Forma 1390">
                  <a:extLst>
                    <a:ext uri="{FF2B5EF4-FFF2-40B4-BE49-F238E27FC236}">
                      <a16:creationId xmlns:a16="http://schemas.microsoft.com/office/drawing/2014/main" id="{DFA43532-8FF8-A983-B061-AD1BAFC39633}"/>
                    </a:ext>
                  </a:extLst>
                </p:cNvPr>
                <p:cNvSpPr/>
                <p:nvPr/>
              </p:nvSpPr>
              <p:spPr>
                <a:xfrm>
                  <a:off x="1497038" y="3809694"/>
                  <a:ext cx="38913" cy="42666"/>
                </a:xfrm>
                <a:custGeom>
                  <a:avLst/>
                  <a:gdLst>
                    <a:gd name="connsiteX0" fmla="*/ 36082 w 38913"/>
                    <a:gd name="connsiteY0" fmla="*/ 0 h 42666"/>
                    <a:gd name="connsiteX1" fmla="*/ 38914 w 38913"/>
                    <a:gd name="connsiteY1" fmla="*/ 42666 h 42666"/>
                    <a:gd name="connsiteX2" fmla="*/ 0 w 38913"/>
                    <a:gd name="connsiteY2" fmla="*/ 42666 h 4266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38913" h="42666">
                      <a:moveTo>
                        <a:pt x="36082" y="0"/>
                      </a:moveTo>
                      <a:lnTo>
                        <a:pt x="38914" y="42666"/>
                      </a:lnTo>
                      <a:lnTo>
                        <a:pt x="0" y="42666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sp>
          <p:nvSpPr>
            <p:cNvPr id="1392" name="Forma livre: Forma 1391">
              <a:extLst>
                <a:ext uri="{FF2B5EF4-FFF2-40B4-BE49-F238E27FC236}">
                  <a16:creationId xmlns:a16="http://schemas.microsoft.com/office/drawing/2014/main" id="{1D684C45-BB2E-524C-0634-FB48C42FE28D}"/>
                </a:ext>
              </a:extLst>
            </p:cNvPr>
            <p:cNvSpPr/>
            <p:nvPr/>
          </p:nvSpPr>
          <p:spPr>
            <a:xfrm>
              <a:off x="1570798" y="3670436"/>
              <a:ext cx="121356" cy="1165"/>
            </a:xfrm>
            <a:custGeom>
              <a:avLst/>
              <a:gdLst>
                <a:gd name="connsiteX0" fmla="*/ 121356 w 121356"/>
                <a:gd name="connsiteY0" fmla="*/ 0 h 1165"/>
                <a:gd name="connsiteX1" fmla="*/ 0 w 121356"/>
                <a:gd name="connsiteY1" fmla="*/ 0 h 11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1356" h="1165">
                  <a:moveTo>
                    <a:pt x="121356" y="0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393" name="Gráfico 13">
              <a:extLst>
                <a:ext uri="{FF2B5EF4-FFF2-40B4-BE49-F238E27FC236}">
                  <a16:creationId xmlns:a16="http://schemas.microsoft.com/office/drawing/2014/main" id="{CABE5679-79DE-77A7-CD2D-9BCF9C888707}"/>
                </a:ext>
              </a:extLst>
            </p:cNvPr>
            <p:cNvGrpSpPr/>
            <p:nvPr/>
          </p:nvGrpSpPr>
          <p:grpSpPr>
            <a:xfrm>
              <a:off x="1609175" y="3610638"/>
              <a:ext cx="44601" cy="119596"/>
              <a:chOff x="1609175" y="3610638"/>
              <a:chExt cx="44601" cy="119596"/>
            </a:xfrm>
            <a:noFill/>
          </p:grpSpPr>
          <p:grpSp>
            <p:nvGrpSpPr>
              <p:cNvPr id="1394" name="Gráfico 13">
                <a:extLst>
                  <a:ext uri="{FF2B5EF4-FFF2-40B4-BE49-F238E27FC236}">
                    <a16:creationId xmlns:a16="http://schemas.microsoft.com/office/drawing/2014/main" id="{9EBD20CA-1B66-5A3C-F402-AB06B4E2959A}"/>
                  </a:ext>
                </a:extLst>
              </p:cNvPr>
              <p:cNvGrpSpPr/>
              <p:nvPr/>
            </p:nvGrpSpPr>
            <p:grpSpPr>
              <a:xfrm>
                <a:off x="1609175" y="3670658"/>
                <a:ext cx="44601" cy="59576"/>
                <a:chOff x="1609175" y="3670658"/>
                <a:chExt cx="44601" cy="59576"/>
              </a:xfrm>
              <a:noFill/>
            </p:grpSpPr>
            <p:sp>
              <p:nvSpPr>
                <p:cNvPr id="1395" name="Forma livre: Forma 1394">
                  <a:extLst>
                    <a:ext uri="{FF2B5EF4-FFF2-40B4-BE49-F238E27FC236}">
                      <a16:creationId xmlns:a16="http://schemas.microsoft.com/office/drawing/2014/main" id="{10121B54-9824-8422-933E-124762068279}"/>
                    </a:ext>
                  </a:extLst>
                </p:cNvPr>
                <p:cNvSpPr/>
                <p:nvPr/>
              </p:nvSpPr>
              <p:spPr>
                <a:xfrm>
                  <a:off x="1609175" y="3670658"/>
                  <a:ext cx="20488" cy="59576"/>
                </a:xfrm>
                <a:custGeom>
                  <a:avLst/>
                  <a:gdLst>
                    <a:gd name="connsiteX0" fmla="*/ 0 w 20488"/>
                    <a:gd name="connsiteY0" fmla="*/ 0 h 59576"/>
                    <a:gd name="connsiteX1" fmla="*/ 20488 w 20488"/>
                    <a:gd name="connsiteY1" fmla="*/ 59577 h 5957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0488" h="59576">
                      <a:moveTo>
                        <a:pt x="0" y="0"/>
                      </a:moveTo>
                      <a:cubicBezTo>
                        <a:pt x="385" y="17272"/>
                        <a:pt x="5687" y="37480"/>
                        <a:pt x="20488" y="59577"/>
                      </a:cubicBez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396" name="Forma livre: Forma 1395">
                  <a:extLst>
                    <a:ext uri="{FF2B5EF4-FFF2-40B4-BE49-F238E27FC236}">
                      <a16:creationId xmlns:a16="http://schemas.microsoft.com/office/drawing/2014/main" id="{BEC87C1B-4E9F-0E48-EFC5-1BF15B2ECC4F}"/>
                    </a:ext>
                  </a:extLst>
                </p:cNvPr>
                <p:cNvSpPr/>
                <p:nvPr/>
              </p:nvSpPr>
              <p:spPr>
                <a:xfrm>
                  <a:off x="1633300" y="3671334"/>
                  <a:ext cx="20476" cy="58900"/>
                </a:xfrm>
                <a:custGeom>
                  <a:avLst/>
                  <a:gdLst>
                    <a:gd name="connsiteX0" fmla="*/ 20477 w 20476"/>
                    <a:gd name="connsiteY0" fmla="*/ 0 h 58900"/>
                    <a:gd name="connsiteX1" fmla="*/ 0 w 20476"/>
                    <a:gd name="connsiteY1" fmla="*/ 58901 h 589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0476" h="58900">
                      <a:moveTo>
                        <a:pt x="20477" y="0"/>
                      </a:moveTo>
                      <a:cubicBezTo>
                        <a:pt x="19976" y="17120"/>
                        <a:pt x="14603" y="37084"/>
                        <a:pt x="0" y="58901"/>
                      </a:cubicBez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1397" name="Gráfico 13">
                <a:extLst>
                  <a:ext uri="{FF2B5EF4-FFF2-40B4-BE49-F238E27FC236}">
                    <a16:creationId xmlns:a16="http://schemas.microsoft.com/office/drawing/2014/main" id="{2E6FB1E7-5A75-7B57-AC33-3E5483FC9E1F}"/>
                  </a:ext>
                </a:extLst>
              </p:cNvPr>
              <p:cNvGrpSpPr/>
              <p:nvPr/>
            </p:nvGrpSpPr>
            <p:grpSpPr>
              <a:xfrm>
                <a:off x="1609175" y="3610638"/>
                <a:ext cx="44601" cy="59576"/>
                <a:chOff x="1609175" y="3610638"/>
                <a:chExt cx="44601" cy="59576"/>
              </a:xfrm>
              <a:noFill/>
            </p:grpSpPr>
            <p:sp>
              <p:nvSpPr>
                <p:cNvPr id="1398" name="Forma livre: Forma 1397">
                  <a:extLst>
                    <a:ext uri="{FF2B5EF4-FFF2-40B4-BE49-F238E27FC236}">
                      <a16:creationId xmlns:a16="http://schemas.microsoft.com/office/drawing/2014/main" id="{C4B80546-3177-BA76-A7C2-F67446C78B9B}"/>
                    </a:ext>
                  </a:extLst>
                </p:cNvPr>
                <p:cNvSpPr/>
                <p:nvPr/>
              </p:nvSpPr>
              <p:spPr>
                <a:xfrm>
                  <a:off x="1633288" y="3610638"/>
                  <a:ext cx="20488" cy="59576"/>
                </a:xfrm>
                <a:custGeom>
                  <a:avLst/>
                  <a:gdLst>
                    <a:gd name="connsiteX0" fmla="*/ 20488 w 20488"/>
                    <a:gd name="connsiteY0" fmla="*/ 59577 h 59576"/>
                    <a:gd name="connsiteX1" fmla="*/ 0 w 20488"/>
                    <a:gd name="connsiteY1" fmla="*/ 0 h 5957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0488" h="59576">
                      <a:moveTo>
                        <a:pt x="20488" y="59577"/>
                      </a:moveTo>
                      <a:cubicBezTo>
                        <a:pt x="20104" y="42305"/>
                        <a:pt x="14801" y="22097"/>
                        <a:pt x="0" y="0"/>
                      </a:cubicBez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399" name="Forma livre: Forma 1398">
                  <a:extLst>
                    <a:ext uri="{FF2B5EF4-FFF2-40B4-BE49-F238E27FC236}">
                      <a16:creationId xmlns:a16="http://schemas.microsoft.com/office/drawing/2014/main" id="{5B9F381A-81B3-ECFD-CB75-E6C8A30916EA}"/>
                    </a:ext>
                  </a:extLst>
                </p:cNvPr>
                <p:cNvSpPr/>
                <p:nvPr/>
              </p:nvSpPr>
              <p:spPr>
                <a:xfrm>
                  <a:off x="1609175" y="3610638"/>
                  <a:ext cx="20464" cy="58900"/>
                </a:xfrm>
                <a:custGeom>
                  <a:avLst/>
                  <a:gdLst>
                    <a:gd name="connsiteX0" fmla="*/ 0 w 20464"/>
                    <a:gd name="connsiteY0" fmla="*/ 58901 h 58900"/>
                    <a:gd name="connsiteX1" fmla="*/ 20465 w 20464"/>
                    <a:gd name="connsiteY1" fmla="*/ 0 h 589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0464" h="58900">
                      <a:moveTo>
                        <a:pt x="0" y="58901"/>
                      </a:moveTo>
                      <a:cubicBezTo>
                        <a:pt x="501" y="41781"/>
                        <a:pt x="5874" y="21817"/>
                        <a:pt x="20465" y="0"/>
                      </a:cubicBez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sp>
          <p:nvSpPr>
            <p:cNvPr id="1400" name="Forma livre: Forma 1399">
              <a:extLst>
                <a:ext uri="{FF2B5EF4-FFF2-40B4-BE49-F238E27FC236}">
                  <a16:creationId xmlns:a16="http://schemas.microsoft.com/office/drawing/2014/main" id="{3D1D1D02-B87A-0620-8A40-24529960B400}"/>
                </a:ext>
              </a:extLst>
            </p:cNvPr>
            <p:cNvSpPr/>
            <p:nvPr/>
          </p:nvSpPr>
          <p:spPr>
            <a:xfrm>
              <a:off x="1570879" y="3609846"/>
              <a:ext cx="121181" cy="121181"/>
            </a:xfrm>
            <a:custGeom>
              <a:avLst/>
              <a:gdLst>
                <a:gd name="connsiteX0" fmla="*/ 121182 w 121181"/>
                <a:gd name="connsiteY0" fmla="*/ 60591 h 121181"/>
                <a:gd name="connsiteX1" fmla="*/ 60591 w 121181"/>
                <a:gd name="connsiteY1" fmla="*/ 121182 h 121181"/>
                <a:gd name="connsiteX2" fmla="*/ 0 w 121181"/>
                <a:gd name="connsiteY2" fmla="*/ 60591 h 121181"/>
                <a:gd name="connsiteX3" fmla="*/ 60591 w 121181"/>
                <a:gd name="connsiteY3" fmla="*/ 0 h 121181"/>
                <a:gd name="connsiteX4" fmla="*/ 121182 w 121181"/>
                <a:gd name="connsiteY4" fmla="*/ 60591 h 1211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1181" h="121181">
                  <a:moveTo>
                    <a:pt x="121182" y="60591"/>
                  </a:moveTo>
                  <a:cubicBezTo>
                    <a:pt x="121182" y="94050"/>
                    <a:pt x="94050" y="121182"/>
                    <a:pt x="60591" y="121182"/>
                  </a:cubicBezTo>
                  <a:cubicBezTo>
                    <a:pt x="27131" y="121182"/>
                    <a:pt x="0" y="94050"/>
                    <a:pt x="0" y="60591"/>
                  </a:cubicBezTo>
                  <a:cubicBezTo>
                    <a:pt x="0" y="27131"/>
                    <a:pt x="27131" y="0"/>
                    <a:pt x="60591" y="0"/>
                  </a:cubicBezTo>
                  <a:cubicBezTo>
                    <a:pt x="94050" y="0"/>
                    <a:pt x="121182" y="27131"/>
                    <a:pt x="121182" y="60591"/>
                  </a:cubicBez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401" name="Gráfico 13">
            <a:extLst>
              <a:ext uri="{FF2B5EF4-FFF2-40B4-BE49-F238E27FC236}">
                <a16:creationId xmlns:a16="http://schemas.microsoft.com/office/drawing/2014/main" id="{4EC15AC5-8636-D710-8010-45A3E0DCFD18}"/>
              </a:ext>
            </a:extLst>
          </p:cNvPr>
          <p:cNvGrpSpPr/>
          <p:nvPr/>
        </p:nvGrpSpPr>
        <p:grpSpPr>
          <a:xfrm>
            <a:off x="1988022" y="5703078"/>
            <a:ext cx="282372" cy="292033"/>
            <a:chOff x="1988022" y="5703078"/>
            <a:chExt cx="282372" cy="292033"/>
          </a:xfrm>
        </p:grpSpPr>
        <p:sp>
          <p:nvSpPr>
            <p:cNvPr id="1402" name="Forma livre: Forma 1401">
              <a:extLst>
                <a:ext uri="{FF2B5EF4-FFF2-40B4-BE49-F238E27FC236}">
                  <a16:creationId xmlns:a16="http://schemas.microsoft.com/office/drawing/2014/main" id="{86844598-6AFF-BC19-0B25-33F7E2AA9BF8}"/>
                </a:ext>
              </a:extLst>
            </p:cNvPr>
            <p:cNvSpPr/>
            <p:nvPr/>
          </p:nvSpPr>
          <p:spPr>
            <a:xfrm>
              <a:off x="2047121" y="5749787"/>
              <a:ext cx="152785" cy="173160"/>
            </a:xfrm>
            <a:custGeom>
              <a:avLst/>
              <a:gdLst>
                <a:gd name="connsiteX0" fmla="*/ 128501 w 152785"/>
                <a:gd name="connsiteY0" fmla="*/ 106603 h 173160"/>
                <a:gd name="connsiteX1" fmla="*/ 149490 w 152785"/>
                <a:gd name="connsiteY1" fmla="*/ 170993 h 173160"/>
                <a:gd name="connsiteX2" fmla="*/ 54239 w 152785"/>
                <a:gd name="connsiteY2" fmla="*/ 105752 h 173160"/>
                <a:gd name="connsiteX3" fmla="*/ 3298 w 152785"/>
                <a:gd name="connsiteY3" fmla="*/ 2168 h 173160"/>
                <a:gd name="connsiteX4" fmla="*/ 61593 w 152785"/>
                <a:gd name="connsiteY4" fmla="*/ 29976 h 1731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2785" h="173160">
                  <a:moveTo>
                    <a:pt x="128501" y="106603"/>
                  </a:moveTo>
                  <a:cubicBezTo>
                    <a:pt x="149094" y="137685"/>
                    <a:pt x="158207" y="163453"/>
                    <a:pt x="149490" y="170993"/>
                  </a:cubicBezTo>
                  <a:cubicBezTo>
                    <a:pt x="137253" y="181575"/>
                    <a:pt x="94621" y="152381"/>
                    <a:pt x="54239" y="105752"/>
                  </a:cubicBezTo>
                  <a:cubicBezTo>
                    <a:pt x="13892" y="59135"/>
                    <a:pt x="-8927" y="12751"/>
                    <a:pt x="3298" y="2168"/>
                  </a:cubicBezTo>
                  <a:cubicBezTo>
                    <a:pt x="11759" y="-5162"/>
                    <a:pt x="34811" y="6585"/>
                    <a:pt x="61593" y="29976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03" name="Forma livre: Forma 1402">
              <a:extLst>
                <a:ext uri="{FF2B5EF4-FFF2-40B4-BE49-F238E27FC236}">
                  <a16:creationId xmlns:a16="http://schemas.microsoft.com/office/drawing/2014/main" id="{B4485D18-0D44-DFBC-AA7D-B38DA87FD413}"/>
                </a:ext>
              </a:extLst>
            </p:cNvPr>
            <p:cNvSpPr/>
            <p:nvPr/>
          </p:nvSpPr>
          <p:spPr>
            <a:xfrm>
              <a:off x="2096256" y="5920093"/>
              <a:ext cx="101147" cy="28783"/>
            </a:xfrm>
            <a:custGeom>
              <a:avLst/>
              <a:gdLst>
                <a:gd name="connsiteX0" fmla="*/ 0 w 101147"/>
                <a:gd name="connsiteY0" fmla="*/ 26362 h 28783"/>
                <a:gd name="connsiteX1" fmla="*/ 101148 w 101147"/>
                <a:gd name="connsiteY1" fmla="*/ 0 h 287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1147" h="28783">
                  <a:moveTo>
                    <a:pt x="0" y="26362"/>
                  </a:moveTo>
                  <a:cubicBezTo>
                    <a:pt x="34159" y="33494"/>
                    <a:pt x="71884" y="24917"/>
                    <a:pt x="101148" y="0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04" name="Forma livre: Forma 1403">
              <a:extLst>
                <a:ext uri="{FF2B5EF4-FFF2-40B4-BE49-F238E27FC236}">
                  <a16:creationId xmlns:a16="http://schemas.microsoft.com/office/drawing/2014/main" id="{49375E75-A1EF-D636-2AA4-F2C3A3D26FB4}"/>
                </a:ext>
              </a:extLst>
            </p:cNvPr>
            <p:cNvSpPr/>
            <p:nvPr/>
          </p:nvSpPr>
          <p:spPr>
            <a:xfrm>
              <a:off x="2009865" y="5751781"/>
              <a:ext cx="40822" cy="157939"/>
            </a:xfrm>
            <a:custGeom>
              <a:avLst/>
              <a:gdLst>
                <a:gd name="connsiteX0" fmla="*/ 40822 w 40822"/>
                <a:gd name="connsiteY0" fmla="*/ 0 h 157939"/>
                <a:gd name="connsiteX1" fmla="*/ 24937 w 40822"/>
                <a:gd name="connsiteY1" fmla="*/ 157939 h 1579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0822" h="157939">
                  <a:moveTo>
                    <a:pt x="40822" y="0"/>
                  </a:moveTo>
                  <a:cubicBezTo>
                    <a:pt x="-6937" y="41349"/>
                    <a:pt x="-13522" y="111590"/>
                    <a:pt x="24937" y="157939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05" name="Forma livre: Forma 1404">
              <a:extLst>
                <a:ext uri="{FF2B5EF4-FFF2-40B4-BE49-F238E27FC236}">
                  <a16:creationId xmlns:a16="http://schemas.microsoft.com/office/drawing/2014/main" id="{7EDAA029-5E03-1F6E-4719-B12B32E6E277}"/>
                </a:ext>
              </a:extLst>
            </p:cNvPr>
            <p:cNvSpPr/>
            <p:nvPr/>
          </p:nvSpPr>
          <p:spPr>
            <a:xfrm>
              <a:off x="2036796" y="5818490"/>
              <a:ext cx="2820" cy="43202"/>
            </a:xfrm>
            <a:custGeom>
              <a:avLst/>
              <a:gdLst>
                <a:gd name="connsiteX0" fmla="*/ 2820 w 2820"/>
                <a:gd name="connsiteY0" fmla="*/ 0 h 43202"/>
                <a:gd name="connsiteX1" fmla="*/ 384 w 2820"/>
                <a:gd name="connsiteY1" fmla="*/ 13939 h 43202"/>
                <a:gd name="connsiteX2" fmla="*/ 2692 w 2820"/>
                <a:gd name="connsiteY2" fmla="*/ 43202 h 432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820" h="43202">
                  <a:moveTo>
                    <a:pt x="2820" y="0"/>
                  </a:moveTo>
                  <a:cubicBezTo>
                    <a:pt x="1643" y="4545"/>
                    <a:pt x="827" y="9207"/>
                    <a:pt x="384" y="13939"/>
                  </a:cubicBezTo>
                  <a:cubicBezTo>
                    <a:pt x="-560" y="23996"/>
                    <a:pt x="245" y="33867"/>
                    <a:pt x="2692" y="43202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406" name="Gráfico 13">
              <a:extLst>
                <a:ext uri="{FF2B5EF4-FFF2-40B4-BE49-F238E27FC236}">
                  <a16:creationId xmlns:a16="http://schemas.microsoft.com/office/drawing/2014/main" id="{0F6FAC7C-2FC7-F400-2AF9-77951D65047D}"/>
                </a:ext>
              </a:extLst>
            </p:cNvPr>
            <p:cNvGrpSpPr/>
            <p:nvPr/>
          </p:nvGrpSpPr>
          <p:grpSpPr>
            <a:xfrm>
              <a:off x="2191227" y="5703078"/>
              <a:ext cx="79168" cy="86556"/>
              <a:chOff x="2191227" y="5703078"/>
              <a:chExt cx="79168" cy="86556"/>
            </a:xfrm>
            <a:noFill/>
          </p:grpSpPr>
          <p:sp>
            <p:nvSpPr>
              <p:cNvPr id="1407" name="Forma livre: Forma 1406">
                <a:extLst>
                  <a:ext uri="{FF2B5EF4-FFF2-40B4-BE49-F238E27FC236}">
                    <a16:creationId xmlns:a16="http://schemas.microsoft.com/office/drawing/2014/main" id="{3EBCB6E1-2286-249E-D8A9-7E917CC35802}"/>
                  </a:ext>
                </a:extLst>
              </p:cNvPr>
              <p:cNvSpPr/>
              <p:nvPr/>
            </p:nvSpPr>
            <p:spPr>
              <a:xfrm>
                <a:off x="2191227" y="5736246"/>
                <a:ext cx="45322" cy="53388"/>
              </a:xfrm>
              <a:custGeom>
                <a:avLst/>
                <a:gdLst>
                  <a:gd name="connsiteX0" fmla="*/ 0 w 45322"/>
                  <a:gd name="connsiteY0" fmla="*/ 0 h 53388"/>
                  <a:gd name="connsiteX1" fmla="*/ 32947 w 45322"/>
                  <a:gd name="connsiteY1" fmla="*/ 17994 h 53388"/>
                  <a:gd name="connsiteX2" fmla="*/ 45300 w 45322"/>
                  <a:gd name="connsiteY2" fmla="*/ 53388 h 533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45322" h="53388">
                    <a:moveTo>
                      <a:pt x="0" y="0"/>
                    </a:moveTo>
                    <a:cubicBezTo>
                      <a:pt x="12377" y="1666"/>
                      <a:pt x="24218" y="7703"/>
                      <a:pt x="32947" y="17994"/>
                    </a:cubicBezTo>
                    <a:cubicBezTo>
                      <a:pt x="41653" y="28262"/>
                      <a:pt x="45662" y="40895"/>
                      <a:pt x="45300" y="53388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408" name="Forma livre: Forma 1407">
                <a:extLst>
                  <a:ext uri="{FF2B5EF4-FFF2-40B4-BE49-F238E27FC236}">
                    <a16:creationId xmlns:a16="http://schemas.microsoft.com/office/drawing/2014/main" id="{D2B536EA-FB89-1D73-130C-D948A98144CB}"/>
                  </a:ext>
                </a:extLst>
              </p:cNvPr>
              <p:cNvSpPr/>
              <p:nvPr/>
            </p:nvSpPr>
            <p:spPr>
              <a:xfrm>
                <a:off x="2198103" y="5703078"/>
                <a:ext cx="72292" cy="85204"/>
              </a:xfrm>
              <a:custGeom>
                <a:avLst/>
                <a:gdLst>
                  <a:gd name="connsiteX0" fmla="*/ 0 w 72292"/>
                  <a:gd name="connsiteY0" fmla="*/ 0 h 85204"/>
                  <a:gd name="connsiteX1" fmla="*/ 51885 w 72292"/>
                  <a:gd name="connsiteY1" fmla="*/ 29287 h 85204"/>
                  <a:gd name="connsiteX2" fmla="*/ 72292 w 72292"/>
                  <a:gd name="connsiteY2" fmla="*/ 85205 h 852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72292" h="85204">
                    <a:moveTo>
                      <a:pt x="0" y="0"/>
                    </a:moveTo>
                    <a:cubicBezTo>
                      <a:pt x="19544" y="3182"/>
                      <a:pt x="38086" y="13018"/>
                      <a:pt x="51885" y="29287"/>
                    </a:cubicBezTo>
                    <a:cubicBezTo>
                      <a:pt x="65684" y="45557"/>
                      <a:pt x="72338" y="65439"/>
                      <a:pt x="72292" y="85205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409" name="Forma livre: Forma 1408">
              <a:extLst>
                <a:ext uri="{FF2B5EF4-FFF2-40B4-BE49-F238E27FC236}">
                  <a16:creationId xmlns:a16="http://schemas.microsoft.com/office/drawing/2014/main" id="{9EF4779F-863C-195C-46D1-C5A32C942668}"/>
                </a:ext>
              </a:extLst>
            </p:cNvPr>
            <p:cNvSpPr/>
            <p:nvPr/>
          </p:nvSpPr>
          <p:spPr>
            <a:xfrm>
              <a:off x="2090417" y="5794576"/>
              <a:ext cx="76195" cy="9719"/>
            </a:xfrm>
            <a:custGeom>
              <a:avLst/>
              <a:gdLst>
                <a:gd name="connsiteX0" fmla="*/ 0 w 76195"/>
                <a:gd name="connsiteY0" fmla="*/ 9720 h 9719"/>
                <a:gd name="connsiteX1" fmla="*/ 76196 w 76195"/>
                <a:gd name="connsiteY1" fmla="*/ 0 h 97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6195" h="9719">
                  <a:moveTo>
                    <a:pt x="0" y="9720"/>
                  </a:moveTo>
                  <a:lnTo>
                    <a:pt x="76196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10" name="Forma livre: Forma 1409">
              <a:extLst>
                <a:ext uri="{FF2B5EF4-FFF2-40B4-BE49-F238E27FC236}">
                  <a16:creationId xmlns:a16="http://schemas.microsoft.com/office/drawing/2014/main" id="{EEE4A273-A493-8061-A0D3-F6455D7A4EF1}"/>
                </a:ext>
              </a:extLst>
            </p:cNvPr>
            <p:cNvSpPr/>
            <p:nvPr/>
          </p:nvSpPr>
          <p:spPr>
            <a:xfrm>
              <a:off x="2145193" y="5805204"/>
              <a:ext cx="28413" cy="63819"/>
            </a:xfrm>
            <a:custGeom>
              <a:avLst/>
              <a:gdLst>
                <a:gd name="connsiteX0" fmla="*/ 0 w 28413"/>
                <a:gd name="connsiteY0" fmla="*/ 63819 h 63819"/>
                <a:gd name="connsiteX1" fmla="*/ 28413 w 28413"/>
                <a:gd name="connsiteY1" fmla="*/ 0 h 638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8413" h="63819">
                  <a:moveTo>
                    <a:pt x="0" y="63819"/>
                  </a:moveTo>
                  <a:lnTo>
                    <a:pt x="28413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11" name="Forma livre: Forma 1410">
              <a:extLst>
                <a:ext uri="{FF2B5EF4-FFF2-40B4-BE49-F238E27FC236}">
                  <a16:creationId xmlns:a16="http://schemas.microsoft.com/office/drawing/2014/main" id="{2CF7369D-8774-C145-39D3-C79089A893B5}"/>
                </a:ext>
              </a:extLst>
            </p:cNvPr>
            <p:cNvSpPr/>
            <p:nvPr/>
          </p:nvSpPr>
          <p:spPr>
            <a:xfrm>
              <a:off x="2005807" y="5894686"/>
              <a:ext cx="106730" cy="100227"/>
            </a:xfrm>
            <a:custGeom>
              <a:avLst/>
              <a:gdLst>
                <a:gd name="connsiteX0" fmla="*/ 106730 w 106730"/>
                <a:gd name="connsiteY0" fmla="*/ 100227 h 100227"/>
                <a:gd name="connsiteX1" fmla="*/ 79028 w 106730"/>
                <a:gd name="connsiteY1" fmla="*/ 19160 h 100227"/>
                <a:gd name="connsiteX2" fmla="*/ 53365 w 106730"/>
                <a:gd name="connsiteY2" fmla="*/ 0 h 100227"/>
                <a:gd name="connsiteX3" fmla="*/ 27691 w 106730"/>
                <a:gd name="connsiteY3" fmla="*/ 19160 h 100227"/>
                <a:gd name="connsiteX4" fmla="*/ 0 w 106730"/>
                <a:gd name="connsiteY4" fmla="*/ 100227 h 1002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6730" h="100227">
                  <a:moveTo>
                    <a:pt x="106730" y="100227"/>
                  </a:moveTo>
                  <a:lnTo>
                    <a:pt x="79028" y="19160"/>
                  </a:lnTo>
                  <a:cubicBezTo>
                    <a:pt x="75776" y="8624"/>
                    <a:pt x="64227" y="0"/>
                    <a:pt x="53365" y="0"/>
                  </a:cubicBezTo>
                  <a:cubicBezTo>
                    <a:pt x="42503" y="0"/>
                    <a:pt x="30942" y="8624"/>
                    <a:pt x="27691" y="19160"/>
                  </a:cubicBezTo>
                  <a:lnTo>
                    <a:pt x="0" y="100227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12" name="Forma livre: Forma 1411">
              <a:extLst>
                <a:ext uri="{FF2B5EF4-FFF2-40B4-BE49-F238E27FC236}">
                  <a16:creationId xmlns:a16="http://schemas.microsoft.com/office/drawing/2014/main" id="{E12FDA25-2F50-1FE5-19EB-2D66A2E75CCB}"/>
                </a:ext>
              </a:extLst>
            </p:cNvPr>
            <p:cNvSpPr/>
            <p:nvPr/>
          </p:nvSpPr>
          <p:spPr>
            <a:xfrm>
              <a:off x="1988022" y="5995111"/>
              <a:ext cx="144653" cy="1165"/>
            </a:xfrm>
            <a:custGeom>
              <a:avLst/>
              <a:gdLst>
                <a:gd name="connsiteX0" fmla="*/ 0 w 144653"/>
                <a:gd name="connsiteY0" fmla="*/ 0 h 1165"/>
                <a:gd name="connsiteX1" fmla="*/ 144653 w 144653"/>
                <a:gd name="connsiteY1" fmla="*/ 0 h 11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44653" h="1165">
                  <a:moveTo>
                    <a:pt x="0" y="0"/>
                  </a:moveTo>
                  <a:lnTo>
                    <a:pt x="144653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13" name="Forma livre: Forma 1412">
              <a:extLst>
                <a:ext uri="{FF2B5EF4-FFF2-40B4-BE49-F238E27FC236}">
                  <a16:creationId xmlns:a16="http://schemas.microsoft.com/office/drawing/2014/main" id="{B363EF5F-CF2E-DDF8-7DBA-39CF2AE48524}"/>
                </a:ext>
              </a:extLst>
            </p:cNvPr>
            <p:cNvSpPr/>
            <p:nvPr/>
          </p:nvSpPr>
          <p:spPr>
            <a:xfrm>
              <a:off x="2152803" y="5995111"/>
              <a:ext cx="12481" cy="1165"/>
            </a:xfrm>
            <a:custGeom>
              <a:avLst/>
              <a:gdLst>
                <a:gd name="connsiteX0" fmla="*/ 0 w 12481"/>
                <a:gd name="connsiteY0" fmla="*/ 0 h 1165"/>
                <a:gd name="connsiteX1" fmla="*/ 12482 w 12481"/>
                <a:gd name="connsiteY1" fmla="*/ 0 h 11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481" h="1165">
                  <a:moveTo>
                    <a:pt x="0" y="0"/>
                  </a:moveTo>
                  <a:lnTo>
                    <a:pt x="12482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14" name="Forma livre: Forma 1413">
              <a:extLst>
                <a:ext uri="{FF2B5EF4-FFF2-40B4-BE49-F238E27FC236}">
                  <a16:creationId xmlns:a16="http://schemas.microsoft.com/office/drawing/2014/main" id="{58FE7B71-E017-3806-FE24-53BDA10073B0}"/>
                </a:ext>
              </a:extLst>
            </p:cNvPr>
            <p:cNvSpPr/>
            <p:nvPr/>
          </p:nvSpPr>
          <p:spPr>
            <a:xfrm>
              <a:off x="2166038" y="5770832"/>
              <a:ext cx="37756" cy="37758"/>
            </a:xfrm>
            <a:custGeom>
              <a:avLst/>
              <a:gdLst>
                <a:gd name="connsiteX0" fmla="*/ 37578 w 37756"/>
                <a:gd name="connsiteY0" fmla="*/ 21460 h 37758"/>
                <a:gd name="connsiteX1" fmla="*/ 16297 w 37756"/>
                <a:gd name="connsiteY1" fmla="*/ 37578 h 37758"/>
                <a:gd name="connsiteX2" fmla="*/ 179 w 37756"/>
                <a:gd name="connsiteY2" fmla="*/ 16297 h 37758"/>
                <a:gd name="connsiteX3" fmla="*/ 21460 w 37756"/>
                <a:gd name="connsiteY3" fmla="*/ 179 h 37758"/>
                <a:gd name="connsiteX4" fmla="*/ 37578 w 37756"/>
                <a:gd name="connsiteY4" fmla="*/ 21460 h 377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7756" h="37758">
                  <a:moveTo>
                    <a:pt x="37578" y="21460"/>
                  </a:moveTo>
                  <a:cubicBezTo>
                    <a:pt x="36156" y="31786"/>
                    <a:pt x="26623" y="39011"/>
                    <a:pt x="16297" y="37578"/>
                  </a:cubicBezTo>
                  <a:cubicBezTo>
                    <a:pt x="5959" y="36156"/>
                    <a:pt x="-1243" y="26623"/>
                    <a:pt x="179" y="16297"/>
                  </a:cubicBezTo>
                  <a:cubicBezTo>
                    <a:pt x="1601" y="5959"/>
                    <a:pt x="11134" y="-1243"/>
                    <a:pt x="21460" y="179"/>
                  </a:cubicBezTo>
                  <a:cubicBezTo>
                    <a:pt x="31797" y="1612"/>
                    <a:pt x="38999" y="11134"/>
                    <a:pt x="37578" y="21460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15" name="Forma livre: Forma 1414">
              <a:extLst>
                <a:ext uri="{FF2B5EF4-FFF2-40B4-BE49-F238E27FC236}">
                  <a16:creationId xmlns:a16="http://schemas.microsoft.com/office/drawing/2014/main" id="{4758EF78-864E-6134-E034-AFA0B48B9D44}"/>
                </a:ext>
              </a:extLst>
            </p:cNvPr>
            <p:cNvSpPr/>
            <p:nvPr/>
          </p:nvSpPr>
          <p:spPr>
            <a:xfrm>
              <a:off x="2054755" y="5922015"/>
              <a:ext cx="7260" cy="7260"/>
            </a:xfrm>
            <a:custGeom>
              <a:avLst/>
              <a:gdLst>
                <a:gd name="connsiteX0" fmla="*/ 7261 w 7260"/>
                <a:gd name="connsiteY0" fmla="*/ 3636 h 7260"/>
                <a:gd name="connsiteX1" fmla="*/ 3636 w 7260"/>
                <a:gd name="connsiteY1" fmla="*/ 7261 h 7260"/>
                <a:gd name="connsiteX2" fmla="*/ 0 w 7260"/>
                <a:gd name="connsiteY2" fmla="*/ 3636 h 7260"/>
                <a:gd name="connsiteX3" fmla="*/ 3636 w 7260"/>
                <a:gd name="connsiteY3" fmla="*/ 0 h 7260"/>
                <a:gd name="connsiteX4" fmla="*/ 7261 w 7260"/>
                <a:gd name="connsiteY4" fmla="*/ 3636 h 72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260" h="7260">
                  <a:moveTo>
                    <a:pt x="7261" y="3636"/>
                  </a:moveTo>
                  <a:cubicBezTo>
                    <a:pt x="7261" y="5641"/>
                    <a:pt x="5652" y="7261"/>
                    <a:pt x="3636" y="7261"/>
                  </a:cubicBezTo>
                  <a:cubicBezTo>
                    <a:pt x="1620" y="7261"/>
                    <a:pt x="0" y="5641"/>
                    <a:pt x="0" y="3636"/>
                  </a:cubicBezTo>
                  <a:cubicBezTo>
                    <a:pt x="0" y="1632"/>
                    <a:pt x="1632" y="0"/>
                    <a:pt x="3636" y="0"/>
                  </a:cubicBezTo>
                  <a:cubicBezTo>
                    <a:pt x="5641" y="0"/>
                    <a:pt x="7261" y="1620"/>
                    <a:pt x="7261" y="3636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416" name="Gráfico 13">
            <a:extLst>
              <a:ext uri="{FF2B5EF4-FFF2-40B4-BE49-F238E27FC236}">
                <a16:creationId xmlns:a16="http://schemas.microsoft.com/office/drawing/2014/main" id="{C8A79090-B16E-0937-E17B-B7408001822C}"/>
              </a:ext>
            </a:extLst>
          </p:cNvPr>
          <p:cNvGrpSpPr/>
          <p:nvPr/>
        </p:nvGrpSpPr>
        <p:grpSpPr>
          <a:xfrm>
            <a:off x="1972510" y="5176174"/>
            <a:ext cx="313396" cy="296066"/>
            <a:chOff x="1972510" y="5176174"/>
            <a:chExt cx="313396" cy="296066"/>
          </a:xfrm>
          <a:noFill/>
        </p:grpSpPr>
        <p:grpSp>
          <p:nvGrpSpPr>
            <p:cNvPr id="1417" name="Gráfico 13">
              <a:extLst>
                <a:ext uri="{FF2B5EF4-FFF2-40B4-BE49-F238E27FC236}">
                  <a16:creationId xmlns:a16="http://schemas.microsoft.com/office/drawing/2014/main" id="{790CE2DC-740E-A5A2-61C3-19A238B8DB6A}"/>
                </a:ext>
              </a:extLst>
            </p:cNvPr>
            <p:cNvGrpSpPr/>
            <p:nvPr/>
          </p:nvGrpSpPr>
          <p:grpSpPr>
            <a:xfrm>
              <a:off x="2011483" y="5386302"/>
              <a:ext cx="235452" cy="55684"/>
              <a:chOff x="2011483" y="5386302"/>
              <a:chExt cx="235452" cy="55684"/>
            </a:xfrm>
            <a:noFill/>
          </p:grpSpPr>
          <p:sp>
            <p:nvSpPr>
              <p:cNvPr id="1418" name="Forma livre: Forma 1417">
                <a:extLst>
                  <a:ext uri="{FF2B5EF4-FFF2-40B4-BE49-F238E27FC236}">
                    <a16:creationId xmlns:a16="http://schemas.microsoft.com/office/drawing/2014/main" id="{D2AC1A3B-4A58-DA96-97F5-ED2AB28EA931}"/>
                  </a:ext>
                </a:extLst>
              </p:cNvPr>
              <p:cNvSpPr/>
              <p:nvPr/>
            </p:nvSpPr>
            <p:spPr>
              <a:xfrm>
                <a:off x="2214303" y="5386302"/>
                <a:ext cx="32632" cy="55672"/>
              </a:xfrm>
              <a:custGeom>
                <a:avLst/>
                <a:gdLst>
                  <a:gd name="connsiteX0" fmla="*/ 0 w 32632"/>
                  <a:gd name="connsiteY0" fmla="*/ 47165 h 55672"/>
                  <a:gd name="connsiteX1" fmla="*/ 16398 w 32632"/>
                  <a:gd name="connsiteY1" fmla="*/ 55673 h 55672"/>
                  <a:gd name="connsiteX2" fmla="*/ 32632 w 32632"/>
                  <a:gd name="connsiteY2" fmla="*/ 41757 h 55672"/>
                  <a:gd name="connsiteX3" fmla="*/ 16398 w 32632"/>
                  <a:gd name="connsiteY3" fmla="*/ 27831 h 55672"/>
                  <a:gd name="connsiteX4" fmla="*/ 152 w 32632"/>
                  <a:gd name="connsiteY4" fmla="*/ 13915 h 55672"/>
                  <a:gd name="connsiteX5" fmla="*/ 16398 w 32632"/>
                  <a:gd name="connsiteY5" fmla="*/ 0 h 55672"/>
                  <a:gd name="connsiteX6" fmla="*/ 30068 w 32632"/>
                  <a:gd name="connsiteY6" fmla="*/ 5035 h 556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2632" h="55672">
                    <a:moveTo>
                      <a:pt x="0" y="47165"/>
                    </a:moveTo>
                    <a:cubicBezTo>
                      <a:pt x="2715" y="52153"/>
                      <a:pt x="9055" y="55673"/>
                      <a:pt x="16398" y="55673"/>
                    </a:cubicBezTo>
                    <a:cubicBezTo>
                      <a:pt x="26187" y="55673"/>
                      <a:pt x="32632" y="49403"/>
                      <a:pt x="32632" y="41757"/>
                    </a:cubicBezTo>
                    <a:cubicBezTo>
                      <a:pt x="32632" y="34112"/>
                      <a:pt x="25954" y="29975"/>
                      <a:pt x="16398" y="27831"/>
                    </a:cubicBezTo>
                    <a:cubicBezTo>
                      <a:pt x="6818" y="25605"/>
                      <a:pt x="152" y="21560"/>
                      <a:pt x="152" y="13915"/>
                    </a:cubicBezTo>
                    <a:cubicBezTo>
                      <a:pt x="152" y="6270"/>
                      <a:pt x="6608" y="0"/>
                      <a:pt x="16398" y="0"/>
                    </a:cubicBezTo>
                    <a:cubicBezTo>
                      <a:pt x="21875" y="0"/>
                      <a:pt x="26805" y="1970"/>
                      <a:pt x="30068" y="5035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419" name="Forma livre: Forma 1418">
                <a:extLst>
                  <a:ext uri="{FF2B5EF4-FFF2-40B4-BE49-F238E27FC236}">
                    <a16:creationId xmlns:a16="http://schemas.microsoft.com/office/drawing/2014/main" id="{72B4A6A8-E205-6130-9B6E-A128D4A35726}"/>
                  </a:ext>
                </a:extLst>
              </p:cNvPr>
              <p:cNvSpPr/>
              <p:nvPr/>
            </p:nvSpPr>
            <p:spPr>
              <a:xfrm>
                <a:off x="2011483" y="5386325"/>
                <a:ext cx="37585" cy="55660"/>
              </a:xfrm>
              <a:custGeom>
                <a:avLst/>
                <a:gdLst>
                  <a:gd name="connsiteX0" fmla="*/ 0 w 37585"/>
                  <a:gd name="connsiteY0" fmla="*/ 55661 h 55660"/>
                  <a:gd name="connsiteX1" fmla="*/ 0 w 37585"/>
                  <a:gd name="connsiteY1" fmla="*/ 0 h 55660"/>
                  <a:gd name="connsiteX2" fmla="*/ 37585 w 37585"/>
                  <a:gd name="connsiteY2" fmla="*/ 55661 h 55660"/>
                  <a:gd name="connsiteX3" fmla="*/ 37585 w 37585"/>
                  <a:gd name="connsiteY3" fmla="*/ 0 h 556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7585" h="55660">
                    <a:moveTo>
                      <a:pt x="0" y="55661"/>
                    </a:moveTo>
                    <a:lnTo>
                      <a:pt x="0" y="0"/>
                    </a:lnTo>
                    <a:lnTo>
                      <a:pt x="37585" y="55661"/>
                    </a:lnTo>
                    <a:lnTo>
                      <a:pt x="37585" y="0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420" name="Forma livre: Forma 1419">
                <a:extLst>
                  <a:ext uri="{FF2B5EF4-FFF2-40B4-BE49-F238E27FC236}">
                    <a16:creationId xmlns:a16="http://schemas.microsoft.com/office/drawing/2014/main" id="{50D06431-7C69-D6E5-687F-73B7E7C692B2}"/>
                  </a:ext>
                </a:extLst>
              </p:cNvPr>
              <p:cNvSpPr/>
              <p:nvPr/>
            </p:nvSpPr>
            <p:spPr>
              <a:xfrm>
                <a:off x="2124191" y="5386325"/>
                <a:ext cx="72047" cy="55660"/>
              </a:xfrm>
              <a:custGeom>
                <a:avLst/>
                <a:gdLst>
                  <a:gd name="connsiteX0" fmla="*/ 0 w 72047"/>
                  <a:gd name="connsiteY0" fmla="*/ 0 h 55660"/>
                  <a:gd name="connsiteX1" fmla="*/ 18833 w 72047"/>
                  <a:gd name="connsiteY1" fmla="*/ 55661 h 55660"/>
                  <a:gd name="connsiteX2" fmla="*/ 36024 w 72047"/>
                  <a:gd name="connsiteY2" fmla="*/ 0 h 55660"/>
                  <a:gd name="connsiteX3" fmla="*/ 56419 w 72047"/>
                  <a:gd name="connsiteY3" fmla="*/ 55661 h 55660"/>
                  <a:gd name="connsiteX4" fmla="*/ 72047 w 72047"/>
                  <a:gd name="connsiteY4" fmla="*/ 0 h 556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2047" h="55660">
                    <a:moveTo>
                      <a:pt x="0" y="0"/>
                    </a:moveTo>
                    <a:lnTo>
                      <a:pt x="18833" y="55661"/>
                    </a:lnTo>
                    <a:lnTo>
                      <a:pt x="36024" y="0"/>
                    </a:lnTo>
                    <a:lnTo>
                      <a:pt x="56419" y="55661"/>
                    </a:lnTo>
                    <a:lnTo>
                      <a:pt x="72047" y="0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1421" name="Gráfico 13">
                <a:extLst>
                  <a:ext uri="{FF2B5EF4-FFF2-40B4-BE49-F238E27FC236}">
                    <a16:creationId xmlns:a16="http://schemas.microsoft.com/office/drawing/2014/main" id="{8874A7AC-325E-7A65-8519-EC76FD888B98}"/>
                  </a:ext>
                </a:extLst>
              </p:cNvPr>
              <p:cNvGrpSpPr/>
              <p:nvPr/>
            </p:nvGrpSpPr>
            <p:grpSpPr>
              <a:xfrm>
                <a:off x="2074544" y="5386325"/>
                <a:ext cx="28832" cy="55660"/>
                <a:chOff x="2074544" y="5386325"/>
                <a:chExt cx="28832" cy="55660"/>
              </a:xfrm>
              <a:noFill/>
            </p:grpSpPr>
            <p:sp>
              <p:nvSpPr>
                <p:cNvPr id="1422" name="Forma livre: Forma 1421">
                  <a:extLst>
                    <a:ext uri="{FF2B5EF4-FFF2-40B4-BE49-F238E27FC236}">
                      <a16:creationId xmlns:a16="http://schemas.microsoft.com/office/drawing/2014/main" id="{FB015189-8B4D-E5DB-DCBD-D751DD9C22AE}"/>
                    </a:ext>
                  </a:extLst>
                </p:cNvPr>
                <p:cNvSpPr/>
                <p:nvPr/>
              </p:nvSpPr>
              <p:spPr>
                <a:xfrm>
                  <a:off x="2074544" y="5386325"/>
                  <a:ext cx="28832" cy="55660"/>
                </a:xfrm>
                <a:custGeom>
                  <a:avLst/>
                  <a:gdLst>
                    <a:gd name="connsiteX0" fmla="*/ 28833 w 28832"/>
                    <a:gd name="connsiteY0" fmla="*/ 0 h 55660"/>
                    <a:gd name="connsiteX1" fmla="*/ 0 w 28832"/>
                    <a:gd name="connsiteY1" fmla="*/ 0 h 55660"/>
                    <a:gd name="connsiteX2" fmla="*/ 0 w 28832"/>
                    <a:gd name="connsiteY2" fmla="*/ 55661 h 55660"/>
                    <a:gd name="connsiteX3" fmla="*/ 28833 w 28832"/>
                    <a:gd name="connsiteY3" fmla="*/ 55661 h 5566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28832" h="55660">
                      <a:moveTo>
                        <a:pt x="28833" y="0"/>
                      </a:moveTo>
                      <a:lnTo>
                        <a:pt x="0" y="0"/>
                      </a:lnTo>
                      <a:lnTo>
                        <a:pt x="0" y="55661"/>
                      </a:lnTo>
                      <a:lnTo>
                        <a:pt x="28833" y="55661"/>
                      </a:ln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423" name="Forma livre: Forma 1422">
                  <a:extLst>
                    <a:ext uri="{FF2B5EF4-FFF2-40B4-BE49-F238E27FC236}">
                      <a16:creationId xmlns:a16="http://schemas.microsoft.com/office/drawing/2014/main" id="{F7E818BA-96E3-C801-C5F0-7BA4DE998F0B}"/>
                    </a:ext>
                  </a:extLst>
                </p:cNvPr>
                <p:cNvSpPr/>
                <p:nvPr/>
              </p:nvSpPr>
              <p:spPr>
                <a:xfrm>
                  <a:off x="2075593" y="5414155"/>
                  <a:ext cx="20837" cy="1165"/>
                </a:xfrm>
                <a:custGeom>
                  <a:avLst/>
                  <a:gdLst>
                    <a:gd name="connsiteX0" fmla="*/ 0 w 20837"/>
                    <a:gd name="connsiteY0" fmla="*/ 0 h 1165"/>
                    <a:gd name="connsiteX1" fmla="*/ 20838 w 20837"/>
                    <a:gd name="connsiteY1" fmla="*/ 0 h 116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0837" h="1165">
                      <a:moveTo>
                        <a:pt x="0" y="0"/>
                      </a:moveTo>
                      <a:lnTo>
                        <a:pt x="20838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grpSp>
          <p:nvGrpSpPr>
            <p:cNvPr id="1424" name="Gráfico 13">
              <a:extLst>
                <a:ext uri="{FF2B5EF4-FFF2-40B4-BE49-F238E27FC236}">
                  <a16:creationId xmlns:a16="http://schemas.microsoft.com/office/drawing/2014/main" id="{5A8CB444-2B8C-8C83-B6EB-27506C441A35}"/>
                </a:ext>
              </a:extLst>
            </p:cNvPr>
            <p:cNvGrpSpPr/>
            <p:nvPr/>
          </p:nvGrpSpPr>
          <p:grpSpPr>
            <a:xfrm>
              <a:off x="2027599" y="5176174"/>
              <a:ext cx="203221" cy="154792"/>
              <a:chOff x="2027599" y="5176174"/>
              <a:chExt cx="203221" cy="154792"/>
            </a:xfrm>
            <a:noFill/>
          </p:grpSpPr>
          <p:sp>
            <p:nvSpPr>
              <p:cNvPr id="1425" name="Forma livre: Forma 1424">
                <a:extLst>
                  <a:ext uri="{FF2B5EF4-FFF2-40B4-BE49-F238E27FC236}">
                    <a16:creationId xmlns:a16="http://schemas.microsoft.com/office/drawing/2014/main" id="{16236B41-6768-6C85-663D-5DBD9CECA861}"/>
                  </a:ext>
                </a:extLst>
              </p:cNvPr>
              <p:cNvSpPr/>
              <p:nvPr/>
            </p:nvSpPr>
            <p:spPr>
              <a:xfrm>
                <a:off x="2027599" y="5232604"/>
                <a:ext cx="52854" cy="98350"/>
              </a:xfrm>
              <a:custGeom>
                <a:avLst/>
                <a:gdLst>
                  <a:gd name="connsiteX0" fmla="*/ 52854 w 52854"/>
                  <a:gd name="connsiteY0" fmla="*/ 61826 h 98350"/>
                  <a:gd name="connsiteX1" fmla="*/ 23054 w 52854"/>
                  <a:gd name="connsiteY1" fmla="*/ 0 h 98350"/>
                  <a:gd name="connsiteX2" fmla="*/ 12577 w 52854"/>
                  <a:gd name="connsiteY2" fmla="*/ 51221 h 98350"/>
                  <a:gd name="connsiteX3" fmla="*/ 2146 w 52854"/>
                  <a:gd name="connsiteY3" fmla="*/ 98351 h 983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2854" h="98350">
                    <a:moveTo>
                      <a:pt x="52854" y="61826"/>
                    </a:moveTo>
                    <a:cubicBezTo>
                      <a:pt x="48216" y="24695"/>
                      <a:pt x="23054" y="0"/>
                      <a:pt x="23054" y="0"/>
                    </a:cubicBezTo>
                    <a:cubicBezTo>
                      <a:pt x="23054" y="0"/>
                      <a:pt x="31620" y="23402"/>
                      <a:pt x="12577" y="51221"/>
                    </a:cubicBezTo>
                    <a:cubicBezTo>
                      <a:pt x="12577" y="51221"/>
                      <a:pt x="-6221" y="74949"/>
                      <a:pt x="2146" y="98351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426" name="Forma livre: Forma 1425">
                <a:extLst>
                  <a:ext uri="{FF2B5EF4-FFF2-40B4-BE49-F238E27FC236}">
                    <a16:creationId xmlns:a16="http://schemas.microsoft.com/office/drawing/2014/main" id="{7396E448-0A72-FA77-1B64-AAD757512EAF}"/>
                  </a:ext>
                </a:extLst>
              </p:cNvPr>
              <p:cNvSpPr/>
              <p:nvPr/>
            </p:nvSpPr>
            <p:spPr>
              <a:xfrm>
                <a:off x="2079427" y="5176174"/>
                <a:ext cx="151392" cy="154792"/>
              </a:xfrm>
              <a:custGeom>
                <a:avLst/>
                <a:gdLst>
                  <a:gd name="connsiteX0" fmla="*/ 142987 w 151392"/>
                  <a:gd name="connsiteY0" fmla="*/ 154793 h 154792"/>
                  <a:gd name="connsiteX1" fmla="*/ 126263 w 151392"/>
                  <a:gd name="connsiteY1" fmla="*/ 50428 h 154792"/>
                  <a:gd name="connsiteX2" fmla="*/ 100192 w 151392"/>
                  <a:gd name="connsiteY2" fmla="*/ 108758 h 154792"/>
                  <a:gd name="connsiteX3" fmla="*/ 80065 w 151392"/>
                  <a:gd name="connsiteY3" fmla="*/ 58982 h 154792"/>
                  <a:gd name="connsiteX4" fmla="*/ 50754 w 151392"/>
                  <a:gd name="connsiteY4" fmla="*/ 91137 h 154792"/>
                  <a:gd name="connsiteX5" fmla="*/ 22120 w 151392"/>
                  <a:gd name="connsiteY5" fmla="*/ 0 h 154792"/>
                  <a:gd name="connsiteX6" fmla="*/ 0 w 151392"/>
                  <a:gd name="connsiteY6" fmla="*/ 38308 h 1547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51392" h="154792">
                    <a:moveTo>
                      <a:pt x="142987" y="154793"/>
                    </a:moveTo>
                    <a:cubicBezTo>
                      <a:pt x="169022" y="116881"/>
                      <a:pt x="126263" y="50428"/>
                      <a:pt x="126263" y="50428"/>
                    </a:cubicBezTo>
                    <a:cubicBezTo>
                      <a:pt x="130785" y="92291"/>
                      <a:pt x="100192" y="108758"/>
                      <a:pt x="100192" y="108758"/>
                    </a:cubicBezTo>
                    <a:cubicBezTo>
                      <a:pt x="104399" y="89517"/>
                      <a:pt x="80065" y="58982"/>
                      <a:pt x="80065" y="58982"/>
                    </a:cubicBezTo>
                    <a:cubicBezTo>
                      <a:pt x="77956" y="75928"/>
                      <a:pt x="50754" y="91137"/>
                      <a:pt x="50754" y="91137"/>
                    </a:cubicBezTo>
                    <a:cubicBezTo>
                      <a:pt x="37480" y="77769"/>
                      <a:pt x="15407" y="50009"/>
                      <a:pt x="22120" y="0"/>
                    </a:cubicBezTo>
                    <a:cubicBezTo>
                      <a:pt x="22120" y="0"/>
                      <a:pt x="8379" y="14102"/>
                      <a:pt x="0" y="38308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427" name="Gráfico 13">
              <a:extLst>
                <a:ext uri="{FF2B5EF4-FFF2-40B4-BE49-F238E27FC236}">
                  <a16:creationId xmlns:a16="http://schemas.microsoft.com/office/drawing/2014/main" id="{FF591542-93F1-4A1B-2AD8-8A5E26630BCC}"/>
                </a:ext>
              </a:extLst>
            </p:cNvPr>
            <p:cNvGrpSpPr/>
            <p:nvPr/>
          </p:nvGrpSpPr>
          <p:grpSpPr>
            <a:xfrm>
              <a:off x="1972510" y="5356070"/>
              <a:ext cx="313396" cy="116170"/>
              <a:chOff x="1972510" y="5356070"/>
              <a:chExt cx="313396" cy="116170"/>
            </a:xfrm>
          </p:grpSpPr>
          <p:sp>
            <p:nvSpPr>
              <p:cNvPr id="1428" name="Forma livre: Forma 1427">
                <a:extLst>
                  <a:ext uri="{FF2B5EF4-FFF2-40B4-BE49-F238E27FC236}">
                    <a16:creationId xmlns:a16="http://schemas.microsoft.com/office/drawing/2014/main" id="{C5215972-B3CC-B744-5A63-74A0DED74190}"/>
                  </a:ext>
                </a:extLst>
              </p:cNvPr>
              <p:cNvSpPr/>
              <p:nvPr/>
            </p:nvSpPr>
            <p:spPr>
              <a:xfrm>
                <a:off x="1972510" y="5356070"/>
                <a:ext cx="313396" cy="1165"/>
              </a:xfrm>
              <a:custGeom>
                <a:avLst/>
                <a:gdLst>
                  <a:gd name="connsiteX0" fmla="*/ 0 w 313396"/>
                  <a:gd name="connsiteY0" fmla="*/ 0 h 1165"/>
                  <a:gd name="connsiteX1" fmla="*/ 313396 w 313396"/>
                  <a:gd name="connsiteY1" fmla="*/ 0 h 11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13396" h="1165">
                    <a:moveTo>
                      <a:pt x="0" y="0"/>
                    </a:moveTo>
                    <a:lnTo>
                      <a:pt x="313396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429" name="Forma livre: Forma 1428">
                <a:extLst>
                  <a:ext uri="{FF2B5EF4-FFF2-40B4-BE49-F238E27FC236}">
                    <a16:creationId xmlns:a16="http://schemas.microsoft.com/office/drawing/2014/main" id="{7E9FA326-6996-7A30-1BED-A89D3336D4D3}"/>
                  </a:ext>
                </a:extLst>
              </p:cNvPr>
              <p:cNvSpPr/>
              <p:nvPr/>
            </p:nvSpPr>
            <p:spPr>
              <a:xfrm>
                <a:off x="1972510" y="5472240"/>
                <a:ext cx="313396" cy="1165"/>
              </a:xfrm>
              <a:custGeom>
                <a:avLst/>
                <a:gdLst>
                  <a:gd name="connsiteX0" fmla="*/ 0 w 313396"/>
                  <a:gd name="connsiteY0" fmla="*/ 0 h 1165"/>
                  <a:gd name="connsiteX1" fmla="*/ 313396 w 313396"/>
                  <a:gd name="connsiteY1" fmla="*/ 0 h 11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13396" h="1165">
                    <a:moveTo>
                      <a:pt x="0" y="0"/>
                    </a:moveTo>
                    <a:lnTo>
                      <a:pt x="313396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430" name="Gráfico 13">
            <a:extLst>
              <a:ext uri="{FF2B5EF4-FFF2-40B4-BE49-F238E27FC236}">
                <a16:creationId xmlns:a16="http://schemas.microsoft.com/office/drawing/2014/main" id="{67436C16-CD68-763B-E9BF-4EC4115500C5}"/>
              </a:ext>
            </a:extLst>
          </p:cNvPr>
          <p:cNvGrpSpPr/>
          <p:nvPr/>
        </p:nvGrpSpPr>
        <p:grpSpPr>
          <a:xfrm>
            <a:off x="2038136" y="4092334"/>
            <a:ext cx="182145" cy="364209"/>
            <a:chOff x="2038136" y="4092334"/>
            <a:chExt cx="182145" cy="364209"/>
          </a:xfrm>
          <a:noFill/>
        </p:grpSpPr>
        <p:sp>
          <p:nvSpPr>
            <p:cNvPr id="1431" name="Forma livre: Forma 1430">
              <a:extLst>
                <a:ext uri="{FF2B5EF4-FFF2-40B4-BE49-F238E27FC236}">
                  <a16:creationId xmlns:a16="http://schemas.microsoft.com/office/drawing/2014/main" id="{BD440EDF-32EF-3DC7-545C-67C0248BB713}"/>
                </a:ext>
              </a:extLst>
            </p:cNvPr>
            <p:cNvSpPr/>
            <p:nvPr/>
          </p:nvSpPr>
          <p:spPr>
            <a:xfrm>
              <a:off x="2070826" y="4260250"/>
              <a:ext cx="78468" cy="148254"/>
            </a:xfrm>
            <a:custGeom>
              <a:avLst/>
              <a:gdLst>
                <a:gd name="connsiteX0" fmla="*/ 0 w 78468"/>
                <a:gd name="connsiteY0" fmla="*/ 20185 h 148254"/>
                <a:gd name="connsiteX1" fmla="*/ 12423 w 78468"/>
                <a:gd name="connsiteY1" fmla="*/ 130878 h 148254"/>
                <a:gd name="connsiteX2" fmla="*/ 35744 w 78468"/>
                <a:gd name="connsiteY2" fmla="*/ 148255 h 148254"/>
                <a:gd name="connsiteX3" fmla="*/ 40557 w 78468"/>
                <a:gd name="connsiteY3" fmla="*/ 148255 h 148254"/>
                <a:gd name="connsiteX4" fmla="*/ 63889 w 78468"/>
                <a:gd name="connsiteY4" fmla="*/ 130878 h 148254"/>
                <a:gd name="connsiteX5" fmla="*/ 78468 w 78468"/>
                <a:gd name="connsiteY5" fmla="*/ 0 h 1482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8468" h="148254">
                  <a:moveTo>
                    <a:pt x="0" y="20185"/>
                  </a:moveTo>
                  <a:lnTo>
                    <a:pt x="12423" y="130878"/>
                  </a:lnTo>
                  <a:cubicBezTo>
                    <a:pt x="13449" y="142847"/>
                    <a:pt x="23728" y="148220"/>
                    <a:pt x="35744" y="148255"/>
                  </a:cubicBezTo>
                  <a:lnTo>
                    <a:pt x="40557" y="148255"/>
                  </a:lnTo>
                  <a:cubicBezTo>
                    <a:pt x="52584" y="148231"/>
                    <a:pt x="62852" y="142859"/>
                    <a:pt x="63889" y="130878"/>
                  </a:cubicBezTo>
                  <a:lnTo>
                    <a:pt x="78468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32" name="Forma livre: Forma 1431">
              <a:extLst>
                <a:ext uri="{FF2B5EF4-FFF2-40B4-BE49-F238E27FC236}">
                  <a16:creationId xmlns:a16="http://schemas.microsoft.com/office/drawing/2014/main" id="{EFF36A72-02D3-3DE2-4781-E05CA341FF19}"/>
                </a:ext>
              </a:extLst>
            </p:cNvPr>
            <p:cNvSpPr/>
            <p:nvPr/>
          </p:nvSpPr>
          <p:spPr>
            <a:xfrm>
              <a:off x="2108610" y="4349522"/>
              <a:ext cx="111671" cy="107021"/>
            </a:xfrm>
            <a:custGeom>
              <a:avLst/>
              <a:gdLst>
                <a:gd name="connsiteX0" fmla="*/ 111672 w 111671"/>
                <a:gd name="connsiteY0" fmla="*/ 0 h 107021"/>
                <a:gd name="connsiteX1" fmla="*/ 74459 w 111671"/>
                <a:gd name="connsiteY1" fmla="*/ 39054 h 107021"/>
                <a:gd name="connsiteX2" fmla="*/ 74518 w 111671"/>
                <a:gd name="connsiteY2" fmla="*/ 67980 h 107021"/>
                <a:gd name="connsiteX3" fmla="*/ 37434 w 111671"/>
                <a:gd name="connsiteY3" fmla="*/ 107022 h 107021"/>
                <a:gd name="connsiteX4" fmla="*/ 0 w 111671"/>
                <a:gd name="connsiteY4" fmla="*/ 68294 h 107021"/>
                <a:gd name="connsiteX5" fmla="*/ 0 w 111671"/>
                <a:gd name="connsiteY5" fmla="*/ 58796 h 1070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1671" h="107021">
                  <a:moveTo>
                    <a:pt x="111672" y="0"/>
                  </a:moveTo>
                  <a:cubicBezTo>
                    <a:pt x="91172" y="93"/>
                    <a:pt x="74401" y="17668"/>
                    <a:pt x="74459" y="39054"/>
                  </a:cubicBezTo>
                  <a:lnTo>
                    <a:pt x="74518" y="67980"/>
                  </a:lnTo>
                  <a:cubicBezTo>
                    <a:pt x="74634" y="89365"/>
                    <a:pt x="57934" y="106928"/>
                    <a:pt x="37434" y="107022"/>
                  </a:cubicBezTo>
                  <a:cubicBezTo>
                    <a:pt x="16934" y="107103"/>
                    <a:pt x="105" y="89680"/>
                    <a:pt x="0" y="68294"/>
                  </a:cubicBezTo>
                  <a:lnTo>
                    <a:pt x="0" y="58796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33" name="Forma livre: Forma 1432">
              <a:extLst>
                <a:ext uri="{FF2B5EF4-FFF2-40B4-BE49-F238E27FC236}">
                  <a16:creationId xmlns:a16="http://schemas.microsoft.com/office/drawing/2014/main" id="{D2C1F486-54EB-572D-52EA-744DC8BEFCE8}"/>
                </a:ext>
              </a:extLst>
            </p:cNvPr>
            <p:cNvSpPr/>
            <p:nvPr/>
          </p:nvSpPr>
          <p:spPr>
            <a:xfrm>
              <a:off x="2038136" y="4195615"/>
              <a:ext cx="140306" cy="64087"/>
            </a:xfrm>
            <a:custGeom>
              <a:avLst/>
              <a:gdLst>
                <a:gd name="connsiteX0" fmla="*/ 0 w 140306"/>
                <a:gd name="connsiteY0" fmla="*/ 0 h 64087"/>
                <a:gd name="connsiteX1" fmla="*/ 140306 w 140306"/>
                <a:gd name="connsiteY1" fmla="*/ 0 h 64087"/>
                <a:gd name="connsiteX2" fmla="*/ 140306 w 140306"/>
                <a:gd name="connsiteY2" fmla="*/ 64087 h 64087"/>
                <a:gd name="connsiteX3" fmla="*/ 0 w 140306"/>
                <a:gd name="connsiteY3" fmla="*/ 64087 h 640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0306" h="64087">
                  <a:moveTo>
                    <a:pt x="0" y="0"/>
                  </a:moveTo>
                  <a:lnTo>
                    <a:pt x="140306" y="0"/>
                  </a:lnTo>
                  <a:lnTo>
                    <a:pt x="140306" y="64087"/>
                  </a:lnTo>
                  <a:lnTo>
                    <a:pt x="0" y="64087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34" name="Forma livre: Forma 1433">
              <a:extLst>
                <a:ext uri="{FF2B5EF4-FFF2-40B4-BE49-F238E27FC236}">
                  <a16:creationId xmlns:a16="http://schemas.microsoft.com/office/drawing/2014/main" id="{CA98CDD0-F271-E356-E6E1-5E2581BFC77D}"/>
                </a:ext>
              </a:extLst>
            </p:cNvPr>
            <p:cNvSpPr/>
            <p:nvPr/>
          </p:nvSpPr>
          <p:spPr>
            <a:xfrm>
              <a:off x="2073856" y="4161631"/>
              <a:ext cx="90787" cy="1165"/>
            </a:xfrm>
            <a:custGeom>
              <a:avLst/>
              <a:gdLst>
                <a:gd name="connsiteX0" fmla="*/ 90787 w 90787"/>
                <a:gd name="connsiteY0" fmla="*/ 0 h 1165"/>
                <a:gd name="connsiteX1" fmla="*/ 0 w 90787"/>
                <a:gd name="connsiteY1" fmla="*/ 0 h 11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0787" h="1165">
                  <a:moveTo>
                    <a:pt x="90787" y="0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35" name="Forma livre: Forma 1434">
              <a:extLst>
                <a:ext uri="{FF2B5EF4-FFF2-40B4-BE49-F238E27FC236}">
                  <a16:creationId xmlns:a16="http://schemas.microsoft.com/office/drawing/2014/main" id="{2A1E6DBE-E887-355E-9A4D-3D262486FFE9}"/>
                </a:ext>
              </a:extLst>
            </p:cNvPr>
            <p:cNvSpPr/>
            <p:nvPr/>
          </p:nvSpPr>
          <p:spPr>
            <a:xfrm>
              <a:off x="2077994" y="4227524"/>
              <a:ext cx="60602" cy="1165"/>
            </a:xfrm>
            <a:custGeom>
              <a:avLst/>
              <a:gdLst>
                <a:gd name="connsiteX0" fmla="*/ 0 w 60602"/>
                <a:gd name="connsiteY0" fmla="*/ 0 h 1165"/>
                <a:gd name="connsiteX1" fmla="*/ 60602 w 60602"/>
                <a:gd name="connsiteY1" fmla="*/ 0 h 11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602" h="1165">
                  <a:moveTo>
                    <a:pt x="0" y="0"/>
                  </a:moveTo>
                  <a:lnTo>
                    <a:pt x="60602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36" name="Forma livre: Forma 1435">
              <a:extLst>
                <a:ext uri="{FF2B5EF4-FFF2-40B4-BE49-F238E27FC236}">
                  <a16:creationId xmlns:a16="http://schemas.microsoft.com/office/drawing/2014/main" id="{CAF2D26D-EEE6-EEFE-E85C-4A9649355CD9}"/>
                </a:ext>
              </a:extLst>
            </p:cNvPr>
            <p:cNvSpPr/>
            <p:nvPr/>
          </p:nvSpPr>
          <p:spPr>
            <a:xfrm>
              <a:off x="2050606" y="4092334"/>
              <a:ext cx="115377" cy="103595"/>
            </a:xfrm>
            <a:custGeom>
              <a:avLst/>
              <a:gdLst>
                <a:gd name="connsiteX0" fmla="*/ 5058 w 115377"/>
                <a:gd name="connsiteY0" fmla="*/ 81347 h 103595"/>
                <a:gd name="connsiteX1" fmla="*/ 0 w 115377"/>
                <a:gd name="connsiteY1" fmla="*/ 57689 h 103595"/>
                <a:gd name="connsiteX2" fmla="*/ 57689 w 115377"/>
                <a:gd name="connsiteY2" fmla="*/ 0 h 103595"/>
                <a:gd name="connsiteX3" fmla="*/ 115378 w 115377"/>
                <a:gd name="connsiteY3" fmla="*/ 57689 h 103595"/>
                <a:gd name="connsiteX4" fmla="*/ 92629 w 115377"/>
                <a:gd name="connsiteY4" fmla="*/ 103595 h 1035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5377" h="103595">
                  <a:moveTo>
                    <a:pt x="5058" y="81347"/>
                  </a:moveTo>
                  <a:cubicBezTo>
                    <a:pt x="1806" y="74121"/>
                    <a:pt x="0" y="66115"/>
                    <a:pt x="0" y="57689"/>
                  </a:cubicBezTo>
                  <a:cubicBezTo>
                    <a:pt x="0" y="25826"/>
                    <a:pt x="25826" y="0"/>
                    <a:pt x="57689" y="0"/>
                  </a:cubicBezTo>
                  <a:cubicBezTo>
                    <a:pt x="89552" y="0"/>
                    <a:pt x="115378" y="25826"/>
                    <a:pt x="115378" y="57689"/>
                  </a:cubicBezTo>
                  <a:cubicBezTo>
                    <a:pt x="115378" y="76417"/>
                    <a:pt x="106451" y="93060"/>
                    <a:pt x="92629" y="103595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437" name="Gráfico 13">
            <a:extLst>
              <a:ext uri="{FF2B5EF4-FFF2-40B4-BE49-F238E27FC236}">
                <a16:creationId xmlns:a16="http://schemas.microsoft.com/office/drawing/2014/main" id="{59AAF774-1DDB-8839-86C3-A7A362E5903B}"/>
              </a:ext>
            </a:extLst>
          </p:cNvPr>
          <p:cNvGrpSpPr/>
          <p:nvPr/>
        </p:nvGrpSpPr>
        <p:grpSpPr>
          <a:xfrm>
            <a:off x="1945315" y="4674293"/>
            <a:ext cx="367791" cy="250053"/>
            <a:chOff x="1945315" y="4674293"/>
            <a:chExt cx="367791" cy="250053"/>
          </a:xfrm>
          <a:noFill/>
        </p:grpSpPr>
        <p:sp>
          <p:nvSpPr>
            <p:cNvPr id="1438" name="Forma livre: Forma 1437">
              <a:extLst>
                <a:ext uri="{FF2B5EF4-FFF2-40B4-BE49-F238E27FC236}">
                  <a16:creationId xmlns:a16="http://schemas.microsoft.com/office/drawing/2014/main" id="{FEB8E8D3-F77B-5EBD-7A8A-53DD5BC2E370}"/>
                </a:ext>
              </a:extLst>
            </p:cNvPr>
            <p:cNvSpPr/>
            <p:nvPr/>
          </p:nvSpPr>
          <p:spPr>
            <a:xfrm>
              <a:off x="1945315" y="4674293"/>
              <a:ext cx="355101" cy="246873"/>
            </a:xfrm>
            <a:custGeom>
              <a:avLst/>
              <a:gdLst>
                <a:gd name="connsiteX0" fmla="*/ 355102 w 355101"/>
                <a:gd name="connsiteY0" fmla="*/ 97593 h 246873"/>
                <a:gd name="connsiteX1" fmla="*/ 152107 w 355101"/>
                <a:gd name="connsiteY1" fmla="*/ 0 h 246873"/>
                <a:gd name="connsiteX2" fmla="*/ 11323 w 355101"/>
                <a:gd name="connsiteY2" fmla="*/ 107488 h 246873"/>
                <a:gd name="connsiteX3" fmla="*/ 7372 w 355101"/>
                <a:gd name="connsiteY3" fmla="*/ 146751 h 246873"/>
                <a:gd name="connsiteX4" fmla="*/ 216194 w 355101"/>
                <a:gd name="connsiteY4" fmla="*/ 246873 h 246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55101" h="246873">
                  <a:moveTo>
                    <a:pt x="355102" y="97593"/>
                  </a:moveTo>
                  <a:lnTo>
                    <a:pt x="152107" y="0"/>
                  </a:lnTo>
                  <a:lnTo>
                    <a:pt x="11323" y="107488"/>
                  </a:lnTo>
                  <a:cubicBezTo>
                    <a:pt x="-1334" y="117149"/>
                    <a:pt x="-4399" y="140120"/>
                    <a:pt x="7372" y="146751"/>
                  </a:cubicBezTo>
                  <a:lnTo>
                    <a:pt x="216194" y="246873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39" name="Forma livre: Forma 1438">
              <a:extLst>
                <a:ext uri="{FF2B5EF4-FFF2-40B4-BE49-F238E27FC236}">
                  <a16:creationId xmlns:a16="http://schemas.microsoft.com/office/drawing/2014/main" id="{3E376B93-5E03-F3D8-2653-5616E640839F}"/>
                </a:ext>
              </a:extLst>
            </p:cNvPr>
            <p:cNvSpPr/>
            <p:nvPr/>
          </p:nvSpPr>
          <p:spPr>
            <a:xfrm>
              <a:off x="2016098" y="4773296"/>
              <a:ext cx="142951" cy="68737"/>
            </a:xfrm>
            <a:custGeom>
              <a:avLst/>
              <a:gdLst>
                <a:gd name="connsiteX0" fmla="*/ 142952 w 142951"/>
                <a:gd name="connsiteY0" fmla="*/ 68737 h 68737"/>
                <a:gd name="connsiteX1" fmla="*/ 0 w 142951"/>
                <a:gd name="connsiteY1" fmla="*/ 0 h 687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42951" h="68737">
                  <a:moveTo>
                    <a:pt x="142952" y="68737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40" name="Forma livre: Forma 1439">
              <a:extLst>
                <a:ext uri="{FF2B5EF4-FFF2-40B4-BE49-F238E27FC236}">
                  <a16:creationId xmlns:a16="http://schemas.microsoft.com/office/drawing/2014/main" id="{BB5DE215-DFA7-94D9-24D9-2562654BB51A}"/>
                </a:ext>
              </a:extLst>
            </p:cNvPr>
            <p:cNvSpPr/>
            <p:nvPr/>
          </p:nvSpPr>
          <p:spPr>
            <a:xfrm>
              <a:off x="2124972" y="4791314"/>
              <a:ext cx="61453" cy="29555"/>
            </a:xfrm>
            <a:custGeom>
              <a:avLst/>
              <a:gdLst>
                <a:gd name="connsiteX0" fmla="*/ 61453 w 61453"/>
                <a:gd name="connsiteY0" fmla="*/ 29555 h 29555"/>
                <a:gd name="connsiteX1" fmla="*/ 0 w 61453"/>
                <a:gd name="connsiteY1" fmla="*/ 0 h 295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1453" h="29555">
                  <a:moveTo>
                    <a:pt x="61453" y="29555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41" name="Forma livre: Forma 1440">
              <a:extLst>
                <a:ext uri="{FF2B5EF4-FFF2-40B4-BE49-F238E27FC236}">
                  <a16:creationId xmlns:a16="http://schemas.microsoft.com/office/drawing/2014/main" id="{6FB67915-5C3F-92D3-A40A-3059871B2720}"/>
                </a:ext>
              </a:extLst>
            </p:cNvPr>
            <p:cNvSpPr/>
            <p:nvPr/>
          </p:nvSpPr>
          <p:spPr>
            <a:xfrm>
              <a:off x="2152640" y="4770289"/>
              <a:ext cx="61173" cy="29415"/>
            </a:xfrm>
            <a:custGeom>
              <a:avLst/>
              <a:gdLst>
                <a:gd name="connsiteX0" fmla="*/ 61173 w 61173"/>
                <a:gd name="connsiteY0" fmla="*/ 29415 h 29415"/>
                <a:gd name="connsiteX1" fmla="*/ 0 w 61173"/>
                <a:gd name="connsiteY1" fmla="*/ 0 h 294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1173" h="29415">
                  <a:moveTo>
                    <a:pt x="61173" y="29415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42" name="Forma livre: Forma 1441">
              <a:extLst>
                <a:ext uri="{FF2B5EF4-FFF2-40B4-BE49-F238E27FC236}">
                  <a16:creationId xmlns:a16="http://schemas.microsoft.com/office/drawing/2014/main" id="{735E4A33-3E38-C920-59D8-2A36A535C79D}"/>
                </a:ext>
              </a:extLst>
            </p:cNvPr>
            <p:cNvSpPr/>
            <p:nvPr/>
          </p:nvSpPr>
          <p:spPr>
            <a:xfrm>
              <a:off x="2179969" y="4749102"/>
              <a:ext cx="61220" cy="29427"/>
            </a:xfrm>
            <a:custGeom>
              <a:avLst/>
              <a:gdLst>
                <a:gd name="connsiteX0" fmla="*/ 61220 w 61220"/>
                <a:gd name="connsiteY0" fmla="*/ 29427 h 29427"/>
                <a:gd name="connsiteX1" fmla="*/ 0 w 61220"/>
                <a:gd name="connsiteY1" fmla="*/ 0 h 294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1220" h="29427">
                  <a:moveTo>
                    <a:pt x="61220" y="29427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43" name="Forma livre: Forma 1442">
              <a:extLst>
                <a:ext uri="{FF2B5EF4-FFF2-40B4-BE49-F238E27FC236}">
                  <a16:creationId xmlns:a16="http://schemas.microsoft.com/office/drawing/2014/main" id="{86A7A255-6DA4-A34A-C74F-4FCFAFC4395D}"/>
                </a:ext>
              </a:extLst>
            </p:cNvPr>
            <p:cNvSpPr/>
            <p:nvPr/>
          </p:nvSpPr>
          <p:spPr>
            <a:xfrm>
              <a:off x="1988722" y="4794472"/>
              <a:ext cx="142940" cy="68737"/>
            </a:xfrm>
            <a:custGeom>
              <a:avLst/>
              <a:gdLst>
                <a:gd name="connsiteX0" fmla="*/ 142940 w 142940"/>
                <a:gd name="connsiteY0" fmla="*/ 68737 h 68737"/>
                <a:gd name="connsiteX1" fmla="*/ 0 w 142940"/>
                <a:gd name="connsiteY1" fmla="*/ 0 h 687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42940" h="68737">
                  <a:moveTo>
                    <a:pt x="142940" y="68737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44" name="Forma livre: Forma 1443">
              <a:extLst>
                <a:ext uri="{FF2B5EF4-FFF2-40B4-BE49-F238E27FC236}">
                  <a16:creationId xmlns:a16="http://schemas.microsoft.com/office/drawing/2014/main" id="{C02CE57C-24C1-211B-A5CD-68A48D34ED46}"/>
                </a:ext>
              </a:extLst>
            </p:cNvPr>
            <p:cNvSpPr/>
            <p:nvPr/>
          </p:nvSpPr>
          <p:spPr>
            <a:xfrm>
              <a:off x="2149913" y="4771886"/>
              <a:ext cx="163193" cy="152460"/>
            </a:xfrm>
            <a:custGeom>
              <a:avLst/>
              <a:gdLst>
                <a:gd name="connsiteX0" fmla="*/ 34659 w 163193"/>
                <a:gd name="connsiteY0" fmla="*/ 120925 h 152460"/>
                <a:gd name="connsiteX1" fmla="*/ 141692 w 163193"/>
                <a:gd name="connsiteY1" fmla="*/ 38657 h 152460"/>
                <a:gd name="connsiteX2" fmla="*/ 160875 w 163193"/>
                <a:gd name="connsiteY2" fmla="*/ 39904 h 152460"/>
                <a:gd name="connsiteX3" fmla="*/ 157076 w 163193"/>
                <a:gd name="connsiteY3" fmla="*/ 58761 h 152460"/>
                <a:gd name="connsiteX4" fmla="*/ 43050 w 163193"/>
                <a:gd name="connsiteY4" fmla="*/ 145912 h 152460"/>
                <a:gd name="connsiteX5" fmla="*/ 4649 w 163193"/>
                <a:gd name="connsiteY5" fmla="*/ 143313 h 152460"/>
                <a:gd name="connsiteX6" fmla="*/ 12271 w 163193"/>
                <a:gd name="connsiteY6" fmla="*/ 105576 h 152460"/>
                <a:gd name="connsiteX7" fmla="*/ 150515 w 163193"/>
                <a:gd name="connsiteY7" fmla="*/ 0 h 1524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63193" h="152460">
                  <a:moveTo>
                    <a:pt x="34659" y="120925"/>
                  </a:moveTo>
                  <a:lnTo>
                    <a:pt x="141692" y="38657"/>
                  </a:lnTo>
                  <a:cubicBezTo>
                    <a:pt x="148009" y="33809"/>
                    <a:pt x="156645" y="34380"/>
                    <a:pt x="160875" y="39904"/>
                  </a:cubicBezTo>
                  <a:cubicBezTo>
                    <a:pt x="165094" y="45440"/>
                    <a:pt x="163393" y="53924"/>
                    <a:pt x="157076" y="58761"/>
                  </a:cubicBezTo>
                  <a:lnTo>
                    <a:pt x="43050" y="145912"/>
                  </a:lnTo>
                  <a:cubicBezTo>
                    <a:pt x="30394" y="155573"/>
                    <a:pt x="13122" y="154408"/>
                    <a:pt x="4649" y="143313"/>
                  </a:cubicBezTo>
                  <a:cubicBezTo>
                    <a:pt x="-3823" y="132218"/>
                    <a:pt x="-385" y="115238"/>
                    <a:pt x="12271" y="105576"/>
                  </a:cubicBezTo>
                  <a:lnTo>
                    <a:pt x="150515" y="0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45" name="Forma livre: Forma 1444">
              <a:extLst>
                <a:ext uri="{FF2B5EF4-FFF2-40B4-BE49-F238E27FC236}">
                  <a16:creationId xmlns:a16="http://schemas.microsoft.com/office/drawing/2014/main" id="{498C9FE2-BDF7-49F2-B9A0-D60176C6BBF6}"/>
                </a:ext>
              </a:extLst>
            </p:cNvPr>
            <p:cNvSpPr/>
            <p:nvPr/>
          </p:nvSpPr>
          <p:spPr>
            <a:xfrm>
              <a:off x="2043742" y="4709990"/>
              <a:ext cx="109958" cy="68737"/>
            </a:xfrm>
            <a:custGeom>
              <a:avLst/>
              <a:gdLst>
                <a:gd name="connsiteX0" fmla="*/ 37026 w 109958"/>
                <a:gd name="connsiteY0" fmla="*/ 13810 h 68737"/>
                <a:gd name="connsiteX1" fmla="*/ 0 w 109958"/>
                <a:gd name="connsiteY1" fmla="*/ 42305 h 68737"/>
                <a:gd name="connsiteX2" fmla="*/ 54985 w 109958"/>
                <a:gd name="connsiteY2" fmla="*/ 68737 h 68737"/>
                <a:gd name="connsiteX3" fmla="*/ 109958 w 109958"/>
                <a:gd name="connsiteY3" fmla="*/ 26432 h 68737"/>
                <a:gd name="connsiteX4" fmla="*/ 54973 w 109958"/>
                <a:gd name="connsiteY4" fmla="*/ 0 h 687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9958" h="68737">
                  <a:moveTo>
                    <a:pt x="37026" y="13810"/>
                  </a:moveTo>
                  <a:lnTo>
                    <a:pt x="0" y="42305"/>
                  </a:lnTo>
                  <a:lnTo>
                    <a:pt x="54985" y="68737"/>
                  </a:lnTo>
                  <a:lnTo>
                    <a:pt x="109958" y="26432"/>
                  </a:lnTo>
                  <a:lnTo>
                    <a:pt x="54973" y="0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446" name="Gráfico 13">
            <a:extLst>
              <a:ext uri="{FF2B5EF4-FFF2-40B4-BE49-F238E27FC236}">
                <a16:creationId xmlns:a16="http://schemas.microsoft.com/office/drawing/2014/main" id="{E29C5137-E235-21B2-7835-E399EE4D24EE}"/>
              </a:ext>
            </a:extLst>
          </p:cNvPr>
          <p:cNvGrpSpPr/>
          <p:nvPr/>
        </p:nvGrpSpPr>
        <p:grpSpPr>
          <a:xfrm>
            <a:off x="1966369" y="3609846"/>
            <a:ext cx="325691" cy="279412"/>
            <a:chOff x="1966369" y="3609846"/>
            <a:chExt cx="325691" cy="279412"/>
          </a:xfrm>
          <a:noFill/>
        </p:grpSpPr>
        <p:sp>
          <p:nvSpPr>
            <p:cNvPr id="1447" name="Forma livre: Forma 1446">
              <a:extLst>
                <a:ext uri="{FF2B5EF4-FFF2-40B4-BE49-F238E27FC236}">
                  <a16:creationId xmlns:a16="http://schemas.microsoft.com/office/drawing/2014/main" id="{376CFA31-094B-D5B7-DDFB-51A3A01946E0}"/>
                </a:ext>
              </a:extLst>
            </p:cNvPr>
            <p:cNvSpPr/>
            <p:nvPr/>
          </p:nvSpPr>
          <p:spPr>
            <a:xfrm>
              <a:off x="1966369" y="3889083"/>
              <a:ext cx="258807" cy="1165"/>
            </a:xfrm>
            <a:custGeom>
              <a:avLst/>
              <a:gdLst>
                <a:gd name="connsiteX0" fmla="*/ 258807 w 258807"/>
                <a:gd name="connsiteY0" fmla="*/ 0 h 1165"/>
                <a:gd name="connsiteX1" fmla="*/ 0 w 258807"/>
                <a:gd name="connsiteY1" fmla="*/ 0 h 11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58807" h="1165">
                  <a:moveTo>
                    <a:pt x="258807" y="0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48" name="Forma livre: Forma 1447">
              <a:extLst>
                <a:ext uri="{FF2B5EF4-FFF2-40B4-BE49-F238E27FC236}">
                  <a16:creationId xmlns:a16="http://schemas.microsoft.com/office/drawing/2014/main" id="{F330EC26-A83A-4507-B452-FCBBC6190381}"/>
                </a:ext>
              </a:extLst>
            </p:cNvPr>
            <p:cNvSpPr/>
            <p:nvPr/>
          </p:nvSpPr>
          <p:spPr>
            <a:xfrm>
              <a:off x="2245222" y="3889071"/>
              <a:ext cx="12493" cy="1165"/>
            </a:xfrm>
            <a:custGeom>
              <a:avLst/>
              <a:gdLst>
                <a:gd name="connsiteX0" fmla="*/ 12493 w 12493"/>
                <a:gd name="connsiteY0" fmla="*/ 0 h 1165"/>
                <a:gd name="connsiteX1" fmla="*/ 0 w 12493"/>
                <a:gd name="connsiteY1" fmla="*/ 0 h 11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493" h="1165">
                  <a:moveTo>
                    <a:pt x="12493" y="0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449" name="Gráfico 13">
              <a:extLst>
                <a:ext uri="{FF2B5EF4-FFF2-40B4-BE49-F238E27FC236}">
                  <a16:creationId xmlns:a16="http://schemas.microsoft.com/office/drawing/2014/main" id="{565C0C12-F51B-0CE8-1D23-BA2520662CE0}"/>
                </a:ext>
              </a:extLst>
            </p:cNvPr>
            <p:cNvGrpSpPr/>
            <p:nvPr/>
          </p:nvGrpSpPr>
          <p:grpSpPr>
            <a:xfrm>
              <a:off x="2170704" y="3609846"/>
              <a:ext cx="121356" cy="121181"/>
              <a:chOff x="2170704" y="3609846"/>
              <a:chExt cx="121356" cy="121181"/>
            </a:xfrm>
            <a:noFill/>
          </p:grpSpPr>
          <p:sp>
            <p:nvSpPr>
              <p:cNvPr id="1450" name="Forma livre: Forma 1449">
                <a:extLst>
                  <a:ext uri="{FF2B5EF4-FFF2-40B4-BE49-F238E27FC236}">
                    <a16:creationId xmlns:a16="http://schemas.microsoft.com/office/drawing/2014/main" id="{D5706385-7DC9-62F7-361A-D55431C0CEDF}"/>
                  </a:ext>
                </a:extLst>
              </p:cNvPr>
              <p:cNvSpPr/>
              <p:nvPr/>
            </p:nvSpPr>
            <p:spPr>
              <a:xfrm>
                <a:off x="2170704" y="3670436"/>
                <a:ext cx="121356" cy="1165"/>
              </a:xfrm>
              <a:custGeom>
                <a:avLst/>
                <a:gdLst>
                  <a:gd name="connsiteX0" fmla="*/ 121356 w 121356"/>
                  <a:gd name="connsiteY0" fmla="*/ 0 h 1165"/>
                  <a:gd name="connsiteX1" fmla="*/ 0 w 121356"/>
                  <a:gd name="connsiteY1" fmla="*/ 0 h 11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1356" h="1165">
                    <a:moveTo>
                      <a:pt x="121356" y="0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1451" name="Gráfico 13">
                <a:extLst>
                  <a:ext uri="{FF2B5EF4-FFF2-40B4-BE49-F238E27FC236}">
                    <a16:creationId xmlns:a16="http://schemas.microsoft.com/office/drawing/2014/main" id="{999DAF19-DFDC-2F7B-43F0-E2F44942BF49}"/>
                  </a:ext>
                </a:extLst>
              </p:cNvPr>
              <p:cNvGrpSpPr/>
              <p:nvPr/>
            </p:nvGrpSpPr>
            <p:grpSpPr>
              <a:xfrm>
                <a:off x="2209070" y="3610638"/>
                <a:ext cx="44612" cy="119596"/>
                <a:chOff x="2209070" y="3610638"/>
                <a:chExt cx="44612" cy="119596"/>
              </a:xfrm>
              <a:noFill/>
            </p:grpSpPr>
            <p:grpSp>
              <p:nvGrpSpPr>
                <p:cNvPr id="1452" name="Gráfico 13">
                  <a:extLst>
                    <a:ext uri="{FF2B5EF4-FFF2-40B4-BE49-F238E27FC236}">
                      <a16:creationId xmlns:a16="http://schemas.microsoft.com/office/drawing/2014/main" id="{C1B3C599-D65F-7682-9AA0-5FA1D5130C9A}"/>
                    </a:ext>
                  </a:extLst>
                </p:cNvPr>
                <p:cNvGrpSpPr/>
                <p:nvPr/>
              </p:nvGrpSpPr>
              <p:grpSpPr>
                <a:xfrm>
                  <a:off x="2209070" y="3670658"/>
                  <a:ext cx="44612" cy="59576"/>
                  <a:chOff x="2209070" y="3670658"/>
                  <a:chExt cx="44612" cy="59576"/>
                </a:xfrm>
                <a:noFill/>
              </p:grpSpPr>
              <p:sp>
                <p:nvSpPr>
                  <p:cNvPr id="1453" name="Forma livre: Forma 1452">
                    <a:extLst>
                      <a:ext uri="{FF2B5EF4-FFF2-40B4-BE49-F238E27FC236}">
                        <a16:creationId xmlns:a16="http://schemas.microsoft.com/office/drawing/2014/main" id="{FF0BA89B-9E7A-8B6D-8D15-58B86BDAC6EF}"/>
                      </a:ext>
                    </a:extLst>
                  </p:cNvPr>
                  <p:cNvSpPr/>
                  <p:nvPr/>
                </p:nvSpPr>
                <p:spPr>
                  <a:xfrm>
                    <a:off x="2209070" y="3670658"/>
                    <a:ext cx="20488" cy="59576"/>
                  </a:xfrm>
                  <a:custGeom>
                    <a:avLst/>
                    <a:gdLst>
                      <a:gd name="connsiteX0" fmla="*/ 0 w 20488"/>
                      <a:gd name="connsiteY0" fmla="*/ 0 h 59576"/>
                      <a:gd name="connsiteX1" fmla="*/ 20488 w 20488"/>
                      <a:gd name="connsiteY1" fmla="*/ 59577 h 5957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20488" h="59576">
                        <a:moveTo>
                          <a:pt x="0" y="0"/>
                        </a:moveTo>
                        <a:cubicBezTo>
                          <a:pt x="396" y="17272"/>
                          <a:pt x="5687" y="37480"/>
                          <a:pt x="20488" y="59577"/>
                        </a:cubicBezTo>
                      </a:path>
                    </a:pathLst>
                  </a:custGeom>
                  <a:noFill/>
                  <a:ln w="6350" cap="flat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1454" name="Forma livre: Forma 1453">
                    <a:extLst>
                      <a:ext uri="{FF2B5EF4-FFF2-40B4-BE49-F238E27FC236}">
                        <a16:creationId xmlns:a16="http://schemas.microsoft.com/office/drawing/2014/main" id="{37DA7665-D30A-6D2D-AC62-C99136853CD6}"/>
                      </a:ext>
                    </a:extLst>
                  </p:cNvPr>
                  <p:cNvSpPr/>
                  <p:nvPr/>
                </p:nvSpPr>
                <p:spPr>
                  <a:xfrm>
                    <a:off x="2233206" y="3671334"/>
                    <a:ext cx="20476" cy="58900"/>
                  </a:xfrm>
                  <a:custGeom>
                    <a:avLst/>
                    <a:gdLst>
                      <a:gd name="connsiteX0" fmla="*/ 20477 w 20476"/>
                      <a:gd name="connsiteY0" fmla="*/ 0 h 58900"/>
                      <a:gd name="connsiteX1" fmla="*/ 0 w 20476"/>
                      <a:gd name="connsiteY1" fmla="*/ 58901 h 5890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20476" h="58900">
                        <a:moveTo>
                          <a:pt x="20477" y="0"/>
                        </a:moveTo>
                        <a:cubicBezTo>
                          <a:pt x="19976" y="17120"/>
                          <a:pt x="14603" y="37084"/>
                          <a:pt x="0" y="58901"/>
                        </a:cubicBezTo>
                      </a:path>
                    </a:pathLst>
                  </a:custGeom>
                  <a:noFill/>
                  <a:ln w="6350" cap="flat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  <p:grpSp>
              <p:nvGrpSpPr>
                <p:cNvPr id="1455" name="Gráfico 13">
                  <a:extLst>
                    <a:ext uri="{FF2B5EF4-FFF2-40B4-BE49-F238E27FC236}">
                      <a16:creationId xmlns:a16="http://schemas.microsoft.com/office/drawing/2014/main" id="{9153359D-62A7-1809-C192-BFDEDF638BA1}"/>
                    </a:ext>
                  </a:extLst>
                </p:cNvPr>
                <p:cNvGrpSpPr/>
                <p:nvPr/>
              </p:nvGrpSpPr>
              <p:grpSpPr>
                <a:xfrm>
                  <a:off x="2209070" y="3610638"/>
                  <a:ext cx="44612" cy="59576"/>
                  <a:chOff x="2209070" y="3610638"/>
                  <a:chExt cx="44612" cy="59576"/>
                </a:xfrm>
                <a:noFill/>
              </p:grpSpPr>
              <p:sp>
                <p:nvSpPr>
                  <p:cNvPr id="1456" name="Forma livre: Forma 1455">
                    <a:extLst>
                      <a:ext uri="{FF2B5EF4-FFF2-40B4-BE49-F238E27FC236}">
                        <a16:creationId xmlns:a16="http://schemas.microsoft.com/office/drawing/2014/main" id="{DC4D55D4-DB30-3161-F374-647E860EC066}"/>
                      </a:ext>
                    </a:extLst>
                  </p:cNvPr>
                  <p:cNvSpPr/>
                  <p:nvPr/>
                </p:nvSpPr>
                <p:spPr>
                  <a:xfrm>
                    <a:off x="2233194" y="3610638"/>
                    <a:ext cx="20488" cy="59576"/>
                  </a:xfrm>
                  <a:custGeom>
                    <a:avLst/>
                    <a:gdLst>
                      <a:gd name="connsiteX0" fmla="*/ 20488 w 20488"/>
                      <a:gd name="connsiteY0" fmla="*/ 59577 h 59576"/>
                      <a:gd name="connsiteX1" fmla="*/ 0 w 20488"/>
                      <a:gd name="connsiteY1" fmla="*/ 0 h 5957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20488" h="59576">
                        <a:moveTo>
                          <a:pt x="20488" y="59577"/>
                        </a:moveTo>
                        <a:cubicBezTo>
                          <a:pt x="20092" y="42305"/>
                          <a:pt x="14801" y="22097"/>
                          <a:pt x="0" y="0"/>
                        </a:cubicBezTo>
                      </a:path>
                    </a:pathLst>
                  </a:custGeom>
                  <a:noFill/>
                  <a:ln w="6350" cap="flat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1457" name="Forma livre: Forma 1456">
                    <a:extLst>
                      <a:ext uri="{FF2B5EF4-FFF2-40B4-BE49-F238E27FC236}">
                        <a16:creationId xmlns:a16="http://schemas.microsoft.com/office/drawing/2014/main" id="{690ACC3E-D396-42C4-B1D1-AD822223A776}"/>
                      </a:ext>
                    </a:extLst>
                  </p:cNvPr>
                  <p:cNvSpPr/>
                  <p:nvPr/>
                </p:nvSpPr>
                <p:spPr>
                  <a:xfrm>
                    <a:off x="2209070" y="3610638"/>
                    <a:ext cx="20476" cy="58900"/>
                  </a:xfrm>
                  <a:custGeom>
                    <a:avLst/>
                    <a:gdLst>
                      <a:gd name="connsiteX0" fmla="*/ 0 w 20476"/>
                      <a:gd name="connsiteY0" fmla="*/ 58901 h 58900"/>
                      <a:gd name="connsiteX1" fmla="*/ 20477 w 20476"/>
                      <a:gd name="connsiteY1" fmla="*/ 0 h 5890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20476" h="58900">
                        <a:moveTo>
                          <a:pt x="0" y="58901"/>
                        </a:moveTo>
                        <a:cubicBezTo>
                          <a:pt x="501" y="41781"/>
                          <a:pt x="5874" y="21817"/>
                          <a:pt x="20477" y="0"/>
                        </a:cubicBezTo>
                      </a:path>
                    </a:pathLst>
                  </a:custGeom>
                  <a:noFill/>
                  <a:ln w="6350" cap="flat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</p:grpSp>
          <p:sp>
            <p:nvSpPr>
              <p:cNvPr id="1458" name="Forma livre: Forma 1457">
                <a:extLst>
                  <a:ext uri="{FF2B5EF4-FFF2-40B4-BE49-F238E27FC236}">
                    <a16:creationId xmlns:a16="http://schemas.microsoft.com/office/drawing/2014/main" id="{5C63F7E9-B09D-0336-795F-4B056A1D129A}"/>
                  </a:ext>
                </a:extLst>
              </p:cNvPr>
              <p:cNvSpPr/>
              <p:nvPr/>
            </p:nvSpPr>
            <p:spPr>
              <a:xfrm>
                <a:off x="2170785" y="3609846"/>
                <a:ext cx="121181" cy="121181"/>
              </a:xfrm>
              <a:custGeom>
                <a:avLst/>
                <a:gdLst>
                  <a:gd name="connsiteX0" fmla="*/ 121182 w 121181"/>
                  <a:gd name="connsiteY0" fmla="*/ 60591 h 121181"/>
                  <a:gd name="connsiteX1" fmla="*/ 60591 w 121181"/>
                  <a:gd name="connsiteY1" fmla="*/ 121182 h 121181"/>
                  <a:gd name="connsiteX2" fmla="*/ 0 w 121181"/>
                  <a:gd name="connsiteY2" fmla="*/ 60591 h 121181"/>
                  <a:gd name="connsiteX3" fmla="*/ 60591 w 121181"/>
                  <a:gd name="connsiteY3" fmla="*/ 0 h 121181"/>
                  <a:gd name="connsiteX4" fmla="*/ 121182 w 121181"/>
                  <a:gd name="connsiteY4" fmla="*/ 60591 h 1211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1181" h="121181">
                    <a:moveTo>
                      <a:pt x="121182" y="60591"/>
                    </a:moveTo>
                    <a:cubicBezTo>
                      <a:pt x="121182" y="94050"/>
                      <a:pt x="94050" y="121182"/>
                      <a:pt x="60591" y="121182"/>
                    </a:cubicBezTo>
                    <a:cubicBezTo>
                      <a:pt x="27131" y="121182"/>
                      <a:pt x="0" y="94050"/>
                      <a:pt x="0" y="60591"/>
                    </a:cubicBezTo>
                    <a:cubicBezTo>
                      <a:pt x="0" y="27131"/>
                      <a:pt x="27131" y="0"/>
                      <a:pt x="60591" y="0"/>
                    </a:cubicBezTo>
                    <a:cubicBezTo>
                      <a:pt x="94050" y="0"/>
                      <a:pt x="121182" y="27131"/>
                      <a:pt x="121182" y="60591"/>
                    </a:cubicBezTo>
                    <a:close/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459" name="Gráfico 13">
              <a:extLst>
                <a:ext uri="{FF2B5EF4-FFF2-40B4-BE49-F238E27FC236}">
                  <a16:creationId xmlns:a16="http://schemas.microsoft.com/office/drawing/2014/main" id="{C50F793C-E76F-C628-B1D9-2BE3A6B76437}"/>
                </a:ext>
              </a:extLst>
            </p:cNvPr>
            <p:cNvGrpSpPr/>
            <p:nvPr/>
          </p:nvGrpSpPr>
          <p:grpSpPr>
            <a:xfrm>
              <a:off x="2053633" y="3612608"/>
              <a:ext cx="84776" cy="112872"/>
              <a:chOff x="2053633" y="3612608"/>
              <a:chExt cx="84776" cy="112872"/>
            </a:xfrm>
            <a:noFill/>
          </p:grpSpPr>
          <p:sp>
            <p:nvSpPr>
              <p:cNvPr id="1460" name="Forma livre: Forma 1459">
                <a:extLst>
                  <a:ext uri="{FF2B5EF4-FFF2-40B4-BE49-F238E27FC236}">
                    <a16:creationId xmlns:a16="http://schemas.microsoft.com/office/drawing/2014/main" id="{71D81E71-6BEC-5D94-B703-BB34171E1D11}"/>
                  </a:ext>
                </a:extLst>
              </p:cNvPr>
              <p:cNvSpPr/>
              <p:nvPr/>
            </p:nvSpPr>
            <p:spPr>
              <a:xfrm>
                <a:off x="2053633" y="3612608"/>
                <a:ext cx="84776" cy="112872"/>
              </a:xfrm>
              <a:custGeom>
                <a:avLst/>
                <a:gdLst>
                  <a:gd name="connsiteX0" fmla="*/ 42390 w 84776"/>
                  <a:gd name="connsiteY0" fmla="*/ 0 h 112872"/>
                  <a:gd name="connsiteX1" fmla="*/ 877 w 84776"/>
                  <a:gd name="connsiteY1" fmla="*/ 56442 h 112872"/>
                  <a:gd name="connsiteX2" fmla="*/ 42390 w 84776"/>
                  <a:gd name="connsiteY2" fmla="*/ 112872 h 112872"/>
                  <a:gd name="connsiteX3" fmla="*/ 83903 w 84776"/>
                  <a:gd name="connsiteY3" fmla="*/ 56442 h 112872"/>
                  <a:gd name="connsiteX4" fmla="*/ 42390 w 84776"/>
                  <a:gd name="connsiteY4" fmla="*/ 0 h 1128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4776" h="112872">
                    <a:moveTo>
                      <a:pt x="42390" y="0"/>
                    </a:moveTo>
                    <a:cubicBezTo>
                      <a:pt x="271" y="0"/>
                      <a:pt x="-2071" y="25476"/>
                      <a:pt x="877" y="56442"/>
                    </a:cubicBezTo>
                    <a:cubicBezTo>
                      <a:pt x="3837" y="87466"/>
                      <a:pt x="23323" y="112872"/>
                      <a:pt x="42390" y="112872"/>
                    </a:cubicBezTo>
                    <a:cubicBezTo>
                      <a:pt x="61456" y="112872"/>
                      <a:pt x="80966" y="87477"/>
                      <a:pt x="83903" y="56442"/>
                    </a:cubicBezTo>
                    <a:cubicBezTo>
                      <a:pt x="86839" y="25476"/>
                      <a:pt x="84520" y="0"/>
                      <a:pt x="42390" y="0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461" name="Forma livre: Forma 1460">
                <a:extLst>
                  <a:ext uri="{FF2B5EF4-FFF2-40B4-BE49-F238E27FC236}">
                    <a16:creationId xmlns:a16="http://schemas.microsoft.com/office/drawing/2014/main" id="{A5D845AB-312C-7827-29FF-A2F91A6D32A5}"/>
                  </a:ext>
                </a:extLst>
              </p:cNvPr>
              <p:cNvSpPr/>
              <p:nvPr/>
            </p:nvSpPr>
            <p:spPr>
              <a:xfrm>
                <a:off x="2076933" y="3644809"/>
                <a:ext cx="60159" cy="15943"/>
              </a:xfrm>
              <a:custGeom>
                <a:avLst/>
                <a:gdLst>
                  <a:gd name="connsiteX0" fmla="*/ 60160 w 60159"/>
                  <a:gd name="connsiteY0" fmla="*/ 15943 h 15943"/>
                  <a:gd name="connsiteX1" fmla="*/ 33564 w 60159"/>
                  <a:gd name="connsiteY1" fmla="*/ 0 h 15943"/>
                  <a:gd name="connsiteX2" fmla="*/ 0 w 60159"/>
                  <a:gd name="connsiteY2" fmla="*/ 13857 h 159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60159" h="15943">
                    <a:moveTo>
                      <a:pt x="60160" y="15943"/>
                    </a:moveTo>
                    <a:cubicBezTo>
                      <a:pt x="42363" y="11305"/>
                      <a:pt x="33564" y="0"/>
                      <a:pt x="33564" y="0"/>
                    </a:cubicBezTo>
                    <a:cubicBezTo>
                      <a:pt x="29042" y="5209"/>
                      <a:pt x="16025" y="12866"/>
                      <a:pt x="0" y="13857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462" name="Gráfico 13">
              <a:extLst>
                <a:ext uri="{FF2B5EF4-FFF2-40B4-BE49-F238E27FC236}">
                  <a16:creationId xmlns:a16="http://schemas.microsoft.com/office/drawing/2014/main" id="{B5DD1B9F-CD77-F6EF-9F3E-82AAC0F513F0}"/>
                </a:ext>
              </a:extLst>
            </p:cNvPr>
            <p:cNvGrpSpPr/>
            <p:nvPr/>
          </p:nvGrpSpPr>
          <p:grpSpPr>
            <a:xfrm>
              <a:off x="1992133" y="3739558"/>
              <a:ext cx="207768" cy="149699"/>
              <a:chOff x="1992133" y="3739558"/>
              <a:chExt cx="207768" cy="149699"/>
            </a:xfrm>
            <a:noFill/>
          </p:grpSpPr>
          <p:grpSp>
            <p:nvGrpSpPr>
              <p:cNvPr id="1463" name="Gráfico 13">
                <a:extLst>
                  <a:ext uri="{FF2B5EF4-FFF2-40B4-BE49-F238E27FC236}">
                    <a16:creationId xmlns:a16="http://schemas.microsoft.com/office/drawing/2014/main" id="{1EAEFB6D-67CF-D6D5-6A56-23C21F3F3135}"/>
                  </a:ext>
                </a:extLst>
              </p:cNvPr>
              <p:cNvGrpSpPr/>
              <p:nvPr/>
            </p:nvGrpSpPr>
            <p:grpSpPr>
              <a:xfrm>
                <a:off x="2036749" y="3807748"/>
                <a:ext cx="118536" cy="81510"/>
                <a:chOff x="2036749" y="3807748"/>
                <a:chExt cx="118536" cy="81510"/>
              </a:xfrm>
              <a:noFill/>
            </p:grpSpPr>
            <p:sp>
              <p:nvSpPr>
                <p:cNvPr id="1464" name="Forma livre: Forma 1463">
                  <a:extLst>
                    <a:ext uri="{FF2B5EF4-FFF2-40B4-BE49-F238E27FC236}">
                      <a16:creationId xmlns:a16="http://schemas.microsoft.com/office/drawing/2014/main" id="{25F176E2-31A2-41ED-E8CA-874656FC1BAE}"/>
                    </a:ext>
                  </a:extLst>
                </p:cNvPr>
                <p:cNvSpPr/>
                <p:nvPr/>
              </p:nvSpPr>
              <p:spPr>
                <a:xfrm>
                  <a:off x="2036749" y="3807748"/>
                  <a:ext cx="64599" cy="81510"/>
                </a:xfrm>
                <a:custGeom>
                  <a:avLst/>
                  <a:gdLst>
                    <a:gd name="connsiteX0" fmla="*/ 2890 w 64599"/>
                    <a:gd name="connsiteY0" fmla="*/ 0 h 81510"/>
                    <a:gd name="connsiteX1" fmla="*/ 0 w 64599"/>
                    <a:gd name="connsiteY1" fmla="*/ 43750 h 81510"/>
                    <a:gd name="connsiteX2" fmla="*/ 42643 w 64599"/>
                    <a:gd name="connsiteY2" fmla="*/ 43750 h 81510"/>
                    <a:gd name="connsiteX3" fmla="*/ 64600 w 64599"/>
                    <a:gd name="connsiteY3" fmla="*/ 76988 h 81510"/>
                    <a:gd name="connsiteX4" fmla="*/ 64600 w 64599"/>
                    <a:gd name="connsiteY4" fmla="*/ 81510 h 8151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64599" h="81510">
                      <a:moveTo>
                        <a:pt x="2890" y="0"/>
                      </a:moveTo>
                      <a:lnTo>
                        <a:pt x="0" y="43750"/>
                      </a:lnTo>
                      <a:lnTo>
                        <a:pt x="42643" y="43750"/>
                      </a:lnTo>
                      <a:cubicBezTo>
                        <a:pt x="42643" y="43750"/>
                        <a:pt x="64600" y="43750"/>
                        <a:pt x="64600" y="76988"/>
                      </a:cubicBezTo>
                      <a:lnTo>
                        <a:pt x="64600" y="81510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465" name="Forma livre: Forma 1464">
                  <a:extLst>
                    <a:ext uri="{FF2B5EF4-FFF2-40B4-BE49-F238E27FC236}">
                      <a16:creationId xmlns:a16="http://schemas.microsoft.com/office/drawing/2014/main" id="{366045C5-1C64-F526-3BB9-B4465E3CFAA5}"/>
                    </a:ext>
                  </a:extLst>
                </p:cNvPr>
                <p:cNvSpPr/>
                <p:nvPr/>
              </p:nvSpPr>
              <p:spPr>
                <a:xfrm>
                  <a:off x="2115334" y="3807748"/>
                  <a:ext cx="39951" cy="43750"/>
                </a:xfrm>
                <a:custGeom>
                  <a:avLst/>
                  <a:gdLst>
                    <a:gd name="connsiteX0" fmla="*/ 37061 w 39951"/>
                    <a:gd name="connsiteY0" fmla="*/ 0 h 43750"/>
                    <a:gd name="connsiteX1" fmla="*/ 39951 w 39951"/>
                    <a:gd name="connsiteY1" fmla="*/ 43750 h 43750"/>
                    <a:gd name="connsiteX2" fmla="*/ 0 w 39951"/>
                    <a:gd name="connsiteY2" fmla="*/ 43750 h 437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39951" h="43750">
                      <a:moveTo>
                        <a:pt x="37061" y="0"/>
                      </a:moveTo>
                      <a:lnTo>
                        <a:pt x="39951" y="43750"/>
                      </a:lnTo>
                      <a:lnTo>
                        <a:pt x="0" y="43750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1466" name="Gráfico 13">
                <a:extLst>
                  <a:ext uri="{FF2B5EF4-FFF2-40B4-BE49-F238E27FC236}">
                    <a16:creationId xmlns:a16="http://schemas.microsoft.com/office/drawing/2014/main" id="{FBA35677-39FC-D797-7001-1CD8BFD7EF75}"/>
                  </a:ext>
                </a:extLst>
              </p:cNvPr>
              <p:cNvGrpSpPr/>
              <p:nvPr/>
            </p:nvGrpSpPr>
            <p:grpSpPr>
              <a:xfrm>
                <a:off x="2072598" y="3766002"/>
                <a:ext cx="46827" cy="69133"/>
                <a:chOff x="2072598" y="3766002"/>
                <a:chExt cx="46827" cy="69133"/>
              </a:xfrm>
              <a:noFill/>
            </p:grpSpPr>
            <p:sp>
              <p:nvSpPr>
                <p:cNvPr id="1467" name="Forma livre: Forma 1466">
                  <a:extLst>
                    <a:ext uri="{FF2B5EF4-FFF2-40B4-BE49-F238E27FC236}">
                      <a16:creationId xmlns:a16="http://schemas.microsoft.com/office/drawing/2014/main" id="{638782D3-0D35-C943-AAFE-D2040A243412}"/>
                    </a:ext>
                  </a:extLst>
                </p:cNvPr>
                <p:cNvSpPr/>
                <p:nvPr/>
              </p:nvSpPr>
              <p:spPr>
                <a:xfrm>
                  <a:off x="2072598" y="3766002"/>
                  <a:ext cx="11969" cy="69133"/>
                </a:xfrm>
                <a:custGeom>
                  <a:avLst/>
                  <a:gdLst>
                    <a:gd name="connsiteX0" fmla="*/ 0 w 11969"/>
                    <a:gd name="connsiteY0" fmla="*/ 0 h 69133"/>
                    <a:gd name="connsiteX1" fmla="*/ 11969 w 11969"/>
                    <a:gd name="connsiteY1" fmla="*/ 18064 h 69133"/>
                    <a:gd name="connsiteX2" fmla="*/ 6107 w 11969"/>
                    <a:gd name="connsiteY2" fmla="*/ 69133 h 691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1969" h="69133">
                      <a:moveTo>
                        <a:pt x="0" y="0"/>
                      </a:moveTo>
                      <a:lnTo>
                        <a:pt x="11969" y="18064"/>
                      </a:lnTo>
                      <a:lnTo>
                        <a:pt x="6107" y="69133"/>
                      </a:ln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468" name="Forma livre: Forma 1467">
                  <a:extLst>
                    <a:ext uri="{FF2B5EF4-FFF2-40B4-BE49-F238E27FC236}">
                      <a16:creationId xmlns:a16="http://schemas.microsoft.com/office/drawing/2014/main" id="{07AA8F74-6F17-0FA9-10F3-3FE47C778E4B}"/>
                    </a:ext>
                  </a:extLst>
                </p:cNvPr>
                <p:cNvSpPr/>
                <p:nvPr/>
              </p:nvSpPr>
              <p:spPr>
                <a:xfrm>
                  <a:off x="2107467" y="3766002"/>
                  <a:ext cx="11957" cy="69133"/>
                </a:xfrm>
                <a:custGeom>
                  <a:avLst/>
                  <a:gdLst>
                    <a:gd name="connsiteX0" fmla="*/ 11957 w 11957"/>
                    <a:gd name="connsiteY0" fmla="*/ 0 h 69133"/>
                    <a:gd name="connsiteX1" fmla="*/ 0 w 11957"/>
                    <a:gd name="connsiteY1" fmla="*/ 18064 h 69133"/>
                    <a:gd name="connsiteX2" fmla="*/ 5862 w 11957"/>
                    <a:gd name="connsiteY2" fmla="*/ 69133 h 691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1957" h="69133">
                      <a:moveTo>
                        <a:pt x="11957" y="0"/>
                      </a:moveTo>
                      <a:lnTo>
                        <a:pt x="0" y="18064"/>
                      </a:lnTo>
                      <a:lnTo>
                        <a:pt x="5862" y="69133"/>
                      </a:ln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1469" name="Forma livre: Forma 1468">
                <a:extLst>
                  <a:ext uri="{FF2B5EF4-FFF2-40B4-BE49-F238E27FC236}">
                    <a16:creationId xmlns:a16="http://schemas.microsoft.com/office/drawing/2014/main" id="{EA7E08DA-0BE2-BC70-4D1E-9B3C9D4E6F2C}"/>
                  </a:ext>
                </a:extLst>
              </p:cNvPr>
              <p:cNvSpPr/>
              <p:nvPr/>
            </p:nvSpPr>
            <p:spPr>
              <a:xfrm>
                <a:off x="1992133" y="3739558"/>
                <a:ext cx="207768" cy="149524"/>
              </a:xfrm>
              <a:custGeom>
                <a:avLst/>
                <a:gdLst>
                  <a:gd name="connsiteX0" fmla="*/ 188885 w 207768"/>
                  <a:gd name="connsiteY0" fmla="*/ 149525 h 149524"/>
                  <a:gd name="connsiteX1" fmla="*/ 207602 w 207768"/>
                  <a:gd name="connsiteY1" fmla="*/ 122767 h 149524"/>
                  <a:gd name="connsiteX2" fmla="*/ 200621 w 207768"/>
                  <a:gd name="connsiteY2" fmla="*/ 37620 h 149524"/>
                  <a:gd name="connsiteX3" fmla="*/ 174748 w 207768"/>
                  <a:gd name="connsiteY3" fmla="*/ 7972 h 149524"/>
                  <a:gd name="connsiteX4" fmla="*/ 145345 w 207768"/>
                  <a:gd name="connsiteY4" fmla="*/ 0 h 149524"/>
                  <a:gd name="connsiteX5" fmla="*/ 137513 w 207768"/>
                  <a:gd name="connsiteY5" fmla="*/ 33052 h 149524"/>
                  <a:gd name="connsiteX6" fmla="*/ 103879 w 207768"/>
                  <a:gd name="connsiteY6" fmla="*/ 6806 h 149524"/>
                  <a:gd name="connsiteX7" fmla="*/ 70244 w 207768"/>
                  <a:gd name="connsiteY7" fmla="*/ 33052 h 149524"/>
                  <a:gd name="connsiteX8" fmla="*/ 62412 w 207768"/>
                  <a:gd name="connsiteY8" fmla="*/ 0 h 149524"/>
                  <a:gd name="connsiteX9" fmla="*/ 33009 w 207768"/>
                  <a:gd name="connsiteY9" fmla="*/ 7972 h 149524"/>
                  <a:gd name="connsiteX10" fmla="*/ 7136 w 207768"/>
                  <a:gd name="connsiteY10" fmla="*/ 37620 h 149524"/>
                  <a:gd name="connsiteX11" fmla="*/ 167 w 207768"/>
                  <a:gd name="connsiteY11" fmla="*/ 122767 h 149524"/>
                  <a:gd name="connsiteX12" fmla="*/ 18884 w 207768"/>
                  <a:gd name="connsiteY12" fmla="*/ 149525 h 1495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207768" h="149524">
                    <a:moveTo>
                      <a:pt x="188885" y="149525"/>
                    </a:moveTo>
                    <a:cubicBezTo>
                      <a:pt x="210830" y="149525"/>
                      <a:pt x="207602" y="122767"/>
                      <a:pt x="207602" y="122767"/>
                    </a:cubicBezTo>
                    <a:lnTo>
                      <a:pt x="200621" y="37620"/>
                    </a:lnTo>
                    <a:cubicBezTo>
                      <a:pt x="197894" y="16258"/>
                      <a:pt x="189561" y="10512"/>
                      <a:pt x="174748" y="7972"/>
                    </a:cubicBezTo>
                    <a:cubicBezTo>
                      <a:pt x="167581" y="6748"/>
                      <a:pt x="152943" y="2739"/>
                      <a:pt x="145345" y="0"/>
                    </a:cubicBezTo>
                    <a:lnTo>
                      <a:pt x="137513" y="33052"/>
                    </a:lnTo>
                    <a:lnTo>
                      <a:pt x="103879" y="6806"/>
                    </a:lnTo>
                    <a:lnTo>
                      <a:pt x="70244" y="33052"/>
                    </a:lnTo>
                    <a:lnTo>
                      <a:pt x="62412" y="0"/>
                    </a:lnTo>
                    <a:cubicBezTo>
                      <a:pt x="54814" y="2739"/>
                      <a:pt x="40164" y="6748"/>
                      <a:pt x="33009" y="7972"/>
                    </a:cubicBezTo>
                    <a:cubicBezTo>
                      <a:pt x="18196" y="10512"/>
                      <a:pt x="9863" y="16246"/>
                      <a:pt x="7136" y="37620"/>
                    </a:cubicBezTo>
                    <a:lnTo>
                      <a:pt x="167" y="122767"/>
                    </a:lnTo>
                    <a:cubicBezTo>
                      <a:pt x="167" y="122767"/>
                      <a:pt x="-3061" y="149525"/>
                      <a:pt x="18884" y="149525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471" name="Gráfico 14">
            <a:extLst>
              <a:ext uri="{FF2B5EF4-FFF2-40B4-BE49-F238E27FC236}">
                <a16:creationId xmlns:a16="http://schemas.microsoft.com/office/drawing/2014/main" id="{4747A621-0238-AC23-F51B-F713422A4030}"/>
              </a:ext>
            </a:extLst>
          </p:cNvPr>
          <p:cNvGrpSpPr/>
          <p:nvPr/>
        </p:nvGrpSpPr>
        <p:grpSpPr>
          <a:xfrm>
            <a:off x="3135570" y="3653611"/>
            <a:ext cx="295537" cy="276054"/>
            <a:chOff x="3135570" y="3653611"/>
            <a:chExt cx="295537" cy="276054"/>
          </a:xfrm>
          <a:noFill/>
        </p:grpSpPr>
        <p:grpSp>
          <p:nvGrpSpPr>
            <p:cNvPr id="1472" name="Gráfico 14">
              <a:extLst>
                <a:ext uri="{FF2B5EF4-FFF2-40B4-BE49-F238E27FC236}">
                  <a16:creationId xmlns:a16="http://schemas.microsoft.com/office/drawing/2014/main" id="{FE7A268A-E939-3448-79C7-A8A1E00B0367}"/>
                </a:ext>
              </a:extLst>
            </p:cNvPr>
            <p:cNvGrpSpPr/>
            <p:nvPr/>
          </p:nvGrpSpPr>
          <p:grpSpPr>
            <a:xfrm>
              <a:off x="3178309" y="3753887"/>
              <a:ext cx="111027" cy="136124"/>
              <a:chOff x="3178309" y="3753887"/>
              <a:chExt cx="111027" cy="136124"/>
            </a:xfrm>
          </p:grpSpPr>
          <p:sp>
            <p:nvSpPr>
              <p:cNvPr id="1473" name="Forma livre: Forma 1472">
                <a:extLst>
                  <a:ext uri="{FF2B5EF4-FFF2-40B4-BE49-F238E27FC236}">
                    <a16:creationId xmlns:a16="http://schemas.microsoft.com/office/drawing/2014/main" id="{99E8AAFC-031D-048D-C735-5F447B0BDB09}"/>
                  </a:ext>
                </a:extLst>
              </p:cNvPr>
              <p:cNvSpPr/>
              <p:nvPr/>
            </p:nvSpPr>
            <p:spPr>
              <a:xfrm>
                <a:off x="3178309" y="3787915"/>
                <a:ext cx="111027" cy="1159"/>
              </a:xfrm>
              <a:custGeom>
                <a:avLst/>
                <a:gdLst>
                  <a:gd name="connsiteX0" fmla="*/ 0 w 111027"/>
                  <a:gd name="connsiteY0" fmla="*/ 0 h 1159"/>
                  <a:gd name="connsiteX1" fmla="*/ 111027 w 111027"/>
                  <a:gd name="connsiteY1" fmla="*/ 0 h 11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1027" h="1159">
                    <a:moveTo>
                      <a:pt x="0" y="0"/>
                    </a:moveTo>
                    <a:lnTo>
                      <a:pt x="111027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474" name="Forma livre: Forma 1473">
                <a:extLst>
                  <a:ext uri="{FF2B5EF4-FFF2-40B4-BE49-F238E27FC236}">
                    <a16:creationId xmlns:a16="http://schemas.microsoft.com/office/drawing/2014/main" id="{14FE8F22-1A52-6FF6-63D9-2A8E077D4A29}"/>
                  </a:ext>
                </a:extLst>
              </p:cNvPr>
              <p:cNvSpPr/>
              <p:nvPr/>
            </p:nvSpPr>
            <p:spPr>
              <a:xfrm>
                <a:off x="3178309" y="3753887"/>
                <a:ext cx="111027" cy="1159"/>
              </a:xfrm>
              <a:custGeom>
                <a:avLst/>
                <a:gdLst>
                  <a:gd name="connsiteX0" fmla="*/ 0 w 111027"/>
                  <a:gd name="connsiteY0" fmla="*/ 0 h 1159"/>
                  <a:gd name="connsiteX1" fmla="*/ 111027 w 111027"/>
                  <a:gd name="connsiteY1" fmla="*/ 0 h 11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1027" h="1159">
                    <a:moveTo>
                      <a:pt x="0" y="0"/>
                    </a:moveTo>
                    <a:lnTo>
                      <a:pt x="111027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475" name="Forma livre: Forma 1474">
                <a:extLst>
                  <a:ext uri="{FF2B5EF4-FFF2-40B4-BE49-F238E27FC236}">
                    <a16:creationId xmlns:a16="http://schemas.microsoft.com/office/drawing/2014/main" id="{F289BC6B-BB45-7E39-B279-7EF92A5F3A69}"/>
                  </a:ext>
                </a:extLst>
              </p:cNvPr>
              <p:cNvSpPr/>
              <p:nvPr/>
            </p:nvSpPr>
            <p:spPr>
              <a:xfrm>
                <a:off x="3178900" y="3821944"/>
                <a:ext cx="95346" cy="1159"/>
              </a:xfrm>
              <a:custGeom>
                <a:avLst/>
                <a:gdLst>
                  <a:gd name="connsiteX0" fmla="*/ 0 w 95346"/>
                  <a:gd name="connsiteY0" fmla="*/ 0 h 1159"/>
                  <a:gd name="connsiteX1" fmla="*/ 95347 w 95346"/>
                  <a:gd name="connsiteY1" fmla="*/ 0 h 11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5346" h="1159">
                    <a:moveTo>
                      <a:pt x="0" y="0"/>
                    </a:moveTo>
                    <a:lnTo>
                      <a:pt x="95347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476" name="Forma livre: Forma 1475">
                <a:extLst>
                  <a:ext uri="{FF2B5EF4-FFF2-40B4-BE49-F238E27FC236}">
                    <a16:creationId xmlns:a16="http://schemas.microsoft.com/office/drawing/2014/main" id="{64AD4699-1698-9078-509F-46291789741B}"/>
                  </a:ext>
                </a:extLst>
              </p:cNvPr>
              <p:cNvSpPr/>
              <p:nvPr/>
            </p:nvSpPr>
            <p:spPr>
              <a:xfrm>
                <a:off x="3178900" y="3855984"/>
                <a:ext cx="82971" cy="1159"/>
              </a:xfrm>
              <a:custGeom>
                <a:avLst/>
                <a:gdLst>
                  <a:gd name="connsiteX0" fmla="*/ 0 w 82971"/>
                  <a:gd name="connsiteY0" fmla="*/ 0 h 1159"/>
                  <a:gd name="connsiteX1" fmla="*/ 82972 w 82971"/>
                  <a:gd name="connsiteY1" fmla="*/ 0 h 11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82971" h="1159">
                    <a:moveTo>
                      <a:pt x="0" y="0"/>
                    </a:moveTo>
                    <a:lnTo>
                      <a:pt x="82972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477" name="Forma livre: Forma 1476">
                <a:extLst>
                  <a:ext uri="{FF2B5EF4-FFF2-40B4-BE49-F238E27FC236}">
                    <a16:creationId xmlns:a16="http://schemas.microsoft.com/office/drawing/2014/main" id="{2616662C-9B1C-59D6-F9D4-B69E154DB7C8}"/>
                  </a:ext>
                </a:extLst>
              </p:cNvPr>
              <p:cNvSpPr/>
              <p:nvPr/>
            </p:nvSpPr>
            <p:spPr>
              <a:xfrm>
                <a:off x="3178900" y="3890012"/>
                <a:ext cx="74470" cy="1159"/>
              </a:xfrm>
              <a:custGeom>
                <a:avLst/>
                <a:gdLst>
                  <a:gd name="connsiteX0" fmla="*/ 0 w 74470"/>
                  <a:gd name="connsiteY0" fmla="*/ 0 h 1159"/>
                  <a:gd name="connsiteX1" fmla="*/ 74470 w 74470"/>
                  <a:gd name="connsiteY1" fmla="*/ 0 h 11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74470" h="1159">
                    <a:moveTo>
                      <a:pt x="0" y="0"/>
                    </a:moveTo>
                    <a:lnTo>
                      <a:pt x="7447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478" name="Forma livre: Forma 1477">
              <a:extLst>
                <a:ext uri="{FF2B5EF4-FFF2-40B4-BE49-F238E27FC236}">
                  <a16:creationId xmlns:a16="http://schemas.microsoft.com/office/drawing/2014/main" id="{EE67CCD6-437B-334C-ED07-07EF4D6A795E}"/>
                </a:ext>
              </a:extLst>
            </p:cNvPr>
            <p:cNvSpPr/>
            <p:nvPr/>
          </p:nvSpPr>
          <p:spPr>
            <a:xfrm>
              <a:off x="3273899" y="3875990"/>
              <a:ext cx="12525" cy="12514"/>
            </a:xfrm>
            <a:custGeom>
              <a:avLst/>
              <a:gdLst>
                <a:gd name="connsiteX0" fmla="*/ 12526 w 12525"/>
                <a:gd name="connsiteY0" fmla="*/ 0 h 12514"/>
                <a:gd name="connsiteX1" fmla="*/ 0 w 12525"/>
                <a:gd name="connsiteY1" fmla="*/ 12514 h 125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25" h="12514">
                  <a:moveTo>
                    <a:pt x="12526" y="0"/>
                  </a:moveTo>
                  <a:lnTo>
                    <a:pt x="0" y="12514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79" name="Forma livre: Forma 1478">
              <a:extLst>
                <a:ext uri="{FF2B5EF4-FFF2-40B4-BE49-F238E27FC236}">
                  <a16:creationId xmlns:a16="http://schemas.microsoft.com/office/drawing/2014/main" id="{2C5823C0-3683-8FC0-6855-E33C91B4E9B7}"/>
                </a:ext>
              </a:extLst>
            </p:cNvPr>
            <p:cNvSpPr/>
            <p:nvPr/>
          </p:nvSpPr>
          <p:spPr>
            <a:xfrm>
              <a:off x="3298730" y="3731371"/>
              <a:ext cx="132377" cy="132348"/>
            </a:xfrm>
            <a:custGeom>
              <a:avLst/>
              <a:gdLst>
                <a:gd name="connsiteX0" fmla="*/ 0 w 132377"/>
                <a:gd name="connsiteY0" fmla="*/ 108016 h 132348"/>
                <a:gd name="connsiteX1" fmla="*/ 113138 w 132377"/>
                <a:gd name="connsiteY1" fmla="*/ 828 h 132348"/>
                <a:gd name="connsiteX2" fmla="*/ 126905 w 132377"/>
                <a:gd name="connsiteY2" fmla="*/ 3715 h 132348"/>
                <a:gd name="connsiteX3" fmla="*/ 128644 w 132377"/>
                <a:gd name="connsiteY3" fmla="*/ 5467 h 132348"/>
                <a:gd name="connsiteX4" fmla="*/ 131555 w 132377"/>
                <a:gd name="connsiteY4" fmla="*/ 19210 h 132348"/>
                <a:gd name="connsiteX5" fmla="*/ 24333 w 132377"/>
                <a:gd name="connsiteY5" fmla="*/ 132348 h 132348"/>
                <a:gd name="connsiteX6" fmla="*/ 0 w 132377"/>
                <a:gd name="connsiteY6" fmla="*/ 108004 h 1323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32377" h="132348">
                  <a:moveTo>
                    <a:pt x="0" y="108016"/>
                  </a:moveTo>
                  <a:cubicBezTo>
                    <a:pt x="26698" y="61717"/>
                    <a:pt x="65343" y="25032"/>
                    <a:pt x="113138" y="828"/>
                  </a:cubicBezTo>
                  <a:cubicBezTo>
                    <a:pt x="117290" y="-1017"/>
                    <a:pt x="123530" y="340"/>
                    <a:pt x="126905" y="3715"/>
                  </a:cubicBezTo>
                  <a:cubicBezTo>
                    <a:pt x="127473" y="4295"/>
                    <a:pt x="128064" y="4887"/>
                    <a:pt x="128644" y="5467"/>
                  </a:cubicBezTo>
                  <a:cubicBezTo>
                    <a:pt x="132019" y="8830"/>
                    <a:pt x="133400" y="15081"/>
                    <a:pt x="131555" y="19210"/>
                  </a:cubicBezTo>
                  <a:cubicBezTo>
                    <a:pt x="107397" y="66762"/>
                    <a:pt x="70446" y="105696"/>
                    <a:pt x="24333" y="132348"/>
                  </a:cubicBezTo>
                  <a:lnTo>
                    <a:pt x="0" y="108004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80" name="Forma livre: Forma 1479">
              <a:extLst>
                <a:ext uri="{FF2B5EF4-FFF2-40B4-BE49-F238E27FC236}">
                  <a16:creationId xmlns:a16="http://schemas.microsoft.com/office/drawing/2014/main" id="{5C8BA6FC-1796-AC3C-F1B2-1A19A984B5FF}"/>
                </a:ext>
              </a:extLst>
            </p:cNvPr>
            <p:cNvSpPr/>
            <p:nvPr/>
          </p:nvSpPr>
          <p:spPr>
            <a:xfrm>
              <a:off x="3282876" y="3855984"/>
              <a:ext cx="39490" cy="23509"/>
            </a:xfrm>
            <a:custGeom>
              <a:avLst/>
              <a:gdLst>
                <a:gd name="connsiteX0" fmla="*/ 4465 w 39490"/>
                <a:gd name="connsiteY0" fmla="*/ 0 h 23509"/>
                <a:gd name="connsiteX1" fmla="*/ 0 w 39490"/>
                <a:gd name="connsiteY1" fmla="*/ 14161 h 23509"/>
                <a:gd name="connsiteX2" fmla="*/ 9348 w 39490"/>
                <a:gd name="connsiteY2" fmla="*/ 23509 h 23509"/>
                <a:gd name="connsiteX3" fmla="*/ 39491 w 39490"/>
                <a:gd name="connsiteY3" fmla="*/ 8107 h 235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490" h="23509">
                  <a:moveTo>
                    <a:pt x="4465" y="0"/>
                  </a:moveTo>
                  <a:lnTo>
                    <a:pt x="0" y="14161"/>
                  </a:lnTo>
                  <a:lnTo>
                    <a:pt x="9348" y="23509"/>
                  </a:lnTo>
                  <a:lnTo>
                    <a:pt x="39491" y="8107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81" name="Forma livre: Forma 1480">
              <a:extLst>
                <a:ext uri="{FF2B5EF4-FFF2-40B4-BE49-F238E27FC236}">
                  <a16:creationId xmlns:a16="http://schemas.microsoft.com/office/drawing/2014/main" id="{1066DCEB-AB2A-4A04-5EFB-938F1861F4B1}"/>
                </a:ext>
              </a:extLst>
            </p:cNvPr>
            <p:cNvSpPr/>
            <p:nvPr/>
          </p:nvSpPr>
          <p:spPr>
            <a:xfrm>
              <a:off x="3378246" y="3724196"/>
              <a:ext cx="15216" cy="17199"/>
            </a:xfrm>
            <a:custGeom>
              <a:avLst/>
              <a:gdLst>
                <a:gd name="connsiteX0" fmla="*/ 15217 w 15216"/>
                <a:gd name="connsiteY0" fmla="*/ 17200 h 17199"/>
                <a:gd name="connsiteX1" fmla="*/ 0 w 15216"/>
                <a:gd name="connsiteY1" fmla="*/ 0 h 171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216" h="17199">
                  <a:moveTo>
                    <a:pt x="15217" y="17200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82" name="Forma livre: Forma 1481">
              <a:extLst>
                <a:ext uri="{FF2B5EF4-FFF2-40B4-BE49-F238E27FC236}">
                  <a16:creationId xmlns:a16="http://schemas.microsoft.com/office/drawing/2014/main" id="{09865D5B-1809-5627-A860-24F26B56D9E5}"/>
                </a:ext>
              </a:extLst>
            </p:cNvPr>
            <p:cNvSpPr/>
            <p:nvPr/>
          </p:nvSpPr>
          <p:spPr>
            <a:xfrm>
              <a:off x="3327667" y="3724382"/>
              <a:ext cx="50393" cy="40059"/>
            </a:xfrm>
            <a:custGeom>
              <a:avLst/>
              <a:gdLst>
                <a:gd name="connsiteX0" fmla="*/ 0 w 50393"/>
                <a:gd name="connsiteY0" fmla="*/ 40059 h 40059"/>
                <a:gd name="connsiteX1" fmla="*/ 50393 w 50393"/>
                <a:gd name="connsiteY1" fmla="*/ 0 h 400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0393" h="40059">
                  <a:moveTo>
                    <a:pt x="0" y="40059"/>
                  </a:moveTo>
                  <a:cubicBezTo>
                    <a:pt x="21955" y="17606"/>
                    <a:pt x="50393" y="0"/>
                    <a:pt x="50393" y="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483" name="Forma livre: Forma 1482">
              <a:extLst>
                <a:ext uri="{FF2B5EF4-FFF2-40B4-BE49-F238E27FC236}">
                  <a16:creationId xmlns:a16="http://schemas.microsoft.com/office/drawing/2014/main" id="{91F8D3B7-B8B9-3A6A-7139-E54001926EA7}"/>
                </a:ext>
              </a:extLst>
            </p:cNvPr>
            <p:cNvSpPr/>
            <p:nvPr/>
          </p:nvSpPr>
          <p:spPr>
            <a:xfrm>
              <a:off x="3372551" y="3779820"/>
              <a:ext cx="23021" cy="23010"/>
            </a:xfrm>
            <a:custGeom>
              <a:avLst/>
              <a:gdLst>
                <a:gd name="connsiteX0" fmla="*/ 0 w 23021"/>
                <a:gd name="connsiteY0" fmla="*/ 0 h 23010"/>
                <a:gd name="connsiteX1" fmla="*/ 23022 w 23021"/>
                <a:gd name="connsiteY1" fmla="*/ 23010 h 230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3021" h="23010">
                  <a:moveTo>
                    <a:pt x="0" y="0"/>
                  </a:moveTo>
                  <a:lnTo>
                    <a:pt x="23022" y="2301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484" name="Gráfico 14">
              <a:extLst>
                <a:ext uri="{FF2B5EF4-FFF2-40B4-BE49-F238E27FC236}">
                  <a16:creationId xmlns:a16="http://schemas.microsoft.com/office/drawing/2014/main" id="{E08ECF22-E019-1F77-7481-2B83C04CD872}"/>
                </a:ext>
              </a:extLst>
            </p:cNvPr>
            <p:cNvGrpSpPr/>
            <p:nvPr/>
          </p:nvGrpSpPr>
          <p:grpSpPr>
            <a:xfrm>
              <a:off x="3135570" y="3668491"/>
              <a:ext cx="196503" cy="261173"/>
              <a:chOff x="3135570" y="3668491"/>
              <a:chExt cx="196503" cy="261173"/>
            </a:xfrm>
            <a:noFill/>
          </p:grpSpPr>
          <p:sp>
            <p:nvSpPr>
              <p:cNvPr id="1485" name="Forma livre: Forma 1484">
                <a:extLst>
                  <a:ext uri="{FF2B5EF4-FFF2-40B4-BE49-F238E27FC236}">
                    <a16:creationId xmlns:a16="http://schemas.microsoft.com/office/drawing/2014/main" id="{6B9321DA-08D8-33C1-26FF-4BD64D450286}"/>
                  </a:ext>
                </a:extLst>
              </p:cNvPr>
              <p:cNvSpPr/>
              <p:nvPr/>
            </p:nvSpPr>
            <p:spPr>
              <a:xfrm>
                <a:off x="3135570" y="3668491"/>
                <a:ext cx="196503" cy="261173"/>
              </a:xfrm>
              <a:custGeom>
                <a:avLst/>
                <a:gdLst>
                  <a:gd name="connsiteX0" fmla="*/ 18104 w 196503"/>
                  <a:gd name="connsiteY0" fmla="*/ 0 h 261173"/>
                  <a:gd name="connsiteX1" fmla="*/ 0 w 196503"/>
                  <a:gd name="connsiteY1" fmla="*/ 0 h 261173"/>
                  <a:gd name="connsiteX2" fmla="*/ 0 w 196503"/>
                  <a:gd name="connsiteY2" fmla="*/ 261174 h 261173"/>
                  <a:gd name="connsiteX3" fmla="*/ 196504 w 196503"/>
                  <a:gd name="connsiteY3" fmla="*/ 261174 h 261173"/>
                  <a:gd name="connsiteX4" fmla="*/ 196504 w 196503"/>
                  <a:gd name="connsiteY4" fmla="*/ 217740 h 2611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96503" h="261173">
                    <a:moveTo>
                      <a:pt x="18104" y="0"/>
                    </a:moveTo>
                    <a:lnTo>
                      <a:pt x="0" y="0"/>
                    </a:lnTo>
                    <a:lnTo>
                      <a:pt x="0" y="261174"/>
                    </a:lnTo>
                    <a:lnTo>
                      <a:pt x="196504" y="261174"/>
                    </a:lnTo>
                    <a:lnTo>
                      <a:pt x="196504" y="21774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486" name="Forma livre: Forma 1485">
                <a:extLst>
                  <a:ext uri="{FF2B5EF4-FFF2-40B4-BE49-F238E27FC236}">
                    <a16:creationId xmlns:a16="http://schemas.microsoft.com/office/drawing/2014/main" id="{791FAA17-4226-FF26-BE8F-D3283E55F2E2}"/>
                  </a:ext>
                </a:extLst>
              </p:cNvPr>
              <p:cNvSpPr/>
              <p:nvPr/>
            </p:nvSpPr>
            <p:spPr>
              <a:xfrm>
                <a:off x="3172058" y="3668491"/>
                <a:ext cx="160016" cy="58221"/>
              </a:xfrm>
              <a:custGeom>
                <a:avLst/>
                <a:gdLst>
                  <a:gd name="connsiteX0" fmla="*/ 160017 w 160016"/>
                  <a:gd name="connsiteY0" fmla="*/ 58222 h 58221"/>
                  <a:gd name="connsiteX1" fmla="*/ 160017 w 160016"/>
                  <a:gd name="connsiteY1" fmla="*/ 0 h 58221"/>
                  <a:gd name="connsiteX2" fmla="*/ 0 w 160016"/>
                  <a:gd name="connsiteY2" fmla="*/ 0 h 582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60016" h="58221">
                    <a:moveTo>
                      <a:pt x="160017" y="58222"/>
                    </a:moveTo>
                    <a:lnTo>
                      <a:pt x="160017" y="0"/>
                    </a:lnTo>
                    <a:lnTo>
                      <a:pt x="0" y="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487" name="Gráfico 14">
              <a:extLst>
                <a:ext uri="{FF2B5EF4-FFF2-40B4-BE49-F238E27FC236}">
                  <a16:creationId xmlns:a16="http://schemas.microsoft.com/office/drawing/2014/main" id="{41329AED-DEFB-8FBF-8E37-454127BB59B6}"/>
                </a:ext>
              </a:extLst>
            </p:cNvPr>
            <p:cNvGrpSpPr/>
            <p:nvPr/>
          </p:nvGrpSpPr>
          <p:grpSpPr>
            <a:xfrm>
              <a:off x="3170956" y="3653611"/>
              <a:ext cx="125733" cy="29690"/>
              <a:chOff x="3170956" y="3653611"/>
              <a:chExt cx="125733" cy="29690"/>
            </a:xfrm>
          </p:grpSpPr>
          <p:sp>
            <p:nvSpPr>
              <p:cNvPr id="1488" name="Forma livre: Forma 1487">
                <a:extLst>
                  <a:ext uri="{FF2B5EF4-FFF2-40B4-BE49-F238E27FC236}">
                    <a16:creationId xmlns:a16="http://schemas.microsoft.com/office/drawing/2014/main" id="{3A8BF216-FD39-782F-FA72-B75268D68963}"/>
                  </a:ext>
                </a:extLst>
              </p:cNvPr>
              <p:cNvSpPr/>
              <p:nvPr/>
            </p:nvSpPr>
            <p:spPr>
              <a:xfrm>
                <a:off x="3170956" y="3653611"/>
                <a:ext cx="1159" cy="29690"/>
              </a:xfrm>
              <a:custGeom>
                <a:avLst/>
                <a:gdLst>
                  <a:gd name="connsiteX0" fmla="*/ 0 w 1159"/>
                  <a:gd name="connsiteY0" fmla="*/ 29691 h 29690"/>
                  <a:gd name="connsiteX1" fmla="*/ 0 w 1159"/>
                  <a:gd name="connsiteY1" fmla="*/ 0 h 296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59" h="29690">
                    <a:moveTo>
                      <a:pt x="0" y="29691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489" name="Forma livre: Forma 1488">
                <a:extLst>
                  <a:ext uri="{FF2B5EF4-FFF2-40B4-BE49-F238E27FC236}">
                    <a16:creationId xmlns:a16="http://schemas.microsoft.com/office/drawing/2014/main" id="{3F3E03A8-C865-724E-3F1A-CD6BA2F6E924}"/>
                  </a:ext>
                </a:extLst>
              </p:cNvPr>
              <p:cNvSpPr/>
              <p:nvPr/>
            </p:nvSpPr>
            <p:spPr>
              <a:xfrm>
                <a:off x="3202398" y="3653611"/>
                <a:ext cx="1159" cy="29690"/>
              </a:xfrm>
              <a:custGeom>
                <a:avLst/>
                <a:gdLst>
                  <a:gd name="connsiteX0" fmla="*/ 0 w 1159"/>
                  <a:gd name="connsiteY0" fmla="*/ 29691 h 29690"/>
                  <a:gd name="connsiteX1" fmla="*/ 0 w 1159"/>
                  <a:gd name="connsiteY1" fmla="*/ 0 h 296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59" h="29690">
                    <a:moveTo>
                      <a:pt x="0" y="29691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490" name="Forma livre: Forma 1489">
                <a:extLst>
                  <a:ext uri="{FF2B5EF4-FFF2-40B4-BE49-F238E27FC236}">
                    <a16:creationId xmlns:a16="http://schemas.microsoft.com/office/drawing/2014/main" id="{948BF838-1C59-DC77-1572-F575B6EF4F07}"/>
                  </a:ext>
                </a:extLst>
              </p:cNvPr>
              <p:cNvSpPr/>
              <p:nvPr/>
            </p:nvSpPr>
            <p:spPr>
              <a:xfrm>
                <a:off x="3233817" y="3653611"/>
                <a:ext cx="1159" cy="29690"/>
              </a:xfrm>
              <a:custGeom>
                <a:avLst/>
                <a:gdLst>
                  <a:gd name="connsiteX0" fmla="*/ 0 w 1159"/>
                  <a:gd name="connsiteY0" fmla="*/ 29691 h 29690"/>
                  <a:gd name="connsiteX1" fmla="*/ 0 w 1159"/>
                  <a:gd name="connsiteY1" fmla="*/ 0 h 296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59" h="29690">
                    <a:moveTo>
                      <a:pt x="0" y="29691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491" name="Forma livre: Forma 1490">
                <a:extLst>
                  <a:ext uri="{FF2B5EF4-FFF2-40B4-BE49-F238E27FC236}">
                    <a16:creationId xmlns:a16="http://schemas.microsoft.com/office/drawing/2014/main" id="{7ED28934-C0EA-E2D6-B05C-C0A03EC50FAC}"/>
                  </a:ext>
                </a:extLst>
              </p:cNvPr>
              <p:cNvSpPr/>
              <p:nvPr/>
            </p:nvSpPr>
            <p:spPr>
              <a:xfrm>
                <a:off x="3265247" y="3653611"/>
                <a:ext cx="1159" cy="29690"/>
              </a:xfrm>
              <a:custGeom>
                <a:avLst/>
                <a:gdLst>
                  <a:gd name="connsiteX0" fmla="*/ 0 w 1159"/>
                  <a:gd name="connsiteY0" fmla="*/ 29691 h 29690"/>
                  <a:gd name="connsiteX1" fmla="*/ 0 w 1159"/>
                  <a:gd name="connsiteY1" fmla="*/ 0 h 296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59" h="29690">
                    <a:moveTo>
                      <a:pt x="0" y="29691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492" name="Forma livre: Forma 1491">
                <a:extLst>
                  <a:ext uri="{FF2B5EF4-FFF2-40B4-BE49-F238E27FC236}">
                    <a16:creationId xmlns:a16="http://schemas.microsoft.com/office/drawing/2014/main" id="{40E502BA-07F9-B150-E675-5D37F089E946}"/>
                  </a:ext>
                </a:extLst>
              </p:cNvPr>
              <p:cNvSpPr/>
              <p:nvPr/>
            </p:nvSpPr>
            <p:spPr>
              <a:xfrm>
                <a:off x="3296689" y="3653611"/>
                <a:ext cx="1159" cy="29690"/>
              </a:xfrm>
              <a:custGeom>
                <a:avLst/>
                <a:gdLst>
                  <a:gd name="connsiteX0" fmla="*/ 0 w 1159"/>
                  <a:gd name="connsiteY0" fmla="*/ 29691 h 29690"/>
                  <a:gd name="connsiteX1" fmla="*/ 0 w 1159"/>
                  <a:gd name="connsiteY1" fmla="*/ 0 h 296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59" h="29690">
                    <a:moveTo>
                      <a:pt x="0" y="29691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493" name="Gráfico 14">
              <a:extLst>
                <a:ext uri="{FF2B5EF4-FFF2-40B4-BE49-F238E27FC236}">
                  <a16:creationId xmlns:a16="http://schemas.microsoft.com/office/drawing/2014/main" id="{70DCCCE8-5CCE-5FA3-E4C6-9571E06361C3}"/>
                </a:ext>
              </a:extLst>
            </p:cNvPr>
            <p:cNvGrpSpPr/>
            <p:nvPr/>
          </p:nvGrpSpPr>
          <p:grpSpPr>
            <a:xfrm>
              <a:off x="3136382" y="3706799"/>
              <a:ext cx="194880" cy="1159"/>
              <a:chOff x="3136382" y="3706799"/>
              <a:chExt cx="194880" cy="1159"/>
            </a:xfrm>
          </p:grpSpPr>
          <p:sp>
            <p:nvSpPr>
              <p:cNvPr id="1494" name="Forma livre: Forma 1493">
                <a:extLst>
                  <a:ext uri="{FF2B5EF4-FFF2-40B4-BE49-F238E27FC236}">
                    <a16:creationId xmlns:a16="http://schemas.microsoft.com/office/drawing/2014/main" id="{A2AF30A4-80EE-1FF0-3AD2-86CE4B1D74D9}"/>
                  </a:ext>
                </a:extLst>
              </p:cNvPr>
              <p:cNvSpPr/>
              <p:nvPr/>
            </p:nvSpPr>
            <p:spPr>
              <a:xfrm>
                <a:off x="3136382" y="3706799"/>
                <a:ext cx="20110" cy="1159"/>
              </a:xfrm>
              <a:custGeom>
                <a:avLst/>
                <a:gdLst>
                  <a:gd name="connsiteX0" fmla="*/ 0 w 20110"/>
                  <a:gd name="connsiteY0" fmla="*/ 0 h 1159"/>
                  <a:gd name="connsiteX1" fmla="*/ 20111 w 20110"/>
                  <a:gd name="connsiteY1" fmla="*/ 0 h 11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0110" h="1159">
                    <a:moveTo>
                      <a:pt x="0" y="0"/>
                    </a:moveTo>
                    <a:lnTo>
                      <a:pt x="20111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495" name="Forma livre: Forma 1494">
                <a:extLst>
                  <a:ext uri="{FF2B5EF4-FFF2-40B4-BE49-F238E27FC236}">
                    <a16:creationId xmlns:a16="http://schemas.microsoft.com/office/drawing/2014/main" id="{0764AD57-4028-C474-2F98-07D0D3234FF5}"/>
                  </a:ext>
                </a:extLst>
              </p:cNvPr>
              <p:cNvSpPr/>
              <p:nvPr/>
            </p:nvSpPr>
            <p:spPr>
              <a:xfrm>
                <a:off x="3171338" y="3706799"/>
                <a:ext cx="20110" cy="1159"/>
              </a:xfrm>
              <a:custGeom>
                <a:avLst/>
                <a:gdLst>
                  <a:gd name="connsiteX0" fmla="*/ 0 w 20110"/>
                  <a:gd name="connsiteY0" fmla="*/ 0 h 1159"/>
                  <a:gd name="connsiteX1" fmla="*/ 20111 w 20110"/>
                  <a:gd name="connsiteY1" fmla="*/ 0 h 11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0110" h="1159">
                    <a:moveTo>
                      <a:pt x="0" y="0"/>
                    </a:moveTo>
                    <a:lnTo>
                      <a:pt x="20111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496" name="Forma livre: Forma 1495">
                <a:extLst>
                  <a:ext uri="{FF2B5EF4-FFF2-40B4-BE49-F238E27FC236}">
                    <a16:creationId xmlns:a16="http://schemas.microsoft.com/office/drawing/2014/main" id="{E0BD9519-049F-B56A-C16C-DCB6F6E305DB}"/>
                  </a:ext>
                </a:extLst>
              </p:cNvPr>
              <p:cNvSpPr/>
              <p:nvPr/>
            </p:nvSpPr>
            <p:spPr>
              <a:xfrm>
                <a:off x="3206295" y="3706799"/>
                <a:ext cx="20099" cy="1159"/>
              </a:xfrm>
              <a:custGeom>
                <a:avLst/>
                <a:gdLst>
                  <a:gd name="connsiteX0" fmla="*/ 0 w 20099"/>
                  <a:gd name="connsiteY0" fmla="*/ 0 h 1159"/>
                  <a:gd name="connsiteX1" fmla="*/ 20099 w 20099"/>
                  <a:gd name="connsiteY1" fmla="*/ 0 h 11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0099" h="1159">
                    <a:moveTo>
                      <a:pt x="0" y="0"/>
                    </a:moveTo>
                    <a:lnTo>
                      <a:pt x="20099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497" name="Forma livre: Forma 1496">
                <a:extLst>
                  <a:ext uri="{FF2B5EF4-FFF2-40B4-BE49-F238E27FC236}">
                    <a16:creationId xmlns:a16="http://schemas.microsoft.com/office/drawing/2014/main" id="{9D986127-87EA-E507-2F81-F44DF7AFF3A5}"/>
                  </a:ext>
                </a:extLst>
              </p:cNvPr>
              <p:cNvSpPr/>
              <p:nvPr/>
            </p:nvSpPr>
            <p:spPr>
              <a:xfrm>
                <a:off x="3241251" y="3706799"/>
                <a:ext cx="20099" cy="1159"/>
              </a:xfrm>
              <a:custGeom>
                <a:avLst/>
                <a:gdLst>
                  <a:gd name="connsiteX0" fmla="*/ 0 w 20099"/>
                  <a:gd name="connsiteY0" fmla="*/ 0 h 1159"/>
                  <a:gd name="connsiteX1" fmla="*/ 20099 w 20099"/>
                  <a:gd name="connsiteY1" fmla="*/ 0 h 11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0099" h="1159">
                    <a:moveTo>
                      <a:pt x="0" y="0"/>
                    </a:moveTo>
                    <a:lnTo>
                      <a:pt x="20099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498" name="Forma livre: Forma 1497">
                <a:extLst>
                  <a:ext uri="{FF2B5EF4-FFF2-40B4-BE49-F238E27FC236}">
                    <a16:creationId xmlns:a16="http://schemas.microsoft.com/office/drawing/2014/main" id="{78E42D8F-1B57-471D-FB9E-5B5475D41BA4}"/>
                  </a:ext>
                </a:extLst>
              </p:cNvPr>
              <p:cNvSpPr/>
              <p:nvPr/>
            </p:nvSpPr>
            <p:spPr>
              <a:xfrm>
                <a:off x="3276195" y="3706799"/>
                <a:ext cx="20110" cy="1159"/>
              </a:xfrm>
              <a:custGeom>
                <a:avLst/>
                <a:gdLst>
                  <a:gd name="connsiteX0" fmla="*/ 0 w 20110"/>
                  <a:gd name="connsiteY0" fmla="*/ 0 h 1159"/>
                  <a:gd name="connsiteX1" fmla="*/ 20111 w 20110"/>
                  <a:gd name="connsiteY1" fmla="*/ 0 h 11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0110" h="1159">
                    <a:moveTo>
                      <a:pt x="0" y="0"/>
                    </a:moveTo>
                    <a:lnTo>
                      <a:pt x="20111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499" name="Forma livre: Forma 1498">
                <a:extLst>
                  <a:ext uri="{FF2B5EF4-FFF2-40B4-BE49-F238E27FC236}">
                    <a16:creationId xmlns:a16="http://schemas.microsoft.com/office/drawing/2014/main" id="{08C9387E-AB55-ADF2-F14F-BCBC0D073FDA}"/>
                  </a:ext>
                </a:extLst>
              </p:cNvPr>
              <p:cNvSpPr/>
              <p:nvPr/>
            </p:nvSpPr>
            <p:spPr>
              <a:xfrm>
                <a:off x="3311152" y="3706799"/>
                <a:ext cx="20110" cy="1159"/>
              </a:xfrm>
              <a:custGeom>
                <a:avLst/>
                <a:gdLst>
                  <a:gd name="connsiteX0" fmla="*/ 0 w 20110"/>
                  <a:gd name="connsiteY0" fmla="*/ 0 h 1159"/>
                  <a:gd name="connsiteX1" fmla="*/ 20111 w 20110"/>
                  <a:gd name="connsiteY1" fmla="*/ 0 h 11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0110" h="1159">
                    <a:moveTo>
                      <a:pt x="0" y="0"/>
                    </a:moveTo>
                    <a:lnTo>
                      <a:pt x="20111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500" name="Gráfico 14">
            <a:extLst>
              <a:ext uri="{FF2B5EF4-FFF2-40B4-BE49-F238E27FC236}">
                <a16:creationId xmlns:a16="http://schemas.microsoft.com/office/drawing/2014/main" id="{5324D4A1-33FB-ED40-DDAC-456CF745B02F}"/>
              </a:ext>
            </a:extLst>
          </p:cNvPr>
          <p:cNvGrpSpPr/>
          <p:nvPr/>
        </p:nvGrpSpPr>
        <p:grpSpPr>
          <a:xfrm>
            <a:off x="3178993" y="5171584"/>
            <a:ext cx="208716" cy="299412"/>
            <a:chOff x="3178993" y="5171584"/>
            <a:chExt cx="208716" cy="299412"/>
          </a:xfrm>
          <a:noFill/>
        </p:grpSpPr>
        <p:sp>
          <p:nvSpPr>
            <p:cNvPr id="1501" name="Forma livre: Forma 1500">
              <a:extLst>
                <a:ext uri="{FF2B5EF4-FFF2-40B4-BE49-F238E27FC236}">
                  <a16:creationId xmlns:a16="http://schemas.microsoft.com/office/drawing/2014/main" id="{C7366147-1F19-4462-AB93-9D6382B99DFF}"/>
                </a:ext>
              </a:extLst>
            </p:cNvPr>
            <p:cNvSpPr/>
            <p:nvPr/>
          </p:nvSpPr>
          <p:spPr>
            <a:xfrm>
              <a:off x="3223680" y="5326393"/>
              <a:ext cx="119331" cy="69460"/>
            </a:xfrm>
            <a:custGeom>
              <a:avLst/>
              <a:gdLst>
                <a:gd name="connsiteX0" fmla="*/ 119331 w 119331"/>
                <a:gd name="connsiteY0" fmla="*/ 0 h 69460"/>
                <a:gd name="connsiteX1" fmla="*/ 119331 w 119331"/>
                <a:gd name="connsiteY1" fmla="*/ 16863 h 69460"/>
                <a:gd name="connsiteX2" fmla="*/ 66735 w 119331"/>
                <a:gd name="connsiteY2" fmla="*/ 69460 h 69460"/>
                <a:gd name="connsiteX3" fmla="*/ 52597 w 119331"/>
                <a:gd name="connsiteY3" fmla="*/ 69460 h 69460"/>
                <a:gd name="connsiteX4" fmla="*/ 0 w 119331"/>
                <a:gd name="connsiteY4" fmla="*/ 16863 h 69460"/>
                <a:gd name="connsiteX5" fmla="*/ 0 w 119331"/>
                <a:gd name="connsiteY5" fmla="*/ 0 h 694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9331" h="69460">
                  <a:moveTo>
                    <a:pt x="119331" y="0"/>
                  </a:moveTo>
                  <a:lnTo>
                    <a:pt x="119331" y="16863"/>
                  </a:lnTo>
                  <a:cubicBezTo>
                    <a:pt x="119331" y="45800"/>
                    <a:pt x="95648" y="69460"/>
                    <a:pt x="66735" y="69460"/>
                  </a:cubicBezTo>
                  <a:lnTo>
                    <a:pt x="52597" y="69460"/>
                  </a:lnTo>
                  <a:cubicBezTo>
                    <a:pt x="23671" y="69460"/>
                    <a:pt x="0" y="45789"/>
                    <a:pt x="0" y="16863"/>
                  </a:cubicBezTo>
                  <a:lnTo>
                    <a:pt x="0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502" name="Gráfico 14">
              <a:extLst>
                <a:ext uri="{FF2B5EF4-FFF2-40B4-BE49-F238E27FC236}">
                  <a16:creationId xmlns:a16="http://schemas.microsoft.com/office/drawing/2014/main" id="{3C547960-E97C-02EB-8759-AFD180BC369C}"/>
                </a:ext>
              </a:extLst>
            </p:cNvPr>
            <p:cNvGrpSpPr/>
            <p:nvPr/>
          </p:nvGrpSpPr>
          <p:grpSpPr>
            <a:xfrm>
              <a:off x="3223692" y="5171584"/>
              <a:ext cx="119319" cy="130082"/>
              <a:chOff x="3223692" y="5171584"/>
              <a:chExt cx="119319" cy="130082"/>
            </a:xfrm>
            <a:noFill/>
          </p:grpSpPr>
          <p:grpSp>
            <p:nvGrpSpPr>
              <p:cNvPr id="1503" name="Gráfico 14">
                <a:extLst>
                  <a:ext uri="{FF2B5EF4-FFF2-40B4-BE49-F238E27FC236}">
                    <a16:creationId xmlns:a16="http://schemas.microsoft.com/office/drawing/2014/main" id="{7556AAED-2A15-7D72-F97C-3C44FB71C313}"/>
                  </a:ext>
                </a:extLst>
              </p:cNvPr>
              <p:cNvGrpSpPr/>
              <p:nvPr/>
            </p:nvGrpSpPr>
            <p:grpSpPr>
              <a:xfrm>
                <a:off x="3223692" y="5171584"/>
                <a:ext cx="119319" cy="130082"/>
                <a:chOff x="3223692" y="5171584"/>
                <a:chExt cx="119319" cy="130082"/>
              </a:xfrm>
              <a:noFill/>
            </p:grpSpPr>
            <p:sp>
              <p:nvSpPr>
                <p:cNvPr id="1504" name="Forma livre: Forma 1503">
                  <a:extLst>
                    <a:ext uri="{FF2B5EF4-FFF2-40B4-BE49-F238E27FC236}">
                      <a16:creationId xmlns:a16="http://schemas.microsoft.com/office/drawing/2014/main" id="{40B34224-D476-55CD-1328-52827784C54E}"/>
                    </a:ext>
                  </a:extLst>
                </p:cNvPr>
                <p:cNvSpPr/>
                <p:nvPr/>
              </p:nvSpPr>
              <p:spPr>
                <a:xfrm>
                  <a:off x="3224944" y="5220933"/>
                  <a:ext cx="36023" cy="1159"/>
                </a:xfrm>
                <a:custGeom>
                  <a:avLst/>
                  <a:gdLst>
                    <a:gd name="connsiteX0" fmla="*/ 0 w 36023"/>
                    <a:gd name="connsiteY0" fmla="*/ 0 h 1159"/>
                    <a:gd name="connsiteX1" fmla="*/ 36023 w 36023"/>
                    <a:gd name="connsiteY1" fmla="*/ 0 h 115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36023" h="1159">
                      <a:moveTo>
                        <a:pt x="0" y="0"/>
                      </a:moveTo>
                      <a:lnTo>
                        <a:pt x="36023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505" name="Forma livre: Forma 1504">
                  <a:extLst>
                    <a:ext uri="{FF2B5EF4-FFF2-40B4-BE49-F238E27FC236}">
                      <a16:creationId xmlns:a16="http://schemas.microsoft.com/office/drawing/2014/main" id="{D5AB4ACA-F3B3-6810-874A-FDA30CD75F44}"/>
                    </a:ext>
                  </a:extLst>
                </p:cNvPr>
                <p:cNvSpPr/>
                <p:nvPr/>
              </p:nvSpPr>
              <p:spPr>
                <a:xfrm>
                  <a:off x="3224944" y="5246889"/>
                  <a:ext cx="36023" cy="1159"/>
                </a:xfrm>
                <a:custGeom>
                  <a:avLst/>
                  <a:gdLst>
                    <a:gd name="connsiteX0" fmla="*/ 0 w 36023"/>
                    <a:gd name="connsiteY0" fmla="*/ 0 h 1159"/>
                    <a:gd name="connsiteX1" fmla="*/ 36023 w 36023"/>
                    <a:gd name="connsiteY1" fmla="*/ 0 h 115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36023" h="1159">
                      <a:moveTo>
                        <a:pt x="0" y="0"/>
                      </a:moveTo>
                      <a:lnTo>
                        <a:pt x="36023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506" name="Forma livre: Forma 1505">
                  <a:extLst>
                    <a:ext uri="{FF2B5EF4-FFF2-40B4-BE49-F238E27FC236}">
                      <a16:creationId xmlns:a16="http://schemas.microsoft.com/office/drawing/2014/main" id="{ACDE525D-5DE2-CD39-F4F4-B8112BED5FEC}"/>
                    </a:ext>
                  </a:extLst>
                </p:cNvPr>
                <p:cNvSpPr/>
                <p:nvPr/>
              </p:nvSpPr>
              <p:spPr>
                <a:xfrm>
                  <a:off x="3223692" y="5171584"/>
                  <a:ext cx="119319" cy="130082"/>
                </a:xfrm>
                <a:custGeom>
                  <a:avLst/>
                  <a:gdLst>
                    <a:gd name="connsiteX0" fmla="*/ 37276 w 119319"/>
                    <a:gd name="connsiteY0" fmla="*/ 101250 h 130082"/>
                    <a:gd name="connsiteX1" fmla="*/ 0 w 119319"/>
                    <a:gd name="connsiteY1" fmla="*/ 101250 h 130082"/>
                    <a:gd name="connsiteX2" fmla="*/ 0 w 119319"/>
                    <a:gd name="connsiteY2" fmla="*/ 52608 h 130082"/>
                    <a:gd name="connsiteX3" fmla="*/ 52597 w 119319"/>
                    <a:gd name="connsiteY3" fmla="*/ 0 h 130082"/>
                    <a:gd name="connsiteX4" fmla="*/ 66723 w 119319"/>
                    <a:gd name="connsiteY4" fmla="*/ 0 h 130082"/>
                    <a:gd name="connsiteX5" fmla="*/ 119320 w 119319"/>
                    <a:gd name="connsiteY5" fmla="*/ 52608 h 130082"/>
                    <a:gd name="connsiteX6" fmla="*/ 119320 w 119319"/>
                    <a:gd name="connsiteY6" fmla="*/ 130082 h 13008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19319" h="130082">
                      <a:moveTo>
                        <a:pt x="37276" y="101250"/>
                      </a:moveTo>
                      <a:lnTo>
                        <a:pt x="0" y="101250"/>
                      </a:lnTo>
                      <a:lnTo>
                        <a:pt x="0" y="52608"/>
                      </a:lnTo>
                      <a:cubicBezTo>
                        <a:pt x="0" y="23683"/>
                        <a:pt x="23671" y="0"/>
                        <a:pt x="52597" y="0"/>
                      </a:cubicBezTo>
                      <a:lnTo>
                        <a:pt x="66723" y="0"/>
                      </a:lnTo>
                      <a:cubicBezTo>
                        <a:pt x="95648" y="0"/>
                        <a:pt x="119320" y="23671"/>
                        <a:pt x="119320" y="52608"/>
                      </a:cubicBezTo>
                      <a:lnTo>
                        <a:pt x="119320" y="130082"/>
                      </a:ln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1507" name="Gráfico 14">
                <a:extLst>
                  <a:ext uri="{FF2B5EF4-FFF2-40B4-BE49-F238E27FC236}">
                    <a16:creationId xmlns:a16="http://schemas.microsoft.com/office/drawing/2014/main" id="{511E9BE6-DEBF-E8F6-DBBD-4D65A12192AA}"/>
                  </a:ext>
                </a:extLst>
              </p:cNvPr>
              <p:cNvGrpSpPr/>
              <p:nvPr/>
            </p:nvGrpSpPr>
            <p:grpSpPr>
              <a:xfrm>
                <a:off x="3305735" y="5220933"/>
                <a:ext cx="36023" cy="51900"/>
                <a:chOff x="3305735" y="5220933"/>
                <a:chExt cx="36023" cy="51900"/>
              </a:xfrm>
            </p:grpSpPr>
            <p:sp>
              <p:nvSpPr>
                <p:cNvPr id="1508" name="Forma livre: Forma 1507">
                  <a:extLst>
                    <a:ext uri="{FF2B5EF4-FFF2-40B4-BE49-F238E27FC236}">
                      <a16:creationId xmlns:a16="http://schemas.microsoft.com/office/drawing/2014/main" id="{4487F896-4F91-D61B-F377-3F1D620EF6A9}"/>
                    </a:ext>
                  </a:extLst>
                </p:cNvPr>
                <p:cNvSpPr/>
                <p:nvPr/>
              </p:nvSpPr>
              <p:spPr>
                <a:xfrm>
                  <a:off x="3305735" y="5220933"/>
                  <a:ext cx="36023" cy="1159"/>
                </a:xfrm>
                <a:custGeom>
                  <a:avLst/>
                  <a:gdLst>
                    <a:gd name="connsiteX0" fmla="*/ 0 w 36023"/>
                    <a:gd name="connsiteY0" fmla="*/ 0 h 1159"/>
                    <a:gd name="connsiteX1" fmla="*/ 36023 w 36023"/>
                    <a:gd name="connsiteY1" fmla="*/ 0 h 115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36023" h="1159">
                      <a:moveTo>
                        <a:pt x="0" y="0"/>
                      </a:moveTo>
                      <a:lnTo>
                        <a:pt x="36023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509" name="Forma livre: Forma 1508">
                  <a:extLst>
                    <a:ext uri="{FF2B5EF4-FFF2-40B4-BE49-F238E27FC236}">
                      <a16:creationId xmlns:a16="http://schemas.microsoft.com/office/drawing/2014/main" id="{A68B0D01-CAB6-20A7-5B08-4558F537DE3C}"/>
                    </a:ext>
                  </a:extLst>
                </p:cNvPr>
                <p:cNvSpPr/>
                <p:nvPr/>
              </p:nvSpPr>
              <p:spPr>
                <a:xfrm>
                  <a:off x="3305735" y="5246889"/>
                  <a:ext cx="36023" cy="1159"/>
                </a:xfrm>
                <a:custGeom>
                  <a:avLst/>
                  <a:gdLst>
                    <a:gd name="connsiteX0" fmla="*/ 0 w 36023"/>
                    <a:gd name="connsiteY0" fmla="*/ 0 h 1159"/>
                    <a:gd name="connsiteX1" fmla="*/ 36023 w 36023"/>
                    <a:gd name="connsiteY1" fmla="*/ 0 h 115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36023" h="1159">
                      <a:moveTo>
                        <a:pt x="0" y="0"/>
                      </a:moveTo>
                      <a:lnTo>
                        <a:pt x="36023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510" name="Forma livre: Forma 1509">
                  <a:extLst>
                    <a:ext uri="{FF2B5EF4-FFF2-40B4-BE49-F238E27FC236}">
                      <a16:creationId xmlns:a16="http://schemas.microsoft.com/office/drawing/2014/main" id="{FDC7E14E-1A96-D7D5-CE6E-B64710D587B7}"/>
                    </a:ext>
                  </a:extLst>
                </p:cNvPr>
                <p:cNvSpPr/>
                <p:nvPr/>
              </p:nvSpPr>
              <p:spPr>
                <a:xfrm>
                  <a:off x="3305735" y="5272834"/>
                  <a:ext cx="36023" cy="1159"/>
                </a:xfrm>
                <a:custGeom>
                  <a:avLst/>
                  <a:gdLst>
                    <a:gd name="connsiteX0" fmla="*/ 0 w 36023"/>
                    <a:gd name="connsiteY0" fmla="*/ 0 h 1159"/>
                    <a:gd name="connsiteX1" fmla="*/ 36023 w 36023"/>
                    <a:gd name="connsiteY1" fmla="*/ 0 h 115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36023" h="1159">
                      <a:moveTo>
                        <a:pt x="0" y="0"/>
                      </a:moveTo>
                      <a:lnTo>
                        <a:pt x="36023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sp>
          <p:nvSpPr>
            <p:cNvPr id="1511" name="Forma livre: Forma 1510">
              <a:extLst>
                <a:ext uri="{FF2B5EF4-FFF2-40B4-BE49-F238E27FC236}">
                  <a16:creationId xmlns:a16="http://schemas.microsoft.com/office/drawing/2014/main" id="{4671949E-7E6F-7EA3-F769-8D924C0F8036}"/>
                </a:ext>
              </a:extLst>
            </p:cNvPr>
            <p:cNvSpPr/>
            <p:nvPr/>
          </p:nvSpPr>
          <p:spPr>
            <a:xfrm>
              <a:off x="3239500" y="5470996"/>
              <a:ext cx="85117" cy="1159"/>
            </a:xfrm>
            <a:custGeom>
              <a:avLst/>
              <a:gdLst>
                <a:gd name="connsiteX0" fmla="*/ 0 w 85117"/>
                <a:gd name="connsiteY0" fmla="*/ 0 h 1159"/>
                <a:gd name="connsiteX1" fmla="*/ 85117 w 85117"/>
                <a:gd name="connsiteY1" fmla="*/ 0 h 11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5117" h="1159">
                  <a:moveTo>
                    <a:pt x="0" y="0"/>
                  </a:moveTo>
                  <a:lnTo>
                    <a:pt x="85117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12" name="Forma livre: Forma 1511">
              <a:extLst>
                <a:ext uri="{FF2B5EF4-FFF2-40B4-BE49-F238E27FC236}">
                  <a16:creationId xmlns:a16="http://schemas.microsoft.com/office/drawing/2014/main" id="{61D2BB92-4D8C-EEE2-D15B-E14F21BDCE7B}"/>
                </a:ext>
              </a:extLst>
            </p:cNvPr>
            <p:cNvSpPr/>
            <p:nvPr/>
          </p:nvSpPr>
          <p:spPr>
            <a:xfrm>
              <a:off x="3283351" y="5425660"/>
              <a:ext cx="1159" cy="44849"/>
            </a:xfrm>
            <a:custGeom>
              <a:avLst/>
              <a:gdLst>
                <a:gd name="connsiteX0" fmla="*/ 0 w 1159"/>
                <a:gd name="connsiteY0" fmla="*/ 0 h 44849"/>
                <a:gd name="connsiteX1" fmla="*/ 0 w 1159"/>
                <a:gd name="connsiteY1" fmla="*/ 44849 h 448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59" h="44849">
                  <a:moveTo>
                    <a:pt x="0" y="0"/>
                  </a:moveTo>
                  <a:lnTo>
                    <a:pt x="0" y="44849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13" name="Forma livre: Forma 1512">
              <a:extLst>
                <a:ext uri="{FF2B5EF4-FFF2-40B4-BE49-F238E27FC236}">
                  <a16:creationId xmlns:a16="http://schemas.microsoft.com/office/drawing/2014/main" id="{AAEA9D8C-4474-8D07-A1FD-D4DDBABB6758}"/>
                </a:ext>
              </a:extLst>
            </p:cNvPr>
            <p:cNvSpPr/>
            <p:nvPr/>
          </p:nvSpPr>
          <p:spPr>
            <a:xfrm>
              <a:off x="3217719" y="5302223"/>
              <a:ext cx="131242" cy="24355"/>
            </a:xfrm>
            <a:custGeom>
              <a:avLst/>
              <a:gdLst>
                <a:gd name="connsiteX0" fmla="*/ 36139 w 131242"/>
                <a:gd name="connsiteY0" fmla="*/ 24356 h 24355"/>
                <a:gd name="connsiteX1" fmla="*/ 9278 w 131242"/>
                <a:gd name="connsiteY1" fmla="*/ 24356 h 24355"/>
                <a:gd name="connsiteX2" fmla="*/ 0 w 131242"/>
                <a:gd name="connsiteY2" fmla="*/ 15077 h 24355"/>
                <a:gd name="connsiteX3" fmla="*/ 0 w 131242"/>
                <a:gd name="connsiteY3" fmla="*/ 9278 h 24355"/>
                <a:gd name="connsiteX4" fmla="*/ 9278 w 131242"/>
                <a:gd name="connsiteY4" fmla="*/ 0 h 24355"/>
                <a:gd name="connsiteX5" fmla="*/ 121964 w 131242"/>
                <a:gd name="connsiteY5" fmla="*/ 0 h 24355"/>
                <a:gd name="connsiteX6" fmla="*/ 131242 w 131242"/>
                <a:gd name="connsiteY6" fmla="*/ 9278 h 24355"/>
                <a:gd name="connsiteX7" fmla="*/ 131242 w 131242"/>
                <a:gd name="connsiteY7" fmla="*/ 15077 h 24355"/>
                <a:gd name="connsiteX8" fmla="*/ 121964 w 131242"/>
                <a:gd name="connsiteY8" fmla="*/ 24356 h 24355"/>
                <a:gd name="connsiteX9" fmla="*/ 55473 w 131242"/>
                <a:gd name="connsiteY9" fmla="*/ 24356 h 243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31242" h="24355">
                  <a:moveTo>
                    <a:pt x="36139" y="24356"/>
                  </a:moveTo>
                  <a:lnTo>
                    <a:pt x="9278" y="24356"/>
                  </a:lnTo>
                  <a:cubicBezTo>
                    <a:pt x="4175" y="24356"/>
                    <a:pt x="0" y="20180"/>
                    <a:pt x="0" y="15077"/>
                  </a:cubicBezTo>
                  <a:lnTo>
                    <a:pt x="0" y="9278"/>
                  </a:lnTo>
                  <a:cubicBezTo>
                    <a:pt x="0" y="4175"/>
                    <a:pt x="4175" y="0"/>
                    <a:pt x="9278" y="0"/>
                  </a:cubicBezTo>
                  <a:lnTo>
                    <a:pt x="121964" y="0"/>
                  </a:lnTo>
                  <a:cubicBezTo>
                    <a:pt x="127079" y="0"/>
                    <a:pt x="131242" y="4175"/>
                    <a:pt x="131242" y="9278"/>
                  </a:cubicBezTo>
                  <a:lnTo>
                    <a:pt x="131242" y="15077"/>
                  </a:lnTo>
                  <a:cubicBezTo>
                    <a:pt x="131242" y="20180"/>
                    <a:pt x="127079" y="24356"/>
                    <a:pt x="121964" y="24356"/>
                  </a:cubicBezTo>
                  <a:lnTo>
                    <a:pt x="55473" y="24356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14" name="Forma livre: Forma 1513">
              <a:extLst>
                <a:ext uri="{FF2B5EF4-FFF2-40B4-BE49-F238E27FC236}">
                  <a16:creationId xmlns:a16="http://schemas.microsoft.com/office/drawing/2014/main" id="{F7332597-E8A1-5A1C-FC3D-A58C44FACA97}"/>
                </a:ext>
              </a:extLst>
            </p:cNvPr>
            <p:cNvSpPr/>
            <p:nvPr/>
          </p:nvSpPr>
          <p:spPr>
            <a:xfrm>
              <a:off x="3178993" y="5313044"/>
              <a:ext cx="208716" cy="110632"/>
            </a:xfrm>
            <a:custGeom>
              <a:avLst/>
              <a:gdLst>
                <a:gd name="connsiteX0" fmla="*/ 208717 w 208716"/>
                <a:gd name="connsiteY0" fmla="*/ 0 h 110632"/>
                <a:gd name="connsiteX1" fmla="*/ 191842 w 208716"/>
                <a:gd name="connsiteY1" fmla="*/ 0 h 110632"/>
                <a:gd name="connsiteX2" fmla="*/ 191842 w 208716"/>
                <a:gd name="connsiteY2" fmla="*/ 30201 h 110632"/>
                <a:gd name="connsiteX3" fmla="*/ 111410 w 208716"/>
                <a:gd name="connsiteY3" fmla="*/ 110633 h 110632"/>
                <a:gd name="connsiteX4" fmla="*/ 97307 w 208716"/>
                <a:gd name="connsiteY4" fmla="*/ 110633 h 110632"/>
                <a:gd name="connsiteX5" fmla="*/ 16875 w 208716"/>
                <a:gd name="connsiteY5" fmla="*/ 30201 h 110632"/>
                <a:gd name="connsiteX6" fmla="*/ 16875 w 208716"/>
                <a:gd name="connsiteY6" fmla="*/ 0 h 110632"/>
                <a:gd name="connsiteX7" fmla="*/ 0 w 208716"/>
                <a:gd name="connsiteY7" fmla="*/ 0 h 1106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08716" h="110632">
                  <a:moveTo>
                    <a:pt x="208717" y="0"/>
                  </a:moveTo>
                  <a:lnTo>
                    <a:pt x="191842" y="0"/>
                  </a:lnTo>
                  <a:lnTo>
                    <a:pt x="191842" y="30201"/>
                  </a:lnTo>
                  <a:cubicBezTo>
                    <a:pt x="191842" y="74563"/>
                    <a:pt x="155760" y="110633"/>
                    <a:pt x="111410" y="110633"/>
                  </a:cubicBezTo>
                  <a:lnTo>
                    <a:pt x="97307" y="110633"/>
                  </a:lnTo>
                  <a:cubicBezTo>
                    <a:pt x="52956" y="110633"/>
                    <a:pt x="16875" y="74551"/>
                    <a:pt x="16875" y="30201"/>
                  </a:cubicBezTo>
                  <a:lnTo>
                    <a:pt x="16875" y="0"/>
                  </a:lnTo>
                  <a:lnTo>
                    <a:pt x="0" y="0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515" name="Gráfico 14">
            <a:extLst>
              <a:ext uri="{FF2B5EF4-FFF2-40B4-BE49-F238E27FC236}">
                <a16:creationId xmlns:a16="http://schemas.microsoft.com/office/drawing/2014/main" id="{F6559753-8FFF-8BE6-3D87-3BDCA10EA4B3}"/>
              </a:ext>
            </a:extLst>
          </p:cNvPr>
          <p:cNvGrpSpPr/>
          <p:nvPr/>
        </p:nvGrpSpPr>
        <p:grpSpPr>
          <a:xfrm>
            <a:off x="3116074" y="4657992"/>
            <a:ext cx="334542" cy="306811"/>
            <a:chOff x="3116074" y="4657992"/>
            <a:chExt cx="334542" cy="306811"/>
          </a:xfrm>
          <a:noFill/>
        </p:grpSpPr>
        <p:grpSp>
          <p:nvGrpSpPr>
            <p:cNvPr id="1516" name="Gráfico 14">
              <a:extLst>
                <a:ext uri="{FF2B5EF4-FFF2-40B4-BE49-F238E27FC236}">
                  <a16:creationId xmlns:a16="http://schemas.microsoft.com/office/drawing/2014/main" id="{B90E71EB-003A-25BB-2811-927A415FA8CC}"/>
                </a:ext>
              </a:extLst>
            </p:cNvPr>
            <p:cNvGrpSpPr/>
            <p:nvPr/>
          </p:nvGrpSpPr>
          <p:grpSpPr>
            <a:xfrm>
              <a:off x="3179016" y="4657992"/>
              <a:ext cx="189939" cy="43515"/>
              <a:chOff x="3179016" y="4657992"/>
              <a:chExt cx="189939" cy="43515"/>
            </a:xfrm>
            <a:noFill/>
          </p:grpSpPr>
          <p:sp>
            <p:nvSpPr>
              <p:cNvPr id="1517" name="Forma livre: Forma 1516">
                <a:extLst>
                  <a:ext uri="{FF2B5EF4-FFF2-40B4-BE49-F238E27FC236}">
                    <a16:creationId xmlns:a16="http://schemas.microsoft.com/office/drawing/2014/main" id="{8FA99B43-E26A-3839-6AD1-5CC7204BF9EF}"/>
                  </a:ext>
                </a:extLst>
              </p:cNvPr>
              <p:cNvSpPr/>
              <p:nvPr/>
            </p:nvSpPr>
            <p:spPr>
              <a:xfrm>
                <a:off x="3343463" y="4657992"/>
                <a:ext cx="25492" cy="43515"/>
              </a:xfrm>
              <a:custGeom>
                <a:avLst/>
                <a:gdLst>
                  <a:gd name="connsiteX0" fmla="*/ 0 w 25492"/>
                  <a:gd name="connsiteY0" fmla="*/ 36870 h 43515"/>
                  <a:gd name="connsiteX1" fmla="*/ 12804 w 25492"/>
                  <a:gd name="connsiteY1" fmla="*/ 43515 h 43515"/>
                  <a:gd name="connsiteX2" fmla="*/ 25492 w 25492"/>
                  <a:gd name="connsiteY2" fmla="*/ 32637 h 43515"/>
                  <a:gd name="connsiteX3" fmla="*/ 12804 w 25492"/>
                  <a:gd name="connsiteY3" fmla="*/ 21758 h 43515"/>
                  <a:gd name="connsiteX4" fmla="*/ 116 w 25492"/>
                  <a:gd name="connsiteY4" fmla="*/ 10879 h 43515"/>
                  <a:gd name="connsiteX5" fmla="*/ 12804 w 25492"/>
                  <a:gd name="connsiteY5" fmla="*/ 0 h 43515"/>
                  <a:gd name="connsiteX6" fmla="*/ 23486 w 25492"/>
                  <a:gd name="connsiteY6" fmla="*/ 3943 h 435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5492" h="43515">
                    <a:moveTo>
                      <a:pt x="0" y="36870"/>
                    </a:moveTo>
                    <a:cubicBezTo>
                      <a:pt x="2122" y="40767"/>
                      <a:pt x="7075" y="43515"/>
                      <a:pt x="12804" y="43515"/>
                    </a:cubicBezTo>
                    <a:cubicBezTo>
                      <a:pt x="20447" y="43515"/>
                      <a:pt x="25492" y="38621"/>
                      <a:pt x="25492" y="32637"/>
                    </a:cubicBezTo>
                    <a:cubicBezTo>
                      <a:pt x="25492" y="26652"/>
                      <a:pt x="20273" y="23439"/>
                      <a:pt x="12804" y="21758"/>
                    </a:cubicBezTo>
                    <a:cubicBezTo>
                      <a:pt x="5323" y="20018"/>
                      <a:pt x="116" y="16863"/>
                      <a:pt x="116" y="10879"/>
                    </a:cubicBezTo>
                    <a:cubicBezTo>
                      <a:pt x="116" y="4894"/>
                      <a:pt x="5161" y="0"/>
                      <a:pt x="12804" y="0"/>
                    </a:cubicBezTo>
                    <a:cubicBezTo>
                      <a:pt x="17095" y="0"/>
                      <a:pt x="20934" y="1531"/>
                      <a:pt x="23486" y="3943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518" name="Forma livre: Forma 1517">
                <a:extLst>
                  <a:ext uri="{FF2B5EF4-FFF2-40B4-BE49-F238E27FC236}">
                    <a16:creationId xmlns:a16="http://schemas.microsoft.com/office/drawing/2014/main" id="{5A60B4CD-1B0E-9F88-8187-F6BFE6F7CF6D}"/>
                  </a:ext>
                </a:extLst>
              </p:cNvPr>
              <p:cNvSpPr/>
              <p:nvPr/>
            </p:nvSpPr>
            <p:spPr>
              <a:xfrm>
                <a:off x="3179016" y="4658039"/>
                <a:ext cx="29365" cy="43469"/>
              </a:xfrm>
              <a:custGeom>
                <a:avLst/>
                <a:gdLst>
                  <a:gd name="connsiteX0" fmla="*/ 0 w 29365"/>
                  <a:gd name="connsiteY0" fmla="*/ 43469 h 43469"/>
                  <a:gd name="connsiteX1" fmla="*/ 0 w 29365"/>
                  <a:gd name="connsiteY1" fmla="*/ 0 h 43469"/>
                  <a:gd name="connsiteX2" fmla="*/ 29366 w 29365"/>
                  <a:gd name="connsiteY2" fmla="*/ 43469 h 43469"/>
                  <a:gd name="connsiteX3" fmla="*/ 29366 w 29365"/>
                  <a:gd name="connsiteY3" fmla="*/ 0 h 434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9365" h="43469">
                    <a:moveTo>
                      <a:pt x="0" y="43469"/>
                    </a:moveTo>
                    <a:lnTo>
                      <a:pt x="0" y="0"/>
                    </a:lnTo>
                    <a:lnTo>
                      <a:pt x="29366" y="43469"/>
                    </a:lnTo>
                    <a:lnTo>
                      <a:pt x="29366" y="0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519" name="Forma livre: Forma 1518">
                <a:extLst>
                  <a:ext uri="{FF2B5EF4-FFF2-40B4-BE49-F238E27FC236}">
                    <a16:creationId xmlns:a16="http://schemas.microsoft.com/office/drawing/2014/main" id="{A228ACD9-A065-0B37-6F92-91224D8E20D1}"/>
                  </a:ext>
                </a:extLst>
              </p:cNvPr>
              <p:cNvSpPr/>
              <p:nvPr/>
            </p:nvSpPr>
            <p:spPr>
              <a:xfrm>
                <a:off x="3270060" y="4658039"/>
                <a:ext cx="56284" cy="43469"/>
              </a:xfrm>
              <a:custGeom>
                <a:avLst/>
                <a:gdLst>
                  <a:gd name="connsiteX0" fmla="*/ 0 w 56284"/>
                  <a:gd name="connsiteY0" fmla="*/ 0 h 43469"/>
                  <a:gd name="connsiteX1" fmla="*/ 14718 w 56284"/>
                  <a:gd name="connsiteY1" fmla="*/ 43469 h 43469"/>
                  <a:gd name="connsiteX2" fmla="*/ 28137 w 56284"/>
                  <a:gd name="connsiteY2" fmla="*/ 0 h 43469"/>
                  <a:gd name="connsiteX3" fmla="*/ 44084 w 56284"/>
                  <a:gd name="connsiteY3" fmla="*/ 43469 h 43469"/>
                  <a:gd name="connsiteX4" fmla="*/ 56285 w 56284"/>
                  <a:gd name="connsiteY4" fmla="*/ 0 h 434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6284" h="43469">
                    <a:moveTo>
                      <a:pt x="0" y="0"/>
                    </a:moveTo>
                    <a:lnTo>
                      <a:pt x="14718" y="43469"/>
                    </a:lnTo>
                    <a:lnTo>
                      <a:pt x="28137" y="0"/>
                    </a:lnTo>
                    <a:lnTo>
                      <a:pt x="44084" y="43469"/>
                    </a:lnTo>
                    <a:lnTo>
                      <a:pt x="56285" y="0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1520" name="Gráfico 14">
                <a:extLst>
                  <a:ext uri="{FF2B5EF4-FFF2-40B4-BE49-F238E27FC236}">
                    <a16:creationId xmlns:a16="http://schemas.microsoft.com/office/drawing/2014/main" id="{75EE8AC6-8371-8812-9F1E-849D9F08AA1D}"/>
                  </a:ext>
                </a:extLst>
              </p:cNvPr>
              <p:cNvGrpSpPr/>
              <p:nvPr/>
            </p:nvGrpSpPr>
            <p:grpSpPr>
              <a:xfrm>
                <a:off x="3229781" y="4658039"/>
                <a:ext cx="22523" cy="43469"/>
                <a:chOff x="3229781" y="4658039"/>
                <a:chExt cx="22523" cy="43469"/>
              </a:xfrm>
              <a:noFill/>
            </p:grpSpPr>
            <p:sp>
              <p:nvSpPr>
                <p:cNvPr id="1521" name="Forma livre: Forma 1520">
                  <a:extLst>
                    <a:ext uri="{FF2B5EF4-FFF2-40B4-BE49-F238E27FC236}">
                      <a16:creationId xmlns:a16="http://schemas.microsoft.com/office/drawing/2014/main" id="{EAE44F4C-A6B4-2DB1-0E1A-E13224FCA05A}"/>
                    </a:ext>
                  </a:extLst>
                </p:cNvPr>
                <p:cNvSpPr/>
                <p:nvPr/>
              </p:nvSpPr>
              <p:spPr>
                <a:xfrm>
                  <a:off x="3229781" y="4658039"/>
                  <a:ext cx="22523" cy="43469"/>
                </a:xfrm>
                <a:custGeom>
                  <a:avLst/>
                  <a:gdLst>
                    <a:gd name="connsiteX0" fmla="*/ 22523 w 22523"/>
                    <a:gd name="connsiteY0" fmla="*/ 0 h 43469"/>
                    <a:gd name="connsiteX1" fmla="*/ 0 w 22523"/>
                    <a:gd name="connsiteY1" fmla="*/ 0 h 43469"/>
                    <a:gd name="connsiteX2" fmla="*/ 0 w 22523"/>
                    <a:gd name="connsiteY2" fmla="*/ 43469 h 43469"/>
                    <a:gd name="connsiteX3" fmla="*/ 22523 w 22523"/>
                    <a:gd name="connsiteY3" fmla="*/ 43469 h 4346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22523" h="43469">
                      <a:moveTo>
                        <a:pt x="22523" y="0"/>
                      </a:moveTo>
                      <a:lnTo>
                        <a:pt x="0" y="0"/>
                      </a:lnTo>
                      <a:lnTo>
                        <a:pt x="0" y="43469"/>
                      </a:lnTo>
                      <a:lnTo>
                        <a:pt x="22523" y="43469"/>
                      </a:ln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522" name="Forma livre: Forma 1521">
                  <a:extLst>
                    <a:ext uri="{FF2B5EF4-FFF2-40B4-BE49-F238E27FC236}">
                      <a16:creationId xmlns:a16="http://schemas.microsoft.com/office/drawing/2014/main" id="{13391CF0-D23E-9B13-AB24-3005E6FFD602}"/>
                    </a:ext>
                  </a:extLst>
                </p:cNvPr>
                <p:cNvSpPr/>
                <p:nvPr/>
              </p:nvSpPr>
              <p:spPr>
                <a:xfrm>
                  <a:off x="3230604" y="4679773"/>
                  <a:ext cx="16271" cy="1159"/>
                </a:xfrm>
                <a:custGeom>
                  <a:avLst/>
                  <a:gdLst>
                    <a:gd name="connsiteX0" fmla="*/ 0 w 16271"/>
                    <a:gd name="connsiteY0" fmla="*/ 0 h 1159"/>
                    <a:gd name="connsiteX1" fmla="*/ 16272 w 16271"/>
                    <a:gd name="connsiteY1" fmla="*/ 0 h 115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6271" h="1159">
                      <a:moveTo>
                        <a:pt x="0" y="0"/>
                      </a:moveTo>
                      <a:lnTo>
                        <a:pt x="16272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grpSp>
          <p:nvGrpSpPr>
            <p:cNvPr id="1523" name="Gráfico 14">
              <a:extLst>
                <a:ext uri="{FF2B5EF4-FFF2-40B4-BE49-F238E27FC236}">
                  <a16:creationId xmlns:a16="http://schemas.microsoft.com/office/drawing/2014/main" id="{4952FA4D-9F35-D630-AB55-EAEEA75B02A6}"/>
                </a:ext>
              </a:extLst>
            </p:cNvPr>
            <p:cNvGrpSpPr/>
            <p:nvPr/>
          </p:nvGrpSpPr>
          <p:grpSpPr>
            <a:xfrm>
              <a:off x="3134144" y="4964804"/>
              <a:ext cx="316472" cy="1159"/>
              <a:chOff x="3134144" y="4964804"/>
              <a:chExt cx="316472" cy="1159"/>
            </a:xfrm>
          </p:grpSpPr>
          <p:sp>
            <p:nvSpPr>
              <p:cNvPr id="1524" name="Forma livre: Forma 1523">
                <a:extLst>
                  <a:ext uri="{FF2B5EF4-FFF2-40B4-BE49-F238E27FC236}">
                    <a16:creationId xmlns:a16="http://schemas.microsoft.com/office/drawing/2014/main" id="{1C68188B-9D01-1618-7A71-7E5DB2F1C28B}"/>
                  </a:ext>
                </a:extLst>
              </p:cNvPr>
              <p:cNvSpPr/>
              <p:nvPr/>
            </p:nvSpPr>
            <p:spPr>
              <a:xfrm>
                <a:off x="3434577" y="4964804"/>
                <a:ext cx="16039" cy="1159"/>
              </a:xfrm>
              <a:custGeom>
                <a:avLst/>
                <a:gdLst>
                  <a:gd name="connsiteX0" fmla="*/ 0 w 16039"/>
                  <a:gd name="connsiteY0" fmla="*/ 0 h 1159"/>
                  <a:gd name="connsiteX1" fmla="*/ 16040 w 16039"/>
                  <a:gd name="connsiteY1" fmla="*/ 0 h 11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6039" h="1159">
                    <a:moveTo>
                      <a:pt x="0" y="0"/>
                    </a:moveTo>
                    <a:lnTo>
                      <a:pt x="1604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525" name="Forma livre: Forma 1524">
                <a:extLst>
                  <a:ext uri="{FF2B5EF4-FFF2-40B4-BE49-F238E27FC236}">
                    <a16:creationId xmlns:a16="http://schemas.microsoft.com/office/drawing/2014/main" id="{A61C709F-AB81-AB7A-EE22-497609D6497F}"/>
                  </a:ext>
                </a:extLst>
              </p:cNvPr>
              <p:cNvSpPr/>
              <p:nvPr/>
            </p:nvSpPr>
            <p:spPr>
              <a:xfrm>
                <a:off x="3134144" y="4964804"/>
                <a:ext cx="279220" cy="1159"/>
              </a:xfrm>
              <a:custGeom>
                <a:avLst/>
                <a:gdLst>
                  <a:gd name="connsiteX0" fmla="*/ 0 w 279220"/>
                  <a:gd name="connsiteY0" fmla="*/ 0 h 1159"/>
                  <a:gd name="connsiteX1" fmla="*/ 279220 w 279220"/>
                  <a:gd name="connsiteY1" fmla="*/ 0 h 11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79220" h="1159">
                    <a:moveTo>
                      <a:pt x="0" y="0"/>
                    </a:moveTo>
                    <a:lnTo>
                      <a:pt x="27922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526" name="Forma livre: Forma 1525">
              <a:extLst>
                <a:ext uri="{FF2B5EF4-FFF2-40B4-BE49-F238E27FC236}">
                  <a16:creationId xmlns:a16="http://schemas.microsoft.com/office/drawing/2014/main" id="{03A4AC6C-00EB-7489-37E3-E8E7754F5108}"/>
                </a:ext>
              </a:extLst>
            </p:cNvPr>
            <p:cNvSpPr/>
            <p:nvPr/>
          </p:nvSpPr>
          <p:spPr>
            <a:xfrm>
              <a:off x="3240230" y="4758488"/>
              <a:ext cx="67500" cy="1159"/>
            </a:xfrm>
            <a:custGeom>
              <a:avLst/>
              <a:gdLst>
                <a:gd name="connsiteX0" fmla="*/ 0 w 67500"/>
                <a:gd name="connsiteY0" fmla="*/ 0 h 1159"/>
                <a:gd name="connsiteX1" fmla="*/ 67500 w 67500"/>
                <a:gd name="connsiteY1" fmla="*/ 0 h 11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7500" h="1159">
                  <a:moveTo>
                    <a:pt x="0" y="0"/>
                  </a:moveTo>
                  <a:lnTo>
                    <a:pt x="6750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27" name="Forma livre: Forma 1526">
              <a:extLst>
                <a:ext uri="{FF2B5EF4-FFF2-40B4-BE49-F238E27FC236}">
                  <a16:creationId xmlns:a16="http://schemas.microsoft.com/office/drawing/2014/main" id="{AE3B0975-37CC-B21D-5BE7-C10A308A2BA1}"/>
                </a:ext>
              </a:extLst>
            </p:cNvPr>
            <p:cNvSpPr/>
            <p:nvPr/>
          </p:nvSpPr>
          <p:spPr>
            <a:xfrm>
              <a:off x="3240230" y="4792876"/>
              <a:ext cx="67500" cy="1159"/>
            </a:xfrm>
            <a:custGeom>
              <a:avLst/>
              <a:gdLst>
                <a:gd name="connsiteX0" fmla="*/ 0 w 67500"/>
                <a:gd name="connsiteY0" fmla="*/ 0 h 1159"/>
                <a:gd name="connsiteX1" fmla="*/ 67500 w 67500"/>
                <a:gd name="connsiteY1" fmla="*/ 0 h 11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7500" h="1159">
                  <a:moveTo>
                    <a:pt x="0" y="0"/>
                  </a:moveTo>
                  <a:lnTo>
                    <a:pt x="6750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28" name="Forma livre: Forma 1527">
              <a:extLst>
                <a:ext uri="{FF2B5EF4-FFF2-40B4-BE49-F238E27FC236}">
                  <a16:creationId xmlns:a16="http://schemas.microsoft.com/office/drawing/2014/main" id="{734FA2DF-1443-A1C0-D4C8-B9581D904BEA}"/>
                </a:ext>
              </a:extLst>
            </p:cNvPr>
            <p:cNvSpPr/>
            <p:nvPr/>
          </p:nvSpPr>
          <p:spPr>
            <a:xfrm>
              <a:off x="3240230" y="4827276"/>
              <a:ext cx="67500" cy="1159"/>
            </a:xfrm>
            <a:custGeom>
              <a:avLst/>
              <a:gdLst>
                <a:gd name="connsiteX0" fmla="*/ 0 w 67500"/>
                <a:gd name="connsiteY0" fmla="*/ 0 h 1159"/>
                <a:gd name="connsiteX1" fmla="*/ 67500 w 67500"/>
                <a:gd name="connsiteY1" fmla="*/ 0 h 11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7500" h="1159">
                  <a:moveTo>
                    <a:pt x="0" y="0"/>
                  </a:moveTo>
                  <a:lnTo>
                    <a:pt x="6750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29" name="Forma livre: Forma 1528">
              <a:extLst>
                <a:ext uri="{FF2B5EF4-FFF2-40B4-BE49-F238E27FC236}">
                  <a16:creationId xmlns:a16="http://schemas.microsoft.com/office/drawing/2014/main" id="{7581EFEB-A5AB-EF5D-AFEE-89EDCE67663E}"/>
                </a:ext>
              </a:extLst>
            </p:cNvPr>
            <p:cNvSpPr/>
            <p:nvPr/>
          </p:nvSpPr>
          <p:spPr>
            <a:xfrm>
              <a:off x="3240230" y="4896063"/>
              <a:ext cx="67500" cy="1159"/>
            </a:xfrm>
            <a:custGeom>
              <a:avLst/>
              <a:gdLst>
                <a:gd name="connsiteX0" fmla="*/ 0 w 67500"/>
                <a:gd name="connsiteY0" fmla="*/ 0 h 1159"/>
                <a:gd name="connsiteX1" fmla="*/ 67500 w 67500"/>
                <a:gd name="connsiteY1" fmla="*/ 0 h 11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7500" h="1159">
                  <a:moveTo>
                    <a:pt x="0" y="0"/>
                  </a:moveTo>
                  <a:lnTo>
                    <a:pt x="6750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30" name="Forma livre: Forma 1529">
              <a:extLst>
                <a:ext uri="{FF2B5EF4-FFF2-40B4-BE49-F238E27FC236}">
                  <a16:creationId xmlns:a16="http://schemas.microsoft.com/office/drawing/2014/main" id="{4D0FE664-C0EB-8BE6-E095-91C9509D3943}"/>
                </a:ext>
              </a:extLst>
            </p:cNvPr>
            <p:cNvSpPr/>
            <p:nvPr/>
          </p:nvSpPr>
          <p:spPr>
            <a:xfrm>
              <a:off x="3240230" y="4930451"/>
              <a:ext cx="67500" cy="1159"/>
            </a:xfrm>
            <a:custGeom>
              <a:avLst/>
              <a:gdLst>
                <a:gd name="connsiteX0" fmla="*/ 0 w 67500"/>
                <a:gd name="connsiteY0" fmla="*/ 0 h 1159"/>
                <a:gd name="connsiteX1" fmla="*/ 67500 w 67500"/>
                <a:gd name="connsiteY1" fmla="*/ 0 h 11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7500" h="1159">
                  <a:moveTo>
                    <a:pt x="0" y="0"/>
                  </a:moveTo>
                  <a:lnTo>
                    <a:pt x="6750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31" name="Forma livre: Forma 1530">
              <a:extLst>
                <a:ext uri="{FF2B5EF4-FFF2-40B4-BE49-F238E27FC236}">
                  <a16:creationId xmlns:a16="http://schemas.microsoft.com/office/drawing/2014/main" id="{1876944A-1780-DCF2-3D84-0CDF2D864B0A}"/>
                </a:ext>
              </a:extLst>
            </p:cNvPr>
            <p:cNvSpPr/>
            <p:nvPr/>
          </p:nvSpPr>
          <p:spPr>
            <a:xfrm>
              <a:off x="3240230" y="4861664"/>
              <a:ext cx="67500" cy="1159"/>
            </a:xfrm>
            <a:custGeom>
              <a:avLst/>
              <a:gdLst>
                <a:gd name="connsiteX0" fmla="*/ 0 w 67500"/>
                <a:gd name="connsiteY0" fmla="*/ 0 h 1159"/>
                <a:gd name="connsiteX1" fmla="*/ 67500 w 67500"/>
                <a:gd name="connsiteY1" fmla="*/ 0 h 11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7500" h="1159">
                  <a:moveTo>
                    <a:pt x="0" y="0"/>
                  </a:moveTo>
                  <a:lnTo>
                    <a:pt x="6750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32" name="Forma livre: Forma 1531">
              <a:extLst>
                <a:ext uri="{FF2B5EF4-FFF2-40B4-BE49-F238E27FC236}">
                  <a16:creationId xmlns:a16="http://schemas.microsoft.com/office/drawing/2014/main" id="{239580AE-5E25-D8FA-5A98-D98D29948D7A}"/>
                </a:ext>
              </a:extLst>
            </p:cNvPr>
            <p:cNvSpPr/>
            <p:nvPr/>
          </p:nvSpPr>
          <p:spPr>
            <a:xfrm>
              <a:off x="3215979" y="4725214"/>
              <a:ext cx="116002" cy="238894"/>
            </a:xfrm>
            <a:custGeom>
              <a:avLst/>
              <a:gdLst>
                <a:gd name="connsiteX0" fmla="*/ 0 w 116002"/>
                <a:gd name="connsiteY0" fmla="*/ 238894 h 238894"/>
                <a:gd name="connsiteX1" fmla="*/ 0 w 116002"/>
                <a:gd name="connsiteY1" fmla="*/ 0 h 238894"/>
                <a:gd name="connsiteX2" fmla="*/ 116003 w 116002"/>
                <a:gd name="connsiteY2" fmla="*/ 0 h 238894"/>
                <a:gd name="connsiteX3" fmla="*/ 116003 w 116002"/>
                <a:gd name="connsiteY3" fmla="*/ 238894 h 2388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6002" h="238894">
                  <a:moveTo>
                    <a:pt x="0" y="238894"/>
                  </a:moveTo>
                  <a:lnTo>
                    <a:pt x="0" y="0"/>
                  </a:lnTo>
                  <a:lnTo>
                    <a:pt x="116003" y="0"/>
                  </a:lnTo>
                  <a:lnTo>
                    <a:pt x="116003" y="238894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533" name="Gráfico 14">
              <a:extLst>
                <a:ext uri="{FF2B5EF4-FFF2-40B4-BE49-F238E27FC236}">
                  <a16:creationId xmlns:a16="http://schemas.microsoft.com/office/drawing/2014/main" id="{FD52B6DB-E06A-73E7-E552-4677559AB410}"/>
                </a:ext>
              </a:extLst>
            </p:cNvPr>
            <p:cNvGrpSpPr/>
            <p:nvPr/>
          </p:nvGrpSpPr>
          <p:grpSpPr>
            <a:xfrm>
              <a:off x="3158407" y="4824400"/>
              <a:ext cx="230775" cy="139708"/>
              <a:chOff x="3158407" y="4824400"/>
              <a:chExt cx="230775" cy="139708"/>
            </a:xfrm>
            <a:noFill/>
          </p:grpSpPr>
          <p:grpSp>
            <p:nvGrpSpPr>
              <p:cNvPr id="1534" name="Gráfico 14">
                <a:extLst>
                  <a:ext uri="{FF2B5EF4-FFF2-40B4-BE49-F238E27FC236}">
                    <a16:creationId xmlns:a16="http://schemas.microsoft.com/office/drawing/2014/main" id="{D6427630-573C-60C8-DD8B-F37257D3753F}"/>
                  </a:ext>
                </a:extLst>
              </p:cNvPr>
              <p:cNvGrpSpPr/>
              <p:nvPr/>
            </p:nvGrpSpPr>
            <p:grpSpPr>
              <a:xfrm>
                <a:off x="3353832" y="4824400"/>
                <a:ext cx="35350" cy="139708"/>
                <a:chOff x="3353832" y="4824400"/>
                <a:chExt cx="35350" cy="139708"/>
              </a:xfrm>
              <a:noFill/>
            </p:grpSpPr>
            <p:sp>
              <p:nvSpPr>
                <p:cNvPr id="1535" name="Forma livre: Forma 1534">
                  <a:extLst>
                    <a:ext uri="{FF2B5EF4-FFF2-40B4-BE49-F238E27FC236}">
                      <a16:creationId xmlns:a16="http://schemas.microsoft.com/office/drawing/2014/main" id="{1EF2FE08-9FD4-9594-61EC-1B3642277583}"/>
                    </a:ext>
                  </a:extLst>
                </p:cNvPr>
                <p:cNvSpPr/>
                <p:nvPr/>
              </p:nvSpPr>
              <p:spPr>
                <a:xfrm>
                  <a:off x="3353832" y="4824400"/>
                  <a:ext cx="35350" cy="139708"/>
                </a:xfrm>
                <a:custGeom>
                  <a:avLst/>
                  <a:gdLst>
                    <a:gd name="connsiteX0" fmla="*/ 35351 w 35350"/>
                    <a:gd name="connsiteY0" fmla="*/ 139709 h 139708"/>
                    <a:gd name="connsiteX1" fmla="*/ 35351 w 35350"/>
                    <a:gd name="connsiteY1" fmla="*/ 0 h 139708"/>
                    <a:gd name="connsiteX2" fmla="*/ 0 w 35350"/>
                    <a:gd name="connsiteY2" fmla="*/ 0 h 13970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35350" h="139708">
                      <a:moveTo>
                        <a:pt x="35351" y="139709"/>
                      </a:moveTo>
                      <a:lnTo>
                        <a:pt x="35351" y="0"/>
                      </a:lnTo>
                      <a:lnTo>
                        <a:pt x="0" y="0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536" name="Forma livre: Forma 1535">
                  <a:extLst>
                    <a:ext uri="{FF2B5EF4-FFF2-40B4-BE49-F238E27FC236}">
                      <a16:creationId xmlns:a16="http://schemas.microsoft.com/office/drawing/2014/main" id="{9D91EB7A-8A61-8ABE-9790-2EA99CA7AF99}"/>
                    </a:ext>
                  </a:extLst>
                </p:cNvPr>
                <p:cNvSpPr/>
                <p:nvPr/>
              </p:nvSpPr>
              <p:spPr>
                <a:xfrm>
                  <a:off x="3359735" y="4894729"/>
                  <a:ext cx="1159" cy="22557"/>
                </a:xfrm>
                <a:custGeom>
                  <a:avLst/>
                  <a:gdLst>
                    <a:gd name="connsiteX0" fmla="*/ 0 w 1159"/>
                    <a:gd name="connsiteY0" fmla="*/ 0 h 22557"/>
                    <a:gd name="connsiteX1" fmla="*/ 0 w 1159"/>
                    <a:gd name="connsiteY1" fmla="*/ 22558 h 2255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159" h="22557">
                      <a:moveTo>
                        <a:pt x="0" y="0"/>
                      </a:moveTo>
                      <a:lnTo>
                        <a:pt x="0" y="22558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537" name="Forma livre: Forma 1536">
                  <a:extLst>
                    <a:ext uri="{FF2B5EF4-FFF2-40B4-BE49-F238E27FC236}">
                      <a16:creationId xmlns:a16="http://schemas.microsoft.com/office/drawing/2014/main" id="{F189170B-779F-02E7-C910-E7C861BB4F3E}"/>
                    </a:ext>
                  </a:extLst>
                </p:cNvPr>
                <p:cNvSpPr/>
                <p:nvPr/>
              </p:nvSpPr>
              <p:spPr>
                <a:xfrm>
                  <a:off x="3359735" y="4849265"/>
                  <a:ext cx="1159" cy="22546"/>
                </a:xfrm>
                <a:custGeom>
                  <a:avLst/>
                  <a:gdLst>
                    <a:gd name="connsiteX0" fmla="*/ 0 w 1159"/>
                    <a:gd name="connsiteY0" fmla="*/ 0 h 22546"/>
                    <a:gd name="connsiteX1" fmla="*/ 0 w 1159"/>
                    <a:gd name="connsiteY1" fmla="*/ 22546 h 225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159" h="22546">
                      <a:moveTo>
                        <a:pt x="0" y="0"/>
                      </a:moveTo>
                      <a:lnTo>
                        <a:pt x="0" y="22546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538" name="Forma livre: Forma 1537">
                  <a:extLst>
                    <a:ext uri="{FF2B5EF4-FFF2-40B4-BE49-F238E27FC236}">
                      <a16:creationId xmlns:a16="http://schemas.microsoft.com/office/drawing/2014/main" id="{7C240C80-492C-5269-25A4-A7782DBC22D0}"/>
                    </a:ext>
                  </a:extLst>
                </p:cNvPr>
                <p:cNvSpPr/>
                <p:nvPr/>
              </p:nvSpPr>
              <p:spPr>
                <a:xfrm>
                  <a:off x="3359735" y="4939057"/>
                  <a:ext cx="1159" cy="24819"/>
                </a:xfrm>
                <a:custGeom>
                  <a:avLst/>
                  <a:gdLst>
                    <a:gd name="connsiteX0" fmla="*/ 0 w 1159"/>
                    <a:gd name="connsiteY0" fmla="*/ 0 h 24819"/>
                    <a:gd name="connsiteX1" fmla="*/ 0 w 1159"/>
                    <a:gd name="connsiteY1" fmla="*/ 24820 h 2481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159" h="24819">
                      <a:moveTo>
                        <a:pt x="0" y="0"/>
                      </a:moveTo>
                      <a:lnTo>
                        <a:pt x="0" y="2482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1539" name="Gráfico 14">
                <a:extLst>
                  <a:ext uri="{FF2B5EF4-FFF2-40B4-BE49-F238E27FC236}">
                    <a16:creationId xmlns:a16="http://schemas.microsoft.com/office/drawing/2014/main" id="{534FA07C-7A69-9529-B5D7-73D478582FDF}"/>
                  </a:ext>
                </a:extLst>
              </p:cNvPr>
              <p:cNvGrpSpPr/>
              <p:nvPr/>
            </p:nvGrpSpPr>
            <p:grpSpPr>
              <a:xfrm>
                <a:off x="3158407" y="4824400"/>
                <a:ext cx="35350" cy="139708"/>
                <a:chOff x="3158407" y="4824400"/>
                <a:chExt cx="35350" cy="139708"/>
              </a:xfrm>
              <a:noFill/>
            </p:grpSpPr>
            <p:sp>
              <p:nvSpPr>
                <p:cNvPr id="1540" name="Forma livre: Forma 1539">
                  <a:extLst>
                    <a:ext uri="{FF2B5EF4-FFF2-40B4-BE49-F238E27FC236}">
                      <a16:creationId xmlns:a16="http://schemas.microsoft.com/office/drawing/2014/main" id="{2CCAD9B5-A70C-2D3B-8C02-69E75CB33344}"/>
                    </a:ext>
                  </a:extLst>
                </p:cNvPr>
                <p:cNvSpPr/>
                <p:nvPr/>
              </p:nvSpPr>
              <p:spPr>
                <a:xfrm>
                  <a:off x="3158407" y="4824400"/>
                  <a:ext cx="35350" cy="139708"/>
                </a:xfrm>
                <a:custGeom>
                  <a:avLst/>
                  <a:gdLst>
                    <a:gd name="connsiteX0" fmla="*/ 0 w 35350"/>
                    <a:gd name="connsiteY0" fmla="*/ 139709 h 139708"/>
                    <a:gd name="connsiteX1" fmla="*/ 0 w 35350"/>
                    <a:gd name="connsiteY1" fmla="*/ 0 h 139708"/>
                    <a:gd name="connsiteX2" fmla="*/ 35351 w 35350"/>
                    <a:gd name="connsiteY2" fmla="*/ 0 h 13970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35350" h="139708">
                      <a:moveTo>
                        <a:pt x="0" y="139709"/>
                      </a:moveTo>
                      <a:lnTo>
                        <a:pt x="0" y="0"/>
                      </a:lnTo>
                      <a:lnTo>
                        <a:pt x="35351" y="0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541" name="Forma livre: Forma 1540">
                  <a:extLst>
                    <a:ext uri="{FF2B5EF4-FFF2-40B4-BE49-F238E27FC236}">
                      <a16:creationId xmlns:a16="http://schemas.microsoft.com/office/drawing/2014/main" id="{AD0CCDEB-54CB-D43B-C2BF-4812691DCBD5}"/>
                    </a:ext>
                  </a:extLst>
                </p:cNvPr>
                <p:cNvSpPr/>
                <p:nvPr/>
              </p:nvSpPr>
              <p:spPr>
                <a:xfrm>
                  <a:off x="3187854" y="4894729"/>
                  <a:ext cx="1159" cy="22557"/>
                </a:xfrm>
                <a:custGeom>
                  <a:avLst/>
                  <a:gdLst>
                    <a:gd name="connsiteX0" fmla="*/ 0 w 1159"/>
                    <a:gd name="connsiteY0" fmla="*/ 0 h 22557"/>
                    <a:gd name="connsiteX1" fmla="*/ 0 w 1159"/>
                    <a:gd name="connsiteY1" fmla="*/ 22558 h 2255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159" h="22557">
                      <a:moveTo>
                        <a:pt x="0" y="0"/>
                      </a:moveTo>
                      <a:lnTo>
                        <a:pt x="0" y="22558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542" name="Forma livre: Forma 1541">
                  <a:extLst>
                    <a:ext uri="{FF2B5EF4-FFF2-40B4-BE49-F238E27FC236}">
                      <a16:creationId xmlns:a16="http://schemas.microsoft.com/office/drawing/2014/main" id="{D0A116E2-DAE0-F007-9610-5A5B3F755C45}"/>
                    </a:ext>
                  </a:extLst>
                </p:cNvPr>
                <p:cNvSpPr/>
                <p:nvPr/>
              </p:nvSpPr>
              <p:spPr>
                <a:xfrm>
                  <a:off x="3187854" y="4849265"/>
                  <a:ext cx="1159" cy="22546"/>
                </a:xfrm>
                <a:custGeom>
                  <a:avLst/>
                  <a:gdLst>
                    <a:gd name="connsiteX0" fmla="*/ 0 w 1159"/>
                    <a:gd name="connsiteY0" fmla="*/ 0 h 22546"/>
                    <a:gd name="connsiteX1" fmla="*/ 0 w 1159"/>
                    <a:gd name="connsiteY1" fmla="*/ 22546 h 225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159" h="22546">
                      <a:moveTo>
                        <a:pt x="0" y="0"/>
                      </a:moveTo>
                      <a:lnTo>
                        <a:pt x="0" y="22546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543" name="Forma livre: Forma 1542">
                  <a:extLst>
                    <a:ext uri="{FF2B5EF4-FFF2-40B4-BE49-F238E27FC236}">
                      <a16:creationId xmlns:a16="http://schemas.microsoft.com/office/drawing/2014/main" id="{E4A3AC2F-27D1-BE02-9CF7-3DFB63D63339}"/>
                    </a:ext>
                  </a:extLst>
                </p:cNvPr>
                <p:cNvSpPr/>
                <p:nvPr/>
              </p:nvSpPr>
              <p:spPr>
                <a:xfrm>
                  <a:off x="3187854" y="4939057"/>
                  <a:ext cx="1159" cy="24819"/>
                </a:xfrm>
                <a:custGeom>
                  <a:avLst/>
                  <a:gdLst>
                    <a:gd name="connsiteX0" fmla="*/ 0 w 1159"/>
                    <a:gd name="connsiteY0" fmla="*/ 0 h 24819"/>
                    <a:gd name="connsiteX1" fmla="*/ 0 w 1159"/>
                    <a:gd name="connsiteY1" fmla="*/ 24820 h 2481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159" h="24819">
                      <a:moveTo>
                        <a:pt x="0" y="0"/>
                      </a:moveTo>
                      <a:lnTo>
                        <a:pt x="0" y="2482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sp>
          <p:nvSpPr>
            <p:cNvPr id="1544" name="Forma livre: Forma 1543">
              <a:extLst>
                <a:ext uri="{FF2B5EF4-FFF2-40B4-BE49-F238E27FC236}">
                  <a16:creationId xmlns:a16="http://schemas.microsoft.com/office/drawing/2014/main" id="{344F851F-06BE-9B70-7B03-1F6EE2BA60DF}"/>
                </a:ext>
              </a:extLst>
            </p:cNvPr>
            <p:cNvSpPr/>
            <p:nvPr/>
          </p:nvSpPr>
          <p:spPr>
            <a:xfrm>
              <a:off x="3116074" y="4737601"/>
              <a:ext cx="68984" cy="15831"/>
            </a:xfrm>
            <a:custGeom>
              <a:avLst/>
              <a:gdLst>
                <a:gd name="connsiteX0" fmla="*/ 0 w 68984"/>
                <a:gd name="connsiteY0" fmla="*/ 15831 h 15831"/>
                <a:gd name="connsiteX1" fmla="*/ 23254 w 68984"/>
                <a:gd name="connsiteY1" fmla="*/ 15831 h 15831"/>
                <a:gd name="connsiteX2" fmla="*/ 39085 w 68984"/>
                <a:gd name="connsiteY2" fmla="*/ 0 h 15831"/>
                <a:gd name="connsiteX3" fmla="*/ 54916 w 68984"/>
                <a:gd name="connsiteY3" fmla="*/ 15831 h 15831"/>
                <a:gd name="connsiteX4" fmla="*/ 68985 w 68984"/>
                <a:gd name="connsiteY4" fmla="*/ 15831 h 15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8984" h="15831">
                  <a:moveTo>
                    <a:pt x="0" y="15831"/>
                  </a:moveTo>
                  <a:lnTo>
                    <a:pt x="23254" y="15831"/>
                  </a:lnTo>
                  <a:cubicBezTo>
                    <a:pt x="23254" y="7086"/>
                    <a:pt x="30340" y="0"/>
                    <a:pt x="39085" y="0"/>
                  </a:cubicBezTo>
                  <a:cubicBezTo>
                    <a:pt x="47830" y="0"/>
                    <a:pt x="54916" y="7086"/>
                    <a:pt x="54916" y="15831"/>
                  </a:cubicBezTo>
                  <a:lnTo>
                    <a:pt x="68985" y="15831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45" name="Forma livre: Forma 1544">
              <a:extLst>
                <a:ext uri="{FF2B5EF4-FFF2-40B4-BE49-F238E27FC236}">
                  <a16:creationId xmlns:a16="http://schemas.microsoft.com/office/drawing/2014/main" id="{FF30EA9F-DE17-5273-A05E-5BE4A0CC28CB}"/>
                </a:ext>
              </a:extLst>
            </p:cNvPr>
            <p:cNvSpPr/>
            <p:nvPr/>
          </p:nvSpPr>
          <p:spPr>
            <a:xfrm>
              <a:off x="3363342" y="4749929"/>
              <a:ext cx="61863" cy="12931"/>
            </a:xfrm>
            <a:custGeom>
              <a:avLst/>
              <a:gdLst>
                <a:gd name="connsiteX0" fmla="*/ 61863 w 61863"/>
                <a:gd name="connsiteY0" fmla="*/ 12932 h 12931"/>
                <a:gd name="connsiteX1" fmla="*/ 49338 w 61863"/>
                <a:gd name="connsiteY1" fmla="*/ 12932 h 12931"/>
                <a:gd name="connsiteX2" fmla="*/ 36418 w 61863"/>
                <a:gd name="connsiteY2" fmla="*/ 0 h 12931"/>
                <a:gd name="connsiteX3" fmla="*/ 23486 w 61863"/>
                <a:gd name="connsiteY3" fmla="*/ 12932 h 12931"/>
                <a:gd name="connsiteX4" fmla="*/ 0 w 61863"/>
                <a:gd name="connsiteY4" fmla="*/ 12932 h 129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1863" h="12931">
                  <a:moveTo>
                    <a:pt x="61863" y="12932"/>
                  </a:moveTo>
                  <a:lnTo>
                    <a:pt x="49338" y="12932"/>
                  </a:lnTo>
                  <a:cubicBezTo>
                    <a:pt x="49338" y="5787"/>
                    <a:pt x="43550" y="0"/>
                    <a:pt x="36418" y="0"/>
                  </a:cubicBezTo>
                  <a:cubicBezTo>
                    <a:pt x="29285" y="0"/>
                    <a:pt x="23486" y="5787"/>
                    <a:pt x="23486" y="12932"/>
                  </a:cubicBezTo>
                  <a:lnTo>
                    <a:pt x="0" y="12932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46" name="Forma livre: Forma 1545">
              <a:extLst>
                <a:ext uri="{FF2B5EF4-FFF2-40B4-BE49-F238E27FC236}">
                  <a16:creationId xmlns:a16="http://schemas.microsoft.com/office/drawing/2014/main" id="{EDDD125F-6342-DE19-5765-7CA57C054B89}"/>
                </a:ext>
              </a:extLst>
            </p:cNvPr>
            <p:cNvSpPr/>
            <p:nvPr/>
          </p:nvSpPr>
          <p:spPr>
            <a:xfrm>
              <a:off x="3419326" y="4784363"/>
              <a:ext cx="25828" cy="1159"/>
            </a:xfrm>
            <a:custGeom>
              <a:avLst/>
              <a:gdLst>
                <a:gd name="connsiteX0" fmla="*/ 0 w 25828"/>
                <a:gd name="connsiteY0" fmla="*/ 0 h 1159"/>
                <a:gd name="connsiteX1" fmla="*/ 25829 w 25828"/>
                <a:gd name="connsiteY1" fmla="*/ 0 h 11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5828" h="1159">
                  <a:moveTo>
                    <a:pt x="0" y="0"/>
                  </a:moveTo>
                  <a:lnTo>
                    <a:pt x="25829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47" name="Forma livre: Forma 1546">
              <a:extLst>
                <a:ext uri="{FF2B5EF4-FFF2-40B4-BE49-F238E27FC236}">
                  <a16:creationId xmlns:a16="http://schemas.microsoft.com/office/drawing/2014/main" id="{7CA35BDF-C39C-A431-251E-AE2ADDCDF09B}"/>
                </a:ext>
              </a:extLst>
            </p:cNvPr>
            <p:cNvSpPr/>
            <p:nvPr/>
          </p:nvSpPr>
          <p:spPr>
            <a:xfrm>
              <a:off x="3383221" y="4789606"/>
              <a:ext cx="10797" cy="1159"/>
            </a:xfrm>
            <a:custGeom>
              <a:avLst/>
              <a:gdLst>
                <a:gd name="connsiteX0" fmla="*/ 0 w 10797"/>
                <a:gd name="connsiteY0" fmla="*/ 0 h 1159"/>
                <a:gd name="connsiteX1" fmla="*/ 10798 w 10797"/>
                <a:gd name="connsiteY1" fmla="*/ 0 h 11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797" h="1159">
                  <a:moveTo>
                    <a:pt x="0" y="0"/>
                  </a:moveTo>
                  <a:lnTo>
                    <a:pt x="10798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548" name="Gráfico 14">
            <a:extLst>
              <a:ext uri="{FF2B5EF4-FFF2-40B4-BE49-F238E27FC236}">
                <a16:creationId xmlns:a16="http://schemas.microsoft.com/office/drawing/2014/main" id="{AA1C5BE3-7469-CC55-3863-C366C2B03A4E}"/>
              </a:ext>
            </a:extLst>
          </p:cNvPr>
          <p:cNvGrpSpPr/>
          <p:nvPr/>
        </p:nvGrpSpPr>
        <p:grpSpPr>
          <a:xfrm>
            <a:off x="3132207" y="5679422"/>
            <a:ext cx="302277" cy="303506"/>
            <a:chOff x="3132207" y="5679422"/>
            <a:chExt cx="302277" cy="303506"/>
          </a:xfrm>
          <a:noFill/>
        </p:grpSpPr>
        <p:grpSp>
          <p:nvGrpSpPr>
            <p:cNvPr id="1549" name="Gráfico 14">
              <a:extLst>
                <a:ext uri="{FF2B5EF4-FFF2-40B4-BE49-F238E27FC236}">
                  <a16:creationId xmlns:a16="http://schemas.microsoft.com/office/drawing/2014/main" id="{457BBCB1-347F-1282-E167-676A0DCD488C}"/>
                </a:ext>
              </a:extLst>
            </p:cNvPr>
            <p:cNvGrpSpPr/>
            <p:nvPr/>
          </p:nvGrpSpPr>
          <p:grpSpPr>
            <a:xfrm>
              <a:off x="3182299" y="5801096"/>
              <a:ext cx="224953" cy="80025"/>
              <a:chOff x="3182299" y="5801096"/>
              <a:chExt cx="224953" cy="80025"/>
            </a:xfrm>
            <a:noFill/>
          </p:grpSpPr>
          <p:grpSp>
            <p:nvGrpSpPr>
              <p:cNvPr id="1550" name="Gráfico 14">
                <a:extLst>
                  <a:ext uri="{FF2B5EF4-FFF2-40B4-BE49-F238E27FC236}">
                    <a16:creationId xmlns:a16="http://schemas.microsoft.com/office/drawing/2014/main" id="{6B61FEA8-54EC-92AB-068A-6703220E51FF}"/>
                  </a:ext>
                </a:extLst>
              </p:cNvPr>
              <p:cNvGrpSpPr/>
              <p:nvPr/>
            </p:nvGrpSpPr>
            <p:grpSpPr>
              <a:xfrm>
                <a:off x="3182299" y="5801096"/>
                <a:ext cx="223434" cy="80025"/>
                <a:chOff x="3182299" y="5801096"/>
                <a:chExt cx="223434" cy="80025"/>
              </a:xfrm>
              <a:noFill/>
            </p:grpSpPr>
            <p:sp>
              <p:nvSpPr>
                <p:cNvPr id="1551" name="Forma livre: Forma 1550">
                  <a:extLst>
                    <a:ext uri="{FF2B5EF4-FFF2-40B4-BE49-F238E27FC236}">
                      <a16:creationId xmlns:a16="http://schemas.microsoft.com/office/drawing/2014/main" id="{9B2C5658-15C6-8CA4-795B-8D72DF926CE2}"/>
                    </a:ext>
                  </a:extLst>
                </p:cNvPr>
                <p:cNvSpPr/>
                <p:nvPr/>
              </p:nvSpPr>
              <p:spPr>
                <a:xfrm>
                  <a:off x="3201331" y="5836145"/>
                  <a:ext cx="204402" cy="22326"/>
                </a:xfrm>
                <a:custGeom>
                  <a:avLst/>
                  <a:gdLst>
                    <a:gd name="connsiteX0" fmla="*/ 204402 w 204402"/>
                    <a:gd name="connsiteY0" fmla="*/ 0 h 22326"/>
                    <a:gd name="connsiteX1" fmla="*/ 147804 w 204402"/>
                    <a:gd name="connsiteY1" fmla="*/ 0 h 22326"/>
                    <a:gd name="connsiteX2" fmla="*/ 124121 w 204402"/>
                    <a:gd name="connsiteY2" fmla="*/ 22326 h 22326"/>
                    <a:gd name="connsiteX3" fmla="*/ 61759 w 204402"/>
                    <a:gd name="connsiteY3" fmla="*/ 22326 h 22326"/>
                    <a:gd name="connsiteX4" fmla="*/ 38088 w 204402"/>
                    <a:gd name="connsiteY4" fmla="*/ 0 h 22326"/>
                    <a:gd name="connsiteX5" fmla="*/ 0 w 204402"/>
                    <a:gd name="connsiteY5" fmla="*/ 0 h 2232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204402" h="22326">
                      <a:moveTo>
                        <a:pt x="204402" y="0"/>
                      </a:moveTo>
                      <a:lnTo>
                        <a:pt x="147804" y="0"/>
                      </a:lnTo>
                      <a:cubicBezTo>
                        <a:pt x="147804" y="13024"/>
                        <a:pt x="137146" y="22326"/>
                        <a:pt x="124121" y="22326"/>
                      </a:cubicBezTo>
                      <a:lnTo>
                        <a:pt x="61759" y="22326"/>
                      </a:lnTo>
                      <a:cubicBezTo>
                        <a:pt x="48735" y="22326"/>
                        <a:pt x="38088" y="13013"/>
                        <a:pt x="38088" y="0"/>
                      </a:cubicBezTo>
                      <a:lnTo>
                        <a:pt x="0" y="0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552" name="Forma livre: Forma 1551">
                  <a:extLst>
                    <a:ext uri="{FF2B5EF4-FFF2-40B4-BE49-F238E27FC236}">
                      <a16:creationId xmlns:a16="http://schemas.microsoft.com/office/drawing/2014/main" id="{CA808321-1A81-D7D2-1FB4-521C525898FB}"/>
                    </a:ext>
                  </a:extLst>
                </p:cNvPr>
                <p:cNvSpPr/>
                <p:nvPr/>
              </p:nvSpPr>
              <p:spPr>
                <a:xfrm>
                  <a:off x="3182299" y="5801096"/>
                  <a:ext cx="31987" cy="80025"/>
                </a:xfrm>
                <a:custGeom>
                  <a:avLst/>
                  <a:gdLst>
                    <a:gd name="connsiteX0" fmla="*/ 0 w 31987"/>
                    <a:gd name="connsiteY0" fmla="*/ 80026 h 80025"/>
                    <a:gd name="connsiteX1" fmla="*/ 0 w 31987"/>
                    <a:gd name="connsiteY1" fmla="*/ 9476 h 80025"/>
                    <a:gd name="connsiteX2" fmla="*/ 9475 w 31987"/>
                    <a:gd name="connsiteY2" fmla="*/ 0 h 80025"/>
                    <a:gd name="connsiteX3" fmla="*/ 31987 w 31987"/>
                    <a:gd name="connsiteY3" fmla="*/ 0 h 8002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31987" h="80025">
                      <a:moveTo>
                        <a:pt x="0" y="80026"/>
                      </a:moveTo>
                      <a:lnTo>
                        <a:pt x="0" y="9476"/>
                      </a:lnTo>
                      <a:cubicBezTo>
                        <a:pt x="0" y="4268"/>
                        <a:pt x="4268" y="0"/>
                        <a:pt x="9475" y="0"/>
                      </a:cubicBezTo>
                      <a:lnTo>
                        <a:pt x="31987" y="0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1553" name="Forma livre: Forma 1552">
                <a:extLst>
                  <a:ext uri="{FF2B5EF4-FFF2-40B4-BE49-F238E27FC236}">
                    <a16:creationId xmlns:a16="http://schemas.microsoft.com/office/drawing/2014/main" id="{F5C72041-1947-B0F1-A8C3-CFF71709C57F}"/>
                  </a:ext>
                </a:extLst>
              </p:cNvPr>
              <p:cNvSpPr/>
              <p:nvPr/>
            </p:nvSpPr>
            <p:spPr>
              <a:xfrm>
                <a:off x="3375648" y="5801096"/>
                <a:ext cx="31604" cy="80025"/>
              </a:xfrm>
              <a:custGeom>
                <a:avLst/>
                <a:gdLst>
                  <a:gd name="connsiteX0" fmla="*/ 0 w 31604"/>
                  <a:gd name="connsiteY0" fmla="*/ 0 h 80025"/>
                  <a:gd name="connsiteX1" fmla="*/ 22140 w 31604"/>
                  <a:gd name="connsiteY1" fmla="*/ 0 h 80025"/>
                  <a:gd name="connsiteX2" fmla="*/ 31604 w 31604"/>
                  <a:gd name="connsiteY2" fmla="*/ 9476 h 80025"/>
                  <a:gd name="connsiteX3" fmla="*/ 31604 w 31604"/>
                  <a:gd name="connsiteY3" fmla="*/ 80026 h 800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1604" h="80025">
                    <a:moveTo>
                      <a:pt x="0" y="0"/>
                    </a:moveTo>
                    <a:lnTo>
                      <a:pt x="22140" y="0"/>
                    </a:lnTo>
                    <a:cubicBezTo>
                      <a:pt x="27348" y="0"/>
                      <a:pt x="31604" y="4268"/>
                      <a:pt x="31604" y="9476"/>
                    </a:cubicBezTo>
                    <a:lnTo>
                      <a:pt x="31604" y="80026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554" name="Forma livre: Forma 1553">
              <a:extLst>
                <a:ext uri="{FF2B5EF4-FFF2-40B4-BE49-F238E27FC236}">
                  <a16:creationId xmlns:a16="http://schemas.microsoft.com/office/drawing/2014/main" id="{491B432C-5845-D036-2C83-0FD4A6EE4EAB}"/>
                </a:ext>
              </a:extLst>
            </p:cNvPr>
            <p:cNvSpPr/>
            <p:nvPr/>
          </p:nvSpPr>
          <p:spPr>
            <a:xfrm>
              <a:off x="3155067" y="5881122"/>
              <a:ext cx="279417" cy="101806"/>
            </a:xfrm>
            <a:custGeom>
              <a:avLst/>
              <a:gdLst>
                <a:gd name="connsiteX0" fmla="*/ 252186 w 279417"/>
                <a:gd name="connsiteY0" fmla="*/ 0 h 101806"/>
                <a:gd name="connsiteX1" fmla="*/ 27232 w 279417"/>
                <a:gd name="connsiteY1" fmla="*/ 0 h 101806"/>
                <a:gd name="connsiteX2" fmla="*/ 0 w 279417"/>
                <a:gd name="connsiteY2" fmla="*/ 68671 h 101806"/>
                <a:gd name="connsiteX3" fmla="*/ 0 w 279417"/>
                <a:gd name="connsiteY3" fmla="*/ 101807 h 101806"/>
                <a:gd name="connsiteX4" fmla="*/ 279418 w 279417"/>
                <a:gd name="connsiteY4" fmla="*/ 101807 h 101806"/>
                <a:gd name="connsiteX5" fmla="*/ 279418 w 279417"/>
                <a:gd name="connsiteY5" fmla="*/ 68671 h 101806"/>
                <a:gd name="connsiteX6" fmla="*/ 252186 w 279417"/>
                <a:gd name="connsiteY6" fmla="*/ 0 h 10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79417" h="101806">
                  <a:moveTo>
                    <a:pt x="252186" y="0"/>
                  </a:moveTo>
                  <a:lnTo>
                    <a:pt x="27232" y="0"/>
                  </a:lnTo>
                  <a:lnTo>
                    <a:pt x="0" y="68671"/>
                  </a:lnTo>
                  <a:lnTo>
                    <a:pt x="0" y="101807"/>
                  </a:lnTo>
                  <a:lnTo>
                    <a:pt x="279418" y="101807"/>
                  </a:lnTo>
                  <a:lnTo>
                    <a:pt x="279418" y="68671"/>
                  </a:lnTo>
                  <a:lnTo>
                    <a:pt x="252186" y="0"/>
                  </a:ln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555" name="Gráfico 14">
              <a:extLst>
                <a:ext uri="{FF2B5EF4-FFF2-40B4-BE49-F238E27FC236}">
                  <a16:creationId xmlns:a16="http://schemas.microsoft.com/office/drawing/2014/main" id="{22AFB317-1499-53FF-D93A-5330A81C1B2A}"/>
                </a:ext>
              </a:extLst>
            </p:cNvPr>
            <p:cNvGrpSpPr/>
            <p:nvPr/>
          </p:nvGrpSpPr>
          <p:grpSpPr>
            <a:xfrm>
              <a:off x="3215967" y="5926725"/>
              <a:ext cx="157615" cy="1159"/>
              <a:chOff x="3215967" y="5926725"/>
              <a:chExt cx="157615" cy="1159"/>
            </a:xfrm>
          </p:grpSpPr>
          <p:sp>
            <p:nvSpPr>
              <p:cNvPr id="1556" name="Forma livre: Forma 1555">
                <a:extLst>
                  <a:ext uri="{FF2B5EF4-FFF2-40B4-BE49-F238E27FC236}">
                    <a16:creationId xmlns:a16="http://schemas.microsoft.com/office/drawing/2014/main" id="{7C900D6A-ACFE-DC76-813E-12272BB76068}"/>
                  </a:ext>
                </a:extLst>
              </p:cNvPr>
              <p:cNvSpPr/>
              <p:nvPr/>
            </p:nvSpPr>
            <p:spPr>
              <a:xfrm>
                <a:off x="3363876" y="5926725"/>
                <a:ext cx="9707" cy="1159"/>
              </a:xfrm>
              <a:custGeom>
                <a:avLst/>
                <a:gdLst>
                  <a:gd name="connsiteX0" fmla="*/ 0 w 9707"/>
                  <a:gd name="connsiteY0" fmla="*/ 0 h 1159"/>
                  <a:gd name="connsiteX1" fmla="*/ 9707 w 9707"/>
                  <a:gd name="connsiteY1" fmla="*/ 0 h 11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707" h="1159">
                    <a:moveTo>
                      <a:pt x="0" y="0"/>
                    </a:moveTo>
                    <a:lnTo>
                      <a:pt x="9707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557" name="Forma livre: Forma 1556">
                <a:extLst>
                  <a:ext uri="{FF2B5EF4-FFF2-40B4-BE49-F238E27FC236}">
                    <a16:creationId xmlns:a16="http://schemas.microsoft.com/office/drawing/2014/main" id="{AEF5E1F9-92DD-7F66-8F72-0CB6F9CE942F}"/>
                  </a:ext>
                </a:extLst>
              </p:cNvPr>
              <p:cNvSpPr/>
              <p:nvPr/>
            </p:nvSpPr>
            <p:spPr>
              <a:xfrm>
                <a:off x="3326890" y="5926725"/>
                <a:ext cx="9719" cy="1159"/>
              </a:xfrm>
              <a:custGeom>
                <a:avLst/>
                <a:gdLst>
                  <a:gd name="connsiteX0" fmla="*/ 0 w 9719"/>
                  <a:gd name="connsiteY0" fmla="*/ 0 h 1159"/>
                  <a:gd name="connsiteX1" fmla="*/ 9719 w 9719"/>
                  <a:gd name="connsiteY1" fmla="*/ 0 h 11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719" h="1159">
                    <a:moveTo>
                      <a:pt x="0" y="0"/>
                    </a:moveTo>
                    <a:lnTo>
                      <a:pt x="9719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558" name="Forma livre: Forma 1557">
                <a:extLst>
                  <a:ext uri="{FF2B5EF4-FFF2-40B4-BE49-F238E27FC236}">
                    <a16:creationId xmlns:a16="http://schemas.microsoft.com/office/drawing/2014/main" id="{F26FF3BD-64A3-6F13-BD25-6C688451C8AF}"/>
                  </a:ext>
                </a:extLst>
              </p:cNvPr>
              <p:cNvSpPr/>
              <p:nvPr/>
            </p:nvSpPr>
            <p:spPr>
              <a:xfrm>
                <a:off x="3289927" y="5926725"/>
                <a:ext cx="9707" cy="1159"/>
              </a:xfrm>
              <a:custGeom>
                <a:avLst/>
                <a:gdLst>
                  <a:gd name="connsiteX0" fmla="*/ 0 w 9707"/>
                  <a:gd name="connsiteY0" fmla="*/ 0 h 1159"/>
                  <a:gd name="connsiteX1" fmla="*/ 9707 w 9707"/>
                  <a:gd name="connsiteY1" fmla="*/ 0 h 11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707" h="1159">
                    <a:moveTo>
                      <a:pt x="0" y="0"/>
                    </a:moveTo>
                    <a:lnTo>
                      <a:pt x="9707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559" name="Forma livre: Forma 1558">
                <a:extLst>
                  <a:ext uri="{FF2B5EF4-FFF2-40B4-BE49-F238E27FC236}">
                    <a16:creationId xmlns:a16="http://schemas.microsoft.com/office/drawing/2014/main" id="{94B6CB21-65F4-936F-1CE7-D0686589D58B}"/>
                  </a:ext>
                </a:extLst>
              </p:cNvPr>
              <p:cNvSpPr/>
              <p:nvPr/>
            </p:nvSpPr>
            <p:spPr>
              <a:xfrm>
                <a:off x="3215967" y="5926725"/>
                <a:ext cx="9719" cy="1159"/>
              </a:xfrm>
              <a:custGeom>
                <a:avLst/>
                <a:gdLst>
                  <a:gd name="connsiteX0" fmla="*/ 0 w 9719"/>
                  <a:gd name="connsiteY0" fmla="*/ 0 h 1159"/>
                  <a:gd name="connsiteX1" fmla="*/ 9719 w 9719"/>
                  <a:gd name="connsiteY1" fmla="*/ 0 h 11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719" h="1159">
                    <a:moveTo>
                      <a:pt x="0" y="0"/>
                    </a:moveTo>
                    <a:lnTo>
                      <a:pt x="9719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560" name="Forma livre: Forma 1559">
                <a:extLst>
                  <a:ext uri="{FF2B5EF4-FFF2-40B4-BE49-F238E27FC236}">
                    <a16:creationId xmlns:a16="http://schemas.microsoft.com/office/drawing/2014/main" id="{24967D60-FF2F-889C-0723-B5FA1BC28798}"/>
                  </a:ext>
                </a:extLst>
              </p:cNvPr>
              <p:cNvSpPr/>
              <p:nvPr/>
            </p:nvSpPr>
            <p:spPr>
              <a:xfrm>
                <a:off x="3252942" y="5926725"/>
                <a:ext cx="9719" cy="1159"/>
              </a:xfrm>
              <a:custGeom>
                <a:avLst/>
                <a:gdLst>
                  <a:gd name="connsiteX0" fmla="*/ 0 w 9719"/>
                  <a:gd name="connsiteY0" fmla="*/ 0 h 1159"/>
                  <a:gd name="connsiteX1" fmla="*/ 9719 w 9719"/>
                  <a:gd name="connsiteY1" fmla="*/ 0 h 11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719" h="1159">
                    <a:moveTo>
                      <a:pt x="0" y="0"/>
                    </a:moveTo>
                    <a:lnTo>
                      <a:pt x="9719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561" name="Gráfico 14">
              <a:extLst>
                <a:ext uri="{FF2B5EF4-FFF2-40B4-BE49-F238E27FC236}">
                  <a16:creationId xmlns:a16="http://schemas.microsoft.com/office/drawing/2014/main" id="{CA252359-0D6F-99E3-A776-81BAA9309A1C}"/>
                </a:ext>
              </a:extLst>
            </p:cNvPr>
            <p:cNvGrpSpPr/>
            <p:nvPr/>
          </p:nvGrpSpPr>
          <p:grpSpPr>
            <a:xfrm>
              <a:off x="3234454" y="5903877"/>
              <a:ext cx="120653" cy="1159"/>
              <a:chOff x="3234454" y="5903877"/>
              <a:chExt cx="120653" cy="1159"/>
            </a:xfrm>
          </p:grpSpPr>
          <p:sp>
            <p:nvSpPr>
              <p:cNvPr id="1562" name="Forma livre: Forma 1561">
                <a:extLst>
                  <a:ext uri="{FF2B5EF4-FFF2-40B4-BE49-F238E27FC236}">
                    <a16:creationId xmlns:a16="http://schemas.microsoft.com/office/drawing/2014/main" id="{304B2527-A521-00AC-E29E-627836CCAAAE}"/>
                  </a:ext>
                </a:extLst>
              </p:cNvPr>
              <p:cNvSpPr/>
              <p:nvPr/>
            </p:nvSpPr>
            <p:spPr>
              <a:xfrm>
                <a:off x="3345389" y="5903877"/>
                <a:ext cx="9719" cy="1159"/>
              </a:xfrm>
              <a:custGeom>
                <a:avLst/>
                <a:gdLst>
                  <a:gd name="connsiteX0" fmla="*/ 0 w 9719"/>
                  <a:gd name="connsiteY0" fmla="*/ 0 h 1159"/>
                  <a:gd name="connsiteX1" fmla="*/ 9719 w 9719"/>
                  <a:gd name="connsiteY1" fmla="*/ 0 h 11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719" h="1159">
                    <a:moveTo>
                      <a:pt x="0" y="0"/>
                    </a:moveTo>
                    <a:lnTo>
                      <a:pt x="9719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563" name="Forma livre: Forma 1562">
                <a:extLst>
                  <a:ext uri="{FF2B5EF4-FFF2-40B4-BE49-F238E27FC236}">
                    <a16:creationId xmlns:a16="http://schemas.microsoft.com/office/drawing/2014/main" id="{317013C8-263D-9EDE-6E51-01CF176BC745}"/>
                  </a:ext>
                </a:extLst>
              </p:cNvPr>
              <p:cNvSpPr/>
              <p:nvPr/>
            </p:nvSpPr>
            <p:spPr>
              <a:xfrm>
                <a:off x="3308415" y="5903877"/>
                <a:ext cx="9707" cy="1159"/>
              </a:xfrm>
              <a:custGeom>
                <a:avLst/>
                <a:gdLst>
                  <a:gd name="connsiteX0" fmla="*/ 0 w 9707"/>
                  <a:gd name="connsiteY0" fmla="*/ 0 h 1159"/>
                  <a:gd name="connsiteX1" fmla="*/ 9707 w 9707"/>
                  <a:gd name="connsiteY1" fmla="*/ 0 h 11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707" h="1159">
                    <a:moveTo>
                      <a:pt x="0" y="0"/>
                    </a:moveTo>
                    <a:lnTo>
                      <a:pt x="9707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564" name="Forma livre: Forma 1563">
                <a:extLst>
                  <a:ext uri="{FF2B5EF4-FFF2-40B4-BE49-F238E27FC236}">
                    <a16:creationId xmlns:a16="http://schemas.microsoft.com/office/drawing/2014/main" id="{FAA6C391-7FE7-BA6E-5D43-30AA429FDADF}"/>
                  </a:ext>
                </a:extLst>
              </p:cNvPr>
              <p:cNvSpPr/>
              <p:nvPr/>
            </p:nvSpPr>
            <p:spPr>
              <a:xfrm>
                <a:off x="3234454" y="5903877"/>
                <a:ext cx="9719" cy="1159"/>
              </a:xfrm>
              <a:custGeom>
                <a:avLst/>
                <a:gdLst>
                  <a:gd name="connsiteX0" fmla="*/ 0 w 9719"/>
                  <a:gd name="connsiteY0" fmla="*/ 0 h 1159"/>
                  <a:gd name="connsiteX1" fmla="*/ 9719 w 9719"/>
                  <a:gd name="connsiteY1" fmla="*/ 0 h 11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719" h="1159">
                    <a:moveTo>
                      <a:pt x="0" y="0"/>
                    </a:moveTo>
                    <a:lnTo>
                      <a:pt x="9719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565" name="Forma livre: Forma 1564">
                <a:extLst>
                  <a:ext uri="{FF2B5EF4-FFF2-40B4-BE49-F238E27FC236}">
                    <a16:creationId xmlns:a16="http://schemas.microsoft.com/office/drawing/2014/main" id="{E76D6FEA-8BC0-B5AC-498A-926B4827D369}"/>
                  </a:ext>
                </a:extLst>
              </p:cNvPr>
              <p:cNvSpPr/>
              <p:nvPr/>
            </p:nvSpPr>
            <p:spPr>
              <a:xfrm>
                <a:off x="3271429" y="5903877"/>
                <a:ext cx="9719" cy="1159"/>
              </a:xfrm>
              <a:custGeom>
                <a:avLst/>
                <a:gdLst>
                  <a:gd name="connsiteX0" fmla="*/ 0 w 9719"/>
                  <a:gd name="connsiteY0" fmla="*/ 0 h 1159"/>
                  <a:gd name="connsiteX1" fmla="*/ 9719 w 9719"/>
                  <a:gd name="connsiteY1" fmla="*/ 0 h 11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719" h="1159">
                    <a:moveTo>
                      <a:pt x="0" y="0"/>
                    </a:moveTo>
                    <a:lnTo>
                      <a:pt x="9719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566" name="Forma livre: Forma 1565">
              <a:extLst>
                <a:ext uri="{FF2B5EF4-FFF2-40B4-BE49-F238E27FC236}">
                  <a16:creationId xmlns:a16="http://schemas.microsoft.com/office/drawing/2014/main" id="{A9D0FA6D-56BF-99A0-24E3-72249733C1D6}"/>
                </a:ext>
              </a:extLst>
            </p:cNvPr>
            <p:cNvSpPr/>
            <p:nvPr/>
          </p:nvSpPr>
          <p:spPr>
            <a:xfrm>
              <a:off x="3241796" y="5949573"/>
              <a:ext cx="105958" cy="1159"/>
            </a:xfrm>
            <a:custGeom>
              <a:avLst/>
              <a:gdLst>
                <a:gd name="connsiteX0" fmla="*/ 0 w 105958"/>
                <a:gd name="connsiteY0" fmla="*/ 0 h 1159"/>
                <a:gd name="connsiteX1" fmla="*/ 105959 w 105958"/>
                <a:gd name="connsiteY1" fmla="*/ 0 h 11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5958" h="1159">
                  <a:moveTo>
                    <a:pt x="0" y="0"/>
                  </a:moveTo>
                  <a:lnTo>
                    <a:pt x="105959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67" name="Forma livre: Forma 1566">
              <a:extLst>
                <a:ext uri="{FF2B5EF4-FFF2-40B4-BE49-F238E27FC236}">
                  <a16:creationId xmlns:a16="http://schemas.microsoft.com/office/drawing/2014/main" id="{7185942D-0CD0-8601-D95E-AA04F0CE4D51}"/>
                </a:ext>
              </a:extLst>
            </p:cNvPr>
            <p:cNvSpPr/>
            <p:nvPr/>
          </p:nvSpPr>
          <p:spPr>
            <a:xfrm>
              <a:off x="3408899" y="5813645"/>
              <a:ext cx="23914" cy="49731"/>
            </a:xfrm>
            <a:custGeom>
              <a:avLst/>
              <a:gdLst>
                <a:gd name="connsiteX0" fmla="*/ 0 w 23914"/>
                <a:gd name="connsiteY0" fmla="*/ 0 h 49731"/>
                <a:gd name="connsiteX1" fmla="*/ 14439 w 23914"/>
                <a:gd name="connsiteY1" fmla="*/ 0 h 49731"/>
                <a:gd name="connsiteX2" fmla="*/ 23915 w 23914"/>
                <a:gd name="connsiteY2" fmla="*/ 9476 h 49731"/>
                <a:gd name="connsiteX3" fmla="*/ 23915 w 23914"/>
                <a:gd name="connsiteY3" fmla="*/ 40257 h 49731"/>
                <a:gd name="connsiteX4" fmla="*/ 14439 w 23914"/>
                <a:gd name="connsiteY4" fmla="*/ 49732 h 49731"/>
                <a:gd name="connsiteX5" fmla="*/ 0 w 23914"/>
                <a:gd name="connsiteY5" fmla="*/ 49732 h 497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3914" h="49731">
                  <a:moveTo>
                    <a:pt x="0" y="0"/>
                  </a:moveTo>
                  <a:lnTo>
                    <a:pt x="14439" y="0"/>
                  </a:lnTo>
                  <a:cubicBezTo>
                    <a:pt x="19647" y="0"/>
                    <a:pt x="23915" y="4268"/>
                    <a:pt x="23915" y="9476"/>
                  </a:cubicBezTo>
                  <a:lnTo>
                    <a:pt x="23915" y="40257"/>
                  </a:lnTo>
                  <a:cubicBezTo>
                    <a:pt x="23915" y="45464"/>
                    <a:pt x="19647" y="49732"/>
                    <a:pt x="14439" y="49732"/>
                  </a:cubicBezTo>
                  <a:lnTo>
                    <a:pt x="0" y="49732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68" name="Forma livre: Forma 1567">
              <a:extLst>
                <a:ext uri="{FF2B5EF4-FFF2-40B4-BE49-F238E27FC236}">
                  <a16:creationId xmlns:a16="http://schemas.microsoft.com/office/drawing/2014/main" id="{66C9D367-7D32-7C49-163A-AA73A7FE6498}"/>
                </a:ext>
              </a:extLst>
            </p:cNvPr>
            <p:cNvSpPr/>
            <p:nvPr/>
          </p:nvSpPr>
          <p:spPr>
            <a:xfrm>
              <a:off x="3132207" y="5815605"/>
              <a:ext cx="49221" cy="63452"/>
            </a:xfrm>
            <a:custGeom>
              <a:avLst/>
              <a:gdLst>
                <a:gd name="connsiteX0" fmla="*/ 49222 w 49221"/>
                <a:gd name="connsiteY0" fmla="*/ 0 h 63452"/>
                <a:gd name="connsiteX1" fmla="*/ 26988 w 49221"/>
                <a:gd name="connsiteY1" fmla="*/ 0 h 63452"/>
                <a:gd name="connsiteX2" fmla="*/ 26988 w 49221"/>
                <a:gd name="connsiteY2" fmla="*/ 41045 h 63452"/>
                <a:gd name="connsiteX3" fmla="*/ 0 w 49221"/>
                <a:gd name="connsiteY3" fmla="*/ 63452 h 634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9221" h="63452">
                  <a:moveTo>
                    <a:pt x="49222" y="0"/>
                  </a:moveTo>
                  <a:lnTo>
                    <a:pt x="26988" y="0"/>
                  </a:lnTo>
                  <a:lnTo>
                    <a:pt x="26988" y="41045"/>
                  </a:lnTo>
                  <a:lnTo>
                    <a:pt x="0" y="63452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569" name="Gráfico 14">
              <a:extLst>
                <a:ext uri="{FF2B5EF4-FFF2-40B4-BE49-F238E27FC236}">
                  <a16:creationId xmlns:a16="http://schemas.microsoft.com/office/drawing/2014/main" id="{82160295-E88D-F4AE-275B-C7E50D70F52B}"/>
                </a:ext>
              </a:extLst>
            </p:cNvPr>
            <p:cNvGrpSpPr/>
            <p:nvPr/>
          </p:nvGrpSpPr>
          <p:grpSpPr>
            <a:xfrm>
              <a:off x="3216025" y="5679422"/>
              <a:ext cx="157500" cy="138398"/>
              <a:chOff x="3216025" y="5679422"/>
              <a:chExt cx="157500" cy="138398"/>
            </a:xfrm>
            <a:noFill/>
          </p:grpSpPr>
          <p:sp>
            <p:nvSpPr>
              <p:cNvPr id="1570" name="Forma livre: Forma 1569">
                <a:extLst>
                  <a:ext uri="{FF2B5EF4-FFF2-40B4-BE49-F238E27FC236}">
                    <a16:creationId xmlns:a16="http://schemas.microsoft.com/office/drawing/2014/main" id="{82E9BDEB-05DA-733F-4882-125476652019}"/>
                  </a:ext>
                </a:extLst>
              </p:cNvPr>
              <p:cNvSpPr/>
              <p:nvPr/>
            </p:nvSpPr>
            <p:spPr>
              <a:xfrm>
                <a:off x="3250842" y="5756479"/>
                <a:ext cx="87877" cy="1159"/>
              </a:xfrm>
              <a:custGeom>
                <a:avLst/>
                <a:gdLst>
                  <a:gd name="connsiteX0" fmla="*/ 0 w 87877"/>
                  <a:gd name="connsiteY0" fmla="*/ 0 h 1159"/>
                  <a:gd name="connsiteX1" fmla="*/ 87878 w 87877"/>
                  <a:gd name="connsiteY1" fmla="*/ 0 h 11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87877" h="1159">
                    <a:moveTo>
                      <a:pt x="0" y="0"/>
                    </a:moveTo>
                    <a:lnTo>
                      <a:pt x="87878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571" name="Forma livre: Forma 1570">
                <a:extLst>
                  <a:ext uri="{FF2B5EF4-FFF2-40B4-BE49-F238E27FC236}">
                    <a16:creationId xmlns:a16="http://schemas.microsoft.com/office/drawing/2014/main" id="{5401EC95-8FB6-100E-E89E-1B0134F1D7F4}"/>
                  </a:ext>
                </a:extLst>
              </p:cNvPr>
              <p:cNvSpPr/>
              <p:nvPr/>
            </p:nvSpPr>
            <p:spPr>
              <a:xfrm>
                <a:off x="3250842" y="5786089"/>
                <a:ext cx="87877" cy="1159"/>
              </a:xfrm>
              <a:custGeom>
                <a:avLst/>
                <a:gdLst>
                  <a:gd name="connsiteX0" fmla="*/ 0 w 87877"/>
                  <a:gd name="connsiteY0" fmla="*/ 0 h 1159"/>
                  <a:gd name="connsiteX1" fmla="*/ 87878 w 87877"/>
                  <a:gd name="connsiteY1" fmla="*/ 0 h 11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87877" h="1159">
                    <a:moveTo>
                      <a:pt x="0" y="0"/>
                    </a:moveTo>
                    <a:lnTo>
                      <a:pt x="87878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572" name="Forma livre: Forma 1571">
                <a:extLst>
                  <a:ext uri="{FF2B5EF4-FFF2-40B4-BE49-F238E27FC236}">
                    <a16:creationId xmlns:a16="http://schemas.microsoft.com/office/drawing/2014/main" id="{8607A379-3F98-462B-D435-92512D80C177}"/>
                  </a:ext>
                </a:extLst>
              </p:cNvPr>
              <p:cNvSpPr/>
              <p:nvPr/>
            </p:nvSpPr>
            <p:spPr>
              <a:xfrm>
                <a:off x="3250842" y="5815698"/>
                <a:ext cx="87877" cy="1159"/>
              </a:xfrm>
              <a:custGeom>
                <a:avLst/>
                <a:gdLst>
                  <a:gd name="connsiteX0" fmla="*/ 0 w 87877"/>
                  <a:gd name="connsiteY0" fmla="*/ 0 h 1159"/>
                  <a:gd name="connsiteX1" fmla="*/ 87878 w 87877"/>
                  <a:gd name="connsiteY1" fmla="*/ 0 h 11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87877" h="1159">
                    <a:moveTo>
                      <a:pt x="0" y="0"/>
                    </a:moveTo>
                    <a:lnTo>
                      <a:pt x="87878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573" name="Forma livre: Forma 1572">
                <a:extLst>
                  <a:ext uri="{FF2B5EF4-FFF2-40B4-BE49-F238E27FC236}">
                    <a16:creationId xmlns:a16="http://schemas.microsoft.com/office/drawing/2014/main" id="{5F9285C6-1F43-D025-36DB-647167DCB8B7}"/>
                  </a:ext>
                </a:extLst>
              </p:cNvPr>
              <p:cNvSpPr/>
              <p:nvPr/>
            </p:nvSpPr>
            <p:spPr>
              <a:xfrm>
                <a:off x="3216025" y="5679422"/>
                <a:ext cx="157500" cy="138398"/>
              </a:xfrm>
              <a:custGeom>
                <a:avLst/>
                <a:gdLst>
                  <a:gd name="connsiteX0" fmla="*/ 0 w 157500"/>
                  <a:gd name="connsiteY0" fmla="*/ 138398 h 138398"/>
                  <a:gd name="connsiteX1" fmla="*/ 0 w 157500"/>
                  <a:gd name="connsiteY1" fmla="*/ 40686 h 138398"/>
                  <a:gd name="connsiteX2" fmla="*/ 40697 w 157500"/>
                  <a:gd name="connsiteY2" fmla="*/ 0 h 138398"/>
                  <a:gd name="connsiteX3" fmla="*/ 157500 w 157500"/>
                  <a:gd name="connsiteY3" fmla="*/ 0 h 138398"/>
                  <a:gd name="connsiteX4" fmla="*/ 157500 w 157500"/>
                  <a:gd name="connsiteY4" fmla="*/ 138398 h 1383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57500" h="138398">
                    <a:moveTo>
                      <a:pt x="0" y="138398"/>
                    </a:moveTo>
                    <a:lnTo>
                      <a:pt x="0" y="40686"/>
                    </a:lnTo>
                    <a:lnTo>
                      <a:pt x="40697" y="0"/>
                    </a:lnTo>
                    <a:lnTo>
                      <a:pt x="157500" y="0"/>
                    </a:lnTo>
                    <a:lnTo>
                      <a:pt x="157500" y="138398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574" name="Forma livre: Forma 1573">
                <a:extLst>
                  <a:ext uri="{FF2B5EF4-FFF2-40B4-BE49-F238E27FC236}">
                    <a16:creationId xmlns:a16="http://schemas.microsoft.com/office/drawing/2014/main" id="{C4B90C3F-1816-3212-7ED8-1EFD3EC3DA75}"/>
                  </a:ext>
                </a:extLst>
              </p:cNvPr>
              <p:cNvSpPr/>
              <p:nvPr/>
            </p:nvSpPr>
            <p:spPr>
              <a:xfrm>
                <a:off x="3238305" y="5701876"/>
                <a:ext cx="25051" cy="25016"/>
              </a:xfrm>
              <a:custGeom>
                <a:avLst/>
                <a:gdLst>
                  <a:gd name="connsiteX0" fmla="*/ 25052 w 25051"/>
                  <a:gd name="connsiteY0" fmla="*/ 0 h 25016"/>
                  <a:gd name="connsiteX1" fmla="*/ 25052 w 25051"/>
                  <a:gd name="connsiteY1" fmla="*/ 25017 h 25016"/>
                  <a:gd name="connsiteX2" fmla="*/ 0 w 25051"/>
                  <a:gd name="connsiteY2" fmla="*/ 25017 h 250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5051" h="25016">
                    <a:moveTo>
                      <a:pt x="25052" y="0"/>
                    </a:moveTo>
                    <a:lnTo>
                      <a:pt x="25052" y="25017"/>
                    </a:lnTo>
                    <a:lnTo>
                      <a:pt x="0" y="25017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575" name="Gráfico 14">
              <a:extLst>
                <a:ext uri="{FF2B5EF4-FFF2-40B4-BE49-F238E27FC236}">
                  <a16:creationId xmlns:a16="http://schemas.microsoft.com/office/drawing/2014/main" id="{FDFF6393-3937-79BE-D65C-4D557C7A0C3C}"/>
                </a:ext>
              </a:extLst>
            </p:cNvPr>
            <p:cNvGrpSpPr/>
            <p:nvPr/>
          </p:nvGrpSpPr>
          <p:grpSpPr>
            <a:xfrm>
              <a:off x="3158128" y="5949793"/>
              <a:ext cx="274465" cy="1159"/>
              <a:chOff x="3158128" y="5949793"/>
              <a:chExt cx="274465" cy="1159"/>
            </a:xfrm>
          </p:grpSpPr>
          <p:sp>
            <p:nvSpPr>
              <p:cNvPr id="1576" name="Forma livre: Forma 1575">
                <a:extLst>
                  <a:ext uri="{FF2B5EF4-FFF2-40B4-BE49-F238E27FC236}">
                    <a16:creationId xmlns:a16="http://schemas.microsoft.com/office/drawing/2014/main" id="{458CF1AA-98B3-CD39-C568-E97CDE86C222}"/>
                  </a:ext>
                </a:extLst>
              </p:cNvPr>
              <p:cNvSpPr/>
              <p:nvPr/>
            </p:nvSpPr>
            <p:spPr>
              <a:xfrm>
                <a:off x="3404387" y="5949793"/>
                <a:ext cx="28206" cy="1159"/>
              </a:xfrm>
              <a:custGeom>
                <a:avLst/>
                <a:gdLst>
                  <a:gd name="connsiteX0" fmla="*/ 28206 w 28206"/>
                  <a:gd name="connsiteY0" fmla="*/ 0 h 1159"/>
                  <a:gd name="connsiteX1" fmla="*/ 0 w 28206"/>
                  <a:gd name="connsiteY1" fmla="*/ 0 h 11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8206" h="1159">
                    <a:moveTo>
                      <a:pt x="28206" y="0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577" name="Forma livre: Forma 1576">
                <a:extLst>
                  <a:ext uri="{FF2B5EF4-FFF2-40B4-BE49-F238E27FC236}">
                    <a16:creationId xmlns:a16="http://schemas.microsoft.com/office/drawing/2014/main" id="{A31FC9CD-FD9A-EAA3-F3DF-B11A0D19BB1F}"/>
                  </a:ext>
                </a:extLst>
              </p:cNvPr>
              <p:cNvSpPr/>
              <p:nvPr/>
            </p:nvSpPr>
            <p:spPr>
              <a:xfrm>
                <a:off x="3158128" y="5949793"/>
                <a:ext cx="29597" cy="1159"/>
              </a:xfrm>
              <a:custGeom>
                <a:avLst/>
                <a:gdLst>
                  <a:gd name="connsiteX0" fmla="*/ 29598 w 29597"/>
                  <a:gd name="connsiteY0" fmla="*/ 0 h 1159"/>
                  <a:gd name="connsiteX1" fmla="*/ 0 w 29597"/>
                  <a:gd name="connsiteY1" fmla="*/ 0 h 11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9597" h="1159">
                    <a:moveTo>
                      <a:pt x="29598" y="0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578" name="Gráfico 14">
            <a:extLst>
              <a:ext uri="{FF2B5EF4-FFF2-40B4-BE49-F238E27FC236}">
                <a16:creationId xmlns:a16="http://schemas.microsoft.com/office/drawing/2014/main" id="{9A8CFCCA-D916-263E-911D-851F98276143}"/>
              </a:ext>
            </a:extLst>
          </p:cNvPr>
          <p:cNvGrpSpPr/>
          <p:nvPr/>
        </p:nvGrpSpPr>
        <p:grpSpPr>
          <a:xfrm>
            <a:off x="3133924" y="4191779"/>
            <a:ext cx="298844" cy="219502"/>
            <a:chOff x="3133924" y="4191779"/>
            <a:chExt cx="298844" cy="219502"/>
          </a:xfrm>
        </p:grpSpPr>
        <p:grpSp>
          <p:nvGrpSpPr>
            <p:cNvPr id="1579" name="Gráfico 14">
              <a:extLst>
                <a:ext uri="{FF2B5EF4-FFF2-40B4-BE49-F238E27FC236}">
                  <a16:creationId xmlns:a16="http://schemas.microsoft.com/office/drawing/2014/main" id="{3283E99F-28CE-2D58-2F33-89F47EFD5907}"/>
                </a:ext>
              </a:extLst>
            </p:cNvPr>
            <p:cNvGrpSpPr/>
            <p:nvPr/>
          </p:nvGrpSpPr>
          <p:grpSpPr>
            <a:xfrm>
              <a:off x="3133924" y="4191779"/>
              <a:ext cx="298844" cy="219502"/>
              <a:chOff x="3133924" y="4191779"/>
              <a:chExt cx="298844" cy="219502"/>
            </a:xfrm>
          </p:grpSpPr>
          <p:sp>
            <p:nvSpPr>
              <p:cNvPr id="1580" name="Forma livre: Forma 1579">
                <a:extLst>
                  <a:ext uri="{FF2B5EF4-FFF2-40B4-BE49-F238E27FC236}">
                    <a16:creationId xmlns:a16="http://schemas.microsoft.com/office/drawing/2014/main" id="{03C3FD05-D76D-3B1D-763D-735DCF26744D}"/>
                  </a:ext>
                </a:extLst>
              </p:cNvPr>
              <p:cNvSpPr/>
              <p:nvPr/>
            </p:nvSpPr>
            <p:spPr>
              <a:xfrm>
                <a:off x="3154846" y="4246822"/>
                <a:ext cx="256987" cy="1159"/>
              </a:xfrm>
              <a:custGeom>
                <a:avLst/>
                <a:gdLst>
                  <a:gd name="connsiteX0" fmla="*/ 0 w 256987"/>
                  <a:gd name="connsiteY0" fmla="*/ 0 h 1159"/>
                  <a:gd name="connsiteX1" fmla="*/ 256987 w 256987"/>
                  <a:gd name="connsiteY1" fmla="*/ 0 h 11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56987" h="1159">
                    <a:moveTo>
                      <a:pt x="0" y="0"/>
                    </a:moveTo>
                    <a:lnTo>
                      <a:pt x="256987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1581" name="Gráfico 14">
                <a:extLst>
                  <a:ext uri="{FF2B5EF4-FFF2-40B4-BE49-F238E27FC236}">
                    <a16:creationId xmlns:a16="http://schemas.microsoft.com/office/drawing/2014/main" id="{134DB8F0-430D-CCE7-7B3C-D4A2BC28C87F}"/>
                  </a:ext>
                </a:extLst>
              </p:cNvPr>
              <p:cNvGrpSpPr/>
              <p:nvPr/>
            </p:nvGrpSpPr>
            <p:grpSpPr>
              <a:xfrm>
                <a:off x="3168903" y="4216076"/>
                <a:ext cx="76360" cy="7237"/>
                <a:chOff x="3168903" y="4216076"/>
                <a:chExt cx="76360" cy="7237"/>
              </a:xfrm>
              <a:solidFill>
                <a:srgbClr val="394553"/>
              </a:solidFill>
            </p:grpSpPr>
            <p:sp>
              <p:nvSpPr>
                <p:cNvPr id="1582" name="Forma livre: Forma 1581">
                  <a:extLst>
                    <a:ext uri="{FF2B5EF4-FFF2-40B4-BE49-F238E27FC236}">
                      <a16:creationId xmlns:a16="http://schemas.microsoft.com/office/drawing/2014/main" id="{A4DE7CE8-4B28-8319-CE9E-CFDA5B291A5F}"/>
                    </a:ext>
                  </a:extLst>
                </p:cNvPr>
                <p:cNvSpPr/>
                <p:nvPr/>
              </p:nvSpPr>
              <p:spPr>
                <a:xfrm>
                  <a:off x="3168903" y="4216076"/>
                  <a:ext cx="7225" cy="7237"/>
                </a:xfrm>
                <a:custGeom>
                  <a:avLst/>
                  <a:gdLst>
                    <a:gd name="connsiteX0" fmla="*/ 7226 w 7225"/>
                    <a:gd name="connsiteY0" fmla="*/ 3619 h 7237"/>
                    <a:gd name="connsiteX1" fmla="*/ 3619 w 7225"/>
                    <a:gd name="connsiteY1" fmla="*/ 7237 h 7237"/>
                    <a:gd name="connsiteX2" fmla="*/ 0 w 7225"/>
                    <a:gd name="connsiteY2" fmla="*/ 3619 h 7237"/>
                    <a:gd name="connsiteX3" fmla="*/ 3619 w 7225"/>
                    <a:gd name="connsiteY3" fmla="*/ 0 h 7237"/>
                    <a:gd name="connsiteX4" fmla="*/ 7226 w 7225"/>
                    <a:gd name="connsiteY4" fmla="*/ 3619 h 723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7225" h="7237">
                      <a:moveTo>
                        <a:pt x="7226" y="3619"/>
                      </a:moveTo>
                      <a:cubicBezTo>
                        <a:pt x="7226" y="5625"/>
                        <a:pt x="5625" y="7237"/>
                        <a:pt x="3619" y="7237"/>
                      </a:cubicBezTo>
                      <a:cubicBezTo>
                        <a:pt x="1612" y="7237"/>
                        <a:pt x="0" y="5625"/>
                        <a:pt x="0" y="3619"/>
                      </a:cubicBezTo>
                      <a:cubicBezTo>
                        <a:pt x="0" y="1612"/>
                        <a:pt x="1624" y="0"/>
                        <a:pt x="3619" y="0"/>
                      </a:cubicBezTo>
                      <a:cubicBezTo>
                        <a:pt x="5613" y="0"/>
                        <a:pt x="7226" y="1612"/>
                        <a:pt x="7226" y="3619"/>
                      </a:cubicBezTo>
                      <a:close/>
                    </a:path>
                  </a:pathLst>
                </a:custGeom>
                <a:solidFill>
                  <a:srgbClr val="394553"/>
                </a:solidFill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583" name="Forma livre: Forma 1582">
                  <a:extLst>
                    <a:ext uri="{FF2B5EF4-FFF2-40B4-BE49-F238E27FC236}">
                      <a16:creationId xmlns:a16="http://schemas.microsoft.com/office/drawing/2014/main" id="{301EB394-7F6F-906B-EF71-2350340B305D}"/>
                    </a:ext>
                  </a:extLst>
                </p:cNvPr>
                <p:cNvSpPr/>
                <p:nvPr/>
              </p:nvSpPr>
              <p:spPr>
                <a:xfrm>
                  <a:off x="3203465" y="4216076"/>
                  <a:ext cx="7237" cy="7237"/>
                </a:xfrm>
                <a:custGeom>
                  <a:avLst/>
                  <a:gdLst>
                    <a:gd name="connsiteX0" fmla="*/ 7237 w 7237"/>
                    <a:gd name="connsiteY0" fmla="*/ 3619 h 7237"/>
                    <a:gd name="connsiteX1" fmla="*/ 3619 w 7237"/>
                    <a:gd name="connsiteY1" fmla="*/ 7237 h 7237"/>
                    <a:gd name="connsiteX2" fmla="*/ 0 w 7237"/>
                    <a:gd name="connsiteY2" fmla="*/ 3619 h 7237"/>
                    <a:gd name="connsiteX3" fmla="*/ 3619 w 7237"/>
                    <a:gd name="connsiteY3" fmla="*/ 0 h 7237"/>
                    <a:gd name="connsiteX4" fmla="*/ 7237 w 7237"/>
                    <a:gd name="connsiteY4" fmla="*/ 3619 h 723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7237" h="7237">
                      <a:moveTo>
                        <a:pt x="7237" y="3619"/>
                      </a:moveTo>
                      <a:cubicBezTo>
                        <a:pt x="7237" y="5625"/>
                        <a:pt x="5625" y="7237"/>
                        <a:pt x="3619" y="7237"/>
                      </a:cubicBezTo>
                      <a:cubicBezTo>
                        <a:pt x="1612" y="7237"/>
                        <a:pt x="0" y="5625"/>
                        <a:pt x="0" y="3619"/>
                      </a:cubicBezTo>
                      <a:cubicBezTo>
                        <a:pt x="0" y="1612"/>
                        <a:pt x="1624" y="0"/>
                        <a:pt x="3619" y="0"/>
                      </a:cubicBezTo>
                      <a:cubicBezTo>
                        <a:pt x="5613" y="0"/>
                        <a:pt x="7237" y="1612"/>
                        <a:pt x="7237" y="3619"/>
                      </a:cubicBezTo>
                      <a:close/>
                    </a:path>
                  </a:pathLst>
                </a:custGeom>
                <a:solidFill>
                  <a:srgbClr val="394553"/>
                </a:solidFill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584" name="Forma livre: Forma 1583">
                  <a:extLst>
                    <a:ext uri="{FF2B5EF4-FFF2-40B4-BE49-F238E27FC236}">
                      <a16:creationId xmlns:a16="http://schemas.microsoft.com/office/drawing/2014/main" id="{20B7B4A6-1BAE-89E9-105D-7BBA3AB5AD80}"/>
                    </a:ext>
                  </a:extLst>
                </p:cNvPr>
                <p:cNvSpPr/>
                <p:nvPr/>
              </p:nvSpPr>
              <p:spPr>
                <a:xfrm>
                  <a:off x="3238027" y="4216076"/>
                  <a:ext cx="7237" cy="7237"/>
                </a:xfrm>
                <a:custGeom>
                  <a:avLst/>
                  <a:gdLst>
                    <a:gd name="connsiteX0" fmla="*/ 7237 w 7237"/>
                    <a:gd name="connsiteY0" fmla="*/ 3619 h 7237"/>
                    <a:gd name="connsiteX1" fmla="*/ 3619 w 7237"/>
                    <a:gd name="connsiteY1" fmla="*/ 7237 h 7237"/>
                    <a:gd name="connsiteX2" fmla="*/ 0 w 7237"/>
                    <a:gd name="connsiteY2" fmla="*/ 3619 h 7237"/>
                    <a:gd name="connsiteX3" fmla="*/ 3619 w 7237"/>
                    <a:gd name="connsiteY3" fmla="*/ 0 h 7237"/>
                    <a:gd name="connsiteX4" fmla="*/ 7237 w 7237"/>
                    <a:gd name="connsiteY4" fmla="*/ 3619 h 723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7237" h="7237">
                      <a:moveTo>
                        <a:pt x="7237" y="3619"/>
                      </a:moveTo>
                      <a:cubicBezTo>
                        <a:pt x="7237" y="5625"/>
                        <a:pt x="5625" y="7237"/>
                        <a:pt x="3619" y="7237"/>
                      </a:cubicBezTo>
                      <a:cubicBezTo>
                        <a:pt x="1612" y="7237"/>
                        <a:pt x="0" y="5625"/>
                        <a:pt x="0" y="3619"/>
                      </a:cubicBezTo>
                      <a:cubicBezTo>
                        <a:pt x="0" y="1612"/>
                        <a:pt x="1624" y="0"/>
                        <a:pt x="3619" y="0"/>
                      </a:cubicBezTo>
                      <a:cubicBezTo>
                        <a:pt x="5613" y="0"/>
                        <a:pt x="7237" y="1612"/>
                        <a:pt x="7237" y="3619"/>
                      </a:cubicBezTo>
                      <a:close/>
                    </a:path>
                  </a:pathLst>
                </a:custGeom>
                <a:solidFill>
                  <a:srgbClr val="394553"/>
                </a:solidFill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1585" name="Forma livre: Forma 1584">
                <a:extLst>
                  <a:ext uri="{FF2B5EF4-FFF2-40B4-BE49-F238E27FC236}">
                    <a16:creationId xmlns:a16="http://schemas.microsoft.com/office/drawing/2014/main" id="{73562228-97F9-16E2-25F7-A2A475E7E2A1}"/>
                  </a:ext>
                </a:extLst>
              </p:cNvPr>
              <p:cNvSpPr/>
              <p:nvPr/>
            </p:nvSpPr>
            <p:spPr>
              <a:xfrm>
                <a:off x="3133924" y="4191779"/>
                <a:ext cx="298844" cy="219502"/>
              </a:xfrm>
              <a:custGeom>
                <a:avLst/>
                <a:gdLst>
                  <a:gd name="connsiteX0" fmla="*/ 16585 w 298844"/>
                  <a:gd name="connsiteY0" fmla="*/ 219502 h 219502"/>
                  <a:gd name="connsiteX1" fmla="*/ 0 w 298844"/>
                  <a:gd name="connsiteY1" fmla="*/ 202917 h 219502"/>
                  <a:gd name="connsiteX2" fmla="*/ 0 w 298844"/>
                  <a:gd name="connsiteY2" fmla="*/ 16585 h 219502"/>
                  <a:gd name="connsiteX3" fmla="*/ 16585 w 298844"/>
                  <a:gd name="connsiteY3" fmla="*/ 0 h 219502"/>
                  <a:gd name="connsiteX4" fmla="*/ 282259 w 298844"/>
                  <a:gd name="connsiteY4" fmla="*/ 0 h 219502"/>
                  <a:gd name="connsiteX5" fmla="*/ 298844 w 298844"/>
                  <a:gd name="connsiteY5" fmla="*/ 16585 h 219502"/>
                  <a:gd name="connsiteX6" fmla="*/ 298844 w 298844"/>
                  <a:gd name="connsiteY6" fmla="*/ 202917 h 219502"/>
                  <a:gd name="connsiteX7" fmla="*/ 282259 w 298844"/>
                  <a:gd name="connsiteY7" fmla="*/ 219502 h 219502"/>
                  <a:gd name="connsiteX8" fmla="*/ 16585 w 298844"/>
                  <a:gd name="connsiteY8" fmla="*/ 219502 h 2195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98844" h="219502">
                    <a:moveTo>
                      <a:pt x="16585" y="219502"/>
                    </a:moveTo>
                    <a:cubicBezTo>
                      <a:pt x="7457" y="219502"/>
                      <a:pt x="0" y="212033"/>
                      <a:pt x="0" y="202917"/>
                    </a:cubicBezTo>
                    <a:lnTo>
                      <a:pt x="0" y="16585"/>
                    </a:lnTo>
                    <a:cubicBezTo>
                      <a:pt x="0" y="7469"/>
                      <a:pt x="7457" y="0"/>
                      <a:pt x="16585" y="0"/>
                    </a:cubicBezTo>
                    <a:lnTo>
                      <a:pt x="282259" y="0"/>
                    </a:lnTo>
                    <a:cubicBezTo>
                      <a:pt x="291375" y="0"/>
                      <a:pt x="298844" y="7469"/>
                      <a:pt x="298844" y="16585"/>
                    </a:cubicBezTo>
                    <a:lnTo>
                      <a:pt x="298844" y="202917"/>
                    </a:lnTo>
                    <a:cubicBezTo>
                      <a:pt x="298844" y="212033"/>
                      <a:pt x="291387" y="219502"/>
                      <a:pt x="282259" y="219502"/>
                    </a:cubicBezTo>
                    <a:lnTo>
                      <a:pt x="16585" y="219502"/>
                    </a:ln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586" name="Gráfico 14">
              <a:extLst>
                <a:ext uri="{FF2B5EF4-FFF2-40B4-BE49-F238E27FC236}">
                  <a16:creationId xmlns:a16="http://schemas.microsoft.com/office/drawing/2014/main" id="{CC3B89E8-03A2-0035-D5C5-ECC28DC6E8B0}"/>
                </a:ext>
              </a:extLst>
            </p:cNvPr>
            <p:cNvGrpSpPr/>
            <p:nvPr/>
          </p:nvGrpSpPr>
          <p:grpSpPr>
            <a:xfrm>
              <a:off x="3215515" y="4279436"/>
              <a:ext cx="135661" cy="98501"/>
              <a:chOff x="3215515" y="4279436"/>
              <a:chExt cx="135661" cy="98501"/>
            </a:xfrm>
            <a:noFill/>
          </p:grpSpPr>
          <p:sp>
            <p:nvSpPr>
              <p:cNvPr id="1587" name="Forma livre: Forma 1586">
                <a:extLst>
                  <a:ext uri="{FF2B5EF4-FFF2-40B4-BE49-F238E27FC236}">
                    <a16:creationId xmlns:a16="http://schemas.microsoft.com/office/drawing/2014/main" id="{978A6803-C6D8-6E68-C9F2-439E6AC7529B}"/>
                  </a:ext>
                </a:extLst>
              </p:cNvPr>
              <p:cNvSpPr/>
              <p:nvPr/>
            </p:nvSpPr>
            <p:spPr>
              <a:xfrm>
                <a:off x="3215515" y="4279436"/>
                <a:ext cx="135661" cy="98501"/>
              </a:xfrm>
              <a:custGeom>
                <a:avLst/>
                <a:gdLst>
                  <a:gd name="connsiteX0" fmla="*/ 7411 w 135661"/>
                  <a:gd name="connsiteY0" fmla="*/ 98501 h 98501"/>
                  <a:gd name="connsiteX1" fmla="*/ 0 w 135661"/>
                  <a:gd name="connsiteY1" fmla="*/ 91102 h 98501"/>
                  <a:gd name="connsiteX2" fmla="*/ 0 w 135661"/>
                  <a:gd name="connsiteY2" fmla="*/ 7411 h 98501"/>
                  <a:gd name="connsiteX3" fmla="*/ 7411 w 135661"/>
                  <a:gd name="connsiteY3" fmla="*/ 0 h 98501"/>
                  <a:gd name="connsiteX4" fmla="*/ 128250 w 135661"/>
                  <a:gd name="connsiteY4" fmla="*/ 0 h 98501"/>
                  <a:gd name="connsiteX5" fmla="*/ 135661 w 135661"/>
                  <a:gd name="connsiteY5" fmla="*/ 7411 h 98501"/>
                  <a:gd name="connsiteX6" fmla="*/ 135661 w 135661"/>
                  <a:gd name="connsiteY6" fmla="*/ 91102 h 98501"/>
                  <a:gd name="connsiteX7" fmla="*/ 128250 w 135661"/>
                  <a:gd name="connsiteY7" fmla="*/ 98501 h 98501"/>
                  <a:gd name="connsiteX8" fmla="*/ 7411 w 135661"/>
                  <a:gd name="connsiteY8" fmla="*/ 98501 h 985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35661" h="98501">
                    <a:moveTo>
                      <a:pt x="7411" y="98501"/>
                    </a:moveTo>
                    <a:cubicBezTo>
                      <a:pt x="3329" y="98501"/>
                      <a:pt x="0" y="95173"/>
                      <a:pt x="0" y="91102"/>
                    </a:cubicBezTo>
                    <a:lnTo>
                      <a:pt x="0" y="7411"/>
                    </a:lnTo>
                    <a:cubicBezTo>
                      <a:pt x="0" y="3329"/>
                      <a:pt x="3340" y="0"/>
                      <a:pt x="7411" y="0"/>
                    </a:cubicBezTo>
                    <a:lnTo>
                      <a:pt x="128250" y="0"/>
                    </a:lnTo>
                    <a:cubicBezTo>
                      <a:pt x="132333" y="0"/>
                      <a:pt x="135661" y="3340"/>
                      <a:pt x="135661" y="7411"/>
                    </a:cubicBezTo>
                    <a:lnTo>
                      <a:pt x="135661" y="91102"/>
                    </a:lnTo>
                    <a:cubicBezTo>
                      <a:pt x="135661" y="95184"/>
                      <a:pt x="132321" y="98501"/>
                      <a:pt x="128250" y="98501"/>
                    </a:cubicBezTo>
                    <a:lnTo>
                      <a:pt x="7411" y="98501"/>
                    </a:ln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588" name="Forma livre: Forma 1587">
                <a:extLst>
                  <a:ext uri="{FF2B5EF4-FFF2-40B4-BE49-F238E27FC236}">
                    <a16:creationId xmlns:a16="http://schemas.microsoft.com/office/drawing/2014/main" id="{F3BFB5DC-286D-AD4A-5589-A900DBE375F0}"/>
                  </a:ext>
                </a:extLst>
              </p:cNvPr>
              <p:cNvSpPr/>
              <p:nvPr/>
            </p:nvSpPr>
            <p:spPr>
              <a:xfrm>
                <a:off x="3266221" y="4302782"/>
                <a:ext cx="44779" cy="51796"/>
              </a:xfrm>
              <a:custGeom>
                <a:avLst/>
                <a:gdLst>
                  <a:gd name="connsiteX0" fmla="*/ 0 w 44779"/>
                  <a:gd name="connsiteY0" fmla="*/ 0 h 51796"/>
                  <a:gd name="connsiteX1" fmla="*/ 44780 w 44779"/>
                  <a:gd name="connsiteY1" fmla="*/ 25910 h 51796"/>
                  <a:gd name="connsiteX2" fmla="*/ 0 w 44779"/>
                  <a:gd name="connsiteY2" fmla="*/ 51796 h 51796"/>
                  <a:gd name="connsiteX3" fmla="*/ 0 w 44779"/>
                  <a:gd name="connsiteY3" fmla="*/ 0 h 517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4779" h="51796">
                    <a:moveTo>
                      <a:pt x="0" y="0"/>
                    </a:moveTo>
                    <a:lnTo>
                      <a:pt x="44780" y="25910"/>
                    </a:lnTo>
                    <a:lnTo>
                      <a:pt x="0" y="51796"/>
                    </a:lnTo>
                    <a:lnTo>
                      <a:pt x="0" y="0"/>
                    </a:lnTo>
                    <a:close/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589" name="Gráfico 14">
            <a:extLst>
              <a:ext uri="{FF2B5EF4-FFF2-40B4-BE49-F238E27FC236}">
                <a16:creationId xmlns:a16="http://schemas.microsoft.com/office/drawing/2014/main" id="{C7BF5ABF-1C2A-21AB-1DB6-9D41A34BCFA1}"/>
              </a:ext>
            </a:extLst>
          </p:cNvPr>
          <p:cNvGrpSpPr/>
          <p:nvPr/>
        </p:nvGrpSpPr>
        <p:grpSpPr>
          <a:xfrm>
            <a:off x="3738350" y="3648624"/>
            <a:ext cx="298844" cy="286039"/>
            <a:chOff x="3738350" y="3648624"/>
            <a:chExt cx="298844" cy="286039"/>
          </a:xfrm>
        </p:grpSpPr>
        <p:grpSp>
          <p:nvGrpSpPr>
            <p:cNvPr id="1590" name="Gráfico 14">
              <a:extLst>
                <a:ext uri="{FF2B5EF4-FFF2-40B4-BE49-F238E27FC236}">
                  <a16:creationId xmlns:a16="http://schemas.microsoft.com/office/drawing/2014/main" id="{ABC8856B-9973-3432-8BFE-56E62BE2E7C6}"/>
                </a:ext>
              </a:extLst>
            </p:cNvPr>
            <p:cNvGrpSpPr/>
            <p:nvPr/>
          </p:nvGrpSpPr>
          <p:grpSpPr>
            <a:xfrm>
              <a:off x="3738350" y="3648624"/>
              <a:ext cx="298844" cy="219490"/>
              <a:chOff x="3738350" y="3648624"/>
              <a:chExt cx="298844" cy="219490"/>
            </a:xfrm>
          </p:grpSpPr>
          <p:sp>
            <p:nvSpPr>
              <p:cNvPr id="1591" name="Forma livre: Forma 1590">
                <a:extLst>
                  <a:ext uri="{FF2B5EF4-FFF2-40B4-BE49-F238E27FC236}">
                    <a16:creationId xmlns:a16="http://schemas.microsoft.com/office/drawing/2014/main" id="{7E1690D4-9078-094B-19BB-3B0473FF8A15}"/>
                  </a:ext>
                </a:extLst>
              </p:cNvPr>
              <p:cNvSpPr/>
              <p:nvPr/>
            </p:nvSpPr>
            <p:spPr>
              <a:xfrm>
                <a:off x="3759284" y="3703668"/>
                <a:ext cx="256987" cy="1159"/>
              </a:xfrm>
              <a:custGeom>
                <a:avLst/>
                <a:gdLst>
                  <a:gd name="connsiteX0" fmla="*/ 0 w 256987"/>
                  <a:gd name="connsiteY0" fmla="*/ 0 h 1159"/>
                  <a:gd name="connsiteX1" fmla="*/ 256987 w 256987"/>
                  <a:gd name="connsiteY1" fmla="*/ 0 h 11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56987" h="1159">
                    <a:moveTo>
                      <a:pt x="0" y="0"/>
                    </a:moveTo>
                    <a:lnTo>
                      <a:pt x="256987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592" name="Forma livre: Forma 1591">
                <a:extLst>
                  <a:ext uri="{FF2B5EF4-FFF2-40B4-BE49-F238E27FC236}">
                    <a16:creationId xmlns:a16="http://schemas.microsoft.com/office/drawing/2014/main" id="{F538BEA4-1EA6-89EE-750D-9D208DC03726}"/>
                  </a:ext>
                </a:extLst>
              </p:cNvPr>
              <p:cNvSpPr/>
              <p:nvPr/>
            </p:nvSpPr>
            <p:spPr>
              <a:xfrm>
                <a:off x="3773341" y="3672922"/>
                <a:ext cx="7225" cy="7237"/>
              </a:xfrm>
              <a:custGeom>
                <a:avLst/>
                <a:gdLst>
                  <a:gd name="connsiteX0" fmla="*/ 7226 w 7225"/>
                  <a:gd name="connsiteY0" fmla="*/ 3619 h 7237"/>
                  <a:gd name="connsiteX1" fmla="*/ 3619 w 7225"/>
                  <a:gd name="connsiteY1" fmla="*/ 7237 h 7237"/>
                  <a:gd name="connsiteX2" fmla="*/ 0 w 7225"/>
                  <a:gd name="connsiteY2" fmla="*/ 3619 h 7237"/>
                  <a:gd name="connsiteX3" fmla="*/ 3619 w 7225"/>
                  <a:gd name="connsiteY3" fmla="*/ 0 h 7237"/>
                  <a:gd name="connsiteX4" fmla="*/ 7226 w 7225"/>
                  <a:gd name="connsiteY4" fmla="*/ 3619 h 72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225" h="7237">
                    <a:moveTo>
                      <a:pt x="7226" y="3619"/>
                    </a:moveTo>
                    <a:cubicBezTo>
                      <a:pt x="7226" y="5625"/>
                      <a:pt x="5625" y="7237"/>
                      <a:pt x="3619" y="7237"/>
                    </a:cubicBezTo>
                    <a:cubicBezTo>
                      <a:pt x="1612" y="7237"/>
                      <a:pt x="0" y="5625"/>
                      <a:pt x="0" y="3619"/>
                    </a:cubicBezTo>
                    <a:cubicBezTo>
                      <a:pt x="0" y="1612"/>
                      <a:pt x="1624" y="0"/>
                      <a:pt x="3619" y="0"/>
                    </a:cubicBezTo>
                    <a:cubicBezTo>
                      <a:pt x="5614" y="0"/>
                      <a:pt x="7226" y="1612"/>
                      <a:pt x="7226" y="3619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593" name="Forma livre: Forma 1592">
                <a:extLst>
                  <a:ext uri="{FF2B5EF4-FFF2-40B4-BE49-F238E27FC236}">
                    <a16:creationId xmlns:a16="http://schemas.microsoft.com/office/drawing/2014/main" id="{253A1BDC-F72F-16D3-22F1-7FF341CA1D14}"/>
                  </a:ext>
                </a:extLst>
              </p:cNvPr>
              <p:cNvSpPr/>
              <p:nvPr/>
            </p:nvSpPr>
            <p:spPr>
              <a:xfrm>
                <a:off x="3807891" y="3672922"/>
                <a:ext cx="7237" cy="7237"/>
              </a:xfrm>
              <a:custGeom>
                <a:avLst/>
                <a:gdLst>
                  <a:gd name="connsiteX0" fmla="*/ 7237 w 7237"/>
                  <a:gd name="connsiteY0" fmla="*/ 3619 h 7237"/>
                  <a:gd name="connsiteX1" fmla="*/ 3619 w 7237"/>
                  <a:gd name="connsiteY1" fmla="*/ 7237 h 7237"/>
                  <a:gd name="connsiteX2" fmla="*/ 0 w 7237"/>
                  <a:gd name="connsiteY2" fmla="*/ 3619 h 7237"/>
                  <a:gd name="connsiteX3" fmla="*/ 3619 w 7237"/>
                  <a:gd name="connsiteY3" fmla="*/ 0 h 7237"/>
                  <a:gd name="connsiteX4" fmla="*/ 7237 w 7237"/>
                  <a:gd name="connsiteY4" fmla="*/ 3619 h 72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237" h="7237">
                    <a:moveTo>
                      <a:pt x="7237" y="3619"/>
                    </a:moveTo>
                    <a:cubicBezTo>
                      <a:pt x="7237" y="5617"/>
                      <a:pt x="5617" y="7237"/>
                      <a:pt x="3619" y="7237"/>
                    </a:cubicBezTo>
                    <a:cubicBezTo>
                      <a:pt x="1620" y="7237"/>
                      <a:pt x="0" y="5617"/>
                      <a:pt x="0" y="3619"/>
                    </a:cubicBezTo>
                    <a:cubicBezTo>
                      <a:pt x="0" y="1620"/>
                      <a:pt x="1620" y="0"/>
                      <a:pt x="3619" y="0"/>
                    </a:cubicBezTo>
                    <a:cubicBezTo>
                      <a:pt x="5617" y="0"/>
                      <a:pt x="7237" y="1620"/>
                      <a:pt x="7237" y="3619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594" name="Forma livre: Forma 1593">
                <a:extLst>
                  <a:ext uri="{FF2B5EF4-FFF2-40B4-BE49-F238E27FC236}">
                    <a16:creationId xmlns:a16="http://schemas.microsoft.com/office/drawing/2014/main" id="{045E9349-1503-808A-4C9D-012CF4731207}"/>
                  </a:ext>
                </a:extLst>
              </p:cNvPr>
              <p:cNvSpPr/>
              <p:nvPr/>
            </p:nvSpPr>
            <p:spPr>
              <a:xfrm>
                <a:off x="3842465" y="3672922"/>
                <a:ext cx="7237" cy="7237"/>
              </a:xfrm>
              <a:custGeom>
                <a:avLst/>
                <a:gdLst>
                  <a:gd name="connsiteX0" fmla="*/ 7237 w 7237"/>
                  <a:gd name="connsiteY0" fmla="*/ 3619 h 7237"/>
                  <a:gd name="connsiteX1" fmla="*/ 3619 w 7237"/>
                  <a:gd name="connsiteY1" fmla="*/ 7237 h 7237"/>
                  <a:gd name="connsiteX2" fmla="*/ 0 w 7237"/>
                  <a:gd name="connsiteY2" fmla="*/ 3619 h 7237"/>
                  <a:gd name="connsiteX3" fmla="*/ 3619 w 7237"/>
                  <a:gd name="connsiteY3" fmla="*/ 0 h 7237"/>
                  <a:gd name="connsiteX4" fmla="*/ 7237 w 7237"/>
                  <a:gd name="connsiteY4" fmla="*/ 3619 h 72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237" h="7237">
                    <a:moveTo>
                      <a:pt x="7237" y="3619"/>
                    </a:moveTo>
                    <a:cubicBezTo>
                      <a:pt x="7237" y="5617"/>
                      <a:pt x="5617" y="7237"/>
                      <a:pt x="3619" y="7237"/>
                    </a:cubicBezTo>
                    <a:cubicBezTo>
                      <a:pt x="1620" y="7237"/>
                      <a:pt x="0" y="5617"/>
                      <a:pt x="0" y="3619"/>
                    </a:cubicBezTo>
                    <a:cubicBezTo>
                      <a:pt x="0" y="1620"/>
                      <a:pt x="1620" y="0"/>
                      <a:pt x="3619" y="0"/>
                    </a:cubicBezTo>
                    <a:cubicBezTo>
                      <a:pt x="5617" y="0"/>
                      <a:pt x="7237" y="1620"/>
                      <a:pt x="7237" y="3619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595" name="Forma livre: Forma 1594">
                <a:extLst>
                  <a:ext uri="{FF2B5EF4-FFF2-40B4-BE49-F238E27FC236}">
                    <a16:creationId xmlns:a16="http://schemas.microsoft.com/office/drawing/2014/main" id="{13334CAD-0968-3BD1-0BC4-5EC05BBC09FE}"/>
                  </a:ext>
                </a:extLst>
              </p:cNvPr>
              <p:cNvSpPr/>
              <p:nvPr/>
            </p:nvSpPr>
            <p:spPr>
              <a:xfrm>
                <a:off x="3738350" y="3648624"/>
                <a:ext cx="298844" cy="219490"/>
              </a:xfrm>
              <a:custGeom>
                <a:avLst/>
                <a:gdLst>
                  <a:gd name="connsiteX0" fmla="*/ 156282 w 298844"/>
                  <a:gd name="connsiteY0" fmla="*/ 219491 h 219490"/>
                  <a:gd name="connsiteX1" fmla="*/ 16585 w 298844"/>
                  <a:gd name="connsiteY1" fmla="*/ 219491 h 219490"/>
                  <a:gd name="connsiteX2" fmla="*/ 0 w 298844"/>
                  <a:gd name="connsiteY2" fmla="*/ 202906 h 219490"/>
                  <a:gd name="connsiteX3" fmla="*/ 0 w 298844"/>
                  <a:gd name="connsiteY3" fmla="*/ 16573 h 219490"/>
                  <a:gd name="connsiteX4" fmla="*/ 16585 w 298844"/>
                  <a:gd name="connsiteY4" fmla="*/ 0 h 219490"/>
                  <a:gd name="connsiteX5" fmla="*/ 282259 w 298844"/>
                  <a:gd name="connsiteY5" fmla="*/ 0 h 219490"/>
                  <a:gd name="connsiteX6" fmla="*/ 298844 w 298844"/>
                  <a:gd name="connsiteY6" fmla="*/ 16573 h 219490"/>
                  <a:gd name="connsiteX7" fmla="*/ 298844 w 298844"/>
                  <a:gd name="connsiteY7" fmla="*/ 202906 h 219490"/>
                  <a:gd name="connsiteX8" fmla="*/ 282259 w 298844"/>
                  <a:gd name="connsiteY8" fmla="*/ 219491 h 219490"/>
                  <a:gd name="connsiteX9" fmla="*/ 250689 w 298844"/>
                  <a:gd name="connsiteY9" fmla="*/ 219491 h 2194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98844" h="219490">
                    <a:moveTo>
                      <a:pt x="156282" y="219491"/>
                    </a:moveTo>
                    <a:lnTo>
                      <a:pt x="16585" y="219491"/>
                    </a:lnTo>
                    <a:cubicBezTo>
                      <a:pt x="7457" y="219491"/>
                      <a:pt x="0" y="212022"/>
                      <a:pt x="0" y="202906"/>
                    </a:cubicBezTo>
                    <a:lnTo>
                      <a:pt x="0" y="16573"/>
                    </a:lnTo>
                    <a:cubicBezTo>
                      <a:pt x="0" y="7457"/>
                      <a:pt x="7457" y="0"/>
                      <a:pt x="16585" y="0"/>
                    </a:cubicBezTo>
                    <a:lnTo>
                      <a:pt x="282259" y="0"/>
                    </a:lnTo>
                    <a:cubicBezTo>
                      <a:pt x="291375" y="0"/>
                      <a:pt x="298844" y="7457"/>
                      <a:pt x="298844" y="16573"/>
                    </a:cubicBezTo>
                    <a:lnTo>
                      <a:pt x="298844" y="202906"/>
                    </a:lnTo>
                    <a:cubicBezTo>
                      <a:pt x="298844" y="212022"/>
                      <a:pt x="291387" y="219491"/>
                      <a:pt x="282259" y="219491"/>
                    </a:cubicBezTo>
                    <a:lnTo>
                      <a:pt x="250689" y="219491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596" name="Forma livre: Forma 1595">
              <a:extLst>
                <a:ext uri="{FF2B5EF4-FFF2-40B4-BE49-F238E27FC236}">
                  <a16:creationId xmlns:a16="http://schemas.microsoft.com/office/drawing/2014/main" id="{C3062006-3266-B87C-0061-1B8916F2D9BC}"/>
                </a:ext>
              </a:extLst>
            </p:cNvPr>
            <p:cNvSpPr/>
            <p:nvPr/>
          </p:nvSpPr>
          <p:spPr>
            <a:xfrm>
              <a:off x="3915277" y="3841347"/>
              <a:ext cx="57003" cy="93316"/>
            </a:xfrm>
            <a:custGeom>
              <a:avLst/>
              <a:gdLst>
                <a:gd name="connsiteX0" fmla="*/ 51970 w 57003"/>
                <a:gd name="connsiteY0" fmla="*/ 35339 h 93316"/>
                <a:gd name="connsiteX1" fmla="*/ 0 w 57003"/>
                <a:gd name="connsiteY1" fmla="*/ 0 h 93316"/>
                <a:gd name="connsiteX2" fmla="*/ 476 w 57003"/>
                <a:gd name="connsiteY2" fmla="*/ 62849 h 93316"/>
                <a:gd name="connsiteX3" fmla="*/ 16226 w 57003"/>
                <a:gd name="connsiteY3" fmla="*/ 54441 h 93316"/>
                <a:gd name="connsiteX4" fmla="*/ 36997 w 57003"/>
                <a:gd name="connsiteY4" fmla="*/ 93317 h 93316"/>
                <a:gd name="connsiteX5" fmla="*/ 57004 w 57003"/>
                <a:gd name="connsiteY5" fmla="*/ 82624 h 93316"/>
                <a:gd name="connsiteX6" fmla="*/ 36232 w 57003"/>
                <a:gd name="connsiteY6" fmla="*/ 43747 h 93316"/>
                <a:gd name="connsiteX7" fmla="*/ 51970 w 57003"/>
                <a:gd name="connsiteY7" fmla="*/ 35339 h 933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7003" h="93316">
                  <a:moveTo>
                    <a:pt x="51970" y="35339"/>
                  </a:moveTo>
                  <a:lnTo>
                    <a:pt x="0" y="0"/>
                  </a:lnTo>
                  <a:lnTo>
                    <a:pt x="476" y="62849"/>
                  </a:lnTo>
                  <a:lnTo>
                    <a:pt x="16226" y="54441"/>
                  </a:lnTo>
                  <a:lnTo>
                    <a:pt x="36997" y="93317"/>
                  </a:lnTo>
                  <a:lnTo>
                    <a:pt x="57004" y="82624"/>
                  </a:lnTo>
                  <a:lnTo>
                    <a:pt x="36232" y="43747"/>
                  </a:lnTo>
                  <a:lnTo>
                    <a:pt x="51970" y="35339"/>
                  </a:ln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97" name="Forma livre: Forma 1596">
              <a:extLst>
                <a:ext uri="{FF2B5EF4-FFF2-40B4-BE49-F238E27FC236}">
                  <a16:creationId xmlns:a16="http://schemas.microsoft.com/office/drawing/2014/main" id="{99DA3F29-D3AC-6AD8-1546-F01C71155375}"/>
                </a:ext>
              </a:extLst>
            </p:cNvPr>
            <p:cNvSpPr/>
            <p:nvPr/>
          </p:nvSpPr>
          <p:spPr>
            <a:xfrm>
              <a:off x="3963570" y="3758225"/>
              <a:ext cx="29064" cy="49592"/>
            </a:xfrm>
            <a:custGeom>
              <a:avLst/>
              <a:gdLst>
                <a:gd name="connsiteX0" fmla="*/ 0 w 29064"/>
                <a:gd name="connsiteY0" fmla="*/ 42008 h 49592"/>
                <a:gd name="connsiteX1" fmla="*/ 14602 w 29064"/>
                <a:gd name="connsiteY1" fmla="*/ 49593 h 49592"/>
                <a:gd name="connsiteX2" fmla="*/ 29065 w 29064"/>
                <a:gd name="connsiteY2" fmla="*/ 37195 h 49592"/>
                <a:gd name="connsiteX3" fmla="*/ 14602 w 29064"/>
                <a:gd name="connsiteY3" fmla="*/ 24796 h 49592"/>
                <a:gd name="connsiteX4" fmla="*/ 151 w 29064"/>
                <a:gd name="connsiteY4" fmla="*/ 12398 h 49592"/>
                <a:gd name="connsiteX5" fmla="*/ 14602 w 29064"/>
                <a:gd name="connsiteY5" fmla="*/ 0 h 49592"/>
                <a:gd name="connsiteX6" fmla="*/ 26791 w 29064"/>
                <a:gd name="connsiteY6" fmla="*/ 4488 h 495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9064" h="49592">
                  <a:moveTo>
                    <a:pt x="0" y="42008"/>
                  </a:moveTo>
                  <a:cubicBezTo>
                    <a:pt x="2424" y="46450"/>
                    <a:pt x="8061" y="49593"/>
                    <a:pt x="14602" y="49593"/>
                  </a:cubicBezTo>
                  <a:cubicBezTo>
                    <a:pt x="23323" y="49593"/>
                    <a:pt x="29065" y="44014"/>
                    <a:pt x="29065" y="37195"/>
                  </a:cubicBezTo>
                  <a:cubicBezTo>
                    <a:pt x="29065" y="30375"/>
                    <a:pt x="23115" y="26710"/>
                    <a:pt x="14602" y="24796"/>
                  </a:cubicBezTo>
                  <a:cubicBezTo>
                    <a:pt x="6077" y="22813"/>
                    <a:pt x="151" y="19218"/>
                    <a:pt x="151" y="12398"/>
                  </a:cubicBezTo>
                  <a:cubicBezTo>
                    <a:pt x="151" y="5579"/>
                    <a:pt x="5892" y="0"/>
                    <a:pt x="14602" y="0"/>
                  </a:cubicBezTo>
                  <a:cubicBezTo>
                    <a:pt x="19485" y="0"/>
                    <a:pt x="23869" y="1751"/>
                    <a:pt x="26791" y="4488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98" name="Forma livre: Forma 1597">
              <a:extLst>
                <a:ext uri="{FF2B5EF4-FFF2-40B4-BE49-F238E27FC236}">
                  <a16:creationId xmlns:a16="http://schemas.microsoft.com/office/drawing/2014/main" id="{0CAFF0F0-2EED-6EAC-A904-C9C0BA982671}"/>
                </a:ext>
              </a:extLst>
            </p:cNvPr>
            <p:cNvSpPr/>
            <p:nvPr/>
          </p:nvSpPr>
          <p:spPr>
            <a:xfrm>
              <a:off x="3782933" y="3758259"/>
              <a:ext cx="33471" cy="49557"/>
            </a:xfrm>
            <a:custGeom>
              <a:avLst/>
              <a:gdLst>
                <a:gd name="connsiteX0" fmla="*/ 0 w 33471"/>
                <a:gd name="connsiteY0" fmla="*/ 49558 h 49557"/>
                <a:gd name="connsiteX1" fmla="*/ 0 w 33471"/>
                <a:gd name="connsiteY1" fmla="*/ 0 h 49557"/>
                <a:gd name="connsiteX2" fmla="*/ 33472 w 33471"/>
                <a:gd name="connsiteY2" fmla="*/ 49558 h 49557"/>
                <a:gd name="connsiteX3" fmla="*/ 33472 w 33471"/>
                <a:gd name="connsiteY3" fmla="*/ 0 h 495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471" h="49557">
                  <a:moveTo>
                    <a:pt x="0" y="49558"/>
                  </a:moveTo>
                  <a:lnTo>
                    <a:pt x="0" y="0"/>
                  </a:lnTo>
                  <a:lnTo>
                    <a:pt x="33472" y="49558"/>
                  </a:lnTo>
                  <a:lnTo>
                    <a:pt x="33472" y="0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599" name="Forma livre: Forma 1598">
              <a:extLst>
                <a:ext uri="{FF2B5EF4-FFF2-40B4-BE49-F238E27FC236}">
                  <a16:creationId xmlns:a16="http://schemas.microsoft.com/office/drawing/2014/main" id="{00519708-D30C-00E2-FF5C-561E70A8644F}"/>
                </a:ext>
              </a:extLst>
            </p:cNvPr>
            <p:cNvSpPr/>
            <p:nvPr/>
          </p:nvSpPr>
          <p:spPr>
            <a:xfrm>
              <a:off x="3883313" y="3758259"/>
              <a:ext cx="64171" cy="49557"/>
            </a:xfrm>
            <a:custGeom>
              <a:avLst/>
              <a:gdLst>
                <a:gd name="connsiteX0" fmla="*/ 0 w 64171"/>
                <a:gd name="connsiteY0" fmla="*/ 0 h 49557"/>
                <a:gd name="connsiteX1" fmla="*/ 16782 w 64171"/>
                <a:gd name="connsiteY1" fmla="*/ 49558 h 49557"/>
                <a:gd name="connsiteX2" fmla="*/ 32080 w 64171"/>
                <a:gd name="connsiteY2" fmla="*/ 0 h 49557"/>
                <a:gd name="connsiteX3" fmla="*/ 50265 w 64171"/>
                <a:gd name="connsiteY3" fmla="*/ 49558 h 49557"/>
                <a:gd name="connsiteX4" fmla="*/ 64171 w 64171"/>
                <a:gd name="connsiteY4" fmla="*/ 0 h 495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4171" h="49557">
                  <a:moveTo>
                    <a:pt x="0" y="0"/>
                  </a:moveTo>
                  <a:lnTo>
                    <a:pt x="16782" y="49558"/>
                  </a:lnTo>
                  <a:lnTo>
                    <a:pt x="32080" y="0"/>
                  </a:lnTo>
                  <a:lnTo>
                    <a:pt x="50265" y="49558"/>
                  </a:lnTo>
                  <a:lnTo>
                    <a:pt x="64171" y="0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600" name="Gráfico 14">
              <a:extLst>
                <a:ext uri="{FF2B5EF4-FFF2-40B4-BE49-F238E27FC236}">
                  <a16:creationId xmlns:a16="http://schemas.microsoft.com/office/drawing/2014/main" id="{7CB04F94-8697-865E-A728-856D8B70ED42}"/>
                </a:ext>
              </a:extLst>
            </p:cNvPr>
            <p:cNvGrpSpPr/>
            <p:nvPr/>
          </p:nvGrpSpPr>
          <p:grpSpPr>
            <a:xfrm>
              <a:off x="3839101" y="3758259"/>
              <a:ext cx="25677" cy="49557"/>
              <a:chOff x="3839101" y="3758259"/>
              <a:chExt cx="25677" cy="49557"/>
            </a:xfrm>
            <a:noFill/>
          </p:grpSpPr>
          <p:sp>
            <p:nvSpPr>
              <p:cNvPr id="1601" name="Forma livre: Forma 1600">
                <a:extLst>
                  <a:ext uri="{FF2B5EF4-FFF2-40B4-BE49-F238E27FC236}">
                    <a16:creationId xmlns:a16="http://schemas.microsoft.com/office/drawing/2014/main" id="{8EA64920-7704-AC40-C16A-D0E719B03AEF}"/>
                  </a:ext>
                </a:extLst>
              </p:cNvPr>
              <p:cNvSpPr/>
              <p:nvPr/>
            </p:nvSpPr>
            <p:spPr>
              <a:xfrm>
                <a:off x="3839101" y="3758259"/>
                <a:ext cx="25677" cy="49557"/>
              </a:xfrm>
              <a:custGeom>
                <a:avLst/>
                <a:gdLst>
                  <a:gd name="connsiteX0" fmla="*/ 25678 w 25677"/>
                  <a:gd name="connsiteY0" fmla="*/ 0 h 49557"/>
                  <a:gd name="connsiteX1" fmla="*/ 0 w 25677"/>
                  <a:gd name="connsiteY1" fmla="*/ 0 h 49557"/>
                  <a:gd name="connsiteX2" fmla="*/ 0 w 25677"/>
                  <a:gd name="connsiteY2" fmla="*/ 49558 h 49557"/>
                  <a:gd name="connsiteX3" fmla="*/ 25678 w 25677"/>
                  <a:gd name="connsiteY3" fmla="*/ 49558 h 495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5677" h="49557">
                    <a:moveTo>
                      <a:pt x="25678" y="0"/>
                    </a:moveTo>
                    <a:lnTo>
                      <a:pt x="0" y="0"/>
                    </a:lnTo>
                    <a:lnTo>
                      <a:pt x="0" y="49558"/>
                    </a:lnTo>
                    <a:lnTo>
                      <a:pt x="25678" y="49558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602" name="Forma livre: Forma 1601">
                <a:extLst>
                  <a:ext uri="{FF2B5EF4-FFF2-40B4-BE49-F238E27FC236}">
                    <a16:creationId xmlns:a16="http://schemas.microsoft.com/office/drawing/2014/main" id="{A52277AE-E42F-704B-9D50-65B3D0DEEF8E}"/>
                  </a:ext>
                </a:extLst>
              </p:cNvPr>
              <p:cNvSpPr/>
              <p:nvPr/>
            </p:nvSpPr>
            <p:spPr>
              <a:xfrm>
                <a:off x="3840041" y="3783033"/>
                <a:ext cx="18556" cy="1159"/>
              </a:xfrm>
              <a:custGeom>
                <a:avLst/>
                <a:gdLst>
                  <a:gd name="connsiteX0" fmla="*/ 0 w 18556"/>
                  <a:gd name="connsiteY0" fmla="*/ 0 h 1159"/>
                  <a:gd name="connsiteX1" fmla="*/ 18557 w 18556"/>
                  <a:gd name="connsiteY1" fmla="*/ 0 h 11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8556" h="1159">
                    <a:moveTo>
                      <a:pt x="0" y="0"/>
                    </a:moveTo>
                    <a:lnTo>
                      <a:pt x="18557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603" name="Gráfico 14">
            <a:extLst>
              <a:ext uri="{FF2B5EF4-FFF2-40B4-BE49-F238E27FC236}">
                <a16:creationId xmlns:a16="http://schemas.microsoft.com/office/drawing/2014/main" id="{BD0603BE-2AFD-67C3-1CD9-0DF2D50C1A5F}"/>
              </a:ext>
            </a:extLst>
          </p:cNvPr>
          <p:cNvGrpSpPr/>
          <p:nvPr/>
        </p:nvGrpSpPr>
        <p:grpSpPr>
          <a:xfrm>
            <a:off x="3770152" y="5176953"/>
            <a:ext cx="235241" cy="288684"/>
            <a:chOff x="3770152" y="5176953"/>
            <a:chExt cx="235241" cy="288684"/>
          </a:xfrm>
          <a:noFill/>
        </p:grpSpPr>
        <p:grpSp>
          <p:nvGrpSpPr>
            <p:cNvPr id="1604" name="Gráfico 14">
              <a:extLst>
                <a:ext uri="{FF2B5EF4-FFF2-40B4-BE49-F238E27FC236}">
                  <a16:creationId xmlns:a16="http://schemas.microsoft.com/office/drawing/2014/main" id="{AF999CA8-D134-4216-2B3D-B8F37C67BD40}"/>
                </a:ext>
              </a:extLst>
            </p:cNvPr>
            <p:cNvGrpSpPr/>
            <p:nvPr/>
          </p:nvGrpSpPr>
          <p:grpSpPr>
            <a:xfrm>
              <a:off x="3770152" y="5176953"/>
              <a:ext cx="159645" cy="288684"/>
              <a:chOff x="3770152" y="5176953"/>
              <a:chExt cx="159645" cy="288684"/>
            </a:xfrm>
            <a:noFill/>
          </p:grpSpPr>
          <p:sp>
            <p:nvSpPr>
              <p:cNvPr id="1605" name="Forma livre: Forma 1604">
                <a:extLst>
                  <a:ext uri="{FF2B5EF4-FFF2-40B4-BE49-F238E27FC236}">
                    <a16:creationId xmlns:a16="http://schemas.microsoft.com/office/drawing/2014/main" id="{0FA6144C-11CC-3B74-C9F5-91338F5A1E5C}"/>
                  </a:ext>
                </a:extLst>
              </p:cNvPr>
              <p:cNvSpPr/>
              <p:nvPr/>
            </p:nvSpPr>
            <p:spPr>
              <a:xfrm>
                <a:off x="3770152" y="5176953"/>
                <a:ext cx="159645" cy="288684"/>
              </a:xfrm>
              <a:custGeom>
                <a:avLst/>
                <a:gdLst>
                  <a:gd name="connsiteX0" fmla="*/ 159646 w 159645"/>
                  <a:gd name="connsiteY0" fmla="*/ 163658 h 288684"/>
                  <a:gd name="connsiteX1" fmla="*/ 159646 w 159645"/>
                  <a:gd name="connsiteY1" fmla="*/ 275207 h 288684"/>
                  <a:gd name="connsiteX2" fmla="*/ 146575 w 159645"/>
                  <a:gd name="connsiteY2" fmla="*/ 288684 h 288684"/>
                  <a:gd name="connsiteX3" fmla="*/ 13071 w 159645"/>
                  <a:gd name="connsiteY3" fmla="*/ 288684 h 288684"/>
                  <a:gd name="connsiteX4" fmla="*/ 0 w 159645"/>
                  <a:gd name="connsiteY4" fmla="*/ 275207 h 288684"/>
                  <a:gd name="connsiteX5" fmla="*/ 0 w 159645"/>
                  <a:gd name="connsiteY5" fmla="*/ 13059 h 288684"/>
                  <a:gd name="connsiteX6" fmla="*/ 13071 w 159645"/>
                  <a:gd name="connsiteY6" fmla="*/ 0 h 288684"/>
                  <a:gd name="connsiteX7" fmla="*/ 146575 w 159645"/>
                  <a:gd name="connsiteY7" fmla="*/ 0 h 288684"/>
                  <a:gd name="connsiteX8" fmla="*/ 159646 w 159645"/>
                  <a:gd name="connsiteY8" fmla="*/ 13059 h 288684"/>
                  <a:gd name="connsiteX9" fmla="*/ 159646 w 159645"/>
                  <a:gd name="connsiteY9" fmla="*/ 72963 h 2886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59645" h="288684">
                    <a:moveTo>
                      <a:pt x="159646" y="163658"/>
                    </a:moveTo>
                    <a:lnTo>
                      <a:pt x="159646" y="275207"/>
                    </a:lnTo>
                    <a:cubicBezTo>
                      <a:pt x="159646" y="282398"/>
                      <a:pt x="153766" y="288684"/>
                      <a:pt x="146575" y="288684"/>
                    </a:cubicBezTo>
                    <a:lnTo>
                      <a:pt x="13071" y="288684"/>
                    </a:lnTo>
                    <a:cubicBezTo>
                      <a:pt x="5880" y="288684"/>
                      <a:pt x="0" y="282386"/>
                      <a:pt x="0" y="275207"/>
                    </a:cubicBezTo>
                    <a:lnTo>
                      <a:pt x="0" y="13059"/>
                    </a:lnTo>
                    <a:cubicBezTo>
                      <a:pt x="0" y="5869"/>
                      <a:pt x="5880" y="0"/>
                      <a:pt x="13071" y="0"/>
                    </a:cubicBezTo>
                    <a:lnTo>
                      <a:pt x="146575" y="0"/>
                    </a:lnTo>
                    <a:cubicBezTo>
                      <a:pt x="153766" y="0"/>
                      <a:pt x="159646" y="5869"/>
                      <a:pt x="159646" y="13059"/>
                    </a:cubicBezTo>
                    <a:lnTo>
                      <a:pt x="159646" y="72963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606" name="Forma livre: Forma 1605">
                <a:extLst>
                  <a:ext uri="{FF2B5EF4-FFF2-40B4-BE49-F238E27FC236}">
                    <a16:creationId xmlns:a16="http://schemas.microsoft.com/office/drawing/2014/main" id="{C90595DF-0DD1-CC3E-3A24-3108E5D090DF}"/>
                  </a:ext>
                </a:extLst>
              </p:cNvPr>
              <p:cNvSpPr/>
              <p:nvPr/>
            </p:nvSpPr>
            <p:spPr>
              <a:xfrm>
                <a:off x="3789590" y="5408657"/>
                <a:ext cx="120780" cy="1159"/>
              </a:xfrm>
              <a:custGeom>
                <a:avLst/>
                <a:gdLst>
                  <a:gd name="connsiteX0" fmla="*/ 0 w 120780"/>
                  <a:gd name="connsiteY0" fmla="*/ 0 h 1159"/>
                  <a:gd name="connsiteX1" fmla="*/ 120781 w 120780"/>
                  <a:gd name="connsiteY1" fmla="*/ 0 h 11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0780" h="1159">
                    <a:moveTo>
                      <a:pt x="0" y="0"/>
                    </a:moveTo>
                    <a:lnTo>
                      <a:pt x="120781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607" name="Forma livre: Forma 1606">
                <a:extLst>
                  <a:ext uri="{FF2B5EF4-FFF2-40B4-BE49-F238E27FC236}">
                    <a16:creationId xmlns:a16="http://schemas.microsoft.com/office/drawing/2014/main" id="{827B33F7-BF4D-32F8-C0D8-8AD395479ABB}"/>
                  </a:ext>
                </a:extLst>
              </p:cNvPr>
              <p:cNvSpPr/>
              <p:nvPr/>
            </p:nvSpPr>
            <p:spPr>
              <a:xfrm>
                <a:off x="3839125" y="5436330"/>
                <a:ext cx="21711" cy="1159"/>
              </a:xfrm>
              <a:custGeom>
                <a:avLst/>
                <a:gdLst>
                  <a:gd name="connsiteX0" fmla="*/ 0 w 21711"/>
                  <a:gd name="connsiteY0" fmla="*/ 0 h 1159"/>
                  <a:gd name="connsiteX1" fmla="*/ 21711 w 21711"/>
                  <a:gd name="connsiteY1" fmla="*/ 0 h 11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1711" h="1159">
                    <a:moveTo>
                      <a:pt x="0" y="0"/>
                    </a:moveTo>
                    <a:lnTo>
                      <a:pt x="21711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608" name="Forma livre: Forma 1607">
              <a:extLst>
                <a:ext uri="{FF2B5EF4-FFF2-40B4-BE49-F238E27FC236}">
                  <a16:creationId xmlns:a16="http://schemas.microsoft.com/office/drawing/2014/main" id="{84E057F8-0521-4EC9-A7A0-917F5328700B}"/>
                </a:ext>
              </a:extLst>
            </p:cNvPr>
            <p:cNvSpPr/>
            <p:nvPr/>
          </p:nvSpPr>
          <p:spPr>
            <a:xfrm>
              <a:off x="3977001" y="5271871"/>
              <a:ext cx="28391" cy="48432"/>
            </a:xfrm>
            <a:custGeom>
              <a:avLst/>
              <a:gdLst>
                <a:gd name="connsiteX0" fmla="*/ 0 w 28391"/>
                <a:gd name="connsiteY0" fmla="*/ 41033 h 48432"/>
                <a:gd name="connsiteX1" fmla="*/ 14265 w 28391"/>
                <a:gd name="connsiteY1" fmla="*/ 48433 h 48432"/>
                <a:gd name="connsiteX2" fmla="*/ 28392 w 28391"/>
                <a:gd name="connsiteY2" fmla="*/ 36325 h 48432"/>
                <a:gd name="connsiteX3" fmla="*/ 14265 w 28391"/>
                <a:gd name="connsiteY3" fmla="*/ 24216 h 48432"/>
                <a:gd name="connsiteX4" fmla="*/ 151 w 28391"/>
                <a:gd name="connsiteY4" fmla="*/ 12108 h 48432"/>
                <a:gd name="connsiteX5" fmla="*/ 14265 w 28391"/>
                <a:gd name="connsiteY5" fmla="*/ 0 h 48432"/>
                <a:gd name="connsiteX6" fmla="*/ 26165 w 28391"/>
                <a:gd name="connsiteY6" fmla="*/ 4384 h 484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8391" h="48432">
                  <a:moveTo>
                    <a:pt x="0" y="41033"/>
                  </a:moveTo>
                  <a:cubicBezTo>
                    <a:pt x="2366" y="45371"/>
                    <a:pt x="7887" y="48433"/>
                    <a:pt x="14265" y="48433"/>
                  </a:cubicBezTo>
                  <a:cubicBezTo>
                    <a:pt x="22778" y="48433"/>
                    <a:pt x="28392" y="42982"/>
                    <a:pt x="28392" y="36325"/>
                  </a:cubicBezTo>
                  <a:cubicBezTo>
                    <a:pt x="28392" y="29667"/>
                    <a:pt x="22570" y="26084"/>
                    <a:pt x="14265" y="24216"/>
                  </a:cubicBezTo>
                  <a:cubicBezTo>
                    <a:pt x="5938" y="22280"/>
                    <a:pt x="151" y="18765"/>
                    <a:pt x="151" y="12108"/>
                  </a:cubicBezTo>
                  <a:cubicBezTo>
                    <a:pt x="151" y="5451"/>
                    <a:pt x="5764" y="0"/>
                    <a:pt x="14265" y="0"/>
                  </a:cubicBezTo>
                  <a:cubicBezTo>
                    <a:pt x="19044" y="0"/>
                    <a:pt x="23312" y="1716"/>
                    <a:pt x="26165" y="4384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09" name="Forma livre: Forma 1608">
              <a:extLst>
                <a:ext uri="{FF2B5EF4-FFF2-40B4-BE49-F238E27FC236}">
                  <a16:creationId xmlns:a16="http://schemas.microsoft.com/office/drawing/2014/main" id="{DC6369DB-7212-49F3-B1ED-9FD9B10B440D}"/>
                </a:ext>
              </a:extLst>
            </p:cNvPr>
            <p:cNvSpPr/>
            <p:nvPr/>
          </p:nvSpPr>
          <p:spPr>
            <a:xfrm>
              <a:off x="3800596" y="5271906"/>
              <a:ext cx="32683" cy="48409"/>
            </a:xfrm>
            <a:custGeom>
              <a:avLst/>
              <a:gdLst>
                <a:gd name="connsiteX0" fmla="*/ 0 w 32683"/>
                <a:gd name="connsiteY0" fmla="*/ 48410 h 48409"/>
                <a:gd name="connsiteX1" fmla="*/ 0 w 32683"/>
                <a:gd name="connsiteY1" fmla="*/ 0 h 48409"/>
                <a:gd name="connsiteX2" fmla="*/ 32683 w 32683"/>
                <a:gd name="connsiteY2" fmla="*/ 48410 h 48409"/>
                <a:gd name="connsiteX3" fmla="*/ 32683 w 32683"/>
                <a:gd name="connsiteY3" fmla="*/ 0 h 48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2683" h="48409">
                  <a:moveTo>
                    <a:pt x="0" y="48410"/>
                  </a:moveTo>
                  <a:lnTo>
                    <a:pt x="0" y="0"/>
                  </a:lnTo>
                  <a:lnTo>
                    <a:pt x="32683" y="48410"/>
                  </a:lnTo>
                  <a:lnTo>
                    <a:pt x="32683" y="0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10" name="Forma livre: Forma 1609">
              <a:extLst>
                <a:ext uri="{FF2B5EF4-FFF2-40B4-BE49-F238E27FC236}">
                  <a16:creationId xmlns:a16="http://schemas.microsoft.com/office/drawing/2014/main" id="{B6416D63-467F-C7F8-62F0-B8472BA55561}"/>
                </a:ext>
              </a:extLst>
            </p:cNvPr>
            <p:cNvSpPr/>
            <p:nvPr/>
          </p:nvSpPr>
          <p:spPr>
            <a:xfrm>
              <a:off x="3898622" y="5271906"/>
              <a:ext cx="62663" cy="48409"/>
            </a:xfrm>
            <a:custGeom>
              <a:avLst/>
              <a:gdLst>
                <a:gd name="connsiteX0" fmla="*/ 0 w 62663"/>
                <a:gd name="connsiteY0" fmla="*/ 0 h 48409"/>
                <a:gd name="connsiteX1" fmla="*/ 16388 w 62663"/>
                <a:gd name="connsiteY1" fmla="*/ 48410 h 48409"/>
                <a:gd name="connsiteX2" fmla="*/ 31338 w 62663"/>
                <a:gd name="connsiteY2" fmla="*/ 0 h 48409"/>
                <a:gd name="connsiteX3" fmla="*/ 49083 w 62663"/>
                <a:gd name="connsiteY3" fmla="*/ 48410 h 48409"/>
                <a:gd name="connsiteX4" fmla="*/ 62664 w 62663"/>
                <a:gd name="connsiteY4" fmla="*/ 0 h 48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2663" h="48409">
                  <a:moveTo>
                    <a:pt x="0" y="0"/>
                  </a:moveTo>
                  <a:lnTo>
                    <a:pt x="16388" y="48410"/>
                  </a:lnTo>
                  <a:lnTo>
                    <a:pt x="31338" y="0"/>
                  </a:lnTo>
                  <a:lnTo>
                    <a:pt x="49083" y="48410"/>
                  </a:lnTo>
                  <a:lnTo>
                    <a:pt x="62664" y="0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611" name="Gráfico 14">
              <a:extLst>
                <a:ext uri="{FF2B5EF4-FFF2-40B4-BE49-F238E27FC236}">
                  <a16:creationId xmlns:a16="http://schemas.microsoft.com/office/drawing/2014/main" id="{36953858-F391-DCBA-6A4F-F6D365E6D432}"/>
                </a:ext>
              </a:extLst>
            </p:cNvPr>
            <p:cNvGrpSpPr/>
            <p:nvPr/>
          </p:nvGrpSpPr>
          <p:grpSpPr>
            <a:xfrm>
              <a:off x="3855443" y="5271906"/>
              <a:ext cx="25074" cy="48409"/>
              <a:chOff x="3855443" y="5271906"/>
              <a:chExt cx="25074" cy="48409"/>
            </a:xfrm>
            <a:noFill/>
          </p:grpSpPr>
          <p:sp>
            <p:nvSpPr>
              <p:cNvPr id="1612" name="Forma livre: Forma 1611">
                <a:extLst>
                  <a:ext uri="{FF2B5EF4-FFF2-40B4-BE49-F238E27FC236}">
                    <a16:creationId xmlns:a16="http://schemas.microsoft.com/office/drawing/2014/main" id="{F9C54D1B-6954-7DEB-E2DF-25A1A12EC844}"/>
                  </a:ext>
                </a:extLst>
              </p:cNvPr>
              <p:cNvSpPr/>
              <p:nvPr/>
            </p:nvSpPr>
            <p:spPr>
              <a:xfrm>
                <a:off x="3855443" y="5271906"/>
                <a:ext cx="25074" cy="48409"/>
              </a:xfrm>
              <a:custGeom>
                <a:avLst/>
                <a:gdLst>
                  <a:gd name="connsiteX0" fmla="*/ 25075 w 25074"/>
                  <a:gd name="connsiteY0" fmla="*/ 0 h 48409"/>
                  <a:gd name="connsiteX1" fmla="*/ 0 w 25074"/>
                  <a:gd name="connsiteY1" fmla="*/ 0 h 48409"/>
                  <a:gd name="connsiteX2" fmla="*/ 0 w 25074"/>
                  <a:gd name="connsiteY2" fmla="*/ 48410 h 48409"/>
                  <a:gd name="connsiteX3" fmla="*/ 25075 w 25074"/>
                  <a:gd name="connsiteY3" fmla="*/ 48410 h 484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5074" h="48409">
                    <a:moveTo>
                      <a:pt x="25075" y="0"/>
                    </a:moveTo>
                    <a:lnTo>
                      <a:pt x="0" y="0"/>
                    </a:lnTo>
                    <a:lnTo>
                      <a:pt x="0" y="48410"/>
                    </a:lnTo>
                    <a:lnTo>
                      <a:pt x="25075" y="48410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613" name="Forma livre: Forma 1612">
                <a:extLst>
                  <a:ext uri="{FF2B5EF4-FFF2-40B4-BE49-F238E27FC236}">
                    <a16:creationId xmlns:a16="http://schemas.microsoft.com/office/drawing/2014/main" id="{CF69DD68-F56D-F086-55AC-A199570BFABB}"/>
                  </a:ext>
                </a:extLst>
              </p:cNvPr>
              <p:cNvSpPr/>
              <p:nvPr/>
            </p:nvSpPr>
            <p:spPr>
              <a:xfrm>
                <a:off x="3856359" y="5296111"/>
                <a:ext cx="18127" cy="1159"/>
              </a:xfrm>
              <a:custGeom>
                <a:avLst/>
                <a:gdLst>
                  <a:gd name="connsiteX0" fmla="*/ 0 w 18127"/>
                  <a:gd name="connsiteY0" fmla="*/ 0 h 1159"/>
                  <a:gd name="connsiteX1" fmla="*/ 18128 w 18127"/>
                  <a:gd name="connsiteY1" fmla="*/ 0 h 11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8127" h="1159">
                    <a:moveTo>
                      <a:pt x="0" y="0"/>
                    </a:moveTo>
                    <a:lnTo>
                      <a:pt x="18128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614" name="Gráfico 14">
            <a:extLst>
              <a:ext uri="{FF2B5EF4-FFF2-40B4-BE49-F238E27FC236}">
                <a16:creationId xmlns:a16="http://schemas.microsoft.com/office/drawing/2014/main" id="{3CE3F39B-BBD0-9336-FFEA-5DA48F6C189B}"/>
              </a:ext>
            </a:extLst>
          </p:cNvPr>
          <p:cNvGrpSpPr/>
          <p:nvPr/>
        </p:nvGrpSpPr>
        <p:grpSpPr>
          <a:xfrm>
            <a:off x="3718518" y="4674659"/>
            <a:ext cx="338509" cy="273502"/>
            <a:chOff x="3718518" y="4674659"/>
            <a:chExt cx="338509" cy="273502"/>
          </a:xfrm>
          <a:noFill/>
        </p:grpSpPr>
        <p:grpSp>
          <p:nvGrpSpPr>
            <p:cNvPr id="1615" name="Gráfico 14">
              <a:extLst>
                <a:ext uri="{FF2B5EF4-FFF2-40B4-BE49-F238E27FC236}">
                  <a16:creationId xmlns:a16="http://schemas.microsoft.com/office/drawing/2014/main" id="{EEFC2743-50A6-F6CE-4D38-A9783FA6775A}"/>
                </a:ext>
              </a:extLst>
            </p:cNvPr>
            <p:cNvGrpSpPr/>
            <p:nvPr/>
          </p:nvGrpSpPr>
          <p:grpSpPr>
            <a:xfrm>
              <a:off x="3718518" y="4732103"/>
              <a:ext cx="338509" cy="216057"/>
              <a:chOff x="3718518" y="4732103"/>
              <a:chExt cx="338509" cy="216057"/>
            </a:xfrm>
            <a:noFill/>
          </p:grpSpPr>
          <p:grpSp>
            <p:nvGrpSpPr>
              <p:cNvPr id="1616" name="Gráfico 14">
                <a:extLst>
                  <a:ext uri="{FF2B5EF4-FFF2-40B4-BE49-F238E27FC236}">
                    <a16:creationId xmlns:a16="http://schemas.microsoft.com/office/drawing/2014/main" id="{00871C1C-5D8D-5AC1-4F7F-B31F05BF01ED}"/>
                  </a:ext>
                </a:extLst>
              </p:cNvPr>
              <p:cNvGrpSpPr/>
              <p:nvPr/>
            </p:nvGrpSpPr>
            <p:grpSpPr>
              <a:xfrm>
                <a:off x="3750644" y="4732103"/>
                <a:ext cx="274256" cy="168564"/>
                <a:chOff x="3750644" y="4732103"/>
                <a:chExt cx="274256" cy="168564"/>
              </a:xfrm>
              <a:noFill/>
            </p:grpSpPr>
            <p:sp>
              <p:nvSpPr>
                <p:cNvPr id="1617" name="Forma livre: Forma 1616">
                  <a:extLst>
                    <a:ext uri="{FF2B5EF4-FFF2-40B4-BE49-F238E27FC236}">
                      <a16:creationId xmlns:a16="http://schemas.microsoft.com/office/drawing/2014/main" id="{F586DD28-D7D8-0ECA-E676-6BF78431BE1A}"/>
                    </a:ext>
                  </a:extLst>
                </p:cNvPr>
                <p:cNvSpPr/>
                <p:nvPr/>
              </p:nvSpPr>
              <p:spPr>
                <a:xfrm>
                  <a:off x="3984412" y="4732103"/>
                  <a:ext cx="40488" cy="168564"/>
                </a:xfrm>
                <a:custGeom>
                  <a:avLst/>
                  <a:gdLst>
                    <a:gd name="connsiteX0" fmla="*/ 0 w 40488"/>
                    <a:gd name="connsiteY0" fmla="*/ 0 h 168564"/>
                    <a:gd name="connsiteX1" fmla="*/ 20459 w 40488"/>
                    <a:gd name="connsiteY1" fmla="*/ 0 h 168564"/>
                    <a:gd name="connsiteX2" fmla="*/ 40488 w 40488"/>
                    <a:gd name="connsiteY2" fmla="*/ 20018 h 168564"/>
                    <a:gd name="connsiteX3" fmla="*/ 40488 w 40488"/>
                    <a:gd name="connsiteY3" fmla="*/ 168564 h 16856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0488" h="168564">
                      <a:moveTo>
                        <a:pt x="0" y="0"/>
                      </a:moveTo>
                      <a:lnTo>
                        <a:pt x="20459" y="0"/>
                      </a:lnTo>
                      <a:cubicBezTo>
                        <a:pt x="31477" y="0"/>
                        <a:pt x="40488" y="9012"/>
                        <a:pt x="40488" y="20018"/>
                      </a:cubicBezTo>
                      <a:lnTo>
                        <a:pt x="40488" y="168564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618" name="Forma livre: Forma 1617">
                  <a:extLst>
                    <a:ext uri="{FF2B5EF4-FFF2-40B4-BE49-F238E27FC236}">
                      <a16:creationId xmlns:a16="http://schemas.microsoft.com/office/drawing/2014/main" id="{8B5B5F0C-B4C9-EC49-7A23-1D593F9958AE}"/>
                    </a:ext>
                  </a:extLst>
                </p:cNvPr>
                <p:cNvSpPr/>
                <p:nvPr/>
              </p:nvSpPr>
              <p:spPr>
                <a:xfrm>
                  <a:off x="3750644" y="4732103"/>
                  <a:ext cx="39374" cy="168564"/>
                </a:xfrm>
                <a:custGeom>
                  <a:avLst/>
                  <a:gdLst>
                    <a:gd name="connsiteX0" fmla="*/ 0 w 39374"/>
                    <a:gd name="connsiteY0" fmla="*/ 168564 h 168564"/>
                    <a:gd name="connsiteX1" fmla="*/ 0 w 39374"/>
                    <a:gd name="connsiteY1" fmla="*/ 20018 h 168564"/>
                    <a:gd name="connsiteX2" fmla="*/ 20006 w 39374"/>
                    <a:gd name="connsiteY2" fmla="*/ 0 h 168564"/>
                    <a:gd name="connsiteX3" fmla="*/ 39375 w 39374"/>
                    <a:gd name="connsiteY3" fmla="*/ 0 h 16856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39374" h="168564">
                      <a:moveTo>
                        <a:pt x="0" y="168564"/>
                      </a:moveTo>
                      <a:lnTo>
                        <a:pt x="0" y="20018"/>
                      </a:lnTo>
                      <a:cubicBezTo>
                        <a:pt x="0" y="9012"/>
                        <a:pt x="9012" y="0"/>
                        <a:pt x="20006" y="0"/>
                      </a:cubicBezTo>
                      <a:lnTo>
                        <a:pt x="39375" y="0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1619" name="Forma livre: Forma 1618">
                <a:extLst>
                  <a:ext uri="{FF2B5EF4-FFF2-40B4-BE49-F238E27FC236}">
                    <a16:creationId xmlns:a16="http://schemas.microsoft.com/office/drawing/2014/main" id="{7E64A774-EFE6-378A-F841-5017FAB826ED}"/>
                  </a:ext>
                </a:extLst>
              </p:cNvPr>
              <p:cNvSpPr/>
              <p:nvPr/>
            </p:nvSpPr>
            <p:spPr>
              <a:xfrm>
                <a:off x="3718518" y="4921683"/>
                <a:ext cx="338509" cy="26478"/>
              </a:xfrm>
              <a:custGeom>
                <a:avLst/>
                <a:gdLst>
                  <a:gd name="connsiteX0" fmla="*/ 199334 w 338509"/>
                  <a:gd name="connsiteY0" fmla="*/ 0 h 26478"/>
                  <a:gd name="connsiteX1" fmla="*/ 194521 w 338509"/>
                  <a:gd name="connsiteY1" fmla="*/ 5567 h 26478"/>
                  <a:gd name="connsiteX2" fmla="*/ 143977 w 338509"/>
                  <a:gd name="connsiteY2" fmla="*/ 5567 h 26478"/>
                  <a:gd name="connsiteX3" fmla="*/ 139187 w 338509"/>
                  <a:gd name="connsiteY3" fmla="*/ 0 h 26478"/>
                  <a:gd name="connsiteX4" fmla="*/ 0 w 338509"/>
                  <a:gd name="connsiteY4" fmla="*/ 0 h 26478"/>
                  <a:gd name="connsiteX5" fmla="*/ 25202 w 338509"/>
                  <a:gd name="connsiteY5" fmla="*/ 26478 h 26478"/>
                  <a:gd name="connsiteX6" fmla="*/ 313307 w 338509"/>
                  <a:gd name="connsiteY6" fmla="*/ 26478 h 26478"/>
                  <a:gd name="connsiteX7" fmla="*/ 338509 w 338509"/>
                  <a:gd name="connsiteY7" fmla="*/ 0 h 26478"/>
                  <a:gd name="connsiteX8" fmla="*/ 199322 w 338509"/>
                  <a:gd name="connsiteY8" fmla="*/ 0 h 264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38509" h="26478">
                    <a:moveTo>
                      <a:pt x="199334" y="0"/>
                    </a:moveTo>
                    <a:lnTo>
                      <a:pt x="194521" y="5567"/>
                    </a:lnTo>
                    <a:lnTo>
                      <a:pt x="143977" y="5567"/>
                    </a:lnTo>
                    <a:lnTo>
                      <a:pt x="139187" y="0"/>
                    </a:lnTo>
                    <a:lnTo>
                      <a:pt x="0" y="0"/>
                    </a:lnTo>
                    <a:cubicBezTo>
                      <a:pt x="0" y="0"/>
                      <a:pt x="5834" y="26478"/>
                      <a:pt x="25202" y="26478"/>
                    </a:cubicBezTo>
                    <a:lnTo>
                      <a:pt x="313307" y="26478"/>
                    </a:lnTo>
                    <a:cubicBezTo>
                      <a:pt x="332675" y="26478"/>
                      <a:pt x="338509" y="0"/>
                      <a:pt x="338509" y="0"/>
                    </a:cubicBezTo>
                    <a:lnTo>
                      <a:pt x="199322" y="0"/>
                    </a:ln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620" name="Forma livre: Forma 1619">
              <a:extLst>
                <a:ext uri="{FF2B5EF4-FFF2-40B4-BE49-F238E27FC236}">
                  <a16:creationId xmlns:a16="http://schemas.microsoft.com/office/drawing/2014/main" id="{474F400D-1E88-30F1-5A3B-40DED80585B9}"/>
                </a:ext>
              </a:extLst>
            </p:cNvPr>
            <p:cNvSpPr/>
            <p:nvPr/>
          </p:nvSpPr>
          <p:spPr>
            <a:xfrm>
              <a:off x="3844738" y="4776314"/>
              <a:ext cx="86079" cy="1159"/>
            </a:xfrm>
            <a:custGeom>
              <a:avLst/>
              <a:gdLst>
                <a:gd name="connsiteX0" fmla="*/ 0 w 86079"/>
                <a:gd name="connsiteY0" fmla="*/ 0 h 1159"/>
                <a:gd name="connsiteX1" fmla="*/ 86080 w 86079"/>
                <a:gd name="connsiteY1" fmla="*/ 0 h 11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6079" h="1159">
                  <a:moveTo>
                    <a:pt x="0" y="0"/>
                  </a:moveTo>
                  <a:lnTo>
                    <a:pt x="8608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21" name="Forma livre: Forma 1620">
              <a:extLst>
                <a:ext uri="{FF2B5EF4-FFF2-40B4-BE49-F238E27FC236}">
                  <a16:creationId xmlns:a16="http://schemas.microsoft.com/office/drawing/2014/main" id="{067264B8-6F41-2C12-D392-7A647868D4D4}"/>
                </a:ext>
              </a:extLst>
            </p:cNvPr>
            <p:cNvSpPr/>
            <p:nvPr/>
          </p:nvSpPr>
          <p:spPr>
            <a:xfrm>
              <a:off x="3844738" y="4806492"/>
              <a:ext cx="86079" cy="1159"/>
            </a:xfrm>
            <a:custGeom>
              <a:avLst/>
              <a:gdLst>
                <a:gd name="connsiteX0" fmla="*/ 0 w 86079"/>
                <a:gd name="connsiteY0" fmla="*/ 0 h 1159"/>
                <a:gd name="connsiteX1" fmla="*/ 86080 w 86079"/>
                <a:gd name="connsiteY1" fmla="*/ 0 h 11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6079" h="1159">
                  <a:moveTo>
                    <a:pt x="0" y="0"/>
                  </a:moveTo>
                  <a:lnTo>
                    <a:pt x="8608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22" name="Forma livre: Forma 1621">
              <a:extLst>
                <a:ext uri="{FF2B5EF4-FFF2-40B4-BE49-F238E27FC236}">
                  <a16:creationId xmlns:a16="http://schemas.microsoft.com/office/drawing/2014/main" id="{F32ECED7-DE68-B0AF-94DE-8717F844049F}"/>
                </a:ext>
              </a:extLst>
            </p:cNvPr>
            <p:cNvSpPr/>
            <p:nvPr/>
          </p:nvSpPr>
          <p:spPr>
            <a:xfrm>
              <a:off x="3844738" y="4836670"/>
              <a:ext cx="86079" cy="1159"/>
            </a:xfrm>
            <a:custGeom>
              <a:avLst/>
              <a:gdLst>
                <a:gd name="connsiteX0" fmla="*/ 0 w 86079"/>
                <a:gd name="connsiteY0" fmla="*/ 0 h 1159"/>
                <a:gd name="connsiteX1" fmla="*/ 86080 w 86079"/>
                <a:gd name="connsiteY1" fmla="*/ 0 h 11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6079" h="1159">
                  <a:moveTo>
                    <a:pt x="0" y="0"/>
                  </a:moveTo>
                  <a:lnTo>
                    <a:pt x="8608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623" name="Gráfico 14">
              <a:extLst>
                <a:ext uri="{FF2B5EF4-FFF2-40B4-BE49-F238E27FC236}">
                  <a16:creationId xmlns:a16="http://schemas.microsoft.com/office/drawing/2014/main" id="{ACE5948E-FDD2-5A16-49BD-F0BE230D8D75}"/>
                </a:ext>
              </a:extLst>
            </p:cNvPr>
            <p:cNvGrpSpPr/>
            <p:nvPr/>
          </p:nvGrpSpPr>
          <p:grpSpPr>
            <a:xfrm>
              <a:off x="3810628" y="4674659"/>
              <a:ext cx="154287" cy="205422"/>
              <a:chOff x="3810628" y="4674659"/>
              <a:chExt cx="154287" cy="205422"/>
            </a:xfrm>
            <a:noFill/>
          </p:grpSpPr>
          <p:sp>
            <p:nvSpPr>
              <p:cNvPr id="1624" name="Forma livre: Forma 1623">
                <a:extLst>
                  <a:ext uri="{FF2B5EF4-FFF2-40B4-BE49-F238E27FC236}">
                    <a16:creationId xmlns:a16="http://schemas.microsoft.com/office/drawing/2014/main" id="{A4ABCD41-3C6D-05A4-C86D-4327AD8B9D37}"/>
                  </a:ext>
                </a:extLst>
              </p:cNvPr>
              <p:cNvSpPr/>
              <p:nvPr/>
            </p:nvSpPr>
            <p:spPr>
              <a:xfrm>
                <a:off x="3810628" y="4674659"/>
                <a:ext cx="154287" cy="205422"/>
              </a:xfrm>
              <a:custGeom>
                <a:avLst/>
                <a:gdLst>
                  <a:gd name="connsiteX0" fmla="*/ 0 w 154287"/>
                  <a:gd name="connsiteY0" fmla="*/ 205423 h 205422"/>
                  <a:gd name="connsiteX1" fmla="*/ 0 w 154287"/>
                  <a:gd name="connsiteY1" fmla="*/ 39862 h 205422"/>
                  <a:gd name="connsiteX2" fmla="*/ 39874 w 154287"/>
                  <a:gd name="connsiteY2" fmla="*/ 0 h 205422"/>
                  <a:gd name="connsiteX3" fmla="*/ 154287 w 154287"/>
                  <a:gd name="connsiteY3" fmla="*/ 0 h 205422"/>
                  <a:gd name="connsiteX4" fmla="*/ 154287 w 154287"/>
                  <a:gd name="connsiteY4" fmla="*/ 205423 h 205422"/>
                  <a:gd name="connsiteX5" fmla="*/ 0 w 154287"/>
                  <a:gd name="connsiteY5" fmla="*/ 205423 h 2054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54287" h="205422">
                    <a:moveTo>
                      <a:pt x="0" y="205423"/>
                    </a:moveTo>
                    <a:lnTo>
                      <a:pt x="0" y="39862"/>
                    </a:lnTo>
                    <a:lnTo>
                      <a:pt x="39874" y="0"/>
                    </a:lnTo>
                    <a:lnTo>
                      <a:pt x="154287" y="0"/>
                    </a:lnTo>
                    <a:lnTo>
                      <a:pt x="154287" y="205423"/>
                    </a:lnTo>
                    <a:lnTo>
                      <a:pt x="0" y="205423"/>
                    </a:ln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625" name="Forma livre: Forma 1624">
                <a:extLst>
                  <a:ext uri="{FF2B5EF4-FFF2-40B4-BE49-F238E27FC236}">
                    <a16:creationId xmlns:a16="http://schemas.microsoft.com/office/drawing/2014/main" id="{E8D3486F-CDD1-7B70-D783-12D592FD8D9E}"/>
                  </a:ext>
                </a:extLst>
              </p:cNvPr>
              <p:cNvSpPr/>
              <p:nvPr/>
            </p:nvSpPr>
            <p:spPr>
              <a:xfrm>
                <a:off x="3829742" y="4693934"/>
                <a:ext cx="27255" cy="27220"/>
              </a:xfrm>
              <a:custGeom>
                <a:avLst/>
                <a:gdLst>
                  <a:gd name="connsiteX0" fmla="*/ 27255 w 27255"/>
                  <a:gd name="connsiteY0" fmla="*/ 0 h 27220"/>
                  <a:gd name="connsiteX1" fmla="*/ 27255 w 27255"/>
                  <a:gd name="connsiteY1" fmla="*/ 27220 h 27220"/>
                  <a:gd name="connsiteX2" fmla="*/ 0 w 27255"/>
                  <a:gd name="connsiteY2" fmla="*/ 27220 h 272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7255" h="27220">
                    <a:moveTo>
                      <a:pt x="27255" y="0"/>
                    </a:moveTo>
                    <a:lnTo>
                      <a:pt x="27255" y="27220"/>
                    </a:lnTo>
                    <a:lnTo>
                      <a:pt x="0" y="2722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626" name="Gráfico 14">
            <a:extLst>
              <a:ext uri="{FF2B5EF4-FFF2-40B4-BE49-F238E27FC236}">
                <a16:creationId xmlns:a16="http://schemas.microsoft.com/office/drawing/2014/main" id="{C13FF405-8724-262E-04DC-ACB52DC4BB25}"/>
              </a:ext>
            </a:extLst>
          </p:cNvPr>
          <p:cNvGrpSpPr/>
          <p:nvPr/>
        </p:nvGrpSpPr>
        <p:grpSpPr>
          <a:xfrm>
            <a:off x="3767449" y="5696478"/>
            <a:ext cx="240653" cy="269413"/>
            <a:chOff x="3767449" y="5696478"/>
            <a:chExt cx="240653" cy="269413"/>
          </a:xfrm>
          <a:noFill/>
        </p:grpSpPr>
        <p:grpSp>
          <p:nvGrpSpPr>
            <p:cNvPr id="1627" name="Gráfico 14">
              <a:extLst>
                <a:ext uri="{FF2B5EF4-FFF2-40B4-BE49-F238E27FC236}">
                  <a16:creationId xmlns:a16="http://schemas.microsoft.com/office/drawing/2014/main" id="{A8BF0601-B7CB-2DBD-BB59-3D0869DA5217}"/>
                </a:ext>
              </a:extLst>
            </p:cNvPr>
            <p:cNvGrpSpPr/>
            <p:nvPr/>
          </p:nvGrpSpPr>
          <p:grpSpPr>
            <a:xfrm>
              <a:off x="3824130" y="5696478"/>
              <a:ext cx="183973" cy="266664"/>
              <a:chOff x="3824130" y="5696478"/>
              <a:chExt cx="183973" cy="266664"/>
            </a:xfrm>
            <a:noFill/>
          </p:grpSpPr>
          <p:sp>
            <p:nvSpPr>
              <p:cNvPr id="1628" name="Forma livre: Forma 1627">
                <a:extLst>
                  <a:ext uri="{FF2B5EF4-FFF2-40B4-BE49-F238E27FC236}">
                    <a16:creationId xmlns:a16="http://schemas.microsoft.com/office/drawing/2014/main" id="{A7F8C8C6-4151-3C5F-8AB4-EA1FC23E6F10}"/>
                  </a:ext>
                </a:extLst>
              </p:cNvPr>
              <p:cNvSpPr/>
              <p:nvPr/>
            </p:nvSpPr>
            <p:spPr>
              <a:xfrm>
                <a:off x="3824130" y="5696478"/>
                <a:ext cx="183973" cy="266664"/>
              </a:xfrm>
              <a:custGeom>
                <a:avLst/>
                <a:gdLst>
                  <a:gd name="connsiteX0" fmla="*/ 4047 w 183973"/>
                  <a:gd name="connsiteY0" fmla="*/ 119047 h 266664"/>
                  <a:gd name="connsiteX1" fmla="*/ 37275 w 183973"/>
                  <a:gd name="connsiteY1" fmla="*/ 14317 h 266664"/>
                  <a:gd name="connsiteX2" fmla="*/ 143025 w 183973"/>
                  <a:gd name="connsiteY2" fmla="*/ 15315 h 266664"/>
                  <a:gd name="connsiteX3" fmla="*/ 172228 w 183973"/>
                  <a:gd name="connsiteY3" fmla="*/ 133138 h 266664"/>
                  <a:gd name="connsiteX4" fmla="*/ 154101 w 183973"/>
                  <a:gd name="connsiteY4" fmla="*/ 156299 h 266664"/>
                  <a:gd name="connsiteX5" fmla="*/ 127924 w 183973"/>
                  <a:gd name="connsiteY5" fmla="*/ 214706 h 266664"/>
                  <a:gd name="connsiteX6" fmla="*/ 83608 w 183973"/>
                  <a:gd name="connsiteY6" fmla="*/ 266062 h 266664"/>
                  <a:gd name="connsiteX7" fmla="*/ 38690 w 183973"/>
                  <a:gd name="connsiteY7" fmla="*/ 225782 h 2666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83973" h="266664">
                    <a:moveTo>
                      <a:pt x="4047" y="119047"/>
                    </a:moveTo>
                    <a:cubicBezTo>
                      <a:pt x="4047" y="119047"/>
                      <a:pt x="-17096" y="45539"/>
                      <a:pt x="37275" y="14317"/>
                    </a:cubicBezTo>
                    <a:cubicBezTo>
                      <a:pt x="37275" y="14317"/>
                      <a:pt x="92179" y="-18551"/>
                      <a:pt x="143025" y="15315"/>
                    </a:cubicBezTo>
                    <a:cubicBezTo>
                      <a:pt x="143025" y="15315"/>
                      <a:pt x="210490" y="56603"/>
                      <a:pt x="172228" y="133138"/>
                    </a:cubicBezTo>
                    <a:cubicBezTo>
                      <a:pt x="172228" y="133138"/>
                      <a:pt x="164666" y="146731"/>
                      <a:pt x="154101" y="156299"/>
                    </a:cubicBezTo>
                    <a:cubicBezTo>
                      <a:pt x="154101" y="156299"/>
                      <a:pt x="131438" y="179460"/>
                      <a:pt x="127924" y="214706"/>
                    </a:cubicBezTo>
                    <a:cubicBezTo>
                      <a:pt x="127924" y="214706"/>
                      <a:pt x="127924" y="261017"/>
                      <a:pt x="83608" y="266062"/>
                    </a:cubicBezTo>
                    <a:cubicBezTo>
                      <a:pt x="83608" y="266062"/>
                      <a:pt x="49035" y="274795"/>
                      <a:pt x="38690" y="225782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629" name="Forma livre: Forma 1628">
                <a:extLst>
                  <a:ext uri="{FF2B5EF4-FFF2-40B4-BE49-F238E27FC236}">
                    <a16:creationId xmlns:a16="http://schemas.microsoft.com/office/drawing/2014/main" id="{14F097D4-F722-3776-C473-5B0548908CD7}"/>
                  </a:ext>
                </a:extLst>
              </p:cNvPr>
              <p:cNvSpPr/>
              <p:nvPr/>
            </p:nvSpPr>
            <p:spPr>
              <a:xfrm>
                <a:off x="3866581" y="5726578"/>
                <a:ext cx="108199" cy="167060"/>
              </a:xfrm>
              <a:custGeom>
                <a:avLst/>
                <a:gdLst>
                  <a:gd name="connsiteX0" fmla="*/ 106105 w 108199"/>
                  <a:gd name="connsiteY0" fmla="*/ 73846 h 167060"/>
                  <a:gd name="connsiteX1" fmla="*/ 78537 w 108199"/>
                  <a:gd name="connsiteY1" fmla="*/ 9060 h 167060"/>
                  <a:gd name="connsiteX2" fmla="*/ 18111 w 108199"/>
                  <a:gd name="connsiteY2" fmla="*/ 9721 h 167060"/>
                  <a:gd name="connsiteX3" fmla="*/ 657 w 108199"/>
                  <a:gd name="connsiteY3" fmla="*/ 56379 h 167060"/>
                  <a:gd name="connsiteX4" fmla="*/ 25360 w 108199"/>
                  <a:gd name="connsiteY4" fmla="*/ 69473 h 167060"/>
                  <a:gd name="connsiteX5" fmla="*/ 69583 w 108199"/>
                  <a:gd name="connsiteY5" fmla="*/ 75087 h 167060"/>
                  <a:gd name="connsiteX6" fmla="*/ 57243 w 108199"/>
                  <a:gd name="connsiteY6" fmla="*/ 106726 h 167060"/>
                  <a:gd name="connsiteX7" fmla="*/ 35543 w 108199"/>
                  <a:gd name="connsiteY7" fmla="*/ 152874 h 167060"/>
                  <a:gd name="connsiteX8" fmla="*/ 9111 w 108199"/>
                  <a:gd name="connsiteY8" fmla="*/ 152793 h 167060"/>
                  <a:gd name="connsiteX9" fmla="*/ 6026 w 108199"/>
                  <a:gd name="connsiteY9" fmla="*/ 132323 h 1670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08199" h="167060">
                    <a:moveTo>
                      <a:pt x="106105" y="73846"/>
                    </a:moveTo>
                    <a:cubicBezTo>
                      <a:pt x="106105" y="73846"/>
                      <a:pt x="119501" y="33230"/>
                      <a:pt x="78537" y="9060"/>
                    </a:cubicBezTo>
                    <a:cubicBezTo>
                      <a:pt x="78537" y="9060"/>
                      <a:pt x="44497" y="-11759"/>
                      <a:pt x="18111" y="9721"/>
                    </a:cubicBezTo>
                    <a:cubicBezTo>
                      <a:pt x="18111" y="9721"/>
                      <a:pt x="-4052" y="27848"/>
                      <a:pt x="657" y="56379"/>
                    </a:cubicBezTo>
                    <a:cubicBezTo>
                      <a:pt x="657" y="56379"/>
                      <a:pt x="4217" y="104047"/>
                      <a:pt x="25360" y="69473"/>
                    </a:cubicBezTo>
                    <a:cubicBezTo>
                      <a:pt x="25360" y="69473"/>
                      <a:pt x="44497" y="36918"/>
                      <a:pt x="69583" y="75087"/>
                    </a:cubicBezTo>
                    <a:cubicBezTo>
                      <a:pt x="69583" y="75087"/>
                      <a:pt x="84092" y="98677"/>
                      <a:pt x="57243" y="106726"/>
                    </a:cubicBezTo>
                    <a:cubicBezTo>
                      <a:pt x="57243" y="106726"/>
                      <a:pt x="34731" y="115772"/>
                      <a:pt x="35543" y="152874"/>
                    </a:cubicBezTo>
                    <a:cubicBezTo>
                      <a:pt x="35845" y="165736"/>
                      <a:pt x="13693" y="177056"/>
                      <a:pt x="9111" y="152793"/>
                    </a:cubicBezTo>
                    <a:cubicBezTo>
                      <a:pt x="5644" y="136278"/>
                      <a:pt x="6026" y="132323"/>
                      <a:pt x="6026" y="132323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630" name="Gráfico 14">
              <a:extLst>
                <a:ext uri="{FF2B5EF4-FFF2-40B4-BE49-F238E27FC236}">
                  <a16:creationId xmlns:a16="http://schemas.microsoft.com/office/drawing/2014/main" id="{69671E10-FC18-A455-26FC-35C3F4EC3611}"/>
                </a:ext>
              </a:extLst>
            </p:cNvPr>
            <p:cNvGrpSpPr/>
            <p:nvPr/>
          </p:nvGrpSpPr>
          <p:grpSpPr>
            <a:xfrm>
              <a:off x="3767449" y="5834823"/>
              <a:ext cx="62536" cy="131068"/>
              <a:chOff x="3767449" y="5834823"/>
              <a:chExt cx="62536" cy="131068"/>
            </a:xfrm>
            <a:noFill/>
          </p:grpSpPr>
          <p:sp>
            <p:nvSpPr>
              <p:cNvPr id="1631" name="Forma livre: Forma 1630">
                <a:extLst>
                  <a:ext uri="{FF2B5EF4-FFF2-40B4-BE49-F238E27FC236}">
                    <a16:creationId xmlns:a16="http://schemas.microsoft.com/office/drawing/2014/main" id="{6E8EEB23-D6DB-B027-86DF-93B683C3B584}"/>
                  </a:ext>
                </a:extLst>
              </p:cNvPr>
              <p:cNvSpPr/>
              <p:nvPr/>
            </p:nvSpPr>
            <p:spPr>
              <a:xfrm>
                <a:off x="3800005" y="5834823"/>
                <a:ext cx="29980" cy="131068"/>
              </a:xfrm>
              <a:custGeom>
                <a:avLst/>
                <a:gdLst>
                  <a:gd name="connsiteX0" fmla="*/ 0 w 29980"/>
                  <a:gd name="connsiteY0" fmla="*/ 0 h 131068"/>
                  <a:gd name="connsiteX1" fmla="*/ 29981 w 29980"/>
                  <a:gd name="connsiteY1" fmla="*/ 67199 h 131068"/>
                  <a:gd name="connsiteX2" fmla="*/ 3514 w 29980"/>
                  <a:gd name="connsiteY2" fmla="*/ 131068 h 1310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9980" h="131068">
                    <a:moveTo>
                      <a:pt x="0" y="0"/>
                    </a:moveTo>
                    <a:cubicBezTo>
                      <a:pt x="18406" y="16539"/>
                      <a:pt x="29981" y="40512"/>
                      <a:pt x="29981" y="67199"/>
                    </a:cubicBezTo>
                    <a:cubicBezTo>
                      <a:pt x="29981" y="92146"/>
                      <a:pt x="19867" y="114727"/>
                      <a:pt x="3514" y="131068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632" name="Forma livre: Forma 1631">
                <a:extLst>
                  <a:ext uri="{FF2B5EF4-FFF2-40B4-BE49-F238E27FC236}">
                    <a16:creationId xmlns:a16="http://schemas.microsoft.com/office/drawing/2014/main" id="{5DF556BD-3D97-7640-B5D2-38ED0A8D25E9}"/>
                  </a:ext>
                </a:extLst>
              </p:cNvPr>
              <p:cNvSpPr/>
              <p:nvPr/>
            </p:nvSpPr>
            <p:spPr>
              <a:xfrm>
                <a:off x="3784208" y="5855178"/>
                <a:ext cx="20157" cy="92586"/>
              </a:xfrm>
              <a:custGeom>
                <a:avLst/>
                <a:gdLst>
                  <a:gd name="connsiteX0" fmla="*/ 1195 w 20157"/>
                  <a:gd name="connsiteY0" fmla="*/ 92586 h 92586"/>
                  <a:gd name="connsiteX1" fmla="*/ 20157 w 20157"/>
                  <a:gd name="connsiteY1" fmla="*/ 46844 h 92586"/>
                  <a:gd name="connsiteX2" fmla="*/ 0 w 20157"/>
                  <a:gd name="connsiteY2" fmla="*/ 0 h 925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0157" h="92586">
                    <a:moveTo>
                      <a:pt x="1195" y="92586"/>
                    </a:moveTo>
                    <a:cubicBezTo>
                      <a:pt x="12909" y="80884"/>
                      <a:pt x="20157" y="64705"/>
                      <a:pt x="20157" y="46844"/>
                    </a:cubicBezTo>
                    <a:cubicBezTo>
                      <a:pt x="20157" y="28983"/>
                      <a:pt x="12398" y="11784"/>
                      <a:pt x="0" y="0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633" name="Forma livre: Forma 1632">
                <a:extLst>
                  <a:ext uri="{FF2B5EF4-FFF2-40B4-BE49-F238E27FC236}">
                    <a16:creationId xmlns:a16="http://schemas.microsoft.com/office/drawing/2014/main" id="{1DEA258A-07D4-30A0-25A8-684C5F77A934}"/>
                  </a:ext>
                </a:extLst>
              </p:cNvPr>
              <p:cNvSpPr/>
              <p:nvPr/>
            </p:nvSpPr>
            <p:spPr>
              <a:xfrm>
                <a:off x="3767449" y="5875381"/>
                <a:ext cx="11516" cy="54429"/>
              </a:xfrm>
              <a:custGeom>
                <a:avLst/>
                <a:gdLst>
                  <a:gd name="connsiteX0" fmla="*/ 1044 w 11516"/>
                  <a:gd name="connsiteY0" fmla="*/ 0 h 54429"/>
                  <a:gd name="connsiteX1" fmla="*/ 11517 w 11516"/>
                  <a:gd name="connsiteY1" fmla="*/ 26640 h 54429"/>
                  <a:gd name="connsiteX2" fmla="*/ 0 w 11516"/>
                  <a:gd name="connsiteY2" fmla="*/ 54429 h 544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1516" h="54429">
                    <a:moveTo>
                      <a:pt x="1044" y="0"/>
                    </a:moveTo>
                    <a:cubicBezTo>
                      <a:pt x="7527" y="7005"/>
                      <a:pt x="11517" y="16353"/>
                      <a:pt x="11517" y="26640"/>
                    </a:cubicBezTo>
                    <a:cubicBezTo>
                      <a:pt x="11517" y="37496"/>
                      <a:pt x="7121" y="47308"/>
                      <a:pt x="0" y="54429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634" name="Gráfico 14">
            <a:extLst>
              <a:ext uri="{FF2B5EF4-FFF2-40B4-BE49-F238E27FC236}">
                <a16:creationId xmlns:a16="http://schemas.microsoft.com/office/drawing/2014/main" id="{AA914A59-A548-DB71-50C3-66833567ECB1}"/>
              </a:ext>
            </a:extLst>
          </p:cNvPr>
          <p:cNvGrpSpPr/>
          <p:nvPr/>
        </p:nvGrpSpPr>
        <p:grpSpPr>
          <a:xfrm>
            <a:off x="3770534" y="4122096"/>
            <a:ext cx="234387" cy="358870"/>
            <a:chOff x="3770534" y="4122096"/>
            <a:chExt cx="234387" cy="358870"/>
          </a:xfrm>
          <a:noFill/>
        </p:grpSpPr>
        <p:grpSp>
          <p:nvGrpSpPr>
            <p:cNvPr id="1635" name="Gráfico 14">
              <a:extLst>
                <a:ext uri="{FF2B5EF4-FFF2-40B4-BE49-F238E27FC236}">
                  <a16:creationId xmlns:a16="http://schemas.microsoft.com/office/drawing/2014/main" id="{4E9B1B44-6323-8BBB-605C-1BB75730040C}"/>
                </a:ext>
              </a:extLst>
            </p:cNvPr>
            <p:cNvGrpSpPr/>
            <p:nvPr/>
          </p:nvGrpSpPr>
          <p:grpSpPr>
            <a:xfrm>
              <a:off x="3770534" y="4299168"/>
              <a:ext cx="216069" cy="161415"/>
              <a:chOff x="3770534" y="4299168"/>
              <a:chExt cx="216069" cy="161415"/>
            </a:xfrm>
            <a:noFill/>
          </p:grpSpPr>
          <p:sp>
            <p:nvSpPr>
              <p:cNvPr id="1636" name="Forma livre: Forma 1635">
                <a:extLst>
                  <a:ext uri="{FF2B5EF4-FFF2-40B4-BE49-F238E27FC236}">
                    <a16:creationId xmlns:a16="http://schemas.microsoft.com/office/drawing/2014/main" id="{7B2A3D17-B94A-ED9A-B55E-4A1E97BE0A28}"/>
                  </a:ext>
                </a:extLst>
              </p:cNvPr>
              <p:cNvSpPr/>
              <p:nvPr/>
            </p:nvSpPr>
            <p:spPr>
              <a:xfrm>
                <a:off x="3915926" y="4426822"/>
                <a:ext cx="53362" cy="33761"/>
              </a:xfrm>
              <a:custGeom>
                <a:avLst/>
                <a:gdLst>
                  <a:gd name="connsiteX0" fmla="*/ 38807 w 53362"/>
                  <a:gd name="connsiteY0" fmla="*/ 0 h 33761"/>
                  <a:gd name="connsiteX1" fmla="*/ 53362 w 53362"/>
                  <a:gd name="connsiteY1" fmla="*/ 15135 h 33761"/>
                  <a:gd name="connsiteX2" fmla="*/ 53362 w 53362"/>
                  <a:gd name="connsiteY2" fmla="*/ 18638 h 33761"/>
                  <a:gd name="connsiteX3" fmla="*/ 38807 w 53362"/>
                  <a:gd name="connsiteY3" fmla="*/ 33762 h 33761"/>
                  <a:gd name="connsiteX4" fmla="*/ 14555 w 53362"/>
                  <a:gd name="connsiteY4" fmla="*/ 33762 h 33761"/>
                  <a:gd name="connsiteX5" fmla="*/ 0 w 53362"/>
                  <a:gd name="connsiteY5" fmla="*/ 18638 h 33761"/>
                  <a:gd name="connsiteX6" fmla="*/ 0 w 53362"/>
                  <a:gd name="connsiteY6" fmla="*/ 15135 h 33761"/>
                  <a:gd name="connsiteX7" fmla="*/ 14555 w 53362"/>
                  <a:gd name="connsiteY7" fmla="*/ 0 h 33761"/>
                  <a:gd name="connsiteX8" fmla="*/ 38807 w 53362"/>
                  <a:gd name="connsiteY8" fmla="*/ 0 h 337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53362" h="33761">
                    <a:moveTo>
                      <a:pt x="38807" y="0"/>
                    </a:moveTo>
                    <a:cubicBezTo>
                      <a:pt x="46821" y="0"/>
                      <a:pt x="53362" y="6808"/>
                      <a:pt x="53362" y="15135"/>
                    </a:cubicBezTo>
                    <a:lnTo>
                      <a:pt x="53362" y="18638"/>
                    </a:lnTo>
                    <a:cubicBezTo>
                      <a:pt x="53362" y="26954"/>
                      <a:pt x="46809" y="33762"/>
                      <a:pt x="38807" y="33762"/>
                    </a:cubicBezTo>
                    <a:lnTo>
                      <a:pt x="14555" y="33762"/>
                    </a:lnTo>
                    <a:cubicBezTo>
                      <a:pt x="6541" y="33762"/>
                      <a:pt x="0" y="26954"/>
                      <a:pt x="0" y="18638"/>
                    </a:cubicBezTo>
                    <a:lnTo>
                      <a:pt x="0" y="15135"/>
                    </a:lnTo>
                    <a:cubicBezTo>
                      <a:pt x="0" y="6808"/>
                      <a:pt x="6541" y="0"/>
                      <a:pt x="14555" y="0"/>
                    </a:cubicBezTo>
                    <a:lnTo>
                      <a:pt x="38807" y="0"/>
                    </a:ln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637" name="Forma livre: Forma 1636">
                <a:extLst>
                  <a:ext uri="{FF2B5EF4-FFF2-40B4-BE49-F238E27FC236}">
                    <a16:creationId xmlns:a16="http://schemas.microsoft.com/office/drawing/2014/main" id="{0C177C9B-68D5-5132-B3B4-5991FC733977}"/>
                  </a:ext>
                </a:extLst>
              </p:cNvPr>
              <p:cNvSpPr/>
              <p:nvPr/>
            </p:nvSpPr>
            <p:spPr>
              <a:xfrm>
                <a:off x="3915938" y="4393072"/>
                <a:ext cx="62362" cy="33761"/>
              </a:xfrm>
              <a:custGeom>
                <a:avLst/>
                <a:gdLst>
                  <a:gd name="connsiteX0" fmla="*/ 47818 w 62362"/>
                  <a:gd name="connsiteY0" fmla="*/ 0 h 33761"/>
                  <a:gd name="connsiteX1" fmla="*/ 62362 w 62362"/>
                  <a:gd name="connsiteY1" fmla="*/ 15135 h 33761"/>
                  <a:gd name="connsiteX2" fmla="*/ 62362 w 62362"/>
                  <a:gd name="connsiteY2" fmla="*/ 18638 h 33761"/>
                  <a:gd name="connsiteX3" fmla="*/ 47818 w 62362"/>
                  <a:gd name="connsiteY3" fmla="*/ 33762 h 33761"/>
                  <a:gd name="connsiteX4" fmla="*/ 14555 w 62362"/>
                  <a:gd name="connsiteY4" fmla="*/ 33762 h 33761"/>
                  <a:gd name="connsiteX5" fmla="*/ 0 w 62362"/>
                  <a:gd name="connsiteY5" fmla="*/ 18638 h 33761"/>
                  <a:gd name="connsiteX6" fmla="*/ 0 w 62362"/>
                  <a:gd name="connsiteY6" fmla="*/ 15135 h 33761"/>
                  <a:gd name="connsiteX7" fmla="*/ 14555 w 62362"/>
                  <a:gd name="connsiteY7" fmla="*/ 0 h 33761"/>
                  <a:gd name="connsiteX8" fmla="*/ 47818 w 62362"/>
                  <a:gd name="connsiteY8" fmla="*/ 0 h 337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62362" h="33761">
                    <a:moveTo>
                      <a:pt x="47818" y="0"/>
                    </a:moveTo>
                    <a:cubicBezTo>
                      <a:pt x="55809" y="0"/>
                      <a:pt x="62362" y="6820"/>
                      <a:pt x="62362" y="15135"/>
                    </a:cubicBezTo>
                    <a:lnTo>
                      <a:pt x="62362" y="18638"/>
                    </a:lnTo>
                    <a:cubicBezTo>
                      <a:pt x="62362" y="26942"/>
                      <a:pt x="55809" y="33762"/>
                      <a:pt x="47818" y="33762"/>
                    </a:cubicBezTo>
                    <a:lnTo>
                      <a:pt x="14555" y="33762"/>
                    </a:lnTo>
                    <a:cubicBezTo>
                      <a:pt x="6541" y="33762"/>
                      <a:pt x="0" y="26942"/>
                      <a:pt x="0" y="18638"/>
                    </a:cubicBezTo>
                    <a:lnTo>
                      <a:pt x="0" y="15135"/>
                    </a:lnTo>
                    <a:cubicBezTo>
                      <a:pt x="0" y="6820"/>
                      <a:pt x="6541" y="0"/>
                      <a:pt x="14555" y="0"/>
                    </a:cubicBezTo>
                    <a:lnTo>
                      <a:pt x="47818" y="0"/>
                    </a:ln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638" name="Forma livre: Forma 1637">
                <a:extLst>
                  <a:ext uri="{FF2B5EF4-FFF2-40B4-BE49-F238E27FC236}">
                    <a16:creationId xmlns:a16="http://schemas.microsoft.com/office/drawing/2014/main" id="{46D148AD-ADA0-FFDB-7D55-9BE16ACF1C4B}"/>
                  </a:ext>
                </a:extLst>
              </p:cNvPr>
              <p:cNvSpPr/>
              <p:nvPr/>
            </p:nvSpPr>
            <p:spPr>
              <a:xfrm>
                <a:off x="3925877" y="4359334"/>
                <a:ext cx="60726" cy="33738"/>
              </a:xfrm>
              <a:custGeom>
                <a:avLst/>
                <a:gdLst>
                  <a:gd name="connsiteX0" fmla="*/ 0 w 60726"/>
                  <a:gd name="connsiteY0" fmla="*/ 0 h 33738"/>
                  <a:gd name="connsiteX1" fmla="*/ 46171 w 60726"/>
                  <a:gd name="connsiteY1" fmla="*/ 0 h 33738"/>
                  <a:gd name="connsiteX2" fmla="*/ 60727 w 60726"/>
                  <a:gd name="connsiteY2" fmla="*/ 15124 h 33738"/>
                  <a:gd name="connsiteX3" fmla="*/ 60727 w 60726"/>
                  <a:gd name="connsiteY3" fmla="*/ 18615 h 33738"/>
                  <a:gd name="connsiteX4" fmla="*/ 46171 w 60726"/>
                  <a:gd name="connsiteY4" fmla="*/ 33738 h 33738"/>
                  <a:gd name="connsiteX5" fmla="*/ 4604 w 60726"/>
                  <a:gd name="connsiteY5" fmla="*/ 33738 h 337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60726" h="33738">
                    <a:moveTo>
                      <a:pt x="0" y="0"/>
                    </a:moveTo>
                    <a:lnTo>
                      <a:pt x="46171" y="0"/>
                    </a:lnTo>
                    <a:cubicBezTo>
                      <a:pt x="54186" y="0"/>
                      <a:pt x="60727" y="6796"/>
                      <a:pt x="60727" y="15124"/>
                    </a:cubicBezTo>
                    <a:lnTo>
                      <a:pt x="60727" y="18615"/>
                    </a:lnTo>
                    <a:cubicBezTo>
                      <a:pt x="60727" y="26930"/>
                      <a:pt x="54186" y="33738"/>
                      <a:pt x="46171" y="33738"/>
                    </a:cubicBezTo>
                    <a:lnTo>
                      <a:pt x="4604" y="33738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639" name="Forma livre: Forma 1638">
                <a:extLst>
                  <a:ext uri="{FF2B5EF4-FFF2-40B4-BE49-F238E27FC236}">
                    <a16:creationId xmlns:a16="http://schemas.microsoft.com/office/drawing/2014/main" id="{1245CAAC-B0A3-773D-D59D-A1168E40EB0A}"/>
                  </a:ext>
                </a:extLst>
              </p:cNvPr>
              <p:cNvSpPr/>
              <p:nvPr/>
            </p:nvSpPr>
            <p:spPr>
              <a:xfrm>
                <a:off x="3865023" y="4345799"/>
                <a:ext cx="30108" cy="42877"/>
              </a:xfrm>
              <a:custGeom>
                <a:avLst/>
                <a:gdLst>
                  <a:gd name="connsiteX0" fmla="*/ 0 w 30108"/>
                  <a:gd name="connsiteY0" fmla="*/ 42878 h 42877"/>
                  <a:gd name="connsiteX1" fmla="*/ 30108 w 30108"/>
                  <a:gd name="connsiteY1" fmla="*/ 0 h 428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0108" h="42877">
                    <a:moveTo>
                      <a:pt x="0" y="42878"/>
                    </a:moveTo>
                    <a:cubicBezTo>
                      <a:pt x="0" y="42878"/>
                      <a:pt x="30108" y="32242"/>
                      <a:pt x="30108" y="0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640" name="Forma livre: Forma 1639">
                <a:extLst>
                  <a:ext uri="{FF2B5EF4-FFF2-40B4-BE49-F238E27FC236}">
                    <a16:creationId xmlns:a16="http://schemas.microsoft.com/office/drawing/2014/main" id="{D05A8B39-A208-70D7-6CF1-BC12E006311A}"/>
                  </a:ext>
                </a:extLst>
              </p:cNvPr>
              <p:cNvSpPr/>
              <p:nvPr/>
            </p:nvSpPr>
            <p:spPr>
              <a:xfrm>
                <a:off x="3770534" y="4434953"/>
                <a:ext cx="93873" cy="23068"/>
              </a:xfrm>
              <a:custGeom>
                <a:avLst/>
                <a:gdLst>
                  <a:gd name="connsiteX0" fmla="*/ 0 w 93873"/>
                  <a:gd name="connsiteY0" fmla="*/ 0 h 23068"/>
                  <a:gd name="connsiteX1" fmla="*/ 41706 w 93873"/>
                  <a:gd name="connsiteY1" fmla="*/ 0 h 23068"/>
                  <a:gd name="connsiteX2" fmla="*/ 62675 w 93873"/>
                  <a:gd name="connsiteY2" fmla="*/ 16724 h 23068"/>
                  <a:gd name="connsiteX3" fmla="*/ 93874 w 93873"/>
                  <a:gd name="connsiteY3" fmla="*/ 23068 h 230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3873" h="23068">
                    <a:moveTo>
                      <a:pt x="0" y="0"/>
                    </a:moveTo>
                    <a:lnTo>
                      <a:pt x="41706" y="0"/>
                    </a:lnTo>
                    <a:cubicBezTo>
                      <a:pt x="41706" y="0"/>
                      <a:pt x="47540" y="10844"/>
                      <a:pt x="62675" y="16724"/>
                    </a:cubicBezTo>
                    <a:cubicBezTo>
                      <a:pt x="70168" y="19647"/>
                      <a:pt x="80861" y="21677"/>
                      <a:pt x="93874" y="23068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641" name="Forma livre: Forma 1640">
                <a:extLst>
                  <a:ext uri="{FF2B5EF4-FFF2-40B4-BE49-F238E27FC236}">
                    <a16:creationId xmlns:a16="http://schemas.microsoft.com/office/drawing/2014/main" id="{874196BA-85BE-3F42-D112-3C1EEF1EDC88}"/>
                  </a:ext>
                </a:extLst>
              </p:cNvPr>
              <p:cNvSpPr/>
              <p:nvPr/>
            </p:nvSpPr>
            <p:spPr>
              <a:xfrm>
                <a:off x="3770534" y="4299168"/>
                <a:ext cx="155505" cy="91039"/>
              </a:xfrm>
              <a:custGeom>
                <a:avLst/>
                <a:gdLst>
                  <a:gd name="connsiteX0" fmla="*/ 124655 w 155505"/>
                  <a:gd name="connsiteY0" fmla="*/ 33572 h 91039"/>
                  <a:gd name="connsiteX1" fmla="*/ 124655 w 155505"/>
                  <a:gd name="connsiteY1" fmla="*/ 66231 h 91039"/>
                  <a:gd name="connsiteX2" fmla="*/ 155505 w 155505"/>
                  <a:gd name="connsiteY2" fmla="*/ 91039 h 91039"/>
                  <a:gd name="connsiteX3" fmla="*/ 155505 w 155505"/>
                  <a:gd name="connsiteY3" fmla="*/ 20767 h 91039"/>
                  <a:gd name="connsiteX4" fmla="*/ 147874 w 155505"/>
                  <a:gd name="connsiteY4" fmla="*/ 3057 h 91039"/>
                  <a:gd name="connsiteX5" fmla="*/ 97945 w 155505"/>
                  <a:gd name="connsiteY5" fmla="*/ 4855 h 91039"/>
                  <a:gd name="connsiteX6" fmla="*/ 55044 w 155505"/>
                  <a:gd name="connsiteY6" fmla="*/ 35265 h 91039"/>
                  <a:gd name="connsiteX7" fmla="*/ 41184 w 155505"/>
                  <a:gd name="connsiteY7" fmla="*/ 42351 h 91039"/>
                  <a:gd name="connsiteX8" fmla="*/ 0 w 155505"/>
                  <a:gd name="connsiteY8" fmla="*/ 42351 h 910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55505" h="91039">
                    <a:moveTo>
                      <a:pt x="124655" y="33572"/>
                    </a:moveTo>
                    <a:lnTo>
                      <a:pt x="124655" y="66231"/>
                    </a:lnTo>
                    <a:cubicBezTo>
                      <a:pt x="124655" y="91028"/>
                      <a:pt x="155505" y="91039"/>
                      <a:pt x="155505" y="91039"/>
                    </a:cubicBezTo>
                    <a:lnTo>
                      <a:pt x="155505" y="20767"/>
                    </a:lnTo>
                    <a:cubicBezTo>
                      <a:pt x="155505" y="7453"/>
                      <a:pt x="147874" y="3057"/>
                      <a:pt x="147874" y="3057"/>
                    </a:cubicBezTo>
                    <a:cubicBezTo>
                      <a:pt x="120166" y="-4748"/>
                      <a:pt x="97945" y="4855"/>
                      <a:pt x="97945" y="4855"/>
                    </a:cubicBezTo>
                    <a:cubicBezTo>
                      <a:pt x="88933" y="7685"/>
                      <a:pt x="55044" y="35265"/>
                      <a:pt x="55044" y="35265"/>
                    </a:cubicBezTo>
                    <a:cubicBezTo>
                      <a:pt x="48108" y="41296"/>
                      <a:pt x="41184" y="42351"/>
                      <a:pt x="41184" y="42351"/>
                    </a:cubicBezTo>
                    <a:lnTo>
                      <a:pt x="0" y="42351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642" name="Forma livre: Forma 1641">
                <a:extLst>
                  <a:ext uri="{FF2B5EF4-FFF2-40B4-BE49-F238E27FC236}">
                    <a16:creationId xmlns:a16="http://schemas.microsoft.com/office/drawing/2014/main" id="{B4308EBD-EBF4-2EA6-0AAA-BB645F6938AB}"/>
                  </a:ext>
                </a:extLst>
              </p:cNvPr>
              <p:cNvSpPr/>
              <p:nvPr/>
            </p:nvSpPr>
            <p:spPr>
              <a:xfrm>
                <a:off x="3927733" y="4325561"/>
                <a:ext cx="50404" cy="33761"/>
              </a:xfrm>
              <a:custGeom>
                <a:avLst/>
                <a:gdLst>
                  <a:gd name="connsiteX0" fmla="*/ 0 w 50404"/>
                  <a:gd name="connsiteY0" fmla="*/ 0 h 33761"/>
                  <a:gd name="connsiteX1" fmla="*/ 35849 w 50404"/>
                  <a:gd name="connsiteY1" fmla="*/ 0 h 33761"/>
                  <a:gd name="connsiteX2" fmla="*/ 50405 w 50404"/>
                  <a:gd name="connsiteY2" fmla="*/ 15135 h 33761"/>
                  <a:gd name="connsiteX3" fmla="*/ 50405 w 50404"/>
                  <a:gd name="connsiteY3" fmla="*/ 18638 h 33761"/>
                  <a:gd name="connsiteX4" fmla="*/ 35849 w 50404"/>
                  <a:gd name="connsiteY4" fmla="*/ 33762 h 337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0404" h="33761">
                    <a:moveTo>
                      <a:pt x="0" y="0"/>
                    </a:moveTo>
                    <a:lnTo>
                      <a:pt x="35849" y="0"/>
                    </a:lnTo>
                    <a:cubicBezTo>
                      <a:pt x="43863" y="0"/>
                      <a:pt x="50405" y="6820"/>
                      <a:pt x="50405" y="15135"/>
                    </a:cubicBezTo>
                    <a:lnTo>
                      <a:pt x="50405" y="18638"/>
                    </a:lnTo>
                    <a:cubicBezTo>
                      <a:pt x="50405" y="26954"/>
                      <a:pt x="43863" y="33762"/>
                      <a:pt x="35849" y="33762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643" name="Gráfico 14">
              <a:extLst>
                <a:ext uri="{FF2B5EF4-FFF2-40B4-BE49-F238E27FC236}">
                  <a16:creationId xmlns:a16="http://schemas.microsoft.com/office/drawing/2014/main" id="{229E1809-A1E7-A2F1-E1E8-07CF2A5BA8C7}"/>
                </a:ext>
              </a:extLst>
            </p:cNvPr>
            <p:cNvGrpSpPr/>
            <p:nvPr/>
          </p:nvGrpSpPr>
          <p:grpSpPr>
            <a:xfrm>
              <a:off x="3867269" y="4122096"/>
              <a:ext cx="137653" cy="358870"/>
              <a:chOff x="3867269" y="4122096"/>
              <a:chExt cx="137653" cy="358870"/>
            </a:xfrm>
            <a:noFill/>
          </p:grpSpPr>
          <p:sp>
            <p:nvSpPr>
              <p:cNvPr id="1644" name="Forma livre: Forma 1643">
                <a:extLst>
                  <a:ext uri="{FF2B5EF4-FFF2-40B4-BE49-F238E27FC236}">
                    <a16:creationId xmlns:a16="http://schemas.microsoft.com/office/drawing/2014/main" id="{5D3AD564-86BB-C3B5-1A70-D478E3ED42ED}"/>
                  </a:ext>
                </a:extLst>
              </p:cNvPr>
              <p:cNvSpPr/>
              <p:nvPr/>
            </p:nvSpPr>
            <p:spPr>
              <a:xfrm>
                <a:off x="3962886" y="4283275"/>
                <a:ext cx="7932" cy="41532"/>
              </a:xfrm>
              <a:custGeom>
                <a:avLst/>
                <a:gdLst>
                  <a:gd name="connsiteX0" fmla="*/ 0 w 7932"/>
                  <a:gd name="connsiteY0" fmla="*/ 41532 h 41532"/>
                  <a:gd name="connsiteX1" fmla="*/ 7933 w 7932"/>
                  <a:gd name="connsiteY1" fmla="*/ 0 h 415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7932" h="41532">
                    <a:moveTo>
                      <a:pt x="0" y="41532"/>
                    </a:moveTo>
                    <a:lnTo>
                      <a:pt x="7933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645" name="Forma livre: Forma 1644">
                <a:extLst>
                  <a:ext uri="{FF2B5EF4-FFF2-40B4-BE49-F238E27FC236}">
                    <a16:creationId xmlns:a16="http://schemas.microsoft.com/office/drawing/2014/main" id="{F9F3F35C-D1E6-3199-B1C3-085D1FA7A510}"/>
                  </a:ext>
                </a:extLst>
              </p:cNvPr>
              <p:cNvSpPr/>
              <p:nvPr/>
            </p:nvSpPr>
            <p:spPr>
              <a:xfrm>
                <a:off x="3887780" y="4413404"/>
                <a:ext cx="49057" cy="67563"/>
              </a:xfrm>
              <a:custGeom>
                <a:avLst/>
                <a:gdLst>
                  <a:gd name="connsiteX0" fmla="*/ 2190 w 49057"/>
                  <a:gd name="connsiteY0" fmla="*/ 0 h 67563"/>
                  <a:gd name="connsiteX1" fmla="*/ 10 w 49057"/>
                  <a:gd name="connsiteY1" fmla="*/ 48085 h 67563"/>
                  <a:gd name="connsiteX2" fmla="*/ 19831 w 49057"/>
                  <a:gd name="connsiteY2" fmla="*/ 66804 h 67563"/>
                  <a:gd name="connsiteX3" fmla="*/ 24319 w 49057"/>
                  <a:gd name="connsiteY3" fmla="*/ 67326 h 67563"/>
                  <a:gd name="connsiteX4" fmla="*/ 47944 w 49057"/>
                  <a:gd name="connsiteY4" fmla="*/ 53698 h 67563"/>
                  <a:gd name="connsiteX5" fmla="*/ 49057 w 49057"/>
                  <a:gd name="connsiteY5" fmla="*/ 47841 h 675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49057" h="67563">
                    <a:moveTo>
                      <a:pt x="2190" y="0"/>
                    </a:moveTo>
                    <a:lnTo>
                      <a:pt x="10" y="48085"/>
                    </a:lnTo>
                    <a:cubicBezTo>
                      <a:pt x="-338" y="59335"/>
                      <a:pt x="8662" y="65459"/>
                      <a:pt x="19831" y="66804"/>
                    </a:cubicBezTo>
                    <a:lnTo>
                      <a:pt x="24319" y="67326"/>
                    </a:lnTo>
                    <a:cubicBezTo>
                      <a:pt x="35523" y="68613"/>
                      <a:pt x="45671" y="64740"/>
                      <a:pt x="47944" y="53698"/>
                    </a:cubicBezTo>
                    <a:lnTo>
                      <a:pt x="49057" y="47841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646" name="Forma livre: Forma 1645">
                <a:extLst>
                  <a:ext uri="{FF2B5EF4-FFF2-40B4-BE49-F238E27FC236}">
                    <a16:creationId xmlns:a16="http://schemas.microsoft.com/office/drawing/2014/main" id="{61E36909-BD92-EBA8-13CD-4526834BE164}"/>
                  </a:ext>
                </a:extLst>
              </p:cNvPr>
              <p:cNvSpPr/>
              <p:nvPr/>
            </p:nvSpPr>
            <p:spPr>
              <a:xfrm>
                <a:off x="3895201" y="4274170"/>
                <a:ext cx="1043" cy="23207"/>
              </a:xfrm>
              <a:custGeom>
                <a:avLst/>
                <a:gdLst>
                  <a:gd name="connsiteX0" fmla="*/ 1044 w 1043"/>
                  <a:gd name="connsiteY0" fmla="*/ 0 h 23207"/>
                  <a:gd name="connsiteX1" fmla="*/ 0 w 1043"/>
                  <a:gd name="connsiteY1" fmla="*/ 23207 h 232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043" h="23207">
                    <a:moveTo>
                      <a:pt x="1044" y="0"/>
                    </a:moveTo>
                    <a:lnTo>
                      <a:pt x="0" y="23207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647" name="Forma livre: Forma 1646">
                <a:extLst>
                  <a:ext uri="{FF2B5EF4-FFF2-40B4-BE49-F238E27FC236}">
                    <a16:creationId xmlns:a16="http://schemas.microsoft.com/office/drawing/2014/main" id="{6C25CE97-341F-1CD8-EBAE-DF6F236D5F84}"/>
                  </a:ext>
                </a:extLst>
              </p:cNvPr>
              <p:cNvSpPr/>
              <p:nvPr/>
            </p:nvSpPr>
            <p:spPr>
              <a:xfrm rot="-4999200">
                <a:off x="3906045" y="4182635"/>
                <a:ext cx="60100" cy="131555"/>
              </a:xfrm>
              <a:custGeom>
                <a:avLst/>
                <a:gdLst>
                  <a:gd name="connsiteX0" fmla="*/ 0 w 60100"/>
                  <a:gd name="connsiteY0" fmla="*/ 0 h 131555"/>
                  <a:gd name="connsiteX1" fmla="*/ 60100 w 60100"/>
                  <a:gd name="connsiteY1" fmla="*/ 0 h 131555"/>
                  <a:gd name="connsiteX2" fmla="*/ 60100 w 60100"/>
                  <a:gd name="connsiteY2" fmla="*/ 131555 h 131555"/>
                  <a:gd name="connsiteX3" fmla="*/ 0 w 60100"/>
                  <a:gd name="connsiteY3" fmla="*/ 131555 h 1315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0100" h="131555">
                    <a:moveTo>
                      <a:pt x="0" y="0"/>
                    </a:moveTo>
                    <a:lnTo>
                      <a:pt x="60100" y="0"/>
                    </a:lnTo>
                    <a:lnTo>
                      <a:pt x="60100" y="131555"/>
                    </a:lnTo>
                    <a:lnTo>
                      <a:pt x="0" y="131555"/>
                    </a:ln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648" name="Forma livre: Forma 1647">
                <a:extLst>
                  <a:ext uri="{FF2B5EF4-FFF2-40B4-BE49-F238E27FC236}">
                    <a16:creationId xmlns:a16="http://schemas.microsoft.com/office/drawing/2014/main" id="{5955B2CC-836F-A99A-E4EA-3FF473FA6A9B}"/>
                  </a:ext>
                </a:extLst>
              </p:cNvPr>
              <p:cNvSpPr/>
              <p:nvPr/>
            </p:nvSpPr>
            <p:spPr>
              <a:xfrm>
                <a:off x="3912992" y="4183428"/>
                <a:ext cx="82867" cy="9719"/>
              </a:xfrm>
              <a:custGeom>
                <a:avLst/>
                <a:gdLst>
                  <a:gd name="connsiteX0" fmla="*/ 82867 w 82867"/>
                  <a:gd name="connsiteY0" fmla="*/ 9719 h 9719"/>
                  <a:gd name="connsiteX1" fmla="*/ 0 w 82867"/>
                  <a:gd name="connsiteY1" fmla="*/ 0 h 97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82867" h="9719">
                    <a:moveTo>
                      <a:pt x="82867" y="9719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649" name="Forma livre: Forma 1648">
                <a:extLst>
                  <a:ext uri="{FF2B5EF4-FFF2-40B4-BE49-F238E27FC236}">
                    <a16:creationId xmlns:a16="http://schemas.microsoft.com/office/drawing/2014/main" id="{A7D135D8-0903-9747-5C05-91D305FAEB37}"/>
                  </a:ext>
                </a:extLst>
              </p:cNvPr>
              <p:cNvSpPr/>
              <p:nvPr/>
            </p:nvSpPr>
            <p:spPr>
              <a:xfrm>
                <a:off x="3907993" y="4245036"/>
                <a:ext cx="56435" cy="6610"/>
              </a:xfrm>
              <a:custGeom>
                <a:avLst/>
                <a:gdLst>
                  <a:gd name="connsiteX0" fmla="*/ 0 w 56435"/>
                  <a:gd name="connsiteY0" fmla="*/ 0 h 6610"/>
                  <a:gd name="connsiteX1" fmla="*/ 56436 w 56435"/>
                  <a:gd name="connsiteY1" fmla="*/ 6611 h 66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6435" h="6610">
                    <a:moveTo>
                      <a:pt x="0" y="0"/>
                    </a:moveTo>
                    <a:lnTo>
                      <a:pt x="56436" y="6611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650" name="Forma livre: Forma 1649">
                <a:extLst>
                  <a:ext uri="{FF2B5EF4-FFF2-40B4-BE49-F238E27FC236}">
                    <a16:creationId xmlns:a16="http://schemas.microsoft.com/office/drawing/2014/main" id="{16AD20AC-5F06-1D64-2A56-2B2C849B3178}"/>
                  </a:ext>
                </a:extLst>
              </p:cNvPr>
              <p:cNvSpPr/>
              <p:nvPr/>
            </p:nvSpPr>
            <p:spPr>
              <a:xfrm>
                <a:off x="3890574" y="4122096"/>
                <a:ext cx="108186" cy="100649"/>
              </a:xfrm>
              <a:custGeom>
                <a:avLst/>
                <a:gdLst>
                  <a:gd name="connsiteX0" fmla="*/ 2504 w 108186"/>
                  <a:gd name="connsiteY0" fmla="*/ 70367 h 100649"/>
                  <a:gd name="connsiteX1" fmla="*/ 370 w 108186"/>
                  <a:gd name="connsiteY1" fmla="*/ 47797 h 100649"/>
                  <a:gd name="connsiteX2" fmla="*/ 60389 w 108186"/>
                  <a:gd name="connsiteY2" fmla="*/ 373 h 100649"/>
                  <a:gd name="connsiteX3" fmla="*/ 107813 w 108186"/>
                  <a:gd name="connsiteY3" fmla="*/ 60381 h 100649"/>
                  <a:gd name="connsiteX4" fmla="*/ 81614 w 108186"/>
                  <a:gd name="connsiteY4" fmla="*/ 100649 h 1006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08186" h="100649">
                    <a:moveTo>
                      <a:pt x="2504" y="70367"/>
                    </a:moveTo>
                    <a:cubicBezTo>
                      <a:pt x="266" y="63292"/>
                      <a:pt x="-546" y="55638"/>
                      <a:pt x="370" y="47797"/>
                    </a:cubicBezTo>
                    <a:cubicBezTo>
                      <a:pt x="3861" y="18118"/>
                      <a:pt x="30722" y="-3106"/>
                      <a:pt x="60389" y="373"/>
                    </a:cubicBezTo>
                    <a:cubicBezTo>
                      <a:pt x="90057" y="3841"/>
                      <a:pt x="111293" y="30714"/>
                      <a:pt x="107813" y="60381"/>
                    </a:cubicBezTo>
                    <a:cubicBezTo>
                      <a:pt x="105761" y="77824"/>
                      <a:pt x="95647" y="92333"/>
                      <a:pt x="81614" y="100649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651" name="Gráfico 14">
            <a:extLst>
              <a:ext uri="{FF2B5EF4-FFF2-40B4-BE49-F238E27FC236}">
                <a16:creationId xmlns:a16="http://schemas.microsoft.com/office/drawing/2014/main" id="{9D18D4C0-696C-A641-D133-5A0362A1DF93}"/>
              </a:ext>
            </a:extLst>
          </p:cNvPr>
          <p:cNvGrpSpPr/>
          <p:nvPr/>
        </p:nvGrpSpPr>
        <p:grpSpPr>
          <a:xfrm>
            <a:off x="2546337" y="3609817"/>
            <a:ext cx="265190" cy="363641"/>
            <a:chOff x="2546337" y="3609817"/>
            <a:chExt cx="265190" cy="363641"/>
          </a:xfrm>
          <a:noFill/>
        </p:grpSpPr>
        <p:grpSp>
          <p:nvGrpSpPr>
            <p:cNvPr id="1652" name="Gráfico 14">
              <a:extLst>
                <a:ext uri="{FF2B5EF4-FFF2-40B4-BE49-F238E27FC236}">
                  <a16:creationId xmlns:a16="http://schemas.microsoft.com/office/drawing/2014/main" id="{95145C39-AD81-6EC3-CF0E-5B5E6CB48736}"/>
                </a:ext>
              </a:extLst>
            </p:cNvPr>
            <p:cNvGrpSpPr/>
            <p:nvPr/>
          </p:nvGrpSpPr>
          <p:grpSpPr>
            <a:xfrm>
              <a:off x="2649002" y="3725136"/>
              <a:ext cx="81753" cy="99255"/>
              <a:chOff x="2649002" y="3725136"/>
              <a:chExt cx="81753" cy="99255"/>
            </a:xfrm>
            <a:noFill/>
          </p:grpSpPr>
          <p:sp>
            <p:nvSpPr>
              <p:cNvPr id="1653" name="Forma livre: Forma 1652">
                <a:extLst>
                  <a:ext uri="{FF2B5EF4-FFF2-40B4-BE49-F238E27FC236}">
                    <a16:creationId xmlns:a16="http://schemas.microsoft.com/office/drawing/2014/main" id="{1CEEF72E-A8C6-B320-80EB-28BC6B6938E9}"/>
                  </a:ext>
                </a:extLst>
              </p:cNvPr>
              <p:cNvSpPr/>
              <p:nvPr/>
            </p:nvSpPr>
            <p:spPr>
              <a:xfrm>
                <a:off x="2649002" y="3787997"/>
                <a:ext cx="81753" cy="36394"/>
              </a:xfrm>
              <a:custGeom>
                <a:avLst/>
                <a:gdLst>
                  <a:gd name="connsiteX0" fmla="*/ 0 w 81753"/>
                  <a:gd name="connsiteY0" fmla="*/ 36394 h 36394"/>
                  <a:gd name="connsiteX1" fmla="*/ 0 w 81753"/>
                  <a:gd name="connsiteY1" fmla="*/ 19995 h 36394"/>
                  <a:gd name="connsiteX2" fmla="*/ 24170 w 81753"/>
                  <a:gd name="connsiteY2" fmla="*/ 0 h 36394"/>
                  <a:gd name="connsiteX3" fmla="*/ 40883 w 81753"/>
                  <a:gd name="connsiteY3" fmla="*/ 18406 h 36394"/>
                  <a:gd name="connsiteX4" fmla="*/ 56401 w 81753"/>
                  <a:gd name="connsiteY4" fmla="*/ 0 h 36394"/>
                  <a:gd name="connsiteX5" fmla="*/ 81754 w 81753"/>
                  <a:gd name="connsiteY5" fmla="*/ 19995 h 36394"/>
                  <a:gd name="connsiteX6" fmla="*/ 81754 w 81753"/>
                  <a:gd name="connsiteY6" fmla="*/ 36394 h 363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81753" h="36394">
                    <a:moveTo>
                      <a:pt x="0" y="36394"/>
                    </a:moveTo>
                    <a:lnTo>
                      <a:pt x="0" y="19995"/>
                    </a:lnTo>
                    <a:cubicBezTo>
                      <a:pt x="0" y="5393"/>
                      <a:pt x="10566" y="0"/>
                      <a:pt x="24170" y="0"/>
                    </a:cubicBezTo>
                    <a:lnTo>
                      <a:pt x="40883" y="18406"/>
                    </a:lnTo>
                    <a:lnTo>
                      <a:pt x="56401" y="0"/>
                    </a:lnTo>
                    <a:cubicBezTo>
                      <a:pt x="70005" y="0"/>
                      <a:pt x="81754" y="5393"/>
                      <a:pt x="81754" y="19995"/>
                    </a:cubicBezTo>
                    <a:lnTo>
                      <a:pt x="81754" y="36394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654" name="Forma livre: Forma 1653">
                <a:extLst>
                  <a:ext uri="{FF2B5EF4-FFF2-40B4-BE49-F238E27FC236}">
                    <a16:creationId xmlns:a16="http://schemas.microsoft.com/office/drawing/2014/main" id="{628CE1A0-3313-9D2A-21A0-6264198C6F3E}"/>
                  </a:ext>
                </a:extLst>
              </p:cNvPr>
              <p:cNvSpPr/>
              <p:nvPr/>
            </p:nvSpPr>
            <p:spPr>
              <a:xfrm>
                <a:off x="2670980" y="3725136"/>
                <a:ext cx="37820" cy="45521"/>
              </a:xfrm>
              <a:custGeom>
                <a:avLst/>
                <a:gdLst>
                  <a:gd name="connsiteX0" fmla="*/ 37821 w 37820"/>
                  <a:gd name="connsiteY0" fmla="*/ 26316 h 45521"/>
                  <a:gd name="connsiteX1" fmla="*/ 18905 w 37820"/>
                  <a:gd name="connsiteY1" fmla="*/ 45522 h 45521"/>
                  <a:gd name="connsiteX2" fmla="*/ 0 w 37820"/>
                  <a:gd name="connsiteY2" fmla="*/ 26316 h 45521"/>
                  <a:gd name="connsiteX3" fmla="*/ 0 w 37820"/>
                  <a:gd name="connsiteY3" fmla="*/ 19195 h 45521"/>
                  <a:gd name="connsiteX4" fmla="*/ 18905 w 37820"/>
                  <a:gd name="connsiteY4" fmla="*/ 0 h 45521"/>
                  <a:gd name="connsiteX5" fmla="*/ 37821 w 37820"/>
                  <a:gd name="connsiteY5" fmla="*/ 19195 h 45521"/>
                  <a:gd name="connsiteX6" fmla="*/ 37821 w 37820"/>
                  <a:gd name="connsiteY6" fmla="*/ 26316 h 455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7820" h="45521">
                    <a:moveTo>
                      <a:pt x="37821" y="26316"/>
                    </a:moveTo>
                    <a:cubicBezTo>
                      <a:pt x="37821" y="36881"/>
                      <a:pt x="29308" y="45522"/>
                      <a:pt x="18905" y="45522"/>
                    </a:cubicBezTo>
                    <a:cubicBezTo>
                      <a:pt x="8501" y="45522"/>
                      <a:pt x="0" y="36881"/>
                      <a:pt x="0" y="26316"/>
                    </a:cubicBezTo>
                    <a:lnTo>
                      <a:pt x="0" y="19195"/>
                    </a:lnTo>
                    <a:cubicBezTo>
                      <a:pt x="0" y="8629"/>
                      <a:pt x="8513" y="0"/>
                      <a:pt x="18905" y="0"/>
                    </a:cubicBezTo>
                    <a:cubicBezTo>
                      <a:pt x="29296" y="0"/>
                      <a:pt x="37821" y="8640"/>
                      <a:pt x="37821" y="19195"/>
                    </a:cubicBezTo>
                    <a:lnTo>
                      <a:pt x="37821" y="26316"/>
                    </a:ln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655" name="Gráfico 14">
              <a:extLst>
                <a:ext uri="{FF2B5EF4-FFF2-40B4-BE49-F238E27FC236}">
                  <a16:creationId xmlns:a16="http://schemas.microsoft.com/office/drawing/2014/main" id="{6369A8F2-009E-D069-C647-EA0AF4C6D569}"/>
                </a:ext>
              </a:extLst>
            </p:cNvPr>
            <p:cNvGrpSpPr/>
            <p:nvPr/>
          </p:nvGrpSpPr>
          <p:grpSpPr>
            <a:xfrm>
              <a:off x="2574103" y="3609817"/>
              <a:ext cx="115144" cy="88608"/>
              <a:chOff x="2574103" y="3609817"/>
              <a:chExt cx="115144" cy="88608"/>
            </a:xfrm>
            <a:noFill/>
          </p:grpSpPr>
          <p:grpSp>
            <p:nvGrpSpPr>
              <p:cNvPr id="1656" name="Gráfico 14">
                <a:extLst>
                  <a:ext uri="{FF2B5EF4-FFF2-40B4-BE49-F238E27FC236}">
                    <a16:creationId xmlns:a16="http://schemas.microsoft.com/office/drawing/2014/main" id="{1FF3D1F2-8019-68D9-F417-594DEECD5520}"/>
                  </a:ext>
                </a:extLst>
              </p:cNvPr>
              <p:cNvGrpSpPr/>
              <p:nvPr/>
            </p:nvGrpSpPr>
            <p:grpSpPr>
              <a:xfrm>
                <a:off x="2596185" y="3635634"/>
                <a:ext cx="70979" cy="22268"/>
                <a:chOff x="2596185" y="3635634"/>
                <a:chExt cx="70979" cy="22268"/>
              </a:xfrm>
            </p:grpSpPr>
            <p:sp>
              <p:nvSpPr>
                <p:cNvPr id="1657" name="Forma livre: Forma 1656">
                  <a:extLst>
                    <a:ext uri="{FF2B5EF4-FFF2-40B4-BE49-F238E27FC236}">
                      <a16:creationId xmlns:a16="http://schemas.microsoft.com/office/drawing/2014/main" id="{91E65987-B1CE-2A4C-8BFB-2387ED854A93}"/>
                    </a:ext>
                  </a:extLst>
                </p:cNvPr>
                <p:cNvSpPr/>
                <p:nvPr/>
              </p:nvSpPr>
              <p:spPr>
                <a:xfrm>
                  <a:off x="2596185" y="3635634"/>
                  <a:ext cx="70979" cy="1159"/>
                </a:xfrm>
                <a:custGeom>
                  <a:avLst/>
                  <a:gdLst>
                    <a:gd name="connsiteX0" fmla="*/ 0 w 70979"/>
                    <a:gd name="connsiteY0" fmla="*/ 0 h 1159"/>
                    <a:gd name="connsiteX1" fmla="*/ 70979 w 70979"/>
                    <a:gd name="connsiteY1" fmla="*/ 0 h 115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70979" h="1159">
                      <a:moveTo>
                        <a:pt x="0" y="0"/>
                      </a:moveTo>
                      <a:lnTo>
                        <a:pt x="70979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658" name="Forma livre: Forma 1657">
                  <a:extLst>
                    <a:ext uri="{FF2B5EF4-FFF2-40B4-BE49-F238E27FC236}">
                      <a16:creationId xmlns:a16="http://schemas.microsoft.com/office/drawing/2014/main" id="{28C67CAD-8009-A212-143F-D69FE1E51EAF}"/>
                    </a:ext>
                  </a:extLst>
                </p:cNvPr>
                <p:cNvSpPr/>
                <p:nvPr/>
              </p:nvSpPr>
              <p:spPr>
                <a:xfrm>
                  <a:off x="2596185" y="3657903"/>
                  <a:ext cx="52898" cy="1159"/>
                </a:xfrm>
                <a:custGeom>
                  <a:avLst/>
                  <a:gdLst>
                    <a:gd name="connsiteX0" fmla="*/ 0 w 52898"/>
                    <a:gd name="connsiteY0" fmla="*/ 0 h 1159"/>
                    <a:gd name="connsiteX1" fmla="*/ 52898 w 52898"/>
                    <a:gd name="connsiteY1" fmla="*/ 0 h 115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52898" h="1159">
                      <a:moveTo>
                        <a:pt x="0" y="0"/>
                      </a:moveTo>
                      <a:lnTo>
                        <a:pt x="52898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1659" name="Forma livre: Forma 1658">
                <a:extLst>
                  <a:ext uri="{FF2B5EF4-FFF2-40B4-BE49-F238E27FC236}">
                    <a16:creationId xmlns:a16="http://schemas.microsoft.com/office/drawing/2014/main" id="{FA89891A-A238-9062-C0E1-16CFA9E3651B}"/>
                  </a:ext>
                </a:extLst>
              </p:cNvPr>
              <p:cNvSpPr/>
              <p:nvPr/>
            </p:nvSpPr>
            <p:spPr>
              <a:xfrm>
                <a:off x="2574103" y="3609817"/>
                <a:ext cx="115144" cy="88608"/>
              </a:xfrm>
              <a:custGeom>
                <a:avLst/>
                <a:gdLst>
                  <a:gd name="connsiteX0" fmla="*/ 115144 w 115144"/>
                  <a:gd name="connsiteY0" fmla="*/ 0 h 88608"/>
                  <a:gd name="connsiteX1" fmla="*/ 115144 w 115144"/>
                  <a:gd name="connsiteY1" fmla="*/ 88608 h 88608"/>
                  <a:gd name="connsiteX2" fmla="*/ 89084 w 115144"/>
                  <a:gd name="connsiteY2" fmla="*/ 74378 h 88608"/>
                  <a:gd name="connsiteX3" fmla="*/ 0 w 115144"/>
                  <a:gd name="connsiteY3" fmla="*/ 74378 h 88608"/>
                  <a:gd name="connsiteX4" fmla="*/ 0 w 115144"/>
                  <a:gd name="connsiteY4" fmla="*/ 0 h 88608"/>
                  <a:gd name="connsiteX5" fmla="*/ 115144 w 115144"/>
                  <a:gd name="connsiteY5" fmla="*/ 0 h 886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15144" h="88608">
                    <a:moveTo>
                      <a:pt x="115144" y="0"/>
                    </a:moveTo>
                    <a:lnTo>
                      <a:pt x="115144" y="88608"/>
                    </a:lnTo>
                    <a:lnTo>
                      <a:pt x="89084" y="74378"/>
                    </a:lnTo>
                    <a:lnTo>
                      <a:pt x="0" y="74378"/>
                    </a:lnTo>
                    <a:lnTo>
                      <a:pt x="0" y="0"/>
                    </a:lnTo>
                    <a:lnTo>
                      <a:pt x="115144" y="0"/>
                    </a:ln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660" name="Gráfico 14">
              <a:extLst>
                <a:ext uri="{FF2B5EF4-FFF2-40B4-BE49-F238E27FC236}">
                  <a16:creationId xmlns:a16="http://schemas.microsoft.com/office/drawing/2014/main" id="{9505B4EE-68EC-D1A7-534A-D9ECFA59FC12}"/>
                </a:ext>
              </a:extLst>
            </p:cNvPr>
            <p:cNvGrpSpPr/>
            <p:nvPr/>
          </p:nvGrpSpPr>
          <p:grpSpPr>
            <a:xfrm>
              <a:off x="2546337" y="3635368"/>
              <a:ext cx="265190" cy="338091"/>
              <a:chOff x="2546337" y="3635368"/>
              <a:chExt cx="265190" cy="338091"/>
            </a:xfrm>
            <a:noFill/>
          </p:grpSpPr>
          <p:sp>
            <p:nvSpPr>
              <p:cNvPr id="1661" name="Forma livre: Forma 1660">
                <a:extLst>
                  <a:ext uri="{FF2B5EF4-FFF2-40B4-BE49-F238E27FC236}">
                    <a16:creationId xmlns:a16="http://schemas.microsoft.com/office/drawing/2014/main" id="{6B84E46D-4CAA-610D-48A2-86445BC872F9}"/>
                  </a:ext>
                </a:extLst>
              </p:cNvPr>
              <p:cNvSpPr/>
              <p:nvPr/>
            </p:nvSpPr>
            <p:spPr>
              <a:xfrm>
                <a:off x="2546337" y="3744580"/>
                <a:ext cx="88786" cy="161657"/>
              </a:xfrm>
              <a:custGeom>
                <a:avLst/>
                <a:gdLst>
                  <a:gd name="connsiteX0" fmla="*/ 86474 w 88786"/>
                  <a:gd name="connsiteY0" fmla="*/ 159755 h 161657"/>
                  <a:gd name="connsiteX1" fmla="*/ 62269 w 88786"/>
                  <a:gd name="connsiteY1" fmla="*/ 82107 h 161657"/>
                  <a:gd name="connsiteX2" fmla="*/ 62211 w 88786"/>
                  <a:gd name="connsiteY2" fmla="*/ 81968 h 161657"/>
                  <a:gd name="connsiteX3" fmla="*/ 76546 w 88786"/>
                  <a:gd name="connsiteY3" fmla="*/ 37931 h 161657"/>
                  <a:gd name="connsiteX4" fmla="*/ 72464 w 88786"/>
                  <a:gd name="connsiteY4" fmla="*/ 11081 h 161657"/>
                  <a:gd name="connsiteX5" fmla="*/ 67407 w 88786"/>
                  <a:gd name="connsiteY5" fmla="*/ 4447 h 161657"/>
                  <a:gd name="connsiteX6" fmla="*/ 48468 w 88786"/>
                  <a:gd name="connsiteY6" fmla="*/ 6593 h 161657"/>
                  <a:gd name="connsiteX7" fmla="*/ 17687 w 88786"/>
                  <a:gd name="connsiteY7" fmla="*/ 99713 h 161657"/>
                  <a:gd name="connsiteX8" fmla="*/ 18823 w 88786"/>
                  <a:gd name="connsiteY8" fmla="*/ 141431 h 161657"/>
                  <a:gd name="connsiteX9" fmla="*/ 0 w 88786"/>
                  <a:gd name="connsiteY9" fmla="*/ 161657 h 1616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88786" h="161657">
                    <a:moveTo>
                      <a:pt x="86474" y="159755"/>
                    </a:moveTo>
                    <a:cubicBezTo>
                      <a:pt x="98072" y="115683"/>
                      <a:pt x="62269" y="82107"/>
                      <a:pt x="62269" y="82107"/>
                    </a:cubicBezTo>
                    <a:lnTo>
                      <a:pt x="62211" y="81968"/>
                    </a:lnTo>
                    <a:lnTo>
                      <a:pt x="76546" y="37931"/>
                    </a:lnTo>
                    <a:cubicBezTo>
                      <a:pt x="79202" y="29801"/>
                      <a:pt x="77845" y="20047"/>
                      <a:pt x="72464" y="11081"/>
                    </a:cubicBezTo>
                    <a:lnTo>
                      <a:pt x="67407" y="4447"/>
                    </a:lnTo>
                    <a:cubicBezTo>
                      <a:pt x="62014" y="-2024"/>
                      <a:pt x="51112" y="-1537"/>
                      <a:pt x="48468" y="6593"/>
                    </a:cubicBezTo>
                    <a:lnTo>
                      <a:pt x="17687" y="99713"/>
                    </a:lnTo>
                    <a:cubicBezTo>
                      <a:pt x="13465" y="112691"/>
                      <a:pt x="16782" y="128766"/>
                      <a:pt x="18823" y="141431"/>
                    </a:cubicBezTo>
                    <a:lnTo>
                      <a:pt x="0" y="161657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662" name="Forma livre: Forma 1661">
                <a:extLst>
                  <a:ext uri="{FF2B5EF4-FFF2-40B4-BE49-F238E27FC236}">
                    <a16:creationId xmlns:a16="http://schemas.microsoft.com/office/drawing/2014/main" id="{335D561B-22FA-0D86-FDBC-D95C6E715ECD}"/>
                  </a:ext>
                </a:extLst>
              </p:cNvPr>
              <p:cNvSpPr/>
              <p:nvPr/>
            </p:nvSpPr>
            <p:spPr>
              <a:xfrm>
                <a:off x="2622141" y="3918253"/>
                <a:ext cx="102293" cy="55206"/>
              </a:xfrm>
              <a:custGeom>
                <a:avLst/>
                <a:gdLst>
                  <a:gd name="connsiteX0" fmla="*/ 102294 w 102293"/>
                  <a:gd name="connsiteY0" fmla="*/ 0 h 55206"/>
                  <a:gd name="connsiteX1" fmla="*/ 18093 w 102293"/>
                  <a:gd name="connsiteY1" fmla="*/ 35490 h 55206"/>
                  <a:gd name="connsiteX2" fmla="*/ 0 w 102293"/>
                  <a:gd name="connsiteY2" fmla="*/ 55206 h 552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02293" h="55206">
                    <a:moveTo>
                      <a:pt x="102294" y="0"/>
                    </a:moveTo>
                    <a:cubicBezTo>
                      <a:pt x="102294" y="0"/>
                      <a:pt x="99278" y="29691"/>
                      <a:pt x="18093" y="35490"/>
                    </a:cubicBezTo>
                    <a:lnTo>
                      <a:pt x="0" y="55206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663" name="Forma livre: Forma 1662">
                <a:extLst>
                  <a:ext uri="{FF2B5EF4-FFF2-40B4-BE49-F238E27FC236}">
                    <a16:creationId xmlns:a16="http://schemas.microsoft.com/office/drawing/2014/main" id="{B6133992-3BB6-7983-9B1E-1886DCCE74CD}"/>
                  </a:ext>
                </a:extLst>
              </p:cNvPr>
              <p:cNvSpPr/>
              <p:nvPr/>
            </p:nvSpPr>
            <p:spPr>
              <a:xfrm>
                <a:off x="2755607" y="3752221"/>
                <a:ext cx="45969" cy="43445"/>
              </a:xfrm>
              <a:custGeom>
                <a:avLst/>
                <a:gdLst>
                  <a:gd name="connsiteX0" fmla="*/ 42893 w 45969"/>
                  <a:gd name="connsiteY0" fmla="*/ 7929 h 43445"/>
                  <a:gd name="connsiteX1" fmla="*/ 40817 w 45969"/>
                  <a:gd name="connsiteY1" fmla="*/ 27506 h 43445"/>
                  <a:gd name="connsiteX2" fmla="*/ 24893 w 45969"/>
                  <a:gd name="connsiteY2" fmla="*/ 40368 h 43445"/>
                  <a:gd name="connsiteX3" fmla="*/ 5327 w 45969"/>
                  <a:gd name="connsiteY3" fmla="*/ 38292 h 43445"/>
                  <a:gd name="connsiteX4" fmla="*/ 3077 w 45969"/>
                  <a:gd name="connsiteY4" fmla="*/ 35520 h 43445"/>
                  <a:gd name="connsiteX5" fmla="*/ 5153 w 45969"/>
                  <a:gd name="connsiteY5" fmla="*/ 15943 h 43445"/>
                  <a:gd name="connsiteX6" fmla="*/ 21077 w 45969"/>
                  <a:gd name="connsiteY6" fmla="*/ 3081 h 43445"/>
                  <a:gd name="connsiteX7" fmla="*/ 40643 w 45969"/>
                  <a:gd name="connsiteY7" fmla="*/ 5157 h 43445"/>
                  <a:gd name="connsiteX8" fmla="*/ 42893 w 45969"/>
                  <a:gd name="connsiteY8" fmla="*/ 7929 h 434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5969" h="43445">
                    <a:moveTo>
                      <a:pt x="42893" y="7929"/>
                    </a:moveTo>
                    <a:cubicBezTo>
                      <a:pt x="47706" y="13878"/>
                      <a:pt x="46766" y="22693"/>
                      <a:pt x="40817" y="27506"/>
                    </a:cubicBezTo>
                    <a:lnTo>
                      <a:pt x="24893" y="40368"/>
                    </a:lnTo>
                    <a:cubicBezTo>
                      <a:pt x="18943" y="45181"/>
                      <a:pt x="10129" y="44242"/>
                      <a:pt x="5327" y="38292"/>
                    </a:cubicBezTo>
                    <a:lnTo>
                      <a:pt x="3077" y="35520"/>
                    </a:lnTo>
                    <a:cubicBezTo>
                      <a:pt x="-1736" y="29570"/>
                      <a:pt x="-797" y="20756"/>
                      <a:pt x="5153" y="15943"/>
                    </a:cubicBezTo>
                    <a:lnTo>
                      <a:pt x="21077" y="3081"/>
                    </a:lnTo>
                    <a:cubicBezTo>
                      <a:pt x="27027" y="-1732"/>
                      <a:pt x="35841" y="-805"/>
                      <a:pt x="40643" y="5157"/>
                    </a:cubicBezTo>
                    <a:lnTo>
                      <a:pt x="42893" y="7929"/>
                    </a:lnTo>
                    <a:close/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664" name="Forma livre: Forma 1663">
                <a:extLst>
                  <a:ext uri="{FF2B5EF4-FFF2-40B4-BE49-F238E27FC236}">
                    <a16:creationId xmlns:a16="http://schemas.microsoft.com/office/drawing/2014/main" id="{5FAB45F5-0D11-77AF-137B-6D08CAAA97EB}"/>
                  </a:ext>
                </a:extLst>
              </p:cNvPr>
              <p:cNvSpPr/>
              <p:nvPr/>
            </p:nvSpPr>
            <p:spPr>
              <a:xfrm>
                <a:off x="2765225" y="3692461"/>
                <a:ext cx="46302" cy="60533"/>
              </a:xfrm>
              <a:custGeom>
                <a:avLst/>
                <a:gdLst>
                  <a:gd name="connsiteX0" fmla="*/ 186 w 46302"/>
                  <a:gd name="connsiteY0" fmla="*/ 20022 h 60533"/>
                  <a:gd name="connsiteX1" fmla="*/ 21410 w 46302"/>
                  <a:gd name="connsiteY1" fmla="*/ 3077 h 60533"/>
                  <a:gd name="connsiteX2" fmla="*/ 40976 w 46302"/>
                  <a:gd name="connsiteY2" fmla="*/ 5153 h 60533"/>
                  <a:gd name="connsiteX3" fmla="*/ 43226 w 46302"/>
                  <a:gd name="connsiteY3" fmla="*/ 7925 h 60533"/>
                  <a:gd name="connsiteX4" fmla="*/ 41149 w 46302"/>
                  <a:gd name="connsiteY4" fmla="*/ 27502 h 60533"/>
                  <a:gd name="connsiteX5" fmla="*/ 0 w 46302"/>
                  <a:gd name="connsiteY5" fmla="*/ 60533 h 605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46302" h="60533">
                    <a:moveTo>
                      <a:pt x="186" y="20022"/>
                    </a:moveTo>
                    <a:lnTo>
                      <a:pt x="21410" y="3077"/>
                    </a:lnTo>
                    <a:cubicBezTo>
                      <a:pt x="27360" y="-1736"/>
                      <a:pt x="36174" y="-797"/>
                      <a:pt x="40976" y="5153"/>
                    </a:cubicBezTo>
                    <a:lnTo>
                      <a:pt x="43226" y="7925"/>
                    </a:lnTo>
                    <a:cubicBezTo>
                      <a:pt x="48039" y="13875"/>
                      <a:pt x="47099" y="22689"/>
                      <a:pt x="41149" y="27502"/>
                    </a:cubicBezTo>
                    <a:lnTo>
                      <a:pt x="0" y="60533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665" name="Forma livre: Forma 1664">
                <a:extLst>
                  <a:ext uri="{FF2B5EF4-FFF2-40B4-BE49-F238E27FC236}">
                    <a16:creationId xmlns:a16="http://schemas.microsoft.com/office/drawing/2014/main" id="{C784E060-35FC-A760-F430-8A2BB5694374}"/>
                  </a:ext>
                </a:extLst>
              </p:cNvPr>
              <p:cNvSpPr/>
              <p:nvPr/>
            </p:nvSpPr>
            <p:spPr>
              <a:xfrm>
                <a:off x="2755607" y="3796529"/>
                <a:ext cx="45969" cy="43441"/>
              </a:xfrm>
              <a:custGeom>
                <a:avLst/>
                <a:gdLst>
                  <a:gd name="connsiteX0" fmla="*/ 42893 w 45969"/>
                  <a:gd name="connsiteY0" fmla="*/ 7925 h 43441"/>
                  <a:gd name="connsiteX1" fmla="*/ 40817 w 45969"/>
                  <a:gd name="connsiteY1" fmla="*/ 27502 h 43441"/>
                  <a:gd name="connsiteX2" fmla="*/ 24893 w 45969"/>
                  <a:gd name="connsiteY2" fmla="*/ 40364 h 43441"/>
                  <a:gd name="connsiteX3" fmla="*/ 5327 w 45969"/>
                  <a:gd name="connsiteY3" fmla="*/ 38288 h 43441"/>
                  <a:gd name="connsiteX4" fmla="*/ 3077 w 45969"/>
                  <a:gd name="connsiteY4" fmla="*/ 35516 h 43441"/>
                  <a:gd name="connsiteX5" fmla="*/ 5153 w 45969"/>
                  <a:gd name="connsiteY5" fmla="*/ 15951 h 43441"/>
                  <a:gd name="connsiteX6" fmla="*/ 21077 w 45969"/>
                  <a:gd name="connsiteY6" fmla="*/ 3077 h 43441"/>
                  <a:gd name="connsiteX7" fmla="*/ 40643 w 45969"/>
                  <a:gd name="connsiteY7" fmla="*/ 5153 h 43441"/>
                  <a:gd name="connsiteX8" fmla="*/ 42893 w 45969"/>
                  <a:gd name="connsiteY8" fmla="*/ 7925 h 434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5969" h="43441">
                    <a:moveTo>
                      <a:pt x="42893" y="7925"/>
                    </a:moveTo>
                    <a:cubicBezTo>
                      <a:pt x="47706" y="13875"/>
                      <a:pt x="46766" y="22689"/>
                      <a:pt x="40817" y="27502"/>
                    </a:cubicBezTo>
                    <a:lnTo>
                      <a:pt x="24893" y="40364"/>
                    </a:lnTo>
                    <a:cubicBezTo>
                      <a:pt x="18943" y="45178"/>
                      <a:pt x="10129" y="44238"/>
                      <a:pt x="5327" y="38288"/>
                    </a:cubicBezTo>
                    <a:lnTo>
                      <a:pt x="3077" y="35516"/>
                    </a:lnTo>
                    <a:cubicBezTo>
                      <a:pt x="-1736" y="29567"/>
                      <a:pt x="-797" y="20752"/>
                      <a:pt x="5153" y="15951"/>
                    </a:cubicBezTo>
                    <a:lnTo>
                      <a:pt x="21077" y="3077"/>
                    </a:lnTo>
                    <a:cubicBezTo>
                      <a:pt x="27027" y="-1736"/>
                      <a:pt x="35841" y="-797"/>
                      <a:pt x="40643" y="5153"/>
                    </a:cubicBezTo>
                    <a:lnTo>
                      <a:pt x="42893" y="7925"/>
                    </a:lnTo>
                    <a:close/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666" name="Forma livre: Forma 1665">
                <a:extLst>
                  <a:ext uri="{FF2B5EF4-FFF2-40B4-BE49-F238E27FC236}">
                    <a16:creationId xmlns:a16="http://schemas.microsoft.com/office/drawing/2014/main" id="{E10B801C-BA8D-E070-8066-6E3FABA47ED1}"/>
                  </a:ext>
                </a:extLst>
              </p:cNvPr>
              <p:cNvSpPr/>
              <p:nvPr/>
            </p:nvSpPr>
            <p:spPr>
              <a:xfrm>
                <a:off x="2755607" y="3843605"/>
                <a:ext cx="45969" cy="43441"/>
              </a:xfrm>
              <a:custGeom>
                <a:avLst/>
                <a:gdLst>
                  <a:gd name="connsiteX0" fmla="*/ 42893 w 45969"/>
                  <a:gd name="connsiteY0" fmla="*/ 7925 h 43441"/>
                  <a:gd name="connsiteX1" fmla="*/ 40817 w 45969"/>
                  <a:gd name="connsiteY1" fmla="*/ 27502 h 43441"/>
                  <a:gd name="connsiteX2" fmla="*/ 24893 w 45969"/>
                  <a:gd name="connsiteY2" fmla="*/ 40364 h 43441"/>
                  <a:gd name="connsiteX3" fmla="*/ 5327 w 45969"/>
                  <a:gd name="connsiteY3" fmla="*/ 38288 h 43441"/>
                  <a:gd name="connsiteX4" fmla="*/ 3077 w 45969"/>
                  <a:gd name="connsiteY4" fmla="*/ 35516 h 43441"/>
                  <a:gd name="connsiteX5" fmla="*/ 5153 w 45969"/>
                  <a:gd name="connsiteY5" fmla="*/ 15939 h 43441"/>
                  <a:gd name="connsiteX6" fmla="*/ 21077 w 45969"/>
                  <a:gd name="connsiteY6" fmla="*/ 3077 h 43441"/>
                  <a:gd name="connsiteX7" fmla="*/ 40643 w 45969"/>
                  <a:gd name="connsiteY7" fmla="*/ 5153 h 43441"/>
                  <a:gd name="connsiteX8" fmla="*/ 42893 w 45969"/>
                  <a:gd name="connsiteY8" fmla="*/ 7925 h 434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5969" h="43441">
                    <a:moveTo>
                      <a:pt x="42893" y="7925"/>
                    </a:moveTo>
                    <a:cubicBezTo>
                      <a:pt x="47706" y="13875"/>
                      <a:pt x="46766" y="22689"/>
                      <a:pt x="40817" y="27502"/>
                    </a:cubicBezTo>
                    <a:lnTo>
                      <a:pt x="24893" y="40364"/>
                    </a:lnTo>
                    <a:cubicBezTo>
                      <a:pt x="18943" y="45178"/>
                      <a:pt x="10129" y="44238"/>
                      <a:pt x="5327" y="38288"/>
                    </a:cubicBezTo>
                    <a:lnTo>
                      <a:pt x="3077" y="35516"/>
                    </a:lnTo>
                    <a:cubicBezTo>
                      <a:pt x="-1736" y="29567"/>
                      <a:pt x="-797" y="20752"/>
                      <a:pt x="5153" y="15939"/>
                    </a:cubicBezTo>
                    <a:lnTo>
                      <a:pt x="21077" y="3077"/>
                    </a:lnTo>
                    <a:cubicBezTo>
                      <a:pt x="27027" y="-1736"/>
                      <a:pt x="35841" y="-797"/>
                      <a:pt x="40643" y="5153"/>
                    </a:cubicBezTo>
                    <a:lnTo>
                      <a:pt x="42893" y="7925"/>
                    </a:lnTo>
                    <a:close/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1667" name="Gráfico 14">
                <a:extLst>
                  <a:ext uri="{FF2B5EF4-FFF2-40B4-BE49-F238E27FC236}">
                    <a16:creationId xmlns:a16="http://schemas.microsoft.com/office/drawing/2014/main" id="{5A10AFA1-D534-65E5-95A4-10F02930FFF2}"/>
                  </a:ext>
                </a:extLst>
              </p:cNvPr>
              <p:cNvGrpSpPr/>
              <p:nvPr/>
            </p:nvGrpSpPr>
            <p:grpSpPr>
              <a:xfrm>
                <a:off x="2609476" y="3635368"/>
                <a:ext cx="155737" cy="281528"/>
                <a:chOff x="2609476" y="3635368"/>
                <a:chExt cx="155737" cy="281528"/>
              </a:xfrm>
              <a:noFill/>
            </p:grpSpPr>
            <p:sp>
              <p:nvSpPr>
                <p:cNvPr id="1668" name="Forma livre: Forma 1667">
                  <a:extLst>
                    <a:ext uri="{FF2B5EF4-FFF2-40B4-BE49-F238E27FC236}">
                      <a16:creationId xmlns:a16="http://schemas.microsoft.com/office/drawing/2014/main" id="{532F7A5C-5919-469A-5409-0DE43DF90215}"/>
                    </a:ext>
                  </a:extLst>
                </p:cNvPr>
                <p:cNvSpPr/>
                <p:nvPr/>
              </p:nvSpPr>
              <p:spPr>
                <a:xfrm>
                  <a:off x="2653143" y="3886707"/>
                  <a:ext cx="112070" cy="30189"/>
                </a:xfrm>
                <a:custGeom>
                  <a:avLst/>
                  <a:gdLst>
                    <a:gd name="connsiteX0" fmla="*/ 112071 w 112070"/>
                    <a:gd name="connsiteY0" fmla="*/ 0 h 30189"/>
                    <a:gd name="connsiteX1" fmla="*/ 112071 w 112070"/>
                    <a:gd name="connsiteY1" fmla="*/ 17072 h 30189"/>
                    <a:gd name="connsiteX2" fmla="*/ 99336 w 112070"/>
                    <a:gd name="connsiteY2" fmla="*/ 30189 h 30189"/>
                    <a:gd name="connsiteX3" fmla="*/ 0 w 112070"/>
                    <a:gd name="connsiteY3" fmla="*/ 30189 h 3018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12070" h="30189">
                      <a:moveTo>
                        <a:pt x="112071" y="0"/>
                      </a:moveTo>
                      <a:lnTo>
                        <a:pt x="112071" y="17072"/>
                      </a:lnTo>
                      <a:cubicBezTo>
                        <a:pt x="112071" y="24089"/>
                        <a:pt x="106330" y="30189"/>
                        <a:pt x="99336" y="30189"/>
                      </a:cubicBezTo>
                      <a:lnTo>
                        <a:pt x="0" y="30189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669" name="Forma livre: Forma 1668">
                  <a:extLst>
                    <a:ext uri="{FF2B5EF4-FFF2-40B4-BE49-F238E27FC236}">
                      <a16:creationId xmlns:a16="http://schemas.microsoft.com/office/drawing/2014/main" id="{E5FB0BA4-E530-10E8-C8E1-E2D3F64B7D44}"/>
                    </a:ext>
                  </a:extLst>
                </p:cNvPr>
                <p:cNvSpPr/>
                <p:nvPr/>
              </p:nvSpPr>
              <p:spPr>
                <a:xfrm>
                  <a:off x="2711341" y="3635368"/>
                  <a:ext cx="53814" cy="128563"/>
                </a:xfrm>
                <a:custGeom>
                  <a:avLst/>
                  <a:gdLst>
                    <a:gd name="connsiteX0" fmla="*/ 0 w 53814"/>
                    <a:gd name="connsiteY0" fmla="*/ 0 h 128563"/>
                    <a:gd name="connsiteX1" fmla="*/ 41080 w 53814"/>
                    <a:gd name="connsiteY1" fmla="*/ 0 h 128563"/>
                    <a:gd name="connsiteX2" fmla="*/ 53814 w 53814"/>
                    <a:gd name="connsiteY2" fmla="*/ 12746 h 128563"/>
                    <a:gd name="connsiteX3" fmla="*/ 53814 w 53814"/>
                    <a:gd name="connsiteY3" fmla="*/ 128563 h 12856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53814" h="128563">
                      <a:moveTo>
                        <a:pt x="0" y="0"/>
                      </a:moveTo>
                      <a:lnTo>
                        <a:pt x="41080" y="0"/>
                      </a:lnTo>
                      <a:cubicBezTo>
                        <a:pt x="48085" y="0"/>
                        <a:pt x="53814" y="5741"/>
                        <a:pt x="53814" y="12746"/>
                      </a:cubicBezTo>
                      <a:lnTo>
                        <a:pt x="53814" y="128563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670" name="Forma livre: Forma 1669">
                  <a:extLst>
                    <a:ext uri="{FF2B5EF4-FFF2-40B4-BE49-F238E27FC236}">
                      <a16:creationId xmlns:a16="http://schemas.microsoft.com/office/drawing/2014/main" id="{B1CF7A9C-E98E-F3DC-C9B4-6DAC982F3F5C}"/>
                    </a:ext>
                  </a:extLst>
                </p:cNvPr>
                <p:cNvSpPr/>
                <p:nvPr/>
              </p:nvSpPr>
              <p:spPr>
                <a:xfrm>
                  <a:off x="2609476" y="3685981"/>
                  <a:ext cx="1159" cy="38818"/>
                </a:xfrm>
                <a:custGeom>
                  <a:avLst/>
                  <a:gdLst>
                    <a:gd name="connsiteX0" fmla="*/ 0 w 1159"/>
                    <a:gd name="connsiteY0" fmla="*/ 38818 h 38818"/>
                    <a:gd name="connsiteX1" fmla="*/ 0 w 1159"/>
                    <a:gd name="connsiteY1" fmla="*/ 0 h 3881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159" h="38818">
                      <a:moveTo>
                        <a:pt x="0" y="38818"/>
                      </a:moveTo>
                      <a:lnTo>
                        <a:pt x="0" y="0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671" name="Forma livre: Forma 1670">
                  <a:extLst>
                    <a:ext uri="{FF2B5EF4-FFF2-40B4-BE49-F238E27FC236}">
                      <a16:creationId xmlns:a16="http://schemas.microsoft.com/office/drawing/2014/main" id="{411A2223-197D-40D7-846A-9B40DAF2CA58}"/>
                    </a:ext>
                  </a:extLst>
                </p:cNvPr>
                <p:cNvSpPr/>
                <p:nvPr/>
              </p:nvSpPr>
              <p:spPr>
                <a:xfrm>
                  <a:off x="2650359" y="3861481"/>
                  <a:ext cx="88260" cy="1159"/>
                </a:xfrm>
                <a:custGeom>
                  <a:avLst/>
                  <a:gdLst>
                    <a:gd name="connsiteX0" fmla="*/ 0 w 88260"/>
                    <a:gd name="connsiteY0" fmla="*/ 0 h 1159"/>
                    <a:gd name="connsiteX1" fmla="*/ 88260 w 88260"/>
                    <a:gd name="connsiteY1" fmla="*/ 0 h 115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88260" h="1159">
                      <a:moveTo>
                        <a:pt x="0" y="0"/>
                      </a:moveTo>
                      <a:lnTo>
                        <a:pt x="88260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672" name="Forma livre: Forma 1671">
                  <a:extLst>
                    <a:ext uri="{FF2B5EF4-FFF2-40B4-BE49-F238E27FC236}">
                      <a16:creationId xmlns:a16="http://schemas.microsoft.com/office/drawing/2014/main" id="{840E51DD-55EA-5C46-0ACF-EC0584227D7A}"/>
                    </a:ext>
                  </a:extLst>
                </p:cNvPr>
                <p:cNvSpPr/>
                <p:nvPr/>
              </p:nvSpPr>
              <p:spPr>
                <a:xfrm>
                  <a:off x="2676791" y="3888817"/>
                  <a:ext cx="21166" cy="1159"/>
                </a:xfrm>
                <a:custGeom>
                  <a:avLst/>
                  <a:gdLst>
                    <a:gd name="connsiteX0" fmla="*/ 0 w 21166"/>
                    <a:gd name="connsiteY0" fmla="*/ 0 h 1159"/>
                    <a:gd name="connsiteX1" fmla="*/ 21166 w 21166"/>
                    <a:gd name="connsiteY1" fmla="*/ 0 h 115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1166" h="1159">
                      <a:moveTo>
                        <a:pt x="0" y="0"/>
                      </a:moveTo>
                      <a:lnTo>
                        <a:pt x="21166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</p:grpSp>
      <p:grpSp>
        <p:nvGrpSpPr>
          <p:cNvPr id="1673" name="Gráfico 14">
            <a:extLst>
              <a:ext uri="{FF2B5EF4-FFF2-40B4-BE49-F238E27FC236}">
                <a16:creationId xmlns:a16="http://schemas.microsoft.com/office/drawing/2014/main" id="{727BEAF2-7759-2830-C319-AC9354500908}"/>
              </a:ext>
            </a:extLst>
          </p:cNvPr>
          <p:cNvGrpSpPr/>
          <p:nvPr/>
        </p:nvGrpSpPr>
        <p:grpSpPr>
          <a:xfrm>
            <a:off x="2509664" y="5213267"/>
            <a:ext cx="338509" cy="216057"/>
            <a:chOff x="2509664" y="5213267"/>
            <a:chExt cx="338509" cy="216057"/>
          </a:xfrm>
          <a:noFill/>
        </p:grpSpPr>
        <p:grpSp>
          <p:nvGrpSpPr>
            <p:cNvPr id="1674" name="Gráfico 14">
              <a:extLst>
                <a:ext uri="{FF2B5EF4-FFF2-40B4-BE49-F238E27FC236}">
                  <a16:creationId xmlns:a16="http://schemas.microsoft.com/office/drawing/2014/main" id="{96495FCF-FFB3-3442-25DD-9A761BFDB963}"/>
                </a:ext>
              </a:extLst>
            </p:cNvPr>
            <p:cNvGrpSpPr/>
            <p:nvPr/>
          </p:nvGrpSpPr>
          <p:grpSpPr>
            <a:xfrm>
              <a:off x="2509664" y="5213267"/>
              <a:ext cx="338509" cy="216057"/>
              <a:chOff x="2509664" y="5213267"/>
              <a:chExt cx="338509" cy="216057"/>
            </a:xfrm>
            <a:noFill/>
          </p:grpSpPr>
          <p:sp>
            <p:nvSpPr>
              <p:cNvPr id="1675" name="Forma livre: Forma 1674">
                <a:extLst>
                  <a:ext uri="{FF2B5EF4-FFF2-40B4-BE49-F238E27FC236}">
                    <a16:creationId xmlns:a16="http://schemas.microsoft.com/office/drawing/2014/main" id="{4BEF8799-2C63-DA79-0053-2C4C0BD45D45}"/>
                  </a:ext>
                </a:extLst>
              </p:cNvPr>
              <p:cNvSpPr/>
              <p:nvPr/>
            </p:nvSpPr>
            <p:spPr>
              <a:xfrm>
                <a:off x="2541791" y="5213267"/>
                <a:ext cx="274268" cy="168564"/>
              </a:xfrm>
              <a:custGeom>
                <a:avLst/>
                <a:gdLst>
                  <a:gd name="connsiteX0" fmla="*/ 0 w 274268"/>
                  <a:gd name="connsiteY0" fmla="*/ 168564 h 168564"/>
                  <a:gd name="connsiteX1" fmla="*/ 0 w 274268"/>
                  <a:gd name="connsiteY1" fmla="*/ 20018 h 168564"/>
                  <a:gd name="connsiteX2" fmla="*/ 20006 w 274268"/>
                  <a:gd name="connsiteY2" fmla="*/ 0 h 168564"/>
                  <a:gd name="connsiteX3" fmla="*/ 254238 w 274268"/>
                  <a:gd name="connsiteY3" fmla="*/ 0 h 168564"/>
                  <a:gd name="connsiteX4" fmla="*/ 274268 w 274268"/>
                  <a:gd name="connsiteY4" fmla="*/ 20018 h 168564"/>
                  <a:gd name="connsiteX5" fmla="*/ 274268 w 274268"/>
                  <a:gd name="connsiteY5" fmla="*/ 168564 h 1685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74268" h="168564">
                    <a:moveTo>
                      <a:pt x="0" y="168564"/>
                    </a:moveTo>
                    <a:lnTo>
                      <a:pt x="0" y="20018"/>
                    </a:lnTo>
                    <a:cubicBezTo>
                      <a:pt x="0" y="9012"/>
                      <a:pt x="9012" y="0"/>
                      <a:pt x="20006" y="0"/>
                    </a:cubicBezTo>
                    <a:lnTo>
                      <a:pt x="254238" y="0"/>
                    </a:lnTo>
                    <a:cubicBezTo>
                      <a:pt x="265256" y="0"/>
                      <a:pt x="274268" y="9012"/>
                      <a:pt x="274268" y="20018"/>
                    </a:cubicBezTo>
                    <a:lnTo>
                      <a:pt x="274268" y="168564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676" name="Forma livre: Forma 1675">
                <a:extLst>
                  <a:ext uri="{FF2B5EF4-FFF2-40B4-BE49-F238E27FC236}">
                    <a16:creationId xmlns:a16="http://schemas.microsoft.com/office/drawing/2014/main" id="{AD6DECD8-2BAB-1691-C094-E1DD76AD60FC}"/>
                  </a:ext>
                </a:extLst>
              </p:cNvPr>
              <p:cNvSpPr/>
              <p:nvPr/>
            </p:nvSpPr>
            <p:spPr>
              <a:xfrm>
                <a:off x="2509664" y="5402835"/>
                <a:ext cx="338509" cy="26489"/>
              </a:xfrm>
              <a:custGeom>
                <a:avLst/>
                <a:gdLst>
                  <a:gd name="connsiteX0" fmla="*/ 199334 w 338509"/>
                  <a:gd name="connsiteY0" fmla="*/ 0 h 26489"/>
                  <a:gd name="connsiteX1" fmla="*/ 194521 w 338509"/>
                  <a:gd name="connsiteY1" fmla="*/ 5567 h 26489"/>
                  <a:gd name="connsiteX2" fmla="*/ 143977 w 338509"/>
                  <a:gd name="connsiteY2" fmla="*/ 5567 h 26489"/>
                  <a:gd name="connsiteX3" fmla="*/ 139187 w 338509"/>
                  <a:gd name="connsiteY3" fmla="*/ 0 h 26489"/>
                  <a:gd name="connsiteX4" fmla="*/ 0 w 338509"/>
                  <a:gd name="connsiteY4" fmla="*/ 0 h 26489"/>
                  <a:gd name="connsiteX5" fmla="*/ 25202 w 338509"/>
                  <a:gd name="connsiteY5" fmla="*/ 26490 h 26489"/>
                  <a:gd name="connsiteX6" fmla="*/ 313307 w 338509"/>
                  <a:gd name="connsiteY6" fmla="*/ 26490 h 26489"/>
                  <a:gd name="connsiteX7" fmla="*/ 338509 w 338509"/>
                  <a:gd name="connsiteY7" fmla="*/ 0 h 26489"/>
                  <a:gd name="connsiteX8" fmla="*/ 199322 w 338509"/>
                  <a:gd name="connsiteY8" fmla="*/ 0 h 264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38509" h="26489">
                    <a:moveTo>
                      <a:pt x="199334" y="0"/>
                    </a:moveTo>
                    <a:lnTo>
                      <a:pt x="194521" y="5567"/>
                    </a:lnTo>
                    <a:lnTo>
                      <a:pt x="143977" y="5567"/>
                    </a:lnTo>
                    <a:lnTo>
                      <a:pt x="139187" y="0"/>
                    </a:lnTo>
                    <a:lnTo>
                      <a:pt x="0" y="0"/>
                    </a:lnTo>
                    <a:cubicBezTo>
                      <a:pt x="0" y="0"/>
                      <a:pt x="5834" y="26490"/>
                      <a:pt x="25202" y="26490"/>
                    </a:cubicBezTo>
                    <a:lnTo>
                      <a:pt x="313307" y="26490"/>
                    </a:lnTo>
                    <a:cubicBezTo>
                      <a:pt x="332675" y="26490"/>
                      <a:pt x="338509" y="0"/>
                      <a:pt x="338509" y="0"/>
                    </a:cubicBezTo>
                    <a:lnTo>
                      <a:pt x="199322" y="0"/>
                    </a:ln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677" name="Gráfico 14">
              <a:extLst>
                <a:ext uri="{FF2B5EF4-FFF2-40B4-BE49-F238E27FC236}">
                  <a16:creationId xmlns:a16="http://schemas.microsoft.com/office/drawing/2014/main" id="{712D4B35-B86A-F58E-2C9F-CAA4F867F92D}"/>
                </a:ext>
              </a:extLst>
            </p:cNvPr>
            <p:cNvGrpSpPr/>
            <p:nvPr/>
          </p:nvGrpSpPr>
          <p:grpSpPr>
            <a:xfrm>
              <a:off x="2607755" y="5238366"/>
              <a:ext cx="142340" cy="142345"/>
              <a:chOff x="2607755" y="5238366"/>
              <a:chExt cx="142340" cy="142345"/>
            </a:xfrm>
            <a:noFill/>
          </p:grpSpPr>
          <p:sp>
            <p:nvSpPr>
              <p:cNvPr id="1678" name="Forma livre: Forma 1677">
                <a:extLst>
                  <a:ext uri="{FF2B5EF4-FFF2-40B4-BE49-F238E27FC236}">
                    <a16:creationId xmlns:a16="http://schemas.microsoft.com/office/drawing/2014/main" id="{B2FC14E6-F3C5-20DE-E06A-680E1E4E86E0}"/>
                  </a:ext>
                </a:extLst>
              </p:cNvPr>
              <p:cNvSpPr/>
              <p:nvPr/>
            </p:nvSpPr>
            <p:spPr>
              <a:xfrm>
                <a:off x="2614347" y="5238366"/>
                <a:ext cx="73786" cy="113878"/>
              </a:xfrm>
              <a:custGeom>
                <a:avLst/>
                <a:gdLst>
                  <a:gd name="connsiteX0" fmla="*/ 73786 w 73786"/>
                  <a:gd name="connsiteY0" fmla="*/ 590 h 113878"/>
                  <a:gd name="connsiteX1" fmla="*/ 3491 w 73786"/>
                  <a:gd name="connsiteY1" fmla="*/ 34665 h 113878"/>
                  <a:gd name="connsiteX2" fmla="*/ 0 w 73786"/>
                  <a:gd name="connsiteY2" fmla="*/ 41322 h 113878"/>
                  <a:gd name="connsiteX3" fmla="*/ 20575 w 73786"/>
                  <a:gd name="connsiteY3" fmla="*/ 61467 h 113878"/>
                  <a:gd name="connsiteX4" fmla="*/ 17351 w 73786"/>
                  <a:gd name="connsiteY4" fmla="*/ 78354 h 113878"/>
                  <a:gd name="connsiteX5" fmla="*/ 29006 w 73786"/>
                  <a:gd name="connsiteY5" fmla="*/ 85197 h 113878"/>
                  <a:gd name="connsiteX6" fmla="*/ 37195 w 73786"/>
                  <a:gd name="connsiteY6" fmla="*/ 113878 h 113878"/>
                  <a:gd name="connsiteX7" fmla="*/ 60379 w 73786"/>
                  <a:gd name="connsiteY7" fmla="*/ 71523 h 113878"/>
                  <a:gd name="connsiteX8" fmla="*/ 36255 w 73786"/>
                  <a:gd name="connsiteY8" fmla="*/ 59055 h 113878"/>
                  <a:gd name="connsiteX9" fmla="*/ 20563 w 73786"/>
                  <a:gd name="connsiteY9" fmla="*/ 60261 h 113878"/>
                  <a:gd name="connsiteX10" fmla="*/ 18951 w 73786"/>
                  <a:gd name="connsiteY10" fmla="*/ 47399 h 113878"/>
                  <a:gd name="connsiteX11" fmla="*/ 39062 w 73786"/>
                  <a:gd name="connsiteY11" fmla="*/ 33725 h 113878"/>
                  <a:gd name="connsiteX12" fmla="*/ 38262 w 73786"/>
                  <a:gd name="connsiteY12" fmla="*/ 7618 h 1138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73786" h="113878">
                    <a:moveTo>
                      <a:pt x="73786" y="590"/>
                    </a:moveTo>
                    <a:cubicBezTo>
                      <a:pt x="46531" y="-2948"/>
                      <a:pt x="18499" y="9555"/>
                      <a:pt x="3491" y="34665"/>
                    </a:cubicBezTo>
                    <a:cubicBezTo>
                      <a:pt x="2192" y="36845"/>
                      <a:pt x="1044" y="39072"/>
                      <a:pt x="0" y="41322"/>
                    </a:cubicBezTo>
                    <a:lnTo>
                      <a:pt x="20575" y="61467"/>
                    </a:lnTo>
                    <a:lnTo>
                      <a:pt x="17351" y="78354"/>
                    </a:lnTo>
                    <a:lnTo>
                      <a:pt x="29006" y="85197"/>
                    </a:lnTo>
                    <a:lnTo>
                      <a:pt x="37195" y="113878"/>
                    </a:lnTo>
                    <a:lnTo>
                      <a:pt x="60379" y="71523"/>
                    </a:lnTo>
                    <a:lnTo>
                      <a:pt x="36255" y="59055"/>
                    </a:lnTo>
                    <a:lnTo>
                      <a:pt x="20563" y="60261"/>
                    </a:lnTo>
                    <a:lnTo>
                      <a:pt x="18951" y="47399"/>
                    </a:lnTo>
                    <a:lnTo>
                      <a:pt x="39062" y="33725"/>
                    </a:lnTo>
                    <a:lnTo>
                      <a:pt x="38262" y="7618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679" name="Forma livre: Forma 1678">
                <a:extLst>
                  <a:ext uri="{FF2B5EF4-FFF2-40B4-BE49-F238E27FC236}">
                    <a16:creationId xmlns:a16="http://schemas.microsoft.com/office/drawing/2014/main" id="{17777093-4130-95E2-5D60-6BDF4261550A}"/>
                  </a:ext>
                </a:extLst>
              </p:cNvPr>
              <p:cNvSpPr/>
              <p:nvPr/>
            </p:nvSpPr>
            <p:spPr>
              <a:xfrm>
                <a:off x="2699284" y="5268473"/>
                <a:ext cx="49089" cy="69286"/>
              </a:xfrm>
              <a:custGeom>
                <a:avLst/>
                <a:gdLst>
                  <a:gd name="connsiteX0" fmla="*/ 35381 w 49089"/>
                  <a:gd name="connsiteY0" fmla="*/ 0 h 69286"/>
                  <a:gd name="connsiteX1" fmla="*/ 27343 w 49089"/>
                  <a:gd name="connsiteY1" fmla="*/ 15680 h 69286"/>
                  <a:gd name="connsiteX2" fmla="*/ 6838 w 49089"/>
                  <a:gd name="connsiteY2" fmla="*/ 18093 h 69286"/>
                  <a:gd name="connsiteX3" fmla="*/ 9657 w 49089"/>
                  <a:gd name="connsiteY3" fmla="*/ 39398 h 69286"/>
                  <a:gd name="connsiteX4" fmla="*/ 17775 w 49089"/>
                  <a:gd name="connsiteY4" fmla="*/ 39804 h 69286"/>
                  <a:gd name="connsiteX5" fmla="*/ 24827 w 49089"/>
                  <a:gd name="connsiteY5" fmla="*/ 69286 h 69286"/>
                  <a:gd name="connsiteX6" fmla="*/ 32064 w 49089"/>
                  <a:gd name="connsiteY6" fmla="*/ 58651 h 69286"/>
                  <a:gd name="connsiteX7" fmla="*/ 49090 w 49089"/>
                  <a:gd name="connsiteY7" fmla="*/ 33831 h 692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9089" h="69286">
                    <a:moveTo>
                      <a:pt x="35381" y="0"/>
                    </a:moveTo>
                    <a:lnTo>
                      <a:pt x="27343" y="15680"/>
                    </a:lnTo>
                    <a:lnTo>
                      <a:pt x="6838" y="18093"/>
                    </a:lnTo>
                    <a:cubicBezTo>
                      <a:pt x="-10048" y="32161"/>
                      <a:pt x="9657" y="39398"/>
                      <a:pt x="9657" y="39398"/>
                    </a:cubicBezTo>
                    <a:lnTo>
                      <a:pt x="17775" y="39804"/>
                    </a:lnTo>
                    <a:lnTo>
                      <a:pt x="24827" y="69286"/>
                    </a:lnTo>
                    <a:lnTo>
                      <a:pt x="32064" y="58651"/>
                    </a:lnTo>
                    <a:lnTo>
                      <a:pt x="49090" y="33831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680" name="Forma livre: Forma 1679">
                <a:extLst>
                  <a:ext uri="{FF2B5EF4-FFF2-40B4-BE49-F238E27FC236}">
                    <a16:creationId xmlns:a16="http://schemas.microsoft.com/office/drawing/2014/main" id="{BD1D2811-374A-D7DD-4574-D10465294EFF}"/>
                  </a:ext>
                </a:extLst>
              </p:cNvPr>
              <p:cNvSpPr/>
              <p:nvPr/>
            </p:nvSpPr>
            <p:spPr>
              <a:xfrm>
                <a:off x="2607755" y="5245126"/>
                <a:ext cx="142340" cy="135585"/>
              </a:xfrm>
              <a:custGeom>
                <a:avLst/>
                <a:gdLst>
                  <a:gd name="connsiteX0" fmla="*/ 446 w 142340"/>
                  <a:gd name="connsiteY0" fmla="*/ 56389 h 135585"/>
                  <a:gd name="connsiteX1" fmla="*/ 34660 w 142340"/>
                  <a:gd name="connsiteY1" fmla="*/ 125490 h 135585"/>
                  <a:gd name="connsiteX2" fmla="*/ 132245 w 142340"/>
                  <a:gd name="connsiteY2" fmla="*/ 100937 h 135585"/>
                  <a:gd name="connsiteX3" fmla="*/ 107680 w 142340"/>
                  <a:gd name="connsiteY3" fmla="*/ 3340 h 135585"/>
                  <a:gd name="connsiteX4" fmla="*/ 101429 w 142340"/>
                  <a:gd name="connsiteY4" fmla="*/ 0 h 135585"/>
                  <a:gd name="connsiteX5" fmla="*/ 93589 w 142340"/>
                  <a:gd name="connsiteY5" fmla="*/ 21735 h 135585"/>
                  <a:gd name="connsiteX6" fmla="*/ 104978 w 142340"/>
                  <a:gd name="connsiteY6" fmla="*/ 23416 h 1355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42340" h="135585">
                    <a:moveTo>
                      <a:pt x="446" y="56389"/>
                    </a:moveTo>
                    <a:cubicBezTo>
                      <a:pt x="-2581" y="83273"/>
                      <a:pt x="9921" y="110691"/>
                      <a:pt x="34660" y="125490"/>
                    </a:cubicBezTo>
                    <a:cubicBezTo>
                      <a:pt x="68386" y="145658"/>
                      <a:pt x="112087" y="134664"/>
                      <a:pt x="132245" y="100937"/>
                    </a:cubicBezTo>
                    <a:cubicBezTo>
                      <a:pt x="152413" y="67198"/>
                      <a:pt x="141419" y="23521"/>
                      <a:pt x="107680" y="3340"/>
                    </a:cubicBezTo>
                    <a:cubicBezTo>
                      <a:pt x="105627" y="2111"/>
                      <a:pt x="103551" y="997"/>
                      <a:pt x="101429" y="0"/>
                    </a:cubicBezTo>
                    <a:lnTo>
                      <a:pt x="93589" y="21735"/>
                    </a:lnTo>
                    <a:lnTo>
                      <a:pt x="104978" y="23416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681" name="Gráfico 14">
            <a:extLst>
              <a:ext uri="{FF2B5EF4-FFF2-40B4-BE49-F238E27FC236}">
                <a16:creationId xmlns:a16="http://schemas.microsoft.com/office/drawing/2014/main" id="{E95E010F-BD05-ED62-ADF2-A6B796AF1451}"/>
              </a:ext>
            </a:extLst>
          </p:cNvPr>
          <p:cNvGrpSpPr/>
          <p:nvPr/>
        </p:nvGrpSpPr>
        <p:grpSpPr>
          <a:xfrm>
            <a:off x="2518780" y="4685433"/>
            <a:ext cx="320288" cy="251964"/>
            <a:chOff x="2518780" y="4685433"/>
            <a:chExt cx="320288" cy="251964"/>
          </a:xfrm>
          <a:noFill/>
        </p:grpSpPr>
        <p:grpSp>
          <p:nvGrpSpPr>
            <p:cNvPr id="1682" name="Gráfico 14">
              <a:extLst>
                <a:ext uri="{FF2B5EF4-FFF2-40B4-BE49-F238E27FC236}">
                  <a16:creationId xmlns:a16="http://schemas.microsoft.com/office/drawing/2014/main" id="{518B1910-528A-AA9E-A91E-3F32F7F72531}"/>
                </a:ext>
              </a:extLst>
            </p:cNvPr>
            <p:cNvGrpSpPr/>
            <p:nvPr/>
          </p:nvGrpSpPr>
          <p:grpSpPr>
            <a:xfrm>
              <a:off x="2518780" y="4685433"/>
              <a:ext cx="320288" cy="251964"/>
              <a:chOff x="2518780" y="4685433"/>
              <a:chExt cx="320288" cy="251964"/>
            </a:xfrm>
            <a:noFill/>
          </p:grpSpPr>
          <p:grpSp>
            <p:nvGrpSpPr>
              <p:cNvPr id="1683" name="Gráfico 14">
                <a:extLst>
                  <a:ext uri="{FF2B5EF4-FFF2-40B4-BE49-F238E27FC236}">
                    <a16:creationId xmlns:a16="http://schemas.microsoft.com/office/drawing/2014/main" id="{9B0AF5C2-6AEF-01D7-C0FC-CA9CA59A29D2}"/>
                  </a:ext>
                </a:extLst>
              </p:cNvPr>
              <p:cNvGrpSpPr/>
              <p:nvPr/>
            </p:nvGrpSpPr>
            <p:grpSpPr>
              <a:xfrm>
                <a:off x="2545154" y="4685433"/>
                <a:ext cx="267541" cy="230056"/>
                <a:chOff x="2545154" y="4685433"/>
                <a:chExt cx="267541" cy="230056"/>
              </a:xfrm>
              <a:noFill/>
            </p:grpSpPr>
            <p:sp>
              <p:nvSpPr>
                <p:cNvPr id="1684" name="Forma livre: Forma 1683">
                  <a:extLst>
                    <a:ext uri="{FF2B5EF4-FFF2-40B4-BE49-F238E27FC236}">
                      <a16:creationId xmlns:a16="http://schemas.microsoft.com/office/drawing/2014/main" id="{A175F0AD-3765-AB24-93B7-F0E93051FF24}"/>
                    </a:ext>
                  </a:extLst>
                </p:cNvPr>
                <p:cNvSpPr/>
                <p:nvPr/>
              </p:nvSpPr>
              <p:spPr>
                <a:xfrm>
                  <a:off x="2678925" y="4685433"/>
                  <a:ext cx="133770" cy="230056"/>
                </a:xfrm>
                <a:custGeom>
                  <a:avLst/>
                  <a:gdLst>
                    <a:gd name="connsiteX0" fmla="*/ 72058 w 133770"/>
                    <a:gd name="connsiteY0" fmla="*/ 11 h 230056"/>
                    <a:gd name="connsiteX1" fmla="*/ 0 w 133770"/>
                    <a:gd name="connsiteY1" fmla="*/ 18858 h 230056"/>
                    <a:gd name="connsiteX2" fmla="*/ 0 w 133770"/>
                    <a:gd name="connsiteY2" fmla="*/ 230056 h 230056"/>
                    <a:gd name="connsiteX3" fmla="*/ 72058 w 133770"/>
                    <a:gd name="connsiteY3" fmla="*/ 211221 h 230056"/>
                    <a:gd name="connsiteX4" fmla="*/ 133771 w 133770"/>
                    <a:gd name="connsiteY4" fmla="*/ 211221 h 230056"/>
                    <a:gd name="connsiteX5" fmla="*/ 133771 w 133770"/>
                    <a:gd name="connsiteY5" fmla="*/ 23 h 230056"/>
                    <a:gd name="connsiteX6" fmla="*/ 72058 w 133770"/>
                    <a:gd name="connsiteY6" fmla="*/ 23 h 23005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33770" h="230056">
                      <a:moveTo>
                        <a:pt x="72058" y="11"/>
                      </a:moveTo>
                      <a:cubicBezTo>
                        <a:pt x="34631" y="11"/>
                        <a:pt x="16469" y="-1102"/>
                        <a:pt x="0" y="18858"/>
                      </a:cubicBezTo>
                      <a:lnTo>
                        <a:pt x="0" y="230056"/>
                      </a:lnTo>
                      <a:cubicBezTo>
                        <a:pt x="16469" y="210096"/>
                        <a:pt x="34643" y="211221"/>
                        <a:pt x="72058" y="211221"/>
                      </a:cubicBezTo>
                      <a:lnTo>
                        <a:pt x="133771" y="211221"/>
                      </a:lnTo>
                      <a:lnTo>
                        <a:pt x="133771" y="23"/>
                      </a:lnTo>
                      <a:lnTo>
                        <a:pt x="72058" y="23"/>
                      </a:lnTo>
                      <a:close/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685" name="Forma livre: Forma 1684">
                  <a:extLst>
                    <a:ext uri="{FF2B5EF4-FFF2-40B4-BE49-F238E27FC236}">
                      <a16:creationId xmlns:a16="http://schemas.microsoft.com/office/drawing/2014/main" id="{3423E153-CB9C-19DA-3EC5-53D9D3198BAB}"/>
                    </a:ext>
                  </a:extLst>
                </p:cNvPr>
                <p:cNvSpPr/>
                <p:nvPr/>
              </p:nvSpPr>
              <p:spPr>
                <a:xfrm>
                  <a:off x="2545154" y="4685433"/>
                  <a:ext cx="133770" cy="230044"/>
                </a:xfrm>
                <a:custGeom>
                  <a:avLst/>
                  <a:gdLst>
                    <a:gd name="connsiteX0" fmla="*/ 133771 w 133770"/>
                    <a:gd name="connsiteY0" fmla="*/ 230045 h 230044"/>
                    <a:gd name="connsiteX1" fmla="*/ 61701 w 133770"/>
                    <a:gd name="connsiteY1" fmla="*/ 211210 h 230044"/>
                    <a:gd name="connsiteX2" fmla="*/ 0 w 133770"/>
                    <a:gd name="connsiteY2" fmla="*/ 211210 h 230044"/>
                    <a:gd name="connsiteX3" fmla="*/ 0 w 133770"/>
                    <a:gd name="connsiteY3" fmla="*/ 11 h 230044"/>
                    <a:gd name="connsiteX4" fmla="*/ 61701 w 133770"/>
                    <a:gd name="connsiteY4" fmla="*/ 11 h 230044"/>
                    <a:gd name="connsiteX5" fmla="*/ 133771 w 133770"/>
                    <a:gd name="connsiteY5" fmla="*/ 18858 h 23004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133770" h="230044">
                      <a:moveTo>
                        <a:pt x="133771" y="230045"/>
                      </a:moveTo>
                      <a:cubicBezTo>
                        <a:pt x="117302" y="210085"/>
                        <a:pt x="99128" y="211210"/>
                        <a:pt x="61701" y="211210"/>
                      </a:cubicBezTo>
                      <a:lnTo>
                        <a:pt x="0" y="211210"/>
                      </a:lnTo>
                      <a:lnTo>
                        <a:pt x="0" y="11"/>
                      </a:lnTo>
                      <a:lnTo>
                        <a:pt x="61701" y="11"/>
                      </a:lnTo>
                      <a:cubicBezTo>
                        <a:pt x="99128" y="11"/>
                        <a:pt x="117302" y="-1102"/>
                        <a:pt x="133771" y="18858"/>
                      </a:cubicBez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1686" name="Forma livre: Forma 1685">
                <a:extLst>
                  <a:ext uri="{FF2B5EF4-FFF2-40B4-BE49-F238E27FC236}">
                    <a16:creationId xmlns:a16="http://schemas.microsoft.com/office/drawing/2014/main" id="{7F5FB36F-4F5E-4A3F-B191-FCF53227D269}"/>
                  </a:ext>
                </a:extLst>
              </p:cNvPr>
              <p:cNvSpPr/>
              <p:nvPr/>
            </p:nvSpPr>
            <p:spPr>
              <a:xfrm>
                <a:off x="2518780" y="4718928"/>
                <a:ext cx="320288" cy="218470"/>
              </a:xfrm>
              <a:custGeom>
                <a:avLst/>
                <a:gdLst>
                  <a:gd name="connsiteX0" fmla="*/ 0 w 320288"/>
                  <a:gd name="connsiteY0" fmla="*/ 0 h 218470"/>
                  <a:gd name="connsiteX1" fmla="*/ 0 w 320288"/>
                  <a:gd name="connsiteY1" fmla="*/ 203173 h 218470"/>
                  <a:gd name="connsiteX2" fmla="*/ 130164 w 320288"/>
                  <a:gd name="connsiteY2" fmla="*/ 203173 h 218470"/>
                  <a:gd name="connsiteX3" fmla="*/ 144754 w 320288"/>
                  <a:gd name="connsiteY3" fmla="*/ 218470 h 218470"/>
                  <a:gd name="connsiteX4" fmla="*/ 144997 w 320288"/>
                  <a:gd name="connsiteY4" fmla="*/ 218470 h 218470"/>
                  <a:gd name="connsiteX5" fmla="*/ 175291 w 320288"/>
                  <a:gd name="connsiteY5" fmla="*/ 218470 h 218470"/>
                  <a:gd name="connsiteX6" fmla="*/ 175535 w 320288"/>
                  <a:gd name="connsiteY6" fmla="*/ 218470 h 218470"/>
                  <a:gd name="connsiteX7" fmla="*/ 190125 w 320288"/>
                  <a:gd name="connsiteY7" fmla="*/ 203173 h 218470"/>
                  <a:gd name="connsiteX8" fmla="*/ 320289 w 320288"/>
                  <a:gd name="connsiteY8" fmla="*/ 203173 h 218470"/>
                  <a:gd name="connsiteX9" fmla="*/ 320289 w 320288"/>
                  <a:gd name="connsiteY9" fmla="*/ 0 h 2184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320288" h="218470">
                    <a:moveTo>
                      <a:pt x="0" y="0"/>
                    </a:moveTo>
                    <a:lnTo>
                      <a:pt x="0" y="203173"/>
                    </a:lnTo>
                    <a:lnTo>
                      <a:pt x="130164" y="203173"/>
                    </a:lnTo>
                    <a:cubicBezTo>
                      <a:pt x="130164" y="203173"/>
                      <a:pt x="136670" y="218470"/>
                      <a:pt x="144754" y="218470"/>
                    </a:cubicBezTo>
                    <a:cubicBezTo>
                      <a:pt x="145009" y="218470"/>
                      <a:pt x="145067" y="218470"/>
                      <a:pt x="144997" y="218470"/>
                    </a:cubicBezTo>
                    <a:lnTo>
                      <a:pt x="175291" y="218470"/>
                    </a:lnTo>
                    <a:cubicBezTo>
                      <a:pt x="175233" y="218470"/>
                      <a:pt x="175280" y="218470"/>
                      <a:pt x="175535" y="218470"/>
                    </a:cubicBezTo>
                    <a:cubicBezTo>
                      <a:pt x="183619" y="218470"/>
                      <a:pt x="190125" y="203173"/>
                      <a:pt x="190125" y="203173"/>
                    </a:cubicBezTo>
                    <a:lnTo>
                      <a:pt x="320289" y="203173"/>
                    </a:lnTo>
                    <a:lnTo>
                      <a:pt x="320289" y="0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687" name="Gráfico 14">
              <a:extLst>
                <a:ext uri="{FF2B5EF4-FFF2-40B4-BE49-F238E27FC236}">
                  <a16:creationId xmlns:a16="http://schemas.microsoft.com/office/drawing/2014/main" id="{24AEE84F-5F9E-445B-1DA3-7A93AE08954C}"/>
                </a:ext>
              </a:extLst>
            </p:cNvPr>
            <p:cNvGrpSpPr/>
            <p:nvPr/>
          </p:nvGrpSpPr>
          <p:grpSpPr>
            <a:xfrm>
              <a:off x="2570519" y="4715901"/>
              <a:ext cx="216811" cy="151712"/>
              <a:chOff x="2570519" y="4715901"/>
              <a:chExt cx="216811" cy="151712"/>
            </a:xfrm>
            <a:noFill/>
          </p:grpSpPr>
          <p:sp>
            <p:nvSpPr>
              <p:cNvPr id="1688" name="Forma livre: Forma 1687">
                <a:extLst>
                  <a:ext uri="{FF2B5EF4-FFF2-40B4-BE49-F238E27FC236}">
                    <a16:creationId xmlns:a16="http://schemas.microsoft.com/office/drawing/2014/main" id="{43E9ACF4-B761-9109-2E97-53F011B07841}"/>
                  </a:ext>
                </a:extLst>
              </p:cNvPr>
              <p:cNvSpPr/>
              <p:nvPr/>
            </p:nvSpPr>
            <p:spPr>
              <a:xfrm>
                <a:off x="2576422" y="4716133"/>
                <a:ext cx="66108" cy="50451"/>
              </a:xfrm>
              <a:custGeom>
                <a:avLst/>
                <a:gdLst>
                  <a:gd name="connsiteX0" fmla="*/ 0 w 66108"/>
                  <a:gd name="connsiteY0" fmla="*/ 0 h 50451"/>
                  <a:gd name="connsiteX1" fmla="*/ 66108 w 66108"/>
                  <a:gd name="connsiteY1" fmla="*/ 0 h 50451"/>
                  <a:gd name="connsiteX2" fmla="*/ 66108 w 66108"/>
                  <a:gd name="connsiteY2" fmla="*/ 50451 h 50451"/>
                  <a:gd name="connsiteX3" fmla="*/ 0 w 66108"/>
                  <a:gd name="connsiteY3" fmla="*/ 50451 h 504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6108" h="50451">
                    <a:moveTo>
                      <a:pt x="0" y="0"/>
                    </a:moveTo>
                    <a:lnTo>
                      <a:pt x="66108" y="0"/>
                    </a:lnTo>
                    <a:lnTo>
                      <a:pt x="66108" y="50451"/>
                    </a:lnTo>
                    <a:lnTo>
                      <a:pt x="0" y="50451"/>
                    </a:ln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689" name="Forma livre: Forma 1688">
                <a:extLst>
                  <a:ext uri="{FF2B5EF4-FFF2-40B4-BE49-F238E27FC236}">
                    <a16:creationId xmlns:a16="http://schemas.microsoft.com/office/drawing/2014/main" id="{9FD6535F-3ABF-E5FC-ED0B-18FDC8B83368}"/>
                  </a:ext>
                </a:extLst>
              </p:cNvPr>
              <p:cNvSpPr/>
              <p:nvPr/>
            </p:nvSpPr>
            <p:spPr>
              <a:xfrm>
                <a:off x="2709694" y="4791763"/>
                <a:ext cx="77636" cy="1159"/>
              </a:xfrm>
              <a:custGeom>
                <a:avLst/>
                <a:gdLst>
                  <a:gd name="connsiteX0" fmla="*/ 0 w 77636"/>
                  <a:gd name="connsiteY0" fmla="*/ 0 h 1159"/>
                  <a:gd name="connsiteX1" fmla="*/ 77637 w 77636"/>
                  <a:gd name="connsiteY1" fmla="*/ 0 h 11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77636" h="1159">
                    <a:moveTo>
                      <a:pt x="0" y="0"/>
                    </a:moveTo>
                    <a:lnTo>
                      <a:pt x="77637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690" name="Forma livre: Forma 1689">
                <a:extLst>
                  <a:ext uri="{FF2B5EF4-FFF2-40B4-BE49-F238E27FC236}">
                    <a16:creationId xmlns:a16="http://schemas.microsoft.com/office/drawing/2014/main" id="{211FAA24-FA62-3ADF-F60C-91E99A719089}"/>
                  </a:ext>
                </a:extLst>
              </p:cNvPr>
              <p:cNvSpPr/>
              <p:nvPr/>
            </p:nvSpPr>
            <p:spPr>
              <a:xfrm>
                <a:off x="2709694" y="4766479"/>
                <a:ext cx="77636" cy="1159"/>
              </a:xfrm>
              <a:custGeom>
                <a:avLst/>
                <a:gdLst>
                  <a:gd name="connsiteX0" fmla="*/ 0 w 77636"/>
                  <a:gd name="connsiteY0" fmla="*/ 0 h 1159"/>
                  <a:gd name="connsiteX1" fmla="*/ 77637 w 77636"/>
                  <a:gd name="connsiteY1" fmla="*/ 0 h 11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77636" h="1159">
                    <a:moveTo>
                      <a:pt x="0" y="0"/>
                    </a:moveTo>
                    <a:lnTo>
                      <a:pt x="77637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691" name="Forma livre: Forma 1690">
                <a:extLst>
                  <a:ext uri="{FF2B5EF4-FFF2-40B4-BE49-F238E27FC236}">
                    <a16:creationId xmlns:a16="http://schemas.microsoft.com/office/drawing/2014/main" id="{0F600906-83EB-65FA-DF9F-DF7C681043C4}"/>
                  </a:ext>
                </a:extLst>
              </p:cNvPr>
              <p:cNvSpPr/>
              <p:nvPr/>
            </p:nvSpPr>
            <p:spPr>
              <a:xfrm>
                <a:off x="2709694" y="4741196"/>
                <a:ext cx="77636" cy="1159"/>
              </a:xfrm>
              <a:custGeom>
                <a:avLst/>
                <a:gdLst>
                  <a:gd name="connsiteX0" fmla="*/ 0 w 77636"/>
                  <a:gd name="connsiteY0" fmla="*/ 0 h 1159"/>
                  <a:gd name="connsiteX1" fmla="*/ 77637 w 77636"/>
                  <a:gd name="connsiteY1" fmla="*/ 0 h 11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77636" h="1159">
                    <a:moveTo>
                      <a:pt x="0" y="0"/>
                    </a:moveTo>
                    <a:lnTo>
                      <a:pt x="77637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692" name="Forma livre: Forma 1691">
                <a:extLst>
                  <a:ext uri="{FF2B5EF4-FFF2-40B4-BE49-F238E27FC236}">
                    <a16:creationId xmlns:a16="http://schemas.microsoft.com/office/drawing/2014/main" id="{832561E0-17CC-6F89-145A-F05AD548AE5F}"/>
                  </a:ext>
                </a:extLst>
              </p:cNvPr>
              <p:cNvSpPr/>
              <p:nvPr/>
            </p:nvSpPr>
            <p:spPr>
              <a:xfrm>
                <a:off x="2709694" y="4715901"/>
                <a:ext cx="77636" cy="1159"/>
              </a:xfrm>
              <a:custGeom>
                <a:avLst/>
                <a:gdLst>
                  <a:gd name="connsiteX0" fmla="*/ 0 w 77636"/>
                  <a:gd name="connsiteY0" fmla="*/ 0 h 1159"/>
                  <a:gd name="connsiteX1" fmla="*/ 77637 w 77636"/>
                  <a:gd name="connsiteY1" fmla="*/ 0 h 11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77636" h="1159">
                    <a:moveTo>
                      <a:pt x="0" y="0"/>
                    </a:moveTo>
                    <a:lnTo>
                      <a:pt x="77637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693" name="Forma livre: Forma 1692">
                <a:extLst>
                  <a:ext uri="{FF2B5EF4-FFF2-40B4-BE49-F238E27FC236}">
                    <a16:creationId xmlns:a16="http://schemas.microsoft.com/office/drawing/2014/main" id="{90515D92-F88A-2D40-1ED7-7438AD375470}"/>
                  </a:ext>
                </a:extLst>
              </p:cNvPr>
              <p:cNvSpPr/>
              <p:nvPr/>
            </p:nvSpPr>
            <p:spPr>
              <a:xfrm>
                <a:off x="2709694" y="4817046"/>
                <a:ext cx="77636" cy="1159"/>
              </a:xfrm>
              <a:custGeom>
                <a:avLst/>
                <a:gdLst>
                  <a:gd name="connsiteX0" fmla="*/ 0 w 77636"/>
                  <a:gd name="connsiteY0" fmla="*/ 0 h 1159"/>
                  <a:gd name="connsiteX1" fmla="*/ 77637 w 77636"/>
                  <a:gd name="connsiteY1" fmla="*/ 0 h 11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77636" h="1159">
                    <a:moveTo>
                      <a:pt x="0" y="0"/>
                    </a:moveTo>
                    <a:lnTo>
                      <a:pt x="77637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694" name="Forma livre: Forma 1693">
                <a:extLst>
                  <a:ext uri="{FF2B5EF4-FFF2-40B4-BE49-F238E27FC236}">
                    <a16:creationId xmlns:a16="http://schemas.microsoft.com/office/drawing/2014/main" id="{C49D5CC4-B5B4-3032-298D-04BF02ED74F3}"/>
                  </a:ext>
                </a:extLst>
              </p:cNvPr>
              <p:cNvSpPr/>
              <p:nvPr/>
            </p:nvSpPr>
            <p:spPr>
              <a:xfrm>
                <a:off x="2709694" y="4842330"/>
                <a:ext cx="77636" cy="1159"/>
              </a:xfrm>
              <a:custGeom>
                <a:avLst/>
                <a:gdLst>
                  <a:gd name="connsiteX0" fmla="*/ 0 w 77636"/>
                  <a:gd name="connsiteY0" fmla="*/ 0 h 1159"/>
                  <a:gd name="connsiteX1" fmla="*/ 77637 w 77636"/>
                  <a:gd name="connsiteY1" fmla="*/ 0 h 11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77636" h="1159">
                    <a:moveTo>
                      <a:pt x="0" y="0"/>
                    </a:moveTo>
                    <a:lnTo>
                      <a:pt x="77637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695" name="Forma livre: Forma 1694">
                <a:extLst>
                  <a:ext uri="{FF2B5EF4-FFF2-40B4-BE49-F238E27FC236}">
                    <a16:creationId xmlns:a16="http://schemas.microsoft.com/office/drawing/2014/main" id="{AC8EC6CB-C6A5-AB6B-E77B-AD52383A0E79}"/>
                  </a:ext>
                </a:extLst>
              </p:cNvPr>
              <p:cNvSpPr/>
              <p:nvPr/>
            </p:nvSpPr>
            <p:spPr>
              <a:xfrm>
                <a:off x="2709694" y="4867613"/>
                <a:ext cx="77636" cy="1159"/>
              </a:xfrm>
              <a:custGeom>
                <a:avLst/>
                <a:gdLst>
                  <a:gd name="connsiteX0" fmla="*/ 0 w 77636"/>
                  <a:gd name="connsiteY0" fmla="*/ 0 h 1159"/>
                  <a:gd name="connsiteX1" fmla="*/ 77637 w 77636"/>
                  <a:gd name="connsiteY1" fmla="*/ 0 h 11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77636" h="1159">
                    <a:moveTo>
                      <a:pt x="0" y="0"/>
                    </a:moveTo>
                    <a:lnTo>
                      <a:pt x="77637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696" name="Forma livre: Forma 1695">
                <a:extLst>
                  <a:ext uri="{FF2B5EF4-FFF2-40B4-BE49-F238E27FC236}">
                    <a16:creationId xmlns:a16="http://schemas.microsoft.com/office/drawing/2014/main" id="{18F3CF83-67B7-EC69-A396-2F899D4E3195}"/>
                  </a:ext>
                </a:extLst>
              </p:cNvPr>
              <p:cNvSpPr/>
              <p:nvPr/>
            </p:nvSpPr>
            <p:spPr>
              <a:xfrm>
                <a:off x="2570519" y="4791763"/>
                <a:ext cx="77636" cy="1159"/>
              </a:xfrm>
              <a:custGeom>
                <a:avLst/>
                <a:gdLst>
                  <a:gd name="connsiteX0" fmla="*/ 0 w 77636"/>
                  <a:gd name="connsiteY0" fmla="*/ 0 h 1159"/>
                  <a:gd name="connsiteX1" fmla="*/ 77637 w 77636"/>
                  <a:gd name="connsiteY1" fmla="*/ 0 h 11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77636" h="1159">
                    <a:moveTo>
                      <a:pt x="0" y="0"/>
                    </a:moveTo>
                    <a:lnTo>
                      <a:pt x="77637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697" name="Forma livre: Forma 1696">
                <a:extLst>
                  <a:ext uri="{FF2B5EF4-FFF2-40B4-BE49-F238E27FC236}">
                    <a16:creationId xmlns:a16="http://schemas.microsoft.com/office/drawing/2014/main" id="{3E1D8414-794E-07A4-4593-C58B5C5C7BD8}"/>
                  </a:ext>
                </a:extLst>
              </p:cNvPr>
              <p:cNvSpPr/>
              <p:nvPr/>
            </p:nvSpPr>
            <p:spPr>
              <a:xfrm>
                <a:off x="2570519" y="4817046"/>
                <a:ext cx="77636" cy="1159"/>
              </a:xfrm>
              <a:custGeom>
                <a:avLst/>
                <a:gdLst>
                  <a:gd name="connsiteX0" fmla="*/ 0 w 77636"/>
                  <a:gd name="connsiteY0" fmla="*/ 0 h 1159"/>
                  <a:gd name="connsiteX1" fmla="*/ 77637 w 77636"/>
                  <a:gd name="connsiteY1" fmla="*/ 0 h 11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77636" h="1159">
                    <a:moveTo>
                      <a:pt x="0" y="0"/>
                    </a:moveTo>
                    <a:lnTo>
                      <a:pt x="77637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698" name="Forma livre: Forma 1697">
                <a:extLst>
                  <a:ext uri="{FF2B5EF4-FFF2-40B4-BE49-F238E27FC236}">
                    <a16:creationId xmlns:a16="http://schemas.microsoft.com/office/drawing/2014/main" id="{EE2CAB3C-6EA8-7CA5-7AF4-115EE246D9C7}"/>
                  </a:ext>
                </a:extLst>
              </p:cNvPr>
              <p:cNvSpPr/>
              <p:nvPr/>
            </p:nvSpPr>
            <p:spPr>
              <a:xfrm>
                <a:off x="2570519" y="4842330"/>
                <a:ext cx="77636" cy="1159"/>
              </a:xfrm>
              <a:custGeom>
                <a:avLst/>
                <a:gdLst>
                  <a:gd name="connsiteX0" fmla="*/ 0 w 77636"/>
                  <a:gd name="connsiteY0" fmla="*/ 0 h 1159"/>
                  <a:gd name="connsiteX1" fmla="*/ 77637 w 77636"/>
                  <a:gd name="connsiteY1" fmla="*/ 0 h 11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77636" h="1159">
                    <a:moveTo>
                      <a:pt x="0" y="0"/>
                    </a:moveTo>
                    <a:lnTo>
                      <a:pt x="77637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699" name="Forma livre: Forma 1698">
                <a:extLst>
                  <a:ext uri="{FF2B5EF4-FFF2-40B4-BE49-F238E27FC236}">
                    <a16:creationId xmlns:a16="http://schemas.microsoft.com/office/drawing/2014/main" id="{B6BDBA42-407C-0BFF-B7B7-680674E7C32D}"/>
                  </a:ext>
                </a:extLst>
              </p:cNvPr>
              <p:cNvSpPr/>
              <p:nvPr/>
            </p:nvSpPr>
            <p:spPr>
              <a:xfrm>
                <a:off x="2570519" y="4867613"/>
                <a:ext cx="77636" cy="1159"/>
              </a:xfrm>
              <a:custGeom>
                <a:avLst/>
                <a:gdLst>
                  <a:gd name="connsiteX0" fmla="*/ 0 w 77636"/>
                  <a:gd name="connsiteY0" fmla="*/ 0 h 1159"/>
                  <a:gd name="connsiteX1" fmla="*/ 77637 w 77636"/>
                  <a:gd name="connsiteY1" fmla="*/ 0 h 11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77636" h="1159">
                    <a:moveTo>
                      <a:pt x="0" y="0"/>
                    </a:moveTo>
                    <a:lnTo>
                      <a:pt x="77637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700" name="Gráfico 14">
            <a:extLst>
              <a:ext uri="{FF2B5EF4-FFF2-40B4-BE49-F238E27FC236}">
                <a16:creationId xmlns:a16="http://schemas.microsoft.com/office/drawing/2014/main" id="{CB9DDD47-7583-8079-111A-99CD62C8EC1D}"/>
              </a:ext>
            </a:extLst>
          </p:cNvPr>
          <p:cNvGrpSpPr/>
          <p:nvPr/>
        </p:nvGrpSpPr>
        <p:grpSpPr>
          <a:xfrm>
            <a:off x="2518351" y="5666908"/>
            <a:ext cx="321146" cy="328546"/>
            <a:chOff x="2518351" y="5666908"/>
            <a:chExt cx="321146" cy="328546"/>
          </a:xfrm>
          <a:noFill/>
        </p:grpSpPr>
        <p:sp>
          <p:nvSpPr>
            <p:cNvPr id="1701" name="Forma livre: Forma 1700">
              <a:extLst>
                <a:ext uri="{FF2B5EF4-FFF2-40B4-BE49-F238E27FC236}">
                  <a16:creationId xmlns:a16="http://schemas.microsoft.com/office/drawing/2014/main" id="{C254F284-CE7B-0967-A46A-2B5B437900AF}"/>
                </a:ext>
              </a:extLst>
            </p:cNvPr>
            <p:cNvSpPr/>
            <p:nvPr/>
          </p:nvSpPr>
          <p:spPr>
            <a:xfrm>
              <a:off x="2627697" y="5966413"/>
              <a:ext cx="102978" cy="1159"/>
            </a:xfrm>
            <a:custGeom>
              <a:avLst/>
              <a:gdLst>
                <a:gd name="connsiteX0" fmla="*/ 0 w 102978"/>
                <a:gd name="connsiteY0" fmla="*/ 0 h 1159"/>
                <a:gd name="connsiteX1" fmla="*/ 102978 w 102978"/>
                <a:gd name="connsiteY1" fmla="*/ 0 h 11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2978" h="1159">
                  <a:moveTo>
                    <a:pt x="0" y="0"/>
                  </a:moveTo>
                  <a:lnTo>
                    <a:pt x="102978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02" name="Forma livre: Forma 1701">
              <a:extLst>
                <a:ext uri="{FF2B5EF4-FFF2-40B4-BE49-F238E27FC236}">
                  <a16:creationId xmlns:a16="http://schemas.microsoft.com/office/drawing/2014/main" id="{7CDF998B-2283-3F82-8503-CB7BEF5DD94E}"/>
                </a:ext>
              </a:extLst>
            </p:cNvPr>
            <p:cNvSpPr/>
            <p:nvPr/>
          </p:nvSpPr>
          <p:spPr>
            <a:xfrm>
              <a:off x="2804403" y="5943473"/>
              <a:ext cx="35095" cy="22940"/>
            </a:xfrm>
            <a:custGeom>
              <a:avLst/>
              <a:gdLst>
                <a:gd name="connsiteX0" fmla="*/ 0 w 35095"/>
                <a:gd name="connsiteY0" fmla="*/ 22941 h 22940"/>
                <a:gd name="connsiteX1" fmla="*/ 35095 w 35095"/>
                <a:gd name="connsiteY1" fmla="*/ 22941 h 22940"/>
                <a:gd name="connsiteX2" fmla="*/ 35095 w 35095"/>
                <a:gd name="connsiteY2" fmla="*/ 0 h 22940"/>
                <a:gd name="connsiteX3" fmla="*/ 16388 w 35095"/>
                <a:gd name="connsiteY3" fmla="*/ 0 h 229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5095" h="22940">
                  <a:moveTo>
                    <a:pt x="0" y="22941"/>
                  </a:moveTo>
                  <a:lnTo>
                    <a:pt x="35095" y="22941"/>
                  </a:lnTo>
                  <a:lnTo>
                    <a:pt x="35095" y="0"/>
                  </a:lnTo>
                  <a:lnTo>
                    <a:pt x="16388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03" name="Forma livre: Forma 1702">
              <a:extLst>
                <a:ext uri="{FF2B5EF4-FFF2-40B4-BE49-F238E27FC236}">
                  <a16:creationId xmlns:a16="http://schemas.microsoft.com/office/drawing/2014/main" id="{D7CCFBEA-DC70-0AD3-E35A-1721E195B43F}"/>
                </a:ext>
              </a:extLst>
            </p:cNvPr>
            <p:cNvSpPr/>
            <p:nvPr/>
          </p:nvSpPr>
          <p:spPr>
            <a:xfrm>
              <a:off x="2518351" y="5943473"/>
              <a:ext cx="35478" cy="22940"/>
            </a:xfrm>
            <a:custGeom>
              <a:avLst/>
              <a:gdLst>
                <a:gd name="connsiteX0" fmla="*/ 19183 w 35478"/>
                <a:gd name="connsiteY0" fmla="*/ 0 h 22940"/>
                <a:gd name="connsiteX1" fmla="*/ 0 w 35478"/>
                <a:gd name="connsiteY1" fmla="*/ 0 h 22940"/>
                <a:gd name="connsiteX2" fmla="*/ 0 w 35478"/>
                <a:gd name="connsiteY2" fmla="*/ 22941 h 22940"/>
                <a:gd name="connsiteX3" fmla="*/ 35478 w 35478"/>
                <a:gd name="connsiteY3" fmla="*/ 22941 h 229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5478" h="22940">
                  <a:moveTo>
                    <a:pt x="19183" y="0"/>
                  </a:moveTo>
                  <a:lnTo>
                    <a:pt x="0" y="0"/>
                  </a:lnTo>
                  <a:lnTo>
                    <a:pt x="0" y="22941"/>
                  </a:lnTo>
                  <a:lnTo>
                    <a:pt x="35478" y="22941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04" name="Forma livre: Forma 1703">
              <a:extLst>
                <a:ext uri="{FF2B5EF4-FFF2-40B4-BE49-F238E27FC236}">
                  <a16:creationId xmlns:a16="http://schemas.microsoft.com/office/drawing/2014/main" id="{A1AF8D16-A2F9-87C8-31BA-9917E82539E8}"/>
                </a:ext>
              </a:extLst>
            </p:cNvPr>
            <p:cNvSpPr/>
            <p:nvPr/>
          </p:nvSpPr>
          <p:spPr>
            <a:xfrm>
              <a:off x="2709810" y="5837293"/>
              <a:ext cx="56899" cy="36011"/>
            </a:xfrm>
            <a:custGeom>
              <a:avLst/>
              <a:gdLst>
                <a:gd name="connsiteX0" fmla="*/ 56899 w 56899"/>
                <a:gd name="connsiteY0" fmla="*/ 36012 h 36011"/>
                <a:gd name="connsiteX1" fmla="*/ 0 w 56899"/>
                <a:gd name="connsiteY1" fmla="*/ 36012 h 36011"/>
                <a:gd name="connsiteX2" fmla="*/ 0 w 56899"/>
                <a:gd name="connsiteY2" fmla="*/ 0 h 360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56899" h="36011">
                  <a:moveTo>
                    <a:pt x="56899" y="36012"/>
                  </a:moveTo>
                  <a:lnTo>
                    <a:pt x="0" y="36012"/>
                  </a:lnTo>
                  <a:lnTo>
                    <a:pt x="0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05" name="Forma livre: Forma 1704">
              <a:extLst>
                <a:ext uri="{FF2B5EF4-FFF2-40B4-BE49-F238E27FC236}">
                  <a16:creationId xmlns:a16="http://schemas.microsoft.com/office/drawing/2014/main" id="{EEB8A4E2-9938-B323-245F-C606C3973610}"/>
                </a:ext>
              </a:extLst>
            </p:cNvPr>
            <p:cNvSpPr/>
            <p:nvPr/>
          </p:nvSpPr>
          <p:spPr>
            <a:xfrm>
              <a:off x="2751412" y="5944795"/>
              <a:ext cx="50659" cy="50659"/>
            </a:xfrm>
            <a:custGeom>
              <a:avLst/>
              <a:gdLst>
                <a:gd name="connsiteX0" fmla="*/ 50660 w 50659"/>
                <a:gd name="connsiteY0" fmla="*/ 25330 h 50659"/>
                <a:gd name="connsiteX1" fmla="*/ 25330 w 50659"/>
                <a:gd name="connsiteY1" fmla="*/ 50660 h 50659"/>
                <a:gd name="connsiteX2" fmla="*/ 0 w 50659"/>
                <a:gd name="connsiteY2" fmla="*/ 25330 h 50659"/>
                <a:gd name="connsiteX3" fmla="*/ 25330 w 50659"/>
                <a:gd name="connsiteY3" fmla="*/ 0 h 50659"/>
                <a:gd name="connsiteX4" fmla="*/ 50660 w 50659"/>
                <a:gd name="connsiteY4" fmla="*/ 25330 h 506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659" h="50659">
                  <a:moveTo>
                    <a:pt x="50660" y="25330"/>
                  </a:moveTo>
                  <a:cubicBezTo>
                    <a:pt x="50660" y="39317"/>
                    <a:pt x="39317" y="50660"/>
                    <a:pt x="25330" y="50660"/>
                  </a:cubicBezTo>
                  <a:cubicBezTo>
                    <a:pt x="11343" y="50660"/>
                    <a:pt x="0" y="39317"/>
                    <a:pt x="0" y="25330"/>
                  </a:cubicBezTo>
                  <a:cubicBezTo>
                    <a:pt x="0" y="11343"/>
                    <a:pt x="11343" y="0"/>
                    <a:pt x="25330" y="0"/>
                  </a:cubicBezTo>
                  <a:cubicBezTo>
                    <a:pt x="39317" y="0"/>
                    <a:pt x="50660" y="11343"/>
                    <a:pt x="50660" y="25330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06" name="Forma livre: Forma 1705">
              <a:extLst>
                <a:ext uri="{FF2B5EF4-FFF2-40B4-BE49-F238E27FC236}">
                  <a16:creationId xmlns:a16="http://schemas.microsoft.com/office/drawing/2014/main" id="{24771F8B-0030-0BF8-EEE0-BBA1DE269F77}"/>
                </a:ext>
              </a:extLst>
            </p:cNvPr>
            <p:cNvSpPr/>
            <p:nvPr/>
          </p:nvSpPr>
          <p:spPr>
            <a:xfrm>
              <a:off x="2557529" y="5944795"/>
              <a:ext cx="50659" cy="50659"/>
            </a:xfrm>
            <a:custGeom>
              <a:avLst/>
              <a:gdLst>
                <a:gd name="connsiteX0" fmla="*/ 50660 w 50659"/>
                <a:gd name="connsiteY0" fmla="*/ 25330 h 50659"/>
                <a:gd name="connsiteX1" fmla="*/ 25330 w 50659"/>
                <a:gd name="connsiteY1" fmla="*/ 50660 h 50659"/>
                <a:gd name="connsiteX2" fmla="*/ 0 w 50659"/>
                <a:gd name="connsiteY2" fmla="*/ 25330 h 50659"/>
                <a:gd name="connsiteX3" fmla="*/ 25330 w 50659"/>
                <a:gd name="connsiteY3" fmla="*/ 0 h 50659"/>
                <a:gd name="connsiteX4" fmla="*/ 50660 w 50659"/>
                <a:gd name="connsiteY4" fmla="*/ 25330 h 506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659" h="50659">
                  <a:moveTo>
                    <a:pt x="50660" y="25330"/>
                  </a:moveTo>
                  <a:cubicBezTo>
                    <a:pt x="50660" y="39317"/>
                    <a:pt x="39317" y="50660"/>
                    <a:pt x="25330" y="50660"/>
                  </a:cubicBezTo>
                  <a:cubicBezTo>
                    <a:pt x="11343" y="50660"/>
                    <a:pt x="0" y="39317"/>
                    <a:pt x="0" y="25330"/>
                  </a:cubicBezTo>
                  <a:cubicBezTo>
                    <a:pt x="0" y="11343"/>
                    <a:pt x="11343" y="0"/>
                    <a:pt x="25330" y="0"/>
                  </a:cubicBezTo>
                  <a:cubicBezTo>
                    <a:pt x="39317" y="0"/>
                    <a:pt x="50660" y="11343"/>
                    <a:pt x="50660" y="25330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07" name="Forma livre: Forma 1706">
              <a:extLst>
                <a:ext uri="{FF2B5EF4-FFF2-40B4-BE49-F238E27FC236}">
                  <a16:creationId xmlns:a16="http://schemas.microsoft.com/office/drawing/2014/main" id="{90CB582F-B27F-9440-E632-547A073C0D48}"/>
                </a:ext>
              </a:extLst>
            </p:cNvPr>
            <p:cNvSpPr/>
            <p:nvPr/>
          </p:nvSpPr>
          <p:spPr>
            <a:xfrm>
              <a:off x="2525565" y="5817194"/>
              <a:ext cx="304237" cy="106271"/>
            </a:xfrm>
            <a:custGeom>
              <a:avLst/>
              <a:gdLst>
                <a:gd name="connsiteX0" fmla="*/ 0 w 304237"/>
                <a:gd name="connsiteY0" fmla="*/ 106272 h 106271"/>
                <a:gd name="connsiteX1" fmla="*/ 0 w 304237"/>
                <a:gd name="connsiteY1" fmla="*/ 14126 h 106271"/>
                <a:gd name="connsiteX2" fmla="*/ 14126 w 304237"/>
                <a:gd name="connsiteY2" fmla="*/ 0 h 106271"/>
                <a:gd name="connsiteX3" fmla="*/ 223608 w 304237"/>
                <a:gd name="connsiteY3" fmla="*/ 0 h 106271"/>
                <a:gd name="connsiteX4" fmla="*/ 241492 w 304237"/>
                <a:gd name="connsiteY4" fmla="*/ 15460 h 106271"/>
                <a:gd name="connsiteX5" fmla="*/ 262438 w 304237"/>
                <a:gd name="connsiteY5" fmla="*/ 53072 h 106271"/>
                <a:gd name="connsiteX6" fmla="*/ 286527 w 304237"/>
                <a:gd name="connsiteY6" fmla="*/ 66421 h 106271"/>
                <a:gd name="connsiteX7" fmla="*/ 304237 w 304237"/>
                <a:gd name="connsiteY7" fmla="*/ 84479 h 106271"/>
                <a:gd name="connsiteX8" fmla="*/ 304237 w 304237"/>
                <a:gd name="connsiteY8" fmla="*/ 106272 h 1062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04237" h="106271">
                  <a:moveTo>
                    <a:pt x="0" y="106272"/>
                  </a:moveTo>
                  <a:lnTo>
                    <a:pt x="0" y="14126"/>
                  </a:lnTo>
                  <a:cubicBezTo>
                    <a:pt x="0" y="6356"/>
                    <a:pt x="6356" y="0"/>
                    <a:pt x="14126" y="0"/>
                  </a:cubicBezTo>
                  <a:lnTo>
                    <a:pt x="223608" y="0"/>
                  </a:lnTo>
                  <a:cubicBezTo>
                    <a:pt x="231669" y="0"/>
                    <a:pt x="239451" y="5602"/>
                    <a:pt x="241492" y="15460"/>
                  </a:cubicBezTo>
                  <a:lnTo>
                    <a:pt x="262438" y="53072"/>
                  </a:lnTo>
                  <a:lnTo>
                    <a:pt x="286527" y="66421"/>
                  </a:lnTo>
                  <a:cubicBezTo>
                    <a:pt x="296977" y="73253"/>
                    <a:pt x="304237" y="76280"/>
                    <a:pt x="304237" y="84479"/>
                  </a:cubicBezTo>
                  <a:lnTo>
                    <a:pt x="304237" y="106272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708" name="Gráfico 14">
              <a:extLst>
                <a:ext uri="{FF2B5EF4-FFF2-40B4-BE49-F238E27FC236}">
                  <a16:creationId xmlns:a16="http://schemas.microsoft.com/office/drawing/2014/main" id="{096349C8-A5E4-406F-8495-27A24D18873F}"/>
                </a:ext>
              </a:extLst>
            </p:cNvPr>
            <p:cNvGrpSpPr/>
            <p:nvPr/>
          </p:nvGrpSpPr>
          <p:grpSpPr>
            <a:xfrm>
              <a:off x="2583752" y="5840796"/>
              <a:ext cx="96007" cy="95880"/>
              <a:chOff x="2583752" y="5840796"/>
              <a:chExt cx="96007" cy="95880"/>
            </a:xfrm>
            <a:noFill/>
          </p:grpSpPr>
          <p:sp>
            <p:nvSpPr>
              <p:cNvPr id="1709" name="Forma livre: Forma 1708">
                <a:extLst>
                  <a:ext uri="{FF2B5EF4-FFF2-40B4-BE49-F238E27FC236}">
                    <a16:creationId xmlns:a16="http://schemas.microsoft.com/office/drawing/2014/main" id="{7EE98ACD-AEFB-BE9F-29C7-C3DE27FE5B07}"/>
                  </a:ext>
                </a:extLst>
              </p:cNvPr>
              <p:cNvSpPr/>
              <p:nvPr/>
            </p:nvSpPr>
            <p:spPr>
              <a:xfrm>
                <a:off x="2583752" y="5888730"/>
                <a:ext cx="96007" cy="1159"/>
              </a:xfrm>
              <a:custGeom>
                <a:avLst/>
                <a:gdLst>
                  <a:gd name="connsiteX0" fmla="*/ 96008 w 96007"/>
                  <a:gd name="connsiteY0" fmla="*/ 0 h 1159"/>
                  <a:gd name="connsiteX1" fmla="*/ 0 w 96007"/>
                  <a:gd name="connsiteY1" fmla="*/ 0 h 11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6007" h="1159">
                    <a:moveTo>
                      <a:pt x="96008" y="0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1710" name="Gráfico 14">
                <a:extLst>
                  <a:ext uri="{FF2B5EF4-FFF2-40B4-BE49-F238E27FC236}">
                    <a16:creationId xmlns:a16="http://schemas.microsoft.com/office/drawing/2014/main" id="{36C7DE78-EB6E-BA28-444C-DEAF52061238}"/>
                  </a:ext>
                </a:extLst>
              </p:cNvPr>
              <p:cNvGrpSpPr/>
              <p:nvPr/>
            </p:nvGrpSpPr>
            <p:grpSpPr>
              <a:xfrm>
                <a:off x="2614116" y="5841411"/>
                <a:ext cx="35280" cy="94639"/>
                <a:chOff x="2614116" y="5841411"/>
                <a:chExt cx="35280" cy="94639"/>
              </a:xfrm>
              <a:noFill/>
            </p:grpSpPr>
            <p:grpSp>
              <p:nvGrpSpPr>
                <p:cNvPr id="1711" name="Gráfico 14">
                  <a:extLst>
                    <a:ext uri="{FF2B5EF4-FFF2-40B4-BE49-F238E27FC236}">
                      <a16:creationId xmlns:a16="http://schemas.microsoft.com/office/drawing/2014/main" id="{073A74A3-3CD8-2102-A39D-0F4457C4B4D6}"/>
                    </a:ext>
                  </a:extLst>
                </p:cNvPr>
                <p:cNvGrpSpPr/>
                <p:nvPr/>
              </p:nvGrpSpPr>
              <p:grpSpPr>
                <a:xfrm>
                  <a:off x="2614116" y="5888904"/>
                  <a:ext cx="35280" cy="47145"/>
                  <a:chOff x="2614116" y="5888904"/>
                  <a:chExt cx="35280" cy="47145"/>
                </a:xfrm>
                <a:noFill/>
              </p:grpSpPr>
              <p:sp>
                <p:nvSpPr>
                  <p:cNvPr id="1712" name="Forma livre: Forma 1711">
                    <a:extLst>
                      <a:ext uri="{FF2B5EF4-FFF2-40B4-BE49-F238E27FC236}">
                        <a16:creationId xmlns:a16="http://schemas.microsoft.com/office/drawing/2014/main" id="{EDA432E8-CA6E-25B5-E2E7-588FE90452E1}"/>
                      </a:ext>
                    </a:extLst>
                  </p:cNvPr>
                  <p:cNvSpPr/>
                  <p:nvPr/>
                </p:nvSpPr>
                <p:spPr>
                  <a:xfrm>
                    <a:off x="2614116" y="5888904"/>
                    <a:ext cx="16213" cy="47134"/>
                  </a:xfrm>
                  <a:custGeom>
                    <a:avLst/>
                    <a:gdLst>
                      <a:gd name="connsiteX0" fmla="*/ 0 w 16213"/>
                      <a:gd name="connsiteY0" fmla="*/ 0 h 47134"/>
                      <a:gd name="connsiteX1" fmla="*/ 16214 w 16213"/>
                      <a:gd name="connsiteY1" fmla="*/ 47134 h 4713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6213" h="47134">
                        <a:moveTo>
                          <a:pt x="0" y="0"/>
                        </a:moveTo>
                        <a:cubicBezTo>
                          <a:pt x="313" y="13662"/>
                          <a:pt x="4500" y="29656"/>
                          <a:pt x="16214" y="47134"/>
                        </a:cubicBezTo>
                      </a:path>
                    </a:pathLst>
                  </a:custGeom>
                  <a:noFill/>
                  <a:ln w="6350" cap="flat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1713" name="Forma livre: Forma 1712">
                    <a:extLst>
                      <a:ext uri="{FF2B5EF4-FFF2-40B4-BE49-F238E27FC236}">
                        <a16:creationId xmlns:a16="http://schemas.microsoft.com/office/drawing/2014/main" id="{E01CE52C-3E0B-2029-3188-3CC88B393423}"/>
                      </a:ext>
                    </a:extLst>
                  </p:cNvPr>
                  <p:cNvSpPr/>
                  <p:nvPr/>
                </p:nvSpPr>
                <p:spPr>
                  <a:xfrm>
                    <a:off x="2633206" y="5889449"/>
                    <a:ext cx="16190" cy="46600"/>
                  </a:xfrm>
                  <a:custGeom>
                    <a:avLst/>
                    <a:gdLst>
                      <a:gd name="connsiteX0" fmla="*/ 16191 w 16190"/>
                      <a:gd name="connsiteY0" fmla="*/ 0 h 46600"/>
                      <a:gd name="connsiteX1" fmla="*/ 0 w 16190"/>
                      <a:gd name="connsiteY1" fmla="*/ 46600 h 4660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6190" h="46600">
                        <a:moveTo>
                          <a:pt x="16191" y="0"/>
                        </a:moveTo>
                        <a:cubicBezTo>
                          <a:pt x="15796" y="13546"/>
                          <a:pt x="11552" y="29343"/>
                          <a:pt x="0" y="46600"/>
                        </a:cubicBezTo>
                      </a:path>
                    </a:pathLst>
                  </a:custGeom>
                  <a:noFill/>
                  <a:ln w="6350" cap="flat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  <p:grpSp>
              <p:nvGrpSpPr>
                <p:cNvPr id="1714" name="Gráfico 14">
                  <a:extLst>
                    <a:ext uri="{FF2B5EF4-FFF2-40B4-BE49-F238E27FC236}">
                      <a16:creationId xmlns:a16="http://schemas.microsoft.com/office/drawing/2014/main" id="{1246918C-BFC8-4EDA-DD67-96297978F1BB}"/>
                    </a:ext>
                  </a:extLst>
                </p:cNvPr>
                <p:cNvGrpSpPr/>
                <p:nvPr/>
              </p:nvGrpSpPr>
              <p:grpSpPr>
                <a:xfrm>
                  <a:off x="2614116" y="5841411"/>
                  <a:ext cx="35280" cy="47145"/>
                  <a:chOff x="2614116" y="5841411"/>
                  <a:chExt cx="35280" cy="47145"/>
                </a:xfrm>
                <a:noFill/>
              </p:grpSpPr>
              <p:sp>
                <p:nvSpPr>
                  <p:cNvPr id="1715" name="Forma livre: Forma 1714">
                    <a:extLst>
                      <a:ext uri="{FF2B5EF4-FFF2-40B4-BE49-F238E27FC236}">
                        <a16:creationId xmlns:a16="http://schemas.microsoft.com/office/drawing/2014/main" id="{164ABBF5-E2C2-CBA0-552C-CCE6B1279126}"/>
                      </a:ext>
                    </a:extLst>
                  </p:cNvPr>
                  <p:cNvSpPr/>
                  <p:nvPr/>
                </p:nvSpPr>
                <p:spPr>
                  <a:xfrm>
                    <a:off x="2633183" y="5841422"/>
                    <a:ext cx="16213" cy="47134"/>
                  </a:xfrm>
                  <a:custGeom>
                    <a:avLst/>
                    <a:gdLst>
                      <a:gd name="connsiteX0" fmla="*/ 16214 w 16213"/>
                      <a:gd name="connsiteY0" fmla="*/ 47134 h 47134"/>
                      <a:gd name="connsiteX1" fmla="*/ 0 w 16213"/>
                      <a:gd name="connsiteY1" fmla="*/ 0 h 4713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6213" h="47134">
                        <a:moveTo>
                          <a:pt x="16214" y="47134"/>
                        </a:moveTo>
                        <a:cubicBezTo>
                          <a:pt x="15901" y="33472"/>
                          <a:pt x="11714" y="17478"/>
                          <a:pt x="0" y="0"/>
                        </a:cubicBezTo>
                      </a:path>
                    </a:pathLst>
                  </a:custGeom>
                  <a:noFill/>
                  <a:ln w="6350" cap="flat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1716" name="Forma livre: Forma 1715">
                    <a:extLst>
                      <a:ext uri="{FF2B5EF4-FFF2-40B4-BE49-F238E27FC236}">
                        <a16:creationId xmlns:a16="http://schemas.microsoft.com/office/drawing/2014/main" id="{840F84D2-294A-6F23-68B4-7BC56C3976F0}"/>
                      </a:ext>
                    </a:extLst>
                  </p:cNvPr>
                  <p:cNvSpPr/>
                  <p:nvPr/>
                </p:nvSpPr>
                <p:spPr>
                  <a:xfrm>
                    <a:off x="2614116" y="5841411"/>
                    <a:ext cx="16190" cy="46600"/>
                  </a:xfrm>
                  <a:custGeom>
                    <a:avLst/>
                    <a:gdLst>
                      <a:gd name="connsiteX0" fmla="*/ 0 w 16190"/>
                      <a:gd name="connsiteY0" fmla="*/ 46601 h 46600"/>
                      <a:gd name="connsiteX1" fmla="*/ 16191 w 16190"/>
                      <a:gd name="connsiteY1" fmla="*/ 0 h 4660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6190" h="46600">
                        <a:moveTo>
                          <a:pt x="0" y="46601"/>
                        </a:moveTo>
                        <a:cubicBezTo>
                          <a:pt x="394" y="33054"/>
                          <a:pt x="4639" y="17258"/>
                          <a:pt x="16191" y="0"/>
                        </a:cubicBezTo>
                      </a:path>
                    </a:pathLst>
                  </a:custGeom>
                  <a:noFill/>
                  <a:ln w="6350" cap="flat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</p:grpSp>
          <p:sp>
            <p:nvSpPr>
              <p:cNvPr id="1717" name="Forma livre: Forma 1716">
                <a:extLst>
                  <a:ext uri="{FF2B5EF4-FFF2-40B4-BE49-F238E27FC236}">
                    <a16:creationId xmlns:a16="http://schemas.microsoft.com/office/drawing/2014/main" id="{5014FBFD-BE37-FD43-6B76-7BEDF901DDF7}"/>
                  </a:ext>
                </a:extLst>
              </p:cNvPr>
              <p:cNvSpPr/>
              <p:nvPr/>
            </p:nvSpPr>
            <p:spPr>
              <a:xfrm>
                <a:off x="2583798" y="5840796"/>
                <a:ext cx="95891" cy="95880"/>
              </a:xfrm>
              <a:custGeom>
                <a:avLst/>
                <a:gdLst>
                  <a:gd name="connsiteX0" fmla="*/ 95892 w 95891"/>
                  <a:gd name="connsiteY0" fmla="*/ 47934 h 95880"/>
                  <a:gd name="connsiteX1" fmla="*/ 47946 w 95891"/>
                  <a:gd name="connsiteY1" fmla="*/ 95880 h 95880"/>
                  <a:gd name="connsiteX2" fmla="*/ 0 w 95891"/>
                  <a:gd name="connsiteY2" fmla="*/ 47934 h 95880"/>
                  <a:gd name="connsiteX3" fmla="*/ 47946 w 95891"/>
                  <a:gd name="connsiteY3" fmla="*/ 0 h 95880"/>
                  <a:gd name="connsiteX4" fmla="*/ 95892 w 95891"/>
                  <a:gd name="connsiteY4" fmla="*/ 47934 h 958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95891" h="95880">
                    <a:moveTo>
                      <a:pt x="95892" y="47934"/>
                    </a:moveTo>
                    <a:cubicBezTo>
                      <a:pt x="95892" y="74412"/>
                      <a:pt x="74424" y="95880"/>
                      <a:pt x="47946" y="95880"/>
                    </a:cubicBezTo>
                    <a:cubicBezTo>
                      <a:pt x="21468" y="95880"/>
                      <a:pt x="0" y="74412"/>
                      <a:pt x="0" y="47934"/>
                    </a:cubicBezTo>
                    <a:cubicBezTo>
                      <a:pt x="0" y="21456"/>
                      <a:pt x="21468" y="0"/>
                      <a:pt x="47946" y="0"/>
                    </a:cubicBezTo>
                    <a:cubicBezTo>
                      <a:pt x="74424" y="0"/>
                      <a:pt x="95892" y="21456"/>
                      <a:pt x="95892" y="47934"/>
                    </a:cubicBezTo>
                    <a:close/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718" name="Gráfico 14">
              <a:extLst>
                <a:ext uri="{FF2B5EF4-FFF2-40B4-BE49-F238E27FC236}">
                  <a16:creationId xmlns:a16="http://schemas.microsoft.com/office/drawing/2014/main" id="{59E675D8-690E-A7BC-3677-BDDB510C5443}"/>
                </a:ext>
              </a:extLst>
            </p:cNvPr>
            <p:cNvGrpSpPr/>
            <p:nvPr/>
          </p:nvGrpSpPr>
          <p:grpSpPr>
            <a:xfrm>
              <a:off x="2607168" y="5666908"/>
              <a:ext cx="123123" cy="123564"/>
              <a:chOff x="2607168" y="5666908"/>
              <a:chExt cx="123123" cy="123564"/>
            </a:xfrm>
            <a:noFill/>
          </p:grpSpPr>
          <p:sp>
            <p:nvSpPr>
              <p:cNvPr id="1719" name="Forma livre: Forma 1718">
                <a:extLst>
                  <a:ext uri="{FF2B5EF4-FFF2-40B4-BE49-F238E27FC236}">
                    <a16:creationId xmlns:a16="http://schemas.microsoft.com/office/drawing/2014/main" id="{6703F646-96F0-5190-DC4E-AD221901C3FC}"/>
                  </a:ext>
                </a:extLst>
              </p:cNvPr>
              <p:cNvSpPr/>
              <p:nvPr/>
            </p:nvSpPr>
            <p:spPr>
              <a:xfrm>
                <a:off x="2676930" y="5689884"/>
                <a:ext cx="30548" cy="31082"/>
              </a:xfrm>
              <a:custGeom>
                <a:avLst/>
                <a:gdLst>
                  <a:gd name="connsiteX0" fmla="*/ 0 w 30548"/>
                  <a:gd name="connsiteY0" fmla="*/ 0 h 31082"/>
                  <a:gd name="connsiteX1" fmla="*/ 21271 w 30548"/>
                  <a:gd name="connsiteY1" fmla="*/ 9684 h 31082"/>
                  <a:gd name="connsiteX2" fmla="*/ 30549 w 30548"/>
                  <a:gd name="connsiteY2" fmla="*/ 31083 h 310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0548" h="31082">
                    <a:moveTo>
                      <a:pt x="0" y="0"/>
                    </a:moveTo>
                    <a:cubicBezTo>
                      <a:pt x="7771" y="476"/>
                      <a:pt x="15390" y="3688"/>
                      <a:pt x="21271" y="9684"/>
                    </a:cubicBezTo>
                    <a:cubicBezTo>
                      <a:pt x="27139" y="15657"/>
                      <a:pt x="30201" y="23312"/>
                      <a:pt x="30549" y="31083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720" name="Forma livre: Forma 1719">
                <a:extLst>
                  <a:ext uri="{FF2B5EF4-FFF2-40B4-BE49-F238E27FC236}">
                    <a16:creationId xmlns:a16="http://schemas.microsoft.com/office/drawing/2014/main" id="{E29D817D-5F18-5E31-5D4D-8318EF66615F}"/>
                  </a:ext>
                </a:extLst>
              </p:cNvPr>
              <p:cNvSpPr/>
              <p:nvPr/>
            </p:nvSpPr>
            <p:spPr>
              <a:xfrm>
                <a:off x="2681546" y="5666908"/>
                <a:ext cx="48746" cy="49592"/>
              </a:xfrm>
              <a:custGeom>
                <a:avLst/>
                <a:gdLst>
                  <a:gd name="connsiteX0" fmla="*/ 0 w 48746"/>
                  <a:gd name="connsiteY0" fmla="*/ 0 h 49592"/>
                  <a:gd name="connsiteX1" fmla="*/ 33530 w 48746"/>
                  <a:gd name="connsiteY1" fmla="*/ 15820 h 49592"/>
                  <a:gd name="connsiteX2" fmla="*/ 48746 w 48746"/>
                  <a:gd name="connsiteY2" fmla="*/ 49593 h 495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48746" h="49592">
                    <a:moveTo>
                      <a:pt x="0" y="0"/>
                    </a:moveTo>
                    <a:cubicBezTo>
                      <a:pt x="12271" y="1090"/>
                      <a:pt x="24240" y="6356"/>
                      <a:pt x="33530" y="15820"/>
                    </a:cubicBezTo>
                    <a:cubicBezTo>
                      <a:pt x="42831" y="25283"/>
                      <a:pt x="47876" y="37322"/>
                      <a:pt x="48746" y="49593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1721" name="Gráfico 14">
                <a:extLst>
                  <a:ext uri="{FF2B5EF4-FFF2-40B4-BE49-F238E27FC236}">
                    <a16:creationId xmlns:a16="http://schemas.microsoft.com/office/drawing/2014/main" id="{0554D100-35E2-6EA3-AA6E-0633EE58DFE3}"/>
                  </a:ext>
                </a:extLst>
              </p:cNvPr>
              <p:cNvGrpSpPr/>
              <p:nvPr/>
            </p:nvGrpSpPr>
            <p:grpSpPr>
              <a:xfrm>
                <a:off x="2607168" y="5695805"/>
                <a:ext cx="94656" cy="94667"/>
                <a:chOff x="2607168" y="5695805"/>
                <a:chExt cx="94656" cy="94667"/>
              </a:xfrm>
              <a:noFill/>
            </p:grpSpPr>
            <p:sp>
              <p:nvSpPr>
                <p:cNvPr id="1722" name="Forma livre: Forma 1721">
                  <a:extLst>
                    <a:ext uri="{FF2B5EF4-FFF2-40B4-BE49-F238E27FC236}">
                      <a16:creationId xmlns:a16="http://schemas.microsoft.com/office/drawing/2014/main" id="{A38DF1F1-1E9D-8456-0F96-91BAA7FB6F97}"/>
                    </a:ext>
                  </a:extLst>
                </p:cNvPr>
                <p:cNvSpPr/>
                <p:nvPr/>
              </p:nvSpPr>
              <p:spPr>
                <a:xfrm>
                  <a:off x="2622123" y="5695805"/>
                  <a:ext cx="79701" cy="79701"/>
                </a:xfrm>
                <a:custGeom>
                  <a:avLst/>
                  <a:gdLst>
                    <a:gd name="connsiteX0" fmla="*/ 61360 w 79701"/>
                    <a:gd name="connsiteY0" fmla="*/ 42199 h 79701"/>
                    <a:gd name="connsiteX1" fmla="*/ 78397 w 79701"/>
                    <a:gd name="connsiteY1" fmla="*/ 78396 h 79701"/>
                    <a:gd name="connsiteX2" fmla="*/ 29779 w 79701"/>
                    <a:gd name="connsiteY2" fmla="*/ 49923 h 79701"/>
                    <a:gd name="connsiteX3" fmla="*/ 1306 w 79701"/>
                    <a:gd name="connsiteY3" fmla="*/ 1304 h 79701"/>
                    <a:gd name="connsiteX4" fmla="*/ 37364 w 79701"/>
                    <a:gd name="connsiteY4" fmla="*/ 18226 h 7970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79701" h="79701">
                      <a:moveTo>
                        <a:pt x="61360" y="42199"/>
                      </a:moveTo>
                      <a:cubicBezTo>
                        <a:pt x="75498" y="58958"/>
                        <a:pt x="82874" y="73931"/>
                        <a:pt x="78397" y="78396"/>
                      </a:cubicBezTo>
                      <a:cubicBezTo>
                        <a:pt x="72830" y="83963"/>
                        <a:pt x="51061" y="71217"/>
                        <a:pt x="29779" y="49923"/>
                      </a:cubicBezTo>
                      <a:cubicBezTo>
                        <a:pt x="8485" y="28641"/>
                        <a:pt x="-4261" y="6871"/>
                        <a:pt x="1306" y="1304"/>
                      </a:cubicBezTo>
                      <a:cubicBezTo>
                        <a:pt x="5771" y="-3161"/>
                        <a:pt x="20663" y="4169"/>
                        <a:pt x="37364" y="18226"/>
                      </a:cubicBez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723" name="Forma livre: Forma 1722">
                  <a:extLst>
                    <a:ext uri="{FF2B5EF4-FFF2-40B4-BE49-F238E27FC236}">
                      <a16:creationId xmlns:a16="http://schemas.microsoft.com/office/drawing/2014/main" id="{91F2F9DA-938E-98F6-5104-9CB4303C958E}"/>
                    </a:ext>
                  </a:extLst>
                </p:cNvPr>
                <p:cNvSpPr/>
                <p:nvPr/>
              </p:nvSpPr>
              <p:spPr>
                <a:xfrm>
                  <a:off x="2607168" y="5697411"/>
                  <a:ext cx="93061" cy="93061"/>
                </a:xfrm>
                <a:custGeom>
                  <a:avLst/>
                  <a:gdLst>
                    <a:gd name="connsiteX0" fmla="*/ 93062 w 93061"/>
                    <a:gd name="connsiteY0" fmla="*/ 77091 h 93061"/>
                    <a:gd name="connsiteX1" fmla="*/ 15970 w 93061"/>
                    <a:gd name="connsiteY1" fmla="*/ 77091 h 93061"/>
                    <a:gd name="connsiteX2" fmla="*/ 15970 w 93061"/>
                    <a:gd name="connsiteY2" fmla="*/ 0 h 9306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93061" h="93061">
                      <a:moveTo>
                        <a:pt x="93062" y="77091"/>
                      </a:moveTo>
                      <a:cubicBezTo>
                        <a:pt x="71768" y="98385"/>
                        <a:pt x="37264" y="98385"/>
                        <a:pt x="15970" y="77091"/>
                      </a:cubicBezTo>
                      <a:cubicBezTo>
                        <a:pt x="-5323" y="55798"/>
                        <a:pt x="-5323" y="21294"/>
                        <a:pt x="15970" y="0"/>
                      </a:cubicBez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724" name="Forma livre: Forma 1723">
                  <a:extLst>
                    <a:ext uri="{FF2B5EF4-FFF2-40B4-BE49-F238E27FC236}">
                      <a16:creationId xmlns:a16="http://schemas.microsoft.com/office/drawing/2014/main" id="{8B7A916B-8E97-FB9C-B804-5B12567A1EC6}"/>
                    </a:ext>
                  </a:extLst>
                </p:cNvPr>
                <p:cNvSpPr/>
                <p:nvPr/>
              </p:nvSpPr>
              <p:spPr>
                <a:xfrm>
                  <a:off x="2652887" y="5717324"/>
                  <a:ext cx="27417" cy="27417"/>
                </a:xfrm>
                <a:custGeom>
                  <a:avLst/>
                  <a:gdLst>
                    <a:gd name="connsiteX0" fmla="*/ 0 w 27417"/>
                    <a:gd name="connsiteY0" fmla="*/ 27418 h 27417"/>
                    <a:gd name="connsiteX1" fmla="*/ 27418 w 27417"/>
                    <a:gd name="connsiteY1" fmla="*/ 0 h 2741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7417" h="27417">
                      <a:moveTo>
                        <a:pt x="0" y="27418"/>
                      </a:moveTo>
                      <a:lnTo>
                        <a:pt x="27418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sp>
          <p:nvSpPr>
            <p:cNvPr id="1725" name="Forma livre: Forma 1724">
              <a:extLst>
                <a:ext uri="{FF2B5EF4-FFF2-40B4-BE49-F238E27FC236}">
                  <a16:creationId xmlns:a16="http://schemas.microsoft.com/office/drawing/2014/main" id="{FB2EA927-C43C-B210-A7AE-ABE38A17565F}"/>
                </a:ext>
              </a:extLst>
            </p:cNvPr>
            <p:cNvSpPr/>
            <p:nvPr/>
          </p:nvSpPr>
          <p:spPr>
            <a:xfrm>
              <a:off x="2616203" y="5777622"/>
              <a:ext cx="8814" cy="38493"/>
            </a:xfrm>
            <a:custGeom>
              <a:avLst/>
              <a:gdLst>
                <a:gd name="connsiteX0" fmla="*/ 8814 w 8814"/>
                <a:gd name="connsiteY0" fmla="*/ 0 h 38493"/>
                <a:gd name="connsiteX1" fmla="*/ 0 w 8814"/>
                <a:gd name="connsiteY1" fmla="*/ 38493 h 384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814" h="38493">
                  <a:moveTo>
                    <a:pt x="8814" y="0"/>
                  </a:moveTo>
                  <a:lnTo>
                    <a:pt x="0" y="38493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26" name="Forma livre: Forma 1725">
              <a:extLst>
                <a:ext uri="{FF2B5EF4-FFF2-40B4-BE49-F238E27FC236}">
                  <a16:creationId xmlns:a16="http://schemas.microsoft.com/office/drawing/2014/main" id="{D61DDFC3-6913-061E-1444-2A56D0B7E172}"/>
                </a:ext>
              </a:extLst>
            </p:cNvPr>
            <p:cNvSpPr/>
            <p:nvPr/>
          </p:nvSpPr>
          <p:spPr>
            <a:xfrm>
              <a:off x="2645894" y="5790380"/>
              <a:ext cx="1159" cy="27139"/>
            </a:xfrm>
            <a:custGeom>
              <a:avLst/>
              <a:gdLst>
                <a:gd name="connsiteX0" fmla="*/ 0 w 1159"/>
                <a:gd name="connsiteY0" fmla="*/ 0 h 27139"/>
                <a:gd name="connsiteX1" fmla="*/ 1160 w 1159"/>
                <a:gd name="connsiteY1" fmla="*/ 27139 h 271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59" h="27139">
                  <a:moveTo>
                    <a:pt x="0" y="0"/>
                  </a:moveTo>
                  <a:lnTo>
                    <a:pt x="1160" y="27139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727" name="Gráfico 14">
            <a:extLst>
              <a:ext uri="{FF2B5EF4-FFF2-40B4-BE49-F238E27FC236}">
                <a16:creationId xmlns:a16="http://schemas.microsoft.com/office/drawing/2014/main" id="{49ECC746-836F-E521-C1C7-69F7893CAF15}"/>
              </a:ext>
            </a:extLst>
          </p:cNvPr>
          <p:cNvGrpSpPr/>
          <p:nvPr/>
        </p:nvGrpSpPr>
        <p:grpSpPr>
          <a:xfrm>
            <a:off x="2523431" y="4135132"/>
            <a:ext cx="310998" cy="321520"/>
            <a:chOff x="2523431" y="4135132"/>
            <a:chExt cx="310998" cy="321520"/>
          </a:xfrm>
          <a:noFill/>
        </p:grpSpPr>
        <p:sp>
          <p:nvSpPr>
            <p:cNvPr id="1728" name="Forma livre: Forma 1727">
              <a:extLst>
                <a:ext uri="{FF2B5EF4-FFF2-40B4-BE49-F238E27FC236}">
                  <a16:creationId xmlns:a16="http://schemas.microsoft.com/office/drawing/2014/main" id="{0B1947E8-65A0-88A7-B33D-47D6FFD3CDBA}"/>
                </a:ext>
              </a:extLst>
            </p:cNvPr>
            <p:cNvSpPr/>
            <p:nvPr/>
          </p:nvSpPr>
          <p:spPr>
            <a:xfrm>
              <a:off x="2523431" y="4456652"/>
              <a:ext cx="310998" cy="1159"/>
            </a:xfrm>
            <a:custGeom>
              <a:avLst/>
              <a:gdLst>
                <a:gd name="connsiteX0" fmla="*/ 0 w 310998"/>
                <a:gd name="connsiteY0" fmla="*/ 0 h 1159"/>
                <a:gd name="connsiteX1" fmla="*/ 310999 w 310998"/>
                <a:gd name="connsiteY1" fmla="*/ 0 h 11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10998" h="1159">
                  <a:moveTo>
                    <a:pt x="0" y="0"/>
                  </a:moveTo>
                  <a:lnTo>
                    <a:pt x="310999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729" name="Gráfico 14">
              <a:extLst>
                <a:ext uri="{FF2B5EF4-FFF2-40B4-BE49-F238E27FC236}">
                  <a16:creationId xmlns:a16="http://schemas.microsoft.com/office/drawing/2014/main" id="{8BD159FA-3B85-27D9-E432-17CB748D6841}"/>
                </a:ext>
              </a:extLst>
            </p:cNvPr>
            <p:cNvGrpSpPr/>
            <p:nvPr/>
          </p:nvGrpSpPr>
          <p:grpSpPr>
            <a:xfrm>
              <a:off x="2544911" y="4301449"/>
              <a:ext cx="268028" cy="155203"/>
              <a:chOff x="2544911" y="4301449"/>
              <a:chExt cx="268028" cy="155203"/>
            </a:xfrm>
            <a:noFill/>
          </p:grpSpPr>
          <p:grpSp>
            <p:nvGrpSpPr>
              <p:cNvPr id="1730" name="Gráfico 14">
                <a:extLst>
                  <a:ext uri="{FF2B5EF4-FFF2-40B4-BE49-F238E27FC236}">
                    <a16:creationId xmlns:a16="http://schemas.microsoft.com/office/drawing/2014/main" id="{CEE5B802-00E1-5B3C-14FE-5E9F2144B561}"/>
                  </a:ext>
                </a:extLst>
              </p:cNvPr>
              <p:cNvGrpSpPr/>
              <p:nvPr/>
            </p:nvGrpSpPr>
            <p:grpSpPr>
              <a:xfrm>
                <a:off x="2544911" y="4301449"/>
                <a:ext cx="108429" cy="155203"/>
                <a:chOff x="2544911" y="4301449"/>
                <a:chExt cx="108429" cy="155203"/>
              </a:xfrm>
              <a:noFill/>
            </p:grpSpPr>
            <p:sp>
              <p:nvSpPr>
                <p:cNvPr id="1731" name="Forma livre: Forma 1730">
                  <a:extLst>
                    <a:ext uri="{FF2B5EF4-FFF2-40B4-BE49-F238E27FC236}">
                      <a16:creationId xmlns:a16="http://schemas.microsoft.com/office/drawing/2014/main" id="{28CEC4D8-FFCB-9EDA-B0C7-2C1F0943E441}"/>
                    </a:ext>
                  </a:extLst>
                </p:cNvPr>
                <p:cNvSpPr/>
                <p:nvPr/>
              </p:nvSpPr>
              <p:spPr>
                <a:xfrm>
                  <a:off x="2576364" y="4301449"/>
                  <a:ext cx="45521" cy="54777"/>
                </a:xfrm>
                <a:custGeom>
                  <a:avLst/>
                  <a:gdLst>
                    <a:gd name="connsiteX0" fmla="*/ 45522 w 45521"/>
                    <a:gd name="connsiteY0" fmla="*/ 31674 h 54777"/>
                    <a:gd name="connsiteX1" fmla="*/ 22755 w 45521"/>
                    <a:gd name="connsiteY1" fmla="*/ 54777 h 54777"/>
                    <a:gd name="connsiteX2" fmla="*/ 0 w 45521"/>
                    <a:gd name="connsiteY2" fmla="*/ 31674 h 54777"/>
                    <a:gd name="connsiteX3" fmla="*/ 0 w 45521"/>
                    <a:gd name="connsiteY3" fmla="*/ 23103 h 54777"/>
                    <a:gd name="connsiteX4" fmla="*/ 22755 w 45521"/>
                    <a:gd name="connsiteY4" fmla="*/ 0 h 54777"/>
                    <a:gd name="connsiteX5" fmla="*/ 45522 w 45521"/>
                    <a:gd name="connsiteY5" fmla="*/ 23103 h 54777"/>
                    <a:gd name="connsiteX6" fmla="*/ 45522 w 45521"/>
                    <a:gd name="connsiteY6" fmla="*/ 31674 h 5477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45521" h="54777">
                      <a:moveTo>
                        <a:pt x="45522" y="31674"/>
                      </a:moveTo>
                      <a:cubicBezTo>
                        <a:pt x="45522" y="44385"/>
                        <a:pt x="35269" y="54777"/>
                        <a:pt x="22755" y="54777"/>
                      </a:cubicBezTo>
                      <a:cubicBezTo>
                        <a:pt x="10241" y="54777"/>
                        <a:pt x="0" y="44385"/>
                        <a:pt x="0" y="31674"/>
                      </a:cubicBezTo>
                      <a:lnTo>
                        <a:pt x="0" y="23103"/>
                      </a:lnTo>
                      <a:cubicBezTo>
                        <a:pt x="0" y="10403"/>
                        <a:pt x="10241" y="0"/>
                        <a:pt x="22755" y="0"/>
                      </a:cubicBezTo>
                      <a:cubicBezTo>
                        <a:pt x="35269" y="0"/>
                        <a:pt x="45522" y="10392"/>
                        <a:pt x="45522" y="23103"/>
                      </a:cubicBezTo>
                      <a:lnTo>
                        <a:pt x="45522" y="31674"/>
                      </a:lnTo>
                      <a:close/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grpSp>
              <p:nvGrpSpPr>
                <p:cNvPr id="1732" name="Gráfico 14">
                  <a:extLst>
                    <a:ext uri="{FF2B5EF4-FFF2-40B4-BE49-F238E27FC236}">
                      <a16:creationId xmlns:a16="http://schemas.microsoft.com/office/drawing/2014/main" id="{D533F6B2-0455-742C-089F-6FCA3204B6A2}"/>
                    </a:ext>
                  </a:extLst>
                </p:cNvPr>
                <p:cNvGrpSpPr/>
                <p:nvPr/>
              </p:nvGrpSpPr>
              <p:grpSpPr>
                <a:xfrm>
                  <a:off x="2573511" y="4401701"/>
                  <a:ext cx="51228" cy="54950"/>
                  <a:chOff x="2573511" y="4401701"/>
                  <a:chExt cx="51228" cy="54950"/>
                </a:xfrm>
                <a:noFill/>
              </p:grpSpPr>
              <p:sp>
                <p:nvSpPr>
                  <p:cNvPr id="1733" name="Forma livre: Forma 1732">
                    <a:extLst>
                      <a:ext uri="{FF2B5EF4-FFF2-40B4-BE49-F238E27FC236}">
                        <a16:creationId xmlns:a16="http://schemas.microsoft.com/office/drawing/2014/main" id="{80D82089-F45A-7D58-12EC-684407CB5784}"/>
                      </a:ext>
                    </a:extLst>
                  </p:cNvPr>
                  <p:cNvSpPr/>
                  <p:nvPr/>
                </p:nvSpPr>
                <p:spPr>
                  <a:xfrm>
                    <a:off x="2573511" y="4401701"/>
                    <a:ext cx="40673" cy="54950"/>
                  </a:xfrm>
                  <a:custGeom>
                    <a:avLst/>
                    <a:gdLst>
                      <a:gd name="connsiteX0" fmla="*/ 40674 w 40673"/>
                      <a:gd name="connsiteY0" fmla="*/ 54951 h 54950"/>
                      <a:gd name="connsiteX1" fmla="*/ 24634 w 40673"/>
                      <a:gd name="connsiteY1" fmla="*/ 29424 h 54950"/>
                      <a:gd name="connsiteX2" fmla="*/ 0 w 40673"/>
                      <a:gd name="connsiteY2" fmla="*/ 29424 h 54950"/>
                      <a:gd name="connsiteX3" fmla="*/ 0 w 40673"/>
                      <a:gd name="connsiteY3" fmla="*/ 0 h 5495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40673" h="54950">
                        <a:moveTo>
                          <a:pt x="40674" y="54951"/>
                        </a:moveTo>
                        <a:cubicBezTo>
                          <a:pt x="40674" y="29725"/>
                          <a:pt x="24634" y="29424"/>
                          <a:pt x="24634" y="29424"/>
                        </a:cubicBezTo>
                        <a:lnTo>
                          <a:pt x="0" y="29424"/>
                        </a:lnTo>
                        <a:lnTo>
                          <a:pt x="0" y="0"/>
                        </a:lnTo>
                      </a:path>
                    </a:pathLst>
                  </a:custGeom>
                  <a:noFill/>
                  <a:ln w="6350" cap="flat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1734" name="Forma livre: Forma 1733">
                    <a:extLst>
                      <a:ext uri="{FF2B5EF4-FFF2-40B4-BE49-F238E27FC236}">
                        <a16:creationId xmlns:a16="http://schemas.microsoft.com/office/drawing/2014/main" id="{65505D26-B4D7-CAB9-1FC1-C74751693019}"/>
                      </a:ext>
                    </a:extLst>
                  </p:cNvPr>
                  <p:cNvSpPr/>
                  <p:nvPr/>
                </p:nvSpPr>
                <p:spPr>
                  <a:xfrm>
                    <a:off x="2599189" y="4401701"/>
                    <a:ext cx="25550" cy="29423"/>
                  </a:xfrm>
                  <a:custGeom>
                    <a:avLst/>
                    <a:gdLst>
                      <a:gd name="connsiteX0" fmla="*/ 25550 w 25550"/>
                      <a:gd name="connsiteY0" fmla="*/ 0 h 29423"/>
                      <a:gd name="connsiteX1" fmla="*/ 25550 w 25550"/>
                      <a:gd name="connsiteY1" fmla="*/ 29424 h 29423"/>
                      <a:gd name="connsiteX2" fmla="*/ 0 w 25550"/>
                      <a:gd name="connsiteY2" fmla="*/ 29424 h 2942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</a:cxnLst>
                    <a:rect l="l" t="t" r="r" b="b"/>
                    <a:pathLst>
                      <a:path w="25550" h="29423">
                        <a:moveTo>
                          <a:pt x="25550" y="0"/>
                        </a:moveTo>
                        <a:lnTo>
                          <a:pt x="25550" y="29424"/>
                        </a:lnTo>
                        <a:lnTo>
                          <a:pt x="0" y="29424"/>
                        </a:lnTo>
                      </a:path>
                    </a:pathLst>
                  </a:custGeom>
                  <a:noFill/>
                  <a:ln w="6350" cap="flat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  <p:sp>
              <p:nvSpPr>
                <p:cNvPr id="1735" name="Forma livre: Forma 1734">
                  <a:extLst>
                    <a:ext uri="{FF2B5EF4-FFF2-40B4-BE49-F238E27FC236}">
                      <a16:creationId xmlns:a16="http://schemas.microsoft.com/office/drawing/2014/main" id="{5F4DFA8E-941F-6D72-8B21-0F0A2EEE7FA5}"/>
                    </a:ext>
                  </a:extLst>
                </p:cNvPr>
                <p:cNvSpPr/>
                <p:nvPr/>
              </p:nvSpPr>
              <p:spPr>
                <a:xfrm>
                  <a:off x="2544911" y="4372486"/>
                  <a:ext cx="108429" cy="84166"/>
                </a:xfrm>
                <a:custGeom>
                  <a:avLst/>
                  <a:gdLst>
                    <a:gd name="connsiteX0" fmla="*/ 22280 w 108429"/>
                    <a:gd name="connsiteY0" fmla="*/ 84166 h 84166"/>
                    <a:gd name="connsiteX1" fmla="*/ 0 w 108429"/>
                    <a:gd name="connsiteY1" fmla="*/ 65946 h 84166"/>
                    <a:gd name="connsiteX2" fmla="*/ 0 w 108429"/>
                    <a:gd name="connsiteY2" fmla="*/ 26733 h 84166"/>
                    <a:gd name="connsiteX3" fmla="*/ 24298 w 108429"/>
                    <a:gd name="connsiteY3" fmla="*/ 0 h 84166"/>
                    <a:gd name="connsiteX4" fmla="*/ 38088 w 108429"/>
                    <a:gd name="connsiteY4" fmla="*/ 0 h 84166"/>
                    <a:gd name="connsiteX5" fmla="*/ 53664 w 108429"/>
                    <a:gd name="connsiteY5" fmla="*/ 24553 h 84166"/>
                    <a:gd name="connsiteX6" fmla="*/ 70353 w 108429"/>
                    <a:gd name="connsiteY6" fmla="*/ 0 h 84166"/>
                    <a:gd name="connsiteX7" fmla="*/ 84131 w 108429"/>
                    <a:gd name="connsiteY7" fmla="*/ 0 h 84166"/>
                    <a:gd name="connsiteX8" fmla="*/ 108429 w 108429"/>
                    <a:gd name="connsiteY8" fmla="*/ 26733 h 84166"/>
                    <a:gd name="connsiteX9" fmla="*/ 108429 w 108429"/>
                    <a:gd name="connsiteY9" fmla="*/ 65946 h 84166"/>
                    <a:gd name="connsiteX10" fmla="*/ 86149 w 108429"/>
                    <a:gd name="connsiteY10" fmla="*/ 84166 h 8416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108429" h="84166">
                      <a:moveTo>
                        <a:pt x="22280" y="84166"/>
                      </a:moveTo>
                      <a:cubicBezTo>
                        <a:pt x="7573" y="84166"/>
                        <a:pt x="0" y="80640"/>
                        <a:pt x="0" y="65946"/>
                      </a:cubicBezTo>
                      <a:lnTo>
                        <a:pt x="0" y="26733"/>
                      </a:lnTo>
                      <a:cubicBezTo>
                        <a:pt x="0" y="12027"/>
                        <a:pt x="9591" y="0"/>
                        <a:pt x="24298" y="0"/>
                      </a:cubicBezTo>
                      <a:lnTo>
                        <a:pt x="38088" y="0"/>
                      </a:lnTo>
                      <a:lnTo>
                        <a:pt x="53664" y="24553"/>
                      </a:lnTo>
                      <a:lnTo>
                        <a:pt x="70353" y="0"/>
                      </a:lnTo>
                      <a:lnTo>
                        <a:pt x="84131" y="0"/>
                      </a:lnTo>
                      <a:cubicBezTo>
                        <a:pt x="98838" y="0"/>
                        <a:pt x="108429" y="12027"/>
                        <a:pt x="108429" y="26733"/>
                      </a:cubicBezTo>
                      <a:lnTo>
                        <a:pt x="108429" y="65946"/>
                      </a:lnTo>
                      <a:cubicBezTo>
                        <a:pt x="108429" y="80652"/>
                        <a:pt x="100856" y="84166"/>
                        <a:pt x="86149" y="84166"/>
                      </a:cubicBez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1736" name="Gráfico 14">
                <a:extLst>
                  <a:ext uri="{FF2B5EF4-FFF2-40B4-BE49-F238E27FC236}">
                    <a16:creationId xmlns:a16="http://schemas.microsoft.com/office/drawing/2014/main" id="{A5CC6B16-0416-9BA8-CCD8-22BC7FFFE8BA}"/>
                  </a:ext>
                </a:extLst>
              </p:cNvPr>
              <p:cNvGrpSpPr/>
              <p:nvPr/>
            </p:nvGrpSpPr>
            <p:grpSpPr>
              <a:xfrm>
                <a:off x="2704521" y="4301449"/>
                <a:ext cx="108417" cy="155203"/>
                <a:chOff x="2704521" y="4301449"/>
                <a:chExt cx="108417" cy="155203"/>
              </a:xfrm>
              <a:noFill/>
            </p:grpSpPr>
            <p:sp>
              <p:nvSpPr>
                <p:cNvPr id="1737" name="Forma livre: Forma 1736">
                  <a:extLst>
                    <a:ext uri="{FF2B5EF4-FFF2-40B4-BE49-F238E27FC236}">
                      <a16:creationId xmlns:a16="http://schemas.microsoft.com/office/drawing/2014/main" id="{BF2FFB4B-A2A3-A6FC-0511-1F200E8BE9A4}"/>
                    </a:ext>
                  </a:extLst>
                </p:cNvPr>
                <p:cNvSpPr/>
                <p:nvPr/>
              </p:nvSpPr>
              <p:spPr>
                <a:xfrm>
                  <a:off x="2735975" y="4301449"/>
                  <a:ext cx="45510" cy="54777"/>
                </a:xfrm>
                <a:custGeom>
                  <a:avLst/>
                  <a:gdLst>
                    <a:gd name="connsiteX0" fmla="*/ 45510 w 45510"/>
                    <a:gd name="connsiteY0" fmla="*/ 31674 h 54777"/>
                    <a:gd name="connsiteX1" fmla="*/ 22755 w 45510"/>
                    <a:gd name="connsiteY1" fmla="*/ 54777 h 54777"/>
                    <a:gd name="connsiteX2" fmla="*/ 0 w 45510"/>
                    <a:gd name="connsiteY2" fmla="*/ 31674 h 54777"/>
                    <a:gd name="connsiteX3" fmla="*/ 0 w 45510"/>
                    <a:gd name="connsiteY3" fmla="*/ 23103 h 54777"/>
                    <a:gd name="connsiteX4" fmla="*/ 22755 w 45510"/>
                    <a:gd name="connsiteY4" fmla="*/ 0 h 54777"/>
                    <a:gd name="connsiteX5" fmla="*/ 45510 w 45510"/>
                    <a:gd name="connsiteY5" fmla="*/ 23103 h 54777"/>
                    <a:gd name="connsiteX6" fmla="*/ 45510 w 45510"/>
                    <a:gd name="connsiteY6" fmla="*/ 31674 h 5477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45510" h="54777">
                      <a:moveTo>
                        <a:pt x="45510" y="31674"/>
                      </a:moveTo>
                      <a:cubicBezTo>
                        <a:pt x="45510" y="44385"/>
                        <a:pt x="35258" y="54777"/>
                        <a:pt x="22755" y="54777"/>
                      </a:cubicBezTo>
                      <a:cubicBezTo>
                        <a:pt x="10253" y="54777"/>
                        <a:pt x="0" y="44385"/>
                        <a:pt x="0" y="31674"/>
                      </a:cubicBezTo>
                      <a:lnTo>
                        <a:pt x="0" y="23103"/>
                      </a:lnTo>
                      <a:cubicBezTo>
                        <a:pt x="0" y="10403"/>
                        <a:pt x="10253" y="0"/>
                        <a:pt x="22755" y="0"/>
                      </a:cubicBezTo>
                      <a:cubicBezTo>
                        <a:pt x="35258" y="0"/>
                        <a:pt x="45510" y="10392"/>
                        <a:pt x="45510" y="23103"/>
                      </a:cubicBezTo>
                      <a:lnTo>
                        <a:pt x="45510" y="31674"/>
                      </a:lnTo>
                      <a:close/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grpSp>
              <p:nvGrpSpPr>
                <p:cNvPr id="1738" name="Gráfico 14">
                  <a:extLst>
                    <a:ext uri="{FF2B5EF4-FFF2-40B4-BE49-F238E27FC236}">
                      <a16:creationId xmlns:a16="http://schemas.microsoft.com/office/drawing/2014/main" id="{73780DDC-70C6-2DD6-6EE9-5E9E43B7A316}"/>
                    </a:ext>
                  </a:extLst>
                </p:cNvPr>
                <p:cNvGrpSpPr/>
                <p:nvPr/>
              </p:nvGrpSpPr>
              <p:grpSpPr>
                <a:xfrm>
                  <a:off x="2733110" y="4401701"/>
                  <a:ext cx="51239" cy="54950"/>
                  <a:chOff x="2733110" y="4401701"/>
                  <a:chExt cx="51239" cy="54950"/>
                </a:xfrm>
                <a:noFill/>
              </p:grpSpPr>
              <p:sp>
                <p:nvSpPr>
                  <p:cNvPr id="1739" name="Forma livre: Forma 1738">
                    <a:extLst>
                      <a:ext uri="{FF2B5EF4-FFF2-40B4-BE49-F238E27FC236}">
                        <a16:creationId xmlns:a16="http://schemas.microsoft.com/office/drawing/2014/main" id="{238EDD0B-E371-C63B-B6F2-2AA9CC4A3D82}"/>
                      </a:ext>
                    </a:extLst>
                  </p:cNvPr>
                  <p:cNvSpPr/>
                  <p:nvPr/>
                </p:nvSpPr>
                <p:spPr>
                  <a:xfrm>
                    <a:off x="2733110" y="4401701"/>
                    <a:ext cx="40685" cy="54950"/>
                  </a:xfrm>
                  <a:custGeom>
                    <a:avLst/>
                    <a:gdLst>
                      <a:gd name="connsiteX0" fmla="*/ 40686 w 40685"/>
                      <a:gd name="connsiteY0" fmla="*/ 54951 h 54950"/>
                      <a:gd name="connsiteX1" fmla="*/ 24634 w 40685"/>
                      <a:gd name="connsiteY1" fmla="*/ 29424 h 54950"/>
                      <a:gd name="connsiteX2" fmla="*/ 0 w 40685"/>
                      <a:gd name="connsiteY2" fmla="*/ 29424 h 54950"/>
                      <a:gd name="connsiteX3" fmla="*/ 0 w 40685"/>
                      <a:gd name="connsiteY3" fmla="*/ 0 h 5495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40685" h="54950">
                        <a:moveTo>
                          <a:pt x="40686" y="54951"/>
                        </a:moveTo>
                        <a:cubicBezTo>
                          <a:pt x="40686" y="29725"/>
                          <a:pt x="24634" y="29424"/>
                          <a:pt x="24634" y="29424"/>
                        </a:cubicBezTo>
                        <a:lnTo>
                          <a:pt x="0" y="29424"/>
                        </a:lnTo>
                        <a:lnTo>
                          <a:pt x="0" y="0"/>
                        </a:lnTo>
                      </a:path>
                    </a:pathLst>
                  </a:custGeom>
                  <a:noFill/>
                  <a:ln w="6350" cap="flat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1740" name="Forma livre: Forma 1739">
                    <a:extLst>
                      <a:ext uri="{FF2B5EF4-FFF2-40B4-BE49-F238E27FC236}">
                        <a16:creationId xmlns:a16="http://schemas.microsoft.com/office/drawing/2014/main" id="{E75E0368-3752-5463-F70E-1ED60EE20D7B}"/>
                      </a:ext>
                    </a:extLst>
                  </p:cNvPr>
                  <p:cNvSpPr/>
                  <p:nvPr/>
                </p:nvSpPr>
                <p:spPr>
                  <a:xfrm>
                    <a:off x="2758800" y="4401701"/>
                    <a:ext cx="25550" cy="29423"/>
                  </a:xfrm>
                  <a:custGeom>
                    <a:avLst/>
                    <a:gdLst>
                      <a:gd name="connsiteX0" fmla="*/ 25550 w 25550"/>
                      <a:gd name="connsiteY0" fmla="*/ 0 h 29423"/>
                      <a:gd name="connsiteX1" fmla="*/ 25550 w 25550"/>
                      <a:gd name="connsiteY1" fmla="*/ 29424 h 29423"/>
                      <a:gd name="connsiteX2" fmla="*/ 0 w 25550"/>
                      <a:gd name="connsiteY2" fmla="*/ 29424 h 2942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</a:cxnLst>
                    <a:rect l="l" t="t" r="r" b="b"/>
                    <a:pathLst>
                      <a:path w="25550" h="29423">
                        <a:moveTo>
                          <a:pt x="25550" y="0"/>
                        </a:moveTo>
                        <a:lnTo>
                          <a:pt x="25550" y="29424"/>
                        </a:lnTo>
                        <a:lnTo>
                          <a:pt x="0" y="29424"/>
                        </a:lnTo>
                      </a:path>
                    </a:pathLst>
                  </a:custGeom>
                  <a:noFill/>
                  <a:ln w="6350" cap="flat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  <p:sp>
              <p:nvSpPr>
                <p:cNvPr id="1741" name="Forma livre: Forma 1740">
                  <a:extLst>
                    <a:ext uri="{FF2B5EF4-FFF2-40B4-BE49-F238E27FC236}">
                      <a16:creationId xmlns:a16="http://schemas.microsoft.com/office/drawing/2014/main" id="{EC28FE26-5A1E-24B0-EC5B-DC67EAB67A82}"/>
                    </a:ext>
                  </a:extLst>
                </p:cNvPr>
                <p:cNvSpPr/>
                <p:nvPr/>
              </p:nvSpPr>
              <p:spPr>
                <a:xfrm>
                  <a:off x="2704521" y="4372486"/>
                  <a:ext cx="108417" cy="84166"/>
                </a:xfrm>
                <a:custGeom>
                  <a:avLst/>
                  <a:gdLst>
                    <a:gd name="connsiteX0" fmla="*/ 22280 w 108417"/>
                    <a:gd name="connsiteY0" fmla="*/ 84166 h 84166"/>
                    <a:gd name="connsiteX1" fmla="*/ 0 w 108417"/>
                    <a:gd name="connsiteY1" fmla="*/ 65946 h 84166"/>
                    <a:gd name="connsiteX2" fmla="*/ 0 w 108417"/>
                    <a:gd name="connsiteY2" fmla="*/ 26733 h 84166"/>
                    <a:gd name="connsiteX3" fmla="*/ 24286 w 108417"/>
                    <a:gd name="connsiteY3" fmla="*/ 0 h 84166"/>
                    <a:gd name="connsiteX4" fmla="*/ 38076 w 108417"/>
                    <a:gd name="connsiteY4" fmla="*/ 0 h 84166"/>
                    <a:gd name="connsiteX5" fmla="*/ 53652 w 108417"/>
                    <a:gd name="connsiteY5" fmla="*/ 24553 h 84166"/>
                    <a:gd name="connsiteX6" fmla="*/ 70330 w 108417"/>
                    <a:gd name="connsiteY6" fmla="*/ 0 h 84166"/>
                    <a:gd name="connsiteX7" fmla="*/ 84120 w 108417"/>
                    <a:gd name="connsiteY7" fmla="*/ 0 h 84166"/>
                    <a:gd name="connsiteX8" fmla="*/ 108418 w 108417"/>
                    <a:gd name="connsiteY8" fmla="*/ 26733 h 84166"/>
                    <a:gd name="connsiteX9" fmla="*/ 108418 w 108417"/>
                    <a:gd name="connsiteY9" fmla="*/ 65946 h 84166"/>
                    <a:gd name="connsiteX10" fmla="*/ 86149 w 108417"/>
                    <a:gd name="connsiteY10" fmla="*/ 84166 h 8416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108417" h="84166">
                      <a:moveTo>
                        <a:pt x="22280" y="84166"/>
                      </a:moveTo>
                      <a:cubicBezTo>
                        <a:pt x="7585" y="84166"/>
                        <a:pt x="0" y="80640"/>
                        <a:pt x="0" y="65946"/>
                      </a:cubicBezTo>
                      <a:lnTo>
                        <a:pt x="0" y="26733"/>
                      </a:lnTo>
                      <a:cubicBezTo>
                        <a:pt x="0" y="12027"/>
                        <a:pt x="9592" y="0"/>
                        <a:pt x="24286" y="0"/>
                      </a:cubicBezTo>
                      <a:lnTo>
                        <a:pt x="38076" y="0"/>
                      </a:lnTo>
                      <a:lnTo>
                        <a:pt x="53652" y="24553"/>
                      </a:lnTo>
                      <a:lnTo>
                        <a:pt x="70330" y="0"/>
                      </a:lnTo>
                      <a:lnTo>
                        <a:pt x="84120" y="0"/>
                      </a:lnTo>
                      <a:cubicBezTo>
                        <a:pt x="98826" y="0"/>
                        <a:pt x="108418" y="12027"/>
                        <a:pt x="108418" y="26733"/>
                      </a:cubicBezTo>
                      <a:lnTo>
                        <a:pt x="108418" y="65946"/>
                      </a:lnTo>
                      <a:cubicBezTo>
                        <a:pt x="108418" y="80652"/>
                        <a:pt x="100844" y="84166"/>
                        <a:pt x="86149" y="84166"/>
                      </a:cubicBez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grpSp>
          <p:nvGrpSpPr>
            <p:cNvPr id="1742" name="Gráfico 14">
              <a:extLst>
                <a:ext uri="{FF2B5EF4-FFF2-40B4-BE49-F238E27FC236}">
                  <a16:creationId xmlns:a16="http://schemas.microsoft.com/office/drawing/2014/main" id="{B77BC4A5-7104-C428-F2DE-778270CB9BE4}"/>
                </a:ext>
              </a:extLst>
            </p:cNvPr>
            <p:cNvGrpSpPr/>
            <p:nvPr/>
          </p:nvGrpSpPr>
          <p:grpSpPr>
            <a:xfrm>
              <a:off x="2589317" y="4135132"/>
              <a:ext cx="179232" cy="179232"/>
              <a:chOff x="2589317" y="4135132"/>
              <a:chExt cx="179232" cy="179232"/>
            </a:xfrm>
            <a:noFill/>
          </p:grpSpPr>
          <p:grpSp>
            <p:nvGrpSpPr>
              <p:cNvPr id="1743" name="Gráfico 14">
                <a:extLst>
                  <a:ext uri="{FF2B5EF4-FFF2-40B4-BE49-F238E27FC236}">
                    <a16:creationId xmlns:a16="http://schemas.microsoft.com/office/drawing/2014/main" id="{0C6BD154-BEB3-AEC1-0AC7-96144FA48859}"/>
                  </a:ext>
                </a:extLst>
              </p:cNvPr>
              <p:cNvGrpSpPr/>
              <p:nvPr/>
            </p:nvGrpSpPr>
            <p:grpSpPr>
              <a:xfrm>
                <a:off x="2599711" y="4146686"/>
                <a:ext cx="158427" cy="156027"/>
                <a:chOff x="2599711" y="4146686"/>
                <a:chExt cx="158427" cy="156027"/>
              </a:xfrm>
              <a:noFill/>
            </p:grpSpPr>
            <p:sp>
              <p:nvSpPr>
                <p:cNvPr id="1744" name="Forma livre: Forma 1743">
                  <a:extLst>
                    <a:ext uri="{FF2B5EF4-FFF2-40B4-BE49-F238E27FC236}">
                      <a16:creationId xmlns:a16="http://schemas.microsoft.com/office/drawing/2014/main" id="{1E8E44A4-54AD-DDDC-213A-7E3D70E28275}"/>
                    </a:ext>
                  </a:extLst>
                </p:cNvPr>
                <p:cNvSpPr/>
                <p:nvPr/>
              </p:nvSpPr>
              <p:spPr>
                <a:xfrm>
                  <a:off x="2599711" y="4224659"/>
                  <a:ext cx="158427" cy="1159"/>
                </a:xfrm>
                <a:custGeom>
                  <a:avLst/>
                  <a:gdLst>
                    <a:gd name="connsiteX0" fmla="*/ 158428 w 158427"/>
                    <a:gd name="connsiteY0" fmla="*/ 0 h 1159"/>
                    <a:gd name="connsiteX1" fmla="*/ 0 w 158427"/>
                    <a:gd name="connsiteY1" fmla="*/ 0 h 115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58427" h="1159">
                      <a:moveTo>
                        <a:pt x="158428" y="0"/>
                      </a:moveTo>
                      <a:lnTo>
                        <a:pt x="0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745" name="Forma livre: Forma 1744">
                  <a:extLst>
                    <a:ext uri="{FF2B5EF4-FFF2-40B4-BE49-F238E27FC236}">
                      <a16:creationId xmlns:a16="http://schemas.microsoft.com/office/drawing/2014/main" id="{0063F8AD-A3C1-5250-5B27-B7646A532FA2}"/>
                    </a:ext>
                  </a:extLst>
                </p:cNvPr>
                <p:cNvSpPr/>
                <p:nvPr/>
              </p:nvSpPr>
              <p:spPr>
                <a:xfrm>
                  <a:off x="2649512" y="4224949"/>
                  <a:ext cx="26744" cy="77764"/>
                </a:xfrm>
                <a:custGeom>
                  <a:avLst/>
                  <a:gdLst>
                    <a:gd name="connsiteX0" fmla="*/ 0 w 26744"/>
                    <a:gd name="connsiteY0" fmla="*/ 0 h 77764"/>
                    <a:gd name="connsiteX1" fmla="*/ 26745 w 26744"/>
                    <a:gd name="connsiteY1" fmla="*/ 77764 h 7776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6744" h="77764">
                      <a:moveTo>
                        <a:pt x="0" y="0"/>
                      </a:moveTo>
                      <a:cubicBezTo>
                        <a:pt x="510" y="22535"/>
                        <a:pt x="7423" y="48932"/>
                        <a:pt x="26745" y="77764"/>
                      </a:cubicBez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746" name="Forma livre: Forma 1745">
                  <a:extLst>
                    <a:ext uri="{FF2B5EF4-FFF2-40B4-BE49-F238E27FC236}">
                      <a16:creationId xmlns:a16="http://schemas.microsoft.com/office/drawing/2014/main" id="{1316F08E-73CA-2252-C826-24AAAF343676}"/>
                    </a:ext>
                  </a:extLst>
                </p:cNvPr>
                <p:cNvSpPr/>
                <p:nvPr/>
              </p:nvSpPr>
              <p:spPr>
                <a:xfrm>
                  <a:off x="2681012" y="4225830"/>
                  <a:ext cx="26721" cy="76882"/>
                </a:xfrm>
                <a:custGeom>
                  <a:avLst/>
                  <a:gdLst>
                    <a:gd name="connsiteX0" fmla="*/ 26722 w 26721"/>
                    <a:gd name="connsiteY0" fmla="*/ 0 h 76882"/>
                    <a:gd name="connsiteX1" fmla="*/ 0 w 26721"/>
                    <a:gd name="connsiteY1" fmla="*/ 76883 h 7688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6721" h="76882">
                      <a:moveTo>
                        <a:pt x="26722" y="0"/>
                      </a:moveTo>
                      <a:cubicBezTo>
                        <a:pt x="26061" y="22349"/>
                        <a:pt x="19055" y="48421"/>
                        <a:pt x="0" y="76883"/>
                      </a:cubicBez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grpSp>
              <p:nvGrpSpPr>
                <p:cNvPr id="1747" name="Gráfico 14">
                  <a:extLst>
                    <a:ext uri="{FF2B5EF4-FFF2-40B4-BE49-F238E27FC236}">
                      <a16:creationId xmlns:a16="http://schemas.microsoft.com/office/drawing/2014/main" id="{1CEBDD99-15B7-CE55-959E-1B14D7815EFF}"/>
                    </a:ext>
                  </a:extLst>
                </p:cNvPr>
                <p:cNvGrpSpPr/>
                <p:nvPr/>
              </p:nvGrpSpPr>
              <p:grpSpPr>
                <a:xfrm>
                  <a:off x="2650730" y="4146686"/>
                  <a:ext cx="55809" cy="58326"/>
                  <a:chOff x="2650730" y="4146686"/>
                  <a:chExt cx="55809" cy="58326"/>
                </a:xfrm>
                <a:noFill/>
              </p:grpSpPr>
              <p:sp>
                <p:nvSpPr>
                  <p:cNvPr id="1748" name="Forma livre: Forma 1747">
                    <a:extLst>
                      <a:ext uri="{FF2B5EF4-FFF2-40B4-BE49-F238E27FC236}">
                        <a16:creationId xmlns:a16="http://schemas.microsoft.com/office/drawing/2014/main" id="{D545D26E-2916-2F14-5928-145B7F9C60FD}"/>
                      </a:ext>
                    </a:extLst>
                  </p:cNvPr>
                  <p:cNvSpPr/>
                  <p:nvPr/>
                </p:nvSpPr>
                <p:spPr>
                  <a:xfrm>
                    <a:off x="2650730" y="4146686"/>
                    <a:ext cx="25527" cy="58326"/>
                  </a:xfrm>
                  <a:custGeom>
                    <a:avLst/>
                    <a:gdLst>
                      <a:gd name="connsiteX0" fmla="*/ 25527 w 25527"/>
                      <a:gd name="connsiteY0" fmla="*/ 0 h 58326"/>
                      <a:gd name="connsiteX1" fmla="*/ 0 w 25527"/>
                      <a:gd name="connsiteY1" fmla="*/ 58326 h 5832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25527" h="58326">
                        <a:moveTo>
                          <a:pt x="25527" y="0"/>
                        </a:moveTo>
                        <a:cubicBezTo>
                          <a:pt x="25527" y="0"/>
                          <a:pt x="5312" y="22175"/>
                          <a:pt x="0" y="58326"/>
                        </a:cubicBezTo>
                      </a:path>
                    </a:pathLst>
                  </a:custGeom>
                  <a:noFill/>
                  <a:ln w="6350" cap="flat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1749" name="Forma livre: Forma 1748">
                    <a:extLst>
                      <a:ext uri="{FF2B5EF4-FFF2-40B4-BE49-F238E27FC236}">
                        <a16:creationId xmlns:a16="http://schemas.microsoft.com/office/drawing/2014/main" id="{13C33515-39C1-383D-BFA1-E80C2DE29132}"/>
                      </a:ext>
                    </a:extLst>
                  </p:cNvPr>
                  <p:cNvSpPr/>
                  <p:nvPr/>
                </p:nvSpPr>
                <p:spPr>
                  <a:xfrm>
                    <a:off x="2681012" y="4146686"/>
                    <a:ext cx="25527" cy="58326"/>
                  </a:xfrm>
                  <a:custGeom>
                    <a:avLst/>
                    <a:gdLst>
                      <a:gd name="connsiteX0" fmla="*/ 0 w 25527"/>
                      <a:gd name="connsiteY0" fmla="*/ 0 h 58326"/>
                      <a:gd name="connsiteX1" fmla="*/ 25527 w 25527"/>
                      <a:gd name="connsiteY1" fmla="*/ 58326 h 5832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25527" h="58326">
                        <a:moveTo>
                          <a:pt x="0" y="0"/>
                        </a:moveTo>
                        <a:cubicBezTo>
                          <a:pt x="0" y="0"/>
                          <a:pt x="20215" y="22175"/>
                          <a:pt x="25527" y="58326"/>
                        </a:cubicBezTo>
                      </a:path>
                    </a:pathLst>
                  </a:custGeom>
                  <a:noFill/>
                  <a:ln w="6350" cap="flat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</p:grpSp>
          <p:sp>
            <p:nvSpPr>
              <p:cNvPr id="1750" name="Forma livre: Forma 1749">
                <a:extLst>
                  <a:ext uri="{FF2B5EF4-FFF2-40B4-BE49-F238E27FC236}">
                    <a16:creationId xmlns:a16="http://schemas.microsoft.com/office/drawing/2014/main" id="{EB9D8457-8459-0039-1503-EA84039F5D65}"/>
                  </a:ext>
                </a:extLst>
              </p:cNvPr>
              <p:cNvSpPr/>
              <p:nvPr/>
            </p:nvSpPr>
            <p:spPr>
              <a:xfrm rot="-4858198">
                <a:off x="2600636" y="4146450"/>
                <a:ext cx="156595" cy="156595"/>
              </a:xfrm>
              <a:custGeom>
                <a:avLst/>
                <a:gdLst>
                  <a:gd name="connsiteX0" fmla="*/ 156595 w 156595"/>
                  <a:gd name="connsiteY0" fmla="*/ 78298 h 156595"/>
                  <a:gd name="connsiteX1" fmla="*/ 78298 w 156595"/>
                  <a:gd name="connsiteY1" fmla="*/ 156595 h 156595"/>
                  <a:gd name="connsiteX2" fmla="*/ 0 w 156595"/>
                  <a:gd name="connsiteY2" fmla="*/ 78298 h 156595"/>
                  <a:gd name="connsiteX3" fmla="*/ 78298 w 156595"/>
                  <a:gd name="connsiteY3" fmla="*/ 0 h 156595"/>
                  <a:gd name="connsiteX4" fmla="*/ 156595 w 156595"/>
                  <a:gd name="connsiteY4" fmla="*/ 78298 h 1565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56595" h="156595">
                    <a:moveTo>
                      <a:pt x="156595" y="78298"/>
                    </a:moveTo>
                    <a:cubicBezTo>
                      <a:pt x="156595" y="121540"/>
                      <a:pt x="121540" y="156595"/>
                      <a:pt x="78298" y="156595"/>
                    </a:cubicBezTo>
                    <a:cubicBezTo>
                      <a:pt x="35055" y="156595"/>
                      <a:pt x="0" y="121540"/>
                      <a:pt x="0" y="78298"/>
                    </a:cubicBezTo>
                    <a:cubicBezTo>
                      <a:pt x="0" y="35055"/>
                      <a:pt x="35055" y="0"/>
                      <a:pt x="78298" y="0"/>
                    </a:cubicBezTo>
                    <a:cubicBezTo>
                      <a:pt x="121540" y="0"/>
                      <a:pt x="156595" y="35055"/>
                      <a:pt x="156595" y="78298"/>
                    </a:cubicBezTo>
                    <a:close/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752" name="Gráfico 15">
            <a:extLst>
              <a:ext uri="{FF2B5EF4-FFF2-40B4-BE49-F238E27FC236}">
                <a16:creationId xmlns:a16="http://schemas.microsoft.com/office/drawing/2014/main" id="{A364BD54-DC79-A235-E2B0-D697BBA714E3}"/>
              </a:ext>
            </a:extLst>
          </p:cNvPr>
          <p:cNvGrpSpPr/>
          <p:nvPr/>
        </p:nvGrpSpPr>
        <p:grpSpPr>
          <a:xfrm>
            <a:off x="4889216" y="5753783"/>
            <a:ext cx="303385" cy="226271"/>
            <a:chOff x="4889216" y="5753783"/>
            <a:chExt cx="303385" cy="226271"/>
          </a:xfrm>
          <a:noFill/>
        </p:grpSpPr>
        <p:grpSp>
          <p:nvGrpSpPr>
            <p:cNvPr id="1753" name="Gráfico 15">
              <a:extLst>
                <a:ext uri="{FF2B5EF4-FFF2-40B4-BE49-F238E27FC236}">
                  <a16:creationId xmlns:a16="http://schemas.microsoft.com/office/drawing/2014/main" id="{F7DE586C-8B59-7E50-B557-A7F1616515EE}"/>
                </a:ext>
              </a:extLst>
            </p:cNvPr>
            <p:cNvGrpSpPr/>
            <p:nvPr/>
          </p:nvGrpSpPr>
          <p:grpSpPr>
            <a:xfrm>
              <a:off x="4889216" y="5753783"/>
              <a:ext cx="303385" cy="226271"/>
              <a:chOff x="4889216" y="5753783"/>
              <a:chExt cx="303385" cy="226271"/>
            </a:xfrm>
            <a:noFill/>
          </p:grpSpPr>
          <p:grpSp>
            <p:nvGrpSpPr>
              <p:cNvPr id="1754" name="Gráfico 15">
                <a:extLst>
                  <a:ext uri="{FF2B5EF4-FFF2-40B4-BE49-F238E27FC236}">
                    <a16:creationId xmlns:a16="http://schemas.microsoft.com/office/drawing/2014/main" id="{7DF88989-97F0-E95C-8C44-BBEF827CEFA8}"/>
                  </a:ext>
                </a:extLst>
              </p:cNvPr>
              <p:cNvGrpSpPr/>
              <p:nvPr/>
            </p:nvGrpSpPr>
            <p:grpSpPr>
              <a:xfrm>
                <a:off x="4889216" y="5753783"/>
                <a:ext cx="303385" cy="39230"/>
                <a:chOff x="4889216" y="5753783"/>
                <a:chExt cx="303385" cy="39230"/>
              </a:xfrm>
              <a:noFill/>
            </p:grpSpPr>
            <p:sp>
              <p:nvSpPr>
                <p:cNvPr id="1755" name="Forma livre: Forma 1754">
                  <a:extLst>
                    <a:ext uri="{FF2B5EF4-FFF2-40B4-BE49-F238E27FC236}">
                      <a16:creationId xmlns:a16="http://schemas.microsoft.com/office/drawing/2014/main" id="{39738984-1B10-A154-B0EB-036C03B351A4}"/>
                    </a:ext>
                  </a:extLst>
                </p:cNvPr>
                <p:cNvSpPr/>
                <p:nvPr/>
              </p:nvSpPr>
              <p:spPr>
                <a:xfrm>
                  <a:off x="4889216" y="5753783"/>
                  <a:ext cx="39230" cy="39230"/>
                </a:xfrm>
                <a:custGeom>
                  <a:avLst/>
                  <a:gdLst>
                    <a:gd name="connsiteX0" fmla="*/ 0 w 39230"/>
                    <a:gd name="connsiteY0" fmla="*/ 39231 h 39230"/>
                    <a:gd name="connsiteX1" fmla="*/ 0 w 39230"/>
                    <a:gd name="connsiteY1" fmla="*/ 0 h 39230"/>
                    <a:gd name="connsiteX2" fmla="*/ 39231 w 39230"/>
                    <a:gd name="connsiteY2" fmla="*/ 0 h 3923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39230" h="39230">
                      <a:moveTo>
                        <a:pt x="0" y="39231"/>
                      </a:moveTo>
                      <a:lnTo>
                        <a:pt x="0" y="0"/>
                      </a:lnTo>
                      <a:lnTo>
                        <a:pt x="39231" y="0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756" name="Forma livre: Forma 1755">
                  <a:extLst>
                    <a:ext uri="{FF2B5EF4-FFF2-40B4-BE49-F238E27FC236}">
                      <a16:creationId xmlns:a16="http://schemas.microsoft.com/office/drawing/2014/main" id="{7EB163BD-F610-031E-7F77-E80AB7A7F863}"/>
                    </a:ext>
                  </a:extLst>
                </p:cNvPr>
                <p:cNvSpPr/>
                <p:nvPr/>
              </p:nvSpPr>
              <p:spPr>
                <a:xfrm>
                  <a:off x="5153370" y="5753795"/>
                  <a:ext cx="39230" cy="39219"/>
                </a:xfrm>
                <a:custGeom>
                  <a:avLst/>
                  <a:gdLst>
                    <a:gd name="connsiteX0" fmla="*/ 0 w 39230"/>
                    <a:gd name="connsiteY0" fmla="*/ 0 h 39219"/>
                    <a:gd name="connsiteX1" fmla="*/ 39231 w 39230"/>
                    <a:gd name="connsiteY1" fmla="*/ 0 h 39219"/>
                    <a:gd name="connsiteX2" fmla="*/ 39231 w 39230"/>
                    <a:gd name="connsiteY2" fmla="*/ 39219 h 3921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39230" h="39219">
                      <a:moveTo>
                        <a:pt x="0" y="0"/>
                      </a:moveTo>
                      <a:lnTo>
                        <a:pt x="39231" y="0"/>
                      </a:lnTo>
                      <a:lnTo>
                        <a:pt x="39231" y="39219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1757" name="Gráfico 15">
                <a:extLst>
                  <a:ext uri="{FF2B5EF4-FFF2-40B4-BE49-F238E27FC236}">
                    <a16:creationId xmlns:a16="http://schemas.microsoft.com/office/drawing/2014/main" id="{57ED72BC-B086-E64B-BFBE-FF0EBAA46ABF}"/>
                  </a:ext>
                </a:extLst>
              </p:cNvPr>
              <p:cNvGrpSpPr/>
              <p:nvPr/>
            </p:nvGrpSpPr>
            <p:grpSpPr>
              <a:xfrm>
                <a:off x="4889216" y="5940812"/>
                <a:ext cx="303385" cy="39242"/>
                <a:chOff x="4889216" y="5940812"/>
                <a:chExt cx="303385" cy="39242"/>
              </a:xfrm>
              <a:noFill/>
            </p:grpSpPr>
            <p:sp>
              <p:nvSpPr>
                <p:cNvPr id="1758" name="Forma livre: Forma 1757">
                  <a:extLst>
                    <a:ext uri="{FF2B5EF4-FFF2-40B4-BE49-F238E27FC236}">
                      <a16:creationId xmlns:a16="http://schemas.microsoft.com/office/drawing/2014/main" id="{AA2DFEF2-78AE-8F1A-BA6D-1BA1FA7F90A9}"/>
                    </a:ext>
                  </a:extLst>
                </p:cNvPr>
                <p:cNvSpPr/>
                <p:nvPr/>
              </p:nvSpPr>
              <p:spPr>
                <a:xfrm>
                  <a:off x="5153359" y="5940812"/>
                  <a:ext cx="39242" cy="39242"/>
                </a:xfrm>
                <a:custGeom>
                  <a:avLst/>
                  <a:gdLst>
                    <a:gd name="connsiteX0" fmla="*/ 39242 w 39242"/>
                    <a:gd name="connsiteY0" fmla="*/ 0 h 39242"/>
                    <a:gd name="connsiteX1" fmla="*/ 39242 w 39242"/>
                    <a:gd name="connsiteY1" fmla="*/ 39243 h 39242"/>
                    <a:gd name="connsiteX2" fmla="*/ 0 w 39242"/>
                    <a:gd name="connsiteY2" fmla="*/ 39243 h 3924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39242" h="39242">
                      <a:moveTo>
                        <a:pt x="39242" y="0"/>
                      </a:moveTo>
                      <a:lnTo>
                        <a:pt x="39242" y="39243"/>
                      </a:lnTo>
                      <a:lnTo>
                        <a:pt x="0" y="39243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759" name="Forma livre: Forma 1758">
                  <a:extLst>
                    <a:ext uri="{FF2B5EF4-FFF2-40B4-BE49-F238E27FC236}">
                      <a16:creationId xmlns:a16="http://schemas.microsoft.com/office/drawing/2014/main" id="{748F5E34-10FF-DE1D-5F3C-171CC6DCCC67}"/>
                    </a:ext>
                  </a:extLst>
                </p:cNvPr>
                <p:cNvSpPr/>
                <p:nvPr/>
              </p:nvSpPr>
              <p:spPr>
                <a:xfrm>
                  <a:off x="4889216" y="5940812"/>
                  <a:ext cx="39219" cy="39230"/>
                </a:xfrm>
                <a:custGeom>
                  <a:avLst/>
                  <a:gdLst>
                    <a:gd name="connsiteX0" fmla="*/ 39219 w 39219"/>
                    <a:gd name="connsiteY0" fmla="*/ 39231 h 39230"/>
                    <a:gd name="connsiteX1" fmla="*/ 0 w 39219"/>
                    <a:gd name="connsiteY1" fmla="*/ 39231 h 39230"/>
                    <a:gd name="connsiteX2" fmla="*/ 0 w 39219"/>
                    <a:gd name="connsiteY2" fmla="*/ 0 h 3923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39219" h="39230">
                      <a:moveTo>
                        <a:pt x="39219" y="39231"/>
                      </a:moveTo>
                      <a:lnTo>
                        <a:pt x="0" y="39231"/>
                      </a:lnTo>
                      <a:lnTo>
                        <a:pt x="0" y="0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grpSp>
          <p:nvGrpSpPr>
            <p:cNvPr id="1760" name="Gráfico 15">
              <a:extLst>
                <a:ext uri="{FF2B5EF4-FFF2-40B4-BE49-F238E27FC236}">
                  <a16:creationId xmlns:a16="http://schemas.microsoft.com/office/drawing/2014/main" id="{37E9248D-3845-EFBE-3F07-1E2FC22D5183}"/>
                </a:ext>
              </a:extLst>
            </p:cNvPr>
            <p:cNvGrpSpPr/>
            <p:nvPr/>
          </p:nvGrpSpPr>
          <p:grpSpPr>
            <a:xfrm>
              <a:off x="4939575" y="5792054"/>
              <a:ext cx="202655" cy="149718"/>
              <a:chOff x="4939575" y="5792054"/>
              <a:chExt cx="202655" cy="149718"/>
            </a:xfrm>
          </p:grpSpPr>
          <p:sp>
            <p:nvSpPr>
              <p:cNvPr id="1761" name="Forma livre: Forma 1760">
                <a:extLst>
                  <a:ext uri="{FF2B5EF4-FFF2-40B4-BE49-F238E27FC236}">
                    <a16:creationId xmlns:a16="http://schemas.microsoft.com/office/drawing/2014/main" id="{FB9CAFAA-8C49-FCF1-0D75-8AC984E19DC7}"/>
                  </a:ext>
                </a:extLst>
              </p:cNvPr>
              <p:cNvSpPr/>
              <p:nvPr/>
            </p:nvSpPr>
            <p:spPr>
              <a:xfrm>
                <a:off x="4939575" y="5792054"/>
                <a:ext cx="1171" cy="149718"/>
              </a:xfrm>
              <a:custGeom>
                <a:avLst/>
                <a:gdLst>
                  <a:gd name="connsiteX0" fmla="*/ 0 w 1171"/>
                  <a:gd name="connsiteY0" fmla="*/ 0 h 149718"/>
                  <a:gd name="connsiteX1" fmla="*/ 0 w 1171"/>
                  <a:gd name="connsiteY1" fmla="*/ 149719 h 1497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71" h="149718">
                    <a:moveTo>
                      <a:pt x="0" y="0"/>
                    </a:moveTo>
                    <a:lnTo>
                      <a:pt x="0" y="149719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762" name="Forma livre: Forma 1761">
                <a:extLst>
                  <a:ext uri="{FF2B5EF4-FFF2-40B4-BE49-F238E27FC236}">
                    <a16:creationId xmlns:a16="http://schemas.microsoft.com/office/drawing/2014/main" id="{075F9C75-E8DC-4872-889D-CFECEA8C0F14}"/>
                  </a:ext>
                </a:extLst>
              </p:cNvPr>
              <p:cNvSpPr/>
              <p:nvPr/>
            </p:nvSpPr>
            <p:spPr>
              <a:xfrm>
                <a:off x="5142230" y="5792054"/>
                <a:ext cx="1171" cy="149718"/>
              </a:xfrm>
              <a:custGeom>
                <a:avLst/>
                <a:gdLst>
                  <a:gd name="connsiteX0" fmla="*/ 0 w 1171"/>
                  <a:gd name="connsiteY0" fmla="*/ 0 h 149718"/>
                  <a:gd name="connsiteX1" fmla="*/ 0 w 1171"/>
                  <a:gd name="connsiteY1" fmla="*/ 149719 h 1497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71" h="149718">
                    <a:moveTo>
                      <a:pt x="0" y="0"/>
                    </a:moveTo>
                    <a:lnTo>
                      <a:pt x="0" y="149719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763" name="Forma livre: Forma 1762">
                <a:extLst>
                  <a:ext uri="{FF2B5EF4-FFF2-40B4-BE49-F238E27FC236}">
                    <a16:creationId xmlns:a16="http://schemas.microsoft.com/office/drawing/2014/main" id="{AF9EE0E4-6C55-32DF-F51D-BFC06418CE78}"/>
                  </a:ext>
                </a:extLst>
              </p:cNvPr>
              <p:cNvSpPr/>
              <p:nvPr/>
            </p:nvSpPr>
            <p:spPr>
              <a:xfrm>
                <a:off x="4968521" y="5792054"/>
                <a:ext cx="1171" cy="116415"/>
              </a:xfrm>
              <a:custGeom>
                <a:avLst/>
                <a:gdLst>
                  <a:gd name="connsiteX0" fmla="*/ 0 w 1171"/>
                  <a:gd name="connsiteY0" fmla="*/ 0 h 116415"/>
                  <a:gd name="connsiteX1" fmla="*/ 0 w 1171"/>
                  <a:gd name="connsiteY1" fmla="*/ 116416 h 1164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71" h="116415">
                    <a:moveTo>
                      <a:pt x="0" y="0"/>
                    </a:moveTo>
                    <a:lnTo>
                      <a:pt x="0" y="116416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764" name="Forma livre: Forma 1763">
                <a:extLst>
                  <a:ext uri="{FF2B5EF4-FFF2-40B4-BE49-F238E27FC236}">
                    <a16:creationId xmlns:a16="http://schemas.microsoft.com/office/drawing/2014/main" id="{031E8B01-D41E-61CA-3202-E63F26F75550}"/>
                  </a:ext>
                </a:extLst>
              </p:cNvPr>
              <p:cNvSpPr/>
              <p:nvPr/>
            </p:nvSpPr>
            <p:spPr>
              <a:xfrm>
                <a:off x="5026424" y="5792054"/>
                <a:ext cx="1171" cy="116415"/>
              </a:xfrm>
              <a:custGeom>
                <a:avLst/>
                <a:gdLst>
                  <a:gd name="connsiteX0" fmla="*/ 0 w 1171"/>
                  <a:gd name="connsiteY0" fmla="*/ 0 h 116415"/>
                  <a:gd name="connsiteX1" fmla="*/ 0 w 1171"/>
                  <a:gd name="connsiteY1" fmla="*/ 116416 h 1164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71" h="116415">
                    <a:moveTo>
                      <a:pt x="0" y="0"/>
                    </a:moveTo>
                    <a:lnTo>
                      <a:pt x="0" y="116416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765" name="Forma livre: Forma 1764">
                <a:extLst>
                  <a:ext uri="{FF2B5EF4-FFF2-40B4-BE49-F238E27FC236}">
                    <a16:creationId xmlns:a16="http://schemas.microsoft.com/office/drawing/2014/main" id="{42D68CE4-7498-F7EB-F44E-4B931AB3E558}"/>
                  </a:ext>
                </a:extLst>
              </p:cNvPr>
              <p:cNvSpPr/>
              <p:nvPr/>
            </p:nvSpPr>
            <p:spPr>
              <a:xfrm>
                <a:off x="5055381" y="5792054"/>
                <a:ext cx="1171" cy="116415"/>
              </a:xfrm>
              <a:custGeom>
                <a:avLst/>
                <a:gdLst>
                  <a:gd name="connsiteX0" fmla="*/ 0 w 1171"/>
                  <a:gd name="connsiteY0" fmla="*/ 0 h 116415"/>
                  <a:gd name="connsiteX1" fmla="*/ 0 w 1171"/>
                  <a:gd name="connsiteY1" fmla="*/ 116416 h 1164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71" h="116415">
                    <a:moveTo>
                      <a:pt x="0" y="0"/>
                    </a:moveTo>
                    <a:lnTo>
                      <a:pt x="0" y="116416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766" name="Forma livre: Forma 1765">
                <a:extLst>
                  <a:ext uri="{FF2B5EF4-FFF2-40B4-BE49-F238E27FC236}">
                    <a16:creationId xmlns:a16="http://schemas.microsoft.com/office/drawing/2014/main" id="{06D019A5-6FEA-F58C-FB80-4B94B4297341}"/>
                  </a:ext>
                </a:extLst>
              </p:cNvPr>
              <p:cNvSpPr/>
              <p:nvPr/>
            </p:nvSpPr>
            <p:spPr>
              <a:xfrm>
                <a:off x="5084327" y="5792054"/>
                <a:ext cx="1171" cy="116415"/>
              </a:xfrm>
              <a:custGeom>
                <a:avLst/>
                <a:gdLst>
                  <a:gd name="connsiteX0" fmla="*/ 0 w 1171"/>
                  <a:gd name="connsiteY0" fmla="*/ 0 h 116415"/>
                  <a:gd name="connsiteX1" fmla="*/ 0 w 1171"/>
                  <a:gd name="connsiteY1" fmla="*/ 116416 h 1164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71" h="116415">
                    <a:moveTo>
                      <a:pt x="0" y="0"/>
                    </a:moveTo>
                    <a:lnTo>
                      <a:pt x="0" y="116416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767" name="Forma livre: Forma 1766">
                <a:extLst>
                  <a:ext uri="{FF2B5EF4-FFF2-40B4-BE49-F238E27FC236}">
                    <a16:creationId xmlns:a16="http://schemas.microsoft.com/office/drawing/2014/main" id="{D5C77877-0C81-1B08-AD4E-76C5D02058A6}"/>
                  </a:ext>
                </a:extLst>
              </p:cNvPr>
              <p:cNvSpPr/>
              <p:nvPr/>
            </p:nvSpPr>
            <p:spPr>
              <a:xfrm>
                <a:off x="5113285" y="5792054"/>
                <a:ext cx="1171" cy="116415"/>
              </a:xfrm>
              <a:custGeom>
                <a:avLst/>
                <a:gdLst>
                  <a:gd name="connsiteX0" fmla="*/ 0 w 1171"/>
                  <a:gd name="connsiteY0" fmla="*/ 0 h 116415"/>
                  <a:gd name="connsiteX1" fmla="*/ 0 w 1171"/>
                  <a:gd name="connsiteY1" fmla="*/ 116416 h 1164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71" h="116415">
                    <a:moveTo>
                      <a:pt x="0" y="0"/>
                    </a:moveTo>
                    <a:lnTo>
                      <a:pt x="0" y="116416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768" name="Forma livre: Forma 1767">
                <a:extLst>
                  <a:ext uri="{FF2B5EF4-FFF2-40B4-BE49-F238E27FC236}">
                    <a16:creationId xmlns:a16="http://schemas.microsoft.com/office/drawing/2014/main" id="{8544CA9B-A6BD-3FC7-1E2F-E9BD56F6BA16}"/>
                  </a:ext>
                </a:extLst>
              </p:cNvPr>
              <p:cNvSpPr/>
              <p:nvPr/>
            </p:nvSpPr>
            <p:spPr>
              <a:xfrm>
                <a:off x="4997478" y="5792054"/>
                <a:ext cx="1171" cy="116415"/>
              </a:xfrm>
              <a:custGeom>
                <a:avLst/>
                <a:gdLst>
                  <a:gd name="connsiteX0" fmla="*/ 0 w 1171"/>
                  <a:gd name="connsiteY0" fmla="*/ 0 h 116415"/>
                  <a:gd name="connsiteX1" fmla="*/ 0 w 1171"/>
                  <a:gd name="connsiteY1" fmla="*/ 116416 h 1164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71" h="116415">
                    <a:moveTo>
                      <a:pt x="0" y="0"/>
                    </a:moveTo>
                    <a:lnTo>
                      <a:pt x="0" y="116416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769" name="Gráfico 15">
            <a:extLst>
              <a:ext uri="{FF2B5EF4-FFF2-40B4-BE49-F238E27FC236}">
                <a16:creationId xmlns:a16="http://schemas.microsoft.com/office/drawing/2014/main" id="{4567D67C-F0A6-6BAE-CE9A-DF977C18014F}"/>
              </a:ext>
            </a:extLst>
          </p:cNvPr>
          <p:cNvGrpSpPr/>
          <p:nvPr/>
        </p:nvGrpSpPr>
        <p:grpSpPr>
          <a:xfrm>
            <a:off x="4899255" y="4143468"/>
            <a:ext cx="283307" cy="319576"/>
            <a:chOff x="4899255" y="4143468"/>
            <a:chExt cx="283307" cy="319576"/>
          </a:xfrm>
          <a:noFill/>
        </p:grpSpPr>
        <p:grpSp>
          <p:nvGrpSpPr>
            <p:cNvPr id="1770" name="Gráfico 15">
              <a:extLst>
                <a:ext uri="{FF2B5EF4-FFF2-40B4-BE49-F238E27FC236}">
                  <a16:creationId xmlns:a16="http://schemas.microsoft.com/office/drawing/2014/main" id="{BF5759BA-8BDE-5269-679D-DE1A72927B31}"/>
                </a:ext>
              </a:extLst>
            </p:cNvPr>
            <p:cNvGrpSpPr/>
            <p:nvPr/>
          </p:nvGrpSpPr>
          <p:grpSpPr>
            <a:xfrm>
              <a:off x="4951893" y="4264200"/>
              <a:ext cx="146215" cy="146221"/>
              <a:chOff x="4951893" y="4264200"/>
              <a:chExt cx="146215" cy="146221"/>
            </a:xfrm>
            <a:noFill/>
          </p:grpSpPr>
          <p:sp>
            <p:nvSpPr>
              <p:cNvPr id="1771" name="Forma livre: Forma 1770">
                <a:extLst>
                  <a:ext uri="{FF2B5EF4-FFF2-40B4-BE49-F238E27FC236}">
                    <a16:creationId xmlns:a16="http://schemas.microsoft.com/office/drawing/2014/main" id="{981F9C79-BF68-34D8-B80B-A64BB84E4C65}"/>
                  </a:ext>
                </a:extLst>
              </p:cNvPr>
              <p:cNvSpPr/>
              <p:nvPr/>
            </p:nvSpPr>
            <p:spPr>
              <a:xfrm>
                <a:off x="5055452" y="4367762"/>
                <a:ext cx="6079" cy="6067"/>
              </a:xfrm>
              <a:custGeom>
                <a:avLst/>
                <a:gdLst>
                  <a:gd name="connsiteX0" fmla="*/ 0 w 6079"/>
                  <a:gd name="connsiteY0" fmla="*/ 0 h 6067"/>
                  <a:gd name="connsiteX1" fmla="*/ 6080 w 6079"/>
                  <a:gd name="connsiteY1" fmla="*/ 6068 h 60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079" h="6067">
                    <a:moveTo>
                      <a:pt x="0" y="0"/>
                    </a:moveTo>
                    <a:lnTo>
                      <a:pt x="6080" y="6068"/>
                    </a:lnTo>
                  </a:path>
                </a:pathLst>
              </a:custGeom>
              <a:ln w="6350" cap="sq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1772" name="Gráfico 15">
                <a:extLst>
                  <a:ext uri="{FF2B5EF4-FFF2-40B4-BE49-F238E27FC236}">
                    <a16:creationId xmlns:a16="http://schemas.microsoft.com/office/drawing/2014/main" id="{FDC6DAEF-6F4C-0673-7F41-FE0D0FB662AA}"/>
                  </a:ext>
                </a:extLst>
              </p:cNvPr>
              <p:cNvGrpSpPr/>
              <p:nvPr/>
            </p:nvGrpSpPr>
            <p:grpSpPr>
              <a:xfrm>
                <a:off x="4951893" y="4264200"/>
                <a:ext cx="146215" cy="146221"/>
                <a:chOff x="4951893" y="4264200"/>
                <a:chExt cx="146215" cy="146221"/>
              </a:xfrm>
              <a:noFill/>
            </p:grpSpPr>
            <p:sp>
              <p:nvSpPr>
                <p:cNvPr id="1773" name="Forma livre: Forma 1772">
                  <a:extLst>
                    <a:ext uri="{FF2B5EF4-FFF2-40B4-BE49-F238E27FC236}">
                      <a16:creationId xmlns:a16="http://schemas.microsoft.com/office/drawing/2014/main" id="{BF04EB98-2668-AB21-63A2-3D569EB822F5}"/>
                    </a:ext>
                  </a:extLst>
                </p:cNvPr>
                <p:cNvSpPr/>
                <p:nvPr/>
              </p:nvSpPr>
              <p:spPr>
                <a:xfrm rot="-2700000">
                  <a:off x="4957874" y="4322916"/>
                  <a:ext cx="28898" cy="28887"/>
                </a:xfrm>
                <a:custGeom>
                  <a:avLst/>
                  <a:gdLst>
                    <a:gd name="connsiteX0" fmla="*/ 0 w 28898"/>
                    <a:gd name="connsiteY0" fmla="*/ 0 h 28887"/>
                    <a:gd name="connsiteX1" fmla="*/ 28899 w 28898"/>
                    <a:gd name="connsiteY1" fmla="*/ 0 h 28887"/>
                    <a:gd name="connsiteX2" fmla="*/ 28899 w 28898"/>
                    <a:gd name="connsiteY2" fmla="*/ 28887 h 28887"/>
                    <a:gd name="connsiteX3" fmla="*/ 0 w 28898"/>
                    <a:gd name="connsiteY3" fmla="*/ 28887 h 288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28898" h="28887">
                      <a:moveTo>
                        <a:pt x="0" y="0"/>
                      </a:moveTo>
                      <a:lnTo>
                        <a:pt x="28899" y="0"/>
                      </a:lnTo>
                      <a:lnTo>
                        <a:pt x="28899" y="28887"/>
                      </a:lnTo>
                      <a:lnTo>
                        <a:pt x="0" y="28887"/>
                      </a:lnTo>
                      <a:close/>
                    </a:path>
                  </a:pathLst>
                </a:custGeom>
                <a:noFill/>
                <a:ln w="6350" cap="sq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774" name="Forma livre: Forma 1773">
                  <a:extLst>
                    <a:ext uri="{FF2B5EF4-FFF2-40B4-BE49-F238E27FC236}">
                      <a16:creationId xmlns:a16="http://schemas.microsoft.com/office/drawing/2014/main" id="{24E1E43A-EC3D-436F-EE15-C3EFA424A912}"/>
                    </a:ext>
                  </a:extLst>
                </p:cNvPr>
                <p:cNvSpPr/>
                <p:nvPr/>
              </p:nvSpPr>
              <p:spPr>
                <a:xfrm rot="-2700600">
                  <a:off x="5010591" y="4270185"/>
                  <a:ext cx="28898" cy="28898"/>
                </a:xfrm>
                <a:custGeom>
                  <a:avLst/>
                  <a:gdLst>
                    <a:gd name="connsiteX0" fmla="*/ 0 w 28898"/>
                    <a:gd name="connsiteY0" fmla="*/ 0 h 28898"/>
                    <a:gd name="connsiteX1" fmla="*/ 28899 w 28898"/>
                    <a:gd name="connsiteY1" fmla="*/ 0 h 28898"/>
                    <a:gd name="connsiteX2" fmla="*/ 28899 w 28898"/>
                    <a:gd name="connsiteY2" fmla="*/ 28899 h 28898"/>
                    <a:gd name="connsiteX3" fmla="*/ 0 w 28898"/>
                    <a:gd name="connsiteY3" fmla="*/ 28899 h 288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28898" h="28898">
                      <a:moveTo>
                        <a:pt x="0" y="0"/>
                      </a:moveTo>
                      <a:lnTo>
                        <a:pt x="28899" y="0"/>
                      </a:lnTo>
                      <a:lnTo>
                        <a:pt x="28899" y="28899"/>
                      </a:lnTo>
                      <a:lnTo>
                        <a:pt x="0" y="28899"/>
                      </a:lnTo>
                      <a:close/>
                    </a:path>
                  </a:pathLst>
                </a:custGeom>
                <a:noFill/>
                <a:ln w="6350" cap="sq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775" name="Forma livre: Forma 1774">
                  <a:extLst>
                    <a:ext uri="{FF2B5EF4-FFF2-40B4-BE49-F238E27FC236}">
                      <a16:creationId xmlns:a16="http://schemas.microsoft.com/office/drawing/2014/main" id="{8EDB1BD6-7BC8-801B-C787-F88B020F9FB1}"/>
                    </a:ext>
                  </a:extLst>
                </p:cNvPr>
                <p:cNvSpPr/>
                <p:nvPr/>
              </p:nvSpPr>
              <p:spPr>
                <a:xfrm rot="-2700000">
                  <a:off x="5010503" y="4375538"/>
                  <a:ext cx="28898" cy="28898"/>
                </a:xfrm>
                <a:custGeom>
                  <a:avLst/>
                  <a:gdLst>
                    <a:gd name="connsiteX0" fmla="*/ 0 w 28898"/>
                    <a:gd name="connsiteY0" fmla="*/ 0 h 28898"/>
                    <a:gd name="connsiteX1" fmla="*/ 28899 w 28898"/>
                    <a:gd name="connsiteY1" fmla="*/ 0 h 28898"/>
                    <a:gd name="connsiteX2" fmla="*/ 28899 w 28898"/>
                    <a:gd name="connsiteY2" fmla="*/ 28899 h 28898"/>
                    <a:gd name="connsiteX3" fmla="*/ 0 w 28898"/>
                    <a:gd name="connsiteY3" fmla="*/ 28899 h 288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28898" h="28898">
                      <a:moveTo>
                        <a:pt x="0" y="0"/>
                      </a:moveTo>
                      <a:lnTo>
                        <a:pt x="28899" y="0"/>
                      </a:lnTo>
                      <a:lnTo>
                        <a:pt x="28899" y="28899"/>
                      </a:lnTo>
                      <a:lnTo>
                        <a:pt x="0" y="28899"/>
                      </a:lnTo>
                      <a:close/>
                    </a:path>
                  </a:pathLst>
                </a:custGeom>
                <a:noFill/>
                <a:ln w="6350" cap="sq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776" name="Forma livre: Forma 1775">
                  <a:extLst>
                    <a:ext uri="{FF2B5EF4-FFF2-40B4-BE49-F238E27FC236}">
                      <a16:creationId xmlns:a16="http://schemas.microsoft.com/office/drawing/2014/main" id="{4499A851-3FD1-FC9E-8C27-A6F45CD6D035}"/>
                    </a:ext>
                  </a:extLst>
                </p:cNvPr>
                <p:cNvSpPr/>
                <p:nvPr/>
              </p:nvSpPr>
              <p:spPr>
                <a:xfrm rot="-2700000">
                  <a:off x="5063221" y="4322811"/>
                  <a:ext cx="28898" cy="28910"/>
                </a:xfrm>
                <a:custGeom>
                  <a:avLst/>
                  <a:gdLst>
                    <a:gd name="connsiteX0" fmla="*/ 0 w 28898"/>
                    <a:gd name="connsiteY0" fmla="*/ 0 h 28910"/>
                    <a:gd name="connsiteX1" fmla="*/ 28899 w 28898"/>
                    <a:gd name="connsiteY1" fmla="*/ 0 h 28910"/>
                    <a:gd name="connsiteX2" fmla="*/ 28899 w 28898"/>
                    <a:gd name="connsiteY2" fmla="*/ 28911 h 28910"/>
                    <a:gd name="connsiteX3" fmla="*/ 0 w 28898"/>
                    <a:gd name="connsiteY3" fmla="*/ 28911 h 2891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28898" h="28910">
                      <a:moveTo>
                        <a:pt x="0" y="0"/>
                      </a:moveTo>
                      <a:lnTo>
                        <a:pt x="28899" y="0"/>
                      </a:lnTo>
                      <a:lnTo>
                        <a:pt x="28899" y="28911"/>
                      </a:lnTo>
                      <a:lnTo>
                        <a:pt x="0" y="28911"/>
                      </a:lnTo>
                      <a:close/>
                    </a:path>
                  </a:pathLst>
                </a:custGeom>
                <a:noFill/>
                <a:ln w="6350" cap="sq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777" name="Forma livre: Forma 1776">
                  <a:extLst>
                    <a:ext uri="{FF2B5EF4-FFF2-40B4-BE49-F238E27FC236}">
                      <a16:creationId xmlns:a16="http://schemas.microsoft.com/office/drawing/2014/main" id="{D9E37B6A-71F8-C4B0-1275-3222B02834BE}"/>
                    </a:ext>
                  </a:extLst>
                </p:cNvPr>
                <p:cNvSpPr/>
                <p:nvPr/>
              </p:nvSpPr>
              <p:spPr>
                <a:xfrm>
                  <a:off x="4988470" y="4300768"/>
                  <a:ext cx="20429" cy="20429"/>
                </a:xfrm>
                <a:custGeom>
                  <a:avLst/>
                  <a:gdLst>
                    <a:gd name="connsiteX0" fmla="*/ 0 w 20429"/>
                    <a:gd name="connsiteY0" fmla="*/ 0 h 20429"/>
                    <a:gd name="connsiteX1" fmla="*/ 20430 w 20429"/>
                    <a:gd name="connsiteY1" fmla="*/ 20430 h 2042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0429" h="20429">
                      <a:moveTo>
                        <a:pt x="0" y="0"/>
                      </a:moveTo>
                      <a:lnTo>
                        <a:pt x="20430" y="20430"/>
                      </a:lnTo>
                    </a:path>
                  </a:pathLst>
                </a:custGeom>
                <a:ln w="6350" cap="sq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778" name="Forma livre: Forma 1777">
                  <a:extLst>
                    <a:ext uri="{FF2B5EF4-FFF2-40B4-BE49-F238E27FC236}">
                      <a16:creationId xmlns:a16="http://schemas.microsoft.com/office/drawing/2014/main" id="{394F41AE-0A7D-B0C6-AD89-27BB9723A6DE}"/>
                    </a:ext>
                  </a:extLst>
                </p:cNvPr>
                <p:cNvSpPr/>
                <p:nvPr/>
              </p:nvSpPr>
              <p:spPr>
                <a:xfrm>
                  <a:off x="5012320" y="4337305"/>
                  <a:ext cx="27399" cy="14713"/>
                </a:xfrm>
                <a:custGeom>
                  <a:avLst/>
                  <a:gdLst>
                    <a:gd name="connsiteX0" fmla="*/ 0 w 27399"/>
                    <a:gd name="connsiteY0" fmla="*/ 12675 h 14713"/>
                    <a:gd name="connsiteX1" fmla="*/ 12675 w 27399"/>
                    <a:gd name="connsiteY1" fmla="*/ 0 h 14713"/>
                    <a:gd name="connsiteX2" fmla="*/ 27399 w 27399"/>
                    <a:gd name="connsiteY2" fmla="*/ 14713 h 1471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27399" h="14713">
                      <a:moveTo>
                        <a:pt x="0" y="12675"/>
                      </a:moveTo>
                      <a:lnTo>
                        <a:pt x="12675" y="0"/>
                      </a:lnTo>
                      <a:lnTo>
                        <a:pt x="27399" y="14713"/>
                      </a:lnTo>
                    </a:path>
                  </a:pathLst>
                </a:custGeom>
                <a:noFill/>
                <a:ln w="6350" cap="sq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779" name="Forma livre: Forma 1778">
                  <a:extLst>
                    <a:ext uri="{FF2B5EF4-FFF2-40B4-BE49-F238E27FC236}">
                      <a16:creationId xmlns:a16="http://schemas.microsoft.com/office/drawing/2014/main" id="{D704B110-2DA2-A542-3BAA-DCEAF6C1FC6D}"/>
                    </a:ext>
                  </a:extLst>
                </p:cNvPr>
                <p:cNvSpPr/>
                <p:nvPr/>
              </p:nvSpPr>
              <p:spPr>
                <a:xfrm>
                  <a:off x="4988423" y="4365840"/>
                  <a:ext cx="8035" cy="8035"/>
                </a:xfrm>
                <a:custGeom>
                  <a:avLst/>
                  <a:gdLst>
                    <a:gd name="connsiteX0" fmla="*/ 0 w 8035"/>
                    <a:gd name="connsiteY0" fmla="*/ 8036 h 8035"/>
                    <a:gd name="connsiteX1" fmla="*/ 8036 w 8035"/>
                    <a:gd name="connsiteY1" fmla="*/ 0 h 803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8035" h="8035">
                      <a:moveTo>
                        <a:pt x="0" y="8036"/>
                      </a:moveTo>
                      <a:lnTo>
                        <a:pt x="8036" y="0"/>
                      </a:lnTo>
                    </a:path>
                  </a:pathLst>
                </a:custGeom>
                <a:ln w="6350" cap="sq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780" name="Forma livre: Forma 1779">
                  <a:extLst>
                    <a:ext uri="{FF2B5EF4-FFF2-40B4-BE49-F238E27FC236}">
                      <a16:creationId xmlns:a16="http://schemas.microsoft.com/office/drawing/2014/main" id="{278097FA-BB13-9923-CA57-8CBD0E31F156}"/>
                    </a:ext>
                  </a:extLst>
                </p:cNvPr>
                <p:cNvSpPr/>
                <p:nvPr/>
              </p:nvSpPr>
              <p:spPr>
                <a:xfrm>
                  <a:off x="5041125" y="4300745"/>
                  <a:ext cx="20429" cy="20429"/>
                </a:xfrm>
                <a:custGeom>
                  <a:avLst/>
                  <a:gdLst>
                    <a:gd name="connsiteX0" fmla="*/ 0 w 20429"/>
                    <a:gd name="connsiteY0" fmla="*/ 20430 h 20429"/>
                    <a:gd name="connsiteX1" fmla="*/ 20430 w 20429"/>
                    <a:gd name="connsiteY1" fmla="*/ 0 h 2042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0429" h="20429">
                      <a:moveTo>
                        <a:pt x="0" y="20430"/>
                      </a:moveTo>
                      <a:lnTo>
                        <a:pt x="20430" y="0"/>
                      </a:lnTo>
                    </a:path>
                  </a:pathLst>
                </a:custGeom>
                <a:ln w="6350" cap="sq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sp>
          <p:nvSpPr>
            <p:cNvPr id="1781" name="Forma livre: Forma 1780">
              <a:extLst>
                <a:ext uri="{FF2B5EF4-FFF2-40B4-BE49-F238E27FC236}">
                  <a16:creationId xmlns:a16="http://schemas.microsoft.com/office/drawing/2014/main" id="{0964BE3F-2D2F-C255-5388-AD74DA1F64F1}"/>
                </a:ext>
              </a:extLst>
            </p:cNvPr>
            <p:cNvSpPr/>
            <p:nvPr/>
          </p:nvSpPr>
          <p:spPr>
            <a:xfrm>
              <a:off x="4954142" y="4143468"/>
              <a:ext cx="157478" cy="103808"/>
            </a:xfrm>
            <a:custGeom>
              <a:avLst/>
              <a:gdLst>
                <a:gd name="connsiteX0" fmla="*/ 157479 w 157478"/>
                <a:gd name="connsiteY0" fmla="*/ 101880 h 103808"/>
                <a:gd name="connsiteX1" fmla="*/ 63707 w 157478"/>
                <a:gd name="connsiteY1" fmla="*/ 79026 h 103808"/>
                <a:gd name="connsiteX2" fmla="*/ 1540 w 157478"/>
                <a:gd name="connsiteY2" fmla="*/ 6445 h 103808"/>
                <a:gd name="connsiteX3" fmla="*/ 82684 w 157478"/>
                <a:gd name="connsiteY3" fmla="*/ 21275 h 1038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7478" h="103808">
                  <a:moveTo>
                    <a:pt x="157479" y="101880"/>
                  </a:moveTo>
                  <a:cubicBezTo>
                    <a:pt x="140271" y="106215"/>
                    <a:pt x="106569" y="105055"/>
                    <a:pt x="63707" y="79026"/>
                  </a:cubicBezTo>
                  <a:cubicBezTo>
                    <a:pt x="20845" y="52997"/>
                    <a:pt x="-7000" y="20490"/>
                    <a:pt x="1540" y="6445"/>
                  </a:cubicBezTo>
                  <a:cubicBezTo>
                    <a:pt x="9283" y="-6300"/>
                    <a:pt x="44261" y="483"/>
                    <a:pt x="82684" y="21275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82" name="Forma livre: Forma 1781">
              <a:extLst>
                <a:ext uri="{FF2B5EF4-FFF2-40B4-BE49-F238E27FC236}">
                  <a16:creationId xmlns:a16="http://schemas.microsoft.com/office/drawing/2014/main" id="{C31E36C1-D780-DF69-5DB1-51AA64D7DFFD}"/>
                </a:ext>
              </a:extLst>
            </p:cNvPr>
            <p:cNvSpPr/>
            <p:nvPr/>
          </p:nvSpPr>
          <p:spPr>
            <a:xfrm>
              <a:off x="5100621" y="4222689"/>
              <a:ext cx="38997" cy="45669"/>
            </a:xfrm>
            <a:custGeom>
              <a:avLst/>
              <a:gdLst>
                <a:gd name="connsiteX0" fmla="*/ 0 w 38997"/>
                <a:gd name="connsiteY0" fmla="*/ 6682 h 45669"/>
                <a:gd name="connsiteX1" fmla="*/ 32308 w 38997"/>
                <a:gd name="connsiteY1" fmla="*/ 6682 h 45669"/>
                <a:gd name="connsiteX2" fmla="*/ 32308 w 38997"/>
                <a:gd name="connsiteY2" fmla="*/ 38977 h 45669"/>
                <a:gd name="connsiteX3" fmla="*/ 2437 w 38997"/>
                <a:gd name="connsiteY3" fmla="*/ 41109 h 456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8997" h="45669">
                  <a:moveTo>
                    <a:pt x="0" y="6682"/>
                  </a:moveTo>
                  <a:cubicBezTo>
                    <a:pt x="8926" y="-2221"/>
                    <a:pt x="23370" y="-2233"/>
                    <a:pt x="32308" y="6682"/>
                  </a:cubicBezTo>
                  <a:cubicBezTo>
                    <a:pt x="41222" y="15608"/>
                    <a:pt x="41234" y="30063"/>
                    <a:pt x="32308" y="38977"/>
                  </a:cubicBezTo>
                  <a:cubicBezTo>
                    <a:pt x="24166" y="47119"/>
                    <a:pt x="11398" y="47833"/>
                    <a:pt x="2437" y="41109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783" name="Forma livre: Forma 1782">
              <a:extLst>
                <a:ext uri="{FF2B5EF4-FFF2-40B4-BE49-F238E27FC236}">
                  <a16:creationId xmlns:a16="http://schemas.microsoft.com/office/drawing/2014/main" id="{3CE68D62-2939-B5A2-F708-256B469DBF0B}"/>
                </a:ext>
              </a:extLst>
            </p:cNvPr>
            <p:cNvSpPr/>
            <p:nvPr/>
          </p:nvSpPr>
          <p:spPr>
            <a:xfrm>
              <a:off x="4899255" y="4179749"/>
              <a:ext cx="283307" cy="283295"/>
            </a:xfrm>
            <a:custGeom>
              <a:avLst/>
              <a:gdLst>
                <a:gd name="connsiteX0" fmla="*/ 114307 w 283307"/>
                <a:gd name="connsiteY0" fmla="*/ 41117 h 283295"/>
                <a:gd name="connsiteX1" fmla="*/ 0 w 283307"/>
                <a:gd name="connsiteY1" fmla="*/ 155389 h 283295"/>
                <a:gd name="connsiteX2" fmla="*/ 127907 w 283307"/>
                <a:gd name="connsiteY2" fmla="*/ 283296 h 283295"/>
                <a:gd name="connsiteX3" fmla="*/ 283307 w 283307"/>
                <a:gd name="connsiteY3" fmla="*/ 127895 h 283295"/>
                <a:gd name="connsiteX4" fmla="*/ 282007 w 283307"/>
                <a:gd name="connsiteY4" fmla="*/ 50652 h 283295"/>
                <a:gd name="connsiteX5" fmla="*/ 232679 w 283307"/>
                <a:gd name="connsiteY5" fmla="*/ 1312 h 283295"/>
                <a:gd name="connsiteX6" fmla="*/ 155400 w 283307"/>
                <a:gd name="connsiteY6" fmla="*/ 0 h 283295"/>
                <a:gd name="connsiteX7" fmla="*/ 130695 w 283307"/>
                <a:gd name="connsiteY7" fmla="*/ 24717 h 2832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3307" h="283295">
                  <a:moveTo>
                    <a:pt x="114307" y="41117"/>
                  </a:moveTo>
                  <a:lnTo>
                    <a:pt x="0" y="155389"/>
                  </a:lnTo>
                  <a:lnTo>
                    <a:pt x="127907" y="283296"/>
                  </a:lnTo>
                  <a:lnTo>
                    <a:pt x="283307" y="127895"/>
                  </a:lnTo>
                  <a:lnTo>
                    <a:pt x="282007" y="50652"/>
                  </a:lnTo>
                  <a:lnTo>
                    <a:pt x="232679" y="1312"/>
                  </a:lnTo>
                  <a:lnTo>
                    <a:pt x="155400" y="0"/>
                  </a:lnTo>
                  <a:lnTo>
                    <a:pt x="130695" y="24717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784" name="Gráfico 15">
            <a:extLst>
              <a:ext uri="{FF2B5EF4-FFF2-40B4-BE49-F238E27FC236}">
                <a16:creationId xmlns:a16="http://schemas.microsoft.com/office/drawing/2014/main" id="{ED038257-D4FD-7471-3B21-5A522FE47E43}"/>
              </a:ext>
            </a:extLst>
          </p:cNvPr>
          <p:cNvGrpSpPr/>
          <p:nvPr/>
        </p:nvGrpSpPr>
        <p:grpSpPr>
          <a:xfrm>
            <a:off x="4879153" y="4697235"/>
            <a:ext cx="323510" cy="254478"/>
            <a:chOff x="4879153" y="4697235"/>
            <a:chExt cx="323510" cy="254478"/>
          </a:xfrm>
          <a:noFill/>
        </p:grpSpPr>
        <p:grpSp>
          <p:nvGrpSpPr>
            <p:cNvPr id="1785" name="Gráfico 15">
              <a:extLst>
                <a:ext uri="{FF2B5EF4-FFF2-40B4-BE49-F238E27FC236}">
                  <a16:creationId xmlns:a16="http://schemas.microsoft.com/office/drawing/2014/main" id="{38FDD82A-57CB-56ED-C436-0CC272339B3F}"/>
                </a:ext>
              </a:extLst>
            </p:cNvPr>
            <p:cNvGrpSpPr/>
            <p:nvPr/>
          </p:nvGrpSpPr>
          <p:grpSpPr>
            <a:xfrm>
              <a:off x="5071781" y="4769980"/>
              <a:ext cx="72393" cy="66606"/>
              <a:chOff x="5071781" y="4769980"/>
              <a:chExt cx="72393" cy="66606"/>
            </a:xfrm>
          </p:grpSpPr>
          <p:sp>
            <p:nvSpPr>
              <p:cNvPr id="1786" name="Forma livre: Forma 1785">
                <a:extLst>
                  <a:ext uri="{FF2B5EF4-FFF2-40B4-BE49-F238E27FC236}">
                    <a16:creationId xmlns:a16="http://schemas.microsoft.com/office/drawing/2014/main" id="{E2D31142-B341-39AF-0CEF-1935ADB05FAD}"/>
                  </a:ext>
                </a:extLst>
              </p:cNvPr>
              <p:cNvSpPr/>
              <p:nvPr/>
            </p:nvSpPr>
            <p:spPr>
              <a:xfrm>
                <a:off x="5071781" y="4769980"/>
                <a:ext cx="1171" cy="66606"/>
              </a:xfrm>
              <a:custGeom>
                <a:avLst/>
                <a:gdLst>
                  <a:gd name="connsiteX0" fmla="*/ 0 w 1171"/>
                  <a:gd name="connsiteY0" fmla="*/ 0 h 66606"/>
                  <a:gd name="connsiteX1" fmla="*/ 0 w 1171"/>
                  <a:gd name="connsiteY1" fmla="*/ 66607 h 666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71" h="66606">
                    <a:moveTo>
                      <a:pt x="0" y="0"/>
                    </a:moveTo>
                    <a:lnTo>
                      <a:pt x="0" y="66607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787" name="Forma livre: Forma 1786">
                <a:extLst>
                  <a:ext uri="{FF2B5EF4-FFF2-40B4-BE49-F238E27FC236}">
                    <a16:creationId xmlns:a16="http://schemas.microsoft.com/office/drawing/2014/main" id="{0A94F847-AF9D-A619-1B99-4904B0A1750B}"/>
                  </a:ext>
                </a:extLst>
              </p:cNvPr>
              <p:cNvSpPr/>
              <p:nvPr/>
            </p:nvSpPr>
            <p:spPr>
              <a:xfrm>
                <a:off x="5144175" y="4769980"/>
                <a:ext cx="1171" cy="66606"/>
              </a:xfrm>
              <a:custGeom>
                <a:avLst/>
                <a:gdLst>
                  <a:gd name="connsiteX0" fmla="*/ 0 w 1171"/>
                  <a:gd name="connsiteY0" fmla="*/ 0 h 66606"/>
                  <a:gd name="connsiteX1" fmla="*/ 0 w 1171"/>
                  <a:gd name="connsiteY1" fmla="*/ 66607 h 666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71" h="66606">
                    <a:moveTo>
                      <a:pt x="0" y="0"/>
                    </a:moveTo>
                    <a:lnTo>
                      <a:pt x="0" y="66607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788" name="Forma livre: Forma 1787">
                <a:extLst>
                  <a:ext uri="{FF2B5EF4-FFF2-40B4-BE49-F238E27FC236}">
                    <a16:creationId xmlns:a16="http://schemas.microsoft.com/office/drawing/2014/main" id="{F4A19DCD-088A-2405-9232-0A036C668593}"/>
                  </a:ext>
                </a:extLst>
              </p:cNvPr>
              <p:cNvSpPr/>
              <p:nvPr/>
            </p:nvSpPr>
            <p:spPr>
              <a:xfrm>
                <a:off x="5095912" y="4769980"/>
                <a:ext cx="1171" cy="66606"/>
              </a:xfrm>
              <a:custGeom>
                <a:avLst/>
                <a:gdLst>
                  <a:gd name="connsiteX0" fmla="*/ 0 w 1171"/>
                  <a:gd name="connsiteY0" fmla="*/ 0 h 66606"/>
                  <a:gd name="connsiteX1" fmla="*/ 0 w 1171"/>
                  <a:gd name="connsiteY1" fmla="*/ 66607 h 666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71" h="66606">
                    <a:moveTo>
                      <a:pt x="0" y="0"/>
                    </a:moveTo>
                    <a:lnTo>
                      <a:pt x="0" y="66607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789" name="Forma livre: Forma 1788">
                <a:extLst>
                  <a:ext uri="{FF2B5EF4-FFF2-40B4-BE49-F238E27FC236}">
                    <a16:creationId xmlns:a16="http://schemas.microsoft.com/office/drawing/2014/main" id="{AD837E30-23C7-C682-0F6F-348265F380F1}"/>
                  </a:ext>
                </a:extLst>
              </p:cNvPr>
              <p:cNvSpPr/>
              <p:nvPr/>
            </p:nvSpPr>
            <p:spPr>
              <a:xfrm>
                <a:off x="5120044" y="4769980"/>
                <a:ext cx="1171" cy="66606"/>
              </a:xfrm>
              <a:custGeom>
                <a:avLst/>
                <a:gdLst>
                  <a:gd name="connsiteX0" fmla="*/ 0 w 1171"/>
                  <a:gd name="connsiteY0" fmla="*/ 0 h 66606"/>
                  <a:gd name="connsiteX1" fmla="*/ 0 w 1171"/>
                  <a:gd name="connsiteY1" fmla="*/ 66607 h 666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71" h="66606">
                    <a:moveTo>
                      <a:pt x="0" y="0"/>
                    </a:moveTo>
                    <a:lnTo>
                      <a:pt x="0" y="66607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790" name="Gráfico 15">
              <a:extLst>
                <a:ext uri="{FF2B5EF4-FFF2-40B4-BE49-F238E27FC236}">
                  <a16:creationId xmlns:a16="http://schemas.microsoft.com/office/drawing/2014/main" id="{1595219A-BC61-30F6-AFE9-DC5380C0D170}"/>
                </a:ext>
              </a:extLst>
            </p:cNvPr>
            <p:cNvGrpSpPr/>
            <p:nvPr/>
          </p:nvGrpSpPr>
          <p:grpSpPr>
            <a:xfrm>
              <a:off x="4879153" y="4697235"/>
              <a:ext cx="323510" cy="254478"/>
              <a:chOff x="4879153" y="4697235"/>
              <a:chExt cx="323510" cy="254478"/>
            </a:xfrm>
            <a:noFill/>
          </p:grpSpPr>
          <p:grpSp>
            <p:nvGrpSpPr>
              <p:cNvPr id="1791" name="Gráfico 15">
                <a:extLst>
                  <a:ext uri="{FF2B5EF4-FFF2-40B4-BE49-F238E27FC236}">
                    <a16:creationId xmlns:a16="http://schemas.microsoft.com/office/drawing/2014/main" id="{E0657F77-A511-3C9D-05D9-A6B9CEEEAD92}"/>
                  </a:ext>
                </a:extLst>
              </p:cNvPr>
              <p:cNvGrpSpPr/>
              <p:nvPr/>
            </p:nvGrpSpPr>
            <p:grpSpPr>
              <a:xfrm>
                <a:off x="4905803" y="4697235"/>
                <a:ext cx="270210" cy="232350"/>
                <a:chOff x="4905803" y="4697235"/>
                <a:chExt cx="270210" cy="232350"/>
              </a:xfrm>
              <a:noFill/>
            </p:grpSpPr>
            <p:sp>
              <p:nvSpPr>
                <p:cNvPr id="1792" name="Forma livre: Forma 1791">
                  <a:extLst>
                    <a:ext uri="{FF2B5EF4-FFF2-40B4-BE49-F238E27FC236}">
                      <a16:creationId xmlns:a16="http://schemas.microsoft.com/office/drawing/2014/main" id="{8A378049-A1C7-4979-EEA5-A9B9E5A280C7}"/>
                    </a:ext>
                  </a:extLst>
                </p:cNvPr>
                <p:cNvSpPr/>
                <p:nvPr/>
              </p:nvSpPr>
              <p:spPr>
                <a:xfrm>
                  <a:off x="5040914" y="4697235"/>
                  <a:ext cx="135099" cy="232350"/>
                </a:xfrm>
                <a:custGeom>
                  <a:avLst/>
                  <a:gdLst>
                    <a:gd name="connsiteX0" fmla="*/ 72780 w 135099"/>
                    <a:gd name="connsiteY0" fmla="*/ 12 h 232350"/>
                    <a:gd name="connsiteX1" fmla="*/ 0 w 135099"/>
                    <a:gd name="connsiteY1" fmla="*/ 19035 h 232350"/>
                    <a:gd name="connsiteX2" fmla="*/ 0 w 135099"/>
                    <a:gd name="connsiteY2" fmla="*/ 232351 h 232350"/>
                    <a:gd name="connsiteX3" fmla="*/ 72780 w 135099"/>
                    <a:gd name="connsiteY3" fmla="*/ 213327 h 232350"/>
                    <a:gd name="connsiteX4" fmla="*/ 135100 w 135099"/>
                    <a:gd name="connsiteY4" fmla="*/ 213327 h 232350"/>
                    <a:gd name="connsiteX5" fmla="*/ 135100 w 135099"/>
                    <a:gd name="connsiteY5" fmla="*/ 12 h 232350"/>
                    <a:gd name="connsiteX6" fmla="*/ 72780 w 135099"/>
                    <a:gd name="connsiteY6" fmla="*/ 12 h 2323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35099" h="232350">
                      <a:moveTo>
                        <a:pt x="72780" y="12"/>
                      </a:moveTo>
                      <a:cubicBezTo>
                        <a:pt x="34979" y="12"/>
                        <a:pt x="16622" y="-1125"/>
                        <a:pt x="0" y="19035"/>
                      </a:cubicBezTo>
                      <a:lnTo>
                        <a:pt x="0" y="232351"/>
                      </a:lnTo>
                      <a:cubicBezTo>
                        <a:pt x="16634" y="212191"/>
                        <a:pt x="34990" y="213327"/>
                        <a:pt x="72780" y="213327"/>
                      </a:cubicBezTo>
                      <a:lnTo>
                        <a:pt x="135100" y="213327"/>
                      </a:lnTo>
                      <a:lnTo>
                        <a:pt x="135100" y="12"/>
                      </a:lnTo>
                      <a:lnTo>
                        <a:pt x="72780" y="12"/>
                      </a:lnTo>
                      <a:close/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793" name="Forma livre: Forma 1792">
                  <a:extLst>
                    <a:ext uri="{FF2B5EF4-FFF2-40B4-BE49-F238E27FC236}">
                      <a16:creationId xmlns:a16="http://schemas.microsoft.com/office/drawing/2014/main" id="{7520637F-E349-1D26-AE28-E52A6107894F}"/>
                    </a:ext>
                  </a:extLst>
                </p:cNvPr>
                <p:cNvSpPr/>
                <p:nvPr/>
              </p:nvSpPr>
              <p:spPr>
                <a:xfrm>
                  <a:off x="4905803" y="4697235"/>
                  <a:ext cx="135111" cy="232350"/>
                </a:xfrm>
                <a:custGeom>
                  <a:avLst/>
                  <a:gdLst>
                    <a:gd name="connsiteX0" fmla="*/ 135111 w 135111"/>
                    <a:gd name="connsiteY0" fmla="*/ 232351 h 232350"/>
                    <a:gd name="connsiteX1" fmla="*/ 62319 w 135111"/>
                    <a:gd name="connsiteY1" fmla="*/ 213327 h 232350"/>
                    <a:gd name="connsiteX2" fmla="*/ 0 w 135111"/>
                    <a:gd name="connsiteY2" fmla="*/ 213327 h 232350"/>
                    <a:gd name="connsiteX3" fmla="*/ 0 w 135111"/>
                    <a:gd name="connsiteY3" fmla="*/ 12 h 232350"/>
                    <a:gd name="connsiteX4" fmla="*/ 62319 w 135111"/>
                    <a:gd name="connsiteY4" fmla="*/ 12 h 232350"/>
                    <a:gd name="connsiteX5" fmla="*/ 135111 w 135111"/>
                    <a:gd name="connsiteY5" fmla="*/ 19035 h 2323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135111" h="232350">
                      <a:moveTo>
                        <a:pt x="135111" y="232351"/>
                      </a:moveTo>
                      <a:cubicBezTo>
                        <a:pt x="118477" y="212191"/>
                        <a:pt x="100121" y="213327"/>
                        <a:pt x="62319" y="213327"/>
                      </a:cubicBezTo>
                      <a:lnTo>
                        <a:pt x="0" y="213327"/>
                      </a:lnTo>
                      <a:lnTo>
                        <a:pt x="0" y="12"/>
                      </a:lnTo>
                      <a:lnTo>
                        <a:pt x="62319" y="12"/>
                      </a:lnTo>
                      <a:cubicBezTo>
                        <a:pt x="100121" y="12"/>
                        <a:pt x="118477" y="-1125"/>
                        <a:pt x="135111" y="19035"/>
                      </a:cubicBez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1794" name="Forma livre: Forma 1793">
                <a:extLst>
                  <a:ext uri="{FF2B5EF4-FFF2-40B4-BE49-F238E27FC236}">
                    <a16:creationId xmlns:a16="http://schemas.microsoft.com/office/drawing/2014/main" id="{4ECA71A2-651E-6BB0-F61E-6F27E9121C68}"/>
                  </a:ext>
                </a:extLst>
              </p:cNvPr>
              <p:cNvSpPr/>
              <p:nvPr/>
            </p:nvSpPr>
            <p:spPr>
              <a:xfrm>
                <a:off x="4879153" y="4731065"/>
                <a:ext cx="323510" cy="220648"/>
              </a:xfrm>
              <a:custGeom>
                <a:avLst/>
                <a:gdLst>
                  <a:gd name="connsiteX0" fmla="*/ 0 w 323510"/>
                  <a:gd name="connsiteY0" fmla="*/ 0 h 220648"/>
                  <a:gd name="connsiteX1" fmla="*/ 0 w 323510"/>
                  <a:gd name="connsiteY1" fmla="*/ 205209 h 220648"/>
                  <a:gd name="connsiteX2" fmla="*/ 131468 w 323510"/>
                  <a:gd name="connsiteY2" fmla="*/ 205209 h 220648"/>
                  <a:gd name="connsiteX3" fmla="*/ 146205 w 323510"/>
                  <a:gd name="connsiteY3" fmla="*/ 220648 h 220648"/>
                  <a:gd name="connsiteX4" fmla="*/ 146451 w 323510"/>
                  <a:gd name="connsiteY4" fmla="*/ 220648 h 220648"/>
                  <a:gd name="connsiteX5" fmla="*/ 177048 w 323510"/>
                  <a:gd name="connsiteY5" fmla="*/ 220648 h 220648"/>
                  <a:gd name="connsiteX6" fmla="*/ 177294 w 323510"/>
                  <a:gd name="connsiteY6" fmla="*/ 220648 h 220648"/>
                  <a:gd name="connsiteX7" fmla="*/ 192042 w 323510"/>
                  <a:gd name="connsiteY7" fmla="*/ 205209 h 220648"/>
                  <a:gd name="connsiteX8" fmla="*/ 323510 w 323510"/>
                  <a:gd name="connsiteY8" fmla="*/ 205209 h 220648"/>
                  <a:gd name="connsiteX9" fmla="*/ 323510 w 323510"/>
                  <a:gd name="connsiteY9" fmla="*/ 0 h 2206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323510" h="220648">
                    <a:moveTo>
                      <a:pt x="0" y="0"/>
                    </a:moveTo>
                    <a:lnTo>
                      <a:pt x="0" y="205209"/>
                    </a:lnTo>
                    <a:lnTo>
                      <a:pt x="131468" y="205209"/>
                    </a:lnTo>
                    <a:cubicBezTo>
                      <a:pt x="131468" y="205209"/>
                      <a:pt x="138040" y="220648"/>
                      <a:pt x="146205" y="220648"/>
                    </a:cubicBezTo>
                    <a:cubicBezTo>
                      <a:pt x="146462" y="220648"/>
                      <a:pt x="146521" y="220648"/>
                      <a:pt x="146451" y="220648"/>
                    </a:cubicBezTo>
                    <a:lnTo>
                      <a:pt x="177048" y="220648"/>
                    </a:lnTo>
                    <a:cubicBezTo>
                      <a:pt x="177048" y="220648"/>
                      <a:pt x="177048" y="220648"/>
                      <a:pt x="177294" y="220648"/>
                    </a:cubicBezTo>
                    <a:cubicBezTo>
                      <a:pt x="185471" y="220648"/>
                      <a:pt x="192042" y="205209"/>
                      <a:pt x="192042" y="205209"/>
                    </a:cubicBezTo>
                    <a:lnTo>
                      <a:pt x="323510" y="205209"/>
                    </a:lnTo>
                    <a:lnTo>
                      <a:pt x="323510" y="0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795" name="Gráfico 15">
            <a:extLst>
              <a:ext uri="{FF2B5EF4-FFF2-40B4-BE49-F238E27FC236}">
                <a16:creationId xmlns:a16="http://schemas.microsoft.com/office/drawing/2014/main" id="{F278E61F-E454-AA32-CCCD-F41B1A7FE9FB}"/>
              </a:ext>
            </a:extLst>
          </p:cNvPr>
          <p:cNvGrpSpPr/>
          <p:nvPr/>
        </p:nvGrpSpPr>
        <p:grpSpPr>
          <a:xfrm>
            <a:off x="4912902" y="5217696"/>
            <a:ext cx="256013" cy="256013"/>
            <a:chOff x="4912902" y="5217696"/>
            <a:chExt cx="256013" cy="256013"/>
          </a:xfrm>
          <a:noFill/>
        </p:grpSpPr>
        <p:grpSp>
          <p:nvGrpSpPr>
            <p:cNvPr id="1796" name="Gráfico 15">
              <a:extLst>
                <a:ext uri="{FF2B5EF4-FFF2-40B4-BE49-F238E27FC236}">
                  <a16:creationId xmlns:a16="http://schemas.microsoft.com/office/drawing/2014/main" id="{9B802B83-3E49-554E-5D79-65C3A903FE00}"/>
                </a:ext>
              </a:extLst>
            </p:cNvPr>
            <p:cNvGrpSpPr/>
            <p:nvPr/>
          </p:nvGrpSpPr>
          <p:grpSpPr>
            <a:xfrm>
              <a:off x="4989185" y="5291237"/>
              <a:ext cx="103436" cy="108941"/>
              <a:chOff x="4989185" y="5291237"/>
              <a:chExt cx="103436" cy="108941"/>
            </a:xfrm>
            <a:noFill/>
          </p:grpSpPr>
          <p:grpSp>
            <p:nvGrpSpPr>
              <p:cNvPr id="1797" name="Gráfico 15">
                <a:extLst>
                  <a:ext uri="{FF2B5EF4-FFF2-40B4-BE49-F238E27FC236}">
                    <a16:creationId xmlns:a16="http://schemas.microsoft.com/office/drawing/2014/main" id="{BED99F8E-4CAA-CC9C-4B43-1A90A061C744}"/>
                  </a:ext>
                </a:extLst>
              </p:cNvPr>
              <p:cNvGrpSpPr/>
              <p:nvPr/>
            </p:nvGrpSpPr>
            <p:grpSpPr>
              <a:xfrm>
                <a:off x="4989185" y="5291237"/>
                <a:ext cx="103436" cy="28898"/>
                <a:chOff x="4989185" y="5291237"/>
                <a:chExt cx="103436" cy="28898"/>
              </a:xfrm>
              <a:noFill/>
            </p:grpSpPr>
            <p:sp>
              <p:nvSpPr>
                <p:cNvPr id="1798" name="Forma livre: Forma 1797">
                  <a:extLst>
                    <a:ext uri="{FF2B5EF4-FFF2-40B4-BE49-F238E27FC236}">
                      <a16:creationId xmlns:a16="http://schemas.microsoft.com/office/drawing/2014/main" id="{7DD10477-7901-4209-8231-CCB446F2B4EB}"/>
                    </a:ext>
                  </a:extLst>
                </p:cNvPr>
                <p:cNvSpPr/>
                <p:nvPr/>
              </p:nvSpPr>
              <p:spPr>
                <a:xfrm>
                  <a:off x="4989185" y="5291237"/>
                  <a:ext cx="28898" cy="28898"/>
                </a:xfrm>
                <a:custGeom>
                  <a:avLst/>
                  <a:gdLst>
                    <a:gd name="connsiteX0" fmla="*/ 0 w 28898"/>
                    <a:gd name="connsiteY0" fmla="*/ 0 h 28898"/>
                    <a:gd name="connsiteX1" fmla="*/ 28899 w 28898"/>
                    <a:gd name="connsiteY1" fmla="*/ 0 h 28898"/>
                    <a:gd name="connsiteX2" fmla="*/ 28899 w 28898"/>
                    <a:gd name="connsiteY2" fmla="*/ 28899 h 28898"/>
                    <a:gd name="connsiteX3" fmla="*/ 0 w 28898"/>
                    <a:gd name="connsiteY3" fmla="*/ 28899 h 288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28898" h="28898">
                      <a:moveTo>
                        <a:pt x="0" y="0"/>
                      </a:moveTo>
                      <a:lnTo>
                        <a:pt x="28899" y="0"/>
                      </a:lnTo>
                      <a:lnTo>
                        <a:pt x="28899" y="28899"/>
                      </a:lnTo>
                      <a:lnTo>
                        <a:pt x="0" y="28899"/>
                      </a:lnTo>
                      <a:close/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799" name="Forma livre: Forma 1798">
                  <a:extLst>
                    <a:ext uri="{FF2B5EF4-FFF2-40B4-BE49-F238E27FC236}">
                      <a16:creationId xmlns:a16="http://schemas.microsoft.com/office/drawing/2014/main" id="{16CDC9F4-7D4E-982C-289D-1848DB8E93D5}"/>
                    </a:ext>
                  </a:extLst>
                </p:cNvPr>
                <p:cNvSpPr/>
                <p:nvPr/>
              </p:nvSpPr>
              <p:spPr>
                <a:xfrm>
                  <a:off x="5063722" y="5291237"/>
                  <a:ext cx="28898" cy="28898"/>
                </a:xfrm>
                <a:custGeom>
                  <a:avLst/>
                  <a:gdLst>
                    <a:gd name="connsiteX0" fmla="*/ 0 w 28898"/>
                    <a:gd name="connsiteY0" fmla="*/ 0 h 28898"/>
                    <a:gd name="connsiteX1" fmla="*/ 28899 w 28898"/>
                    <a:gd name="connsiteY1" fmla="*/ 0 h 28898"/>
                    <a:gd name="connsiteX2" fmla="*/ 28899 w 28898"/>
                    <a:gd name="connsiteY2" fmla="*/ 28899 h 28898"/>
                    <a:gd name="connsiteX3" fmla="*/ 0 w 28898"/>
                    <a:gd name="connsiteY3" fmla="*/ 28899 h 288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28898" h="28898">
                      <a:moveTo>
                        <a:pt x="0" y="0"/>
                      </a:moveTo>
                      <a:lnTo>
                        <a:pt x="28899" y="0"/>
                      </a:lnTo>
                      <a:lnTo>
                        <a:pt x="28899" y="28899"/>
                      </a:lnTo>
                      <a:lnTo>
                        <a:pt x="0" y="28899"/>
                      </a:lnTo>
                      <a:close/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1800" name="Gráfico 15">
                <a:extLst>
                  <a:ext uri="{FF2B5EF4-FFF2-40B4-BE49-F238E27FC236}">
                    <a16:creationId xmlns:a16="http://schemas.microsoft.com/office/drawing/2014/main" id="{139D5BE6-F16E-5BAC-6EF6-27881CCD5393}"/>
                  </a:ext>
                </a:extLst>
              </p:cNvPr>
              <p:cNvGrpSpPr/>
              <p:nvPr/>
            </p:nvGrpSpPr>
            <p:grpSpPr>
              <a:xfrm>
                <a:off x="4989185" y="5365669"/>
                <a:ext cx="103436" cy="28898"/>
                <a:chOff x="4989185" y="5365669"/>
                <a:chExt cx="103436" cy="28898"/>
              </a:xfrm>
              <a:noFill/>
            </p:grpSpPr>
            <p:sp>
              <p:nvSpPr>
                <p:cNvPr id="1801" name="Forma livre: Forma 1800">
                  <a:extLst>
                    <a:ext uri="{FF2B5EF4-FFF2-40B4-BE49-F238E27FC236}">
                      <a16:creationId xmlns:a16="http://schemas.microsoft.com/office/drawing/2014/main" id="{2D3D82E6-5F05-0076-3CDC-B052DB0A83B8}"/>
                    </a:ext>
                  </a:extLst>
                </p:cNvPr>
                <p:cNvSpPr/>
                <p:nvPr/>
              </p:nvSpPr>
              <p:spPr>
                <a:xfrm>
                  <a:off x="4989185" y="5365669"/>
                  <a:ext cx="28898" cy="28898"/>
                </a:xfrm>
                <a:custGeom>
                  <a:avLst/>
                  <a:gdLst>
                    <a:gd name="connsiteX0" fmla="*/ 0 w 28898"/>
                    <a:gd name="connsiteY0" fmla="*/ 0 h 28898"/>
                    <a:gd name="connsiteX1" fmla="*/ 28899 w 28898"/>
                    <a:gd name="connsiteY1" fmla="*/ 0 h 28898"/>
                    <a:gd name="connsiteX2" fmla="*/ 28899 w 28898"/>
                    <a:gd name="connsiteY2" fmla="*/ 28899 h 28898"/>
                    <a:gd name="connsiteX3" fmla="*/ 0 w 28898"/>
                    <a:gd name="connsiteY3" fmla="*/ 28899 h 288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28898" h="28898">
                      <a:moveTo>
                        <a:pt x="0" y="0"/>
                      </a:moveTo>
                      <a:lnTo>
                        <a:pt x="28899" y="0"/>
                      </a:lnTo>
                      <a:lnTo>
                        <a:pt x="28899" y="28899"/>
                      </a:lnTo>
                      <a:lnTo>
                        <a:pt x="0" y="28899"/>
                      </a:lnTo>
                      <a:close/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802" name="Forma livre: Forma 1801">
                  <a:extLst>
                    <a:ext uri="{FF2B5EF4-FFF2-40B4-BE49-F238E27FC236}">
                      <a16:creationId xmlns:a16="http://schemas.microsoft.com/office/drawing/2014/main" id="{ED490279-139E-2FDF-76E1-4C83BFA67C3C}"/>
                    </a:ext>
                  </a:extLst>
                </p:cNvPr>
                <p:cNvSpPr/>
                <p:nvPr/>
              </p:nvSpPr>
              <p:spPr>
                <a:xfrm>
                  <a:off x="5063722" y="5365669"/>
                  <a:ext cx="28898" cy="28898"/>
                </a:xfrm>
                <a:custGeom>
                  <a:avLst/>
                  <a:gdLst>
                    <a:gd name="connsiteX0" fmla="*/ 0 w 28898"/>
                    <a:gd name="connsiteY0" fmla="*/ 0 h 28898"/>
                    <a:gd name="connsiteX1" fmla="*/ 28899 w 28898"/>
                    <a:gd name="connsiteY1" fmla="*/ 0 h 28898"/>
                    <a:gd name="connsiteX2" fmla="*/ 28899 w 28898"/>
                    <a:gd name="connsiteY2" fmla="*/ 28899 h 28898"/>
                    <a:gd name="connsiteX3" fmla="*/ 0 w 28898"/>
                    <a:gd name="connsiteY3" fmla="*/ 28899 h 288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28898" h="28898">
                      <a:moveTo>
                        <a:pt x="0" y="0"/>
                      </a:moveTo>
                      <a:lnTo>
                        <a:pt x="28899" y="0"/>
                      </a:lnTo>
                      <a:lnTo>
                        <a:pt x="28899" y="28899"/>
                      </a:lnTo>
                      <a:lnTo>
                        <a:pt x="0" y="28899"/>
                      </a:lnTo>
                      <a:close/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1803" name="Forma livre: Forma 1802">
                <a:extLst>
                  <a:ext uri="{FF2B5EF4-FFF2-40B4-BE49-F238E27FC236}">
                    <a16:creationId xmlns:a16="http://schemas.microsoft.com/office/drawing/2014/main" id="{69B14009-B357-7B13-57A8-A23679BA7A6F}"/>
                  </a:ext>
                </a:extLst>
              </p:cNvPr>
              <p:cNvSpPr/>
              <p:nvPr/>
            </p:nvSpPr>
            <p:spPr>
              <a:xfrm>
                <a:off x="5040914" y="5291237"/>
                <a:ext cx="1171" cy="28898"/>
              </a:xfrm>
              <a:custGeom>
                <a:avLst/>
                <a:gdLst>
                  <a:gd name="connsiteX0" fmla="*/ 0 w 1171"/>
                  <a:gd name="connsiteY0" fmla="*/ 0 h 28898"/>
                  <a:gd name="connsiteX1" fmla="*/ 0 w 1171"/>
                  <a:gd name="connsiteY1" fmla="*/ 28899 h 28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71" h="28898">
                    <a:moveTo>
                      <a:pt x="0" y="0"/>
                    </a:moveTo>
                    <a:lnTo>
                      <a:pt x="0" y="28899"/>
                    </a:lnTo>
                  </a:path>
                </a:pathLst>
              </a:custGeom>
              <a:ln w="6350" cap="sq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804" name="Forma livre: Forma 1803">
                <a:extLst>
                  <a:ext uri="{FF2B5EF4-FFF2-40B4-BE49-F238E27FC236}">
                    <a16:creationId xmlns:a16="http://schemas.microsoft.com/office/drawing/2014/main" id="{84CC9231-F584-5EC4-4181-892C67797E17}"/>
                  </a:ext>
                </a:extLst>
              </p:cNvPr>
              <p:cNvSpPr/>
              <p:nvPr/>
            </p:nvSpPr>
            <p:spPr>
              <a:xfrm>
                <a:off x="5040914" y="5384564"/>
                <a:ext cx="1171" cy="15615"/>
              </a:xfrm>
              <a:custGeom>
                <a:avLst/>
                <a:gdLst>
                  <a:gd name="connsiteX0" fmla="*/ 0 w 1171"/>
                  <a:gd name="connsiteY0" fmla="*/ 0 h 15615"/>
                  <a:gd name="connsiteX1" fmla="*/ 0 w 1171"/>
                  <a:gd name="connsiteY1" fmla="*/ 15615 h 156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71" h="15615">
                    <a:moveTo>
                      <a:pt x="0" y="0"/>
                    </a:moveTo>
                    <a:lnTo>
                      <a:pt x="0" y="15615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805" name="Forma livre: Forma 1804">
                <a:extLst>
                  <a:ext uri="{FF2B5EF4-FFF2-40B4-BE49-F238E27FC236}">
                    <a16:creationId xmlns:a16="http://schemas.microsoft.com/office/drawing/2014/main" id="{04AA4DC9-3E81-4E44-4144-B141BD7A13C5}"/>
                  </a:ext>
                </a:extLst>
              </p:cNvPr>
              <p:cNvSpPr/>
              <p:nvPr/>
            </p:nvSpPr>
            <p:spPr>
              <a:xfrm>
                <a:off x="5017369" y="5342897"/>
                <a:ext cx="23545" cy="32049"/>
              </a:xfrm>
              <a:custGeom>
                <a:avLst/>
                <a:gdLst>
                  <a:gd name="connsiteX0" fmla="*/ 0 w 23545"/>
                  <a:gd name="connsiteY0" fmla="*/ 0 h 32049"/>
                  <a:gd name="connsiteX1" fmla="*/ 23546 w 23545"/>
                  <a:gd name="connsiteY1" fmla="*/ 0 h 32049"/>
                  <a:gd name="connsiteX2" fmla="*/ 23546 w 23545"/>
                  <a:gd name="connsiteY2" fmla="*/ 32050 h 320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3545" h="32049">
                    <a:moveTo>
                      <a:pt x="0" y="0"/>
                    </a:moveTo>
                    <a:lnTo>
                      <a:pt x="23546" y="0"/>
                    </a:lnTo>
                    <a:lnTo>
                      <a:pt x="23546" y="3205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806" name="Forma livre: Forma 1805">
                <a:extLst>
                  <a:ext uri="{FF2B5EF4-FFF2-40B4-BE49-F238E27FC236}">
                    <a16:creationId xmlns:a16="http://schemas.microsoft.com/office/drawing/2014/main" id="{DBB129CA-D401-108E-E0AC-29FE3CC66B04}"/>
                  </a:ext>
                </a:extLst>
              </p:cNvPr>
              <p:cNvSpPr/>
              <p:nvPr/>
            </p:nvSpPr>
            <p:spPr>
              <a:xfrm>
                <a:off x="4989185" y="5342897"/>
                <a:ext cx="11362" cy="1171"/>
              </a:xfrm>
              <a:custGeom>
                <a:avLst/>
                <a:gdLst>
                  <a:gd name="connsiteX0" fmla="*/ 0 w 11362"/>
                  <a:gd name="connsiteY0" fmla="*/ 0 h 1171"/>
                  <a:gd name="connsiteX1" fmla="*/ 11363 w 11362"/>
                  <a:gd name="connsiteY1" fmla="*/ 0 h 11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362" h="1171">
                    <a:moveTo>
                      <a:pt x="0" y="0"/>
                    </a:moveTo>
                    <a:lnTo>
                      <a:pt x="11363" y="0"/>
                    </a:lnTo>
                  </a:path>
                </a:pathLst>
              </a:custGeom>
              <a:ln w="6350" cap="sq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807" name="Forma livre: Forma 1806">
                <a:extLst>
                  <a:ext uri="{FF2B5EF4-FFF2-40B4-BE49-F238E27FC236}">
                    <a16:creationId xmlns:a16="http://schemas.microsoft.com/office/drawing/2014/main" id="{0D179FD9-A4A2-2A91-DDB0-99152C7C4D6A}"/>
                  </a:ext>
                </a:extLst>
              </p:cNvPr>
              <p:cNvSpPr/>
              <p:nvPr/>
            </p:nvSpPr>
            <p:spPr>
              <a:xfrm>
                <a:off x="5063722" y="5342897"/>
                <a:ext cx="28898" cy="1171"/>
              </a:xfrm>
              <a:custGeom>
                <a:avLst/>
                <a:gdLst>
                  <a:gd name="connsiteX0" fmla="*/ 0 w 28898"/>
                  <a:gd name="connsiteY0" fmla="*/ 0 h 1171"/>
                  <a:gd name="connsiteX1" fmla="*/ 28899 w 28898"/>
                  <a:gd name="connsiteY1" fmla="*/ 0 h 11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8898" h="1171">
                    <a:moveTo>
                      <a:pt x="0" y="0"/>
                    </a:moveTo>
                    <a:lnTo>
                      <a:pt x="28899" y="0"/>
                    </a:lnTo>
                  </a:path>
                </a:pathLst>
              </a:custGeom>
              <a:ln w="6350" cap="sq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808" name="Gráfico 15">
              <a:extLst>
                <a:ext uri="{FF2B5EF4-FFF2-40B4-BE49-F238E27FC236}">
                  <a16:creationId xmlns:a16="http://schemas.microsoft.com/office/drawing/2014/main" id="{73212323-5028-8FA7-4E96-1A0E5E1C53B5}"/>
                </a:ext>
              </a:extLst>
            </p:cNvPr>
            <p:cNvGrpSpPr/>
            <p:nvPr/>
          </p:nvGrpSpPr>
          <p:grpSpPr>
            <a:xfrm>
              <a:off x="4912902" y="5217696"/>
              <a:ext cx="256013" cy="256013"/>
              <a:chOff x="4912902" y="5217696"/>
              <a:chExt cx="256013" cy="256013"/>
            </a:xfrm>
            <a:noFill/>
          </p:grpSpPr>
          <p:sp>
            <p:nvSpPr>
              <p:cNvPr id="1809" name="Forma livre: Forma 1808">
                <a:extLst>
                  <a:ext uri="{FF2B5EF4-FFF2-40B4-BE49-F238E27FC236}">
                    <a16:creationId xmlns:a16="http://schemas.microsoft.com/office/drawing/2014/main" id="{F26E31A4-F8C1-B785-56DA-06B8C5C2668E}"/>
                  </a:ext>
                </a:extLst>
              </p:cNvPr>
              <p:cNvSpPr/>
              <p:nvPr/>
            </p:nvSpPr>
            <p:spPr>
              <a:xfrm>
                <a:off x="4912902" y="5217696"/>
                <a:ext cx="256013" cy="256013"/>
              </a:xfrm>
              <a:custGeom>
                <a:avLst/>
                <a:gdLst>
                  <a:gd name="connsiteX0" fmla="*/ 193776 w 256013"/>
                  <a:gd name="connsiteY0" fmla="*/ 256013 h 256013"/>
                  <a:gd name="connsiteX1" fmla="*/ 23428 w 256013"/>
                  <a:gd name="connsiteY1" fmla="*/ 256013 h 256013"/>
                  <a:gd name="connsiteX2" fmla="*/ 0 w 256013"/>
                  <a:gd name="connsiteY2" fmla="*/ 232585 h 256013"/>
                  <a:gd name="connsiteX3" fmla="*/ 0 w 256013"/>
                  <a:gd name="connsiteY3" fmla="*/ 23428 h 256013"/>
                  <a:gd name="connsiteX4" fmla="*/ 23428 w 256013"/>
                  <a:gd name="connsiteY4" fmla="*/ 0 h 256013"/>
                  <a:gd name="connsiteX5" fmla="*/ 232585 w 256013"/>
                  <a:gd name="connsiteY5" fmla="*/ 0 h 256013"/>
                  <a:gd name="connsiteX6" fmla="*/ 256013 w 256013"/>
                  <a:gd name="connsiteY6" fmla="*/ 23428 h 256013"/>
                  <a:gd name="connsiteX7" fmla="*/ 256013 w 256013"/>
                  <a:gd name="connsiteY7" fmla="*/ 192429 h 256013"/>
                  <a:gd name="connsiteX8" fmla="*/ 193776 w 256013"/>
                  <a:gd name="connsiteY8" fmla="*/ 256013 h 2560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56013" h="256013">
                    <a:moveTo>
                      <a:pt x="193776" y="256013"/>
                    </a:moveTo>
                    <a:lnTo>
                      <a:pt x="23428" y="256013"/>
                    </a:lnTo>
                    <a:cubicBezTo>
                      <a:pt x="10543" y="256013"/>
                      <a:pt x="0" y="245471"/>
                      <a:pt x="0" y="232585"/>
                    </a:cubicBezTo>
                    <a:lnTo>
                      <a:pt x="0" y="23428"/>
                    </a:lnTo>
                    <a:cubicBezTo>
                      <a:pt x="0" y="10543"/>
                      <a:pt x="10543" y="0"/>
                      <a:pt x="23428" y="0"/>
                    </a:cubicBezTo>
                    <a:lnTo>
                      <a:pt x="232585" y="0"/>
                    </a:lnTo>
                    <a:cubicBezTo>
                      <a:pt x="245471" y="0"/>
                      <a:pt x="256013" y="10543"/>
                      <a:pt x="256013" y="23428"/>
                    </a:cubicBezTo>
                    <a:lnTo>
                      <a:pt x="256013" y="192429"/>
                    </a:lnTo>
                    <a:lnTo>
                      <a:pt x="193776" y="256013"/>
                    </a:lnTo>
                    <a:close/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810" name="Forma livre: Forma 1809">
                <a:extLst>
                  <a:ext uri="{FF2B5EF4-FFF2-40B4-BE49-F238E27FC236}">
                    <a16:creationId xmlns:a16="http://schemas.microsoft.com/office/drawing/2014/main" id="{26C20112-EDA9-B001-F36D-6A20042C980C}"/>
                  </a:ext>
                </a:extLst>
              </p:cNvPr>
              <p:cNvSpPr/>
              <p:nvPr/>
            </p:nvSpPr>
            <p:spPr>
              <a:xfrm>
                <a:off x="5104124" y="5405450"/>
                <a:ext cx="41503" cy="67778"/>
              </a:xfrm>
              <a:custGeom>
                <a:avLst/>
                <a:gdLst>
                  <a:gd name="connsiteX0" fmla="*/ 0 w 41503"/>
                  <a:gd name="connsiteY0" fmla="*/ 67778 h 67778"/>
                  <a:gd name="connsiteX1" fmla="*/ 0 w 41503"/>
                  <a:gd name="connsiteY1" fmla="*/ 23428 h 67778"/>
                  <a:gd name="connsiteX2" fmla="*/ 23428 w 41503"/>
                  <a:gd name="connsiteY2" fmla="*/ 0 h 67778"/>
                  <a:gd name="connsiteX3" fmla="*/ 41503 w 41503"/>
                  <a:gd name="connsiteY3" fmla="*/ 0 h 677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503" h="67778">
                    <a:moveTo>
                      <a:pt x="0" y="67778"/>
                    </a:moveTo>
                    <a:lnTo>
                      <a:pt x="0" y="23428"/>
                    </a:lnTo>
                    <a:cubicBezTo>
                      <a:pt x="0" y="10543"/>
                      <a:pt x="10543" y="0"/>
                      <a:pt x="23428" y="0"/>
                    </a:cubicBezTo>
                    <a:lnTo>
                      <a:pt x="41503" y="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811" name="Gráfico 15">
            <a:extLst>
              <a:ext uri="{FF2B5EF4-FFF2-40B4-BE49-F238E27FC236}">
                <a16:creationId xmlns:a16="http://schemas.microsoft.com/office/drawing/2014/main" id="{541E5F8A-6F5D-C116-8389-B4AC2337A84D}"/>
              </a:ext>
            </a:extLst>
          </p:cNvPr>
          <p:cNvGrpSpPr/>
          <p:nvPr/>
        </p:nvGrpSpPr>
        <p:grpSpPr>
          <a:xfrm>
            <a:off x="4906974" y="3611272"/>
            <a:ext cx="267871" cy="341491"/>
            <a:chOff x="4906974" y="3611272"/>
            <a:chExt cx="267871" cy="341491"/>
          </a:xfrm>
          <a:noFill/>
        </p:grpSpPr>
        <p:sp>
          <p:nvSpPr>
            <p:cNvPr id="1812" name="Forma livre: Forma 1811">
              <a:extLst>
                <a:ext uri="{FF2B5EF4-FFF2-40B4-BE49-F238E27FC236}">
                  <a16:creationId xmlns:a16="http://schemas.microsoft.com/office/drawing/2014/main" id="{5FAFC3A5-1656-D754-C544-2CDCB0BAAE11}"/>
                </a:ext>
              </a:extLst>
            </p:cNvPr>
            <p:cNvSpPr/>
            <p:nvPr/>
          </p:nvSpPr>
          <p:spPr>
            <a:xfrm>
              <a:off x="5006615" y="3691069"/>
              <a:ext cx="1171" cy="67579"/>
            </a:xfrm>
            <a:custGeom>
              <a:avLst/>
              <a:gdLst>
                <a:gd name="connsiteX0" fmla="*/ 0 w 1171"/>
                <a:gd name="connsiteY0" fmla="*/ 0 h 67579"/>
                <a:gd name="connsiteX1" fmla="*/ 0 w 1171"/>
                <a:gd name="connsiteY1" fmla="*/ 67579 h 675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1" h="67579">
                  <a:moveTo>
                    <a:pt x="0" y="0"/>
                  </a:moveTo>
                  <a:lnTo>
                    <a:pt x="0" y="67579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13" name="Forma livre: Forma 1812">
              <a:extLst>
                <a:ext uri="{FF2B5EF4-FFF2-40B4-BE49-F238E27FC236}">
                  <a16:creationId xmlns:a16="http://schemas.microsoft.com/office/drawing/2014/main" id="{B5707755-5664-9497-287A-C3B7704EFA86}"/>
                </a:ext>
              </a:extLst>
            </p:cNvPr>
            <p:cNvSpPr/>
            <p:nvPr/>
          </p:nvSpPr>
          <p:spPr>
            <a:xfrm>
              <a:off x="5095690" y="3691069"/>
              <a:ext cx="1171" cy="67579"/>
            </a:xfrm>
            <a:custGeom>
              <a:avLst/>
              <a:gdLst>
                <a:gd name="connsiteX0" fmla="*/ 0 w 1171"/>
                <a:gd name="connsiteY0" fmla="*/ 0 h 67579"/>
                <a:gd name="connsiteX1" fmla="*/ 0 w 1171"/>
                <a:gd name="connsiteY1" fmla="*/ 67579 h 675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1" h="67579">
                  <a:moveTo>
                    <a:pt x="0" y="0"/>
                  </a:moveTo>
                  <a:lnTo>
                    <a:pt x="0" y="67579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14" name="Forma livre: Forma 1813">
              <a:extLst>
                <a:ext uri="{FF2B5EF4-FFF2-40B4-BE49-F238E27FC236}">
                  <a16:creationId xmlns:a16="http://schemas.microsoft.com/office/drawing/2014/main" id="{5E9F1281-68F1-173C-3343-B98000A6A5C0}"/>
                </a:ext>
              </a:extLst>
            </p:cNvPr>
            <p:cNvSpPr/>
            <p:nvPr/>
          </p:nvSpPr>
          <p:spPr>
            <a:xfrm>
              <a:off x="5028884" y="3691069"/>
              <a:ext cx="1171" cy="67579"/>
            </a:xfrm>
            <a:custGeom>
              <a:avLst/>
              <a:gdLst>
                <a:gd name="connsiteX0" fmla="*/ 0 w 1171"/>
                <a:gd name="connsiteY0" fmla="*/ 0 h 67579"/>
                <a:gd name="connsiteX1" fmla="*/ 0 w 1171"/>
                <a:gd name="connsiteY1" fmla="*/ 67579 h 675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1" h="67579">
                  <a:moveTo>
                    <a:pt x="0" y="0"/>
                  </a:moveTo>
                  <a:lnTo>
                    <a:pt x="0" y="67579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15" name="Forma livre: Forma 1814">
              <a:extLst>
                <a:ext uri="{FF2B5EF4-FFF2-40B4-BE49-F238E27FC236}">
                  <a16:creationId xmlns:a16="http://schemas.microsoft.com/office/drawing/2014/main" id="{8893CEAB-0E97-FD7D-46D3-768DEEA2FC14}"/>
                </a:ext>
              </a:extLst>
            </p:cNvPr>
            <p:cNvSpPr/>
            <p:nvPr/>
          </p:nvSpPr>
          <p:spPr>
            <a:xfrm>
              <a:off x="5073409" y="3691069"/>
              <a:ext cx="1171" cy="67579"/>
            </a:xfrm>
            <a:custGeom>
              <a:avLst/>
              <a:gdLst>
                <a:gd name="connsiteX0" fmla="*/ 0 w 1171"/>
                <a:gd name="connsiteY0" fmla="*/ 0 h 67579"/>
                <a:gd name="connsiteX1" fmla="*/ 0 w 1171"/>
                <a:gd name="connsiteY1" fmla="*/ 67579 h 675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1" h="67579">
                  <a:moveTo>
                    <a:pt x="0" y="0"/>
                  </a:moveTo>
                  <a:lnTo>
                    <a:pt x="0" y="67579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16" name="Forma livre: Forma 1815">
              <a:extLst>
                <a:ext uri="{FF2B5EF4-FFF2-40B4-BE49-F238E27FC236}">
                  <a16:creationId xmlns:a16="http://schemas.microsoft.com/office/drawing/2014/main" id="{66A11F81-CD2C-540E-200A-62AE4E8FF801}"/>
                </a:ext>
              </a:extLst>
            </p:cNvPr>
            <p:cNvSpPr/>
            <p:nvPr/>
          </p:nvSpPr>
          <p:spPr>
            <a:xfrm>
              <a:off x="5051153" y="3691069"/>
              <a:ext cx="1171" cy="67579"/>
            </a:xfrm>
            <a:custGeom>
              <a:avLst/>
              <a:gdLst>
                <a:gd name="connsiteX0" fmla="*/ 0 w 1171"/>
                <a:gd name="connsiteY0" fmla="*/ 0 h 67579"/>
                <a:gd name="connsiteX1" fmla="*/ 0 w 1171"/>
                <a:gd name="connsiteY1" fmla="*/ 67579 h 675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1" h="67579">
                  <a:moveTo>
                    <a:pt x="0" y="0"/>
                  </a:moveTo>
                  <a:lnTo>
                    <a:pt x="0" y="67579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817" name="Gráfico 15">
              <a:extLst>
                <a:ext uri="{FF2B5EF4-FFF2-40B4-BE49-F238E27FC236}">
                  <a16:creationId xmlns:a16="http://schemas.microsoft.com/office/drawing/2014/main" id="{54F0BEF2-1D5B-F51F-2254-D9179C2B4BCA}"/>
                </a:ext>
              </a:extLst>
            </p:cNvPr>
            <p:cNvGrpSpPr/>
            <p:nvPr/>
          </p:nvGrpSpPr>
          <p:grpSpPr>
            <a:xfrm>
              <a:off x="4906974" y="3611272"/>
              <a:ext cx="267871" cy="341491"/>
              <a:chOff x="4906974" y="3611272"/>
              <a:chExt cx="267871" cy="341491"/>
            </a:xfrm>
            <a:noFill/>
          </p:grpSpPr>
          <p:sp>
            <p:nvSpPr>
              <p:cNvPr id="1818" name="Forma livre: Forma 1817">
                <a:extLst>
                  <a:ext uri="{FF2B5EF4-FFF2-40B4-BE49-F238E27FC236}">
                    <a16:creationId xmlns:a16="http://schemas.microsoft.com/office/drawing/2014/main" id="{4B01D9A5-371E-2EA7-1567-C75E6DBD1EE4}"/>
                  </a:ext>
                </a:extLst>
              </p:cNvPr>
              <p:cNvSpPr/>
              <p:nvPr/>
            </p:nvSpPr>
            <p:spPr>
              <a:xfrm>
                <a:off x="4906974" y="3721580"/>
                <a:ext cx="89687" cy="163276"/>
              </a:xfrm>
              <a:custGeom>
                <a:avLst/>
                <a:gdLst>
                  <a:gd name="connsiteX0" fmla="*/ 87353 w 89687"/>
                  <a:gd name="connsiteY0" fmla="*/ 161367 h 163276"/>
                  <a:gd name="connsiteX1" fmla="*/ 62893 w 89687"/>
                  <a:gd name="connsiteY1" fmla="*/ 82941 h 163276"/>
                  <a:gd name="connsiteX2" fmla="*/ 62835 w 89687"/>
                  <a:gd name="connsiteY2" fmla="*/ 82800 h 163276"/>
                  <a:gd name="connsiteX3" fmla="*/ 77314 w 89687"/>
                  <a:gd name="connsiteY3" fmla="*/ 38321 h 163276"/>
                  <a:gd name="connsiteX4" fmla="*/ 73190 w 89687"/>
                  <a:gd name="connsiteY4" fmla="*/ 11191 h 163276"/>
                  <a:gd name="connsiteX5" fmla="*/ 68083 w 89687"/>
                  <a:gd name="connsiteY5" fmla="*/ 4491 h 163276"/>
                  <a:gd name="connsiteX6" fmla="*/ 48954 w 89687"/>
                  <a:gd name="connsiteY6" fmla="*/ 6670 h 163276"/>
                  <a:gd name="connsiteX7" fmla="*/ 17864 w 89687"/>
                  <a:gd name="connsiteY7" fmla="*/ 100711 h 163276"/>
                  <a:gd name="connsiteX8" fmla="*/ 19012 w 89687"/>
                  <a:gd name="connsiteY8" fmla="*/ 142847 h 163276"/>
                  <a:gd name="connsiteX9" fmla="*/ 0 w 89687"/>
                  <a:gd name="connsiteY9" fmla="*/ 163277 h 1632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89687" h="163276">
                    <a:moveTo>
                      <a:pt x="87353" y="161367"/>
                    </a:moveTo>
                    <a:cubicBezTo>
                      <a:pt x="99067" y="116853"/>
                      <a:pt x="62893" y="82941"/>
                      <a:pt x="62893" y="82941"/>
                    </a:cubicBezTo>
                    <a:lnTo>
                      <a:pt x="62835" y="82800"/>
                    </a:lnTo>
                    <a:lnTo>
                      <a:pt x="77314" y="38321"/>
                    </a:lnTo>
                    <a:cubicBezTo>
                      <a:pt x="79996" y="30098"/>
                      <a:pt x="78626" y="20258"/>
                      <a:pt x="73190" y="11191"/>
                    </a:cubicBezTo>
                    <a:lnTo>
                      <a:pt x="68083" y="4491"/>
                    </a:lnTo>
                    <a:cubicBezTo>
                      <a:pt x="62636" y="-2046"/>
                      <a:pt x="51624" y="-1554"/>
                      <a:pt x="48954" y="6670"/>
                    </a:cubicBezTo>
                    <a:lnTo>
                      <a:pt x="17864" y="100711"/>
                    </a:lnTo>
                    <a:cubicBezTo>
                      <a:pt x="13600" y="113819"/>
                      <a:pt x="16950" y="130055"/>
                      <a:pt x="19012" y="142847"/>
                    </a:cubicBezTo>
                    <a:lnTo>
                      <a:pt x="0" y="163277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819" name="Forma livre: Forma 1818">
                <a:extLst>
                  <a:ext uri="{FF2B5EF4-FFF2-40B4-BE49-F238E27FC236}">
                    <a16:creationId xmlns:a16="http://schemas.microsoft.com/office/drawing/2014/main" id="{619A037C-8691-A8AF-DE16-99D1E507543B}"/>
                  </a:ext>
                </a:extLst>
              </p:cNvPr>
              <p:cNvSpPr/>
              <p:nvPr/>
            </p:nvSpPr>
            <p:spPr>
              <a:xfrm>
                <a:off x="4983550" y="3897004"/>
                <a:ext cx="103319" cy="55759"/>
              </a:xfrm>
              <a:custGeom>
                <a:avLst/>
                <a:gdLst>
                  <a:gd name="connsiteX0" fmla="*/ 103319 w 103319"/>
                  <a:gd name="connsiteY0" fmla="*/ 0 h 55759"/>
                  <a:gd name="connsiteX1" fmla="*/ 18274 w 103319"/>
                  <a:gd name="connsiteY1" fmla="*/ 35845 h 55759"/>
                  <a:gd name="connsiteX2" fmla="*/ 0 w 103319"/>
                  <a:gd name="connsiteY2" fmla="*/ 55759 h 557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03319" h="55759">
                    <a:moveTo>
                      <a:pt x="103319" y="0"/>
                    </a:moveTo>
                    <a:cubicBezTo>
                      <a:pt x="103319" y="0"/>
                      <a:pt x="100273" y="29988"/>
                      <a:pt x="18274" y="35845"/>
                    </a:cubicBezTo>
                    <a:lnTo>
                      <a:pt x="0" y="55759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820" name="Forma livre: Forma 1819">
                <a:extLst>
                  <a:ext uri="{FF2B5EF4-FFF2-40B4-BE49-F238E27FC236}">
                    <a16:creationId xmlns:a16="http://schemas.microsoft.com/office/drawing/2014/main" id="{CC1433F3-13FD-1312-3FB1-A45F308AE139}"/>
                  </a:ext>
                </a:extLst>
              </p:cNvPr>
              <p:cNvSpPr/>
              <p:nvPr/>
            </p:nvSpPr>
            <p:spPr>
              <a:xfrm>
                <a:off x="5118353" y="3729296"/>
                <a:ext cx="46430" cy="43880"/>
              </a:xfrm>
              <a:custGeom>
                <a:avLst/>
                <a:gdLst>
                  <a:gd name="connsiteX0" fmla="*/ 43323 w 46430"/>
                  <a:gd name="connsiteY0" fmla="*/ 8008 h 43880"/>
                  <a:gd name="connsiteX1" fmla="*/ 41226 w 46430"/>
                  <a:gd name="connsiteY1" fmla="*/ 27782 h 43880"/>
                  <a:gd name="connsiteX2" fmla="*/ 25142 w 46430"/>
                  <a:gd name="connsiteY2" fmla="*/ 40773 h 43880"/>
                  <a:gd name="connsiteX3" fmla="*/ 5380 w 46430"/>
                  <a:gd name="connsiteY3" fmla="*/ 38676 h 43880"/>
                  <a:gd name="connsiteX4" fmla="*/ 3108 w 46430"/>
                  <a:gd name="connsiteY4" fmla="*/ 35876 h 43880"/>
                  <a:gd name="connsiteX5" fmla="*/ 5205 w 46430"/>
                  <a:gd name="connsiteY5" fmla="*/ 16103 h 43880"/>
                  <a:gd name="connsiteX6" fmla="*/ 21288 w 46430"/>
                  <a:gd name="connsiteY6" fmla="*/ 3112 h 43880"/>
                  <a:gd name="connsiteX7" fmla="*/ 41050 w 46430"/>
                  <a:gd name="connsiteY7" fmla="*/ 5208 h 43880"/>
                  <a:gd name="connsiteX8" fmla="*/ 43323 w 46430"/>
                  <a:gd name="connsiteY8" fmla="*/ 8008 h 438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6430" h="43880">
                    <a:moveTo>
                      <a:pt x="43323" y="8008"/>
                    </a:moveTo>
                    <a:cubicBezTo>
                      <a:pt x="48184" y="14017"/>
                      <a:pt x="47235" y="22920"/>
                      <a:pt x="41226" y="27782"/>
                    </a:cubicBezTo>
                    <a:lnTo>
                      <a:pt x="25142" y="40773"/>
                    </a:lnTo>
                    <a:cubicBezTo>
                      <a:pt x="19133" y="45634"/>
                      <a:pt x="10230" y="44685"/>
                      <a:pt x="5380" y="38676"/>
                    </a:cubicBezTo>
                    <a:lnTo>
                      <a:pt x="3108" y="35876"/>
                    </a:lnTo>
                    <a:cubicBezTo>
                      <a:pt x="-1754" y="29867"/>
                      <a:pt x="-805" y="20964"/>
                      <a:pt x="5205" y="16103"/>
                    </a:cubicBezTo>
                    <a:lnTo>
                      <a:pt x="21288" y="3112"/>
                    </a:lnTo>
                    <a:cubicBezTo>
                      <a:pt x="27298" y="-1750"/>
                      <a:pt x="36200" y="-813"/>
                      <a:pt x="41050" y="5208"/>
                    </a:cubicBezTo>
                    <a:lnTo>
                      <a:pt x="43323" y="8008"/>
                    </a:lnTo>
                    <a:close/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821" name="Forma livre: Forma 1820">
                <a:extLst>
                  <a:ext uri="{FF2B5EF4-FFF2-40B4-BE49-F238E27FC236}">
                    <a16:creationId xmlns:a16="http://schemas.microsoft.com/office/drawing/2014/main" id="{C3236408-8CE3-4BE4-EE3A-504CE5B7E81D}"/>
                  </a:ext>
                </a:extLst>
              </p:cNvPr>
              <p:cNvSpPr/>
              <p:nvPr/>
            </p:nvSpPr>
            <p:spPr>
              <a:xfrm>
                <a:off x="5128080" y="3668937"/>
                <a:ext cx="46766" cy="61139"/>
              </a:xfrm>
              <a:custGeom>
                <a:avLst/>
                <a:gdLst>
                  <a:gd name="connsiteX0" fmla="*/ 176 w 46766"/>
                  <a:gd name="connsiteY0" fmla="*/ 20222 h 61139"/>
                  <a:gd name="connsiteX1" fmla="*/ 21613 w 46766"/>
                  <a:gd name="connsiteY1" fmla="*/ 3108 h 61139"/>
                  <a:gd name="connsiteX2" fmla="*/ 41386 w 46766"/>
                  <a:gd name="connsiteY2" fmla="*/ 5205 h 61139"/>
                  <a:gd name="connsiteX3" fmla="*/ 43659 w 46766"/>
                  <a:gd name="connsiteY3" fmla="*/ 8004 h 61139"/>
                  <a:gd name="connsiteX4" fmla="*/ 41562 w 46766"/>
                  <a:gd name="connsiteY4" fmla="*/ 27778 h 61139"/>
                  <a:gd name="connsiteX5" fmla="*/ 0 w 46766"/>
                  <a:gd name="connsiteY5" fmla="*/ 61140 h 611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46766" h="61139">
                    <a:moveTo>
                      <a:pt x="176" y="20222"/>
                    </a:moveTo>
                    <a:lnTo>
                      <a:pt x="21613" y="3108"/>
                    </a:lnTo>
                    <a:cubicBezTo>
                      <a:pt x="27622" y="-1754"/>
                      <a:pt x="36525" y="-805"/>
                      <a:pt x="41386" y="5205"/>
                    </a:cubicBezTo>
                    <a:lnTo>
                      <a:pt x="43659" y="8004"/>
                    </a:lnTo>
                    <a:cubicBezTo>
                      <a:pt x="48520" y="14014"/>
                      <a:pt x="47571" y="22917"/>
                      <a:pt x="41562" y="27778"/>
                    </a:cubicBezTo>
                    <a:lnTo>
                      <a:pt x="0" y="6114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822" name="Forma livre: Forma 1821">
                <a:extLst>
                  <a:ext uri="{FF2B5EF4-FFF2-40B4-BE49-F238E27FC236}">
                    <a16:creationId xmlns:a16="http://schemas.microsoft.com/office/drawing/2014/main" id="{5A2B97C0-3C97-CA8F-BB20-82DDD8102066}"/>
                  </a:ext>
                </a:extLst>
              </p:cNvPr>
              <p:cNvSpPr/>
              <p:nvPr/>
            </p:nvSpPr>
            <p:spPr>
              <a:xfrm>
                <a:off x="5118353" y="3774048"/>
                <a:ext cx="46430" cy="43871"/>
              </a:xfrm>
              <a:custGeom>
                <a:avLst/>
                <a:gdLst>
                  <a:gd name="connsiteX0" fmla="*/ 43323 w 46430"/>
                  <a:gd name="connsiteY0" fmla="*/ 8004 h 43871"/>
                  <a:gd name="connsiteX1" fmla="*/ 41226 w 46430"/>
                  <a:gd name="connsiteY1" fmla="*/ 27778 h 43871"/>
                  <a:gd name="connsiteX2" fmla="*/ 25142 w 46430"/>
                  <a:gd name="connsiteY2" fmla="*/ 40769 h 43871"/>
                  <a:gd name="connsiteX3" fmla="*/ 5380 w 46430"/>
                  <a:gd name="connsiteY3" fmla="*/ 38672 h 43871"/>
                  <a:gd name="connsiteX4" fmla="*/ 3108 w 46430"/>
                  <a:gd name="connsiteY4" fmla="*/ 35872 h 43871"/>
                  <a:gd name="connsiteX5" fmla="*/ 5205 w 46430"/>
                  <a:gd name="connsiteY5" fmla="*/ 16099 h 43871"/>
                  <a:gd name="connsiteX6" fmla="*/ 21288 w 46430"/>
                  <a:gd name="connsiteY6" fmla="*/ 3108 h 43871"/>
                  <a:gd name="connsiteX7" fmla="*/ 41050 w 46430"/>
                  <a:gd name="connsiteY7" fmla="*/ 5205 h 43871"/>
                  <a:gd name="connsiteX8" fmla="*/ 43323 w 46430"/>
                  <a:gd name="connsiteY8" fmla="*/ 8004 h 438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6430" h="43871">
                    <a:moveTo>
                      <a:pt x="43323" y="8004"/>
                    </a:moveTo>
                    <a:cubicBezTo>
                      <a:pt x="48184" y="14014"/>
                      <a:pt x="47235" y="22917"/>
                      <a:pt x="41226" y="27778"/>
                    </a:cubicBezTo>
                    <a:lnTo>
                      <a:pt x="25142" y="40769"/>
                    </a:lnTo>
                    <a:cubicBezTo>
                      <a:pt x="19133" y="45619"/>
                      <a:pt x="10230" y="44681"/>
                      <a:pt x="5380" y="38672"/>
                    </a:cubicBezTo>
                    <a:lnTo>
                      <a:pt x="3108" y="35872"/>
                    </a:lnTo>
                    <a:cubicBezTo>
                      <a:pt x="-1754" y="29863"/>
                      <a:pt x="-805" y="20960"/>
                      <a:pt x="5205" y="16099"/>
                    </a:cubicBezTo>
                    <a:lnTo>
                      <a:pt x="21288" y="3108"/>
                    </a:lnTo>
                    <a:cubicBezTo>
                      <a:pt x="27298" y="-1754"/>
                      <a:pt x="36200" y="-805"/>
                      <a:pt x="41050" y="5205"/>
                    </a:cubicBezTo>
                    <a:lnTo>
                      <a:pt x="43323" y="8004"/>
                    </a:lnTo>
                    <a:close/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823" name="Forma livre: Forma 1822">
                <a:extLst>
                  <a:ext uri="{FF2B5EF4-FFF2-40B4-BE49-F238E27FC236}">
                    <a16:creationId xmlns:a16="http://schemas.microsoft.com/office/drawing/2014/main" id="{75E63431-BAD3-A79E-2B44-123728EBCA91}"/>
                  </a:ext>
                </a:extLst>
              </p:cNvPr>
              <p:cNvSpPr/>
              <p:nvPr/>
            </p:nvSpPr>
            <p:spPr>
              <a:xfrm>
                <a:off x="5118353" y="3821608"/>
                <a:ext cx="46430" cy="43876"/>
              </a:xfrm>
              <a:custGeom>
                <a:avLst/>
                <a:gdLst>
                  <a:gd name="connsiteX0" fmla="*/ 43323 w 46430"/>
                  <a:gd name="connsiteY0" fmla="*/ 8004 h 43876"/>
                  <a:gd name="connsiteX1" fmla="*/ 41226 w 46430"/>
                  <a:gd name="connsiteY1" fmla="*/ 27778 h 43876"/>
                  <a:gd name="connsiteX2" fmla="*/ 25142 w 46430"/>
                  <a:gd name="connsiteY2" fmla="*/ 40769 h 43876"/>
                  <a:gd name="connsiteX3" fmla="*/ 5380 w 46430"/>
                  <a:gd name="connsiteY3" fmla="*/ 38672 h 43876"/>
                  <a:gd name="connsiteX4" fmla="*/ 3108 w 46430"/>
                  <a:gd name="connsiteY4" fmla="*/ 35872 h 43876"/>
                  <a:gd name="connsiteX5" fmla="*/ 5205 w 46430"/>
                  <a:gd name="connsiteY5" fmla="*/ 16099 h 43876"/>
                  <a:gd name="connsiteX6" fmla="*/ 21288 w 46430"/>
                  <a:gd name="connsiteY6" fmla="*/ 3108 h 43876"/>
                  <a:gd name="connsiteX7" fmla="*/ 41050 w 46430"/>
                  <a:gd name="connsiteY7" fmla="*/ 5205 h 43876"/>
                  <a:gd name="connsiteX8" fmla="*/ 43323 w 46430"/>
                  <a:gd name="connsiteY8" fmla="*/ 8004 h 438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6430" h="43876">
                    <a:moveTo>
                      <a:pt x="43323" y="8004"/>
                    </a:moveTo>
                    <a:cubicBezTo>
                      <a:pt x="48184" y="14014"/>
                      <a:pt x="47235" y="22917"/>
                      <a:pt x="41226" y="27778"/>
                    </a:cubicBezTo>
                    <a:lnTo>
                      <a:pt x="25142" y="40769"/>
                    </a:lnTo>
                    <a:cubicBezTo>
                      <a:pt x="19133" y="45630"/>
                      <a:pt x="10230" y="44681"/>
                      <a:pt x="5380" y="38672"/>
                    </a:cubicBezTo>
                    <a:lnTo>
                      <a:pt x="3108" y="35872"/>
                    </a:lnTo>
                    <a:cubicBezTo>
                      <a:pt x="-1754" y="29863"/>
                      <a:pt x="-805" y="20960"/>
                      <a:pt x="5205" y="16099"/>
                    </a:cubicBezTo>
                    <a:lnTo>
                      <a:pt x="21288" y="3108"/>
                    </a:lnTo>
                    <a:cubicBezTo>
                      <a:pt x="27298" y="-1754"/>
                      <a:pt x="36200" y="-805"/>
                      <a:pt x="41050" y="5205"/>
                    </a:cubicBezTo>
                    <a:lnTo>
                      <a:pt x="43323" y="8004"/>
                    </a:lnTo>
                    <a:close/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1824" name="Gráfico 15">
                <a:extLst>
                  <a:ext uri="{FF2B5EF4-FFF2-40B4-BE49-F238E27FC236}">
                    <a16:creationId xmlns:a16="http://schemas.microsoft.com/office/drawing/2014/main" id="{F1A37BDB-5676-7EDE-B790-E294256684C9}"/>
                  </a:ext>
                </a:extLst>
              </p:cNvPr>
              <p:cNvGrpSpPr/>
              <p:nvPr/>
            </p:nvGrpSpPr>
            <p:grpSpPr>
              <a:xfrm>
                <a:off x="4970758" y="3611272"/>
                <a:ext cx="157309" cy="284361"/>
                <a:chOff x="4970758" y="3611272"/>
                <a:chExt cx="157309" cy="284361"/>
              </a:xfrm>
              <a:noFill/>
            </p:grpSpPr>
            <p:sp>
              <p:nvSpPr>
                <p:cNvPr id="1825" name="Forma livre: Forma 1824">
                  <a:extLst>
                    <a:ext uri="{FF2B5EF4-FFF2-40B4-BE49-F238E27FC236}">
                      <a16:creationId xmlns:a16="http://schemas.microsoft.com/office/drawing/2014/main" id="{69C5DC32-BF89-8A77-4F2A-990F1A07CBAA}"/>
                    </a:ext>
                  </a:extLst>
                </p:cNvPr>
                <p:cNvSpPr/>
                <p:nvPr/>
              </p:nvSpPr>
              <p:spPr>
                <a:xfrm>
                  <a:off x="5014874" y="3865141"/>
                  <a:ext cx="113194" cy="30492"/>
                </a:xfrm>
                <a:custGeom>
                  <a:avLst/>
                  <a:gdLst>
                    <a:gd name="connsiteX0" fmla="*/ 113194 w 113194"/>
                    <a:gd name="connsiteY0" fmla="*/ 0 h 30492"/>
                    <a:gd name="connsiteX1" fmla="*/ 113194 w 113194"/>
                    <a:gd name="connsiteY1" fmla="*/ 17243 h 30492"/>
                    <a:gd name="connsiteX2" fmla="*/ 100332 w 113194"/>
                    <a:gd name="connsiteY2" fmla="*/ 30492 h 30492"/>
                    <a:gd name="connsiteX3" fmla="*/ 0 w 113194"/>
                    <a:gd name="connsiteY3" fmla="*/ 30492 h 304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13194" h="30492">
                      <a:moveTo>
                        <a:pt x="113194" y="0"/>
                      </a:moveTo>
                      <a:lnTo>
                        <a:pt x="113194" y="17243"/>
                      </a:lnTo>
                      <a:cubicBezTo>
                        <a:pt x="113194" y="24330"/>
                        <a:pt x="107396" y="30492"/>
                        <a:pt x="100332" y="30492"/>
                      </a:cubicBezTo>
                      <a:lnTo>
                        <a:pt x="0" y="30492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826" name="Forma livre: Forma 1825">
                  <a:extLst>
                    <a:ext uri="{FF2B5EF4-FFF2-40B4-BE49-F238E27FC236}">
                      <a16:creationId xmlns:a16="http://schemas.microsoft.com/office/drawing/2014/main" id="{615CA4D6-698D-EDD5-7F43-F7F9740660E3}"/>
                    </a:ext>
                  </a:extLst>
                </p:cNvPr>
                <p:cNvSpPr/>
                <p:nvPr/>
              </p:nvSpPr>
              <p:spPr>
                <a:xfrm>
                  <a:off x="4970758" y="3611272"/>
                  <a:ext cx="157239" cy="129851"/>
                </a:xfrm>
                <a:custGeom>
                  <a:avLst/>
                  <a:gdLst>
                    <a:gd name="connsiteX0" fmla="*/ 0 w 157239"/>
                    <a:gd name="connsiteY0" fmla="*/ 88934 h 129851"/>
                    <a:gd name="connsiteX1" fmla="*/ 0 w 157239"/>
                    <a:gd name="connsiteY1" fmla="*/ 12874 h 129851"/>
                    <a:gd name="connsiteX2" fmla="*/ 12862 w 157239"/>
                    <a:gd name="connsiteY2" fmla="*/ 0 h 129851"/>
                    <a:gd name="connsiteX3" fmla="*/ 144377 w 157239"/>
                    <a:gd name="connsiteY3" fmla="*/ 0 h 129851"/>
                    <a:gd name="connsiteX4" fmla="*/ 157239 w 157239"/>
                    <a:gd name="connsiteY4" fmla="*/ 12874 h 129851"/>
                    <a:gd name="connsiteX5" fmla="*/ 157239 w 157239"/>
                    <a:gd name="connsiteY5" fmla="*/ 129852 h 12985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157239" h="129851">
                      <a:moveTo>
                        <a:pt x="0" y="88934"/>
                      </a:moveTo>
                      <a:lnTo>
                        <a:pt x="0" y="12874"/>
                      </a:lnTo>
                      <a:cubicBezTo>
                        <a:pt x="0" y="5799"/>
                        <a:pt x="5787" y="0"/>
                        <a:pt x="12862" y="0"/>
                      </a:cubicBezTo>
                      <a:lnTo>
                        <a:pt x="144377" y="0"/>
                      </a:lnTo>
                      <a:cubicBezTo>
                        <a:pt x="151453" y="0"/>
                        <a:pt x="157239" y="5799"/>
                        <a:pt x="157239" y="12874"/>
                      </a:cubicBezTo>
                      <a:lnTo>
                        <a:pt x="157239" y="129852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827" name="Forma livre: Forma 1826">
                  <a:extLst>
                    <a:ext uri="{FF2B5EF4-FFF2-40B4-BE49-F238E27FC236}">
                      <a16:creationId xmlns:a16="http://schemas.microsoft.com/office/drawing/2014/main" id="{E09B8DCE-A45D-799B-4052-5159AB0B4B2F}"/>
                    </a:ext>
                  </a:extLst>
                </p:cNvPr>
                <p:cNvSpPr/>
                <p:nvPr/>
              </p:nvSpPr>
              <p:spPr>
                <a:xfrm>
                  <a:off x="5012051" y="3839663"/>
                  <a:ext cx="89156" cy="1171"/>
                </a:xfrm>
                <a:custGeom>
                  <a:avLst/>
                  <a:gdLst>
                    <a:gd name="connsiteX0" fmla="*/ 0 w 89156"/>
                    <a:gd name="connsiteY0" fmla="*/ 0 h 1171"/>
                    <a:gd name="connsiteX1" fmla="*/ 89157 w 89156"/>
                    <a:gd name="connsiteY1" fmla="*/ 0 h 11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89156" h="1171">
                      <a:moveTo>
                        <a:pt x="0" y="0"/>
                      </a:moveTo>
                      <a:lnTo>
                        <a:pt x="89157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828" name="Forma livre: Forma 1827">
                  <a:extLst>
                    <a:ext uri="{FF2B5EF4-FFF2-40B4-BE49-F238E27FC236}">
                      <a16:creationId xmlns:a16="http://schemas.microsoft.com/office/drawing/2014/main" id="{72C56790-6919-E9BF-B7D0-9CB43F40ECA9}"/>
                    </a:ext>
                  </a:extLst>
                </p:cNvPr>
                <p:cNvSpPr/>
                <p:nvPr/>
              </p:nvSpPr>
              <p:spPr>
                <a:xfrm>
                  <a:off x="5038747" y="3867262"/>
                  <a:ext cx="21378" cy="1171"/>
                </a:xfrm>
                <a:custGeom>
                  <a:avLst/>
                  <a:gdLst>
                    <a:gd name="connsiteX0" fmla="*/ 0 w 21378"/>
                    <a:gd name="connsiteY0" fmla="*/ 0 h 1171"/>
                    <a:gd name="connsiteX1" fmla="*/ 21378 w 21378"/>
                    <a:gd name="connsiteY1" fmla="*/ 0 h 11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1378" h="1171">
                      <a:moveTo>
                        <a:pt x="0" y="0"/>
                      </a:moveTo>
                      <a:lnTo>
                        <a:pt x="21378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</p:grpSp>
      <p:grpSp>
        <p:nvGrpSpPr>
          <p:cNvPr id="1829" name="Gráfico 15">
            <a:extLst>
              <a:ext uri="{FF2B5EF4-FFF2-40B4-BE49-F238E27FC236}">
                <a16:creationId xmlns:a16="http://schemas.microsoft.com/office/drawing/2014/main" id="{0FFCF2CA-5680-DF93-6EB3-7936B4609648}"/>
              </a:ext>
            </a:extLst>
          </p:cNvPr>
          <p:cNvGrpSpPr/>
          <p:nvPr/>
        </p:nvGrpSpPr>
        <p:grpSpPr>
          <a:xfrm>
            <a:off x="4328716" y="5721124"/>
            <a:ext cx="203065" cy="291589"/>
            <a:chOff x="4328716" y="5721124"/>
            <a:chExt cx="203065" cy="291589"/>
          </a:xfrm>
          <a:noFill/>
        </p:grpSpPr>
        <p:grpSp>
          <p:nvGrpSpPr>
            <p:cNvPr id="1830" name="Gráfico 15">
              <a:extLst>
                <a:ext uri="{FF2B5EF4-FFF2-40B4-BE49-F238E27FC236}">
                  <a16:creationId xmlns:a16="http://schemas.microsoft.com/office/drawing/2014/main" id="{FC2EAB99-1E7A-67CE-5A25-37DA2CF26505}"/>
                </a:ext>
              </a:extLst>
            </p:cNvPr>
            <p:cNvGrpSpPr/>
            <p:nvPr/>
          </p:nvGrpSpPr>
          <p:grpSpPr>
            <a:xfrm>
              <a:off x="4328716" y="5721124"/>
              <a:ext cx="161245" cy="291589"/>
              <a:chOff x="4328716" y="5721124"/>
              <a:chExt cx="161245" cy="291589"/>
            </a:xfrm>
            <a:noFill/>
          </p:grpSpPr>
          <p:sp>
            <p:nvSpPr>
              <p:cNvPr id="1831" name="Forma livre: Forma 1830">
                <a:extLst>
                  <a:ext uri="{FF2B5EF4-FFF2-40B4-BE49-F238E27FC236}">
                    <a16:creationId xmlns:a16="http://schemas.microsoft.com/office/drawing/2014/main" id="{6F303241-3961-4F22-A886-2A7CAA1DF9AE}"/>
                  </a:ext>
                </a:extLst>
              </p:cNvPr>
              <p:cNvSpPr/>
              <p:nvPr/>
            </p:nvSpPr>
            <p:spPr>
              <a:xfrm>
                <a:off x="4328716" y="5721124"/>
                <a:ext cx="161245" cy="291589"/>
              </a:xfrm>
              <a:custGeom>
                <a:avLst/>
                <a:gdLst>
                  <a:gd name="connsiteX0" fmla="*/ 161246 w 161245"/>
                  <a:gd name="connsiteY0" fmla="*/ 205338 h 291589"/>
                  <a:gd name="connsiteX1" fmla="*/ 161246 w 161245"/>
                  <a:gd name="connsiteY1" fmla="*/ 277978 h 291589"/>
                  <a:gd name="connsiteX2" fmla="*/ 148044 w 161245"/>
                  <a:gd name="connsiteY2" fmla="*/ 291589 h 291589"/>
                  <a:gd name="connsiteX3" fmla="*/ 13202 w 161245"/>
                  <a:gd name="connsiteY3" fmla="*/ 291589 h 291589"/>
                  <a:gd name="connsiteX4" fmla="*/ 0 w 161245"/>
                  <a:gd name="connsiteY4" fmla="*/ 277978 h 291589"/>
                  <a:gd name="connsiteX5" fmla="*/ 0 w 161245"/>
                  <a:gd name="connsiteY5" fmla="*/ 13202 h 291589"/>
                  <a:gd name="connsiteX6" fmla="*/ 13202 w 161245"/>
                  <a:gd name="connsiteY6" fmla="*/ 0 h 291589"/>
                  <a:gd name="connsiteX7" fmla="*/ 148044 w 161245"/>
                  <a:gd name="connsiteY7" fmla="*/ 0 h 291589"/>
                  <a:gd name="connsiteX8" fmla="*/ 161246 w 161245"/>
                  <a:gd name="connsiteY8" fmla="*/ 13202 h 291589"/>
                  <a:gd name="connsiteX9" fmla="*/ 161246 w 161245"/>
                  <a:gd name="connsiteY9" fmla="*/ 31511 h 2915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61245" h="291589">
                    <a:moveTo>
                      <a:pt x="161246" y="205338"/>
                    </a:moveTo>
                    <a:lnTo>
                      <a:pt x="161246" y="277978"/>
                    </a:lnTo>
                    <a:cubicBezTo>
                      <a:pt x="161246" y="285240"/>
                      <a:pt x="155307" y="291589"/>
                      <a:pt x="148044" y="291589"/>
                    </a:cubicBezTo>
                    <a:lnTo>
                      <a:pt x="13202" y="291589"/>
                    </a:lnTo>
                    <a:cubicBezTo>
                      <a:pt x="5939" y="291589"/>
                      <a:pt x="0" y="285240"/>
                      <a:pt x="0" y="277978"/>
                    </a:cubicBezTo>
                    <a:lnTo>
                      <a:pt x="0" y="13202"/>
                    </a:lnTo>
                    <a:cubicBezTo>
                      <a:pt x="0" y="5939"/>
                      <a:pt x="5939" y="0"/>
                      <a:pt x="13202" y="0"/>
                    </a:cubicBezTo>
                    <a:lnTo>
                      <a:pt x="148044" y="0"/>
                    </a:lnTo>
                    <a:cubicBezTo>
                      <a:pt x="155307" y="0"/>
                      <a:pt x="161246" y="5939"/>
                      <a:pt x="161246" y="13202"/>
                    </a:cubicBezTo>
                    <a:lnTo>
                      <a:pt x="161246" y="31511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832" name="Forma livre: Forma 1831">
                <a:extLst>
                  <a:ext uri="{FF2B5EF4-FFF2-40B4-BE49-F238E27FC236}">
                    <a16:creationId xmlns:a16="http://schemas.microsoft.com/office/drawing/2014/main" id="{0A7FA1FF-69D3-586E-6DE4-1345D3AB78BD}"/>
                  </a:ext>
                </a:extLst>
              </p:cNvPr>
              <p:cNvSpPr/>
              <p:nvPr/>
            </p:nvSpPr>
            <p:spPr>
              <a:xfrm>
                <a:off x="4348337" y="5960785"/>
                <a:ext cx="122003" cy="1171"/>
              </a:xfrm>
              <a:custGeom>
                <a:avLst/>
                <a:gdLst>
                  <a:gd name="connsiteX0" fmla="*/ 0 w 122003"/>
                  <a:gd name="connsiteY0" fmla="*/ 0 h 1171"/>
                  <a:gd name="connsiteX1" fmla="*/ 122003 w 122003"/>
                  <a:gd name="connsiteY1" fmla="*/ 0 h 11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2003" h="1171">
                    <a:moveTo>
                      <a:pt x="0" y="0"/>
                    </a:moveTo>
                    <a:lnTo>
                      <a:pt x="122003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833" name="Forma livre: Forma 1832">
                <a:extLst>
                  <a:ext uri="{FF2B5EF4-FFF2-40B4-BE49-F238E27FC236}">
                    <a16:creationId xmlns:a16="http://schemas.microsoft.com/office/drawing/2014/main" id="{6A4E33E5-64EE-FE6A-4D9A-E66DD04581AC}"/>
                  </a:ext>
                </a:extLst>
              </p:cNvPr>
              <p:cNvSpPr/>
              <p:nvPr/>
            </p:nvSpPr>
            <p:spPr>
              <a:xfrm>
                <a:off x="4398380" y="5986802"/>
                <a:ext cx="21917" cy="1171"/>
              </a:xfrm>
              <a:custGeom>
                <a:avLst/>
                <a:gdLst>
                  <a:gd name="connsiteX0" fmla="*/ 0 w 21917"/>
                  <a:gd name="connsiteY0" fmla="*/ 0 h 1171"/>
                  <a:gd name="connsiteX1" fmla="*/ 21917 w 21917"/>
                  <a:gd name="connsiteY1" fmla="*/ 0 h 11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1917" h="1171">
                    <a:moveTo>
                      <a:pt x="0" y="0"/>
                    </a:moveTo>
                    <a:lnTo>
                      <a:pt x="21917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834" name="Forma livre: Forma 1833">
              <a:extLst>
                <a:ext uri="{FF2B5EF4-FFF2-40B4-BE49-F238E27FC236}">
                  <a16:creationId xmlns:a16="http://schemas.microsoft.com/office/drawing/2014/main" id="{15066CF0-24B0-3EF0-FABE-77BDDF01330D}"/>
                </a:ext>
              </a:extLst>
            </p:cNvPr>
            <p:cNvSpPr/>
            <p:nvPr/>
          </p:nvSpPr>
          <p:spPr>
            <a:xfrm>
              <a:off x="4362886" y="5761667"/>
              <a:ext cx="149976" cy="150011"/>
            </a:xfrm>
            <a:custGeom>
              <a:avLst/>
              <a:gdLst>
                <a:gd name="connsiteX0" fmla="*/ 149977 w 149976"/>
                <a:gd name="connsiteY0" fmla="*/ 75018 h 150011"/>
                <a:gd name="connsiteX1" fmla="*/ 74959 w 149976"/>
                <a:gd name="connsiteY1" fmla="*/ 150012 h 150011"/>
                <a:gd name="connsiteX2" fmla="*/ 0 w 149976"/>
                <a:gd name="connsiteY2" fmla="*/ 75018 h 150011"/>
                <a:gd name="connsiteX3" fmla="*/ 74959 w 149976"/>
                <a:gd name="connsiteY3" fmla="*/ 0 h 150011"/>
                <a:gd name="connsiteX4" fmla="*/ 149977 w 149976"/>
                <a:gd name="connsiteY4" fmla="*/ 75018 h 1500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9976" h="150011">
                  <a:moveTo>
                    <a:pt x="149977" y="75018"/>
                  </a:moveTo>
                  <a:cubicBezTo>
                    <a:pt x="149977" y="116439"/>
                    <a:pt x="116404" y="150012"/>
                    <a:pt x="74959" y="150012"/>
                  </a:cubicBezTo>
                  <a:cubicBezTo>
                    <a:pt x="33514" y="150012"/>
                    <a:pt x="0" y="116439"/>
                    <a:pt x="0" y="75018"/>
                  </a:cubicBezTo>
                  <a:cubicBezTo>
                    <a:pt x="0" y="33596"/>
                    <a:pt x="33596" y="0"/>
                    <a:pt x="74959" y="0"/>
                  </a:cubicBezTo>
                  <a:cubicBezTo>
                    <a:pt x="116322" y="0"/>
                    <a:pt x="149977" y="33585"/>
                    <a:pt x="149977" y="75018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35" name="Forma livre: Forma 1834">
              <a:extLst>
                <a:ext uri="{FF2B5EF4-FFF2-40B4-BE49-F238E27FC236}">
                  <a16:creationId xmlns:a16="http://schemas.microsoft.com/office/drawing/2014/main" id="{0BE47793-8D15-84FD-E18A-7DAD884A58F0}"/>
                </a:ext>
              </a:extLst>
            </p:cNvPr>
            <p:cNvSpPr/>
            <p:nvPr/>
          </p:nvSpPr>
          <p:spPr>
            <a:xfrm>
              <a:off x="4491297" y="5891413"/>
              <a:ext cx="40484" cy="41866"/>
            </a:xfrm>
            <a:custGeom>
              <a:avLst/>
              <a:gdLst>
                <a:gd name="connsiteX0" fmla="*/ 0 w 40484"/>
                <a:gd name="connsiteY0" fmla="*/ 0 h 41866"/>
                <a:gd name="connsiteX1" fmla="*/ 40484 w 40484"/>
                <a:gd name="connsiteY1" fmla="*/ 41866 h 418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0484" h="41866">
                  <a:moveTo>
                    <a:pt x="0" y="0"/>
                  </a:moveTo>
                  <a:lnTo>
                    <a:pt x="40484" y="41866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836" name="Gráfico 15">
              <a:extLst>
                <a:ext uri="{FF2B5EF4-FFF2-40B4-BE49-F238E27FC236}">
                  <a16:creationId xmlns:a16="http://schemas.microsoft.com/office/drawing/2014/main" id="{38E0D669-4D5E-EB78-56DE-40999AD193F1}"/>
                </a:ext>
              </a:extLst>
            </p:cNvPr>
            <p:cNvGrpSpPr/>
            <p:nvPr/>
          </p:nvGrpSpPr>
          <p:grpSpPr>
            <a:xfrm>
              <a:off x="4399083" y="5807563"/>
              <a:ext cx="77582" cy="59156"/>
              <a:chOff x="4399083" y="5807563"/>
              <a:chExt cx="77582" cy="59156"/>
            </a:xfrm>
          </p:grpSpPr>
          <p:sp>
            <p:nvSpPr>
              <p:cNvPr id="1837" name="Forma livre: Forma 1836">
                <a:extLst>
                  <a:ext uri="{FF2B5EF4-FFF2-40B4-BE49-F238E27FC236}">
                    <a16:creationId xmlns:a16="http://schemas.microsoft.com/office/drawing/2014/main" id="{28A33B3D-C8ED-1377-A4A9-B4BCD072F882}"/>
                  </a:ext>
                </a:extLst>
              </p:cNvPr>
              <p:cNvSpPr/>
              <p:nvPr/>
            </p:nvSpPr>
            <p:spPr>
              <a:xfrm>
                <a:off x="4476666" y="5807563"/>
                <a:ext cx="1171" cy="59156"/>
              </a:xfrm>
              <a:custGeom>
                <a:avLst/>
                <a:gdLst>
                  <a:gd name="connsiteX0" fmla="*/ 0 w 1171"/>
                  <a:gd name="connsiteY0" fmla="*/ 0 h 59156"/>
                  <a:gd name="connsiteX1" fmla="*/ 0 w 1171"/>
                  <a:gd name="connsiteY1" fmla="*/ 59157 h 591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71" h="59156">
                    <a:moveTo>
                      <a:pt x="0" y="0"/>
                    </a:moveTo>
                    <a:lnTo>
                      <a:pt x="0" y="59157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838" name="Forma livre: Forma 1837">
                <a:extLst>
                  <a:ext uri="{FF2B5EF4-FFF2-40B4-BE49-F238E27FC236}">
                    <a16:creationId xmlns:a16="http://schemas.microsoft.com/office/drawing/2014/main" id="{2FC13338-3E9B-ADED-E5E8-AB526F7F83AF}"/>
                  </a:ext>
                </a:extLst>
              </p:cNvPr>
              <p:cNvSpPr/>
              <p:nvPr/>
            </p:nvSpPr>
            <p:spPr>
              <a:xfrm>
                <a:off x="4450813" y="5807563"/>
                <a:ext cx="1171" cy="59156"/>
              </a:xfrm>
              <a:custGeom>
                <a:avLst/>
                <a:gdLst>
                  <a:gd name="connsiteX0" fmla="*/ 0 w 1171"/>
                  <a:gd name="connsiteY0" fmla="*/ 0 h 59156"/>
                  <a:gd name="connsiteX1" fmla="*/ 0 w 1171"/>
                  <a:gd name="connsiteY1" fmla="*/ 59157 h 591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71" h="59156">
                    <a:moveTo>
                      <a:pt x="0" y="0"/>
                    </a:moveTo>
                    <a:lnTo>
                      <a:pt x="0" y="59157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839" name="Forma livre: Forma 1838">
                <a:extLst>
                  <a:ext uri="{FF2B5EF4-FFF2-40B4-BE49-F238E27FC236}">
                    <a16:creationId xmlns:a16="http://schemas.microsoft.com/office/drawing/2014/main" id="{37DFFBE1-1695-71CD-F3FF-D3E0FB004D51}"/>
                  </a:ext>
                </a:extLst>
              </p:cNvPr>
              <p:cNvSpPr/>
              <p:nvPr/>
            </p:nvSpPr>
            <p:spPr>
              <a:xfrm>
                <a:off x="4424960" y="5807563"/>
                <a:ext cx="1171" cy="59156"/>
              </a:xfrm>
              <a:custGeom>
                <a:avLst/>
                <a:gdLst>
                  <a:gd name="connsiteX0" fmla="*/ 0 w 1171"/>
                  <a:gd name="connsiteY0" fmla="*/ 0 h 59156"/>
                  <a:gd name="connsiteX1" fmla="*/ 0 w 1171"/>
                  <a:gd name="connsiteY1" fmla="*/ 59157 h 591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71" h="59156">
                    <a:moveTo>
                      <a:pt x="0" y="0"/>
                    </a:moveTo>
                    <a:lnTo>
                      <a:pt x="0" y="59157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840" name="Forma livre: Forma 1839">
                <a:extLst>
                  <a:ext uri="{FF2B5EF4-FFF2-40B4-BE49-F238E27FC236}">
                    <a16:creationId xmlns:a16="http://schemas.microsoft.com/office/drawing/2014/main" id="{BD967AC8-BD28-5183-F17B-B1ED37AE2337}"/>
                  </a:ext>
                </a:extLst>
              </p:cNvPr>
              <p:cNvSpPr/>
              <p:nvPr/>
            </p:nvSpPr>
            <p:spPr>
              <a:xfrm>
                <a:off x="4399083" y="5807563"/>
                <a:ext cx="1171" cy="59156"/>
              </a:xfrm>
              <a:custGeom>
                <a:avLst/>
                <a:gdLst>
                  <a:gd name="connsiteX0" fmla="*/ 0 w 1171"/>
                  <a:gd name="connsiteY0" fmla="*/ 0 h 59156"/>
                  <a:gd name="connsiteX1" fmla="*/ 0 w 1171"/>
                  <a:gd name="connsiteY1" fmla="*/ 59157 h 591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71" h="59156">
                    <a:moveTo>
                      <a:pt x="0" y="0"/>
                    </a:moveTo>
                    <a:lnTo>
                      <a:pt x="0" y="59157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841" name="Gráfico 15">
            <a:extLst>
              <a:ext uri="{FF2B5EF4-FFF2-40B4-BE49-F238E27FC236}">
                <a16:creationId xmlns:a16="http://schemas.microsoft.com/office/drawing/2014/main" id="{1A76EDAD-1EE0-888E-2568-9DE9256DD818}"/>
              </a:ext>
            </a:extLst>
          </p:cNvPr>
          <p:cNvGrpSpPr/>
          <p:nvPr/>
        </p:nvGrpSpPr>
        <p:grpSpPr>
          <a:xfrm>
            <a:off x="4288583" y="4143331"/>
            <a:ext cx="283319" cy="319843"/>
            <a:chOff x="4288583" y="4143331"/>
            <a:chExt cx="283319" cy="319843"/>
          </a:xfrm>
          <a:noFill/>
        </p:grpSpPr>
        <p:sp>
          <p:nvSpPr>
            <p:cNvPr id="1842" name="Forma livre: Forma 1841">
              <a:extLst>
                <a:ext uri="{FF2B5EF4-FFF2-40B4-BE49-F238E27FC236}">
                  <a16:creationId xmlns:a16="http://schemas.microsoft.com/office/drawing/2014/main" id="{3AE7629B-0CE5-24A0-0BEF-8A2269E3AD50}"/>
                </a:ext>
              </a:extLst>
            </p:cNvPr>
            <p:cNvSpPr/>
            <p:nvPr/>
          </p:nvSpPr>
          <p:spPr>
            <a:xfrm>
              <a:off x="4343213" y="4143331"/>
              <a:ext cx="157490" cy="103814"/>
            </a:xfrm>
            <a:custGeom>
              <a:avLst/>
              <a:gdLst>
                <a:gd name="connsiteX0" fmla="*/ 157491 w 157490"/>
                <a:gd name="connsiteY0" fmla="*/ 101889 h 103814"/>
                <a:gd name="connsiteX1" fmla="*/ 63707 w 157490"/>
                <a:gd name="connsiteY1" fmla="*/ 79023 h 103814"/>
                <a:gd name="connsiteX2" fmla="*/ 1540 w 157490"/>
                <a:gd name="connsiteY2" fmla="*/ 6442 h 103814"/>
                <a:gd name="connsiteX3" fmla="*/ 82684 w 157490"/>
                <a:gd name="connsiteY3" fmla="*/ 21284 h 1038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7490" h="103814">
                  <a:moveTo>
                    <a:pt x="157491" y="101889"/>
                  </a:moveTo>
                  <a:cubicBezTo>
                    <a:pt x="140282" y="106223"/>
                    <a:pt x="106581" y="105052"/>
                    <a:pt x="63707" y="79023"/>
                  </a:cubicBezTo>
                  <a:cubicBezTo>
                    <a:pt x="20845" y="52994"/>
                    <a:pt x="-7000" y="20499"/>
                    <a:pt x="1540" y="6442"/>
                  </a:cubicBezTo>
                  <a:cubicBezTo>
                    <a:pt x="9294" y="-6303"/>
                    <a:pt x="44273" y="491"/>
                    <a:pt x="82684" y="21284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43" name="Forma livre: Forma 1842">
              <a:extLst>
                <a:ext uri="{FF2B5EF4-FFF2-40B4-BE49-F238E27FC236}">
                  <a16:creationId xmlns:a16="http://schemas.microsoft.com/office/drawing/2014/main" id="{4FEB193B-A803-5580-1FC6-60DC533AA729}"/>
                </a:ext>
              </a:extLst>
            </p:cNvPr>
            <p:cNvSpPr/>
            <p:nvPr/>
          </p:nvSpPr>
          <p:spPr>
            <a:xfrm>
              <a:off x="4489962" y="4222813"/>
              <a:ext cx="38990" cy="45673"/>
            </a:xfrm>
            <a:custGeom>
              <a:avLst/>
              <a:gdLst>
                <a:gd name="connsiteX0" fmla="*/ 0 w 38990"/>
                <a:gd name="connsiteY0" fmla="*/ 6686 h 45673"/>
                <a:gd name="connsiteX1" fmla="*/ 32296 w 38990"/>
                <a:gd name="connsiteY1" fmla="*/ 6686 h 45673"/>
                <a:gd name="connsiteX2" fmla="*/ 32296 w 38990"/>
                <a:gd name="connsiteY2" fmla="*/ 38982 h 45673"/>
                <a:gd name="connsiteX3" fmla="*/ 2437 w 38990"/>
                <a:gd name="connsiteY3" fmla="*/ 41114 h 456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8990" h="45673">
                  <a:moveTo>
                    <a:pt x="0" y="6686"/>
                  </a:moveTo>
                  <a:cubicBezTo>
                    <a:pt x="8914" y="-2229"/>
                    <a:pt x="23370" y="-2229"/>
                    <a:pt x="32296" y="6686"/>
                  </a:cubicBezTo>
                  <a:cubicBezTo>
                    <a:pt x="41222" y="15612"/>
                    <a:pt x="41222" y="30067"/>
                    <a:pt x="32296" y="38982"/>
                  </a:cubicBezTo>
                  <a:cubicBezTo>
                    <a:pt x="24155" y="47123"/>
                    <a:pt x="11398" y="47838"/>
                    <a:pt x="2437" y="41114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44" name="Forma livre: Forma 1843">
              <a:extLst>
                <a:ext uri="{FF2B5EF4-FFF2-40B4-BE49-F238E27FC236}">
                  <a16:creationId xmlns:a16="http://schemas.microsoft.com/office/drawing/2014/main" id="{808B1F51-466E-69F0-37E4-CE2267F41A1B}"/>
                </a:ext>
              </a:extLst>
            </p:cNvPr>
            <p:cNvSpPr/>
            <p:nvPr/>
          </p:nvSpPr>
          <p:spPr>
            <a:xfrm>
              <a:off x="4288583" y="4179878"/>
              <a:ext cx="283319" cy="283295"/>
            </a:xfrm>
            <a:custGeom>
              <a:avLst/>
              <a:gdLst>
                <a:gd name="connsiteX0" fmla="*/ 113311 w 283319"/>
                <a:gd name="connsiteY0" fmla="*/ 42089 h 283295"/>
                <a:gd name="connsiteX1" fmla="*/ 0 w 283319"/>
                <a:gd name="connsiteY1" fmla="*/ 155389 h 283295"/>
                <a:gd name="connsiteX2" fmla="*/ 127919 w 283319"/>
                <a:gd name="connsiteY2" fmla="*/ 283296 h 283295"/>
                <a:gd name="connsiteX3" fmla="*/ 283319 w 283319"/>
                <a:gd name="connsiteY3" fmla="*/ 127884 h 283295"/>
                <a:gd name="connsiteX4" fmla="*/ 282019 w 283319"/>
                <a:gd name="connsiteY4" fmla="*/ 50640 h 283295"/>
                <a:gd name="connsiteX5" fmla="*/ 232690 w 283319"/>
                <a:gd name="connsiteY5" fmla="*/ 1312 h 283295"/>
                <a:gd name="connsiteX6" fmla="*/ 155412 w 283319"/>
                <a:gd name="connsiteY6" fmla="*/ 0 h 283295"/>
                <a:gd name="connsiteX7" fmla="*/ 130718 w 283319"/>
                <a:gd name="connsiteY7" fmla="*/ 24705 h 2832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3319" h="283295">
                  <a:moveTo>
                    <a:pt x="113311" y="42089"/>
                  </a:moveTo>
                  <a:lnTo>
                    <a:pt x="0" y="155389"/>
                  </a:lnTo>
                  <a:lnTo>
                    <a:pt x="127919" y="283296"/>
                  </a:lnTo>
                  <a:lnTo>
                    <a:pt x="283319" y="127884"/>
                  </a:lnTo>
                  <a:lnTo>
                    <a:pt x="282019" y="50640"/>
                  </a:lnTo>
                  <a:lnTo>
                    <a:pt x="232690" y="1312"/>
                  </a:lnTo>
                  <a:lnTo>
                    <a:pt x="155412" y="0"/>
                  </a:lnTo>
                  <a:lnTo>
                    <a:pt x="130718" y="24705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845" name="Gráfico 15">
              <a:extLst>
                <a:ext uri="{FF2B5EF4-FFF2-40B4-BE49-F238E27FC236}">
                  <a16:creationId xmlns:a16="http://schemas.microsoft.com/office/drawing/2014/main" id="{CE18B1BA-0265-5257-935A-4521A36E0E09}"/>
                </a:ext>
              </a:extLst>
            </p:cNvPr>
            <p:cNvGrpSpPr/>
            <p:nvPr/>
          </p:nvGrpSpPr>
          <p:grpSpPr>
            <a:xfrm>
              <a:off x="4347751" y="4263634"/>
              <a:ext cx="140370" cy="140382"/>
              <a:chOff x="4347751" y="4263634"/>
              <a:chExt cx="140370" cy="140382"/>
            </a:xfrm>
          </p:grpSpPr>
          <p:sp>
            <p:nvSpPr>
              <p:cNvPr id="1846" name="Forma livre: Forma 1845">
                <a:extLst>
                  <a:ext uri="{FF2B5EF4-FFF2-40B4-BE49-F238E27FC236}">
                    <a16:creationId xmlns:a16="http://schemas.microsoft.com/office/drawing/2014/main" id="{17EFCDBF-2FDA-09B8-13EB-D0F8F3FFD430}"/>
                  </a:ext>
                </a:extLst>
              </p:cNvPr>
              <p:cNvSpPr/>
              <p:nvPr/>
            </p:nvSpPr>
            <p:spPr>
              <a:xfrm>
                <a:off x="4347751" y="4336625"/>
                <a:ext cx="67379" cy="67391"/>
              </a:xfrm>
              <a:custGeom>
                <a:avLst/>
                <a:gdLst>
                  <a:gd name="connsiteX0" fmla="*/ 0 w 67379"/>
                  <a:gd name="connsiteY0" fmla="*/ 0 h 67391"/>
                  <a:gd name="connsiteX1" fmla="*/ 67380 w 67379"/>
                  <a:gd name="connsiteY1" fmla="*/ 67392 h 673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7379" h="67391">
                    <a:moveTo>
                      <a:pt x="0" y="0"/>
                    </a:moveTo>
                    <a:lnTo>
                      <a:pt x="67380" y="67392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847" name="Forma livre: Forma 1846">
                <a:extLst>
                  <a:ext uri="{FF2B5EF4-FFF2-40B4-BE49-F238E27FC236}">
                    <a16:creationId xmlns:a16="http://schemas.microsoft.com/office/drawing/2014/main" id="{FEAF60F5-30B3-0CF2-584F-A41E246FCBE2}"/>
                  </a:ext>
                </a:extLst>
              </p:cNvPr>
              <p:cNvSpPr/>
              <p:nvPr/>
            </p:nvSpPr>
            <p:spPr>
              <a:xfrm>
                <a:off x="4420742" y="4263634"/>
                <a:ext cx="67379" cy="67391"/>
              </a:xfrm>
              <a:custGeom>
                <a:avLst/>
                <a:gdLst>
                  <a:gd name="connsiteX0" fmla="*/ 0 w 67379"/>
                  <a:gd name="connsiteY0" fmla="*/ 0 h 67391"/>
                  <a:gd name="connsiteX1" fmla="*/ 67380 w 67379"/>
                  <a:gd name="connsiteY1" fmla="*/ 67392 h 673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7379" h="67391">
                    <a:moveTo>
                      <a:pt x="0" y="0"/>
                    </a:moveTo>
                    <a:lnTo>
                      <a:pt x="67380" y="67392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848" name="Forma livre: Forma 1847">
                <a:extLst>
                  <a:ext uri="{FF2B5EF4-FFF2-40B4-BE49-F238E27FC236}">
                    <a16:creationId xmlns:a16="http://schemas.microsoft.com/office/drawing/2014/main" id="{12F63E74-52B0-4165-ECE4-31CC3FC2296F}"/>
                  </a:ext>
                </a:extLst>
              </p:cNvPr>
              <p:cNvSpPr/>
              <p:nvPr/>
            </p:nvSpPr>
            <p:spPr>
              <a:xfrm>
                <a:off x="4365990" y="4318375"/>
                <a:ext cx="50195" cy="50195"/>
              </a:xfrm>
              <a:custGeom>
                <a:avLst/>
                <a:gdLst>
                  <a:gd name="connsiteX0" fmla="*/ 0 w 50195"/>
                  <a:gd name="connsiteY0" fmla="*/ 0 h 50195"/>
                  <a:gd name="connsiteX1" fmla="*/ 50195 w 50195"/>
                  <a:gd name="connsiteY1" fmla="*/ 50195 h 501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0195" h="50195">
                    <a:moveTo>
                      <a:pt x="0" y="0"/>
                    </a:moveTo>
                    <a:lnTo>
                      <a:pt x="50195" y="50195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849" name="Forma livre: Forma 1848">
                <a:extLst>
                  <a:ext uri="{FF2B5EF4-FFF2-40B4-BE49-F238E27FC236}">
                    <a16:creationId xmlns:a16="http://schemas.microsoft.com/office/drawing/2014/main" id="{832D36E1-2E57-8BED-95A5-12FC19CEA736}"/>
                  </a:ext>
                </a:extLst>
              </p:cNvPr>
              <p:cNvSpPr/>
              <p:nvPr/>
            </p:nvSpPr>
            <p:spPr>
              <a:xfrm>
                <a:off x="4402492" y="4281885"/>
                <a:ext cx="50195" cy="50183"/>
              </a:xfrm>
              <a:custGeom>
                <a:avLst/>
                <a:gdLst>
                  <a:gd name="connsiteX0" fmla="*/ 0 w 50195"/>
                  <a:gd name="connsiteY0" fmla="*/ 0 h 50183"/>
                  <a:gd name="connsiteX1" fmla="*/ 50195 w 50195"/>
                  <a:gd name="connsiteY1" fmla="*/ 50184 h 501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0195" h="50183">
                    <a:moveTo>
                      <a:pt x="0" y="0"/>
                    </a:moveTo>
                    <a:lnTo>
                      <a:pt x="50195" y="50184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850" name="Forma livre: Forma 1849">
                <a:extLst>
                  <a:ext uri="{FF2B5EF4-FFF2-40B4-BE49-F238E27FC236}">
                    <a16:creationId xmlns:a16="http://schemas.microsoft.com/office/drawing/2014/main" id="{D7A81E6E-EC5E-CCEF-1A72-4BF1BF2AF86F}"/>
                  </a:ext>
                </a:extLst>
              </p:cNvPr>
              <p:cNvSpPr/>
              <p:nvPr/>
            </p:nvSpPr>
            <p:spPr>
              <a:xfrm>
                <a:off x="4384241" y="4300136"/>
                <a:ext cx="50195" cy="50183"/>
              </a:xfrm>
              <a:custGeom>
                <a:avLst/>
                <a:gdLst>
                  <a:gd name="connsiteX0" fmla="*/ 0 w 50195"/>
                  <a:gd name="connsiteY0" fmla="*/ 0 h 50183"/>
                  <a:gd name="connsiteX1" fmla="*/ 50195 w 50195"/>
                  <a:gd name="connsiteY1" fmla="*/ 50184 h 501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0195" h="50183">
                    <a:moveTo>
                      <a:pt x="0" y="0"/>
                    </a:moveTo>
                    <a:lnTo>
                      <a:pt x="50195" y="50184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851" name="Gráfico 15">
            <a:extLst>
              <a:ext uri="{FF2B5EF4-FFF2-40B4-BE49-F238E27FC236}">
                <a16:creationId xmlns:a16="http://schemas.microsoft.com/office/drawing/2014/main" id="{40F1F0D8-BEED-5C8C-8F7C-8C107F68721E}"/>
              </a:ext>
            </a:extLst>
          </p:cNvPr>
          <p:cNvGrpSpPr/>
          <p:nvPr/>
        </p:nvGrpSpPr>
        <p:grpSpPr>
          <a:xfrm>
            <a:off x="4264112" y="4710800"/>
            <a:ext cx="332282" cy="227350"/>
            <a:chOff x="4264112" y="4710800"/>
            <a:chExt cx="332282" cy="227350"/>
          </a:xfrm>
          <a:noFill/>
        </p:grpSpPr>
        <p:sp>
          <p:nvSpPr>
            <p:cNvPr id="1852" name="Forma livre: Forma 1851">
              <a:extLst>
                <a:ext uri="{FF2B5EF4-FFF2-40B4-BE49-F238E27FC236}">
                  <a16:creationId xmlns:a16="http://schemas.microsoft.com/office/drawing/2014/main" id="{99B441E2-25A3-DBE2-86D8-732FEC0ED28B}"/>
                </a:ext>
              </a:extLst>
            </p:cNvPr>
            <p:cNvSpPr/>
            <p:nvPr/>
          </p:nvSpPr>
          <p:spPr>
            <a:xfrm>
              <a:off x="4372867" y="4710800"/>
              <a:ext cx="194068" cy="194150"/>
            </a:xfrm>
            <a:custGeom>
              <a:avLst/>
              <a:gdLst>
                <a:gd name="connsiteX0" fmla="*/ 194069 w 194068"/>
                <a:gd name="connsiteY0" fmla="*/ 97087 h 194150"/>
                <a:gd name="connsiteX1" fmla="*/ 97005 w 194068"/>
                <a:gd name="connsiteY1" fmla="*/ 194151 h 194150"/>
                <a:gd name="connsiteX2" fmla="*/ 0 w 194068"/>
                <a:gd name="connsiteY2" fmla="*/ 97087 h 194150"/>
                <a:gd name="connsiteX3" fmla="*/ 97005 w 194068"/>
                <a:gd name="connsiteY3" fmla="*/ 0 h 194150"/>
                <a:gd name="connsiteX4" fmla="*/ 194069 w 194068"/>
                <a:gd name="connsiteY4" fmla="*/ 97087 h 194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4068" h="194150">
                  <a:moveTo>
                    <a:pt x="194069" y="97087"/>
                  </a:moveTo>
                  <a:cubicBezTo>
                    <a:pt x="194069" y="150680"/>
                    <a:pt x="150621" y="194151"/>
                    <a:pt x="97005" y="194151"/>
                  </a:cubicBezTo>
                  <a:cubicBezTo>
                    <a:pt x="43389" y="194151"/>
                    <a:pt x="0" y="150691"/>
                    <a:pt x="0" y="97087"/>
                  </a:cubicBezTo>
                  <a:cubicBezTo>
                    <a:pt x="0" y="43483"/>
                    <a:pt x="43471" y="0"/>
                    <a:pt x="97005" y="0"/>
                  </a:cubicBezTo>
                  <a:cubicBezTo>
                    <a:pt x="150539" y="0"/>
                    <a:pt x="194069" y="43460"/>
                    <a:pt x="194069" y="97087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53" name="Forma livre: Forma 1852">
              <a:extLst>
                <a:ext uri="{FF2B5EF4-FFF2-40B4-BE49-F238E27FC236}">
                  <a16:creationId xmlns:a16="http://schemas.microsoft.com/office/drawing/2014/main" id="{F898BC6E-B9E8-EF59-E618-B1E3E79841A2}"/>
                </a:ext>
              </a:extLst>
            </p:cNvPr>
            <p:cNvSpPr/>
            <p:nvPr/>
          </p:nvSpPr>
          <p:spPr>
            <a:xfrm>
              <a:off x="4541328" y="4868683"/>
              <a:ext cx="55066" cy="69466"/>
            </a:xfrm>
            <a:custGeom>
              <a:avLst/>
              <a:gdLst>
                <a:gd name="connsiteX0" fmla="*/ 6466 w 55066"/>
                <a:gd name="connsiteY0" fmla="*/ 0 h 69466"/>
                <a:gd name="connsiteX1" fmla="*/ 50219 w 55066"/>
                <a:gd name="connsiteY1" fmla="*/ 46540 h 69466"/>
                <a:gd name="connsiteX2" fmla="*/ 51683 w 55066"/>
                <a:gd name="connsiteY2" fmla="*/ 66361 h 69466"/>
                <a:gd name="connsiteX3" fmla="*/ 31921 w 55066"/>
                <a:gd name="connsiteY3" fmla="*/ 64241 h 69466"/>
                <a:gd name="connsiteX4" fmla="*/ 0 w 55066"/>
                <a:gd name="connsiteY4" fmla="*/ 31218 h 694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066" h="69466">
                  <a:moveTo>
                    <a:pt x="6466" y="0"/>
                  </a:moveTo>
                  <a:lnTo>
                    <a:pt x="50219" y="46540"/>
                  </a:lnTo>
                  <a:cubicBezTo>
                    <a:pt x="56052" y="52573"/>
                    <a:pt x="56720" y="61499"/>
                    <a:pt x="51683" y="66361"/>
                  </a:cubicBezTo>
                  <a:cubicBezTo>
                    <a:pt x="46658" y="71222"/>
                    <a:pt x="37766" y="70273"/>
                    <a:pt x="31921" y="64241"/>
                  </a:cubicBezTo>
                  <a:lnTo>
                    <a:pt x="0" y="31218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854" name="Gráfico 15">
              <a:extLst>
                <a:ext uri="{FF2B5EF4-FFF2-40B4-BE49-F238E27FC236}">
                  <a16:creationId xmlns:a16="http://schemas.microsoft.com/office/drawing/2014/main" id="{41EC01B9-D960-B2E6-8F32-0A9B2C0D2AD6}"/>
                </a:ext>
              </a:extLst>
            </p:cNvPr>
            <p:cNvGrpSpPr/>
            <p:nvPr/>
          </p:nvGrpSpPr>
          <p:grpSpPr>
            <a:xfrm>
              <a:off x="4412414" y="4759976"/>
              <a:ext cx="98926" cy="96817"/>
              <a:chOff x="4412414" y="4759976"/>
              <a:chExt cx="98926" cy="96817"/>
            </a:xfrm>
          </p:grpSpPr>
          <p:sp>
            <p:nvSpPr>
              <p:cNvPr id="1855" name="Forma livre: Forma 1854">
                <a:extLst>
                  <a:ext uri="{FF2B5EF4-FFF2-40B4-BE49-F238E27FC236}">
                    <a16:creationId xmlns:a16="http://schemas.microsoft.com/office/drawing/2014/main" id="{7C538229-36AD-063D-C3E1-A8B547E30AF4}"/>
                  </a:ext>
                </a:extLst>
              </p:cNvPr>
              <p:cNvSpPr/>
              <p:nvPr/>
            </p:nvSpPr>
            <p:spPr>
              <a:xfrm>
                <a:off x="4511340" y="4759976"/>
                <a:ext cx="1171" cy="96817"/>
              </a:xfrm>
              <a:custGeom>
                <a:avLst/>
                <a:gdLst>
                  <a:gd name="connsiteX0" fmla="*/ 0 w 1171"/>
                  <a:gd name="connsiteY0" fmla="*/ 0 h 96817"/>
                  <a:gd name="connsiteX1" fmla="*/ 0 w 1171"/>
                  <a:gd name="connsiteY1" fmla="*/ 96818 h 968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71" h="96817">
                    <a:moveTo>
                      <a:pt x="0" y="0"/>
                    </a:moveTo>
                    <a:lnTo>
                      <a:pt x="0" y="96818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856" name="Forma livre: Forma 1855">
                <a:extLst>
                  <a:ext uri="{FF2B5EF4-FFF2-40B4-BE49-F238E27FC236}">
                    <a16:creationId xmlns:a16="http://schemas.microsoft.com/office/drawing/2014/main" id="{5F3E4719-93B2-982A-4287-0D08CE226699}"/>
                  </a:ext>
                </a:extLst>
              </p:cNvPr>
              <p:cNvSpPr/>
              <p:nvPr/>
            </p:nvSpPr>
            <p:spPr>
              <a:xfrm>
                <a:off x="4486611" y="4759976"/>
                <a:ext cx="1171" cy="76575"/>
              </a:xfrm>
              <a:custGeom>
                <a:avLst/>
                <a:gdLst>
                  <a:gd name="connsiteX0" fmla="*/ 0 w 1171"/>
                  <a:gd name="connsiteY0" fmla="*/ 0 h 76575"/>
                  <a:gd name="connsiteX1" fmla="*/ 0 w 1171"/>
                  <a:gd name="connsiteY1" fmla="*/ 76576 h 765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71" h="76575">
                    <a:moveTo>
                      <a:pt x="0" y="0"/>
                    </a:moveTo>
                    <a:lnTo>
                      <a:pt x="0" y="76576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857" name="Forma livre: Forma 1856">
                <a:extLst>
                  <a:ext uri="{FF2B5EF4-FFF2-40B4-BE49-F238E27FC236}">
                    <a16:creationId xmlns:a16="http://schemas.microsoft.com/office/drawing/2014/main" id="{6D62992A-99FF-EE5C-C3C7-1CCC3CF9A682}"/>
                  </a:ext>
                </a:extLst>
              </p:cNvPr>
              <p:cNvSpPr/>
              <p:nvPr/>
            </p:nvSpPr>
            <p:spPr>
              <a:xfrm>
                <a:off x="4461883" y="4759976"/>
                <a:ext cx="1171" cy="76575"/>
              </a:xfrm>
              <a:custGeom>
                <a:avLst/>
                <a:gdLst>
                  <a:gd name="connsiteX0" fmla="*/ 0 w 1171"/>
                  <a:gd name="connsiteY0" fmla="*/ 0 h 76575"/>
                  <a:gd name="connsiteX1" fmla="*/ 0 w 1171"/>
                  <a:gd name="connsiteY1" fmla="*/ 76576 h 765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71" h="76575">
                    <a:moveTo>
                      <a:pt x="0" y="0"/>
                    </a:moveTo>
                    <a:lnTo>
                      <a:pt x="0" y="76576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858" name="Forma livre: Forma 1857">
                <a:extLst>
                  <a:ext uri="{FF2B5EF4-FFF2-40B4-BE49-F238E27FC236}">
                    <a16:creationId xmlns:a16="http://schemas.microsoft.com/office/drawing/2014/main" id="{8C794CB1-EFDE-248E-D111-9AD3D0EA48DC}"/>
                  </a:ext>
                </a:extLst>
              </p:cNvPr>
              <p:cNvSpPr/>
              <p:nvPr/>
            </p:nvSpPr>
            <p:spPr>
              <a:xfrm>
                <a:off x="4437142" y="4759976"/>
                <a:ext cx="1171" cy="76575"/>
              </a:xfrm>
              <a:custGeom>
                <a:avLst/>
                <a:gdLst>
                  <a:gd name="connsiteX0" fmla="*/ 0 w 1171"/>
                  <a:gd name="connsiteY0" fmla="*/ 0 h 76575"/>
                  <a:gd name="connsiteX1" fmla="*/ 0 w 1171"/>
                  <a:gd name="connsiteY1" fmla="*/ 76576 h 765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71" h="76575">
                    <a:moveTo>
                      <a:pt x="0" y="0"/>
                    </a:moveTo>
                    <a:lnTo>
                      <a:pt x="0" y="76576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859" name="Forma livre: Forma 1858">
                <a:extLst>
                  <a:ext uri="{FF2B5EF4-FFF2-40B4-BE49-F238E27FC236}">
                    <a16:creationId xmlns:a16="http://schemas.microsoft.com/office/drawing/2014/main" id="{8EE2144C-2670-53BE-A69C-157730EF4FC2}"/>
                  </a:ext>
                </a:extLst>
              </p:cNvPr>
              <p:cNvSpPr/>
              <p:nvPr/>
            </p:nvSpPr>
            <p:spPr>
              <a:xfrm>
                <a:off x="4412414" y="4759976"/>
                <a:ext cx="1171" cy="76575"/>
              </a:xfrm>
              <a:custGeom>
                <a:avLst/>
                <a:gdLst>
                  <a:gd name="connsiteX0" fmla="*/ 0 w 1171"/>
                  <a:gd name="connsiteY0" fmla="*/ 0 h 76575"/>
                  <a:gd name="connsiteX1" fmla="*/ 0 w 1171"/>
                  <a:gd name="connsiteY1" fmla="*/ 76576 h 765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71" h="76575">
                    <a:moveTo>
                      <a:pt x="0" y="0"/>
                    </a:moveTo>
                    <a:lnTo>
                      <a:pt x="0" y="76576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860" name="Gráfico 15">
              <a:extLst>
                <a:ext uri="{FF2B5EF4-FFF2-40B4-BE49-F238E27FC236}">
                  <a16:creationId xmlns:a16="http://schemas.microsoft.com/office/drawing/2014/main" id="{5B0F2E53-38C4-6DFC-70F0-CBD50CFD27F2}"/>
                </a:ext>
              </a:extLst>
            </p:cNvPr>
            <p:cNvGrpSpPr/>
            <p:nvPr/>
          </p:nvGrpSpPr>
          <p:grpSpPr>
            <a:xfrm>
              <a:off x="4299173" y="4759976"/>
              <a:ext cx="46235" cy="69523"/>
              <a:chOff x="4299173" y="4759976"/>
              <a:chExt cx="46235" cy="69523"/>
            </a:xfrm>
          </p:grpSpPr>
          <p:sp>
            <p:nvSpPr>
              <p:cNvPr id="1861" name="Forma livre: Forma 1860">
                <a:extLst>
                  <a:ext uri="{FF2B5EF4-FFF2-40B4-BE49-F238E27FC236}">
                    <a16:creationId xmlns:a16="http://schemas.microsoft.com/office/drawing/2014/main" id="{3386C5C8-B51D-9DEA-D97D-627E6E6BB549}"/>
                  </a:ext>
                </a:extLst>
              </p:cNvPr>
              <p:cNvSpPr/>
              <p:nvPr/>
            </p:nvSpPr>
            <p:spPr>
              <a:xfrm>
                <a:off x="4345409" y="4759976"/>
                <a:ext cx="1171" cy="51108"/>
              </a:xfrm>
              <a:custGeom>
                <a:avLst/>
                <a:gdLst>
                  <a:gd name="connsiteX0" fmla="*/ 0 w 1171"/>
                  <a:gd name="connsiteY0" fmla="*/ 0 h 51108"/>
                  <a:gd name="connsiteX1" fmla="*/ 0 w 1171"/>
                  <a:gd name="connsiteY1" fmla="*/ 51109 h 511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71" h="51108">
                    <a:moveTo>
                      <a:pt x="0" y="0"/>
                    </a:moveTo>
                    <a:lnTo>
                      <a:pt x="0" y="51109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862" name="Forma livre: Forma 1861">
                <a:extLst>
                  <a:ext uri="{FF2B5EF4-FFF2-40B4-BE49-F238E27FC236}">
                    <a16:creationId xmlns:a16="http://schemas.microsoft.com/office/drawing/2014/main" id="{4EA106DA-31EE-1A94-7A00-9E0060A551AC}"/>
                  </a:ext>
                </a:extLst>
              </p:cNvPr>
              <p:cNvSpPr/>
              <p:nvPr/>
            </p:nvSpPr>
            <p:spPr>
              <a:xfrm>
                <a:off x="4321078" y="4759976"/>
                <a:ext cx="1171" cy="51108"/>
              </a:xfrm>
              <a:custGeom>
                <a:avLst/>
                <a:gdLst>
                  <a:gd name="connsiteX0" fmla="*/ 0 w 1171"/>
                  <a:gd name="connsiteY0" fmla="*/ 0 h 51108"/>
                  <a:gd name="connsiteX1" fmla="*/ 0 w 1171"/>
                  <a:gd name="connsiteY1" fmla="*/ 51109 h 511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71" h="51108">
                    <a:moveTo>
                      <a:pt x="0" y="0"/>
                    </a:moveTo>
                    <a:lnTo>
                      <a:pt x="0" y="51109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863" name="Forma livre: Forma 1862">
                <a:extLst>
                  <a:ext uri="{FF2B5EF4-FFF2-40B4-BE49-F238E27FC236}">
                    <a16:creationId xmlns:a16="http://schemas.microsoft.com/office/drawing/2014/main" id="{C53ADBE0-A6A2-1405-17B1-C919C6095726}"/>
                  </a:ext>
                </a:extLst>
              </p:cNvPr>
              <p:cNvSpPr/>
              <p:nvPr/>
            </p:nvSpPr>
            <p:spPr>
              <a:xfrm>
                <a:off x="4299173" y="4759976"/>
                <a:ext cx="1171" cy="69523"/>
              </a:xfrm>
              <a:custGeom>
                <a:avLst/>
                <a:gdLst>
                  <a:gd name="connsiteX0" fmla="*/ 0 w 1171"/>
                  <a:gd name="connsiteY0" fmla="*/ 0 h 69523"/>
                  <a:gd name="connsiteX1" fmla="*/ 0 w 1171"/>
                  <a:gd name="connsiteY1" fmla="*/ 69524 h 695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71" h="69523">
                    <a:moveTo>
                      <a:pt x="0" y="0"/>
                    </a:moveTo>
                    <a:lnTo>
                      <a:pt x="0" y="69524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864" name="Forma livre: Forma 1863">
              <a:extLst>
                <a:ext uri="{FF2B5EF4-FFF2-40B4-BE49-F238E27FC236}">
                  <a16:creationId xmlns:a16="http://schemas.microsoft.com/office/drawing/2014/main" id="{472E025F-6AE5-AD07-443D-6F92A655FC7E}"/>
                </a:ext>
              </a:extLst>
            </p:cNvPr>
            <p:cNvSpPr/>
            <p:nvPr/>
          </p:nvSpPr>
          <p:spPr>
            <a:xfrm>
              <a:off x="4264112" y="4720921"/>
              <a:ext cx="116122" cy="142631"/>
            </a:xfrm>
            <a:custGeom>
              <a:avLst/>
              <a:gdLst>
                <a:gd name="connsiteX0" fmla="*/ 97368 w 116122"/>
                <a:gd name="connsiteY0" fmla="*/ 142632 h 142631"/>
                <a:gd name="connsiteX1" fmla="*/ 0 w 116122"/>
                <a:gd name="connsiteY1" fmla="*/ 142632 h 142631"/>
                <a:gd name="connsiteX2" fmla="*/ 0 w 116122"/>
                <a:gd name="connsiteY2" fmla="*/ 0 h 142631"/>
                <a:gd name="connsiteX3" fmla="*/ 116123 w 116122"/>
                <a:gd name="connsiteY3" fmla="*/ 0 h 1426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6122" h="142631">
                  <a:moveTo>
                    <a:pt x="97368" y="142632"/>
                  </a:moveTo>
                  <a:lnTo>
                    <a:pt x="0" y="142632"/>
                  </a:lnTo>
                  <a:lnTo>
                    <a:pt x="0" y="0"/>
                  </a:lnTo>
                  <a:lnTo>
                    <a:pt x="116123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865" name="Gráfico 15">
            <a:extLst>
              <a:ext uri="{FF2B5EF4-FFF2-40B4-BE49-F238E27FC236}">
                <a16:creationId xmlns:a16="http://schemas.microsoft.com/office/drawing/2014/main" id="{D02AAFE1-E216-60EE-ECE8-C3CF35905163}"/>
              </a:ext>
            </a:extLst>
          </p:cNvPr>
          <p:cNvGrpSpPr/>
          <p:nvPr/>
        </p:nvGrpSpPr>
        <p:grpSpPr>
          <a:xfrm>
            <a:off x="4313780" y="5222159"/>
            <a:ext cx="232866" cy="247063"/>
            <a:chOff x="4313780" y="5222159"/>
            <a:chExt cx="232866" cy="247063"/>
          </a:xfrm>
          <a:noFill/>
        </p:grpSpPr>
        <p:grpSp>
          <p:nvGrpSpPr>
            <p:cNvPr id="1866" name="Gráfico 15">
              <a:extLst>
                <a:ext uri="{FF2B5EF4-FFF2-40B4-BE49-F238E27FC236}">
                  <a16:creationId xmlns:a16="http://schemas.microsoft.com/office/drawing/2014/main" id="{E3C24523-A148-49F5-B51F-BDABB34FE3F1}"/>
                </a:ext>
              </a:extLst>
            </p:cNvPr>
            <p:cNvGrpSpPr/>
            <p:nvPr/>
          </p:nvGrpSpPr>
          <p:grpSpPr>
            <a:xfrm>
              <a:off x="4355225" y="5300761"/>
              <a:ext cx="106235" cy="80476"/>
              <a:chOff x="4355225" y="5300761"/>
              <a:chExt cx="106235" cy="80476"/>
            </a:xfrm>
          </p:grpSpPr>
          <p:sp>
            <p:nvSpPr>
              <p:cNvPr id="1867" name="Forma livre: Forma 1866">
                <a:extLst>
                  <a:ext uri="{FF2B5EF4-FFF2-40B4-BE49-F238E27FC236}">
                    <a16:creationId xmlns:a16="http://schemas.microsoft.com/office/drawing/2014/main" id="{A1E0A892-98CB-B1A3-A644-57C838D9CF0A}"/>
                  </a:ext>
                </a:extLst>
              </p:cNvPr>
              <p:cNvSpPr/>
              <p:nvPr/>
            </p:nvSpPr>
            <p:spPr>
              <a:xfrm>
                <a:off x="4355225" y="5300761"/>
                <a:ext cx="1171" cy="80476"/>
              </a:xfrm>
              <a:custGeom>
                <a:avLst/>
                <a:gdLst>
                  <a:gd name="connsiteX0" fmla="*/ 0 w 1171"/>
                  <a:gd name="connsiteY0" fmla="*/ 0 h 80476"/>
                  <a:gd name="connsiteX1" fmla="*/ 0 w 1171"/>
                  <a:gd name="connsiteY1" fmla="*/ 80476 h 804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71" h="80476">
                    <a:moveTo>
                      <a:pt x="0" y="0"/>
                    </a:moveTo>
                    <a:lnTo>
                      <a:pt x="0" y="80476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868" name="Forma livre: Forma 1867">
                <a:extLst>
                  <a:ext uri="{FF2B5EF4-FFF2-40B4-BE49-F238E27FC236}">
                    <a16:creationId xmlns:a16="http://schemas.microsoft.com/office/drawing/2014/main" id="{979DE8C0-1FF9-FB48-82D1-A38111D7EAA3}"/>
                  </a:ext>
                </a:extLst>
              </p:cNvPr>
              <p:cNvSpPr/>
              <p:nvPr/>
            </p:nvSpPr>
            <p:spPr>
              <a:xfrm>
                <a:off x="4461461" y="5300761"/>
                <a:ext cx="1171" cy="80476"/>
              </a:xfrm>
              <a:custGeom>
                <a:avLst/>
                <a:gdLst>
                  <a:gd name="connsiteX0" fmla="*/ 0 w 1171"/>
                  <a:gd name="connsiteY0" fmla="*/ 0 h 80476"/>
                  <a:gd name="connsiteX1" fmla="*/ 0 w 1171"/>
                  <a:gd name="connsiteY1" fmla="*/ 80476 h 804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71" h="80476">
                    <a:moveTo>
                      <a:pt x="0" y="0"/>
                    </a:moveTo>
                    <a:lnTo>
                      <a:pt x="0" y="80476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869" name="Forma livre: Forma 1868">
                <a:extLst>
                  <a:ext uri="{FF2B5EF4-FFF2-40B4-BE49-F238E27FC236}">
                    <a16:creationId xmlns:a16="http://schemas.microsoft.com/office/drawing/2014/main" id="{F5BFD7F9-E132-F624-4017-AD7E4692A0BC}"/>
                  </a:ext>
                </a:extLst>
              </p:cNvPr>
              <p:cNvSpPr/>
              <p:nvPr/>
            </p:nvSpPr>
            <p:spPr>
              <a:xfrm>
                <a:off x="4381781" y="5300761"/>
                <a:ext cx="1171" cy="80476"/>
              </a:xfrm>
              <a:custGeom>
                <a:avLst/>
                <a:gdLst>
                  <a:gd name="connsiteX0" fmla="*/ 0 w 1171"/>
                  <a:gd name="connsiteY0" fmla="*/ 0 h 80476"/>
                  <a:gd name="connsiteX1" fmla="*/ 0 w 1171"/>
                  <a:gd name="connsiteY1" fmla="*/ 80476 h 804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71" h="80476">
                    <a:moveTo>
                      <a:pt x="0" y="0"/>
                    </a:moveTo>
                    <a:lnTo>
                      <a:pt x="0" y="80476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870" name="Forma livre: Forma 1869">
                <a:extLst>
                  <a:ext uri="{FF2B5EF4-FFF2-40B4-BE49-F238E27FC236}">
                    <a16:creationId xmlns:a16="http://schemas.microsoft.com/office/drawing/2014/main" id="{7EC5C483-2226-CC5E-E1DA-C3D663ED4EC3}"/>
                  </a:ext>
                </a:extLst>
              </p:cNvPr>
              <p:cNvSpPr/>
              <p:nvPr/>
            </p:nvSpPr>
            <p:spPr>
              <a:xfrm>
                <a:off x="4434905" y="5300761"/>
                <a:ext cx="1171" cy="80476"/>
              </a:xfrm>
              <a:custGeom>
                <a:avLst/>
                <a:gdLst>
                  <a:gd name="connsiteX0" fmla="*/ 0 w 1171"/>
                  <a:gd name="connsiteY0" fmla="*/ 0 h 80476"/>
                  <a:gd name="connsiteX1" fmla="*/ 0 w 1171"/>
                  <a:gd name="connsiteY1" fmla="*/ 80476 h 804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71" h="80476">
                    <a:moveTo>
                      <a:pt x="0" y="0"/>
                    </a:moveTo>
                    <a:lnTo>
                      <a:pt x="0" y="80476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871" name="Forma livre: Forma 1870">
                <a:extLst>
                  <a:ext uri="{FF2B5EF4-FFF2-40B4-BE49-F238E27FC236}">
                    <a16:creationId xmlns:a16="http://schemas.microsoft.com/office/drawing/2014/main" id="{920C54EC-3C2C-8CC4-ABE3-929B9A91611F}"/>
                  </a:ext>
                </a:extLst>
              </p:cNvPr>
              <p:cNvSpPr/>
              <p:nvPr/>
            </p:nvSpPr>
            <p:spPr>
              <a:xfrm>
                <a:off x="4408349" y="5300761"/>
                <a:ext cx="1171" cy="80476"/>
              </a:xfrm>
              <a:custGeom>
                <a:avLst/>
                <a:gdLst>
                  <a:gd name="connsiteX0" fmla="*/ 0 w 1171"/>
                  <a:gd name="connsiteY0" fmla="*/ 0 h 80476"/>
                  <a:gd name="connsiteX1" fmla="*/ 0 w 1171"/>
                  <a:gd name="connsiteY1" fmla="*/ 80476 h 804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71" h="80476">
                    <a:moveTo>
                      <a:pt x="0" y="0"/>
                    </a:moveTo>
                    <a:lnTo>
                      <a:pt x="0" y="80476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872" name="Forma livre: Forma 1871">
              <a:extLst>
                <a:ext uri="{FF2B5EF4-FFF2-40B4-BE49-F238E27FC236}">
                  <a16:creationId xmlns:a16="http://schemas.microsoft.com/office/drawing/2014/main" id="{C9550DAA-3101-03A5-3235-FC31AE0333CF}"/>
                </a:ext>
              </a:extLst>
            </p:cNvPr>
            <p:cNvSpPr/>
            <p:nvPr/>
          </p:nvSpPr>
          <p:spPr>
            <a:xfrm>
              <a:off x="4313780" y="5222159"/>
              <a:ext cx="232866" cy="247063"/>
            </a:xfrm>
            <a:custGeom>
              <a:avLst/>
              <a:gdLst>
                <a:gd name="connsiteX0" fmla="*/ 214779 w 232866"/>
                <a:gd name="connsiteY0" fmla="*/ 12 h 247063"/>
                <a:gd name="connsiteX1" fmla="*/ 25127 w 232866"/>
                <a:gd name="connsiteY1" fmla="*/ 12 h 247063"/>
                <a:gd name="connsiteX2" fmla="*/ 0 w 232866"/>
                <a:gd name="connsiteY2" fmla="*/ 25162 h 247063"/>
                <a:gd name="connsiteX3" fmla="*/ 0 w 232866"/>
                <a:gd name="connsiteY3" fmla="*/ 247064 h 247063"/>
                <a:gd name="connsiteX4" fmla="*/ 19036 w 232866"/>
                <a:gd name="connsiteY4" fmla="*/ 233592 h 247063"/>
                <a:gd name="connsiteX5" fmla="*/ 37895 w 232866"/>
                <a:gd name="connsiteY5" fmla="*/ 247029 h 247063"/>
                <a:gd name="connsiteX6" fmla="*/ 57060 w 232866"/>
                <a:gd name="connsiteY6" fmla="*/ 233592 h 247063"/>
                <a:gd name="connsiteX7" fmla="*/ 75943 w 232866"/>
                <a:gd name="connsiteY7" fmla="*/ 247029 h 247063"/>
                <a:gd name="connsiteX8" fmla="*/ 94979 w 232866"/>
                <a:gd name="connsiteY8" fmla="*/ 233581 h 247063"/>
                <a:gd name="connsiteX9" fmla="*/ 113838 w 232866"/>
                <a:gd name="connsiteY9" fmla="*/ 247029 h 247063"/>
                <a:gd name="connsiteX10" fmla="*/ 132897 w 232866"/>
                <a:gd name="connsiteY10" fmla="*/ 233581 h 247063"/>
                <a:gd name="connsiteX11" fmla="*/ 151781 w 232866"/>
                <a:gd name="connsiteY11" fmla="*/ 247029 h 247063"/>
                <a:gd name="connsiteX12" fmla="*/ 170840 w 232866"/>
                <a:gd name="connsiteY12" fmla="*/ 233592 h 247063"/>
                <a:gd name="connsiteX13" fmla="*/ 189453 w 232866"/>
                <a:gd name="connsiteY13" fmla="*/ 247029 h 247063"/>
                <a:gd name="connsiteX14" fmla="*/ 189453 w 232866"/>
                <a:gd name="connsiteY14" fmla="*/ 24119 h 247063"/>
                <a:gd name="connsiteX15" fmla="*/ 211160 w 232866"/>
                <a:gd name="connsiteY15" fmla="*/ 0 h 247063"/>
                <a:gd name="connsiteX16" fmla="*/ 232866 w 232866"/>
                <a:gd name="connsiteY16" fmla="*/ 24119 h 247063"/>
                <a:gd name="connsiteX17" fmla="*/ 232866 w 232866"/>
                <a:gd name="connsiteY17" fmla="*/ 47946 h 247063"/>
                <a:gd name="connsiteX18" fmla="*/ 209754 w 232866"/>
                <a:gd name="connsiteY18" fmla="*/ 47946 h 2470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232866" h="247063">
                  <a:moveTo>
                    <a:pt x="214779" y="12"/>
                  </a:moveTo>
                  <a:lnTo>
                    <a:pt x="25127" y="12"/>
                  </a:lnTo>
                  <a:cubicBezTo>
                    <a:pt x="11304" y="12"/>
                    <a:pt x="0" y="11328"/>
                    <a:pt x="0" y="25162"/>
                  </a:cubicBezTo>
                  <a:lnTo>
                    <a:pt x="0" y="247064"/>
                  </a:lnTo>
                  <a:lnTo>
                    <a:pt x="19036" y="233592"/>
                  </a:lnTo>
                  <a:lnTo>
                    <a:pt x="37895" y="247029"/>
                  </a:lnTo>
                  <a:lnTo>
                    <a:pt x="57060" y="233592"/>
                  </a:lnTo>
                  <a:lnTo>
                    <a:pt x="75943" y="247029"/>
                  </a:lnTo>
                  <a:lnTo>
                    <a:pt x="94979" y="233581"/>
                  </a:lnTo>
                  <a:lnTo>
                    <a:pt x="113838" y="247029"/>
                  </a:lnTo>
                  <a:lnTo>
                    <a:pt x="132897" y="233581"/>
                  </a:lnTo>
                  <a:lnTo>
                    <a:pt x="151781" y="247029"/>
                  </a:lnTo>
                  <a:lnTo>
                    <a:pt x="170840" y="233592"/>
                  </a:lnTo>
                  <a:lnTo>
                    <a:pt x="189453" y="247029"/>
                  </a:lnTo>
                  <a:lnTo>
                    <a:pt x="189453" y="24119"/>
                  </a:lnTo>
                  <a:cubicBezTo>
                    <a:pt x="189453" y="10859"/>
                    <a:pt x="199223" y="0"/>
                    <a:pt x="211160" y="0"/>
                  </a:cubicBezTo>
                  <a:cubicBezTo>
                    <a:pt x="223096" y="0"/>
                    <a:pt x="232866" y="10847"/>
                    <a:pt x="232866" y="24119"/>
                  </a:cubicBezTo>
                  <a:lnTo>
                    <a:pt x="232866" y="47946"/>
                  </a:lnTo>
                  <a:lnTo>
                    <a:pt x="209754" y="47946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873" name="Gráfico 15">
            <a:extLst>
              <a:ext uri="{FF2B5EF4-FFF2-40B4-BE49-F238E27FC236}">
                <a16:creationId xmlns:a16="http://schemas.microsoft.com/office/drawing/2014/main" id="{C272E409-C8D9-A814-306A-0C2C29D615DC}"/>
              </a:ext>
            </a:extLst>
          </p:cNvPr>
          <p:cNvGrpSpPr/>
          <p:nvPr/>
        </p:nvGrpSpPr>
        <p:grpSpPr>
          <a:xfrm>
            <a:off x="4253195" y="3672912"/>
            <a:ext cx="354142" cy="218223"/>
            <a:chOff x="4253195" y="3672912"/>
            <a:chExt cx="354142" cy="218223"/>
          </a:xfrm>
          <a:noFill/>
        </p:grpSpPr>
        <p:grpSp>
          <p:nvGrpSpPr>
            <p:cNvPr id="1874" name="Gráfico 15">
              <a:extLst>
                <a:ext uri="{FF2B5EF4-FFF2-40B4-BE49-F238E27FC236}">
                  <a16:creationId xmlns:a16="http://schemas.microsoft.com/office/drawing/2014/main" id="{E13D4602-61E2-C939-0328-56F58176D813}"/>
                </a:ext>
              </a:extLst>
            </p:cNvPr>
            <p:cNvGrpSpPr/>
            <p:nvPr/>
          </p:nvGrpSpPr>
          <p:grpSpPr>
            <a:xfrm>
              <a:off x="4371191" y="3717156"/>
              <a:ext cx="103447" cy="28898"/>
              <a:chOff x="4371191" y="3717156"/>
              <a:chExt cx="103447" cy="28898"/>
            </a:xfrm>
            <a:noFill/>
          </p:grpSpPr>
          <p:sp>
            <p:nvSpPr>
              <p:cNvPr id="1875" name="Forma livre: Forma 1874">
                <a:extLst>
                  <a:ext uri="{FF2B5EF4-FFF2-40B4-BE49-F238E27FC236}">
                    <a16:creationId xmlns:a16="http://schemas.microsoft.com/office/drawing/2014/main" id="{C354CA04-8457-6BA2-353E-AB9BD242A99B}"/>
                  </a:ext>
                </a:extLst>
              </p:cNvPr>
              <p:cNvSpPr/>
              <p:nvPr/>
            </p:nvSpPr>
            <p:spPr>
              <a:xfrm>
                <a:off x="4371191" y="3717156"/>
                <a:ext cx="28898" cy="28898"/>
              </a:xfrm>
              <a:custGeom>
                <a:avLst/>
                <a:gdLst>
                  <a:gd name="connsiteX0" fmla="*/ 0 w 28898"/>
                  <a:gd name="connsiteY0" fmla="*/ 0 h 28898"/>
                  <a:gd name="connsiteX1" fmla="*/ 28899 w 28898"/>
                  <a:gd name="connsiteY1" fmla="*/ 0 h 28898"/>
                  <a:gd name="connsiteX2" fmla="*/ 28899 w 28898"/>
                  <a:gd name="connsiteY2" fmla="*/ 28899 h 28898"/>
                  <a:gd name="connsiteX3" fmla="*/ 0 w 28898"/>
                  <a:gd name="connsiteY3" fmla="*/ 28899 h 28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8898" h="28898">
                    <a:moveTo>
                      <a:pt x="0" y="0"/>
                    </a:moveTo>
                    <a:lnTo>
                      <a:pt x="28899" y="0"/>
                    </a:lnTo>
                    <a:lnTo>
                      <a:pt x="28899" y="28899"/>
                    </a:lnTo>
                    <a:lnTo>
                      <a:pt x="0" y="28899"/>
                    </a:ln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876" name="Forma livre: Forma 1875">
                <a:extLst>
                  <a:ext uri="{FF2B5EF4-FFF2-40B4-BE49-F238E27FC236}">
                    <a16:creationId xmlns:a16="http://schemas.microsoft.com/office/drawing/2014/main" id="{3EE71CFE-509D-D92B-93BE-6304468BA353}"/>
                  </a:ext>
                </a:extLst>
              </p:cNvPr>
              <p:cNvSpPr/>
              <p:nvPr/>
            </p:nvSpPr>
            <p:spPr>
              <a:xfrm>
                <a:off x="4445740" y="3717156"/>
                <a:ext cx="28898" cy="28898"/>
              </a:xfrm>
              <a:custGeom>
                <a:avLst/>
                <a:gdLst>
                  <a:gd name="connsiteX0" fmla="*/ 0 w 28898"/>
                  <a:gd name="connsiteY0" fmla="*/ 0 h 28898"/>
                  <a:gd name="connsiteX1" fmla="*/ 28899 w 28898"/>
                  <a:gd name="connsiteY1" fmla="*/ 0 h 28898"/>
                  <a:gd name="connsiteX2" fmla="*/ 28899 w 28898"/>
                  <a:gd name="connsiteY2" fmla="*/ 28899 h 28898"/>
                  <a:gd name="connsiteX3" fmla="*/ 0 w 28898"/>
                  <a:gd name="connsiteY3" fmla="*/ 28899 h 28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8898" h="28898">
                    <a:moveTo>
                      <a:pt x="0" y="0"/>
                    </a:moveTo>
                    <a:lnTo>
                      <a:pt x="28899" y="0"/>
                    </a:lnTo>
                    <a:lnTo>
                      <a:pt x="28899" y="28899"/>
                    </a:lnTo>
                    <a:lnTo>
                      <a:pt x="0" y="28899"/>
                    </a:ln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877" name="Gráfico 15">
              <a:extLst>
                <a:ext uri="{FF2B5EF4-FFF2-40B4-BE49-F238E27FC236}">
                  <a16:creationId xmlns:a16="http://schemas.microsoft.com/office/drawing/2014/main" id="{51875926-48B4-CC0C-C78B-64FEB8C2221B}"/>
                </a:ext>
              </a:extLst>
            </p:cNvPr>
            <p:cNvGrpSpPr/>
            <p:nvPr/>
          </p:nvGrpSpPr>
          <p:grpSpPr>
            <a:xfrm>
              <a:off x="4371191" y="3791588"/>
              <a:ext cx="103447" cy="28898"/>
              <a:chOff x="4371191" y="3791588"/>
              <a:chExt cx="103447" cy="28898"/>
            </a:xfrm>
            <a:noFill/>
          </p:grpSpPr>
          <p:sp>
            <p:nvSpPr>
              <p:cNvPr id="1878" name="Forma livre: Forma 1877">
                <a:extLst>
                  <a:ext uri="{FF2B5EF4-FFF2-40B4-BE49-F238E27FC236}">
                    <a16:creationId xmlns:a16="http://schemas.microsoft.com/office/drawing/2014/main" id="{92F12FB7-F3B7-53D4-1939-E198C9CC832A}"/>
                  </a:ext>
                </a:extLst>
              </p:cNvPr>
              <p:cNvSpPr/>
              <p:nvPr/>
            </p:nvSpPr>
            <p:spPr>
              <a:xfrm>
                <a:off x="4371191" y="3791588"/>
                <a:ext cx="28898" cy="28898"/>
              </a:xfrm>
              <a:custGeom>
                <a:avLst/>
                <a:gdLst>
                  <a:gd name="connsiteX0" fmla="*/ 0 w 28898"/>
                  <a:gd name="connsiteY0" fmla="*/ 0 h 28898"/>
                  <a:gd name="connsiteX1" fmla="*/ 28899 w 28898"/>
                  <a:gd name="connsiteY1" fmla="*/ 0 h 28898"/>
                  <a:gd name="connsiteX2" fmla="*/ 28899 w 28898"/>
                  <a:gd name="connsiteY2" fmla="*/ 28899 h 28898"/>
                  <a:gd name="connsiteX3" fmla="*/ 0 w 28898"/>
                  <a:gd name="connsiteY3" fmla="*/ 28899 h 28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8898" h="28898">
                    <a:moveTo>
                      <a:pt x="0" y="0"/>
                    </a:moveTo>
                    <a:lnTo>
                      <a:pt x="28899" y="0"/>
                    </a:lnTo>
                    <a:lnTo>
                      <a:pt x="28899" y="28899"/>
                    </a:lnTo>
                    <a:lnTo>
                      <a:pt x="0" y="28899"/>
                    </a:ln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879" name="Forma livre: Forma 1878">
                <a:extLst>
                  <a:ext uri="{FF2B5EF4-FFF2-40B4-BE49-F238E27FC236}">
                    <a16:creationId xmlns:a16="http://schemas.microsoft.com/office/drawing/2014/main" id="{604B27A0-E29E-DFF4-2D61-D8336EB2CF89}"/>
                  </a:ext>
                </a:extLst>
              </p:cNvPr>
              <p:cNvSpPr/>
              <p:nvPr/>
            </p:nvSpPr>
            <p:spPr>
              <a:xfrm>
                <a:off x="4445740" y="3791588"/>
                <a:ext cx="28898" cy="28898"/>
              </a:xfrm>
              <a:custGeom>
                <a:avLst/>
                <a:gdLst>
                  <a:gd name="connsiteX0" fmla="*/ 0 w 28898"/>
                  <a:gd name="connsiteY0" fmla="*/ 0 h 28898"/>
                  <a:gd name="connsiteX1" fmla="*/ 28899 w 28898"/>
                  <a:gd name="connsiteY1" fmla="*/ 0 h 28898"/>
                  <a:gd name="connsiteX2" fmla="*/ 28899 w 28898"/>
                  <a:gd name="connsiteY2" fmla="*/ 28899 h 28898"/>
                  <a:gd name="connsiteX3" fmla="*/ 0 w 28898"/>
                  <a:gd name="connsiteY3" fmla="*/ 28899 h 28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8898" h="28898">
                    <a:moveTo>
                      <a:pt x="0" y="0"/>
                    </a:moveTo>
                    <a:lnTo>
                      <a:pt x="28899" y="0"/>
                    </a:lnTo>
                    <a:lnTo>
                      <a:pt x="28899" y="28899"/>
                    </a:lnTo>
                    <a:lnTo>
                      <a:pt x="0" y="28899"/>
                    </a:ln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880" name="Forma livre: Forma 1879">
              <a:extLst>
                <a:ext uri="{FF2B5EF4-FFF2-40B4-BE49-F238E27FC236}">
                  <a16:creationId xmlns:a16="http://schemas.microsoft.com/office/drawing/2014/main" id="{36A13EAD-8DA9-9724-02E8-B9B3E37D27C5}"/>
                </a:ext>
              </a:extLst>
            </p:cNvPr>
            <p:cNvSpPr/>
            <p:nvPr/>
          </p:nvSpPr>
          <p:spPr>
            <a:xfrm>
              <a:off x="4422921" y="3717156"/>
              <a:ext cx="1171" cy="28898"/>
            </a:xfrm>
            <a:custGeom>
              <a:avLst/>
              <a:gdLst>
                <a:gd name="connsiteX0" fmla="*/ 0 w 1171"/>
                <a:gd name="connsiteY0" fmla="*/ 0 h 28898"/>
                <a:gd name="connsiteX1" fmla="*/ 0 w 1171"/>
                <a:gd name="connsiteY1" fmla="*/ 28899 h 28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1" h="28898">
                  <a:moveTo>
                    <a:pt x="0" y="0"/>
                  </a:moveTo>
                  <a:lnTo>
                    <a:pt x="0" y="28899"/>
                  </a:lnTo>
                </a:path>
              </a:pathLst>
            </a:custGeom>
            <a:ln w="6350" cap="sq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81" name="Forma livre: Forma 1880">
              <a:extLst>
                <a:ext uri="{FF2B5EF4-FFF2-40B4-BE49-F238E27FC236}">
                  <a16:creationId xmlns:a16="http://schemas.microsoft.com/office/drawing/2014/main" id="{05D079A2-31FC-C8F5-378E-96C2931321AE}"/>
                </a:ext>
              </a:extLst>
            </p:cNvPr>
            <p:cNvSpPr/>
            <p:nvPr/>
          </p:nvSpPr>
          <p:spPr>
            <a:xfrm>
              <a:off x="4422921" y="3810483"/>
              <a:ext cx="1171" cy="15615"/>
            </a:xfrm>
            <a:custGeom>
              <a:avLst/>
              <a:gdLst>
                <a:gd name="connsiteX0" fmla="*/ 0 w 1171"/>
                <a:gd name="connsiteY0" fmla="*/ 0 h 15615"/>
                <a:gd name="connsiteX1" fmla="*/ 0 w 1171"/>
                <a:gd name="connsiteY1" fmla="*/ 15615 h 156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1" h="15615">
                  <a:moveTo>
                    <a:pt x="0" y="0"/>
                  </a:moveTo>
                  <a:lnTo>
                    <a:pt x="0" y="15615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82" name="Forma livre: Forma 1881">
              <a:extLst>
                <a:ext uri="{FF2B5EF4-FFF2-40B4-BE49-F238E27FC236}">
                  <a16:creationId xmlns:a16="http://schemas.microsoft.com/office/drawing/2014/main" id="{5DF51719-75E5-D22D-6752-5846767588FC}"/>
                </a:ext>
              </a:extLst>
            </p:cNvPr>
            <p:cNvSpPr/>
            <p:nvPr/>
          </p:nvSpPr>
          <p:spPr>
            <a:xfrm>
              <a:off x="4399376" y="3768816"/>
              <a:ext cx="23545" cy="32049"/>
            </a:xfrm>
            <a:custGeom>
              <a:avLst/>
              <a:gdLst>
                <a:gd name="connsiteX0" fmla="*/ 0 w 23545"/>
                <a:gd name="connsiteY0" fmla="*/ 0 h 32049"/>
                <a:gd name="connsiteX1" fmla="*/ 23546 w 23545"/>
                <a:gd name="connsiteY1" fmla="*/ 0 h 32049"/>
                <a:gd name="connsiteX2" fmla="*/ 23546 w 23545"/>
                <a:gd name="connsiteY2" fmla="*/ 32050 h 320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3545" h="32049">
                  <a:moveTo>
                    <a:pt x="0" y="0"/>
                  </a:moveTo>
                  <a:lnTo>
                    <a:pt x="23546" y="0"/>
                  </a:lnTo>
                  <a:lnTo>
                    <a:pt x="23546" y="3205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83" name="Forma livre: Forma 1882">
              <a:extLst>
                <a:ext uri="{FF2B5EF4-FFF2-40B4-BE49-F238E27FC236}">
                  <a16:creationId xmlns:a16="http://schemas.microsoft.com/office/drawing/2014/main" id="{292648AD-F7F9-42E2-ACA7-AFAEEB8C1B8C}"/>
                </a:ext>
              </a:extLst>
            </p:cNvPr>
            <p:cNvSpPr/>
            <p:nvPr/>
          </p:nvSpPr>
          <p:spPr>
            <a:xfrm>
              <a:off x="4371191" y="3768816"/>
              <a:ext cx="11374" cy="1171"/>
            </a:xfrm>
            <a:custGeom>
              <a:avLst/>
              <a:gdLst>
                <a:gd name="connsiteX0" fmla="*/ 0 w 11374"/>
                <a:gd name="connsiteY0" fmla="*/ 0 h 1171"/>
                <a:gd name="connsiteX1" fmla="*/ 11374 w 11374"/>
                <a:gd name="connsiteY1" fmla="*/ 0 h 11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374" h="1171">
                  <a:moveTo>
                    <a:pt x="0" y="0"/>
                  </a:moveTo>
                  <a:lnTo>
                    <a:pt x="11374" y="0"/>
                  </a:lnTo>
                </a:path>
              </a:pathLst>
            </a:custGeom>
            <a:ln w="6350" cap="sq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84" name="Forma livre: Forma 1883">
              <a:extLst>
                <a:ext uri="{FF2B5EF4-FFF2-40B4-BE49-F238E27FC236}">
                  <a16:creationId xmlns:a16="http://schemas.microsoft.com/office/drawing/2014/main" id="{F4F175E1-CCA6-DDD3-84A6-39209B8BA576}"/>
                </a:ext>
              </a:extLst>
            </p:cNvPr>
            <p:cNvSpPr/>
            <p:nvPr/>
          </p:nvSpPr>
          <p:spPr>
            <a:xfrm>
              <a:off x="4445740" y="3768816"/>
              <a:ext cx="28887" cy="1171"/>
            </a:xfrm>
            <a:custGeom>
              <a:avLst/>
              <a:gdLst>
                <a:gd name="connsiteX0" fmla="*/ 0 w 28887"/>
                <a:gd name="connsiteY0" fmla="*/ 0 h 1171"/>
                <a:gd name="connsiteX1" fmla="*/ 28887 w 28887"/>
                <a:gd name="connsiteY1" fmla="*/ 0 h 11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8887" h="1171">
                  <a:moveTo>
                    <a:pt x="0" y="0"/>
                  </a:moveTo>
                  <a:lnTo>
                    <a:pt x="28887" y="0"/>
                  </a:lnTo>
                </a:path>
              </a:pathLst>
            </a:custGeom>
            <a:ln w="6350" cap="sq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885" name="Gráfico 15">
              <a:extLst>
                <a:ext uri="{FF2B5EF4-FFF2-40B4-BE49-F238E27FC236}">
                  <a16:creationId xmlns:a16="http://schemas.microsoft.com/office/drawing/2014/main" id="{D7A43B3F-EC16-B905-9F26-8BF98CB9D3AD}"/>
                </a:ext>
              </a:extLst>
            </p:cNvPr>
            <p:cNvGrpSpPr/>
            <p:nvPr/>
          </p:nvGrpSpPr>
          <p:grpSpPr>
            <a:xfrm>
              <a:off x="4517841" y="3729269"/>
              <a:ext cx="89496" cy="161854"/>
              <a:chOff x="4517841" y="3729269"/>
              <a:chExt cx="89496" cy="161854"/>
            </a:xfrm>
            <a:noFill/>
          </p:grpSpPr>
          <p:sp>
            <p:nvSpPr>
              <p:cNvPr id="1886" name="Forma livre: Forma 1885">
                <a:extLst>
                  <a:ext uri="{FF2B5EF4-FFF2-40B4-BE49-F238E27FC236}">
                    <a16:creationId xmlns:a16="http://schemas.microsoft.com/office/drawing/2014/main" id="{9808E242-21FD-CCA3-2913-A405D08222E9}"/>
                  </a:ext>
                </a:extLst>
              </p:cNvPr>
              <p:cNvSpPr/>
              <p:nvPr/>
            </p:nvSpPr>
            <p:spPr>
              <a:xfrm>
                <a:off x="4517841" y="3729269"/>
                <a:ext cx="89496" cy="161854"/>
              </a:xfrm>
              <a:custGeom>
                <a:avLst/>
                <a:gdLst>
                  <a:gd name="connsiteX0" fmla="*/ 89496 w 89496"/>
                  <a:gd name="connsiteY0" fmla="*/ 154299 h 161854"/>
                  <a:gd name="connsiteX1" fmla="*/ 82175 w 89496"/>
                  <a:gd name="connsiteY1" fmla="*/ 161855 h 161854"/>
                  <a:gd name="connsiteX2" fmla="*/ 7321 w 89496"/>
                  <a:gd name="connsiteY2" fmla="*/ 161855 h 161854"/>
                  <a:gd name="connsiteX3" fmla="*/ 0 w 89496"/>
                  <a:gd name="connsiteY3" fmla="*/ 154299 h 161854"/>
                  <a:gd name="connsiteX4" fmla="*/ 0 w 89496"/>
                  <a:gd name="connsiteY4" fmla="*/ 7321 h 161854"/>
                  <a:gd name="connsiteX5" fmla="*/ 7321 w 89496"/>
                  <a:gd name="connsiteY5" fmla="*/ 0 h 161854"/>
                  <a:gd name="connsiteX6" fmla="*/ 82175 w 89496"/>
                  <a:gd name="connsiteY6" fmla="*/ 0 h 161854"/>
                  <a:gd name="connsiteX7" fmla="*/ 89496 w 89496"/>
                  <a:gd name="connsiteY7" fmla="*/ 7321 h 161854"/>
                  <a:gd name="connsiteX8" fmla="*/ 89496 w 89496"/>
                  <a:gd name="connsiteY8" fmla="*/ 154299 h 1618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89496" h="161854">
                    <a:moveTo>
                      <a:pt x="89496" y="154299"/>
                    </a:moveTo>
                    <a:cubicBezTo>
                      <a:pt x="89496" y="158329"/>
                      <a:pt x="86193" y="161855"/>
                      <a:pt x="82175" y="161855"/>
                    </a:cubicBezTo>
                    <a:lnTo>
                      <a:pt x="7321" y="161855"/>
                    </a:lnTo>
                    <a:cubicBezTo>
                      <a:pt x="3292" y="161855"/>
                      <a:pt x="0" y="158329"/>
                      <a:pt x="0" y="154299"/>
                    </a:cubicBezTo>
                    <a:lnTo>
                      <a:pt x="0" y="7321"/>
                    </a:lnTo>
                    <a:cubicBezTo>
                      <a:pt x="0" y="3280"/>
                      <a:pt x="3303" y="0"/>
                      <a:pt x="7321" y="0"/>
                    </a:cubicBezTo>
                    <a:lnTo>
                      <a:pt x="82175" y="0"/>
                    </a:lnTo>
                    <a:cubicBezTo>
                      <a:pt x="86205" y="0"/>
                      <a:pt x="89496" y="3292"/>
                      <a:pt x="89496" y="7321"/>
                    </a:cubicBezTo>
                    <a:lnTo>
                      <a:pt x="89496" y="154299"/>
                    </a:ln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887" name="Forma livre: Forma 1886">
                <a:extLst>
                  <a:ext uri="{FF2B5EF4-FFF2-40B4-BE49-F238E27FC236}">
                    <a16:creationId xmlns:a16="http://schemas.microsoft.com/office/drawing/2014/main" id="{2BC2C053-06C7-7BB8-6EC8-073FF8173C2C}"/>
                  </a:ext>
                </a:extLst>
              </p:cNvPr>
              <p:cNvSpPr/>
              <p:nvPr/>
            </p:nvSpPr>
            <p:spPr>
              <a:xfrm>
                <a:off x="4554389" y="3867988"/>
                <a:ext cx="16388" cy="1171"/>
              </a:xfrm>
              <a:custGeom>
                <a:avLst/>
                <a:gdLst>
                  <a:gd name="connsiteX0" fmla="*/ 0 w 16388"/>
                  <a:gd name="connsiteY0" fmla="*/ 0 h 1171"/>
                  <a:gd name="connsiteX1" fmla="*/ 16388 w 16388"/>
                  <a:gd name="connsiteY1" fmla="*/ 0 h 11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6388" h="1171">
                    <a:moveTo>
                      <a:pt x="0" y="0"/>
                    </a:moveTo>
                    <a:lnTo>
                      <a:pt x="16388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888" name="Gráfico 15">
              <a:extLst>
                <a:ext uri="{FF2B5EF4-FFF2-40B4-BE49-F238E27FC236}">
                  <a16:creationId xmlns:a16="http://schemas.microsoft.com/office/drawing/2014/main" id="{8442BF68-12CA-E661-37DA-ED6C7E81FFC1}"/>
                </a:ext>
              </a:extLst>
            </p:cNvPr>
            <p:cNvGrpSpPr/>
            <p:nvPr/>
          </p:nvGrpSpPr>
          <p:grpSpPr>
            <a:xfrm>
              <a:off x="4253195" y="3672912"/>
              <a:ext cx="309465" cy="218223"/>
              <a:chOff x="4253195" y="3672912"/>
              <a:chExt cx="309465" cy="218223"/>
            </a:xfrm>
            <a:noFill/>
          </p:grpSpPr>
          <p:sp>
            <p:nvSpPr>
              <p:cNvPr id="1889" name="Forma livre: Forma 1888">
                <a:extLst>
                  <a:ext uri="{FF2B5EF4-FFF2-40B4-BE49-F238E27FC236}">
                    <a16:creationId xmlns:a16="http://schemas.microsoft.com/office/drawing/2014/main" id="{9AD22341-68C0-6482-EBCC-C604AA767B88}"/>
                  </a:ext>
                </a:extLst>
              </p:cNvPr>
              <p:cNvSpPr/>
              <p:nvPr/>
            </p:nvSpPr>
            <p:spPr>
              <a:xfrm>
                <a:off x="4285643" y="3672912"/>
                <a:ext cx="277016" cy="170253"/>
              </a:xfrm>
              <a:custGeom>
                <a:avLst/>
                <a:gdLst>
                  <a:gd name="connsiteX0" fmla="*/ 0 w 277016"/>
                  <a:gd name="connsiteY0" fmla="*/ 170254 h 170253"/>
                  <a:gd name="connsiteX1" fmla="*/ 0 w 277016"/>
                  <a:gd name="connsiteY1" fmla="*/ 20219 h 170253"/>
                  <a:gd name="connsiteX2" fmla="*/ 20207 w 277016"/>
                  <a:gd name="connsiteY2" fmla="*/ 0 h 170253"/>
                  <a:gd name="connsiteX3" fmla="*/ 256786 w 277016"/>
                  <a:gd name="connsiteY3" fmla="*/ 0 h 170253"/>
                  <a:gd name="connsiteX4" fmla="*/ 277017 w 277016"/>
                  <a:gd name="connsiteY4" fmla="*/ 20219 h 170253"/>
                  <a:gd name="connsiteX5" fmla="*/ 277017 w 277016"/>
                  <a:gd name="connsiteY5" fmla="*/ 36853 h 1702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77016" h="170253">
                    <a:moveTo>
                      <a:pt x="0" y="170254"/>
                    </a:moveTo>
                    <a:lnTo>
                      <a:pt x="0" y="20219"/>
                    </a:lnTo>
                    <a:cubicBezTo>
                      <a:pt x="0" y="9102"/>
                      <a:pt x="9102" y="0"/>
                      <a:pt x="20207" y="0"/>
                    </a:cubicBezTo>
                    <a:lnTo>
                      <a:pt x="256786" y="0"/>
                    </a:lnTo>
                    <a:cubicBezTo>
                      <a:pt x="267915" y="0"/>
                      <a:pt x="277017" y="9102"/>
                      <a:pt x="277017" y="20219"/>
                    </a:cubicBezTo>
                    <a:lnTo>
                      <a:pt x="277017" y="36853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890" name="Forma livre: Forma 1889">
                <a:extLst>
                  <a:ext uri="{FF2B5EF4-FFF2-40B4-BE49-F238E27FC236}">
                    <a16:creationId xmlns:a16="http://schemas.microsoft.com/office/drawing/2014/main" id="{A349697E-D2F1-6905-EF83-97823C94D35E}"/>
                  </a:ext>
                </a:extLst>
              </p:cNvPr>
              <p:cNvSpPr/>
              <p:nvPr/>
            </p:nvSpPr>
            <p:spPr>
              <a:xfrm>
                <a:off x="4253195" y="3864380"/>
                <a:ext cx="244638" cy="26755"/>
              </a:xfrm>
              <a:custGeom>
                <a:avLst/>
                <a:gdLst>
                  <a:gd name="connsiteX0" fmla="*/ 244639 w 244638"/>
                  <a:gd name="connsiteY0" fmla="*/ 0 h 26755"/>
                  <a:gd name="connsiteX1" fmla="*/ 201320 w 244638"/>
                  <a:gd name="connsiteY1" fmla="*/ 0 h 26755"/>
                  <a:gd name="connsiteX2" fmla="*/ 196458 w 244638"/>
                  <a:gd name="connsiteY2" fmla="*/ 5623 h 26755"/>
                  <a:gd name="connsiteX3" fmla="*/ 145408 w 244638"/>
                  <a:gd name="connsiteY3" fmla="*/ 5623 h 26755"/>
                  <a:gd name="connsiteX4" fmla="*/ 140570 w 244638"/>
                  <a:gd name="connsiteY4" fmla="*/ 0 h 26755"/>
                  <a:gd name="connsiteX5" fmla="*/ 0 w 244638"/>
                  <a:gd name="connsiteY5" fmla="*/ 0 h 26755"/>
                  <a:gd name="connsiteX6" fmla="*/ 25455 w 244638"/>
                  <a:gd name="connsiteY6" fmla="*/ 26755 h 26755"/>
                  <a:gd name="connsiteX7" fmla="*/ 244639 w 244638"/>
                  <a:gd name="connsiteY7" fmla="*/ 26755 h 267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44638" h="26755">
                    <a:moveTo>
                      <a:pt x="244639" y="0"/>
                    </a:moveTo>
                    <a:lnTo>
                      <a:pt x="201320" y="0"/>
                    </a:lnTo>
                    <a:lnTo>
                      <a:pt x="196458" y="5623"/>
                    </a:lnTo>
                    <a:lnTo>
                      <a:pt x="145408" y="5623"/>
                    </a:lnTo>
                    <a:lnTo>
                      <a:pt x="140570" y="0"/>
                    </a:lnTo>
                    <a:lnTo>
                      <a:pt x="0" y="0"/>
                    </a:lnTo>
                    <a:cubicBezTo>
                      <a:pt x="0" y="0"/>
                      <a:pt x="5892" y="26755"/>
                      <a:pt x="25455" y="26755"/>
                    </a:cubicBezTo>
                    <a:lnTo>
                      <a:pt x="244639" y="26755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891" name="Gráfico 15">
            <a:extLst>
              <a:ext uri="{FF2B5EF4-FFF2-40B4-BE49-F238E27FC236}">
                <a16:creationId xmlns:a16="http://schemas.microsoft.com/office/drawing/2014/main" id="{D9D93925-E5A8-E908-FDED-99979A2F30A9}"/>
              </a:ext>
            </a:extLst>
          </p:cNvPr>
          <p:cNvGrpSpPr/>
          <p:nvPr/>
        </p:nvGrpSpPr>
        <p:grpSpPr>
          <a:xfrm>
            <a:off x="5527955" y="5743955"/>
            <a:ext cx="247192" cy="245927"/>
            <a:chOff x="5527955" y="5743955"/>
            <a:chExt cx="247192" cy="245927"/>
          </a:xfrm>
          <a:noFill/>
        </p:grpSpPr>
        <p:grpSp>
          <p:nvGrpSpPr>
            <p:cNvPr id="1892" name="Gráfico 15">
              <a:extLst>
                <a:ext uri="{FF2B5EF4-FFF2-40B4-BE49-F238E27FC236}">
                  <a16:creationId xmlns:a16="http://schemas.microsoft.com/office/drawing/2014/main" id="{80295638-7FF8-C362-62BD-65066A47FDEE}"/>
                </a:ext>
              </a:extLst>
            </p:cNvPr>
            <p:cNvGrpSpPr/>
            <p:nvPr/>
          </p:nvGrpSpPr>
          <p:grpSpPr>
            <a:xfrm>
              <a:off x="5527955" y="5743955"/>
              <a:ext cx="247192" cy="245927"/>
              <a:chOff x="5527955" y="5743955"/>
              <a:chExt cx="247192" cy="245927"/>
            </a:xfrm>
            <a:noFill/>
          </p:grpSpPr>
          <p:grpSp>
            <p:nvGrpSpPr>
              <p:cNvPr id="1893" name="Gráfico 15">
                <a:extLst>
                  <a:ext uri="{FF2B5EF4-FFF2-40B4-BE49-F238E27FC236}">
                    <a16:creationId xmlns:a16="http://schemas.microsoft.com/office/drawing/2014/main" id="{F5E1C068-5AF3-8DD3-DABD-C50FE1B8C53F}"/>
                  </a:ext>
                </a:extLst>
              </p:cNvPr>
              <p:cNvGrpSpPr/>
              <p:nvPr/>
            </p:nvGrpSpPr>
            <p:grpSpPr>
              <a:xfrm>
                <a:off x="5527955" y="5743955"/>
                <a:ext cx="247192" cy="39230"/>
                <a:chOff x="5527955" y="5743955"/>
                <a:chExt cx="247192" cy="39230"/>
              </a:xfrm>
              <a:noFill/>
            </p:grpSpPr>
            <p:sp>
              <p:nvSpPr>
                <p:cNvPr id="1894" name="Forma livre: Forma 1893">
                  <a:extLst>
                    <a:ext uri="{FF2B5EF4-FFF2-40B4-BE49-F238E27FC236}">
                      <a16:creationId xmlns:a16="http://schemas.microsoft.com/office/drawing/2014/main" id="{F0F91F43-8B51-442C-77BB-2926F5FCC202}"/>
                    </a:ext>
                  </a:extLst>
                </p:cNvPr>
                <p:cNvSpPr/>
                <p:nvPr/>
              </p:nvSpPr>
              <p:spPr>
                <a:xfrm>
                  <a:off x="5527955" y="5743955"/>
                  <a:ext cx="39230" cy="39230"/>
                </a:xfrm>
                <a:custGeom>
                  <a:avLst/>
                  <a:gdLst>
                    <a:gd name="connsiteX0" fmla="*/ 0 w 39230"/>
                    <a:gd name="connsiteY0" fmla="*/ 39231 h 39230"/>
                    <a:gd name="connsiteX1" fmla="*/ 0 w 39230"/>
                    <a:gd name="connsiteY1" fmla="*/ 0 h 39230"/>
                    <a:gd name="connsiteX2" fmla="*/ 39231 w 39230"/>
                    <a:gd name="connsiteY2" fmla="*/ 0 h 3923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39230" h="39230">
                      <a:moveTo>
                        <a:pt x="0" y="39231"/>
                      </a:moveTo>
                      <a:lnTo>
                        <a:pt x="0" y="0"/>
                      </a:lnTo>
                      <a:lnTo>
                        <a:pt x="39231" y="0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895" name="Forma livre: Forma 1894">
                  <a:extLst>
                    <a:ext uri="{FF2B5EF4-FFF2-40B4-BE49-F238E27FC236}">
                      <a16:creationId xmlns:a16="http://schemas.microsoft.com/office/drawing/2014/main" id="{D9243444-B3CC-C8E9-DAF2-5F1CBED89D9E}"/>
                    </a:ext>
                  </a:extLst>
                </p:cNvPr>
                <p:cNvSpPr/>
                <p:nvPr/>
              </p:nvSpPr>
              <p:spPr>
                <a:xfrm>
                  <a:off x="5735916" y="5743967"/>
                  <a:ext cx="39230" cy="39219"/>
                </a:xfrm>
                <a:custGeom>
                  <a:avLst/>
                  <a:gdLst>
                    <a:gd name="connsiteX0" fmla="*/ 0 w 39230"/>
                    <a:gd name="connsiteY0" fmla="*/ 0 h 39219"/>
                    <a:gd name="connsiteX1" fmla="*/ 39231 w 39230"/>
                    <a:gd name="connsiteY1" fmla="*/ 0 h 39219"/>
                    <a:gd name="connsiteX2" fmla="*/ 39231 w 39230"/>
                    <a:gd name="connsiteY2" fmla="*/ 39219 h 3921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39230" h="39219">
                      <a:moveTo>
                        <a:pt x="0" y="0"/>
                      </a:moveTo>
                      <a:lnTo>
                        <a:pt x="39231" y="0"/>
                      </a:lnTo>
                      <a:lnTo>
                        <a:pt x="39231" y="39219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1896" name="Gráfico 15">
                <a:extLst>
                  <a:ext uri="{FF2B5EF4-FFF2-40B4-BE49-F238E27FC236}">
                    <a16:creationId xmlns:a16="http://schemas.microsoft.com/office/drawing/2014/main" id="{6CBA984D-EDF9-662D-ACAB-A19E6FF52E49}"/>
                  </a:ext>
                </a:extLst>
              </p:cNvPr>
              <p:cNvGrpSpPr/>
              <p:nvPr/>
            </p:nvGrpSpPr>
            <p:grpSpPr>
              <a:xfrm>
                <a:off x="5527955" y="5950640"/>
                <a:ext cx="247192" cy="39242"/>
                <a:chOff x="5527955" y="5950640"/>
                <a:chExt cx="247192" cy="39242"/>
              </a:xfrm>
              <a:noFill/>
            </p:grpSpPr>
            <p:sp>
              <p:nvSpPr>
                <p:cNvPr id="1897" name="Forma livre: Forma 1896">
                  <a:extLst>
                    <a:ext uri="{FF2B5EF4-FFF2-40B4-BE49-F238E27FC236}">
                      <a16:creationId xmlns:a16="http://schemas.microsoft.com/office/drawing/2014/main" id="{CDC1CAAC-9BC4-E14A-035E-4BBCAD38D24D}"/>
                    </a:ext>
                  </a:extLst>
                </p:cNvPr>
                <p:cNvSpPr/>
                <p:nvPr/>
              </p:nvSpPr>
              <p:spPr>
                <a:xfrm>
                  <a:off x="5735916" y="5950652"/>
                  <a:ext cx="39230" cy="39230"/>
                </a:xfrm>
                <a:custGeom>
                  <a:avLst/>
                  <a:gdLst>
                    <a:gd name="connsiteX0" fmla="*/ 39231 w 39230"/>
                    <a:gd name="connsiteY0" fmla="*/ 0 h 39230"/>
                    <a:gd name="connsiteX1" fmla="*/ 39231 w 39230"/>
                    <a:gd name="connsiteY1" fmla="*/ 39231 h 39230"/>
                    <a:gd name="connsiteX2" fmla="*/ 0 w 39230"/>
                    <a:gd name="connsiteY2" fmla="*/ 39231 h 3923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39230" h="39230">
                      <a:moveTo>
                        <a:pt x="39231" y="0"/>
                      </a:moveTo>
                      <a:lnTo>
                        <a:pt x="39231" y="39231"/>
                      </a:lnTo>
                      <a:lnTo>
                        <a:pt x="0" y="39231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898" name="Forma livre: Forma 1897">
                  <a:extLst>
                    <a:ext uri="{FF2B5EF4-FFF2-40B4-BE49-F238E27FC236}">
                      <a16:creationId xmlns:a16="http://schemas.microsoft.com/office/drawing/2014/main" id="{D498CB7B-01DA-A636-6572-770DB4939276}"/>
                    </a:ext>
                  </a:extLst>
                </p:cNvPr>
                <p:cNvSpPr/>
                <p:nvPr/>
              </p:nvSpPr>
              <p:spPr>
                <a:xfrm>
                  <a:off x="5527955" y="5950640"/>
                  <a:ext cx="39230" cy="39242"/>
                </a:xfrm>
                <a:custGeom>
                  <a:avLst/>
                  <a:gdLst>
                    <a:gd name="connsiteX0" fmla="*/ 39231 w 39230"/>
                    <a:gd name="connsiteY0" fmla="*/ 39243 h 39242"/>
                    <a:gd name="connsiteX1" fmla="*/ 0 w 39230"/>
                    <a:gd name="connsiteY1" fmla="*/ 39243 h 39242"/>
                    <a:gd name="connsiteX2" fmla="*/ 0 w 39230"/>
                    <a:gd name="connsiteY2" fmla="*/ 0 h 3924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39230" h="39242">
                      <a:moveTo>
                        <a:pt x="39231" y="39243"/>
                      </a:moveTo>
                      <a:lnTo>
                        <a:pt x="0" y="39243"/>
                      </a:lnTo>
                      <a:lnTo>
                        <a:pt x="0" y="0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grpSp>
          <p:nvGrpSpPr>
            <p:cNvPr id="1899" name="Gráfico 15">
              <a:extLst>
                <a:ext uri="{FF2B5EF4-FFF2-40B4-BE49-F238E27FC236}">
                  <a16:creationId xmlns:a16="http://schemas.microsoft.com/office/drawing/2014/main" id="{733F353F-F8AC-C35C-FC8A-0BC267C1E271}"/>
                </a:ext>
              </a:extLst>
            </p:cNvPr>
            <p:cNvGrpSpPr/>
            <p:nvPr/>
          </p:nvGrpSpPr>
          <p:grpSpPr>
            <a:xfrm>
              <a:off x="5563718" y="5779215"/>
              <a:ext cx="175665" cy="175408"/>
              <a:chOff x="5563718" y="5779215"/>
              <a:chExt cx="175665" cy="175408"/>
            </a:xfrm>
            <a:noFill/>
          </p:grpSpPr>
          <p:sp>
            <p:nvSpPr>
              <p:cNvPr id="1900" name="Forma livre: Forma 1899">
                <a:extLst>
                  <a:ext uri="{FF2B5EF4-FFF2-40B4-BE49-F238E27FC236}">
                    <a16:creationId xmlns:a16="http://schemas.microsoft.com/office/drawing/2014/main" id="{349C78BE-FA77-F8B3-54D3-A95DA620570B}"/>
                  </a:ext>
                </a:extLst>
              </p:cNvPr>
              <p:cNvSpPr/>
              <p:nvPr/>
            </p:nvSpPr>
            <p:spPr>
              <a:xfrm>
                <a:off x="5629575" y="5879641"/>
                <a:ext cx="34709" cy="34416"/>
              </a:xfrm>
              <a:custGeom>
                <a:avLst/>
                <a:gdLst>
                  <a:gd name="connsiteX0" fmla="*/ 0 w 34709"/>
                  <a:gd name="connsiteY0" fmla="*/ 0 h 34416"/>
                  <a:gd name="connsiteX1" fmla="*/ 34709 w 34709"/>
                  <a:gd name="connsiteY1" fmla="*/ 0 h 34416"/>
                  <a:gd name="connsiteX2" fmla="*/ 34709 w 34709"/>
                  <a:gd name="connsiteY2" fmla="*/ 34416 h 344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4709" h="34416">
                    <a:moveTo>
                      <a:pt x="0" y="0"/>
                    </a:moveTo>
                    <a:lnTo>
                      <a:pt x="34709" y="0"/>
                    </a:lnTo>
                    <a:lnTo>
                      <a:pt x="34709" y="34416"/>
                    </a:lnTo>
                  </a:path>
                </a:pathLst>
              </a:custGeom>
              <a:noFill/>
              <a:ln w="6350" cap="sq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901" name="Forma livre: Forma 1900">
                <a:extLst>
                  <a:ext uri="{FF2B5EF4-FFF2-40B4-BE49-F238E27FC236}">
                    <a16:creationId xmlns:a16="http://schemas.microsoft.com/office/drawing/2014/main" id="{DFA63E94-9A91-92A3-9F41-935010858FD6}"/>
                  </a:ext>
                </a:extLst>
              </p:cNvPr>
              <p:cNvSpPr/>
              <p:nvPr/>
            </p:nvSpPr>
            <p:spPr>
              <a:xfrm>
                <a:off x="5722738" y="5854221"/>
                <a:ext cx="16575" cy="1171"/>
              </a:xfrm>
              <a:custGeom>
                <a:avLst/>
                <a:gdLst>
                  <a:gd name="connsiteX0" fmla="*/ 0 w 16575"/>
                  <a:gd name="connsiteY0" fmla="*/ 0 h 1171"/>
                  <a:gd name="connsiteX1" fmla="*/ 16576 w 16575"/>
                  <a:gd name="connsiteY1" fmla="*/ 0 h 11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6575" h="1171">
                    <a:moveTo>
                      <a:pt x="0" y="0"/>
                    </a:moveTo>
                    <a:lnTo>
                      <a:pt x="16576" y="0"/>
                    </a:lnTo>
                  </a:path>
                </a:pathLst>
              </a:custGeom>
              <a:ln w="6350" cap="sq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902" name="Forma livre: Forma 1901">
                <a:extLst>
                  <a:ext uri="{FF2B5EF4-FFF2-40B4-BE49-F238E27FC236}">
                    <a16:creationId xmlns:a16="http://schemas.microsoft.com/office/drawing/2014/main" id="{14149B80-1B7F-637A-C17D-5C3048C0B7D0}"/>
                  </a:ext>
                </a:extLst>
              </p:cNvPr>
              <p:cNvSpPr/>
              <p:nvPr/>
            </p:nvSpPr>
            <p:spPr>
              <a:xfrm>
                <a:off x="5629493" y="5854221"/>
                <a:ext cx="8399" cy="1171"/>
              </a:xfrm>
              <a:custGeom>
                <a:avLst/>
                <a:gdLst>
                  <a:gd name="connsiteX0" fmla="*/ 0 w 8399"/>
                  <a:gd name="connsiteY0" fmla="*/ 0 h 1171"/>
                  <a:gd name="connsiteX1" fmla="*/ 8399 w 8399"/>
                  <a:gd name="connsiteY1" fmla="*/ 0 h 11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8399" h="1171">
                    <a:moveTo>
                      <a:pt x="0" y="0"/>
                    </a:moveTo>
                    <a:lnTo>
                      <a:pt x="8399" y="0"/>
                    </a:lnTo>
                  </a:path>
                </a:pathLst>
              </a:custGeom>
              <a:ln w="6350" cap="sq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1903" name="Gráfico 15">
                <a:extLst>
                  <a:ext uri="{FF2B5EF4-FFF2-40B4-BE49-F238E27FC236}">
                    <a16:creationId xmlns:a16="http://schemas.microsoft.com/office/drawing/2014/main" id="{F9B9B227-8F88-71AA-B386-3DF7556450AD}"/>
                  </a:ext>
                </a:extLst>
              </p:cNvPr>
              <p:cNvGrpSpPr/>
              <p:nvPr/>
            </p:nvGrpSpPr>
            <p:grpSpPr>
              <a:xfrm>
                <a:off x="5563718" y="5779215"/>
                <a:ext cx="175665" cy="175408"/>
                <a:chOff x="5563718" y="5779215"/>
                <a:chExt cx="175665" cy="175408"/>
              </a:xfrm>
              <a:noFill/>
            </p:grpSpPr>
            <p:sp>
              <p:nvSpPr>
                <p:cNvPr id="1904" name="Forma livre: Forma 1903">
                  <a:extLst>
                    <a:ext uri="{FF2B5EF4-FFF2-40B4-BE49-F238E27FC236}">
                      <a16:creationId xmlns:a16="http://schemas.microsoft.com/office/drawing/2014/main" id="{4EE02BE5-7C8C-6420-7A71-26B00FB7D093}"/>
                    </a:ext>
                  </a:extLst>
                </p:cNvPr>
                <p:cNvSpPr/>
                <p:nvPr/>
              </p:nvSpPr>
              <p:spPr>
                <a:xfrm>
                  <a:off x="5563718" y="5879640"/>
                  <a:ext cx="24318" cy="1171"/>
                </a:xfrm>
                <a:custGeom>
                  <a:avLst/>
                  <a:gdLst>
                    <a:gd name="connsiteX0" fmla="*/ 0 w 24318"/>
                    <a:gd name="connsiteY0" fmla="*/ 0 h 1171"/>
                    <a:gd name="connsiteX1" fmla="*/ 24319 w 24318"/>
                    <a:gd name="connsiteY1" fmla="*/ 0 h 11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4318" h="1171">
                      <a:moveTo>
                        <a:pt x="0" y="0"/>
                      </a:moveTo>
                      <a:lnTo>
                        <a:pt x="24319" y="0"/>
                      </a:lnTo>
                    </a:path>
                  </a:pathLst>
                </a:custGeom>
                <a:ln w="6350" cap="sq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905" name="Forma livre: Forma 1904">
                  <a:extLst>
                    <a:ext uri="{FF2B5EF4-FFF2-40B4-BE49-F238E27FC236}">
                      <a16:creationId xmlns:a16="http://schemas.microsoft.com/office/drawing/2014/main" id="{08AB13F8-DC97-FDB9-F2B9-49FA3E6D9D15}"/>
                    </a:ext>
                  </a:extLst>
                </p:cNvPr>
                <p:cNvSpPr/>
                <p:nvPr/>
              </p:nvSpPr>
              <p:spPr>
                <a:xfrm>
                  <a:off x="5563718" y="5854221"/>
                  <a:ext cx="40952" cy="1171"/>
                </a:xfrm>
                <a:custGeom>
                  <a:avLst/>
                  <a:gdLst>
                    <a:gd name="connsiteX0" fmla="*/ 0 w 40952"/>
                    <a:gd name="connsiteY0" fmla="*/ 0 h 1171"/>
                    <a:gd name="connsiteX1" fmla="*/ 40953 w 40952"/>
                    <a:gd name="connsiteY1" fmla="*/ 0 h 11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0952" h="1171">
                      <a:moveTo>
                        <a:pt x="0" y="0"/>
                      </a:moveTo>
                      <a:lnTo>
                        <a:pt x="40953" y="0"/>
                      </a:lnTo>
                    </a:path>
                  </a:pathLst>
                </a:custGeom>
                <a:ln w="6350" cap="sq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grpSp>
              <p:nvGrpSpPr>
                <p:cNvPr id="1906" name="Gráfico 15">
                  <a:extLst>
                    <a:ext uri="{FF2B5EF4-FFF2-40B4-BE49-F238E27FC236}">
                      <a16:creationId xmlns:a16="http://schemas.microsoft.com/office/drawing/2014/main" id="{64C59EE1-F882-69C8-F985-2A008B6B475B}"/>
                    </a:ext>
                  </a:extLst>
                </p:cNvPr>
                <p:cNvGrpSpPr/>
                <p:nvPr/>
              </p:nvGrpSpPr>
              <p:grpSpPr>
                <a:xfrm>
                  <a:off x="5563718" y="5779215"/>
                  <a:ext cx="175665" cy="175408"/>
                  <a:chOff x="5563718" y="5779215"/>
                  <a:chExt cx="175665" cy="175408"/>
                </a:xfrm>
                <a:noFill/>
              </p:grpSpPr>
              <p:sp>
                <p:nvSpPr>
                  <p:cNvPr id="1907" name="Forma livre: Forma 1906">
                    <a:extLst>
                      <a:ext uri="{FF2B5EF4-FFF2-40B4-BE49-F238E27FC236}">
                        <a16:creationId xmlns:a16="http://schemas.microsoft.com/office/drawing/2014/main" id="{F794E6CF-7305-6871-C09D-9BC8186B6F4A}"/>
                      </a:ext>
                    </a:extLst>
                  </p:cNvPr>
                  <p:cNvSpPr/>
                  <p:nvPr/>
                </p:nvSpPr>
                <p:spPr>
                  <a:xfrm>
                    <a:off x="5664296" y="5945099"/>
                    <a:ext cx="1171" cy="9523"/>
                  </a:xfrm>
                  <a:custGeom>
                    <a:avLst/>
                    <a:gdLst>
                      <a:gd name="connsiteX0" fmla="*/ 0 w 1171"/>
                      <a:gd name="connsiteY0" fmla="*/ 0 h 9523"/>
                      <a:gd name="connsiteX1" fmla="*/ 0 w 1171"/>
                      <a:gd name="connsiteY1" fmla="*/ 9524 h 952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171" h="9523">
                        <a:moveTo>
                          <a:pt x="0" y="0"/>
                        </a:moveTo>
                        <a:lnTo>
                          <a:pt x="0" y="9524"/>
                        </a:lnTo>
                      </a:path>
                    </a:pathLst>
                  </a:custGeom>
                  <a:ln w="6350" cap="sq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1908" name="Forma livre: Forma 1907">
                    <a:extLst>
                      <a:ext uri="{FF2B5EF4-FFF2-40B4-BE49-F238E27FC236}">
                        <a16:creationId xmlns:a16="http://schemas.microsoft.com/office/drawing/2014/main" id="{53838C8C-C25D-F2D4-7582-AC0DF38AFB7D}"/>
                      </a:ext>
                    </a:extLst>
                  </p:cNvPr>
                  <p:cNvSpPr/>
                  <p:nvPr/>
                </p:nvSpPr>
                <p:spPr>
                  <a:xfrm>
                    <a:off x="5638595" y="5921273"/>
                    <a:ext cx="1171" cy="33350"/>
                  </a:xfrm>
                  <a:custGeom>
                    <a:avLst/>
                    <a:gdLst>
                      <a:gd name="connsiteX0" fmla="*/ 0 w 1171"/>
                      <a:gd name="connsiteY0" fmla="*/ 0 h 33350"/>
                      <a:gd name="connsiteX1" fmla="*/ 0 w 1171"/>
                      <a:gd name="connsiteY1" fmla="*/ 33350 h 3335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171" h="33350">
                        <a:moveTo>
                          <a:pt x="0" y="0"/>
                        </a:moveTo>
                        <a:lnTo>
                          <a:pt x="0" y="33350"/>
                        </a:lnTo>
                      </a:path>
                    </a:pathLst>
                  </a:custGeom>
                  <a:ln w="6350" cap="sq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grpSp>
                <p:nvGrpSpPr>
                  <p:cNvPr id="1909" name="Gráfico 15">
                    <a:extLst>
                      <a:ext uri="{FF2B5EF4-FFF2-40B4-BE49-F238E27FC236}">
                        <a16:creationId xmlns:a16="http://schemas.microsoft.com/office/drawing/2014/main" id="{A9349202-1824-8B51-907E-74E874D19FCF}"/>
                      </a:ext>
                    </a:extLst>
                  </p:cNvPr>
                  <p:cNvGrpSpPr/>
                  <p:nvPr/>
                </p:nvGrpSpPr>
                <p:grpSpPr>
                  <a:xfrm>
                    <a:off x="5563718" y="5779215"/>
                    <a:ext cx="175665" cy="175408"/>
                    <a:chOff x="5563718" y="5779215"/>
                    <a:chExt cx="175665" cy="175408"/>
                  </a:xfrm>
                  <a:noFill/>
                </p:grpSpPr>
                <p:sp>
                  <p:nvSpPr>
                    <p:cNvPr id="1910" name="Forma livre: Forma 1909">
                      <a:extLst>
                        <a:ext uri="{FF2B5EF4-FFF2-40B4-BE49-F238E27FC236}">
                          <a16:creationId xmlns:a16="http://schemas.microsoft.com/office/drawing/2014/main" id="{DB94C09C-53C1-0E22-2456-35027705D2E2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5638595" y="5779215"/>
                      <a:ext cx="1171" cy="27422"/>
                    </a:xfrm>
                    <a:custGeom>
                      <a:avLst/>
                      <a:gdLst>
                        <a:gd name="connsiteX0" fmla="*/ 0 w 1171"/>
                        <a:gd name="connsiteY0" fmla="*/ 0 h 27422"/>
                        <a:gd name="connsiteX1" fmla="*/ 0 w 1171"/>
                        <a:gd name="connsiteY1" fmla="*/ 27423 h 27422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1171" h="27422">
                          <a:moveTo>
                            <a:pt x="0" y="0"/>
                          </a:moveTo>
                          <a:lnTo>
                            <a:pt x="0" y="27423"/>
                          </a:lnTo>
                        </a:path>
                      </a:pathLst>
                    </a:custGeom>
                    <a:ln w="6350" cap="sq">
                      <a:solidFill>
                        <a:schemeClr val="accent2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pt-PT"/>
                    </a:p>
                  </p:txBody>
                </p:sp>
                <p:sp>
                  <p:nvSpPr>
                    <p:cNvPr id="1911" name="Forma livre: Forma 1910">
                      <a:extLst>
                        <a:ext uri="{FF2B5EF4-FFF2-40B4-BE49-F238E27FC236}">
                          <a16:creationId xmlns:a16="http://schemas.microsoft.com/office/drawing/2014/main" id="{6B0B78B0-4A54-C1CB-5BDA-368D01010790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5664296" y="5779215"/>
                      <a:ext cx="75087" cy="100425"/>
                    </a:xfrm>
                    <a:custGeom>
                      <a:avLst/>
                      <a:gdLst>
                        <a:gd name="connsiteX0" fmla="*/ 0 w 75087"/>
                        <a:gd name="connsiteY0" fmla="*/ 0 h 100425"/>
                        <a:gd name="connsiteX1" fmla="*/ 0 w 75087"/>
                        <a:gd name="connsiteY1" fmla="*/ 75006 h 100425"/>
                        <a:gd name="connsiteX2" fmla="*/ 32683 w 75087"/>
                        <a:gd name="connsiteY2" fmla="*/ 75006 h 100425"/>
                        <a:gd name="connsiteX3" fmla="*/ 32683 w 75087"/>
                        <a:gd name="connsiteY3" fmla="*/ 100426 h 100425"/>
                        <a:gd name="connsiteX4" fmla="*/ 75088 w 75087"/>
                        <a:gd name="connsiteY4" fmla="*/ 100426 h 100425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75087" h="100425">
                          <a:moveTo>
                            <a:pt x="0" y="0"/>
                          </a:moveTo>
                          <a:lnTo>
                            <a:pt x="0" y="75006"/>
                          </a:lnTo>
                          <a:lnTo>
                            <a:pt x="32683" y="75006"/>
                          </a:lnTo>
                          <a:lnTo>
                            <a:pt x="32683" y="100426"/>
                          </a:lnTo>
                          <a:lnTo>
                            <a:pt x="75088" y="100426"/>
                          </a:lnTo>
                        </a:path>
                      </a:pathLst>
                    </a:custGeom>
                    <a:noFill/>
                    <a:ln w="6350" cap="sq">
                      <a:solidFill>
                        <a:schemeClr val="accent2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pt-PT"/>
                    </a:p>
                  </p:txBody>
                </p:sp>
                <p:grpSp>
                  <p:nvGrpSpPr>
                    <p:cNvPr id="1912" name="Gráfico 15">
                      <a:extLst>
                        <a:ext uri="{FF2B5EF4-FFF2-40B4-BE49-F238E27FC236}">
                          <a16:creationId xmlns:a16="http://schemas.microsoft.com/office/drawing/2014/main" id="{CB6BB43A-B86D-203D-DE86-E674E89BA67C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5563718" y="5779215"/>
                      <a:ext cx="175595" cy="175408"/>
                      <a:chOff x="5563718" y="5779215"/>
                      <a:chExt cx="175595" cy="175408"/>
                    </a:xfrm>
                    <a:noFill/>
                  </p:grpSpPr>
                  <p:grpSp>
                    <p:nvGrpSpPr>
                      <p:cNvPr id="1913" name="Gráfico 15">
                        <a:extLst>
                          <a:ext uri="{FF2B5EF4-FFF2-40B4-BE49-F238E27FC236}">
                            <a16:creationId xmlns:a16="http://schemas.microsoft.com/office/drawing/2014/main" id="{261606EF-87E1-BFB0-E1C6-8F0BF5F26C27}"/>
                          </a:ext>
                        </a:extLst>
                      </p:cNvPr>
                      <p:cNvGrpSpPr/>
                      <p:nvPr/>
                    </p:nvGrpSpPr>
                    <p:grpSpPr>
                      <a:xfrm>
                        <a:off x="5563718" y="5779215"/>
                        <a:ext cx="49527" cy="49527"/>
                        <a:chOff x="5563718" y="5779215"/>
                        <a:chExt cx="49527" cy="49527"/>
                      </a:xfrm>
                      <a:noFill/>
                    </p:grpSpPr>
                    <p:sp>
                      <p:nvSpPr>
                        <p:cNvPr id="1914" name="Forma livre: Forma 1913">
                          <a:extLst>
                            <a:ext uri="{FF2B5EF4-FFF2-40B4-BE49-F238E27FC236}">
                              <a16:creationId xmlns:a16="http://schemas.microsoft.com/office/drawing/2014/main" id="{EDF59725-370E-90AA-312C-284097CAB0EB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5563718" y="5779215"/>
                          <a:ext cx="49527" cy="49527"/>
                        </a:xfrm>
                        <a:custGeom>
                          <a:avLst/>
                          <a:gdLst>
                            <a:gd name="connsiteX0" fmla="*/ 0 w 49527"/>
                            <a:gd name="connsiteY0" fmla="*/ 0 h 49527"/>
                            <a:gd name="connsiteX1" fmla="*/ 49528 w 49527"/>
                            <a:gd name="connsiteY1" fmla="*/ 0 h 49527"/>
                            <a:gd name="connsiteX2" fmla="*/ 49528 w 49527"/>
                            <a:gd name="connsiteY2" fmla="*/ 49528 h 49527"/>
                            <a:gd name="connsiteX3" fmla="*/ 0 w 49527"/>
                            <a:gd name="connsiteY3" fmla="*/ 49528 h 4952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</a:cxnLst>
                          <a:rect l="l" t="t" r="r" b="b"/>
                          <a:pathLst>
                            <a:path w="49527" h="49527">
                              <a:moveTo>
                                <a:pt x="0" y="0"/>
                              </a:moveTo>
                              <a:lnTo>
                                <a:pt x="49528" y="0"/>
                              </a:lnTo>
                              <a:lnTo>
                                <a:pt x="49528" y="49528"/>
                              </a:lnTo>
                              <a:lnTo>
                                <a:pt x="0" y="49528"/>
                              </a:lnTo>
                              <a:close/>
                            </a:path>
                          </a:pathLst>
                        </a:custGeom>
                        <a:noFill/>
                        <a:ln w="6350" cap="flat">
                          <a:solidFill>
                            <a:schemeClr val="accent2"/>
                          </a:solidFill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pt-PT"/>
                        </a:p>
                      </p:txBody>
                    </p:sp>
                    <p:sp>
                      <p:nvSpPr>
                        <p:cNvPr id="1915" name="Forma livre: Forma 1914">
                          <a:extLst>
                            <a:ext uri="{FF2B5EF4-FFF2-40B4-BE49-F238E27FC236}">
                              <a16:creationId xmlns:a16="http://schemas.microsoft.com/office/drawing/2014/main" id="{DA9A3F98-8D5A-E9B2-7BD0-ECD4146917B7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5586139" y="5801636"/>
                          <a:ext cx="4685" cy="4685"/>
                        </a:xfrm>
                        <a:custGeom>
                          <a:avLst/>
                          <a:gdLst>
                            <a:gd name="connsiteX0" fmla="*/ 0 w 4685"/>
                            <a:gd name="connsiteY0" fmla="*/ 0 h 4685"/>
                            <a:gd name="connsiteX1" fmla="*/ 4686 w 4685"/>
                            <a:gd name="connsiteY1" fmla="*/ 0 h 4685"/>
                            <a:gd name="connsiteX2" fmla="*/ 4686 w 4685"/>
                            <a:gd name="connsiteY2" fmla="*/ 4686 h 4685"/>
                            <a:gd name="connsiteX3" fmla="*/ 0 w 4685"/>
                            <a:gd name="connsiteY3" fmla="*/ 4686 h 4685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</a:cxnLst>
                          <a:rect l="l" t="t" r="r" b="b"/>
                          <a:pathLst>
                            <a:path w="4685" h="4685">
                              <a:moveTo>
                                <a:pt x="0" y="0"/>
                              </a:moveTo>
                              <a:lnTo>
                                <a:pt x="4686" y="0"/>
                              </a:lnTo>
                              <a:lnTo>
                                <a:pt x="4686" y="4686"/>
                              </a:lnTo>
                              <a:lnTo>
                                <a:pt x="0" y="4686"/>
                              </a:lnTo>
                              <a:close/>
                            </a:path>
                          </a:pathLst>
                        </a:custGeom>
                        <a:noFill/>
                        <a:ln w="6350" cap="flat">
                          <a:solidFill>
                            <a:schemeClr val="accent2"/>
                          </a:solidFill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pt-PT"/>
                        </a:p>
                      </p:txBody>
                    </p:sp>
                  </p:grpSp>
                  <p:grpSp>
                    <p:nvGrpSpPr>
                      <p:cNvPr id="1916" name="Gráfico 15">
                        <a:extLst>
                          <a:ext uri="{FF2B5EF4-FFF2-40B4-BE49-F238E27FC236}">
                            <a16:creationId xmlns:a16="http://schemas.microsoft.com/office/drawing/2014/main" id="{83ED0CEA-E559-FF2B-0142-8CD75D5DA0F0}"/>
                          </a:ext>
                        </a:extLst>
                      </p:cNvPr>
                      <p:cNvGrpSpPr/>
                      <p:nvPr/>
                    </p:nvGrpSpPr>
                    <p:grpSpPr>
                      <a:xfrm>
                        <a:off x="5689786" y="5779215"/>
                        <a:ext cx="49527" cy="49527"/>
                        <a:chOff x="5689786" y="5779215"/>
                        <a:chExt cx="49527" cy="49527"/>
                      </a:xfrm>
                      <a:noFill/>
                    </p:grpSpPr>
                    <p:sp>
                      <p:nvSpPr>
                        <p:cNvPr id="1917" name="Forma livre: Forma 1916">
                          <a:extLst>
                            <a:ext uri="{FF2B5EF4-FFF2-40B4-BE49-F238E27FC236}">
                              <a16:creationId xmlns:a16="http://schemas.microsoft.com/office/drawing/2014/main" id="{A2CC351B-67D4-69AE-CCF0-35F3B7CD6FB9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5689786" y="5779215"/>
                          <a:ext cx="49527" cy="49527"/>
                        </a:xfrm>
                        <a:custGeom>
                          <a:avLst/>
                          <a:gdLst>
                            <a:gd name="connsiteX0" fmla="*/ 0 w 49527"/>
                            <a:gd name="connsiteY0" fmla="*/ 0 h 49527"/>
                            <a:gd name="connsiteX1" fmla="*/ 49528 w 49527"/>
                            <a:gd name="connsiteY1" fmla="*/ 0 h 49527"/>
                            <a:gd name="connsiteX2" fmla="*/ 49528 w 49527"/>
                            <a:gd name="connsiteY2" fmla="*/ 49528 h 49527"/>
                            <a:gd name="connsiteX3" fmla="*/ 0 w 49527"/>
                            <a:gd name="connsiteY3" fmla="*/ 49528 h 4952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</a:cxnLst>
                          <a:rect l="l" t="t" r="r" b="b"/>
                          <a:pathLst>
                            <a:path w="49527" h="49527">
                              <a:moveTo>
                                <a:pt x="0" y="0"/>
                              </a:moveTo>
                              <a:lnTo>
                                <a:pt x="49528" y="0"/>
                              </a:lnTo>
                              <a:lnTo>
                                <a:pt x="49528" y="49528"/>
                              </a:lnTo>
                              <a:lnTo>
                                <a:pt x="0" y="49528"/>
                              </a:lnTo>
                              <a:close/>
                            </a:path>
                          </a:pathLst>
                        </a:custGeom>
                        <a:noFill/>
                        <a:ln w="6350" cap="flat">
                          <a:solidFill>
                            <a:schemeClr val="accent2"/>
                          </a:solidFill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pt-PT"/>
                        </a:p>
                      </p:txBody>
                    </p:sp>
                    <p:sp>
                      <p:nvSpPr>
                        <p:cNvPr id="1918" name="Forma livre: Forma 1917">
                          <a:extLst>
                            <a:ext uri="{FF2B5EF4-FFF2-40B4-BE49-F238E27FC236}">
                              <a16:creationId xmlns:a16="http://schemas.microsoft.com/office/drawing/2014/main" id="{0934BC28-40C7-D1DD-907A-54FFEF719B9A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5712207" y="5801636"/>
                          <a:ext cx="4685" cy="4685"/>
                        </a:xfrm>
                        <a:custGeom>
                          <a:avLst/>
                          <a:gdLst>
                            <a:gd name="connsiteX0" fmla="*/ 0 w 4685"/>
                            <a:gd name="connsiteY0" fmla="*/ 0 h 4685"/>
                            <a:gd name="connsiteX1" fmla="*/ 4686 w 4685"/>
                            <a:gd name="connsiteY1" fmla="*/ 0 h 4685"/>
                            <a:gd name="connsiteX2" fmla="*/ 4686 w 4685"/>
                            <a:gd name="connsiteY2" fmla="*/ 4686 h 4685"/>
                            <a:gd name="connsiteX3" fmla="*/ 0 w 4685"/>
                            <a:gd name="connsiteY3" fmla="*/ 4686 h 4685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</a:cxnLst>
                          <a:rect l="l" t="t" r="r" b="b"/>
                          <a:pathLst>
                            <a:path w="4685" h="4685">
                              <a:moveTo>
                                <a:pt x="0" y="0"/>
                              </a:moveTo>
                              <a:lnTo>
                                <a:pt x="4686" y="0"/>
                              </a:lnTo>
                              <a:lnTo>
                                <a:pt x="4686" y="4686"/>
                              </a:lnTo>
                              <a:lnTo>
                                <a:pt x="0" y="4686"/>
                              </a:lnTo>
                              <a:close/>
                            </a:path>
                          </a:pathLst>
                        </a:custGeom>
                        <a:noFill/>
                        <a:ln w="6350" cap="flat">
                          <a:solidFill>
                            <a:schemeClr val="accent2"/>
                          </a:solidFill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pt-PT"/>
                        </a:p>
                      </p:txBody>
                    </p:sp>
                  </p:grpSp>
                  <p:grpSp>
                    <p:nvGrpSpPr>
                      <p:cNvPr id="1919" name="Gráfico 15">
                        <a:extLst>
                          <a:ext uri="{FF2B5EF4-FFF2-40B4-BE49-F238E27FC236}">
                            <a16:creationId xmlns:a16="http://schemas.microsoft.com/office/drawing/2014/main" id="{596655C6-D1F3-2835-BFF5-4A62D8019A0E}"/>
                          </a:ext>
                        </a:extLst>
                      </p:cNvPr>
                      <p:cNvGrpSpPr/>
                      <p:nvPr/>
                    </p:nvGrpSpPr>
                    <p:grpSpPr>
                      <a:xfrm>
                        <a:off x="5563718" y="5905107"/>
                        <a:ext cx="49527" cy="49515"/>
                        <a:chOff x="5563718" y="5905107"/>
                        <a:chExt cx="49527" cy="49515"/>
                      </a:xfrm>
                      <a:noFill/>
                    </p:grpSpPr>
                    <p:sp>
                      <p:nvSpPr>
                        <p:cNvPr id="1920" name="Forma livre: Forma 1919">
                          <a:extLst>
                            <a:ext uri="{FF2B5EF4-FFF2-40B4-BE49-F238E27FC236}">
                              <a16:creationId xmlns:a16="http://schemas.microsoft.com/office/drawing/2014/main" id="{61ECF111-225A-85E3-D3C8-6BD158EB02FF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5563718" y="5905107"/>
                          <a:ext cx="49527" cy="49515"/>
                        </a:xfrm>
                        <a:custGeom>
                          <a:avLst/>
                          <a:gdLst>
                            <a:gd name="connsiteX0" fmla="*/ 0 w 49527"/>
                            <a:gd name="connsiteY0" fmla="*/ 0 h 49515"/>
                            <a:gd name="connsiteX1" fmla="*/ 49528 w 49527"/>
                            <a:gd name="connsiteY1" fmla="*/ 0 h 49515"/>
                            <a:gd name="connsiteX2" fmla="*/ 49528 w 49527"/>
                            <a:gd name="connsiteY2" fmla="*/ 49516 h 49515"/>
                            <a:gd name="connsiteX3" fmla="*/ 0 w 49527"/>
                            <a:gd name="connsiteY3" fmla="*/ 49516 h 49515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</a:cxnLst>
                          <a:rect l="l" t="t" r="r" b="b"/>
                          <a:pathLst>
                            <a:path w="49527" h="49515">
                              <a:moveTo>
                                <a:pt x="0" y="0"/>
                              </a:moveTo>
                              <a:lnTo>
                                <a:pt x="49528" y="0"/>
                              </a:lnTo>
                              <a:lnTo>
                                <a:pt x="49528" y="49516"/>
                              </a:lnTo>
                              <a:lnTo>
                                <a:pt x="0" y="49516"/>
                              </a:lnTo>
                              <a:close/>
                            </a:path>
                          </a:pathLst>
                        </a:custGeom>
                        <a:noFill/>
                        <a:ln w="6350" cap="flat">
                          <a:solidFill>
                            <a:schemeClr val="accent2"/>
                          </a:solidFill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pt-PT"/>
                        </a:p>
                      </p:txBody>
                    </p:sp>
                    <p:sp>
                      <p:nvSpPr>
                        <p:cNvPr id="1921" name="Forma livre: Forma 1920">
                          <a:extLst>
                            <a:ext uri="{FF2B5EF4-FFF2-40B4-BE49-F238E27FC236}">
                              <a16:creationId xmlns:a16="http://schemas.microsoft.com/office/drawing/2014/main" id="{18EF594F-03C4-58AB-6961-27B0FED6B9BA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5586139" y="5927516"/>
                          <a:ext cx="4685" cy="4685"/>
                        </a:xfrm>
                        <a:custGeom>
                          <a:avLst/>
                          <a:gdLst>
                            <a:gd name="connsiteX0" fmla="*/ 0 w 4685"/>
                            <a:gd name="connsiteY0" fmla="*/ 0 h 4685"/>
                            <a:gd name="connsiteX1" fmla="*/ 4686 w 4685"/>
                            <a:gd name="connsiteY1" fmla="*/ 0 h 4685"/>
                            <a:gd name="connsiteX2" fmla="*/ 4686 w 4685"/>
                            <a:gd name="connsiteY2" fmla="*/ 4686 h 4685"/>
                            <a:gd name="connsiteX3" fmla="*/ 0 w 4685"/>
                            <a:gd name="connsiteY3" fmla="*/ 4686 h 4685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</a:cxnLst>
                          <a:rect l="l" t="t" r="r" b="b"/>
                          <a:pathLst>
                            <a:path w="4685" h="4685">
                              <a:moveTo>
                                <a:pt x="0" y="0"/>
                              </a:moveTo>
                              <a:lnTo>
                                <a:pt x="4686" y="0"/>
                              </a:lnTo>
                              <a:lnTo>
                                <a:pt x="4686" y="4686"/>
                              </a:lnTo>
                              <a:lnTo>
                                <a:pt x="0" y="4686"/>
                              </a:lnTo>
                              <a:close/>
                            </a:path>
                          </a:pathLst>
                        </a:custGeom>
                        <a:noFill/>
                        <a:ln w="6350" cap="flat">
                          <a:solidFill>
                            <a:schemeClr val="accent2"/>
                          </a:solidFill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pt-PT"/>
                        </a:p>
                      </p:txBody>
                    </p:sp>
                  </p:grpSp>
                  <p:grpSp>
                    <p:nvGrpSpPr>
                      <p:cNvPr id="1922" name="Gráfico 15">
                        <a:extLst>
                          <a:ext uri="{FF2B5EF4-FFF2-40B4-BE49-F238E27FC236}">
                            <a16:creationId xmlns:a16="http://schemas.microsoft.com/office/drawing/2014/main" id="{14696E49-80CF-EC3B-D22B-8EE99818670D}"/>
                          </a:ext>
                        </a:extLst>
                      </p:cNvPr>
                      <p:cNvGrpSpPr/>
                      <p:nvPr/>
                    </p:nvGrpSpPr>
                    <p:grpSpPr>
                      <a:xfrm>
                        <a:off x="5689786" y="5905107"/>
                        <a:ext cx="49527" cy="49515"/>
                        <a:chOff x="5689786" y="5905107"/>
                        <a:chExt cx="49527" cy="49515"/>
                      </a:xfrm>
                      <a:noFill/>
                    </p:grpSpPr>
                    <p:sp>
                      <p:nvSpPr>
                        <p:cNvPr id="1923" name="Forma livre: Forma 1922">
                          <a:extLst>
                            <a:ext uri="{FF2B5EF4-FFF2-40B4-BE49-F238E27FC236}">
                              <a16:creationId xmlns:a16="http://schemas.microsoft.com/office/drawing/2014/main" id="{34DF0B39-3082-E8C5-20AD-05FD9FC2E146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5689786" y="5905107"/>
                          <a:ext cx="49527" cy="49515"/>
                        </a:xfrm>
                        <a:custGeom>
                          <a:avLst/>
                          <a:gdLst>
                            <a:gd name="connsiteX0" fmla="*/ 0 w 49527"/>
                            <a:gd name="connsiteY0" fmla="*/ 0 h 49515"/>
                            <a:gd name="connsiteX1" fmla="*/ 49528 w 49527"/>
                            <a:gd name="connsiteY1" fmla="*/ 0 h 49515"/>
                            <a:gd name="connsiteX2" fmla="*/ 49528 w 49527"/>
                            <a:gd name="connsiteY2" fmla="*/ 49516 h 49515"/>
                            <a:gd name="connsiteX3" fmla="*/ 0 w 49527"/>
                            <a:gd name="connsiteY3" fmla="*/ 49516 h 49515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</a:cxnLst>
                          <a:rect l="l" t="t" r="r" b="b"/>
                          <a:pathLst>
                            <a:path w="49527" h="49515">
                              <a:moveTo>
                                <a:pt x="0" y="0"/>
                              </a:moveTo>
                              <a:lnTo>
                                <a:pt x="49528" y="0"/>
                              </a:lnTo>
                              <a:lnTo>
                                <a:pt x="49528" y="49516"/>
                              </a:lnTo>
                              <a:lnTo>
                                <a:pt x="0" y="49516"/>
                              </a:lnTo>
                              <a:close/>
                            </a:path>
                          </a:pathLst>
                        </a:custGeom>
                        <a:noFill/>
                        <a:ln w="6350" cap="flat">
                          <a:solidFill>
                            <a:schemeClr val="accent2"/>
                          </a:solidFill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pt-PT"/>
                        </a:p>
                      </p:txBody>
                    </p:sp>
                    <p:sp>
                      <p:nvSpPr>
                        <p:cNvPr id="1924" name="Forma livre: Forma 1923">
                          <a:extLst>
                            <a:ext uri="{FF2B5EF4-FFF2-40B4-BE49-F238E27FC236}">
                              <a16:creationId xmlns:a16="http://schemas.microsoft.com/office/drawing/2014/main" id="{61DCABF8-1025-F324-EC64-D548EE6AF700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5712207" y="5927516"/>
                          <a:ext cx="4685" cy="4685"/>
                        </a:xfrm>
                        <a:custGeom>
                          <a:avLst/>
                          <a:gdLst>
                            <a:gd name="connsiteX0" fmla="*/ 0 w 4685"/>
                            <a:gd name="connsiteY0" fmla="*/ 0 h 4685"/>
                            <a:gd name="connsiteX1" fmla="*/ 4686 w 4685"/>
                            <a:gd name="connsiteY1" fmla="*/ 0 h 4685"/>
                            <a:gd name="connsiteX2" fmla="*/ 4686 w 4685"/>
                            <a:gd name="connsiteY2" fmla="*/ 4686 h 4685"/>
                            <a:gd name="connsiteX3" fmla="*/ 0 w 4685"/>
                            <a:gd name="connsiteY3" fmla="*/ 4686 h 4685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</a:cxnLst>
                          <a:rect l="l" t="t" r="r" b="b"/>
                          <a:pathLst>
                            <a:path w="4685" h="4685">
                              <a:moveTo>
                                <a:pt x="0" y="0"/>
                              </a:moveTo>
                              <a:lnTo>
                                <a:pt x="4686" y="0"/>
                              </a:lnTo>
                              <a:lnTo>
                                <a:pt x="4686" y="4686"/>
                              </a:lnTo>
                              <a:lnTo>
                                <a:pt x="0" y="4686"/>
                              </a:lnTo>
                              <a:close/>
                            </a:path>
                          </a:pathLst>
                        </a:custGeom>
                        <a:noFill/>
                        <a:ln w="6350" cap="flat">
                          <a:solidFill>
                            <a:schemeClr val="accent2"/>
                          </a:solidFill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pt-PT"/>
                        </a:p>
                      </p:txBody>
                    </p:sp>
                  </p:grpSp>
                </p:grpSp>
              </p:grpSp>
            </p:grpSp>
          </p:grpSp>
        </p:grpSp>
      </p:grpSp>
      <p:grpSp>
        <p:nvGrpSpPr>
          <p:cNvPr id="1925" name="Gráfico 15">
            <a:extLst>
              <a:ext uri="{FF2B5EF4-FFF2-40B4-BE49-F238E27FC236}">
                <a16:creationId xmlns:a16="http://schemas.microsoft.com/office/drawing/2014/main" id="{8CE97F0E-667A-DFBD-912B-93591495F8CB}"/>
              </a:ext>
            </a:extLst>
          </p:cNvPr>
          <p:cNvGrpSpPr/>
          <p:nvPr/>
        </p:nvGrpSpPr>
        <p:grpSpPr>
          <a:xfrm>
            <a:off x="5491219" y="4194122"/>
            <a:ext cx="320663" cy="218258"/>
            <a:chOff x="5491219" y="4194122"/>
            <a:chExt cx="320663" cy="218258"/>
          </a:xfrm>
          <a:noFill/>
        </p:grpSpPr>
        <p:sp>
          <p:nvSpPr>
            <p:cNvPr id="1926" name="Forma livre: Forma 1925">
              <a:extLst>
                <a:ext uri="{FF2B5EF4-FFF2-40B4-BE49-F238E27FC236}">
                  <a16:creationId xmlns:a16="http://schemas.microsoft.com/office/drawing/2014/main" id="{785A58F2-2685-F948-8D5A-0113486C705C}"/>
                </a:ext>
              </a:extLst>
            </p:cNvPr>
            <p:cNvSpPr/>
            <p:nvPr/>
          </p:nvSpPr>
          <p:spPr>
            <a:xfrm>
              <a:off x="5605491" y="4250350"/>
              <a:ext cx="1171" cy="162030"/>
            </a:xfrm>
            <a:custGeom>
              <a:avLst/>
              <a:gdLst>
                <a:gd name="connsiteX0" fmla="*/ 0 w 1171"/>
                <a:gd name="connsiteY0" fmla="*/ 0 h 162030"/>
                <a:gd name="connsiteX1" fmla="*/ 0 w 1171"/>
                <a:gd name="connsiteY1" fmla="*/ 162031 h 1620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1" h="162030">
                  <a:moveTo>
                    <a:pt x="0" y="0"/>
                  </a:moveTo>
                  <a:lnTo>
                    <a:pt x="0" y="162031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927" name="Gráfico 15">
              <a:extLst>
                <a:ext uri="{FF2B5EF4-FFF2-40B4-BE49-F238E27FC236}">
                  <a16:creationId xmlns:a16="http://schemas.microsoft.com/office/drawing/2014/main" id="{C6CB1E4F-D3E5-7651-D302-3A569274C10D}"/>
                </a:ext>
              </a:extLst>
            </p:cNvPr>
            <p:cNvGrpSpPr/>
            <p:nvPr/>
          </p:nvGrpSpPr>
          <p:grpSpPr>
            <a:xfrm>
              <a:off x="5670938" y="4338429"/>
              <a:ext cx="71690" cy="50980"/>
              <a:chOff x="5670938" y="4338429"/>
              <a:chExt cx="71690" cy="50980"/>
            </a:xfrm>
          </p:grpSpPr>
          <p:sp>
            <p:nvSpPr>
              <p:cNvPr id="1928" name="Forma livre: Forma 1927">
                <a:extLst>
                  <a:ext uri="{FF2B5EF4-FFF2-40B4-BE49-F238E27FC236}">
                    <a16:creationId xmlns:a16="http://schemas.microsoft.com/office/drawing/2014/main" id="{CFD91990-2AF4-4908-98EB-D8B0207FBCD9}"/>
                  </a:ext>
                </a:extLst>
              </p:cNvPr>
              <p:cNvSpPr/>
              <p:nvPr/>
            </p:nvSpPr>
            <p:spPr>
              <a:xfrm>
                <a:off x="5742629" y="4338429"/>
                <a:ext cx="1171" cy="50980"/>
              </a:xfrm>
              <a:custGeom>
                <a:avLst/>
                <a:gdLst>
                  <a:gd name="connsiteX0" fmla="*/ 0 w 1171"/>
                  <a:gd name="connsiteY0" fmla="*/ 50980 h 50980"/>
                  <a:gd name="connsiteX1" fmla="*/ 0 w 1171"/>
                  <a:gd name="connsiteY1" fmla="*/ 0 h 509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71" h="50980">
                    <a:moveTo>
                      <a:pt x="0" y="50980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929" name="Forma livre: Forma 1928">
                <a:extLst>
                  <a:ext uri="{FF2B5EF4-FFF2-40B4-BE49-F238E27FC236}">
                    <a16:creationId xmlns:a16="http://schemas.microsoft.com/office/drawing/2014/main" id="{0C234755-2FF2-987C-8604-29A1718CD77B}"/>
                  </a:ext>
                </a:extLst>
              </p:cNvPr>
              <p:cNvSpPr/>
              <p:nvPr/>
            </p:nvSpPr>
            <p:spPr>
              <a:xfrm>
                <a:off x="5718732" y="4338429"/>
                <a:ext cx="1171" cy="50980"/>
              </a:xfrm>
              <a:custGeom>
                <a:avLst/>
                <a:gdLst>
                  <a:gd name="connsiteX0" fmla="*/ 0 w 1171"/>
                  <a:gd name="connsiteY0" fmla="*/ 50980 h 50980"/>
                  <a:gd name="connsiteX1" fmla="*/ 0 w 1171"/>
                  <a:gd name="connsiteY1" fmla="*/ 0 h 509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71" h="50980">
                    <a:moveTo>
                      <a:pt x="0" y="50980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930" name="Forma livre: Forma 1929">
                <a:extLst>
                  <a:ext uri="{FF2B5EF4-FFF2-40B4-BE49-F238E27FC236}">
                    <a16:creationId xmlns:a16="http://schemas.microsoft.com/office/drawing/2014/main" id="{9573F7B4-3F90-039D-99FA-C6328582CA72}"/>
                  </a:ext>
                </a:extLst>
              </p:cNvPr>
              <p:cNvSpPr/>
              <p:nvPr/>
            </p:nvSpPr>
            <p:spPr>
              <a:xfrm>
                <a:off x="5694835" y="4338429"/>
                <a:ext cx="1171" cy="50980"/>
              </a:xfrm>
              <a:custGeom>
                <a:avLst/>
                <a:gdLst>
                  <a:gd name="connsiteX0" fmla="*/ 0 w 1171"/>
                  <a:gd name="connsiteY0" fmla="*/ 50980 h 50980"/>
                  <a:gd name="connsiteX1" fmla="*/ 0 w 1171"/>
                  <a:gd name="connsiteY1" fmla="*/ 0 h 509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71" h="50980">
                    <a:moveTo>
                      <a:pt x="0" y="50980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931" name="Forma livre: Forma 1930">
                <a:extLst>
                  <a:ext uri="{FF2B5EF4-FFF2-40B4-BE49-F238E27FC236}">
                    <a16:creationId xmlns:a16="http://schemas.microsoft.com/office/drawing/2014/main" id="{D4B1724A-634B-7041-FD67-1B0B7C2D1708}"/>
                  </a:ext>
                </a:extLst>
              </p:cNvPr>
              <p:cNvSpPr/>
              <p:nvPr/>
            </p:nvSpPr>
            <p:spPr>
              <a:xfrm>
                <a:off x="5670938" y="4338429"/>
                <a:ext cx="1171" cy="50980"/>
              </a:xfrm>
              <a:custGeom>
                <a:avLst/>
                <a:gdLst>
                  <a:gd name="connsiteX0" fmla="*/ 0 w 1171"/>
                  <a:gd name="connsiteY0" fmla="*/ 50980 h 50980"/>
                  <a:gd name="connsiteX1" fmla="*/ 0 w 1171"/>
                  <a:gd name="connsiteY1" fmla="*/ 0 h 509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71" h="50980">
                    <a:moveTo>
                      <a:pt x="0" y="50980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932" name="Forma livre: Forma 1931">
              <a:extLst>
                <a:ext uri="{FF2B5EF4-FFF2-40B4-BE49-F238E27FC236}">
                  <a16:creationId xmlns:a16="http://schemas.microsoft.com/office/drawing/2014/main" id="{23EEA522-854D-E1A0-8A24-B663CCD037B1}"/>
                </a:ext>
              </a:extLst>
            </p:cNvPr>
            <p:cNvSpPr/>
            <p:nvPr/>
          </p:nvSpPr>
          <p:spPr>
            <a:xfrm>
              <a:off x="5530907" y="4263154"/>
              <a:ext cx="241288" cy="149226"/>
            </a:xfrm>
            <a:custGeom>
              <a:avLst/>
              <a:gdLst>
                <a:gd name="connsiteX0" fmla="*/ 0 w 241288"/>
                <a:gd name="connsiteY0" fmla="*/ 23136 h 149226"/>
                <a:gd name="connsiteX1" fmla="*/ 0 w 241288"/>
                <a:gd name="connsiteY1" fmla="*/ 149227 h 149226"/>
                <a:gd name="connsiteX2" fmla="*/ 74221 w 241288"/>
                <a:gd name="connsiteY2" fmla="*/ 149227 h 149226"/>
                <a:gd name="connsiteX3" fmla="*/ 241289 w 241288"/>
                <a:gd name="connsiteY3" fmla="*/ 149227 h 149226"/>
                <a:gd name="connsiteX4" fmla="*/ 241289 w 241288"/>
                <a:gd name="connsiteY4" fmla="*/ 0 h 1492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1288" h="149226">
                  <a:moveTo>
                    <a:pt x="0" y="23136"/>
                  </a:moveTo>
                  <a:lnTo>
                    <a:pt x="0" y="149227"/>
                  </a:lnTo>
                  <a:lnTo>
                    <a:pt x="74221" y="149227"/>
                  </a:lnTo>
                  <a:lnTo>
                    <a:pt x="241289" y="149227"/>
                  </a:lnTo>
                  <a:lnTo>
                    <a:pt x="241289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33" name="Forma livre: Forma 1932">
              <a:extLst>
                <a:ext uri="{FF2B5EF4-FFF2-40B4-BE49-F238E27FC236}">
                  <a16:creationId xmlns:a16="http://schemas.microsoft.com/office/drawing/2014/main" id="{31F159E5-0534-1D7F-9413-69D6F7413D71}"/>
                </a:ext>
              </a:extLst>
            </p:cNvPr>
            <p:cNvSpPr/>
            <p:nvPr/>
          </p:nvSpPr>
          <p:spPr>
            <a:xfrm>
              <a:off x="5491219" y="4194122"/>
              <a:ext cx="320663" cy="69031"/>
            </a:xfrm>
            <a:custGeom>
              <a:avLst/>
              <a:gdLst>
                <a:gd name="connsiteX0" fmla="*/ 116380 w 320663"/>
                <a:gd name="connsiteY0" fmla="*/ 1570 h 69031"/>
                <a:gd name="connsiteX1" fmla="*/ 131796 w 320663"/>
                <a:gd name="connsiteY1" fmla="*/ 30398 h 69031"/>
                <a:gd name="connsiteX2" fmla="*/ 153503 w 320663"/>
                <a:gd name="connsiteY2" fmla="*/ 69032 h 69031"/>
                <a:gd name="connsiteX3" fmla="*/ 320664 w 320663"/>
                <a:gd name="connsiteY3" fmla="*/ 69032 h 69031"/>
                <a:gd name="connsiteX4" fmla="*/ 281855 w 320663"/>
                <a:gd name="connsiteY4" fmla="*/ 0 h 69031"/>
                <a:gd name="connsiteX5" fmla="*/ 40566 w 320663"/>
                <a:gd name="connsiteY5" fmla="*/ 0 h 69031"/>
                <a:gd name="connsiteX6" fmla="*/ 0 w 320663"/>
                <a:gd name="connsiteY6" fmla="*/ 69032 h 69031"/>
                <a:gd name="connsiteX7" fmla="*/ 74303 w 320663"/>
                <a:gd name="connsiteY7" fmla="*/ 69032 h 69031"/>
                <a:gd name="connsiteX8" fmla="*/ 113323 w 320663"/>
                <a:gd name="connsiteY8" fmla="*/ 1218 h 690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20663" h="69031">
                  <a:moveTo>
                    <a:pt x="116380" y="1570"/>
                  </a:moveTo>
                  <a:lnTo>
                    <a:pt x="131796" y="30398"/>
                  </a:lnTo>
                  <a:lnTo>
                    <a:pt x="153503" y="69032"/>
                  </a:lnTo>
                  <a:lnTo>
                    <a:pt x="320664" y="69032"/>
                  </a:lnTo>
                  <a:lnTo>
                    <a:pt x="281855" y="0"/>
                  </a:lnTo>
                  <a:lnTo>
                    <a:pt x="40566" y="0"/>
                  </a:lnTo>
                  <a:lnTo>
                    <a:pt x="0" y="69032"/>
                  </a:lnTo>
                  <a:lnTo>
                    <a:pt x="74303" y="69032"/>
                  </a:lnTo>
                  <a:lnTo>
                    <a:pt x="113323" y="1218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934" name="Gráfico 15">
            <a:extLst>
              <a:ext uri="{FF2B5EF4-FFF2-40B4-BE49-F238E27FC236}">
                <a16:creationId xmlns:a16="http://schemas.microsoft.com/office/drawing/2014/main" id="{A9EA63F9-DE56-0C63-8602-D5CB5724DC66}"/>
              </a:ext>
            </a:extLst>
          </p:cNvPr>
          <p:cNvGrpSpPr/>
          <p:nvPr/>
        </p:nvGrpSpPr>
        <p:grpSpPr>
          <a:xfrm>
            <a:off x="5538041" y="4670620"/>
            <a:ext cx="227020" cy="307731"/>
            <a:chOff x="5538041" y="4670620"/>
            <a:chExt cx="227020" cy="307731"/>
          </a:xfrm>
          <a:noFill/>
        </p:grpSpPr>
        <p:grpSp>
          <p:nvGrpSpPr>
            <p:cNvPr id="1935" name="Gráfico 15">
              <a:extLst>
                <a:ext uri="{FF2B5EF4-FFF2-40B4-BE49-F238E27FC236}">
                  <a16:creationId xmlns:a16="http://schemas.microsoft.com/office/drawing/2014/main" id="{1C5D425C-CF44-780B-B29E-4EBE99BAA547}"/>
                </a:ext>
              </a:extLst>
            </p:cNvPr>
            <p:cNvGrpSpPr/>
            <p:nvPr/>
          </p:nvGrpSpPr>
          <p:grpSpPr>
            <a:xfrm>
              <a:off x="5661695" y="4900722"/>
              <a:ext cx="71690" cy="50968"/>
              <a:chOff x="5661695" y="4900722"/>
              <a:chExt cx="71690" cy="50968"/>
            </a:xfrm>
          </p:grpSpPr>
          <p:sp>
            <p:nvSpPr>
              <p:cNvPr id="1936" name="Forma livre: Forma 1935">
                <a:extLst>
                  <a:ext uri="{FF2B5EF4-FFF2-40B4-BE49-F238E27FC236}">
                    <a16:creationId xmlns:a16="http://schemas.microsoft.com/office/drawing/2014/main" id="{B822C45F-9017-6388-FD08-47B898E155B7}"/>
                  </a:ext>
                </a:extLst>
              </p:cNvPr>
              <p:cNvSpPr/>
              <p:nvPr/>
            </p:nvSpPr>
            <p:spPr>
              <a:xfrm>
                <a:off x="5733386" y="4900722"/>
                <a:ext cx="1171" cy="50968"/>
              </a:xfrm>
              <a:custGeom>
                <a:avLst/>
                <a:gdLst>
                  <a:gd name="connsiteX0" fmla="*/ 0 w 1171"/>
                  <a:gd name="connsiteY0" fmla="*/ 50968 h 50968"/>
                  <a:gd name="connsiteX1" fmla="*/ 0 w 1171"/>
                  <a:gd name="connsiteY1" fmla="*/ 0 h 509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71" h="50968">
                    <a:moveTo>
                      <a:pt x="0" y="50968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937" name="Forma livre: Forma 1936">
                <a:extLst>
                  <a:ext uri="{FF2B5EF4-FFF2-40B4-BE49-F238E27FC236}">
                    <a16:creationId xmlns:a16="http://schemas.microsoft.com/office/drawing/2014/main" id="{2C3AC1DE-EF43-BC3C-17DD-7DE3BD5E38D6}"/>
                  </a:ext>
                </a:extLst>
              </p:cNvPr>
              <p:cNvSpPr/>
              <p:nvPr/>
            </p:nvSpPr>
            <p:spPr>
              <a:xfrm>
                <a:off x="5709489" y="4900722"/>
                <a:ext cx="1171" cy="50968"/>
              </a:xfrm>
              <a:custGeom>
                <a:avLst/>
                <a:gdLst>
                  <a:gd name="connsiteX0" fmla="*/ 0 w 1171"/>
                  <a:gd name="connsiteY0" fmla="*/ 50968 h 50968"/>
                  <a:gd name="connsiteX1" fmla="*/ 0 w 1171"/>
                  <a:gd name="connsiteY1" fmla="*/ 0 h 509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71" h="50968">
                    <a:moveTo>
                      <a:pt x="0" y="50968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938" name="Forma livre: Forma 1937">
                <a:extLst>
                  <a:ext uri="{FF2B5EF4-FFF2-40B4-BE49-F238E27FC236}">
                    <a16:creationId xmlns:a16="http://schemas.microsoft.com/office/drawing/2014/main" id="{6F2040A4-3756-8851-1F1D-6B65C3AC24B3}"/>
                  </a:ext>
                </a:extLst>
              </p:cNvPr>
              <p:cNvSpPr/>
              <p:nvPr/>
            </p:nvSpPr>
            <p:spPr>
              <a:xfrm>
                <a:off x="5685592" y="4900722"/>
                <a:ext cx="1171" cy="50968"/>
              </a:xfrm>
              <a:custGeom>
                <a:avLst/>
                <a:gdLst>
                  <a:gd name="connsiteX0" fmla="*/ 0 w 1171"/>
                  <a:gd name="connsiteY0" fmla="*/ 50968 h 50968"/>
                  <a:gd name="connsiteX1" fmla="*/ 0 w 1171"/>
                  <a:gd name="connsiteY1" fmla="*/ 0 h 509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71" h="50968">
                    <a:moveTo>
                      <a:pt x="0" y="50968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939" name="Forma livre: Forma 1938">
                <a:extLst>
                  <a:ext uri="{FF2B5EF4-FFF2-40B4-BE49-F238E27FC236}">
                    <a16:creationId xmlns:a16="http://schemas.microsoft.com/office/drawing/2014/main" id="{E4EE524F-FC69-BA91-2FD6-B3C8587D0785}"/>
                  </a:ext>
                </a:extLst>
              </p:cNvPr>
              <p:cNvSpPr/>
              <p:nvPr/>
            </p:nvSpPr>
            <p:spPr>
              <a:xfrm>
                <a:off x="5661695" y="4900722"/>
                <a:ext cx="1171" cy="50968"/>
              </a:xfrm>
              <a:custGeom>
                <a:avLst/>
                <a:gdLst>
                  <a:gd name="connsiteX0" fmla="*/ 0 w 1171"/>
                  <a:gd name="connsiteY0" fmla="*/ 50968 h 50968"/>
                  <a:gd name="connsiteX1" fmla="*/ 0 w 1171"/>
                  <a:gd name="connsiteY1" fmla="*/ 0 h 509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71" h="50968">
                    <a:moveTo>
                      <a:pt x="0" y="50968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940" name="Forma livre: Forma 1939">
              <a:extLst>
                <a:ext uri="{FF2B5EF4-FFF2-40B4-BE49-F238E27FC236}">
                  <a16:creationId xmlns:a16="http://schemas.microsoft.com/office/drawing/2014/main" id="{3FB67A50-4D37-A14D-AEED-80D4E22EC8B2}"/>
                </a:ext>
              </a:extLst>
            </p:cNvPr>
            <p:cNvSpPr/>
            <p:nvPr/>
          </p:nvSpPr>
          <p:spPr>
            <a:xfrm>
              <a:off x="5604155" y="4670620"/>
              <a:ext cx="94802" cy="99699"/>
            </a:xfrm>
            <a:custGeom>
              <a:avLst/>
              <a:gdLst>
                <a:gd name="connsiteX0" fmla="*/ 0 w 94802"/>
                <a:gd name="connsiteY0" fmla="*/ 99699 h 99699"/>
                <a:gd name="connsiteX1" fmla="*/ 0 w 94802"/>
                <a:gd name="connsiteY1" fmla="*/ 47630 h 99699"/>
                <a:gd name="connsiteX2" fmla="*/ 47407 w 94802"/>
                <a:gd name="connsiteY2" fmla="*/ 0 h 99699"/>
                <a:gd name="connsiteX3" fmla="*/ 94803 w 94802"/>
                <a:gd name="connsiteY3" fmla="*/ 47630 h 99699"/>
                <a:gd name="connsiteX4" fmla="*/ 94803 w 94802"/>
                <a:gd name="connsiteY4" fmla="*/ 99699 h 996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4802" h="99699">
                  <a:moveTo>
                    <a:pt x="0" y="99699"/>
                  </a:moveTo>
                  <a:lnTo>
                    <a:pt x="0" y="47630"/>
                  </a:lnTo>
                  <a:cubicBezTo>
                    <a:pt x="0" y="21425"/>
                    <a:pt x="21320" y="0"/>
                    <a:pt x="47407" y="0"/>
                  </a:cubicBezTo>
                  <a:cubicBezTo>
                    <a:pt x="73495" y="0"/>
                    <a:pt x="94803" y="21437"/>
                    <a:pt x="94803" y="47630"/>
                  </a:cubicBezTo>
                  <a:lnTo>
                    <a:pt x="94803" y="99699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41" name="Forma livre: Forma 1940">
              <a:extLst>
                <a:ext uri="{FF2B5EF4-FFF2-40B4-BE49-F238E27FC236}">
                  <a16:creationId xmlns:a16="http://schemas.microsoft.com/office/drawing/2014/main" id="{2BF65EA1-5511-82E9-A004-CFBE1EF5BB4D}"/>
                </a:ext>
              </a:extLst>
            </p:cNvPr>
            <p:cNvSpPr/>
            <p:nvPr/>
          </p:nvSpPr>
          <p:spPr>
            <a:xfrm>
              <a:off x="5605901" y="4741245"/>
              <a:ext cx="72358" cy="1171"/>
            </a:xfrm>
            <a:custGeom>
              <a:avLst/>
              <a:gdLst>
                <a:gd name="connsiteX0" fmla="*/ 0 w 72358"/>
                <a:gd name="connsiteY0" fmla="*/ 0 h 1171"/>
                <a:gd name="connsiteX1" fmla="*/ 72359 w 72358"/>
                <a:gd name="connsiteY1" fmla="*/ 0 h 11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2358" h="1171">
                  <a:moveTo>
                    <a:pt x="0" y="0"/>
                  </a:moveTo>
                  <a:lnTo>
                    <a:pt x="72359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42" name="Forma livre: Forma 1941">
              <a:extLst>
                <a:ext uri="{FF2B5EF4-FFF2-40B4-BE49-F238E27FC236}">
                  <a16:creationId xmlns:a16="http://schemas.microsoft.com/office/drawing/2014/main" id="{EE64117C-EB8D-58EC-5E42-45667BE97C27}"/>
                </a:ext>
              </a:extLst>
            </p:cNvPr>
            <p:cNvSpPr/>
            <p:nvPr/>
          </p:nvSpPr>
          <p:spPr>
            <a:xfrm>
              <a:off x="5538041" y="4741245"/>
              <a:ext cx="227020" cy="237106"/>
            </a:xfrm>
            <a:custGeom>
              <a:avLst/>
              <a:gdLst>
                <a:gd name="connsiteX0" fmla="*/ 162312 w 227020"/>
                <a:gd name="connsiteY0" fmla="*/ 0 h 237106"/>
                <a:gd name="connsiteX1" fmla="*/ 227021 w 227020"/>
                <a:gd name="connsiteY1" fmla="*/ 0 h 237106"/>
                <a:gd name="connsiteX2" fmla="*/ 227021 w 227020"/>
                <a:gd name="connsiteY2" fmla="*/ 237107 h 237106"/>
                <a:gd name="connsiteX3" fmla="*/ 0 w 227020"/>
                <a:gd name="connsiteY3" fmla="*/ 237107 h 237106"/>
                <a:gd name="connsiteX4" fmla="*/ 0 w 227020"/>
                <a:gd name="connsiteY4" fmla="*/ 0 h 237106"/>
                <a:gd name="connsiteX5" fmla="*/ 45392 w 227020"/>
                <a:gd name="connsiteY5" fmla="*/ 0 h 2371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27020" h="237106">
                  <a:moveTo>
                    <a:pt x="162312" y="0"/>
                  </a:moveTo>
                  <a:lnTo>
                    <a:pt x="227021" y="0"/>
                  </a:lnTo>
                  <a:lnTo>
                    <a:pt x="227021" y="237107"/>
                  </a:lnTo>
                  <a:lnTo>
                    <a:pt x="0" y="237107"/>
                  </a:lnTo>
                  <a:lnTo>
                    <a:pt x="0" y="0"/>
                  </a:lnTo>
                  <a:lnTo>
                    <a:pt x="45392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943" name="Gráfico 15">
            <a:extLst>
              <a:ext uri="{FF2B5EF4-FFF2-40B4-BE49-F238E27FC236}">
                <a16:creationId xmlns:a16="http://schemas.microsoft.com/office/drawing/2014/main" id="{6300BC60-602A-B8E9-5BBB-CC4E1DE55C07}"/>
              </a:ext>
            </a:extLst>
          </p:cNvPr>
          <p:cNvGrpSpPr/>
          <p:nvPr/>
        </p:nvGrpSpPr>
        <p:grpSpPr>
          <a:xfrm>
            <a:off x="5516182" y="5203859"/>
            <a:ext cx="270718" cy="283684"/>
            <a:chOff x="5516182" y="5203859"/>
            <a:chExt cx="270718" cy="283684"/>
          </a:xfrm>
          <a:noFill/>
        </p:grpSpPr>
        <p:grpSp>
          <p:nvGrpSpPr>
            <p:cNvPr id="1944" name="Gráfico 15">
              <a:extLst>
                <a:ext uri="{FF2B5EF4-FFF2-40B4-BE49-F238E27FC236}">
                  <a16:creationId xmlns:a16="http://schemas.microsoft.com/office/drawing/2014/main" id="{1763584B-55AE-CF93-2EE7-5E30BE7A229C}"/>
                </a:ext>
              </a:extLst>
            </p:cNvPr>
            <p:cNvGrpSpPr/>
            <p:nvPr/>
          </p:nvGrpSpPr>
          <p:grpSpPr>
            <a:xfrm>
              <a:off x="5516182" y="5392635"/>
              <a:ext cx="126477" cy="94908"/>
              <a:chOff x="5516182" y="5392635"/>
              <a:chExt cx="126477" cy="94908"/>
            </a:xfrm>
            <a:noFill/>
          </p:grpSpPr>
          <p:sp>
            <p:nvSpPr>
              <p:cNvPr id="1945" name="Forma livre: Forma 1944">
                <a:extLst>
                  <a:ext uri="{FF2B5EF4-FFF2-40B4-BE49-F238E27FC236}">
                    <a16:creationId xmlns:a16="http://schemas.microsoft.com/office/drawing/2014/main" id="{28779F6F-D3C6-703F-A313-906E6B1D8B6E}"/>
                  </a:ext>
                </a:extLst>
              </p:cNvPr>
              <p:cNvSpPr/>
              <p:nvPr/>
            </p:nvSpPr>
            <p:spPr>
              <a:xfrm>
                <a:off x="5516205" y="5392635"/>
                <a:ext cx="20300" cy="20300"/>
              </a:xfrm>
              <a:custGeom>
                <a:avLst/>
                <a:gdLst>
                  <a:gd name="connsiteX0" fmla="*/ 0 w 20300"/>
                  <a:gd name="connsiteY0" fmla="*/ 20301 h 20300"/>
                  <a:gd name="connsiteX1" fmla="*/ 0 w 20300"/>
                  <a:gd name="connsiteY1" fmla="*/ 0 h 20300"/>
                  <a:gd name="connsiteX2" fmla="*/ 20301 w 20300"/>
                  <a:gd name="connsiteY2" fmla="*/ 0 h 203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0300" h="20300">
                    <a:moveTo>
                      <a:pt x="0" y="20301"/>
                    </a:moveTo>
                    <a:lnTo>
                      <a:pt x="0" y="0"/>
                    </a:lnTo>
                    <a:lnTo>
                      <a:pt x="20301" y="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946" name="Forma livre: Forma 1945">
                <a:extLst>
                  <a:ext uri="{FF2B5EF4-FFF2-40B4-BE49-F238E27FC236}">
                    <a16:creationId xmlns:a16="http://schemas.microsoft.com/office/drawing/2014/main" id="{8D20827E-C655-80EB-D2BB-8786147B9308}"/>
                  </a:ext>
                </a:extLst>
              </p:cNvPr>
              <p:cNvSpPr/>
              <p:nvPr/>
            </p:nvSpPr>
            <p:spPr>
              <a:xfrm>
                <a:off x="5622336" y="5392635"/>
                <a:ext cx="20300" cy="20300"/>
              </a:xfrm>
              <a:custGeom>
                <a:avLst/>
                <a:gdLst>
                  <a:gd name="connsiteX0" fmla="*/ 0 w 20300"/>
                  <a:gd name="connsiteY0" fmla="*/ 0 h 20300"/>
                  <a:gd name="connsiteX1" fmla="*/ 20301 w 20300"/>
                  <a:gd name="connsiteY1" fmla="*/ 0 h 20300"/>
                  <a:gd name="connsiteX2" fmla="*/ 20301 w 20300"/>
                  <a:gd name="connsiteY2" fmla="*/ 20301 h 203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0300" h="20300">
                    <a:moveTo>
                      <a:pt x="0" y="0"/>
                    </a:moveTo>
                    <a:lnTo>
                      <a:pt x="20301" y="0"/>
                    </a:lnTo>
                    <a:lnTo>
                      <a:pt x="20301" y="20301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947" name="Forma livre: Forma 1946">
                <a:extLst>
                  <a:ext uri="{FF2B5EF4-FFF2-40B4-BE49-F238E27FC236}">
                    <a16:creationId xmlns:a16="http://schemas.microsoft.com/office/drawing/2014/main" id="{354952AC-4EBC-3D94-3554-BE4B79FA3A14}"/>
                  </a:ext>
                </a:extLst>
              </p:cNvPr>
              <p:cNvSpPr/>
              <p:nvPr/>
            </p:nvSpPr>
            <p:spPr>
              <a:xfrm>
                <a:off x="5622359" y="5467243"/>
                <a:ext cx="20300" cy="20300"/>
              </a:xfrm>
              <a:custGeom>
                <a:avLst/>
                <a:gdLst>
                  <a:gd name="connsiteX0" fmla="*/ 20301 w 20300"/>
                  <a:gd name="connsiteY0" fmla="*/ 0 h 20300"/>
                  <a:gd name="connsiteX1" fmla="*/ 20301 w 20300"/>
                  <a:gd name="connsiteY1" fmla="*/ 20301 h 20300"/>
                  <a:gd name="connsiteX2" fmla="*/ 0 w 20300"/>
                  <a:gd name="connsiteY2" fmla="*/ 20301 h 203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0300" h="20300">
                    <a:moveTo>
                      <a:pt x="20301" y="0"/>
                    </a:moveTo>
                    <a:lnTo>
                      <a:pt x="20301" y="20301"/>
                    </a:lnTo>
                    <a:lnTo>
                      <a:pt x="0" y="20301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948" name="Forma livre: Forma 1947">
                <a:extLst>
                  <a:ext uri="{FF2B5EF4-FFF2-40B4-BE49-F238E27FC236}">
                    <a16:creationId xmlns:a16="http://schemas.microsoft.com/office/drawing/2014/main" id="{541D6017-F848-C417-72FE-02AE064C8031}"/>
                  </a:ext>
                </a:extLst>
              </p:cNvPr>
              <p:cNvSpPr/>
              <p:nvPr/>
            </p:nvSpPr>
            <p:spPr>
              <a:xfrm>
                <a:off x="5516182" y="5467243"/>
                <a:ext cx="20300" cy="20300"/>
              </a:xfrm>
              <a:custGeom>
                <a:avLst/>
                <a:gdLst>
                  <a:gd name="connsiteX0" fmla="*/ 20301 w 20300"/>
                  <a:gd name="connsiteY0" fmla="*/ 20301 h 20300"/>
                  <a:gd name="connsiteX1" fmla="*/ 0 w 20300"/>
                  <a:gd name="connsiteY1" fmla="*/ 20301 h 20300"/>
                  <a:gd name="connsiteX2" fmla="*/ 0 w 20300"/>
                  <a:gd name="connsiteY2" fmla="*/ 0 h 203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0300" h="20300">
                    <a:moveTo>
                      <a:pt x="20301" y="20301"/>
                    </a:moveTo>
                    <a:lnTo>
                      <a:pt x="0" y="20301"/>
                    </a:lnTo>
                    <a:lnTo>
                      <a:pt x="0" y="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949" name="Forma livre: Forma 1948">
                <a:extLst>
                  <a:ext uri="{FF2B5EF4-FFF2-40B4-BE49-F238E27FC236}">
                    <a16:creationId xmlns:a16="http://schemas.microsoft.com/office/drawing/2014/main" id="{617D8F50-F619-E640-FC22-2C3C94F7A484}"/>
                  </a:ext>
                </a:extLst>
              </p:cNvPr>
              <p:cNvSpPr/>
              <p:nvPr/>
            </p:nvSpPr>
            <p:spPr>
              <a:xfrm>
                <a:off x="5615249" y="5413194"/>
                <a:ext cx="1171" cy="53791"/>
              </a:xfrm>
              <a:custGeom>
                <a:avLst/>
                <a:gdLst>
                  <a:gd name="connsiteX0" fmla="*/ 0 w 1171"/>
                  <a:gd name="connsiteY0" fmla="*/ 53792 h 53791"/>
                  <a:gd name="connsiteX1" fmla="*/ 0 w 1171"/>
                  <a:gd name="connsiteY1" fmla="*/ 0 h 537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71" h="53791">
                    <a:moveTo>
                      <a:pt x="0" y="53792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950" name="Forma livre: Forma 1949">
                <a:extLst>
                  <a:ext uri="{FF2B5EF4-FFF2-40B4-BE49-F238E27FC236}">
                    <a16:creationId xmlns:a16="http://schemas.microsoft.com/office/drawing/2014/main" id="{4526F1A6-F36E-5779-AC4B-50A21EEB39AF}"/>
                  </a:ext>
                </a:extLst>
              </p:cNvPr>
              <p:cNvSpPr/>
              <p:nvPr/>
            </p:nvSpPr>
            <p:spPr>
              <a:xfrm>
                <a:off x="5591352" y="5413194"/>
                <a:ext cx="1171" cy="53791"/>
              </a:xfrm>
              <a:custGeom>
                <a:avLst/>
                <a:gdLst>
                  <a:gd name="connsiteX0" fmla="*/ 0 w 1171"/>
                  <a:gd name="connsiteY0" fmla="*/ 53792 h 53791"/>
                  <a:gd name="connsiteX1" fmla="*/ 0 w 1171"/>
                  <a:gd name="connsiteY1" fmla="*/ 0 h 537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71" h="53791">
                    <a:moveTo>
                      <a:pt x="0" y="53792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951" name="Forma livre: Forma 1950">
                <a:extLst>
                  <a:ext uri="{FF2B5EF4-FFF2-40B4-BE49-F238E27FC236}">
                    <a16:creationId xmlns:a16="http://schemas.microsoft.com/office/drawing/2014/main" id="{97B91D75-0FBA-2177-13A3-5CC3CF9FBF92}"/>
                  </a:ext>
                </a:extLst>
              </p:cNvPr>
              <p:cNvSpPr/>
              <p:nvPr/>
            </p:nvSpPr>
            <p:spPr>
              <a:xfrm>
                <a:off x="5567455" y="5413194"/>
                <a:ext cx="1171" cy="53791"/>
              </a:xfrm>
              <a:custGeom>
                <a:avLst/>
                <a:gdLst>
                  <a:gd name="connsiteX0" fmla="*/ 0 w 1171"/>
                  <a:gd name="connsiteY0" fmla="*/ 53792 h 53791"/>
                  <a:gd name="connsiteX1" fmla="*/ 0 w 1171"/>
                  <a:gd name="connsiteY1" fmla="*/ 0 h 537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71" h="53791">
                    <a:moveTo>
                      <a:pt x="0" y="53792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952" name="Forma livre: Forma 1951">
                <a:extLst>
                  <a:ext uri="{FF2B5EF4-FFF2-40B4-BE49-F238E27FC236}">
                    <a16:creationId xmlns:a16="http://schemas.microsoft.com/office/drawing/2014/main" id="{21A502F7-950E-A20B-32E5-3C15778639D1}"/>
                  </a:ext>
                </a:extLst>
              </p:cNvPr>
              <p:cNvSpPr/>
              <p:nvPr/>
            </p:nvSpPr>
            <p:spPr>
              <a:xfrm>
                <a:off x="5543558" y="5413194"/>
                <a:ext cx="1171" cy="53791"/>
              </a:xfrm>
              <a:custGeom>
                <a:avLst/>
                <a:gdLst>
                  <a:gd name="connsiteX0" fmla="*/ 0 w 1171"/>
                  <a:gd name="connsiteY0" fmla="*/ 53792 h 53791"/>
                  <a:gd name="connsiteX1" fmla="*/ 0 w 1171"/>
                  <a:gd name="connsiteY1" fmla="*/ 0 h 537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71" h="53791">
                    <a:moveTo>
                      <a:pt x="0" y="53792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953" name="Forma livre: Forma 1952">
              <a:extLst>
                <a:ext uri="{FF2B5EF4-FFF2-40B4-BE49-F238E27FC236}">
                  <a16:creationId xmlns:a16="http://schemas.microsoft.com/office/drawing/2014/main" id="{049AD8F2-8B78-7896-F620-77CED1FF5CB1}"/>
                </a:ext>
              </a:extLst>
            </p:cNvPr>
            <p:cNvSpPr/>
            <p:nvPr/>
          </p:nvSpPr>
          <p:spPr>
            <a:xfrm>
              <a:off x="5655627" y="5316106"/>
              <a:ext cx="42627" cy="57148"/>
            </a:xfrm>
            <a:custGeom>
              <a:avLst/>
              <a:gdLst>
                <a:gd name="connsiteX0" fmla="*/ 0 w 42627"/>
                <a:gd name="connsiteY0" fmla="*/ 0 h 57148"/>
                <a:gd name="connsiteX1" fmla="*/ 5389 w 42627"/>
                <a:gd name="connsiteY1" fmla="*/ 44783 h 57148"/>
                <a:gd name="connsiteX2" fmla="*/ 18567 w 42627"/>
                <a:gd name="connsiteY2" fmla="*/ 56521 h 57148"/>
                <a:gd name="connsiteX3" fmla="*/ 42628 w 42627"/>
                <a:gd name="connsiteY3" fmla="*/ 53487 h 571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2627" h="57148">
                  <a:moveTo>
                    <a:pt x="0" y="0"/>
                  </a:moveTo>
                  <a:cubicBezTo>
                    <a:pt x="4393" y="8223"/>
                    <a:pt x="14549" y="28653"/>
                    <a:pt x="5389" y="44783"/>
                  </a:cubicBezTo>
                  <a:cubicBezTo>
                    <a:pt x="5389" y="44783"/>
                    <a:pt x="-2108" y="60433"/>
                    <a:pt x="18567" y="56521"/>
                  </a:cubicBezTo>
                  <a:lnTo>
                    <a:pt x="42628" y="53487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54" name="Forma livre: Forma 1953">
              <a:extLst>
                <a:ext uri="{FF2B5EF4-FFF2-40B4-BE49-F238E27FC236}">
                  <a16:creationId xmlns:a16="http://schemas.microsoft.com/office/drawing/2014/main" id="{8B8BD90E-43C6-90FE-5AAC-E4A398129A0F}"/>
                </a:ext>
              </a:extLst>
            </p:cNvPr>
            <p:cNvSpPr/>
            <p:nvPr/>
          </p:nvSpPr>
          <p:spPr>
            <a:xfrm>
              <a:off x="5567103" y="5203859"/>
              <a:ext cx="219796" cy="283684"/>
            </a:xfrm>
            <a:custGeom>
              <a:avLst/>
              <a:gdLst>
                <a:gd name="connsiteX0" fmla="*/ 111929 w 219796"/>
                <a:gd name="connsiteY0" fmla="*/ 115704 h 283684"/>
                <a:gd name="connsiteX1" fmla="*/ 144120 w 219796"/>
                <a:gd name="connsiteY1" fmla="*/ 228628 h 283684"/>
                <a:gd name="connsiteX2" fmla="*/ 125377 w 219796"/>
                <a:gd name="connsiteY2" fmla="*/ 257914 h 283684"/>
                <a:gd name="connsiteX3" fmla="*/ 115525 w 219796"/>
                <a:gd name="connsiteY3" fmla="*/ 283685 h 283684"/>
                <a:gd name="connsiteX4" fmla="*/ 185799 w 219796"/>
                <a:gd name="connsiteY4" fmla="*/ 283685 h 283684"/>
                <a:gd name="connsiteX5" fmla="*/ 204412 w 219796"/>
                <a:gd name="connsiteY5" fmla="*/ 266664 h 283684"/>
                <a:gd name="connsiteX6" fmla="*/ 196904 w 219796"/>
                <a:gd name="connsiteY6" fmla="*/ 133158 h 283684"/>
                <a:gd name="connsiteX7" fmla="*/ 206474 w 219796"/>
                <a:gd name="connsiteY7" fmla="*/ 96809 h 283684"/>
                <a:gd name="connsiteX8" fmla="*/ 200137 w 219796"/>
                <a:gd name="connsiteY8" fmla="*/ 34782 h 283684"/>
                <a:gd name="connsiteX9" fmla="*/ 0 w 219796"/>
                <a:gd name="connsiteY9" fmla="*/ 998 h 283684"/>
                <a:gd name="connsiteX10" fmla="*/ 21800 w 219796"/>
                <a:gd name="connsiteY10" fmla="*/ 100873 h 283684"/>
                <a:gd name="connsiteX11" fmla="*/ 142327 w 219796"/>
                <a:gd name="connsiteY11" fmla="*/ 113162 h 2836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19796" h="283684">
                  <a:moveTo>
                    <a:pt x="111929" y="115704"/>
                  </a:moveTo>
                  <a:cubicBezTo>
                    <a:pt x="137700" y="155532"/>
                    <a:pt x="144120" y="228628"/>
                    <a:pt x="144120" y="228628"/>
                  </a:cubicBezTo>
                  <a:cubicBezTo>
                    <a:pt x="144120" y="243857"/>
                    <a:pt x="125377" y="257914"/>
                    <a:pt x="125377" y="257914"/>
                  </a:cubicBezTo>
                  <a:cubicBezTo>
                    <a:pt x="112491" y="267285"/>
                    <a:pt x="115525" y="283685"/>
                    <a:pt x="115525" y="283685"/>
                  </a:cubicBezTo>
                  <a:lnTo>
                    <a:pt x="185799" y="283685"/>
                  </a:lnTo>
                  <a:cubicBezTo>
                    <a:pt x="199856" y="283685"/>
                    <a:pt x="204412" y="266664"/>
                    <a:pt x="204412" y="266664"/>
                  </a:cubicBezTo>
                  <a:cubicBezTo>
                    <a:pt x="210141" y="203607"/>
                    <a:pt x="203768" y="163087"/>
                    <a:pt x="196904" y="133158"/>
                  </a:cubicBezTo>
                  <a:cubicBezTo>
                    <a:pt x="191046" y="107386"/>
                    <a:pt x="206474" y="96809"/>
                    <a:pt x="206474" y="96809"/>
                  </a:cubicBezTo>
                  <a:cubicBezTo>
                    <a:pt x="227958" y="74001"/>
                    <a:pt x="221726" y="45887"/>
                    <a:pt x="200137" y="34782"/>
                  </a:cubicBezTo>
                  <a:cubicBezTo>
                    <a:pt x="158680" y="13427"/>
                    <a:pt x="86474" y="-4484"/>
                    <a:pt x="0" y="998"/>
                  </a:cubicBezTo>
                  <a:lnTo>
                    <a:pt x="21800" y="100873"/>
                  </a:lnTo>
                  <a:cubicBezTo>
                    <a:pt x="21800" y="100873"/>
                    <a:pt x="78016" y="115504"/>
                    <a:pt x="142327" y="113162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55" name="Forma livre: Forma 1954">
              <a:extLst>
                <a:ext uri="{FF2B5EF4-FFF2-40B4-BE49-F238E27FC236}">
                  <a16:creationId xmlns:a16="http://schemas.microsoft.com/office/drawing/2014/main" id="{A18447FD-9BC4-BE92-2171-5E7D453F2697}"/>
                </a:ext>
              </a:extLst>
            </p:cNvPr>
            <p:cNvSpPr/>
            <p:nvPr/>
          </p:nvSpPr>
          <p:spPr>
            <a:xfrm>
              <a:off x="5605807" y="5225310"/>
              <a:ext cx="18555" cy="85033"/>
            </a:xfrm>
            <a:custGeom>
              <a:avLst/>
              <a:gdLst>
                <a:gd name="connsiteX0" fmla="*/ 0 w 18555"/>
                <a:gd name="connsiteY0" fmla="*/ 0 h 85033"/>
                <a:gd name="connsiteX1" fmla="*/ 18555 w 18555"/>
                <a:gd name="connsiteY1" fmla="*/ 85033 h 85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555" h="85033">
                  <a:moveTo>
                    <a:pt x="0" y="0"/>
                  </a:moveTo>
                  <a:lnTo>
                    <a:pt x="18555" y="85033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956" name="Gráfico 15">
            <a:extLst>
              <a:ext uri="{FF2B5EF4-FFF2-40B4-BE49-F238E27FC236}">
                <a16:creationId xmlns:a16="http://schemas.microsoft.com/office/drawing/2014/main" id="{1752D911-CC67-FA86-C60C-C3C2E11C52F6}"/>
              </a:ext>
            </a:extLst>
          </p:cNvPr>
          <p:cNvGrpSpPr/>
          <p:nvPr/>
        </p:nvGrpSpPr>
        <p:grpSpPr>
          <a:xfrm>
            <a:off x="5517623" y="3611272"/>
            <a:ext cx="267859" cy="341491"/>
            <a:chOff x="5517623" y="3611272"/>
            <a:chExt cx="267859" cy="341491"/>
          </a:xfrm>
          <a:noFill/>
        </p:grpSpPr>
        <p:grpSp>
          <p:nvGrpSpPr>
            <p:cNvPr id="1957" name="Gráfico 15">
              <a:extLst>
                <a:ext uri="{FF2B5EF4-FFF2-40B4-BE49-F238E27FC236}">
                  <a16:creationId xmlns:a16="http://schemas.microsoft.com/office/drawing/2014/main" id="{2D48641B-8F44-3546-B50D-23B366F3D2A2}"/>
                </a:ext>
              </a:extLst>
            </p:cNvPr>
            <p:cNvGrpSpPr/>
            <p:nvPr/>
          </p:nvGrpSpPr>
          <p:grpSpPr>
            <a:xfrm>
              <a:off x="5517623" y="3611272"/>
              <a:ext cx="267859" cy="341491"/>
              <a:chOff x="5517623" y="3611272"/>
              <a:chExt cx="267859" cy="341491"/>
            </a:xfrm>
            <a:noFill/>
          </p:grpSpPr>
          <p:sp>
            <p:nvSpPr>
              <p:cNvPr id="1958" name="Forma livre: Forma 1957">
                <a:extLst>
                  <a:ext uri="{FF2B5EF4-FFF2-40B4-BE49-F238E27FC236}">
                    <a16:creationId xmlns:a16="http://schemas.microsoft.com/office/drawing/2014/main" id="{467DFF98-4228-354F-8E45-246F07AE03EE}"/>
                  </a:ext>
                </a:extLst>
              </p:cNvPr>
              <p:cNvSpPr/>
              <p:nvPr/>
            </p:nvSpPr>
            <p:spPr>
              <a:xfrm>
                <a:off x="5517623" y="3721580"/>
                <a:ext cx="89687" cy="163276"/>
              </a:xfrm>
              <a:custGeom>
                <a:avLst/>
                <a:gdLst>
                  <a:gd name="connsiteX0" fmla="*/ 87353 w 89687"/>
                  <a:gd name="connsiteY0" fmla="*/ 161367 h 163276"/>
                  <a:gd name="connsiteX1" fmla="*/ 62893 w 89687"/>
                  <a:gd name="connsiteY1" fmla="*/ 82941 h 163276"/>
                  <a:gd name="connsiteX2" fmla="*/ 62835 w 89687"/>
                  <a:gd name="connsiteY2" fmla="*/ 82800 h 163276"/>
                  <a:gd name="connsiteX3" fmla="*/ 77314 w 89687"/>
                  <a:gd name="connsiteY3" fmla="*/ 38321 h 163276"/>
                  <a:gd name="connsiteX4" fmla="*/ 73190 w 89687"/>
                  <a:gd name="connsiteY4" fmla="*/ 11191 h 163276"/>
                  <a:gd name="connsiteX5" fmla="*/ 68083 w 89687"/>
                  <a:gd name="connsiteY5" fmla="*/ 4491 h 163276"/>
                  <a:gd name="connsiteX6" fmla="*/ 48953 w 89687"/>
                  <a:gd name="connsiteY6" fmla="*/ 6670 h 163276"/>
                  <a:gd name="connsiteX7" fmla="*/ 17864 w 89687"/>
                  <a:gd name="connsiteY7" fmla="*/ 100711 h 163276"/>
                  <a:gd name="connsiteX8" fmla="*/ 19012 w 89687"/>
                  <a:gd name="connsiteY8" fmla="*/ 142847 h 163276"/>
                  <a:gd name="connsiteX9" fmla="*/ 0 w 89687"/>
                  <a:gd name="connsiteY9" fmla="*/ 163277 h 1632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89687" h="163276">
                    <a:moveTo>
                      <a:pt x="87353" y="161367"/>
                    </a:moveTo>
                    <a:cubicBezTo>
                      <a:pt x="99067" y="116853"/>
                      <a:pt x="62893" y="82941"/>
                      <a:pt x="62893" y="82941"/>
                    </a:cubicBezTo>
                    <a:lnTo>
                      <a:pt x="62835" y="82800"/>
                    </a:lnTo>
                    <a:lnTo>
                      <a:pt x="77314" y="38321"/>
                    </a:lnTo>
                    <a:cubicBezTo>
                      <a:pt x="79996" y="30098"/>
                      <a:pt x="78626" y="20258"/>
                      <a:pt x="73190" y="11191"/>
                    </a:cubicBezTo>
                    <a:lnTo>
                      <a:pt x="68083" y="4491"/>
                    </a:lnTo>
                    <a:cubicBezTo>
                      <a:pt x="62636" y="-2046"/>
                      <a:pt x="51624" y="-1554"/>
                      <a:pt x="48953" y="6670"/>
                    </a:cubicBezTo>
                    <a:lnTo>
                      <a:pt x="17864" y="100711"/>
                    </a:lnTo>
                    <a:cubicBezTo>
                      <a:pt x="13600" y="113819"/>
                      <a:pt x="16950" y="130055"/>
                      <a:pt x="19012" y="142847"/>
                    </a:cubicBezTo>
                    <a:lnTo>
                      <a:pt x="0" y="163277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959" name="Forma livre: Forma 1958">
                <a:extLst>
                  <a:ext uri="{FF2B5EF4-FFF2-40B4-BE49-F238E27FC236}">
                    <a16:creationId xmlns:a16="http://schemas.microsoft.com/office/drawing/2014/main" id="{A9E7924F-496E-9EC0-AB67-53F274ECF8BD}"/>
                  </a:ext>
                </a:extLst>
              </p:cNvPr>
              <p:cNvSpPr/>
              <p:nvPr/>
            </p:nvSpPr>
            <p:spPr>
              <a:xfrm>
                <a:off x="5594198" y="3897004"/>
                <a:ext cx="103318" cy="55759"/>
              </a:xfrm>
              <a:custGeom>
                <a:avLst/>
                <a:gdLst>
                  <a:gd name="connsiteX0" fmla="*/ 103319 w 103318"/>
                  <a:gd name="connsiteY0" fmla="*/ 0 h 55759"/>
                  <a:gd name="connsiteX1" fmla="*/ 18274 w 103318"/>
                  <a:gd name="connsiteY1" fmla="*/ 35845 h 55759"/>
                  <a:gd name="connsiteX2" fmla="*/ 0 w 103318"/>
                  <a:gd name="connsiteY2" fmla="*/ 55759 h 557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03318" h="55759">
                    <a:moveTo>
                      <a:pt x="103319" y="0"/>
                    </a:moveTo>
                    <a:cubicBezTo>
                      <a:pt x="103319" y="0"/>
                      <a:pt x="100273" y="29988"/>
                      <a:pt x="18274" y="35845"/>
                    </a:cubicBezTo>
                    <a:lnTo>
                      <a:pt x="0" y="55759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960" name="Forma livre: Forma 1959">
                <a:extLst>
                  <a:ext uri="{FF2B5EF4-FFF2-40B4-BE49-F238E27FC236}">
                    <a16:creationId xmlns:a16="http://schemas.microsoft.com/office/drawing/2014/main" id="{CA62691B-8516-AC81-0947-379E6FBD45EA}"/>
                  </a:ext>
                </a:extLst>
              </p:cNvPr>
              <p:cNvSpPr/>
              <p:nvPr/>
            </p:nvSpPr>
            <p:spPr>
              <a:xfrm>
                <a:off x="5728990" y="3729296"/>
                <a:ext cx="46442" cy="43880"/>
              </a:xfrm>
              <a:custGeom>
                <a:avLst/>
                <a:gdLst>
                  <a:gd name="connsiteX0" fmla="*/ 43334 w 46442"/>
                  <a:gd name="connsiteY0" fmla="*/ 8008 h 43880"/>
                  <a:gd name="connsiteX1" fmla="*/ 41238 w 46442"/>
                  <a:gd name="connsiteY1" fmla="*/ 27782 h 43880"/>
                  <a:gd name="connsiteX2" fmla="*/ 25154 w 46442"/>
                  <a:gd name="connsiteY2" fmla="*/ 40773 h 43880"/>
                  <a:gd name="connsiteX3" fmla="*/ 5380 w 46442"/>
                  <a:gd name="connsiteY3" fmla="*/ 38676 h 43880"/>
                  <a:gd name="connsiteX4" fmla="*/ 3108 w 46442"/>
                  <a:gd name="connsiteY4" fmla="*/ 35876 h 43880"/>
                  <a:gd name="connsiteX5" fmla="*/ 5205 w 46442"/>
                  <a:gd name="connsiteY5" fmla="*/ 16103 h 43880"/>
                  <a:gd name="connsiteX6" fmla="*/ 21288 w 46442"/>
                  <a:gd name="connsiteY6" fmla="*/ 3112 h 43880"/>
                  <a:gd name="connsiteX7" fmla="*/ 41062 w 46442"/>
                  <a:gd name="connsiteY7" fmla="*/ 5208 h 43880"/>
                  <a:gd name="connsiteX8" fmla="*/ 43334 w 46442"/>
                  <a:gd name="connsiteY8" fmla="*/ 8008 h 438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6442" h="43880">
                    <a:moveTo>
                      <a:pt x="43334" y="8008"/>
                    </a:moveTo>
                    <a:cubicBezTo>
                      <a:pt x="48196" y="14017"/>
                      <a:pt x="47247" y="22920"/>
                      <a:pt x="41238" y="27782"/>
                    </a:cubicBezTo>
                    <a:lnTo>
                      <a:pt x="25154" y="40773"/>
                    </a:lnTo>
                    <a:cubicBezTo>
                      <a:pt x="19145" y="45634"/>
                      <a:pt x="10242" y="44685"/>
                      <a:pt x="5380" y="38676"/>
                    </a:cubicBezTo>
                    <a:lnTo>
                      <a:pt x="3108" y="35876"/>
                    </a:lnTo>
                    <a:cubicBezTo>
                      <a:pt x="-1754" y="29867"/>
                      <a:pt x="-805" y="20964"/>
                      <a:pt x="5205" y="16103"/>
                    </a:cubicBezTo>
                    <a:lnTo>
                      <a:pt x="21288" y="3112"/>
                    </a:lnTo>
                    <a:cubicBezTo>
                      <a:pt x="27298" y="-1750"/>
                      <a:pt x="36200" y="-813"/>
                      <a:pt x="41062" y="5208"/>
                    </a:cubicBezTo>
                    <a:lnTo>
                      <a:pt x="43334" y="8008"/>
                    </a:lnTo>
                    <a:close/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961" name="Forma livre: Forma 1960">
                <a:extLst>
                  <a:ext uri="{FF2B5EF4-FFF2-40B4-BE49-F238E27FC236}">
                    <a16:creationId xmlns:a16="http://schemas.microsoft.com/office/drawing/2014/main" id="{423D8FCF-8FE5-DE34-8918-B2D6D6A07100}"/>
                  </a:ext>
                </a:extLst>
              </p:cNvPr>
              <p:cNvSpPr/>
              <p:nvPr/>
            </p:nvSpPr>
            <p:spPr>
              <a:xfrm>
                <a:off x="5738716" y="3668937"/>
                <a:ext cx="46766" cy="61139"/>
              </a:xfrm>
              <a:custGeom>
                <a:avLst/>
                <a:gdLst>
                  <a:gd name="connsiteX0" fmla="*/ 176 w 46766"/>
                  <a:gd name="connsiteY0" fmla="*/ 20222 h 61139"/>
                  <a:gd name="connsiteX1" fmla="*/ 21613 w 46766"/>
                  <a:gd name="connsiteY1" fmla="*/ 3108 h 61139"/>
                  <a:gd name="connsiteX2" fmla="*/ 41386 w 46766"/>
                  <a:gd name="connsiteY2" fmla="*/ 5205 h 61139"/>
                  <a:gd name="connsiteX3" fmla="*/ 43659 w 46766"/>
                  <a:gd name="connsiteY3" fmla="*/ 8004 h 61139"/>
                  <a:gd name="connsiteX4" fmla="*/ 41562 w 46766"/>
                  <a:gd name="connsiteY4" fmla="*/ 27778 h 61139"/>
                  <a:gd name="connsiteX5" fmla="*/ 0 w 46766"/>
                  <a:gd name="connsiteY5" fmla="*/ 61140 h 611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46766" h="61139">
                    <a:moveTo>
                      <a:pt x="176" y="20222"/>
                    </a:moveTo>
                    <a:lnTo>
                      <a:pt x="21613" y="3108"/>
                    </a:lnTo>
                    <a:cubicBezTo>
                      <a:pt x="27622" y="-1754"/>
                      <a:pt x="36525" y="-805"/>
                      <a:pt x="41386" y="5205"/>
                    </a:cubicBezTo>
                    <a:lnTo>
                      <a:pt x="43659" y="8004"/>
                    </a:lnTo>
                    <a:cubicBezTo>
                      <a:pt x="48520" y="14014"/>
                      <a:pt x="47571" y="22917"/>
                      <a:pt x="41562" y="27778"/>
                    </a:cubicBezTo>
                    <a:lnTo>
                      <a:pt x="0" y="6114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962" name="Forma livre: Forma 1961">
                <a:extLst>
                  <a:ext uri="{FF2B5EF4-FFF2-40B4-BE49-F238E27FC236}">
                    <a16:creationId xmlns:a16="http://schemas.microsoft.com/office/drawing/2014/main" id="{021FE09A-D4E7-193B-0F45-4BC30C50F5E0}"/>
                  </a:ext>
                </a:extLst>
              </p:cNvPr>
              <p:cNvSpPr/>
              <p:nvPr/>
            </p:nvSpPr>
            <p:spPr>
              <a:xfrm>
                <a:off x="5728990" y="3774048"/>
                <a:ext cx="46442" cy="43871"/>
              </a:xfrm>
              <a:custGeom>
                <a:avLst/>
                <a:gdLst>
                  <a:gd name="connsiteX0" fmla="*/ 43334 w 46442"/>
                  <a:gd name="connsiteY0" fmla="*/ 8004 h 43871"/>
                  <a:gd name="connsiteX1" fmla="*/ 41238 w 46442"/>
                  <a:gd name="connsiteY1" fmla="*/ 27778 h 43871"/>
                  <a:gd name="connsiteX2" fmla="*/ 25154 w 46442"/>
                  <a:gd name="connsiteY2" fmla="*/ 40769 h 43871"/>
                  <a:gd name="connsiteX3" fmla="*/ 5380 w 46442"/>
                  <a:gd name="connsiteY3" fmla="*/ 38672 h 43871"/>
                  <a:gd name="connsiteX4" fmla="*/ 3108 w 46442"/>
                  <a:gd name="connsiteY4" fmla="*/ 35872 h 43871"/>
                  <a:gd name="connsiteX5" fmla="*/ 5205 w 46442"/>
                  <a:gd name="connsiteY5" fmla="*/ 16099 h 43871"/>
                  <a:gd name="connsiteX6" fmla="*/ 21288 w 46442"/>
                  <a:gd name="connsiteY6" fmla="*/ 3108 h 43871"/>
                  <a:gd name="connsiteX7" fmla="*/ 41062 w 46442"/>
                  <a:gd name="connsiteY7" fmla="*/ 5205 h 43871"/>
                  <a:gd name="connsiteX8" fmla="*/ 43334 w 46442"/>
                  <a:gd name="connsiteY8" fmla="*/ 8004 h 438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6442" h="43871">
                    <a:moveTo>
                      <a:pt x="43334" y="8004"/>
                    </a:moveTo>
                    <a:cubicBezTo>
                      <a:pt x="48196" y="14014"/>
                      <a:pt x="47247" y="22917"/>
                      <a:pt x="41238" y="27778"/>
                    </a:cubicBezTo>
                    <a:lnTo>
                      <a:pt x="25154" y="40769"/>
                    </a:lnTo>
                    <a:cubicBezTo>
                      <a:pt x="19145" y="45619"/>
                      <a:pt x="10242" y="44681"/>
                      <a:pt x="5380" y="38672"/>
                    </a:cubicBezTo>
                    <a:lnTo>
                      <a:pt x="3108" y="35872"/>
                    </a:lnTo>
                    <a:cubicBezTo>
                      <a:pt x="-1754" y="29863"/>
                      <a:pt x="-805" y="20960"/>
                      <a:pt x="5205" y="16099"/>
                    </a:cubicBezTo>
                    <a:lnTo>
                      <a:pt x="21288" y="3108"/>
                    </a:lnTo>
                    <a:cubicBezTo>
                      <a:pt x="27298" y="-1754"/>
                      <a:pt x="36200" y="-805"/>
                      <a:pt x="41062" y="5205"/>
                    </a:cubicBezTo>
                    <a:lnTo>
                      <a:pt x="43334" y="8004"/>
                    </a:lnTo>
                    <a:close/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963" name="Forma livre: Forma 1962">
                <a:extLst>
                  <a:ext uri="{FF2B5EF4-FFF2-40B4-BE49-F238E27FC236}">
                    <a16:creationId xmlns:a16="http://schemas.microsoft.com/office/drawing/2014/main" id="{F3E4C1BB-E096-F57B-F424-B9CC70973217}"/>
                  </a:ext>
                </a:extLst>
              </p:cNvPr>
              <p:cNvSpPr/>
              <p:nvPr/>
            </p:nvSpPr>
            <p:spPr>
              <a:xfrm>
                <a:off x="5728990" y="3821608"/>
                <a:ext cx="46442" cy="43876"/>
              </a:xfrm>
              <a:custGeom>
                <a:avLst/>
                <a:gdLst>
                  <a:gd name="connsiteX0" fmla="*/ 43334 w 46442"/>
                  <a:gd name="connsiteY0" fmla="*/ 8004 h 43876"/>
                  <a:gd name="connsiteX1" fmla="*/ 41238 w 46442"/>
                  <a:gd name="connsiteY1" fmla="*/ 27778 h 43876"/>
                  <a:gd name="connsiteX2" fmla="*/ 25154 w 46442"/>
                  <a:gd name="connsiteY2" fmla="*/ 40769 h 43876"/>
                  <a:gd name="connsiteX3" fmla="*/ 5380 w 46442"/>
                  <a:gd name="connsiteY3" fmla="*/ 38672 h 43876"/>
                  <a:gd name="connsiteX4" fmla="*/ 3108 w 46442"/>
                  <a:gd name="connsiteY4" fmla="*/ 35872 h 43876"/>
                  <a:gd name="connsiteX5" fmla="*/ 5205 w 46442"/>
                  <a:gd name="connsiteY5" fmla="*/ 16099 h 43876"/>
                  <a:gd name="connsiteX6" fmla="*/ 21288 w 46442"/>
                  <a:gd name="connsiteY6" fmla="*/ 3108 h 43876"/>
                  <a:gd name="connsiteX7" fmla="*/ 41062 w 46442"/>
                  <a:gd name="connsiteY7" fmla="*/ 5205 h 43876"/>
                  <a:gd name="connsiteX8" fmla="*/ 43334 w 46442"/>
                  <a:gd name="connsiteY8" fmla="*/ 8004 h 438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6442" h="43876">
                    <a:moveTo>
                      <a:pt x="43334" y="8004"/>
                    </a:moveTo>
                    <a:cubicBezTo>
                      <a:pt x="48196" y="14014"/>
                      <a:pt x="47247" y="22917"/>
                      <a:pt x="41238" y="27778"/>
                    </a:cubicBezTo>
                    <a:lnTo>
                      <a:pt x="25154" y="40769"/>
                    </a:lnTo>
                    <a:cubicBezTo>
                      <a:pt x="19145" y="45630"/>
                      <a:pt x="10242" y="44681"/>
                      <a:pt x="5380" y="38672"/>
                    </a:cubicBezTo>
                    <a:lnTo>
                      <a:pt x="3108" y="35872"/>
                    </a:lnTo>
                    <a:cubicBezTo>
                      <a:pt x="-1754" y="29863"/>
                      <a:pt x="-805" y="20960"/>
                      <a:pt x="5205" y="16099"/>
                    </a:cubicBezTo>
                    <a:lnTo>
                      <a:pt x="21288" y="3108"/>
                    </a:lnTo>
                    <a:cubicBezTo>
                      <a:pt x="27298" y="-1754"/>
                      <a:pt x="36200" y="-805"/>
                      <a:pt x="41062" y="5205"/>
                    </a:cubicBezTo>
                    <a:lnTo>
                      <a:pt x="43334" y="8004"/>
                    </a:lnTo>
                    <a:close/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1964" name="Gráfico 15">
                <a:extLst>
                  <a:ext uri="{FF2B5EF4-FFF2-40B4-BE49-F238E27FC236}">
                    <a16:creationId xmlns:a16="http://schemas.microsoft.com/office/drawing/2014/main" id="{2016920A-3529-4C7C-1AE1-3011088BF489}"/>
                  </a:ext>
                </a:extLst>
              </p:cNvPr>
              <p:cNvGrpSpPr/>
              <p:nvPr/>
            </p:nvGrpSpPr>
            <p:grpSpPr>
              <a:xfrm>
                <a:off x="5581406" y="3611272"/>
                <a:ext cx="157297" cy="284361"/>
                <a:chOff x="5581406" y="3611272"/>
                <a:chExt cx="157297" cy="284361"/>
              </a:xfrm>
              <a:noFill/>
            </p:grpSpPr>
            <p:sp>
              <p:nvSpPr>
                <p:cNvPr id="1965" name="Forma livre: Forma 1964">
                  <a:extLst>
                    <a:ext uri="{FF2B5EF4-FFF2-40B4-BE49-F238E27FC236}">
                      <a16:creationId xmlns:a16="http://schemas.microsoft.com/office/drawing/2014/main" id="{A795282F-9FFC-7D1F-AA82-B17EF0AF7042}"/>
                    </a:ext>
                  </a:extLst>
                </p:cNvPr>
                <p:cNvSpPr/>
                <p:nvPr/>
              </p:nvSpPr>
              <p:spPr>
                <a:xfrm>
                  <a:off x="5625510" y="3865141"/>
                  <a:ext cx="113194" cy="30492"/>
                </a:xfrm>
                <a:custGeom>
                  <a:avLst/>
                  <a:gdLst>
                    <a:gd name="connsiteX0" fmla="*/ 113194 w 113194"/>
                    <a:gd name="connsiteY0" fmla="*/ 0 h 30492"/>
                    <a:gd name="connsiteX1" fmla="*/ 113194 w 113194"/>
                    <a:gd name="connsiteY1" fmla="*/ 17243 h 30492"/>
                    <a:gd name="connsiteX2" fmla="*/ 100332 w 113194"/>
                    <a:gd name="connsiteY2" fmla="*/ 30492 h 30492"/>
                    <a:gd name="connsiteX3" fmla="*/ 0 w 113194"/>
                    <a:gd name="connsiteY3" fmla="*/ 30492 h 304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13194" h="30492">
                      <a:moveTo>
                        <a:pt x="113194" y="0"/>
                      </a:moveTo>
                      <a:lnTo>
                        <a:pt x="113194" y="17243"/>
                      </a:lnTo>
                      <a:cubicBezTo>
                        <a:pt x="113194" y="24330"/>
                        <a:pt x="107396" y="30492"/>
                        <a:pt x="100332" y="30492"/>
                      </a:cubicBezTo>
                      <a:lnTo>
                        <a:pt x="0" y="30492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966" name="Forma livre: Forma 1965">
                  <a:extLst>
                    <a:ext uri="{FF2B5EF4-FFF2-40B4-BE49-F238E27FC236}">
                      <a16:creationId xmlns:a16="http://schemas.microsoft.com/office/drawing/2014/main" id="{77940A66-86CA-9460-EE17-87FC7BFC7409}"/>
                    </a:ext>
                  </a:extLst>
                </p:cNvPr>
                <p:cNvSpPr/>
                <p:nvPr/>
              </p:nvSpPr>
              <p:spPr>
                <a:xfrm>
                  <a:off x="5581406" y="3611272"/>
                  <a:ext cx="157239" cy="129851"/>
                </a:xfrm>
                <a:custGeom>
                  <a:avLst/>
                  <a:gdLst>
                    <a:gd name="connsiteX0" fmla="*/ 0 w 157239"/>
                    <a:gd name="connsiteY0" fmla="*/ 88934 h 129851"/>
                    <a:gd name="connsiteX1" fmla="*/ 0 w 157239"/>
                    <a:gd name="connsiteY1" fmla="*/ 12874 h 129851"/>
                    <a:gd name="connsiteX2" fmla="*/ 12862 w 157239"/>
                    <a:gd name="connsiteY2" fmla="*/ 0 h 129851"/>
                    <a:gd name="connsiteX3" fmla="*/ 144377 w 157239"/>
                    <a:gd name="connsiteY3" fmla="*/ 0 h 129851"/>
                    <a:gd name="connsiteX4" fmla="*/ 157239 w 157239"/>
                    <a:gd name="connsiteY4" fmla="*/ 12874 h 129851"/>
                    <a:gd name="connsiteX5" fmla="*/ 157239 w 157239"/>
                    <a:gd name="connsiteY5" fmla="*/ 129852 h 12985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157239" h="129851">
                      <a:moveTo>
                        <a:pt x="0" y="88934"/>
                      </a:moveTo>
                      <a:lnTo>
                        <a:pt x="0" y="12874"/>
                      </a:lnTo>
                      <a:cubicBezTo>
                        <a:pt x="0" y="5799"/>
                        <a:pt x="5787" y="0"/>
                        <a:pt x="12862" y="0"/>
                      </a:cubicBezTo>
                      <a:lnTo>
                        <a:pt x="144377" y="0"/>
                      </a:lnTo>
                      <a:cubicBezTo>
                        <a:pt x="151453" y="0"/>
                        <a:pt x="157239" y="5799"/>
                        <a:pt x="157239" y="12874"/>
                      </a:cubicBezTo>
                      <a:lnTo>
                        <a:pt x="157239" y="129852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967" name="Forma livre: Forma 1966">
                  <a:extLst>
                    <a:ext uri="{FF2B5EF4-FFF2-40B4-BE49-F238E27FC236}">
                      <a16:creationId xmlns:a16="http://schemas.microsoft.com/office/drawing/2014/main" id="{A96756E2-E056-AE25-5832-4FA9470CF9E9}"/>
                    </a:ext>
                  </a:extLst>
                </p:cNvPr>
                <p:cNvSpPr/>
                <p:nvPr/>
              </p:nvSpPr>
              <p:spPr>
                <a:xfrm>
                  <a:off x="5622699" y="3839663"/>
                  <a:ext cx="89144" cy="1171"/>
                </a:xfrm>
                <a:custGeom>
                  <a:avLst/>
                  <a:gdLst>
                    <a:gd name="connsiteX0" fmla="*/ 0 w 89144"/>
                    <a:gd name="connsiteY0" fmla="*/ 0 h 1171"/>
                    <a:gd name="connsiteX1" fmla="*/ 89145 w 89144"/>
                    <a:gd name="connsiteY1" fmla="*/ 0 h 11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89144" h="1171">
                      <a:moveTo>
                        <a:pt x="0" y="0"/>
                      </a:moveTo>
                      <a:lnTo>
                        <a:pt x="89145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968" name="Forma livre: Forma 1967">
                  <a:extLst>
                    <a:ext uri="{FF2B5EF4-FFF2-40B4-BE49-F238E27FC236}">
                      <a16:creationId xmlns:a16="http://schemas.microsoft.com/office/drawing/2014/main" id="{8C5FD5F3-A7B1-BEB4-7F83-0E188F1709D1}"/>
                    </a:ext>
                  </a:extLst>
                </p:cNvPr>
                <p:cNvSpPr/>
                <p:nvPr/>
              </p:nvSpPr>
              <p:spPr>
                <a:xfrm>
                  <a:off x="5649396" y="3867262"/>
                  <a:ext cx="21378" cy="1171"/>
                </a:xfrm>
                <a:custGeom>
                  <a:avLst/>
                  <a:gdLst>
                    <a:gd name="connsiteX0" fmla="*/ 0 w 21378"/>
                    <a:gd name="connsiteY0" fmla="*/ 0 h 1171"/>
                    <a:gd name="connsiteX1" fmla="*/ 21378 w 21378"/>
                    <a:gd name="connsiteY1" fmla="*/ 0 h 11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1378" h="1171">
                      <a:moveTo>
                        <a:pt x="0" y="0"/>
                      </a:moveTo>
                      <a:lnTo>
                        <a:pt x="21378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grpSp>
          <p:nvGrpSpPr>
            <p:cNvPr id="1969" name="Gráfico 15">
              <a:extLst>
                <a:ext uri="{FF2B5EF4-FFF2-40B4-BE49-F238E27FC236}">
                  <a16:creationId xmlns:a16="http://schemas.microsoft.com/office/drawing/2014/main" id="{3E22AF73-0491-CB4E-34CF-92AE9AA969CE}"/>
                </a:ext>
              </a:extLst>
            </p:cNvPr>
            <p:cNvGrpSpPr/>
            <p:nvPr/>
          </p:nvGrpSpPr>
          <p:grpSpPr>
            <a:xfrm>
              <a:off x="5614991" y="3678488"/>
              <a:ext cx="90656" cy="93151"/>
              <a:chOff x="5614991" y="3678488"/>
              <a:chExt cx="90656" cy="93151"/>
            </a:xfrm>
            <a:noFill/>
          </p:grpSpPr>
          <p:sp>
            <p:nvSpPr>
              <p:cNvPr id="1970" name="Forma livre: Forma 1969">
                <a:extLst>
                  <a:ext uri="{FF2B5EF4-FFF2-40B4-BE49-F238E27FC236}">
                    <a16:creationId xmlns:a16="http://schemas.microsoft.com/office/drawing/2014/main" id="{F1D9D3B6-F840-2253-F0FF-2A7546E073B1}"/>
                  </a:ext>
                </a:extLst>
              </p:cNvPr>
              <p:cNvSpPr/>
              <p:nvPr/>
            </p:nvSpPr>
            <p:spPr>
              <a:xfrm>
                <a:off x="5639708" y="3725051"/>
                <a:ext cx="20863" cy="28008"/>
              </a:xfrm>
              <a:custGeom>
                <a:avLst/>
                <a:gdLst>
                  <a:gd name="connsiteX0" fmla="*/ 0 w 20863"/>
                  <a:gd name="connsiteY0" fmla="*/ 0 h 28008"/>
                  <a:gd name="connsiteX1" fmla="*/ 20863 w 20863"/>
                  <a:gd name="connsiteY1" fmla="*/ 0 h 28008"/>
                  <a:gd name="connsiteX2" fmla="*/ 20863 w 20863"/>
                  <a:gd name="connsiteY2" fmla="*/ 28009 h 280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0863" h="28008">
                    <a:moveTo>
                      <a:pt x="0" y="0"/>
                    </a:moveTo>
                    <a:lnTo>
                      <a:pt x="20863" y="0"/>
                    </a:lnTo>
                    <a:lnTo>
                      <a:pt x="20863" y="28009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1971" name="Gráfico 15">
                <a:extLst>
                  <a:ext uri="{FF2B5EF4-FFF2-40B4-BE49-F238E27FC236}">
                    <a16:creationId xmlns:a16="http://schemas.microsoft.com/office/drawing/2014/main" id="{88D517C7-A2D8-A9E0-691D-D07FF1BB8236}"/>
                  </a:ext>
                </a:extLst>
              </p:cNvPr>
              <p:cNvGrpSpPr/>
              <p:nvPr/>
            </p:nvGrpSpPr>
            <p:grpSpPr>
              <a:xfrm>
                <a:off x="5614991" y="3725063"/>
                <a:ext cx="90644" cy="1171"/>
                <a:chOff x="5614991" y="3725063"/>
                <a:chExt cx="90644" cy="1171"/>
              </a:xfrm>
            </p:grpSpPr>
            <p:sp>
              <p:nvSpPr>
                <p:cNvPr id="1972" name="Forma livre: Forma 1971">
                  <a:extLst>
                    <a:ext uri="{FF2B5EF4-FFF2-40B4-BE49-F238E27FC236}">
                      <a16:creationId xmlns:a16="http://schemas.microsoft.com/office/drawing/2014/main" id="{D3D08FA5-7AFF-49DC-5F4B-C25E30E2D237}"/>
                    </a:ext>
                  </a:extLst>
                </p:cNvPr>
                <p:cNvSpPr/>
                <p:nvPr/>
              </p:nvSpPr>
              <p:spPr>
                <a:xfrm>
                  <a:off x="5614991" y="3725063"/>
                  <a:ext cx="9816" cy="1171"/>
                </a:xfrm>
                <a:custGeom>
                  <a:avLst/>
                  <a:gdLst>
                    <a:gd name="connsiteX0" fmla="*/ 0 w 9816"/>
                    <a:gd name="connsiteY0" fmla="*/ 0 h 1171"/>
                    <a:gd name="connsiteX1" fmla="*/ 9817 w 9816"/>
                    <a:gd name="connsiteY1" fmla="*/ 0 h 11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9816" h="1171">
                      <a:moveTo>
                        <a:pt x="0" y="0"/>
                      </a:moveTo>
                      <a:lnTo>
                        <a:pt x="9817" y="0"/>
                      </a:lnTo>
                    </a:path>
                  </a:pathLst>
                </a:custGeom>
                <a:ln w="6350" cap="sq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973" name="Forma livre: Forma 1972">
                  <a:extLst>
                    <a:ext uri="{FF2B5EF4-FFF2-40B4-BE49-F238E27FC236}">
                      <a16:creationId xmlns:a16="http://schemas.microsoft.com/office/drawing/2014/main" id="{F49782F5-E23B-E79C-AF29-8E60678BC85D}"/>
                    </a:ext>
                  </a:extLst>
                </p:cNvPr>
                <p:cNvSpPr/>
                <p:nvPr/>
              </p:nvSpPr>
              <p:spPr>
                <a:xfrm>
                  <a:off x="5680790" y="3725063"/>
                  <a:ext cx="24845" cy="1171"/>
                </a:xfrm>
                <a:custGeom>
                  <a:avLst/>
                  <a:gdLst>
                    <a:gd name="connsiteX0" fmla="*/ 0 w 24845"/>
                    <a:gd name="connsiteY0" fmla="*/ 0 h 1171"/>
                    <a:gd name="connsiteX1" fmla="*/ 24846 w 24845"/>
                    <a:gd name="connsiteY1" fmla="*/ 0 h 11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4845" h="1171">
                      <a:moveTo>
                        <a:pt x="0" y="0"/>
                      </a:moveTo>
                      <a:lnTo>
                        <a:pt x="24846" y="0"/>
                      </a:lnTo>
                    </a:path>
                  </a:pathLst>
                </a:custGeom>
                <a:ln w="6350" cap="sq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1974" name="Gráfico 15">
                <a:extLst>
                  <a:ext uri="{FF2B5EF4-FFF2-40B4-BE49-F238E27FC236}">
                    <a16:creationId xmlns:a16="http://schemas.microsoft.com/office/drawing/2014/main" id="{61C5DBC9-988A-4EAB-8B26-22F6184F9243}"/>
                  </a:ext>
                </a:extLst>
              </p:cNvPr>
              <p:cNvGrpSpPr/>
              <p:nvPr/>
            </p:nvGrpSpPr>
            <p:grpSpPr>
              <a:xfrm>
                <a:off x="5614991" y="3678488"/>
                <a:ext cx="90656" cy="93151"/>
                <a:chOff x="5614991" y="3678488"/>
                <a:chExt cx="90656" cy="93151"/>
              </a:xfrm>
              <a:noFill/>
            </p:grpSpPr>
            <p:grpSp>
              <p:nvGrpSpPr>
                <p:cNvPr id="1975" name="Gráfico 15">
                  <a:extLst>
                    <a:ext uri="{FF2B5EF4-FFF2-40B4-BE49-F238E27FC236}">
                      <a16:creationId xmlns:a16="http://schemas.microsoft.com/office/drawing/2014/main" id="{2B654301-AFB1-1E40-3DF3-334AE9271608}"/>
                    </a:ext>
                  </a:extLst>
                </p:cNvPr>
                <p:cNvGrpSpPr/>
                <p:nvPr/>
              </p:nvGrpSpPr>
              <p:grpSpPr>
                <a:xfrm>
                  <a:off x="5660325" y="3678488"/>
                  <a:ext cx="1171" cy="93139"/>
                  <a:chOff x="5660325" y="3678488"/>
                  <a:chExt cx="1171" cy="93139"/>
                </a:xfrm>
              </p:grpSpPr>
              <p:sp>
                <p:nvSpPr>
                  <p:cNvPr id="1976" name="Forma livre: Forma 1975">
                    <a:extLst>
                      <a:ext uri="{FF2B5EF4-FFF2-40B4-BE49-F238E27FC236}">
                        <a16:creationId xmlns:a16="http://schemas.microsoft.com/office/drawing/2014/main" id="{2C0412FD-0D8F-9D0B-1E15-431603DCA027}"/>
                      </a:ext>
                    </a:extLst>
                  </p:cNvPr>
                  <p:cNvSpPr/>
                  <p:nvPr/>
                </p:nvSpPr>
                <p:spPr>
                  <a:xfrm>
                    <a:off x="5660325" y="3678488"/>
                    <a:ext cx="1171" cy="23568"/>
                  </a:xfrm>
                  <a:custGeom>
                    <a:avLst/>
                    <a:gdLst>
                      <a:gd name="connsiteX0" fmla="*/ 0 w 1171"/>
                      <a:gd name="connsiteY0" fmla="*/ 0 h 23568"/>
                      <a:gd name="connsiteX1" fmla="*/ 0 w 1171"/>
                      <a:gd name="connsiteY1" fmla="*/ 23569 h 2356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171" h="23568">
                        <a:moveTo>
                          <a:pt x="0" y="0"/>
                        </a:moveTo>
                        <a:lnTo>
                          <a:pt x="0" y="23569"/>
                        </a:lnTo>
                      </a:path>
                    </a:pathLst>
                  </a:custGeom>
                  <a:ln w="6350" cap="sq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1977" name="Forma livre: Forma 1976">
                    <a:extLst>
                      <a:ext uri="{FF2B5EF4-FFF2-40B4-BE49-F238E27FC236}">
                        <a16:creationId xmlns:a16="http://schemas.microsoft.com/office/drawing/2014/main" id="{9A354F54-5E72-50E5-4C29-DBB20E36256F}"/>
                      </a:ext>
                    </a:extLst>
                  </p:cNvPr>
                  <p:cNvSpPr/>
                  <p:nvPr/>
                </p:nvSpPr>
                <p:spPr>
                  <a:xfrm>
                    <a:off x="5660325" y="3767351"/>
                    <a:ext cx="1171" cy="4275"/>
                  </a:xfrm>
                  <a:custGeom>
                    <a:avLst/>
                    <a:gdLst>
                      <a:gd name="connsiteX0" fmla="*/ 0 w 1171"/>
                      <a:gd name="connsiteY0" fmla="*/ 0 h 4275"/>
                      <a:gd name="connsiteX1" fmla="*/ 0 w 1171"/>
                      <a:gd name="connsiteY1" fmla="*/ 4276 h 427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171" h="4275">
                        <a:moveTo>
                          <a:pt x="0" y="0"/>
                        </a:moveTo>
                        <a:lnTo>
                          <a:pt x="0" y="4276"/>
                        </a:lnTo>
                      </a:path>
                    </a:pathLst>
                  </a:custGeom>
                  <a:ln w="6350" cap="sq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  <p:grpSp>
              <p:nvGrpSpPr>
                <p:cNvPr id="1978" name="Gráfico 15">
                  <a:extLst>
                    <a:ext uri="{FF2B5EF4-FFF2-40B4-BE49-F238E27FC236}">
                      <a16:creationId xmlns:a16="http://schemas.microsoft.com/office/drawing/2014/main" id="{28F81D07-3959-FE6C-DA1C-638BB74CA158}"/>
                    </a:ext>
                  </a:extLst>
                </p:cNvPr>
                <p:cNvGrpSpPr/>
                <p:nvPr/>
              </p:nvGrpSpPr>
              <p:grpSpPr>
                <a:xfrm>
                  <a:off x="5614991" y="3678488"/>
                  <a:ext cx="90656" cy="93151"/>
                  <a:chOff x="5614991" y="3678488"/>
                  <a:chExt cx="90656" cy="93151"/>
                </a:xfrm>
                <a:noFill/>
              </p:grpSpPr>
              <p:sp>
                <p:nvSpPr>
                  <p:cNvPr id="1979" name="Forma livre: Forma 1978">
                    <a:extLst>
                      <a:ext uri="{FF2B5EF4-FFF2-40B4-BE49-F238E27FC236}">
                        <a16:creationId xmlns:a16="http://schemas.microsoft.com/office/drawing/2014/main" id="{873C2293-EC2A-80E0-E531-170B9782378B}"/>
                      </a:ext>
                    </a:extLst>
                  </p:cNvPr>
                  <p:cNvSpPr/>
                  <p:nvPr/>
                </p:nvSpPr>
                <p:spPr>
                  <a:xfrm>
                    <a:off x="5614991" y="3678488"/>
                    <a:ext cx="23568" cy="23568"/>
                  </a:xfrm>
                  <a:custGeom>
                    <a:avLst/>
                    <a:gdLst>
                      <a:gd name="connsiteX0" fmla="*/ 0 w 23568"/>
                      <a:gd name="connsiteY0" fmla="*/ 0 h 23568"/>
                      <a:gd name="connsiteX1" fmla="*/ 23569 w 23568"/>
                      <a:gd name="connsiteY1" fmla="*/ 0 h 23568"/>
                      <a:gd name="connsiteX2" fmla="*/ 23569 w 23568"/>
                      <a:gd name="connsiteY2" fmla="*/ 23569 h 23568"/>
                      <a:gd name="connsiteX3" fmla="*/ 0 w 23568"/>
                      <a:gd name="connsiteY3" fmla="*/ 23569 h 2356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23568" h="23568">
                        <a:moveTo>
                          <a:pt x="0" y="0"/>
                        </a:moveTo>
                        <a:lnTo>
                          <a:pt x="23569" y="0"/>
                        </a:lnTo>
                        <a:lnTo>
                          <a:pt x="23569" y="23569"/>
                        </a:lnTo>
                        <a:lnTo>
                          <a:pt x="0" y="23569"/>
                        </a:lnTo>
                        <a:close/>
                      </a:path>
                    </a:pathLst>
                  </a:custGeom>
                  <a:noFill/>
                  <a:ln w="6350" cap="flat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1980" name="Forma livre: Forma 1979">
                    <a:extLst>
                      <a:ext uri="{FF2B5EF4-FFF2-40B4-BE49-F238E27FC236}">
                        <a16:creationId xmlns:a16="http://schemas.microsoft.com/office/drawing/2014/main" id="{916BDE87-5C7C-7D53-4E4C-2A060D4A2B11}"/>
                      </a:ext>
                    </a:extLst>
                  </p:cNvPr>
                  <p:cNvSpPr/>
                  <p:nvPr/>
                </p:nvSpPr>
                <p:spPr>
                  <a:xfrm>
                    <a:off x="5682078" y="3678488"/>
                    <a:ext cx="23568" cy="23568"/>
                  </a:xfrm>
                  <a:custGeom>
                    <a:avLst/>
                    <a:gdLst>
                      <a:gd name="connsiteX0" fmla="*/ 0 w 23568"/>
                      <a:gd name="connsiteY0" fmla="*/ 0 h 23568"/>
                      <a:gd name="connsiteX1" fmla="*/ 23569 w 23568"/>
                      <a:gd name="connsiteY1" fmla="*/ 0 h 23568"/>
                      <a:gd name="connsiteX2" fmla="*/ 23569 w 23568"/>
                      <a:gd name="connsiteY2" fmla="*/ 23569 h 23568"/>
                      <a:gd name="connsiteX3" fmla="*/ 0 w 23568"/>
                      <a:gd name="connsiteY3" fmla="*/ 23569 h 2356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23568" h="23568">
                        <a:moveTo>
                          <a:pt x="0" y="0"/>
                        </a:moveTo>
                        <a:lnTo>
                          <a:pt x="23569" y="0"/>
                        </a:lnTo>
                        <a:lnTo>
                          <a:pt x="23569" y="23569"/>
                        </a:lnTo>
                        <a:lnTo>
                          <a:pt x="0" y="23569"/>
                        </a:lnTo>
                        <a:close/>
                      </a:path>
                    </a:pathLst>
                  </a:custGeom>
                  <a:noFill/>
                  <a:ln w="6350" cap="flat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1981" name="Forma livre: Forma 1980">
                    <a:extLst>
                      <a:ext uri="{FF2B5EF4-FFF2-40B4-BE49-F238E27FC236}">
                        <a16:creationId xmlns:a16="http://schemas.microsoft.com/office/drawing/2014/main" id="{65899F1D-CD05-CDF2-CF21-BFF2E2000A6F}"/>
                      </a:ext>
                    </a:extLst>
                  </p:cNvPr>
                  <p:cNvSpPr/>
                  <p:nvPr/>
                </p:nvSpPr>
                <p:spPr>
                  <a:xfrm>
                    <a:off x="5614991" y="3748070"/>
                    <a:ext cx="23568" cy="23568"/>
                  </a:xfrm>
                  <a:custGeom>
                    <a:avLst/>
                    <a:gdLst>
                      <a:gd name="connsiteX0" fmla="*/ 0 w 23568"/>
                      <a:gd name="connsiteY0" fmla="*/ 0 h 23568"/>
                      <a:gd name="connsiteX1" fmla="*/ 23569 w 23568"/>
                      <a:gd name="connsiteY1" fmla="*/ 0 h 23568"/>
                      <a:gd name="connsiteX2" fmla="*/ 23569 w 23568"/>
                      <a:gd name="connsiteY2" fmla="*/ 23569 h 23568"/>
                      <a:gd name="connsiteX3" fmla="*/ 0 w 23568"/>
                      <a:gd name="connsiteY3" fmla="*/ 23569 h 2356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23568" h="23568">
                        <a:moveTo>
                          <a:pt x="0" y="0"/>
                        </a:moveTo>
                        <a:lnTo>
                          <a:pt x="23569" y="0"/>
                        </a:lnTo>
                        <a:lnTo>
                          <a:pt x="23569" y="23569"/>
                        </a:lnTo>
                        <a:lnTo>
                          <a:pt x="0" y="23569"/>
                        </a:lnTo>
                        <a:close/>
                      </a:path>
                    </a:pathLst>
                  </a:custGeom>
                  <a:noFill/>
                  <a:ln w="6350" cap="flat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1982" name="Forma livre: Forma 1981">
                    <a:extLst>
                      <a:ext uri="{FF2B5EF4-FFF2-40B4-BE49-F238E27FC236}">
                        <a16:creationId xmlns:a16="http://schemas.microsoft.com/office/drawing/2014/main" id="{9ED7D401-1413-6299-E591-36B8A61962BD}"/>
                      </a:ext>
                    </a:extLst>
                  </p:cNvPr>
                  <p:cNvSpPr/>
                  <p:nvPr/>
                </p:nvSpPr>
                <p:spPr>
                  <a:xfrm>
                    <a:off x="5682078" y="3748070"/>
                    <a:ext cx="23568" cy="23568"/>
                  </a:xfrm>
                  <a:custGeom>
                    <a:avLst/>
                    <a:gdLst>
                      <a:gd name="connsiteX0" fmla="*/ 0 w 23568"/>
                      <a:gd name="connsiteY0" fmla="*/ 0 h 23568"/>
                      <a:gd name="connsiteX1" fmla="*/ 23569 w 23568"/>
                      <a:gd name="connsiteY1" fmla="*/ 0 h 23568"/>
                      <a:gd name="connsiteX2" fmla="*/ 23569 w 23568"/>
                      <a:gd name="connsiteY2" fmla="*/ 23569 h 23568"/>
                      <a:gd name="connsiteX3" fmla="*/ 0 w 23568"/>
                      <a:gd name="connsiteY3" fmla="*/ 23569 h 2356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23568" h="23568">
                        <a:moveTo>
                          <a:pt x="0" y="0"/>
                        </a:moveTo>
                        <a:lnTo>
                          <a:pt x="23569" y="0"/>
                        </a:lnTo>
                        <a:lnTo>
                          <a:pt x="23569" y="23569"/>
                        </a:lnTo>
                        <a:lnTo>
                          <a:pt x="0" y="23569"/>
                        </a:lnTo>
                        <a:close/>
                      </a:path>
                    </a:pathLst>
                  </a:custGeom>
                  <a:noFill/>
                  <a:ln w="6350" cap="flat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</p:grpSp>
        </p:grpSp>
      </p:grpSp>
      <p:grpSp>
        <p:nvGrpSpPr>
          <p:cNvPr id="1984" name="Gráfico 17">
            <a:extLst>
              <a:ext uri="{FF2B5EF4-FFF2-40B4-BE49-F238E27FC236}">
                <a16:creationId xmlns:a16="http://schemas.microsoft.com/office/drawing/2014/main" id="{7B2F0F6B-F938-C561-D622-998DC9181A99}"/>
              </a:ext>
            </a:extLst>
          </p:cNvPr>
          <p:cNvGrpSpPr/>
          <p:nvPr/>
        </p:nvGrpSpPr>
        <p:grpSpPr>
          <a:xfrm>
            <a:off x="6101920" y="3609938"/>
            <a:ext cx="196303" cy="294739"/>
            <a:chOff x="6101920" y="3609938"/>
            <a:chExt cx="196303" cy="294739"/>
          </a:xfrm>
          <a:noFill/>
        </p:grpSpPr>
        <p:grpSp>
          <p:nvGrpSpPr>
            <p:cNvPr id="1985" name="Gráfico 17">
              <a:extLst>
                <a:ext uri="{FF2B5EF4-FFF2-40B4-BE49-F238E27FC236}">
                  <a16:creationId xmlns:a16="http://schemas.microsoft.com/office/drawing/2014/main" id="{2F042BE8-B0C0-8114-FFE9-276A36EB5C66}"/>
                </a:ext>
              </a:extLst>
            </p:cNvPr>
            <p:cNvGrpSpPr/>
            <p:nvPr/>
          </p:nvGrpSpPr>
          <p:grpSpPr>
            <a:xfrm>
              <a:off x="6101920" y="3609938"/>
              <a:ext cx="163000" cy="294739"/>
              <a:chOff x="6101920" y="3609938"/>
              <a:chExt cx="163000" cy="294739"/>
            </a:xfrm>
            <a:noFill/>
          </p:grpSpPr>
          <p:sp>
            <p:nvSpPr>
              <p:cNvPr id="1986" name="Forma livre: Forma 1985">
                <a:extLst>
                  <a:ext uri="{FF2B5EF4-FFF2-40B4-BE49-F238E27FC236}">
                    <a16:creationId xmlns:a16="http://schemas.microsoft.com/office/drawing/2014/main" id="{7043CE80-9364-E540-C814-76F7C53061B3}"/>
                  </a:ext>
                </a:extLst>
              </p:cNvPr>
              <p:cNvSpPr/>
              <p:nvPr/>
            </p:nvSpPr>
            <p:spPr>
              <a:xfrm>
                <a:off x="6101920" y="3609938"/>
                <a:ext cx="163000" cy="294739"/>
              </a:xfrm>
              <a:custGeom>
                <a:avLst/>
                <a:gdLst>
                  <a:gd name="connsiteX0" fmla="*/ 162989 w 163000"/>
                  <a:gd name="connsiteY0" fmla="*/ 206614 h 294739"/>
                  <a:gd name="connsiteX1" fmla="*/ 162989 w 163000"/>
                  <a:gd name="connsiteY1" fmla="*/ 280979 h 294739"/>
                  <a:gd name="connsiteX2" fmla="*/ 149643 w 163000"/>
                  <a:gd name="connsiteY2" fmla="*/ 294739 h 294739"/>
                  <a:gd name="connsiteX3" fmla="*/ 13346 w 163000"/>
                  <a:gd name="connsiteY3" fmla="*/ 294739 h 294739"/>
                  <a:gd name="connsiteX4" fmla="*/ 0 w 163000"/>
                  <a:gd name="connsiteY4" fmla="*/ 280979 h 294739"/>
                  <a:gd name="connsiteX5" fmla="*/ 0 w 163000"/>
                  <a:gd name="connsiteY5" fmla="*/ 13334 h 294739"/>
                  <a:gd name="connsiteX6" fmla="*/ 13346 w 163000"/>
                  <a:gd name="connsiteY6" fmla="*/ 0 h 294739"/>
                  <a:gd name="connsiteX7" fmla="*/ 149655 w 163000"/>
                  <a:gd name="connsiteY7" fmla="*/ 0 h 294739"/>
                  <a:gd name="connsiteX8" fmla="*/ 163001 w 163000"/>
                  <a:gd name="connsiteY8" fmla="*/ 13334 h 294739"/>
                  <a:gd name="connsiteX9" fmla="*/ 163001 w 163000"/>
                  <a:gd name="connsiteY9" fmla="*/ 63685 h 2947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63000" h="294739">
                    <a:moveTo>
                      <a:pt x="162989" y="206614"/>
                    </a:moveTo>
                    <a:lnTo>
                      <a:pt x="162989" y="280979"/>
                    </a:lnTo>
                    <a:cubicBezTo>
                      <a:pt x="162989" y="288321"/>
                      <a:pt x="156985" y="294739"/>
                      <a:pt x="149643" y="294739"/>
                    </a:cubicBezTo>
                    <a:lnTo>
                      <a:pt x="13346" y="294739"/>
                    </a:lnTo>
                    <a:cubicBezTo>
                      <a:pt x="6004" y="294739"/>
                      <a:pt x="0" y="288321"/>
                      <a:pt x="0" y="280979"/>
                    </a:cubicBezTo>
                    <a:lnTo>
                      <a:pt x="0" y="13334"/>
                    </a:lnTo>
                    <a:cubicBezTo>
                      <a:pt x="0" y="5992"/>
                      <a:pt x="6004" y="0"/>
                      <a:pt x="13346" y="0"/>
                    </a:cubicBezTo>
                    <a:lnTo>
                      <a:pt x="149655" y="0"/>
                    </a:lnTo>
                    <a:cubicBezTo>
                      <a:pt x="156997" y="0"/>
                      <a:pt x="163001" y="5992"/>
                      <a:pt x="163001" y="13334"/>
                    </a:cubicBezTo>
                    <a:lnTo>
                      <a:pt x="163001" y="63685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987" name="Forma livre: Forma 1986">
                <a:extLst>
                  <a:ext uri="{FF2B5EF4-FFF2-40B4-BE49-F238E27FC236}">
                    <a16:creationId xmlns:a16="http://schemas.microsoft.com/office/drawing/2014/main" id="{689898D6-6511-9A02-1879-0E4F96B0A6B1}"/>
                  </a:ext>
                </a:extLst>
              </p:cNvPr>
              <p:cNvSpPr/>
              <p:nvPr/>
            </p:nvSpPr>
            <p:spPr>
              <a:xfrm>
                <a:off x="6172331" y="3874967"/>
                <a:ext cx="22167" cy="1184"/>
              </a:xfrm>
              <a:custGeom>
                <a:avLst/>
                <a:gdLst>
                  <a:gd name="connsiteX0" fmla="*/ 0 w 22167"/>
                  <a:gd name="connsiteY0" fmla="*/ 0 h 1184"/>
                  <a:gd name="connsiteX1" fmla="*/ 22168 w 22167"/>
                  <a:gd name="connsiteY1" fmla="*/ 0 h 11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2167" h="1184">
                    <a:moveTo>
                      <a:pt x="0" y="0"/>
                    </a:moveTo>
                    <a:lnTo>
                      <a:pt x="22168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988" name="Gráfico 17">
              <a:extLst>
                <a:ext uri="{FF2B5EF4-FFF2-40B4-BE49-F238E27FC236}">
                  <a16:creationId xmlns:a16="http://schemas.microsoft.com/office/drawing/2014/main" id="{0E1C89CE-29CC-D641-3AA9-B7E7FE5EB14D}"/>
                </a:ext>
              </a:extLst>
            </p:cNvPr>
            <p:cNvGrpSpPr/>
            <p:nvPr/>
          </p:nvGrpSpPr>
          <p:grpSpPr>
            <a:xfrm>
              <a:off x="6153294" y="3666032"/>
              <a:ext cx="144929" cy="143805"/>
              <a:chOff x="6153294" y="3666032"/>
              <a:chExt cx="144929" cy="143805"/>
            </a:xfrm>
            <a:noFill/>
          </p:grpSpPr>
          <p:sp>
            <p:nvSpPr>
              <p:cNvPr id="1989" name="Forma livre: Forma 1988">
                <a:extLst>
                  <a:ext uri="{FF2B5EF4-FFF2-40B4-BE49-F238E27FC236}">
                    <a16:creationId xmlns:a16="http://schemas.microsoft.com/office/drawing/2014/main" id="{7BC5B276-1F31-868B-F2C8-E7324E33A307}"/>
                  </a:ext>
                </a:extLst>
              </p:cNvPr>
              <p:cNvSpPr/>
              <p:nvPr/>
            </p:nvSpPr>
            <p:spPr>
              <a:xfrm>
                <a:off x="6153294" y="3666032"/>
                <a:ext cx="144929" cy="128908"/>
              </a:xfrm>
              <a:custGeom>
                <a:avLst/>
                <a:gdLst>
                  <a:gd name="connsiteX0" fmla="*/ 49896 w 144929"/>
                  <a:gd name="connsiteY0" fmla="*/ 128908 h 128908"/>
                  <a:gd name="connsiteX1" fmla="*/ 14608 w 144929"/>
                  <a:gd name="connsiteY1" fmla="*/ 128908 h 128908"/>
                  <a:gd name="connsiteX2" fmla="*/ 2790 w 144929"/>
                  <a:gd name="connsiteY2" fmla="*/ 108411 h 128908"/>
                  <a:gd name="connsiteX3" fmla="*/ 30712 w 144929"/>
                  <a:gd name="connsiteY3" fmla="*/ 60156 h 128908"/>
                  <a:gd name="connsiteX4" fmla="*/ 124889 w 144929"/>
                  <a:gd name="connsiteY4" fmla="*/ 78570 h 128908"/>
                  <a:gd name="connsiteX5" fmla="*/ 142142 w 144929"/>
                  <a:gd name="connsiteY5" fmla="*/ 108411 h 128908"/>
                  <a:gd name="connsiteX6" fmla="*/ 130313 w 144929"/>
                  <a:gd name="connsiteY6" fmla="*/ 128908 h 128908"/>
                  <a:gd name="connsiteX7" fmla="*/ 73224 w 144929"/>
                  <a:gd name="connsiteY7" fmla="*/ 128908 h 128908"/>
                  <a:gd name="connsiteX8" fmla="*/ 41666 w 144929"/>
                  <a:gd name="connsiteY8" fmla="*/ 41256 h 128908"/>
                  <a:gd name="connsiteX9" fmla="*/ 60648 w 144929"/>
                  <a:gd name="connsiteY9" fmla="*/ 8455 h 128908"/>
                  <a:gd name="connsiteX10" fmla="*/ 84367 w 144929"/>
                  <a:gd name="connsiteY10" fmla="*/ 8455 h 128908"/>
                  <a:gd name="connsiteX11" fmla="*/ 113332 w 144929"/>
                  <a:gd name="connsiteY11" fmla="*/ 58557 h 1289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44929" h="128908">
                    <a:moveTo>
                      <a:pt x="49896" y="128908"/>
                    </a:moveTo>
                    <a:lnTo>
                      <a:pt x="14608" y="128908"/>
                    </a:lnTo>
                    <a:cubicBezTo>
                      <a:pt x="1582" y="128908"/>
                      <a:pt x="-3735" y="119684"/>
                      <a:pt x="2790" y="108411"/>
                    </a:cubicBezTo>
                    <a:lnTo>
                      <a:pt x="30712" y="60156"/>
                    </a:lnTo>
                    <a:moveTo>
                      <a:pt x="124889" y="78570"/>
                    </a:moveTo>
                    <a:lnTo>
                      <a:pt x="142142" y="108411"/>
                    </a:lnTo>
                    <a:cubicBezTo>
                      <a:pt x="148667" y="119684"/>
                      <a:pt x="143338" y="128908"/>
                      <a:pt x="130313" y="128908"/>
                    </a:cubicBezTo>
                    <a:lnTo>
                      <a:pt x="73224" y="128908"/>
                    </a:lnTo>
                    <a:moveTo>
                      <a:pt x="41666" y="41256"/>
                    </a:moveTo>
                    <a:lnTo>
                      <a:pt x="60648" y="8455"/>
                    </a:lnTo>
                    <a:cubicBezTo>
                      <a:pt x="67173" y="-2818"/>
                      <a:pt x="77842" y="-2818"/>
                      <a:pt x="84367" y="8455"/>
                    </a:cubicBezTo>
                    <a:lnTo>
                      <a:pt x="113332" y="58557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990" name="Forma livre: Forma 1989">
                <a:extLst>
                  <a:ext uri="{FF2B5EF4-FFF2-40B4-BE49-F238E27FC236}">
                    <a16:creationId xmlns:a16="http://schemas.microsoft.com/office/drawing/2014/main" id="{2D164017-E9D4-0267-6FA4-8E57F004D528}"/>
                  </a:ext>
                </a:extLst>
              </p:cNvPr>
              <p:cNvSpPr/>
              <p:nvPr/>
            </p:nvSpPr>
            <p:spPr>
              <a:xfrm>
                <a:off x="6225832" y="3780008"/>
                <a:ext cx="14908" cy="29829"/>
              </a:xfrm>
              <a:custGeom>
                <a:avLst/>
                <a:gdLst>
                  <a:gd name="connsiteX0" fmla="*/ 14909 w 14908"/>
                  <a:gd name="connsiteY0" fmla="*/ 29829 h 29829"/>
                  <a:gd name="connsiteX1" fmla="*/ 0 w 14908"/>
                  <a:gd name="connsiteY1" fmla="*/ 14909 h 29829"/>
                  <a:gd name="connsiteX2" fmla="*/ 14909 w 14908"/>
                  <a:gd name="connsiteY2" fmla="*/ 0 h 298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4908" h="29829">
                    <a:moveTo>
                      <a:pt x="14909" y="29829"/>
                    </a:moveTo>
                    <a:lnTo>
                      <a:pt x="0" y="14909"/>
                    </a:lnTo>
                    <a:lnTo>
                      <a:pt x="14909" y="0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991" name="Forma livre: Forma 1990">
                <a:extLst>
                  <a:ext uri="{FF2B5EF4-FFF2-40B4-BE49-F238E27FC236}">
                    <a16:creationId xmlns:a16="http://schemas.microsoft.com/office/drawing/2014/main" id="{3BDF4528-BD9B-52DC-A03A-14E0DA350ACB}"/>
                  </a:ext>
                </a:extLst>
              </p:cNvPr>
              <p:cNvSpPr/>
              <p:nvPr/>
            </p:nvSpPr>
            <p:spPr>
              <a:xfrm>
                <a:off x="6163710" y="3725809"/>
                <a:ext cx="25542" cy="20474"/>
              </a:xfrm>
              <a:custGeom>
                <a:avLst/>
                <a:gdLst>
                  <a:gd name="connsiteX0" fmla="*/ 0 w 25542"/>
                  <a:gd name="connsiteY0" fmla="*/ 5045 h 20474"/>
                  <a:gd name="connsiteX1" fmla="*/ 20486 w 25542"/>
                  <a:gd name="connsiteY1" fmla="*/ 0 h 20474"/>
                  <a:gd name="connsiteX2" fmla="*/ 25542 w 25542"/>
                  <a:gd name="connsiteY2" fmla="*/ 20474 h 204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5542" h="20474">
                    <a:moveTo>
                      <a:pt x="0" y="5045"/>
                    </a:moveTo>
                    <a:lnTo>
                      <a:pt x="20486" y="0"/>
                    </a:lnTo>
                    <a:lnTo>
                      <a:pt x="25542" y="20474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992" name="Forma livre: Forma 1991">
                <a:extLst>
                  <a:ext uri="{FF2B5EF4-FFF2-40B4-BE49-F238E27FC236}">
                    <a16:creationId xmlns:a16="http://schemas.microsoft.com/office/drawing/2014/main" id="{542302A8-CC65-FFAD-7657-3C862EB07C4D}"/>
                  </a:ext>
                </a:extLst>
              </p:cNvPr>
              <p:cNvSpPr/>
              <p:nvPr/>
            </p:nvSpPr>
            <p:spPr>
              <a:xfrm>
                <a:off x="6246460" y="3704494"/>
                <a:ext cx="25530" cy="20474"/>
              </a:xfrm>
              <a:custGeom>
                <a:avLst/>
                <a:gdLst>
                  <a:gd name="connsiteX0" fmla="*/ 0 w 25530"/>
                  <a:gd name="connsiteY0" fmla="*/ 15418 h 20474"/>
                  <a:gd name="connsiteX1" fmla="*/ 20474 w 25530"/>
                  <a:gd name="connsiteY1" fmla="*/ 20474 h 20474"/>
                  <a:gd name="connsiteX2" fmla="*/ 25531 w 25530"/>
                  <a:gd name="connsiteY2" fmla="*/ 0 h 204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5530" h="20474">
                    <a:moveTo>
                      <a:pt x="0" y="15418"/>
                    </a:moveTo>
                    <a:lnTo>
                      <a:pt x="20474" y="20474"/>
                    </a:lnTo>
                    <a:lnTo>
                      <a:pt x="25531" y="0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993" name="Gráfico 17">
            <a:extLst>
              <a:ext uri="{FF2B5EF4-FFF2-40B4-BE49-F238E27FC236}">
                <a16:creationId xmlns:a16="http://schemas.microsoft.com/office/drawing/2014/main" id="{4166A6D3-FDEB-7B07-B7A2-88A5C9C9412A}"/>
              </a:ext>
            </a:extLst>
          </p:cNvPr>
          <p:cNvGrpSpPr/>
          <p:nvPr/>
        </p:nvGrpSpPr>
        <p:grpSpPr>
          <a:xfrm>
            <a:off x="6101920" y="4136774"/>
            <a:ext cx="210876" cy="294751"/>
            <a:chOff x="6101920" y="4136774"/>
            <a:chExt cx="210876" cy="294751"/>
          </a:xfrm>
          <a:noFill/>
        </p:grpSpPr>
        <p:grpSp>
          <p:nvGrpSpPr>
            <p:cNvPr id="1994" name="Gráfico 17">
              <a:extLst>
                <a:ext uri="{FF2B5EF4-FFF2-40B4-BE49-F238E27FC236}">
                  <a16:creationId xmlns:a16="http://schemas.microsoft.com/office/drawing/2014/main" id="{AB89C4C4-DCE1-564E-26BF-E4E24DEDD9FA}"/>
                </a:ext>
              </a:extLst>
            </p:cNvPr>
            <p:cNvGrpSpPr/>
            <p:nvPr/>
          </p:nvGrpSpPr>
          <p:grpSpPr>
            <a:xfrm>
              <a:off x="6101920" y="4136774"/>
              <a:ext cx="163000" cy="294751"/>
              <a:chOff x="6101920" y="4136774"/>
              <a:chExt cx="163000" cy="294751"/>
            </a:xfrm>
            <a:noFill/>
          </p:grpSpPr>
          <p:sp>
            <p:nvSpPr>
              <p:cNvPr id="1995" name="Forma livre: Forma 1994">
                <a:extLst>
                  <a:ext uri="{FF2B5EF4-FFF2-40B4-BE49-F238E27FC236}">
                    <a16:creationId xmlns:a16="http://schemas.microsoft.com/office/drawing/2014/main" id="{F5231B65-D6A5-39CF-FB34-F691256CDF8A}"/>
                  </a:ext>
                </a:extLst>
              </p:cNvPr>
              <p:cNvSpPr/>
              <p:nvPr/>
            </p:nvSpPr>
            <p:spPr>
              <a:xfrm>
                <a:off x="6101920" y="4136774"/>
                <a:ext cx="163000" cy="294751"/>
              </a:xfrm>
              <a:custGeom>
                <a:avLst/>
                <a:gdLst>
                  <a:gd name="connsiteX0" fmla="*/ 162989 w 163000"/>
                  <a:gd name="connsiteY0" fmla="*/ 222955 h 294751"/>
                  <a:gd name="connsiteX1" fmla="*/ 162989 w 163000"/>
                  <a:gd name="connsiteY1" fmla="*/ 280991 h 294751"/>
                  <a:gd name="connsiteX2" fmla="*/ 149643 w 163000"/>
                  <a:gd name="connsiteY2" fmla="*/ 294751 h 294751"/>
                  <a:gd name="connsiteX3" fmla="*/ 13346 w 163000"/>
                  <a:gd name="connsiteY3" fmla="*/ 294751 h 294751"/>
                  <a:gd name="connsiteX4" fmla="*/ 0 w 163000"/>
                  <a:gd name="connsiteY4" fmla="*/ 280991 h 294751"/>
                  <a:gd name="connsiteX5" fmla="*/ 0 w 163000"/>
                  <a:gd name="connsiteY5" fmla="*/ 13334 h 294751"/>
                  <a:gd name="connsiteX6" fmla="*/ 13346 w 163000"/>
                  <a:gd name="connsiteY6" fmla="*/ 0 h 294751"/>
                  <a:gd name="connsiteX7" fmla="*/ 149655 w 163000"/>
                  <a:gd name="connsiteY7" fmla="*/ 0 h 294751"/>
                  <a:gd name="connsiteX8" fmla="*/ 163001 w 163000"/>
                  <a:gd name="connsiteY8" fmla="*/ 13334 h 294751"/>
                  <a:gd name="connsiteX9" fmla="*/ 163001 w 163000"/>
                  <a:gd name="connsiteY9" fmla="*/ 40333 h 2947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63000" h="294751">
                    <a:moveTo>
                      <a:pt x="162989" y="222955"/>
                    </a:moveTo>
                    <a:lnTo>
                      <a:pt x="162989" y="280991"/>
                    </a:lnTo>
                    <a:cubicBezTo>
                      <a:pt x="162989" y="288333"/>
                      <a:pt x="156985" y="294751"/>
                      <a:pt x="149643" y="294751"/>
                    </a:cubicBezTo>
                    <a:lnTo>
                      <a:pt x="13346" y="294751"/>
                    </a:lnTo>
                    <a:cubicBezTo>
                      <a:pt x="6004" y="294751"/>
                      <a:pt x="0" y="288333"/>
                      <a:pt x="0" y="280991"/>
                    </a:cubicBezTo>
                    <a:lnTo>
                      <a:pt x="0" y="13334"/>
                    </a:lnTo>
                    <a:cubicBezTo>
                      <a:pt x="0" y="5992"/>
                      <a:pt x="6004" y="0"/>
                      <a:pt x="13346" y="0"/>
                    </a:cubicBezTo>
                    <a:lnTo>
                      <a:pt x="149655" y="0"/>
                    </a:lnTo>
                    <a:cubicBezTo>
                      <a:pt x="156997" y="0"/>
                      <a:pt x="163001" y="5992"/>
                      <a:pt x="163001" y="13334"/>
                    </a:cubicBezTo>
                    <a:lnTo>
                      <a:pt x="163001" y="40333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996" name="Forma livre: Forma 1995">
                <a:extLst>
                  <a:ext uri="{FF2B5EF4-FFF2-40B4-BE49-F238E27FC236}">
                    <a16:creationId xmlns:a16="http://schemas.microsoft.com/office/drawing/2014/main" id="{965467BD-07B0-017D-A4C1-FFE70906521C}"/>
                  </a:ext>
                </a:extLst>
              </p:cNvPr>
              <p:cNvSpPr/>
              <p:nvPr/>
            </p:nvSpPr>
            <p:spPr>
              <a:xfrm>
                <a:off x="6172331" y="4401803"/>
                <a:ext cx="22167" cy="1184"/>
              </a:xfrm>
              <a:custGeom>
                <a:avLst/>
                <a:gdLst>
                  <a:gd name="connsiteX0" fmla="*/ 0 w 22167"/>
                  <a:gd name="connsiteY0" fmla="*/ 0 h 1184"/>
                  <a:gd name="connsiteX1" fmla="*/ 22168 w 22167"/>
                  <a:gd name="connsiteY1" fmla="*/ 0 h 11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2167" h="1184">
                    <a:moveTo>
                      <a:pt x="0" y="0"/>
                    </a:moveTo>
                    <a:lnTo>
                      <a:pt x="22168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997" name="Gráfico 17">
              <a:extLst>
                <a:ext uri="{FF2B5EF4-FFF2-40B4-BE49-F238E27FC236}">
                  <a16:creationId xmlns:a16="http://schemas.microsoft.com/office/drawing/2014/main" id="{31DD2722-7E3C-D156-CAB1-34A36BDA15C1}"/>
                </a:ext>
              </a:extLst>
            </p:cNvPr>
            <p:cNvGrpSpPr/>
            <p:nvPr/>
          </p:nvGrpSpPr>
          <p:grpSpPr>
            <a:xfrm>
              <a:off x="6155160" y="4198576"/>
              <a:ext cx="138192" cy="121850"/>
              <a:chOff x="6155160" y="4198576"/>
              <a:chExt cx="138192" cy="121850"/>
            </a:xfrm>
            <a:noFill/>
          </p:grpSpPr>
          <p:sp>
            <p:nvSpPr>
              <p:cNvPr id="1998" name="Forma livre: Forma 1997">
                <a:extLst>
                  <a:ext uri="{FF2B5EF4-FFF2-40B4-BE49-F238E27FC236}">
                    <a16:creationId xmlns:a16="http://schemas.microsoft.com/office/drawing/2014/main" id="{F2B18530-DB64-51C9-DA33-8C70DF352659}"/>
                  </a:ext>
                </a:extLst>
              </p:cNvPr>
              <p:cNvSpPr/>
              <p:nvPr/>
            </p:nvSpPr>
            <p:spPr>
              <a:xfrm>
                <a:off x="6155160" y="4277927"/>
                <a:ext cx="28360" cy="42499"/>
              </a:xfrm>
              <a:custGeom>
                <a:avLst/>
                <a:gdLst>
                  <a:gd name="connsiteX0" fmla="*/ 0 w 28360"/>
                  <a:gd name="connsiteY0" fmla="*/ 42500 h 42499"/>
                  <a:gd name="connsiteX1" fmla="*/ 0 w 28360"/>
                  <a:gd name="connsiteY1" fmla="*/ 0 h 42499"/>
                  <a:gd name="connsiteX2" fmla="*/ 28361 w 28360"/>
                  <a:gd name="connsiteY2" fmla="*/ 0 h 42499"/>
                  <a:gd name="connsiteX3" fmla="*/ 28361 w 28360"/>
                  <a:gd name="connsiteY3" fmla="*/ 42500 h 424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8360" h="42499">
                    <a:moveTo>
                      <a:pt x="0" y="42500"/>
                    </a:moveTo>
                    <a:lnTo>
                      <a:pt x="0" y="0"/>
                    </a:lnTo>
                    <a:lnTo>
                      <a:pt x="28361" y="0"/>
                    </a:lnTo>
                    <a:lnTo>
                      <a:pt x="28361" y="4250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999" name="Forma livre: Forma 1998">
                <a:extLst>
                  <a:ext uri="{FF2B5EF4-FFF2-40B4-BE49-F238E27FC236}">
                    <a16:creationId xmlns:a16="http://schemas.microsoft.com/office/drawing/2014/main" id="{08A6A385-6325-FD91-097E-66EEB3491593}"/>
                  </a:ext>
                </a:extLst>
              </p:cNvPr>
              <p:cNvSpPr/>
              <p:nvPr/>
            </p:nvSpPr>
            <p:spPr>
              <a:xfrm>
                <a:off x="6210118" y="4244865"/>
                <a:ext cx="28313" cy="75561"/>
              </a:xfrm>
              <a:custGeom>
                <a:avLst/>
                <a:gdLst>
                  <a:gd name="connsiteX0" fmla="*/ 0 w 28313"/>
                  <a:gd name="connsiteY0" fmla="*/ 75562 h 75561"/>
                  <a:gd name="connsiteX1" fmla="*/ 0 w 28313"/>
                  <a:gd name="connsiteY1" fmla="*/ 0 h 75561"/>
                  <a:gd name="connsiteX2" fmla="*/ 28313 w 28313"/>
                  <a:gd name="connsiteY2" fmla="*/ 0 h 75561"/>
                  <a:gd name="connsiteX3" fmla="*/ 28313 w 28313"/>
                  <a:gd name="connsiteY3" fmla="*/ 75562 h 755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8313" h="75561">
                    <a:moveTo>
                      <a:pt x="0" y="75562"/>
                    </a:moveTo>
                    <a:lnTo>
                      <a:pt x="0" y="0"/>
                    </a:lnTo>
                    <a:lnTo>
                      <a:pt x="28313" y="0"/>
                    </a:lnTo>
                    <a:lnTo>
                      <a:pt x="28313" y="75562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000" name="Forma livre: Forma 1999">
                <a:extLst>
                  <a:ext uri="{FF2B5EF4-FFF2-40B4-BE49-F238E27FC236}">
                    <a16:creationId xmlns:a16="http://schemas.microsoft.com/office/drawing/2014/main" id="{B5CC10A3-4000-08D2-E333-F66AFC0CA735}"/>
                  </a:ext>
                </a:extLst>
              </p:cNvPr>
              <p:cNvSpPr/>
              <p:nvPr/>
            </p:nvSpPr>
            <p:spPr>
              <a:xfrm>
                <a:off x="6265051" y="4198576"/>
                <a:ext cx="28301" cy="121850"/>
              </a:xfrm>
              <a:custGeom>
                <a:avLst/>
                <a:gdLst>
                  <a:gd name="connsiteX0" fmla="*/ 0 w 28301"/>
                  <a:gd name="connsiteY0" fmla="*/ 121851 h 121850"/>
                  <a:gd name="connsiteX1" fmla="*/ 0 w 28301"/>
                  <a:gd name="connsiteY1" fmla="*/ 0 h 121850"/>
                  <a:gd name="connsiteX2" fmla="*/ 28302 w 28301"/>
                  <a:gd name="connsiteY2" fmla="*/ 0 h 121850"/>
                  <a:gd name="connsiteX3" fmla="*/ 28302 w 28301"/>
                  <a:gd name="connsiteY3" fmla="*/ 121851 h 1218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8301" h="121850">
                    <a:moveTo>
                      <a:pt x="0" y="121851"/>
                    </a:moveTo>
                    <a:lnTo>
                      <a:pt x="0" y="0"/>
                    </a:lnTo>
                    <a:lnTo>
                      <a:pt x="28302" y="0"/>
                    </a:lnTo>
                    <a:lnTo>
                      <a:pt x="28302" y="121851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2001" name="Forma livre: Forma 2000">
              <a:extLst>
                <a:ext uri="{FF2B5EF4-FFF2-40B4-BE49-F238E27FC236}">
                  <a16:creationId xmlns:a16="http://schemas.microsoft.com/office/drawing/2014/main" id="{329E7A56-C49C-599B-11F6-823A06C0B659}"/>
                </a:ext>
              </a:extLst>
            </p:cNvPr>
            <p:cNvSpPr/>
            <p:nvPr/>
          </p:nvSpPr>
          <p:spPr>
            <a:xfrm>
              <a:off x="6131063" y="4338249"/>
              <a:ext cx="181734" cy="1184"/>
            </a:xfrm>
            <a:custGeom>
              <a:avLst/>
              <a:gdLst>
                <a:gd name="connsiteX0" fmla="*/ 181734 w 181734"/>
                <a:gd name="connsiteY0" fmla="*/ 0 h 1184"/>
                <a:gd name="connsiteX1" fmla="*/ 0 w 181734"/>
                <a:gd name="connsiteY1" fmla="*/ 0 h 11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1734" h="1184">
                  <a:moveTo>
                    <a:pt x="181734" y="0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2002" name="Gráfico 17">
              <a:extLst>
                <a:ext uri="{FF2B5EF4-FFF2-40B4-BE49-F238E27FC236}">
                  <a16:creationId xmlns:a16="http://schemas.microsoft.com/office/drawing/2014/main" id="{E9E3CFC2-EE3F-05A2-1B01-8E00E462CAB4}"/>
                </a:ext>
              </a:extLst>
            </p:cNvPr>
            <p:cNvGrpSpPr/>
            <p:nvPr/>
          </p:nvGrpSpPr>
          <p:grpSpPr>
            <a:xfrm>
              <a:off x="6155066" y="4200542"/>
              <a:ext cx="36413" cy="36578"/>
              <a:chOff x="6155066" y="4200542"/>
              <a:chExt cx="36413" cy="36578"/>
            </a:xfrm>
            <a:noFill/>
          </p:grpSpPr>
          <p:sp>
            <p:nvSpPr>
              <p:cNvPr id="2003" name="Forma livre: Forma 2002">
                <a:extLst>
                  <a:ext uri="{FF2B5EF4-FFF2-40B4-BE49-F238E27FC236}">
                    <a16:creationId xmlns:a16="http://schemas.microsoft.com/office/drawing/2014/main" id="{1B571238-A47D-7B27-28B2-54000D4B813C}"/>
                  </a:ext>
                </a:extLst>
              </p:cNvPr>
              <p:cNvSpPr/>
              <p:nvPr/>
            </p:nvSpPr>
            <p:spPr>
              <a:xfrm>
                <a:off x="6155066" y="4200885"/>
                <a:ext cx="36176" cy="36235"/>
              </a:xfrm>
              <a:custGeom>
                <a:avLst/>
                <a:gdLst>
                  <a:gd name="connsiteX0" fmla="*/ 36176 w 36176"/>
                  <a:gd name="connsiteY0" fmla="*/ 0 h 36235"/>
                  <a:gd name="connsiteX1" fmla="*/ 0 w 36176"/>
                  <a:gd name="connsiteY1" fmla="*/ 36236 h 362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6176" h="36235">
                    <a:moveTo>
                      <a:pt x="36176" y="0"/>
                    </a:moveTo>
                    <a:lnTo>
                      <a:pt x="0" y="36236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004" name="Forma livre: Forma 2003">
                <a:extLst>
                  <a:ext uri="{FF2B5EF4-FFF2-40B4-BE49-F238E27FC236}">
                    <a16:creationId xmlns:a16="http://schemas.microsoft.com/office/drawing/2014/main" id="{B2D99955-96C4-8A61-8BC3-07EA645F802E}"/>
                  </a:ext>
                </a:extLst>
              </p:cNvPr>
              <p:cNvSpPr/>
              <p:nvPr/>
            </p:nvSpPr>
            <p:spPr>
              <a:xfrm>
                <a:off x="6167748" y="4200542"/>
                <a:ext cx="23730" cy="23600"/>
              </a:xfrm>
              <a:custGeom>
                <a:avLst/>
                <a:gdLst>
                  <a:gd name="connsiteX0" fmla="*/ 0 w 23730"/>
                  <a:gd name="connsiteY0" fmla="*/ 0 h 23600"/>
                  <a:gd name="connsiteX1" fmla="*/ 23731 w 23730"/>
                  <a:gd name="connsiteY1" fmla="*/ 0 h 23600"/>
                  <a:gd name="connsiteX2" fmla="*/ 23731 w 23730"/>
                  <a:gd name="connsiteY2" fmla="*/ 23600 h 236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3730" h="23600">
                    <a:moveTo>
                      <a:pt x="0" y="0"/>
                    </a:moveTo>
                    <a:lnTo>
                      <a:pt x="23731" y="0"/>
                    </a:lnTo>
                    <a:lnTo>
                      <a:pt x="23731" y="23600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2005" name="Gráfico 17">
            <a:extLst>
              <a:ext uri="{FF2B5EF4-FFF2-40B4-BE49-F238E27FC236}">
                <a16:creationId xmlns:a16="http://schemas.microsoft.com/office/drawing/2014/main" id="{111C5B4D-34C9-3505-91A1-77684C03301B}"/>
              </a:ext>
            </a:extLst>
          </p:cNvPr>
          <p:cNvGrpSpPr/>
          <p:nvPr/>
        </p:nvGrpSpPr>
        <p:grpSpPr>
          <a:xfrm>
            <a:off x="6101920" y="4663610"/>
            <a:ext cx="203475" cy="294751"/>
            <a:chOff x="6101920" y="4663610"/>
            <a:chExt cx="203475" cy="294751"/>
          </a:xfrm>
          <a:noFill/>
        </p:grpSpPr>
        <p:sp>
          <p:nvSpPr>
            <p:cNvPr id="2006" name="Forma livre: Forma 2005">
              <a:extLst>
                <a:ext uri="{FF2B5EF4-FFF2-40B4-BE49-F238E27FC236}">
                  <a16:creationId xmlns:a16="http://schemas.microsoft.com/office/drawing/2014/main" id="{41488C7B-2E6D-B2D5-FA22-A3486DBFD2AC}"/>
                </a:ext>
              </a:extLst>
            </p:cNvPr>
            <p:cNvSpPr/>
            <p:nvPr/>
          </p:nvSpPr>
          <p:spPr>
            <a:xfrm>
              <a:off x="6101920" y="4663610"/>
              <a:ext cx="163000" cy="294751"/>
            </a:xfrm>
            <a:custGeom>
              <a:avLst/>
              <a:gdLst>
                <a:gd name="connsiteX0" fmla="*/ 162989 w 163000"/>
                <a:gd name="connsiteY0" fmla="*/ 232499 h 294751"/>
                <a:gd name="connsiteX1" fmla="*/ 162989 w 163000"/>
                <a:gd name="connsiteY1" fmla="*/ 280991 h 294751"/>
                <a:gd name="connsiteX2" fmla="*/ 149643 w 163000"/>
                <a:gd name="connsiteY2" fmla="*/ 294751 h 294751"/>
                <a:gd name="connsiteX3" fmla="*/ 13346 w 163000"/>
                <a:gd name="connsiteY3" fmla="*/ 294751 h 294751"/>
                <a:gd name="connsiteX4" fmla="*/ 0 w 163000"/>
                <a:gd name="connsiteY4" fmla="*/ 280991 h 294751"/>
                <a:gd name="connsiteX5" fmla="*/ 0 w 163000"/>
                <a:gd name="connsiteY5" fmla="*/ 13334 h 294751"/>
                <a:gd name="connsiteX6" fmla="*/ 13346 w 163000"/>
                <a:gd name="connsiteY6" fmla="*/ 0 h 294751"/>
                <a:gd name="connsiteX7" fmla="*/ 149655 w 163000"/>
                <a:gd name="connsiteY7" fmla="*/ 0 h 294751"/>
                <a:gd name="connsiteX8" fmla="*/ 163001 w 163000"/>
                <a:gd name="connsiteY8" fmla="*/ 13334 h 294751"/>
                <a:gd name="connsiteX9" fmla="*/ 163001 w 163000"/>
                <a:gd name="connsiteY9" fmla="*/ 37278 h 2947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63000" h="294751">
                  <a:moveTo>
                    <a:pt x="162989" y="232499"/>
                  </a:moveTo>
                  <a:lnTo>
                    <a:pt x="162989" y="280991"/>
                  </a:lnTo>
                  <a:cubicBezTo>
                    <a:pt x="162989" y="288333"/>
                    <a:pt x="156985" y="294751"/>
                    <a:pt x="149643" y="294751"/>
                  </a:cubicBezTo>
                  <a:lnTo>
                    <a:pt x="13346" y="294751"/>
                  </a:lnTo>
                  <a:cubicBezTo>
                    <a:pt x="6004" y="294751"/>
                    <a:pt x="0" y="288333"/>
                    <a:pt x="0" y="280991"/>
                  </a:cubicBezTo>
                  <a:lnTo>
                    <a:pt x="0" y="13334"/>
                  </a:lnTo>
                  <a:cubicBezTo>
                    <a:pt x="0" y="5992"/>
                    <a:pt x="6004" y="0"/>
                    <a:pt x="13346" y="0"/>
                  </a:cubicBezTo>
                  <a:lnTo>
                    <a:pt x="149655" y="0"/>
                  </a:lnTo>
                  <a:cubicBezTo>
                    <a:pt x="156997" y="0"/>
                    <a:pt x="163001" y="5992"/>
                    <a:pt x="163001" y="13334"/>
                  </a:cubicBezTo>
                  <a:lnTo>
                    <a:pt x="163001" y="37278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07" name="Forma livre: Forma 2006">
              <a:extLst>
                <a:ext uri="{FF2B5EF4-FFF2-40B4-BE49-F238E27FC236}">
                  <a16:creationId xmlns:a16="http://schemas.microsoft.com/office/drawing/2014/main" id="{F923663C-3870-150E-4107-2C2ED9173BAD}"/>
                </a:ext>
              </a:extLst>
            </p:cNvPr>
            <p:cNvSpPr/>
            <p:nvPr/>
          </p:nvSpPr>
          <p:spPr>
            <a:xfrm>
              <a:off x="6172331" y="4928639"/>
              <a:ext cx="22167" cy="1184"/>
            </a:xfrm>
            <a:custGeom>
              <a:avLst/>
              <a:gdLst>
                <a:gd name="connsiteX0" fmla="*/ 0 w 22167"/>
                <a:gd name="connsiteY0" fmla="*/ 0 h 1184"/>
                <a:gd name="connsiteX1" fmla="*/ 22168 w 22167"/>
                <a:gd name="connsiteY1" fmla="*/ 0 h 11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2167" h="1184">
                  <a:moveTo>
                    <a:pt x="0" y="0"/>
                  </a:moveTo>
                  <a:lnTo>
                    <a:pt x="22168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08" name="Forma livre: Forma 2007">
              <a:extLst>
                <a:ext uri="{FF2B5EF4-FFF2-40B4-BE49-F238E27FC236}">
                  <a16:creationId xmlns:a16="http://schemas.microsoft.com/office/drawing/2014/main" id="{FE63CBEF-F27C-A213-8EA0-43EA037D2AA9}"/>
                </a:ext>
              </a:extLst>
            </p:cNvPr>
            <p:cNvSpPr/>
            <p:nvPr/>
          </p:nvSpPr>
          <p:spPr>
            <a:xfrm>
              <a:off x="6153076" y="4722274"/>
              <a:ext cx="152319" cy="152319"/>
            </a:xfrm>
            <a:custGeom>
              <a:avLst/>
              <a:gdLst>
                <a:gd name="connsiteX0" fmla="*/ 0 w 152319"/>
                <a:gd name="connsiteY0" fmla="*/ 0 h 152319"/>
                <a:gd name="connsiteX1" fmla="*/ 152319 w 152319"/>
                <a:gd name="connsiteY1" fmla="*/ 0 h 152319"/>
                <a:gd name="connsiteX2" fmla="*/ 152319 w 152319"/>
                <a:gd name="connsiteY2" fmla="*/ 152319 h 152319"/>
                <a:gd name="connsiteX3" fmla="*/ 0 w 152319"/>
                <a:gd name="connsiteY3" fmla="*/ 152319 h 1523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2319" h="152319">
                  <a:moveTo>
                    <a:pt x="0" y="0"/>
                  </a:moveTo>
                  <a:lnTo>
                    <a:pt x="152319" y="0"/>
                  </a:lnTo>
                  <a:lnTo>
                    <a:pt x="152319" y="152319"/>
                  </a:lnTo>
                  <a:lnTo>
                    <a:pt x="0" y="152319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2009" name="Gráfico 17">
              <a:extLst>
                <a:ext uri="{FF2B5EF4-FFF2-40B4-BE49-F238E27FC236}">
                  <a16:creationId xmlns:a16="http://schemas.microsoft.com/office/drawing/2014/main" id="{08F307FE-734F-23C0-D686-E2B3EC4891E8}"/>
                </a:ext>
              </a:extLst>
            </p:cNvPr>
            <p:cNvGrpSpPr/>
            <p:nvPr/>
          </p:nvGrpSpPr>
          <p:grpSpPr>
            <a:xfrm>
              <a:off x="6178098" y="4747059"/>
              <a:ext cx="102264" cy="102762"/>
              <a:chOff x="6178098" y="4747059"/>
              <a:chExt cx="102264" cy="102762"/>
            </a:xfrm>
            <a:noFill/>
          </p:grpSpPr>
          <p:sp>
            <p:nvSpPr>
              <p:cNvPr id="2010" name="Forma livre: Forma 2009">
                <a:extLst>
                  <a:ext uri="{FF2B5EF4-FFF2-40B4-BE49-F238E27FC236}">
                    <a16:creationId xmlns:a16="http://schemas.microsoft.com/office/drawing/2014/main" id="{E58F5F3F-0FFB-5593-28BD-0C41B12EA4A9}"/>
                  </a:ext>
                </a:extLst>
              </p:cNvPr>
              <p:cNvSpPr/>
              <p:nvPr/>
            </p:nvSpPr>
            <p:spPr>
              <a:xfrm>
                <a:off x="6178098" y="4782631"/>
                <a:ext cx="31605" cy="31605"/>
              </a:xfrm>
              <a:custGeom>
                <a:avLst/>
                <a:gdLst>
                  <a:gd name="connsiteX0" fmla="*/ 0 w 31605"/>
                  <a:gd name="connsiteY0" fmla="*/ 15809 h 31605"/>
                  <a:gd name="connsiteX1" fmla="*/ 15809 w 31605"/>
                  <a:gd name="connsiteY1" fmla="*/ 0 h 31605"/>
                  <a:gd name="connsiteX2" fmla="*/ 31605 w 31605"/>
                  <a:gd name="connsiteY2" fmla="*/ 15809 h 31605"/>
                  <a:gd name="connsiteX3" fmla="*/ 15809 w 31605"/>
                  <a:gd name="connsiteY3" fmla="*/ 31605 h 31605"/>
                  <a:gd name="connsiteX4" fmla="*/ 0 w 31605"/>
                  <a:gd name="connsiteY4" fmla="*/ 15809 h 316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1605" h="31605">
                    <a:moveTo>
                      <a:pt x="0" y="15809"/>
                    </a:moveTo>
                    <a:cubicBezTo>
                      <a:pt x="0" y="7070"/>
                      <a:pt x="7081" y="0"/>
                      <a:pt x="15809" y="0"/>
                    </a:cubicBezTo>
                    <a:cubicBezTo>
                      <a:pt x="24536" y="0"/>
                      <a:pt x="31605" y="7081"/>
                      <a:pt x="31605" y="15809"/>
                    </a:cubicBezTo>
                    <a:cubicBezTo>
                      <a:pt x="31605" y="24536"/>
                      <a:pt x="24524" y="31605"/>
                      <a:pt x="15809" y="31605"/>
                    </a:cubicBezTo>
                    <a:cubicBezTo>
                      <a:pt x="7093" y="31605"/>
                      <a:pt x="0" y="24524"/>
                      <a:pt x="0" y="15809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2011" name="Gráfico 17">
                <a:extLst>
                  <a:ext uri="{FF2B5EF4-FFF2-40B4-BE49-F238E27FC236}">
                    <a16:creationId xmlns:a16="http://schemas.microsoft.com/office/drawing/2014/main" id="{F0D3886A-C7EE-CE37-3959-1FAA112CCDFE}"/>
                  </a:ext>
                </a:extLst>
              </p:cNvPr>
              <p:cNvGrpSpPr/>
              <p:nvPr/>
            </p:nvGrpSpPr>
            <p:grpSpPr>
              <a:xfrm>
                <a:off x="6207832" y="4747059"/>
                <a:ext cx="72530" cy="102762"/>
                <a:chOff x="6207832" y="4747059"/>
                <a:chExt cx="72530" cy="102762"/>
              </a:xfrm>
              <a:noFill/>
            </p:grpSpPr>
            <p:grpSp>
              <p:nvGrpSpPr>
                <p:cNvPr id="2012" name="Gráfico 17">
                  <a:extLst>
                    <a:ext uri="{FF2B5EF4-FFF2-40B4-BE49-F238E27FC236}">
                      <a16:creationId xmlns:a16="http://schemas.microsoft.com/office/drawing/2014/main" id="{62ED9E54-7CF6-CFFB-B5FD-88C2A83D8CE4}"/>
                    </a:ext>
                  </a:extLst>
                </p:cNvPr>
                <p:cNvGrpSpPr/>
                <p:nvPr/>
              </p:nvGrpSpPr>
              <p:grpSpPr>
                <a:xfrm>
                  <a:off x="6207832" y="4747059"/>
                  <a:ext cx="72530" cy="44264"/>
                  <a:chOff x="6207832" y="4747059"/>
                  <a:chExt cx="72530" cy="44264"/>
                </a:xfrm>
                <a:noFill/>
              </p:grpSpPr>
              <p:sp>
                <p:nvSpPr>
                  <p:cNvPr id="2013" name="Forma livre: Forma 2012">
                    <a:extLst>
                      <a:ext uri="{FF2B5EF4-FFF2-40B4-BE49-F238E27FC236}">
                        <a16:creationId xmlns:a16="http://schemas.microsoft.com/office/drawing/2014/main" id="{5D3D9931-037A-7980-88E9-3ED4AF600278}"/>
                      </a:ext>
                    </a:extLst>
                  </p:cNvPr>
                  <p:cNvSpPr/>
                  <p:nvPr/>
                </p:nvSpPr>
                <p:spPr>
                  <a:xfrm>
                    <a:off x="6248757" y="4747059"/>
                    <a:ext cx="31605" cy="31605"/>
                  </a:xfrm>
                  <a:custGeom>
                    <a:avLst/>
                    <a:gdLst>
                      <a:gd name="connsiteX0" fmla="*/ 0 w 31605"/>
                      <a:gd name="connsiteY0" fmla="*/ 15809 h 31605"/>
                      <a:gd name="connsiteX1" fmla="*/ 15797 w 31605"/>
                      <a:gd name="connsiteY1" fmla="*/ 0 h 31605"/>
                      <a:gd name="connsiteX2" fmla="*/ 31605 w 31605"/>
                      <a:gd name="connsiteY2" fmla="*/ 15809 h 31605"/>
                      <a:gd name="connsiteX3" fmla="*/ 15797 w 31605"/>
                      <a:gd name="connsiteY3" fmla="*/ 31605 h 31605"/>
                      <a:gd name="connsiteX4" fmla="*/ 0 w 31605"/>
                      <a:gd name="connsiteY4" fmla="*/ 15809 h 3160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31605" h="31605">
                        <a:moveTo>
                          <a:pt x="0" y="15809"/>
                        </a:moveTo>
                        <a:cubicBezTo>
                          <a:pt x="0" y="7081"/>
                          <a:pt x="7081" y="0"/>
                          <a:pt x="15797" y="0"/>
                        </a:cubicBezTo>
                        <a:cubicBezTo>
                          <a:pt x="24512" y="0"/>
                          <a:pt x="31605" y="7081"/>
                          <a:pt x="31605" y="15809"/>
                        </a:cubicBezTo>
                        <a:cubicBezTo>
                          <a:pt x="31605" y="24536"/>
                          <a:pt x="24524" y="31605"/>
                          <a:pt x="15797" y="31605"/>
                        </a:cubicBezTo>
                        <a:cubicBezTo>
                          <a:pt x="7069" y="31605"/>
                          <a:pt x="0" y="24524"/>
                          <a:pt x="0" y="15809"/>
                        </a:cubicBezTo>
                        <a:close/>
                      </a:path>
                    </a:pathLst>
                  </a:custGeom>
                  <a:noFill/>
                  <a:ln w="6350" cap="flat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2014" name="Forma livre: Forma 2013">
                    <a:extLst>
                      <a:ext uri="{FF2B5EF4-FFF2-40B4-BE49-F238E27FC236}">
                        <a16:creationId xmlns:a16="http://schemas.microsoft.com/office/drawing/2014/main" id="{FE46F125-C84D-A130-3EEF-8C576D6493F1}"/>
                      </a:ext>
                    </a:extLst>
                  </p:cNvPr>
                  <p:cNvSpPr/>
                  <p:nvPr/>
                </p:nvSpPr>
                <p:spPr>
                  <a:xfrm>
                    <a:off x="6207832" y="4769842"/>
                    <a:ext cx="42819" cy="21480"/>
                  </a:xfrm>
                  <a:custGeom>
                    <a:avLst/>
                    <a:gdLst>
                      <a:gd name="connsiteX0" fmla="*/ 42819 w 42819"/>
                      <a:gd name="connsiteY0" fmla="*/ 0 h 21480"/>
                      <a:gd name="connsiteX1" fmla="*/ 0 w 42819"/>
                      <a:gd name="connsiteY1" fmla="*/ 21481 h 2148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42819" h="21480">
                        <a:moveTo>
                          <a:pt x="42819" y="0"/>
                        </a:moveTo>
                        <a:lnTo>
                          <a:pt x="0" y="21481"/>
                        </a:lnTo>
                      </a:path>
                    </a:pathLst>
                  </a:custGeom>
                  <a:ln w="6350" cap="flat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  <p:grpSp>
              <p:nvGrpSpPr>
                <p:cNvPr id="2015" name="Gráfico 17">
                  <a:extLst>
                    <a:ext uri="{FF2B5EF4-FFF2-40B4-BE49-F238E27FC236}">
                      <a16:creationId xmlns:a16="http://schemas.microsoft.com/office/drawing/2014/main" id="{4E7D75BE-2CCF-E80C-7EF8-D578CE2DD3C1}"/>
                    </a:ext>
                  </a:extLst>
                </p:cNvPr>
                <p:cNvGrpSpPr/>
                <p:nvPr/>
              </p:nvGrpSpPr>
              <p:grpSpPr>
                <a:xfrm>
                  <a:off x="6207832" y="4805556"/>
                  <a:ext cx="72530" cy="44264"/>
                  <a:chOff x="6207832" y="4805556"/>
                  <a:chExt cx="72530" cy="44264"/>
                </a:xfrm>
                <a:noFill/>
              </p:grpSpPr>
              <p:sp>
                <p:nvSpPr>
                  <p:cNvPr id="2016" name="Forma livre: Forma 2015">
                    <a:extLst>
                      <a:ext uri="{FF2B5EF4-FFF2-40B4-BE49-F238E27FC236}">
                        <a16:creationId xmlns:a16="http://schemas.microsoft.com/office/drawing/2014/main" id="{B635E02D-BA2B-70FB-1468-88BE1D0BC2BC}"/>
                      </a:ext>
                    </a:extLst>
                  </p:cNvPr>
                  <p:cNvSpPr/>
                  <p:nvPr/>
                </p:nvSpPr>
                <p:spPr>
                  <a:xfrm>
                    <a:off x="6248757" y="4818215"/>
                    <a:ext cx="31605" cy="31605"/>
                  </a:xfrm>
                  <a:custGeom>
                    <a:avLst/>
                    <a:gdLst>
                      <a:gd name="connsiteX0" fmla="*/ 0 w 31605"/>
                      <a:gd name="connsiteY0" fmla="*/ 15797 h 31605"/>
                      <a:gd name="connsiteX1" fmla="*/ 15797 w 31605"/>
                      <a:gd name="connsiteY1" fmla="*/ 31605 h 31605"/>
                      <a:gd name="connsiteX2" fmla="*/ 31605 w 31605"/>
                      <a:gd name="connsiteY2" fmla="*/ 15797 h 31605"/>
                      <a:gd name="connsiteX3" fmla="*/ 15797 w 31605"/>
                      <a:gd name="connsiteY3" fmla="*/ 0 h 31605"/>
                      <a:gd name="connsiteX4" fmla="*/ 0 w 31605"/>
                      <a:gd name="connsiteY4" fmla="*/ 15797 h 3160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31605" h="31605">
                        <a:moveTo>
                          <a:pt x="0" y="15797"/>
                        </a:moveTo>
                        <a:cubicBezTo>
                          <a:pt x="0" y="24536"/>
                          <a:pt x="7081" y="31605"/>
                          <a:pt x="15797" y="31605"/>
                        </a:cubicBezTo>
                        <a:cubicBezTo>
                          <a:pt x="24512" y="31605"/>
                          <a:pt x="31605" y="24536"/>
                          <a:pt x="31605" y="15797"/>
                        </a:cubicBezTo>
                        <a:cubicBezTo>
                          <a:pt x="31605" y="7058"/>
                          <a:pt x="24524" y="0"/>
                          <a:pt x="15797" y="0"/>
                        </a:cubicBezTo>
                        <a:cubicBezTo>
                          <a:pt x="7069" y="0"/>
                          <a:pt x="0" y="7069"/>
                          <a:pt x="0" y="15797"/>
                        </a:cubicBezTo>
                        <a:close/>
                      </a:path>
                    </a:pathLst>
                  </a:custGeom>
                  <a:noFill/>
                  <a:ln w="6350" cap="flat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2017" name="Forma livre: Forma 2016">
                    <a:extLst>
                      <a:ext uri="{FF2B5EF4-FFF2-40B4-BE49-F238E27FC236}">
                        <a16:creationId xmlns:a16="http://schemas.microsoft.com/office/drawing/2014/main" id="{4F1AC35E-224A-C182-A5B5-E5B19AE85ED5}"/>
                      </a:ext>
                    </a:extLst>
                  </p:cNvPr>
                  <p:cNvSpPr/>
                  <p:nvPr/>
                </p:nvSpPr>
                <p:spPr>
                  <a:xfrm>
                    <a:off x="6207832" y="4805556"/>
                    <a:ext cx="42819" cy="21480"/>
                  </a:xfrm>
                  <a:custGeom>
                    <a:avLst/>
                    <a:gdLst>
                      <a:gd name="connsiteX0" fmla="*/ 42819 w 42819"/>
                      <a:gd name="connsiteY0" fmla="*/ 21481 h 21480"/>
                      <a:gd name="connsiteX1" fmla="*/ 0 w 42819"/>
                      <a:gd name="connsiteY1" fmla="*/ 0 h 2148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42819" h="21480">
                        <a:moveTo>
                          <a:pt x="42819" y="21481"/>
                        </a:moveTo>
                        <a:lnTo>
                          <a:pt x="0" y="0"/>
                        </a:lnTo>
                      </a:path>
                    </a:pathLst>
                  </a:custGeom>
                  <a:ln w="6350" cap="flat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</p:grpSp>
        </p:grpSp>
      </p:grpSp>
      <p:grpSp>
        <p:nvGrpSpPr>
          <p:cNvPr id="2018" name="Gráfico 17">
            <a:extLst>
              <a:ext uri="{FF2B5EF4-FFF2-40B4-BE49-F238E27FC236}">
                <a16:creationId xmlns:a16="http://schemas.microsoft.com/office/drawing/2014/main" id="{D7F286C5-7BBF-6057-E598-9B2BD055B07B}"/>
              </a:ext>
            </a:extLst>
          </p:cNvPr>
          <p:cNvGrpSpPr/>
          <p:nvPr/>
        </p:nvGrpSpPr>
        <p:grpSpPr>
          <a:xfrm>
            <a:off x="6101920" y="5717294"/>
            <a:ext cx="226839" cy="294751"/>
            <a:chOff x="6101920" y="5717294"/>
            <a:chExt cx="226839" cy="294751"/>
          </a:xfrm>
        </p:grpSpPr>
        <p:grpSp>
          <p:nvGrpSpPr>
            <p:cNvPr id="2019" name="Gráfico 17">
              <a:extLst>
                <a:ext uri="{FF2B5EF4-FFF2-40B4-BE49-F238E27FC236}">
                  <a16:creationId xmlns:a16="http://schemas.microsoft.com/office/drawing/2014/main" id="{8458C4C9-8942-2B93-8395-75A849732D4C}"/>
                </a:ext>
              </a:extLst>
            </p:cNvPr>
            <p:cNvGrpSpPr/>
            <p:nvPr/>
          </p:nvGrpSpPr>
          <p:grpSpPr>
            <a:xfrm>
              <a:off x="6101920" y="5717294"/>
              <a:ext cx="163000" cy="294751"/>
              <a:chOff x="6101920" y="5717294"/>
              <a:chExt cx="163000" cy="294751"/>
            </a:xfrm>
            <a:noFill/>
          </p:grpSpPr>
          <p:sp>
            <p:nvSpPr>
              <p:cNvPr id="2020" name="Forma livre: Forma 2019">
                <a:extLst>
                  <a:ext uri="{FF2B5EF4-FFF2-40B4-BE49-F238E27FC236}">
                    <a16:creationId xmlns:a16="http://schemas.microsoft.com/office/drawing/2014/main" id="{695A112F-3DCD-742D-A48D-8CF93CF8FE38}"/>
                  </a:ext>
                </a:extLst>
              </p:cNvPr>
              <p:cNvSpPr/>
              <p:nvPr/>
            </p:nvSpPr>
            <p:spPr>
              <a:xfrm>
                <a:off x="6101920" y="5717294"/>
                <a:ext cx="163000" cy="294751"/>
              </a:xfrm>
              <a:custGeom>
                <a:avLst/>
                <a:gdLst>
                  <a:gd name="connsiteX0" fmla="*/ 162989 w 163000"/>
                  <a:gd name="connsiteY0" fmla="*/ 218076 h 294751"/>
                  <a:gd name="connsiteX1" fmla="*/ 162989 w 163000"/>
                  <a:gd name="connsiteY1" fmla="*/ 280991 h 294751"/>
                  <a:gd name="connsiteX2" fmla="*/ 149643 w 163000"/>
                  <a:gd name="connsiteY2" fmla="*/ 294751 h 294751"/>
                  <a:gd name="connsiteX3" fmla="*/ 13346 w 163000"/>
                  <a:gd name="connsiteY3" fmla="*/ 294751 h 294751"/>
                  <a:gd name="connsiteX4" fmla="*/ 0 w 163000"/>
                  <a:gd name="connsiteY4" fmla="*/ 280991 h 294751"/>
                  <a:gd name="connsiteX5" fmla="*/ 0 w 163000"/>
                  <a:gd name="connsiteY5" fmla="*/ 13334 h 294751"/>
                  <a:gd name="connsiteX6" fmla="*/ 13346 w 163000"/>
                  <a:gd name="connsiteY6" fmla="*/ 0 h 294751"/>
                  <a:gd name="connsiteX7" fmla="*/ 149655 w 163000"/>
                  <a:gd name="connsiteY7" fmla="*/ 0 h 294751"/>
                  <a:gd name="connsiteX8" fmla="*/ 163001 w 163000"/>
                  <a:gd name="connsiteY8" fmla="*/ 13334 h 294751"/>
                  <a:gd name="connsiteX9" fmla="*/ 163001 w 163000"/>
                  <a:gd name="connsiteY9" fmla="*/ 39977 h 2947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63000" h="294751">
                    <a:moveTo>
                      <a:pt x="162989" y="218076"/>
                    </a:moveTo>
                    <a:lnTo>
                      <a:pt x="162989" y="280991"/>
                    </a:lnTo>
                    <a:cubicBezTo>
                      <a:pt x="162989" y="288333"/>
                      <a:pt x="156985" y="294751"/>
                      <a:pt x="149643" y="294751"/>
                    </a:cubicBezTo>
                    <a:lnTo>
                      <a:pt x="13346" y="294751"/>
                    </a:lnTo>
                    <a:cubicBezTo>
                      <a:pt x="6004" y="294751"/>
                      <a:pt x="0" y="288333"/>
                      <a:pt x="0" y="280991"/>
                    </a:cubicBezTo>
                    <a:lnTo>
                      <a:pt x="0" y="13334"/>
                    </a:lnTo>
                    <a:cubicBezTo>
                      <a:pt x="0" y="5992"/>
                      <a:pt x="6004" y="0"/>
                      <a:pt x="13346" y="0"/>
                    </a:cubicBezTo>
                    <a:lnTo>
                      <a:pt x="149655" y="0"/>
                    </a:lnTo>
                    <a:cubicBezTo>
                      <a:pt x="156997" y="0"/>
                      <a:pt x="163001" y="5992"/>
                      <a:pt x="163001" y="13334"/>
                    </a:cubicBezTo>
                    <a:lnTo>
                      <a:pt x="163001" y="39977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021" name="Forma livre: Forma 2020">
                <a:extLst>
                  <a:ext uri="{FF2B5EF4-FFF2-40B4-BE49-F238E27FC236}">
                    <a16:creationId xmlns:a16="http://schemas.microsoft.com/office/drawing/2014/main" id="{45D3106C-8B43-4783-AAEB-49172E6205AE}"/>
                  </a:ext>
                </a:extLst>
              </p:cNvPr>
              <p:cNvSpPr/>
              <p:nvPr/>
            </p:nvSpPr>
            <p:spPr>
              <a:xfrm>
                <a:off x="6172331" y="5982323"/>
                <a:ext cx="22167" cy="1184"/>
              </a:xfrm>
              <a:custGeom>
                <a:avLst/>
                <a:gdLst>
                  <a:gd name="connsiteX0" fmla="*/ 0 w 22167"/>
                  <a:gd name="connsiteY0" fmla="*/ 0 h 1184"/>
                  <a:gd name="connsiteX1" fmla="*/ 22168 w 22167"/>
                  <a:gd name="connsiteY1" fmla="*/ 0 h 11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2167" h="1184">
                    <a:moveTo>
                      <a:pt x="0" y="0"/>
                    </a:moveTo>
                    <a:lnTo>
                      <a:pt x="22168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2022" name="Gráfico 17">
              <a:extLst>
                <a:ext uri="{FF2B5EF4-FFF2-40B4-BE49-F238E27FC236}">
                  <a16:creationId xmlns:a16="http://schemas.microsoft.com/office/drawing/2014/main" id="{1B8B268B-84D6-0D27-19DE-61A0F8AC20F7}"/>
                </a:ext>
              </a:extLst>
            </p:cNvPr>
            <p:cNvGrpSpPr/>
            <p:nvPr/>
          </p:nvGrpSpPr>
          <p:grpSpPr>
            <a:xfrm>
              <a:off x="6144704" y="5778930"/>
              <a:ext cx="184055" cy="134769"/>
              <a:chOff x="6144704" y="5778930"/>
              <a:chExt cx="184055" cy="134769"/>
            </a:xfrm>
          </p:grpSpPr>
          <p:sp>
            <p:nvSpPr>
              <p:cNvPr id="2023" name="Forma livre: Forma 2022">
                <a:extLst>
                  <a:ext uri="{FF2B5EF4-FFF2-40B4-BE49-F238E27FC236}">
                    <a16:creationId xmlns:a16="http://schemas.microsoft.com/office/drawing/2014/main" id="{07469936-50D3-1DBC-7DCD-C9188473497D}"/>
                  </a:ext>
                </a:extLst>
              </p:cNvPr>
              <p:cNvSpPr/>
              <p:nvPr/>
            </p:nvSpPr>
            <p:spPr>
              <a:xfrm>
                <a:off x="6144704" y="5778930"/>
                <a:ext cx="169821" cy="134769"/>
              </a:xfrm>
              <a:custGeom>
                <a:avLst/>
                <a:gdLst>
                  <a:gd name="connsiteX0" fmla="*/ 169821 w 169821"/>
                  <a:gd name="connsiteY0" fmla="*/ 95752 h 134769"/>
                  <a:gd name="connsiteX1" fmla="*/ 169821 w 169821"/>
                  <a:gd name="connsiteY1" fmla="*/ 117860 h 134769"/>
                  <a:gd name="connsiteX2" fmla="*/ 152900 w 169821"/>
                  <a:gd name="connsiteY2" fmla="*/ 134770 h 134769"/>
                  <a:gd name="connsiteX3" fmla="*/ 16922 w 169821"/>
                  <a:gd name="connsiteY3" fmla="*/ 134770 h 134769"/>
                  <a:gd name="connsiteX4" fmla="*/ 0 w 169821"/>
                  <a:gd name="connsiteY4" fmla="*/ 117860 h 134769"/>
                  <a:gd name="connsiteX5" fmla="*/ 0 w 169821"/>
                  <a:gd name="connsiteY5" fmla="*/ 16922 h 134769"/>
                  <a:gd name="connsiteX6" fmla="*/ 16922 w 169821"/>
                  <a:gd name="connsiteY6" fmla="*/ 0 h 134769"/>
                  <a:gd name="connsiteX7" fmla="*/ 152888 w 169821"/>
                  <a:gd name="connsiteY7" fmla="*/ 0 h 134769"/>
                  <a:gd name="connsiteX8" fmla="*/ 169810 w 169821"/>
                  <a:gd name="connsiteY8" fmla="*/ 16922 h 134769"/>
                  <a:gd name="connsiteX9" fmla="*/ 169810 w 169821"/>
                  <a:gd name="connsiteY9" fmla="*/ 20960 h 1347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69821" h="134769">
                    <a:moveTo>
                      <a:pt x="169821" y="95752"/>
                    </a:moveTo>
                    <a:lnTo>
                      <a:pt x="169821" y="117860"/>
                    </a:lnTo>
                    <a:cubicBezTo>
                      <a:pt x="169821" y="127168"/>
                      <a:pt x="162207" y="134770"/>
                      <a:pt x="152900" y="134770"/>
                    </a:cubicBezTo>
                    <a:lnTo>
                      <a:pt x="16922" y="134770"/>
                    </a:lnTo>
                    <a:cubicBezTo>
                      <a:pt x="7614" y="134770"/>
                      <a:pt x="0" y="127156"/>
                      <a:pt x="0" y="117860"/>
                    </a:cubicBezTo>
                    <a:lnTo>
                      <a:pt x="0" y="16922"/>
                    </a:lnTo>
                    <a:cubicBezTo>
                      <a:pt x="0" y="7614"/>
                      <a:pt x="7614" y="0"/>
                      <a:pt x="16922" y="0"/>
                    </a:cubicBezTo>
                    <a:lnTo>
                      <a:pt x="152888" y="0"/>
                    </a:lnTo>
                    <a:cubicBezTo>
                      <a:pt x="162195" y="0"/>
                      <a:pt x="169810" y="7614"/>
                      <a:pt x="169810" y="16922"/>
                    </a:cubicBezTo>
                    <a:lnTo>
                      <a:pt x="169810" y="2096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024" name="Forma livre: Forma 2023">
                <a:extLst>
                  <a:ext uri="{FF2B5EF4-FFF2-40B4-BE49-F238E27FC236}">
                    <a16:creationId xmlns:a16="http://schemas.microsoft.com/office/drawing/2014/main" id="{1813FF1B-624E-16C1-999E-71A7CA6E1A11}"/>
                  </a:ext>
                </a:extLst>
              </p:cNvPr>
              <p:cNvSpPr/>
              <p:nvPr/>
            </p:nvSpPr>
            <p:spPr>
              <a:xfrm>
                <a:off x="6261913" y="5843680"/>
                <a:ext cx="5281" cy="5269"/>
              </a:xfrm>
              <a:custGeom>
                <a:avLst/>
                <a:gdLst>
                  <a:gd name="connsiteX0" fmla="*/ 5281 w 5281"/>
                  <a:gd name="connsiteY0" fmla="*/ 2641 h 5269"/>
                  <a:gd name="connsiteX1" fmla="*/ 2641 w 5281"/>
                  <a:gd name="connsiteY1" fmla="*/ 5270 h 5269"/>
                  <a:gd name="connsiteX2" fmla="*/ 0 w 5281"/>
                  <a:gd name="connsiteY2" fmla="*/ 2641 h 5269"/>
                  <a:gd name="connsiteX3" fmla="*/ 2641 w 5281"/>
                  <a:gd name="connsiteY3" fmla="*/ 0 h 5269"/>
                  <a:gd name="connsiteX4" fmla="*/ 5281 w 5281"/>
                  <a:gd name="connsiteY4" fmla="*/ 2641 h 52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281" h="5269">
                    <a:moveTo>
                      <a:pt x="5281" y="2641"/>
                    </a:moveTo>
                    <a:cubicBezTo>
                      <a:pt x="5281" y="4097"/>
                      <a:pt x="4109" y="5270"/>
                      <a:pt x="2641" y="5270"/>
                    </a:cubicBezTo>
                    <a:cubicBezTo>
                      <a:pt x="1172" y="5270"/>
                      <a:pt x="0" y="4097"/>
                      <a:pt x="0" y="2641"/>
                    </a:cubicBezTo>
                    <a:cubicBezTo>
                      <a:pt x="0" y="1184"/>
                      <a:pt x="1184" y="0"/>
                      <a:pt x="2641" y="0"/>
                    </a:cubicBezTo>
                    <a:cubicBezTo>
                      <a:pt x="4097" y="0"/>
                      <a:pt x="5281" y="1172"/>
                      <a:pt x="5281" y="2641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025" name="Forma livre: Forma 2024">
                <a:extLst>
                  <a:ext uri="{FF2B5EF4-FFF2-40B4-BE49-F238E27FC236}">
                    <a16:creationId xmlns:a16="http://schemas.microsoft.com/office/drawing/2014/main" id="{DC027265-F747-AF22-E110-86BB3C7312B0}"/>
                  </a:ext>
                </a:extLst>
              </p:cNvPr>
              <p:cNvSpPr/>
              <p:nvPr/>
            </p:nvSpPr>
            <p:spPr>
              <a:xfrm>
                <a:off x="6237188" y="5818671"/>
                <a:ext cx="91571" cy="55265"/>
              </a:xfrm>
              <a:custGeom>
                <a:avLst/>
                <a:gdLst>
                  <a:gd name="connsiteX0" fmla="*/ 16922 w 91571"/>
                  <a:gd name="connsiteY0" fmla="*/ 55265 h 55265"/>
                  <a:gd name="connsiteX1" fmla="*/ 0 w 91571"/>
                  <a:gd name="connsiteY1" fmla="*/ 38355 h 55265"/>
                  <a:gd name="connsiteX2" fmla="*/ 0 w 91571"/>
                  <a:gd name="connsiteY2" fmla="*/ 16922 h 55265"/>
                  <a:gd name="connsiteX3" fmla="*/ 16922 w 91571"/>
                  <a:gd name="connsiteY3" fmla="*/ 0 h 55265"/>
                  <a:gd name="connsiteX4" fmla="*/ 91572 w 91571"/>
                  <a:gd name="connsiteY4" fmla="*/ 0 h 55265"/>
                  <a:gd name="connsiteX5" fmla="*/ 91572 w 91571"/>
                  <a:gd name="connsiteY5" fmla="*/ 55253 h 55265"/>
                  <a:gd name="connsiteX6" fmla="*/ 16922 w 91571"/>
                  <a:gd name="connsiteY6" fmla="*/ 55253 h 552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91571" h="55265">
                    <a:moveTo>
                      <a:pt x="16922" y="55265"/>
                    </a:moveTo>
                    <a:cubicBezTo>
                      <a:pt x="7614" y="55265"/>
                      <a:pt x="0" y="47663"/>
                      <a:pt x="0" y="38355"/>
                    </a:cubicBezTo>
                    <a:lnTo>
                      <a:pt x="0" y="16922"/>
                    </a:lnTo>
                    <a:cubicBezTo>
                      <a:pt x="0" y="7614"/>
                      <a:pt x="7614" y="0"/>
                      <a:pt x="16922" y="0"/>
                    </a:cubicBezTo>
                    <a:lnTo>
                      <a:pt x="91572" y="0"/>
                    </a:lnTo>
                    <a:lnTo>
                      <a:pt x="91572" y="55253"/>
                    </a:lnTo>
                    <a:lnTo>
                      <a:pt x="16922" y="55253"/>
                    </a:lnTo>
                    <a:close/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2026" name="Gráfico 17">
            <a:extLst>
              <a:ext uri="{FF2B5EF4-FFF2-40B4-BE49-F238E27FC236}">
                <a16:creationId xmlns:a16="http://schemas.microsoft.com/office/drawing/2014/main" id="{ED073BDF-281B-A3A4-EF4B-EEEFF2381D4D}"/>
              </a:ext>
            </a:extLst>
          </p:cNvPr>
          <p:cNvGrpSpPr/>
          <p:nvPr/>
        </p:nvGrpSpPr>
        <p:grpSpPr>
          <a:xfrm>
            <a:off x="6101920" y="5190446"/>
            <a:ext cx="179330" cy="294751"/>
            <a:chOff x="6101920" y="5190446"/>
            <a:chExt cx="179330" cy="294751"/>
          </a:xfrm>
          <a:noFill/>
        </p:grpSpPr>
        <p:grpSp>
          <p:nvGrpSpPr>
            <p:cNvPr id="2027" name="Gráfico 17">
              <a:extLst>
                <a:ext uri="{FF2B5EF4-FFF2-40B4-BE49-F238E27FC236}">
                  <a16:creationId xmlns:a16="http://schemas.microsoft.com/office/drawing/2014/main" id="{7C8C273F-8B10-E647-1E23-24E11906410A}"/>
                </a:ext>
              </a:extLst>
            </p:cNvPr>
            <p:cNvGrpSpPr/>
            <p:nvPr/>
          </p:nvGrpSpPr>
          <p:grpSpPr>
            <a:xfrm>
              <a:off x="6101920" y="5190446"/>
              <a:ext cx="163000" cy="294751"/>
              <a:chOff x="6101920" y="5190446"/>
              <a:chExt cx="163000" cy="294751"/>
            </a:xfrm>
            <a:noFill/>
          </p:grpSpPr>
          <p:sp>
            <p:nvSpPr>
              <p:cNvPr id="2028" name="Forma livre: Forma 2027">
                <a:extLst>
                  <a:ext uri="{FF2B5EF4-FFF2-40B4-BE49-F238E27FC236}">
                    <a16:creationId xmlns:a16="http://schemas.microsoft.com/office/drawing/2014/main" id="{6A8FDE59-7544-D804-9A0B-9F1565BFE321}"/>
                  </a:ext>
                </a:extLst>
              </p:cNvPr>
              <p:cNvSpPr/>
              <p:nvPr/>
            </p:nvSpPr>
            <p:spPr>
              <a:xfrm>
                <a:off x="6101920" y="5190446"/>
                <a:ext cx="163000" cy="294751"/>
              </a:xfrm>
              <a:custGeom>
                <a:avLst/>
                <a:gdLst>
                  <a:gd name="connsiteX0" fmla="*/ 162989 w 163000"/>
                  <a:gd name="connsiteY0" fmla="*/ 205832 h 294751"/>
                  <a:gd name="connsiteX1" fmla="*/ 162989 w 163000"/>
                  <a:gd name="connsiteY1" fmla="*/ 280991 h 294751"/>
                  <a:gd name="connsiteX2" fmla="*/ 149643 w 163000"/>
                  <a:gd name="connsiteY2" fmla="*/ 294751 h 294751"/>
                  <a:gd name="connsiteX3" fmla="*/ 13346 w 163000"/>
                  <a:gd name="connsiteY3" fmla="*/ 294751 h 294751"/>
                  <a:gd name="connsiteX4" fmla="*/ 0 w 163000"/>
                  <a:gd name="connsiteY4" fmla="*/ 280991 h 294751"/>
                  <a:gd name="connsiteX5" fmla="*/ 0 w 163000"/>
                  <a:gd name="connsiteY5" fmla="*/ 13334 h 294751"/>
                  <a:gd name="connsiteX6" fmla="*/ 13346 w 163000"/>
                  <a:gd name="connsiteY6" fmla="*/ 0 h 294751"/>
                  <a:gd name="connsiteX7" fmla="*/ 149655 w 163000"/>
                  <a:gd name="connsiteY7" fmla="*/ 0 h 294751"/>
                  <a:gd name="connsiteX8" fmla="*/ 163001 w 163000"/>
                  <a:gd name="connsiteY8" fmla="*/ 13334 h 294751"/>
                  <a:gd name="connsiteX9" fmla="*/ 163001 w 163000"/>
                  <a:gd name="connsiteY9" fmla="*/ 59066 h 2947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63000" h="294751">
                    <a:moveTo>
                      <a:pt x="162989" y="205832"/>
                    </a:moveTo>
                    <a:lnTo>
                      <a:pt x="162989" y="280991"/>
                    </a:lnTo>
                    <a:cubicBezTo>
                      <a:pt x="162989" y="288333"/>
                      <a:pt x="156985" y="294751"/>
                      <a:pt x="149643" y="294751"/>
                    </a:cubicBezTo>
                    <a:lnTo>
                      <a:pt x="13346" y="294751"/>
                    </a:lnTo>
                    <a:cubicBezTo>
                      <a:pt x="6004" y="294751"/>
                      <a:pt x="0" y="288333"/>
                      <a:pt x="0" y="280991"/>
                    </a:cubicBezTo>
                    <a:lnTo>
                      <a:pt x="0" y="13334"/>
                    </a:lnTo>
                    <a:cubicBezTo>
                      <a:pt x="0" y="5992"/>
                      <a:pt x="6004" y="0"/>
                      <a:pt x="13346" y="0"/>
                    </a:cubicBezTo>
                    <a:lnTo>
                      <a:pt x="149655" y="0"/>
                    </a:lnTo>
                    <a:cubicBezTo>
                      <a:pt x="156997" y="0"/>
                      <a:pt x="163001" y="5992"/>
                      <a:pt x="163001" y="13334"/>
                    </a:cubicBezTo>
                    <a:lnTo>
                      <a:pt x="163001" y="59066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029" name="Forma livre: Forma 2028">
                <a:extLst>
                  <a:ext uri="{FF2B5EF4-FFF2-40B4-BE49-F238E27FC236}">
                    <a16:creationId xmlns:a16="http://schemas.microsoft.com/office/drawing/2014/main" id="{F3072BB9-204D-CC62-417C-6348B69AB045}"/>
                  </a:ext>
                </a:extLst>
              </p:cNvPr>
              <p:cNvSpPr/>
              <p:nvPr/>
            </p:nvSpPr>
            <p:spPr>
              <a:xfrm>
                <a:off x="6172331" y="5455475"/>
                <a:ext cx="22167" cy="1184"/>
              </a:xfrm>
              <a:custGeom>
                <a:avLst/>
                <a:gdLst>
                  <a:gd name="connsiteX0" fmla="*/ 0 w 22167"/>
                  <a:gd name="connsiteY0" fmla="*/ 0 h 1184"/>
                  <a:gd name="connsiteX1" fmla="*/ 22168 w 22167"/>
                  <a:gd name="connsiteY1" fmla="*/ 0 h 11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2167" h="1184">
                    <a:moveTo>
                      <a:pt x="0" y="0"/>
                    </a:moveTo>
                    <a:lnTo>
                      <a:pt x="22168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2030" name="Forma livre: Forma 2029">
              <a:extLst>
                <a:ext uri="{FF2B5EF4-FFF2-40B4-BE49-F238E27FC236}">
                  <a16:creationId xmlns:a16="http://schemas.microsoft.com/office/drawing/2014/main" id="{66596C2C-1CFB-EEFA-9573-65E0D9EA87AB}"/>
                </a:ext>
              </a:extLst>
            </p:cNvPr>
            <p:cNvSpPr/>
            <p:nvPr/>
          </p:nvSpPr>
          <p:spPr>
            <a:xfrm>
              <a:off x="6193764" y="5389268"/>
              <a:ext cx="42535" cy="18070"/>
            </a:xfrm>
            <a:custGeom>
              <a:avLst/>
              <a:gdLst>
                <a:gd name="connsiteX0" fmla="*/ 42535 w 42535"/>
                <a:gd name="connsiteY0" fmla="*/ 0 h 18070"/>
                <a:gd name="connsiteX1" fmla="*/ 21268 w 42535"/>
                <a:gd name="connsiteY1" fmla="*/ 18070 h 18070"/>
                <a:gd name="connsiteX2" fmla="*/ 0 w 42535"/>
                <a:gd name="connsiteY2" fmla="*/ 12 h 180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2535" h="18070">
                  <a:moveTo>
                    <a:pt x="42535" y="0"/>
                  </a:moveTo>
                  <a:cubicBezTo>
                    <a:pt x="40866" y="10243"/>
                    <a:pt x="31984" y="18070"/>
                    <a:pt x="21268" y="18070"/>
                  </a:cubicBezTo>
                  <a:cubicBezTo>
                    <a:pt x="10551" y="18070"/>
                    <a:pt x="1670" y="10255"/>
                    <a:pt x="0" y="12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31" name="Forma livre: Forma 2030">
              <a:extLst>
                <a:ext uri="{FF2B5EF4-FFF2-40B4-BE49-F238E27FC236}">
                  <a16:creationId xmlns:a16="http://schemas.microsoft.com/office/drawing/2014/main" id="{63D8C63C-E9E7-2591-AC96-5181FD5EB5E5}"/>
                </a:ext>
              </a:extLst>
            </p:cNvPr>
            <p:cNvSpPr/>
            <p:nvPr/>
          </p:nvSpPr>
          <p:spPr>
            <a:xfrm>
              <a:off x="6148837" y="5228967"/>
              <a:ext cx="132413" cy="145617"/>
            </a:xfrm>
            <a:custGeom>
              <a:avLst/>
              <a:gdLst>
                <a:gd name="connsiteX0" fmla="*/ 104124 w 132413"/>
                <a:gd name="connsiteY0" fmla="*/ 64170 h 145617"/>
                <a:gd name="connsiteX1" fmla="*/ 81115 w 132413"/>
                <a:gd name="connsiteY1" fmla="*/ 27852 h 145617"/>
                <a:gd name="connsiteX2" fmla="*/ 77480 w 132413"/>
                <a:gd name="connsiteY2" fmla="*/ 26916 h 145617"/>
                <a:gd name="connsiteX3" fmla="*/ 82027 w 132413"/>
                <a:gd name="connsiteY3" fmla="*/ 15832 h 145617"/>
                <a:gd name="connsiteX4" fmla="*/ 66195 w 132413"/>
                <a:gd name="connsiteY4" fmla="*/ 0 h 145617"/>
                <a:gd name="connsiteX5" fmla="*/ 50363 w 132413"/>
                <a:gd name="connsiteY5" fmla="*/ 15832 h 145617"/>
                <a:gd name="connsiteX6" fmla="*/ 54910 w 132413"/>
                <a:gd name="connsiteY6" fmla="*/ 26916 h 145617"/>
                <a:gd name="connsiteX7" fmla="*/ 51286 w 132413"/>
                <a:gd name="connsiteY7" fmla="*/ 27852 h 145617"/>
                <a:gd name="connsiteX8" fmla="*/ 28278 w 132413"/>
                <a:gd name="connsiteY8" fmla="*/ 64170 h 145617"/>
                <a:gd name="connsiteX9" fmla="*/ 0 w 132413"/>
                <a:gd name="connsiteY9" fmla="*/ 119992 h 145617"/>
                <a:gd name="connsiteX10" fmla="*/ 0 w 132413"/>
                <a:gd name="connsiteY10" fmla="*/ 145617 h 145617"/>
                <a:gd name="connsiteX11" fmla="*/ 132414 w 132413"/>
                <a:gd name="connsiteY11" fmla="*/ 145617 h 145617"/>
                <a:gd name="connsiteX12" fmla="*/ 132414 w 132413"/>
                <a:gd name="connsiteY12" fmla="*/ 119992 h 145617"/>
                <a:gd name="connsiteX13" fmla="*/ 104136 w 132413"/>
                <a:gd name="connsiteY13" fmla="*/ 64170 h 1456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32413" h="145617">
                  <a:moveTo>
                    <a:pt x="104124" y="64170"/>
                  </a:moveTo>
                  <a:cubicBezTo>
                    <a:pt x="104124" y="64170"/>
                    <a:pt x="105261" y="35750"/>
                    <a:pt x="81115" y="27852"/>
                  </a:cubicBezTo>
                  <a:cubicBezTo>
                    <a:pt x="80156" y="27532"/>
                    <a:pt x="78877" y="27212"/>
                    <a:pt x="77480" y="26916"/>
                  </a:cubicBezTo>
                  <a:cubicBezTo>
                    <a:pt x="80287" y="24062"/>
                    <a:pt x="82027" y="20155"/>
                    <a:pt x="82027" y="15832"/>
                  </a:cubicBezTo>
                  <a:cubicBezTo>
                    <a:pt x="82027" y="7093"/>
                    <a:pt x="74934" y="0"/>
                    <a:pt x="66195" y="0"/>
                  </a:cubicBezTo>
                  <a:cubicBezTo>
                    <a:pt x="57456" y="0"/>
                    <a:pt x="50363" y="7093"/>
                    <a:pt x="50363" y="15832"/>
                  </a:cubicBezTo>
                  <a:cubicBezTo>
                    <a:pt x="50363" y="20143"/>
                    <a:pt x="52103" y="24062"/>
                    <a:pt x="54910" y="26916"/>
                  </a:cubicBezTo>
                  <a:cubicBezTo>
                    <a:pt x="53513" y="27224"/>
                    <a:pt x="52245" y="27544"/>
                    <a:pt x="51286" y="27852"/>
                  </a:cubicBezTo>
                  <a:cubicBezTo>
                    <a:pt x="27129" y="35750"/>
                    <a:pt x="28278" y="64170"/>
                    <a:pt x="28278" y="64170"/>
                  </a:cubicBezTo>
                  <a:cubicBezTo>
                    <a:pt x="28278" y="105355"/>
                    <a:pt x="0" y="119992"/>
                    <a:pt x="0" y="119992"/>
                  </a:cubicBezTo>
                  <a:lnTo>
                    <a:pt x="0" y="145617"/>
                  </a:lnTo>
                  <a:lnTo>
                    <a:pt x="132414" y="145617"/>
                  </a:lnTo>
                  <a:lnTo>
                    <a:pt x="132414" y="119992"/>
                  </a:lnTo>
                  <a:cubicBezTo>
                    <a:pt x="132414" y="119992"/>
                    <a:pt x="104136" y="105355"/>
                    <a:pt x="104136" y="64170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32" name="Forma livre: Forma 2031">
              <a:extLst>
                <a:ext uri="{FF2B5EF4-FFF2-40B4-BE49-F238E27FC236}">
                  <a16:creationId xmlns:a16="http://schemas.microsoft.com/office/drawing/2014/main" id="{7230B5EF-1FC3-9AC0-38B8-E0A292A13CE0}"/>
                </a:ext>
              </a:extLst>
            </p:cNvPr>
            <p:cNvSpPr/>
            <p:nvPr/>
          </p:nvSpPr>
          <p:spPr>
            <a:xfrm>
              <a:off x="6181721" y="5349137"/>
              <a:ext cx="96947" cy="1184"/>
            </a:xfrm>
            <a:custGeom>
              <a:avLst/>
              <a:gdLst>
                <a:gd name="connsiteX0" fmla="*/ 0 w 96947"/>
                <a:gd name="connsiteY0" fmla="*/ 0 h 1184"/>
                <a:gd name="connsiteX1" fmla="*/ 96948 w 96947"/>
                <a:gd name="connsiteY1" fmla="*/ 0 h 11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6947" h="1184">
                  <a:moveTo>
                    <a:pt x="0" y="0"/>
                  </a:moveTo>
                  <a:lnTo>
                    <a:pt x="96948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2033" name="Gráfico 17">
            <a:extLst>
              <a:ext uri="{FF2B5EF4-FFF2-40B4-BE49-F238E27FC236}">
                <a16:creationId xmlns:a16="http://schemas.microsoft.com/office/drawing/2014/main" id="{B8FEB708-F38A-44EC-3E43-F6541C65B94F}"/>
              </a:ext>
            </a:extLst>
          </p:cNvPr>
          <p:cNvGrpSpPr/>
          <p:nvPr/>
        </p:nvGrpSpPr>
        <p:grpSpPr>
          <a:xfrm>
            <a:off x="6732039" y="3609938"/>
            <a:ext cx="202018" cy="294751"/>
            <a:chOff x="6732039" y="3609938"/>
            <a:chExt cx="202018" cy="294751"/>
          </a:xfrm>
        </p:grpSpPr>
        <p:grpSp>
          <p:nvGrpSpPr>
            <p:cNvPr id="2034" name="Gráfico 17">
              <a:extLst>
                <a:ext uri="{FF2B5EF4-FFF2-40B4-BE49-F238E27FC236}">
                  <a16:creationId xmlns:a16="http://schemas.microsoft.com/office/drawing/2014/main" id="{29EB19A0-CA71-C83C-C5AA-28036ACE5ABE}"/>
                </a:ext>
              </a:extLst>
            </p:cNvPr>
            <p:cNvGrpSpPr/>
            <p:nvPr/>
          </p:nvGrpSpPr>
          <p:grpSpPr>
            <a:xfrm>
              <a:off x="6732039" y="3609938"/>
              <a:ext cx="163000" cy="294751"/>
              <a:chOff x="6732039" y="3609938"/>
              <a:chExt cx="163000" cy="294751"/>
            </a:xfrm>
            <a:noFill/>
          </p:grpSpPr>
          <p:sp>
            <p:nvSpPr>
              <p:cNvPr id="2035" name="Forma livre: Forma 2034">
                <a:extLst>
                  <a:ext uri="{FF2B5EF4-FFF2-40B4-BE49-F238E27FC236}">
                    <a16:creationId xmlns:a16="http://schemas.microsoft.com/office/drawing/2014/main" id="{F3F9AFE6-FF9D-E17E-912A-1F20F9EC04F2}"/>
                  </a:ext>
                </a:extLst>
              </p:cNvPr>
              <p:cNvSpPr/>
              <p:nvPr/>
            </p:nvSpPr>
            <p:spPr>
              <a:xfrm>
                <a:off x="6732039" y="3609938"/>
                <a:ext cx="163000" cy="294751"/>
              </a:xfrm>
              <a:custGeom>
                <a:avLst/>
                <a:gdLst>
                  <a:gd name="connsiteX0" fmla="*/ 163001 w 163000"/>
                  <a:gd name="connsiteY0" fmla="*/ 179046 h 294751"/>
                  <a:gd name="connsiteX1" fmla="*/ 163001 w 163000"/>
                  <a:gd name="connsiteY1" fmla="*/ 280991 h 294751"/>
                  <a:gd name="connsiteX2" fmla="*/ 149655 w 163000"/>
                  <a:gd name="connsiteY2" fmla="*/ 294751 h 294751"/>
                  <a:gd name="connsiteX3" fmla="*/ 13346 w 163000"/>
                  <a:gd name="connsiteY3" fmla="*/ 294751 h 294751"/>
                  <a:gd name="connsiteX4" fmla="*/ 0 w 163000"/>
                  <a:gd name="connsiteY4" fmla="*/ 280991 h 294751"/>
                  <a:gd name="connsiteX5" fmla="*/ 0 w 163000"/>
                  <a:gd name="connsiteY5" fmla="*/ 13334 h 294751"/>
                  <a:gd name="connsiteX6" fmla="*/ 13346 w 163000"/>
                  <a:gd name="connsiteY6" fmla="*/ 0 h 294751"/>
                  <a:gd name="connsiteX7" fmla="*/ 149655 w 163000"/>
                  <a:gd name="connsiteY7" fmla="*/ 0 h 294751"/>
                  <a:gd name="connsiteX8" fmla="*/ 163001 w 163000"/>
                  <a:gd name="connsiteY8" fmla="*/ 13334 h 294751"/>
                  <a:gd name="connsiteX9" fmla="*/ 163001 w 163000"/>
                  <a:gd name="connsiteY9" fmla="*/ 50765 h 2947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63000" h="294751">
                    <a:moveTo>
                      <a:pt x="163001" y="179046"/>
                    </a:moveTo>
                    <a:lnTo>
                      <a:pt x="163001" y="280991"/>
                    </a:lnTo>
                    <a:cubicBezTo>
                      <a:pt x="163001" y="288333"/>
                      <a:pt x="156997" y="294751"/>
                      <a:pt x="149655" y="294751"/>
                    </a:cubicBezTo>
                    <a:lnTo>
                      <a:pt x="13346" y="294751"/>
                    </a:lnTo>
                    <a:cubicBezTo>
                      <a:pt x="6004" y="294751"/>
                      <a:pt x="0" y="288333"/>
                      <a:pt x="0" y="280991"/>
                    </a:cubicBezTo>
                    <a:lnTo>
                      <a:pt x="0" y="13334"/>
                    </a:lnTo>
                    <a:cubicBezTo>
                      <a:pt x="0" y="5992"/>
                      <a:pt x="6004" y="0"/>
                      <a:pt x="13346" y="0"/>
                    </a:cubicBezTo>
                    <a:lnTo>
                      <a:pt x="149655" y="0"/>
                    </a:lnTo>
                    <a:cubicBezTo>
                      <a:pt x="156997" y="0"/>
                      <a:pt x="163001" y="5992"/>
                      <a:pt x="163001" y="13334"/>
                    </a:cubicBezTo>
                    <a:lnTo>
                      <a:pt x="163001" y="50765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036" name="Forma livre: Forma 2035">
                <a:extLst>
                  <a:ext uri="{FF2B5EF4-FFF2-40B4-BE49-F238E27FC236}">
                    <a16:creationId xmlns:a16="http://schemas.microsoft.com/office/drawing/2014/main" id="{B900DAB5-4006-41D4-6151-910041AD656F}"/>
                  </a:ext>
                </a:extLst>
              </p:cNvPr>
              <p:cNvSpPr/>
              <p:nvPr/>
            </p:nvSpPr>
            <p:spPr>
              <a:xfrm>
                <a:off x="6802462" y="3874967"/>
                <a:ext cx="22167" cy="1184"/>
              </a:xfrm>
              <a:custGeom>
                <a:avLst/>
                <a:gdLst>
                  <a:gd name="connsiteX0" fmla="*/ 0 w 22167"/>
                  <a:gd name="connsiteY0" fmla="*/ 0 h 1184"/>
                  <a:gd name="connsiteX1" fmla="*/ 22168 w 22167"/>
                  <a:gd name="connsiteY1" fmla="*/ 0 h 11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2167" h="1184">
                    <a:moveTo>
                      <a:pt x="0" y="0"/>
                    </a:moveTo>
                    <a:lnTo>
                      <a:pt x="22168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2037" name="Gráfico 17">
              <a:extLst>
                <a:ext uri="{FF2B5EF4-FFF2-40B4-BE49-F238E27FC236}">
                  <a16:creationId xmlns:a16="http://schemas.microsoft.com/office/drawing/2014/main" id="{17197E31-F11E-CCA1-1812-06DAB634E594}"/>
                </a:ext>
              </a:extLst>
            </p:cNvPr>
            <p:cNvGrpSpPr/>
            <p:nvPr/>
          </p:nvGrpSpPr>
          <p:grpSpPr>
            <a:xfrm>
              <a:off x="6769873" y="3677270"/>
              <a:ext cx="164184" cy="123449"/>
              <a:chOff x="6769873" y="3677270"/>
              <a:chExt cx="164184" cy="123449"/>
            </a:xfrm>
          </p:grpSpPr>
          <p:sp>
            <p:nvSpPr>
              <p:cNvPr id="2038" name="Forma livre: Forma 2037">
                <a:extLst>
                  <a:ext uri="{FF2B5EF4-FFF2-40B4-BE49-F238E27FC236}">
                    <a16:creationId xmlns:a16="http://schemas.microsoft.com/office/drawing/2014/main" id="{47B128E6-6327-EFDC-63DB-2229C287F608}"/>
                  </a:ext>
                </a:extLst>
              </p:cNvPr>
              <p:cNvSpPr/>
              <p:nvPr/>
            </p:nvSpPr>
            <p:spPr>
              <a:xfrm>
                <a:off x="6847365" y="3791530"/>
                <a:ext cx="9189" cy="9189"/>
              </a:xfrm>
              <a:custGeom>
                <a:avLst/>
                <a:gdLst>
                  <a:gd name="connsiteX0" fmla="*/ 9189 w 9189"/>
                  <a:gd name="connsiteY0" fmla="*/ 4595 h 9189"/>
                  <a:gd name="connsiteX1" fmla="*/ 4595 w 9189"/>
                  <a:gd name="connsiteY1" fmla="*/ 9189 h 9189"/>
                  <a:gd name="connsiteX2" fmla="*/ 0 w 9189"/>
                  <a:gd name="connsiteY2" fmla="*/ 4583 h 9189"/>
                  <a:gd name="connsiteX3" fmla="*/ 4595 w 9189"/>
                  <a:gd name="connsiteY3" fmla="*/ 0 h 9189"/>
                  <a:gd name="connsiteX4" fmla="*/ 9189 w 9189"/>
                  <a:gd name="connsiteY4" fmla="*/ 4595 h 91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9189" h="9189">
                    <a:moveTo>
                      <a:pt x="9189" y="4595"/>
                    </a:moveTo>
                    <a:cubicBezTo>
                      <a:pt x="9189" y="7141"/>
                      <a:pt x="7140" y="9189"/>
                      <a:pt x="4595" y="9189"/>
                    </a:cubicBezTo>
                    <a:cubicBezTo>
                      <a:pt x="2049" y="9189"/>
                      <a:pt x="0" y="7141"/>
                      <a:pt x="0" y="4583"/>
                    </a:cubicBezTo>
                    <a:cubicBezTo>
                      <a:pt x="0" y="2025"/>
                      <a:pt x="2060" y="0"/>
                      <a:pt x="4595" y="0"/>
                    </a:cubicBezTo>
                    <a:cubicBezTo>
                      <a:pt x="7129" y="0"/>
                      <a:pt x="9189" y="2049"/>
                      <a:pt x="9189" y="4595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2039" name="Gráfico 17">
                <a:extLst>
                  <a:ext uri="{FF2B5EF4-FFF2-40B4-BE49-F238E27FC236}">
                    <a16:creationId xmlns:a16="http://schemas.microsoft.com/office/drawing/2014/main" id="{50DA1B06-26F5-86B1-0A22-165000EB4C2C}"/>
                  </a:ext>
                </a:extLst>
              </p:cNvPr>
              <p:cNvGrpSpPr/>
              <p:nvPr/>
            </p:nvGrpSpPr>
            <p:grpSpPr>
              <a:xfrm>
                <a:off x="6769873" y="3677270"/>
                <a:ext cx="164184" cy="91062"/>
                <a:chOff x="6769873" y="3677270"/>
                <a:chExt cx="164184" cy="91062"/>
              </a:xfrm>
              <a:noFill/>
            </p:grpSpPr>
            <p:sp>
              <p:nvSpPr>
                <p:cNvPr id="2040" name="Forma livre: Forma 2039">
                  <a:extLst>
                    <a:ext uri="{FF2B5EF4-FFF2-40B4-BE49-F238E27FC236}">
                      <a16:creationId xmlns:a16="http://schemas.microsoft.com/office/drawing/2014/main" id="{9E91557A-A5F4-933B-BDF7-3D1273417C44}"/>
                    </a:ext>
                  </a:extLst>
                </p:cNvPr>
                <p:cNvSpPr/>
                <p:nvPr/>
              </p:nvSpPr>
              <p:spPr>
                <a:xfrm>
                  <a:off x="6769873" y="3677270"/>
                  <a:ext cx="164184" cy="33109"/>
                </a:xfrm>
                <a:custGeom>
                  <a:avLst/>
                  <a:gdLst>
                    <a:gd name="connsiteX0" fmla="*/ 164185 w 164184"/>
                    <a:gd name="connsiteY0" fmla="*/ 33109 h 33109"/>
                    <a:gd name="connsiteX1" fmla="*/ 82086 w 164184"/>
                    <a:gd name="connsiteY1" fmla="*/ 0 h 33109"/>
                    <a:gd name="connsiteX2" fmla="*/ 0 w 164184"/>
                    <a:gd name="connsiteY2" fmla="*/ 33109 h 3310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64184" h="33109">
                      <a:moveTo>
                        <a:pt x="164185" y="33109"/>
                      </a:moveTo>
                      <a:cubicBezTo>
                        <a:pt x="142822" y="12659"/>
                        <a:pt x="113929" y="0"/>
                        <a:pt x="82086" y="0"/>
                      </a:cubicBezTo>
                      <a:cubicBezTo>
                        <a:pt x="50244" y="0"/>
                        <a:pt x="21350" y="12659"/>
                        <a:pt x="0" y="33109"/>
                      </a:cubicBez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041" name="Forma livre: Forma 2040">
                  <a:extLst>
                    <a:ext uri="{FF2B5EF4-FFF2-40B4-BE49-F238E27FC236}">
                      <a16:creationId xmlns:a16="http://schemas.microsoft.com/office/drawing/2014/main" id="{C5869929-5117-575E-FA6D-D4BA63824E3C}"/>
                    </a:ext>
                  </a:extLst>
                </p:cNvPr>
                <p:cNvSpPr/>
                <p:nvPr/>
              </p:nvSpPr>
              <p:spPr>
                <a:xfrm>
                  <a:off x="6792953" y="3714038"/>
                  <a:ext cx="118025" cy="25187"/>
                </a:xfrm>
                <a:custGeom>
                  <a:avLst/>
                  <a:gdLst>
                    <a:gd name="connsiteX0" fmla="*/ 118026 w 118025"/>
                    <a:gd name="connsiteY0" fmla="*/ 25187 h 25187"/>
                    <a:gd name="connsiteX1" fmla="*/ 59007 w 118025"/>
                    <a:gd name="connsiteY1" fmla="*/ 0 h 25187"/>
                    <a:gd name="connsiteX2" fmla="*/ 0 w 118025"/>
                    <a:gd name="connsiteY2" fmla="*/ 25187 h 251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18025" h="25187">
                      <a:moveTo>
                        <a:pt x="118026" y="25187"/>
                      </a:moveTo>
                      <a:cubicBezTo>
                        <a:pt x="103094" y="9698"/>
                        <a:pt x="82181" y="0"/>
                        <a:pt x="59007" y="0"/>
                      </a:cubicBezTo>
                      <a:cubicBezTo>
                        <a:pt x="35845" y="0"/>
                        <a:pt x="14932" y="9698"/>
                        <a:pt x="0" y="25187"/>
                      </a:cubicBez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042" name="Forma livre: Forma 2041">
                  <a:extLst>
                    <a:ext uri="{FF2B5EF4-FFF2-40B4-BE49-F238E27FC236}">
                      <a16:creationId xmlns:a16="http://schemas.microsoft.com/office/drawing/2014/main" id="{BEBCE9BA-F947-2DA7-5533-64078BC2B1A1}"/>
                    </a:ext>
                  </a:extLst>
                </p:cNvPr>
                <p:cNvSpPr/>
                <p:nvPr/>
              </p:nvSpPr>
              <p:spPr>
                <a:xfrm>
                  <a:off x="6816233" y="3750819"/>
                  <a:ext cx="71428" cy="17513"/>
                </a:xfrm>
                <a:custGeom>
                  <a:avLst/>
                  <a:gdLst>
                    <a:gd name="connsiteX0" fmla="*/ 0 w 71428"/>
                    <a:gd name="connsiteY0" fmla="*/ 17514 h 17513"/>
                    <a:gd name="connsiteX1" fmla="*/ 35715 w 71428"/>
                    <a:gd name="connsiteY1" fmla="*/ 0 h 17513"/>
                    <a:gd name="connsiteX2" fmla="*/ 71429 w 71428"/>
                    <a:gd name="connsiteY2" fmla="*/ 17514 h 1751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71428" h="17513">
                      <a:moveTo>
                        <a:pt x="0" y="17514"/>
                      </a:moveTo>
                      <a:cubicBezTo>
                        <a:pt x="8289" y="6880"/>
                        <a:pt x="21197" y="0"/>
                        <a:pt x="35715" y="0"/>
                      </a:cubicBezTo>
                      <a:cubicBezTo>
                        <a:pt x="50232" y="0"/>
                        <a:pt x="63152" y="6880"/>
                        <a:pt x="71429" y="17514"/>
                      </a:cubicBez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</p:grpSp>
      <p:grpSp>
        <p:nvGrpSpPr>
          <p:cNvPr id="2043" name="Gráfico 17">
            <a:extLst>
              <a:ext uri="{FF2B5EF4-FFF2-40B4-BE49-F238E27FC236}">
                <a16:creationId xmlns:a16="http://schemas.microsoft.com/office/drawing/2014/main" id="{5BB63E00-AE22-6BF4-B924-FA080E30717C}"/>
              </a:ext>
            </a:extLst>
          </p:cNvPr>
          <p:cNvGrpSpPr/>
          <p:nvPr/>
        </p:nvGrpSpPr>
        <p:grpSpPr>
          <a:xfrm>
            <a:off x="6732039" y="4136774"/>
            <a:ext cx="201414" cy="294751"/>
            <a:chOff x="6732039" y="4136774"/>
            <a:chExt cx="201414" cy="294751"/>
          </a:xfrm>
        </p:grpSpPr>
        <p:grpSp>
          <p:nvGrpSpPr>
            <p:cNvPr id="2044" name="Gráfico 17">
              <a:extLst>
                <a:ext uri="{FF2B5EF4-FFF2-40B4-BE49-F238E27FC236}">
                  <a16:creationId xmlns:a16="http://schemas.microsoft.com/office/drawing/2014/main" id="{7C82E5A2-8F79-BD20-ED27-B5DA4ADCFADA}"/>
                </a:ext>
              </a:extLst>
            </p:cNvPr>
            <p:cNvGrpSpPr/>
            <p:nvPr/>
          </p:nvGrpSpPr>
          <p:grpSpPr>
            <a:xfrm>
              <a:off x="6732039" y="4136774"/>
              <a:ext cx="163000" cy="294751"/>
              <a:chOff x="6732039" y="4136774"/>
              <a:chExt cx="163000" cy="294751"/>
            </a:xfrm>
            <a:noFill/>
          </p:grpSpPr>
          <p:sp>
            <p:nvSpPr>
              <p:cNvPr id="2045" name="Forma livre: Forma 2044">
                <a:extLst>
                  <a:ext uri="{FF2B5EF4-FFF2-40B4-BE49-F238E27FC236}">
                    <a16:creationId xmlns:a16="http://schemas.microsoft.com/office/drawing/2014/main" id="{E74707DE-A56C-1CD0-164F-EF6E7AC89B86}"/>
                  </a:ext>
                </a:extLst>
              </p:cNvPr>
              <p:cNvSpPr/>
              <p:nvPr/>
            </p:nvSpPr>
            <p:spPr>
              <a:xfrm>
                <a:off x="6732039" y="4136774"/>
                <a:ext cx="163000" cy="294751"/>
              </a:xfrm>
              <a:custGeom>
                <a:avLst/>
                <a:gdLst>
                  <a:gd name="connsiteX0" fmla="*/ 163001 w 163000"/>
                  <a:gd name="connsiteY0" fmla="*/ 227704 h 294751"/>
                  <a:gd name="connsiteX1" fmla="*/ 163001 w 163000"/>
                  <a:gd name="connsiteY1" fmla="*/ 280991 h 294751"/>
                  <a:gd name="connsiteX2" fmla="*/ 149655 w 163000"/>
                  <a:gd name="connsiteY2" fmla="*/ 294751 h 294751"/>
                  <a:gd name="connsiteX3" fmla="*/ 13346 w 163000"/>
                  <a:gd name="connsiteY3" fmla="*/ 294751 h 294751"/>
                  <a:gd name="connsiteX4" fmla="*/ 0 w 163000"/>
                  <a:gd name="connsiteY4" fmla="*/ 280991 h 294751"/>
                  <a:gd name="connsiteX5" fmla="*/ 0 w 163000"/>
                  <a:gd name="connsiteY5" fmla="*/ 13334 h 294751"/>
                  <a:gd name="connsiteX6" fmla="*/ 13346 w 163000"/>
                  <a:gd name="connsiteY6" fmla="*/ 0 h 294751"/>
                  <a:gd name="connsiteX7" fmla="*/ 149655 w 163000"/>
                  <a:gd name="connsiteY7" fmla="*/ 0 h 294751"/>
                  <a:gd name="connsiteX8" fmla="*/ 163001 w 163000"/>
                  <a:gd name="connsiteY8" fmla="*/ 13334 h 294751"/>
                  <a:gd name="connsiteX9" fmla="*/ 163001 w 163000"/>
                  <a:gd name="connsiteY9" fmla="*/ 39374 h 2947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63000" h="294751">
                    <a:moveTo>
                      <a:pt x="163001" y="227704"/>
                    </a:moveTo>
                    <a:lnTo>
                      <a:pt x="163001" y="280991"/>
                    </a:lnTo>
                    <a:cubicBezTo>
                      <a:pt x="163001" y="288333"/>
                      <a:pt x="156997" y="294751"/>
                      <a:pt x="149655" y="294751"/>
                    </a:cubicBezTo>
                    <a:lnTo>
                      <a:pt x="13346" y="294751"/>
                    </a:lnTo>
                    <a:cubicBezTo>
                      <a:pt x="6004" y="294751"/>
                      <a:pt x="0" y="288333"/>
                      <a:pt x="0" y="280991"/>
                    </a:cubicBezTo>
                    <a:lnTo>
                      <a:pt x="0" y="13334"/>
                    </a:lnTo>
                    <a:cubicBezTo>
                      <a:pt x="0" y="5992"/>
                      <a:pt x="6004" y="0"/>
                      <a:pt x="13346" y="0"/>
                    </a:cubicBezTo>
                    <a:lnTo>
                      <a:pt x="149655" y="0"/>
                    </a:lnTo>
                    <a:cubicBezTo>
                      <a:pt x="156997" y="0"/>
                      <a:pt x="163001" y="5992"/>
                      <a:pt x="163001" y="13334"/>
                    </a:cubicBezTo>
                    <a:lnTo>
                      <a:pt x="163001" y="39374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046" name="Forma livre: Forma 2045">
                <a:extLst>
                  <a:ext uri="{FF2B5EF4-FFF2-40B4-BE49-F238E27FC236}">
                    <a16:creationId xmlns:a16="http://schemas.microsoft.com/office/drawing/2014/main" id="{FD3A5D95-2966-E6AA-8346-7C54528F1491}"/>
                  </a:ext>
                </a:extLst>
              </p:cNvPr>
              <p:cNvSpPr/>
              <p:nvPr/>
            </p:nvSpPr>
            <p:spPr>
              <a:xfrm>
                <a:off x="6802462" y="4401803"/>
                <a:ext cx="22167" cy="1184"/>
              </a:xfrm>
              <a:custGeom>
                <a:avLst/>
                <a:gdLst>
                  <a:gd name="connsiteX0" fmla="*/ 0 w 22167"/>
                  <a:gd name="connsiteY0" fmla="*/ 0 h 1184"/>
                  <a:gd name="connsiteX1" fmla="*/ 22168 w 22167"/>
                  <a:gd name="connsiteY1" fmla="*/ 0 h 11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2167" h="1184">
                    <a:moveTo>
                      <a:pt x="0" y="0"/>
                    </a:moveTo>
                    <a:lnTo>
                      <a:pt x="22168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2047" name="Forma livre: Forma 2046">
              <a:extLst>
                <a:ext uri="{FF2B5EF4-FFF2-40B4-BE49-F238E27FC236}">
                  <a16:creationId xmlns:a16="http://schemas.microsoft.com/office/drawing/2014/main" id="{52E0FE13-597E-852C-07E6-A54776E7B419}"/>
                </a:ext>
              </a:extLst>
            </p:cNvPr>
            <p:cNvSpPr/>
            <p:nvPr/>
          </p:nvSpPr>
          <p:spPr>
            <a:xfrm>
              <a:off x="6851249" y="4323032"/>
              <a:ext cx="4736" cy="4736"/>
            </a:xfrm>
            <a:custGeom>
              <a:avLst/>
              <a:gdLst>
                <a:gd name="connsiteX0" fmla="*/ 4737 w 4736"/>
                <a:gd name="connsiteY0" fmla="*/ 2368 h 4736"/>
                <a:gd name="connsiteX1" fmla="*/ 2368 w 4736"/>
                <a:gd name="connsiteY1" fmla="*/ 4737 h 4736"/>
                <a:gd name="connsiteX2" fmla="*/ 0 w 4736"/>
                <a:gd name="connsiteY2" fmla="*/ 2368 h 4736"/>
                <a:gd name="connsiteX3" fmla="*/ 2368 w 4736"/>
                <a:gd name="connsiteY3" fmla="*/ 0 h 4736"/>
                <a:gd name="connsiteX4" fmla="*/ 4737 w 4736"/>
                <a:gd name="connsiteY4" fmla="*/ 2368 h 47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736" h="4736">
                  <a:moveTo>
                    <a:pt x="4737" y="2368"/>
                  </a:moveTo>
                  <a:cubicBezTo>
                    <a:pt x="4737" y="3683"/>
                    <a:pt x="3683" y="4737"/>
                    <a:pt x="2368" y="4737"/>
                  </a:cubicBezTo>
                  <a:cubicBezTo>
                    <a:pt x="1054" y="4737"/>
                    <a:pt x="0" y="3683"/>
                    <a:pt x="0" y="2368"/>
                  </a:cubicBezTo>
                  <a:cubicBezTo>
                    <a:pt x="0" y="1042"/>
                    <a:pt x="1066" y="0"/>
                    <a:pt x="2368" y="0"/>
                  </a:cubicBezTo>
                  <a:cubicBezTo>
                    <a:pt x="3671" y="0"/>
                    <a:pt x="4737" y="1054"/>
                    <a:pt x="4737" y="2368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48" name="Forma livre: Forma 2047">
              <a:extLst>
                <a:ext uri="{FF2B5EF4-FFF2-40B4-BE49-F238E27FC236}">
                  <a16:creationId xmlns:a16="http://schemas.microsoft.com/office/drawing/2014/main" id="{F925EC43-98E0-8BC8-AD10-3A9C74EA65BC}"/>
                </a:ext>
              </a:extLst>
            </p:cNvPr>
            <p:cNvSpPr/>
            <p:nvPr/>
          </p:nvSpPr>
          <p:spPr>
            <a:xfrm>
              <a:off x="6851249" y="4212952"/>
              <a:ext cx="4736" cy="4736"/>
            </a:xfrm>
            <a:custGeom>
              <a:avLst/>
              <a:gdLst>
                <a:gd name="connsiteX0" fmla="*/ 4737 w 4736"/>
                <a:gd name="connsiteY0" fmla="*/ 2380 h 4736"/>
                <a:gd name="connsiteX1" fmla="*/ 2368 w 4736"/>
                <a:gd name="connsiteY1" fmla="*/ 4737 h 4736"/>
                <a:gd name="connsiteX2" fmla="*/ 0 w 4736"/>
                <a:gd name="connsiteY2" fmla="*/ 2380 h 4736"/>
                <a:gd name="connsiteX3" fmla="*/ 2368 w 4736"/>
                <a:gd name="connsiteY3" fmla="*/ 0 h 4736"/>
                <a:gd name="connsiteX4" fmla="*/ 4737 w 4736"/>
                <a:gd name="connsiteY4" fmla="*/ 2380 h 47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736" h="4736">
                  <a:moveTo>
                    <a:pt x="4737" y="2380"/>
                  </a:moveTo>
                  <a:cubicBezTo>
                    <a:pt x="4737" y="3683"/>
                    <a:pt x="3683" y="4737"/>
                    <a:pt x="2368" y="4737"/>
                  </a:cubicBezTo>
                  <a:cubicBezTo>
                    <a:pt x="1054" y="4737"/>
                    <a:pt x="0" y="3683"/>
                    <a:pt x="0" y="2380"/>
                  </a:cubicBezTo>
                  <a:cubicBezTo>
                    <a:pt x="0" y="1078"/>
                    <a:pt x="1066" y="0"/>
                    <a:pt x="2368" y="0"/>
                  </a:cubicBezTo>
                  <a:cubicBezTo>
                    <a:pt x="3671" y="0"/>
                    <a:pt x="4737" y="1066"/>
                    <a:pt x="4737" y="2380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49" name="Forma livre: Forma 2048">
              <a:extLst>
                <a:ext uri="{FF2B5EF4-FFF2-40B4-BE49-F238E27FC236}">
                  <a16:creationId xmlns:a16="http://schemas.microsoft.com/office/drawing/2014/main" id="{E45C3555-F1E1-87BB-48EA-20D3ED14C59C}"/>
                </a:ext>
              </a:extLst>
            </p:cNvPr>
            <p:cNvSpPr/>
            <p:nvPr/>
          </p:nvSpPr>
          <p:spPr>
            <a:xfrm>
              <a:off x="6796221" y="4267992"/>
              <a:ext cx="4736" cy="4736"/>
            </a:xfrm>
            <a:custGeom>
              <a:avLst/>
              <a:gdLst>
                <a:gd name="connsiteX0" fmla="*/ 2356 w 4736"/>
                <a:gd name="connsiteY0" fmla="*/ 4737 h 4736"/>
                <a:gd name="connsiteX1" fmla="*/ 0 w 4736"/>
                <a:gd name="connsiteY1" fmla="*/ 2380 h 4736"/>
                <a:gd name="connsiteX2" fmla="*/ 2356 w 4736"/>
                <a:gd name="connsiteY2" fmla="*/ 0 h 4736"/>
                <a:gd name="connsiteX3" fmla="*/ 4737 w 4736"/>
                <a:gd name="connsiteY3" fmla="*/ 2368 h 4736"/>
                <a:gd name="connsiteX4" fmla="*/ 2356 w 4736"/>
                <a:gd name="connsiteY4" fmla="*/ 4737 h 47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736" h="4736">
                  <a:moveTo>
                    <a:pt x="2356" y="4737"/>
                  </a:moveTo>
                  <a:cubicBezTo>
                    <a:pt x="1054" y="4737"/>
                    <a:pt x="0" y="3683"/>
                    <a:pt x="0" y="2380"/>
                  </a:cubicBezTo>
                  <a:cubicBezTo>
                    <a:pt x="0" y="1078"/>
                    <a:pt x="1054" y="0"/>
                    <a:pt x="2356" y="0"/>
                  </a:cubicBezTo>
                  <a:cubicBezTo>
                    <a:pt x="3659" y="0"/>
                    <a:pt x="4737" y="1078"/>
                    <a:pt x="4737" y="2368"/>
                  </a:cubicBezTo>
                  <a:cubicBezTo>
                    <a:pt x="4737" y="3659"/>
                    <a:pt x="3683" y="4737"/>
                    <a:pt x="2356" y="4737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50" name="Forma livre: Forma 2049">
              <a:extLst>
                <a:ext uri="{FF2B5EF4-FFF2-40B4-BE49-F238E27FC236}">
                  <a16:creationId xmlns:a16="http://schemas.microsoft.com/office/drawing/2014/main" id="{E46C4058-FC44-DA5B-0009-0A1A98E12623}"/>
                </a:ext>
              </a:extLst>
            </p:cNvPr>
            <p:cNvSpPr/>
            <p:nvPr/>
          </p:nvSpPr>
          <p:spPr>
            <a:xfrm>
              <a:off x="6906289" y="4267992"/>
              <a:ext cx="4736" cy="4736"/>
            </a:xfrm>
            <a:custGeom>
              <a:avLst/>
              <a:gdLst>
                <a:gd name="connsiteX0" fmla="*/ 2368 w 4736"/>
                <a:gd name="connsiteY0" fmla="*/ 4737 h 4736"/>
                <a:gd name="connsiteX1" fmla="*/ 0 w 4736"/>
                <a:gd name="connsiteY1" fmla="*/ 2380 h 4736"/>
                <a:gd name="connsiteX2" fmla="*/ 2368 w 4736"/>
                <a:gd name="connsiteY2" fmla="*/ 0 h 4736"/>
                <a:gd name="connsiteX3" fmla="*/ 4737 w 4736"/>
                <a:gd name="connsiteY3" fmla="*/ 2368 h 4736"/>
                <a:gd name="connsiteX4" fmla="*/ 2368 w 4736"/>
                <a:gd name="connsiteY4" fmla="*/ 4737 h 47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736" h="4736">
                  <a:moveTo>
                    <a:pt x="2368" y="4737"/>
                  </a:moveTo>
                  <a:cubicBezTo>
                    <a:pt x="1054" y="4737"/>
                    <a:pt x="0" y="3683"/>
                    <a:pt x="0" y="2380"/>
                  </a:cubicBezTo>
                  <a:cubicBezTo>
                    <a:pt x="0" y="1078"/>
                    <a:pt x="1054" y="0"/>
                    <a:pt x="2368" y="0"/>
                  </a:cubicBezTo>
                  <a:cubicBezTo>
                    <a:pt x="3683" y="0"/>
                    <a:pt x="4737" y="1078"/>
                    <a:pt x="4737" y="2368"/>
                  </a:cubicBezTo>
                  <a:cubicBezTo>
                    <a:pt x="4737" y="3659"/>
                    <a:pt x="3683" y="4737"/>
                    <a:pt x="2368" y="4737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51" name="Forma livre: Forma 2050">
              <a:extLst>
                <a:ext uri="{FF2B5EF4-FFF2-40B4-BE49-F238E27FC236}">
                  <a16:creationId xmlns:a16="http://schemas.microsoft.com/office/drawing/2014/main" id="{DEFB6514-3F07-FE91-DE8A-4C3226D770E9}"/>
                </a:ext>
              </a:extLst>
            </p:cNvPr>
            <p:cNvSpPr/>
            <p:nvPr/>
          </p:nvSpPr>
          <p:spPr>
            <a:xfrm>
              <a:off x="6773781" y="4190524"/>
              <a:ext cx="159673" cy="159673"/>
            </a:xfrm>
            <a:custGeom>
              <a:avLst/>
              <a:gdLst>
                <a:gd name="connsiteX0" fmla="*/ 46692 w 159673"/>
                <a:gd name="connsiteY0" fmla="*/ 7188 h 159673"/>
                <a:gd name="connsiteX1" fmla="*/ 79837 w 159673"/>
                <a:gd name="connsiteY1" fmla="*/ 0 h 159673"/>
                <a:gd name="connsiteX2" fmla="*/ 159673 w 159673"/>
                <a:gd name="connsiteY2" fmla="*/ 79837 h 159673"/>
                <a:gd name="connsiteX3" fmla="*/ 79837 w 159673"/>
                <a:gd name="connsiteY3" fmla="*/ 159673 h 159673"/>
                <a:gd name="connsiteX4" fmla="*/ 0 w 159673"/>
                <a:gd name="connsiteY4" fmla="*/ 79837 h 159673"/>
                <a:gd name="connsiteX5" fmla="*/ 24287 w 159673"/>
                <a:gd name="connsiteY5" fmla="*/ 22511 h 1596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59673" h="159673">
                  <a:moveTo>
                    <a:pt x="46692" y="7188"/>
                  </a:moveTo>
                  <a:cubicBezTo>
                    <a:pt x="56793" y="2570"/>
                    <a:pt x="68007" y="0"/>
                    <a:pt x="79837" y="0"/>
                  </a:cubicBezTo>
                  <a:cubicBezTo>
                    <a:pt x="123923" y="0"/>
                    <a:pt x="159673" y="35750"/>
                    <a:pt x="159673" y="79837"/>
                  </a:cubicBezTo>
                  <a:cubicBezTo>
                    <a:pt x="159673" y="123923"/>
                    <a:pt x="123923" y="159673"/>
                    <a:pt x="79837" y="159673"/>
                  </a:cubicBezTo>
                  <a:cubicBezTo>
                    <a:pt x="35750" y="159673"/>
                    <a:pt x="0" y="123923"/>
                    <a:pt x="0" y="79837"/>
                  </a:cubicBezTo>
                  <a:cubicBezTo>
                    <a:pt x="0" y="57337"/>
                    <a:pt x="9308" y="37017"/>
                    <a:pt x="24287" y="22511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52" name="Forma livre: Forma 2051">
              <a:extLst>
                <a:ext uri="{FF2B5EF4-FFF2-40B4-BE49-F238E27FC236}">
                  <a16:creationId xmlns:a16="http://schemas.microsoft.com/office/drawing/2014/main" id="{B51F18ED-93D2-C632-3023-BB068388F50A}"/>
                </a:ext>
              </a:extLst>
            </p:cNvPr>
            <p:cNvSpPr/>
            <p:nvPr/>
          </p:nvSpPr>
          <p:spPr>
            <a:xfrm>
              <a:off x="6811876" y="4228879"/>
              <a:ext cx="83211" cy="83223"/>
            </a:xfrm>
            <a:custGeom>
              <a:avLst/>
              <a:gdLst>
                <a:gd name="connsiteX0" fmla="*/ 35193 w 83211"/>
                <a:gd name="connsiteY0" fmla="*/ 64348 h 83223"/>
                <a:gd name="connsiteX1" fmla="*/ 0 w 83211"/>
                <a:gd name="connsiteY1" fmla="*/ 83223 h 83223"/>
                <a:gd name="connsiteX2" fmla="*/ 29048 w 83211"/>
                <a:gd name="connsiteY2" fmla="*/ 29059 h 83223"/>
                <a:gd name="connsiteX3" fmla="*/ 54164 w 83211"/>
                <a:gd name="connsiteY3" fmla="*/ 54176 h 83223"/>
                <a:gd name="connsiteX4" fmla="*/ 83211 w 83211"/>
                <a:gd name="connsiteY4" fmla="*/ 0 h 83223"/>
                <a:gd name="connsiteX5" fmla="*/ 47604 w 83211"/>
                <a:gd name="connsiteY5" fmla="*/ 19112 h 832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83211" h="83223">
                  <a:moveTo>
                    <a:pt x="35193" y="64348"/>
                  </a:moveTo>
                  <a:lnTo>
                    <a:pt x="0" y="83223"/>
                  </a:lnTo>
                  <a:lnTo>
                    <a:pt x="29048" y="29059"/>
                  </a:lnTo>
                  <a:lnTo>
                    <a:pt x="54164" y="54176"/>
                  </a:lnTo>
                  <a:lnTo>
                    <a:pt x="83211" y="0"/>
                  </a:lnTo>
                  <a:lnTo>
                    <a:pt x="47604" y="19112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2053" name="Gráfico 17">
            <a:extLst>
              <a:ext uri="{FF2B5EF4-FFF2-40B4-BE49-F238E27FC236}">
                <a16:creationId xmlns:a16="http://schemas.microsoft.com/office/drawing/2014/main" id="{80441FE9-A076-1B9E-545C-E47DEF4E5979}"/>
              </a:ext>
            </a:extLst>
          </p:cNvPr>
          <p:cNvGrpSpPr/>
          <p:nvPr/>
        </p:nvGrpSpPr>
        <p:grpSpPr>
          <a:xfrm>
            <a:off x="6732039" y="4663622"/>
            <a:ext cx="207963" cy="294751"/>
            <a:chOff x="6732039" y="4663622"/>
            <a:chExt cx="207963" cy="294751"/>
          </a:xfrm>
          <a:noFill/>
        </p:grpSpPr>
        <p:grpSp>
          <p:nvGrpSpPr>
            <p:cNvPr id="2054" name="Gráfico 17">
              <a:extLst>
                <a:ext uri="{FF2B5EF4-FFF2-40B4-BE49-F238E27FC236}">
                  <a16:creationId xmlns:a16="http://schemas.microsoft.com/office/drawing/2014/main" id="{BF35CE63-1D89-BBF0-A764-16D61C49CF3C}"/>
                </a:ext>
              </a:extLst>
            </p:cNvPr>
            <p:cNvGrpSpPr/>
            <p:nvPr/>
          </p:nvGrpSpPr>
          <p:grpSpPr>
            <a:xfrm>
              <a:off x="6732039" y="4663622"/>
              <a:ext cx="163000" cy="294751"/>
              <a:chOff x="6732039" y="4663622"/>
              <a:chExt cx="163000" cy="294751"/>
            </a:xfrm>
            <a:noFill/>
          </p:grpSpPr>
          <p:sp>
            <p:nvSpPr>
              <p:cNvPr id="2055" name="Forma livre: Forma 2054">
                <a:extLst>
                  <a:ext uri="{FF2B5EF4-FFF2-40B4-BE49-F238E27FC236}">
                    <a16:creationId xmlns:a16="http://schemas.microsoft.com/office/drawing/2014/main" id="{46509211-7577-DE47-6A36-95402119E50E}"/>
                  </a:ext>
                </a:extLst>
              </p:cNvPr>
              <p:cNvSpPr/>
              <p:nvPr/>
            </p:nvSpPr>
            <p:spPr>
              <a:xfrm>
                <a:off x="6732039" y="4663622"/>
                <a:ext cx="163000" cy="294751"/>
              </a:xfrm>
              <a:custGeom>
                <a:avLst/>
                <a:gdLst>
                  <a:gd name="connsiteX0" fmla="*/ 163001 w 163000"/>
                  <a:gd name="connsiteY0" fmla="*/ 203085 h 294751"/>
                  <a:gd name="connsiteX1" fmla="*/ 163001 w 163000"/>
                  <a:gd name="connsiteY1" fmla="*/ 280991 h 294751"/>
                  <a:gd name="connsiteX2" fmla="*/ 149655 w 163000"/>
                  <a:gd name="connsiteY2" fmla="*/ 294751 h 294751"/>
                  <a:gd name="connsiteX3" fmla="*/ 13346 w 163000"/>
                  <a:gd name="connsiteY3" fmla="*/ 294751 h 294751"/>
                  <a:gd name="connsiteX4" fmla="*/ 0 w 163000"/>
                  <a:gd name="connsiteY4" fmla="*/ 280991 h 294751"/>
                  <a:gd name="connsiteX5" fmla="*/ 0 w 163000"/>
                  <a:gd name="connsiteY5" fmla="*/ 13334 h 294751"/>
                  <a:gd name="connsiteX6" fmla="*/ 13346 w 163000"/>
                  <a:gd name="connsiteY6" fmla="*/ 0 h 294751"/>
                  <a:gd name="connsiteX7" fmla="*/ 149655 w 163000"/>
                  <a:gd name="connsiteY7" fmla="*/ 0 h 294751"/>
                  <a:gd name="connsiteX8" fmla="*/ 163001 w 163000"/>
                  <a:gd name="connsiteY8" fmla="*/ 13334 h 294751"/>
                  <a:gd name="connsiteX9" fmla="*/ 163001 w 163000"/>
                  <a:gd name="connsiteY9" fmla="*/ 41185 h 2947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63000" h="294751">
                    <a:moveTo>
                      <a:pt x="163001" y="203085"/>
                    </a:moveTo>
                    <a:lnTo>
                      <a:pt x="163001" y="280991"/>
                    </a:lnTo>
                    <a:cubicBezTo>
                      <a:pt x="163001" y="288333"/>
                      <a:pt x="156997" y="294751"/>
                      <a:pt x="149655" y="294751"/>
                    </a:cubicBezTo>
                    <a:lnTo>
                      <a:pt x="13346" y="294751"/>
                    </a:lnTo>
                    <a:cubicBezTo>
                      <a:pt x="6004" y="294751"/>
                      <a:pt x="0" y="288333"/>
                      <a:pt x="0" y="280991"/>
                    </a:cubicBezTo>
                    <a:lnTo>
                      <a:pt x="0" y="13334"/>
                    </a:lnTo>
                    <a:cubicBezTo>
                      <a:pt x="0" y="5992"/>
                      <a:pt x="6004" y="0"/>
                      <a:pt x="13346" y="0"/>
                    </a:cubicBezTo>
                    <a:lnTo>
                      <a:pt x="149655" y="0"/>
                    </a:lnTo>
                    <a:cubicBezTo>
                      <a:pt x="156997" y="0"/>
                      <a:pt x="163001" y="5992"/>
                      <a:pt x="163001" y="13334"/>
                    </a:cubicBezTo>
                    <a:lnTo>
                      <a:pt x="163001" y="41185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056" name="Forma livre: Forma 2055">
                <a:extLst>
                  <a:ext uri="{FF2B5EF4-FFF2-40B4-BE49-F238E27FC236}">
                    <a16:creationId xmlns:a16="http://schemas.microsoft.com/office/drawing/2014/main" id="{AB63EC94-DC7B-B6A6-2537-3D2CE91D9528}"/>
                  </a:ext>
                </a:extLst>
              </p:cNvPr>
              <p:cNvSpPr/>
              <p:nvPr/>
            </p:nvSpPr>
            <p:spPr>
              <a:xfrm>
                <a:off x="6802462" y="4928639"/>
                <a:ext cx="22167" cy="1184"/>
              </a:xfrm>
              <a:custGeom>
                <a:avLst/>
                <a:gdLst>
                  <a:gd name="connsiteX0" fmla="*/ 0 w 22167"/>
                  <a:gd name="connsiteY0" fmla="*/ 0 h 1184"/>
                  <a:gd name="connsiteX1" fmla="*/ 22168 w 22167"/>
                  <a:gd name="connsiteY1" fmla="*/ 0 h 11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2167" h="1184">
                    <a:moveTo>
                      <a:pt x="0" y="0"/>
                    </a:moveTo>
                    <a:lnTo>
                      <a:pt x="22168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2057" name="Forma livre: Forma 2056">
              <a:extLst>
                <a:ext uri="{FF2B5EF4-FFF2-40B4-BE49-F238E27FC236}">
                  <a16:creationId xmlns:a16="http://schemas.microsoft.com/office/drawing/2014/main" id="{E1B1B789-8383-997A-B1AE-2D69BD36A648}"/>
                </a:ext>
              </a:extLst>
            </p:cNvPr>
            <p:cNvSpPr/>
            <p:nvPr/>
          </p:nvSpPr>
          <p:spPr>
            <a:xfrm>
              <a:off x="6790809" y="4759267"/>
              <a:ext cx="44607" cy="1184"/>
            </a:xfrm>
            <a:custGeom>
              <a:avLst/>
              <a:gdLst>
                <a:gd name="connsiteX0" fmla="*/ 44608 w 44607"/>
                <a:gd name="connsiteY0" fmla="*/ 0 h 1184"/>
                <a:gd name="connsiteX1" fmla="*/ 0 w 44607"/>
                <a:gd name="connsiteY1" fmla="*/ 0 h 11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4607" h="1184">
                  <a:moveTo>
                    <a:pt x="44608" y="0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58" name="Forma livre: Forma 2057">
              <a:extLst>
                <a:ext uri="{FF2B5EF4-FFF2-40B4-BE49-F238E27FC236}">
                  <a16:creationId xmlns:a16="http://schemas.microsoft.com/office/drawing/2014/main" id="{831E5D80-AEFC-13AA-DFFC-353801FC68DF}"/>
                </a:ext>
              </a:extLst>
            </p:cNvPr>
            <p:cNvSpPr/>
            <p:nvPr/>
          </p:nvSpPr>
          <p:spPr>
            <a:xfrm>
              <a:off x="6790809" y="4786337"/>
              <a:ext cx="44607" cy="1184"/>
            </a:xfrm>
            <a:custGeom>
              <a:avLst/>
              <a:gdLst>
                <a:gd name="connsiteX0" fmla="*/ 44608 w 44607"/>
                <a:gd name="connsiteY0" fmla="*/ 0 h 1184"/>
                <a:gd name="connsiteX1" fmla="*/ 0 w 44607"/>
                <a:gd name="connsiteY1" fmla="*/ 0 h 11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4607" h="1184">
                  <a:moveTo>
                    <a:pt x="44608" y="0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59" name="Forma livre: Forma 2058">
              <a:extLst>
                <a:ext uri="{FF2B5EF4-FFF2-40B4-BE49-F238E27FC236}">
                  <a16:creationId xmlns:a16="http://schemas.microsoft.com/office/drawing/2014/main" id="{20AD8825-6170-DE74-5D8C-A5E9810B0FB9}"/>
                </a:ext>
              </a:extLst>
            </p:cNvPr>
            <p:cNvSpPr/>
            <p:nvPr/>
          </p:nvSpPr>
          <p:spPr>
            <a:xfrm>
              <a:off x="6790809" y="4813384"/>
              <a:ext cx="44607" cy="1184"/>
            </a:xfrm>
            <a:custGeom>
              <a:avLst/>
              <a:gdLst>
                <a:gd name="connsiteX0" fmla="*/ 44608 w 44607"/>
                <a:gd name="connsiteY0" fmla="*/ 0 h 1184"/>
                <a:gd name="connsiteX1" fmla="*/ 0 w 44607"/>
                <a:gd name="connsiteY1" fmla="*/ 0 h 11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4607" h="1184">
                  <a:moveTo>
                    <a:pt x="44608" y="0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60" name="Forma livre: Forma 2059">
              <a:extLst>
                <a:ext uri="{FF2B5EF4-FFF2-40B4-BE49-F238E27FC236}">
                  <a16:creationId xmlns:a16="http://schemas.microsoft.com/office/drawing/2014/main" id="{FC12F274-8D7B-A063-D75E-0CB9D68D5740}"/>
                </a:ext>
              </a:extLst>
            </p:cNvPr>
            <p:cNvSpPr/>
            <p:nvPr/>
          </p:nvSpPr>
          <p:spPr>
            <a:xfrm>
              <a:off x="6854873" y="4726148"/>
              <a:ext cx="85129" cy="133288"/>
            </a:xfrm>
            <a:custGeom>
              <a:avLst/>
              <a:gdLst>
                <a:gd name="connsiteX0" fmla="*/ 0 w 85129"/>
                <a:gd name="connsiteY0" fmla="*/ 14351 h 133288"/>
                <a:gd name="connsiteX1" fmla="*/ 29498 w 85129"/>
                <a:gd name="connsiteY1" fmla="*/ 10 h 133288"/>
                <a:gd name="connsiteX2" fmla="*/ 85130 w 85129"/>
                <a:gd name="connsiteY2" fmla="*/ 10 h 133288"/>
                <a:gd name="connsiteX3" fmla="*/ 85130 w 85129"/>
                <a:gd name="connsiteY3" fmla="*/ 119209 h 133288"/>
                <a:gd name="connsiteX4" fmla="*/ 29498 w 85129"/>
                <a:gd name="connsiteY4" fmla="*/ 119209 h 133288"/>
                <a:gd name="connsiteX5" fmla="*/ 0 w 85129"/>
                <a:gd name="connsiteY5" fmla="*/ 133288 h 133288"/>
                <a:gd name="connsiteX6" fmla="*/ 0 w 85129"/>
                <a:gd name="connsiteY6" fmla="*/ 14351 h 1332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5129" h="133288">
                  <a:moveTo>
                    <a:pt x="0" y="14351"/>
                  </a:moveTo>
                  <a:cubicBezTo>
                    <a:pt x="8775" y="-901"/>
                    <a:pt x="22393" y="10"/>
                    <a:pt x="29498" y="10"/>
                  </a:cubicBezTo>
                  <a:lnTo>
                    <a:pt x="85130" y="10"/>
                  </a:lnTo>
                  <a:lnTo>
                    <a:pt x="85130" y="119209"/>
                  </a:lnTo>
                  <a:lnTo>
                    <a:pt x="29498" y="119209"/>
                  </a:lnTo>
                  <a:cubicBezTo>
                    <a:pt x="22393" y="119209"/>
                    <a:pt x="8775" y="118025"/>
                    <a:pt x="0" y="133288"/>
                  </a:cubicBezTo>
                  <a:lnTo>
                    <a:pt x="0" y="14351"/>
                  </a:ln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61" name="Forma livre: Forma 2060">
              <a:extLst>
                <a:ext uri="{FF2B5EF4-FFF2-40B4-BE49-F238E27FC236}">
                  <a16:creationId xmlns:a16="http://schemas.microsoft.com/office/drawing/2014/main" id="{9A27D868-1D3A-1BB8-F049-F1562C39F031}"/>
                </a:ext>
              </a:extLst>
            </p:cNvPr>
            <p:cNvSpPr/>
            <p:nvPr/>
          </p:nvSpPr>
          <p:spPr>
            <a:xfrm>
              <a:off x="6874601" y="4759267"/>
              <a:ext cx="44595" cy="1184"/>
            </a:xfrm>
            <a:custGeom>
              <a:avLst/>
              <a:gdLst>
                <a:gd name="connsiteX0" fmla="*/ 0 w 44595"/>
                <a:gd name="connsiteY0" fmla="*/ 0 h 1184"/>
                <a:gd name="connsiteX1" fmla="*/ 44596 w 44595"/>
                <a:gd name="connsiteY1" fmla="*/ 0 h 11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4595" h="1184">
                  <a:moveTo>
                    <a:pt x="0" y="0"/>
                  </a:moveTo>
                  <a:lnTo>
                    <a:pt x="44596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62" name="Forma livre: Forma 2061">
              <a:extLst>
                <a:ext uri="{FF2B5EF4-FFF2-40B4-BE49-F238E27FC236}">
                  <a16:creationId xmlns:a16="http://schemas.microsoft.com/office/drawing/2014/main" id="{3F01844A-7BED-0AA3-B36F-653FE84D8933}"/>
                </a:ext>
              </a:extLst>
            </p:cNvPr>
            <p:cNvSpPr/>
            <p:nvPr/>
          </p:nvSpPr>
          <p:spPr>
            <a:xfrm>
              <a:off x="6874601" y="4786337"/>
              <a:ext cx="44595" cy="1184"/>
            </a:xfrm>
            <a:custGeom>
              <a:avLst/>
              <a:gdLst>
                <a:gd name="connsiteX0" fmla="*/ 0 w 44595"/>
                <a:gd name="connsiteY0" fmla="*/ 0 h 1184"/>
                <a:gd name="connsiteX1" fmla="*/ 44596 w 44595"/>
                <a:gd name="connsiteY1" fmla="*/ 0 h 11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4595" h="1184">
                  <a:moveTo>
                    <a:pt x="0" y="0"/>
                  </a:moveTo>
                  <a:lnTo>
                    <a:pt x="44596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63" name="Forma livre: Forma 2062">
              <a:extLst>
                <a:ext uri="{FF2B5EF4-FFF2-40B4-BE49-F238E27FC236}">
                  <a16:creationId xmlns:a16="http://schemas.microsoft.com/office/drawing/2014/main" id="{89084F7D-0B1C-6117-B8EF-191E5364FC3F}"/>
                </a:ext>
              </a:extLst>
            </p:cNvPr>
            <p:cNvSpPr/>
            <p:nvPr/>
          </p:nvSpPr>
          <p:spPr>
            <a:xfrm>
              <a:off x="6874601" y="4813384"/>
              <a:ext cx="44595" cy="1184"/>
            </a:xfrm>
            <a:custGeom>
              <a:avLst/>
              <a:gdLst>
                <a:gd name="connsiteX0" fmla="*/ 0 w 44595"/>
                <a:gd name="connsiteY0" fmla="*/ 0 h 1184"/>
                <a:gd name="connsiteX1" fmla="*/ 44596 w 44595"/>
                <a:gd name="connsiteY1" fmla="*/ 0 h 11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4595" h="1184">
                  <a:moveTo>
                    <a:pt x="0" y="0"/>
                  </a:moveTo>
                  <a:lnTo>
                    <a:pt x="44596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64" name="Forma livre: Forma 2063">
              <a:extLst>
                <a:ext uri="{FF2B5EF4-FFF2-40B4-BE49-F238E27FC236}">
                  <a16:creationId xmlns:a16="http://schemas.microsoft.com/office/drawing/2014/main" id="{C70800E1-311A-3E1F-9158-0778E6D78B35}"/>
                </a:ext>
              </a:extLst>
            </p:cNvPr>
            <p:cNvSpPr/>
            <p:nvPr/>
          </p:nvSpPr>
          <p:spPr>
            <a:xfrm>
              <a:off x="6769743" y="4726148"/>
              <a:ext cx="85129" cy="133288"/>
            </a:xfrm>
            <a:custGeom>
              <a:avLst/>
              <a:gdLst>
                <a:gd name="connsiteX0" fmla="*/ 85130 w 85129"/>
                <a:gd name="connsiteY0" fmla="*/ 14351 h 133288"/>
                <a:gd name="connsiteX1" fmla="*/ 55632 w 85129"/>
                <a:gd name="connsiteY1" fmla="*/ 10 h 133288"/>
                <a:gd name="connsiteX2" fmla="*/ 0 w 85129"/>
                <a:gd name="connsiteY2" fmla="*/ 10 h 133288"/>
                <a:gd name="connsiteX3" fmla="*/ 0 w 85129"/>
                <a:gd name="connsiteY3" fmla="*/ 119209 h 133288"/>
                <a:gd name="connsiteX4" fmla="*/ 55632 w 85129"/>
                <a:gd name="connsiteY4" fmla="*/ 119209 h 133288"/>
                <a:gd name="connsiteX5" fmla="*/ 85130 w 85129"/>
                <a:gd name="connsiteY5" fmla="*/ 133288 h 1332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85129" h="133288">
                  <a:moveTo>
                    <a:pt x="85130" y="14351"/>
                  </a:moveTo>
                  <a:cubicBezTo>
                    <a:pt x="76355" y="-901"/>
                    <a:pt x="62737" y="10"/>
                    <a:pt x="55632" y="10"/>
                  </a:cubicBezTo>
                  <a:lnTo>
                    <a:pt x="0" y="10"/>
                  </a:lnTo>
                  <a:lnTo>
                    <a:pt x="0" y="119209"/>
                  </a:lnTo>
                  <a:lnTo>
                    <a:pt x="55632" y="119209"/>
                  </a:lnTo>
                  <a:cubicBezTo>
                    <a:pt x="62737" y="119209"/>
                    <a:pt x="76355" y="118025"/>
                    <a:pt x="85130" y="133288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2065" name="Gráfico 17">
            <a:extLst>
              <a:ext uri="{FF2B5EF4-FFF2-40B4-BE49-F238E27FC236}">
                <a16:creationId xmlns:a16="http://schemas.microsoft.com/office/drawing/2014/main" id="{D0435083-328A-963B-D11C-D5EF0B5185B0}"/>
              </a:ext>
            </a:extLst>
          </p:cNvPr>
          <p:cNvGrpSpPr/>
          <p:nvPr/>
        </p:nvGrpSpPr>
        <p:grpSpPr>
          <a:xfrm>
            <a:off x="6732039" y="5717282"/>
            <a:ext cx="219864" cy="294751"/>
            <a:chOff x="6732039" y="5717282"/>
            <a:chExt cx="219864" cy="294751"/>
          </a:xfrm>
        </p:grpSpPr>
        <p:grpSp>
          <p:nvGrpSpPr>
            <p:cNvPr id="2066" name="Gráfico 17">
              <a:extLst>
                <a:ext uri="{FF2B5EF4-FFF2-40B4-BE49-F238E27FC236}">
                  <a16:creationId xmlns:a16="http://schemas.microsoft.com/office/drawing/2014/main" id="{B91174CF-3480-A293-024B-382CCD744FEF}"/>
                </a:ext>
              </a:extLst>
            </p:cNvPr>
            <p:cNvGrpSpPr/>
            <p:nvPr/>
          </p:nvGrpSpPr>
          <p:grpSpPr>
            <a:xfrm>
              <a:off x="6732039" y="5717282"/>
              <a:ext cx="163000" cy="294751"/>
              <a:chOff x="6732039" y="5717282"/>
              <a:chExt cx="163000" cy="294751"/>
            </a:xfrm>
            <a:noFill/>
          </p:grpSpPr>
          <p:sp>
            <p:nvSpPr>
              <p:cNvPr id="2067" name="Forma livre: Forma 2066">
                <a:extLst>
                  <a:ext uri="{FF2B5EF4-FFF2-40B4-BE49-F238E27FC236}">
                    <a16:creationId xmlns:a16="http://schemas.microsoft.com/office/drawing/2014/main" id="{24E967B4-33BA-0569-5BE8-F41FC0F5B93A}"/>
                  </a:ext>
                </a:extLst>
              </p:cNvPr>
              <p:cNvSpPr/>
              <p:nvPr/>
            </p:nvSpPr>
            <p:spPr>
              <a:xfrm>
                <a:off x="6732039" y="5717282"/>
                <a:ext cx="163000" cy="294751"/>
              </a:xfrm>
              <a:custGeom>
                <a:avLst/>
                <a:gdLst>
                  <a:gd name="connsiteX0" fmla="*/ 163001 w 163000"/>
                  <a:gd name="connsiteY0" fmla="*/ 218574 h 294751"/>
                  <a:gd name="connsiteX1" fmla="*/ 163001 w 163000"/>
                  <a:gd name="connsiteY1" fmla="*/ 280991 h 294751"/>
                  <a:gd name="connsiteX2" fmla="*/ 149655 w 163000"/>
                  <a:gd name="connsiteY2" fmla="*/ 294751 h 294751"/>
                  <a:gd name="connsiteX3" fmla="*/ 13346 w 163000"/>
                  <a:gd name="connsiteY3" fmla="*/ 294751 h 294751"/>
                  <a:gd name="connsiteX4" fmla="*/ 0 w 163000"/>
                  <a:gd name="connsiteY4" fmla="*/ 280991 h 294751"/>
                  <a:gd name="connsiteX5" fmla="*/ 0 w 163000"/>
                  <a:gd name="connsiteY5" fmla="*/ 13334 h 294751"/>
                  <a:gd name="connsiteX6" fmla="*/ 13346 w 163000"/>
                  <a:gd name="connsiteY6" fmla="*/ 0 h 294751"/>
                  <a:gd name="connsiteX7" fmla="*/ 149655 w 163000"/>
                  <a:gd name="connsiteY7" fmla="*/ 0 h 294751"/>
                  <a:gd name="connsiteX8" fmla="*/ 163001 w 163000"/>
                  <a:gd name="connsiteY8" fmla="*/ 13334 h 294751"/>
                  <a:gd name="connsiteX9" fmla="*/ 163001 w 163000"/>
                  <a:gd name="connsiteY9" fmla="*/ 36922 h 2947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63000" h="294751">
                    <a:moveTo>
                      <a:pt x="163001" y="218574"/>
                    </a:moveTo>
                    <a:lnTo>
                      <a:pt x="163001" y="280991"/>
                    </a:lnTo>
                    <a:cubicBezTo>
                      <a:pt x="163001" y="288333"/>
                      <a:pt x="156997" y="294751"/>
                      <a:pt x="149655" y="294751"/>
                    </a:cubicBezTo>
                    <a:lnTo>
                      <a:pt x="13346" y="294751"/>
                    </a:lnTo>
                    <a:cubicBezTo>
                      <a:pt x="6004" y="294751"/>
                      <a:pt x="0" y="288333"/>
                      <a:pt x="0" y="280991"/>
                    </a:cubicBezTo>
                    <a:lnTo>
                      <a:pt x="0" y="13334"/>
                    </a:lnTo>
                    <a:cubicBezTo>
                      <a:pt x="0" y="5992"/>
                      <a:pt x="6004" y="0"/>
                      <a:pt x="13346" y="0"/>
                    </a:cubicBezTo>
                    <a:lnTo>
                      <a:pt x="149655" y="0"/>
                    </a:lnTo>
                    <a:cubicBezTo>
                      <a:pt x="156997" y="0"/>
                      <a:pt x="163001" y="5992"/>
                      <a:pt x="163001" y="13334"/>
                    </a:cubicBezTo>
                    <a:lnTo>
                      <a:pt x="163001" y="36922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068" name="Forma livre: Forma 2067">
                <a:extLst>
                  <a:ext uri="{FF2B5EF4-FFF2-40B4-BE49-F238E27FC236}">
                    <a16:creationId xmlns:a16="http://schemas.microsoft.com/office/drawing/2014/main" id="{C1F33695-090F-4CB8-A85A-C5E1B9340D00}"/>
                  </a:ext>
                </a:extLst>
              </p:cNvPr>
              <p:cNvSpPr/>
              <p:nvPr/>
            </p:nvSpPr>
            <p:spPr>
              <a:xfrm>
                <a:off x="6802462" y="5982311"/>
                <a:ext cx="22167" cy="1184"/>
              </a:xfrm>
              <a:custGeom>
                <a:avLst/>
                <a:gdLst>
                  <a:gd name="connsiteX0" fmla="*/ 0 w 22167"/>
                  <a:gd name="connsiteY0" fmla="*/ 0 h 1184"/>
                  <a:gd name="connsiteX1" fmla="*/ 22168 w 22167"/>
                  <a:gd name="connsiteY1" fmla="*/ 0 h 11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2167" h="1184">
                    <a:moveTo>
                      <a:pt x="0" y="0"/>
                    </a:moveTo>
                    <a:lnTo>
                      <a:pt x="22168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2069" name="Gráfico 17">
              <a:extLst>
                <a:ext uri="{FF2B5EF4-FFF2-40B4-BE49-F238E27FC236}">
                  <a16:creationId xmlns:a16="http://schemas.microsoft.com/office/drawing/2014/main" id="{523DEE3D-FE42-E329-6A57-48DED018607F}"/>
                </a:ext>
              </a:extLst>
            </p:cNvPr>
            <p:cNvGrpSpPr/>
            <p:nvPr/>
          </p:nvGrpSpPr>
          <p:grpSpPr>
            <a:xfrm>
              <a:off x="6839372" y="5775484"/>
              <a:ext cx="112531" cy="138950"/>
              <a:chOff x="6839372" y="5775484"/>
              <a:chExt cx="112531" cy="138950"/>
            </a:xfrm>
          </p:grpSpPr>
          <p:sp>
            <p:nvSpPr>
              <p:cNvPr id="2070" name="Forma livre: Forma 2069">
                <a:extLst>
                  <a:ext uri="{FF2B5EF4-FFF2-40B4-BE49-F238E27FC236}">
                    <a16:creationId xmlns:a16="http://schemas.microsoft.com/office/drawing/2014/main" id="{78FABBE5-87E6-C457-A8FB-21EE042DD8D6}"/>
                  </a:ext>
                </a:extLst>
              </p:cNvPr>
              <p:cNvSpPr/>
              <p:nvPr/>
            </p:nvSpPr>
            <p:spPr>
              <a:xfrm>
                <a:off x="6895656" y="5857831"/>
                <a:ext cx="1184" cy="27946"/>
              </a:xfrm>
              <a:custGeom>
                <a:avLst/>
                <a:gdLst>
                  <a:gd name="connsiteX0" fmla="*/ 0 w 1184"/>
                  <a:gd name="connsiteY0" fmla="*/ 0 h 27946"/>
                  <a:gd name="connsiteX1" fmla="*/ 0 w 1184"/>
                  <a:gd name="connsiteY1" fmla="*/ 27946 h 279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84" h="27946">
                    <a:moveTo>
                      <a:pt x="0" y="0"/>
                    </a:moveTo>
                    <a:lnTo>
                      <a:pt x="0" y="27946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071" name="Forma livre: Forma 2070">
                <a:extLst>
                  <a:ext uri="{FF2B5EF4-FFF2-40B4-BE49-F238E27FC236}">
                    <a16:creationId xmlns:a16="http://schemas.microsoft.com/office/drawing/2014/main" id="{0C7C9601-0640-176C-26D2-1E87718542C7}"/>
                  </a:ext>
                </a:extLst>
              </p:cNvPr>
              <p:cNvSpPr/>
              <p:nvPr/>
            </p:nvSpPr>
            <p:spPr>
              <a:xfrm>
                <a:off x="6889533" y="5850193"/>
                <a:ext cx="12220" cy="12208"/>
              </a:xfrm>
              <a:custGeom>
                <a:avLst/>
                <a:gdLst>
                  <a:gd name="connsiteX0" fmla="*/ 12221 w 12220"/>
                  <a:gd name="connsiteY0" fmla="*/ 6098 h 12208"/>
                  <a:gd name="connsiteX1" fmla="*/ 6110 w 12220"/>
                  <a:gd name="connsiteY1" fmla="*/ 12209 h 12208"/>
                  <a:gd name="connsiteX2" fmla="*/ 0 w 12220"/>
                  <a:gd name="connsiteY2" fmla="*/ 6098 h 12208"/>
                  <a:gd name="connsiteX3" fmla="*/ 6110 w 12220"/>
                  <a:gd name="connsiteY3" fmla="*/ 0 h 12208"/>
                  <a:gd name="connsiteX4" fmla="*/ 12221 w 12220"/>
                  <a:gd name="connsiteY4" fmla="*/ 6098 h 122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220" h="12208">
                    <a:moveTo>
                      <a:pt x="12221" y="6098"/>
                    </a:moveTo>
                    <a:cubicBezTo>
                      <a:pt x="12221" y="9473"/>
                      <a:pt x="9485" y="12209"/>
                      <a:pt x="6110" y="12209"/>
                    </a:cubicBezTo>
                    <a:cubicBezTo>
                      <a:pt x="2735" y="12209"/>
                      <a:pt x="0" y="9473"/>
                      <a:pt x="0" y="6098"/>
                    </a:cubicBezTo>
                    <a:cubicBezTo>
                      <a:pt x="0" y="2724"/>
                      <a:pt x="2735" y="0"/>
                      <a:pt x="6110" y="0"/>
                    </a:cubicBezTo>
                    <a:cubicBezTo>
                      <a:pt x="9485" y="0"/>
                      <a:pt x="12221" y="2724"/>
                      <a:pt x="12221" y="6098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072" name="Forma livre: Forma 2071">
                <a:extLst>
                  <a:ext uri="{FF2B5EF4-FFF2-40B4-BE49-F238E27FC236}">
                    <a16:creationId xmlns:a16="http://schemas.microsoft.com/office/drawing/2014/main" id="{B6E33D39-E066-B272-7C31-BDEF2D3164A6}"/>
                  </a:ext>
                </a:extLst>
              </p:cNvPr>
              <p:cNvSpPr/>
              <p:nvPr/>
            </p:nvSpPr>
            <p:spPr>
              <a:xfrm>
                <a:off x="6839372" y="5775484"/>
                <a:ext cx="112531" cy="138950"/>
              </a:xfrm>
              <a:custGeom>
                <a:avLst/>
                <a:gdLst>
                  <a:gd name="connsiteX0" fmla="*/ 91382 w 112531"/>
                  <a:gd name="connsiteY0" fmla="*/ 43056 h 138950"/>
                  <a:gd name="connsiteX1" fmla="*/ 112531 w 112531"/>
                  <a:gd name="connsiteY1" fmla="*/ 43056 h 138950"/>
                  <a:gd name="connsiteX2" fmla="*/ 112531 w 112531"/>
                  <a:gd name="connsiteY2" fmla="*/ 138950 h 138950"/>
                  <a:gd name="connsiteX3" fmla="*/ 0 w 112531"/>
                  <a:gd name="connsiteY3" fmla="*/ 138950 h 138950"/>
                  <a:gd name="connsiteX4" fmla="*/ 0 w 112531"/>
                  <a:gd name="connsiteY4" fmla="*/ 43056 h 138950"/>
                  <a:gd name="connsiteX5" fmla="*/ 21161 w 112531"/>
                  <a:gd name="connsiteY5" fmla="*/ 43056 h 138950"/>
                  <a:gd name="connsiteX6" fmla="*/ 21161 w 112531"/>
                  <a:gd name="connsiteY6" fmla="*/ 26608 h 138950"/>
                  <a:gd name="connsiteX7" fmla="*/ 47769 w 112531"/>
                  <a:gd name="connsiteY7" fmla="*/ 0 h 138950"/>
                  <a:gd name="connsiteX8" fmla="*/ 64774 w 112531"/>
                  <a:gd name="connsiteY8" fmla="*/ 0 h 138950"/>
                  <a:gd name="connsiteX9" fmla="*/ 91382 w 112531"/>
                  <a:gd name="connsiteY9" fmla="*/ 26608 h 138950"/>
                  <a:gd name="connsiteX10" fmla="*/ 91382 w 112531"/>
                  <a:gd name="connsiteY10" fmla="*/ 43056 h 1389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112531" h="138950">
                    <a:moveTo>
                      <a:pt x="91382" y="43056"/>
                    </a:moveTo>
                    <a:lnTo>
                      <a:pt x="112531" y="43056"/>
                    </a:lnTo>
                    <a:lnTo>
                      <a:pt x="112531" y="138950"/>
                    </a:lnTo>
                    <a:lnTo>
                      <a:pt x="0" y="138950"/>
                    </a:lnTo>
                    <a:lnTo>
                      <a:pt x="0" y="43056"/>
                    </a:lnTo>
                    <a:lnTo>
                      <a:pt x="21161" y="43056"/>
                    </a:lnTo>
                    <a:lnTo>
                      <a:pt x="21161" y="26608"/>
                    </a:lnTo>
                    <a:cubicBezTo>
                      <a:pt x="21161" y="11984"/>
                      <a:pt x="33145" y="0"/>
                      <a:pt x="47769" y="0"/>
                    </a:cubicBezTo>
                    <a:lnTo>
                      <a:pt x="64774" y="0"/>
                    </a:lnTo>
                    <a:cubicBezTo>
                      <a:pt x="79410" y="0"/>
                      <a:pt x="91382" y="11984"/>
                      <a:pt x="91382" y="26608"/>
                    </a:cubicBezTo>
                    <a:lnTo>
                      <a:pt x="91382" y="43056"/>
                    </a:lnTo>
                    <a:close/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073" name="Forma livre: Forma 2072">
                <a:extLst>
                  <a:ext uri="{FF2B5EF4-FFF2-40B4-BE49-F238E27FC236}">
                    <a16:creationId xmlns:a16="http://schemas.microsoft.com/office/drawing/2014/main" id="{DB1F71C3-DCB1-1B0D-6D75-C3E794FA46A4}"/>
                  </a:ext>
                </a:extLst>
              </p:cNvPr>
              <p:cNvSpPr/>
              <p:nvPr/>
            </p:nvSpPr>
            <p:spPr>
              <a:xfrm>
                <a:off x="6880664" y="5818540"/>
                <a:ext cx="30065" cy="1184"/>
              </a:xfrm>
              <a:custGeom>
                <a:avLst/>
                <a:gdLst>
                  <a:gd name="connsiteX0" fmla="*/ 0 w 30065"/>
                  <a:gd name="connsiteY0" fmla="*/ 0 h 1184"/>
                  <a:gd name="connsiteX1" fmla="*/ 30066 w 30065"/>
                  <a:gd name="connsiteY1" fmla="*/ 0 h 11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0065" h="1184">
                    <a:moveTo>
                      <a:pt x="0" y="0"/>
                    </a:moveTo>
                    <a:lnTo>
                      <a:pt x="30066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2074" name="Gráfico 17">
            <a:extLst>
              <a:ext uri="{FF2B5EF4-FFF2-40B4-BE49-F238E27FC236}">
                <a16:creationId xmlns:a16="http://schemas.microsoft.com/office/drawing/2014/main" id="{263FC5FA-A061-70EF-1E3B-89CE608260EA}"/>
              </a:ext>
            </a:extLst>
          </p:cNvPr>
          <p:cNvGrpSpPr/>
          <p:nvPr/>
        </p:nvGrpSpPr>
        <p:grpSpPr>
          <a:xfrm>
            <a:off x="6732039" y="5190446"/>
            <a:ext cx="201450" cy="294751"/>
            <a:chOff x="6732039" y="5190446"/>
            <a:chExt cx="201450" cy="294751"/>
          </a:xfrm>
          <a:noFill/>
        </p:grpSpPr>
        <p:grpSp>
          <p:nvGrpSpPr>
            <p:cNvPr id="2075" name="Gráfico 17">
              <a:extLst>
                <a:ext uri="{FF2B5EF4-FFF2-40B4-BE49-F238E27FC236}">
                  <a16:creationId xmlns:a16="http://schemas.microsoft.com/office/drawing/2014/main" id="{7D39E005-8261-778F-23B0-1917045F1066}"/>
                </a:ext>
              </a:extLst>
            </p:cNvPr>
            <p:cNvGrpSpPr/>
            <p:nvPr/>
          </p:nvGrpSpPr>
          <p:grpSpPr>
            <a:xfrm>
              <a:off x="6732039" y="5190446"/>
              <a:ext cx="163000" cy="294751"/>
              <a:chOff x="6732039" y="5190446"/>
              <a:chExt cx="163000" cy="294751"/>
            </a:xfrm>
            <a:noFill/>
          </p:grpSpPr>
          <p:sp>
            <p:nvSpPr>
              <p:cNvPr id="2076" name="Forma livre: Forma 2075">
                <a:extLst>
                  <a:ext uri="{FF2B5EF4-FFF2-40B4-BE49-F238E27FC236}">
                    <a16:creationId xmlns:a16="http://schemas.microsoft.com/office/drawing/2014/main" id="{28089E2F-016A-B4CD-FA17-CB65BD8AA500}"/>
                  </a:ext>
                </a:extLst>
              </p:cNvPr>
              <p:cNvSpPr/>
              <p:nvPr/>
            </p:nvSpPr>
            <p:spPr>
              <a:xfrm>
                <a:off x="6732039" y="5190446"/>
                <a:ext cx="163000" cy="294751"/>
              </a:xfrm>
              <a:custGeom>
                <a:avLst/>
                <a:gdLst>
                  <a:gd name="connsiteX0" fmla="*/ 163001 w 163000"/>
                  <a:gd name="connsiteY0" fmla="*/ 227467 h 294751"/>
                  <a:gd name="connsiteX1" fmla="*/ 163001 w 163000"/>
                  <a:gd name="connsiteY1" fmla="*/ 280991 h 294751"/>
                  <a:gd name="connsiteX2" fmla="*/ 149655 w 163000"/>
                  <a:gd name="connsiteY2" fmla="*/ 294751 h 294751"/>
                  <a:gd name="connsiteX3" fmla="*/ 13346 w 163000"/>
                  <a:gd name="connsiteY3" fmla="*/ 294751 h 294751"/>
                  <a:gd name="connsiteX4" fmla="*/ 0 w 163000"/>
                  <a:gd name="connsiteY4" fmla="*/ 280991 h 294751"/>
                  <a:gd name="connsiteX5" fmla="*/ 0 w 163000"/>
                  <a:gd name="connsiteY5" fmla="*/ 13334 h 294751"/>
                  <a:gd name="connsiteX6" fmla="*/ 13346 w 163000"/>
                  <a:gd name="connsiteY6" fmla="*/ 0 h 294751"/>
                  <a:gd name="connsiteX7" fmla="*/ 149655 w 163000"/>
                  <a:gd name="connsiteY7" fmla="*/ 0 h 294751"/>
                  <a:gd name="connsiteX8" fmla="*/ 163001 w 163000"/>
                  <a:gd name="connsiteY8" fmla="*/ 13334 h 294751"/>
                  <a:gd name="connsiteX9" fmla="*/ 163001 w 163000"/>
                  <a:gd name="connsiteY9" fmla="*/ 39374 h 2947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63000" h="294751">
                    <a:moveTo>
                      <a:pt x="163001" y="227467"/>
                    </a:moveTo>
                    <a:lnTo>
                      <a:pt x="163001" y="280991"/>
                    </a:lnTo>
                    <a:cubicBezTo>
                      <a:pt x="163001" y="288333"/>
                      <a:pt x="156997" y="294751"/>
                      <a:pt x="149655" y="294751"/>
                    </a:cubicBezTo>
                    <a:lnTo>
                      <a:pt x="13346" y="294751"/>
                    </a:lnTo>
                    <a:cubicBezTo>
                      <a:pt x="6004" y="294751"/>
                      <a:pt x="0" y="288333"/>
                      <a:pt x="0" y="280991"/>
                    </a:cubicBezTo>
                    <a:lnTo>
                      <a:pt x="0" y="13334"/>
                    </a:lnTo>
                    <a:cubicBezTo>
                      <a:pt x="0" y="5992"/>
                      <a:pt x="6004" y="0"/>
                      <a:pt x="13346" y="0"/>
                    </a:cubicBezTo>
                    <a:lnTo>
                      <a:pt x="149655" y="0"/>
                    </a:lnTo>
                    <a:cubicBezTo>
                      <a:pt x="156997" y="0"/>
                      <a:pt x="163001" y="5992"/>
                      <a:pt x="163001" y="13334"/>
                    </a:cubicBezTo>
                    <a:lnTo>
                      <a:pt x="163001" y="39374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077" name="Forma livre: Forma 2076">
                <a:extLst>
                  <a:ext uri="{FF2B5EF4-FFF2-40B4-BE49-F238E27FC236}">
                    <a16:creationId xmlns:a16="http://schemas.microsoft.com/office/drawing/2014/main" id="{9DED7144-FE0B-4FB3-573D-EC8A9384C9F0}"/>
                  </a:ext>
                </a:extLst>
              </p:cNvPr>
              <p:cNvSpPr/>
              <p:nvPr/>
            </p:nvSpPr>
            <p:spPr>
              <a:xfrm>
                <a:off x="6802462" y="5455487"/>
                <a:ext cx="22167" cy="1184"/>
              </a:xfrm>
              <a:custGeom>
                <a:avLst/>
                <a:gdLst>
                  <a:gd name="connsiteX0" fmla="*/ 0 w 22167"/>
                  <a:gd name="connsiteY0" fmla="*/ 0 h 1184"/>
                  <a:gd name="connsiteX1" fmla="*/ 22168 w 22167"/>
                  <a:gd name="connsiteY1" fmla="*/ 0 h 11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2167" h="1184">
                    <a:moveTo>
                      <a:pt x="0" y="0"/>
                    </a:moveTo>
                    <a:lnTo>
                      <a:pt x="22168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2078" name="Forma livre: Forma 2077">
              <a:extLst>
                <a:ext uri="{FF2B5EF4-FFF2-40B4-BE49-F238E27FC236}">
                  <a16:creationId xmlns:a16="http://schemas.microsoft.com/office/drawing/2014/main" id="{047BA998-657D-E9BF-2471-882F1F9EC829}"/>
                </a:ext>
              </a:extLst>
            </p:cNvPr>
            <p:cNvSpPr/>
            <p:nvPr/>
          </p:nvSpPr>
          <p:spPr>
            <a:xfrm>
              <a:off x="6898959" y="5299259"/>
              <a:ext cx="7105" cy="51132"/>
            </a:xfrm>
            <a:custGeom>
              <a:avLst/>
              <a:gdLst>
                <a:gd name="connsiteX0" fmla="*/ 876 w 7105"/>
                <a:gd name="connsiteY0" fmla="*/ 0 h 51132"/>
                <a:gd name="connsiteX1" fmla="*/ 7105 w 7105"/>
                <a:gd name="connsiteY1" fmla="*/ 24773 h 51132"/>
                <a:gd name="connsiteX2" fmla="*/ 0 w 7105"/>
                <a:gd name="connsiteY2" fmla="*/ 51132 h 511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7105" h="51132">
                  <a:moveTo>
                    <a:pt x="876" y="0"/>
                  </a:moveTo>
                  <a:cubicBezTo>
                    <a:pt x="4855" y="7377"/>
                    <a:pt x="7105" y="15820"/>
                    <a:pt x="7105" y="24773"/>
                  </a:cubicBezTo>
                  <a:cubicBezTo>
                    <a:pt x="7105" y="34376"/>
                    <a:pt x="4512" y="43388"/>
                    <a:pt x="0" y="51132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79" name="Forma livre: Forma 2078">
              <a:extLst>
                <a:ext uri="{FF2B5EF4-FFF2-40B4-BE49-F238E27FC236}">
                  <a16:creationId xmlns:a16="http://schemas.microsoft.com/office/drawing/2014/main" id="{7E0C7EF9-93FA-D874-90A5-FAB53873AD72}"/>
                </a:ext>
              </a:extLst>
            </p:cNvPr>
            <p:cNvSpPr/>
            <p:nvPr/>
          </p:nvSpPr>
          <p:spPr>
            <a:xfrm>
              <a:off x="6801278" y="5271645"/>
              <a:ext cx="69285" cy="78379"/>
            </a:xfrm>
            <a:custGeom>
              <a:avLst/>
              <a:gdLst>
                <a:gd name="connsiteX0" fmla="*/ 6892 w 69285"/>
                <a:gd name="connsiteY0" fmla="*/ 78380 h 78379"/>
                <a:gd name="connsiteX1" fmla="*/ 0 w 69285"/>
                <a:gd name="connsiteY1" fmla="*/ 52388 h 78379"/>
                <a:gd name="connsiteX2" fmla="*/ 52388 w 69285"/>
                <a:gd name="connsiteY2" fmla="*/ 0 h 78379"/>
                <a:gd name="connsiteX3" fmla="*/ 69286 w 69285"/>
                <a:gd name="connsiteY3" fmla="*/ 2783 h 783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9285" h="78379">
                  <a:moveTo>
                    <a:pt x="6892" y="78380"/>
                  </a:moveTo>
                  <a:cubicBezTo>
                    <a:pt x="2510" y="70718"/>
                    <a:pt x="0" y="61861"/>
                    <a:pt x="0" y="52388"/>
                  </a:cubicBezTo>
                  <a:cubicBezTo>
                    <a:pt x="0" y="23458"/>
                    <a:pt x="23458" y="0"/>
                    <a:pt x="52388" y="0"/>
                  </a:cubicBezTo>
                  <a:cubicBezTo>
                    <a:pt x="58297" y="0"/>
                    <a:pt x="63981" y="983"/>
                    <a:pt x="69286" y="2783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80" name="Forma livre: Forma 2079">
              <a:extLst>
                <a:ext uri="{FF2B5EF4-FFF2-40B4-BE49-F238E27FC236}">
                  <a16:creationId xmlns:a16="http://schemas.microsoft.com/office/drawing/2014/main" id="{235F943E-1343-DF0E-29EF-441161CEF49E}"/>
                </a:ext>
              </a:extLst>
            </p:cNvPr>
            <p:cNvSpPr/>
            <p:nvPr/>
          </p:nvSpPr>
          <p:spPr>
            <a:xfrm>
              <a:off x="6837181" y="5307560"/>
              <a:ext cx="32967" cy="32979"/>
            </a:xfrm>
            <a:custGeom>
              <a:avLst/>
              <a:gdLst>
                <a:gd name="connsiteX0" fmla="*/ 32967 w 32967"/>
                <a:gd name="connsiteY0" fmla="*/ 16484 h 32979"/>
                <a:gd name="connsiteX1" fmla="*/ 16484 w 32967"/>
                <a:gd name="connsiteY1" fmla="*/ 32979 h 32979"/>
                <a:gd name="connsiteX2" fmla="*/ 0 w 32967"/>
                <a:gd name="connsiteY2" fmla="*/ 16484 h 32979"/>
                <a:gd name="connsiteX3" fmla="*/ 16484 w 32967"/>
                <a:gd name="connsiteY3" fmla="*/ 0 h 32979"/>
                <a:gd name="connsiteX4" fmla="*/ 32967 w 32967"/>
                <a:gd name="connsiteY4" fmla="*/ 16484 h 329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2967" h="32979">
                  <a:moveTo>
                    <a:pt x="32967" y="16484"/>
                  </a:moveTo>
                  <a:cubicBezTo>
                    <a:pt x="32967" y="25602"/>
                    <a:pt x="25590" y="32979"/>
                    <a:pt x="16484" y="32979"/>
                  </a:cubicBezTo>
                  <a:cubicBezTo>
                    <a:pt x="7377" y="32979"/>
                    <a:pt x="0" y="25602"/>
                    <a:pt x="0" y="16484"/>
                  </a:cubicBezTo>
                  <a:cubicBezTo>
                    <a:pt x="0" y="7365"/>
                    <a:pt x="7377" y="0"/>
                    <a:pt x="16484" y="0"/>
                  </a:cubicBezTo>
                  <a:cubicBezTo>
                    <a:pt x="25590" y="0"/>
                    <a:pt x="32967" y="7377"/>
                    <a:pt x="32967" y="16484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81" name="Forma livre: Forma 2080">
              <a:extLst>
                <a:ext uri="{FF2B5EF4-FFF2-40B4-BE49-F238E27FC236}">
                  <a16:creationId xmlns:a16="http://schemas.microsoft.com/office/drawing/2014/main" id="{8B81339A-05E0-B1C0-7715-ECCF49492047}"/>
                </a:ext>
              </a:extLst>
            </p:cNvPr>
            <p:cNvSpPr/>
            <p:nvPr/>
          </p:nvSpPr>
          <p:spPr>
            <a:xfrm>
              <a:off x="6864062" y="5281023"/>
              <a:ext cx="25956" cy="30788"/>
            </a:xfrm>
            <a:custGeom>
              <a:avLst/>
              <a:gdLst>
                <a:gd name="connsiteX0" fmla="*/ 0 w 25956"/>
                <a:gd name="connsiteY0" fmla="*/ 30788 h 30788"/>
                <a:gd name="connsiteX1" fmla="*/ 25957 w 25956"/>
                <a:gd name="connsiteY1" fmla="*/ 0 h 307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5956" h="30788">
                  <a:moveTo>
                    <a:pt x="0" y="30788"/>
                  </a:moveTo>
                  <a:lnTo>
                    <a:pt x="25957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82" name="Forma livre: Forma 2081">
              <a:extLst>
                <a:ext uri="{FF2B5EF4-FFF2-40B4-BE49-F238E27FC236}">
                  <a16:creationId xmlns:a16="http://schemas.microsoft.com/office/drawing/2014/main" id="{E50EA3F4-7618-7A99-7C5B-C3498AA25A8F}"/>
                </a:ext>
              </a:extLst>
            </p:cNvPr>
            <p:cNvSpPr/>
            <p:nvPr/>
          </p:nvSpPr>
          <p:spPr>
            <a:xfrm>
              <a:off x="6773817" y="5244172"/>
              <a:ext cx="159673" cy="159673"/>
            </a:xfrm>
            <a:custGeom>
              <a:avLst/>
              <a:gdLst>
                <a:gd name="connsiteX0" fmla="*/ 46680 w 159673"/>
                <a:gd name="connsiteY0" fmla="*/ 7188 h 159673"/>
                <a:gd name="connsiteX1" fmla="*/ 79837 w 159673"/>
                <a:gd name="connsiteY1" fmla="*/ 0 h 159673"/>
                <a:gd name="connsiteX2" fmla="*/ 159673 w 159673"/>
                <a:gd name="connsiteY2" fmla="*/ 79837 h 159673"/>
                <a:gd name="connsiteX3" fmla="*/ 79837 w 159673"/>
                <a:gd name="connsiteY3" fmla="*/ 159673 h 159673"/>
                <a:gd name="connsiteX4" fmla="*/ 0 w 159673"/>
                <a:gd name="connsiteY4" fmla="*/ 79837 h 159673"/>
                <a:gd name="connsiteX5" fmla="*/ 24287 w 159673"/>
                <a:gd name="connsiteY5" fmla="*/ 22499 h 1596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59673" h="159673">
                  <a:moveTo>
                    <a:pt x="46680" y="7188"/>
                  </a:moveTo>
                  <a:cubicBezTo>
                    <a:pt x="56781" y="2570"/>
                    <a:pt x="68007" y="0"/>
                    <a:pt x="79837" y="0"/>
                  </a:cubicBezTo>
                  <a:cubicBezTo>
                    <a:pt x="123923" y="0"/>
                    <a:pt x="159673" y="35750"/>
                    <a:pt x="159673" y="79837"/>
                  </a:cubicBezTo>
                  <a:cubicBezTo>
                    <a:pt x="159673" y="123923"/>
                    <a:pt x="123923" y="159673"/>
                    <a:pt x="79837" y="159673"/>
                  </a:cubicBezTo>
                  <a:cubicBezTo>
                    <a:pt x="35750" y="159673"/>
                    <a:pt x="0" y="123923"/>
                    <a:pt x="0" y="79837"/>
                  </a:cubicBezTo>
                  <a:cubicBezTo>
                    <a:pt x="0" y="57337"/>
                    <a:pt x="9308" y="37017"/>
                    <a:pt x="24287" y="22499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2083" name="Gráfico 17">
            <a:extLst>
              <a:ext uri="{FF2B5EF4-FFF2-40B4-BE49-F238E27FC236}">
                <a16:creationId xmlns:a16="http://schemas.microsoft.com/office/drawing/2014/main" id="{477EB83A-3095-0A1A-2829-17839FF7CDE2}"/>
              </a:ext>
            </a:extLst>
          </p:cNvPr>
          <p:cNvGrpSpPr/>
          <p:nvPr/>
        </p:nvGrpSpPr>
        <p:grpSpPr>
          <a:xfrm>
            <a:off x="7350115" y="3609938"/>
            <a:ext cx="163012" cy="294751"/>
            <a:chOff x="7350115" y="3609938"/>
            <a:chExt cx="163012" cy="294751"/>
          </a:xfrm>
          <a:noFill/>
        </p:grpSpPr>
        <p:grpSp>
          <p:nvGrpSpPr>
            <p:cNvPr id="2084" name="Gráfico 17">
              <a:extLst>
                <a:ext uri="{FF2B5EF4-FFF2-40B4-BE49-F238E27FC236}">
                  <a16:creationId xmlns:a16="http://schemas.microsoft.com/office/drawing/2014/main" id="{B6C91E49-CE99-63D4-6E35-FF9FE3F8861A}"/>
                </a:ext>
              </a:extLst>
            </p:cNvPr>
            <p:cNvGrpSpPr/>
            <p:nvPr/>
          </p:nvGrpSpPr>
          <p:grpSpPr>
            <a:xfrm>
              <a:off x="7350115" y="3609938"/>
              <a:ext cx="163012" cy="294751"/>
              <a:chOff x="7350115" y="3609938"/>
              <a:chExt cx="163012" cy="294751"/>
            </a:xfrm>
            <a:noFill/>
          </p:grpSpPr>
          <p:sp>
            <p:nvSpPr>
              <p:cNvPr id="2085" name="Forma livre: Forma 2084">
                <a:extLst>
                  <a:ext uri="{FF2B5EF4-FFF2-40B4-BE49-F238E27FC236}">
                    <a16:creationId xmlns:a16="http://schemas.microsoft.com/office/drawing/2014/main" id="{740B1F0D-A417-14C4-23E7-81429CC3FA5D}"/>
                  </a:ext>
                </a:extLst>
              </p:cNvPr>
              <p:cNvSpPr/>
              <p:nvPr/>
            </p:nvSpPr>
            <p:spPr>
              <a:xfrm>
                <a:off x="7350115" y="3609938"/>
                <a:ext cx="163012" cy="294751"/>
              </a:xfrm>
              <a:custGeom>
                <a:avLst/>
                <a:gdLst>
                  <a:gd name="connsiteX0" fmla="*/ 163012 w 163012"/>
                  <a:gd name="connsiteY0" fmla="*/ 280991 h 294751"/>
                  <a:gd name="connsiteX1" fmla="*/ 149667 w 163012"/>
                  <a:gd name="connsiteY1" fmla="*/ 294751 h 294751"/>
                  <a:gd name="connsiteX2" fmla="*/ 13346 w 163012"/>
                  <a:gd name="connsiteY2" fmla="*/ 294751 h 294751"/>
                  <a:gd name="connsiteX3" fmla="*/ 0 w 163012"/>
                  <a:gd name="connsiteY3" fmla="*/ 280991 h 294751"/>
                  <a:gd name="connsiteX4" fmla="*/ 0 w 163012"/>
                  <a:gd name="connsiteY4" fmla="*/ 13334 h 294751"/>
                  <a:gd name="connsiteX5" fmla="*/ 13346 w 163012"/>
                  <a:gd name="connsiteY5" fmla="*/ 0 h 294751"/>
                  <a:gd name="connsiteX6" fmla="*/ 149667 w 163012"/>
                  <a:gd name="connsiteY6" fmla="*/ 0 h 294751"/>
                  <a:gd name="connsiteX7" fmla="*/ 163012 w 163012"/>
                  <a:gd name="connsiteY7" fmla="*/ 13334 h 294751"/>
                  <a:gd name="connsiteX8" fmla="*/ 163012 w 163012"/>
                  <a:gd name="connsiteY8" fmla="*/ 280991 h 2947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63012" h="294751">
                    <a:moveTo>
                      <a:pt x="163012" y="280991"/>
                    </a:moveTo>
                    <a:cubicBezTo>
                      <a:pt x="163012" y="288333"/>
                      <a:pt x="157009" y="294751"/>
                      <a:pt x="149667" y="294751"/>
                    </a:cubicBezTo>
                    <a:lnTo>
                      <a:pt x="13346" y="294751"/>
                    </a:lnTo>
                    <a:cubicBezTo>
                      <a:pt x="6004" y="294751"/>
                      <a:pt x="0" y="288333"/>
                      <a:pt x="0" y="280991"/>
                    </a:cubicBezTo>
                    <a:lnTo>
                      <a:pt x="0" y="13334"/>
                    </a:lnTo>
                    <a:cubicBezTo>
                      <a:pt x="0" y="5992"/>
                      <a:pt x="6004" y="0"/>
                      <a:pt x="13346" y="0"/>
                    </a:cubicBezTo>
                    <a:lnTo>
                      <a:pt x="149667" y="0"/>
                    </a:lnTo>
                    <a:cubicBezTo>
                      <a:pt x="157009" y="0"/>
                      <a:pt x="163012" y="5992"/>
                      <a:pt x="163012" y="13334"/>
                    </a:cubicBezTo>
                    <a:lnTo>
                      <a:pt x="163012" y="280991"/>
                    </a:ln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086" name="Forma livre: Forma 2085">
                <a:extLst>
                  <a:ext uri="{FF2B5EF4-FFF2-40B4-BE49-F238E27FC236}">
                    <a16:creationId xmlns:a16="http://schemas.microsoft.com/office/drawing/2014/main" id="{796FA9B8-B29C-71E0-A1C4-3C8899BE348F}"/>
                  </a:ext>
                </a:extLst>
              </p:cNvPr>
              <p:cNvSpPr/>
              <p:nvPr/>
            </p:nvSpPr>
            <p:spPr>
              <a:xfrm>
                <a:off x="7420549" y="3874967"/>
                <a:ext cx="22167" cy="1184"/>
              </a:xfrm>
              <a:custGeom>
                <a:avLst/>
                <a:gdLst>
                  <a:gd name="connsiteX0" fmla="*/ 0 w 22167"/>
                  <a:gd name="connsiteY0" fmla="*/ 0 h 1184"/>
                  <a:gd name="connsiteX1" fmla="*/ 22168 w 22167"/>
                  <a:gd name="connsiteY1" fmla="*/ 0 h 11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2167" h="1184">
                    <a:moveTo>
                      <a:pt x="0" y="0"/>
                    </a:moveTo>
                    <a:lnTo>
                      <a:pt x="22168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2087" name="Forma livre: Forma 2086">
              <a:extLst>
                <a:ext uri="{FF2B5EF4-FFF2-40B4-BE49-F238E27FC236}">
                  <a16:creationId xmlns:a16="http://schemas.microsoft.com/office/drawing/2014/main" id="{6C22F90C-22D0-1927-55EF-2ECD9245DE60}"/>
                </a:ext>
              </a:extLst>
            </p:cNvPr>
            <p:cNvSpPr/>
            <p:nvPr/>
          </p:nvSpPr>
          <p:spPr>
            <a:xfrm>
              <a:off x="7397565" y="3659129"/>
              <a:ext cx="68160" cy="150661"/>
            </a:xfrm>
            <a:custGeom>
              <a:avLst/>
              <a:gdLst>
                <a:gd name="connsiteX0" fmla="*/ 0 w 68160"/>
                <a:gd name="connsiteY0" fmla="*/ 45673 h 150661"/>
                <a:gd name="connsiteX1" fmla="*/ 68161 w 68160"/>
                <a:gd name="connsiteY1" fmla="*/ 111513 h 150661"/>
                <a:gd name="connsiteX2" fmla="*/ 26277 w 68160"/>
                <a:gd name="connsiteY2" fmla="*/ 150662 h 150661"/>
                <a:gd name="connsiteX3" fmla="*/ 26277 w 68160"/>
                <a:gd name="connsiteY3" fmla="*/ 0 h 150661"/>
                <a:gd name="connsiteX4" fmla="*/ 68161 w 68160"/>
                <a:gd name="connsiteY4" fmla="*/ 39160 h 150661"/>
                <a:gd name="connsiteX5" fmla="*/ 0 w 68160"/>
                <a:gd name="connsiteY5" fmla="*/ 105000 h 1506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8160" h="150661">
                  <a:moveTo>
                    <a:pt x="0" y="45673"/>
                  </a:moveTo>
                  <a:lnTo>
                    <a:pt x="68161" y="111513"/>
                  </a:lnTo>
                  <a:lnTo>
                    <a:pt x="26277" y="150662"/>
                  </a:lnTo>
                  <a:lnTo>
                    <a:pt x="26277" y="0"/>
                  </a:lnTo>
                  <a:lnTo>
                    <a:pt x="68161" y="39160"/>
                  </a:lnTo>
                  <a:lnTo>
                    <a:pt x="0" y="105000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2088" name="Gráfico 17">
            <a:extLst>
              <a:ext uri="{FF2B5EF4-FFF2-40B4-BE49-F238E27FC236}">
                <a16:creationId xmlns:a16="http://schemas.microsoft.com/office/drawing/2014/main" id="{920810FB-9EA6-0AF5-23AB-D24B30A51A1A}"/>
              </a:ext>
            </a:extLst>
          </p:cNvPr>
          <p:cNvGrpSpPr/>
          <p:nvPr/>
        </p:nvGrpSpPr>
        <p:grpSpPr>
          <a:xfrm>
            <a:off x="7350127" y="4136774"/>
            <a:ext cx="221806" cy="294751"/>
            <a:chOff x="7350127" y="4136774"/>
            <a:chExt cx="221806" cy="294751"/>
          </a:xfrm>
          <a:noFill/>
        </p:grpSpPr>
        <p:grpSp>
          <p:nvGrpSpPr>
            <p:cNvPr id="2089" name="Gráfico 17">
              <a:extLst>
                <a:ext uri="{FF2B5EF4-FFF2-40B4-BE49-F238E27FC236}">
                  <a16:creationId xmlns:a16="http://schemas.microsoft.com/office/drawing/2014/main" id="{A8055876-D69A-E09F-48B0-373408D488C4}"/>
                </a:ext>
              </a:extLst>
            </p:cNvPr>
            <p:cNvGrpSpPr/>
            <p:nvPr/>
          </p:nvGrpSpPr>
          <p:grpSpPr>
            <a:xfrm>
              <a:off x="7350127" y="4136774"/>
              <a:ext cx="163000" cy="294751"/>
              <a:chOff x="7350127" y="4136774"/>
              <a:chExt cx="163000" cy="294751"/>
            </a:xfrm>
            <a:noFill/>
          </p:grpSpPr>
          <p:sp>
            <p:nvSpPr>
              <p:cNvPr id="2090" name="Forma livre: Forma 2089">
                <a:extLst>
                  <a:ext uri="{FF2B5EF4-FFF2-40B4-BE49-F238E27FC236}">
                    <a16:creationId xmlns:a16="http://schemas.microsoft.com/office/drawing/2014/main" id="{3ABA6EED-B023-EB09-8A07-BFF3F89B1A06}"/>
                  </a:ext>
                </a:extLst>
              </p:cNvPr>
              <p:cNvSpPr/>
              <p:nvPr/>
            </p:nvSpPr>
            <p:spPr>
              <a:xfrm>
                <a:off x="7350127" y="4136774"/>
                <a:ext cx="163000" cy="294751"/>
              </a:xfrm>
              <a:custGeom>
                <a:avLst/>
                <a:gdLst>
                  <a:gd name="connsiteX0" fmla="*/ 163001 w 163000"/>
                  <a:gd name="connsiteY0" fmla="*/ 200030 h 294751"/>
                  <a:gd name="connsiteX1" fmla="*/ 163001 w 163000"/>
                  <a:gd name="connsiteY1" fmla="*/ 280991 h 294751"/>
                  <a:gd name="connsiteX2" fmla="*/ 149655 w 163000"/>
                  <a:gd name="connsiteY2" fmla="*/ 294751 h 294751"/>
                  <a:gd name="connsiteX3" fmla="*/ 13346 w 163000"/>
                  <a:gd name="connsiteY3" fmla="*/ 294751 h 294751"/>
                  <a:gd name="connsiteX4" fmla="*/ 0 w 163000"/>
                  <a:gd name="connsiteY4" fmla="*/ 280991 h 294751"/>
                  <a:gd name="connsiteX5" fmla="*/ 0 w 163000"/>
                  <a:gd name="connsiteY5" fmla="*/ 13334 h 294751"/>
                  <a:gd name="connsiteX6" fmla="*/ 13346 w 163000"/>
                  <a:gd name="connsiteY6" fmla="*/ 0 h 294751"/>
                  <a:gd name="connsiteX7" fmla="*/ 149655 w 163000"/>
                  <a:gd name="connsiteY7" fmla="*/ 0 h 294751"/>
                  <a:gd name="connsiteX8" fmla="*/ 163001 w 163000"/>
                  <a:gd name="connsiteY8" fmla="*/ 13334 h 294751"/>
                  <a:gd name="connsiteX9" fmla="*/ 163001 w 163000"/>
                  <a:gd name="connsiteY9" fmla="*/ 54022 h 2947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63000" h="294751">
                    <a:moveTo>
                      <a:pt x="163001" y="200030"/>
                    </a:moveTo>
                    <a:lnTo>
                      <a:pt x="163001" y="280991"/>
                    </a:lnTo>
                    <a:cubicBezTo>
                      <a:pt x="163001" y="288333"/>
                      <a:pt x="156997" y="294751"/>
                      <a:pt x="149655" y="294751"/>
                    </a:cubicBezTo>
                    <a:lnTo>
                      <a:pt x="13346" y="294751"/>
                    </a:lnTo>
                    <a:cubicBezTo>
                      <a:pt x="6004" y="294751"/>
                      <a:pt x="0" y="288333"/>
                      <a:pt x="0" y="280991"/>
                    </a:cubicBezTo>
                    <a:lnTo>
                      <a:pt x="0" y="13334"/>
                    </a:lnTo>
                    <a:cubicBezTo>
                      <a:pt x="0" y="5992"/>
                      <a:pt x="6004" y="0"/>
                      <a:pt x="13346" y="0"/>
                    </a:cubicBezTo>
                    <a:lnTo>
                      <a:pt x="149655" y="0"/>
                    </a:lnTo>
                    <a:cubicBezTo>
                      <a:pt x="156997" y="0"/>
                      <a:pt x="163001" y="5992"/>
                      <a:pt x="163001" y="13334"/>
                    </a:cubicBezTo>
                    <a:lnTo>
                      <a:pt x="163001" y="54022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091" name="Forma livre: Forma 2090">
                <a:extLst>
                  <a:ext uri="{FF2B5EF4-FFF2-40B4-BE49-F238E27FC236}">
                    <a16:creationId xmlns:a16="http://schemas.microsoft.com/office/drawing/2014/main" id="{5BBD7CD6-2CE3-FC2F-4FFB-08742DA2FFC7}"/>
                  </a:ext>
                </a:extLst>
              </p:cNvPr>
              <p:cNvSpPr/>
              <p:nvPr/>
            </p:nvSpPr>
            <p:spPr>
              <a:xfrm>
                <a:off x="7420549" y="4401803"/>
                <a:ext cx="22167" cy="1184"/>
              </a:xfrm>
              <a:custGeom>
                <a:avLst/>
                <a:gdLst>
                  <a:gd name="connsiteX0" fmla="*/ 0 w 22167"/>
                  <a:gd name="connsiteY0" fmla="*/ 0 h 1184"/>
                  <a:gd name="connsiteX1" fmla="*/ 22168 w 22167"/>
                  <a:gd name="connsiteY1" fmla="*/ 0 h 11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2167" h="1184">
                    <a:moveTo>
                      <a:pt x="0" y="0"/>
                    </a:moveTo>
                    <a:lnTo>
                      <a:pt x="22168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2092" name="Gráfico 17">
              <a:extLst>
                <a:ext uri="{FF2B5EF4-FFF2-40B4-BE49-F238E27FC236}">
                  <a16:creationId xmlns:a16="http://schemas.microsoft.com/office/drawing/2014/main" id="{F2A938AA-6B2C-0478-3EEB-A52040E5767E}"/>
                </a:ext>
              </a:extLst>
            </p:cNvPr>
            <p:cNvGrpSpPr/>
            <p:nvPr/>
          </p:nvGrpSpPr>
          <p:grpSpPr>
            <a:xfrm>
              <a:off x="7383023" y="4205634"/>
              <a:ext cx="188910" cy="112436"/>
              <a:chOff x="7383023" y="4205634"/>
              <a:chExt cx="188910" cy="112436"/>
            </a:xfrm>
            <a:noFill/>
          </p:grpSpPr>
          <p:sp>
            <p:nvSpPr>
              <p:cNvPr id="2093" name="Forma livre: Forma 2092">
                <a:extLst>
                  <a:ext uri="{FF2B5EF4-FFF2-40B4-BE49-F238E27FC236}">
                    <a16:creationId xmlns:a16="http://schemas.microsoft.com/office/drawing/2014/main" id="{5B8DBB33-8495-ADCA-ECBD-8D3A564E2A07}"/>
                  </a:ext>
                </a:extLst>
              </p:cNvPr>
              <p:cNvSpPr/>
              <p:nvPr/>
            </p:nvSpPr>
            <p:spPr>
              <a:xfrm>
                <a:off x="7383023" y="4205634"/>
                <a:ext cx="188910" cy="93430"/>
              </a:xfrm>
              <a:custGeom>
                <a:avLst/>
                <a:gdLst>
                  <a:gd name="connsiteX0" fmla="*/ 188910 w 188910"/>
                  <a:gd name="connsiteY0" fmla="*/ 93431 h 93430"/>
                  <a:gd name="connsiteX1" fmla="*/ 188910 w 188910"/>
                  <a:gd name="connsiteY1" fmla="*/ 28988 h 93430"/>
                  <a:gd name="connsiteX2" fmla="*/ 94461 w 188910"/>
                  <a:gd name="connsiteY2" fmla="*/ 0 h 93430"/>
                  <a:gd name="connsiteX3" fmla="*/ 0 w 188910"/>
                  <a:gd name="connsiteY3" fmla="*/ 29154 h 93430"/>
                  <a:gd name="connsiteX4" fmla="*/ 94461 w 188910"/>
                  <a:gd name="connsiteY4" fmla="*/ 62429 h 93430"/>
                  <a:gd name="connsiteX5" fmla="*/ 185808 w 188910"/>
                  <a:gd name="connsiteY5" fmla="*/ 30492 h 934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88910" h="93430">
                    <a:moveTo>
                      <a:pt x="188910" y="93431"/>
                    </a:moveTo>
                    <a:lnTo>
                      <a:pt x="188910" y="28988"/>
                    </a:lnTo>
                    <a:lnTo>
                      <a:pt x="94461" y="0"/>
                    </a:lnTo>
                    <a:lnTo>
                      <a:pt x="0" y="29154"/>
                    </a:lnTo>
                    <a:lnTo>
                      <a:pt x="94461" y="62429"/>
                    </a:lnTo>
                    <a:lnTo>
                      <a:pt x="185808" y="30492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094" name="Forma livre: Forma 2093">
                <a:extLst>
                  <a:ext uri="{FF2B5EF4-FFF2-40B4-BE49-F238E27FC236}">
                    <a16:creationId xmlns:a16="http://schemas.microsoft.com/office/drawing/2014/main" id="{9A7CC1D8-9A61-63C1-0A6C-1451B9F4C0F6}"/>
                  </a:ext>
                </a:extLst>
              </p:cNvPr>
              <p:cNvSpPr/>
              <p:nvPr/>
            </p:nvSpPr>
            <p:spPr>
              <a:xfrm>
                <a:off x="7422563" y="4251532"/>
                <a:ext cx="109831" cy="66538"/>
              </a:xfrm>
              <a:custGeom>
                <a:avLst/>
                <a:gdLst>
                  <a:gd name="connsiteX0" fmla="*/ 0 w 109831"/>
                  <a:gd name="connsiteY0" fmla="*/ 21161 h 66538"/>
                  <a:gd name="connsiteX1" fmla="*/ 0 w 109831"/>
                  <a:gd name="connsiteY1" fmla="*/ 46692 h 66538"/>
                  <a:gd name="connsiteX2" fmla="*/ 54922 w 109831"/>
                  <a:gd name="connsiteY2" fmla="*/ 66538 h 66538"/>
                  <a:gd name="connsiteX3" fmla="*/ 109831 w 109831"/>
                  <a:gd name="connsiteY3" fmla="*/ 46692 h 66538"/>
                  <a:gd name="connsiteX4" fmla="*/ 109831 w 109831"/>
                  <a:gd name="connsiteY4" fmla="*/ 0 h 665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09831" h="66538">
                    <a:moveTo>
                      <a:pt x="0" y="21161"/>
                    </a:moveTo>
                    <a:lnTo>
                      <a:pt x="0" y="46692"/>
                    </a:lnTo>
                    <a:cubicBezTo>
                      <a:pt x="12718" y="58782"/>
                      <a:pt x="32825" y="66538"/>
                      <a:pt x="54922" y="66538"/>
                    </a:cubicBezTo>
                    <a:cubicBezTo>
                      <a:pt x="77018" y="66538"/>
                      <a:pt x="97102" y="58782"/>
                      <a:pt x="109831" y="46692"/>
                    </a:cubicBezTo>
                    <a:lnTo>
                      <a:pt x="109831" y="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2095" name="Gráfico 17">
            <a:extLst>
              <a:ext uri="{FF2B5EF4-FFF2-40B4-BE49-F238E27FC236}">
                <a16:creationId xmlns:a16="http://schemas.microsoft.com/office/drawing/2014/main" id="{32AFD905-1CB1-30C3-3122-FFCC0E176221}"/>
              </a:ext>
            </a:extLst>
          </p:cNvPr>
          <p:cNvGrpSpPr/>
          <p:nvPr/>
        </p:nvGrpSpPr>
        <p:grpSpPr>
          <a:xfrm>
            <a:off x="7350127" y="4663622"/>
            <a:ext cx="205452" cy="294751"/>
            <a:chOff x="7350127" y="4663622"/>
            <a:chExt cx="205452" cy="294751"/>
          </a:xfrm>
          <a:noFill/>
        </p:grpSpPr>
        <p:sp>
          <p:nvSpPr>
            <p:cNvPr id="2096" name="Forma livre: Forma 2095">
              <a:extLst>
                <a:ext uri="{FF2B5EF4-FFF2-40B4-BE49-F238E27FC236}">
                  <a16:creationId xmlns:a16="http://schemas.microsoft.com/office/drawing/2014/main" id="{D48CF239-C663-D105-B39A-5749AAAE1E86}"/>
                </a:ext>
              </a:extLst>
            </p:cNvPr>
            <p:cNvSpPr/>
            <p:nvPr/>
          </p:nvSpPr>
          <p:spPr>
            <a:xfrm>
              <a:off x="7435624" y="4746253"/>
              <a:ext cx="83424" cy="79339"/>
            </a:xfrm>
            <a:custGeom>
              <a:avLst/>
              <a:gdLst>
                <a:gd name="connsiteX0" fmla="*/ 41706 w 83424"/>
                <a:gd name="connsiteY0" fmla="*/ 0 h 79339"/>
                <a:gd name="connsiteX1" fmla="*/ 53820 w 83424"/>
                <a:gd name="connsiteY1" fmla="*/ 27188 h 79339"/>
                <a:gd name="connsiteX2" fmla="*/ 83425 w 83424"/>
                <a:gd name="connsiteY2" fmla="*/ 30315 h 79339"/>
                <a:gd name="connsiteX3" fmla="*/ 61328 w 83424"/>
                <a:gd name="connsiteY3" fmla="*/ 50232 h 79339"/>
                <a:gd name="connsiteX4" fmla="*/ 67486 w 83424"/>
                <a:gd name="connsiteY4" fmla="*/ 79339 h 79339"/>
                <a:gd name="connsiteX5" fmla="*/ 41706 w 83424"/>
                <a:gd name="connsiteY5" fmla="*/ 64490 h 79339"/>
                <a:gd name="connsiteX6" fmla="*/ 15927 w 83424"/>
                <a:gd name="connsiteY6" fmla="*/ 79339 h 79339"/>
                <a:gd name="connsiteX7" fmla="*/ 22085 w 83424"/>
                <a:gd name="connsiteY7" fmla="*/ 50232 h 79339"/>
                <a:gd name="connsiteX8" fmla="*/ 0 w 83424"/>
                <a:gd name="connsiteY8" fmla="*/ 30315 h 79339"/>
                <a:gd name="connsiteX9" fmla="*/ 29592 w 83424"/>
                <a:gd name="connsiteY9" fmla="*/ 27188 h 79339"/>
                <a:gd name="connsiteX10" fmla="*/ 41706 w 83424"/>
                <a:gd name="connsiteY10" fmla="*/ 0 h 793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3424" h="79339">
                  <a:moveTo>
                    <a:pt x="41706" y="0"/>
                  </a:moveTo>
                  <a:lnTo>
                    <a:pt x="53820" y="27188"/>
                  </a:lnTo>
                  <a:lnTo>
                    <a:pt x="83425" y="30315"/>
                  </a:lnTo>
                  <a:lnTo>
                    <a:pt x="61328" y="50232"/>
                  </a:lnTo>
                  <a:lnTo>
                    <a:pt x="67486" y="79339"/>
                  </a:lnTo>
                  <a:lnTo>
                    <a:pt x="41706" y="64490"/>
                  </a:lnTo>
                  <a:lnTo>
                    <a:pt x="15927" y="79339"/>
                  </a:lnTo>
                  <a:lnTo>
                    <a:pt x="22085" y="50232"/>
                  </a:lnTo>
                  <a:lnTo>
                    <a:pt x="0" y="30315"/>
                  </a:lnTo>
                  <a:lnTo>
                    <a:pt x="29592" y="27188"/>
                  </a:lnTo>
                  <a:lnTo>
                    <a:pt x="41706" y="0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097" name="Forma livre: Forma 2096">
              <a:extLst>
                <a:ext uri="{FF2B5EF4-FFF2-40B4-BE49-F238E27FC236}">
                  <a16:creationId xmlns:a16="http://schemas.microsoft.com/office/drawing/2014/main" id="{04B7B283-7377-14E1-2922-4310F3C1D483}"/>
                </a:ext>
              </a:extLst>
            </p:cNvPr>
            <p:cNvSpPr/>
            <p:nvPr/>
          </p:nvSpPr>
          <p:spPr>
            <a:xfrm>
              <a:off x="7399092" y="4719621"/>
              <a:ext cx="156487" cy="165676"/>
            </a:xfrm>
            <a:custGeom>
              <a:avLst/>
              <a:gdLst>
                <a:gd name="connsiteX0" fmla="*/ 0 w 156487"/>
                <a:gd name="connsiteY0" fmla="*/ 0 h 165676"/>
                <a:gd name="connsiteX1" fmla="*/ 0 w 156487"/>
                <a:gd name="connsiteY1" fmla="*/ 165677 h 165676"/>
                <a:gd name="connsiteX2" fmla="*/ 35418 w 156487"/>
                <a:gd name="connsiteY2" fmla="*/ 133100 h 165676"/>
                <a:gd name="connsiteX3" fmla="*/ 156488 w 156487"/>
                <a:gd name="connsiteY3" fmla="*/ 133100 h 165676"/>
                <a:gd name="connsiteX4" fmla="*/ 156488 w 156487"/>
                <a:gd name="connsiteY4" fmla="*/ 0 h 165676"/>
                <a:gd name="connsiteX5" fmla="*/ 0 w 156487"/>
                <a:gd name="connsiteY5" fmla="*/ 0 h 1656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56487" h="165676">
                  <a:moveTo>
                    <a:pt x="0" y="0"/>
                  </a:moveTo>
                  <a:lnTo>
                    <a:pt x="0" y="165677"/>
                  </a:lnTo>
                  <a:lnTo>
                    <a:pt x="35418" y="133100"/>
                  </a:lnTo>
                  <a:lnTo>
                    <a:pt x="156488" y="133100"/>
                  </a:lnTo>
                  <a:lnTo>
                    <a:pt x="156488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2098" name="Gráfico 17">
              <a:extLst>
                <a:ext uri="{FF2B5EF4-FFF2-40B4-BE49-F238E27FC236}">
                  <a16:creationId xmlns:a16="http://schemas.microsoft.com/office/drawing/2014/main" id="{4B0A68CB-B214-1E45-DC66-EBAC6379A1C7}"/>
                </a:ext>
              </a:extLst>
            </p:cNvPr>
            <p:cNvGrpSpPr/>
            <p:nvPr/>
          </p:nvGrpSpPr>
          <p:grpSpPr>
            <a:xfrm>
              <a:off x="7350127" y="4663622"/>
              <a:ext cx="163000" cy="294751"/>
              <a:chOff x="7350127" y="4663622"/>
              <a:chExt cx="163000" cy="294751"/>
            </a:xfrm>
            <a:noFill/>
          </p:grpSpPr>
          <p:sp>
            <p:nvSpPr>
              <p:cNvPr id="2099" name="Forma livre: Forma 2098">
                <a:extLst>
                  <a:ext uri="{FF2B5EF4-FFF2-40B4-BE49-F238E27FC236}">
                    <a16:creationId xmlns:a16="http://schemas.microsoft.com/office/drawing/2014/main" id="{D16654F7-0101-5D08-C626-7CA20A69A803}"/>
                  </a:ext>
                </a:extLst>
              </p:cNvPr>
              <p:cNvSpPr/>
              <p:nvPr/>
            </p:nvSpPr>
            <p:spPr>
              <a:xfrm>
                <a:off x="7350127" y="4663622"/>
                <a:ext cx="163000" cy="294751"/>
              </a:xfrm>
              <a:custGeom>
                <a:avLst/>
                <a:gdLst>
                  <a:gd name="connsiteX0" fmla="*/ 163001 w 163000"/>
                  <a:gd name="connsiteY0" fmla="*/ 210699 h 294751"/>
                  <a:gd name="connsiteX1" fmla="*/ 163001 w 163000"/>
                  <a:gd name="connsiteY1" fmla="*/ 280991 h 294751"/>
                  <a:gd name="connsiteX2" fmla="*/ 149655 w 163000"/>
                  <a:gd name="connsiteY2" fmla="*/ 294751 h 294751"/>
                  <a:gd name="connsiteX3" fmla="*/ 13346 w 163000"/>
                  <a:gd name="connsiteY3" fmla="*/ 294751 h 294751"/>
                  <a:gd name="connsiteX4" fmla="*/ 0 w 163000"/>
                  <a:gd name="connsiteY4" fmla="*/ 280991 h 294751"/>
                  <a:gd name="connsiteX5" fmla="*/ 0 w 163000"/>
                  <a:gd name="connsiteY5" fmla="*/ 13334 h 294751"/>
                  <a:gd name="connsiteX6" fmla="*/ 13346 w 163000"/>
                  <a:gd name="connsiteY6" fmla="*/ 0 h 294751"/>
                  <a:gd name="connsiteX7" fmla="*/ 149655 w 163000"/>
                  <a:gd name="connsiteY7" fmla="*/ 0 h 294751"/>
                  <a:gd name="connsiteX8" fmla="*/ 163001 w 163000"/>
                  <a:gd name="connsiteY8" fmla="*/ 13334 h 294751"/>
                  <a:gd name="connsiteX9" fmla="*/ 163001 w 163000"/>
                  <a:gd name="connsiteY9" fmla="*/ 34649 h 2947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63000" h="294751">
                    <a:moveTo>
                      <a:pt x="163001" y="210699"/>
                    </a:moveTo>
                    <a:lnTo>
                      <a:pt x="163001" y="280991"/>
                    </a:lnTo>
                    <a:cubicBezTo>
                      <a:pt x="163001" y="288333"/>
                      <a:pt x="156997" y="294751"/>
                      <a:pt x="149655" y="294751"/>
                    </a:cubicBezTo>
                    <a:lnTo>
                      <a:pt x="13346" y="294751"/>
                    </a:lnTo>
                    <a:cubicBezTo>
                      <a:pt x="6004" y="294751"/>
                      <a:pt x="0" y="288333"/>
                      <a:pt x="0" y="280991"/>
                    </a:cubicBezTo>
                    <a:lnTo>
                      <a:pt x="0" y="13334"/>
                    </a:lnTo>
                    <a:cubicBezTo>
                      <a:pt x="0" y="5992"/>
                      <a:pt x="6004" y="0"/>
                      <a:pt x="13346" y="0"/>
                    </a:cubicBezTo>
                    <a:lnTo>
                      <a:pt x="149655" y="0"/>
                    </a:lnTo>
                    <a:cubicBezTo>
                      <a:pt x="156997" y="0"/>
                      <a:pt x="163001" y="5992"/>
                      <a:pt x="163001" y="13334"/>
                    </a:cubicBezTo>
                    <a:lnTo>
                      <a:pt x="163001" y="34649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100" name="Forma livre: Forma 2099">
                <a:extLst>
                  <a:ext uri="{FF2B5EF4-FFF2-40B4-BE49-F238E27FC236}">
                    <a16:creationId xmlns:a16="http://schemas.microsoft.com/office/drawing/2014/main" id="{7783E49F-1711-DCFB-A500-4B4E0E1BA167}"/>
                  </a:ext>
                </a:extLst>
              </p:cNvPr>
              <p:cNvSpPr/>
              <p:nvPr/>
            </p:nvSpPr>
            <p:spPr>
              <a:xfrm>
                <a:off x="7420549" y="4928639"/>
                <a:ext cx="22167" cy="1184"/>
              </a:xfrm>
              <a:custGeom>
                <a:avLst/>
                <a:gdLst>
                  <a:gd name="connsiteX0" fmla="*/ 0 w 22167"/>
                  <a:gd name="connsiteY0" fmla="*/ 0 h 1184"/>
                  <a:gd name="connsiteX1" fmla="*/ 22168 w 22167"/>
                  <a:gd name="connsiteY1" fmla="*/ 0 h 11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2167" h="1184">
                    <a:moveTo>
                      <a:pt x="0" y="0"/>
                    </a:moveTo>
                    <a:lnTo>
                      <a:pt x="22168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2101" name="Gráfico 17">
            <a:extLst>
              <a:ext uri="{FF2B5EF4-FFF2-40B4-BE49-F238E27FC236}">
                <a16:creationId xmlns:a16="http://schemas.microsoft.com/office/drawing/2014/main" id="{211B2F68-2E90-DD74-5873-AAFDFDC9B762}"/>
              </a:ext>
            </a:extLst>
          </p:cNvPr>
          <p:cNvGrpSpPr/>
          <p:nvPr/>
        </p:nvGrpSpPr>
        <p:grpSpPr>
          <a:xfrm>
            <a:off x="7350127" y="5717282"/>
            <a:ext cx="236998" cy="294751"/>
            <a:chOff x="7350127" y="5717282"/>
            <a:chExt cx="236998" cy="294751"/>
          </a:xfrm>
          <a:noFill/>
        </p:grpSpPr>
        <p:grpSp>
          <p:nvGrpSpPr>
            <p:cNvPr id="2102" name="Gráfico 17">
              <a:extLst>
                <a:ext uri="{FF2B5EF4-FFF2-40B4-BE49-F238E27FC236}">
                  <a16:creationId xmlns:a16="http://schemas.microsoft.com/office/drawing/2014/main" id="{710816DB-BEA0-5A8F-25ED-275EB58E5A63}"/>
                </a:ext>
              </a:extLst>
            </p:cNvPr>
            <p:cNvGrpSpPr/>
            <p:nvPr/>
          </p:nvGrpSpPr>
          <p:grpSpPr>
            <a:xfrm>
              <a:off x="7350127" y="5717282"/>
              <a:ext cx="163000" cy="294751"/>
              <a:chOff x="7350127" y="5717282"/>
              <a:chExt cx="163000" cy="294751"/>
            </a:xfrm>
            <a:noFill/>
          </p:grpSpPr>
          <p:sp>
            <p:nvSpPr>
              <p:cNvPr id="2103" name="Forma livre: Forma 2102">
                <a:extLst>
                  <a:ext uri="{FF2B5EF4-FFF2-40B4-BE49-F238E27FC236}">
                    <a16:creationId xmlns:a16="http://schemas.microsoft.com/office/drawing/2014/main" id="{FB2AB42F-496D-476E-8DBA-EF4BB0907A26}"/>
                  </a:ext>
                </a:extLst>
              </p:cNvPr>
              <p:cNvSpPr/>
              <p:nvPr/>
            </p:nvSpPr>
            <p:spPr>
              <a:xfrm>
                <a:off x="7350127" y="5717282"/>
                <a:ext cx="163000" cy="294751"/>
              </a:xfrm>
              <a:custGeom>
                <a:avLst/>
                <a:gdLst>
                  <a:gd name="connsiteX0" fmla="*/ 163001 w 163000"/>
                  <a:gd name="connsiteY0" fmla="*/ 196939 h 294751"/>
                  <a:gd name="connsiteX1" fmla="*/ 163001 w 163000"/>
                  <a:gd name="connsiteY1" fmla="*/ 280991 h 294751"/>
                  <a:gd name="connsiteX2" fmla="*/ 149655 w 163000"/>
                  <a:gd name="connsiteY2" fmla="*/ 294751 h 294751"/>
                  <a:gd name="connsiteX3" fmla="*/ 13346 w 163000"/>
                  <a:gd name="connsiteY3" fmla="*/ 294751 h 294751"/>
                  <a:gd name="connsiteX4" fmla="*/ 0 w 163000"/>
                  <a:gd name="connsiteY4" fmla="*/ 280991 h 294751"/>
                  <a:gd name="connsiteX5" fmla="*/ 0 w 163000"/>
                  <a:gd name="connsiteY5" fmla="*/ 13334 h 294751"/>
                  <a:gd name="connsiteX6" fmla="*/ 13346 w 163000"/>
                  <a:gd name="connsiteY6" fmla="*/ 0 h 294751"/>
                  <a:gd name="connsiteX7" fmla="*/ 149655 w 163000"/>
                  <a:gd name="connsiteY7" fmla="*/ 0 h 294751"/>
                  <a:gd name="connsiteX8" fmla="*/ 163001 w 163000"/>
                  <a:gd name="connsiteY8" fmla="*/ 13334 h 294751"/>
                  <a:gd name="connsiteX9" fmla="*/ 163001 w 163000"/>
                  <a:gd name="connsiteY9" fmla="*/ 71109 h 2947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63000" h="294751">
                    <a:moveTo>
                      <a:pt x="163001" y="196939"/>
                    </a:moveTo>
                    <a:lnTo>
                      <a:pt x="163001" y="280991"/>
                    </a:lnTo>
                    <a:cubicBezTo>
                      <a:pt x="163001" y="288333"/>
                      <a:pt x="156997" y="294751"/>
                      <a:pt x="149655" y="294751"/>
                    </a:cubicBezTo>
                    <a:lnTo>
                      <a:pt x="13346" y="294751"/>
                    </a:lnTo>
                    <a:cubicBezTo>
                      <a:pt x="6004" y="294751"/>
                      <a:pt x="0" y="288333"/>
                      <a:pt x="0" y="280991"/>
                    </a:cubicBezTo>
                    <a:lnTo>
                      <a:pt x="0" y="13334"/>
                    </a:lnTo>
                    <a:cubicBezTo>
                      <a:pt x="0" y="5992"/>
                      <a:pt x="6004" y="0"/>
                      <a:pt x="13346" y="0"/>
                    </a:cubicBezTo>
                    <a:lnTo>
                      <a:pt x="149655" y="0"/>
                    </a:lnTo>
                    <a:cubicBezTo>
                      <a:pt x="156997" y="0"/>
                      <a:pt x="163001" y="5992"/>
                      <a:pt x="163001" y="13334"/>
                    </a:cubicBezTo>
                    <a:lnTo>
                      <a:pt x="163001" y="71109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104" name="Forma livre: Forma 2103">
                <a:extLst>
                  <a:ext uri="{FF2B5EF4-FFF2-40B4-BE49-F238E27FC236}">
                    <a16:creationId xmlns:a16="http://schemas.microsoft.com/office/drawing/2014/main" id="{D674D12F-0A64-6F62-CDF7-C98969B388D1}"/>
                  </a:ext>
                </a:extLst>
              </p:cNvPr>
              <p:cNvSpPr/>
              <p:nvPr/>
            </p:nvSpPr>
            <p:spPr>
              <a:xfrm>
                <a:off x="7420549" y="5982311"/>
                <a:ext cx="22167" cy="1184"/>
              </a:xfrm>
              <a:custGeom>
                <a:avLst/>
                <a:gdLst>
                  <a:gd name="connsiteX0" fmla="*/ 0 w 22167"/>
                  <a:gd name="connsiteY0" fmla="*/ 0 h 1184"/>
                  <a:gd name="connsiteX1" fmla="*/ 22168 w 22167"/>
                  <a:gd name="connsiteY1" fmla="*/ 0 h 11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2167" h="1184">
                    <a:moveTo>
                      <a:pt x="0" y="0"/>
                    </a:moveTo>
                    <a:lnTo>
                      <a:pt x="22168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2105" name="Gráfico 17">
              <a:extLst>
                <a:ext uri="{FF2B5EF4-FFF2-40B4-BE49-F238E27FC236}">
                  <a16:creationId xmlns:a16="http://schemas.microsoft.com/office/drawing/2014/main" id="{DB6736E8-C8BB-E567-6819-386C5B9A2CD2}"/>
                </a:ext>
              </a:extLst>
            </p:cNvPr>
            <p:cNvGrpSpPr/>
            <p:nvPr/>
          </p:nvGrpSpPr>
          <p:grpSpPr>
            <a:xfrm>
              <a:off x="7552916" y="5796491"/>
              <a:ext cx="34209" cy="79623"/>
              <a:chOff x="7552916" y="5796491"/>
              <a:chExt cx="34209" cy="79623"/>
            </a:xfrm>
            <a:noFill/>
          </p:grpSpPr>
          <p:sp>
            <p:nvSpPr>
              <p:cNvPr id="2106" name="Forma livre: Forma 2105">
                <a:extLst>
                  <a:ext uri="{FF2B5EF4-FFF2-40B4-BE49-F238E27FC236}">
                    <a16:creationId xmlns:a16="http://schemas.microsoft.com/office/drawing/2014/main" id="{924C6818-E375-7A90-18F2-04B5EE935DC3}"/>
                  </a:ext>
                </a:extLst>
              </p:cNvPr>
              <p:cNvSpPr/>
              <p:nvPr/>
            </p:nvSpPr>
            <p:spPr>
              <a:xfrm>
                <a:off x="7552916" y="5810997"/>
                <a:ext cx="10107" cy="49888"/>
              </a:xfrm>
              <a:custGeom>
                <a:avLst/>
                <a:gdLst>
                  <a:gd name="connsiteX0" fmla="*/ 0 w 10107"/>
                  <a:gd name="connsiteY0" fmla="*/ 49889 h 49888"/>
                  <a:gd name="connsiteX1" fmla="*/ 10101 w 10107"/>
                  <a:gd name="connsiteY1" fmla="*/ 25104 h 49888"/>
                  <a:gd name="connsiteX2" fmla="*/ 983 w 10107"/>
                  <a:gd name="connsiteY2" fmla="*/ 0 h 498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0107" h="49888">
                    <a:moveTo>
                      <a:pt x="0" y="49889"/>
                    </a:moveTo>
                    <a:cubicBezTo>
                      <a:pt x="6075" y="43388"/>
                      <a:pt x="9911" y="34732"/>
                      <a:pt x="10101" y="25104"/>
                    </a:cubicBezTo>
                    <a:cubicBezTo>
                      <a:pt x="10279" y="15524"/>
                      <a:pt x="6809" y="6726"/>
                      <a:pt x="983" y="0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107" name="Forma livre: Forma 2106">
                <a:extLst>
                  <a:ext uri="{FF2B5EF4-FFF2-40B4-BE49-F238E27FC236}">
                    <a16:creationId xmlns:a16="http://schemas.microsoft.com/office/drawing/2014/main" id="{1FC7C0EB-90D9-C6F6-2815-A1FEA0BCA0E0}"/>
                  </a:ext>
                </a:extLst>
              </p:cNvPr>
              <p:cNvSpPr/>
              <p:nvPr/>
            </p:nvSpPr>
            <p:spPr>
              <a:xfrm>
                <a:off x="7571637" y="5796491"/>
                <a:ext cx="15487" cy="79623"/>
              </a:xfrm>
              <a:custGeom>
                <a:avLst/>
                <a:gdLst>
                  <a:gd name="connsiteX0" fmla="*/ 0 w 15487"/>
                  <a:gd name="connsiteY0" fmla="*/ 79623 h 79623"/>
                  <a:gd name="connsiteX1" fmla="*/ 15477 w 15487"/>
                  <a:gd name="connsiteY1" fmla="*/ 40072 h 79623"/>
                  <a:gd name="connsiteX2" fmla="*/ 1563 w 15487"/>
                  <a:gd name="connsiteY2" fmla="*/ 0 h 796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5487" h="79623">
                    <a:moveTo>
                      <a:pt x="0" y="79623"/>
                    </a:moveTo>
                    <a:cubicBezTo>
                      <a:pt x="9367" y="69072"/>
                      <a:pt x="15169" y="55277"/>
                      <a:pt x="15477" y="40072"/>
                    </a:cubicBezTo>
                    <a:cubicBezTo>
                      <a:pt x="15761" y="24891"/>
                      <a:pt x="10492" y="10906"/>
                      <a:pt x="1563" y="0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2108" name="Gráfico 17">
              <a:extLst>
                <a:ext uri="{FF2B5EF4-FFF2-40B4-BE49-F238E27FC236}">
                  <a16:creationId xmlns:a16="http://schemas.microsoft.com/office/drawing/2014/main" id="{B15D1718-F16D-3799-EF2C-6B75BCDBED5D}"/>
                </a:ext>
              </a:extLst>
            </p:cNvPr>
            <p:cNvGrpSpPr/>
            <p:nvPr/>
          </p:nvGrpSpPr>
          <p:grpSpPr>
            <a:xfrm>
              <a:off x="7391253" y="5774490"/>
              <a:ext cx="141697" cy="124159"/>
              <a:chOff x="7391253" y="5774490"/>
              <a:chExt cx="141697" cy="124159"/>
            </a:xfrm>
            <a:noFill/>
          </p:grpSpPr>
          <p:sp>
            <p:nvSpPr>
              <p:cNvPr id="2109" name="Forma livre: Forma 2108">
                <a:extLst>
                  <a:ext uri="{FF2B5EF4-FFF2-40B4-BE49-F238E27FC236}">
                    <a16:creationId xmlns:a16="http://schemas.microsoft.com/office/drawing/2014/main" id="{1781274E-3F3B-0740-9B17-C9C125E9B48D}"/>
                  </a:ext>
                </a:extLst>
              </p:cNvPr>
              <p:cNvSpPr/>
              <p:nvPr/>
            </p:nvSpPr>
            <p:spPr>
              <a:xfrm>
                <a:off x="7391253" y="5774490"/>
                <a:ext cx="141697" cy="61635"/>
              </a:xfrm>
              <a:custGeom>
                <a:avLst/>
                <a:gdLst>
                  <a:gd name="connsiteX0" fmla="*/ 0 w 141697"/>
                  <a:gd name="connsiteY0" fmla="*/ 61624 h 61635"/>
                  <a:gd name="connsiteX1" fmla="*/ 70647 w 141697"/>
                  <a:gd name="connsiteY1" fmla="*/ 0 h 61635"/>
                  <a:gd name="connsiteX2" fmla="*/ 141697 w 141697"/>
                  <a:gd name="connsiteY2" fmla="*/ 61636 h 616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41697" h="61635">
                    <a:moveTo>
                      <a:pt x="0" y="61624"/>
                    </a:moveTo>
                    <a:lnTo>
                      <a:pt x="70647" y="0"/>
                    </a:lnTo>
                    <a:lnTo>
                      <a:pt x="141697" y="61636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110" name="Forma livre: Forma 2109">
                <a:extLst>
                  <a:ext uri="{FF2B5EF4-FFF2-40B4-BE49-F238E27FC236}">
                    <a16:creationId xmlns:a16="http://schemas.microsoft.com/office/drawing/2014/main" id="{3B3469B2-E37A-E4E2-BE5A-81C1D34988BE}"/>
                  </a:ext>
                </a:extLst>
              </p:cNvPr>
              <p:cNvSpPr/>
              <p:nvPr/>
            </p:nvSpPr>
            <p:spPr>
              <a:xfrm>
                <a:off x="7411455" y="5819251"/>
                <a:ext cx="1184" cy="79398"/>
              </a:xfrm>
              <a:custGeom>
                <a:avLst/>
                <a:gdLst>
                  <a:gd name="connsiteX0" fmla="*/ 0 w 1184"/>
                  <a:gd name="connsiteY0" fmla="*/ 79398 h 79398"/>
                  <a:gd name="connsiteX1" fmla="*/ 0 w 1184"/>
                  <a:gd name="connsiteY1" fmla="*/ 0 h 793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84" h="79398">
                    <a:moveTo>
                      <a:pt x="0" y="79398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111" name="Forma livre: Forma 2110">
                <a:extLst>
                  <a:ext uri="{FF2B5EF4-FFF2-40B4-BE49-F238E27FC236}">
                    <a16:creationId xmlns:a16="http://schemas.microsoft.com/office/drawing/2014/main" id="{2FB36560-4106-4C25-E356-F9D1426FA672}"/>
                  </a:ext>
                </a:extLst>
              </p:cNvPr>
              <p:cNvSpPr/>
              <p:nvPr/>
            </p:nvSpPr>
            <p:spPr>
              <a:xfrm>
                <a:off x="7445725" y="5861846"/>
                <a:ext cx="32753" cy="36803"/>
              </a:xfrm>
              <a:custGeom>
                <a:avLst/>
                <a:gdLst>
                  <a:gd name="connsiteX0" fmla="*/ 32754 w 32753"/>
                  <a:gd name="connsiteY0" fmla="*/ 36804 h 36803"/>
                  <a:gd name="connsiteX1" fmla="*/ 32754 w 32753"/>
                  <a:gd name="connsiteY1" fmla="*/ 0 h 36803"/>
                  <a:gd name="connsiteX2" fmla="*/ 0 w 32753"/>
                  <a:gd name="connsiteY2" fmla="*/ 0 h 36803"/>
                  <a:gd name="connsiteX3" fmla="*/ 0 w 32753"/>
                  <a:gd name="connsiteY3" fmla="*/ 36804 h 368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2753" h="36803">
                    <a:moveTo>
                      <a:pt x="32754" y="36804"/>
                    </a:moveTo>
                    <a:lnTo>
                      <a:pt x="32754" y="0"/>
                    </a:lnTo>
                    <a:lnTo>
                      <a:pt x="0" y="0"/>
                    </a:lnTo>
                    <a:lnTo>
                      <a:pt x="0" y="36804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112" name="Forma livre: Forma 2111">
                <a:extLst>
                  <a:ext uri="{FF2B5EF4-FFF2-40B4-BE49-F238E27FC236}">
                    <a16:creationId xmlns:a16="http://schemas.microsoft.com/office/drawing/2014/main" id="{36B7DE19-6F47-7501-458E-FB23822A8EDE}"/>
                  </a:ext>
                </a:extLst>
              </p:cNvPr>
              <p:cNvSpPr/>
              <p:nvPr/>
            </p:nvSpPr>
            <p:spPr>
              <a:xfrm>
                <a:off x="7512749" y="5819926"/>
                <a:ext cx="1184" cy="78723"/>
              </a:xfrm>
              <a:custGeom>
                <a:avLst/>
                <a:gdLst>
                  <a:gd name="connsiteX0" fmla="*/ 0 w 1184"/>
                  <a:gd name="connsiteY0" fmla="*/ 0 h 78723"/>
                  <a:gd name="connsiteX1" fmla="*/ 0 w 1184"/>
                  <a:gd name="connsiteY1" fmla="*/ 78723 h 787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84" h="78723">
                    <a:moveTo>
                      <a:pt x="0" y="0"/>
                    </a:moveTo>
                    <a:lnTo>
                      <a:pt x="0" y="78723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2113" name="Gráfico 17">
            <a:extLst>
              <a:ext uri="{FF2B5EF4-FFF2-40B4-BE49-F238E27FC236}">
                <a16:creationId xmlns:a16="http://schemas.microsoft.com/office/drawing/2014/main" id="{2D1CC8C7-05B3-5F99-728A-FB6649978328}"/>
              </a:ext>
            </a:extLst>
          </p:cNvPr>
          <p:cNvGrpSpPr/>
          <p:nvPr/>
        </p:nvGrpSpPr>
        <p:grpSpPr>
          <a:xfrm>
            <a:off x="7350127" y="5190446"/>
            <a:ext cx="188962" cy="294751"/>
            <a:chOff x="7350127" y="5190446"/>
            <a:chExt cx="188962" cy="294751"/>
          </a:xfrm>
          <a:noFill/>
        </p:grpSpPr>
        <p:grpSp>
          <p:nvGrpSpPr>
            <p:cNvPr id="2114" name="Gráfico 17">
              <a:extLst>
                <a:ext uri="{FF2B5EF4-FFF2-40B4-BE49-F238E27FC236}">
                  <a16:creationId xmlns:a16="http://schemas.microsoft.com/office/drawing/2014/main" id="{EF5ED8F4-DD27-FCCF-76B4-7F4646131340}"/>
                </a:ext>
              </a:extLst>
            </p:cNvPr>
            <p:cNvGrpSpPr/>
            <p:nvPr/>
          </p:nvGrpSpPr>
          <p:grpSpPr>
            <a:xfrm>
              <a:off x="7397142" y="5247535"/>
              <a:ext cx="141947" cy="140347"/>
              <a:chOff x="7397142" y="5247535"/>
              <a:chExt cx="141947" cy="140347"/>
            </a:xfrm>
            <a:noFill/>
          </p:grpSpPr>
          <p:sp>
            <p:nvSpPr>
              <p:cNvPr id="2115" name="Forma livre: Forma 2114">
                <a:extLst>
                  <a:ext uri="{FF2B5EF4-FFF2-40B4-BE49-F238E27FC236}">
                    <a16:creationId xmlns:a16="http://schemas.microsoft.com/office/drawing/2014/main" id="{D65E5366-16F1-8F2A-DFE0-CB8B5AD3B7F1}"/>
                  </a:ext>
                </a:extLst>
              </p:cNvPr>
              <p:cNvSpPr/>
              <p:nvPr/>
            </p:nvSpPr>
            <p:spPr>
              <a:xfrm>
                <a:off x="7441272" y="5304482"/>
                <a:ext cx="40836" cy="83400"/>
              </a:xfrm>
              <a:custGeom>
                <a:avLst/>
                <a:gdLst>
                  <a:gd name="connsiteX0" fmla="*/ 29853 w 40836"/>
                  <a:gd name="connsiteY0" fmla="*/ 83401 h 83400"/>
                  <a:gd name="connsiteX1" fmla="*/ 40759 w 40836"/>
                  <a:gd name="connsiteY1" fmla="*/ 16839 h 83400"/>
                  <a:gd name="connsiteX2" fmla="*/ 26667 w 40836"/>
                  <a:gd name="connsiteY2" fmla="*/ 0 h 83400"/>
                  <a:gd name="connsiteX3" fmla="*/ 12848 w 40836"/>
                  <a:gd name="connsiteY3" fmla="*/ 18911 h 83400"/>
                  <a:gd name="connsiteX4" fmla="*/ 0 w 40836"/>
                  <a:gd name="connsiteY4" fmla="*/ 78996 h 83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0836" h="83400">
                    <a:moveTo>
                      <a:pt x="29853" y="83401"/>
                    </a:moveTo>
                    <a:cubicBezTo>
                      <a:pt x="42381" y="49273"/>
                      <a:pt x="40783" y="17147"/>
                      <a:pt x="40759" y="16839"/>
                    </a:cubicBezTo>
                    <a:cubicBezTo>
                      <a:pt x="40274" y="7508"/>
                      <a:pt x="33938" y="0"/>
                      <a:pt x="26667" y="0"/>
                    </a:cubicBezTo>
                    <a:cubicBezTo>
                      <a:pt x="18639" y="486"/>
                      <a:pt x="12398" y="9308"/>
                      <a:pt x="12848" y="18911"/>
                    </a:cubicBezTo>
                    <a:cubicBezTo>
                      <a:pt x="12907" y="20545"/>
                      <a:pt x="13819" y="51440"/>
                      <a:pt x="0" y="78996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116" name="Forma livre: Forma 2115">
                <a:extLst>
                  <a:ext uri="{FF2B5EF4-FFF2-40B4-BE49-F238E27FC236}">
                    <a16:creationId xmlns:a16="http://schemas.microsoft.com/office/drawing/2014/main" id="{493A284D-8F2A-8C32-4062-97BF6289CD23}"/>
                  </a:ext>
                </a:extLst>
              </p:cNvPr>
              <p:cNvSpPr/>
              <p:nvPr/>
            </p:nvSpPr>
            <p:spPr>
              <a:xfrm>
                <a:off x="7465477" y="5247535"/>
                <a:ext cx="73612" cy="120927"/>
              </a:xfrm>
              <a:custGeom>
                <a:avLst/>
                <a:gdLst>
                  <a:gd name="connsiteX0" fmla="*/ 0 w 73612"/>
                  <a:gd name="connsiteY0" fmla="*/ 35 h 120927"/>
                  <a:gd name="connsiteX1" fmla="*/ 2463 w 73612"/>
                  <a:gd name="connsiteY1" fmla="*/ 0 h 120927"/>
                  <a:gd name="connsiteX2" fmla="*/ 73430 w 73612"/>
                  <a:gd name="connsiteY2" fmla="*/ 70624 h 120927"/>
                  <a:gd name="connsiteX3" fmla="*/ 69629 w 73612"/>
                  <a:gd name="connsiteY3" fmla="*/ 120927 h 1209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3612" h="120927">
                    <a:moveTo>
                      <a:pt x="0" y="35"/>
                    </a:moveTo>
                    <a:cubicBezTo>
                      <a:pt x="864" y="12"/>
                      <a:pt x="1658" y="0"/>
                      <a:pt x="2463" y="0"/>
                    </a:cubicBezTo>
                    <a:cubicBezTo>
                      <a:pt x="40120" y="0"/>
                      <a:pt x="71287" y="31025"/>
                      <a:pt x="73430" y="70624"/>
                    </a:cubicBezTo>
                    <a:cubicBezTo>
                      <a:pt x="73608" y="73643"/>
                      <a:pt x="74520" y="93952"/>
                      <a:pt x="69629" y="120927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117" name="Forma livre: Forma 2116">
                <a:extLst>
                  <a:ext uri="{FF2B5EF4-FFF2-40B4-BE49-F238E27FC236}">
                    <a16:creationId xmlns:a16="http://schemas.microsoft.com/office/drawing/2014/main" id="{6B3CD0DB-AC41-EA49-D700-D2249FA4D40C}"/>
                  </a:ext>
                </a:extLst>
              </p:cNvPr>
              <p:cNvSpPr/>
              <p:nvPr/>
            </p:nvSpPr>
            <p:spPr>
              <a:xfrm>
                <a:off x="7432142" y="5251692"/>
                <a:ext cx="12611" cy="6205"/>
              </a:xfrm>
              <a:custGeom>
                <a:avLst/>
                <a:gdLst>
                  <a:gd name="connsiteX0" fmla="*/ 0 w 12611"/>
                  <a:gd name="connsiteY0" fmla="*/ 6205 h 6205"/>
                  <a:gd name="connsiteX1" fmla="*/ 12611 w 12611"/>
                  <a:gd name="connsiteY1" fmla="*/ 0 h 62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611" h="6205">
                    <a:moveTo>
                      <a:pt x="0" y="6205"/>
                    </a:moveTo>
                    <a:cubicBezTo>
                      <a:pt x="3967" y="3730"/>
                      <a:pt x="8194" y="1646"/>
                      <a:pt x="12611" y="0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118" name="Forma livre: Forma 2117">
                <a:extLst>
                  <a:ext uri="{FF2B5EF4-FFF2-40B4-BE49-F238E27FC236}">
                    <a16:creationId xmlns:a16="http://schemas.microsoft.com/office/drawing/2014/main" id="{A0F5E40E-C1EE-6674-52C6-2FBD2FA893DD}"/>
                  </a:ext>
                </a:extLst>
              </p:cNvPr>
              <p:cNvSpPr/>
              <p:nvPr/>
            </p:nvSpPr>
            <p:spPr>
              <a:xfrm>
                <a:off x="7397142" y="5271124"/>
                <a:ext cx="19346" cy="54483"/>
              </a:xfrm>
              <a:custGeom>
                <a:avLst/>
                <a:gdLst>
                  <a:gd name="connsiteX0" fmla="*/ 68 w 19346"/>
                  <a:gd name="connsiteY0" fmla="*/ 54484 h 54483"/>
                  <a:gd name="connsiteX1" fmla="*/ 19346 w 19346"/>
                  <a:gd name="connsiteY1" fmla="*/ 0 h 54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9346" h="54483">
                    <a:moveTo>
                      <a:pt x="68" y="54484"/>
                    </a:moveTo>
                    <a:cubicBezTo>
                      <a:pt x="-797" y="33595"/>
                      <a:pt x="6652" y="14222"/>
                      <a:pt x="19346" y="0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119" name="Forma livre: Forma 2118">
                <a:extLst>
                  <a:ext uri="{FF2B5EF4-FFF2-40B4-BE49-F238E27FC236}">
                    <a16:creationId xmlns:a16="http://schemas.microsoft.com/office/drawing/2014/main" id="{11668A87-AB79-E0A3-B19A-0D17892236B3}"/>
                  </a:ext>
                </a:extLst>
              </p:cNvPr>
              <p:cNvSpPr/>
              <p:nvPr/>
            </p:nvSpPr>
            <p:spPr>
              <a:xfrm>
                <a:off x="7503808" y="5340954"/>
                <a:ext cx="6145" cy="37455"/>
              </a:xfrm>
              <a:custGeom>
                <a:avLst/>
                <a:gdLst>
                  <a:gd name="connsiteX0" fmla="*/ 6146 w 6145"/>
                  <a:gd name="connsiteY0" fmla="*/ 0 h 37455"/>
                  <a:gd name="connsiteX1" fmla="*/ 0 w 6145"/>
                  <a:gd name="connsiteY1" fmla="*/ 37455 h 374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145" h="37455">
                    <a:moveTo>
                      <a:pt x="6146" y="0"/>
                    </a:moveTo>
                    <a:cubicBezTo>
                      <a:pt x="5352" y="10172"/>
                      <a:pt x="3635" y="23233"/>
                      <a:pt x="0" y="37455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120" name="Forma livre: Forma 2119">
                <a:extLst>
                  <a:ext uri="{FF2B5EF4-FFF2-40B4-BE49-F238E27FC236}">
                    <a16:creationId xmlns:a16="http://schemas.microsoft.com/office/drawing/2014/main" id="{1E462CCF-2CB8-5395-1B13-F51E14704347}"/>
                  </a:ext>
                </a:extLst>
              </p:cNvPr>
              <p:cNvSpPr/>
              <p:nvPr/>
            </p:nvSpPr>
            <p:spPr>
              <a:xfrm>
                <a:off x="7422563" y="5276002"/>
                <a:ext cx="87888" cy="75656"/>
              </a:xfrm>
              <a:custGeom>
                <a:avLst/>
                <a:gdLst>
                  <a:gd name="connsiteX0" fmla="*/ 0 w 87888"/>
                  <a:gd name="connsiteY0" fmla="*/ 75656 h 75656"/>
                  <a:gd name="connsiteX1" fmla="*/ 3103 w 87888"/>
                  <a:gd name="connsiteY1" fmla="*/ 48705 h 75656"/>
                  <a:gd name="connsiteX2" fmla="*/ 43175 w 87888"/>
                  <a:gd name="connsiteY2" fmla="*/ 59 h 75656"/>
                  <a:gd name="connsiteX3" fmla="*/ 45366 w 87888"/>
                  <a:gd name="connsiteY3" fmla="*/ 0 h 75656"/>
                  <a:gd name="connsiteX4" fmla="*/ 87889 w 87888"/>
                  <a:gd name="connsiteY4" fmla="*/ 43672 h 756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7888" h="75656">
                    <a:moveTo>
                      <a:pt x="0" y="75656"/>
                    </a:moveTo>
                    <a:cubicBezTo>
                      <a:pt x="3434" y="61150"/>
                      <a:pt x="3114" y="48930"/>
                      <a:pt x="3103" y="48705"/>
                    </a:cubicBezTo>
                    <a:cubicBezTo>
                      <a:pt x="1918" y="23375"/>
                      <a:pt x="19906" y="1468"/>
                      <a:pt x="43175" y="59"/>
                    </a:cubicBezTo>
                    <a:cubicBezTo>
                      <a:pt x="44039" y="12"/>
                      <a:pt x="44690" y="0"/>
                      <a:pt x="45366" y="0"/>
                    </a:cubicBezTo>
                    <a:cubicBezTo>
                      <a:pt x="67865" y="0"/>
                      <a:pt x="86574" y="19184"/>
                      <a:pt x="87889" y="43672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2121" name="Gráfico 17">
              <a:extLst>
                <a:ext uri="{FF2B5EF4-FFF2-40B4-BE49-F238E27FC236}">
                  <a16:creationId xmlns:a16="http://schemas.microsoft.com/office/drawing/2014/main" id="{25E3FAA9-A769-DBCC-394C-BCF168514F42}"/>
                </a:ext>
              </a:extLst>
            </p:cNvPr>
            <p:cNvGrpSpPr/>
            <p:nvPr/>
          </p:nvGrpSpPr>
          <p:grpSpPr>
            <a:xfrm>
              <a:off x="7350127" y="5190446"/>
              <a:ext cx="163000" cy="294751"/>
              <a:chOff x="7350127" y="5190446"/>
              <a:chExt cx="163000" cy="294751"/>
            </a:xfrm>
            <a:noFill/>
          </p:grpSpPr>
          <p:sp>
            <p:nvSpPr>
              <p:cNvPr id="2122" name="Forma livre: Forma 2121">
                <a:extLst>
                  <a:ext uri="{FF2B5EF4-FFF2-40B4-BE49-F238E27FC236}">
                    <a16:creationId xmlns:a16="http://schemas.microsoft.com/office/drawing/2014/main" id="{B976A958-1E0C-572D-2807-6219CB3769C8}"/>
                  </a:ext>
                </a:extLst>
              </p:cNvPr>
              <p:cNvSpPr/>
              <p:nvPr/>
            </p:nvSpPr>
            <p:spPr>
              <a:xfrm>
                <a:off x="7350127" y="5190446"/>
                <a:ext cx="163000" cy="294751"/>
              </a:xfrm>
              <a:custGeom>
                <a:avLst/>
                <a:gdLst>
                  <a:gd name="connsiteX0" fmla="*/ 163001 w 163000"/>
                  <a:gd name="connsiteY0" fmla="*/ 212795 h 294751"/>
                  <a:gd name="connsiteX1" fmla="*/ 163001 w 163000"/>
                  <a:gd name="connsiteY1" fmla="*/ 280991 h 294751"/>
                  <a:gd name="connsiteX2" fmla="*/ 149655 w 163000"/>
                  <a:gd name="connsiteY2" fmla="*/ 294751 h 294751"/>
                  <a:gd name="connsiteX3" fmla="*/ 13346 w 163000"/>
                  <a:gd name="connsiteY3" fmla="*/ 294751 h 294751"/>
                  <a:gd name="connsiteX4" fmla="*/ 0 w 163000"/>
                  <a:gd name="connsiteY4" fmla="*/ 280991 h 294751"/>
                  <a:gd name="connsiteX5" fmla="*/ 0 w 163000"/>
                  <a:gd name="connsiteY5" fmla="*/ 13334 h 294751"/>
                  <a:gd name="connsiteX6" fmla="*/ 13346 w 163000"/>
                  <a:gd name="connsiteY6" fmla="*/ 0 h 294751"/>
                  <a:gd name="connsiteX7" fmla="*/ 149655 w 163000"/>
                  <a:gd name="connsiteY7" fmla="*/ 0 h 294751"/>
                  <a:gd name="connsiteX8" fmla="*/ 163001 w 163000"/>
                  <a:gd name="connsiteY8" fmla="*/ 13334 h 294751"/>
                  <a:gd name="connsiteX9" fmla="*/ 163001 w 163000"/>
                  <a:gd name="connsiteY9" fmla="*/ 42926 h 2947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63000" h="294751">
                    <a:moveTo>
                      <a:pt x="163001" y="212795"/>
                    </a:moveTo>
                    <a:lnTo>
                      <a:pt x="163001" y="280991"/>
                    </a:lnTo>
                    <a:cubicBezTo>
                      <a:pt x="163001" y="288333"/>
                      <a:pt x="156997" y="294751"/>
                      <a:pt x="149655" y="294751"/>
                    </a:cubicBezTo>
                    <a:lnTo>
                      <a:pt x="13346" y="294751"/>
                    </a:lnTo>
                    <a:cubicBezTo>
                      <a:pt x="6004" y="294751"/>
                      <a:pt x="0" y="288333"/>
                      <a:pt x="0" y="280991"/>
                    </a:cubicBezTo>
                    <a:lnTo>
                      <a:pt x="0" y="13334"/>
                    </a:lnTo>
                    <a:cubicBezTo>
                      <a:pt x="0" y="5992"/>
                      <a:pt x="6004" y="0"/>
                      <a:pt x="13346" y="0"/>
                    </a:cubicBezTo>
                    <a:lnTo>
                      <a:pt x="149655" y="0"/>
                    </a:lnTo>
                    <a:cubicBezTo>
                      <a:pt x="156997" y="0"/>
                      <a:pt x="163001" y="5992"/>
                      <a:pt x="163001" y="13334"/>
                    </a:cubicBezTo>
                    <a:lnTo>
                      <a:pt x="163001" y="42926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123" name="Forma livre: Forma 2122">
                <a:extLst>
                  <a:ext uri="{FF2B5EF4-FFF2-40B4-BE49-F238E27FC236}">
                    <a16:creationId xmlns:a16="http://schemas.microsoft.com/office/drawing/2014/main" id="{D9CEBCA1-5C2A-63B5-5FA6-F7E2EB29578F}"/>
                  </a:ext>
                </a:extLst>
              </p:cNvPr>
              <p:cNvSpPr/>
              <p:nvPr/>
            </p:nvSpPr>
            <p:spPr>
              <a:xfrm>
                <a:off x="7420549" y="5455475"/>
                <a:ext cx="22167" cy="1184"/>
              </a:xfrm>
              <a:custGeom>
                <a:avLst/>
                <a:gdLst>
                  <a:gd name="connsiteX0" fmla="*/ 0 w 22167"/>
                  <a:gd name="connsiteY0" fmla="*/ 0 h 1184"/>
                  <a:gd name="connsiteX1" fmla="*/ 22168 w 22167"/>
                  <a:gd name="connsiteY1" fmla="*/ 0 h 11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2167" h="1184">
                    <a:moveTo>
                      <a:pt x="0" y="0"/>
                    </a:moveTo>
                    <a:lnTo>
                      <a:pt x="22168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2125" name="Gráfico 18">
            <a:extLst>
              <a:ext uri="{FF2B5EF4-FFF2-40B4-BE49-F238E27FC236}">
                <a16:creationId xmlns:a16="http://schemas.microsoft.com/office/drawing/2014/main" id="{A19E5FAA-2DFE-05F5-8D36-F6B0C9452540}"/>
              </a:ext>
            </a:extLst>
          </p:cNvPr>
          <p:cNvGrpSpPr/>
          <p:nvPr/>
        </p:nvGrpSpPr>
        <p:grpSpPr>
          <a:xfrm>
            <a:off x="7896411" y="4148985"/>
            <a:ext cx="281800" cy="293026"/>
            <a:chOff x="7896411" y="4148985"/>
            <a:chExt cx="281800" cy="293026"/>
          </a:xfrm>
          <a:noFill/>
        </p:grpSpPr>
        <p:sp>
          <p:nvSpPr>
            <p:cNvPr id="2126" name="Forma livre: Forma 2125">
              <a:extLst>
                <a:ext uri="{FF2B5EF4-FFF2-40B4-BE49-F238E27FC236}">
                  <a16:creationId xmlns:a16="http://schemas.microsoft.com/office/drawing/2014/main" id="{BB9C7FDD-3F7B-EDE8-8302-6EFA7B3B864F}"/>
                </a:ext>
              </a:extLst>
            </p:cNvPr>
            <p:cNvSpPr/>
            <p:nvPr/>
          </p:nvSpPr>
          <p:spPr>
            <a:xfrm>
              <a:off x="8016165" y="4148985"/>
              <a:ext cx="162047" cy="293026"/>
            </a:xfrm>
            <a:custGeom>
              <a:avLst/>
              <a:gdLst>
                <a:gd name="connsiteX0" fmla="*/ 0 w 162047"/>
                <a:gd name="connsiteY0" fmla="*/ 46042 h 293026"/>
                <a:gd name="connsiteX1" fmla="*/ 0 w 162047"/>
                <a:gd name="connsiteY1" fmla="*/ 13256 h 293026"/>
                <a:gd name="connsiteX2" fmla="*/ 13267 w 162047"/>
                <a:gd name="connsiteY2" fmla="*/ 0 h 293026"/>
                <a:gd name="connsiteX3" fmla="*/ 148780 w 162047"/>
                <a:gd name="connsiteY3" fmla="*/ 0 h 293026"/>
                <a:gd name="connsiteX4" fmla="*/ 162047 w 162047"/>
                <a:gd name="connsiteY4" fmla="*/ 13256 h 293026"/>
                <a:gd name="connsiteX5" fmla="*/ 162047 w 162047"/>
                <a:gd name="connsiteY5" fmla="*/ 279347 h 293026"/>
                <a:gd name="connsiteX6" fmla="*/ 148780 w 162047"/>
                <a:gd name="connsiteY6" fmla="*/ 293027 h 293026"/>
                <a:gd name="connsiteX7" fmla="*/ 13267 w 162047"/>
                <a:gd name="connsiteY7" fmla="*/ 293027 h 293026"/>
                <a:gd name="connsiteX8" fmla="*/ 0 w 162047"/>
                <a:gd name="connsiteY8" fmla="*/ 279347 h 293026"/>
                <a:gd name="connsiteX9" fmla="*/ 0 w 162047"/>
                <a:gd name="connsiteY9" fmla="*/ 89470 h 2930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62047" h="293026">
                  <a:moveTo>
                    <a:pt x="0" y="46042"/>
                  </a:moveTo>
                  <a:lnTo>
                    <a:pt x="0" y="13256"/>
                  </a:lnTo>
                  <a:cubicBezTo>
                    <a:pt x="0" y="5957"/>
                    <a:pt x="5969" y="0"/>
                    <a:pt x="13267" y="0"/>
                  </a:cubicBezTo>
                  <a:lnTo>
                    <a:pt x="148780" y="0"/>
                  </a:lnTo>
                  <a:cubicBezTo>
                    <a:pt x="156078" y="0"/>
                    <a:pt x="162047" y="5957"/>
                    <a:pt x="162047" y="13256"/>
                  </a:cubicBezTo>
                  <a:lnTo>
                    <a:pt x="162047" y="279347"/>
                  </a:lnTo>
                  <a:cubicBezTo>
                    <a:pt x="162047" y="286646"/>
                    <a:pt x="156078" y="293027"/>
                    <a:pt x="148780" y="293027"/>
                  </a:cubicBezTo>
                  <a:lnTo>
                    <a:pt x="13267" y="293027"/>
                  </a:lnTo>
                  <a:cubicBezTo>
                    <a:pt x="5969" y="293027"/>
                    <a:pt x="0" y="286646"/>
                    <a:pt x="0" y="279347"/>
                  </a:cubicBezTo>
                  <a:lnTo>
                    <a:pt x="0" y="8947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27" name="Forma livre: Forma 2126">
              <a:extLst>
                <a:ext uri="{FF2B5EF4-FFF2-40B4-BE49-F238E27FC236}">
                  <a16:creationId xmlns:a16="http://schemas.microsoft.com/office/drawing/2014/main" id="{216A8FAC-C041-2C9D-36A0-3BE326EA457D}"/>
                </a:ext>
              </a:extLst>
            </p:cNvPr>
            <p:cNvSpPr/>
            <p:nvPr/>
          </p:nvSpPr>
          <p:spPr>
            <a:xfrm>
              <a:off x="7896411" y="4216735"/>
              <a:ext cx="281790" cy="211596"/>
            </a:xfrm>
            <a:custGeom>
              <a:avLst/>
              <a:gdLst>
                <a:gd name="connsiteX0" fmla="*/ 281789 w 281790"/>
                <a:gd name="connsiteY0" fmla="*/ 211597 h 211596"/>
                <a:gd name="connsiteX1" fmla="*/ 169174 w 281790"/>
                <a:gd name="connsiteY1" fmla="*/ 9135 h 211596"/>
                <a:gd name="connsiteX2" fmla="*/ 145865 w 281790"/>
                <a:gd name="connsiteY2" fmla="*/ 0 h 211596"/>
                <a:gd name="connsiteX3" fmla="*/ 13579 w 281790"/>
                <a:gd name="connsiteY3" fmla="*/ 0 h 211596"/>
                <a:gd name="connsiteX4" fmla="*/ 3431 w 281790"/>
                <a:gd name="connsiteY4" fmla="*/ 16787 h 211596"/>
                <a:gd name="connsiteX5" fmla="*/ 119766 w 281790"/>
                <a:gd name="connsiteY5" fmla="*/ 211597 h 2115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81790" h="211596">
                  <a:moveTo>
                    <a:pt x="281789" y="211597"/>
                  </a:moveTo>
                  <a:cubicBezTo>
                    <a:pt x="281789" y="211597"/>
                    <a:pt x="283602" y="116264"/>
                    <a:pt x="169174" y="9135"/>
                  </a:cubicBezTo>
                  <a:cubicBezTo>
                    <a:pt x="169174" y="9135"/>
                    <a:pt x="160781" y="0"/>
                    <a:pt x="145865" y="0"/>
                  </a:cubicBezTo>
                  <a:lnTo>
                    <a:pt x="13579" y="0"/>
                  </a:lnTo>
                  <a:cubicBezTo>
                    <a:pt x="1076" y="0"/>
                    <a:pt x="-3939" y="10548"/>
                    <a:pt x="3431" y="16787"/>
                  </a:cubicBezTo>
                  <a:cubicBezTo>
                    <a:pt x="126452" y="120973"/>
                    <a:pt x="119766" y="211597"/>
                    <a:pt x="119766" y="211597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28" name="Forma livre: Forma 2127">
              <a:extLst>
                <a:ext uri="{FF2B5EF4-FFF2-40B4-BE49-F238E27FC236}">
                  <a16:creationId xmlns:a16="http://schemas.microsoft.com/office/drawing/2014/main" id="{EEFFFAA8-B5BF-C3AE-CBA0-9AF988A5700B}"/>
                </a:ext>
              </a:extLst>
            </p:cNvPr>
            <p:cNvSpPr/>
            <p:nvPr/>
          </p:nvSpPr>
          <p:spPr>
            <a:xfrm>
              <a:off x="8086164" y="4412463"/>
              <a:ext cx="22037" cy="1177"/>
            </a:xfrm>
            <a:custGeom>
              <a:avLst/>
              <a:gdLst>
                <a:gd name="connsiteX0" fmla="*/ 0 w 22037"/>
                <a:gd name="connsiteY0" fmla="*/ 0 h 1177"/>
                <a:gd name="connsiteX1" fmla="*/ 22038 w 22037"/>
                <a:gd name="connsiteY1" fmla="*/ 0 h 11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2037" h="1177">
                  <a:moveTo>
                    <a:pt x="0" y="0"/>
                  </a:moveTo>
                  <a:lnTo>
                    <a:pt x="22038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2129" name="Gráfico 18">
            <a:extLst>
              <a:ext uri="{FF2B5EF4-FFF2-40B4-BE49-F238E27FC236}">
                <a16:creationId xmlns:a16="http://schemas.microsoft.com/office/drawing/2014/main" id="{9A03DD0D-B6F0-B2A6-CA86-DFC250C94AA8}"/>
              </a:ext>
            </a:extLst>
          </p:cNvPr>
          <p:cNvGrpSpPr/>
          <p:nvPr/>
        </p:nvGrpSpPr>
        <p:grpSpPr>
          <a:xfrm>
            <a:off x="7956290" y="3625243"/>
            <a:ext cx="162047" cy="293026"/>
            <a:chOff x="7956290" y="3625243"/>
            <a:chExt cx="162047" cy="293026"/>
          </a:xfrm>
          <a:noFill/>
        </p:grpSpPr>
        <p:sp>
          <p:nvSpPr>
            <p:cNvPr id="2130" name="Forma livre: Forma 2129">
              <a:extLst>
                <a:ext uri="{FF2B5EF4-FFF2-40B4-BE49-F238E27FC236}">
                  <a16:creationId xmlns:a16="http://schemas.microsoft.com/office/drawing/2014/main" id="{87E660B0-089A-B763-D09F-C21441903AF2}"/>
                </a:ext>
              </a:extLst>
            </p:cNvPr>
            <p:cNvSpPr/>
            <p:nvPr/>
          </p:nvSpPr>
          <p:spPr>
            <a:xfrm>
              <a:off x="7956290" y="3625243"/>
              <a:ext cx="162047" cy="293026"/>
            </a:xfrm>
            <a:custGeom>
              <a:avLst/>
              <a:gdLst>
                <a:gd name="connsiteX0" fmla="*/ 0 w 162047"/>
                <a:gd name="connsiteY0" fmla="*/ 13256 h 293026"/>
                <a:gd name="connsiteX1" fmla="*/ 13267 w 162047"/>
                <a:gd name="connsiteY1" fmla="*/ 0 h 293026"/>
                <a:gd name="connsiteX2" fmla="*/ 148780 w 162047"/>
                <a:gd name="connsiteY2" fmla="*/ 0 h 293026"/>
                <a:gd name="connsiteX3" fmla="*/ 162047 w 162047"/>
                <a:gd name="connsiteY3" fmla="*/ 13256 h 293026"/>
                <a:gd name="connsiteX4" fmla="*/ 162047 w 162047"/>
                <a:gd name="connsiteY4" fmla="*/ 279347 h 293026"/>
                <a:gd name="connsiteX5" fmla="*/ 148780 w 162047"/>
                <a:gd name="connsiteY5" fmla="*/ 293027 h 293026"/>
                <a:gd name="connsiteX6" fmla="*/ 13267 w 162047"/>
                <a:gd name="connsiteY6" fmla="*/ 293027 h 293026"/>
                <a:gd name="connsiteX7" fmla="*/ 0 w 162047"/>
                <a:gd name="connsiteY7" fmla="*/ 279347 h 293026"/>
                <a:gd name="connsiteX8" fmla="*/ 0 w 162047"/>
                <a:gd name="connsiteY8" fmla="*/ 13256 h 2930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62047" h="293026">
                  <a:moveTo>
                    <a:pt x="0" y="13256"/>
                  </a:moveTo>
                  <a:cubicBezTo>
                    <a:pt x="0" y="5957"/>
                    <a:pt x="5969" y="0"/>
                    <a:pt x="13267" y="0"/>
                  </a:cubicBezTo>
                  <a:lnTo>
                    <a:pt x="148780" y="0"/>
                  </a:lnTo>
                  <a:cubicBezTo>
                    <a:pt x="156078" y="0"/>
                    <a:pt x="162047" y="5957"/>
                    <a:pt x="162047" y="13256"/>
                  </a:cubicBezTo>
                  <a:lnTo>
                    <a:pt x="162047" y="279347"/>
                  </a:lnTo>
                  <a:cubicBezTo>
                    <a:pt x="162047" y="286646"/>
                    <a:pt x="156078" y="293027"/>
                    <a:pt x="148780" y="293027"/>
                  </a:cubicBezTo>
                  <a:lnTo>
                    <a:pt x="13267" y="293027"/>
                  </a:lnTo>
                  <a:cubicBezTo>
                    <a:pt x="5969" y="293027"/>
                    <a:pt x="0" y="286646"/>
                    <a:pt x="0" y="279347"/>
                  </a:cubicBezTo>
                  <a:lnTo>
                    <a:pt x="0" y="13256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31" name="Forma livre: Forma 2130">
              <a:extLst>
                <a:ext uri="{FF2B5EF4-FFF2-40B4-BE49-F238E27FC236}">
                  <a16:creationId xmlns:a16="http://schemas.microsoft.com/office/drawing/2014/main" id="{3A718BA8-47A3-A425-A455-2C22BB9ADA76}"/>
                </a:ext>
              </a:extLst>
            </p:cNvPr>
            <p:cNvSpPr/>
            <p:nvPr/>
          </p:nvSpPr>
          <p:spPr>
            <a:xfrm>
              <a:off x="8026289" y="3888721"/>
              <a:ext cx="22037" cy="1177"/>
            </a:xfrm>
            <a:custGeom>
              <a:avLst/>
              <a:gdLst>
                <a:gd name="connsiteX0" fmla="*/ 0 w 22037"/>
                <a:gd name="connsiteY0" fmla="*/ 0 h 1177"/>
                <a:gd name="connsiteX1" fmla="*/ 22038 w 22037"/>
                <a:gd name="connsiteY1" fmla="*/ 0 h 11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2037" h="1177">
                  <a:moveTo>
                    <a:pt x="0" y="0"/>
                  </a:moveTo>
                  <a:lnTo>
                    <a:pt x="22038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2132" name="Gráfico 18">
            <a:extLst>
              <a:ext uri="{FF2B5EF4-FFF2-40B4-BE49-F238E27FC236}">
                <a16:creationId xmlns:a16="http://schemas.microsoft.com/office/drawing/2014/main" id="{5DF5BE2C-964D-3EEF-0144-5FDF3E6E67D1}"/>
              </a:ext>
            </a:extLst>
          </p:cNvPr>
          <p:cNvGrpSpPr/>
          <p:nvPr/>
        </p:nvGrpSpPr>
        <p:grpSpPr>
          <a:xfrm>
            <a:off x="7924046" y="5196433"/>
            <a:ext cx="220697" cy="293026"/>
            <a:chOff x="7924046" y="5196433"/>
            <a:chExt cx="220697" cy="293026"/>
          </a:xfrm>
        </p:grpSpPr>
        <p:grpSp>
          <p:nvGrpSpPr>
            <p:cNvPr id="2133" name="Gráfico 18">
              <a:extLst>
                <a:ext uri="{FF2B5EF4-FFF2-40B4-BE49-F238E27FC236}">
                  <a16:creationId xmlns:a16="http://schemas.microsoft.com/office/drawing/2014/main" id="{39274884-E94A-DB50-4A7B-3498E851A0A8}"/>
                </a:ext>
              </a:extLst>
            </p:cNvPr>
            <p:cNvGrpSpPr/>
            <p:nvPr/>
          </p:nvGrpSpPr>
          <p:grpSpPr>
            <a:xfrm>
              <a:off x="7924046" y="5196433"/>
              <a:ext cx="162047" cy="293026"/>
              <a:chOff x="7924046" y="5196433"/>
              <a:chExt cx="162047" cy="293026"/>
            </a:xfrm>
            <a:noFill/>
          </p:grpSpPr>
          <p:sp>
            <p:nvSpPr>
              <p:cNvPr id="2134" name="Forma livre: Forma 2133">
                <a:extLst>
                  <a:ext uri="{FF2B5EF4-FFF2-40B4-BE49-F238E27FC236}">
                    <a16:creationId xmlns:a16="http://schemas.microsoft.com/office/drawing/2014/main" id="{4B997FE3-3612-AB2B-D513-8F7526606285}"/>
                  </a:ext>
                </a:extLst>
              </p:cNvPr>
              <p:cNvSpPr/>
              <p:nvPr/>
            </p:nvSpPr>
            <p:spPr>
              <a:xfrm>
                <a:off x="7924046" y="5196433"/>
                <a:ext cx="162047" cy="293026"/>
              </a:xfrm>
              <a:custGeom>
                <a:avLst/>
                <a:gdLst>
                  <a:gd name="connsiteX0" fmla="*/ 162047 w 162047"/>
                  <a:gd name="connsiteY0" fmla="*/ 202662 h 293026"/>
                  <a:gd name="connsiteX1" fmla="*/ 162047 w 162047"/>
                  <a:gd name="connsiteY1" fmla="*/ 279347 h 293026"/>
                  <a:gd name="connsiteX2" fmla="*/ 148780 w 162047"/>
                  <a:gd name="connsiteY2" fmla="*/ 293026 h 293026"/>
                  <a:gd name="connsiteX3" fmla="*/ 13267 w 162047"/>
                  <a:gd name="connsiteY3" fmla="*/ 293026 h 293026"/>
                  <a:gd name="connsiteX4" fmla="*/ 0 w 162047"/>
                  <a:gd name="connsiteY4" fmla="*/ 279347 h 293026"/>
                  <a:gd name="connsiteX5" fmla="*/ 0 w 162047"/>
                  <a:gd name="connsiteY5" fmla="*/ 13256 h 293026"/>
                  <a:gd name="connsiteX6" fmla="*/ 13267 w 162047"/>
                  <a:gd name="connsiteY6" fmla="*/ 0 h 293026"/>
                  <a:gd name="connsiteX7" fmla="*/ 148780 w 162047"/>
                  <a:gd name="connsiteY7" fmla="*/ 0 h 293026"/>
                  <a:gd name="connsiteX8" fmla="*/ 162047 w 162047"/>
                  <a:gd name="connsiteY8" fmla="*/ 13256 h 293026"/>
                  <a:gd name="connsiteX9" fmla="*/ 162047 w 162047"/>
                  <a:gd name="connsiteY9" fmla="*/ 63747 h 2930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62047" h="293026">
                    <a:moveTo>
                      <a:pt x="162047" y="202662"/>
                    </a:moveTo>
                    <a:lnTo>
                      <a:pt x="162047" y="279347"/>
                    </a:lnTo>
                    <a:cubicBezTo>
                      <a:pt x="162047" y="286646"/>
                      <a:pt x="156078" y="293026"/>
                      <a:pt x="148780" y="293026"/>
                    </a:cubicBezTo>
                    <a:lnTo>
                      <a:pt x="13267" y="293026"/>
                    </a:lnTo>
                    <a:cubicBezTo>
                      <a:pt x="5969" y="293026"/>
                      <a:pt x="0" y="286646"/>
                      <a:pt x="0" y="279347"/>
                    </a:cubicBezTo>
                    <a:lnTo>
                      <a:pt x="0" y="13256"/>
                    </a:lnTo>
                    <a:cubicBezTo>
                      <a:pt x="0" y="5957"/>
                      <a:pt x="5969" y="0"/>
                      <a:pt x="13267" y="0"/>
                    </a:cubicBezTo>
                    <a:lnTo>
                      <a:pt x="148780" y="0"/>
                    </a:lnTo>
                    <a:cubicBezTo>
                      <a:pt x="156078" y="0"/>
                      <a:pt x="162047" y="5957"/>
                      <a:pt x="162047" y="13256"/>
                    </a:cubicBezTo>
                    <a:lnTo>
                      <a:pt x="162047" y="63747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135" name="Forma livre: Forma 2134">
                <a:extLst>
                  <a:ext uri="{FF2B5EF4-FFF2-40B4-BE49-F238E27FC236}">
                    <a16:creationId xmlns:a16="http://schemas.microsoft.com/office/drawing/2014/main" id="{88E548A1-F2F3-99B1-96DD-0DE25DFE97F9}"/>
                  </a:ext>
                </a:extLst>
              </p:cNvPr>
              <p:cNvSpPr/>
              <p:nvPr/>
            </p:nvSpPr>
            <p:spPr>
              <a:xfrm>
                <a:off x="7994056" y="5459899"/>
                <a:ext cx="22037" cy="1177"/>
              </a:xfrm>
              <a:custGeom>
                <a:avLst/>
                <a:gdLst>
                  <a:gd name="connsiteX0" fmla="*/ 0 w 22037"/>
                  <a:gd name="connsiteY0" fmla="*/ 0 h 1177"/>
                  <a:gd name="connsiteX1" fmla="*/ 22038 w 22037"/>
                  <a:gd name="connsiteY1" fmla="*/ 0 h 11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2037" h="1177">
                    <a:moveTo>
                      <a:pt x="0" y="0"/>
                    </a:moveTo>
                    <a:lnTo>
                      <a:pt x="22038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2136" name="Gráfico 18">
              <a:extLst>
                <a:ext uri="{FF2B5EF4-FFF2-40B4-BE49-F238E27FC236}">
                  <a16:creationId xmlns:a16="http://schemas.microsoft.com/office/drawing/2014/main" id="{5C432D2A-6241-BA3F-2274-06C762D6C2B7}"/>
                </a:ext>
              </a:extLst>
            </p:cNvPr>
            <p:cNvGrpSpPr/>
            <p:nvPr/>
          </p:nvGrpSpPr>
          <p:grpSpPr>
            <a:xfrm>
              <a:off x="7953677" y="5256366"/>
              <a:ext cx="191065" cy="135500"/>
              <a:chOff x="7953677" y="5256366"/>
              <a:chExt cx="191065" cy="135500"/>
            </a:xfrm>
          </p:grpSpPr>
          <p:grpSp>
            <p:nvGrpSpPr>
              <p:cNvPr id="2137" name="Gráfico 18">
                <a:extLst>
                  <a:ext uri="{FF2B5EF4-FFF2-40B4-BE49-F238E27FC236}">
                    <a16:creationId xmlns:a16="http://schemas.microsoft.com/office/drawing/2014/main" id="{734126A6-9279-79AE-F441-D527DB78E4DA}"/>
                  </a:ext>
                </a:extLst>
              </p:cNvPr>
              <p:cNvGrpSpPr/>
              <p:nvPr/>
            </p:nvGrpSpPr>
            <p:grpSpPr>
              <a:xfrm>
                <a:off x="7953677" y="5293273"/>
                <a:ext cx="59803" cy="50621"/>
                <a:chOff x="7953677" y="5293273"/>
                <a:chExt cx="59803" cy="50621"/>
              </a:xfrm>
            </p:grpSpPr>
            <p:sp>
              <p:nvSpPr>
                <p:cNvPr id="2138" name="Forma livre: Forma 2137">
                  <a:extLst>
                    <a:ext uri="{FF2B5EF4-FFF2-40B4-BE49-F238E27FC236}">
                      <a16:creationId xmlns:a16="http://schemas.microsoft.com/office/drawing/2014/main" id="{28111A1E-EE03-D081-A5EA-1D20E4B9CA2C}"/>
                    </a:ext>
                  </a:extLst>
                </p:cNvPr>
                <p:cNvSpPr/>
                <p:nvPr/>
              </p:nvSpPr>
              <p:spPr>
                <a:xfrm>
                  <a:off x="7953677" y="5318595"/>
                  <a:ext cx="53446" cy="1177"/>
                </a:xfrm>
                <a:custGeom>
                  <a:avLst/>
                  <a:gdLst>
                    <a:gd name="connsiteX0" fmla="*/ 53447 w 53446"/>
                    <a:gd name="connsiteY0" fmla="*/ 0 h 1177"/>
                    <a:gd name="connsiteX1" fmla="*/ 0 w 53446"/>
                    <a:gd name="connsiteY1" fmla="*/ 0 h 117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53446" h="1177">
                      <a:moveTo>
                        <a:pt x="53447" y="0"/>
                      </a:moveTo>
                      <a:lnTo>
                        <a:pt x="0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139" name="Forma livre: Forma 2138">
                  <a:extLst>
                    <a:ext uri="{FF2B5EF4-FFF2-40B4-BE49-F238E27FC236}">
                      <a16:creationId xmlns:a16="http://schemas.microsoft.com/office/drawing/2014/main" id="{ADEB2C54-37CF-7195-7BAA-C08FE2F445CD}"/>
                    </a:ext>
                  </a:extLst>
                </p:cNvPr>
                <p:cNvSpPr/>
                <p:nvPr/>
              </p:nvSpPr>
              <p:spPr>
                <a:xfrm>
                  <a:off x="7991113" y="5343894"/>
                  <a:ext cx="22367" cy="1177"/>
                </a:xfrm>
                <a:custGeom>
                  <a:avLst/>
                  <a:gdLst>
                    <a:gd name="connsiteX0" fmla="*/ 22368 w 22367"/>
                    <a:gd name="connsiteY0" fmla="*/ 0 h 1177"/>
                    <a:gd name="connsiteX1" fmla="*/ 0 w 22367"/>
                    <a:gd name="connsiteY1" fmla="*/ 0 h 117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2367" h="1177">
                      <a:moveTo>
                        <a:pt x="22368" y="0"/>
                      </a:moveTo>
                      <a:lnTo>
                        <a:pt x="0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140" name="Forma livre: Forma 2139">
                  <a:extLst>
                    <a:ext uri="{FF2B5EF4-FFF2-40B4-BE49-F238E27FC236}">
                      <a16:creationId xmlns:a16="http://schemas.microsoft.com/office/drawing/2014/main" id="{C466AF40-1F08-CD95-5BF4-71F0DDAAB799}"/>
                    </a:ext>
                  </a:extLst>
                </p:cNvPr>
                <p:cNvSpPr/>
                <p:nvPr/>
              </p:nvSpPr>
              <p:spPr>
                <a:xfrm>
                  <a:off x="7974232" y="5293273"/>
                  <a:ext cx="25746" cy="1177"/>
                </a:xfrm>
                <a:custGeom>
                  <a:avLst/>
                  <a:gdLst>
                    <a:gd name="connsiteX0" fmla="*/ 25746 w 25746"/>
                    <a:gd name="connsiteY0" fmla="*/ 0 h 1177"/>
                    <a:gd name="connsiteX1" fmla="*/ 0 w 25746"/>
                    <a:gd name="connsiteY1" fmla="*/ 0 h 117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5746" h="1177">
                      <a:moveTo>
                        <a:pt x="25746" y="0"/>
                      </a:moveTo>
                      <a:lnTo>
                        <a:pt x="0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2141" name="Forma livre: Forma 2140">
                <a:extLst>
                  <a:ext uri="{FF2B5EF4-FFF2-40B4-BE49-F238E27FC236}">
                    <a16:creationId xmlns:a16="http://schemas.microsoft.com/office/drawing/2014/main" id="{013E8302-5AF8-383D-3F68-A31BB8FF923F}"/>
                  </a:ext>
                </a:extLst>
              </p:cNvPr>
              <p:cNvSpPr/>
              <p:nvPr/>
            </p:nvSpPr>
            <p:spPr>
              <a:xfrm>
                <a:off x="7994504" y="5256366"/>
                <a:ext cx="141810" cy="103173"/>
              </a:xfrm>
              <a:custGeom>
                <a:avLst/>
                <a:gdLst>
                  <a:gd name="connsiteX0" fmla="*/ 0 w 141810"/>
                  <a:gd name="connsiteY0" fmla="*/ 0 h 103173"/>
                  <a:gd name="connsiteX1" fmla="*/ 26323 w 141810"/>
                  <a:gd name="connsiteY1" fmla="*/ 0 h 103173"/>
                  <a:gd name="connsiteX2" fmla="*/ 47784 w 141810"/>
                  <a:gd name="connsiteY2" fmla="*/ 103173 h 103173"/>
                  <a:gd name="connsiteX3" fmla="*/ 141810 w 141810"/>
                  <a:gd name="connsiteY3" fmla="*/ 103173 h 1031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41810" h="103173">
                    <a:moveTo>
                      <a:pt x="0" y="0"/>
                    </a:moveTo>
                    <a:lnTo>
                      <a:pt x="26323" y="0"/>
                    </a:lnTo>
                    <a:lnTo>
                      <a:pt x="47784" y="103173"/>
                    </a:lnTo>
                    <a:lnTo>
                      <a:pt x="141810" y="103173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142" name="Forma livre: Forma 2141">
                <a:extLst>
                  <a:ext uri="{FF2B5EF4-FFF2-40B4-BE49-F238E27FC236}">
                    <a16:creationId xmlns:a16="http://schemas.microsoft.com/office/drawing/2014/main" id="{5A8B79A7-8D8D-1438-A7D3-C1F10F1D1240}"/>
                  </a:ext>
                </a:extLst>
              </p:cNvPr>
              <p:cNvSpPr/>
              <p:nvPr/>
            </p:nvSpPr>
            <p:spPr>
              <a:xfrm>
                <a:off x="8037979" y="5281748"/>
                <a:ext cx="106763" cy="52669"/>
              </a:xfrm>
              <a:custGeom>
                <a:avLst/>
                <a:gdLst>
                  <a:gd name="connsiteX0" fmla="*/ 15069 w 106763"/>
                  <a:gd name="connsiteY0" fmla="*/ 0 h 52669"/>
                  <a:gd name="connsiteX1" fmla="*/ 106764 w 106763"/>
                  <a:gd name="connsiteY1" fmla="*/ 0 h 52669"/>
                  <a:gd name="connsiteX2" fmla="*/ 92343 w 106763"/>
                  <a:gd name="connsiteY2" fmla="*/ 43982 h 52669"/>
                  <a:gd name="connsiteX3" fmla="*/ 0 w 106763"/>
                  <a:gd name="connsiteY3" fmla="*/ 52670 h 526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06763" h="52669">
                    <a:moveTo>
                      <a:pt x="15069" y="0"/>
                    </a:moveTo>
                    <a:lnTo>
                      <a:pt x="106764" y="0"/>
                    </a:lnTo>
                    <a:lnTo>
                      <a:pt x="92343" y="43982"/>
                    </a:lnTo>
                    <a:lnTo>
                      <a:pt x="0" y="52670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143" name="Forma livre: Forma 2142">
                <a:extLst>
                  <a:ext uri="{FF2B5EF4-FFF2-40B4-BE49-F238E27FC236}">
                    <a16:creationId xmlns:a16="http://schemas.microsoft.com/office/drawing/2014/main" id="{055F1B76-9A22-264D-5754-B060BED3D703}"/>
                  </a:ext>
                </a:extLst>
              </p:cNvPr>
              <p:cNvSpPr/>
              <p:nvPr/>
            </p:nvSpPr>
            <p:spPr>
              <a:xfrm>
                <a:off x="8045172" y="5384132"/>
                <a:ext cx="7746" cy="7734"/>
              </a:xfrm>
              <a:custGeom>
                <a:avLst/>
                <a:gdLst>
                  <a:gd name="connsiteX0" fmla="*/ 7746 w 7746"/>
                  <a:gd name="connsiteY0" fmla="*/ 3873 h 7734"/>
                  <a:gd name="connsiteX1" fmla="*/ 3873 w 7746"/>
                  <a:gd name="connsiteY1" fmla="*/ 7735 h 7734"/>
                  <a:gd name="connsiteX2" fmla="*/ 0 w 7746"/>
                  <a:gd name="connsiteY2" fmla="*/ 3873 h 7734"/>
                  <a:gd name="connsiteX3" fmla="*/ 3873 w 7746"/>
                  <a:gd name="connsiteY3" fmla="*/ 0 h 7734"/>
                  <a:gd name="connsiteX4" fmla="*/ 7746 w 7746"/>
                  <a:gd name="connsiteY4" fmla="*/ 3873 h 77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746" h="7734">
                    <a:moveTo>
                      <a:pt x="7746" y="3873"/>
                    </a:moveTo>
                    <a:cubicBezTo>
                      <a:pt x="7746" y="6016"/>
                      <a:pt x="6027" y="7735"/>
                      <a:pt x="3873" y="7735"/>
                    </a:cubicBezTo>
                    <a:cubicBezTo>
                      <a:pt x="1719" y="7735"/>
                      <a:pt x="0" y="6016"/>
                      <a:pt x="0" y="3873"/>
                    </a:cubicBezTo>
                    <a:cubicBezTo>
                      <a:pt x="0" y="1731"/>
                      <a:pt x="1742" y="0"/>
                      <a:pt x="3873" y="0"/>
                    </a:cubicBezTo>
                    <a:cubicBezTo>
                      <a:pt x="6004" y="0"/>
                      <a:pt x="7746" y="1719"/>
                      <a:pt x="7746" y="3873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144" name="Forma livre: Forma 2143">
                <a:extLst>
                  <a:ext uri="{FF2B5EF4-FFF2-40B4-BE49-F238E27FC236}">
                    <a16:creationId xmlns:a16="http://schemas.microsoft.com/office/drawing/2014/main" id="{EE694C76-D1E8-A61E-A635-6BE727184B1E}"/>
                  </a:ext>
                </a:extLst>
              </p:cNvPr>
              <p:cNvSpPr/>
              <p:nvPr/>
            </p:nvSpPr>
            <p:spPr>
              <a:xfrm>
                <a:off x="8114441" y="5384132"/>
                <a:ext cx="7746" cy="7734"/>
              </a:xfrm>
              <a:custGeom>
                <a:avLst/>
                <a:gdLst>
                  <a:gd name="connsiteX0" fmla="*/ 7746 w 7746"/>
                  <a:gd name="connsiteY0" fmla="*/ 3873 h 7734"/>
                  <a:gd name="connsiteX1" fmla="*/ 3873 w 7746"/>
                  <a:gd name="connsiteY1" fmla="*/ 7735 h 7734"/>
                  <a:gd name="connsiteX2" fmla="*/ 0 w 7746"/>
                  <a:gd name="connsiteY2" fmla="*/ 3873 h 7734"/>
                  <a:gd name="connsiteX3" fmla="*/ 3873 w 7746"/>
                  <a:gd name="connsiteY3" fmla="*/ 0 h 7734"/>
                  <a:gd name="connsiteX4" fmla="*/ 7746 w 7746"/>
                  <a:gd name="connsiteY4" fmla="*/ 3873 h 77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746" h="7734">
                    <a:moveTo>
                      <a:pt x="7746" y="3873"/>
                    </a:moveTo>
                    <a:cubicBezTo>
                      <a:pt x="7746" y="6016"/>
                      <a:pt x="6027" y="7735"/>
                      <a:pt x="3873" y="7735"/>
                    </a:cubicBezTo>
                    <a:cubicBezTo>
                      <a:pt x="1719" y="7735"/>
                      <a:pt x="0" y="6016"/>
                      <a:pt x="0" y="3873"/>
                    </a:cubicBezTo>
                    <a:cubicBezTo>
                      <a:pt x="0" y="1731"/>
                      <a:pt x="1742" y="0"/>
                      <a:pt x="3873" y="0"/>
                    </a:cubicBezTo>
                    <a:cubicBezTo>
                      <a:pt x="6004" y="0"/>
                      <a:pt x="7746" y="1719"/>
                      <a:pt x="7746" y="3873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2145" name="Gráfico 18">
            <a:extLst>
              <a:ext uri="{FF2B5EF4-FFF2-40B4-BE49-F238E27FC236}">
                <a16:creationId xmlns:a16="http://schemas.microsoft.com/office/drawing/2014/main" id="{B9E08F8C-7C30-04B8-A211-D115227DDBCA}"/>
              </a:ext>
            </a:extLst>
          </p:cNvPr>
          <p:cNvGrpSpPr/>
          <p:nvPr/>
        </p:nvGrpSpPr>
        <p:grpSpPr>
          <a:xfrm>
            <a:off x="7924046" y="5720175"/>
            <a:ext cx="226512" cy="293026"/>
            <a:chOff x="7924046" y="5720175"/>
            <a:chExt cx="226512" cy="293026"/>
          </a:xfrm>
          <a:noFill/>
        </p:grpSpPr>
        <p:grpSp>
          <p:nvGrpSpPr>
            <p:cNvPr id="2146" name="Gráfico 18">
              <a:extLst>
                <a:ext uri="{FF2B5EF4-FFF2-40B4-BE49-F238E27FC236}">
                  <a16:creationId xmlns:a16="http://schemas.microsoft.com/office/drawing/2014/main" id="{2BD5D88A-2794-85DF-2FBF-B930A0ACF827}"/>
                </a:ext>
              </a:extLst>
            </p:cNvPr>
            <p:cNvGrpSpPr/>
            <p:nvPr/>
          </p:nvGrpSpPr>
          <p:grpSpPr>
            <a:xfrm>
              <a:off x="7924046" y="5720175"/>
              <a:ext cx="162047" cy="293026"/>
              <a:chOff x="7924046" y="5720175"/>
              <a:chExt cx="162047" cy="293026"/>
            </a:xfrm>
            <a:noFill/>
          </p:grpSpPr>
          <p:sp>
            <p:nvSpPr>
              <p:cNvPr id="2147" name="Forma livre: Forma 2146">
                <a:extLst>
                  <a:ext uri="{FF2B5EF4-FFF2-40B4-BE49-F238E27FC236}">
                    <a16:creationId xmlns:a16="http://schemas.microsoft.com/office/drawing/2014/main" id="{3F3BD285-962D-BFC8-D6A5-AAE0C3BE23F2}"/>
                  </a:ext>
                </a:extLst>
              </p:cNvPr>
              <p:cNvSpPr/>
              <p:nvPr/>
            </p:nvSpPr>
            <p:spPr>
              <a:xfrm>
                <a:off x="7924046" y="5720175"/>
                <a:ext cx="162047" cy="293026"/>
              </a:xfrm>
              <a:custGeom>
                <a:avLst/>
                <a:gdLst>
                  <a:gd name="connsiteX0" fmla="*/ 162047 w 162047"/>
                  <a:gd name="connsiteY0" fmla="*/ 211161 h 293026"/>
                  <a:gd name="connsiteX1" fmla="*/ 162047 w 162047"/>
                  <a:gd name="connsiteY1" fmla="*/ 279347 h 293026"/>
                  <a:gd name="connsiteX2" fmla="*/ 148780 w 162047"/>
                  <a:gd name="connsiteY2" fmla="*/ 293026 h 293026"/>
                  <a:gd name="connsiteX3" fmla="*/ 13267 w 162047"/>
                  <a:gd name="connsiteY3" fmla="*/ 293026 h 293026"/>
                  <a:gd name="connsiteX4" fmla="*/ 0 w 162047"/>
                  <a:gd name="connsiteY4" fmla="*/ 279347 h 293026"/>
                  <a:gd name="connsiteX5" fmla="*/ 0 w 162047"/>
                  <a:gd name="connsiteY5" fmla="*/ 13256 h 293026"/>
                  <a:gd name="connsiteX6" fmla="*/ 13267 w 162047"/>
                  <a:gd name="connsiteY6" fmla="*/ 0 h 293026"/>
                  <a:gd name="connsiteX7" fmla="*/ 148780 w 162047"/>
                  <a:gd name="connsiteY7" fmla="*/ 0 h 293026"/>
                  <a:gd name="connsiteX8" fmla="*/ 162047 w 162047"/>
                  <a:gd name="connsiteY8" fmla="*/ 13256 h 293026"/>
                  <a:gd name="connsiteX9" fmla="*/ 162047 w 162047"/>
                  <a:gd name="connsiteY9" fmla="*/ 42345 h 2930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62047" h="293026">
                    <a:moveTo>
                      <a:pt x="162047" y="211161"/>
                    </a:moveTo>
                    <a:lnTo>
                      <a:pt x="162047" y="279347"/>
                    </a:lnTo>
                    <a:cubicBezTo>
                      <a:pt x="162047" y="286646"/>
                      <a:pt x="156078" y="293026"/>
                      <a:pt x="148780" y="293026"/>
                    </a:cubicBezTo>
                    <a:lnTo>
                      <a:pt x="13267" y="293026"/>
                    </a:lnTo>
                    <a:cubicBezTo>
                      <a:pt x="5969" y="293026"/>
                      <a:pt x="0" y="286646"/>
                      <a:pt x="0" y="279347"/>
                    </a:cubicBezTo>
                    <a:lnTo>
                      <a:pt x="0" y="13256"/>
                    </a:lnTo>
                    <a:cubicBezTo>
                      <a:pt x="0" y="5957"/>
                      <a:pt x="5969" y="0"/>
                      <a:pt x="13267" y="0"/>
                    </a:cubicBezTo>
                    <a:lnTo>
                      <a:pt x="148780" y="0"/>
                    </a:lnTo>
                    <a:cubicBezTo>
                      <a:pt x="156078" y="0"/>
                      <a:pt x="162047" y="5957"/>
                      <a:pt x="162047" y="13256"/>
                    </a:cubicBezTo>
                    <a:lnTo>
                      <a:pt x="162047" y="42345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148" name="Forma livre: Forma 2147">
                <a:extLst>
                  <a:ext uri="{FF2B5EF4-FFF2-40B4-BE49-F238E27FC236}">
                    <a16:creationId xmlns:a16="http://schemas.microsoft.com/office/drawing/2014/main" id="{91E19593-E419-F4ED-8814-338B83225963}"/>
                  </a:ext>
                </a:extLst>
              </p:cNvPr>
              <p:cNvSpPr/>
              <p:nvPr/>
            </p:nvSpPr>
            <p:spPr>
              <a:xfrm>
                <a:off x="7994056" y="5983653"/>
                <a:ext cx="22037" cy="1177"/>
              </a:xfrm>
              <a:custGeom>
                <a:avLst/>
                <a:gdLst>
                  <a:gd name="connsiteX0" fmla="*/ 0 w 22037"/>
                  <a:gd name="connsiteY0" fmla="*/ 0 h 1177"/>
                  <a:gd name="connsiteX1" fmla="*/ 22038 w 22037"/>
                  <a:gd name="connsiteY1" fmla="*/ 0 h 11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2037" h="1177">
                    <a:moveTo>
                      <a:pt x="0" y="0"/>
                    </a:moveTo>
                    <a:lnTo>
                      <a:pt x="22038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2149" name="Gráfico 18">
              <a:extLst>
                <a:ext uri="{FF2B5EF4-FFF2-40B4-BE49-F238E27FC236}">
                  <a16:creationId xmlns:a16="http://schemas.microsoft.com/office/drawing/2014/main" id="{F8556D9A-232E-5045-8BCB-D0BFDE4FFC84}"/>
                </a:ext>
              </a:extLst>
            </p:cNvPr>
            <p:cNvGrpSpPr/>
            <p:nvPr/>
          </p:nvGrpSpPr>
          <p:grpSpPr>
            <a:xfrm>
              <a:off x="7978258" y="5784358"/>
              <a:ext cx="172300" cy="125105"/>
              <a:chOff x="7978258" y="5784358"/>
              <a:chExt cx="172300" cy="125105"/>
            </a:xfrm>
            <a:noFill/>
          </p:grpSpPr>
          <p:sp>
            <p:nvSpPr>
              <p:cNvPr id="2150" name="Forma livre: Forma 2149">
                <a:extLst>
                  <a:ext uri="{FF2B5EF4-FFF2-40B4-BE49-F238E27FC236}">
                    <a16:creationId xmlns:a16="http://schemas.microsoft.com/office/drawing/2014/main" id="{7287B388-063D-5F89-152B-C0AB61CB2E3C}"/>
                  </a:ext>
                </a:extLst>
              </p:cNvPr>
              <p:cNvSpPr/>
              <p:nvPr/>
            </p:nvSpPr>
            <p:spPr>
              <a:xfrm>
                <a:off x="7978258" y="5784358"/>
                <a:ext cx="172300" cy="125105"/>
              </a:xfrm>
              <a:custGeom>
                <a:avLst/>
                <a:gdLst>
                  <a:gd name="connsiteX0" fmla="*/ 9430 w 172300"/>
                  <a:gd name="connsiteY0" fmla="*/ 0 h 125105"/>
                  <a:gd name="connsiteX1" fmla="*/ 162883 w 172300"/>
                  <a:gd name="connsiteY1" fmla="*/ 0 h 125105"/>
                  <a:gd name="connsiteX2" fmla="*/ 172301 w 172300"/>
                  <a:gd name="connsiteY2" fmla="*/ 9418 h 125105"/>
                  <a:gd name="connsiteX3" fmla="*/ 172301 w 172300"/>
                  <a:gd name="connsiteY3" fmla="*/ 115687 h 125105"/>
                  <a:gd name="connsiteX4" fmla="*/ 162883 w 172300"/>
                  <a:gd name="connsiteY4" fmla="*/ 125105 h 125105"/>
                  <a:gd name="connsiteX5" fmla="*/ 9418 w 172300"/>
                  <a:gd name="connsiteY5" fmla="*/ 125105 h 125105"/>
                  <a:gd name="connsiteX6" fmla="*/ 0 w 172300"/>
                  <a:gd name="connsiteY6" fmla="*/ 115687 h 125105"/>
                  <a:gd name="connsiteX7" fmla="*/ 0 w 172300"/>
                  <a:gd name="connsiteY7" fmla="*/ 9418 h 125105"/>
                  <a:gd name="connsiteX8" fmla="*/ 9418 w 172300"/>
                  <a:gd name="connsiteY8" fmla="*/ 0 h 1251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72300" h="125105">
                    <a:moveTo>
                      <a:pt x="9430" y="0"/>
                    </a:moveTo>
                    <a:lnTo>
                      <a:pt x="162883" y="0"/>
                    </a:lnTo>
                    <a:cubicBezTo>
                      <a:pt x="168086" y="0"/>
                      <a:pt x="172301" y="4226"/>
                      <a:pt x="172301" y="9418"/>
                    </a:cubicBezTo>
                    <a:lnTo>
                      <a:pt x="172301" y="115687"/>
                    </a:lnTo>
                    <a:cubicBezTo>
                      <a:pt x="172301" y="120891"/>
                      <a:pt x="168086" y="125105"/>
                      <a:pt x="162883" y="125105"/>
                    </a:cubicBezTo>
                    <a:lnTo>
                      <a:pt x="9418" y="125105"/>
                    </a:lnTo>
                    <a:cubicBezTo>
                      <a:pt x="4215" y="125105"/>
                      <a:pt x="0" y="120891"/>
                      <a:pt x="0" y="115687"/>
                    </a:cubicBezTo>
                    <a:lnTo>
                      <a:pt x="0" y="9418"/>
                    </a:lnTo>
                    <a:cubicBezTo>
                      <a:pt x="0" y="4215"/>
                      <a:pt x="4226" y="0"/>
                      <a:pt x="9418" y="0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2151" name="Gráfico 18">
                <a:extLst>
                  <a:ext uri="{FF2B5EF4-FFF2-40B4-BE49-F238E27FC236}">
                    <a16:creationId xmlns:a16="http://schemas.microsoft.com/office/drawing/2014/main" id="{8BD2E3F8-072B-6209-43CE-E91CEF297AB7}"/>
                  </a:ext>
                </a:extLst>
              </p:cNvPr>
              <p:cNvGrpSpPr/>
              <p:nvPr/>
            </p:nvGrpSpPr>
            <p:grpSpPr>
              <a:xfrm>
                <a:off x="7983708" y="5858230"/>
                <a:ext cx="161399" cy="46595"/>
                <a:chOff x="7983708" y="5858230"/>
                <a:chExt cx="161399" cy="46595"/>
              </a:xfrm>
            </p:grpSpPr>
            <p:sp>
              <p:nvSpPr>
                <p:cNvPr id="2152" name="Forma livre: Forma 2151">
                  <a:extLst>
                    <a:ext uri="{FF2B5EF4-FFF2-40B4-BE49-F238E27FC236}">
                      <a16:creationId xmlns:a16="http://schemas.microsoft.com/office/drawing/2014/main" id="{47EEAE60-2CE3-C758-1E90-D0FD341822A7}"/>
                    </a:ext>
                  </a:extLst>
                </p:cNvPr>
                <p:cNvSpPr/>
                <p:nvPr/>
              </p:nvSpPr>
              <p:spPr>
                <a:xfrm>
                  <a:off x="7983708" y="5858230"/>
                  <a:ext cx="38919" cy="46595"/>
                </a:xfrm>
                <a:custGeom>
                  <a:avLst/>
                  <a:gdLst>
                    <a:gd name="connsiteX0" fmla="*/ 38920 w 38919"/>
                    <a:gd name="connsiteY0" fmla="*/ 0 h 46595"/>
                    <a:gd name="connsiteX1" fmla="*/ 0 w 38919"/>
                    <a:gd name="connsiteY1" fmla="*/ 46595 h 4659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38919" h="46595">
                      <a:moveTo>
                        <a:pt x="38920" y="0"/>
                      </a:moveTo>
                      <a:lnTo>
                        <a:pt x="0" y="46595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153" name="Forma livre: Forma 2152">
                  <a:extLst>
                    <a:ext uri="{FF2B5EF4-FFF2-40B4-BE49-F238E27FC236}">
                      <a16:creationId xmlns:a16="http://schemas.microsoft.com/office/drawing/2014/main" id="{50462BC9-1F50-D896-AD57-C99211CF7B94}"/>
                    </a:ext>
                  </a:extLst>
                </p:cNvPr>
                <p:cNvSpPr/>
                <p:nvPr/>
              </p:nvSpPr>
              <p:spPr>
                <a:xfrm>
                  <a:off x="8106188" y="5858230"/>
                  <a:ext cx="38919" cy="46595"/>
                </a:xfrm>
                <a:custGeom>
                  <a:avLst/>
                  <a:gdLst>
                    <a:gd name="connsiteX0" fmla="*/ 0 w 38919"/>
                    <a:gd name="connsiteY0" fmla="*/ 0 h 46595"/>
                    <a:gd name="connsiteX1" fmla="*/ 38920 w 38919"/>
                    <a:gd name="connsiteY1" fmla="*/ 46595 h 4659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38919" h="46595">
                      <a:moveTo>
                        <a:pt x="0" y="0"/>
                      </a:moveTo>
                      <a:lnTo>
                        <a:pt x="38920" y="46595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2154" name="Forma livre: Forma 2153">
                <a:extLst>
                  <a:ext uri="{FF2B5EF4-FFF2-40B4-BE49-F238E27FC236}">
                    <a16:creationId xmlns:a16="http://schemas.microsoft.com/office/drawing/2014/main" id="{C0218448-7855-0803-9853-2534C3CAB173}"/>
                  </a:ext>
                </a:extLst>
              </p:cNvPr>
              <p:cNvSpPr/>
              <p:nvPr/>
            </p:nvSpPr>
            <p:spPr>
              <a:xfrm>
                <a:off x="8008372" y="5808315"/>
                <a:ext cx="111896" cy="43534"/>
              </a:xfrm>
              <a:custGeom>
                <a:avLst/>
                <a:gdLst>
                  <a:gd name="connsiteX0" fmla="*/ 0 w 111896"/>
                  <a:gd name="connsiteY0" fmla="*/ 0 h 43534"/>
                  <a:gd name="connsiteX1" fmla="*/ 56296 w 111896"/>
                  <a:gd name="connsiteY1" fmla="*/ 43534 h 43534"/>
                  <a:gd name="connsiteX2" fmla="*/ 111897 w 111896"/>
                  <a:gd name="connsiteY2" fmla="*/ 0 h 435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11896" h="43534">
                    <a:moveTo>
                      <a:pt x="0" y="0"/>
                    </a:moveTo>
                    <a:lnTo>
                      <a:pt x="56296" y="43534"/>
                    </a:lnTo>
                    <a:lnTo>
                      <a:pt x="111897" y="0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2155" name="Gráfico 18">
            <a:extLst>
              <a:ext uri="{FF2B5EF4-FFF2-40B4-BE49-F238E27FC236}">
                <a16:creationId xmlns:a16="http://schemas.microsoft.com/office/drawing/2014/main" id="{9831C94B-36C3-E0E8-7E94-4F35B2F643C1}"/>
              </a:ext>
            </a:extLst>
          </p:cNvPr>
          <p:cNvGrpSpPr/>
          <p:nvPr/>
        </p:nvGrpSpPr>
        <p:grpSpPr>
          <a:xfrm>
            <a:off x="7895298" y="4779597"/>
            <a:ext cx="284009" cy="79251"/>
            <a:chOff x="7895298" y="4779597"/>
            <a:chExt cx="284009" cy="79251"/>
          </a:xfrm>
          <a:noFill/>
        </p:grpSpPr>
        <p:grpSp>
          <p:nvGrpSpPr>
            <p:cNvPr id="2156" name="Gráfico 18">
              <a:extLst>
                <a:ext uri="{FF2B5EF4-FFF2-40B4-BE49-F238E27FC236}">
                  <a16:creationId xmlns:a16="http://schemas.microsoft.com/office/drawing/2014/main" id="{A7F32446-D858-1015-569E-2660DA9B29CC}"/>
                </a:ext>
              </a:extLst>
            </p:cNvPr>
            <p:cNvGrpSpPr/>
            <p:nvPr/>
          </p:nvGrpSpPr>
          <p:grpSpPr>
            <a:xfrm>
              <a:off x="8145308" y="4779597"/>
              <a:ext cx="33998" cy="79157"/>
              <a:chOff x="8145308" y="4779597"/>
              <a:chExt cx="33998" cy="79157"/>
            </a:xfrm>
            <a:noFill/>
          </p:grpSpPr>
          <p:sp>
            <p:nvSpPr>
              <p:cNvPr id="2157" name="Forma livre: Forma 2156">
                <a:extLst>
                  <a:ext uri="{FF2B5EF4-FFF2-40B4-BE49-F238E27FC236}">
                    <a16:creationId xmlns:a16="http://schemas.microsoft.com/office/drawing/2014/main" id="{266D3C49-7923-62A0-D764-73072F769572}"/>
                  </a:ext>
                </a:extLst>
              </p:cNvPr>
              <p:cNvSpPr/>
              <p:nvPr/>
            </p:nvSpPr>
            <p:spPr>
              <a:xfrm>
                <a:off x="8145308" y="4794029"/>
                <a:ext cx="10036" cy="49585"/>
              </a:xfrm>
              <a:custGeom>
                <a:avLst/>
                <a:gdLst>
                  <a:gd name="connsiteX0" fmla="*/ 0 w 10036"/>
                  <a:gd name="connsiteY0" fmla="*/ 49585 h 49585"/>
                  <a:gd name="connsiteX1" fmla="*/ 10030 w 10036"/>
                  <a:gd name="connsiteY1" fmla="*/ 24958 h 49585"/>
                  <a:gd name="connsiteX2" fmla="*/ 965 w 10036"/>
                  <a:gd name="connsiteY2" fmla="*/ 0 h 495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0036" h="49585">
                    <a:moveTo>
                      <a:pt x="0" y="49585"/>
                    </a:moveTo>
                    <a:cubicBezTo>
                      <a:pt x="6051" y="43122"/>
                      <a:pt x="9842" y="34517"/>
                      <a:pt x="10030" y="24958"/>
                    </a:cubicBezTo>
                    <a:cubicBezTo>
                      <a:pt x="10207" y="15422"/>
                      <a:pt x="6757" y="6687"/>
                      <a:pt x="965" y="0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158" name="Forma livre: Forma 2157">
                <a:extLst>
                  <a:ext uri="{FF2B5EF4-FFF2-40B4-BE49-F238E27FC236}">
                    <a16:creationId xmlns:a16="http://schemas.microsoft.com/office/drawing/2014/main" id="{4F20068B-6ECA-E617-93FB-EDEB9C1C31D5}"/>
                  </a:ext>
                </a:extLst>
              </p:cNvPr>
              <p:cNvSpPr/>
              <p:nvPr/>
            </p:nvSpPr>
            <p:spPr>
              <a:xfrm>
                <a:off x="8163920" y="4779597"/>
                <a:ext cx="15386" cy="79157"/>
              </a:xfrm>
              <a:custGeom>
                <a:avLst/>
                <a:gdLst>
                  <a:gd name="connsiteX0" fmla="*/ 0 w 15386"/>
                  <a:gd name="connsiteY0" fmla="*/ 79157 h 79157"/>
                  <a:gd name="connsiteX1" fmla="*/ 15375 w 15386"/>
                  <a:gd name="connsiteY1" fmla="*/ 39838 h 79157"/>
                  <a:gd name="connsiteX2" fmla="*/ 1542 w 15386"/>
                  <a:gd name="connsiteY2" fmla="*/ 0 h 791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5386" h="79157">
                    <a:moveTo>
                      <a:pt x="0" y="79157"/>
                    </a:moveTo>
                    <a:cubicBezTo>
                      <a:pt x="9312" y="68657"/>
                      <a:pt x="15080" y="54965"/>
                      <a:pt x="15375" y="39838"/>
                    </a:cubicBezTo>
                    <a:cubicBezTo>
                      <a:pt x="15669" y="24746"/>
                      <a:pt x="10419" y="10842"/>
                      <a:pt x="1542" y="0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2159" name="Gráfico 18">
              <a:extLst>
                <a:ext uri="{FF2B5EF4-FFF2-40B4-BE49-F238E27FC236}">
                  <a16:creationId xmlns:a16="http://schemas.microsoft.com/office/drawing/2014/main" id="{A9E2A763-314C-1436-297D-3DF0A360154C}"/>
                </a:ext>
              </a:extLst>
            </p:cNvPr>
            <p:cNvGrpSpPr/>
            <p:nvPr/>
          </p:nvGrpSpPr>
          <p:grpSpPr>
            <a:xfrm>
              <a:off x="7895298" y="4779702"/>
              <a:ext cx="34010" cy="79145"/>
              <a:chOff x="7895298" y="4779702"/>
              <a:chExt cx="34010" cy="79145"/>
            </a:xfrm>
            <a:noFill/>
          </p:grpSpPr>
          <p:sp>
            <p:nvSpPr>
              <p:cNvPr id="2160" name="Forma livre: Forma 2159">
                <a:extLst>
                  <a:ext uri="{FF2B5EF4-FFF2-40B4-BE49-F238E27FC236}">
                    <a16:creationId xmlns:a16="http://schemas.microsoft.com/office/drawing/2014/main" id="{ECC13E62-6588-7164-AD93-D62E7288EBF5}"/>
                  </a:ext>
                </a:extLst>
              </p:cNvPr>
              <p:cNvSpPr/>
              <p:nvPr/>
            </p:nvSpPr>
            <p:spPr>
              <a:xfrm>
                <a:off x="7919272" y="4794830"/>
                <a:ext cx="10036" cy="49597"/>
              </a:xfrm>
              <a:custGeom>
                <a:avLst/>
                <a:gdLst>
                  <a:gd name="connsiteX0" fmla="*/ 10037 w 10036"/>
                  <a:gd name="connsiteY0" fmla="*/ 0 h 49597"/>
                  <a:gd name="connsiteX1" fmla="*/ 6 w 10036"/>
                  <a:gd name="connsiteY1" fmla="*/ 24640 h 49597"/>
                  <a:gd name="connsiteX2" fmla="*/ 9071 w 10036"/>
                  <a:gd name="connsiteY2" fmla="*/ 49597 h 495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0036" h="49597">
                    <a:moveTo>
                      <a:pt x="10037" y="0"/>
                    </a:moveTo>
                    <a:cubicBezTo>
                      <a:pt x="3986" y="6463"/>
                      <a:pt x="195" y="15069"/>
                      <a:pt x="6" y="24640"/>
                    </a:cubicBezTo>
                    <a:cubicBezTo>
                      <a:pt x="-170" y="34163"/>
                      <a:pt x="3279" y="42910"/>
                      <a:pt x="9071" y="49597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161" name="Forma livre: Forma 2160">
                <a:extLst>
                  <a:ext uri="{FF2B5EF4-FFF2-40B4-BE49-F238E27FC236}">
                    <a16:creationId xmlns:a16="http://schemas.microsoft.com/office/drawing/2014/main" id="{78C97E93-4A09-0C96-04CD-584402D96AFD}"/>
                  </a:ext>
                </a:extLst>
              </p:cNvPr>
              <p:cNvSpPr/>
              <p:nvPr/>
            </p:nvSpPr>
            <p:spPr>
              <a:xfrm>
                <a:off x="7895298" y="4779702"/>
                <a:ext cx="15386" cy="79145"/>
              </a:xfrm>
              <a:custGeom>
                <a:avLst/>
                <a:gdLst>
                  <a:gd name="connsiteX0" fmla="*/ 15387 w 15386"/>
                  <a:gd name="connsiteY0" fmla="*/ 0 h 79145"/>
                  <a:gd name="connsiteX1" fmla="*/ 12 w 15386"/>
                  <a:gd name="connsiteY1" fmla="*/ 39308 h 79145"/>
                  <a:gd name="connsiteX2" fmla="*/ 13844 w 15386"/>
                  <a:gd name="connsiteY2" fmla="*/ 79146 h 791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5386" h="79145">
                    <a:moveTo>
                      <a:pt x="15387" y="0"/>
                    </a:moveTo>
                    <a:cubicBezTo>
                      <a:pt x="6075" y="10489"/>
                      <a:pt x="306" y="24192"/>
                      <a:pt x="12" y="39308"/>
                    </a:cubicBezTo>
                    <a:cubicBezTo>
                      <a:pt x="-283" y="54400"/>
                      <a:pt x="4968" y="68315"/>
                      <a:pt x="13844" y="79146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2162" name="Gráfico 18">
            <a:extLst>
              <a:ext uri="{FF2B5EF4-FFF2-40B4-BE49-F238E27FC236}">
                <a16:creationId xmlns:a16="http://schemas.microsoft.com/office/drawing/2014/main" id="{169B1B17-0E24-C77E-B0DB-165D874B3890}"/>
              </a:ext>
            </a:extLst>
          </p:cNvPr>
          <p:cNvGrpSpPr/>
          <p:nvPr/>
        </p:nvGrpSpPr>
        <p:grpSpPr>
          <a:xfrm>
            <a:off x="7956290" y="4672703"/>
            <a:ext cx="162047" cy="293038"/>
            <a:chOff x="7956290" y="4672703"/>
            <a:chExt cx="162047" cy="293038"/>
          </a:xfrm>
          <a:noFill/>
        </p:grpSpPr>
        <p:sp>
          <p:nvSpPr>
            <p:cNvPr id="2163" name="Forma livre: Forma 2162">
              <a:extLst>
                <a:ext uri="{FF2B5EF4-FFF2-40B4-BE49-F238E27FC236}">
                  <a16:creationId xmlns:a16="http://schemas.microsoft.com/office/drawing/2014/main" id="{CF623F4A-CE53-F4D6-E2BD-9DCB55DB518C}"/>
                </a:ext>
              </a:extLst>
            </p:cNvPr>
            <p:cNvSpPr/>
            <p:nvPr/>
          </p:nvSpPr>
          <p:spPr>
            <a:xfrm>
              <a:off x="7956290" y="4672703"/>
              <a:ext cx="162047" cy="293038"/>
            </a:xfrm>
            <a:custGeom>
              <a:avLst/>
              <a:gdLst>
                <a:gd name="connsiteX0" fmla="*/ 0 w 162047"/>
                <a:gd name="connsiteY0" fmla="*/ 13256 h 293038"/>
                <a:gd name="connsiteX1" fmla="*/ 13267 w 162047"/>
                <a:gd name="connsiteY1" fmla="*/ 0 h 293038"/>
                <a:gd name="connsiteX2" fmla="*/ 148780 w 162047"/>
                <a:gd name="connsiteY2" fmla="*/ 0 h 293038"/>
                <a:gd name="connsiteX3" fmla="*/ 162047 w 162047"/>
                <a:gd name="connsiteY3" fmla="*/ 13256 h 293038"/>
                <a:gd name="connsiteX4" fmla="*/ 162047 w 162047"/>
                <a:gd name="connsiteY4" fmla="*/ 279347 h 293038"/>
                <a:gd name="connsiteX5" fmla="*/ 148780 w 162047"/>
                <a:gd name="connsiteY5" fmla="*/ 293038 h 293038"/>
                <a:gd name="connsiteX6" fmla="*/ 13267 w 162047"/>
                <a:gd name="connsiteY6" fmla="*/ 293038 h 293038"/>
                <a:gd name="connsiteX7" fmla="*/ 0 w 162047"/>
                <a:gd name="connsiteY7" fmla="*/ 279347 h 293038"/>
                <a:gd name="connsiteX8" fmla="*/ 0 w 162047"/>
                <a:gd name="connsiteY8" fmla="*/ 13256 h 2930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62047" h="293038">
                  <a:moveTo>
                    <a:pt x="0" y="13256"/>
                  </a:moveTo>
                  <a:cubicBezTo>
                    <a:pt x="0" y="5957"/>
                    <a:pt x="5969" y="0"/>
                    <a:pt x="13267" y="0"/>
                  </a:cubicBezTo>
                  <a:lnTo>
                    <a:pt x="148780" y="0"/>
                  </a:lnTo>
                  <a:cubicBezTo>
                    <a:pt x="156078" y="0"/>
                    <a:pt x="162047" y="5957"/>
                    <a:pt x="162047" y="13256"/>
                  </a:cubicBezTo>
                  <a:lnTo>
                    <a:pt x="162047" y="279347"/>
                  </a:lnTo>
                  <a:cubicBezTo>
                    <a:pt x="162047" y="286658"/>
                    <a:pt x="156078" y="293038"/>
                    <a:pt x="148780" y="293038"/>
                  </a:cubicBezTo>
                  <a:lnTo>
                    <a:pt x="13267" y="293038"/>
                  </a:lnTo>
                  <a:cubicBezTo>
                    <a:pt x="5969" y="293038"/>
                    <a:pt x="0" y="286658"/>
                    <a:pt x="0" y="279347"/>
                  </a:cubicBezTo>
                  <a:lnTo>
                    <a:pt x="0" y="13256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64" name="Forma livre: Forma 2163">
              <a:extLst>
                <a:ext uri="{FF2B5EF4-FFF2-40B4-BE49-F238E27FC236}">
                  <a16:creationId xmlns:a16="http://schemas.microsoft.com/office/drawing/2014/main" id="{DD2C33A1-AB4F-DC9A-3035-CBF8208D75B1}"/>
                </a:ext>
              </a:extLst>
            </p:cNvPr>
            <p:cNvSpPr/>
            <p:nvPr/>
          </p:nvSpPr>
          <p:spPr>
            <a:xfrm>
              <a:off x="8026289" y="4936181"/>
              <a:ext cx="22037" cy="1177"/>
            </a:xfrm>
            <a:custGeom>
              <a:avLst/>
              <a:gdLst>
                <a:gd name="connsiteX0" fmla="*/ 0 w 22037"/>
                <a:gd name="connsiteY0" fmla="*/ 0 h 1177"/>
                <a:gd name="connsiteX1" fmla="*/ 22038 w 22037"/>
                <a:gd name="connsiteY1" fmla="*/ 0 h 11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2037" h="1177">
                  <a:moveTo>
                    <a:pt x="0" y="0"/>
                  </a:moveTo>
                  <a:lnTo>
                    <a:pt x="22038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2165" name="Gráfico 18">
            <a:extLst>
              <a:ext uri="{FF2B5EF4-FFF2-40B4-BE49-F238E27FC236}">
                <a16:creationId xmlns:a16="http://schemas.microsoft.com/office/drawing/2014/main" id="{AFD7EBB7-81FD-8D77-E64B-4029E944C1C6}"/>
              </a:ext>
            </a:extLst>
          </p:cNvPr>
          <p:cNvGrpSpPr/>
          <p:nvPr/>
        </p:nvGrpSpPr>
        <p:grpSpPr>
          <a:xfrm>
            <a:off x="8571657" y="4148985"/>
            <a:ext cx="162046" cy="293014"/>
            <a:chOff x="8571657" y="4148985"/>
            <a:chExt cx="162046" cy="293014"/>
          </a:xfrm>
          <a:noFill/>
        </p:grpSpPr>
        <p:sp>
          <p:nvSpPr>
            <p:cNvPr id="2166" name="Forma livre: Forma 2165">
              <a:extLst>
                <a:ext uri="{FF2B5EF4-FFF2-40B4-BE49-F238E27FC236}">
                  <a16:creationId xmlns:a16="http://schemas.microsoft.com/office/drawing/2014/main" id="{5C84797C-A452-31BD-88DB-49C6AAB6B239}"/>
                </a:ext>
              </a:extLst>
            </p:cNvPr>
            <p:cNvSpPr/>
            <p:nvPr/>
          </p:nvSpPr>
          <p:spPr>
            <a:xfrm>
              <a:off x="8641656" y="4412463"/>
              <a:ext cx="22037" cy="1177"/>
            </a:xfrm>
            <a:custGeom>
              <a:avLst/>
              <a:gdLst>
                <a:gd name="connsiteX0" fmla="*/ 0 w 22037"/>
                <a:gd name="connsiteY0" fmla="*/ 0 h 1177"/>
                <a:gd name="connsiteX1" fmla="*/ 22038 w 22037"/>
                <a:gd name="connsiteY1" fmla="*/ 0 h 11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2037" h="1177">
                  <a:moveTo>
                    <a:pt x="0" y="0"/>
                  </a:moveTo>
                  <a:lnTo>
                    <a:pt x="22038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67" name="Forma livre: Forma 2166">
              <a:extLst>
                <a:ext uri="{FF2B5EF4-FFF2-40B4-BE49-F238E27FC236}">
                  <a16:creationId xmlns:a16="http://schemas.microsoft.com/office/drawing/2014/main" id="{AB1B2E52-F26D-A33F-583C-30636AFAEC3D}"/>
                </a:ext>
              </a:extLst>
            </p:cNvPr>
            <p:cNvSpPr/>
            <p:nvPr/>
          </p:nvSpPr>
          <p:spPr>
            <a:xfrm>
              <a:off x="8571657" y="4148985"/>
              <a:ext cx="162046" cy="186816"/>
            </a:xfrm>
            <a:custGeom>
              <a:avLst/>
              <a:gdLst>
                <a:gd name="connsiteX0" fmla="*/ 109648 w 162046"/>
                <a:gd name="connsiteY0" fmla="*/ 36377 h 186816"/>
                <a:gd name="connsiteX1" fmla="*/ 87280 w 162046"/>
                <a:gd name="connsiteY1" fmla="*/ 53564 h 186816"/>
                <a:gd name="connsiteX2" fmla="*/ 122209 w 162046"/>
                <a:gd name="connsiteY2" fmla="*/ 89352 h 186816"/>
                <a:gd name="connsiteX3" fmla="*/ 162047 w 162046"/>
                <a:gd name="connsiteY3" fmla="*/ 46725 h 186816"/>
                <a:gd name="connsiteX4" fmla="*/ 162047 w 162046"/>
                <a:gd name="connsiteY4" fmla="*/ 13256 h 186816"/>
                <a:gd name="connsiteX5" fmla="*/ 148779 w 162046"/>
                <a:gd name="connsiteY5" fmla="*/ 0 h 186816"/>
                <a:gd name="connsiteX6" fmla="*/ 13267 w 162046"/>
                <a:gd name="connsiteY6" fmla="*/ 0 h 186816"/>
                <a:gd name="connsiteX7" fmla="*/ 0 w 162046"/>
                <a:gd name="connsiteY7" fmla="*/ 13256 h 186816"/>
                <a:gd name="connsiteX8" fmla="*/ 0 w 162046"/>
                <a:gd name="connsiteY8" fmla="*/ 186816 h 1868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62046" h="186816">
                  <a:moveTo>
                    <a:pt x="109648" y="36377"/>
                  </a:moveTo>
                  <a:lnTo>
                    <a:pt x="87280" y="53564"/>
                  </a:lnTo>
                  <a:lnTo>
                    <a:pt x="122209" y="89352"/>
                  </a:lnTo>
                  <a:lnTo>
                    <a:pt x="162047" y="46725"/>
                  </a:lnTo>
                  <a:lnTo>
                    <a:pt x="162047" y="13256"/>
                  </a:lnTo>
                  <a:cubicBezTo>
                    <a:pt x="162047" y="5957"/>
                    <a:pt x="156078" y="0"/>
                    <a:pt x="148779" y="0"/>
                  </a:cubicBezTo>
                  <a:lnTo>
                    <a:pt x="13267" y="0"/>
                  </a:lnTo>
                  <a:cubicBezTo>
                    <a:pt x="5969" y="0"/>
                    <a:pt x="0" y="5957"/>
                    <a:pt x="0" y="13256"/>
                  </a:cubicBezTo>
                  <a:lnTo>
                    <a:pt x="0" y="186816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68" name="Forma livre: Forma 2167">
              <a:extLst>
                <a:ext uri="{FF2B5EF4-FFF2-40B4-BE49-F238E27FC236}">
                  <a16:creationId xmlns:a16="http://schemas.microsoft.com/office/drawing/2014/main" id="{E0FE61FB-2C1B-F002-4400-0D03C0013766}"/>
                </a:ext>
              </a:extLst>
            </p:cNvPr>
            <p:cNvSpPr/>
            <p:nvPr/>
          </p:nvSpPr>
          <p:spPr>
            <a:xfrm>
              <a:off x="8601253" y="4186056"/>
              <a:ext cx="57684" cy="16493"/>
            </a:xfrm>
            <a:custGeom>
              <a:avLst/>
              <a:gdLst>
                <a:gd name="connsiteX0" fmla="*/ 0 w 57684"/>
                <a:gd name="connsiteY0" fmla="*/ 0 h 16493"/>
                <a:gd name="connsiteX1" fmla="*/ 57685 w 57684"/>
                <a:gd name="connsiteY1" fmla="*/ 16493 h 16493"/>
                <a:gd name="connsiteX2" fmla="*/ 0 w 57684"/>
                <a:gd name="connsiteY2" fmla="*/ 0 h 164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57684" h="16493">
                  <a:moveTo>
                    <a:pt x="0" y="0"/>
                  </a:moveTo>
                  <a:lnTo>
                    <a:pt x="57685" y="16493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69" name="Forma livre: Forma 2168">
              <a:extLst>
                <a:ext uri="{FF2B5EF4-FFF2-40B4-BE49-F238E27FC236}">
                  <a16:creationId xmlns:a16="http://schemas.microsoft.com/office/drawing/2014/main" id="{00E109F3-D621-C2E6-AED9-ABCBA66D008F}"/>
                </a:ext>
              </a:extLst>
            </p:cNvPr>
            <p:cNvSpPr/>
            <p:nvPr/>
          </p:nvSpPr>
          <p:spPr>
            <a:xfrm>
              <a:off x="8571657" y="4228684"/>
              <a:ext cx="162046" cy="213315"/>
            </a:xfrm>
            <a:custGeom>
              <a:avLst/>
              <a:gdLst>
                <a:gd name="connsiteX0" fmla="*/ 111214 w 162046"/>
                <a:gd name="connsiteY0" fmla="*/ 66479 h 213315"/>
                <a:gd name="connsiteX1" fmla="*/ 79970 w 162046"/>
                <a:gd name="connsiteY1" fmla="*/ 77003 h 213315"/>
                <a:gd name="connsiteX2" fmla="*/ 66337 w 162046"/>
                <a:gd name="connsiteY2" fmla="*/ 104350 h 213315"/>
                <a:gd name="connsiteX3" fmla="*/ 37625 w 162046"/>
                <a:gd name="connsiteY3" fmla="*/ 76862 h 213315"/>
                <a:gd name="connsiteX4" fmla="*/ 20319 w 162046"/>
                <a:gd name="connsiteY4" fmla="*/ 118348 h 213315"/>
                <a:gd name="connsiteX5" fmla="*/ 0 w 162046"/>
                <a:gd name="connsiteY5" fmla="*/ 107105 h 213315"/>
                <a:gd name="connsiteX6" fmla="*/ 0 w 162046"/>
                <a:gd name="connsiteY6" fmla="*/ 199636 h 213315"/>
                <a:gd name="connsiteX7" fmla="*/ 13267 w 162046"/>
                <a:gd name="connsiteY7" fmla="*/ 213316 h 213315"/>
                <a:gd name="connsiteX8" fmla="*/ 148779 w 162046"/>
                <a:gd name="connsiteY8" fmla="*/ 213316 h 213315"/>
                <a:gd name="connsiteX9" fmla="*/ 162047 w 162046"/>
                <a:gd name="connsiteY9" fmla="*/ 199636 h 213315"/>
                <a:gd name="connsiteX10" fmla="*/ 162047 w 162046"/>
                <a:gd name="connsiteY10" fmla="*/ 0 h 213315"/>
                <a:gd name="connsiteX11" fmla="*/ 82572 w 162046"/>
                <a:gd name="connsiteY11" fmla="*/ 21402 h 213315"/>
                <a:gd name="connsiteX12" fmla="*/ 60910 w 162046"/>
                <a:gd name="connsiteY12" fmla="*/ 49197 h 2133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62046" h="213315">
                  <a:moveTo>
                    <a:pt x="111214" y="66479"/>
                  </a:moveTo>
                  <a:lnTo>
                    <a:pt x="79970" y="77003"/>
                  </a:lnTo>
                  <a:lnTo>
                    <a:pt x="66337" y="104350"/>
                  </a:lnTo>
                  <a:lnTo>
                    <a:pt x="37625" y="76862"/>
                  </a:lnTo>
                  <a:lnTo>
                    <a:pt x="20319" y="118348"/>
                  </a:lnTo>
                  <a:lnTo>
                    <a:pt x="0" y="107105"/>
                  </a:lnTo>
                  <a:lnTo>
                    <a:pt x="0" y="199636"/>
                  </a:lnTo>
                  <a:cubicBezTo>
                    <a:pt x="0" y="206935"/>
                    <a:pt x="5969" y="213316"/>
                    <a:pt x="13267" y="213316"/>
                  </a:cubicBezTo>
                  <a:lnTo>
                    <a:pt x="148779" y="213316"/>
                  </a:lnTo>
                  <a:cubicBezTo>
                    <a:pt x="156078" y="213316"/>
                    <a:pt x="162047" y="206935"/>
                    <a:pt x="162047" y="199636"/>
                  </a:cubicBezTo>
                  <a:lnTo>
                    <a:pt x="162047" y="0"/>
                  </a:lnTo>
                  <a:lnTo>
                    <a:pt x="82572" y="21402"/>
                  </a:lnTo>
                  <a:lnTo>
                    <a:pt x="60910" y="49197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170" name="Forma livre: Forma 2169">
              <a:extLst>
                <a:ext uri="{FF2B5EF4-FFF2-40B4-BE49-F238E27FC236}">
                  <a16:creationId xmlns:a16="http://schemas.microsoft.com/office/drawing/2014/main" id="{2DC2EBC9-5102-0813-124A-7617E9C65067}"/>
                </a:ext>
              </a:extLst>
            </p:cNvPr>
            <p:cNvSpPr/>
            <p:nvPr/>
          </p:nvSpPr>
          <p:spPr>
            <a:xfrm>
              <a:off x="8653805" y="4307747"/>
              <a:ext cx="34563" cy="37636"/>
            </a:xfrm>
            <a:custGeom>
              <a:avLst/>
              <a:gdLst>
                <a:gd name="connsiteX0" fmla="*/ 0 w 34563"/>
                <a:gd name="connsiteY0" fmla="*/ 0 h 37636"/>
                <a:gd name="connsiteX1" fmla="*/ 34564 w 34563"/>
                <a:gd name="connsiteY1" fmla="*/ 37636 h 376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4563" h="37636">
                  <a:moveTo>
                    <a:pt x="0" y="0"/>
                  </a:moveTo>
                  <a:lnTo>
                    <a:pt x="34564" y="37636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2171" name="Gráfico 18">
            <a:extLst>
              <a:ext uri="{FF2B5EF4-FFF2-40B4-BE49-F238E27FC236}">
                <a16:creationId xmlns:a16="http://schemas.microsoft.com/office/drawing/2014/main" id="{AE3C0215-E9D6-F29E-EC59-E2A82701D58A}"/>
              </a:ext>
            </a:extLst>
          </p:cNvPr>
          <p:cNvGrpSpPr/>
          <p:nvPr/>
        </p:nvGrpSpPr>
        <p:grpSpPr>
          <a:xfrm>
            <a:off x="8497138" y="3644291"/>
            <a:ext cx="311073" cy="254931"/>
            <a:chOff x="8497138" y="3644291"/>
            <a:chExt cx="311073" cy="254931"/>
          </a:xfrm>
          <a:noFill/>
        </p:grpSpPr>
        <p:grpSp>
          <p:nvGrpSpPr>
            <p:cNvPr id="2172" name="Gráfico 18">
              <a:extLst>
                <a:ext uri="{FF2B5EF4-FFF2-40B4-BE49-F238E27FC236}">
                  <a16:creationId xmlns:a16="http://schemas.microsoft.com/office/drawing/2014/main" id="{5D3EA8BC-CBA6-7904-F91E-DA414158E1B2}"/>
                </a:ext>
              </a:extLst>
            </p:cNvPr>
            <p:cNvGrpSpPr/>
            <p:nvPr/>
          </p:nvGrpSpPr>
          <p:grpSpPr>
            <a:xfrm>
              <a:off x="8527946" y="3695077"/>
              <a:ext cx="249468" cy="117829"/>
              <a:chOff x="8527946" y="3695077"/>
              <a:chExt cx="249468" cy="117829"/>
            </a:xfrm>
            <a:noFill/>
          </p:grpSpPr>
          <p:sp>
            <p:nvSpPr>
              <p:cNvPr id="2173" name="Forma livre: Forma 2172">
                <a:extLst>
                  <a:ext uri="{FF2B5EF4-FFF2-40B4-BE49-F238E27FC236}">
                    <a16:creationId xmlns:a16="http://schemas.microsoft.com/office/drawing/2014/main" id="{76B8D4E9-59F0-EB81-0804-C9CCBD6BB1B9}"/>
                  </a:ext>
                </a:extLst>
              </p:cNvPr>
              <p:cNvSpPr/>
              <p:nvPr/>
            </p:nvSpPr>
            <p:spPr>
              <a:xfrm>
                <a:off x="8667296" y="3695077"/>
                <a:ext cx="110118" cy="79451"/>
              </a:xfrm>
              <a:custGeom>
                <a:avLst/>
                <a:gdLst>
                  <a:gd name="connsiteX0" fmla="*/ 0 w 110118"/>
                  <a:gd name="connsiteY0" fmla="*/ 58909 h 79451"/>
                  <a:gd name="connsiteX1" fmla="*/ 61287 w 110118"/>
                  <a:gd name="connsiteY1" fmla="*/ 58909 h 79451"/>
                  <a:gd name="connsiteX2" fmla="*/ 61287 w 110118"/>
                  <a:gd name="connsiteY2" fmla="*/ 79452 h 79451"/>
                  <a:gd name="connsiteX3" fmla="*/ 110119 w 110118"/>
                  <a:gd name="connsiteY3" fmla="*/ 39732 h 79451"/>
                  <a:gd name="connsiteX4" fmla="*/ 61287 w 110118"/>
                  <a:gd name="connsiteY4" fmla="*/ 0 h 79451"/>
                  <a:gd name="connsiteX5" fmla="*/ 61287 w 110118"/>
                  <a:gd name="connsiteY5" fmla="*/ 22014 h 79451"/>
                  <a:gd name="connsiteX6" fmla="*/ 0 w 110118"/>
                  <a:gd name="connsiteY6" fmla="*/ 22014 h 794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10118" h="79451">
                    <a:moveTo>
                      <a:pt x="0" y="58909"/>
                    </a:moveTo>
                    <a:lnTo>
                      <a:pt x="61287" y="58909"/>
                    </a:lnTo>
                    <a:lnTo>
                      <a:pt x="61287" y="79452"/>
                    </a:lnTo>
                    <a:lnTo>
                      <a:pt x="110119" y="39732"/>
                    </a:lnTo>
                    <a:lnTo>
                      <a:pt x="61287" y="0"/>
                    </a:lnTo>
                    <a:lnTo>
                      <a:pt x="61287" y="22014"/>
                    </a:lnTo>
                    <a:lnTo>
                      <a:pt x="0" y="22014"/>
                    </a:lnTo>
                  </a:path>
                </a:pathLst>
              </a:custGeom>
              <a:noFill/>
              <a:ln w="6350" cap="sq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174" name="Forma livre: Forma 2173">
                <a:extLst>
                  <a:ext uri="{FF2B5EF4-FFF2-40B4-BE49-F238E27FC236}">
                    <a16:creationId xmlns:a16="http://schemas.microsoft.com/office/drawing/2014/main" id="{B4401523-194D-ADFA-8533-F037205DD354}"/>
                  </a:ext>
                </a:extLst>
              </p:cNvPr>
              <p:cNvSpPr/>
              <p:nvPr/>
            </p:nvSpPr>
            <p:spPr>
              <a:xfrm>
                <a:off x="8622891" y="3717091"/>
                <a:ext cx="15398" cy="1177"/>
              </a:xfrm>
              <a:custGeom>
                <a:avLst/>
                <a:gdLst>
                  <a:gd name="connsiteX0" fmla="*/ 15398 w 15398"/>
                  <a:gd name="connsiteY0" fmla="*/ 0 h 1177"/>
                  <a:gd name="connsiteX1" fmla="*/ 0 w 15398"/>
                  <a:gd name="connsiteY1" fmla="*/ 0 h 11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5398" h="1177">
                    <a:moveTo>
                      <a:pt x="15398" y="0"/>
                    </a:moveTo>
                    <a:lnTo>
                      <a:pt x="0" y="0"/>
                    </a:lnTo>
                  </a:path>
                </a:pathLst>
              </a:custGeom>
              <a:ln w="6350" cap="sq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175" name="Forma livre: Forma 2174">
                <a:extLst>
                  <a:ext uri="{FF2B5EF4-FFF2-40B4-BE49-F238E27FC236}">
                    <a16:creationId xmlns:a16="http://schemas.microsoft.com/office/drawing/2014/main" id="{63E1FC19-9E89-872C-E41E-B7020D58AF44}"/>
                  </a:ext>
                </a:extLst>
              </p:cNvPr>
              <p:cNvSpPr/>
              <p:nvPr/>
            </p:nvSpPr>
            <p:spPr>
              <a:xfrm>
                <a:off x="8527946" y="3733443"/>
                <a:ext cx="110342" cy="79463"/>
              </a:xfrm>
              <a:custGeom>
                <a:avLst/>
                <a:gdLst>
                  <a:gd name="connsiteX0" fmla="*/ 110343 w 110342"/>
                  <a:gd name="connsiteY0" fmla="*/ 20555 h 79463"/>
                  <a:gd name="connsiteX1" fmla="*/ 48832 w 110342"/>
                  <a:gd name="connsiteY1" fmla="*/ 20555 h 79463"/>
                  <a:gd name="connsiteX2" fmla="*/ 48832 w 110342"/>
                  <a:gd name="connsiteY2" fmla="*/ 0 h 79463"/>
                  <a:gd name="connsiteX3" fmla="*/ 0 w 110342"/>
                  <a:gd name="connsiteY3" fmla="*/ 39732 h 79463"/>
                  <a:gd name="connsiteX4" fmla="*/ 48832 w 110342"/>
                  <a:gd name="connsiteY4" fmla="*/ 79464 h 79463"/>
                  <a:gd name="connsiteX5" fmla="*/ 48832 w 110342"/>
                  <a:gd name="connsiteY5" fmla="*/ 57449 h 79463"/>
                  <a:gd name="connsiteX6" fmla="*/ 110343 w 110342"/>
                  <a:gd name="connsiteY6" fmla="*/ 57449 h 794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10342" h="79463">
                    <a:moveTo>
                      <a:pt x="110343" y="20555"/>
                    </a:moveTo>
                    <a:lnTo>
                      <a:pt x="48832" y="20555"/>
                    </a:lnTo>
                    <a:lnTo>
                      <a:pt x="48832" y="0"/>
                    </a:lnTo>
                    <a:lnTo>
                      <a:pt x="0" y="39732"/>
                    </a:lnTo>
                    <a:lnTo>
                      <a:pt x="48832" y="79464"/>
                    </a:lnTo>
                    <a:lnTo>
                      <a:pt x="48832" y="57449"/>
                    </a:lnTo>
                    <a:lnTo>
                      <a:pt x="110343" y="57449"/>
                    </a:lnTo>
                  </a:path>
                </a:pathLst>
              </a:custGeom>
              <a:noFill/>
              <a:ln w="6350" cap="sq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176" name="Forma livre: Forma 2175">
                <a:extLst>
                  <a:ext uri="{FF2B5EF4-FFF2-40B4-BE49-F238E27FC236}">
                    <a16:creationId xmlns:a16="http://schemas.microsoft.com/office/drawing/2014/main" id="{7DC70479-8072-9A05-6007-C913391A8627}"/>
                  </a:ext>
                </a:extLst>
              </p:cNvPr>
              <p:cNvSpPr/>
              <p:nvPr/>
            </p:nvSpPr>
            <p:spPr>
              <a:xfrm>
                <a:off x="8667296" y="3790892"/>
                <a:ext cx="15162" cy="1177"/>
              </a:xfrm>
              <a:custGeom>
                <a:avLst/>
                <a:gdLst>
                  <a:gd name="connsiteX0" fmla="*/ 0 w 15162"/>
                  <a:gd name="connsiteY0" fmla="*/ 0 h 1177"/>
                  <a:gd name="connsiteX1" fmla="*/ 15163 w 15162"/>
                  <a:gd name="connsiteY1" fmla="*/ 0 h 11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5162" h="1177">
                    <a:moveTo>
                      <a:pt x="0" y="0"/>
                    </a:moveTo>
                    <a:lnTo>
                      <a:pt x="15163" y="0"/>
                    </a:lnTo>
                  </a:path>
                </a:pathLst>
              </a:custGeom>
              <a:ln w="6350" cap="sq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2177" name="Gráfico 18">
              <a:extLst>
                <a:ext uri="{FF2B5EF4-FFF2-40B4-BE49-F238E27FC236}">
                  <a16:creationId xmlns:a16="http://schemas.microsoft.com/office/drawing/2014/main" id="{085A6325-122E-6B22-A10E-2AE72376747C}"/>
                </a:ext>
              </a:extLst>
            </p:cNvPr>
            <p:cNvGrpSpPr/>
            <p:nvPr/>
          </p:nvGrpSpPr>
          <p:grpSpPr>
            <a:xfrm>
              <a:off x="8497138" y="3644291"/>
              <a:ext cx="311073" cy="254931"/>
              <a:chOff x="8497138" y="3644291"/>
              <a:chExt cx="311073" cy="254931"/>
            </a:xfrm>
            <a:noFill/>
          </p:grpSpPr>
          <p:grpSp>
            <p:nvGrpSpPr>
              <p:cNvPr id="2178" name="Gráfico 18">
                <a:extLst>
                  <a:ext uri="{FF2B5EF4-FFF2-40B4-BE49-F238E27FC236}">
                    <a16:creationId xmlns:a16="http://schemas.microsoft.com/office/drawing/2014/main" id="{82F4B677-BDF7-24EF-4E3C-1A47236EC1A1}"/>
                  </a:ext>
                </a:extLst>
              </p:cNvPr>
              <p:cNvGrpSpPr/>
              <p:nvPr/>
            </p:nvGrpSpPr>
            <p:grpSpPr>
              <a:xfrm>
                <a:off x="8497138" y="3644291"/>
                <a:ext cx="140962" cy="254919"/>
                <a:chOff x="8497138" y="3644291"/>
                <a:chExt cx="140962" cy="254919"/>
              </a:xfrm>
              <a:noFill/>
            </p:grpSpPr>
            <p:sp>
              <p:nvSpPr>
                <p:cNvPr id="2179" name="Forma livre: Forma 2178">
                  <a:extLst>
                    <a:ext uri="{FF2B5EF4-FFF2-40B4-BE49-F238E27FC236}">
                      <a16:creationId xmlns:a16="http://schemas.microsoft.com/office/drawing/2014/main" id="{7B6A91C7-7E25-5D19-AF53-EA9BFA09A5E1}"/>
                    </a:ext>
                  </a:extLst>
                </p:cNvPr>
                <p:cNvSpPr/>
                <p:nvPr/>
              </p:nvSpPr>
              <p:spPr>
                <a:xfrm>
                  <a:off x="8497138" y="3644291"/>
                  <a:ext cx="140962" cy="254919"/>
                </a:xfrm>
                <a:custGeom>
                  <a:avLst/>
                  <a:gdLst>
                    <a:gd name="connsiteX0" fmla="*/ 140963 w 140962"/>
                    <a:gd name="connsiteY0" fmla="*/ 168310 h 254919"/>
                    <a:gd name="connsiteX1" fmla="*/ 140963 w 140962"/>
                    <a:gd name="connsiteY1" fmla="*/ 243017 h 254919"/>
                    <a:gd name="connsiteX2" fmla="*/ 129426 w 140962"/>
                    <a:gd name="connsiteY2" fmla="*/ 254919 h 254919"/>
                    <a:gd name="connsiteX3" fmla="*/ 11537 w 140962"/>
                    <a:gd name="connsiteY3" fmla="*/ 254919 h 254919"/>
                    <a:gd name="connsiteX4" fmla="*/ 0 w 140962"/>
                    <a:gd name="connsiteY4" fmla="*/ 243017 h 254919"/>
                    <a:gd name="connsiteX5" fmla="*/ 0 w 140962"/>
                    <a:gd name="connsiteY5" fmla="*/ 11537 h 254919"/>
                    <a:gd name="connsiteX6" fmla="*/ 11537 w 140962"/>
                    <a:gd name="connsiteY6" fmla="*/ 0 h 254919"/>
                    <a:gd name="connsiteX7" fmla="*/ 129426 w 140962"/>
                    <a:gd name="connsiteY7" fmla="*/ 0 h 254919"/>
                    <a:gd name="connsiteX8" fmla="*/ 140963 w 140962"/>
                    <a:gd name="connsiteY8" fmla="*/ 11537 h 254919"/>
                    <a:gd name="connsiteX9" fmla="*/ 140963 w 140962"/>
                    <a:gd name="connsiteY9" fmla="*/ 51257 h 25491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140962" h="254919">
                      <a:moveTo>
                        <a:pt x="140963" y="168310"/>
                      </a:moveTo>
                      <a:lnTo>
                        <a:pt x="140963" y="243017"/>
                      </a:lnTo>
                      <a:cubicBezTo>
                        <a:pt x="140963" y="249363"/>
                        <a:pt x="135771" y="254919"/>
                        <a:pt x="129426" y="254919"/>
                      </a:cubicBezTo>
                      <a:lnTo>
                        <a:pt x="11537" y="254919"/>
                      </a:lnTo>
                      <a:cubicBezTo>
                        <a:pt x="5192" y="254919"/>
                        <a:pt x="0" y="249363"/>
                        <a:pt x="0" y="243017"/>
                      </a:cubicBezTo>
                      <a:lnTo>
                        <a:pt x="0" y="11537"/>
                      </a:lnTo>
                      <a:cubicBezTo>
                        <a:pt x="0" y="5192"/>
                        <a:pt x="5192" y="0"/>
                        <a:pt x="11537" y="0"/>
                      </a:cubicBezTo>
                      <a:lnTo>
                        <a:pt x="129426" y="0"/>
                      </a:lnTo>
                      <a:cubicBezTo>
                        <a:pt x="135771" y="0"/>
                        <a:pt x="140963" y="5180"/>
                        <a:pt x="140963" y="11537"/>
                      </a:cubicBezTo>
                      <a:lnTo>
                        <a:pt x="140963" y="51257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180" name="Forma livre: Forma 2179">
                  <a:extLst>
                    <a:ext uri="{FF2B5EF4-FFF2-40B4-BE49-F238E27FC236}">
                      <a16:creationId xmlns:a16="http://schemas.microsoft.com/office/drawing/2014/main" id="{0B122F25-6761-9CFA-7AD8-57EDC73C6565}"/>
                    </a:ext>
                  </a:extLst>
                </p:cNvPr>
                <p:cNvSpPr/>
                <p:nvPr/>
              </p:nvSpPr>
              <p:spPr>
                <a:xfrm>
                  <a:off x="8558036" y="3873511"/>
                  <a:ext cx="19165" cy="1177"/>
                </a:xfrm>
                <a:custGeom>
                  <a:avLst/>
                  <a:gdLst>
                    <a:gd name="connsiteX0" fmla="*/ 0 w 19165"/>
                    <a:gd name="connsiteY0" fmla="*/ 0 h 1177"/>
                    <a:gd name="connsiteX1" fmla="*/ 19165 w 19165"/>
                    <a:gd name="connsiteY1" fmla="*/ 0 h 117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9165" h="1177">
                      <a:moveTo>
                        <a:pt x="0" y="0"/>
                      </a:moveTo>
                      <a:lnTo>
                        <a:pt x="19165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2181" name="Gráfico 18">
                <a:extLst>
                  <a:ext uri="{FF2B5EF4-FFF2-40B4-BE49-F238E27FC236}">
                    <a16:creationId xmlns:a16="http://schemas.microsoft.com/office/drawing/2014/main" id="{CAF249D4-C531-E094-08F0-2FE039F817DB}"/>
                  </a:ext>
                </a:extLst>
              </p:cNvPr>
              <p:cNvGrpSpPr/>
              <p:nvPr/>
            </p:nvGrpSpPr>
            <p:grpSpPr>
              <a:xfrm>
                <a:off x="8667249" y="3644291"/>
                <a:ext cx="140962" cy="254931"/>
                <a:chOff x="8667249" y="3644291"/>
                <a:chExt cx="140962" cy="254931"/>
              </a:xfrm>
              <a:noFill/>
            </p:grpSpPr>
            <p:sp>
              <p:nvSpPr>
                <p:cNvPr id="2182" name="Forma livre: Forma 2181">
                  <a:extLst>
                    <a:ext uri="{FF2B5EF4-FFF2-40B4-BE49-F238E27FC236}">
                      <a16:creationId xmlns:a16="http://schemas.microsoft.com/office/drawing/2014/main" id="{E49EBF13-CDF0-511C-1C4F-D42A1093C091}"/>
                    </a:ext>
                  </a:extLst>
                </p:cNvPr>
                <p:cNvSpPr/>
                <p:nvPr/>
              </p:nvSpPr>
              <p:spPr>
                <a:xfrm>
                  <a:off x="8667249" y="3644291"/>
                  <a:ext cx="140962" cy="254931"/>
                </a:xfrm>
                <a:custGeom>
                  <a:avLst/>
                  <a:gdLst>
                    <a:gd name="connsiteX0" fmla="*/ 0 w 140962"/>
                    <a:gd name="connsiteY0" fmla="*/ 51257 h 254931"/>
                    <a:gd name="connsiteX1" fmla="*/ 0 w 140962"/>
                    <a:gd name="connsiteY1" fmla="*/ 11537 h 254931"/>
                    <a:gd name="connsiteX2" fmla="*/ 11537 w 140962"/>
                    <a:gd name="connsiteY2" fmla="*/ 0 h 254931"/>
                    <a:gd name="connsiteX3" fmla="*/ 129426 w 140962"/>
                    <a:gd name="connsiteY3" fmla="*/ 0 h 254931"/>
                    <a:gd name="connsiteX4" fmla="*/ 140963 w 140962"/>
                    <a:gd name="connsiteY4" fmla="*/ 11537 h 254931"/>
                    <a:gd name="connsiteX5" fmla="*/ 140963 w 140962"/>
                    <a:gd name="connsiteY5" fmla="*/ 243029 h 254931"/>
                    <a:gd name="connsiteX6" fmla="*/ 129426 w 140962"/>
                    <a:gd name="connsiteY6" fmla="*/ 254931 h 254931"/>
                    <a:gd name="connsiteX7" fmla="*/ 11537 w 140962"/>
                    <a:gd name="connsiteY7" fmla="*/ 254931 h 254931"/>
                    <a:gd name="connsiteX8" fmla="*/ 0 w 140962"/>
                    <a:gd name="connsiteY8" fmla="*/ 243029 h 254931"/>
                    <a:gd name="connsiteX9" fmla="*/ 0 w 140962"/>
                    <a:gd name="connsiteY9" fmla="*/ 168322 h 25493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140962" h="254931">
                      <a:moveTo>
                        <a:pt x="0" y="51257"/>
                      </a:moveTo>
                      <a:lnTo>
                        <a:pt x="0" y="11537"/>
                      </a:lnTo>
                      <a:cubicBezTo>
                        <a:pt x="0" y="5192"/>
                        <a:pt x="5192" y="0"/>
                        <a:pt x="11537" y="0"/>
                      </a:cubicBezTo>
                      <a:lnTo>
                        <a:pt x="129426" y="0"/>
                      </a:lnTo>
                      <a:cubicBezTo>
                        <a:pt x="135771" y="0"/>
                        <a:pt x="140963" y="5180"/>
                        <a:pt x="140963" y="11537"/>
                      </a:cubicBezTo>
                      <a:lnTo>
                        <a:pt x="140963" y="243029"/>
                      </a:lnTo>
                      <a:cubicBezTo>
                        <a:pt x="140963" y="249375"/>
                        <a:pt x="135771" y="254931"/>
                        <a:pt x="129426" y="254931"/>
                      </a:cubicBezTo>
                      <a:lnTo>
                        <a:pt x="11537" y="254931"/>
                      </a:lnTo>
                      <a:cubicBezTo>
                        <a:pt x="5192" y="254931"/>
                        <a:pt x="0" y="249375"/>
                        <a:pt x="0" y="243029"/>
                      </a:cubicBezTo>
                      <a:lnTo>
                        <a:pt x="0" y="168322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183" name="Forma livre: Forma 2182">
                  <a:extLst>
                    <a:ext uri="{FF2B5EF4-FFF2-40B4-BE49-F238E27FC236}">
                      <a16:creationId xmlns:a16="http://schemas.microsoft.com/office/drawing/2014/main" id="{6C62BD87-0561-339F-8BB6-9EC3DC296D61}"/>
                    </a:ext>
                  </a:extLst>
                </p:cNvPr>
                <p:cNvSpPr/>
                <p:nvPr/>
              </p:nvSpPr>
              <p:spPr>
                <a:xfrm>
                  <a:off x="8728148" y="3873511"/>
                  <a:ext cx="19177" cy="1177"/>
                </a:xfrm>
                <a:custGeom>
                  <a:avLst/>
                  <a:gdLst>
                    <a:gd name="connsiteX0" fmla="*/ 0 w 19177"/>
                    <a:gd name="connsiteY0" fmla="*/ 0 h 1177"/>
                    <a:gd name="connsiteX1" fmla="*/ 19177 w 19177"/>
                    <a:gd name="connsiteY1" fmla="*/ 0 h 117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9177" h="1177">
                      <a:moveTo>
                        <a:pt x="0" y="0"/>
                      </a:moveTo>
                      <a:lnTo>
                        <a:pt x="19177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</p:grpSp>
      <p:grpSp>
        <p:nvGrpSpPr>
          <p:cNvPr id="2184" name="Gráfico 18">
            <a:extLst>
              <a:ext uri="{FF2B5EF4-FFF2-40B4-BE49-F238E27FC236}">
                <a16:creationId xmlns:a16="http://schemas.microsoft.com/office/drawing/2014/main" id="{99CECC77-1529-0133-CF8E-FD9D82E81150}"/>
              </a:ext>
            </a:extLst>
          </p:cNvPr>
          <p:cNvGrpSpPr/>
          <p:nvPr/>
        </p:nvGrpSpPr>
        <p:grpSpPr>
          <a:xfrm>
            <a:off x="8517045" y="5196422"/>
            <a:ext cx="230656" cy="293038"/>
            <a:chOff x="8517045" y="5196422"/>
            <a:chExt cx="230656" cy="293038"/>
          </a:xfrm>
          <a:noFill/>
        </p:grpSpPr>
        <p:grpSp>
          <p:nvGrpSpPr>
            <p:cNvPr id="2185" name="Gráfico 18">
              <a:extLst>
                <a:ext uri="{FF2B5EF4-FFF2-40B4-BE49-F238E27FC236}">
                  <a16:creationId xmlns:a16="http://schemas.microsoft.com/office/drawing/2014/main" id="{B81A47A5-7A64-FE64-FA52-DF49872F515F}"/>
                </a:ext>
              </a:extLst>
            </p:cNvPr>
            <p:cNvGrpSpPr/>
            <p:nvPr/>
          </p:nvGrpSpPr>
          <p:grpSpPr>
            <a:xfrm>
              <a:off x="8554834" y="5285315"/>
              <a:ext cx="192867" cy="82559"/>
              <a:chOff x="8554834" y="5285315"/>
              <a:chExt cx="192867" cy="82559"/>
            </a:xfrm>
            <a:noFill/>
          </p:grpSpPr>
          <p:grpSp>
            <p:nvGrpSpPr>
              <p:cNvPr id="2186" name="Gráfico 18">
                <a:extLst>
                  <a:ext uri="{FF2B5EF4-FFF2-40B4-BE49-F238E27FC236}">
                    <a16:creationId xmlns:a16="http://schemas.microsoft.com/office/drawing/2014/main" id="{7AA1EA79-D871-06C8-087A-49681B271340}"/>
                  </a:ext>
                </a:extLst>
              </p:cNvPr>
              <p:cNvGrpSpPr/>
              <p:nvPr/>
            </p:nvGrpSpPr>
            <p:grpSpPr>
              <a:xfrm>
                <a:off x="8582923" y="5314758"/>
                <a:ext cx="136689" cy="23674"/>
                <a:chOff x="8582923" y="5314758"/>
                <a:chExt cx="136689" cy="23674"/>
              </a:xfrm>
            </p:grpSpPr>
            <p:grpSp>
              <p:nvGrpSpPr>
                <p:cNvPr id="2187" name="Gráfico 18">
                  <a:extLst>
                    <a:ext uri="{FF2B5EF4-FFF2-40B4-BE49-F238E27FC236}">
                      <a16:creationId xmlns:a16="http://schemas.microsoft.com/office/drawing/2014/main" id="{8C33C84B-C7D7-2C0F-A232-58A671A5D580}"/>
                    </a:ext>
                  </a:extLst>
                </p:cNvPr>
                <p:cNvGrpSpPr/>
                <p:nvPr/>
              </p:nvGrpSpPr>
              <p:grpSpPr>
                <a:xfrm>
                  <a:off x="8582923" y="5314758"/>
                  <a:ext cx="23662" cy="23674"/>
                  <a:chOff x="8582923" y="5314758"/>
                  <a:chExt cx="23662" cy="23674"/>
                </a:xfrm>
              </p:grpSpPr>
              <p:sp>
                <p:nvSpPr>
                  <p:cNvPr id="2188" name="Forma livre: Forma 2187">
                    <a:extLst>
                      <a:ext uri="{FF2B5EF4-FFF2-40B4-BE49-F238E27FC236}">
                        <a16:creationId xmlns:a16="http://schemas.microsoft.com/office/drawing/2014/main" id="{FB842D18-D911-35C2-0EAA-3D1366EE118D}"/>
                      </a:ext>
                    </a:extLst>
                  </p:cNvPr>
                  <p:cNvSpPr/>
                  <p:nvPr/>
                </p:nvSpPr>
                <p:spPr>
                  <a:xfrm>
                    <a:off x="8582923" y="5314758"/>
                    <a:ext cx="23662" cy="23674"/>
                  </a:xfrm>
                  <a:custGeom>
                    <a:avLst/>
                    <a:gdLst>
                      <a:gd name="connsiteX0" fmla="*/ 23663 w 23662"/>
                      <a:gd name="connsiteY0" fmla="*/ 0 h 23674"/>
                      <a:gd name="connsiteX1" fmla="*/ 0 w 23662"/>
                      <a:gd name="connsiteY1" fmla="*/ 23674 h 2367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23662" h="23674">
                        <a:moveTo>
                          <a:pt x="23663" y="0"/>
                        </a:moveTo>
                        <a:lnTo>
                          <a:pt x="0" y="23674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2189" name="Forma livre: Forma 2188">
                    <a:extLst>
                      <a:ext uri="{FF2B5EF4-FFF2-40B4-BE49-F238E27FC236}">
                        <a16:creationId xmlns:a16="http://schemas.microsoft.com/office/drawing/2014/main" id="{898764A1-2195-E6B2-DB37-CE5AC54838DC}"/>
                      </a:ext>
                    </a:extLst>
                  </p:cNvPr>
                  <p:cNvSpPr/>
                  <p:nvPr/>
                </p:nvSpPr>
                <p:spPr>
                  <a:xfrm>
                    <a:off x="8582923" y="5314758"/>
                    <a:ext cx="23662" cy="23674"/>
                  </a:xfrm>
                  <a:custGeom>
                    <a:avLst/>
                    <a:gdLst>
                      <a:gd name="connsiteX0" fmla="*/ 23663 w 23662"/>
                      <a:gd name="connsiteY0" fmla="*/ 23674 h 23674"/>
                      <a:gd name="connsiteX1" fmla="*/ 0 w 23662"/>
                      <a:gd name="connsiteY1" fmla="*/ 0 h 2367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23662" h="23674">
                        <a:moveTo>
                          <a:pt x="23663" y="23674"/>
                        </a:moveTo>
                        <a:lnTo>
                          <a:pt x="0" y="0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  <p:grpSp>
              <p:nvGrpSpPr>
                <p:cNvPr id="2190" name="Gráfico 18">
                  <a:extLst>
                    <a:ext uri="{FF2B5EF4-FFF2-40B4-BE49-F238E27FC236}">
                      <a16:creationId xmlns:a16="http://schemas.microsoft.com/office/drawing/2014/main" id="{A7A575CA-37FD-5298-7B17-0D9D8AEE1CED}"/>
                    </a:ext>
                  </a:extLst>
                </p:cNvPr>
                <p:cNvGrpSpPr/>
                <p:nvPr/>
              </p:nvGrpSpPr>
              <p:grpSpPr>
                <a:xfrm>
                  <a:off x="8639443" y="5314758"/>
                  <a:ext cx="23650" cy="23674"/>
                  <a:chOff x="8639443" y="5314758"/>
                  <a:chExt cx="23650" cy="23674"/>
                </a:xfrm>
              </p:grpSpPr>
              <p:sp>
                <p:nvSpPr>
                  <p:cNvPr id="2191" name="Forma livre: Forma 2190">
                    <a:extLst>
                      <a:ext uri="{FF2B5EF4-FFF2-40B4-BE49-F238E27FC236}">
                        <a16:creationId xmlns:a16="http://schemas.microsoft.com/office/drawing/2014/main" id="{99A8D851-9C64-B5B9-FB15-5364C2BD3953}"/>
                      </a:ext>
                    </a:extLst>
                  </p:cNvPr>
                  <p:cNvSpPr/>
                  <p:nvPr/>
                </p:nvSpPr>
                <p:spPr>
                  <a:xfrm>
                    <a:off x="8639443" y="5314758"/>
                    <a:ext cx="23650" cy="23674"/>
                  </a:xfrm>
                  <a:custGeom>
                    <a:avLst/>
                    <a:gdLst>
                      <a:gd name="connsiteX0" fmla="*/ 23651 w 23650"/>
                      <a:gd name="connsiteY0" fmla="*/ 0 h 23674"/>
                      <a:gd name="connsiteX1" fmla="*/ 0 w 23650"/>
                      <a:gd name="connsiteY1" fmla="*/ 23674 h 2367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23650" h="23674">
                        <a:moveTo>
                          <a:pt x="23651" y="0"/>
                        </a:moveTo>
                        <a:lnTo>
                          <a:pt x="0" y="23674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2192" name="Forma livre: Forma 2191">
                    <a:extLst>
                      <a:ext uri="{FF2B5EF4-FFF2-40B4-BE49-F238E27FC236}">
                        <a16:creationId xmlns:a16="http://schemas.microsoft.com/office/drawing/2014/main" id="{7B4CC9E1-EE9B-AD2D-0293-92B3B5CB1C38}"/>
                      </a:ext>
                    </a:extLst>
                  </p:cNvPr>
                  <p:cNvSpPr/>
                  <p:nvPr/>
                </p:nvSpPr>
                <p:spPr>
                  <a:xfrm>
                    <a:off x="8639443" y="5314758"/>
                    <a:ext cx="23650" cy="23674"/>
                  </a:xfrm>
                  <a:custGeom>
                    <a:avLst/>
                    <a:gdLst>
                      <a:gd name="connsiteX0" fmla="*/ 23651 w 23650"/>
                      <a:gd name="connsiteY0" fmla="*/ 23674 h 23674"/>
                      <a:gd name="connsiteX1" fmla="*/ 0 w 23650"/>
                      <a:gd name="connsiteY1" fmla="*/ 0 h 2367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23650" h="23674">
                        <a:moveTo>
                          <a:pt x="23651" y="23674"/>
                        </a:moveTo>
                        <a:lnTo>
                          <a:pt x="0" y="0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  <p:grpSp>
              <p:nvGrpSpPr>
                <p:cNvPr id="2193" name="Gráfico 18">
                  <a:extLst>
                    <a:ext uri="{FF2B5EF4-FFF2-40B4-BE49-F238E27FC236}">
                      <a16:creationId xmlns:a16="http://schemas.microsoft.com/office/drawing/2014/main" id="{FCC2805A-F5D2-C20B-A58A-15050AF8A75B}"/>
                    </a:ext>
                  </a:extLst>
                </p:cNvPr>
                <p:cNvGrpSpPr/>
                <p:nvPr/>
              </p:nvGrpSpPr>
              <p:grpSpPr>
                <a:xfrm>
                  <a:off x="8695950" y="5314758"/>
                  <a:ext cx="23662" cy="23674"/>
                  <a:chOff x="8695950" y="5314758"/>
                  <a:chExt cx="23662" cy="23674"/>
                </a:xfrm>
              </p:grpSpPr>
              <p:sp>
                <p:nvSpPr>
                  <p:cNvPr id="2194" name="Forma livre: Forma 2193">
                    <a:extLst>
                      <a:ext uri="{FF2B5EF4-FFF2-40B4-BE49-F238E27FC236}">
                        <a16:creationId xmlns:a16="http://schemas.microsoft.com/office/drawing/2014/main" id="{61CAC0DA-1DAA-CDFD-9444-F41E5AC2B625}"/>
                      </a:ext>
                    </a:extLst>
                  </p:cNvPr>
                  <p:cNvSpPr/>
                  <p:nvPr/>
                </p:nvSpPr>
                <p:spPr>
                  <a:xfrm>
                    <a:off x="8695950" y="5314758"/>
                    <a:ext cx="23662" cy="23674"/>
                  </a:xfrm>
                  <a:custGeom>
                    <a:avLst/>
                    <a:gdLst>
                      <a:gd name="connsiteX0" fmla="*/ 23663 w 23662"/>
                      <a:gd name="connsiteY0" fmla="*/ 0 h 23674"/>
                      <a:gd name="connsiteX1" fmla="*/ 0 w 23662"/>
                      <a:gd name="connsiteY1" fmla="*/ 23674 h 2367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23662" h="23674">
                        <a:moveTo>
                          <a:pt x="23663" y="0"/>
                        </a:moveTo>
                        <a:lnTo>
                          <a:pt x="0" y="23674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2195" name="Forma livre: Forma 2194">
                    <a:extLst>
                      <a:ext uri="{FF2B5EF4-FFF2-40B4-BE49-F238E27FC236}">
                        <a16:creationId xmlns:a16="http://schemas.microsoft.com/office/drawing/2014/main" id="{F171B20C-7C4D-2C0C-158D-5B20525E114B}"/>
                      </a:ext>
                    </a:extLst>
                  </p:cNvPr>
                  <p:cNvSpPr/>
                  <p:nvPr/>
                </p:nvSpPr>
                <p:spPr>
                  <a:xfrm>
                    <a:off x="8695950" y="5314758"/>
                    <a:ext cx="23662" cy="23674"/>
                  </a:xfrm>
                  <a:custGeom>
                    <a:avLst/>
                    <a:gdLst>
                      <a:gd name="connsiteX0" fmla="*/ 23663 w 23662"/>
                      <a:gd name="connsiteY0" fmla="*/ 23674 h 23674"/>
                      <a:gd name="connsiteX1" fmla="*/ 0 w 23662"/>
                      <a:gd name="connsiteY1" fmla="*/ 0 h 2367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23662" h="23674">
                        <a:moveTo>
                          <a:pt x="23663" y="23674"/>
                        </a:moveTo>
                        <a:lnTo>
                          <a:pt x="0" y="0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</p:grpSp>
          <p:sp>
            <p:nvSpPr>
              <p:cNvPr id="2196" name="Forma livre: Forma 2195">
                <a:extLst>
                  <a:ext uri="{FF2B5EF4-FFF2-40B4-BE49-F238E27FC236}">
                    <a16:creationId xmlns:a16="http://schemas.microsoft.com/office/drawing/2014/main" id="{2C7B6548-F62B-B146-D3BF-E969E7264995}"/>
                  </a:ext>
                </a:extLst>
              </p:cNvPr>
              <p:cNvSpPr/>
              <p:nvPr/>
            </p:nvSpPr>
            <p:spPr>
              <a:xfrm>
                <a:off x="8554834" y="5285315"/>
                <a:ext cx="192867" cy="82559"/>
              </a:xfrm>
              <a:custGeom>
                <a:avLst/>
                <a:gdLst>
                  <a:gd name="connsiteX0" fmla="*/ 0 w 192867"/>
                  <a:gd name="connsiteY0" fmla="*/ 0 h 82559"/>
                  <a:gd name="connsiteX1" fmla="*/ 192867 w 192867"/>
                  <a:gd name="connsiteY1" fmla="*/ 0 h 82559"/>
                  <a:gd name="connsiteX2" fmla="*/ 192867 w 192867"/>
                  <a:gd name="connsiteY2" fmla="*/ 82560 h 82559"/>
                  <a:gd name="connsiteX3" fmla="*/ 0 w 192867"/>
                  <a:gd name="connsiteY3" fmla="*/ 82560 h 825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92867" h="82559">
                    <a:moveTo>
                      <a:pt x="0" y="0"/>
                    </a:moveTo>
                    <a:lnTo>
                      <a:pt x="192867" y="0"/>
                    </a:lnTo>
                    <a:lnTo>
                      <a:pt x="192867" y="82560"/>
                    </a:lnTo>
                    <a:lnTo>
                      <a:pt x="0" y="82560"/>
                    </a:lnTo>
                    <a:close/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2197" name="Gráfico 18">
              <a:extLst>
                <a:ext uri="{FF2B5EF4-FFF2-40B4-BE49-F238E27FC236}">
                  <a16:creationId xmlns:a16="http://schemas.microsoft.com/office/drawing/2014/main" id="{F979BB0E-8E76-9765-53C6-02A0CB70F214}"/>
                </a:ext>
              </a:extLst>
            </p:cNvPr>
            <p:cNvGrpSpPr/>
            <p:nvPr/>
          </p:nvGrpSpPr>
          <p:grpSpPr>
            <a:xfrm>
              <a:off x="8517045" y="5196422"/>
              <a:ext cx="162046" cy="293038"/>
              <a:chOff x="8517045" y="5196422"/>
              <a:chExt cx="162046" cy="293038"/>
            </a:xfrm>
            <a:noFill/>
          </p:grpSpPr>
          <p:sp>
            <p:nvSpPr>
              <p:cNvPr id="2198" name="Forma livre: Forma 2197">
                <a:extLst>
                  <a:ext uri="{FF2B5EF4-FFF2-40B4-BE49-F238E27FC236}">
                    <a16:creationId xmlns:a16="http://schemas.microsoft.com/office/drawing/2014/main" id="{B174F6B0-4C5E-9015-9DC0-39B026F89700}"/>
                  </a:ext>
                </a:extLst>
              </p:cNvPr>
              <p:cNvSpPr/>
              <p:nvPr/>
            </p:nvSpPr>
            <p:spPr>
              <a:xfrm>
                <a:off x="8517045" y="5196422"/>
                <a:ext cx="162046" cy="293038"/>
              </a:xfrm>
              <a:custGeom>
                <a:avLst/>
                <a:gdLst>
                  <a:gd name="connsiteX0" fmla="*/ 162047 w 162046"/>
                  <a:gd name="connsiteY0" fmla="*/ 193279 h 293038"/>
                  <a:gd name="connsiteX1" fmla="*/ 162047 w 162046"/>
                  <a:gd name="connsiteY1" fmla="*/ 279347 h 293038"/>
                  <a:gd name="connsiteX2" fmla="*/ 148780 w 162046"/>
                  <a:gd name="connsiteY2" fmla="*/ 293038 h 293038"/>
                  <a:gd name="connsiteX3" fmla="*/ 13267 w 162046"/>
                  <a:gd name="connsiteY3" fmla="*/ 293038 h 293038"/>
                  <a:gd name="connsiteX4" fmla="*/ 0 w 162046"/>
                  <a:gd name="connsiteY4" fmla="*/ 279347 h 293038"/>
                  <a:gd name="connsiteX5" fmla="*/ 0 w 162046"/>
                  <a:gd name="connsiteY5" fmla="*/ 13268 h 293038"/>
                  <a:gd name="connsiteX6" fmla="*/ 13267 w 162046"/>
                  <a:gd name="connsiteY6" fmla="*/ 0 h 293038"/>
                  <a:gd name="connsiteX7" fmla="*/ 148780 w 162046"/>
                  <a:gd name="connsiteY7" fmla="*/ 0 h 293038"/>
                  <a:gd name="connsiteX8" fmla="*/ 162047 w 162046"/>
                  <a:gd name="connsiteY8" fmla="*/ 13268 h 293038"/>
                  <a:gd name="connsiteX9" fmla="*/ 162047 w 162046"/>
                  <a:gd name="connsiteY9" fmla="*/ 67067 h 2930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62046" h="293038">
                    <a:moveTo>
                      <a:pt x="162047" y="193279"/>
                    </a:moveTo>
                    <a:lnTo>
                      <a:pt x="162047" y="279347"/>
                    </a:lnTo>
                    <a:cubicBezTo>
                      <a:pt x="162047" y="286658"/>
                      <a:pt x="156078" y="293038"/>
                      <a:pt x="148780" y="293038"/>
                    </a:cubicBezTo>
                    <a:lnTo>
                      <a:pt x="13267" y="293038"/>
                    </a:lnTo>
                    <a:cubicBezTo>
                      <a:pt x="5969" y="293038"/>
                      <a:pt x="0" y="286658"/>
                      <a:pt x="0" y="279347"/>
                    </a:cubicBezTo>
                    <a:lnTo>
                      <a:pt x="0" y="13268"/>
                    </a:lnTo>
                    <a:cubicBezTo>
                      <a:pt x="0" y="5969"/>
                      <a:pt x="5969" y="0"/>
                      <a:pt x="13267" y="0"/>
                    </a:cubicBezTo>
                    <a:lnTo>
                      <a:pt x="148780" y="0"/>
                    </a:lnTo>
                    <a:cubicBezTo>
                      <a:pt x="156078" y="0"/>
                      <a:pt x="162047" y="5957"/>
                      <a:pt x="162047" y="13268"/>
                    </a:cubicBezTo>
                    <a:lnTo>
                      <a:pt x="162047" y="67067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199" name="Forma livre: Forma 2198">
                <a:extLst>
                  <a:ext uri="{FF2B5EF4-FFF2-40B4-BE49-F238E27FC236}">
                    <a16:creationId xmlns:a16="http://schemas.microsoft.com/office/drawing/2014/main" id="{E126521B-83CB-6D05-84CA-7AB31C4044DC}"/>
                  </a:ext>
                </a:extLst>
              </p:cNvPr>
              <p:cNvSpPr/>
              <p:nvPr/>
            </p:nvSpPr>
            <p:spPr>
              <a:xfrm>
                <a:off x="8587055" y="5459899"/>
                <a:ext cx="22037" cy="1177"/>
              </a:xfrm>
              <a:custGeom>
                <a:avLst/>
                <a:gdLst>
                  <a:gd name="connsiteX0" fmla="*/ 0 w 22037"/>
                  <a:gd name="connsiteY0" fmla="*/ 0 h 1177"/>
                  <a:gd name="connsiteX1" fmla="*/ 22038 w 22037"/>
                  <a:gd name="connsiteY1" fmla="*/ 0 h 11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2037" h="1177">
                    <a:moveTo>
                      <a:pt x="0" y="0"/>
                    </a:moveTo>
                    <a:lnTo>
                      <a:pt x="22038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2200" name="Gráfico 18">
            <a:extLst>
              <a:ext uri="{FF2B5EF4-FFF2-40B4-BE49-F238E27FC236}">
                <a16:creationId xmlns:a16="http://schemas.microsoft.com/office/drawing/2014/main" id="{A70F0FFC-D26E-64E9-E595-50F926F1482A}"/>
              </a:ext>
            </a:extLst>
          </p:cNvPr>
          <p:cNvGrpSpPr/>
          <p:nvPr/>
        </p:nvGrpSpPr>
        <p:grpSpPr>
          <a:xfrm>
            <a:off x="8517045" y="5720163"/>
            <a:ext cx="228690" cy="293026"/>
            <a:chOff x="8517045" y="5720163"/>
            <a:chExt cx="228690" cy="293026"/>
          </a:xfrm>
          <a:noFill/>
        </p:grpSpPr>
        <p:grpSp>
          <p:nvGrpSpPr>
            <p:cNvPr id="2201" name="Gráfico 18">
              <a:extLst>
                <a:ext uri="{FF2B5EF4-FFF2-40B4-BE49-F238E27FC236}">
                  <a16:creationId xmlns:a16="http://schemas.microsoft.com/office/drawing/2014/main" id="{77ABC1FF-A18A-17D7-8D4F-724E961288FD}"/>
                </a:ext>
              </a:extLst>
            </p:cNvPr>
            <p:cNvGrpSpPr/>
            <p:nvPr/>
          </p:nvGrpSpPr>
          <p:grpSpPr>
            <a:xfrm>
              <a:off x="8517045" y="5720163"/>
              <a:ext cx="162046" cy="293026"/>
              <a:chOff x="8517045" y="5720163"/>
              <a:chExt cx="162046" cy="293026"/>
            </a:xfrm>
            <a:noFill/>
          </p:grpSpPr>
          <p:sp>
            <p:nvSpPr>
              <p:cNvPr id="2202" name="Forma livre: Forma 2201">
                <a:extLst>
                  <a:ext uri="{FF2B5EF4-FFF2-40B4-BE49-F238E27FC236}">
                    <a16:creationId xmlns:a16="http://schemas.microsoft.com/office/drawing/2014/main" id="{902AC720-1383-567A-7BCB-9D3D6A79FFAA}"/>
                  </a:ext>
                </a:extLst>
              </p:cNvPr>
              <p:cNvSpPr/>
              <p:nvPr/>
            </p:nvSpPr>
            <p:spPr>
              <a:xfrm>
                <a:off x="8517045" y="5720163"/>
                <a:ext cx="162046" cy="293026"/>
              </a:xfrm>
              <a:custGeom>
                <a:avLst/>
                <a:gdLst>
                  <a:gd name="connsiteX0" fmla="*/ 162047 w 162046"/>
                  <a:gd name="connsiteY0" fmla="*/ 217977 h 293026"/>
                  <a:gd name="connsiteX1" fmla="*/ 162047 w 162046"/>
                  <a:gd name="connsiteY1" fmla="*/ 279347 h 293026"/>
                  <a:gd name="connsiteX2" fmla="*/ 148780 w 162046"/>
                  <a:gd name="connsiteY2" fmla="*/ 293026 h 293026"/>
                  <a:gd name="connsiteX3" fmla="*/ 13267 w 162046"/>
                  <a:gd name="connsiteY3" fmla="*/ 293026 h 293026"/>
                  <a:gd name="connsiteX4" fmla="*/ 0 w 162046"/>
                  <a:gd name="connsiteY4" fmla="*/ 279347 h 293026"/>
                  <a:gd name="connsiteX5" fmla="*/ 0 w 162046"/>
                  <a:gd name="connsiteY5" fmla="*/ 13256 h 293026"/>
                  <a:gd name="connsiteX6" fmla="*/ 13267 w 162046"/>
                  <a:gd name="connsiteY6" fmla="*/ 0 h 293026"/>
                  <a:gd name="connsiteX7" fmla="*/ 148780 w 162046"/>
                  <a:gd name="connsiteY7" fmla="*/ 0 h 293026"/>
                  <a:gd name="connsiteX8" fmla="*/ 162047 w 162046"/>
                  <a:gd name="connsiteY8" fmla="*/ 13256 h 293026"/>
                  <a:gd name="connsiteX9" fmla="*/ 162047 w 162046"/>
                  <a:gd name="connsiteY9" fmla="*/ 38814 h 2930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62046" h="293026">
                    <a:moveTo>
                      <a:pt x="162047" y="217977"/>
                    </a:moveTo>
                    <a:lnTo>
                      <a:pt x="162047" y="279347"/>
                    </a:lnTo>
                    <a:cubicBezTo>
                      <a:pt x="162047" y="286646"/>
                      <a:pt x="156078" y="293026"/>
                      <a:pt x="148780" y="293026"/>
                    </a:cubicBezTo>
                    <a:lnTo>
                      <a:pt x="13267" y="293026"/>
                    </a:lnTo>
                    <a:cubicBezTo>
                      <a:pt x="5969" y="293026"/>
                      <a:pt x="0" y="286646"/>
                      <a:pt x="0" y="279347"/>
                    </a:cubicBezTo>
                    <a:lnTo>
                      <a:pt x="0" y="13256"/>
                    </a:lnTo>
                    <a:cubicBezTo>
                      <a:pt x="0" y="5957"/>
                      <a:pt x="5969" y="0"/>
                      <a:pt x="13267" y="0"/>
                    </a:cubicBezTo>
                    <a:lnTo>
                      <a:pt x="148780" y="0"/>
                    </a:lnTo>
                    <a:cubicBezTo>
                      <a:pt x="156078" y="0"/>
                      <a:pt x="162047" y="5957"/>
                      <a:pt x="162047" y="13256"/>
                    </a:cubicBezTo>
                    <a:lnTo>
                      <a:pt x="162047" y="38814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203" name="Forma livre: Forma 2202">
                <a:extLst>
                  <a:ext uri="{FF2B5EF4-FFF2-40B4-BE49-F238E27FC236}">
                    <a16:creationId xmlns:a16="http://schemas.microsoft.com/office/drawing/2014/main" id="{426D8CC1-EC85-DCC6-0E04-3B0C1BCAC914}"/>
                  </a:ext>
                </a:extLst>
              </p:cNvPr>
              <p:cNvSpPr/>
              <p:nvPr/>
            </p:nvSpPr>
            <p:spPr>
              <a:xfrm>
                <a:off x="8587055" y="5983653"/>
                <a:ext cx="22037" cy="1177"/>
              </a:xfrm>
              <a:custGeom>
                <a:avLst/>
                <a:gdLst>
                  <a:gd name="connsiteX0" fmla="*/ 0 w 22037"/>
                  <a:gd name="connsiteY0" fmla="*/ 0 h 1177"/>
                  <a:gd name="connsiteX1" fmla="*/ 22038 w 22037"/>
                  <a:gd name="connsiteY1" fmla="*/ 0 h 11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2037" h="1177">
                    <a:moveTo>
                      <a:pt x="0" y="0"/>
                    </a:moveTo>
                    <a:lnTo>
                      <a:pt x="22038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2204" name="Gráfico 18">
              <a:extLst>
                <a:ext uri="{FF2B5EF4-FFF2-40B4-BE49-F238E27FC236}">
                  <a16:creationId xmlns:a16="http://schemas.microsoft.com/office/drawing/2014/main" id="{5B4E7757-E693-FCC9-06A5-9C8D468C3EB3}"/>
                </a:ext>
              </a:extLst>
            </p:cNvPr>
            <p:cNvGrpSpPr/>
            <p:nvPr/>
          </p:nvGrpSpPr>
          <p:grpSpPr>
            <a:xfrm>
              <a:off x="8571987" y="5780615"/>
              <a:ext cx="173748" cy="135665"/>
              <a:chOff x="8571987" y="5780615"/>
              <a:chExt cx="173748" cy="135665"/>
            </a:xfrm>
            <a:noFill/>
          </p:grpSpPr>
          <p:sp>
            <p:nvSpPr>
              <p:cNvPr id="2205" name="Forma livre: Forma 2204">
                <a:extLst>
                  <a:ext uri="{FF2B5EF4-FFF2-40B4-BE49-F238E27FC236}">
                    <a16:creationId xmlns:a16="http://schemas.microsoft.com/office/drawing/2014/main" id="{C7D153C0-0195-DF50-613E-CEB8E750E36F}"/>
                  </a:ext>
                </a:extLst>
              </p:cNvPr>
              <p:cNvSpPr/>
              <p:nvPr/>
            </p:nvSpPr>
            <p:spPr>
              <a:xfrm>
                <a:off x="8572893" y="5830412"/>
                <a:ext cx="111154" cy="62346"/>
              </a:xfrm>
              <a:custGeom>
                <a:avLst/>
                <a:gdLst>
                  <a:gd name="connsiteX0" fmla="*/ 0 w 111154"/>
                  <a:gd name="connsiteY0" fmla="*/ 56131 h 62346"/>
                  <a:gd name="connsiteX1" fmla="*/ 52046 w 111154"/>
                  <a:gd name="connsiteY1" fmla="*/ 0 h 62346"/>
                  <a:gd name="connsiteX2" fmla="*/ 111155 w 111154"/>
                  <a:gd name="connsiteY2" fmla="*/ 62347 h 62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11154" h="62346">
                    <a:moveTo>
                      <a:pt x="0" y="56131"/>
                    </a:moveTo>
                    <a:lnTo>
                      <a:pt x="52046" y="0"/>
                    </a:lnTo>
                    <a:lnTo>
                      <a:pt x="111155" y="62347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206" name="Forma livre: Forma 2205">
                <a:extLst>
                  <a:ext uri="{FF2B5EF4-FFF2-40B4-BE49-F238E27FC236}">
                    <a16:creationId xmlns:a16="http://schemas.microsoft.com/office/drawing/2014/main" id="{C981DA84-E98A-F48F-D6DF-656C4C660E25}"/>
                  </a:ext>
                </a:extLst>
              </p:cNvPr>
              <p:cNvSpPr/>
              <p:nvPr/>
            </p:nvSpPr>
            <p:spPr>
              <a:xfrm>
                <a:off x="8571987" y="5780615"/>
                <a:ext cx="173748" cy="135665"/>
              </a:xfrm>
              <a:custGeom>
                <a:avLst/>
                <a:gdLst>
                  <a:gd name="connsiteX0" fmla="*/ 0 w 173748"/>
                  <a:gd name="connsiteY0" fmla="*/ 0 h 135665"/>
                  <a:gd name="connsiteX1" fmla="*/ 173749 w 173748"/>
                  <a:gd name="connsiteY1" fmla="*/ 0 h 135665"/>
                  <a:gd name="connsiteX2" fmla="*/ 173737 w 173748"/>
                  <a:gd name="connsiteY2" fmla="*/ 135665 h 135665"/>
                  <a:gd name="connsiteX3" fmla="*/ 0 w 173748"/>
                  <a:gd name="connsiteY3" fmla="*/ 135665 h 135665"/>
                  <a:gd name="connsiteX4" fmla="*/ 0 w 173748"/>
                  <a:gd name="connsiteY4" fmla="*/ 0 h 1356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3748" h="135665">
                    <a:moveTo>
                      <a:pt x="0" y="0"/>
                    </a:moveTo>
                    <a:lnTo>
                      <a:pt x="173749" y="0"/>
                    </a:lnTo>
                    <a:lnTo>
                      <a:pt x="173737" y="135665"/>
                    </a:lnTo>
                    <a:lnTo>
                      <a:pt x="0" y="135665"/>
                    </a:lnTo>
                    <a:lnTo>
                      <a:pt x="0" y="0"/>
                    </a:lnTo>
                    <a:close/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207" name="Forma livre: Forma 2206">
                <a:extLst>
                  <a:ext uri="{FF2B5EF4-FFF2-40B4-BE49-F238E27FC236}">
                    <a16:creationId xmlns:a16="http://schemas.microsoft.com/office/drawing/2014/main" id="{8B05B1C7-C5EF-011D-CB3E-60097F6FB68B}"/>
                  </a:ext>
                </a:extLst>
              </p:cNvPr>
              <p:cNvSpPr/>
              <p:nvPr/>
            </p:nvSpPr>
            <p:spPr>
              <a:xfrm>
                <a:off x="8688027" y="5845928"/>
                <a:ext cx="57096" cy="39084"/>
              </a:xfrm>
              <a:custGeom>
                <a:avLst/>
                <a:gdLst>
                  <a:gd name="connsiteX0" fmla="*/ 0 w 57096"/>
                  <a:gd name="connsiteY0" fmla="*/ 20178 h 39084"/>
                  <a:gd name="connsiteX1" fmla="*/ 21367 w 57096"/>
                  <a:gd name="connsiteY1" fmla="*/ 0 h 39084"/>
                  <a:gd name="connsiteX2" fmla="*/ 57096 w 57096"/>
                  <a:gd name="connsiteY2" fmla="*/ 39084 h 390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57096" h="39084">
                    <a:moveTo>
                      <a:pt x="0" y="20178"/>
                    </a:moveTo>
                    <a:lnTo>
                      <a:pt x="21367" y="0"/>
                    </a:lnTo>
                    <a:lnTo>
                      <a:pt x="57096" y="39084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208" name="Forma livre: Forma 2207">
                <a:extLst>
                  <a:ext uri="{FF2B5EF4-FFF2-40B4-BE49-F238E27FC236}">
                    <a16:creationId xmlns:a16="http://schemas.microsoft.com/office/drawing/2014/main" id="{3D98315B-7A1F-13DA-2946-1BCB5B89A922}"/>
                  </a:ext>
                </a:extLst>
              </p:cNvPr>
              <p:cNvSpPr/>
              <p:nvPr/>
            </p:nvSpPr>
            <p:spPr>
              <a:xfrm>
                <a:off x="8659609" y="5805678"/>
                <a:ext cx="30514" cy="30525"/>
              </a:xfrm>
              <a:custGeom>
                <a:avLst/>
                <a:gdLst>
                  <a:gd name="connsiteX0" fmla="*/ 30514 w 30514"/>
                  <a:gd name="connsiteY0" fmla="*/ 15257 h 30525"/>
                  <a:gd name="connsiteX1" fmla="*/ 15257 w 30514"/>
                  <a:gd name="connsiteY1" fmla="*/ 30526 h 30525"/>
                  <a:gd name="connsiteX2" fmla="*/ 0 w 30514"/>
                  <a:gd name="connsiteY2" fmla="*/ 15257 h 30525"/>
                  <a:gd name="connsiteX3" fmla="*/ 15257 w 30514"/>
                  <a:gd name="connsiteY3" fmla="*/ 0 h 30525"/>
                  <a:gd name="connsiteX4" fmla="*/ 30514 w 30514"/>
                  <a:gd name="connsiteY4" fmla="*/ 15257 h 30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0514" h="30525">
                    <a:moveTo>
                      <a:pt x="30514" y="15257"/>
                    </a:moveTo>
                    <a:cubicBezTo>
                      <a:pt x="30514" y="23698"/>
                      <a:pt x="23686" y="30526"/>
                      <a:pt x="15257" y="30526"/>
                    </a:cubicBezTo>
                    <a:cubicBezTo>
                      <a:pt x="6828" y="30526"/>
                      <a:pt x="0" y="23698"/>
                      <a:pt x="0" y="15257"/>
                    </a:cubicBezTo>
                    <a:cubicBezTo>
                      <a:pt x="0" y="6816"/>
                      <a:pt x="6828" y="0"/>
                      <a:pt x="15257" y="0"/>
                    </a:cubicBezTo>
                    <a:cubicBezTo>
                      <a:pt x="23686" y="0"/>
                      <a:pt x="30514" y="6840"/>
                      <a:pt x="30514" y="15257"/>
                    </a:cubicBezTo>
                    <a:close/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2209" name="Gráfico 18">
            <a:extLst>
              <a:ext uri="{FF2B5EF4-FFF2-40B4-BE49-F238E27FC236}">
                <a16:creationId xmlns:a16="http://schemas.microsoft.com/office/drawing/2014/main" id="{505362F9-070B-1C03-00C3-4DBF2EBBD41D}"/>
              </a:ext>
            </a:extLst>
          </p:cNvPr>
          <p:cNvGrpSpPr/>
          <p:nvPr/>
        </p:nvGrpSpPr>
        <p:grpSpPr>
          <a:xfrm>
            <a:off x="8517045" y="4672703"/>
            <a:ext cx="271259" cy="293038"/>
            <a:chOff x="8517045" y="4672703"/>
            <a:chExt cx="271259" cy="293038"/>
          </a:xfrm>
          <a:noFill/>
        </p:grpSpPr>
        <p:sp>
          <p:nvSpPr>
            <p:cNvPr id="2210" name="Forma livre: Forma 2209">
              <a:extLst>
                <a:ext uri="{FF2B5EF4-FFF2-40B4-BE49-F238E27FC236}">
                  <a16:creationId xmlns:a16="http://schemas.microsoft.com/office/drawing/2014/main" id="{35DD407E-2744-D4ED-6552-F8D0D4586446}"/>
                </a:ext>
              </a:extLst>
            </p:cNvPr>
            <p:cNvSpPr/>
            <p:nvPr/>
          </p:nvSpPr>
          <p:spPr>
            <a:xfrm>
              <a:off x="8577708" y="4724761"/>
              <a:ext cx="40732" cy="148355"/>
            </a:xfrm>
            <a:custGeom>
              <a:avLst/>
              <a:gdLst>
                <a:gd name="connsiteX0" fmla="*/ 37342 w 40732"/>
                <a:gd name="connsiteY0" fmla="*/ 0 h 148355"/>
                <a:gd name="connsiteX1" fmla="*/ 0 w 40732"/>
                <a:gd name="connsiteY1" fmla="*/ 78298 h 148355"/>
                <a:gd name="connsiteX2" fmla="*/ 40733 w 40732"/>
                <a:gd name="connsiteY2" fmla="*/ 68445 h 148355"/>
                <a:gd name="connsiteX3" fmla="*/ 6663 w 40732"/>
                <a:gd name="connsiteY3" fmla="*/ 148356 h 1483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0732" h="148355">
                  <a:moveTo>
                    <a:pt x="37342" y="0"/>
                  </a:moveTo>
                  <a:lnTo>
                    <a:pt x="0" y="78298"/>
                  </a:lnTo>
                  <a:lnTo>
                    <a:pt x="40733" y="68445"/>
                  </a:lnTo>
                  <a:lnTo>
                    <a:pt x="6663" y="148356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2211" name="Gráfico 18">
              <a:extLst>
                <a:ext uri="{FF2B5EF4-FFF2-40B4-BE49-F238E27FC236}">
                  <a16:creationId xmlns:a16="http://schemas.microsoft.com/office/drawing/2014/main" id="{F78B9728-F795-49D5-A971-F557C9C03477}"/>
                </a:ext>
              </a:extLst>
            </p:cNvPr>
            <p:cNvGrpSpPr/>
            <p:nvPr/>
          </p:nvGrpSpPr>
          <p:grpSpPr>
            <a:xfrm>
              <a:off x="8517045" y="4672703"/>
              <a:ext cx="162046" cy="293038"/>
              <a:chOff x="8517045" y="4672703"/>
              <a:chExt cx="162046" cy="293038"/>
            </a:xfrm>
            <a:noFill/>
          </p:grpSpPr>
          <p:sp>
            <p:nvSpPr>
              <p:cNvPr id="2212" name="Forma livre: Forma 2211">
                <a:extLst>
                  <a:ext uri="{FF2B5EF4-FFF2-40B4-BE49-F238E27FC236}">
                    <a16:creationId xmlns:a16="http://schemas.microsoft.com/office/drawing/2014/main" id="{1DE2172F-7B24-240D-99C9-04F1554CC7C6}"/>
                  </a:ext>
                </a:extLst>
              </p:cNvPr>
              <p:cNvSpPr/>
              <p:nvPr/>
            </p:nvSpPr>
            <p:spPr>
              <a:xfrm>
                <a:off x="8517045" y="4672703"/>
                <a:ext cx="162046" cy="293038"/>
              </a:xfrm>
              <a:custGeom>
                <a:avLst/>
                <a:gdLst>
                  <a:gd name="connsiteX0" fmla="*/ 162047 w 162046"/>
                  <a:gd name="connsiteY0" fmla="*/ 279347 h 293038"/>
                  <a:gd name="connsiteX1" fmla="*/ 148780 w 162046"/>
                  <a:gd name="connsiteY1" fmla="*/ 293038 h 293038"/>
                  <a:gd name="connsiteX2" fmla="*/ 13267 w 162046"/>
                  <a:gd name="connsiteY2" fmla="*/ 293038 h 293038"/>
                  <a:gd name="connsiteX3" fmla="*/ 0 w 162046"/>
                  <a:gd name="connsiteY3" fmla="*/ 279347 h 293038"/>
                  <a:gd name="connsiteX4" fmla="*/ 0 w 162046"/>
                  <a:gd name="connsiteY4" fmla="*/ 13256 h 293038"/>
                  <a:gd name="connsiteX5" fmla="*/ 13267 w 162046"/>
                  <a:gd name="connsiteY5" fmla="*/ 0 h 293038"/>
                  <a:gd name="connsiteX6" fmla="*/ 148780 w 162046"/>
                  <a:gd name="connsiteY6" fmla="*/ 0 h 293038"/>
                  <a:gd name="connsiteX7" fmla="*/ 162047 w 162046"/>
                  <a:gd name="connsiteY7" fmla="*/ 13256 h 293038"/>
                  <a:gd name="connsiteX8" fmla="*/ 162047 w 162046"/>
                  <a:gd name="connsiteY8" fmla="*/ 279347 h 2930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62046" h="293038">
                    <a:moveTo>
                      <a:pt x="162047" y="279347"/>
                    </a:moveTo>
                    <a:cubicBezTo>
                      <a:pt x="162047" y="286658"/>
                      <a:pt x="156078" y="293038"/>
                      <a:pt x="148780" y="293038"/>
                    </a:cubicBezTo>
                    <a:lnTo>
                      <a:pt x="13267" y="293038"/>
                    </a:lnTo>
                    <a:cubicBezTo>
                      <a:pt x="5969" y="293038"/>
                      <a:pt x="0" y="286658"/>
                      <a:pt x="0" y="279347"/>
                    </a:cubicBezTo>
                    <a:lnTo>
                      <a:pt x="0" y="13256"/>
                    </a:lnTo>
                    <a:cubicBezTo>
                      <a:pt x="0" y="5957"/>
                      <a:pt x="5969" y="0"/>
                      <a:pt x="13267" y="0"/>
                    </a:cubicBezTo>
                    <a:lnTo>
                      <a:pt x="148780" y="0"/>
                    </a:lnTo>
                    <a:cubicBezTo>
                      <a:pt x="156078" y="0"/>
                      <a:pt x="162047" y="5957"/>
                      <a:pt x="162047" y="13256"/>
                    </a:cubicBezTo>
                    <a:lnTo>
                      <a:pt x="162047" y="279347"/>
                    </a:ln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213" name="Forma livre: Forma 2212">
                <a:extLst>
                  <a:ext uri="{FF2B5EF4-FFF2-40B4-BE49-F238E27FC236}">
                    <a16:creationId xmlns:a16="http://schemas.microsoft.com/office/drawing/2014/main" id="{949C3113-1B48-3AD3-BDDB-0336D6AA54F5}"/>
                  </a:ext>
                </a:extLst>
              </p:cNvPr>
              <p:cNvSpPr/>
              <p:nvPr/>
            </p:nvSpPr>
            <p:spPr>
              <a:xfrm>
                <a:off x="8587055" y="4936181"/>
                <a:ext cx="22037" cy="1177"/>
              </a:xfrm>
              <a:custGeom>
                <a:avLst/>
                <a:gdLst>
                  <a:gd name="connsiteX0" fmla="*/ 0 w 22037"/>
                  <a:gd name="connsiteY0" fmla="*/ 0 h 1177"/>
                  <a:gd name="connsiteX1" fmla="*/ 22038 w 22037"/>
                  <a:gd name="connsiteY1" fmla="*/ 0 h 11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2037" h="1177">
                    <a:moveTo>
                      <a:pt x="0" y="0"/>
                    </a:moveTo>
                    <a:lnTo>
                      <a:pt x="22038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2214" name="Gráfico 18">
              <a:extLst>
                <a:ext uri="{FF2B5EF4-FFF2-40B4-BE49-F238E27FC236}">
                  <a16:creationId xmlns:a16="http://schemas.microsoft.com/office/drawing/2014/main" id="{EA452108-893F-853E-C138-2C09AF14FCF7}"/>
                </a:ext>
              </a:extLst>
            </p:cNvPr>
            <p:cNvGrpSpPr/>
            <p:nvPr/>
          </p:nvGrpSpPr>
          <p:grpSpPr>
            <a:xfrm>
              <a:off x="8698893" y="4759301"/>
              <a:ext cx="89411" cy="206440"/>
              <a:chOff x="8698893" y="4759301"/>
              <a:chExt cx="89411" cy="206440"/>
            </a:xfrm>
            <a:noFill/>
          </p:grpSpPr>
          <p:grpSp>
            <p:nvGrpSpPr>
              <p:cNvPr id="2215" name="Gráfico 18">
                <a:extLst>
                  <a:ext uri="{FF2B5EF4-FFF2-40B4-BE49-F238E27FC236}">
                    <a16:creationId xmlns:a16="http://schemas.microsoft.com/office/drawing/2014/main" id="{12E48BA3-4D25-AEF7-7C17-4095400758B8}"/>
                  </a:ext>
                </a:extLst>
              </p:cNvPr>
              <p:cNvGrpSpPr/>
              <p:nvPr/>
            </p:nvGrpSpPr>
            <p:grpSpPr>
              <a:xfrm>
                <a:off x="8721025" y="4759301"/>
                <a:ext cx="67279" cy="85761"/>
                <a:chOff x="8721025" y="4759301"/>
                <a:chExt cx="67279" cy="85761"/>
              </a:xfrm>
              <a:noFill/>
            </p:grpSpPr>
            <p:sp>
              <p:nvSpPr>
                <p:cNvPr id="2216" name="Forma livre: Forma 2215">
                  <a:extLst>
                    <a:ext uri="{FF2B5EF4-FFF2-40B4-BE49-F238E27FC236}">
                      <a16:creationId xmlns:a16="http://schemas.microsoft.com/office/drawing/2014/main" id="{40D6E0AC-2BBD-20F8-605F-DEBCFB60F23D}"/>
                    </a:ext>
                  </a:extLst>
                </p:cNvPr>
                <p:cNvSpPr/>
                <p:nvPr/>
              </p:nvSpPr>
              <p:spPr>
                <a:xfrm>
                  <a:off x="8772577" y="4759301"/>
                  <a:ext cx="1177" cy="24604"/>
                </a:xfrm>
                <a:custGeom>
                  <a:avLst/>
                  <a:gdLst>
                    <a:gd name="connsiteX0" fmla="*/ 0 w 1177"/>
                    <a:gd name="connsiteY0" fmla="*/ 24604 h 24604"/>
                    <a:gd name="connsiteX1" fmla="*/ 0 w 1177"/>
                    <a:gd name="connsiteY1" fmla="*/ 0 h 2460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177" h="24604">
                      <a:moveTo>
                        <a:pt x="0" y="24604"/>
                      </a:moveTo>
                      <a:lnTo>
                        <a:pt x="0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217" name="Forma livre: Forma 2216">
                  <a:extLst>
                    <a:ext uri="{FF2B5EF4-FFF2-40B4-BE49-F238E27FC236}">
                      <a16:creationId xmlns:a16="http://schemas.microsoft.com/office/drawing/2014/main" id="{B5EF9B4A-DD4C-FB98-4D53-7B343B059983}"/>
                    </a:ext>
                  </a:extLst>
                </p:cNvPr>
                <p:cNvSpPr/>
                <p:nvPr/>
              </p:nvSpPr>
              <p:spPr>
                <a:xfrm>
                  <a:off x="8736741" y="4759301"/>
                  <a:ext cx="1177" cy="24604"/>
                </a:xfrm>
                <a:custGeom>
                  <a:avLst/>
                  <a:gdLst>
                    <a:gd name="connsiteX0" fmla="*/ 0 w 1177"/>
                    <a:gd name="connsiteY0" fmla="*/ 24604 h 24604"/>
                    <a:gd name="connsiteX1" fmla="*/ 0 w 1177"/>
                    <a:gd name="connsiteY1" fmla="*/ 0 h 2460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177" h="24604">
                      <a:moveTo>
                        <a:pt x="0" y="24604"/>
                      </a:moveTo>
                      <a:lnTo>
                        <a:pt x="0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218" name="Forma livre: Forma 2217">
                  <a:extLst>
                    <a:ext uri="{FF2B5EF4-FFF2-40B4-BE49-F238E27FC236}">
                      <a16:creationId xmlns:a16="http://schemas.microsoft.com/office/drawing/2014/main" id="{91CE08AF-C63F-B1B1-6C33-67AD3F96CDA7}"/>
                    </a:ext>
                  </a:extLst>
                </p:cNvPr>
                <p:cNvSpPr/>
                <p:nvPr/>
              </p:nvSpPr>
              <p:spPr>
                <a:xfrm>
                  <a:off x="8721025" y="4784823"/>
                  <a:ext cx="67279" cy="60239"/>
                </a:xfrm>
                <a:custGeom>
                  <a:avLst/>
                  <a:gdLst>
                    <a:gd name="connsiteX0" fmla="*/ 67267 w 67279"/>
                    <a:gd name="connsiteY0" fmla="*/ 12538 h 60239"/>
                    <a:gd name="connsiteX1" fmla="*/ 67267 w 67279"/>
                    <a:gd name="connsiteY1" fmla="*/ 20401 h 60239"/>
                    <a:gd name="connsiteX2" fmla="*/ 55648 w 67279"/>
                    <a:gd name="connsiteY2" fmla="*/ 26747 h 60239"/>
                    <a:gd name="connsiteX3" fmla="*/ 55648 w 67279"/>
                    <a:gd name="connsiteY3" fmla="*/ 45418 h 60239"/>
                    <a:gd name="connsiteX4" fmla="*/ 40827 w 67279"/>
                    <a:gd name="connsiteY4" fmla="*/ 60239 h 60239"/>
                    <a:gd name="connsiteX5" fmla="*/ 26300 w 67279"/>
                    <a:gd name="connsiteY5" fmla="*/ 60239 h 60239"/>
                    <a:gd name="connsiteX6" fmla="*/ 11478 w 67279"/>
                    <a:gd name="connsiteY6" fmla="*/ 45418 h 60239"/>
                    <a:gd name="connsiteX7" fmla="*/ 11478 w 67279"/>
                    <a:gd name="connsiteY7" fmla="*/ 26664 h 60239"/>
                    <a:gd name="connsiteX8" fmla="*/ 0 w 67279"/>
                    <a:gd name="connsiteY8" fmla="*/ 20390 h 60239"/>
                    <a:gd name="connsiteX9" fmla="*/ 0 w 67279"/>
                    <a:gd name="connsiteY9" fmla="*/ 0 h 60239"/>
                    <a:gd name="connsiteX10" fmla="*/ 67279 w 67279"/>
                    <a:gd name="connsiteY10" fmla="*/ 0 h 60239"/>
                    <a:gd name="connsiteX11" fmla="*/ 67279 w 67279"/>
                    <a:gd name="connsiteY11" fmla="*/ 12526 h 6023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</a:cxnLst>
                  <a:rect l="l" t="t" r="r" b="b"/>
                  <a:pathLst>
                    <a:path w="67279" h="60239">
                      <a:moveTo>
                        <a:pt x="67267" y="12538"/>
                      </a:moveTo>
                      <a:lnTo>
                        <a:pt x="67267" y="20401"/>
                      </a:lnTo>
                      <a:lnTo>
                        <a:pt x="55648" y="26747"/>
                      </a:lnTo>
                      <a:lnTo>
                        <a:pt x="55648" y="45418"/>
                      </a:lnTo>
                      <a:cubicBezTo>
                        <a:pt x="55648" y="53576"/>
                        <a:pt x="48973" y="60239"/>
                        <a:pt x="40827" y="60239"/>
                      </a:cubicBezTo>
                      <a:lnTo>
                        <a:pt x="26300" y="60239"/>
                      </a:lnTo>
                      <a:cubicBezTo>
                        <a:pt x="18141" y="60239"/>
                        <a:pt x="11478" y="53576"/>
                        <a:pt x="11478" y="45418"/>
                      </a:cubicBezTo>
                      <a:lnTo>
                        <a:pt x="11478" y="26664"/>
                      </a:lnTo>
                      <a:lnTo>
                        <a:pt x="0" y="20390"/>
                      </a:lnTo>
                      <a:lnTo>
                        <a:pt x="0" y="0"/>
                      </a:lnTo>
                      <a:lnTo>
                        <a:pt x="67279" y="0"/>
                      </a:lnTo>
                      <a:lnTo>
                        <a:pt x="67279" y="12526"/>
                      </a:lnTo>
                      <a:close/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2219" name="Forma livre: Forma 2218">
                <a:extLst>
                  <a:ext uri="{FF2B5EF4-FFF2-40B4-BE49-F238E27FC236}">
                    <a16:creationId xmlns:a16="http://schemas.microsoft.com/office/drawing/2014/main" id="{C14363E9-6827-1F7A-EB11-8B251FDA6456}"/>
                  </a:ext>
                </a:extLst>
              </p:cNvPr>
              <p:cNvSpPr/>
              <p:nvPr/>
            </p:nvSpPr>
            <p:spPr>
              <a:xfrm>
                <a:off x="8698893" y="4845781"/>
                <a:ext cx="55871" cy="119960"/>
              </a:xfrm>
              <a:custGeom>
                <a:avLst/>
                <a:gdLst>
                  <a:gd name="connsiteX0" fmla="*/ 0 w 55871"/>
                  <a:gd name="connsiteY0" fmla="*/ 44535 h 119960"/>
                  <a:gd name="connsiteX1" fmla="*/ 18624 w 55871"/>
                  <a:gd name="connsiteY1" fmla="*/ 63830 h 119960"/>
                  <a:gd name="connsiteX2" fmla="*/ 18624 w 55871"/>
                  <a:gd name="connsiteY2" fmla="*/ 100677 h 119960"/>
                  <a:gd name="connsiteX3" fmla="*/ 37248 w 55871"/>
                  <a:gd name="connsiteY3" fmla="*/ 119961 h 119960"/>
                  <a:gd name="connsiteX4" fmla="*/ 55872 w 55871"/>
                  <a:gd name="connsiteY4" fmla="*/ 100677 h 119960"/>
                  <a:gd name="connsiteX5" fmla="*/ 55872 w 55871"/>
                  <a:gd name="connsiteY5" fmla="*/ 0 h 1199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55871" h="119960">
                    <a:moveTo>
                      <a:pt x="0" y="44535"/>
                    </a:moveTo>
                    <a:cubicBezTo>
                      <a:pt x="10242" y="44535"/>
                      <a:pt x="18624" y="53223"/>
                      <a:pt x="18624" y="63830"/>
                    </a:cubicBezTo>
                    <a:lnTo>
                      <a:pt x="18624" y="100677"/>
                    </a:lnTo>
                    <a:cubicBezTo>
                      <a:pt x="18624" y="111284"/>
                      <a:pt x="27006" y="119961"/>
                      <a:pt x="37248" y="119961"/>
                    </a:cubicBezTo>
                    <a:cubicBezTo>
                      <a:pt x="47490" y="119961"/>
                      <a:pt x="55872" y="111273"/>
                      <a:pt x="55872" y="100677"/>
                    </a:cubicBezTo>
                    <a:lnTo>
                      <a:pt x="55872" y="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2220" name="Gráfico 18">
            <a:extLst>
              <a:ext uri="{FF2B5EF4-FFF2-40B4-BE49-F238E27FC236}">
                <a16:creationId xmlns:a16="http://schemas.microsoft.com/office/drawing/2014/main" id="{2F13366C-8E12-9925-5191-B92A101A69CF}"/>
              </a:ext>
            </a:extLst>
          </p:cNvPr>
          <p:cNvGrpSpPr/>
          <p:nvPr/>
        </p:nvGrpSpPr>
        <p:grpSpPr>
          <a:xfrm>
            <a:off x="9099943" y="4148985"/>
            <a:ext cx="336231" cy="293026"/>
            <a:chOff x="9099943" y="4148985"/>
            <a:chExt cx="336231" cy="293026"/>
          </a:xfrm>
          <a:noFill/>
        </p:grpSpPr>
        <p:grpSp>
          <p:nvGrpSpPr>
            <p:cNvPr id="2221" name="Gráfico 18">
              <a:extLst>
                <a:ext uri="{FF2B5EF4-FFF2-40B4-BE49-F238E27FC236}">
                  <a16:creationId xmlns:a16="http://schemas.microsoft.com/office/drawing/2014/main" id="{71E5443D-571F-09A3-3A3C-24700DD0978F}"/>
                </a:ext>
              </a:extLst>
            </p:cNvPr>
            <p:cNvGrpSpPr/>
            <p:nvPr/>
          </p:nvGrpSpPr>
          <p:grpSpPr>
            <a:xfrm>
              <a:off x="9187024" y="4148985"/>
              <a:ext cx="162058" cy="293026"/>
              <a:chOff x="9187024" y="4148985"/>
              <a:chExt cx="162058" cy="293026"/>
            </a:xfrm>
            <a:noFill/>
          </p:grpSpPr>
          <p:sp>
            <p:nvSpPr>
              <p:cNvPr id="2222" name="Forma livre: Forma 2221">
                <a:extLst>
                  <a:ext uri="{FF2B5EF4-FFF2-40B4-BE49-F238E27FC236}">
                    <a16:creationId xmlns:a16="http://schemas.microsoft.com/office/drawing/2014/main" id="{C696BA76-7A6C-CD94-9800-8E3A75E1F6EE}"/>
                  </a:ext>
                </a:extLst>
              </p:cNvPr>
              <p:cNvSpPr/>
              <p:nvPr/>
            </p:nvSpPr>
            <p:spPr>
              <a:xfrm>
                <a:off x="9187036" y="4148985"/>
                <a:ext cx="162047" cy="104044"/>
              </a:xfrm>
              <a:custGeom>
                <a:avLst/>
                <a:gdLst>
                  <a:gd name="connsiteX0" fmla="*/ 0 w 162047"/>
                  <a:gd name="connsiteY0" fmla="*/ 104044 h 104044"/>
                  <a:gd name="connsiteX1" fmla="*/ 0 w 162047"/>
                  <a:gd name="connsiteY1" fmla="*/ 13256 h 104044"/>
                  <a:gd name="connsiteX2" fmla="*/ 13268 w 162047"/>
                  <a:gd name="connsiteY2" fmla="*/ 0 h 104044"/>
                  <a:gd name="connsiteX3" fmla="*/ 148780 w 162047"/>
                  <a:gd name="connsiteY3" fmla="*/ 0 h 104044"/>
                  <a:gd name="connsiteX4" fmla="*/ 162047 w 162047"/>
                  <a:gd name="connsiteY4" fmla="*/ 13256 h 104044"/>
                  <a:gd name="connsiteX5" fmla="*/ 162047 w 162047"/>
                  <a:gd name="connsiteY5" fmla="*/ 61840 h 1040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62047" h="104044">
                    <a:moveTo>
                      <a:pt x="0" y="104044"/>
                    </a:moveTo>
                    <a:lnTo>
                      <a:pt x="0" y="13256"/>
                    </a:lnTo>
                    <a:cubicBezTo>
                      <a:pt x="0" y="5957"/>
                      <a:pt x="5969" y="0"/>
                      <a:pt x="13268" y="0"/>
                    </a:cubicBezTo>
                    <a:lnTo>
                      <a:pt x="148780" y="0"/>
                    </a:lnTo>
                    <a:cubicBezTo>
                      <a:pt x="156078" y="0"/>
                      <a:pt x="162047" y="5957"/>
                      <a:pt x="162047" y="13256"/>
                    </a:cubicBezTo>
                    <a:lnTo>
                      <a:pt x="162047" y="6184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223" name="Forma livre: Forma 2222">
                <a:extLst>
                  <a:ext uri="{FF2B5EF4-FFF2-40B4-BE49-F238E27FC236}">
                    <a16:creationId xmlns:a16="http://schemas.microsoft.com/office/drawing/2014/main" id="{EA2CDBDC-AE49-31EC-531E-D87F9A724285}"/>
                  </a:ext>
                </a:extLst>
              </p:cNvPr>
              <p:cNvSpPr/>
              <p:nvPr/>
            </p:nvSpPr>
            <p:spPr>
              <a:xfrm>
                <a:off x="9187024" y="4296823"/>
                <a:ext cx="162047" cy="145188"/>
              </a:xfrm>
              <a:custGeom>
                <a:avLst/>
                <a:gdLst>
                  <a:gd name="connsiteX0" fmla="*/ 162047 w 162047"/>
                  <a:gd name="connsiteY0" fmla="*/ 0 h 145188"/>
                  <a:gd name="connsiteX1" fmla="*/ 162047 w 162047"/>
                  <a:gd name="connsiteY1" fmla="*/ 131509 h 145188"/>
                  <a:gd name="connsiteX2" fmla="*/ 148780 w 162047"/>
                  <a:gd name="connsiteY2" fmla="*/ 145189 h 145188"/>
                  <a:gd name="connsiteX3" fmla="*/ 13268 w 162047"/>
                  <a:gd name="connsiteY3" fmla="*/ 145189 h 145188"/>
                  <a:gd name="connsiteX4" fmla="*/ 0 w 162047"/>
                  <a:gd name="connsiteY4" fmla="*/ 131509 h 145188"/>
                  <a:gd name="connsiteX5" fmla="*/ 0 w 162047"/>
                  <a:gd name="connsiteY5" fmla="*/ 41627 h 1451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62047" h="145188">
                    <a:moveTo>
                      <a:pt x="162047" y="0"/>
                    </a:moveTo>
                    <a:lnTo>
                      <a:pt x="162047" y="131509"/>
                    </a:lnTo>
                    <a:cubicBezTo>
                      <a:pt x="162047" y="138808"/>
                      <a:pt x="156078" y="145189"/>
                      <a:pt x="148780" y="145189"/>
                    </a:cubicBezTo>
                    <a:lnTo>
                      <a:pt x="13268" y="145189"/>
                    </a:lnTo>
                    <a:cubicBezTo>
                      <a:pt x="5969" y="145189"/>
                      <a:pt x="0" y="138808"/>
                      <a:pt x="0" y="131509"/>
                    </a:cubicBezTo>
                    <a:lnTo>
                      <a:pt x="0" y="41627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224" name="Forma livre: Forma 2223">
                <a:extLst>
                  <a:ext uri="{FF2B5EF4-FFF2-40B4-BE49-F238E27FC236}">
                    <a16:creationId xmlns:a16="http://schemas.microsoft.com/office/drawing/2014/main" id="{078A9167-512E-6697-CB8D-B1D9A77506EC}"/>
                  </a:ext>
                </a:extLst>
              </p:cNvPr>
              <p:cNvSpPr/>
              <p:nvPr/>
            </p:nvSpPr>
            <p:spPr>
              <a:xfrm>
                <a:off x="9257034" y="4412463"/>
                <a:ext cx="22037" cy="1177"/>
              </a:xfrm>
              <a:custGeom>
                <a:avLst/>
                <a:gdLst>
                  <a:gd name="connsiteX0" fmla="*/ 0 w 22037"/>
                  <a:gd name="connsiteY0" fmla="*/ 0 h 1177"/>
                  <a:gd name="connsiteX1" fmla="*/ 22038 w 22037"/>
                  <a:gd name="connsiteY1" fmla="*/ 0 h 11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2037" h="1177">
                    <a:moveTo>
                      <a:pt x="0" y="0"/>
                    </a:moveTo>
                    <a:lnTo>
                      <a:pt x="22038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2225" name="Gráfico 18">
              <a:extLst>
                <a:ext uri="{FF2B5EF4-FFF2-40B4-BE49-F238E27FC236}">
                  <a16:creationId xmlns:a16="http://schemas.microsoft.com/office/drawing/2014/main" id="{37E5D7CA-B1EA-F811-0FC1-9BD20D3ECF00}"/>
                </a:ext>
              </a:extLst>
            </p:cNvPr>
            <p:cNvGrpSpPr/>
            <p:nvPr/>
          </p:nvGrpSpPr>
          <p:grpSpPr>
            <a:xfrm>
              <a:off x="9099943" y="4207364"/>
              <a:ext cx="336231" cy="134876"/>
              <a:chOff x="9099943" y="4207364"/>
              <a:chExt cx="336231" cy="134876"/>
            </a:xfrm>
            <a:noFill/>
          </p:grpSpPr>
          <p:grpSp>
            <p:nvGrpSpPr>
              <p:cNvPr id="2226" name="Gráfico 18">
                <a:extLst>
                  <a:ext uri="{FF2B5EF4-FFF2-40B4-BE49-F238E27FC236}">
                    <a16:creationId xmlns:a16="http://schemas.microsoft.com/office/drawing/2014/main" id="{BE68D559-7B0D-F7DB-2BF0-A4EA7F0DAB1B}"/>
                  </a:ext>
                </a:extLst>
              </p:cNvPr>
              <p:cNvGrpSpPr/>
              <p:nvPr/>
            </p:nvGrpSpPr>
            <p:grpSpPr>
              <a:xfrm>
                <a:off x="9238858" y="4207364"/>
                <a:ext cx="197317" cy="91330"/>
                <a:chOff x="9238858" y="4207364"/>
                <a:chExt cx="197317" cy="91330"/>
              </a:xfrm>
              <a:noFill/>
            </p:grpSpPr>
            <p:sp>
              <p:nvSpPr>
                <p:cNvPr id="2227" name="Forma livre: Forma 2226">
                  <a:extLst>
                    <a:ext uri="{FF2B5EF4-FFF2-40B4-BE49-F238E27FC236}">
                      <a16:creationId xmlns:a16="http://schemas.microsoft.com/office/drawing/2014/main" id="{A1055E71-8C3C-BBFA-92DF-4F2F352665B6}"/>
                    </a:ext>
                  </a:extLst>
                </p:cNvPr>
                <p:cNvSpPr/>
                <p:nvPr/>
              </p:nvSpPr>
              <p:spPr>
                <a:xfrm>
                  <a:off x="9279661" y="4207364"/>
                  <a:ext cx="156514" cy="91330"/>
                </a:xfrm>
                <a:custGeom>
                  <a:avLst/>
                  <a:gdLst>
                    <a:gd name="connsiteX0" fmla="*/ 31326 w 156514"/>
                    <a:gd name="connsiteY0" fmla="*/ 67703 h 91330"/>
                    <a:gd name="connsiteX1" fmla="*/ 100383 w 156514"/>
                    <a:gd name="connsiteY1" fmla="*/ 67703 h 91330"/>
                    <a:gd name="connsiteX2" fmla="*/ 100383 w 156514"/>
                    <a:gd name="connsiteY2" fmla="*/ 91330 h 91330"/>
                    <a:gd name="connsiteX3" fmla="*/ 156514 w 156514"/>
                    <a:gd name="connsiteY3" fmla="*/ 45665 h 91330"/>
                    <a:gd name="connsiteX4" fmla="*/ 100383 w 156514"/>
                    <a:gd name="connsiteY4" fmla="*/ 0 h 91330"/>
                    <a:gd name="connsiteX5" fmla="*/ 100383 w 156514"/>
                    <a:gd name="connsiteY5" fmla="*/ 25299 h 91330"/>
                    <a:gd name="connsiteX6" fmla="*/ 0 w 156514"/>
                    <a:gd name="connsiteY6" fmla="*/ 25299 h 9133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56514" h="91330">
                      <a:moveTo>
                        <a:pt x="31326" y="67703"/>
                      </a:moveTo>
                      <a:lnTo>
                        <a:pt x="100383" y="67703"/>
                      </a:lnTo>
                      <a:lnTo>
                        <a:pt x="100383" y="91330"/>
                      </a:lnTo>
                      <a:lnTo>
                        <a:pt x="156514" y="45665"/>
                      </a:lnTo>
                      <a:lnTo>
                        <a:pt x="100383" y="0"/>
                      </a:lnTo>
                      <a:lnTo>
                        <a:pt x="100383" y="25299"/>
                      </a:lnTo>
                      <a:lnTo>
                        <a:pt x="0" y="25299"/>
                      </a:lnTo>
                    </a:path>
                  </a:pathLst>
                </a:custGeom>
                <a:noFill/>
                <a:ln w="6350" cap="sq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228" name="Forma livre: Forma 2227">
                  <a:extLst>
                    <a:ext uri="{FF2B5EF4-FFF2-40B4-BE49-F238E27FC236}">
                      <a16:creationId xmlns:a16="http://schemas.microsoft.com/office/drawing/2014/main" id="{911E3568-9A93-CBCE-2F60-2D2E7C7C51E5}"/>
                    </a:ext>
                  </a:extLst>
                </p:cNvPr>
                <p:cNvSpPr/>
                <p:nvPr/>
              </p:nvSpPr>
              <p:spPr>
                <a:xfrm>
                  <a:off x="9238858" y="4232663"/>
                  <a:ext cx="14503" cy="1177"/>
                </a:xfrm>
                <a:custGeom>
                  <a:avLst/>
                  <a:gdLst>
                    <a:gd name="connsiteX0" fmla="*/ 14504 w 14503"/>
                    <a:gd name="connsiteY0" fmla="*/ 0 h 1177"/>
                    <a:gd name="connsiteX1" fmla="*/ 0 w 14503"/>
                    <a:gd name="connsiteY1" fmla="*/ 0 h 117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4503" h="1177">
                      <a:moveTo>
                        <a:pt x="14504" y="0"/>
                      </a:moveTo>
                      <a:lnTo>
                        <a:pt x="0" y="0"/>
                      </a:lnTo>
                    </a:path>
                  </a:pathLst>
                </a:custGeom>
                <a:ln w="6350" cap="sq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2229" name="Gráfico 18">
                <a:extLst>
                  <a:ext uri="{FF2B5EF4-FFF2-40B4-BE49-F238E27FC236}">
                    <a16:creationId xmlns:a16="http://schemas.microsoft.com/office/drawing/2014/main" id="{32C41B43-04EF-E8E9-DBD7-A81F77CF8B6C}"/>
                  </a:ext>
                </a:extLst>
              </p:cNvPr>
              <p:cNvGrpSpPr/>
              <p:nvPr/>
            </p:nvGrpSpPr>
            <p:grpSpPr>
              <a:xfrm>
                <a:off x="9099943" y="4250910"/>
                <a:ext cx="197305" cy="91330"/>
                <a:chOff x="9099943" y="4250910"/>
                <a:chExt cx="197305" cy="91330"/>
              </a:xfrm>
              <a:noFill/>
            </p:grpSpPr>
            <p:sp>
              <p:nvSpPr>
                <p:cNvPr id="2230" name="Forma livre: Forma 2229">
                  <a:extLst>
                    <a:ext uri="{FF2B5EF4-FFF2-40B4-BE49-F238E27FC236}">
                      <a16:creationId xmlns:a16="http://schemas.microsoft.com/office/drawing/2014/main" id="{B6A8F313-9668-050A-25E8-D6DA96498474}"/>
                    </a:ext>
                  </a:extLst>
                </p:cNvPr>
                <p:cNvSpPr/>
                <p:nvPr/>
              </p:nvSpPr>
              <p:spPr>
                <a:xfrm>
                  <a:off x="9099943" y="4250910"/>
                  <a:ext cx="156502" cy="91330"/>
                </a:xfrm>
                <a:custGeom>
                  <a:avLst/>
                  <a:gdLst>
                    <a:gd name="connsiteX0" fmla="*/ 125188 w 156502"/>
                    <a:gd name="connsiteY0" fmla="*/ 23627 h 91330"/>
                    <a:gd name="connsiteX1" fmla="*/ 56131 w 156502"/>
                    <a:gd name="connsiteY1" fmla="*/ 23627 h 91330"/>
                    <a:gd name="connsiteX2" fmla="*/ 56131 w 156502"/>
                    <a:gd name="connsiteY2" fmla="*/ 0 h 91330"/>
                    <a:gd name="connsiteX3" fmla="*/ 0 w 156502"/>
                    <a:gd name="connsiteY3" fmla="*/ 45665 h 91330"/>
                    <a:gd name="connsiteX4" fmla="*/ 56131 w 156502"/>
                    <a:gd name="connsiteY4" fmla="*/ 91330 h 91330"/>
                    <a:gd name="connsiteX5" fmla="*/ 56131 w 156502"/>
                    <a:gd name="connsiteY5" fmla="*/ 66031 h 91330"/>
                    <a:gd name="connsiteX6" fmla="*/ 156502 w 156502"/>
                    <a:gd name="connsiteY6" fmla="*/ 66031 h 9133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56502" h="91330">
                      <a:moveTo>
                        <a:pt x="125188" y="23627"/>
                      </a:moveTo>
                      <a:lnTo>
                        <a:pt x="56131" y="23627"/>
                      </a:lnTo>
                      <a:lnTo>
                        <a:pt x="56131" y="0"/>
                      </a:lnTo>
                      <a:lnTo>
                        <a:pt x="0" y="45665"/>
                      </a:lnTo>
                      <a:lnTo>
                        <a:pt x="56131" y="91330"/>
                      </a:lnTo>
                      <a:lnTo>
                        <a:pt x="56131" y="66031"/>
                      </a:lnTo>
                      <a:lnTo>
                        <a:pt x="156502" y="66031"/>
                      </a:lnTo>
                    </a:path>
                  </a:pathLst>
                </a:custGeom>
                <a:noFill/>
                <a:ln w="6350" cap="sq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231" name="Forma livre: Forma 2230">
                  <a:extLst>
                    <a:ext uri="{FF2B5EF4-FFF2-40B4-BE49-F238E27FC236}">
                      <a16:creationId xmlns:a16="http://schemas.microsoft.com/office/drawing/2014/main" id="{19443C9C-B56D-3D6E-7D40-B221DB091C27}"/>
                    </a:ext>
                  </a:extLst>
                </p:cNvPr>
                <p:cNvSpPr/>
                <p:nvPr/>
              </p:nvSpPr>
              <p:spPr>
                <a:xfrm>
                  <a:off x="9282745" y="4316942"/>
                  <a:ext cx="14503" cy="1177"/>
                </a:xfrm>
                <a:custGeom>
                  <a:avLst/>
                  <a:gdLst>
                    <a:gd name="connsiteX0" fmla="*/ 0 w 14503"/>
                    <a:gd name="connsiteY0" fmla="*/ 0 h 1177"/>
                    <a:gd name="connsiteX1" fmla="*/ 14504 w 14503"/>
                    <a:gd name="connsiteY1" fmla="*/ 0 h 117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4503" h="1177">
                      <a:moveTo>
                        <a:pt x="0" y="0"/>
                      </a:moveTo>
                      <a:lnTo>
                        <a:pt x="14504" y="0"/>
                      </a:lnTo>
                    </a:path>
                  </a:pathLst>
                </a:custGeom>
                <a:ln w="6350" cap="sq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</p:grpSp>
      <p:grpSp>
        <p:nvGrpSpPr>
          <p:cNvPr id="2232" name="Gráfico 18">
            <a:extLst>
              <a:ext uri="{FF2B5EF4-FFF2-40B4-BE49-F238E27FC236}">
                <a16:creationId xmlns:a16="http://schemas.microsoft.com/office/drawing/2014/main" id="{643C8263-56DF-90FA-E18F-E602440D88AB}"/>
              </a:ext>
            </a:extLst>
          </p:cNvPr>
          <p:cNvGrpSpPr/>
          <p:nvPr/>
        </p:nvGrpSpPr>
        <p:grpSpPr>
          <a:xfrm>
            <a:off x="9129469" y="3609892"/>
            <a:ext cx="277176" cy="323715"/>
            <a:chOff x="9129469" y="3609892"/>
            <a:chExt cx="277176" cy="323715"/>
          </a:xfrm>
          <a:noFill/>
        </p:grpSpPr>
        <p:sp>
          <p:nvSpPr>
            <p:cNvPr id="2233" name="Forma livre: Forma 2232">
              <a:extLst>
                <a:ext uri="{FF2B5EF4-FFF2-40B4-BE49-F238E27FC236}">
                  <a16:creationId xmlns:a16="http://schemas.microsoft.com/office/drawing/2014/main" id="{02054FF3-0E9D-5B5A-B7BE-E0565C03F2A1}"/>
                </a:ext>
              </a:extLst>
            </p:cNvPr>
            <p:cNvSpPr/>
            <p:nvPr/>
          </p:nvSpPr>
          <p:spPr>
            <a:xfrm>
              <a:off x="9313777" y="3877337"/>
              <a:ext cx="20625" cy="7781"/>
            </a:xfrm>
            <a:custGeom>
              <a:avLst/>
              <a:gdLst>
                <a:gd name="connsiteX0" fmla="*/ 0 w 20625"/>
                <a:gd name="connsiteY0" fmla="*/ 7782 h 7781"/>
                <a:gd name="connsiteX1" fmla="*/ 20625 w 20625"/>
                <a:gd name="connsiteY1" fmla="*/ 0 h 77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0625" h="7781">
                  <a:moveTo>
                    <a:pt x="0" y="7782"/>
                  </a:moveTo>
                  <a:lnTo>
                    <a:pt x="20625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2234" name="Gráfico 18">
              <a:extLst>
                <a:ext uri="{FF2B5EF4-FFF2-40B4-BE49-F238E27FC236}">
                  <a16:creationId xmlns:a16="http://schemas.microsoft.com/office/drawing/2014/main" id="{68A95072-852F-4665-26ED-573675E3BF56}"/>
                </a:ext>
              </a:extLst>
            </p:cNvPr>
            <p:cNvGrpSpPr/>
            <p:nvPr/>
          </p:nvGrpSpPr>
          <p:grpSpPr>
            <a:xfrm>
              <a:off x="9129469" y="3609892"/>
              <a:ext cx="277176" cy="323715"/>
              <a:chOff x="9129469" y="3609892"/>
              <a:chExt cx="277176" cy="323715"/>
            </a:xfrm>
            <a:noFill/>
          </p:grpSpPr>
          <p:grpSp>
            <p:nvGrpSpPr>
              <p:cNvPr id="2235" name="Gráfico 18">
                <a:extLst>
                  <a:ext uri="{FF2B5EF4-FFF2-40B4-BE49-F238E27FC236}">
                    <a16:creationId xmlns:a16="http://schemas.microsoft.com/office/drawing/2014/main" id="{F28E7D01-5119-BEB1-7C55-05C5A6718BE1}"/>
                  </a:ext>
                </a:extLst>
              </p:cNvPr>
              <p:cNvGrpSpPr/>
              <p:nvPr/>
            </p:nvGrpSpPr>
            <p:grpSpPr>
              <a:xfrm>
                <a:off x="9159101" y="3609892"/>
                <a:ext cx="247544" cy="323715"/>
                <a:chOff x="9159101" y="3609892"/>
                <a:chExt cx="247544" cy="323715"/>
              </a:xfrm>
              <a:noFill/>
            </p:grpSpPr>
            <p:sp>
              <p:nvSpPr>
                <p:cNvPr id="2236" name="Forma livre: Forma 2235">
                  <a:extLst>
                    <a:ext uri="{FF2B5EF4-FFF2-40B4-BE49-F238E27FC236}">
                      <a16:creationId xmlns:a16="http://schemas.microsoft.com/office/drawing/2014/main" id="{231E40EE-AC5C-CAEC-6FFB-8EB26A0D2928}"/>
                    </a:ext>
                  </a:extLst>
                </p:cNvPr>
                <p:cNvSpPr/>
                <p:nvPr/>
              </p:nvSpPr>
              <p:spPr>
                <a:xfrm>
                  <a:off x="9176075" y="3718410"/>
                  <a:ext cx="230569" cy="215197"/>
                </a:xfrm>
                <a:custGeom>
                  <a:avLst/>
                  <a:gdLst>
                    <a:gd name="connsiteX0" fmla="*/ 174055 w 230569"/>
                    <a:gd name="connsiteY0" fmla="*/ 2060 h 215197"/>
                    <a:gd name="connsiteX1" fmla="*/ 220685 w 230569"/>
                    <a:gd name="connsiteY1" fmla="*/ 125129 h 215197"/>
                    <a:gd name="connsiteX2" fmla="*/ 229691 w 230569"/>
                    <a:gd name="connsiteY2" fmla="*/ 148874 h 215197"/>
                    <a:gd name="connsiteX3" fmla="*/ 222145 w 230569"/>
                    <a:gd name="connsiteY3" fmla="*/ 166379 h 215197"/>
                    <a:gd name="connsiteX4" fmla="*/ 95415 w 230569"/>
                    <a:gd name="connsiteY4" fmla="*/ 214387 h 215197"/>
                    <a:gd name="connsiteX5" fmla="*/ 78157 w 230569"/>
                    <a:gd name="connsiteY5" fmla="*/ 206288 h 215197"/>
                    <a:gd name="connsiteX6" fmla="*/ 0 w 230569"/>
                    <a:gd name="connsiteY6" fmla="*/ 0 h 21519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230569" h="215197">
                      <a:moveTo>
                        <a:pt x="174055" y="2060"/>
                      </a:moveTo>
                      <a:lnTo>
                        <a:pt x="220685" y="125129"/>
                      </a:lnTo>
                      <a:lnTo>
                        <a:pt x="229691" y="148874"/>
                      </a:lnTo>
                      <a:cubicBezTo>
                        <a:pt x="232281" y="155702"/>
                        <a:pt x="228961" y="163789"/>
                        <a:pt x="222145" y="166379"/>
                      </a:cubicBezTo>
                      <a:lnTo>
                        <a:pt x="95415" y="214387"/>
                      </a:lnTo>
                      <a:cubicBezTo>
                        <a:pt x="88587" y="216977"/>
                        <a:pt x="80747" y="213116"/>
                        <a:pt x="78157" y="206288"/>
                      </a:cubicBezTo>
                      <a:lnTo>
                        <a:pt x="0" y="0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237" name="Forma livre: Forma 2236">
                  <a:extLst>
                    <a:ext uri="{FF2B5EF4-FFF2-40B4-BE49-F238E27FC236}">
                      <a16:creationId xmlns:a16="http://schemas.microsoft.com/office/drawing/2014/main" id="{AC74B3E2-D111-4F88-8D24-1DA796BCAE14}"/>
                    </a:ext>
                  </a:extLst>
                </p:cNvPr>
                <p:cNvSpPr/>
                <p:nvPr/>
              </p:nvSpPr>
              <p:spPr>
                <a:xfrm>
                  <a:off x="9159101" y="3609892"/>
                  <a:ext cx="180210" cy="88670"/>
                </a:xfrm>
                <a:custGeom>
                  <a:avLst/>
                  <a:gdLst>
                    <a:gd name="connsiteX0" fmla="*/ 9558 w 180210"/>
                    <a:gd name="connsiteY0" fmla="*/ 88670 h 88670"/>
                    <a:gd name="connsiteX1" fmla="*/ 858 w 180210"/>
                    <a:gd name="connsiteY1" fmla="*/ 65973 h 88670"/>
                    <a:gd name="connsiteX2" fmla="*/ 8558 w 180210"/>
                    <a:gd name="connsiteY2" fmla="*/ 48879 h 88670"/>
                    <a:gd name="connsiteX3" fmla="*/ 135276 w 180210"/>
                    <a:gd name="connsiteY3" fmla="*/ 860 h 88670"/>
                    <a:gd name="connsiteX4" fmla="*/ 152369 w 180210"/>
                    <a:gd name="connsiteY4" fmla="*/ 8559 h 88670"/>
                    <a:gd name="connsiteX5" fmla="*/ 167073 w 180210"/>
                    <a:gd name="connsiteY5" fmla="*/ 47361 h 88670"/>
                    <a:gd name="connsiteX6" fmla="*/ 180211 w 180210"/>
                    <a:gd name="connsiteY6" fmla="*/ 82042 h 8867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80210" h="88670">
                      <a:moveTo>
                        <a:pt x="9558" y="88670"/>
                      </a:moveTo>
                      <a:lnTo>
                        <a:pt x="858" y="65973"/>
                      </a:lnTo>
                      <a:cubicBezTo>
                        <a:pt x="-1732" y="59145"/>
                        <a:pt x="1741" y="51458"/>
                        <a:pt x="8558" y="48879"/>
                      </a:cubicBezTo>
                      <a:lnTo>
                        <a:pt x="135276" y="860"/>
                      </a:lnTo>
                      <a:cubicBezTo>
                        <a:pt x="142092" y="-1730"/>
                        <a:pt x="149791" y="1731"/>
                        <a:pt x="152369" y="8559"/>
                      </a:cubicBezTo>
                      <a:lnTo>
                        <a:pt x="167073" y="47361"/>
                      </a:lnTo>
                      <a:lnTo>
                        <a:pt x="180211" y="82042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2238" name="Forma livre: Forma 2237">
                <a:extLst>
                  <a:ext uri="{FF2B5EF4-FFF2-40B4-BE49-F238E27FC236}">
                    <a16:creationId xmlns:a16="http://schemas.microsoft.com/office/drawing/2014/main" id="{F1CF109F-4BA2-BDC2-B7EA-A25C191F237C}"/>
                  </a:ext>
                </a:extLst>
              </p:cNvPr>
              <p:cNvSpPr/>
              <p:nvPr/>
            </p:nvSpPr>
            <p:spPr>
              <a:xfrm>
                <a:off x="9129469" y="3708109"/>
                <a:ext cx="260452" cy="12279"/>
              </a:xfrm>
              <a:custGeom>
                <a:avLst/>
                <a:gdLst>
                  <a:gd name="connsiteX0" fmla="*/ 260452 w 260452"/>
                  <a:gd name="connsiteY0" fmla="*/ 0 h 12279"/>
                  <a:gd name="connsiteX1" fmla="*/ 195386 w 260452"/>
                  <a:gd name="connsiteY1" fmla="*/ 0 h 12279"/>
                  <a:gd name="connsiteX2" fmla="*/ 130120 w 260452"/>
                  <a:gd name="connsiteY2" fmla="*/ 0 h 12279"/>
                  <a:gd name="connsiteX3" fmla="*/ 65054 w 260452"/>
                  <a:gd name="connsiteY3" fmla="*/ 0 h 12279"/>
                  <a:gd name="connsiteX4" fmla="*/ 0 w 260452"/>
                  <a:gd name="connsiteY4" fmla="*/ 0 h 122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60452" h="12279">
                    <a:moveTo>
                      <a:pt x="260452" y="0"/>
                    </a:moveTo>
                    <a:cubicBezTo>
                      <a:pt x="222840" y="27630"/>
                      <a:pt x="195386" y="0"/>
                      <a:pt x="195386" y="0"/>
                    </a:cubicBezTo>
                    <a:cubicBezTo>
                      <a:pt x="157762" y="27630"/>
                      <a:pt x="130120" y="0"/>
                      <a:pt x="130120" y="0"/>
                    </a:cubicBezTo>
                    <a:cubicBezTo>
                      <a:pt x="92484" y="27630"/>
                      <a:pt x="65054" y="0"/>
                      <a:pt x="65054" y="0"/>
                    </a:cubicBezTo>
                    <a:cubicBezTo>
                      <a:pt x="27430" y="27630"/>
                      <a:pt x="0" y="0"/>
                      <a:pt x="0" y="0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2239" name="Gráfico 18">
            <a:extLst>
              <a:ext uri="{FF2B5EF4-FFF2-40B4-BE49-F238E27FC236}">
                <a16:creationId xmlns:a16="http://schemas.microsoft.com/office/drawing/2014/main" id="{4B778608-D5B0-3465-778D-C51F655CA001}"/>
              </a:ext>
            </a:extLst>
          </p:cNvPr>
          <p:cNvGrpSpPr/>
          <p:nvPr/>
        </p:nvGrpSpPr>
        <p:grpSpPr>
          <a:xfrm>
            <a:off x="9164809" y="5196433"/>
            <a:ext cx="202238" cy="293026"/>
            <a:chOff x="9164809" y="5196433"/>
            <a:chExt cx="202238" cy="293026"/>
          </a:xfrm>
        </p:grpSpPr>
        <p:sp>
          <p:nvSpPr>
            <p:cNvPr id="2240" name="Forma livre: Forma 2239">
              <a:extLst>
                <a:ext uri="{FF2B5EF4-FFF2-40B4-BE49-F238E27FC236}">
                  <a16:creationId xmlns:a16="http://schemas.microsoft.com/office/drawing/2014/main" id="{692EDE83-9BC1-B154-C20F-1D00A3C4B079}"/>
                </a:ext>
              </a:extLst>
            </p:cNvPr>
            <p:cNvSpPr/>
            <p:nvPr/>
          </p:nvSpPr>
          <p:spPr>
            <a:xfrm>
              <a:off x="9164809" y="5196433"/>
              <a:ext cx="162047" cy="293026"/>
            </a:xfrm>
            <a:custGeom>
              <a:avLst/>
              <a:gdLst>
                <a:gd name="connsiteX0" fmla="*/ 162047 w 162047"/>
                <a:gd name="connsiteY0" fmla="*/ 219531 h 293026"/>
                <a:gd name="connsiteX1" fmla="*/ 162047 w 162047"/>
                <a:gd name="connsiteY1" fmla="*/ 279347 h 293026"/>
                <a:gd name="connsiteX2" fmla="*/ 148780 w 162047"/>
                <a:gd name="connsiteY2" fmla="*/ 293026 h 293026"/>
                <a:gd name="connsiteX3" fmla="*/ 13268 w 162047"/>
                <a:gd name="connsiteY3" fmla="*/ 293026 h 293026"/>
                <a:gd name="connsiteX4" fmla="*/ 0 w 162047"/>
                <a:gd name="connsiteY4" fmla="*/ 279347 h 293026"/>
                <a:gd name="connsiteX5" fmla="*/ 0 w 162047"/>
                <a:gd name="connsiteY5" fmla="*/ 13267 h 293026"/>
                <a:gd name="connsiteX6" fmla="*/ 13268 w 162047"/>
                <a:gd name="connsiteY6" fmla="*/ 0 h 293026"/>
                <a:gd name="connsiteX7" fmla="*/ 148780 w 162047"/>
                <a:gd name="connsiteY7" fmla="*/ 0 h 293026"/>
                <a:gd name="connsiteX8" fmla="*/ 162047 w 162047"/>
                <a:gd name="connsiteY8" fmla="*/ 13267 h 293026"/>
                <a:gd name="connsiteX9" fmla="*/ 162047 w 162047"/>
                <a:gd name="connsiteY9" fmla="*/ 33751 h 2930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62047" h="293026">
                  <a:moveTo>
                    <a:pt x="162047" y="219531"/>
                  </a:moveTo>
                  <a:lnTo>
                    <a:pt x="162047" y="279347"/>
                  </a:lnTo>
                  <a:cubicBezTo>
                    <a:pt x="162047" y="286658"/>
                    <a:pt x="156078" y="293026"/>
                    <a:pt x="148780" y="293026"/>
                  </a:cubicBezTo>
                  <a:lnTo>
                    <a:pt x="13268" y="293026"/>
                  </a:lnTo>
                  <a:cubicBezTo>
                    <a:pt x="5969" y="293026"/>
                    <a:pt x="0" y="286646"/>
                    <a:pt x="0" y="279347"/>
                  </a:cubicBezTo>
                  <a:lnTo>
                    <a:pt x="0" y="13267"/>
                  </a:lnTo>
                  <a:cubicBezTo>
                    <a:pt x="0" y="5969"/>
                    <a:pt x="5969" y="0"/>
                    <a:pt x="13268" y="0"/>
                  </a:cubicBezTo>
                  <a:lnTo>
                    <a:pt x="148780" y="0"/>
                  </a:lnTo>
                  <a:cubicBezTo>
                    <a:pt x="156078" y="0"/>
                    <a:pt x="162047" y="5957"/>
                    <a:pt x="162047" y="13267"/>
                  </a:cubicBezTo>
                  <a:lnTo>
                    <a:pt x="162047" y="33751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241" name="Forma livre: Forma 2240">
              <a:extLst>
                <a:ext uri="{FF2B5EF4-FFF2-40B4-BE49-F238E27FC236}">
                  <a16:creationId xmlns:a16="http://schemas.microsoft.com/office/drawing/2014/main" id="{2B501A66-92EF-F212-87FB-3CA443AB5753}"/>
                </a:ext>
              </a:extLst>
            </p:cNvPr>
            <p:cNvSpPr/>
            <p:nvPr/>
          </p:nvSpPr>
          <p:spPr>
            <a:xfrm>
              <a:off x="9234820" y="5459899"/>
              <a:ext cx="22026" cy="1177"/>
            </a:xfrm>
            <a:custGeom>
              <a:avLst/>
              <a:gdLst>
                <a:gd name="connsiteX0" fmla="*/ 0 w 22026"/>
                <a:gd name="connsiteY0" fmla="*/ 0 h 1177"/>
                <a:gd name="connsiteX1" fmla="*/ 22026 w 22026"/>
                <a:gd name="connsiteY1" fmla="*/ 0 h 11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2026" h="1177">
                  <a:moveTo>
                    <a:pt x="0" y="0"/>
                  </a:moveTo>
                  <a:lnTo>
                    <a:pt x="22026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2242" name="Gráfico 18">
              <a:extLst>
                <a:ext uri="{FF2B5EF4-FFF2-40B4-BE49-F238E27FC236}">
                  <a16:creationId xmlns:a16="http://schemas.microsoft.com/office/drawing/2014/main" id="{D79E05B5-1C47-91BB-674C-CB2C098B9536}"/>
                </a:ext>
              </a:extLst>
            </p:cNvPr>
            <p:cNvGrpSpPr/>
            <p:nvPr/>
          </p:nvGrpSpPr>
          <p:grpSpPr>
            <a:xfrm>
              <a:off x="9224248" y="5251846"/>
              <a:ext cx="142799" cy="142587"/>
              <a:chOff x="9224248" y="5251846"/>
              <a:chExt cx="142799" cy="142587"/>
            </a:xfrm>
          </p:grpSpPr>
          <p:sp>
            <p:nvSpPr>
              <p:cNvPr id="2243" name="Forma livre: Forma 2242">
                <a:extLst>
                  <a:ext uri="{FF2B5EF4-FFF2-40B4-BE49-F238E27FC236}">
                    <a16:creationId xmlns:a16="http://schemas.microsoft.com/office/drawing/2014/main" id="{B5A4FA04-C486-0D74-7831-8DEEDA560DF9}"/>
                  </a:ext>
                </a:extLst>
              </p:cNvPr>
              <p:cNvSpPr/>
              <p:nvPr/>
            </p:nvSpPr>
            <p:spPr>
              <a:xfrm>
                <a:off x="9277789" y="5333476"/>
                <a:ext cx="28206" cy="27982"/>
              </a:xfrm>
              <a:custGeom>
                <a:avLst/>
                <a:gdLst>
                  <a:gd name="connsiteX0" fmla="*/ 0 w 28206"/>
                  <a:gd name="connsiteY0" fmla="*/ 0 h 27982"/>
                  <a:gd name="connsiteX1" fmla="*/ 28207 w 28206"/>
                  <a:gd name="connsiteY1" fmla="*/ 0 h 27982"/>
                  <a:gd name="connsiteX2" fmla="*/ 28207 w 28206"/>
                  <a:gd name="connsiteY2" fmla="*/ 27983 h 279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8206" h="27982">
                    <a:moveTo>
                      <a:pt x="0" y="0"/>
                    </a:moveTo>
                    <a:lnTo>
                      <a:pt x="28207" y="0"/>
                    </a:lnTo>
                    <a:lnTo>
                      <a:pt x="28207" y="27983"/>
                    </a:lnTo>
                  </a:path>
                </a:pathLst>
              </a:custGeom>
              <a:noFill/>
              <a:ln w="6350" cap="sq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244" name="Forma livre: Forma 2243">
                <a:extLst>
                  <a:ext uri="{FF2B5EF4-FFF2-40B4-BE49-F238E27FC236}">
                    <a16:creationId xmlns:a16="http://schemas.microsoft.com/office/drawing/2014/main" id="{9D267A6C-F4E4-D41A-BC5B-4A9B46EE5A1A}"/>
                  </a:ext>
                </a:extLst>
              </p:cNvPr>
              <p:cNvSpPr/>
              <p:nvPr/>
            </p:nvSpPr>
            <p:spPr>
              <a:xfrm>
                <a:off x="9353509" y="5312815"/>
                <a:ext cx="13479" cy="1177"/>
              </a:xfrm>
              <a:custGeom>
                <a:avLst/>
                <a:gdLst>
                  <a:gd name="connsiteX0" fmla="*/ 0 w 13479"/>
                  <a:gd name="connsiteY0" fmla="*/ 0 h 1177"/>
                  <a:gd name="connsiteX1" fmla="*/ 13479 w 13479"/>
                  <a:gd name="connsiteY1" fmla="*/ 0 h 11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3479" h="1177">
                    <a:moveTo>
                      <a:pt x="0" y="0"/>
                    </a:moveTo>
                    <a:lnTo>
                      <a:pt x="13479" y="0"/>
                    </a:lnTo>
                  </a:path>
                </a:pathLst>
              </a:custGeom>
              <a:ln w="6350" cap="sq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245" name="Forma livre: Forma 2244">
                <a:extLst>
                  <a:ext uri="{FF2B5EF4-FFF2-40B4-BE49-F238E27FC236}">
                    <a16:creationId xmlns:a16="http://schemas.microsoft.com/office/drawing/2014/main" id="{A232C5CD-2141-B9D3-0D34-B36DFBD23FD8}"/>
                  </a:ext>
                </a:extLst>
              </p:cNvPr>
              <p:cNvSpPr/>
              <p:nvPr/>
            </p:nvSpPr>
            <p:spPr>
              <a:xfrm>
                <a:off x="9277718" y="5312815"/>
                <a:ext cx="6827" cy="1177"/>
              </a:xfrm>
              <a:custGeom>
                <a:avLst/>
                <a:gdLst>
                  <a:gd name="connsiteX0" fmla="*/ 0 w 6827"/>
                  <a:gd name="connsiteY0" fmla="*/ 0 h 1177"/>
                  <a:gd name="connsiteX1" fmla="*/ 6828 w 6827"/>
                  <a:gd name="connsiteY1" fmla="*/ 0 h 11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827" h="1177">
                    <a:moveTo>
                      <a:pt x="0" y="0"/>
                    </a:moveTo>
                    <a:lnTo>
                      <a:pt x="6828" y="0"/>
                    </a:lnTo>
                  </a:path>
                </a:pathLst>
              </a:custGeom>
              <a:ln w="6350" cap="sq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2246" name="Gráfico 18">
                <a:extLst>
                  <a:ext uri="{FF2B5EF4-FFF2-40B4-BE49-F238E27FC236}">
                    <a16:creationId xmlns:a16="http://schemas.microsoft.com/office/drawing/2014/main" id="{CA46C7AC-340F-0355-3189-0A0C37170E0D}"/>
                  </a:ext>
                </a:extLst>
              </p:cNvPr>
              <p:cNvGrpSpPr/>
              <p:nvPr/>
            </p:nvGrpSpPr>
            <p:grpSpPr>
              <a:xfrm>
                <a:off x="9224248" y="5251846"/>
                <a:ext cx="142799" cy="142587"/>
                <a:chOff x="9224248" y="5251846"/>
                <a:chExt cx="142799" cy="142587"/>
              </a:xfrm>
            </p:grpSpPr>
            <p:sp>
              <p:nvSpPr>
                <p:cNvPr id="2247" name="Forma livre: Forma 2246">
                  <a:extLst>
                    <a:ext uri="{FF2B5EF4-FFF2-40B4-BE49-F238E27FC236}">
                      <a16:creationId xmlns:a16="http://schemas.microsoft.com/office/drawing/2014/main" id="{58F6AF70-AAFA-44D8-3DD9-EFDD267CDFED}"/>
                    </a:ext>
                  </a:extLst>
                </p:cNvPr>
                <p:cNvSpPr/>
                <p:nvPr/>
              </p:nvSpPr>
              <p:spPr>
                <a:xfrm>
                  <a:off x="9224248" y="5333476"/>
                  <a:ext cx="19765" cy="1177"/>
                </a:xfrm>
                <a:custGeom>
                  <a:avLst/>
                  <a:gdLst>
                    <a:gd name="connsiteX0" fmla="*/ 0 w 19765"/>
                    <a:gd name="connsiteY0" fmla="*/ 0 h 1177"/>
                    <a:gd name="connsiteX1" fmla="*/ 19766 w 19765"/>
                    <a:gd name="connsiteY1" fmla="*/ 0 h 117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9765" h="1177">
                      <a:moveTo>
                        <a:pt x="0" y="0"/>
                      </a:moveTo>
                      <a:lnTo>
                        <a:pt x="19766" y="0"/>
                      </a:lnTo>
                    </a:path>
                  </a:pathLst>
                </a:custGeom>
                <a:ln w="6350" cap="sq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248" name="Forma livre: Forma 2247">
                  <a:extLst>
                    <a:ext uri="{FF2B5EF4-FFF2-40B4-BE49-F238E27FC236}">
                      <a16:creationId xmlns:a16="http://schemas.microsoft.com/office/drawing/2014/main" id="{EC6B54B8-9494-C894-D75A-71A269CBFA88}"/>
                    </a:ext>
                  </a:extLst>
                </p:cNvPr>
                <p:cNvSpPr/>
                <p:nvPr/>
              </p:nvSpPr>
              <p:spPr>
                <a:xfrm>
                  <a:off x="9224248" y="5312815"/>
                  <a:ext cx="33280" cy="1177"/>
                </a:xfrm>
                <a:custGeom>
                  <a:avLst/>
                  <a:gdLst>
                    <a:gd name="connsiteX0" fmla="*/ 0 w 33280"/>
                    <a:gd name="connsiteY0" fmla="*/ 0 h 1177"/>
                    <a:gd name="connsiteX1" fmla="*/ 33281 w 33280"/>
                    <a:gd name="connsiteY1" fmla="*/ 0 h 117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33280" h="1177">
                      <a:moveTo>
                        <a:pt x="0" y="0"/>
                      </a:moveTo>
                      <a:lnTo>
                        <a:pt x="33281" y="0"/>
                      </a:lnTo>
                    </a:path>
                  </a:pathLst>
                </a:custGeom>
                <a:ln w="6350" cap="sq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grpSp>
              <p:nvGrpSpPr>
                <p:cNvPr id="2249" name="Gráfico 18">
                  <a:extLst>
                    <a:ext uri="{FF2B5EF4-FFF2-40B4-BE49-F238E27FC236}">
                      <a16:creationId xmlns:a16="http://schemas.microsoft.com/office/drawing/2014/main" id="{A583039A-FFAE-9676-A42E-5C62B2245F6A}"/>
                    </a:ext>
                  </a:extLst>
                </p:cNvPr>
                <p:cNvGrpSpPr/>
                <p:nvPr/>
              </p:nvGrpSpPr>
              <p:grpSpPr>
                <a:xfrm>
                  <a:off x="9224248" y="5251846"/>
                  <a:ext cx="142799" cy="142587"/>
                  <a:chOff x="9224248" y="5251846"/>
                  <a:chExt cx="142799" cy="142587"/>
                </a:xfrm>
              </p:grpSpPr>
              <p:sp>
                <p:nvSpPr>
                  <p:cNvPr id="2250" name="Forma livre: Forma 2249">
                    <a:extLst>
                      <a:ext uri="{FF2B5EF4-FFF2-40B4-BE49-F238E27FC236}">
                        <a16:creationId xmlns:a16="http://schemas.microsoft.com/office/drawing/2014/main" id="{7FB6B7B6-C174-FA58-6025-4D3977514754}"/>
                      </a:ext>
                    </a:extLst>
                  </p:cNvPr>
                  <p:cNvSpPr/>
                  <p:nvPr/>
                </p:nvSpPr>
                <p:spPr>
                  <a:xfrm>
                    <a:off x="9305996" y="5386699"/>
                    <a:ext cx="1177" cy="7734"/>
                  </a:xfrm>
                  <a:custGeom>
                    <a:avLst/>
                    <a:gdLst>
                      <a:gd name="connsiteX0" fmla="*/ 0 w 1177"/>
                      <a:gd name="connsiteY0" fmla="*/ 0 h 7734"/>
                      <a:gd name="connsiteX1" fmla="*/ 0 w 1177"/>
                      <a:gd name="connsiteY1" fmla="*/ 7734 h 773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177" h="7734">
                        <a:moveTo>
                          <a:pt x="0" y="0"/>
                        </a:moveTo>
                        <a:lnTo>
                          <a:pt x="0" y="7734"/>
                        </a:lnTo>
                      </a:path>
                    </a:pathLst>
                  </a:custGeom>
                  <a:ln w="6350" cap="sq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2251" name="Forma livre: Forma 2250">
                    <a:extLst>
                      <a:ext uri="{FF2B5EF4-FFF2-40B4-BE49-F238E27FC236}">
                        <a16:creationId xmlns:a16="http://schemas.microsoft.com/office/drawing/2014/main" id="{F9618844-8D09-0ACE-9A5C-74043DAEC12D}"/>
                      </a:ext>
                    </a:extLst>
                  </p:cNvPr>
                  <p:cNvSpPr/>
                  <p:nvPr/>
                </p:nvSpPr>
                <p:spPr>
                  <a:xfrm>
                    <a:off x="9285111" y="5367321"/>
                    <a:ext cx="1177" cy="27111"/>
                  </a:xfrm>
                  <a:custGeom>
                    <a:avLst/>
                    <a:gdLst>
                      <a:gd name="connsiteX0" fmla="*/ 0 w 1177"/>
                      <a:gd name="connsiteY0" fmla="*/ 0 h 27111"/>
                      <a:gd name="connsiteX1" fmla="*/ 0 w 1177"/>
                      <a:gd name="connsiteY1" fmla="*/ 27112 h 2711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177" h="27111">
                        <a:moveTo>
                          <a:pt x="0" y="0"/>
                        </a:moveTo>
                        <a:lnTo>
                          <a:pt x="0" y="27112"/>
                        </a:lnTo>
                      </a:path>
                    </a:pathLst>
                  </a:custGeom>
                  <a:ln w="6350" cap="sq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grpSp>
                <p:nvGrpSpPr>
                  <p:cNvPr id="2252" name="Gráfico 18">
                    <a:extLst>
                      <a:ext uri="{FF2B5EF4-FFF2-40B4-BE49-F238E27FC236}">
                        <a16:creationId xmlns:a16="http://schemas.microsoft.com/office/drawing/2014/main" id="{EDF172F1-42BE-535B-BFB8-1F5C3F49EDAE}"/>
                      </a:ext>
                    </a:extLst>
                  </p:cNvPr>
                  <p:cNvGrpSpPr/>
                  <p:nvPr/>
                </p:nvGrpSpPr>
                <p:grpSpPr>
                  <a:xfrm>
                    <a:off x="9224248" y="5251846"/>
                    <a:ext cx="142799" cy="142587"/>
                    <a:chOff x="9224248" y="5251846"/>
                    <a:chExt cx="142799" cy="142587"/>
                  </a:xfrm>
                </p:grpSpPr>
                <p:sp>
                  <p:nvSpPr>
                    <p:cNvPr id="2253" name="Forma livre: Forma 2252">
                      <a:extLst>
                        <a:ext uri="{FF2B5EF4-FFF2-40B4-BE49-F238E27FC236}">
                          <a16:creationId xmlns:a16="http://schemas.microsoft.com/office/drawing/2014/main" id="{577FEDA5-02C7-81DE-4E98-4A9D7F3062B7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9285111" y="5251846"/>
                      <a:ext cx="1177" cy="22296"/>
                    </a:xfrm>
                    <a:custGeom>
                      <a:avLst/>
                      <a:gdLst>
                        <a:gd name="connsiteX0" fmla="*/ 0 w 1177"/>
                        <a:gd name="connsiteY0" fmla="*/ 0 h 22296"/>
                        <a:gd name="connsiteX1" fmla="*/ 0 w 1177"/>
                        <a:gd name="connsiteY1" fmla="*/ 22297 h 22296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1177" h="22296">
                          <a:moveTo>
                            <a:pt x="0" y="0"/>
                          </a:moveTo>
                          <a:lnTo>
                            <a:pt x="0" y="22297"/>
                          </a:lnTo>
                        </a:path>
                      </a:pathLst>
                    </a:custGeom>
                    <a:ln w="6350" cap="sq">
                      <a:solidFill>
                        <a:schemeClr val="accent2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pt-PT"/>
                    </a:p>
                  </p:txBody>
                </p:sp>
                <p:sp>
                  <p:nvSpPr>
                    <p:cNvPr id="2254" name="Forma livre: Forma 2253">
                      <a:extLst>
                        <a:ext uri="{FF2B5EF4-FFF2-40B4-BE49-F238E27FC236}">
                          <a16:creationId xmlns:a16="http://schemas.microsoft.com/office/drawing/2014/main" id="{CF6F9E29-E494-F157-02B6-765B6A1019FB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9305996" y="5251846"/>
                      <a:ext cx="61051" cy="81629"/>
                    </a:xfrm>
                    <a:custGeom>
                      <a:avLst/>
                      <a:gdLst>
                        <a:gd name="connsiteX0" fmla="*/ 0 w 61051"/>
                        <a:gd name="connsiteY0" fmla="*/ 0 h 81629"/>
                        <a:gd name="connsiteX1" fmla="*/ 0 w 61051"/>
                        <a:gd name="connsiteY1" fmla="*/ 60969 h 81629"/>
                        <a:gd name="connsiteX2" fmla="*/ 26570 w 61051"/>
                        <a:gd name="connsiteY2" fmla="*/ 60969 h 81629"/>
                        <a:gd name="connsiteX3" fmla="*/ 26570 w 61051"/>
                        <a:gd name="connsiteY3" fmla="*/ 81630 h 81629"/>
                        <a:gd name="connsiteX4" fmla="*/ 61052 w 61051"/>
                        <a:gd name="connsiteY4" fmla="*/ 81630 h 81629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61051" h="81629">
                          <a:moveTo>
                            <a:pt x="0" y="0"/>
                          </a:moveTo>
                          <a:lnTo>
                            <a:pt x="0" y="60969"/>
                          </a:lnTo>
                          <a:lnTo>
                            <a:pt x="26570" y="60969"/>
                          </a:lnTo>
                          <a:lnTo>
                            <a:pt x="26570" y="81630"/>
                          </a:lnTo>
                          <a:lnTo>
                            <a:pt x="61052" y="81630"/>
                          </a:lnTo>
                        </a:path>
                      </a:pathLst>
                    </a:custGeom>
                    <a:noFill/>
                    <a:ln w="6350" cap="sq">
                      <a:solidFill>
                        <a:schemeClr val="accent2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pt-PT"/>
                    </a:p>
                  </p:txBody>
                </p:sp>
                <p:grpSp>
                  <p:nvGrpSpPr>
                    <p:cNvPr id="2255" name="Gráfico 18">
                      <a:extLst>
                        <a:ext uri="{FF2B5EF4-FFF2-40B4-BE49-F238E27FC236}">
                          <a16:creationId xmlns:a16="http://schemas.microsoft.com/office/drawing/2014/main" id="{9E07C5FC-C481-DDFC-FEB7-63EE169E51D6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9224248" y="5251846"/>
                      <a:ext cx="142740" cy="142587"/>
                      <a:chOff x="9224248" y="5251846"/>
                      <a:chExt cx="142740" cy="142587"/>
                    </a:xfrm>
                  </p:grpSpPr>
                  <p:grpSp>
                    <p:nvGrpSpPr>
                      <p:cNvPr id="2256" name="Gráfico 18">
                        <a:extLst>
                          <a:ext uri="{FF2B5EF4-FFF2-40B4-BE49-F238E27FC236}">
                            <a16:creationId xmlns:a16="http://schemas.microsoft.com/office/drawing/2014/main" id="{7302CEF3-08DB-33A4-BB68-2726D5E4902A}"/>
                          </a:ext>
                        </a:extLst>
                      </p:cNvPr>
                      <p:cNvGrpSpPr/>
                      <p:nvPr/>
                    </p:nvGrpSpPr>
                    <p:grpSpPr>
                      <a:xfrm>
                        <a:off x="9224248" y="5251846"/>
                        <a:ext cx="40261" cy="40261"/>
                        <a:chOff x="9224248" y="5251846"/>
                        <a:chExt cx="40261" cy="40261"/>
                      </a:xfrm>
                    </p:grpSpPr>
                    <p:sp>
                      <p:nvSpPr>
                        <p:cNvPr id="2257" name="Forma livre: Forma 2256">
                          <a:extLst>
                            <a:ext uri="{FF2B5EF4-FFF2-40B4-BE49-F238E27FC236}">
                              <a16:creationId xmlns:a16="http://schemas.microsoft.com/office/drawing/2014/main" id="{27AABAAF-FE4B-F786-ABFC-A9CF1D17E2CB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9224248" y="5251846"/>
                          <a:ext cx="40261" cy="40261"/>
                        </a:xfrm>
                        <a:custGeom>
                          <a:avLst/>
                          <a:gdLst>
                            <a:gd name="connsiteX0" fmla="*/ 0 w 40261"/>
                            <a:gd name="connsiteY0" fmla="*/ 0 h 40261"/>
                            <a:gd name="connsiteX1" fmla="*/ 40262 w 40261"/>
                            <a:gd name="connsiteY1" fmla="*/ 0 h 40261"/>
                            <a:gd name="connsiteX2" fmla="*/ 40262 w 40261"/>
                            <a:gd name="connsiteY2" fmla="*/ 40262 h 40261"/>
                            <a:gd name="connsiteX3" fmla="*/ 0 w 40261"/>
                            <a:gd name="connsiteY3" fmla="*/ 40262 h 40261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</a:cxnLst>
                          <a:rect l="l" t="t" r="r" b="b"/>
                          <a:pathLst>
                            <a:path w="40261" h="40261">
                              <a:moveTo>
                                <a:pt x="0" y="0"/>
                              </a:moveTo>
                              <a:lnTo>
                                <a:pt x="40262" y="0"/>
                              </a:lnTo>
                              <a:lnTo>
                                <a:pt x="40262" y="40262"/>
                              </a:lnTo>
                              <a:lnTo>
                                <a:pt x="0" y="40262"/>
                              </a:lnTo>
                              <a:close/>
                            </a:path>
                          </a:pathLst>
                        </a:custGeom>
                        <a:noFill/>
                        <a:ln w="6350" cap="flat">
                          <a:solidFill>
                            <a:schemeClr val="accent2"/>
                          </a:solidFill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pt-PT"/>
                        </a:p>
                      </p:txBody>
                    </p:sp>
                    <p:sp>
                      <p:nvSpPr>
                        <p:cNvPr id="2258" name="Forma livre: Forma 2257">
                          <a:extLst>
                            <a:ext uri="{FF2B5EF4-FFF2-40B4-BE49-F238E27FC236}">
                              <a16:creationId xmlns:a16="http://schemas.microsoft.com/office/drawing/2014/main" id="{E0B28559-452B-5A3D-4F52-47902F56D9F1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9243720" y="5271317"/>
                          <a:ext cx="1330" cy="1330"/>
                        </a:xfrm>
                        <a:custGeom>
                          <a:avLst/>
                          <a:gdLst>
                            <a:gd name="connsiteX0" fmla="*/ 0 w 1330"/>
                            <a:gd name="connsiteY0" fmla="*/ 0 h 1330"/>
                            <a:gd name="connsiteX1" fmla="*/ 1330 w 1330"/>
                            <a:gd name="connsiteY1" fmla="*/ 0 h 1330"/>
                            <a:gd name="connsiteX2" fmla="*/ 1330 w 1330"/>
                            <a:gd name="connsiteY2" fmla="*/ 1330 h 1330"/>
                            <a:gd name="connsiteX3" fmla="*/ 0 w 1330"/>
                            <a:gd name="connsiteY3" fmla="*/ 1330 h 1330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</a:cxnLst>
                          <a:rect l="l" t="t" r="r" b="b"/>
                          <a:pathLst>
                            <a:path w="1330" h="1330">
                              <a:moveTo>
                                <a:pt x="0" y="0"/>
                              </a:moveTo>
                              <a:lnTo>
                                <a:pt x="1330" y="0"/>
                              </a:lnTo>
                              <a:lnTo>
                                <a:pt x="1330" y="1330"/>
                              </a:lnTo>
                              <a:lnTo>
                                <a:pt x="0" y="1330"/>
                              </a:lnTo>
                              <a:close/>
                            </a:path>
                          </a:pathLst>
                        </a:custGeom>
                        <a:solidFill>
                          <a:srgbClr val="394553"/>
                        </a:solidFill>
                        <a:ln w="6350" cap="flat">
                          <a:solidFill>
                            <a:schemeClr val="accent2"/>
                          </a:solidFill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pt-PT"/>
                        </a:p>
                      </p:txBody>
                    </p:sp>
                  </p:grpSp>
                  <p:grpSp>
                    <p:nvGrpSpPr>
                      <p:cNvPr id="2259" name="Gráfico 18">
                        <a:extLst>
                          <a:ext uri="{FF2B5EF4-FFF2-40B4-BE49-F238E27FC236}">
                            <a16:creationId xmlns:a16="http://schemas.microsoft.com/office/drawing/2014/main" id="{FC39DF3D-245C-96A3-F1E3-5CFF12E57455}"/>
                          </a:ext>
                        </a:extLst>
                      </p:cNvPr>
                      <p:cNvGrpSpPr/>
                      <p:nvPr/>
                    </p:nvGrpSpPr>
                    <p:grpSpPr>
                      <a:xfrm>
                        <a:off x="9326727" y="5251846"/>
                        <a:ext cx="40261" cy="40261"/>
                        <a:chOff x="9326727" y="5251846"/>
                        <a:chExt cx="40261" cy="40261"/>
                      </a:xfrm>
                    </p:grpSpPr>
                    <p:sp>
                      <p:nvSpPr>
                        <p:cNvPr id="2260" name="Forma livre: Forma 2259">
                          <a:extLst>
                            <a:ext uri="{FF2B5EF4-FFF2-40B4-BE49-F238E27FC236}">
                              <a16:creationId xmlns:a16="http://schemas.microsoft.com/office/drawing/2014/main" id="{3DC4918B-61DF-9A53-E5C8-9DA5AA415AE2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9326727" y="5251846"/>
                          <a:ext cx="40261" cy="40261"/>
                        </a:xfrm>
                        <a:custGeom>
                          <a:avLst/>
                          <a:gdLst>
                            <a:gd name="connsiteX0" fmla="*/ 0 w 40261"/>
                            <a:gd name="connsiteY0" fmla="*/ 0 h 40261"/>
                            <a:gd name="connsiteX1" fmla="*/ 40262 w 40261"/>
                            <a:gd name="connsiteY1" fmla="*/ 0 h 40261"/>
                            <a:gd name="connsiteX2" fmla="*/ 40262 w 40261"/>
                            <a:gd name="connsiteY2" fmla="*/ 40262 h 40261"/>
                            <a:gd name="connsiteX3" fmla="*/ 0 w 40261"/>
                            <a:gd name="connsiteY3" fmla="*/ 40262 h 40261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</a:cxnLst>
                          <a:rect l="l" t="t" r="r" b="b"/>
                          <a:pathLst>
                            <a:path w="40261" h="40261">
                              <a:moveTo>
                                <a:pt x="0" y="0"/>
                              </a:moveTo>
                              <a:lnTo>
                                <a:pt x="40262" y="0"/>
                              </a:lnTo>
                              <a:lnTo>
                                <a:pt x="40262" y="40262"/>
                              </a:lnTo>
                              <a:lnTo>
                                <a:pt x="0" y="40262"/>
                              </a:lnTo>
                              <a:close/>
                            </a:path>
                          </a:pathLst>
                        </a:custGeom>
                        <a:noFill/>
                        <a:ln w="6350" cap="flat">
                          <a:solidFill>
                            <a:schemeClr val="accent2"/>
                          </a:solidFill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pt-PT"/>
                        </a:p>
                      </p:txBody>
                    </p:sp>
                    <p:sp>
                      <p:nvSpPr>
                        <p:cNvPr id="2261" name="Forma livre: Forma 2260">
                          <a:extLst>
                            <a:ext uri="{FF2B5EF4-FFF2-40B4-BE49-F238E27FC236}">
                              <a16:creationId xmlns:a16="http://schemas.microsoft.com/office/drawing/2014/main" id="{006EE9BD-D38C-825B-E4AB-1DAC4492D2C8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9346187" y="5271317"/>
                          <a:ext cx="1330" cy="1330"/>
                        </a:xfrm>
                        <a:custGeom>
                          <a:avLst/>
                          <a:gdLst>
                            <a:gd name="connsiteX0" fmla="*/ 0 w 1330"/>
                            <a:gd name="connsiteY0" fmla="*/ 0 h 1330"/>
                            <a:gd name="connsiteX1" fmla="*/ 1330 w 1330"/>
                            <a:gd name="connsiteY1" fmla="*/ 0 h 1330"/>
                            <a:gd name="connsiteX2" fmla="*/ 1330 w 1330"/>
                            <a:gd name="connsiteY2" fmla="*/ 1330 h 1330"/>
                            <a:gd name="connsiteX3" fmla="*/ 0 w 1330"/>
                            <a:gd name="connsiteY3" fmla="*/ 1330 h 1330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</a:cxnLst>
                          <a:rect l="l" t="t" r="r" b="b"/>
                          <a:pathLst>
                            <a:path w="1330" h="1330">
                              <a:moveTo>
                                <a:pt x="0" y="0"/>
                              </a:moveTo>
                              <a:lnTo>
                                <a:pt x="1330" y="0"/>
                              </a:lnTo>
                              <a:lnTo>
                                <a:pt x="1330" y="1330"/>
                              </a:lnTo>
                              <a:lnTo>
                                <a:pt x="0" y="1330"/>
                              </a:lnTo>
                              <a:close/>
                            </a:path>
                          </a:pathLst>
                        </a:custGeom>
                        <a:solidFill>
                          <a:srgbClr val="394553"/>
                        </a:solidFill>
                        <a:ln w="6350" cap="flat">
                          <a:solidFill>
                            <a:schemeClr val="accent2"/>
                          </a:solidFill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pt-PT"/>
                        </a:p>
                      </p:txBody>
                    </p:sp>
                  </p:grpSp>
                  <p:grpSp>
                    <p:nvGrpSpPr>
                      <p:cNvPr id="2262" name="Gráfico 18">
                        <a:extLst>
                          <a:ext uri="{FF2B5EF4-FFF2-40B4-BE49-F238E27FC236}">
                            <a16:creationId xmlns:a16="http://schemas.microsoft.com/office/drawing/2014/main" id="{84AC62F4-A158-6016-F69A-AED0551AE97B}"/>
                          </a:ext>
                        </a:extLst>
                      </p:cNvPr>
                      <p:cNvGrpSpPr/>
                      <p:nvPr/>
                    </p:nvGrpSpPr>
                    <p:grpSpPr>
                      <a:xfrm>
                        <a:off x="9224248" y="5354183"/>
                        <a:ext cx="40261" cy="40249"/>
                        <a:chOff x="9224248" y="5354183"/>
                        <a:chExt cx="40261" cy="40249"/>
                      </a:xfrm>
                    </p:grpSpPr>
                    <p:sp>
                      <p:nvSpPr>
                        <p:cNvPr id="2263" name="Forma livre: Forma 2262">
                          <a:extLst>
                            <a:ext uri="{FF2B5EF4-FFF2-40B4-BE49-F238E27FC236}">
                              <a16:creationId xmlns:a16="http://schemas.microsoft.com/office/drawing/2014/main" id="{3075FF31-C7A8-80C8-75C7-29B2270F467C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9224248" y="5354183"/>
                          <a:ext cx="40261" cy="40249"/>
                        </a:xfrm>
                        <a:custGeom>
                          <a:avLst/>
                          <a:gdLst>
                            <a:gd name="connsiteX0" fmla="*/ 0 w 40261"/>
                            <a:gd name="connsiteY0" fmla="*/ 0 h 40249"/>
                            <a:gd name="connsiteX1" fmla="*/ 40262 w 40261"/>
                            <a:gd name="connsiteY1" fmla="*/ 0 h 40249"/>
                            <a:gd name="connsiteX2" fmla="*/ 40262 w 40261"/>
                            <a:gd name="connsiteY2" fmla="*/ 40250 h 40249"/>
                            <a:gd name="connsiteX3" fmla="*/ 0 w 40261"/>
                            <a:gd name="connsiteY3" fmla="*/ 40250 h 40249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</a:cxnLst>
                          <a:rect l="l" t="t" r="r" b="b"/>
                          <a:pathLst>
                            <a:path w="40261" h="40249">
                              <a:moveTo>
                                <a:pt x="0" y="0"/>
                              </a:moveTo>
                              <a:lnTo>
                                <a:pt x="40262" y="0"/>
                              </a:lnTo>
                              <a:lnTo>
                                <a:pt x="40262" y="40250"/>
                              </a:lnTo>
                              <a:lnTo>
                                <a:pt x="0" y="40250"/>
                              </a:lnTo>
                              <a:close/>
                            </a:path>
                          </a:pathLst>
                        </a:custGeom>
                        <a:noFill/>
                        <a:ln w="6350" cap="flat">
                          <a:solidFill>
                            <a:schemeClr val="accent2"/>
                          </a:solidFill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pt-PT"/>
                        </a:p>
                      </p:txBody>
                    </p:sp>
                    <p:sp>
                      <p:nvSpPr>
                        <p:cNvPr id="2264" name="Forma livre: Forma 2263">
                          <a:extLst>
                            <a:ext uri="{FF2B5EF4-FFF2-40B4-BE49-F238E27FC236}">
                              <a16:creationId xmlns:a16="http://schemas.microsoft.com/office/drawing/2014/main" id="{ACEA7D43-08FC-EDA5-58CE-93A037272400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9243720" y="5373631"/>
                          <a:ext cx="1330" cy="1342"/>
                        </a:xfrm>
                        <a:custGeom>
                          <a:avLst/>
                          <a:gdLst>
                            <a:gd name="connsiteX0" fmla="*/ 0 w 1330"/>
                            <a:gd name="connsiteY0" fmla="*/ 0 h 1342"/>
                            <a:gd name="connsiteX1" fmla="*/ 1330 w 1330"/>
                            <a:gd name="connsiteY1" fmla="*/ 0 h 1342"/>
                            <a:gd name="connsiteX2" fmla="*/ 1330 w 1330"/>
                            <a:gd name="connsiteY2" fmla="*/ 1342 h 1342"/>
                            <a:gd name="connsiteX3" fmla="*/ 0 w 1330"/>
                            <a:gd name="connsiteY3" fmla="*/ 1342 h 1342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</a:cxnLst>
                          <a:rect l="l" t="t" r="r" b="b"/>
                          <a:pathLst>
                            <a:path w="1330" h="1342">
                              <a:moveTo>
                                <a:pt x="0" y="0"/>
                              </a:moveTo>
                              <a:lnTo>
                                <a:pt x="1330" y="0"/>
                              </a:lnTo>
                              <a:lnTo>
                                <a:pt x="1330" y="1342"/>
                              </a:lnTo>
                              <a:lnTo>
                                <a:pt x="0" y="1342"/>
                              </a:lnTo>
                              <a:close/>
                            </a:path>
                          </a:pathLst>
                        </a:custGeom>
                        <a:solidFill>
                          <a:srgbClr val="394553"/>
                        </a:solidFill>
                        <a:ln w="6350" cap="flat">
                          <a:solidFill>
                            <a:schemeClr val="accent2"/>
                          </a:solidFill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pt-PT"/>
                        </a:p>
                      </p:txBody>
                    </p:sp>
                  </p:grpSp>
                  <p:grpSp>
                    <p:nvGrpSpPr>
                      <p:cNvPr id="2265" name="Gráfico 18">
                        <a:extLst>
                          <a:ext uri="{FF2B5EF4-FFF2-40B4-BE49-F238E27FC236}">
                            <a16:creationId xmlns:a16="http://schemas.microsoft.com/office/drawing/2014/main" id="{12941E7F-D114-9714-C158-27CA29842C4A}"/>
                          </a:ext>
                        </a:extLst>
                      </p:cNvPr>
                      <p:cNvGrpSpPr/>
                      <p:nvPr/>
                    </p:nvGrpSpPr>
                    <p:grpSpPr>
                      <a:xfrm>
                        <a:off x="9326727" y="5354183"/>
                        <a:ext cx="40261" cy="40249"/>
                        <a:chOff x="9326727" y="5354183"/>
                        <a:chExt cx="40261" cy="40249"/>
                      </a:xfrm>
                    </p:grpSpPr>
                    <p:sp>
                      <p:nvSpPr>
                        <p:cNvPr id="2266" name="Forma livre: Forma 2265">
                          <a:extLst>
                            <a:ext uri="{FF2B5EF4-FFF2-40B4-BE49-F238E27FC236}">
                              <a16:creationId xmlns:a16="http://schemas.microsoft.com/office/drawing/2014/main" id="{03BCAAEA-A1E5-53AB-3A9D-8D48B1547109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9326727" y="5354183"/>
                          <a:ext cx="40261" cy="40249"/>
                        </a:xfrm>
                        <a:custGeom>
                          <a:avLst/>
                          <a:gdLst>
                            <a:gd name="connsiteX0" fmla="*/ 0 w 40261"/>
                            <a:gd name="connsiteY0" fmla="*/ 0 h 40249"/>
                            <a:gd name="connsiteX1" fmla="*/ 40262 w 40261"/>
                            <a:gd name="connsiteY1" fmla="*/ 0 h 40249"/>
                            <a:gd name="connsiteX2" fmla="*/ 40262 w 40261"/>
                            <a:gd name="connsiteY2" fmla="*/ 40250 h 40249"/>
                            <a:gd name="connsiteX3" fmla="*/ 0 w 40261"/>
                            <a:gd name="connsiteY3" fmla="*/ 40250 h 40249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</a:cxnLst>
                          <a:rect l="l" t="t" r="r" b="b"/>
                          <a:pathLst>
                            <a:path w="40261" h="40249">
                              <a:moveTo>
                                <a:pt x="0" y="0"/>
                              </a:moveTo>
                              <a:lnTo>
                                <a:pt x="40262" y="0"/>
                              </a:lnTo>
                              <a:lnTo>
                                <a:pt x="40262" y="40250"/>
                              </a:lnTo>
                              <a:lnTo>
                                <a:pt x="0" y="40250"/>
                              </a:lnTo>
                              <a:close/>
                            </a:path>
                          </a:pathLst>
                        </a:custGeom>
                        <a:noFill/>
                        <a:ln w="6350" cap="flat">
                          <a:solidFill>
                            <a:schemeClr val="accent2"/>
                          </a:solidFill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pt-PT"/>
                        </a:p>
                      </p:txBody>
                    </p:sp>
                    <p:sp>
                      <p:nvSpPr>
                        <p:cNvPr id="2267" name="Forma livre: Forma 2266">
                          <a:extLst>
                            <a:ext uri="{FF2B5EF4-FFF2-40B4-BE49-F238E27FC236}">
                              <a16:creationId xmlns:a16="http://schemas.microsoft.com/office/drawing/2014/main" id="{2C68B60F-AC2D-A0EC-CF65-A59CE5027829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9346187" y="5373631"/>
                          <a:ext cx="1330" cy="1342"/>
                        </a:xfrm>
                        <a:custGeom>
                          <a:avLst/>
                          <a:gdLst>
                            <a:gd name="connsiteX0" fmla="*/ 0 w 1330"/>
                            <a:gd name="connsiteY0" fmla="*/ 0 h 1342"/>
                            <a:gd name="connsiteX1" fmla="*/ 1330 w 1330"/>
                            <a:gd name="connsiteY1" fmla="*/ 0 h 1342"/>
                            <a:gd name="connsiteX2" fmla="*/ 1330 w 1330"/>
                            <a:gd name="connsiteY2" fmla="*/ 1342 h 1342"/>
                            <a:gd name="connsiteX3" fmla="*/ 0 w 1330"/>
                            <a:gd name="connsiteY3" fmla="*/ 1342 h 1342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</a:cxnLst>
                          <a:rect l="l" t="t" r="r" b="b"/>
                          <a:pathLst>
                            <a:path w="1330" h="1342">
                              <a:moveTo>
                                <a:pt x="0" y="0"/>
                              </a:moveTo>
                              <a:lnTo>
                                <a:pt x="1330" y="0"/>
                              </a:lnTo>
                              <a:lnTo>
                                <a:pt x="1330" y="1342"/>
                              </a:lnTo>
                              <a:lnTo>
                                <a:pt x="0" y="1342"/>
                              </a:lnTo>
                              <a:close/>
                            </a:path>
                          </a:pathLst>
                        </a:custGeom>
                        <a:solidFill>
                          <a:srgbClr val="394553"/>
                        </a:solidFill>
                        <a:ln w="6350" cap="flat">
                          <a:solidFill>
                            <a:schemeClr val="accent2"/>
                          </a:solidFill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pt-PT"/>
                        </a:p>
                      </p:txBody>
                    </p:sp>
                  </p:grpSp>
                </p:grpSp>
              </p:grpSp>
            </p:grpSp>
          </p:grpSp>
        </p:grpSp>
      </p:grpSp>
      <p:grpSp>
        <p:nvGrpSpPr>
          <p:cNvPr id="2268" name="Gráfico 18">
            <a:extLst>
              <a:ext uri="{FF2B5EF4-FFF2-40B4-BE49-F238E27FC236}">
                <a16:creationId xmlns:a16="http://schemas.microsoft.com/office/drawing/2014/main" id="{667879E7-C2E5-9936-B8EA-FC526AB805C4}"/>
              </a:ext>
            </a:extLst>
          </p:cNvPr>
          <p:cNvGrpSpPr/>
          <p:nvPr/>
        </p:nvGrpSpPr>
        <p:grpSpPr>
          <a:xfrm>
            <a:off x="9164809" y="5720175"/>
            <a:ext cx="206499" cy="293026"/>
            <a:chOff x="9164809" y="5720175"/>
            <a:chExt cx="206499" cy="293026"/>
          </a:xfrm>
          <a:noFill/>
        </p:grpSpPr>
        <p:grpSp>
          <p:nvGrpSpPr>
            <p:cNvPr id="2269" name="Gráfico 18">
              <a:extLst>
                <a:ext uri="{FF2B5EF4-FFF2-40B4-BE49-F238E27FC236}">
                  <a16:creationId xmlns:a16="http://schemas.microsoft.com/office/drawing/2014/main" id="{2566E42D-4BDD-4C16-147C-AAFAE3A456B0}"/>
                </a:ext>
              </a:extLst>
            </p:cNvPr>
            <p:cNvGrpSpPr/>
            <p:nvPr/>
          </p:nvGrpSpPr>
          <p:grpSpPr>
            <a:xfrm>
              <a:off x="9164809" y="5720175"/>
              <a:ext cx="162047" cy="293026"/>
              <a:chOff x="9164809" y="5720175"/>
              <a:chExt cx="162047" cy="293026"/>
            </a:xfrm>
            <a:noFill/>
          </p:grpSpPr>
          <p:sp>
            <p:nvSpPr>
              <p:cNvPr id="2270" name="Forma livre: Forma 2269">
                <a:extLst>
                  <a:ext uri="{FF2B5EF4-FFF2-40B4-BE49-F238E27FC236}">
                    <a16:creationId xmlns:a16="http://schemas.microsoft.com/office/drawing/2014/main" id="{76E266E1-8BAE-4507-623C-14B67ACA0E83}"/>
                  </a:ext>
                </a:extLst>
              </p:cNvPr>
              <p:cNvSpPr/>
              <p:nvPr/>
            </p:nvSpPr>
            <p:spPr>
              <a:xfrm>
                <a:off x="9164809" y="5720175"/>
                <a:ext cx="162047" cy="293026"/>
              </a:xfrm>
              <a:custGeom>
                <a:avLst/>
                <a:gdLst>
                  <a:gd name="connsiteX0" fmla="*/ 162047 w 162047"/>
                  <a:gd name="connsiteY0" fmla="*/ 213975 h 293026"/>
                  <a:gd name="connsiteX1" fmla="*/ 162047 w 162047"/>
                  <a:gd name="connsiteY1" fmla="*/ 279347 h 293026"/>
                  <a:gd name="connsiteX2" fmla="*/ 148780 w 162047"/>
                  <a:gd name="connsiteY2" fmla="*/ 293026 h 293026"/>
                  <a:gd name="connsiteX3" fmla="*/ 13268 w 162047"/>
                  <a:gd name="connsiteY3" fmla="*/ 293026 h 293026"/>
                  <a:gd name="connsiteX4" fmla="*/ 0 w 162047"/>
                  <a:gd name="connsiteY4" fmla="*/ 279347 h 293026"/>
                  <a:gd name="connsiteX5" fmla="*/ 0 w 162047"/>
                  <a:gd name="connsiteY5" fmla="*/ 13256 h 293026"/>
                  <a:gd name="connsiteX6" fmla="*/ 13268 w 162047"/>
                  <a:gd name="connsiteY6" fmla="*/ 0 h 293026"/>
                  <a:gd name="connsiteX7" fmla="*/ 148780 w 162047"/>
                  <a:gd name="connsiteY7" fmla="*/ 0 h 293026"/>
                  <a:gd name="connsiteX8" fmla="*/ 162047 w 162047"/>
                  <a:gd name="connsiteY8" fmla="*/ 13256 h 293026"/>
                  <a:gd name="connsiteX9" fmla="*/ 162047 w 162047"/>
                  <a:gd name="connsiteY9" fmla="*/ 43746 h 2930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62047" h="293026">
                    <a:moveTo>
                      <a:pt x="162047" y="213975"/>
                    </a:moveTo>
                    <a:lnTo>
                      <a:pt x="162047" y="279347"/>
                    </a:lnTo>
                    <a:cubicBezTo>
                      <a:pt x="162047" y="286646"/>
                      <a:pt x="156078" y="293026"/>
                      <a:pt x="148780" y="293026"/>
                    </a:cubicBezTo>
                    <a:lnTo>
                      <a:pt x="13268" y="293026"/>
                    </a:lnTo>
                    <a:cubicBezTo>
                      <a:pt x="5969" y="293026"/>
                      <a:pt x="0" y="286646"/>
                      <a:pt x="0" y="279347"/>
                    </a:cubicBezTo>
                    <a:lnTo>
                      <a:pt x="0" y="13256"/>
                    </a:lnTo>
                    <a:cubicBezTo>
                      <a:pt x="0" y="5957"/>
                      <a:pt x="5969" y="0"/>
                      <a:pt x="13268" y="0"/>
                    </a:cubicBezTo>
                    <a:lnTo>
                      <a:pt x="148780" y="0"/>
                    </a:lnTo>
                    <a:cubicBezTo>
                      <a:pt x="156078" y="0"/>
                      <a:pt x="162047" y="5957"/>
                      <a:pt x="162047" y="13256"/>
                    </a:cubicBezTo>
                    <a:lnTo>
                      <a:pt x="162047" y="43746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271" name="Forma livre: Forma 2270">
                <a:extLst>
                  <a:ext uri="{FF2B5EF4-FFF2-40B4-BE49-F238E27FC236}">
                    <a16:creationId xmlns:a16="http://schemas.microsoft.com/office/drawing/2014/main" id="{A17E9953-33E8-5A44-8F04-274027503586}"/>
                  </a:ext>
                </a:extLst>
              </p:cNvPr>
              <p:cNvSpPr/>
              <p:nvPr/>
            </p:nvSpPr>
            <p:spPr>
              <a:xfrm>
                <a:off x="9234820" y="5983641"/>
                <a:ext cx="22026" cy="1177"/>
              </a:xfrm>
              <a:custGeom>
                <a:avLst/>
                <a:gdLst>
                  <a:gd name="connsiteX0" fmla="*/ 0 w 22026"/>
                  <a:gd name="connsiteY0" fmla="*/ 0 h 1177"/>
                  <a:gd name="connsiteX1" fmla="*/ 22026 w 22026"/>
                  <a:gd name="connsiteY1" fmla="*/ 0 h 11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2026" h="1177">
                    <a:moveTo>
                      <a:pt x="0" y="0"/>
                    </a:moveTo>
                    <a:lnTo>
                      <a:pt x="22026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2272" name="Gráfico 18">
              <a:extLst>
                <a:ext uri="{FF2B5EF4-FFF2-40B4-BE49-F238E27FC236}">
                  <a16:creationId xmlns:a16="http://schemas.microsoft.com/office/drawing/2014/main" id="{80BD4892-39CC-47F3-D85D-9F3241A01202}"/>
                </a:ext>
              </a:extLst>
            </p:cNvPr>
            <p:cNvGrpSpPr/>
            <p:nvPr/>
          </p:nvGrpSpPr>
          <p:grpSpPr>
            <a:xfrm>
              <a:off x="9216938" y="5771856"/>
              <a:ext cx="154371" cy="154371"/>
              <a:chOff x="9216938" y="5771856"/>
              <a:chExt cx="154371" cy="154371"/>
            </a:xfrm>
            <a:noFill/>
          </p:grpSpPr>
          <p:sp>
            <p:nvSpPr>
              <p:cNvPr id="2273" name="Forma livre: Forma 2272">
                <a:extLst>
                  <a:ext uri="{FF2B5EF4-FFF2-40B4-BE49-F238E27FC236}">
                    <a16:creationId xmlns:a16="http://schemas.microsoft.com/office/drawing/2014/main" id="{C7EAE19E-39FB-BF4B-B7ED-2F07475756B2}"/>
                  </a:ext>
                </a:extLst>
              </p:cNvPr>
              <p:cNvSpPr/>
              <p:nvPr/>
            </p:nvSpPr>
            <p:spPr>
              <a:xfrm>
                <a:off x="9216938" y="5771856"/>
                <a:ext cx="154371" cy="154371"/>
              </a:xfrm>
              <a:custGeom>
                <a:avLst/>
                <a:gdLst>
                  <a:gd name="connsiteX0" fmla="*/ 62770 w 154371"/>
                  <a:gd name="connsiteY0" fmla="*/ 20684 h 154371"/>
                  <a:gd name="connsiteX1" fmla="*/ 47525 w 154371"/>
                  <a:gd name="connsiteY1" fmla="*/ 26982 h 154371"/>
                  <a:gd name="connsiteX2" fmla="*/ 30396 w 154371"/>
                  <a:gd name="connsiteY2" fmla="*/ 14833 h 154371"/>
                  <a:gd name="connsiteX3" fmla="*/ 14821 w 154371"/>
                  <a:gd name="connsiteY3" fmla="*/ 30408 h 154371"/>
                  <a:gd name="connsiteX4" fmla="*/ 26970 w 154371"/>
                  <a:gd name="connsiteY4" fmla="*/ 47537 h 154371"/>
                  <a:gd name="connsiteX5" fmla="*/ 20708 w 154371"/>
                  <a:gd name="connsiteY5" fmla="*/ 62653 h 154371"/>
                  <a:gd name="connsiteX6" fmla="*/ 0 w 154371"/>
                  <a:gd name="connsiteY6" fmla="*/ 66173 h 154371"/>
                  <a:gd name="connsiteX7" fmla="*/ 0 w 154371"/>
                  <a:gd name="connsiteY7" fmla="*/ 88187 h 154371"/>
                  <a:gd name="connsiteX8" fmla="*/ 20708 w 154371"/>
                  <a:gd name="connsiteY8" fmla="*/ 91719 h 154371"/>
                  <a:gd name="connsiteX9" fmla="*/ 27041 w 154371"/>
                  <a:gd name="connsiteY9" fmla="*/ 106940 h 154371"/>
                  <a:gd name="connsiteX10" fmla="*/ 14821 w 154371"/>
                  <a:gd name="connsiteY10" fmla="*/ 123987 h 154371"/>
                  <a:gd name="connsiteX11" fmla="*/ 30396 w 154371"/>
                  <a:gd name="connsiteY11" fmla="*/ 139550 h 154371"/>
                  <a:gd name="connsiteX12" fmla="*/ 47419 w 154371"/>
                  <a:gd name="connsiteY12" fmla="*/ 127330 h 154371"/>
                  <a:gd name="connsiteX13" fmla="*/ 62653 w 154371"/>
                  <a:gd name="connsiteY13" fmla="*/ 133652 h 154371"/>
                  <a:gd name="connsiteX14" fmla="*/ 66161 w 154371"/>
                  <a:gd name="connsiteY14" fmla="*/ 154371 h 154371"/>
                  <a:gd name="connsiteX15" fmla="*/ 88199 w 154371"/>
                  <a:gd name="connsiteY15" fmla="*/ 154371 h 154371"/>
                  <a:gd name="connsiteX16" fmla="*/ 91719 w 154371"/>
                  <a:gd name="connsiteY16" fmla="*/ 133664 h 154371"/>
                  <a:gd name="connsiteX17" fmla="*/ 106952 w 154371"/>
                  <a:gd name="connsiteY17" fmla="*/ 127330 h 154371"/>
                  <a:gd name="connsiteX18" fmla="*/ 123975 w 154371"/>
                  <a:gd name="connsiteY18" fmla="*/ 139550 h 154371"/>
                  <a:gd name="connsiteX19" fmla="*/ 139550 w 154371"/>
                  <a:gd name="connsiteY19" fmla="*/ 123987 h 154371"/>
                  <a:gd name="connsiteX20" fmla="*/ 127330 w 154371"/>
                  <a:gd name="connsiteY20" fmla="*/ 106940 h 154371"/>
                  <a:gd name="connsiteX21" fmla="*/ 133699 w 154371"/>
                  <a:gd name="connsiteY21" fmla="*/ 91589 h 154371"/>
                  <a:gd name="connsiteX22" fmla="*/ 154371 w 154371"/>
                  <a:gd name="connsiteY22" fmla="*/ 88187 h 154371"/>
                  <a:gd name="connsiteX23" fmla="*/ 154371 w 154371"/>
                  <a:gd name="connsiteY23" fmla="*/ 66173 h 154371"/>
                  <a:gd name="connsiteX24" fmla="*/ 133699 w 154371"/>
                  <a:gd name="connsiteY24" fmla="*/ 62782 h 154371"/>
                  <a:gd name="connsiteX25" fmla="*/ 127413 w 154371"/>
                  <a:gd name="connsiteY25" fmla="*/ 47537 h 154371"/>
                  <a:gd name="connsiteX26" fmla="*/ 139562 w 154371"/>
                  <a:gd name="connsiteY26" fmla="*/ 30408 h 154371"/>
                  <a:gd name="connsiteX27" fmla="*/ 123987 w 154371"/>
                  <a:gd name="connsiteY27" fmla="*/ 14833 h 154371"/>
                  <a:gd name="connsiteX28" fmla="*/ 106858 w 154371"/>
                  <a:gd name="connsiteY28" fmla="*/ 26982 h 154371"/>
                  <a:gd name="connsiteX29" fmla="*/ 91613 w 154371"/>
                  <a:gd name="connsiteY29" fmla="*/ 20684 h 154371"/>
                  <a:gd name="connsiteX30" fmla="*/ 88222 w 154371"/>
                  <a:gd name="connsiteY30" fmla="*/ 0 h 154371"/>
                  <a:gd name="connsiteX31" fmla="*/ 66184 w 154371"/>
                  <a:gd name="connsiteY31" fmla="*/ 0 h 1543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</a:cxnLst>
                <a:rect l="l" t="t" r="r" b="b"/>
                <a:pathLst>
                  <a:path w="154371" h="154371">
                    <a:moveTo>
                      <a:pt x="62770" y="20684"/>
                    </a:moveTo>
                    <a:cubicBezTo>
                      <a:pt x="57343" y="22073"/>
                      <a:pt x="52234" y="24204"/>
                      <a:pt x="47525" y="26982"/>
                    </a:cubicBezTo>
                    <a:lnTo>
                      <a:pt x="30396" y="14833"/>
                    </a:lnTo>
                    <a:lnTo>
                      <a:pt x="14821" y="30408"/>
                    </a:lnTo>
                    <a:lnTo>
                      <a:pt x="26970" y="47537"/>
                    </a:lnTo>
                    <a:cubicBezTo>
                      <a:pt x="24204" y="52187"/>
                      <a:pt x="22085" y="57273"/>
                      <a:pt x="20708" y="62653"/>
                    </a:cubicBezTo>
                    <a:lnTo>
                      <a:pt x="0" y="66173"/>
                    </a:lnTo>
                    <a:lnTo>
                      <a:pt x="0" y="88187"/>
                    </a:lnTo>
                    <a:lnTo>
                      <a:pt x="20708" y="91719"/>
                    </a:lnTo>
                    <a:cubicBezTo>
                      <a:pt x="22097" y="97146"/>
                      <a:pt x="24251" y="102255"/>
                      <a:pt x="27041" y="106940"/>
                    </a:cubicBezTo>
                    <a:lnTo>
                      <a:pt x="14821" y="123987"/>
                    </a:lnTo>
                    <a:lnTo>
                      <a:pt x="30396" y="139550"/>
                    </a:lnTo>
                    <a:lnTo>
                      <a:pt x="47419" y="127330"/>
                    </a:lnTo>
                    <a:cubicBezTo>
                      <a:pt x="52116" y="130120"/>
                      <a:pt x="57226" y="132275"/>
                      <a:pt x="62653" y="133652"/>
                    </a:cubicBezTo>
                    <a:lnTo>
                      <a:pt x="66161" y="154371"/>
                    </a:lnTo>
                    <a:lnTo>
                      <a:pt x="88199" y="154371"/>
                    </a:lnTo>
                    <a:lnTo>
                      <a:pt x="91719" y="133664"/>
                    </a:lnTo>
                    <a:cubicBezTo>
                      <a:pt x="97134" y="132275"/>
                      <a:pt x="102255" y="130120"/>
                      <a:pt x="106952" y="127330"/>
                    </a:cubicBezTo>
                    <a:lnTo>
                      <a:pt x="123975" y="139550"/>
                    </a:lnTo>
                    <a:lnTo>
                      <a:pt x="139550" y="123987"/>
                    </a:lnTo>
                    <a:lnTo>
                      <a:pt x="127330" y="106940"/>
                    </a:lnTo>
                    <a:cubicBezTo>
                      <a:pt x="130144" y="102208"/>
                      <a:pt x="132298" y="97063"/>
                      <a:pt x="133699" y="91589"/>
                    </a:cubicBezTo>
                    <a:lnTo>
                      <a:pt x="154371" y="88187"/>
                    </a:lnTo>
                    <a:lnTo>
                      <a:pt x="154371" y="66173"/>
                    </a:lnTo>
                    <a:lnTo>
                      <a:pt x="133699" y="62782"/>
                    </a:lnTo>
                    <a:cubicBezTo>
                      <a:pt x="132322" y="57343"/>
                      <a:pt x="130191" y="52246"/>
                      <a:pt x="127413" y="47537"/>
                    </a:cubicBezTo>
                    <a:lnTo>
                      <a:pt x="139562" y="30408"/>
                    </a:lnTo>
                    <a:lnTo>
                      <a:pt x="123987" y="14833"/>
                    </a:lnTo>
                    <a:lnTo>
                      <a:pt x="106858" y="26982"/>
                    </a:lnTo>
                    <a:cubicBezTo>
                      <a:pt x="102173" y="24192"/>
                      <a:pt x="97040" y="22073"/>
                      <a:pt x="91613" y="20684"/>
                    </a:cubicBezTo>
                    <a:lnTo>
                      <a:pt x="88222" y="0"/>
                    </a:lnTo>
                    <a:lnTo>
                      <a:pt x="66184" y="0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274" name="Forma livre: Forma 2273">
                <a:extLst>
                  <a:ext uri="{FF2B5EF4-FFF2-40B4-BE49-F238E27FC236}">
                    <a16:creationId xmlns:a16="http://schemas.microsoft.com/office/drawing/2014/main" id="{F746CE1C-B129-DABA-0669-62963C509C55}"/>
                  </a:ext>
                </a:extLst>
              </p:cNvPr>
              <p:cNvSpPr/>
              <p:nvPr/>
            </p:nvSpPr>
            <p:spPr>
              <a:xfrm>
                <a:off x="9271561" y="5826480"/>
                <a:ext cx="45111" cy="45111"/>
              </a:xfrm>
              <a:custGeom>
                <a:avLst/>
                <a:gdLst>
                  <a:gd name="connsiteX0" fmla="*/ 16729 w 45111"/>
                  <a:gd name="connsiteY0" fmla="*/ 765 h 45111"/>
                  <a:gd name="connsiteX1" fmla="*/ 22556 w 45111"/>
                  <a:gd name="connsiteY1" fmla="*/ 0 h 45111"/>
                  <a:gd name="connsiteX2" fmla="*/ 45112 w 45111"/>
                  <a:gd name="connsiteY2" fmla="*/ 22556 h 45111"/>
                  <a:gd name="connsiteX3" fmla="*/ 22556 w 45111"/>
                  <a:gd name="connsiteY3" fmla="*/ 45112 h 45111"/>
                  <a:gd name="connsiteX4" fmla="*/ 0 w 45111"/>
                  <a:gd name="connsiteY4" fmla="*/ 22556 h 45111"/>
                  <a:gd name="connsiteX5" fmla="*/ 859 w 45111"/>
                  <a:gd name="connsiteY5" fmla="*/ 16375 h 451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45111" h="45111">
                    <a:moveTo>
                      <a:pt x="16729" y="765"/>
                    </a:moveTo>
                    <a:cubicBezTo>
                      <a:pt x="18600" y="271"/>
                      <a:pt x="20543" y="0"/>
                      <a:pt x="22556" y="0"/>
                    </a:cubicBezTo>
                    <a:cubicBezTo>
                      <a:pt x="35023" y="0"/>
                      <a:pt x="45112" y="10101"/>
                      <a:pt x="45112" y="22556"/>
                    </a:cubicBezTo>
                    <a:cubicBezTo>
                      <a:pt x="45112" y="35011"/>
                      <a:pt x="35023" y="45112"/>
                      <a:pt x="22556" y="45112"/>
                    </a:cubicBezTo>
                    <a:cubicBezTo>
                      <a:pt x="10089" y="45112"/>
                      <a:pt x="0" y="35023"/>
                      <a:pt x="0" y="22556"/>
                    </a:cubicBezTo>
                    <a:cubicBezTo>
                      <a:pt x="0" y="20413"/>
                      <a:pt x="294" y="18330"/>
                      <a:pt x="859" y="16375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2275" name="Gráfico 18">
            <a:extLst>
              <a:ext uri="{FF2B5EF4-FFF2-40B4-BE49-F238E27FC236}">
                <a16:creationId xmlns:a16="http://schemas.microsoft.com/office/drawing/2014/main" id="{8586C5F0-1B6A-9A48-8202-9EADB1FD191F}"/>
              </a:ext>
            </a:extLst>
          </p:cNvPr>
          <p:cNvGrpSpPr/>
          <p:nvPr/>
        </p:nvGrpSpPr>
        <p:grpSpPr>
          <a:xfrm>
            <a:off x="9157134" y="4671291"/>
            <a:ext cx="221839" cy="295863"/>
            <a:chOff x="9157134" y="4671291"/>
            <a:chExt cx="221839" cy="295863"/>
          </a:xfrm>
          <a:noFill/>
        </p:grpSpPr>
        <p:grpSp>
          <p:nvGrpSpPr>
            <p:cNvPr id="2276" name="Gráfico 18">
              <a:extLst>
                <a:ext uri="{FF2B5EF4-FFF2-40B4-BE49-F238E27FC236}">
                  <a16:creationId xmlns:a16="http://schemas.microsoft.com/office/drawing/2014/main" id="{DF2A6B60-96B9-291F-0C72-E0B3FB481A3C}"/>
                </a:ext>
              </a:extLst>
            </p:cNvPr>
            <p:cNvGrpSpPr/>
            <p:nvPr/>
          </p:nvGrpSpPr>
          <p:grpSpPr>
            <a:xfrm>
              <a:off x="9157134" y="4704818"/>
              <a:ext cx="221839" cy="102608"/>
              <a:chOff x="9157134" y="4704818"/>
              <a:chExt cx="221839" cy="102608"/>
            </a:xfrm>
            <a:noFill/>
          </p:grpSpPr>
          <p:sp>
            <p:nvSpPr>
              <p:cNvPr id="2277" name="Forma livre: Forma 2276">
                <a:extLst>
                  <a:ext uri="{FF2B5EF4-FFF2-40B4-BE49-F238E27FC236}">
                    <a16:creationId xmlns:a16="http://schemas.microsoft.com/office/drawing/2014/main" id="{B28535A0-1B30-2525-A0E7-31C1978E5453}"/>
                  </a:ext>
                </a:extLst>
              </p:cNvPr>
              <p:cNvSpPr/>
              <p:nvPr/>
            </p:nvSpPr>
            <p:spPr>
              <a:xfrm>
                <a:off x="9187036" y="4755428"/>
                <a:ext cx="189406" cy="11"/>
              </a:xfrm>
              <a:custGeom>
                <a:avLst/>
                <a:gdLst>
                  <a:gd name="connsiteX0" fmla="*/ 189406 w 189406"/>
                  <a:gd name="connsiteY0" fmla="*/ 12 h 11"/>
                  <a:gd name="connsiteX1" fmla="*/ 0 w 189406"/>
                  <a:gd name="connsiteY1" fmla="*/ 0 h 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89406" h="11">
                    <a:moveTo>
                      <a:pt x="189406" y="12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278" name="Forma livre: Forma 2277">
                <a:extLst>
                  <a:ext uri="{FF2B5EF4-FFF2-40B4-BE49-F238E27FC236}">
                    <a16:creationId xmlns:a16="http://schemas.microsoft.com/office/drawing/2014/main" id="{8EC99AC0-F9A6-183E-6B87-9F6858035473}"/>
                  </a:ext>
                </a:extLst>
              </p:cNvPr>
              <p:cNvSpPr/>
              <p:nvPr/>
            </p:nvSpPr>
            <p:spPr>
              <a:xfrm>
                <a:off x="9268053" y="4705324"/>
                <a:ext cx="1177" cy="26487"/>
              </a:xfrm>
              <a:custGeom>
                <a:avLst/>
                <a:gdLst>
                  <a:gd name="connsiteX0" fmla="*/ 0 w 1177"/>
                  <a:gd name="connsiteY0" fmla="*/ 26488 h 26487"/>
                  <a:gd name="connsiteX1" fmla="*/ 0 w 1177"/>
                  <a:gd name="connsiteY1" fmla="*/ 0 h 264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77" h="26487">
                    <a:moveTo>
                      <a:pt x="0" y="26488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2279" name="Gráfico 18">
                <a:extLst>
                  <a:ext uri="{FF2B5EF4-FFF2-40B4-BE49-F238E27FC236}">
                    <a16:creationId xmlns:a16="http://schemas.microsoft.com/office/drawing/2014/main" id="{887CC7AC-91CB-F908-5E00-5E6ACDC40E32}"/>
                  </a:ext>
                </a:extLst>
              </p:cNvPr>
              <p:cNvGrpSpPr/>
              <p:nvPr/>
            </p:nvGrpSpPr>
            <p:grpSpPr>
              <a:xfrm>
                <a:off x="9157134" y="4704818"/>
                <a:ext cx="221839" cy="102608"/>
                <a:chOff x="9157134" y="4704818"/>
                <a:chExt cx="221839" cy="102608"/>
              </a:xfrm>
              <a:noFill/>
            </p:grpSpPr>
            <p:sp>
              <p:nvSpPr>
                <p:cNvPr id="2280" name="Forma livre: Forma 2279">
                  <a:extLst>
                    <a:ext uri="{FF2B5EF4-FFF2-40B4-BE49-F238E27FC236}">
                      <a16:creationId xmlns:a16="http://schemas.microsoft.com/office/drawing/2014/main" id="{395D8B7A-AB99-079B-BEAB-6F63FEA4EEB8}"/>
                    </a:ext>
                  </a:extLst>
                </p:cNvPr>
                <p:cNvSpPr/>
                <p:nvPr/>
              </p:nvSpPr>
              <p:spPr>
                <a:xfrm>
                  <a:off x="9212358" y="4779667"/>
                  <a:ext cx="55235" cy="27759"/>
                </a:xfrm>
                <a:custGeom>
                  <a:avLst/>
                  <a:gdLst>
                    <a:gd name="connsiteX0" fmla="*/ 55236 w 55235"/>
                    <a:gd name="connsiteY0" fmla="*/ 0 h 27759"/>
                    <a:gd name="connsiteX1" fmla="*/ 27477 w 55235"/>
                    <a:gd name="connsiteY1" fmla="*/ 27759 h 27759"/>
                    <a:gd name="connsiteX2" fmla="*/ 0 w 55235"/>
                    <a:gd name="connsiteY2" fmla="*/ 0 h 2775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55235" h="27759">
                      <a:moveTo>
                        <a:pt x="55236" y="0"/>
                      </a:moveTo>
                      <a:cubicBezTo>
                        <a:pt x="55236" y="15328"/>
                        <a:pt x="42816" y="27759"/>
                        <a:pt x="27477" y="27759"/>
                      </a:cubicBezTo>
                      <a:cubicBezTo>
                        <a:pt x="12137" y="27759"/>
                        <a:pt x="0" y="15339"/>
                        <a:pt x="0" y="0"/>
                      </a:cubicBez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281" name="Forma livre: Forma 2280">
                  <a:extLst>
                    <a:ext uri="{FF2B5EF4-FFF2-40B4-BE49-F238E27FC236}">
                      <a16:creationId xmlns:a16="http://schemas.microsoft.com/office/drawing/2014/main" id="{51FD3E4B-07BD-F80F-3EA7-EA5D7F6D272B}"/>
                    </a:ext>
                  </a:extLst>
                </p:cNvPr>
                <p:cNvSpPr/>
                <p:nvPr/>
              </p:nvSpPr>
              <p:spPr>
                <a:xfrm>
                  <a:off x="9267582" y="4779667"/>
                  <a:ext cx="55553" cy="27759"/>
                </a:xfrm>
                <a:custGeom>
                  <a:avLst/>
                  <a:gdLst>
                    <a:gd name="connsiteX0" fmla="*/ 55554 w 55553"/>
                    <a:gd name="connsiteY0" fmla="*/ 0 h 27759"/>
                    <a:gd name="connsiteX1" fmla="*/ 27759 w 55553"/>
                    <a:gd name="connsiteY1" fmla="*/ 27759 h 27759"/>
                    <a:gd name="connsiteX2" fmla="*/ 0 w 55553"/>
                    <a:gd name="connsiteY2" fmla="*/ 0 h 2775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55553" h="27759">
                      <a:moveTo>
                        <a:pt x="55554" y="0"/>
                      </a:moveTo>
                      <a:cubicBezTo>
                        <a:pt x="55554" y="15328"/>
                        <a:pt x="43099" y="27759"/>
                        <a:pt x="27759" y="27759"/>
                      </a:cubicBezTo>
                      <a:cubicBezTo>
                        <a:pt x="12420" y="27759"/>
                        <a:pt x="0" y="15339"/>
                        <a:pt x="0" y="0"/>
                      </a:cubicBez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282" name="Forma livre: Forma 2281">
                  <a:extLst>
                    <a:ext uri="{FF2B5EF4-FFF2-40B4-BE49-F238E27FC236}">
                      <a16:creationId xmlns:a16="http://schemas.microsoft.com/office/drawing/2014/main" id="{7B5D37E9-B333-05FB-5AF4-D607889214E8}"/>
                    </a:ext>
                  </a:extLst>
                </p:cNvPr>
                <p:cNvSpPr/>
                <p:nvPr/>
              </p:nvSpPr>
              <p:spPr>
                <a:xfrm>
                  <a:off x="9157134" y="4704818"/>
                  <a:ext cx="221839" cy="102608"/>
                </a:xfrm>
                <a:custGeom>
                  <a:avLst/>
                  <a:gdLst>
                    <a:gd name="connsiteX0" fmla="*/ 166003 w 221839"/>
                    <a:gd name="connsiteY0" fmla="*/ 74849 h 102608"/>
                    <a:gd name="connsiteX1" fmla="*/ 194080 w 221839"/>
                    <a:gd name="connsiteY1" fmla="*/ 102608 h 102608"/>
                    <a:gd name="connsiteX2" fmla="*/ 221839 w 221839"/>
                    <a:gd name="connsiteY2" fmla="*/ 74849 h 102608"/>
                    <a:gd name="connsiteX3" fmla="*/ 221839 w 221839"/>
                    <a:gd name="connsiteY3" fmla="*/ 50751 h 102608"/>
                    <a:gd name="connsiteX4" fmla="*/ 192526 w 221839"/>
                    <a:gd name="connsiteY4" fmla="*/ 0 h 102608"/>
                    <a:gd name="connsiteX5" fmla="*/ 29608 w 221839"/>
                    <a:gd name="connsiteY5" fmla="*/ 0 h 102608"/>
                    <a:gd name="connsiteX6" fmla="*/ 0 w 221839"/>
                    <a:gd name="connsiteY6" fmla="*/ 50751 h 102608"/>
                    <a:gd name="connsiteX7" fmla="*/ 0 w 221839"/>
                    <a:gd name="connsiteY7" fmla="*/ 74849 h 102608"/>
                    <a:gd name="connsiteX8" fmla="*/ 27759 w 221839"/>
                    <a:gd name="connsiteY8" fmla="*/ 102608 h 102608"/>
                    <a:gd name="connsiteX9" fmla="*/ 55236 w 221839"/>
                    <a:gd name="connsiteY9" fmla="*/ 74849 h 10260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221839" h="102608">
                      <a:moveTo>
                        <a:pt x="166003" y="74849"/>
                      </a:moveTo>
                      <a:cubicBezTo>
                        <a:pt x="166003" y="90176"/>
                        <a:pt x="178752" y="102608"/>
                        <a:pt x="194080" y="102608"/>
                      </a:cubicBezTo>
                      <a:cubicBezTo>
                        <a:pt x="209407" y="102608"/>
                        <a:pt x="221839" y="90188"/>
                        <a:pt x="221839" y="74849"/>
                      </a:cubicBezTo>
                      <a:lnTo>
                        <a:pt x="221839" y="50751"/>
                      </a:lnTo>
                      <a:lnTo>
                        <a:pt x="192526" y="0"/>
                      </a:lnTo>
                      <a:lnTo>
                        <a:pt x="29608" y="0"/>
                      </a:lnTo>
                      <a:lnTo>
                        <a:pt x="0" y="50751"/>
                      </a:lnTo>
                      <a:lnTo>
                        <a:pt x="0" y="74849"/>
                      </a:lnTo>
                      <a:cubicBezTo>
                        <a:pt x="0" y="90176"/>
                        <a:pt x="12420" y="102608"/>
                        <a:pt x="27759" y="102608"/>
                      </a:cubicBezTo>
                      <a:cubicBezTo>
                        <a:pt x="43099" y="102608"/>
                        <a:pt x="55236" y="90188"/>
                        <a:pt x="55236" y="74849"/>
                      </a:cubicBez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2283" name="Gráfico 18">
                <a:extLst>
                  <a:ext uri="{FF2B5EF4-FFF2-40B4-BE49-F238E27FC236}">
                    <a16:creationId xmlns:a16="http://schemas.microsoft.com/office/drawing/2014/main" id="{1F051031-A947-1357-5358-B33B8F3565CB}"/>
                  </a:ext>
                </a:extLst>
              </p:cNvPr>
              <p:cNvGrpSpPr/>
              <p:nvPr/>
            </p:nvGrpSpPr>
            <p:grpSpPr>
              <a:xfrm>
                <a:off x="9216914" y="4705324"/>
                <a:ext cx="102278" cy="26487"/>
                <a:chOff x="9216914" y="4705324"/>
                <a:chExt cx="102278" cy="26487"/>
              </a:xfrm>
            </p:grpSpPr>
            <p:sp>
              <p:nvSpPr>
                <p:cNvPr id="2284" name="Forma livre: Forma 2283">
                  <a:extLst>
                    <a:ext uri="{FF2B5EF4-FFF2-40B4-BE49-F238E27FC236}">
                      <a16:creationId xmlns:a16="http://schemas.microsoft.com/office/drawing/2014/main" id="{FA7E4E08-6868-4B5F-FF15-15C1852D3FF0}"/>
                    </a:ext>
                  </a:extLst>
                </p:cNvPr>
                <p:cNvSpPr/>
                <p:nvPr/>
              </p:nvSpPr>
              <p:spPr>
                <a:xfrm>
                  <a:off x="9216914" y="4705324"/>
                  <a:ext cx="7863" cy="26487"/>
                </a:xfrm>
                <a:custGeom>
                  <a:avLst/>
                  <a:gdLst>
                    <a:gd name="connsiteX0" fmla="*/ 0 w 7863"/>
                    <a:gd name="connsiteY0" fmla="*/ 26488 h 26487"/>
                    <a:gd name="connsiteX1" fmla="*/ 7864 w 7863"/>
                    <a:gd name="connsiteY1" fmla="*/ 0 h 264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7863" h="26487">
                      <a:moveTo>
                        <a:pt x="0" y="26488"/>
                      </a:moveTo>
                      <a:lnTo>
                        <a:pt x="7864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285" name="Forma livre: Forma 2284">
                  <a:extLst>
                    <a:ext uri="{FF2B5EF4-FFF2-40B4-BE49-F238E27FC236}">
                      <a16:creationId xmlns:a16="http://schemas.microsoft.com/office/drawing/2014/main" id="{EDEB2596-C10B-33FF-58CF-DD8899177565}"/>
                    </a:ext>
                  </a:extLst>
                </p:cNvPr>
                <p:cNvSpPr/>
                <p:nvPr/>
              </p:nvSpPr>
              <p:spPr>
                <a:xfrm>
                  <a:off x="9311340" y="4705324"/>
                  <a:ext cx="7852" cy="26487"/>
                </a:xfrm>
                <a:custGeom>
                  <a:avLst/>
                  <a:gdLst>
                    <a:gd name="connsiteX0" fmla="*/ 7852 w 7852"/>
                    <a:gd name="connsiteY0" fmla="*/ 26488 h 26487"/>
                    <a:gd name="connsiteX1" fmla="*/ 0 w 7852"/>
                    <a:gd name="connsiteY1" fmla="*/ 0 h 264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7852" h="26487">
                      <a:moveTo>
                        <a:pt x="7852" y="26488"/>
                      </a:moveTo>
                      <a:lnTo>
                        <a:pt x="0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sp>
          <p:nvSpPr>
            <p:cNvPr id="2286" name="Forma livre: Forma 2285">
              <a:extLst>
                <a:ext uri="{FF2B5EF4-FFF2-40B4-BE49-F238E27FC236}">
                  <a16:creationId xmlns:a16="http://schemas.microsoft.com/office/drawing/2014/main" id="{5400BF13-D6A5-B508-6DDC-EDCD4F9A358F}"/>
                </a:ext>
              </a:extLst>
            </p:cNvPr>
            <p:cNvSpPr/>
            <p:nvPr/>
          </p:nvSpPr>
          <p:spPr>
            <a:xfrm>
              <a:off x="9187036" y="4671291"/>
              <a:ext cx="162047" cy="34316"/>
            </a:xfrm>
            <a:custGeom>
              <a:avLst/>
              <a:gdLst>
                <a:gd name="connsiteX0" fmla="*/ 0 w 162047"/>
                <a:gd name="connsiteY0" fmla="*/ 33540 h 34316"/>
                <a:gd name="connsiteX1" fmla="*/ 0 w 162047"/>
                <a:gd name="connsiteY1" fmla="*/ 13256 h 34316"/>
                <a:gd name="connsiteX2" fmla="*/ 13268 w 162047"/>
                <a:gd name="connsiteY2" fmla="*/ 0 h 34316"/>
                <a:gd name="connsiteX3" fmla="*/ 148780 w 162047"/>
                <a:gd name="connsiteY3" fmla="*/ 0 h 34316"/>
                <a:gd name="connsiteX4" fmla="*/ 162047 w 162047"/>
                <a:gd name="connsiteY4" fmla="*/ 13256 h 34316"/>
                <a:gd name="connsiteX5" fmla="*/ 162047 w 162047"/>
                <a:gd name="connsiteY5" fmla="*/ 34316 h 343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62047" h="34316">
                  <a:moveTo>
                    <a:pt x="0" y="33540"/>
                  </a:moveTo>
                  <a:lnTo>
                    <a:pt x="0" y="13256"/>
                  </a:lnTo>
                  <a:cubicBezTo>
                    <a:pt x="0" y="5957"/>
                    <a:pt x="5969" y="0"/>
                    <a:pt x="13268" y="0"/>
                  </a:cubicBezTo>
                  <a:lnTo>
                    <a:pt x="148780" y="0"/>
                  </a:lnTo>
                  <a:cubicBezTo>
                    <a:pt x="156078" y="0"/>
                    <a:pt x="162047" y="5969"/>
                    <a:pt x="162047" y="13256"/>
                  </a:cubicBezTo>
                  <a:lnTo>
                    <a:pt x="162047" y="34316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287" name="Forma livre: Forma 2286">
              <a:extLst>
                <a:ext uri="{FF2B5EF4-FFF2-40B4-BE49-F238E27FC236}">
                  <a16:creationId xmlns:a16="http://schemas.microsoft.com/office/drawing/2014/main" id="{AC333AF6-81ED-830F-D0FE-798E3D1AE0E1}"/>
                </a:ext>
              </a:extLst>
            </p:cNvPr>
            <p:cNvSpPr/>
            <p:nvPr/>
          </p:nvSpPr>
          <p:spPr>
            <a:xfrm>
              <a:off x="9187024" y="4828758"/>
              <a:ext cx="162047" cy="138396"/>
            </a:xfrm>
            <a:custGeom>
              <a:avLst/>
              <a:gdLst>
                <a:gd name="connsiteX0" fmla="*/ 162047 w 162047"/>
                <a:gd name="connsiteY0" fmla="*/ 0 h 138396"/>
                <a:gd name="connsiteX1" fmla="*/ 162047 w 162047"/>
                <a:gd name="connsiteY1" fmla="*/ 124705 h 138396"/>
                <a:gd name="connsiteX2" fmla="*/ 148780 w 162047"/>
                <a:gd name="connsiteY2" fmla="*/ 138396 h 138396"/>
                <a:gd name="connsiteX3" fmla="*/ 13268 w 162047"/>
                <a:gd name="connsiteY3" fmla="*/ 138396 h 138396"/>
                <a:gd name="connsiteX4" fmla="*/ 0 w 162047"/>
                <a:gd name="connsiteY4" fmla="*/ 124705 h 138396"/>
                <a:gd name="connsiteX5" fmla="*/ 0 w 162047"/>
                <a:gd name="connsiteY5" fmla="*/ 0 h 138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62047" h="138396">
                  <a:moveTo>
                    <a:pt x="162047" y="0"/>
                  </a:moveTo>
                  <a:lnTo>
                    <a:pt x="162047" y="124705"/>
                  </a:lnTo>
                  <a:cubicBezTo>
                    <a:pt x="162047" y="132016"/>
                    <a:pt x="156078" y="138396"/>
                    <a:pt x="148780" y="138396"/>
                  </a:cubicBezTo>
                  <a:lnTo>
                    <a:pt x="13268" y="138396"/>
                  </a:lnTo>
                  <a:cubicBezTo>
                    <a:pt x="5969" y="138396"/>
                    <a:pt x="0" y="132016"/>
                    <a:pt x="0" y="124705"/>
                  </a:cubicBezTo>
                  <a:lnTo>
                    <a:pt x="0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288" name="Forma livre: Forma 2287">
              <a:extLst>
                <a:ext uri="{FF2B5EF4-FFF2-40B4-BE49-F238E27FC236}">
                  <a16:creationId xmlns:a16="http://schemas.microsoft.com/office/drawing/2014/main" id="{FDAA1FE4-5C40-40DC-ED59-B6855859DE8D}"/>
                </a:ext>
              </a:extLst>
            </p:cNvPr>
            <p:cNvSpPr/>
            <p:nvPr/>
          </p:nvSpPr>
          <p:spPr>
            <a:xfrm>
              <a:off x="9257034" y="4937594"/>
              <a:ext cx="22037" cy="1177"/>
            </a:xfrm>
            <a:custGeom>
              <a:avLst/>
              <a:gdLst>
                <a:gd name="connsiteX0" fmla="*/ 0 w 22037"/>
                <a:gd name="connsiteY0" fmla="*/ 0 h 1177"/>
                <a:gd name="connsiteX1" fmla="*/ 22038 w 22037"/>
                <a:gd name="connsiteY1" fmla="*/ 0 h 11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2037" h="1177">
                  <a:moveTo>
                    <a:pt x="0" y="0"/>
                  </a:moveTo>
                  <a:lnTo>
                    <a:pt x="22038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2290" name="Gráfico 19">
            <a:extLst>
              <a:ext uri="{FF2B5EF4-FFF2-40B4-BE49-F238E27FC236}">
                <a16:creationId xmlns:a16="http://schemas.microsoft.com/office/drawing/2014/main" id="{23474E17-F42E-D224-14A6-C5DD8C4E770B}"/>
              </a:ext>
            </a:extLst>
          </p:cNvPr>
          <p:cNvGrpSpPr/>
          <p:nvPr/>
        </p:nvGrpSpPr>
        <p:grpSpPr>
          <a:xfrm>
            <a:off x="10382497" y="3614875"/>
            <a:ext cx="296126" cy="301672"/>
            <a:chOff x="10382497" y="3614875"/>
            <a:chExt cx="296126" cy="301672"/>
          </a:xfrm>
          <a:noFill/>
        </p:grpSpPr>
        <p:grpSp>
          <p:nvGrpSpPr>
            <p:cNvPr id="2291" name="Gráfico 19">
              <a:extLst>
                <a:ext uri="{FF2B5EF4-FFF2-40B4-BE49-F238E27FC236}">
                  <a16:creationId xmlns:a16="http://schemas.microsoft.com/office/drawing/2014/main" id="{E536ABA9-D7FD-2228-0DCC-BB9837F1526A}"/>
                </a:ext>
              </a:extLst>
            </p:cNvPr>
            <p:cNvGrpSpPr/>
            <p:nvPr/>
          </p:nvGrpSpPr>
          <p:grpSpPr>
            <a:xfrm>
              <a:off x="10408672" y="3614875"/>
              <a:ext cx="243800" cy="211677"/>
              <a:chOff x="10408672" y="3614875"/>
              <a:chExt cx="243800" cy="211677"/>
            </a:xfrm>
            <a:noFill/>
          </p:grpSpPr>
          <p:grpSp>
            <p:nvGrpSpPr>
              <p:cNvPr id="2292" name="Gráfico 19">
                <a:extLst>
                  <a:ext uri="{FF2B5EF4-FFF2-40B4-BE49-F238E27FC236}">
                    <a16:creationId xmlns:a16="http://schemas.microsoft.com/office/drawing/2014/main" id="{8B16975A-335D-48C6-CAF4-D63AE5CA561D}"/>
                  </a:ext>
                </a:extLst>
              </p:cNvPr>
              <p:cNvGrpSpPr/>
              <p:nvPr/>
            </p:nvGrpSpPr>
            <p:grpSpPr>
              <a:xfrm>
                <a:off x="10408672" y="3614875"/>
                <a:ext cx="243800" cy="38141"/>
                <a:chOff x="10408672" y="3614875"/>
                <a:chExt cx="243800" cy="38141"/>
              </a:xfrm>
              <a:noFill/>
            </p:grpSpPr>
            <p:sp>
              <p:nvSpPr>
                <p:cNvPr id="2293" name="Forma livre: Forma 2292">
                  <a:extLst>
                    <a:ext uri="{FF2B5EF4-FFF2-40B4-BE49-F238E27FC236}">
                      <a16:creationId xmlns:a16="http://schemas.microsoft.com/office/drawing/2014/main" id="{3FA0CF8E-9BCE-6015-FD6E-2C811D4E966E}"/>
                    </a:ext>
                  </a:extLst>
                </p:cNvPr>
                <p:cNvSpPr/>
                <p:nvPr/>
              </p:nvSpPr>
              <p:spPr>
                <a:xfrm>
                  <a:off x="10408672" y="3614875"/>
                  <a:ext cx="38188" cy="38141"/>
                </a:xfrm>
                <a:custGeom>
                  <a:avLst/>
                  <a:gdLst>
                    <a:gd name="connsiteX0" fmla="*/ 0 w 38188"/>
                    <a:gd name="connsiteY0" fmla="*/ 38141 h 38141"/>
                    <a:gd name="connsiteX1" fmla="*/ 0 w 38188"/>
                    <a:gd name="connsiteY1" fmla="*/ 0 h 38141"/>
                    <a:gd name="connsiteX2" fmla="*/ 38189 w 38188"/>
                    <a:gd name="connsiteY2" fmla="*/ 0 h 3814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38188" h="38141">
                      <a:moveTo>
                        <a:pt x="0" y="38141"/>
                      </a:moveTo>
                      <a:lnTo>
                        <a:pt x="0" y="0"/>
                      </a:lnTo>
                      <a:lnTo>
                        <a:pt x="38189" y="0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294" name="Forma livre: Forma 2293">
                  <a:extLst>
                    <a:ext uri="{FF2B5EF4-FFF2-40B4-BE49-F238E27FC236}">
                      <a16:creationId xmlns:a16="http://schemas.microsoft.com/office/drawing/2014/main" id="{C5C9D36D-22F1-F5DB-5BA9-0EF5C0D5F561}"/>
                    </a:ext>
                  </a:extLst>
                </p:cNvPr>
                <p:cNvSpPr/>
                <p:nvPr/>
              </p:nvSpPr>
              <p:spPr>
                <a:xfrm>
                  <a:off x="10614272" y="3614875"/>
                  <a:ext cx="38200" cy="38141"/>
                </a:xfrm>
                <a:custGeom>
                  <a:avLst/>
                  <a:gdLst>
                    <a:gd name="connsiteX0" fmla="*/ 38200 w 38200"/>
                    <a:gd name="connsiteY0" fmla="*/ 38141 h 38141"/>
                    <a:gd name="connsiteX1" fmla="*/ 38200 w 38200"/>
                    <a:gd name="connsiteY1" fmla="*/ 0 h 38141"/>
                    <a:gd name="connsiteX2" fmla="*/ 0 w 38200"/>
                    <a:gd name="connsiteY2" fmla="*/ 0 h 3814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38200" h="38141">
                      <a:moveTo>
                        <a:pt x="38200" y="38141"/>
                      </a:moveTo>
                      <a:lnTo>
                        <a:pt x="38200" y="0"/>
                      </a:lnTo>
                      <a:lnTo>
                        <a:pt x="0" y="0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2295" name="Gráfico 19">
                <a:extLst>
                  <a:ext uri="{FF2B5EF4-FFF2-40B4-BE49-F238E27FC236}">
                    <a16:creationId xmlns:a16="http://schemas.microsoft.com/office/drawing/2014/main" id="{676B2E5B-F4D3-8C1C-ABA9-C18796A30751}"/>
                  </a:ext>
                </a:extLst>
              </p:cNvPr>
              <p:cNvGrpSpPr/>
              <p:nvPr/>
            </p:nvGrpSpPr>
            <p:grpSpPr>
              <a:xfrm>
                <a:off x="10408672" y="3788399"/>
                <a:ext cx="243800" cy="38153"/>
                <a:chOff x="10408672" y="3788399"/>
                <a:chExt cx="243800" cy="38153"/>
              </a:xfrm>
              <a:noFill/>
            </p:grpSpPr>
            <p:sp>
              <p:nvSpPr>
                <p:cNvPr id="2296" name="Forma livre: Forma 2295">
                  <a:extLst>
                    <a:ext uri="{FF2B5EF4-FFF2-40B4-BE49-F238E27FC236}">
                      <a16:creationId xmlns:a16="http://schemas.microsoft.com/office/drawing/2014/main" id="{349E2412-5105-0FCD-099A-E208F537F1D2}"/>
                    </a:ext>
                  </a:extLst>
                </p:cNvPr>
                <p:cNvSpPr/>
                <p:nvPr/>
              </p:nvSpPr>
              <p:spPr>
                <a:xfrm>
                  <a:off x="10614272" y="3788399"/>
                  <a:ext cx="38200" cy="38153"/>
                </a:xfrm>
                <a:custGeom>
                  <a:avLst/>
                  <a:gdLst>
                    <a:gd name="connsiteX0" fmla="*/ 38200 w 38200"/>
                    <a:gd name="connsiteY0" fmla="*/ 0 h 38153"/>
                    <a:gd name="connsiteX1" fmla="*/ 38200 w 38200"/>
                    <a:gd name="connsiteY1" fmla="*/ 38153 h 38153"/>
                    <a:gd name="connsiteX2" fmla="*/ 0 w 38200"/>
                    <a:gd name="connsiteY2" fmla="*/ 38153 h 3815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38200" h="38153">
                      <a:moveTo>
                        <a:pt x="38200" y="0"/>
                      </a:moveTo>
                      <a:lnTo>
                        <a:pt x="38200" y="38153"/>
                      </a:lnTo>
                      <a:lnTo>
                        <a:pt x="0" y="38153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297" name="Forma livre: Forma 2296">
                  <a:extLst>
                    <a:ext uri="{FF2B5EF4-FFF2-40B4-BE49-F238E27FC236}">
                      <a16:creationId xmlns:a16="http://schemas.microsoft.com/office/drawing/2014/main" id="{3BC87C72-DD4A-F86A-F8FD-FBE7C34BDF6F}"/>
                    </a:ext>
                  </a:extLst>
                </p:cNvPr>
                <p:cNvSpPr/>
                <p:nvPr/>
              </p:nvSpPr>
              <p:spPr>
                <a:xfrm>
                  <a:off x="10408672" y="3788399"/>
                  <a:ext cx="38188" cy="38153"/>
                </a:xfrm>
                <a:custGeom>
                  <a:avLst/>
                  <a:gdLst>
                    <a:gd name="connsiteX0" fmla="*/ 0 w 38188"/>
                    <a:gd name="connsiteY0" fmla="*/ 0 h 38153"/>
                    <a:gd name="connsiteX1" fmla="*/ 0 w 38188"/>
                    <a:gd name="connsiteY1" fmla="*/ 38153 h 38153"/>
                    <a:gd name="connsiteX2" fmla="*/ 38189 w 38188"/>
                    <a:gd name="connsiteY2" fmla="*/ 38153 h 3815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38188" h="38153">
                      <a:moveTo>
                        <a:pt x="0" y="0"/>
                      </a:moveTo>
                      <a:lnTo>
                        <a:pt x="0" y="38153"/>
                      </a:lnTo>
                      <a:lnTo>
                        <a:pt x="38189" y="38153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grpSp>
          <p:nvGrpSpPr>
            <p:cNvPr id="2298" name="Gráfico 19">
              <a:extLst>
                <a:ext uri="{FF2B5EF4-FFF2-40B4-BE49-F238E27FC236}">
                  <a16:creationId xmlns:a16="http://schemas.microsoft.com/office/drawing/2014/main" id="{2C17CB4B-3D29-09D2-184F-47195391C4AC}"/>
                </a:ext>
              </a:extLst>
            </p:cNvPr>
            <p:cNvGrpSpPr/>
            <p:nvPr/>
          </p:nvGrpSpPr>
          <p:grpSpPr>
            <a:xfrm>
              <a:off x="10382497" y="3636703"/>
              <a:ext cx="296126" cy="279845"/>
              <a:chOff x="10382497" y="3636703"/>
              <a:chExt cx="296126" cy="279845"/>
            </a:xfrm>
            <a:noFill/>
          </p:grpSpPr>
          <p:grpSp>
            <p:nvGrpSpPr>
              <p:cNvPr id="2299" name="Gráfico 19">
                <a:extLst>
                  <a:ext uri="{FF2B5EF4-FFF2-40B4-BE49-F238E27FC236}">
                    <a16:creationId xmlns:a16="http://schemas.microsoft.com/office/drawing/2014/main" id="{3362A06B-0DFA-2B1F-937C-1EACE2600C46}"/>
                  </a:ext>
                </a:extLst>
              </p:cNvPr>
              <p:cNvGrpSpPr/>
              <p:nvPr/>
            </p:nvGrpSpPr>
            <p:grpSpPr>
              <a:xfrm>
                <a:off x="10440346" y="3636703"/>
                <a:ext cx="180463" cy="182237"/>
                <a:chOff x="10440346" y="3636703"/>
                <a:chExt cx="180463" cy="182237"/>
              </a:xfrm>
              <a:noFill/>
            </p:grpSpPr>
            <p:sp>
              <p:nvSpPr>
                <p:cNvPr id="2300" name="Forma livre: Forma 2299">
                  <a:extLst>
                    <a:ext uri="{FF2B5EF4-FFF2-40B4-BE49-F238E27FC236}">
                      <a16:creationId xmlns:a16="http://schemas.microsoft.com/office/drawing/2014/main" id="{B6C93CC7-0241-3076-90D9-5CD8D8BAC46D}"/>
                    </a:ext>
                  </a:extLst>
                </p:cNvPr>
                <p:cNvSpPr/>
                <p:nvPr/>
              </p:nvSpPr>
              <p:spPr>
                <a:xfrm>
                  <a:off x="10440346" y="3636703"/>
                  <a:ext cx="180463" cy="159685"/>
                </a:xfrm>
                <a:custGeom>
                  <a:avLst/>
                  <a:gdLst>
                    <a:gd name="connsiteX0" fmla="*/ 0 w 180463"/>
                    <a:gd name="connsiteY0" fmla="*/ 159674 h 159685"/>
                    <a:gd name="connsiteX1" fmla="*/ 0 w 180463"/>
                    <a:gd name="connsiteY1" fmla="*/ 96738 h 159685"/>
                    <a:gd name="connsiteX2" fmla="*/ 62003 w 180463"/>
                    <a:gd name="connsiteY2" fmla="*/ 3285 h 159685"/>
                    <a:gd name="connsiteX3" fmla="*/ 80767 w 180463"/>
                    <a:gd name="connsiteY3" fmla="*/ 5374 h 159685"/>
                    <a:gd name="connsiteX4" fmla="*/ 101018 w 180463"/>
                    <a:gd name="connsiteY4" fmla="*/ 4 h 159685"/>
                    <a:gd name="connsiteX5" fmla="*/ 180463 w 180463"/>
                    <a:gd name="connsiteY5" fmla="*/ 96750 h 159685"/>
                    <a:gd name="connsiteX6" fmla="*/ 180463 w 180463"/>
                    <a:gd name="connsiteY6" fmla="*/ 159686 h 15968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80463" h="159685">
                      <a:moveTo>
                        <a:pt x="0" y="159674"/>
                      </a:moveTo>
                      <a:lnTo>
                        <a:pt x="0" y="96738"/>
                      </a:lnTo>
                      <a:cubicBezTo>
                        <a:pt x="0" y="32398"/>
                        <a:pt x="35462" y="10625"/>
                        <a:pt x="62003" y="3285"/>
                      </a:cubicBezTo>
                      <a:cubicBezTo>
                        <a:pt x="74501" y="748"/>
                        <a:pt x="75740" y="5374"/>
                        <a:pt x="80767" y="5374"/>
                      </a:cubicBezTo>
                      <a:cubicBezTo>
                        <a:pt x="85370" y="5374"/>
                        <a:pt x="87447" y="-173"/>
                        <a:pt x="101018" y="4"/>
                      </a:cubicBezTo>
                      <a:cubicBezTo>
                        <a:pt x="125116" y="2305"/>
                        <a:pt x="180463" y="16125"/>
                        <a:pt x="180463" y="96750"/>
                      </a:cubicBezTo>
                      <a:lnTo>
                        <a:pt x="180463" y="159686"/>
                      </a:ln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301" name="Forma livre: Forma 2300">
                  <a:extLst>
                    <a:ext uri="{FF2B5EF4-FFF2-40B4-BE49-F238E27FC236}">
                      <a16:creationId xmlns:a16="http://schemas.microsoft.com/office/drawing/2014/main" id="{B46D6F8F-3ABB-B85E-76FF-A06FF9BE5E4E}"/>
                    </a:ext>
                  </a:extLst>
                </p:cNvPr>
                <p:cNvSpPr/>
                <p:nvPr/>
              </p:nvSpPr>
              <p:spPr>
                <a:xfrm>
                  <a:off x="10475596" y="3689777"/>
                  <a:ext cx="109963" cy="129163"/>
                </a:xfrm>
                <a:custGeom>
                  <a:avLst/>
                  <a:gdLst>
                    <a:gd name="connsiteX0" fmla="*/ 69155 w 109963"/>
                    <a:gd name="connsiteY0" fmla="*/ 129164 h 129163"/>
                    <a:gd name="connsiteX1" fmla="*/ 92545 w 109963"/>
                    <a:gd name="connsiteY1" fmla="*/ 107084 h 129163"/>
                    <a:gd name="connsiteX2" fmla="*/ 109963 w 109963"/>
                    <a:gd name="connsiteY2" fmla="*/ 50037 h 129163"/>
                    <a:gd name="connsiteX3" fmla="*/ 109963 w 109963"/>
                    <a:gd name="connsiteY3" fmla="*/ 24971 h 129163"/>
                    <a:gd name="connsiteX4" fmla="*/ 58900 w 109963"/>
                    <a:gd name="connsiteY4" fmla="*/ 19979 h 129163"/>
                    <a:gd name="connsiteX5" fmla="*/ 42649 w 109963"/>
                    <a:gd name="connsiteY5" fmla="*/ 0 h 129163"/>
                    <a:gd name="connsiteX6" fmla="*/ 28228 w 109963"/>
                    <a:gd name="connsiteY6" fmla="*/ 22186 h 129163"/>
                    <a:gd name="connsiteX7" fmla="*/ 0 w 109963"/>
                    <a:gd name="connsiteY7" fmla="*/ 25833 h 12916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09963" h="129163">
                      <a:moveTo>
                        <a:pt x="69155" y="129164"/>
                      </a:moveTo>
                      <a:cubicBezTo>
                        <a:pt x="79327" y="124951"/>
                        <a:pt x="86703" y="116395"/>
                        <a:pt x="92545" y="107084"/>
                      </a:cubicBezTo>
                      <a:cubicBezTo>
                        <a:pt x="109125" y="80637"/>
                        <a:pt x="109963" y="50037"/>
                        <a:pt x="109963" y="50037"/>
                      </a:cubicBezTo>
                      <a:lnTo>
                        <a:pt x="109963" y="24971"/>
                      </a:lnTo>
                      <a:cubicBezTo>
                        <a:pt x="96486" y="22930"/>
                        <a:pt x="72211" y="19979"/>
                        <a:pt x="58900" y="19979"/>
                      </a:cubicBezTo>
                      <a:lnTo>
                        <a:pt x="42649" y="0"/>
                      </a:lnTo>
                      <a:lnTo>
                        <a:pt x="28228" y="22186"/>
                      </a:lnTo>
                      <a:cubicBezTo>
                        <a:pt x="16793" y="22186"/>
                        <a:pt x="6644" y="24145"/>
                        <a:pt x="0" y="25833"/>
                      </a:cubicBez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302" name="Forma livre: Forma 2301">
                  <a:extLst>
                    <a:ext uri="{FF2B5EF4-FFF2-40B4-BE49-F238E27FC236}">
                      <a16:creationId xmlns:a16="http://schemas.microsoft.com/office/drawing/2014/main" id="{89D793CC-75DF-0116-E861-BCBD7B52B769}"/>
                    </a:ext>
                  </a:extLst>
                </p:cNvPr>
                <p:cNvSpPr/>
                <p:nvPr/>
              </p:nvSpPr>
              <p:spPr>
                <a:xfrm>
                  <a:off x="10475596" y="3739802"/>
                  <a:ext cx="40808" cy="79126"/>
                </a:xfrm>
                <a:custGeom>
                  <a:avLst/>
                  <a:gdLst>
                    <a:gd name="connsiteX0" fmla="*/ 0 w 40808"/>
                    <a:gd name="connsiteY0" fmla="*/ 0 h 79126"/>
                    <a:gd name="connsiteX1" fmla="*/ 17419 w 40808"/>
                    <a:gd name="connsiteY1" fmla="*/ 57047 h 79126"/>
                    <a:gd name="connsiteX2" fmla="*/ 40808 w 40808"/>
                    <a:gd name="connsiteY2" fmla="*/ 79127 h 7912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40808" h="79126">
                      <a:moveTo>
                        <a:pt x="0" y="0"/>
                      </a:moveTo>
                      <a:cubicBezTo>
                        <a:pt x="0" y="0"/>
                        <a:pt x="826" y="30612"/>
                        <a:pt x="17419" y="57047"/>
                      </a:cubicBezTo>
                      <a:cubicBezTo>
                        <a:pt x="23260" y="66358"/>
                        <a:pt x="30636" y="74914"/>
                        <a:pt x="40808" y="79127"/>
                      </a:cubicBez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2303" name="Forma livre: Forma 2302">
                <a:extLst>
                  <a:ext uri="{FF2B5EF4-FFF2-40B4-BE49-F238E27FC236}">
                    <a16:creationId xmlns:a16="http://schemas.microsoft.com/office/drawing/2014/main" id="{D9D4A974-FFA0-9A0F-3272-121BA7044F13}"/>
                  </a:ext>
                </a:extLst>
              </p:cNvPr>
              <p:cNvSpPr/>
              <p:nvPr/>
            </p:nvSpPr>
            <p:spPr>
              <a:xfrm>
                <a:off x="10382497" y="3839923"/>
                <a:ext cx="296126" cy="76624"/>
              </a:xfrm>
              <a:custGeom>
                <a:avLst/>
                <a:gdLst>
                  <a:gd name="connsiteX0" fmla="*/ 296126 w 296126"/>
                  <a:gd name="connsiteY0" fmla="*/ 76625 h 76624"/>
                  <a:gd name="connsiteX1" fmla="*/ 243257 w 296126"/>
                  <a:gd name="connsiteY1" fmla="*/ 14775 h 76624"/>
                  <a:gd name="connsiteX2" fmla="*/ 194814 w 296126"/>
                  <a:gd name="connsiteY2" fmla="*/ 0 h 76624"/>
                  <a:gd name="connsiteX3" fmla="*/ 148057 w 296126"/>
                  <a:gd name="connsiteY3" fmla="*/ 53211 h 76624"/>
                  <a:gd name="connsiteX4" fmla="*/ 101301 w 296126"/>
                  <a:gd name="connsiteY4" fmla="*/ 0 h 76624"/>
                  <a:gd name="connsiteX5" fmla="*/ 52869 w 296126"/>
                  <a:gd name="connsiteY5" fmla="*/ 14775 h 76624"/>
                  <a:gd name="connsiteX6" fmla="*/ 0 w 296126"/>
                  <a:gd name="connsiteY6" fmla="*/ 76625 h 766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96126" h="76624">
                    <a:moveTo>
                      <a:pt x="296126" y="76625"/>
                    </a:moveTo>
                    <a:cubicBezTo>
                      <a:pt x="296126" y="29255"/>
                      <a:pt x="272678" y="19814"/>
                      <a:pt x="243257" y="14775"/>
                    </a:cubicBezTo>
                    <a:cubicBezTo>
                      <a:pt x="229580" y="12438"/>
                      <a:pt x="209836" y="5381"/>
                      <a:pt x="194814" y="0"/>
                    </a:cubicBezTo>
                    <a:lnTo>
                      <a:pt x="148057" y="53211"/>
                    </a:lnTo>
                    <a:lnTo>
                      <a:pt x="101301" y="0"/>
                    </a:lnTo>
                    <a:cubicBezTo>
                      <a:pt x="86278" y="5370"/>
                      <a:pt x="66547" y="12438"/>
                      <a:pt x="52869" y="14775"/>
                    </a:cubicBezTo>
                    <a:cubicBezTo>
                      <a:pt x="23461" y="19814"/>
                      <a:pt x="0" y="29255"/>
                      <a:pt x="0" y="76625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2304" name="Gráfico 19">
                <a:extLst>
                  <a:ext uri="{FF2B5EF4-FFF2-40B4-BE49-F238E27FC236}">
                    <a16:creationId xmlns:a16="http://schemas.microsoft.com/office/drawing/2014/main" id="{D9FD5C2A-1907-525E-1467-D329FE35DD85}"/>
                  </a:ext>
                </a:extLst>
              </p:cNvPr>
              <p:cNvGrpSpPr/>
              <p:nvPr/>
            </p:nvGrpSpPr>
            <p:grpSpPr>
              <a:xfrm>
                <a:off x="10485356" y="3803988"/>
                <a:ext cx="90432" cy="37362"/>
                <a:chOff x="10485356" y="3803988"/>
                <a:chExt cx="90432" cy="37362"/>
              </a:xfrm>
              <a:noFill/>
            </p:grpSpPr>
            <p:sp>
              <p:nvSpPr>
                <p:cNvPr id="2305" name="Forma livre: Forma 2304">
                  <a:extLst>
                    <a:ext uri="{FF2B5EF4-FFF2-40B4-BE49-F238E27FC236}">
                      <a16:creationId xmlns:a16="http://schemas.microsoft.com/office/drawing/2014/main" id="{E9690B8E-6AEC-0F49-34DC-3615BB46CA9B}"/>
                    </a:ext>
                  </a:extLst>
                </p:cNvPr>
                <p:cNvSpPr/>
                <p:nvPr/>
              </p:nvSpPr>
              <p:spPr>
                <a:xfrm>
                  <a:off x="10485356" y="3803988"/>
                  <a:ext cx="9783" cy="37362"/>
                </a:xfrm>
                <a:custGeom>
                  <a:avLst/>
                  <a:gdLst>
                    <a:gd name="connsiteX0" fmla="*/ 9783 w 9783"/>
                    <a:gd name="connsiteY0" fmla="*/ 0 h 37362"/>
                    <a:gd name="connsiteX1" fmla="*/ 0 w 9783"/>
                    <a:gd name="connsiteY1" fmla="*/ 37362 h 3736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9783" h="37362">
                      <a:moveTo>
                        <a:pt x="9783" y="0"/>
                      </a:moveTo>
                      <a:cubicBezTo>
                        <a:pt x="8957" y="12415"/>
                        <a:pt x="8143" y="18953"/>
                        <a:pt x="0" y="37362"/>
                      </a:cubicBez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306" name="Forma livre: Forma 2305">
                  <a:extLst>
                    <a:ext uri="{FF2B5EF4-FFF2-40B4-BE49-F238E27FC236}">
                      <a16:creationId xmlns:a16="http://schemas.microsoft.com/office/drawing/2014/main" id="{FA84E83F-BC31-913B-22C0-8E2C6F897FB9}"/>
                    </a:ext>
                  </a:extLst>
                </p:cNvPr>
                <p:cNvSpPr/>
                <p:nvPr/>
              </p:nvSpPr>
              <p:spPr>
                <a:xfrm>
                  <a:off x="10566005" y="3803988"/>
                  <a:ext cx="9783" cy="37362"/>
                </a:xfrm>
                <a:custGeom>
                  <a:avLst/>
                  <a:gdLst>
                    <a:gd name="connsiteX0" fmla="*/ 0 w 9783"/>
                    <a:gd name="connsiteY0" fmla="*/ 0 h 37362"/>
                    <a:gd name="connsiteX1" fmla="*/ 9783 w 9783"/>
                    <a:gd name="connsiteY1" fmla="*/ 37362 h 3736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9783" h="37362">
                      <a:moveTo>
                        <a:pt x="0" y="0"/>
                      </a:moveTo>
                      <a:cubicBezTo>
                        <a:pt x="826" y="12415"/>
                        <a:pt x="1640" y="18953"/>
                        <a:pt x="9783" y="37362"/>
                      </a:cubicBez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</p:grpSp>
      <p:grpSp>
        <p:nvGrpSpPr>
          <p:cNvPr id="2307" name="Gráfico 19">
            <a:extLst>
              <a:ext uri="{FF2B5EF4-FFF2-40B4-BE49-F238E27FC236}">
                <a16:creationId xmlns:a16="http://schemas.microsoft.com/office/drawing/2014/main" id="{DBE323CE-3074-0EDB-C70E-5A1683DEE88D}"/>
              </a:ext>
            </a:extLst>
          </p:cNvPr>
          <p:cNvGrpSpPr/>
          <p:nvPr/>
        </p:nvGrpSpPr>
        <p:grpSpPr>
          <a:xfrm>
            <a:off x="10358352" y="5224718"/>
            <a:ext cx="344440" cy="219843"/>
            <a:chOff x="10358352" y="5224718"/>
            <a:chExt cx="344440" cy="219843"/>
          </a:xfrm>
          <a:noFill/>
        </p:grpSpPr>
        <p:grpSp>
          <p:nvGrpSpPr>
            <p:cNvPr id="2308" name="Gráfico 19">
              <a:extLst>
                <a:ext uri="{FF2B5EF4-FFF2-40B4-BE49-F238E27FC236}">
                  <a16:creationId xmlns:a16="http://schemas.microsoft.com/office/drawing/2014/main" id="{8F49D924-0BED-D9B6-2070-6645645EE5A5}"/>
                </a:ext>
              </a:extLst>
            </p:cNvPr>
            <p:cNvGrpSpPr/>
            <p:nvPr/>
          </p:nvGrpSpPr>
          <p:grpSpPr>
            <a:xfrm>
              <a:off x="10358352" y="5224718"/>
              <a:ext cx="344440" cy="219843"/>
              <a:chOff x="10358352" y="5224718"/>
              <a:chExt cx="344440" cy="219843"/>
            </a:xfrm>
            <a:noFill/>
          </p:grpSpPr>
          <p:sp>
            <p:nvSpPr>
              <p:cNvPr id="2309" name="Forma livre: Forma 2308">
                <a:extLst>
                  <a:ext uri="{FF2B5EF4-FFF2-40B4-BE49-F238E27FC236}">
                    <a16:creationId xmlns:a16="http://schemas.microsoft.com/office/drawing/2014/main" id="{6862D1BC-0B48-5A77-5D8F-535BDB4FDA67}"/>
                  </a:ext>
                </a:extLst>
              </p:cNvPr>
              <p:cNvSpPr/>
              <p:nvPr/>
            </p:nvSpPr>
            <p:spPr>
              <a:xfrm>
                <a:off x="10391041" y="5224718"/>
                <a:ext cx="279062" cy="171518"/>
              </a:xfrm>
              <a:custGeom>
                <a:avLst/>
                <a:gdLst>
                  <a:gd name="connsiteX0" fmla="*/ 0 w 279062"/>
                  <a:gd name="connsiteY0" fmla="*/ 171518 h 171518"/>
                  <a:gd name="connsiteX1" fmla="*/ 0 w 279062"/>
                  <a:gd name="connsiteY1" fmla="*/ 20369 h 171518"/>
                  <a:gd name="connsiteX2" fmla="*/ 20357 w 279062"/>
                  <a:gd name="connsiteY2" fmla="*/ 0 h 171518"/>
                  <a:gd name="connsiteX3" fmla="*/ 258681 w 279062"/>
                  <a:gd name="connsiteY3" fmla="*/ 0 h 171518"/>
                  <a:gd name="connsiteX4" fmla="*/ 279062 w 279062"/>
                  <a:gd name="connsiteY4" fmla="*/ 20369 h 171518"/>
                  <a:gd name="connsiteX5" fmla="*/ 279062 w 279062"/>
                  <a:gd name="connsiteY5" fmla="*/ 171518 h 1715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79062" h="171518">
                    <a:moveTo>
                      <a:pt x="0" y="171518"/>
                    </a:moveTo>
                    <a:lnTo>
                      <a:pt x="0" y="20369"/>
                    </a:lnTo>
                    <a:cubicBezTo>
                      <a:pt x="0" y="9170"/>
                      <a:pt x="9170" y="0"/>
                      <a:pt x="20357" y="0"/>
                    </a:cubicBezTo>
                    <a:lnTo>
                      <a:pt x="258681" y="0"/>
                    </a:lnTo>
                    <a:cubicBezTo>
                      <a:pt x="269893" y="0"/>
                      <a:pt x="279062" y="9170"/>
                      <a:pt x="279062" y="20369"/>
                    </a:cubicBezTo>
                    <a:lnTo>
                      <a:pt x="279062" y="171518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310" name="Forma livre: Forma 2309">
                <a:extLst>
                  <a:ext uri="{FF2B5EF4-FFF2-40B4-BE49-F238E27FC236}">
                    <a16:creationId xmlns:a16="http://schemas.microsoft.com/office/drawing/2014/main" id="{61500E16-9F84-6B65-9142-916B5435F196}"/>
                  </a:ext>
                </a:extLst>
              </p:cNvPr>
              <p:cNvSpPr/>
              <p:nvPr/>
            </p:nvSpPr>
            <p:spPr>
              <a:xfrm>
                <a:off x="10358352" y="5417608"/>
                <a:ext cx="344440" cy="26953"/>
              </a:xfrm>
              <a:custGeom>
                <a:avLst/>
                <a:gdLst>
                  <a:gd name="connsiteX0" fmla="*/ 202826 w 344440"/>
                  <a:gd name="connsiteY0" fmla="*/ 0 h 26953"/>
                  <a:gd name="connsiteX1" fmla="*/ 197929 w 344440"/>
                  <a:gd name="connsiteY1" fmla="*/ 5664 h 26953"/>
                  <a:gd name="connsiteX2" fmla="*/ 146500 w 344440"/>
                  <a:gd name="connsiteY2" fmla="*/ 5664 h 26953"/>
                  <a:gd name="connsiteX3" fmla="*/ 141626 w 344440"/>
                  <a:gd name="connsiteY3" fmla="*/ 0 h 26953"/>
                  <a:gd name="connsiteX4" fmla="*/ 0 w 344440"/>
                  <a:gd name="connsiteY4" fmla="*/ 0 h 26953"/>
                  <a:gd name="connsiteX5" fmla="*/ 25644 w 344440"/>
                  <a:gd name="connsiteY5" fmla="*/ 26954 h 26953"/>
                  <a:gd name="connsiteX6" fmla="*/ 318797 w 344440"/>
                  <a:gd name="connsiteY6" fmla="*/ 26954 h 26953"/>
                  <a:gd name="connsiteX7" fmla="*/ 344440 w 344440"/>
                  <a:gd name="connsiteY7" fmla="*/ 0 h 26953"/>
                  <a:gd name="connsiteX8" fmla="*/ 202815 w 344440"/>
                  <a:gd name="connsiteY8" fmla="*/ 0 h 269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44440" h="26953">
                    <a:moveTo>
                      <a:pt x="202826" y="0"/>
                    </a:moveTo>
                    <a:lnTo>
                      <a:pt x="197929" y="5664"/>
                    </a:lnTo>
                    <a:lnTo>
                      <a:pt x="146500" y="5664"/>
                    </a:lnTo>
                    <a:lnTo>
                      <a:pt x="141626" y="0"/>
                    </a:lnTo>
                    <a:lnTo>
                      <a:pt x="0" y="0"/>
                    </a:lnTo>
                    <a:cubicBezTo>
                      <a:pt x="0" y="0"/>
                      <a:pt x="5936" y="26954"/>
                      <a:pt x="25644" y="26954"/>
                    </a:cubicBezTo>
                    <a:lnTo>
                      <a:pt x="318797" y="26954"/>
                    </a:lnTo>
                    <a:cubicBezTo>
                      <a:pt x="338504" y="26954"/>
                      <a:pt x="344440" y="0"/>
                      <a:pt x="344440" y="0"/>
                    </a:cubicBezTo>
                    <a:lnTo>
                      <a:pt x="202815" y="0"/>
                    </a:ln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2311" name="Gráfico 19">
              <a:extLst>
                <a:ext uri="{FF2B5EF4-FFF2-40B4-BE49-F238E27FC236}">
                  <a16:creationId xmlns:a16="http://schemas.microsoft.com/office/drawing/2014/main" id="{D911684E-99B8-B831-ED14-8CAFF8BBCAC2}"/>
                </a:ext>
              </a:extLst>
            </p:cNvPr>
            <p:cNvGrpSpPr/>
            <p:nvPr/>
          </p:nvGrpSpPr>
          <p:grpSpPr>
            <a:xfrm>
              <a:off x="10422916" y="5262127"/>
              <a:ext cx="215312" cy="113704"/>
              <a:chOff x="10422916" y="5262127"/>
              <a:chExt cx="215312" cy="113704"/>
            </a:xfrm>
            <a:noFill/>
          </p:grpSpPr>
          <p:grpSp>
            <p:nvGrpSpPr>
              <p:cNvPr id="2312" name="Gráfico 19">
                <a:extLst>
                  <a:ext uri="{FF2B5EF4-FFF2-40B4-BE49-F238E27FC236}">
                    <a16:creationId xmlns:a16="http://schemas.microsoft.com/office/drawing/2014/main" id="{0F2E168B-772C-FF6C-C530-2ADDCEB5C38F}"/>
                  </a:ext>
                </a:extLst>
              </p:cNvPr>
              <p:cNvGrpSpPr/>
              <p:nvPr/>
            </p:nvGrpSpPr>
            <p:grpSpPr>
              <a:xfrm>
                <a:off x="10565261" y="5276041"/>
                <a:ext cx="72966" cy="91718"/>
                <a:chOff x="10565261" y="5276041"/>
                <a:chExt cx="72966" cy="91718"/>
              </a:xfrm>
            </p:grpSpPr>
            <p:sp>
              <p:nvSpPr>
                <p:cNvPr id="2313" name="Forma livre: Forma 2312">
                  <a:extLst>
                    <a:ext uri="{FF2B5EF4-FFF2-40B4-BE49-F238E27FC236}">
                      <a16:creationId xmlns:a16="http://schemas.microsoft.com/office/drawing/2014/main" id="{6EB289AC-4398-437F-21C7-D0C73BFA35C3}"/>
                    </a:ext>
                  </a:extLst>
                </p:cNvPr>
                <p:cNvSpPr/>
                <p:nvPr/>
              </p:nvSpPr>
              <p:spPr>
                <a:xfrm>
                  <a:off x="10565261" y="5306618"/>
                  <a:ext cx="72966" cy="1180"/>
                </a:xfrm>
                <a:custGeom>
                  <a:avLst/>
                  <a:gdLst>
                    <a:gd name="connsiteX0" fmla="*/ 0 w 72966"/>
                    <a:gd name="connsiteY0" fmla="*/ 0 h 1180"/>
                    <a:gd name="connsiteX1" fmla="*/ 72967 w 72966"/>
                    <a:gd name="connsiteY1" fmla="*/ 0 h 11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72966" h="1180">
                      <a:moveTo>
                        <a:pt x="0" y="0"/>
                      </a:moveTo>
                      <a:lnTo>
                        <a:pt x="72967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314" name="Forma livre: Forma 2313">
                  <a:extLst>
                    <a:ext uri="{FF2B5EF4-FFF2-40B4-BE49-F238E27FC236}">
                      <a16:creationId xmlns:a16="http://schemas.microsoft.com/office/drawing/2014/main" id="{D90A3796-B6CE-93E9-3EC4-81AD50802042}"/>
                    </a:ext>
                  </a:extLst>
                </p:cNvPr>
                <p:cNvSpPr/>
                <p:nvPr/>
              </p:nvSpPr>
              <p:spPr>
                <a:xfrm>
                  <a:off x="10565261" y="5276041"/>
                  <a:ext cx="72966" cy="1180"/>
                </a:xfrm>
                <a:custGeom>
                  <a:avLst/>
                  <a:gdLst>
                    <a:gd name="connsiteX0" fmla="*/ 0 w 72966"/>
                    <a:gd name="connsiteY0" fmla="*/ 0 h 1180"/>
                    <a:gd name="connsiteX1" fmla="*/ 72967 w 72966"/>
                    <a:gd name="connsiteY1" fmla="*/ 0 h 11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72966" h="1180">
                      <a:moveTo>
                        <a:pt x="0" y="0"/>
                      </a:moveTo>
                      <a:lnTo>
                        <a:pt x="72967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315" name="Forma livre: Forma 2314">
                  <a:extLst>
                    <a:ext uri="{FF2B5EF4-FFF2-40B4-BE49-F238E27FC236}">
                      <a16:creationId xmlns:a16="http://schemas.microsoft.com/office/drawing/2014/main" id="{A68CDF11-FF56-13A9-27CA-FDBB6407D3A6}"/>
                    </a:ext>
                  </a:extLst>
                </p:cNvPr>
                <p:cNvSpPr/>
                <p:nvPr/>
              </p:nvSpPr>
              <p:spPr>
                <a:xfrm>
                  <a:off x="10565261" y="5367760"/>
                  <a:ext cx="72966" cy="1180"/>
                </a:xfrm>
                <a:custGeom>
                  <a:avLst/>
                  <a:gdLst>
                    <a:gd name="connsiteX0" fmla="*/ 0 w 72966"/>
                    <a:gd name="connsiteY0" fmla="*/ 0 h 1180"/>
                    <a:gd name="connsiteX1" fmla="*/ 72967 w 72966"/>
                    <a:gd name="connsiteY1" fmla="*/ 0 h 11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72966" h="1180">
                      <a:moveTo>
                        <a:pt x="0" y="0"/>
                      </a:moveTo>
                      <a:lnTo>
                        <a:pt x="72967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316" name="Forma livre: Forma 2315">
                  <a:extLst>
                    <a:ext uri="{FF2B5EF4-FFF2-40B4-BE49-F238E27FC236}">
                      <a16:creationId xmlns:a16="http://schemas.microsoft.com/office/drawing/2014/main" id="{ADCA8109-B4CD-B3E3-924E-A9C1D6052635}"/>
                    </a:ext>
                  </a:extLst>
                </p:cNvPr>
                <p:cNvSpPr/>
                <p:nvPr/>
              </p:nvSpPr>
              <p:spPr>
                <a:xfrm>
                  <a:off x="10565261" y="5337195"/>
                  <a:ext cx="72966" cy="1180"/>
                </a:xfrm>
                <a:custGeom>
                  <a:avLst/>
                  <a:gdLst>
                    <a:gd name="connsiteX0" fmla="*/ 0 w 72966"/>
                    <a:gd name="connsiteY0" fmla="*/ 0 h 1180"/>
                    <a:gd name="connsiteX1" fmla="*/ 72967 w 72966"/>
                    <a:gd name="connsiteY1" fmla="*/ 0 h 11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72966" h="1180">
                      <a:moveTo>
                        <a:pt x="0" y="0"/>
                      </a:moveTo>
                      <a:lnTo>
                        <a:pt x="72967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2317" name="Gráfico 19">
                <a:extLst>
                  <a:ext uri="{FF2B5EF4-FFF2-40B4-BE49-F238E27FC236}">
                    <a16:creationId xmlns:a16="http://schemas.microsoft.com/office/drawing/2014/main" id="{C2348EE3-194D-3C7C-25D5-0E80F443E9D3}"/>
                  </a:ext>
                </a:extLst>
              </p:cNvPr>
              <p:cNvGrpSpPr/>
              <p:nvPr/>
            </p:nvGrpSpPr>
            <p:grpSpPr>
              <a:xfrm>
                <a:off x="10422916" y="5262127"/>
                <a:ext cx="107707" cy="113704"/>
                <a:chOff x="10422916" y="5262127"/>
                <a:chExt cx="107707" cy="113704"/>
              </a:xfrm>
              <a:noFill/>
            </p:grpSpPr>
            <p:sp>
              <p:nvSpPr>
                <p:cNvPr id="2318" name="Forma livre: Forma 2317">
                  <a:extLst>
                    <a:ext uri="{FF2B5EF4-FFF2-40B4-BE49-F238E27FC236}">
                      <a16:creationId xmlns:a16="http://schemas.microsoft.com/office/drawing/2014/main" id="{594DB8E2-F14E-5159-7F74-D3828B640D7A}"/>
                    </a:ext>
                  </a:extLst>
                </p:cNvPr>
                <p:cNvSpPr/>
                <p:nvPr/>
              </p:nvSpPr>
              <p:spPr>
                <a:xfrm>
                  <a:off x="10422916" y="5262127"/>
                  <a:ext cx="107707" cy="86679"/>
                </a:xfrm>
                <a:custGeom>
                  <a:avLst/>
                  <a:gdLst>
                    <a:gd name="connsiteX0" fmla="*/ 0 w 107707"/>
                    <a:gd name="connsiteY0" fmla="*/ 55430 h 86679"/>
                    <a:gd name="connsiteX1" fmla="*/ 50839 w 107707"/>
                    <a:gd name="connsiteY1" fmla="*/ 71 h 86679"/>
                    <a:gd name="connsiteX2" fmla="*/ 53719 w 107707"/>
                    <a:gd name="connsiteY2" fmla="*/ 0 h 86679"/>
                    <a:gd name="connsiteX3" fmla="*/ 107615 w 107707"/>
                    <a:gd name="connsiteY3" fmla="*/ 55489 h 86679"/>
                    <a:gd name="connsiteX4" fmla="*/ 105514 w 107707"/>
                    <a:gd name="connsiteY4" fmla="*/ 86679 h 8667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07707" h="86679">
                      <a:moveTo>
                        <a:pt x="0" y="55430"/>
                      </a:moveTo>
                      <a:cubicBezTo>
                        <a:pt x="1617" y="25986"/>
                        <a:pt x="23354" y="1747"/>
                        <a:pt x="50839" y="71"/>
                      </a:cubicBezTo>
                      <a:cubicBezTo>
                        <a:pt x="52126" y="12"/>
                        <a:pt x="52928" y="0"/>
                        <a:pt x="53719" y="0"/>
                      </a:cubicBezTo>
                      <a:cubicBezTo>
                        <a:pt x="82242" y="0"/>
                        <a:pt x="105915" y="24381"/>
                        <a:pt x="107615" y="55489"/>
                      </a:cubicBezTo>
                      <a:cubicBezTo>
                        <a:pt x="107674" y="56704"/>
                        <a:pt x="108264" y="69320"/>
                        <a:pt x="105514" y="86679"/>
                      </a:cubicBez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319" name="Forma livre: Forma 2318">
                  <a:extLst>
                    <a:ext uri="{FF2B5EF4-FFF2-40B4-BE49-F238E27FC236}">
                      <a16:creationId xmlns:a16="http://schemas.microsoft.com/office/drawing/2014/main" id="{E9DED47C-BB34-7B8D-0D0F-4BCEFC38F6D0}"/>
                    </a:ext>
                  </a:extLst>
                </p:cNvPr>
                <p:cNvSpPr/>
                <p:nvPr/>
              </p:nvSpPr>
              <p:spPr>
                <a:xfrm>
                  <a:off x="10443544" y="5291666"/>
                  <a:ext cx="60145" cy="77215"/>
                </a:xfrm>
                <a:custGeom>
                  <a:avLst/>
                  <a:gdLst>
                    <a:gd name="connsiteX0" fmla="*/ 0 w 60145"/>
                    <a:gd name="connsiteY0" fmla="*/ 60092 h 77215"/>
                    <a:gd name="connsiteX1" fmla="*/ 6255 w 60145"/>
                    <a:gd name="connsiteY1" fmla="*/ 30907 h 77215"/>
                    <a:gd name="connsiteX2" fmla="*/ 31686 w 60145"/>
                    <a:gd name="connsiteY2" fmla="*/ 35 h 77215"/>
                    <a:gd name="connsiteX3" fmla="*/ 33079 w 60145"/>
                    <a:gd name="connsiteY3" fmla="*/ 0 h 77215"/>
                    <a:gd name="connsiteX4" fmla="*/ 60068 w 60145"/>
                    <a:gd name="connsiteY4" fmla="*/ 27721 h 77215"/>
                    <a:gd name="connsiteX5" fmla="*/ 52055 w 60145"/>
                    <a:gd name="connsiteY5" fmla="*/ 77215 h 7721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60145" h="77215">
                      <a:moveTo>
                        <a:pt x="0" y="60092"/>
                      </a:moveTo>
                      <a:cubicBezTo>
                        <a:pt x="6679" y="46792"/>
                        <a:pt x="6255" y="31108"/>
                        <a:pt x="6255" y="30907"/>
                      </a:cubicBezTo>
                      <a:cubicBezTo>
                        <a:pt x="5523" y="14834"/>
                        <a:pt x="16923" y="921"/>
                        <a:pt x="31686" y="35"/>
                      </a:cubicBezTo>
                      <a:cubicBezTo>
                        <a:pt x="32229" y="12"/>
                        <a:pt x="32654" y="0"/>
                        <a:pt x="33079" y="0"/>
                      </a:cubicBezTo>
                      <a:cubicBezTo>
                        <a:pt x="47370" y="0"/>
                        <a:pt x="59230" y="12179"/>
                        <a:pt x="60068" y="27721"/>
                      </a:cubicBezTo>
                      <a:cubicBezTo>
                        <a:pt x="60151" y="29184"/>
                        <a:pt x="61213" y="52256"/>
                        <a:pt x="52055" y="77215"/>
                      </a:cubicBez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320" name="Forma livre: Forma 2319">
                  <a:extLst>
                    <a:ext uri="{FF2B5EF4-FFF2-40B4-BE49-F238E27FC236}">
                      <a16:creationId xmlns:a16="http://schemas.microsoft.com/office/drawing/2014/main" id="{4701C6F5-08CB-D7B2-3C60-83AA800E92C3}"/>
                    </a:ext>
                  </a:extLst>
                </p:cNvPr>
                <p:cNvSpPr/>
                <p:nvPr/>
              </p:nvSpPr>
              <p:spPr>
                <a:xfrm>
                  <a:off x="10461211" y="5321145"/>
                  <a:ext cx="15552" cy="54686"/>
                </a:xfrm>
                <a:custGeom>
                  <a:avLst/>
                  <a:gdLst>
                    <a:gd name="connsiteX0" fmla="*/ 15507 w 15552"/>
                    <a:gd name="connsiteY0" fmla="*/ 0 h 54686"/>
                    <a:gd name="connsiteX1" fmla="*/ 0 w 15552"/>
                    <a:gd name="connsiteY1" fmla="*/ 54687 h 5468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5552" h="54686">
                      <a:moveTo>
                        <a:pt x="15507" y="0"/>
                      </a:moveTo>
                      <a:cubicBezTo>
                        <a:pt x="15507" y="0"/>
                        <a:pt x="17206" y="31120"/>
                        <a:pt x="0" y="54687"/>
                      </a:cubicBez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</p:grpSp>
      <p:grpSp>
        <p:nvGrpSpPr>
          <p:cNvPr id="2321" name="Gráfico 19">
            <a:extLst>
              <a:ext uri="{FF2B5EF4-FFF2-40B4-BE49-F238E27FC236}">
                <a16:creationId xmlns:a16="http://schemas.microsoft.com/office/drawing/2014/main" id="{8252F6BB-171E-94DB-0CF9-DE83E69B0B83}"/>
              </a:ext>
            </a:extLst>
          </p:cNvPr>
          <p:cNvGrpSpPr/>
          <p:nvPr/>
        </p:nvGrpSpPr>
        <p:grpSpPr>
          <a:xfrm>
            <a:off x="10382048" y="4670665"/>
            <a:ext cx="297065" cy="281988"/>
            <a:chOff x="10382048" y="4670665"/>
            <a:chExt cx="297065" cy="281988"/>
          </a:xfrm>
          <a:noFill/>
        </p:grpSpPr>
        <p:grpSp>
          <p:nvGrpSpPr>
            <p:cNvPr id="2322" name="Gráfico 19">
              <a:extLst>
                <a:ext uri="{FF2B5EF4-FFF2-40B4-BE49-F238E27FC236}">
                  <a16:creationId xmlns:a16="http://schemas.microsoft.com/office/drawing/2014/main" id="{2906A974-0D2D-6894-5737-512FD8E5CBA6}"/>
                </a:ext>
              </a:extLst>
            </p:cNvPr>
            <p:cNvGrpSpPr/>
            <p:nvPr/>
          </p:nvGrpSpPr>
          <p:grpSpPr>
            <a:xfrm>
              <a:off x="10556810" y="4799038"/>
              <a:ext cx="122303" cy="153615"/>
              <a:chOff x="10556810" y="4799038"/>
              <a:chExt cx="122303" cy="153615"/>
            </a:xfrm>
            <a:noFill/>
          </p:grpSpPr>
          <p:sp>
            <p:nvSpPr>
              <p:cNvPr id="2323" name="Forma livre: Forma 2322">
                <a:extLst>
                  <a:ext uri="{FF2B5EF4-FFF2-40B4-BE49-F238E27FC236}">
                    <a16:creationId xmlns:a16="http://schemas.microsoft.com/office/drawing/2014/main" id="{BBB6D497-FEB0-63A6-D5C7-D3301456E8F2}"/>
                  </a:ext>
                </a:extLst>
              </p:cNvPr>
              <p:cNvSpPr/>
              <p:nvPr/>
            </p:nvSpPr>
            <p:spPr>
              <a:xfrm>
                <a:off x="10556810" y="4799038"/>
                <a:ext cx="122303" cy="153615"/>
              </a:xfrm>
              <a:custGeom>
                <a:avLst/>
                <a:gdLst>
                  <a:gd name="connsiteX0" fmla="*/ 122250 w 122303"/>
                  <a:gd name="connsiteY0" fmla="*/ 73096 h 153615"/>
                  <a:gd name="connsiteX1" fmla="*/ 122226 w 122303"/>
                  <a:gd name="connsiteY1" fmla="*/ 25479 h 153615"/>
                  <a:gd name="connsiteX2" fmla="*/ 61368 w 122303"/>
                  <a:gd name="connsiteY2" fmla="*/ 0 h 153615"/>
                  <a:gd name="connsiteX3" fmla="*/ 37 w 122303"/>
                  <a:gd name="connsiteY3" fmla="*/ 25007 h 153615"/>
                  <a:gd name="connsiteX4" fmla="*/ 61 w 122303"/>
                  <a:gd name="connsiteY4" fmla="*/ 72624 h 153615"/>
                  <a:gd name="connsiteX5" fmla="*/ 60778 w 122303"/>
                  <a:gd name="connsiteY5" fmla="*/ 153616 h 153615"/>
                  <a:gd name="connsiteX6" fmla="*/ 122262 w 122303"/>
                  <a:gd name="connsiteY6" fmla="*/ 73096 h 1536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22303" h="153615">
                    <a:moveTo>
                      <a:pt x="122250" y="73096"/>
                    </a:moveTo>
                    <a:lnTo>
                      <a:pt x="122226" y="25479"/>
                    </a:lnTo>
                    <a:cubicBezTo>
                      <a:pt x="71753" y="25290"/>
                      <a:pt x="61368" y="0"/>
                      <a:pt x="61368" y="0"/>
                    </a:cubicBezTo>
                    <a:cubicBezTo>
                      <a:pt x="61368" y="0"/>
                      <a:pt x="50499" y="25195"/>
                      <a:pt x="37" y="25007"/>
                    </a:cubicBezTo>
                    <a:lnTo>
                      <a:pt x="61" y="72624"/>
                    </a:lnTo>
                    <a:cubicBezTo>
                      <a:pt x="61" y="72624"/>
                      <a:pt x="-4294" y="124042"/>
                      <a:pt x="60778" y="153616"/>
                    </a:cubicBezTo>
                    <a:cubicBezTo>
                      <a:pt x="126073" y="124549"/>
                      <a:pt x="122262" y="73096"/>
                      <a:pt x="122262" y="73096"/>
                    </a:cubicBezTo>
                    <a:close/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324" name="Forma livre: Forma 2323">
                <a:extLst>
                  <a:ext uri="{FF2B5EF4-FFF2-40B4-BE49-F238E27FC236}">
                    <a16:creationId xmlns:a16="http://schemas.microsoft.com/office/drawing/2014/main" id="{270D06AA-FDE6-D6CB-08AB-745124130502}"/>
                  </a:ext>
                </a:extLst>
              </p:cNvPr>
              <p:cNvSpPr/>
              <p:nvPr/>
            </p:nvSpPr>
            <p:spPr>
              <a:xfrm>
                <a:off x="10590598" y="4854693"/>
                <a:ext cx="54698" cy="45151"/>
              </a:xfrm>
              <a:custGeom>
                <a:avLst/>
                <a:gdLst>
                  <a:gd name="connsiteX0" fmla="*/ 0 w 54698"/>
                  <a:gd name="connsiteY0" fmla="*/ 23083 h 45151"/>
                  <a:gd name="connsiteX1" fmla="*/ 21891 w 54698"/>
                  <a:gd name="connsiteY1" fmla="*/ 45151 h 45151"/>
                  <a:gd name="connsiteX2" fmla="*/ 54698 w 54698"/>
                  <a:gd name="connsiteY2" fmla="*/ 0 h 451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54698" h="45151">
                    <a:moveTo>
                      <a:pt x="0" y="23083"/>
                    </a:moveTo>
                    <a:lnTo>
                      <a:pt x="21891" y="45151"/>
                    </a:lnTo>
                    <a:lnTo>
                      <a:pt x="54698" y="0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2325" name="Gráfico 19">
              <a:extLst>
                <a:ext uri="{FF2B5EF4-FFF2-40B4-BE49-F238E27FC236}">
                  <a16:creationId xmlns:a16="http://schemas.microsoft.com/office/drawing/2014/main" id="{73F78062-8DFE-6C70-BF18-41015DFF5B78}"/>
                </a:ext>
              </a:extLst>
            </p:cNvPr>
            <p:cNvGrpSpPr/>
            <p:nvPr/>
          </p:nvGrpSpPr>
          <p:grpSpPr>
            <a:xfrm>
              <a:off x="10382048" y="4670665"/>
              <a:ext cx="268381" cy="272217"/>
              <a:chOff x="10382048" y="4670665"/>
              <a:chExt cx="268381" cy="272217"/>
            </a:xfrm>
            <a:noFill/>
          </p:grpSpPr>
          <p:sp>
            <p:nvSpPr>
              <p:cNvPr id="2326" name="Forma livre: Forma 2325">
                <a:extLst>
                  <a:ext uri="{FF2B5EF4-FFF2-40B4-BE49-F238E27FC236}">
                    <a16:creationId xmlns:a16="http://schemas.microsoft.com/office/drawing/2014/main" id="{AC380697-6E2F-A069-2915-BEE40FF8B45F}"/>
                  </a:ext>
                </a:extLst>
              </p:cNvPr>
              <p:cNvSpPr/>
              <p:nvPr/>
            </p:nvSpPr>
            <p:spPr>
              <a:xfrm>
                <a:off x="10508757" y="4670665"/>
                <a:ext cx="141672" cy="124254"/>
              </a:xfrm>
              <a:custGeom>
                <a:avLst/>
                <a:gdLst>
                  <a:gd name="connsiteX0" fmla="*/ 0 w 141672"/>
                  <a:gd name="connsiteY0" fmla="*/ 0 h 124254"/>
                  <a:gd name="connsiteX1" fmla="*/ 22292 w 141672"/>
                  <a:gd name="connsiteY1" fmla="*/ 2254 h 124254"/>
                  <a:gd name="connsiteX2" fmla="*/ 30046 w 141672"/>
                  <a:gd name="connsiteY2" fmla="*/ 3871 h 124254"/>
                  <a:gd name="connsiteX3" fmla="*/ 141673 w 141672"/>
                  <a:gd name="connsiteY3" fmla="*/ 124254 h 1242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41672" h="124254">
                    <a:moveTo>
                      <a:pt x="0" y="0"/>
                    </a:moveTo>
                    <a:cubicBezTo>
                      <a:pt x="7376" y="165"/>
                      <a:pt x="14822" y="909"/>
                      <a:pt x="22292" y="2254"/>
                    </a:cubicBezTo>
                    <a:cubicBezTo>
                      <a:pt x="25915" y="2927"/>
                      <a:pt x="27981" y="3375"/>
                      <a:pt x="30046" y="3871"/>
                    </a:cubicBezTo>
                    <a:cubicBezTo>
                      <a:pt x="89642" y="17973"/>
                      <a:pt x="132586" y="66795"/>
                      <a:pt x="141673" y="124254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327" name="Forma livre: Forma 2326">
                <a:extLst>
                  <a:ext uri="{FF2B5EF4-FFF2-40B4-BE49-F238E27FC236}">
                    <a16:creationId xmlns:a16="http://schemas.microsoft.com/office/drawing/2014/main" id="{7C750B6D-0E7F-181F-8FDA-8ADA437CEF9A}"/>
                  </a:ext>
                </a:extLst>
              </p:cNvPr>
              <p:cNvSpPr/>
              <p:nvPr/>
            </p:nvSpPr>
            <p:spPr>
              <a:xfrm>
                <a:off x="10382048" y="4672730"/>
                <a:ext cx="98669" cy="64505"/>
              </a:xfrm>
              <a:custGeom>
                <a:avLst/>
                <a:gdLst>
                  <a:gd name="connsiteX0" fmla="*/ 0 w 98669"/>
                  <a:gd name="connsiteY0" fmla="*/ 64505 h 64505"/>
                  <a:gd name="connsiteX1" fmla="*/ 98669 w 98669"/>
                  <a:gd name="connsiteY1" fmla="*/ 0 h 645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8669" h="64505">
                    <a:moveTo>
                      <a:pt x="0" y="64505"/>
                    </a:moveTo>
                    <a:cubicBezTo>
                      <a:pt x="22399" y="30494"/>
                      <a:pt x="58345" y="6892"/>
                      <a:pt x="98669" y="0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328" name="Forma livre: Forma 2327">
                <a:extLst>
                  <a:ext uri="{FF2B5EF4-FFF2-40B4-BE49-F238E27FC236}">
                    <a16:creationId xmlns:a16="http://schemas.microsoft.com/office/drawing/2014/main" id="{09EF86B8-086E-E153-C4F9-947ECBE4CB49}"/>
                  </a:ext>
                </a:extLst>
              </p:cNvPr>
              <p:cNvSpPr/>
              <p:nvPr/>
            </p:nvSpPr>
            <p:spPr>
              <a:xfrm>
                <a:off x="10605787" y="4756967"/>
                <a:ext cx="8614" cy="17241"/>
              </a:xfrm>
              <a:custGeom>
                <a:avLst/>
                <a:gdLst>
                  <a:gd name="connsiteX0" fmla="*/ 0 w 8614"/>
                  <a:gd name="connsiteY0" fmla="*/ 0 h 17241"/>
                  <a:gd name="connsiteX1" fmla="*/ 2502 w 8614"/>
                  <a:gd name="connsiteY1" fmla="*/ 4319 h 17241"/>
                  <a:gd name="connsiteX2" fmla="*/ 8615 w 8614"/>
                  <a:gd name="connsiteY2" fmla="*/ 17242 h 172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614" h="17241">
                    <a:moveTo>
                      <a:pt x="0" y="0"/>
                    </a:moveTo>
                    <a:cubicBezTo>
                      <a:pt x="861" y="1416"/>
                      <a:pt x="1699" y="2868"/>
                      <a:pt x="2502" y="4319"/>
                    </a:cubicBezTo>
                    <a:cubicBezTo>
                      <a:pt x="4791" y="8497"/>
                      <a:pt x="6833" y="12816"/>
                      <a:pt x="8615" y="17242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329" name="Forma livre: Forma 2328">
                <a:extLst>
                  <a:ext uri="{FF2B5EF4-FFF2-40B4-BE49-F238E27FC236}">
                    <a16:creationId xmlns:a16="http://schemas.microsoft.com/office/drawing/2014/main" id="{3BB27EF8-AADB-4953-F1C1-F41D5B049D6F}"/>
                  </a:ext>
                </a:extLst>
              </p:cNvPr>
              <p:cNvSpPr/>
              <p:nvPr/>
            </p:nvSpPr>
            <p:spPr>
              <a:xfrm>
                <a:off x="10392469" y="4700026"/>
                <a:ext cx="198271" cy="83599"/>
              </a:xfrm>
              <a:custGeom>
                <a:avLst/>
                <a:gdLst>
                  <a:gd name="connsiteX0" fmla="*/ 0 w 198271"/>
                  <a:gd name="connsiteY0" fmla="*/ 83600 h 83599"/>
                  <a:gd name="connsiteX1" fmla="*/ 133400 w 198271"/>
                  <a:gd name="connsiteY1" fmla="*/ 1841 h 83599"/>
                  <a:gd name="connsiteX2" fmla="*/ 139561 w 198271"/>
                  <a:gd name="connsiteY2" fmla="*/ 3128 h 83599"/>
                  <a:gd name="connsiteX3" fmla="*/ 198271 w 198271"/>
                  <a:gd name="connsiteY3" fmla="*/ 37080 h 835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98271" h="83599">
                    <a:moveTo>
                      <a:pt x="0" y="83600"/>
                    </a:moveTo>
                    <a:cubicBezTo>
                      <a:pt x="16946" y="27344"/>
                      <a:pt x="74253" y="-8744"/>
                      <a:pt x="133400" y="1841"/>
                    </a:cubicBezTo>
                    <a:cubicBezTo>
                      <a:pt x="136185" y="2372"/>
                      <a:pt x="137873" y="2738"/>
                      <a:pt x="139561" y="3128"/>
                    </a:cubicBezTo>
                    <a:cubicBezTo>
                      <a:pt x="162844" y="8627"/>
                      <a:pt x="182953" y="20770"/>
                      <a:pt x="198271" y="37080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330" name="Forma livre: Forma 2329">
                <a:extLst>
                  <a:ext uri="{FF2B5EF4-FFF2-40B4-BE49-F238E27FC236}">
                    <a16:creationId xmlns:a16="http://schemas.microsoft.com/office/drawing/2014/main" id="{5C5C90C8-C7C9-2A0F-344F-643372BB2620}"/>
                  </a:ext>
                </a:extLst>
              </p:cNvPr>
              <p:cNvSpPr/>
              <p:nvPr/>
            </p:nvSpPr>
            <p:spPr>
              <a:xfrm>
                <a:off x="10544385" y="4738687"/>
                <a:ext cx="45458" cy="54356"/>
              </a:xfrm>
              <a:custGeom>
                <a:avLst/>
                <a:gdLst>
                  <a:gd name="connsiteX0" fmla="*/ 0 w 45458"/>
                  <a:gd name="connsiteY0" fmla="*/ 0 h 54356"/>
                  <a:gd name="connsiteX1" fmla="*/ 45458 w 45458"/>
                  <a:gd name="connsiteY1" fmla="*/ 54356 h 543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5458" h="54356">
                    <a:moveTo>
                      <a:pt x="0" y="0"/>
                    </a:moveTo>
                    <a:cubicBezTo>
                      <a:pt x="22257" y="11105"/>
                      <a:pt x="38602" y="31037"/>
                      <a:pt x="45458" y="54356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331" name="Forma livre: Forma 2330">
                <a:extLst>
                  <a:ext uri="{FF2B5EF4-FFF2-40B4-BE49-F238E27FC236}">
                    <a16:creationId xmlns:a16="http://schemas.microsoft.com/office/drawing/2014/main" id="{5F2C519D-7DA3-04E7-3735-25620087A6AE}"/>
                  </a:ext>
                </a:extLst>
              </p:cNvPr>
              <p:cNvSpPr/>
              <p:nvPr/>
            </p:nvSpPr>
            <p:spPr>
              <a:xfrm>
                <a:off x="10397213" y="4729448"/>
                <a:ext cx="123451" cy="112805"/>
              </a:xfrm>
              <a:custGeom>
                <a:avLst/>
                <a:gdLst>
                  <a:gd name="connsiteX0" fmla="*/ 0 w 123451"/>
                  <a:gd name="connsiteY0" fmla="*/ 112806 h 112805"/>
                  <a:gd name="connsiteX1" fmla="*/ 21219 w 123451"/>
                  <a:gd name="connsiteY1" fmla="*/ 71667 h 112805"/>
                  <a:gd name="connsiteX2" fmla="*/ 123452 w 123451"/>
                  <a:gd name="connsiteY2" fmla="*/ 1391 h 1128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23451" h="112805">
                    <a:moveTo>
                      <a:pt x="0" y="112806"/>
                    </a:moveTo>
                    <a:cubicBezTo>
                      <a:pt x="12615" y="100001"/>
                      <a:pt x="19378" y="80116"/>
                      <a:pt x="21219" y="71667"/>
                    </a:cubicBezTo>
                    <a:cubicBezTo>
                      <a:pt x="30164" y="24380"/>
                      <a:pt x="75929" y="-7130"/>
                      <a:pt x="123452" y="1391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332" name="Forma livre: Forma 2331">
                <a:extLst>
                  <a:ext uri="{FF2B5EF4-FFF2-40B4-BE49-F238E27FC236}">
                    <a16:creationId xmlns:a16="http://schemas.microsoft.com/office/drawing/2014/main" id="{5B6277E6-44EF-9CCF-8546-4E0EA4CD77EB}"/>
                  </a:ext>
                </a:extLst>
              </p:cNvPr>
              <p:cNvSpPr/>
              <p:nvPr/>
            </p:nvSpPr>
            <p:spPr>
              <a:xfrm>
                <a:off x="10505064" y="4897908"/>
                <a:ext cx="31910" cy="44277"/>
              </a:xfrm>
              <a:custGeom>
                <a:avLst/>
                <a:gdLst>
                  <a:gd name="connsiteX0" fmla="*/ 31910 w 31910"/>
                  <a:gd name="connsiteY0" fmla="*/ 0 h 44277"/>
                  <a:gd name="connsiteX1" fmla="*/ 0 w 31910"/>
                  <a:gd name="connsiteY1" fmla="*/ 44278 h 442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1910" h="44277">
                    <a:moveTo>
                      <a:pt x="31910" y="0"/>
                    </a:moveTo>
                    <a:cubicBezTo>
                      <a:pt x="23791" y="14669"/>
                      <a:pt x="13359" y="29998"/>
                      <a:pt x="0" y="44278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333" name="Forma livre: Forma 2332">
                <a:extLst>
                  <a:ext uri="{FF2B5EF4-FFF2-40B4-BE49-F238E27FC236}">
                    <a16:creationId xmlns:a16="http://schemas.microsoft.com/office/drawing/2014/main" id="{6C89A464-B76D-C8E0-3496-78A2B16BA856}"/>
                  </a:ext>
                </a:extLst>
              </p:cNvPr>
              <p:cNvSpPr/>
              <p:nvPr/>
            </p:nvSpPr>
            <p:spPr>
              <a:xfrm>
                <a:off x="10485427" y="4758857"/>
                <a:ext cx="75704" cy="40865"/>
              </a:xfrm>
              <a:custGeom>
                <a:avLst/>
                <a:gdLst>
                  <a:gd name="connsiteX0" fmla="*/ 0 w 75704"/>
                  <a:gd name="connsiteY0" fmla="*/ 3432 h 40865"/>
                  <a:gd name="connsiteX1" fmla="*/ 30069 w 75704"/>
                  <a:gd name="connsiteY1" fmla="*/ 930 h 40865"/>
                  <a:gd name="connsiteX2" fmla="*/ 33055 w 75704"/>
                  <a:gd name="connsiteY2" fmla="*/ 1556 h 40865"/>
                  <a:gd name="connsiteX3" fmla="*/ 75704 w 75704"/>
                  <a:gd name="connsiteY3" fmla="*/ 40865 h 408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5704" h="40865">
                    <a:moveTo>
                      <a:pt x="0" y="3432"/>
                    </a:moveTo>
                    <a:cubicBezTo>
                      <a:pt x="9335" y="80"/>
                      <a:pt x="19637" y="-946"/>
                      <a:pt x="30069" y="930"/>
                    </a:cubicBezTo>
                    <a:cubicBezTo>
                      <a:pt x="31238" y="1143"/>
                      <a:pt x="32146" y="1331"/>
                      <a:pt x="33055" y="1556"/>
                    </a:cubicBezTo>
                    <a:cubicBezTo>
                      <a:pt x="53813" y="6465"/>
                      <a:pt x="69532" y="21854"/>
                      <a:pt x="75704" y="40865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334" name="Forma livre: Forma 2333">
                <a:extLst>
                  <a:ext uri="{FF2B5EF4-FFF2-40B4-BE49-F238E27FC236}">
                    <a16:creationId xmlns:a16="http://schemas.microsoft.com/office/drawing/2014/main" id="{690A52CF-107A-0437-4C47-23B79D91CD9A}"/>
                  </a:ext>
                </a:extLst>
              </p:cNvPr>
              <p:cNvSpPr/>
              <p:nvPr/>
            </p:nvSpPr>
            <p:spPr>
              <a:xfrm>
                <a:off x="10398240" y="4774362"/>
                <a:ext cx="67113" cy="102953"/>
              </a:xfrm>
              <a:custGeom>
                <a:avLst/>
                <a:gdLst>
                  <a:gd name="connsiteX0" fmla="*/ 0 w 67113"/>
                  <a:gd name="connsiteY0" fmla="*/ 102953 h 102953"/>
                  <a:gd name="connsiteX1" fmla="*/ 49046 w 67113"/>
                  <a:gd name="connsiteY1" fmla="*/ 32500 h 102953"/>
                  <a:gd name="connsiteX2" fmla="*/ 67113 w 67113"/>
                  <a:gd name="connsiteY2" fmla="*/ 0 h 1029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67113" h="102953">
                    <a:moveTo>
                      <a:pt x="0" y="102953"/>
                    </a:moveTo>
                    <a:cubicBezTo>
                      <a:pt x="38283" y="84685"/>
                      <a:pt x="48939" y="33032"/>
                      <a:pt x="49046" y="32500"/>
                    </a:cubicBezTo>
                    <a:cubicBezTo>
                      <a:pt x="51429" y="19543"/>
                      <a:pt x="57991" y="8332"/>
                      <a:pt x="67113" y="0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335" name="Forma livre: Forma 2334">
                <a:extLst>
                  <a:ext uri="{FF2B5EF4-FFF2-40B4-BE49-F238E27FC236}">
                    <a16:creationId xmlns:a16="http://schemas.microsoft.com/office/drawing/2014/main" id="{9D0A6CA7-62C5-D544-D82C-D3A3EEC5AC7A}"/>
                  </a:ext>
                </a:extLst>
              </p:cNvPr>
              <p:cNvSpPr/>
              <p:nvPr/>
            </p:nvSpPr>
            <p:spPr>
              <a:xfrm>
                <a:off x="10460066" y="4788269"/>
                <a:ext cx="74492" cy="154613"/>
              </a:xfrm>
              <a:custGeom>
                <a:avLst/>
                <a:gdLst>
                  <a:gd name="connsiteX0" fmla="*/ 16097 w 74492"/>
                  <a:gd name="connsiteY0" fmla="*/ 24175 h 154613"/>
                  <a:gd name="connsiteX1" fmla="*/ 50238 w 74492"/>
                  <a:gd name="connsiteY1" fmla="*/ 467 h 154613"/>
                  <a:gd name="connsiteX2" fmla="*/ 74052 w 74492"/>
                  <a:gd name="connsiteY2" fmla="*/ 34419 h 154613"/>
                  <a:gd name="connsiteX3" fmla="*/ 0 w 74492"/>
                  <a:gd name="connsiteY3" fmla="*/ 154614 h 1546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4492" h="154613">
                    <a:moveTo>
                      <a:pt x="16097" y="24175"/>
                    </a:moveTo>
                    <a:cubicBezTo>
                      <a:pt x="19035" y="8244"/>
                      <a:pt x="34282" y="-2401"/>
                      <a:pt x="50238" y="467"/>
                    </a:cubicBezTo>
                    <a:cubicBezTo>
                      <a:pt x="66205" y="3476"/>
                      <a:pt x="76826" y="18452"/>
                      <a:pt x="74052" y="34419"/>
                    </a:cubicBezTo>
                    <a:cubicBezTo>
                      <a:pt x="73439" y="37900"/>
                      <a:pt x="59903" y="111563"/>
                      <a:pt x="0" y="154614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336" name="Forma livre: Forma 2335">
                <a:extLst>
                  <a:ext uri="{FF2B5EF4-FFF2-40B4-BE49-F238E27FC236}">
                    <a16:creationId xmlns:a16="http://schemas.microsoft.com/office/drawing/2014/main" id="{D0AA52C4-D0A9-AA07-56D4-3508F0CC917B}"/>
                  </a:ext>
                </a:extLst>
              </p:cNvPr>
              <p:cNvSpPr/>
              <p:nvPr/>
            </p:nvSpPr>
            <p:spPr>
              <a:xfrm>
                <a:off x="10410926" y="4835079"/>
                <a:ext cx="58380" cy="68788"/>
              </a:xfrm>
              <a:custGeom>
                <a:avLst/>
                <a:gdLst>
                  <a:gd name="connsiteX0" fmla="*/ 0 w 58380"/>
                  <a:gd name="connsiteY0" fmla="*/ 68789 h 68788"/>
                  <a:gd name="connsiteX1" fmla="*/ 58380 w 58380"/>
                  <a:gd name="connsiteY1" fmla="*/ 0 h 687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8380" h="68788">
                    <a:moveTo>
                      <a:pt x="0" y="68789"/>
                    </a:moveTo>
                    <a:cubicBezTo>
                      <a:pt x="32795" y="53141"/>
                      <a:pt x="50025" y="21620"/>
                      <a:pt x="58380" y="0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337" name="Forma livre: Forma 2336">
                <a:extLst>
                  <a:ext uri="{FF2B5EF4-FFF2-40B4-BE49-F238E27FC236}">
                    <a16:creationId xmlns:a16="http://schemas.microsoft.com/office/drawing/2014/main" id="{B41F6F0D-C821-5432-7594-CE65CD72DB07}"/>
                  </a:ext>
                </a:extLst>
              </p:cNvPr>
              <p:cNvSpPr/>
              <p:nvPr/>
            </p:nvSpPr>
            <p:spPr>
              <a:xfrm>
                <a:off x="10423588" y="4817625"/>
                <a:ext cx="81534" cy="112795"/>
              </a:xfrm>
              <a:custGeom>
                <a:avLst/>
                <a:gdLst>
                  <a:gd name="connsiteX0" fmla="*/ 81534 w 81534"/>
                  <a:gd name="connsiteY0" fmla="*/ 0 h 112795"/>
                  <a:gd name="connsiteX1" fmla="*/ 0 w 81534"/>
                  <a:gd name="connsiteY1" fmla="*/ 112795 h 1127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81534" h="112795">
                    <a:moveTo>
                      <a:pt x="81534" y="0"/>
                    </a:moveTo>
                    <a:cubicBezTo>
                      <a:pt x="81534" y="0"/>
                      <a:pt x="67479" y="80590"/>
                      <a:pt x="0" y="112795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2338" name="Gráfico 19">
            <a:extLst>
              <a:ext uri="{FF2B5EF4-FFF2-40B4-BE49-F238E27FC236}">
                <a16:creationId xmlns:a16="http://schemas.microsoft.com/office/drawing/2014/main" id="{20AC72B0-AFF2-62A1-EE1E-4F43ADE0229F}"/>
              </a:ext>
            </a:extLst>
          </p:cNvPr>
          <p:cNvGrpSpPr/>
          <p:nvPr/>
        </p:nvGrpSpPr>
        <p:grpSpPr>
          <a:xfrm>
            <a:off x="10395891" y="5703325"/>
            <a:ext cx="269356" cy="308547"/>
            <a:chOff x="10395891" y="5703325"/>
            <a:chExt cx="269356" cy="308547"/>
          </a:xfrm>
          <a:noFill/>
        </p:grpSpPr>
        <p:sp>
          <p:nvSpPr>
            <p:cNvPr id="2339" name="Forma livre: Forma 2338">
              <a:extLst>
                <a:ext uri="{FF2B5EF4-FFF2-40B4-BE49-F238E27FC236}">
                  <a16:creationId xmlns:a16="http://schemas.microsoft.com/office/drawing/2014/main" id="{F8135779-7BE8-2153-31A3-7D238508B040}"/>
                </a:ext>
              </a:extLst>
            </p:cNvPr>
            <p:cNvSpPr/>
            <p:nvPr/>
          </p:nvSpPr>
          <p:spPr>
            <a:xfrm>
              <a:off x="10552280" y="5776591"/>
              <a:ext cx="112967" cy="114007"/>
            </a:xfrm>
            <a:custGeom>
              <a:avLst/>
              <a:gdLst>
                <a:gd name="connsiteX0" fmla="*/ 75044 w 112967"/>
                <a:gd name="connsiteY0" fmla="*/ 98288 h 114007"/>
                <a:gd name="connsiteX1" fmla="*/ 107804 w 112967"/>
                <a:gd name="connsiteY1" fmla="*/ 111588 h 114007"/>
                <a:gd name="connsiteX2" fmla="*/ 103673 w 112967"/>
                <a:gd name="connsiteY2" fmla="*/ 84457 h 114007"/>
                <a:gd name="connsiteX3" fmla="*/ 75763 w 112967"/>
                <a:gd name="connsiteY3" fmla="*/ 40156 h 114007"/>
                <a:gd name="connsiteX4" fmla="*/ 70937 w 112967"/>
                <a:gd name="connsiteY4" fmla="*/ 36108 h 114007"/>
                <a:gd name="connsiteX5" fmla="*/ 18103 w 112967"/>
                <a:gd name="connsiteY5" fmla="*/ 1707 h 114007"/>
                <a:gd name="connsiteX6" fmla="*/ 9252 w 112967"/>
                <a:gd name="connsiteY6" fmla="*/ 338 h 114007"/>
                <a:gd name="connsiteX7" fmla="*/ 0 w 112967"/>
                <a:gd name="connsiteY7" fmla="*/ 2911 h 1140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12967" h="114007">
                  <a:moveTo>
                    <a:pt x="75044" y="98288"/>
                  </a:moveTo>
                  <a:cubicBezTo>
                    <a:pt x="85806" y="110998"/>
                    <a:pt x="98906" y="118008"/>
                    <a:pt x="107804" y="111588"/>
                  </a:cubicBezTo>
                  <a:cubicBezTo>
                    <a:pt x="116702" y="105144"/>
                    <a:pt x="113303" y="98559"/>
                    <a:pt x="103673" y="84457"/>
                  </a:cubicBezTo>
                  <a:lnTo>
                    <a:pt x="75763" y="40156"/>
                  </a:lnTo>
                  <a:lnTo>
                    <a:pt x="70937" y="36108"/>
                  </a:lnTo>
                  <a:lnTo>
                    <a:pt x="18103" y="1707"/>
                  </a:lnTo>
                  <a:cubicBezTo>
                    <a:pt x="18103" y="1707"/>
                    <a:pt x="14291" y="-913"/>
                    <a:pt x="9252" y="338"/>
                  </a:cubicBezTo>
                  <a:lnTo>
                    <a:pt x="0" y="2911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340" name="Forma livre: Forma 2339">
              <a:extLst>
                <a:ext uri="{FF2B5EF4-FFF2-40B4-BE49-F238E27FC236}">
                  <a16:creationId xmlns:a16="http://schemas.microsoft.com/office/drawing/2014/main" id="{118060AA-58ED-A110-B1BC-004C44C0A525}"/>
                </a:ext>
              </a:extLst>
            </p:cNvPr>
            <p:cNvSpPr/>
            <p:nvPr/>
          </p:nvSpPr>
          <p:spPr>
            <a:xfrm>
              <a:off x="10432085" y="5842320"/>
              <a:ext cx="171754" cy="76506"/>
            </a:xfrm>
            <a:custGeom>
              <a:avLst/>
              <a:gdLst>
                <a:gd name="connsiteX0" fmla="*/ 0 w 171754"/>
                <a:gd name="connsiteY0" fmla="*/ 58451 h 76506"/>
                <a:gd name="connsiteX1" fmla="*/ 15507 w 171754"/>
                <a:gd name="connsiteY1" fmla="*/ 64989 h 76506"/>
                <a:gd name="connsiteX2" fmla="*/ 73167 w 171754"/>
                <a:gd name="connsiteY2" fmla="*/ 74619 h 76506"/>
                <a:gd name="connsiteX3" fmla="*/ 106765 w 171754"/>
                <a:gd name="connsiteY3" fmla="*/ 67290 h 76506"/>
                <a:gd name="connsiteX4" fmla="*/ 149001 w 171754"/>
                <a:gd name="connsiteY4" fmla="*/ 67054 h 76506"/>
                <a:gd name="connsiteX5" fmla="*/ 171754 w 171754"/>
                <a:gd name="connsiteY5" fmla="*/ 46980 h 76506"/>
                <a:gd name="connsiteX6" fmla="*/ 148789 w 171754"/>
                <a:gd name="connsiteY6" fmla="*/ 27143 h 76506"/>
                <a:gd name="connsiteX7" fmla="*/ 107308 w 171754"/>
                <a:gd name="connsiteY7" fmla="*/ 27461 h 76506"/>
                <a:gd name="connsiteX8" fmla="*/ 94810 w 171754"/>
                <a:gd name="connsiteY8" fmla="*/ 0 h 765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71754" h="76506">
                  <a:moveTo>
                    <a:pt x="0" y="58451"/>
                  </a:moveTo>
                  <a:cubicBezTo>
                    <a:pt x="9146" y="59773"/>
                    <a:pt x="15507" y="64989"/>
                    <a:pt x="15507" y="64989"/>
                  </a:cubicBezTo>
                  <a:cubicBezTo>
                    <a:pt x="32996" y="79198"/>
                    <a:pt x="63278" y="77321"/>
                    <a:pt x="73167" y="74619"/>
                  </a:cubicBezTo>
                  <a:cubicBezTo>
                    <a:pt x="81180" y="72447"/>
                    <a:pt x="97926" y="67326"/>
                    <a:pt x="106765" y="67290"/>
                  </a:cubicBezTo>
                  <a:cubicBezTo>
                    <a:pt x="119262" y="67219"/>
                    <a:pt x="149001" y="67054"/>
                    <a:pt x="149001" y="67054"/>
                  </a:cubicBezTo>
                  <a:cubicBezTo>
                    <a:pt x="161558" y="66995"/>
                    <a:pt x="171801" y="57955"/>
                    <a:pt x="171754" y="46980"/>
                  </a:cubicBezTo>
                  <a:cubicBezTo>
                    <a:pt x="171695" y="36017"/>
                    <a:pt x="161357" y="27084"/>
                    <a:pt x="148789" y="27143"/>
                  </a:cubicBezTo>
                  <a:lnTo>
                    <a:pt x="107308" y="27461"/>
                  </a:lnTo>
                  <a:cubicBezTo>
                    <a:pt x="107308" y="27461"/>
                    <a:pt x="67031" y="29609"/>
                    <a:pt x="94810" y="0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341" name="Forma livre: Forma 2340">
              <a:extLst>
                <a:ext uri="{FF2B5EF4-FFF2-40B4-BE49-F238E27FC236}">
                  <a16:creationId xmlns:a16="http://schemas.microsoft.com/office/drawing/2014/main" id="{8EC101E7-41FC-F312-566E-696091834B03}"/>
                </a:ext>
              </a:extLst>
            </p:cNvPr>
            <p:cNvSpPr/>
            <p:nvPr/>
          </p:nvSpPr>
          <p:spPr>
            <a:xfrm>
              <a:off x="10544187" y="5908760"/>
              <a:ext cx="37808" cy="26539"/>
            </a:xfrm>
            <a:custGeom>
              <a:avLst/>
              <a:gdLst>
                <a:gd name="connsiteX0" fmla="*/ 1838 w 37808"/>
                <a:gd name="connsiteY0" fmla="*/ 2053 h 26539"/>
                <a:gd name="connsiteX1" fmla="*/ 8789 w 37808"/>
                <a:gd name="connsiteY1" fmla="*/ 25290 h 26539"/>
                <a:gd name="connsiteX2" fmla="*/ 30869 w 37808"/>
                <a:gd name="connsiteY2" fmla="*/ 15247 h 26539"/>
                <a:gd name="connsiteX3" fmla="*/ 37808 w 37808"/>
                <a:gd name="connsiteY3" fmla="*/ 0 h 265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7808" h="26539">
                  <a:moveTo>
                    <a:pt x="1838" y="2053"/>
                  </a:moveTo>
                  <a:cubicBezTo>
                    <a:pt x="-2316" y="11187"/>
                    <a:pt x="812" y="21655"/>
                    <a:pt x="8789" y="25290"/>
                  </a:cubicBezTo>
                  <a:cubicBezTo>
                    <a:pt x="16779" y="28913"/>
                    <a:pt x="26715" y="24381"/>
                    <a:pt x="30869" y="15247"/>
                  </a:cubicBezTo>
                  <a:lnTo>
                    <a:pt x="37808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342" name="Forma livre: Forma 2341">
              <a:extLst>
                <a:ext uri="{FF2B5EF4-FFF2-40B4-BE49-F238E27FC236}">
                  <a16:creationId xmlns:a16="http://schemas.microsoft.com/office/drawing/2014/main" id="{D3ADACEB-1F8F-A4C0-8FC1-119D61008C0C}"/>
                </a:ext>
              </a:extLst>
            </p:cNvPr>
            <p:cNvSpPr/>
            <p:nvPr/>
          </p:nvSpPr>
          <p:spPr>
            <a:xfrm>
              <a:off x="10516072" y="5914023"/>
              <a:ext cx="30874" cy="21774"/>
            </a:xfrm>
            <a:custGeom>
              <a:avLst/>
              <a:gdLst>
                <a:gd name="connsiteX0" fmla="*/ 829 w 30874"/>
                <a:gd name="connsiteY0" fmla="*/ 0 h 21774"/>
                <a:gd name="connsiteX1" fmla="*/ 8794 w 30874"/>
                <a:gd name="connsiteY1" fmla="*/ 20522 h 21774"/>
                <a:gd name="connsiteX2" fmla="*/ 30874 w 30874"/>
                <a:gd name="connsiteY2" fmla="*/ 10491 h 217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0874" h="21774">
                  <a:moveTo>
                    <a:pt x="829" y="0"/>
                  </a:moveTo>
                  <a:cubicBezTo>
                    <a:pt x="-1662" y="8414"/>
                    <a:pt x="1596" y="17253"/>
                    <a:pt x="8794" y="20522"/>
                  </a:cubicBezTo>
                  <a:cubicBezTo>
                    <a:pt x="16784" y="24145"/>
                    <a:pt x="26708" y="19637"/>
                    <a:pt x="30874" y="10491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343" name="Forma livre: Forma 2342">
              <a:extLst>
                <a:ext uri="{FF2B5EF4-FFF2-40B4-BE49-F238E27FC236}">
                  <a16:creationId xmlns:a16="http://schemas.microsoft.com/office/drawing/2014/main" id="{87A3FE57-72F3-4933-55E0-BB5F10AB3448}"/>
                </a:ext>
              </a:extLst>
            </p:cNvPr>
            <p:cNvSpPr/>
            <p:nvPr/>
          </p:nvSpPr>
          <p:spPr>
            <a:xfrm>
              <a:off x="10395891" y="5803458"/>
              <a:ext cx="36701" cy="118165"/>
            </a:xfrm>
            <a:custGeom>
              <a:avLst/>
              <a:gdLst>
                <a:gd name="connsiteX0" fmla="*/ 271 w 36701"/>
                <a:gd name="connsiteY0" fmla="*/ 0 h 118165"/>
                <a:gd name="connsiteX1" fmla="*/ 36702 w 36701"/>
                <a:gd name="connsiteY1" fmla="*/ 83 h 118165"/>
                <a:gd name="connsiteX2" fmla="*/ 36442 w 36701"/>
                <a:gd name="connsiteY2" fmla="*/ 118165 h 118165"/>
                <a:gd name="connsiteX3" fmla="*/ 0 w 36701"/>
                <a:gd name="connsiteY3" fmla="*/ 118082 h 1181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701" h="118165">
                  <a:moveTo>
                    <a:pt x="271" y="0"/>
                  </a:moveTo>
                  <a:lnTo>
                    <a:pt x="36702" y="83"/>
                  </a:lnTo>
                  <a:lnTo>
                    <a:pt x="36442" y="118165"/>
                  </a:lnTo>
                  <a:lnTo>
                    <a:pt x="0" y="118082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344" name="Forma livre: Forma 2343">
              <a:extLst>
                <a:ext uri="{FF2B5EF4-FFF2-40B4-BE49-F238E27FC236}">
                  <a16:creationId xmlns:a16="http://schemas.microsoft.com/office/drawing/2014/main" id="{8EBDDBD7-1696-95DA-C5D2-8273B2118979}"/>
                </a:ext>
              </a:extLst>
            </p:cNvPr>
            <p:cNvSpPr/>
            <p:nvPr/>
          </p:nvSpPr>
          <p:spPr>
            <a:xfrm>
              <a:off x="10432699" y="5801629"/>
              <a:ext cx="60835" cy="21997"/>
            </a:xfrm>
            <a:custGeom>
              <a:avLst/>
              <a:gdLst>
                <a:gd name="connsiteX0" fmla="*/ 60835 w 60835"/>
                <a:gd name="connsiteY0" fmla="*/ 0 h 21997"/>
                <a:gd name="connsiteX1" fmla="*/ 0 w 60835"/>
                <a:gd name="connsiteY1" fmla="*/ 21997 h 219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835" h="21997">
                  <a:moveTo>
                    <a:pt x="60835" y="0"/>
                  </a:moveTo>
                  <a:cubicBezTo>
                    <a:pt x="40289" y="11471"/>
                    <a:pt x="0" y="21997"/>
                    <a:pt x="0" y="21997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2345" name="Gráfico 19">
              <a:extLst>
                <a:ext uri="{FF2B5EF4-FFF2-40B4-BE49-F238E27FC236}">
                  <a16:creationId xmlns:a16="http://schemas.microsoft.com/office/drawing/2014/main" id="{263517B2-3F4B-9126-EF96-0C2F33C3D9C8}"/>
                </a:ext>
              </a:extLst>
            </p:cNvPr>
            <p:cNvGrpSpPr/>
            <p:nvPr/>
          </p:nvGrpSpPr>
          <p:grpSpPr>
            <a:xfrm>
              <a:off x="10460828" y="5703325"/>
              <a:ext cx="197072" cy="240283"/>
              <a:chOff x="10460828" y="5703325"/>
              <a:chExt cx="197072" cy="240283"/>
            </a:xfrm>
            <a:noFill/>
          </p:grpSpPr>
          <p:sp>
            <p:nvSpPr>
              <p:cNvPr id="2346" name="Forma livre: Forma 2345">
                <a:extLst>
                  <a:ext uri="{FF2B5EF4-FFF2-40B4-BE49-F238E27FC236}">
                    <a16:creationId xmlns:a16="http://schemas.microsoft.com/office/drawing/2014/main" id="{A7C2AEEC-9B0B-86E1-C0DC-2AA0CF4AA816}"/>
                  </a:ext>
                </a:extLst>
              </p:cNvPr>
              <p:cNvSpPr/>
              <p:nvPr/>
            </p:nvSpPr>
            <p:spPr>
              <a:xfrm>
                <a:off x="10460828" y="5703325"/>
                <a:ext cx="197072" cy="240283"/>
              </a:xfrm>
              <a:custGeom>
                <a:avLst/>
                <a:gdLst>
                  <a:gd name="connsiteX0" fmla="*/ 112069 w 197072"/>
                  <a:gd name="connsiteY0" fmla="*/ 166314 h 240283"/>
                  <a:gd name="connsiteX1" fmla="*/ 2743 w 197072"/>
                  <a:gd name="connsiteY1" fmla="*/ 29385 h 240283"/>
                  <a:gd name="connsiteX2" fmla="*/ 5292 w 197072"/>
                  <a:gd name="connsiteY2" fmla="*/ 10621 h 240283"/>
                  <a:gd name="connsiteX3" fmla="*/ 14721 w 197072"/>
                  <a:gd name="connsiteY3" fmla="*/ 3092 h 240283"/>
                  <a:gd name="connsiteX4" fmla="*/ 33591 w 197072"/>
                  <a:gd name="connsiteY4" fmla="*/ 4756 h 240283"/>
                  <a:gd name="connsiteX5" fmla="*/ 185413 w 197072"/>
                  <a:gd name="connsiteY5" fmla="*/ 195038 h 240283"/>
                  <a:gd name="connsiteX6" fmla="*/ 197073 w 197072"/>
                  <a:gd name="connsiteY6" fmla="*/ 240284 h 240283"/>
                  <a:gd name="connsiteX7" fmla="*/ 154577 w 197072"/>
                  <a:gd name="connsiteY7" fmla="*/ 219655 h 240283"/>
                  <a:gd name="connsiteX8" fmla="*/ 139991 w 197072"/>
                  <a:gd name="connsiteY8" fmla="*/ 201234 h 2402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97072" h="240283">
                    <a:moveTo>
                      <a:pt x="112069" y="166314"/>
                    </a:moveTo>
                    <a:lnTo>
                      <a:pt x="2743" y="29385"/>
                    </a:lnTo>
                    <a:cubicBezTo>
                      <a:pt x="-1753" y="23768"/>
                      <a:pt x="-597" y="15306"/>
                      <a:pt x="5292" y="10621"/>
                    </a:cubicBezTo>
                    <a:lnTo>
                      <a:pt x="14721" y="3092"/>
                    </a:lnTo>
                    <a:cubicBezTo>
                      <a:pt x="20610" y="-1605"/>
                      <a:pt x="29095" y="-873"/>
                      <a:pt x="33591" y="4756"/>
                    </a:cubicBezTo>
                    <a:lnTo>
                      <a:pt x="185413" y="195038"/>
                    </a:lnTo>
                    <a:lnTo>
                      <a:pt x="197073" y="240284"/>
                    </a:lnTo>
                    <a:lnTo>
                      <a:pt x="154577" y="219655"/>
                    </a:lnTo>
                    <a:lnTo>
                      <a:pt x="139991" y="201234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347" name="Forma livre: Forma 2346">
                <a:extLst>
                  <a:ext uri="{FF2B5EF4-FFF2-40B4-BE49-F238E27FC236}">
                    <a16:creationId xmlns:a16="http://schemas.microsoft.com/office/drawing/2014/main" id="{A26CCFD5-58B2-4B94-7D74-1B712AA5C8F3}"/>
                  </a:ext>
                </a:extLst>
              </p:cNvPr>
              <p:cNvSpPr/>
              <p:nvPr/>
            </p:nvSpPr>
            <p:spPr>
              <a:xfrm>
                <a:off x="10490147" y="5722384"/>
                <a:ext cx="16380" cy="13087"/>
              </a:xfrm>
              <a:custGeom>
                <a:avLst/>
                <a:gdLst>
                  <a:gd name="connsiteX0" fmla="*/ 0 w 16380"/>
                  <a:gd name="connsiteY0" fmla="*/ 13088 h 13087"/>
                  <a:gd name="connsiteX1" fmla="*/ 16380 w 16380"/>
                  <a:gd name="connsiteY1" fmla="*/ 0 h 130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6380" h="13087">
                    <a:moveTo>
                      <a:pt x="0" y="13088"/>
                    </a:moveTo>
                    <a:lnTo>
                      <a:pt x="1638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348" name="Forma livre: Forma 2347">
                <a:extLst>
                  <a:ext uri="{FF2B5EF4-FFF2-40B4-BE49-F238E27FC236}">
                    <a16:creationId xmlns:a16="http://schemas.microsoft.com/office/drawing/2014/main" id="{78E673AF-3CF6-A512-5916-D1A059CFE414}"/>
                  </a:ext>
                </a:extLst>
              </p:cNvPr>
              <p:cNvSpPr/>
              <p:nvPr/>
            </p:nvSpPr>
            <p:spPr>
              <a:xfrm>
                <a:off x="10622473" y="5889583"/>
                <a:ext cx="16368" cy="13075"/>
              </a:xfrm>
              <a:custGeom>
                <a:avLst/>
                <a:gdLst>
                  <a:gd name="connsiteX0" fmla="*/ 0 w 16368"/>
                  <a:gd name="connsiteY0" fmla="*/ 13076 h 13075"/>
                  <a:gd name="connsiteX1" fmla="*/ 16368 w 16368"/>
                  <a:gd name="connsiteY1" fmla="*/ 0 h 130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6368" h="13075">
                    <a:moveTo>
                      <a:pt x="0" y="13076"/>
                    </a:moveTo>
                    <a:lnTo>
                      <a:pt x="16368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2349" name="Forma livre: Forma 2348">
              <a:extLst>
                <a:ext uri="{FF2B5EF4-FFF2-40B4-BE49-F238E27FC236}">
                  <a16:creationId xmlns:a16="http://schemas.microsoft.com/office/drawing/2014/main" id="{CE3E0A28-93B1-3593-AD46-4D6FDCE9595E}"/>
                </a:ext>
              </a:extLst>
            </p:cNvPr>
            <p:cNvSpPr/>
            <p:nvPr/>
          </p:nvSpPr>
          <p:spPr>
            <a:xfrm>
              <a:off x="10489687" y="5963352"/>
              <a:ext cx="172544" cy="48520"/>
            </a:xfrm>
            <a:custGeom>
              <a:avLst/>
              <a:gdLst>
                <a:gd name="connsiteX0" fmla="*/ 172545 w 172544"/>
                <a:gd name="connsiteY0" fmla="*/ 0 h 48520"/>
                <a:gd name="connsiteX1" fmla="*/ 134274 w 172544"/>
                <a:gd name="connsiteY1" fmla="*/ 22788 h 48520"/>
                <a:gd name="connsiteX2" fmla="*/ 75527 w 172544"/>
                <a:gd name="connsiteY2" fmla="*/ 9972 h 48520"/>
                <a:gd name="connsiteX3" fmla="*/ 0 w 172544"/>
                <a:gd name="connsiteY3" fmla="*/ 43806 h 485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2544" h="48520">
                  <a:moveTo>
                    <a:pt x="172545" y="0"/>
                  </a:moveTo>
                  <a:cubicBezTo>
                    <a:pt x="172545" y="0"/>
                    <a:pt x="172415" y="44951"/>
                    <a:pt x="134274" y="22788"/>
                  </a:cubicBezTo>
                  <a:cubicBezTo>
                    <a:pt x="134274" y="22788"/>
                    <a:pt x="87553" y="-8627"/>
                    <a:pt x="75527" y="9972"/>
                  </a:cubicBezTo>
                  <a:cubicBezTo>
                    <a:pt x="60776" y="32819"/>
                    <a:pt x="55583" y="59513"/>
                    <a:pt x="0" y="43806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2350" name="Gráfico 19">
            <a:extLst>
              <a:ext uri="{FF2B5EF4-FFF2-40B4-BE49-F238E27FC236}">
                <a16:creationId xmlns:a16="http://schemas.microsoft.com/office/drawing/2014/main" id="{A23784EE-4A8D-1A82-2A11-422A8CB2E416}"/>
              </a:ext>
            </a:extLst>
          </p:cNvPr>
          <p:cNvGrpSpPr/>
          <p:nvPr/>
        </p:nvGrpSpPr>
        <p:grpSpPr>
          <a:xfrm>
            <a:off x="10368583" y="4184092"/>
            <a:ext cx="323977" cy="209199"/>
            <a:chOff x="10368583" y="4184092"/>
            <a:chExt cx="323977" cy="209199"/>
          </a:xfrm>
          <a:noFill/>
        </p:grpSpPr>
        <p:grpSp>
          <p:nvGrpSpPr>
            <p:cNvPr id="2351" name="Gráfico 19">
              <a:extLst>
                <a:ext uri="{FF2B5EF4-FFF2-40B4-BE49-F238E27FC236}">
                  <a16:creationId xmlns:a16="http://schemas.microsoft.com/office/drawing/2014/main" id="{3FD6AEBE-F756-F58E-A370-388E8ED7F0C2}"/>
                </a:ext>
              </a:extLst>
            </p:cNvPr>
            <p:cNvGrpSpPr/>
            <p:nvPr/>
          </p:nvGrpSpPr>
          <p:grpSpPr>
            <a:xfrm>
              <a:off x="10582739" y="4279705"/>
              <a:ext cx="81745" cy="86301"/>
              <a:chOff x="10582739" y="4279705"/>
              <a:chExt cx="81745" cy="86301"/>
            </a:xfrm>
            <a:noFill/>
          </p:grpSpPr>
          <p:sp>
            <p:nvSpPr>
              <p:cNvPr id="2352" name="Forma livre: Forma 2351">
                <a:extLst>
                  <a:ext uri="{FF2B5EF4-FFF2-40B4-BE49-F238E27FC236}">
                    <a16:creationId xmlns:a16="http://schemas.microsoft.com/office/drawing/2014/main" id="{2DA7705E-63A2-A1F2-85C2-5AE0C506AB23}"/>
                  </a:ext>
                </a:extLst>
              </p:cNvPr>
              <p:cNvSpPr/>
              <p:nvPr/>
            </p:nvSpPr>
            <p:spPr>
              <a:xfrm>
                <a:off x="10582739" y="4279705"/>
                <a:ext cx="81745" cy="65791"/>
              </a:xfrm>
              <a:custGeom>
                <a:avLst/>
                <a:gdLst>
                  <a:gd name="connsiteX0" fmla="*/ 0 w 81745"/>
                  <a:gd name="connsiteY0" fmla="*/ 42071 h 65791"/>
                  <a:gd name="connsiteX1" fmla="*/ 38578 w 81745"/>
                  <a:gd name="connsiteY1" fmla="*/ 59 h 65791"/>
                  <a:gd name="connsiteX2" fmla="*/ 40773 w 81745"/>
                  <a:gd name="connsiteY2" fmla="*/ 0 h 65791"/>
                  <a:gd name="connsiteX3" fmla="*/ 81676 w 81745"/>
                  <a:gd name="connsiteY3" fmla="*/ 42118 h 65791"/>
                  <a:gd name="connsiteX4" fmla="*/ 80071 w 81745"/>
                  <a:gd name="connsiteY4" fmla="*/ 65791 h 657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1745" h="65791">
                    <a:moveTo>
                      <a:pt x="0" y="42071"/>
                    </a:moveTo>
                    <a:cubicBezTo>
                      <a:pt x="1227" y="19720"/>
                      <a:pt x="17725" y="1322"/>
                      <a:pt x="38578" y="59"/>
                    </a:cubicBezTo>
                    <a:cubicBezTo>
                      <a:pt x="39558" y="24"/>
                      <a:pt x="40171" y="0"/>
                      <a:pt x="40773" y="0"/>
                    </a:cubicBezTo>
                    <a:cubicBezTo>
                      <a:pt x="62416" y="0"/>
                      <a:pt x="80378" y="18504"/>
                      <a:pt x="81676" y="42118"/>
                    </a:cubicBezTo>
                    <a:cubicBezTo>
                      <a:pt x="81723" y="43027"/>
                      <a:pt x="82160" y="52610"/>
                      <a:pt x="80071" y="65791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353" name="Forma livre: Forma 2352">
                <a:extLst>
                  <a:ext uri="{FF2B5EF4-FFF2-40B4-BE49-F238E27FC236}">
                    <a16:creationId xmlns:a16="http://schemas.microsoft.com/office/drawing/2014/main" id="{BD31CA1E-D2B5-76C7-10BD-3B35F0A4C035}"/>
                  </a:ext>
                </a:extLst>
              </p:cNvPr>
              <p:cNvSpPr/>
              <p:nvPr/>
            </p:nvSpPr>
            <p:spPr>
              <a:xfrm>
                <a:off x="10598399" y="4302127"/>
                <a:ext cx="45646" cy="58616"/>
              </a:xfrm>
              <a:custGeom>
                <a:avLst/>
                <a:gdLst>
                  <a:gd name="connsiteX0" fmla="*/ 0 w 45646"/>
                  <a:gd name="connsiteY0" fmla="*/ 45623 h 58616"/>
                  <a:gd name="connsiteX1" fmla="*/ 4744 w 45646"/>
                  <a:gd name="connsiteY1" fmla="*/ 23473 h 58616"/>
                  <a:gd name="connsiteX2" fmla="*/ 24051 w 45646"/>
                  <a:gd name="connsiteY2" fmla="*/ 35 h 58616"/>
                  <a:gd name="connsiteX3" fmla="*/ 25113 w 45646"/>
                  <a:gd name="connsiteY3" fmla="*/ 0 h 58616"/>
                  <a:gd name="connsiteX4" fmla="*/ 45588 w 45646"/>
                  <a:gd name="connsiteY4" fmla="*/ 21041 h 58616"/>
                  <a:gd name="connsiteX5" fmla="*/ 39510 w 45646"/>
                  <a:gd name="connsiteY5" fmla="*/ 58616 h 586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45646" h="58616">
                    <a:moveTo>
                      <a:pt x="0" y="45623"/>
                    </a:moveTo>
                    <a:cubicBezTo>
                      <a:pt x="5063" y="35521"/>
                      <a:pt x="4756" y="23602"/>
                      <a:pt x="4744" y="23473"/>
                    </a:cubicBezTo>
                    <a:cubicBezTo>
                      <a:pt x="4178" y="11258"/>
                      <a:pt x="12840" y="708"/>
                      <a:pt x="24051" y="35"/>
                    </a:cubicBezTo>
                    <a:cubicBezTo>
                      <a:pt x="24464" y="12"/>
                      <a:pt x="24782" y="0"/>
                      <a:pt x="25113" y="0"/>
                    </a:cubicBezTo>
                    <a:cubicBezTo>
                      <a:pt x="35946" y="0"/>
                      <a:pt x="44951" y="9252"/>
                      <a:pt x="45588" y="21041"/>
                    </a:cubicBezTo>
                    <a:cubicBezTo>
                      <a:pt x="45647" y="22163"/>
                      <a:pt x="46461" y="39675"/>
                      <a:pt x="39510" y="58616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354" name="Forma livre: Forma 2353">
                <a:extLst>
                  <a:ext uri="{FF2B5EF4-FFF2-40B4-BE49-F238E27FC236}">
                    <a16:creationId xmlns:a16="http://schemas.microsoft.com/office/drawing/2014/main" id="{6F5008F5-3D4B-0D8D-11A3-92AC05F334BD}"/>
                  </a:ext>
                </a:extLst>
              </p:cNvPr>
              <p:cNvSpPr/>
              <p:nvPr/>
            </p:nvSpPr>
            <p:spPr>
              <a:xfrm>
                <a:off x="10611793" y="4324502"/>
                <a:ext cx="11812" cy="41504"/>
              </a:xfrm>
              <a:custGeom>
                <a:avLst/>
                <a:gdLst>
                  <a:gd name="connsiteX0" fmla="*/ 11778 w 11812"/>
                  <a:gd name="connsiteY0" fmla="*/ 0 h 41504"/>
                  <a:gd name="connsiteX1" fmla="*/ 0 w 11812"/>
                  <a:gd name="connsiteY1" fmla="*/ 41505 h 415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812" h="41504">
                    <a:moveTo>
                      <a:pt x="11778" y="0"/>
                    </a:moveTo>
                    <a:cubicBezTo>
                      <a:pt x="11778" y="0"/>
                      <a:pt x="13064" y="23626"/>
                      <a:pt x="0" y="41505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2355" name="Forma livre: Forma 2354">
              <a:extLst>
                <a:ext uri="{FF2B5EF4-FFF2-40B4-BE49-F238E27FC236}">
                  <a16:creationId xmlns:a16="http://schemas.microsoft.com/office/drawing/2014/main" id="{90047DE1-7EAF-D73C-C1BD-4A3964E5B6A9}"/>
                </a:ext>
              </a:extLst>
            </p:cNvPr>
            <p:cNvSpPr/>
            <p:nvPr/>
          </p:nvSpPr>
          <p:spPr>
            <a:xfrm>
              <a:off x="10368583" y="4184092"/>
              <a:ext cx="323977" cy="209199"/>
            </a:xfrm>
            <a:custGeom>
              <a:avLst/>
              <a:gdLst>
                <a:gd name="connsiteX0" fmla="*/ 302523 w 323977"/>
                <a:gd name="connsiteY0" fmla="*/ 0 h 209199"/>
                <a:gd name="connsiteX1" fmla="*/ 323977 w 323977"/>
                <a:gd name="connsiteY1" fmla="*/ 21455 h 209199"/>
                <a:gd name="connsiteX2" fmla="*/ 323977 w 323977"/>
                <a:gd name="connsiteY2" fmla="*/ 187745 h 209199"/>
                <a:gd name="connsiteX3" fmla="*/ 302523 w 323977"/>
                <a:gd name="connsiteY3" fmla="*/ 209199 h 209199"/>
                <a:gd name="connsiteX4" fmla="*/ 21455 w 323977"/>
                <a:gd name="connsiteY4" fmla="*/ 209199 h 209199"/>
                <a:gd name="connsiteX5" fmla="*/ 0 w 323977"/>
                <a:gd name="connsiteY5" fmla="*/ 187745 h 209199"/>
                <a:gd name="connsiteX6" fmla="*/ 0 w 323977"/>
                <a:gd name="connsiteY6" fmla="*/ 21455 h 209199"/>
                <a:gd name="connsiteX7" fmla="*/ 21455 w 323977"/>
                <a:gd name="connsiteY7" fmla="*/ 0 h 2091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23977" h="209199">
                  <a:moveTo>
                    <a:pt x="302523" y="0"/>
                  </a:moveTo>
                  <a:cubicBezTo>
                    <a:pt x="314372" y="0"/>
                    <a:pt x="323977" y="9606"/>
                    <a:pt x="323977" y="21455"/>
                  </a:cubicBezTo>
                  <a:lnTo>
                    <a:pt x="323977" y="187745"/>
                  </a:lnTo>
                  <a:cubicBezTo>
                    <a:pt x="323977" y="199594"/>
                    <a:pt x="314372" y="209199"/>
                    <a:pt x="302523" y="209199"/>
                  </a:cubicBezTo>
                  <a:lnTo>
                    <a:pt x="21455" y="209199"/>
                  </a:lnTo>
                  <a:cubicBezTo>
                    <a:pt x="9606" y="209199"/>
                    <a:pt x="0" y="199594"/>
                    <a:pt x="0" y="187745"/>
                  </a:cubicBezTo>
                  <a:lnTo>
                    <a:pt x="0" y="21455"/>
                  </a:lnTo>
                  <a:cubicBezTo>
                    <a:pt x="0" y="9606"/>
                    <a:pt x="9606" y="0"/>
                    <a:pt x="21455" y="0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2356" name="Gráfico 19">
              <a:extLst>
                <a:ext uri="{FF2B5EF4-FFF2-40B4-BE49-F238E27FC236}">
                  <a16:creationId xmlns:a16="http://schemas.microsoft.com/office/drawing/2014/main" id="{EFBB7BAA-633F-1739-E359-F50017572B5A}"/>
                </a:ext>
              </a:extLst>
            </p:cNvPr>
            <p:cNvGrpSpPr/>
            <p:nvPr/>
          </p:nvGrpSpPr>
          <p:grpSpPr>
            <a:xfrm>
              <a:off x="10402842" y="4217713"/>
              <a:ext cx="71479" cy="71503"/>
              <a:chOff x="10402842" y="4217713"/>
              <a:chExt cx="71479" cy="71503"/>
            </a:xfrm>
            <a:noFill/>
          </p:grpSpPr>
          <p:sp>
            <p:nvSpPr>
              <p:cNvPr id="2357" name="Forma livre: Forma 2356">
                <a:extLst>
                  <a:ext uri="{FF2B5EF4-FFF2-40B4-BE49-F238E27FC236}">
                    <a16:creationId xmlns:a16="http://schemas.microsoft.com/office/drawing/2014/main" id="{A3EBE278-8F91-09D8-B4B4-5C5628E81764}"/>
                  </a:ext>
                </a:extLst>
              </p:cNvPr>
              <p:cNvSpPr/>
              <p:nvPr/>
            </p:nvSpPr>
            <p:spPr>
              <a:xfrm>
                <a:off x="10402842" y="4217713"/>
                <a:ext cx="71479" cy="71479"/>
              </a:xfrm>
              <a:custGeom>
                <a:avLst/>
                <a:gdLst>
                  <a:gd name="connsiteX0" fmla="*/ 0 w 71479"/>
                  <a:gd name="connsiteY0" fmla="*/ 0 h 71479"/>
                  <a:gd name="connsiteX1" fmla="*/ 71480 w 71479"/>
                  <a:gd name="connsiteY1" fmla="*/ 0 h 71479"/>
                  <a:gd name="connsiteX2" fmla="*/ 71480 w 71479"/>
                  <a:gd name="connsiteY2" fmla="*/ 71480 h 71479"/>
                  <a:gd name="connsiteX3" fmla="*/ 0 w 71479"/>
                  <a:gd name="connsiteY3" fmla="*/ 71480 h 714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1479" h="71479">
                    <a:moveTo>
                      <a:pt x="0" y="0"/>
                    </a:moveTo>
                    <a:lnTo>
                      <a:pt x="71480" y="0"/>
                    </a:lnTo>
                    <a:lnTo>
                      <a:pt x="71480" y="71480"/>
                    </a:lnTo>
                    <a:lnTo>
                      <a:pt x="0" y="71480"/>
                    </a:lnTo>
                    <a:close/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358" name="Forma livre: Forma 2357">
                <a:extLst>
                  <a:ext uri="{FF2B5EF4-FFF2-40B4-BE49-F238E27FC236}">
                    <a16:creationId xmlns:a16="http://schemas.microsoft.com/office/drawing/2014/main" id="{F8F8BF44-3F7F-3267-7471-08652FC53833}"/>
                  </a:ext>
                </a:extLst>
              </p:cNvPr>
              <p:cNvSpPr/>
              <p:nvPr/>
            </p:nvSpPr>
            <p:spPr>
              <a:xfrm>
                <a:off x="10425736" y="4218079"/>
                <a:ext cx="1180" cy="71137"/>
              </a:xfrm>
              <a:custGeom>
                <a:avLst/>
                <a:gdLst>
                  <a:gd name="connsiteX0" fmla="*/ 0 w 1180"/>
                  <a:gd name="connsiteY0" fmla="*/ 0 h 71137"/>
                  <a:gd name="connsiteX1" fmla="*/ 0 w 1180"/>
                  <a:gd name="connsiteY1" fmla="*/ 71137 h 711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80" h="71137">
                    <a:moveTo>
                      <a:pt x="0" y="0"/>
                    </a:moveTo>
                    <a:lnTo>
                      <a:pt x="0" y="71137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2359" name="Gráfico 19">
              <a:extLst>
                <a:ext uri="{FF2B5EF4-FFF2-40B4-BE49-F238E27FC236}">
                  <a16:creationId xmlns:a16="http://schemas.microsoft.com/office/drawing/2014/main" id="{362A7BF2-8F57-6556-E223-10738468211C}"/>
                </a:ext>
              </a:extLst>
            </p:cNvPr>
            <p:cNvGrpSpPr/>
            <p:nvPr/>
          </p:nvGrpSpPr>
          <p:grpSpPr>
            <a:xfrm>
              <a:off x="10402925" y="4241610"/>
              <a:ext cx="71314" cy="23779"/>
              <a:chOff x="10402925" y="4241610"/>
              <a:chExt cx="71314" cy="23779"/>
            </a:xfrm>
          </p:grpSpPr>
          <p:sp>
            <p:nvSpPr>
              <p:cNvPr id="2360" name="Forma livre: Forma 2359">
                <a:extLst>
                  <a:ext uri="{FF2B5EF4-FFF2-40B4-BE49-F238E27FC236}">
                    <a16:creationId xmlns:a16="http://schemas.microsoft.com/office/drawing/2014/main" id="{279E9007-2031-E895-9B6F-1F7A62F68F3D}"/>
                  </a:ext>
                </a:extLst>
              </p:cNvPr>
              <p:cNvSpPr/>
              <p:nvPr/>
            </p:nvSpPr>
            <p:spPr>
              <a:xfrm>
                <a:off x="10402925" y="4241610"/>
                <a:ext cx="22717" cy="1180"/>
              </a:xfrm>
              <a:custGeom>
                <a:avLst/>
                <a:gdLst>
                  <a:gd name="connsiteX0" fmla="*/ 0 w 22717"/>
                  <a:gd name="connsiteY0" fmla="*/ 0 h 1180"/>
                  <a:gd name="connsiteX1" fmla="*/ 22717 w 22717"/>
                  <a:gd name="connsiteY1" fmla="*/ 0 h 11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2717" h="1180">
                    <a:moveTo>
                      <a:pt x="0" y="0"/>
                    </a:moveTo>
                    <a:lnTo>
                      <a:pt x="22717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361" name="Forma livre: Forma 2360">
                <a:extLst>
                  <a:ext uri="{FF2B5EF4-FFF2-40B4-BE49-F238E27FC236}">
                    <a16:creationId xmlns:a16="http://schemas.microsoft.com/office/drawing/2014/main" id="{8C36F3C6-67E3-5925-1529-5BD31F944A27}"/>
                  </a:ext>
                </a:extLst>
              </p:cNvPr>
              <p:cNvSpPr/>
              <p:nvPr/>
            </p:nvSpPr>
            <p:spPr>
              <a:xfrm>
                <a:off x="10402925" y="4265390"/>
                <a:ext cx="22717" cy="1180"/>
              </a:xfrm>
              <a:custGeom>
                <a:avLst/>
                <a:gdLst>
                  <a:gd name="connsiteX0" fmla="*/ 0 w 22717"/>
                  <a:gd name="connsiteY0" fmla="*/ 0 h 1180"/>
                  <a:gd name="connsiteX1" fmla="*/ 22717 w 22717"/>
                  <a:gd name="connsiteY1" fmla="*/ 0 h 11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2717" h="1180">
                    <a:moveTo>
                      <a:pt x="0" y="0"/>
                    </a:moveTo>
                    <a:lnTo>
                      <a:pt x="22717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362" name="Forma livre: Forma 2361">
                <a:extLst>
                  <a:ext uri="{FF2B5EF4-FFF2-40B4-BE49-F238E27FC236}">
                    <a16:creationId xmlns:a16="http://schemas.microsoft.com/office/drawing/2014/main" id="{285EF382-91D7-20ED-4410-0A6DA080F0E4}"/>
                  </a:ext>
                </a:extLst>
              </p:cNvPr>
              <p:cNvSpPr/>
              <p:nvPr/>
            </p:nvSpPr>
            <p:spPr>
              <a:xfrm>
                <a:off x="10451522" y="4265390"/>
                <a:ext cx="22717" cy="1180"/>
              </a:xfrm>
              <a:custGeom>
                <a:avLst/>
                <a:gdLst>
                  <a:gd name="connsiteX0" fmla="*/ 0 w 22717"/>
                  <a:gd name="connsiteY0" fmla="*/ 0 h 1180"/>
                  <a:gd name="connsiteX1" fmla="*/ 22717 w 22717"/>
                  <a:gd name="connsiteY1" fmla="*/ 0 h 11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2717" h="1180">
                    <a:moveTo>
                      <a:pt x="0" y="0"/>
                    </a:moveTo>
                    <a:lnTo>
                      <a:pt x="22717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2363" name="Gráfico 19">
              <a:extLst>
                <a:ext uri="{FF2B5EF4-FFF2-40B4-BE49-F238E27FC236}">
                  <a16:creationId xmlns:a16="http://schemas.microsoft.com/office/drawing/2014/main" id="{80282485-62C8-815F-4A3A-7FF33F63C478}"/>
                </a:ext>
              </a:extLst>
            </p:cNvPr>
            <p:cNvGrpSpPr/>
            <p:nvPr/>
          </p:nvGrpSpPr>
          <p:grpSpPr>
            <a:xfrm>
              <a:off x="10501382" y="4220345"/>
              <a:ext cx="32935" cy="66936"/>
              <a:chOff x="10501382" y="4220345"/>
              <a:chExt cx="32935" cy="66936"/>
            </a:xfrm>
            <a:noFill/>
          </p:grpSpPr>
          <p:sp>
            <p:nvSpPr>
              <p:cNvPr id="2364" name="Forma livre: Forma 2363">
                <a:extLst>
                  <a:ext uri="{FF2B5EF4-FFF2-40B4-BE49-F238E27FC236}">
                    <a16:creationId xmlns:a16="http://schemas.microsoft.com/office/drawing/2014/main" id="{D8FAC1EC-E5B0-39E7-5BAC-EDEB6AC09F37}"/>
                  </a:ext>
                </a:extLst>
              </p:cNvPr>
              <p:cNvSpPr/>
              <p:nvPr/>
            </p:nvSpPr>
            <p:spPr>
              <a:xfrm>
                <a:off x="10501382" y="4232524"/>
                <a:ext cx="8501" cy="41941"/>
              </a:xfrm>
              <a:custGeom>
                <a:avLst/>
                <a:gdLst>
                  <a:gd name="connsiteX0" fmla="*/ 0 w 8501"/>
                  <a:gd name="connsiteY0" fmla="*/ 41941 h 41941"/>
                  <a:gd name="connsiteX1" fmla="*/ 8497 w 8501"/>
                  <a:gd name="connsiteY1" fmla="*/ 21100 h 41941"/>
                  <a:gd name="connsiteX2" fmla="*/ 826 w 8501"/>
                  <a:gd name="connsiteY2" fmla="*/ 0 h 419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501" h="41941">
                    <a:moveTo>
                      <a:pt x="0" y="41941"/>
                    </a:moveTo>
                    <a:cubicBezTo>
                      <a:pt x="5122" y="36489"/>
                      <a:pt x="8320" y="29196"/>
                      <a:pt x="8497" y="21100"/>
                    </a:cubicBezTo>
                    <a:cubicBezTo>
                      <a:pt x="8638" y="13040"/>
                      <a:pt x="5724" y="5653"/>
                      <a:pt x="826" y="0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365" name="Forma livre: Forma 2364">
                <a:extLst>
                  <a:ext uri="{FF2B5EF4-FFF2-40B4-BE49-F238E27FC236}">
                    <a16:creationId xmlns:a16="http://schemas.microsoft.com/office/drawing/2014/main" id="{917551E4-7DC2-013D-EDCE-465A46270CC3}"/>
                  </a:ext>
                </a:extLst>
              </p:cNvPr>
              <p:cNvSpPr/>
              <p:nvPr/>
            </p:nvSpPr>
            <p:spPr>
              <a:xfrm>
                <a:off x="10521290" y="4220345"/>
                <a:ext cx="13026" cy="66936"/>
              </a:xfrm>
              <a:custGeom>
                <a:avLst/>
                <a:gdLst>
                  <a:gd name="connsiteX0" fmla="*/ 0 w 13026"/>
                  <a:gd name="connsiteY0" fmla="*/ 66936 h 66936"/>
                  <a:gd name="connsiteX1" fmla="*/ 13017 w 13026"/>
                  <a:gd name="connsiteY1" fmla="*/ 33692 h 66936"/>
                  <a:gd name="connsiteX2" fmla="*/ 1322 w 13026"/>
                  <a:gd name="connsiteY2" fmla="*/ 0 h 669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3026" h="66936">
                    <a:moveTo>
                      <a:pt x="0" y="66936"/>
                    </a:moveTo>
                    <a:cubicBezTo>
                      <a:pt x="7871" y="58062"/>
                      <a:pt x="12757" y="46473"/>
                      <a:pt x="13017" y="33692"/>
                    </a:cubicBezTo>
                    <a:cubicBezTo>
                      <a:pt x="13264" y="20923"/>
                      <a:pt x="8827" y="9158"/>
                      <a:pt x="1322" y="0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2366" name="Forma livre: Forma 2365">
              <a:extLst>
                <a:ext uri="{FF2B5EF4-FFF2-40B4-BE49-F238E27FC236}">
                  <a16:creationId xmlns:a16="http://schemas.microsoft.com/office/drawing/2014/main" id="{275B76DE-74B9-F9D8-9682-B4ED94B9FBED}"/>
                </a:ext>
              </a:extLst>
            </p:cNvPr>
            <p:cNvSpPr/>
            <p:nvPr/>
          </p:nvSpPr>
          <p:spPr>
            <a:xfrm>
              <a:off x="10451522" y="4241611"/>
              <a:ext cx="22717" cy="47499"/>
            </a:xfrm>
            <a:custGeom>
              <a:avLst/>
              <a:gdLst>
                <a:gd name="connsiteX0" fmla="*/ 22717 w 22717"/>
                <a:gd name="connsiteY0" fmla="*/ 0 h 47499"/>
                <a:gd name="connsiteX1" fmla="*/ 0 w 22717"/>
                <a:gd name="connsiteY1" fmla="*/ 0 h 47499"/>
                <a:gd name="connsiteX2" fmla="*/ 0 w 22717"/>
                <a:gd name="connsiteY2" fmla="*/ 47500 h 474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2717" h="47499">
                  <a:moveTo>
                    <a:pt x="22717" y="0"/>
                  </a:moveTo>
                  <a:lnTo>
                    <a:pt x="0" y="0"/>
                  </a:lnTo>
                  <a:lnTo>
                    <a:pt x="0" y="4750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2367" name="Gráfico 19">
            <a:extLst>
              <a:ext uri="{FF2B5EF4-FFF2-40B4-BE49-F238E27FC236}">
                <a16:creationId xmlns:a16="http://schemas.microsoft.com/office/drawing/2014/main" id="{CE5BA46F-CDB0-111B-E38B-8E265E75A0E6}"/>
              </a:ext>
            </a:extLst>
          </p:cNvPr>
          <p:cNvGrpSpPr/>
          <p:nvPr/>
        </p:nvGrpSpPr>
        <p:grpSpPr>
          <a:xfrm>
            <a:off x="9764624" y="3609918"/>
            <a:ext cx="304611" cy="311574"/>
            <a:chOff x="9764624" y="3609918"/>
            <a:chExt cx="304611" cy="311574"/>
          </a:xfrm>
          <a:noFill/>
        </p:grpSpPr>
        <p:grpSp>
          <p:nvGrpSpPr>
            <p:cNvPr id="2368" name="Gráfico 19">
              <a:extLst>
                <a:ext uri="{FF2B5EF4-FFF2-40B4-BE49-F238E27FC236}">
                  <a16:creationId xmlns:a16="http://schemas.microsoft.com/office/drawing/2014/main" id="{8D8D53D2-F24E-C402-99ED-6FDBE0670D48}"/>
                </a:ext>
              </a:extLst>
            </p:cNvPr>
            <p:cNvGrpSpPr/>
            <p:nvPr/>
          </p:nvGrpSpPr>
          <p:grpSpPr>
            <a:xfrm>
              <a:off x="9795047" y="3609918"/>
              <a:ext cx="243788" cy="211677"/>
              <a:chOff x="9795047" y="3609918"/>
              <a:chExt cx="243788" cy="211677"/>
            </a:xfrm>
            <a:noFill/>
          </p:grpSpPr>
          <p:grpSp>
            <p:nvGrpSpPr>
              <p:cNvPr id="2369" name="Gráfico 19">
                <a:extLst>
                  <a:ext uri="{FF2B5EF4-FFF2-40B4-BE49-F238E27FC236}">
                    <a16:creationId xmlns:a16="http://schemas.microsoft.com/office/drawing/2014/main" id="{1E3A1CB4-2610-481F-25C3-0FB3747B8011}"/>
                  </a:ext>
                </a:extLst>
              </p:cNvPr>
              <p:cNvGrpSpPr/>
              <p:nvPr/>
            </p:nvGrpSpPr>
            <p:grpSpPr>
              <a:xfrm>
                <a:off x="9795047" y="3609918"/>
                <a:ext cx="243788" cy="38141"/>
                <a:chOff x="9795047" y="3609918"/>
                <a:chExt cx="243788" cy="38141"/>
              </a:xfrm>
              <a:noFill/>
            </p:grpSpPr>
            <p:sp>
              <p:nvSpPr>
                <p:cNvPr id="2370" name="Forma livre: Forma 2369">
                  <a:extLst>
                    <a:ext uri="{FF2B5EF4-FFF2-40B4-BE49-F238E27FC236}">
                      <a16:creationId xmlns:a16="http://schemas.microsoft.com/office/drawing/2014/main" id="{F614C7DC-2C2D-6AA4-D608-A3EA55295889}"/>
                    </a:ext>
                  </a:extLst>
                </p:cNvPr>
                <p:cNvSpPr/>
                <p:nvPr/>
              </p:nvSpPr>
              <p:spPr>
                <a:xfrm>
                  <a:off x="9795047" y="3609918"/>
                  <a:ext cx="38188" cy="38141"/>
                </a:xfrm>
                <a:custGeom>
                  <a:avLst/>
                  <a:gdLst>
                    <a:gd name="connsiteX0" fmla="*/ 0 w 38188"/>
                    <a:gd name="connsiteY0" fmla="*/ 38141 h 38141"/>
                    <a:gd name="connsiteX1" fmla="*/ 0 w 38188"/>
                    <a:gd name="connsiteY1" fmla="*/ 0 h 38141"/>
                    <a:gd name="connsiteX2" fmla="*/ 38189 w 38188"/>
                    <a:gd name="connsiteY2" fmla="*/ 0 h 3814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38188" h="38141">
                      <a:moveTo>
                        <a:pt x="0" y="38141"/>
                      </a:moveTo>
                      <a:lnTo>
                        <a:pt x="0" y="0"/>
                      </a:lnTo>
                      <a:lnTo>
                        <a:pt x="38189" y="0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371" name="Forma livre: Forma 2370">
                  <a:extLst>
                    <a:ext uri="{FF2B5EF4-FFF2-40B4-BE49-F238E27FC236}">
                      <a16:creationId xmlns:a16="http://schemas.microsoft.com/office/drawing/2014/main" id="{2AF1A401-3688-496E-764F-B140ECAD1DEF}"/>
                    </a:ext>
                  </a:extLst>
                </p:cNvPr>
                <p:cNvSpPr/>
                <p:nvPr/>
              </p:nvSpPr>
              <p:spPr>
                <a:xfrm>
                  <a:off x="10000647" y="3609918"/>
                  <a:ext cx="38188" cy="38141"/>
                </a:xfrm>
                <a:custGeom>
                  <a:avLst/>
                  <a:gdLst>
                    <a:gd name="connsiteX0" fmla="*/ 38189 w 38188"/>
                    <a:gd name="connsiteY0" fmla="*/ 38141 h 38141"/>
                    <a:gd name="connsiteX1" fmla="*/ 38189 w 38188"/>
                    <a:gd name="connsiteY1" fmla="*/ 0 h 38141"/>
                    <a:gd name="connsiteX2" fmla="*/ 0 w 38188"/>
                    <a:gd name="connsiteY2" fmla="*/ 0 h 3814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38188" h="38141">
                      <a:moveTo>
                        <a:pt x="38189" y="38141"/>
                      </a:moveTo>
                      <a:lnTo>
                        <a:pt x="38189" y="0"/>
                      </a:lnTo>
                      <a:lnTo>
                        <a:pt x="0" y="0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2372" name="Gráfico 19">
                <a:extLst>
                  <a:ext uri="{FF2B5EF4-FFF2-40B4-BE49-F238E27FC236}">
                    <a16:creationId xmlns:a16="http://schemas.microsoft.com/office/drawing/2014/main" id="{CD96F9ED-61C8-2533-C1C4-FFC01B2FBF8E}"/>
                  </a:ext>
                </a:extLst>
              </p:cNvPr>
              <p:cNvGrpSpPr/>
              <p:nvPr/>
            </p:nvGrpSpPr>
            <p:grpSpPr>
              <a:xfrm>
                <a:off x="9795047" y="3783454"/>
                <a:ext cx="243788" cy="38141"/>
                <a:chOff x="9795047" y="3783454"/>
                <a:chExt cx="243788" cy="38141"/>
              </a:xfrm>
              <a:noFill/>
            </p:grpSpPr>
            <p:sp>
              <p:nvSpPr>
                <p:cNvPr id="2373" name="Forma livre: Forma 2372">
                  <a:extLst>
                    <a:ext uri="{FF2B5EF4-FFF2-40B4-BE49-F238E27FC236}">
                      <a16:creationId xmlns:a16="http://schemas.microsoft.com/office/drawing/2014/main" id="{794473BE-21B8-DB65-E38B-6DE4F204309C}"/>
                    </a:ext>
                  </a:extLst>
                </p:cNvPr>
                <p:cNvSpPr/>
                <p:nvPr/>
              </p:nvSpPr>
              <p:spPr>
                <a:xfrm>
                  <a:off x="10000647" y="3783454"/>
                  <a:ext cx="38188" cy="38141"/>
                </a:xfrm>
                <a:custGeom>
                  <a:avLst/>
                  <a:gdLst>
                    <a:gd name="connsiteX0" fmla="*/ 38189 w 38188"/>
                    <a:gd name="connsiteY0" fmla="*/ 0 h 38141"/>
                    <a:gd name="connsiteX1" fmla="*/ 38189 w 38188"/>
                    <a:gd name="connsiteY1" fmla="*/ 38141 h 38141"/>
                    <a:gd name="connsiteX2" fmla="*/ 0 w 38188"/>
                    <a:gd name="connsiteY2" fmla="*/ 38141 h 3814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38188" h="38141">
                      <a:moveTo>
                        <a:pt x="38189" y="0"/>
                      </a:moveTo>
                      <a:lnTo>
                        <a:pt x="38189" y="38141"/>
                      </a:lnTo>
                      <a:lnTo>
                        <a:pt x="0" y="38141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374" name="Forma livre: Forma 2373">
                  <a:extLst>
                    <a:ext uri="{FF2B5EF4-FFF2-40B4-BE49-F238E27FC236}">
                      <a16:creationId xmlns:a16="http://schemas.microsoft.com/office/drawing/2014/main" id="{B2739F6E-F3D3-C0F2-18BF-F464419023C6}"/>
                    </a:ext>
                  </a:extLst>
                </p:cNvPr>
                <p:cNvSpPr/>
                <p:nvPr/>
              </p:nvSpPr>
              <p:spPr>
                <a:xfrm>
                  <a:off x="9795047" y="3783454"/>
                  <a:ext cx="38188" cy="38141"/>
                </a:xfrm>
                <a:custGeom>
                  <a:avLst/>
                  <a:gdLst>
                    <a:gd name="connsiteX0" fmla="*/ 0 w 38188"/>
                    <a:gd name="connsiteY0" fmla="*/ 0 h 38141"/>
                    <a:gd name="connsiteX1" fmla="*/ 0 w 38188"/>
                    <a:gd name="connsiteY1" fmla="*/ 38141 h 38141"/>
                    <a:gd name="connsiteX2" fmla="*/ 38189 w 38188"/>
                    <a:gd name="connsiteY2" fmla="*/ 38141 h 3814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38188" h="38141">
                      <a:moveTo>
                        <a:pt x="0" y="0"/>
                      </a:moveTo>
                      <a:lnTo>
                        <a:pt x="0" y="38141"/>
                      </a:lnTo>
                      <a:lnTo>
                        <a:pt x="38189" y="38141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grpSp>
          <p:nvGrpSpPr>
            <p:cNvPr id="2375" name="Gráfico 19">
              <a:extLst>
                <a:ext uri="{FF2B5EF4-FFF2-40B4-BE49-F238E27FC236}">
                  <a16:creationId xmlns:a16="http://schemas.microsoft.com/office/drawing/2014/main" id="{FCE633B1-3284-E1BA-4C3E-2DA0C465207B}"/>
                </a:ext>
              </a:extLst>
            </p:cNvPr>
            <p:cNvGrpSpPr/>
            <p:nvPr/>
          </p:nvGrpSpPr>
          <p:grpSpPr>
            <a:xfrm>
              <a:off x="9764624" y="3628375"/>
              <a:ext cx="304611" cy="293117"/>
              <a:chOff x="9764624" y="3628375"/>
              <a:chExt cx="304611" cy="293117"/>
            </a:xfrm>
            <a:noFill/>
          </p:grpSpPr>
          <p:grpSp>
            <p:nvGrpSpPr>
              <p:cNvPr id="2376" name="Gráfico 19">
                <a:extLst>
                  <a:ext uri="{FF2B5EF4-FFF2-40B4-BE49-F238E27FC236}">
                    <a16:creationId xmlns:a16="http://schemas.microsoft.com/office/drawing/2014/main" id="{AC8A6078-BEAC-0CC7-85C8-AA660E40258D}"/>
                  </a:ext>
                </a:extLst>
              </p:cNvPr>
              <p:cNvGrpSpPr/>
              <p:nvPr/>
            </p:nvGrpSpPr>
            <p:grpSpPr>
              <a:xfrm>
                <a:off x="9838609" y="3628375"/>
                <a:ext cx="156670" cy="195675"/>
                <a:chOff x="9838609" y="3628375"/>
                <a:chExt cx="156670" cy="195675"/>
              </a:xfrm>
              <a:noFill/>
            </p:grpSpPr>
            <p:sp>
              <p:nvSpPr>
                <p:cNvPr id="2377" name="Forma livre: Forma 2376">
                  <a:extLst>
                    <a:ext uri="{FF2B5EF4-FFF2-40B4-BE49-F238E27FC236}">
                      <a16:creationId xmlns:a16="http://schemas.microsoft.com/office/drawing/2014/main" id="{A799F5DA-FD54-B9B6-CAAB-C053D142B476}"/>
                    </a:ext>
                  </a:extLst>
                </p:cNvPr>
                <p:cNvSpPr/>
                <p:nvPr/>
              </p:nvSpPr>
              <p:spPr>
                <a:xfrm>
                  <a:off x="9844730" y="3628375"/>
                  <a:ext cx="144142" cy="100463"/>
                </a:xfrm>
                <a:custGeom>
                  <a:avLst/>
                  <a:gdLst>
                    <a:gd name="connsiteX0" fmla="*/ 143443 w 144142"/>
                    <a:gd name="connsiteY0" fmla="*/ 100463 h 100463"/>
                    <a:gd name="connsiteX1" fmla="*/ 144045 w 144142"/>
                    <a:gd name="connsiteY1" fmla="*/ 95660 h 100463"/>
                    <a:gd name="connsiteX2" fmla="*/ 121469 w 144142"/>
                    <a:gd name="connsiteY2" fmla="*/ 17973 h 100463"/>
                    <a:gd name="connsiteX3" fmla="*/ 102351 w 144142"/>
                    <a:gd name="connsiteY3" fmla="*/ 7966 h 100463"/>
                    <a:gd name="connsiteX4" fmla="*/ 71385 w 144142"/>
                    <a:gd name="connsiteY4" fmla="*/ 0 h 100463"/>
                    <a:gd name="connsiteX5" fmla="*/ 0 w 144142"/>
                    <a:gd name="connsiteY5" fmla="*/ 77569 h 10046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144142" h="100463">
                      <a:moveTo>
                        <a:pt x="143443" y="100463"/>
                      </a:moveTo>
                      <a:cubicBezTo>
                        <a:pt x="143667" y="98835"/>
                        <a:pt x="144045" y="97230"/>
                        <a:pt x="144045" y="95660"/>
                      </a:cubicBezTo>
                      <a:cubicBezTo>
                        <a:pt x="144045" y="64635"/>
                        <a:pt x="146924" y="36265"/>
                        <a:pt x="121469" y="17973"/>
                      </a:cubicBezTo>
                      <a:cubicBezTo>
                        <a:pt x="116442" y="14374"/>
                        <a:pt x="105679" y="14858"/>
                        <a:pt x="102351" y="7966"/>
                      </a:cubicBezTo>
                      <a:cubicBezTo>
                        <a:pt x="99448" y="1947"/>
                        <a:pt x="94220" y="555"/>
                        <a:pt x="71385" y="0"/>
                      </a:cubicBezTo>
                      <a:cubicBezTo>
                        <a:pt x="11919" y="1428"/>
                        <a:pt x="1251" y="39687"/>
                        <a:pt x="0" y="77569"/>
                      </a:cubicBez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378" name="Forma livre: Forma 2377">
                  <a:extLst>
                    <a:ext uri="{FF2B5EF4-FFF2-40B4-BE49-F238E27FC236}">
                      <a16:creationId xmlns:a16="http://schemas.microsoft.com/office/drawing/2014/main" id="{7197B255-2B94-6875-B115-E46DD021FAD4}"/>
                    </a:ext>
                  </a:extLst>
                </p:cNvPr>
                <p:cNvSpPr/>
                <p:nvPr/>
              </p:nvSpPr>
              <p:spPr>
                <a:xfrm>
                  <a:off x="9862679" y="3679285"/>
                  <a:ext cx="105384" cy="31402"/>
                </a:xfrm>
                <a:custGeom>
                  <a:avLst/>
                  <a:gdLst>
                    <a:gd name="connsiteX0" fmla="*/ 105384 w 105384"/>
                    <a:gd name="connsiteY0" fmla="*/ 31403 h 31402"/>
                    <a:gd name="connsiteX1" fmla="*/ 83588 w 105384"/>
                    <a:gd name="connsiteY1" fmla="*/ 0 h 31402"/>
                    <a:gd name="connsiteX2" fmla="*/ 55265 w 105384"/>
                    <a:gd name="connsiteY2" fmla="*/ 11813 h 31402"/>
                    <a:gd name="connsiteX3" fmla="*/ 32902 w 105384"/>
                    <a:gd name="connsiteY3" fmla="*/ 5405 h 31402"/>
                    <a:gd name="connsiteX4" fmla="*/ 0 w 105384"/>
                    <a:gd name="connsiteY4" fmla="*/ 31391 h 3140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05384" h="31402">
                      <a:moveTo>
                        <a:pt x="105384" y="31403"/>
                      </a:moveTo>
                      <a:cubicBezTo>
                        <a:pt x="105384" y="31403"/>
                        <a:pt x="87966" y="13961"/>
                        <a:pt x="83588" y="0"/>
                      </a:cubicBezTo>
                      <a:cubicBezTo>
                        <a:pt x="83588" y="0"/>
                        <a:pt x="76306" y="13194"/>
                        <a:pt x="55265" y="11813"/>
                      </a:cubicBezTo>
                      <a:cubicBezTo>
                        <a:pt x="55265" y="11813"/>
                        <a:pt x="48255" y="10680"/>
                        <a:pt x="32902" y="5405"/>
                      </a:cubicBezTo>
                      <a:cubicBezTo>
                        <a:pt x="32902" y="5405"/>
                        <a:pt x="8544" y="-3293"/>
                        <a:pt x="0" y="31391"/>
                      </a:cubicBez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379" name="Forma livre: Forma 2378">
                  <a:extLst>
                    <a:ext uri="{FF2B5EF4-FFF2-40B4-BE49-F238E27FC236}">
                      <a16:creationId xmlns:a16="http://schemas.microsoft.com/office/drawing/2014/main" id="{D405B381-6A55-F852-C97E-DA1B7467EF5C}"/>
                    </a:ext>
                  </a:extLst>
                </p:cNvPr>
                <p:cNvSpPr/>
                <p:nvPr/>
              </p:nvSpPr>
              <p:spPr>
                <a:xfrm>
                  <a:off x="9934301" y="3730007"/>
                  <a:ext cx="60979" cy="94043"/>
                </a:xfrm>
                <a:custGeom>
                  <a:avLst/>
                  <a:gdLst>
                    <a:gd name="connsiteX0" fmla="*/ 0 w 60979"/>
                    <a:gd name="connsiteY0" fmla="*/ 94043 h 94043"/>
                    <a:gd name="connsiteX1" fmla="*/ 26883 w 60979"/>
                    <a:gd name="connsiteY1" fmla="*/ 73474 h 94043"/>
                    <a:gd name="connsiteX2" fmla="*/ 45918 w 60979"/>
                    <a:gd name="connsiteY2" fmla="*/ 37457 h 94043"/>
                    <a:gd name="connsiteX3" fmla="*/ 59383 w 60979"/>
                    <a:gd name="connsiteY3" fmla="*/ 21726 h 94043"/>
                    <a:gd name="connsiteX4" fmla="*/ 51654 w 60979"/>
                    <a:gd name="connsiteY4" fmla="*/ 0 h 9404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60979" h="94043">
                      <a:moveTo>
                        <a:pt x="0" y="94043"/>
                      </a:moveTo>
                      <a:cubicBezTo>
                        <a:pt x="10562" y="90373"/>
                        <a:pt x="18292" y="83116"/>
                        <a:pt x="26883" y="73474"/>
                      </a:cubicBezTo>
                      <a:cubicBezTo>
                        <a:pt x="42779" y="55076"/>
                        <a:pt x="45918" y="37457"/>
                        <a:pt x="45918" y="37457"/>
                      </a:cubicBezTo>
                      <a:cubicBezTo>
                        <a:pt x="53259" y="37917"/>
                        <a:pt x="57507" y="28630"/>
                        <a:pt x="59383" y="21726"/>
                      </a:cubicBezTo>
                      <a:cubicBezTo>
                        <a:pt x="63620" y="6255"/>
                        <a:pt x="58864" y="779"/>
                        <a:pt x="51654" y="0"/>
                      </a:cubicBez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380" name="Forma livre: Forma 2379">
                  <a:extLst>
                    <a:ext uri="{FF2B5EF4-FFF2-40B4-BE49-F238E27FC236}">
                      <a16:creationId xmlns:a16="http://schemas.microsoft.com/office/drawing/2014/main" id="{D43A744C-4838-E973-4D23-33A5454C118B}"/>
                    </a:ext>
                  </a:extLst>
                </p:cNvPr>
                <p:cNvSpPr/>
                <p:nvPr/>
              </p:nvSpPr>
              <p:spPr>
                <a:xfrm>
                  <a:off x="9838609" y="3729995"/>
                  <a:ext cx="59827" cy="93630"/>
                </a:xfrm>
                <a:custGeom>
                  <a:avLst/>
                  <a:gdLst>
                    <a:gd name="connsiteX0" fmla="*/ 9319 w 59827"/>
                    <a:gd name="connsiteY0" fmla="*/ 0 h 93630"/>
                    <a:gd name="connsiteX1" fmla="*/ 1589 w 59827"/>
                    <a:gd name="connsiteY1" fmla="*/ 21726 h 93630"/>
                    <a:gd name="connsiteX2" fmla="*/ 15066 w 59827"/>
                    <a:gd name="connsiteY2" fmla="*/ 37457 h 93630"/>
                    <a:gd name="connsiteX3" fmla="*/ 34101 w 59827"/>
                    <a:gd name="connsiteY3" fmla="*/ 73474 h 93630"/>
                    <a:gd name="connsiteX4" fmla="*/ 59828 w 59827"/>
                    <a:gd name="connsiteY4" fmla="*/ 93630 h 9363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9827" h="93630">
                      <a:moveTo>
                        <a:pt x="9319" y="0"/>
                      </a:moveTo>
                      <a:cubicBezTo>
                        <a:pt x="2120" y="779"/>
                        <a:pt x="-2636" y="6266"/>
                        <a:pt x="1589" y="21726"/>
                      </a:cubicBezTo>
                      <a:cubicBezTo>
                        <a:pt x="3465" y="28630"/>
                        <a:pt x="7726" y="37917"/>
                        <a:pt x="15066" y="37457"/>
                      </a:cubicBezTo>
                      <a:cubicBezTo>
                        <a:pt x="15066" y="37457"/>
                        <a:pt x="18193" y="55076"/>
                        <a:pt x="34101" y="73474"/>
                      </a:cubicBezTo>
                      <a:cubicBezTo>
                        <a:pt x="42386" y="82773"/>
                        <a:pt x="49844" y="89842"/>
                        <a:pt x="59828" y="93630"/>
                      </a:cubicBez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2381" name="Forma livre: Forma 2380">
                <a:extLst>
                  <a:ext uri="{FF2B5EF4-FFF2-40B4-BE49-F238E27FC236}">
                    <a16:creationId xmlns:a16="http://schemas.microsoft.com/office/drawing/2014/main" id="{571BED47-5256-6B79-199D-FC4F4B5090E3}"/>
                  </a:ext>
                </a:extLst>
              </p:cNvPr>
              <p:cNvSpPr/>
              <p:nvPr/>
            </p:nvSpPr>
            <p:spPr>
              <a:xfrm>
                <a:off x="9764624" y="3844879"/>
                <a:ext cx="304611" cy="76613"/>
              </a:xfrm>
              <a:custGeom>
                <a:avLst/>
                <a:gdLst>
                  <a:gd name="connsiteX0" fmla="*/ 304611 w 304611"/>
                  <a:gd name="connsiteY0" fmla="*/ 76613 h 76613"/>
                  <a:gd name="connsiteX1" fmla="*/ 251742 w 304611"/>
                  <a:gd name="connsiteY1" fmla="*/ 14775 h 76613"/>
                  <a:gd name="connsiteX2" fmla="*/ 201894 w 304611"/>
                  <a:gd name="connsiteY2" fmla="*/ 0 h 76613"/>
                  <a:gd name="connsiteX3" fmla="*/ 152306 w 304611"/>
                  <a:gd name="connsiteY3" fmla="*/ 53211 h 76613"/>
                  <a:gd name="connsiteX4" fmla="*/ 102717 w 304611"/>
                  <a:gd name="connsiteY4" fmla="*/ 0 h 76613"/>
                  <a:gd name="connsiteX5" fmla="*/ 52869 w 304611"/>
                  <a:gd name="connsiteY5" fmla="*/ 14775 h 76613"/>
                  <a:gd name="connsiteX6" fmla="*/ 0 w 304611"/>
                  <a:gd name="connsiteY6" fmla="*/ 76613 h 766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04611" h="76613">
                    <a:moveTo>
                      <a:pt x="304611" y="76613"/>
                    </a:moveTo>
                    <a:cubicBezTo>
                      <a:pt x="304611" y="29243"/>
                      <a:pt x="281163" y="19802"/>
                      <a:pt x="251742" y="14775"/>
                    </a:cubicBezTo>
                    <a:cubicBezTo>
                      <a:pt x="238065" y="12438"/>
                      <a:pt x="216905" y="5381"/>
                      <a:pt x="201894" y="0"/>
                    </a:cubicBezTo>
                    <a:lnTo>
                      <a:pt x="152306" y="53211"/>
                    </a:lnTo>
                    <a:lnTo>
                      <a:pt x="102717" y="0"/>
                    </a:lnTo>
                    <a:cubicBezTo>
                      <a:pt x="87694" y="5370"/>
                      <a:pt x="66535" y="12438"/>
                      <a:pt x="52869" y="14775"/>
                    </a:cubicBezTo>
                    <a:cubicBezTo>
                      <a:pt x="23461" y="19814"/>
                      <a:pt x="0" y="29255"/>
                      <a:pt x="0" y="76613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2382" name="Gráfico 19">
                <a:extLst>
                  <a:ext uri="{FF2B5EF4-FFF2-40B4-BE49-F238E27FC236}">
                    <a16:creationId xmlns:a16="http://schemas.microsoft.com/office/drawing/2014/main" id="{F3D52D01-C0FA-76A9-C372-C2EC6C3ABB49}"/>
                  </a:ext>
                </a:extLst>
              </p:cNvPr>
              <p:cNvGrpSpPr/>
              <p:nvPr/>
            </p:nvGrpSpPr>
            <p:grpSpPr>
              <a:xfrm>
                <a:off x="9868899" y="3811777"/>
                <a:ext cx="96085" cy="34530"/>
                <a:chOff x="9868899" y="3811777"/>
                <a:chExt cx="96085" cy="34530"/>
              </a:xfrm>
              <a:noFill/>
            </p:grpSpPr>
            <p:sp>
              <p:nvSpPr>
                <p:cNvPr id="2383" name="Forma livre: Forma 2382">
                  <a:extLst>
                    <a:ext uri="{FF2B5EF4-FFF2-40B4-BE49-F238E27FC236}">
                      <a16:creationId xmlns:a16="http://schemas.microsoft.com/office/drawing/2014/main" id="{D6D9E906-1085-6AEF-0E28-557B6016964C}"/>
                    </a:ext>
                  </a:extLst>
                </p:cNvPr>
                <p:cNvSpPr/>
                <p:nvPr/>
              </p:nvSpPr>
              <p:spPr>
                <a:xfrm>
                  <a:off x="9868899" y="3811777"/>
                  <a:ext cx="9783" cy="34530"/>
                </a:xfrm>
                <a:custGeom>
                  <a:avLst/>
                  <a:gdLst>
                    <a:gd name="connsiteX0" fmla="*/ 9783 w 9783"/>
                    <a:gd name="connsiteY0" fmla="*/ 0 h 34530"/>
                    <a:gd name="connsiteX1" fmla="*/ 0 w 9783"/>
                    <a:gd name="connsiteY1" fmla="*/ 34530 h 3453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9783" h="34530">
                      <a:moveTo>
                        <a:pt x="9783" y="0"/>
                      </a:moveTo>
                      <a:cubicBezTo>
                        <a:pt x="8957" y="12415"/>
                        <a:pt x="8143" y="16120"/>
                        <a:pt x="0" y="34530"/>
                      </a:cubicBez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384" name="Forma livre: Forma 2383">
                  <a:extLst>
                    <a:ext uri="{FF2B5EF4-FFF2-40B4-BE49-F238E27FC236}">
                      <a16:creationId xmlns:a16="http://schemas.microsoft.com/office/drawing/2014/main" id="{52072AF5-3932-A4CE-ADC0-D1305B74BB4F}"/>
                    </a:ext>
                  </a:extLst>
                </p:cNvPr>
                <p:cNvSpPr/>
                <p:nvPr/>
              </p:nvSpPr>
              <p:spPr>
                <a:xfrm>
                  <a:off x="9955201" y="3811777"/>
                  <a:ext cx="9783" cy="34530"/>
                </a:xfrm>
                <a:custGeom>
                  <a:avLst/>
                  <a:gdLst>
                    <a:gd name="connsiteX0" fmla="*/ 0 w 9783"/>
                    <a:gd name="connsiteY0" fmla="*/ 0 h 34530"/>
                    <a:gd name="connsiteX1" fmla="*/ 9783 w 9783"/>
                    <a:gd name="connsiteY1" fmla="*/ 34530 h 3453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9783" h="34530">
                      <a:moveTo>
                        <a:pt x="0" y="0"/>
                      </a:moveTo>
                      <a:cubicBezTo>
                        <a:pt x="826" y="12415"/>
                        <a:pt x="1640" y="16120"/>
                        <a:pt x="9783" y="34530"/>
                      </a:cubicBez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</p:grpSp>
      <p:grpSp>
        <p:nvGrpSpPr>
          <p:cNvPr id="2385" name="Gráfico 19">
            <a:extLst>
              <a:ext uri="{FF2B5EF4-FFF2-40B4-BE49-F238E27FC236}">
                <a16:creationId xmlns:a16="http://schemas.microsoft.com/office/drawing/2014/main" id="{0585E893-7C0F-D407-A91A-E23A322DB5B5}"/>
              </a:ext>
            </a:extLst>
          </p:cNvPr>
          <p:cNvGrpSpPr/>
          <p:nvPr/>
        </p:nvGrpSpPr>
        <p:grpSpPr>
          <a:xfrm>
            <a:off x="9744715" y="5224718"/>
            <a:ext cx="344440" cy="219843"/>
            <a:chOff x="9744715" y="5224718"/>
            <a:chExt cx="344440" cy="219843"/>
          </a:xfrm>
          <a:noFill/>
        </p:grpSpPr>
        <p:grpSp>
          <p:nvGrpSpPr>
            <p:cNvPr id="2386" name="Gráfico 19">
              <a:extLst>
                <a:ext uri="{FF2B5EF4-FFF2-40B4-BE49-F238E27FC236}">
                  <a16:creationId xmlns:a16="http://schemas.microsoft.com/office/drawing/2014/main" id="{8943E93D-6CA9-F92C-9CA3-9C926801C7C7}"/>
                </a:ext>
              </a:extLst>
            </p:cNvPr>
            <p:cNvGrpSpPr/>
            <p:nvPr/>
          </p:nvGrpSpPr>
          <p:grpSpPr>
            <a:xfrm>
              <a:off x="9744715" y="5224718"/>
              <a:ext cx="344440" cy="219843"/>
              <a:chOff x="9744715" y="5224718"/>
              <a:chExt cx="344440" cy="219843"/>
            </a:xfrm>
            <a:noFill/>
          </p:grpSpPr>
          <p:sp>
            <p:nvSpPr>
              <p:cNvPr id="2387" name="Forma livre: Forma 2386">
                <a:extLst>
                  <a:ext uri="{FF2B5EF4-FFF2-40B4-BE49-F238E27FC236}">
                    <a16:creationId xmlns:a16="http://schemas.microsoft.com/office/drawing/2014/main" id="{FEE4F8ED-F4B5-C36E-2DBE-EA7CB60252E8}"/>
                  </a:ext>
                </a:extLst>
              </p:cNvPr>
              <p:cNvSpPr/>
              <p:nvPr/>
            </p:nvSpPr>
            <p:spPr>
              <a:xfrm>
                <a:off x="9777404" y="5224718"/>
                <a:ext cx="279073" cy="171518"/>
              </a:xfrm>
              <a:custGeom>
                <a:avLst/>
                <a:gdLst>
                  <a:gd name="connsiteX0" fmla="*/ 0 w 279073"/>
                  <a:gd name="connsiteY0" fmla="*/ 171518 h 171518"/>
                  <a:gd name="connsiteX1" fmla="*/ 0 w 279073"/>
                  <a:gd name="connsiteY1" fmla="*/ 20369 h 171518"/>
                  <a:gd name="connsiteX2" fmla="*/ 20357 w 279073"/>
                  <a:gd name="connsiteY2" fmla="*/ 0 h 171518"/>
                  <a:gd name="connsiteX3" fmla="*/ 258693 w 279073"/>
                  <a:gd name="connsiteY3" fmla="*/ 0 h 171518"/>
                  <a:gd name="connsiteX4" fmla="*/ 279074 w 279073"/>
                  <a:gd name="connsiteY4" fmla="*/ 20369 h 171518"/>
                  <a:gd name="connsiteX5" fmla="*/ 279074 w 279073"/>
                  <a:gd name="connsiteY5" fmla="*/ 171518 h 1715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79073" h="171518">
                    <a:moveTo>
                      <a:pt x="0" y="171518"/>
                    </a:moveTo>
                    <a:lnTo>
                      <a:pt x="0" y="20369"/>
                    </a:lnTo>
                    <a:cubicBezTo>
                      <a:pt x="0" y="9170"/>
                      <a:pt x="9170" y="0"/>
                      <a:pt x="20357" y="0"/>
                    </a:cubicBezTo>
                    <a:lnTo>
                      <a:pt x="258693" y="0"/>
                    </a:lnTo>
                    <a:cubicBezTo>
                      <a:pt x="269904" y="0"/>
                      <a:pt x="279074" y="9170"/>
                      <a:pt x="279074" y="20369"/>
                    </a:cubicBezTo>
                    <a:lnTo>
                      <a:pt x="279074" y="171518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388" name="Forma livre: Forma 2387">
                <a:extLst>
                  <a:ext uri="{FF2B5EF4-FFF2-40B4-BE49-F238E27FC236}">
                    <a16:creationId xmlns:a16="http://schemas.microsoft.com/office/drawing/2014/main" id="{73B17D67-053F-5AC3-1EFB-41EACF3CA355}"/>
                  </a:ext>
                </a:extLst>
              </p:cNvPr>
              <p:cNvSpPr/>
              <p:nvPr/>
            </p:nvSpPr>
            <p:spPr>
              <a:xfrm>
                <a:off x="9744715" y="5417608"/>
                <a:ext cx="344440" cy="26953"/>
              </a:xfrm>
              <a:custGeom>
                <a:avLst/>
                <a:gdLst>
                  <a:gd name="connsiteX0" fmla="*/ 202826 w 344440"/>
                  <a:gd name="connsiteY0" fmla="*/ 0 h 26953"/>
                  <a:gd name="connsiteX1" fmla="*/ 197929 w 344440"/>
                  <a:gd name="connsiteY1" fmla="*/ 5664 h 26953"/>
                  <a:gd name="connsiteX2" fmla="*/ 146500 w 344440"/>
                  <a:gd name="connsiteY2" fmla="*/ 5664 h 26953"/>
                  <a:gd name="connsiteX3" fmla="*/ 141626 w 344440"/>
                  <a:gd name="connsiteY3" fmla="*/ 0 h 26953"/>
                  <a:gd name="connsiteX4" fmla="*/ 0 w 344440"/>
                  <a:gd name="connsiteY4" fmla="*/ 0 h 26953"/>
                  <a:gd name="connsiteX5" fmla="*/ 25644 w 344440"/>
                  <a:gd name="connsiteY5" fmla="*/ 26954 h 26953"/>
                  <a:gd name="connsiteX6" fmla="*/ 318797 w 344440"/>
                  <a:gd name="connsiteY6" fmla="*/ 26954 h 26953"/>
                  <a:gd name="connsiteX7" fmla="*/ 344440 w 344440"/>
                  <a:gd name="connsiteY7" fmla="*/ 0 h 26953"/>
                  <a:gd name="connsiteX8" fmla="*/ 202815 w 344440"/>
                  <a:gd name="connsiteY8" fmla="*/ 0 h 269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44440" h="26953">
                    <a:moveTo>
                      <a:pt x="202826" y="0"/>
                    </a:moveTo>
                    <a:lnTo>
                      <a:pt x="197929" y="5664"/>
                    </a:lnTo>
                    <a:lnTo>
                      <a:pt x="146500" y="5664"/>
                    </a:lnTo>
                    <a:lnTo>
                      <a:pt x="141626" y="0"/>
                    </a:lnTo>
                    <a:lnTo>
                      <a:pt x="0" y="0"/>
                    </a:lnTo>
                    <a:cubicBezTo>
                      <a:pt x="0" y="0"/>
                      <a:pt x="5936" y="26954"/>
                      <a:pt x="25644" y="26954"/>
                    </a:cubicBezTo>
                    <a:lnTo>
                      <a:pt x="318797" y="26954"/>
                    </a:lnTo>
                    <a:cubicBezTo>
                      <a:pt x="338504" y="26954"/>
                      <a:pt x="344440" y="0"/>
                      <a:pt x="344440" y="0"/>
                    </a:cubicBezTo>
                    <a:lnTo>
                      <a:pt x="202815" y="0"/>
                    </a:ln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2389" name="Gráfico 19">
              <a:extLst>
                <a:ext uri="{FF2B5EF4-FFF2-40B4-BE49-F238E27FC236}">
                  <a16:creationId xmlns:a16="http://schemas.microsoft.com/office/drawing/2014/main" id="{D347C6EC-0611-96C6-0643-5E54C5EC900A}"/>
                </a:ext>
              </a:extLst>
            </p:cNvPr>
            <p:cNvGrpSpPr/>
            <p:nvPr/>
          </p:nvGrpSpPr>
          <p:grpSpPr>
            <a:xfrm>
              <a:off x="9819527" y="5252037"/>
              <a:ext cx="197664" cy="136173"/>
              <a:chOff x="9819527" y="5252037"/>
              <a:chExt cx="197664" cy="136173"/>
            </a:xfrm>
            <a:noFill/>
          </p:grpSpPr>
          <p:grpSp>
            <p:nvGrpSpPr>
              <p:cNvPr id="2390" name="Gráfico 19">
                <a:extLst>
                  <a:ext uri="{FF2B5EF4-FFF2-40B4-BE49-F238E27FC236}">
                    <a16:creationId xmlns:a16="http://schemas.microsoft.com/office/drawing/2014/main" id="{7931288D-98B4-1ED0-F5C2-ECB230A59ADA}"/>
                  </a:ext>
                </a:extLst>
              </p:cNvPr>
              <p:cNvGrpSpPr/>
              <p:nvPr/>
            </p:nvGrpSpPr>
            <p:grpSpPr>
              <a:xfrm>
                <a:off x="9819527" y="5252037"/>
                <a:ext cx="68058" cy="136173"/>
                <a:chOff x="9819527" y="5252037"/>
                <a:chExt cx="68058" cy="136173"/>
              </a:xfrm>
              <a:noFill/>
            </p:grpSpPr>
            <p:grpSp>
              <p:nvGrpSpPr>
                <p:cNvPr id="2391" name="Gráfico 19">
                  <a:extLst>
                    <a:ext uri="{FF2B5EF4-FFF2-40B4-BE49-F238E27FC236}">
                      <a16:creationId xmlns:a16="http://schemas.microsoft.com/office/drawing/2014/main" id="{73703F48-0EF5-8093-00FF-0A6CBD9B00C8}"/>
                    </a:ext>
                  </a:extLst>
                </p:cNvPr>
                <p:cNvGrpSpPr/>
                <p:nvPr/>
              </p:nvGrpSpPr>
              <p:grpSpPr>
                <a:xfrm>
                  <a:off x="9819527" y="5252037"/>
                  <a:ext cx="68058" cy="136173"/>
                  <a:chOff x="9819527" y="5252037"/>
                  <a:chExt cx="68058" cy="136173"/>
                </a:xfrm>
                <a:noFill/>
              </p:grpSpPr>
              <p:sp>
                <p:nvSpPr>
                  <p:cNvPr id="2392" name="Forma livre: Forma 2391">
                    <a:extLst>
                      <a:ext uri="{FF2B5EF4-FFF2-40B4-BE49-F238E27FC236}">
                        <a16:creationId xmlns:a16="http://schemas.microsoft.com/office/drawing/2014/main" id="{4B338CA5-4A4C-2C50-BE23-26285922BC76}"/>
                      </a:ext>
                    </a:extLst>
                  </p:cNvPr>
                  <p:cNvSpPr/>
                  <p:nvPr/>
                </p:nvSpPr>
                <p:spPr>
                  <a:xfrm>
                    <a:off x="9854277" y="5252037"/>
                    <a:ext cx="33309" cy="67726"/>
                  </a:xfrm>
                  <a:custGeom>
                    <a:avLst/>
                    <a:gdLst>
                      <a:gd name="connsiteX0" fmla="*/ 31190 w 33309"/>
                      <a:gd name="connsiteY0" fmla="*/ 0 h 67726"/>
                      <a:gd name="connsiteX1" fmla="*/ 0 w 33309"/>
                      <a:gd name="connsiteY1" fmla="*/ 67727 h 6772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33309" h="67726">
                        <a:moveTo>
                          <a:pt x="31190" y="0"/>
                        </a:moveTo>
                        <a:cubicBezTo>
                          <a:pt x="31190" y="0"/>
                          <a:pt x="45446" y="50603"/>
                          <a:pt x="0" y="67727"/>
                        </a:cubicBezTo>
                      </a:path>
                    </a:pathLst>
                  </a:custGeom>
                  <a:noFill/>
                  <a:ln w="6350" cap="rnd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2393" name="Forma livre: Forma 2392">
                    <a:extLst>
                      <a:ext uri="{FF2B5EF4-FFF2-40B4-BE49-F238E27FC236}">
                        <a16:creationId xmlns:a16="http://schemas.microsoft.com/office/drawing/2014/main" id="{CF112543-CED7-96BE-1FED-6C7E49A65B2D}"/>
                      </a:ext>
                    </a:extLst>
                  </p:cNvPr>
                  <p:cNvSpPr/>
                  <p:nvPr/>
                </p:nvSpPr>
                <p:spPr>
                  <a:xfrm>
                    <a:off x="9819527" y="5320484"/>
                    <a:ext cx="33298" cy="67726"/>
                  </a:xfrm>
                  <a:custGeom>
                    <a:avLst/>
                    <a:gdLst>
                      <a:gd name="connsiteX0" fmla="*/ 2119 w 33298"/>
                      <a:gd name="connsiteY0" fmla="*/ 67727 h 67726"/>
                      <a:gd name="connsiteX1" fmla="*/ 33298 w 33298"/>
                      <a:gd name="connsiteY1" fmla="*/ 0 h 6772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33298" h="67726">
                        <a:moveTo>
                          <a:pt x="2119" y="67727"/>
                        </a:moveTo>
                        <a:cubicBezTo>
                          <a:pt x="2119" y="67727"/>
                          <a:pt x="-12136" y="17112"/>
                          <a:pt x="33298" y="0"/>
                        </a:cubicBezTo>
                      </a:path>
                    </a:pathLst>
                  </a:custGeom>
                  <a:noFill/>
                  <a:ln w="6350" cap="rnd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  <p:grpSp>
              <p:nvGrpSpPr>
                <p:cNvPr id="2394" name="Gráfico 19">
                  <a:extLst>
                    <a:ext uri="{FF2B5EF4-FFF2-40B4-BE49-F238E27FC236}">
                      <a16:creationId xmlns:a16="http://schemas.microsoft.com/office/drawing/2014/main" id="{6733EB3A-29A4-02CC-8212-7193618CD3BF}"/>
                    </a:ext>
                  </a:extLst>
                </p:cNvPr>
                <p:cNvGrpSpPr/>
                <p:nvPr/>
              </p:nvGrpSpPr>
              <p:grpSpPr>
                <a:xfrm>
                  <a:off x="9819527" y="5252037"/>
                  <a:ext cx="68058" cy="136173"/>
                  <a:chOff x="9819527" y="5252037"/>
                  <a:chExt cx="68058" cy="136173"/>
                </a:xfrm>
                <a:noFill/>
              </p:grpSpPr>
              <p:sp>
                <p:nvSpPr>
                  <p:cNvPr id="2395" name="Forma livre: Forma 2394">
                    <a:extLst>
                      <a:ext uri="{FF2B5EF4-FFF2-40B4-BE49-F238E27FC236}">
                        <a16:creationId xmlns:a16="http://schemas.microsoft.com/office/drawing/2014/main" id="{3A85F7C6-7BFF-2B6D-7DAD-1B10D9A04803}"/>
                      </a:ext>
                    </a:extLst>
                  </p:cNvPr>
                  <p:cNvSpPr/>
                  <p:nvPr/>
                </p:nvSpPr>
                <p:spPr>
                  <a:xfrm>
                    <a:off x="9819527" y="5252037"/>
                    <a:ext cx="33298" cy="67726"/>
                  </a:xfrm>
                  <a:custGeom>
                    <a:avLst/>
                    <a:gdLst>
                      <a:gd name="connsiteX0" fmla="*/ 2119 w 33298"/>
                      <a:gd name="connsiteY0" fmla="*/ 0 h 67726"/>
                      <a:gd name="connsiteX1" fmla="*/ 33298 w 33298"/>
                      <a:gd name="connsiteY1" fmla="*/ 67727 h 6772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33298" h="67726">
                        <a:moveTo>
                          <a:pt x="2119" y="0"/>
                        </a:moveTo>
                        <a:cubicBezTo>
                          <a:pt x="2119" y="0"/>
                          <a:pt x="-12136" y="50603"/>
                          <a:pt x="33298" y="67727"/>
                        </a:cubicBezTo>
                      </a:path>
                    </a:pathLst>
                  </a:custGeom>
                  <a:noFill/>
                  <a:ln w="6350" cap="rnd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2396" name="Forma livre: Forma 2395">
                    <a:extLst>
                      <a:ext uri="{FF2B5EF4-FFF2-40B4-BE49-F238E27FC236}">
                        <a16:creationId xmlns:a16="http://schemas.microsoft.com/office/drawing/2014/main" id="{63D91489-5CF4-2EDC-0B15-8C7FBEC8D52A}"/>
                      </a:ext>
                    </a:extLst>
                  </p:cNvPr>
                  <p:cNvSpPr/>
                  <p:nvPr/>
                </p:nvSpPr>
                <p:spPr>
                  <a:xfrm>
                    <a:off x="9854277" y="5320484"/>
                    <a:ext cx="33309" cy="67726"/>
                  </a:xfrm>
                  <a:custGeom>
                    <a:avLst/>
                    <a:gdLst>
                      <a:gd name="connsiteX0" fmla="*/ 31190 w 33309"/>
                      <a:gd name="connsiteY0" fmla="*/ 67727 h 67726"/>
                      <a:gd name="connsiteX1" fmla="*/ 0 w 33309"/>
                      <a:gd name="connsiteY1" fmla="*/ 0 h 6772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33309" h="67726">
                        <a:moveTo>
                          <a:pt x="31190" y="67727"/>
                        </a:moveTo>
                        <a:cubicBezTo>
                          <a:pt x="31190" y="67727"/>
                          <a:pt x="45446" y="17112"/>
                          <a:pt x="0" y="0"/>
                        </a:cubicBezTo>
                      </a:path>
                    </a:pathLst>
                  </a:custGeom>
                  <a:noFill/>
                  <a:ln w="6350" cap="rnd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  <p:sp>
              <p:nvSpPr>
                <p:cNvPr id="2397" name="Forma livre: Forma 2396">
                  <a:extLst>
                    <a:ext uri="{FF2B5EF4-FFF2-40B4-BE49-F238E27FC236}">
                      <a16:creationId xmlns:a16="http://schemas.microsoft.com/office/drawing/2014/main" id="{86F1718C-DFA0-C819-7D81-6E222C1D0C21}"/>
                    </a:ext>
                  </a:extLst>
                </p:cNvPr>
                <p:cNvSpPr/>
                <p:nvPr/>
              </p:nvSpPr>
              <p:spPr>
                <a:xfrm>
                  <a:off x="9824019" y="5290474"/>
                  <a:ext cx="59926" cy="1180"/>
                </a:xfrm>
                <a:custGeom>
                  <a:avLst/>
                  <a:gdLst>
                    <a:gd name="connsiteX0" fmla="*/ 0 w 59926"/>
                    <a:gd name="connsiteY0" fmla="*/ 0 h 1180"/>
                    <a:gd name="connsiteX1" fmla="*/ 59926 w 59926"/>
                    <a:gd name="connsiteY1" fmla="*/ 0 h 11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59926" h="1180">
                      <a:moveTo>
                        <a:pt x="0" y="0"/>
                      </a:moveTo>
                      <a:lnTo>
                        <a:pt x="59926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398" name="Forma livre: Forma 2397">
                  <a:extLst>
                    <a:ext uri="{FF2B5EF4-FFF2-40B4-BE49-F238E27FC236}">
                      <a16:creationId xmlns:a16="http://schemas.microsoft.com/office/drawing/2014/main" id="{F8AF6C14-7C26-C511-15AA-DBBC99CBA61D}"/>
                    </a:ext>
                  </a:extLst>
                </p:cNvPr>
                <p:cNvSpPr/>
                <p:nvPr/>
              </p:nvSpPr>
              <p:spPr>
                <a:xfrm>
                  <a:off x="9824019" y="5264665"/>
                  <a:ext cx="59926" cy="1180"/>
                </a:xfrm>
                <a:custGeom>
                  <a:avLst/>
                  <a:gdLst>
                    <a:gd name="connsiteX0" fmla="*/ 0 w 59926"/>
                    <a:gd name="connsiteY0" fmla="*/ 0 h 1180"/>
                    <a:gd name="connsiteX1" fmla="*/ 59926 w 59926"/>
                    <a:gd name="connsiteY1" fmla="*/ 0 h 11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59926" h="1180">
                      <a:moveTo>
                        <a:pt x="0" y="0"/>
                      </a:moveTo>
                      <a:lnTo>
                        <a:pt x="59926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399" name="Forma livre: Forma 2398">
                  <a:extLst>
                    <a:ext uri="{FF2B5EF4-FFF2-40B4-BE49-F238E27FC236}">
                      <a16:creationId xmlns:a16="http://schemas.microsoft.com/office/drawing/2014/main" id="{48A43004-CF1E-998C-6D3A-2118AA6D40AD}"/>
                    </a:ext>
                  </a:extLst>
                </p:cNvPr>
                <p:cNvSpPr/>
                <p:nvPr/>
              </p:nvSpPr>
              <p:spPr>
                <a:xfrm>
                  <a:off x="9824019" y="5351073"/>
                  <a:ext cx="59926" cy="1180"/>
                </a:xfrm>
                <a:custGeom>
                  <a:avLst/>
                  <a:gdLst>
                    <a:gd name="connsiteX0" fmla="*/ 0 w 59926"/>
                    <a:gd name="connsiteY0" fmla="*/ 0 h 1180"/>
                    <a:gd name="connsiteX1" fmla="*/ 59926 w 59926"/>
                    <a:gd name="connsiteY1" fmla="*/ 0 h 11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59926" h="1180">
                      <a:moveTo>
                        <a:pt x="0" y="0"/>
                      </a:moveTo>
                      <a:lnTo>
                        <a:pt x="59926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400" name="Forma livre: Forma 2399">
                  <a:extLst>
                    <a:ext uri="{FF2B5EF4-FFF2-40B4-BE49-F238E27FC236}">
                      <a16:creationId xmlns:a16="http://schemas.microsoft.com/office/drawing/2014/main" id="{A5767B6E-1B36-41A3-F062-6C9AC397A205}"/>
                    </a:ext>
                  </a:extLst>
                </p:cNvPr>
                <p:cNvSpPr/>
                <p:nvPr/>
              </p:nvSpPr>
              <p:spPr>
                <a:xfrm>
                  <a:off x="9823488" y="5377861"/>
                  <a:ext cx="60988" cy="1180"/>
                </a:xfrm>
                <a:custGeom>
                  <a:avLst/>
                  <a:gdLst>
                    <a:gd name="connsiteX0" fmla="*/ 0 w 60988"/>
                    <a:gd name="connsiteY0" fmla="*/ 0 h 1180"/>
                    <a:gd name="connsiteX1" fmla="*/ 60988 w 60988"/>
                    <a:gd name="connsiteY1" fmla="*/ 0 h 11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60988" h="1180">
                      <a:moveTo>
                        <a:pt x="0" y="0"/>
                      </a:moveTo>
                      <a:lnTo>
                        <a:pt x="60988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2401" name="Gráfico 19">
                <a:extLst>
                  <a:ext uri="{FF2B5EF4-FFF2-40B4-BE49-F238E27FC236}">
                    <a16:creationId xmlns:a16="http://schemas.microsoft.com/office/drawing/2014/main" id="{F2778C9A-5D93-8FE5-84B6-F5BA58114E4A}"/>
                  </a:ext>
                </a:extLst>
              </p:cNvPr>
              <p:cNvGrpSpPr/>
              <p:nvPr/>
            </p:nvGrpSpPr>
            <p:grpSpPr>
              <a:xfrm>
                <a:off x="9935221" y="5274259"/>
                <a:ext cx="81970" cy="91730"/>
                <a:chOff x="9935221" y="5274259"/>
                <a:chExt cx="81970" cy="91730"/>
              </a:xfrm>
            </p:grpSpPr>
            <p:sp>
              <p:nvSpPr>
                <p:cNvPr id="2402" name="Forma livre: Forma 2401">
                  <a:extLst>
                    <a:ext uri="{FF2B5EF4-FFF2-40B4-BE49-F238E27FC236}">
                      <a16:creationId xmlns:a16="http://schemas.microsoft.com/office/drawing/2014/main" id="{C1251793-BCFE-6ADB-967A-33FE5B62347B}"/>
                    </a:ext>
                  </a:extLst>
                </p:cNvPr>
                <p:cNvSpPr/>
                <p:nvPr/>
              </p:nvSpPr>
              <p:spPr>
                <a:xfrm>
                  <a:off x="9935221" y="5304836"/>
                  <a:ext cx="81970" cy="1180"/>
                </a:xfrm>
                <a:custGeom>
                  <a:avLst/>
                  <a:gdLst>
                    <a:gd name="connsiteX0" fmla="*/ 0 w 81970"/>
                    <a:gd name="connsiteY0" fmla="*/ 0 h 1180"/>
                    <a:gd name="connsiteX1" fmla="*/ 81971 w 81970"/>
                    <a:gd name="connsiteY1" fmla="*/ 0 h 11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81970" h="1180">
                      <a:moveTo>
                        <a:pt x="0" y="0"/>
                      </a:moveTo>
                      <a:lnTo>
                        <a:pt x="81971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403" name="Forma livre: Forma 2402">
                  <a:extLst>
                    <a:ext uri="{FF2B5EF4-FFF2-40B4-BE49-F238E27FC236}">
                      <a16:creationId xmlns:a16="http://schemas.microsoft.com/office/drawing/2014/main" id="{A37E8A04-A9F0-3AEC-5F26-EA3C18C00F8C}"/>
                    </a:ext>
                  </a:extLst>
                </p:cNvPr>
                <p:cNvSpPr/>
                <p:nvPr/>
              </p:nvSpPr>
              <p:spPr>
                <a:xfrm>
                  <a:off x="9935221" y="5274259"/>
                  <a:ext cx="81970" cy="1180"/>
                </a:xfrm>
                <a:custGeom>
                  <a:avLst/>
                  <a:gdLst>
                    <a:gd name="connsiteX0" fmla="*/ 0 w 81970"/>
                    <a:gd name="connsiteY0" fmla="*/ 0 h 1180"/>
                    <a:gd name="connsiteX1" fmla="*/ 81971 w 81970"/>
                    <a:gd name="connsiteY1" fmla="*/ 0 h 11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81970" h="1180">
                      <a:moveTo>
                        <a:pt x="0" y="0"/>
                      </a:moveTo>
                      <a:lnTo>
                        <a:pt x="81971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404" name="Forma livre: Forma 2403">
                  <a:extLst>
                    <a:ext uri="{FF2B5EF4-FFF2-40B4-BE49-F238E27FC236}">
                      <a16:creationId xmlns:a16="http://schemas.microsoft.com/office/drawing/2014/main" id="{6B4599ED-C891-F618-3547-99F0D2236083}"/>
                    </a:ext>
                  </a:extLst>
                </p:cNvPr>
                <p:cNvSpPr/>
                <p:nvPr/>
              </p:nvSpPr>
              <p:spPr>
                <a:xfrm>
                  <a:off x="9935221" y="5365989"/>
                  <a:ext cx="81970" cy="1180"/>
                </a:xfrm>
                <a:custGeom>
                  <a:avLst/>
                  <a:gdLst>
                    <a:gd name="connsiteX0" fmla="*/ 0 w 81970"/>
                    <a:gd name="connsiteY0" fmla="*/ 0 h 1180"/>
                    <a:gd name="connsiteX1" fmla="*/ 81971 w 81970"/>
                    <a:gd name="connsiteY1" fmla="*/ 0 h 11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81970" h="1180">
                      <a:moveTo>
                        <a:pt x="0" y="0"/>
                      </a:moveTo>
                      <a:lnTo>
                        <a:pt x="81971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405" name="Forma livre: Forma 2404">
                  <a:extLst>
                    <a:ext uri="{FF2B5EF4-FFF2-40B4-BE49-F238E27FC236}">
                      <a16:creationId xmlns:a16="http://schemas.microsoft.com/office/drawing/2014/main" id="{1CE4FF89-D900-39E5-1B5E-EF3D7213EDA8}"/>
                    </a:ext>
                  </a:extLst>
                </p:cNvPr>
                <p:cNvSpPr/>
                <p:nvPr/>
              </p:nvSpPr>
              <p:spPr>
                <a:xfrm>
                  <a:off x="9935221" y="5335413"/>
                  <a:ext cx="81970" cy="1180"/>
                </a:xfrm>
                <a:custGeom>
                  <a:avLst/>
                  <a:gdLst>
                    <a:gd name="connsiteX0" fmla="*/ 0 w 81970"/>
                    <a:gd name="connsiteY0" fmla="*/ 0 h 1180"/>
                    <a:gd name="connsiteX1" fmla="*/ 81971 w 81970"/>
                    <a:gd name="connsiteY1" fmla="*/ 0 h 11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81970" h="1180">
                      <a:moveTo>
                        <a:pt x="0" y="0"/>
                      </a:moveTo>
                      <a:lnTo>
                        <a:pt x="81971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</p:grpSp>
      <p:grpSp>
        <p:nvGrpSpPr>
          <p:cNvPr id="2406" name="Gráfico 19">
            <a:extLst>
              <a:ext uri="{FF2B5EF4-FFF2-40B4-BE49-F238E27FC236}">
                <a16:creationId xmlns:a16="http://schemas.microsoft.com/office/drawing/2014/main" id="{06D4351E-6567-0B6F-50FA-8F071EE03B24}"/>
              </a:ext>
            </a:extLst>
          </p:cNvPr>
          <p:cNvGrpSpPr/>
          <p:nvPr/>
        </p:nvGrpSpPr>
        <p:grpSpPr>
          <a:xfrm>
            <a:off x="9747005" y="4674866"/>
            <a:ext cx="339873" cy="273586"/>
            <a:chOff x="9747005" y="4674866"/>
            <a:chExt cx="339873" cy="273586"/>
          </a:xfrm>
          <a:noFill/>
        </p:grpSpPr>
        <p:grpSp>
          <p:nvGrpSpPr>
            <p:cNvPr id="2407" name="Gráfico 19">
              <a:extLst>
                <a:ext uri="{FF2B5EF4-FFF2-40B4-BE49-F238E27FC236}">
                  <a16:creationId xmlns:a16="http://schemas.microsoft.com/office/drawing/2014/main" id="{02ABDFF1-7F47-5029-49B0-925AFFF8F22D}"/>
                </a:ext>
              </a:extLst>
            </p:cNvPr>
            <p:cNvGrpSpPr/>
            <p:nvPr/>
          </p:nvGrpSpPr>
          <p:grpSpPr>
            <a:xfrm>
              <a:off x="9780709" y="4674866"/>
              <a:ext cx="270187" cy="273586"/>
              <a:chOff x="9780709" y="4674866"/>
              <a:chExt cx="270187" cy="273586"/>
            </a:xfrm>
            <a:noFill/>
          </p:grpSpPr>
          <p:sp>
            <p:nvSpPr>
              <p:cNvPr id="2408" name="Forma livre: Forma 2407">
                <a:extLst>
                  <a:ext uri="{FF2B5EF4-FFF2-40B4-BE49-F238E27FC236}">
                    <a16:creationId xmlns:a16="http://schemas.microsoft.com/office/drawing/2014/main" id="{3A21BF5E-5E29-5517-8EE3-95B3381A7914}"/>
                  </a:ext>
                </a:extLst>
              </p:cNvPr>
              <p:cNvSpPr/>
              <p:nvPr/>
            </p:nvSpPr>
            <p:spPr>
              <a:xfrm>
                <a:off x="10047934" y="4793586"/>
                <a:ext cx="2962" cy="22776"/>
              </a:xfrm>
              <a:custGeom>
                <a:avLst/>
                <a:gdLst>
                  <a:gd name="connsiteX0" fmla="*/ 0 w 2962"/>
                  <a:gd name="connsiteY0" fmla="*/ 0 h 22776"/>
                  <a:gd name="connsiteX1" fmla="*/ 2962 w 2962"/>
                  <a:gd name="connsiteY1" fmla="*/ 22776 h 227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962" h="22776">
                    <a:moveTo>
                      <a:pt x="0" y="0"/>
                    </a:moveTo>
                    <a:cubicBezTo>
                      <a:pt x="1593" y="7600"/>
                      <a:pt x="2596" y="14893"/>
                      <a:pt x="2962" y="22776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409" name="Forma livre: Forma 2408">
                <a:extLst>
                  <a:ext uri="{FF2B5EF4-FFF2-40B4-BE49-F238E27FC236}">
                    <a16:creationId xmlns:a16="http://schemas.microsoft.com/office/drawing/2014/main" id="{29C29D1D-2CF5-8F7A-23B6-52162F853D1D}"/>
                  </a:ext>
                </a:extLst>
              </p:cNvPr>
              <p:cNvSpPr/>
              <p:nvPr/>
            </p:nvSpPr>
            <p:spPr>
              <a:xfrm>
                <a:off x="9907500" y="4674866"/>
                <a:ext cx="134627" cy="96816"/>
              </a:xfrm>
              <a:custGeom>
                <a:avLst/>
                <a:gdLst>
                  <a:gd name="connsiteX0" fmla="*/ 0 w 134627"/>
                  <a:gd name="connsiteY0" fmla="*/ 0 h 96816"/>
                  <a:gd name="connsiteX1" fmla="*/ 22316 w 134627"/>
                  <a:gd name="connsiteY1" fmla="*/ 2254 h 96816"/>
                  <a:gd name="connsiteX2" fmla="*/ 30069 w 134627"/>
                  <a:gd name="connsiteY2" fmla="*/ 3871 h 96816"/>
                  <a:gd name="connsiteX3" fmla="*/ 134628 w 134627"/>
                  <a:gd name="connsiteY3" fmla="*/ 96817 h 968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34627" h="96816">
                    <a:moveTo>
                      <a:pt x="0" y="0"/>
                    </a:moveTo>
                    <a:cubicBezTo>
                      <a:pt x="7388" y="165"/>
                      <a:pt x="14834" y="909"/>
                      <a:pt x="22316" y="2254"/>
                    </a:cubicBezTo>
                    <a:cubicBezTo>
                      <a:pt x="25939" y="2927"/>
                      <a:pt x="28016" y="3375"/>
                      <a:pt x="30069" y="3871"/>
                    </a:cubicBezTo>
                    <a:cubicBezTo>
                      <a:pt x="79917" y="15660"/>
                      <a:pt x="118118" y="51724"/>
                      <a:pt x="134628" y="96817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410" name="Forma livre: Forma 2409">
                <a:extLst>
                  <a:ext uri="{FF2B5EF4-FFF2-40B4-BE49-F238E27FC236}">
                    <a16:creationId xmlns:a16="http://schemas.microsoft.com/office/drawing/2014/main" id="{BE64B412-8721-BDB1-9243-DB864A3445C5}"/>
                  </a:ext>
                </a:extLst>
              </p:cNvPr>
              <p:cNvSpPr/>
              <p:nvPr/>
            </p:nvSpPr>
            <p:spPr>
              <a:xfrm>
                <a:off x="9780709" y="4676932"/>
                <a:ext cx="98728" cy="64552"/>
              </a:xfrm>
              <a:custGeom>
                <a:avLst/>
                <a:gdLst>
                  <a:gd name="connsiteX0" fmla="*/ 0 w 98728"/>
                  <a:gd name="connsiteY0" fmla="*/ 64552 h 64552"/>
                  <a:gd name="connsiteX1" fmla="*/ 98728 w 98728"/>
                  <a:gd name="connsiteY1" fmla="*/ 0 h 645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8728" h="64552">
                    <a:moveTo>
                      <a:pt x="0" y="64552"/>
                    </a:moveTo>
                    <a:cubicBezTo>
                      <a:pt x="22410" y="30518"/>
                      <a:pt x="58392" y="6892"/>
                      <a:pt x="98728" y="0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411" name="Forma livre: Forma 2410">
                <a:extLst>
                  <a:ext uri="{FF2B5EF4-FFF2-40B4-BE49-F238E27FC236}">
                    <a16:creationId xmlns:a16="http://schemas.microsoft.com/office/drawing/2014/main" id="{AFE35BFB-A0AE-A29E-734B-0687E6248025}"/>
                  </a:ext>
                </a:extLst>
              </p:cNvPr>
              <p:cNvSpPr/>
              <p:nvPr/>
            </p:nvSpPr>
            <p:spPr>
              <a:xfrm>
                <a:off x="9858785" y="4793725"/>
                <a:ext cx="74542" cy="154728"/>
              </a:xfrm>
              <a:custGeom>
                <a:avLst/>
                <a:gdLst>
                  <a:gd name="connsiteX0" fmla="*/ 16109 w 74542"/>
                  <a:gd name="connsiteY0" fmla="*/ 24195 h 154728"/>
                  <a:gd name="connsiteX1" fmla="*/ 50273 w 74542"/>
                  <a:gd name="connsiteY1" fmla="*/ 463 h 154728"/>
                  <a:gd name="connsiteX2" fmla="*/ 74099 w 74542"/>
                  <a:gd name="connsiteY2" fmla="*/ 34439 h 154728"/>
                  <a:gd name="connsiteX3" fmla="*/ 0 w 74542"/>
                  <a:gd name="connsiteY3" fmla="*/ 154728 h 1547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4542" h="154728">
                    <a:moveTo>
                      <a:pt x="16109" y="24195"/>
                    </a:moveTo>
                    <a:cubicBezTo>
                      <a:pt x="19035" y="8252"/>
                      <a:pt x="34306" y="-2393"/>
                      <a:pt x="50273" y="463"/>
                    </a:cubicBezTo>
                    <a:cubicBezTo>
                      <a:pt x="66252" y="3473"/>
                      <a:pt x="76885" y="18472"/>
                      <a:pt x="74099" y="34439"/>
                    </a:cubicBezTo>
                    <a:cubicBezTo>
                      <a:pt x="73486" y="37920"/>
                      <a:pt x="59950" y="111654"/>
                      <a:pt x="0" y="154728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412" name="Forma livre: Forma 2411">
                <a:extLst>
                  <a:ext uri="{FF2B5EF4-FFF2-40B4-BE49-F238E27FC236}">
                    <a16:creationId xmlns:a16="http://schemas.microsoft.com/office/drawing/2014/main" id="{85421393-33CF-EAB9-311A-527367084619}"/>
                  </a:ext>
                </a:extLst>
              </p:cNvPr>
              <p:cNvSpPr/>
              <p:nvPr/>
            </p:nvSpPr>
            <p:spPr>
              <a:xfrm>
                <a:off x="9809598" y="4840590"/>
                <a:ext cx="58427" cy="68824"/>
              </a:xfrm>
              <a:custGeom>
                <a:avLst/>
                <a:gdLst>
                  <a:gd name="connsiteX0" fmla="*/ 0 w 58427"/>
                  <a:gd name="connsiteY0" fmla="*/ 68824 h 68824"/>
                  <a:gd name="connsiteX1" fmla="*/ 58428 w 58427"/>
                  <a:gd name="connsiteY1" fmla="*/ 0 h 688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8427" h="68824">
                    <a:moveTo>
                      <a:pt x="0" y="68824"/>
                    </a:moveTo>
                    <a:cubicBezTo>
                      <a:pt x="32819" y="53164"/>
                      <a:pt x="50061" y="21632"/>
                      <a:pt x="58428" y="0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413" name="Forma livre: Forma 2412">
                <a:extLst>
                  <a:ext uri="{FF2B5EF4-FFF2-40B4-BE49-F238E27FC236}">
                    <a16:creationId xmlns:a16="http://schemas.microsoft.com/office/drawing/2014/main" id="{9A10876A-467F-D1FA-2348-4183BA9D2E8B}"/>
                  </a:ext>
                </a:extLst>
              </p:cNvPr>
              <p:cNvSpPr/>
              <p:nvPr/>
            </p:nvSpPr>
            <p:spPr>
              <a:xfrm>
                <a:off x="9822272" y="4823101"/>
                <a:ext cx="81593" cy="112878"/>
              </a:xfrm>
              <a:custGeom>
                <a:avLst/>
                <a:gdLst>
                  <a:gd name="connsiteX0" fmla="*/ 81593 w 81593"/>
                  <a:gd name="connsiteY0" fmla="*/ 0 h 112878"/>
                  <a:gd name="connsiteX1" fmla="*/ 0 w 81593"/>
                  <a:gd name="connsiteY1" fmla="*/ 112878 h 1128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81593" h="112878">
                    <a:moveTo>
                      <a:pt x="81593" y="0"/>
                    </a:moveTo>
                    <a:cubicBezTo>
                      <a:pt x="81593" y="0"/>
                      <a:pt x="67526" y="80649"/>
                      <a:pt x="0" y="112878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2414" name="Forma livre: Forma 2413">
              <a:extLst>
                <a:ext uri="{FF2B5EF4-FFF2-40B4-BE49-F238E27FC236}">
                  <a16:creationId xmlns:a16="http://schemas.microsoft.com/office/drawing/2014/main" id="{7988E1B6-AA4C-7610-110D-6D36A3B74833}"/>
                </a:ext>
              </a:extLst>
            </p:cNvPr>
            <p:cNvSpPr/>
            <p:nvPr/>
          </p:nvSpPr>
          <p:spPr>
            <a:xfrm>
              <a:off x="9747005" y="4793374"/>
              <a:ext cx="339873" cy="1180"/>
            </a:xfrm>
            <a:custGeom>
              <a:avLst/>
              <a:gdLst>
                <a:gd name="connsiteX0" fmla="*/ 0 w 339873"/>
                <a:gd name="connsiteY0" fmla="*/ 0 h 1180"/>
                <a:gd name="connsiteX1" fmla="*/ 339873 w 339873"/>
                <a:gd name="connsiteY1" fmla="*/ 0 h 11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39873" h="1180">
                  <a:moveTo>
                    <a:pt x="0" y="0"/>
                  </a:moveTo>
                  <a:lnTo>
                    <a:pt x="339873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415" name="Forma livre: Forma 2414">
              <a:extLst>
                <a:ext uri="{FF2B5EF4-FFF2-40B4-BE49-F238E27FC236}">
                  <a16:creationId xmlns:a16="http://schemas.microsoft.com/office/drawing/2014/main" id="{A1AE9BEB-EE92-7B89-A10E-472BA1B136DB}"/>
                </a:ext>
              </a:extLst>
            </p:cNvPr>
            <p:cNvSpPr/>
            <p:nvPr/>
          </p:nvSpPr>
          <p:spPr>
            <a:xfrm>
              <a:off x="10003845" y="4793669"/>
              <a:ext cx="17788" cy="104487"/>
            </a:xfrm>
            <a:custGeom>
              <a:avLst/>
              <a:gdLst>
                <a:gd name="connsiteX0" fmla="*/ 14032 w 17788"/>
                <a:gd name="connsiteY0" fmla="*/ 0 h 104487"/>
                <a:gd name="connsiteX1" fmla="*/ 16026 w 17788"/>
                <a:gd name="connsiteY1" fmla="*/ 49671 h 104487"/>
                <a:gd name="connsiteX2" fmla="*/ 0 w 17788"/>
                <a:gd name="connsiteY2" fmla="*/ 104487 h 1044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7788" h="104487">
                  <a:moveTo>
                    <a:pt x="14032" y="0"/>
                  </a:moveTo>
                  <a:cubicBezTo>
                    <a:pt x="18127" y="15755"/>
                    <a:pt x="19000" y="32618"/>
                    <a:pt x="16026" y="49671"/>
                  </a:cubicBezTo>
                  <a:cubicBezTo>
                    <a:pt x="14563" y="58062"/>
                    <a:pt x="10255" y="78796"/>
                    <a:pt x="0" y="104487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416" name="Forma livre: Forma 2415">
              <a:extLst>
                <a:ext uri="{FF2B5EF4-FFF2-40B4-BE49-F238E27FC236}">
                  <a16:creationId xmlns:a16="http://schemas.microsoft.com/office/drawing/2014/main" id="{F5C43119-D315-3739-DCC1-B96972726CD0}"/>
                </a:ext>
              </a:extLst>
            </p:cNvPr>
            <p:cNvSpPr/>
            <p:nvPr/>
          </p:nvSpPr>
          <p:spPr>
            <a:xfrm>
              <a:off x="9976030" y="4728904"/>
              <a:ext cx="34471" cy="43180"/>
            </a:xfrm>
            <a:custGeom>
              <a:avLst/>
              <a:gdLst>
                <a:gd name="connsiteX0" fmla="*/ 0 w 34471"/>
                <a:gd name="connsiteY0" fmla="*/ 0 h 43180"/>
                <a:gd name="connsiteX1" fmla="*/ 34471 w 34471"/>
                <a:gd name="connsiteY1" fmla="*/ 43180 h 431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4471" h="43180">
                  <a:moveTo>
                    <a:pt x="0" y="0"/>
                  </a:moveTo>
                  <a:cubicBezTo>
                    <a:pt x="14763" y="11494"/>
                    <a:pt x="26564" y="26352"/>
                    <a:pt x="34471" y="4318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417" name="Forma livre: Forma 2416">
              <a:extLst>
                <a:ext uri="{FF2B5EF4-FFF2-40B4-BE49-F238E27FC236}">
                  <a16:creationId xmlns:a16="http://schemas.microsoft.com/office/drawing/2014/main" id="{55B32E19-D00A-AB38-63E2-93FAC9D892A1}"/>
                </a:ext>
              </a:extLst>
            </p:cNvPr>
            <p:cNvSpPr/>
            <p:nvPr/>
          </p:nvSpPr>
          <p:spPr>
            <a:xfrm>
              <a:off x="9797053" y="4704169"/>
              <a:ext cx="157156" cy="68139"/>
            </a:xfrm>
            <a:custGeom>
              <a:avLst/>
              <a:gdLst>
                <a:gd name="connsiteX0" fmla="*/ 0 w 157156"/>
                <a:gd name="connsiteY0" fmla="*/ 68140 h 68139"/>
                <a:gd name="connsiteX1" fmla="*/ 106753 w 157156"/>
                <a:gd name="connsiteY1" fmla="*/ 0 h 68139"/>
                <a:gd name="connsiteX2" fmla="*/ 127039 w 157156"/>
                <a:gd name="connsiteY2" fmla="*/ 1758 h 68139"/>
                <a:gd name="connsiteX3" fmla="*/ 157156 w 157156"/>
                <a:gd name="connsiteY3" fmla="*/ 11294 h 681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7156" h="68139">
                  <a:moveTo>
                    <a:pt x="0" y="68140"/>
                  </a:moveTo>
                  <a:cubicBezTo>
                    <a:pt x="18894" y="27320"/>
                    <a:pt x="59973" y="0"/>
                    <a:pt x="106753" y="0"/>
                  </a:cubicBezTo>
                  <a:cubicBezTo>
                    <a:pt x="113515" y="0"/>
                    <a:pt x="120348" y="590"/>
                    <a:pt x="127039" y="1758"/>
                  </a:cubicBezTo>
                  <a:cubicBezTo>
                    <a:pt x="137708" y="3611"/>
                    <a:pt x="147810" y="6868"/>
                    <a:pt x="157156" y="11294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418" name="Forma livre: Forma 2417">
              <a:extLst>
                <a:ext uri="{FF2B5EF4-FFF2-40B4-BE49-F238E27FC236}">
                  <a16:creationId xmlns:a16="http://schemas.microsoft.com/office/drawing/2014/main" id="{FBB19D61-5E01-5663-76A1-1507433BC47F}"/>
                </a:ext>
              </a:extLst>
            </p:cNvPr>
            <p:cNvSpPr/>
            <p:nvPr/>
          </p:nvSpPr>
          <p:spPr>
            <a:xfrm>
              <a:off x="9779092" y="4793362"/>
              <a:ext cx="10857" cy="28594"/>
            </a:xfrm>
            <a:custGeom>
              <a:avLst/>
              <a:gdLst>
                <a:gd name="connsiteX0" fmla="*/ 0 w 10857"/>
                <a:gd name="connsiteY0" fmla="*/ 28594 h 28594"/>
                <a:gd name="connsiteX1" fmla="*/ 9075 w 10857"/>
                <a:gd name="connsiteY1" fmla="*/ 7907 h 28594"/>
                <a:gd name="connsiteX2" fmla="*/ 10857 w 10857"/>
                <a:gd name="connsiteY2" fmla="*/ 0 h 285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0857" h="28594">
                  <a:moveTo>
                    <a:pt x="0" y="28594"/>
                  </a:moveTo>
                  <a:cubicBezTo>
                    <a:pt x="3942" y="22658"/>
                    <a:pt x="7470" y="14574"/>
                    <a:pt x="9075" y="7907"/>
                  </a:cubicBezTo>
                  <a:cubicBezTo>
                    <a:pt x="9583" y="5228"/>
                    <a:pt x="10173" y="2596"/>
                    <a:pt x="10857" y="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419" name="Forma livre: Forma 2418">
              <a:extLst>
                <a:ext uri="{FF2B5EF4-FFF2-40B4-BE49-F238E27FC236}">
                  <a16:creationId xmlns:a16="http://schemas.microsoft.com/office/drawing/2014/main" id="{07B70925-B590-8A0C-DBD2-0C5F37214D6A}"/>
                </a:ext>
              </a:extLst>
            </p:cNvPr>
            <p:cNvSpPr/>
            <p:nvPr/>
          </p:nvSpPr>
          <p:spPr>
            <a:xfrm>
              <a:off x="9907323" y="4888243"/>
              <a:ext cx="36548" cy="56067"/>
            </a:xfrm>
            <a:custGeom>
              <a:avLst/>
              <a:gdLst>
                <a:gd name="connsiteX0" fmla="*/ 36548 w 36548"/>
                <a:gd name="connsiteY0" fmla="*/ 0 h 56067"/>
                <a:gd name="connsiteX1" fmla="*/ 0 w 36548"/>
                <a:gd name="connsiteY1" fmla="*/ 56067 h 560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6548" h="56067">
                  <a:moveTo>
                    <a:pt x="36548" y="0"/>
                  </a:moveTo>
                  <a:cubicBezTo>
                    <a:pt x="28299" y="17808"/>
                    <a:pt x="16545" y="37669"/>
                    <a:pt x="0" y="56067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420" name="Forma livre: Forma 2419">
              <a:extLst>
                <a:ext uri="{FF2B5EF4-FFF2-40B4-BE49-F238E27FC236}">
                  <a16:creationId xmlns:a16="http://schemas.microsoft.com/office/drawing/2014/main" id="{196B33C6-788C-BC65-8068-F85BC65E013A}"/>
                </a:ext>
              </a:extLst>
            </p:cNvPr>
            <p:cNvSpPr/>
            <p:nvPr/>
          </p:nvSpPr>
          <p:spPr>
            <a:xfrm>
              <a:off x="9953761" y="4794448"/>
              <a:ext cx="8988" cy="69131"/>
            </a:xfrm>
            <a:custGeom>
              <a:avLst/>
              <a:gdLst>
                <a:gd name="connsiteX0" fmla="*/ 1534 w 8988"/>
                <a:gd name="connsiteY0" fmla="*/ 0 h 69131"/>
                <a:gd name="connsiteX1" fmla="*/ 8107 w 8988"/>
                <a:gd name="connsiteY1" fmla="*/ 38779 h 69131"/>
                <a:gd name="connsiteX2" fmla="*/ 0 w 8988"/>
                <a:gd name="connsiteY2" fmla="*/ 69131 h 691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8988" h="69131">
                  <a:moveTo>
                    <a:pt x="1534" y="0"/>
                  </a:moveTo>
                  <a:cubicBezTo>
                    <a:pt x="7883" y="11376"/>
                    <a:pt x="10515" y="24924"/>
                    <a:pt x="8107" y="38779"/>
                  </a:cubicBezTo>
                  <a:cubicBezTo>
                    <a:pt x="7517" y="42177"/>
                    <a:pt x="5299" y="53613"/>
                    <a:pt x="0" y="69131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421" name="Forma livre: Forma 2420">
              <a:extLst>
                <a:ext uri="{FF2B5EF4-FFF2-40B4-BE49-F238E27FC236}">
                  <a16:creationId xmlns:a16="http://schemas.microsoft.com/office/drawing/2014/main" id="{D241B7DB-AB29-9F46-A18A-59AAFCF1EF7A}"/>
                </a:ext>
              </a:extLst>
            </p:cNvPr>
            <p:cNvSpPr/>
            <p:nvPr/>
          </p:nvSpPr>
          <p:spPr>
            <a:xfrm>
              <a:off x="9871578" y="4763043"/>
              <a:ext cx="64198" cy="9654"/>
            </a:xfrm>
            <a:custGeom>
              <a:avLst/>
              <a:gdLst>
                <a:gd name="connsiteX0" fmla="*/ 0 w 64198"/>
                <a:gd name="connsiteY0" fmla="*/ 9655 h 9654"/>
                <a:gd name="connsiteX1" fmla="*/ 42413 w 64198"/>
                <a:gd name="connsiteY1" fmla="*/ 886 h 9654"/>
                <a:gd name="connsiteX2" fmla="*/ 64198 w 64198"/>
                <a:gd name="connsiteY2" fmla="*/ 9383 h 96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4198" h="9654">
                  <a:moveTo>
                    <a:pt x="0" y="9655"/>
                  </a:moveTo>
                  <a:cubicBezTo>
                    <a:pt x="12073" y="1736"/>
                    <a:pt x="27060" y="-1793"/>
                    <a:pt x="42413" y="886"/>
                  </a:cubicBezTo>
                  <a:cubicBezTo>
                    <a:pt x="50426" y="2279"/>
                    <a:pt x="57767" y="5241"/>
                    <a:pt x="64198" y="9383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422" name="Forma livre: Forma 2421">
              <a:extLst>
                <a:ext uri="{FF2B5EF4-FFF2-40B4-BE49-F238E27FC236}">
                  <a16:creationId xmlns:a16="http://schemas.microsoft.com/office/drawing/2014/main" id="{75C175A5-4641-0ECD-6A32-3D8B3BA237B6}"/>
                </a:ext>
              </a:extLst>
            </p:cNvPr>
            <p:cNvSpPr/>
            <p:nvPr/>
          </p:nvSpPr>
          <p:spPr>
            <a:xfrm>
              <a:off x="9796923" y="4794695"/>
              <a:ext cx="55359" cy="88154"/>
            </a:xfrm>
            <a:custGeom>
              <a:avLst/>
              <a:gdLst>
                <a:gd name="connsiteX0" fmla="*/ 0 w 55359"/>
                <a:gd name="connsiteY0" fmla="*/ 88155 h 88154"/>
                <a:gd name="connsiteX1" fmla="*/ 48951 w 55359"/>
                <a:gd name="connsiteY1" fmla="*/ 18292 h 88154"/>
                <a:gd name="connsiteX2" fmla="*/ 55359 w 55359"/>
                <a:gd name="connsiteY2" fmla="*/ 0 h 881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55359" h="88154">
                  <a:moveTo>
                    <a:pt x="0" y="88155"/>
                  </a:moveTo>
                  <a:cubicBezTo>
                    <a:pt x="38377" y="69839"/>
                    <a:pt x="48857" y="18799"/>
                    <a:pt x="48951" y="18292"/>
                  </a:cubicBezTo>
                  <a:cubicBezTo>
                    <a:pt x="50108" y="11695"/>
                    <a:pt x="52303" y="5558"/>
                    <a:pt x="55359" y="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423" name="Forma livre: Forma 2422">
              <a:extLst>
                <a:ext uri="{FF2B5EF4-FFF2-40B4-BE49-F238E27FC236}">
                  <a16:creationId xmlns:a16="http://schemas.microsoft.com/office/drawing/2014/main" id="{3D504AFA-717B-86C9-D6F5-231AD925A78B}"/>
                </a:ext>
              </a:extLst>
            </p:cNvPr>
            <p:cNvSpPr/>
            <p:nvPr/>
          </p:nvSpPr>
          <p:spPr>
            <a:xfrm>
              <a:off x="9959024" y="4793645"/>
              <a:ext cx="33172" cy="128915"/>
            </a:xfrm>
            <a:custGeom>
              <a:avLst/>
              <a:gdLst>
                <a:gd name="connsiteX0" fmla="*/ 28087 w 33172"/>
                <a:gd name="connsiteY0" fmla="*/ 0 h 128915"/>
                <a:gd name="connsiteX1" fmla="*/ 31851 w 33172"/>
                <a:gd name="connsiteY1" fmla="*/ 44632 h 128915"/>
                <a:gd name="connsiteX2" fmla="*/ 0 w 33172"/>
                <a:gd name="connsiteY2" fmla="*/ 128916 h 1289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3172" h="128915">
                  <a:moveTo>
                    <a:pt x="28087" y="0"/>
                  </a:moveTo>
                  <a:cubicBezTo>
                    <a:pt x="33020" y="13855"/>
                    <a:pt x="34554" y="29137"/>
                    <a:pt x="31851" y="44632"/>
                  </a:cubicBezTo>
                  <a:cubicBezTo>
                    <a:pt x="30636" y="51630"/>
                    <a:pt x="23354" y="88568"/>
                    <a:pt x="0" y="128916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424" name="Forma livre: Forma 2423">
              <a:extLst>
                <a:ext uri="{FF2B5EF4-FFF2-40B4-BE49-F238E27FC236}">
                  <a16:creationId xmlns:a16="http://schemas.microsoft.com/office/drawing/2014/main" id="{9C3E4F8E-FE84-6E98-2737-62AEF6A314D9}"/>
                </a:ext>
              </a:extLst>
            </p:cNvPr>
            <p:cNvSpPr/>
            <p:nvPr/>
          </p:nvSpPr>
          <p:spPr>
            <a:xfrm>
              <a:off x="9830840" y="4733601"/>
              <a:ext cx="145921" cy="38589"/>
            </a:xfrm>
            <a:custGeom>
              <a:avLst/>
              <a:gdLst>
                <a:gd name="connsiteX0" fmla="*/ 0 w 145921"/>
                <a:gd name="connsiteY0" fmla="*/ 38590 h 38589"/>
                <a:gd name="connsiteX1" fmla="*/ 72967 w 145921"/>
                <a:gd name="connsiteY1" fmla="*/ 0 h 38589"/>
                <a:gd name="connsiteX2" fmla="*/ 88202 w 145921"/>
                <a:gd name="connsiteY2" fmla="*/ 1322 h 38589"/>
                <a:gd name="connsiteX3" fmla="*/ 145921 w 145921"/>
                <a:gd name="connsiteY3" fmla="*/ 38543 h 385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5921" h="38589">
                  <a:moveTo>
                    <a:pt x="0" y="38590"/>
                  </a:moveTo>
                  <a:cubicBezTo>
                    <a:pt x="16002" y="15046"/>
                    <a:pt x="42921" y="0"/>
                    <a:pt x="72967" y="0"/>
                  </a:cubicBezTo>
                  <a:cubicBezTo>
                    <a:pt x="78041" y="0"/>
                    <a:pt x="83175" y="448"/>
                    <a:pt x="88202" y="1322"/>
                  </a:cubicBezTo>
                  <a:cubicBezTo>
                    <a:pt x="112607" y="5582"/>
                    <a:pt x="132940" y="19543"/>
                    <a:pt x="145921" y="38543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425" name="Forma livre: Forma 2424">
              <a:extLst>
                <a:ext uri="{FF2B5EF4-FFF2-40B4-BE49-F238E27FC236}">
                  <a16:creationId xmlns:a16="http://schemas.microsoft.com/office/drawing/2014/main" id="{43B5F118-B06E-9CF7-C5AC-FD21274E40D0}"/>
                </a:ext>
              </a:extLst>
            </p:cNvPr>
            <p:cNvSpPr/>
            <p:nvPr/>
          </p:nvSpPr>
          <p:spPr>
            <a:xfrm>
              <a:off x="9796251" y="4793562"/>
              <a:ext cx="24369" cy="53872"/>
            </a:xfrm>
            <a:custGeom>
              <a:avLst/>
              <a:gdLst>
                <a:gd name="connsiteX0" fmla="*/ 0 w 24369"/>
                <a:gd name="connsiteY0" fmla="*/ 53872 h 53872"/>
                <a:gd name="connsiteX1" fmla="*/ 20711 w 24369"/>
                <a:gd name="connsiteY1" fmla="*/ 13807 h 53872"/>
                <a:gd name="connsiteX2" fmla="*/ 24369 w 24369"/>
                <a:gd name="connsiteY2" fmla="*/ 0 h 538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4369" h="53872">
                  <a:moveTo>
                    <a:pt x="0" y="53872"/>
                  </a:moveTo>
                  <a:cubicBezTo>
                    <a:pt x="12332" y="41210"/>
                    <a:pt x="18905" y="22033"/>
                    <a:pt x="20711" y="13807"/>
                  </a:cubicBezTo>
                  <a:cubicBezTo>
                    <a:pt x="21573" y="9051"/>
                    <a:pt x="22812" y="4425"/>
                    <a:pt x="24369" y="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2426" name="Gráfico 19">
            <a:extLst>
              <a:ext uri="{FF2B5EF4-FFF2-40B4-BE49-F238E27FC236}">
                <a16:creationId xmlns:a16="http://schemas.microsoft.com/office/drawing/2014/main" id="{763D0C84-09CB-79BD-B1BD-D8D9913B1346}"/>
              </a:ext>
            </a:extLst>
          </p:cNvPr>
          <p:cNvGrpSpPr/>
          <p:nvPr/>
        </p:nvGrpSpPr>
        <p:grpSpPr>
          <a:xfrm>
            <a:off x="9758699" y="5737832"/>
            <a:ext cx="316472" cy="239551"/>
            <a:chOff x="9758699" y="5737832"/>
            <a:chExt cx="316472" cy="239551"/>
          </a:xfrm>
          <a:noFill/>
        </p:grpSpPr>
        <p:grpSp>
          <p:nvGrpSpPr>
            <p:cNvPr id="2427" name="Gráfico 19">
              <a:extLst>
                <a:ext uri="{FF2B5EF4-FFF2-40B4-BE49-F238E27FC236}">
                  <a16:creationId xmlns:a16="http://schemas.microsoft.com/office/drawing/2014/main" id="{A4F4E53A-F479-D793-B73D-429D11924175}"/>
                </a:ext>
              </a:extLst>
            </p:cNvPr>
            <p:cNvGrpSpPr/>
            <p:nvPr/>
          </p:nvGrpSpPr>
          <p:grpSpPr>
            <a:xfrm>
              <a:off x="9872120" y="5874687"/>
              <a:ext cx="124738" cy="70125"/>
              <a:chOff x="9872120" y="5874687"/>
              <a:chExt cx="124738" cy="70125"/>
            </a:xfrm>
            <a:noFill/>
          </p:grpSpPr>
          <p:sp>
            <p:nvSpPr>
              <p:cNvPr id="2428" name="Forma livre: Forma 2427">
                <a:extLst>
                  <a:ext uri="{FF2B5EF4-FFF2-40B4-BE49-F238E27FC236}">
                    <a16:creationId xmlns:a16="http://schemas.microsoft.com/office/drawing/2014/main" id="{FF34C598-23F0-3CA5-F1E9-48877721733E}"/>
                  </a:ext>
                </a:extLst>
              </p:cNvPr>
              <p:cNvSpPr/>
              <p:nvPr/>
            </p:nvSpPr>
            <p:spPr>
              <a:xfrm>
                <a:off x="9916410" y="5937325"/>
                <a:ext cx="36158" cy="7487"/>
              </a:xfrm>
              <a:custGeom>
                <a:avLst/>
                <a:gdLst>
                  <a:gd name="connsiteX0" fmla="*/ 0 w 36158"/>
                  <a:gd name="connsiteY0" fmla="*/ 7488 h 7487"/>
                  <a:gd name="connsiteX1" fmla="*/ 36159 w 36158"/>
                  <a:gd name="connsiteY1" fmla="*/ 7488 h 74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6158" h="7487">
                    <a:moveTo>
                      <a:pt x="0" y="7488"/>
                    </a:moveTo>
                    <a:cubicBezTo>
                      <a:pt x="9984" y="-2496"/>
                      <a:pt x="26187" y="-2496"/>
                      <a:pt x="36159" y="7488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429" name="Forma livre: Forma 2428">
                <a:extLst>
                  <a:ext uri="{FF2B5EF4-FFF2-40B4-BE49-F238E27FC236}">
                    <a16:creationId xmlns:a16="http://schemas.microsoft.com/office/drawing/2014/main" id="{FCBB7666-1E65-66B3-9D21-64B95C782266}"/>
                  </a:ext>
                </a:extLst>
              </p:cNvPr>
              <p:cNvSpPr/>
              <p:nvPr/>
            </p:nvSpPr>
            <p:spPr>
              <a:xfrm>
                <a:off x="9893598" y="5905065"/>
                <a:ext cx="81782" cy="16936"/>
              </a:xfrm>
              <a:custGeom>
                <a:avLst/>
                <a:gdLst>
                  <a:gd name="connsiteX0" fmla="*/ 0 w 81782"/>
                  <a:gd name="connsiteY0" fmla="*/ 16936 h 16936"/>
                  <a:gd name="connsiteX1" fmla="*/ 81782 w 81782"/>
                  <a:gd name="connsiteY1" fmla="*/ 16936 h 169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81782" h="16936">
                    <a:moveTo>
                      <a:pt x="0" y="16936"/>
                    </a:moveTo>
                    <a:cubicBezTo>
                      <a:pt x="22587" y="-5651"/>
                      <a:pt x="59195" y="-5640"/>
                      <a:pt x="81782" y="16936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430" name="Forma livre: Forma 2429">
                <a:extLst>
                  <a:ext uri="{FF2B5EF4-FFF2-40B4-BE49-F238E27FC236}">
                    <a16:creationId xmlns:a16="http://schemas.microsoft.com/office/drawing/2014/main" id="{0321B822-0ED4-1652-600E-4AE4B2C18310}"/>
                  </a:ext>
                </a:extLst>
              </p:cNvPr>
              <p:cNvSpPr/>
              <p:nvPr/>
            </p:nvSpPr>
            <p:spPr>
              <a:xfrm>
                <a:off x="9872120" y="5874687"/>
                <a:ext cx="124738" cy="25835"/>
              </a:xfrm>
              <a:custGeom>
                <a:avLst/>
                <a:gdLst>
                  <a:gd name="connsiteX0" fmla="*/ 0 w 124738"/>
                  <a:gd name="connsiteY0" fmla="*/ 25836 h 25835"/>
                  <a:gd name="connsiteX1" fmla="*/ 124738 w 124738"/>
                  <a:gd name="connsiteY1" fmla="*/ 25836 h 258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4738" h="25835">
                    <a:moveTo>
                      <a:pt x="0" y="25836"/>
                    </a:moveTo>
                    <a:cubicBezTo>
                      <a:pt x="34459" y="-8612"/>
                      <a:pt x="90302" y="-8612"/>
                      <a:pt x="124738" y="25836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2431" name="Forma livre: Forma 2430">
              <a:extLst>
                <a:ext uri="{FF2B5EF4-FFF2-40B4-BE49-F238E27FC236}">
                  <a16:creationId xmlns:a16="http://schemas.microsoft.com/office/drawing/2014/main" id="{17940F5F-1AB6-8874-6BA1-74DA751BBE31}"/>
                </a:ext>
              </a:extLst>
            </p:cNvPr>
            <p:cNvSpPr/>
            <p:nvPr/>
          </p:nvSpPr>
          <p:spPr>
            <a:xfrm>
              <a:off x="9817693" y="5743249"/>
              <a:ext cx="257478" cy="75510"/>
            </a:xfrm>
            <a:custGeom>
              <a:avLst/>
              <a:gdLst>
                <a:gd name="connsiteX0" fmla="*/ 169476 w 257478"/>
                <a:gd name="connsiteY0" fmla="*/ 61354 h 75510"/>
                <a:gd name="connsiteX1" fmla="*/ 215218 w 257478"/>
                <a:gd name="connsiteY1" fmla="*/ 74100 h 75510"/>
                <a:gd name="connsiteX2" fmla="*/ 256616 w 257478"/>
                <a:gd name="connsiteY2" fmla="*/ 62759 h 75510"/>
                <a:gd name="connsiteX3" fmla="*/ 236542 w 257478"/>
                <a:gd name="connsiteY3" fmla="*/ 42756 h 75510"/>
                <a:gd name="connsiteX4" fmla="*/ 114802 w 257478"/>
                <a:gd name="connsiteY4" fmla="*/ 401 h 75510"/>
                <a:gd name="connsiteX5" fmla="*/ 108323 w 257478"/>
                <a:gd name="connsiteY5" fmla="*/ 0 h 75510"/>
                <a:gd name="connsiteX6" fmla="*/ 0 w 257478"/>
                <a:gd name="connsiteY6" fmla="*/ 17277 h 755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57478" h="75510">
                  <a:moveTo>
                    <a:pt x="169476" y="61354"/>
                  </a:moveTo>
                  <a:lnTo>
                    <a:pt x="215218" y="74100"/>
                  </a:lnTo>
                  <a:cubicBezTo>
                    <a:pt x="231952" y="78041"/>
                    <a:pt x="253158" y="73557"/>
                    <a:pt x="256616" y="62759"/>
                  </a:cubicBezTo>
                  <a:cubicBezTo>
                    <a:pt x="260050" y="51961"/>
                    <a:pt x="253206" y="48574"/>
                    <a:pt x="236542" y="42756"/>
                  </a:cubicBezTo>
                  <a:lnTo>
                    <a:pt x="114802" y="401"/>
                  </a:lnTo>
                  <a:lnTo>
                    <a:pt x="108323" y="0"/>
                  </a:lnTo>
                  <a:lnTo>
                    <a:pt x="0" y="17277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432" name="Forma livre: Forma 2431">
              <a:extLst>
                <a:ext uri="{FF2B5EF4-FFF2-40B4-BE49-F238E27FC236}">
                  <a16:creationId xmlns:a16="http://schemas.microsoft.com/office/drawing/2014/main" id="{44208FC2-3A0D-24F3-955F-F17A5D9A5D15}"/>
                </a:ext>
              </a:extLst>
            </p:cNvPr>
            <p:cNvSpPr/>
            <p:nvPr/>
          </p:nvSpPr>
          <p:spPr>
            <a:xfrm>
              <a:off x="9797620" y="5780949"/>
              <a:ext cx="168999" cy="69148"/>
            </a:xfrm>
            <a:custGeom>
              <a:avLst/>
              <a:gdLst>
                <a:gd name="connsiteX0" fmla="*/ 0 w 168999"/>
                <a:gd name="connsiteY0" fmla="*/ 58762 h 69148"/>
                <a:gd name="connsiteX1" fmla="*/ 13253 w 168999"/>
                <a:gd name="connsiteY1" fmla="*/ 63235 h 69148"/>
                <a:gd name="connsiteX2" fmla="*/ 73592 w 168999"/>
                <a:gd name="connsiteY2" fmla="*/ 62503 h 69148"/>
                <a:gd name="connsiteX3" fmla="*/ 106387 w 168999"/>
                <a:gd name="connsiteY3" fmla="*/ 48908 h 69148"/>
                <a:gd name="connsiteX4" fmla="*/ 149249 w 168999"/>
                <a:gd name="connsiteY4" fmla="*/ 40966 h 69148"/>
                <a:gd name="connsiteX5" fmla="*/ 168698 w 168999"/>
                <a:gd name="connsiteY5" fmla="*/ 16408 h 69148"/>
                <a:gd name="connsiteX6" fmla="*/ 141732 w 168999"/>
                <a:gd name="connsiteY6" fmla="*/ 453 h 69148"/>
                <a:gd name="connsiteX7" fmla="*/ 82455 w 168999"/>
                <a:gd name="connsiteY7" fmla="*/ 11440 h 691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68999" h="69148">
                  <a:moveTo>
                    <a:pt x="0" y="58762"/>
                  </a:moveTo>
                  <a:lnTo>
                    <a:pt x="13253" y="63235"/>
                  </a:lnTo>
                  <a:cubicBezTo>
                    <a:pt x="33633" y="74481"/>
                    <a:pt x="64057" y="67047"/>
                    <a:pt x="73592" y="62503"/>
                  </a:cubicBezTo>
                  <a:cubicBezTo>
                    <a:pt x="81334" y="58821"/>
                    <a:pt x="97419" y="50572"/>
                    <a:pt x="106387" y="48908"/>
                  </a:cubicBezTo>
                  <a:cubicBezTo>
                    <a:pt x="119074" y="46560"/>
                    <a:pt x="149249" y="40966"/>
                    <a:pt x="149249" y="40966"/>
                  </a:cubicBezTo>
                  <a:cubicBezTo>
                    <a:pt x="162006" y="38606"/>
                    <a:pt x="170763" y="27548"/>
                    <a:pt x="168698" y="16408"/>
                  </a:cubicBezTo>
                  <a:cubicBezTo>
                    <a:pt x="166632" y="5268"/>
                    <a:pt x="154501" y="-1919"/>
                    <a:pt x="141732" y="453"/>
                  </a:cubicBezTo>
                  <a:lnTo>
                    <a:pt x="82455" y="1144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433" name="Forma livre: Forma 2432">
              <a:extLst>
                <a:ext uri="{FF2B5EF4-FFF2-40B4-BE49-F238E27FC236}">
                  <a16:creationId xmlns:a16="http://schemas.microsoft.com/office/drawing/2014/main" id="{734DFC44-30ED-BE3E-D2A9-C57542A056AE}"/>
                </a:ext>
              </a:extLst>
            </p:cNvPr>
            <p:cNvSpPr/>
            <p:nvPr/>
          </p:nvSpPr>
          <p:spPr>
            <a:xfrm>
              <a:off x="9807037" y="5977384"/>
              <a:ext cx="254905" cy="1180"/>
            </a:xfrm>
            <a:custGeom>
              <a:avLst/>
              <a:gdLst>
                <a:gd name="connsiteX0" fmla="*/ 0 w 254905"/>
                <a:gd name="connsiteY0" fmla="*/ 0 h 1180"/>
                <a:gd name="connsiteX1" fmla="*/ 254905 w 254905"/>
                <a:gd name="connsiteY1" fmla="*/ 0 h 11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54905" h="1180">
                  <a:moveTo>
                    <a:pt x="0" y="0"/>
                  </a:moveTo>
                  <a:lnTo>
                    <a:pt x="254905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434" name="Forma livre: Forma 2433">
              <a:extLst>
                <a:ext uri="{FF2B5EF4-FFF2-40B4-BE49-F238E27FC236}">
                  <a16:creationId xmlns:a16="http://schemas.microsoft.com/office/drawing/2014/main" id="{3A09A0D7-E847-8DC0-0B35-41690CB398F0}"/>
                </a:ext>
              </a:extLst>
            </p:cNvPr>
            <p:cNvSpPr/>
            <p:nvPr/>
          </p:nvSpPr>
          <p:spPr>
            <a:xfrm>
              <a:off x="9758699" y="5737832"/>
              <a:ext cx="37622" cy="121905"/>
            </a:xfrm>
            <a:custGeom>
              <a:avLst/>
              <a:gdLst>
                <a:gd name="connsiteX0" fmla="*/ 0 w 37622"/>
                <a:gd name="connsiteY0" fmla="*/ 0 h 121905"/>
                <a:gd name="connsiteX1" fmla="*/ 37622 w 37622"/>
                <a:gd name="connsiteY1" fmla="*/ 0 h 121905"/>
                <a:gd name="connsiteX2" fmla="*/ 37622 w 37622"/>
                <a:gd name="connsiteY2" fmla="*/ 121906 h 121905"/>
                <a:gd name="connsiteX3" fmla="*/ 0 w 37622"/>
                <a:gd name="connsiteY3" fmla="*/ 121906 h 1219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7622" h="121905">
                  <a:moveTo>
                    <a:pt x="0" y="0"/>
                  </a:moveTo>
                  <a:lnTo>
                    <a:pt x="37622" y="0"/>
                  </a:lnTo>
                  <a:lnTo>
                    <a:pt x="37622" y="121906"/>
                  </a:lnTo>
                  <a:lnTo>
                    <a:pt x="0" y="121906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2435" name="Gráfico 19">
            <a:extLst>
              <a:ext uri="{FF2B5EF4-FFF2-40B4-BE49-F238E27FC236}">
                <a16:creationId xmlns:a16="http://schemas.microsoft.com/office/drawing/2014/main" id="{12493ED4-C9D4-FA03-BAE7-C53CA4957DDF}"/>
              </a:ext>
            </a:extLst>
          </p:cNvPr>
          <p:cNvGrpSpPr/>
          <p:nvPr/>
        </p:nvGrpSpPr>
        <p:grpSpPr>
          <a:xfrm>
            <a:off x="9822780" y="4141808"/>
            <a:ext cx="188310" cy="293742"/>
            <a:chOff x="9822780" y="4141808"/>
            <a:chExt cx="188310" cy="293742"/>
          </a:xfrm>
          <a:noFill/>
        </p:grpSpPr>
        <p:grpSp>
          <p:nvGrpSpPr>
            <p:cNvPr id="2436" name="Gráfico 19">
              <a:extLst>
                <a:ext uri="{FF2B5EF4-FFF2-40B4-BE49-F238E27FC236}">
                  <a16:creationId xmlns:a16="http://schemas.microsoft.com/office/drawing/2014/main" id="{7FF9C015-88C8-471B-7064-561EF09BCA1F}"/>
                </a:ext>
              </a:extLst>
            </p:cNvPr>
            <p:cNvGrpSpPr/>
            <p:nvPr/>
          </p:nvGrpSpPr>
          <p:grpSpPr>
            <a:xfrm>
              <a:off x="9869634" y="4198701"/>
              <a:ext cx="141456" cy="139879"/>
              <a:chOff x="9869634" y="4198701"/>
              <a:chExt cx="141456" cy="139879"/>
            </a:xfrm>
            <a:noFill/>
          </p:grpSpPr>
          <p:sp>
            <p:nvSpPr>
              <p:cNvPr id="2437" name="Forma livre: Forma 2436">
                <a:extLst>
                  <a:ext uri="{FF2B5EF4-FFF2-40B4-BE49-F238E27FC236}">
                    <a16:creationId xmlns:a16="http://schemas.microsoft.com/office/drawing/2014/main" id="{C546AA09-9461-A26C-EE2B-55EAD00F4E50}"/>
                  </a:ext>
                </a:extLst>
              </p:cNvPr>
              <p:cNvSpPr/>
              <p:nvPr/>
            </p:nvSpPr>
            <p:spPr>
              <a:xfrm>
                <a:off x="9913601" y="4255465"/>
                <a:ext cx="40707" cy="83115"/>
              </a:xfrm>
              <a:custGeom>
                <a:avLst/>
                <a:gdLst>
                  <a:gd name="connsiteX0" fmla="*/ 29763 w 40707"/>
                  <a:gd name="connsiteY0" fmla="*/ 83116 h 83115"/>
                  <a:gd name="connsiteX1" fmla="*/ 40631 w 40707"/>
                  <a:gd name="connsiteY1" fmla="*/ 16781 h 83115"/>
                  <a:gd name="connsiteX2" fmla="*/ 26588 w 40707"/>
                  <a:gd name="connsiteY2" fmla="*/ 0 h 83115"/>
                  <a:gd name="connsiteX3" fmla="*/ 12804 w 40707"/>
                  <a:gd name="connsiteY3" fmla="*/ 18846 h 83115"/>
                  <a:gd name="connsiteX4" fmla="*/ 0 w 40707"/>
                  <a:gd name="connsiteY4" fmla="*/ 78725 h 831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0707" h="83115">
                    <a:moveTo>
                      <a:pt x="29763" y="83116"/>
                    </a:moveTo>
                    <a:cubicBezTo>
                      <a:pt x="42236" y="49093"/>
                      <a:pt x="40655" y="17088"/>
                      <a:pt x="40631" y="16781"/>
                    </a:cubicBezTo>
                    <a:cubicBezTo>
                      <a:pt x="40136" y="7482"/>
                      <a:pt x="33834" y="0"/>
                      <a:pt x="26588" y="0"/>
                    </a:cubicBezTo>
                    <a:cubicBezTo>
                      <a:pt x="18575" y="484"/>
                      <a:pt x="12368" y="9276"/>
                      <a:pt x="12804" y="18846"/>
                    </a:cubicBezTo>
                    <a:cubicBezTo>
                      <a:pt x="12863" y="20475"/>
                      <a:pt x="13772" y="51264"/>
                      <a:pt x="0" y="78725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438" name="Forma livre: Forma 2437">
                <a:extLst>
                  <a:ext uri="{FF2B5EF4-FFF2-40B4-BE49-F238E27FC236}">
                    <a16:creationId xmlns:a16="http://schemas.microsoft.com/office/drawing/2014/main" id="{0E247AE1-22B4-8A27-4691-B70E83DA2036}"/>
                  </a:ext>
                </a:extLst>
              </p:cNvPr>
              <p:cNvSpPr/>
              <p:nvPr/>
            </p:nvSpPr>
            <p:spPr>
              <a:xfrm>
                <a:off x="9937735" y="4198701"/>
                <a:ext cx="73355" cy="120501"/>
              </a:xfrm>
              <a:custGeom>
                <a:avLst/>
                <a:gdLst>
                  <a:gd name="connsiteX0" fmla="*/ 0 w 73355"/>
                  <a:gd name="connsiteY0" fmla="*/ 35 h 120501"/>
                  <a:gd name="connsiteX1" fmla="*/ 2455 w 73355"/>
                  <a:gd name="connsiteY1" fmla="*/ 0 h 120501"/>
                  <a:gd name="connsiteX2" fmla="*/ 73179 w 73355"/>
                  <a:gd name="connsiteY2" fmla="*/ 70370 h 120501"/>
                  <a:gd name="connsiteX3" fmla="*/ 69391 w 73355"/>
                  <a:gd name="connsiteY3" fmla="*/ 120502 h 1205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3355" h="120501">
                    <a:moveTo>
                      <a:pt x="0" y="35"/>
                    </a:moveTo>
                    <a:cubicBezTo>
                      <a:pt x="861" y="12"/>
                      <a:pt x="1652" y="0"/>
                      <a:pt x="2455" y="0"/>
                    </a:cubicBezTo>
                    <a:cubicBezTo>
                      <a:pt x="39971" y="0"/>
                      <a:pt x="71043" y="30919"/>
                      <a:pt x="73179" y="70370"/>
                    </a:cubicBezTo>
                    <a:cubicBezTo>
                      <a:pt x="73344" y="73380"/>
                      <a:pt x="74265" y="93619"/>
                      <a:pt x="69391" y="120502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439" name="Forma livre: Forma 2438">
                <a:extLst>
                  <a:ext uri="{FF2B5EF4-FFF2-40B4-BE49-F238E27FC236}">
                    <a16:creationId xmlns:a16="http://schemas.microsoft.com/office/drawing/2014/main" id="{7EEBB521-4733-1FEE-C3D8-A8C864B39B68}"/>
                  </a:ext>
                </a:extLst>
              </p:cNvPr>
              <p:cNvSpPr/>
              <p:nvPr/>
            </p:nvSpPr>
            <p:spPr>
              <a:xfrm>
                <a:off x="9904515" y="4202844"/>
                <a:ext cx="12568" cy="6183"/>
              </a:xfrm>
              <a:custGeom>
                <a:avLst/>
                <a:gdLst>
                  <a:gd name="connsiteX0" fmla="*/ 0 w 12568"/>
                  <a:gd name="connsiteY0" fmla="*/ 6184 h 6183"/>
                  <a:gd name="connsiteX1" fmla="*/ 12568 w 12568"/>
                  <a:gd name="connsiteY1" fmla="*/ 0 h 61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568" h="6183">
                    <a:moveTo>
                      <a:pt x="0" y="6184"/>
                    </a:moveTo>
                    <a:cubicBezTo>
                      <a:pt x="3953" y="3717"/>
                      <a:pt x="8166" y="1640"/>
                      <a:pt x="12568" y="0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440" name="Forma livre: Forma 2439">
                <a:extLst>
                  <a:ext uri="{FF2B5EF4-FFF2-40B4-BE49-F238E27FC236}">
                    <a16:creationId xmlns:a16="http://schemas.microsoft.com/office/drawing/2014/main" id="{9DC12DF5-89A0-2CF1-6F39-D408523651A5}"/>
                  </a:ext>
                </a:extLst>
              </p:cNvPr>
              <p:cNvSpPr/>
              <p:nvPr/>
            </p:nvSpPr>
            <p:spPr>
              <a:xfrm>
                <a:off x="9869634" y="4222209"/>
                <a:ext cx="19279" cy="54297"/>
              </a:xfrm>
              <a:custGeom>
                <a:avLst/>
                <a:gdLst>
                  <a:gd name="connsiteX0" fmla="*/ 68 w 19279"/>
                  <a:gd name="connsiteY0" fmla="*/ 54297 h 54297"/>
                  <a:gd name="connsiteX1" fmla="*/ 19280 w 19279"/>
                  <a:gd name="connsiteY1" fmla="*/ 0 h 542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9279" h="54297">
                    <a:moveTo>
                      <a:pt x="68" y="54297"/>
                    </a:moveTo>
                    <a:cubicBezTo>
                      <a:pt x="-794" y="33480"/>
                      <a:pt x="6629" y="14185"/>
                      <a:pt x="19280" y="0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441" name="Forma livre: Forma 2440">
                <a:extLst>
                  <a:ext uri="{FF2B5EF4-FFF2-40B4-BE49-F238E27FC236}">
                    <a16:creationId xmlns:a16="http://schemas.microsoft.com/office/drawing/2014/main" id="{15B86133-12CD-8555-E9AD-3F14FD14F69F}"/>
                  </a:ext>
                </a:extLst>
              </p:cNvPr>
              <p:cNvSpPr/>
              <p:nvPr/>
            </p:nvSpPr>
            <p:spPr>
              <a:xfrm>
                <a:off x="9975935" y="4291801"/>
                <a:ext cx="6124" cy="37327"/>
              </a:xfrm>
              <a:custGeom>
                <a:avLst/>
                <a:gdLst>
                  <a:gd name="connsiteX0" fmla="*/ 6125 w 6124"/>
                  <a:gd name="connsiteY0" fmla="*/ 0 h 37327"/>
                  <a:gd name="connsiteX1" fmla="*/ 0 w 6124"/>
                  <a:gd name="connsiteY1" fmla="*/ 37327 h 37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124" h="37327">
                    <a:moveTo>
                      <a:pt x="6125" y="0"/>
                    </a:moveTo>
                    <a:cubicBezTo>
                      <a:pt x="5334" y="10137"/>
                      <a:pt x="3611" y="23154"/>
                      <a:pt x="0" y="37327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442" name="Forma livre: Forma 2441">
                <a:extLst>
                  <a:ext uri="{FF2B5EF4-FFF2-40B4-BE49-F238E27FC236}">
                    <a16:creationId xmlns:a16="http://schemas.microsoft.com/office/drawing/2014/main" id="{EC1F5ED9-F8C9-FFC2-3BCC-797C9C147BCB}"/>
                  </a:ext>
                </a:extLst>
              </p:cNvPr>
              <p:cNvSpPr/>
              <p:nvPr/>
            </p:nvSpPr>
            <p:spPr>
              <a:xfrm>
                <a:off x="9894967" y="4227083"/>
                <a:ext cx="87599" cy="75397"/>
              </a:xfrm>
              <a:custGeom>
                <a:avLst/>
                <a:gdLst>
                  <a:gd name="connsiteX0" fmla="*/ 0 w 87599"/>
                  <a:gd name="connsiteY0" fmla="*/ 75398 h 75397"/>
                  <a:gd name="connsiteX1" fmla="*/ 3092 w 87599"/>
                  <a:gd name="connsiteY1" fmla="*/ 48538 h 75397"/>
                  <a:gd name="connsiteX2" fmla="*/ 43039 w 87599"/>
                  <a:gd name="connsiteY2" fmla="*/ 59 h 75397"/>
                  <a:gd name="connsiteX3" fmla="*/ 45222 w 87599"/>
                  <a:gd name="connsiteY3" fmla="*/ 0 h 75397"/>
                  <a:gd name="connsiteX4" fmla="*/ 87600 w 87599"/>
                  <a:gd name="connsiteY4" fmla="*/ 43523 h 753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7599" h="75397">
                    <a:moveTo>
                      <a:pt x="0" y="75398"/>
                    </a:moveTo>
                    <a:cubicBezTo>
                      <a:pt x="3422" y="60941"/>
                      <a:pt x="3116" y="48762"/>
                      <a:pt x="3092" y="48538"/>
                    </a:cubicBezTo>
                    <a:cubicBezTo>
                      <a:pt x="1912" y="23296"/>
                      <a:pt x="19838" y="1463"/>
                      <a:pt x="43039" y="59"/>
                    </a:cubicBezTo>
                    <a:cubicBezTo>
                      <a:pt x="43900" y="12"/>
                      <a:pt x="44549" y="0"/>
                      <a:pt x="45222" y="0"/>
                    </a:cubicBezTo>
                    <a:cubicBezTo>
                      <a:pt x="67644" y="0"/>
                      <a:pt x="86290" y="19118"/>
                      <a:pt x="87600" y="43523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2443" name="Gráfico 19">
              <a:extLst>
                <a:ext uri="{FF2B5EF4-FFF2-40B4-BE49-F238E27FC236}">
                  <a16:creationId xmlns:a16="http://schemas.microsoft.com/office/drawing/2014/main" id="{F1EC6687-24C7-4B01-57FF-3F8211A3E78E}"/>
                </a:ext>
              </a:extLst>
            </p:cNvPr>
            <p:cNvGrpSpPr/>
            <p:nvPr/>
          </p:nvGrpSpPr>
          <p:grpSpPr>
            <a:xfrm>
              <a:off x="9822780" y="4141808"/>
              <a:ext cx="162442" cy="293742"/>
              <a:chOff x="9822780" y="4141808"/>
              <a:chExt cx="162442" cy="293742"/>
            </a:xfrm>
            <a:noFill/>
          </p:grpSpPr>
          <p:sp>
            <p:nvSpPr>
              <p:cNvPr id="2444" name="Forma livre: Forma 2443">
                <a:extLst>
                  <a:ext uri="{FF2B5EF4-FFF2-40B4-BE49-F238E27FC236}">
                    <a16:creationId xmlns:a16="http://schemas.microsoft.com/office/drawing/2014/main" id="{556AFFB3-AF13-4C5C-A923-A7C62EA7F21D}"/>
                  </a:ext>
                </a:extLst>
              </p:cNvPr>
              <p:cNvSpPr/>
              <p:nvPr/>
            </p:nvSpPr>
            <p:spPr>
              <a:xfrm>
                <a:off x="9822780" y="4141808"/>
                <a:ext cx="162442" cy="293742"/>
              </a:xfrm>
              <a:custGeom>
                <a:avLst/>
                <a:gdLst>
                  <a:gd name="connsiteX0" fmla="*/ 162443 w 162442"/>
                  <a:gd name="connsiteY0" fmla="*/ 212067 h 293742"/>
                  <a:gd name="connsiteX1" fmla="*/ 162443 w 162442"/>
                  <a:gd name="connsiteY1" fmla="*/ 280030 h 293742"/>
                  <a:gd name="connsiteX2" fmla="*/ 149143 w 162442"/>
                  <a:gd name="connsiteY2" fmla="*/ 293743 h 293742"/>
                  <a:gd name="connsiteX3" fmla="*/ 13300 w 162442"/>
                  <a:gd name="connsiteY3" fmla="*/ 293743 h 293742"/>
                  <a:gd name="connsiteX4" fmla="*/ 0 w 162442"/>
                  <a:gd name="connsiteY4" fmla="*/ 280030 h 293742"/>
                  <a:gd name="connsiteX5" fmla="*/ 0 w 162442"/>
                  <a:gd name="connsiteY5" fmla="*/ 13288 h 293742"/>
                  <a:gd name="connsiteX6" fmla="*/ 13300 w 162442"/>
                  <a:gd name="connsiteY6" fmla="*/ 0 h 293742"/>
                  <a:gd name="connsiteX7" fmla="*/ 149143 w 162442"/>
                  <a:gd name="connsiteY7" fmla="*/ 0 h 293742"/>
                  <a:gd name="connsiteX8" fmla="*/ 162443 w 162442"/>
                  <a:gd name="connsiteY8" fmla="*/ 13288 h 293742"/>
                  <a:gd name="connsiteX9" fmla="*/ 162443 w 162442"/>
                  <a:gd name="connsiteY9" fmla="*/ 42779 h 2937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62442" h="293742">
                    <a:moveTo>
                      <a:pt x="162443" y="212067"/>
                    </a:moveTo>
                    <a:lnTo>
                      <a:pt x="162443" y="280030"/>
                    </a:lnTo>
                    <a:cubicBezTo>
                      <a:pt x="162443" y="287346"/>
                      <a:pt x="156460" y="293743"/>
                      <a:pt x="149143" y="293743"/>
                    </a:cubicBezTo>
                    <a:lnTo>
                      <a:pt x="13300" y="293743"/>
                    </a:lnTo>
                    <a:cubicBezTo>
                      <a:pt x="5983" y="293743"/>
                      <a:pt x="0" y="287346"/>
                      <a:pt x="0" y="280030"/>
                    </a:cubicBezTo>
                    <a:lnTo>
                      <a:pt x="0" y="13288"/>
                    </a:lnTo>
                    <a:cubicBezTo>
                      <a:pt x="0" y="5971"/>
                      <a:pt x="5983" y="0"/>
                      <a:pt x="13300" y="0"/>
                    </a:cubicBezTo>
                    <a:lnTo>
                      <a:pt x="149143" y="0"/>
                    </a:lnTo>
                    <a:cubicBezTo>
                      <a:pt x="156460" y="0"/>
                      <a:pt x="162443" y="5971"/>
                      <a:pt x="162443" y="13288"/>
                    </a:cubicBezTo>
                    <a:lnTo>
                      <a:pt x="162443" y="42779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445" name="Forma livre: Forma 2444">
                <a:extLst>
                  <a:ext uri="{FF2B5EF4-FFF2-40B4-BE49-F238E27FC236}">
                    <a16:creationId xmlns:a16="http://schemas.microsoft.com/office/drawing/2014/main" id="{2057306D-4637-F77D-8794-F8BA72316B80}"/>
                  </a:ext>
                </a:extLst>
              </p:cNvPr>
              <p:cNvSpPr/>
              <p:nvPr/>
            </p:nvSpPr>
            <p:spPr>
              <a:xfrm>
                <a:off x="9892961" y="4405930"/>
                <a:ext cx="22091" cy="1180"/>
              </a:xfrm>
              <a:custGeom>
                <a:avLst/>
                <a:gdLst>
                  <a:gd name="connsiteX0" fmla="*/ 0 w 22091"/>
                  <a:gd name="connsiteY0" fmla="*/ 0 h 1180"/>
                  <a:gd name="connsiteX1" fmla="*/ 22092 w 22091"/>
                  <a:gd name="connsiteY1" fmla="*/ 0 h 11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2091" h="1180">
                    <a:moveTo>
                      <a:pt x="0" y="0"/>
                    </a:moveTo>
                    <a:lnTo>
                      <a:pt x="22092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2446" name="Gráfico 19">
            <a:extLst>
              <a:ext uri="{FF2B5EF4-FFF2-40B4-BE49-F238E27FC236}">
                <a16:creationId xmlns:a16="http://schemas.microsoft.com/office/drawing/2014/main" id="{2D9D9937-A529-DAA4-DA76-E26479C5C936}"/>
              </a:ext>
            </a:extLst>
          </p:cNvPr>
          <p:cNvGrpSpPr/>
          <p:nvPr/>
        </p:nvGrpSpPr>
        <p:grpSpPr>
          <a:xfrm>
            <a:off x="11027288" y="3614603"/>
            <a:ext cx="233887" cy="302204"/>
            <a:chOff x="11027288" y="3614603"/>
            <a:chExt cx="233887" cy="302204"/>
          </a:xfrm>
          <a:noFill/>
        </p:grpSpPr>
        <p:grpSp>
          <p:nvGrpSpPr>
            <p:cNvPr id="2447" name="Gráfico 19">
              <a:extLst>
                <a:ext uri="{FF2B5EF4-FFF2-40B4-BE49-F238E27FC236}">
                  <a16:creationId xmlns:a16="http://schemas.microsoft.com/office/drawing/2014/main" id="{4DD84037-5FC2-4E4B-3F45-0E29CC3F000F}"/>
                </a:ext>
              </a:extLst>
            </p:cNvPr>
            <p:cNvGrpSpPr/>
            <p:nvPr/>
          </p:nvGrpSpPr>
          <p:grpSpPr>
            <a:xfrm>
              <a:off x="11027288" y="3614603"/>
              <a:ext cx="233887" cy="296598"/>
              <a:chOff x="11027288" y="3614603"/>
              <a:chExt cx="233887" cy="296598"/>
            </a:xfrm>
            <a:noFill/>
          </p:grpSpPr>
          <p:grpSp>
            <p:nvGrpSpPr>
              <p:cNvPr id="2448" name="Gráfico 19">
                <a:extLst>
                  <a:ext uri="{FF2B5EF4-FFF2-40B4-BE49-F238E27FC236}">
                    <a16:creationId xmlns:a16="http://schemas.microsoft.com/office/drawing/2014/main" id="{BD32FB41-458B-2E93-F9AC-1DB99BD29E5C}"/>
                  </a:ext>
                </a:extLst>
              </p:cNvPr>
              <p:cNvGrpSpPr/>
              <p:nvPr/>
            </p:nvGrpSpPr>
            <p:grpSpPr>
              <a:xfrm>
                <a:off x="11027288" y="3614603"/>
                <a:ext cx="233887" cy="38141"/>
                <a:chOff x="11027288" y="3614603"/>
                <a:chExt cx="233887" cy="38141"/>
              </a:xfrm>
              <a:noFill/>
            </p:grpSpPr>
            <p:sp>
              <p:nvSpPr>
                <p:cNvPr id="2449" name="Forma livre: Forma 2448">
                  <a:extLst>
                    <a:ext uri="{FF2B5EF4-FFF2-40B4-BE49-F238E27FC236}">
                      <a16:creationId xmlns:a16="http://schemas.microsoft.com/office/drawing/2014/main" id="{D747CAE5-B312-5403-952B-80487978966E}"/>
                    </a:ext>
                  </a:extLst>
                </p:cNvPr>
                <p:cNvSpPr/>
                <p:nvPr/>
              </p:nvSpPr>
              <p:spPr>
                <a:xfrm>
                  <a:off x="11027288" y="3614603"/>
                  <a:ext cx="38188" cy="38141"/>
                </a:xfrm>
                <a:custGeom>
                  <a:avLst/>
                  <a:gdLst>
                    <a:gd name="connsiteX0" fmla="*/ 0 w 38188"/>
                    <a:gd name="connsiteY0" fmla="*/ 38141 h 38141"/>
                    <a:gd name="connsiteX1" fmla="*/ 0 w 38188"/>
                    <a:gd name="connsiteY1" fmla="*/ 0 h 38141"/>
                    <a:gd name="connsiteX2" fmla="*/ 38189 w 38188"/>
                    <a:gd name="connsiteY2" fmla="*/ 0 h 3814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38188" h="38141">
                      <a:moveTo>
                        <a:pt x="0" y="38141"/>
                      </a:moveTo>
                      <a:lnTo>
                        <a:pt x="0" y="0"/>
                      </a:lnTo>
                      <a:lnTo>
                        <a:pt x="38189" y="0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450" name="Forma livre: Forma 2449">
                  <a:extLst>
                    <a:ext uri="{FF2B5EF4-FFF2-40B4-BE49-F238E27FC236}">
                      <a16:creationId xmlns:a16="http://schemas.microsoft.com/office/drawing/2014/main" id="{74BBC2CC-9FFB-F3B1-C808-91CCABE4CA41}"/>
                    </a:ext>
                  </a:extLst>
                </p:cNvPr>
                <p:cNvSpPr/>
                <p:nvPr/>
              </p:nvSpPr>
              <p:spPr>
                <a:xfrm>
                  <a:off x="11222987" y="3614603"/>
                  <a:ext cx="38188" cy="38141"/>
                </a:xfrm>
                <a:custGeom>
                  <a:avLst/>
                  <a:gdLst>
                    <a:gd name="connsiteX0" fmla="*/ 38189 w 38188"/>
                    <a:gd name="connsiteY0" fmla="*/ 38141 h 38141"/>
                    <a:gd name="connsiteX1" fmla="*/ 38189 w 38188"/>
                    <a:gd name="connsiteY1" fmla="*/ 0 h 38141"/>
                    <a:gd name="connsiteX2" fmla="*/ 0 w 38188"/>
                    <a:gd name="connsiteY2" fmla="*/ 0 h 3814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38188" h="38141">
                      <a:moveTo>
                        <a:pt x="38189" y="38141"/>
                      </a:moveTo>
                      <a:lnTo>
                        <a:pt x="38189" y="0"/>
                      </a:lnTo>
                      <a:lnTo>
                        <a:pt x="0" y="0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2451" name="Gráfico 19">
                <a:extLst>
                  <a:ext uri="{FF2B5EF4-FFF2-40B4-BE49-F238E27FC236}">
                    <a16:creationId xmlns:a16="http://schemas.microsoft.com/office/drawing/2014/main" id="{80C19108-A5C4-F943-EEEF-039A006991D3}"/>
                  </a:ext>
                </a:extLst>
              </p:cNvPr>
              <p:cNvGrpSpPr/>
              <p:nvPr/>
            </p:nvGrpSpPr>
            <p:grpSpPr>
              <a:xfrm>
                <a:off x="11027288" y="3873049"/>
                <a:ext cx="233887" cy="38153"/>
                <a:chOff x="11027288" y="3873049"/>
                <a:chExt cx="233887" cy="38153"/>
              </a:xfrm>
              <a:noFill/>
            </p:grpSpPr>
            <p:sp>
              <p:nvSpPr>
                <p:cNvPr id="2452" name="Forma livre: Forma 2451">
                  <a:extLst>
                    <a:ext uri="{FF2B5EF4-FFF2-40B4-BE49-F238E27FC236}">
                      <a16:creationId xmlns:a16="http://schemas.microsoft.com/office/drawing/2014/main" id="{EF39E966-F285-F9D1-3691-7850310A4001}"/>
                    </a:ext>
                  </a:extLst>
                </p:cNvPr>
                <p:cNvSpPr/>
                <p:nvPr/>
              </p:nvSpPr>
              <p:spPr>
                <a:xfrm>
                  <a:off x="11222987" y="3873049"/>
                  <a:ext cx="38188" cy="38153"/>
                </a:xfrm>
                <a:custGeom>
                  <a:avLst/>
                  <a:gdLst>
                    <a:gd name="connsiteX0" fmla="*/ 38189 w 38188"/>
                    <a:gd name="connsiteY0" fmla="*/ 0 h 38153"/>
                    <a:gd name="connsiteX1" fmla="*/ 38189 w 38188"/>
                    <a:gd name="connsiteY1" fmla="*/ 38153 h 38153"/>
                    <a:gd name="connsiteX2" fmla="*/ 0 w 38188"/>
                    <a:gd name="connsiteY2" fmla="*/ 38153 h 3815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38188" h="38153">
                      <a:moveTo>
                        <a:pt x="38189" y="0"/>
                      </a:moveTo>
                      <a:lnTo>
                        <a:pt x="38189" y="38153"/>
                      </a:lnTo>
                      <a:lnTo>
                        <a:pt x="0" y="38153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453" name="Forma livre: Forma 2452">
                  <a:extLst>
                    <a:ext uri="{FF2B5EF4-FFF2-40B4-BE49-F238E27FC236}">
                      <a16:creationId xmlns:a16="http://schemas.microsoft.com/office/drawing/2014/main" id="{CE80900E-0A63-BDF2-CCC1-3059116B05D7}"/>
                    </a:ext>
                  </a:extLst>
                </p:cNvPr>
                <p:cNvSpPr/>
                <p:nvPr/>
              </p:nvSpPr>
              <p:spPr>
                <a:xfrm>
                  <a:off x="11027288" y="3873049"/>
                  <a:ext cx="38188" cy="38153"/>
                </a:xfrm>
                <a:custGeom>
                  <a:avLst/>
                  <a:gdLst>
                    <a:gd name="connsiteX0" fmla="*/ 0 w 38188"/>
                    <a:gd name="connsiteY0" fmla="*/ 0 h 38153"/>
                    <a:gd name="connsiteX1" fmla="*/ 0 w 38188"/>
                    <a:gd name="connsiteY1" fmla="*/ 38153 h 38153"/>
                    <a:gd name="connsiteX2" fmla="*/ 38189 w 38188"/>
                    <a:gd name="connsiteY2" fmla="*/ 38153 h 3815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38188" h="38153">
                      <a:moveTo>
                        <a:pt x="0" y="0"/>
                      </a:moveTo>
                      <a:lnTo>
                        <a:pt x="0" y="38153"/>
                      </a:lnTo>
                      <a:lnTo>
                        <a:pt x="38189" y="38153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grpSp>
          <p:nvGrpSpPr>
            <p:cNvPr id="2454" name="Gráfico 19">
              <a:extLst>
                <a:ext uri="{FF2B5EF4-FFF2-40B4-BE49-F238E27FC236}">
                  <a16:creationId xmlns:a16="http://schemas.microsoft.com/office/drawing/2014/main" id="{DA09C4FF-FE16-CDC3-E8A6-BC6DB68F74DF}"/>
                </a:ext>
              </a:extLst>
            </p:cNvPr>
            <p:cNvGrpSpPr/>
            <p:nvPr/>
          </p:nvGrpSpPr>
          <p:grpSpPr>
            <a:xfrm>
              <a:off x="11085185" y="3617223"/>
              <a:ext cx="118082" cy="299584"/>
              <a:chOff x="11085185" y="3617223"/>
              <a:chExt cx="118082" cy="299584"/>
            </a:xfrm>
            <a:noFill/>
          </p:grpSpPr>
          <p:sp>
            <p:nvSpPr>
              <p:cNvPr id="2455" name="Forma livre: Forma 2454">
                <a:extLst>
                  <a:ext uri="{FF2B5EF4-FFF2-40B4-BE49-F238E27FC236}">
                    <a16:creationId xmlns:a16="http://schemas.microsoft.com/office/drawing/2014/main" id="{FB78973B-515B-9FF0-421B-A5E9307DA76D}"/>
                  </a:ext>
                </a:extLst>
              </p:cNvPr>
              <p:cNvSpPr/>
              <p:nvPr/>
            </p:nvSpPr>
            <p:spPr>
              <a:xfrm>
                <a:off x="11118441" y="3617223"/>
                <a:ext cx="51571" cy="51594"/>
              </a:xfrm>
              <a:custGeom>
                <a:avLst/>
                <a:gdLst>
                  <a:gd name="connsiteX0" fmla="*/ 51571 w 51571"/>
                  <a:gd name="connsiteY0" fmla="*/ 25797 h 51594"/>
                  <a:gd name="connsiteX1" fmla="*/ 25797 w 51571"/>
                  <a:gd name="connsiteY1" fmla="*/ 51595 h 51594"/>
                  <a:gd name="connsiteX2" fmla="*/ 0 w 51571"/>
                  <a:gd name="connsiteY2" fmla="*/ 25797 h 51594"/>
                  <a:gd name="connsiteX3" fmla="*/ 25797 w 51571"/>
                  <a:gd name="connsiteY3" fmla="*/ 0 h 51594"/>
                  <a:gd name="connsiteX4" fmla="*/ 51571 w 51571"/>
                  <a:gd name="connsiteY4" fmla="*/ 25797 h 515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1571" h="51594">
                    <a:moveTo>
                      <a:pt x="51571" y="25797"/>
                    </a:moveTo>
                    <a:cubicBezTo>
                      <a:pt x="51571" y="40041"/>
                      <a:pt x="40029" y="51595"/>
                      <a:pt x="25797" y="51595"/>
                    </a:cubicBezTo>
                    <a:cubicBezTo>
                      <a:pt x="11565" y="51595"/>
                      <a:pt x="0" y="40041"/>
                      <a:pt x="0" y="25797"/>
                    </a:cubicBezTo>
                    <a:cubicBezTo>
                      <a:pt x="0" y="11553"/>
                      <a:pt x="11553" y="0"/>
                      <a:pt x="25797" y="0"/>
                    </a:cubicBezTo>
                    <a:cubicBezTo>
                      <a:pt x="40041" y="0"/>
                      <a:pt x="51571" y="11553"/>
                      <a:pt x="51571" y="25797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456" name="Forma livre: Forma 2455">
                <a:extLst>
                  <a:ext uri="{FF2B5EF4-FFF2-40B4-BE49-F238E27FC236}">
                    <a16:creationId xmlns:a16="http://schemas.microsoft.com/office/drawing/2014/main" id="{3BB6D97C-F005-4002-252F-CFC676600ADC}"/>
                  </a:ext>
                </a:extLst>
              </p:cNvPr>
              <p:cNvSpPr/>
              <p:nvPr/>
            </p:nvSpPr>
            <p:spPr>
              <a:xfrm>
                <a:off x="11085185" y="3692739"/>
                <a:ext cx="118082" cy="123168"/>
              </a:xfrm>
              <a:custGeom>
                <a:avLst/>
                <a:gdLst>
                  <a:gd name="connsiteX0" fmla="*/ 25325 w 118082"/>
                  <a:gd name="connsiteY0" fmla="*/ 123169 h 123168"/>
                  <a:gd name="connsiteX1" fmla="*/ 0 w 118082"/>
                  <a:gd name="connsiteY1" fmla="*/ 88922 h 123168"/>
                  <a:gd name="connsiteX2" fmla="*/ 0 w 118082"/>
                  <a:gd name="connsiteY2" fmla="*/ 34259 h 123168"/>
                  <a:gd name="connsiteX3" fmla="*/ 34247 w 118082"/>
                  <a:gd name="connsiteY3" fmla="*/ 0 h 123168"/>
                  <a:gd name="connsiteX4" fmla="*/ 83835 w 118082"/>
                  <a:gd name="connsiteY4" fmla="*/ 0 h 123168"/>
                  <a:gd name="connsiteX5" fmla="*/ 118082 w 118082"/>
                  <a:gd name="connsiteY5" fmla="*/ 34259 h 123168"/>
                  <a:gd name="connsiteX6" fmla="*/ 118082 w 118082"/>
                  <a:gd name="connsiteY6" fmla="*/ 88922 h 123168"/>
                  <a:gd name="connsiteX7" fmla="*/ 92757 w 118082"/>
                  <a:gd name="connsiteY7" fmla="*/ 123169 h 1231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18082" h="123168">
                    <a:moveTo>
                      <a:pt x="25325" y="123169"/>
                    </a:moveTo>
                    <a:cubicBezTo>
                      <a:pt x="6491" y="123169"/>
                      <a:pt x="0" y="107756"/>
                      <a:pt x="0" y="88922"/>
                    </a:cubicBezTo>
                    <a:lnTo>
                      <a:pt x="0" y="34259"/>
                    </a:lnTo>
                    <a:cubicBezTo>
                      <a:pt x="0" y="15412"/>
                      <a:pt x="15401" y="0"/>
                      <a:pt x="34247" y="0"/>
                    </a:cubicBezTo>
                    <a:lnTo>
                      <a:pt x="83835" y="0"/>
                    </a:lnTo>
                    <a:cubicBezTo>
                      <a:pt x="102670" y="0"/>
                      <a:pt x="118082" y="15412"/>
                      <a:pt x="118082" y="34259"/>
                    </a:cubicBezTo>
                    <a:lnTo>
                      <a:pt x="118082" y="88922"/>
                    </a:lnTo>
                    <a:cubicBezTo>
                      <a:pt x="118082" y="107756"/>
                      <a:pt x="111592" y="123169"/>
                      <a:pt x="92757" y="123169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2457" name="Gráfico 19">
                <a:extLst>
                  <a:ext uri="{FF2B5EF4-FFF2-40B4-BE49-F238E27FC236}">
                    <a16:creationId xmlns:a16="http://schemas.microsoft.com/office/drawing/2014/main" id="{62C6A8A0-B65F-D91A-EDBF-D13956AB5225}"/>
                  </a:ext>
                </a:extLst>
              </p:cNvPr>
              <p:cNvGrpSpPr/>
              <p:nvPr/>
            </p:nvGrpSpPr>
            <p:grpSpPr>
              <a:xfrm>
                <a:off x="11110215" y="3737347"/>
                <a:ext cx="68033" cy="179460"/>
                <a:chOff x="11110215" y="3737347"/>
                <a:chExt cx="68033" cy="179460"/>
              </a:xfrm>
            </p:grpSpPr>
            <p:sp>
              <p:nvSpPr>
                <p:cNvPr id="2458" name="Forma livre: Forma 2457">
                  <a:extLst>
                    <a:ext uri="{FF2B5EF4-FFF2-40B4-BE49-F238E27FC236}">
                      <a16:creationId xmlns:a16="http://schemas.microsoft.com/office/drawing/2014/main" id="{7A1506F6-987D-3796-AE10-E35A73D9C0E7}"/>
                    </a:ext>
                  </a:extLst>
                </p:cNvPr>
                <p:cNvSpPr/>
                <p:nvPr/>
              </p:nvSpPr>
              <p:spPr>
                <a:xfrm>
                  <a:off x="11178249" y="3737347"/>
                  <a:ext cx="1180" cy="179460"/>
                </a:xfrm>
                <a:custGeom>
                  <a:avLst/>
                  <a:gdLst>
                    <a:gd name="connsiteX0" fmla="*/ 0 w 1180"/>
                    <a:gd name="connsiteY0" fmla="*/ 0 h 179460"/>
                    <a:gd name="connsiteX1" fmla="*/ 0 w 1180"/>
                    <a:gd name="connsiteY1" fmla="*/ 179460 h 17946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180" h="179460">
                      <a:moveTo>
                        <a:pt x="0" y="0"/>
                      </a:moveTo>
                      <a:lnTo>
                        <a:pt x="0" y="17946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459" name="Forma livre: Forma 2458">
                  <a:extLst>
                    <a:ext uri="{FF2B5EF4-FFF2-40B4-BE49-F238E27FC236}">
                      <a16:creationId xmlns:a16="http://schemas.microsoft.com/office/drawing/2014/main" id="{C5B2BC46-838B-A207-BFC1-CC03F080CD8E}"/>
                    </a:ext>
                  </a:extLst>
                </p:cNvPr>
                <p:cNvSpPr/>
                <p:nvPr/>
              </p:nvSpPr>
              <p:spPr>
                <a:xfrm>
                  <a:off x="11144226" y="3817406"/>
                  <a:ext cx="1180" cy="99401"/>
                </a:xfrm>
                <a:custGeom>
                  <a:avLst/>
                  <a:gdLst>
                    <a:gd name="connsiteX0" fmla="*/ 0 w 1180"/>
                    <a:gd name="connsiteY0" fmla="*/ 0 h 99401"/>
                    <a:gd name="connsiteX1" fmla="*/ 0 w 1180"/>
                    <a:gd name="connsiteY1" fmla="*/ 99401 h 9940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180" h="99401">
                      <a:moveTo>
                        <a:pt x="0" y="0"/>
                      </a:moveTo>
                      <a:lnTo>
                        <a:pt x="0" y="99401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460" name="Forma livre: Forma 2459">
                  <a:extLst>
                    <a:ext uri="{FF2B5EF4-FFF2-40B4-BE49-F238E27FC236}">
                      <a16:creationId xmlns:a16="http://schemas.microsoft.com/office/drawing/2014/main" id="{0FDAF1BD-630F-083C-6119-8A6CFC99BFE2}"/>
                    </a:ext>
                  </a:extLst>
                </p:cNvPr>
                <p:cNvSpPr/>
                <p:nvPr/>
              </p:nvSpPr>
              <p:spPr>
                <a:xfrm>
                  <a:off x="11110215" y="3737347"/>
                  <a:ext cx="1180" cy="179460"/>
                </a:xfrm>
                <a:custGeom>
                  <a:avLst/>
                  <a:gdLst>
                    <a:gd name="connsiteX0" fmla="*/ 0 w 1180"/>
                    <a:gd name="connsiteY0" fmla="*/ 0 h 179460"/>
                    <a:gd name="connsiteX1" fmla="*/ 0 w 1180"/>
                    <a:gd name="connsiteY1" fmla="*/ 179460 h 17946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180" h="179460">
                      <a:moveTo>
                        <a:pt x="0" y="0"/>
                      </a:moveTo>
                      <a:lnTo>
                        <a:pt x="0" y="17946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</p:grpSp>
      <p:grpSp>
        <p:nvGrpSpPr>
          <p:cNvPr id="2461" name="Gráfico 19">
            <a:extLst>
              <a:ext uri="{FF2B5EF4-FFF2-40B4-BE49-F238E27FC236}">
                <a16:creationId xmlns:a16="http://schemas.microsoft.com/office/drawing/2014/main" id="{CF956F53-6A3F-892A-81B9-ACFD85778892}"/>
              </a:ext>
            </a:extLst>
          </p:cNvPr>
          <p:cNvGrpSpPr/>
          <p:nvPr/>
        </p:nvGrpSpPr>
        <p:grpSpPr>
          <a:xfrm>
            <a:off x="10989478" y="5210450"/>
            <a:ext cx="309517" cy="248367"/>
            <a:chOff x="10989478" y="5210450"/>
            <a:chExt cx="309517" cy="248367"/>
          </a:xfrm>
          <a:noFill/>
        </p:grpSpPr>
        <p:grpSp>
          <p:nvGrpSpPr>
            <p:cNvPr id="2462" name="Gráfico 19">
              <a:extLst>
                <a:ext uri="{FF2B5EF4-FFF2-40B4-BE49-F238E27FC236}">
                  <a16:creationId xmlns:a16="http://schemas.microsoft.com/office/drawing/2014/main" id="{90D831FD-56F5-74F8-F462-1285ADFE54B3}"/>
                </a:ext>
              </a:extLst>
            </p:cNvPr>
            <p:cNvGrpSpPr/>
            <p:nvPr/>
          </p:nvGrpSpPr>
          <p:grpSpPr>
            <a:xfrm>
              <a:off x="10989478" y="5210450"/>
              <a:ext cx="275450" cy="212786"/>
              <a:chOff x="10989478" y="5210450"/>
              <a:chExt cx="275450" cy="212786"/>
            </a:xfrm>
            <a:noFill/>
          </p:grpSpPr>
          <p:sp>
            <p:nvSpPr>
              <p:cNvPr id="2463" name="Forma livre: Forma 2462">
                <a:extLst>
                  <a:ext uri="{FF2B5EF4-FFF2-40B4-BE49-F238E27FC236}">
                    <a16:creationId xmlns:a16="http://schemas.microsoft.com/office/drawing/2014/main" id="{F2F84BA6-C0E0-F4A4-4927-AF591172E64D}"/>
                  </a:ext>
                </a:extLst>
              </p:cNvPr>
              <p:cNvSpPr/>
              <p:nvPr/>
            </p:nvSpPr>
            <p:spPr>
              <a:xfrm>
                <a:off x="10989478" y="5210450"/>
                <a:ext cx="275450" cy="212786"/>
              </a:xfrm>
              <a:custGeom>
                <a:avLst/>
                <a:gdLst>
                  <a:gd name="connsiteX0" fmla="*/ 248910 w 275450"/>
                  <a:gd name="connsiteY0" fmla="*/ 30813 h 212786"/>
                  <a:gd name="connsiteX1" fmla="*/ 105561 w 275450"/>
                  <a:gd name="connsiteY1" fmla="*/ 30813 h 212786"/>
                  <a:gd name="connsiteX2" fmla="*/ 83269 w 275450"/>
                  <a:gd name="connsiteY2" fmla="*/ 0 h 212786"/>
                  <a:gd name="connsiteX3" fmla="*/ 14126 w 275450"/>
                  <a:gd name="connsiteY3" fmla="*/ 0 h 212786"/>
                  <a:gd name="connsiteX4" fmla="*/ 0 w 275450"/>
                  <a:gd name="connsiteY4" fmla="*/ 14161 h 212786"/>
                  <a:gd name="connsiteX5" fmla="*/ 0 w 275450"/>
                  <a:gd name="connsiteY5" fmla="*/ 197882 h 212786"/>
                  <a:gd name="connsiteX6" fmla="*/ 14102 w 275450"/>
                  <a:gd name="connsiteY6" fmla="*/ 212787 h 212786"/>
                  <a:gd name="connsiteX7" fmla="*/ 28264 w 275450"/>
                  <a:gd name="connsiteY7" fmla="*/ 197882 h 212786"/>
                  <a:gd name="connsiteX8" fmla="*/ 28264 w 275450"/>
                  <a:gd name="connsiteY8" fmla="*/ 59749 h 212786"/>
                  <a:gd name="connsiteX9" fmla="*/ 275451 w 275450"/>
                  <a:gd name="connsiteY9" fmla="*/ 59749 h 212786"/>
                  <a:gd name="connsiteX10" fmla="*/ 275451 w 275450"/>
                  <a:gd name="connsiteY10" fmla="*/ 91140 h 2127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275450" h="212786">
                    <a:moveTo>
                      <a:pt x="248910" y="30813"/>
                    </a:moveTo>
                    <a:lnTo>
                      <a:pt x="105561" y="30813"/>
                    </a:lnTo>
                    <a:lnTo>
                      <a:pt x="83269" y="0"/>
                    </a:lnTo>
                    <a:lnTo>
                      <a:pt x="14126" y="0"/>
                    </a:lnTo>
                    <a:cubicBezTo>
                      <a:pt x="6349" y="0"/>
                      <a:pt x="0" y="6361"/>
                      <a:pt x="0" y="14161"/>
                    </a:cubicBezTo>
                    <a:lnTo>
                      <a:pt x="0" y="197882"/>
                    </a:lnTo>
                    <a:cubicBezTo>
                      <a:pt x="0" y="206084"/>
                      <a:pt x="6314" y="212787"/>
                      <a:pt x="14102" y="212787"/>
                    </a:cubicBezTo>
                    <a:cubicBezTo>
                      <a:pt x="21891" y="212787"/>
                      <a:pt x="28264" y="206084"/>
                      <a:pt x="28264" y="197882"/>
                    </a:cubicBezTo>
                    <a:lnTo>
                      <a:pt x="28264" y="59749"/>
                    </a:lnTo>
                    <a:lnTo>
                      <a:pt x="275451" y="59749"/>
                    </a:lnTo>
                    <a:lnTo>
                      <a:pt x="275451" y="91140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464" name="Forma livre: Forma 2463">
                <a:extLst>
                  <a:ext uri="{FF2B5EF4-FFF2-40B4-BE49-F238E27FC236}">
                    <a16:creationId xmlns:a16="http://schemas.microsoft.com/office/drawing/2014/main" id="{D625301A-1EC6-ED32-C89F-6EE72E1AFFB9}"/>
                  </a:ext>
                </a:extLst>
              </p:cNvPr>
              <p:cNvSpPr/>
              <p:nvPr/>
            </p:nvSpPr>
            <p:spPr>
              <a:xfrm>
                <a:off x="11005150" y="5423237"/>
                <a:ext cx="149709" cy="1180"/>
              </a:xfrm>
              <a:custGeom>
                <a:avLst/>
                <a:gdLst>
                  <a:gd name="connsiteX0" fmla="*/ 0 w 149709"/>
                  <a:gd name="connsiteY0" fmla="*/ 0 h 1180"/>
                  <a:gd name="connsiteX1" fmla="*/ 149710 w 149709"/>
                  <a:gd name="connsiteY1" fmla="*/ 0 h 11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49709" h="1180">
                    <a:moveTo>
                      <a:pt x="0" y="0"/>
                    </a:moveTo>
                    <a:lnTo>
                      <a:pt x="14971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2465" name="Gráfico 19">
              <a:extLst>
                <a:ext uri="{FF2B5EF4-FFF2-40B4-BE49-F238E27FC236}">
                  <a16:creationId xmlns:a16="http://schemas.microsoft.com/office/drawing/2014/main" id="{518C29F3-4F34-C82C-D003-32231F154D5F}"/>
                </a:ext>
              </a:extLst>
            </p:cNvPr>
            <p:cNvGrpSpPr/>
            <p:nvPr/>
          </p:nvGrpSpPr>
          <p:grpSpPr>
            <a:xfrm>
              <a:off x="11157529" y="5318950"/>
              <a:ext cx="141466" cy="139867"/>
              <a:chOff x="11157529" y="5318950"/>
              <a:chExt cx="141466" cy="139867"/>
            </a:xfrm>
            <a:noFill/>
          </p:grpSpPr>
          <p:sp>
            <p:nvSpPr>
              <p:cNvPr id="2466" name="Forma livre: Forma 2465">
                <a:extLst>
                  <a:ext uri="{FF2B5EF4-FFF2-40B4-BE49-F238E27FC236}">
                    <a16:creationId xmlns:a16="http://schemas.microsoft.com/office/drawing/2014/main" id="{E9B65FCC-30C3-F38E-9293-B59ECB268B4D}"/>
                  </a:ext>
                </a:extLst>
              </p:cNvPr>
              <p:cNvSpPr/>
              <p:nvPr/>
            </p:nvSpPr>
            <p:spPr>
              <a:xfrm>
                <a:off x="11201521" y="5375702"/>
                <a:ext cx="40696" cy="83115"/>
              </a:xfrm>
              <a:custGeom>
                <a:avLst/>
                <a:gdLst>
                  <a:gd name="connsiteX0" fmla="*/ 29751 w 40696"/>
                  <a:gd name="connsiteY0" fmla="*/ 83115 h 83115"/>
                  <a:gd name="connsiteX1" fmla="*/ 40620 w 40696"/>
                  <a:gd name="connsiteY1" fmla="*/ 16781 h 83115"/>
                  <a:gd name="connsiteX2" fmla="*/ 26576 w 40696"/>
                  <a:gd name="connsiteY2" fmla="*/ 0 h 83115"/>
                  <a:gd name="connsiteX3" fmla="*/ 12793 w 40696"/>
                  <a:gd name="connsiteY3" fmla="*/ 18846 h 83115"/>
                  <a:gd name="connsiteX4" fmla="*/ 0 w 40696"/>
                  <a:gd name="connsiteY4" fmla="*/ 78737 h 831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0696" h="83115">
                    <a:moveTo>
                      <a:pt x="29751" y="83115"/>
                    </a:moveTo>
                    <a:cubicBezTo>
                      <a:pt x="42225" y="49105"/>
                      <a:pt x="40643" y="17088"/>
                      <a:pt x="40620" y="16781"/>
                    </a:cubicBezTo>
                    <a:cubicBezTo>
                      <a:pt x="40124" y="7494"/>
                      <a:pt x="33810" y="0"/>
                      <a:pt x="26576" y="0"/>
                    </a:cubicBezTo>
                    <a:cubicBezTo>
                      <a:pt x="18563" y="472"/>
                      <a:pt x="12356" y="9276"/>
                      <a:pt x="12793" y="18846"/>
                    </a:cubicBezTo>
                    <a:cubicBezTo>
                      <a:pt x="12851" y="20475"/>
                      <a:pt x="13760" y="51264"/>
                      <a:pt x="0" y="78737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467" name="Forma livre: Forma 2466">
                <a:extLst>
                  <a:ext uri="{FF2B5EF4-FFF2-40B4-BE49-F238E27FC236}">
                    <a16:creationId xmlns:a16="http://schemas.microsoft.com/office/drawing/2014/main" id="{D2A73441-D93C-325A-528A-C8AD620B8AA1}"/>
                  </a:ext>
                </a:extLst>
              </p:cNvPr>
              <p:cNvSpPr/>
              <p:nvPr/>
            </p:nvSpPr>
            <p:spPr>
              <a:xfrm>
                <a:off x="11225642" y="5318950"/>
                <a:ext cx="73352" cy="120513"/>
              </a:xfrm>
              <a:custGeom>
                <a:avLst/>
                <a:gdLst>
                  <a:gd name="connsiteX0" fmla="*/ 0 w 73352"/>
                  <a:gd name="connsiteY0" fmla="*/ 35 h 120513"/>
                  <a:gd name="connsiteX1" fmla="*/ 2455 w 73352"/>
                  <a:gd name="connsiteY1" fmla="*/ 0 h 120513"/>
                  <a:gd name="connsiteX2" fmla="*/ 73179 w 73352"/>
                  <a:gd name="connsiteY2" fmla="*/ 70382 h 120513"/>
                  <a:gd name="connsiteX3" fmla="*/ 69391 w 73352"/>
                  <a:gd name="connsiteY3" fmla="*/ 120514 h 1205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3352" h="120513">
                    <a:moveTo>
                      <a:pt x="0" y="35"/>
                    </a:moveTo>
                    <a:cubicBezTo>
                      <a:pt x="861" y="12"/>
                      <a:pt x="1652" y="0"/>
                      <a:pt x="2455" y="0"/>
                    </a:cubicBezTo>
                    <a:cubicBezTo>
                      <a:pt x="39971" y="0"/>
                      <a:pt x="71043" y="30919"/>
                      <a:pt x="73179" y="70382"/>
                    </a:cubicBezTo>
                    <a:cubicBezTo>
                      <a:pt x="73344" y="73391"/>
                      <a:pt x="74253" y="93630"/>
                      <a:pt x="69391" y="120514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468" name="Forma livre: Forma 2467">
                <a:extLst>
                  <a:ext uri="{FF2B5EF4-FFF2-40B4-BE49-F238E27FC236}">
                    <a16:creationId xmlns:a16="http://schemas.microsoft.com/office/drawing/2014/main" id="{B0C3EF79-0E67-7042-01C3-E4C40EE79E59}"/>
                  </a:ext>
                </a:extLst>
              </p:cNvPr>
              <p:cNvSpPr/>
              <p:nvPr/>
            </p:nvSpPr>
            <p:spPr>
              <a:xfrm>
                <a:off x="11192422" y="5323104"/>
                <a:ext cx="12568" cy="6171"/>
              </a:xfrm>
              <a:custGeom>
                <a:avLst/>
                <a:gdLst>
                  <a:gd name="connsiteX0" fmla="*/ 0 w 12568"/>
                  <a:gd name="connsiteY0" fmla="*/ 6172 h 6171"/>
                  <a:gd name="connsiteX1" fmla="*/ 12568 w 12568"/>
                  <a:gd name="connsiteY1" fmla="*/ 0 h 61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568" h="6171">
                    <a:moveTo>
                      <a:pt x="0" y="6172"/>
                    </a:moveTo>
                    <a:cubicBezTo>
                      <a:pt x="3953" y="3706"/>
                      <a:pt x="8155" y="1629"/>
                      <a:pt x="12568" y="0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469" name="Forma livre: Forma 2468">
                <a:extLst>
                  <a:ext uri="{FF2B5EF4-FFF2-40B4-BE49-F238E27FC236}">
                    <a16:creationId xmlns:a16="http://schemas.microsoft.com/office/drawing/2014/main" id="{CD1E5516-EE66-D321-D4D9-613524A124C6}"/>
                  </a:ext>
                </a:extLst>
              </p:cNvPr>
              <p:cNvSpPr/>
              <p:nvPr/>
            </p:nvSpPr>
            <p:spPr>
              <a:xfrm>
                <a:off x="11157529" y="5342458"/>
                <a:ext cx="19279" cy="54297"/>
              </a:xfrm>
              <a:custGeom>
                <a:avLst/>
                <a:gdLst>
                  <a:gd name="connsiteX0" fmla="*/ 68 w 19279"/>
                  <a:gd name="connsiteY0" fmla="*/ 54297 h 54297"/>
                  <a:gd name="connsiteX1" fmla="*/ 19280 w 19279"/>
                  <a:gd name="connsiteY1" fmla="*/ 0 h 542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9279" h="54297">
                    <a:moveTo>
                      <a:pt x="68" y="54297"/>
                    </a:moveTo>
                    <a:cubicBezTo>
                      <a:pt x="-794" y="33480"/>
                      <a:pt x="6629" y="14173"/>
                      <a:pt x="19280" y="0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470" name="Forma livre: Forma 2469">
                <a:extLst>
                  <a:ext uri="{FF2B5EF4-FFF2-40B4-BE49-F238E27FC236}">
                    <a16:creationId xmlns:a16="http://schemas.microsoft.com/office/drawing/2014/main" id="{ECE8085C-0855-E901-0407-C3F9D18EAA60}"/>
                  </a:ext>
                </a:extLst>
              </p:cNvPr>
              <p:cNvSpPr/>
              <p:nvPr/>
            </p:nvSpPr>
            <p:spPr>
              <a:xfrm>
                <a:off x="11263843" y="5412049"/>
                <a:ext cx="6124" cy="37327"/>
              </a:xfrm>
              <a:custGeom>
                <a:avLst/>
                <a:gdLst>
                  <a:gd name="connsiteX0" fmla="*/ 6125 w 6124"/>
                  <a:gd name="connsiteY0" fmla="*/ 0 h 37327"/>
                  <a:gd name="connsiteX1" fmla="*/ 0 w 6124"/>
                  <a:gd name="connsiteY1" fmla="*/ 37327 h 37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124" h="37327">
                    <a:moveTo>
                      <a:pt x="6125" y="0"/>
                    </a:moveTo>
                    <a:cubicBezTo>
                      <a:pt x="5334" y="10137"/>
                      <a:pt x="3611" y="23154"/>
                      <a:pt x="0" y="37327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471" name="Forma livre: Forma 2470">
                <a:extLst>
                  <a:ext uri="{FF2B5EF4-FFF2-40B4-BE49-F238E27FC236}">
                    <a16:creationId xmlns:a16="http://schemas.microsoft.com/office/drawing/2014/main" id="{CE70EC08-81E3-913E-A697-297496DFCFAC}"/>
                  </a:ext>
                </a:extLst>
              </p:cNvPr>
              <p:cNvSpPr/>
              <p:nvPr/>
            </p:nvSpPr>
            <p:spPr>
              <a:xfrm>
                <a:off x="11182863" y="5347332"/>
                <a:ext cx="87599" cy="75397"/>
              </a:xfrm>
              <a:custGeom>
                <a:avLst/>
                <a:gdLst>
                  <a:gd name="connsiteX0" fmla="*/ 0 w 87599"/>
                  <a:gd name="connsiteY0" fmla="*/ 75398 h 75397"/>
                  <a:gd name="connsiteX1" fmla="*/ 3092 w 87599"/>
                  <a:gd name="connsiteY1" fmla="*/ 48538 h 75397"/>
                  <a:gd name="connsiteX2" fmla="*/ 43039 w 87599"/>
                  <a:gd name="connsiteY2" fmla="*/ 59 h 75397"/>
                  <a:gd name="connsiteX3" fmla="*/ 45222 w 87599"/>
                  <a:gd name="connsiteY3" fmla="*/ 0 h 75397"/>
                  <a:gd name="connsiteX4" fmla="*/ 87600 w 87599"/>
                  <a:gd name="connsiteY4" fmla="*/ 43523 h 753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7599" h="75397">
                    <a:moveTo>
                      <a:pt x="0" y="75398"/>
                    </a:moveTo>
                    <a:cubicBezTo>
                      <a:pt x="3434" y="60941"/>
                      <a:pt x="3116" y="48762"/>
                      <a:pt x="3092" y="48538"/>
                    </a:cubicBezTo>
                    <a:cubicBezTo>
                      <a:pt x="1912" y="23295"/>
                      <a:pt x="19849" y="1463"/>
                      <a:pt x="43039" y="59"/>
                    </a:cubicBezTo>
                    <a:cubicBezTo>
                      <a:pt x="43900" y="12"/>
                      <a:pt x="44549" y="0"/>
                      <a:pt x="45222" y="0"/>
                    </a:cubicBezTo>
                    <a:cubicBezTo>
                      <a:pt x="67644" y="0"/>
                      <a:pt x="86290" y="19118"/>
                      <a:pt x="87600" y="43523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2472" name="Gráfico 19">
            <a:extLst>
              <a:ext uri="{FF2B5EF4-FFF2-40B4-BE49-F238E27FC236}">
                <a16:creationId xmlns:a16="http://schemas.microsoft.com/office/drawing/2014/main" id="{54186051-7634-D557-F763-6EA4028C080E}"/>
              </a:ext>
            </a:extLst>
          </p:cNvPr>
          <p:cNvGrpSpPr/>
          <p:nvPr/>
        </p:nvGrpSpPr>
        <p:grpSpPr>
          <a:xfrm>
            <a:off x="10993183" y="4673816"/>
            <a:ext cx="302097" cy="275698"/>
            <a:chOff x="10993183" y="4673816"/>
            <a:chExt cx="302097" cy="275698"/>
          </a:xfrm>
          <a:noFill/>
        </p:grpSpPr>
        <p:grpSp>
          <p:nvGrpSpPr>
            <p:cNvPr id="2473" name="Gráfico 19">
              <a:extLst>
                <a:ext uri="{FF2B5EF4-FFF2-40B4-BE49-F238E27FC236}">
                  <a16:creationId xmlns:a16="http://schemas.microsoft.com/office/drawing/2014/main" id="{E9C93D62-1DD2-DBBE-8952-22E2506C4759}"/>
                </a:ext>
              </a:extLst>
            </p:cNvPr>
            <p:cNvGrpSpPr/>
            <p:nvPr/>
          </p:nvGrpSpPr>
          <p:grpSpPr>
            <a:xfrm>
              <a:off x="10993183" y="4673816"/>
              <a:ext cx="270211" cy="275698"/>
              <a:chOff x="10993183" y="4673816"/>
              <a:chExt cx="270211" cy="275698"/>
            </a:xfrm>
            <a:noFill/>
          </p:grpSpPr>
          <p:sp>
            <p:nvSpPr>
              <p:cNvPr id="2474" name="Forma livre: Forma 2473">
                <a:extLst>
                  <a:ext uri="{FF2B5EF4-FFF2-40B4-BE49-F238E27FC236}">
                    <a16:creationId xmlns:a16="http://schemas.microsoft.com/office/drawing/2014/main" id="{229E3048-D3AE-30A6-F957-22B2E75838DD}"/>
                  </a:ext>
                </a:extLst>
              </p:cNvPr>
              <p:cNvSpPr/>
              <p:nvPr/>
            </p:nvSpPr>
            <p:spPr>
              <a:xfrm>
                <a:off x="11119987" y="4673816"/>
                <a:ext cx="143407" cy="140315"/>
              </a:xfrm>
              <a:custGeom>
                <a:avLst/>
                <a:gdLst>
                  <a:gd name="connsiteX0" fmla="*/ 0 w 143407"/>
                  <a:gd name="connsiteY0" fmla="*/ 0 h 140315"/>
                  <a:gd name="connsiteX1" fmla="*/ 22316 w 143407"/>
                  <a:gd name="connsiteY1" fmla="*/ 2254 h 140315"/>
                  <a:gd name="connsiteX2" fmla="*/ 30069 w 143407"/>
                  <a:gd name="connsiteY2" fmla="*/ 3859 h 140315"/>
                  <a:gd name="connsiteX3" fmla="*/ 143408 w 143407"/>
                  <a:gd name="connsiteY3" fmla="*/ 140316 h 1403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43407" h="140315">
                    <a:moveTo>
                      <a:pt x="0" y="0"/>
                    </a:moveTo>
                    <a:cubicBezTo>
                      <a:pt x="7388" y="165"/>
                      <a:pt x="14834" y="909"/>
                      <a:pt x="22316" y="2254"/>
                    </a:cubicBezTo>
                    <a:cubicBezTo>
                      <a:pt x="25939" y="2927"/>
                      <a:pt x="28016" y="3375"/>
                      <a:pt x="30069" y="3859"/>
                    </a:cubicBezTo>
                    <a:cubicBezTo>
                      <a:pt x="95165" y="19260"/>
                      <a:pt x="140422" y="76070"/>
                      <a:pt x="143408" y="140316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475" name="Forma livre: Forma 2474">
                <a:extLst>
                  <a:ext uri="{FF2B5EF4-FFF2-40B4-BE49-F238E27FC236}">
                    <a16:creationId xmlns:a16="http://schemas.microsoft.com/office/drawing/2014/main" id="{CBF1C808-4FEB-837E-D207-827E3113A9E8}"/>
                  </a:ext>
                </a:extLst>
              </p:cNvPr>
              <p:cNvSpPr/>
              <p:nvPr/>
            </p:nvSpPr>
            <p:spPr>
              <a:xfrm>
                <a:off x="10993183" y="4675870"/>
                <a:ext cx="98728" cy="64552"/>
              </a:xfrm>
              <a:custGeom>
                <a:avLst/>
                <a:gdLst>
                  <a:gd name="connsiteX0" fmla="*/ 0 w 98728"/>
                  <a:gd name="connsiteY0" fmla="*/ 64552 h 64552"/>
                  <a:gd name="connsiteX1" fmla="*/ 98728 w 98728"/>
                  <a:gd name="connsiteY1" fmla="*/ 0 h 645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8728" h="64552">
                    <a:moveTo>
                      <a:pt x="0" y="64552"/>
                    </a:moveTo>
                    <a:cubicBezTo>
                      <a:pt x="22410" y="30506"/>
                      <a:pt x="58392" y="6892"/>
                      <a:pt x="98728" y="0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476" name="Forma livre: Forma 2475">
                <a:extLst>
                  <a:ext uri="{FF2B5EF4-FFF2-40B4-BE49-F238E27FC236}">
                    <a16:creationId xmlns:a16="http://schemas.microsoft.com/office/drawing/2014/main" id="{9AE794F6-E3BA-F952-0D92-8967F18207EE}"/>
                  </a:ext>
                </a:extLst>
              </p:cNvPr>
              <p:cNvSpPr/>
              <p:nvPr/>
            </p:nvSpPr>
            <p:spPr>
              <a:xfrm>
                <a:off x="11217087" y="4760165"/>
                <a:ext cx="17012" cy="83363"/>
              </a:xfrm>
              <a:custGeom>
                <a:avLst/>
                <a:gdLst>
                  <a:gd name="connsiteX0" fmla="*/ 0 w 17012"/>
                  <a:gd name="connsiteY0" fmla="*/ 0 h 83363"/>
                  <a:gd name="connsiteX1" fmla="*/ 2502 w 17012"/>
                  <a:gd name="connsiteY1" fmla="*/ 4331 h 83363"/>
                  <a:gd name="connsiteX2" fmla="*/ 15259 w 17012"/>
                  <a:gd name="connsiteY2" fmla="*/ 80944 h 83363"/>
                  <a:gd name="connsiteX3" fmla="*/ 14799 w 17012"/>
                  <a:gd name="connsiteY3" fmla="*/ 83363 h 833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7012" h="83363">
                    <a:moveTo>
                      <a:pt x="0" y="0"/>
                    </a:moveTo>
                    <a:cubicBezTo>
                      <a:pt x="861" y="1428"/>
                      <a:pt x="1699" y="2868"/>
                      <a:pt x="2502" y="4331"/>
                    </a:cubicBezTo>
                    <a:cubicBezTo>
                      <a:pt x="14917" y="26966"/>
                      <a:pt x="20003" y="53766"/>
                      <a:pt x="15259" y="80944"/>
                    </a:cubicBezTo>
                    <a:cubicBezTo>
                      <a:pt x="15200" y="81286"/>
                      <a:pt x="15046" y="82112"/>
                      <a:pt x="14799" y="83363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477" name="Forma livre: Forma 2476">
                <a:extLst>
                  <a:ext uri="{FF2B5EF4-FFF2-40B4-BE49-F238E27FC236}">
                    <a16:creationId xmlns:a16="http://schemas.microsoft.com/office/drawing/2014/main" id="{422F4F7A-7A9C-B9FE-2D53-E7DB0DE84A5C}"/>
                  </a:ext>
                </a:extLst>
              </p:cNvPr>
              <p:cNvSpPr/>
              <p:nvPr/>
            </p:nvSpPr>
            <p:spPr>
              <a:xfrm>
                <a:off x="11003615" y="4703186"/>
                <a:ext cx="198424" cy="83661"/>
              </a:xfrm>
              <a:custGeom>
                <a:avLst/>
                <a:gdLst>
                  <a:gd name="connsiteX0" fmla="*/ 0 w 198424"/>
                  <a:gd name="connsiteY0" fmla="*/ 83661 h 83661"/>
                  <a:gd name="connsiteX1" fmla="*/ 133495 w 198424"/>
                  <a:gd name="connsiteY1" fmla="*/ 1844 h 83661"/>
                  <a:gd name="connsiteX2" fmla="*/ 139667 w 198424"/>
                  <a:gd name="connsiteY2" fmla="*/ 3130 h 83661"/>
                  <a:gd name="connsiteX3" fmla="*/ 198425 w 198424"/>
                  <a:gd name="connsiteY3" fmla="*/ 37118 h 836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98424" h="83661">
                    <a:moveTo>
                      <a:pt x="0" y="83661"/>
                    </a:moveTo>
                    <a:cubicBezTo>
                      <a:pt x="16958" y="27358"/>
                      <a:pt x="74312" y="-8753"/>
                      <a:pt x="133495" y="1844"/>
                    </a:cubicBezTo>
                    <a:cubicBezTo>
                      <a:pt x="136280" y="2363"/>
                      <a:pt x="137979" y="2729"/>
                      <a:pt x="139667" y="3130"/>
                    </a:cubicBezTo>
                    <a:cubicBezTo>
                      <a:pt x="162962" y="8641"/>
                      <a:pt x="183095" y="20785"/>
                      <a:pt x="198425" y="37118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478" name="Forma livre: Forma 2477">
                <a:extLst>
                  <a:ext uri="{FF2B5EF4-FFF2-40B4-BE49-F238E27FC236}">
                    <a16:creationId xmlns:a16="http://schemas.microsoft.com/office/drawing/2014/main" id="{1FE92FA5-6B2D-54B8-9D8B-203B7CB207CC}"/>
                  </a:ext>
                </a:extLst>
              </p:cNvPr>
              <p:cNvSpPr/>
              <p:nvPr/>
            </p:nvSpPr>
            <p:spPr>
              <a:xfrm>
                <a:off x="11008359" y="4732624"/>
                <a:ext cx="123546" cy="112899"/>
              </a:xfrm>
              <a:custGeom>
                <a:avLst/>
                <a:gdLst>
                  <a:gd name="connsiteX0" fmla="*/ 0 w 123546"/>
                  <a:gd name="connsiteY0" fmla="*/ 112899 h 112899"/>
                  <a:gd name="connsiteX1" fmla="*/ 21242 w 123546"/>
                  <a:gd name="connsiteY1" fmla="*/ 71725 h 112899"/>
                  <a:gd name="connsiteX2" fmla="*/ 123546 w 123546"/>
                  <a:gd name="connsiteY2" fmla="*/ 1390 h 1128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23546" h="112899">
                    <a:moveTo>
                      <a:pt x="0" y="112899"/>
                    </a:moveTo>
                    <a:cubicBezTo>
                      <a:pt x="12627" y="100083"/>
                      <a:pt x="19389" y="80175"/>
                      <a:pt x="21242" y="71725"/>
                    </a:cubicBezTo>
                    <a:cubicBezTo>
                      <a:pt x="30199" y="24402"/>
                      <a:pt x="75988" y="-7130"/>
                      <a:pt x="123546" y="1390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479" name="Forma livre: Forma 2478">
                <a:extLst>
                  <a:ext uri="{FF2B5EF4-FFF2-40B4-BE49-F238E27FC236}">
                    <a16:creationId xmlns:a16="http://schemas.microsoft.com/office/drawing/2014/main" id="{C21B6561-8EF9-5E9D-8BB3-364EEB857322}"/>
                  </a:ext>
                </a:extLst>
              </p:cNvPr>
              <p:cNvSpPr/>
              <p:nvPr/>
            </p:nvSpPr>
            <p:spPr>
              <a:xfrm>
                <a:off x="11096632" y="4762070"/>
                <a:ext cx="78584" cy="81423"/>
              </a:xfrm>
              <a:custGeom>
                <a:avLst/>
                <a:gdLst>
                  <a:gd name="connsiteX0" fmla="*/ 0 w 78584"/>
                  <a:gd name="connsiteY0" fmla="*/ 3429 h 81423"/>
                  <a:gd name="connsiteX1" fmla="*/ 30081 w 78584"/>
                  <a:gd name="connsiteY1" fmla="*/ 928 h 81423"/>
                  <a:gd name="connsiteX2" fmla="*/ 33067 w 78584"/>
                  <a:gd name="connsiteY2" fmla="*/ 1553 h 81423"/>
                  <a:gd name="connsiteX3" fmla="*/ 77711 w 78584"/>
                  <a:gd name="connsiteY3" fmla="*/ 68938 h 81423"/>
                  <a:gd name="connsiteX4" fmla="*/ 74843 w 78584"/>
                  <a:gd name="connsiteY4" fmla="*/ 81423 h 814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8584" h="81423">
                    <a:moveTo>
                      <a:pt x="0" y="3429"/>
                    </a:moveTo>
                    <a:cubicBezTo>
                      <a:pt x="9347" y="90"/>
                      <a:pt x="19649" y="-949"/>
                      <a:pt x="30081" y="928"/>
                    </a:cubicBezTo>
                    <a:cubicBezTo>
                      <a:pt x="31250" y="1140"/>
                      <a:pt x="32170" y="1341"/>
                      <a:pt x="33067" y="1553"/>
                    </a:cubicBezTo>
                    <a:cubicBezTo>
                      <a:pt x="63431" y="8740"/>
                      <a:pt x="83045" y="38337"/>
                      <a:pt x="77711" y="68938"/>
                    </a:cubicBezTo>
                    <a:cubicBezTo>
                      <a:pt x="77569" y="69799"/>
                      <a:pt x="76731" y="74331"/>
                      <a:pt x="74843" y="81423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480" name="Forma livre: Forma 2479">
                <a:extLst>
                  <a:ext uri="{FF2B5EF4-FFF2-40B4-BE49-F238E27FC236}">
                    <a16:creationId xmlns:a16="http://schemas.microsoft.com/office/drawing/2014/main" id="{E64C11D7-B3CC-46F7-5E6A-36E783E44F86}"/>
                  </a:ext>
                </a:extLst>
              </p:cNvPr>
              <p:cNvSpPr/>
              <p:nvPr/>
            </p:nvSpPr>
            <p:spPr>
              <a:xfrm>
                <a:off x="11009386" y="4777596"/>
                <a:ext cx="67160" cy="103024"/>
              </a:xfrm>
              <a:custGeom>
                <a:avLst/>
                <a:gdLst>
                  <a:gd name="connsiteX0" fmla="*/ 0 w 67160"/>
                  <a:gd name="connsiteY0" fmla="*/ 103024 h 103024"/>
                  <a:gd name="connsiteX1" fmla="*/ 49081 w 67160"/>
                  <a:gd name="connsiteY1" fmla="*/ 32524 h 103024"/>
                  <a:gd name="connsiteX2" fmla="*/ 67160 w 67160"/>
                  <a:gd name="connsiteY2" fmla="*/ 0 h 1030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67160" h="103024">
                    <a:moveTo>
                      <a:pt x="0" y="103024"/>
                    </a:moveTo>
                    <a:cubicBezTo>
                      <a:pt x="38307" y="84744"/>
                      <a:pt x="48975" y="33043"/>
                      <a:pt x="49081" y="32524"/>
                    </a:cubicBezTo>
                    <a:cubicBezTo>
                      <a:pt x="51465" y="19555"/>
                      <a:pt x="58038" y="8343"/>
                      <a:pt x="67160" y="0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481" name="Forma livre: Forma 2480">
                <a:extLst>
                  <a:ext uri="{FF2B5EF4-FFF2-40B4-BE49-F238E27FC236}">
                    <a16:creationId xmlns:a16="http://schemas.microsoft.com/office/drawing/2014/main" id="{18BEA430-2BC3-D4C2-B402-3839E8FBAB00}"/>
                  </a:ext>
                </a:extLst>
              </p:cNvPr>
              <p:cNvSpPr/>
              <p:nvPr/>
            </p:nvSpPr>
            <p:spPr>
              <a:xfrm>
                <a:off x="11066079" y="4938870"/>
                <a:ext cx="13264" cy="10644"/>
              </a:xfrm>
              <a:custGeom>
                <a:avLst/>
                <a:gdLst>
                  <a:gd name="connsiteX0" fmla="*/ 13265 w 13264"/>
                  <a:gd name="connsiteY0" fmla="*/ 0 h 10644"/>
                  <a:gd name="connsiteX1" fmla="*/ 0 w 13264"/>
                  <a:gd name="connsiteY1" fmla="*/ 10645 h 106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3264" h="10644">
                    <a:moveTo>
                      <a:pt x="13265" y="0"/>
                    </a:moveTo>
                    <a:cubicBezTo>
                      <a:pt x="9122" y="3706"/>
                      <a:pt x="4709" y="7270"/>
                      <a:pt x="0" y="10645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482" name="Forma livre: Forma 2481">
                <a:extLst>
                  <a:ext uri="{FF2B5EF4-FFF2-40B4-BE49-F238E27FC236}">
                    <a16:creationId xmlns:a16="http://schemas.microsoft.com/office/drawing/2014/main" id="{47FDC4F5-6136-FD34-6A56-87042C8CEA18}"/>
                  </a:ext>
                </a:extLst>
              </p:cNvPr>
              <p:cNvSpPr/>
              <p:nvPr/>
            </p:nvSpPr>
            <p:spPr>
              <a:xfrm>
                <a:off x="11087368" y="4791494"/>
                <a:ext cx="58433" cy="51904"/>
              </a:xfrm>
              <a:custGeom>
                <a:avLst/>
                <a:gdLst>
                  <a:gd name="connsiteX0" fmla="*/ 0 w 58433"/>
                  <a:gd name="connsiteY0" fmla="*/ 24195 h 51904"/>
                  <a:gd name="connsiteX1" fmla="*/ 34164 w 58433"/>
                  <a:gd name="connsiteY1" fmla="*/ 463 h 51904"/>
                  <a:gd name="connsiteX2" fmla="*/ 57991 w 58433"/>
                  <a:gd name="connsiteY2" fmla="*/ 34439 h 51904"/>
                  <a:gd name="connsiteX3" fmla="*/ 53625 w 58433"/>
                  <a:gd name="connsiteY3" fmla="*/ 51905 h 519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8433" h="51904">
                    <a:moveTo>
                      <a:pt x="0" y="24195"/>
                    </a:moveTo>
                    <a:cubicBezTo>
                      <a:pt x="2927" y="8252"/>
                      <a:pt x="18197" y="-2393"/>
                      <a:pt x="34164" y="463"/>
                    </a:cubicBezTo>
                    <a:cubicBezTo>
                      <a:pt x="50143" y="3473"/>
                      <a:pt x="60776" y="18472"/>
                      <a:pt x="57991" y="34439"/>
                    </a:cubicBezTo>
                    <a:cubicBezTo>
                      <a:pt x="57826" y="35418"/>
                      <a:pt x="56622" y="42003"/>
                      <a:pt x="53625" y="51905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483" name="Forma livre: Forma 2482">
                <a:extLst>
                  <a:ext uri="{FF2B5EF4-FFF2-40B4-BE49-F238E27FC236}">
                    <a16:creationId xmlns:a16="http://schemas.microsoft.com/office/drawing/2014/main" id="{4CF6C9D8-264D-A88B-5B36-84119BE9FCB6}"/>
                  </a:ext>
                </a:extLst>
              </p:cNvPr>
              <p:cNvSpPr/>
              <p:nvPr/>
            </p:nvSpPr>
            <p:spPr>
              <a:xfrm>
                <a:off x="11022072" y="4838360"/>
                <a:ext cx="58427" cy="68824"/>
              </a:xfrm>
              <a:custGeom>
                <a:avLst/>
                <a:gdLst>
                  <a:gd name="connsiteX0" fmla="*/ 0 w 58427"/>
                  <a:gd name="connsiteY0" fmla="*/ 68824 h 68824"/>
                  <a:gd name="connsiteX1" fmla="*/ 58428 w 58427"/>
                  <a:gd name="connsiteY1" fmla="*/ 0 h 688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8427" h="68824">
                    <a:moveTo>
                      <a:pt x="0" y="68824"/>
                    </a:moveTo>
                    <a:cubicBezTo>
                      <a:pt x="32819" y="53164"/>
                      <a:pt x="50060" y="21632"/>
                      <a:pt x="58428" y="0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484" name="Forma livre: Forma 2483">
                <a:extLst>
                  <a:ext uri="{FF2B5EF4-FFF2-40B4-BE49-F238E27FC236}">
                    <a16:creationId xmlns:a16="http://schemas.microsoft.com/office/drawing/2014/main" id="{6B5A7083-DBF8-DDBC-9C8B-717402266BC3}"/>
                  </a:ext>
                </a:extLst>
              </p:cNvPr>
              <p:cNvSpPr/>
              <p:nvPr/>
            </p:nvSpPr>
            <p:spPr>
              <a:xfrm>
                <a:off x="11034759" y="4898392"/>
                <a:ext cx="44785" cy="35356"/>
              </a:xfrm>
              <a:custGeom>
                <a:avLst/>
                <a:gdLst>
                  <a:gd name="connsiteX0" fmla="*/ 44785 w 44785"/>
                  <a:gd name="connsiteY0" fmla="*/ 0 h 35356"/>
                  <a:gd name="connsiteX1" fmla="*/ 0 w 44785"/>
                  <a:gd name="connsiteY1" fmla="*/ 35356 h 353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4785" h="35356">
                    <a:moveTo>
                      <a:pt x="44785" y="0"/>
                    </a:moveTo>
                    <a:cubicBezTo>
                      <a:pt x="33433" y="13678"/>
                      <a:pt x="18776" y="26399"/>
                      <a:pt x="0" y="35356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485" name="Forma livre: Forma 2484">
                <a:extLst>
                  <a:ext uri="{FF2B5EF4-FFF2-40B4-BE49-F238E27FC236}">
                    <a16:creationId xmlns:a16="http://schemas.microsoft.com/office/drawing/2014/main" id="{8324897F-DC53-B706-F70D-293869D93DF2}"/>
                  </a:ext>
                </a:extLst>
              </p:cNvPr>
              <p:cNvSpPr/>
              <p:nvPr/>
            </p:nvSpPr>
            <p:spPr>
              <a:xfrm>
                <a:off x="11109991" y="4820870"/>
                <a:ext cx="6360" cy="22693"/>
              </a:xfrm>
              <a:custGeom>
                <a:avLst/>
                <a:gdLst>
                  <a:gd name="connsiteX0" fmla="*/ 6361 w 6360"/>
                  <a:gd name="connsiteY0" fmla="*/ 0 h 22693"/>
                  <a:gd name="connsiteX1" fmla="*/ 0 w 6360"/>
                  <a:gd name="connsiteY1" fmla="*/ 22694 h 226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360" h="22693">
                    <a:moveTo>
                      <a:pt x="6361" y="0"/>
                    </a:moveTo>
                    <a:cubicBezTo>
                      <a:pt x="6361" y="0"/>
                      <a:pt x="4756" y="9228"/>
                      <a:pt x="0" y="22694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2486" name="Gráfico 19">
              <a:extLst>
                <a:ext uri="{FF2B5EF4-FFF2-40B4-BE49-F238E27FC236}">
                  <a16:creationId xmlns:a16="http://schemas.microsoft.com/office/drawing/2014/main" id="{F62F0152-E890-25A3-0A03-27932492B9A6}"/>
                </a:ext>
              </a:extLst>
            </p:cNvPr>
            <p:cNvGrpSpPr/>
            <p:nvPr/>
          </p:nvGrpSpPr>
          <p:grpSpPr>
            <a:xfrm>
              <a:off x="11101943" y="4866092"/>
              <a:ext cx="193338" cy="82761"/>
              <a:chOff x="11101943" y="4866092"/>
              <a:chExt cx="193338" cy="82761"/>
            </a:xfrm>
            <a:noFill/>
          </p:grpSpPr>
          <p:grpSp>
            <p:nvGrpSpPr>
              <p:cNvPr id="2487" name="Gráfico 19">
                <a:extLst>
                  <a:ext uri="{FF2B5EF4-FFF2-40B4-BE49-F238E27FC236}">
                    <a16:creationId xmlns:a16="http://schemas.microsoft.com/office/drawing/2014/main" id="{205272D3-410F-075E-1B37-D2F94EF9D637}"/>
                  </a:ext>
                </a:extLst>
              </p:cNvPr>
              <p:cNvGrpSpPr/>
              <p:nvPr/>
            </p:nvGrpSpPr>
            <p:grpSpPr>
              <a:xfrm>
                <a:off x="11130100" y="4895607"/>
                <a:ext cx="137023" cy="23720"/>
                <a:chOff x="11130100" y="4895607"/>
                <a:chExt cx="137023" cy="23720"/>
              </a:xfrm>
            </p:grpSpPr>
            <p:grpSp>
              <p:nvGrpSpPr>
                <p:cNvPr id="2488" name="Gráfico 19">
                  <a:extLst>
                    <a:ext uri="{FF2B5EF4-FFF2-40B4-BE49-F238E27FC236}">
                      <a16:creationId xmlns:a16="http://schemas.microsoft.com/office/drawing/2014/main" id="{F165E75C-4141-E843-ECAA-0800E6427755}"/>
                    </a:ext>
                  </a:extLst>
                </p:cNvPr>
                <p:cNvGrpSpPr/>
                <p:nvPr/>
              </p:nvGrpSpPr>
              <p:grpSpPr>
                <a:xfrm>
                  <a:off x="11130100" y="4895607"/>
                  <a:ext cx="23720" cy="23720"/>
                  <a:chOff x="11130100" y="4895607"/>
                  <a:chExt cx="23720" cy="23720"/>
                </a:xfrm>
              </p:grpSpPr>
              <p:sp>
                <p:nvSpPr>
                  <p:cNvPr id="2489" name="Forma livre: Forma 2488">
                    <a:extLst>
                      <a:ext uri="{FF2B5EF4-FFF2-40B4-BE49-F238E27FC236}">
                        <a16:creationId xmlns:a16="http://schemas.microsoft.com/office/drawing/2014/main" id="{1762E709-8805-2434-1653-85D92B2D519B}"/>
                      </a:ext>
                    </a:extLst>
                  </p:cNvPr>
                  <p:cNvSpPr/>
                  <p:nvPr/>
                </p:nvSpPr>
                <p:spPr>
                  <a:xfrm>
                    <a:off x="11130100" y="4895607"/>
                    <a:ext cx="23720" cy="23720"/>
                  </a:xfrm>
                  <a:custGeom>
                    <a:avLst/>
                    <a:gdLst>
                      <a:gd name="connsiteX0" fmla="*/ 23720 w 23720"/>
                      <a:gd name="connsiteY0" fmla="*/ 0 h 23720"/>
                      <a:gd name="connsiteX1" fmla="*/ 0 w 23720"/>
                      <a:gd name="connsiteY1" fmla="*/ 23720 h 2372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23720" h="23720">
                        <a:moveTo>
                          <a:pt x="23720" y="0"/>
                        </a:moveTo>
                        <a:lnTo>
                          <a:pt x="0" y="23720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2490" name="Forma livre: Forma 2489">
                    <a:extLst>
                      <a:ext uri="{FF2B5EF4-FFF2-40B4-BE49-F238E27FC236}">
                        <a16:creationId xmlns:a16="http://schemas.microsoft.com/office/drawing/2014/main" id="{3065C8DB-AD2C-974B-0EFC-DC5B9AF81551}"/>
                      </a:ext>
                    </a:extLst>
                  </p:cNvPr>
                  <p:cNvSpPr/>
                  <p:nvPr/>
                </p:nvSpPr>
                <p:spPr>
                  <a:xfrm>
                    <a:off x="11130100" y="4895607"/>
                    <a:ext cx="23720" cy="23720"/>
                  </a:xfrm>
                  <a:custGeom>
                    <a:avLst/>
                    <a:gdLst>
                      <a:gd name="connsiteX0" fmla="*/ 23720 w 23720"/>
                      <a:gd name="connsiteY0" fmla="*/ 23720 h 23720"/>
                      <a:gd name="connsiteX1" fmla="*/ 0 w 23720"/>
                      <a:gd name="connsiteY1" fmla="*/ 0 h 2372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23720" h="23720">
                        <a:moveTo>
                          <a:pt x="23720" y="23720"/>
                        </a:moveTo>
                        <a:lnTo>
                          <a:pt x="0" y="0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  <p:grpSp>
              <p:nvGrpSpPr>
                <p:cNvPr id="2491" name="Gráfico 19">
                  <a:extLst>
                    <a:ext uri="{FF2B5EF4-FFF2-40B4-BE49-F238E27FC236}">
                      <a16:creationId xmlns:a16="http://schemas.microsoft.com/office/drawing/2014/main" id="{F92CD86E-0AB6-5CA6-5E42-BC4C86A60EF1}"/>
                    </a:ext>
                  </a:extLst>
                </p:cNvPr>
                <p:cNvGrpSpPr/>
                <p:nvPr/>
              </p:nvGrpSpPr>
              <p:grpSpPr>
                <a:xfrm>
                  <a:off x="11186758" y="4895607"/>
                  <a:ext cx="23720" cy="23720"/>
                  <a:chOff x="11186758" y="4895607"/>
                  <a:chExt cx="23720" cy="23720"/>
                </a:xfrm>
              </p:grpSpPr>
              <p:sp>
                <p:nvSpPr>
                  <p:cNvPr id="2492" name="Forma livre: Forma 2491">
                    <a:extLst>
                      <a:ext uri="{FF2B5EF4-FFF2-40B4-BE49-F238E27FC236}">
                        <a16:creationId xmlns:a16="http://schemas.microsoft.com/office/drawing/2014/main" id="{84DE33E3-9F85-8B52-4239-021825EF5B5E}"/>
                      </a:ext>
                    </a:extLst>
                  </p:cNvPr>
                  <p:cNvSpPr/>
                  <p:nvPr/>
                </p:nvSpPr>
                <p:spPr>
                  <a:xfrm>
                    <a:off x="11186758" y="4895607"/>
                    <a:ext cx="23720" cy="23720"/>
                  </a:xfrm>
                  <a:custGeom>
                    <a:avLst/>
                    <a:gdLst>
                      <a:gd name="connsiteX0" fmla="*/ 23720 w 23720"/>
                      <a:gd name="connsiteY0" fmla="*/ 0 h 23720"/>
                      <a:gd name="connsiteX1" fmla="*/ 0 w 23720"/>
                      <a:gd name="connsiteY1" fmla="*/ 23720 h 2372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23720" h="23720">
                        <a:moveTo>
                          <a:pt x="23720" y="0"/>
                        </a:moveTo>
                        <a:lnTo>
                          <a:pt x="0" y="23720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2493" name="Forma livre: Forma 2492">
                    <a:extLst>
                      <a:ext uri="{FF2B5EF4-FFF2-40B4-BE49-F238E27FC236}">
                        <a16:creationId xmlns:a16="http://schemas.microsoft.com/office/drawing/2014/main" id="{84BC6CE7-29EA-3C7B-6BAF-471A2B605136}"/>
                      </a:ext>
                    </a:extLst>
                  </p:cNvPr>
                  <p:cNvSpPr/>
                  <p:nvPr/>
                </p:nvSpPr>
                <p:spPr>
                  <a:xfrm>
                    <a:off x="11186758" y="4895607"/>
                    <a:ext cx="23720" cy="23720"/>
                  </a:xfrm>
                  <a:custGeom>
                    <a:avLst/>
                    <a:gdLst>
                      <a:gd name="connsiteX0" fmla="*/ 23720 w 23720"/>
                      <a:gd name="connsiteY0" fmla="*/ 23720 h 23720"/>
                      <a:gd name="connsiteX1" fmla="*/ 0 w 23720"/>
                      <a:gd name="connsiteY1" fmla="*/ 0 h 2372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23720" h="23720">
                        <a:moveTo>
                          <a:pt x="23720" y="23720"/>
                        </a:moveTo>
                        <a:lnTo>
                          <a:pt x="0" y="0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  <p:grpSp>
              <p:nvGrpSpPr>
                <p:cNvPr id="2494" name="Gráfico 19">
                  <a:extLst>
                    <a:ext uri="{FF2B5EF4-FFF2-40B4-BE49-F238E27FC236}">
                      <a16:creationId xmlns:a16="http://schemas.microsoft.com/office/drawing/2014/main" id="{FEB4C2C7-6C9B-4A35-FD1F-E9F606B766E4}"/>
                    </a:ext>
                  </a:extLst>
                </p:cNvPr>
                <p:cNvGrpSpPr/>
                <p:nvPr/>
              </p:nvGrpSpPr>
              <p:grpSpPr>
                <a:xfrm>
                  <a:off x="11243403" y="4895607"/>
                  <a:ext cx="23720" cy="23720"/>
                  <a:chOff x="11243403" y="4895607"/>
                  <a:chExt cx="23720" cy="23720"/>
                </a:xfrm>
              </p:grpSpPr>
              <p:sp>
                <p:nvSpPr>
                  <p:cNvPr id="2495" name="Forma livre: Forma 2494">
                    <a:extLst>
                      <a:ext uri="{FF2B5EF4-FFF2-40B4-BE49-F238E27FC236}">
                        <a16:creationId xmlns:a16="http://schemas.microsoft.com/office/drawing/2014/main" id="{10D9DD30-FAA3-AC5E-38ED-769B0F9156B7}"/>
                      </a:ext>
                    </a:extLst>
                  </p:cNvPr>
                  <p:cNvSpPr/>
                  <p:nvPr/>
                </p:nvSpPr>
                <p:spPr>
                  <a:xfrm>
                    <a:off x="11243403" y="4895607"/>
                    <a:ext cx="23720" cy="23720"/>
                  </a:xfrm>
                  <a:custGeom>
                    <a:avLst/>
                    <a:gdLst>
                      <a:gd name="connsiteX0" fmla="*/ 23720 w 23720"/>
                      <a:gd name="connsiteY0" fmla="*/ 0 h 23720"/>
                      <a:gd name="connsiteX1" fmla="*/ 0 w 23720"/>
                      <a:gd name="connsiteY1" fmla="*/ 23720 h 2372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23720" h="23720">
                        <a:moveTo>
                          <a:pt x="23720" y="0"/>
                        </a:moveTo>
                        <a:lnTo>
                          <a:pt x="0" y="23720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2496" name="Forma livre: Forma 2495">
                    <a:extLst>
                      <a:ext uri="{FF2B5EF4-FFF2-40B4-BE49-F238E27FC236}">
                        <a16:creationId xmlns:a16="http://schemas.microsoft.com/office/drawing/2014/main" id="{2A2373B1-AA32-3F0B-3A8B-AEC5C047E9E5}"/>
                      </a:ext>
                    </a:extLst>
                  </p:cNvPr>
                  <p:cNvSpPr/>
                  <p:nvPr/>
                </p:nvSpPr>
                <p:spPr>
                  <a:xfrm>
                    <a:off x="11243403" y="4895607"/>
                    <a:ext cx="23720" cy="23720"/>
                  </a:xfrm>
                  <a:custGeom>
                    <a:avLst/>
                    <a:gdLst>
                      <a:gd name="connsiteX0" fmla="*/ 23720 w 23720"/>
                      <a:gd name="connsiteY0" fmla="*/ 23720 h 23720"/>
                      <a:gd name="connsiteX1" fmla="*/ 0 w 23720"/>
                      <a:gd name="connsiteY1" fmla="*/ 0 h 2372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23720" h="23720">
                        <a:moveTo>
                          <a:pt x="23720" y="23720"/>
                        </a:moveTo>
                        <a:lnTo>
                          <a:pt x="0" y="0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</p:grpSp>
          <p:sp>
            <p:nvSpPr>
              <p:cNvPr id="2497" name="Forma livre: Forma 2496">
                <a:extLst>
                  <a:ext uri="{FF2B5EF4-FFF2-40B4-BE49-F238E27FC236}">
                    <a16:creationId xmlns:a16="http://schemas.microsoft.com/office/drawing/2014/main" id="{0D871B4B-FADB-4F82-9D5D-3CC637E736E1}"/>
                  </a:ext>
                </a:extLst>
              </p:cNvPr>
              <p:cNvSpPr/>
              <p:nvPr/>
            </p:nvSpPr>
            <p:spPr>
              <a:xfrm>
                <a:off x="11101943" y="4866092"/>
                <a:ext cx="193338" cy="82761"/>
              </a:xfrm>
              <a:custGeom>
                <a:avLst/>
                <a:gdLst>
                  <a:gd name="connsiteX0" fmla="*/ 0 w 193338"/>
                  <a:gd name="connsiteY0" fmla="*/ 0 h 82761"/>
                  <a:gd name="connsiteX1" fmla="*/ 193338 w 193338"/>
                  <a:gd name="connsiteY1" fmla="*/ 0 h 82761"/>
                  <a:gd name="connsiteX2" fmla="*/ 193338 w 193338"/>
                  <a:gd name="connsiteY2" fmla="*/ 82761 h 82761"/>
                  <a:gd name="connsiteX3" fmla="*/ 0 w 193338"/>
                  <a:gd name="connsiteY3" fmla="*/ 82761 h 827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93338" h="82761">
                    <a:moveTo>
                      <a:pt x="0" y="0"/>
                    </a:moveTo>
                    <a:lnTo>
                      <a:pt x="193338" y="0"/>
                    </a:lnTo>
                    <a:lnTo>
                      <a:pt x="193338" y="82761"/>
                    </a:lnTo>
                    <a:lnTo>
                      <a:pt x="0" y="82761"/>
                    </a:lnTo>
                    <a:close/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2498" name="Forma livre: Forma 2497">
              <a:extLst>
                <a:ext uri="{FF2B5EF4-FFF2-40B4-BE49-F238E27FC236}">
                  <a16:creationId xmlns:a16="http://schemas.microsoft.com/office/drawing/2014/main" id="{3210AC3B-5B0A-DB33-E3DD-238D9C8836CC}"/>
                </a:ext>
              </a:extLst>
            </p:cNvPr>
            <p:cNvSpPr/>
            <p:nvPr/>
          </p:nvSpPr>
          <p:spPr>
            <a:xfrm>
              <a:off x="11155142" y="4741637"/>
              <a:ext cx="49521" cy="101725"/>
            </a:xfrm>
            <a:custGeom>
              <a:avLst/>
              <a:gdLst>
                <a:gd name="connsiteX0" fmla="*/ 0 w 49521"/>
                <a:gd name="connsiteY0" fmla="*/ 0 h 101725"/>
                <a:gd name="connsiteX1" fmla="*/ 7718 w 49521"/>
                <a:gd name="connsiteY1" fmla="*/ 4272 h 101725"/>
                <a:gd name="connsiteX2" fmla="*/ 48208 w 49521"/>
                <a:gd name="connsiteY2" fmla="*/ 94421 h 101725"/>
                <a:gd name="connsiteX3" fmla="*/ 46697 w 49521"/>
                <a:gd name="connsiteY3" fmla="*/ 101726 h 1017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9521" h="101725">
                  <a:moveTo>
                    <a:pt x="0" y="0"/>
                  </a:moveTo>
                  <a:cubicBezTo>
                    <a:pt x="2667" y="1298"/>
                    <a:pt x="5240" y="2726"/>
                    <a:pt x="7718" y="4272"/>
                  </a:cubicBezTo>
                  <a:cubicBezTo>
                    <a:pt x="37528" y="22812"/>
                    <a:pt x="54533" y="58144"/>
                    <a:pt x="48208" y="94421"/>
                  </a:cubicBezTo>
                  <a:cubicBezTo>
                    <a:pt x="48054" y="95283"/>
                    <a:pt x="47594" y="97832"/>
                    <a:pt x="46697" y="101726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2499" name="Gráfico 19">
            <a:extLst>
              <a:ext uri="{FF2B5EF4-FFF2-40B4-BE49-F238E27FC236}">
                <a16:creationId xmlns:a16="http://schemas.microsoft.com/office/drawing/2014/main" id="{9F0966D1-6EE8-5C41-E5D2-A8D29335BC48}"/>
              </a:ext>
            </a:extLst>
          </p:cNvPr>
          <p:cNvGrpSpPr/>
          <p:nvPr/>
        </p:nvGrpSpPr>
        <p:grpSpPr>
          <a:xfrm>
            <a:off x="11003096" y="5702027"/>
            <a:ext cx="282283" cy="311149"/>
            <a:chOff x="11003096" y="5702027"/>
            <a:chExt cx="282283" cy="311149"/>
          </a:xfrm>
          <a:noFill/>
        </p:grpSpPr>
        <p:grpSp>
          <p:nvGrpSpPr>
            <p:cNvPr id="2500" name="Gráfico 19">
              <a:extLst>
                <a:ext uri="{FF2B5EF4-FFF2-40B4-BE49-F238E27FC236}">
                  <a16:creationId xmlns:a16="http://schemas.microsoft.com/office/drawing/2014/main" id="{C16B320F-C5A9-E857-FF72-3B169F8E580C}"/>
                </a:ext>
              </a:extLst>
            </p:cNvPr>
            <p:cNvGrpSpPr/>
            <p:nvPr/>
          </p:nvGrpSpPr>
          <p:grpSpPr>
            <a:xfrm>
              <a:off x="11007935" y="5820546"/>
              <a:ext cx="262717" cy="144918"/>
              <a:chOff x="11007935" y="5820546"/>
              <a:chExt cx="262717" cy="144918"/>
            </a:xfrm>
            <a:noFill/>
          </p:grpSpPr>
          <p:sp>
            <p:nvSpPr>
              <p:cNvPr id="2501" name="Forma livre: Forma 2500">
                <a:extLst>
                  <a:ext uri="{FF2B5EF4-FFF2-40B4-BE49-F238E27FC236}">
                    <a16:creationId xmlns:a16="http://schemas.microsoft.com/office/drawing/2014/main" id="{F738E149-2877-A9BC-EC29-E8FFDBDD78C8}"/>
                  </a:ext>
                </a:extLst>
              </p:cNvPr>
              <p:cNvSpPr/>
              <p:nvPr/>
            </p:nvSpPr>
            <p:spPr>
              <a:xfrm>
                <a:off x="11077597" y="5827320"/>
                <a:ext cx="123392" cy="108617"/>
              </a:xfrm>
              <a:custGeom>
                <a:avLst/>
                <a:gdLst>
                  <a:gd name="connsiteX0" fmla="*/ 101773 w 123392"/>
                  <a:gd name="connsiteY0" fmla="*/ 0 h 108617"/>
                  <a:gd name="connsiteX1" fmla="*/ 123393 w 123392"/>
                  <a:gd name="connsiteY1" fmla="*/ 46910 h 108617"/>
                  <a:gd name="connsiteX2" fmla="*/ 61685 w 123392"/>
                  <a:gd name="connsiteY2" fmla="*/ 108618 h 108617"/>
                  <a:gd name="connsiteX3" fmla="*/ 0 w 123392"/>
                  <a:gd name="connsiteY3" fmla="*/ 46910 h 108617"/>
                  <a:gd name="connsiteX4" fmla="*/ 1900 w 123392"/>
                  <a:gd name="connsiteY4" fmla="*/ 31651 h 1086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3392" h="108617">
                    <a:moveTo>
                      <a:pt x="101773" y="0"/>
                    </a:moveTo>
                    <a:cubicBezTo>
                      <a:pt x="115002" y="11317"/>
                      <a:pt x="123393" y="28134"/>
                      <a:pt x="123393" y="46910"/>
                    </a:cubicBezTo>
                    <a:cubicBezTo>
                      <a:pt x="123393" y="80991"/>
                      <a:pt x="95766" y="108618"/>
                      <a:pt x="61685" y="108618"/>
                    </a:cubicBezTo>
                    <a:cubicBezTo>
                      <a:pt x="27603" y="108618"/>
                      <a:pt x="0" y="80991"/>
                      <a:pt x="0" y="46910"/>
                    </a:cubicBezTo>
                    <a:cubicBezTo>
                      <a:pt x="0" y="41646"/>
                      <a:pt x="661" y="36536"/>
                      <a:pt x="1900" y="31651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502" name="Forma livre: Forma 2501">
                <a:extLst>
                  <a:ext uri="{FF2B5EF4-FFF2-40B4-BE49-F238E27FC236}">
                    <a16:creationId xmlns:a16="http://schemas.microsoft.com/office/drawing/2014/main" id="{2F78D84C-6744-43FB-2073-73EFBC2950AD}"/>
                  </a:ext>
                </a:extLst>
              </p:cNvPr>
              <p:cNvSpPr/>
              <p:nvPr/>
            </p:nvSpPr>
            <p:spPr>
              <a:xfrm>
                <a:off x="11113732" y="5848669"/>
                <a:ext cx="51110" cy="51110"/>
              </a:xfrm>
              <a:custGeom>
                <a:avLst/>
                <a:gdLst>
                  <a:gd name="connsiteX0" fmla="*/ 25550 w 51110"/>
                  <a:gd name="connsiteY0" fmla="*/ 0 h 51110"/>
                  <a:gd name="connsiteX1" fmla="*/ 51111 w 51110"/>
                  <a:gd name="connsiteY1" fmla="*/ 25549 h 51110"/>
                  <a:gd name="connsiteX2" fmla="*/ 25550 w 51110"/>
                  <a:gd name="connsiteY2" fmla="*/ 51111 h 51110"/>
                  <a:gd name="connsiteX3" fmla="*/ 0 w 51110"/>
                  <a:gd name="connsiteY3" fmla="*/ 25549 h 511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1110" h="51110">
                    <a:moveTo>
                      <a:pt x="25550" y="0"/>
                    </a:moveTo>
                    <a:cubicBezTo>
                      <a:pt x="39664" y="0"/>
                      <a:pt x="51111" y="11447"/>
                      <a:pt x="51111" y="25549"/>
                    </a:cubicBezTo>
                    <a:cubicBezTo>
                      <a:pt x="51111" y="39652"/>
                      <a:pt x="39675" y="51111"/>
                      <a:pt x="25550" y="51111"/>
                    </a:cubicBezTo>
                    <a:cubicBezTo>
                      <a:pt x="11424" y="51111"/>
                      <a:pt x="0" y="39664"/>
                      <a:pt x="0" y="25549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503" name="Forma livre: Forma 2502">
                <a:extLst>
                  <a:ext uri="{FF2B5EF4-FFF2-40B4-BE49-F238E27FC236}">
                    <a16:creationId xmlns:a16="http://schemas.microsoft.com/office/drawing/2014/main" id="{C3ED5E57-EDD4-4667-B115-261C99AD735A}"/>
                  </a:ext>
                </a:extLst>
              </p:cNvPr>
              <p:cNvSpPr/>
              <p:nvPr/>
            </p:nvSpPr>
            <p:spPr>
              <a:xfrm>
                <a:off x="11007935" y="5820546"/>
                <a:ext cx="141519" cy="131028"/>
              </a:xfrm>
              <a:custGeom>
                <a:avLst/>
                <a:gdLst>
                  <a:gd name="connsiteX0" fmla="*/ 74583 w 141519"/>
                  <a:gd name="connsiteY0" fmla="*/ 131028 h 131028"/>
                  <a:gd name="connsiteX1" fmla="*/ 0 w 141519"/>
                  <a:gd name="connsiteY1" fmla="*/ 72459 h 131028"/>
                  <a:gd name="connsiteX2" fmla="*/ 131359 w 141519"/>
                  <a:gd name="connsiteY2" fmla="*/ 0 h 131028"/>
                  <a:gd name="connsiteX3" fmla="*/ 141519 w 141519"/>
                  <a:gd name="connsiteY3" fmla="*/ 460 h 1310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41519" h="131028">
                    <a:moveTo>
                      <a:pt x="74583" y="131028"/>
                    </a:moveTo>
                    <a:cubicBezTo>
                      <a:pt x="30459" y="109987"/>
                      <a:pt x="0" y="72459"/>
                      <a:pt x="0" y="72459"/>
                    </a:cubicBezTo>
                    <a:cubicBezTo>
                      <a:pt x="0" y="72459"/>
                      <a:pt x="58805" y="0"/>
                      <a:pt x="131359" y="0"/>
                    </a:cubicBezTo>
                    <a:cubicBezTo>
                      <a:pt x="134781" y="0"/>
                      <a:pt x="138168" y="153"/>
                      <a:pt x="141519" y="460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504" name="Forma livre: Forma 2503">
                <a:extLst>
                  <a:ext uri="{FF2B5EF4-FFF2-40B4-BE49-F238E27FC236}">
                    <a16:creationId xmlns:a16="http://schemas.microsoft.com/office/drawing/2014/main" id="{AB683D81-F5FF-1809-1C54-963C3A4B0B16}"/>
                  </a:ext>
                </a:extLst>
              </p:cNvPr>
              <p:cNvSpPr/>
              <p:nvPr/>
            </p:nvSpPr>
            <p:spPr>
              <a:xfrm>
                <a:off x="11104149" y="5825645"/>
                <a:ext cx="166502" cy="139820"/>
              </a:xfrm>
              <a:custGeom>
                <a:avLst/>
                <a:gdLst>
                  <a:gd name="connsiteX0" fmla="*/ 69639 w 166502"/>
                  <a:gd name="connsiteY0" fmla="*/ 0 h 139820"/>
                  <a:gd name="connsiteX1" fmla="*/ 166503 w 166502"/>
                  <a:gd name="connsiteY1" fmla="*/ 65496 h 139820"/>
                  <a:gd name="connsiteX2" fmla="*/ 35144 w 166502"/>
                  <a:gd name="connsiteY2" fmla="*/ 139820 h 139820"/>
                  <a:gd name="connsiteX3" fmla="*/ 0 w 166502"/>
                  <a:gd name="connsiteY3" fmla="*/ 134392 h 1398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66502" h="139820">
                    <a:moveTo>
                      <a:pt x="69639" y="0"/>
                    </a:moveTo>
                    <a:cubicBezTo>
                      <a:pt x="125458" y="16203"/>
                      <a:pt x="166503" y="65496"/>
                      <a:pt x="166503" y="65496"/>
                    </a:cubicBezTo>
                    <a:cubicBezTo>
                      <a:pt x="166503" y="65496"/>
                      <a:pt x="107697" y="139820"/>
                      <a:pt x="35144" y="139820"/>
                    </a:cubicBezTo>
                    <a:cubicBezTo>
                      <a:pt x="22977" y="139820"/>
                      <a:pt x="11188" y="137779"/>
                      <a:pt x="0" y="134392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2505" name="Forma livre: Forma 2504">
              <a:extLst>
                <a:ext uri="{FF2B5EF4-FFF2-40B4-BE49-F238E27FC236}">
                  <a16:creationId xmlns:a16="http://schemas.microsoft.com/office/drawing/2014/main" id="{1CA3C358-EF01-353D-9F45-25103DBBEC0B}"/>
                </a:ext>
              </a:extLst>
            </p:cNvPr>
            <p:cNvSpPr/>
            <p:nvPr/>
          </p:nvSpPr>
          <p:spPr>
            <a:xfrm>
              <a:off x="11164595" y="5782665"/>
              <a:ext cx="120784" cy="57613"/>
            </a:xfrm>
            <a:custGeom>
              <a:avLst/>
              <a:gdLst>
                <a:gd name="connsiteX0" fmla="*/ 0 w 120784"/>
                <a:gd name="connsiteY0" fmla="*/ 57613 h 57613"/>
                <a:gd name="connsiteX1" fmla="*/ 35427 w 120784"/>
                <a:gd name="connsiteY1" fmla="*/ 0 h 57613"/>
                <a:gd name="connsiteX2" fmla="*/ 120785 w 120784"/>
                <a:gd name="connsiteY2" fmla="*/ 0 h 576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0784" h="57613">
                  <a:moveTo>
                    <a:pt x="0" y="57613"/>
                  </a:moveTo>
                  <a:lnTo>
                    <a:pt x="35427" y="0"/>
                  </a:lnTo>
                  <a:lnTo>
                    <a:pt x="120785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506" name="Forma livre: Forma 2505">
              <a:extLst>
                <a:ext uri="{FF2B5EF4-FFF2-40B4-BE49-F238E27FC236}">
                  <a16:creationId xmlns:a16="http://schemas.microsoft.com/office/drawing/2014/main" id="{C40A891B-45A1-8D83-66F3-4C0544D87381}"/>
                </a:ext>
              </a:extLst>
            </p:cNvPr>
            <p:cNvSpPr/>
            <p:nvPr/>
          </p:nvSpPr>
          <p:spPr>
            <a:xfrm>
              <a:off x="11205333" y="5715894"/>
              <a:ext cx="1180" cy="47594"/>
            </a:xfrm>
            <a:custGeom>
              <a:avLst/>
              <a:gdLst>
                <a:gd name="connsiteX0" fmla="*/ 0 w 1180"/>
                <a:gd name="connsiteY0" fmla="*/ 0 h 47594"/>
                <a:gd name="connsiteX1" fmla="*/ 0 w 1180"/>
                <a:gd name="connsiteY1" fmla="*/ 47594 h 475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80" h="47594">
                  <a:moveTo>
                    <a:pt x="0" y="0"/>
                  </a:moveTo>
                  <a:lnTo>
                    <a:pt x="0" y="47594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507" name="Forma livre: Forma 2506">
              <a:extLst>
                <a:ext uri="{FF2B5EF4-FFF2-40B4-BE49-F238E27FC236}">
                  <a16:creationId xmlns:a16="http://schemas.microsoft.com/office/drawing/2014/main" id="{65FAD742-C716-E597-4A6B-47CB8505DB78}"/>
                </a:ext>
              </a:extLst>
            </p:cNvPr>
            <p:cNvSpPr/>
            <p:nvPr/>
          </p:nvSpPr>
          <p:spPr>
            <a:xfrm>
              <a:off x="11227601" y="5730834"/>
              <a:ext cx="1180" cy="32653"/>
            </a:xfrm>
            <a:custGeom>
              <a:avLst/>
              <a:gdLst>
                <a:gd name="connsiteX0" fmla="*/ 0 w 1180"/>
                <a:gd name="connsiteY0" fmla="*/ 0 h 32653"/>
                <a:gd name="connsiteX1" fmla="*/ 0 w 1180"/>
                <a:gd name="connsiteY1" fmla="*/ 32654 h 32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80" h="32653">
                  <a:moveTo>
                    <a:pt x="0" y="0"/>
                  </a:moveTo>
                  <a:lnTo>
                    <a:pt x="0" y="32654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508" name="Forma livre: Forma 2507">
              <a:extLst>
                <a:ext uri="{FF2B5EF4-FFF2-40B4-BE49-F238E27FC236}">
                  <a16:creationId xmlns:a16="http://schemas.microsoft.com/office/drawing/2014/main" id="{C7B8F86A-01BA-5A6C-64DD-4473D6D8F098}"/>
                </a:ext>
              </a:extLst>
            </p:cNvPr>
            <p:cNvSpPr/>
            <p:nvPr/>
          </p:nvSpPr>
          <p:spPr>
            <a:xfrm>
              <a:off x="11249858" y="5702027"/>
              <a:ext cx="1180" cy="61460"/>
            </a:xfrm>
            <a:custGeom>
              <a:avLst/>
              <a:gdLst>
                <a:gd name="connsiteX0" fmla="*/ 0 w 1180"/>
                <a:gd name="connsiteY0" fmla="*/ 0 h 61460"/>
                <a:gd name="connsiteX1" fmla="*/ 0 w 1180"/>
                <a:gd name="connsiteY1" fmla="*/ 61460 h 614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80" h="61460">
                  <a:moveTo>
                    <a:pt x="0" y="0"/>
                  </a:moveTo>
                  <a:lnTo>
                    <a:pt x="0" y="6146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509" name="Forma livre: Forma 2508">
              <a:extLst>
                <a:ext uri="{FF2B5EF4-FFF2-40B4-BE49-F238E27FC236}">
                  <a16:creationId xmlns:a16="http://schemas.microsoft.com/office/drawing/2014/main" id="{D7217886-065C-70A6-FE02-B296224EADE0}"/>
                </a:ext>
              </a:extLst>
            </p:cNvPr>
            <p:cNvSpPr/>
            <p:nvPr/>
          </p:nvSpPr>
          <p:spPr>
            <a:xfrm>
              <a:off x="11272127" y="5720166"/>
              <a:ext cx="1180" cy="43322"/>
            </a:xfrm>
            <a:custGeom>
              <a:avLst/>
              <a:gdLst>
                <a:gd name="connsiteX0" fmla="*/ 0 w 1180"/>
                <a:gd name="connsiteY0" fmla="*/ 0 h 43322"/>
                <a:gd name="connsiteX1" fmla="*/ 0 w 1180"/>
                <a:gd name="connsiteY1" fmla="*/ 43322 h 433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80" h="43322">
                  <a:moveTo>
                    <a:pt x="0" y="0"/>
                  </a:moveTo>
                  <a:lnTo>
                    <a:pt x="0" y="43322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510" name="Forma livre: Forma 2509">
              <a:extLst>
                <a:ext uri="{FF2B5EF4-FFF2-40B4-BE49-F238E27FC236}">
                  <a16:creationId xmlns:a16="http://schemas.microsoft.com/office/drawing/2014/main" id="{2E7A5878-23E7-9DE8-D564-33F9E6F4431C}"/>
                </a:ext>
              </a:extLst>
            </p:cNvPr>
            <p:cNvSpPr/>
            <p:nvPr/>
          </p:nvSpPr>
          <p:spPr>
            <a:xfrm>
              <a:off x="11003096" y="5946394"/>
              <a:ext cx="107780" cy="40478"/>
            </a:xfrm>
            <a:custGeom>
              <a:avLst/>
              <a:gdLst>
                <a:gd name="connsiteX0" fmla="*/ 107780 w 107780"/>
                <a:gd name="connsiteY0" fmla="*/ 0 h 40478"/>
                <a:gd name="connsiteX1" fmla="*/ 85358 w 107780"/>
                <a:gd name="connsiteY1" fmla="*/ 40478 h 40478"/>
                <a:gd name="connsiteX2" fmla="*/ 0 w 107780"/>
                <a:gd name="connsiteY2" fmla="*/ 40478 h 404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07780" h="40478">
                  <a:moveTo>
                    <a:pt x="107780" y="0"/>
                  </a:moveTo>
                  <a:lnTo>
                    <a:pt x="85358" y="40478"/>
                  </a:lnTo>
                  <a:lnTo>
                    <a:pt x="0" y="40478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511" name="Forma livre: Forma 2510">
              <a:extLst>
                <a:ext uri="{FF2B5EF4-FFF2-40B4-BE49-F238E27FC236}">
                  <a16:creationId xmlns:a16="http://schemas.microsoft.com/office/drawing/2014/main" id="{6456B551-5B45-05EE-A839-79A68AF77C45}"/>
                </a:ext>
              </a:extLst>
            </p:cNvPr>
            <p:cNvSpPr/>
            <p:nvPr/>
          </p:nvSpPr>
          <p:spPr>
            <a:xfrm>
              <a:off x="11005232" y="6013177"/>
              <a:ext cx="85357" cy="1180"/>
            </a:xfrm>
            <a:custGeom>
              <a:avLst/>
              <a:gdLst>
                <a:gd name="connsiteX0" fmla="*/ 85358 w 85357"/>
                <a:gd name="connsiteY0" fmla="*/ 0 h 1180"/>
                <a:gd name="connsiteX1" fmla="*/ 0 w 85357"/>
                <a:gd name="connsiteY1" fmla="*/ 0 h 11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5357" h="1180">
                  <a:moveTo>
                    <a:pt x="85358" y="0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2512" name="Gráfico 19">
            <a:extLst>
              <a:ext uri="{FF2B5EF4-FFF2-40B4-BE49-F238E27FC236}">
                <a16:creationId xmlns:a16="http://schemas.microsoft.com/office/drawing/2014/main" id="{8895A117-C59F-FD15-A311-C7D2DA73626A}"/>
              </a:ext>
            </a:extLst>
          </p:cNvPr>
          <p:cNvGrpSpPr/>
          <p:nvPr/>
        </p:nvGrpSpPr>
        <p:grpSpPr>
          <a:xfrm>
            <a:off x="10974962" y="4158389"/>
            <a:ext cx="338525" cy="260616"/>
            <a:chOff x="10974962" y="4158389"/>
            <a:chExt cx="338525" cy="260616"/>
          </a:xfrm>
          <a:noFill/>
        </p:grpSpPr>
        <p:grpSp>
          <p:nvGrpSpPr>
            <p:cNvPr id="2513" name="Gráfico 19">
              <a:extLst>
                <a:ext uri="{FF2B5EF4-FFF2-40B4-BE49-F238E27FC236}">
                  <a16:creationId xmlns:a16="http://schemas.microsoft.com/office/drawing/2014/main" id="{B31E9CB5-1519-274E-AFF4-93113CFF96A5}"/>
                </a:ext>
              </a:extLst>
            </p:cNvPr>
            <p:cNvGrpSpPr/>
            <p:nvPr/>
          </p:nvGrpSpPr>
          <p:grpSpPr>
            <a:xfrm>
              <a:off x="11173686" y="4280767"/>
              <a:ext cx="139801" cy="138238"/>
              <a:chOff x="11173686" y="4280767"/>
              <a:chExt cx="139801" cy="138238"/>
            </a:xfrm>
            <a:noFill/>
          </p:grpSpPr>
          <p:sp>
            <p:nvSpPr>
              <p:cNvPr id="2514" name="Forma livre: Forma 2513">
                <a:extLst>
                  <a:ext uri="{FF2B5EF4-FFF2-40B4-BE49-F238E27FC236}">
                    <a16:creationId xmlns:a16="http://schemas.microsoft.com/office/drawing/2014/main" id="{BF957D2A-41B4-25A2-3424-AF857657DBFC}"/>
                  </a:ext>
                </a:extLst>
              </p:cNvPr>
              <p:cNvSpPr/>
              <p:nvPr/>
            </p:nvSpPr>
            <p:spPr>
              <a:xfrm>
                <a:off x="11217157" y="4336869"/>
                <a:ext cx="40222" cy="82136"/>
              </a:xfrm>
              <a:custGeom>
                <a:avLst/>
                <a:gdLst>
                  <a:gd name="connsiteX0" fmla="*/ 29397 w 40222"/>
                  <a:gd name="connsiteY0" fmla="*/ 82136 h 82136"/>
                  <a:gd name="connsiteX1" fmla="*/ 40148 w 40222"/>
                  <a:gd name="connsiteY1" fmla="*/ 16581 h 82136"/>
                  <a:gd name="connsiteX2" fmla="*/ 26269 w 40222"/>
                  <a:gd name="connsiteY2" fmla="*/ 0 h 82136"/>
                  <a:gd name="connsiteX3" fmla="*/ 12651 w 40222"/>
                  <a:gd name="connsiteY3" fmla="*/ 18622 h 82136"/>
                  <a:gd name="connsiteX4" fmla="*/ 0 w 40222"/>
                  <a:gd name="connsiteY4" fmla="*/ 77793 h 821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0222" h="82136">
                    <a:moveTo>
                      <a:pt x="29397" y="82136"/>
                    </a:moveTo>
                    <a:cubicBezTo>
                      <a:pt x="41729" y="48526"/>
                      <a:pt x="40171" y="16887"/>
                      <a:pt x="40148" y="16581"/>
                    </a:cubicBezTo>
                    <a:cubicBezTo>
                      <a:pt x="39664" y="7399"/>
                      <a:pt x="33421" y="0"/>
                      <a:pt x="26269" y="0"/>
                    </a:cubicBezTo>
                    <a:cubicBezTo>
                      <a:pt x="18351" y="472"/>
                      <a:pt x="12214" y="9170"/>
                      <a:pt x="12651" y="18622"/>
                    </a:cubicBezTo>
                    <a:cubicBezTo>
                      <a:pt x="12698" y="20227"/>
                      <a:pt x="13607" y="50651"/>
                      <a:pt x="0" y="77793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515" name="Forma livre: Forma 2514">
                <a:extLst>
                  <a:ext uri="{FF2B5EF4-FFF2-40B4-BE49-F238E27FC236}">
                    <a16:creationId xmlns:a16="http://schemas.microsoft.com/office/drawing/2014/main" id="{21F497C3-35B4-177A-20B6-C125BF22B15B}"/>
                  </a:ext>
                </a:extLst>
              </p:cNvPr>
              <p:cNvSpPr/>
              <p:nvPr/>
            </p:nvSpPr>
            <p:spPr>
              <a:xfrm>
                <a:off x="11240996" y="4280767"/>
                <a:ext cx="72492" cy="119109"/>
              </a:xfrm>
              <a:custGeom>
                <a:avLst/>
                <a:gdLst>
                  <a:gd name="connsiteX0" fmla="*/ 0 w 72492"/>
                  <a:gd name="connsiteY0" fmla="*/ 47 h 119109"/>
                  <a:gd name="connsiteX1" fmla="*/ 2419 w 72492"/>
                  <a:gd name="connsiteY1" fmla="*/ 0 h 119109"/>
                  <a:gd name="connsiteX2" fmla="*/ 72317 w 72492"/>
                  <a:gd name="connsiteY2" fmla="*/ 69568 h 119109"/>
                  <a:gd name="connsiteX3" fmla="*/ 68565 w 72492"/>
                  <a:gd name="connsiteY3" fmla="*/ 119109 h 1191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2492" h="119109">
                    <a:moveTo>
                      <a:pt x="0" y="47"/>
                    </a:moveTo>
                    <a:cubicBezTo>
                      <a:pt x="850" y="12"/>
                      <a:pt x="1629" y="0"/>
                      <a:pt x="2419" y="0"/>
                    </a:cubicBezTo>
                    <a:cubicBezTo>
                      <a:pt x="39498" y="0"/>
                      <a:pt x="70205" y="30553"/>
                      <a:pt x="72317" y="69568"/>
                    </a:cubicBezTo>
                    <a:cubicBezTo>
                      <a:pt x="72483" y="72542"/>
                      <a:pt x="73391" y="92545"/>
                      <a:pt x="68565" y="119109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516" name="Forma livre: Forma 2515">
                <a:extLst>
                  <a:ext uri="{FF2B5EF4-FFF2-40B4-BE49-F238E27FC236}">
                    <a16:creationId xmlns:a16="http://schemas.microsoft.com/office/drawing/2014/main" id="{F25DB707-663E-75D1-3035-55E8FB2EDB90}"/>
                  </a:ext>
                </a:extLst>
              </p:cNvPr>
              <p:cNvSpPr/>
              <p:nvPr/>
            </p:nvSpPr>
            <p:spPr>
              <a:xfrm>
                <a:off x="11208165" y="4284874"/>
                <a:ext cx="12426" cy="6112"/>
              </a:xfrm>
              <a:custGeom>
                <a:avLst/>
                <a:gdLst>
                  <a:gd name="connsiteX0" fmla="*/ 0 w 12426"/>
                  <a:gd name="connsiteY0" fmla="*/ 6113 h 6112"/>
                  <a:gd name="connsiteX1" fmla="*/ 12427 w 12426"/>
                  <a:gd name="connsiteY1" fmla="*/ 0 h 61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426" h="6112">
                    <a:moveTo>
                      <a:pt x="0" y="6113"/>
                    </a:moveTo>
                    <a:cubicBezTo>
                      <a:pt x="3918" y="3670"/>
                      <a:pt x="8072" y="1617"/>
                      <a:pt x="12427" y="0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517" name="Forma livre: Forma 2516">
                <a:extLst>
                  <a:ext uri="{FF2B5EF4-FFF2-40B4-BE49-F238E27FC236}">
                    <a16:creationId xmlns:a16="http://schemas.microsoft.com/office/drawing/2014/main" id="{B99008DC-2A87-BFFD-9458-F3FE68784AA4}"/>
                  </a:ext>
                </a:extLst>
              </p:cNvPr>
              <p:cNvSpPr/>
              <p:nvPr/>
            </p:nvSpPr>
            <p:spPr>
              <a:xfrm>
                <a:off x="11173686" y="4304003"/>
                <a:ext cx="19054" cy="53671"/>
              </a:xfrm>
              <a:custGeom>
                <a:avLst/>
                <a:gdLst>
                  <a:gd name="connsiteX0" fmla="*/ 67 w 19054"/>
                  <a:gd name="connsiteY0" fmla="*/ 53672 h 53671"/>
                  <a:gd name="connsiteX1" fmla="*/ 19055 w 19054"/>
                  <a:gd name="connsiteY1" fmla="*/ 0 h 536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9054" h="53671">
                    <a:moveTo>
                      <a:pt x="67" y="53672"/>
                    </a:moveTo>
                    <a:cubicBezTo>
                      <a:pt x="-783" y="33079"/>
                      <a:pt x="6557" y="14020"/>
                      <a:pt x="19055" y="0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518" name="Forma livre: Forma 2517">
                <a:extLst>
                  <a:ext uri="{FF2B5EF4-FFF2-40B4-BE49-F238E27FC236}">
                    <a16:creationId xmlns:a16="http://schemas.microsoft.com/office/drawing/2014/main" id="{AB93F0CC-671C-B6E2-F4F9-3348F5A72582}"/>
                  </a:ext>
                </a:extLst>
              </p:cNvPr>
              <p:cNvSpPr/>
              <p:nvPr/>
            </p:nvSpPr>
            <p:spPr>
              <a:xfrm>
                <a:off x="11278759" y="4372792"/>
                <a:ext cx="6053" cy="36890"/>
              </a:xfrm>
              <a:custGeom>
                <a:avLst/>
                <a:gdLst>
                  <a:gd name="connsiteX0" fmla="*/ 6054 w 6053"/>
                  <a:gd name="connsiteY0" fmla="*/ 0 h 36890"/>
                  <a:gd name="connsiteX1" fmla="*/ 0 w 6053"/>
                  <a:gd name="connsiteY1" fmla="*/ 36890 h 368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053" h="36890">
                    <a:moveTo>
                      <a:pt x="6054" y="0"/>
                    </a:moveTo>
                    <a:cubicBezTo>
                      <a:pt x="5263" y="10019"/>
                      <a:pt x="3564" y="22871"/>
                      <a:pt x="0" y="36890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519" name="Forma livre: Forma 2518">
                <a:extLst>
                  <a:ext uri="{FF2B5EF4-FFF2-40B4-BE49-F238E27FC236}">
                    <a16:creationId xmlns:a16="http://schemas.microsoft.com/office/drawing/2014/main" id="{F5A4586C-77E0-2B71-B0A9-D27E48F9B20A}"/>
                  </a:ext>
                </a:extLst>
              </p:cNvPr>
              <p:cNvSpPr/>
              <p:nvPr/>
            </p:nvSpPr>
            <p:spPr>
              <a:xfrm>
                <a:off x="11198724" y="4308830"/>
                <a:ext cx="86596" cy="74512"/>
              </a:xfrm>
              <a:custGeom>
                <a:avLst/>
                <a:gdLst>
                  <a:gd name="connsiteX0" fmla="*/ 0 w 86596"/>
                  <a:gd name="connsiteY0" fmla="*/ 74513 h 74512"/>
                  <a:gd name="connsiteX1" fmla="*/ 3068 w 86596"/>
                  <a:gd name="connsiteY1" fmla="*/ 47972 h 74512"/>
                  <a:gd name="connsiteX2" fmla="*/ 42543 w 86596"/>
                  <a:gd name="connsiteY2" fmla="*/ 71 h 74512"/>
                  <a:gd name="connsiteX3" fmla="*/ 44703 w 86596"/>
                  <a:gd name="connsiteY3" fmla="*/ 0 h 74512"/>
                  <a:gd name="connsiteX4" fmla="*/ 86597 w 86596"/>
                  <a:gd name="connsiteY4" fmla="*/ 43015 h 745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6596" h="74512">
                    <a:moveTo>
                      <a:pt x="0" y="74513"/>
                    </a:moveTo>
                    <a:cubicBezTo>
                      <a:pt x="3387" y="60221"/>
                      <a:pt x="3080" y="48196"/>
                      <a:pt x="3068" y="47972"/>
                    </a:cubicBezTo>
                    <a:cubicBezTo>
                      <a:pt x="1900" y="23024"/>
                      <a:pt x="19614" y="1440"/>
                      <a:pt x="42543" y="71"/>
                    </a:cubicBezTo>
                    <a:cubicBezTo>
                      <a:pt x="43393" y="24"/>
                      <a:pt x="44042" y="0"/>
                      <a:pt x="44703" y="0"/>
                    </a:cubicBezTo>
                    <a:cubicBezTo>
                      <a:pt x="66865" y="0"/>
                      <a:pt x="85287" y="18905"/>
                      <a:pt x="86597" y="43015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2520" name="Gráfico 19">
              <a:extLst>
                <a:ext uri="{FF2B5EF4-FFF2-40B4-BE49-F238E27FC236}">
                  <a16:creationId xmlns:a16="http://schemas.microsoft.com/office/drawing/2014/main" id="{98999F8C-D696-0BA7-4D42-DC824E645188}"/>
                </a:ext>
              </a:extLst>
            </p:cNvPr>
            <p:cNvGrpSpPr/>
            <p:nvPr/>
          </p:nvGrpSpPr>
          <p:grpSpPr>
            <a:xfrm>
              <a:off x="10974962" y="4158389"/>
              <a:ext cx="321947" cy="228387"/>
              <a:chOff x="10974962" y="4158389"/>
              <a:chExt cx="321947" cy="228387"/>
            </a:xfrm>
            <a:noFill/>
          </p:grpSpPr>
          <p:grpSp>
            <p:nvGrpSpPr>
              <p:cNvPr id="2521" name="Gráfico 19">
                <a:extLst>
                  <a:ext uri="{FF2B5EF4-FFF2-40B4-BE49-F238E27FC236}">
                    <a16:creationId xmlns:a16="http://schemas.microsoft.com/office/drawing/2014/main" id="{6C6459C9-D7D4-4320-0A0D-ECF27C5E4B8F}"/>
                  </a:ext>
                </a:extLst>
              </p:cNvPr>
              <p:cNvGrpSpPr/>
              <p:nvPr/>
            </p:nvGrpSpPr>
            <p:grpSpPr>
              <a:xfrm>
                <a:off x="10974962" y="4158389"/>
                <a:ext cx="321947" cy="228387"/>
                <a:chOff x="10974962" y="4158389"/>
                <a:chExt cx="321947" cy="228387"/>
              </a:xfrm>
              <a:noFill/>
            </p:grpSpPr>
            <p:sp>
              <p:nvSpPr>
                <p:cNvPr id="2522" name="Forma livre: Forma 2521">
                  <a:extLst>
                    <a:ext uri="{FF2B5EF4-FFF2-40B4-BE49-F238E27FC236}">
                      <a16:creationId xmlns:a16="http://schemas.microsoft.com/office/drawing/2014/main" id="{17D1EE4C-5675-503F-3EA7-87E919841D25}"/>
                    </a:ext>
                  </a:extLst>
                </p:cNvPr>
                <p:cNvSpPr/>
                <p:nvPr/>
              </p:nvSpPr>
              <p:spPr>
                <a:xfrm>
                  <a:off x="11005704" y="4274123"/>
                  <a:ext cx="63254" cy="27709"/>
                </a:xfrm>
                <a:custGeom>
                  <a:avLst/>
                  <a:gdLst>
                    <a:gd name="connsiteX0" fmla="*/ 0 w 63254"/>
                    <a:gd name="connsiteY0" fmla="*/ 27709 h 27709"/>
                    <a:gd name="connsiteX1" fmla="*/ 63254 w 63254"/>
                    <a:gd name="connsiteY1" fmla="*/ 27709 h 27709"/>
                    <a:gd name="connsiteX2" fmla="*/ 43700 w 63254"/>
                    <a:gd name="connsiteY2" fmla="*/ 0 h 27709"/>
                    <a:gd name="connsiteX3" fmla="*/ 26930 w 63254"/>
                    <a:gd name="connsiteY3" fmla="*/ 0 h 2770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63254" h="27709">
                      <a:moveTo>
                        <a:pt x="0" y="27709"/>
                      </a:moveTo>
                      <a:lnTo>
                        <a:pt x="63254" y="27709"/>
                      </a:lnTo>
                      <a:cubicBezTo>
                        <a:pt x="63254" y="27709"/>
                        <a:pt x="60717" y="0"/>
                        <a:pt x="43700" y="0"/>
                      </a:cubicBezTo>
                      <a:lnTo>
                        <a:pt x="26930" y="0"/>
                      </a:ln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523" name="Forma livre: Forma 2522">
                  <a:extLst>
                    <a:ext uri="{FF2B5EF4-FFF2-40B4-BE49-F238E27FC236}">
                      <a16:creationId xmlns:a16="http://schemas.microsoft.com/office/drawing/2014/main" id="{A6ED5B4D-D801-E680-5FCD-ED0FE5B36C41}"/>
                    </a:ext>
                  </a:extLst>
                </p:cNvPr>
                <p:cNvSpPr/>
                <p:nvPr/>
              </p:nvSpPr>
              <p:spPr>
                <a:xfrm>
                  <a:off x="11052921" y="4217619"/>
                  <a:ext cx="188417" cy="8780"/>
                </a:xfrm>
                <a:custGeom>
                  <a:avLst/>
                  <a:gdLst>
                    <a:gd name="connsiteX0" fmla="*/ 0 w 188417"/>
                    <a:gd name="connsiteY0" fmla="*/ 8768 h 8780"/>
                    <a:gd name="connsiteX1" fmla="*/ 165476 w 188417"/>
                    <a:gd name="connsiteY1" fmla="*/ 8768 h 8780"/>
                    <a:gd name="connsiteX2" fmla="*/ 188417 w 188417"/>
                    <a:gd name="connsiteY2" fmla="*/ 0 h 87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88417" h="8780">
                      <a:moveTo>
                        <a:pt x="0" y="8768"/>
                      </a:moveTo>
                      <a:lnTo>
                        <a:pt x="165476" y="8768"/>
                      </a:lnTo>
                      <a:cubicBezTo>
                        <a:pt x="165476" y="8768"/>
                        <a:pt x="181891" y="9476"/>
                        <a:pt x="188417" y="0"/>
                      </a:cubicBez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524" name="Forma livre: Forma 2523">
                  <a:extLst>
                    <a:ext uri="{FF2B5EF4-FFF2-40B4-BE49-F238E27FC236}">
                      <a16:creationId xmlns:a16="http://schemas.microsoft.com/office/drawing/2014/main" id="{9C9AA324-3CDF-738E-58E0-BC531B59499F}"/>
                    </a:ext>
                  </a:extLst>
                </p:cNvPr>
                <p:cNvSpPr/>
                <p:nvPr/>
              </p:nvSpPr>
              <p:spPr>
                <a:xfrm>
                  <a:off x="11013139" y="4356235"/>
                  <a:ext cx="139442" cy="1180"/>
                </a:xfrm>
                <a:custGeom>
                  <a:avLst/>
                  <a:gdLst>
                    <a:gd name="connsiteX0" fmla="*/ 0 w 139442"/>
                    <a:gd name="connsiteY0" fmla="*/ 0 h 1180"/>
                    <a:gd name="connsiteX1" fmla="*/ 139442 w 139442"/>
                    <a:gd name="connsiteY1" fmla="*/ 0 h 11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39442" h="1180">
                      <a:moveTo>
                        <a:pt x="0" y="0"/>
                      </a:moveTo>
                      <a:lnTo>
                        <a:pt x="139442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525" name="Forma livre: Forma 2524">
                  <a:extLst>
                    <a:ext uri="{FF2B5EF4-FFF2-40B4-BE49-F238E27FC236}">
                      <a16:creationId xmlns:a16="http://schemas.microsoft.com/office/drawing/2014/main" id="{1A5D100D-D7D5-D195-4DDF-CD941DD85A30}"/>
                    </a:ext>
                  </a:extLst>
                </p:cNvPr>
                <p:cNvSpPr/>
                <p:nvPr/>
              </p:nvSpPr>
              <p:spPr>
                <a:xfrm>
                  <a:off x="11003851" y="4158389"/>
                  <a:ext cx="259165" cy="228387"/>
                </a:xfrm>
                <a:custGeom>
                  <a:avLst/>
                  <a:gdLst>
                    <a:gd name="connsiteX0" fmla="*/ 62216 w 259165"/>
                    <a:gd name="connsiteY0" fmla="*/ 213825 h 228387"/>
                    <a:gd name="connsiteX1" fmla="*/ 62216 w 259165"/>
                    <a:gd name="connsiteY1" fmla="*/ 222995 h 228387"/>
                    <a:gd name="connsiteX2" fmla="*/ 56811 w 259165"/>
                    <a:gd name="connsiteY2" fmla="*/ 228388 h 228387"/>
                    <a:gd name="connsiteX3" fmla="*/ 13961 w 259165"/>
                    <a:gd name="connsiteY3" fmla="*/ 228388 h 228387"/>
                    <a:gd name="connsiteX4" fmla="*/ 8544 w 259165"/>
                    <a:gd name="connsiteY4" fmla="*/ 222995 h 228387"/>
                    <a:gd name="connsiteX5" fmla="*/ 8544 w 259165"/>
                    <a:gd name="connsiteY5" fmla="*/ 196926 h 228387"/>
                    <a:gd name="connsiteX6" fmla="*/ 0 w 259165"/>
                    <a:gd name="connsiteY6" fmla="*/ 184641 h 228387"/>
                    <a:gd name="connsiteX7" fmla="*/ 0 w 259165"/>
                    <a:gd name="connsiteY7" fmla="*/ 120513 h 228387"/>
                    <a:gd name="connsiteX8" fmla="*/ 2950 w 259165"/>
                    <a:gd name="connsiteY8" fmla="*/ 106423 h 228387"/>
                    <a:gd name="connsiteX9" fmla="*/ 22599 w 259165"/>
                    <a:gd name="connsiteY9" fmla="*/ 63620 h 228387"/>
                    <a:gd name="connsiteX10" fmla="*/ 34188 w 259165"/>
                    <a:gd name="connsiteY10" fmla="*/ 27567 h 228387"/>
                    <a:gd name="connsiteX11" fmla="*/ 72070 w 259165"/>
                    <a:gd name="connsiteY11" fmla="*/ 0 h 228387"/>
                    <a:gd name="connsiteX12" fmla="*/ 192123 w 259165"/>
                    <a:gd name="connsiteY12" fmla="*/ 0 h 228387"/>
                    <a:gd name="connsiteX13" fmla="*/ 229993 w 259165"/>
                    <a:gd name="connsiteY13" fmla="*/ 27567 h 228387"/>
                    <a:gd name="connsiteX14" fmla="*/ 241582 w 259165"/>
                    <a:gd name="connsiteY14" fmla="*/ 63620 h 228387"/>
                    <a:gd name="connsiteX15" fmla="*/ 259165 w 259165"/>
                    <a:gd name="connsiteY15" fmla="*/ 101938 h 2283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</a:cxnLst>
                  <a:rect l="l" t="t" r="r" b="b"/>
                  <a:pathLst>
                    <a:path w="259165" h="228387">
                      <a:moveTo>
                        <a:pt x="62216" y="213825"/>
                      </a:moveTo>
                      <a:lnTo>
                        <a:pt x="62216" y="222995"/>
                      </a:lnTo>
                      <a:cubicBezTo>
                        <a:pt x="62216" y="225957"/>
                        <a:pt x="59785" y="228388"/>
                        <a:pt x="56811" y="228388"/>
                      </a:cubicBezTo>
                      <a:lnTo>
                        <a:pt x="13961" y="228388"/>
                      </a:lnTo>
                      <a:cubicBezTo>
                        <a:pt x="10987" y="228388"/>
                        <a:pt x="8544" y="225957"/>
                        <a:pt x="8544" y="222995"/>
                      </a:cubicBezTo>
                      <a:lnTo>
                        <a:pt x="8544" y="196926"/>
                      </a:lnTo>
                      <a:cubicBezTo>
                        <a:pt x="3647" y="195002"/>
                        <a:pt x="0" y="190199"/>
                        <a:pt x="0" y="184641"/>
                      </a:cubicBezTo>
                      <a:lnTo>
                        <a:pt x="0" y="120513"/>
                      </a:lnTo>
                      <a:cubicBezTo>
                        <a:pt x="0" y="120513"/>
                        <a:pt x="673" y="114200"/>
                        <a:pt x="2950" y="106423"/>
                      </a:cubicBezTo>
                      <a:lnTo>
                        <a:pt x="22599" y="63620"/>
                      </a:lnTo>
                      <a:lnTo>
                        <a:pt x="34188" y="27567"/>
                      </a:lnTo>
                      <a:cubicBezTo>
                        <a:pt x="37410" y="9630"/>
                        <a:pt x="61342" y="0"/>
                        <a:pt x="72070" y="0"/>
                      </a:cubicBezTo>
                      <a:lnTo>
                        <a:pt x="192123" y="0"/>
                      </a:lnTo>
                      <a:cubicBezTo>
                        <a:pt x="202850" y="0"/>
                        <a:pt x="226771" y="9630"/>
                        <a:pt x="229993" y="27567"/>
                      </a:cubicBezTo>
                      <a:lnTo>
                        <a:pt x="241582" y="63620"/>
                      </a:lnTo>
                      <a:lnTo>
                        <a:pt x="259165" y="101938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grpSp>
              <p:nvGrpSpPr>
                <p:cNvPr id="2526" name="Gráfico 19">
                  <a:extLst>
                    <a:ext uri="{FF2B5EF4-FFF2-40B4-BE49-F238E27FC236}">
                      <a16:creationId xmlns:a16="http://schemas.microsoft.com/office/drawing/2014/main" id="{07004AD4-224A-37FF-F3C0-C5BAA638E36D}"/>
                    </a:ext>
                  </a:extLst>
                </p:cNvPr>
                <p:cNvGrpSpPr/>
                <p:nvPr/>
              </p:nvGrpSpPr>
              <p:grpSpPr>
                <a:xfrm>
                  <a:off x="10974962" y="4212367"/>
                  <a:ext cx="321947" cy="25950"/>
                  <a:chOff x="10974962" y="4212367"/>
                  <a:chExt cx="321947" cy="25950"/>
                </a:xfrm>
                <a:noFill/>
              </p:grpSpPr>
              <p:sp>
                <p:nvSpPr>
                  <p:cNvPr id="2527" name="Forma livre: Forma 2526">
                    <a:extLst>
                      <a:ext uri="{FF2B5EF4-FFF2-40B4-BE49-F238E27FC236}">
                        <a16:creationId xmlns:a16="http://schemas.microsoft.com/office/drawing/2014/main" id="{9BCDC13A-3229-C672-6318-F7E1B082CB8A}"/>
                      </a:ext>
                    </a:extLst>
                  </p:cNvPr>
                  <p:cNvSpPr/>
                  <p:nvPr/>
                </p:nvSpPr>
                <p:spPr>
                  <a:xfrm>
                    <a:off x="10974962" y="4212367"/>
                    <a:ext cx="42106" cy="25950"/>
                  </a:xfrm>
                  <a:custGeom>
                    <a:avLst/>
                    <a:gdLst>
                      <a:gd name="connsiteX0" fmla="*/ 30447 w 42106"/>
                      <a:gd name="connsiteY0" fmla="*/ 0 h 25950"/>
                      <a:gd name="connsiteX1" fmla="*/ 16533 w 42106"/>
                      <a:gd name="connsiteY1" fmla="*/ 0 h 25950"/>
                      <a:gd name="connsiteX2" fmla="*/ 0 w 42106"/>
                      <a:gd name="connsiteY2" fmla="*/ 22233 h 25950"/>
                      <a:gd name="connsiteX3" fmla="*/ 42107 w 42106"/>
                      <a:gd name="connsiteY3" fmla="*/ 25951 h 2595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42106" h="25950">
                        <a:moveTo>
                          <a:pt x="30447" y="0"/>
                        </a:moveTo>
                        <a:lnTo>
                          <a:pt x="16533" y="0"/>
                        </a:lnTo>
                        <a:cubicBezTo>
                          <a:pt x="1688" y="0"/>
                          <a:pt x="0" y="22233"/>
                          <a:pt x="0" y="22233"/>
                        </a:cubicBezTo>
                        <a:lnTo>
                          <a:pt x="42107" y="25951"/>
                        </a:lnTo>
                      </a:path>
                    </a:pathLst>
                  </a:custGeom>
                  <a:noFill/>
                  <a:ln w="6350" cap="rnd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2528" name="Forma livre: Forma 2527">
                    <a:extLst>
                      <a:ext uri="{FF2B5EF4-FFF2-40B4-BE49-F238E27FC236}">
                        <a16:creationId xmlns:a16="http://schemas.microsoft.com/office/drawing/2014/main" id="{33A90398-254D-28A2-4D72-3B920B8F85FD}"/>
                      </a:ext>
                    </a:extLst>
                  </p:cNvPr>
                  <p:cNvSpPr/>
                  <p:nvPr/>
                </p:nvSpPr>
                <p:spPr>
                  <a:xfrm>
                    <a:off x="11254803" y="4212367"/>
                    <a:ext cx="42106" cy="25950"/>
                  </a:xfrm>
                  <a:custGeom>
                    <a:avLst/>
                    <a:gdLst>
                      <a:gd name="connsiteX0" fmla="*/ 0 w 42106"/>
                      <a:gd name="connsiteY0" fmla="*/ 25951 h 25950"/>
                      <a:gd name="connsiteX1" fmla="*/ 42107 w 42106"/>
                      <a:gd name="connsiteY1" fmla="*/ 22233 h 25950"/>
                      <a:gd name="connsiteX2" fmla="*/ 25561 w 42106"/>
                      <a:gd name="connsiteY2" fmla="*/ 0 h 25950"/>
                      <a:gd name="connsiteX3" fmla="*/ 11660 w 42106"/>
                      <a:gd name="connsiteY3" fmla="*/ 0 h 2595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42106" h="25950">
                        <a:moveTo>
                          <a:pt x="0" y="25951"/>
                        </a:moveTo>
                        <a:lnTo>
                          <a:pt x="42107" y="22233"/>
                        </a:lnTo>
                        <a:cubicBezTo>
                          <a:pt x="42107" y="22233"/>
                          <a:pt x="40419" y="0"/>
                          <a:pt x="25561" y="0"/>
                        </a:cubicBezTo>
                        <a:lnTo>
                          <a:pt x="11660" y="0"/>
                        </a:lnTo>
                      </a:path>
                    </a:pathLst>
                  </a:custGeom>
                  <a:noFill/>
                  <a:ln w="6350" cap="rnd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  <p:sp>
              <p:nvSpPr>
                <p:cNvPr id="2529" name="Forma livre: Forma 2528">
                  <a:extLst>
                    <a:ext uri="{FF2B5EF4-FFF2-40B4-BE49-F238E27FC236}">
                      <a16:creationId xmlns:a16="http://schemas.microsoft.com/office/drawing/2014/main" id="{6C3A3509-F26D-09AD-A1FA-D28364D32574}"/>
                    </a:ext>
                  </a:extLst>
                </p:cNvPr>
                <p:cNvSpPr/>
                <p:nvPr/>
              </p:nvSpPr>
              <p:spPr>
                <a:xfrm>
                  <a:off x="11087876" y="4328443"/>
                  <a:ext cx="65980" cy="27709"/>
                </a:xfrm>
                <a:custGeom>
                  <a:avLst/>
                  <a:gdLst>
                    <a:gd name="connsiteX0" fmla="*/ 0 w 65980"/>
                    <a:gd name="connsiteY0" fmla="*/ 27709 h 27709"/>
                    <a:gd name="connsiteX1" fmla="*/ 0 w 65980"/>
                    <a:gd name="connsiteY1" fmla="*/ 0 h 27709"/>
                    <a:gd name="connsiteX2" fmla="*/ 65980 w 65980"/>
                    <a:gd name="connsiteY2" fmla="*/ 0 h 2770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65980" h="27709">
                      <a:moveTo>
                        <a:pt x="0" y="27709"/>
                      </a:moveTo>
                      <a:lnTo>
                        <a:pt x="0" y="0"/>
                      </a:lnTo>
                      <a:lnTo>
                        <a:pt x="65980" y="0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2530" name="Forma livre: Forma 2529">
                <a:extLst>
                  <a:ext uri="{FF2B5EF4-FFF2-40B4-BE49-F238E27FC236}">
                    <a16:creationId xmlns:a16="http://schemas.microsoft.com/office/drawing/2014/main" id="{B890EDAE-C89C-45EA-D5F5-A06F28012B76}"/>
                  </a:ext>
                </a:extLst>
              </p:cNvPr>
              <p:cNvSpPr/>
              <p:nvPr/>
            </p:nvSpPr>
            <p:spPr>
              <a:xfrm>
                <a:off x="11006778" y="4328054"/>
                <a:ext cx="61283" cy="1180"/>
              </a:xfrm>
              <a:custGeom>
                <a:avLst/>
                <a:gdLst>
                  <a:gd name="connsiteX0" fmla="*/ 0 w 61283"/>
                  <a:gd name="connsiteY0" fmla="*/ 0 h 1180"/>
                  <a:gd name="connsiteX1" fmla="*/ 61283 w 61283"/>
                  <a:gd name="connsiteY1" fmla="*/ 0 h 11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1283" h="1180">
                    <a:moveTo>
                      <a:pt x="0" y="0"/>
                    </a:moveTo>
                    <a:lnTo>
                      <a:pt x="61283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</p:spTree>
    <p:custDataLst>
      <p:tags r:id="rId1"/>
    </p:custDataLst>
    <p:extLst>
      <p:ext uri="{BB962C8B-B14F-4D97-AF65-F5344CB8AC3E}">
        <p14:creationId xmlns:p14="http://schemas.microsoft.com/office/powerpoint/2010/main" val="22815182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" name="Gráfico 2">
            <a:extLst>
              <a:ext uri="{FF2B5EF4-FFF2-40B4-BE49-F238E27FC236}">
                <a16:creationId xmlns:a16="http://schemas.microsoft.com/office/drawing/2014/main" id="{982CA079-F54B-37D2-7788-A7AE20556FAF}"/>
              </a:ext>
            </a:extLst>
          </p:cNvPr>
          <p:cNvGrpSpPr/>
          <p:nvPr/>
        </p:nvGrpSpPr>
        <p:grpSpPr>
          <a:xfrm>
            <a:off x="3447211" y="4156113"/>
            <a:ext cx="522314" cy="584484"/>
            <a:chOff x="3447211" y="4156113"/>
            <a:chExt cx="522314" cy="584484"/>
          </a:xfrm>
          <a:noFill/>
        </p:grpSpPr>
        <p:grpSp>
          <p:nvGrpSpPr>
            <p:cNvPr id="12" name="Gráfico 2">
              <a:extLst>
                <a:ext uri="{FF2B5EF4-FFF2-40B4-BE49-F238E27FC236}">
                  <a16:creationId xmlns:a16="http://schemas.microsoft.com/office/drawing/2014/main" id="{9911F483-0CEC-5963-AA78-BA07E96DB2BA}"/>
                </a:ext>
              </a:extLst>
            </p:cNvPr>
            <p:cNvGrpSpPr/>
            <p:nvPr/>
          </p:nvGrpSpPr>
          <p:grpSpPr>
            <a:xfrm>
              <a:off x="3543380" y="4382123"/>
              <a:ext cx="426145" cy="310827"/>
              <a:chOff x="3543380" y="4382123"/>
              <a:chExt cx="426145" cy="310827"/>
            </a:xfrm>
            <a:noFill/>
          </p:grpSpPr>
          <p:grpSp>
            <p:nvGrpSpPr>
              <p:cNvPr id="13" name="Gráfico 2">
                <a:extLst>
                  <a:ext uri="{FF2B5EF4-FFF2-40B4-BE49-F238E27FC236}">
                    <a16:creationId xmlns:a16="http://schemas.microsoft.com/office/drawing/2014/main" id="{FFE54496-FE40-844A-C3B7-4B1FD45269BC}"/>
                  </a:ext>
                </a:extLst>
              </p:cNvPr>
              <p:cNvGrpSpPr/>
              <p:nvPr/>
            </p:nvGrpSpPr>
            <p:grpSpPr>
              <a:xfrm>
                <a:off x="3543380" y="4408658"/>
                <a:ext cx="217726" cy="185360"/>
                <a:chOff x="3543380" y="4408658"/>
                <a:chExt cx="217726" cy="185360"/>
              </a:xfrm>
              <a:noFill/>
            </p:grpSpPr>
            <p:sp>
              <p:nvSpPr>
                <p:cNvPr id="14" name="Forma livre: Forma 13">
                  <a:extLst>
                    <a:ext uri="{FF2B5EF4-FFF2-40B4-BE49-F238E27FC236}">
                      <a16:creationId xmlns:a16="http://schemas.microsoft.com/office/drawing/2014/main" id="{816D4DB2-82E5-E7DD-EC67-A7D541B80453}"/>
                    </a:ext>
                  </a:extLst>
                </p:cNvPr>
                <p:cNvSpPr/>
                <p:nvPr/>
              </p:nvSpPr>
              <p:spPr>
                <a:xfrm>
                  <a:off x="3543380" y="4413674"/>
                  <a:ext cx="188025" cy="180344"/>
                </a:xfrm>
                <a:custGeom>
                  <a:avLst/>
                  <a:gdLst>
                    <a:gd name="connsiteX0" fmla="*/ 188026 w 188025"/>
                    <a:gd name="connsiteY0" fmla="*/ 180345 h 180344"/>
                    <a:gd name="connsiteX1" fmla="*/ 10550 w 188025"/>
                    <a:gd name="connsiteY1" fmla="*/ 45895 h 180344"/>
                    <a:gd name="connsiteX2" fmla="*/ 4967 w 188025"/>
                    <a:gd name="connsiteY2" fmla="*/ 9837 h 180344"/>
                    <a:gd name="connsiteX3" fmla="*/ 41189 w 188025"/>
                    <a:gd name="connsiteY3" fmla="*/ 5403 h 180344"/>
                    <a:gd name="connsiteX4" fmla="*/ 147651 w 188025"/>
                    <a:gd name="connsiteY4" fmla="*/ 86059 h 18034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88025" h="180344">
                      <a:moveTo>
                        <a:pt x="188026" y="180345"/>
                      </a:moveTo>
                      <a:lnTo>
                        <a:pt x="10550" y="45895"/>
                      </a:lnTo>
                      <a:cubicBezTo>
                        <a:pt x="-922" y="37215"/>
                        <a:pt x="-3432" y="20980"/>
                        <a:pt x="4967" y="9837"/>
                      </a:cubicBezTo>
                      <a:cubicBezTo>
                        <a:pt x="13389" y="-1283"/>
                        <a:pt x="29717" y="-3277"/>
                        <a:pt x="41189" y="5403"/>
                      </a:cubicBezTo>
                      <a:lnTo>
                        <a:pt x="147651" y="86059"/>
                      </a:ln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5" name="Forma livre: Forma 14">
                  <a:extLst>
                    <a:ext uri="{FF2B5EF4-FFF2-40B4-BE49-F238E27FC236}">
                      <a16:creationId xmlns:a16="http://schemas.microsoft.com/office/drawing/2014/main" id="{2878F551-3EBA-80CB-2D77-DFA6D54047F8}"/>
                    </a:ext>
                  </a:extLst>
                </p:cNvPr>
                <p:cNvSpPr/>
                <p:nvPr/>
              </p:nvSpPr>
              <p:spPr>
                <a:xfrm>
                  <a:off x="3657976" y="4443492"/>
                  <a:ext cx="65266" cy="28018"/>
                </a:xfrm>
                <a:custGeom>
                  <a:avLst/>
                  <a:gdLst>
                    <a:gd name="connsiteX0" fmla="*/ 65266 w 65266"/>
                    <a:gd name="connsiteY0" fmla="*/ 16992 h 28018"/>
                    <a:gd name="connsiteX1" fmla="*/ 50017 w 65266"/>
                    <a:gd name="connsiteY1" fmla="*/ 5426 h 28018"/>
                    <a:gd name="connsiteX2" fmla="*/ 13771 w 65266"/>
                    <a:gd name="connsiteY2" fmla="*/ 9837 h 28018"/>
                    <a:gd name="connsiteX3" fmla="*/ 0 w 65266"/>
                    <a:gd name="connsiteY3" fmla="*/ 28018 h 2801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65266" h="28018">
                      <a:moveTo>
                        <a:pt x="65266" y="16992"/>
                      </a:moveTo>
                      <a:lnTo>
                        <a:pt x="50017" y="5426"/>
                      </a:lnTo>
                      <a:cubicBezTo>
                        <a:pt x="38545" y="-3254"/>
                        <a:pt x="22240" y="-1330"/>
                        <a:pt x="13771" y="9837"/>
                      </a:cubicBezTo>
                      <a:lnTo>
                        <a:pt x="0" y="28018"/>
                      </a:ln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6" name="Forma livre: Forma 15">
                  <a:extLst>
                    <a:ext uri="{FF2B5EF4-FFF2-40B4-BE49-F238E27FC236}">
                      <a16:creationId xmlns:a16="http://schemas.microsoft.com/office/drawing/2014/main" id="{7F570E38-1ECA-91FB-E060-4473F4872CF3}"/>
                    </a:ext>
                  </a:extLst>
                </p:cNvPr>
                <p:cNvSpPr/>
                <p:nvPr/>
              </p:nvSpPr>
              <p:spPr>
                <a:xfrm>
                  <a:off x="3691430" y="4408658"/>
                  <a:ext cx="69676" cy="34136"/>
                </a:xfrm>
                <a:custGeom>
                  <a:avLst/>
                  <a:gdLst>
                    <a:gd name="connsiteX0" fmla="*/ 69677 w 69676"/>
                    <a:gd name="connsiteY0" fmla="*/ 16823 h 34136"/>
                    <a:gd name="connsiteX1" fmla="*/ 54639 w 69676"/>
                    <a:gd name="connsiteY1" fmla="*/ 5422 h 34136"/>
                    <a:gd name="connsiteX2" fmla="*/ 18393 w 69676"/>
                    <a:gd name="connsiteY2" fmla="*/ 9832 h 34136"/>
                    <a:gd name="connsiteX3" fmla="*/ 0 w 69676"/>
                    <a:gd name="connsiteY3" fmla="*/ 34137 h 3413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69676" h="34136">
                      <a:moveTo>
                        <a:pt x="69677" y="16823"/>
                      </a:moveTo>
                      <a:lnTo>
                        <a:pt x="54639" y="5422"/>
                      </a:lnTo>
                      <a:cubicBezTo>
                        <a:pt x="43143" y="-3282"/>
                        <a:pt x="26815" y="-1288"/>
                        <a:pt x="18393" y="9832"/>
                      </a:cubicBezTo>
                      <a:lnTo>
                        <a:pt x="0" y="34137"/>
                      </a:ln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17" name="Forma livre: Forma 16">
                <a:extLst>
                  <a:ext uri="{FF2B5EF4-FFF2-40B4-BE49-F238E27FC236}">
                    <a16:creationId xmlns:a16="http://schemas.microsoft.com/office/drawing/2014/main" id="{4552ED9F-0A7E-58A0-7868-58DFF7C7506F}"/>
                  </a:ext>
                </a:extLst>
              </p:cNvPr>
              <p:cNvSpPr/>
              <p:nvPr/>
            </p:nvSpPr>
            <p:spPr>
              <a:xfrm>
                <a:off x="3743770" y="4382123"/>
                <a:ext cx="225756" cy="185644"/>
              </a:xfrm>
              <a:custGeom>
                <a:avLst/>
                <a:gdLst>
                  <a:gd name="connsiteX0" fmla="*/ 225756 w 225756"/>
                  <a:gd name="connsiteY0" fmla="*/ 185644 h 185644"/>
                  <a:gd name="connsiteX1" fmla="*/ 182003 w 225756"/>
                  <a:gd name="connsiteY1" fmla="*/ 152495 h 185644"/>
                  <a:gd name="connsiteX2" fmla="*/ 136373 w 225756"/>
                  <a:gd name="connsiteY2" fmla="*/ 77094 h 185644"/>
                  <a:gd name="connsiteX3" fmla="*/ 49149 w 225756"/>
                  <a:gd name="connsiteY3" fmla="*/ 6292 h 185644"/>
                  <a:gd name="connsiteX4" fmla="*/ 14123 w 225756"/>
                  <a:gd name="connsiteY4" fmla="*/ 9107 h 185644"/>
                  <a:gd name="connsiteX5" fmla="*/ 0 w 225756"/>
                  <a:gd name="connsiteY5" fmla="*/ 27735 h 1856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25756" h="185644">
                    <a:moveTo>
                      <a:pt x="225756" y="185644"/>
                    </a:moveTo>
                    <a:lnTo>
                      <a:pt x="182003" y="152495"/>
                    </a:lnTo>
                    <a:cubicBezTo>
                      <a:pt x="176772" y="123217"/>
                      <a:pt x="166707" y="103909"/>
                      <a:pt x="136373" y="77094"/>
                    </a:cubicBezTo>
                    <a:lnTo>
                      <a:pt x="49149" y="6292"/>
                    </a:lnTo>
                    <a:cubicBezTo>
                      <a:pt x="37466" y="-2928"/>
                      <a:pt x="22545" y="-2036"/>
                      <a:pt x="14123" y="9107"/>
                    </a:cubicBezTo>
                    <a:lnTo>
                      <a:pt x="0" y="27735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8" name="Forma livre: Forma 17">
                <a:extLst>
                  <a:ext uri="{FF2B5EF4-FFF2-40B4-BE49-F238E27FC236}">
                    <a16:creationId xmlns:a16="http://schemas.microsoft.com/office/drawing/2014/main" id="{0C1EB5EF-FCD9-46C0-2065-22F5557E691E}"/>
                  </a:ext>
                </a:extLst>
              </p:cNvPr>
              <p:cNvSpPr/>
              <p:nvPr/>
            </p:nvSpPr>
            <p:spPr>
              <a:xfrm>
                <a:off x="3625895" y="4591978"/>
                <a:ext cx="248804" cy="100971"/>
              </a:xfrm>
              <a:custGeom>
                <a:avLst/>
                <a:gdLst>
                  <a:gd name="connsiteX0" fmla="*/ 56925 w 248804"/>
                  <a:gd name="connsiteY0" fmla="*/ 0 h 100971"/>
                  <a:gd name="connsiteX1" fmla="*/ 42568 w 248804"/>
                  <a:gd name="connsiteY1" fmla="*/ 3144 h 100971"/>
                  <a:gd name="connsiteX2" fmla="*/ 13946 w 248804"/>
                  <a:gd name="connsiteY2" fmla="*/ 14827 h 100971"/>
                  <a:gd name="connsiteX3" fmla="*/ 6650 w 248804"/>
                  <a:gd name="connsiteY3" fmla="*/ 21865 h 100971"/>
                  <a:gd name="connsiteX4" fmla="*/ 9817 w 248804"/>
                  <a:gd name="connsiteY4" fmla="*/ 52011 h 100971"/>
                  <a:gd name="connsiteX5" fmla="*/ 199469 w 248804"/>
                  <a:gd name="connsiteY5" fmla="*/ 74486 h 100971"/>
                  <a:gd name="connsiteX6" fmla="*/ 220512 w 248804"/>
                  <a:gd name="connsiteY6" fmla="*/ 79529 h 100971"/>
                  <a:gd name="connsiteX7" fmla="*/ 248805 w 248804"/>
                  <a:gd name="connsiteY7" fmla="*/ 100972 h 1009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48804" h="100971">
                    <a:moveTo>
                      <a:pt x="56925" y="0"/>
                    </a:moveTo>
                    <a:lnTo>
                      <a:pt x="42568" y="3144"/>
                    </a:lnTo>
                    <a:cubicBezTo>
                      <a:pt x="25020" y="6569"/>
                      <a:pt x="17958" y="11988"/>
                      <a:pt x="13946" y="14827"/>
                    </a:cubicBezTo>
                    <a:cubicBezTo>
                      <a:pt x="9935" y="17642"/>
                      <a:pt x="6650" y="21865"/>
                      <a:pt x="6650" y="21865"/>
                    </a:cubicBezTo>
                    <a:cubicBezTo>
                      <a:pt x="-2828" y="30967"/>
                      <a:pt x="-2523" y="47741"/>
                      <a:pt x="9817" y="52011"/>
                    </a:cubicBezTo>
                    <a:lnTo>
                      <a:pt x="199469" y="74486"/>
                    </a:lnTo>
                    <a:cubicBezTo>
                      <a:pt x="199469" y="74486"/>
                      <a:pt x="214225" y="74767"/>
                      <a:pt x="220512" y="79529"/>
                    </a:cubicBezTo>
                    <a:lnTo>
                      <a:pt x="248805" y="100972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9" name="Gráfico 2">
              <a:extLst>
                <a:ext uri="{FF2B5EF4-FFF2-40B4-BE49-F238E27FC236}">
                  <a16:creationId xmlns:a16="http://schemas.microsoft.com/office/drawing/2014/main" id="{7F7CD8F6-29E1-41E5-3E02-63E9730EE820}"/>
                </a:ext>
              </a:extLst>
            </p:cNvPr>
            <p:cNvGrpSpPr/>
            <p:nvPr/>
          </p:nvGrpSpPr>
          <p:grpSpPr>
            <a:xfrm>
              <a:off x="3447211" y="4156113"/>
              <a:ext cx="149768" cy="363208"/>
              <a:chOff x="3447211" y="4156113"/>
              <a:chExt cx="149768" cy="363208"/>
            </a:xfrm>
            <a:noFill/>
          </p:grpSpPr>
          <p:grpSp>
            <p:nvGrpSpPr>
              <p:cNvPr id="20" name="Gráfico 2">
                <a:extLst>
                  <a:ext uri="{FF2B5EF4-FFF2-40B4-BE49-F238E27FC236}">
                    <a16:creationId xmlns:a16="http://schemas.microsoft.com/office/drawing/2014/main" id="{B5DB4327-65AE-A334-8ECF-78BD9F5812CA}"/>
                  </a:ext>
                </a:extLst>
              </p:cNvPr>
              <p:cNvGrpSpPr/>
              <p:nvPr/>
            </p:nvGrpSpPr>
            <p:grpSpPr>
              <a:xfrm>
                <a:off x="3447211" y="4156113"/>
                <a:ext cx="149768" cy="142097"/>
                <a:chOff x="3447211" y="4156113"/>
                <a:chExt cx="149768" cy="142097"/>
              </a:xfrm>
              <a:noFill/>
            </p:grpSpPr>
            <p:sp>
              <p:nvSpPr>
                <p:cNvPr id="21" name="Forma livre: Forma 20">
                  <a:extLst>
                    <a:ext uri="{FF2B5EF4-FFF2-40B4-BE49-F238E27FC236}">
                      <a16:creationId xmlns:a16="http://schemas.microsoft.com/office/drawing/2014/main" id="{36F6A12F-E57F-255D-EB5D-A1123312D904}"/>
                    </a:ext>
                  </a:extLst>
                </p:cNvPr>
                <p:cNvSpPr/>
                <p:nvPr/>
              </p:nvSpPr>
              <p:spPr>
                <a:xfrm>
                  <a:off x="3447211" y="4169579"/>
                  <a:ext cx="123704" cy="128631"/>
                </a:xfrm>
                <a:custGeom>
                  <a:avLst/>
                  <a:gdLst>
                    <a:gd name="connsiteX0" fmla="*/ 123705 w 123704"/>
                    <a:gd name="connsiteY0" fmla="*/ 128631 h 128631"/>
                    <a:gd name="connsiteX1" fmla="*/ 0 w 123704"/>
                    <a:gd name="connsiteY1" fmla="*/ 128631 h 128631"/>
                    <a:gd name="connsiteX2" fmla="*/ 0 w 123704"/>
                    <a:gd name="connsiteY2" fmla="*/ 0 h 128631"/>
                    <a:gd name="connsiteX3" fmla="*/ 69864 w 123704"/>
                    <a:gd name="connsiteY3" fmla="*/ 0 h 12863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23704" h="128631">
                      <a:moveTo>
                        <a:pt x="123705" y="128631"/>
                      </a:moveTo>
                      <a:lnTo>
                        <a:pt x="0" y="128631"/>
                      </a:lnTo>
                      <a:lnTo>
                        <a:pt x="0" y="0"/>
                      </a:lnTo>
                      <a:lnTo>
                        <a:pt x="69864" y="0"/>
                      </a:ln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2" name="Forma livre: Forma 21">
                  <a:extLst>
                    <a:ext uri="{FF2B5EF4-FFF2-40B4-BE49-F238E27FC236}">
                      <a16:creationId xmlns:a16="http://schemas.microsoft.com/office/drawing/2014/main" id="{06BA0391-93D9-D1D9-84BC-4D9FB27A455D}"/>
                    </a:ext>
                  </a:extLst>
                </p:cNvPr>
                <p:cNvSpPr/>
                <p:nvPr/>
              </p:nvSpPr>
              <p:spPr>
                <a:xfrm>
                  <a:off x="3491456" y="4156113"/>
                  <a:ext cx="105523" cy="96350"/>
                </a:xfrm>
                <a:custGeom>
                  <a:avLst/>
                  <a:gdLst>
                    <a:gd name="connsiteX0" fmla="*/ 0 w 105523"/>
                    <a:gd name="connsiteY0" fmla="*/ 61958 h 96350"/>
                    <a:gd name="connsiteX1" fmla="*/ 30967 w 105523"/>
                    <a:gd name="connsiteY1" fmla="*/ 96350 h 96350"/>
                    <a:gd name="connsiteX2" fmla="*/ 105523 w 105523"/>
                    <a:gd name="connsiteY2" fmla="*/ 0 h 963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05523" h="96350">
                      <a:moveTo>
                        <a:pt x="0" y="61958"/>
                      </a:moveTo>
                      <a:lnTo>
                        <a:pt x="30967" y="96350"/>
                      </a:lnTo>
                      <a:lnTo>
                        <a:pt x="105523" y="0"/>
                      </a:ln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23" name="Forma livre: Forma 22">
                <a:extLst>
                  <a:ext uri="{FF2B5EF4-FFF2-40B4-BE49-F238E27FC236}">
                    <a16:creationId xmlns:a16="http://schemas.microsoft.com/office/drawing/2014/main" id="{687571FE-CC1A-BB69-BCC0-3969DC625F6D}"/>
                  </a:ext>
                </a:extLst>
              </p:cNvPr>
              <p:cNvSpPr/>
              <p:nvPr/>
            </p:nvSpPr>
            <p:spPr>
              <a:xfrm>
                <a:off x="3447211" y="4390667"/>
                <a:ext cx="112960" cy="128654"/>
              </a:xfrm>
              <a:custGeom>
                <a:avLst/>
                <a:gdLst>
                  <a:gd name="connsiteX0" fmla="*/ 112960 w 112960"/>
                  <a:gd name="connsiteY0" fmla="*/ 128655 h 128654"/>
                  <a:gd name="connsiteX1" fmla="*/ 0 w 112960"/>
                  <a:gd name="connsiteY1" fmla="*/ 128655 h 128654"/>
                  <a:gd name="connsiteX2" fmla="*/ 0 w 112960"/>
                  <a:gd name="connsiteY2" fmla="*/ 0 h 128654"/>
                  <a:gd name="connsiteX3" fmla="*/ 69864 w 112960"/>
                  <a:gd name="connsiteY3" fmla="*/ 0 h 1286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2960" h="128654">
                    <a:moveTo>
                      <a:pt x="112960" y="128655"/>
                    </a:moveTo>
                    <a:lnTo>
                      <a:pt x="0" y="128655"/>
                    </a:lnTo>
                    <a:lnTo>
                      <a:pt x="0" y="0"/>
                    </a:lnTo>
                    <a:lnTo>
                      <a:pt x="69864" y="0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24" name="Forma livre: Forma 23">
              <a:extLst>
                <a:ext uri="{FF2B5EF4-FFF2-40B4-BE49-F238E27FC236}">
                  <a16:creationId xmlns:a16="http://schemas.microsoft.com/office/drawing/2014/main" id="{97DBB680-F838-CEDA-751A-4B9D16ED7DEC}"/>
                </a:ext>
              </a:extLst>
            </p:cNvPr>
            <p:cNvSpPr/>
            <p:nvPr/>
          </p:nvSpPr>
          <p:spPr>
            <a:xfrm>
              <a:off x="3447211" y="4611755"/>
              <a:ext cx="128842" cy="128842"/>
            </a:xfrm>
            <a:custGeom>
              <a:avLst/>
              <a:gdLst>
                <a:gd name="connsiteX0" fmla="*/ 0 w 128842"/>
                <a:gd name="connsiteY0" fmla="*/ 0 h 128842"/>
                <a:gd name="connsiteX1" fmla="*/ 128843 w 128842"/>
                <a:gd name="connsiteY1" fmla="*/ 0 h 128842"/>
                <a:gd name="connsiteX2" fmla="*/ 128843 w 128842"/>
                <a:gd name="connsiteY2" fmla="*/ 128843 h 128842"/>
                <a:gd name="connsiteX3" fmla="*/ 0 w 128842"/>
                <a:gd name="connsiteY3" fmla="*/ 128843 h 1288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8842" h="128842">
                  <a:moveTo>
                    <a:pt x="0" y="0"/>
                  </a:moveTo>
                  <a:lnTo>
                    <a:pt x="128843" y="0"/>
                  </a:lnTo>
                  <a:lnTo>
                    <a:pt x="128843" y="128843"/>
                  </a:lnTo>
                  <a:lnTo>
                    <a:pt x="0" y="128843"/>
                  </a:ln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25" name="Gráfico 2">
            <a:extLst>
              <a:ext uri="{FF2B5EF4-FFF2-40B4-BE49-F238E27FC236}">
                <a16:creationId xmlns:a16="http://schemas.microsoft.com/office/drawing/2014/main" id="{473CE906-CFB6-CDEB-B22E-C5754A328A31}"/>
              </a:ext>
            </a:extLst>
          </p:cNvPr>
          <p:cNvGrpSpPr/>
          <p:nvPr/>
        </p:nvGrpSpPr>
        <p:grpSpPr>
          <a:xfrm>
            <a:off x="2180696" y="4227361"/>
            <a:ext cx="604495" cy="444005"/>
            <a:chOff x="2180696" y="4227361"/>
            <a:chExt cx="604495" cy="444005"/>
          </a:xfrm>
        </p:grpSpPr>
        <p:grpSp>
          <p:nvGrpSpPr>
            <p:cNvPr id="26" name="Gráfico 2">
              <a:extLst>
                <a:ext uri="{FF2B5EF4-FFF2-40B4-BE49-F238E27FC236}">
                  <a16:creationId xmlns:a16="http://schemas.microsoft.com/office/drawing/2014/main" id="{07C803A7-9958-2DBC-9030-A806BD22EFDC}"/>
                </a:ext>
              </a:extLst>
            </p:cNvPr>
            <p:cNvGrpSpPr/>
            <p:nvPr/>
          </p:nvGrpSpPr>
          <p:grpSpPr>
            <a:xfrm>
              <a:off x="2278571" y="4400731"/>
              <a:ext cx="408744" cy="227773"/>
              <a:chOff x="2278571" y="4400731"/>
              <a:chExt cx="408744" cy="227773"/>
            </a:xfrm>
            <a:noFill/>
          </p:grpSpPr>
          <p:sp>
            <p:nvSpPr>
              <p:cNvPr id="27" name="Forma livre: Forma 26">
                <a:extLst>
                  <a:ext uri="{FF2B5EF4-FFF2-40B4-BE49-F238E27FC236}">
                    <a16:creationId xmlns:a16="http://schemas.microsoft.com/office/drawing/2014/main" id="{F7E0A4DD-9349-4DBF-9FC8-32F7C110FD25}"/>
                  </a:ext>
                </a:extLst>
              </p:cNvPr>
              <p:cNvSpPr/>
              <p:nvPr/>
            </p:nvSpPr>
            <p:spPr>
              <a:xfrm>
                <a:off x="2278571" y="4400731"/>
                <a:ext cx="408744" cy="227773"/>
              </a:xfrm>
              <a:custGeom>
                <a:avLst/>
                <a:gdLst>
                  <a:gd name="connsiteX0" fmla="*/ 0 w 408744"/>
                  <a:gd name="connsiteY0" fmla="*/ 227774 h 227773"/>
                  <a:gd name="connsiteX1" fmla="*/ 0 w 408744"/>
                  <a:gd name="connsiteY1" fmla="*/ 175247 h 227773"/>
                  <a:gd name="connsiteX2" fmla="*/ 54803 w 408744"/>
                  <a:gd name="connsiteY2" fmla="*/ 166238 h 227773"/>
                  <a:gd name="connsiteX3" fmla="*/ 71459 w 408744"/>
                  <a:gd name="connsiteY3" fmla="*/ 125887 h 227773"/>
                  <a:gd name="connsiteX4" fmla="*/ 39272 w 408744"/>
                  <a:gd name="connsiteY4" fmla="*/ 80515 h 227773"/>
                  <a:gd name="connsiteX5" fmla="*/ 80491 w 408744"/>
                  <a:gd name="connsiteY5" fmla="*/ 39272 h 227773"/>
                  <a:gd name="connsiteX6" fmla="*/ 125863 w 408744"/>
                  <a:gd name="connsiteY6" fmla="*/ 71459 h 227773"/>
                  <a:gd name="connsiteX7" fmla="*/ 165886 w 408744"/>
                  <a:gd name="connsiteY7" fmla="*/ 54850 h 227773"/>
                  <a:gd name="connsiteX8" fmla="*/ 175223 w 408744"/>
                  <a:gd name="connsiteY8" fmla="*/ 0 h 227773"/>
                  <a:gd name="connsiteX9" fmla="*/ 233545 w 408744"/>
                  <a:gd name="connsiteY9" fmla="*/ 0 h 227773"/>
                  <a:gd name="connsiteX10" fmla="*/ 242859 w 408744"/>
                  <a:gd name="connsiteY10" fmla="*/ 54850 h 227773"/>
                  <a:gd name="connsiteX11" fmla="*/ 283163 w 408744"/>
                  <a:gd name="connsiteY11" fmla="*/ 71624 h 227773"/>
                  <a:gd name="connsiteX12" fmla="*/ 328253 w 408744"/>
                  <a:gd name="connsiteY12" fmla="*/ 39272 h 227773"/>
                  <a:gd name="connsiteX13" fmla="*/ 369496 w 408744"/>
                  <a:gd name="connsiteY13" fmla="*/ 80515 h 227773"/>
                  <a:gd name="connsiteX14" fmla="*/ 337145 w 408744"/>
                  <a:gd name="connsiteY14" fmla="*/ 125605 h 227773"/>
                  <a:gd name="connsiteX15" fmla="*/ 353895 w 408744"/>
                  <a:gd name="connsiteY15" fmla="*/ 165910 h 227773"/>
                  <a:gd name="connsiteX16" fmla="*/ 408745 w 408744"/>
                  <a:gd name="connsiteY16" fmla="*/ 175223 h 227773"/>
                  <a:gd name="connsiteX17" fmla="*/ 408745 w 408744"/>
                  <a:gd name="connsiteY17" fmla="*/ 227750 h 2277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408744" h="227773">
                    <a:moveTo>
                      <a:pt x="0" y="227774"/>
                    </a:moveTo>
                    <a:lnTo>
                      <a:pt x="0" y="175247"/>
                    </a:lnTo>
                    <a:lnTo>
                      <a:pt x="54803" y="166238"/>
                    </a:lnTo>
                    <a:cubicBezTo>
                      <a:pt x="58462" y="151880"/>
                      <a:pt x="64093" y="138344"/>
                      <a:pt x="71459" y="125887"/>
                    </a:cubicBezTo>
                    <a:lnTo>
                      <a:pt x="39272" y="80515"/>
                    </a:lnTo>
                    <a:lnTo>
                      <a:pt x="80491" y="39272"/>
                    </a:lnTo>
                    <a:lnTo>
                      <a:pt x="125863" y="71459"/>
                    </a:lnTo>
                    <a:cubicBezTo>
                      <a:pt x="138203" y="64140"/>
                      <a:pt x="151646" y="58533"/>
                      <a:pt x="165886" y="54850"/>
                    </a:cubicBezTo>
                    <a:lnTo>
                      <a:pt x="175223" y="0"/>
                    </a:lnTo>
                    <a:lnTo>
                      <a:pt x="233545" y="0"/>
                    </a:lnTo>
                    <a:lnTo>
                      <a:pt x="242859" y="54850"/>
                    </a:lnTo>
                    <a:cubicBezTo>
                      <a:pt x="257216" y="58533"/>
                      <a:pt x="270729" y="64234"/>
                      <a:pt x="283163" y="71624"/>
                    </a:cubicBezTo>
                    <a:lnTo>
                      <a:pt x="328253" y="39272"/>
                    </a:lnTo>
                    <a:lnTo>
                      <a:pt x="369496" y="80515"/>
                    </a:lnTo>
                    <a:lnTo>
                      <a:pt x="337145" y="125605"/>
                    </a:lnTo>
                    <a:cubicBezTo>
                      <a:pt x="344535" y="138015"/>
                      <a:pt x="350212" y="151552"/>
                      <a:pt x="353895" y="165910"/>
                    </a:cubicBezTo>
                    <a:lnTo>
                      <a:pt x="408745" y="175223"/>
                    </a:lnTo>
                    <a:lnTo>
                      <a:pt x="408745" y="22775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8" name="Forma livre: Forma 27">
                <a:extLst>
                  <a:ext uri="{FF2B5EF4-FFF2-40B4-BE49-F238E27FC236}">
                    <a16:creationId xmlns:a16="http://schemas.microsoft.com/office/drawing/2014/main" id="{E7E879D2-13F8-1B67-43FB-E62DE207CF3E}"/>
                  </a:ext>
                </a:extLst>
              </p:cNvPr>
              <p:cNvSpPr/>
              <p:nvPr/>
            </p:nvSpPr>
            <p:spPr>
              <a:xfrm>
                <a:off x="2383203" y="4553597"/>
                <a:ext cx="14334" cy="68409"/>
              </a:xfrm>
              <a:custGeom>
                <a:avLst/>
                <a:gdLst>
                  <a:gd name="connsiteX0" fmla="*/ 14334 w 14334"/>
                  <a:gd name="connsiteY0" fmla="*/ 0 h 68409"/>
                  <a:gd name="connsiteX1" fmla="*/ 0 w 14334"/>
                  <a:gd name="connsiteY1" fmla="*/ 51565 h 68409"/>
                  <a:gd name="connsiteX2" fmla="*/ 1431 w 14334"/>
                  <a:gd name="connsiteY2" fmla="*/ 68409 h 684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4334" h="68409">
                    <a:moveTo>
                      <a:pt x="14334" y="0"/>
                    </a:moveTo>
                    <a:cubicBezTo>
                      <a:pt x="5232" y="15038"/>
                      <a:pt x="0" y="32703"/>
                      <a:pt x="0" y="51565"/>
                    </a:cubicBezTo>
                    <a:cubicBezTo>
                      <a:pt x="0" y="57313"/>
                      <a:pt x="493" y="62943"/>
                      <a:pt x="1431" y="68409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9" name="Forma livre: Forma 28">
                <a:extLst>
                  <a:ext uri="{FF2B5EF4-FFF2-40B4-BE49-F238E27FC236}">
                    <a16:creationId xmlns:a16="http://schemas.microsoft.com/office/drawing/2014/main" id="{AD146C32-7538-785A-115A-A3E78CB3D54A}"/>
                  </a:ext>
                </a:extLst>
              </p:cNvPr>
              <p:cNvSpPr/>
              <p:nvPr/>
            </p:nvSpPr>
            <p:spPr>
              <a:xfrm>
                <a:off x="2432868" y="4505387"/>
                <a:ext cx="149862" cy="116877"/>
              </a:xfrm>
              <a:custGeom>
                <a:avLst/>
                <a:gdLst>
                  <a:gd name="connsiteX0" fmla="*/ 148408 w 149862"/>
                  <a:gd name="connsiteY0" fmla="*/ 116878 h 116877"/>
                  <a:gd name="connsiteX1" fmla="*/ 149863 w 149862"/>
                  <a:gd name="connsiteY1" fmla="*/ 99776 h 116877"/>
                  <a:gd name="connsiteX2" fmla="*/ 50111 w 149862"/>
                  <a:gd name="connsiteY2" fmla="*/ 0 h 116877"/>
                  <a:gd name="connsiteX3" fmla="*/ 0 w 149862"/>
                  <a:gd name="connsiteY3" fmla="*/ 13466 h 1168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49862" h="116877">
                    <a:moveTo>
                      <a:pt x="148408" y="116878"/>
                    </a:moveTo>
                    <a:cubicBezTo>
                      <a:pt x="149370" y="111318"/>
                      <a:pt x="149863" y="105594"/>
                      <a:pt x="149863" y="99776"/>
                    </a:cubicBezTo>
                    <a:cubicBezTo>
                      <a:pt x="149863" y="44668"/>
                      <a:pt x="105195" y="0"/>
                      <a:pt x="50111" y="0"/>
                    </a:cubicBezTo>
                    <a:cubicBezTo>
                      <a:pt x="31835" y="0"/>
                      <a:pt x="14733" y="4903"/>
                      <a:pt x="0" y="13466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30" name="Gráfico 2">
              <a:extLst>
                <a:ext uri="{FF2B5EF4-FFF2-40B4-BE49-F238E27FC236}">
                  <a16:creationId xmlns:a16="http://schemas.microsoft.com/office/drawing/2014/main" id="{D5E963FD-356B-0DCC-5F04-9E392F6C7A33}"/>
                </a:ext>
              </a:extLst>
            </p:cNvPr>
            <p:cNvGrpSpPr/>
            <p:nvPr/>
          </p:nvGrpSpPr>
          <p:grpSpPr>
            <a:xfrm>
              <a:off x="2180696" y="4227361"/>
              <a:ext cx="604495" cy="444005"/>
              <a:chOff x="2180696" y="4227361"/>
              <a:chExt cx="604495" cy="444005"/>
            </a:xfrm>
          </p:grpSpPr>
          <p:sp>
            <p:nvSpPr>
              <p:cNvPr id="31" name="Forma livre: Forma 30">
                <a:extLst>
                  <a:ext uri="{FF2B5EF4-FFF2-40B4-BE49-F238E27FC236}">
                    <a16:creationId xmlns:a16="http://schemas.microsoft.com/office/drawing/2014/main" id="{1B5BBFEB-910D-2957-03DC-C6486C719535}"/>
                  </a:ext>
                </a:extLst>
              </p:cNvPr>
              <p:cNvSpPr/>
              <p:nvPr/>
            </p:nvSpPr>
            <p:spPr>
              <a:xfrm>
                <a:off x="2223041" y="4338703"/>
                <a:ext cx="519828" cy="2346"/>
              </a:xfrm>
              <a:custGeom>
                <a:avLst/>
                <a:gdLst>
                  <a:gd name="connsiteX0" fmla="*/ 0 w 519828"/>
                  <a:gd name="connsiteY0" fmla="*/ 0 h 2346"/>
                  <a:gd name="connsiteX1" fmla="*/ 519828 w 519828"/>
                  <a:gd name="connsiteY1" fmla="*/ 0 h 2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19828" h="2346">
                    <a:moveTo>
                      <a:pt x="0" y="0"/>
                    </a:moveTo>
                    <a:lnTo>
                      <a:pt x="519828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32" name="Gráfico 2">
                <a:extLst>
                  <a:ext uri="{FF2B5EF4-FFF2-40B4-BE49-F238E27FC236}">
                    <a16:creationId xmlns:a16="http://schemas.microsoft.com/office/drawing/2014/main" id="{558AC640-A916-F268-77D9-B9C2E779C797}"/>
                  </a:ext>
                </a:extLst>
              </p:cNvPr>
              <p:cNvGrpSpPr/>
              <p:nvPr/>
            </p:nvGrpSpPr>
            <p:grpSpPr>
              <a:xfrm>
                <a:off x="2251475" y="4276510"/>
                <a:ext cx="154461" cy="14639"/>
                <a:chOff x="2251475" y="4276510"/>
                <a:chExt cx="154461" cy="14639"/>
              </a:xfrm>
              <a:solidFill>
                <a:srgbClr val="394553"/>
              </a:solidFill>
            </p:grpSpPr>
            <p:sp>
              <p:nvSpPr>
                <p:cNvPr id="33" name="Forma livre: Forma 32">
                  <a:extLst>
                    <a:ext uri="{FF2B5EF4-FFF2-40B4-BE49-F238E27FC236}">
                      <a16:creationId xmlns:a16="http://schemas.microsoft.com/office/drawing/2014/main" id="{44D36097-6F6B-FEA4-1A2B-F743A22B8746}"/>
                    </a:ext>
                  </a:extLst>
                </p:cNvPr>
                <p:cNvSpPr/>
                <p:nvPr/>
              </p:nvSpPr>
              <p:spPr>
                <a:xfrm>
                  <a:off x="2251475" y="4276510"/>
                  <a:ext cx="14615" cy="14639"/>
                </a:xfrm>
                <a:custGeom>
                  <a:avLst/>
                  <a:gdLst>
                    <a:gd name="connsiteX0" fmla="*/ 14616 w 14615"/>
                    <a:gd name="connsiteY0" fmla="*/ 7320 h 14639"/>
                    <a:gd name="connsiteX1" fmla="*/ 7320 w 14615"/>
                    <a:gd name="connsiteY1" fmla="*/ 14639 h 14639"/>
                    <a:gd name="connsiteX2" fmla="*/ 0 w 14615"/>
                    <a:gd name="connsiteY2" fmla="*/ 7320 h 14639"/>
                    <a:gd name="connsiteX3" fmla="*/ 7320 w 14615"/>
                    <a:gd name="connsiteY3" fmla="*/ 0 h 14639"/>
                    <a:gd name="connsiteX4" fmla="*/ 14616 w 14615"/>
                    <a:gd name="connsiteY4" fmla="*/ 7320 h 1463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4615" h="14639">
                      <a:moveTo>
                        <a:pt x="14616" y="7320"/>
                      </a:moveTo>
                      <a:cubicBezTo>
                        <a:pt x="14616" y="11378"/>
                        <a:pt x="11378" y="14639"/>
                        <a:pt x="7320" y="14639"/>
                      </a:cubicBezTo>
                      <a:cubicBezTo>
                        <a:pt x="3261" y="14639"/>
                        <a:pt x="0" y="11378"/>
                        <a:pt x="0" y="7320"/>
                      </a:cubicBezTo>
                      <a:cubicBezTo>
                        <a:pt x="0" y="3261"/>
                        <a:pt x="3284" y="0"/>
                        <a:pt x="7320" y="0"/>
                      </a:cubicBezTo>
                      <a:cubicBezTo>
                        <a:pt x="11355" y="0"/>
                        <a:pt x="14616" y="3261"/>
                        <a:pt x="14616" y="7320"/>
                      </a:cubicBezTo>
                      <a:close/>
                    </a:path>
                  </a:pathLst>
                </a:custGeom>
                <a:solidFill>
                  <a:srgbClr val="394553"/>
                </a:solidFill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34" name="Forma livre: Forma 33">
                  <a:extLst>
                    <a:ext uri="{FF2B5EF4-FFF2-40B4-BE49-F238E27FC236}">
                      <a16:creationId xmlns:a16="http://schemas.microsoft.com/office/drawing/2014/main" id="{A6DB00C8-395D-9E14-40F1-50EE505C7193}"/>
                    </a:ext>
                  </a:extLst>
                </p:cNvPr>
                <p:cNvSpPr/>
                <p:nvPr/>
              </p:nvSpPr>
              <p:spPr>
                <a:xfrm>
                  <a:off x="2321386" y="4276510"/>
                  <a:ext cx="14639" cy="14639"/>
                </a:xfrm>
                <a:custGeom>
                  <a:avLst/>
                  <a:gdLst>
                    <a:gd name="connsiteX0" fmla="*/ 14639 w 14639"/>
                    <a:gd name="connsiteY0" fmla="*/ 7319 h 14639"/>
                    <a:gd name="connsiteX1" fmla="*/ 7320 w 14639"/>
                    <a:gd name="connsiteY1" fmla="*/ 14639 h 14639"/>
                    <a:gd name="connsiteX2" fmla="*/ 0 w 14639"/>
                    <a:gd name="connsiteY2" fmla="*/ 7319 h 14639"/>
                    <a:gd name="connsiteX3" fmla="*/ 7320 w 14639"/>
                    <a:gd name="connsiteY3" fmla="*/ 0 h 14639"/>
                    <a:gd name="connsiteX4" fmla="*/ 14639 w 14639"/>
                    <a:gd name="connsiteY4" fmla="*/ 7319 h 1463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4639" h="14639">
                      <a:moveTo>
                        <a:pt x="14639" y="7319"/>
                      </a:moveTo>
                      <a:cubicBezTo>
                        <a:pt x="14639" y="11362"/>
                        <a:pt x="11362" y="14639"/>
                        <a:pt x="7320" y="14639"/>
                      </a:cubicBezTo>
                      <a:cubicBezTo>
                        <a:pt x="3277" y="14639"/>
                        <a:pt x="0" y="11362"/>
                        <a:pt x="0" y="7319"/>
                      </a:cubicBezTo>
                      <a:cubicBezTo>
                        <a:pt x="0" y="3277"/>
                        <a:pt x="3277" y="0"/>
                        <a:pt x="7320" y="0"/>
                      </a:cubicBezTo>
                      <a:cubicBezTo>
                        <a:pt x="11362" y="0"/>
                        <a:pt x="14639" y="3277"/>
                        <a:pt x="14639" y="7319"/>
                      </a:cubicBezTo>
                      <a:close/>
                    </a:path>
                  </a:pathLst>
                </a:custGeom>
                <a:solidFill>
                  <a:srgbClr val="394553"/>
                </a:solidFill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35" name="Forma livre: Forma 34">
                  <a:extLst>
                    <a:ext uri="{FF2B5EF4-FFF2-40B4-BE49-F238E27FC236}">
                      <a16:creationId xmlns:a16="http://schemas.microsoft.com/office/drawing/2014/main" id="{306DC565-4FE3-EC22-ADF3-64F4168D74FF}"/>
                    </a:ext>
                  </a:extLst>
                </p:cNvPr>
                <p:cNvSpPr/>
                <p:nvPr/>
              </p:nvSpPr>
              <p:spPr>
                <a:xfrm>
                  <a:off x="2391297" y="4276510"/>
                  <a:ext cx="14639" cy="14639"/>
                </a:xfrm>
                <a:custGeom>
                  <a:avLst/>
                  <a:gdLst>
                    <a:gd name="connsiteX0" fmla="*/ 14639 w 14639"/>
                    <a:gd name="connsiteY0" fmla="*/ 7319 h 14639"/>
                    <a:gd name="connsiteX1" fmla="*/ 7320 w 14639"/>
                    <a:gd name="connsiteY1" fmla="*/ 14639 h 14639"/>
                    <a:gd name="connsiteX2" fmla="*/ 0 w 14639"/>
                    <a:gd name="connsiteY2" fmla="*/ 7319 h 14639"/>
                    <a:gd name="connsiteX3" fmla="*/ 7320 w 14639"/>
                    <a:gd name="connsiteY3" fmla="*/ 0 h 14639"/>
                    <a:gd name="connsiteX4" fmla="*/ 14639 w 14639"/>
                    <a:gd name="connsiteY4" fmla="*/ 7319 h 1463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4639" h="14639">
                      <a:moveTo>
                        <a:pt x="14639" y="7319"/>
                      </a:moveTo>
                      <a:cubicBezTo>
                        <a:pt x="14639" y="11362"/>
                        <a:pt x="11362" y="14639"/>
                        <a:pt x="7320" y="14639"/>
                      </a:cubicBezTo>
                      <a:cubicBezTo>
                        <a:pt x="3277" y="14639"/>
                        <a:pt x="0" y="11362"/>
                        <a:pt x="0" y="7319"/>
                      </a:cubicBezTo>
                      <a:cubicBezTo>
                        <a:pt x="0" y="3277"/>
                        <a:pt x="3277" y="0"/>
                        <a:pt x="7320" y="0"/>
                      </a:cubicBezTo>
                      <a:cubicBezTo>
                        <a:pt x="11362" y="0"/>
                        <a:pt x="14639" y="3277"/>
                        <a:pt x="14639" y="7319"/>
                      </a:cubicBezTo>
                      <a:close/>
                    </a:path>
                  </a:pathLst>
                </a:custGeom>
                <a:solidFill>
                  <a:srgbClr val="394553"/>
                </a:solidFill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36" name="Forma livre: Forma 35">
                <a:extLst>
                  <a:ext uri="{FF2B5EF4-FFF2-40B4-BE49-F238E27FC236}">
                    <a16:creationId xmlns:a16="http://schemas.microsoft.com/office/drawing/2014/main" id="{188AE1CA-73E5-EB79-EDF0-70C10B5060FB}"/>
                  </a:ext>
                </a:extLst>
              </p:cNvPr>
              <p:cNvSpPr/>
              <p:nvPr/>
            </p:nvSpPr>
            <p:spPr>
              <a:xfrm>
                <a:off x="2180696" y="4227361"/>
                <a:ext cx="604495" cy="444005"/>
              </a:xfrm>
              <a:custGeom>
                <a:avLst/>
                <a:gdLst>
                  <a:gd name="connsiteX0" fmla="*/ 604496 w 604495"/>
                  <a:gd name="connsiteY0" fmla="*/ 410457 h 444005"/>
                  <a:gd name="connsiteX1" fmla="*/ 570948 w 604495"/>
                  <a:gd name="connsiteY1" fmla="*/ 444005 h 444005"/>
                  <a:gd name="connsiteX2" fmla="*/ 33548 w 604495"/>
                  <a:gd name="connsiteY2" fmla="*/ 444005 h 444005"/>
                  <a:gd name="connsiteX3" fmla="*/ 0 w 604495"/>
                  <a:gd name="connsiteY3" fmla="*/ 410457 h 444005"/>
                  <a:gd name="connsiteX4" fmla="*/ 0 w 604495"/>
                  <a:gd name="connsiteY4" fmla="*/ 33548 h 444005"/>
                  <a:gd name="connsiteX5" fmla="*/ 33548 w 604495"/>
                  <a:gd name="connsiteY5" fmla="*/ 0 h 444005"/>
                  <a:gd name="connsiteX6" fmla="*/ 570948 w 604495"/>
                  <a:gd name="connsiteY6" fmla="*/ 0 h 444005"/>
                  <a:gd name="connsiteX7" fmla="*/ 604496 w 604495"/>
                  <a:gd name="connsiteY7" fmla="*/ 33548 h 444005"/>
                  <a:gd name="connsiteX8" fmla="*/ 604496 w 604495"/>
                  <a:gd name="connsiteY8" fmla="*/ 410457 h 4440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604495" h="444005">
                    <a:moveTo>
                      <a:pt x="604496" y="410457"/>
                    </a:moveTo>
                    <a:cubicBezTo>
                      <a:pt x="604496" y="428897"/>
                      <a:pt x="589411" y="444005"/>
                      <a:pt x="570948" y="444005"/>
                    </a:cubicBezTo>
                    <a:lnTo>
                      <a:pt x="33548" y="444005"/>
                    </a:lnTo>
                    <a:cubicBezTo>
                      <a:pt x="15085" y="444005"/>
                      <a:pt x="0" y="428897"/>
                      <a:pt x="0" y="410457"/>
                    </a:cubicBezTo>
                    <a:lnTo>
                      <a:pt x="0" y="33548"/>
                    </a:lnTo>
                    <a:cubicBezTo>
                      <a:pt x="0" y="15108"/>
                      <a:pt x="15085" y="0"/>
                      <a:pt x="33548" y="0"/>
                    </a:cubicBezTo>
                    <a:lnTo>
                      <a:pt x="570948" y="0"/>
                    </a:lnTo>
                    <a:cubicBezTo>
                      <a:pt x="589387" y="0"/>
                      <a:pt x="604496" y="15085"/>
                      <a:pt x="604496" y="33548"/>
                    </a:cubicBezTo>
                    <a:lnTo>
                      <a:pt x="604496" y="410457"/>
                    </a:ln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37" name="Gráfico 2">
            <a:extLst>
              <a:ext uri="{FF2B5EF4-FFF2-40B4-BE49-F238E27FC236}">
                <a16:creationId xmlns:a16="http://schemas.microsoft.com/office/drawing/2014/main" id="{8D99F907-08D1-968D-BB26-E3C4021B2927}"/>
              </a:ext>
            </a:extLst>
          </p:cNvPr>
          <p:cNvGrpSpPr/>
          <p:nvPr/>
        </p:nvGrpSpPr>
        <p:grpSpPr>
          <a:xfrm>
            <a:off x="2183886" y="2054959"/>
            <a:ext cx="598114" cy="614724"/>
            <a:chOff x="2183886" y="2054959"/>
            <a:chExt cx="598114" cy="614724"/>
          </a:xfrm>
          <a:noFill/>
        </p:grpSpPr>
        <p:sp>
          <p:nvSpPr>
            <p:cNvPr id="38" name="Forma livre: Forma 37">
              <a:extLst>
                <a:ext uri="{FF2B5EF4-FFF2-40B4-BE49-F238E27FC236}">
                  <a16:creationId xmlns:a16="http://schemas.microsoft.com/office/drawing/2014/main" id="{97B57D36-E3C5-1831-BCDE-7A6ED55F9702}"/>
                </a:ext>
              </a:extLst>
            </p:cNvPr>
            <p:cNvSpPr/>
            <p:nvPr/>
          </p:nvSpPr>
          <p:spPr>
            <a:xfrm>
              <a:off x="2587306" y="2483082"/>
              <a:ext cx="125323" cy="97101"/>
            </a:xfrm>
            <a:custGeom>
              <a:avLst/>
              <a:gdLst>
                <a:gd name="connsiteX0" fmla="*/ 0 w 125323"/>
                <a:gd name="connsiteY0" fmla="*/ 36082 h 97101"/>
                <a:gd name="connsiteX1" fmla="*/ 44081 w 125323"/>
                <a:gd name="connsiteY1" fmla="*/ 97101 h 97101"/>
                <a:gd name="connsiteX2" fmla="*/ 125324 w 125323"/>
                <a:gd name="connsiteY2" fmla="*/ 0 h 971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5323" h="97101">
                  <a:moveTo>
                    <a:pt x="0" y="36082"/>
                  </a:moveTo>
                  <a:lnTo>
                    <a:pt x="44081" y="97101"/>
                  </a:lnTo>
                  <a:lnTo>
                    <a:pt x="125324" y="0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39" name="Gráfico 2">
              <a:extLst>
                <a:ext uri="{FF2B5EF4-FFF2-40B4-BE49-F238E27FC236}">
                  <a16:creationId xmlns:a16="http://schemas.microsoft.com/office/drawing/2014/main" id="{28D75154-2391-B1E7-A9F2-494E96E1D16D}"/>
                </a:ext>
              </a:extLst>
            </p:cNvPr>
            <p:cNvGrpSpPr/>
            <p:nvPr/>
          </p:nvGrpSpPr>
          <p:grpSpPr>
            <a:xfrm>
              <a:off x="2183886" y="2054959"/>
              <a:ext cx="559569" cy="559569"/>
              <a:chOff x="2183886" y="2054959"/>
              <a:chExt cx="559569" cy="559569"/>
            </a:xfrm>
            <a:noFill/>
          </p:grpSpPr>
          <p:grpSp>
            <p:nvGrpSpPr>
              <p:cNvPr id="40" name="Gráfico 2">
                <a:extLst>
                  <a:ext uri="{FF2B5EF4-FFF2-40B4-BE49-F238E27FC236}">
                    <a16:creationId xmlns:a16="http://schemas.microsoft.com/office/drawing/2014/main" id="{A2D08879-C9BD-9712-7300-CE1155150C48}"/>
                  </a:ext>
                </a:extLst>
              </p:cNvPr>
              <p:cNvGrpSpPr/>
              <p:nvPr/>
            </p:nvGrpSpPr>
            <p:grpSpPr>
              <a:xfrm>
                <a:off x="2183886" y="2054959"/>
                <a:ext cx="559569" cy="559569"/>
                <a:chOff x="2183886" y="2054959"/>
                <a:chExt cx="559569" cy="559569"/>
              </a:xfrm>
              <a:noFill/>
            </p:grpSpPr>
            <p:sp>
              <p:nvSpPr>
                <p:cNvPr id="41" name="Forma livre: Forma 40">
                  <a:extLst>
                    <a:ext uri="{FF2B5EF4-FFF2-40B4-BE49-F238E27FC236}">
                      <a16:creationId xmlns:a16="http://schemas.microsoft.com/office/drawing/2014/main" id="{056ECCA3-C660-5FFD-58B4-B153C29C6584}"/>
                    </a:ext>
                  </a:extLst>
                </p:cNvPr>
                <p:cNvSpPr/>
                <p:nvPr/>
              </p:nvSpPr>
              <p:spPr>
                <a:xfrm>
                  <a:off x="2418792" y="2054959"/>
                  <a:ext cx="324663" cy="319690"/>
                </a:xfrm>
                <a:custGeom>
                  <a:avLst/>
                  <a:gdLst>
                    <a:gd name="connsiteX0" fmla="*/ 324664 w 324663"/>
                    <a:gd name="connsiteY0" fmla="*/ 319690 h 319690"/>
                    <a:gd name="connsiteX1" fmla="*/ 324664 w 324663"/>
                    <a:gd name="connsiteY1" fmla="*/ 239856 h 319690"/>
                    <a:gd name="connsiteX2" fmla="*/ 249709 w 324663"/>
                    <a:gd name="connsiteY2" fmla="*/ 227563 h 319690"/>
                    <a:gd name="connsiteX3" fmla="*/ 226906 w 324663"/>
                    <a:gd name="connsiteY3" fmla="*/ 172291 h 319690"/>
                    <a:gd name="connsiteX4" fmla="*/ 270940 w 324663"/>
                    <a:gd name="connsiteY4" fmla="*/ 110192 h 319690"/>
                    <a:gd name="connsiteX5" fmla="*/ 214495 w 324663"/>
                    <a:gd name="connsiteY5" fmla="*/ 53747 h 319690"/>
                    <a:gd name="connsiteX6" fmla="*/ 152373 w 324663"/>
                    <a:gd name="connsiteY6" fmla="*/ 97805 h 319690"/>
                    <a:gd name="connsiteX7" fmla="*/ 97125 w 324663"/>
                    <a:gd name="connsiteY7" fmla="*/ 75002 h 319690"/>
                    <a:gd name="connsiteX8" fmla="*/ 84785 w 324663"/>
                    <a:gd name="connsiteY8" fmla="*/ 0 h 319690"/>
                    <a:gd name="connsiteX9" fmla="*/ 4950 w 324663"/>
                    <a:gd name="connsiteY9" fmla="*/ 0 h 319690"/>
                    <a:gd name="connsiteX10" fmla="*/ 0 w 324663"/>
                    <a:gd name="connsiteY10" fmla="*/ 33454 h 3196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324663" h="319690">
                      <a:moveTo>
                        <a:pt x="324664" y="319690"/>
                      </a:moveTo>
                      <a:lnTo>
                        <a:pt x="324664" y="239856"/>
                      </a:lnTo>
                      <a:lnTo>
                        <a:pt x="249709" y="227563"/>
                      </a:lnTo>
                      <a:cubicBezTo>
                        <a:pt x="244712" y="207903"/>
                        <a:pt x="237017" y="189346"/>
                        <a:pt x="226906" y="172291"/>
                      </a:cubicBezTo>
                      <a:lnTo>
                        <a:pt x="270940" y="110192"/>
                      </a:lnTo>
                      <a:lnTo>
                        <a:pt x="214495" y="53747"/>
                      </a:lnTo>
                      <a:lnTo>
                        <a:pt x="152373" y="97805"/>
                      </a:lnTo>
                      <a:cubicBezTo>
                        <a:pt x="135341" y="87717"/>
                        <a:pt x="116808" y="79999"/>
                        <a:pt x="97125" y="75002"/>
                      </a:cubicBezTo>
                      <a:lnTo>
                        <a:pt x="84785" y="0"/>
                      </a:lnTo>
                      <a:lnTo>
                        <a:pt x="4950" y="0"/>
                      </a:lnTo>
                      <a:lnTo>
                        <a:pt x="0" y="33454"/>
                      </a:ln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42" name="Forma livre: Forma 41">
                  <a:extLst>
                    <a:ext uri="{FF2B5EF4-FFF2-40B4-BE49-F238E27FC236}">
                      <a16:creationId xmlns:a16="http://schemas.microsoft.com/office/drawing/2014/main" id="{4D1333A2-1937-0575-4F37-E1ED2832B33B}"/>
                    </a:ext>
                  </a:extLst>
                </p:cNvPr>
                <p:cNvSpPr/>
                <p:nvPr/>
              </p:nvSpPr>
              <p:spPr>
                <a:xfrm>
                  <a:off x="2183886" y="2227250"/>
                  <a:ext cx="292922" cy="387278"/>
                </a:xfrm>
                <a:custGeom>
                  <a:avLst/>
                  <a:gdLst>
                    <a:gd name="connsiteX0" fmla="*/ 97782 w 292922"/>
                    <a:gd name="connsiteY0" fmla="*/ 0 h 387278"/>
                    <a:gd name="connsiteX1" fmla="*/ 75096 w 292922"/>
                    <a:gd name="connsiteY1" fmla="*/ 54826 h 387278"/>
                    <a:gd name="connsiteX2" fmla="*/ 0 w 292922"/>
                    <a:gd name="connsiteY2" fmla="*/ 67565 h 387278"/>
                    <a:gd name="connsiteX3" fmla="*/ 0 w 292922"/>
                    <a:gd name="connsiteY3" fmla="*/ 147400 h 387278"/>
                    <a:gd name="connsiteX4" fmla="*/ 75096 w 292922"/>
                    <a:gd name="connsiteY4" fmla="*/ 160185 h 387278"/>
                    <a:gd name="connsiteX5" fmla="*/ 98040 w 292922"/>
                    <a:gd name="connsiteY5" fmla="*/ 215363 h 387278"/>
                    <a:gd name="connsiteX6" fmla="*/ 53724 w 292922"/>
                    <a:gd name="connsiteY6" fmla="*/ 277110 h 387278"/>
                    <a:gd name="connsiteX7" fmla="*/ 110169 w 292922"/>
                    <a:gd name="connsiteY7" fmla="*/ 333555 h 387278"/>
                    <a:gd name="connsiteX8" fmla="*/ 171915 w 292922"/>
                    <a:gd name="connsiteY8" fmla="*/ 289239 h 387278"/>
                    <a:gd name="connsiteX9" fmla="*/ 227094 w 292922"/>
                    <a:gd name="connsiteY9" fmla="*/ 312160 h 387278"/>
                    <a:gd name="connsiteX10" fmla="*/ 239856 w 292922"/>
                    <a:gd name="connsiteY10" fmla="*/ 387279 h 387278"/>
                    <a:gd name="connsiteX11" fmla="*/ 292923 w 292922"/>
                    <a:gd name="connsiteY11" fmla="*/ 387279 h 3872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</a:cxnLst>
                  <a:rect l="l" t="t" r="r" b="b"/>
                  <a:pathLst>
                    <a:path w="292922" h="387278">
                      <a:moveTo>
                        <a:pt x="97782" y="0"/>
                      </a:moveTo>
                      <a:cubicBezTo>
                        <a:pt x="87764" y="16891"/>
                        <a:pt x="80093" y="35307"/>
                        <a:pt x="75096" y="54826"/>
                      </a:cubicBezTo>
                      <a:lnTo>
                        <a:pt x="0" y="67565"/>
                      </a:lnTo>
                      <a:lnTo>
                        <a:pt x="0" y="147400"/>
                      </a:lnTo>
                      <a:lnTo>
                        <a:pt x="75096" y="160185"/>
                      </a:lnTo>
                      <a:cubicBezTo>
                        <a:pt x="80140" y="179845"/>
                        <a:pt x="87881" y="198355"/>
                        <a:pt x="98040" y="215363"/>
                      </a:cubicBezTo>
                      <a:lnTo>
                        <a:pt x="53724" y="277110"/>
                      </a:lnTo>
                      <a:lnTo>
                        <a:pt x="110169" y="333555"/>
                      </a:lnTo>
                      <a:lnTo>
                        <a:pt x="171915" y="289239"/>
                      </a:lnTo>
                      <a:cubicBezTo>
                        <a:pt x="188924" y="299350"/>
                        <a:pt x="207434" y="307116"/>
                        <a:pt x="227094" y="312160"/>
                      </a:cubicBezTo>
                      <a:lnTo>
                        <a:pt x="239856" y="387279"/>
                      </a:lnTo>
                      <a:lnTo>
                        <a:pt x="292923" y="387279"/>
                      </a:ln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43" name="Forma livre: Forma 42">
                  <a:extLst>
                    <a:ext uri="{FF2B5EF4-FFF2-40B4-BE49-F238E27FC236}">
                      <a16:creationId xmlns:a16="http://schemas.microsoft.com/office/drawing/2014/main" id="{0178F866-C69A-76B4-0258-BB8F8B79AA19}"/>
                    </a:ext>
                  </a:extLst>
                </p:cNvPr>
                <p:cNvSpPr/>
                <p:nvPr/>
              </p:nvSpPr>
              <p:spPr>
                <a:xfrm>
                  <a:off x="2237633" y="2108683"/>
                  <a:ext cx="173792" cy="82978"/>
                </a:xfrm>
                <a:custGeom>
                  <a:avLst/>
                  <a:gdLst>
                    <a:gd name="connsiteX0" fmla="*/ 173792 w 173792"/>
                    <a:gd name="connsiteY0" fmla="*/ 21278 h 82978"/>
                    <a:gd name="connsiteX1" fmla="*/ 118567 w 173792"/>
                    <a:gd name="connsiteY1" fmla="*/ 44058 h 82978"/>
                    <a:gd name="connsiteX2" fmla="*/ 56445 w 173792"/>
                    <a:gd name="connsiteY2" fmla="*/ 0 h 82978"/>
                    <a:gd name="connsiteX3" fmla="*/ 0 w 173792"/>
                    <a:gd name="connsiteY3" fmla="*/ 56422 h 82978"/>
                    <a:gd name="connsiteX4" fmla="*/ 19003 w 173792"/>
                    <a:gd name="connsiteY4" fmla="*/ 82978 h 829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73792" h="82978">
                      <a:moveTo>
                        <a:pt x="173792" y="21278"/>
                      </a:moveTo>
                      <a:cubicBezTo>
                        <a:pt x="154133" y="26252"/>
                        <a:pt x="135599" y="33970"/>
                        <a:pt x="118567" y="44058"/>
                      </a:cubicBezTo>
                      <a:lnTo>
                        <a:pt x="56445" y="0"/>
                      </a:lnTo>
                      <a:lnTo>
                        <a:pt x="0" y="56422"/>
                      </a:lnTo>
                      <a:lnTo>
                        <a:pt x="19003" y="82978"/>
                      </a:ln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44" name="Forma livre: Forma 43">
                <a:extLst>
                  <a:ext uri="{FF2B5EF4-FFF2-40B4-BE49-F238E27FC236}">
                    <a16:creationId xmlns:a16="http://schemas.microsoft.com/office/drawing/2014/main" id="{86521D05-6B11-9FAA-9F89-C29F4D1D8B34}"/>
                  </a:ext>
                </a:extLst>
              </p:cNvPr>
              <p:cNvSpPr/>
              <p:nvPr/>
            </p:nvSpPr>
            <p:spPr>
              <a:xfrm>
                <a:off x="2391132" y="2262182"/>
                <a:ext cx="145100" cy="145123"/>
              </a:xfrm>
              <a:custGeom>
                <a:avLst/>
                <a:gdLst>
                  <a:gd name="connsiteX0" fmla="*/ 48398 w 145100"/>
                  <a:gd name="connsiteY0" fmla="*/ 4106 h 145123"/>
                  <a:gd name="connsiteX1" fmla="*/ 72538 w 145100"/>
                  <a:gd name="connsiteY1" fmla="*/ 0 h 145123"/>
                  <a:gd name="connsiteX2" fmla="*/ 145100 w 145100"/>
                  <a:gd name="connsiteY2" fmla="*/ 72562 h 145123"/>
                  <a:gd name="connsiteX3" fmla="*/ 72538 w 145100"/>
                  <a:gd name="connsiteY3" fmla="*/ 145124 h 145123"/>
                  <a:gd name="connsiteX4" fmla="*/ 0 w 145100"/>
                  <a:gd name="connsiteY4" fmla="*/ 72562 h 145123"/>
                  <a:gd name="connsiteX5" fmla="*/ 8962 w 145100"/>
                  <a:gd name="connsiteY5" fmla="*/ 37583 h 1451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45100" h="145123">
                    <a:moveTo>
                      <a:pt x="48398" y="4106"/>
                    </a:moveTo>
                    <a:cubicBezTo>
                      <a:pt x="55952" y="1455"/>
                      <a:pt x="64069" y="0"/>
                      <a:pt x="72538" y="0"/>
                    </a:cubicBezTo>
                    <a:cubicBezTo>
                      <a:pt x="112608" y="0"/>
                      <a:pt x="145100" y="32492"/>
                      <a:pt x="145100" y="72562"/>
                    </a:cubicBezTo>
                    <a:cubicBezTo>
                      <a:pt x="145100" y="112632"/>
                      <a:pt x="112632" y="145124"/>
                      <a:pt x="72538" y="145124"/>
                    </a:cubicBezTo>
                    <a:cubicBezTo>
                      <a:pt x="32445" y="145124"/>
                      <a:pt x="0" y="112632"/>
                      <a:pt x="0" y="72562"/>
                    </a:cubicBezTo>
                    <a:cubicBezTo>
                      <a:pt x="0" y="59893"/>
                      <a:pt x="3261" y="47976"/>
                      <a:pt x="8962" y="37583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45" name="Forma livre: Forma 44">
              <a:extLst>
                <a:ext uri="{FF2B5EF4-FFF2-40B4-BE49-F238E27FC236}">
                  <a16:creationId xmlns:a16="http://schemas.microsoft.com/office/drawing/2014/main" id="{F048288D-A955-8756-A849-DDEA99BCFB5C}"/>
                </a:ext>
              </a:extLst>
            </p:cNvPr>
            <p:cNvSpPr/>
            <p:nvPr/>
          </p:nvSpPr>
          <p:spPr>
            <a:xfrm>
              <a:off x="2509559" y="2397242"/>
              <a:ext cx="272441" cy="272441"/>
            </a:xfrm>
            <a:custGeom>
              <a:avLst/>
              <a:gdLst>
                <a:gd name="connsiteX0" fmla="*/ 272442 w 272441"/>
                <a:gd name="connsiteY0" fmla="*/ 136209 h 272441"/>
                <a:gd name="connsiteX1" fmla="*/ 136209 w 272441"/>
                <a:gd name="connsiteY1" fmla="*/ 272442 h 272441"/>
                <a:gd name="connsiteX2" fmla="*/ 0 w 272441"/>
                <a:gd name="connsiteY2" fmla="*/ 136209 h 272441"/>
                <a:gd name="connsiteX3" fmla="*/ 136209 w 272441"/>
                <a:gd name="connsiteY3" fmla="*/ 0 h 272441"/>
                <a:gd name="connsiteX4" fmla="*/ 272442 w 272441"/>
                <a:gd name="connsiteY4" fmla="*/ 136209 h 2724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72441" h="272441">
                  <a:moveTo>
                    <a:pt x="272442" y="136209"/>
                  </a:moveTo>
                  <a:cubicBezTo>
                    <a:pt x="272442" y="211446"/>
                    <a:pt x="211446" y="272442"/>
                    <a:pt x="136209" y="272442"/>
                  </a:cubicBezTo>
                  <a:cubicBezTo>
                    <a:pt x="60973" y="272442"/>
                    <a:pt x="0" y="211446"/>
                    <a:pt x="0" y="136209"/>
                  </a:cubicBezTo>
                  <a:cubicBezTo>
                    <a:pt x="0" y="60973"/>
                    <a:pt x="60996" y="0"/>
                    <a:pt x="136209" y="0"/>
                  </a:cubicBezTo>
                  <a:cubicBezTo>
                    <a:pt x="211422" y="0"/>
                    <a:pt x="272442" y="60996"/>
                    <a:pt x="272442" y="136209"/>
                  </a:cubicBez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46" name="Gráfico 2">
            <a:extLst>
              <a:ext uri="{FF2B5EF4-FFF2-40B4-BE49-F238E27FC236}">
                <a16:creationId xmlns:a16="http://schemas.microsoft.com/office/drawing/2014/main" id="{224CBC3B-E456-BF33-ECC7-2653094B86C4}"/>
              </a:ext>
            </a:extLst>
          </p:cNvPr>
          <p:cNvGrpSpPr/>
          <p:nvPr/>
        </p:nvGrpSpPr>
        <p:grpSpPr>
          <a:xfrm>
            <a:off x="2194631" y="3117512"/>
            <a:ext cx="576601" cy="576648"/>
            <a:chOff x="2194631" y="3117512"/>
            <a:chExt cx="576601" cy="576648"/>
          </a:xfrm>
          <a:noFill/>
        </p:grpSpPr>
        <p:grpSp>
          <p:nvGrpSpPr>
            <p:cNvPr id="47" name="Gráfico 2">
              <a:extLst>
                <a:ext uri="{FF2B5EF4-FFF2-40B4-BE49-F238E27FC236}">
                  <a16:creationId xmlns:a16="http://schemas.microsoft.com/office/drawing/2014/main" id="{3321F580-C01D-C4E9-F54E-4E6A81711E53}"/>
                </a:ext>
              </a:extLst>
            </p:cNvPr>
            <p:cNvGrpSpPr/>
            <p:nvPr/>
          </p:nvGrpSpPr>
          <p:grpSpPr>
            <a:xfrm>
              <a:off x="2194631" y="3117512"/>
              <a:ext cx="576601" cy="576648"/>
              <a:chOff x="2194631" y="3117512"/>
              <a:chExt cx="576601" cy="576648"/>
            </a:xfrm>
            <a:noFill/>
          </p:grpSpPr>
          <p:grpSp>
            <p:nvGrpSpPr>
              <p:cNvPr id="48" name="Gráfico 2">
                <a:extLst>
                  <a:ext uri="{FF2B5EF4-FFF2-40B4-BE49-F238E27FC236}">
                    <a16:creationId xmlns:a16="http://schemas.microsoft.com/office/drawing/2014/main" id="{3B11C0DB-6437-60A6-728B-C5A5A3538851}"/>
                  </a:ext>
                </a:extLst>
              </p:cNvPr>
              <p:cNvGrpSpPr/>
              <p:nvPr/>
            </p:nvGrpSpPr>
            <p:grpSpPr>
              <a:xfrm>
                <a:off x="2194631" y="3117512"/>
                <a:ext cx="576601" cy="576648"/>
                <a:chOff x="2194631" y="3117512"/>
                <a:chExt cx="576601" cy="576648"/>
              </a:xfrm>
              <a:noFill/>
            </p:grpSpPr>
            <p:sp>
              <p:nvSpPr>
                <p:cNvPr id="49" name="Forma livre: Forma 48">
                  <a:extLst>
                    <a:ext uri="{FF2B5EF4-FFF2-40B4-BE49-F238E27FC236}">
                      <a16:creationId xmlns:a16="http://schemas.microsoft.com/office/drawing/2014/main" id="{22B1AD27-3FAE-4820-F737-6FCDED1F24ED}"/>
                    </a:ext>
                  </a:extLst>
                </p:cNvPr>
                <p:cNvSpPr/>
                <p:nvPr/>
              </p:nvSpPr>
              <p:spPr>
                <a:xfrm>
                  <a:off x="2194631" y="3117512"/>
                  <a:ext cx="576601" cy="576648"/>
                </a:xfrm>
                <a:custGeom>
                  <a:avLst/>
                  <a:gdLst>
                    <a:gd name="connsiteX0" fmla="*/ 100761 w 576601"/>
                    <a:gd name="connsiteY0" fmla="*/ 177546 h 576648"/>
                    <a:gd name="connsiteX1" fmla="*/ 77371 w 576601"/>
                    <a:gd name="connsiteY1" fmla="*/ 234038 h 576648"/>
                    <a:gd name="connsiteX2" fmla="*/ 0 w 576601"/>
                    <a:gd name="connsiteY2" fmla="*/ 247175 h 576648"/>
                    <a:gd name="connsiteX3" fmla="*/ 0 w 576601"/>
                    <a:gd name="connsiteY3" fmla="*/ 329450 h 576648"/>
                    <a:gd name="connsiteX4" fmla="*/ 77371 w 576601"/>
                    <a:gd name="connsiteY4" fmla="*/ 342611 h 576648"/>
                    <a:gd name="connsiteX5" fmla="*/ 101019 w 576601"/>
                    <a:gd name="connsiteY5" fmla="*/ 399478 h 576648"/>
                    <a:gd name="connsiteX6" fmla="*/ 55342 w 576601"/>
                    <a:gd name="connsiteY6" fmla="*/ 463102 h 576648"/>
                    <a:gd name="connsiteX7" fmla="*/ 113523 w 576601"/>
                    <a:gd name="connsiteY7" fmla="*/ 521259 h 576648"/>
                    <a:gd name="connsiteX8" fmla="*/ 177147 w 576601"/>
                    <a:gd name="connsiteY8" fmla="*/ 475606 h 576648"/>
                    <a:gd name="connsiteX9" fmla="*/ 234014 w 576601"/>
                    <a:gd name="connsiteY9" fmla="*/ 499230 h 576648"/>
                    <a:gd name="connsiteX10" fmla="*/ 247152 w 576601"/>
                    <a:gd name="connsiteY10" fmla="*/ 576648 h 576648"/>
                    <a:gd name="connsiteX11" fmla="*/ 329426 w 576601"/>
                    <a:gd name="connsiteY11" fmla="*/ 576648 h 576648"/>
                    <a:gd name="connsiteX12" fmla="*/ 342611 w 576601"/>
                    <a:gd name="connsiteY12" fmla="*/ 499254 h 576648"/>
                    <a:gd name="connsiteX13" fmla="*/ 399478 w 576601"/>
                    <a:gd name="connsiteY13" fmla="*/ 475630 h 576648"/>
                    <a:gd name="connsiteX14" fmla="*/ 463078 w 576601"/>
                    <a:gd name="connsiteY14" fmla="*/ 521283 h 576648"/>
                    <a:gd name="connsiteX15" fmla="*/ 521236 w 576601"/>
                    <a:gd name="connsiteY15" fmla="*/ 463125 h 576648"/>
                    <a:gd name="connsiteX16" fmla="*/ 475583 w 576601"/>
                    <a:gd name="connsiteY16" fmla="*/ 399525 h 576648"/>
                    <a:gd name="connsiteX17" fmla="*/ 499347 w 576601"/>
                    <a:gd name="connsiteY17" fmla="*/ 342165 h 576648"/>
                    <a:gd name="connsiteX18" fmla="*/ 576602 w 576601"/>
                    <a:gd name="connsiteY18" fmla="*/ 329473 h 576648"/>
                    <a:gd name="connsiteX19" fmla="*/ 576602 w 576601"/>
                    <a:gd name="connsiteY19" fmla="*/ 247199 h 576648"/>
                    <a:gd name="connsiteX20" fmla="*/ 499347 w 576601"/>
                    <a:gd name="connsiteY20" fmla="*/ 234530 h 576648"/>
                    <a:gd name="connsiteX21" fmla="*/ 475864 w 576601"/>
                    <a:gd name="connsiteY21" fmla="*/ 177569 h 576648"/>
                    <a:gd name="connsiteX22" fmla="*/ 521259 w 576601"/>
                    <a:gd name="connsiteY22" fmla="*/ 113570 h 576648"/>
                    <a:gd name="connsiteX23" fmla="*/ 463102 w 576601"/>
                    <a:gd name="connsiteY23" fmla="*/ 55389 h 576648"/>
                    <a:gd name="connsiteX24" fmla="*/ 399079 w 576601"/>
                    <a:gd name="connsiteY24" fmla="*/ 100808 h 576648"/>
                    <a:gd name="connsiteX25" fmla="*/ 342142 w 576601"/>
                    <a:gd name="connsiteY25" fmla="*/ 77301 h 576648"/>
                    <a:gd name="connsiteX26" fmla="*/ 329426 w 576601"/>
                    <a:gd name="connsiteY26" fmla="*/ 0 h 576648"/>
                    <a:gd name="connsiteX27" fmla="*/ 247152 w 576601"/>
                    <a:gd name="connsiteY27" fmla="*/ 0 h 576648"/>
                    <a:gd name="connsiteX28" fmla="*/ 242061 w 576601"/>
                    <a:gd name="connsiteY28" fmla="*/ 34486 h 5766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</a:cxnLst>
                  <a:rect l="l" t="t" r="r" b="b"/>
                  <a:pathLst>
                    <a:path w="576601" h="576648">
                      <a:moveTo>
                        <a:pt x="100761" y="177546"/>
                      </a:moveTo>
                      <a:cubicBezTo>
                        <a:pt x="90439" y="194977"/>
                        <a:pt x="82533" y="213932"/>
                        <a:pt x="77371" y="234038"/>
                      </a:cubicBezTo>
                      <a:lnTo>
                        <a:pt x="0" y="247175"/>
                      </a:lnTo>
                      <a:lnTo>
                        <a:pt x="0" y="329450"/>
                      </a:lnTo>
                      <a:lnTo>
                        <a:pt x="77371" y="342611"/>
                      </a:lnTo>
                      <a:cubicBezTo>
                        <a:pt x="82556" y="362880"/>
                        <a:pt x="90556" y="381953"/>
                        <a:pt x="101019" y="399478"/>
                      </a:cubicBezTo>
                      <a:lnTo>
                        <a:pt x="55342" y="463102"/>
                      </a:lnTo>
                      <a:lnTo>
                        <a:pt x="113523" y="521259"/>
                      </a:lnTo>
                      <a:lnTo>
                        <a:pt x="177147" y="475606"/>
                      </a:lnTo>
                      <a:cubicBezTo>
                        <a:pt x="194672" y="486046"/>
                        <a:pt x="213768" y="494046"/>
                        <a:pt x="234014" y="499230"/>
                      </a:cubicBezTo>
                      <a:lnTo>
                        <a:pt x="247152" y="576648"/>
                      </a:lnTo>
                      <a:lnTo>
                        <a:pt x="329426" y="576648"/>
                      </a:lnTo>
                      <a:lnTo>
                        <a:pt x="342611" y="499254"/>
                      </a:lnTo>
                      <a:cubicBezTo>
                        <a:pt x="362857" y="494046"/>
                        <a:pt x="381953" y="486046"/>
                        <a:pt x="399478" y="475630"/>
                      </a:cubicBezTo>
                      <a:lnTo>
                        <a:pt x="463078" y="521283"/>
                      </a:lnTo>
                      <a:lnTo>
                        <a:pt x="521236" y="463125"/>
                      </a:lnTo>
                      <a:lnTo>
                        <a:pt x="475583" y="399525"/>
                      </a:lnTo>
                      <a:cubicBezTo>
                        <a:pt x="486093" y="381813"/>
                        <a:pt x="494116" y="362575"/>
                        <a:pt x="499347" y="342165"/>
                      </a:cubicBezTo>
                      <a:lnTo>
                        <a:pt x="576602" y="329473"/>
                      </a:lnTo>
                      <a:lnTo>
                        <a:pt x="576602" y="247199"/>
                      </a:lnTo>
                      <a:lnTo>
                        <a:pt x="499347" y="234530"/>
                      </a:lnTo>
                      <a:cubicBezTo>
                        <a:pt x="494210" y="214261"/>
                        <a:pt x="486257" y="195141"/>
                        <a:pt x="475864" y="177569"/>
                      </a:cubicBezTo>
                      <a:lnTo>
                        <a:pt x="521259" y="113570"/>
                      </a:lnTo>
                      <a:lnTo>
                        <a:pt x="463102" y="55389"/>
                      </a:lnTo>
                      <a:lnTo>
                        <a:pt x="399079" y="100808"/>
                      </a:lnTo>
                      <a:cubicBezTo>
                        <a:pt x="381531" y="90415"/>
                        <a:pt x="362411" y="82462"/>
                        <a:pt x="342142" y="77301"/>
                      </a:cubicBezTo>
                      <a:lnTo>
                        <a:pt x="329426" y="0"/>
                      </a:lnTo>
                      <a:lnTo>
                        <a:pt x="247152" y="0"/>
                      </a:lnTo>
                      <a:lnTo>
                        <a:pt x="242061" y="34486"/>
                      </a:ln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50" name="Forma livre: Forma 49">
                  <a:extLst>
                    <a:ext uri="{FF2B5EF4-FFF2-40B4-BE49-F238E27FC236}">
                      <a16:creationId xmlns:a16="http://schemas.microsoft.com/office/drawing/2014/main" id="{B903D8FD-32F0-8ECF-F2D2-F93DFEC8B454}"/>
                    </a:ext>
                  </a:extLst>
                </p:cNvPr>
                <p:cNvSpPr/>
                <p:nvPr/>
              </p:nvSpPr>
              <p:spPr>
                <a:xfrm>
                  <a:off x="2249973" y="3172878"/>
                  <a:ext cx="179117" cy="85511"/>
                </a:xfrm>
                <a:custGeom>
                  <a:avLst/>
                  <a:gdLst>
                    <a:gd name="connsiteX0" fmla="*/ 179118 w 179117"/>
                    <a:gd name="connsiteY0" fmla="*/ 21935 h 85511"/>
                    <a:gd name="connsiteX1" fmla="*/ 122203 w 179117"/>
                    <a:gd name="connsiteY1" fmla="*/ 45419 h 85511"/>
                    <a:gd name="connsiteX2" fmla="*/ 58181 w 179117"/>
                    <a:gd name="connsiteY2" fmla="*/ 0 h 85511"/>
                    <a:gd name="connsiteX3" fmla="*/ 0 w 179117"/>
                    <a:gd name="connsiteY3" fmla="*/ 58157 h 85511"/>
                    <a:gd name="connsiteX4" fmla="*/ 19589 w 179117"/>
                    <a:gd name="connsiteY4" fmla="*/ 85512 h 8551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79117" h="85511">
                      <a:moveTo>
                        <a:pt x="179118" y="21935"/>
                      </a:moveTo>
                      <a:cubicBezTo>
                        <a:pt x="158872" y="27073"/>
                        <a:pt x="139752" y="35002"/>
                        <a:pt x="122203" y="45419"/>
                      </a:cubicBezTo>
                      <a:lnTo>
                        <a:pt x="58181" y="0"/>
                      </a:lnTo>
                      <a:lnTo>
                        <a:pt x="0" y="58157"/>
                      </a:lnTo>
                      <a:lnTo>
                        <a:pt x="19589" y="85512"/>
                      </a:ln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51" name="Forma livre: Forma 50">
                <a:extLst>
                  <a:ext uri="{FF2B5EF4-FFF2-40B4-BE49-F238E27FC236}">
                    <a16:creationId xmlns:a16="http://schemas.microsoft.com/office/drawing/2014/main" id="{B46B009D-7A7B-3810-3BB3-3BC11474F4E3}"/>
                  </a:ext>
                </a:extLst>
              </p:cNvPr>
              <p:cNvSpPr/>
              <p:nvPr/>
            </p:nvSpPr>
            <p:spPr>
              <a:xfrm>
                <a:off x="2324952" y="3247880"/>
                <a:ext cx="315960" cy="315936"/>
              </a:xfrm>
              <a:custGeom>
                <a:avLst/>
                <a:gdLst>
                  <a:gd name="connsiteX0" fmla="*/ 82908 w 315960"/>
                  <a:gd name="connsiteY0" fmla="*/ 18932 h 315936"/>
                  <a:gd name="connsiteX1" fmla="*/ 157980 w 315960"/>
                  <a:gd name="connsiteY1" fmla="*/ 0 h 315936"/>
                  <a:gd name="connsiteX2" fmla="*/ 315960 w 315960"/>
                  <a:gd name="connsiteY2" fmla="*/ 157980 h 315936"/>
                  <a:gd name="connsiteX3" fmla="*/ 157980 w 315960"/>
                  <a:gd name="connsiteY3" fmla="*/ 315937 h 315936"/>
                  <a:gd name="connsiteX4" fmla="*/ 0 w 315960"/>
                  <a:gd name="connsiteY4" fmla="*/ 157980 h 315936"/>
                  <a:gd name="connsiteX5" fmla="*/ 32703 w 315960"/>
                  <a:gd name="connsiteY5" fmla="*/ 61700 h 3159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315960" h="315936">
                    <a:moveTo>
                      <a:pt x="82908" y="18932"/>
                    </a:moveTo>
                    <a:cubicBezTo>
                      <a:pt x="105242" y="6850"/>
                      <a:pt x="130837" y="0"/>
                      <a:pt x="157980" y="0"/>
                    </a:cubicBezTo>
                    <a:cubicBezTo>
                      <a:pt x="245228" y="0"/>
                      <a:pt x="315960" y="70732"/>
                      <a:pt x="315960" y="157980"/>
                    </a:cubicBezTo>
                    <a:cubicBezTo>
                      <a:pt x="315960" y="245228"/>
                      <a:pt x="245228" y="315937"/>
                      <a:pt x="157980" y="315937"/>
                    </a:cubicBezTo>
                    <a:cubicBezTo>
                      <a:pt x="70732" y="315937"/>
                      <a:pt x="0" y="245205"/>
                      <a:pt x="0" y="157980"/>
                    </a:cubicBezTo>
                    <a:cubicBezTo>
                      <a:pt x="0" y="121734"/>
                      <a:pt x="12199" y="88327"/>
                      <a:pt x="32703" y="61700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52" name="Gráfico 2">
              <a:extLst>
                <a:ext uri="{FF2B5EF4-FFF2-40B4-BE49-F238E27FC236}">
                  <a16:creationId xmlns:a16="http://schemas.microsoft.com/office/drawing/2014/main" id="{AA849CD0-2367-1075-FBF9-DCE2A1FBB7AD}"/>
                </a:ext>
              </a:extLst>
            </p:cNvPr>
            <p:cNvGrpSpPr/>
            <p:nvPr/>
          </p:nvGrpSpPr>
          <p:grpSpPr>
            <a:xfrm>
              <a:off x="2392517" y="3307234"/>
              <a:ext cx="180853" cy="224630"/>
              <a:chOff x="2392517" y="3307234"/>
              <a:chExt cx="180853" cy="224630"/>
            </a:xfrm>
            <a:noFill/>
          </p:grpSpPr>
          <p:sp>
            <p:nvSpPr>
              <p:cNvPr id="53" name="Forma livre: Forma 52">
                <a:extLst>
                  <a:ext uri="{FF2B5EF4-FFF2-40B4-BE49-F238E27FC236}">
                    <a16:creationId xmlns:a16="http://schemas.microsoft.com/office/drawing/2014/main" id="{AB27E35C-74D5-904E-103B-6DE3DD9DF24F}"/>
                  </a:ext>
                </a:extLst>
              </p:cNvPr>
              <p:cNvSpPr/>
              <p:nvPr/>
            </p:nvSpPr>
            <p:spPr>
              <a:xfrm>
                <a:off x="2411462" y="3307234"/>
                <a:ext cx="143009" cy="174120"/>
              </a:xfrm>
              <a:custGeom>
                <a:avLst/>
                <a:gdLst>
                  <a:gd name="connsiteX0" fmla="*/ 94906 w 143009"/>
                  <a:gd name="connsiteY0" fmla="*/ 174121 h 174120"/>
                  <a:gd name="connsiteX1" fmla="*/ 110367 w 143009"/>
                  <a:gd name="connsiteY1" fmla="*/ 167083 h 174120"/>
                  <a:gd name="connsiteX2" fmla="*/ 141709 w 143009"/>
                  <a:gd name="connsiteY2" fmla="*/ 89125 h 174120"/>
                  <a:gd name="connsiteX3" fmla="*/ 71704 w 143009"/>
                  <a:gd name="connsiteY3" fmla="*/ 0 h 174120"/>
                  <a:gd name="connsiteX4" fmla="*/ 71282 w 143009"/>
                  <a:gd name="connsiteY4" fmla="*/ 0 h 174120"/>
                  <a:gd name="connsiteX5" fmla="*/ 1301 w 143009"/>
                  <a:gd name="connsiteY5" fmla="*/ 89125 h 174120"/>
                  <a:gd name="connsiteX6" fmla="*/ 32620 w 143009"/>
                  <a:gd name="connsiteY6" fmla="*/ 167083 h 174120"/>
                  <a:gd name="connsiteX7" fmla="*/ 48103 w 143009"/>
                  <a:gd name="connsiteY7" fmla="*/ 174121 h 1741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43009" h="174120">
                    <a:moveTo>
                      <a:pt x="94906" y="174121"/>
                    </a:moveTo>
                    <a:cubicBezTo>
                      <a:pt x="105135" y="171681"/>
                      <a:pt x="110367" y="167083"/>
                      <a:pt x="110367" y="167083"/>
                    </a:cubicBezTo>
                    <a:cubicBezTo>
                      <a:pt x="127727" y="154766"/>
                      <a:pt x="138448" y="116151"/>
                      <a:pt x="141709" y="89125"/>
                    </a:cubicBezTo>
                    <a:cubicBezTo>
                      <a:pt x="146495" y="49243"/>
                      <a:pt x="141169" y="1619"/>
                      <a:pt x="71704" y="0"/>
                    </a:cubicBezTo>
                    <a:lnTo>
                      <a:pt x="71282" y="0"/>
                    </a:lnTo>
                    <a:cubicBezTo>
                      <a:pt x="1840" y="1619"/>
                      <a:pt x="-3485" y="49243"/>
                      <a:pt x="1301" y="89125"/>
                    </a:cubicBezTo>
                    <a:cubicBezTo>
                      <a:pt x="4538" y="116151"/>
                      <a:pt x="15283" y="154766"/>
                      <a:pt x="32620" y="167083"/>
                    </a:cubicBezTo>
                    <a:cubicBezTo>
                      <a:pt x="32620" y="167083"/>
                      <a:pt x="37875" y="171681"/>
                      <a:pt x="48103" y="174121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54" name="Gráfico 2">
                <a:extLst>
                  <a:ext uri="{FF2B5EF4-FFF2-40B4-BE49-F238E27FC236}">
                    <a16:creationId xmlns:a16="http://schemas.microsoft.com/office/drawing/2014/main" id="{59D2A625-8223-8480-7C22-AD94BB36F7E2}"/>
                  </a:ext>
                </a:extLst>
              </p:cNvPr>
              <p:cNvGrpSpPr/>
              <p:nvPr/>
            </p:nvGrpSpPr>
            <p:grpSpPr>
              <a:xfrm>
                <a:off x="2392517" y="3475372"/>
                <a:ext cx="180853" cy="56492"/>
                <a:chOff x="2392517" y="3475372"/>
                <a:chExt cx="180853" cy="56492"/>
              </a:xfrm>
              <a:noFill/>
            </p:grpSpPr>
            <p:sp>
              <p:nvSpPr>
                <p:cNvPr id="55" name="Forma livre: Forma 54">
                  <a:extLst>
                    <a:ext uri="{FF2B5EF4-FFF2-40B4-BE49-F238E27FC236}">
                      <a16:creationId xmlns:a16="http://schemas.microsoft.com/office/drawing/2014/main" id="{A895F5FF-7591-E9F3-4B29-843194055B85}"/>
                    </a:ext>
                  </a:extLst>
                </p:cNvPr>
                <p:cNvSpPr/>
                <p:nvPr/>
              </p:nvSpPr>
              <p:spPr>
                <a:xfrm>
                  <a:off x="2392517" y="3475372"/>
                  <a:ext cx="49671" cy="56492"/>
                </a:xfrm>
                <a:custGeom>
                  <a:avLst/>
                  <a:gdLst>
                    <a:gd name="connsiteX0" fmla="*/ 49665 w 49671"/>
                    <a:gd name="connsiteY0" fmla="*/ 0 h 56492"/>
                    <a:gd name="connsiteX1" fmla="*/ 49665 w 49671"/>
                    <a:gd name="connsiteY1" fmla="*/ 31108 h 56492"/>
                    <a:gd name="connsiteX2" fmla="*/ 0 w 49671"/>
                    <a:gd name="connsiteY2" fmla="*/ 56492 h 564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49671" h="56492">
                      <a:moveTo>
                        <a:pt x="49665" y="0"/>
                      </a:moveTo>
                      <a:cubicBezTo>
                        <a:pt x="49665" y="9478"/>
                        <a:pt x="49665" y="31108"/>
                        <a:pt x="49665" y="31108"/>
                      </a:cubicBezTo>
                      <a:cubicBezTo>
                        <a:pt x="49665" y="31108"/>
                        <a:pt x="51331" y="41008"/>
                        <a:pt x="0" y="56492"/>
                      </a:cubicBez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56" name="Forma livre: Forma 55">
                  <a:extLst>
                    <a:ext uri="{FF2B5EF4-FFF2-40B4-BE49-F238E27FC236}">
                      <a16:creationId xmlns:a16="http://schemas.microsoft.com/office/drawing/2014/main" id="{56E9D0E6-8966-EC70-0FD1-DDF2A32F52B0}"/>
                    </a:ext>
                  </a:extLst>
                </p:cNvPr>
                <p:cNvSpPr/>
                <p:nvPr/>
              </p:nvSpPr>
              <p:spPr>
                <a:xfrm>
                  <a:off x="2523699" y="3475630"/>
                  <a:ext cx="49671" cy="56233"/>
                </a:xfrm>
                <a:custGeom>
                  <a:avLst/>
                  <a:gdLst>
                    <a:gd name="connsiteX0" fmla="*/ 6 w 49671"/>
                    <a:gd name="connsiteY0" fmla="*/ 0 h 56233"/>
                    <a:gd name="connsiteX1" fmla="*/ 6 w 49671"/>
                    <a:gd name="connsiteY1" fmla="*/ 30850 h 56233"/>
                    <a:gd name="connsiteX2" fmla="*/ 49671 w 49671"/>
                    <a:gd name="connsiteY2" fmla="*/ 56234 h 562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49671" h="56233">
                      <a:moveTo>
                        <a:pt x="6" y="0"/>
                      </a:moveTo>
                      <a:cubicBezTo>
                        <a:pt x="6" y="9454"/>
                        <a:pt x="6" y="30850"/>
                        <a:pt x="6" y="30850"/>
                      </a:cubicBezTo>
                      <a:cubicBezTo>
                        <a:pt x="6" y="30850"/>
                        <a:pt x="-1660" y="40750"/>
                        <a:pt x="49671" y="56234"/>
                      </a:cubicBez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</p:grpSp>
      <p:grpSp>
        <p:nvGrpSpPr>
          <p:cNvPr id="57" name="Gráfico 2">
            <a:extLst>
              <a:ext uri="{FF2B5EF4-FFF2-40B4-BE49-F238E27FC236}">
                <a16:creationId xmlns:a16="http://schemas.microsoft.com/office/drawing/2014/main" id="{F7BC2531-C936-B166-717B-6A5E0B20CF4E}"/>
              </a:ext>
            </a:extLst>
          </p:cNvPr>
          <p:cNvGrpSpPr/>
          <p:nvPr/>
        </p:nvGrpSpPr>
        <p:grpSpPr>
          <a:xfrm>
            <a:off x="2160614" y="5221740"/>
            <a:ext cx="644697" cy="542232"/>
            <a:chOff x="2160614" y="5221740"/>
            <a:chExt cx="644697" cy="542232"/>
          </a:xfrm>
          <a:noFill/>
        </p:grpSpPr>
        <p:grpSp>
          <p:nvGrpSpPr>
            <p:cNvPr id="58" name="Gráfico 2">
              <a:extLst>
                <a:ext uri="{FF2B5EF4-FFF2-40B4-BE49-F238E27FC236}">
                  <a16:creationId xmlns:a16="http://schemas.microsoft.com/office/drawing/2014/main" id="{69E47545-34FF-D922-127A-A0B789AD1B8E}"/>
                </a:ext>
              </a:extLst>
            </p:cNvPr>
            <p:cNvGrpSpPr/>
            <p:nvPr/>
          </p:nvGrpSpPr>
          <p:grpSpPr>
            <a:xfrm>
              <a:off x="2160614" y="5221740"/>
              <a:ext cx="465471" cy="542232"/>
              <a:chOff x="2160614" y="5221740"/>
              <a:chExt cx="465471" cy="542232"/>
            </a:xfrm>
            <a:noFill/>
          </p:grpSpPr>
          <p:grpSp>
            <p:nvGrpSpPr>
              <p:cNvPr id="59" name="Gráfico 2">
                <a:extLst>
                  <a:ext uri="{FF2B5EF4-FFF2-40B4-BE49-F238E27FC236}">
                    <a16:creationId xmlns:a16="http://schemas.microsoft.com/office/drawing/2014/main" id="{905222E5-7525-672D-B8C4-63DA2041D072}"/>
                  </a:ext>
                </a:extLst>
              </p:cNvPr>
              <p:cNvGrpSpPr/>
              <p:nvPr/>
            </p:nvGrpSpPr>
            <p:grpSpPr>
              <a:xfrm>
                <a:off x="2160614" y="5221740"/>
                <a:ext cx="465471" cy="542232"/>
                <a:chOff x="2160614" y="5221740"/>
                <a:chExt cx="465471" cy="542232"/>
              </a:xfrm>
              <a:noFill/>
            </p:grpSpPr>
            <p:sp>
              <p:nvSpPr>
                <p:cNvPr id="60" name="Forma livre: Forma 59">
                  <a:extLst>
                    <a:ext uri="{FF2B5EF4-FFF2-40B4-BE49-F238E27FC236}">
                      <a16:creationId xmlns:a16="http://schemas.microsoft.com/office/drawing/2014/main" id="{EED45FC4-523A-849A-4C3E-34EC20378215}"/>
                    </a:ext>
                  </a:extLst>
                </p:cNvPr>
                <p:cNvSpPr/>
                <p:nvPr/>
              </p:nvSpPr>
              <p:spPr>
                <a:xfrm>
                  <a:off x="2388223" y="5221740"/>
                  <a:ext cx="237861" cy="94755"/>
                </a:xfrm>
                <a:custGeom>
                  <a:avLst/>
                  <a:gdLst>
                    <a:gd name="connsiteX0" fmla="*/ 237862 w 237861"/>
                    <a:gd name="connsiteY0" fmla="*/ 79178 h 94755"/>
                    <a:gd name="connsiteX1" fmla="*/ 207856 w 237861"/>
                    <a:gd name="connsiteY1" fmla="*/ 52082 h 94755"/>
                    <a:gd name="connsiteX2" fmla="*/ 147658 w 237861"/>
                    <a:gd name="connsiteY2" fmla="*/ 94755 h 94755"/>
                    <a:gd name="connsiteX3" fmla="*/ 94122 w 237861"/>
                    <a:gd name="connsiteY3" fmla="*/ 72679 h 94755"/>
                    <a:gd name="connsiteX4" fmla="*/ 82157 w 237861"/>
                    <a:gd name="connsiteY4" fmla="*/ 0 h 94755"/>
                    <a:gd name="connsiteX5" fmla="*/ 4809 w 237861"/>
                    <a:gd name="connsiteY5" fmla="*/ 0 h 94755"/>
                    <a:gd name="connsiteX6" fmla="*/ 0 w 237861"/>
                    <a:gd name="connsiteY6" fmla="*/ 32398 h 9475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237861" h="94755">
                      <a:moveTo>
                        <a:pt x="237862" y="79178"/>
                      </a:moveTo>
                      <a:lnTo>
                        <a:pt x="207856" y="52082"/>
                      </a:lnTo>
                      <a:lnTo>
                        <a:pt x="147658" y="94755"/>
                      </a:lnTo>
                      <a:cubicBezTo>
                        <a:pt x="131165" y="84996"/>
                        <a:pt x="113171" y="77536"/>
                        <a:pt x="94122" y="72679"/>
                      </a:cubicBezTo>
                      <a:lnTo>
                        <a:pt x="82157" y="0"/>
                      </a:lnTo>
                      <a:lnTo>
                        <a:pt x="4809" y="0"/>
                      </a:lnTo>
                      <a:lnTo>
                        <a:pt x="0" y="32398"/>
                      </a:ln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61" name="Forma livre: Forma 60">
                  <a:extLst>
                    <a:ext uri="{FF2B5EF4-FFF2-40B4-BE49-F238E27FC236}">
                      <a16:creationId xmlns:a16="http://schemas.microsoft.com/office/drawing/2014/main" id="{34152CAB-CE2B-D470-FC70-23777EE227C8}"/>
                    </a:ext>
                  </a:extLst>
                </p:cNvPr>
                <p:cNvSpPr/>
                <p:nvPr/>
              </p:nvSpPr>
              <p:spPr>
                <a:xfrm>
                  <a:off x="2160614" y="5388705"/>
                  <a:ext cx="272371" cy="375267"/>
                </a:xfrm>
                <a:custGeom>
                  <a:avLst/>
                  <a:gdLst>
                    <a:gd name="connsiteX0" fmla="*/ 94755 w 272371"/>
                    <a:gd name="connsiteY0" fmla="*/ 0 h 375267"/>
                    <a:gd name="connsiteX1" fmla="*/ 72750 w 272371"/>
                    <a:gd name="connsiteY1" fmla="*/ 53114 h 375267"/>
                    <a:gd name="connsiteX2" fmla="*/ 0 w 272371"/>
                    <a:gd name="connsiteY2" fmla="*/ 65477 h 375267"/>
                    <a:gd name="connsiteX3" fmla="*/ 0 w 272371"/>
                    <a:gd name="connsiteY3" fmla="*/ 142825 h 375267"/>
                    <a:gd name="connsiteX4" fmla="*/ 72750 w 272371"/>
                    <a:gd name="connsiteY4" fmla="*/ 155235 h 375267"/>
                    <a:gd name="connsiteX5" fmla="*/ 94990 w 272371"/>
                    <a:gd name="connsiteY5" fmla="*/ 208701 h 375267"/>
                    <a:gd name="connsiteX6" fmla="*/ 52058 w 272371"/>
                    <a:gd name="connsiteY6" fmla="*/ 268524 h 375267"/>
                    <a:gd name="connsiteX7" fmla="*/ 106767 w 272371"/>
                    <a:gd name="connsiteY7" fmla="*/ 323209 h 375267"/>
                    <a:gd name="connsiteX8" fmla="*/ 166590 w 272371"/>
                    <a:gd name="connsiteY8" fmla="*/ 280277 h 375267"/>
                    <a:gd name="connsiteX9" fmla="*/ 220079 w 272371"/>
                    <a:gd name="connsiteY9" fmla="*/ 302471 h 375267"/>
                    <a:gd name="connsiteX10" fmla="*/ 232442 w 272371"/>
                    <a:gd name="connsiteY10" fmla="*/ 375267 h 375267"/>
                    <a:gd name="connsiteX11" fmla="*/ 272371 w 272371"/>
                    <a:gd name="connsiteY11" fmla="*/ 375267 h 37526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</a:cxnLst>
                  <a:rect l="l" t="t" r="r" b="b"/>
                  <a:pathLst>
                    <a:path w="272371" h="375267">
                      <a:moveTo>
                        <a:pt x="94755" y="0"/>
                      </a:moveTo>
                      <a:cubicBezTo>
                        <a:pt x="85043" y="16375"/>
                        <a:pt x="77582" y="34205"/>
                        <a:pt x="72750" y="53114"/>
                      </a:cubicBezTo>
                      <a:lnTo>
                        <a:pt x="0" y="65477"/>
                      </a:lnTo>
                      <a:lnTo>
                        <a:pt x="0" y="142825"/>
                      </a:lnTo>
                      <a:lnTo>
                        <a:pt x="72750" y="155235"/>
                      </a:lnTo>
                      <a:cubicBezTo>
                        <a:pt x="77629" y="174285"/>
                        <a:pt x="85160" y="192232"/>
                        <a:pt x="94990" y="208701"/>
                      </a:cubicBezTo>
                      <a:lnTo>
                        <a:pt x="52058" y="268524"/>
                      </a:lnTo>
                      <a:lnTo>
                        <a:pt x="106767" y="323209"/>
                      </a:lnTo>
                      <a:lnTo>
                        <a:pt x="166590" y="280277"/>
                      </a:lnTo>
                      <a:cubicBezTo>
                        <a:pt x="183082" y="290084"/>
                        <a:pt x="201029" y="297591"/>
                        <a:pt x="220079" y="302471"/>
                      </a:cubicBezTo>
                      <a:lnTo>
                        <a:pt x="232442" y="375267"/>
                      </a:lnTo>
                      <a:lnTo>
                        <a:pt x="272371" y="375267"/>
                      </a:ln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62" name="Forma livre: Forma 61">
                  <a:extLst>
                    <a:ext uri="{FF2B5EF4-FFF2-40B4-BE49-F238E27FC236}">
                      <a16:creationId xmlns:a16="http://schemas.microsoft.com/office/drawing/2014/main" id="{235E10A4-F1FE-B4CC-7629-7234E29080F3}"/>
                    </a:ext>
                  </a:extLst>
                </p:cNvPr>
                <p:cNvSpPr/>
                <p:nvPr/>
              </p:nvSpPr>
              <p:spPr>
                <a:xfrm>
                  <a:off x="2212648" y="5273821"/>
                  <a:ext cx="168443" cy="80420"/>
                </a:xfrm>
                <a:custGeom>
                  <a:avLst/>
                  <a:gdLst>
                    <a:gd name="connsiteX0" fmla="*/ 168443 w 168443"/>
                    <a:gd name="connsiteY0" fmla="*/ 20598 h 80420"/>
                    <a:gd name="connsiteX1" fmla="*/ 114907 w 168443"/>
                    <a:gd name="connsiteY1" fmla="*/ 42674 h 80420"/>
                    <a:gd name="connsiteX2" fmla="*/ 54709 w 168443"/>
                    <a:gd name="connsiteY2" fmla="*/ 0 h 80420"/>
                    <a:gd name="connsiteX3" fmla="*/ 0 w 168443"/>
                    <a:gd name="connsiteY3" fmla="*/ 54662 h 80420"/>
                    <a:gd name="connsiteX4" fmla="*/ 18393 w 168443"/>
                    <a:gd name="connsiteY4" fmla="*/ 80421 h 8042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68443" h="80420">
                      <a:moveTo>
                        <a:pt x="168443" y="20598"/>
                      </a:moveTo>
                      <a:cubicBezTo>
                        <a:pt x="149394" y="25454"/>
                        <a:pt x="131423" y="32914"/>
                        <a:pt x="114907" y="42674"/>
                      </a:cubicBezTo>
                      <a:lnTo>
                        <a:pt x="54709" y="0"/>
                      </a:lnTo>
                      <a:lnTo>
                        <a:pt x="0" y="54662"/>
                      </a:lnTo>
                      <a:lnTo>
                        <a:pt x="18393" y="80421"/>
                      </a:ln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63" name="Forma livre: Forma 62">
                <a:extLst>
                  <a:ext uri="{FF2B5EF4-FFF2-40B4-BE49-F238E27FC236}">
                    <a16:creationId xmlns:a16="http://schemas.microsoft.com/office/drawing/2014/main" id="{C4C98FFB-845E-AF04-A27E-1D279D86B447}"/>
                  </a:ext>
                </a:extLst>
              </p:cNvPr>
              <p:cNvSpPr/>
              <p:nvPr/>
            </p:nvSpPr>
            <p:spPr>
              <a:xfrm>
                <a:off x="2296025" y="5410171"/>
                <a:ext cx="143364" cy="218389"/>
              </a:xfrm>
              <a:custGeom>
                <a:avLst/>
                <a:gdLst>
                  <a:gd name="connsiteX0" fmla="*/ 143364 w 143364"/>
                  <a:gd name="connsiteY0" fmla="*/ 218179 h 218389"/>
                  <a:gd name="connsiteX1" fmla="*/ 135693 w 143364"/>
                  <a:gd name="connsiteY1" fmla="*/ 218390 h 218389"/>
                  <a:gd name="connsiteX2" fmla="*/ 0 w 143364"/>
                  <a:gd name="connsiteY2" fmla="*/ 82697 h 218389"/>
                  <a:gd name="connsiteX3" fmla="*/ 28105 w 143364"/>
                  <a:gd name="connsiteY3" fmla="*/ 0 h 2183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43364" h="218389">
                    <a:moveTo>
                      <a:pt x="143364" y="218179"/>
                    </a:moveTo>
                    <a:cubicBezTo>
                      <a:pt x="140807" y="218319"/>
                      <a:pt x="138250" y="218390"/>
                      <a:pt x="135693" y="218390"/>
                    </a:cubicBezTo>
                    <a:cubicBezTo>
                      <a:pt x="60761" y="218390"/>
                      <a:pt x="0" y="157628"/>
                      <a:pt x="0" y="82697"/>
                    </a:cubicBezTo>
                    <a:cubicBezTo>
                      <a:pt x="0" y="51565"/>
                      <a:pt x="10487" y="22874"/>
                      <a:pt x="28105" y="0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64" name="Forma livre: Forma 63">
                <a:extLst>
                  <a:ext uri="{FF2B5EF4-FFF2-40B4-BE49-F238E27FC236}">
                    <a16:creationId xmlns:a16="http://schemas.microsoft.com/office/drawing/2014/main" id="{B0FDB562-C42A-980D-C53D-60C0D842EE64}"/>
                  </a:ext>
                </a:extLst>
              </p:cNvPr>
              <p:cNvSpPr/>
              <p:nvPr/>
            </p:nvSpPr>
            <p:spPr>
              <a:xfrm>
                <a:off x="2367203" y="5357175"/>
                <a:ext cx="181862" cy="67565"/>
              </a:xfrm>
              <a:custGeom>
                <a:avLst/>
                <a:gdLst>
                  <a:gd name="connsiteX0" fmla="*/ 0 w 181862"/>
                  <a:gd name="connsiteY0" fmla="*/ 16281 h 67565"/>
                  <a:gd name="connsiteX1" fmla="*/ 64492 w 181862"/>
                  <a:gd name="connsiteY1" fmla="*/ 0 h 67565"/>
                  <a:gd name="connsiteX2" fmla="*/ 181862 w 181862"/>
                  <a:gd name="connsiteY2" fmla="*/ 67565 h 675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81862" h="67565">
                    <a:moveTo>
                      <a:pt x="0" y="16281"/>
                    </a:moveTo>
                    <a:cubicBezTo>
                      <a:pt x="19190" y="5912"/>
                      <a:pt x="41172" y="0"/>
                      <a:pt x="64492" y="0"/>
                    </a:cubicBezTo>
                    <a:cubicBezTo>
                      <a:pt x="114602" y="0"/>
                      <a:pt x="158379" y="27167"/>
                      <a:pt x="181862" y="67565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65" name="Forma livre: Forma 64">
                <a:extLst>
                  <a:ext uri="{FF2B5EF4-FFF2-40B4-BE49-F238E27FC236}">
                    <a16:creationId xmlns:a16="http://schemas.microsoft.com/office/drawing/2014/main" id="{765BB0C6-FB77-4B22-ED9F-94113FA5CCCA}"/>
                  </a:ext>
                </a:extLst>
              </p:cNvPr>
              <p:cNvSpPr/>
              <p:nvPr/>
            </p:nvSpPr>
            <p:spPr>
              <a:xfrm>
                <a:off x="2369807" y="5430957"/>
                <a:ext cx="123775" cy="123798"/>
              </a:xfrm>
              <a:custGeom>
                <a:avLst/>
                <a:gdLst>
                  <a:gd name="connsiteX0" fmla="*/ 41313 w 123775"/>
                  <a:gd name="connsiteY0" fmla="*/ 3519 h 123798"/>
                  <a:gd name="connsiteX1" fmla="*/ 61888 w 123775"/>
                  <a:gd name="connsiteY1" fmla="*/ 0 h 123798"/>
                  <a:gd name="connsiteX2" fmla="*/ 123775 w 123775"/>
                  <a:gd name="connsiteY2" fmla="*/ 61911 h 123798"/>
                  <a:gd name="connsiteX3" fmla="*/ 61888 w 123775"/>
                  <a:gd name="connsiteY3" fmla="*/ 123799 h 123798"/>
                  <a:gd name="connsiteX4" fmla="*/ 0 w 123775"/>
                  <a:gd name="connsiteY4" fmla="*/ 61911 h 123798"/>
                  <a:gd name="connsiteX5" fmla="*/ 5466 w 123775"/>
                  <a:gd name="connsiteY5" fmla="*/ 36410 h 1237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23775" h="123798">
                    <a:moveTo>
                      <a:pt x="41313" y="3519"/>
                    </a:moveTo>
                    <a:cubicBezTo>
                      <a:pt x="47741" y="1243"/>
                      <a:pt x="54685" y="0"/>
                      <a:pt x="61888" y="0"/>
                    </a:cubicBezTo>
                    <a:cubicBezTo>
                      <a:pt x="96069" y="0"/>
                      <a:pt x="123775" y="27706"/>
                      <a:pt x="123775" y="61911"/>
                    </a:cubicBezTo>
                    <a:cubicBezTo>
                      <a:pt x="123775" y="96116"/>
                      <a:pt x="96069" y="123799"/>
                      <a:pt x="61888" y="123799"/>
                    </a:cubicBezTo>
                    <a:cubicBezTo>
                      <a:pt x="27706" y="123799"/>
                      <a:pt x="0" y="96092"/>
                      <a:pt x="0" y="61911"/>
                    </a:cubicBezTo>
                    <a:cubicBezTo>
                      <a:pt x="0" y="52832"/>
                      <a:pt x="1971" y="44199"/>
                      <a:pt x="5466" y="36410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66" name="Gráfico 2">
              <a:extLst>
                <a:ext uri="{FF2B5EF4-FFF2-40B4-BE49-F238E27FC236}">
                  <a16:creationId xmlns:a16="http://schemas.microsoft.com/office/drawing/2014/main" id="{7F1A516F-8B3C-56EB-FB35-5B1698E1A670}"/>
                </a:ext>
              </a:extLst>
            </p:cNvPr>
            <p:cNvGrpSpPr/>
            <p:nvPr/>
          </p:nvGrpSpPr>
          <p:grpSpPr>
            <a:xfrm>
              <a:off x="2478920" y="5266780"/>
              <a:ext cx="326390" cy="495972"/>
              <a:chOff x="2478920" y="5266780"/>
              <a:chExt cx="326390" cy="495972"/>
            </a:xfrm>
            <a:noFill/>
          </p:grpSpPr>
          <p:sp>
            <p:nvSpPr>
              <p:cNvPr id="67" name="Forma livre: Forma 66">
                <a:extLst>
                  <a:ext uri="{FF2B5EF4-FFF2-40B4-BE49-F238E27FC236}">
                    <a16:creationId xmlns:a16="http://schemas.microsoft.com/office/drawing/2014/main" id="{E816C57A-C0DE-F29E-9DAC-07DBC23D0050}"/>
                  </a:ext>
                </a:extLst>
              </p:cNvPr>
              <p:cNvSpPr/>
              <p:nvPr/>
            </p:nvSpPr>
            <p:spPr>
              <a:xfrm>
                <a:off x="2478920" y="5266780"/>
                <a:ext cx="326390" cy="495972"/>
              </a:xfrm>
              <a:custGeom>
                <a:avLst/>
                <a:gdLst>
                  <a:gd name="connsiteX0" fmla="*/ 308875 w 326390"/>
                  <a:gd name="connsiteY0" fmla="*/ 32894 h 495972"/>
                  <a:gd name="connsiteX1" fmla="*/ 262448 w 326390"/>
                  <a:gd name="connsiteY1" fmla="*/ 5094 h 495972"/>
                  <a:gd name="connsiteX2" fmla="*/ 212971 w 326390"/>
                  <a:gd name="connsiteY2" fmla="*/ 17504 h 495972"/>
                  <a:gd name="connsiteX3" fmla="*/ 13466 w 326390"/>
                  <a:gd name="connsiteY3" fmla="*/ 350637 h 495972"/>
                  <a:gd name="connsiteX4" fmla="*/ 0 w 326390"/>
                  <a:gd name="connsiteY4" fmla="*/ 495972 h 495972"/>
                  <a:gd name="connsiteX5" fmla="*/ 121781 w 326390"/>
                  <a:gd name="connsiteY5" fmla="*/ 415504 h 495972"/>
                  <a:gd name="connsiteX6" fmla="*/ 321286 w 326390"/>
                  <a:gd name="connsiteY6" fmla="*/ 82418 h 495972"/>
                  <a:gd name="connsiteX7" fmla="*/ 308899 w 326390"/>
                  <a:gd name="connsiteY7" fmla="*/ 32941 h 4959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26390" h="495972">
                    <a:moveTo>
                      <a:pt x="308875" y="32894"/>
                    </a:moveTo>
                    <a:lnTo>
                      <a:pt x="262448" y="5094"/>
                    </a:lnTo>
                    <a:cubicBezTo>
                      <a:pt x="245416" y="-5088"/>
                      <a:pt x="223152" y="472"/>
                      <a:pt x="212971" y="17504"/>
                    </a:cubicBezTo>
                    <a:lnTo>
                      <a:pt x="13466" y="350637"/>
                    </a:lnTo>
                    <a:lnTo>
                      <a:pt x="0" y="495972"/>
                    </a:lnTo>
                    <a:lnTo>
                      <a:pt x="121781" y="415504"/>
                    </a:lnTo>
                    <a:lnTo>
                      <a:pt x="321286" y="82418"/>
                    </a:lnTo>
                    <a:cubicBezTo>
                      <a:pt x="331491" y="65363"/>
                      <a:pt x="325907" y="43146"/>
                      <a:pt x="308899" y="32941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68" name="Forma livre: Forma 67">
                <a:extLst>
                  <a:ext uri="{FF2B5EF4-FFF2-40B4-BE49-F238E27FC236}">
                    <a16:creationId xmlns:a16="http://schemas.microsoft.com/office/drawing/2014/main" id="{E2B6F339-DD42-149F-D850-A328193CF245}"/>
                  </a:ext>
                </a:extLst>
              </p:cNvPr>
              <p:cNvSpPr/>
              <p:nvPr/>
            </p:nvSpPr>
            <p:spPr>
              <a:xfrm>
                <a:off x="2705779" y="5336366"/>
                <a:ext cx="70145" cy="41993"/>
              </a:xfrm>
              <a:custGeom>
                <a:avLst/>
                <a:gdLst>
                  <a:gd name="connsiteX0" fmla="*/ 0 w 70145"/>
                  <a:gd name="connsiteY0" fmla="*/ 0 h 41993"/>
                  <a:gd name="connsiteX1" fmla="*/ 70146 w 70145"/>
                  <a:gd name="connsiteY1" fmla="*/ 41994 h 419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70145" h="41993">
                    <a:moveTo>
                      <a:pt x="0" y="0"/>
                    </a:moveTo>
                    <a:lnTo>
                      <a:pt x="70146" y="41994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69" name="Forma livre: Forma 68">
                <a:extLst>
                  <a:ext uri="{FF2B5EF4-FFF2-40B4-BE49-F238E27FC236}">
                    <a16:creationId xmlns:a16="http://schemas.microsoft.com/office/drawing/2014/main" id="{3E83C558-CF19-C76D-0B88-76A4ED7E8D27}"/>
                  </a:ext>
                </a:extLst>
              </p:cNvPr>
              <p:cNvSpPr/>
              <p:nvPr/>
            </p:nvSpPr>
            <p:spPr>
              <a:xfrm>
                <a:off x="2502591" y="5610590"/>
                <a:ext cx="99283" cy="59447"/>
              </a:xfrm>
              <a:custGeom>
                <a:avLst/>
                <a:gdLst>
                  <a:gd name="connsiteX0" fmla="*/ 0 w 99283"/>
                  <a:gd name="connsiteY0" fmla="*/ 0 h 59447"/>
                  <a:gd name="connsiteX1" fmla="*/ 99283 w 99283"/>
                  <a:gd name="connsiteY1" fmla="*/ 59448 h 594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9283" h="59447">
                    <a:moveTo>
                      <a:pt x="0" y="0"/>
                    </a:moveTo>
                    <a:lnTo>
                      <a:pt x="99283" y="59448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0" name="Forma livre: Forma 69">
                <a:extLst>
                  <a:ext uri="{FF2B5EF4-FFF2-40B4-BE49-F238E27FC236}">
                    <a16:creationId xmlns:a16="http://schemas.microsoft.com/office/drawing/2014/main" id="{236B9ED8-FBD6-DAD4-8881-E7E823E9190F}"/>
                  </a:ext>
                </a:extLst>
              </p:cNvPr>
              <p:cNvSpPr/>
              <p:nvPr/>
            </p:nvSpPr>
            <p:spPr>
              <a:xfrm>
                <a:off x="2490275" y="5675012"/>
                <a:ext cx="60620" cy="36316"/>
              </a:xfrm>
              <a:custGeom>
                <a:avLst/>
                <a:gdLst>
                  <a:gd name="connsiteX0" fmla="*/ 0 w 60620"/>
                  <a:gd name="connsiteY0" fmla="*/ 0 h 36316"/>
                  <a:gd name="connsiteX1" fmla="*/ 60621 w 60620"/>
                  <a:gd name="connsiteY1" fmla="*/ 36316 h 363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0620" h="36316">
                    <a:moveTo>
                      <a:pt x="0" y="0"/>
                    </a:moveTo>
                    <a:lnTo>
                      <a:pt x="60621" y="36316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71" name="Forma livre: Forma 70">
                <a:extLst>
                  <a:ext uri="{FF2B5EF4-FFF2-40B4-BE49-F238E27FC236}">
                    <a16:creationId xmlns:a16="http://schemas.microsoft.com/office/drawing/2014/main" id="{3F1E20AC-E2E4-0E7C-2C6F-6B0AC32F3854}"/>
                  </a:ext>
                </a:extLst>
              </p:cNvPr>
              <p:cNvSpPr/>
              <p:nvPr/>
            </p:nvSpPr>
            <p:spPr>
              <a:xfrm>
                <a:off x="2552256" y="5406934"/>
                <a:ext cx="139775" cy="233380"/>
              </a:xfrm>
              <a:custGeom>
                <a:avLst/>
                <a:gdLst>
                  <a:gd name="connsiteX0" fmla="*/ 139775 w 139775"/>
                  <a:gd name="connsiteY0" fmla="*/ 0 h 233380"/>
                  <a:gd name="connsiteX1" fmla="*/ 0 w 139775"/>
                  <a:gd name="connsiteY1" fmla="*/ 233381 h 2333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39775" h="233380">
                    <a:moveTo>
                      <a:pt x="139775" y="0"/>
                    </a:moveTo>
                    <a:lnTo>
                      <a:pt x="0" y="233381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72" name="Gráfico 2">
            <a:extLst>
              <a:ext uri="{FF2B5EF4-FFF2-40B4-BE49-F238E27FC236}">
                <a16:creationId xmlns:a16="http://schemas.microsoft.com/office/drawing/2014/main" id="{49D359CC-43DE-0CCC-03BC-8F1CD7A07E83}"/>
              </a:ext>
            </a:extLst>
          </p:cNvPr>
          <p:cNvGrpSpPr/>
          <p:nvPr/>
        </p:nvGrpSpPr>
        <p:grpSpPr>
          <a:xfrm>
            <a:off x="922955" y="4133498"/>
            <a:ext cx="674922" cy="631723"/>
            <a:chOff x="922955" y="4133498"/>
            <a:chExt cx="674922" cy="631723"/>
          </a:xfrm>
        </p:grpSpPr>
        <p:grpSp>
          <p:nvGrpSpPr>
            <p:cNvPr id="73" name="Gráfico 2">
              <a:extLst>
                <a:ext uri="{FF2B5EF4-FFF2-40B4-BE49-F238E27FC236}">
                  <a16:creationId xmlns:a16="http://schemas.microsoft.com/office/drawing/2014/main" id="{B5815EA7-75D5-2F63-90D7-1643CF581BAD}"/>
                </a:ext>
              </a:extLst>
            </p:cNvPr>
            <p:cNvGrpSpPr/>
            <p:nvPr/>
          </p:nvGrpSpPr>
          <p:grpSpPr>
            <a:xfrm>
              <a:off x="922955" y="4133498"/>
              <a:ext cx="500895" cy="500872"/>
              <a:chOff x="922955" y="4133498"/>
              <a:chExt cx="500895" cy="500872"/>
            </a:xfrm>
            <a:noFill/>
          </p:grpSpPr>
          <p:grpSp>
            <p:nvGrpSpPr>
              <p:cNvPr id="74" name="Gráfico 2">
                <a:extLst>
                  <a:ext uri="{FF2B5EF4-FFF2-40B4-BE49-F238E27FC236}">
                    <a16:creationId xmlns:a16="http://schemas.microsoft.com/office/drawing/2014/main" id="{36F60DE9-1178-5CBE-BCB9-82D24F630100}"/>
                  </a:ext>
                </a:extLst>
              </p:cNvPr>
              <p:cNvGrpSpPr/>
              <p:nvPr/>
            </p:nvGrpSpPr>
            <p:grpSpPr>
              <a:xfrm>
                <a:off x="922955" y="4133498"/>
                <a:ext cx="500895" cy="500872"/>
                <a:chOff x="922955" y="4133498"/>
                <a:chExt cx="500895" cy="500872"/>
              </a:xfrm>
              <a:noFill/>
            </p:grpSpPr>
            <p:sp>
              <p:nvSpPr>
                <p:cNvPr id="75" name="Forma livre: Forma 74">
                  <a:extLst>
                    <a:ext uri="{FF2B5EF4-FFF2-40B4-BE49-F238E27FC236}">
                      <a16:creationId xmlns:a16="http://schemas.microsoft.com/office/drawing/2014/main" id="{A4AF9011-664A-5724-72A9-7EFF1AD0E64B}"/>
                    </a:ext>
                  </a:extLst>
                </p:cNvPr>
                <p:cNvSpPr/>
                <p:nvPr/>
              </p:nvSpPr>
              <p:spPr>
                <a:xfrm>
                  <a:off x="1155538" y="4133498"/>
                  <a:ext cx="268312" cy="225357"/>
                </a:xfrm>
                <a:custGeom>
                  <a:avLst/>
                  <a:gdLst>
                    <a:gd name="connsiteX0" fmla="*/ 247269 w 268312"/>
                    <a:gd name="connsiteY0" fmla="*/ 225358 h 225357"/>
                    <a:gd name="connsiteX1" fmla="*/ 224701 w 268312"/>
                    <a:gd name="connsiteY1" fmla="*/ 170602 h 225357"/>
                    <a:gd name="connsiteX2" fmla="*/ 268313 w 268312"/>
                    <a:gd name="connsiteY2" fmla="*/ 109113 h 225357"/>
                    <a:gd name="connsiteX3" fmla="*/ 212407 w 268312"/>
                    <a:gd name="connsiteY3" fmla="*/ 53231 h 225357"/>
                    <a:gd name="connsiteX4" fmla="*/ 150895 w 268312"/>
                    <a:gd name="connsiteY4" fmla="*/ 96867 h 225357"/>
                    <a:gd name="connsiteX5" fmla="*/ 96186 w 268312"/>
                    <a:gd name="connsiteY5" fmla="*/ 74275 h 225357"/>
                    <a:gd name="connsiteX6" fmla="*/ 83964 w 268312"/>
                    <a:gd name="connsiteY6" fmla="*/ 0 h 225357"/>
                    <a:gd name="connsiteX7" fmla="*/ 4903 w 268312"/>
                    <a:gd name="connsiteY7" fmla="*/ 0 h 225357"/>
                    <a:gd name="connsiteX8" fmla="*/ 0 w 268312"/>
                    <a:gd name="connsiteY8" fmla="*/ 33126 h 22535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268312" h="225357">
                      <a:moveTo>
                        <a:pt x="247269" y="225358"/>
                      </a:moveTo>
                      <a:cubicBezTo>
                        <a:pt x="242319" y="205886"/>
                        <a:pt x="234695" y="187493"/>
                        <a:pt x="224701" y="170602"/>
                      </a:cubicBezTo>
                      <a:lnTo>
                        <a:pt x="268313" y="109113"/>
                      </a:lnTo>
                      <a:lnTo>
                        <a:pt x="212407" y="53231"/>
                      </a:lnTo>
                      <a:lnTo>
                        <a:pt x="150895" y="96867"/>
                      </a:lnTo>
                      <a:cubicBezTo>
                        <a:pt x="134027" y="86849"/>
                        <a:pt x="115658" y="79248"/>
                        <a:pt x="96186" y="74275"/>
                      </a:cubicBezTo>
                      <a:lnTo>
                        <a:pt x="83964" y="0"/>
                      </a:lnTo>
                      <a:lnTo>
                        <a:pt x="4903" y="0"/>
                      </a:lnTo>
                      <a:lnTo>
                        <a:pt x="0" y="33126"/>
                      </a:ln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76" name="Forma livre: Forma 75">
                  <a:extLst>
                    <a:ext uri="{FF2B5EF4-FFF2-40B4-BE49-F238E27FC236}">
                      <a16:creationId xmlns:a16="http://schemas.microsoft.com/office/drawing/2014/main" id="{A87A1F6A-680A-023F-6037-E6231A568756}"/>
                    </a:ext>
                  </a:extLst>
                </p:cNvPr>
                <p:cNvSpPr/>
                <p:nvPr/>
              </p:nvSpPr>
              <p:spPr>
                <a:xfrm>
                  <a:off x="922955" y="4304099"/>
                  <a:ext cx="224864" cy="330270"/>
                </a:xfrm>
                <a:custGeom>
                  <a:avLst/>
                  <a:gdLst>
                    <a:gd name="connsiteX0" fmla="*/ 96820 w 224864"/>
                    <a:gd name="connsiteY0" fmla="*/ 0 h 330270"/>
                    <a:gd name="connsiteX1" fmla="*/ 74345 w 224864"/>
                    <a:gd name="connsiteY1" fmla="*/ 54287 h 330270"/>
                    <a:gd name="connsiteX2" fmla="*/ 0 w 224864"/>
                    <a:gd name="connsiteY2" fmla="*/ 66908 h 330270"/>
                    <a:gd name="connsiteX3" fmla="*/ 0 w 224864"/>
                    <a:gd name="connsiteY3" fmla="*/ 145969 h 330270"/>
                    <a:gd name="connsiteX4" fmla="*/ 74345 w 224864"/>
                    <a:gd name="connsiteY4" fmla="*/ 158613 h 330270"/>
                    <a:gd name="connsiteX5" fmla="*/ 97054 w 224864"/>
                    <a:gd name="connsiteY5" fmla="*/ 213252 h 330270"/>
                    <a:gd name="connsiteX6" fmla="*/ 53184 w 224864"/>
                    <a:gd name="connsiteY6" fmla="*/ 274389 h 330270"/>
                    <a:gd name="connsiteX7" fmla="*/ 109089 w 224864"/>
                    <a:gd name="connsiteY7" fmla="*/ 330271 h 330270"/>
                    <a:gd name="connsiteX8" fmla="*/ 170226 w 224864"/>
                    <a:gd name="connsiteY8" fmla="*/ 286377 h 330270"/>
                    <a:gd name="connsiteX9" fmla="*/ 224865 w 224864"/>
                    <a:gd name="connsiteY9" fmla="*/ 309063 h 33027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224864" h="330270">
                      <a:moveTo>
                        <a:pt x="96820" y="0"/>
                      </a:moveTo>
                      <a:cubicBezTo>
                        <a:pt x="86896" y="16751"/>
                        <a:pt x="79295" y="34956"/>
                        <a:pt x="74345" y="54287"/>
                      </a:cubicBezTo>
                      <a:lnTo>
                        <a:pt x="0" y="66908"/>
                      </a:lnTo>
                      <a:lnTo>
                        <a:pt x="0" y="145969"/>
                      </a:lnTo>
                      <a:lnTo>
                        <a:pt x="74345" y="158613"/>
                      </a:lnTo>
                      <a:cubicBezTo>
                        <a:pt x="79318" y="178085"/>
                        <a:pt x="87013" y="196408"/>
                        <a:pt x="97054" y="213252"/>
                      </a:cubicBezTo>
                      <a:lnTo>
                        <a:pt x="53184" y="274389"/>
                      </a:lnTo>
                      <a:lnTo>
                        <a:pt x="109089" y="330271"/>
                      </a:lnTo>
                      <a:lnTo>
                        <a:pt x="170226" y="286377"/>
                      </a:lnTo>
                      <a:cubicBezTo>
                        <a:pt x="187071" y="296395"/>
                        <a:pt x="205416" y="304089"/>
                        <a:pt x="224865" y="309063"/>
                      </a:cubicBez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77" name="Forma livre: Forma 76">
                  <a:extLst>
                    <a:ext uri="{FF2B5EF4-FFF2-40B4-BE49-F238E27FC236}">
                      <a16:creationId xmlns:a16="http://schemas.microsoft.com/office/drawing/2014/main" id="{A028DD10-6E6B-C759-7699-49CF631C8474}"/>
                    </a:ext>
                  </a:extLst>
                </p:cNvPr>
                <p:cNvSpPr/>
                <p:nvPr/>
              </p:nvSpPr>
              <p:spPr>
                <a:xfrm>
                  <a:off x="976162" y="4186729"/>
                  <a:ext cx="172103" cy="82180"/>
                </a:xfrm>
                <a:custGeom>
                  <a:avLst/>
                  <a:gdLst>
                    <a:gd name="connsiteX0" fmla="*/ 172103 w 172103"/>
                    <a:gd name="connsiteY0" fmla="*/ 21067 h 82180"/>
                    <a:gd name="connsiteX1" fmla="*/ 117418 w 172103"/>
                    <a:gd name="connsiteY1" fmla="*/ 43636 h 82180"/>
                    <a:gd name="connsiteX2" fmla="*/ 55905 w 172103"/>
                    <a:gd name="connsiteY2" fmla="*/ 0 h 82180"/>
                    <a:gd name="connsiteX3" fmla="*/ 0 w 172103"/>
                    <a:gd name="connsiteY3" fmla="*/ 55882 h 82180"/>
                    <a:gd name="connsiteX4" fmla="*/ 18815 w 172103"/>
                    <a:gd name="connsiteY4" fmla="*/ 82180 h 821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72103" h="82180">
                      <a:moveTo>
                        <a:pt x="172103" y="21067"/>
                      </a:moveTo>
                      <a:cubicBezTo>
                        <a:pt x="152631" y="26017"/>
                        <a:pt x="134285" y="33642"/>
                        <a:pt x="117418" y="43636"/>
                      </a:cubicBezTo>
                      <a:lnTo>
                        <a:pt x="55905" y="0"/>
                      </a:lnTo>
                      <a:lnTo>
                        <a:pt x="0" y="55882"/>
                      </a:lnTo>
                      <a:lnTo>
                        <a:pt x="18815" y="82180"/>
                      </a:ln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78" name="Forma livre: Forma 77">
                <a:extLst>
                  <a:ext uri="{FF2B5EF4-FFF2-40B4-BE49-F238E27FC236}">
                    <a16:creationId xmlns:a16="http://schemas.microsoft.com/office/drawing/2014/main" id="{C5F1076F-BAB1-017D-E254-4228990DC0A9}"/>
                  </a:ext>
                </a:extLst>
              </p:cNvPr>
              <p:cNvSpPr/>
              <p:nvPr/>
            </p:nvSpPr>
            <p:spPr>
              <a:xfrm>
                <a:off x="1128160" y="4338703"/>
                <a:ext cx="143669" cy="143692"/>
              </a:xfrm>
              <a:custGeom>
                <a:avLst/>
                <a:gdLst>
                  <a:gd name="connsiteX0" fmla="*/ 47929 w 143669"/>
                  <a:gd name="connsiteY0" fmla="*/ 4082 h 143692"/>
                  <a:gd name="connsiteX1" fmla="*/ 71835 w 143669"/>
                  <a:gd name="connsiteY1" fmla="*/ 0 h 143692"/>
                  <a:gd name="connsiteX2" fmla="*/ 143669 w 143669"/>
                  <a:gd name="connsiteY2" fmla="*/ 71858 h 143692"/>
                  <a:gd name="connsiteX3" fmla="*/ 71835 w 143669"/>
                  <a:gd name="connsiteY3" fmla="*/ 143693 h 143692"/>
                  <a:gd name="connsiteX4" fmla="*/ 0 w 143669"/>
                  <a:gd name="connsiteY4" fmla="*/ 71858 h 143692"/>
                  <a:gd name="connsiteX5" fmla="*/ 8891 w 143669"/>
                  <a:gd name="connsiteY5" fmla="*/ 37208 h 1436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43669" h="143692">
                    <a:moveTo>
                      <a:pt x="47929" y="4082"/>
                    </a:moveTo>
                    <a:cubicBezTo>
                      <a:pt x="55413" y="1455"/>
                      <a:pt x="63459" y="0"/>
                      <a:pt x="71835" y="0"/>
                    </a:cubicBezTo>
                    <a:cubicBezTo>
                      <a:pt x="111529" y="0"/>
                      <a:pt x="143669" y="32187"/>
                      <a:pt x="143669" y="71858"/>
                    </a:cubicBezTo>
                    <a:cubicBezTo>
                      <a:pt x="143669" y="111529"/>
                      <a:pt x="111506" y="143693"/>
                      <a:pt x="71835" y="143693"/>
                    </a:cubicBezTo>
                    <a:cubicBezTo>
                      <a:pt x="32164" y="143693"/>
                      <a:pt x="0" y="111529"/>
                      <a:pt x="0" y="71858"/>
                    </a:cubicBezTo>
                    <a:cubicBezTo>
                      <a:pt x="0" y="59307"/>
                      <a:pt x="3237" y="47507"/>
                      <a:pt x="8891" y="37208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79" name="Forma livre: Forma 78">
              <a:extLst>
                <a:ext uri="{FF2B5EF4-FFF2-40B4-BE49-F238E27FC236}">
                  <a16:creationId xmlns:a16="http://schemas.microsoft.com/office/drawing/2014/main" id="{5628AD8A-F9CC-0A8B-D752-F2D74B559371}"/>
                </a:ext>
              </a:extLst>
            </p:cNvPr>
            <p:cNvSpPr/>
            <p:nvPr/>
          </p:nvSpPr>
          <p:spPr>
            <a:xfrm>
              <a:off x="1125573" y="4346415"/>
              <a:ext cx="418820" cy="418806"/>
            </a:xfrm>
            <a:custGeom>
              <a:avLst/>
              <a:gdLst>
                <a:gd name="connsiteX0" fmla="*/ 410956 w 418820"/>
                <a:gd name="connsiteY0" fmla="*/ 19783 h 418806"/>
                <a:gd name="connsiteX1" fmla="*/ 410956 w 418820"/>
                <a:gd name="connsiteY1" fmla="*/ 57952 h 418806"/>
                <a:gd name="connsiteX2" fmla="*/ 57952 w 418820"/>
                <a:gd name="connsiteY2" fmla="*/ 410933 h 418806"/>
                <a:gd name="connsiteX3" fmla="*/ 19806 w 418820"/>
                <a:gd name="connsiteY3" fmla="*/ 410933 h 418806"/>
                <a:gd name="connsiteX4" fmla="*/ 7865 w 418820"/>
                <a:gd name="connsiteY4" fmla="*/ 398991 h 418806"/>
                <a:gd name="connsiteX5" fmla="*/ 7865 w 418820"/>
                <a:gd name="connsiteY5" fmla="*/ 360845 h 418806"/>
                <a:gd name="connsiteX6" fmla="*/ 360869 w 418820"/>
                <a:gd name="connsiteY6" fmla="*/ 7865 h 418806"/>
                <a:gd name="connsiteX7" fmla="*/ 399015 w 418820"/>
                <a:gd name="connsiteY7" fmla="*/ 7865 h 418806"/>
                <a:gd name="connsiteX8" fmla="*/ 410956 w 418820"/>
                <a:gd name="connsiteY8" fmla="*/ 19806 h 418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18820" h="418806">
                  <a:moveTo>
                    <a:pt x="410956" y="19783"/>
                  </a:moveTo>
                  <a:cubicBezTo>
                    <a:pt x="421443" y="30269"/>
                    <a:pt x="421443" y="47442"/>
                    <a:pt x="410956" y="57952"/>
                  </a:cubicBezTo>
                  <a:lnTo>
                    <a:pt x="57952" y="410933"/>
                  </a:lnTo>
                  <a:cubicBezTo>
                    <a:pt x="47466" y="421419"/>
                    <a:pt x="30293" y="421443"/>
                    <a:pt x="19806" y="410933"/>
                  </a:cubicBezTo>
                  <a:lnTo>
                    <a:pt x="7865" y="398991"/>
                  </a:lnTo>
                  <a:cubicBezTo>
                    <a:pt x="-2622" y="388505"/>
                    <a:pt x="-2622" y="371332"/>
                    <a:pt x="7865" y="360845"/>
                  </a:cubicBezTo>
                  <a:lnTo>
                    <a:pt x="360869" y="7865"/>
                  </a:lnTo>
                  <a:cubicBezTo>
                    <a:pt x="371355" y="-2622"/>
                    <a:pt x="388528" y="-2622"/>
                    <a:pt x="399015" y="7865"/>
                  </a:cubicBezTo>
                  <a:lnTo>
                    <a:pt x="410956" y="19806"/>
                  </a:ln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0" name="Forma livre: Forma 79">
              <a:extLst>
                <a:ext uri="{FF2B5EF4-FFF2-40B4-BE49-F238E27FC236}">
                  <a16:creationId xmlns:a16="http://schemas.microsoft.com/office/drawing/2014/main" id="{AAAAFD55-017A-3BD3-B314-5418D967CC0B}"/>
                </a:ext>
              </a:extLst>
            </p:cNvPr>
            <p:cNvSpPr/>
            <p:nvPr/>
          </p:nvSpPr>
          <p:spPr>
            <a:xfrm>
              <a:off x="1376485" y="4463323"/>
              <a:ext cx="49969" cy="49993"/>
            </a:xfrm>
            <a:custGeom>
              <a:avLst/>
              <a:gdLst>
                <a:gd name="connsiteX0" fmla="*/ 0 w 49969"/>
                <a:gd name="connsiteY0" fmla="*/ 0 h 49993"/>
                <a:gd name="connsiteX1" fmla="*/ 49970 w 49969"/>
                <a:gd name="connsiteY1" fmla="*/ 49993 h 499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9969" h="49993">
                  <a:moveTo>
                    <a:pt x="0" y="0"/>
                  </a:moveTo>
                  <a:lnTo>
                    <a:pt x="49970" y="49993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81" name="Forma livre: Forma 80">
              <a:extLst>
                <a:ext uri="{FF2B5EF4-FFF2-40B4-BE49-F238E27FC236}">
                  <a16:creationId xmlns:a16="http://schemas.microsoft.com/office/drawing/2014/main" id="{D121660F-D284-E224-4328-13488CCAB60A}"/>
                </a:ext>
              </a:extLst>
            </p:cNvPr>
            <p:cNvSpPr/>
            <p:nvPr/>
          </p:nvSpPr>
          <p:spPr>
            <a:xfrm>
              <a:off x="1554922" y="4484601"/>
              <a:ext cx="14263" cy="14263"/>
            </a:xfrm>
            <a:custGeom>
              <a:avLst/>
              <a:gdLst>
                <a:gd name="connsiteX0" fmla="*/ 0 w 14263"/>
                <a:gd name="connsiteY0" fmla="*/ 7132 h 14263"/>
                <a:gd name="connsiteX1" fmla="*/ 7108 w 14263"/>
                <a:gd name="connsiteY1" fmla="*/ 14264 h 14263"/>
                <a:gd name="connsiteX2" fmla="*/ 14264 w 14263"/>
                <a:gd name="connsiteY2" fmla="*/ 7132 h 14263"/>
                <a:gd name="connsiteX3" fmla="*/ 7108 w 14263"/>
                <a:gd name="connsiteY3" fmla="*/ 0 h 14263"/>
                <a:gd name="connsiteX4" fmla="*/ 0 w 14263"/>
                <a:gd name="connsiteY4" fmla="*/ 7132 h 142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263" h="14263">
                  <a:moveTo>
                    <a:pt x="0" y="7132"/>
                  </a:moveTo>
                  <a:cubicBezTo>
                    <a:pt x="0" y="11073"/>
                    <a:pt x="3191" y="14264"/>
                    <a:pt x="7108" y="14264"/>
                  </a:cubicBezTo>
                  <a:cubicBezTo>
                    <a:pt x="11026" y="14264"/>
                    <a:pt x="14264" y="11073"/>
                    <a:pt x="14264" y="7132"/>
                  </a:cubicBezTo>
                  <a:cubicBezTo>
                    <a:pt x="14264" y="3191"/>
                    <a:pt x="11050" y="0"/>
                    <a:pt x="7108" y="0"/>
                  </a:cubicBezTo>
                  <a:cubicBezTo>
                    <a:pt x="3167" y="0"/>
                    <a:pt x="0" y="3191"/>
                    <a:pt x="0" y="7132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82" name="Gráfico 2">
              <a:extLst>
                <a:ext uri="{FF2B5EF4-FFF2-40B4-BE49-F238E27FC236}">
                  <a16:creationId xmlns:a16="http://schemas.microsoft.com/office/drawing/2014/main" id="{FF8A2177-4203-7B88-3C06-EA086BDCE1D8}"/>
                </a:ext>
              </a:extLst>
            </p:cNvPr>
            <p:cNvGrpSpPr/>
            <p:nvPr/>
          </p:nvGrpSpPr>
          <p:grpSpPr>
            <a:xfrm>
              <a:off x="1488976" y="4185931"/>
              <a:ext cx="108901" cy="108948"/>
              <a:chOff x="1488976" y="4185931"/>
              <a:chExt cx="108901" cy="108948"/>
            </a:xfrm>
          </p:grpSpPr>
          <p:sp>
            <p:nvSpPr>
              <p:cNvPr id="83" name="Forma livre: Forma 82">
                <a:extLst>
                  <a:ext uri="{FF2B5EF4-FFF2-40B4-BE49-F238E27FC236}">
                    <a16:creationId xmlns:a16="http://schemas.microsoft.com/office/drawing/2014/main" id="{E68FD54F-905A-FFA9-F945-3EF99E95D826}"/>
                  </a:ext>
                </a:extLst>
              </p:cNvPr>
              <p:cNvSpPr/>
              <p:nvPr/>
            </p:nvSpPr>
            <p:spPr>
              <a:xfrm>
                <a:off x="1543426" y="4185931"/>
                <a:ext cx="2346" cy="34697"/>
              </a:xfrm>
              <a:custGeom>
                <a:avLst/>
                <a:gdLst>
                  <a:gd name="connsiteX0" fmla="*/ 0 w 2346"/>
                  <a:gd name="connsiteY0" fmla="*/ 0 h 34697"/>
                  <a:gd name="connsiteX1" fmla="*/ 0 w 2346"/>
                  <a:gd name="connsiteY1" fmla="*/ 34697 h 346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346" h="34697">
                    <a:moveTo>
                      <a:pt x="0" y="0"/>
                    </a:moveTo>
                    <a:lnTo>
                      <a:pt x="0" y="34697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84" name="Forma livre: Forma 83">
                <a:extLst>
                  <a:ext uri="{FF2B5EF4-FFF2-40B4-BE49-F238E27FC236}">
                    <a16:creationId xmlns:a16="http://schemas.microsoft.com/office/drawing/2014/main" id="{B7926A5F-AC52-D13B-494D-F868F8306EFF}"/>
                  </a:ext>
                </a:extLst>
              </p:cNvPr>
              <p:cNvSpPr/>
              <p:nvPr/>
            </p:nvSpPr>
            <p:spPr>
              <a:xfrm>
                <a:off x="1543426" y="4260182"/>
                <a:ext cx="2346" cy="34697"/>
              </a:xfrm>
              <a:custGeom>
                <a:avLst/>
                <a:gdLst>
                  <a:gd name="connsiteX0" fmla="*/ 0 w 2346"/>
                  <a:gd name="connsiteY0" fmla="*/ 0 h 34697"/>
                  <a:gd name="connsiteX1" fmla="*/ 0 w 2346"/>
                  <a:gd name="connsiteY1" fmla="*/ 34698 h 346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346" h="34697">
                    <a:moveTo>
                      <a:pt x="0" y="0"/>
                    </a:moveTo>
                    <a:lnTo>
                      <a:pt x="0" y="34698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85" name="Forma livre: Forma 84">
                <a:extLst>
                  <a:ext uri="{FF2B5EF4-FFF2-40B4-BE49-F238E27FC236}">
                    <a16:creationId xmlns:a16="http://schemas.microsoft.com/office/drawing/2014/main" id="{D8884D71-62E6-04F3-DA60-B5CD2EA6619A}"/>
                  </a:ext>
                </a:extLst>
              </p:cNvPr>
              <p:cNvSpPr/>
              <p:nvPr/>
            </p:nvSpPr>
            <p:spPr>
              <a:xfrm>
                <a:off x="1563203" y="4240405"/>
                <a:ext cx="34673" cy="2346"/>
              </a:xfrm>
              <a:custGeom>
                <a:avLst/>
                <a:gdLst>
                  <a:gd name="connsiteX0" fmla="*/ 34674 w 34673"/>
                  <a:gd name="connsiteY0" fmla="*/ 0 h 2346"/>
                  <a:gd name="connsiteX1" fmla="*/ 0 w 34673"/>
                  <a:gd name="connsiteY1" fmla="*/ 0 h 2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4673" h="2346">
                    <a:moveTo>
                      <a:pt x="34674" y="0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86" name="Forma livre: Forma 85">
                <a:extLst>
                  <a:ext uri="{FF2B5EF4-FFF2-40B4-BE49-F238E27FC236}">
                    <a16:creationId xmlns:a16="http://schemas.microsoft.com/office/drawing/2014/main" id="{BAFA7F97-9670-520F-D215-9BAF74B8E2A2}"/>
                  </a:ext>
                </a:extLst>
              </p:cNvPr>
              <p:cNvSpPr/>
              <p:nvPr/>
            </p:nvSpPr>
            <p:spPr>
              <a:xfrm>
                <a:off x="1488976" y="4240405"/>
                <a:ext cx="34673" cy="2346"/>
              </a:xfrm>
              <a:custGeom>
                <a:avLst/>
                <a:gdLst>
                  <a:gd name="connsiteX0" fmla="*/ 34674 w 34673"/>
                  <a:gd name="connsiteY0" fmla="*/ 0 h 2346"/>
                  <a:gd name="connsiteX1" fmla="*/ 0 w 34673"/>
                  <a:gd name="connsiteY1" fmla="*/ 0 h 2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4673" h="2346">
                    <a:moveTo>
                      <a:pt x="34674" y="0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87" name="Gráfico 2">
              <a:extLst>
                <a:ext uri="{FF2B5EF4-FFF2-40B4-BE49-F238E27FC236}">
                  <a16:creationId xmlns:a16="http://schemas.microsoft.com/office/drawing/2014/main" id="{0EDEB555-8E04-21AC-27EB-69E2D3234075}"/>
                </a:ext>
              </a:extLst>
            </p:cNvPr>
            <p:cNvGrpSpPr/>
            <p:nvPr/>
          </p:nvGrpSpPr>
          <p:grpSpPr>
            <a:xfrm>
              <a:off x="1418807" y="4568752"/>
              <a:ext cx="108925" cy="108925"/>
              <a:chOff x="1418807" y="4568752"/>
              <a:chExt cx="108925" cy="108925"/>
            </a:xfrm>
          </p:grpSpPr>
          <p:sp>
            <p:nvSpPr>
              <p:cNvPr id="88" name="Forma livre: Forma 87">
                <a:extLst>
                  <a:ext uri="{FF2B5EF4-FFF2-40B4-BE49-F238E27FC236}">
                    <a16:creationId xmlns:a16="http://schemas.microsoft.com/office/drawing/2014/main" id="{128DB1EA-45FA-C605-D55D-647FB917F1C9}"/>
                  </a:ext>
                </a:extLst>
              </p:cNvPr>
              <p:cNvSpPr/>
              <p:nvPr/>
            </p:nvSpPr>
            <p:spPr>
              <a:xfrm>
                <a:off x="1473257" y="4568752"/>
                <a:ext cx="2346" cy="34673"/>
              </a:xfrm>
              <a:custGeom>
                <a:avLst/>
                <a:gdLst>
                  <a:gd name="connsiteX0" fmla="*/ 0 w 2346"/>
                  <a:gd name="connsiteY0" fmla="*/ 0 h 34673"/>
                  <a:gd name="connsiteX1" fmla="*/ 0 w 2346"/>
                  <a:gd name="connsiteY1" fmla="*/ 34674 h 346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346" h="34673">
                    <a:moveTo>
                      <a:pt x="0" y="0"/>
                    </a:moveTo>
                    <a:lnTo>
                      <a:pt x="0" y="34674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89" name="Forma livre: Forma 88">
                <a:extLst>
                  <a:ext uri="{FF2B5EF4-FFF2-40B4-BE49-F238E27FC236}">
                    <a16:creationId xmlns:a16="http://schemas.microsoft.com/office/drawing/2014/main" id="{C1DE7F83-BA81-D659-A4C3-3E0A746B3CB3}"/>
                  </a:ext>
                </a:extLst>
              </p:cNvPr>
              <p:cNvSpPr/>
              <p:nvPr/>
            </p:nvSpPr>
            <p:spPr>
              <a:xfrm>
                <a:off x="1473257" y="4642980"/>
                <a:ext cx="2346" cy="34697"/>
              </a:xfrm>
              <a:custGeom>
                <a:avLst/>
                <a:gdLst>
                  <a:gd name="connsiteX0" fmla="*/ 0 w 2346"/>
                  <a:gd name="connsiteY0" fmla="*/ 0 h 34697"/>
                  <a:gd name="connsiteX1" fmla="*/ 0 w 2346"/>
                  <a:gd name="connsiteY1" fmla="*/ 34697 h 346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346" h="34697">
                    <a:moveTo>
                      <a:pt x="0" y="0"/>
                    </a:moveTo>
                    <a:lnTo>
                      <a:pt x="0" y="34697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0" name="Forma livre: Forma 89">
                <a:extLst>
                  <a:ext uri="{FF2B5EF4-FFF2-40B4-BE49-F238E27FC236}">
                    <a16:creationId xmlns:a16="http://schemas.microsoft.com/office/drawing/2014/main" id="{FB3686CF-A846-24C3-59AD-614C268F3C47}"/>
                  </a:ext>
                </a:extLst>
              </p:cNvPr>
              <p:cNvSpPr/>
              <p:nvPr/>
            </p:nvSpPr>
            <p:spPr>
              <a:xfrm>
                <a:off x="1493034" y="4623203"/>
                <a:ext cx="34697" cy="2346"/>
              </a:xfrm>
              <a:custGeom>
                <a:avLst/>
                <a:gdLst>
                  <a:gd name="connsiteX0" fmla="*/ 34697 w 34697"/>
                  <a:gd name="connsiteY0" fmla="*/ 0 h 2346"/>
                  <a:gd name="connsiteX1" fmla="*/ 0 w 34697"/>
                  <a:gd name="connsiteY1" fmla="*/ 0 h 2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4697" h="2346">
                    <a:moveTo>
                      <a:pt x="34697" y="0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1" name="Forma livre: Forma 90">
                <a:extLst>
                  <a:ext uri="{FF2B5EF4-FFF2-40B4-BE49-F238E27FC236}">
                    <a16:creationId xmlns:a16="http://schemas.microsoft.com/office/drawing/2014/main" id="{0A56388E-E0D6-8D28-AB04-7AC644C926B2}"/>
                  </a:ext>
                </a:extLst>
              </p:cNvPr>
              <p:cNvSpPr/>
              <p:nvPr/>
            </p:nvSpPr>
            <p:spPr>
              <a:xfrm>
                <a:off x="1418807" y="4623203"/>
                <a:ext cx="34673" cy="2346"/>
              </a:xfrm>
              <a:custGeom>
                <a:avLst/>
                <a:gdLst>
                  <a:gd name="connsiteX0" fmla="*/ 34674 w 34673"/>
                  <a:gd name="connsiteY0" fmla="*/ 0 h 2346"/>
                  <a:gd name="connsiteX1" fmla="*/ 0 w 34673"/>
                  <a:gd name="connsiteY1" fmla="*/ 0 h 2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4673" h="2346">
                    <a:moveTo>
                      <a:pt x="34674" y="0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92" name="Gráfico 2">
            <a:extLst>
              <a:ext uri="{FF2B5EF4-FFF2-40B4-BE49-F238E27FC236}">
                <a16:creationId xmlns:a16="http://schemas.microsoft.com/office/drawing/2014/main" id="{6E8C9A0B-7C3D-ABAB-ED9E-B0DF8953CEBE}"/>
              </a:ext>
            </a:extLst>
          </p:cNvPr>
          <p:cNvGrpSpPr/>
          <p:nvPr/>
        </p:nvGrpSpPr>
        <p:grpSpPr>
          <a:xfrm>
            <a:off x="971306" y="2073164"/>
            <a:ext cx="578196" cy="578243"/>
            <a:chOff x="971306" y="2073164"/>
            <a:chExt cx="578196" cy="578243"/>
          </a:xfrm>
          <a:noFill/>
        </p:grpSpPr>
        <p:grpSp>
          <p:nvGrpSpPr>
            <p:cNvPr id="93" name="Gráfico 2">
              <a:extLst>
                <a:ext uri="{FF2B5EF4-FFF2-40B4-BE49-F238E27FC236}">
                  <a16:creationId xmlns:a16="http://schemas.microsoft.com/office/drawing/2014/main" id="{C74172BA-42BA-8234-6684-F6C8A33B0DFF}"/>
                </a:ext>
              </a:extLst>
            </p:cNvPr>
            <p:cNvGrpSpPr/>
            <p:nvPr/>
          </p:nvGrpSpPr>
          <p:grpSpPr>
            <a:xfrm>
              <a:off x="971306" y="2073164"/>
              <a:ext cx="578196" cy="578243"/>
              <a:chOff x="971306" y="2073164"/>
              <a:chExt cx="578196" cy="578243"/>
            </a:xfrm>
            <a:noFill/>
          </p:grpSpPr>
          <p:sp>
            <p:nvSpPr>
              <p:cNvPr id="94" name="Forma livre: Forma 93">
                <a:extLst>
                  <a:ext uri="{FF2B5EF4-FFF2-40B4-BE49-F238E27FC236}">
                    <a16:creationId xmlns:a16="http://schemas.microsoft.com/office/drawing/2014/main" id="{1B32199E-FE5F-861E-DEC5-190548C9C900}"/>
                  </a:ext>
                </a:extLst>
              </p:cNvPr>
              <p:cNvSpPr/>
              <p:nvPr/>
            </p:nvSpPr>
            <p:spPr>
              <a:xfrm>
                <a:off x="971306" y="2073164"/>
                <a:ext cx="578196" cy="578243"/>
              </a:xfrm>
              <a:custGeom>
                <a:avLst/>
                <a:gdLst>
                  <a:gd name="connsiteX0" fmla="*/ 101043 w 578196"/>
                  <a:gd name="connsiteY0" fmla="*/ 178062 h 578243"/>
                  <a:gd name="connsiteX1" fmla="*/ 77582 w 578196"/>
                  <a:gd name="connsiteY1" fmla="*/ 234694 h 578243"/>
                  <a:gd name="connsiteX2" fmla="*/ 0 w 578196"/>
                  <a:gd name="connsiteY2" fmla="*/ 247879 h 578243"/>
                  <a:gd name="connsiteX3" fmla="*/ 0 w 578196"/>
                  <a:gd name="connsiteY3" fmla="*/ 330388 h 578243"/>
                  <a:gd name="connsiteX4" fmla="*/ 77582 w 578196"/>
                  <a:gd name="connsiteY4" fmla="*/ 343596 h 578243"/>
                  <a:gd name="connsiteX5" fmla="*/ 101301 w 578196"/>
                  <a:gd name="connsiteY5" fmla="*/ 400604 h 578243"/>
                  <a:gd name="connsiteX6" fmla="*/ 55507 w 578196"/>
                  <a:gd name="connsiteY6" fmla="*/ 464415 h 578243"/>
                  <a:gd name="connsiteX7" fmla="*/ 113852 w 578196"/>
                  <a:gd name="connsiteY7" fmla="*/ 522737 h 578243"/>
                  <a:gd name="connsiteX8" fmla="*/ 177663 w 578196"/>
                  <a:gd name="connsiteY8" fmla="*/ 476943 h 578243"/>
                  <a:gd name="connsiteX9" fmla="*/ 234671 w 578196"/>
                  <a:gd name="connsiteY9" fmla="*/ 500614 h 578243"/>
                  <a:gd name="connsiteX10" fmla="*/ 247856 w 578196"/>
                  <a:gd name="connsiteY10" fmla="*/ 578244 h 578243"/>
                  <a:gd name="connsiteX11" fmla="*/ 330341 w 578196"/>
                  <a:gd name="connsiteY11" fmla="*/ 578244 h 578243"/>
                  <a:gd name="connsiteX12" fmla="*/ 343549 w 578196"/>
                  <a:gd name="connsiteY12" fmla="*/ 500638 h 578243"/>
                  <a:gd name="connsiteX13" fmla="*/ 400581 w 578196"/>
                  <a:gd name="connsiteY13" fmla="*/ 476943 h 578243"/>
                  <a:gd name="connsiteX14" fmla="*/ 464369 w 578196"/>
                  <a:gd name="connsiteY14" fmla="*/ 522737 h 578243"/>
                  <a:gd name="connsiteX15" fmla="*/ 522690 w 578196"/>
                  <a:gd name="connsiteY15" fmla="*/ 464415 h 578243"/>
                  <a:gd name="connsiteX16" fmla="*/ 476920 w 578196"/>
                  <a:gd name="connsiteY16" fmla="*/ 400651 h 578243"/>
                  <a:gd name="connsiteX17" fmla="*/ 500732 w 578196"/>
                  <a:gd name="connsiteY17" fmla="*/ 343127 h 578243"/>
                  <a:gd name="connsiteX18" fmla="*/ 578197 w 578196"/>
                  <a:gd name="connsiteY18" fmla="*/ 330388 h 578243"/>
                  <a:gd name="connsiteX19" fmla="*/ 578197 w 578196"/>
                  <a:gd name="connsiteY19" fmla="*/ 247879 h 578243"/>
                  <a:gd name="connsiteX20" fmla="*/ 500732 w 578196"/>
                  <a:gd name="connsiteY20" fmla="*/ 235187 h 578243"/>
                  <a:gd name="connsiteX21" fmla="*/ 477178 w 578196"/>
                  <a:gd name="connsiteY21" fmla="*/ 178062 h 578243"/>
                  <a:gd name="connsiteX22" fmla="*/ 522690 w 578196"/>
                  <a:gd name="connsiteY22" fmla="*/ 113875 h 578243"/>
                  <a:gd name="connsiteX23" fmla="*/ 464369 w 578196"/>
                  <a:gd name="connsiteY23" fmla="*/ 55553 h 578243"/>
                  <a:gd name="connsiteX24" fmla="*/ 400158 w 578196"/>
                  <a:gd name="connsiteY24" fmla="*/ 101066 h 578243"/>
                  <a:gd name="connsiteX25" fmla="*/ 343057 w 578196"/>
                  <a:gd name="connsiteY25" fmla="*/ 77489 h 578243"/>
                  <a:gd name="connsiteX26" fmla="*/ 330318 w 578196"/>
                  <a:gd name="connsiteY26" fmla="*/ 0 h 578243"/>
                  <a:gd name="connsiteX27" fmla="*/ 247832 w 578196"/>
                  <a:gd name="connsiteY27" fmla="*/ 0 h 578243"/>
                  <a:gd name="connsiteX28" fmla="*/ 242718 w 578196"/>
                  <a:gd name="connsiteY28" fmla="*/ 34557 h 5782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</a:cxnLst>
                <a:rect l="l" t="t" r="r" b="b"/>
                <a:pathLst>
                  <a:path w="578196" h="578243">
                    <a:moveTo>
                      <a:pt x="101043" y="178062"/>
                    </a:moveTo>
                    <a:cubicBezTo>
                      <a:pt x="90697" y="195540"/>
                      <a:pt x="82744" y="214542"/>
                      <a:pt x="77582" y="234694"/>
                    </a:cubicBezTo>
                    <a:lnTo>
                      <a:pt x="0" y="247879"/>
                    </a:lnTo>
                    <a:lnTo>
                      <a:pt x="0" y="330388"/>
                    </a:lnTo>
                    <a:lnTo>
                      <a:pt x="77582" y="343596"/>
                    </a:lnTo>
                    <a:cubicBezTo>
                      <a:pt x="82791" y="363913"/>
                      <a:pt x="90814" y="383033"/>
                      <a:pt x="101301" y="400604"/>
                    </a:cubicBezTo>
                    <a:lnTo>
                      <a:pt x="55507" y="464415"/>
                    </a:lnTo>
                    <a:lnTo>
                      <a:pt x="113852" y="522737"/>
                    </a:lnTo>
                    <a:lnTo>
                      <a:pt x="177663" y="476943"/>
                    </a:lnTo>
                    <a:cubicBezTo>
                      <a:pt x="195235" y="487383"/>
                      <a:pt x="214378" y="495406"/>
                      <a:pt x="234671" y="500614"/>
                    </a:cubicBezTo>
                    <a:lnTo>
                      <a:pt x="247856" y="578244"/>
                    </a:lnTo>
                    <a:lnTo>
                      <a:pt x="330341" y="578244"/>
                    </a:lnTo>
                    <a:lnTo>
                      <a:pt x="343549" y="500638"/>
                    </a:lnTo>
                    <a:cubicBezTo>
                      <a:pt x="363866" y="495406"/>
                      <a:pt x="382986" y="487383"/>
                      <a:pt x="400581" y="476943"/>
                    </a:cubicBezTo>
                    <a:lnTo>
                      <a:pt x="464369" y="522737"/>
                    </a:lnTo>
                    <a:lnTo>
                      <a:pt x="522690" y="464415"/>
                    </a:lnTo>
                    <a:lnTo>
                      <a:pt x="476920" y="400651"/>
                    </a:lnTo>
                    <a:cubicBezTo>
                      <a:pt x="487453" y="382915"/>
                      <a:pt x="495500" y="363608"/>
                      <a:pt x="500732" y="343127"/>
                    </a:cubicBezTo>
                    <a:lnTo>
                      <a:pt x="578197" y="330388"/>
                    </a:lnTo>
                    <a:lnTo>
                      <a:pt x="578197" y="247879"/>
                    </a:lnTo>
                    <a:lnTo>
                      <a:pt x="500732" y="235187"/>
                    </a:lnTo>
                    <a:cubicBezTo>
                      <a:pt x="495570" y="214847"/>
                      <a:pt x="487618" y="195680"/>
                      <a:pt x="477178" y="178062"/>
                    </a:cubicBezTo>
                    <a:lnTo>
                      <a:pt x="522690" y="113875"/>
                    </a:lnTo>
                    <a:lnTo>
                      <a:pt x="464369" y="55553"/>
                    </a:lnTo>
                    <a:lnTo>
                      <a:pt x="400158" y="101066"/>
                    </a:lnTo>
                    <a:cubicBezTo>
                      <a:pt x="382563" y="90626"/>
                      <a:pt x="363396" y="82673"/>
                      <a:pt x="343057" y="77489"/>
                    </a:cubicBezTo>
                    <a:lnTo>
                      <a:pt x="330318" y="0"/>
                    </a:lnTo>
                    <a:lnTo>
                      <a:pt x="247832" y="0"/>
                    </a:lnTo>
                    <a:lnTo>
                      <a:pt x="242718" y="34557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95" name="Forma livre: Forma 94">
                <a:extLst>
                  <a:ext uri="{FF2B5EF4-FFF2-40B4-BE49-F238E27FC236}">
                    <a16:creationId xmlns:a16="http://schemas.microsoft.com/office/drawing/2014/main" id="{9F3F00EE-8F65-FE71-2087-4D35EB836762}"/>
                  </a:ext>
                </a:extLst>
              </p:cNvPr>
              <p:cNvSpPr/>
              <p:nvPr/>
            </p:nvSpPr>
            <p:spPr>
              <a:xfrm>
                <a:off x="1026789" y="2128741"/>
                <a:ext cx="179610" cy="85746"/>
              </a:xfrm>
              <a:custGeom>
                <a:avLst/>
                <a:gdLst>
                  <a:gd name="connsiteX0" fmla="*/ 179610 w 179610"/>
                  <a:gd name="connsiteY0" fmla="*/ 21959 h 85746"/>
                  <a:gd name="connsiteX1" fmla="*/ 122555 w 179610"/>
                  <a:gd name="connsiteY1" fmla="*/ 45513 h 85746"/>
                  <a:gd name="connsiteX2" fmla="*/ 58345 w 179610"/>
                  <a:gd name="connsiteY2" fmla="*/ 0 h 85746"/>
                  <a:gd name="connsiteX3" fmla="*/ 0 w 179610"/>
                  <a:gd name="connsiteY3" fmla="*/ 58298 h 85746"/>
                  <a:gd name="connsiteX4" fmla="*/ 19636 w 179610"/>
                  <a:gd name="connsiteY4" fmla="*/ 85747 h 857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9610" h="85746">
                    <a:moveTo>
                      <a:pt x="179610" y="21959"/>
                    </a:moveTo>
                    <a:cubicBezTo>
                      <a:pt x="159294" y="27143"/>
                      <a:pt x="140150" y="35073"/>
                      <a:pt x="122555" y="45513"/>
                    </a:cubicBezTo>
                    <a:lnTo>
                      <a:pt x="58345" y="0"/>
                    </a:lnTo>
                    <a:lnTo>
                      <a:pt x="0" y="58298"/>
                    </a:lnTo>
                    <a:lnTo>
                      <a:pt x="19636" y="85747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96" name="Forma livre: Forma 95">
              <a:extLst>
                <a:ext uri="{FF2B5EF4-FFF2-40B4-BE49-F238E27FC236}">
                  <a16:creationId xmlns:a16="http://schemas.microsoft.com/office/drawing/2014/main" id="{F5554901-8392-F8E5-BE21-1FA36933FCBD}"/>
                </a:ext>
              </a:extLst>
            </p:cNvPr>
            <p:cNvSpPr/>
            <p:nvPr/>
          </p:nvSpPr>
          <p:spPr>
            <a:xfrm>
              <a:off x="1128207" y="2228916"/>
              <a:ext cx="264418" cy="288300"/>
            </a:xfrm>
            <a:custGeom>
              <a:avLst/>
              <a:gdLst>
                <a:gd name="connsiteX0" fmla="*/ 80890 w 264418"/>
                <a:gd name="connsiteY0" fmla="*/ 288301 h 288300"/>
                <a:gd name="connsiteX1" fmla="*/ 42838 w 264418"/>
                <a:gd name="connsiteY1" fmla="*/ 219281 h 288300"/>
                <a:gd name="connsiteX2" fmla="*/ 42134 w 264418"/>
                <a:gd name="connsiteY2" fmla="*/ 218554 h 288300"/>
                <a:gd name="connsiteX3" fmla="*/ 0 w 264418"/>
                <a:gd name="connsiteY3" fmla="*/ 121781 h 288300"/>
                <a:gd name="connsiteX4" fmla="*/ 80679 w 264418"/>
                <a:gd name="connsiteY4" fmla="*/ 0 h 288300"/>
                <a:gd name="connsiteX5" fmla="*/ 80679 w 264418"/>
                <a:gd name="connsiteY5" fmla="*/ 98251 h 288300"/>
                <a:gd name="connsiteX6" fmla="*/ 131869 w 264418"/>
                <a:gd name="connsiteY6" fmla="*/ 149417 h 288300"/>
                <a:gd name="connsiteX7" fmla="*/ 132573 w 264418"/>
                <a:gd name="connsiteY7" fmla="*/ 149417 h 288300"/>
                <a:gd name="connsiteX8" fmla="*/ 183763 w 264418"/>
                <a:gd name="connsiteY8" fmla="*/ 98251 h 288300"/>
                <a:gd name="connsiteX9" fmla="*/ 183763 w 264418"/>
                <a:gd name="connsiteY9" fmla="*/ 0 h 288300"/>
                <a:gd name="connsiteX10" fmla="*/ 264418 w 264418"/>
                <a:gd name="connsiteY10" fmla="*/ 121805 h 288300"/>
                <a:gd name="connsiteX11" fmla="*/ 222308 w 264418"/>
                <a:gd name="connsiteY11" fmla="*/ 218554 h 288300"/>
                <a:gd name="connsiteX12" fmla="*/ 221604 w 264418"/>
                <a:gd name="connsiteY12" fmla="*/ 219281 h 288300"/>
                <a:gd name="connsiteX13" fmla="*/ 183270 w 264418"/>
                <a:gd name="connsiteY13" fmla="*/ 288301 h 288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64418" h="288300">
                  <a:moveTo>
                    <a:pt x="80890" y="288301"/>
                  </a:moveTo>
                  <a:cubicBezTo>
                    <a:pt x="79858" y="248137"/>
                    <a:pt x="50627" y="226835"/>
                    <a:pt x="42838" y="219281"/>
                  </a:cubicBezTo>
                  <a:lnTo>
                    <a:pt x="42134" y="218554"/>
                  </a:lnTo>
                  <a:cubicBezTo>
                    <a:pt x="16211" y="194414"/>
                    <a:pt x="23" y="159998"/>
                    <a:pt x="0" y="121781"/>
                  </a:cubicBezTo>
                  <a:cubicBezTo>
                    <a:pt x="0" y="67049"/>
                    <a:pt x="33219" y="20058"/>
                    <a:pt x="80679" y="0"/>
                  </a:cubicBezTo>
                  <a:lnTo>
                    <a:pt x="80679" y="98251"/>
                  </a:lnTo>
                  <a:cubicBezTo>
                    <a:pt x="80679" y="126403"/>
                    <a:pt x="103717" y="149417"/>
                    <a:pt x="131869" y="149417"/>
                  </a:cubicBezTo>
                  <a:lnTo>
                    <a:pt x="132573" y="149417"/>
                  </a:lnTo>
                  <a:cubicBezTo>
                    <a:pt x="160748" y="149417"/>
                    <a:pt x="183763" y="126403"/>
                    <a:pt x="183763" y="98251"/>
                  </a:cubicBezTo>
                  <a:lnTo>
                    <a:pt x="183763" y="0"/>
                  </a:lnTo>
                  <a:cubicBezTo>
                    <a:pt x="231222" y="20058"/>
                    <a:pt x="264418" y="67072"/>
                    <a:pt x="264418" y="121805"/>
                  </a:cubicBezTo>
                  <a:cubicBezTo>
                    <a:pt x="264418" y="159974"/>
                    <a:pt x="248208" y="194414"/>
                    <a:pt x="222308" y="218554"/>
                  </a:cubicBezTo>
                  <a:lnTo>
                    <a:pt x="221604" y="219281"/>
                  </a:lnTo>
                  <a:cubicBezTo>
                    <a:pt x="213792" y="226859"/>
                    <a:pt x="184302" y="248137"/>
                    <a:pt x="183270" y="288301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97" name="Gráfico 2">
            <a:extLst>
              <a:ext uri="{FF2B5EF4-FFF2-40B4-BE49-F238E27FC236}">
                <a16:creationId xmlns:a16="http://schemas.microsoft.com/office/drawing/2014/main" id="{B009A9E9-F03E-0ABF-6317-2933EC72ADC6}"/>
              </a:ext>
            </a:extLst>
          </p:cNvPr>
          <p:cNvGrpSpPr/>
          <p:nvPr/>
        </p:nvGrpSpPr>
        <p:grpSpPr>
          <a:xfrm>
            <a:off x="1039903" y="3112234"/>
            <a:ext cx="441025" cy="587205"/>
            <a:chOff x="1039903" y="3112234"/>
            <a:chExt cx="441025" cy="587205"/>
          </a:xfrm>
          <a:noFill/>
        </p:grpSpPr>
        <p:grpSp>
          <p:nvGrpSpPr>
            <p:cNvPr id="98" name="Gráfico 2">
              <a:extLst>
                <a:ext uri="{FF2B5EF4-FFF2-40B4-BE49-F238E27FC236}">
                  <a16:creationId xmlns:a16="http://schemas.microsoft.com/office/drawing/2014/main" id="{BB7088C4-1CA8-4730-255B-24D28BE5A53F}"/>
                </a:ext>
              </a:extLst>
            </p:cNvPr>
            <p:cNvGrpSpPr/>
            <p:nvPr/>
          </p:nvGrpSpPr>
          <p:grpSpPr>
            <a:xfrm>
              <a:off x="1118260" y="3317322"/>
              <a:ext cx="284312" cy="284359"/>
              <a:chOff x="1118260" y="3317322"/>
              <a:chExt cx="284312" cy="284359"/>
            </a:xfrm>
            <a:noFill/>
          </p:grpSpPr>
          <p:sp>
            <p:nvSpPr>
              <p:cNvPr id="99" name="Forma livre: Forma 98">
                <a:extLst>
                  <a:ext uri="{FF2B5EF4-FFF2-40B4-BE49-F238E27FC236}">
                    <a16:creationId xmlns:a16="http://schemas.microsoft.com/office/drawing/2014/main" id="{EE0B05AA-E375-5486-F4AF-C7E2F276102B}"/>
                  </a:ext>
                </a:extLst>
              </p:cNvPr>
              <p:cNvSpPr/>
              <p:nvPr/>
            </p:nvSpPr>
            <p:spPr>
              <a:xfrm>
                <a:off x="1118260" y="3317322"/>
                <a:ext cx="284312" cy="284359"/>
              </a:xfrm>
              <a:custGeom>
                <a:avLst/>
                <a:gdLst>
                  <a:gd name="connsiteX0" fmla="*/ 115611 w 284312"/>
                  <a:gd name="connsiteY0" fmla="*/ 38123 h 284359"/>
                  <a:gd name="connsiteX1" fmla="*/ 87553 w 284312"/>
                  <a:gd name="connsiteY1" fmla="*/ 49712 h 284359"/>
                  <a:gd name="connsiteX2" fmla="*/ 55976 w 284312"/>
                  <a:gd name="connsiteY2" fmla="*/ 27331 h 284359"/>
                  <a:gd name="connsiteX3" fmla="*/ 27308 w 284312"/>
                  <a:gd name="connsiteY3" fmla="*/ 55999 h 284359"/>
                  <a:gd name="connsiteX4" fmla="*/ 49688 w 284312"/>
                  <a:gd name="connsiteY4" fmla="*/ 87553 h 284359"/>
                  <a:gd name="connsiteX5" fmla="*/ 38146 w 284312"/>
                  <a:gd name="connsiteY5" fmla="*/ 115424 h 284359"/>
                  <a:gd name="connsiteX6" fmla="*/ 0 w 284312"/>
                  <a:gd name="connsiteY6" fmla="*/ 121899 h 284359"/>
                  <a:gd name="connsiteX7" fmla="*/ 0 w 284312"/>
                  <a:gd name="connsiteY7" fmla="*/ 162461 h 284359"/>
                  <a:gd name="connsiteX8" fmla="*/ 38146 w 284312"/>
                  <a:gd name="connsiteY8" fmla="*/ 168936 h 284359"/>
                  <a:gd name="connsiteX9" fmla="*/ 49806 w 284312"/>
                  <a:gd name="connsiteY9" fmla="*/ 196994 h 284359"/>
                  <a:gd name="connsiteX10" fmla="*/ 27308 w 284312"/>
                  <a:gd name="connsiteY10" fmla="*/ 228384 h 284359"/>
                  <a:gd name="connsiteX11" fmla="*/ 55976 w 284312"/>
                  <a:gd name="connsiteY11" fmla="*/ 257052 h 284359"/>
                  <a:gd name="connsiteX12" fmla="*/ 87342 w 284312"/>
                  <a:gd name="connsiteY12" fmla="*/ 234530 h 284359"/>
                  <a:gd name="connsiteX13" fmla="*/ 115377 w 284312"/>
                  <a:gd name="connsiteY13" fmla="*/ 246190 h 284359"/>
                  <a:gd name="connsiteX14" fmla="*/ 121875 w 284312"/>
                  <a:gd name="connsiteY14" fmla="*/ 284360 h 284359"/>
                  <a:gd name="connsiteX15" fmla="*/ 162438 w 284312"/>
                  <a:gd name="connsiteY15" fmla="*/ 284360 h 284359"/>
                  <a:gd name="connsiteX16" fmla="*/ 168936 w 284312"/>
                  <a:gd name="connsiteY16" fmla="*/ 246190 h 284359"/>
                  <a:gd name="connsiteX17" fmla="*/ 196994 w 284312"/>
                  <a:gd name="connsiteY17" fmla="*/ 234507 h 284359"/>
                  <a:gd name="connsiteX18" fmla="*/ 228360 w 284312"/>
                  <a:gd name="connsiteY18" fmla="*/ 257029 h 284359"/>
                  <a:gd name="connsiteX19" fmla="*/ 257029 w 284312"/>
                  <a:gd name="connsiteY19" fmla="*/ 228360 h 284359"/>
                  <a:gd name="connsiteX20" fmla="*/ 234507 w 284312"/>
                  <a:gd name="connsiteY20" fmla="*/ 196994 h 284359"/>
                  <a:gd name="connsiteX21" fmla="*/ 246237 w 284312"/>
                  <a:gd name="connsiteY21" fmla="*/ 168701 h 284359"/>
                  <a:gd name="connsiteX22" fmla="*/ 284313 w 284312"/>
                  <a:gd name="connsiteY22" fmla="*/ 162437 h 284359"/>
                  <a:gd name="connsiteX23" fmla="*/ 284313 w 284312"/>
                  <a:gd name="connsiteY23" fmla="*/ 121875 h 284359"/>
                  <a:gd name="connsiteX24" fmla="*/ 246237 w 284312"/>
                  <a:gd name="connsiteY24" fmla="*/ 115611 h 284359"/>
                  <a:gd name="connsiteX25" fmla="*/ 234648 w 284312"/>
                  <a:gd name="connsiteY25" fmla="*/ 87553 h 284359"/>
                  <a:gd name="connsiteX26" fmla="*/ 257029 w 284312"/>
                  <a:gd name="connsiteY26" fmla="*/ 55999 h 284359"/>
                  <a:gd name="connsiteX27" fmla="*/ 228360 w 284312"/>
                  <a:gd name="connsiteY27" fmla="*/ 27331 h 284359"/>
                  <a:gd name="connsiteX28" fmla="*/ 196783 w 284312"/>
                  <a:gd name="connsiteY28" fmla="*/ 49712 h 284359"/>
                  <a:gd name="connsiteX29" fmla="*/ 168701 w 284312"/>
                  <a:gd name="connsiteY29" fmla="*/ 38099 h 284359"/>
                  <a:gd name="connsiteX30" fmla="*/ 162438 w 284312"/>
                  <a:gd name="connsiteY30" fmla="*/ 0 h 284359"/>
                  <a:gd name="connsiteX31" fmla="*/ 121875 w 284312"/>
                  <a:gd name="connsiteY31" fmla="*/ 0 h 2843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</a:cxnLst>
                <a:rect l="l" t="t" r="r" b="b"/>
                <a:pathLst>
                  <a:path w="284312" h="284359">
                    <a:moveTo>
                      <a:pt x="115611" y="38123"/>
                    </a:moveTo>
                    <a:cubicBezTo>
                      <a:pt x="105617" y="40656"/>
                      <a:pt x="96210" y="44574"/>
                      <a:pt x="87553" y="49712"/>
                    </a:cubicBezTo>
                    <a:lnTo>
                      <a:pt x="55976" y="27331"/>
                    </a:lnTo>
                    <a:lnTo>
                      <a:pt x="27308" y="55999"/>
                    </a:lnTo>
                    <a:lnTo>
                      <a:pt x="49688" y="87553"/>
                    </a:lnTo>
                    <a:cubicBezTo>
                      <a:pt x="44598" y="96139"/>
                      <a:pt x="40680" y="105500"/>
                      <a:pt x="38146" y="115424"/>
                    </a:cubicBezTo>
                    <a:lnTo>
                      <a:pt x="0" y="121899"/>
                    </a:lnTo>
                    <a:lnTo>
                      <a:pt x="0" y="162461"/>
                    </a:lnTo>
                    <a:lnTo>
                      <a:pt x="38146" y="168936"/>
                    </a:lnTo>
                    <a:cubicBezTo>
                      <a:pt x="40703" y="178930"/>
                      <a:pt x="44645" y="188337"/>
                      <a:pt x="49806" y="196994"/>
                    </a:cubicBezTo>
                    <a:lnTo>
                      <a:pt x="27308" y="228384"/>
                    </a:lnTo>
                    <a:lnTo>
                      <a:pt x="55976" y="257052"/>
                    </a:lnTo>
                    <a:lnTo>
                      <a:pt x="87342" y="234530"/>
                    </a:lnTo>
                    <a:cubicBezTo>
                      <a:pt x="95999" y="239668"/>
                      <a:pt x="105406" y="243633"/>
                      <a:pt x="115377" y="246190"/>
                    </a:cubicBezTo>
                    <a:lnTo>
                      <a:pt x="121875" y="284360"/>
                    </a:lnTo>
                    <a:lnTo>
                      <a:pt x="162438" y="284360"/>
                    </a:lnTo>
                    <a:lnTo>
                      <a:pt x="168936" y="246190"/>
                    </a:lnTo>
                    <a:cubicBezTo>
                      <a:pt x="178930" y="243633"/>
                      <a:pt x="188337" y="239645"/>
                      <a:pt x="196994" y="234507"/>
                    </a:cubicBezTo>
                    <a:lnTo>
                      <a:pt x="228360" y="257029"/>
                    </a:lnTo>
                    <a:lnTo>
                      <a:pt x="257029" y="228360"/>
                    </a:lnTo>
                    <a:lnTo>
                      <a:pt x="234507" y="196994"/>
                    </a:lnTo>
                    <a:cubicBezTo>
                      <a:pt x="239692" y="188267"/>
                      <a:pt x="243656" y="178766"/>
                      <a:pt x="246237" y="168701"/>
                    </a:cubicBezTo>
                    <a:lnTo>
                      <a:pt x="284313" y="162437"/>
                    </a:lnTo>
                    <a:lnTo>
                      <a:pt x="284313" y="121875"/>
                    </a:lnTo>
                    <a:lnTo>
                      <a:pt x="246237" y="115611"/>
                    </a:lnTo>
                    <a:cubicBezTo>
                      <a:pt x="243703" y="105617"/>
                      <a:pt x="239785" y="96210"/>
                      <a:pt x="234648" y="87553"/>
                    </a:cubicBezTo>
                    <a:lnTo>
                      <a:pt x="257029" y="55999"/>
                    </a:lnTo>
                    <a:lnTo>
                      <a:pt x="228360" y="27331"/>
                    </a:lnTo>
                    <a:lnTo>
                      <a:pt x="196783" y="49712"/>
                    </a:lnTo>
                    <a:cubicBezTo>
                      <a:pt x="188126" y="44597"/>
                      <a:pt x="178695" y="40656"/>
                      <a:pt x="168701" y="38099"/>
                    </a:cubicBezTo>
                    <a:lnTo>
                      <a:pt x="162438" y="0"/>
                    </a:lnTo>
                    <a:lnTo>
                      <a:pt x="121875" y="0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00" name="Forma livre: Forma 99">
                <a:extLst>
                  <a:ext uri="{FF2B5EF4-FFF2-40B4-BE49-F238E27FC236}">
                    <a16:creationId xmlns:a16="http://schemas.microsoft.com/office/drawing/2014/main" id="{50FBCC39-7853-E727-D31E-99628C3FF757}"/>
                  </a:ext>
                </a:extLst>
              </p:cNvPr>
              <p:cNvSpPr/>
              <p:nvPr/>
            </p:nvSpPr>
            <p:spPr>
              <a:xfrm>
                <a:off x="1218856" y="3417966"/>
                <a:ext cx="83095" cy="83072"/>
              </a:xfrm>
              <a:custGeom>
                <a:avLst/>
                <a:gdLst>
                  <a:gd name="connsiteX0" fmla="*/ 33994 w 83095"/>
                  <a:gd name="connsiteY0" fmla="*/ 704 h 83072"/>
                  <a:gd name="connsiteX1" fmla="*/ 41571 w 83095"/>
                  <a:gd name="connsiteY1" fmla="*/ 0 h 83072"/>
                  <a:gd name="connsiteX2" fmla="*/ 83096 w 83095"/>
                  <a:gd name="connsiteY2" fmla="*/ 41548 h 83072"/>
                  <a:gd name="connsiteX3" fmla="*/ 41571 w 83095"/>
                  <a:gd name="connsiteY3" fmla="*/ 83072 h 83072"/>
                  <a:gd name="connsiteX4" fmla="*/ 0 w 83095"/>
                  <a:gd name="connsiteY4" fmla="*/ 41548 h 83072"/>
                  <a:gd name="connsiteX5" fmla="*/ 633 w 83095"/>
                  <a:gd name="connsiteY5" fmla="*/ 34299 h 830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83095" h="83072">
                    <a:moveTo>
                      <a:pt x="33994" y="704"/>
                    </a:moveTo>
                    <a:cubicBezTo>
                      <a:pt x="36457" y="235"/>
                      <a:pt x="38967" y="0"/>
                      <a:pt x="41571" y="0"/>
                    </a:cubicBezTo>
                    <a:cubicBezTo>
                      <a:pt x="64515" y="0"/>
                      <a:pt x="83096" y="18604"/>
                      <a:pt x="83096" y="41548"/>
                    </a:cubicBezTo>
                    <a:cubicBezTo>
                      <a:pt x="83096" y="64492"/>
                      <a:pt x="64492" y="83072"/>
                      <a:pt x="41571" y="83072"/>
                    </a:cubicBezTo>
                    <a:cubicBezTo>
                      <a:pt x="18651" y="83072"/>
                      <a:pt x="0" y="64468"/>
                      <a:pt x="0" y="41548"/>
                    </a:cubicBezTo>
                    <a:cubicBezTo>
                      <a:pt x="0" y="39085"/>
                      <a:pt x="235" y="36645"/>
                      <a:pt x="633" y="34299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01" name="Gráfico 2">
              <a:extLst>
                <a:ext uri="{FF2B5EF4-FFF2-40B4-BE49-F238E27FC236}">
                  <a16:creationId xmlns:a16="http://schemas.microsoft.com/office/drawing/2014/main" id="{DD43BDFE-75F7-7FFE-B10F-D57B63E2E6A6}"/>
                </a:ext>
              </a:extLst>
            </p:cNvPr>
            <p:cNvGrpSpPr/>
            <p:nvPr/>
          </p:nvGrpSpPr>
          <p:grpSpPr>
            <a:xfrm>
              <a:off x="1039903" y="3112234"/>
              <a:ext cx="441025" cy="587205"/>
              <a:chOff x="1039903" y="3112234"/>
              <a:chExt cx="441025" cy="587205"/>
            </a:xfrm>
            <a:noFill/>
          </p:grpSpPr>
          <p:sp>
            <p:nvSpPr>
              <p:cNvPr id="102" name="Forma livre: Forma 101">
                <a:extLst>
                  <a:ext uri="{FF2B5EF4-FFF2-40B4-BE49-F238E27FC236}">
                    <a16:creationId xmlns:a16="http://schemas.microsoft.com/office/drawing/2014/main" id="{41A23791-4C49-D077-7001-2A92FA24B8A2}"/>
                  </a:ext>
                </a:extLst>
              </p:cNvPr>
              <p:cNvSpPr/>
              <p:nvPr/>
            </p:nvSpPr>
            <p:spPr>
              <a:xfrm>
                <a:off x="1039903" y="3112234"/>
                <a:ext cx="441025" cy="587205"/>
              </a:xfrm>
              <a:custGeom>
                <a:avLst/>
                <a:gdLst>
                  <a:gd name="connsiteX0" fmla="*/ 0 w 441025"/>
                  <a:gd name="connsiteY0" fmla="*/ 587205 h 587205"/>
                  <a:gd name="connsiteX1" fmla="*/ 0 w 441025"/>
                  <a:gd name="connsiteY1" fmla="*/ 113922 h 587205"/>
                  <a:gd name="connsiteX2" fmla="*/ 113946 w 441025"/>
                  <a:gd name="connsiteY2" fmla="*/ 0 h 587205"/>
                  <a:gd name="connsiteX3" fmla="*/ 441026 w 441025"/>
                  <a:gd name="connsiteY3" fmla="*/ 0 h 587205"/>
                  <a:gd name="connsiteX4" fmla="*/ 441026 w 441025"/>
                  <a:gd name="connsiteY4" fmla="*/ 587205 h 587205"/>
                  <a:gd name="connsiteX5" fmla="*/ 0 w 441025"/>
                  <a:gd name="connsiteY5" fmla="*/ 587205 h 5872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441025" h="587205">
                    <a:moveTo>
                      <a:pt x="0" y="587205"/>
                    </a:moveTo>
                    <a:lnTo>
                      <a:pt x="0" y="113922"/>
                    </a:lnTo>
                    <a:lnTo>
                      <a:pt x="113946" y="0"/>
                    </a:lnTo>
                    <a:lnTo>
                      <a:pt x="441026" y="0"/>
                    </a:lnTo>
                    <a:lnTo>
                      <a:pt x="441026" y="587205"/>
                    </a:lnTo>
                    <a:lnTo>
                      <a:pt x="0" y="587205"/>
                    </a:ln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03" name="Forma livre: Forma 102">
                <a:extLst>
                  <a:ext uri="{FF2B5EF4-FFF2-40B4-BE49-F238E27FC236}">
                    <a16:creationId xmlns:a16="http://schemas.microsoft.com/office/drawing/2014/main" id="{249F69E8-60E0-2E6D-F2F9-843CDAA8FB34}"/>
                  </a:ext>
                </a:extLst>
              </p:cNvPr>
              <p:cNvSpPr/>
              <p:nvPr/>
            </p:nvSpPr>
            <p:spPr>
              <a:xfrm>
                <a:off x="1094518" y="3167295"/>
                <a:ext cx="77910" cy="77840"/>
              </a:xfrm>
              <a:custGeom>
                <a:avLst/>
                <a:gdLst>
                  <a:gd name="connsiteX0" fmla="*/ 77911 w 77910"/>
                  <a:gd name="connsiteY0" fmla="*/ 0 h 77840"/>
                  <a:gd name="connsiteX1" fmla="*/ 77911 w 77910"/>
                  <a:gd name="connsiteY1" fmla="*/ 77840 h 77840"/>
                  <a:gd name="connsiteX2" fmla="*/ 0 w 77910"/>
                  <a:gd name="connsiteY2" fmla="*/ 77840 h 778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77910" h="77840">
                    <a:moveTo>
                      <a:pt x="77911" y="0"/>
                    </a:moveTo>
                    <a:lnTo>
                      <a:pt x="77911" y="77840"/>
                    </a:lnTo>
                    <a:lnTo>
                      <a:pt x="0" y="7784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04" name="Gráfico 2">
            <a:extLst>
              <a:ext uri="{FF2B5EF4-FFF2-40B4-BE49-F238E27FC236}">
                <a16:creationId xmlns:a16="http://schemas.microsoft.com/office/drawing/2014/main" id="{7B7AC2F1-EC73-F85F-B659-DAB9A0B0F0D5}"/>
              </a:ext>
            </a:extLst>
          </p:cNvPr>
          <p:cNvGrpSpPr/>
          <p:nvPr/>
        </p:nvGrpSpPr>
        <p:grpSpPr>
          <a:xfrm>
            <a:off x="1019047" y="5156192"/>
            <a:ext cx="482761" cy="673350"/>
            <a:chOff x="1019047" y="5156192"/>
            <a:chExt cx="482761" cy="673350"/>
          </a:xfrm>
          <a:noFill/>
        </p:grpSpPr>
        <p:grpSp>
          <p:nvGrpSpPr>
            <p:cNvPr id="105" name="Gráfico 2">
              <a:extLst>
                <a:ext uri="{FF2B5EF4-FFF2-40B4-BE49-F238E27FC236}">
                  <a16:creationId xmlns:a16="http://schemas.microsoft.com/office/drawing/2014/main" id="{F25E536A-DD06-23FF-F5F1-254630795834}"/>
                </a:ext>
              </a:extLst>
            </p:cNvPr>
            <p:cNvGrpSpPr/>
            <p:nvPr/>
          </p:nvGrpSpPr>
          <p:grpSpPr>
            <a:xfrm>
              <a:off x="1130881" y="5322947"/>
              <a:ext cx="259093" cy="259116"/>
              <a:chOff x="1130881" y="5322947"/>
              <a:chExt cx="259093" cy="259116"/>
            </a:xfrm>
            <a:noFill/>
          </p:grpSpPr>
          <p:sp>
            <p:nvSpPr>
              <p:cNvPr id="106" name="Forma livre: Forma 105">
                <a:extLst>
                  <a:ext uri="{FF2B5EF4-FFF2-40B4-BE49-F238E27FC236}">
                    <a16:creationId xmlns:a16="http://schemas.microsoft.com/office/drawing/2014/main" id="{9D1C7857-7BB5-8986-2DE8-8EACB3102ECB}"/>
                  </a:ext>
                </a:extLst>
              </p:cNvPr>
              <p:cNvSpPr/>
              <p:nvPr/>
            </p:nvSpPr>
            <p:spPr>
              <a:xfrm>
                <a:off x="1130881" y="5322947"/>
                <a:ext cx="259093" cy="259116"/>
              </a:xfrm>
              <a:custGeom>
                <a:avLst/>
                <a:gdLst>
                  <a:gd name="connsiteX0" fmla="*/ 105336 w 259093"/>
                  <a:gd name="connsiteY0" fmla="*/ 34744 h 259116"/>
                  <a:gd name="connsiteX1" fmla="*/ 79764 w 259093"/>
                  <a:gd name="connsiteY1" fmla="*/ 45302 h 259116"/>
                  <a:gd name="connsiteX2" fmla="*/ 51002 w 259093"/>
                  <a:gd name="connsiteY2" fmla="*/ 24891 h 259116"/>
                  <a:gd name="connsiteX3" fmla="*/ 24868 w 259093"/>
                  <a:gd name="connsiteY3" fmla="*/ 51026 h 259116"/>
                  <a:gd name="connsiteX4" fmla="*/ 45278 w 259093"/>
                  <a:gd name="connsiteY4" fmla="*/ 79788 h 259116"/>
                  <a:gd name="connsiteX5" fmla="*/ 34768 w 259093"/>
                  <a:gd name="connsiteY5" fmla="*/ 105171 h 259116"/>
                  <a:gd name="connsiteX6" fmla="*/ 0 w 259093"/>
                  <a:gd name="connsiteY6" fmla="*/ 111083 h 259116"/>
                  <a:gd name="connsiteX7" fmla="*/ 0 w 259093"/>
                  <a:gd name="connsiteY7" fmla="*/ 148056 h 259116"/>
                  <a:gd name="connsiteX8" fmla="*/ 34768 w 259093"/>
                  <a:gd name="connsiteY8" fmla="*/ 153968 h 259116"/>
                  <a:gd name="connsiteX9" fmla="*/ 45395 w 259093"/>
                  <a:gd name="connsiteY9" fmla="*/ 179516 h 259116"/>
                  <a:gd name="connsiteX10" fmla="*/ 24868 w 259093"/>
                  <a:gd name="connsiteY10" fmla="*/ 208114 h 259116"/>
                  <a:gd name="connsiteX11" fmla="*/ 51002 w 259093"/>
                  <a:gd name="connsiteY11" fmla="*/ 234249 h 259116"/>
                  <a:gd name="connsiteX12" fmla="*/ 79600 w 259093"/>
                  <a:gd name="connsiteY12" fmla="*/ 213721 h 259116"/>
                  <a:gd name="connsiteX13" fmla="*/ 105148 w 259093"/>
                  <a:gd name="connsiteY13" fmla="*/ 224325 h 259116"/>
                  <a:gd name="connsiteX14" fmla="*/ 111060 w 259093"/>
                  <a:gd name="connsiteY14" fmla="*/ 259116 h 259116"/>
                  <a:gd name="connsiteX15" fmla="*/ 148033 w 259093"/>
                  <a:gd name="connsiteY15" fmla="*/ 259116 h 259116"/>
                  <a:gd name="connsiteX16" fmla="*/ 153945 w 259093"/>
                  <a:gd name="connsiteY16" fmla="*/ 224349 h 259116"/>
                  <a:gd name="connsiteX17" fmla="*/ 179493 w 259093"/>
                  <a:gd name="connsiteY17" fmla="*/ 213721 h 259116"/>
                  <a:gd name="connsiteX18" fmla="*/ 208091 w 259093"/>
                  <a:gd name="connsiteY18" fmla="*/ 234249 h 259116"/>
                  <a:gd name="connsiteX19" fmla="*/ 234225 w 259093"/>
                  <a:gd name="connsiteY19" fmla="*/ 208114 h 259116"/>
                  <a:gd name="connsiteX20" fmla="*/ 213698 w 259093"/>
                  <a:gd name="connsiteY20" fmla="*/ 179540 h 259116"/>
                  <a:gd name="connsiteX21" fmla="*/ 224372 w 259093"/>
                  <a:gd name="connsiteY21" fmla="*/ 153757 h 259116"/>
                  <a:gd name="connsiteX22" fmla="*/ 259093 w 259093"/>
                  <a:gd name="connsiteY22" fmla="*/ 148056 h 259116"/>
                  <a:gd name="connsiteX23" fmla="*/ 259093 w 259093"/>
                  <a:gd name="connsiteY23" fmla="*/ 111083 h 259116"/>
                  <a:gd name="connsiteX24" fmla="*/ 224372 w 259093"/>
                  <a:gd name="connsiteY24" fmla="*/ 105383 h 259116"/>
                  <a:gd name="connsiteX25" fmla="*/ 213815 w 259093"/>
                  <a:gd name="connsiteY25" fmla="*/ 79788 h 259116"/>
                  <a:gd name="connsiteX26" fmla="*/ 234225 w 259093"/>
                  <a:gd name="connsiteY26" fmla="*/ 51026 h 259116"/>
                  <a:gd name="connsiteX27" fmla="*/ 208091 w 259093"/>
                  <a:gd name="connsiteY27" fmla="*/ 24891 h 259116"/>
                  <a:gd name="connsiteX28" fmla="*/ 179305 w 259093"/>
                  <a:gd name="connsiteY28" fmla="*/ 45302 h 259116"/>
                  <a:gd name="connsiteX29" fmla="*/ 153710 w 259093"/>
                  <a:gd name="connsiteY29" fmla="*/ 34721 h 259116"/>
                  <a:gd name="connsiteX30" fmla="*/ 148010 w 259093"/>
                  <a:gd name="connsiteY30" fmla="*/ 0 h 259116"/>
                  <a:gd name="connsiteX31" fmla="*/ 111037 w 259093"/>
                  <a:gd name="connsiteY31" fmla="*/ 0 h 2591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</a:cxnLst>
                <a:rect l="l" t="t" r="r" b="b"/>
                <a:pathLst>
                  <a:path w="259093" h="259116">
                    <a:moveTo>
                      <a:pt x="105336" y="34744"/>
                    </a:moveTo>
                    <a:cubicBezTo>
                      <a:pt x="96233" y="37067"/>
                      <a:pt x="87647" y="40633"/>
                      <a:pt x="79764" y="45302"/>
                    </a:cubicBezTo>
                    <a:lnTo>
                      <a:pt x="51002" y="24891"/>
                    </a:lnTo>
                    <a:lnTo>
                      <a:pt x="24868" y="51026"/>
                    </a:lnTo>
                    <a:lnTo>
                      <a:pt x="45278" y="79788"/>
                    </a:lnTo>
                    <a:cubicBezTo>
                      <a:pt x="40633" y="87623"/>
                      <a:pt x="37067" y="96139"/>
                      <a:pt x="34768" y="105171"/>
                    </a:cubicBezTo>
                    <a:lnTo>
                      <a:pt x="0" y="111083"/>
                    </a:lnTo>
                    <a:lnTo>
                      <a:pt x="0" y="148056"/>
                    </a:lnTo>
                    <a:lnTo>
                      <a:pt x="34768" y="153968"/>
                    </a:lnTo>
                    <a:cubicBezTo>
                      <a:pt x="37114" y="163071"/>
                      <a:pt x="40703" y="171657"/>
                      <a:pt x="45395" y="179516"/>
                    </a:cubicBezTo>
                    <a:lnTo>
                      <a:pt x="24868" y="208114"/>
                    </a:lnTo>
                    <a:lnTo>
                      <a:pt x="51002" y="234249"/>
                    </a:lnTo>
                    <a:lnTo>
                      <a:pt x="79600" y="213721"/>
                    </a:lnTo>
                    <a:cubicBezTo>
                      <a:pt x="87483" y="218413"/>
                      <a:pt x="96046" y="222003"/>
                      <a:pt x="105148" y="224325"/>
                    </a:cubicBezTo>
                    <a:lnTo>
                      <a:pt x="111060" y="259116"/>
                    </a:lnTo>
                    <a:lnTo>
                      <a:pt x="148033" y="259116"/>
                    </a:lnTo>
                    <a:lnTo>
                      <a:pt x="153945" y="224349"/>
                    </a:lnTo>
                    <a:cubicBezTo>
                      <a:pt x="163047" y="222003"/>
                      <a:pt x="171634" y="218390"/>
                      <a:pt x="179493" y="213721"/>
                    </a:cubicBezTo>
                    <a:lnTo>
                      <a:pt x="208091" y="234249"/>
                    </a:lnTo>
                    <a:lnTo>
                      <a:pt x="234225" y="208114"/>
                    </a:lnTo>
                    <a:lnTo>
                      <a:pt x="213698" y="179540"/>
                    </a:lnTo>
                    <a:cubicBezTo>
                      <a:pt x="218437" y="171587"/>
                      <a:pt x="222026" y="162930"/>
                      <a:pt x="224372" y="153757"/>
                    </a:cubicBezTo>
                    <a:lnTo>
                      <a:pt x="259093" y="148056"/>
                    </a:lnTo>
                    <a:lnTo>
                      <a:pt x="259093" y="111083"/>
                    </a:lnTo>
                    <a:lnTo>
                      <a:pt x="224372" y="105383"/>
                    </a:lnTo>
                    <a:cubicBezTo>
                      <a:pt x="222073" y="96280"/>
                      <a:pt x="218484" y="87694"/>
                      <a:pt x="213815" y="79788"/>
                    </a:cubicBezTo>
                    <a:lnTo>
                      <a:pt x="234225" y="51026"/>
                    </a:lnTo>
                    <a:lnTo>
                      <a:pt x="208091" y="24891"/>
                    </a:lnTo>
                    <a:lnTo>
                      <a:pt x="179305" y="45302"/>
                    </a:lnTo>
                    <a:cubicBezTo>
                      <a:pt x="171423" y="40633"/>
                      <a:pt x="162836" y="37044"/>
                      <a:pt x="153710" y="34721"/>
                    </a:cubicBezTo>
                    <a:lnTo>
                      <a:pt x="148010" y="0"/>
                    </a:lnTo>
                    <a:lnTo>
                      <a:pt x="111037" y="0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07" name="Forma livre: Forma 106">
                <a:extLst>
                  <a:ext uri="{FF2B5EF4-FFF2-40B4-BE49-F238E27FC236}">
                    <a16:creationId xmlns:a16="http://schemas.microsoft.com/office/drawing/2014/main" id="{BB5F00FB-E416-1F90-1C26-FBE575EF1DEA}"/>
                  </a:ext>
                </a:extLst>
              </p:cNvPr>
              <p:cNvSpPr/>
              <p:nvPr/>
            </p:nvSpPr>
            <p:spPr>
              <a:xfrm>
                <a:off x="1222540" y="5414652"/>
                <a:ext cx="75729" cy="75729"/>
              </a:xfrm>
              <a:custGeom>
                <a:avLst/>
                <a:gdLst>
                  <a:gd name="connsiteX0" fmla="*/ 30967 w 75729"/>
                  <a:gd name="connsiteY0" fmla="*/ 633 h 75729"/>
                  <a:gd name="connsiteX1" fmla="*/ 37865 w 75729"/>
                  <a:gd name="connsiteY1" fmla="*/ 0 h 75729"/>
                  <a:gd name="connsiteX2" fmla="*/ 75729 w 75729"/>
                  <a:gd name="connsiteY2" fmla="*/ 37865 h 75729"/>
                  <a:gd name="connsiteX3" fmla="*/ 37865 w 75729"/>
                  <a:gd name="connsiteY3" fmla="*/ 75729 h 75729"/>
                  <a:gd name="connsiteX4" fmla="*/ 0 w 75729"/>
                  <a:gd name="connsiteY4" fmla="*/ 37865 h 75729"/>
                  <a:gd name="connsiteX5" fmla="*/ 587 w 75729"/>
                  <a:gd name="connsiteY5" fmla="*/ 31249 h 757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75729" h="75729">
                    <a:moveTo>
                      <a:pt x="30967" y="633"/>
                    </a:moveTo>
                    <a:cubicBezTo>
                      <a:pt x="33196" y="211"/>
                      <a:pt x="35495" y="0"/>
                      <a:pt x="37865" y="0"/>
                    </a:cubicBezTo>
                    <a:cubicBezTo>
                      <a:pt x="58767" y="0"/>
                      <a:pt x="75729" y="16962"/>
                      <a:pt x="75729" y="37865"/>
                    </a:cubicBezTo>
                    <a:cubicBezTo>
                      <a:pt x="75729" y="58768"/>
                      <a:pt x="58767" y="75729"/>
                      <a:pt x="37865" y="75729"/>
                    </a:cubicBezTo>
                    <a:cubicBezTo>
                      <a:pt x="16962" y="75729"/>
                      <a:pt x="0" y="58768"/>
                      <a:pt x="0" y="37865"/>
                    </a:cubicBezTo>
                    <a:cubicBezTo>
                      <a:pt x="0" y="35613"/>
                      <a:pt x="188" y="33407"/>
                      <a:pt x="587" y="31249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08" name="Gráfico 2">
              <a:extLst>
                <a:ext uri="{FF2B5EF4-FFF2-40B4-BE49-F238E27FC236}">
                  <a16:creationId xmlns:a16="http://schemas.microsoft.com/office/drawing/2014/main" id="{17322160-B2D6-4434-CDA8-A054A4AD7720}"/>
                </a:ext>
              </a:extLst>
            </p:cNvPr>
            <p:cNvGrpSpPr/>
            <p:nvPr/>
          </p:nvGrpSpPr>
          <p:grpSpPr>
            <a:xfrm>
              <a:off x="1019047" y="5156192"/>
              <a:ext cx="482761" cy="673350"/>
              <a:chOff x="1019047" y="5156192"/>
              <a:chExt cx="482761" cy="673350"/>
            </a:xfrm>
            <a:noFill/>
          </p:grpSpPr>
          <p:sp>
            <p:nvSpPr>
              <p:cNvPr id="109" name="Forma livre: Forma 108">
                <a:extLst>
                  <a:ext uri="{FF2B5EF4-FFF2-40B4-BE49-F238E27FC236}">
                    <a16:creationId xmlns:a16="http://schemas.microsoft.com/office/drawing/2014/main" id="{61EA6A60-5E16-6E20-269E-0602F595F6C8}"/>
                  </a:ext>
                </a:extLst>
              </p:cNvPr>
              <p:cNvSpPr/>
              <p:nvPr/>
            </p:nvSpPr>
            <p:spPr>
              <a:xfrm>
                <a:off x="1172335" y="5752360"/>
                <a:ext cx="177217" cy="2346"/>
              </a:xfrm>
              <a:custGeom>
                <a:avLst/>
                <a:gdLst>
                  <a:gd name="connsiteX0" fmla="*/ 0 w 177217"/>
                  <a:gd name="connsiteY0" fmla="*/ 0 h 2346"/>
                  <a:gd name="connsiteX1" fmla="*/ 177217 w 177217"/>
                  <a:gd name="connsiteY1" fmla="*/ 0 h 2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77217" h="2346">
                    <a:moveTo>
                      <a:pt x="0" y="0"/>
                    </a:moveTo>
                    <a:lnTo>
                      <a:pt x="177217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10" name="Forma livre: Forma 109">
                <a:extLst>
                  <a:ext uri="{FF2B5EF4-FFF2-40B4-BE49-F238E27FC236}">
                    <a16:creationId xmlns:a16="http://schemas.microsoft.com/office/drawing/2014/main" id="{9A76D925-D46D-53AD-1595-F4C01A451807}"/>
                  </a:ext>
                </a:extLst>
              </p:cNvPr>
              <p:cNvSpPr/>
              <p:nvPr/>
            </p:nvSpPr>
            <p:spPr>
              <a:xfrm>
                <a:off x="1260428" y="5156192"/>
                <a:ext cx="2346" cy="44597"/>
              </a:xfrm>
              <a:custGeom>
                <a:avLst/>
                <a:gdLst>
                  <a:gd name="connsiteX0" fmla="*/ 0 w 2346"/>
                  <a:gd name="connsiteY0" fmla="*/ 44598 h 44597"/>
                  <a:gd name="connsiteX1" fmla="*/ 0 w 2346"/>
                  <a:gd name="connsiteY1" fmla="*/ 0 h 445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346" h="44597">
                    <a:moveTo>
                      <a:pt x="0" y="44598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111" name="Gráfico 2">
                <a:extLst>
                  <a:ext uri="{FF2B5EF4-FFF2-40B4-BE49-F238E27FC236}">
                    <a16:creationId xmlns:a16="http://schemas.microsoft.com/office/drawing/2014/main" id="{27E28431-3777-7BB4-698C-31A7CE605159}"/>
                  </a:ext>
                </a:extLst>
              </p:cNvPr>
              <p:cNvGrpSpPr/>
              <p:nvPr/>
            </p:nvGrpSpPr>
            <p:grpSpPr>
              <a:xfrm>
                <a:off x="1019047" y="5261270"/>
                <a:ext cx="482761" cy="36245"/>
                <a:chOff x="1019047" y="5261270"/>
                <a:chExt cx="482761" cy="36245"/>
              </a:xfrm>
            </p:grpSpPr>
            <p:sp>
              <p:nvSpPr>
                <p:cNvPr id="112" name="Forma livre: Forma 111">
                  <a:extLst>
                    <a:ext uri="{FF2B5EF4-FFF2-40B4-BE49-F238E27FC236}">
                      <a16:creationId xmlns:a16="http://schemas.microsoft.com/office/drawing/2014/main" id="{9659DD47-453B-FE17-4813-186A77081EDE}"/>
                    </a:ext>
                  </a:extLst>
                </p:cNvPr>
                <p:cNvSpPr/>
                <p:nvPr/>
              </p:nvSpPr>
              <p:spPr>
                <a:xfrm>
                  <a:off x="1465703" y="5261270"/>
                  <a:ext cx="36105" cy="36245"/>
                </a:xfrm>
                <a:custGeom>
                  <a:avLst/>
                  <a:gdLst>
                    <a:gd name="connsiteX0" fmla="*/ 0 w 36105"/>
                    <a:gd name="connsiteY0" fmla="*/ 36246 h 36245"/>
                    <a:gd name="connsiteX1" fmla="*/ 36105 w 36105"/>
                    <a:gd name="connsiteY1" fmla="*/ 0 h 3624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36105" h="36245">
                      <a:moveTo>
                        <a:pt x="0" y="36246"/>
                      </a:moveTo>
                      <a:lnTo>
                        <a:pt x="36105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13" name="Forma livre: Forma 112">
                  <a:extLst>
                    <a:ext uri="{FF2B5EF4-FFF2-40B4-BE49-F238E27FC236}">
                      <a16:creationId xmlns:a16="http://schemas.microsoft.com/office/drawing/2014/main" id="{50DD0605-BB48-06EC-F3D8-D56971C6F7C1}"/>
                    </a:ext>
                  </a:extLst>
                </p:cNvPr>
                <p:cNvSpPr/>
                <p:nvPr/>
              </p:nvSpPr>
              <p:spPr>
                <a:xfrm>
                  <a:off x="1019047" y="5261270"/>
                  <a:ext cx="36058" cy="36245"/>
                </a:xfrm>
                <a:custGeom>
                  <a:avLst/>
                  <a:gdLst>
                    <a:gd name="connsiteX0" fmla="*/ 0 w 36058"/>
                    <a:gd name="connsiteY0" fmla="*/ 0 h 36245"/>
                    <a:gd name="connsiteX1" fmla="*/ 36058 w 36058"/>
                    <a:gd name="connsiteY1" fmla="*/ 36246 h 3624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36058" h="36245">
                      <a:moveTo>
                        <a:pt x="0" y="0"/>
                      </a:moveTo>
                      <a:lnTo>
                        <a:pt x="36058" y="36246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114" name="Forma livre: Forma 113">
                <a:extLst>
                  <a:ext uri="{FF2B5EF4-FFF2-40B4-BE49-F238E27FC236}">
                    <a16:creationId xmlns:a16="http://schemas.microsoft.com/office/drawing/2014/main" id="{D8F94A18-E76D-DED7-FA10-EA966D8E3D06}"/>
                  </a:ext>
                </a:extLst>
              </p:cNvPr>
              <p:cNvSpPr/>
              <p:nvPr/>
            </p:nvSpPr>
            <p:spPr>
              <a:xfrm>
                <a:off x="1064489" y="5263100"/>
                <a:ext cx="392862" cy="430257"/>
              </a:xfrm>
              <a:custGeom>
                <a:avLst/>
                <a:gdLst>
                  <a:gd name="connsiteX0" fmla="*/ 121523 w 392862"/>
                  <a:gd name="connsiteY0" fmla="*/ 430258 h 430257"/>
                  <a:gd name="connsiteX1" fmla="*/ 271198 w 392862"/>
                  <a:gd name="connsiteY1" fmla="*/ 430258 h 430257"/>
                  <a:gd name="connsiteX2" fmla="*/ 332734 w 392862"/>
                  <a:gd name="connsiteY2" fmla="*/ 327385 h 430257"/>
                  <a:gd name="connsiteX3" fmla="*/ 356992 w 392862"/>
                  <a:gd name="connsiteY3" fmla="*/ 303503 h 430257"/>
                  <a:gd name="connsiteX4" fmla="*/ 392862 w 392862"/>
                  <a:gd name="connsiteY4" fmla="*/ 192537 h 430257"/>
                  <a:gd name="connsiteX5" fmla="*/ 196361 w 392862"/>
                  <a:gd name="connsiteY5" fmla="*/ 0 h 430257"/>
                  <a:gd name="connsiteX6" fmla="*/ 0 w 392862"/>
                  <a:gd name="connsiteY6" fmla="*/ 192537 h 430257"/>
                  <a:gd name="connsiteX7" fmla="*/ 35495 w 392862"/>
                  <a:gd name="connsiteY7" fmla="*/ 303081 h 430257"/>
                  <a:gd name="connsiteX8" fmla="*/ 60222 w 392862"/>
                  <a:gd name="connsiteY8" fmla="*/ 327549 h 430257"/>
                  <a:gd name="connsiteX9" fmla="*/ 106556 w 392862"/>
                  <a:gd name="connsiteY9" fmla="*/ 382962 h 4302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392862" h="430257">
                    <a:moveTo>
                      <a:pt x="121523" y="430258"/>
                    </a:moveTo>
                    <a:lnTo>
                      <a:pt x="271198" y="430258"/>
                    </a:lnTo>
                    <a:cubicBezTo>
                      <a:pt x="279128" y="377754"/>
                      <a:pt x="305239" y="353285"/>
                      <a:pt x="332734" y="327385"/>
                    </a:cubicBezTo>
                    <a:cubicBezTo>
                      <a:pt x="340804" y="319808"/>
                      <a:pt x="349156" y="311925"/>
                      <a:pt x="356992" y="303503"/>
                    </a:cubicBezTo>
                    <a:cubicBezTo>
                      <a:pt x="382118" y="273849"/>
                      <a:pt x="392862" y="240653"/>
                      <a:pt x="392862" y="192537"/>
                    </a:cubicBezTo>
                    <a:cubicBezTo>
                      <a:pt x="392862" y="86380"/>
                      <a:pt x="304723" y="0"/>
                      <a:pt x="196361" y="0"/>
                    </a:cubicBezTo>
                    <a:cubicBezTo>
                      <a:pt x="87999" y="0"/>
                      <a:pt x="0" y="86380"/>
                      <a:pt x="0" y="192537"/>
                    </a:cubicBezTo>
                    <a:cubicBezTo>
                      <a:pt x="0" y="236923"/>
                      <a:pt x="12129" y="274319"/>
                      <a:pt x="35495" y="303081"/>
                    </a:cubicBezTo>
                    <a:cubicBezTo>
                      <a:pt x="43730" y="311995"/>
                      <a:pt x="52105" y="319901"/>
                      <a:pt x="60222" y="327549"/>
                    </a:cubicBezTo>
                    <a:cubicBezTo>
                      <a:pt x="77700" y="344018"/>
                      <a:pt x="94568" y="360018"/>
                      <a:pt x="106556" y="382962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15" name="Forma livre: Forma 114">
                <a:extLst>
                  <a:ext uri="{FF2B5EF4-FFF2-40B4-BE49-F238E27FC236}">
                    <a16:creationId xmlns:a16="http://schemas.microsoft.com/office/drawing/2014/main" id="{55182DEB-9592-6128-E11F-A0BF9EC32C79}"/>
                  </a:ext>
                </a:extLst>
              </p:cNvPr>
              <p:cNvSpPr/>
              <p:nvPr/>
            </p:nvSpPr>
            <p:spPr>
              <a:xfrm>
                <a:off x="1194153" y="5806716"/>
                <a:ext cx="133581" cy="22826"/>
              </a:xfrm>
              <a:custGeom>
                <a:avLst/>
                <a:gdLst>
                  <a:gd name="connsiteX0" fmla="*/ 0 w 133581"/>
                  <a:gd name="connsiteY0" fmla="*/ 0 h 22826"/>
                  <a:gd name="connsiteX1" fmla="*/ 25970 w 133581"/>
                  <a:gd name="connsiteY1" fmla="*/ 0 h 22826"/>
                  <a:gd name="connsiteX2" fmla="*/ 66791 w 133581"/>
                  <a:gd name="connsiteY2" fmla="*/ 22827 h 22826"/>
                  <a:gd name="connsiteX3" fmla="*/ 107611 w 133581"/>
                  <a:gd name="connsiteY3" fmla="*/ 0 h 22826"/>
                  <a:gd name="connsiteX4" fmla="*/ 133582 w 133581"/>
                  <a:gd name="connsiteY4" fmla="*/ 0 h 228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33581" h="22826">
                    <a:moveTo>
                      <a:pt x="0" y="0"/>
                    </a:moveTo>
                    <a:lnTo>
                      <a:pt x="25970" y="0"/>
                    </a:lnTo>
                    <a:cubicBezTo>
                      <a:pt x="32516" y="9032"/>
                      <a:pt x="46732" y="22827"/>
                      <a:pt x="66791" y="22827"/>
                    </a:cubicBezTo>
                    <a:cubicBezTo>
                      <a:pt x="86849" y="22827"/>
                      <a:pt x="101043" y="9032"/>
                      <a:pt x="107611" y="0"/>
                    </a:cubicBezTo>
                    <a:lnTo>
                      <a:pt x="133582" y="0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16" name="Gráfico 2">
            <a:extLst>
              <a:ext uri="{FF2B5EF4-FFF2-40B4-BE49-F238E27FC236}">
                <a16:creationId xmlns:a16="http://schemas.microsoft.com/office/drawing/2014/main" id="{8AF8D2F8-97D0-DAF8-0496-15C71EE5C259}"/>
              </a:ext>
            </a:extLst>
          </p:cNvPr>
          <p:cNvGrpSpPr/>
          <p:nvPr/>
        </p:nvGrpSpPr>
        <p:grpSpPr>
          <a:xfrm>
            <a:off x="1058835" y="1026845"/>
            <a:ext cx="403137" cy="583944"/>
            <a:chOff x="1058835" y="1026845"/>
            <a:chExt cx="403137" cy="583944"/>
          </a:xfrm>
          <a:noFill/>
        </p:grpSpPr>
        <p:sp>
          <p:nvSpPr>
            <p:cNvPr id="117" name="Forma livre: Forma 116">
              <a:extLst>
                <a:ext uri="{FF2B5EF4-FFF2-40B4-BE49-F238E27FC236}">
                  <a16:creationId xmlns:a16="http://schemas.microsoft.com/office/drawing/2014/main" id="{E3CEA3EF-498A-CCE9-BB57-E65FD03AC38D}"/>
                </a:ext>
              </a:extLst>
            </p:cNvPr>
            <p:cNvSpPr/>
            <p:nvPr/>
          </p:nvSpPr>
          <p:spPr>
            <a:xfrm>
              <a:off x="1058835" y="1026845"/>
              <a:ext cx="322927" cy="583944"/>
            </a:xfrm>
            <a:custGeom>
              <a:avLst/>
              <a:gdLst>
                <a:gd name="connsiteX0" fmla="*/ 322928 w 322927"/>
                <a:gd name="connsiteY0" fmla="*/ 460615 h 583944"/>
                <a:gd name="connsiteX1" fmla="*/ 322928 w 322927"/>
                <a:gd name="connsiteY1" fmla="*/ 556684 h 583944"/>
                <a:gd name="connsiteX2" fmla="*/ 296488 w 322927"/>
                <a:gd name="connsiteY2" fmla="*/ 583945 h 583944"/>
                <a:gd name="connsiteX3" fmla="*/ 26440 w 322927"/>
                <a:gd name="connsiteY3" fmla="*/ 583945 h 583944"/>
                <a:gd name="connsiteX4" fmla="*/ 0 w 322927"/>
                <a:gd name="connsiteY4" fmla="*/ 556684 h 583944"/>
                <a:gd name="connsiteX5" fmla="*/ 0 w 322927"/>
                <a:gd name="connsiteY5" fmla="*/ 26416 h 583944"/>
                <a:gd name="connsiteX6" fmla="*/ 26440 w 322927"/>
                <a:gd name="connsiteY6" fmla="*/ 0 h 583944"/>
                <a:gd name="connsiteX7" fmla="*/ 296488 w 322927"/>
                <a:gd name="connsiteY7" fmla="*/ 0 h 583944"/>
                <a:gd name="connsiteX8" fmla="*/ 322928 w 322927"/>
                <a:gd name="connsiteY8" fmla="*/ 26416 h 583944"/>
                <a:gd name="connsiteX9" fmla="*/ 322928 w 322927"/>
                <a:gd name="connsiteY9" fmla="*/ 72914 h 583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22927" h="583944">
                  <a:moveTo>
                    <a:pt x="322928" y="460615"/>
                  </a:moveTo>
                  <a:lnTo>
                    <a:pt x="322928" y="556684"/>
                  </a:lnTo>
                  <a:cubicBezTo>
                    <a:pt x="322928" y="571229"/>
                    <a:pt x="311034" y="583945"/>
                    <a:pt x="296488" y="583945"/>
                  </a:cubicBezTo>
                  <a:lnTo>
                    <a:pt x="26440" y="583945"/>
                  </a:lnTo>
                  <a:cubicBezTo>
                    <a:pt x="11894" y="583945"/>
                    <a:pt x="0" y="571229"/>
                    <a:pt x="0" y="556684"/>
                  </a:cubicBezTo>
                  <a:lnTo>
                    <a:pt x="0" y="26416"/>
                  </a:lnTo>
                  <a:cubicBezTo>
                    <a:pt x="0" y="11871"/>
                    <a:pt x="11894" y="0"/>
                    <a:pt x="26440" y="0"/>
                  </a:cubicBezTo>
                  <a:lnTo>
                    <a:pt x="296488" y="0"/>
                  </a:lnTo>
                  <a:cubicBezTo>
                    <a:pt x="311034" y="0"/>
                    <a:pt x="322928" y="11871"/>
                    <a:pt x="322928" y="26416"/>
                  </a:cubicBezTo>
                  <a:lnTo>
                    <a:pt x="322928" y="72914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18" name="Forma livre: Forma 117">
              <a:extLst>
                <a:ext uri="{FF2B5EF4-FFF2-40B4-BE49-F238E27FC236}">
                  <a16:creationId xmlns:a16="http://schemas.microsoft.com/office/drawing/2014/main" id="{E96A7310-DE7A-ACB8-436F-1A8BFCAB67E2}"/>
                </a:ext>
              </a:extLst>
            </p:cNvPr>
            <p:cNvSpPr/>
            <p:nvPr/>
          </p:nvSpPr>
          <p:spPr>
            <a:xfrm>
              <a:off x="1198352" y="1551905"/>
              <a:ext cx="43917" cy="2346"/>
            </a:xfrm>
            <a:custGeom>
              <a:avLst/>
              <a:gdLst>
                <a:gd name="connsiteX0" fmla="*/ 0 w 43917"/>
                <a:gd name="connsiteY0" fmla="*/ 0 h 2346"/>
                <a:gd name="connsiteX1" fmla="*/ 43917 w 43917"/>
                <a:gd name="connsiteY1" fmla="*/ 0 h 23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3917" h="2346">
                  <a:moveTo>
                    <a:pt x="0" y="0"/>
                  </a:moveTo>
                  <a:lnTo>
                    <a:pt x="43917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119" name="Gráfico 2">
              <a:extLst>
                <a:ext uri="{FF2B5EF4-FFF2-40B4-BE49-F238E27FC236}">
                  <a16:creationId xmlns:a16="http://schemas.microsoft.com/office/drawing/2014/main" id="{E8DB4626-37E0-C9E8-2730-C6615C2BF33A}"/>
                </a:ext>
              </a:extLst>
            </p:cNvPr>
            <p:cNvGrpSpPr/>
            <p:nvPr/>
          </p:nvGrpSpPr>
          <p:grpSpPr>
            <a:xfrm>
              <a:off x="1160206" y="1142972"/>
              <a:ext cx="301766" cy="301766"/>
              <a:chOff x="1160206" y="1142972"/>
              <a:chExt cx="301766" cy="301766"/>
            </a:xfrm>
            <a:noFill/>
          </p:grpSpPr>
          <p:sp>
            <p:nvSpPr>
              <p:cNvPr id="120" name="Forma livre: Forma 119">
                <a:extLst>
                  <a:ext uri="{FF2B5EF4-FFF2-40B4-BE49-F238E27FC236}">
                    <a16:creationId xmlns:a16="http://schemas.microsoft.com/office/drawing/2014/main" id="{BCBA4F4E-C808-A52D-29C0-2368E9E06DC5}"/>
                  </a:ext>
                </a:extLst>
              </p:cNvPr>
              <p:cNvSpPr/>
              <p:nvPr/>
            </p:nvSpPr>
            <p:spPr>
              <a:xfrm>
                <a:off x="1160206" y="1142972"/>
                <a:ext cx="301766" cy="301766"/>
              </a:xfrm>
              <a:custGeom>
                <a:avLst/>
                <a:gdLst>
                  <a:gd name="connsiteX0" fmla="*/ 0 w 301766"/>
                  <a:gd name="connsiteY0" fmla="*/ 0 h 301766"/>
                  <a:gd name="connsiteX1" fmla="*/ 301767 w 301766"/>
                  <a:gd name="connsiteY1" fmla="*/ 0 h 301766"/>
                  <a:gd name="connsiteX2" fmla="*/ 301767 w 301766"/>
                  <a:gd name="connsiteY2" fmla="*/ 301767 h 301766"/>
                  <a:gd name="connsiteX3" fmla="*/ 0 w 301766"/>
                  <a:gd name="connsiteY3" fmla="*/ 301767 h 3017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01766" h="301766">
                    <a:moveTo>
                      <a:pt x="0" y="0"/>
                    </a:moveTo>
                    <a:lnTo>
                      <a:pt x="301767" y="0"/>
                    </a:lnTo>
                    <a:lnTo>
                      <a:pt x="301767" y="301767"/>
                    </a:lnTo>
                    <a:lnTo>
                      <a:pt x="0" y="301767"/>
                    </a:ln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121" name="Gráfico 2">
                <a:extLst>
                  <a:ext uri="{FF2B5EF4-FFF2-40B4-BE49-F238E27FC236}">
                    <a16:creationId xmlns:a16="http://schemas.microsoft.com/office/drawing/2014/main" id="{BA2E2973-8D91-2C6F-53C4-018AA557774C}"/>
                  </a:ext>
                </a:extLst>
              </p:cNvPr>
              <p:cNvGrpSpPr/>
              <p:nvPr/>
            </p:nvGrpSpPr>
            <p:grpSpPr>
              <a:xfrm>
                <a:off x="1211326" y="1188673"/>
                <a:ext cx="199504" cy="210389"/>
                <a:chOff x="1211326" y="1188673"/>
                <a:chExt cx="199504" cy="210389"/>
              </a:xfrm>
            </p:grpSpPr>
            <p:grpSp>
              <p:nvGrpSpPr>
                <p:cNvPr id="122" name="Gráfico 2">
                  <a:extLst>
                    <a:ext uri="{FF2B5EF4-FFF2-40B4-BE49-F238E27FC236}">
                      <a16:creationId xmlns:a16="http://schemas.microsoft.com/office/drawing/2014/main" id="{85AA6F17-BEC7-6F02-B0AB-B67B25EED2B7}"/>
                    </a:ext>
                  </a:extLst>
                </p:cNvPr>
                <p:cNvGrpSpPr/>
                <p:nvPr/>
              </p:nvGrpSpPr>
              <p:grpSpPr>
                <a:xfrm>
                  <a:off x="1211326" y="1188673"/>
                  <a:ext cx="46662" cy="210389"/>
                  <a:chOff x="1211326" y="1188673"/>
                  <a:chExt cx="46662" cy="210389"/>
                </a:xfrm>
              </p:grpSpPr>
              <p:sp>
                <p:nvSpPr>
                  <p:cNvPr id="123" name="Forma livre: Forma 122">
                    <a:extLst>
                      <a:ext uri="{FF2B5EF4-FFF2-40B4-BE49-F238E27FC236}">
                        <a16:creationId xmlns:a16="http://schemas.microsoft.com/office/drawing/2014/main" id="{E94571E8-FF5C-33F3-B921-8DCD0B4E64C4}"/>
                      </a:ext>
                    </a:extLst>
                  </p:cNvPr>
                  <p:cNvSpPr/>
                  <p:nvPr/>
                </p:nvSpPr>
                <p:spPr>
                  <a:xfrm>
                    <a:off x="1234668" y="1356576"/>
                    <a:ext cx="2346" cy="42486"/>
                  </a:xfrm>
                  <a:custGeom>
                    <a:avLst/>
                    <a:gdLst>
                      <a:gd name="connsiteX0" fmla="*/ 0 w 2346"/>
                      <a:gd name="connsiteY0" fmla="*/ 42486 h 42486"/>
                      <a:gd name="connsiteX1" fmla="*/ 0 w 2346"/>
                      <a:gd name="connsiteY1" fmla="*/ 0 h 4248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2346" h="42486">
                        <a:moveTo>
                          <a:pt x="0" y="42486"/>
                        </a:moveTo>
                        <a:lnTo>
                          <a:pt x="0" y="0"/>
                        </a:lnTo>
                      </a:path>
                    </a:pathLst>
                  </a:custGeom>
                  <a:ln w="6350" cap="flat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124" name="Forma livre: Forma 123">
                    <a:extLst>
                      <a:ext uri="{FF2B5EF4-FFF2-40B4-BE49-F238E27FC236}">
                        <a16:creationId xmlns:a16="http://schemas.microsoft.com/office/drawing/2014/main" id="{BF7B48E7-BE1C-55D7-9EFD-9D2937C74FEA}"/>
                      </a:ext>
                    </a:extLst>
                  </p:cNvPr>
                  <p:cNvSpPr/>
                  <p:nvPr/>
                </p:nvSpPr>
                <p:spPr>
                  <a:xfrm>
                    <a:off x="1234668" y="1188673"/>
                    <a:ext cx="2346" cy="131634"/>
                  </a:xfrm>
                  <a:custGeom>
                    <a:avLst/>
                    <a:gdLst>
                      <a:gd name="connsiteX0" fmla="*/ 0 w 2346"/>
                      <a:gd name="connsiteY0" fmla="*/ 131634 h 131634"/>
                      <a:gd name="connsiteX1" fmla="*/ 0 w 2346"/>
                      <a:gd name="connsiteY1" fmla="*/ 0 h 13163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2346" h="131634">
                        <a:moveTo>
                          <a:pt x="0" y="131634"/>
                        </a:moveTo>
                        <a:lnTo>
                          <a:pt x="0" y="0"/>
                        </a:lnTo>
                      </a:path>
                    </a:pathLst>
                  </a:custGeom>
                  <a:ln w="6350" cap="flat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125" name="Forma livre: Forma 124">
                    <a:extLst>
                      <a:ext uri="{FF2B5EF4-FFF2-40B4-BE49-F238E27FC236}">
                        <a16:creationId xmlns:a16="http://schemas.microsoft.com/office/drawing/2014/main" id="{FC4BCDED-9EB1-6821-DA52-20CA628D6709}"/>
                      </a:ext>
                    </a:extLst>
                  </p:cNvPr>
                  <p:cNvSpPr/>
                  <p:nvPr/>
                </p:nvSpPr>
                <p:spPr>
                  <a:xfrm>
                    <a:off x="1211326" y="1356178"/>
                    <a:ext cx="46662" cy="2346"/>
                  </a:xfrm>
                  <a:custGeom>
                    <a:avLst/>
                    <a:gdLst>
                      <a:gd name="connsiteX0" fmla="*/ 46662 w 46662"/>
                      <a:gd name="connsiteY0" fmla="*/ 0 h 2346"/>
                      <a:gd name="connsiteX1" fmla="*/ 0 w 46662"/>
                      <a:gd name="connsiteY1" fmla="*/ 0 h 234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46662" h="2346">
                        <a:moveTo>
                          <a:pt x="46662" y="0"/>
                        </a:moveTo>
                        <a:lnTo>
                          <a:pt x="0" y="0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  <p:grpSp>
              <p:nvGrpSpPr>
                <p:cNvPr id="126" name="Gráfico 2">
                  <a:extLst>
                    <a:ext uri="{FF2B5EF4-FFF2-40B4-BE49-F238E27FC236}">
                      <a16:creationId xmlns:a16="http://schemas.microsoft.com/office/drawing/2014/main" id="{F14D08E0-AC21-E303-B21A-EB75CF2082AC}"/>
                    </a:ext>
                  </a:extLst>
                </p:cNvPr>
                <p:cNvGrpSpPr/>
                <p:nvPr/>
              </p:nvGrpSpPr>
              <p:grpSpPr>
                <a:xfrm>
                  <a:off x="1287759" y="1188673"/>
                  <a:ext cx="46638" cy="210389"/>
                  <a:chOff x="1287759" y="1188673"/>
                  <a:chExt cx="46638" cy="210389"/>
                </a:xfrm>
              </p:grpSpPr>
              <p:sp>
                <p:nvSpPr>
                  <p:cNvPr id="127" name="Forma livre: Forma 126">
                    <a:extLst>
                      <a:ext uri="{FF2B5EF4-FFF2-40B4-BE49-F238E27FC236}">
                        <a16:creationId xmlns:a16="http://schemas.microsoft.com/office/drawing/2014/main" id="{99753F71-3704-B273-7202-7268960D9476}"/>
                      </a:ext>
                    </a:extLst>
                  </p:cNvPr>
                  <p:cNvSpPr/>
                  <p:nvPr/>
                </p:nvSpPr>
                <p:spPr>
                  <a:xfrm>
                    <a:off x="1311078" y="1188673"/>
                    <a:ext cx="2346" cy="44949"/>
                  </a:xfrm>
                  <a:custGeom>
                    <a:avLst/>
                    <a:gdLst>
                      <a:gd name="connsiteX0" fmla="*/ 0 w 2346"/>
                      <a:gd name="connsiteY0" fmla="*/ 44949 h 44949"/>
                      <a:gd name="connsiteX1" fmla="*/ 0 w 2346"/>
                      <a:gd name="connsiteY1" fmla="*/ 0 h 449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2346" h="44949">
                        <a:moveTo>
                          <a:pt x="0" y="44949"/>
                        </a:moveTo>
                        <a:lnTo>
                          <a:pt x="0" y="0"/>
                        </a:lnTo>
                      </a:path>
                    </a:pathLst>
                  </a:custGeom>
                  <a:ln w="6350" cap="flat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128" name="Forma livre: Forma 127">
                    <a:extLst>
                      <a:ext uri="{FF2B5EF4-FFF2-40B4-BE49-F238E27FC236}">
                        <a16:creationId xmlns:a16="http://schemas.microsoft.com/office/drawing/2014/main" id="{92F95F5F-2DF1-0C47-8C26-8B67410473B2}"/>
                      </a:ext>
                    </a:extLst>
                  </p:cNvPr>
                  <p:cNvSpPr/>
                  <p:nvPr/>
                </p:nvSpPr>
                <p:spPr>
                  <a:xfrm>
                    <a:off x="1311078" y="1270361"/>
                    <a:ext cx="2346" cy="128701"/>
                  </a:xfrm>
                  <a:custGeom>
                    <a:avLst/>
                    <a:gdLst>
                      <a:gd name="connsiteX0" fmla="*/ 0 w 2346"/>
                      <a:gd name="connsiteY0" fmla="*/ 128702 h 128701"/>
                      <a:gd name="connsiteX1" fmla="*/ 0 w 2346"/>
                      <a:gd name="connsiteY1" fmla="*/ 0 h 12870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2346" h="128701">
                        <a:moveTo>
                          <a:pt x="0" y="128702"/>
                        </a:moveTo>
                        <a:lnTo>
                          <a:pt x="0" y="0"/>
                        </a:lnTo>
                      </a:path>
                    </a:pathLst>
                  </a:custGeom>
                  <a:ln w="6350" cap="flat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129" name="Forma livre: Forma 128">
                    <a:extLst>
                      <a:ext uri="{FF2B5EF4-FFF2-40B4-BE49-F238E27FC236}">
                        <a16:creationId xmlns:a16="http://schemas.microsoft.com/office/drawing/2014/main" id="{EBB239FF-FF81-68F6-4791-7FD5D93842B2}"/>
                      </a:ext>
                    </a:extLst>
                  </p:cNvPr>
                  <p:cNvSpPr/>
                  <p:nvPr/>
                </p:nvSpPr>
                <p:spPr>
                  <a:xfrm>
                    <a:off x="1287759" y="1269352"/>
                    <a:ext cx="46638" cy="2346"/>
                  </a:xfrm>
                  <a:custGeom>
                    <a:avLst/>
                    <a:gdLst>
                      <a:gd name="connsiteX0" fmla="*/ 46639 w 46638"/>
                      <a:gd name="connsiteY0" fmla="*/ 0 h 2346"/>
                      <a:gd name="connsiteX1" fmla="*/ 0 w 46638"/>
                      <a:gd name="connsiteY1" fmla="*/ 0 h 234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46638" h="2346">
                        <a:moveTo>
                          <a:pt x="46639" y="0"/>
                        </a:moveTo>
                        <a:lnTo>
                          <a:pt x="0" y="0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  <p:grpSp>
              <p:nvGrpSpPr>
                <p:cNvPr id="130" name="Gráfico 2">
                  <a:extLst>
                    <a:ext uri="{FF2B5EF4-FFF2-40B4-BE49-F238E27FC236}">
                      <a16:creationId xmlns:a16="http://schemas.microsoft.com/office/drawing/2014/main" id="{EBD10D7A-E377-6B88-0576-504B45F3EF30}"/>
                    </a:ext>
                  </a:extLst>
                </p:cNvPr>
                <p:cNvGrpSpPr/>
                <p:nvPr/>
              </p:nvGrpSpPr>
              <p:grpSpPr>
                <a:xfrm>
                  <a:off x="1364191" y="1188673"/>
                  <a:ext cx="46638" cy="210389"/>
                  <a:chOff x="1364191" y="1188673"/>
                  <a:chExt cx="46638" cy="210389"/>
                </a:xfrm>
              </p:grpSpPr>
              <p:sp>
                <p:nvSpPr>
                  <p:cNvPr id="131" name="Forma livre: Forma 130">
                    <a:extLst>
                      <a:ext uri="{FF2B5EF4-FFF2-40B4-BE49-F238E27FC236}">
                        <a16:creationId xmlns:a16="http://schemas.microsoft.com/office/drawing/2014/main" id="{4F7A4B8B-8DC6-1D48-C7C2-45A1A2E1409F}"/>
                      </a:ext>
                    </a:extLst>
                  </p:cNvPr>
                  <p:cNvSpPr/>
                  <p:nvPr/>
                </p:nvSpPr>
                <p:spPr>
                  <a:xfrm>
                    <a:off x="1387511" y="1188673"/>
                    <a:ext cx="2346" cy="78333"/>
                  </a:xfrm>
                  <a:custGeom>
                    <a:avLst/>
                    <a:gdLst>
                      <a:gd name="connsiteX0" fmla="*/ 0 w 2346"/>
                      <a:gd name="connsiteY0" fmla="*/ 78333 h 78333"/>
                      <a:gd name="connsiteX1" fmla="*/ 0 w 2346"/>
                      <a:gd name="connsiteY1" fmla="*/ 0 h 7833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2346" h="78333">
                        <a:moveTo>
                          <a:pt x="0" y="78333"/>
                        </a:moveTo>
                        <a:lnTo>
                          <a:pt x="0" y="0"/>
                        </a:lnTo>
                      </a:path>
                    </a:pathLst>
                  </a:custGeom>
                  <a:ln w="6350" cap="flat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132" name="Forma livre: Forma 131">
                    <a:extLst>
                      <a:ext uri="{FF2B5EF4-FFF2-40B4-BE49-F238E27FC236}">
                        <a16:creationId xmlns:a16="http://schemas.microsoft.com/office/drawing/2014/main" id="{0A4EE5CA-252A-6E70-8822-6D5C232BD145}"/>
                      </a:ext>
                    </a:extLst>
                  </p:cNvPr>
                  <p:cNvSpPr/>
                  <p:nvPr/>
                </p:nvSpPr>
                <p:spPr>
                  <a:xfrm>
                    <a:off x="1387511" y="1304167"/>
                    <a:ext cx="2346" cy="94895"/>
                  </a:xfrm>
                  <a:custGeom>
                    <a:avLst/>
                    <a:gdLst>
                      <a:gd name="connsiteX0" fmla="*/ 0 w 2346"/>
                      <a:gd name="connsiteY0" fmla="*/ 94896 h 94895"/>
                      <a:gd name="connsiteX1" fmla="*/ 0 w 2346"/>
                      <a:gd name="connsiteY1" fmla="*/ 0 h 9489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2346" h="94895">
                        <a:moveTo>
                          <a:pt x="0" y="94896"/>
                        </a:moveTo>
                        <a:lnTo>
                          <a:pt x="0" y="0"/>
                        </a:lnTo>
                      </a:path>
                    </a:pathLst>
                  </a:custGeom>
                  <a:ln w="6350" cap="flat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133" name="Forma livre: Forma 132">
                    <a:extLst>
                      <a:ext uri="{FF2B5EF4-FFF2-40B4-BE49-F238E27FC236}">
                        <a16:creationId xmlns:a16="http://schemas.microsoft.com/office/drawing/2014/main" id="{80649814-8AF9-E30B-6355-993A70C39B58}"/>
                      </a:ext>
                    </a:extLst>
                  </p:cNvPr>
                  <p:cNvSpPr/>
                  <p:nvPr/>
                </p:nvSpPr>
                <p:spPr>
                  <a:xfrm>
                    <a:off x="1364191" y="1303721"/>
                    <a:ext cx="46638" cy="2346"/>
                  </a:xfrm>
                  <a:custGeom>
                    <a:avLst/>
                    <a:gdLst>
                      <a:gd name="connsiteX0" fmla="*/ 46639 w 46638"/>
                      <a:gd name="connsiteY0" fmla="*/ 0 h 2346"/>
                      <a:gd name="connsiteX1" fmla="*/ 0 w 46638"/>
                      <a:gd name="connsiteY1" fmla="*/ 0 h 234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46638" h="2346">
                        <a:moveTo>
                          <a:pt x="46639" y="0"/>
                        </a:moveTo>
                        <a:lnTo>
                          <a:pt x="0" y="0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</p:grpSp>
        </p:grpSp>
      </p:grpSp>
      <p:grpSp>
        <p:nvGrpSpPr>
          <p:cNvPr id="134" name="Gráfico 2">
            <a:extLst>
              <a:ext uri="{FF2B5EF4-FFF2-40B4-BE49-F238E27FC236}">
                <a16:creationId xmlns:a16="http://schemas.microsoft.com/office/drawing/2014/main" id="{7F8EC80C-F52F-BA04-2196-E469354EB318}"/>
              </a:ext>
            </a:extLst>
          </p:cNvPr>
          <p:cNvGrpSpPr/>
          <p:nvPr/>
        </p:nvGrpSpPr>
        <p:grpSpPr>
          <a:xfrm>
            <a:off x="3376338" y="2080108"/>
            <a:ext cx="658336" cy="564402"/>
            <a:chOff x="3376338" y="2080108"/>
            <a:chExt cx="658336" cy="564402"/>
          </a:xfrm>
          <a:noFill/>
        </p:grpSpPr>
        <p:grpSp>
          <p:nvGrpSpPr>
            <p:cNvPr id="135" name="Gráfico 2">
              <a:extLst>
                <a:ext uri="{FF2B5EF4-FFF2-40B4-BE49-F238E27FC236}">
                  <a16:creationId xmlns:a16="http://schemas.microsoft.com/office/drawing/2014/main" id="{5D2EF051-0111-6212-0715-06EAFEE098BD}"/>
                </a:ext>
              </a:extLst>
            </p:cNvPr>
            <p:cNvGrpSpPr/>
            <p:nvPr/>
          </p:nvGrpSpPr>
          <p:grpSpPr>
            <a:xfrm>
              <a:off x="3577930" y="2234734"/>
              <a:ext cx="255128" cy="255151"/>
              <a:chOff x="3577930" y="2234734"/>
              <a:chExt cx="255128" cy="255151"/>
            </a:xfrm>
            <a:noFill/>
          </p:grpSpPr>
          <p:sp>
            <p:nvSpPr>
              <p:cNvPr id="136" name="Forma livre: Forma 135">
                <a:extLst>
                  <a:ext uri="{FF2B5EF4-FFF2-40B4-BE49-F238E27FC236}">
                    <a16:creationId xmlns:a16="http://schemas.microsoft.com/office/drawing/2014/main" id="{10BC6B6C-29C8-0729-77D9-DF818BAE9F9C}"/>
                  </a:ext>
                </a:extLst>
              </p:cNvPr>
              <p:cNvSpPr/>
              <p:nvPr/>
            </p:nvSpPr>
            <p:spPr>
              <a:xfrm>
                <a:off x="3577930" y="2234734"/>
                <a:ext cx="255128" cy="255151"/>
              </a:xfrm>
              <a:custGeom>
                <a:avLst/>
                <a:gdLst>
                  <a:gd name="connsiteX0" fmla="*/ 103764 w 255128"/>
                  <a:gd name="connsiteY0" fmla="*/ 34205 h 255151"/>
                  <a:gd name="connsiteX1" fmla="*/ 78568 w 255128"/>
                  <a:gd name="connsiteY1" fmla="*/ 44598 h 255151"/>
                  <a:gd name="connsiteX2" fmla="*/ 50252 w 255128"/>
                  <a:gd name="connsiteY2" fmla="*/ 24516 h 255151"/>
                  <a:gd name="connsiteX3" fmla="*/ 24516 w 255128"/>
                  <a:gd name="connsiteY3" fmla="*/ 50228 h 255151"/>
                  <a:gd name="connsiteX4" fmla="*/ 44598 w 255128"/>
                  <a:gd name="connsiteY4" fmla="*/ 78568 h 255151"/>
                  <a:gd name="connsiteX5" fmla="*/ 34228 w 255128"/>
                  <a:gd name="connsiteY5" fmla="*/ 103576 h 255151"/>
                  <a:gd name="connsiteX6" fmla="*/ 0 w 255128"/>
                  <a:gd name="connsiteY6" fmla="*/ 109394 h 255151"/>
                  <a:gd name="connsiteX7" fmla="*/ 0 w 255128"/>
                  <a:gd name="connsiteY7" fmla="*/ 145781 h 255151"/>
                  <a:gd name="connsiteX8" fmla="*/ 34228 w 255128"/>
                  <a:gd name="connsiteY8" fmla="*/ 151599 h 255151"/>
                  <a:gd name="connsiteX9" fmla="*/ 44692 w 255128"/>
                  <a:gd name="connsiteY9" fmla="*/ 176748 h 255151"/>
                  <a:gd name="connsiteX10" fmla="*/ 24516 w 255128"/>
                  <a:gd name="connsiteY10" fmla="*/ 204924 h 255151"/>
                  <a:gd name="connsiteX11" fmla="*/ 50252 w 255128"/>
                  <a:gd name="connsiteY11" fmla="*/ 230659 h 255151"/>
                  <a:gd name="connsiteX12" fmla="*/ 78404 w 255128"/>
                  <a:gd name="connsiteY12" fmla="*/ 210460 h 255151"/>
                  <a:gd name="connsiteX13" fmla="*/ 103576 w 255128"/>
                  <a:gd name="connsiteY13" fmla="*/ 220900 h 255151"/>
                  <a:gd name="connsiteX14" fmla="*/ 109394 w 255128"/>
                  <a:gd name="connsiteY14" fmla="*/ 255152 h 255151"/>
                  <a:gd name="connsiteX15" fmla="*/ 145781 w 255128"/>
                  <a:gd name="connsiteY15" fmla="*/ 255152 h 255151"/>
                  <a:gd name="connsiteX16" fmla="*/ 151622 w 255128"/>
                  <a:gd name="connsiteY16" fmla="*/ 220923 h 255151"/>
                  <a:gd name="connsiteX17" fmla="*/ 176795 w 255128"/>
                  <a:gd name="connsiteY17" fmla="*/ 210460 h 255151"/>
                  <a:gd name="connsiteX18" fmla="*/ 204947 w 255128"/>
                  <a:gd name="connsiteY18" fmla="*/ 230659 h 255151"/>
                  <a:gd name="connsiteX19" fmla="*/ 230660 w 255128"/>
                  <a:gd name="connsiteY19" fmla="*/ 204924 h 255151"/>
                  <a:gd name="connsiteX20" fmla="*/ 210460 w 255128"/>
                  <a:gd name="connsiteY20" fmla="*/ 176772 h 255151"/>
                  <a:gd name="connsiteX21" fmla="*/ 220994 w 255128"/>
                  <a:gd name="connsiteY21" fmla="*/ 151388 h 255151"/>
                  <a:gd name="connsiteX22" fmla="*/ 255128 w 255128"/>
                  <a:gd name="connsiteY22" fmla="*/ 145781 h 255151"/>
                  <a:gd name="connsiteX23" fmla="*/ 255128 w 255128"/>
                  <a:gd name="connsiteY23" fmla="*/ 109394 h 255151"/>
                  <a:gd name="connsiteX24" fmla="*/ 220994 w 255128"/>
                  <a:gd name="connsiteY24" fmla="*/ 103764 h 255151"/>
                  <a:gd name="connsiteX25" fmla="*/ 210554 w 255128"/>
                  <a:gd name="connsiteY25" fmla="*/ 78568 h 255151"/>
                  <a:gd name="connsiteX26" fmla="*/ 230636 w 255128"/>
                  <a:gd name="connsiteY26" fmla="*/ 50251 h 255151"/>
                  <a:gd name="connsiteX27" fmla="*/ 204924 w 255128"/>
                  <a:gd name="connsiteY27" fmla="*/ 24516 h 255151"/>
                  <a:gd name="connsiteX28" fmla="*/ 176584 w 255128"/>
                  <a:gd name="connsiteY28" fmla="*/ 44598 h 255151"/>
                  <a:gd name="connsiteX29" fmla="*/ 151388 w 255128"/>
                  <a:gd name="connsiteY29" fmla="*/ 34181 h 255151"/>
                  <a:gd name="connsiteX30" fmla="*/ 145757 w 255128"/>
                  <a:gd name="connsiteY30" fmla="*/ 0 h 255151"/>
                  <a:gd name="connsiteX31" fmla="*/ 109371 w 255128"/>
                  <a:gd name="connsiteY31" fmla="*/ 0 h 2551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</a:cxnLst>
                <a:rect l="l" t="t" r="r" b="b"/>
                <a:pathLst>
                  <a:path w="255128" h="255151">
                    <a:moveTo>
                      <a:pt x="103764" y="34205"/>
                    </a:moveTo>
                    <a:cubicBezTo>
                      <a:pt x="94802" y="36480"/>
                      <a:pt x="86357" y="40023"/>
                      <a:pt x="78568" y="44598"/>
                    </a:cubicBezTo>
                    <a:lnTo>
                      <a:pt x="50252" y="24516"/>
                    </a:lnTo>
                    <a:lnTo>
                      <a:pt x="24516" y="50228"/>
                    </a:lnTo>
                    <a:lnTo>
                      <a:pt x="44598" y="78568"/>
                    </a:lnTo>
                    <a:cubicBezTo>
                      <a:pt x="40023" y="86286"/>
                      <a:pt x="36527" y="94661"/>
                      <a:pt x="34228" y="103576"/>
                    </a:cubicBezTo>
                    <a:lnTo>
                      <a:pt x="0" y="109394"/>
                    </a:lnTo>
                    <a:lnTo>
                      <a:pt x="0" y="145781"/>
                    </a:lnTo>
                    <a:lnTo>
                      <a:pt x="34228" y="151599"/>
                    </a:lnTo>
                    <a:cubicBezTo>
                      <a:pt x="36527" y="160561"/>
                      <a:pt x="40070" y="168983"/>
                      <a:pt x="44692" y="176748"/>
                    </a:cubicBezTo>
                    <a:lnTo>
                      <a:pt x="24516" y="204924"/>
                    </a:lnTo>
                    <a:lnTo>
                      <a:pt x="50252" y="230659"/>
                    </a:lnTo>
                    <a:lnTo>
                      <a:pt x="78404" y="210460"/>
                    </a:lnTo>
                    <a:cubicBezTo>
                      <a:pt x="86169" y="215082"/>
                      <a:pt x="94615" y="218601"/>
                      <a:pt x="103576" y="220900"/>
                    </a:cubicBezTo>
                    <a:lnTo>
                      <a:pt x="109394" y="255152"/>
                    </a:lnTo>
                    <a:lnTo>
                      <a:pt x="145781" y="255152"/>
                    </a:lnTo>
                    <a:lnTo>
                      <a:pt x="151622" y="220923"/>
                    </a:lnTo>
                    <a:cubicBezTo>
                      <a:pt x="160584" y="218601"/>
                      <a:pt x="169006" y="215082"/>
                      <a:pt x="176795" y="210460"/>
                    </a:cubicBezTo>
                    <a:lnTo>
                      <a:pt x="204947" y="230659"/>
                    </a:lnTo>
                    <a:lnTo>
                      <a:pt x="230660" y="204924"/>
                    </a:lnTo>
                    <a:lnTo>
                      <a:pt x="210460" y="176772"/>
                    </a:lnTo>
                    <a:cubicBezTo>
                      <a:pt x="215129" y="168936"/>
                      <a:pt x="218695" y="160443"/>
                      <a:pt x="220994" y="151388"/>
                    </a:cubicBezTo>
                    <a:lnTo>
                      <a:pt x="255128" y="145781"/>
                    </a:lnTo>
                    <a:lnTo>
                      <a:pt x="255128" y="109394"/>
                    </a:lnTo>
                    <a:lnTo>
                      <a:pt x="220994" y="103764"/>
                    </a:lnTo>
                    <a:cubicBezTo>
                      <a:pt x="218695" y="94779"/>
                      <a:pt x="215176" y="86357"/>
                      <a:pt x="210554" y="78568"/>
                    </a:cubicBezTo>
                    <a:lnTo>
                      <a:pt x="230636" y="50251"/>
                    </a:lnTo>
                    <a:lnTo>
                      <a:pt x="204924" y="24516"/>
                    </a:lnTo>
                    <a:lnTo>
                      <a:pt x="176584" y="44598"/>
                    </a:lnTo>
                    <a:cubicBezTo>
                      <a:pt x="168819" y="40023"/>
                      <a:pt x="160350" y="36457"/>
                      <a:pt x="151388" y="34181"/>
                    </a:cubicBezTo>
                    <a:lnTo>
                      <a:pt x="145757" y="0"/>
                    </a:lnTo>
                    <a:lnTo>
                      <a:pt x="109371" y="0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37" name="Forma livre: Forma 136">
                <a:extLst>
                  <a:ext uri="{FF2B5EF4-FFF2-40B4-BE49-F238E27FC236}">
                    <a16:creationId xmlns:a16="http://schemas.microsoft.com/office/drawing/2014/main" id="{701C1CB4-D0A2-205B-F8BE-33460F83D5B1}"/>
                  </a:ext>
                </a:extLst>
              </p:cNvPr>
              <p:cNvSpPr/>
              <p:nvPr/>
            </p:nvSpPr>
            <p:spPr>
              <a:xfrm>
                <a:off x="3668228" y="2325008"/>
                <a:ext cx="74579" cy="74532"/>
              </a:xfrm>
              <a:custGeom>
                <a:avLst/>
                <a:gdLst>
                  <a:gd name="connsiteX0" fmla="*/ 30498 w 74579"/>
                  <a:gd name="connsiteY0" fmla="*/ 633 h 74532"/>
                  <a:gd name="connsiteX1" fmla="*/ 37302 w 74579"/>
                  <a:gd name="connsiteY1" fmla="*/ 0 h 74532"/>
                  <a:gd name="connsiteX2" fmla="*/ 74580 w 74579"/>
                  <a:gd name="connsiteY2" fmla="*/ 37278 h 74532"/>
                  <a:gd name="connsiteX3" fmla="*/ 37302 w 74579"/>
                  <a:gd name="connsiteY3" fmla="*/ 74533 h 74532"/>
                  <a:gd name="connsiteX4" fmla="*/ 0 w 74579"/>
                  <a:gd name="connsiteY4" fmla="*/ 37278 h 74532"/>
                  <a:gd name="connsiteX5" fmla="*/ 540 w 74579"/>
                  <a:gd name="connsiteY5" fmla="*/ 30780 h 745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74579" h="74532">
                    <a:moveTo>
                      <a:pt x="30498" y="633"/>
                    </a:moveTo>
                    <a:cubicBezTo>
                      <a:pt x="32703" y="235"/>
                      <a:pt x="34979" y="0"/>
                      <a:pt x="37302" y="0"/>
                    </a:cubicBezTo>
                    <a:cubicBezTo>
                      <a:pt x="57876" y="0"/>
                      <a:pt x="74580" y="16680"/>
                      <a:pt x="74580" y="37278"/>
                    </a:cubicBezTo>
                    <a:cubicBezTo>
                      <a:pt x="74580" y="57876"/>
                      <a:pt x="57876" y="74533"/>
                      <a:pt x="37302" y="74533"/>
                    </a:cubicBezTo>
                    <a:cubicBezTo>
                      <a:pt x="16727" y="74533"/>
                      <a:pt x="0" y="57876"/>
                      <a:pt x="0" y="37278"/>
                    </a:cubicBezTo>
                    <a:cubicBezTo>
                      <a:pt x="0" y="35073"/>
                      <a:pt x="211" y="32868"/>
                      <a:pt x="540" y="30780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38" name="Gráfico 2">
              <a:extLst>
                <a:ext uri="{FF2B5EF4-FFF2-40B4-BE49-F238E27FC236}">
                  <a16:creationId xmlns:a16="http://schemas.microsoft.com/office/drawing/2014/main" id="{11D20E8F-2A07-017A-9EC0-44AD0293458E}"/>
                </a:ext>
              </a:extLst>
            </p:cNvPr>
            <p:cNvGrpSpPr/>
            <p:nvPr/>
          </p:nvGrpSpPr>
          <p:grpSpPr>
            <a:xfrm>
              <a:off x="3376338" y="2080108"/>
              <a:ext cx="658336" cy="564402"/>
              <a:chOff x="3376338" y="2080108"/>
              <a:chExt cx="658336" cy="564402"/>
            </a:xfrm>
            <a:noFill/>
          </p:grpSpPr>
          <p:sp>
            <p:nvSpPr>
              <p:cNvPr id="139" name="Forma livre: Forma 138">
                <a:extLst>
                  <a:ext uri="{FF2B5EF4-FFF2-40B4-BE49-F238E27FC236}">
                    <a16:creationId xmlns:a16="http://schemas.microsoft.com/office/drawing/2014/main" id="{0DE0F186-BAC4-FCDE-E6DB-10FD700CC15F}"/>
                  </a:ext>
                </a:extLst>
              </p:cNvPr>
              <p:cNvSpPr/>
              <p:nvPr/>
            </p:nvSpPr>
            <p:spPr>
              <a:xfrm>
                <a:off x="3376338" y="2120882"/>
                <a:ext cx="514831" cy="364123"/>
              </a:xfrm>
              <a:custGeom>
                <a:avLst/>
                <a:gdLst>
                  <a:gd name="connsiteX0" fmla="*/ 182684 w 514831"/>
                  <a:gd name="connsiteY0" fmla="*/ 0 h 364123"/>
                  <a:gd name="connsiteX1" fmla="*/ 46029 w 514831"/>
                  <a:gd name="connsiteY1" fmla="*/ 242389 h 364123"/>
                  <a:gd name="connsiteX2" fmla="*/ 46029 w 514831"/>
                  <a:gd name="connsiteY2" fmla="*/ 252149 h 364123"/>
                  <a:gd name="connsiteX3" fmla="*/ 0 w 514831"/>
                  <a:gd name="connsiteY3" fmla="*/ 252149 h 364123"/>
                  <a:gd name="connsiteX4" fmla="*/ 74908 w 514831"/>
                  <a:gd name="connsiteY4" fmla="*/ 364124 h 364123"/>
                  <a:gd name="connsiteX5" fmla="*/ 149886 w 514831"/>
                  <a:gd name="connsiteY5" fmla="*/ 252149 h 364123"/>
                  <a:gd name="connsiteX6" fmla="*/ 102098 w 514831"/>
                  <a:gd name="connsiteY6" fmla="*/ 252149 h 364123"/>
                  <a:gd name="connsiteX7" fmla="*/ 102098 w 514831"/>
                  <a:gd name="connsiteY7" fmla="*/ 242389 h 364123"/>
                  <a:gd name="connsiteX8" fmla="*/ 328957 w 514831"/>
                  <a:gd name="connsiteY8" fmla="*/ 15319 h 364123"/>
                  <a:gd name="connsiteX9" fmla="*/ 514831 w 514831"/>
                  <a:gd name="connsiteY9" fmla="*/ 112139 h 3641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514831" h="364123">
                    <a:moveTo>
                      <a:pt x="182684" y="0"/>
                    </a:moveTo>
                    <a:cubicBezTo>
                      <a:pt x="97101" y="51847"/>
                      <a:pt x="46029" y="142473"/>
                      <a:pt x="46029" y="242389"/>
                    </a:cubicBezTo>
                    <a:lnTo>
                      <a:pt x="46029" y="252149"/>
                    </a:lnTo>
                    <a:lnTo>
                      <a:pt x="0" y="252149"/>
                    </a:lnTo>
                    <a:lnTo>
                      <a:pt x="74908" y="364124"/>
                    </a:lnTo>
                    <a:lnTo>
                      <a:pt x="149886" y="252149"/>
                    </a:lnTo>
                    <a:lnTo>
                      <a:pt x="102098" y="252149"/>
                    </a:lnTo>
                    <a:lnTo>
                      <a:pt x="102098" y="242389"/>
                    </a:lnTo>
                    <a:cubicBezTo>
                      <a:pt x="102098" y="117183"/>
                      <a:pt x="203868" y="15319"/>
                      <a:pt x="328957" y="15319"/>
                    </a:cubicBezTo>
                    <a:cubicBezTo>
                      <a:pt x="402880" y="15319"/>
                      <a:pt x="472345" y="51518"/>
                      <a:pt x="514831" y="112139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40" name="Forma livre: Forma 139">
                <a:extLst>
                  <a:ext uri="{FF2B5EF4-FFF2-40B4-BE49-F238E27FC236}">
                    <a16:creationId xmlns:a16="http://schemas.microsoft.com/office/drawing/2014/main" id="{BE036B66-D272-43C5-47E6-F8FEFECFFE9E}"/>
                  </a:ext>
                </a:extLst>
              </p:cNvPr>
              <p:cNvSpPr/>
              <p:nvPr/>
            </p:nvSpPr>
            <p:spPr>
              <a:xfrm>
                <a:off x="3519843" y="2239613"/>
                <a:ext cx="514831" cy="364147"/>
              </a:xfrm>
              <a:custGeom>
                <a:avLst/>
                <a:gdLst>
                  <a:gd name="connsiteX0" fmla="*/ 332148 w 514831"/>
                  <a:gd name="connsiteY0" fmla="*/ 364147 h 364147"/>
                  <a:gd name="connsiteX1" fmla="*/ 468803 w 514831"/>
                  <a:gd name="connsiteY1" fmla="*/ 121734 h 364147"/>
                  <a:gd name="connsiteX2" fmla="*/ 468803 w 514831"/>
                  <a:gd name="connsiteY2" fmla="*/ 111975 h 364147"/>
                  <a:gd name="connsiteX3" fmla="*/ 514831 w 514831"/>
                  <a:gd name="connsiteY3" fmla="*/ 111975 h 364147"/>
                  <a:gd name="connsiteX4" fmla="*/ 439923 w 514831"/>
                  <a:gd name="connsiteY4" fmla="*/ 0 h 364147"/>
                  <a:gd name="connsiteX5" fmla="*/ 364945 w 514831"/>
                  <a:gd name="connsiteY5" fmla="*/ 111975 h 364147"/>
                  <a:gd name="connsiteX6" fmla="*/ 412733 w 514831"/>
                  <a:gd name="connsiteY6" fmla="*/ 111975 h 364147"/>
                  <a:gd name="connsiteX7" fmla="*/ 412733 w 514831"/>
                  <a:gd name="connsiteY7" fmla="*/ 121734 h 364147"/>
                  <a:gd name="connsiteX8" fmla="*/ 185898 w 514831"/>
                  <a:gd name="connsiteY8" fmla="*/ 348828 h 364147"/>
                  <a:gd name="connsiteX9" fmla="*/ 0 w 514831"/>
                  <a:gd name="connsiteY9" fmla="*/ 252008 h 3641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514831" h="364147">
                    <a:moveTo>
                      <a:pt x="332148" y="364147"/>
                    </a:moveTo>
                    <a:cubicBezTo>
                      <a:pt x="417730" y="312300"/>
                      <a:pt x="468803" y="221674"/>
                      <a:pt x="468803" y="121734"/>
                    </a:cubicBezTo>
                    <a:lnTo>
                      <a:pt x="468803" y="111975"/>
                    </a:lnTo>
                    <a:lnTo>
                      <a:pt x="514831" y="111975"/>
                    </a:lnTo>
                    <a:lnTo>
                      <a:pt x="439923" y="0"/>
                    </a:lnTo>
                    <a:lnTo>
                      <a:pt x="364945" y="111975"/>
                    </a:lnTo>
                    <a:lnTo>
                      <a:pt x="412733" y="111975"/>
                    </a:lnTo>
                    <a:lnTo>
                      <a:pt x="412733" y="121734"/>
                    </a:lnTo>
                    <a:cubicBezTo>
                      <a:pt x="412733" y="246964"/>
                      <a:pt x="310963" y="348828"/>
                      <a:pt x="185898" y="348828"/>
                    </a:cubicBezTo>
                    <a:cubicBezTo>
                      <a:pt x="111952" y="348828"/>
                      <a:pt x="42463" y="312629"/>
                      <a:pt x="0" y="252008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41" name="Forma livre: Forma 140">
                <a:extLst>
                  <a:ext uri="{FF2B5EF4-FFF2-40B4-BE49-F238E27FC236}">
                    <a16:creationId xmlns:a16="http://schemas.microsoft.com/office/drawing/2014/main" id="{1A0033A3-0270-3B7F-0DF1-320D8DCFC183}"/>
                  </a:ext>
                </a:extLst>
              </p:cNvPr>
              <p:cNvSpPr/>
              <p:nvPr/>
            </p:nvSpPr>
            <p:spPr>
              <a:xfrm>
                <a:off x="3687677" y="2619643"/>
                <a:ext cx="134097" cy="24867"/>
              </a:xfrm>
              <a:custGeom>
                <a:avLst/>
                <a:gdLst>
                  <a:gd name="connsiteX0" fmla="*/ 0 w 134097"/>
                  <a:gd name="connsiteY0" fmla="*/ 24305 h 24867"/>
                  <a:gd name="connsiteX1" fmla="*/ 18041 w 134097"/>
                  <a:gd name="connsiteY1" fmla="*/ 24868 h 24867"/>
                  <a:gd name="connsiteX2" fmla="*/ 134098 w 134097"/>
                  <a:gd name="connsiteY2" fmla="*/ 0 h 248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34097" h="24867">
                    <a:moveTo>
                      <a:pt x="0" y="24305"/>
                    </a:moveTo>
                    <a:cubicBezTo>
                      <a:pt x="5982" y="24680"/>
                      <a:pt x="11988" y="24868"/>
                      <a:pt x="18041" y="24868"/>
                    </a:cubicBezTo>
                    <a:cubicBezTo>
                      <a:pt x="58463" y="24868"/>
                      <a:pt x="97524" y="16516"/>
                      <a:pt x="134098" y="0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42" name="Forma livre: Forma 141">
                <a:extLst>
                  <a:ext uri="{FF2B5EF4-FFF2-40B4-BE49-F238E27FC236}">
                    <a16:creationId xmlns:a16="http://schemas.microsoft.com/office/drawing/2014/main" id="{0A285145-6DCB-7BE4-5904-2403EDC0FC3C}"/>
                  </a:ext>
                </a:extLst>
              </p:cNvPr>
              <p:cNvSpPr/>
              <p:nvPr/>
            </p:nvSpPr>
            <p:spPr>
              <a:xfrm>
                <a:off x="3570869" y="2610376"/>
                <a:ext cx="80046" cy="28855"/>
              </a:xfrm>
              <a:custGeom>
                <a:avLst/>
                <a:gdLst>
                  <a:gd name="connsiteX0" fmla="*/ 0 w 80046"/>
                  <a:gd name="connsiteY0" fmla="*/ 0 h 28855"/>
                  <a:gd name="connsiteX1" fmla="*/ 80046 w 80046"/>
                  <a:gd name="connsiteY1" fmla="*/ 28856 h 288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80046" h="28855">
                    <a:moveTo>
                      <a:pt x="0" y="0"/>
                    </a:moveTo>
                    <a:cubicBezTo>
                      <a:pt x="25102" y="13654"/>
                      <a:pt x="52058" y="23343"/>
                      <a:pt x="80046" y="28856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43" name="Forma livre: Forma 142">
                <a:extLst>
                  <a:ext uri="{FF2B5EF4-FFF2-40B4-BE49-F238E27FC236}">
                    <a16:creationId xmlns:a16="http://schemas.microsoft.com/office/drawing/2014/main" id="{22990D13-F43E-1559-145D-78E64F3D761B}"/>
                  </a:ext>
                </a:extLst>
              </p:cNvPr>
              <p:cNvSpPr/>
              <p:nvPr/>
            </p:nvSpPr>
            <p:spPr>
              <a:xfrm>
                <a:off x="3589215" y="2080108"/>
                <a:ext cx="134097" cy="24867"/>
              </a:xfrm>
              <a:custGeom>
                <a:avLst/>
                <a:gdLst>
                  <a:gd name="connsiteX0" fmla="*/ 134098 w 134097"/>
                  <a:gd name="connsiteY0" fmla="*/ 563 h 24867"/>
                  <a:gd name="connsiteX1" fmla="*/ 116080 w 134097"/>
                  <a:gd name="connsiteY1" fmla="*/ 0 h 24867"/>
                  <a:gd name="connsiteX2" fmla="*/ 0 w 134097"/>
                  <a:gd name="connsiteY2" fmla="*/ 24868 h 248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34097" h="24867">
                    <a:moveTo>
                      <a:pt x="134098" y="563"/>
                    </a:moveTo>
                    <a:cubicBezTo>
                      <a:pt x="128115" y="188"/>
                      <a:pt x="122110" y="0"/>
                      <a:pt x="116080" y="0"/>
                    </a:cubicBezTo>
                    <a:cubicBezTo>
                      <a:pt x="75659" y="0"/>
                      <a:pt x="36598" y="8375"/>
                      <a:pt x="0" y="24868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44" name="Forma livre: Forma 143">
                <a:extLst>
                  <a:ext uri="{FF2B5EF4-FFF2-40B4-BE49-F238E27FC236}">
                    <a16:creationId xmlns:a16="http://schemas.microsoft.com/office/drawing/2014/main" id="{5E6B7FEF-C5FB-FAF0-BA7A-6837D1B237AB}"/>
                  </a:ext>
                </a:extLst>
              </p:cNvPr>
              <p:cNvSpPr/>
              <p:nvPr/>
            </p:nvSpPr>
            <p:spPr>
              <a:xfrm>
                <a:off x="3760098" y="2085410"/>
                <a:ext cx="80045" cy="28832"/>
              </a:xfrm>
              <a:custGeom>
                <a:avLst/>
                <a:gdLst>
                  <a:gd name="connsiteX0" fmla="*/ 80046 w 80045"/>
                  <a:gd name="connsiteY0" fmla="*/ 28832 h 28832"/>
                  <a:gd name="connsiteX1" fmla="*/ 0 w 80045"/>
                  <a:gd name="connsiteY1" fmla="*/ 0 h 288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80045" h="28832">
                    <a:moveTo>
                      <a:pt x="80046" y="28832"/>
                    </a:moveTo>
                    <a:cubicBezTo>
                      <a:pt x="54944" y="15202"/>
                      <a:pt x="27988" y="5490"/>
                      <a:pt x="0" y="0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45" name="Gráfico 2">
            <a:extLst>
              <a:ext uri="{FF2B5EF4-FFF2-40B4-BE49-F238E27FC236}">
                <a16:creationId xmlns:a16="http://schemas.microsoft.com/office/drawing/2014/main" id="{8F9234D0-871A-828E-F39E-716A987A0158}"/>
              </a:ext>
            </a:extLst>
          </p:cNvPr>
          <p:cNvGrpSpPr/>
          <p:nvPr/>
        </p:nvGrpSpPr>
        <p:grpSpPr>
          <a:xfrm>
            <a:off x="3422460" y="3119905"/>
            <a:ext cx="566067" cy="571815"/>
            <a:chOff x="3422460" y="3119905"/>
            <a:chExt cx="566067" cy="571815"/>
          </a:xfrm>
          <a:noFill/>
        </p:grpSpPr>
        <p:grpSp>
          <p:nvGrpSpPr>
            <p:cNvPr id="146" name="Gráfico 2">
              <a:extLst>
                <a:ext uri="{FF2B5EF4-FFF2-40B4-BE49-F238E27FC236}">
                  <a16:creationId xmlns:a16="http://schemas.microsoft.com/office/drawing/2014/main" id="{B32ED0BC-65BC-AD5F-A109-D546D4B24097}"/>
                </a:ext>
              </a:extLst>
            </p:cNvPr>
            <p:cNvGrpSpPr/>
            <p:nvPr/>
          </p:nvGrpSpPr>
          <p:grpSpPr>
            <a:xfrm>
              <a:off x="3422460" y="3411913"/>
              <a:ext cx="566067" cy="75330"/>
              <a:chOff x="3422460" y="3411913"/>
              <a:chExt cx="566067" cy="75330"/>
            </a:xfrm>
            <a:noFill/>
          </p:grpSpPr>
          <p:sp>
            <p:nvSpPr>
              <p:cNvPr id="147" name="Forma livre: Forma 146">
                <a:extLst>
                  <a:ext uri="{FF2B5EF4-FFF2-40B4-BE49-F238E27FC236}">
                    <a16:creationId xmlns:a16="http://schemas.microsoft.com/office/drawing/2014/main" id="{12F56169-231F-AE42-82C7-74E3EEBFF687}"/>
                  </a:ext>
                </a:extLst>
              </p:cNvPr>
              <p:cNvSpPr/>
              <p:nvPr/>
            </p:nvSpPr>
            <p:spPr>
              <a:xfrm>
                <a:off x="3422460" y="3449590"/>
                <a:ext cx="283444" cy="2346"/>
              </a:xfrm>
              <a:custGeom>
                <a:avLst/>
                <a:gdLst>
                  <a:gd name="connsiteX0" fmla="*/ 0 w 283444"/>
                  <a:gd name="connsiteY0" fmla="*/ 0 h 2346"/>
                  <a:gd name="connsiteX1" fmla="*/ 283445 w 283444"/>
                  <a:gd name="connsiteY1" fmla="*/ 0 h 2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83444" h="2346">
                    <a:moveTo>
                      <a:pt x="0" y="0"/>
                    </a:moveTo>
                    <a:lnTo>
                      <a:pt x="283445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48" name="Forma livre: Forma 147">
                <a:extLst>
                  <a:ext uri="{FF2B5EF4-FFF2-40B4-BE49-F238E27FC236}">
                    <a16:creationId xmlns:a16="http://schemas.microsoft.com/office/drawing/2014/main" id="{3CBA0AC7-7342-05CB-1D6E-618F9041E7FB}"/>
                  </a:ext>
                </a:extLst>
              </p:cNvPr>
              <p:cNvSpPr/>
              <p:nvPr/>
            </p:nvSpPr>
            <p:spPr>
              <a:xfrm>
                <a:off x="3822525" y="3449590"/>
                <a:ext cx="166003" cy="2346"/>
              </a:xfrm>
              <a:custGeom>
                <a:avLst/>
                <a:gdLst>
                  <a:gd name="connsiteX0" fmla="*/ 0 w 166003"/>
                  <a:gd name="connsiteY0" fmla="*/ 0 h 2346"/>
                  <a:gd name="connsiteX1" fmla="*/ 166003 w 166003"/>
                  <a:gd name="connsiteY1" fmla="*/ 0 h 2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66003" h="2346">
                    <a:moveTo>
                      <a:pt x="0" y="0"/>
                    </a:moveTo>
                    <a:lnTo>
                      <a:pt x="166003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49" name="Forma livre: Forma 148">
                <a:extLst>
                  <a:ext uri="{FF2B5EF4-FFF2-40B4-BE49-F238E27FC236}">
                    <a16:creationId xmlns:a16="http://schemas.microsoft.com/office/drawing/2014/main" id="{BA403E07-3BE4-D6ED-BC13-BD99A65CFBA6}"/>
                  </a:ext>
                </a:extLst>
              </p:cNvPr>
              <p:cNvSpPr/>
              <p:nvPr/>
            </p:nvSpPr>
            <p:spPr>
              <a:xfrm>
                <a:off x="3705929" y="3411913"/>
                <a:ext cx="75330" cy="75330"/>
              </a:xfrm>
              <a:custGeom>
                <a:avLst/>
                <a:gdLst>
                  <a:gd name="connsiteX0" fmla="*/ 75330 w 75330"/>
                  <a:gd name="connsiteY0" fmla="*/ 37677 h 75330"/>
                  <a:gd name="connsiteX1" fmla="*/ 37654 w 75330"/>
                  <a:gd name="connsiteY1" fmla="*/ 75330 h 75330"/>
                  <a:gd name="connsiteX2" fmla="*/ 0 w 75330"/>
                  <a:gd name="connsiteY2" fmla="*/ 37677 h 75330"/>
                  <a:gd name="connsiteX3" fmla="*/ 37654 w 75330"/>
                  <a:gd name="connsiteY3" fmla="*/ 0 h 75330"/>
                  <a:gd name="connsiteX4" fmla="*/ 75330 w 75330"/>
                  <a:gd name="connsiteY4" fmla="*/ 37677 h 753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5330" h="75330">
                    <a:moveTo>
                      <a:pt x="75330" y="37677"/>
                    </a:moveTo>
                    <a:cubicBezTo>
                      <a:pt x="75330" y="58486"/>
                      <a:pt x="58463" y="75330"/>
                      <a:pt x="37654" y="75330"/>
                    </a:cubicBezTo>
                    <a:cubicBezTo>
                      <a:pt x="16844" y="75330"/>
                      <a:pt x="0" y="58486"/>
                      <a:pt x="0" y="37677"/>
                    </a:cubicBezTo>
                    <a:cubicBezTo>
                      <a:pt x="0" y="16868"/>
                      <a:pt x="16868" y="0"/>
                      <a:pt x="37654" y="0"/>
                    </a:cubicBezTo>
                    <a:cubicBezTo>
                      <a:pt x="58439" y="0"/>
                      <a:pt x="75330" y="16868"/>
                      <a:pt x="75330" y="37677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50" name="Gráfico 2">
              <a:extLst>
                <a:ext uri="{FF2B5EF4-FFF2-40B4-BE49-F238E27FC236}">
                  <a16:creationId xmlns:a16="http://schemas.microsoft.com/office/drawing/2014/main" id="{BC7BDB11-2CA6-B071-EAFD-BD23AAC9C371}"/>
                </a:ext>
              </a:extLst>
            </p:cNvPr>
            <p:cNvGrpSpPr/>
            <p:nvPr/>
          </p:nvGrpSpPr>
          <p:grpSpPr>
            <a:xfrm>
              <a:off x="3422460" y="3616391"/>
              <a:ext cx="566067" cy="75330"/>
              <a:chOff x="3422460" y="3616391"/>
              <a:chExt cx="566067" cy="75330"/>
            </a:xfrm>
            <a:noFill/>
          </p:grpSpPr>
          <p:sp>
            <p:nvSpPr>
              <p:cNvPr id="151" name="Forma livre: Forma 150">
                <a:extLst>
                  <a:ext uri="{FF2B5EF4-FFF2-40B4-BE49-F238E27FC236}">
                    <a16:creationId xmlns:a16="http://schemas.microsoft.com/office/drawing/2014/main" id="{4F89AE30-933A-A6C6-CB7C-40D85D9567D5}"/>
                  </a:ext>
                </a:extLst>
              </p:cNvPr>
              <p:cNvSpPr/>
              <p:nvPr/>
            </p:nvSpPr>
            <p:spPr>
              <a:xfrm>
                <a:off x="3422460" y="3654068"/>
                <a:ext cx="363161" cy="2346"/>
              </a:xfrm>
              <a:custGeom>
                <a:avLst/>
                <a:gdLst>
                  <a:gd name="connsiteX0" fmla="*/ 0 w 363161"/>
                  <a:gd name="connsiteY0" fmla="*/ 0 h 2346"/>
                  <a:gd name="connsiteX1" fmla="*/ 363162 w 363161"/>
                  <a:gd name="connsiteY1" fmla="*/ 0 h 2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63161" h="2346">
                    <a:moveTo>
                      <a:pt x="0" y="0"/>
                    </a:moveTo>
                    <a:lnTo>
                      <a:pt x="363162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52" name="Forma livre: Forma 151">
                <a:extLst>
                  <a:ext uri="{FF2B5EF4-FFF2-40B4-BE49-F238E27FC236}">
                    <a16:creationId xmlns:a16="http://schemas.microsoft.com/office/drawing/2014/main" id="{CB972A2C-A700-62A7-EE55-16E275E5AF3A}"/>
                  </a:ext>
                </a:extLst>
              </p:cNvPr>
              <p:cNvSpPr/>
              <p:nvPr/>
            </p:nvSpPr>
            <p:spPr>
              <a:xfrm>
                <a:off x="3900366" y="3654068"/>
                <a:ext cx="88162" cy="2346"/>
              </a:xfrm>
              <a:custGeom>
                <a:avLst/>
                <a:gdLst>
                  <a:gd name="connsiteX0" fmla="*/ 0 w 88162"/>
                  <a:gd name="connsiteY0" fmla="*/ 0 h 2346"/>
                  <a:gd name="connsiteX1" fmla="*/ 88163 w 88162"/>
                  <a:gd name="connsiteY1" fmla="*/ 0 h 2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88162" h="2346">
                    <a:moveTo>
                      <a:pt x="0" y="0"/>
                    </a:moveTo>
                    <a:lnTo>
                      <a:pt x="88163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53" name="Forma livre: Forma 152">
                <a:extLst>
                  <a:ext uri="{FF2B5EF4-FFF2-40B4-BE49-F238E27FC236}">
                    <a16:creationId xmlns:a16="http://schemas.microsoft.com/office/drawing/2014/main" id="{C2924A2C-F2D2-106F-2FF2-39007F92DD41}"/>
                  </a:ext>
                </a:extLst>
              </p:cNvPr>
              <p:cNvSpPr/>
              <p:nvPr/>
            </p:nvSpPr>
            <p:spPr>
              <a:xfrm>
                <a:off x="3785622" y="3616391"/>
                <a:ext cx="75330" cy="75330"/>
              </a:xfrm>
              <a:custGeom>
                <a:avLst/>
                <a:gdLst>
                  <a:gd name="connsiteX0" fmla="*/ 75330 w 75330"/>
                  <a:gd name="connsiteY0" fmla="*/ 37677 h 75330"/>
                  <a:gd name="connsiteX1" fmla="*/ 37654 w 75330"/>
                  <a:gd name="connsiteY1" fmla="*/ 75331 h 75330"/>
                  <a:gd name="connsiteX2" fmla="*/ 0 w 75330"/>
                  <a:gd name="connsiteY2" fmla="*/ 37677 h 75330"/>
                  <a:gd name="connsiteX3" fmla="*/ 37654 w 75330"/>
                  <a:gd name="connsiteY3" fmla="*/ 0 h 75330"/>
                  <a:gd name="connsiteX4" fmla="*/ 75330 w 75330"/>
                  <a:gd name="connsiteY4" fmla="*/ 37677 h 753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5330" h="75330">
                    <a:moveTo>
                      <a:pt x="75330" y="37677"/>
                    </a:moveTo>
                    <a:cubicBezTo>
                      <a:pt x="75330" y="58463"/>
                      <a:pt x="58463" y="75331"/>
                      <a:pt x="37654" y="75331"/>
                    </a:cubicBezTo>
                    <a:cubicBezTo>
                      <a:pt x="16844" y="75331"/>
                      <a:pt x="0" y="58439"/>
                      <a:pt x="0" y="37677"/>
                    </a:cubicBezTo>
                    <a:cubicBezTo>
                      <a:pt x="0" y="16915"/>
                      <a:pt x="16868" y="0"/>
                      <a:pt x="37654" y="0"/>
                    </a:cubicBezTo>
                    <a:cubicBezTo>
                      <a:pt x="58439" y="0"/>
                      <a:pt x="75330" y="16868"/>
                      <a:pt x="75330" y="37677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54" name="Gráfico 2">
              <a:extLst>
                <a:ext uri="{FF2B5EF4-FFF2-40B4-BE49-F238E27FC236}">
                  <a16:creationId xmlns:a16="http://schemas.microsoft.com/office/drawing/2014/main" id="{62948294-E51A-4E8B-4EA0-DCB1E8627994}"/>
                </a:ext>
              </a:extLst>
            </p:cNvPr>
            <p:cNvGrpSpPr/>
            <p:nvPr/>
          </p:nvGrpSpPr>
          <p:grpSpPr>
            <a:xfrm>
              <a:off x="3422460" y="3514128"/>
              <a:ext cx="566067" cy="75330"/>
              <a:chOff x="3422460" y="3514128"/>
              <a:chExt cx="566067" cy="75330"/>
            </a:xfrm>
            <a:noFill/>
          </p:grpSpPr>
          <p:sp>
            <p:nvSpPr>
              <p:cNvPr id="155" name="Forma livre: Forma 154">
                <a:extLst>
                  <a:ext uri="{FF2B5EF4-FFF2-40B4-BE49-F238E27FC236}">
                    <a16:creationId xmlns:a16="http://schemas.microsoft.com/office/drawing/2014/main" id="{EECD9A92-CAD2-EDB7-40E7-BBB918192893}"/>
                  </a:ext>
                </a:extLst>
              </p:cNvPr>
              <p:cNvSpPr/>
              <p:nvPr/>
            </p:nvSpPr>
            <p:spPr>
              <a:xfrm>
                <a:off x="3422460" y="3551805"/>
                <a:ext cx="96983" cy="2346"/>
              </a:xfrm>
              <a:custGeom>
                <a:avLst/>
                <a:gdLst>
                  <a:gd name="connsiteX0" fmla="*/ 0 w 96983"/>
                  <a:gd name="connsiteY0" fmla="*/ 0 h 2346"/>
                  <a:gd name="connsiteX1" fmla="*/ 96984 w 96983"/>
                  <a:gd name="connsiteY1" fmla="*/ 0 h 2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6983" h="2346">
                    <a:moveTo>
                      <a:pt x="0" y="0"/>
                    </a:moveTo>
                    <a:lnTo>
                      <a:pt x="96984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56" name="Forma livre: Forma 155">
                <a:extLst>
                  <a:ext uri="{FF2B5EF4-FFF2-40B4-BE49-F238E27FC236}">
                    <a16:creationId xmlns:a16="http://schemas.microsoft.com/office/drawing/2014/main" id="{EEC523A3-583A-A89E-1976-7E6A2D7D70E9}"/>
                  </a:ext>
                </a:extLst>
              </p:cNvPr>
              <p:cNvSpPr/>
              <p:nvPr/>
            </p:nvSpPr>
            <p:spPr>
              <a:xfrm>
                <a:off x="3637026" y="3551805"/>
                <a:ext cx="351502" cy="2346"/>
              </a:xfrm>
              <a:custGeom>
                <a:avLst/>
                <a:gdLst>
                  <a:gd name="connsiteX0" fmla="*/ 0 w 351502"/>
                  <a:gd name="connsiteY0" fmla="*/ 0 h 2346"/>
                  <a:gd name="connsiteX1" fmla="*/ 351502 w 351502"/>
                  <a:gd name="connsiteY1" fmla="*/ 0 h 2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51502" h="2346">
                    <a:moveTo>
                      <a:pt x="0" y="0"/>
                    </a:moveTo>
                    <a:lnTo>
                      <a:pt x="351502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57" name="Forma livre: Forma 156">
                <a:extLst>
                  <a:ext uri="{FF2B5EF4-FFF2-40B4-BE49-F238E27FC236}">
                    <a16:creationId xmlns:a16="http://schemas.microsoft.com/office/drawing/2014/main" id="{1CECA9E2-45A7-91FB-7B3C-D80D6A45E4EB}"/>
                  </a:ext>
                </a:extLst>
              </p:cNvPr>
              <p:cNvSpPr/>
              <p:nvPr/>
            </p:nvSpPr>
            <p:spPr>
              <a:xfrm>
                <a:off x="3519444" y="3514128"/>
                <a:ext cx="75330" cy="75330"/>
              </a:xfrm>
              <a:custGeom>
                <a:avLst/>
                <a:gdLst>
                  <a:gd name="connsiteX0" fmla="*/ 75330 w 75330"/>
                  <a:gd name="connsiteY0" fmla="*/ 37677 h 75330"/>
                  <a:gd name="connsiteX1" fmla="*/ 37653 w 75330"/>
                  <a:gd name="connsiteY1" fmla="*/ 75330 h 75330"/>
                  <a:gd name="connsiteX2" fmla="*/ 0 w 75330"/>
                  <a:gd name="connsiteY2" fmla="*/ 37677 h 75330"/>
                  <a:gd name="connsiteX3" fmla="*/ 37653 w 75330"/>
                  <a:gd name="connsiteY3" fmla="*/ 0 h 75330"/>
                  <a:gd name="connsiteX4" fmla="*/ 75330 w 75330"/>
                  <a:gd name="connsiteY4" fmla="*/ 37677 h 753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5330" h="75330">
                    <a:moveTo>
                      <a:pt x="75330" y="37677"/>
                    </a:moveTo>
                    <a:cubicBezTo>
                      <a:pt x="75330" y="58463"/>
                      <a:pt x="58462" y="75330"/>
                      <a:pt x="37653" y="75330"/>
                    </a:cubicBezTo>
                    <a:cubicBezTo>
                      <a:pt x="16844" y="75330"/>
                      <a:pt x="0" y="58463"/>
                      <a:pt x="0" y="37677"/>
                    </a:cubicBezTo>
                    <a:cubicBezTo>
                      <a:pt x="0" y="16891"/>
                      <a:pt x="16844" y="0"/>
                      <a:pt x="37653" y="0"/>
                    </a:cubicBezTo>
                    <a:cubicBezTo>
                      <a:pt x="58462" y="0"/>
                      <a:pt x="75330" y="16868"/>
                      <a:pt x="75330" y="37677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58" name="Gráfico 2">
              <a:extLst>
                <a:ext uri="{FF2B5EF4-FFF2-40B4-BE49-F238E27FC236}">
                  <a16:creationId xmlns:a16="http://schemas.microsoft.com/office/drawing/2014/main" id="{9497EE0F-64EA-E22D-9DE8-1C0FDEB3F59A}"/>
                </a:ext>
              </a:extLst>
            </p:cNvPr>
            <p:cNvGrpSpPr/>
            <p:nvPr/>
          </p:nvGrpSpPr>
          <p:grpSpPr>
            <a:xfrm>
              <a:off x="3432595" y="3119905"/>
              <a:ext cx="544977" cy="277344"/>
              <a:chOff x="3432595" y="3119905"/>
              <a:chExt cx="544977" cy="277344"/>
            </a:xfrm>
            <a:noFill/>
          </p:grpSpPr>
          <p:sp>
            <p:nvSpPr>
              <p:cNvPr id="159" name="Forma livre: Forma 158">
                <a:extLst>
                  <a:ext uri="{FF2B5EF4-FFF2-40B4-BE49-F238E27FC236}">
                    <a16:creationId xmlns:a16="http://schemas.microsoft.com/office/drawing/2014/main" id="{27A5AB96-0D44-1FFF-E776-8B29EB1FEDBD}"/>
                  </a:ext>
                </a:extLst>
              </p:cNvPr>
              <p:cNvSpPr/>
              <p:nvPr/>
            </p:nvSpPr>
            <p:spPr>
              <a:xfrm>
                <a:off x="3432595" y="3119905"/>
                <a:ext cx="544977" cy="277344"/>
              </a:xfrm>
              <a:custGeom>
                <a:avLst/>
                <a:gdLst>
                  <a:gd name="connsiteX0" fmla="*/ 544978 w 544977"/>
                  <a:gd name="connsiteY0" fmla="*/ 277345 h 277344"/>
                  <a:gd name="connsiteX1" fmla="*/ 544978 w 544977"/>
                  <a:gd name="connsiteY1" fmla="*/ 233662 h 277344"/>
                  <a:gd name="connsiteX2" fmla="*/ 471852 w 544977"/>
                  <a:gd name="connsiteY2" fmla="*/ 221205 h 277344"/>
                  <a:gd name="connsiteX3" fmla="*/ 449495 w 544977"/>
                  <a:gd name="connsiteY3" fmla="*/ 167458 h 277344"/>
                  <a:gd name="connsiteX4" fmla="*/ 492661 w 544977"/>
                  <a:gd name="connsiteY4" fmla="*/ 107306 h 277344"/>
                  <a:gd name="connsiteX5" fmla="*/ 437671 w 544977"/>
                  <a:gd name="connsiteY5" fmla="*/ 52339 h 277344"/>
                  <a:gd name="connsiteX6" fmla="*/ 377543 w 544977"/>
                  <a:gd name="connsiteY6" fmla="*/ 95483 h 277344"/>
                  <a:gd name="connsiteX7" fmla="*/ 323796 w 544977"/>
                  <a:gd name="connsiteY7" fmla="*/ 73172 h 277344"/>
                  <a:gd name="connsiteX8" fmla="*/ 311362 w 544977"/>
                  <a:gd name="connsiteY8" fmla="*/ 0 h 277344"/>
                  <a:gd name="connsiteX9" fmla="*/ 233615 w 544977"/>
                  <a:gd name="connsiteY9" fmla="*/ 0 h 277344"/>
                  <a:gd name="connsiteX10" fmla="*/ 221158 w 544977"/>
                  <a:gd name="connsiteY10" fmla="*/ 73148 h 277344"/>
                  <a:gd name="connsiteX11" fmla="*/ 167411 w 544977"/>
                  <a:gd name="connsiteY11" fmla="*/ 95483 h 277344"/>
                  <a:gd name="connsiteX12" fmla="*/ 107283 w 544977"/>
                  <a:gd name="connsiteY12" fmla="*/ 52339 h 277344"/>
                  <a:gd name="connsiteX13" fmla="*/ 52316 w 544977"/>
                  <a:gd name="connsiteY13" fmla="*/ 107306 h 277344"/>
                  <a:gd name="connsiteX14" fmla="*/ 95459 w 544977"/>
                  <a:gd name="connsiteY14" fmla="*/ 167411 h 277344"/>
                  <a:gd name="connsiteX15" fmla="*/ 73008 w 544977"/>
                  <a:gd name="connsiteY15" fmla="*/ 221651 h 277344"/>
                  <a:gd name="connsiteX16" fmla="*/ 0 w 544977"/>
                  <a:gd name="connsiteY16" fmla="*/ 233662 h 277344"/>
                  <a:gd name="connsiteX17" fmla="*/ 0 w 544977"/>
                  <a:gd name="connsiteY17" fmla="*/ 277345 h 2773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544977" h="277344">
                    <a:moveTo>
                      <a:pt x="544978" y="277345"/>
                    </a:moveTo>
                    <a:lnTo>
                      <a:pt x="544978" y="233662"/>
                    </a:lnTo>
                    <a:lnTo>
                      <a:pt x="471852" y="221205"/>
                    </a:lnTo>
                    <a:cubicBezTo>
                      <a:pt x="466949" y="202062"/>
                      <a:pt x="459372" y="184021"/>
                      <a:pt x="449495" y="167458"/>
                    </a:cubicBezTo>
                    <a:lnTo>
                      <a:pt x="492661" y="107306"/>
                    </a:lnTo>
                    <a:lnTo>
                      <a:pt x="437671" y="52339"/>
                    </a:lnTo>
                    <a:lnTo>
                      <a:pt x="377543" y="95483"/>
                    </a:lnTo>
                    <a:cubicBezTo>
                      <a:pt x="360980" y="85629"/>
                      <a:pt x="342939" y="78075"/>
                      <a:pt x="323796" y="73172"/>
                    </a:cubicBezTo>
                    <a:lnTo>
                      <a:pt x="311362" y="0"/>
                    </a:lnTo>
                    <a:lnTo>
                      <a:pt x="233615" y="0"/>
                    </a:lnTo>
                    <a:lnTo>
                      <a:pt x="221158" y="73148"/>
                    </a:lnTo>
                    <a:cubicBezTo>
                      <a:pt x="202015" y="78075"/>
                      <a:pt x="183974" y="85629"/>
                      <a:pt x="167411" y="95483"/>
                    </a:cubicBezTo>
                    <a:lnTo>
                      <a:pt x="107283" y="52339"/>
                    </a:lnTo>
                    <a:lnTo>
                      <a:pt x="52316" y="107306"/>
                    </a:lnTo>
                    <a:lnTo>
                      <a:pt x="95459" y="167411"/>
                    </a:lnTo>
                    <a:cubicBezTo>
                      <a:pt x="85535" y="184138"/>
                      <a:pt x="77934" y="202343"/>
                      <a:pt x="73008" y="221651"/>
                    </a:cubicBezTo>
                    <a:lnTo>
                      <a:pt x="0" y="233662"/>
                    </a:lnTo>
                    <a:lnTo>
                      <a:pt x="0" y="277345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60" name="Forma livre: Forma 159">
                <a:extLst>
                  <a:ext uri="{FF2B5EF4-FFF2-40B4-BE49-F238E27FC236}">
                    <a16:creationId xmlns:a16="http://schemas.microsoft.com/office/drawing/2014/main" id="{9A53341E-BEA0-78CC-26A7-B33C72E10E85}"/>
                  </a:ext>
                </a:extLst>
              </p:cNvPr>
              <p:cNvSpPr/>
              <p:nvPr/>
            </p:nvSpPr>
            <p:spPr>
              <a:xfrm>
                <a:off x="3555761" y="3243141"/>
                <a:ext cx="298623" cy="149299"/>
              </a:xfrm>
              <a:custGeom>
                <a:avLst/>
                <a:gdLst>
                  <a:gd name="connsiteX0" fmla="*/ 0 w 298623"/>
                  <a:gd name="connsiteY0" fmla="*/ 149300 h 149299"/>
                  <a:gd name="connsiteX1" fmla="*/ 149323 w 298623"/>
                  <a:gd name="connsiteY1" fmla="*/ 0 h 149299"/>
                  <a:gd name="connsiteX2" fmla="*/ 298623 w 298623"/>
                  <a:gd name="connsiteY2" fmla="*/ 149300 h 1492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98623" h="149299">
                    <a:moveTo>
                      <a:pt x="0" y="149300"/>
                    </a:moveTo>
                    <a:cubicBezTo>
                      <a:pt x="0" y="66861"/>
                      <a:pt x="66861" y="0"/>
                      <a:pt x="149323" y="0"/>
                    </a:cubicBezTo>
                    <a:cubicBezTo>
                      <a:pt x="231786" y="0"/>
                      <a:pt x="298623" y="66861"/>
                      <a:pt x="298623" y="149300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61" name="Gráfico 2">
            <a:extLst>
              <a:ext uri="{FF2B5EF4-FFF2-40B4-BE49-F238E27FC236}">
                <a16:creationId xmlns:a16="http://schemas.microsoft.com/office/drawing/2014/main" id="{6AC1636F-5AB2-FD52-CC62-72878FF2D6E5}"/>
              </a:ext>
            </a:extLst>
          </p:cNvPr>
          <p:cNvGrpSpPr/>
          <p:nvPr/>
        </p:nvGrpSpPr>
        <p:grpSpPr>
          <a:xfrm>
            <a:off x="3424032" y="5198233"/>
            <a:ext cx="562877" cy="589293"/>
            <a:chOff x="3424032" y="5198233"/>
            <a:chExt cx="562877" cy="589293"/>
          </a:xfrm>
          <a:noFill/>
        </p:grpSpPr>
        <p:grpSp>
          <p:nvGrpSpPr>
            <p:cNvPr id="162" name="Gráfico 2">
              <a:extLst>
                <a:ext uri="{FF2B5EF4-FFF2-40B4-BE49-F238E27FC236}">
                  <a16:creationId xmlns:a16="http://schemas.microsoft.com/office/drawing/2014/main" id="{F576896D-CFF3-98D8-FB77-6A5124813444}"/>
                </a:ext>
              </a:extLst>
            </p:cNvPr>
            <p:cNvGrpSpPr/>
            <p:nvPr/>
          </p:nvGrpSpPr>
          <p:grpSpPr>
            <a:xfrm>
              <a:off x="3660721" y="5266501"/>
              <a:ext cx="326188" cy="471265"/>
              <a:chOff x="3660721" y="5266501"/>
              <a:chExt cx="326188" cy="471265"/>
            </a:xfrm>
            <a:noFill/>
          </p:grpSpPr>
          <p:sp>
            <p:nvSpPr>
              <p:cNvPr id="163" name="Forma livre: Forma 162">
                <a:extLst>
                  <a:ext uri="{FF2B5EF4-FFF2-40B4-BE49-F238E27FC236}">
                    <a16:creationId xmlns:a16="http://schemas.microsoft.com/office/drawing/2014/main" id="{77F11949-206C-237A-6FF8-5D51FCB99A4F}"/>
                  </a:ext>
                </a:extLst>
              </p:cNvPr>
              <p:cNvSpPr/>
              <p:nvPr/>
            </p:nvSpPr>
            <p:spPr>
              <a:xfrm>
                <a:off x="3660721" y="5266501"/>
                <a:ext cx="326188" cy="471265"/>
              </a:xfrm>
              <a:custGeom>
                <a:avLst/>
                <a:gdLst>
                  <a:gd name="connsiteX0" fmla="*/ 0 w 326188"/>
                  <a:gd name="connsiteY0" fmla="*/ 388898 h 471265"/>
                  <a:gd name="connsiteX1" fmla="*/ 46170 w 326188"/>
                  <a:gd name="connsiteY1" fmla="*/ 408018 h 471265"/>
                  <a:gd name="connsiteX2" fmla="*/ 56914 w 326188"/>
                  <a:gd name="connsiteY2" fmla="*/ 471266 h 471265"/>
                  <a:gd name="connsiteX3" fmla="*/ 124151 w 326188"/>
                  <a:gd name="connsiteY3" fmla="*/ 471266 h 471265"/>
                  <a:gd name="connsiteX4" fmla="*/ 134919 w 326188"/>
                  <a:gd name="connsiteY4" fmla="*/ 408018 h 471265"/>
                  <a:gd name="connsiteX5" fmla="*/ 181393 w 326188"/>
                  <a:gd name="connsiteY5" fmla="*/ 388710 h 471265"/>
                  <a:gd name="connsiteX6" fmla="*/ 233404 w 326188"/>
                  <a:gd name="connsiteY6" fmla="*/ 426035 h 471265"/>
                  <a:gd name="connsiteX7" fmla="*/ 280934 w 326188"/>
                  <a:gd name="connsiteY7" fmla="*/ 378481 h 471265"/>
                  <a:gd name="connsiteX8" fmla="*/ 243609 w 326188"/>
                  <a:gd name="connsiteY8" fmla="*/ 326470 h 471265"/>
                  <a:gd name="connsiteX9" fmla="*/ 262917 w 326188"/>
                  <a:gd name="connsiteY9" fmla="*/ 279996 h 471265"/>
                  <a:gd name="connsiteX10" fmla="*/ 326189 w 326188"/>
                  <a:gd name="connsiteY10" fmla="*/ 269251 h 471265"/>
                  <a:gd name="connsiteX11" fmla="*/ 326189 w 326188"/>
                  <a:gd name="connsiteY11" fmla="*/ 202015 h 471265"/>
                  <a:gd name="connsiteX12" fmla="*/ 262940 w 326188"/>
                  <a:gd name="connsiteY12" fmla="*/ 191247 h 471265"/>
                  <a:gd name="connsiteX13" fmla="*/ 243633 w 326188"/>
                  <a:gd name="connsiteY13" fmla="*/ 144772 h 471265"/>
                  <a:gd name="connsiteX14" fmla="*/ 280958 w 326188"/>
                  <a:gd name="connsiteY14" fmla="*/ 92785 h 471265"/>
                  <a:gd name="connsiteX15" fmla="*/ 233428 w 326188"/>
                  <a:gd name="connsiteY15" fmla="*/ 45231 h 471265"/>
                  <a:gd name="connsiteX16" fmla="*/ 181440 w 326188"/>
                  <a:gd name="connsiteY16" fmla="*/ 82556 h 471265"/>
                  <a:gd name="connsiteX17" fmla="*/ 134543 w 326188"/>
                  <a:gd name="connsiteY17" fmla="*/ 63131 h 471265"/>
                  <a:gd name="connsiteX18" fmla="*/ 124151 w 326188"/>
                  <a:gd name="connsiteY18" fmla="*/ 0 h 471265"/>
                  <a:gd name="connsiteX19" fmla="*/ 56914 w 326188"/>
                  <a:gd name="connsiteY19" fmla="*/ 0 h 471265"/>
                  <a:gd name="connsiteX20" fmla="*/ 52715 w 326188"/>
                  <a:gd name="connsiteY20" fmla="*/ 30311 h 4712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326188" h="471265">
                    <a:moveTo>
                      <a:pt x="0" y="388898"/>
                    </a:moveTo>
                    <a:cubicBezTo>
                      <a:pt x="14240" y="397343"/>
                      <a:pt x="29724" y="403795"/>
                      <a:pt x="46170" y="408018"/>
                    </a:cubicBezTo>
                    <a:lnTo>
                      <a:pt x="56914" y="471266"/>
                    </a:lnTo>
                    <a:lnTo>
                      <a:pt x="124151" y="471266"/>
                    </a:lnTo>
                    <a:lnTo>
                      <a:pt x="134919" y="408018"/>
                    </a:lnTo>
                    <a:cubicBezTo>
                      <a:pt x="151482" y="403795"/>
                      <a:pt x="167083" y="397250"/>
                      <a:pt x="181393" y="388710"/>
                    </a:cubicBezTo>
                    <a:lnTo>
                      <a:pt x="233404" y="426035"/>
                    </a:lnTo>
                    <a:lnTo>
                      <a:pt x="280934" y="378481"/>
                    </a:lnTo>
                    <a:lnTo>
                      <a:pt x="243609" y="326470"/>
                    </a:lnTo>
                    <a:cubicBezTo>
                      <a:pt x="252125" y="312160"/>
                      <a:pt x="258671" y="296535"/>
                      <a:pt x="262917" y="279996"/>
                    </a:cubicBezTo>
                    <a:lnTo>
                      <a:pt x="326189" y="269251"/>
                    </a:lnTo>
                    <a:lnTo>
                      <a:pt x="326189" y="202015"/>
                    </a:lnTo>
                    <a:lnTo>
                      <a:pt x="262940" y="191247"/>
                    </a:lnTo>
                    <a:cubicBezTo>
                      <a:pt x="258694" y="174707"/>
                      <a:pt x="252149" y="159106"/>
                      <a:pt x="243633" y="144772"/>
                    </a:cubicBezTo>
                    <a:lnTo>
                      <a:pt x="280958" y="92785"/>
                    </a:lnTo>
                    <a:lnTo>
                      <a:pt x="233428" y="45231"/>
                    </a:lnTo>
                    <a:lnTo>
                      <a:pt x="181440" y="82556"/>
                    </a:lnTo>
                    <a:cubicBezTo>
                      <a:pt x="166965" y="73970"/>
                      <a:pt x="151224" y="67401"/>
                      <a:pt x="134543" y="63131"/>
                    </a:cubicBezTo>
                    <a:lnTo>
                      <a:pt x="124151" y="0"/>
                    </a:lnTo>
                    <a:lnTo>
                      <a:pt x="56914" y="0"/>
                    </a:lnTo>
                    <a:lnTo>
                      <a:pt x="52715" y="30311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64" name="Forma livre: Forma 163">
                <a:extLst>
                  <a:ext uri="{FF2B5EF4-FFF2-40B4-BE49-F238E27FC236}">
                    <a16:creationId xmlns:a16="http://schemas.microsoft.com/office/drawing/2014/main" id="{7A2F215D-A5ED-267E-F6C2-9F831E9D8F66}"/>
                  </a:ext>
                </a:extLst>
              </p:cNvPr>
              <p:cNvSpPr/>
              <p:nvPr/>
            </p:nvSpPr>
            <p:spPr>
              <a:xfrm>
                <a:off x="3690140" y="5440997"/>
                <a:ext cx="122250" cy="122203"/>
              </a:xfrm>
              <a:custGeom>
                <a:avLst/>
                <a:gdLst>
                  <a:gd name="connsiteX0" fmla="*/ 3472 w 122250"/>
                  <a:gd name="connsiteY0" fmla="*/ 81454 h 122203"/>
                  <a:gd name="connsiteX1" fmla="*/ 0 w 122250"/>
                  <a:gd name="connsiteY1" fmla="*/ 61114 h 122203"/>
                  <a:gd name="connsiteX2" fmla="*/ 61137 w 122250"/>
                  <a:gd name="connsiteY2" fmla="*/ 0 h 122203"/>
                  <a:gd name="connsiteX3" fmla="*/ 122250 w 122250"/>
                  <a:gd name="connsiteY3" fmla="*/ 61114 h 122203"/>
                  <a:gd name="connsiteX4" fmla="*/ 61137 w 122250"/>
                  <a:gd name="connsiteY4" fmla="*/ 122204 h 122203"/>
                  <a:gd name="connsiteX5" fmla="*/ 31671 w 122250"/>
                  <a:gd name="connsiteY5" fmla="*/ 114673 h 1222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22250" h="122203">
                    <a:moveTo>
                      <a:pt x="3472" y="81454"/>
                    </a:moveTo>
                    <a:cubicBezTo>
                      <a:pt x="1243" y="75072"/>
                      <a:pt x="0" y="68222"/>
                      <a:pt x="0" y="61114"/>
                    </a:cubicBezTo>
                    <a:cubicBezTo>
                      <a:pt x="0" y="27355"/>
                      <a:pt x="27354" y="0"/>
                      <a:pt x="61137" y="0"/>
                    </a:cubicBezTo>
                    <a:cubicBezTo>
                      <a:pt x="94919" y="0"/>
                      <a:pt x="122250" y="27355"/>
                      <a:pt x="122250" y="61114"/>
                    </a:cubicBezTo>
                    <a:cubicBezTo>
                      <a:pt x="122250" y="94873"/>
                      <a:pt x="94872" y="122204"/>
                      <a:pt x="61137" y="122204"/>
                    </a:cubicBezTo>
                    <a:cubicBezTo>
                      <a:pt x="50463" y="122204"/>
                      <a:pt x="40422" y="119482"/>
                      <a:pt x="31671" y="114673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65" name="Gráfico 2">
              <a:extLst>
                <a:ext uri="{FF2B5EF4-FFF2-40B4-BE49-F238E27FC236}">
                  <a16:creationId xmlns:a16="http://schemas.microsoft.com/office/drawing/2014/main" id="{F97DC256-2AB4-F78C-F935-2CE89BD96FF2}"/>
                </a:ext>
              </a:extLst>
            </p:cNvPr>
            <p:cNvGrpSpPr/>
            <p:nvPr/>
          </p:nvGrpSpPr>
          <p:grpSpPr>
            <a:xfrm>
              <a:off x="3492395" y="5198233"/>
              <a:ext cx="101464" cy="589293"/>
              <a:chOff x="3492395" y="5198233"/>
              <a:chExt cx="101464" cy="589293"/>
            </a:xfrm>
            <a:noFill/>
          </p:grpSpPr>
          <p:sp>
            <p:nvSpPr>
              <p:cNvPr id="166" name="Forma livre: Forma 165">
                <a:extLst>
                  <a:ext uri="{FF2B5EF4-FFF2-40B4-BE49-F238E27FC236}">
                    <a16:creationId xmlns:a16="http://schemas.microsoft.com/office/drawing/2014/main" id="{004C96B8-26F1-75C4-519E-8D8E2F451ED6}"/>
                  </a:ext>
                </a:extLst>
              </p:cNvPr>
              <p:cNvSpPr/>
              <p:nvPr/>
            </p:nvSpPr>
            <p:spPr>
              <a:xfrm>
                <a:off x="3492395" y="5198233"/>
                <a:ext cx="101464" cy="101464"/>
              </a:xfrm>
              <a:custGeom>
                <a:avLst/>
                <a:gdLst>
                  <a:gd name="connsiteX0" fmla="*/ 101465 w 101464"/>
                  <a:gd name="connsiteY0" fmla="*/ 50721 h 101464"/>
                  <a:gd name="connsiteX1" fmla="*/ 50768 w 101464"/>
                  <a:gd name="connsiteY1" fmla="*/ 101465 h 101464"/>
                  <a:gd name="connsiteX2" fmla="*/ 0 w 101464"/>
                  <a:gd name="connsiteY2" fmla="*/ 50721 h 101464"/>
                  <a:gd name="connsiteX3" fmla="*/ 50768 w 101464"/>
                  <a:gd name="connsiteY3" fmla="*/ 0 h 101464"/>
                  <a:gd name="connsiteX4" fmla="*/ 101465 w 101464"/>
                  <a:gd name="connsiteY4" fmla="*/ 50721 h 1014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01464" h="101464">
                    <a:moveTo>
                      <a:pt x="101465" y="50721"/>
                    </a:moveTo>
                    <a:cubicBezTo>
                      <a:pt x="101465" y="78756"/>
                      <a:pt x="78756" y="101465"/>
                      <a:pt x="50768" y="101465"/>
                    </a:cubicBezTo>
                    <a:cubicBezTo>
                      <a:pt x="22780" y="101465"/>
                      <a:pt x="0" y="78756"/>
                      <a:pt x="0" y="50721"/>
                    </a:cubicBezTo>
                    <a:cubicBezTo>
                      <a:pt x="0" y="22686"/>
                      <a:pt x="22733" y="0"/>
                      <a:pt x="50768" y="0"/>
                    </a:cubicBezTo>
                    <a:cubicBezTo>
                      <a:pt x="78802" y="0"/>
                      <a:pt x="101465" y="22709"/>
                      <a:pt x="101465" y="50721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67" name="Forma livre: Forma 166">
                <a:extLst>
                  <a:ext uri="{FF2B5EF4-FFF2-40B4-BE49-F238E27FC236}">
                    <a16:creationId xmlns:a16="http://schemas.microsoft.com/office/drawing/2014/main" id="{4C977D52-6EDF-B14A-A081-29AAA2CDE63F}"/>
                  </a:ext>
                </a:extLst>
              </p:cNvPr>
              <p:cNvSpPr/>
              <p:nvPr/>
            </p:nvSpPr>
            <p:spPr>
              <a:xfrm>
                <a:off x="3543139" y="5583095"/>
                <a:ext cx="2346" cy="204431"/>
              </a:xfrm>
              <a:custGeom>
                <a:avLst/>
                <a:gdLst>
                  <a:gd name="connsiteX0" fmla="*/ 0 w 2346"/>
                  <a:gd name="connsiteY0" fmla="*/ 0 h 204431"/>
                  <a:gd name="connsiteX1" fmla="*/ 0 w 2346"/>
                  <a:gd name="connsiteY1" fmla="*/ 204431 h 2044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346" h="204431">
                    <a:moveTo>
                      <a:pt x="0" y="0"/>
                    </a:moveTo>
                    <a:lnTo>
                      <a:pt x="0" y="204431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168" name="Forma livre: Forma 167">
              <a:extLst>
                <a:ext uri="{FF2B5EF4-FFF2-40B4-BE49-F238E27FC236}">
                  <a16:creationId xmlns:a16="http://schemas.microsoft.com/office/drawing/2014/main" id="{16F209CB-6DD4-E6EB-A855-98A17B604D8E}"/>
                </a:ext>
              </a:extLst>
            </p:cNvPr>
            <p:cNvSpPr/>
            <p:nvPr/>
          </p:nvSpPr>
          <p:spPr>
            <a:xfrm>
              <a:off x="3476208" y="5434499"/>
              <a:ext cx="2346" cy="353027"/>
            </a:xfrm>
            <a:custGeom>
              <a:avLst/>
              <a:gdLst>
                <a:gd name="connsiteX0" fmla="*/ 0 w 2346"/>
                <a:gd name="connsiteY0" fmla="*/ 0 h 353027"/>
                <a:gd name="connsiteX1" fmla="*/ 0 w 2346"/>
                <a:gd name="connsiteY1" fmla="*/ 353027 h 3530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346" h="353027">
                  <a:moveTo>
                    <a:pt x="0" y="0"/>
                  </a:moveTo>
                  <a:lnTo>
                    <a:pt x="0" y="353027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69" name="Forma livre: Forma 168">
              <a:extLst>
                <a:ext uri="{FF2B5EF4-FFF2-40B4-BE49-F238E27FC236}">
                  <a16:creationId xmlns:a16="http://schemas.microsoft.com/office/drawing/2014/main" id="{3E3B921D-094E-EAC0-DA54-344CF92C5BD8}"/>
                </a:ext>
              </a:extLst>
            </p:cNvPr>
            <p:cNvSpPr/>
            <p:nvPr/>
          </p:nvSpPr>
          <p:spPr>
            <a:xfrm>
              <a:off x="3424032" y="5346524"/>
              <a:ext cx="321660" cy="441002"/>
            </a:xfrm>
            <a:custGeom>
              <a:avLst/>
              <a:gdLst>
                <a:gd name="connsiteX0" fmla="*/ 186015 w 321660"/>
                <a:gd name="connsiteY0" fmla="*/ 441002 h 441002"/>
                <a:gd name="connsiteX1" fmla="*/ 186015 w 321660"/>
                <a:gd name="connsiteY1" fmla="*/ 60480 h 441002"/>
                <a:gd name="connsiteX2" fmla="*/ 254354 w 321660"/>
                <a:gd name="connsiteY2" fmla="*/ 60480 h 441002"/>
                <a:gd name="connsiteX3" fmla="*/ 321661 w 321660"/>
                <a:gd name="connsiteY3" fmla="*/ 1666 h 441002"/>
                <a:gd name="connsiteX4" fmla="*/ 321661 w 321660"/>
                <a:gd name="connsiteY4" fmla="*/ 0 h 441002"/>
                <a:gd name="connsiteX5" fmla="*/ 67307 w 321660"/>
                <a:gd name="connsiteY5" fmla="*/ 0 h 441002"/>
                <a:gd name="connsiteX6" fmla="*/ 0 w 321660"/>
                <a:gd name="connsiteY6" fmla="*/ 67283 h 441002"/>
                <a:gd name="connsiteX7" fmla="*/ 0 w 321660"/>
                <a:gd name="connsiteY7" fmla="*/ 181604 h 441002"/>
                <a:gd name="connsiteX8" fmla="*/ 51870 w 321660"/>
                <a:gd name="connsiteY8" fmla="*/ 248911 h 4410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21660" h="441002">
                  <a:moveTo>
                    <a:pt x="186015" y="441002"/>
                  </a:moveTo>
                  <a:lnTo>
                    <a:pt x="186015" y="60480"/>
                  </a:lnTo>
                  <a:cubicBezTo>
                    <a:pt x="186015" y="60480"/>
                    <a:pt x="254354" y="60480"/>
                    <a:pt x="254354" y="60480"/>
                  </a:cubicBezTo>
                  <a:cubicBezTo>
                    <a:pt x="291374" y="60480"/>
                    <a:pt x="321661" y="38662"/>
                    <a:pt x="321661" y="1666"/>
                  </a:cubicBezTo>
                  <a:lnTo>
                    <a:pt x="321661" y="0"/>
                  </a:lnTo>
                  <a:lnTo>
                    <a:pt x="67307" y="0"/>
                  </a:lnTo>
                  <a:cubicBezTo>
                    <a:pt x="30287" y="0"/>
                    <a:pt x="0" y="30263"/>
                    <a:pt x="0" y="67283"/>
                  </a:cubicBezTo>
                  <a:lnTo>
                    <a:pt x="0" y="181604"/>
                  </a:lnTo>
                  <a:cubicBezTo>
                    <a:pt x="0" y="218601"/>
                    <a:pt x="14874" y="248911"/>
                    <a:pt x="51870" y="248911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170" name="Gráfico 2">
            <a:extLst>
              <a:ext uri="{FF2B5EF4-FFF2-40B4-BE49-F238E27FC236}">
                <a16:creationId xmlns:a16="http://schemas.microsoft.com/office/drawing/2014/main" id="{B64F4515-4F88-1928-8569-CB9AA1C9FE7A}"/>
              </a:ext>
            </a:extLst>
          </p:cNvPr>
          <p:cNvGrpSpPr/>
          <p:nvPr/>
        </p:nvGrpSpPr>
        <p:grpSpPr>
          <a:xfrm>
            <a:off x="3467082" y="1054481"/>
            <a:ext cx="476825" cy="528672"/>
            <a:chOff x="3467082" y="1054481"/>
            <a:chExt cx="476825" cy="528672"/>
          </a:xfrm>
          <a:noFill/>
        </p:grpSpPr>
        <p:grpSp>
          <p:nvGrpSpPr>
            <p:cNvPr id="171" name="Gráfico 2">
              <a:extLst>
                <a:ext uri="{FF2B5EF4-FFF2-40B4-BE49-F238E27FC236}">
                  <a16:creationId xmlns:a16="http://schemas.microsoft.com/office/drawing/2014/main" id="{0AC3FD22-3996-1923-899A-65A938FA67A1}"/>
                </a:ext>
              </a:extLst>
            </p:cNvPr>
            <p:cNvGrpSpPr/>
            <p:nvPr/>
          </p:nvGrpSpPr>
          <p:grpSpPr>
            <a:xfrm>
              <a:off x="3467082" y="1054481"/>
              <a:ext cx="123282" cy="528672"/>
              <a:chOff x="3467082" y="1054481"/>
              <a:chExt cx="123282" cy="528672"/>
            </a:xfrm>
            <a:noFill/>
          </p:grpSpPr>
          <p:sp>
            <p:nvSpPr>
              <p:cNvPr id="172" name="Forma livre: Forma 171">
                <a:extLst>
                  <a:ext uri="{FF2B5EF4-FFF2-40B4-BE49-F238E27FC236}">
                    <a16:creationId xmlns:a16="http://schemas.microsoft.com/office/drawing/2014/main" id="{BB2BF193-8EB0-47A5-9AF2-AA62326CC301}"/>
                  </a:ext>
                </a:extLst>
              </p:cNvPr>
              <p:cNvSpPr/>
              <p:nvPr/>
            </p:nvSpPr>
            <p:spPr>
              <a:xfrm>
                <a:off x="3530189" y="1339146"/>
                <a:ext cx="2346" cy="244008"/>
              </a:xfrm>
              <a:custGeom>
                <a:avLst/>
                <a:gdLst>
                  <a:gd name="connsiteX0" fmla="*/ 0 w 2346"/>
                  <a:gd name="connsiteY0" fmla="*/ 0 h 244008"/>
                  <a:gd name="connsiteX1" fmla="*/ 0 w 2346"/>
                  <a:gd name="connsiteY1" fmla="*/ 244008 h 2440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346" h="244008">
                    <a:moveTo>
                      <a:pt x="0" y="0"/>
                    </a:moveTo>
                    <a:lnTo>
                      <a:pt x="0" y="244008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73" name="Forma livre: Forma 172">
                <a:extLst>
                  <a:ext uri="{FF2B5EF4-FFF2-40B4-BE49-F238E27FC236}">
                    <a16:creationId xmlns:a16="http://schemas.microsoft.com/office/drawing/2014/main" id="{6AB5EC3A-FC2F-3EFF-75DA-47F07B959183}"/>
                  </a:ext>
                </a:extLst>
              </p:cNvPr>
              <p:cNvSpPr/>
              <p:nvPr/>
            </p:nvSpPr>
            <p:spPr>
              <a:xfrm>
                <a:off x="3530189" y="1054481"/>
                <a:ext cx="2346" cy="170367"/>
              </a:xfrm>
              <a:custGeom>
                <a:avLst/>
                <a:gdLst>
                  <a:gd name="connsiteX0" fmla="*/ 0 w 2346"/>
                  <a:gd name="connsiteY0" fmla="*/ 0 h 170367"/>
                  <a:gd name="connsiteX1" fmla="*/ 0 w 2346"/>
                  <a:gd name="connsiteY1" fmla="*/ 170367 h 1703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346" h="170367">
                    <a:moveTo>
                      <a:pt x="0" y="0"/>
                    </a:moveTo>
                    <a:lnTo>
                      <a:pt x="0" y="170367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74" name="Forma livre: Forma 173">
                <a:extLst>
                  <a:ext uri="{FF2B5EF4-FFF2-40B4-BE49-F238E27FC236}">
                    <a16:creationId xmlns:a16="http://schemas.microsoft.com/office/drawing/2014/main" id="{D65B03AB-AB17-D0F6-EB34-DEBB5183EFDF}"/>
                  </a:ext>
                </a:extLst>
              </p:cNvPr>
              <p:cNvSpPr/>
              <p:nvPr/>
            </p:nvSpPr>
            <p:spPr>
              <a:xfrm>
                <a:off x="3467082" y="1222221"/>
                <a:ext cx="123282" cy="71130"/>
              </a:xfrm>
              <a:custGeom>
                <a:avLst/>
                <a:gdLst>
                  <a:gd name="connsiteX0" fmla="*/ 0 w 123282"/>
                  <a:gd name="connsiteY0" fmla="*/ 0 h 71130"/>
                  <a:gd name="connsiteX1" fmla="*/ 123283 w 123282"/>
                  <a:gd name="connsiteY1" fmla="*/ 0 h 71130"/>
                  <a:gd name="connsiteX2" fmla="*/ 123283 w 123282"/>
                  <a:gd name="connsiteY2" fmla="*/ 71131 h 71130"/>
                  <a:gd name="connsiteX3" fmla="*/ 0 w 123282"/>
                  <a:gd name="connsiteY3" fmla="*/ 71131 h 711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23282" h="71130">
                    <a:moveTo>
                      <a:pt x="0" y="0"/>
                    </a:moveTo>
                    <a:lnTo>
                      <a:pt x="123283" y="0"/>
                    </a:lnTo>
                    <a:lnTo>
                      <a:pt x="123283" y="71131"/>
                    </a:lnTo>
                    <a:lnTo>
                      <a:pt x="0" y="71131"/>
                    </a:lnTo>
                    <a:close/>
                  </a:path>
                </a:pathLst>
              </a:custGeom>
              <a:noFill/>
              <a:ln w="6350" cap="sq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75" name="Gráfico 2">
              <a:extLst>
                <a:ext uri="{FF2B5EF4-FFF2-40B4-BE49-F238E27FC236}">
                  <a16:creationId xmlns:a16="http://schemas.microsoft.com/office/drawing/2014/main" id="{F4975FE7-7B32-403A-EDB4-B241065CA490}"/>
                </a:ext>
              </a:extLst>
            </p:cNvPr>
            <p:cNvGrpSpPr/>
            <p:nvPr/>
          </p:nvGrpSpPr>
          <p:grpSpPr>
            <a:xfrm>
              <a:off x="3820625" y="1054481"/>
              <a:ext cx="123282" cy="528672"/>
              <a:chOff x="3820625" y="1054481"/>
              <a:chExt cx="123282" cy="528672"/>
            </a:xfrm>
            <a:noFill/>
          </p:grpSpPr>
          <p:sp>
            <p:nvSpPr>
              <p:cNvPr id="176" name="Forma livre: Forma 175">
                <a:extLst>
                  <a:ext uri="{FF2B5EF4-FFF2-40B4-BE49-F238E27FC236}">
                    <a16:creationId xmlns:a16="http://schemas.microsoft.com/office/drawing/2014/main" id="{3136BA5C-5642-3137-6B77-F73C14C96383}"/>
                  </a:ext>
                </a:extLst>
              </p:cNvPr>
              <p:cNvSpPr/>
              <p:nvPr/>
            </p:nvSpPr>
            <p:spPr>
              <a:xfrm>
                <a:off x="3883732" y="1268601"/>
                <a:ext cx="2346" cy="314552"/>
              </a:xfrm>
              <a:custGeom>
                <a:avLst/>
                <a:gdLst>
                  <a:gd name="connsiteX0" fmla="*/ 0 w 2346"/>
                  <a:gd name="connsiteY0" fmla="*/ 0 h 314552"/>
                  <a:gd name="connsiteX1" fmla="*/ 0 w 2346"/>
                  <a:gd name="connsiteY1" fmla="*/ 314553 h 3145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346" h="314552">
                    <a:moveTo>
                      <a:pt x="0" y="0"/>
                    </a:moveTo>
                    <a:lnTo>
                      <a:pt x="0" y="314553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77" name="Forma livre: Forma 176">
                <a:extLst>
                  <a:ext uri="{FF2B5EF4-FFF2-40B4-BE49-F238E27FC236}">
                    <a16:creationId xmlns:a16="http://schemas.microsoft.com/office/drawing/2014/main" id="{207C0F2A-A155-ACA6-0159-F5F2BE90EEAD}"/>
                  </a:ext>
                </a:extLst>
              </p:cNvPr>
              <p:cNvSpPr/>
              <p:nvPr/>
            </p:nvSpPr>
            <p:spPr>
              <a:xfrm>
                <a:off x="3883732" y="1054481"/>
                <a:ext cx="2346" cy="99822"/>
              </a:xfrm>
              <a:custGeom>
                <a:avLst/>
                <a:gdLst>
                  <a:gd name="connsiteX0" fmla="*/ 0 w 2346"/>
                  <a:gd name="connsiteY0" fmla="*/ 0 h 99822"/>
                  <a:gd name="connsiteX1" fmla="*/ 0 w 2346"/>
                  <a:gd name="connsiteY1" fmla="*/ 99823 h 998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346" h="99822">
                    <a:moveTo>
                      <a:pt x="0" y="0"/>
                    </a:moveTo>
                    <a:lnTo>
                      <a:pt x="0" y="99823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78" name="Forma livre: Forma 177">
                <a:extLst>
                  <a:ext uri="{FF2B5EF4-FFF2-40B4-BE49-F238E27FC236}">
                    <a16:creationId xmlns:a16="http://schemas.microsoft.com/office/drawing/2014/main" id="{AA095F03-0A9D-611C-5FF9-CB40CCDFC71C}"/>
                  </a:ext>
                </a:extLst>
              </p:cNvPr>
              <p:cNvSpPr/>
              <p:nvPr/>
            </p:nvSpPr>
            <p:spPr>
              <a:xfrm>
                <a:off x="3820625" y="1151700"/>
                <a:ext cx="123282" cy="71130"/>
              </a:xfrm>
              <a:custGeom>
                <a:avLst/>
                <a:gdLst>
                  <a:gd name="connsiteX0" fmla="*/ 0 w 123282"/>
                  <a:gd name="connsiteY0" fmla="*/ 0 h 71130"/>
                  <a:gd name="connsiteX1" fmla="*/ 123283 w 123282"/>
                  <a:gd name="connsiteY1" fmla="*/ 0 h 71130"/>
                  <a:gd name="connsiteX2" fmla="*/ 123283 w 123282"/>
                  <a:gd name="connsiteY2" fmla="*/ 71131 h 71130"/>
                  <a:gd name="connsiteX3" fmla="*/ 0 w 123282"/>
                  <a:gd name="connsiteY3" fmla="*/ 71131 h 711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23282" h="71130">
                    <a:moveTo>
                      <a:pt x="0" y="0"/>
                    </a:moveTo>
                    <a:lnTo>
                      <a:pt x="123283" y="0"/>
                    </a:lnTo>
                    <a:lnTo>
                      <a:pt x="123283" y="71131"/>
                    </a:lnTo>
                    <a:lnTo>
                      <a:pt x="0" y="71131"/>
                    </a:lnTo>
                    <a:close/>
                  </a:path>
                </a:pathLst>
              </a:custGeom>
              <a:noFill/>
              <a:ln w="6350" cap="sq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79" name="Gráfico 2">
              <a:extLst>
                <a:ext uri="{FF2B5EF4-FFF2-40B4-BE49-F238E27FC236}">
                  <a16:creationId xmlns:a16="http://schemas.microsoft.com/office/drawing/2014/main" id="{1709D7F6-9EF2-9AE3-BE9A-7CE6902E0A5F}"/>
                </a:ext>
              </a:extLst>
            </p:cNvPr>
            <p:cNvGrpSpPr/>
            <p:nvPr/>
          </p:nvGrpSpPr>
          <p:grpSpPr>
            <a:xfrm>
              <a:off x="3643853" y="1054481"/>
              <a:ext cx="123282" cy="528672"/>
              <a:chOff x="3643853" y="1054481"/>
              <a:chExt cx="123282" cy="528672"/>
            </a:xfrm>
            <a:noFill/>
          </p:grpSpPr>
          <p:sp>
            <p:nvSpPr>
              <p:cNvPr id="180" name="Forma livre: Forma 179">
                <a:extLst>
                  <a:ext uri="{FF2B5EF4-FFF2-40B4-BE49-F238E27FC236}">
                    <a16:creationId xmlns:a16="http://schemas.microsoft.com/office/drawing/2014/main" id="{A4215266-9685-46C9-019C-7DBA12C9757D}"/>
                  </a:ext>
                </a:extLst>
              </p:cNvPr>
              <p:cNvSpPr/>
              <p:nvPr/>
            </p:nvSpPr>
            <p:spPr>
              <a:xfrm>
                <a:off x="3706984" y="1504656"/>
                <a:ext cx="2346" cy="78497"/>
              </a:xfrm>
              <a:custGeom>
                <a:avLst/>
                <a:gdLst>
                  <a:gd name="connsiteX0" fmla="*/ 0 w 2346"/>
                  <a:gd name="connsiteY0" fmla="*/ 0 h 78497"/>
                  <a:gd name="connsiteX1" fmla="*/ 0 w 2346"/>
                  <a:gd name="connsiteY1" fmla="*/ 78497 h 784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346" h="78497">
                    <a:moveTo>
                      <a:pt x="0" y="0"/>
                    </a:moveTo>
                    <a:lnTo>
                      <a:pt x="0" y="78497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81" name="Forma livre: Forma 180">
                <a:extLst>
                  <a:ext uri="{FF2B5EF4-FFF2-40B4-BE49-F238E27FC236}">
                    <a16:creationId xmlns:a16="http://schemas.microsoft.com/office/drawing/2014/main" id="{CD83B59C-7076-21F5-AF7C-3B44EB55E488}"/>
                  </a:ext>
                </a:extLst>
              </p:cNvPr>
              <p:cNvSpPr/>
              <p:nvPr/>
            </p:nvSpPr>
            <p:spPr>
              <a:xfrm>
                <a:off x="3706984" y="1054481"/>
                <a:ext cx="2346" cy="335877"/>
              </a:xfrm>
              <a:custGeom>
                <a:avLst/>
                <a:gdLst>
                  <a:gd name="connsiteX0" fmla="*/ 0 w 2346"/>
                  <a:gd name="connsiteY0" fmla="*/ 0 h 335877"/>
                  <a:gd name="connsiteX1" fmla="*/ 0 w 2346"/>
                  <a:gd name="connsiteY1" fmla="*/ 335878 h 3358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346" h="335877">
                    <a:moveTo>
                      <a:pt x="0" y="0"/>
                    </a:moveTo>
                    <a:lnTo>
                      <a:pt x="0" y="335878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82" name="Forma livre: Forma 181">
                <a:extLst>
                  <a:ext uri="{FF2B5EF4-FFF2-40B4-BE49-F238E27FC236}">
                    <a16:creationId xmlns:a16="http://schemas.microsoft.com/office/drawing/2014/main" id="{06169680-E08C-0B92-04D6-0299D622A1D8}"/>
                  </a:ext>
                </a:extLst>
              </p:cNvPr>
              <p:cNvSpPr/>
              <p:nvPr/>
            </p:nvSpPr>
            <p:spPr>
              <a:xfrm>
                <a:off x="3643853" y="1387755"/>
                <a:ext cx="123282" cy="71130"/>
              </a:xfrm>
              <a:custGeom>
                <a:avLst/>
                <a:gdLst>
                  <a:gd name="connsiteX0" fmla="*/ 0 w 123282"/>
                  <a:gd name="connsiteY0" fmla="*/ 0 h 71130"/>
                  <a:gd name="connsiteX1" fmla="*/ 123283 w 123282"/>
                  <a:gd name="connsiteY1" fmla="*/ 0 h 71130"/>
                  <a:gd name="connsiteX2" fmla="*/ 123283 w 123282"/>
                  <a:gd name="connsiteY2" fmla="*/ 71131 h 71130"/>
                  <a:gd name="connsiteX3" fmla="*/ 0 w 123282"/>
                  <a:gd name="connsiteY3" fmla="*/ 71131 h 711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23282" h="71130">
                    <a:moveTo>
                      <a:pt x="0" y="0"/>
                    </a:moveTo>
                    <a:lnTo>
                      <a:pt x="123283" y="0"/>
                    </a:lnTo>
                    <a:lnTo>
                      <a:pt x="123283" y="71131"/>
                    </a:lnTo>
                    <a:lnTo>
                      <a:pt x="0" y="71131"/>
                    </a:lnTo>
                    <a:close/>
                  </a:path>
                </a:pathLst>
              </a:custGeom>
              <a:noFill/>
              <a:ln w="6350" cap="sq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183" name="Gráfico 2">
            <a:extLst>
              <a:ext uri="{FF2B5EF4-FFF2-40B4-BE49-F238E27FC236}">
                <a16:creationId xmlns:a16="http://schemas.microsoft.com/office/drawing/2014/main" id="{5F23728E-6C04-7A54-E458-CEF65DC8B263}"/>
              </a:ext>
            </a:extLst>
          </p:cNvPr>
          <p:cNvGrpSpPr/>
          <p:nvPr/>
        </p:nvGrpSpPr>
        <p:grpSpPr>
          <a:xfrm>
            <a:off x="2260014" y="992805"/>
            <a:ext cx="450949" cy="650101"/>
            <a:chOff x="2260014" y="992805"/>
            <a:chExt cx="450949" cy="650101"/>
          </a:xfrm>
          <a:noFill/>
        </p:grpSpPr>
        <p:grpSp>
          <p:nvGrpSpPr>
            <p:cNvPr id="184" name="Gráfico 2">
              <a:extLst>
                <a:ext uri="{FF2B5EF4-FFF2-40B4-BE49-F238E27FC236}">
                  <a16:creationId xmlns:a16="http://schemas.microsoft.com/office/drawing/2014/main" id="{CA6C49F6-291A-C1B4-60AB-80AEADACD4DF}"/>
                </a:ext>
              </a:extLst>
            </p:cNvPr>
            <p:cNvGrpSpPr/>
            <p:nvPr/>
          </p:nvGrpSpPr>
          <p:grpSpPr>
            <a:xfrm>
              <a:off x="2260014" y="992805"/>
              <a:ext cx="450949" cy="79693"/>
              <a:chOff x="2260014" y="992805"/>
              <a:chExt cx="450949" cy="79693"/>
            </a:xfrm>
            <a:noFill/>
          </p:grpSpPr>
          <p:sp>
            <p:nvSpPr>
              <p:cNvPr id="185" name="Forma livre: Forma 184">
                <a:extLst>
                  <a:ext uri="{FF2B5EF4-FFF2-40B4-BE49-F238E27FC236}">
                    <a16:creationId xmlns:a16="http://schemas.microsoft.com/office/drawing/2014/main" id="{C5EC3753-0F08-5AEC-C13A-96D2F08B0847}"/>
                  </a:ext>
                </a:extLst>
              </p:cNvPr>
              <p:cNvSpPr/>
              <p:nvPr/>
            </p:nvSpPr>
            <p:spPr>
              <a:xfrm>
                <a:off x="2260014" y="1032663"/>
                <a:ext cx="243304" cy="2346"/>
              </a:xfrm>
              <a:custGeom>
                <a:avLst/>
                <a:gdLst>
                  <a:gd name="connsiteX0" fmla="*/ 0 w 243304"/>
                  <a:gd name="connsiteY0" fmla="*/ 0 h 2346"/>
                  <a:gd name="connsiteX1" fmla="*/ 243304 w 243304"/>
                  <a:gd name="connsiteY1" fmla="*/ 0 h 2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43304" h="2346">
                    <a:moveTo>
                      <a:pt x="0" y="0"/>
                    </a:moveTo>
                    <a:lnTo>
                      <a:pt x="243304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86" name="Forma livre: Forma 185">
                <a:extLst>
                  <a:ext uri="{FF2B5EF4-FFF2-40B4-BE49-F238E27FC236}">
                    <a16:creationId xmlns:a16="http://schemas.microsoft.com/office/drawing/2014/main" id="{39E403A1-B92C-5820-2FF3-7F1596E1BB5E}"/>
                  </a:ext>
                </a:extLst>
              </p:cNvPr>
              <p:cNvSpPr/>
              <p:nvPr/>
            </p:nvSpPr>
            <p:spPr>
              <a:xfrm>
                <a:off x="2626062" y="1032663"/>
                <a:ext cx="84901" cy="2346"/>
              </a:xfrm>
              <a:custGeom>
                <a:avLst/>
                <a:gdLst>
                  <a:gd name="connsiteX0" fmla="*/ 0 w 84901"/>
                  <a:gd name="connsiteY0" fmla="*/ 0 h 2346"/>
                  <a:gd name="connsiteX1" fmla="*/ 84902 w 84901"/>
                  <a:gd name="connsiteY1" fmla="*/ 0 h 2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84901" h="2346">
                    <a:moveTo>
                      <a:pt x="0" y="0"/>
                    </a:moveTo>
                    <a:lnTo>
                      <a:pt x="84902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87" name="Forma livre: Forma 186">
                <a:extLst>
                  <a:ext uri="{FF2B5EF4-FFF2-40B4-BE49-F238E27FC236}">
                    <a16:creationId xmlns:a16="http://schemas.microsoft.com/office/drawing/2014/main" id="{BB6C3FC1-F103-92C1-AA3F-CC843E27C749}"/>
                  </a:ext>
                </a:extLst>
              </p:cNvPr>
              <p:cNvSpPr/>
              <p:nvPr/>
            </p:nvSpPr>
            <p:spPr>
              <a:xfrm>
                <a:off x="2503319" y="992805"/>
                <a:ext cx="79717" cy="79693"/>
              </a:xfrm>
              <a:custGeom>
                <a:avLst/>
                <a:gdLst>
                  <a:gd name="connsiteX0" fmla="*/ 79717 w 79717"/>
                  <a:gd name="connsiteY0" fmla="*/ 39859 h 79693"/>
                  <a:gd name="connsiteX1" fmla="*/ 39859 w 79717"/>
                  <a:gd name="connsiteY1" fmla="*/ 79694 h 79693"/>
                  <a:gd name="connsiteX2" fmla="*/ 0 w 79717"/>
                  <a:gd name="connsiteY2" fmla="*/ 39859 h 79693"/>
                  <a:gd name="connsiteX3" fmla="*/ 39859 w 79717"/>
                  <a:gd name="connsiteY3" fmla="*/ 0 h 79693"/>
                  <a:gd name="connsiteX4" fmla="*/ 79717 w 79717"/>
                  <a:gd name="connsiteY4" fmla="*/ 39859 h 796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717" h="79693">
                    <a:moveTo>
                      <a:pt x="79717" y="39859"/>
                    </a:moveTo>
                    <a:cubicBezTo>
                      <a:pt x="79717" y="61864"/>
                      <a:pt x="61864" y="79694"/>
                      <a:pt x="39859" y="79694"/>
                    </a:cubicBezTo>
                    <a:cubicBezTo>
                      <a:pt x="17853" y="79694"/>
                      <a:pt x="0" y="61841"/>
                      <a:pt x="0" y="39859"/>
                    </a:cubicBezTo>
                    <a:cubicBezTo>
                      <a:pt x="0" y="17877"/>
                      <a:pt x="17830" y="0"/>
                      <a:pt x="39859" y="0"/>
                    </a:cubicBezTo>
                    <a:cubicBezTo>
                      <a:pt x="61888" y="0"/>
                      <a:pt x="79717" y="17853"/>
                      <a:pt x="79717" y="39859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88" name="Gráfico 2">
              <a:extLst>
                <a:ext uri="{FF2B5EF4-FFF2-40B4-BE49-F238E27FC236}">
                  <a16:creationId xmlns:a16="http://schemas.microsoft.com/office/drawing/2014/main" id="{AABD1D0D-9BF2-0693-0E2A-D656489D91DE}"/>
                </a:ext>
              </a:extLst>
            </p:cNvPr>
            <p:cNvGrpSpPr/>
            <p:nvPr/>
          </p:nvGrpSpPr>
          <p:grpSpPr>
            <a:xfrm>
              <a:off x="2260014" y="1269727"/>
              <a:ext cx="450949" cy="2346"/>
              <a:chOff x="2260014" y="1269727"/>
              <a:chExt cx="450949" cy="2346"/>
            </a:xfrm>
          </p:grpSpPr>
          <p:sp>
            <p:nvSpPr>
              <p:cNvPr id="189" name="Forma livre: Forma 188">
                <a:extLst>
                  <a:ext uri="{FF2B5EF4-FFF2-40B4-BE49-F238E27FC236}">
                    <a16:creationId xmlns:a16="http://schemas.microsoft.com/office/drawing/2014/main" id="{B5587851-B596-878F-2204-D23FD0A798C5}"/>
                  </a:ext>
                </a:extLst>
              </p:cNvPr>
              <p:cNvSpPr/>
              <p:nvPr/>
            </p:nvSpPr>
            <p:spPr>
              <a:xfrm>
                <a:off x="2260014" y="1269727"/>
                <a:ext cx="197041" cy="2346"/>
              </a:xfrm>
              <a:custGeom>
                <a:avLst/>
                <a:gdLst>
                  <a:gd name="connsiteX0" fmla="*/ 0 w 197041"/>
                  <a:gd name="connsiteY0" fmla="*/ 0 h 2346"/>
                  <a:gd name="connsiteX1" fmla="*/ 197041 w 197041"/>
                  <a:gd name="connsiteY1" fmla="*/ 0 h 2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97041" h="2346">
                    <a:moveTo>
                      <a:pt x="0" y="0"/>
                    </a:moveTo>
                    <a:lnTo>
                      <a:pt x="197041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90" name="Forma livre: Forma 189">
                <a:extLst>
                  <a:ext uri="{FF2B5EF4-FFF2-40B4-BE49-F238E27FC236}">
                    <a16:creationId xmlns:a16="http://schemas.microsoft.com/office/drawing/2014/main" id="{FBC5D3CB-DF48-9163-807A-3743807B208F}"/>
                  </a:ext>
                </a:extLst>
              </p:cNvPr>
              <p:cNvSpPr/>
              <p:nvPr/>
            </p:nvSpPr>
            <p:spPr>
              <a:xfrm>
                <a:off x="2587235" y="1269727"/>
                <a:ext cx="123728" cy="2346"/>
              </a:xfrm>
              <a:custGeom>
                <a:avLst/>
                <a:gdLst>
                  <a:gd name="connsiteX0" fmla="*/ 0 w 123728"/>
                  <a:gd name="connsiteY0" fmla="*/ 0 h 2346"/>
                  <a:gd name="connsiteX1" fmla="*/ 123728 w 123728"/>
                  <a:gd name="connsiteY1" fmla="*/ 0 h 2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3728" h="2346">
                    <a:moveTo>
                      <a:pt x="0" y="0"/>
                    </a:moveTo>
                    <a:lnTo>
                      <a:pt x="123728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91" name="Gráfico 2">
              <a:extLst>
                <a:ext uri="{FF2B5EF4-FFF2-40B4-BE49-F238E27FC236}">
                  <a16:creationId xmlns:a16="http://schemas.microsoft.com/office/drawing/2014/main" id="{31F78CA6-FD24-9A10-F55A-D2F5FF322909}"/>
                </a:ext>
              </a:extLst>
            </p:cNvPr>
            <p:cNvGrpSpPr/>
            <p:nvPr/>
          </p:nvGrpSpPr>
          <p:grpSpPr>
            <a:xfrm>
              <a:off x="2260014" y="1111325"/>
              <a:ext cx="450949" cy="79717"/>
              <a:chOff x="2260014" y="1111325"/>
              <a:chExt cx="450949" cy="79717"/>
            </a:xfrm>
            <a:noFill/>
          </p:grpSpPr>
          <p:sp>
            <p:nvSpPr>
              <p:cNvPr id="192" name="Forma livre: Forma 191">
                <a:extLst>
                  <a:ext uri="{FF2B5EF4-FFF2-40B4-BE49-F238E27FC236}">
                    <a16:creationId xmlns:a16="http://schemas.microsoft.com/office/drawing/2014/main" id="{7044C580-B337-AD98-E5C4-D72D7B3E1065}"/>
                  </a:ext>
                </a:extLst>
              </p:cNvPr>
              <p:cNvSpPr/>
              <p:nvPr/>
            </p:nvSpPr>
            <p:spPr>
              <a:xfrm>
                <a:off x="2260014" y="1151183"/>
                <a:ext cx="69207" cy="2346"/>
              </a:xfrm>
              <a:custGeom>
                <a:avLst/>
                <a:gdLst>
                  <a:gd name="connsiteX0" fmla="*/ 0 w 69207"/>
                  <a:gd name="connsiteY0" fmla="*/ 0 h 2346"/>
                  <a:gd name="connsiteX1" fmla="*/ 69207 w 69207"/>
                  <a:gd name="connsiteY1" fmla="*/ 0 h 2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9207" h="2346">
                    <a:moveTo>
                      <a:pt x="0" y="0"/>
                    </a:moveTo>
                    <a:lnTo>
                      <a:pt x="69207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93" name="Forma livre: Forma 192">
                <a:extLst>
                  <a:ext uri="{FF2B5EF4-FFF2-40B4-BE49-F238E27FC236}">
                    <a16:creationId xmlns:a16="http://schemas.microsoft.com/office/drawing/2014/main" id="{4D395893-6848-F657-531A-6FEBB686EA8F}"/>
                  </a:ext>
                </a:extLst>
              </p:cNvPr>
              <p:cNvSpPr/>
              <p:nvPr/>
            </p:nvSpPr>
            <p:spPr>
              <a:xfrm>
                <a:off x="2452457" y="1151183"/>
                <a:ext cx="258506" cy="2346"/>
              </a:xfrm>
              <a:custGeom>
                <a:avLst/>
                <a:gdLst>
                  <a:gd name="connsiteX0" fmla="*/ 0 w 258506"/>
                  <a:gd name="connsiteY0" fmla="*/ 0 h 2346"/>
                  <a:gd name="connsiteX1" fmla="*/ 258507 w 258506"/>
                  <a:gd name="connsiteY1" fmla="*/ 0 h 2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58506" h="2346">
                    <a:moveTo>
                      <a:pt x="0" y="0"/>
                    </a:moveTo>
                    <a:lnTo>
                      <a:pt x="258507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94" name="Forma livre: Forma 193">
                <a:extLst>
                  <a:ext uri="{FF2B5EF4-FFF2-40B4-BE49-F238E27FC236}">
                    <a16:creationId xmlns:a16="http://schemas.microsoft.com/office/drawing/2014/main" id="{4D8317CC-222E-3A83-09A9-39EC78176396}"/>
                  </a:ext>
                </a:extLst>
              </p:cNvPr>
              <p:cNvSpPr/>
              <p:nvPr/>
            </p:nvSpPr>
            <p:spPr>
              <a:xfrm>
                <a:off x="2329221" y="1111325"/>
                <a:ext cx="79717" cy="79717"/>
              </a:xfrm>
              <a:custGeom>
                <a:avLst/>
                <a:gdLst>
                  <a:gd name="connsiteX0" fmla="*/ 79717 w 79717"/>
                  <a:gd name="connsiteY0" fmla="*/ 39859 h 79717"/>
                  <a:gd name="connsiteX1" fmla="*/ 39859 w 79717"/>
                  <a:gd name="connsiteY1" fmla="*/ 79717 h 79717"/>
                  <a:gd name="connsiteX2" fmla="*/ 0 w 79717"/>
                  <a:gd name="connsiteY2" fmla="*/ 39859 h 79717"/>
                  <a:gd name="connsiteX3" fmla="*/ 39859 w 79717"/>
                  <a:gd name="connsiteY3" fmla="*/ 0 h 79717"/>
                  <a:gd name="connsiteX4" fmla="*/ 79717 w 79717"/>
                  <a:gd name="connsiteY4" fmla="*/ 39859 h 797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717" h="79717">
                    <a:moveTo>
                      <a:pt x="79717" y="39859"/>
                    </a:moveTo>
                    <a:cubicBezTo>
                      <a:pt x="79717" y="61864"/>
                      <a:pt x="61864" y="79717"/>
                      <a:pt x="39859" y="79717"/>
                    </a:cubicBezTo>
                    <a:cubicBezTo>
                      <a:pt x="17853" y="79717"/>
                      <a:pt x="0" y="61864"/>
                      <a:pt x="0" y="39859"/>
                    </a:cubicBezTo>
                    <a:cubicBezTo>
                      <a:pt x="0" y="17853"/>
                      <a:pt x="17853" y="0"/>
                      <a:pt x="39859" y="0"/>
                    </a:cubicBezTo>
                    <a:cubicBezTo>
                      <a:pt x="61864" y="0"/>
                      <a:pt x="79717" y="17853"/>
                      <a:pt x="79717" y="39859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195" name="Gráfico 2">
              <a:extLst>
                <a:ext uri="{FF2B5EF4-FFF2-40B4-BE49-F238E27FC236}">
                  <a16:creationId xmlns:a16="http://schemas.microsoft.com/office/drawing/2014/main" id="{5D27416D-D075-36F9-3061-F0ED2D9CFA96}"/>
                </a:ext>
              </a:extLst>
            </p:cNvPr>
            <p:cNvGrpSpPr/>
            <p:nvPr/>
          </p:nvGrpSpPr>
          <p:grpSpPr>
            <a:xfrm>
              <a:off x="2400010" y="1220062"/>
              <a:ext cx="299393" cy="422844"/>
              <a:chOff x="2400010" y="1220062"/>
              <a:chExt cx="299393" cy="422844"/>
            </a:xfrm>
            <a:noFill/>
          </p:grpSpPr>
          <p:grpSp>
            <p:nvGrpSpPr>
              <p:cNvPr id="196" name="Gráfico 2">
                <a:extLst>
                  <a:ext uri="{FF2B5EF4-FFF2-40B4-BE49-F238E27FC236}">
                    <a16:creationId xmlns:a16="http://schemas.microsoft.com/office/drawing/2014/main" id="{CA870735-B842-8245-A1AF-7D4E17FFC8C5}"/>
                  </a:ext>
                </a:extLst>
              </p:cNvPr>
              <p:cNvGrpSpPr/>
              <p:nvPr/>
            </p:nvGrpSpPr>
            <p:grpSpPr>
              <a:xfrm>
                <a:off x="2498392" y="1220062"/>
                <a:ext cx="152255" cy="248864"/>
                <a:chOff x="2498392" y="1220062"/>
                <a:chExt cx="152255" cy="248864"/>
              </a:xfrm>
              <a:noFill/>
            </p:grpSpPr>
            <p:sp>
              <p:nvSpPr>
                <p:cNvPr id="197" name="Forma livre: Forma 196">
                  <a:extLst>
                    <a:ext uri="{FF2B5EF4-FFF2-40B4-BE49-F238E27FC236}">
                      <a16:creationId xmlns:a16="http://schemas.microsoft.com/office/drawing/2014/main" id="{F5042B4C-2C86-A143-9D06-B0610DCC4B15}"/>
                    </a:ext>
                  </a:extLst>
                </p:cNvPr>
                <p:cNvSpPr/>
                <p:nvPr/>
              </p:nvSpPr>
              <p:spPr>
                <a:xfrm>
                  <a:off x="2498392" y="1220062"/>
                  <a:ext cx="50767" cy="248864"/>
                </a:xfrm>
                <a:custGeom>
                  <a:avLst/>
                  <a:gdLst>
                    <a:gd name="connsiteX0" fmla="*/ 0 w 50767"/>
                    <a:gd name="connsiteY0" fmla="*/ 248864 h 248864"/>
                    <a:gd name="connsiteX1" fmla="*/ 0 w 50767"/>
                    <a:gd name="connsiteY1" fmla="*/ 26205 h 248864"/>
                    <a:gd name="connsiteX2" fmla="*/ 25384 w 50767"/>
                    <a:gd name="connsiteY2" fmla="*/ 0 h 248864"/>
                    <a:gd name="connsiteX3" fmla="*/ 50768 w 50767"/>
                    <a:gd name="connsiteY3" fmla="*/ 26205 h 248864"/>
                    <a:gd name="connsiteX4" fmla="*/ 50768 w 50767"/>
                    <a:gd name="connsiteY4" fmla="*/ 159763 h 24886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0767" h="248864">
                      <a:moveTo>
                        <a:pt x="0" y="248864"/>
                      </a:moveTo>
                      <a:lnTo>
                        <a:pt x="0" y="26205"/>
                      </a:lnTo>
                      <a:cubicBezTo>
                        <a:pt x="0" y="11800"/>
                        <a:pt x="11402" y="0"/>
                        <a:pt x="25384" y="0"/>
                      </a:cubicBezTo>
                      <a:cubicBezTo>
                        <a:pt x="39366" y="0"/>
                        <a:pt x="50768" y="11824"/>
                        <a:pt x="50768" y="26205"/>
                      </a:cubicBezTo>
                      <a:lnTo>
                        <a:pt x="50768" y="159763"/>
                      </a:ln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98" name="Forma livre: Forma 197">
                  <a:extLst>
                    <a:ext uri="{FF2B5EF4-FFF2-40B4-BE49-F238E27FC236}">
                      <a16:creationId xmlns:a16="http://schemas.microsoft.com/office/drawing/2014/main" id="{AB9CF0C9-C0C0-AB2C-2EAA-0F06AFD95128}"/>
                    </a:ext>
                  </a:extLst>
                </p:cNvPr>
                <p:cNvSpPr/>
                <p:nvPr/>
              </p:nvSpPr>
              <p:spPr>
                <a:xfrm>
                  <a:off x="2551693" y="1336424"/>
                  <a:ext cx="48186" cy="45371"/>
                </a:xfrm>
                <a:custGeom>
                  <a:avLst/>
                  <a:gdLst>
                    <a:gd name="connsiteX0" fmla="*/ 48187 w 48186"/>
                    <a:gd name="connsiteY0" fmla="*/ 45372 h 45371"/>
                    <a:gd name="connsiteX1" fmla="*/ 48187 w 48186"/>
                    <a:gd name="connsiteY1" fmla="*/ 26228 h 45371"/>
                    <a:gd name="connsiteX2" fmla="*/ 22803 w 48186"/>
                    <a:gd name="connsiteY2" fmla="*/ 0 h 45371"/>
                    <a:gd name="connsiteX3" fmla="*/ 0 w 48186"/>
                    <a:gd name="connsiteY3" fmla="*/ 0 h 453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8186" h="45371">
                      <a:moveTo>
                        <a:pt x="48187" y="45372"/>
                      </a:moveTo>
                      <a:lnTo>
                        <a:pt x="48187" y="26228"/>
                      </a:lnTo>
                      <a:cubicBezTo>
                        <a:pt x="48187" y="11847"/>
                        <a:pt x="36785" y="0"/>
                        <a:pt x="22803" y="0"/>
                      </a:cubicBezTo>
                      <a:lnTo>
                        <a:pt x="0" y="0"/>
                      </a:ln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199" name="Forma livre: Forma 198">
                  <a:extLst>
                    <a:ext uri="{FF2B5EF4-FFF2-40B4-BE49-F238E27FC236}">
                      <a16:creationId xmlns:a16="http://schemas.microsoft.com/office/drawing/2014/main" id="{78B1C705-DAFA-DF1B-F8BD-6A9BF04A84F8}"/>
                    </a:ext>
                  </a:extLst>
                </p:cNvPr>
                <p:cNvSpPr/>
                <p:nvPr/>
              </p:nvSpPr>
              <p:spPr>
                <a:xfrm>
                  <a:off x="2594789" y="1345738"/>
                  <a:ext cx="55858" cy="45090"/>
                </a:xfrm>
                <a:custGeom>
                  <a:avLst/>
                  <a:gdLst>
                    <a:gd name="connsiteX0" fmla="*/ 55858 w 55858"/>
                    <a:gd name="connsiteY0" fmla="*/ 45090 h 45090"/>
                    <a:gd name="connsiteX1" fmla="*/ 55858 w 55858"/>
                    <a:gd name="connsiteY1" fmla="*/ 26228 h 45090"/>
                    <a:gd name="connsiteX2" fmla="*/ 30475 w 55858"/>
                    <a:gd name="connsiteY2" fmla="*/ 0 h 45090"/>
                    <a:gd name="connsiteX3" fmla="*/ 0 w 55858"/>
                    <a:gd name="connsiteY3" fmla="*/ 0 h 450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55858" h="45090">
                      <a:moveTo>
                        <a:pt x="55858" y="45090"/>
                      </a:moveTo>
                      <a:lnTo>
                        <a:pt x="55858" y="26228"/>
                      </a:lnTo>
                      <a:cubicBezTo>
                        <a:pt x="55858" y="11824"/>
                        <a:pt x="44410" y="0"/>
                        <a:pt x="30475" y="0"/>
                      </a:cubicBezTo>
                      <a:lnTo>
                        <a:pt x="0" y="0"/>
                      </a:ln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200" name="Forma livre: Forma 199">
                <a:extLst>
                  <a:ext uri="{FF2B5EF4-FFF2-40B4-BE49-F238E27FC236}">
                    <a16:creationId xmlns:a16="http://schemas.microsoft.com/office/drawing/2014/main" id="{961E2E02-2343-85B9-12DE-7B0DFE245FB9}"/>
                  </a:ext>
                </a:extLst>
              </p:cNvPr>
              <p:cNvSpPr/>
              <p:nvPr/>
            </p:nvSpPr>
            <p:spPr>
              <a:xfrm>
                <a:off x="2652642" y="1367579"/>
                <a:ext cx="46761" cy="275303"/>
              </a:xfrm>
              <a:custGeom>
                <a:avLst/>
                <a:gdLst>
                  <a:gd name="connsiteX0" fmla="*/ 10440 w 46761"/>
                  <a:gd name="connsiteY0" fmla="*/ 275304 h 275303"/>
                  <a:gd name="connsiteX1" fmla="*/ 10440 w 46761"/>
                  <a:gd name="connsiteY1" fmla="*/ 220407 h 275303"/>
                  <a:gd name="connsiteX2" fmla="*/ 42979 w 46761"/>
                  <a:gd name="connsiteY2" fmla="*/ 138508 h 275303"/>
                  <a:gd name="connsiteX3" fmla="*/ 46756 w 46761"/>
                  <a:gd name="connsiteY3" fmla="*/ 26228 h 275303"/>
                  <a:gd name="connsiteX4" fmla="*/ 23366 w 46761"/>
                  <a:gd name="connsiteY4" fmla="*/ 0 h 275303"/>
                  <a:gd name="connsiteX5" fmla="*/ 0 w 46761"/>
                  <a:gd name="connsiteY5" fmla="*/ 0 h 2753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46761" h="275303">
                    <a:moveTo>
                      <a:pt x="10440" y="275304"/>
                    </a:moveTo>
                    <a:lnTo>
                      <a:pt x="10440" y="220407"/>
                    </a:lnTo>
                    <a:cubicBezTo>
                      <a:pt x="30616" y="198566"/>
                      <a:pt x="39929" y="178883"/>
                      <a:pt x="42979" y="138508"/>
                    </a:cubicBezTo>
                    <a:lnTo>
                      <a:pt x="46756" y="26228"/>
                    </a:lnTo>
                    <a:cubicBezTo>
                      <a:pt x="47038" y="11331"/>
                      <a:pt x="37325" y="0"/>
                      <a:pt x="23366" y="0"/>
                    </a:cubicBezTo>
                    <a:lnTo>
                      <a:pt x="0" y="0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01" name="Forma livre: Forma 200">
                <a:extLst>
                  <a:ext uri="{FF2B5EF4-FFF2-40B4-BE49-F238E27FC236}">
                    <a16:creationId xmlns:a16="http://schemas.microsoft.com/office/drawing/2014/main" id="{A1B5B46F-CCF0-6100-F3D6-E969342BFF38}"/>
                  </a:ext>
                </a:extLst>
              </p:cNvPr>
              <p:cNvSpPr/>
              <p:nvPr/>
            </p:nvSpPr>
            <p:spPr>
              <a:xfrm>
                <a:off x="2400010" y="1401831"/>
                <a:ext cx="106029" cy="241075"/>
              </a:xfrm>
              <a:custGeom>
                <a:avLst/>
                <a:gdLst>
                  <a:gd name="connsiteX0" fmla="*/ 70652 w 106029"/>
                  <a:gd name="connsiteY0" fmla="*/ 27120 h 241075"/>
                  <a:gd name="connsiteX1" fmla="*/ 59462 w 106029"/>
                  <a:gd name="connsiteY1" fmla="*/ 17571 h 241075"/>
                  <a:gd name="connsiteX2" fmla="*/ 32858 w 106029"/>
                  <a:gd name="connsiteY2" fmla="*/ 1830 h 241075"/>
                  <a:gd name="connsiteX3" fmla="*/ 22864 w 106029"/>
                  <a:gd name="connsiteY3" fmla="*/ 258 h 241075"/>
                  <a:gd name="connsiteX4" fmla="*/ 741 w 106029"/>
                  <a:gd name="connsiteY4" fmla="*/ 20997 h 241075"/>
                  <a:gd name="connsiteX5" fmla="*/ 97350 w 106029"/>
                  <a:gd name="connsiteY5" fmla="*/ 185757 h 241075"/>
                  <a:gd name="connsiteX6" fmla="*/ 106030 w 106029"/>
                  <a:gd name="connsiteY6" fmla="*/ 205580 h 241075"/>
                  <a:gd name="connsiteX7" fmla="*/ 106030 w 106029"/>
                  <a:gd name="connsiteY7" fmla="*/ 241075 h 2410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06029" h="241075">
                    <a:moveTo>
                      <a:pt x="70652" y="27120"/>
                    </a:moveTo>
                    <a:lnTo>
                      <a:pt x="59462" y="17571"/>
                    </a:lnTo>
                    <a:cubicBezTo>
                      <a:pt x="46136" y="5654"/>
                      <a:pt x="37550" y="3308"/>
                      <a:pt x="32858" y="1830"/>
                    </a:cubicBezTo>
                    <a:cubicBezTo>
                      <a:pt x="28189" y="352"/>
                      <a:pt x="22864" y="258"/>
                      <a:pt x="22864" y="258"/>
                    </a:cubicBezTo>
                    <a:cubicBezTo>
                      <a:pt x="9867" y="-1783"/>
                      <a:pt x="-3294" y="8586"/>
                      <a:pt x="741" y="20997"/>
                    </a:cubicBezTo>
                    <a:lnTo>
                      <a:pt x="97350" y="185757"/>
                    </a:lnTo>
                    <a:cubicBezTo>
                      <a:pt x="97350" y="185757"/>
                      <a:pt x="106030" y="197674"/>
                      <a:pt x="106030" y="205580"/>
                    </a:cubicBezTo>
                    <a:lnTo>
                      <a:pt x="106030" y="241075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203" name="Gráfico 4">
            <a:extLst>
              <a:ext uri="{FF2B5EF4-FFF2-40B4-BE49-F238E27FC236}">
                <a16:creationId xmlns:a16="http://schemas.microsoft.com/office/drawing/2014/main" id="{05E16301-CDE5-DDE9-5284-F960D62342C4}"/>
              </a:ext>
            </a:extLst>
          </p:cNvPr>
          <p:cNvGrpSpPr/>
          <p:nvPr/>
        </p:nvGrpSpPr>
        <p:grpSpPr>
          <a:xfrm>
            <a:off x="6993218" y="5150003"/>
            <a:ext cx="638291" cy="679821"/>
            <a:chOff x="6993218" y="5150003"/>
            <a:chExt cx="638291" cy="679821"/>
          </a:xfrm>
        </p:grpSpPr>
        <p:grpSp>
          <p:nvGrpSpPr>
            <p:cNvPr id="204" name="Gráfico 4">
              <a:extLst>
                <a:ext uri="{FF2B5EF4-FFF2-40B4-BE49-F238E27FC236}">
                  <a16:creationId xmlns:a16="http://schemas.microsoft.com/office/drawing/2014/main" id="{549652F3-7407-389E-0CF1-346D217D410E}"/>
                </a:ext>
              </a:extLst>
            </p:cNvPr>
            <p:cNvGrpSpPr/>
            <p:nvPr/>
          </p:nvGrpSpPr>
          <p:grpSpPr>
            <a:xfrm>
              <a:off x="6993218" y="5150003"/>
              <a:ext cx="439890" cy="679821"/>
              <a:chOff x="6993218" y="5150003"/>
              <a:chExt cx="439890" cy="679821"/>
            </a:xfrm>
            <a:noFill/>
          </p:grpSpPr>
          <p:grpSp>
            <p:nvGrpSpPr>
              <p:cNvPr id="205" name="Gráfico 4">
                <a:extLst>
                  <a:ext uri="{FF2B5EF4-FFF2-40B4-BE49-F238E27FC236}">
                    <a16:creationId xmlns:a16="http://schemas.microsoft.com/office/drawing/2014/main" id="{CB2EAD34-1EEC-2FFB-E52D-6789E9C39B79}"/>
                  </a:ext>
                </a:extLst>
              </p:cNvPr>
              <p:cNvGrpSpPr/>
              <p:nvPr/>
            </p:nvGrpSpPr>
            <p:grpSpPr>
              <a:xfrm>
                <a:off x="7092135" y="5248708"/>
                <a:ext cx="340972" cy="166828"/>
                <a:chOff x="7092135" y="5248708"/>
                <a:chExt cx="340972" cy="166828"/>
              </a:xfrm>
            </p:grpSpPr>
            <p:grpSp>
              <p:nvGrpSpPr>
                <p:cNvPr id="206" name="Gráfico 4">
                  <a:extLst>
                    <a:ext uri="{FF2B5EF4-FFF2-40B4-BE49-F238E27FC236}">
                      <a16:creationId xmlns:a16="http://schemas.microsoft.com/office/drawing/2014/main" id="{730D2EA2-5AE3-F0F1-4475-A5C2848C322D}"/>
                    </a:ext>
                  </a:extLst>
                </p:cNvPr>
                <p:cNvGrpSpPr/>
                <p:nvPr/>
              </p:nvGrpSpPr>
              <p:grpSpPr>
                <a:xfrm>
                  <a:off x="7092135" y="5248708"/>
                  <a:ext cx="167135" cy="166828"/>
                  <a:chOff x="7092135" y="5248708"/>
                  <a:chExt cx="167135" cy="166828"/>
                </a:xfrm>
              </p:grpSpPr>
              <p:sp>
                <p:nvSpPr>
                  <p:cNvPr id="207" name="Forma livre: Forma 206">
                    <a:extLst>
                      <a:ext uri="{FF2B5EF4-FFF2-40B4-BE49-F238E27FC236}">
                        <a16:creationId xmlns:a16="http://schemas.microsoft.com/office/drawing/2014/main" id="{3BCA3793-F7FA-21F6-4AD1-845F1B9CA4E8}"/>
                      </a:ext>
                    </a:extLst>
                  </p:cNvPr>
                  <p:cNvSpPr/>
                  <p:nvPr/>
                </p:nvSpPr>
                <p:spPr>
                  <a:xfrm>
                    <a:off x="7092135" y="5389911"/>
                    <a:ext cx="61823" cy="25626"/>
                  </a:xfrm>
                  <a:custGeom>
                    <a:avLst/>
                    <a:gdLst>
                      <a:gd name="connsiteX0" fmla="*/ 0 w 61823"/>
                      <a:gd name="connsiteY0" fmla="*/ 0 h 25626"/>
                      <a:gd name="connsiteX1" fmla="*/ 61823 w 61823"/>
                      <a:gd name="connsiteY1" fmla="*/ 25626 h 2562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61823" h="25626">
                        <a:moveTo>
                          <a:pt x="0" y="0"/>
                        </a:moveTo>
                        <a:lnTo>
                          <a:pt x="61823" y="25626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208" name="Forma livre: Forma 207">
                    <a:extLst>
                      <a:ext uri="{FF2B5EF4-FFF2-40B4-BE49-F238E27FC236}">
                        <a16:creationId xmlns:a16="http://schemas.microsoft.com/office/drawing/2014/main" id="{9A4F169C-5D7D-B4E6-70FB-B0C7B20E99E5}"/>
                      </a:ext>
                    </a:extLst>
                  </p:cNvPr>
                  <p:cNvSpPr/>
                  <p:nvPr/>
                </p:nvSpPr>
                <p:spPr>
                  <a:xfrm>
                    <a:off x="7233125" y="5248708"/>
                    <a:ext cx="26145" cy="62861"/>
                  </a:xfrm>
                  <a:custGeom>
                    <a:avLst/>
                    <a:gdLst>
                      <a:gd name="connsiteX0" fmla="*/ 0 w 26145"/>
                      <a:gd name="connsiteY0" fmla="*/ 0 h 62861"/>
                      <a:gd name="connsiteX1" fmla="*/ 26145 w 26145"/>
                      <a:gd name="connsiteY1" fmla="*/ 62862 h 6286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26145" h="62861">
                        <a:moveTo>
                          <a:pt x="0" y="0"/>
                        </a:moveTo>
                        <a:lnTo>
                          <a:pt x="26145" y="62862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209" name="Forma livre: Forma 208">
                    <a:extLst>
                      <a:ext uri="{FF2B5EF4-FFF2-40B4-BE49-F238E27FC236}">
                        <a16:creationId xmlns:a16="http://schemas.microsoft.com/office/drawing/2014/main" id="{3F5C97B6-90C5-88C1-4412-ACBFAD5D876B}"/>
                      </a:ext>
                    </a:extLst>
                  </p:cNvPr>
                  <p:cNvSpPr/>
                  <p:nvPr/>
                </p:nvSpPr>
                <p:spPr>
                  <a:xfrm>
                    <a:off x="7092607" y="5250100"/>
                    <a:ext cx="104722" cy="104250"/>
                  </a:xfrm>
                  <a:custGeom>
                    <a:avLst/>
                    <a:gdLst>
                      <a:gd name="connsiteX0" fmla="*/ 104722 w 104722"/>
                      <a:gd name="connsiteY0" fmla="*/ 104250 h 104250"/>
                      <a:gd name="connsiteX1" fmla="*/ 0 w 104722"/>
                      <a:gd name="connsiteY1" fmla="*/ 0 h 10425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04722" h="104250">
                        <a:moveTo>
                          <a:pt x="104722" y="104250"/>
                        </a:moveTo>
                        <a:lnTo>
                          <a:pt x="0" y="0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  <p:sp>
              <p:nvSpPr>
                <p:cNvPr id="210" name="Forma livre: Forma 209">
                  <a:extLst>
                    <a:ext uri="{FF2B5EF4-FFF2-40B4-BE49-F238E27FC236}">
                      <a16:creationId xmlns:a16="http://schemas.microsoft.com/office/drawing/2014/main" id="{03395161-928F-C420-2CA1-BE281593ABB6}"/>
                    </a:ext>
                  </a:extLst>
                </p:cNvPr>
                <p:cNvSpPr/>
                <p:nvPr/>
              </p:nvSpPr>
              <p:spPr>
                <a:xfrm>
                  <a:off x="7406963" y="5248708"/>
                  <a:ext cx="26145" cy="62861"/>
                </a:xfrm>
                <a:custGeom>
                  <a:avLst/>
                  <a:gdLst>
                    <a:gd name="connsiteX0" fmla="*/ 26145 w 26145"/>
                    <a:gd name="connsiteY0" fmla="*/ 0 h 62861"/>
                    <a:gd name="connsiteX1" fmla="*/ 0 w 26145"/>
                    <a:gd name="connsiteY1" fmla="*/ 62862 h 6286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6145" h="62861">
                      <a:moveTo>
                        <a:pt x="26145" y="0"/>
                      </a:moveTo>
                      <a:lnTo>
                        <a:pt x="0" y="62862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211" name="Gráfico 4">
                <a:extLst>
                  <a:ext uri="{FF2B5EF4-FFF2-40B4-BE49-F238E27FC236}">
                    <a16:creationId xmlns:a16="http://schemas.microsoft.com/office/drawing/2014/main" id="{BA5824D7-003B-44AD-B09B-2C060345DD40}"/>
                  </a:ext>
                </a:extLst>
              </p:cNvPr>
              <p:cNvGrpSpPr/>
              <p:nvPr/>
            </p:nvGrpSpPr>
            <p:grpSpPr>
              <a:xfrm>
                <a:off x="7092135" y="5563465"/>
                <a:ext cx="167135" cy="166828"/>
                <a:chOff x="7092135" y="5563465"/>
                <a:chExt cx="167135" cy="166828"/>
              </a:xfrm>
            </p:grpSpPr>
            <p:sp>
              <p:nvSpPr>
                <p:cNvPr id="212" name="Forma livre: Forma 211">
                  <a:extLst>
                    <a:ext uri="{FF2B5EF4-FFF2-40B4-BE49-F238E27FC236}">
                      <a16:creationId xmlns:a16="http://schemas.microsoft.com/office/drawing/2014/main" id="{D27F6F0A-CB27-0377-28F7-8C122072078C}"/>
                    </a:ext>
                  </a:extLst>
                </p:cNvPr>
                <p:cNvSpPr/>
                <p:nvPr/>
              </p:nvSpPr>
              <p:spPr>
                <a:xfrm>
                  <a:off x="7092135" y="5563465"/>
                  <a:ext cx="61823" cy="25602"/>
                </a:xfrm>
                <a:custGeom>
                  <a:avLst/>
                  <a:gdLst>
                    <a:gd name="connsiteX0" fmla="*/ 0 w 61823"/>
                    <a:gd name="connsiteY0" fmla="*/ 25603 h 25602"/>
                    <a:gd name="connsiteX1" fmla="*/ 61823 w 61823"/>
                    <a:gd name="connsiteY1" fmla="*/ 0 h 2560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61823" h="25602">
                      <a:moveTo>
                        <a:pt x="0" y="25603"/>
                      </a:moveTo>
                      <a:lnTo>
                        <a:pt x="61823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13" name="Forma livre: Forma 212">
                  <a:extLst>
                    <a:ext uri="{FF2B5EF4-FFF2-40B4-BE49-F238E27FC236}">
                      <a16:creationId xmlns:a16="http://schemas.microsoft.com/office/drawing/2014/main" id="{4C4F7F1A-7A1C-1F09-A265-A8DAE985D678}"/>
                    </a:ext>
                  </a:extLst>
                </p:cNvPr>
                <p:cNvSpPr/>
                <p:nvPr/>
              </p:nvSpPr>
              <p:spPr>
                <a:xfrm>
                  <a:off x="7233125" y="5667432"/>
                  <a:ext cx="26145" cy="62861"/>
                </a:xfrm>
                <a:custGeom>
                  <a:avLst/>
                  <a:gdLst>
                    <a:gd name="connsiteX0" fmla="*/ 0 w 26145"/>
                    <a:gd name="connsiteY0" fmla="*/ 62862 h 62861"/>
                    <a:gd name="connsiteX1" fmla="*/ 26145 w 26145"/>
                    <a:gd name="connsiteY1" fmla="*/ 0 h 6286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6145" h="62861">
                      <a:moveTo>
                        <a:pt x="0" y="62862"/>
                      </a:moveTo>
                      <a:lnTo>
                        <a:pt x="26145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14" name="Forma livre: Forma 213">
                  <a:extLst>
                    <a:ext uri="{FF2B5EF4-FFF2-40B4-BE49-F238E27FC236}">
                      <a16:creationId xmlns:a16="http://schemas.microsoft.com/office/drawing/2014/main" id="{C69D919A-D5D8-F54B-F241-84633017C115}"/>
                    </a:ext>
                  </a:extLst>
                </p:cNvPr>
                <p:cNvSpPr/>
                <p:nvPr/>
              </p:nvSpPr>
              <p:spPr>
                <a:xfrm>
                  <a:off x="7092607" y="5624627"/>
                  <a:ext cx="104722" cy="104273"/>
                </a:xfrm>
                <a:custGeom>
                  <a:avLst/>
                  <a:gdLst>
                    <a:gd name="connsiteX0" fmla="*/ 104722 w 104722"/>
                    <a:gd name="connsiteY0" fmla="*/ 0 h 104273"/>
                    <a:gd name="connsiteX1" fmla="*/ 0 w 104722"/>
                    <a:gd name="connsiteY1" fmla="*/ 104274 h 10427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04722" h="104273">
                      <a:moveTo>
                        <a:pt x="104722" y="0"/>
                      </a:moveTo>
                      <a:lnTo>
                        <a:pt x="0" y="104274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215" name="Forma livre: Forma 214">
                <a:extLst>
                  <a:ext uri="{FF2B5EF4-FFF2-40B4-BE49-F238E27FC236}">
                    <a16:creationId xmlns:a16="http://schemas.microsoft.com/office/drawing/2014/main" id="{5F997353-0EEB-05FB-D39A-ACAE2CE1AF89}"/>
                  </a:ext>
                </a:extLst>
              </p:cNvPr>
              <p:cNvSpPr/>
              <p:nvPr/>
            </p:nvSpPr>
            <p:spPr>
              <a:xfrm>
                <a:off x="7194393" y="5351175"/>
                <a:ext cx="197633" cy="277419"/>
              </a:xfrm>
              <a:custGeom>
                <a:avLst/>
                <a:gdLst>
                  <a:gd name="connsiteX0" fmla="*/ 197633 w 197633"/>
                  <a:gd name="connsiteY0" fmla="*/ 13204 h 277419"/>
                  <a:gd name="connsiteX1" fmla="*/ 85620 w 197633"/>
                  <a:gd name="connsiteY1" fmla="*/ 10561 h 277419"/>
                  <a:gd name="connsiteX2" fmla="*/ 10558 w 197633"/>
                  <a:gd name="connsiteY2" fmla="*/ 191808 h 277419"/>
                  <a:gd name="connsiteX3" fmla="*/ 189091 w 197633"/>
                  <a:gd name="connsiteY3" fmla="*/ 267954 h 2774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97633" h="277419">
                    <a:moveTo>
                      <a:pt x="197633" y="13204"/>
                    </a:moveTo>
                    <a:cubicBezTo>
                      <a:pt x="163536" y="-2771"/>
                      <a:pt x="123091" y="-4965"/>
                      <a:pt x="85620" y="10561"/>
                    </a:cubicBezTo>
                    <a:cubicBezTo>
                      <a:pt x="14947" y="39821"/>
                      <a:pt x="-18701" y="121135"/>
                      <a:pt x="10558" y="191808"/>
                    </a:cubicBezTo>
                    <a:cubicBezTo>
                      <a:pt x="39464" y="261559"/>
                      <a:pt x="119056" y="295256"/>
                      <a:pt x="189091" y="267954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16" name="Forma livre: Forma 215">
                <a:extLst>
                  <a:ext uri="{FF2B5EF4-FFF2-40B4-BE49-F238E27FC236}">
                    <a16:creationId xmlns:a16="http://schemas.microsoft.com/office/drawing/2014/main" id="{DAEC6D17-C90D-4213-937C-55D8637BBBF3}"/>
                  </a:ext>
                </a:extLst>
              </p:cNvPr>
              <p:cNvSpPr/>
              <p:nvPr/>
            </p:nvSpPr>
            <p:spPr>
              <a:xfrm>
                <a:off x="7333105" y="5150003"/>
                <a:ext cx="2359" cy="147455"/>
              </a:xfrm>
              <a:custGeom>
                <a:avLst/>
                <a:gdLst>
                  <a:gd name="connsiteX0" fmla="*/ 0 w 2359"/>
                  <a:gd name="connsiteY0" fmla="*/ 147456 h 147455"/>
                  <a:gd name="connsiteX1" fmla="*/ 0 w 2359"/>
                  <a:gd name="connsiteY1" fmla="*/ 0 h 1474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359" h="147455">
                    <a:moveTo>
                      <a:pt x="0" y="147456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17" name="Forma livre: Forma 216">
                <a:extLst>
                  <a:ext uri="{FF2B5EF4-FFF2-40B4-BE49-F238E27FC236}">
                    <a16:creationId xmlns:a16="http://schemas.microsoft.com/office/drawing/2014/main" id="{6F3AEE2D-453A-16BE-946C-17AE50C4F1E8}"/>
                  </a:ext>
                </a:extLst>
              </p:cNvPr>
              <p:cNvSpPr/>
              <p:nvPr/>
            </p:nvSpPr>
            <p:spPr>
              <a:xfrm>
                <a:off x="7333105" y="5682392"/>
                <a:ext cx="23" cy="147432"/>
              </a:xfrm>
              <a:custGeom>
                <a:avLst/>
                <a:gdLst>
                  <a:gd name="connsiteX0" fmla="*/ 24 w 23"/>
                  <a:gd name="connsiteY0" fmla="*/ 147433 h 147432"/>
                  <a:gd name="connsiteX1" fmla="*/ 0 w 23"/>
                  <a:gd name="connsiteY1" fmla="*/ 0 h 1474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3" h="147432">
                    <a:moveTo>
                      <a:pt x="24" y="147433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18" name="Forma livre: Forma 217">
                <a:extLst>
                  <a:ext uri="{FF2B5EF4-FFF2-40B4-BE49-F238E27FC236}">
                    <a16:creationId xmlns:a16="http://schemas.microsoft.com/office/drawing/2014/main" id="{3F64EC4F-4299-2A68-2DBC-FE0109F0D453}"/>
                  </a:ext>
                </a:extLst>
              </p:cNvPr>
              <p:cNvSpPr/>
              <p:nvPr/>
            </p:nvSpPr>
            <p:spPr>
              <a:xfrm>
                <a:off x="6993218" y="5489914"/>
                <a:ext cx="147408" cy="2359"/>
              </a:xfrm>
              <a:custGeom>
                <a:avLst/>
                <a:gdLst>
                  <a:gd name="connsiteX0" fmla="*/ 0 w 147408"/>
                  <a:gd name="connsiteY0" fmla="*/ 0 h 2359"/>
                  <a:gd name="connsiteX1" fmla="*/ 147409 w 147408"/>
                  <a:gd name="connsiteY1" fmla="*/ 0 h 23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47408" h="2359">
                    <a:moveTo>
                      <a:pt x="0" y="0"/>
                    </a:moveTo>
                    <a:lnTo>
                      <a:pt x="147409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219" name="Gráfico 4">
              <a:extLst>
                <a:ext uri="{FF2B5EF4-FFF2-40B4-BE49-F238E27FC236}">
                  <a16:creationId xmlns:a16="http://schemas.microsoft.com/office/drawing/2014/main" id="{2237EFF5-B99D-3272-2AD8-E7C2CDFFB248}"/>
                </a:ext>
              </a:extLst>
            </p:cNvPr>
            <p:cNvGrpSpPr/>
            <p:nvPr/>
          </p:nvGrpSpPr>
          <p:grpSpPr>
            <a:xfrm>
              <a:off x="7405995" y="5350245"/>
              <a:ext cx="225513" cy="452915"/>
              <a:chOff x="7405995" y="5350245"/>
              <a:chExt cx="225513" cy="452915"/>
            </a:xfrm>
          </p:grpSpPr>
          <p:sp>
            <p:nvSpPr>
              <p:cNvPr id="220" name="Forma livre: Forma 219">
                <a:extLst>
                  <a:ext uri="{FF2B5EF4-FFF2-40B4-BE49-F238E27FC236}">
                    <a16:creationId xmlns:a16="http://schemas.microsoft.com/office/drawing/2014/main" id="{0EA785F6-B628-4140-983F-7C1293167801}"/>
                  </a:ext>
                </a:extLst>
              </p:cNvPr>
              <p:cNvSpPr/>
              <p:nvPr/>
            </p:nvSpPr>
            <p:spPr>
              <a:xfrm>
                <a:off x="7405995" y="5350245"/>
                <a:ext cx="168527" cy="452915"/>
              </a:xfrm>
              <a:custGeom>
                <a:avLst/>
                <a:gdLst>
                  <a:gd name="connsiteX0" fmla="*/ 20057 w 168527"/>
                  <a:gd name="connsiteY0" fmla="*/ 313058 h 452915"/>
                  <a:gd name="connsiteX1" fmla="*/ 20057 w 168527"/>
                  <a:gd name="connsiteY1" fmla="*/ 61422 h 452915"/>
                  <a:gd name="connsiteX2" fmla="*/ 81479 w 168527"/>
                  <a:gd name="connsiteY2" fmla="*/ 0 h 452915"/>
                  <a:gd name="connsiteX3" fmla="*/ 87048 w 168527"/>
                  <a:gd name="connsiteY3" fmla="*/ 0 h 452915"/>
                  <a:gd name="connsiteX4" fmla="*/ 148494 w 168527"/>
                  <a:gd name="connsiteY4" fmla="*/ 61422 h 452915"/>
                  <a:gd name="connsiteX5" fmla="*/ 148494 w 168527"/>
                  <a:gd name="connsiteY5" fmla="*/ 313058 h 452915"/>
                  <a:gd name="connsiteX6" fmla="*/ 168528 w 168527"/>
                  <a:gd name="connsiteY6" fmla="*/ 368652 h 452915"/>
                  <a:gd name="connsiteX7" fmla="*/ 84287 w 168527"/>
                  <a:gd name="connsiteY7" fmla="*/ 452916 h 452915"/>
                  <a:gd name="connsiteX8" fmla="*/ 0 w 168527"/>
                  <a:gd name="connsiteY8" fmla="*/ 368652 h 452915"/>
                  <a:gd name="connsiteX9" fmla="*/ 20081 w 168527"/>
                  <a:gd name="connsiteY9" fmla="*/ 313058 h 4529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68527" h="452915">
                    <a:moveTo>
                      <a:pt x="20057" y="313058"/>
                    </a:moveTo>
                    <a:cubicBezTo>
                      <a:pt x="20057" y="286582"/>
                      <a:pt x="20057" y="61422"/>
                      <a:pt x="20057" y="61422"/>
                    </a:cubicBezTo>
                    <a:cubicBezTo>
                      <a:pt x="20057" y="27632"/>
                      <a:pt x="47713" y="0"/>
                      <a:pt x="81479" y="0"/>
                    </a:cubicBezTo>
                    <a:lnTo>
                      <a:pt x="87048" y="0"/>
                    </a:lnTo>
                    <a:cubicBezTo>
                      <a:pt x="120815" y="0"/>
                      <a:pt x="148494" y="27632"/>
                      <a:pt x="148494" y="61422"/>
                    </a:cubicBezTo>
                    <a:lnTo>
                      <a:pt x="148494" y="313058"/>
                    </a:lnTo>
                    <a:cubicBezTo>
                      <a:pt x="161520" y="327900"/>
                      <a:pt x="168528" y="347320"/>
                      <a:pt x="168528" y="368652"/>
                    </a:cubicBezTo>
                    <a:cubicBezTo>
                      <a:pt x="168528" y="415185"/>
                      <a:pt x="130820" y="452916"/>
                      <a:pt x="84287" y="452916"/>
                    </a:cubicBezTo>
                    <a:cubicBezTo>
                      <a:pt x="37755" y="452916"/>
                      <a:pt x="0" y="415185"/>
                      <a:pt x="0" y="368652"/>
                    </a:cubicBezTo>
                    <a:cubicBezTo>
                      <a:pt x="0" y="347320"/>
                      <a:pt x="7008" y="327900"/>
                      <a:pt x="20081" y="313058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21" name="Forma livre: Forma 220">
                <a:extLst>
                  <a:ext uri="{FF2B5EF4-FFF2-40B4-BE49-F238E27FC236}">
                    <a16:creationId xmlns:a16="http://schemas.microsoft.com/office/drawing/2014/main" id="{E4C73A36-DDB5-C1CD-1A79-7D12ACF4B761}"/>
                  </a:ext>
                </a:extLst>
              </p:cNvPr>
              <p:cNvSpPr/>
              <p:nvPr/>
            </p:nvSpPr>
            <p:spPr>
              <a:xfrm>
                <a:off x="7490259" y="5440597"/>
                <a:ext cx="2359" cy="265746"/>
              </a:xfrm>
              <a:custGeom>
                <a:avLst/>
                <a:gdLst>
                  <a:gd name="connsiteX0" fmla="*/ 0 w 2359"/>
                  <a:gd name="connsiteY0" fmla="*/ 265746 h 265746"/>
                  <a:gd name="connsiteX1" fmla="*/ 0 w 2359"/>
                  <a:gd name="connsiteY1" fmla="*/ 0 h 2657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359" h="265746">
                    <a:moveTo>
                      <a:pt x="0" y="265746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22" name="Forma livre: Forma 221">
                <a:extLst>
                  <a:ext uri="{FF2B5EF4-FFF2-40B4-BE49-F238E27FC236}">
                    <a16:creationId xmlns:a16="http://schemas.microsoft.com/office/drawing/2014/main" id="{2688FB34-36C0-98D9-45DD-07AF91107F1B}"/>
                  </a:ext>
                </a:extLst>
              </p:cNvPr>
              <p:cNvSpPr/>
              <p:nvPr/>
            </p:nvSpPr>
            <p:spPr>
              <a:xfrm>
                <a:off x="7476101" y="5702922"/>
                <a:ext cx="28316" cy="28316"/>
              </a:xfrm>
              <a:custGeom>
                <a:avLst/>
                <a:gdLst>
                  <a:gd name="connsiteX0" fmla="*/ 28316 w 28316"/>
                  <a:gd name="connsiteY0" fmla="*/ 14158 h 28316"/>
                  <a:gd name="connsiteX1" fmla="*/ 14182 w 28316"/>
                  <a:gd name="connsiteY1" fmla="*/ 28316 h 28316"/>
                  <a:gd name="connsiteX2" fmla="*/ 0 w 28316"/>
                  <a:gd name="connsiteY2" fmla="*/ 14158 h 28316"/>
                  <a:gd name="connsiteX3" fmla="*/ 14182 w 28316"/>
                  <a:gd name="connsiteY3" fmla="*/ 0 h 28316"/>
                  <a:gd name="connsiteX4" fmla="*/ 28316 w 28316"/>
                  <a:gd name="connsiteY4" fmla="*/ 14158 h 283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8316" h="28316">
                    <a:moveTo>
                      <a:pt x="28316" y="14158"/>
                    </a:moveTo>
                    <a:cubicBezTo>
                      <a:pt x="28316" y="21992"/>
                      <a:pt x="22016" y="28316"/>
                      <a:pt x="14182" y="28316"/>
                    </a:cubicBezTo>
                    <a:cubicBezTo>
                      <a:pt x="6348" y="28316"/>
                      <a:pt x="0" y="21992"/>
                      <a:pt x="0" y="14158"/>
                    </a:cubicBezTo>
                    <a:cubicBezTo>
                      <a:pt x="0" y="6324"/>
                      <a:pt x="6371" y="0"/>
                      <a:pt x="14182" y="0"/>
                    </a:cubicBezTo>
                    <a:cubicBezTo>
                      <a:pt x="21992" y="0"/>
                      <a:pt x="28316" y="6324"/>
                      <a:pt x="28316" y="14158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23" name="Forma livre: Forma 222">
                <a:extLst>
                  <a:ext uri="{FF2B5EF4-FFF2-40B4-BE49-F238E27FC236}">
                    <a16:creationId xmlns:a16="http://schemas.microsoft.com/office/drawing/2014/main" id="{666C7B3F-8129-D67B-4914-7C41DC2B47B1}"/>
                  </a:ext>
                </a:extLst>
              </p:cNvPr>
              <p:cNvSpPr/>
              <p:nvPr/>
            </p:nvSpPr>
            <p:spPr>
              <a:xfrm>
                <a:off x="7607983" y="5446213"/>
                <a:ext cx="23525" cy="2359"/>
              </a:xfrm>
              <a:custGeom>
                <a:avLst/>
                <a:gdLst>
                  <a:gd name="connsiteX0" fmla="*/ 23526 w 23525"/>
                  <a:gd name="connsiteY0" fmla="*/ 0 h 2359"/>
                  <a:gd name="connsiteX1" fmla="*/ 0 w 23525"/>
                  <a:gd name="connsiteY1" fmla="*/ 0 h 23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3525" h="2359">
                    <a:moveTo>
                      <a:pt x="23526" y="0"/>
                    </a:moveTo>
                    <a:lnTo>
                      <a:pt x="0" y="0"/>
                    </a:lnTo>
                  </a:path>
                </a:pathLst>
              </a:custGeom>
              <a:ln w="6350" cap="sq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24" name="Forma livre: Forma 223">
                <a:extLst>
                  <a:ext uri="{FF2B5EF4-FFF2-40B4-BE49-F238E27FC236}">
                    <a16:creationId xmlns:a16="http://schemas.microsoft.com/office/drawing/2014/main" id="{32CB0BE5-82FE-36A3-914B-C00115A064FE}"/>
                  </a:ext>
                </a:extLst>
              </p:cNvPr>
              <p:cNvSpPr/>
              <p:nvPr/>
            </p:nvSpPr>
            <p:spPr>
              <a:xfrm>
                <a:off x="7607983" y="5519103"/>
                <a:ext cx="23525" cy="2359"/>
              </a:xfrm>
              <a:custGeom>
                <a:avLst/>
                <a:gdLst>
                  <a:gd name="connsiteX0" fmla="*/ 23526 w 23525"/>
                  <a:gd name="connsiteY0" fmla="*/ 0 h 2359"/>
                  <a:gd name="connsiteX1" fmla="*/ 0 w 23525"/>
                  <a:gd name="connsiteY1" fmla="*/ 0 h 23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3525" h="2359">
                    <a:moveTo>
                      <a:pt x="23526" y="0"/>
                    </a:moveTo>
                    <a:lnTo>
                      <a:pt x="0" y="0"/>
                    </a:lnTo>
                  </a:path>
                </a:pathLst>
              </a:custGeom>
              <a:ln w="6350" cap="sq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25" name="Forma livre: Forma 224">
                <a:extLst>
                  <a:ext uri="{FF2B5EF4-FFF2-40B4-BE49-F238E27FC236}">
                    <a16:creationId xmlns:a16="http://schemas.microsoft.com/office/drawing/2014/main" id="{B2EC309E-CADD-8F6F-6B22-A1065B367464}"/>
                  </a:ext>
                </a:extLst>
              </p:cNvPr>
              <p:cNvSpPr/>
              <p:nvPr/>
            </p:nvSpPr>
            <p:spPr>
              <a:xfrm>
                <a:off x="7607983" y="5591993"/>
                <a:ext cx="23525" cy="2359"/>
              </a:xfrm>
              <a:custGeom>
                <a:avLst/>
                <a:gdLst>
                  <a:gd name="connsiteX0" fmla="*/ 23526 w 23525"/>
                  <a:gd name="connsiteY0" fmla="*/ 0 h 2359"/>
                  <a:gd name="connsiteX1" fmla="*/ 0 w 23525"/>
                  <a:gd name="connsiteY1" fmla="*/ 0 h 23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3525" h="2359">
                    <a:moveTo>
                      <a:pt x="23526" y="0"/>
                    </a:moveTo>
                    <a:lnTo>
                      <a:pt x="0" y="0"/>
                    </a:lnTo>
                  </a:path>
                </a:pathLst>
              </a:custGeom>
              <a:ln w="6350" cap="sq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226" name="Gráfico 4">
            <a:extLst>
              <a:ext uri="{FF2B5EF4-FFF2-40B4-BE49-F238E27FC236}">
                <a16:creationId xmlns:a16="http://schemas.microsoft.com/office/drawing/2014/main" id="{CA1E2EBC-EEBD-9B6A-0B9C-1438DD81670B}"/>
              </a:ext>
            </a:extLst>
          </p:cNvPr>
          <p:cNvGrpSpPr/>
          <p:nvPr/>
        </p:nvGrpSpPr>
        <p:grpSpPr>
          <a:xfrm>
            <a:off x="5746649" y="5184360"/>
            <a:ext cx="679181" cy="611084"/>
            <a:chOff x="5746649" y="5184360"/>
            <a:chExt cx="679181" cy="611084"/>
          </a:xfrm>
          <a:noFill/>
        </p:grpSpPr>
        <p:grpSp>
          <p:nvGrpSpPr>
            <p:cNvPr id="227" name="Gráfico 4">
              <a:extLst>
                <a:ext uri="{FF2B5EF4-FFF2-40B4-BE49-F238E27FC236}">
                  <a16:creationId xmlns:a16="http://schemas.microsoft.com/office/drawing/2014/main" id="{D37B87C7-EF36-8969-E752-1D8DFB71048A}"/>
                </a:ext>
              </a:extLst>
            </p:cNvPr>
            <p:cNvGrpSpPr/>
            <p:nvPr/>
          </p:nvGrpSpPr>
          <p:grpSpPr>
            <a:xfrm>
              <a:off x="5746649" y="5200746"/>
              <a:ext cx="352440" cy="325317"/>
              <a:chOff x="5746649" y="5200746"/>
              <a:chExt cx="352440" cy="325317"/>
            </a:xfrm>
            <a:noFill/>
          </p:grpSpPr>
          <p:sp>
            <p:nvSpPr>
              <p:cNvPr id="228" name="Forma livre: Forma 227">
                <a:extLst>
                  <a:ext uri="{FF2B5EF4-FFF2-40B4-BE49-F238E27FC236}">
                    <a16:creationId xmlns:a16="http://schemas.microsoft.com/office/drawing/2014/main" id="{B4CD3BFF-D1EA-7839-3C94-7631BF1C77DE}"/>
                  </a:ext>
                </a:extLst>
              </p:cNvPr>
              <p:cNvSpPr/>
              <p:nvPr/>
            </p:nvSpPr>
            <p:spPr>
              <a:xfrm>
                <a:off x="5746649" y="5200746"/>
                <a:ext cx="352440" cy="292140"/>
              </a:xfrm>
              <a:custGeom>
                <a:avLst/>
                <a:gdLst>
                  <a:gd name="connsiteX0" fmla="*/ 104793 w 352440"/>
                  <a:gd name="connsiteY0" fmla="*/ 105774 h 292140"/>
                  <a:gd name="connsiteX1" fmla="*/ 86812 w 352440"/>
                  <a:gd name="connsiteY1" fmla="*/ 144237 h 292140"/>
                  <a:gd name="connsiteX2" fmla="*/ 105312 w 352440"/>
                  <a:gd name="connsiteY2" fmla="*/ 178877 h 292140"/>
                  <a:gd name="connsiteX3" fmla="*/ 253712 w 352440"/>
                  <a:gd name="connsiteY3" fmla="*/ 211534 h 292140"/>
                  <a:gd name="connsiteX4" fmla="*/ 252107 w 352440"/>
                  <a:gd name="connsiteY4" fmla="*/ 210119 h 292140"/>
                  <a:gd name="connsiteX5" fmla="*/ 128437 w 352440"/>
                  <a:gd name="connsiteY5" fmla="*/ 26772 h 292140"/>
                  <a:gd name="connsiteX6" fmla="*/ 84004 w 352440"/>
                  <a:gd name="connsiteY6" fmla="*/ 108 h 292140"/>
                  <a:gd name="connsiteX7" fmla="*/ 43607 w 352440"/>
                  <a:gd name="connsiteY7" fmla="*/ 40836 h 292140"/>
                  <a:gd name="connsiteX8" fmla="*/ 43512 w 352440"/>
                  <a:gd name="connsiteY8" fmla="*/ 44115 h 292140"/>
                  <a:gd name="connsiteX9" fmla="*/ 0 w 352440"/>
                  <a:gd name="connsiteY9" fmla="*/ 62639 h 292140"/>
                  <a:gd name="connsiteX10" fmla="*/ 41955 w 352440"/>
                  <a:gd name="connsiteY10" fmla="*/ 86543 h 292140"/>
                  <a:gd name="connsiteX11" fmla="*/ 39808 w 352440"/>
                  <a:gd name="connsiteY11" fmla="*/ 114906 h 292140"/>
                  <a:gd name="connsiteX12" fmla="*/ 231696 w 352440"/>
                  <a:gd name="connsiteY12" fmla="*/ 259554 h 292140"/>
                  <a:gd name="connsiteX13" fmla="*/ 278111 w 352440"/>
                  <a:gd name="connsiteY13" fmla="*/ 292141 h 292140"/>
                  <a:gd name="connsiteX14" fmla="*/ 352441 w 352440"/>
                  <a:gd name="connsiteY14" fmla="*/ 284590 h 292140"/>
                  <a:gd name="connsiteX15" fmla="*/ 321411 w 352440"/>
                  <a:gd name="connsiteY15" fmla="*/ 263046 h 292140"/>
                  <a:gd name="connsiteX16" fmla="*/ 292482 w 352440"/>
                  <a:gd name="connsiteY16" fmla="*/ 242776 h 2921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352440" h="292140">
                    <a:moveTo>
                      <a:pt x="104793" y="105774"/>
                    </a:moveTo>
                    <a:cubicBezTo>
                      <a:pt x="93254" y="114552"/>
                      <a:pt x="86081" y="128663"/>
                      <a:pt x="86812" y="144237"/>
                    </a:cubicBezTo>
                    <a:cubicBezTo>
                      <a:pt x="87449" y="158513"/>
                      <a:pt x="94623" y="170972"/>
                      <a:pt x="105312" y="178877"/>
                    </a:cubicBezTo>
                    <a:cubicBezTo>
                      <a:pt x="105312" y="178877"/>
                      <a:pt x="150783" y="221563"/>
                      <a:pt x="253712" y="211534"/>
                    </a:cubicBezTo>
                    <a:lnTo>
                      <a:pt x="252107" y="210119"/>
                    </a:lnTo>
                    <a:cubicBezTo>
                      <a:pt x="143374" y="113891"/>
                      <a:pt x="128437" y="26772"/>
                      <a:pt x="128437" y="26772"/>
                    </a:cubicBezTo>
                    <a:cubicBezTo>
                      <a:pt x="120414" y="-3196"/>
                      <a:pt x="84004" y="108"/>
                      <a:pt x="84004" y="108"/>
                    </a:cubicBezTo>
                    <a:cubicBezTo>
                      <a:pt x="52880" y="108"/>
                      <a:pt x="44645" y="24389"/>
                      <a:pt x="43607" y="40836"/>
                    </a:cubicBezTo>
                    <a:lnTo>
                      <a:pt x="43512" y="44115"/>
                    </a:lnTo>
                    <a:lnTo>
                      <a:pt x="0" y="62639"/>
                    </a:lnTo>
                    <a:lnTo>
                      <a:pt x="41955" y="86543"/>
                    </a:lnTo>
                    <a:lnTo>
                      <a:pt x="39808" y="114906"/>
                    </a:lnTo>
                    <a:cubicBezTo>
                      <a:pt x="15196" y="310428"/>
                      <a:pt x="231696" y="259554"/>
                      <a:pt x="231696" y="259554"/>
                    </a:cubicBezTo>
                    <a:lnTo>
                      <a:pt x="278111" y="292141"/>
                    </a:lnTo>
                    <a:lnTo>
                      <a:pt x="352441" y="284590"/>
                    </a:lnTo>
                    <a:lnTo>
                      <a:pt x="321411" y="263046"/>
                    </a:lnTo>
                    <a:cubicBezTo>
                      <a:pt x="311264" y="256297"/>
                      <a:pt x="301613" y="249549"/>
                      <a:pt x="292482" y="242776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29" name="Forma livre: Forma 228">
                <a:extLst>
                  <a:ext uri="{FF2B5EF4-FFF2-40B4-BE49-F238E27FC236}">
                    <a16:creationId xmlns:a16="http://schemas.microsoft.com/office/drawing/2014/main" id="{E9F3581C-BC83-31C3-54DF-7F00B8B5F37D}"/>
                  </a:ext>
                </a:extLst>
              </p:cNvPr>
              <p:cNvSpPr/>
              <p:nvPr/>
            </p:nvSpPr>
            <p:spPr>
              <a:xfrm>
                <a:off x="5859536" y="5464099"/>
                <a:ext cx="23927" cy="60478"/>
              </a:xfrm>
              <a:custGeom>
                <a:avLst/>
                <a:gdLst>
                  <a:gd name="connsiteX0" fmla="*/ 23927 w 23927"/>
                  <a:gd name="connsiteY0" fmla="*/ 0 h 60478"/>
                  <a:gd name="connsiteX1" fmla="*/ 0 w 23927"/>
                  <a:gd name="connsiteY1" fmla="*/ 60478 h 604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3927" h="60478">
                    <a:moveTo>
                      <a:pt x="23927" y="0"/>
                    </a:moveTo>
                    <a:lnTo>
                      <a:pt x="0" y="60478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30" name="Forma livre: Forma 229">
                <a:extLst>
                  <a:ext uri="{FF2B5EF4-FFF2-40B4-BE49-F238E27FC236}">
                    <a16:creationId xmlns:a16="http://schemas.microsoft.com/office/drawing/2014/main" id="{59047BC7-FC3C-8EBD-D001-4140E04CC0D5}"/>
                  </a:ext>
                </a:extLst>
              </p:cNvPr>
              <p:cNvSpPr/>
              <p:nvPr/>
            </p:nvSpPr>
            <p:spPr>
              <a:xfrm>
                <a:off x="5910599" y="5467072"/>
                <a:ext cx="22747" cy="56962"/>
              </a:xfrm>
              <a:custGeom>
                <a:avLst/>
                <a:gdLst>
                  <a:gd name="connsiteX0" fmla="*/ 22747 w 22747"/>
                  <a:gd name="connsiteY0" fmla="*/ 0 h 56962"/>
                  <a:gd name="connsiteX1" fmla="*/ 0 w 22747"/>
                  <a:gd name="connsiteY1" fmla="*/ 56963 h 569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2747" h="56962">
                    <a:moveTo>
                      <a:pt x="22747" y="0"/>
                    </a:moveTo>
                    <a:lnTo>
                      <a:pt x="0" y="56963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31" name="Forma livre: Forma 230">
                <a:extLst>
                  <a:ext uri="{FF2B5EF4-FFF2-40B4-BE49-F238E27FC236}">
                    <a16:creationId xmlns:a16="http://schemas.microsoft.com/office/drawing/2014/main" id="{8C1A2A3C-3254-0E93-EC9D-C1C420AE9EB0}"/>
                  </a:ext>
                </a:extLst>
              </p:cNvPr>
              <p:cNvSpPr/>
              <p:nvPr/>
            </p:nvSpPr>
            <p:spPr>
              <a:xfrm>
                <a:off x="5838559" y="5526064"/>
                <a:ext cx="103566" cy="2359"/>
              </a:xfrm>
              <a:custGeom>
                <a:avLst/>
                <a:gdLst>
                  <a:gd name="connsiteX0" fmla="*/ 0 w 103566"/>
                  <a:gd name="connsiteY0" fmla="*/ 0 h 2359"/>
                  <a:gd name="connsiteX1" fmla="*/ 103566 w 103566"/>
                  <a:gd name="connsiteY1" fmla="*/ 0 h 23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03566" h="2359">
                    <a:moveTo>
                      <a:pt x="0" y="0"/>
                    </a:moveTo>
                    <a:lnTo>
                      <a:pt x="103566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232" name="Forma livre: Forma 231">
              <a:extLst>
                <a:ext uri="{FF2B5EF4-FFF2-40B4-BE49-F238E27FC236}">
                  <a16:creationId xmlns:a16="http://schemas.microsoft.com/office/drawing/2014/main" id="{6CF1E37A-F906-9B0B-7C6B-53D6B58EFD73}"/>
                </a:ext>
              </a:extLst>
            </p:cNvPr>
            <p:cNvSpPr/>
            <p:nvPr/>
          </p:nvSpPr>
          <p:spPr>
            <a:xfrm>
              <a:off x="6175473" y="5217372"/>
              <a:ext cx="51653" cy="73598"/>
            </a:xfrm>
            <a:custGeom>
              <a:avLst/>
              <a:gdLst>
                <a:gd name="connsiteX0" fmla="*/ 0 w 51653"/>
                <a:gd name="connsiteY0" fmla="*/ 73598 h 73598"/>
                <a:gd name="connsiteX1" fmla="*/ 51653 w 51653"/>
                <a:gd name="connsiteY1" fmla="*/ 0 h 735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1653" h="73598">
                  <a:moveTo>
                    <a:pt x="0" y="73598"/>
                  </a:moveTo>
                  <a:cubicBezTo>
                    <a:pt x="0" y="30864"/>
                    <a:pt x="51653" y="0"/>
                    <a:pt x="51653" y="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33" name="Forma livre: Forma 232">
              <a:extLst>
                <a:ext uri="{FF2B5EF4-FFF2-40B4-BE49-F238E27FC236}">
                  <a16:creationId xmlns:a16="http://schemas.microsoft.com/office/drawing/2014/main" id="{E2802009-C763-92C6-C8D2-46DB2F9DB99C}"/>
                </a:ext>
              </a:extLst>
            </p:cNvPr>
            <p:cNvSpPr/>
            <p:nvPr/>
          </p:nvSpPr>
          <p:spPr>
            <a:xfrm>
              <a:off x="6227315" y="5217372"/>
              <a:ext cx="51629" cy="73598"/>
            </a:xfrm>
            <a:custGeom>
              <a:avLst/>
              <a:gdLst>
                <a:gd name="connsiteX0" fmla="*/ 51630 w 51629"/>
                <a:gd name="connsiteY0" fmla="*/ 73598 h 73598"/>
                <a:gd name="connsiteX1" fmla="*/ 0 w 51629"/>
                <a:gd name="connsiteY1" fmla="*/ 0 h 735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1629" h="73598">
                  <a:moveTo>
                    <a:pt x="51630" y="73598"/>
                  </a:moveTo>
                  <a:cubicBezTo>
                    <a:pt x="51630" y="30864"/>
                    <a:pt x="0" y="0"/>
                    <a:pt x="0" y="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34" name="Forma livre: Forma 233">
              <a:extLst>
                <a:ext uri="{FF2B5EF4-FFF2-40B4-BE49-F238E27FC236}">
                  <a16:creationId xmlns:a16="http://schemas.microsoft.com/office/drawing/2014/main" id="{49C0C22D-1348-F2C9-265C-8D67E242D78F}"/>
                </a:ext>
              </a:extLst>
            </p:cNvPr>
            <p:cNvSpPr/>
            <p:nvPr/>
          </p:nvSpPr>
          <p:spPr>
            <a:xfrm>
              <a:off x="6164312" y="5334742"/>
              <a:ext cx="128814" cy="184101"/>
            </a:xfrm>
            <a:custGeom>
              <a:avLst/>
              <a:gdLst>
                <a:gd name="connsiteX0" fmla="*/ 0 w 128814"/>
                <a:gd name="connsiteY0" fmla="*/ 77633 h 184101"/>
                <a:gd name="connsiteX1" fmla="*/ 63923 w 128814"/>
                <a:gd name="connsiteY1" fmla="*/ 184102 h 184101"/>
                <a:gd name="connsiteX2" fmla="*/ 64160 w 128814"/>
                <a:gd name="connsiteY2" fmla="*/ 184102 h 184101"/>
                <a:gd name="connsiteX3" fmla="*/ 128814 w 128814"/>
                <a:gd name="connsiteY3" fmla="*/ 67557 h 184101"/>
                <a:gd name="connsiteX4" fmla="*/ 94953 w 128814"/>
                <a:gd name="connsiteY4" fmla="*/ 0 h 1841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8814" h="184101">
                  <a:moveTo>
                    <a:pt x="0" y="77633"/>
                  </a:moveTo>
                  <a:cubicBezTo>
                    <a:pt x="5923" y="120721"/>
                    <a:pt x="45943" y="184102"/>
                    <a:pt x="63923" y="184102"/>
                  </a:cubicBezTo>
                  <a:lnTo>
                    <a:pt x="64160" y="184102"/>
                  </a:lnTo>
                  <a:cubicBezTo>
                    <a:pt x="83580" y="184102"/>
                    <a:pt x="128814" y="109984"/>
                    <a:pt x="128814" y="67557"/>
                  </a:cubicBezTo>
                  <a:cubicBezTo>
                    <a:pt x="128814" y="38368"/>
                    <a:pt x="115128" y="13002"/>
                    <a:pt x="94953" y="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235" name="Gráfico 4">
              <a:extLst>
                <a:ext uri="{FF2B5EF4-FFF2-40B4-BE49-F238E27FC236}">
                  <a16:creationId xmlns:a16="http://schemas.microsoft.com/office/drawing/2014/main" id="{379E2B92-22B5-5ADD-44C5-D17C0E14090B}"/>
                </a:ext>
              </a:extLst>
            </p:cNvPr>
            <p:cNvGrpSpPr/>
            <p:nvPr/>
          </p:nvGrpSpPr>
          <p:grpSpPr>
            <a:xfrm>
              <a:off x="6168488" y="5184360"/>
              <a:ext cx="119965" cy="39477"/>
              <a:chOff x="6168488" y="5184360"/>
              <a:chExt cx="119965" cy="39477"/>
            </a:xfrm>
          </p:grpSpPr>
          <p:sp>
            <p:nvSpPr>
              <p:cNvPr id="236" name="Forma livre: Forma 235">
                <a:extLst>
                  <a:ext uri="{FF2B5EF4-FFF2-40B4-BE49-F238E27FC236}">
                    <a16:creationId xmlns:a16="http://schemas.microsoft.com/office/drawing/2014/main" id="{42E16686-637D-1DB1-7D03-3D8EBBFC2AFC}"/>
                  </a:ext>
                </a:extLst>
              </p:cNvPr>
              <p:cNvSpPr/>
              <p:nvPr/>
            </p:nvSpPr>
            <p:spPr>
              <a:xfrm>
                <a:off x="6168488" y="5185280"/>
                <a:ext cx="40208" cy="38557"/>
              </a:xfrm>
              <a:custGeom>
                <a:avLst/>
                <a:gdLst>
                  <a:gd name="connsiteX0" fmla="*/ 40209 w 40208"/>
                  <a:gd name="connsiteY0" fmla="*/ 38557 h 38557"/>
                  <a:gd name="connsiteX1" fmla="*/ 0 w 40208"/>
                  <a:gd name="connsiteY1" fmla="*/ 0 h 385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0208" h="38557">
                    <a:moveTo>
                      <a:pt x="40209" y="38557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37" name="Forma livre: Forma 236">
                <a:extLst>
                  <a:ext uri="{FF2B5EF4-FFF2-40B4-BE49-F238E27FC236}">
                    <a16:creationId xmlns:a16="http://schemas.microsoft.com/office/drawing/2014/main" id="{48B96D0D-DECD-ADBA-9F82-69F85B9291EE}"/>
                  </a:ext>
                </a:extLst>
              </p:cNvPr>
              <p:cNvSpPr/>
              <p:nvPr/>
            </p:nvSpPr>
            <p:spPr>
              <a:xfrm>
                <a:off x="6248245" y="5184360"/>
                <a:ext cx="40208" cy="38580"/>
              </a:xfrm>
              <a:custGeom>
                <a:avLst/>
                <a:gdLst>
                  <a:gd name="connsiteX0" fmla="*/ 0 w 40208"/>
                  <a:gd name="connsiteY0" fmla="*/ 38581 h 38580"/>
                  <a:gd name="connsiteX1" fmla="*/ 40209 w 40208"/>
                  <a:gd name="connsiteY1" fmla="*/ 0 h 385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0208" h="38580">
                    <a:moveTo>
                      <a:pt x="0" y="38581"/>
                    </a:moveTo>
                    <a:lnTo>
                      <a:pt x="40209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238" name="Forma livre: Forma 237">
              <a:extLst>
                <a:ext uri="{FF2B5EF4-FFF2-40B4-BE49-F238E27FC236}">
                  <a16:creationId xmlns:a16="http://schemas.microsoft.com/office/drawing/2014/main" id="{29C76D72-FB80-B0BA-EB10-A8A3B089E0FA}"/>
                </a:ext>
              </a:extLst>
            </p:cNvPr>
            <p:cNvSpPr/>
            <p:nvPr/>
          </p:nvSpPr>
          <p:spPr>
            <a:xfrm>
              <a:off x="6216154" y="5404942"/>
              <a:ext cx="74353" cy="2359"/>
            </a:xfrm>
            <a:custGeom>
              <a:avLst/>
              <a:gdLst>
                <a:gd name="connsiteX0" fmla="*/ 0 w 74353"/>
                <a:gd name="connsiteY0" fmla="*/ 0 h 2359"/>
                <a:gd name="connsiteX1" fmla="*/ 74353 w 74353"/>
                <a:gd name="connsiteY1" fmla="*/ 0 h 23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4353" h="2359">
                  <a:moveTo>
                    <a:pt x="0" y="0"/>
                  </a:moveTo>
                  <a:lnTo>
                    <a:pt x="74353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39" name="Forma livre: Forma 238">
              <a:extLst>
                <a:ext uri="{FF2B5EF4-FFF2-40B4-BE49-F238E27FC236}">
                  <a16:creationId xmlns:a16="http://schemas.microsoft.com/office/drawing/2014/main" id="{AE85AE43-AE24-4EB9-0DC0-B6401AA22E00}"/>
                </a:ext>
              </a:extLst>
            </p:cNvPr>
            <p:cNvSpPr/>
            <p:nvPr/>
          </p:nvSpPr>
          <p:spPr>
            <a:xfrm>
              <a:off x="6228306" y="5447086"/>
              <a:ext cx="47122" cy="2359"/>
            </a:xfrm>
            <a:custGeom>
              <a:avLst/>
              <a:gdLst>
                <a:gd name="connsiteX0" fmla="*/ 0 w 47122"/>
                <a:gd name="connsiteY0" fmla="*/ 0 h 2359"/>
                <a:gd name="connsiteX1" fmla="*/ 47123 w 47122"/>
                <a:gd name="connsiteY1" fmla="*/ 0 h 23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7122" h="2359">
                  <a:moveTo>
                    <a:pt x="0" y="0"/>
                  </a:moveTo>
                  <a:lnTo>
                    <a:pt x="47123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240" name="Gráfico 4">
              <a:extLst>
                <a:ext uri="{FF2B5EF4-FFF2-40B4-BE49-F238E27FC236}">
                  <a16:creationId xmlns:a16="http://schemas.microsoft.com/office/drawing/2014/main" id="{6456250E-DC82-17DB-184B-78F64B781947}"/>
                </a:ext>
              </a:extLst>
            </p:cNvPr>
            <p:cNvGrpSpPr/>
            <p:nvPr/>
          </p:nvGrpSpPr>
          <p:grpSpPr>
            <a:xfrm>
              <a:off x="6031140" y="5279379"/>
              <a:ext cx="394690" cy="112013"/>
              <a:chOff x="6031140" y="5279379"/>
              <a:chExt cx="394690" cy="112013"/>
            </a:xfrm>
            <a:noFill/>
          </p:grpSpPr>
          <p:sp>
            <p:nvSpPr>
              <p:cNvPr id="241" name="Forma livre: Forma 240">
                <a:extLst>
                  <a:ext uri="{FF2B5EF4-FFF2-40B4-BE49-F238E27FC236}">
                    <a16:creationId xmlns:a16="http://schemas.microsoft.com/office/drawing/2014/main" id="{44966E29-CE2B-2B22-9811-A26500F0F95B}"/>
                  </a:ext>
                </a:extLst>
              </p:cNvPr>
              <p:cNvSpPr/>
              <p:nvPr/>
            </p:nvSpPr>
            <p:spPr>
              <a:xfrm>
                <a:off x="6231350" y="5279379"/>
                <a:ext cx="194480" cy="112013"/>
              </a:xfrm>
              <a:custGeom>
                <a:avLst/>
                <a:gdLst>
                  <a:gd name="connsiteX0" fmla="*/ 146253 w 194480"/>
                  <a:gd name="connsiteY0" fmla="*/ 264 h 112013"/>
                  <a:gd name="connsiteX1" fmla="*/ 0 w 194480"/>
                  <a:gd name="connsiteY1" fmla="*/ 37240 h 112013"/>
                  <a:gd name="connsiteX2" fmla="*/ 134454 w 194480"/>
                  <a:gd name="connsiteY2" fmla="*/ 111546 h 112013"/>
                  <a:gd name="connsiteX3" fmla="*/ 194154 w 194480"/>
                  <a:gd name="connsiteY3" fmla="*/ 63079 h 112013"/>
                  <a:gd name="connsiteX4" fmla="*/ 146253 w 194480"/>
                  <a:gd name="connsiteY4" fmla="*/ 264 h 1120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94480" h="112013">
                    <a:moveTo>
                      <a:pt x="146253" y="264"/>
                    </a:moveTo>
                    <a:cubicBezTo>
                      <a:pt x="116544" y="-3653"/>
                      <a:pt x="0" y="37240"/>
                      <a:pt x="0" y="37240"/>
                    </a:cubicBezTo>
                    <a:cubicBezTo>
                      <a:pt x="0" y="37240"/>
                      <a:pt x="104722" y="107582"/>
                      <a:pt x="134454" y="111546"/>
                    </a:cubicBezTo>
                    <a:cubicBezTo>
                      <a:pt x="164162" y="115511"/>
                      <a:pt x="190898" y="93802"/>
                      <a:pt x="194154" y="63079"/>
                    </a:cubicBezTo>
                    <a:cubicBezTo>
                      <a:pt x="197410" y="32356"/>
                      <a:pt x="175961" y="4252"/>
                      <a:pt x="146253" y="264"/>
                    </a:cubicBezTo>
                    <a:close/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42" name="Forma livre: Forma 241">
                <a:extLst>
                  <a:ext uri="{FF2B5EF4-FFF2-40B4-BE49-F238E27FC236}">
                    <a16:creationId xmlns:a16="http://schemas.microsoft.com/office/drawing/2014/main" id="{12BC1CAF-FBF8-970C-157D-D45341B82753}"/>
                  </a:ext>
                </a:extLst>
              </p:cNvPr>
              <p:cNvSpPr/>
              <p:nvPr/>
            </p:nvSpPr>
            <p:spPr>
              <a:xfrm>
                <a:off x="6031140" y="5279379"/>
                <a:ext cx="194476" cy="112013"/>
              </a:xfrm>
              <a:custGeom>
                <a:avLst/>
                <a:gdLst>
                  <a:gd name="connsiteX0" fmla="*/ 48224 w 194476"/>
                  <a:gd name="connsiteY0" fmla="*/ 264 h 112013"/>
                  <a:gd name="connsiteX1" fmla="*/ 194476 w 194476"/>
                  <a:gd name="connsiteY1" fmla="*/ 37240 h 112013"/>
                  <a:gd name="connsiteX2" fmla="*/ 60022 w 194476"/>
                  <a:gd name="connsiteY2" fmla="*/ 111546 h 112013"/>
                  <a:gd name="connsiteX3" fmla="*/ 322 w 194476"/>
                  <a:gd name="connsiteY3" fmla="*/ 63079 h 112013"/>
                  <a:gd name="connsiteX4" fmla="*/ 48247 w 194476"/>
                  <a:gd name="connsiteY4" fmla="*/ 264 h 1120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94476" h="112013">
                    <a:moveTo>
                      <a:pt x="48224" y="264"/>
                    </a:moveTo>
                    <a:cubicBezTo>
                      <a:pt x="77932" y="-3653"/>
                      <a:pt x="194476" y="37240"/>
                      <a:pt x="194476" y="37240"/>
                    </a:cubicBezTo>
                    <a:cubicBezTo>
                      <a:pt x="194476" y="37240"/>
                      <a:pt x="89754" y="107582"/>
                      <a:pt x="60022" y="111546"/>
                    </a:cubicBezTo>
                    <a:cubicBezTo>
                      <a:pt x="30314" y="115511"/>
                      <a:pt x="3579" y="93802"/>
                      <a:pt x="322" y="63079"/>
                    </a:cubicBezTo>
                    <a:cubicBezTo>
                      <a:pt x="-2910" y="32356"/>
                      <a:pt x="18539" y="4252"/>
                      <a:pt x="48247" y="264"/>
                    </a:cubicBezTo>
                    <a:close/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243" name="Forma livre: Forma 242">
              <a:extLst>
                <a:ext uri="{FF2B5EF4-FFF2-40B4-BE49-F238E27FC236}">
                  <a16:creationId xmlns:a16="http://schemas.microsoft.com/office/drawing/2014/main" id="{E26D4BFF-D9AF-B774-B891-CD08930E7BAE}"/>
                </a:ext>
              </a:extLst>
            </p:cNvPr>
            <p:cNvSpPr/>
            <p:nvPr/>
          </p:nvSpPr>
          <p:spPr>
            <a:xfrm>
              <a:off x="5942880" y="5542747"/>
              <a:ext cx="313718" cy="252697"/>
            </a:xfrm>
            <a:custGeom>
              <a:avLst/>
              <a:gdLst>
                <a:gd name="connsiteX0" fmla="*/ 313719 w 313718"/>
                <a:gd name="connsiteY0" fmla="*/ 130537 h 252697"/>
                <a:gd name="connsiteX1" fmla="*/ 221101 w 313718"/>
                <a:gd name="connsiteY1" fmla="*/ 53399 h 252697"/>
                <a:gd name="connsiteX2" fmla="*/ 135752 w 313718"/>
                <a:gd name="connsiteY2" fmla="*/ 0 h 252697"/>
                <a:gd name="connsiteX3" fmla="*/ 132637 w 313718"/>
                <a:gd name="connsiteY3" fmla="*/ 58638 h 252697"/>
                <a:gd name="connsiteX4" fmla="*/ 67510 w 313718"/>
                <a:gd name="connsiteY4" fmla="*/ 104416 h 252697"/>
                <a:gd name="connsiteX5" fmla="*/ 0 w 313718"/>
                <a:gd name="connsiteY5" fmla="*/ 58614 h 252697"/>
                <a:gd name="connsiteX6" fmla="*/ 0 w 313718"/>
                <a:gd name="connsiteY6" fmla="*/ 202460 h 252697"/>
                <a:gd name="connsiteX7" fmla="*/ 67369 w 313718"/>
                <a:gd name="connsiteY7" fmla="*/ 156446 h 252697"/>
                <a:gd name="connsiteX8" fmla="*/ 151114 w 313718"/>
                <a:gd name="connsiteY8" fmla="*/ 206636 h 252697"/>
                <a:gd name="connsiteX9" fmla="*/ 137498 w 313718"/>
                <a:gd name="connsiteY9" fmla="*/ 252697 h 252697"/>
                <a:gd name="connsiteX10" fmla="*/ 210152 w 313718"/>
                <a:gd name="connsiteY10" fmla="*/ 210577 h 252697"/>
                <a:gd name="connsiteX11" fmla="*/ 313695 w 313718"/>
                <a:gd name="connsiteY11" fmla="*/ 130561 h 2526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13718" h="252697">
                  <a:moveTo>
                    <a:pt x="313719" y="130537"/>
                  </a:moveTo>
                  <a:cubicBezTo>
                    <a:pt x="313719" y="117276"/>
                    <a:pt x="274595" y="69823"/>
                    <a:pt x="221101" y="53399"/>
                  </a:cubicBezTo>
                  <a:cubicBezTo>
                    <a:pt x="212961" y="39595"/>
                    <a:pt x="188373" y="6654"/>
                    <a:pt x="135752" y="0"/>
                  </a:cubicBezTo>
                  <a:cubicBezTo>
                    <a:pt x="135752" y="0"/>
                    <a:pt x="143610" y="28127"/>
                    <a:pt x="132637" y="58638"/>
                  </a:cubicBezTo>
                  <a:cubicBezTo>
                    <a:pt x="103802" y="70672"/>
                    <a:pt x="80559" y="87685"/>
                    <a:pt x="67510" y="104416"/>
                  </a:cubicBezTo>
                  <a:cubicBezTo>
                    <a:pt x="42450" y="82352"/>
                    <a:pt x="0" y="58614"/>
                    <a:pt x="0" y="58614"/>
                  </a:cubicBezTo>
                  <a:cubicBezTo>
                    <a:pt x="0" y="58614"/>
                    <a:pt x="44739" y="128932"/>
                    <a:pt x="0" y="202460"/>
                  </a:cubicBezTo>
                  <a:cubicBezTo>
                    <a:pt x="0" y="202460"/>
                    <a:pt x="42262" y="178651"/>
                    <a:pt x="67369" y="156446"/>
                  </a:cubicBezTo>
                  <a:cubicBezTo>
                    <a:pt x="83415" y="177164"/>
                    <a:pt x="112415" y="197080"/>
                    <a:pt x="151114" y="206636"/>
                  </a:cubicBezTo>
                  <a:cubicBezTo>
                    <a:pt x="149415" y="235330"/>
                    <a:pt x="137498" y="252697"/>
                    <a:pt x="137498" y="252697"/>
                  </a:cubicBezTo>
                  <a:cubicBezTo>
                    <a:pt x="177707" y="247624"/>
                    <a:pt x="193493" y="226599"/>
                    <a:pt x="210152" y="210577"/>
                  </a:cubicBezTo>
                  <a:cubicBezTo>
                    <a:pt x="269192" y="197835"/>
                    <a:pt x="313695" y="144671"/>
                    <a:pt x="313695" y="130561"/>
                  </a:cubicBezTo>
                  <a:close/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44" name="Forma livre: Forma 243">
              <a:extLst>
                <a:ext uri="{FF2B5EF4-FFF2-40B4-BE49-F238E27FC236}">
                  <a16:creationId xmlns:a16="http://schemas.microsoft.com/office/drawing/2014/main" id="{17954664-E07E-DFE6-F009-5C46BCE23B54}"/>
                </a:ext>
              </a:extLst>
            </p:cNvPr>
            <p:cNvSpPr/>
            <p:nvPr/>
          </p:nvSpPr>
          <p:spPr>
            <a:xfrm>
              <a:off x="6163880" y="5656294"/>
              <a:ext cx="16925" cy="83225"/>
            </a:xfrm>
            <a:custGeom>
              <a:avLst/>
              <a:gdLst>
                <a:gd name="connsiteX0" fmla="*/ 809 w 16925"/>
                <a:gd name="connsiteY0" fmla="*/ 0 h 83225"/>
                <a:gd name="connsiteX1" fmla="*/ 16925 w 16925"/>
                <a:gd name="connsiteY1" fmla="*/ 83225 h 832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6925" h="83225">
                  <a:moveTo>
                    <a:pt x="809" y="0"/>
                  </a:moveTo>
                  <a:cubicBezTo>
                    <a:pt x="-819" y="16942"/>
                    <a:pt x="-1834" y="54815"/>
                    <a:pt x="16925" y="83225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245" name="Gráfico 4">
            <a:extLst>
              <a:ext uri="{FF2B5EF4-FFF2-40B4-BE49-F238E27FC236}">
                <a16:creationId xmlns:a16="http://schemas.microsoft.com/office/drawing/2014/main" id="{790AD2FE-B5B3-BAC2-97C9-D5F41AF8D5F9}"/>
              </a:ext>
            </a:extLst>
          </p:cNvPr>
          <p:cNvGrpSpPr/>
          <p:nvPr/>
        </p:nvGrpSpPr>
        <p:grpSpPr>
          <a:xfrm>
            <a:off x="4588569" y="5194789"/>
            <a:ext cx="543008" cy="590248"/>
            <a:chOff x="4588569" y="5194789"/>
            <a:chExt cx="543008" cy="590248"/>
          </a:xfrm>
          <a:noFill/>
        </p:grpSpPr>
        <p:sp>
          <p:nvSpPr>
            <p:cNvPr id="246" name="Forma livre: Forma 245">
              <a:extLst>
                <a:ext uri="{FF2B5EF4-FFF2-40B4-BE49-F238E27FC236}">
                  <a16:creationId xmlns:a16="http://schemas.microsoft.com/office/drawing/2014/main" id="{2E6B48BA-B9E7-F5F2-908E-E67984D59187}"/>
                </a:ext>
              </a:extLst>
            </p:cNvPr>
            <p:cNvSpPr/>
            <p:nvPr/>
          </p:nvSpPr>
          <p:spPr>
            <a:xfrm>
              <a:off x="4749593" y="5570747"/>
              <a:ext cx="253782" cy="40571"/>
            </a:xfrm>
            <a:custGeom>
              <a:avLst/>
              <a:gdLst>
                <a:gd name="connsiteX0" fmla="*/ 253783 w 253782"/>
                <a:gd name="connsiteY0" fmla="*/ 40572 h 40571"/>
                <a:gd name="connsiteX1" fmla="*/ 0 w 253782"/>
                <a:gd name="connsiteY1" fmla="*/ 24243 h 405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53782" h="40571">
                  <a:moveTo>
                    <a:pt x="253783" y="40572"/>
                  </a:moveTo>
                  <a:cubicBezTo>
                    <a:pt x="202507" y="9755"/>
                    <a:pt x="111447" y="-24131"/>
                    <a:pt x="0" y="24243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47" name="Forma livre: Forma 246">
              <a:extLst>
                <a:ext uri="{FF2B5EF4-FFF2-40B4-BE49-F238E27FC236}">
                  <a16:creationId xmlns:a16="http://schemas.microsoft.com/office/drawing/2014/main" id="{55AF7AB5-A993-781E-6F16-8B1828FE6614}"/>
                </a:ext>
              </a:extLst>
            </p:cNvPr>
            <p:cNvSpPr/>
            <p:nvPr/>
          </p:nvSpPr>
          <p:spPr>
            <a:xfrm>
              <a:off x="4710706" y="5490480"/>
              <a:ext cx="339958" cy="2359"/>
            </a:xfrm>
            <a:custGeom>
              <a:avLst/>
              <a:gdLst>
                <a:gd name="connsiteX0" fmla="*/ 339958 w 339958"/>
                <a:gd name="connsiteY0" fmla="*/ 0 h 2359"/>
                <a:gd name="connsiteX1" fmla="*/ 0 w 339958"/>
                <a:gd name="connsiteY1" fmla="*/ 0 h 23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39958" h="2359">
                  <a:moveTo>
                    <a:pt x="339958" y="0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48" name="Forma livre: Forma 247">
              <a:extLst>
                <a:ext uri="{FF2B5EF4-FFF2-40B4-BE49-F238E27FC236}">
                  <a16:creationId xmlns:a16="http://schemas.microsoft.com/office/drawing/2014/main" id="{F690586B-9BF8-7271-BDA6-72C8BAC7E3E0}"/>
                </a:ext>
              </a:extLst>
            </p:cNvPr>
            <p:cNvSpPr/>
            <p:nvPr/>
          </p:nvSpPr>
          <p:spPr>
            <a:xfrm>
              <a:off x="4874963" y="5298804"/>
              <a:ext cx="80008" cy="382313"/>
            </a:xfrm>
            <a:custGeom>
              <a:avLst/>
              <a:gdLst>
                <a:gd name="connsiteX0" fmla="*/ 0 w 80008"/>
                <a:gd name="connsiteY0" fmla="*/ 0 h 382313"/>
                <a:gd name="connsiteX1" fmla="*/ 0 w 80008"/>
                <a:gd name="connsiteY1" fmla="*/ 382314 h 3823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0008" h="382313">
                  <a:moveTo>
                    <a:pt x="0" y="0"/>
                  </a:moveTo>
                  <a:cubicBezTo>
                    <a:pt x="0" y="0"/>
                    <a:pt x="180019" y="165106"/>
                    <a:pt x="0" y="382314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49" name="Forma livre: Forma 248">
              <a:extLst>
                <a:ext uri="{FF2B5EF4-FFF2-40B4-BE49-F238E27FC236}">
                  <a16:creationId xmlns:a16="http://schemas.microsoft.com/office/drawing/2014/main" id="{31D969DB-416C-63D0-C2DD-D8BBFFF8D8A7}"/>
                </a:ext>
              </a:extLst>
            </p:cNvPr>
            <p:cNvSpPr/>
            <p:nvPr/>
          </p:nvSpPr>
          <p:spPr>
            <a:xfrm>
              <a:off x="4860097" y="5300692"/>
              <a:ext cx="2359" cy="380921"/>
            </a:xfrm>
            <a:custGeom>
              <a:avLst/>
              <a:gdLst>
                <a:gd name="connsiteX0" fmla="*/ 0 w 2359"/>
                <a:gd name="connsiteY0" fmla="*/ 380922 h 380921"/>
                <a:gd name="connsiteX1" fmla="*/ 0 w 2359"/>
                <a:gd name="connsiteY1" fmla="*/ 0 h 3809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359" h="380921">
                  <a:moveTo>
                    <a:pt x="0" y="380922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50" name="Forma livre: Forma 249">
              <a:extLst>
                <a:ext uri="{FF2B5EF4-FFF2-40B4-BE49-F238E27FC236}">
                  <a16:creationId xmlns:a16="http://schemas.microsoft.com/office/drawing/2014/main" id="{BDE29B75-E8CE-9219-ED3D-FA67CCC5A17C}"/>
                </a:ext>
              </a:extLst>
            </p:cNvPr>
            <p:cNvSpPr/>
            <p:nvPr/>
          </p:nvSpPr>
          <p:spPr>
            <a:xfrm>
              <a:off x="4765222" y="5298804"/>
              <a:ext cx="80008" cy="382313"/>
            </a:xfrm>
            <a:custGeom>
              <a:avLst/>
              <a:gdLst>
                <a:gd name="connsiteX0" fmla="*/ 80009 w 80008"/>
                <a:gd name="connsiteY0" fmla="*/ 0 h 382313"/>
                <a:gd name="connsiteX1" fmla="*/ 80009 w 80008"/>
                <a:gd name="connsiteY1" fmla="*/ 382314 h 3823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0008" h="382313">
                  <a:moveTo>
                    <a:pt x="80009" y="0"/>
                  </a:moveTo>
                  <a:cubicBezTo>
                    <a:pt x="80009" y="0"/>
                    <a:pt x="-100011" y="165106"/>
                    <a:pt x="80009" y="382314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51" name="Forma livre: Forma 250">
              <a:extLst>
                <a:ext uri="{FF2B5EF4-FFF2-40B4-BE49-F238E27FC236}">
                  <a16:creationId xmlns:a16="http://schemas.microsoft.com/office/drawing/2014/main" id="{E2E3CC84-078A-909B-D604-AD8341470132}"/>
                </a:ext>
              </a:extLst>
            </p:cNvPr>
            <p:cNvSpPr/>
            <p:nvPr/>
          </p:nvSpPr>
          <p:spPr>
            <a:xfrm>
              <a:off x="4746101" y="5368933"/>
              <a:ext cx="258785" cy="41488"/>
            </a:xfrm>
            <a:custGeom>
              <a:avLst/>
              <a:gdLst>
                <a:gd name="connsiteX0" fmla="*/ 258785 w 258785"/>
                <a:gd name="connsiteY0" fmla="*/ 0 h 41488"/>
                <a:gd name="connsiteX1" fmla="*/ 0 w 258785"/>
                <a:gd name="connsiteY1" fmla="*/ 15692 h 414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58785" h="41488">
                  <a:moveTo>
                    <a:pt x="258785" y="0"/>
                  </a:moveTo>
                  <a:cubicBezTo>
                    <a:pt x="207297" y="31383"/>
                    <a:pt x="114161" y="66826"/>
                    <a:pt x="0" y="15692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52" name="Forma livre: Forma 251">
              <a:extLst>
                <a:ext uri="{FF2B5EF4-FFF2-40B4-BE49-F238E27FC236}">
                  <a16:creationId xmlns:a16="http://schemas.microsoft.com/office/drawing/2014/main" id="{0A817EF6-DB05-4E19-838B-BFF3FFFBBA0A}"/>
                </a:ext>
              </a:extLst>
            </p:cNvPr>
            <p:cNvSpPr/>
            <p:nvPr/>
          </p:nvSpPr>
          <p:spPr>
            <a:xfrm>
              <a:off x="4667665" y="5298025"/>
              <a:ext cx="384626" cy="384626"/>
            </a:xfrm>
            <a:custGeom>
              <a:avLst/>
              <a:gdLst>
                <a:gd name="connsiteX0" fmla="*/ 384627 w 384626"/>
                <a:gd name="connsiteY0" fmla="*/ 192313 h 384626"/>
                <a:gd name="connsiteX1" fmla="*/ 192313 w 384626"/>
                <a:gd name="connsiteY1" fmla="*/ 384627 h 384626"/>
                <a:gd name="connsiteX2" fmla="*/ 0 w 384626"/>
                <a:gd name="connsiteY2" fmla="*/ 192313 h 384626"/>
                <a:gd name="connsiteX3" fmla="*/ 192313 w 384626"/>
                <a:gd name="connsiteY3" fmla="*/ 0 h 384626"/>
                <a:gd name="connsiteX4" fmla="*/ 384627 w 384626"/>
                <a:gd name="connsiteY4" fmla="*/ 192313 h 3846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84626" h="384626">
                  <a:moveTo>
                    <a:pt x="384627" y="192313"/>
                  </a:moveTo>
                  <a:cubicBezTo>
                    <a:pt x="384627" y="298546"/>
                    <a:pt x="298522" y="384627"/>
                    <a:pt x="192313" y="384627"/>
                  </a:cubicBezTo>
                  <a:cubicBezTo>
                    <a:pt x="86104" y="384627"/>
                    <a:pt x="0" y="298546"/>
                    <a:pt x="0" y="192313"/>
                  </a:cubicBezTo>
                  <a:cubicBezTo>
                    <a:pt x="0" y="86081"/>
                    <a:pt x="86104" y="0"/>
                    <a:pt x="192313" y="0"/>
                  </a:cubicBezTo>
                  <a:cubicBezTo>
                    <a:pt x="298522" y="0"/>
                    <a:pt x="384627" y="86081"/>
                    <a:pt x="384627" y="192313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53" name="Forma livre: Forma 252">
              <a:extLst>
                <a:ext uri="{FF2B5EF4-FFF2-40B4-BE49-F238E27FC236}">
                  <a16:creationId xmlns:a16="http://schemas.microsoft.com/office/drawing/2014/main" id="{321F2C72-CA5B-B28D-E3AB-9FFCBC1D6971}"/>
                </a:ext>
              </a:extLst>
            </p:cNvPr>
            <p:cNvSpPr/>
            <p:nvPr/>
          </p:nvSpPr>
          <p:spPr>
            <a:xfrm>
              <a:off x="4600509" y="5428798"/>
              <a:ext cx="7338" cy="61540"/>
            </a:xfrm>
            <a:custGeom>
              <a:avLst/>
              <a:gdLst>
                <a:gd name="connsiteX0" fmla="*/ 7339 w 7338"/>
                <a:gd name="connsiteY0" fmla="*/ 0 h 61540"/>
                <a:gd name="connsiteX1" fmla="*/ 0 w 7338"/>
                <a:gd name="connsiteY1" fmla="*/ 61540 h 615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338" h="61540">
                  <a:moveTo>
                    <a:pt x="7339" y="0"/>
                  </a:moveTo>
                  <a:cubicBezTo>
                    <a:pt x="2548" y="19727"/>
                    <a:pt x="0" y="40327"/>
                    <a:pt x="0" y="61540"/>
                  </a:cubicBezTo>
                </a:path>
              </a:pathLst>
            </a:custGeom>
            <a:noFill/>
            <a:ln w="6350" cap="sq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54" name="Forma livre: Forma 253">
              <a:extLst>
                <a:ext uri="{FF2B5EF4-FFF2-40B4-BE49-F238E27FC236}">
                  <a16:creationId xmlns:a16="http://schemas.microsoft.com/office/drawing/2014/main" id="{46AF17CE-3484-C09A-7B2F-4BF1EB1502E8}"/>
                </a:ext>
              </a:extLst>
            </p:cNvPr>
            <p:cNvSpPr/>
            <p:nvPr/>
          </p:nvSpPr>
          <p:spPr>
            <a:xfrm>
              <a:off x="4626041" y="5194789"/>
              <a:ext cx="505536" cy="183134"/>
            </a:xfrm>
            <a:custGeom>
              <a:avLst/>
              <a:gdLst>
                <a:gd name="connsiteX0" fmla="*/ 373749 w 505536"/>
                <a:gd name="connsiteY0" fmla="*/ 96582 h 183134"/>
                <a:gd name="connsiteX1" fmla="*/ 425496 w 505536"/>
                <a:gd name="connsiteY1" fmla="*/ 96582 h 183134"/>
                <a:gd name="connsiteX2" fmla="*/ 425496 w 505536"/>
                <a:gd name="connsiteY2" fmla="*/ 130254 h 183134"/>
                <a:gd name="connsiteX3" fmla="*/ 505536 w 505536"/>
                <a:gd name="connsiteY3" fmla="*/ 65127 h 183134"/>
                <a:gd name="connsiteX4" fmla="*/ 425496 w 505536"/>
                <a:gd name="connsiteY4" fmla="*/ 0 h 183134"/>
                <a:gd name="connsiteX5" fmla="*/ 425496 w 505536"/>
                <a:gd name="connsiteY5" fmla="*/ 36079 h 183134"/>
                <a:gd name="connsiteX6" fmla="*/ 233938 w 505536"/>
                <a:gd name="connsiteY6" fmla="*/ 36079 h 183134"/>
                <a:gd name="connsiteX7" fmla="*/ 0 w 505536"/>
                <a:gd name="connsiteY7" fmla="*/ 183134 h 1831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05536" h="183134">
                  <a:moveTo>
                    <a:pt x="373749" y="96582"/>
                  </a:moveTo>
                  <a:lnTo>
                    <a:pt x="425496" y="96582"/>
                  </a:lnTo>
                  <a:lnTo>
                    <a:pt x="425496" y="130254"/>
                  </a:lnTo>
                  <a:lnTo>
                    <a:pt x="505536" y="65127"/>
                  </a:lnTo>
                  <a:lnTo>
                    <a:pt x="425496" y="0"/>
                  </a:lnTo>
                  <a:lnTo>
                    <a:pt x="425496" y="36079"/>
                  </a:lnTo>
                  <a:lnTo>
                    <a:pt x="233938" y="36079"/>
                  </a:lnTo>
                  <a:cubicBezTo>
                    <a:pt x="130915" y="36079"/>
                    <a:pt x="41908" y="96133"/>
                    <a:pt x="0" y="183134"/>
                  </a:cubicBezTo>
                </a:path>
              </a:pathLst>
            </a:custGeom>
            <a:noFill/>
            <a:ln w="6350" cap="sq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55" name="Forma livre: Forma 254">
              <a:extLst>
                <a:ext uri="{FF2B5EF4-FFF2-40B4-BE49-F238E27FC236}">
                  <a16:creationId xmlns:a16="http://schemas.microsoft.com/office/drawing/2014/main" id="{49087C2B-1AE2-B7EA-925D-95AA1F073C9A}"/>
                </a:ext>
              </a:extLst>
            </p:cNvPr>
            <p:cNvSpPr/>
            <p:nvPr/>
          </p:nvSpPr>
          <p:spPr>
            <a:xfrm>
              <a:off x="5112298" y="5489465"/>
              <a:ext cx="7338" cy="61540"/>
            </a:xfrm>
            <a:custGeom>
              <a:avLst/>
              <a:gdLst>
                <a:gd name="connsiteX0" fmla="*/ 0 w 7338"/>
                <a:gd name="connsiteY0" fmla="*/ 61540 h 61540"/>
                <a:gd name="connsiteX1" fmla="*/ 7339 w 7338"/>
                <a:gd name="connsiteY1" fmla="*/ 0 h 615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338" h="61540">
                  <a:moveTo>
                    <a:pt x="0" y="61540"/>
                  </a:moveTo>
                  <a:cubicBezTo>
                    <a:pt x="4790" y="41813"/>
                    <a:pt x="7339" y="21213"/>
                    <a:pt x="7339" y="0"/>
                  </a:cubicBezTo>
                </a:path>
              </a:pathLst>
            </a:custGeom>
            <a:noFill/>
            <a:ln w="6350" cap="sq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56" name="Forma livre: Forma 255">
              <a:extLst>
                <a:ext uri="{FF2B5EF4-FFF2-40B4-BE49-F238E27FC236}">
                  <a16:creationId xmlns:a16="http://schemas.microsoft.com/office/drawing/2014/main" id="{7AC0B1BE-E400-5B67-051A-D28CFB8234C8}"/>
                </a:ext>
              </a:extLst>
            </p:cNvPr>
            <p:cNvSpPr/>
            <p:nvPr/>
          </p:nvSpPr>
          <p:spPr>
            <a:xfrm>
              <a:off x="4588569" y="5601904"/>
              <a:ext cx="505536" cy="183134"/>
            </a:xfrm>
            <a:custGeom>
              <a:avLst/>
              <a:gdLst>
                <a:gd name="connsiteX0" fmla="*/ 131788 w 505536"/>
                <a:gd name="connsiteY0" fmla="*/ 86553 h 183134"/>
                <a:gd name="connsiteX1" fmla="*/ 80040 w 505536"/>
                <a:gd name="connsiteY1" fmla="*/ 86553 h 183134"/>
                <a:gd name="connsiteX2" fmla="*/ 80040 w 505536"/>
                <a:gd name="connsiteY2" fmla="*/ 52880 h 183134"/>
                <a:gd name="connsiteX3" fmla="*/ 0 w 505536"/>
                <a:gd name="connsiteY3" fmla="*/ 118007 h 183134"/>
                <a:gd name="connsiteX4" fmla="*/ 80040 w 505536"/>
                <a:gd name="connsiteY4" fmla="*/ 183134 h 183134"/>
                <a:gd name="connsiteX5" fmla="*/ 80040 w 505536"/>
                <a:gd name="connsiteY5" fmla="*/ 147055 h 183134"/>
                <a:gd name="connsiteX6" fmla="*/ 271598 w 505536"/>
                <a:gd name="connsiteY6" fmla="*/ 147055 h 183134"/>
                <a:gd name="connsiteX7" fmla="*/ 505536 w 505536"/>
                <a:gd name="connsiteY7" fmla="*/ 0 h 1831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05536" h="183134">
                  <a:moveTo>
                    <a:pt x="131788" y="86553"/>
                  </a:moveTo>
                  <a:lnTo>
                    <a:pt x="80040" y="86553"/>
                  </a:lnTo>
                  <a:lnTo>
                    <a:pt x="80040" y="52880"/>
                  </a:lnTo>
                  <a:lnTo>
                    <a:pt x="0" y="118007"/>
                  </a:lnTo>
                  <a:lnTo>
                    <a:pt x="80040" y="183134"/>
                  </a:lnTo>
                  <a:lnTo>
                    <a:pt x="80040" y="147055"/>
                  </a:lnTo>
                  <a:lnTo>
                    <a:pt x="271598" y="147055"/>
                  </a:lnTo>
                  <a:cubicBezTo>
                    <a:pt x="374622" y="147055"/>
                    <a:pt x="463629" y="87001"/>
                    <a:pt x="505536" y="0"/>
                  </a:cubicBezTo>
                </a:path>
              </a:pathLst>
            </a:custGeom>
            <a:noFill/>
            <a:ln w="6350" cap="sq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257" name="Gráfico 4">
            <a:extLst>
              <a:ext uri="{FF2B5EF4-FFF2-40B4-BE49-F238E27FC236}">
                <a16:creationId xmlns:a16="http://schemas.microsoft.com/office/drawing/2014/main" id="{FB5235F3-0902-1081-459A-30EF95342444}"/>
              </a:ext>
            </a:extLst>
          </p:cNvPr>
          <p:cNvGrpSpPr/>
          <p:nvPr/>
        </p:nvGrpSpPr>
        <p:grpSpPr>
          <a:xfrm>
            <a:off x="6974411" y="3103341"/>
            <a:ext cx="675904" cy="620782"/>
            <a:chOff x="6974411" y="3103341"/>
            <a:chExt cx="675904" cy="620782"/>
          </a:xfrm>
          <a:noFill/>
        </p:grpSpPr>
        <p:grpSp>
          <p:nvGrpSpPr>
            <p:cNvPr id="258" name="Gráfico 4">
              <a:extLst>
                <a:ext uri="{FF2B5EF4-FFF2-40B4-BE49-F238E27FC236}">
                  <a16:creationId xmlns:a16="http://schemas.microsoft.com/office/drawing/2014/main" id="{AD6C0A0C-D391-9765-DCDA-0B71374DC4E9}"/>
                </a:ext>
              </a:extLst>
            </p:cNvPr>
            <p:cNvGrpSpPr/>
            <p:nvPr/>
          </p:nvGrpSpPr>
          <p:grpSpPr>
            <a:xfrm>
              <a:off x="7024554" y="3103341"/>
              <a:ext cx="499967" cy="618800"/>
              <a:chOff x="7024554" y="3103341"/>
              <a:chExt cx="499967" cy="618800"/>
            </a:xfrm>
            <a:noFill/>
          </p:grpSpPr>
          <p:sp>
            <p:nvSpPr>
              <p:cNvPr id="259" name="Forma livre: Forma 258">
                <a:extLst>
                  <a:ext uri="{FF2B5EF4-FFF2-40B4-BE49-F238E27FC236}">
                    <a16:creationId xmlns:a16="http://schemas.microsoft.com/office/drawing/2014/main" id="{ABF91610-B5F0-A4CE-9ABE-EE47D6E9384E}"/>
                  </a:ext>
                </a:extLst>
              </p:cNvPr>
              <p:cNvSpPr/>
              <p:nvPr/>
            </p:nvSpPr>
            <p:spPr>
              <a:xfrm>
                <a:off x="7202284" y="3448372"/>
                <a:ext cx="322237" cy="273769"/>
              </a:xfrm>
              <a:custGeom>
                <a:avLst/>
                <a:gdLst>
                  <a:gd name="connsiteX0" fmla="*/ 0 w 322237"/>
                  <a:gd name="connsiteY0" fmla="*/ 51913 h 273769"/>
                  <a:gd name="connsiteX1" fmla="*/ 83108 w 322237"/>
                  <a:gd name="connsiteY1" fmla="*/ 165 h 273769"/>
                  <a:gd name="connsiteX2" fmla="*/ 83108 w 322237"/>
                  <a:gd name="connsiteY2" fmla="*/ 74023 h 273769"/>
                  <a:gd name="connsiteX3" fmla="*/ 202389 w 322237"/>
                  <a:gd name="connsiteY3" fmla="*/ 0 h 273769"/>
                  <a:gd name="connsiteX4" fmla="*/ 202389 w 322237"/>
                  <a:gd name="connsiteY4" fmla="*/ 74778 h 273769"/>
                  <a:gd name="connsiteX5" fmla="*/ 322237 w 322237"/>
                  <a:gd name="connsiteY5" fmla="*/ 637 h 273769"/>
                  <a:gd name="connsiteX6" fmla="*/ 322237 w 322237"/>
                  <a:gd name="connsiteY6" fmla="*/ 273769 h 2737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22237" h="273769">
                    <a:moveTo>
                      <a:pt x="0" y="51913"/>
                    </a:moveTo>
                    <a:lnTo>
                      <a:pt x="83108" y="165"/>
                    </a:lnTo>
                    <a:lnTo>
                      <a:pt x="83108" y="74023"/>
                    </a:lnTo>
                    <a:lnTo>
                      <a:pt x="202389" y="0"/>
                    </a:lnTo>
                    <a:lnTo>
                      <a:pt x="202389" y="74778"/>
                    </a:lnTo>
                    <a:lnTo>
                      <a:pt x="322237" y="637"/>
                    </a:lnTo>
                    <a:lnTo>
                      <a:pt x="322237" y="273769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60" name="Forma livre: Forma 259">
                <a:extLst>
                  <a:ext uri="{FF2B5EF4-FFF2-40B4-BE49-F238E27FC236}">
                    <a16:creationId xmlns:a16="http://schemas.microsoft.com/office/drawing/2014/main" id="{E4CB5EDE-5F42-E3E0-F965-7B744E481817}"/>
                  </a:ext>
                </a:extLst>
              </p:cNvPr>
              <p:cNvSpPr/>
              <p:nvPr/>
            </p:nvSpPr>
            <p:spPr>
              <a:xfrm>
                <a:off x="7214838" y="3598494"/>
                <a:ext cx="52384" cy="2359"/>
              </a:xfrm>
              <a:custGeom>
                <a:avLst/>
                <a:gdLst>
                  <a:gd name="connsiteX0" fmla="*/ 0 w 52384"/>
                  <a:gd name="connsiteY0" fmla="*/ 0 h 2359"/>
                  <a:gd name="connsiteX1" fmla="*/ 52385 w 52384"/>
                  <a:gd name="connsiteY1" fmla="*/ 0 h 23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2384" h="2359">
                    <a:moveTo>
                      <a:pt x="0" y="0"/>
                    </a:moveTo>
                    <a:lnTo>
                      <a:pt x="52385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61" name="Forma livre: Forma 260">
                <a:extLst>
                  <a:ext uri="{FF2B5EF4-FFF2-40B4-BE49-F238E27FC236}">
                    <a16:creationId xmlns:a16="http://schemas.microsoft.com/office/drawing/2014/main" id="{D3F0B9F9-A0BE-4659-4FA4-09E7EBD9D5A1}"/>
                  </a:ext>
                </a:extLst>
              </p:cNvPr>
              <p:cNvSpPr/>
              <p:nvPr/>
            </p:nvSpPr>
            <p:spPr>
              <a:xfrm>
                <a:off x="7317909" y="3598494"/>
                <a:ext cx="52361" cy="2359"/>
              </a:xfrm>
              <a:custGeom>
                <a:avLst/>
                <a:gdLst>
                  <a:gd name="connsiteX0" fmla="*/ 0 w 52361"/>
                  <a:gd name="connsiteY0" fmla="*/ 0 h 2359"/>
                  <a:gd name="connsiteX1" fmla="*/ 52361 w 52361"/>
                  <a:gd name="connsiteY1" fmla="*/ 0 h 23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2361" h="2359">
                    <a:moveTo>
                      <a:pt x="0" y="0"/>
                    </a:moveTo>
                    <a:lnTo>
                      <a:pt x="52361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62" name="Forma livre: Forma 261">
                <a:extLst>
                  <a:ext uri="{FF2B5EF4-FFF2-40B4-BE49-F238E27FC236}">
                    <a16:creationId xmlns:a16="http://schemas.microsoft.com/office/drawing/2014/main" id="{9CC7A81A-C883-C1EC-B0CF-A5B950AE1EFF}"/>
                  </a:ext>
                </a:extLst>
              </p:cNvPr>
              <p:cNvSpPr/>
              <p:nvPr/>
            </p:nvSpPr>
            <p:spPr>
              <a:xfrm>
                <a:off x="7420932" y="3598494"/>
                <a:ext cx="52384" cy="2359"/>
              </a:xfrm>
              <a:custGeom>
                <a:avLst/>
                <a:gdLst>
                  <a:gd name="connsiteX0" fmla="*/ 0 w 52384"/>
                  <a:gd name="connsiteY0" fmla="*/ 0 h 2359"/>
                  <a:gd name="connsiteX1" fmla="*/ 52385 w 52384"/>
                  <a:gd name="connsiteY1" fmla="*/ 0 h 23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2384" h="2359">
                    <a:moveTo>
                      <a:pt x="0" y="0"/>
                    </a:moveTo>
                    <a:lnTo>
                      <a:pt x="52385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63" name="Forma livre: Forma 262">
                <a:extLst>
                  <a:ext uri="{FF2B5EF4-FFF2-40B4-BE49-F238E27FC236}">
                    <a16:creationId xmlns:a16="http://schemas.microsoft.com/office/drawing/2014/main" id="{D94E9870-8015-4DAC-2589-5B90E847A296}"/>
                  </a:ext>
                </a:extLst>
              </p:cNvPr>
              <p:cNvSpPr/>
              <p:nvPr/>
            </p:nvSpPr>
            <p:spPr>
              <a:xfrm>
                <a:off x="7183596" y="3103341"/>
                <a:ext cx="149744" cy="140730"/>
              </a:xfrm>
              <a:custGeom>
                <a:avLst/>
                <a:gdLst>
                  <a:gd name="connsiteX0" fmla="*/ 0 w 149744"/>
                  <a:gd name="connsiteY0" fmla="*/ 56066 h 140730"/>
                  <a:gd name="connsiteX1" fmla="*/ 73527 w 149744"/>
                  <a:gd name="connsiteY1" fmla="*/ 0 h 140730"/>
                  <a:gd name="connsiteX2" fmla="*/ 149745 w 149744"/>
                  <a:gd name="connsiteY2" fmla="*/ 76217 h 140730"/>
                  <a:gd name="connsiteX3" fmla="*/ 114114 w 149744"/>
                  <a:gd name="connsiteY3" fmla="*/ 140731 h 1407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49744" h="140730">
                    <a:moveTo>
                      <a:pt x="0" y="56066"/>
                    </a:moveTo>
                    <a:cubicBezTo>
                      <a:pt x="8825" y="23738"/>
                      <a:pt x="38415" y="0"/>
                      <a:pt x="73527" y="0"/>
                    </a:cubicBezTo>
                    <a:cubicBezTo>
                      <a:pt x="115624" y="0"/>
                      <a:pt x="149745" y="34144"/>
                      <a:pt x="149745" y="76217"/>
                    </a:cubicBezTo>
                    <a:cubicBezTo>
                      <a:pt x="149745" y="103377"/>
                      <a:pt x="135516" y="127234"/>
                      <a:pt x="114114" y="140731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64" name="Forma livre: Forma 263">
                <a:extLst>
                  <a:ext uri="{FF2B5EF4-FFF2-40B4-BE49-F238E27FC236}">
                    <a16:creationId xmlns:a16="http://schemas.microsoft.com/office/drawing/2014/main" id="{BFA1B226-80F8-DD8E-8BCA-DDA449759EC7}"/>
                  </a:ext>
                </a:extLst>
              </p:cNvPr>
              <p:cNvSpPr/>
              <p:nvPr/>
            </p:nvSpPr>
            <p:spPr>
              <a:xfrm>
                <a:off x="7096642" y="3163441"/>
                <a:ext cx="115859" cy="75037"/>
              </a:xfrm>
              <a:custGeom>
                <a:avLst/>
                <a:gdLst>
                  <a:gd name="connsiteX0" fmla="*/ 0 w 115859"/>
                  <a:gd name="connsiteY0" fmla="*/ 75038 h 75037"/>
                  <a:gd name="connsiteX1" fmla="*/ 75037 w 115859"/>
                  <a:gd name="connsiteY1" fmla="*/ 0 h 75037"/>
                  <a:gd name="connsiteX2" fmla="*/ 115860 w 115859"/>
                  <a:gd name="connsiteY2" fmla="*/ 12058 h 750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15859" h="75037">
                    <a:moveTo>
                      <a:pt x="0" y="75038"/>
                    </a:moveTo>
                    <a:cubicBezTo>
                      <a:pt x="0" y="33602"/>
                      <a:pt x="33602" y="0"/>
                      <a:pt x="75037" y="0"/>
                    </a:cubicBezTo>
                    <a:cubicBezTo>
                      <a:pt x="90069" y="0"/>
                      <a:pt x="104109" y="4436"/>
                      <a:pt x="115860" y="12058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65" name="Forma livre: Forma 264">
                <a:extLst>
                  <a:ext uri="{FF2B5EF4-FFF2-40B4-BE49-F238E27FC236}">
                    <a16:creationId xmlns:a16="http://schemas.microsoft.com/office/drawing/2014/main" id="{0178F9B4-BC04-B840-BBFB-A4462A3450DB}"/>
                  </a:ext>
                </a:extLst>
              </p:cNvPr>
              <p:cNvSpPr/>
              <p:nvPr/>
            </p:nvSpPr>
            <p:spPr>
              <a:xfrm>
                <a:off x="7024554" y="3283549"/>
                <a:ext cx="145615" cy="438592"/>
              </a:xfrm>
              <a:custGeom>
                <a:avLst/>
                <a:gdLst>
                  <a:gd name="connsiteX0" fmla="*/ 0 w 145615"/>
                  <a:gd name="connsiteY0" fmla="*/ 401593 h 438592"/>
                  <a:gd name="connsiteX1" fmla="*/ 21827 w 145615"/>
                  <a:gd name="connsiteY1" fmla="*/ 0 h 438592"/>
                  <a:gd name="connsiteX2" fmla="*/ 121783 w 145615"/>
                  <a:gd name="connsiteY2" fmla="*/ 0 h 438592"/>
                  <a:gd name="connsiteX3" fmla="*/ 145615 w 145615"/>
                  <a:gd name="connsiteY3" fmla="*/ 438592 h 4385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45615" h="438592">
                    <a:moveTo>
                      <a:pt x="0" y="401593"/>
                    </a:moveTo>
                    <a:lnTo>
                      <a:pt x="21827" y="0"/>
                    </a:lnTo>
                    <a:lnTo>
                      <a:pt x="121783" y="0"/>
                    </a:lnTo>
                    <a:lnTo>
                      <a:pt x="145615" y="438592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66" name="Forma livre: Forma 265">
                <a:extLst>
                  <a:ext uri="{FF2B5EF4-FFF2-40B4-BE49-F238E27FC236}">
                    <a16:creationId xmlns:a16="http://schemas.microsoft.com/office/drawing/2014/main" id="{F5B647A1-F7EF-9826-FC52-0B1A4CBDB8E5}"/>
                  </a:ext>
                </a:extLst>
              </p:cNvPr>
              <p:cNvSpPr/>
              <p:nvPr/>
            </p:nvSpPr>
            <p:spPr>
              <a:xfrm>
                <a:off x="7080643" y="3344546"/>
                <a:ext cx="66236" cy="2359"/>
              </a:xfrm>
              <a:custGeom>
                <a:avLst/>
                <a:gdLst>
                  <a:gd name="connsiteX0" fmla="*/ 0 w 66236"/>
                  <a:gd name="connsiteY0" fmla="*/ 0 h 2359"/>
                  <a:gd name="connsiteX1" fmla="*/ 66236 w 66236"/>
                  <a:gd name="connsiteY1" fmla="*/ 0 h 23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6236" h="2359">
                    <a:moveTo>
                      <a:pt x="0" y="0"/>
                    </a:moveTo>
                    <a:lnTo>
                      <a:pt x="66236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267" name="Forma livre: Forma 266">
              <a:extLst>
                <a:ext uri="{FF2B5EF4-FFF2-40B4-BE49-F238E27FC236}">
                  <a16:creationId xmlns:a16="http://schemas.microsoft.com/office/drawing/2014/main" id="{4D175276-5C80-B12A-0346-C24FFFF998B7}"/>
                </a:ext>
              </a:extLst>
            </p:cNvPr>
            <p:cNvSpPr/>
            <p:nvPr/>
          </p:nvSpPr>
          <p:spPr>
            <a:xfrm>
              <a:off x="6974411" y="3724123"/>
              <a:ext cx="598436" cy="2359"/>
            </a:xfrm>
            <a:custGeom>
              <a:avLst/>
              <a:gdLst>
                <a:gd name="connsiteX0" fmla="*/ 0 w 598436"/>
                <a:gd name="connsiteY0" fmla="*/ 0 h 2359"/>
                <a:gd name="connsiteX1" fmla="*/ 598437 w 598436"/>
                <a:gd name="connsiteY1" fmla="*/ 0 h 23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98436" h="2359">
                  <a:moveTo>
                    <a:pt x="0" y="0"/>
                  </a:moveTo>
                  <a:lnTo>
                    <a:pt x="598437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68" name="Forma livre: Forma 267">
              <a:extLst>
                <a:ext uri="{FF2B5EF4-FFF2-40B4-BE49-F238E27FC236}">
                  <a16:creationId xmlns:a16="http://schemas.microsoft.com/office/drawing/2014/main" id="{C0D59312-14AF-B8F1-FC1E-4BE6214292BA}"/>
                </a:ext>
              </a:extLst>
            </p:cNvPr>
            <p:cNvSpPr/>
            <p:nvPr/>
          </p:nvSpPr>
          <p:spPr>
            <a:xfrm>
              <a:off x="7617681" y="3724123"/>
              <a:ext cx="32634" cy="2359"/>
            </a:xfrm>
            <a:custGeom>
              <a:avLst/>
              <a:gdLst>
                <a:gd name="connsiteX0" fmla="*/ 0 w 32634"/>
                <a:gd name="connsiteY0" fmla="*/ 0 h 2359"/>
                <a:gd name="connsiteX1" fmla="*/ 32634 w 32634"/>
                <a:gd name="connsiteY1" fmla="*/ 0 h 23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2634" h="2359">
                  <a:moveTo>
                    <a:pt x="0" y="0"/>
                  </a:moveTo>
                  <a:lnTo>
                    <a:pt x="32634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269" name="Gráfico 4">
            <a:extLst>
              <a:ext uri="{FF2B5EF4-FFF2-40B4-BE49-F238E27FC236}">
                <a16:creationId xmlns:a16="http://schemas.microsoft.com/office/drawing/2014/main" id="{A42BD7CD-F02C-90E6-7ACA-1AE56A784D46}"/>
              </a:ext>
            </a:extLst>
          </p:cNvPr>
          <p:cNvGrpSpPr/>
          <p:nvPr/>
        </p:nvGrpSpPr>
        <p:grpSpPr>
          <a:xfrm>
            <a:off x="5793200" y="3109830"/>
            <a:ext cx="586054" cy="607804"/>
            <a:chOff x="5793200" y="3109830"/>
            <a:chExt cx="586054" cy="607804"/>
          </a:xfrm>
          <a:noFill/>
        </p:grpSpPr>
        <p:grpSp>
          <p:nvGrpSpPr>
            <p:cNvPr id="270" name="Gráfico 4">
              <a:extLst>
                <a:ext uri="{FF2B5EF4-FFF2-40B4-BE49-F238E27FC236}">
                  <a16:creationId xmlns:a16="http://schemas.microsoft.com/office/drawing/2014/main" id="{5B61B577-7EDC-A6BB-BDE2-46F8458D37BF}"/>
                </a:ext>
              </a:extLst>
            </p:cNvPr>
            <p:cNvGrpSpPr/>
            <p:nvPr/>
          </p:nvGrpSpPr>
          <p:grpSpPr>
            <a:xfrm>
              <a:off x="6076508" y="3113393"/>
              <a:ext cx="302746" cy="277591"/>
              <a:chOff x="6076508" y="3113393"/>
              <a:chExt cx="302746" cy="277591"/>
            </a:xfrm>
            <a:noFill/>
          </p:grpSpPr>
          <p:sp>
            <p:nvSpPr>
              <p:cNvPr id="271" name="Forma livre: Forma 270">
                <a:extLst>
                  <a:ext uri="{FF2B5EF4-FFF2-40B4-BE49-F238E27FC236}">
                    <a16:creationId xmlns:a16="http://schemas.microsoft.com/office/drawing/2014/main" id="{C9BCE47B-E3E8-6474-AE63-7F3A78C604DD}"/>
                  </a:ext>
                </a:extLst>
              </p:cNvPr>
              <p:cNvSpPr/>
              <p:nvPr/>
            </p:nvSpPr>
            <p:spPr>
              <a:xfrm>
                <a:off x="6160064" y="3113393"/>
                <a:ext cx="219189" cy="208831"/>
              </a:xfrm>
              <a:custGeom>
                <a:avLst/>
                <a:gdLst>
                  <a:gd name="connsiteX0" fmla="*/ 141769 w 219189"/>
                  <a:gd name="connsiteY0" fmla="*/ 208831 h 208831"/>
                  <a:gd name="connsiteX1" fmla="*/ 152624 w 219189"/>
                  <a:gd name="connsiteY1" fmla="*/ 208831 h 208831"/>
                  <a:gd name="connsiteX2" fmla="*/ 219190 w 219189"/>
                  <a:gd name="connsiteY2" fmla="*/ 142217 h 208831"/>
                  <a:gd name="connsiteX3" fmla="*/ 219190 w 219189"/>
                  <a:gd name="connsiteY3" fmla="*/ 139669 h 208831"/>
                  <a:gd name="connsiteX4" fmla="*/ 152624 w 219189"/>
                  <a:gd name="connsiteY4" fmla="*/ 73079 h 208831"/>
                  <a:gd name="connsiteX5" fmla="*/ 135681 w 219189"/>
                  <a:gd name="connsiteY5" fmla="*/ 73079 h 208831"/>
                  <a:gd name="connsiteX6" fmla="*/ 135681 w 219189"/>
                  <a:gd name="connsiteY6" fmla="*/ 67888 h 208831"/>
                  <a:gd name="connsiteX7" fmla="*/ 67841 w 219189"/>
                  <a:gd name="connsiteY7" fmla="*/ 0 h 208831"/>
                  <a:gd name="connsiteX8" fmla="*/ 0 w 219189"/>
                  <a:gd name="connsiteY8" fmla="*/ 67888 h 208831"/>
                  <a:gd name="connsiteX9" fmla="*/ 0 w 219189"/>
                  <a:gd name="connsiteY9" fmla="*/ 72182 h 2088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19189" h="208831">
                    <a:moveTo>
                      <a:pt x="141769" y="208831"/>
                    </a:moveTo>
                    <a:lnTo>
                      <a:pt x="152624" y="208831"/>
                    </a:lnTo>
                    <a:cubicBezTo>
                      <a:pt x="189246" y="208831"/>
                      <a:pt x="219190" y="178863"/>
                      <a:pt x="219190" y="142217"/>
                    </a:cubicBezTo>
                    <a:lnTo>
                      <a:pt x="219190" y="139669"/>
                    </a:lnTo>
                    <a:cubicBezTo>
                      <a:pt x="219190" y="103047"/>
                      <a:pt x="189222" y="73079"/>
                      <a:pt x="152624" y="73079"/>
                    </a:cubicBezTo>
                    <a:lnTo>
                      <a:pt x="135681" y="73079"/>
                    </a:lnTo>
                    <a:lnTo>
                      <a:pt x="135681" y="67888"/>
                    </a:lnTo>
                    <a:cubicBezTo>
                      <a:pt x="135681" y="30393"/>
                      <a:pt x="105312" y="0"/>
                      <a:pt x="67841" y="0"/>
                    </a:cubicBezTo>
                    <a:cubicBezTo>
                      <a:pt x="30369" y="0"/>
                      <a:pt x="0" y="30393"/>
                      <a:pt x="0" y="67888"/>
                    </a:cubicBezTo>
                    <a:lnTo>
                      <a:pt x="0" y="72182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72" name="Forma livre: Forma 271">
                <a:extLst>
                  <a:ext uri="{FF2B5EF4-FFF2-40B4-BE49-F238E27FC236}">
                    <a16:creationId xmlns:a16="http://schemas.microsoft.com/office/drawing/2014/main" id="{5055AE4D-8D59-C45C-AF69-171172A319E8}"/>
                  </a:ext>
                </a:extLst>
              </p:cNvPr>
              <p:cNvSpPr/>
              <p:nvPr/>
            </p:nvSpPr>
            <p:spPr>
              <a:xfrm>
                <a:off x="6076508" y="3186543"/>
                <a:ext cx="112815" cy="135445"/>
              </a:xfrm>
              <a:custGeom>
                <a:avLst/>
                <a:gdLst>
                  <a:gd name="connsiteX0" fmla="*/ 112816 w 112815"/>
                  <a:gd name="connsiteY0" fmla="*/ 20694 h 135445"/>
                  <a:gd name="connsiteX1" fmla="*/ 65245 w 112815"/>
                  <a:gd name="connsiteY1" fmla="*/ 0 h 135445"/>
                  <a:gd name="connsiteX2" fmla="*/ 61941 w 112815"/>
                  <a:gd name="connsiteY2" fmla="*/ 118 h 135445"/>
                  <a:gd name="connsiteX3" fmla="*/ 0 w 112815"/>
                  <a:gd name="connsiteY3" fmla="*/ 66543 h 135445"/>
                  <a:gd name="connsiteX4" fmla="*/ 0 w 112815"/>
                  <a:gd name="connsiteY4" fmla="*/ 69091 h 135445"/>
                  <a:gd name="connsiteX5" fmla="*/ 60832 w 112815"/>
                  <a:gd name="connsiteY5" fmla="*/ 135445 h 1354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12815" h="135445">
                    <a:moveTo>
                      <a:pt x="112816" y="20694"/>
                    </a:moveTo>
                    <a:cubicBezTo>
                      <a:pt x="98682" y="5994"/>
                      <a:pt x="86458" y="0"/>
                      <a:pt x="65245" y="0"/>
                    </a:cubicBezTo>
                    <a:lnTo>
                      <a:pt x="61941" y="118"/>
                    </a:lnTo>
                    <a:cubicBezTo>
                      <a:pt x="27467" y="2525"/>
                      <a:pt x="0" y="31502"/>
                      <a:pt x="0" y="66543"/>
                    </a:cubicBezTo>
                    <a:lnTo>
                      <a:pt x="0" y="69091"/>
                    </a:lnTo>
                    <a:cubicBezTo>
                      <a:pt x="0" y="103778"/>
                      <a:pt x="26877" y="132519"/>
                      <a:pt x="60832" y="135445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73" name="Forma livre: Forma 272">
                <a:extLst>
                  <a:ext uri="{FF2B5EF4-FFF2-40B4-BE49-F238E27FC236}">
                    <a16:creationId xmlns:a16="http://schemas.microsoft.com/office/drawing/2014/main" id="{B4199104-4A29-34FB-B0FC-DE9488D7B3F6}"/>
                  </a:ext>
                </a:extLst>
              </p:cNvPr>
              <p:cNvSpPr/>
              <p:nvPr/>
            </p:nvSpPr>
            <p:spPr>
              <a:xfrm>
                <a:off x="6158601" y="3280576"/>
                <a:ext cx="52290" cy="110409"/>
              </a:xfrm>
              <a:custGeom>
                <a:avLst/>
                <a:gdLst>
                  <a:gd name="connsiteX0" fmla="*/ 52290 w 52290"/>
                  <a:gd name="connsiteY0" fmla="*/ 0 h 110409"/>
                  <a:gd name="connsiteX1" fmla="*/ 0 w 52290"/>
                  <a:gd name="connsiteY1" fmla="*/ 110409 h 1104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2290" h="110409">
                    <a:moveTo>
                      <a:pt x="52290" y="0"/>
                    </a:moveTo>
                    <a:lnTo>
                      <a:pt x="0" y="110409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74" name="Forma livre: Forma 273">
                <a:extLst>
                  <a:ext uri="{FF2B5EF4-FFF2-40B4-BE49-F238E27FC236}">
                    <a16:creationId xmlns:a16="http://schemas.microsoft.com/office/drawing/2014/main" id="{1267C497-3A72-B80C-55DE-06001F971A69}"/>
                  </a:ext>
                </a:extLst>
              </p:cNvPr>
              <p:cNvSpPr/>
              <p:nvPr/>
            </p:nvSpPr>
            <p:spPr>
              <a:xfrm>
                <a:off x="6221486" y="3280576"/>
                <a:ext cx="52290" cy="110409"/>
              </a:xfrm>
              <a:custGeom>
                <a:avLst/>
                <a:gdLst>
                  <a:gd name="connsiteX0" fmla="*/ 52290 w 52290"/>
                  <a:gd name="connsiteY0" fmla="*/ 0 h 110409"/>
                  <a:gd name="connsiteX1" fmla="*/ 0 w 52290"/>
                  <a:gd name="connsiteY1" fmla="*/ 110409 h 1104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2290" h="110409">
                    <a:moveTo>
                      <a:pt x="52290" y="0"/>
                    </a:moveTo>
                    <a:lnTo>
                      <a:pt x="0" y="110409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275" name="Gráfico 4">
              <a:extLst>
                <a:ext uri="{FF2B5EF4-FFF2-40B4-BE49-F238E27FC236}">
                  <a16:creationId xmlns:a16="http://schemas.microsoft.com/office/drawing/2014/main" id="{D9B7BFC1-A20D-A86F-63C5-1B2F5C071787}"/>
                </a:ext>
              </a:extLst>
            </p:cNvPr>
            <p:cNvGrpSpPr/>
            <p:nvPr/>
          </p:nvGrpSpPr>
          <p:grpSpPr>
            <a:xfrm>
              <a:off x="6098005" y="3467721"/>
              <a:ext cx="241866" cy="241842"/>
              <a:chOff x="6098005" y="3467721"/>
              <a:chExt cx="241866" cy="241842"/>
            </a:xfrm>
            <a:noFill/>
          </p:grpSpPr>
          <p:sp>
            <p:nvSpPr>
              <p:cNvPr id="276" name="Forma livre: Forma 275">
                <a:extLst>
                  <a:ext uri="{FF2B5EF4-FFF2-40B4-BE49-F238E27FC236}">
                    <a16:creationId xmlns:a16="http://schemas.microsoft.com/office/drawing/2014/main" id="{B2ED6ACA-A3EB-F04E-188D-AEA38DC608BB}"/>
                  </a:ext>
                </a:extLst>
              </p:cNvPr>
              <p:cNvSpPr/>
              <p:nvPr/>
            </p:nvSpPr>
            <p:spPr>
              <a:xfrm>
                <a:off x="6169148" y="3539313"/>
                <a:ext cx="99107" cy="99059"/>
              </a:xfrm>
              <a:custGeom>
                <a:avLst/>
                <a:gdLst>
                  <a:gd name="connsiteX0" fmla="*/ 0 w 99107"/>
                  <a:gd name="connsiteY0" fmla="*/ 49719 h 99059"/>
                  <a:gd name="connsiteX1" fmla="*/ 49766 w 99107"/>
                  <a:gd name="connsiteY1" fmla="*/ 99059 h 99059"/>
                  <a:gd name="connsiteX2" fmla="*/ 99107 w 99107"/>
                  <a:gd name="connsiteY2" fmla="*/ 49294 h 99059"/>
                  <a:gd name="connsiteX3" fmla="*/ 49341 w 99107"/>
                  <a:gd name="connsiteY3" fmla="*/ 0 h 99059"/>
                  <a:gd name="connsiteX4" fmla="*/ 0 w 99107"/>
                  <a:gd name="connsiteY4" fmla="*/ 49742 h 990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99107" h="99059">
                    <a:moveTo>
                      <a:pt x="0" y="49719"/>
                    </a:moveTo>
                    <a:cubicBezTo>
                      <a:pt x="118" y="77020"/>
                      <a:pt x="22441" y="99178"/>
                      <a:pt x="49766" y="99059"/>
                    </a:cubicBezTo>
                    <a:cubicBezTo>
                      <a:pt x="77091" y="98941"/>
                      <a:pt x="99201" y="76619"/>
                      <a:pt x="99107" y="49294"/>
                    </a:cubicBezTo>
                    <a:cubicBezTo>
                      <a:pt x="98965" y="21992"/>
                      <a:pt x="76643" y="-118"/>
                      <a:pt x="49341" y="0"/>
                    </a:cubicBezTo>
                    <a:cubicBezTo>
                      <a:pt x="22016" y="95"/>
                      <a:pt x="-117" y="22417"/>
                      <a:pt x="0" y="49742"/>
                    </a:cubicBezTo>
                    <a:close/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277" name="Gráfico 4">
                <a:extLst>
                  <a:ext uri="{FF2B5EF4-FFF2-40B4-BE49-F238E27FC236}">
                    <a16:creationId xmlns:a16="http://schemas.microsoft.com/office/drawing/2014/main" id="{153D342C-FF71-6FF2-13CD-1E7BCAE45AF9}"/>
                  </a:ext>
                </a:extLst>
              </p:cNvPr>
              <p:cNvGrpSpPr/>
              <p:nvPr/>
            </p:nvGrpSpPr>
            <p:grpSpPr>
              <a:xfrm>
                <a:off x="6169361" y="3467721"/>
                <a:ext cx="99153" cy="241842"/>
                <a:chOff x="6169361" y="3467721"/>
                <a:chExt cx="99153" cy="241842"/>
              </a:xfrm>
            </p:grpSpPr>
            <p:sp>
              <p:nvSpPr>
                <p:cNvPr id="278" name="Forma livre: Forma 277">
                  <a:extLst>
                    <a:ext uri="{FF2B5EF4-FFF2-40B4-BE49-F238E27FC236}">
                      <a16:creationId xmlns:a16="http://schemas.microsoft.com/office/drawing/2014/main" id="{B261B2B6-7890-3AC8-7711-DDDCAC9CA986}"/>
                    </a:ext>
                  </a:extLst>
                </p:cNvPr>
                <p:cNvSpPr/>
                <p:nvPr/>
              </p:nvSpPr>
              <p:spPr>
                <a:xfrm>
                  <a:off x="6169361" y="3683797"/>
                  <a:ext cx="10807" cy="25767"/>
                </a:xfrm>
                <a:custGeom>
                  <a:avLst/>
                  <a:gdLst>
                    <a:gd name="connsiteX0" fmla="*/ 0 w 10807"/>
                    <a:gd name="connsiteY0" fmla="*/ 25768 h 25767"/>
                    <a:gd name="connsiteX1" fmla="*/ 10807 w 10807"/>
                    <a:gd name="connsiteY1" fmla="*/ 0 h 2576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0807" h="25767">
                      <a:moveTo>
                        <a:pt x="0" y="25768"/>
                      </a:moveTo>
                      <a:lnTo>
                        <a:pt x="10807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79" name="Forma livre: Forma 278">
                  <a:extLst>
                    <a:ext uri="{FF2B5EF4-FFF2-40B4-BE49-F238E27FC236}">
                      <a16:creationId xmlns:a16="http://schemas.microsoft.com/office/drawing/2014/main" id="{014AFF2B-F4A3-9035-531B-95ADD9E5A511}"/>
                    </a:ext>
                  </a:extLst>
                </p:cNvPr>
                <p:cNvSpPr/>
                <p:nvPr/>
              </p:nvSpPr>
              <p:spPr>
                <a:xfrm>
                  <a:off x="6257707" y="3467721"/>
                  <a:ext cx="10807" cy="25744"/>
                </a:xfrm>
                <a:custGeom>
                  <a:avLst/>
                  <a:gdLst>
                    <a:gd name="connsiteX0" fmla="*/ 0 w 10807"/>
                    <a:gd name="connsiteY0" fmla="*/ 25744 h 25744"/>
                    <a:gd name="connsiteX1" fmla="*/ 10807 w 10807"/>
                    <a:gd name="connsiteY1" fmla="*/ 0 h 2574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0807" h="25744">
                      <a:moveTo>
                        <a:pt x="0" y="25744"/>
                      </a:moveTo>
                      <a:lnTo>
                        <a:pt x="10807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280" name="Gráfico 4">
                <a:extLst>
                  <a:ext uri="{FF2B5EF4-FFF2-40B4-BE49-F238E27FC236}">
                    <a16:creationId xmlns:a16="http://schemas.microsoft.com/office/drawing/2014/main" id="{BCA209FE-32E8-09E8-BB65-46C102B0B897}"/>
                  </a:ext>
                </a:extLst>
              </p:cNvPr>
              <p:cNvGrpSpPr/>
              <p:nvPr/>
            </p:nvGrpSpPr>
            <p:grpSpPr>
              <a:xfrm>
                <a:off x="6098359" y="3538158"/>
                <a:ext cx="241111" cy="100923"/>
                <a:chOff x="6098359" y="3538158"/>
                <a:chExt cx="241111" cy="100923"/>
              </a:xfrm>
            </p:grpSpPr>
            <p:sp>
              <p:nvSpPr>
                <p:cNvPr id="281" name="Forma livre: Forma 280">
                  <a:extLst>
                    <a:ext uri="{FF2B5EF4-FFF2-40B4-BE49-F238E27FC236}">
                      <a16:creationId xmlns:a16="http://schemas.microsoft.com/office/drawing/2014/main" id="{1B81A2EA-3A31-46CC-9901-42AF640927EE}"/>
                    </a:ext>
                  </a:extLst>
                </p:cNvPr>
                <p:cNvSpPr/>
                <p:nvPr/>
              </p:nvSpPr>
              <p:spPr>
                <a:xfrm>
                  <a:off x="6098359" y="3628509"/>
                  <a:ext cx="25885" cy="10571"/>
                </a:xfrm>
                <a:custGeom>
                  <a:avLst/>
                  <a:gdLst>
                    <a:gd name="connsiteX0" fmla="*/ 0 w 25885"/>
                    <a:gd name="connsiteY0" fmla="*/ 10571 h 10571"/>
                    <a:gd name="connsiteX1" fmla="*/ 25886 w 25885"/>
                    <a:gd name="connsiteY1" fmla="*/ 0 h 105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5885" h="10571">
                      <a:moveTo>
                        <a:pt x="0" y="10571"/>
                      </a:moveTo>
                      <a:lnTo>
                        <a:pt x="25886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82" name="Forma livre: Forma 281">
                  <a:extLst>
                    <a:ext uri="{FF2B5EF4-FFF2-40B4-BE49-F238E27FC236}">
                      <a16:creationId xmlns:a16="http://schemas.microsoft.com/office/drawing/2014/main" id="{973129D9-58DE-46D7-B89B-724184E0CB89}"/>
                    </a:ext>
                  </a:extLst>
                </p:cNvPr>
                <p:cNvSpPr/>
                <p:nvPr/>
              </p:nvSpPr>
              <p:spPr>
                <a:xfrm>
                  <a:off x="6313608" y="3538158"/>
                  <a:ext cx="25862" cy="10594"/>
                </a:xfrm>
                <a:custGeom>
                  <a:avLst/>
                  <a:gdLst>
                    <a:gd name="connsiteX0" fmla="*/ 0 w 25862"/>
                    <a:gd name="connsiteY0" fmla="*/ 10595 h 10594"/>
                    <a:gd name="connsiteX1" fmla="*/ 25862 w 25862"/>
                    <a:gd name="connsiteY1" fmla="*/ 0 h 1059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5862" h="10594">
                      <a:moveTo>
                        <a:pt x="0" y="10595"/>
                      </a:moveTo>
                      <a:lnTo>
                        <a:pt x="25862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283" name="Gráfico 4">
                <a:extLst>
                  <a:ext uri="{FF2B5EF4-FFF2-40B4-BE49-F238E27FC236}">
                    <a16:creationId xmlns:a16="http://schemas.microsoft.com/office/drawing/2014/main" id="{0405EFCE-DD76-AC14-6360-97C25DA66DD7}"/>
                  </a:ext>
                </a:extLst>
              </p:cNvPr>
              <p:cNvGrpSpPr/>
              <p:nvPr/>
            </p:nvGrpSpPr>
            <p:grpSpPr>
              <a:xfrm>
                <a:off x="6098005" y="3539031"/>
                <a:ext cx="241866" cy="99177"/>
                <a:chOff x="6098005" y="3539031"/>
                <a:chExt cx="241866" cy="99177"/>
              </a:xfrm>
            </p:grpSpPr>
            <p:sp>
              <p:nvSpPr>
                <p:cNvPr id="284" name="Forma livre: Forma 283">
                  <a:extLst>
                    <a:ext uri="{FF2B5EF4-FFF2-40B4-BE49-F238E27FC236}">
                      <a16:creationId xmlns:a16="http://schemas.microsoft.com/office/drawing/2014/main" id="{77A80D60-E18A-1DE2-7C05-DAE89803DD03}"/>
                    </a:ext>
                  </a:extLst>
                </p:cNvPr>
                <p:cNvSpPr/>
                <p:nvPr/>
              </p:nvSpPr>
              <p:spPr>
                <a:xfrm>
                  <a:off x="6098005" y="3539031"/>
                  <a:ext cx="25791" cy="10830"/>
                </a:xfrm>
                <a:custGeom>
                  <a:avLst/>
                  <a:gdLst>
                    <a:gd name="connsiteX0" fmla="*/ 0 w 25791"/>
                    <a:gd name="connsiteY0" fmla="*/ 0 h 10830"/>
                    <a:gd name="connsiteX1" fmla="*/ 25791 w 25791"/>
                    <a:gd name="connsiteY1" fmla="*/ 10831 h 1083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5791" h="10830">
                      <a:moveTo>
                        <a:pt x="0" y="0"/>
                      </a:moveTo>
                      <a:lnTo>
                        <a:pt x="25791" y="10831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85" name="Forma livre: Forma 284">
                  <a:extLst>
                    <a:ext uri="{FF2B5EF4-FFF2-40B4-BE49-F238E27FC236}">
                      <a16:creationId xmlns:a16="http://schemas.microsoft.com/office/drawing/2014/main" id="{D8D80A00-215F-5D0B-154B-19A4121FB864}"/>
                    </a:ext>
                  </a:extLst>
                </p:cNvPr>
                <p:cNvSpPr/>
                <p:nvPr/>
              </p:nvSpPr>
              <p:spPr>
                <a:xfrm>
                  <a:off x="6314104" y="3627400"/>
                  <a:ext cx="25767" cy="10807"/>
                </a:xfrm>
                <a:custGeom>
                  <a:avLst/>
                  <a:gdLst>
                    <a:gd name="connsiteX0" fmla="*/ 0 w 25767"/>
                    <a:gd name="connsiteY0" fmla="*/ 0 h 10807"/>
                    <a:gd name="connsiteX1" fmla="*/ 25768 w 25767"/>
                    <a:gd name="connsiteY1" fmla="*/ 10807 h 1080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5767" h="10807">
                      <a:moveTo>
                        <a:pt x="0" y="0"/>
                      </a:moveTo>
                      <a:lnTo>
                        <a:pt x="25768" y="10807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286" name="Gráfico 4">
                <a:extLst>
                  <a:ext uri="{FF2B5EF4-FFF2-40B4-BE49-F238E27FC236}">
                    <a16:creationId xmlns:a16="http://schemas.microsoft.com/office/drawing/2014/main" id="{EA1C60B7-7F7D-B0BB-0CFD-B2277E5BE5A1}"/>
                  </a:ext>
                </a:extLst>
              </p:cNvPr>
              <p:cNvGrpSpPr/>
              <p:nvPr/>
            </p:nvGrpSpPr>
            <p:grpSpPr>
              <a:xfrm>
                <a:off x="6168488" y="3468075"/>
                <a:ext cx="100899" cy="241134"/>
                <a:chOff x="6168488" y="3468075"/>
                <a:chExt cx="100899" cy="241134"/>
              </a:xfrm>
            </p:grpSpPr>
            <p:sp>
              <p:nvSpPr>
                <p:cNvPr id="287" name="Forma livre: Forma 286">
                  <a:extLst>
                    <a:ext uri="{FF2B5EF4-FFF2-40B4-BE49-F238E27FC236}">
                      <a16:creationId xmlns:a16="http://schemas.microsoft.com/office/drawing/2014/main" id="{AE7D2F43-8326-EB6D-5A6F-7639BBC03BF0}"/>
                    </a:ext>
                  </a:extLst>
                </p:cNvPr>
                <p:cNvSpPr/>
                <p:nvPr/>
              </p:nvSpPr>
              <p:spPr>
                <a:xfrm>
                  <a:off x="6258793" y="3683325"/>
                  <a:ext cx="10594" cy="25885"/>
                </a:xfrm>
                <a:custGeom>
                  <a:avLst/>
                  <a:gdLst>
                    <a:gd name="connsiteX0" fmla="*/ 10595 w 10594"/>
                    <a:gd name="connsiteY0" fmla="*/ 25886 h 25885"/>
                    <a:gd name="connsiteX1" fmla="*/ 0 w 10594"/>
                    <a:gd name="connsiteY1" fmla="*/ 0 h 2588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0594" h="25885">
                      <a:moveTo>
                        <a:pt x="10595" y="25886"/>
                      </a:moveTo>
                      <a:lnTo>
                        <a:pt x="0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288" name="Forma livre: Forma 287">
                  <a:extLst>
                    <a:ext uri="{FF2B5EF4-FFF2-40B4-BE49-F238E27FC236}">
                      <a16:creationId xmlns:a16="http://schemas.microsoft.com/office/drawing/2014/main" id="{D11D3146-DE81-F675-16A2-56573479A869}"/>
                    </a:ext>
                  </a:extLst>
                </p:cNvPr>
                <p:cNvSpPr/>
                <p:nvPr/>
              </p:nvSpPr>
              <p:spPr>
                <a:xfrm>
                  <a:off x="6168488" y="3468075"/>
                  <a:ext cx="10571" cy="25885"/>
                </a:xfrm>
                <a:custGeom>
                  <a:avLst/>
                  <a:gdLst>
                    <a:gd name="connsiteX0" fmla="*/ 10571 w 10571"/>
                    <a:gd name="connsiteY0" fmla="*/ 25886 h 25885"/>
                    <a:gd name="connsiteX1" fmla="*/ 0 w 10571"/>
                    <a:gd name="connsiteY1" fmla="*/ 0 h 2588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0571" h="25885">
                      <a:moveTo>
                        <a:pt x="10571" y="25886"/>
                      </a:moveTo>
                      <a:lnTo>
                        <a:pt x="0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grpSp>
          <p:nvGrpSpPr>
            <p:cNvPr id="289" name="Gráfico 4">
              <a:extLst>
                <a:ext uri="{FF2B5EF4-FFF2-40B4-BE49-F238E27FC236}">
                  <a16:creationId xmlns:a16="http://schemas.microsoft.com/office/drawing/2014/main" id="{552036E3-8F25-B3C8-D79A-B4955D933979}"/>
                </a:ext>
              </a:extLst>
            </p:cNvPr>
            <p:cNvGrpSpPr/>
            <p:nvPr/>
          </p:nvGrpSpPr>
          <p:grpSpPr>
            <a:xfrm>
              <a:off x="5793200" y="3109830"/>
              <a:ext cx="194610" cy="256968"/>
              <a:chOff x="5793200" y="3109830"/>
              <a:chExt cx="194610" cy="256968"/>
            </a:xfrm>
            <a:noFill/>
          </p:grpSpPr>
          <p:sp>
            <p:nvSpPr>
              <p:cNvPr id="290" name="Forma livre: Forma 289">
                <a:extLst>
                  <a:ext uri="{FF2B5EF4-FFF2-40B4-BE49-F238E27FC236}">
                    <a16:creationId xmlns:a16="http://schemas.microsoft.com/office/drawing/2014/main" id="{478C5802-663A-39A5-3464-DA5A2459DDC8}"/>
                  </a:ext>
                </a:extLst>
              </p:cNvPr>
              <p:cNvSpPr/>
              <p:nvPr/>
            </p:nvSpPr>
            <p:spPr>
              <a:xfrm>
                <a:off x="5869046" y="3109830"/>
                <a:ext cx="118764" cy="256968"/>
              </a:xfrm>
              <a:custGeom>
                <a:avLst/>
                <a:gdLst>
                  <a:gd name="connsiteX0" fmla="*/ 92122 w 118764"/>
                  <a:gd name="connsiteY0" fmla="*/ 256968 h 256968"/>
                  <a:gd name="connsiteX1" fmla="*/ 118361 w 118764"/>
                  <a:gd name="connsiteY1" fmla="*/ 196018 h 256968"/>
                  <a:gd name="connsiteX2" fmla="*/ 72725 w 118764"/>
                  <a:gd name="connsiteY2" fmla="*/ 112698 h 256968"/>
                  <a:gd name="connsiteX3" fmla="*/ 40964 w 118764"/>
                  <a:gd name="connsiteY3" fmla="*/ 0 h 256968"/>
                  <a:gd name="connsiteX4" fmla="*/ 0 w 118764"/>
                  <a:gd name="connsiteY4" fmla="*/ 66472 h 2569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18764" h="256968">
                    <a:moveTo>
                      <a:pt x="92122" y="256968"/>
                    </a:moveTo>
                    <a:cubicBezTo>
                      <a:pt x="112580" y="234599"/>
                      <a:pt x="116922" y="213031"/>
                      <a:pt x="118361" y="196018"/>
                    </a:cubicBezTo>
                    <a:cubicBezTo>
                      <a:pt x="120485" y="170817"/>
                      <a:pt x="115482" y="146370"/>
                      <a:pt x="72725" y="112698"/>
                    </a:cubicBezTo>
                    <a:cubicBezTo>
                      <a:pt x="72725" y="112698"/>
                      <a:pt x="27396" y="72300"/>
                      <a:pt x="40964" y="0"/>
                    </a:cubicBezTo>
                    <a:cubicBezTo>
                      <a:pt x="40964" y="0"/>
                      <a:pt x="13828" y="36127"/>
                      <a:pt x="0" y="66472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91" name="Forma livre: Forma 290">
                <a:extLst>
                  <a:ext uri="{FF2B5EF4-FFF2-40B4-BE49-F238E27FC236}">
                    <a16:creationId xmlns:a16="http://schemas.microsoft.com/office/drawing/2014/main" id="{9E3914D9-AB65-4A5A-FF4F-D4F8C80A21F0}"/>
                  </a:ext>
                </a:extLst>
              </p:cNvPr>
              <p:cNvSpPr/>
              <p:nvPr/>
            </p:nvSpPr>
            <p:spPr>
              <a:xfrm>
                <a:off x="5793200" y="3201126"/>
                <a:ext cx="85315" cy="165649"/>
              </a:xfrm>
              <a:custGeom>
                <a:avLst/>
                <a:gdLst>
                  <a:gd name="connsiteX0" fmla="*/ 85190 w 85315"/>
                  <a:gd name="connsiteY0" fmla="*/ 109607 h 165649"/>
                  <a:gd name="connsiteX1" fmla="*/ 23626 w 85315"/>
                  <a:gd name="connsiteY1" fmla="*/ 0 h 165649"/>
                  <a:gd name="connsiteX2" fmla="*/ 15981 w 85315"/>
                  <a:gd name="connsiteY2" fmla="*/ 74990 h 165649"/>
                  <a:gd name="connsiteX3" fmla="*/ 6047 w 85315"/>
                  <a:gd name="connsiteY3" fmla="*/ 135799 h 165649"/>
                  <a:gd name="connsiteX4" fmla="*/ 24381 w 85315"/>
                  <a:gd name="connsiteY4" fmla="*/ 165649 h 1656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5315" h="165649">
                    <a:moveTo>
                      <a:pt x="85190" y="109607"/>
                    </a:moveTo>
                    <a:cubicBezTo>
                      <a:pt x="88541" y="49223"/>
                      <a:pt x="23626" y="0"/>
                      <a:pt x="23626" y="0"/>
                    </a:cubicBezTo>
                    <a:cubicBezTo>
                      <a:pt x="23626" y="0"/>
                      <a:pt x="49653" y="38179"/>
                      <a:pt x="15981" y="74990"/>
                    </a:cubicBezTo>
                    <a:cubicBezTo>
                      <a:pt x="15981" y="74990"/>
                      <a:pt x="-11958" y="98445"/>
                      <a:pt x="6047" y="135799"/>
                    </a:cubicBezTo>
                    <a:cubicBezTo>
                      <a:pt x="6047" y="135799"/>
                      <a:pt x="11852" y="149745"/>
                      <a:pt x="24381" y="165649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292" name="Gráfico 4">
              <a:extLst>
                <a:ext uri="{FF2B5EF4-FFF2-40B4-BE49-F238E27FC236}">
                  <a16:creationId xmlns:a16="http://schemas.microsoft.com/office/drawing/2014/main" id="{A430933F-D763-0FDF-1418-663681602E38}"/>
                </a:ext>
              </a:extLst>
            </p:cNvPr>
            <p:cNvGrpSpPr/>
            <p:nvPr/>
          </p:nvGrpSpPr>
          <p:grpSpPr>
            <a:xfrm>
              <a:off x="5798570" y="3460940"/>
              <a:ext cx="222973" cy="256694"/>
              <a:chOff x="5798570" y="3460940"/>
              <a:chExt cx="222973" cy="256694"/>
            </a:xfrm>
            <a:noFill/>
          </p:grpSpPr>
          <p:sp>
            <p:nvSpPr>
              <p:cNvPr id="293" name="Forma livre: Forma 292">
                <a:extLst>
                  <a:ext uri="{FF2B5EF4-FFF2-40B4-BE49-F238E27FC236}">
                    <a16:creationId xmlns:a16="http://schemas.microsoft.com/office/drawing/2014/main" id="{CC681E19-689A-B2CD-D12D-3803F04166C1}"/>
                  </a:ext>
                </a:extLst>
              </p:cNvPr>
              <p:cNvSpPr/>
              <p:nvPr/>
            </p:nvSpPr>
            <p:spPr>
              <a:xfrm>
                <a:off x="5798570" y="3460940"/>
                <a:ext cx="222973" cy="73977"/>
              </a:xfrm>
              <a:custGeom>
                <a:avLst/>
                <a:gdLst>
                  <a:gd name="connsiteX0" fmla="*/ 222840 w 222973"/>
                  <a:gd name="connsiteY0" fmla="*/ 48760 h 73977"/>
                  <a:gd name="connsiteX1" fmla="*/ 106555 w 222973"/>
                  <a:gd name="connsiteY1" fmla="*/ 72050 h 73977"/>
                  <a:gd name="connsiteX2" fmla="*/ 110 w 222973"/>
                  <a:gd name="connsiteY2" fmla="*/ 25187 h 73977"/>
                  <a:gd name="connsiteX3" fmla="*/ 116419 w 222973"/>
                  <a:gd name="connsiteY3" fmla="*/ 1921 h 73977"/>
                  <a:gd name="connsiteX4" fmla="*/ 222864 w 222973"/>
                  <a:gd name="connsiteY4" fmla="*/ 48760 h 739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22973" h="73977">
                    <a:moveTo>
                      <a:pt x="222840" y="48760"/>
                    </a:moveTo>
                    <a:cubicBezTo>
                      <a:pt x="220150" y="68110"/>
                      <a:pt x="168048" y="78539"/>
                      <a:pt x="106555" y="72050"/>
                    </a:cubicBezTo>
                    <a:cubicBezTo>
                      <a:pt x="45062" y="65537"/>
                      <a:pt x="-2603" y="44583"/>
                      <a:pt x="110" y="25187"/>
                    </a:cubicBezTo>
                    <a:cubicBezTo>
                      <a:pt x="2824" y="5838"/>
                      <a:pt x="54902" y="-4545"/>
                      <a:pt x="116419" y="1921"/>
                    </a:cubicBezTo>
                    <a:cubicBezTo>
                      <a:pt x="177912" y="8457"/>
                      <a:pt x="225577" y="29387"/>
                      <a:pt x="222864" y="48760"/>
                    </a:cubicBezTo>
                    <a:close/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94" name="Forma livre: Forma 293">
                <a:extLst>
                  <a:ext uri="{FF2B5EF4-FFF2-40B4-BE49-F238E27FC236}">
                    <a16:creationId xmlns:a16="http://schemas.microsoft.com/office/drawing/2014/main" id="{C2589720-7D0C-B438-488C-A73ED040AAC0}"/>
                  </a:ext>
                </a:extLst>
              </p:cNvPr>
              <p:cNvSpPr/>
              <p:nvPr/>
            </p:nvSpPr>
            <p:spPr>
              <a:xfrm>
                <a:off x="5808614" y="3533957"/>
                <a:ext cx="187516" cy="43926"/>
              </a:xfrm>
              <a:custGeom>
                <a:avLst/>
                <a:gdLst>
                  <a:gd name="connsiteX0" fmla="*/ 163502 w 187516"/>
                  <a:gd name="connsiteY0" fmla="*/ 0 h 43926"/>
                  <a:gd name="connsiteX1" fmla="*/ 187500 w 187516"/>
                  <a:gd name="connsiteY1" fmla="*/ 20057 h 43926"/>
                  <a:gd name="connsiteX2" fmla="*/ 89384 w 187516"/>
                  <a:gd name="connsiteY2" fmla="*/ 43559 h 43926"/>
                  <a:gd name="connsiteX3" fmla="*/ 0 w 187516"/>
                  <a:gd name="connsiteY3" fmla="*/ 18122 h 439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87516" h="43926">
                    <a:moveTo>
                      <a:pt x="163502" y="0"/>
                    </a:moveTo>
                    <a:cubicBezTo>
                      <a:pt x="178840" y="5711"/>
                      <a:pt x="187972" y="12790"/>
                      <a:pt x="187500" y="20057"/>
                    </a:cubicBezTo>
                    <a:cubicBezTo>
                      <a:pt x="186556" y="35513"/>
                      <a:pt x="142595" y="46061"/>
                      <a:pt x="89384" y="43559"/>
                    </a:cubicBezTo>
                    <a:cubicBezTo>
                      <a:pt x="47783" y="41601"/>
                      <a:pt x="19161" y="29968"/>
                      <a:pt x="0" y="18122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95" name="Forma livre: Forma 294">
                <a:extLst>
                  <a:ext uri="{FF2B5EF4-FFF2-40B4-BE49-F238E27FC236}">
                    <a16:creationId xmlns:a16="http://schemas.microsoft.com/office/drawing/2014/main" id="{D70F9804-0025-7896-E366-ECB36E21A737}"/>
                  </a:ext>
                </a:extLst>
              </p:cNvPr>
              <p:cNvSpPr/>
              <p:nvPr/>
            </p:nvSpPr>
            <p:spPr>
              <a:xfrm>
                <a:off x="5815764" y="3576762"/>
                <a:ext cx="157910" cy="43984"/>
              </a:xfrm>
              <a:custGeom>
                <a:avLst/>
                <a:gdLst>
                  <a:gd name="connsiteX0" fmla="*/ 129168 w 157910"/>
                  <a:gd name="connsiteY0" fmla="*/ 0 h 43984"/>
                  <a:gd name="connsiteX1" fmla="*/ 157909 w 157910"/>
                  <a:gd name="connsiteY1" fmla="*/ 19042 h 43984"/>
                  <a:gd name="connsiteX2" fmla="*/ 76170 w 157910"/>
                  <a:gd name="connsiteY2" fmla="*/ 43984 h 43984"/>
                  <a:gd name="connsiteX3" fmla="*/ 0 w 157910"/>
                  <a:gd name="connsiteY3" fmla="*/ 24824 h 439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57910" h="43984">
                    <a:moveTo>
                      <a:pt x="129168" y="0"/>
                    </a:moveTo>
                    <a:cubicBezTo>
                      <a:pt x="146866" y="4554"/>
                      <a:pt x="158027" y="11397"/>
                      <a:pt x="157909" y="19042"/>
                    </a:cubicBezTo>
                    <a:cubicBezTo>
                      <a:pt x="157721" y="32800"/>
                      <a:pt x="121098" y="43961"/>
                      <a:pt x="76170" y="43984"/>
                    </a:cubicBezTo>
                    <a:cubicBezTo>
                      <a:pt x="41058" y="43961"/>
                      <a:pt x="16589" y="34546"/>
                      <a:pt x="0" y="24824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96" name="Forma livre: Forma 295">
                <a:extLst>
                  <a:ext uri="{FF2B5EF4-FFF2-40B4-BE49-F238E27FC236}">
                    <a16:creationId xmlns:a16="http://schemas.microsoft.com/office/drawing/2014/main" id="{34192891-EA4C-1FAA-F614-BF8E9D2F3392}"/>
                  </a:ext>
                </a:extLst>
              </p:cNvPr>
              <p:cNvSpPr/>
              <p:nvPr/>
            </p:nvSpPr>
            <p:spPr>
              <a:xfrm>
                <a:off x="5829073" y="3614965"/>
                <a:ext cx="123717" cy="102669"/>
              </a:xfrm>
              <a:custGeom>
                <a:avLst/>
                <a:gdLst>
                  <a:gd name="connsiteX0" fmla="*/ 123718 w 123717"/>
                  <a:gd name="connsiteY0" fmla="*/ 0 h 102669"/>
                  <a:gd name="connsiteX1" fmla="*/ 67203 w 123717"/>
                  <a:gd name="connsiteY1" fmla="*/ 42498 h 102669"/>
                  <a:gd name="connsiteX2" fmla="*/ 48774 w 123717"/>
                  <a:gd name="connsiteY2" fmla="*/ 102669 h 102669"/>
                  <a:gd name="connsiteX3" fmla="*/ 0 w 123717"/>
                  <a:gd name="connsiteY3" fmla="*/ 38321 h 1026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23717" h="102669">
                    <a:moveTo>
                      <a:pt x="123718" y="0"/>
                    </a:moveTo>
                    <a:cubicBezTo>
                      <a:pt x="120249" y="12601"/>
                      <a:pt x="108144" y="32446"/>
                      <a:pt x="67203" y="42498"/>
                    </a:cubicBezTo>
                    <a:cubicBezTo>
                      <a:pt x="58591" y="44621"/>
                      <a:pt x="35867" y="64750"/>
                      <a:pt x="48774" y="102669"/>
                    </a:cubicBezTo>
                    <a:cubicBezTo>
                      <a:pt x="48774" y="102669"/>
                      <a:pt x="330" y="73551"/>
                      <a:pt x="0" y="38321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297" name="Gráfico 4">
            <a:extLst>
              <a:ext uri="{FF2B5EF4-FFF2-40B4-BE49-F238E27FC236}">
                <a16:creationId xmlns:a16="http://schemas.microsoft.com/office/drawing/2014/main" id="{24FF35D5-E1AC-C5EE-6843-EF8E587C74F2}"/>
              </a:ext>
            </a:extLst>
          </p:cNvPr>
          <p:cNvGrpSpPr/>
          <p:nvPr/>
        </p:nvGrpSpPr>
        <p:grpSpPr>
          <a:xfrm>
            <a:off x="4530356" y="3130878"/>
            <a:ext cx="659434" cy="565708"/>
            <a:chOff x="4530356" y="3130878"/>
            <a:chExt cx="659434" cy="565708"/>
          </a:xfrm>
          <a:noFill/>
        </p:grpSpPr>
        <p:sp>
          <p:nvSpPr>
            <p:cNvPr id="298" name="Forma livre: Forma 297">
              <a:extLst>
                <a:ext uri="{FF2B5EF4-FFF2-40B4-BE49-F238E27FC236}">
                  <a16:creationId xmlns:a16="http://schemas.microsoft.com/office/drawing/2014/main" id="{106DD341-E4B4-E8B7-A9D1-4E41DE4BC22C}"/>
                </a:ext>
              </a:extLst>
            </p:cNvPr>
            <p:cNvSpPr/>
            <p:nvPr/>
          </p:nvSpPr>
          <p:spPr>
            <a:xfrm>
              <a:off x="4530356" y="3696232"/>
              <a:ext cx="524012" cy="2359"/>
            </a:xfrm>
            <a:custGeom>
              <a:avLst/>
              <a:gdLst>
                <a:gd name="connsiteX0" fmla="*/ 524013 w 524012"/>
                <a:gd name="connsiteY0" fmla="*/ 0 h 2359"/>
                <a:gd name="connsiteX1" fmla="*/ 0 w 524012"/>
                <a:gd name="connsiteY1" fmla="*/ 0 h 23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24012" h="2359">
                  <a:moveTo>
                    <a:pt x="524013" y="0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299" name="Forma livre: Forma 298">
              <a:extLst>
                <a:ext uri="{FF2B5EF4-FFF2-40B4-BE49-F238E27FC236}">
                  <a16:creationId xmlns:a16="http://schemas.microsoft.com/office/drawing/2014/main" id="{3EE8C492-ED9D-BFE7-A9CF-569EEF506081}"/>
                </a:ext>
              </a:extLst>
            </p:cNvPr>
            <p:cNvSpPr/>
            <p:nvPr/>
          </p:nvSpPr>
          <p:spPr>
            <a:xfrm>
              <a:off x="5094955" y="3696232"/>
              <a:ext cx="25295" cy="2359"/>
            </a:xfrm>
            <a:custGeom>
              <a:avLst/>
              <a:gdLst>
                <a:gd name="connsiteX0" fmla="*/ 25296 w 25295"/>
                <a:gd name="connsiteY0" fmla="*/ 0 h 2359"/>
                <a:gd name="connsiteX1" fmla="*/ 0 w 25295"/>
                <a:gd name="connsiteY1" fmla="*/ 0 h 23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5295" h="2359">
                  <a:moveTo>
                    <a:pt x="25296" y="0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300" name="Gráfico 4">
              <a:extLst>
                <a:ext uri="{FF2B5EF4-FFF2-40B4-BE49-F238E27FC236}">
                  <a16:creationId xmlns:a16="http://schemas.microsoft.com/office/drawing/2014/main" id="{AD70F04C-EA09-DBA0-22EB-F6E8AF40E8F5}"/>
                </a:ext>
              </a:extLst>
            </p:cNvPr>
            <p:cNvGrpSpPr/>
            <p:nvPr/>
          </p:nvGrpSpPr>
          <p:grpSpPr>
            <a:xfrm>
              <a:off x="4944077" y="3130878"/>
              <a:ext cx="245712" cy="245358"/>
              <a:chOff x="4944077" y="3130878"/>
              <a:chExt cx="245712" cy="245358"/>
            </a:xfrm>
            <a:noFill/>
          </p:grpSpPr>
          <p:sp>
            <p:nvSpPr>
              <p:cNvPr id="301" name="Forma livre: Forma 300">
                <a:extLst>
                  <a:ext uri="{FF2B5EF4-FFF2-40B4-BE49-F238E27FC236}">
                    <a16:creationId xmlns:a16="http://schemas.microsoft.com/office/drawing/2014/main" id="{EA7FEEC0-BF55-5A72-8236-9479139124C3}"/>
                  </a:ext>
                </a:extLst>
              </p:cNvPr>
              <p:cNvSpPr/>
              <p:nvPr/>
            </p:nvSpPr>
            <p:spPr>
              <a:xfrm>
                <a:off x="4944077" y="3253534"/>
                <a:ext cx="245712" cy="2359"/>
              </a:xfrm>
              <a:custGeom>
                <a:avLst/>
                <a:gdLst>
                  <a:gd name="connsiteX0" fmla="*/ 245713 w 245712"/>
                  <a:gd name="connsiteY0" fmla="*/ 0 h 2359"/>
                  <a:gd name="connsiteX1" fmla="*/ 0 w 245712"/>
                  <a:gd name="connsiteY1" fmla="*/ 0 h 23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45712" h="2359">
                    <a:moveTo>
                      <a:pt x="245713" y="0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302" name="Gráfico 4">
                <a:extLst>
                  <a:ext uri="{FF2B5EF4-FFF2-40B4-BE49-F238E27FC236}">
                    <a16:creationId xmlns:a16="http://schemas.microsoft.com/office/drawing/2014/main" id="{433CD472-C373-965D-CB62-FCAD31B8B8ED}"/>
                  </a:ext>
                </a:extLst>
              </p:cNvPr>
              <p:cNvGrpSpPr/>
              <p:nvPr/>
            </p:nvGrpSpPr>
            <p:grpSpPr>
              <a:xfrm>
                <a:off x="5021781" y="3132459"/>
                <a:ext cx="90304" cy="242173"/>
                <a:chOff x="5021781" y="3132459"/>
                <a:chExt cx="90304" cy="242173"/>
              </a:xfrm>
              <a:noFill/>
            </p:grpSpPr>
            <p:grpSp>
              <p:nvGrpSpPr>
                <p:cNvPr id="303" name="Gráfico 4">
                  <a:extLst>
                    <a:ext uri="{FF2B5EF4-FFF2-40B4-BE49-F238E27FC236}">
                      <a16:creationId xmlns:a16="http://schemas.microsoft.com/office/drawing/2014/main" id="{05ED0312-B32D-C3ED-4A94-9F7EBBFD9B47}"/>
                    </a:ext>
                  </a:extLst>
                </p:cNvPr>
                <p:cNvGrpSpPr/>
                <p:nvPr/>
              </p:nvGrpSpPr>
              <p:grpSpPr>
                <a:xfrm>
                  <a:off x="5021781" y="3253982"/>
                  <a:ext cx="90304" cy="120650"/>
                  <a:chOff x="5021781" y="3253982"/>
                  <a:chExt cx="90304" cy="120650"/>
                </a:xfrm>
                <a:noFill/>
              </p:grpSpPr>
              <p:sp>
                <p:nvSpPr>
                  <p:cNvPr id="304" name="Forma livre: Forma 303">
                    <a:extLst>
                      <a:ext uri="{FF2B5EF4-FFF2-40B4-BE49-F238E27FC236}">
                        <a16:creationId xmlns:a16="http://schemas.microsoft.com/office/drawing/2014/main" id="{AC6C4ECA-BC79-D91F-2A9D-1A04B64AB892}"/>
                      </a:ext>
                    </a:extLst>
                  </p:cNvPr>
                  <p:cNvSpPr/>
                  <p:nvPr/>
                </p:nvSpPr>
                <p:spPr>
                  <a:xfrm>
                    <a:off x="5021781" y="3253982"/>
                    <a:ext cx="41483" cy="120626"/>
                  </a:xfrm>
                  <a:custGeom>
                    <a:avLst/>
                    <a:gdLst>
                      <a:gd name="connsiteX0" fmla="*/ 0 w 41483"/>
                      <a:gd name="connsiteY0" fmla="*/ 0 h 120626"/>
                      <a:gd name="connsiteX1" fmla="*/ 41483 w 41483"/>
                      <a:gd name="connsiteY1" fmla="*/ 120626 h 12062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41483" h="120626">
                        <a:moveTo>
                          <a:pt x="0" y="0"/>
                        </a:moveTo>
                        <a:cubicBezTo>
                          <a:pt x="802" y="34970"/>
                          <a:pt x="11515" y="75887"/>
                          <a:pt x="41483" y="120626"/>
                        </a:cubicBezTo>
                      </a:path>
                    </a:pathLst>
                  </a:custGeom>
                  <a:noFill/>
                  <a:ln w="6350" cap="flat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305" name="Forma livre: Forma 304">
                    <a:extLst>
                      <a:ext uri="{FF2B5EF4-FFF2-40B4-BE49-F238E27FC236}">
                        <a16:creationId xmlns:a16="http://schemas.microsoft.com/office/drawing/2014/main" id="{4DE779EB-256B-34B3-34D6-6CC3371FA603}"/>
                      </a:ext>
                    </a:extLst>
                  </p:cNvPr>
                  <p:cNvSpPr/>
                  <p:nvPr/>
                </p:nvSpPr>
                <p:spPr>
                  <a:xfrm>
                    <a:off x="5070627" y="3255374"/>
                    <a:ext cx="41459" cy="119257"/>
                  </a:xfrm>
                  <a:custGeom>
                    <a:avLst/>
                    <a:gdLst>
                      <a:gd name="connsiteX0" fmla="*/ 41459 w 41459"/>
                      <a:gd name="connsiteY0" fmla="*/ 0 h 119257"/>
                      <a:gd name="connsiteX1" fmla="*/ 0 w 41459"/>
                      <a:gd name="connsiteY1" fmla="*/ 119258 h 11925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41459" h="119257">
                        <a:moveTo>
                          <a:pt x="41459" y="0"/>
                        </a:moveTo>
                        <a:cubicBezTo>
                          <a:pt x="40445" y="34640"/>
                          <a:pt x="29567" y="75085"/>
                          <a:pt x="0" y="119258"/>
                        </a:cubicBezTo>
                      </a:path>
                    </a:pathLst>
                  </a:custGeom>
                  <a:noFill/>
                  <a:ln w="6350" cap="flat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  <p:grpSp>
              <p:nvGrpSpPr>
                <p:cNvPr id="306" name="Gráfico 4">
                  <a:extLst>
                    <a:ext uri="{FF2B5EF4-FFF2-40B4-BE49-F238E27FC236}">
                      <a16:creationId xmlns:a16="http://schemas.microsoft.com/office/drawing/2014/main" id="{851C71B9-B9EF-D992-C086-D88F7DE08306}"/>
                    </a:ext>
                  </a:extLst>
                </p:cNvPr>
                <p:cNvGrpSpPr/>
                <p:nvPr/>
              </p:nvGrpSpPr>
              <p:grpSpPr>
                <a:xfrm>
                  <a:off x="5021781" y="3132459"/>
                  <a:ext cx="90304" cy="120626"/>
                  <a:chOff x="5021781" y="3132459"/>
                  <a:chExt cx="90304" cy="120626"/>
                </a:xfrm>
                <a:noFill/>
              </p:grpSpPr>
              <p:sp>
                <p:nvSpPr>
                  <p:cNvPr id="307" name="Forma livre: Forma 306">
                    <a:extLst>
                      <a:ext uri="{FF2B5EF4-FFF2-40B4-BE49-F238E27FC236}">
                        <a16:creationId xmlns:a16="http://schemas.microsoft.com/office/drawing/2014/main" id="{DDCC4B35-B1F5-97C1-26C8-CAA546161202}"/>
                      </a:ext>
                    </a:extLst>
                  </p:cNvPr>
                  <p:cNvSpPr/>
                  <p:nvPr/>
                </p:nvSpPr>
                <p:spPr>
                  <a:xfrm>
                    <a:off x="5070603" y="3132459"/>
                    <a:ext cx="41483" cy="120626"/>
                  </a:xfrm>
                  <a:custGeom>
                    <a:avLst/>
                    <a:gdLst>
                      <a:gd name="connsiteX0" fmla="*/ 41483 w 41483"/>
                      <a:gd name="connsiteY0" fmla="*/ 120626 h 120626"/>
                      <a:gd name="connsiteX1" fmla="*/ 0 w 41483"/>
                      <a:gd name="connsiteY1" fmla="*/ 0 h 12062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41483" h="120626">
                        <a:moveTo>
                          <a:pt x="41483" y="120626"/>
                        </a:moveTo>
                        <a:cubicBezTo>
                          <a:pt x="40681" y="85656"/>
                          <a:pt x="29968" y="44739"/>
                          <a:pt x="0" y="0"/>
                        </a:cubicBezTo>
                      </a:path>
                    </a:pathLst>
                  </a:custGeom>
                  <a:noFill/>
                  <a:ln w="6350" cap="flat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308" name="Forma livre: Forma 307">
                    <a:extLst>
                      <a:ext uri="{FF2B5EF4-FFF2-40B4-BE49-F238E27FC236}">
                        <a16:creationId xmlns:a16="http://schemas.microsoft.com/office/drawing/2014/main" id="{33527122-601F-B3A6-9454-8BA0217400E0}"/>
                      </a:ext>
                    </a:extLst>
                  </p:cNvPr>
                  <p:cNvSpPr/>
                  <p:nvPr/>
                </p:nvSpPr>
                <p:spPr>
                  <a:xfrm>
                    <a:off x="5021781" y="3132459"/>
                    <a:ext cx="41459" cy="119257"/>
                  </a:xfrm>
                  <a:custGeom>
                    <a:avLst/>
                    <a:gdLst>
                      <a:gd name="connsiteX0" fmla="*/ 0 w 41459"/>
                      <a:gd name="connsiteY0" fmla="*/ 119258 h 119257"/>
                      <a:gd name="connsiteX1" fmla="*/ 41459 w 41459"/>
                      <a:gd name="connsiteY1" fmla="*/ 0 h 11925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41459" h="119257">
                        <a:moveTo>
                          <a:pt x="0" y="119258"/>
                        </a:moveTo>
                        <a:cubicBezTo>
                          <a:pt x="1015" y="84618"/>
                          <a:pt x="11893" y="44173"/>
                          <a:pt x="41459" y="0"/>
                        </a:cubicBezTo>
                      </a:path>
                    </a:pathLst>
                  </a:custGeom>
                  <a:noFill/>
                  <a:ln w="6350" cap="flat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</p:grpSp>
          <p:sp>
            <p:nvSpPr>
              <p:cNvPr id="309" name="Forma livre: Forma 308">
                <a:extLst>
                  <a:ext uri="{FF2B5EF4-FFF2-40B4-BE49-F238E27FC236}">
                    <a16:creationId xmlns:a16="http://schemas.microsoft.com/office/drawing/2014/main" id="{814AD8AE-8BFF-7F84-C54C-BCFF73A77E3D}"/>
                  </a:ext>
                </a:extLst>
              </p:cNvPr>
              <p:cNvSpPr/>
              <p:nvPr/>
            </p:nvSpPr>
            <p:spPr>
              <a:xfrm>
                <a:off x="4944243" y="3130878"/>
                <a:ext cx="245358" cy="245358"/>
              </a:xfrm>
              <a:custGeom>
                <a:avLst/>
                <a:gdLst>
                  <a:gd name="connsiteX0" fmla="*/ 245359 w 245358"/>
                  <a:gd name="connsiteY0" fmla="*/ 122656 h 245358"/>
                  <a:gd name="connsiteX1" fmla="*/ 122679 w 245358"/>
                  <a:gd name="connsiteY1" fmla="*/ 245359 h 245358"/>
                  <a:gd name="connsiteX2" fmla="*/ 0 w 245358"/>
                  <a:gd name="connsiteY2" fmla="*/ 122656 h 245358"/>
                  <a:gd name="connsiteX3" fmla="*/ 122679 w 245358"/>
                  <a:gd name="connsiteY3" fmla="*/ 0 h 245358"/>
                  <a:gd name="connsiteX4" fmla="*/ 245359 w 245358"/>
                  <a:gd name="connsiteY4" fmla="*/ 122656 h 2453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45358" h="245358">
                    <a:moveTo>
                      <a:pt x="245359" y="122656"/>
                    </a:moveTo>
                    <a:cubicBezTo>
                      <a:pt x="245359" y="190402"/>
                      <a:pt x="190426" y="245359"/>
                      <a:pt x="122679" y="245359"/>
                    </a:cubicBezTo>
                    <a:cubicBezTo>
                      <a:pt x="54933" y="245359"/>
                      <a:pt x="0" y="190426"/>
                      <a:pt x="0" y="122656"/>
                    </a:cubicBezTo>
                    <a:cubicBezTo>
                      <a:pt x="0" y="54886"/>
                      <a:pt x="54933" y="0"/>
                      <a:pt x="122679" y="0"/>
                    </a:cubicBezTo>
                    <a:cubicBezTo>
                      <a:pt x="190426" y="0"/>
                      <a:pt x="245359" y="54910"/>
                      <a:pt x="245359" y="122656"/>
                    </a:cubicBezTo>
                    <a:close/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310" name="Gráfico 4">
              <a:extLst>
                <a:ext uri="{FF2B5EF4-FFF2-40B4-BE49-F238E27FC236}">
                  <a16:creationId xmlns:a16="http://schemas.microsoft.com/office/drawing/2014/main" id="{665A3E71-668D-FC1E-7BCE-CB600D4EEEFE}"/>
                </a:ext>
              </a:extLst>
            </p:cNvPr>
            <p:cNvGrpSpPr/>
            <p:nvPr/>
          </p:nvGrpSpPr>
          <p:grpSpPr>
            <a:xfrm>
              <a:off x="4707042" y="3136447"/>
              <a:ext cx="171648" cy="228510"/>
              <a:chOff x="4707042" y="3136447"/>
              <a:chExt cx="171648" cy="228510"/>
            </a:xfrm>
            <a:noFill/>
          </p:grpSpPr>
          <p:sp>
            <p:nvSpPr>
              <p:cNvPr id="311" name="Forma livre: Forma 310">
                <a:extLst>
                  <a:ext uri="{FF2B5EF4-FFF2-40B4-BE49-F238E27FC236}">
                    <a16:creationId xmlns:a16="http://schemas.microsoft.com/office/drawing/2014/main" id="{B9F57C8F-4321-2EEE-3FA0-7F52238865DD}"/>
                  </a:ext>
                </a:extLst>
              </p:cNvPr>
              <p:cNvSpPr/>
              <p:nvPr/>
            </p:nvSpPr>
            <p:spPr>
              <a:xfrm>
                <a:off x="4707042" y="3136447"/>
                <a:ext cx="171648" cy="228510"/>
              </a:xfrm>
              <a:custGeom>
                <a:avLst/>
                <a:gdLst>
                  <a:gd name="connsiteX0" fmla="*/ 85828 w 171648"/>
                  <a:gd name="connsiteY0" fmla="*/ 0 h 228510"/>
                  <a:gd name="connsiteX1" fmla="*/ 1776 w 171648"/>
                  <a:gd name="connsiteY1" fmla="*/ 114279 h 228510"/>
                  <a:gd name="connsiteX2" fmla="*/ 85828 w 171648"/>
                  <a:gd name="connsiteY2" fmla="*/ 228511 h 228510"/>
                  <a:gd name="connsiteX3" fmla="*/ 169879 w 171648"/>
                  <a:gd name="connsiteY3" fmla="*/ 114279 h 228510"/>
                  <a:gd name="connsiteX4" fmla="*/ 85828 w 171648"/>
                  <a:gd name="connsiteY4" fmla="*/ 0 h 2285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1648" h="228510">
                    <a:moveTo>
                      <a:pt x="85828" y="0"/>
                    </a:moveTo>
                    <a:cubicBezTo>
                      <a:pt x="549" y="0"/>
                      <a:pt x="-4194" y="51583"/>
                      <a:pt x="1776" y="114279"/>
                    </a:cubicBezTo>
                    <a:cubicBezTo>
                      <a:pt x="7770" y="177093"/>
                      <a:pt x="47223" y="228511"/>
                      <a:pt x="85828" y="228511"/>
                    </a:cubicBezTo>
                    <a:cubicBezTo>
                      <a:pt x="124432" y="228511"/>
                      <a:pt x="163933" y="177093"/>
                      <a:pt x="169879" y="114279"/>
                    </a:cubicBezTo>
                    <a:cubicBezTo>
                      <a:pt x="175826" y="51583"/>
                      <a:pt x="171130" y="0"/>
                      <a:pt x="85828" y="0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12" name="Forma livre: Forma 311">
                <a:extLst>
                  <a:ext uri="{FF2B5EF4-FFF2-40B4-BE49-F238E27FC236}">
                    <a16:creationId xmlns:a16="http://schemas.microsoft.com/office/drawing/2014/main" id="{66EC5C7F-73B5-DE1C-3A7C-83C22453A49F}"/>
                  </a:ext>
                </a:extLst>
              </p:cNvPr>
              <p:cNvSpPr/>
              <p:nvPr/>
            </p:nvSpPr>
            <p:spPr>
              <a:xfrm>
                <a:off x="4754218" y="3201645"/>
                <a:ext cx="121806" cy="32280"/>
              </a:xfrm>
              <a:custGeom>
                <a:avLst/>
                <a:gdLst>
                  <a:gd name="connsiteX0" fmla="*/ 121806 w 121806"/>
                  <a:gd name="connsiteY0" fmla="*/ 32280 h 32280"/>
                  <a:gd name="connsiteX1" fmla="*/ 67959 w 121806"/>
                  <a:gd name="connsiteY1" fmla="*/ 0 h 32280"/>
                  <a:gd name="connsiteX2" fmla="*/ 0 w 121806"/>
                  <a:gd name="connsiteY2" fmla="*/ 28057 h 322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21806" h="32280">
                    <a:moveTo>
                      <a:pt x="121806" y="32280"/>
                    </a:moveTo>
                    <a:cubicBezTo>
                      <a:pt x="85774" y="22889"/>
                      <a:pt x="67959" y="0"/>
                      <a:pt x="67959" y="0"/>
                    </a:cubicBezTo>
                    <a:cubicBezTo>
                      <a:pt x="58803" y="10571"/>
                      <a:pt x="32446" y="26051"/>
                      <a:pt x="0" y="28057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313" name="Gráfico 4">
              <a:extLst>
                <a:ext uri="{FF2B5EF4-FFF2-40B4-BE49-F238E27FC236}">
                  <a16:creationId xmlns:a16="http://schemas.microsoft.com/office/drawing/2014/main" id="{3C4104F1-6F9A-A34C-347F-07506A78E162}"/>
                </a:ext>
              </a:extLst>
            </p:cNvPr>
            <p:cNvGrpSpPr/>
            <p:nvPr/>
          </p:nvGrpSpPr>
          <p:grpSpPr>
            <a:xfrm>
              <a:off x="4582544" y="3393486"/>
              <a:ext cx="420673" cy="303100"/>
              <a:chOff x="4582544" y="3393486"/>
              <a:chExt cx="420673" cy="303100"/>
            </a:xfrm>
            <a:noFill/>
          </p:grpSpPr>
          <p:grpSp>
            <p:nvGrpSpPr>
              <p:cNvPr id="314" name="Gráfico 4">
                <a:extLst>
                  <a:ext uri="{FF2B5EF4-FFF2-40B4-BE49-F238E27FC236}">
                    <a16:creationId xmlns:a16="http://schemas.microsoft.com/office/drawing/2014/main" id="{5B2CE240-1D7B-B0DC-2AB0-0C8A8A45210F}"/>
                  </a:ext>
                </a:extLst>
              </p:cNvPr>
              <p:cNvGrpSpPr/>
              <p:nvPr/>
            </p:nvGrpSpPr>
            <p:grpSpPr>
              <a:xfrm>
                <a:off x="4672880" y="3531550"/>
                <a:ext cx="240002" cy="165035"/>
                <a:chOff x="4672880" y="3531550"/>
                <a:chExt cx="240002" cy="165035"/>
              </a:xfrm>
              <a:noFill/>
            </p:grpSpPr>
            <p:sp>
              <p:nvSpPr>
                <p:cNvPr id="315" name="Forma livre: Forma 314">
                  <a:extLst>
                    <a:ext uri="{FF2B5EF4-FFF2-40B4-BE49-F238E27FC236}">
                      <a16:creationId xmlns:a16="http://schemas.microsoft.com/office/drawing/2014/main" id="{3DED0DDF-C086-4D04-561D-722A020B7CA1}"/>
                    </a:ext>
                  </a:extLst>
                </p:cNvPr>
                <p:cNvSpPr/>
                <p:nvPr/>
              </p:nvSpPr>
              <p:spPr>
                <a:xfrm>
                  <a:off x="4672880" y="3531550"/>
                  <a:ext cx="130796" cy="165035"/>
                </a:xfrm>
                <a:custGeom>
                  <a:avLst/>
                  <a:gdLst>
                    <a:gd name="connsiteX0" fmla="*/ 5852 w 130796"/>
                    <a:gd name="connsiteY0" fmla="*/ 0 h 165035"/>
                    <a:gd name="connsiteX1" fmla="*/ 0 w 130796"/>
                    <a:gd name="connsiteY1" fmla="*/ 88582 h 165035"/>
                    <a:gd name="connsiteX2" fmla="*/ 86340 w 130796"/>
                    <a:gd name="connsiteY2" fmla="*/ 88582 h 165035"/>
                    <a:gd name="connsiteX3" fmla="*/ 130797 w 130796"/>
                    <a:gd name="connsiteY3" fmla="*/ 155880 h 165035"/>
                    <a:gd name="connsiteX4" fmla="*/ 130797 w 130796"/>
                    <a:gd name="connsiteY4" fmla="*/ 165036 h 16503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30796" h="165035">
                      <a:moveTo>
                        <a:pt x="5852" y="0"/>
                      </a:moveTo>
                      <a:lnTo>
                        <a:pt x="0" y="88582"/>
                      </a:lnTo>
                      <a:lnTo>
                        <a:pt x="86340" y="88582"/>
                      </a:lnTo>
                      <a:cubicBezTo>
                        <a:pt x="86340" y="88582"/>
                        <a:pt x="130797" y="88582"/>
                        <a:pt x="130797" y="155880"/>
                      </a:cubicBezTo>
                      <a:lnTo>
                        <a:pt x="130797" y="165036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316" name="Forma livre: Forma 315">
                  <a:extLst>
                    <a:ext uri="{FF2B5EF4-FFF2-40B4-BE49-F238E27FC236}">
                      <a16:creationId xmlns:a16="http://schemas.microsoft.com/office/drawing/2014/main" id="{E26E4386-5648-D97E-7EA9-089D093C3383}"/>
                    </a:ext>
                  </a:extLst>
                </p:cNvPr>
                <p:cNvSpPr/>
                <p:nvPr/>
              </p:nvSpPr>
              <p:spPr>
                <a:xfrm>
                  <a:off x="4831993" y="3531550"/>
                  <a:ext cx="80889" cy="88582"/>
                </a:xfrm>
                <a:custGeom>
                  <a:avLst/>
                  <a:gdLst>
                    <a:gd name="connsiteX0" fmla="*/ 75014 w 80889"/>
                    <a:gd name="connsiteY0" fmla="*/ 0 h 88582"/>
                    <a:gd name="connsiteX1" fmla="*/ 80890 w 80889"/>
                    <a:gd name="connsiteY1" fmla="*/ 88582 h 88582"/>
                    <a:gd name="connsiteX2" fmla="*/ 0 w 80889"/>
                    <a:gd name="connsiteY2" fmla="*/ 88582 h 8858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80889" h="88582">
                      <a:moveTo>
                        <a:pt x="75014" y="0"/>
                      </a:moveTo>
                      <a:lnTo>
                        <a:pt x="80890" y="88582"/>
                      </a:lnTo>
                      <a:lnTo>
                        <a:pt x="0" y="88582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317" name="Gráfico 4">
                <a:extLst>
                  <a:ext uri="{FF2B5EF4-FFF2-40B4-BE49-F238E27FC236}">
                    <a16:creationId xmlns:a16="http://schemas.microsoft.com/office/drawing/2014/main" id="{E696F50E-D4F0-6234-C1CB-189EA4E89ED3}"/>
                  </a:ext>
                </a:extLst>
              </p:cNvPr>
              <p:cNvGrpSpPr/>
              <p:nvPr/>
            </p:nvGrpSpPr>
            <p:grpSpPr>
              <a:xfrm>
                <a:off x="4582544" y="3393486"/>
                <a:ext cx="420673" cy="302722"/>
                <a:chOff x="4582544" y="3393486"/>
                <a:chExt cx="420673" cy="302722"/>
              </a:xfrm>
              <a:noFill/>
            </p:grpSpPr>
            <p:grpSp>
              <p:nvGrpSpPr>
                <p:cNvPr id="318" name="Gráfico 4">
                  <a:extLst>
                    <a:ext uri="{FF2B5EF4-FFF2-40B4-BE49-F238E27FC236}">
                      <a16:creationId xmlns:a16="http://schemas.microsoft.com/office/drawing/2014/main" id="{5468C660-DF03-3941-9954-0DBF756B3F9F}"/>
                    </a:ext>
                  </a:extLst>
                </p:cNvPr>
                <p:cNvGrpSpPr/>
                <p:nvPr/>
              </p:nvGrpSpPr>
              <p:grpSpPr>
                <a:xfrm>
                  <a:off x="4582544" y="3393486"/>
                  <a:ext cx="210325" cy="302722"/>
                  <a:chOff x="4582544" y="3393486"/>
                  <a:chExt cx="210325" cy="302722"/>
                </a:xfrm>
                <a:noFill/>
              </p:grpSpPr>
              <p:grpSp>
                <p:nvGrpSpPr>
                  <p:cNvPr id="319" name="Gráfico 4">
                    <a:extLst>
                      <a:ext uri="{FF2B5EF4-FFF2-40B4-BE49-F238E27FC236}">
                        <a16:creationId xmlns:a16="http://schemas.microsoft.com/office/drawing/2014/main" id="{8EAB849A-BF5A-5BB5-0126-742213BDE9A8}"/>
                      </a:ext>
                    </a:extLst>
                  </p:cNvPr>
                  <p:cNvGrpSpPr/>
                  <p:nvPr/>
                </p:nvGrpSpPr>
                <p:grpSpPr>
                  <a:xfrm>
                    <a:off x="4708912" y="3393486"/>
                    <a:ext cx="83957" cy="193540"/>
                    <a:chOff x="4708912" y="3393486"/>
                    <a:chExt cx="83957" cy="193540"/>
                  </a:xfrm>
                  <a:noFill/>
                </p:grpSpPr>
                <p:sp>
                  <p:nvSpPr>
                    <p:cNvPr id="320" name="Forma livre: Forma 319">
                      <a:extLst>
                        <a:ext uri="{FF2B5EF4-FFF2-40B4-BE49-F238E27FC236}">
                          <a16:creationId xmlns:a16="http://schemas.microsoft.com/office/drawing/2014/main" id="{378D8BEA-FB82-0500-2AAA-62FDBD49A03A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4745464" y="3447027"/>
                      <a:ext cx="24210" cy="139999"/>
                    </a:xfrm>
                    <a:custGeom>
                      <a:avLst/>
                      <a:gdLst>
                        <a:gd name="connsiteX0" fmla="*/ 0 w 24210"/>
                        <a:gd name="connsiteY0" fmla="*/ 0 h 139999"/>
                        <a:gd name="connsiteX1" fmla="*/ 24210 w 24210"/>
                        <a:gd name="connsiteY1" fmla="*/ 36575 h 139999"/>
                        <a:gd name="connsiteX2" fmla="*/ 12341 w 24210"/>
                        <a:gd name="connsiteY2" fmla="*/ 139999 h 139999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</a:cxnLst>
                      <a:rect l="l" t="t" r="r" b="b"/>
                      <a:pathLst>
                        <a:path w="24210" h="139999">
                          <a:moveTo>
                            <a:pt x="0" y="0"/>
                          </a:moveTo>
                          <a:lnTo>
                            <a:pt x="24210" y="36575"/>
                          </a:lnTo>
                          <a:lnTo>
                            <a:pt x="12341" y="139999"/>
                          </a:lnTo>
                        </a:path>
                      </a:pathLst>
                    </a:custGeom>
                    <a:noFill/>
                    <a:ln w="6350" cap="rnd">
                      <a:solidFill>
                        <a:schemeClr val="accent2"/>
                      </a:solidFill>
                      <a:prstDash val="solid"/>
                      <a:round/>
                    </a:ln>
                  </p:spPr>
                  <p:txBody>
                    <a:bodyPr rtlCol="0" anchor="ctr"/>
                    <a:lstStyle/>
                    <a:p>
                      <a:endParaRPr lang="pt-PT"/>
                    </a:p>
                  </p:txBody>
                </p:sp>
                <p:sp>
                  <p:nvSpPr>
                    <p:cNvPr id="321" name="Forma livre: Forma 320">
                      <a:extLst>
                        <a:ext uri="{FF2B5EF4-FFF2-40B4-BE49-F238E27FC236}">
                          <a16:creationId xmlns:a16="http://schemas.microsoft.com/office/drawing/2014/main" id="{255B3AC4-44BB-A4ED-14A7-35B6AA8E604F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4708912" y="3393486"/>
                      <a:ext cx="83957" cy="66920"/>
                    </a:xfrm>
                    <a:custGeom>
                      <a:avLst/>
                      <a:gdLst>
                        <a:gd name="connsiteX0" fmla="*/ 83957 w 83957"/>
                        <a:gd name="connsiteY0" fmla="*/ 13757 h 66920"/>
                        <a:gd name="connsiteX1" fmla="*/ 15857 w 83957"/>
                        <a:gd name="connsiteY1" fmla="*/ 66920 h 66920"/>
                        <a:gd name="connsiteX2" fmla="*/ 0 w 83957"/>
                        <a:gd name="connsiteY2" fmla="*/ 0 h 6692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</a:cxnLst>
                      <a:rect l="l" t="t" r="r" b="b"/>
                      <a:pathLst>
                        <a:path w="83957" h="66920">
                          <a:moveTo>
                            <a:pt x="83957" y="13757"/>
                          </a:moveTo>
                          <a:lnTo>
                            <a:pt x="15857" y="66920"/>
                          </a:lnTo>
                          <a:lnTo>
                            <a:pt x="0" y="0"/>
                          </a:lnTo>
                        </a:path>
                      </a:pathLst>
                    </a:custGeom>
                    <a:noFill/>
                    <a:ln w="6350" cap="rnd">
                      <a:solidFill>
                        <a:schemeClr val="accent2"/>
                      </a:solidFill>
                      <a:prstDash val="solid"/>
                      <a:round/>
                    </a:ln>
                  </p:spPr>
                  <p:txBody>
                    <a:bodyPr rtlCol="0" anchor="ctr"/>
                    <a:lstStyle/>
                    <a:p>
                      <a:endParaRPr lang="pt-PT"/>
                    </a:p>
                  </p:txBody>
                </p:sp>
              </p:grpSp>
              <p:sp>
                <p:nvSpPr>
                  <p:cNvPr id="322" name="Forma livre: Forma 321">
                    <a:extLst>
                      <a:ext uri="{FF2B5EF4-FFF2-40B4-BE49-F238E27FC236}">
                        <a16:creationId xmlns:a16="http://schemas.microsoft.com/office/drawing/2014/main" id="{9F4F2200-CAB1-E583-5AFC-9E480A6D13BE}"/>
                      </a:ext>
                    </a:extLst>
                  </p:cNvPr>
                  <p:cNvSpPr/>
                  <p:nvPr/>
                </p:nvSpPr>
                <p:spPr>
                  <a:xfrm>
                    <a:off x="4582544" y="3393486"/>
                    <a:ext cx="126367" cy="302722"/>
                  </a:xfrm>
                  <a:custGeom>
                    <a:avLst/>
                    <a:gdLst>
                      <a:gd name="connsiteX0" fmla="*/ 126368 w 126367"/>
                      <a:gd name="connsiteY0" fmla="*/ 0 h 302722"/>
                      <a:gd name="connsiteX1" fmla="*/ 66833 w 126367"/>
                      <a:gd name="connsiteY1" fmla="*/ 16140 h 302722"/>
                      <a:gd name="connsiteX2" fmla="*/ 14449 w 126367"/>
                      <a:gd name="connsiteY2" fmla="*/ 76147 h 302722"/>
                      <a:gd name="connsiteX3" fmla="*/ 338 w 126367"/>
                      <a:gd name="connsiteY3" fmla="*/ 248545 h 302722"/>
                      <a:gd name="connsiteX4" fmla="*/ 38234 w 126367"/>
                      <a:gd name="connsiteY4" fmla="*/ 302723 h 30272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126367" h="302722">
                        <a:moveTo>
                          <a:pt x="126368" y="0"/>
                        </a:moveTo>
                        <a:cubicBezTo>
                          <a:pt x="110983" y="5545"/>
                          <a:pt x="81322" y="13663"/>
                          <a:pt x="66833" y="16140"/>
                        </a:cubicBezTo>
                        <a:cubicBezTo>
                          <a:pt x="36842" y="21284"/>
                          <a:pt x="19970" y="32894"/>
                          <a:pt x="14449" y="76147"/>
                        </a:cubicBezTo>
                        <a:lnTo>
                          <a:pt x="338" y="248545"/>
                        </a:lnTo>
                        <a:cubicBezTo>
                          <a:pt x="338" y="248545"/>
                          <a:pt x="-6199" y="302723"/>
                          <a:pt x="38234" y="302723"/>
                        </a:cubicBezTo>
                      </a:path>
                    </a:pathLst>
                  </a:custGeom>
                  <a:noFill/>
                  <a:ln w="6350" cap="rnd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  <p:grpSp>
              <p:nvGrpSpPr>
                <p:cNvPr id="323" name="Gráfico 4">
                  <a:extLst>
                    <a:ext uri="{FF2B5EF4-FFF2-40B4-BE49-F238E27FC236}">
                      <a16:creationId xmlns:a16="http://schemas.microsoft.com/office/drawing/2014/main" id="{40B6BBE0-748E-E9C9-D1DC-2A2D55D04415}"/>
                    </a:ext>
                  </a:extLst>
                </p:cNvPr>
                <p:cNvGrpSpPr/>
                <p:nvPr/>
              </p:nvGrpSpPr>
              <p:grpSpPr>
                <a:xfrm>
                  <a:off x="4792870" y="3393486"/>
                  <a:ext cx="210348" cy="302722"/>
                  <a:chOff x="4792870" y="3393486"/>
                  <a:chExt cx="210348" cy="302722"/>
                </a:xfrm>
                <a:noFill/>
              </p:grpSpPr>
              <p:grpSp>
                <p:nvGrpSpPr>
                  <p:cNvPr id="324" name="Gráfico 4">
                    <a:extLst>
                      <a:ext uri="{FF2B5EF4-FFF2-40B4-BE49-F238E27FC236}">
                        <a16:creationId xmlns:a16="http://schemas.microsoft.com/office/drawing/2014/main" id="{C9B86CDB-39CF-9D55-1663-A85223DF4133}"/>
                      </a:ext>
                    </a:extLst>
                  </p:cNvPr>
                  <p:cNvGrpSpPr/>
                  <p:nvPr/>
                </p:nvGrpSpPr>
                <p:grpSpPr>
                  <a:xfrm>
                    <a:off x="4792870" y="3393486"/>
                    <a:ext cx="83957" cy="193540"/>
                    <a:chOff x="4792870" y="3393486"/>
                    <a:chExt cx="83957" cy="193540"/>
                  </a:xfrm>
                  <a:noFill/>
                </p:grpSpPr>
                <p:sp>
                  <p:nvSpPr>
                    <p:cNvPr id="325" name="Forma livre: Forma 324">
                      <a:extLst>
                        <a:ext uri="{FF2B5EF4-FFF2-40B4-BE49-F238E27FC236}">
                          <a16:creationId xmlns:a16="http://schemas.microsoft.com/office/drawing/2014/main" id="{F5BD90B0-2495-DFE3-7710-EBB231F5D642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4816065" y="3447027"/>
                      <a:ext cx="24210" cy="139999"/>
                    </a:xfrm>
                    <a:custGeom>
                      <a:avLst/>
                      <a:gdLst>
                        <a:gd name="connsiteX0" fmla="*/ 24210 w 24210"/>
                        <a:gd name="connsiteY0" fmla="*/ 0 h 139999"/>
                        <a:gd name="connsiteX1" fmla="*/ 0 w 24210"/>
                        <a:gd name="connsiteY1" fmla="*/ 36575 h 139999"/>
                        <a:gd name="connsiteX2" fmla="*/ 11846 w 24210"/>
                        <a:gd name="connsiteY2" fmla="*/ 139999 h 139999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</a:cxnLst>
                      <a:rect l="l" t="t" r="r" b="b"/>
                      <a:pathLst>
                        <a:path w="24210" h="139999">
                          <a:moveTo>
                            <a:pt x="24210" y="0"/>
                          </a:moveTo>
                          <a:lnTo>
                            <a:pt x="0" y="36575"/>
                          </a:lnTo>
                          <a:lnTo>
                            <a:pt x="11846" y="139999"/>
                          </a:lnTo>
                        </a:path>
                      </a:pathLst>
                    </a:custGeom>
                    <a:noFill/>
                    <a:ln w="6350" cap="rnd">
                      <a:solidFill>
                        <a:schemeClr val="accent2"/>
                      </a:solidFill>
                      <a:prstDash val="solid"/>
                      <a:round/>
                    </a:ln>
                  </p:spPr>
                  <p:txBody>
                    <a:bodyPr rtlCol="0" anchor="ctr"/>
                    <a:lstStyle/>
                    <a:p>
                      <a:endParaRPr lang="pt-PT"/>
                    </a:p>
                  </p:txBody>
                </p:sp>
                <p:sp>
                  <p:nvSpPr>
                    <p:cNvPr id="326" name="Forma livre: Forma 325">
                      <a:extLst>
                        <a:ext uri="{FF2B5EF4-FFF2-40B4-BE49-F238E27FC236}">
                          <a16:creationId xmlns:a16="http://schemas.microsoft.com/office/drawing/2014/main" id="{061177C0-F7EB-A38B-3686-2B5F0561B2B3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4792870" y="3393486"/>
                      <a:ext cx="83957" cy="66920"/>
                    </a:xfrm>
                    <a:custGeom>
                      <a:avLst/>
                      <a:gdLst>
                        <a:gd name="connsiteX0" fmla="*/ 0 w 83957"/>
                        <a:gd name="connsiteY0" fmla="*/ 13757 h 66920"/>
                        <a:gd name="connsiteX1" fmla="*/ 68100 w 83957"/>
                        <a:gd name="connsiteY1" fmla="*/ 66920 h 66920"/>
                        <a:gd name="connsiteX2" fmla="*/ 83957 w 83957"/>
                        <a:gd name="connsiteY2" fmla="*/ 0 h 6692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</a:cxnLst>
                      <a:rect l="l" t="t" r="r" b="b"/>
                      <a:pathLst>
                        <a:path w="83957" h="66920">
                          <a:moveTo>
                            <a:pt x="0" y="13757"/>
                          </a:moveTo>
                          <a:lnTo>
                            <a:pt x="68100" y="66920"/>
                          </a:lnTo>
                          <a:lnTo>
                            <a:pt x="83957" y="0"/>
                          </a:lnTo>
                        </a:path>
                      </a:pathLst>
                    </a:custGeom>
                    <a:noFill/>
                    <a:ln w="6350" cap="rnd">
                      <a:solidFill>
                        <a:schemeClr val="accent2"/>
                      </a:solidFill>
                      <a:prstDash val="solid"/>
                      <a:round/>
                    </a:ln>
                  </p:spPr>
                  <p:txBody>
                    <a:bodyPr rtlCol="0" anchor="ctr"/>
                    <a:lstStyle/>
                    <a:p>
                      <a:endParaRPr lang="pt-PT"/>
                    </a:p>
                  </p:txBody>
                </p:sp>
              </p:grpSp>
              <p:sp>
                <p:nvSpPr>
                  <p:cNvPr id="327" name="Forma livre: Forma 326">
                    <a:extLst>
                      <a:ext uri="{FF2B5EF4-FFF2-40B4-BE49-F238E27FC236}">
                        <a16:creationId xmlns:a16="http://schemas.microsoft.com/office/drawing/2014/main" id="{43BB7575-89A4-A9AC-AE85-F1FE4EEA5AC3}"/>
                      </a:ext>
                    </a:extLst>
                  </p:cNvPr>
                  <p:cNvSpPr/>
                  <p:nvPr/>
                </p:nvSpPr>
                <p:spPr>
                  <a:xfrm>
                    <a:off x="4876827" y="3393486"/>
                    <a:ext cx="126391" cy="302722"/>
                  </a:xfrm>
                  <a:custGeom>
                    <a:avLst/>
                    <a:gdLst>
                      <a:gd name="connsiteX0" fmla="*/ 0 w 126391"/>
                      <a:gd name="connsiteY0" fmla="*/ 0 h 302722"/>
                      <a:gd name="connsiteX1" fmla="*/ 59535 w 126391"/>
                      <a:gd name="connsiteY1" fmla="*/ 16140 h 302722"/>
                      <a:gd name="connsiteX2" fmla="*/ 111919 w 126391"/>
                      <a:gd name="connsiteY2" fmla="*/ 76147 h 302722"/>
                      <a:gd name="connsiteX3" fmla="*/ 126054 w 126391"/>
                      <a:gd name="connsiteY3" fmla="*/ 248545 h 302722"/>
                      <a:gd name="connsiteX4" fmla="*/ 88157 w 126391"/>
                      <a:gd name="connsiteY4" fmla="*/ 302723 h 30272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126391" h="302722">
                        <a:moveTo>
                          <a:pt x="0" y="0"/>
                        </a:moveTo>
                        <a:cubicBezTo>
                          <a:pt x="15385" y="5545"/>
                          <a:pt x="45046" y="13663"/>
                          <a:pt x="59535" y="16140"/>
                        </a:cubicBezTo>
                        <a:cubicBezTo>
                          <a:pt x="89526" y="21284"/>
                          <a:pt x="106398" y="32894"/>
                          <a:pt x="111919" y="76147"/>
                        </a:cubicBezTo>
                        <a:lnTo>
                          <a:pt x="126054" y="248545"/>
                        </a:lnTo>
                        <a:cubicBezTo>
                          <a:pt x="126054" y="248545"/>
                          <a:pt x="132590" y="302723"/>
                          <a:pt x="88157" y="302723"/>
                        </a:cubicBezTo>
                      </a:path>
                    </a:pathLst>
                  </a:custGeom>
                  <a:noFill/>
                  <a:ln w="6350" cap="rnd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</p:grpSp>
        </p:grpSp>
      </p:grpSp>
      <p:grpSp>
        <p:nvGrpSpPr>
          <p:cNvPr id="328" name="Gráfico 4">
            <a:extLst>
              <a:ext uri="{FF2B5EF4-FFF2-40B4-BE49-F238E27FC236}">
                <a16:creationId xmlns:a16="http://schemas.microsoft.com/office/drawing/2014/main" id="{036929AC-2311-5F6C-BF5A-13FF77D6C3AC}"/>
              </a:ext>
            </a:extLst>
          </p:cNvPr>
          <p:cNvGrpSpPr/>
          <p:nvPr/>
        </p:nvGrpSpPr>
        <p:grpSpPr>
          <a:xfrm>
            <a:off x="6964052" y="4189238"/>
            <a:ext cx="696646" cy="525192"/>
            <a:chOff x="6964052" y="4189238"/>
            <a:chExt cx="696646" cy="525192"/>
          </a:xfrm>
        </p:grpSpPr>
        <p:sp>
          <p:nvSpPr>
            <p:cNvPr id="329" name="Forma livre: Forma 328">
              <a:extLst>
                <a:ext uri="{FF2B5EF4-FFF2-40B4-BE49-F238E27FC236}">
                  <a16:creationId xmlns:a16="http://schemas.microsoft.com/office/drawing/2014/main" id="{4E8214E5-19B4-EF2D-A6AB-E29827B22E66}"/>
                </a:ext>
              </a:extLst>
            </p:cNvPr>
            <p:cNvSpPr/>
            <p:nvPr/>
          </p:nvSpPr>
          <p:spPr>
            <a:xfrm>
              <a:off x="7204503" y="4531249"/>
              <a:ext cx="54296" cy="2359"/>
            </a:xfrm>
            <a:custGeom>
              <a:avLst/>
              <a:gdLst>
                <a:gd name="connsiteX0" fmla="*/ 0 w 54296"/>
                <a:gd name="connsiteY0" fmla="*/ 0 h 2359"/>
                <a:gd name="connsiteX1" fmla="*/ 54296 w 54296"/>
                <a:gd name="connsiteY1" fmla="*/ 0 h 23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4296" h="2359">
                  <a:moveTo>
                    <a:pt x="0" y="0"/>
                  </a:moveTo>
                  <a:lnTo>
                    <a:pt x="54296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30" name="Forma livre: Forma 329">
              <a:extLst>
                <a:ext uri="{FF2B5EF4-FFF2-40B4-BE49-F238E27FC236}">
                  <a16:creationId xmlns:a16="http://schemas.microsoft.com/office/drawing/2014/main" id="{AE6ADFE8-7927-EC9F-F992-1F0CF4097ABC}"/>
                </a:ext>
              </a:extLst>
            </p:cNvPr>
            <p:cNvSpPr/>
            <p:nvPr/>
          </p:nvSpPr>
          <p:spPr>
            <a:xfrm>
              <a:off x="7204503" y="4577004"/>
              <a:ext cx="54296" cy="2359"/>
            </a:xfrm>
            <a:custGeom>
              <a:avLst/>
              <a:gdLst>
                <a:gd name="connsiteX0" fmla="*/ 0 w 54296"/>
                <a:gd name="connsiteY0" fmla="*/ 0 h 2359"/>
                <a:gd name="connsiteX1" fmla="*/ 54296 w 54296"/>
                <a:gd name="connsiteY1" fmla="*/ 0 h 23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4296" h="2359">
                  <a:moveTo>
                    <a:pt x="0" y="0"/>
                  </a:moveTo>
                  <a:lnTo>
                    <a:pt x="54296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31" name="Forma livre: Forma 330">
              <a:extLst>
                <a:ext uri="{FF2B5EF4-FFF2-40B4-BE49-F238E27FC236}">
                  <a16:creationId xmlns:a16="http://schemas.microsoft.com/office/drawing/2014/main" id="{BB0BF2A4-BBC4-9FA3-C5B2-5424E12F93C5}"/>
                </a:ext>
              </a:extLst>
            </p:cNvPr>
            <p:cNvSpPr/>
            <p:nvPr/>
          </p:nvSpPr>
          <p:spPr>
            <a:xfrm>
              <a:off x="7204503" y="4668582"/>
              <a:ext cx="54296" cy="2359"/>
            </a:xfrm>
            <a:custGeom>
              <a:avLst/>
              <a:gdLst>
                <a:gd name="connsiteX0" fmla="*/ 0 w 54296"/>
                <a:gd name="connsiteY0" fmla="*/ 0 h 2359"/>
                <a:gd name="connsiteX1" fmla="*/ 54296 w 54296"/>
                <a:gd name="connsiteY1" fmla="*/ 0 h 23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4296" h="2359">
                  <a:moveTo>
                    <a:pt x="0" y="0"/>
                  </a:moveTo>
                  <a:lnTo>
                    <a:pt x="54296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32" name="Forma livre: Forma 331">
              <a:extLst>
                <a:ext uri="{FF2B5EF4-FFF2-40B4-BE49-F238E27FC236}">
                  <a16:creationId xmlns:a16="http://schemas.microsoft.com/office/drawing/2014/main" id="{506202A3-A564-142B-CC97-0F468F07A09F}"/>
                </a:ext>
              </a:extLst>
            </p:cNvPr>
            <p:cNvSpPr/>
            <p:nvPr/>
          </p:nvSpPr>
          <p:spPr>
            <a:xfrm>
              <a:off x="7204503" y="4622781"/>
              <a:ext cx="54296" cy="2359"/>
            </a:xfrm>
            <a:custGeom>
              <a:avLst/>
              <a:gdLst>
                <a:gd name="connsiteX0" fmla="*/ 0 w 54296"/>
                <a:gd name="connsiteY0" fmla="*/ 0 h 2359"/>
                <a:gd name="connsiteX1" fmla="*/ 54296 w 54296"/>
                <a:gd name="connsiteY1" fmla="*/ 0 h 23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4296" h="2359">
                  <a:moveTo>
                    <a:pt x="0" y="0"/>
                  </a:moveTo>
                  <a:lnTo>
                    <a:pt x="54296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33" name="Forma livre: Forma 332">
              <a:extLst>
                <a:ext uri="{FF2B5EF4-FFF2-40B4-BE49-F238E27FC236}">
                  <a16:creationId xmlns:a16="http://schemas.microsoft.com/office/drawing/2014/main" id="{91296237-0744-98EA-2D65-1DE3B4F3E9F1}"/>
                </a:ext>
              </a:extLst>
            </p:cNvPr>
            <p:cNvSpPr/>
            <p:nvPr/>
          </p:nvSpPr>
          <p:spPr>
            <a:xfrm>
              <a:off x="7465600" y="4577004"/>
              <a:ext cx="24163" cy="2359"/>
            </a:xfrm>
            <a:custGeom>
              <a:avLst/>
              <a:gdLst>
                <a:gd name="connsiteX0" fmla="*/ 0 w 24163"/>
                <a:gd name="connsiteY0" fmla="*/ 0 h 2359"/>
                <a:gd name="connsiteX1" fmla="*/ 24163 w 24163"/>
                <a:gd name="connsiteY1" fmla="*/ 0 h 23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4163" h="2359">
                  <a:moveTo>
                    <a:pt x="0" y="0"/>
                  </a:moveTo>
                  <a:lnTo>
                    <a:pt x="24163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34" name="Forma livre: Forma 333">
              <a:extLst>
                <a:ext uri="{FF2B5EF4-FFF2-40B4-BE49-F238E27FC236}">
                  <a16:creationId xmlns:a16="http://schemas.microsoft.com/office/drawing/2014/main" id="{E4411FF1-0618-406D-6C4A-68FB476519CC}"/>
                </a:ext>
              </a:extLst>
            </p:cNvPr>
            <p:cNvSpPr/>
            <p:nvPr/>
          </p:nvSpPr>
          <p:spPr>
            <a:xfrm>
              <a:off x="7465600" y="4668582"/>
              <a:ext cx="24163" cy="2359"/>
            </a:xfrm>
            <a:custGeom>
              <a:avLst/>
              <a:gdLst>
                <a:gd name="connsiteX0" fmla="*/ 0 w 24163"/>
                <a:gd name="connsiteY0" fmla="*/ 0 h 2359"/>
                <a:gd name="connsiteX1" fmla="*/ 24163 w 24163"/>
                <a:gd name="connsiteY1" fmla="*/ 0 h 23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4163" h="2359">
                  <a:moveTo>
                    <a:pt x="0" y="0"/>
                  </a:moveTo>
                  <a:lnTo>
                    <a:pt x="24163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35" name="Forma livre: Forma 334">
              <a:extLst>
                <a:ext uri="{FF2B5EF4-FFF2-40B4-BE49-F238E27FC236}">
                  <a16:creationId xmlns:a16="http://schemas.microsoft.com/office/drawing/2014/main" id="{4398FCA8-231B-9ADE-D63A-488586A12CEC}"/>
                </a:ext>
              </a:extLst>
            </p:cNvPr>
            <p:cNvSpPr/>
            <p:nvPr/>
          </p:nvSpPr>
          <p:spPr>
            <a:xfrm>
              <a:off x="7465600" y="4622781"/>
              <a:ext cx="24163" cy="2359"/>
            </a:xfrm>
            <a:custGeom>
              <a:avLst/>
              <a:gdLst>
                <a:gd name="connsiteX0" fmla="*/ 0 w 24163"/>
                <a:gd name="connsiteY0" fmla="*/ 0 h 2359"/>
                <a:gd name="connsiteX1" fmla="*/ 24163 w 24163"/>
                <a:gd name="connsiteY1" fmla="*/ 0 h 23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4163" h="2359">
                  <a:moveTo>
                    <a:pt x="0" y="0"/>
                  </a:moveTo>
                  <a:lnTo>
                    <a:pt x="24163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36" name="Forma livre: Forma 335">
              <a:extLst>
                <a:ext uri="{FF2B5EF4-FFF2-40B4-BE49-F238E27FC236}">
                  <a16:creationId xmlns:a16="http://schemas.microsoft.com/office/drawing/2014/main" id="{A5FC3E24-381F-E4DA-3299-479B965F4076}"/>
                </a:ext>
              </a:extLst>
            </p:cNvPr>
            <p:cNvSpPr/>
            <p:nvPr/>
          </p:nvSpPr>
          <p:spPr>
            <a:xfrm>
              <a:off x="7095934" y="4668582"/>
              <a:ext cx="34663" cy="2359"/>
            </a:xfrm>
            <a:custGeom>
              <a:avLst/>
              <a:gdLst>
                <a:gd name="connsiteX0" fmla="*/ 0 w 34663"/>
                <a:gd name="connsiteY0" fmla="*/ 0 h 2359"/>
                <a:gd name="connsiteX1" fmla="*/ 34663 w 34663"/>
                <a:gd name="connsiteY1" fmla="*/ 0 h 23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4663" h="2359">
                  <a:moveTo>
                    <a:pt x="0" y="0"/>
                  </a:moveTo>
                  <a:lnTo>
                    <a:pt x="34663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37" name="Forma livre: Forma 336">
              <a:extLst>
                <a:ext uri="{FF2B5EF4-FFF2-40B4-BE49-F238E27FC236}">
                  <a16:creationId xmlns:a16="http://schemas.microsoft.com/office/drawing/2014/main" id="{797547C0-25AC-FDDC-CA0B-4B4F20C345FB}"/>
                </a:ext>
              </a:extLst>
            </p:cNvPr>
            <p:cNvSpPr/>
            <p:nvPr/>
          </p:nvSpPr>
          <p:spPr>
            <a:xfrm>
              <a:off x="7095934" y="4622781"/>
              <a:ext cx="34663" cy="2359"/>
            </a:xfrm>
            <a:custGeom>
              <a:avLst/>
              <a:gdLst>
                <a:gd name="connsiteX0" fmla="*/ 0 w 34663"/>
                <a:gd name="connsiteY0" fmla="*/ 0 h 2359"/>
                <a:gd name="connsiteX1" fmla="*/ 34663 w 34663"/>
                <a:gd name="connsiteY1" fmla="*/ 0 h 23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4663" h="2359">
                  <a:moveTo>
                    <a:pt x="0" y="0"/>
                  </a:moveTo>
                  <a:lnTo>
                    <a:pt x="34663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38" name="Forma livre: Forma 337">
              <a:extLst>
                <a:ext uri="{FF2B5EF4-FFF2-40B4-BE49-F238E27FC236}">
                  <a16:creationId xmlns:a16="http://schemas.microsoft.com/office/drawing/2014/main" id="{42456A1B-7BAE-948F-D23D-8405561EAF26}"/>
                </a:ext>
              </a:extLst>
            </p:cNvPr>
            <p:cNvSpPr/>
            <p:nvPr/>
          </p:nvSpPr>
          <p:spPr>
            <a:xfrm>
              <a:off x="7169178" y="4483466"/>
              <a:ext cx="124920" cy="230964"/>
            </a:xfrm>
            <a:custGeom>
              <a:avLst/>
              <a:gdLst>
                <a:gd name="connsiteX0" fmla="*/ 0 w 124920"/>
                <a:gd name="connsiteY0" fmla="*/ 230965 h 230964"/>
                <a:gd name="connsiteX1" fmla="*/ 0 w 124920"/>
                <a:gd name="connsiteY1" fmla="*/ 0 h 230964"/>
                <a:gd name="connsiteX2" fmla="*/ 124921 w 124920"/>
                <a:gd name="connsiteY2" fmla="*/ 0 h 230964"/>
                <a:gd name="connsiteX3" fmla="*/ 124921 w 124920"/>
                <a:gd name="connsiteY3" fmla="*/ 230965 h 230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4920" h="230964">
                  <a:moveTo>
                    <a:pt x="0" y="230965"/>
                  </a:moveTo>
                  <a:lnTo>
                    <a:pt x="0" y="0"/>
                  </a:lnTo>
                  <a:lnTo>
                    <a:pt x="124921" y="0"/>
                  </a:lnTo>
                  <a:lnTo>
                    <a:pt x="124921" y="230965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39" name="Forma livre: Forma 338">
              <a:extLst>
                <a:ext uri="{FF2B5EF4-FFF2-40B4-BE49-F238E27FC236}">
                  <a16:creationId xmlns:a16="http://schemas.microsoft.com/office/drawing/2014/main" id="{0D4794D2-FF6C-C13B-8940-FC07D0B69AA5}"/>
                </a:ext>
              </a:extLst>
            </p:cNvPr>
            <p:cNvSpPr/>
            <p:nvPr/>
          </p:nvSpPr>
          <p:spPr>
            <a:xfrm>
              <a:off x="7061507" y="4577405"/>
              <a:ext cx="69185" cy="137026"/>
            </a:xfrm>
            <a:custGeom>
              <a:avLst/>
              <a:gdLst>
                <a:gd name="connsiteX0" fmla="*/ 0 w 69185"/>
                <a:gd name="connsiteY0" fmla="*/ 137026 h 137026"/>
                <a:gd name="connsiteX1" fmla="*/ 0 w 69185"/>
                <a:gd name="connsiteY1" fmla="*/ 0 h 137026"/>
                <a:gd name="connsiteX2" fmla="*/ 69185 w 69185"/>
                <a:gd name="connsiteY2" fmla="*/ 0 h 1370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9185" h="137026">
                  <a:moveTo>
                    <a:pt x="0" y="137026"/>
                  </a:moveTo>
                  <a:lnTo>
                    <a:pt x="0" y="0"/>
                  </a:lnTo>
                  <a:lnTo>
                    <a:pt x="69185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40" name="Forma livre: Forma 339">
              <a:extLst>
                <a:ext uri="{FF2B5EF4-FFF2-40B4-BE49-F238E27FC236}">
                  <a16:creationId xmlns:a16="http://schemas.microsoft.com/office/drawing/2014/main" id="{A53BF2B5-5795-082B-1E28-EFACBB7975CA}"/>
                </a:ext>
              </a:extLst>
            </p:cNvPr>
            <p:cNvSpPr/>
            <p:nvPr/>
          </p:nvSpPr>
          <p:spPr>
            <a:xfrm>
              <a:off x="7331123" y="4622687"/>
              <a:ext cx="56160" cy="91744"/>
            </a:xfrm>
            <a:custGeom>
              <a:avLst/>
              <a:gdLst>
                <a:gd name="connsiteX0" fmla="*/ 56160 w 56160"/>
                <a:gd name="connsiteY0" fmla="*/ 91744 h 91744"/>
                <a:gd name="connsiteX1" fmla="*/ 56160 w 56160"/>
                <a:gd name="connsiteY1" fmla="*/ 0 h 91744"/>
                <a:gd name="connsiteX2" fmla="*/ 0 w 56160"/>
                <a:gd name="connsiteY2" fmla="*/ 0 h 917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56160" h="91744">
                  <a:moveTo>
                    <a:pt x="56160" y="91744"/>
                  </a:moveTo>
                  <a:lnTo>
                    <a:pt x="56160" y="0"/>
                  </a:lnTo>
                  <a:lnTo>
                    <a:pt x="0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41" name="Forma livre: Forma 340">
              <a:extLst>
                <a:ext uri="{FF2B5EF4-FFF2-40B4-BE49-F238E27FC236}">
                  <a16:creationId xmlns:a16="http://schemas.microsoft.com/office/drawing/2014/main" id="{5C237FB9-CDB6-B2CF-8F9C-31667EF1EE49}"/>
                </a:ext>
              </a:extLst>
            </p:cNvPr>
            <p:cNvSpPr/>
            <p:nvPr/>
          </p:nvSpPr>
          <p:spPr>
            <a:xfrm>
              <a:off x="7436105" y="4535803"/>
              <a:ext cx="81668" cy="178627"/>
            </a:xfrm>
            <a:custGeom>
              <a:avLst/>
              <a:gdLst>
                <a:gd name="connsiteX0" fmla="*/ 0 w 81668"/>
                <a:gd name="connsiteY0" fmla="*/ 178627 h 178627"/>
                <a:gd name="connsiteX1" fmla="*/ 0 w 81668"/>
                <a:gd name="connsiteY1" fmla="*/ 0 h 178627"/>
                <a:gd name="connsiteX2" fmla="*/ 81668 w 81668"/>
                <a:gd name="connsiteY2" fmla="*/ 0 h 178627"/>
                <a:gd name="connsiteX3" fmla="*/ 81668 w 81668"/>
                <a:gd name="connsiteY3" fmla="*/ 178627 h 1786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1668" h="178627">
                  <a:moveTo>
                    <a:pt x="0" y="178627"/>
                  </a:moveTo>
                  <a:lnTo>
                    <a:pt x="0" y="0"/>
                  </a:lnTo>
                  <a:lnTo>
                    <a:pt x="81668" y="0"/>
                  </a:lnTo>
                  <a:lnTo>
                    <a:pt x="81668" y="178627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42" name="Forma livre: Forma 341">
              <a:extLst>
                <a:ext uri="{FF2B5EF4-FFF2-40B4-BE49-F238E27FC236}">
                  <a16:creationId xmlns:a16="http://schemas.microsoft.com/office/drawing/2014/main" id="{2F4F57ED-25D2-9B03-9CA6-83CD67648425}"/>
                </a:ext>
              </a:extLst>
            </p:cNvPr>
            <p:cNvSpPr/>
            <p:nvPr/>
          </p:nvSpPr>
          <p:spPr>
            <a:xfrm>
              <a:off x="7331123" y="4668582"/>
              <a:ext cx="22959" cy="2359"/>
            </a:xfrm>
            <a:custGeom>
              <a:avLst/>
              <a:gdLst>
                <a:gd name="connsiteX0" fmla="*/ 0 w 22959"/>
                <a:gd name="connsiteY0" fmla="*/ 0 h 2359"/>
                <a:gd name="connsiteX1" fmla="*/ 22960 w 22959"/>
                <a:gd name="connsiteY1" fmla="*/ 0 h 23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2959" h="2359">
                  <a:moveTo>
                    <a:pt x="0" y="0"/>
                  </a:moveTo>
                  <a:lnTo>
                    <a:pt x="2296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43" name="Forma livre: Forma 342">
              <a:extLst>
                <a:ext uri="{FF2B5EF4-FFF2-40B4-BE49-F238E27FC236}">
                  <a16:creationId xmlns:a16="http://schemas.microsoft.com/office/drawing/2014/main" id="{B184DB5A-ADC8-433D-032F-FE729A0A5E1E}"/>
                </a:ext>
              </a:extLst>
            </p:cNvPr>
            <p:cNvSpPr/>
            <p:nvPr/>
          </p:nvSpPr>
          <p:spPr>
            <a:xfrm>
              <a:off x="7170075" y="4246767"/>
              <a:ext cx="353997" cy="153308"/>
            </a:xfrm>
            <a:custGeom>
              <a:avLst/>
              <a:gdLst>
                <a:gd name="connsiteX0" fmla="*/ 348311 w 353997"/>
                <a:gd name="connsiteY0" fmla="*/ 153308 h 153308"/>
                <a:gd name="connsiteX1" fmla="*/ 353998 w 353997"/>
                <a:gd name="connsiteY1" fmla="*/ 117229 h 153308"/>
                <a:gd name="connsiteX2" fmla="*/ 236722 w 353997"/>
                <a:gd name="connsiteY2" fmla="*/ 0 h 153308"/>
                <a:gd name="connsiteX3" fmla="*/ 140613 w 353997"/>
                <a:gd name="connsiteY3" fmla="*/ 50190 h 153308"/>
                <a:gd name="connsiteX4" fmla="*/ 71403 w 353997"/>
                <a:gd name="connsiteY4" fmla="*/ 0 h 153308"/>
                <a:gd name="connsiteX5" fmla="*/ 0 w 353997"/>
                <a:gd name="connsiteY5" fmla="*/ 58355 h 1533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53997" h="153308">
                  <a:moveTo>
                    <a:pt x="348311" y="153308"/>
                  </a:moveTo>
                  <a:cubicBezTo>
                    <a:pt x="351992" y="141934"/>
                    <a:pt x="353998" y="129806"/>
                    <a:pt x="353998" y="117229"/>
                  </a:cubicBezTo>
                  <a:cubicBezTo>
                    <a:pt x="353998" y="52479"/>
                    <a:pt x="301495" y="0"/>
                    <a:pt x="236722" y="0"/>
                  </a:cubicBezTo>
                  <a:cubicBezTo>
                    <a:pt x="196915" y="0"/>
                    <a:pt x="161803" y="19892"/>
                    <a:pt x="140613" y="50190"/>
                  </a:cubicBezTo>
                  <a:cubicBezTo>
                    <a:pt x="131080" y="21048"/>
                    <a:pt x="103731" y="0"/>
                    <a:pt x="71403" y="0"/>
                  </a:cubicBezTo>
                  <a:cubicBezTo>
                    <a:pt x="36126" y="0"/>
                    <a:pt x="6725" y="25060"/>
                    <a:pt x="0" y="58355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44" name="Forma livre: Forma 343">
              <a:extLst>
                <a:ext uri="{FF2B5EF4-FFF2-40B4-BE49-F238E27FC236}">
                  <a16:creationId xmlns:a16="http://schemas.microsoft.com/office/drawing/2014/main" id="{33CA93E5-6FCD-C401-0253-BCA799DC26C7}"/>
                </a:ext>
              </a:extLst>
            </p:cNvPr>
            <p:cNvSpPr/>
            <p:nvPr/>
          </p:nvSpPr>
          <p:spPr>
            <a:xfrm>
              <a:off x="7268733" y="4346209"/>
              <a:ext cx="162652" cy="52686"/>
            </a:xfrm>
            <a:custGeom>
              <a:avLst/>
              <a:gdLst>
                <a:gd name="connsiteX0" fmla="*/ 162652 w 162652"/>
                <a:gd name="connsiteY0" fmla="*/ 52687 h 52686"/>
                <a:gd name="connsiteX1" fmla="*/ 105737 w 162652"/>
                <a:gd name="connsiteY1" fmla="*/ 42 h 52686"/>
                <a:gd name="connsiteX2" fmla="*/ 61753 w 162652"/>
                <a:gd name="connsiteY2" fmla="*/ 25220 h 52686"/>
                <a:gd name="connsiteX3" fmla="*/ 28481 w 162652"/>
                <a:gd name="connsiteY3" fmla="*/ 3016 h 52686"/>
                <a:gd name="connsiteX4" fmla="*/ 0 w 162652"/>
                <a:gd name="connsiteY4" fmla="*/ 20619 h 526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2652" h="52686">
                  <a:moveTo>
                    <a:pt x="162652" y="52687"/>
                  </a:moveTo>
                  <a:cubicBezTo>
                    <a:pt x="161473" y="22412"/>
                    <a:pt x="136012" y="-1137"/>
                    <a:pt x="105737" y="42"/>
                  </a:cubicBezTo>
                  <a:cubicBezTo>
                    <a:pt x="87143" y="750"/>
                    <a:pt x="71097" y="10685"/>
                    <a:pt x="61753" y="25220"/>
                  </a:cubicBezTo>
                  <a:cubicBezTo>
                    <a:pt x="56774" y="11770"/>
                    <a:pt x="43583" y="2449"/>
                    <a:pt x="28481" y="3016"/>
                  </a:cubicBezTo>
                  <a:cubicBezTo>
                    <a:pt x="16140" y="3511"/>
                    <a:pt x="5569" y="10520"/>
                    <a:pt x="0" y="20619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45" name="Forma livre: Forma 344">
              <a:extLst>
                <a:ext uri="{FF2B5EF4-FFF2-40B4-BE49-F238E27FC236}">
                  <a16:creationId xmlns:a16="http://schemas.microsoft.com/office/drawing/2014/main" id="{29D8F7EE-B737-C486-1DC3-84CBD3AC24BA}"/>
                </a:ext>
              </a:extLst>
            </p:cNvPr>
            <p:cNvSpPr/>
            <p:nvPr/>
          </p:nvSpPr>
          <p:spPr>
            <a:xfrm>
              <a:off x="7483227" y="4403780"/>
              <a:ext cx="121263" cy="230252"/>
            </a:xfrm>
            <a:custGeom>
              <a:avLst/>
              <a:gdLst>
                <a:gd name="connsiteX0" fmla="*/ 39973 w 121263"/>
                <a:gd name="connsiteY0" fmla="*/ 229667 h 230252"/>
                <a:gd name="connsiteX1" fmla="*/ 99696 w 121263"/>
                <a:gd name="connsiteY1" fmla="*/ 185399 h 230252"/>
                <a:gd name="connsiteX2" fmla="*/ 87048 w 121263"/>
                <a:gd name="connsiteY2" fmla="*/ 142925 h 230252"/>
                <a:gd name="connsiteX3" fmla="*/ 121264 w 121263"/>
                <a:gd name="connsiteY3" fmla="*/ 78247 h 230252"/>
                <a:gd name="connsiteX4" fmla="*/ 43017 w 121263"/>
                <a:gd name="connsiteY4" fmla="*/ 0 h 230252"/>
                <a:gd name="connsiteX5" fmla="*/ 0 w 121263"/>
                <a:gd name="connsiteY5" fmla="*/ 12884 h 2302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21263" h="230252">
                  <a:moveTo>
                    <a:pt x="39973" y="229667"/>
                  </a:moveTo>
                  <a:cubicBezTo>
                    <a:pt x="68714" y="233962"/>
                    <a:pt x="95425" y="214164"/>
                    <a:pt x="99696" y="185399"/>
                  </a:cubicBezTo>
                  <a:cubicBezTo>
                    <a:pt x="102103" y="169448"/>
                    <a:pt x="96959" y="154157"/>
                    <a:pt x="87048" y="142925"/>
                  </a:cubicBezTo>
                  <a:cubicBezTo>
                    <a:pt x="107696" y="128862"/>
                    <a:pt x="121264" y="105147"/>
                    <a:pt x="121264" y="78247"/>
                  </a:cubicBezTo>
                  <a:cubicBezTo>
                    <a:pt x="121264" y="35041"/>
                    <a:pt x="86246" y="0"/>
                    <a:pt x="43017" y="0"/>
                  </a:cubicBezTo>
                  <a:cubicBezTo>
                    <a:pt x="27136" y="0"/>
                    <a:pt x="12341" y="4743"/>
                    <a:pt x="0" y="12884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46" name="Forma livre: Forma 345">
              <a:extLst>
                <a:ext uri="{FF2B5EF4-FFF2-40B4-BE49-F238E27FC236}">
                  <a16:creationId xmlns:a16="http://schemas.microsoft.com/office/drawing/2014/main" id="{2ACBD5F4-29CA-AA92-690A-79F9D5DB32E9}"/>
                </a:ext>
              </a:extLst>
            </p:cNvPr>
            <p:cNvSpPr/>
            <p:nvPr/>
          </p:nvSpPr>
          <p:spPr>
            <a:xfrm>
              <a:off x="6971705" y="4435698"/>
              <a:ext cx="74817" cy="124976"/>
            </a:xfrm>
            <a:custGeom>
              <a:avLst/>
              <a:gdLst>
                <a:gd name="connsiteX0" fmla="*/ 51268 w 74817"/>
                <a:gd name="connsiteY0" fmla="*/ 124976 h 124976"/>
                <a:gd name="connsiteX1" fmla="*/ 35812 w 74817"/>
                <a:gd name="connsiteY1" fmla="*/ 119927 h 124976"/>
                <a:gd name="connsiteX2" fmla="*/ 1125 w 74817"/>
                <a:gd name="connsiteY2" fmla="*/ 51260 h 124976"/>
                <a:gd name="connsiteX3" fmla="*/ 74817 w 74817"/>
                <a:gd name="connsiteY3" fmla="*/ 1117 h 1249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4817" h="124976">
                  <a:moveTo>
                    <a:pt x="51268" y="124976"/>
                  </a:moveTo>
                  <a:cubicBezTo>
                    <a:pt x="45793" y="123915"/>
                    <a:pt x="40625" y="122192"/>
                    <a:pt x="35812" y="119927"/>
                  </a:cubicBezTo>
                  <a:cubicBezTo>
                    <a:pt x="10634" y="107869"/>
                    <a:pt x="-4350" y="80001"/>
                    <a:pt x="1125" y="51260"/>
                  </a:cubicBezTo>
                  <a:cubicBezTo>
                    <a:pt x="7637" y="17069"/>
                    <a:pt x="40602" y="-5372"/>
                    <a:pt x="74817" y="1117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47" name="Forma livre: Forma 346">
              <a:extLst>
                <a:ext uri="{FF2B5EF4-FFF2-40B4-BE49-F238E27FC236}">
                  <a16:creationId xmlns:a16="http://schemas.microsoft.com/office/drawing/2014/main" id="{5D8002C1-0358-526B-A027-D2578F7545D0}"/>
                </a:ext>
              </a:extLst>
            </p:cNvPr>
            <p:cNvSpPr/>
            <p:nvPr/>
          </p:nvSpPr>
          <p:spPr>
            <a:xfrm>
              <a:off x="7067240" y="4215997"/>
              <a:ext cx="13214" cy="13214"/>
            </a:xfrm>
            <a:custGeom>
              <a:avLst/>
              <a:gdLst>
                <a:gd name="connsiteX0" fmla="*/ 13214 w 13214"/>
                <a:gd name="connsiteY0" fmla="*/ 6607 h 13214"/>
                <a:gd name="connsiteX1" fmla="*/ 6607 w 13214"/>
                <a:gd name="connsiteY1" fmla="*/ 13214 h 13214"/>
                <a:gd name="connsiteX2" fmla="*/ 0 w 13214"/>
                <a:gd name="connsiteY2" fmla="*/ 6607 h 13214"/>
                <a:gd name="connsiteX3" fmla="*/ 6607 w 13214"/>
                <a:gd name="connsiteY3" fmla="*/ 0 h 13214"/>
                <a:gd name="connsiteX4" fmla="*/ 13214 w 13214"/>
                <a:gd name="connsiteY4" fmla="*/ 6607 h 132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214" h="13214">
                  <a:moveTo>
                    <a:pt x="13214" y="6607"/>
                  </a:moveTo>
                  <a:cubicBezTo>
                    <a:pt x="13214" y="10265"/>
                    <a:pt x="10265" y="13214"/>
                    <a:pt x="6607" y="13214"/>
                  </a:cubicBezTo>
                  <a:cubicBezTo>
                    <a:pt x="2950" y="13214"/>
                    <a:pt x="0" y="10265"/>
                    <a:pt x="0" y="6607"/>
                  </a:cubicBezTo>
                  <a:cubicBezTo>
                    <a:pt x="0" y="2950"/>
                    <a:pt x="2973" y="0"/>
                    <a:pt x="6607" y="0"/>
                  </a:cubicBezTo>
                  <a:cubicBezTo>
                    <a:pt x="10241" y="0"/>
                    <a:pt x="13214" y="2950"/>
                    <a:pt x="13214" y="6607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48" name="Forma livre: Forma 347">
              <a:extLst>
                <a:ext uri="{FF2B5EF4-FFF2-40B4-BE49-F238E27FC236}">
                  <a16:creationId xmlns:a16="http://schemas.microsoft.com/office/drawing/2014/main" id="{897931B6-2BCA-AA7F-FDB0-CA0E5C0F3CAB}"/>
                </a:ext>
              </a:extLst>
            </p:cNvPr>
            <p:cNvSpPr/>
            <p:nvPr/>
          </p:nvSpPr>
          <p:spPr>
            <a:xfrm>
              <a:off x="7130503" y="4225436"/>
              <a:ext cx="13214" cy="13214"/>
            </a:xfrm>
            <a:custGeom>
              <a:avLst/>
              <a:gdLst>
                <a:gd name="connsiteX0" fmla="*/ 13214 w 13214"/>
                <a:gd name="connsiteY0" fmla="*/ 6607 h 13214"/>
                <a:gd name="connsiteX1" fmla="*/ 6607 w 13214"/>
                <a:gd name="connsiteY1" fmla="*/ 13214 h 13214"/>
                <a:gd name="connsiteX2" fmla="*/ 0 w 13214"/>
                <a:gd name="connsiteY2" fmla="*/ 6607 h 13214"/>
                <a:gd name="connsiteX3" fmla="*/ 6607 w 13214"/>
                <a:gd name="connsiteY3" fmla="*/ 0 h 13214"/>
                <a:gd name="connsiteX4" fmla="*/ 13214 w 13214"/>
                <a:gd name="connsiteY4" fmla="*/ 6607 h 132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214" h="13214">
                  <a:moveTo>
                    <a:pt x="13214" y="6607"/>
                  </a:moveTo>
                  <a:cubicBezTo>
                    <a:pt x="13214" y="10265"/>
                    <a:pt x="10265" y="13214"/>
                    <a:pt x="6607" y="13214"/>
                  </a:cubicBezTo>
                  <a:cubicBezTo>
                    <a:pt x="2950" y="13214"/>
                    <a:pt x="0" y="10265"/>
                    <a:pt x="0" y="6607"/>
                  </a:cubicBezTo>
                  <a:cubicBezTo>
                    <a:pt x="0" y="2950"/>
                    <a:pt x="2973" y="0"/>
                    <a:pt x="6607" y="0"/>
                  </a:cubicBezTo>
                  <a:cubicBezTo>
                    <a:pt x="10241" y="0"/>
                    <a:pt x="13214" y="2950"/>
                    <a:pt x="13214" y="6607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49" name="Forma livre: Forma 348">
              <a:extLst>
                <a:ext uri="{FF2B5EF4-FFF2-40B4-BE49-F238E27FC236}">
                  <a16:creationId xmlns:a16="http://schemas.microsoft.com/office/drawing/2014/main" id="{A4AAFCB2-07BC-8706-E9E1-34D127DA01D1}"/>
                </a:ext>
              </a:extLst>
            </p:cNvPr>
            <p:cNvSpPr/>
            <p:nvPr/>
          </p:nvSpPr>
          <p:spPr>
            <a:xfrm>
              <a:off x="7038924" y="4296509"/>
              <a:ext cx="13214" cy="13214"/>
            </a:xfrm>
            <a:custGeom>
              <a:avLst/>
              <a:gdLst>
                <a:gd name="connsiteX0" fmla="*/ 13214 w 13214"/>
                <a:gd name="connsiteY0" fmla="*/ 6607 h 13214"/>
                <a:gd name="connsiteX1" fmla="*/ 6607 w 13214"/>
                <a:gd name="connsiteY1" fmla="*/ 13214 h 13214"/>
                <a:gd name="connsiteX2" fmla="*/ 0 w 13214"/>
                <a:gd name="connsiteY2" fmla="*/ 6607 h 13214"/>
                <a:gd name="connsiteX3" fmla="*/ 6607 w 13214"/>
                <a:gd name="connsiteY3" fmla="*/ 0 h 13214"/>
                <a:gd name="connsiteX4" fmla="*/ 13214 w 13214"/>
                <a:gd name="connsiteY4" fmla="*/ 6607 h 132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214" h="13214">
                  <a:moveTo>
                    <a:pt x="13214" y="6607"/>
                  </a:moveTo>
                  <a:cubicBezTo>
                    <a:pt x="13214" y="10265"/>
                    <a:pt x="10288" y="13214"/>
                    <a:pt x="6607" y="13214"/>
                  </a:cubicBezTo>
                  <a:cubicBezTo>
                    <a:pt x="2926" y="13214"/>
                    <a:pt x="0" y="10265"/>
                    <a:pt x="0" y="6607"/>
                  </a:cubicBezTo>
                  <a:cubicBezTo>
                    <a:pt x="0" y="2950"/>
                    <a:pt x="2973" y="0"/>
                    <a:pt x="6607" y="0"/>
                  </a:cubicBezTo>
                  <a:cubicBezTo>
                    <a:pt x="10241" y="0"/>
                    <a:pt x="13214" y="2950"/>
                    <a:pt x="13214" y="6607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50" name="Forma livre: Forma 349">
              <a:extLst>
                <a:ext uri="{FF2B5EF4-FFF2-40B4-BE49-F238E27FC236}">
                  <a16:creationId xmlns:a16="http://schemas.microsoft.com/office/drawing/2014/main" id="{84A99769-1E56-5325-B846-71187016C890}"/>
                </a:ext>
              </a:extLst>
            </p:cNvPr>
            <p:cNvSpPr/>
            <p:nvPr/>
          </p:nvSpPr>
          <p:spPr>
            <a:xfrm>
              <a:off x="6964052" y="4598406"/>
              <a:ext cx="13214" cy="13214"/>
            </a:xfrm>
            <a:custGeom>
              <a:avLst/>
              <a:gdLst>
                <a:gd name="connsiteX0" fmla="*/ 13214 w 13214"/>
                <a:gd name="connsiteY0" fmla="*/ 6607 h 13214"/>
                <a:gd name="connsiteX1" fmla="*/ 6607 w 13214"/>
                <a:gd name="connsiteY1" fmla="*/ 13214 h 13214"/>
                <a:gd name="connsiteX2" fmla="*/ 0 w 13214"/>
                <a:gd name="connsiteY2" fmla="*/ 6607 h 13214"/>
                <a:gd name="connsiteX3" fmla="*/ 6607 w 13214"/>
                <a:gd name="connsiteY3" fmla="*/ 0 h 13214"/>
                <a:gd name="connsiteX4" fmla="*/ 13214 w 13214"/>
                <a:gd name="connsiteY4" fmla="*/ 6607 h 132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214" h="13214">
                  <a:moveTo>
                    <a:pt x="13214" y="6607"/>
                  </a:moveTo>
                  <a:cubicBezTo>
                    <a:pt x="13214" y="10265"/>
                    <a:pt x="10288" y="13214"/>
                    <a:pt x="6607" y="13214"/>
                  </a:cubicBezTo>
                  <a:cubicBezTo>
                    <a:pt x="2926" y="13214"/>
                    <a:pt x="0" y="10265"/>
                    <a:pt x="0" y="6607"/>
                  </a:cubicBezTo>
                  <a:cubicBezTo>
                    <a:pt x="0" y="2950"/>
                    <a:pt x="2973" y="0"/>
                    <a:pt x="6607" y="0"/>
                  </a:cubicBezTo>
                  <a:cubicBezTo>
                    <a:pt x="10241" y="0"/>
                    <a:pt x="13214" y="2950"/>
                    <a:pt x="13214" y="6607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51" name="Forma livre: Forma 350">
              <a:extLst>
                <a:ext uri="{FF2B5EF4-FFF2-40B4-BE49-F238E27FC236}">
                  <a16:creationId xmlns:a16="http://schemas.microsoft.com/office/drawing/2014/main" id="{6D0EC6E4-B28C-E2DC-0A27-8288079DC98F}"/>
                </a:ext>
              </a:extLst>
            </p:cNvPr>
            <p:cNvSpPr/>
            <p:nvPr/>
          </p:nvSpPr>
          <p:spPr>
            <a:xfrm>
              <a:off x="7308541" y="4189238"/>
              <a:ext cx="13214" cy="13214"/>
            </a:xfrm>
            <a:custGeom>
              <a:avLst/>
              <a:gdLst>
                <a:gd name="connsiteX0" fmla="*/ 13214 w 13214"/>
                <a:gd name="connsiteY0" fmla="*/ 6607 h 13214"/>
                <a:gd name="connsiteX1" fmla="*/ 6607 w 13214"/>
                <a:gd name="connsiteY1" fmla="*/ 13214 h 13214"/>
                <a:gd name="connsiteX2" fmla="*/ 0 w 13214"/>
                <a:gd name="connsiteY2" fmla="*/ 6607 h 13214"/>
                <a:gd name="connsiteX3" fmla="*/ 6607 w 13214"/>
                <a:gd name="connsiteY3" fmla="*/ 0 h 13214"/>
                <a:gd name="connsiteX4" fmla="*/ 13214 w 13214"/>
                <a:gd name="connsiteY4" fmla="*/ 6607 h 132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214" h="13214">
                  <a:moveTo>
                    <a:pt x="13214" y="6607"/>
                  </a:moveTo>
                  <a:cubicBezTo>
                    <a:pt x="13214" y="10265"/>
                    <a:pt x="10288" y="13214"/>
                    <a:pt x="6607" y="13214"/>
                  </a:cubicBezTo>
                  <a:cubicBezTo>
                    <a:pt x="2926" y="13214"/>
                    <a:pt x="0" y="10265"/>
                    <a:pt x="0" y="6607"/>
                  </a:cubicBezTo>
                  <a:cubicBezTo>
                    <a:pt x="0" y="2950"/>
                    <a:pt x="2973" y="0"/>
                    <a:pt x="6607" y="0"/>
                  </a:cubicBezTo>
                  <a:cubicBezTo>
                    <a:pt x="10241" y="0"/>
                    <a:pt x="13214" y="2950"/>
                    <a:pt x="13214" y="6607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52" name="Forma livre: Forma 351">
              <a:extLst>
                <a:ext uri="{FF2B5EF4-FFF2-40B4-BE49-F238E27FC236}">
                  <a16:creationId xmlns:a16="http://schemas.microsoft.com/office/drawing/2014/main" id="{DC84A13B-B011-C62F-3900-11DF00608AF8}"/>
                </a:ext>
              </a:extLst>
            </p:cNvPr>
            <p:cNvSpPr/>
            <p:nvPr/>
          </p:nvSpPr>
          <p:spPr>
            <a:xfrm>
              <a:off x="7585118" y="4338700"/>
              <a:ext cx="13214" cy="13214"/>
            </a:xfrm>
            <a:custGeom>
              <a:avLst/>
              <a:gdLst>
                <a:gd name="connsiteX0" fmla="*/ 13214 w 13214"/>
                <a:gd name="connsiteY0" fmla="*/ 6607 h 13214"/>
                <a:gd name="connsiteX1" fmla="*/ 6607 w 13214"/>
                <a:gd name="connsiteY1" fmla="*/ 13214 h 13214"/>
                <a:gd name="connsiteX2" fmla="*/ 0 w 13214"/>
                <a:gd name="connsiteY2" fmla="*/ 6607 h 13214"/>
                <a:gd name="connsiteX3" fmla="*/ 6607 w 13214"/>
                <a:gd name="connsiteY3" fmla="*/ 0 h 13214"/>
                <a:gd name="connsiteX4" fmla="*/ 13214 w 13214"/>
                <a:gd name="connsiteY4" fmla="*/ 6607 h 132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214" h="13214">
                  <a:moveTo>
                    <a:pt x="13214" y="6607"/>
                  </a:moveTo>
                  <a:cubicBezTo>
                    <a:pt x="13214" y="10265"/>
                    <a:pt x="10288" y="13214"/>
                    <a:pt x="6607" y="13214"/>
                  </a:cubicBezTo>
                  <a:cubicBezTo>
                    <a:pt x="2926" y="13214"/>
                    <a:pt x="0" y="10265"/>
                    <a:pt x="0" y="6607"/>
                  </a:cubicBezTo>
                  <a:cubicBezTo>
                    <a:pt x="0" y="2950"/>
                    <a:pt x="2973" y="0"/>
                    <a:pt x="6607" y="0"/>
                  </a:cubicBezTo>
                  <a:cubicBezTo>
                    <a:pt x="10241" y="0"/>
                    <a:pt x="13214" y="2950"/>
                    <a:pt x="13214" y="6607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53" name="Forma livre: Forma 352">
              <a:extLst>
                <a:ext uri="{FF2B5EF4-FFF2-40B4-BE49-F238E27FC236}">
                  <a16:creationId xmlns:a16="http://schemas.microsoft.com/office/drawing/2014/main" id="{78E2821D-2A54-8145-05AF-1AA68308536C}"/>
                </a:ext>
              </a:extLst>
            </p:cNvPr>
            <p:cNvSpPr/>
            <p:nvPr/>
          </p:nvSpPr>
          <p:spPr>
            <a:xfrm>
              <a:off x="7483180" y="4469709"/>
              <a:ext cx="13214" cy="13214"/>
            </a:xfrm>
            <a:custGeom>
              <a:avLst/>
              <a:gdLst>
                <a:gd name="connsiteX0" fmla="*/ 13214 w 13214"/>
                <a:gd name="connsiteY0" fmla="*/ 6607 h 13214"/>
                <a:gd name="connsiteX1" fmla="*/ 6607 w 13214"/>
                <a:gd name="connsiteY1" fmla="*/ 13214 h 13214"/>
                <a:gd name="connsiteX2" fmla="*/ 0 w 13214"/>
                <a:gd name="connsiteY2" fmla="*/ 6607 h 13214"/>
                <a:gd name="connsiteX3" fmla="*/ 6607 w 13214"/>
                <a:gd name="connsiteY3" fmla="*/ 0 h 13214"/>
                <a:gd name="connsiteX4" fmla="*/ 13214 w 13214"/>
                <a:gd name="connsiteY4" fmla="*/ 6607 h 132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214" h="13214">
                  <a:moveTo>
                    <a:pt x="13214" y="6607"/>
                  </a:moveTo>
                  <a:cubicBezTo>
                    <a:pt x="13214" y="10265"/>
                    <a:pt x="10288" y="13214"/>
                    <a:pt x="6607" y="13214"/>
                  </a:cubicBezTo>
                  <a:cubicBezTo>
                    <a:pt x="2926" y="13214"/>
                    <a:pt x="0" y="10265"/>
                    <a:pt x="0" y="6607"/>
                  </a:cubicBezTo>
                  <a:cubicBezTo>
                    <a:pt x="0" y="2950"/>
                    <a:pt x="2973" y="0"/>
                    <a:pt x="6607" y="0"/>
                  </a:cubicBezTo>
                  <a:cubicBezTo>
                    <a:pt x="10241" y="0"/>
                    <a:pt x="13214" y="2950"/>
                    <a:pt x="13214" y="6607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54" name="Forma livre: Forma 353">
              <a:extLst>
                <a:ext uri="{FF2B5EF4-FFF2-40B4-BE49-F238E27FC236}">
                  <a16:creationId xmlns:a16="http://schemas.microsoft.com/office/drawing/2014/main" id="{532A8F0B-4DEB-894D-EF6F-6D8709759FEA}"/>
                </a:ext>
              </a:extLst>
            </p:cNvPr>
            <p:cNvSpPr/>
            <p:nvPr/>
          </p:nvSpPr>
          <p:spPr>
            <a:xfrm>
              <a:off x="7378953" y="4437924"/>
              <a:ext cx="13214" cy="13214"/>
            </a:xfrm>
            <a:custGeom>
              <a:avLst/>
              <a:gdLst>
                <a:gd name="connsiteX0" fmla="*/ 13214 w 13214"/>
                <a:gd name="connsiteY0" fmla="*/ 6607 h 13214"/>
                <a:gd name="connsiteX1" fmla="*/ 6607 w 13214"/>
                <a:gd name="connsiteY1" fmla="*/ 13214 h 13214"/>
                <a:gd name="connsiteX2" fmla="*/ 0 w 13214"/>
                <a:gd name="connsiteY2" fmla="*/ 6607 h 13214"/>
                <a:gd name="connsiteX3" fmla="*/ 6607 w 13214"/>
                <a:gd name="connsiteY3" fmla="*/ 0 h 13214"/>
                <a:gd name="connsiteX4" fmla="*/ 13214 w 13214"/>
                <a:gd name="connsiteY4" fmla="*/ 6607 h 132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214" h="13214">
                  <a:moveTo>
                    <a:pt x="13214" y="6607"/>
                  </a:moveTo>
                  <a:cubicBezTo>
                    <a:pt x="13214" y="10265"/>
                    <a:pt x="10288" y="13214"/>
                    <a:pt x="6607" y="13214"/>
                  </a:cubicBezTo>
                  <a:cubicBezTo>
                    <a:pt x="2926" y="13214"/>
                    <a:pt x="0" y="10265"/>
                    <a:pt x="0" y="6607"/>
                  </a:cubicBezTo>
                  <a:cubicBezTo>
                    <a:pt x="0" y="2950"/>
                    <a:pt x="2973" y="0"/>
                    <a:pt x="6607" y="0"/>
                  </a:cubicBezTo>
                  <a:cubicBezTo>
                    <a:pt x="10241" y="0"/>
                    <a:pt x="13214" y="2950"/>
                    <a:pt x="13214" y="6607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55" name="Forma livre: Forma 354">
              <a:extLst>
                <a:ext uri="{FF2B5EF4-FFF2-40B4-BE49-F238E27FC236}">
                  <a16:creationId xmlns:a16="http://schemas.microsoft.com/office/drawing/2014/main" id="{D9B808E8-9E48-A112-A450-63EA26351F06}"/>
                </a:ext>
              </a:extLst>
            </p:cNvPr>
            <p:cNvSpPr/>
            <p:nvPr/>
          </p:nvSpPr>
          <p:spPr>
            <a:xfrm>
              <a:off x="7092961" y="4472517"/>
              <a:ext cx="13214" cy="13214"/>
            </a:xfrm>
            <a:custGeom>
              <a:avLst/>
              <a:gdLst>
                <a:gd name="connsiteX0" fmla="*/ 13214 w 13214"/>
                <a:gd name="connsiteY0" fmla="*/ 6607 h 13214"/>
                <a:gd name="connsiteX1" fmla="*/ 6607 w 13214"/>
                <a:gd name="connsiteY1" fmla="*/ 13214 h 13214"/>
                <a:gd name="connsiteX2" fmla="*/ 0 w 13214"/>
                <a:gd name="connsiteY2" fmla="*/ 6607 h 13214"/>
                <a:gd name="connsiteX3" fmla="*/ 6607 w 13214"/>
                <a:gd name="connsiteY3" fmla="*/ 0 h 13214"/>
                <a:gd name="connsiteX4" fmla="*/ 13214 w 13214"/>
                <a:gd name="connsiteY4" fmla="*/ 6607 h 132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214" h="13214">
                  <a:moveTo>
                    <a:pt x="13214" y="6607"/>
                  </a:moveTo>
                  <a:cubicBezTo>
                    <a:pt x="13214" y="10265"/>
                    <a:pt x="10288" y="13214"/>
                    <a:pt x="6607" y="13214"/>
                  </a:cubicBezTo>
                  <a:cubicBezTo>
                    <a:pt x="2926" y="13214"/>
                    <a:pt x="0" y="10265"/>
                    <a:pt x="0" y="6607"/>
                  </a:cubicBezTo>
                  <a:cubicBezTo>
                    <a:pt x="0" y="2950"/>
                    <a:pt x="2973" y="0"/>
                    <a:pt x="6607" y="0"/>
                  </a:cubicBezTo>
                  <a:cubicBezTo>
                    <a:pt x="10241" y="0"/>
                    <a:pt x="13214" y="2950"/>
                    <a:pt x="13214" y="6607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56" name="Forma livre: Forma 355">
              <a:extLst>
                <a:ext uri="{FF2B5EF4-FFF2-40B4-BE49-F238E27FC236}">
                  <a16:creationId xmlns:a16="http://schemas.microsoft.com/office/drawing/2014/main" id="{7CD6B37B-88D8-D9DE-2F94-DEEAEFEC2CC7}"/>
                </a:ext>
              </a:extLst>
            </p:cNvPr>
            <p:cNvSpPr/>
            <p:nvPr/>
          </p:nvSpPr>
          <p:spPr>
            <a:xfrm>
              <a:off x="7360477" y="4520041"/>
              <a:ext cx="13214" cy="13214"/>
            </a:xfrm>
            <a:custGeom>
              <a:avLst/>
              <a:gdLst>
                <a:gd name="connsiteX0" fmla="*/ 13214 w 13214"/>
                <a:gd name="connsiteY0" fmla="*/ 6607 h 13214"/>
                <a:gd name="connsiteX1" fmla="*/ 6607 w 13214"/>
                <a:gd name="connsiteY1" fmla="*/ 13214 h 13214"/>
                <a:gd name="connsiteX2" fmla="*/ 0 w 13214"/>
                <a:gd name="connsiteY2" fmla="*/ 6607 h 13214"/>
                <a:gd name="connsiteX3" fmla="*/ 6607 w 13214"/>
                <a:gd name="connsiteY3" fmla="*/ 0 h 13214"/>
                <a:gd name="connsiteX4" fmla="*/ 13214 w 13214"/>
                <a:gd name="connsiteY4" fmla="*/ 6607 h 132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214" h="13214">
                  <a:moveTo>
                    <a:pt x="13214" y="6607"/>
                  </a:moveTo>
                  <a:cubicBezTo>
                    <a:pt x="13214" y="10265"/>
                    <a:pt x="10288" y="13214"/>
                    <a:pt x="6607" y="13214"/>
                  </a:cubicBezTo>
                  <a:cubicBezTo>
                    <a:pt x="2926" y="13214"/>
                    <a:pt x="0" y="10265"/>
                    <a:pt x="0" y="6607"/>
                  </a:cubicBezTo>
                  <a:cubicBezTo>
                    <a:pt x="0" y="2950"/>
                    <a:pt x="2973" y="0"/>
                    <a:pt x="6607" y="0"/>
                  </a:cubicBezTo>
                  <a:cubicBezTo>
                    <a:pt x="10241" y="0"/>
                    <a:pt x="13214" y="2950"/>
                    <a:pt x="13214" y="6607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57" name="Forma livre: Forma 356">
              <a:extLst>
                <a:ext uri="{FF2B5EF4-FFF2-40B4-BE49-F238E27FC236}">
                  <a16:creationId xmlns:a16="http://schemas.microsoft.com/office/drawing/2014/main" id="{4F58042C-BAFC-A57C-A5A6-214688EDE8EC}"/>
                </a:ext>
              </a:extLst>
            </p:cNvPr>
            <p:cNvSpPr/>
            <p:nvPr/>
          </p:nvSpPr>
          <p:spPr>
            <a:xfrm>
              <a:off x="7026952" y="4306166"/>
              <a:ext cx="178116" cy="126071"/>
            </a:xfrm>
            <a:custGeom>
              <a:avLst/>
              <a:gdLst>
                <a:gd name="connsiteX0" fmla="*/ 178117 w 178116"/>
                <a:gd name="connsiteY0" fmla="*/ 30080 h 126071"/>
                <a:gd name="connsiteX1" fmla="*/ 127219 w 178116"/>
                <a:gd name="connsiteY1" fmla="*/ 65 h 126071"/>
                <a:gd name="connsiteX2" fmla="*/ 64758 w 178116"/>
                <a:gd name="connsiteY2" fmla="*/ 49524 h 126071"/>
                <a:gd name="connsiteX3" fmla="*/ 20349 w 178116"/>
                <a:gd name="connsiteY3" fmla="*/ 59906 h 126071"/>
                <a:gd name="connsiteX4" fmla="*/ 5224 w 178116"/>
                <a:gd name="connsiteY4" fmla="*/ 126072 h 1260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8116" h="126071">
                  <a:moveTo>
                    <a:pt x="178117" y="30080"/>
                  </a:moveTo>
                  <a:cubicBezTo>
                    <a:pt x="168371" y="13020"/>
                    <a:pt x="149423" y="1032"/>
                    <a:pt x="127219" y="65"/>
                  </a:cubicBezTo>
                  <a:cubicBezTo>
                    <a:pt x="95245" y="-1351"/>
                    <a:pt x="68133" y="20500"/>
                    <a:pt x="64758" y="49524"/>
                  </a:cubicBezTo>
                  <a:cubicBezTo>
                    <a:pt x="49538" y="46409"/>
                    <a:pt x="33280" y="49642"/>
                    <a:pt x="20349" y="59906"/>
                  </a:cubicBezTo>
                  <a:cubicBezTo>
                    <a:pt x="292" y="75787"/>
                    <a:pt x="-5324" y="103301"/>
                    <a:pt x="5224" y="126072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358" name="Gráfico 4">
              <a:extLst>
                <a:ext uri="{FF2B5EF4-FFF2-40B4-BE49-F238E27FC236}">
                  <a16:creationId xmlns:a16="http://schemas.microsoft.com/office/drawing/2014/main" id="{5E2045E3-72A8-A59F-EB48-45D94FCFE38D}"/>
                </a:ext>
              </a:extLst>
            </p:cNvPr>
            <p:cNvGrpSpPr/>
            <p:nvPr/>
          </p:nvGrpSpPr>
          <p:grpSpPr>
            <a:xfrm>
              <a:off x="6984817" y="4712921"/>
              <a:ext cx="675881" cy="2359"/>
              <a:chOff x="6984817" y="4712921"/>
              <a:chExt cx="675881" cy="2359"/>
            </a:xfrm>
          </p:grpSpPr>
          <p:sp>
            <p:nvSpPr>
              <p:cNvPr id="359" name="Forma livre: Forma 358">
                <a:extLst>
                  <a:ext uri="{FF2B5EF4-FFF2-40B4-BE49-F238E27FC236}">
                    <a16:creationId xmlns:a16="http://schemas.microsoft.com/office/drawing/2014/main" id="{DEB737AF-B3E3-28B8-BE82-F49F4C2F1347}"/>
                  </a:ext>
                </a:extLst>
              </p:cNvPr>
              <p:cNvSpPr/>
              <p:nvPr/>
            </p:nvSpPr>
            <p:spPr>
              <a:xfrm>
                <a:off x="6984817" y="4712921"/>
                <a:ext cx="598413" cy="2359"/>
              </a:xfrm>
              <a:custGeom>
                <a:avLst/>
                <a:gdLst>
                  <a:gd name="connsiteX0" fmla="*/ 0 w 598413"/>
                  <a:gd name="connsiteY0" fmla="*/ 0 h 2359"/>
                  <a:gd name="connsiteX1" fmla="*/ 598413 w 598413"/>
                  <a:gd name="connsiteY1" fmla="*/ 0 h 23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98413" h="2359">
                    <a:moveTo>
                      <a:pt x="0" y="0"/>
                    </a:moveTo>
                    <a:lnTo>
                      <a:pt x="598413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60" name="Forma livre: Forma 359">
                <a:extLst>
                  <a:ext uri="{FF2B5EF4-FFF2-40B4-BE49-F238E27FC236}">
                    <a16:creationId xmlns:a16="http://schemas.microsoft.com/office/drawing/2014/main" id="{81E64868-EC2F-EA42-455D-CECC0EF1F551}"/>
                  </a:ext>
                </a:extLst>
              </p:cNvPr>
              <p:cNvSpPr/>
              <p:nvPr/>
            </p:nvSpPr>
            <p:spPr>
              <a:xfrm>
                <a:off x="7628064" y="4712921"/>
                <a:ext cx="32634" cy="2359"/>
              </a:xfrm>
              <a:custGeom>
                <a:avLst/>
                <a:gdLst>
                  <a:gd name="connsiteX0" fmla="*/ 0 w 32634"/>
                  <a:gd name="connsiteY0" fmla="*/ 0 h 2359"/>
                  <a:gd name="connsiteX1" fmla="*/ 32634 w 32634"/>
                  <a:gd name="connsiteY1" fmla="*/ 0 h 23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2634" h="2359">
                    <a:moveTo>
                      <a:pt x="0" y="0"/>
                    </a:moveTo>
                    <a:lnTo>
                      <a:pt x="32634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361" name="Forma livre: Forma 360">
              <a:extLst>
                <a:ext uri="{FF2B5EF4-FFF2-40B4-BE49-F238E27FC236}">
                  <a16:creationId xmlns:a16="http://schemas.microsoft.com/office/drawing/2014/main" id="{BF1FA278-8E1E-8AD8-C2AB-8102135BE74F}"/>
                </a:ext>
              </a:extLst>
            </p:cNvPr>
            <p:cNvSpPr/>
            <p:nvPr/>
          </p:nvSpPr>
          <p:spPr>
            <a:xfrm>
              <a:off x="7196267" y="4439364"/>
              <a:ext cx="70790" cy="38698"/>
            </a:xfrm>
            <a:custGeom>
              <a:avLst/>
              <a:gdLst>
                <a:gd name="connsiteX0" fmla="*/ 0 w 70790"/>
                <a:gd name="connsiteY0" fmla="*/ 38699 h 38698"/>
                <a:gd name="connsiteX1" fmla="*/ 0 w 70790"/>
                <a:gd name="connsiteY1" fmla="*/ 0 h 38698"/>
                <a:gd name="connsiteX2" fmla="*/ 70790 w 70790"/>
                <a:gd name="connsiteY2" fmla="*/ 0 h 38698"/>
                <a:gd name="connsiteX3" fmla="*/ 70790 w 70790"/>
                <a:gd name="connsiteY3" fmla="*/ 38699 h 386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0790" h="38698">
                  <a:moveTo>
                    <a:pt x="0" y="38699"/>
                  </a:moveTo>
                  <a:lnTo>
                    <a:pt x="0" y="0"/>
                  </a:lnTo>
                  <a:lnTo>
                    <a:pt x="70790" y="0"/>
                  </a:lnTo>
                  <a:lnTo>
                    <a:pt x="70790" y="38699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62" name="Forma livre: Forma 361">
              <a:extLst>
                <a:ext uri="{FF2B5EF4-FFF2-40B4-BE49-F238E27FC236}">
                  <a16:creationId xmlns:a16="http://schemas.microsoft.com/office/drawing/2014/main" id="{807549D4-D693-BE6B-9DE7-51869EBD0FFB}"/>
                </a:ext>
              </a:extLst>
            </p:cNvPr>
            <p:cNvSpPr/>
            <p:nvPr/>
          </p:nvSpPr>
          <p:spPr>
            <a:xfrm>
              <a:off x="7231662" y="4394530"/>
              <a:ext cx="2359" cy="35395"/>
            </a:xfrm>
            <a:custGeom>
              <a:avLst/>
              <a:gdLst>
                <a:gd name="connsiteX0" fmla="*/ 0 w 2359"/>
                <a:gd name="connsiteY0" fmla="*/ 35395 h 35395"/>
                <a:gd name="connsiteX1" fmla="*/ 0 w 2359"/>
                <a:gd name="connsiteY1" fmla="*/ 0 h 353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359" h="35395">
                  <a:moveTo>
                    <a:pt x="0" y="35395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363" name="Gráfico 4">
            <a:extLst>
              <a:ext uri="{FF2B5EF4-FFF2-40B4-BE49-F238E27FC236}">
                <a16:creationId xmlns:a16="http://schemas.microsoft.com/office/drawing/2014/main" id="{0DF30606-6963-A2DF-5654-B1DC55F538C4}"/>
              </a:ext>
            </a:extLst>
          </p:cNvPr>
          <p:cNvGrpSpPr/>
          <p:nvPr/>
        </p:nvGrpSpPr>
        <p:grpSpPr>
          <a:xfrm>
            <a:off x="5782233" y="4200541"/>
            <a:ext cx="607993" cy="502610"/>
            <a:chOff x="5782233" y="4200541"/>
            <a:chExt cx="607993" cy="502610"/>
          </a:xfrm>
        </p:grpSpPr>
        <p:sp>
          <p:nvSpPr>
            <p:cNvPr id="364" name="Forma livre: Forma 363">
              <a:extLst>
                <a:ext uri="{FF2B5EF4-FFF2-40B4-BE49-F238E27FC236}">
                  <a16:creationId xmlns:a16="http://schemas.microsoft.com/office/drawing/2014/main" id="{18FB1F60-B3B3-7E5C-874B-829405B3A7AA}"/>
                </a:ext>
              </a:extLst>
            </p:cNvPr>
            <p:cNvSpPr/>
            <p:nvPr/>
          </p:nvSpPr>
          <p:spPr>
            <a:xfrm>
              <a:off x="6034600" y="4200541"/>
              <a:ext cx="170321" cy="502610"/>
            </a:xfrm>
            <a:custGeom>
              <a:avLst/>
              <a:gdLst>
                <a:gd name="connsiteX0" fmla="*/ 20246 w 170321"/>
                <a:gd name="connsiteY0" fmla="*/ 361242 h 502610"/>
                <a:gd name="connsiteX1" fmla="*/ 20246 w 170321"/>
                <a:gd name="connsiteY1" fmla="*/ 62060 h 502610"/>
                <a:gd name="connsiteX2" fmla="*/ 82329 w 170321"/>
                <a:gd name="connsiteY2" fmla="*/ 0 h 502610"/>
                <a:gd name="connsiteX3" fmla="*/ 87945 w 170321"/>
                <a:gd name="connsiteY3" fmla="*/ 0 h 502610"/>
                <a:gd name="connsiteX4" fmla="*/ 150052 w 170321"/>
                <a:gd name="connsiteY4" fmla="*/ 62060 h 502610"/>
                <a:gd name="connsiteX5" fmla="*/ 150052 w 170321"/>
                <a:gd name="connsiteY5" fmla="*/ 361242 h 502610"/>
                <a:gd name="connsiteX6" fmla="*/ 170321 w 170321"/>
                <a:gd name="connsiteY6" fmla="*/ 417426 h 502610"/>
                <a:gd name="connsiteX7" fmla="*/ 85161 w 170321"/>
                <a:gd name="connsiteY7" fmla="*/ 502610 h 502610"/>
                <a:gd name="connsiteX8" fmla="*/ 0 w 170321"/>
                <a:gd name="connsiteY8" fmla="*/ 417426 h 502610"/>
                <a:gd name="connsiteX9" fmla="*/ 20270 w 170321"/>
                <a:gd name="connsiteY9" fmla="*/ 361242 h 5026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70321" h="502610">
                  <a:moveTo>
                    <a:pt x="20246" y="361242"/>
                  </a:moveTo>
                  <a:cubicBezTo>
                    <a:pt x="20246" y="334484"/>
                    <a:pt x="20246" y="62060"/>
                    <a:pt x="20246" y="62060"/>
                  </a:cubicBezTo>
                  <a:cubicBezTo>
                    <a:pt x="20246" y="27915"/>
                    <a:pt x="48208" y="0"/>
                    <a:pt x="82329" y="0"/>
                  </a:cubicBezTo>
                  <a:lnTo>
                    <a:pt x="87945" y="0"/>
                  </a:lnTo>
                  <a:cubicBezTo>
                    <a:pt x="122089" y="0"/>
                    <a:pt x="150052" y="27938"/>
                    <a:pt x="150052" y="62060"/>
                  </a:cubicBezTo>
                  <a:lnTo>
                    <a:pt x="150052" y="361242"/>
                  </a:lnTo>
                  <a:cubicBezTo>
                    <a:pt x="163242" y="376250"/>
                    <a:pt x="170321" y="395882"/>
                    <a:pt x="170321" y="417426"/>
                  </a:cubicBezTo>
                  <a:cubicBezTo>
                    <a:pt x="170321" y="464454"/>
                    <a:pt x="132189" y="502610"/>
                    <a:pt x="85161" y="502610"/>
                  </a:cubicBezTo>
                  <a:cubicBezTo>
                    <a:pt x="38132" y="502610"/>
                    <a:pt x="0" y="464478"/>
                    <a:pt x="0" y="417426"/>
                  </a:cubicBezTo>
                  <a:cubicBezTo>
                    <a:pt x="0" y="395882"/>
                    <a:pt x="7079" y="376250"/>
                    <a:pt x="20270" y="361242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65" name="Forma livre: Forma 364">
              <a:extLst>
                <a:ext uri="{FF2B5EF4-FFF2-40B4-BE49-F238E27FC236}">
                  <a16:creationId xmlns:a16="http://schemas.microsoft.com/office/drawing/2014/main" id="{936907CB-B106-817D-D8A2-86E4F8AF23E6}"/>
                </a:ext>
              </a:extLst>
            </p:cNvPr>
            <p:cNvSpPr/>
            <p:nvPr/>
          </p:nvSpPr>
          <p:spPr>
            <a:xfrm>
              <a:off x="6119737" y="4305334"/>
              <a:ext cx="2359" cy="299961"/>
            </a:xfrm>
            <a:custGeom>
              <a:avLst/>
              <a:gdLst>
                <a:gd name="connsiteX0" fmla="*/ 0 w 2359"/>
                <a:gd name="connsiteY0" fmla="*/ 299962 h 299961"/>
                <a:gd name="connsiteX1" fmla="*/ 0 w 2359"/>
                <a:gd name="connsiteY1" fmla="*/ 0 h 2999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359" h="299961">
                  <a:moveTo>
                    <a:pt x="0" y="299962"/>
                  </a:moveTo>
                  <a:lnTo>
                    <a:pt x="0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66" name="Forma livre: Forma 365">
              <a:extLst>
                <a:ext uri="{FF2B5EF4-FFF2-40B4-BE49-F238E27FC236}">
                  <a16:creationId xmlns:a16="http://schemas.microsoft.com/office/drawing/2014/main" id="{70A313E4-85B3-672D-621A-91CCE40F6DC1}"/>
                </a:ext>
              </a:extLst>
            </p:cNvPr>
            <p:cNvSpPr/>
            <p:nvPr/>
          </p:nvSpPr>
          <p:spPr>
            <a:xfrm>
              <a:off x="6105155" y="4601568"/>
              <a:ext cx="29189" cy="29165"/>
            </a:xfrm>
            <a:custGeom>
              <a:avLst/>
              <a:gdLst>
                <a:gd name="connsiteX0" fmla="*/ 29189 w 29189"/>
                <a:gd name="connsiteY0" fmla="*/ 14583 h 29165"/>
                <a:gd name="connsiteX1" fmla="*/ 14583 w 29189"/>
                <a:gd name="connsiteY1" fmla="*/ 29166 h 29165"/>
                <a:gd name="connsiteX2" fmla="*/ 0 w 29189"/>
                <a:gd name="connsiteY2" fmla="*/ 14583 h 29165"/>
                <a:gd name="connsiteX3" fmla="*/ 14583 w 29189"/>
                <a:gd name="connsiteY3" fmla="*/ 0 h 29165"/>
                <a:gd name="connsiteX4" fmla="*/ 29189 w 29189"/>
                <a:gd name="connsiteY4" fmla="*/ 14583 h 291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9189" h="29165">
                  <a:moveTo>
                    <a:pt x="29189" y="14583"/>
                  </a:moveTo>
                  <a:cubicBezTo>
                    <a:pt x="29189" y="22677"/>
                    <a:pt x="22676" y="29166"/>
                    <a:pt x="14583" y="29166"/>
                  </a:cubicBezTo>
                  <a:cubicBezTo>
                    <a:pt x="6489" y="29166"/>
                    <a:pt x="0" y="22677"/>
                    <a:pt x="0" y="14583"/>
                  </a:cubicBezTo>
                  <a:cubicBezTo>
                    <a:pt x="0" y="6489"/>
                    <a:pt x="6560" y="0"/>
                    <a:pt x="14583" y="0"/>
                  </a:cubicBezTo>
                  <a:cubicBezTo>
                    <a:pt x="22606" y="0"/>
                    <a:pt x="29189" y="6513"/>
                    <a:pt x="29189" y="14583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67" name="Forma livre: Forma 366">
              <a:extLst>
                <a:ext uri="{FF2B5EF4-FFF2-40B4-BE49-F238E27FC236}">
                  <a16:creationId xmlns:a16="http://schemas.microsoft.com/office/drawing/2014/main" id="{00960610-81F6-73B0-8224-F27051B5AD01}"/>
                </a:ext>
              </a:extLst>
            </p:cNvPr>
            <p:cNvSpPr/>
            <p:nvPr/>
          </p:nvSpPr>
          <p:spPr>
            <a:xfrm>
              <a:off x="5782233" y="4519286"/>
              <a:ext cx="23950" cy="23525"/>
            </a:xfrm>
            <a:custGeom>
              <a:avLst/>
              <a:gdLst>
                <a:gd name="connsiteX0" fmla="*/ 0 w 23950"/>
                <a:gd name="connsiteY0" fmla="*/ 23526 h 23525"/>
                <a:gd name="connsiteX1" fmla="*/ 23951 w 23950"/>
                <a:gd name="connsiteY1" fmla="*/ 0 h 23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3950" h="23525">
                  <a:moveTo>
                    <a:pt x="0" y="23526"/>
                  </a:moveTo>
                  <a:lnTo>
                    <a:pt x="23951" y="0"/>
                  </a:lnTo>
                </a:path>
              </a:pathLst>
            </a:custGeom>
            <a:ln w="6350" cap="sq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68" name="Forma livre: Forma 367">
              <a:extLst>
                <a:ext uri="{FF2B5EF4-FFF2-40B4-BE49-F238E27FC236}">
                  <a16:creationId xmlns:a16="http://schemas.microsoft.com/office/drawing/2014/main" id="{791E6246-725A-F26C-CABA-84CE1D3AD764}"/>
                </a:ext>
              </a:extLst>
            </p:cNvPr>
            <p:cNvSpPr/>
            <p:nvPr/>
          </p:nvSpPr>
          <p:spPr>
            <a:xfrm>
              <a:off x="6228330" y="4219371"/>
              <a:ext cx="161897" cy="216641"/>
            </a:xfrm>
            <a:custGeom>
              <a:avLst/>
              <a:gdLst>
                <a:gd name="connsiteX0" fmla="*/ 0 w 161897"/>
                <a:gd name="connsiteY0" fmla="*/ 109371 h 216641"/>
                <a:gd name="connsiteX1" fmla="*/ 65174 w 161897"/>
                <a:gd name="connsiteY1" fmla="*/ 45235 h 216641"/>
                <a:gd name="connsiteX2" fmla="*/ 33201 w 161897"/>
                <a:gd name="connsiteY2" fmla="*/ 13238 h 216641"/>
                <a:gd name="connsiteX3" fmla="*/ 161897 w 161897"/>
                <a:gd name="connsiteY3" fmla="*/ 0 h 216641"/>
                <a:gd name="connsiteX4" fmla="*/ 148707 w 161897"/>
                <a:gd name="connsiteY4" fmla="*/ 128720 h 216641"/>
                <a:gd name="connsiteX5" fmla="*/ 118833 w 161897"/>
                <a:gd name="connsiteY5" fmla="*/ 98870 h 216641"/>
                <a:gd name="connsiteX6" fmla="*/ 0 w 161897"/>
                <a:gd name="connsiteY6" fmla="*/ 216642 h 216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61897" h="216641">
                  <a:moveTo>
                    <a:pt x="0" y="109371"/>
                  </a:moveTo>
                  <a:lnTo>
                    <a:pt x="65174" y="45235"/>
                  </a:lnTo>
                  <a:lnTo>
                    <a:pt x="33201" y="13238"/>
                  </a:lnTo>
                  <a:lnTo>
                    <a:pt x="161897" y="0"/>
                  </a:lnTo>
                  <a:lnTo>
                    <a:pt x="148707" y="128720"/>
                  </a:lnTo>
                  <a:lnTo>
                    <a:pt x="118833" y="98870"/>
                  </a:lnTo>
                  <a:lnTo>
                    <a:pt x="0" y="216642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369" name="Gráfico 4">
              <a:extLst>
                <a:ext uri="{FF2B5EF4-FFF2-40B4-BE49-F238E27FC236}">
                  <a16:creationId xmlns:a16="http://schemas.microsoft.com/office/drawing/2014/main" id="{F53E6363-5700-C1DC-C95B-803AA5EE12F2}"/>
                </a:ext>
              </a:extLst>
            </p:cNvPr>
            <p:cNvGrpSpPr/>
            <p:nvPr/>
          </p:nvGrpSpPr>
          <p:grpSpPr>
            <a:xfrm>
              <a:off x="5846770" y="4383086"/>
              <a:ext cx="160316" cy="173860"/>
              <a:chOff x="5846770" y="4383086"/>
              <a:chExt cx="160316" cy="173860"/>
            </a:xfrm>
            <a:noFill/>
          </p:grpSpPr>
          <p:sp>
            <p:nvSpPr>
              <p:cNvPr id="370" name="Forma livre: Forma 369">
                <a:extLst>
                  <a:ext uri="{FF2B5EF4-FFF2-40B4-BE49-F238E27FC236}">
                    <a16:creationId xmlns:a16="http://schemas.microsoft.com/office/drawing/2014/main" id="{2148745A-0B42-69DE-532B-F1E65C557283}"/>
                  </a:ext>
                </a:extLst>
              </p:cNvPr>
              <p:cNvSpPr/>
              <p:nvPr/>
            </p:nvSpPr>
            <p:spPr>
              <a:xfrm>
                <a:off x="5846770" y="4383086"/>
                <a:ext cx="160316" cy="96345"/>
              </a:xfrm>
              <a:custGeom>
                <a:avLst/>
                <a:gdLst>
                  <a:gd name="connsiteX0" fmla="*/ 160316 w 160316"/>
                  <a:gd name="connsiteY0" fmla="*/ 40020 h 96345"/>
                  <a:gd name="connsiteX1" fmla="*/ 97572 w 160316"/>
                  <a:gd name="connsiteY1" fmla="*/ 0 h 96345"/>
                  <a:gd name="connsiteX2" fmla="*/ 0 w 160316"/>
                  <a:gd name="connsiteY2" fmla="*/ 96346 h 963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60316" h="96345">
                    <a:moveTo>
                      <a:pt x="160316" y="40020"/>
                    </a:moveTo>
                    <a:lnTo>
                      <a:pt x="97572" y="0"/>
                    </a:lnTo>
                    <a:lnTo>
                      <a:pt x="0" y="96346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71" name="Forma livre: Forma 370">
                <a:extLst>
                  <a:ext uri="{FF2B5EF4-FFF2-40B4-BE49-F238E27FC236}">
                    <a16:creationId xmlns:a16="http://schemas.microsoft.com/office/drawing/2014/main" id="{100C9F1F-9404-FDAE-0F6B-28D666D1EB33}"/>
                  </a:ext>
                </a:extLst>
              </p:cNvPr>
              <p:cNvSpPr/>
              <p:nvPr/>
            </p:nvSpPr>
            <p:spPr>
              <a:xfrm>
                <a:off x="5877210" y="4479832"/>
                <a:ext cx="129876" cy="77114"/>
              </a:xfrm>
              <a:custGeom>
                <a:avLst/>
                <a:gdLst>
                  <a:gd name="connsiteX0" fmla="*/ 129876 w 129876"/>
                  <a:gd name="connsiteY0" fmla="*/ 34734 h 77114"/>
                  <a:gd name="connsiteX1" fmla="*/ 75415 w 129876"/>
                  <a:gd name="connsiteY1" fmla="*/ 0 h 77114"/>
                  <a:gd name="connsiteX2" fmla="*/ 0 w 129876"/>
                  <a:gd name="connsiteY2" fmla="*/ 77114 h 771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29876" h="77114">
                    <a:moveTo>
                      <a:pt x="129876" y="34734"/>
                    </a:moveTo>
                    <a:lnTo>
                      <a:pt x="75415" y="0"/>
                    </a:lnTo>
                    <a:lnTo>
                      <a:pt x="0" y="77114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372" name="Gráfico 4">
            <a:extLst>
              <a:ext uri="{FF2B5EF4-FFF2-40B4-BE49-F238E27FC236}">
                <a16:creationId xmlns:a16="http://schemas.microsoft.com/office/drawing/2014/main" id="{D726C59B-9440-7179-0F8C-CC8F004639BA}"/>
              </a:ext>
            </a:extLst>
          </p:cNvPr>
          <p:cNvGrpSpPr/>
          <p:nvPr/>
        </p:nvGrpSpPr>
        <p:grpSpPr>
          <a:xfrm>
            <a:off x="4634111" y="4164957"/>
            <a:ext cx="451924" cy="573730"/>
            <a:chOff x="4634111" y="4164957"/>
            <a:chExt cx="451924" cy="573730"/>
          </a:xfrm>
          <a:noFill/>
        </p:grpSpPr>
        <p:sp>
          <p:nvSpPr>
            <p:cNvPr id="373" name="Forma livre: Forma 372">
              <a:extLst>
                <a:ext uri="{FF2B5EF4-FFF2-40B4-BE49-F238E27FC236}">
                  <a16:creationId xmlns:a16="http://schemas.microsoft.com/office/drawing/2014/main" id="{EE933CAD-65C1-333A-B15A-4B2677537929}"/>
                </a:ext>
              </a:extLst>
            </p:cNvPr>
            <p:cNvSpPr/>
            <p:nvPr/>
          </p:nvSpPr>
          <p:spPr>
            <a:xfrm>
              <a:off x="4722929" y="4609190"/>
              <a:ext cx="315677" cy="102173"/>
            </a:xfrm>
            <a:custGeom>
              <a:avLst/>
              <a:gdLst>
                <a:gd name="connsiteX0" fmla="*/ 315677 w 315677"/>
                <a:gd name="connsiteY0" fmla="*/ 102174 h 102173"/>
                <a:gd name="connsiteX1" fmla="*/ 136507 w 315677"/>
                <a:gd name="connsiteY1" fmla="*/ 0 h 102173"/>
                <a:gd name="connsiteX2" fmla="*/ 0 w 315677"/>
                <a:gd name="connsiteY2" fmla="*/ 68808 h 1021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15677" h="102173">
                  <a:moveTo>
                    <a:pt x="315677" y="102174"/>
                  </a:moveTo>
                  <a:cubicBezTo>
                    <a:pt x="271622" y="63853"/>
                    <a:pt x="176456" y="0"/>
                    <a:pt x="136507" y="0"/>
                  </a:cubicBezTo>
                  <a:cubicBezTo>
                    <a:pt x="106893" y="0"/>
                    <a:pt x="46958" y="35065"/>
                    <a:pt x="0" y="68808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74" name="Forma livre: Forma 373">
              <a:extLst>
                <a:ext uri="{FF2B5EF4-FFF2-40B4-BE49-F238E27FC236}">
                  <a16:creationId xmlns:a16="http://schemas.microsoft.com/office/drawing/2014/main" id="{505C759F-7BEC-4AB9-9379-173F70E5C9A2}"/>
                </a:ext>
              </a:extLst>
            </p:cNvPr>
            <p:cNvSpPr/>
            <p:nvPr/>
          </p:nvSpPr>
          <p:spPr>
            <a:xfrm>
              <a:off x="4634111" y="4164957"/>
              <a:ext cx="451924" cy="2359"/>
            </a:xfrm>
            <a:custGeom>
              <a:avLst/>
              <a:gdLst>
                <a:gd name="connsiteX0" fmla="*/ 0 w 451924"/>
                <a:gd name="connsiteY0" fmla="*/ 0 h 2359"/>
                <a:gd name="connsiteX1" fmla="*/ 451925 w 451924"/>
                <a:gd name="connsiteY1" fmla="*/ 0 h 23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51924" h="2359">
                  <a:moveTo>
                    <a:pt x="0" y="0"/>
                  </a:moveTo>
                  <a:lnTo>
                    <a:pt x="451925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75" name="Forma livre: Forma 374">
              <a:extLst>
                <a:ext uri="{FF2B5EF4-FFF2-40B4-BE49-F238E27FC236}">
                  <a16:creationId xmlns:a16="http://schemas.microsoft.com/office/drawing/2014/main" id="{4A668212-0463-59E5-63D8-CBD9FE7D4607}"/>
                </a:ext>
              </a:extLst>
            </p:cNvPr>
            <p:cNvSpPr/>
            <p:nvPr/>
          </p:nvSpPr>
          <p:spPr>
            <a:xfrm>
              <a:off x="4634111" y="4738688"/>
              <a:ext cx="451924" cy="2359"/>
            </a:xfrm>
            <a:custGeom>
              <a:avLst/>
              <a:gdLst>
                <a:gd name="connsiteX0" fmla="*/ 0 w 451924"/>
                <a:gd name="connsiteY0" fmla="*/ 0 h 2359"/>
                <a:gd name="connsiteX1" fmla="*/ 451925 w 451924"/>
                <a:gd name="connsiteY1" fmla="*/ 0 h 23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51924" h="2359">
                  <a:moveTo>
                    <a:pt x="0" y="0"/>
                  </a:moveTo>
                  <a:lnTo>
                    <a:pt x="451925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376" name="Gráfico 4">
              <a:extLst>
                <a:ext uri="{FF2B5EF4-FFF2-40B4-BE49-F238E27FC236}">
                  <a16:creationId xmlns:a16="http://schemas.microsoft.com/office/drawing/2014/main" id="{4298CA28-325D-6DE4-F39C-C686D25864CD}"/>
                </a:ext>
              </a:extLst>
            </p:cNvPr>
            <p:cNvGrpSpPr/>
            <p:nvPr/>
          </p:nvGrpSpPr>
          <p:grpSpPr>
            <a:xfrm>
              <a:off x="4681281" y="4173452"/>
              <a:ext cx="357584" cy="562050"/>
              <a:chOff x="4681281" y="4173452"/>
              <a:chExt cx="357584" cy="562050"/>
            </a:xfrm>
            <a:noFill/>
          </p:grpSpPr>
          <p:sp>
            <p:nvSpPr>
              <p:cNvPr id="377" name="Forma livre: Forma 376">
                <a:extLst>
                  <a:ext uri="{FF2B5EF4-FFF2-40B4-BE49-F238E27FC236}">
                    <a16:creationId xmlns:a16="http://schemas.microsoft.com/office/drawing/2014/main" id="{3A18F02B-CBFB-0396-ADFB-65AEFB7EBFC6}"/>
                  </a:ext>
                </a:extLst>
              </p:cNvPr>
              <p:cNvSpPr/>
              <p:nvPr/>
            </p:nvSpPr>
            <p:spPr>
              <a:xfrm>
                <a:off x="4681281" y="4217602"/>
                <a:ext cx="118597" cy="517900"/>
              </a:xfrm>
              <a:custGeom>
                <a:avLst/>
                <a:gdLst>
                  <a:gd name="connsiteX0" fmla="*/ 0 w 118597"/>
                  <a:gd name="connsiteY0" fmla="*/ 0 h 517900"/>
                  <a:gd name="connsiteX1" fmla="*/ 0 w 118597"/>
                  <a:gd name="connsiteY1" fmla="*/ 114869 h 517900"/>
                  <a:gd name="connsiteX2" fmla="*/ 118597 w 118597"/>
                  <a:gd name="connsiteY2" fmla="*/ 224547 h 517900"/>
                  <a:gd name="connsiteX3" fmla="*/ 118597 w 118597"/>
                  <a:gd name="connsiteY3" fmla="*/ 246255 h 517900"/>
                  <a:gd name="connsiteX4" fmla="*/ 0 w 118597"/>
                  <a:gd name="connsiteY4" fmla="*/ 355933 h 517900"/>
                  <a:gd name="connsiteX5" fmla="*/ 0 w 118597"/>
                  <a:gd name="connsiteY5" fmla="*/ 517901 h 5179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18597" h="517900">
                    <a:moveTo>
                      <a:pt x="0" y="0"/>
                    </a:moveTo>
                    <a:lnTo>
                      <a:pt x="0" y="114869"/>
                    </a:lnTo>
                    <a:cubicBezTo>
                      <a:pt x="0" y="180303"/>
                      <a:pt x="118597" y="199652"/>
                      <a:pt x="118597" y="224547"/>
                    </a:cubicBezTo>
                    <a:lnTo>
                      <a:pt x="118597" y="246255"/>
                    </a:lnTo>
                    <a:cubicBezTo>
                      <a:pt x="118597" y="271150"/>
                      <a:pt x="0" y="290523"/>
                      <a:pt x="0" y="355933"/>
                    </a:cubicBezTo>
                    <a:lnTo>
                      <a:pt x="0" y="517901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78" name="Forma livre: Forma 377">
                <a:extLst>
                  <a:ext uri="{FF2B5EF4-FFF2-40B4-BE49-F238E27FC236}">
                    <a16:creationId xmlns:a16="http://schemas.microsoft.com/office/drawing/2014/main" id="{B848C78A-F3A3-2543-25C5-30699EC9A588}"/>
                  </a:ext>
                </a:extLst>
              </p:cNvPr>
              <p:cNvSpPr/>
              <p:nvPr/>
            </p:nvSpPr>
            <p:spPr>
              <a:xfrm>
                <a:off x="4920268" y="4173452"/>
                <a:ext cx="118597" cy="554924"/>
              </a:xfrm>
              <a:custGeom>
                <a:avLst/>
                <a:gdLst>
                  <a:gd name="connsiteX0" fmla="*/ 118597 w 118597"/>
                  <a:gd name="connsiteY0" fmla="*/ 0 h 554924"/>
                  <a:gd name="connsiteX1" fmla="*/ 118597 w 118597"/>
                  <a:gd name="connsiteY1" fmla="*/ 159018 h 554924"/>
                  <a:gd name="connsiteX2" fmla="*/ 0 w 118597"/>
                  <a:gd name="connsiteY2" fmla="*/ 268696 h 554924"/>
                  <a:gd name="connsiteX3" fmla="*/ 0 w 118597"/>
                  <a:gd name="connsiteY3" fmla="*/ 290405 h 554924"/>
                  <a:gd name="connsiteX4" fmla="*/ 118597 w 118597"/>
                  <a:gd name="connsiteY4" fmla="*/ 400082 h 554924"/>
                  <a:gd name="connsiteX5" fmla="*/ 118597 w 118597"/>
                  <a:gd name="connsiteY5" fmla="*/ 554924 h 5549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18597" h="554924">
                    <a:moveTo>
                      <a:pt x="118597" y="0"/>
                    </a:moveTo>
                    <a:lnTo>
                      <a:pt x="118597" y="159018"/>
                    </a:lnTo>
                    <a:cubicBezTo>
                      <a:pt x="118597" y="224452"/>
                      <a:pt x="0" y="243801"/>
                      <a:pt x="0" y="268696"/>
                    </a:cubicBezTo>
                    <a:lnTo>
                      <a:pt x="0" y="290405"/>
                    </a:lnTo>
                    <a:cubicBezTo>
                      <a:pt x="0" y="315299"/>
                      <a:pt x="118597" y="334672"/>
                      <a:pt x="118597" y="400082"/>
                    </a:cubicBezTo>
                    <a:lnTo>
                      <a:pt x="118597" y="554924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379" name="Gráfico 4">
              <a:extLst>
                <a:ext uri="{FF2B5EF4-FFF2-40B4-BE49-F238E27FC236}">
                  <a16:creationId xmlns:a16="http://schemas.microsoft.com/office/drawing/2014/main" id="{5AE544F6-69E4-3DE2-A3CF-A1B94BA232DC}"/>
                </a:ext>
              </a:extLst>
            </p:cNvPr>
            <p:cNvGrpSpPr/>
            <p:nvPr/>
          </p:nvGrpSpPr>
          <p:grpSpPr>
            <a:xfrm>
              <a:off x="4750655" y="4215785"/>
              <a:ext cx="218529" cy="287455"/>
              <a:chOff x="4750655" y="4215785"/>
              <a:chExt cx="218529" cy="287455"/>
            </a:xfrm>
            <a:noFill/>
          </p:grpSpPr>
          <p:sp>
            <p:nvSpPr>
              <p:cNvPr id="380" name="Forma livre: Forma 379">
                <a:extLst>
                  <a:ext uri="{FF2B5EF4-FFF2-40B4-BE49-F238E27FC236}">
                    <a16:creationId xmlns:a16="http://schemas.microsoft.com/office/drawing/2014/main" id="{FC175717-99B8-A1CC-0C8F-5BBFBF5FF26A}"/>
                  </a:ext>
                </a:extLst>
              </p:cNvPr>
              <p:cNvSpPr/>
              <p:nvPr/>
            </p:nvSpPr>
            <p:spPr>
              <a:xfrm>
                <a:off x="4750655" y="4324896"/>
                <a:ext cx="218529" cy="2359"/>
              </a:xfrm>
              <a:custGeom>
                <a:avLst/>
                <a:gdLst>
                  <a:gd name="connsiteX0" fmla="*/ 218529 w 218529"/>
                  <a:gd name="connsiteY0" fmla="*/ 0 h 2359"/>
                  <a:gd name="connsiteX1" fmla="*/ 0 w 218529"/>
                  <a:gd name="connsiteY1" fmla="*/ 0 h 23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18529" h="2359">
                    <a:moveTo>
                      <a:pt x="218529" y="0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381" name="Gráfico 4">
                <a:extLst>
                  <a:ext uri="{FF2B5EF4-FFF2-40B4-BE49-F238E27FC236}">
                    <a16:creationId xmlns:a16="http://schemas.microsoft.com/office/drawing/2014/main" id="{3A6248FC-6C3E-854A-022D-91CA7F1516C5}"/>
                  </a:ext>
                </a:extLst>
              </p:cNvPr>
              <p:cNvGrpSpPr/>
              <p:nvPr/>
            </p:nvGrpSpPr>
            <p:grpSpPr>
              <a:xfrm>
                <a:off x="4819770" y="4217224"/>
                <a:ext cx="80323" cy="233230"/>
                <a:chOff x="4819770" y="4217224"/>
                <a:chExt cx="80323" cy="233230"/>
              </a:xfrm>
              <a:noFill/>
            </p:grpSpPr>
            <p:grpSp>
              <p:nvGrpSpPr>
                <p:cNvPr id="382" name="Gráfico 4">
                  <a:extLst>
                    <a:ext uri="{FF2B5EF4-FFF2-40B4-BE49-F238E27FC236}">
                      <a16:creationId xmlns:a16="http://schemas.microsoft.com/office/drawing/2014/main" id="{D882AC95-2985-5794-8B3D-C4F300754E74}"/>
                    </a:ext>
                  </a:extLst>
                </p:cNvPr>
                <p:cNvGrpSpPr/>
                <p:nvPr/>
              </p:nvGrpSpPr>
              <p:grpSpPr>
                <a:xfrm>
                  <a:off x="4819770" y="4325321"/>
                  <a:ext cx="80323" cy="125133"/>
                  <a:chOff x="4819770" y="4325321"/>
                  <a:chExt cx="80323" cy="125133"/>
                </a:xfrm>
                <a:noFill/>
              </p:grpSpPr>
              <p:sp>
                <p:nvSpPr>
                  <p:cNvPr id="383" name="Forma livre: Forma 382">
                    <a:extLst>
                      <a:ext uri="{FF2B5EF4-FFF2-40B4-BE49-F238E27FC236}">
                        <a16:creationId xmlns:a16="http://schemas.microsoft.com/office/drawing/2014/main" id="{CB645F22-2213-FCD3-AD22-886A543C6FB3}"/>
                      </a:ext>
                    </a:extLst>
                  </p:cNvPr>
                  <p:cNvSpPr/>
                  <p:nvPr/>
                </p:nvSpPr>
                <p:spPr>
                  <a:xfrm>
                    <a:off x="4819770" y="4325321"/>
                    <a:ext cx="36905" cy="125133"/>
                  </a:xfrm>
                  <a:custGeom>
                    <a:avLst/>
                    <a:gdLst>
                      <a:gd name="connsiteX0" fmla="*/ 0 w 36905"/>
                      <a:gd name="connsiteY0" fmla="*/ 0 h 125133"/>
                      <a:gd name="connsiteX1" fmla="*/ 36905 w 36905"/>
                      <a:gd name="connsiteY1" fmla="*/ 125134 h 12513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36905" h="125133">
                        <a:moveTo>
                          <a:pt x="0" y="0"/>
                        </a:moveTo>
                        <a:cubicBezTo>
                          <a:pt x="708" y="31101"/>
                          <a:pt x="10241" y="85349"/>
                          <a:pt x="36905" y="125134"/>
                        </a:cubicBezTo>
                      </a:path>
                    </a:pathLst>
                  </a:custGeom>
                  <a:noFill/>
                  <a:ln w="6350" cap="flat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384" name="Forma livre: Forma 383">
                    <a:extLst>
                      <a:ext uri="{FF2B5EF4-FFF2-40B4-BE49-F238E27FC236}">
                        <a16:creationId xmlns:a16="http://schemas.microsoft.com/office/drawing/2014/main" id="{BF7DA75B-D8DF-7F3B-2AD6-8339A5E5388C}"/>
                      </a:ext>
                    </a:extLst>
                  </p:cNvPr>
                  <p:cNvSpPr/>
                  <p:nvPr/>
                </p:nvSpPr>
                <p:spPr>
                  <a:xfrm>
                    <a:off x="4863235" y="4326524"/>
                    <a:ext cx="36858" cy="123930"/>
                  </a:xfrm>
                  <a:custGeom>
                    <a:avLst/>
                    <a:gdLst>
                      <a:gd name="connsiteX0" fmla="*/ 36858 w 36858"/>
                      <a:gd name="connsiteY0" fmla="*/ 0 h 123930"/>
                      <a:gd name="connsiteX1" fmla="*/ 0 w 36858"/>
                      <a:gd name="connsiteY1" fmla="*/ 123930 h 12393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36858" h="123930">
                        <a:moveTo>
                          <a:pt x="36858" y="0"/>
                        </a:moveTo>
                        <a:cubicBezTo>
                          <a:pt x="35938" y="30817"/>
                          <a:pt x="26287" y="84641"/>
                          <a:pt x="0" y="123930"/>
                        </a:cubicBezTo>
                      </a:path>
                    </a:pathLst>
                  </a:custGeom>
                  <a:noFill/>
                  <a:ln w="6350" cap="flat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  <p:grpSp>
              <p:nvGrpSpPr>
                <p:cNvPr id="385" name="Gráfico 4">
                  <a:extLst>
                    <a:ext uri="{FF2B5EF4-FFF2-40B4-BE49-F238E27FC236}">
                      <a16:creationId xmlns:a16="http://schemas.microsoft.com/office/drawing/2014/main" id="{716B20F9-8CE3-D404-914B-E3014AB5ABD8}"/>
                    </a:ext>
                  </a:extLst>
                </p:cNvPr>
                <p:cNvGrpSpPr/>
                <p:nvPr/>
              </p:nvGrpSpPr>
              <p:grpSpPr>
                <a:xfrm>
                  <a:off x="4819770" y="4217224"/>
                  <a:ext cx="80323" cy="107270"/>
                  <a:chOff x="4819770" y="4217224"/>
                  <a:chExt cx="80323" cy="107270"/>
                </a:xfrm>
                <a:noFill/>
              </p:grpSpPr>
              <p:sp>
                <p:nvSpPr>
                  <p:cNvPr id="386" name="Forma livre: Forma 385">
                    <a:extLst>
                      <a:ext uri="{FF2B5EF4-FFF2-40B4-BE49-F238E27FC236}">
                        <a16:creationId xmlns:a16="http://schemas.microsoft.com/office/drawing/2014/main" id="{344D1FE4-F76D-8CE0-E40A-DFC9333DB985}"/>
                      </a:ext>
                    </a:extLst>
                  </p:cNvPr>
                  <p:cNvSpPr/>
                  <p:nvPr/>
                </p:nvSpPr>
                <p:spPr>
                  <a:xfrm>
                    <a:off x="4863188" y="4217224"/>
                    <a:ext cx="36905" cy="107270"/>
                  </a:xfrm>
                  <a:custGeom>
                    <a:avLst/>
                    <a:gdLst>
                      <a:gd name="connsiteX0" fmla="*/ 36905 w 36905"/>
                      <a:gd name="connsiteY0" fmla="*/ 107271 h 107270"/>
                      <a:gd name="connsiteX1" fmla="*/ 0 w 36905"/>
                      <a:gd name="connsiteY1" fmla="*/ 0 h 10727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36905" h="107270">
                        <a:moveTo>
                          <a:pt x="36905" y="107271"/>
                        </a:moveTo>
                        <a:cubicBezTo>
                          <a:pt x="36197" y="76194"/>
                          <a:pt x="26664" y="39784"/>
                          <a:pt x="0" y="0"/>
                        </a:cubicBezTo>
                      </a:path>
                    </a:pathLst>
                  </a:custGeom>
                  <a:noFill/>
                  <a:ln w="6350" cap="flat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387" name="Forma livre: Forma 386">
                    <a:extLst>
                      <a:ext uri="{FF2B5EF4-FFF2-40B4-BE49-F238E27FC236}">
                        <a16:creationId xmlns:a16="http://schemas.microsoft.com/office/drawing/2014/main" id="{36E1E7F5-68E4-8B04-D3DA-6FAFEC9333D5}"/>
                      </a:ext>
                    </a:extLst>
                  </p:cNvPr>
                  <p:cNvSpPr/>
                  <p:nvPr/>
                </p:nvSpPr>
                <p:spPr>
                  <a:xfrm>
                    <a:off x="4819770" y="4217224"/>
                    <a:ext cx="36858" cy="106067"/>
                  </a:xfrm>
                  <a:custGeom>
                    <a:avLst/>
                    <a:gdLst>
                      <a:gd name="connsiteX0" fmla="*/ 0 w 36858"/>
                      <a:gd name="connsiteY0" fmla="*/ 106067 h 106067"/>
                      <a:gd name="connsiteX1" fmla="*/ 36858 w 36858"/>
                      <a:gd name="connsiteY1" fmla="*/ 0 h 10606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36858" h="106067">
                        <a:moveTo>
                          <a:pt x="0" y="106067"/>
                        </a:moveTo>
                        <a:cubicBezTo>
                          <a:pt x="897" y="75274"/>
                          <a:pt x="10571" y="39289"/>
                          <a:pt x="36858" y="0"/>
                        </a:cubicBezTo>
                      </a:path>
                    </a:pathLst>
                  </a:custGeom>
                  <a:noFill/>
                  <a:ln w="6350" cap="flat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</p:grpSp>
          <p:sp>
            <p:nvSpPr>
              <p:cNvPr id="388" name="Forma livre: Forma 387">
                <a:extLst>
                  <a:ext uri="{FF2B5EF4-FFF2-40B4-BE49-F238E27FC236}">
                    <a16:creationId xmlns:a16="http://schemas.microsoft.com/office/drawing/2014/main" id="{37C7F6C8-C3D9-E022-2DF5-E4B2A4A6B113}"/>
                  </a:ext>
                </a:extLst>
              </p:cNvPr>
              <p:cNvSpPr/>
              <p:nvPr/>
            </p:nvSpPr>
            <p:spPr>
              <a:xfrm>
                <a:off x="4750797" y="4215785"/>
                <a:ext cx="218222" cy="287455"/>
              </a:xfrm>
              <a:custGeom>
                <a:avLst/>
                <a:gdLst>
                  <a:gd name="connsiteX0" fmla="*/ 109276 w 218222"/>
                  <a:gd name="connsiteY0" fmla="*/ 287456 h 287455"/>
                  <a:gd name="connsiteX1" fmla="*/ 109276 w 218222"/>
                  <a:gd name="connsiteY1" fmla="*/ 262396 h 287455"/>
                  <a:gd name="connsiteX2" fmla="*/ 72867 w 218222"/>
                  <a:gd name="connsiteY2" fmla="*/ 212040 h 287455"/>
                  <a:gd name="connsiteX3" fmla="*/ 0 w 218222"/>
                  <a:gd name="connsiteY3" fmla="*/ 109088 h 287455"/>
                  <a:gd name="connsiteX4" fmla="*/ 109111 w 218222"/>
                  <a:gd name="connsiteY4" fmla="*/ 0 h 287455"/>
                  <a:gd name="connsiteX5" fmla="*/ 218223 w 218222"/>
                  <a:gd name="connsiteY5" fmla="*/ 109088 h 287455"/>
                  <a:gd name="connsiteX6" fmla="*/ 145686 w 218222"/>
                  <a:gd name="connsiteY6" fmla="*/ 211922 h 287455"/>
                  <a:gd name="connsiteX7" fmla="*/ 109701 w 218222"/>
                  <a:gd name="connsiteY7" fmla="*/ 259658 h 2874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18222" h="287455">
                    <a:moveTo>
                      <a:pt x="109276" y="287456"/>
                    </a:moveTo>
                    <a:lnTo>
                      <a:pt x="109276" y="262396"/>
                    </a:lnTo>
                    <a:cubicBezTo>
                      <a:pt x="109276" y="235189"/>
                      <a:pt x="72867" y="212040"/>
                      <a:pt x="72867" y="212040"/>
                    </a:cubicBezTo>
                    <a:cubicBezTo>
                      <a:pt x="30440" y="197104"/>
                      <a:pt x="0" y="156659"/>
                      <a:pt x="0" y="109088"/>
                    </a:cubicBezTo>
                    <a:cubicBezTo>
                      <a:pt x="0" y="48822"/>
                      <a:pt x="48869" y="0"/>
                      <a:pt x="109111" y="0"/>
                    </a:cubicBezTo>
                    <a:cubicBezTo>
                      <a:pt x="169354" y="0"/>
                      <a:pt x="218223" y="48845"/>
                      <a:pt x="218223" y="109088"/>
                    </a:cubicBezTo>
                    <a:cubicBezTo>
                      <a:pt x="218223" y="156517"/>
                      <a:pt x="187972" y="196891"/>
                      <a:pt x="145686" y="211922"/>
                    </a:cubicBezTo>
                    <a:cubicBezTo>
                      <a:pt x="145686" y="211922"/>
                      <a:pt x="109701" y="236840"/>
                      <a:pt x="109701" y="259658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389" name="Forma livre: Forma 388">
              <a:extLst>
                <a:ext uri="{FF2B5EF4-FFF2-40B4-BE49-F238E27FC236}">
                  <a16:creationId xmlns:a16="http://schemas.microsoft.com/office/drawing/2014/main" id="{9AADCBD6-4184-407D-0BBE-B5AB71B738FE}"/>
                </a:ext>
              </a:extLst>
            </p:cNvPr>
            <p:cNvSpPr/>
            <p:nvPr/>
          </p:nvSpPr>
          <p:spPr>
            <a:xfrm>
              <a:off x="4859507" y="4549254"/>
              <a:ext cx="2359" cy="16234"/>
            </a:xfrm>
            <a:custGeom>
              <a:avLst/>
              <a:gdLst>
                <a:gd name="connsiteX0" fmla="*/ 0 w 2359"/>
                <a:gd name="connsiteY0" fmla="*/ 0 h 16234"/>
                <a:gd name="connsiteX1" fmla="*/ 0 w 2359"/>
                <a:gd name="connsiteY1" fmla="*/ 16235 h 162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359" h="16234">
                  <a:moveTo>
                    <a:pt x="0" y="0"/>
                  </a:moveTo>
                  <a:lnTo>
                    <a:pt x="0" y="16235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390" name="Gráfico 4">
            <a:extLst>
              <a:ext uri="{FF2B5EF4-FFF2-40B4-BE49-F238E27FC236}">
                <a16:creationId xmlns:a16="http://schemas.microsoft.com/office/drawing/2014/main" id="{0B822817-5478-F01C-48E0-B6D1AAED2A52}"/>
              </a:ext>
            </a:extLst>
          </p:cNvPr>
          <p:cNvGrpSpPr/>
          <p:nvPr/>
        </p:nvGrpSpPr>
        <p:grpSpPr>
          <a:xfrm>
            <a:off x="7062309" y="1014393"/>
            <a:ext cx="500108" cy="646314"/>
            <a:chOff x="7062309" y="1014393"/>
            <a:chExt cx="500108" cy="646314"/>
          </a:xfrm>
          <a:noFill/>
        </p:grpSpPr>
        <p:grpSp>
          <p:nvGrpSpPr>
            <p:cNvPr id="391" name="Gráfico 4">
              <a:extLst>
                <a:ext uri="{FF2B5EF4-FFF2-40B4-BE49-F238E27FC236}">
                  <a16:creationId xmlns:a16="http://schemas.microsoft.com/office/drawing/2014/main" id="{4B5C40A7-E5CE-162F-E899-6FABF58ADF4A}"/>
                </a:ext>
              </a:extLst>
            </p:cNvPr>
            <p:cNvGrpSpPr/>
            <p:nvPr/>
          </p:nvGrpSpPr>
          <p:grpSpPr>
            <a:xfrm>
              <a:off x="7066013" y="1410582"/>
              <a:ext cx="492699" cy="250125"/>
              <a:chOff x="7066013" y="1410582"/>
              <a:chExt cx="492699" cy="250125"/>
            </a:xfrm>
            <a:noFill/>
          </p:grpSpPr>
          <p:sp>
            <p:nvSpPr>
              <p:cNvPr id="392" name="Forma livre: Forma 391">
                <a:extLst>
                  <a:ext uri="{FF2B5EF4-FFF2-40B4-BE49-F238E27FC236}">
                    <a16:creationId xmlns:a16="http://schemas.microsoft.com/office/drawing/2014/main" id="{21C14001-DBE9-D1CB-5511-F4109AEE8129}"/>
                  </a:ext>
                </a:extLst>
              </p:cNvPr>
              <p:cNvSpPr/>
              <p:nvPr/>
            </p:nvSpPr>
            <p:spPr>
              <a:xfrm>
                <a:off x="7312505" y="1413980"/>
                <a:ext cx="2359" cy="243730"/>
              </a:xfrm>
              <a:custGeom>
                <a:avLst/>
                <a:gdLst>
                  <a:gd name="connsiteX0" fmla="*/ 0 w 2359"/>
                  <a:gd name="connsiteY0" fmla="*/ 243731 h 243730"/>
                  <a:gd name="connsiteX1" fmla="*/ 0 w 2359"/>
                  <a:gd name="connsiteY1" fmla="*/ 0 h 2437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359" h="243730">
                    <a:moveTo>
                      <a:pt x="0" y="243731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93" name="Forma livre: Forma 392">
                <a:extLst>
                  <a:ext uri="{FF2B5EF4-FFF2-40B4-BE49-F238E27FC236}">
                    <a16:creationId xmlns:a16="http://schemas.microsoft.com/office/drawing/2014/main" id="{D533AB77-0181-5387-002F-C73A178EDF68}"/>
                  </a:ext>
                </a:extLst>
              </p:cNvPr>
              <p:cNvSpPr/>
              <p:nvPr/>
            </p:nvSpPr>
            <p:spPr>
              <a:xfrm>
                <a:off x="7190983" y="1411573"/>
                <a:ext cx="102478" cy="249134"/>
              </a:xfrm>
              <a:custGeom>
                <a:avLst/>
                <a:gdLst>
                  <a:gd name="connsiteX0" fmla="*/ 102479 w 102478"/>
                  <a:gd name="connsiteY0" fmla="*/ 0 h 249134"/>
                  <a:gd name="connsiteX1" fmla="*/ 163 w 102478"/>
                  <a:gd name="connsiteY1" fmla="*/ 249134 h 2491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02478" h="249134">
                    <a:moveTo>
                      <a:pt x="102479" y="0"/>
                    </a:moveTo>
                    <a:cubicBezTo>
                      <a:pt x="102479" y="0"/>
                      <a:pt x="-4745" y="98351"/>
                      <a:pt x="163" y="249134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94" name="Forma livre: Forma 393">
                <a:extLst>
                  <a:ext uri="{FF2B5EF4-FFF2-40B4-BE49-F238E27FC236}">
                    <a16:creationId xmlns:a16="http://schemas.microsoft.com/office/drawing/2014/main" id="{13A9F080-776C-04BA-B5E1-A378D7B95D02}"/>
                  </a:ext>
                </a:extLst>
              </p:cNvPr>
              <p:cNvSpPr/>
              <p:nvPr/>
            </p:nvSpPr>
            <p:spPr>
              <a:xfrm>
                <a:off x="7331571" y="1411573"/>
                <a:ext cx="102501" cy="248379"/>
              </a:xfrm>
              <a:custGeom>
                <a:avLst/>
                <a:gdLst>
                  <a:gd name="connsiteX0" fmla="*/ 0 w 102501"/>
                  <a:gd name="connsiteY0" fmla="*/ 0 h 248379"/>
                  <a:gd name="connsiteX1" fmla="*/ 102363 w 102501"/>
                  <a:gd name="connsiteY1" fmla="*/ 248379 h 2483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02501" h="248379">
                    <a:moveTo>
                      <a:pt x="0" y="0"/>
                    </a:moveTo>
                    <a:cubicBezTo>
                      <a:pt x="0" y="0"/>
                      <a:pt x="106870" y="97997"/>
                      <a:pt x="102363" y="248379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95" name="Forma livre: Forma 394">
                <a:extLst>
                  <a:ext uri="{FF2B5EF4-FFF2-40B4-BE49-F238E27FC236}">
                    <a16:creationId xmlns:a16="http://schemas.microsoft.com/office/drawing/2014/main" id="{001AA306-6C03-B4D8-0FDB-29124851B6C5}"/>
                  </a:ext>
                </a:extLst>
              </p:cNvPr>
              <p:cNvSpPr/>
              <p:nvPr/>
            </p:nvSpPr>
            <p:spPr>
              <a:xfrm>
                <a:off x="7162996" y="1501359"/>
                <a:ext cx="335002" cy="53164"/>
              </a:xfrm>
              <a:custGeom>
                <a:avLst/>
                <a:gdLst>
                  <a:gd name="connsiteX0" fmla="*/ 335003 w 335002"/>
                  <a:gd name="connsiteY0" fmla="*/ 0 h 53164"/>
                  <a:gd name="connsiteX1" fmla="*/ 0 w 335002"/>
                  <a:gd name="connsiteY1" fmla="*/ 18547 h 531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35002" h="53164">
                    <a:moveTo>
                      <a:pt x="335003" y="0"/>
                    </a:moveTo>
                    <a:cubicBezTo>
                      <a:pt x="268507" y="40539"/>
                      <a:pt x="147810" y="86340"/>
                      <a:pt x="0" y="18547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96" name="Forma livre: Forma 395">
                <a:extLst>
                  <a:ext uri="{FF2B5EF4-FFF2-40B4-BE49-F238E27FC236}">
                    <a16:creationId xmlns:a16="http://schemas.microsoft.com/office/drawing/2014/main" id="{D9621E74-E687-E8CF-BAAC-479B26D1202F}"/>
                  </a:ext>
                </a:extLst>
              </p:cNvPr>
              <p:cNvSpPr/>
              <p:nvPr/>
            </p:nvSpPr>
            <p:spPr>
              <a:xfrm>
                <a:off x="7066013" y="1410582"/>
                <a:ext cx="492699" cy="246349"/>
              </a:xfrm>
              <a:custGeom>
                <a:avLst/>
                <a:gdLst>
                  <a:gd name="connsiteX0" fmla="*/ 0 w 492699"/>
                  <a:gd name="connsiteY0" fmla="*/ 246350 h 246349"/>
                  <a:gd name="connsiteX1" fmla="*/ 246350 w 492699"/>
                  <a:gd name="connsiteY1" fmla="*/ 0 h 246349"/>
                  <a:gd name="connsiteX2" fmla="*/ 492700 w 492699"/>
                  <a:gd name="connsiteY2" fmla="*/ 246350 h 246349"/>
                  <a:gd name="connsiteX3" fmla="*/ 52078 w 492699"/>
                  <a:gd name="connsiteY3" fmla="*/ 246350 h 2463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92699" h="246349">
                    <a:moveTo>
                      <a:pt x="0" y="246350"/>
                    </a:moveTo>
                    <a:cubicBezTo>
                      <a:pt x="0" y="110291"/>
                      <a:pt x="110291" y="0"/>
                      <a:pt x="246350" y="0"/>
                    </a:cubicBezTo>
                    <a:cubicBezTo>
                      <a:pt x="382409" y="0"/>
                      <a:pt x="492700" y="110268"/>
                      <a:pt x="492700" y="246350"/>
                    </a:cubicBezTo>
                    <a:lnTo>
                      <a:pt x="52078" y="246350"/>
                    </a:lnTo>
                  </a:path>
                </a:pathLst>
              </a:custGeom>
              <a:noFill/>
              <a:ln w="6350" cap="sq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397" name="Gráfico 4">
              <a:extLst>
                <a:ext uri="{FF2B5EF4-FFF2-40B4-BE49-F238E27FC236}">
                  <a16:creationId xmlns:a16="http://schemas.microsoft.com/office/drawing/2014/main" id="{28D41598-8661-BDC8-5B19-5AA10702BF4A}"/>
                </a:ext>
              </a:extLst>
            </p:cNvPr>
            <p:cNvGrpSpPr/>
            <p:nvPr/>
          </p:nvGrpSpPr>
          <p:grpSpPr>
            <a:xfrm>
              <a:off x="7062309" y="1046390"/>
              <a:ext cx="500108" cy="474199"/>
              <a:chOff x="7062309" y="1046390"/>
              <a:chExt cx="500108" cy="474199"/>
            </a:xfrm>
            <a:noFill/>
          </p:grpSpPr>
          <p:grpSp>
            <p:nvGrpSpPr>
              <p:cNvPr id="398" name="Gráfico 4">
                <a:extLst>
                  <a:ext uri="{FF2B5EF4-FFF2-40B4-BE49-F238E27FC236}">
                    <a16:creationId xmlns:a16="http://schemas.microsoft.com/office/drawing/2014/main" id="{0EA94572-0426-5253-1FF5-5F455B12032E}"/>
                  </a:ext>
                </a:extLst>
              </p:cNvPr>
              <p:cNvGrpSpPr/>
              <p:nvPr/>
            </p:nvGrpSpPr>
            <p:grpSpPr>
              <a:xfrm>
                <a:off x="7062309" y="1046390"/>
                <a:ext cx="143586" cy="474199"/>
                <a:chOff x="7062309" y="1046390"/>
                <a:chExt cx="143586" cy="474199"/>
              </a:xfrm>
              <a:noFill/>
            </p:grpSpPr>
            <p:sp>
              <p:nvSpPr>
                <p:cNvPr id="399" name="Forma livre: Forma 398">
                  <a:extLst>
                    <a:ext uri="{FF2B5EF4-FFF2-40B4-BE49-F238E27FC236}">
                      <a16:creationId xmlns:a16="http://schemas.microsoft.com/office/drawing/2014/main" id="{EF582C74-16FD-4DAF-AEF7-CD2CDE20B5AB}"/>
                    </a:ext>
                  </a:extLst>
                </p:cNvPr>
                <p:cNvSpPr/>
                <p:nvPr/>
              </p:nvSpPr>
              <p:spPr>
                <a:xfrm>
                  <a:off x="7062309" y="1177517"/>
                  <a:ext cx="110574" cy="214635"/>
                </a:xfrm>
                <a:custGeom>
                  <a:avLst/>
                  <a:gdLst>
                    <a:gd name="connsiteX0" fmla="*/ 110574 w 110574"/>
                    <a:gd name="connsiteY0" fmla="*/ 0 h 214635"/>
                    <a:gd name="connsiteX1" fmla="*/ 57340 w 110574"/>
                    <a:gd name="connsiteY1" fmla="*/ 0 h 214635"/>
                    <a:gd name="connsiteX2" fmla="*/ 0 w 110574"/>
                    <a:gd name="connsiteY2" fmla="*/ 57340 h 214635"/>
                    <a:gd name="connsiteX3" fmla="*/ 0 w 110574"/>
                    <a:gd name="connsiteY3" fmla="*/ 157296 h 214635"/>
                    <a:gd name="connsiteX4" fmla="*/ 46863 w 110574"/>
                    <a:gd name="connsiteY4" fmla="*/ 214636 h 21463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10574" h="214635">
                      <a:moveTo>
                        <a:pt x="110574" y="0"/>
                      </a:moveTo>
                      <a:lnTo>
                        <a:pt x="57340" y="0"/>
                      </a:lnTo>
                      <a:cubicBezTo>
                        <a:pt x="25791" y="0"/>
                        <a:pt x="0" y="25815"/>
                        <a:pt x="0" y="57340"/>
                      </a:cubicBezTo>
                      <a:lnTo>
                        <a:pt x="0" y="157296"/>
                      </a:lnTo>
                      <a:cubicBezTo>
                        <a:pt x="0" y="188845"/>
                        <a:pt x="15338" y="214636"/>
                        <a:pt x="46863" y="214636"/>
                      </a:cubicBez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grpSp>
              <p:nvGrpSpPr>
                <p:cNvPr id="400" name="Gráfico 4">
                  <a:extLst>
                    <a:ext uri="{FF2B5EF4-FFF2-40B4-BE49-F238E27FC236}">
                      <a16:creationId xmlns:a16="http://schemas.microsoft.com/office/drawing/2014/main" id="{0577B3EB-EC2B-57AA-5F41-5E4054338D4B}"/>
                    </a:ext>
                  </a:extLst>
                </p:cNvPr>
                <p:cNvGrpSpPr/>
                <p:nvPr/>
              </p:nvGrpSpPr>
              <p:grpSpPr>
                <a:xfrm>
                  <a:off x="7106812" y="1046390"/>
                  <a:ext cx="99082" cy="474199"/>
                  <a:chOff x="7106812" y="1046390"/>
                  <a:chExt cx="99082" cy="474199"/>
                </a:xfrm>
                <a:noFill/>
              </p:grpSpPr>
              <p:sp>
                <p:nvSpPr>
                  <p:cNvPr id="401" name="Forma livre: Forma 400">
                    <a:extLst>
                      <a:ext uri="{FF2B5EF4-FFF2-40B4-BE49-F238E27FC236}">
                        <a16:creationId xmlns:a16="http://schemas.microsoft.com/office/drawing/2014/main" id="{920F6054-B7D9-E696-80FB-307DF962D9AA}"/>
                      </a:ext>
                    </a:extLst>
                  </p:cNvPr>
                  <p:cNvSpPr/>
                  <p:nvPr/>
                </p:nvSpPr>
                <p:spPr>
                  <a:xfrm>
                    <a:off x="7119531" y="1046390"/>
                    <a:ext cx="86363" cy="86364"/>
                  </a:xfrm>
                  <a:custGeom>
                    <a:avLst/>
                    <a:gdLst>
                      <a:gd name="connsiteX0" fmla="*/ 0 w 86363"/>
                      <a:gd name="connsiteY0" fmla="*/ 43182 h 86364"/>
                      <a:gd name="connsiteX1" fmla="*/ 43182 w 86363"/>
                      <a:gd name="connsiteY1" fmla="*/ 86364 h 86364"/>
                      <a:gd name="connsiteX2" fmla="*/ 86364 w 86363"/>
                      <a:gd name="connsiteY2" fmla="*/ 43182 h 86364"/>
                      <a:gd name="connsiteX3" fmla="*/ 43182 w 86363"/>
                      <a:gd name="connsiteY3" fmla="*/ 0 h 86364"/>
                      <a:gd name="connsiteX4" fmla="*/ 0 w 86363"/>
                      <a:gd name="connsiteY4" fmla="*/ 43182 h 8636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86363" h="86364">
                        <a:moveTo>
                          <a:pt x="0" y="43182"/>
                        </a:moveTo>
                        <a:cubicBezTo>
                          <a:pt x="0" y="67038"/>
                          <a:pt x="19349" y="86364"/>
                          <a:pt x="43182" y="86364"/>
                        </a:cubicBezTo>
                        <a:cubicBezTo>
                          <a:pt x="67015" y="86364"/>
                          <a:pt x="86364" y="67038"/>
                          <a:pt x="86364" y="43182"/>
                        </a:cubicBezTo>
                        <a:cubicBezTo>
                          <a:pt x="86364" y="19326"/>
                          <a:pt x="67015" y="0"/>
                          <a:pt x="43182" y="0"/>
                        </a:cubicBezTo>
                        <a:cubicBezTo>
                          <a:pt x="19349" y="0"/>
                          <a:pt x="0" y="19326"/>
                          <a:pt x="0" y="43182"/>
                        </a:cubicBezTo>
                        <a:close/>
                      </a:path>
                    </a:pathLst>
                  </a:custGeom>
                  <a:noFill/>
                  <a:ln w="6350" cap="flat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grpSp>
                <p:nvGrpSpPr>
                  <p:cNvPr id="402" name="Gráfico 4">
                    <a:extLst>
                      <a:ext uri="{FF2B5EF4-FFF2-40B4-BE49-F238E27FC236}">
                        <a16:creationId xmlns:a16="http://schemas.microsoft.com/office/drawing/2014/main" id="{B3E3EF04-49A4-6D76-5192-3A5DF16D815A}"/>
                      </a:ext>
                    </a:extLst>
                  </p:cNvPr>
                  <p:cNvGrpSpPr/>
                  <p:nvPr/>
                </p:nvGrpSpPr>
                <p:grpSpPr>
                  <a:xfrm>
                    <a:off x="7106812" y="1251068"/>
                    <a:ext cx="55924" cy="269521"/>
                    <a:chOff x="7106812" y="1251068"/>
                    <a:chExt cx="55924" cy="269521"/>
                  </a:xfrm>
                </p:grpSpPr>
                <p:sp>
                  <p:nvSpPr>
                    <p:cNvPr id="403" name="Forma livre: Forma 402">
                      <a:extLst>
                        <a:ext uri="{FF2B5EF4-FFF2-40B4-BE49-F238E27FC236}">
                          <a16:creationId xmlns:a16="http://schemas.microsoft.com/office/drawing/2014/main" id="{56BFE796-C71D-EB99-964D-17EFF99AB2BF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7106812" y="1251068"/>
                      <a:ext cx="2359" cy="269521"/>
                    </a:xfrm>
                    <a:custGeom>
                      <a:avLst/>
                      <a:gdLst>
                        <a:gd name="connsiteX0" fmla="*/ 0 w 2359"/>
                        <a:gd name="connsiteY0" fmla="*/ 0 h 269521"/>
                        <a:gd name="connsiteX1" fmla="*/ 0 w 2359"/>
                        <a:gd name="connsiteY1" fmla="*/ 269522 h 269521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2359" h="269521">
                          <a:moveTo>
                            <a:pt x="0" y="0"/>
                          </a:moveTo>
                          <a:lnTo>
                            <a:pt x="0" y="269522"/>
                          </a:lnTo>
                        </a:path>
                      </a:pathLst>
                    </a:custGeom>
                    <a:ln w="6350" cap="flat">
                      <a:solidFill>
                        <a:schemeClr val="accent2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pt-PT"/>
                    </a:p>
                  </p:txBody>
                </p:sp>
                <p:sp>
                  <p:nvSpPr>
                    <p:cNvPr id="404" name="Forma livre: Forma 403">
                      <a:extLst>
                        <a:ext uri="{FF2B5EF4-FFF2-40B4-BE49-F238E27FC236}">
                          <a16:creationId xmlns:a16="http://schemas.microsoft.com/office/drawing/2014/main" id="{068D40E3-527A-8A62-CBC2-1ED67AA3775A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7162736" y="1366739"/>
                      <a:ext cx="2359" cy="95024"/>
                    </a:xfrm>
                    <a:custGeom>
                      <a:avLst/>
                      <a:gdLst>
                        <a:gd name="connsiteX0" fmla="*/ 0 w 2359"/>
                        <a:gd name="connsiteY0" fmla="*/ 0 h 95024"/>
                        <a:gd name="connsiteX1" fmla="*/ 0 w 2359"/>
                        <a:gd name="connsiteY1" fmla="*/ 95024 h 95024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2359" h="95024">
                          <a:moveTo>
                            <a:pt x="0" y="0"/>
                          </a:moveTo>
                          <a:lnTo>
                            <a:pt x="0" y="95024"/>
                          </a:lnTo>
                        </a:path>
                      </a:pathLst>
                    </a:custGeom>
                    <a:ln w="6350" cap="flat">
                      <a:solidFill>
                        <a:schemeClr val="accent2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pt-PT"/>
                    </a:p>
                  </p:txBody>
                </p:sp>
              </p:grpSp>
            </p:grpSp>
          </p:grpSp>
          <p:grpSp>
            <p:nvGrpSpPr>
              <p:cNvPr id="405" name="Gráfico 4">
                <a:extLst>
                  <a:ext uri="{FF2B5EF4-FFF2-40B4-BE49-F238E27FC236}">
                    <a16:creationId xmlns:a16="http://schemas.microsoft.com/office/drawing/2014/main" id="{94843AEA-4E84-C6E4-1E80-0F4EC1025E6E}"/>
                  </a:ext>
                </a:extLst>
              </p:cNvPr>
              <p:cNvGrpSpPr/>
              <p:nvPr/>
            </p:nvGrpSpPr>
            <p:grpSpPr>
              <a:xfrm>
                <a:off x="7418832" y="1046390"/>
                <a:ext cx="143586" cy="474199"/>
                <a:chOff x="7418832" y="1046390"/>
                <a:chExt cx="143586" cy="474199"/>
              </a:xfrm>
              <a:noFill/>
            </p:grpSpPr>
            <p:sp>
              <p:nvSpPr>
                <p:cNvPr id="406" name="Forma livre: Forma 405">
                  <a:extLst>
                    <a:ext uri="{FF2B5EF4-FFF2-40B4-BE49-F238E27FC236}">
                      <a16:creationId xmlns:a16="http://schemas.microsoft.com/office/drawing/2014/main" id="{6E046610-C6B2-0119-4380-F52C6F7A8A28}"/>
                    </a:ext>
                  </a:extLst>
                </p:cNvPr>
                <p:cNvSpPr/>
                <p:nvPr/>
              </p:nvSpPr>
              <p:spPr>
                <a:xfrm>
                  <a:off x="7451844" y="1177517"/>
                  <a:ext cx="110574" cy="214635"/>
                </a:xfrm>
                <a:custGeom>
                  <a:avLst/>
                  <a:gdLst>
                    <a:gd name="connsiteX0" fmla="*/ 0 w 110574"/>
                    <a:gd name="connsiteY0" fmla="*/ 0 h 214635"/>
                    <a:gd name="connsiteX1" fmla="*/ 53234 w 110574"/>
                    <a:gd name="connsiteY1" fmla="*/ 0 h 214635"/>
                    <a:gd name="connsiteX2" fmla="*/ 110574 w 110574"/>
                    <a:gd name="connsiteY2" fmla="*/ 57340 h 214635"/>
                    <a:gd name="connsiteX3" fmla="*/ 110574 w 110574"/>
                    <a:gd name="connsiteY3" fmla="*/ 157296 h 214635"/>
                    <a:gd name="connsiteX4" fmla="*/ 63688 w 110574"/>
                    <a:gd name="connsiteY4" fmla="*/ 214636 h 21463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10574" h="214635">
                      <a:moveTo>
                        <a:pt x="0" y="0"/>
                      </a:moveTo>
                      <a:lnTo>
                        <a:pt x="53234" y="0"/>
                      </a:lnTo>
                      <a:cubicBezTo>
                        <a:pt x="84783" y="0"/>
                        <a:pt x="110574" y="25815"/>
                        <a:pt x="110574" y="57340"/>
                      </a:cubicBezTo>
                      <a:lnTo>
                        <a:pt x="110574" y="157296"/>
                      </a:lnTo>
                      <a:cubicBezTo>
                        <a:pt x="110574" y="188845"/>
                        <a:pt x="95236" y="214636"/>
                        <a:pt x="63688" y="214636"/>
                      </a:cubicBez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grpSp>
              <p:nvGrpSpPr>
                <p:cNvPr id="407" name="Gráfico 4">
                  <a:extLst>
                    <a:ext uri="{FF2B5EF4-FFF2-40B4-BE49-F238E27FC236}">
                      <a16:creationId xmlns:a16="http://schemas.microsoft.com/office/drawing/2014/main" id="{64B31AA7-0B24-3829-9FAE-929FDB3260EE}"/>
                    </a:ext>
                  </a:extLst>
                </p:cNvPr>
                <p:cNvGrpSpPr/>
                <p:nvPr/>
              </p:nvGrpSpPr>
              <p:grpSpPr>
                <a:xfrm>
                  <a:off x="7418832" y="1046390"/>
                  <a:ext cx="99106" cy="474199"/>
                  <a:chOff x="7418832" y="1046390"/>
                  <a:chExt cx="99106" cy="474199"/>
                </a:xfrm>
                <a:noFill/>
              </p:grpSpPr>
              <p:sp>
                <p:nvSpPr>
                  <p:cNvPr id="408" name="Forma livre: Forma 407">
                    <a:extLst>
                      <a:ext uri="{FF2B5EF4-FFF2-40B4-BE49-F238E27FC236}">
                        <a16:creationId xmlns:a16="http://schemas.microsoft.com/office/drawing/2014/main" id="{0543CC8D-7B50-D4E8-08B0-0017FF7C7AE6}"/>
                      </a:ext>
                    </a:extLst>
                  </p:cNvPr>
                  <p:cNvSpPr/>
                  <p:nvPr/>
                </p:nvSpPr>
                <p:spPr>
                  <a:xfrm>
                    <a:off x="7418832" y="1046390"/>
                    <a:ext cx="86363" cy="86364"/>
                  </a:xfrm>
                  <a:custGeom>
                    <a:avLst/>
                    <a:gdLst>
                      <a:gd name="connsiteX0" fmla="*/ 86364 w 86363"/>
                      <a:gd name="connsiteY0" fmla="*/ 43182 h 86364"/>
                      <a:gd name="connsiteX1" fmla="*/ 43182 w 86363"/>
                      <a:gd name="connsiteY1" fmla="*/ 86364 h 86364"/>
                      <a:gd name="connsiteX2" fmla="*/ 0 w 86363"/>
                      <a:gd name="connsiteY2" fmla="*/ 43182 h 86364"/>
                      <a:gd name="connsiteX3" fmla="*/ 43182 w 86363"/>
                      <a:gd name="connsiteY3" fmla="*/ 0 h 86364"/>
                      <a:gd name="connsiteX4" fmla="*/ 86364 w 86363"/>
                      <a:gd name="connsiteY4" fmla="*/ 43182 h 8636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86363" h="86364">
                        <a:moveTo>
                          <a:pt x="86364" y="43182"/>
                        </a:moveTo>
                        <a:cubicBezTo>
                          <a:pt x="86364" y="67038"/>
                          <a:pt x="67015" y="86364"/>
                          <a:pt x="43182" y="86364"/>
                        </a:cubicBezTo>
                        <a:cubicBezTo>
                          <a:pt x="19349" y="86364"/>
                          <a:pt x="0" y="67038"/>
                          <a:pt x="0" y="43182"/>
                        </a:cubicBezTo>
                        <a:cubicBezTo>
                          <a:pt x="0" y="19326"/>
                          <a:pt x="19349" y="0"/>
                          <a:pt x="43182" y="0"/>
                        </a:cubicBezTo>
                        <a:cubicBezTo>
                          <a:pt x="67015" y="0"/>
                          <a:pt x="86364" y="19326"/>
                          <a:pt x="86364" y="43182"/>
                        </a:cubicBezTo>
                        <a:close/>
                      </a:path>
                    </a:pathLst>
                  </a:custGeom>
                  <a:noFill/>
                  <a:ln w="6350" cap="flat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grpSp>
                <p:nvGrpSpPr>
                  <p:cNvPr id="409" name="Gráfico 4">
                    <a:extLst>
                      <a:ext uri="{FF2B5EF4-FFF2-40B4-BE49-F238E27FC236}">
                        <a16:creationId xmlns:a16="http://schemas.microsoft.com/office/drawing/2014/main" id="{EB01106E-42BD-1C99-475C-BE6F89C66765}"/>
                      </a:ext>
                    </a:extLst>
                  </p:cNvPr>
                  <p:cNvGrpSpPr/>
                  <p:nvPr/>
                </p:nvGrpSpPr>
                <p:grpSpPr>
                  <a:xfrm>
                    <a:off x="7462014" y="1251068"/>
                    <a:ext cx="55924" cy="269521"/>
                    <a:chOff x="7462014" y="1251068"/>
                    <a:chExt cx="55924" cy="269521"/>
                  </a:xfrm>
                </p:grpSpPr>
                <p:sp>
                  <p:nvSpPr>
                    <p:cNvPr id="410" name="Forma livre: Forma 409">
                      <a:extLst>
                        <a:ext uri="{FF2B5EF4-FFF2-40B4-BE49-F238E27FC236}">
                          <a16:creationId xmlns:a16="http://schemas.microsoft.com/office/drawing/2014/main" id="{9E23CA15-B89B-6B84-D48A-053BA6B18E1B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7517938" y="1251068"/>
                      <a:ext cx="2359" cy="269521"/>
                    </a:xfrm>
                    <a:custGeom>
                      <a:avLst/>
                      <a:gdLst>
                        <a:gd name="connsiteX0" fmla="*/ 0 w 2359"/>
                        <a:gd name="connsiteY0" fmla="*/ 0 h 269521"/>
                        <a:gd name="connsiteX1" fmla="*/ 0 w 2359"/>
                        <a:gd name="connsiteY1" fmla="*/ 269522 h 269521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2359" h="269521">
                          <a:moveTo>
                            <a:pt x="0" y="0"/>
                          </a:moveTo>
                          <a:lnTo>
                            <a:pt x="0" y="269522"/>
                          </a:lnTo>
                        </a:path>
                      </a:pathLst>
                    </a:custGeom>
                    <a:ln w="6350" cap="flat">
                      <a:solidFill>
                        <a:schemeClr val="accent2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pt-PT"/>
                    </a:p>
                  </p:txBody>
                </p:sp>
                <p:sp>
                  <p:nvSpPr>
                    <p:cNvPr id="411" name="Forma livre: Forma 410">
                      <a:extLst>
                        <a:ext uri="{FF2B5EF4-FFF2-40B4-BE49-F238E27FC236}">
                          <a16:creationId xmlns:a16="http://schemas.microsoft.com/office/drawing/2014/main" id="{3B4D2FB8-C0FA-45B9-223F-2BC225D4EF04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7462014" y="1366739"/>
                      <a:ext cx="2359" cy="95024"/>
                    </a:xfrm>
                    <a:custGeom>
                      <a:avLst/>
                      <a:gdLst>
                        <a:gd name="connsiteX0" fmla="*/ 0 w 2359"/>
                        <a:gd name="connsiteY0" fmla="*/ 0 h 95024"/>
                        <a:gd name="connsiteX1" fmla="*/ 0 w 2359"/>
                        <a:gd name="connsiteY1" fmla="*/ 95024 h 95024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2359" h="95024">
                          <a:moveTo>
                            <a:pt x="0" y="0"/>
                          </a:moveTo>
                          <a:lnTo>
                            <a:pt x="0" y="95024"/>
                          </a:lnTo>
                        </a:path>
                      </a:pathLst>
                    </a:custGeom>
                    <a:ln w="6350" cap="flat">
                      <a:solidFill>
                        <a:schemeClr val="accent2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pt-PT"/>
                    </a:p>
                  </p:txBody>
                </p:sp>
              </p:grpSp>
            </p:grpSp>
          </p:grpSp>
        </p:grpSp>
        <p:grpSp>
          <p:nvGrpSpPr>
            <p:cNvPr id="412" name="Gráfico 4">
              <a:extLst>
                <a:ext uri="{FF2B5EF4-FFF2-40B4-BE49-F238E27FC236}">
                  <a16:creationId xmlns:a16="http://schemas.microsoft.com/office/drawing/2014/main" id="{9952594A-2A4B-458D-2545-43C911FBD3CE}"/>
                </a:ext>
              </a:extLst>
            </p:cNvPr>
            <p:cNvGrpSpPr/>
            <p:nvPr/>
          </p:nvGrpSpPr>
          <p:grpSpPr>
            <a:xfrm>
              <a:off x="7211983" y="1014393"/>
              <a:ext cx="200784" cy="403126"/>
              <a:chOff x="7211983" y="1014393"/>
              <a:chExt cx="200784" cy="403126"/>
            </a:xfrm>
            <a:noFill/>
          </p:grpSpPr>
          <p:sp>
            <p:nvSpPr>
              <p:cNvPr id="413" name="Forma livre: Forma 412">
                <a:extLst>
                  <a:ext uri="{FF2B5EF4-FFF2-40B4-BE49-F238E27FC236}">
                    <a16:creationId xmlns:a16="http://schemas.microsoft.com/office/drawing/2014/main" id="{BCCF54B2-AA18-6DB1-345A-B6BD51581DDC}"/>
                  </a:ext>
                </a:extLst>
              </p:cNvPr>
              <p:cNvSpPr/>
              <p:nvPr/>
            </p:nvSpPr>
            <p:spPr>
              <a:xfrm>
                <a:off x="7211983" y="1145520"/>
                <a:ext cx="200784" cy="214635"/>
              </a:xfrm>
              <a:custGeom>
                <a:avLst/>
                <a:gdLst>
                  <a:gd name="connsiteX0" fmla="*/ 153922 w 200784"/>
                  <a:gd name="connsiteY0" fmla="*/ 214636 h 214635"/>
                  <a:gd name="connsiteX1" fmla="*/ 200785 w 200784"/>
                  <a:gd name="connsiteY1" fmla="*/ 157296 h 214635"/>
                  <a:gd name="connsiteX2" fmla="*/ 200785 w 200784"/>
                  <a:gd name="connsiteY2" fmla="*/ 57340 h 214635"/>
                  <a:gd name="connsiteX3" fmla="*/ 143445 w 200784"/>
                  <a:gd name="connsiteY3" fmla="*/ 0 h 214635"/>
                  <a:gd name="connsiteX4" fmla="*/ 57340 w 200784"/>
                  <a:gd name="connsiteY4" fmla="*/ 0 h 214635"/>
                  <a:gd name="connsiteX5" fmla="*/ 0 w 200784"/>
                  <a:gd name="connsiteY5" fmla="*/ 57340 h 214635"/>
                  <a:gd name="connsiteX6" fmla="*/ 0 w 200784"/>
                  <a:gd name="connsiteY6" fmla="*/ 157296 h 214635"/>
                  <a:gd name="connsiteX7" fmla="*/ 46863 w 200784"/>
                  <a:gd name="connsiteY7" fmla="*/ 214636 h 2146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00784" h="214635">
                    <a:moveTo>
                      <a:pt x="153922" y="214636"/>
                    </a:moveTo>
                    <a:cubicBezTo>
                      <a:pt x="185447" y="214636"/>
                      <a:pt x="200785" y="188845"/>
                      <a:pt x="200785" y="157296"/>
                    </a:cubicBezTo>
                    <a:lnTo>
                      <a:pt x="200785" y="57340"/>
                    </a:lnTo>
                    <a:cubicBezTo>
                      <a:pt x="200785" y="25815"/>
                      <a:pt x="174993" y="0"/>
                      <a:pt x="143445" y="0"/>
                    </a:cubicBezTo>
                    <a:lnTo>
                      <a:pt x="57340" y="0"/>
                    </a:lnTo>
                    <a:cubicBezTo>
                      <a:pt x="25768" y="0"/>
                      <a:pt x="0" y="25791"/>
                      <a:pt x="0" y="57340"/>
                    </a:cubicBezTo>
                    <a:lnTo>
                      <a:pt x="0" y="157296"/>
                    </a:lnTo>
                    <a:cubicBezTo>
                      <a:pt x="0" y="188845"/>
                      <a:pt x="15338" y="214636"/>
                      <a:pt x="46863" y="214636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414" name="Gráfico 4">
                <a:extLst>
                  <a:ext uri="{FF2B5EF4-FFF2-40B4-BE49-F238E27FC236}">
                    <a16:creationId xmlns:a16="http://schemas.microsoft.com/office/drawing/2014/main" id="{A7168338-C93B-6FDA-386F-D3FDA4201535}"/>
                  </a:ext>
                </a:extLst>
              </p:cNvPr>
              <p:cNvGrpSpPr/>
              <p:nvPr/>
            </p:nvGrpSpPr>
            <p:grpSpPr>
              <a:xfrm>
                <a:off x="7256463" y="1014393"/>
                <a:ext cx="111801" cy="403126"/>
                <a:chOff x="7256463" y="1014393"/>
                <a:chExt cx="111801" cy="403126"/>
              </a:xfrm>
              <a:noFill/>
            </p:grpSpPr>
            <p:grpSp>
              <p:nvGrpSpPr>
                <p:cNvPr id="415" name="Gráfico 4">
                  <a:extLst>
                    <a:ext uri="{FF2B5EF4-FFF2-40B4-BE49-F238E27FC236}">
                      <a16:creationId xmlns:a16="http://schemas.microsoft.com/office/drawing/2014/main" id="{95DCC68F-DFAF-A9F5-5766-20B0DBFE3E35}"/>
                    </a:ext>
                  </a:extLst>
                </p:cNvPr>
                <p:cNvGrpSpPr/>
                <p:nvPr/>
              </p:nvGrpSpPr>
              <p:grpSpPr>
                <a:xfrm>
                  <a:off x="7256463" y="1014393"/>
                  <a:ext cx="99106" cy="403126"/>
                  <a:chOff x="7256463" y="1014393"/>
                  <a:chExt cx="99106" cy="403126"/>
                </a:xfrm>
                <a:noFill/>
              </p:grpSpPr>
              <p:sp>
                <p:nvSpPr>
                  <p:cNvPr id="416" name="Forma livre: Forma 415">
                    <a:extLst>
                      <a:ext uri="{FF2B5EF4-FFF2-40B4-BE49-F238E27FC236}">
                        <a16:creationId xmlns:a16="http://schemas.microsoft.com/office/drawing/2014/main" id="{CC3D95D7-A4E7-072C-E550-B9DAAC1BB78C}"/>
                      </a:ext>
                    </a:extLst>
                  </p:cNvPr>
                  <p:cNvSpPr/>
                  <p:nvPr/>
                </p:nvSpPr>
                <p:spPr>
                  <a:xfrm>
                    <a:off x="7269205" y="1014393"/>
                    <a:ext cx="86364" cy="86364"/>
                  </a:xfrm>
                  <a:custGeom>
                    <a:avLst/>
                    <a:gdLst>
                      <a:gd name="connsiteX0" fmla="*/ 0 w 86364"/>
                      <a:gd name="connsiteY0" fmla="*/ 43182 h 86364"/>
                      <a:gd name="connsiteX1" fmla="*/ 43182 w 86364"/>
                      <a:gd name="connsiteY1" fmla="*/ 86364 h 86364"/>
                      <a:gd name="connsiteX2" fmla="*/ 86364 w 86364"/>
                      <a:gd name="connsiteY2" fmla="*/ 43182 h 86364"/>
                      <a:gd name="connsiteX3" fmla="*/ 43182 w 86364"/>
                      <a:gd name="connsiteY3" fmla="*/ 0 h 86364"/>
                      <a:gd name="connsiteX4" fmla="*/ 0 w 86364"/>
                      <a:gd name="connsiteY4" fmla="*/ 43182 h 8636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86364" h="86364">
                        <a:moveTo>
                          <a:pt x="0" y="43182"/>
                        </a:moveTo>
                        <a:cubicBezTo>
                          <a:pt x="0" y="67038"/>
                          <a:pt x="19349" y="86364"/>
                          <a:pt x="43182" y="86364"/>
                        </a:cubicBezTo>
                        <a:cubicBezTo>
                          <a:pt x="67015" y="86364"/>
                          <a:pt x="86364" y="67038"/>
                          <a:pt x="86364" y="43182"/>
                        </a:cubicBezTo>
                        <a:cubicBezTo>
                          <a:pt x="86364" y="19326"/>
                          <a:pt x="67015" y="0"/>
                          <a:pt x="43182" y="0"/>
                        </a:cubicBezTo>
                        <a:cubicBezTo>
                          <a:pt x="19349" y="0"/>
                          <a:pt x="0" y="19326"/>
                          <a:pt x="0" y="43182"/>
                        </a:cubicBezTo>
                        <a:close/>
                      </a:path>
                    </a:pathLst>
                  </a:custGeom>
                  <a:noFill/>
                  <a:ln w="6350" cap="flat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grpSp>
                <p:nvGrpSpPr>
                  <p:cNvPr id="417" name="Gráfico 4">
                    <a:extLst>
                      <a:ext uri="{FF2B5EF4-FFF2-40B4-BE49-F238E27FC236}">
                        <a16:creationId xmlns:a16="http://schemas.microsoft.com/office/drawing/2014/main" id="{2AB02B43-FED9-C876-6C3D-BB37ACBB8FCA}"/>
                      </a:ext>
                    </a:extLst>
                  </p:cNvPr>
                  <p:cNvGrpSpPr/>
                  <p:nvPr/>
                </p:nvGrpSpPr>
                <p:grpSpPr>
                  <a:xfrm>
                    <a:off x="7256463" y="1219071"/>
                    <a:ext cx="55900" cy="198448"/>
                    <a:chOff x="7256463" y="1219071"/>
                    <a:chExt cx="55900" cy="198448"/>
                  </a:xfrm>
                </p:grpSpPr>
                <p:sp>
                  <p:nvSpPr>
                    <p:cNvPr id="418" name="Forma livre: Forma 417">
                      <a:extLst>
                        <a:ext uri="{FF2B5EF4-FFF2-40B4-BE49-F238E27FC236}">
                          <a16:creationId xmlns:a16="http://schemas.microsoft.com/office/drawing/2014/main" id="{E57C1D28-D7FC-A35F-858F-10EE27896DE4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7256463" y="1219071"/>
                      <a:ext cx="2359" cy="198448"/>
                    </a:xfrm>
                    <a:custGeom>
                      <a:avLst/>
                      <a:gdLst>
                        <a:gd name="connsiteX0" fmla="*/ 0 w 2359"/>
                        <a:gd name="connsiteY0" fmla="*/ 0 h 198448"/>
                        <a:gd name="connsiteX1" fmla="*/ 0 w 2359"/>
                        <a:gd name="connsiteY1" fmla="*/ 198449 h 198448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2359" h="198448">
                          <a:moveTo>
                            <a:pt x="0" y="0"/>
                          </a:moveTo>
                          <a:lnTo>
                            <a:pt x="0" y="198449"/>
                          </a:lnTo>
                        </a:path>
                      </a:pathLst>
                    </a:custGeom>
                    <a:ln w="6350" cap="flat">
                      <a:solidFill>
                        <a:schemeClr val="accent2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pt-PT"/>
                    </a:p>
                  </p:txBody>
                </p:sp>
                <p:sp>
                  <p:nvSpPr>
                    <p:cNvPr id="419" name="Forma livre: Forma 418">
                      <a:extLst>
                        <a:ext uri="{FF2B5EF4-FFF2-40B4-BE49-F238E27FC236}">
                          <a16:creationId xmlns:a16="http://schemas.microsoft.com/office/drawing/2014/main" id="{C4238CE5-45EF-70D8-EFFE-95768B2AD8B4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7312363" y="1334766"/>
                      <a:ext cx="2359" cy="76028"/>
                    </a:xfrm>
                    <a:custGeom>
                      <a:avLst/>
                      <a:gdLst>
                        <a:gd name="connsiteX0" fmla="*/ 0 w 2359"/>
                        <a:gd name="connsiteY0" fmla="*/ 0 h 76028"/>
                        <a:gd name="connsiteX1" fmla="*/ 0 w 2359"/>
                        <a:gd name="connsiteY1" fmla="*/ 76029 h 76028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2359" h="76028">
                          <a:moveTo>
                            <a:pt x="0" y="0"/>
                          </a:moveTo>
                          <a:lnTo>
                            <a:pt x="0" y="76029"/>
                          </a:lnTo>
                        </a:path>
                      </a:pathLst>
                    </a:custGeom>
                    <a:ln w="6350" cap="flat">
                      <a:solidFill>
                        <a:schemeClr val="accent2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pt-PT"/>
                    </a:p>
                  </p:txBody>
                </p:sp>
              </p:grpSp>
            </p:grpSp>
            <p:sp>
              <p:nvSpPr>
                <p:cNvPr id="420" name="Forma livre: Forma 419">
                  <a:extLst>
                    <a:ext uri="{FF2B5EF4-FFF2-40B4-BE49-F238E27FC236}">
                      <a16:creationId xmlns:a16="http://schemas.microsoft.com/office/drawing/2014/main" id="{0A37A613-B835-6A43-0AD1-4ACB131D83DA}"/>
                    </a:ext>
                  </a:extLst>
                </p:cNvPr>
                <p:cNvSpPr/>
                <p:nvPr/>
              </p:nvSpPr>
              <p:spPr>
                <a:xfrm>
                  <a:off x="7368264" y="1222634"/>
                  <a:ext cx="2359" cy="192643"/>
                </a:xfrm>
                <a:custGeom>
                  <a:avLst/>
                  <a:gdLst>
                    <a:gd name="connsiteX0" fmla="*/ 0 w 2359"/>
                    <a:gd name="connsiteY0" fmla="*/ 192644 h 192643"/>
                    <a:gd name="connsiteX1" fmla="*/ 0 w 2359"/>
                    <a:gd name="connsiteY1" fmla="*/ 0 h 19264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359" h="192643">
                      <a:moveTo>
                        <a:pt x="0" y="192644"/>
                      </a:moveTo>
                      <a:lnTo>
                        <a:pt x="0" y="0"/>
                      </a:lnTo>
                    </a:path>
                  </a:pathLst>
                </a:custGeom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</p:grpSp>
      <p:grpSp>
        <p:nvGrpSpPr>
          <p:cNvPr id="421" name="Gráfico 4">
            <a:extLst>
              <a:ext uri="{FF2B5EF4-FFF2-40B4-BE49-F238E27FC236}">
                <a16:creationId xmlns:a16="http://schemas.microsoft.com/office/drawing/2014/main" id="{88A31F80-D8A1-436C-66AA-84575684C941}"/>
              </a:ext>
            </a:extLst>
          </p:cNvPr>
          <p:cNvGrpSpPr/>
          <p:nvPr/>
        </p:nvGrpSpPr>
        <p:grpSpPr>
          <a:xfrm>
            <a:off x="5753891" y="1066117"/>
            <a:ext cx="664651" cy="542865"/>
            <a:chOff x="5753891" y="1066117"/>
            <a:chExt cx="664651" cy="542865"/>
          </a:xfrm>
        </p:grpSpPr>
        <p:sp>
          <p:nvSpPr>
            <p:cNvPr id="422" name="Forma livre: Forma 421">
              <a:extLst>
                <a:ext uri="{FF2B5EF4-FFF2-40B4-BE49-F238E27FC236}">
                  <a16:creationId xmlns:a16="http://schemas.microsoft.com/office/drawing/2014/main" id="{89DD1E5E-A6AB-69D6-7EF8-BA3D199D7ED3}"/>
                </a:ext>
              </a:extLst>
            </p:cNvPr>
            <p:cNvSpPr/>
            <p:nvPr/>
          </p:nvSpPr>
          <p:spPr>
            <a:xfrm>
              <a:off x="5786669" y="1551425"/>
              <a:ext cx="468371" cy="57557"/>
            </a:xfrm>
            <a:custGeom>
              <a:avLst/>
              <a:gdLst>
                <a:gd name="connsiteX0" fmla="*/ 0 w 468371"/>
                <a:gd name="connsiteY0" fmla="*/ 18813 h 57557"/>
                <a:gd name="connsiteX1" fmla="*/ 309306 w 468371"/>
                <a:gd name="connsiteY1" fmla="*/ 36487 h 57557"/>
                <a:gd name="connsiteX2" fmla="*/ 468372 w 468371"/>
                <a:gd name="connsiteY2" fmla="*/ 49748 h 575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68371" h="57557">
                  <a:moveTo>
                    <a:pt x="0" y="18813"/>
                  </a:moveTo>
                  <a:cubicBezTo>
                    <a:pt x="0" y="18813"/>
                    <a:pt x="106162" y="-33572"/>
                    <a:pt x="309306" y="36487"/>
                  </a:cubicBezTo>
                  <a:cubicBezTo>
                    <a:pt x="394750" y="65935"/>
                    <a:pt x="419786" y="58573"/>
                    <a:pt x="468372" y="49748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23" name="Forma livre: Forma 422">
              <a:extLst>
                <a:ext uri="{FF2B5EF4-FFF2-40B4-BE49-F238E27FC236}">
                  <a16:creationId xmlns:a16="http://schemas.microsoft.com/office/drawing/2014/main" id="{DD4D7CF9-7B3E-AD5E-85B8-4F555326FD39}"/>
                </a:ext>
              </a:extLst>
            </p:cNvPr>
            <p:cNvSpPr/>
            <p:nvPr/>
          </p:nvSpPr>
          <p:spPr>
            <a:xfrm>
              <a:off x="6111455" y="1516316"/>
              <a:ext cx="307087" cy="51703"/>
            </a:xfrm>
            <a:custGeom>
              <a:avLst/>
              <a:gdLst>
                <a:gd name="connsiteX0" fmla="*/ 0 w 307087"/>
                <a:gd name="connsiteY0" fmla="*/ 29617 h 51703"/>
                <a:gd name="connsiteX1" fmla="*/ 307088 w 307087"/>
                <a:gd name="connsiteY1" fmla="*/ 51704 h 517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07087" h="51703">
                  <a:moveTo>
                    <a:pt x="0" y="29617"/>
                  </a:moveTo>
                  <a:cubicBezTo>
                    <a:pt x="0" y="29617"/>
                    <a:pt x="110480" y="-49928"/>
                    <a:pt x="307088" y="51704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24" name="Forma livre: Forma 423">
              <a:extLst>
                <a:ext uri="{FF2B5EF4-FFF2-40B4-BE49-F238E27FC236}">
                  <a16:creationId xmlns:a16="http://schemas.microsoft.com/office/drawing/2014/main" id="{17FC39C9-26A6-EEEF-4B0F-21AF2E26EB78}"/>
                </a:ext>
              </a:extLst>
            </p:cNvPr>
            <p:cNvSpPr/>
            <p:nvPr/>
          </p:nvSpPr>
          <p:spPr>
            <a:xfrm rot="-1349998">
              <a:off x="6293917" y="1270522"/>
              <a:ext cx="62908" cy="62908"/>
            </a:xfrm>
            <a:custGeom>
              <a:avLst/>
              <a:gdLst>
                <a:gd name="connsiteX0" fmla="*/ 62909 w 62908"/>
                <a:gd name="connsiteY0" fmla="*/ 31454 h 62908"/>
                <a:gd name="connsiteX1" fmla="*/ 31454 w 62908"/>
                <a:gd name="connsiteY1" fmla="*/ 62909 h 62908"/>
                <a:gd name="connsiteX2" fmla="*/ 0 w 62908"/>
                <a:gd name="connsiteY2" fmla="*/ 31454 h 62908"/>
                <a:gd name="connsiteX3" fmla="*/ 31454 w 62908"/>
                <a:gd name="connsiteY3" fmla="*/ 0 h 62908"/>
                <a:gd name="connsiteX4" fmla="*/ 62909 w 62908"/>
                <a:gd name="connsiteY4" fmla="*/ 31454 h 629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2908" h="62908">
                  <a:moveTo>
                    <a:pt x="62909" y="31454"/>
                  </a:moveTo>
                  <a:cubicBezTo>
                    <a:pt x="62909" y="48826"/>
                    <a:pt x="48826" y="62909"/>
                    <a:pt x="31454" y="62909"/>
                  </a:cubicBezTo>
                  <a:cubicBezTo>
                    <a:pt x="14083" y="62909"/>
                    <a:pt x="0" y="48826"/>
                    <a:pt x="0" y="31454"/>
                  </a:cubicBezTo>
                  <a:cubicBezTo>
                    <a:pt x="0" y="14083"/>
                    <a:pt x="14082" y="0"/>
                    <a:pt x="31454" y="0"/>
                  </a:cubicBezTo>
                  <a:cubicBezTo>
                    <a:pt x="48826" y="0"/>
                    <a:pt x="62909" y="14083"/>
                    <a:pt x="62909" y="31454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425" name="Gráfico 4">
              <a:extLst>
                <a:ext uri="{FF2B5EF4-FFF2-40B4-BE49-F238E27FC236}">
                  <a16:creationId xmlns:a16="http://schemas.microsoft.com/office/drawing/2014/main" id="{4FCB0B79-022B-0A6D-69DD-7372C8C1974E}"/>
                </a:ext>
              </a:extLst>
            </p:cNvPr>
            <p:cNvGrpSpPr/>
            <p:nvPr/>
          </p:nvGrpSpPr>
          <p:grpSpPr>
            <a:xfrm>
              <a:off x="6108670" y="1073646"/>
              <a:ext cx="286582" cy="359990"/>
              <a:chOff x="6108670" y="1073646"/>
              <a:chExt cx="286582" cy="359990"/>
            </a:xfrm>
          </p:grpSpPr>
          <p:sp>
            <p:nvSpPr>
              <p:cNvPr id="426" name="Forma livre: Forma 425">
                <a:extLst>
                  <a:ext uri="{FF2B5EF4-FFF2-40B4-BE49-F238E27FC236}">
                    <a16:creationId xmlns:a16="http://schemas.microsoft.com/office/drawing/2014/main" id="{A99A2C9C-C68D-0C86-F5C1-214870993538}"/>
                  </a:ext>
                </a:extLst>
              </p:cNvPr>
              <p:cNvSpPr/>
              <p:nvPr/>
            </p:nvSpPr>
            <p:spPr>
              <a:xfrm>
                <a:off x="6108670" y="1073646"/>
                <a:ext cx="215626" cy="115381"/>
              </a:xfrm>
              <a:custGeom>
                <a:avLst/>
                <a:gdLst>
                  <a:gd name="connsiteX0" fmla="*/ 0 w 215626"/>
                  <a:gd name="connsiteY0" fmla="*/ 6818 h 115381"/>
                  <a:gd name="connsiteX1" fmla="*/ 172917 w 215626"/>
                  <a:gd name="connsiteY1" fmla="*/ 114112 h 115381"/>
                  <a:gd name="connsiteX2" fmla="*/ 215627 w 215626"/>
                  <a:gd name="connsiteY2" fmla="*/ 57126 h 115381"/>
                  <a:gd name="connsiteX3" fmla="*/ 215533 w 215626"/>
                  <a:gd name="connsiteY3" fmla="*/ 52147 h 115381"/>
                  <a:gd name="connsiteX4" fmla="*/ 173318 w 215626"/>
                  <a:gd name="connsiteY4" fmla="*/ 1273 h 115381"/>
                  <a:gd name="connsiteX5" fmla="*/ 425 w 215626"/>
                  <a:gd name="connsiteY5" fmla="*/ 108567 h 1153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15626" h="115381">
                    <a:moveTo>
                      <a:pt x="0" y="6818"/>
                    </a:moveTo>
                    <a:cubicBezTo>
                      <a:pt x="0" y="6818"/>
                      <a:pt x="76949" y="129073"/>
                      <a:pt x="172917" y="114112"/>
                    </a:cubicBezTo>
                    <a:cubicBezTo>
                      <a:pt x="172917" y="114112"/>
                      <a:pt x="214848" y="112366"/>
                      <a:pt x="215627" y="57126"/>
                    </a:cubicBezTo>
                    <a:lnTo>
                      <a:pt x="215533" y="52147"/>
                    </a:lnTo>
                    <a:cubicBezTo>
                      <a:pt x="211875" y="2901"/>
                      <a:pt x="173318" y="1296"/>
                      <a:pt x="173318" y="1273"/>
                    </a:cubicBezTo>
                    <a:cubicBezTo>
                      <a:pt x="77374" y="-13711"/>
                      <a:pt x="425" y="108567"/>
                      <a:pt x="425" y="108567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27" name="Forma livre: Forma 426">
                <a:extLst>
                  <a:ext uri="{FF2B5EF4-FFF2-40B4-BE49-F238E27FC236}">
                    <a16:creationId xmlns:a16="http://schemas.microsoft.com/office/drawing/2014/main" id="{CEEBCA51-10E9-4467-29F2-D146F927B674}"/>
                  </a:ext>
                </a:extLst>
              </p:cNvPr>
              <p:cNvSpPr/>
              <p:nvPr/>
            </p:nvSpPr>
            <p:spPr>
              <a:xfrm>
                <a:off x="6267382" y="1125793"/>
                <a:ext cx="11043" cy="11066"/>
              </a:xfrm>
              <a:custGeom>
                <a:avLst/>
                <a:gdLst>
                  <a:gd name="connsiteX0" fmla="*/ 11043 w 11043"/>
                  <a:gd name="connsiteY0" fmla="*/ 5545 h 11066"/>
                  <a:gd name="connsiteX1" fmla="*/ 5522 w 11043"/>
                  <a:gd name="connsiteY1" fmla="*/ 11067 h 11066"/>
                  <a:gd name="connsiteX2" fmla="*/ 0 w 11043"/>
                  <a:gd name="connsiteY2" fmla="*/ 5545 h 11066"/>
                  <a:gd name="connsiteX3" fmla="*/ 5522 w 11043"/>
                  <a:gd name="connsiteY3" fmla="*/ 0 h 11066"/>
                  <a:gd name="connsiteX4" fmla="*/ 11043 w 11043"/>
                  <a:gd name="connsiteY4" fmla="*/ 5545 h 110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1043" h="11066">
                    <a:moveTo>
                      <a:pt x="11043" y="5545"/>
                    </a:moveTo>
                    <a:cubicBezTo>
                      <a:pt x="11043" y="8613"/>
                      <a:pt x="8589" y="11067"/>
                      <a:pt x="5522" y="11067"/>
                    </a:cubicBezTo>
                    <a:cubicBezTo>
                      <a:pt x="2454" y="11067"/>
                      <a:pt x="0" y="8589"/>
                      <a:pt x="0" y="5545"/>
                    </a:cubicBezTo>
                    <a:cubicBezTo>
                      <a:pt x="0" y="2501"/>
                      <a:pt x="2478" y="0"/>
                      <a:pt x="5522" y="0"/>
                    </a:cubicBezTo>
                    <a:cubicBezTo>
                      <a:pt x="8566" y="0"/>
                      <a:pt x="11043" y="2478"/>
                      <a:pt x="11043" y="5545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28" name="Forma livre: Forma 427">
                <a:extLst>
                  <a:ext uri="{FF2B5EF4-FFF2-40B4-BE49-F238E27FC236}">
                    <a16:creationId xmlns:a16="http://schemas.microsoft.com/office/drawing/2014/main" id="{157D670D-8804-5A40-1BD8-E32A75361AB3}"/>
                  </a:ext>
                </a:extLst>
              </p:cNvPr>
              <p:cNvSpPr/>
              <p:nvPr/>
            </p:nvSpPr>
            <p:spPr>
              <a:xfrm>
                <a:off x="6384210" y="1154109"/>
                <a:ext cx="11043" cy="11066"/>
              </a:xfrm>
              <a:custGeom>
                <a:avLst/>
                <a:gdLst>
                  <a:gd name="connsiteX0" fmla="*/ 11043 w 11043"/>
                  <a:gd name="connsiteY0" fmla="*/ 5545 h 11066"/>
                  <a:gd name="connsiteX1" fmla="*/ 5522 w 11043"/>
                  <a:gd name="connsiteY1" fmla="*/ 11067 h 11066"/>
                  <a:gd name="connsiteX2" fmla="*/ 0 w 11043"/>
                  <a:gd name="connsiteY2" fmla="*/ 5545 h 11066"/>
                  <a:gd name="connsiteX3" fmla="*/ 5522 w 11043"/>
                  <a:gd name="connsiteY3" fmla="*/ 0 h 11066"/>
                  <a:gd name="connsiteX4" fmla="*/ 11043 w 11043"/>
                  <a:gd name="connsiteY4" fmla="*/ 5545 h 110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1043" h="11066">
                    <a:moveTo>
                      <a:pt x="11043" y="5545"/>
                    </a:moveTo>
                    <a:cubicBezTo>
                      <a:pt x="11043" y="8613"/>
                      <a:pt x="8589" y="11067"/>
                      <a:pt x="5522" y="11067"/>
                    </a:cubicBezTo>
                    <a:cubicBezTo>
                      <a:pt x="2454" y="11067"/>
                      <a:pt x="0" y="8589"/>
                      <a:pt x="0" y="5545"/>
                    </a:cubicBezTo>
                    <a:cubicBezTo>
                      <a:pt x="0" y="2501"/>
                      <a:pt x="2478" y="0"/>
                      <a:pt x="5522" y="0"/>
                    </a:cubicBezTo>
                    <a:cubicBezTo>
                      <a:pt x="8566" y="0"/>
                      <a:pt x="11043" y="2478"/>
                      <a:pt x="11043" y="5545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29" name="Forma livre: Forma 428">
                <a:extLst>
                  <a:ext uri="{FF2B5EF4-FFF2-40B4-BE49-F238E27FC236}">
                    <a16:creationId xmlns:a16="http://schemas.microsoft.com/office/drawing/2014/main" id="{11872EC7-C401-BEA9-C19F-17CA75515E79}"/>
                  </a:ext>
                </a:extLst>
              </p:cNvPr>
              <p:cNvSpPr/>
              <p:nvPr/>
            </p:nvSpPr>
            <p:spPr>
              <a:xfrm>
                <a:off x="6342042" y="1397392"/>
                <a:ext cx="11043" cy="11066"/>
              </a:xfrm>
              <a:custGeom>
                <a:avLst/>
                <a:gdLst>
                  <a:gd name="connsiteX0" fmla="*/ 11043 w 11043"/>
                  <a:gd name="connsiteY0" fmla="*/ 5545 h 11066"/>
                  <a:gd name="connsiteX1" fmla="*/ 5522 w 11043"/>
                  <a:gd name="connsiteY1" fmla="*/ 11067 h 11066"/>
                  <a:gd name="connsiteX2" fmla="*/ 0 w 11043"/>
                  <a:gd name="connsiteY2" fmla="*/ 5545 h 11066"/>
                  <a:gd name="connsiteX3" fmla="*/ 5522 w 11043"/>
                  <a:gd name="connsiteY3" fmla="*/ 0 h 11066"/>
                  <a:gd name="connsiteX4" fmla="*/ 11043 w 11043"/>
                  <a:gd name="connsiteY4" fmla="*/ 5545 h 110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1043" h="11066">
                    <a:moveTo>
                      <a:pt x="11043" y="5545"/>
                    </a:moveTo>
                    <a:cubicBezTo>
                      <a:pt x="11043" y="8613"/>
                      <a:pt x="8589" y="11067"/>
                      <a:pt x="5522" y="11067"/>
                    </a:cubicBezTo>
                    <a:cubicBezTo>
                      <a:pt x="2454" y="11067"/>
                      <a:pt x="0" y="8589"/>
                      <a:pt x="0" y="5545"/>
                    </a:cubicBezTo>
                    <a:cubicBezTo>
                      <a:pt x="0" y="2501"/>
                      <a:pt x="2478" y="0"/>
                      <a:pt x="5522" y="0"/>
                    </a:cubicBezTo>
                    <a:cubicBezTo>
                      <a:pt x="8566" y="0"/>
                      <a:pt x="11043" y="2478"/>
                      <a:pt x="11043" y="5545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30" name="Forma livre: Forma 429">
                <a:extLst>
                  <a:ext uri="{FF2B5EF4-FFF2-40B4-BE49-F238E27FC236}">
                    <a16:creationId xmlns:a16="http://schemas.microsoft.com/office/drawing/2014/main" id="{3E04994B-9024-15A6-B787-73D8DB3DE2C0}"/>
                  </a:ext>
                </a:extLst>
              </p:cNvPr>
              <p:cNvSpPr/>
              <p:nvPr/>
            </p:nvSpPr>
            <p:spPr>
              <a:xfrm>
                <a:off x="6275971" y="1422569"/>
                <a:ext cx="11043" cy="11066"/>
              </a:xfrm>
              <a:custGeom>
                <a:avLst/>
                <a:gdLst>
                  <a:gd name="connsiteX0" fmla="*/ 11043 w 11043"/>
                  <a:gd name="connsiteY0" fmla="*/ 5545 h 11066"/>
                  <a:gd name="connsiteX1" fmla="*/ 5522 w 11043"/>
                  <a:gd name="connsiteY1" fmla="*/ 11067 h 11066"/>
                  <a:gd name="connsiteX2" fmla="*/ 0 w 11043"/>
                  <a:gd name="connsiteY2" fmla="*/ 5545 h 11066"/>
                  <a:gd name="connsiteX3" fmla="*/ 5522 w 11043"/>
                  <a:gd name="connsiteY3" fmla="*/ 0 h 11066"/>
                  <a:gd name="connsiteX4" fmla="*/ 11043 w 11043"/>
                  <a:gd name="connsiteY4" fmla="*/ 5545 h 110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1043" h="11066">
                    <a:moveTo>
                      <a:pt x="11043" y="5545"/>
                    </a:moveTo>
                    <a:cubicBezTo>
                      <a:pt x="11043" y="8613"/>
                      <a:pt x="8589" y="11067"/>
                      <a:pt x="5522" y="11067"/>
                    </a:cubicBezTo>
                    <a:cubicBezTo>
                      <a:pt x="2454" y="11067"/>
                      <a:pt x="0" y="8589"/>
                      <a:pt x="0" y="5545"/>
                    </a:cubicBezTo>
                    <a:cubicBezTo>
                      <a:pt x="0" y="2501"/>
                      <a:pt x="2478" y="0"/>
                      <a:pt x="5522" y="0"/>
                    </a:cubicBezTo>
                    <a:cubicBezTo>
                      <a:pt x="8566" y="0"/>
                      <a:pt x="11043" y="2478"/>
                      <a:pt x="11043" y="5545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431" name="Forma livre: Forma 430">
              <a:extLst>
                <a:ext uri="{FF2B5EF4-FFF2-40B4-BE49-F238E27FC236}">
                  <a16:creationId xmlns:a16="http://schemas.microsoft.com/office/drawing/2014/main" id="{F1B01946-01CD-CD11-7412-34E37E391985}"/>
                </a:ext>
              </a:extLst>
            </p:cNvPr>
            <p:cNvSpPr/>
            <p:nvPr/>
          </p:nvSpPr>
          <p:spPr>
            <a:xfrm>
              <a:off x="6036683" y="1377429"/>
              <a:ext cx="12712" cy="199911"/>
            </a:xfrm>
            <a:custGeom>
              <a:avLst/>
              <a:gdLst>
                <a:gd name="connsiteX0" fmla="*/ 4195 w 12712"/>
                <a:gd name="connsiteY0" fmla="*/ 0 h 199911"/>
                <a:gd name="connsiteX1" fmla="*/ 3487 w 12712"/>
                <a:gd name="connsiteY1" fmla="*/ 26428 h 199911"/>
                <a:gd name="connsiteX2" fmla="*/ 12713 w 12712"/>
                <a:gd name="connsiteY2" fmla="*/ 199911 h 1999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712" h="199911">
                  <a:moveTo>
                    <a:pt x="4195" y="0"/>
                  </a:moveTo>
                  <a:cubicBezTo>
                    <a:pt x="5469" y="8094"/>
                    <a:pt x="5445" y="16942"/>
                    <a:pt x="3487" y="26428"/>
                  </a:cubicBezTo>
                  <a:cubicBezTo>
                    <a:pt x="3487" y="26428"/>
                    <a:pt x="-8784" y="155384"/>
                    <a:pt x="12713" y="199911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32" name="Forma livre: Forma 431">
              <a:extLst>
                <a:ext uri="{FF2B5EF4-FFF2-40B4-BE49-F238E27FC236}">
                  <a16:creationId xmlns:a16="http://schemas.microsoft.com/office/drawing/2014/main" id="{5DAF345F-7D4E-EC1D-02A1-AE0771CF221B}"/>
                </a:ext>
              </a:extLst>
            </p:cNvPr>
            <p:cNvSpPr/>
            <p:nvPr/>
          </p:nvSpPr>
          <p:spPr>
            <a:xfrm>
              <a:off x="5969969" y="1230878"/>
              <a:ext cx="207715" cy="96430"/>
            </a:xfrm>
            <a:custGeom>
              <a:avLst/>
              <a:gdLst>
                <a:gd name="connsiteX0" fmla="*/ 0 w 207715"/>
                <a:gd name="connsiteY0" fmla="*/ 54122 h 96430"/>
                <a:gd name="connsiteX1" fmla="*/ 33342 w 207715"/>
                <a:gd name="connsiteY1" fmla="*/ 88526 h 96430"/>
                <a:gd name="connsiteX2" fmla="*/ 47170 w 207715"/>
                <a:gd name="connsiteY2" fmla="*/ 96431 h 96430"/>
                <a:gd name="connsiteX3" fmla="*/ 124638 w 207715"/>
                <a:gd name="connsiteY3" fmla="*/ 76397 h 96430"/>
                <a:gd name="connsiteX4" fmla="*/ 158240 w 207715"/>
                <a:gd name="connsiteY4" fmla="*/ 13724 h 96430"/>
                <a:gd name="connsiteX5" fmla="*/ 195145 w 207715"/>
                <a:gd name="connsiteY5" fmla="*/ 3601 h 96430"/>
                <a:gd name="connsiteX6" fmla="*/ 203663 w 207715"/>
                <a:gd name="connsiteY6" fmla="*/ 40908 h 96430"/>
                <a:gd name="connsiteX7" fmla="*/ 183936 w 207715"/>
                <a:gd name="connsiteY7" fmla="*/ 77105 h 964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07715" h="96430">
                  <a:moveTo>
                    <a:pt x="0" y="54122"/>
                  </a:moveTo>
                  <a:cubicBezTo>
                    <a:pt x="10477" y="69696"/>
                    <a:pt x="24847" y="80031"/>
                    <a:pt x="33342" y="88526"/>
                  </a:cubicBezTo>
                  <a:cubicBezTo>
                    <a:pt x="33342" y="88526"/>
                    <a:pt x="40917" y="94166"/>
                    <a:pt x="47170" y="96431"/>
                  </a:cubicBezTo>
                  <a:lnTo>
                    <a:pt x="124638" y="76397"/>
                  </a:lnTo>
                  <a:lnTo>
                    <a:pt x="158240" y="13724"/>
                  </a:lnTo>
                  <a:cubicBezTo>
                    <a:pt x="166050" y="675"/>
                    <a:pt x="182639" y="-3879"/>
                    <a:pt x="195145" y="3601"/>
                  </a:cubicBezTo>
                  <a:cubicBezTo>
                    <a:pt x="207651" y="11082"/>
                    <a:pt x="211474" y="27882"/>
                    <a:pt x="203663" y="40908"/>
                  </a:cubicBezTo>
                  <a:lnTo>
                    <a:pt x="183936" y="77105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33" name="Forma livre: Forma 432">
              <a:extLst>
                <a:ext uri="{FF2B5EF4-FFF2-40B4-BE49-F238E27FC236}">
                  <a16:creationId xmlns:a16="http://schemas.microsoft.com/office/drawing/2014/main" id="{14BF92C7-8B9D-4F5E-F120-945AD8F6AFEB}"/>
                </a:ext>
              </a:extLst>
            </p:cNvPr>
            <p:cNvSpPr/>
            <p:nvPr/>
          </p:nvSpPr>
          <p:spPr>
            <a:xfrm>
              <a:off x="5790166" y="1066117"/>
              <a:ext cx="164767" cy="374126"/>
            </a:xfrm>
            <a:custGeom>
              <a:avLst/>
              <a:gdLst>
                <a:gd name="connsiteX0" fmla="*/ 49313 w 164767"/>
                <a:gd name="connsiteY0" fmla="*/ 358977 h 374126"/>
                <a:gd name="connsiteX1" fmla="*/ 6131 w 164767"/>
                <a:gd name="connsiteY1" fmla="*/ 305672 h 374126"/>
                <a:gd name="connsiteX2" fmla="*/ 9765 w 164767"/>
                <a:gd name="connsiteY2" fmla="*/ 267563 h 374126"/>
                <a:gd name="connsiteX3" fmla="*/ 47684 w 164767"/>
                <a:gd name="connsiteY3" fmla="*/ 272825 h 374126"/>
                <a:gd name="connsiteX4" fmla="*/ 107597 w 164767"/>
                <a:gd name="connsiteY4" fmla="*/ 340123 h 374126"/>
                <a:gd name="connsiteX5" fmla="*/ 163780 w 164767"/>
                <a:gd name="connsiteY5" fmla="*/ 374126 h 374126"/>
                <a:gd name="connsiteX6" fmla="*/ 150165 w 164767"/>
                <a:gd name="connsiteY6" fmla="*/ 305483 h 374126"/>
                <a:gd name="connsiteX7" fmla="*/ 89451 w 164767"/>
                <a:gd name="connsiteY7" fmla="*/ 181128 h 374126"/>
                <a:gd name="connsiteX8" fmla="*/ 89451 w 164767"/>
                <a:gd name="connsiteY8" fmla="*/ 27632 h 374126"/>
                <a:gd name="connsiteX9" fmla="*/ 116021 w 164767"/>
                <a:gd name="connsiteY9" fmla="*/ 0 h 374126"/>
                <a:gd name="connsiteX10" fmla="*/ 142496 w 164767"/>
                <a:gd name="connsiteY10" fmla="*/ 27632 h 374126"/>
                <a:gd name="connsiteX11" fmla="*/ 142496 w 164767"/>
                <a:gd name="connsiteY11" fmla="*/ 132307 h 374126"/>
                <a:gd name="connsiteX12" fmla="*/ 148655 w 164767"/>
                <a:gd name="connsiteY12" fmla="*/ 161685 h 3741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64767" h="374126">
                  <a:moveTo>
                    <a:pt x="49313" y="358977"/>
                  </a:moveTo>
                  <a:lnTo>
                    <a:pt x="6131" y="305672"/>
                  </a:lnTo>
                  <a:cubicBezTo>
                    <a:pt x="-3308" y="293756"/>
                    <a:pt x="-1656" y="276601"/>
                    <a:pt x="9765" y="267563"/>
                  </a:cubicBezTo>
                  <a:cubicBezTo>
                    <a:pt x="21185" y="258549"/>
                    <a:pt x="38246" y="260909"/>
                    <a:pt x="47684" y="272825"/>
                  </a:cubicBezTo>
                  <a:cubicBezTo>
                    <a:pt x="47684" y="272825"/>
                    <a:pt x="93486" y="330095"/>
                    <a:pt x="107597" y="340123"/>
                  </a:cubicBezTo>
                  <a:cubicBezTo>
                    <a:pt x="136267" y="360393"/>
                    <a:pt x="163780" y="374126"/>
                    <a:pt x="163780" y="374126"/>
                  </a:cubicBezTo>
                  <a:cubicBezTo>
                    <a:pt x="169255" y="321789"/>
                    <a:pt x="150165" y="305483"/>
                    <a:pt x="150165" y="305483"/>
                  </a:cubicBezTo>
                  <a:cubicBezTo>
                    <a:pt x="91504" y="256426"/>
                    <a:pt x="89451" y="181128"/>
                    <a:pt x="89451" y="181128"/>
                  </a:cubicBezTo>
                  <a:lnTo>
                    <a:pt x="89451" y="27632"/>
                  </a:lnTo>
                  <a:cubicBezTo>
                    <a:pt x="89451" y="12412"/>
                    <a:pt x="101461" y="0"/>
                    <a:pt x="116021" y="0"/>
                  </a:cubicBezTo>
                  <a:cubicBezTo>
                    <a:pt x="130580" y="0"/>
                    <a:pt x="142496" y="12435"/>
                    <a:pt x="142496" y="27632"/>
                  </a:cubicBezTo>
                  <a:lnTo>
                    <a:pt x="142496" y="132307"/>
                  </a:lnTo>
                  <a:cubicBezTo>
                    <a:pt x="142496" y="132307"/>
                    <a:pt x="140490" y="144908"/>
                    <a:pt x="148655" y="161685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34" name="Forma livre: Forma 433">
              <a:extLst>
                <a:ext uri="{FF2B5EF4-FFF2-40B4-BE49-F238E27FC236}">
                  <a16:creationId xmlns:a16="http://schemas.microsoft.com/office/drawing/2014/main" id="{138D8F5B-7FBB-FDE2-D75D-E413733CD02E}"/>
                </a:ext>
              </a:extLst>
            </p:cNvPr>
            <p:cNvSpPr/>
            <p:nvPr/>
          </p:nvSpPr>
          <p:spPr>
            <a:xfrm>
              <a:off x="5802832" y="1105539"/>
              <a:ext cx="73458" cy="96613"/>
            </a:xfrm>
            <a:custGeom>
              <a:avLst/>
              <a:gdLst>
                <a:gd name="connsiteX0" fmla="*/ 73458 w 73458"/>
                <a:gd name="connsiteY0" fmla="*/ 96613 h 96613"/>
                <a:gd name="connsiteX1" fmla="*/ 10880 w 73458"/>
                <a:gd name="connsiteY1" fmla="*/ 47768 h 96613"/>
                <a:gd name="connsiteX2" fmla="*/ 5381 w 73458"/>
                <a:gd name="connsiteY2" fmla="*/ 9895 h 96613"/>
                <a:gd name="connsiteX3" fmla="*/ 43467 w 73458"/>
                <a:gd name="connsiteY3" fmla="*/ 6002 h 966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3458" h="96613">
                  <a:moveTo>
                    <a:pt x="73458" y="96613"/>
                  </a:moveTo>
                  <a:lnTo>
                    <a:pt x="10880" y="47768"/>
                  </a:lnTo>
                  <a:cubicBezTo>
                    <a:pt x="-1108" y="38424"/>
                    <a:pt x="-3562" y="21363"/>
                    <a:pt x="5381" y="9895"/>
                  </a:cubicBezTo>
                  <a:cubicBezTo>
                    <a:pt x="14348" y="-1573"/>
                    <a:pt x="31479" y="-3342"/>
                    <a:pt x="43467" y="6002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35" name="Forma livre: Forma 434">
              <a:extLst>
                <a:ext uri="{FF2B5EF4-FFF2-40B4-BE49-F238E27FC236}">
                  <a16:creationId xmlns:a16="http://schemas.microsoft.com/office/drawing/2014/main" id="{D2474614-A5D6-97EB-C6AD-F6E189317937}"/>
                </a:ext>
              </a:extLst>
            </p:cNvPr>
            <p:cNvSpPr/>
            <p:nvPr/>
          </p:nvSpPr>
          <p:spPr>
            <a:xfrm>
              <a:off x="6006898" y="1314779"/>
              <a:ext cx="211172" cy="68949"/>
            </a:xfrm>
            <a:custGeom>
              <a:avLst/>
              <a:gdLst>
                <a:gd name="connsiteX0" fmla="*/ 0 w 211172"/>
                <a:gd name="connsiteY0" fmla="*/ 68950 h 68949"/>
                <a:gd name="connsiteX1" fmla="*/ 121688 w 211172"/>
                <a:gd name="connsiteY1" fmla="*/ 37802 h 68949"/>
                <a:gd name="connsiteX2" fmla="*/ 177046 w 211172"/>
                <a:gd name="connsiteY2" fmla="*/ 51323 h 68949"/>
                <a:gd name="connsiteX3" fmla="*/ 210389 w 211172"/>
                <a:gd name="connsiteY3" fmla="*/ 32540 h 68949"/>
                <a:gd name="connsiteX4" fmla="*/ 190190 w 211172"/>
                <a:gd name="connsiteY4" fmla="*/ 0 h 689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11172" h="68949">
                  <a:moveTo>
                    <a:pt x="0" y="68950"/>
                  </a:moveTo>
                  <a:lnTo>
                    <a:pt x="121688" y="37802"/>
                  </a:lnTo>
                  <a:lnTo>
                    <a:pt x="177046" y="51323"/>
                  </a:lnTo>
                  <a:cubicBezTo>
                    <a:pt x="191771" y="55098"/>
                    <a:pt x="206778" y="46627"/>
                    <a:pt x="210389" y="32540"/>
                  </a:cubicBezTo>
                  <a:cubicBezTo>
                    <a:pt x="213975" y="18429"/>
                    <a:pt x="204914" y="3799"/>
                    <a:pt x="190190" y="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36" name="Forma livre: Forma 435">
              <a:extLst>
                <a:ext uri="{FF2B5EF4-FFF2-40B4-BE49-F238E27FC236}">
                  <a16:creationId xmlns:a16="http://schemas.microsoft.com/office/drawing/2014/main" id="{F778B395-0B3D-6C39-89E2-E43503FE1618}"/>
                </a:ext>
              </a:extLst>
            </p:cNvPr>
            <p:cNvSpPr/>
            <p:nvPr/>
          </p:nvSpPr>
          <p:spPr>
            <a:xfrm>
              <a:off x="5753891" y="1417304"/>
              <a:ext cx="206096" cy="89363"/>
            </a:xfrm>
            <a:custGeom>
              <a:avLst/>
              <a:gdLst>
                <a:gd name="connsiteX0" fmla="*/ 206097 w 206096"/>
                <a:gd name="connsiteY0" fmla="*/ 89364 h 89363"/>
                <a:gd name="connsiteX1" fmla="*/ 125207 w 206096"/>
                <a:gd name="connsiteY1" fmla="*/ 54464 h 89363"/>
                <a:gd name="connsiteX2" fmla="*/ 27233 w 206096"/>
                <a:gd name="connsiteY2" fmla="*/ 52978 h 89363"/>
                <a:gd name="connsiteX3" fmla="*/ 3 w 206096"/>
                <a:gd name="connsiteY3" fmla="*/ 26077 h 89363"/>
                <a:gd name="connsiteX4" fmla="*/ 28059 w 206096"/>
                <a:gd name="connsiteY4" fmla="*/ 3 h 89363"/>
                <a:gd name="connsiteX5" fmla="*/ 35138 w 206096"/>
                <a:gd name="connsiteY5" fmla="*/ 451 h 893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6096" h="89363">
                  <a:moveTo>
                    <a:pt x="206097" y="89364"/>
                  </a:moveTo>
                  <a:cubicBezTo>
                    <a:pt x="182759" y="66616"/>
                    <a:pt x="125207" y="54464"/>
                    <a:pt x="125207" y="54464"/>
                  </a:cubicBezTo>
                  <a:lnTo>
                    <a:pt x="27233" y="52978"/>
                  </a:lnTo>
                  <a:cubicBezTo>
                    <a:pt x="12037" y="52742"/>
                    <a:pt x="-210" y="40636"/>
                    <a:pt x="3" y="26077"/>
                  </a:cubicBezTo>
                  <a:cubicBezTo>
                    <a:pt x="215" y="11494"/>
                    <a:pt x="12839" y="-210"/>
                    <a:pt x="28059" y="3"/>
                  </a:cubicBezTo>
                  <a:lnTo>
                    <a:pt x="35138" y="451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37" name="Forma livre: Forma 436">
              <a:extLst>
                <a:ext uri="{FF2B5EF4-FFF2-40B4-BE49-F238E27FC236}">
                  <a16:creationId xmlns:a16="http://schemas.microsoft.com/office/drawing/2014/main" id="{618E59B2-4CB6-BF9F-C45A-B06CA5C3E71F}"/>
                </a:ext>
              </a:extLst>
            </p:cNvPr>
            <p:cNvSpPr/>
            <p:nvPr/>
          </p:nvSpPr>
          <p:spPr>
            <a:xfrm>
              <a:off x="5940968" y="1121381"/>
              <a:ext cx="103778" cy="178013"/>
            </a:xfrm>
            <a:custGeom>
              <a:avLst/>
              <a:gdLst>
                <a:gd name="connsiteX0" fmla="*/ 8731 w 103778"/>
                <a:gd name="connsiteY0" fmla="*/ 178014 h 178013"/>
                <a:gd name="connsiteX1" fmla="*/ 94741 w 103778"/>
                <a:gd name="connsiteY1" fmla="*/ 97549 h 178013"/>
                <a:gd name="connsiteX2" fmla="*/ 103779 w 103778"/>
                <a:gd name="connsiteY2" fmla="*/ 78270 h 178013"/>
                <a:gd name="connsiteX3" fmla="*/ 103779 w 103778"/>
                <a:gd name="connsiteY3" fmla="*/ 27632 h 178013"/>
                <a:gd name="connsiteX4" fmla="*/ 77303 w 103778"/>
                <a:gd name="connsiteY4" fmla="*/ 0 h 178013"/>
                <a:gd name="connsiteX5" fmla="*/ 50827 w 103778"/>
                <a:gd name="connsiteY5" fmla="*/ 27632 h 178013"/>
                <a:gd name="connsiteX6" fmla="*/ 50827 w 103778"/>
                <a:gd name="connsiteY6" fmla="*/ 66024 h 178013"/>
                <a:gd name="connsiteX7" fmla="*/ 0 w 103778"/>
                <a:gd name="connsiteY7" fmla="*/ 108380 h 1780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03778" h="178013">
                  <a:moveTo>
                    <a:pt x="8731" y="178014"/>
                  </a:moveTo>
                  <a:lnTo>
                    <a:pt x="94741" y="97549"/>
                  </a:lnTo>
                  <a:cubicBezTo>
                    <a:pt x="100593" y="92122"/>
                    <a:pt x="103660" y="85538"/>
                    <a:pt x="103779" y="78270"/>
                  </a:cubicBezTo>
                  <a:lnTo>
                    <a:pt x="103779" y="27632"/>
                  </a:lnTo>
                  <a:cubicBezTo>
                    <a:pt x="103779" y="12435"/>
                    <a:pt x="91862" y="0"/>
                    <a:pt x="77303" y="0"/>
                  </a:cubicBezTo>
                  <a:cubicBezTo>
                    <a:pt x="62744" y="0"/>
                    <a:pt x="50827" y="12435"/>
                    <a:pt x="50827" y="27632"/>
                  </a:cubicBezTo>
                  <a:lnTo>
                    <a:pt x="50827" y="66024"/>
                  </a:lnTo>
                  <a:lnTo>
                    <a:pt x="0" y="108380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38" name="Forma livre: Forma 437">
              <a:extLst>
                <a:ext uri="{FF2B5EF4-FFF2-40B4-BE49-F238E27FC236}">
                  <a16:creationId xmlns:a16="http://schemas.microsoft.com/office/drawing/2014/main" id="{E889D3F5-B0BA-C6AC-4053-E6A46FDB43F7}"/>
                </a:ext>
              </a:extLst>
            </p:cNvPr>
            <p:cNvSpPr/>
            <p:nvPr/>
          </p:nvSpPr>
          <p:spPr>
            <a:xfrm>
              <a:off x="5921949" y="1495837"/>
              <a:ext cx="19467" cy="52361"/>
            </a:xfrm>
            <a:custGeom>
              <a:avLst/>
              <a:gdLst>
                <a:gd name="connsiteX0" fmla="*/ 19467 w 19467"/>
                <a:gd name="connsiteY0" fmla="*/ 0 h 52361"/>
                <a:gd name="connsiteX1" fmla="*/ 0 w 19467"/>
                <a:gd name="connsiteY1" fmla="*/ 52361 h 523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9467" h="52361">
                  <a:moveTo>
                    <a:pt x="19467" y="0"/>
                  </a:moveTo>
                  <a:cubicBezTo>
                    <a:pt x="14630" y="15550"/>
                    <a:pt x="8259" y="32941"/>
                    <a:pt x="0" y="52361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439" name="Gráfico 4">
            <a:extLst>
              <a:ext uri="{FF2B5EF4-FFF2-40B4-BE49-F238E27FC236}">
                <a16:creationId xmlns:a16="http://schemas.microsoft.com/office/drawing/2014/main" id="{4A790D54-478C-D5B6-EF5E-EC1AD9647D63}"/>
              </a:ext>
            </a:extLst>
          </p:cNvPr>
          <p:cNvGrpSpPr/>
          <p:nvPr/>
        </p:nvGrpSpPr>
        <p:grpSpPr>
          <a:xfrm>
            <a:off x="4637852" y="992882"/>
            <a:ext cx="444430" cy="689345"/>
            <a:chOff x="4637852" y="992882"/>
            <a:chExt cx="444430" cy="689345"/>
          </a:xfrm>
          <a:noFill/>
        </p:grpSpPr>
        <p:sp>
          <p:nvSpPr>
            <p:cNvPr id="440" name="Forma livre: Forma 439">
              <a:extLst>
                <a:ext uri="{FF2B5EF4-FFF2-40B4-BE49-F238E27FC236}">
                  <a16:creationId xmlns:a16="http://schemas.microsoft.com/office/drawing/2014/main" id="{E5F5FE36-2B2A-6F9C-F1F5-6E8DDB76056B}"/>
                </a:ext>
              </a:extLst>
            </p:cNvPr>
            <p:cNvSpPr/>
            <p:nvPr/>
          </p:nvSpPr>
          <p:spPr>
            <a:xfrm>
              <a:off x="4716558" y="1297625"/>
              <a:ext cx="365725" cy="176479"/>
            </a:xfrm>
            <a:custGeom>
              <a:avLst/>
              <a:gdLst>
                <a:gd name="connsiteX0" fmla="*/ 35678 w 365725"/>
                <a:gd name="connsiteY0" fmla="*/ 29826 h 176479"/>
                <a:gd name="connsiteX1" fmla="*/ 0 w 365725"/>
                <a:gd name="connsiteY1" fmla="*/ 84476 h 176479"/>
                <a:gd name="connsiteX2" fmla="*/ 182851 w 365725"/>
                <a:gd name="connsiteY2" fmla="*/ 176480 h 176479"/>
                <a:gd name="connsiteX3" fmla="*/ 365726 w 365725"/>
                <a:gd name="connsiteY3" fmla="*/ 84476 h 176479"/>
                <a:gd name="connsiteX4" fmla="*/ 255623 w 365725"/>
                <a:gd name="connsiteY4" fmla="*/ 0 h 1764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65725" h="176479">
                  <a:moveTo>
                    <a:pt x="35678" y="29826"/>
                  </a:moveTo>
                  <a:cubicBezTo>
                    <a:pt x="13261" y="45117"/>
                    <a:pt x="0" y="63994"/>
                    <a:pt x="0" y="84476"/>
                  </a:cubicBezTo>
                  <a:cubicBezTo>
                    <a:pt x="0" y="135280"/>
                    <a:pt x="81881" y="176480"/>
                    <a:pt x="182851" y="176480"/>
                  </a:cubicBezTo>
                  <a:cubicBezTo>
                    <a:pt x="283821" y="176480"/>
                    <a:pt x="365726" y="135280"/>
                    <a:pt x="365726" y="84476"/>
                  </a:cubicBezTo>
                  <a:cubicBezTo>
                    <a:pt x="365726" y="46651"/>
                    <a:pt x="320396" y="14158"/>
                    <a:pt x="255623" y="0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41" name="Forma livre: Forma 440">
              <a:extLst>
                <a:ext uri="{FF2B5EF4-FFF2-40B4-BE49-F238E27FC236}">
                  <a16:creationId xmlns:a16="http://schemas.microsoft.com/office/drawing/2014/main" id="{3EDC4794-29FD-863B-918E-DDE7A18AFC88}"/>
                </a:ext>
              </a:extLst>
            </p:cNvPr>
            <p:cNvSpPr/>
            <p:nvPr/>
          </p:nvSpPr>
          <p:spPr>
            <a:xfrm>
              <a:off x="4716581" y="1382313"/>
              <a:ext cx="2359" cy="299914"/>
            </a:xfrm>
            <a:custGeom>
              <a:avLst/>
              <a:gdLst>
                <a:gd name="connsiteX0" fmla="*/ 0 w 2359"/>
                <a:gd name="connsiteY0" fmla="*/ 299914 h 299914"/>
                <a:gd name="connsiteX1" fmla="*/ 0 w 2359"/>
                <a:gd name="connsiteY1" fmla="*/ 0 h 2999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359" h="299914">
                  <a:moveTo>
                    <a:pt x="0" y="299914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42" name="Forma livre: Forma 441">
              <a:extLst>
                <a:ext uri="{FF2B5EF4-FFF2-40B4-BE49-F238E27FC236}">
                  <a16:creationId xmlns:a16="http://schemas.microsoft.com/office/drawing/2014/main" id="{BB918778-4123-1A9E-3114-597AB09F51B2}"/>
                </a:ext>
              </a:extLst>
            </p:cNvPr>
            <p:cNvSpPr/>
            <p:nvPr/>
          </p:nvSpPr>
          <p:spPr>
            <a:xfrm>
              <a:off x="5082283" y="1382313"/>
              <a:ext cx="2359" cy="299914"/>
            </a:xfrm>
            <a:custGeom>
              <a:avLst/>
              <a:gdLst>
                <a:gd name="connsiteX0" fmla="*/ 0 w 2359"/>
                <a:gd name="connsiteY0" fmla="*/ 0 h 299914"/>
                <a:gd name="connsiteX1" fmla="*/ 0 w 2359"/>
                <a:gd name="connsiteY1" fmla="*/ 299914 h 2999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359" h="299914">
                  <a:moveTo>
                    <a:pt x="0" y="0"/>
                  </a:moveTo>
                  <a:lnTo>
                    <a:pt x="0" y="299914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43" name="Forma livre: Forma 442">
              <a:extLst>
                <a:ext uri="{FF2B5EF4-FFF2-40B4-BE49-F238E27FC236}">
                  <a16:creationId xmlns:a16="http://schemas.microsoft.com/office/drawing/2014/main" id="{D33125EE-860C-3B02-9E34-7A1AF92DC7FC}"/>
                </a:ext>
              </a:extLst>
            </p:cNvPr>
            <p:cNvSpPr/>
            <p:nvPr/>
          </p:nvSpPr>
          <p:spPr>
            <a:xfrm>
              <a:off x="4976311" y="1526418"/>
              <a:ext cx="34215" cy="140896"/>
            </a:xfrm>
            <a:custGeom>
              <a:avLst/>
              <a:gdLst>
                <a:gd name="connsiteX0" fmla="*/ 0 w 34215"/>
                <a:gd name="connsiteY0" fmla="*/ 0 h 140896"/>
                <a:gd name="connsiteX1" fmla="*/ 0 w 34215"/>
                <a:gd name="connsiteY1" fmla="*/ 44480 h 140896"/>
                <a:gd name="connsiteX2" fmla="*/ 34215 w 34215"/>
                <a:gd name="connsiteY2" fmla="*/ 73598 h 140896"/>
                <a:gd name="connsiteX3" fmla="*/ 0 w 34215"/>
                <a:gd name="connsiteY3" fmla="*/ 98917 h 140896"/>
                <a:gd name="connsiteX4" fmla="*/ 0 w 34215"/>
                <a:gd name="connsiteY4" fmla="*/ 140896 h 1408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15" h="140896">
                  <a:moveTo>
                    <a:pt x="0" y="0"/>
                  </a:moveTo>
                  <a:lnTo>
                    <a:pt x="0" y="44480"/>
                  </a:lnTo>
                  <a:lnTo>
                    <a:pt x="34215" y="73598"/>
                  </a:lnTo>
                  <a:lnTo>
                    <a:pt x="0" y="98917"/>
                  </a:lnTo>
                  <a:lnTo>
                    <a:pt x="0" y="140896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44" name="Forma livre: Forma 443">
              <a:extLst>
                <a:ext uri="{FF2B5EF4-FFF2-40B4-BE49-F238E27FC236}">
                  <a16:creationId xmlns:a16="http://schemas.microsoft.com/office/drawing/2014/main" id="{1CB21FD4-D764-A1B5-F15C-221C52C3162A}"/>
                </a:ext>
              </a:extLst>
            </p:cNvPr>
            <p:cNvSpPr/>
            <p:nvPr/>
          </p:nvSpPr>
          <p:spPr>
            <a:xfrm>
              <a:off x="4885274" y="1540577"/>
              <a:ext cx="2359" cy="126738"/>
            </a:xfrm>
            <a:custGeom>
              <a:avLst/>
              <a:gdLst>
                <a:gd name="connsiteX0" fmla="*/ 0 w 2359"/>
                <a:gd name="connsiteY0" fmla="*/ 0 h 126738"/>
                <a:gd name="connsiteX1" fmla="*/ 0 w 2359"/>
                <a:gd name="connsiteY1" fmla="*/ 126738 h 1267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359" h="126738">
                  <a:moveTo>
                    <a:pt x="0" y="0"/>
                  </a:moveTo>
                  <a:lnTo>
                    <a:pt x="0" y="126738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45" name="Forma livre: Forma 444">
              <a:extLst>
                <a:ext uri="{FF2B5EF4-FFF2-40B4-BE49-F238E27FC236}">
                  <a16:creationId xmlns:a16="http://schemas.microsoft.com/office/drawing/2014/main" id="{EB558B90-4423-0DEF-B5A4-BAB8E79513AF}"/>
                </a:ext>
              </a:extLst>
            </p:cNvPr>
            <p:cNvSpPr/>
            <p:nvPr/>
          </p:nvSpPr>
          <p:spPr>
            <a:xfrm>
              <a:off x="4802639" y="1526418"/>
              <a:ext cx="2359" cy="48916"/>
            </a:xfrm>
            <a:custGeom>
              <a:avLst/>
              <a:gdLst>
                <a:gd name="connsiteX0" fmla="*/ 0 w 2359"/>
                <a:gd name="connsiteY0" fmla="*/ 0 h 48916"/>
                <a:gd name="connsiteX1" fmla="*/ 0 w 2359"/>
                <a:gd name="connsiteY1" fmla="*/ 48916 h 489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359" h="48916">
                  <a:moveTo>
                    <a:pt x="0" y="0"/>
                  </a:moveTo>
                  <a:lnTo>
                    <a:pt x="0" y="48916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46" name="Forma livre: Forma 445">
              <a:extLst>
                <a:ext uri="{FF2B5EF4-FFF2-40B4-BE49-F238E27FC236}">
                  <a16:creationId xmlns:a16="http://schemas.microsoft.com/office/drawing/2014/main" id="{0463F90C-18E7-A28F-9BB5-9FE8B5BF1814}"/>
                </a:ext>
              </a:extLst>
            </p:cNvPr>
            <p:cNvSpPr/>
            <p:nvPr/>
          </p:nvSpPr>
          <p:spPr>
            <a:xfrm>
              <a:off x="4802639" y="1631967"/>
              <a:ext cx="2359" cy="35347"/>
            </a:xfrm>
            <a:custGeom>
              <a:avLst/>
              <a:gdLst>
                <a:gd name="connsiteX0" fmla="*/ 0 w 2359"/>
                <a:gd name="connsiteY0" fmla="*/ 0 h 35347"/>
                <a:gd name="connsiteX1" fmla="*/ 0 w 2359"/>
                <a:gd name="connsiteY1" fmla="*/ 35348 h 353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359" h="35347">
                  <a:moveTo>
                    <a:pt x="0" y="0"/>
                  </a:moveTo>
                  <a:lnTo>
                    <a:pt x="0" y="35348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447" name="Gráfico 4">
              <a:extLst>
                <a:ext uri="{FF2B5EF4-FFF2-40B4-BE49-F238E27FC236}">
                  <a16:creationId xmlns:a16="http://schemas.microsoft.com/office/drawing/2014/main" id="{F11A24F5-3D16-6AEE-761C-EFC8123BC1BD}"/>
                </a:ext>
              </a:extLst>
            </p:cNvPr>
            <p:cNvGrpSpPr/>
            <p:nvPr/>
          </p:nvGrpSpPr>
          <p:grpSpPr>
            <a:xfrm>
              <a:off x="4637852" y="992882"/>
              <a:ext cx="401645" cy="382139"/>
              <a:chOff x="4637852" y="992882"/>
              <a:chExt cx="401645" cy="382139"/>
            </a:xfrm>
            <a:noFill/>
          </p:grpSpPr>
          <p:sp>
            <p:nvSpPr>
              <p:cNvPr id="448" name="Forma livre: Forma 447">
                <a:extLst>
                  <a:ext uri="{FF2B5EF4-FFF2-40B4-BE49-F238E27FC236}">
                    <a16:creationId xmlns:a16="http://schemas.microsoft.com/office/drawing/2014/main" id="{C55E28FD-BDB5-D251-6440-A964B8D91E9B}"/>
                  </a:ext>
                </a:extLst>
              </p:cNvPr>
              <p:cNvSpPr/>
              <p:nvPr/>
            </p:nvSpPr>
            <p:spPr>
              <a:xfrm>
                <a:off x="4637852" y="992882"/>
                <a:ext cx="304030" cy="186333"/>
              </a:xfrm>
              <a:custGeom>
                <a:avLst/>
                <a:gdLst>
                  <a:gd name="connsiteX0" fmla="*/ 304030 w 304030"/>
                  <a:gd name="connsiteY0" fmla="*/ 153086 h 186333"/>
                  <a:gd name="connsiteX1" fmla="*/ 214504 w 304030"/>
                  <a:gd name="connsiteY1" fmla="*/ 82084 h 186333"/>
                  <a:gd name="connsiteX2" fmla="*/ 214316 w 304030"/>
                  <a:gd name="connsiteY2" fmla="*/ 81730 h 186333"/>
                  <a:gd name="connsiteX3" fmla="*/ 23182 w 304030"/>
                  <a:gd name="connsiteY3" fmla="*/ 675 h 186333"/>
                  <a:gd name="connsiteX4" fmla="*/ 4635 w 304030"/>
                  <a:gd name="connsiteY4" fmla="*/ 11081 h 186333"/>
                  <a:gd name="connsiteX5" fmla="*/ 57 w 304030"/>
                  <a:gd name="connsiteY5" fmla="*/ 31351 h 186333"/>
                  <a:gd name="connsiteX6" fmla="*/ 22545 w 304030"/>
                  <a:gd name="connsiteY6" fmla="*/ 53815 h 186333"/>
                  <a:gd name="connsiteX7" fmla="*/ 168774 w 304030"/>
                  <a:gd name="connsiteY7" fmla="*/ 115355 h 186333"/>
                  <a:gd name="connsiteX8" fmla="*/ 237157 w 304030"/>
                  <a:gd name="connsiteY8" fmla="*/ 186334 h 1863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04030" h="186333">
                    <a:moveTo>
                      <a:pt x="304030" y="153086"/>
                    </a:moveTo>
                    <a:cubicBezTo>
                      <a:pt x="272505" y="131495"/>
                      <a:pt x="230692" y="106105"/>
                      <a:pt x="214504" y="82084"/>
                    </a:cubicBezTo>
                    <a:lnTo>
                      <a:pt x="214316" y="81730"/>
                    </a:lnTo>
                    <a:cubicBezTo>
                      <a:pt x="211744" y="78048"/>
                      <a:pt x="150133" y="-8457"/>
                      <a:pt x="23182" y="675"/>
                    </a:cubicBezTo>
                    <a:cubicBezTo>
                      <a:pt x="15466" y="1218"/>
                      <a:pt x="8812" y="5229"/>
                      <a:pt x="4635" y="11081"/>
                    </a:cubicBezTo>
                    <a:cubicBezTo>
                      <a:pt x="1379" y="15635"/>
                      <a:pt x="-344" y="25333"/>
                      <a:pt x="57" y="31351"/>
                    </a:cubicBezTo>
                    <a:cubicBezTo>
                      <a:pt x="1048" y="45107"/>
                      <a:pt x="8812" y="54782"/>
                      <a:pt x="22545" y="53815"/>
                    </a:cubicBezTo>
                    <a:cubicBezTo>
                      <a:pt x="119504" y="46854"/>
                      <a:pt x="166202" y="111792"/>
                      <a:pt x="168774" y="115355"/>
                    </a:cubicBezTo>
                    <a:cubicBezTo>
                      <a:pt x="183569" y="137300"/>
                      <a:pt x="210540" y="163068"/>
                      <a:pt x="237157" y="186334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49" name="Forma livre: Forma 448">
                <a:extLst>
                  <a:ext uri="{FF2B5EF4-FFF2-40B4-BE49-F238E27FC236}">
                    <a16:creationId xmlns:a16="http://schemas.microsoft.com/office/drawing/2014/main" id="{1133DD46-7C82-2795-1E78-CFF3E0308A33}"/>
                  </a:ext>
                </a:extLst>
              </p:cNvPr>
              <p:cNvSpPr/>
              <p:nvPr/>
            </p:nvSpPr>
            <p:spPr>
              <a:xfrm>
                <a:off x="4789259" y="1143919"/>
                <a:ext cx="250238" cy="231102"/>
              </a:xfrm>
              <a:custGeom>
                <a:avLst/>
                <a:gdLst>
                  <a:gd name="connsiteX0" fmla="*/ 170392 w 250238"/>
                  <a:gd name="connsiteY0" fmla="*/ 231103 h 231102"/>
                  <a:gd name="connsiteX1" fmla="*/ 192903 w 250238"/>
                  <a:gd name="connsiteY1" fmla="*/ 130604 h 231102"/>
                  <a:gd name="connsiteX2" fmla="*/ 212890 w 250238"/>
                  <a:gd name="connsiteY2" fmla="*/ 123785 h 231102"/>
                  <a:gd name="connsiteX3" fmla="*/ 247011 w 250238"/>
                  <a:gd name="connsiteY3" fmla="*/ 68144 h 231102"/>
                  <a:gd name="connsiteX4" fmla="*/ 239766 w 250238"/>
                  <a:gd name="connsiteY4" fmla="*/ 37940 h 231102"/>
                  <a:gd name="connsiteX5" fmla="*/ 182639 w 250238"/>
                  <a:gd name="connsiteY5" fmla="*/ 3890 h 231102"/>
                  <a:gd name="connsiteX6" fmla="*/ 149745 w 250238"/>
                  <a:gd name="connsiteY6" fmla="*/ 9010 h 231102"/>
                  <a:gd name="connsiteX7" fmla="*/ 115624 w 250238"/>
                  <a:gd name="connsiteY7" fmla="*/ 64651 h 231102"/>
                  <a:gd name="connsiteX8" fmla="*/ 118408 w 250238"/>
                  <a:gd name="connsiteY8" fmla="*/ 84473 h 231102"/>
                  <a:gd name="connsiteX9" fmla="*/ 0 w 250238"/>
                  <a:gd name="connsiteY9" fmla="*/ 144691 h 231102"/>
                  <a:gd name="connsiteX10" fmla="*/ 69658 w 250238"/>
                  <a:gd name="connsiteY10" fmla="*/ 230159 h 2311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250238" h="231102">
                    <a:moveTo>
                      <a:pt x="170392" y="231103"/>
                    </a:moveTo>
                    <a:cubicBezTo>
                      <a:pt x="159420" y="188086"/>
                      <a:pt x="187948" y="141482"/>
                      <a:pt x="192903" y="130604"/>
                    </a:cubicBezTo>
                    <a:cubicBezTo>
                      <a:pt x="198401" y="129306"/>
                      <a:pt x="209704" y="128929"/>
                      <a:pt x="212890" y="123785"/>
                    </a:cubicBezTo>
                    <a:lnTo>
                      <a:pt x="247011" y="68144"/>
                    </a:lnTo>
                    <a:cubicBezTo>
                      <a:pt x="253335" y="57832"/>
                      <a:pt x="250078" y="44217"/>
                      <a:pt x="239766" y="37940"/>
                    </a:cubicBezTo>
                    <a:lnTo>
                      <a:pt x="182639" y="3890"/>
                    </a:lnTo>
                    <a:cubicBezTo>
                      <a:pt x="172351" y="-2411"/>
                      <a:pt x="156069" y="-1301"/>
                      <a:pt x="149745" y="9010"/>
                    </a:cubicBezTo>
                    <a:lnTo>
                      <a:pt x="115624" y="64651"/>
                    </a:lnTo>
                    <a:cubicBezTo>
                      <a:pt x="112556" y="69583"/>
                      <a:pt x="117276" y="79163"/>
                      <a:pt x="118408" y="84473"/>
                    </a:cubicBezTo>
                    <a:cubicBezTo>
                      <a:pt x="108687" y="95870"/>
                      <a:pt x="57788" y="166023"/>
                      <a:pt x="0" y="144691"/>
                    </a:cubicBezTo>
                    <a:cubicBezTo>
                      <a:pt x="0" y="144691"/>
                      <a:pt x="2100" y="187850"/>
                      <a:pt x="69658" y="230159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450" name="Forma livre: Forma 449">
              <a:extLst>
                <a:ext uri="{FF2B5EF4-FFF2-40B4-BE49-F238E27FC236}">
                  <a16:creationId xmlns:a16="http://schemas.microsoft.com/office/drawing/2014/main" id="{D5849AC3-9117-D7FA-7BD8-BA64814A6CEC}"/>
                </a:ext>
              </a:extLst>
            </p:cNvPr>
            <p:cNvSpPr/>
            <p:nvPr/>
          </p:nvSpPr>
          <p:spPr>
            <a:xfrm>
              <a:off x="4794639" y="1375470"/>
              <a:ext cx="212299" cy="23"/>
            </a:xfrm>
            <a:custGeom>
              <a:avLst/>
              <a:gdLst>
                <a:gd name="connsiteX0" fmla="*/ 212300 w 212299"/>
                <a:gd name="connsiteY0" fmla="*/ 0 h 23"/>
                <a:gd name="connsiteX1" fmla="*/ 0 w 212299"/>
                <a:gd name="connsiteY1" fmla="*/ 24 h 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12299" h="23">
                  <a:moveTo>
                    <a:pt x="212300" y="0"/>
                  </a:moveTo>
                  <a:lnTo>
                    <a:pt x="0" y="24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451" name="Gráfico 4">
            <a:extLst>
              <a:ext uri="{FF2B5EF4-FFF2-40B4-BE49-F238E27FC236}">
                <a16:creationId xmlns:a16="http://schemas.microsoft.com/office/drawing/2014/main" id="{46F2AB79-267D-7BAD-DD7E-F3123151CA58}"/>
              </a:ext>
            </a:extLst>
          </p:cNvPr>
          <p:cNvGrpSpPr/>
          <p:nvPr/>
        </p:nvGrpSpPr>
        <p:grpSpPr>
          <a:xfrm>
            <a:off x="7062143" y="2025796"/>
            <a:ext cx="500486" cy="699713"/>
            <a:chOff x="7062143" y="2025796"/>
            <a:chExt cx="500486" cy="699713"/>
          </a:xfrm>
          <a:noFill/>
        </p:grpSpPr>
        <p:grpSp>
          <p:nvGrpSpPr>
            <p:cNvPr id="452" name="Gráfico 4">
              <a:extLst>
                <a:ext uri="{FF2B5EF4-FFF2-40B4-BE49-F238E27FC236}">
                  <a16:creationId xmlns:a16="http://schemas.microsoft.com/office/drawing/2014/main" id="{6E75A407-9681-C725-18E2-DBFCA3AA2588}"/>
                </a:ext>
              </a:extLst>
            </p:cNvPr>
            <p:cNvGrpSpPr/>
            <p:nvPr/>
          </p:nvGrpSpPr>
          <p:grpSpPr>
            <a:xfrm>
              <a:off x="7122999" y="2285950"/>
              <a:ext cx="378751" cy="378680"/>
              <a:chOff x="7122999" y="2285950"/>
              <a:chExt cx="378751" cy="378680"/>
            </a:xfrm>
            <a:noFill/>
          </p:grpSpPr>
          <p:sp>
            <p:nvSpPr>
              <p:cNvPr id="453" name="Forma livre: Forma 452">
                <a:extLst>
                  <a:ext uri="{FF2B5EF4-FFF2-40B4-BE49-F238E27FC236}">
                    <a16:creationId xmlns:a16="http://schemas.microsoft.com/office/drawing/2014/main" id="{D69B86FD-84C8-A713-076A-B3B4F74C3033}"/>
                  </a:ext>
                </a:extLst>
              </p:cNvPr>
              <p:cNvSpPr/>
              <p:nvPr/>
            </p:nvSpPr>
            <p:spPr>
              <a:xfrm>
                <a:off x="7140367" y="2285950"/>
                <a:ext cx="197599" cy="304303"/>
              </a:xfrm>
              <a:custGeom>
                <a:avLst/>
                <a:gdLst>
                  <a:gd name="connsiteX0" fmla="*/ 101395 w 197599"/>
                  <a:gd name="connsiteY0" fmla="*/ 14701 h 304303"/>
                  <a:gd name="connsiteX1" fmla="*/ 103590 w 197599"/>
                  <a:gd name="connsiteY1" fmla="*/ 90989 h 304303"/>
                  <a:gd name="connsiteX2" fmla="*/ 50096 w 197599"/>
                  <a:gd name="connsiteY2" fmla="*/ 127375 h 304303"/>
                  <a:gd name="connsiteX3" fmla="*/ 54367 w 197599"/>
                  <a:gd name="connsiteY3" fmla="*/ 161614 h 304303"/>
                  <a:gd name="connsiteX4" fmla="*/ 96109 w 197599"/>
                  <a:gd name="connsiteY4" fmla="*/ 158428 h 304303"/>
                  <a:gd name="connsiteX5" fmla="*/ 160293 w 197599"/>
                  <a:gd name="connsiteY5" fmla="*/ 191582 h 304303"/>
                  <a:gd name="connsiteX6" fmla="*/ 98611 w 197599"/>
                  <a:gd name="connsiteY6" fmla="*/ 304303 h 304303"/>
                  <a:gd name="connsiteX7" fmla="*/ 76855 w 197599"/>
                  <a:gd name="connsiteY7" fmla="*/ 227992 h 304303"/>
                  <a:gd name="connsiteX8" fmla="*/ 45825 w 197599"/>
                  <a:gd name="connsiteY8" fmla="*/ 209799 h 304303"/>
                  <a:gd name="connsiteX9" fmla="*/ 54367 w 197599"/>
                  <a:gd name="connsiteY9" fmla="*/ 164870 h 304303"/>
                  <a:gd name="connsiteX10" fmla="*/ 0 w 197599"/>
                  <a:gd name="connsiteY10" fmla="*/ 110008 h 304303"/>
                  <a:gd name="connsiteX11" fmla="*/ 171973 w 197599"/>
                  <a:gd name="connsiteY11" fmla="*/ 0 h 304303"/>
                  <a:gd name="connsiteX12" fmla="*/ 197599 w 197599"/>
                  <a:gd name="connsiteY12" fmla="*/ 1699 h 3043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97599" h="304303">
                    <a:moveTo>
                      <a:pt x="101395" y="14701"/>
                    </a:moveTo>
                    <a:lnTo>
                      <a:pt x="103590" y="90989"/>
                    </a:lnTo>
                    <a:lnTo>
                      <a:pt x="50096" y="127375"/>
                    </a:lnTo>
                    <a:lnTo>
                      <a:pt x="54367" y="161614"/>
                    </a:lnTo>
                    <a:lnTo>
                      <a:pt x="96109" y="158428"/>
                    </a:lnTo>
                    <a:lnTo>
                      <a:pt x="160293" y="191582"/>
                    </a:lnTo>
                    <a:lnTo>
                      <a:pt x="98611" y="304303"/>
                    </a:lnTo>
                    <a:lnTo>
                      <a:pt x="76855" y="227992"/>
                    </a:lnTo>
                    <a:lnTo>
                      <a:pt x="45825" y="209799"/>
                    </a:lnTo>
                    <a:lnTo>
                      <a:pt x="54367" y="164870"/>
                    </a:lnTo>
                    <a:lnTo>
                      <a:pt x="0" y="110008"/>
                    </a:lnTo>
                    <a:cubicBezTo>
                      <a:pt x="29992" y="45070"/>
                      <a:pt x="95732" y="0"/>
                      <a:pt x="171973" y="0"/>
                    </a:cubicBezTo>
                    <a:cubicBezTo>
                      <a:pt x="180657" y="0"/>
                      <a:pt x="189199" y="566"/>
                      <a:pt x="197599" y="1699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54" name="Forma livre: Forma 453">
                <a:extLst>
                  <a:ext uri="{FF2B5EF4-FFF2-40B4-BE49-F238E27FC236}">
                    <a16:creationId xmlns:a16="http://schemas.microsoft.com/office/drawing/2014/main" id="{8137F771-BAD4-86FD-E5E0-2951EA4B7F55}"/>
                  </a:ext>
                </a:extLst>
              </p:cNvPr>
              <p:cNvSpPr/>
              <p:nvPr/>
            </p:nvSpPr>
            <p:spPr>
              <a:xfrm>
                <a:off x="7122999" y="2302869"/>
                <a:ext cx="378751" cy="361761"/>
              </a:xfrm>
              <a:custGeom>
                <a:avLst/>
                <a:gdLst>
                  <a:gd name="connsiteX0" fmla="*/ 284341 w 378751"/>
                  <a:gd name="connsiteY0" fmla="*/ 66118 h 361761"/>
                  <a:gd name="connsiteX1" fmla="*/ 256898 w 378751"/>
                  <a:gd name="connsiteY1" fmla="*/ 67841 h 361761"/>
                  <a:gd name="connsiteX2" fmla="*/ 244321 w 378751"/>
                  <a:gd name="connsiteY2" fmla="*/ 55570 h 361761"/>
                  <a:gd name="connsiteX3" fmla="*/ 267705 w 378751"/>
                  <a:gd name="connsiteY3" fmla="*/ 0 h 361761"/>
                  <a:gd name="connsiteX4" fmla="*/ 378751 w 378751"/>
                  <a:gd name="connsiteY4" fmla="*/ 172445 h 361761"/>
                  <a:gd name="connsiteX5" fmla="*/ 189340 w 378751"/>
                  <a:gd name="connsiteY5" fmla="*/ 361761 h 361761"/>
                  <a:gd name="connsiteX6" fmla="*/ 0 w 378751"/>
                  <a:gd name="connsiteY6" fmla="*/ 172445 h 361761"/>
                  <a:gd name="connsiteX7" fmla="*/ 1628 w 378751"/>
                  <a:gd name="connsiteY7" fmla="*/ 147574 h 3617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78751" h="361761">
                    <a:moveTo>
                      <a:pt x="284341" y="66118"/>
                    </a:moveTo>
                    <a:lnTo>
                      <a:pt x="256898" y="67841"/>
                    </a:lnTo>
                    <a:lnTo>
                      <a:pt x="244321" y="55570"/>
                    </a:lnTo>
                    <a:lnTo>
                      <a:pt x="267705" y="0"/>
                    </a:lnTo>
                    <a:cubicBezTo>
                      <a:pt x="333233" y="29779"/>
                      <a:pt x="378751" y="95779"/>
                      <a:pt x="378751" y="172445"/>
                    </a:cubicBezTo>
                    <a:cubicBezTo>
                      <a:pt x="378751" y="276978"/>
                      <a:pt x="293992" y="361761"/>
                      <a:pt x="189340" y="361761"/>
                    </a:cubicBezTo>
                    <a:cubicBezTo>
                      <a:pt x="84689" y="361761"/>
                      <a:pt x="0" y="276978"/>
                      <a:pt x="0" y="172445"/>
                    </a:cubicBezTo>
                    <a:cubicBezTo>
                      <a:pt x="0" y="164021"/>
                      <a:pt x="543" y="155715"/>
                      <a:pt x="1628" y="147574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55" name="Forma livre: Forma 454">
                <a:extLst>
                  <a:ext uri="{FF2B5EF4-FFF2-40B4-BE49-F238E27FC236}">
                    <a16:creationId xmlns:a16="http://schemas.microsoft.com/office/drawing/2014/main" id="{6713EE2A-BC46-503B-57EC-EBD7906EC8AF}"/>
                  </a:ext>
                </a:extLst>
              </p:cNvPr>
              <p:cNvSpPr/>
              <p:nvPr/>
            </p:nvSpPr>
            <p:spPr>
              <a:xfrm>
                <a:off x="7361807" y="2366840"/>
                <a:ext cx="133407" cy="185069"/>
              </a:xfrm>
              <a:custGeom>
                <a:avLst/>
                <a:gdLst>
                  <a:gd name="connsiteX0" fmla="*/ 133407 w 133407"/>
                  <a:gd name="connsiteY0" fmla="*/ 61941 h 185069"/>
                  <a:gd name="connsiteX1" fmla="*/ 81683 w 133407"/>
                  <a:gd name="connsiteY1" fmla="*/ 156800 h 185069"/>
                  <a:gd name="connsiteX2" fmla="*/ 61201 w 133407"/>
                  <a:gd name="connsiteY2" fmla="*/ 185069 h 185069"/>
                  <a:gd name="connsiteX3" fmla="*/ 45368 w 133407"/>
                  <a:gd name="connsiteY3" fmla="*/ 106657 h 185069"/>
                  <a:gd name="connsiteX4" fmla="*/ 25688 w 133407"/>
                  <a:gd name="connsiteY4" fmla="*/ 105548 h 185069"/>
                  <a:gd name="connsiteX5" fmla="*/ 18208 w 133407"/>
                  <a:gd name="connsiteY5" fmla="*/ 48869 h 185069"/>
                  <a:gd name="connsiteX6" fmla="*/ 72764 w 133407"/>
                  <a:gd name="connsiteY6" fmla="*/ 42427 h 185069"/>
                  <a:gd name="connsiteX7" fmla="*/ 94166 w 133407"/>
                  <a:gd name="connsiteY7" fmla="*/ 0 h 1850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33407" h="185069">
                    <a:moveTo>
                      <a:pt x="133407" y="61941"/>
                    </a:moveTo>
                    <a:lnTo>
                      <a:pt x="81683" y="156800"/>
                    </a:lnTo>
                    <a:lnTo>
                      <a:pt x="61201" y="185069"/>
                    </a:lnTo>
                    <a:lnTo>
                      <a:pt x="45368" y="106657"/>
                    </a:lnTo>
                    <a:lnTo>
                      <a:pt x="25688" y="105548"/>
                    </a:lnTo>
                    <a:cubicBezTo>
                      <a:pt x="25688" y="105548"/>
                      <a:pt x="-26744" y="86293"/>
                      <a:pt x="18208" y="48869"/>
                    </a:cubicBezTo>
                    <a:lnTo>
                      <a:pt x="72764" y="42427"/>
                    </a:lnTo>
                    <a:lnTo>
                      <a:pt x="94166" y="0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456" name="Forma livre: Forma 455">
              <a:extLst>
                <a:ext uri="{FF2B5EF4-FFF2-40B4-BE49-F238E27FC236}">
                  <a16:creationId xmlns:a16="http://schemas.microsoft.com/office/drawing/2014/main" id="{C019EF9F-5A1A-2304-DA88-BE517DC5C4F0}"/>
                </a:ext>
              </a:extLst>
            </p:cNvPr>
            <p:cNvSpPr/>
            <p:nvPr/>
          </p:nvSpPr>
          <p:spPr>
            <a:xfrm>
              <a:off x="7062143" y="2025796"/>
              <a:ext cx="500486" cy="699713"/>
            </a:xfrm>
            <a:custGeom>
              <a:avLst/>
              <a:gdLst>
                <a:gd name="connsiteX0" fmla="*/ 160883 w 500486"/>
                <a:gd name="connsiteY0" fmla="*/ 202790 h 699713"/>
                <a:gd name="connsiteX1" fmla="*/ 80984 w 500486"/>
                <a:gd name="connsiteY1" fmla="*/ 85633 h 699713"/>
                <a:gd name="connsiteX2" fmla="*/ 86506 w 500486"/>
                <a:gd name="connsiteY2" fmla="*/ 202035 h 699713"/>
                <a:gd name="connsiteX3" fmla="*/ 45306 w 500486"/>
                <a:gd name="connsiteY3" fmla="*/ 306120 h 699713"/>
                <a:gd name="connsiteX4" fmla="*/ 0 w 500486"/>
                <a:gd name="connsiteY4" fmla="*/ 449494 h 699713"/>
                <a:gd name="connsiteX5" fmla="*/ 250243 w 500486"/>
                <a:gd name="connsiteY5" fmla="*/ 699714 h 699713"/>
                <a:gd name="connsiteX6" fmla="*/ 500487 w 500486"/>
                <a:gd name="connsiteY6" fmla="*/ 449494 h 699713"/>
                <a:gd name="connsiteX7" fmla="*/ 477645 w 500486"/>
                <a:gd name="connsiteY7" fmla="*/ 345079 h 699713"/>
                <a:gd name="connsiteX8" fmla="*/ 462213 w 500486"/>
                <a:gd name="connsiteY8" fmla="*/ 308032 h 699713"/>
                <a:gd name="connsiteX9" fmla="*/ 451830 w 500486"/>
                <a:gd name="connsiteY9" fmla="*/ 206094 h 699713"/>
                <a:gd name="connsiteX10" fmla="*/ 398101 w 500486"/>
                <a:gd name="connsiteY10" fmla="*/ 97502 h 699713"/>
                <a:gd name="connsiteX11" fmla="*/ 347698 w 500486"/>
                <a:gd name="connsiteY11" fmla="*/ 210294 h 699713"/>
                <a:gd name="connsiteX12" fmla="*/ 308811 w 500486"/>
                <a:gd name="connsiteY12" fmla="*/ 110905 h 699713"/>
                <a:gd name="connsiteX13" fmla="*/ 252131 w 500486"/>
                <a:gd name="connsiteY13" fmla="*/ 176220 h 699713"/>
                <a:gd name="connsiteX14" fmla="*/ 196773 w 500486"/>
                <a:gd name="connsiteY14" fmla="*/ 0 h 699713"/>
                <a:gd name="connsiteX15" fmla="*/ 149061 w 500486"/>
                <a:gd name="connsiteY15" fmla="*/ 82140 h 6997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500486" h="699713">
                  <a:moveTo>
                    <a:pt x="160883" y="202790"/>
                  </a:moveTo>
                  <a:cubicBezTo>
                    <a:pt x="151916" y="131009"/>
                    <a:pt x="80984" y="85633"/>
                    <a:pt x="80984" y="85633"/>
                  </a:cubicBezTo>
                  <a:cubicBezTo>
                    <a:pt x="80984" y="85633"/>
                    <a:pt x="101537" y="141958"/>
                    <a:pt x="86506" y="202035"/>
                  </a:cubicBezTo>
                  <a:cubicBezTo>
                    <a:pt x="86506" y="202035"/>
                    <a:pt x="88087" y="237501"/>
                    <a:pt x="45306" y="306120"/>
                  </a:cubicBezTo>
                  <a:cubicBezTo>
                    <a:pt x="16778" y="346754"/>
                    <a:pt x="0" y="396189"/>
                    <a:pt x="0" y="449494"/>
                  </a:cubicBezTo>
                  <a:cubicBezTo>
                    <a:pt x="0" y="587488"/>
                    <a:pt x="112250" y="699714"/>
                    <a:pt x="250243" y="699714"/>
                  </a:cubicBezTo>
                  <a:cubicBezTo>
                    <a:pt x="388237" y="699714"/>
                    <a:pt x="500487" y="587488"/>
                    <a:pt x="500487" y="449494"/>
                  </a:cubicBezTo>
                  <a:cubicBezTo>
                    <a:pt x="500487" y="412235"/>
                    <a:pt x="477645" y="345079"/>
                    <a:pt x="477645" y="345079"/>
                  </a:cubicBezTo>
                  <a:cubicBezTo>
                    <a:pt x="473822" y="331251"/>
                    <a:pt x="463888" y="312232"/>
                    <a:pt x="462213" y="308032"/>
                  </a:cubicBezTo>
                  <a:cubicBezTo>
                    <a:pt x="437059" y="245288"/>
                    <a:pt x="452326" y="232145"/>
                    <a:pt x="451830" y="206094"/>
                  </a:cubicBezTo>
                  <a:cubicBezTo>
                    <a:pt x="450202" y="121216"/>
                    <a:pt x="398101" y="97502"/>
                    <a:pt x="398101" y="97502"/>
                  </a:cubicBezTo>
                  <a:cubicBezTo>
                    <a:pt x="406831" y="178438"/>
                    <a:pt x="347698" y="210294"/>
                    <a:pt x="347698" y="210294"/>
                  </a:cubicBezTo>
                  <a:cubicBezTo>
                    <a:pt x="348028" y="161166"/>
                    <a:pt x="308811" y="110905"/>
                    <a:pt x="308811" y="110905"/>
                  </a:cubicBezTo>
                  <a:cubicBezTo>
                    <a:pt x="304728" y="143657"/>
                    <a:pt x="252131" y="176220"/>
                    <a:pt x="252131" y="176220"/>
                  </a:cubicBezTo>
                  <a:cubicBezTo>
                    <a:pt x="226458" y="150358"/>
                    <a:pt x="183795" y="96699"/>
                    <a:pt x="196773" y="0"/>
                  </a:cubicBezTo>
                  <a:cubicBezTo>
                    <a:pt x="196773" y="0"/>
                    <a:pt x="165272" y="35348"/>
                    <a:pt x="149061" y="8214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457" name="Gráfico 4">
            <a:extLst>
              <a:ext uri="{FF2B5EF4-FFF2-40B4-BE49-F238E27FC236}">
                <a16:creationId xmlns:a16="http://schemas.microsoft.com/office/drawing/2014/main" id="{C3ECBC45-6577-7DC1-E277-8891344EB61E}"/>
              </a:ext>
            </a:extLst>
          </p:cNvPr>
          <p:cNvGrpSpPr/>
          <p:nvPr/>
        </p:nvGrpSpPr>
        <p:grpSpPr>
          <a:xfrm>
            <a:off x="5762506" y="2059492"/>
            <a:ext cx="647447" cy="632274"/>
            <a:chOff x="5762506" y="2059492"/>
            <a:chExt cx="647447" cy="632274"/>
          </a:xfrm>
        </p:grpSpPr>
        <p:sp>
          <p:nvSpPr>
            <p:cNvPr id="458" name="Forma livre: Forma 457">
              <a:extLst>
                <a:ext uri="{FF2B5EF4-FFF2-40B4-BE49-F238E27FC236}">
                  <a16:creationId xmlns:a16="http://schemas.microsoft.com/office/drawing/2014/main" id="{3B301BBE-CD53-30FD-3C48-B5BAAC180414}"/>
                </a:ext>
              </a:extLst>
            </p:cNvPr>
            <p:cNvSpPr/>
            <p:nvPr/>
          </p:nvSpPr>
          <p:spPr>
            <a:xfrm>
              <a:off x="5962443" y="2392594"/>
              <a:ext cx="71587" cy="61472"/>
            </a:xfrm>
            <a:custGeom>
              <a:avLst/>
              <a:gdLst>
                <a:gd name="connsiteX0" fmla="*/ 69727 w 71587"/>
                <a:gd name="connsiteY0" fmla="*/ 16649 h 61472"/>
                <a:gd name="connsiteX1" fmla="*/ 47121 w 71587"/>
                <a:gd name="connsiteY1" fmla="*/ 58038 h 61472"/>
                <a:gd name="connsiteX2" fmla="*/ 1863 w 71587"/>
                <a:gd name="connsiteY2" fmla="*/ 44847 h 61472"/>
                <a:gd name="connsiteX3" fmla="*/ 24445 w 71587"/>
                <a:gd name="connsiteY3" fmla="*/ 3435 h 61472"/>
                <a:gd name="connsiteX4" fmla="*/ 69751 w 71587"/>
                <a:gd name="connsiteY4" fmla="*/ 16625 h 614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587" h="61472">
                  <a:moveTo>
                    <a:pt x="69727" y="16649"/>
                  </a:moveTo>
                  <a:cubicBezTo>
                    <a:pt x="76004" y="31727"/>
                    <a:pt x="65881" y="50251"/>
                    <a:pt x="47121" y="58038"/>
                  </a:cubicBezTo>
                  <a:cubicBezTo>
                    <a:pt x="28385" y="65824"/>
                    <a:pt x="8116" y="59925"/>
                    <a:pt x="1863" y="44847"/>
                  </a:cubicBezTo>
                  <a:cubicBezTo>
                    <a:pt x="-4414" y="29769"/>
                    <a:pt x="5685" y="11222"/>
                    <a:pt x="24445" y="3435"/>
                  </a:cubicBezTo>
                  <a:cubicBezTo>
                    <a:pt x="43204" y="-4352"/>
                    <a:pt x="63474" y="1547"/>
                    <a:pt x="69751" y="16625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59" name="Forma livre: Forma 458">
              <a:extLst>
                <a:ext uri="{FF2B5EF4-FFF2-40B4-BE49-F238E27FC236}">
                  <a16:creationId xmlns:a16="http://schemas.microsoft.com/office/drawing/2014/main" id="{98704DFE-F273-0B7B-6DC3-94D8E573877E}"/>
                </a:ext>
              </a:extLst>
            </p:cNvPr>
            <p:cNvSpPr/>
            <p:nvPr/>
          </p:nvSpPr>
          <p:spPr>
            <a:xfrm>
              <a:off x="5953695" y="2510913"/>
              <a:ext cx="18669" cy="19993"/>
            </a:xfrm>
            <a:custGeom>
              <a:avLst/>
              <a:gdLst>
                <a:gd name="connsiteX0" fmla="*/ 18186 w 18669"/>
                <a:gd name="connsiteY0" fmla="*/ 17517 h 19993"/>
                <a:gd name="connsiteX1" fmla="*/ 17147 w 18669"/>
                <a:gd name="connsiteY1" fmla="*/ 18980 h 19993"/>
                <a:gd name="connsiteX2" fmla="*/ 3933 w 18669"/>
                <a:gd name="connsiteY2" fmla="*/ 14686 h 19993"/>
                <a:gd name="connsiteX3" fmla="*/ 488 w 18669"/>
                <a:gd name="connsiteY3" fmla="*/ 2486 h 19993"/>
                <a:gd name="connsiteX4" fmla="*/ 1526 w 18669"/>
                <a:gd name="connsiteY4" fmla="*/ 1023 h 19993"/>
                <a:gd name="connsiteX5" fmla="*/ 14717 w 18669"/>
                <a:gd name="connsiteY5" fmla="*/ 5318 h 19993"/>
                <a:gd name="connsiteX6" fmla="*/ 18186 w 18669"/>
                <a:gd name="connsiteY6" fmla="*/ 17517 h 199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8669" h="19993">
                  <a:moveTo>
                    <a:pt x="18186" y="17517"/>
                  </a:moveTo>
                  <a:cubicBezTo>
                    <a:pt x="17926" y="18131"/>
                    <a:pt x="17572" y="18603"/>
                    <a:pt x="17147" y="18980"/>
                  </a:cubicBezTo>
                  <a:cubicBezTo>
                    <a:pt x="14599" y="21175"/>
                    <a:pt x="8416" y="19830"/>
                    <a:pt x="3933" y="14686"/>
                  </a:cubicBezTo>
                  <a:cubicBezTo>
                    <a:pt x="134" y="10297"/>
                    <a:pt x="-668" y="5223"/>
                    <a:pt x="488" y="2486"/>
                  </a:cubicBezTo>
                  <a:cubicBezTo>
                    <a:pt x="748" y="1873"/>
                    <a:pt x="1078" y="1401"/>
                    <a:pt x="1526" y="1023"/>
                  </a:cubicBezTo>
                  <a:cubicBezTo>
                    <a:pt x="4075" y="-1195"/>
                    <a:pt x="10257" y="174"/>
                    <a:pt x="14717" y="5318"/>
                  </a:cubicBezTo>
                  <a:cubicBezTo>
                    <a:pt x="18516" y="9683"/>
                    <a:pt x="19342" y="14780"/>
                    <a:pt x="18186" y="17517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60" name="Forma livre: Forma 459">
              <a:extLst>
                <a:ext uri="{FF2B5EF4-FFF2-40B4-BE49-F238E27FC236}">
                  <a16:creationId xmlns:a16="http://schemas.microsoft.com/office/drawing/2014/main" id="{1C33F515-417C-880E-AA3C-EAC36587BE2C}"/>
                </a:ext>
              </a:extLst>
            </p:cNvPr>
            <p:cNvSpPr/>
            <p:nvPr/>
          </p:nvSpPr>
          <p:spPr>
            <a:xfrm>
              <a:off x="5848965" y="2280145"/>
              <a:ext cx="325162" cy="325186"/>
            </a:xfrm>
            <a:custGeom>
              <a:avLst/>
              <a:gdLst>
                <a:gd name="connsiteX0" fmla="*/ 325163 w 325162"/>
                <a:gd name="connsiteY0" fmla="*/ 162605 h 325186"/>
                <a:gd name="connsiteX1" fmla="*/ 162582 w 325162"/>
                <a:gd name="connsiteY1" fmla="*/ 325187 h 325186"/>
                <a:gd name="connsiteX2" fmla="*/ 0 w 325162"/>
                <a:gd name="connsiteY2" fmla="*/ 162605 h 325186"/>
                <a:gd name="connsiteX3" fmla="*/ 162582 w 325162"/>
                <a:gd name="connsiteY3" fmla="*/ 0 h 325186"/>
                <a:gd name="connsiteX4" fmla="*/ 325163 w 325162"/>
                <a:gd name="connsiteY4" fmla="*/ 162605 h 3251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25162" h="325186">
                  <a:moveTo>
                    <a:pt x="325163" y="162605"/>
                  </a:moveTo>
                  <a:cubicBezTo>
                    <a:pt x="325163" y="252391"/>
                    <a:pt x="252367" y="325187"/>
                    <a:pt x="162582" y="325187"/>
                  </a:cubicBezTo>
                  <a:cubicBezTo>
                    <a:pt x="72796" y="325187"/>
                    <a:pt x="0" y="252391"/>
                    <a:pt x="0" y="162605"/>
                  </a:cubicBezTo>
                  <a:cubicBezTo>
                    <a:pt x="0" y="72819"/>
                    <a:pt x="72772" y="0"/>
                    <a:pt x="162582" y="0"/>
                  </a:cubicBezTo>
                  <a:cubicBezTo>
                    <a:pt x="252391" y="0"/>
                    <a:pt x="325163" y="72796"/>
                    <a:pt x="325163" y="162605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461" name="Gráfico 4">
              <a:extLst>
                <a:ext uri="{FF2B5EF4-FFF2-40B4-BE49-F238E27FC236}">
                  <a16:creationId xmlns:a16="http://schemas.microsoft.com/office/drawing/2014/main" id="{33F0EA38-1B0E-5899-4DBC-533A28654F3E}"/>
                </a:ext>
              </a:extLst>
            </p:cNvPr>
            <p:cNvGrpSpPr/>
            <p:nvPr/>
          </p:nvGrpSpPr>
          <p:grpSpPr>
            <a:xfrm>
              <a:off x="6011523" y="2193710"/>
              <a:ext cx="2359" cy="498056"/>
              <a:chOff x="6011523" y="2193710"/>
              <a:chExt cx="2359" cy="498056"/>
            </a:xfrm>
          </p:grpSpPr>
          <p:sp>
            <p:nvSpPr>
              <p:cNvPr id="462" name="Forma livre: Forma 461">
                <a:extLst>
                  <a:ext uri="{FF2B5EF4-FFF2-40B4-BE49-F238E27FC236}">
                    <a16:creationId xmlns:a16="http://schemas.microsoft.com/office/drawing/2014/main" id="{572FF7C7-EC48-F9E3-3012-E78123E5A641}"/>
                  </a:ext>
                </a:extLst>
              </p:cNvPr>
              <p:cNvSpPr/>
              <p:nvPr/>
            </p:nvSpPr>
            <p:spPr>
              <a:xfrm>
                <a:off x="6011523" y="2193710"/>
                <a:ext cx="2359" cy="82753"/>
              </a:xfrm>
              <a:custGeom>
                <a:avLst/>
                <a:gdLst>
                  <a:gd name="connsiteX0" fmla="*/ 0 w 2359"/>
                  <a:gd name="connsiteY0" fmla="*/ 0 h 82753"/>
                  <a:gd name="connsiteX1" fmla="*/ 0 w 2359"/>
                  <a:gd name="connsiteY1" fmla="*/ 82754 h 827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359" h="82753">
                    <a:moveTo>
                      <a:pt x="0" y="0"/>
                    </a:moveTo>
                    <a:lnTo>
                      <a:pt x="0" y="82754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63" name="Forma livre: Forma 462">
                <a:extLst>
                  <a:ext uri="{FF2B5EF4-FFF2-40B4-BE49-F238E27FC236}">
                    <a16:creationId xmlns:a16="http://schemas.microsoft.com/office/drawing/2014/main" id="{58139A16-E9A4-41CD-E6AB-3614D90367A0}"/>
                  </a:ext>
                </a:extLst>
              </p:cNvPr>
              <p:cNvSpPr/>
              <p:nvPr/>
            </p:nvSpPr>
            <p:spPr>
              <a:xfrm>
                <a:off x="6011523" y="2609060"/>
                <a:ext cx="2359" cy="82706"/>
              </a:xfrm>
              <a:custGeom>
                <a:avLst/>
                <a:gdLst>
                  <a:gd name="connsiteX0" fmla="*/ 0 w 2359"/>
                  <a:gd name="connsiteY0" fmla="*/ 0 h 82706"/>
                  <a:gd name="connsiteX1" fmla="*/ 0 w 2359"/>
                  <a:gd name="connsiteY1" fmla="*/ 82706 h 827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359" h="82706">
                    <a:moveTo>
                      <a:pt x="0" y="0"/>
                    </a:moveTo>
                    <a:lnTo>
                      <a:pt x="0" y="82706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464" name="Gráfico 4">
              <a:extLst>
                <a:ext uri="{FF2B5EF4-FFF2-40B4-BE49-F238E27FC236}">
                  <a16:creationId xmlns:a16="http://schemas.microsoft.com/office/drawing/2014/main" id="{971A3066-1BA7-1AC3-11E5-4BBBB1310ECE}"/>
                </a:ext>
              </a:extLst>
            </p:cNvPr>
            <p:cNvGrpSpPr/>
            <p:nvPr/>
          </p:nvGrpSpPr>
          <p:grpSpPr>
            <a:xfrm>
              <a:off x="5762506" y="2442750"/>
              <a:ext cx="498056" cy="2359"/>
              <a:chOff x="5762506" y="2442750"/>
              <a:chExt cx="498056" cy="2359"/>
            </a:xfrm>
          </p:grpSpPr>
          <p:sp>
            <p:nvSpPr>
              <p:cNvPr id="465" name="Forma livre: Forma 464">
                <a:extLst>
                  <a:ext uri="{FF2B5EF4-FFF2-40B4-BE49-F238E27FC236}">
                    <a16:creationId xmlns:a16="http://schemas.microsoft.com/office/drawing/2014/main" id="{946CA41F-00AA-BFF6-6809-56EAB660AABA}"/>
                  </a:ext>
                </a:extLst>
              </p:cNvPr>
              <p:cNvSpPr/>
              <p:nvPr/>
            </p:nvSpPr>
            <p:spPr>
              <a:xfrm>
                <a:off x="6177832" y="2442750"/>
                <a:ext cx="82730" cy="2359"/>
              </a:xfrm>
              <a:custGeom>
                <a:avLst/>
                <a:gdLst>
                  <a:gd name="connsiteX0" fmla="*/ 82730 w 82730"/>
                  <a:gd name="connsiteY0" fmla="*/ 0 h 2359"/>
                  <a:gd name="connsiteX1" fmla="*/ 0 w 82730"/>
                  <a:gd name="connsiteY1" fmla="*/ 0 h 23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82730" h="2359">
                    <a:moveTo>
                      <a:pt x="82730" y="0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66" name="Forma livre: Forma 465">
                <a:extLst>
                  <a:ext uri="{FF2B5EF4-FFF2-40B4-BE49-F238E27FC236}">
                    <a16:creationId xmlns:a16="http://schemas.microsoft.com/office/drawing/2014/main" id="{2802FCF3-C3B2-9A92-5DD9-38F82316BC22}"/>
                  </a:ext>
                </a:extLst>
              </p:cNvPr>
              <p:cNvSpPr/>
              <p:nvPr/>
            </p:nvSpPr>
            <p:spPr>
              <a:xfrm>
                <a:off x="5762506" y="2442750"/>
                <a:ext cx="82706" cy="2359"/>
              </a:xfrm>
              <a:custGeom>
                <a:avLst/>
                <a:gdLst>
                  <a:gd name="connsiteX0" fmla="*/ 82706 w 82706"/>
                  <a:gd name="connsiteY0" fmla="*/ 0 h 2359"/>
                  <a:gd name="connsiteX1" fmla="*/ 0 w 82706"/>
                  <a:gd name="connsiteY1" fmla="*/ 0 h 23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82706" h="2359">
                    <a:moveTo>
                      <a:pt x="82706" y="0"/>
                    </a:moveTo>
                    <a:lnTo>
                      <a:pt x="0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467" name="Gráfico 4">
              <a:extLst>
                <a:ext uri="{FF2B5EF4-FFF2-40B4-BE49-F238E27FC236}">
                  <a16:creationId xmlns:a16="http://schemas.microsoft.com/office/drawing/2014/main" id="{6FEC3037-3A80-78C7-E8E1-9D6153F11D97}"/>
                </a:ext>
              </a:extLst>
            </p:cNvPr>
            <p:cNvGrpSpPr/>
            <p:nvPr/>
          </p:nvGrpSpPr>
          <p:grpSpPr>
            <a:xfrm>
              <a:off x="5835444" y="2266648"/>
              <a:ext cx="352181" cy="352181"/>
              <a:chOff x="5835444" y="2266648"/>
              <a:chExt cx="352181" cy="352181"/>
            </a:xfrm>
          </p:grpSpPr>
          <p:sp>
            <p:nvSpPr>
              <p:cNvPr id="468" name="Forma livre: Forma 467">
                <a:extLst>
                  <a:ext uri="{FF2B5EF4-FFF2-40B4-BE49-F238E27FC236}">
                    <a16:creationId xmlns:a16="http://schemas.microsoft.com/office/drawing/2014/main" id="{14D242E4-A215-AF45-6F7A-E76D33D33319}"/>
                  </a:ext>
                </a:extLst>
              </p:cNvPr>
              <p:cNvSpPr/>
              <p:nvPr/>
            </p:nvSpPr>
            <p:spPr>
              <a:xfrm>
                <a:off x="6129129" y="2266648"/>
                <a:ext cx="58496" cy="58519"/>
              </a:xfrm>
              <a:custGeom>
                <a:avLst/>
                <a:gdLst>
                  <a:gd name="connsiteX0" fmla="*/ 58496 w 58496"/>
                  <a:gd name="connsiteY0" fmla="*/ 0 h 58519"/>
                  <a:gd name="connsiteX1" fmla="*/ 0 w 58496"/>
                  <a:gd name="connsiteY1" fmla="*/ 58520 h 585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8496" h="58519">
                    <a:moveTo>
                      <a:pt x="58496" y="0"/>
                    </a:moveTo>
                    <a:lnTo>
                      <a:pt x="0" y="5852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69" name="Forma livre: Forma 468">
                <a:extLst>
                  <a:ext uri="{FF2B5EF4-FFF2-40B4-BE49-F238E27FC236}">
                    <a16:creationId xmlns:a16="http://schemas.microsoft.com/office/drawing/2014/main" id="{15698666-1611-0F2F-56BC-87A5EE8E3EEC}"/>
                  </a:ext>
                </a:extLst>
              </p:cNvPr>
              <p:cNvSpPr/>
              <p:nvPr/>
            </p:nvSpPr>
            <p:spPr>
              <a:xfrm>
                <a:off x="5835444" y="2560356"/>
                <a:ext cx="58496" cy="58472"/>
              </a:xfrm>
              <a:custGeom>
                <a:avLst/>
                <a:gdLst>
                  <a:gd name="connsiteX0" fmla="*/ 58496 w 58496"/>
                  <a:gd name="connsiteY0" fmla="*/ 0 h 58472"/>
                  <a:gd name="connsiteX1" fmla="*/ 0 w 58496"/>
                  <a:gd name="connsiteY1" fmla="*/ 58473 h 584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8496" h="58472">
                    <a:moveTo>
                      <a:pt x="58496" y="0"/>
                    </a:moveTo>
                    <a:lnTo>
                      <a:pt x="0" y="58473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470" name="Gráfico 4">
              <a:extLst>
                <a:ext uri="{FF2B5EF4-FFF2-40B4-BE49-F238E27FC236}">
                  <a16:creationId xmlns:a16="http://schemas.microsoft.com/office/drawing/2014/main" id="{8F87FF58-FB0A-2184-6F3B-D3E9344C73DB}"/>
                </a:ext>
              </a:extLst>
            </p:cNvPr>
            <p:cNvGrpSpPr/>
            <p:nvPr/>
          </p:nvGrpSpPr>
          <p:grpSpPr>
            <a:xfrm>
              <a:off x="5835444" y="2266648"/>
              <a:ext cx="352181" cy="352181"/>
              <a:chOff x="5835444" y="2266648"/>
              <a:chExt cx="352181" cy="352181"/>
            </a:xfrm>
          </p:grpSpPr>
          <p:sp>
            <p:nvSpPr>
              <p:cNvPr id="471" name="Forma livre: Forma 470">
                <a:extLst>
                  <a:ext uri="{FF2B5EF4-FFF2-40B4-BE49-F238E27FC236}">
                    <a16:creationId xmlns:a16="http://schemas.microsoft.com/office/drawing/2014/main" id="{E651407C-FD8F-86C0-34FE-CD56C02516D8}"/>
                  </a:ext>
                </a:extLst>
              </p:cNvPr>
              <p:cNvSpPr/>
              <p:nvPr/>
            </p:nvSpPr>
            <p:spPr>
              <a:xfrm>
                <a:off x="5835444" y="2266648"/>
                <a:ext cx="58496" cy="58519"/>
              </a:xfrm>
              <a:custGeom>
                <a:avLst/>
                <a:gdLst>
                  <a:gd name="connsiteX0" fmla="*/ 0 w 58496"/>
                  <a:gd name="connsiteY0" fmla="*/ 0 h 58519"/>
                  <a:gd name="connsiteX1" fmla="*/ 58496 w 58496"/>
                  <a:gd name="connsiteY1" fmla="*/ 58520 h 585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8496" h="58519">
                    <a:moveTo>
                      <a:pt x="0" y="0"/>
                    </a:moveTo>
                    <a:lnTo>
                      <a:pt x="58496" y="5852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72" name="Forma livre: Forma 471">
                <a:extLst>
                  <a:ext uri="{FF2B5EF4-FFF2-40B4-BE49-F238E27FC236}">
                    <a16:creationId xmlns:a16="http://schemas.microsoft.com/office/drawing/2014/main" id="{E02542B7-4160-1FA0-585B-6B3849D9793A}"/>
                  </a:ext>
                </a:extLst>
              </p:cNvPr>
              <p:cNvSpPr/>
              <p:nvPr/>
            </p:nvSpPr>
            <p:spPr>
              <a:xfrm>
                <a:off x="6129129" y="2560356"/>
                <a:ext cx="58496" cy="58472"/>
              </a:xfrm>
              <a:custGeom>
                <a:avLst/>
                <a:gdLst>
                  <a:gd name="connsiteX0" fmla="*/ 0 w 58496"/>
                  <a:gd name="connsiteY0" fmla="*/ 0 h 58472"/>
                  <a:gd name="connsiteX1" fmla="*/ 58496 w 58496"/>
                  <a:gd name="connsiteY1" fmla="*/ 58473 h 584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8496" h="58472">
                    <a:moveTo>
                      <a:pt x="0" y="0"/>
                    </a:moveTo>
                    <a:lnTo>
                      <a:pt x="58496" y="58473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473" name="Forma livre: Forma 472">
              <a:extLst>
                <a:ext uri="{FF2B5EF4-FFF2-40B4-BE49-F238E27FC236}">
                  <a16:creationId xmlns:a16="http://schemas.microsoft.com/office/drawing/2014/main" id="{1E63CFD4-9D36-2C2F-6FA9-61B9C4C82842}"/>
                </a:ext>
              </a:extLst>
            </p:cNvPr>
            <p:cNvSpPr/>
            <p:nvPr/>
          </p:nvSpPr>
          <p:spPr>
            <a:xfrm>
              <a:off x="5897881" y="2423849"/>
              <a:ext cx="13214" cy="13214"/>
            </a:xfrm>
            <a:custGeom>
              <a:avLst/>
              <a:gdLst>
                <a:gd name="connsiteX0" fmla="*/ 13214 w 13214"/>
                <a:gd name="connsiteY0" fmla="*/ 6607 h 13214"/>
                <a:gd name="connsiteX1" fmla="*/ 6607 w 13214"/>
                <a:gd name="connsiteY1" fmla="*/ 13214 h 13214"/>
                <a:gd name="connsiteX2" fmla="*/ 0 w 13214"/>
                <a:gd name="connsiteY2" fmla="*/ 6607 h 13214"/>
                <a:gd name="connsiteX3" fmla="*/ 6607 w 13214"/>
                <a:gd name="connsiteY3" fmla="*/ 0 h 13214"/>
                <a:gd name="connsiteX4" fmla="*/ 13214 w 13214"/>
                <a:gd name="connsiteY4" fmla="*/ 6607 h 132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214" h="13214">
                  <a:moveTo>
                    <a:pt x="13214" y="6607"/>
                  </a:moveTo>
                  <a:cubicBezTo>
                    <a:pt x="13214" y="10265"/>
                    <a:pt x="10288" y="13214"/>
                    <a:pt x="6607" y="13214"/>
                  </a:cubicBezTo>
                  <a:cubicBezTo>
                    <a:pt x="2926" y="13214"/>
                    <a:pt x="0" y="10265"/>
                    <a:pt x="0" y="6607"/>
                  </a:cubicBezTo>
                  <a:cubicBezTo>
                    <a:pt x="0" y="2950"/>
                    <a:pt x="2973" y="0"/>
                    <a:pt x="6607" y="0"/>
                  </a:cubicBezTo>
                  <a:cubicBezTo>
                    <a:pt x="10241" y="0"/>
                    <a:pt x="13214" y="2950"/>
                    <a:pt x="13214" y="6607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74" name="Forma livre: Forma 473">
              <a:extLst>
                <a:ext uri="{FF2B5EF4-FFF2-40B4-BE49-F238E27FC236}">
                  <a16:creationId xmlns:a16="http://schemas.microsoft.com/office/drawing/2014/main" id="{19E43583-6A90-19F4-9B4B-06247B454765}"/>
                </a:ext>
              </a:extLst>
            </p:cNvPr>
            <p:cNvSpPr/>
            <p:nvPr/>
          </p:nvSpPr>
          <p:spPr>
            <a:xfrm>
              <a:off x="5934992" y="2348758"/>
              <a:ext cx="15281" cy="18238"/>
            </a:xfrm>
            <a:custGeom>
              <a:avLst/>
              <a:gdLst>
                <a:gd name="connsiteX0" fmla="*/ 12230 w 15281"/>
                <a:gd name="connsiteY0" fmla="*/ 12418 h 18238"/>
                <a:gd name="connsiteX1" fmla="*/ 1540 w 15281"/>
                <a:gd name="connsiteY1" fmla="*/ 17609 h 18238"/>
                <a:gd name="connsiteX2" fmla="*/ 3027 w 15281"/>
                <a:gd name="connsiteY2" fmla="*/ 5811 h 18238"/>
                <a:gd name="connsiteX3" fmla="*/ 13740 w 15281"/>
                <a:gd name="connsiteY3" fmla="*/ 620 h 18238"/>
                <a:gd name="connsiteX4" fmla="*/ 12230 w 15281"/>
                <a:gd name="connsiteY4" fmla="*/ 12394 h 182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281" h="18238">
                  <a:moveTo>
                    <a:pt x="12230" y="12418"/>
                  </a:moveTo>
                  <a:cubicBezTo>
                    <a:pt x="8832" y="17114"/>
                    <a:pt x="4089" y="19450"/>
                    <a:pt x="1540" y="17609"/>
                  </a:cubicBezTo>
                  <a:cubicBezTo>
                    <a:pt x="-985" y="15792"/>
                    <a:pt x="-347" y="10530"/>
                    <a:pt x="3027" y="5811"/>
                  </a:cubicBezTo>
                  <a:cubicBezTo>
                    <a:pt x="6425" y="1115"/>
                    <a:pt x="11191" y="-1197"/>
                    <a:pt x="13740" y="620"/>
                  </a:cubicBezTo>
                  <a:cubicBezTo>
                    <a:pt x="16288" y="2437"/>
                    <a:pt x="15604" y="7699"/>
                    <a:pt x="12230" y="12394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75" name="Forma livre: Forma 474">
              <a:extLst>
                <a:ext uri="{FF2B5EF4-FFF2-40B4-BE49-F238E27FC236}">
                  <a16:creationId xmlns:a16="http://schemas.microsoft.com/office/drawing/2014/main" id="{4E724F51-B191-40DA-A8D7-5C35208508D3}"/>
                </a:ext>
              </a:extLst>
            </p:cNvPr>
            <p:cNvSpPr/>
            <p:nvPr/>
          </p:nvSpPr>
          <p:spPr>
            <a:xfrm>
              <a:off x="6018696" y="2333899"/>
              <a:ext cx="13214" cy="13214"/>
            </a:xfrm>
            <a:custGeom>
              <a:avLst/>
              <a:gdLst>
                <a:gd name="connsiteX0" fmla="*/ 13214 w 13214"/>
                <a:gd name="connsiteY0" fmla="*/ 6607 h 13214"/>
                <a:gd name="connsiteX1" fmla="*/ 6607 w 13214"/>
                <a:gd name="connsiteY1" fmla="*/ 13214 h 13214"/>
                <a:gd name="connsiteX2" fmla="*/ 0 w 13214"/>
                <a:gd name="connsiteY2" fmla="*/ 6607 h 13214"/>
                <a:gd name="connsiteX3" fmla="*/ 6607 w 13214"/>
                <a:gd name="connsiteY3" fmla="*/ 0 h 13214"/>
                <a:gd name="connsiteX4" fmla="*/ 13214 w 13214"/>
                <a:gd name="connsiteY4" fmla="*/ 6607 h 132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214" h="13214">
                  <a:moveTo>
                    <a:pt x="13214" y="6607"/>
                  </a:moveTo>
                  <a:cubicBezTo>
                    <a:pt x="13214" y="10265"/>
                    <a:pt x="10288" y="13214"/>
                    <a:pt x="6607" y="13214"/>
                  </a:cubicBezTo>
                  <a:cubicBezTo>
                    <a:pt x="2926" y="13214"/>
                    <a:pt x="0" y="10265"/>
                    <a:pt x="0" y="6607"/>
                  </a:cubicBezTo>
                  <a:cubicBezTo>
                    <a:pt x="0" y="2950"/>
                    <a:pt x="2973" y="0"/>
                    <a:pt x="6607" y="0"/>
                  </a:cubicBezTo>
                  <a:cubicBezTo>
                    <a:pt x="10241" y="0"/>
                    <a:pt x="13214" y="2950"/>
                    <a:pt x="13214" y="6607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76" name="Forma livre: Forma 475">
              <a:extLst>
                <a:ext uri="{FF2B5EF4-FFF2-40B4-BE49-F238E27FC236}">
                  <a16:creationId xmlns:a16="http://schemas.microsoft.com/office/drawing/2014/main" id="{A97C604D-DA85-55E8-245F-BAA7430AD8B2}"/>
                </a:ext>
              </a:extLst>
            </p:cNvPr>
            <p:cNvSpPr/>
            <p:nvPr/>
          </p:nvSpPr>
          <p:spPr>
            <a:xfrm>
              <a:off x="6088236" y="2368019"/>
              <a:ext cx="13214" cy="13214"/>
            </a:xfrm>
            <a:custGeom>
              <a:avLst/>
              <a:gdLst>
                <a:gd name="connsiteX0" fmla="*/ 13214 w 13214"/>
                <a:gd name="connsiteY0" fmla="*/ 6607 h 13214"/>
                <a:gd name="connsiteX1" fmla="*/ 6607 w 13214"/>
                <a:gd name="connsiteY1" fmla="*/ 13214 h 13214"/>
                <a:gd name="connsiteX2" fmla="*/ 0 w 13214"/>
                <a:gd name="connsiteY2" fmla="*/ 6607 h 13214"/>
                <a:gd name="connsiteX3" fmla="*/ 6607 w 13214"/>
                <a:gd name="connsiteY3" fmla="*/ 0 h 13214"/>
                <a:gd name="connsiteX4" fmla="*/ 13214 w 13214"/>
                <a:gd name="connsiteY4" fmla="*/ 6607 h 132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214" h="13214">
                  <a:moveTo>
                    <a:pt x="13214" y="6607"/>
                  </a:moveTo>
                  <a:cubicBezTo>
                    <a:pt x="13214" y="10265"/>
                    <a:pt x="10288" y="13214"/>
                    <a:pt x="6607" y="13214"/>
                  </a:cubicBezTo>
                  <a:cubicBezTo>
                    <a:pt x="2926" y="13214"/>
                    <a:pt x="0" y="10265"/>
                    <a:pt x="0" y="6607"/>
                  </a:cubicBezTo>
                  <a:cubicBezTo>
                    <a:pt x="0" y="2950"/>
                    <a:pt x="2973" y="0"/>
                    <a:pt x="6607" y="0"/>
                  </a:cubicBezTo>
                  <a:cubicBezTo>
                    <a:pt x="10241" y="0"/>
                    <a:pt x="13214" y="2950"/>
                    <a:pt x="13214" y="6607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77" name="Forma livre: Forma 476">
              <a:extLst>
                <a:ext uri="{FF2B5EF4-FFF2-40B4-BE49-F238E27FC236}">
                  <a16:creationId xmlns:a16="http://schemas.microsoft.com/office/drawing/2014/main" id="{5F1C05A0-401F-C71E-BAFB-C2AC6EE9A1F2}"/>
                </a:ext>
              </a:extLst>
            </p:cNvPr>
            <p:cNvSpPr/>
            <p:nvPr/>
          </p:nvSpPr>
          <p:spPr>
            <a:xfrm>
              <a:off x="6060060" y="2476345"/>
              <a:ext cx="23507" cy="14592"/>
            </a:xfrm>
            <a:custGeom>
              <a:avLst/>
              <a:gdLst>
                <a:gd name="connsiteX0" fmla="*/ 23292 w 23507"/>
                <a:gd name="connsiteY0" fmla="*/ 11735 h 14592"/>
                <a:gd name="connsiteX1" fmla="*/ 9558 w 23507"/>
                <a:gd name="connsiteY1" fmla="*/ 13079 h 14592"/>
                <a:gd name="connsiteX2" fmla="*/ 214 w 23507"/>
                <a:gd name="connsiteY2" fmla="*/ 2838 h 14592"/>
                <a:gd name="connsiteX3" fmla="*/ 13994 w 23507"/>
                <a:gd name="connsiteY3" fmla="*/ 1541 h 14592"/>
                <a:gd name="connsiteX4" fmla="*/ 23292 w 23507"/>
                <a:gd name="connsiteY4" fmla="*/ 11735 h 145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507" h="14592">
                  <a:moveTo>
                    <a:pt x="23292" y="11735"/>
                  </a:moveTo>
                  <a:cubicBezTo>
                    <a:pt x="22064" y="14944"/>
                    <a:pt x="15953" y="15534"/>
                    <a:pt x="9558" y="13079"/>
                  </a:cubicBezTo>
                  <a:cubicBezTo>
                    <a:pt x="3163" y="10625"/>
                    <a:pt x="-1013" y="6048"/>
                    <a:pt x="214" y="2838"/>
                  </a:cubicBezTo>
                  <a:cubicBezTo>
                    <a:pt x="1441" y="-371"/>
                    <a:pt x="7623" y="-937"/>
                    <a:pt x="13994" y="1541"/>
                  </a:cubicBezTo>
                  <a:cubicBezTo>
                    <a:pt x="20389" y="3995"/>
                    <a:pt x="24518" y="8549"/>
                    <a:pt x="23292" y="11735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78" name="Forma livre: Forma 477">
              <a:extLst>
                <a:ext uri="{FF2B5EF4-FFF2-40B4-BE49-F238E27FC236}">
                  <a16:creationId xmlns:a16="http://schemas.microsoft.com/office/drawing/2014/main" id="{6DB3B82F-A559-DFDB-53CE-4A3898297649}"/>
                </a:ext>
              </a:extLst>
            </p:cNvPr>
            <p:cNvSpPr/>
            <p:nvPr/>
          </p:nvSpPr>
          <p:spPr>
            <a:xfrm>
              <a:off x="6043544" y="2536335"/>
              <a:ext cx="13214" cy="13214"/>
            </a:xfrm>
            <a:custGeom>
              <a:avLst/>
              <a:gdLst>
                <a:gd name="connsiteX0" fmla="*/ 13214 w 13214"/>
                <a:gd name="connsiteY0" fmla="*/ 6607 h 13214"/>
                <a:gd name="connsiteX1" fmla="*/ 6607 w 13214"/>
                <a:gd name="connsiteY1" fmla="*/ 13214 h 13214"/>
                <a:gd name="connsiteX2" fmla="*/ 0 w 13214"/>
                <a:gd name="connsiteY2" fmla="*/ 6607 h 13214"/>
                <a:gd name="connsiteX3" fmla="*/ 6607 w 13214"/>
                <a:gd name="connsiteY3" fmla="*/ 0 h 13214"/>
                <a:gd name="connsiteX4" fmla="*/ 13214 w 13214"/>
                <a:gd name="connsiteY4" fmla="*/ 6607 h 132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214" h="13214">
                  <a:moveTo>
                    <a:pt x="13214" y="6607"/>
                  </a:moveTo>
                  <a:cubicBezTo>
                    <a:pt x="13214" y="10265"/>
                    <a:pt x="10288" y="13214"/>
                    <a:pt x="6607" y="13214"/>
                  </a:cubicBezTo>
                  <a:cubicBezTo>
                    <a:pt x="2926" y="13214"/>
                    <a:pt x="0" y="10265"/>
                    <a:pt x="0" y="6607"/>
                  </a:cubicBezTo>
                  <a:cubicBezTo>
                    <a:pt x="0" y="2950"/>
                    <a:pt x="2973" y="0"/>
                    <a:pt x="6607" y="0"/>
                  </a:cubicBezTo>
                  <a:cubicBezTo>
                    <a:pt x="10241" y="0"/>
                    <a:pt x="13214" y="2950"/>
                    <a:pt x="13214" y="6607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79" name="Forma livre: Forma 478">
              <a:extLst>
                <a:ext uri="{FF2B5EF4-FFF2-40B4-BE49-F238E27FC236}">
                  <a16:creationId xmlns:a16="http://schemas.microsoft.com/office/drawing/2014/main" id="{13982E50-279A-9CAF-2B3F-50107751619B}"/>
                </a:ext>
              </a:extLst>
            </p:cNvPr>
            <p:cNvSpPr/>
            <p:nvPr/>
          </p:nvSpPr>
          <p:spPr>
            <a:xfrm>
              <a:off x="6109614" y="2427790"/>
              <a:ext cx="13214" cy="13214"/>
            </a:xfrm>
            <a:custGeom>
              <a:avLst/>
              <a:gdLst>
                <a:gd name="connsiteX0" fmla="*/ 13214 w 13214"/>
                <a:gd name="connsiteY0" fmla="*/ 6607 h 13214"/>
                <a:gd name="connsiteX1" fmla="*/ 6607 w 13214"/>
                <a:gd name="connsiteY1" fmla="*/ 13214 h 13214"/>
                <a:gd name="connsiteX2" fmla="*/ 0 w 13214"/>
                <a:gd name="connsiteY2" fmla="*/ 6607 h 13214"/>
                <a:gd name="connsiteX3" fmla="*/ 6607 w 13214"/>
                <a:gd name="connsiteY3" fmla="*/ 0 h 13214"/>
                <a:gd name="connsiteX4" fmla="*/ 13214 w 13214"/>
                <a:gd name="connsiteY4" fmla="*/ 6607 h 132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214" h="13214">
                  <a:moveTo>
                    <a:pt x="13214" y="6607"/>
                  </a:moveTo>
                  <a:cubicBezTo>
                    <a:pt x="13214" y="10265"/>
                    <a:pt x="10288" y="13214"/>
                    <a:pt x="6607" y="13214"/>
                  </a:cubicBezTo>
                  <a:cubicBezTo>
                    <a:pt x="2926" y="13214"/>
                    <a:pt x="0" y="10265"/>
                    <a:pt x="0" y="6607"/>
                  </a:cubicBezTo>
                  <a:cubicBezTo>
                    <a:pt x="0" y="2950"/>
                    <a:pt x="2973" y="0"/>
                    <a:pt x="6607" y="0"/>
                  </a:cubicBezTo>
                  <a:cubicBezTo>
                    <a:pt x="10241" y="0"/>
                    <a:pt x="13214" y="2950"/>
                    <a:pt x="13214" y="6607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80" name="Forma livre: Forma 479">
              <a:extLst>
                <a:ext uri="{FF2B5EF4-FFF2-40B4-BE49-F238E27FC236}">
                  <a16:creationId xmlns:a16="http://schemas.microsoft.com/office/drawing/2014/main" id="{BF1761FC-5DAD-DEA3-65D0-618E6D8FCC34}"/>
                </a:ext>
              </a:extLst>
            </p:cNvPr>
            <p:cNvSpPr/>
            <p:nvPr/>
          </p:nvSpPr>
          <p:spPr>
            <a:xfrm>
              <a:off x="6215251" y="2307047"/>
              <a:ext cx="23420" cy="15308"/>
            </a:xfrm>
            <a:custGeom>
              <a:avLst/>
              <a:gdLst>
                <a:gd name="connsiteX0" fmla="*/ 950 w 23420"/>
                <a:gd name="connsiteY0" fmla="*/ 12929 h 15308"/>
                <a:gd name="connsiteX1" fmla="*/ 101 w 23420"/>
                <a:gd name="connsiteY1" fmla="*/ 11419 h 15308"/>
                <a:gd name="connsiteX2" fmla="*/ 9988 w 23420"/>
                <a:gd name="connsiteY2" fmla="*/ 895 h 15308"/>
                <a:gd name="connsiteX3" fmla="*/ 22470 w 23420"/>
                <a:gd name="connsiteY3" fmla="*/ 2381 h 15308"/>
                <a:gd name="connsiteX4" fmla="*/ 23320 w 23420"/>
                <a:gd name="connsiteY4" fmla="*/ 3868 h 15308"/>
                <a:gd name="connsiteX5" fmla="*/ 13409 w 23420"/>
                <a:gd name="connsiteY5" fmla="*/ 14392 h 15308"/>
                <a:gd name="connsiteX6" fmla="*/ 950 w 23420"/>
                <a:gd name="connsiteY6" fmla="*/ 12929 h 153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3420" h="15308">
                  <a:moveTo>
                    <a:pt x="950" y="12929"/>
                  </a:moveTo>
                  <a:cubicBezTo>
                    <a:pt x="502" y="12457"/>
                    <a:pt x="242" y="11962"/>
                    <a:pt x="101" y="11419"/>
                  </a:cubicBezTo>
                  <a:cubicBezTo>
                    <a:pt x="-702" y="8233"/>
                    <a:pt x="3357" y="3066"/>
                    <a:pt x="9988" y="895"/>
                  </a:cubicBezTo>
                  <a:cubicBezTo>
                    <a:pt x="15627" y="-922"/>
                    <a:pt x="20559" y="258"/>
                    <a:pt x="22470" y="2381"/>
                  </a:cubicBezTo>
                  <a:cubicBezTo>
                    <a:pt x="22895" y="2830"/>
                    <a:pt x="23178" y="3302"/>
                    <a:pt x="23320" y="3868"/>
                  </a:cubicBezTo>
                  <a:cubicBezTo>
                    <a:pt x="24122" y="7054"/>
                    <a:pt x="20063" y="12221"/>
                    <a:pt x="13409" y="14392"/>
                  </a:cubicBezTo>
                  <a:cubicBezTo>
                    <a:pt x="7770" y="16256"/>
                    <a:pt x="2838" y="15029"/>
                    <a:pt x="950" y="12929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81" name="Forma livre: Forma 480">
              <a:extLst>
                <a:ext uri="{FF2B5EF4-FFF2-40B4-BE49-F238E27FC236}">
                  <a16:creationId xmlns:a16="http://schemas.microsoft.com/office/drawing/2014/main" id="{DD70102A-AA00-606A-7BAA-3DA4EBDCC9C2}"/>
                </a:ext>
              </a:extLst>
            </p:cNvPr>
            <p:cNvSpPr/>
            <p:nvPr/>
          </p:nvSpPr>
          <p:spPr>
            <a:xfrm>
              <a:off x="6082384" y="2127162"/>
              <a:ext cx="259942" cy="260016"/>
            </a:xfrm>
            <a:custGeom>
              <a:avLst/>
              <a:gdLst>
                <a:gd name="connsiteX0" fmla="*/ 0 w 259942"/>
                <a:gd name="connsiteY0" fmla="*/ 125186 h 260016"/>
                <a:gd name="connsiteX1" fmla="*/ 114185 w 259942"/>
                <a:gd name="connsiteY1" fmla="*/ 973 h 260016"/>
                <a:gd name="connsiteX2" fmla="*/ 258974 w 259942"/>
                <a:gd name="connsiteY2" fmla="*/ 114261 h 260016"/>
                <a:gd name="connsiteX3" fmla="*/ 145686 w 259942"/>
                <a:gd name="connsiteY3" fmla="*/ 259050 h 260016"/>
                <a:gd name="connsiteX4" fmla="*/ 122703 w 259942"/>
                <a:gd name="connsiteY4" fmla="*/ 259829 h 2600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9942" h="260016">
                  <a:moveTo>
                    <a:pt x="0" y="125186"/>
                  </a:moveTo>
                  <a:cubicBezTo>
                    <a:pt x="2242" y="62395"/>
                    <a:pt x="49836" y="8807"/>
                    <a:pt x="114185" y="973"/>
                  </a:cubicBezTo>
                  <a:cubicBezTo>
                    <a:pt x="185470" y="-7734"/>
                    <a:pt x="250291" y="42975"/>
                    <a:pt x="258974" y="114261"/>
                  </a:cubicBezTo>
                  <a:cubicBezTo>
                    <a:pt x="267658" y="185523"/>
                    <a:pt x="216948" y="250343"/>
                    <a:pt x="145686" y="259050"/>
                  </a:cubicBezTo>
                  <a:cubicBezTo>
                    <a:pt x="137923" y="259994"/>
                    <a:pt x="130254" y="260230"/>
                    <a:pt x="122703" y="259829"/>
                  </a:cubicBez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82" name="Forma livre: Forma 481">
              <a:extLst>
                <a:ext uri="{FF2B5EF4-FFF2-40B4-BE49-F238E27FC236}">
                  <a16:creationId xmlns:a16="http://schemas.microsoft.com/office/drawing/2014/main" id="{B31ACB31-B2EA-9A5B-1A9A-1FA49F8B35C5}"/>
                </a:ext>
              </a:extLst>
            </p:cNvPr>
            <p:cNvSpPr/>
            <p:nvPr/>
          </p:nvSpPr>
          <p:spPr>
            <a:xfrm>
              <a:off x="6188168" y="2059492"/>
              <a:ext cx="8046" cy="65693"/>
            </a:xfrm>
            <a:custGeom>
              <a:avLst/>
              <a:gdLst>
                <a:gd name="connsiteX0" fmla="*/ 0 w 8046"/>
                <a:gd name="connsiteY0" fmla="*/ 0 h 65693"/>
                <a:gd name="connsiteX1" fmla="*/ 8046 w 8046"/>
                <a:gd name="connsiteY1" fmla="*/ 65693 h 656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046" h="65693">
                  <a:moveTo>
                    <a:pt x="0" y="0"/>
                  </a:moveTo>
                  <a:lnTo>
                    <a:pt x="8046" y="65693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83" name="Forma livre: Forma 482">
              <a:extLst>
                <a:ext uri="{FF2B5EF4-FFF2-40B4-BE49-F238E27FC236}">
                  <a16:creationId xmlns:a16="http://schemas.microsoft.com/office/drawing/2014/main" id="{68552DF9-E734-E3CF-FA23-6C6ED853B185}"/>
                </a:ext>
              </a:extLst>
            </p:cNvPr>
            <p:cNvSpPr/>
            <p:nvPr/>
          </p:nvSpPr>
          <p:spPr>
            <a:xfrm>
              <a:off x="6344284" y="2233023"/>
              <a:ext cx="65669" cy="8046"/>
            </a:xfrm>
            <a:custGeom>
              <a:avLst/>
              <a:gdLst>
                <a:gd name="connsiteX0" fmla="*/ 65670 w 65669"/>
                <a:gd name="connsiteY0" fmla="*/ 0 h 8046"/>
                <a:gd name="connsiteX1" fmla="*/ 0 w 65669"/>
                <a:gd name="connsiteY1" fmla="*/ 8046 h 8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5669" h="8046">
                  <a:moveTo>
                    <a:pt x="65670" y="0"/>
                  </a:moveTo>
                  <a:lnTo>
                    <a:pt x="0" y="8046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84" name="Forma livre: Forma 483">
              <a:extLst>
                <a:ext uri="{FF2B5EF4-FFF2-40B4-BE49-F238E27FC236}">
                  <a16:creationId xmlns:a16="http://schemas.microsoft.com/office/drawing/2014/main" id="{59E7442F-8DB0-F2D4-2CB4-79CEB421E45B}"/>
                </a:ext>
              </a:extLst>
            </p:cNvPr>
            <p:cNvSpPr/>
            <p:nvPr/>
          </p:nvSpPr>
          <p:spPr>
            <a:xfrm>
              <a:off x="6294259" y="2100362"/>
              <a:ext cx="40751" cy="52077"/>
            </a:xfrm>
            <a:custGeom>
              <a:avLst/>
              <a:gdLst>
                <a:gd name="connsiteX0" fmla="*/ 40752 w 40751"/>
                <a:gd name="connsiteY0" fmla="*/ 0 h 52077"/>
                <a:gd name="connsiteX1" fmla="*/ 0 w 40751"/>
                <a:gd name="connsiteY1" fmla="*/ 52078 h 520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0751" h="52077">
                  <a:moveTo>
                    <a:pt x="40752" y="0"/>
                  </a:moveTo>
                  <a:lnTo>
                    <a:pt x="0" y="52078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485" name="Gráfico 4">
              <a:extLst>
                <a:ext uri="{FF2B5EF4-FFF2-40B4-BE49-F238E27FC236}">
                  <a16:creationId xmlns:a16="http://schemas.microsoft.com/office/drawing/2014/main" id="{3D0F048D-648B-5DC0-A516-614FAD2AA89E}"/>
                </a:ext>
              </a:extLst>
            </p:cNvPr>
            <p:cNvGrpSpPr/>
            <p:nvPr/>
          </p:nvGrpSpPr>
          <p:grpSpPr>
            <a:xfrm>
              <a:off x="6055507" y="2134435"/>
              <a:ext cx="313600" cy="245429"/>
              <a:chOff x="6055507" y="2134435"/>
              <a:chExt cx="313600" cy="245429"/>
            </a:xfrm>
          </p:grpSpPr>
          <p:sp>
            <p:nvSpPr>
              <p:cNvPr id="486" name="Forma livre: Forma 485">
                <a:extLst>
                  <a:ext uri="{FF2B5EF4-FFF2-40B4-BE49-F238E27FC236}">
                    <a16:creationId xmlns:a16="http://schemas.microsoft.com/office/drawing/2014/main" id="{2C1907DD-F154-6697-85D9-E0A819C6502E}"/>
                  </a:ext>
                </a:extLst>
              </p:cNvPr>
              <p:cNvSpPr/>
              <p:nvPr/>
            </p:nvSpPr>
            <p:spPr>
              <a:xfrm>
                <a:off x="6055507" y="2134435"/>
                <a:ext cx="52077" cy="40798"/>
              </a:xfrm>
              <a:custGeom>
                <a:avLst/>
                <a:gdLst>
                  <a:gd name="connsiteX0" fmla="*/ 0 w 52077"/>
                  <a:gd name="connsiteY0" fmla="*/ 0 h 40798"/>
                  <a:gd name="connsiteX1" fmla="*/ 52078 w 52077"/>
                  <a:gd name="connsiteY1" fmla="*/ 40799 h 407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2077" h="40798">
                    <a:moveTo>
                      <a:pt x="0" y="0"/>
                    </a:moveTo>
                    <a:lnTo>
                      <a:pt x="52078" y="40799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87" name="Forma livre: Forma 486">
                <a:extLst>
                  <a:ext uri="{FF2B5EF4-FFF2-40B4-BE49-F238E27FC236}">
                    <a16:creationId xmlns:a16="http://schemas.microsoft.com/office/drawing/2014/main" id="{C256EA17-6BAB-BAFF-3F6C-B3B2D0E51447}"/>
                  </a:ext>
                </a:extLst>
              </p:cNvPr>
              <p:cNvSpPr/>
              <p:nvPr/>
            </p:nvSpPr>
            <p:spPr>
              <a:xfrm>
                <a:off x="6317030" y="2339090"/>
                <a:ext cx="52077" cy="40775"/>
              </a:xfrm>
              <a:custGeom>
                <a:avLst/>
                <a:gdLst>
                  <a:gd name="connsiteX0" fmla="*/ 0 w 52077"/>
                  <a:gd name="connsiteY0" fmla="*/ 0 h 40775"/>
                  <a:gd name="connsiteX1" fmla="*/ 52078 w 52077"/>
                  <a:gd name="connsiteY1" fmla="*/ 40775 h 407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2077" h="40775">
                    <a:moveTo>
                      <a:pt x="0" y="0"/>
                    </a:moveTo>
                    <a:lnTo>
                      <a:pt x="52078" y="40775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488" name="Forma livre: Forma 487">
              <a:extLst>
                <a:ext uri="{FF2B5EF4-FFF2-40B4-BE49-F238E27FC236}">
                  <a16:creationId xmlns:a16="http://schemas.microsoft.com/office/drawing/2014/main" id="{08569F59-3F4E-8A9B-0FCF-6A9F16D78FA1}"/>
                </a:ext>
              </a:extLst>
            </p:cNvPr>
            <p:cNvSpPr/>
            <p:nvPr/>
          </p:nvSpPr>
          <p:spPr>
            <a:xfrm>
              <a:off x="6232892" y="2188550"/>
              <a:ext cx="10579" cy="10603"/>
            </a:xfrm>
            <a:custGeom>
              <a:avLst/>
              <a:gdLst>
                <a:gd name="connsiteX0" fmla="*/ 10540 w 10579"/>
                <a:gd name="connsiteY0" fmla="*/ 4688 h 10603"/>
                <a:gd name="connsiteX1" fmla="*/ 5939 w 10579"/>
                <a:gd name="connsiteY1" fmla="*/ 10564 h 10603"/>
                <a:gd name="connsiteX2" fmla="*/ 39 w 10579"/>
                <a:gd name="connsiteY2" fmla="*/ 5939 h 10603"/>
                <a:gd name="connsiteX3" fmla="*/ 4641 w 10579"/>
                <a:gd name="connsiteY3" fmla="*/ 40 h 10603"/>
                <a:gd name="connsiteX4" fmla="*/ 10516 w 10579"/>
                <a:gd name="connsiteY4" fmla="*/ 4665 h 106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579" h="10603">
                  <a:moveTo>
                    <a:pt x="10540" y="4688"/>
                  </a:moveTo>
                  <a:cubicBezTo>
                    <a:pt x="10894" y="7591"/>
                    <a:pt x="8864" y="10210"/>
                    <a:pt x="5939" y="10564"/>
                  </a:cubicBezTo>
                  <a:cubicBezTo>
                    <a:pt x="3036" y="10918"/>
                    <a:pt x="417" y="8865"/>
                    <a:pt x="39" y="5939"/>
                  </a:cubicBezTo>
                  <a:cubicBezTo>
                    <a:pt x="-315" y="3036"/>
                    <a:pt x="1762" y="417"/>
                    <a:pt x="4641" y="40"/>
                  </a:cubicBezTo>
                  <a:cubicBezTo>
                    <a:pt x="7567" y="-314"/>
                    <a:pt x="10162" y="1739"/>
                    <a:pt x="10516" y="4665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89" name="Forma livre: Forma 488">
              <a:extLst>
                <a:ext uri="{FF2B5EF4-FFF2-40B4-BE49-F238E27FC236}">
                  <a16:creationId xmlns:a16="http://schemas.microsoft.com/office/drawing/2014/main" id="{654D1A69-6F8C-A3F9-6920-2B71FEBE4249}"/>
                </a:ext>
              </a:extLst>
            </p:cNvPr>
            <p:cNvSpPr/>
            <p:nvPr/>
          </p:nvSpPr>
          <p:spPr>
            <a:xfrm>
              <a:off x="6155164" y="2210184"/>
              <a:ext cx="10579" cy="10584"/>
            </a:xfrm>
            <a:custGeom>
              <a:avLst/>
              <a:gdLst>
                <a:gd name="connsiteX0" fmla="*/ 10540 w 10579"/>
                <a:gd name="connsiteY0" fmla="*/ 4646 h 10584"/>
                <a:gd name="connsiteX1" fmla="*/ 5939 w 10579"/>
                <a:gd name="connsiteY1" fmla="*/ 10545 h 10584"/>
                <a:gd name="connsiteX2" fmla="*/ 39 w 10579"/>
                <a:gd name="connsiteY2" fmla="*/ 5944 h 10584"/>
                <a:gd name="connsiteX3" fmla="*/ 4641 w 10579"/>
                <a:gd name="connsiteY3" fmla="*/ 44 h 10584"/>
                <a:gd name="connsiteX4" fmla="*/ 10540 w 10579"/>
                <a:gd name="connsiteY4" fmla="*/ 4646 h 105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579" h="10584">
                  <a:moveTo>
                    <a:pt x="10540" y="4646"/>
                  </a:moveTo>
                  <a:cubicBezTo>
                    <a:pt x="10894" y="7548"/>
                    <a:pt x="8841" y="10167"/>
                    <a:pt x="5939" y="10545"/>
                  </a:cubicBezTo>
                  <a:cubicBezTo>
                    <a:pt x="3036" y="10899"/>
                    <a:pt x="417" y="8846"/>
                    <a:pt x="39" y="5944"/>
                  </a:cubicBezTo>
                  <a:cubicBezTo>
                    <a:pt x="-315" y="3017"/>
                    <a:pt x="1762" y="398"/>
                    <a:pt x="4641" y="44"/>
                  </a:cubicBezTo>
                  <a:cubicBezTo>
                    <a:pt x="7567" y="-333"/>
                    <a:pt x="10186" y="1743"/>
                    <a:pt x="10540" y="4646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90" name="Forma livre: Forma 489">
              <a:extLst>
                <a:ext uri="{FF2B5EF4-FFF2-40B4-BE49-F238E27FC236}">
                  <a16:creationId xmlns:a16="http://schemas.microsoft.com/office/drawing/2014/main" id="{1ACE4EEB-361C-AB96-6D82-97AD35FCADDA}"/>
                </a:ext>
              </a:extLst>
            </p:cNvPr>
            <p:cNvSpPr/>
            <p:nvPr/>
          </p:nvSpPr>
          <p:spPr>
            <a:xfrm>
              <a:off x="6260990" y="2244408"/>
              <a:ext cx="19766" cy="10774"/>
            </a:xfrm>
            <a:custGeom>
              <a:avLst/>
              <a:gdLst>
                <a:gd name="connsiteX0" fmla="*/ 19748 w 19766"/>
                <a:gd name="connsiteY0" fmla="*/ 4188 h 10774"/>
                <a:gd name="connsiteX1" fmla="*/ 10522 w 19766"/>
                <a:gd name="connsiteY1" fmla="*/ 10630 h 10774"/>
                <a:gd name="connsiteX2" fmla="*/ 21 w 19766"/>
                <a:gd name="connsiteY2" fmla="*/ 6595 h 10774"/>
                <a:gd name="connsiteX3" fmla="*/ 9248 w 19766"/>
                <a:gd name="connsiteY3" fmla="*/ 130 h 10774"/>
                <a:gd name="connsiteX4" fmla="*/ 19748 w 19766"/>
                <a:gd name="connsiteY4" fmla="*/ 4165 h 107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766" h="10774">
                  <a:moveTo>
                    <a:pt x="19748" y="4188"/>
                  </a:moveTo>
                  <a:cubicBezTo>
                    <a:pt x="20078" y="7114"/>
                    <a:pt x="15949" y="9993"/>
                    <a:pt x="10522" y="10630"/>
                  </a:cubicBezTo>
                  <a:cubicBezTo>
                    <a:pt x="5047" y="11314"/>
                    <a:pt x="375" y="9497"/>
                    <a:pt x="21" y="6595"/>
                  </a:cubicBezTo>
                  <a:cubicBezTo>
                    <a:pt x="-333" y="3693"/>
                    <a:pt x="3797" y="814"/>
                    <a:pt x="9248" y="130"/>
                  </a:cubicBezTo>
                  <a:cubicBezTo>
                    <a:pt x="14698" y="-508"/>
                    <a:pt x="19370" y="1262"/>
                    <a:pt x="19748" y="4165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491" name="Gráfico 4">
            <a:extLst>
              <a:ext uri="{FF2B5EF4-FFF2-40B4-BE49-F238E27FC236}">
                <a16:creationId xmlns:a16="http://schemas.microsoft.com/office/drawing/2014/main" id="{B4619019-98D4-BCE6-7063-18F9417327F7}"/>
              </a:ext>
            </a:extLst>
          </p:cNvPr>
          <p:cNvGrpSpPr/>
          <p:nvPr/>
        </p:nvGrpSpPr>
        <p:grpSpPr>
          <a:xfrm>
            <a:off x="4560038" y="2063622"/>
            <a:ext cx="600067" cy="624017"/>
            <a:chOff x="4560038" y="2063622"/>
            <a:chExt cx="600067" cy="624017"/>
          </a:xfrm>
        </p:grpSpPr>
        <p:grpSp>
          <p:nvGrpSpPr>
            <p:cNvPr id="492" name="Gráfico 4">
              <a:extLst>
                <a:ext uri="{FF2B5EF4-FFF2-40B4-BE49-F238E27FC236}">
                  <a16:creationId xmlns:a16="http://schemas.microsoft.com/office/drawing/2014/main" id="{32CFA7C9-88A7-43B2-9408-FE3416324B94}"/>
                </a:ext>
              </a:extLst>
            </p:cNvPr>
            <p:cNvGrpSpPr/>
            <p:nvPr/>
          </p:nvGrpSpPr>
          <p:grpSpPr>
            <a:xfrm>
              <a:off x="4689870" y="2239110"/>
              <a:ext cx="345102" cy="345078"/>
              <a:chOff x="4689870" y="2239110"/>
              <a:chExt cx="345102" cy="345078"/>
            </a:xfrm>
            <a:noFill/>
          </p:grpSpPr>
          <p:sp>
            <p:nvSpPr>
              <p:cNvPr id="493" name="Forma livre: Forma 492">
                <a:extLst>
                  <a:ext uri="{FF2B5EF4-FFF2-40B4-BE49-F238E27FC236}">
                    <a16:creationId xmlns:a16="http://schemas.microsoft.com/office/drawing/2014/main" id="{C21BDFC8-140C-E5E6-CE13-538BE1E10803}"/>
                  </a:ext>
                </a:extLst>
              </p:cNvPr>
              <p:cNvSpPr/>
              <p:nvPr/>
            </p:nvSpPr>
            <p:spPr>
              <a:xfrm>
                <a:off x="4705656" y="2239110"/>
                <a:ext cx="180019" cy="277261"/>
              </a:xfrm>
              <a:custGeom>
                <a:avLst/>
                <a:gdLst>
                  <a:gd name="connsiteX0" fmla="*/ 92452 w 180019"/>
                  <a:gd name="connsiteY0" fmla="*/ 13427 h 277261"/>
                  <a:gd name="connsiteX1" fmla="*/ 94434 w 180019"/>
                  <a:gd name="connsiteY1" fmla="*/ 82942 h 277261"/>
                  <a:gd name="connsiteX2" fmla="*/ 45683 w 180019"/>
                  <a:gd name="connsiteY2" fmla="*/ 116096 h 277261"/>
                  <a:gd name="connsiteX3" fmla="*/ 49577 w 180019"/>
                  <a:gd name="connsiteY3" fmla="*/ 147291 h 277261"/>
                  <a:gd name="connsiteX4" fmla="*/ 87591 w 180019"/>
                  <a:gd name="connsiteY4" fmla="*/ 144365 h 277261"/>
                  <a:gd name="connsiteX5" fmla="*/ 146087 w 180019"/>
                  <a:gd name="connsiteY5" fmla="*/ 174569 h 277261"/>
                  <a:gd name="connsiteX6" fmla="*/ 89880 w 180019"/>
                  <a:gd name="connsiteY6" fmla="*/ 277262 h 277261"/>
                  <a:gd name="connsiteX7" fmla="*/ 70035 w 180019"/>
                  <a:gd name="connsiteY7" fmla="*/ 207698 h 277261"/>
                  <a:gd name="connsiteX8" fmla="*/ 41766 w 180019"/>
                  <a:gd name="connsiteY8" fmla="*/ 191134 h 277261"/>
                  <a:gd name="connsiteX9" fmla="*/ 49553 w 180019"/>
                  <a:gd name="connsiteY9" fmla="*/ 150193 h 277261"/>
                  <a:gd name="connsiteX10" fmla="*/ 0 w 180019"/>
                  <a:gd name="connsiteY10" fmla="*/ 100215 h 277261"/>
                  <a:gd name="connsiteX11" fmla="*/ 156682 w 180019"/>
                  <a:gd name="connsiteY11" fmla="*/ 0 h 277261"/>
                  <a:gd name="connsiteX12" fmla="*/ 180019 w 180019"/>
                  <a:gd name="connsiteY12" fmla="*/ 1557 h 2772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80019" h="277261">
                    <a:moveTo>
                      <a:pt x="92452" y="13427"/>
                    </a:moveTo>
                    <a:lnTo>
                      <a:pt x="94434" y="82942"/>
                    </a:lnTo>
                    <a:lnTo>
                      <a:pt x="45683" y="116096"/>
                    </a:lnTo>
                    <a:lnTo>
                      <a:pt x="49577" y="147291"/>
                    </a:lnTo>
                    <a:lnTo>
                      <a:pt x="87591" y="144365"/>
                    </a:lnTo>
                    <a:lnTo>
                      <a:pt x="146087" y="174569"/>
                    </a:lnTo>
                    <a:lnTo>
                      <a:pt x="89880" y="277262"/>
                    </a:lnTo>
                    <a:lnTo>
                      <a:pt x="70035" y="207698"/>
                    </a:lnTo>
                    <a:lnTo>
                      <a:pt x="41766" y="191134"/>
                    </a:lnTo>
                    <a:lnTo>
                      <a:pt x="49553" y="150193"/>
                    </a:lnTo>
                    <a:lnTo>
                      <a:pt x="0" y="100215"/>
                    </a:lnTo>
                    <a:cubicBezTo>
                      <a:pt x="27325" y="41035"/>
                      <a:pt x="87214" y="0"/>
                      <a:pt x="156682" y="0"/>
                    </a:cubicBezTo>
                    <a:cubicBezTo>
                      <a:pt x="164611" y="0"/>
                      <a:pt x="172374" y="495"/>
                      <a:pt x="180019" y="1557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94" name="Forma livre: Forma 493">
                <a:extLst>
                  <a:ext uri="{FF2B5EF4-FFF2-40B4-BE49-F238E27FC236}">
                    <a16:creationId xmlns:a16="http://schemas.microsoft.com/office/drawing/2014/main" id="{3492C6D8-4614-CC2E-5473-F66A1C0F5574}"/>
                  </a:ext>
                </a:extLst>
              </p:cNvPr>
              <p:cNvSpPr/>
              <p:nvPr/>
            </p:nvSpPr>
            <p:spPr>
              <a:xfrm>
                <a:off x="4689870" y="2254543"/>
                <a:ext cx="345102" cy="329646"/>
              </a:xfrm>
              <a:custGeom>
                <a:avLst/>
                <a:gdLst>
                  <a:gd name="connsiteX0" fmla="*/ 259116 w 345102"/>
                  <a:gd name="connsiteY0" fmla="*/ 60266 h 329646"/>
                  <a:gd name="connsiteX1" fmla="*/ 234103 w 345102"/>
                  <a:gd name="connsiteY1" fmla="*/ 61823 h 329646"/>
                  <a:gd name="connsiteX2" fmla="*/ 222635 w 345102"/>
                  <a:gd name="connsiteY2" fmla="*/ 50639 h 329646"/>
                  <a:gd name="connsiteX3" fmla="*/ 243919 w 345102"/>
                  <a:gd name="connsiteY3" fmla="*/ 0 h 329646"/>
                  <a:gd name="connsiteX4" fmla="*/ 345102 w 345102"/>
                  <a:gd name="connsiteY4" fmla="*/ 157131 h 329646"/>
                  <a:gd name="connsiteX5" fmla="*/ 172516 w 345102"/>
                  <a:gd name="connsiteY5" fmla="*/ 329646 h 329646"/>
                  <a:gd name="connsiteX6" fmla="*/ 0 w 345102"/>
                  <a:gd name="connsiteY6" fmla="*/ 157131 h 329646"/>
                  <a:gd name="connsiteX7" fmla="*/ 1463 w 345102"/>
                  <a:gd name="connsiteY7" fmla="*/ 134478 h 3296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45102" h="329646">
                    <a:moveTo>
                      <a:pt x="259116" y="60266"/>
                    </a:moveTo>
                    <a:lnTo>
                      <a:pt x="234103" y="61823"/>
                    </a:lnTo>
                    <a:lnTo>
                      <a:pt x="222635" y="50639"/>
                    </a:lnTo>
                    <a:lnTo>
                      <a:pt x="243919" y="0"/>
                    </a:lnTo>
                    <a:cubicBezTo>
                      <a:pt x="303619" y="27136"/>
                      <a:pt x="345102" y="87284"/>
                      <a:pt x="345102" y="157131"/>
                    </a:cubicBezTo>
                    <a:cubicBezTo>
                      <a:pt x="345102" y="252391"/>
                      <a:pt x="267870" y="329646"/>
                      <a:pt x="172516" y="329646"/>
                    </a:cubicBezTo>
                    <a:cubicBezTo>
                      <a:pt x="77161" y="329646"/>
                      <a:pt x="0" y="252391"/>
                      <a:pt x="0" y="157131"/>
                    </a:cubicBezTo>
                    <a:cubicBezTo>
                      <a:pt x="0" y="149462"/>
                      <a:pt x="496" y="141887"/>
                      <a:pt x="1463" y="134478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95" name="Forma livre: Forma 494">
                <a:extLst>
                  <a:ext uri="{FF2B5EF4-FFF2-40B4-BE49-F238E27FC236}">
                    <a16:creationId xmlns:a16="http://schemas.microsoft.com/office/drawing/2014/main" id="{7BFF822D-DA2A-98C0-966A-5C17B863FC96}"/>
                  </a:ext>
                </a:extLst>
              </p:cNvPr>
              <p:cNvSpPr/>
              <p:nvPr/>
            </p:nvSpPr>
            <p:spPr>
              <a:xfrm>
                <a:off x="4907509" y="2312827"/>
                <a:ext cx="121516" cy="168669"/>
              </a:xfrm>
              <a:custGeom>
                <a:avLst/>
                <a:gdLst>
                  <a:gd name="connsiteX0" fmla="*/ 121516 w 121516"/>
                  <a:gd name="connsiteY0" fmla="*/ 56467 h 168669"/>
                  <a:gd name="connsiteX1" fmla="*/ 74394 w 121516"/>
                  <a:gd name="connsiteY1" fmla="*/ 142902 h 168669"/>
                  <a:gd name="connsiteX2" fmla="*/ 55752 w 121516"/>
                  <a:gd name="connsiteY2" fmla="*/ 168669 h 168669"/>
                  <a:gd name="connsiteX3" fmla="*/ 41311 w 121516"/>
                  <a:gd name="connsiteY3" fmla="*/ 97195 h 168669"/>
                  <a:gd name="connsiteX4" fmla="*/ 23401 w 121516"/>
                  <a:gd name="connsiteY4" fmla="*/ 96180 h 168669"/>
                  <a:gd name="connsiteX5" fmla="*/ 16582 w 121516"/>
                  <a:gd name="connsiteY5" fmla="*/ 44551 h 168669"/>
                  <a:gd name="connsiteX6" fmla="*/ 66300 w 121516"/>
                  <a:gd name="connsiteY6" fmla="*/ 38675 h 168669"/>
                  <a:gd name="connsiteX7" fmla="*/ 85791 w 121516"/>
                  <a:gd name="connsiteY7" fmla="*/ 0 h 1686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21516" h="168669">
                    <a:moveTo>
                      <a:pt x="121516" y="56467"/>
                    </a:moveTo>
                    <a:lnTo>
                      <a:pt x="74394" y="142902"/>
                    </a:lnTo>
                    <a:lnTo>
                      <a:pt x="55752" y="168669"/>
                    </a:lnTo>
                    <a:lnTo>
                      <a:pt x="41311" y="97195"/>
                    </a:lnTo>
                    <a:lnTo>
                      <a:pt x="23401" y="96180"/>
                    </a:lnTo>
                    <a:cubicBezTo>
                      <a:pt x="23401" y="96180"/>
                      <a:pt x="-24359" y="78648"/>
                      <a:pt x="16582" y="44551"/>
                    </a:cubicBezTo>
                    <a:lnTo>
                      <a:pt x="66300" y="38675"/>
                    </a:lnTo>
                    <a:lnTo>
                      <a:pt x="85791" y="0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496" name="Forma livre: Forma 495">
              <a:extLst>
                <a:ext uri="{FF2B5EF4-FFF2-40B4-BE49-F238E27FC236}">
                  <a16:creationId xmlns:a16="http://schemas.microsoft.com/office/drawing/2014/main" id="{E94C9380-E8B0-B665-EDF3-8EE1136B38EF}"/>
                </a:ext>
              </a:extLst>
            </p:cNvPr>
            <p:cNvSpPr/>
            <p:nvPr/>
          </p:nvSpPr>
          <p:spPr>
            <a:xfrm>
              <a:off x="4748956" y="2117870"/>
              <a:ext cx="333539" cy="102574"/>
            </a:xfrm>
            <a:custGeom>
              <a:avLst/>
              <a:gdLst>
                <a:gd name="connsiteX0" fmla="*/ 333540 w 333539"/>
                <a:gd name="connsiteY0" fmla="*/ 102575 h 102574"/>
                <a:gd name="connsiteX1" fmla="*/ 223225 w 333539"/>
                <a:gd name="connsiteY1" fmla="*/ 0 h 102574"/>
                <a:gd name="connsiteX2" fmla="*/ 132590 w 333539"/>
                <a:gd name="connsiteY2" fmla="*/ 47335 h 102574"/>
                <a:gd name="connsiteX3" fmla="*/ 67321 w 333539"/>
                <a:gd name="connsiteY3" fmla="*/ 0 h 102574"/>
                <a:gd name="connsiteX4" fmla="*/ 0 w 333539"/>
                <a:gd name="connsiteY4" fmla="*/ 55004 h 1025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3539" h="102574">
                  <a:moveTo>
                    <a:pt x="333540" y="102575"/>
                  </a:moveTo>
                  <a:cubicBezTo>
                    <a:pt x="329458" y="45235"/>
                    <a:pt x="281627" y="0"/>
                    <a:pt x="223225" y="0"/>
                  </a:cubicBezTo>
                  <a:cubicBezTo>
                    <a:pt x="185683" y="0"/>
                    <a:pt x="152576" y="18736"/>
                    <a:pt x="132590" y="47335"/>
                  </a:cubicBezTo>
                  <a:cubicBezTo>
                    <a:pt x="123623" y="19845"/>
                    <a:pt x="97808" y="0"/>
                    <a:pt x="67321" y="0"/>
                  </a:cubicBezTo>
                  <a:cubicBezTo>
                    <a:pt x="34074" y="0"/>
                    <a:pt x="6324" y="23620"/>
                    <a:pt x="0" y="55004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97" name="Forma livre: Forma 496">
              <a:extLst>
                <a:ext uri="{FF2B5EF4-FFF2-40B4-BE49-F238E27FC236}">
                  <a16:creationId xmlns:a16="http://schemas.microsoft.com/office/drawing/2014/main" id="{37683DBD-7DB0-FCD3-96E3-81CA3988AB86}"/>
                </a:ext>
              </a:extLst>
            </p:cNvPr>
            <p:cNvSpPr/>
            <p:nvPr/>
          </p:nvSpPr>
          <p:spPr>
            <a:xfrm>
              <a:off x="4693034" y="2569819"/>
              <a:ext cx="170814" cy="117820"/>
            </a:xfrm>
            <a:custGeom>
              <a:avLst/>
              <a:gdLst>
                <a:gd name="connsiteX0" fmla="*/ 3443 w 170814"/>
                <a:gd name="connsiteY0" fmla="*/ 0 h 117820"/>
                <a:gd name="connsiteX1" fmla="*/ 69 w 170814"/>
                <a:gd name="connsiteY1" fmla="*/ 28694 h 117820"/>
                <a:gd name="connsiteX2" fmla="*/ 96367 w 170814"/>
                <a:gd name="connsiteY2" fmla="*/ 117748 h 117820"/>
                <a:gd name="connsiteX3" fmla="*/ 170815 w 170814"/>
                <a:gd name="connsiteY3" fmla="*/ 75132 h 1178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0814" h="117820">
                  <a:moveTo>
                    <a:pt x="3443" y="0"/>
                  </a:moveTo>
                  <a:cubicBezTo>
                    <a:pt x="871" y="9085"/>
                    <a:pt x="-309" y="18736"/>
                    <a:pt x="69" y="28694"/>
                  </a:cubicBezTo>
                  <a:cubicBezTo>
                    <a:pt x="2051" y="79875"/>
                    <a:pt x="45162" y="119753"/>
                    <a:pt x="96367" y="117748"/>
                  </a:cubicBezTo>
                  <a:cubicBezTo>
                    <a:pt x="127845" y="116521"/>
                    <a:pt x="154981" y="99743"/>
                    <a:pt x="170815" y="75132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98" name="Forma livre: Forma 497">
              <a:extLst>
                <a:ext uri="{FF2B5EF4-FFF2-40B4-BE49-F238E27FC236}">
                  <a16:creationId xmlns:a16="http://schemas.microsoft.com/office/drawing/2014/main" id="{C0B14FBC-ADB2-EA63-98A1-15826CE24B67}"/>
                </a:ext>
              </a:extLst>
            </p:cNvPr>
            <p:cNvSpPr/>
            <p:nvPr/>
          </p:nvSpPr>
          <p:spPr>
            <a:xfrm>
              <a:off x="5044293" y="2265964"/>
              <a:ext cx="114349" cy="217100"/>
            </a:xfrm>
            <a:custGeom>
              <a:avLst/>
              <a:gdLst>
                <a:gd name="connsiteX0" fmla="*/ 37660 w 114349"/>
                <a:gd name="connsiteY0" fmla="*/ 216547 h 217100"/>
                <a:gd name="connsiteX1" fmla="*/ 93986 w 114349"/>
                <a:gd name="connsiteY1" fmla="*/ 174804 h 217100"/>
                <a:gd name="connsiteX2" fmla="*/ 82069 w 114349"/>
                <a:gd name="connsiteY2" fmla="*/ 134785 h 217100"/>
                <a:gd name="connsiteX3" fmla="*/ 114350 w 114349"/>
                <a:gd name="connsiteY3" fmla="*/ 73787 h 217100"/>
                <a:gd name="connsiteX4" fmla="*/ 40586 w 114349"/>
                <a:gd name="connsiteY4" fmla="*/ 0 h 217100"/>
                <a:gd name="connsiteX5" fmla="*/ 0 w 114349"/>
                <a:gd name="connsiteY5" fmla="*/ 12152 h 217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4349" h="217100">
                  <a:moveTo>
                    <a:pt x="37660" y="216547"/>
                  </a:moveTo>
                  <a:cubicBezTo>
                    <a:pt x="64749" y="220606"/>
                    <a:pt x="89951" y="201917"/>
                    <a:pt x="93986" y="174804"/>
                  </a:cubicBezTo>
                  <a:cubicBezTo>
                    <a:pt x="96251" y="159773"/>
                    <a:pt x="91390" y="145356"/>
                    <a:pt x="82069" y="134785"/>
                  </a:cubicBezTo>
                  <a:cubicBezTo>
                    <a:pt x="101537" y="121500"/>
                    <a:pt x="114350" y="99153"/>
                    <a:pt x="114350" y="73787"/>
                  </a:cubicBezTo>
                  <a:cubicBezTo>
                    <a:pt x="114350" y="33035"/>
                    <a:pt x="81314" y="0"/>
                    <a:pt x="40586" y="0"/>
                  </a:cubicBezTo>
                  <a:cubicBezTo>
                    <a:pt x="25602" y="0"/>
                    <a:pt x="11657" y="4460"/>
                    <a:pt x="0" y="12152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499" name="Forma livre: Forma 498">
              <a:extLst>
                <a:ext uri="{FF2B5EF4-FFF2-40B4-BE49-F238E27FC236}">
                  <a16:creationId xmlns:a16="http://schemas.microsoft.com/office/drawing/2014/main" id="{3BC96B15-B69B-E792-E4D3-400842CFC559}"/>
                </a:ext>
              </a:extLst>
            </p:cNvPr>
            <p:cNvSpPr/>
            <p:nvPr/>
          </p:nvSpPr>
          <p:spPr>
            <a:xfrm>
              <a:off x="4560038" y="2297637"/>
              <a:ext cx="81553" cy="121185"/>
            </a:xfrm>
            <a:custGeom>
              <a:avLst/>
              <a:gdLst>
                <a:gd name="connsiteX0" fmla="*/ 24355 w 81553"/>
                <a:gd name="connsiteY0" fmla="*/ 121186 h 121185"/>
                <a:gd name="connsiteX1" fmla="*/ 1230 w 81553"/>
                <a:gd name="connsiteY1" fmla="*/ 55870 h 121185"/>
                <a:gd name="connsiteX2" fmla="*/ 81553 w 81553"/>
                <a:gd name="connsiteY2" fmla="*/ 1220 h 1211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81553" h="121185">
                  <a:moveTo>
                    <a:pt x="24355" y="121186"/>
                  </a:moveTo>
                  <a:cubicBezTo>
                    <a:pt x="6067" y="105706"/>
                    <a:pt x="-3584" y="81095"/>
                    <a:pt x="1230" y="55870"/>
                  </a:cubicBezTo>
                  <a:cubicBezTo>
                    <a:pt x="8332" y="18587"/>
                    <a:pt x="44247" y="-5859"/>
                    <a:pt x="81553" y="122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500" name="Forma livre: Forma 499">
              <a:extLst>
                <a:ext uri="{FF2B5EF4-FFF2-40B4-BE49-F238E27FC236}">
                  <a16:creationId xmlns:a16="http://schemas.microsoft.com/office/drawing/2014/main" id="{F8B883AE-793D-3055-E3D1-B3BFC90AFF30}"/>
                </a:ext>
              </a:extLst>
            </p:cNvPr>
            <p:cNvSpPr/>
            <p:nvPr/>
          </p:nvSpPr>
          <p:spPr>
            <a:xfrm>
              <a:off x="4652021" y="2088870"/>
              <a:ext cx="12459" cy="12459"/>
            </a:xfrm>
            <a:custGeom>
              <a:avLst/>
              <a:gdLst>
                <a:gd name="connsiteX0" fmla="*/ 12459 w 12459"/>
                <a:gd name="connsiteY0" fmla="*/ 6229 h 12459"/>
                <a:gd name="connsiteX1" fmla="*/ 6230 w 12459"/>
                <a:gd name="connsiteY1" fmla="*/ 12459 h 12459"/>
                <a:gd name="connsiteX2" fmla="*/ 0 w 12459"/>
                <a:gd name="connsiteY2" fmla="*/ 6229 h 12459"/>
                <a:gd name="connsiteX3" fmla="*/ 6230 w 12459"/>
                <a:gd name="connsiteY3" fmla="*/ 0 h 12459"/>
                <a:gd name="connsiteX4" fmla="*/ 12459 w 12459"/>
                <a:gd name="connsiteY4" fmla="*/ 6229 h 124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459" h="12459">
                  <a:moveTo>
                    <a:pt x="12459" y="6229"/>
                  </a:moveTo>
                  <a:cubicBezTo>
                    <a:pt x="12459" y="9675"/>
                    <a:pt x="9675" y="12459"/>
                    <a:pt x="6230" y="12459"/>
                  </a:cubicBezTo>
                  <a:cubicBezTo>
                    <a:pt x="2784" y="12459"/>
                    <a:pt x="0" y="9675"/>
                    <a:pt x="0" y="6229"/>
                  </a:cubicBezTo>
                  <a:cubicBezTo>
                    <a:pt x="0" y="2784"/>
                    <a:pt x="2808" y="0"/>
                    <a:pt x="6230" y="0"/>
                  </a:cubicBezTo>
                  <a:cubicBezTo>
                    <a:pt x="9651" y="0"/>
                    <a:pt x="12459" y="2784"/>
                    <a:pt x="12459" y="6229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501" name="Forma livre: Forma 500">
              <a:extLst>
                <a:ext uri="{FF2B5EF4-FFF2-40B4-BE49-F238E27FC236}">
                  <a16:creationId xmlns:a16="http://schemas.microsoft.com/office/drawing/2014/main" id="{1FBBCC11-5BEC-F506-E57B-605D3AA34ACE}"/>
                </a:ext>
              </a:extLst>
            </p:cNvPr>
            <p:cNvSpPr/>
            <p:nvPr/>
          </p:nvSpPr>
          <p:spPr>
            <a:xfrm>
              <a:off x="4711673" y="2097766"/>
              <a:ext cx="12459" cy="12459"/>
            </a:xfrm>
            <a:custGeom>
              <a:avLst/>
              <a:gdLst>
                <a:gd name="connsiteX0" fmla="*/ 12459 w 12459"/>
                <a:gd name="connsiteY0" fmla="*/ 6230 h 12459"/>
                <a:gd name="connsiteX1" fmla="*/ 6230 w 12459"/>
                <a:gd name="connsiteY1" fmla="*/ 12459 h 12459"/>
                <a:gd name="connsiteX2" fmla="*/ 0 w 12459"/>
                <a:gd name="connsiteY2" fmla="*/ 6230 h 12459"/>
                <a:gd name="connsiteX3" fmla="*/ 6230 w 12459"/>
                <a:gd name="connsiteY3" fmla="*/ 0 h 12459"/>
                <a:gd name="connsiteX4" fmla="*/ 12459 w 12459"/>
                <a:gd name="connsiteY4" fmla="*/ 6230 h 124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459" h="12459">
                  <a:moveTo>
                    <a:pt x="12459" y="6230"/>
                  </a:moveTo>
                  <a:cubicBezTo>
                    <a:pt x="12459" y="9675"/>
                    <a:pt x="9675" y="12459"/>
                    <a:pt x="6230" y="12459"/>
                  </a:cubicBezTo>
                  <a:cubicBezTo>
                    <a:pt x="2784" y="12459"/>
                    <a:pt x="0" y="9675"/>
                    <a:pt x="0" y="6230"/>
                  </a:cubicBezTo>
                  <a:cubicBezTo>
                    <a:pt x="0" y="2784"/>
                    <a:pt x="2808" y="0"/>
                    <a:pt x="6230" y="0"/>
                  </a:cubicBezTo>
                  <a:cubicBezTo>
                    <a:pt x="9651" y="0"/>
                    <a:pt x="12459" y="2784"/>
                    <a:pt x="12459" y="6230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502" name="Forma livre: Forma 501">
              <a:extLst>
                <a:ext uri="{FF2B5EF4-FFF2-40B4-BE49-F238E27FC236}">
                  <a16:creationId xmlns:a16="http://schemas.microsoft.com/office/drawing/2014/main" id="{4B059BBE-07D4-EDF4-D80B-92B002DA2329}"/>
                </a:ext>
              </a:extLst>
            </p:cNvPr>
            <p:cNvSpPr/>
            <p:nvPr/>
          </p:nvSpPr>
          <p:spPr>
            <a:xfrm>
              <a:off x="4637461" y="2641340"/>
              <a:ext cx="12459" cy="12459"/>
            </a:xfrm>
            <a:custGeom>
              <a:avLst/>
              <a:gdLst>
                <a:gd name="connsiteX0" fmla="*/ 12459 w 12459"/>
                <a:gd name="connsiteY0" fmla="*/ 6230 h 12459"/>
                <a:gd name="connsiteX1" fmla="*/ 6230 w 12459"/>
                <a:gd name="connsiteY1" fmla="*/ 12459 h 12459"/>
                <a:gd name="connsiteX2" fmla="*/ 0 w 12459"/>
                <a:gd name="connsiteY2" fmla="*/ 6230 h 12459"/>
                <a:gd name="connsiteX3" fmla="*/ 6230 w 12459"/>
                <a:gd name="connsiteY3" fmla="*/ 0 h 12459"/>
                <a:gd name="connsiteX4" fmla="*/ 12459 w 12459"/>
                <a:gd name="connsiteY4" fmla="*/ 6230 h 124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459" h="12459">
                  <a:moveTo>
                    <a:pt x="12459" y="6230"/>
                  </a:moveTo>
                  <a:cubicBezTo>
                    <a:pt x="12459" y="9675"/>
                    <a:pt x="9675" y="12459"/>
                    <a:pt x="6230" y="12459"/>
                  </a:cubicBezTo>
                  <a:cubicBezTo>
                    <a:pt x="2784" y="12459"/>
                    <a:pt x="0" y="9675"/>
                    <a:pt x="0" y="6230"/>
                  </a:cubicBezTo>
                  <a:cubicBezTo>
                    <a:pt x="0" y="2785"/>
                    <a:pt x="2784" y="0"/>
                    <a:pt x="6230" y="0"/>
                  </a:cubicBezTo>
                  <a:cubicBezTo>
                    <a:pt x="9675" y="0"/>
                    <a:pt x="12459" y="2785"/>
                    <a:pt x="12459" y="6230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503" name="Forma livre: Forma 502">
              <a:extLst>
                <a:ext uri="{FF2B5EF4-FFF2-40B4-BE49-F238E27FC236}">
                  <a16:creationId xmlns:a16="http://schemas.microsoft.com/office/drawing/2014/main" id="{35504C0F-CC93-6F5F-1666-6ED94892525A}"/>
                </a:ext>
              </a:extLst>
            </p:cNvPr>
            <p:cNvSpPr/>
            <p:nvPr/>
          </p:nvSpPr>
          <p:spPr>
            <a:xfrm>
              <a:off x="4625333" y="2164804"/>
              <a:ext cx="12459" cy="12459"/>
            </a:xfrm>
            <a:custGeom>
              <a:avLst/>
              <a:gdLst>
                <a:gd name="connsiteX0" fmla="*/ 12459 w 12459"/>
                <a:gd name="connsiteY0" fmla="*/ 6230 h 12459"/>
                <a:gd name="connsiteX1" fmla="*/ 6230 w 12459"/>
                <a:gd name="connsiteY1" fmla="*/ 12459 h 12459"/>
                <a:gd name="connsiteX2" fmla="*/ 0 w 12459"/>
                <a:gd name="connsiteY2" fmla="*/ 6230 h 12459"/>
                <a:gd name="connsiteX3" fmla="*/ 6230 w 12459"/>
                <a:gd name="connsiteY3" fmla="*/ 0 h 12459"/>
                <a:gd name="connsiteX4" fmla="*/ 12459 w 12459"/>
                <a:gd name="connsiteY4" fmla="*/ 6230 h 124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459" h="12459">
                  <a:moveTo>
                    <a:pt x="12459" y="6230"/>
                  </a:moveTo>
                  <a:cubicBezTo>
                    <a:pt x="12459" y="9675"/>
                    <a:pt x="9698" y="12459"/>
                    <a:pt x="6230" y="12459"/>
                  </a:cubicBezTo>
                  <a:cubicBezTo>
                    <a:pt x="2761" y="12459"/>
                    <a:pt x="0" y="9675"/>
                    <a:pt x="0" y="6230"/>
                  </a:cubicBezTo>
                  <a:cubicBezTo>
                    <a:pt x="0" y="2784"/>
                    <a:pt x="2784" y="0"/>
                    <a:pt x="6230" y="0"/>
                  </a:cubicBezTo>
                  <a:cubicBezTo>
                    <a:pt x="9675" y="0"/>
                    <a:pt x="12459" y="2784"/>
                    <a:pt x="12459" y="6230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504" name="Forma livre: Forma 503">
              <a:extLst>
                <a:ext uri="{FF2B5EF4-FFF2-40B4-BE49-F238E27FC236}">
                  <a16:creationId xmlns:a16="http://schemas.microsoft.com/office/drawing/2014/main" id="{E5932AC9-B568-A9E7-EEA2-5EE2602E4FAB}"/>
                </a:ext>
              </a:extLst>
            </p:cNvPr>
            <p:cNvSpPr/>
            <p:nvPr/>
          </p:nvSpPr>
          <p:spPr>
            <a:xfrm>
              <a:off x="4879540" y="2063622"/>
              <a:ext cx="12459" cy="12459"/>
            </a:xfrm>
            <a:custGeom>
              <a:avLst/>
              <a:gdLst>
                <a:gd name="connsiteX0" fmla="*/ 12459 w 12459"/>
                <a:gd name="connsiteY0" fmla="*/ 6230 h 12459"/>
                <a:gd name="connsiteX1" fmla="*/ 6230 w 12459"/>
                <a:gd name="connsiteY1" fmla="*/ 12459 h 12459"/>
                <a:gd name="connsiteX2" fmla="*/ 0 w 12459"/>
                <a:gd name="connsiteY2" fmla="*/ 6230 h 12459"/>
                <a:gd name="connsiteX3" fmla="*/ 6230 w 12459"/>
                <a:gd name="connsiteY3" fmla="*/ 0 h 12459"/>
                <a:gd name="connsiteX4" fmla="*/ 12459 w 12459"/>
                <a:gd name="connsiteY4" fmla="*/ 6230 h 124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459" h="12459">
                  <a:moveTo>
                    <a:pt x="12459" y="6230"/>
                  </a:moveTo>
                  <a:cubicBezTo>
                    <a:pt x="12459" y="9675"/>
                    <a:pt x="9698" y="12459"/>
                    <a:pt x="6230" y="12459"/>
                  </a:cubicBezTo>
                  <a:cubicBezTo>
                    <a:pt x="2761" y="12459"/>
                    <a:pt x="0" y="9675"/>
                    <a:pt x="0" y="6230"/>
                  </a:cubicBezTo>
                  <a:cubicBezTo>
                    <a:pt x="0" y="2784"/>
                    <a:pt x="2808" y="0"/>
                    <a:pt x="6230" y="0"/>
                  </a:cubicBezTo>
                  <a:cubicBezTo>
                    <a:pt x="9651" y="0"/>
                    <a:pt x="12459" y="2784"/>
                    <a:pt x="12459" y="6230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505" name="Forma livre: Forma 504">
              <a:extLst>
                <a:ext uri="{FF2B5EF4-FFF2-40B4-BE49-F238E27FC236}">
                  <a16:creationId xmlns:a16="http://schemas.microsoft.com/office/drawing/2014/main" id="{66EFF70A-F318-0C6A-500C-615416B73036}"/>
                </a:ext>
              </a:extLst>
            </p:cNvPr>
            <p:cNvSpPr/>
            <p:nvPr/>
          </p:nvSpPr>
          <p:spPr>
            <a:xfrm>
              <a:off x="5147646" y="2594926"/>
              <a:ext cx="12459" cy="12459"/>
            </a:xfrm>
            <a:custGeom>
              <a:avLst/>
              <a:gdLst>
                <a:gd name="connsiteX0" fmla="*/ 12459 w 12459"/>
                <a:gd name="connsiteY0" fmla="*/ 6230 h 12459"/>
                <a:gd name="connsiteX1" fmla="*/ 6229 w 12459"/>
                <a:gd name="connsiteY1" fmla="*/ 12459 h 12459"/>
                <a:gd name="connsiteX2" fmla="*/ 0 w 12459"/>
                <a:gd name="connsiteY2" fmla="*/ 6230 h 12459"/>
                <a:gd name="connsiteX3" fmla="*/ 6229 w 12459"/>
                <a:gd name="connsiteY3" fmla="*/ 0 h 12459"/>
                <a:gd name="connsiteX4" fmla="*/ 12459 w 12459"/>
                <a:gd name="connsiteY4" fmla="*/ 6230 h 124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459" h="12459">
                  <a:moveTo>
                    <a:pt x="12459" y="6230"/>
                  </a:moveTo>
                  <a:cubicBezTo>
                    <a:pt x="12459" y="9675"/>
                    <a:pt x="9698" y="12459"/>
                    <a:pt x="6229" y="12459"/>
                  </a:cubicBezTo>
                  <a:cubicBezTo>
                    <a:pt x="2761" y="12459"/>
                    <a:pt x="0" y="9675"/>
                    <a:pt x="0" y="6230"/>
                  </a:cubicBezTo>
                  <a:cubicBezTo>
                    <a:pt x="0" y="2784"/>
                    <a:pt x="2808" y="0"/>
                    <a:pt x="6229" y="0"/>
                  </a:cubicBezTo>
                  <a:cubicBezTo>
                    <a:pt x="9651" y="0"/>
                    <a:pt x="12459" y="2761"/>
                    <a:pt x="12459" y="6230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506" name="Forma livre: Forma 505">
              <a:extLst>
                <a:ext uri="{FF2B5EF4-FFF2-40B4-BE49-F238E27FC236}">
                  <a16:creationId xmlns:a16="http://schemas.microsoft.com/office/drawing/2014/main" id="{3ACF5616-5772-E242-DEEE-BDD1661A9C67}"/>
                </a:ext>
              </a:extLst>
            </p:cNvPr>
            <p:cNvSpPr/>
            <p:nvPr/>
          </p:nvSpPr>
          <p:spPr>
            <a:xfrm>
              <a:off x="5140331" y="2204588"/>
              <a:ext cx="12459" cy="12458"/>
            </a:xfrm>
            <a:custGeom>
              <a:avLst/>
              <a:gdLst>
                <a:gd name="connsiteX0" fmla="*/ 12459 w 12459"/>
                <a:gd name="connsiteY0" fmla="*/ 6230 h 12458"/>
                <a:gd name="connsiteX1" fmla="*/ 6230 w 12459"/>
                <a:gd name="connsiteY1" fmla="*/ 12459 h 12458"/>
                <a:gd name="connsiteX2" fmla="*/ 0 w 12459"/>
                <a:gd name="connsiteY2" fmla="*/ 6230 h 12458"/>
                <a:gd name="connsiteX3" fmla="*/ 6230 w 12459"/>
                <a:gd name="connsiteY3" fmla="*/ 0 h 12458"/>
                <a:gd name="connsiteX4" fmla="*/ 12459 w 12459"/>
                <a:gd name="connsiteY4" fmla="*/ 6230 h 124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459" h="12458">
                  <a:moveTo>
                    <a:pt x="12459" y="6230"/>
                  </a:moveTo>
                  <a:cubicBezTo>
                    <a:pt x="12459" y="9698"/>
                    <a:pt x="9698" y="12459"/>
                    <a:pt x="6230" y="12459"/>
                  </a:cubicBezTo>
                  <a:cubicBezTo>
                    <a:pt x="2761" y="12459"/>
                    <a:pt x="0" y="9675"/>
                    <a:pt x="0" y="6230"/>
                  </a:cubicBezTo>
                  <a:cubicBezTo>
                    <a:pt x="0" y="2784"/>
                    <a:pt x="2808" y="0"/>
                    <a:pt x="6230" y="0"/>
                  </a:cubicBezTo>
                  <a:cubicBezTo>
                    <a:pt x="9651" y="0"/>
                    <a:pt x="12459" y="2784"/>
                    <a:pt x="12459" y="6230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507" name="Forma livre: Forma 506">
              <a:extLst>
                <a:ext uri="{FF2B5EF4-FFF2-40B4-BE49-F238E27FC236}">
                  <a16:creationId xmlns:a16="http://schemas.microsoft.com/office/drawing/2014/main" id="{2A81B456-BC3A-5DD2-7F7D-3E0EE81E6658}"/>
                </a:ext>
              </a:extLst>
            </p:cNvPr>
            <p:cNvSpPr/>
            <p:nvPr/>
          </p:nvSpPr>
          <p:spPr>
            <a:xfrm>
              <a:off x="4616177" y="2173898"/>
              <a:ext cx="165790" cy="81636"/>
            </a:xfrm>
            <a:custGeom>
              <a:avLst/>
              <a:gdLst>
                <a:gd name="connsiteX0" fmla="*/ 165791 w 165790"/>
                <a:gd name="connsiteY0" fmla="*/ 28355 h 81636"/>
                <a:gd name="connsiteX1" fmla="*/ 117795 w 165790"/>
                <a:gd name="connsiteY1" fmla="*/ 62 h 81636"/>
                <a:gd name="connsiteX2" fmla="*/ 58897 w 165790"/>
                <a:gd name="connsiteY2" fmla="*/ 46689 h 81636"/>
                <a:gd name="connsiteX3" fmla="*/ 17013 w 165790"/>
                <a:gd name="connsiteY3" fmla="*/ 56482 h 81636"/>
                <a:gd name="connsiteX4" fmla="*/ 0 w 165790"/>
                <a:gd name="connsiteY4" fmla="*/ 81636 h 816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5790" h="81636">
                  <a:moveTo>
                    <a:pt x="165791" y="28355"/>
                  </a:moveTo>
                  <a:cubicBezTo>
                    <a:pt x="156612" y="12285"/>
                    <a:pt x="138749" y="959"/>
                    <a:pt x="117795" y="62"/>
                  </a:cubicBezTo>
                  <a:cubicBezTo>
                    <a:pt x="87638" y="-1283"/>
                    <a:pt x="62083" y="19341"/>
                    <a:pt x="58897" y="46689"/>
                  </a:cubicBezTo>
                  <a:cubicBezTo>
                    <a:pt x="44551" y="43740"/>
                    <a:pt x="29213" y="46807"/>
                    <a:pt x="17013" y="56482"/>
                  </a:cubicBezTo>
                  <a:cubicBezTo>
                    <a:pt x="8589" y="63136"/>
                    <a:pt x="2879" y="71985"/>
                    <a:pt x="0" y="81636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508" name="Forma livre: Forma 507">
              <a:extLst>
                <a:ext uri="{FF2B5EF4-FFF2-40B4-BE49-F238E27FC236}">
                  <a16:creationId xmlns:a16="http://schemas.microsoft.com/office/drawing/2014/main" id="{EA90F9D7-2DDC-D858-1B07-A5124C190216}"/>
                </a:ext>
              </a:extLst>
            </p:cNvPr>
            <p:cNvSpPr/>
            <p:nvPr/>
          </p:nvSpPr>
          <p:spPr>
            <a:xfrm>
              <a:off x="4577706" y="2395179"/>
              <a:ext cx="69217" cy="184077"/>
            </a:xfrm>
            <a:custGeom>
              <a:avLst/>
              <a:gdLst>
                <a:gd name="connsiteX0" fmla="*/ 47344 w 69217"/>
                <a:gd name="connsiteY0" fmla="*/ 0 h 184077"/>
                <a:gd name="connsiteX1" fmla="*/ 4539 w 69217"/>
                <a:gd name="connsiteY1" fmla="*/ 35678 h 184077"/>
                <a:gd name="connsiteX2" fmla="*/ 28655 w 69217"/>
                <a:gd name="connsiteY2" fmla="*/ 106822 h 184077"/>
                <a:gd name="connsiteX3" fmla="*/ 23794 w 69217"/>
                <a:gd name="connsiteY3" fmla="*/ 149580 h 184077"/>
                <a:gd name="connsiteX4" fmla="*/ 69218 w 69217"/>
                <a:gd name="connsiteY4" fmla="*/ 184078 h 1840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9217" h="184077">
                  <a:moveTo>
                    <a:pt x="47344" y="0"/>
                  </a:moveTo>
                  <a:cubicBezTo>
                    <a:pt x="29103" y="3256"/>
                    <a:pt x="12444" y="16258"/>
                    <a:pt x="4539" y="35678"/>
                  </a:cubicBezTo>
                  <a:cubicBezTo>
                    <a:pt x="-6858" y="63617"/>
                    <a:pt x="3949" y="94623"/>
                    <a:pt x="28655" y="106822"/>
                  </a:cubicBezTo>
                  <a:cubicBezTo>
                    <a:pt x="21057" y="119352"/>
                    <a:pt x="18792" y="134808"/>
                    <a:pt x="23794" y="149580"/>
                  </a:cubicBezTo>
                  <a:cubicBezTo>
                    <a:pt x="30590" y="169637"/>
                    <a:pt x="48901" y="182662"/>
                    <a:pt x="69218" y="184078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509" name="Forma livre: Forma 508">
              <a:extLst>
                <a:ext uri="{FF2B5EF4-FFF2-40B4-BE49-F238E27FC236}">
                  <a16:creationId xmlns:a16="http://schemas.microsoft.com/office/drawing/2014/main" id="{7BCA376E-7E06-DB70-4ED3-91F1FCC9228A}"/>
                </a:ext>
              </a:extLst>
            </p:cNvPr>
            <p:cNvSpPr/>
            <p:nvPr/>
          </p:nvSpPr>
          <p:spPr>
            <a:xfrm>
              <a:off x="4993678" y="2477697"/>
              <a:ext cx="139007" cy="158806"/>
            </a:xfrm>
            <a:custGeom>
              <a:avLst/>
              <a:gdLst>
                <a:gd name="connsiteX0" fmla="*/ 0 w 139007"/>
                <a:gd name="connsiteY0" fmla="*/ 146087 h 158806"/>
                <a:gd name="connsiteX1" fmla="*/ 56184 w 139007"/>
                <a:gd name="connsiteY1" fmla="*/ 155573 h 158806"/>
                <a:gd name="connsiteX2" fmla="*/ 95402 w 139007"/>
                <a:gd name="connsiteY2" fmla="*/ 89479 h 158806"/>
                <a:gd name="connsiteX3" fmla="*/ 131811 w 139007"/>
                <a:gd name="connsiteY3" fmla="*/ 64820 h 158806"/>
                <a:gd name="connsiteX4" fmla="*/ 122609 w 139007"/>
                <a:gd name="connsiteY4" fmla="*/ 0 h 158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9007" h="158806">
                  <a:moveTo>
                    <a:pt x="0" y="146087"/>
                  </a:moveTo>
                  <a:cubicBezTo>
                    <a:pt x="14654" y="158098"/>
                    <a:pt x="35843" y="162369"/>
                    <a:pt x="56184" y="155573"/>
                  </a:cubicBezTo>
                  <a:cubicBezTo>
                    <a:pt x="85467" y="145804"/>
                    <a:pt x="102339" y="116804"/>
                    <a:pt x="95402" y="89479"/>
                  </a:cubicBezTo>
                  <a:cubicBezTo>
                    <a:pt x="110197" y="87048"/>
                    <a:pt x="123718" y="78483"/>
                    <a:pt x="131811" y="64820"/>
                  </a:cubicBezTo>
                  <a:cubicBezTo>
                    <a:pt x="144388" y="43583"/>
                    <a:pt x="139952" y="16872"/>
                    <a:pt x="122609" y="0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510" name="Forma livre: Forma 509">
              <a:extLst>
                <a:ext uri="{FF2B5EF4-FFF2-40B4-BE49-F238E27FC236}">
                  <a16:creationId xmlns:a16="http://schemas.microsoft.com/office/drawing/2014/main" id="{2FFAD078-4E05-019E-6057-442A3D351086}"/>
                </a:ext>
              </a:extLst>
            </p:cNvPr>
            <p:cNvSpPr/>
            <p:nvPr/>
          </p:nvSpPr>
          <p:spPr>
            <a:xfrm>
              <a:off x="4864320" y="2594808"/>
              <a:ext cx="125051" cy="85974"/>
            </a:xfrm>
            <a:custGeom>
              <a:avLst/>
              <a:gdLst>
                <a:gd name="connsiteX0" fmla="*/ 121830 w 125051"/>
                <a:gd name="connsiteY0" fmla="*/ 0 h 85974"/>
                <a:gd name="connsiteX1" fmla="*/ 125015 w 125051"/>
                <a:gd name="connsiteY1" fmla="*/ 22488 h 85974"/>
                <a:gd name="connsiteX2" fmla="*/ 57340 w 125051"/>
                <a:gd name="connsiteY2" fmla="*/ 85939 h 85974"/>
                <a:gd name="connsiteX3" fmla="*/ 0 w 125051"/>
                <a:gd name="connsiteY3" fmla="*/ 48137 h 859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5051" h="85974">
                  <a:moveTo>
                    <a:pt x="121830" y="0"/>
                  </a:moveTo>
                  <a:cubicBezTo>
                    <a:pt x="124119" y="7055"/>
                    <a:pt x="125275" y="14630"/>
                    <a:pt x="125015" y="22488"/>
                  </a:cubicBezTo>
                  <a:cubicBezTo>
                    <a:pt x="123859" y="58709"/>
                    <a:pt x="93561" y="87119"/>
                    <a:pt x="57340" y="85939"/>
                  </a:cubicBezTo>
                  <a:cubicBezTo>
                    <a:pt x="31785" y="85113"/>
                    <a:pt x="10147" y="69799"/>
                    <a:pt x="0" y="48137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512" name="Gráfico 8">
            <a:extLst>
              <a:ext uri="{FF2B5EF4-FFF2-40B4-BE49-F238E27FC236}">
                <a16:creationId xmlns:a16="http://schemas.microsoft.com/office/drawing/2014/main" id="{FF14AAE2-A272-49EE-CCE5-9E3D5796968F}"/>
              </a:ext>
            </a:extLst>
          </p:cNvPr>
          <p:cNvGrpSpPr/>
          <p:nvPr/>
        </p:nvGrpSpPr>
        <p:grpSpPr>
          <a:xfrm>
            <a:off x="9503491" y="5259116"/>
            <a:ext cx="494837" cy="548329"/>
            <a:chOff x="9503491" y="5259116"/>
            <a:chExt cx="494837" cy="548329"/>
          </a:xfrm>
          <a:noFill/>
        </p:grpSpPr>
        <p:sp>
          <p:nvSpPr>
            <p:cNvPr id="513" name="Forma livre: Forma 512">
              <a:extLst>
                <a:ext uri="{FF2B5EF4-FFF2-40B4-BE49-F238E27FC236}">
                  <a16:creationId xmlns:a16="http://schemas.microsoft.com/office/drawing/2014/main" id="{3395A990-7415-2412-3D42-14A9A4E91C43}"/>
                </a:ext>
              </a:extLst>
            </p:cNvPr>
            <p:cNvSpPr/>
            <p:nvPr/>
          </p:nvSpPr>
          <p:spPr>
            <a:xfrm>
              <a:off x="9567435" y="5483107"/>
              <a:ext cx="236386" cy="133100"/>
            </a:xfrm>
            <a:custGeom>
              <a:avLst/>
              <a:gdLst>
                <a:gd name="connsiteX0" fmla="*/ 0 w 236386"/>
                <a:gd name="connsiteY0" fmla="*/ 117719 h 133100"/>
                <a:gd name="connsiteX1" fmla="*/ 110206 w 236386"/>
                <a:gd name="connsiteY1" fmla="*/ 0 h 133100"/>
                <a:gd name="connsiteX2" fmla="*/ 236387 w 236386"/>
                <a:gd name="connsiteY2" fmla="*/ 133101 h 133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36386" h="133100">
                  <a:moveTo>
                    <a:pt x="0" y="117719"/>
                  </a:moveTo>
                  <a:lnTo>
                    <a:pt x="110206" y="0"/>
                  </a:lnTo>
                  <a:lnTo>
                    <a:pt x="236387" y="133101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514" name="Forma livre: Forma 513">
              <a:extLst>
                <a:ext uri="{FF2B5EF4-FFF2-40B4-BE49-F238E27FC236}">
                  <a16:creationId xmlns:a16="http://schemas.microsoft.com/office/drawing/2014/main" id="{BC041E68-D00E-9C5E-10CE-CAC18ABC3B08}"/>
                </a:ext>
              </a:extLst>
            </p:cNvPr>
            <p:cNvSpPr/>
            <p:nvPr/>
          </p:nvSpPr>
          <p:spPr>
            <a:xfrm>
              <a:off x="9503491" y="5259116"/>
              <a:ext cx="494837" cy="548329"/>
            </a:xfrm>
            <a:custGeom>
              <a:avLst/>
              <a:gdLst>
                <a:gd name="connsiteX0" fmla="*/ 0 w 494837"/>
                <a:gd name="connsiteY0" fmla="*/ 23 h 548329"/>
                <a:gd name="connsiteX1" fmla="*/ 494838 w 494837"/>
                <a:gd name="connsiteY1" fmla="*/ 0 h 548329"/>
                <a:gd name="connsiteX2" fmla="*/ 494814 w 494837"/>
                <a:gd name="connsiteY2" fmla="*/ 548306 h 548329"/>
                <a:gd name="connsiteX3" fmla="*/ 0 w 494837"/>
                <a:gd name="connsiteY3" fmla="*/ 548330 h 548329"/>
                <a:gd name="connsiteX4" fmla="*/ 0 w 494837"/>
                <a:gd name="connsiteY4" fmla="*/ 23 h 5483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94837" h="548329">
                  <a:moveTo>
                    <a:pt x="0" y="23"/>
                  </a:moveTo>
                  <a:lnTo>
                    <a:pt x="494838" y="0"/>
                  </a:lnTo>
                  <a:lnTo>
                    <a:pt x="494814" y="548306"/>
                  </a:lnTo>
                  <a:lnTo>
                    <a:pt x="0" y="548330"/>
                  </a:lnTo>
                  <a:lnTo>
                    <a:pt x="0" y="23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515" name="Forma livre: Forma 514">
              <a:extLst>
                <a:ext uri="{FF2B5EF4-FFF2-40B4-BE49-F238E27FC236}">
                  <a16:creationId xmlns:a16="http://schemas.microsoft.com/office/drawing/2014/main" id="{B3B9D5C6-750A-B4B1-C783-2673ACF54403}"/>
                </a:ext>
              </a:extLst>
            </p:cNvPr>
            <p:cNvSpPr/>
            <p:nvPr/>
          </p:nvSpPr>
          <p:spPr>
            <a:xfrm>
              <a:off x="9566653" y="5322443"/>
              <a:ext cx="368183" cy="368160"/>
            </a:xfrm>
            <a:custGeom>
              <a:avLst/>
              <a:gdLst>
                <a:gd name="connsiteX0" fmla="*/ 0 w 368183"/>
                <a:gd name="connsiteY0" fmla="*/ 0 h 368160"/>
                <a:gd name="connsiteX1" fmla="*/ 368184 w 368183"/>
                <a:gd name="connsiteY1" fmla="*/ 0 h 368160"/>
                <a:gd name="connsiteX2" fmla="*/ 368160 w 368183"/>
                <a:gd name="connsiteY2" fmla="*/ 368160 h 368160"/>
                <a:gd name="connsiteX3" fmla="*/ 24 w 368183"/>
                <a:gd name="connsiteY3" fmla="*/ 368160 h 368160"/>
                <a:gd name="connsiteX4" fmla="*/ 0 w 368183"/>
                <a:gd name="connsiteY4" fmla="*/ 0 h 3681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68183" h="368160">
                  <a:moveTo>
                    <a:pt x="0" y="0"/>
                  </a:moveTo>
                  <a:lnTo>
                    <a:pt x="368184" y="0"/>
                  </a:lnTo>
                  <a:lnTo>
                    <a:pt x="368160" y="368160"/>
                  </a:lnTo>
                  <a:lnTo>
                    <a:pt x="24" y="36816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516" name="Forma livre: Forma 515">
              <a:extLst>
                <a:ext uri="{FF2B5EF4-FFF2-40B4-BE49-F238E27FC236}">
                  <a16:creationId xmlns:a16="http://schemas.microsoft.com/office/drawing/2014/main" id="{AE77A21F-BE9D-89CC-BA32-440C254D749D}"/>
                </a:ext>
              </a:extLst>
            </p:cNvPr>
            <p:cNvSpPr/>
            <p:nvPr/>
          </p:nvSpPr>
          <p:spPr>
            <a:xfrm>
              <a:off x="9809486" y="5518776"/>
              <a:ext cx="123999" cy="88307"/>
            </a:xfrm>
            <a:custGeom>
              <a:avLst/>
              <a:gdLst>
                <a:gd name="connsiteX0" fmla="*/ 0 w 123999"/>
                <a:gd name="connsiteY0" fmla="*/ 43798 h 88307"/>
                <a:gd name="connsiteX1" fmla="*/ 41452 w 123999"/>
                <a:gd name="connsiteY1" fmla="*/ 0 h 88307"/>
                <a:gd name="connsiteX2" fmla="*/ 124000 w 123999"/>
                <a:gd name="connsiteY2" fmla="*/ 88307 h 883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3999" h="88307">
                  <a:moveTo>
                    <a:pt x="0" y="43798"/>
                  </a:moveTo>
                  <a:lnTo>
                    <a:pt x="41452" y="0"/>
                  </a:lnTo>
                  <a:lnTo>
                    <a:pt x="124000" y="88307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517" name="Forma livre: Forma 516">
              <a:extLst>
                <a:ext uri="{FF2B5EF4-FFF2-40B4-BE49-F238E27FC236}">
                  <a16:creationId xmlns:a16="http://schemas.microsoft.com/office/drawing/2014/main" id="{BE00597B-3BCB-9CB4-E785-015803B40F87}"/>
                </a:ext>
              </a:extLst>
            </p:cNvPr>
            <p:cNvSpPr/>
            <p:nvPr/>
          </p:nvSpPr>
          <p:spPr>
            <a:xfrm>
              <a:off x="9765664" y="5391150"/>
              <a:ext cx="72285" cy="72285"/>
            </a:xfrm>
            <a:custGeom>
              <a:avLst/>
              <a:gdLst>
                <a:gd name="connsiteX0" fmla="*/ 72286 w 72285"/>
                <a:gd name="connsiteY0" fmla="*/ 36143 h 72285"/>
                <a:gd name="connsiteX1" fmla="*/ 36143 w 72285"/>
                <a:gd name="connsiteY1" fmla="*/ 72286 h 72285"/>
                <a:gd name="connsiteX2" fmla="*/ 0 w 72285"/>
                <a:gd name="connsiteY2" fmla="*/ 36143 h 72285"/>
                <a:gd name="connsiteX3" fmla="*/ 36143 w 72285"/>
                <a:gd name="connsiteY3" fmla="*/ 0 h 72285"/>
                <a:gd name="connsiteX4" fmla="*/ 72286 w 72285"/>
                <a:gd name="connsiteY4" fmla="*/ 36143 h 722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2285" h="72285">
                  <a:moveTo>
                    <a:pt x="72286" y="36143"/>
                  </a:moveTo>
                  <a:cubicBezTo>
                    <a:pt x="72286" y="56098"/>
                    <a:pt x="56122" y="72286"/>
                    <a:pt x="36143" y="72286"/>
                  </a:cubicBezTo>
                  <a:cubicBezTo>
                    <a:pt x="16164" y="72286"/>
                    <a:pt x="0" y="56098"/>
                    <a:pt x="0" y="36143"/>
                  </a:cubicBezTo>
                  <a:cubicBezTo>
                    <a:pt x="0" y="16187"/>
                    <a:pt x="16187" y="0"/>
                    <a:pt x="36143" y="0"/>
                  </a:cubicBezTo>
                  <a:cubicBezTo>
                    <a:pt x="56099" y="0"/>
                    <a:pt x="72286" y="16187"/>
                    <a:pt x="72286" y="36143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518" name="Gráfico 8">
            <a:extLst>
              <a:ext uri="{FF2B5EF4-FFF2-40B4-BE49-F238E27FC236}">
                <a16:creationId xmlns:a16="http://schemas.microsoft.com/office/drawing/2014/main" id="{535D8AF7-9C14-7DFD-E2DE-6BA0A9A655AC}"/>
              </a:ext>
            </a:extLst>
          </p:cNvPr>
          <p:cNvGrpSpPr/>
          <p:nvPr/>
        </p:nvGrpSpPr>
        <p:grpSpPr>
          <a:xfrm>
            <a:off x="8289089" y="5236743"/>
            <a:ext cx="455566" cy="593066"/>
            <a:chOff x="8289089" y="5236743"/>
            <a:chExt cx="455566" cy="593066"/>
          </a:xfrm>
        </p:grpSpPr>
        <p:sp>
          <p:nvSpPr>
            <p:cNvPr id="519" name="Forma livre: Forma 518">
              <a:extLst>
                <a:ext uri="{FF2B5EF4-FFF2-40B4-BE49-F238E27FC236}">
                  <a16:creationId xmlns:a16="http://schemas.microsoft.com/office/drawing/2014/main" id="{28D0B60B-A017-958F-FADC-A378984FDF73}"/>
                </a:ext>
              </a:extLst>
            </p:cNvPr>
            <p:cNvSpPr/>
            <p:nvPr/>
          </p:nvSpPr>
          <p:spPr>
            <a:xfrm>
              <a:off x="8317607" y="5324718"/>
              <a:ext cx="339097" cy="339115"/>
            </a:xfrm>
            <a:custGeom>
              <a:avLst/>
              <a:gdLst>
                <a:gd name="connsiteX0" fmla="*/ 191800 w 339097"/>
                <a:gd name="connsiteY0" fmla="*/ 322513 h 339115"/>
                <a:gd name="connsiteX1" fmla="*/ 111362 w 339097"/>
                <a:gd name="connsiteY1" fmla="*/ 322513 h 339115"/>
                <a:gd name="connsiteX2" fmla="*/ 16584 w 339097"/>
                <a:gd name="connsiteY2" fmla="*/ 227736 h 339115"/>
                <a:gd name="connsiteX3" fmla="*/ 16584 w 339097"/>
                <a:gd name="connsiteY3" fmla="*/ 147297 h 339115"/>
                <a:gd name="connsiteX4" fmla="*/ 163881 w 339097"/>
                <a:gd name="connsiteY4" fmla="*/ 0 h 339115"/>
                <a:gd name="connsiteX5" fmla="*/ 339098 w 339097"/>
                <a:gd name="connsiteY5" fmla="*/ 175216 h 339115"/>
                <a:gd name="connsiteX6" fmla="*/ 191800 w 339097"/>
                <a:gd name="connsiteY6" fmla="*/ 322513 h 3391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39097" h="339115">
                  <a:moveTo>
                    <a:pt x="191800" y="322513"/>
                  </a:moveTo>
                  <a:cubicBezTo>
                    <a:pt x="169688" y="344650"/>
                    <a:pt x="133474" y="344650"/>
                    <a:pt x="111362" y="322513"/>
                  </a:cubicBezTo>
                  <a:lnTo>
                    <a:pt x="16584" y="227736"/>
                  </a:lnTo>
                  <a:cubicBezTo>
                    <a:pt x="-5528" y="205624"/>
                    <a:pt x="-5528" y="169410"/>
                    <a:pt x="16584" y="147297"/>
                  </a:cubicBezTo>
                  <a:lnTo>
                    <a:pt x="163881" y="0"/>
                  </a:lnTo>
                  <a:lnTo>
                    <a:pt x="339098" y="175216"/>
                  </a:lnTo>
                  <a:lnTo>
                    <a:pt x="191800" y="322513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520" name="Forma livre: Forma 519">
              <a:extLst>
                <a:ext uri="{FF2B5EF4-FFF2-40B4-BE49-F238E27FC236}">
                  <a16:creationId xmlns:a16="http://schemas.microsoft.com/office/drawing/2014/main" id="{A3891A46-E7B4-AD91-9194-A4B6F7C370F3}"/>
                </a:ext>
              </a:extLst>
            </p:cNvPr>
            <p:cNvSpPr/>
            <p:nvPr/>
          </p:nvSpPr>
          <p:spPr>
            <a:xfrm>
              <a:off x="8537776" y="5236743"/>
              <a:ext cx="206879" cy="237998"/>
            </a:xfrm>
            <a:custGeom>
              <a:avLst/>
              <a:gdLst>
                <a:gd name="connsiteX0" fmla="*/ 0 w 206879"/>
                <a:gd name="connsiteY0" fmla="*/ 80628 h 237998"/>
                <a:gd name="connsiteX1" fmla="*/ 80628 w 206879"/>
                <a:gd name="connsiteY1" fmla="*/ 0 h 237998"/>
                <a:gd name="connsiteX2" fmla="*/ 206880 w 206879"/>
                <a:gd name="connsiteY2" fmla="*/ 126251 h 237998"/>
                <a:gd name="connsiteX3" fmla="*/ 95180 w 206879"/>
                <a:gd name="connsiteY3" fmla="*/ 237998 h 2379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6879" h="237998">
                  <a:moveTo>
                    <a:pt x="0" y="80628"/>
                  </a:moveTo>
                  <a:lnTo>
                    <a:pt x="80628" y="0"/>
                  </a:lnTo>
                  <a:lnTo>
                    <a:pt x="206880" y="126251"/>
                  </a:lnTo>
                  <a:lnTo>
                    <a:pt x="95180" y="237998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521" name="Forma livre: Forma 520">
              <a:extLst>
                <a:ext uri="{FF2B5EF4-FFF2-40B4-BE49-F238E27FC236}">
                  <a16:creationId xmlns:a16="http://schemas.microsoft.com/office/drawing/2014/main" id="{82A8671E-3DDD-BAF2-B254-40E27E0903F3}"/>
                </a:ext>
              </a:extLst>
            </p:cNvPr>
            <p:cNvSpPr/>
            <p:nvPr/>
          </p:nvSpPr>
          <p:spPr>
            <a:xfrm>
              <a:off x="8289089" y="5638557"/>
              <a:ext cx="446157" cy="191252"/>
            </a:xfrm>
            <a:custGeom>
              <a:avLst/>
              <a:gdLst>
                <a:gd name="connsiteX0" fmla="*/ 446158 w 446157"/>
                <a:gd name="connsiteY0" fmla="*/ 106533 h 191252"/>
                <a:gd name="connsiteX1" fmla="*/ 419068 w 446157"/>
                <a:gd name="connsiteY1" fmla="*/ 49865 h 191252"/>
                <a:gd name="connsiteX2" fmla="*/ 415727 w 446157"/>
                <a:gd name="connsiteY2" fmla="*/ 46524 h 191252"/>
                <a:gd name="connsiteX3" fmla="*/ 281891 w 446157"/>
                <a:gd name="connsiteY3" fmla="*/ 46761 h 191252"/>
                <a:gd name="connsiteX4" fmla="*/ 165049 w 446157"/>
                <a:gd name="connsiteY4" fmla="*/ 163603 h 191252"/>
                <a:gd name="connsiteX5" fmla="*/ 31000 w 446157"/>
                <a:gd name="connsiteY5" fmla="*/ 163603 h 191252"/>
                <a:gd name="connsiteX6" fmla="*/ 27658 w 446157"/>
                <a:gd name="connsiteY6" fmla="*/ 160238 h 191252"/>
                <a:gd name="connsiteX7" fmla="*/ 27658 w 446157"/>
                <a:gd name="connsiteY7" fmla="*/ 26212 h 191252"/>
                <a:gd name="connsiteX8" fmla="*/ 53847 w 446157"/>
                <a:gd name="connsiteY8" fmla="*/ 0 h 1912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46157" h="191252">
                  <a:moveTo>
                    <a:pt x="446158" y="106533"/>
                  </a:moveTo>
                  <a:cubicBezTo>
                    <a:pt x="443906" y="85819"/>
                    <a:pt x="434876" y="65697"/>
                    <a:pt x="419068" y="49865"/>
                  </a:cubicBezTo>
                  <a:lnTo>
                    <a:pt x="415727" y="46524"/>
                  </a:lnTo>
                  <a:cubicBezTo>
                    <a:pt x="378873" y="9670"/>
                    <a:pt x="318745" y="9883"/>
                    <a:pt x="281891" y="46761"/>
                  </a:cubicBezTo>
                  <a:lnTo>
                    <a:pt x="165049" y="163603"/>
                  </a:lnTo>
                  <a:cubicBezTo>
                    <a:pt x="128171" y="200481"/>
                    <a:pt x="67854" y="200457"/>
                    <a:pt x="31000" y="163603"/>
                  </a:cubicBezTo>
                  <a:lnTo>
                    <a:pt x="27658" y="160238"/>
                  </a:lnTo>
                  <a:cubicBezTo>
                    <a:pt x="-9196" y="123384"/>
                    <a:pt x="-9243" y="63066"/>
                    <a:pt x="27658" y="26212"/>
                  </a:cubicBezTo>
                  <a:lnTo>
                    <a:pt x="53847" y="0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522" name="Forma livre: Forma 521">
              <a:extLst>
                <a:ext uri="{FF2B5EF4-FFF2-40B4-BE49-F238E27FC236}">
                  <a16:creationId xmlns:a16="http://schemas.microsoft.com/office/drawing/2014/main" id="{D2C7287E-7224-AB40-1EB9-B69EF5A9B817}"/>
                </a:ext>
              </a:extLst>
            </p:cNvPr>
            <p:cNvSpPr/>
            <p:nvPr/>
          </p:nvSpPr>
          <p:spPr>
            <a:xfrm>
              <a:off x="8302883" y="5558735"/>
              <a:ext cx="119804" cy="119805"/>
            </a:xfrm>
            <a:custGeom>
              <a:avLst/>
              <a:gdLst>
                <a:gd name="connsiteX0" fmla="*/ 119805 w 119804"/>
                <a:gd name="connsiteY0" fmla="*/ 82122 h 119805"/>
                <a:gd name="connsiteX1" fmla="*/ 82121 w 119804"/>
                <a:gd name="connsiteY1" fmla="*/ 119805 h 119805"/>
                <a:gd name="connsiteX2" fmla="*/ 0 w 119804"/>
                <a:gd name="connsiteY2" fmla="*/ 37684 h 119805"/>
                <a:gd name="connsiteX3" fmla="*/ 37683 w 119804"/>
                <a:gd name="connsiteY3" fmla="*/ 0 h 1198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9804" h="119805">
                  <a:moveTo>
                    <a:pt x="119805" y="82122"/>
                  </a:moveTo>
                  <a:lnTo>
                    <a:pt x="82121" y="119805"/>
                  </a:lnTo>
                  <a:lnTo>
                    <a:pt x="0" y="37684"/>
                  </a:lnTo>
                  <a:lnTo>
                    <a:pt x="37683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523" name="Gráfico 8">
              <a:extLst>
                <a:ext uri="{FF2B5EF4-FFF2-40B4-BE49-F238E27FC236}">
                  <a16:creationId xmlns:a16="http://schemas.microsoft.com/office/drawing/2014/main" id="{0341B64B-3A77-C0D8-764A-8ADACBE9F602}"/>
                </a:ext>
              </a:extLst>
            </p:cNvPr>
            <p:cNvGrpSpPr/>
            <p:nvPr/>
          </p:nvGrpSpPr>
          <p:grpSpPr>
            <a:xfrm>
              <a:off x="8586047" y="5343242"/>
              <a:ext cx="51934" cy="52292"/>
              <a:chOff x="8586047" y="5343242"/>
              <a:chExt cx="51934" cy="52292"/>
            </a:xfrm>
            <a:solidFill>
              <a:srgbClr val="394553"/>
            </a:solidFill>
          </p:grpSpPr>
          <p:sp>
            <p:nvSpPr>
              <p:cNvPr id="524" name="Forma livre: Forma 523">
                <a:extLst>
                  <a:ext uri="{FF2B5EF4-FFF2-40B4-BE49-F238E27FC236}">
                    <a16:creationId xmlns:a16="http://schemas.microsoft.com/office/drawing/2014/main" id="{9B401FE0-EA50-8397-E20A-737954928A91}"/>
                  </a:ext>
                </a:extLst>
              </p:cNvPr>
              <p:cNvSpPr/>
              <p:nvPr/>
            </p:nvSpPr>
            <p:spPr>
              <a:xfrm rot="-2695799">
                <a:off x="8587107" y="5344302"/>
                <a:ext cx="5119" cy="5119"/>
              </a:xfrm>
              <a:custGeom>
                <a:avLst/>
                <a:gdLst>
                  <a:gd name="connsiteX0" fmla="*/ 0 w 5119"/>
                  <a:gd name="connsiteY0" fmla="*/ 0 h 5119"/>
                  <a:gd name="connsiteX1" fmla="*/ 5119 w 5119"/>
                  <a:gd name="connsiteY1" fmla="*/ 0 h 5119"/>
                  <a:gd name="connsiteX2" fmla="*/ 5119 w 5119"/>
                  <a:gd name="connsiteY2" fmla="*/ 5119 h 5119"/>
                  <a:gd name="connsiteX3" fmla="*/ 0 w 5119"/>
                  <a:gd name="connsiteY3" fmla="*/ 5119 h 51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119" h="5119">
                    <a:moveTo>
                      <a:pt x="0" y="0"/>
                    </a:moveTo>
                    <a:lnTo>
                      <a:pt x="5119" y="0"/>
                    </a:lnTo>
                    <a:lnTo>
                      <a:pt x="5119" y="5119"/>
                    </a:lnTo>
                    <a:lnTo>
                      <a:pt x="0" y="5119"/>
                    </a:ln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25" name="Forma livre: Forma 524">
                <a:extLst>
                  <a:ext uri="{FF2B5EF4-FFF2-40B4-BE49-F238E27FC236}">
                    <a16:creationId xmlns:a16="http://schemas.microsoft.com/office/drawing/2014/main" id="{9CCCC584-12D1-4D8A-4D4A-7E7C8D3DD9EE}"/>
                  </a:ext>
                </a:extLst>
              </p:cNvPr>
              <p:cNvSpPr/>
              <p:nvPr/>
            </p:nvSpPr>
            <p:spPr>
              <a:xfrm>
                <a:off x="8630752" y="5388306"/>
                <a:ext cx="7228" cy="7228"/>
              </a:xfrm>
              <a:custGeom>
                <a:avLst/>
                <a:gdLst>
                  <a:gd name="connsiteX0" fmla="*/ 3626 w 7228"/>
                  <a:gd name="connsiteY0" fmla="*/ 7229 h 7228"/>
                  <a:gd name="connsiteX1" fmla="*/ 0 w 7228"/>
                  <a:gd name="connsiteY1" fmla="*/ 3602 h 7228"/>
                  <a:gd name="connsiteX2" fmla="*/ 3626 w 7228"/>
                  <a:gd name="connsiteY2" fmla="*/ 0 h 7228"/>
                  <a:gd name="connsiteX3" fmla="*/ 7229 w 7228"/>
                  <a:gd name="connsiteY3" fmla="*/ 3602 h 7228"/>
                  <a:gd name="connsiteX4" fmla="*/ 3626 w 7228"/>
                  <a:gd name="connsiteY4" fmla="*/ 7229 h 72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228" h="7228">
                    <a:moveTo>
                      <a:pt x="3626" y="7229"/>
                    </a:moveTo>
                    <a:lnTo>
                      <a:pt x="0" y="3602"/>
                    </a:lnTo>
                    <a:lnTo>
                      <a:pt x="3626" y="0"/>
                    </a:lnTo>
                    <a:lnTo>
                      <a:pt x="7229" y="3602"/>
                    </a:lnTo>
                    <a:lnTo>
                      <a:pt x="3626" y="7229"/>
                    </a:ln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526" name="Gráfico 8">
            <a:extLst>
              <a:ext uri="{FF2B5EF4-FFF2-40B4-BE49-F238E27FC236}">
                <a16:creationId xmlns:a16="http://schemas.microsoft.com/office/drawing/2014/main" id="{E62A342C-CD00-6162-4E01-342B4C0E849F}"/>
              </a:ext>
            </a:extLst>
          </p:cNvPr>
          <p:cNvGrpSpPr/>
          <p:nvPr/>
        </p:nvGrpSpPr>
        <p:grpSpPr>
          <a:xfrm>
            <a:off x="10694762" y="5308009"/>
            <a:ext cx="580514" cy="450542"/>
            <a:chOff x="10694762" y="5308009"/>
            <a:chExt cx="580514" cy="450542"/>
          </a:xfrm>
          <a:noFill/>
        </p:grpSpPr>
        <p:sp>
          <p:nvSpPr>
            <p:cNvPr id="527" name="Forma livre: Forma 526">
              <a:extLst>
                <a:ext uri="{FF2B5EF4-FFF2-40B4-BE49-F238E27FC236}">
                  <a16:creationId xmlns:a16="http://schemas.microsoft.com/office/drawing/2014/main" id="{F7687088-F1CD-6A94-1CE8-C8A5335332FF}"/>
                </a:ext>
              </a:extLst>
            </p:cNvPr>
            <p:cNvSpPr/>
            <p:nvPr/>
          </p:nvSpPr>
          <p:spPr>
            <a:xfrm>
              <a:off x="10749983" y="5308009"/>
              <a:ext cx="525292" cy="400558"/>
            </a:xfrm>
            <a:custGeom>
              <a:avLst/>
              <a:gdLst>
                <a:gd name="connsiteX0" fmla="*/ 0 w 525292"/>
                <a:gd name="connsiteY0" fmla="*/ 0 h 400558"/>
                <a:gd name="connsiteX1" fmla="*/ 525293 w 525292"/>
                <a:gd name="connsiteY1" fmla="*/ 0 h 400558"/>
                <a:gd name="connsiteX2" fmla="*/ 525293 w 525292"/>
                <a:gd name="connsiteY2" fmla="*/ 400558 h 4005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525292" h="400558">
                  <a:moveTo>
                    <a:pt x="0" y="0"/>
                  </a:moveTo>
                  <a:lnTo>
                    <a:pt x="525293" y="0"/>
                  </a:lnTo>
                  <a:lnTo>
                    <a:pt x="525293" y="400558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528" name="Gráfico 8">
              <a:extLst>
                <a:ext uri="{FF2B5EF4-FFF2-40B4-BE49-F238E27FC236}">
                  <a16:creationId xmlns:a16="http://schemas.microsoft.com/office/drawing/2014/main" id="{70A1CBE1-7EAD-EFD0-B013-9991A819AE11}"/>
                </a:ext>
              </a:extLst>
            </p:cNvPr>
            <p:cNvGrpSpPr/>
            <p:nvPr/>
          </p:nvGrpSpPr>
          <p:grpSpPr>
            <a:xfrm>
              <a:off x="10694762" y="5370957"/>
              <a:ext cx="517495" cy="387594"/>
              <a:chOff x="10694762" y="5370957"/>
              <a:chExt cx="517495" cy="387594"/>
            </a:xfrm>
            <a:noFill/>
          </p:grpSpPr>
          <p:grpSp>
            <p:nvGrpSpPr>
              <p:cNvPr id="529" name="Gráfico 8">
                <a:extLst>
                  <a:ext uri="{FF2B5EF4-FFF2-40B4-BE49-F238E27FC236}">
                    <a16:creationId xmlns:a16="http://schemas.microsoft.com/office/drawing/2014/main" id="{1C8DD496-6883-6789-1249-E1CFE56A78EF}"/>
                  </a:ext>
                </a:extLst>
              </p:cNvPr>
              <p:cNvGrpSpPr/>
              <p:nvPr/>
            </p:nvGrpSpPr>
            <p:grpSpPr>
              <a:xfrm>
                <a:off x="10694762" y="5370957"/>
                <a:ext cx="517495" cy="387594"/>
                <a:chOff x="10694762" y="5370957"/>
                <a:chExt cx="517495" cy="387594"/>
              </a:xfrm>
              <a:noFill/>
            </p:grpSpPr>
            <p:sp>
              <p:nvSpPr>
                <p:cNvPr id="530" name="Forma livre: Forma 529">
                  <a:extLst>
                    <a:ext uri="{FF2B5EF4-FFF2-40B4-BE49-F238E27FC236}">
                      <a16:creationId xmlns:a16="http://schemas.microsoft.com/office/drawing/2014/main" id="{4C051E71-EE29-B0F6-00B1-5C5A03FF0BC5}"/>
                    </a:ext>
                  </a:extLst>
                </p:cNvPr>
                <p:cNvSpPr/>
                <p:nvPr/>
              </p:nvSpPr>
              <p:spPr>
                <a:xfrm>
                  <a:off x="10696208" y="5517639"/>
                  <a:ext cx="350313" cy="186165"/>
                </a:xfrm>
                <a:custGeom>
                  <a:avLst/>
                  <a:gdLst>
                    <a:gd name="connsiteX0" fmla="*/ 0 w 350313"/>
                    <a:gd name="connsiteY0" fmla="*/ 186166 h 186165"/>
                    <a:gd name="connsiteX1" fmla="*/ 174268 w 350313"/>
                    <a:gd name="connsiteY1" fmla="*/ 0 h 186165"/>
                    <a:gd name="connsiteX2" fmla="*/ 350314 w 350313"/>
                    <a:gd name="connsiteY2" fmla="*/ 185715 h 18616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350313" h="186165">
                      <a:moveTo>
                        <a:pt x="0" y="186166"/>
                      </a:moveTo>
                      <a:lnTo>
                        <a:pt x="174268" y="0"/>
                      </a:lnTo>
                      <a:lnTo>
                        <a:pt x="350314" y="185715"/>
                      </a:ln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531" name="Forma livre: Forma 530">
                  <a:extLst>
                    <a:ext uri="{FF2B5EF4-FFF2-40B4-BE49-F238E27FC236}">
                      <a16:creationId xmlns:a16="http://schemas.microsoft.com/office/drawing/2014/main" id="{A2673717-5045-7297-DF10-13B1978D63D7}"/>
                    </a:ext>
                  </a:extLst>
                </p:cNvPr>
                <p:cNvSpPr/>
                <p:nvPr/>
              </p:nvSpPr>
              <p:spPr>
                <a:xfrm>
                  <a:off x="10694762" y="5370957"/>
                  <a:ext cx="517495" cy="387594"/>
                </a:xfrm>
                <a:custGeom>
                  <a:avLst/>
                  <a:gdLst>
                    <a:gd name="connsiteX0" fmla="*/ 0 w 517495"/>
                    <a:gd name="connsiteY0" fmla="*/ 0 h 387594"/>
                    <a:gd name="connsiteX1" fmla="*/ 517496 w 517495"/>
                    <a:gd name="connsiteY1" fmla="*/ 0 h 387594"/>
                    <a:gd name="connsiteX2" fmla="*/ 517472 w 517495"/>
                    <a:gd name="connsiteY2" fmla="*/ 387594 h 387594"/>
                    <a:gd name="connsiteX3" fmla="*/ 0 w 517495"/>
                    <a:gd name="connsiteY3" fmla="*/ 387594 h 387594"/>
                    <a:gd name="connsiteX4" fmla="*/ 0 w 517495"/>
                    <a:gd name="connsiteY4" fmla="*/ 0 h 38759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17495" h="387594">
                      <a:moveTo>
                        <a:pt x="0" y="0"/>
                      </a:moveTo>
                      <a:lnTo>
                        <a:pt x="517496" y="0"/>
                      </a:lnTo>
                      <a:lnTo>
                        <a:pt x="517472" y="387594"/>
                      </a:lnTo>
                      <a:lnTo>
                        <a:pt x="0" y="387594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532" name="Forma livre: Forma 531">
                  <a:extLst>
                    <a:ext uri="{FF2B5EF4-FFF2-40B4-BE49-F238E27FC236}">
                      <a16:creationId xmlns:a16="http://schemas.microsoft.com/office/drawing/2014/main" id="{EAE98245-4548-AC29-AA7D-05CD905CAF6A}"/>
                    </a:ext>
                  </a:extLst>
                </p:cNvPr>
                <p:cNvSpPr/>
                <p:nvPr/>
              </p:nvSpPr>
              <p:spPr>
                <a:xfrm>
                  <a:off x="11035192" y="5568831"/>
                  <a:ext cx="177017" cy="127152"/>
                </a:xfrm>
                <a:custGeom>
                  <a:avLst/>
                  <a:gdLst>
                    <a:gd name="connsiteX0" fmla="*/ 0 w 177017"/>
                    <a:gd name="connsiteY0" fmla="*/ 61099 h 127152"/>
                    <a:gd name="connsiteX1" fmla="*/ 57852 w 177017"/>
                    <a:gd name="connsiteY1" fmla="*/ 0 h 127152"/>
                    <a:gd name="connsiteX2" fmla="*/ 177017 w 177017"/>
                    <a:gd name="connsiteY2" fmla="*/ 127152 h 12715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77017" h="127152">
                      <a:moveTo>
                        <a:pt x="0" y="61099"/>
                      </a:moveTo>
                      <a:lnTo>
                        <a:pt x="57852" y="0"/>
                      </a:lnTo>
                      <a:lnTo>
                        <a:pt x="177017" y="127152"/>
                      </a:ln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533" name="Forma livre: Forma 532">
                <a:extLst>
                  <a:ext uri="{FF2B5EF4-FFF2-40B4-BE49-F238E27FC236}">
                    <a16:creationId xmlns:a16="http://schemas.microsoft.com/office/drawing/2014/main" id="{1EDAB0EC-1B70-CEB5-07E9-74C7B4638650}"/>
                  </a:ext>
                </a:extLst>
              </p:cNvPr>
              <p:cNvSpPr/>
              <p:nvPr/>
            </p:nvSpPr>
            <p:spPr>
              <a:xfrm>
                <a:off x="10979781" y="5438456"/>
                <a:ext cx="90155" cy="90179"/>
              </a:xfrm>
              <a:custGeom>
                <a:avLst/>
                <a:gdLst>
                  <a:gd name="connsiteX0" fmla="*/ 90156 w 90155"/>
                  <a:gd name="connsiteY0" fmla="*/ 45078 h 90179"/>
                  <a:gd name="connsiteX1" fmla="*/ 45078 w 90155"/>
                  <a:gd name="connsiteY1" fmla="*/ 90180 h 90179"/>
                  <a:gd name="connsiteX2" fmla="*/ 0 w 90155"/>
                  <a:gd name="connsiteY2" fmla="*/ 45078 h 90179"/>
                  <a:gd name="connsiteX3" fmla="*/ 45078 w 90155"/>
                  <a:gd name="connsiteY3" fmla="*/ 0 h 90179"/>
                  <a:gd name="connsiteX4" fmla="*/ 90156 w 90155"/>
                  <a:gd name="connsiteY4" fmla="*/ 45078 h 901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90155" h="90179">
                    <a:moveTo>
                      <a:pt x="90156" y="45078"/>
                    </a:moveTo>
                    <a:cubicBezTo>
                      <a:pt x="90156" y="69963"/>
                      <a:pt x="69963" y="90180"/>
                      <a:pt x="45078" y="90180"/>
                    </a:cubicBezTo>
                    <a:cubicBezTo>
                      <a:pt x="20193" y="90180"/>
                      <a:pt x="0" y="69987"/>
                      <a:pt x="0" y="45078"/>
                    </a:cubicBezTo>
                    <a:cubicBezTo>
                      <a:pt x="0" y="20169"/>
                      <a:pt x="20193" y="0"/>
                      <a:pt x="45078" y="0"/>
                    </a:cubicBezTo>
                    <a:cubicBezTo>
                      <a:pt x="69963" y="0"/>
                      <a:pt x="90156" y="20193"/>
                      <a:pt x="90156" y="45078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534" name="Gráfico 8">
            <a:extLst>
              <a:ext uri="{FF2B5EF4-FFF2-40B4-BE49-F238E27FC236}">
                <a16:creationId xmlns:a16="http://schemas.microsoft.com/office/drawing/2014/main" id="{9F034430-1C65-3852-B988-BF29493AAD82}"/>
              </a:ext>
            </a:extLst>
          </p:cNvPr>
          <p:cNvGrpSpPr/>
          <p:nvPr/>
        </p:nvGrpSpPr>
        <p:grpSpPr>
          <a:xfrm>
            <a:off x="9430400" y="1024137"/>
            <a:ext cx="641045" cy="425277"/>
            <a:chOff x="9430400" y="1024137"/>
            <a:chExt cx="641045" cy="425277"/>
          </a:xfrm>
        </p:grpSpPr>
        <p:sp>
          <p:nvSpPr>
            <p:cNvPr id="535" name="Forma livre: Forma 534">
              <a:extLst>
                <a:ext uri="{FF2B5EF4-FFF2-40B4-BE49-F238E27FC236}">
                  <a16:creationId xmlns:a16="http://schemas.microsoft.com/office/drawing/2014/main" id="{8D640584-5868-71AB-0D48-0BA5A016ACEE}"/>
                </a:ext>
              </a:extLst>
            </p:cNvPr>
            <p:cNvSpPr/>
            <p:nvPr/>
          </p:nvSpPr>
          <p:spPr>
            <a:xfrm>
              <a:off x="9430400" y="1077652"/>
              <a:ext cx="169077" cy="341710"/>
            </a:xfrm>
            <a:custGeom>
              <a:avLst/>
              <a:gdLst>
                <a:gd name="connsiteX0" fmla="*/ 169078 w 169077"/>
                <a:gd name="connsiteY0" fmla="*/ 341711 h 341710"/>
                <a:gd name="connsiteX1" fmla="*/ 29460 w 169077"/>
                <a:gd name="connsiteY1" fmla="*/ 341711 h 341710"/>
                <a:gd name="connsiteX2" fmla="*/ 0 w 169077"/>
                <a:gd name="connsiteY2" fmla="*/ 312251 h 341710"/>
                <a:gd name="connsiteX3" fmla="*/ 0 w 169077"/>
                <a:gd name="connsiteY3" fmla="*/ 29459 h 341710"/>
                <a:gd name="connsiteX4" fmla="*/ 29460 w 169077"/>
                <a:gd name="connsiteY4" fmla="*/ 0 h 341710"/>
                <a:gd name="connsiteX5" fmla="*/ 169078 w 169077"/>
                <a:gd name="connsiteY5" fmla="*/ 0 h 3417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69077" h="341710">
                  <a:moveTo>
                    <a:pt x="169078" y="341711"/>
                  </a:moveTo>
                  <a:lnTo>
                    <a:pt x="29460" y="341711"/>
                  </a:lnTo>
                  <a:cubicBezTo>
                    <a:pt x="13249" y="341711"/>
                    <a:pt x="0" y="328462"/>
                    <a:pt x="0" y="312251"/>
                  </a:cubicBezTo>
                  <a:lnTo>
                    <a:pt x="0" y="29459"/>
                  </a:lnTo>
                  <a:cubicBezTo>
                    <a:pt x="0" y="13248"/>
                    <a:pt x="13249" y="0"/>
                    <a:pt x="29460" y="0"/>
                  </a:cubicBezTo>
                  <a:lnTo>
                    <a:pt x="169078" y="0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536" name="Forma livre: Forma 535">
              <a:extLst>
                <a:ext uri="{FF2B5EF4-FFF2-40B4-BE49-F238E27FC236}">
                  <a16:creationId xmlns:a16="http://schemas.microsoft.com/office/drawing/2014/main" id="{05AD2CCD-092C-9F0D-CA82-0F6794A4C62C}"/>
                </a:ext>
              </a:extLst>
            </p:cNvPr>
            <p:cNvSpPr/>
            <p:nvPr/>
          </p:nvSpPr>
          <p:spPr>
            <a:xfrm>
              <a:off x="9971098" y="1077652"/>
              <a:ext cx="100347" cy="341710"/>
            </a:xfrm>
            <a:custGeom>
              <a:avLst/>
              <a:gdLst>
                <a:gd name="connsiteX0" fmla="*/ 0 w 100347"/>
                <a:gd name="connsiteY0" fmla="*/ 0 h 341710"/>
                <a:gd name="connsiteX1" fmla="*/ 70888 w 100347"/>
                <a:gd name="connsiteY1" fmla="*/ 0 h 341710"/>
                <a:gd name="connsiteX2" fmla="*/ 100347 w 100347"/>
                <a:gd name="connsiteY2" fmla="*/ 29459 h 341710"/>
                <a:gd name="connsiteX3" fmla="*/ 100347 w 100347"/>
                <a:gd name="connsiteY3" fmla="*/ 312251 h 341710"/>
                <a:gd name="connsiteX4" fmla="*/ 70888 w 100347"/>
                <a:gd name="connsiteY4" fmla="*/ 341711 h 341710"/>
                <a:gd name="connsiteX5" fmla="*/ 0 w 100347"/>
                <a:gd name="connsiteY5" fmla="*/ 341711 h 3417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00347" h="341710">
                  <a:moveTo>
                    <a:pt x="0" y="0"/>
                  </a:moveTo>
                  <a:lnTo>
                    <a:pt x="70888" y="0"/>
                  </a:lnTo>
                  <a:cubicBezTo>
                    <a:pt x="87075" y="0"/>
                    <a:pt x="100347" y="13248"/>
                    <a:pt x="100347" y="29459"/>
                  </a:cubicBezTo>
                  <a:lnTo>
                    <a:pt x="100347" y="312251"/>
                  </a:lnTo>
                  <a:cubicBezTo>
                    <a:pt x="100347" y="328462"/>
                    <a:pt x="87099" y="341711"/>
                    <a:pt x="70888" y="341711"/>
                  </a:cubicBezTo>
                  <a:lnTo>
                    <a:pt x="0" y="341711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537" name="Forma livre: Forma 536">
              <a:extLst>
                <a:ext uri="{FF2B5EF4-FFF2-40B4-BE49-F238E27FC236}">
                  <a16:creationId xmlns:a16="http://schemas.microsoft.com/office/drawing/2014/main" id="{24E62F9D-00DF-75D8-4B09-A227C70D80C0}"/>
                </a:ext>
              </a:extLst>
            </p:cNvPr>
            <p:cNvSpPr/>
            <p:nvPr/>
          </p:nvSpPr>
          <p:spPr>
            <a:xfrm>
              <a:off x="9585186" y="1047600"/>
              <a:ext cx="401790" cy="401814"/>
            </a:xfrm>
            <a:custGeom>
              <a:avLst/>
              <a:gdLst>
                <a:gd name="connsiteX0" fmla="*/ 401791 w 401790"/>
                <a:gd name="connsiteY0" fmla="*/ 200907 h 401814"/>
                <a:gd name="connsiteX1" fmla="*/ 200883 w 401790"/>
                <a:gd name="connsiteY1" fmla="*/ 401815 h 401814"/>
                <a:gd name="connsiteX2" fmla="*/ 0 w 401790"/>
                <a:gd name="connsiteY2" fmla="*/ 200907 h 401814"/>
                <a:gd name="connsiteX3" fmla="*/ 200883 w 401790"/>
                <a:gd name="connsiteY3" fmla="*/ 0 h 401814"/>
                <a:gd name="connsiteX4" fmla="*/ 401791 w 401790"/>
                <a:gd name="connsiteY4" fmla="*/ 200907 h 4018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01790" h="401814">
                  <a:moveTo>
                    <a:pt x="401791" y="200907"/>
                  </a:moveTo>
                  <a:cubicBezTo>
                    <a:pt x="401791" y="311848"/>
                    <a:pt x="311848" y="401815"/>
                    <a:pt x="200883" y="401815"/>
                  </a:cubicBezTo>
                  <a:cubicBezTo>
                    <a:pt x="89919" y="401815"/>
                    <a:pt x="0" y="311872"/>
                    <a:pt x="0" y="200907"/>
                  </a:cubicBezTo>
                  <a:cubicBezTo>
                    <a:pt x="0" y="89943"/>
                    <a:pt x="89919" y="0"/>
                    <a:pt x="200883" y="0"/>
                  </a:cubicBezTo>
                  <a:cubicBezTo>
                    <a:pt x="311848" y="0"/>
                    <a:pt x="401791" y="89943"/>
                    <a:pt x="401791" y="200907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538" name="Forma livre: Forma 537">
              <a:extLst>
                <a:ext uri="{FF2B5EF4-FFF2-40B4-BE49-F238E27FC236}">
                  <a16:creationId xmlns:a16="http://schemas.microsoft.com/office/drawing/2014/main" id="{0B9CCD70-9C18-6E5E-ACED-F18EC2549906}"/>
                </a:ext>
              </a:extLst>
            </p:cNvPr>
            <p:cNvSpPr/>
            <p:nvPr/>
          </p:nvSpPr>
          <p:spPr>
            <a:xfrm>
              <a:off x="9654296" y="1116758"/>
              <a:ext cx="263547" cy="263547"/>
            </a:xfrm>
            <a:custGeom>
              <a:avLst/>
              <a:gdLst>
                <a:gd name="connsiteX0" fmla="*/ 66859 w 263547"/>
                <a:gd name="connsiteY0" fmla="*/ 17064 h 263547"/>
                <a:gd name="connsiteX1" fmla="*/ 131750 w 263547"/>
                <a:gd name="connsiteY1" fmla="*/ 0 h 263547"/>
                <a:gd name="connsiteX2" fmla="*/ 263547 w 263547"/>
                <a:gd name="connsiteY2" fmla="*/ 131774 h 263547"/>
                <a:gd name="connsiteX3" fmla="*/ 131750 w 263547"/>
                <a:gd name="connsiteY3" fmla="*/ 263547 h 263547"/>
                <a:gd name="connsiteX4" fmla="*/ 0 w 263547"/>
                <a:gd name="connsiteY4" fmla="*/ 131774 h 263547"/>
                <a:gd name="connsiteX5" fmla="*/ 18083 w 263547"/>
                <a:gd name="connsiteY5" fmla="*/ 65128 h 2635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63547" h="263547">
                  <a:moveTo>
                    <a:pt x="66859" y="17064"/>
                  </a:moveTo>
                  <a:cubicBezTo>
                    <a:pt x="86032" y="6186"/>
                    <a:pt x="108168" y="-24"/>
                    <a:pt x="131750" y="0"/>
                  </a:cubicBezTo>
                  <a:cubicBezTo>
                    <a:pt x="204533" y="0"/>
                    <a:pt x="263547" y="58990"/>
                    <a:pt x="263547" y="131774"/>
                  </a:cubicBezTo>
                  <a:cubicBezTo>
                    <a:pt x="263547" y="204557"/>
                    <a:pt x="204533" y="263547"/>
                    <a:pt x="131750" y="263547"/>
                  </a:cubicBezTo>
                  <a:cubicBezTo>
                    <a:pt x="58966" y="263547"/>
                    <a:pt x="0" y="204533"/>
                    <a:pt x="0" y="131774"/>
                  </a:cubicBezTo>
                  <a:cubicBezTo>
                    <a:pt x="0" y="107433"/>
                    <a:pt x="6589" y="84657"/>
                    <a:pt x="18083" y="65128"/>
                  </a:cubicBez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539" name="Gráfico 8">
              <a:extLst>
                <a:ext uri="{FF2B5EF4-FFF2-40B4-BE49-F238E27FC236}">
                  <a16:creationId xmlns:a16="http://schemas.microsoft.com/office/drawing/2014/main" id="{5866E8A9-F62E-2CC5-8BE3-5A22F405D90D}"/>
                </a:ext>
              </a:extLst>
            </p:cNvPr>
            <p:cNvGrpSpPr/>
            <p:nvPr/>
          </p:nvGrpSpPr>
          <p:grpSpPr>
            <a:xfrm>
              <a:off x="9482896" y="1024137"/>
              <a:ext cx="58895" cy="135281"/>
              <a:chOff x="9482896" y="1024137"/>
              <a:chExt cx="58895" cy="135281"/>
            </a:xfrm>
            <a:solidFill>
              <a:srgbClr val="394553"/>
            </a:solidFill>
          </p:grpSpPr>
          <p:sp>
            <p:nvSpPr>
              <p:cNvPr id="540" name="Forma livre: Forma 539">
                <a:extLst>
                  <a:ext uri="{FF2B5EF4-FFF2-40B4-BE49-F238E27FC236}">
                    <a16:creationId xmlns:a16="http://schemas.microsoft.com/office/drawing/2014/main" id="{60C38A41-251A-013A-7CDA-1CBBCAED013A}"/>
                  </a:ext>
                </a:extLst>
              </p:cNvPr>
              <p:cNvSpPr/>
              <p:nvPr/>
            </p:nvSpPr>
            <p:spPr>
              <a:xfrm>
                <a:off x="9482896" y="1024137"/>
                <a:ext cx="58895" cy="2370"/>
              </a:xfrm>
              <a:custGeom>
                <a:avLst/>
                <a:gdLst>
                  <a:gd name="connsiteX0" fmla="*/ 0 w 58895"/>
                  <a:gd name="connsiteY0" fmla="*/ 0 h 2370"/>
                  <a:gd name="connsiteX1" fmla="*/ 58895 w 58895"/>
                  <a:gd name="connsiteY1" fmla="*/ 0 h 23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8895" h="2370">
                    <a:moveTo>
                      <a:pt x="0" y="0"/>
                    </a:moveTo>
                    <a:lnTo>
                      <a:pt x="58895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41" name="Forma livre: Forma 540">
                <a:extLst>
                  <a:ext uri="{FF2B5EF4-FFF2-40B4-BE49-F238E27FC236}">
                    <a16:creationId xmlns:a16="http://schemas.microsoft.com/office/drawing/2014/main" id="{91CED90F-9A83-1581-0993-091920F5A59F}"/>
                  </a:ext>
                </a:extLst>
              </p:cNvPr>
              <p:cNvSpPr/>
              <p:nvPr/>
            </p:nvSpPr>
            <p:spPr>
              <a:xfrm>
                <a:off x="9504676" y="1144250"/>
                <a:ext cx="15168" cy="15168"/>
              </a:xfrm>
              <a:custGeom>
                <a:avLst/>
                <a:gdLst>
                  <a:gd name="connsiteX0" fmla="*/ 15168 w 15168"/>
                  <a:gd name="connsiteY0" fmla="*/ 7584 h 15168"/>
                  <a:gd name="connsiteX1" fmla="*/ 7584 w 15168"/>
                  <a:gd name="connsiteY1" fmla="*/ 15168 h 15168"/>
                  <a:gd name="connsiteX2" fmla="*/ 0 w 15168"/>
                  <a:gd name="connsiteY2" fmla="*/ 7584 h 15168"/>
                  <a:gd name="connsiteX3" fmla="*/ 7584 w 15168"/>
                  <a:gd name="connsiteY3" fmla="*/ 0 h 15168"/>
                  <a:gd name="connsiteX4" fmla="*/ 15168 w 15168"/>
                  <a:gd name="connsiteY4" fmla="*/ 7584 h 151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5168" h="15168">
                    <a:moveTo>
                      <a:pt x="15168" y="7584"/>
                    </a:moveTo>
                    <a:cubicBezTo>
                      <a:pt x="15168" y="11779"/>
                      <a:pt x="11803" y="15168"/>
                      <a:pt x="7584" y="15168"/>
                    </a:cubicBezTo>
                    <a:cubicBezTo>
                      <a:pt x="3365" y="15168"/>
                      <a:pt x="0" y="11779"/>
                      <a:pt x="0" y="7584"/>
                    </a:cubicBezTo>
                    <a:cubicBezTo>
                      <a:pt x="0" y="3389"/>
                      <a:pt x="3413" y="0"/>
                      <a:pt x="7584" y="0"/>
                    </a:cubicBezTo>
                    <a:cubicBezTo>
                      <a:pt x="11755" y="0"/>
                      <a:pt x="15168" y="3389"/>
                      <a:pt x="15168" y="7584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542" name="Gráfico 8">
            <a:extLst>
              <a:ext uri="{FF2B5EF4-FFF2-40B4-BE49-F238E27FC236}">
                <a16:creationId xmlns:a16="http://schemas.microsoft.com/office/drawing/2014/main" id="{E679EBBC-56F4-EA7A-5208-46A88DBFE218}"/>
              </a:ext>
            </a:extLst>
          </p:cNvPr>
          <p:cNvGrpSpPr/>
          <p:nvPr/>
        </p:nvGrpSpPr>
        <p:grpSpPr>
          <a:xfrm>
            <a:off x="8235171" y="1026744"/>
            <a:ext cx="563331" cy="420040"/>
            <a:chOff x="8235171" y="1026744"/>
            <a:chExt cx="563331" cy="420040"/>
          </a:xfrm>
          <a:noFill/>
        </p:grpSpPr>
        <p:grpSp>
          <p:nvGrpSpPr>
            <p:cNvPr id="543" name="Gráfico 8">
              <a:extLst>
                <a:ext uri="{FF2B5EF4-FFF2-40B4-BE49-F238E27FC236}">
                  <a16:creationId xmlns:a16="http://schemas.microsoft.com/office/drawing/2014/main" id="{9E4C74EF-2A1D-478F-BB79-206E2EE86605}"/>
                </a:ext>
              </a:extLst>
            </p:cNvPr>
            <p:cNvGrpSpPr/>
            <p:nvPr/>
          </p:nvGrpSpPr>
          <p:grpSpPr>
            <a:xfrm>
              <a:off x="8467292" y="1138680"/>
              <a:ext cx="247454" cy="247857"/>
              <a:chOff x="8467292" y="1138680"/>
              <a:chExt cx="247454" cy="247857"/>
            </a:xfrm>
            <a:noFill/>
          </p:grpSpPr>
          <p:sp>
            <p:nvSpPr>
              <p:cNvPr id="544" name="Forma livre: Forma 543">
                <a:extLst>
                  <a:ext uri="{FF2B5EF4-FFF2-40B4-BE49-F238E27FC236}">
                    <a16:creationId xmlns:a16="http://schemas.microsoft.com/office/drawing/2014/main" id="{EA014365-C4FD-2AA5-C16E-156BBFB0B115}"/>
                  </a:ext>
                </a:extLst>
              </p:cNvPr>
              <p:cNvSpPr/>
              <p:nvPr/>
            </p:nvSpPr>
            <p:spPr>
              <a:xfrm>
                <a:off x="8467292" y="1138680"/>
                <a:ext cx="247454" cy="247857"/>
              </a:xfrm>
              <a:custGeom>
                <a:avLst/>
                <a:gdLst>
                  <a:gd name="connsiteX0" fmla="*/ 247455 w 247454"/>
                  <a:gd name="connsiteY0" fmla="*/ 123715 h 247857"/>
                  <a:gd name="connsiteX1" fmla="*/ 123715 w 247454"/>
                  <a:gd name="connsiteY1" fmla="*/ 247858 h 247857"/>
                  <a:gd name="connsiteX2" fmla="*/ 0 w 247454"/>
                  <a:gd name="connsiteY2" fmla="*/ 123715 h 247857"/>
                  <a:gd name="connsiteX3" fmla="*/ 123715 w 247454"/>
                  <a:gd name="connsiteY3" fmla="*/ 0 h 247857"/>
                  <a:gd name="connsiteX4" fmla="*/ 247455 w 247454"/>
                  <a:gd name="connsiteY4" fmla="*/ 123715 h 2478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47454" h="247857">
                    <a:moveTo>
                      <a:pt x="247455" y="123715"/>
                    </a:moveTo>
                    <a:cubicBezTo>
                      <a:pt x="247455" y="192233"/>
                      <a:pt x="192043" y="247858"/>
                      <a:pt x="123715" y="247858"/>
                    </a:cubicBezTo>
                    <a:cubicBezTo>
                      <a:pt x="55388" y="247858"/>
                      <a:pt x="0" y="192257"/>
                      <a:pt x="0" y="123715"/>
                    </a:cubicBezTo>
                    <a:cubicBezTo>
                      <a:pt x="0" y="55174"/>
                      <a:pt x="55388" y="0"/>
                      <a:pt x="123715" y="0"/>
                    </a:cubicBezTo>
                    <a:cubicBezTo>
                      <a:pt x="192043" y="0"/>
                      <a:pt x="247455" y="55411"/>
                      <a:pt x="247455" y="123715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45" name="Forma livre: Forma 544">
                <a:extLst>
                  <a:ext uri="{FF2B5EF4-FFF2-40B4-BE49-F238E27FC236}">
                    <a16:creationId xmlns:a16="http://schemas.microsoft.com/office/drawing/2014/main" id="{E6C00740-D2EA-377A-84FE-2B02644BD9B6}"/>
                  </a:ext>
                </a:extLst>
              </p:cNvPr>
              <p:cNvSpPr/>
              <p:nvPr/>
            </p:nvSpPr>
            <p:spPr>
              <a:xfrm>
                <a:off x="8520428" y="1191911"/>
                <a:ext cx="141111" cy="141324"/>
              </a:xfrm>
              <a:custGeom>
                <a:avLst/>
                <a:gdLst>
                  <a:gd name="connsiteX0" fmla="*/ 41191 w 141111"/>
                  <a:gd name="connsiteY0" fmla="*/ 6399 h 141324"/>
                  <a:gd name="connsiteX1" fmla="*/ 70556 w 141111"/>
                  <a:gd name="connsiteY1" fmla="*/ 0 h 141324"/>
                  <a:gd name="connsiteX2" fmla="*/ 141111 w 141111"/>
                  <a:gd name="connsiteY2" fmla="*/ 70556 h 141324"/>
                  <a:gd name="connsiteX3" fmla="*/ 70556 w 141111"/>
                  <a:gd name="connsiteY3" fmla="*/ 141325 h 141324"/>
                  <a:gd name="connsiteX4" fmla="*/ 0 w 141111"/>
                  <a:gd name="connsiteY4" fmla="*/ 70556 h 141324"/>
                  <a:gd name="connsiteX5" fmla="*/ 2986 w 141111"/>
                  <a:gd name="connsiteY5" fmla="*/ 50197 h 1413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41111" h="141324">
                    <a:moveTo>
                      <a:pt x="41191" y="6399"/>
                    </a:moveTo>
                    <a:cubicBezTo>
                      <a:pt x="50150" y="2299"/>
                      <a:pt x="60080" y="0"/>
                      <a:pt x="70556" y="0"/>
                    </a:cubicBezTo>
                    <a:cubicBezTo>
                      <a:pt x="109519" y="0"/>
                      <a:pt x="141111" y="31592"/>
                      <a:pt x="141111" y="70556"/>
                    </a:cubicBezTo>
                    <a:cubicBezTo>
                      <a:pt x="141111" y="109519"/>
                      <a:pt x="109495" y="141325"/>
                      <a:pt x="70556" y="141325"/>
                    </a:cubicBezTo>
                    <a:cubicBezTo>
                      <a:pt x="31616" y="141325"/>
                      <a:pt x="0" y="109614"/>
                      <a:pt x="0" y="70556"/>
                    </a:cubicBezTo>
                    <a:cubicBezTo>
                      <a:pt x="0" y="63493"/>
                      <a:pt x="1043" y="56644"/>
                      <a:pt x="2986" y="50197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546" name="Gráfico 8">
              <a:extLst>
                <a:ext uri="{FF2B5EF4-FFF2-40B4-BE49-F238E27FC236}">
                  <a16:creationId xmlns:a16="http://schemas.microsoft.com/office/drawing/2014/main" id="{B8B8540D-49A4-AE8F-8DF5-FCE4DF4C95D4}"/>
                </a:ext>
              </a:extLst>
            </p:cNvPr>
            <p:cNvGrpSpPr/>
            <p:nvPr/>
          </p:nvGrpSpPr>
          <p:grpSpPr>
            <a:xfrm>
              <a:off x="8303381" y="1026744"/>
              <a:ext cx="89160" cy="181733"/>
              <a:chOff x="8303381" y="1026744"/>
              <a:chExt cx="89160" cy="181733"/>
            </a:xfrm>
            <a:noFill/>
          </p:grpSpPr>
          <p:sp>
            <p:nvSpPr>
              <p:cNvPr id="547" name="Forma livre: Forma 546">
                <a:extLst>
                  <a:ext uri="{FF2B5EF4-FFF2-40B4-BE49-F238E27FC236}">
                    <a16:creationId xmlns:a16="http://schemas.microsoft.com/office/drawing/2014/main" id="{F696D12A-086A-F0C6-8436-C52236478605}"/>
                  </a:ext>
                </a:extLst>
              </p:cNvPr>
              <p:cNvSpPr/>
              <p:nvPr/>
            </p:nvSpPr>
            <p:spPr>
              <a:xfrm>
                <a:off x="8315539" y="1026744"/>
                <a:ext cx="64867" cy="2370"/>
              </a:xfrm>
              <a:custGeom>
                <a:avLst/>
                <a:gdLst>
                  <a:gd name="connsiteX0" fmla="*/ 0 w 64867"/>
                  <a:gd name="connsiteY0" fmla="*/ 0 h 2370"/>
                  <a:gd name="connsiteX1" fmla="*/ 64868 w 64867"/>
                  <a:gd name="connsiteY1" fmla="*/ 0 h 23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4867" h="2370">
                    <a:moveTo>
                      <a:pt x="0" y="0"/>
                    </a:moveTo>
                    <a:lnTo>
                      <a:pt x="64868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48" name="Forma livre: Forma 547">
                <a:extLst>
                  <a:ext uri="{FF2B5EF4-FFF2-40B4-BE49-F238E27FC236}">
                    <a16:creationId xmlns:a16="http://schemas.microsoft.com/office/drawing/2014/main" id="{E260D399-73F1-43B2-6EA4-90EE15918911}"/>
                  </a:ext>
                </a:extLst>
              </p:cNvPr>
              <p:cNvSpPr/>
              <p:nvPr/>
            </p:nvSpPr>
            <p:spPr>
              <a:xfrm>
                <a:off x="8303381" y="1143420"/>
                <a:ext cx="89160" cy="65057"/>
              </a:xfrm>
              <a:custGeom>
                <a:avLst/>
                <a:gdLst>
                  <a:gd name="connsiteX0" fmla="*/ 0 w 89160"/>
                  <a:gd name="connsiteY0" fmla="*/ 0 h 65057"/>
                  <a:gd name="connsiteX1" fmla="*/ 89160 w 89160"/>
                  <a:gd name="connsiteY1" fmla="*/ 0 h 65057"/>
                  <a:gd name="connsiteX2" fmla="*/ 89160 w 89160"/>
                  <a:gd name="connsiteY2" fmla="*/ 65057 h 65057"/>
                  <a:gd name="connsiteX3" fmla="*/ 0 w 89160"/>
                  <a:gd name="connsiteY3" fmla="*/ 65057 h 650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160" h="65057">
                    <a:moveTo>
                      <a:pt x="0" y="0"/>
                    </a:moveTo>
                    <a:lnTo>
                      <a:pt x="89160" y="0"/>
                    </a:lnTo>
                    <a:lnTo>
                      <a:pt x="89160" y="65057"/>
                    </a:lnTo>
                    <a:lnTo>
                      <a:pt x="0" y="65057"/>
                    </a:lnTo>
                    <a:close/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549" name="Forma livre: Forma 548">
              <a:extLst>
                <a:ext uri="{FF2B5EF4-FFF2-40B4-BE49-F238E27FC236}">
                  <a16:creationId xmlns:a16="http://schemas.microsoft.com/office/drawing/2014/main" id="{332D5CF8-D4AA-35FA-FF82-8069E9532369}"/>
                </a:ext>
              </a:extLst>
            </p:cNvPr>
            <p:cNvSpPr/>
            <p:nvPr/>
          </p:nvSpPr>
          <p:spPr>
            <a:xfrm>
              <a:off x="8235171" y="1078363"/>
              <a:ext cx="563331" cy="368420"/>
            </a:xfrm>
            <a:custGeom>
              <a:avLst/>
              <a:gdLst>
                <a:gd name="connsiteX0" fmla="*/ 534892 w 563331"/>
                <a:gd name="connsiteY0" fmla="*/ 0 h 368420"/>
                <a:gd name="connsiteX1" fmla="*/ 563332 w 563331"/>
                <a:gd name="connsiteY1" fmla="*/ 28440 h 368420"/>
                <a:gd name="connsiteX2" fmla="*/ 563332 w 563331"/>
                <a:gd name="connsiteY2" fmla="*/ 339981 h 368420"/>
                <a:gd name="connsiteX3" fmla="*/ 534892 w 563331"/>
                <a:gd name="connsiteY3" fmla="*/ 368421 h 368420"/>
                <a:gd name="connsiteX4" fmla="*/ 28440 w 563331"/>
                <a:gd name="connsiteY4" fmla="*/ 368421 h 368420"/>
                <a:gd name="connsiteX5" fmla="*/ 0 w 563331"/>
                <a:gd name="connsiteY5" fmla="*/ 339981 h 368420"/>
                <a:gd name="connsiteX6" fmla="*/ 0 w 563331"/>
                <a:gd name="connsiteY6" fmla="*/ 28440 h 368420"/>
                <a:gd name="connsiteX7" fmla="*/ 28440 w 563331"/>
                <a:gd name="connsiteY7" fmla="*/ 0 h 3684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63331" h="368420">
                  <a:moveTo>
                    <a:pt x="534892" y="0"/>
                  </a:moveTo>
                  <a:cubicBezTo>
                    <a:pt x="550599" y="0"/>
                    <a:pt x="563332" y="12733"/>
                    <a:pt x="563332" y="28440"/>
                  </a:cubicBezTo>
                  <a:lnTo>
                    <a:pt x="563332" y="339981"/>
                  </a:lnTo>
                  <a:cubicBezTo>
                    <a:pt x="563332" y="355688"/>
                    <a:pt x="550599" y="368421"/>
                    <a:pt x="534892" y="368421"/>
                  </a:cubicBezTo>
                  <a:lnTo>
                    <a:pt x="28440" y="368421"/>
                  </a:lnTo>
                  <a:cubicBezTo>
                    <a:pt x="12733" y="368421"/>
                    <a:pt x="0" y="355688"/>
                    <a:pt x="0" y="339981"/>
                  </a:cubicBezTo>
                  <a:lnTo>
                    <a:pt x="0" y="28440"/>
                  </a:lnTo>
                  <a:cubicBezTo>
                    <a:pt x="0" y="12733"/>
                    <a:pt x="12733" y="0"/>
                    <a:pt x="28440" y="0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550" name="Gráfico 8">
            <a:extLst>
              <a:ext uri="{FF2B5EF4-FFF2-40B4-BE49-F238E27FC236}">
                <a16:creationId xmlns:a16="http://schemas.microsoft.com/office/drawing/2014/main" id="{5BD716DE-B0D6-AAB5-AFB8-03309ADE90B6}"/>
              </a:ext>
            </a:extLst>
          </p:cNvPr>
          <p:cNvGrpSpPr/>
          <p:nvPr/>
        </p:nvGrpSpPr>
        <p:grpSpPr>
          <a:xfrm>
            <a:off x="10673455" y="992924"/>
            <a:ext cx="623127" cy="487704"/>
            <a:chOff x="10673455" y="992924"/>
            <a:chExt cx="623127" cy="487704"/>
          </a:xfrm>
        </p:grpSpPr>
        <p:sp>
          <p:nvSpPr>
            <p:cNvPr id="551" name="Forma livre: Forma 550">
              <a:extLst>
                <a:ext uri="{FF2B5EF4-FFF2-40B4-BE49-F238E27FC236}">
                  <a16:creationId xmlns:a16="http://schemas.microsoft.com/office/drawing/2014/main" id="{B7E4630D-50EC-8F6C-B10E-B64CB1671675}"/>
                </a:ext>
              </a:extLst>
            </p:cNvPr>
            <p:cNvSpPr/>
            <p:nvPr/>
          </p:nvSpPr>
          <p:spPr>
            <a:xfrm>
              <a:off x="10737446" y="1146881"/>
              <a:ext cx="15168" cy="15168"/>
            </a:xfrm>
            <a:custGeom>
              <a:avLst/>
              <a:gdLst>
                <a:gd name="connsiteX0" fmla="*/ 15168 w 15168"/>
                <a:gd name="connsiteY0" fmla="*/ 7584 h 15168"/>
                <a:gd name="connsiteX1" fmla="*/ 7584 w 15168"/>
                <a:gd name="connsiteY1" fmla="*/ 15168 h 15168"/>
                <a:gd name="connsiteX2" fmla="*/ 0 w 15168"/>
                <a:gd name="connsiteY2" fmla="*/ 7584 h 15168"/>
                <a:gd name="connsiteX3" fmla="*/ 7584 w 15168"/>
                <a:gd name="connsiteY3" fmla="*/ 0 h 15168"/>
                <a:gd name="connsiteX4" fmla="*/ 15168 w 15168"/>
                <a:gd name="connsiteY4" fmla="*/ 7584 h 151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168" h="15168">
                  <a:moveTo>
                    <a:pt x="15168" y="7584"/>
                  </a:moveTo>
                  <a:cubicBezTo>
                    <a:pt x="15168" y="11779"/>
                    <a:pt x="11803" y="15168"/>
                    <a:pt x="7584" y="15168"/>
                  </a:cubicBezTo>
                  <a:cubicBezTo>
                    <a:pt x="3366" y="15168"/>
                    <a:pt x="0" y="11779"/>
                    <a:pt x="0" y="7584"/>
                  </a:cubicBezTo>
                  <a:cubicBezTo>
                    <a:pt x="0" y="3389"/>
                    <a:pt x="3413" y="0"/>
                    <a:pt x="7584" y="0"/>
                  </a:cubicBezTo>
                  <a:cubicBezTo>
                    <a:pt x="11756" y="0"/>
                    <a:pt x="15168" y="3389"/>
                    <a:pt x="15168" y="7584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552" name="Gráfico 8">
              <a:extLst>
                <a:ext uri="{FF2B5EF4-FFF2-40B4-BE49-F238E27FC236}">
                  <a16:creationId xmlns:a16="http://schemas.microsoft.com/office/drawing/2014/main" id="{9E6F9E0E-77A0-3981-2AFF-27AA3C42C867}"/>
                </a:ext>
              </a:extLst>
            </p:cNvPr>
            <p:cNvGrpSpPr/>
            <p:nvPr/>
          </p:nvGrpSpPr>
          <p:grpSpPr>
            <a:xfrm>
              <a:off x="10875097" y="1127755"/>
              <a:ext cx="352565" cy="352873"/>
              <a:chOff x="10875097" y="1127755"/>
              <a:chExt cx="352565" cy="352873"/>
            </a:xfrm>
            <a:noFill/>
          </p:grpSpPr>
          <p:sp>
            <p:nvSpPr>
              <p:cNvPr id="553" name="Forma livre: Forma 552">
                <a:extLst>
                  <a:ext uri="{FF2B5EF4-FFF2-40B4-BE49-F238E27FC236}">
                    <a16:creationId xmlns:a16="http://schemas.microsoft.com/office/drawing/2014/main" id="{0F3EC8D9-DEC0-0702-9E80-13595010CBF5}"/>
                  </a:ext>
                </a:extLst>
              </p:cNvPr>
              <p:cNvSpPr/>
              <p:nvPr/>
            </p:nvSpPr>
            <p:spPr>
              <a:xfrm>
                <a:off x="10875097" y="1127755"/>
                <a:ext cx="352565" cy="352873"/>
              </a:xfrm>
              <a:custGeom>
                <a:avLst/>
                <a:gdLst>
                  <a:gd name="connsiteX0" fmla="*/ 352565 w 352565"/>
                  <a:gd name="connsiteY0" fmla="*/ 176283 h 352873"/>
                  <a:gd name="connsiteX1" fmla="*/ 176283 w 352565"/>
                  <a:gd name="connsiteY1" fmla="*/ 352873 h 352873"/>
                  <a:gd name="connsiteX2" fmla="*/ 0 w 352565"/>
                  <a:gd name="connsiteY2" fmla="*/ 176283 h 352873"/>
                  <a:gd name="connsiteX3" fmla="*/ 176283 w 352565"/>
                  <a:gd name="connsiteY3" fmla="*/ 0 h 352873"/>
                  <a:gd name="connsiteX4" fmla="*/ 352565 w 352565"/>
                  <a:gd name="connsiteY4" fmla="*/ 176283 h 3528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52565" h="352873">
                    <a:moveTo>
                      <a:pt x="352565" y="176283"/>
                    </a:moveTo>
                    <a:cubicBezTo>
                      <a:pt x="352565" y="273952"/>
                      <a:pt x="273667" y="352873"/>
                      <a:pt x="176283" y="352873"/>
                    </a:cubicBezTo>
                    <a:cubicBezTo>
                      <a:pt x="78898" y="352873"/>
                      <a:pt x="0" y="273952"/>
                      <a:pt x="0" y="176283"/>
                    </a:cubicBezTo>
                    <a:cubicBezTo>
                      <a:pt x="0" y="78614"/>
                      <a:pt x="78922" y="0"/>
                      <a:pt x="176283" y="0"/>
                    </a:cubicBezTo>
                    <a:cubicBezTo>
                      <a:pt x="273643" y="0"/>
                      <a:pt x="352565" y="78922"/>
                      <a:pt x="352565" y="176283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54" name="Forma livre: Forma 553">
                <a:extLst>
                  <a:ext uri="{FF2B5EF4-FFF2-40B4-BE49-F238E27FC236}">
                    <a16:creationId xmlns:a16="http://schemas.microsoft.com/office/drawing/2014/main" id="{2FC18EBE-2A02-3371-D366-A85FCC32CAF6}"/>
                  </a:ext>
                </a:extLst>
              </p:cNvPr>
              <p:cNvSpPr/>
              <p:nvPr/>
            </p:nvSpPr>
            <p:spPr>
              <a:xfrm>
                <a:off x="10942382" y="1194992"/>
                <a:ext cx="218018" cy="218374"/>
              </a:xfrm>
              <a:custGeom>
                <a:avLst/>
                <a:gdLst>
                  <a:gd name="connsiteX0" fmla="*/ 57236 w 218018"/>
                  <a:gd name="connsiteY0" fmla="*/ 13083 h 218374"/>
                  <a:gd name="connsiteX1" fmla="*/ 108998 w 218018"/>
                  <a:gd name="connsiteY1" fmla="*/ 0 h 218374"/>
                  <a:gd name="connsiteX2" fmla="*/ 218019 w 218018"/>
                  <a:gd name="connsiteY2" fmla="*/ 109045 h 218374"/>
                  <a:gd name="connsiteX3" fmla="*/ 108998 w 218018"/>
                  <a:gd name="connsiteY3" fmla="*/ 218374 h 218374"/>
                  <a:gd name="connsiteX4" fmla="*/ 0 w 218018"/>
                  <a:gd name="connsiteY4" fmla="*/ 109045 h 218374"/>
                  <a:gd name="connsiteX5" fmla="*/ 10073 w 218018"/>
                  <a:gd name="connsiteY5" fmla="*/ 63185 h 2183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18018" h="218374">
                    <a:moveTo>
                      <a:pt x="57236" y="13083"/>
                    </a:moveTo>
                    <a:cubicBezTo>
                      <a:pt x="72617" y="4740"/>
                      <a:pt x="90298" y="0"/>
                      <a:pt x="108998" y="0"/>
                    </a:cubicBezTo>
                    <a:cubicBezTo>
                      <a:pt x="169220" y="0"/>
                      <a:pt x="218019" y="48870"/>
                      <a:pt x="218019" y="109045"/>
                    </a:cubicBezTo>
                    <a:cubicBezTo>
                      <a:pt x="218019" y="169220"/>
                      <a:pt x="169196" y="218374"/>
                      <a:pt x="108998" y="218374"/>
                    </a:cubicBezTo>
                    <a:cubicBezTo>
                      <a:pt x="48799" y="218374"/>
                      <a:pt x="0" y="169481"/>
                      <a:pt x="0" y="109045"/>
                    </a:cubicBezTo>
                    <a:cubicBezTo>
                      <a:pt x="0" y="92668"/>
                      <a:pt x="3602" y="77121"/>
                      <a:pt x="10073" y="63185"/>
                    </a:cubicBez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555" name="Forma livre: Forma 554">
              <a:extLst>
                <a:ext uri="{FF2B5EF4-FFF2-40B4-BE49-F238E27FC236}">
                  <a16:creationId xmlns:a16="http://schemas.microsoft.com/office/drawing/2014/main" id="{81FC3ABF-0818-08FC-47F5-8AC66D15B81E}"/>
                </a:ext>
              </a:extLst>
            </p:cNvPr>
            <p:cNvSpPr/>
            <p:nvPr/>
          </p:nvSpPr>
          <p:spPr>
            <a:xfrm>
              <a:off x="10742210" y="1036485"/>
              <a:ext cx="63161" cy="2370"/>
            </a:xfrm>
            <a:custGeom>
              <a:avLst/>
              <a:gdLst>
                <a:gd name="connsiteX0" fmla="*/ 0 w 63161"/>
                <a:gd name="connsiteY0" fmla="*/ 0 h 2370"/>
                <a:gd name="connsiteX1" fmla="*/ 63161 w 63161"/>
                <a:gd name="connsiteY1" fmla="*/ 0 h 23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3161" h="2370">
                  <a:moveTo>
                    <a:pt x="0" y="0"/>
                  </a:moveTo>
                  <a:lnTo>
                    <a:pt x="63161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556" name="Forma livre: Forma 555">
              <a:extLst>
                <a:ext uri="{FF2B5EF4-FFF2-40B4-BE49-F238E27FC236}">
                  <a16:creationId xmlns:a16="http://schemas.microsoft.com/office/drawing/2014/main" id="{724772E1-825B-74B0-01CA-EA887A3A8C30}"/>
                </a:ext>
              </a:extLst>
            </p:cNvPr>
            <p:cNvSpPr/>
            <p:nvPr/>
          </p:nvSpPr>
          <p:spPr>
            <a:xfrm>
              <a:off x="10895930" y="992924"/>
              <a:ext cx="310924" cy="94184"/>
            </a:xfrm>
            <a:custGeom>
              <a:avLst/>
              <a:gdLst>
                <a:gd name="connsiteX0" fmla="*/ 0 w 310924"/>
                <a:gd name="connsiteY0" fmla="*/ 94185 h 94184"/>
                <a:gd name="connsiteX1" fmla="*/ 45102 w 310924"/>
                <a:gd name="connsiteY1" fmla="*/ 0 h 94184"/>
                <a:gd name="connsiteX2" fmla="*/ 265822 w 310924"/>
                <a:gd name="connsiteY2" fmla="*/ 0 h 94184"/>
                <a:gd name="connsiteX3" fmla="*/ 310924 w 310924"/>
                <a:gd name="connsiteY3" fmla="*/ 94185 h 941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10924" h="94184">
                  <a:moveTo>
                    <a:pt x="0" y="94185"/>
                  </a:moveTo>
                  <a:lnTo>
                    <a:pt x="45102" y="0"/>
                  </a:lnTo>
                  <a:lnTo>
                    <a:pt x="265822" y="0"/>
                  </a:lnTo>
                  <a:lnTo>
                    <a:pt x="310924" y="94185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557" name="Forma livre: Forma 556">
              <a:extLst>
                <a:ext uri="{FF2B5EF4-FFF2-40B4-BE49-F238E27FC236}">
                  <a16:creationId xmlns:a16="http://schemas.microsoft.com/office/drawing/2014/main" id="{B7303B25-FDA8-BA3A-D862-6FA80A1E2958}"/>
                </a:ext>
              </a:extLst>
            </p:cNvPr>
            <p:cNvSpPr/>
            <p:nvPr/>
          </p:nvSpPr>
          <p:spPr>
            <a:xfrm>
              <a:off x="11132506" y="1086990"/>
              <a:ext cx="164076" cy="345621"/>
            </a:xfrm>
            <a:custGeom>
              <a:avLst/>
              <a:gdLst>
                <a:gd name="connsiteX0" fmla="*/ 105371 w 164076"/>
                <a:gd name="connsiteY0" fmla="*/ 345621 h 345621"/>
                <a:gd name="connsiteX1" fmla="*/ 130897 w 164076"/>
                <a:gd name="connsiteY1" fmla="*/ 345621 h 345621"/>
                <a:gd name="connsiteX2" fmla="*/ 164077 w 164076"/>
                <a:gd name="connsiteY2" fmla="*/ 312441 h 345621"/>
                <a:gd name="connsiteX3" fmla="*/ 164077 w 164076"/>
                <a:gd name="connsiteY3" fmla="*/ 33180 h 345621"/>
                <a:gd name="connsiteX4" fmla="*/ 130897 w 164076"/>
                <a:gd name="connsiteY4" fmla="*/ 0 h 345621"/>
                <a:gd name="connsiteX5" fmla="*/ 0 w 164076"/>
                <a:gd name="connsiteY5" fmla="*/ 0 h 3456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64076" h="345621">
                  <a:moveTo>
                    <a:pt x="105371" y="345621"/>
                  </a:moveTo>
                  <a:lnTo>
                    <a:pt x="130897" y="345621"/>
                  </a:lnTo>
                  <a:cubicBezTo>
                    <a:pt x="149146" y="345621"/>
                    <a:pt x="164077" y="330690"/>
                    <a:pt x="164077" y="312441"/>
                  </a:cubicBezTo>
                  <a:lnTo>
                    <a:pt x="164077" y="33180"/>
                  </a:lnTo>
                  <a:cubicBezTo>
                    <a:pt x="164077" y="14931"/>
                    <a:pt x="149146" y="0"/>
                    <a:pt x="130897" y="0"/>
                  </a:cubicBezTo>
                  <a:lnTo>
                    <a:pt x="0" y="0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558" name="Forma livre: Forma 557">
              <a:extLst>
                <a:ext uri="{FF2B5EF4-FFF2-40B4-BE49-F238E27FC236}">
                  <a16:creationId xmlns:a16="http://schemas.microsoft.com/office/drawing/2014/main" id="{F214728A-40C4-F8D4-6CA7-CFCC751F5E58}"/>
                </a:ext>
              </a:extLst>
            </p:cNvPr>
            <p:cNvSpPr/>
            <p:nvPr/>
          </p:nvSpPr>
          <p:spPr>
            <a:xfrm>
              <a:off x="10812078" y="1432516"/>
              <a:ext cx="51856" cy="2370"/>
            </a:xfrm>
            <a:custGeom>
              <a:avLst/>
              <a:gdLst>
                <a:gd name="connsiteX0" fmla="*/ 51856 w 51856"/>
                <a:gd name="connsiteY0" fmla="*/ 0 h 2370"/>
                <a:gd name="connsiteX1" fmla="*/ 0 w 51856"/>
                <a:gd name="connsiteY1" fmla="*/ 0 h 23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1856" h="2370">
                  <a:moveTo>
                    <a:pt x="51856" y="0"/>
                  </a:moveTo>
                  <a:lnTo>
                    <a:pt x="0" y="0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559" name="Forma livre: Forma 558">
              <a:extLst>
                <a:ext uri="{FF2B5EF4-FFF2-40B4-BE49-F238E27FC236}">
                  <a16:creationId xmlns:a16="http://schemas.microsoft.com/office/drawing/2014/main" id="{A4DD3B2C-B045-BB6B-B41E-7E161BA9BCF8}"/>
                </a:ext>
              </a:extLst>
            </p:cNvPr>
            <p:cNvSpPr/>
            <p:nvPr/>
          </p:nvSpPr>
          <p:spPr>
            <a:xfrm>
              <a:off x="11005567" y="1047742"/>
              <a:ext cx="91648" cy="2370"/>
            </a:xfrm>
            <a:custGeom>
              <a:avLst/>
              <a:gdLst>
                <a:gd name="connsiteX0" fmla="*/ 0 w 91648"/>
                <a:gd name="connsiteY0" fmla="*/ 0 h 2370"/>
                <a:gd name="connsiteX1" fmla="*/ 91649 w 91648"/>
                <a:gd name="connsiteY1" fmla="*/ 0 h 23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1648" h="2370">
                  <a:moveTo>
                    <a:pt x="0" y="0"/>
                  </a:moveTo>
                  <a:lnTo>
                    <a:pt x="91649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560" name="Forma livre: Forma 559">
              <a:extLst>
                <a:ext uri="{FF2B5EF4-FFF2-40B4-BE49-F238E27FC236}">
                  <a16:creationId xmlns:a16="http://schemas.microsoft.com/office/drawing/2014/main" id="{E57E869B-6EE8-D0E7-9C6C-CE3BCA1DEB0F}"/>
                </a:ext>
              </a:extLst>
            </p:cNvPr>
            <p:cNvSpPr/>
            <p:nvPr/>
          </p:nvSpPr>
          <p:spPr>
            <a:xfrm>
              <a:off x="10673455" y="1086990"/>
              <a:ext cx="281132" cy="368444"/>
            </a:xfrm>
            <a:custGeom>
              <a:avLst/>
              <a:gdLst>
                <a:gd name="connsiteX0" fmla="*/ 281133 w 281132"/>
                <a:gd name="connsiteY0" fmla="*/ 0 h 368444"/>
                <a:gd name="connsiteX1" fmla="*/ 33180 w 281132"/>
                <a:gd name="connsiteY1" fmla="*/ 0 h 368444"/>
                <a:gd name="connsiteX2" fmla="*/ 0 w 281132"/>
                <a:gd name="connsiteY2" fmla="*/ 33180 h 368444"/>
                <a:gd name="connsiteX3" fmla="*/ 0 w 281132"/>
                <a:gd name="connsiteY3" fmla="*/ 335264 h 368444"/>
                <a:gd name="connsiteX4" fmla="*/ 33180 w 281132"/>
                <a:gd name="connsiteY4" fmla="*/ 368445 h 368444"/>
                <a:gd name="connsiteX5" fmla="*/ 103072 w 281132"/>
                <a:gd name="connsiteY5" fmla="*/ 368445 h 368444"/>
                <a:gd name="connsiteX6" fmla="*/ 136253 w 281132"/>
                <a:gd name="connsiteY6" fmla="*/ 335264 h 368444"/>
                <a:gd name="connsiteX7" fmla="*/ 136253 w 281132"/>
                <a:gd name="connsiteY7" fmla="*/ 125920 h 3684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1132" h="368444">
                  <a:moveTo>
                    <a:pt x="281133" y="0"/>
                  </a:moveTo>
                  <a:lnTo>
                    <a:pt x="33180" y="0"/>
                  </a:lnTo>
                  <a:cubicBezTo>
                    <a:pt x="14931" y="0"/>
                    <a:pt x="0" y="14931"/>
                    <a:pt x="0" y="33180"/>
                  </a:cubicBezTo>
                  <a:lnTo>
                    <a:pt x="0" y="335264"/>
                  </a:lnTo>
                  <a:cubicBezTo>
                    <a:pt x="0" y="353513"/>
                    <a:pt x="14931" y="368445"/>
                    <a:pt x="33180" y="368445"/>
                  </a:cubicBezTo>
                  <a:lnTo>
                    <a:pt x="103072" y="368445"/>
                  </a:lnTo>
                  <a:cubicBezTo>
                    <a:pt x="121322" y="368445"/>
                    <a:pt x="136253" y="353513"/>
                    <a:pt x="136253" y="335264"/>
                  </a:cubicBezTo>
                  <a:lnTo>
                    <a:pt x="136253" y="125920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561" name="Gráfico 8">
            <a:extLst>
              <a:ext uri="{FF2B5EF4-FFF2-40B4-BE49-F238E27FC236}">
                <a16:creationId xmlns:a16="http://schemas.microsoft.com/office/drawing/2014/main" id="{630445EC-8950-12F4-2846-FB85BD39EF27}"/>
              </a:ext>
            </a:extLst>
          </p:cNvPr>
          <p:cNvGrpSpPr/>
          <p:nvPr/>
        </p:nvGrpSpPr>
        <p:grpSpPr>
          <a:xfrm>
            <a:off x="9520698" y="2015922"/>
            <a:ext cx="460401" cy="589923"/>
            <a:chOff x="9520698" y="2015922"/>
            <a:chExt cx="460401" cy="589923"/>
          </a:xfrm>
          <a:noFill/>
        </p:grpSpPr>
        <p:grpSp>
          <p:nvGrpSpPr>
            <p:cNvPr id="562" name="Gráfico 8">
              <a:extLst>
                <a:ext uri="{FF2B5EF4-FFF2-40B4-BE49-F238E27FC236}">
                  <a16:creationId xmlns:a16="http://schemas.microsoft.com/office/drawing/2014/main" id="{EA00593F-A5CB-E77E-5005-4CE07B24A144}"/>
                </a:ext>
              </a:extLst>
            </p:cNvPr>
            <p:cNvGrpSpPr/>
            <p:nvPr/>
          </p:nvGrpSpPr>
          <p:grpSpPr>
            <a:xfrm>
              <a:off x="9520698" y="2015922"/>
              <a:ext cx="326234" cy="589923"/>
              <a:chOff x="9520698" y="2015922"/>
              <a:chExt cx="326234" cy="589923"/>
            </a:xfrm>
            <a:noFill/>
          </p:grpSpPr>
          <p:sp>
            <p:nvSpPr>
              <p:cNvPr id="563" name="Forma livre: Forma 562">
                <a:extLst>
                  <a:ext uri="{FF2B5EF4-FFF2-40B4-BE49-F238E27FC236}">
                    <a16:creationId xmlns:a16="http://schemas.microsoft.com/office/drawing/2014/main" id="{72C4C3C9-B372-DA05-23E5-09A3484273FE}"/>
                  </a:ext>
                </a:extLst>
              </p:cNvPr>
              <p:cNvSpPr/>
              <p:nvPr/>
            </p:nvSpPr>
            <p:spPr>
              <a:xfrm>
                <a:off x="9520698" y="2015922"/>
                <a:ext cx="326234" cy="589923"/>
              </a:xfrm>
              <a:custGeom>
                <a:avLst/>
                <a:gdLst>
                  <a:gd name="connsiteX0" fmla="*/ 326234 w 326234"/>
                  <a:gd name="connsiteY0" fmla="*/ 438834 h 589923"/>
                  <a:gd name="connsiteX1" fmla="*/ 326234 w 326234"/>
                  <a:gd name="connsiteY1" fmla="*/ 562384 h 589923"/>
                  <a:gd name="connsiteX2" fmla="*/ 299524 w 326234"/>
                  <a:gd name="connsiteY2" fmla="*/ 589924 h 589923"/>
                  <a:gd name="connsiteX3" fmla="*/ 26710 w 326234"/>
                  <a:gd name="connsiteY3" fmla="*/ 589924 h 589923"/>
                  <a:gd name="connsiteX4" fmla="*/ 0 w 326234"/>
                  <a:gd name="connsiteY4" fmla="*/ 562384 h 589923"/>
                  <a:gd name="connsiteX5" fmla="*/ 0 w 326234"/>
                  <a:gd name="connsiteY5" fmla="*/ 26686 h 589923"/>
                  <a:gd name="connsiteX6" fmla="*/ 26710 w 326234"/>
                  <a:gd name="connsiteY6" fmla="*/ 0 h 589923"/>
                  <a:gd name="connsiteX7" fmla="*/ 299524 w 326234"/>
                  <a:gd name="connsiteY7" fmla="*/ 0 h 589923"/>
                  <a:gd name="connsiteX8" fmla="*/ 326234 w 326234"/>
                  <a:gd name="connsiteY8" fmla="*/ 26686 h 589923"/>
                  <a:gd name="connsiteX9" fmla="*/ 326234 w 326234"/>
                  <a:gd name="connsiteY9" fmla="*/ 78140 h 5899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326234" h="589923">
                    <a:moveTo>
                      <a:pt x="326234" y="438834"/>
                    </a:moveTo>
                    <a:lnTo>
                      <a:pt x="326234" y="562384"/>
                    </a:lnTo>
                    <a:cubicBezTo>
                      <a:pt x="326234" y="577078"/>
                      <a:pt x="314218" y="589924"/>
                      <a:pt x="299524" y="589924"/>
                    </a:cubicBezTo>
                    <a:lnTo>
                      <a:pt x="26710" y="589924"/>
                    </a:lnTo>
                    <a:cubicBezTo>
                      <a:pt x="12016" y="589924"/>
                      <a:pt x="0" y="577078"/>
                      <a:pt x="0" y="562384"/>
                    </a:cubicBezTo>
                    <a:lnTo>
                      <a:pt x="0" y="26686"/>
                    </a:lnTo>
                    <a:cubicBezTo>
                      <a:pt x="0" y="11992"/>
                      <a:pt x="12016" y="0"/>
                      <a:pt x="26710" y="0"/>
                    </a:cubicBezTo>
                    <a:lnTo>
                      <a:pt x="299524" y="0"/>
                    </a:lnTo>
                    <a:cubicBezTo>
                      <a:pt x="314218" y="0"/>
                      <a:pt x="326234" y="11992"/>
                      <a:pt x="326234" y="26686"/>
                    </a:cubicBezTo>
                    <a:lnTo>
                      <a:pt x="326234" y="7814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64" name="Forma livre: Forma 563">
                <a:extLst>
                  <a:ext uri="{FF2B5EF4-FFF2-40B4-BE49-F238E27FC236}">
                    <a16:creationId xmlns:a16="http://schemas.microsoft.com/office/drawing/2014/main" id="{C6A34394-C842-C5C4-8D1C-13BF0E643880}"/>
                  </a:ext>
                </a:extLst>
              </p:cNvPr>
              <p:cNvSpPr/>
              <p:nvPr/>
            </p:nvSpPr>
            <p:spPr>
              <a:xfrm>
                <a:off x="9661643" y="2546382"/>
                <a:ext cx="44366" cy="2370"/>
              </a:xfrm>
              <a:custGeom>
                <a:avLst/>
                <a:gdLst>
                  <a:gd name="connsiteX0" fmla="*/ 0 w 44366"/>
                  <a:gd name="connsiteY0" fmla="*/ 0 h 2370"/>
                  <a:gd name="connsiteX1" fmla="*/ 44367 w 44366"/>
                  <a:gd name="connsiteY1" fmla="*/ 0 h 23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4366" h="2370">
                    <a:moveTo>
                      <a:pt x="0" y="0"/>
                    </a:moveTo>
                    <a:lnTo>
                      <a:pt x="44367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565" name="Gráfico 8">
              <a:extLst>
                <a:ext uri="{FF2B5EF4-FFF2-40B4-BE49-F238E27FC236}">
                  <a16:creationId xmlns:a16="http://schemas.microsoft.com/office/drawing/2014/main" id="{DF62B5C2-E6D3-8C4B-1FA0-24473FB17EFD}"/>
                </a:ext>
              </a:extLst>
            </p:cNvPr>
            <p:cNvGrpSpPr/>
            <p:nvPr/>
          </p:nvGrpSpPr>
          <p:grpSpPr>
            <a:xfrm>
              <a:off x="9631307" y="2137623"/>
              <a:ext cx="349792" cy="273121"/>
              <a:chOff x="9631307" y="2137623"/>
              <a:chExt cx="349792" cy="273121"/>
            </a:xfrm>
            <a:noFill/>
          </p:grpSpPr>
          <p:sp>
            <p:nvSpPr>
              <p:cNvPr id="566" name="Forma livre: Forma 565">
                <a:extLst>
                  <a:ext uri="{FF2B5EF4-FFF2-40B4-BE49-F238E27FC236}">
                    <a16:creationId xmlns:a16="http://schemas.microsoft.com/office/drawing/2014/main" id="{145EADCF-27A5-E30B-4FD4-8FAB767B6DAF}"/>
                  </a:ext>
                </a:extLst>
              </p:cNvPr>
              <p:cNvSpPr/>
              <p:nvPr/>
            </p:nvSpPr>
            <p:spPr>
              <a:xfrm>
                <a:off x="9633132" y="2237875"/>
                <a:ext cx="223777" cy="125516"/>
              </a:xfrm>
              <a:custGeom>
                <a:avLst/>
                <a:gdLst>
                  <a:gd name="connsiteX0" fmla="*/ 0 w 223777"/>
                  <a:gd name="connsiteY0" fmla="*/ 113003 h 125516"/>
                  <a:gd name="connsiteX1" fmla="*/ 104779 w 223777"/>
                  <a:gd name="connsiteY1" fmla="*/ 0 h 125516"/>
                  <a:gd name="connsiteX2" fmla="*/ 223778 w 223777"/>
                  <a:gd name="connsiteY2" fmla="*/ 125517 h 1255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23777" h="125516">
                    <a:moveTo>
                      <a:pt x="0" y="113003"/>
                    </a:moveTo>
                    <a:lnTo>
                      <a:pt x="104779" y="0"/>
                    </a:lnTo>
                    <a:lnTo>
                      <a:pt x="223778" y="125517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67" name="Forma livre: Forma 566">
                <a:extLst>
                  <a:ext uri="{FF2B5EF4-FFF2-40B4-BE49-F238E27FC236}">
                    <a16:creationId xmlns:a16="http://schemas.microsoft.com/office/drawing/2014/main" id="{933F4847-C5C9-A56E-3A81-56BEEF8CCB00}"/>
                  </a:ext>
                </a:extLst>
              </p:cNvPr>
              <p:cNvSpPr/>
              <p:nvPr/>
            </p:nvSpPr>
            <p:spPr>
              <a:xfrm>
                <a:off x="9631307" y="2137623"/>
                <a:ext cx="349792" cy="273121"/>
              </a:xfrm>
              <a:custGeom>
                <a:avLst/>
                <a:gdLst>
                  <a:gd name="connsiteX0" fmla="*/ 0 w 349792"/>
                  <a:gd name="connsiteY0" fmla="*/ 0 h 273121"/>
                  <a:gd name="connsiteX1" fmla="*/ 349792 w 349792"/>
                  <a:gd name="connsiteY1" fmla="*/ 0 h 273121"/>
                  <a:gd name="connsiteX2" fmla="*/ 349769 w 349792"/>
                  <a:gd name="connsiteY2" fmla="*/ 273122 h 273121"/>
                  <a:gd name="connsiteX3" fmla="*/ 0 w 349792"/>
                  <a:gd name="connsiteY3" fmla="*/ 273122 h 273121"/>
                  <a:gd name="connsiteX4" fmla="*/ 0 w 349792"/>
                  <a:gd name="connsiteY4" fmla="*/ 0 h 2731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49792" h="273121">
                    <a:moveTo>
                      <a:pt x="0" y="0"/>
                    </a:moveTo>
                    <a:lnTo>
                      <a:pt x="349792" y="0"/>
                    </a:lnTo>
                    <a:lnTo>
                      <a:pt x="349769" y="273122"/>
                    </a:lnTo>
                    <a:lnTo>
                      <a:pt x="0" y="273122"/>
                    </a:lnTo>
                    <a:lnTo>
                      <a:pt x="0" y="0"/>
                    </a:lnTo>
                    <a:close/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68" name="Forma livre: Forma 567">
                <a:extLst>
                  <a:ext uri="{FF2B5EF4-FFF2-40B4-BE49-F238E27FC236}">
                    <a16:creationId xmlns:a16="http://schemas.microsoft.com/office/drawing/2014/main" id="{1E1A2ED0-8787-C011-1AF0-B2DA6FBFA304}"/>
                  </a:ext>
                </a:extLst>
              </p:cNvPr>
              <p:cNvSpPr/>
              <p:nvPr/>
            </p:nvSpPr>
            <p:spPr>
              <a:xfrm>
                <a:off x="9864920" y="2269112"/>
                <a:ext cx="114946" cy="78684"/>
              </a:xfrm>
              <a:custGeom>
                <a:avLst/>
                <a:gdLst>
                  <a:gd name="connsiteX0" fmla="*/ 0 w 114946"/>
                  <a:gd name="connsiteY0" fmla="*/ 40622 h 78684"/>
                  <a:gd name="connsiteX1" fmla="*/ 43016 w 114946"/>
                  <a:gd name="connsiteY1" fmla="*/ 0 h 78684"/>
                  <a:gd name="connsiteX2" fmla="*/ 114946 w 114946"/>
                  <a:gd name="connsiteY2" fmla="*/ 78685 h 786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14946" h="78684">
                    <a:moveTo>
                      <a:pt x="0" y="40622"/>
                    </a:moveTo>
                    <a:lnTo>
                      <a:pt x="43016" y="0"/>
                    </a:lnTo>
                    <a:lnTo>
                      <a:pt x="114946" y="78685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69" name="Forma livre: Forma 568">
                <a:extLst>
                  <a:ext uri="{FF2B5EF4-FFF2-40B4-BE49-F238E27FC236}">
                    <a16:creationId xmlns:a16="http://schemas.microsoft.com/office/drawing/2014/main" id="{6C8DA1C6-1EB3-D4DA-DDA0-AB0D9CA9D748}"/>
                  </a:ext>
                </a:extLst>
              </p:cNvPr>
              <p:cNvSpPr/>
              <p:nvPr/>
            </p:nvSpPr>
            <p:spPr>
              <a:xfrm>
                <a:off x="9807708" y="2188058"/>
                <a:ext cx="61431" cy="61454"/>
              </a:xfrm>
              <a:custGeom>
                <a:avLst/>
                <a:gdLst>
                  <a:gd name="connsiteX0" fmla="*/ 61431 w 61431"/>
                  <a:gd name="connsiteY0" fmla="*/ 30716 h 61454"/>
                  <a:gd name="connsiteX1" fmla="*/ 30716 w 61431"/>
                  <a:gd name="connsiteY1" fmla="*/ 61455 h 61454"/>
                  <a:gd name="connsiteX2" fmla="*/ 0 w 61431"/>
                  <a:gd name="connsiteY2" fmla="*/ 30716 h 61454"/>
                  <a:gd name="connsiteX3" fmla="*/ 30716 w 61431"/>
                  <a:gd name="connsiteY3" fmla="*/ 0 h 61454"/>
                  <a:gd name="connsiteX4" fmla="*/ 61431 w 61431"/>
                  <a:gd name="connsiteY4" fmla="*/ 30716 h 614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1431" h="61454">
                    <a:moveTo>
                      <a:pt x="61431" y="30716"/>
                    </a:moveTo>
                    <a:cubicBezTo>
                      <a:pt x="61431" y="47709"/>
                      <a:pt x="47685" y="61455"/>
                      <a:pt x="30716" y="61455"/>
                    </a:cubicBezTo>
                    <a:cubicBezTo>
                      <a:pt x="13746" y="61455"/>
                      <a:pt x="0" y="47709"/>
                      <a:pt x="0" y="30716"/>
                    </a:cubicBezTo>
                    <a:cubicBezTo>
                      <a:pt x="0" y="13722"/>
                      <a:pt x="13746" y="0"/>
                      <a:pt x="30716" y="0"/>
                    </a:cubicBezTo>
                    <a:cubicBezTo>
                      <a:pt x="47685" y="0"/>
                      <a:pt x="61431" y="13770"/>
                      <a:pt x="61431" y="30716"/>
                    </a:cubicBezTo>
                    <a:close/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570" name="Gráfico 8">
            <a:extLst>
              <a:ext uri="{FF2B5EF4-FFF2-40B4-BE49-F238E27FC236}">
                <a16:creationId xmlns:a16="http://schemas.microsoft.com/office/drawing/2014/main" id="{89582C47-DE8A-85BC-BD74-7530C28122B3}"/>
              </a:ext>
            </a:extLst>
          </p:cNvPr>
          <p:cNvGrpSpPr/>
          <p:nvPr/>
        </p:nvGrpSpPr>
        <p:grpSpPr>
          <a:xfrm>
            <a:off x="8243751" y="2080079"/>
            <a:ext cx="546196" cy="461634"/>
            <a:chOff x="8243751" y="2080079"/>
            <a:chExt cx="546196" cy="461634"/>
          </a:xfrm>
        </p:grpSpPr>
        <p:grpSp>
          <p:nvGrpSpPr>
            <p:cNvPr id="571" name="Gráfico 8">
              <a:extLst>
                <a:ext uri="{FF2B5EF4-FFF2-40B4-BE49-F238E27FC236}">
                  <a16:creationId xmlns:a16="http://schemas.microsoft.com/office/drawing/2014/main" id="{D62000B4-70AB-9FA2-C3FE-8D676EBA5D8E}"/>
                </a:ext>
              </a:extLst>
            </p:cNvPr>
            <p:cNvGrpSpPr/>
            <p:nvPr/>
          </p:nvGrpSpPr>
          <p:grpSpPr>
            <a:xfrm>
              <a:off x="8243751" y="2080079"/>
              <a:ext cx="546196" cy="461634"/>
              <a:chOff x="8243751" y="2080079"/>
              <a:chExt cx="546196" cy="461634"/>
            </a:xfrm>
            <a:noFill/>
          </p:grpSpPr>
          <p:sp>
            <p:nvSpPr>
              <p:cNvPr id="572" name="Forma livre: Forma 571">
                <a:extLst>
                  <a:ext uri="{FF2B5EF4-FFF2-40B4-BE49-F238E27FC236}">
                    <a16:creationId xmlns:a16="http://schemas.microsoft.com/office/drawing/2014/main" id="{327AEA50-AD88-505C-B66F-A888B0092292}"/>
                  </a:ext>
                </a:extLst>
              </p:cNvPr>
              <p:cNvSpPr/>
              <p:nvPr/>
            </p:nvSpPr>
            <p:spPr>
              <a:xfrm>
                <a:off x="8271480" y="2331255"/>
                <a:ext cx="490761" cy="2370"/>
              </a:xfrm>
              <a:custGeom>
                <a:avLst/>
                <a:gdLst>
                  <a:gd name="connsiteX0" fmla="*/ 0 w 490761"/>
                  <a:gd name="connsiteY0" fmla="*/ 0 h 2370"/>
                  <a:gd name="connsiteX1" fmla="*/ 490762 w 490761"/>
                  <a:gd name="connsiteY1" fmla="*/ 0 h 23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90761" h="2370">
                    <a:moveTo>
                      <a:pt x="0" y="0"/>
                    </a:moveTo>
                    <a:lnTo>
                      <a:pt x="490762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73" name="Forma livre: Forma 572">
                <a:extLst>
                  <a:ext uri="{FF2B5EF4-FFF2-40B4-BE49-F238E27FC236}">
                    <a16:creationId xmlns:a16="http://schemas.microsoft.com/office/drawing/2014/main" id="{E89D5AC7-973B-6B30-B200-C10A4D80A09E}"/>
                  </a:ext>
                </a:extLst>
              </p:cNvPr>
              <p:cNvSpPr/>
              <p:nvPr/>
            </p:nvSpPr>
            <p:spPr>
              <a:xfrm>
                <a:off x="8246334" y="2401099"/>
                <a:ext cx="541006" cy="2370"/>
              </a:xfrm>
              <a:custGeom>
                <a:avLst/>
                <a:gdLst>
                  <a:gd name="connsiteX0" fmla="*/ 0 w 541006"/>
                  <a:gd name="connsiteY0" fmla="*/ 0 h 2370"/>
                  <a:gd name="connsiteX1" fmla="*/ 541006 w 541006"/>
                  <a:gd name="connsiteY1" fmla="*/ 0 h 23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41006" h="2370">
                    <a:moveTo>
                      <a:pt x="0" y="0"/>
                    </a:moveTo>
                    <a:lnTo>
                      <a:pt x="541006" y="0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74" name="Forma livre: Forma 573">
                <a:extLst>
                  <a:ext uri="{FF2B5EF4-FFF2-40B4-BE49-F238E27FC236}">
                    <a16:creationId xmlns:a16="http://schemas.microsoft.com/office/drawing/2014/main" id="{EFC2EC0F-8337-CDD8-52C5-9B878D7AB224}"/>
                  </a:ext>
                </a:extLst>
              </p:cNvPr>
              <p:cNvSpPr/>
              <p:nvPr/>
            </p:nvSpPr>
            <p:spPr>
              <a:xfrm>
                <a:off x="8660757" y="2147838"/>
                <a:ext cx="56169" cy="2370"/>
              </a:xfrm>
              <a:custGeom>
                <a:avLst/>
                <a:gdLst>
                  <a:gd name="connsiteX0" fmla="*/ 0 w 56169"/>
                  <a:gd name="connsiteY0" fmla="*/ 0 h 2370"/>
                  <a:gd name="connsiteX1" fmla="*/ 56170 w 56169"/>
                  <a:gd name="connsiteY1" fmla="*/ 0 h 23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6169" h="2370">
                    <a:moveTo>
                      <a:pt x="0" y="0"/>
                    </a:moveTo>
                    <a:lnTo>
                      <a:pt x="56170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75" name="Forma livre: Forma 574">
                <a:extLst>
                  <a:ext uri="{FF2B5EF4-FFF2-40B4-BE49-F238E27FC236}">
                    <a16:creationId xmlns:a16="http://schemas.microsoft.com/office/drawing/2014/main" id="{385302F2-48AA-C7FA-084F-0D8C4F0FC8F2}"/>
                  </a:ext>
                </a:extLst>
              </p:cNvPr>
              <p:cNvSpPr/>
              <p:nvPr/>
            </p:nvSpPr>
            <p:spPr>
              <a:xfrm>
                <a:off x="8301200" y="2468384"/>
                <a:ext cx="431273" cy="2370"/>
              </a:xfrm>
              <a:custGeom>
                <a:avLst/>
                <a:gdLst>
                  <a:gd name="connsiteX0" fmla="*/ 0 w 431273"/>
                  <a:gd name="connsiteY0" fmla="*/ 0 h 2370"/>
                  <a:gd name="connsiteX1" fmla="*/ 431274 w 431273"/>
                  <a:gd name="connsiteY1" fmla="*/ 0 h 23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31273" h="2370">
                    <a:moveTo>
                      <a:pt x="0" y="0"/>
                    </a:moveTo>
                    <a:lnTo>
                      <a:pt x="431274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76" name="Forma livre: Forma 575">
                <a:extLst>
                  <a:ext uri="{FF2B5EF4-FFF2-40B4-BE49-F238E27FC236}">
                    <a16:creationId xmlns:a16="http://schemas.microsoft.com/office/drawing/2014/main" id="{1CE2350A-B47B-F991-7E39-6401121A2559}"/>
                  </a:ext>
                </a:extLst>
              </p:cNvPr>
              <p:cNvSpPr/>
              <p:nvPr/>
            </p:nvSpPr>
            <p:spPr>
              <a:xfrm>
                <a:off x="8243751" y="2080079"/>
                <a:ext cx="546196" cy="461634"/>
              </a:xfrm>
              <a:custGeom>
                <a:avLst/>
                <a:gdLst>
                  <a:gd name="connsiteX0" fmla="*/ 377024 w 546196"/>
                  <a:gd name="connsiteY0" fmla="*/ 0 h 461634"/>
                  <a:gd name="connsiteX1" fmla="*/ 490738 w 546196"/>
                  <a:gd name="connsiteY1" fmla="*/ 0 h 461634"/>
                  <a:gd name="connsiteX2" fmla="*/ 522567 w 546196"/>
                  <a:gd name="connsiteY2" fmla="*/ 31830 h 461634"/>
                  <a:gd name="connsiteX3" fmla="*/ 522567 w 546196"/>
                  <a:gd name="connsiteY3" fmla="*/ 254873 h 461634"/>
                  <a:gd name="connsiteX4" fmla="*/ 546196 w 546196"/>
                  <a:gd name="connsiteY4" fmla="*/ 317276 h 461634"/>
                  <a:gd name="connsiteX5" fmla="*/ 546196 w 546196"/>
                  <a:gd name="connsiteY5" fmla="*/ 431582 h 461634"/>
                  <a:gd name="connsiteX6" fmla="*/ 516145 w 546196"/>
                  <a:gd name="connsiteY6" fmla="*/ 461634 h 461634"/>
                  <a:gd name="connsiteX7" fmla="*/ 30052 w 546196"/>
                  <a:gd name="connsiteY7" fmla="*/ 461634 h 461634"/>
                  <a:gd name="connsiteX8" fmla="*/ 0 w 546196"/>
                  <a:gd name="connsiteY8" fmla="*/ 431582 h 461634"/>
                  <a:gd name="connsiteX9" fmla="*/ 0 w 546196"/>
                  <a:gd name="connsiteY9" fmla="*/ 317276 h 461634"/>
                  <a:gd name="connsiteX10" fmla="*/ 23605 w 546196"/>
                  <a:gd name="connsiteY10" fmla="*/ 254873 h 461634"/>
                  <a:gd name="connsiteX11" fmla="*/ 23605 w 546196"/>
                  <a:gd name="connsiteY11" fmla="*/ 31830 h 461634"/>
                  <a:gd name="connsiteX12" fmla="*/ 55435 w 546196"/>
                  <a:gd name="connsiteY12" fmla="*/ 0 h 461634"/>
                  <a:gd name="connsiteX13" fmla="*/ 169765 w 546196"/>
                  <a:gd name="connsiteY13" fmla="*/ 0 h 4616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546196" h="461634">
                    <a:moveTo>
                      <a:pt x="377024" y="0"/>
                    </a:moveTo>
                    <a:lnTo>
                      <a:pt x="490738" y="0"/>
                    </a:lnTo>
                    <a:cubicBezTo>
                      <a:pt x="508252" y="0"/>
                      <a:pt x="522567" y="14315"/>
                      <a:pt x="522567" y="31830"/>
                    </a:cubicBezTo>
                    <a:lnTo>
                      <a:pt x="522567" y="254873"/>
                    </a:lnTo>
                    <a:lnTo>
                      <a:pt x="546196" y="317276"/>
                    </a:lnTo>
                    <a:lnTo>
                      <a:pt x="546196" y="431582"/>
                    </a:lnTo>
                    <a:cubicBezTo>
                      <a:pt x="546196" y="448101"/>
                      <a:pt x="532664" y="461634"/>
                      <a:pt x="516145" y="461634"/>
                    </a:cubicBezTo>
                    <a:lnTo>
                      <a:pt x="30052" y="461634"/>
                    </a:lnTo>
                    <a:cubicBezTo>
                      <a:pt x="13533" y="461634"/>
                      <a:pt x="0" y="448101"/>
                      <a:pt x="0" y="431582"/>
                    </a:cubicBezTo>
                    <a:lnTo>
                      <a:pt x="0" y="317276"/>
                    </a:lnTo>
                    <a:lnTo>
                      <a:pt x="23605" y="254873"/>
                    </a:lnTo>
                    <a:lnTo>
                      <a:pt x="23605" y="31830"/>
                    </a:lnTo>
                    <a:cubicBezTo>
                      <a:pt x="23605" y="14339"/>
                      <a:pt x="37920" y="0"/>
                      <a:pt x="55435" y="0"/>
                    </a:cubicBezTo>
                    <a:lnTo>
                      <a:pt x="169765" y="0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77" name="Forma livre: Forma 576">
                <a:extLst>
                  <a:ext uri="{FF2B5EF4-FFF2-40B4-BE49-F238E27FC236}">
                    <a16:creationId xmlns:a16="http://schemas.microsoft.com/office/drawing/2014/main" id="{2901FE02-B21D-ABCC-F2CC-AF1438F48F4D}"/>
                  </a:ext>
                </a:extLst>
              </p:cNvPr>
              <p:cNvSpPr/>
              <p:nvPr/>
            </p:nvSpPr>
            <p:spPr>
              <a:xfrm>
                <a:off x="8435083" y="2083421"/>
                <a:ext cx="163555" cy="163650"/>
              </a:xfrm>
              <a:custGeom>
                <a:avLst/>
                <a:gdLst>
                  <a:gd name="connsiteX0" fmla="*/ 163556 w 163555"/>
                  <a:gd name="connsiteY0" fmla="*/ 81790 h 163650"/>
                  <a:gd name="connsiteX1" fmla="*/ 81766 w 163555"/>
                  <a:gd name="connsiteY1" fmla="*/ 163650 h 163650"/>
                  <a:gd name="connsiteX2" fmla="*/ 0 w 163555"/>
                  <a:gd name="connsiteY2" fmla="*/ 81790 h 163650"/>
                  <a:gd name="connsiteX3" fmla="*/ 81766 w 163555"/>
                  <a:gd name="connsiteY3" fmla="*/ 0 h 163650"/>
                  <a:gd name="connsiteX4" fmla="*/ 163556 w 163555"/>
                  <a:gd name="connsiteY4" fmla="*/ 81790 h 1636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3555" h="163650">
                    <a:moveTo>
                      <a:pt x="163556" y="81790"/>
                    </a:moveTo>
                    <a:cubicBezTo>
                      <a:pt x="163556" y="127010"/>
                      <a:pt x="126939" y="163650"/>
                      <a:pt x="81766" y="163650"/>
                    </a:cubicBezTo>
                    <a:cubicBezTo>
                      <a:pt x="36593" y="163650"/>
                      <a:pt x="0" y="127033"/>
                      <a:pt x="0" y="81790"/>
                    </a:cubicBezTo>
                    <a:cubicBezTo>
                      <a:pt x="0" y="36546"/>
                      <a:pt x="36617" y="0"/>
                      <a:pt x="81766" y="0"/>
                    </a:cubicBezTo>
                    <a:cubicBezTo>
                      <a:pt x="126915" y="0"/>
                      <a:pt x="163556" y="36641"/>
                      <a:pt x="163556" y="81790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578" name="Forma livre: Forma 577">
              <a:extLst>
                <a:ext uri="{FF2B5EF4-FFF2-40B4-BE49-F238E27FC236}">
                  <a16:creationId xmlns:a16="http://schemas.microsoft.com/office/drawing/2014/main" id="{36AD7B96-BFCD-1D7A-4A67-0D841848D332}"/>
                </a:ext>
              </a:extLst>
            </p:cNvPr>
            <p:cNvSpPr/>
            <p:nvPr/>
          </p:nvSpPr>
          <p:spPr>
            <a:xfrm>
              <a:off x="8338362" y="2248327"/>
              <a:ext cx="14788" cy="14765"/>
            </a:xfrm>
            <a:custGeom>
              <a:avLst/>
              <a:gdLst>
                <a:gd name="connsiteX0" fmla="*/ 14789 w 14788"/>
                <a:gd name="connsiteY0" fmla="*/ 7394 h 14765"/>
                <a:gd name="connsiteX1" fmla="*/ 7394 w 14788"/>
                <a:gd name="connsiteY1" fmla="*/ 14765 h 14765"/>
                <a:gd name="connsiteX2" fmla="*/ 0 w 14788"/>
                <a:gd name="connsiteY2" fmla="*/ 7394 h 14765"/>
                <a:gd name="connsiteX3" fmla="*/ 7394 w 14788"/>
                <a:gd name="connsiteY3" fmla="*/ 0 h 14765"/>
                <a:gd name="connsiteX4" fmla="*/ 14789 w 14788"/>
                <a:gd name="connsiteY4" fmla="*/ 7394 h 147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788" h="14765">
                  <a:moveTo>
                    <a:pt x="14789" y="7394"/>
                  </a:moveTo>
                  <a:cubicBezTo>
                    <a:pt x="14789" y="11471"/>
                    <a:pt x="11495" y="14765"/>
                    <a:pt x="7394" y="14765"/>
                  </a:cubicBezTo>
                  <a:cubicBezTo>
                    <a:pt x="3294" y="14765"/>
                    <a:pt x="0" y="11471"/>
                    <a:pt x="0" y="7394"/>
                  </a:cubicBezTo>
                  <a:cubicBezTo>
                    <a:pt x="0" y="3318"/>
                    <a:pt x="3318" y="0"/>
                    <a:pt x="7394" y="0"/>
                  </a:cubicBezTo>
                  <a:cubicBezTo>
                    <a:pt x="11471" y="0"/>
                    <a:pt x="14789" y="3294"/>
                    <a:pt x="14789" y="7394"/>
                  </a:cubicBezTo>
                  <a:close/>
                </a:path>
              </a:pathLst>
            </a:custGeom>
            <a:solidFill>
              <a:srgbClr val="394553"/>
            </a:solidFill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579" name="Gráfico 8">
            <a:extLst>
              <a:ext uri="{FF2B5EF4-FFF2-40B4-BE49-F238E27FC236}">
                <a16:creationId xmlns:a16="http://schemas.microsoft.com/office/drawing/2014/main" id="{168ECEFB-398F-067D-BB80-03488C128E51}"/>
              </a:ext>
            </a:extLst>
          </p:cNvPr>
          <p:cNvGrpSpPr/>
          <p:nvPr/>
        </p:nvGrpSpPr>
        <p:grpSpPr>
          <a:xfrm>
            <a:off x="10770081" y="2026896"/>
            <a:ext cx="429899" cy="568048"/>
            <a:chOff x="10770081" y="2026896"/>
            <a:chExt cx="429899" cy="568048"/>
          </a:xfrm>
          <a:noFill/>
        </p:grpSpPr>
        <p:sp>
          <p:nvSpPr>
            <p:cNvPr id="580" name="Forma livre: Forma 579">
              <a:extLst>
                <a:ext uri="{FF2B5EF4-FFF2-40B4-BE49-F238E27FC236}">
                  <a16:creationId xmlns:a16="http://schemas.microsoft.com/office/drawing/2014/main" id="{71774E3C-E38B-CE1C-9C8F-7DEA682F8F3D}"/>
                </a:ext>
              </a:extLst>
            </p:cNvPr>
            <p:cNvSpPr/>
            <p:nvPr/>
          </p:nvSpPr>
          <p:spPr>
            <a:xfrm>
              <a:off x="10770081" y="2026896"/>
              <a:ext cx="429899" cy="568048"/>
            </a:xfrm>
            <a:custGeom>
              <a:avLst/>
              <a:gdLst>
                <a:gd name="connsiteX0" fmla="*/ 310474 w 429899"/>
                <a:gd name="connsiteY0" fmla="*/ 0 h 568048"/>
                <a:gd name="connsiteX1" fmla="*/ 27587 w 429899"/>
                <a:gd name="connsiteY1" fmla="*/ 0 h 568048"/>
                <a:gd name="connsiteX2" fmla="*/ 142 w 429899"/>
                <a:gd name="connsiteY2" fmla="*/ 27445 h 568048"/>
                <a:gd name="connsiteX3" fmla="*/ 0 w 429899"/>
                <a:gd name="connsiteY3" fmla="*/ 204012 h 568048"/>
                <a:gd name="connsiteX4" fmla="*/ 47401 w 429899"/>
                <a:gd name="connsiteY4" fmla="*/ 204012 h 568048"/>
                <a:gd name="connsiteX5" fmla="*/ 47401 w 429899"/>
                <a:gd name="connsiteY5" fmla="*/ 294286 h 568048"/>
                <a:gd name="connsiteX6" fmla="*/ 0 w 429899"/>
                <a:gd name="connsiteY6" fmla="*/ 294286 h 568048"/>
                <a:gd name="connsiteX7" fmla="*/ 142 w 429899"/>
                <a:gd name="connsiteY7" fmla="*/ 540603 h 568048"/>
                <a:gd name="connsiteX8" fmla="*/ 27587 w 429899"/>
                <a:gd name="connsiteY8" fmla="*/ 568048 h 568048"/>
                <a:gd name="connsiteX9" fmla="*/ 402431 w 429899"/>
                <a:gd name="connsiteY9" fmla="*/ 568048 h 568048"/>
                <a:gd name="connsiteX10" fmla="*/ 429899 w 429899"/>
                <a:gd name="connsiteY10" fmla="*/ 540603 h 568048"/>
                <a:gd name="connsiteX11" fmla="*/ 429899 w 429899"/>
                <a:gd name="connsiteY11" fmla="*/ 119402 h 568048"/>
                <a:gd name="connsiteX12" fmla="*/ 310474 w 429899"/>
                <a:gd name="connsiteY12" fmla="*/ 0 h 568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29899" h="568048">
                  <a:moveTo>
                    <a:pt x="310474" y="0"/>
                  </a:moveTo>
                  <a:lnTo>
                    <a:pt x="27587" y="0"/>
                  </a:lnTo>
                  <a:cubicBezTo>
                    <a:pt x="12490" y="0"/>
                    <a:pt x="142" y="12324"/>
                    <a:pt x="142" y="27445"/>
                  </a:cubicBezTo>
                  <a:lnTo>
                    <a:pt x="0" y="204012"/>
                  </a:lnTo>
                  <a:lnTo>
                    <a:pt x="47401" y="204012"/>
                  </a:lnTo>
                  <a:lnTo>
                    <a:pt x="47401" y="294286"/>
                  </a:lnTo>
                  <a:lnTo>
                    <a:pt x="0" y="294286"/>
                  </a:lnTo>
                  <a:lnTo>
                    <a:pt x="142" y="540603"/>
                  </a:lnTo>
                  <a:cubicBezTo>
                    <a:pt x="142" y="555724"/>
                    <a:pt x="12490" y="568048"/>
                    <a:pt x="27587" y="568048"/>
                  </a:cubicBezTo>
                  <a:lnTo>
                    <a:pt x="402431" y="568048"/>
                  </a:lnTo>
                  <a:cubicBezTo>
                    <a:pt x="417552" y="568048"/>
                    <a:pt x="429899" y="555700"/>
                    <a:pt x="429899" y="540603"/>
                  </a:cubicBezTo>
                  <a:lnTo>
                    <a:pt x="429899" y="119402"/>
                  </a:lnTo>
                  <a:lnTo>
                    <a:pt x="310474" y="0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581" name="Forma livre: Forma 580">
              <a:extLst>
                <a:ext uri="{FF2B5EF4-FFF2-40B4-BE49-F238E27FC236}">
                  <a16:creationId xmlns:a16="http://schemas.microsoft.com/office/drawing/2014/main" id="{953C9B2B-D181-BE1C-1C41-0E780221CB01}"/>
                </a:ext>
              </a:extLst>
            </p:cNvPr>
            <p:cNvSpPr/>
            <p:nvPr/>
          </p:nvSpPr>
          <p:spPr>
            <a:xfrm>
              <a:off x="10843813" y="2396359"/>
              <a:ext cx="282459" cy="121985"/>
            </a:xfrm>
            <a:custGeom>
              <a:avLst/>
              <a:gdLst>
                <a:gd name="connsiteX0" fmla="*/ 0 w 282459"/>
                <a:gd name="connsiteY0" fmla="*/ 0 h 121985"/>
                <a:gd name="connsiteX1" fmla="*/ 282460 w 282459"/>
                <a:gd name="connsiteY1" fmla="*/ 0 h 121985"/>
                <a:gd name="connsiteX2" fmla="*/ 282460 w 282459"/>
                <a:gd name="connsiteY2" fmla="*/ 121985 h 121985"/>
                <a:gd name="connsiteX3" fmla="*/ 0 w 282459"/>
                <a:gd name="connsiteY3" fmla="*/ 121985 h 1219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82459" h="121985">
                  <a:moveTo>
                    <a:pt x="0" y="0"/>
                  </a:moveTo>
                  <a:lnTo>
                    <a:pt x="282460" y="0"/>
                  </a:lnTo>
                  <a:lnTo>
                    <a:pt x="282460" y="121985"/>
                  </a:lnTo>
                  <a:lnTo>
                    <a:pt x="0" y="121985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582" name="Forma livre: Forma 581">
              <a:extLst>
                <a:ext uri="{FF2B5EF4-FFF2-40B4-BE49-F238E27FC236}">
                  <a16:creationId xmlns:a16="http://schemas.microsoft.com/office/drawing/2014/main" id="{9A1FFC5E-2F6C-94FE-E9EE-A71C91B156CF}"/>
                </a:ext>
              </a:extLst>
            </p:cNvPr>
            <p:cNvSpPr/>
            <p:nvPr/>
          </p:nvSpPr>
          <p:spPr>
            <a:xfrm>
              <a:off x="10846088" y="2081999"/>
              <a:ext cx="2370" cy="90321"/>
            </a:xfrm>
            <a:custGeom>
              <a:avLst/>
              <a:gdLst>
                <a:gd name="connsiteX0" fmla="*/ 0 w 2370"/>
                <a:gd name="connsiteY0" fmla="*/ 0 h 90321"/>
                <a:gd name="connsiteX1" fmla="*/ 0 w 2370"/>
                <a:gd name="connsiteY1" fmla="*/ 90322 h 903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370" h="90321">
                  <a:moveTo>
                    <a:pt x="0" y="0"/>
                  </a:moveTo>
                  <a:lnTo>
                    <a:pt x="0" y="90322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583" name="Forma livre: Forma 582">
              <a:extLst>
                <a:ext uri="{FF2B5EF4-FFF2-40B4-BE49-F238E27FC236}">
                  <a16:creationId xmlns:a16="http://schemas.microsoft.com/office/drawing/2014/main" id="{FFDBA8AB-C7E6-C96D-F4EA-98D6C8E2E857}"/>
                </a:ext>
              </a:extLst>
            </p:cNvPr>
            <p:cNvSpPr/>
            <p:nvPr/>
          </p:nvSpPr>
          <p:spPr>
            <a:xfrm>
              <a:off x="10910434" y="2081999"/>
              <a:ext cx="2370" cy="90321"/>
            </a:xfrm>
            <a:custGeom>
              <a:avLst/>
              <a:gdLst>
                <a:gd name="connsiteX0" fmla="*/ 0 w 2370"/>
                <a:gd name="connsiteY0" fmla="*/ 0 h 90321"/>
                <a:gd name="connsiteX1" fmla="*/ 0 w 2370"/>
                <a:gd name="connsiteY1" fmla="*/ 90322 h 903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370" h="90321">
                  <a:moveTo>
                    <a:pt x="0" y="0"/>
                  </a:moveTo>
                  <a:lnTo>
                    <a:pt x="0" y="90322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584" name="Forma livre: Forma 583">
              <a:extLst>
                <a:ext uri="{FF2B5EF4-FFF2-40B4-BE49-F238E27FC236}">
                  <a16:creationId xmlns:a16="http://schemas.microsoft.com/office/drawing/2014/main" id="{7BC8B30F-BA53-B16D-CF2C-79501ADC7317}"/>
                </a:ext>
              </a:extLst>
            </p:cNvPr>
            <p:cNvSpPr/>
            <p:nvPr/>
          </p:nvSpPr>
          <p:spPr>
            <a:xfrm>
              <a:off x="10974804" y="2081999"/>
              <a:ext cx="2370" cy="90321"/>
            </a:xfrm>
            <a:custGeom>
              <a:avLst/>
              <a:gdLst>
                <a:gd name="connsiteX0" fmla="*/ 0 w 2370"/>
                <a:gd name="connsiteY0" fmla="*/ 0 h 90321"/>
                <a:gd name="connsiteX1" fmla="*/ 0 w 2370"/>
                <a:gd name="connsiteY1" fmla="*/ 90322 h 903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370" h="90321">
                  <a:moveTo>
                    <a:pt x="0" y="0"/>
                  </a:moveTo>
                  <a:lnTo>
                    <a:pt x="0" y="90322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585" name="Forma livre: Forma 584">
              <a:extLst>
                <a:ext uri="{FF2B5EF4-FFF2-40B4-BE49-F238E27FC236}">
                  <a16:creationId xmlns:a16="http://schemas.microsoft.com/office/drawing/2014/main" id="{B35A6BB0-4AFC-AD86-09DD-AFF99F1C625C}"/>
                </a:ext>
              </a:extLst>
            </p:cNvPr>
            <p:cNvSpPr/>
            <p:nvPr/>
          </p:nvSpPr>
          <p:spPr>
            <a:xfrm>
              <a:off x="11039151" y="2081999"/>
              <a:ext cx="2370" cy="90321"/>
            </a:xfrm>
            <a:custGeom>
              <a:avLst/>
              <a:gdLst>
                <a:gd name="connsiteX0" fmla="*/ 0 w 2370"/>
                <a:gd name="connsiteY0" fmla="*/ 0 h 90321"/>
                <a:gd name="connsiteX1" fmla="*/ 0 w 2370"/>
                <a:gd name="connsiteY1" fmla="*/ 90322 h 903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370" h="90321">
                  <a:moveTo>
                    <a:pt x="0" y="0"/>
                  </a:moveTo>
                  <a:lnTo>
                    <a:pt x="0" y="90322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586" name="Gráfico 8">
            <a:extLst>
              <a:ext uri="{FF2B5EF4-FFF2-40B4-BE49-F238E27FC236}">
                <a16:creationId xmlns:a16="http://schemas.microsoft.com/office/drawing/2014/main" id="{06CA32D3-8D9A-E778-F0B0-CC48AF694DB8}"/>
              </a:ext>
            </a:extLst>
          </p:cNvPr>
          <p:cNvGrpSpPr/>
          <p:nvPr/>
        </p:nvGrpSpPr>
        <p:grpSpPr>
          <a:xfrm>
            <a:off x="9426039" y="3085018"/>
            <a:ext cx="649766" cy="600020"/>
            <a:chOff x="9426039" y="3085018"/>
            <a:chExt cx="649766" cy="600020"/>
          </a:xfrm>
          <a:noFill/>
        </p:grpSpPr>
        <p:sp>
          <p:nvSpPr>
            <p:cNvPr id="587" name="Forma livre: Forma 586">
              <a:extLst>
                <a:ext uri="{FF2B5EF4-FFF2-40B4-BE49-F238E27FC236}">
                  <a16:creationId xmlns:a16="http://schemas.microsoft.com/office/drawing/2014/main" id="{2827D8B4-B2CB-08CF-3A95-C5C20B8D464B}"/>
                </a:ext>
              </a:extLst>
            </p:cNvPr>
            <p:cNvSpPr/>
            <p:nvPr/>
          </p:nvSpPr>
          <p:spPr>
            <a:xfrm>
              <a:off x="9813562" y="3256087"/>
              <a:ext cx="262243" cy="333225"/>
            </a:xfrm>
            <a:custGeom>
              <a:avLst/>
              <a:gdLst>
                <a:gd name="connsiteX0" fmla="*/ 0 w 262243"/>
                <a:gd name="connsiteY0" fmla="*/ 0 h 333225"/>
                <a:gd name="connsiteX1" fmla="*/ 230461 w 262243"/>
                <a:gd name="connsiteY1" fmla="*/ 0 h 333225"/>
                <a:gd name="connsiteX2" fmla="*/ 262243 w 262243"/>
                <a:gd name="connsiteY2" fmla="*/ 31758 h 333225"/>
                <a:gd name="connsiteX3" fmla="*/ 262243 w 262243"/>
                <a:gd name="connsiteY3" fmla="*/ 204012 h 333225"/>
                <a:gd name="connsiteX4" fmla="*/ 145235 w 262243"/>
                <a:gd name="connsiteY4" fmla="*/ 204012 h 333225"/>
                <a:gd name="connsiteX5" fmla="*/ 115065 w 262243"/>
                <a:gd name="connsiteY5" fmla="*/ 235510 h 333225"/>
                <a:gd name="connsiteX6" fmla="*/ 115065 w 262243"/>
                <a:gd name="connsiteY6" fmla="*/ 333226 h 333225"/>
                <a:gd name="connsiteX7" fmla="*/ 0 w 262243"/>
                <a:gd name="connsiteY7" fmla="*/ 333226 h 3332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62243" h="333225">
                  <a:moveTo>
                    <a:pt x="0" y="0"/>
                  </a:moveTo>
                  <a:lnTo>
                    <a:pt x="230461" y="0"/>
                  </a:lnTo>
                  <a:cubicBezTo>
                    <a:pt x="247929" y="0"/>
                    <a:pt x="262243" y="14291"/>
                    <a:pt x="262243" y="31758"/>
                  </a:cubicBezTo>
                  <a:lnTo>
                    <a:pt x="262243" y="204012"/>
                  </a:lnTo>
                  <a:lnTo>
                    <a:pt x="145235" y="204012"/>
                  </a:lnTo>
                  <a:cubicBezTo>
                    <a:pt x="127768" y="204012"/>
                    <a:pt x="113477" y="218327"/>
                    <a:pt x="115065" y="235510"/>
                  </a:cubicBezTo>
                  <a:lnTo>
                    <a:pt x="115065" y="333226"/>
                  </a:lnTo>
                  <a:lnTo>
                    <a:pt x="0" y="333226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588" name="Forma livre: Forma 587">
              <a:extLst>
                <a:ext uri="{FF2B5EF4-FFF2-40B4-BE49-F238E27FC236}">
                  <a16:creationId xmlns:a16="http://schemas.microsoft.com/office/drawing/2014/main" id="{D7A05AAC-DAA5-1C8E-C2EA-335208A01844}"/>
                </a:ext>
              </a:extLst>
            </p:cNvPr>
            <p:cNvSpPr/>
            <p:nvPr/>
          </p:nvSpPr>
          <p:spPr>
            <a:xfrm>
              <a:off x="9826408" y="3317305"/>
              <a:ext cx="40503" cy="2370"/>
            </a:xfrm>
            <a:custGeom>
              <a:avLst/>
              <a:gdLst>
                <a:gd name="connsiteX0" fmla="*/ 0 w 40503"/>
                <a:gd name="connsiteY0" fmla="*/ 0 h 2370"/>
                <a:gd name="connsiteX1" fmla="*/ 40504 w 40503"/>
                <a:gd name="connsiteY1" fmla="*/ 0 h 23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0503" h="2370">
                  <a:moveTo>
                    <a:pt x="0" y="0"/>
                  </a:moveTo>
                  <a:lnTo>
                    <a:pt x="40504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589" name="Forma livre: Forma 588">
              <a:extLst>
                <a:ext uri="{FF2B5EF4-FFF2-40B4-BE49-F238E27FC236}">
                  <a16:creationId xmlns:a16="http://schemas.microsoft.com/office/drawing/2014/main" id="{6AE5CAB2-4098-D8E2-B6EA-8488E3CA39CB}"/>
                </a:ext>
              </a:extLst>
            </p:cNvPr>
            <p:cNvSpPr/>
            <p:nvPr/>
          </p:nvSpPr>
          <p:spPr>
            <a:xfrm>
              <a:off x="9826408" y="3528759"/>
              <a:ext cx="40503" cy="2370"/>
            </a:xfrm>
            <a:custGeom>
              <a:avLst/>
              <a:gdLst>
                <a:gd name="connsiteX0" fmla="*/ 0 w 40503"/>
                <a:gd name="connsiteY0" fmla="*/ 0 h 2370"/>
                <a:gd name="connsiteX1" fmla="*/ 40504 w 40503"/>
                <a:gd name="connsiteY1" fmla="*/ 0 h 23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0503" h="2370">
                  <a:moveTo>
                    <a:pt x="0" y="0"/>
                  </a:moveTo>
                  <a:lnTo>
                    <a:pt x="40504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590" name="Forma livre: Forma 589">
              <a:extLst>
                <a:ext uri="{FF2B5EF4-FFF2-40B4-BE49-F238E27FC236}">
                  <a16:creationId xmlns:a16="http://schemas.microsoft.com/office/drawing/2014/main" id="{E6B04BF3-5920-BDF0-9AF8-3FB1704B8B0A}"/>
                </a:ext>
              </a:extLst>
            </p:cNvPr>
            <p:cNvSpPr/>
            <p:nvPr/>
          </p:nvSpPr>
          <p:spPr>
            <a:xfrm>
              <a:off x="9906609" y="3317305"/>
              <a:ext cx="40527" cy="2370"/>
            </a:xfrm>
            <a:custGeom>
              <a:avLst/>
              <a:gdLst>
                <a:gd name="connsiteX0" fmla="*/ 0 w 40527"/>
                <a:gd name="connsiteY0" fmla="*/ 0 h 2370"/>
                <a:gd name="connsiteX1" fmla="*/ 40527 w 40527"/>
                <a:gd name="connsiteY1" fmla="*/ 0 h 23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0527" h="2370">
                  <a:moveTo>
                    <a:pt x="0" y="0"/>
                  </a:moveTo>
                  <a:lnTo>
                    <a:pt x="40527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591" name="Forma livre: Forma 590">
              <a:extLst>
                <a:ext uri="{FF2B5EF4-FFF2-40B4-BE49-F238E27FC236}">
                  <a16:creationId xmlns:a16="http://schemas.microsoft.com/office/drawing/2014/main" id="{D9CECD5F-92D2-1481-AAAC-9A05E9EE6577}"/>
                </a:ext>
              </a:extLst>
            </p:cNvPr>
            <p:cNvSpPr/>
            <p:nvPr/>
          </p:nvSpPr>
          <p:spPr>
            <a:xfrm>
              <a:off x="9986835" y="3317305"/>
              <a:ext cx="40527" cy="2370"/>
            </a:xfrm>
            <a:custGeom>
              <a:avLst/>
              <a:gdLst>
                <a:gd name="connsiteX0" fmla="*/ 0 w 40527"/>
                <a:gd name="connsiteY0" fmla="*/ 0 h 2370"/>
                <a:gd name="connsiteX1" fmla="*/ 40527 w 40527"/>
                <a:gd name="connsiteY1" fmla="*/ 0 h 23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0527" h="2370">
                  <a:moveTo>
                    <a:pt x="0" y="0"/>
                  </a:moveTo>
                  <a:lnTo>
                    <a:pt x="40527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592" name="Forma livre: Forma 591">
              <a:extLst>
                <a:ext uri="{FF2B5EF4-FFF2-40B4-BE49-F238E27FC236}">
                  <a16:creationId xmlns:a16="http://schemas.microsoft.com/office/drawing/2014/main" id="{F2258EF3-D286-DD58-CD14-7B78B730D85C}"/>
                </a:ext>
              </a:extLst>
            </p:cNvPr>
            <p:cNvSpPr/>
            <p:nvPr/>
          </p:nvSpPr>
          <p:spPr>
            <a:xfrm>
              <a:off x="9537643" y="3085018"/>
              <a:ext cx="129498" cy="46902"/>
            </a:xfrm>
            <a:custGeom>
              <a:avLst/>
              <a:gdLst>
                <a:gd name="connsiteX0" fmla="*/ 0 w 129498"/>
                <a:gd name="connsiteY0" fmla="*/ 46903 h 46902"/>
                <a:gd name="connsiteX1" fmla="*/ 0 w 129498"/>
                <a:gd name="connsiteY1" fmla="*/ 0 h 46902"/>
                <a:gd name="connsiteX2" fmla="*/ 129498 w 129498"/>
                <a:gd name="connsiteY2" fmla="*/ 0 h 46902"/>
                <a:gd name="connsiteX3" fmla="*/ 129498 w 129498"/>
                <a:gd name="connsiteY3" fmla="*/ 46903 h 469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498" h="46902">
                  <a:moveTo>
                    <a:pt x="0" y="46903"/>
                  </a:moveTo>
                  <a:lnTo>
                    <a:pt x="0" y="0"/>
                  </a:lnTo>
                  <a:lnTo>
                    <a:pt x="129498" y="0"/>
                  </a:lnTo>
                  <a:lnTo>
                    <a:pt x="129498" y="46903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593" name="Gráfico 8">
              <a:extLst>
                <a:ext uri="{FF2B5EF4-FFF2-40B4-BE49-F238E27FC236}">
                  <a16:creationId xmlns:a16="http://schemas.microsoft.com/office/drawing/2014/main" id="{4F0CAE65-4EB9-2A66-6565-78774673E5ED}"/>
                </a:ext>
              </a:extLst>
            </p:cNvPr>
            <p:cNvGrpSpPr/>
            <p:nvPr/>
          </p:nvGrpSpPr>
          <p:grpSpPr>
            <a:xfrm>
              <a:off x="9426039" y="3166026"/>
              <a:ext cx="352731" cy="519012"/>
              <a:chOff x="9426039" y="3166026"/>
              <a:chExt cx="352731" cy="519012"/>
            </a:xfrm>
            <a:noFill/>
          </p:grpSpPr>
          <p:sp>
            <p:nvSpPr>
              <p:cNvPr id="594" name="Forma livre: Forma 593">
                <a:extLst>
                  <a:ext uri="{FF2B5EF4-FFF2-40B4-BE49-F238E27FC236}">
                    <a16:creationId xmlns:a16="http://schemas.microsoft.com/office/drawing/2014/main" id="{DFF775E0-1F03-1A0C-1AE8-03F3238EB91F}"/>
                  </a:ext>
                </a:extLst>
              </p:cNvPr>
              <p:cNvSpPr/>
              <p:nvPr/>
            </p:nvSpPr>
            <p:spPr>
              <a:xfrm>
                <a:off x="9497092" y="3238004"/>
                <a:ext cx="135589" cy="375056"/>
              </a:xfrm>
              <a:custGeom>
                <a:avLst/>
                <a:gdLst>
                  <a:gd name="connsiteX0" fmla="*/ 0 w 135589"/>
                  <a:gd name="connsiteY0" fmla="*/ 375057 h 375056"/>
                  <a:gd name="connsiteX1" fmla="*/ 135589 w 135589"/>
                  <a:gd name="connsiteY1" fmla="*/ 375057 h 375056"/>
                  <a:gd name="connsiteX2" fmla="*/ 135589 w 135589"/>
                  <a:gd name="connsiteY2" fmla="*/ 0 h 375056"/>
                  <a:gd name="connsiteX3" fmla="*/ 0 w 135589"/>
                  <a:gd name="connsiteY3" fmla="*/ 0 h 3750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35589" h="375056">
                    <a:moveTo>
                      <a:pt x="0" y="375057"/>
                    </a:moveTo>
                    <a:lnTo>
                      <a:pt x="135589" y="375057"/>
                    </a:lnTo>
                    <a:lnTo>
                      <a:pt x="135589" y="0"/>
                    </a:lnTo>
                    <a:lnTo>
                      <a:pt x="0" y="0"/>
                    </a:ln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595" name="Gráfico 8">
                <a:extLst>
                  <a:ext uri="{FF2B5EF4-FFF2-40B4-BE49-F238E27FC236}">
                    <a16:creationId xmlns:a16="http://schemas.microsoft.com/office/drawing/2014/main" id="{B0A1B5E6-E116-8873-0949-62A2BE79A5F1}"/>
                  </a:ext>
                </a:extLst>
              </p:cNvPr>
              <p:cNvGrpSpPr/>
              <p:nvPr/>
            </p:nvGrpSpPr>
            <p:grpSpPr>
              <a:xfrm>
                <a:off x="9426039" y="3166026"/>
                <a:ext cx="352731" cy="519012"/>
                <a:chOff x="9426039" y="3166026"/>
                <a:chExt cx="352731" cy="519012"/>
              </a:xfrm>
              <a:noFill/>
            </p:grpSpPr>
            <p:sp>
              <p:nvSpPr>
                <p:cNvPr id="596" name="Forma livre: Forma 595">
                  <a:extLst>
                    <a:ext uri="{FF2B5EF4-FFF2-40B4-BE49-F238E27FC236}">
                      <a16:creationId xmlns:a16="http://schemas.microsoft.com/office/drawing/2014/main" id="{D5761FAC-050D-4970-188E-4F0EC474C7D0}"/>
                    </a:ext>
                  </a:extLst>
                </p:cNvPr>
                <p:cNvSpPr/>
                <p:nvPr/>
              </p:nvSpPr>
              <p:spPr>
                <a:xfrm>
                  <a:off x="9758720" y="3238312"/>
                  <a:ext cx="2370" cy="371999"/>
                </a:xfrm>
                <a:custGeom>
                  <a:avLst/>
                  <a:gdLst>
                    <a:gd name="connsiteX0" fmla="*/ 0 w 2370"/>
                    <a:gd name="connsiteY0" fmla="*/ 372000 h 371999"/>
                    <a:gd name="connsiteX1" fmla="*/ 0 w 2370"/>
                    <a:gd name="connsiteY1" fmla="*/ 0 h 37199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370" h="371999">
                      <a:moveTo>
                        <a:pt x="0" y="372000"/>
                      </a:moveTo>
                      <a:lnTo>
                        <a:pt x="0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597" name="Forma livre: Forma 596">
                  <a:extLst>
                    <a:ext uri="{FF2B5EF4-FFF2-40B4-BE49-F238E27FC236}">
                      <a16:creationId xmlns:a16="http://schemas.microsoft.com/office/drawing/2014/main" id="{04DF47FE-CD67-73DB-DF38-C75D900F08BE}"/>
                    </a:ext>
                  </a:extLst>
                </p:cNvPr>
                <p:cNvSpPr/>
                <p:nvPr/>
              </p:nvSpPr>
              <p:spPr>
                <a:xfrm>
                  <a:off x="9426039" y="3166026"/>
                  <a:ext cx="352731" cy="519012"/>
                </a:xfrm>
                <a:custGeom>
                  <a:avLst/>
                  <a:gdLst>
                    <a:gd name="connsiteX0" fmla="*/ 264708 w 352731"/>
                    <a:gd name="connsiteY0" fmla="*/ 70485 h 519012"/>
                    <a:gd name="connsiteX1" fmla="*/ 352731 w 352731"/>
                    <a:gd name="connsiteY1" fmla="*/ 70485 h 519012"/>
                    <a:gd name="connsiteX2" fmla="*/ 352731 w 352731"/>
                    <a:gd name="connsiteY2" fmla="*/ 0 h 519012"/>
                    <a:gd name="connsiteX3" fmla="*/ 0 w 352731"/>
                    <a:gd name="connsiteY3" fmla="*/ 0 h 519012"/>
                    <a:gd name="connsiteX4" fmla="*/ 0 w 352731"/>
                    <a:gd name="connsiteY4" fmla="*/ 70485 h 519012"/>
                    <a:gd name="connsiteX5" fmla="*/ 20027 w 352731"/>
                    <a:gd name="connsiteY5" fmla="*/ 70485 h 519012"/>
                    <a:gd name="connsiteX6" fmla="*/ 20027 w 352731"/>
                    <a:gd name="connsiteY6" fmla="*/ 448528 h 519012"/>
                    <a:gd name="connsiteX7" fmla="*/ 0 w 352731"/>
                    <a:gd name="connsiteY7" fmla="*/ 448528 h 519012"/>
                    <a:gd name="connsiteX8" fmla="*/ 0 w 352731"/>
                    <a:gd name="connsiteY8" fmla="*/ 519013 h 519012"/>
                    <a:gd name="connsiteX9" fmla="*/ 352731 w 352731"/>
                    <a:gd name="connsiteY9" fmla="*/ 519013 h 519012"/>
                    <a:gd name="connsiteX10" fmla="*/ 352731 w 352731"/>
                    <a:gd name="connsiteY10" fmla="*/ 448528 h 519012"/>
                    <a:gd name="connsiteX11" fmla="*/ 264708 w 352731"/>
                    <a:gd name="connsiteY11" fmla="*/ 448528 h 51901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</a:cxnLst>
                  <a:rect l="l" t="t" r="r" b="b"/>
                  <a:pathLst>
                    <a:path w="352731" h="519012">
                      <a:moveTo>
                        <a:pt x="264708" y="70485"/>
                      </a:moveTo>
                      <a:lnTo>
                        <a:pt x="352731" y="70485"/>
                      </a:lnTo>
                      <a:lnTo>
                        <a:pt x="352731" y="0"/>
                      </a:lnTo>
                      <a:lnTo>
                        <a:pt x="0" y="0"/>
                      </a:lnTo>
                      <a:lnTo>
                        <a:pt x="0" y="70485"/>
                      </a:lnTo>
                      <a:lnTo>
                        <a:pt x="20027" y="70485"/>
                      </a:lnTo>
                      <a:lnTo>
                        <a:pt x="20027" y="448528"/>
                      </a:lnTo>
                      <a:lnTo>
                        <a:pt x="0" y="448528"/>
                      </a:lnTo>
                      <a:lnTo>
                        <a:pt x="0" y="519013"/>
                      </a:lnTo>
                      <a:lnTo>
                        <a:pt x="352731" y="519013"/>
                      </a:lnTo>
                      <a:lnTo>
                        <a:pt x="352731" y="448528"/>
                      </a:lnTo>
                      <a:lnTo>
                        <a:pt x="264708" y="448528"/>
                      </a:ln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</p:grpSp>
      <p:grpSp>
        <p:nvGrpSpPr>
          <p:cNvPr id="598" name="Gráfico 8">
            <a:extLst>
              <a:ext uri="{FF2B5EF4-FFF2-40B4-BE49-F238E27FC236}">
                <a16:creationId xmlns:a16="http://schemas.microsoft.com/office/drawing/2014/main" id="{36F275C5-FDCD-E0F4-4999-07CA1D1583EA}"/>
              </a:ext>
            </a:extLst>
          </p:cNvPr>
          <p:cNvGrpSpPr/>
          <p:nvPr/>
        </p:nvGrpSpPr>
        <p:grpSpPr>
          <a:xfrm>
            <a:off x="8212517" y="3080705"/>
            <a:ext cx="608667" cy="608655"/>
            <a:chOff x="8212517" y="3080705"/>
            <a:chExt cx="608667" cy="608655"/>
          </a:xfrm>
        </p:grpSpPr>
        <p:sp>
          <p:nvSpPr>
            <p:cNvPr id="599" name="Forma livre: Forma 598">
              <a:extLst>
                <a:ext uri="{FF2B5EF4-FFF2-40B4-BE49-F238E27FC236}">
                  <a16:creationId xmlns:a16="http://schemas.microsoft.com/office/drawing/2014/main" id="{5EA42CBA-086E-CD85-7242-31E4EF927142}"/>
                </a:ext>
              </a:extLst>
            </p:cNvPr>
            <p:cNvSpPr/>
            <p:nvPr/>
          </p:nvSpPr>
          <p:spPr>
            <a:xfrm>
              <a:off x="8212517" y="3209658"/>
              <a:ext cx="479666" cy="479702"/>
            </a:xfrm>
            <a:custGeom>
              <a:avLst/>
              <a:gdLst>
                <a:gd name="connsiteX0" fmla="*/ 257998 w 479666"/>
                <a:gd name="connsiteY0" fmla="*/ 0 h 479702"/>
                <a:gd name="connsiteX1" fmla="*/ 24645 w 479666"/>
                <a:gd name="connsiteY1" fmla="*/ 233329 h 479702"/>
                <a:gd name="connsiteX2" fmla="*/ 24645 w 479666"/>
                <a:gd name="connsiteY2" fmla="*/ 352873 h 479702"/>
                <a:gd name="connsiteX3" fmla="*/ 126817 w 479666"/>
                <a:gd name="connsiteY3" fmla="*/ 455022 h 479702"/>
                <a:gd name="connsiteX4" fmla="*/ 246338 w 479666"/>
                <a:gd name="connsiteY4" fmla="*/ 455022 h 479702"/>
                <a:gd name="connsiteX5" fmla="*/ 479667 w 479666"/>
                <a:gd name="connsiteY5" fmla="*/ 221692 h 479702"/>
                <a:gd name="connsiteX6" fmla="*/ 257975 w 479666"/>
                <a:gd name="connsiteY6" fmla="*/ 0 h 4797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79666" h="479702">
                  <a:moveTo>
                    <a:pt x="257998" y="0"/>
                  </a:moveTo>
                  <a:lnTo>
                    <a:pt x="24645" y="233329"/>
                  </a:lnTo>
                  <a:cubicBezTo>
                    <a:pt x="-8227" y="266202"/>
                    <a:pt x="-8203" y="319977"/>
                    <a:pt x="24645" y="352873"/>
                  </a:cubicBezTo>
                  <a:lnTo>
                    <a:pt x="126817" y="455022"/>
                  </a:lnTo>
                  <a:cubicBezTo>
                    <a:pt x="159666" y="487941"/>
                    <a:pt x="213465" y="487917"/>
                    <a:pt x="246338" y="455022"/>
                  </a:cubicBezTo>
                  <a:lnTo>
                    <a:pt x="479667" y="221692"/>
                  </a:lnTo>
                  <a:lnTo>
                    <a:pt x="257975" y="0"/>
                  </a:ln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00" name="Forma livre: Forma 599">
              <a:extLst>
                <a:ext uri="{FF2B5EF4-FFF2-40B4-BE49-F238E27FC236}">
                  <a16:creationId xmlns:a16="http://schemas.microsoft.com/office/drawing/2014/main" id="{29059C49-935C-3048-DE0A-C44F081824DD}"/>
                </a:ext>
              </a:extLst>
            </p:cNvPr>
            <p:cNvSpPr/>
            <p:nvPr/>
          </p:nvSpPr>
          <p:spPr>
            <a:xfrm>
              <a:off x="8526234" y="3080705"/>
              <a:ext cx="294949" cy="294902"/>
            </a:xfrm>
            <a:custGeom>
              <a:avLst/>
              <a:gdLst>
                <a:gd name="connsiteX0" fmla="*/ 0 w 294949"/>
                <a:gd name="connsiteY0" fmla="*/ 110372 h 294902"/>
                <a:gd name="connsiteX1" fmla="*/ 110396 w 294949"/>
                <a:gd name="connsiteY1" fmla="*/ 0 h 294902"/>
                <a:gd name="connsiteX2" fmla="*/ 294950 w 294949"/>
                <a:gd name="connsiteY2" fmla="*/ 184507 h 294902"/>
                <a:gd name="connsiteX3" fmla="*/ 184530 w 294949"/>
                <a:gd name="connsiteY3" fmla="*/ 294903 h 2949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94949" h="294902">
                  <a:moveTo>
                    <a:pt x="0" y="110372"/>
                  </a:moveTo>
                  <a:lnTo>
                    <a:pt x="110396" y="0"/>
                  </a:lnTo>
                  <a:lnTo>
                    <a:pt x="294950" y="184507"/>
                  </a:lnTo>
                  <a:lnTo>
                    <a:pt x="184530" y="294903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601" name="Gráfico 8">
              <a:extLst>
                <a:ext uri="{FF2B5EF4-FFF2-40B4-BE49-F238E27FC236}">
                  <a16:creationId xmlns:a16="http://schemas.microsoft.com/office/drawing/2014/main" id="{92219E67-FCA1-3684-232A-FFA8F8D34F52}"/>
                </a:ext>
              </a:extLst>
            </p:cNvPr>
            <p:cNvGrpSpPr/>
            <p:nvPr/>
          </p:nvGrpSpPr>
          <p:grpSpPr>
            <a:xfrm>
              <a:off x="8632480" y="3172549"/>
              <a:ext cx="96723" cy="96904"/>
              <a:chOff x="8632480" y="3172549"/>
              <a:chExt cx="96723" cy="96904"/>
            </a:xfrm>
            <a:solidFill>
              <a:srgbClr val="394553"/>
            </a:solidFill>
          </p:grpSpPr>
          <p:sp>
            <p:nvSpPr>
              <p:cNvPr id="602" name="Forma livre: Forma 601">
                <a:extLst>
                  <a:ext uri="{FF2B5EF4-FFF2-40B4-BE49-F238E27FC236}">
                    <a16:creationId xmlns:a16="http://schemas.microsoft.com/office/drawing/2014/main" id="{BBEBEED1-C6DC-01C1-10AF-9564DE041E48}"/>
                  </a:ext>
                </a:extLst>
              </p:cNvPr>
              <p:cNvSpPr/>
              <p:nvPr/>
            </p:nvSpPr>
            <p:spPr>
              <a:xfrm rot="-2697601">
                <a:off x="8634282" y="3174351"/>
                <a:ext cx="8697" cy="8698"/>
              </a:xfrm>
              <a:custGeom>
                <a:avLst/>
                <a:gdLst>
                  <a:gd name="connsiteX0" fmla="*/ 0 w 8697"/>
                  <a:gd name="connsiteY0" fmla="*/ 0 h 8698"/>
                  <a:gd name="connsiteX1" fmla="*/ 8698 w 8697"/>
                  <a:gd name="connsiteY1" fmla="*/ 0 h 8698"/>
                  <a:gd name="connsiteX2" fmla="*/ 8698 w 8697"/>
                  <a:gd name="connsiteY2" fmla="*/ 8698 h 8698"/>
                  <a:gd name="connsiteX3" fmla="*/ 0 w 8697"/>
                  <a:gd name="connsiteY3" fmla="*/ 8698 h 86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697" h="8698">
                    <a:moveTo>
                      <a:pt x="0" y="0"/>
                    </a:moveTo>
                    <a:lnTo>
                      <a:pt x="8698" y="0"/>
                    </a:lnTo>
                    <a:lnTo>
                      <a:pt x="8698" y="8698"/>
                    </a:lnTo>
                    <a:lnTo>
                      <a:pt x="0" y="8698"/>
                    </a:ln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603" name="Forma livre: Forma 602">
                <a:extLst>
                  <a:ext uri="{FF2B5EF4-FFF2-40B4-BE49-F238E27FC236}">
                    <a16:creationId xmlns:a16="http://schemas.microsoft.com/office/drawing/2014/main" id="{4818983C-7354-F3F9-B389-4291DA43316F}"/>
                  </a:ext>
                </a:extLst>
              </p:cNvPr>
              <p:cNvSpPr/>
              <p:nvPr/>
            </p:nvSpPr>
            <p:spPr>
              <a:xfrm>
                <a:off x="8716903" y="3257153"/>
                <a:ext cx="12300" cy="12300"/>
              </a:xfrm>
              <a:custGeom>
                <a:avLst/>
                <a:gdLst>
                  <a:gd name="connsiteX0" fmla="*/ 6162 w 12300"/>
                  <a:gd name="connsiteY0" fmla="*/ 12300 h 12300"/>
                  <a:gd name="connsiteX1" fmla="*/ 0 w 12300"/>
                  <a:gd name="connsiteY1" fmla="*/ 6162 h 12300"/>
                  <a:gd name="connsiteX2" fmla="*/ 6138 w 12300"/>
                  <a:gd name="connsiteY2" fmla="*/ 0 h 12300"/>
                  <a:gd name="connsiteX3" fmla="*/ 12300 w 12300"/>
                  <a:gd name="connsiteY3" fmla="*/ 6162 h 12300"/>
                  <a:gd name="connsiteX4" fmla="*/ 6162 w 12300"/>
                  <a:gd name="connsiteY4" fmla="*/ 12300 h 123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300" h="12300">
                    <a:moveTo>
                      <a:pt x="6162" y="12300"/>
                    </a:moveTo>
                    <a:lnTo>
                      <a:pt x="0" y="6162"/>
                    </a:lnTo>
                    <a:lnTo>
                      <a:pt x="6138" y="0"/>
                    </a:lnTo>
                    <a:lnTo>
                      <a:pt x="12300" y="6162"/>
                    </a:lnTo>
                    <a:lnTo>
                      <a:pt x="6162" y="12300"/>
                    </a:ln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604" name="Gráfico 8">
              <a:extLst>
                <a:ext uri="{FF2B5EF4-FFF2-40B4-BE49-F238E27FC236}">
                  <a16:creationId xmlns:a16="http://schemas.microsoft.com/office/drawing/2014/main" id="{5A9B7E75-1468-DFE7-9397-7C9EDC6921FB}"/>
                </a:ext>
              </a:extLst>
            </p:cNvPr>
            <p:cNvGrpSpPr/>
            <p:nvPr/>
          </p:nvGrpSpPr>
          <p:grpSpPr>
            <a:xfrm>
              <a:off x="8335305" y="3360250"/>
              <a:ext cx="206310" cy="206287"/>
              <a:chOff x="8335305" y="3360250"/>
              <a:chExt cx="206310" cy="206287"/>
            </a:xfrm>
          </p:grpSpPr>
          <p:sp>
            <p:nvSpPr>
              <p:cNvPr id="605" name="Forma livre: Forma 604">
                <a:extLst>
                  <a:ext uri="{FF2B5EF4-FFF2-40B4-BE49-F238E27FC236}">
                    <a16:creationId xmlns:a16="http://schemas.microsoft.com/office/drawing/2014/main" id="{913117F8-89DB-258C-0786-764576757D65}"/>
                  </a:ext>
                </a:extLst>
              </p:cNvPr>
              <p:cNvSpPr/>
              <p:nvPr/>
            </p:nvSpPr>
            <p:spPr>
              <a:xfrm>
                <a:off x="8427404" y="3360250"/>
                <a:ext cx="114211" cy="114211"/>
              </a:xfrm>
              <a:custGeom>
                <a:avLst/>
                <a:gdLst>
                  <a:gd name="connsiteX0" fmla="*/ 0 w 114211"/>
                  <a:gd name="connsiteY0" fmla="*/ 0 h 114211"/>
                  <a:gd name="connsiteX1" fmla="*/ 114212 w 114211"/>
                  <a:gd name="connsiteY1" fmla="*/ 114212 h 1142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4211" h="114211">
                    <a:moveTo>
                      <a:pt x="0" y="0"/>
                    </a:moveTo>
                    <a:lnTo>
                      <a:pt x="114212" y="114212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606" name="Forma livre: Forma 605">
                <a:extLst>
                  <a:ext uri="{FF2B5EF4-FFF2-40B4-BE49-F238E27FC236}">
                    <a16:creationId xmlns:a16="http://schemas.microsoft.com/office/drawing/2014/main" id="{AE86D5D1-7905-D30E-15C4-67E4C24B166F}"/>
                  </a:ext>
                </a:extLst>
              </p:cNvPr>
              <p:cNvSpPr/>
              <p:nvPr/>
            </p:nvSpPr>
            <p:spPr>
              <a:xfrm>
                <a:off x="8381355" y="3406276"/>
                <a:ext cx="114211" cy="114211"/>
              </a:xfrm>
              <a:custGeom>
                <a:avLst/>
                <a:gdLst>
                  <a:gd name="connsiteX0" fmla="*/ 0 w 114211"/>
                  <a:gd name="connsiteY0" fmla="*/ 0 h 114211"/>
                  <a:gd name="connsiteX1" fmla="*/ 114212 w 114211"/>
                  <a:gd name="connsiteY1" fmla="*/ 114212 h 1142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4211" h="114211">
                    <a:moveTo>
                      <a:pt x="0" y="0"/>
                    </a:moveTo>
                    <a:lnTo>
                      <a:pt x="114212" y="114212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607" name="Forma livre: Forma 606">
                <a:extLst>
                  <a:ext uri="{FF2B5EF4-FFF2-40B4-BE49-F238E27FC236}">
                    <a16:creationId xmlns:a16="http://schemas.microsoft.com/office/drawing/2014/main" id="{DB8EBCBD-5332-CFFD-0626-0F04371944A0}"/>
                  </a:ext>
                </a:extLst>
              </p:cNvPr>
              <p:cNvSpPr/>
              <p:nvPr/>
            </p:nvSpPr>
            <p:spPr>
              <a:xfrm>
                <a:off x="8335305" y="3452325"/>
                <a:ext cx="114211" cy="114211"/>
              </a:xfrm>
              <a:custGeom>
                <a:avLst/>
                <a:gdLst>
                  <a:gd name="connsiteX0" fmla="*/ 0 w 114211"/>
                  <a:gd name="connsiteY0" fmla="*/ 0 h 114211"/>
                  <a:gd name="connsiteX1" fmla="*/ 114212 w 114211"/>
                  <a:gd name="connsiteY1" fmla="*/ 114212 h 1142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4211" h="114211">
                    <a:moveTo>
                      <a:pt x="0" y="0"/>
                    </a:moveTo>
                    <a:lnTo>
                      <a:pt x="114212" y="114212"/>
                    </a:lnTo>
                  </a:path>
                </a:pathLst>
              </a:custGeom>
              <a:ln w="635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608" name="Gráfico 8">
            <a:extLst>
              <a:ext uri="{FF2B5EF4-FFF2-40B4-BE49-F238E27FC236}">
                <a16:creationId xmlns:a16="http://schemas.microsoft.com/office/drawing/2014/main" id="{FBA06243-C298-FA1C-1893-55D211EF8160}"/>
              </a:ext>
            </a:extLst>
          </p:cNvPr>
          <p:cNvGrpSpPr/>
          <p:nvPr/>
        </p:nvGrpSpPr>
        <p:grpSpPr>
          <a:xfrm>
            <a:off x="10841680" y="3091868"/>
            <a:ext cx="286702" cy="586344"/>
            <a:chOff x="10841680" y="3091868"/>
            <a:chExt cx="286702" cy="586344"/>
          </a:xfrm>
          <a:noFill/>
        </p:grpSpPr>
        <p:sp>
          <p:nvSpPr>
            <p:cNvPr id="609" name="Forma livre: Forma 608">
              <a:extLst>
                <a:ext uri="{FF2B5EF4-FFF2-40B4-BE49-F238E27FC236}">
                  <a16:creationId xmlns:a16="http://schemas.microsoft.com/office/drawing/2014/main" id="{AC0C0689-BCF5-7482-0441-31F1E05382BE}"/>
                </a:ext>
              </a:extLst>
            </p:cNvPr>
            <p:cNvSpPr/>
            <p:nvPr/>
          </p:nvSpPr>
          <p:spPr>
            <a:xfrm>
              <a:off x="10924962" y="3091868"/>
              <a:ext cx="120113" cy="63896"/>
            </a:xfrm>
            <a:custGeom>
              <a:avLst/>
              <a:gdLst>
                <a:gd name="connsiteX0" fmla="*/ 0 w 120113"/>
                <a:gd name="connsiteY0" fmla="*/ 19979 h 63896"/>
                <a:gd name="connsiteX1" fmla="*/ 19979 w 120113"/>
                <a:gd name="connsiteY1" fmla="*/ 0 h 63896"/>
                <a:gd name="connsiteX2" fmla="*/ 100134 w 120113"/>
                <a:gd name="connsiteY2" fmla="*/ 0 h 63896"/>
                <a:gd name="connsiteX3" fmla="*/ 120113 w 120113"/>
                <a:gd name="connsiteY3" fmla="*/ 19979 h 63896"/>
                <a:gd name="connsiteX4" fmla="*/ 120113 w 120113"/>
                <a:gd name="connsiteY4" fmla="*/ 63896 h 638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0113" h="63896">
                  <a:moveTo>
                    <a:pt x="0" y="19979"/>
                  </a:moveTo>
                  <a:cubicBezTo>
                    <a:pt x="0" y="8982"/>
                    <a:pt x="9006" y="0"/>
                    <a:pt x="19979" y="0"/>
                  </a:cubicBezTo>
                  <a:lnTo>
                    <a:pt x="100134" y="0"/>
                  </a:lnTo>
                  <a:cubicBezTo>
                    <a:pt x="111131" y="0"/>
                    <a:pt x="120113" y="8982"/>
                    <a:pt x="120113" y="19979"/>
                  </a:cubicBezTo>
                  <a:lnTo>
                    <a:pt x="120113" y="63896"/>
                  </a:lnTo>
                </a:path>
              </a:pathLst>
            </a:custGeom>
            <a:noFill/>
            <a:ln w="6350" cap="sq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10" name="Forma livre: Forma 609">
              <a:extLst>
                <a:ext uri="{FF2B5EF4-FFF2-40B4-BE49-F238E27FC236}">
                  <a16:creationId xmlns:a16="http://schemas.microsoft.com/office/drawing/2014/main" id="{D91A6F1D-3EF6-9306-5120-F65F242363D4}"/>
                </a:ext>
              </a:extLst>
            </p:cNvPr>
            <p:cNvSpPr/>
            <p:nvPr/>
          </p:nvSpPr>
          <p:spPr>
            <a:xfrm>
              <a:off x="10841680" y="3159224"/>
              <a:ext cx="286702" cy="518988"/>
            </a:xfrm>
            <a:custGeom>
              <a:avLst/>
              <a:gdLst>
                <a:gd name="connsiteX0" fmla="*/ 152037 w 286702"/>
                <a:gd name="connsiteY0" fmla="*/ 0 h 518988"/>
                <a:gd name="connsiteX1" fmla="*/ 236718 w 286702"/>
                <a:gd name="connsiteY1" fmla="*/ 0 h 518988"/>
                <a:gd name="connsiteX2" fmla="*/ 286702 w 286702"/>
                <a:gd name="connsiteY2" fmla="*/ 49984 h 518988"/>
                <a:gd name="connsiteX3" fmla="*/ 286702 w 286702"/>
                <a:gd name="connsiteY3" fmla="*/ 469005 h 518988"/>
                <a:gd name="connsiteX4" fmla="*/ 236718 w 286702"/>
                <a:gd name="connsiteY4" fmla="*/ 518989 h 518988"/>
                <a:gd name="connsiteX5" fmla="*/ 49984 w 286702"/>
                <a:gd name="connsiteY5" fmla="*/ 518989 h 518988"/>
                <a:gd name="connsiteX6" fmla="*/ 0 w 286702"/>
                <a:gd name="connsiteY6" fmla="*/ 469005 h 518988"/>
                <a:gd name="connsiteX7" fmla="*/ 0 w 286702"/>
                <a:gd name="connsiteY7" fmla="*/ 49984 h 518988"/>
                <a:gd name="connsiteX8" fmla="*/ 49984 w 286702"/>
                <a:gd name="connsiteY8" fmla="*/ 0 h 518988"/>
                <a:gd name="connsiteX9" fmla="*/ 83283 w 286702"/>
                <a:gd name="connsiteY9" fmla="*/ 0 h 5189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86702" h="518988">
                  <a:moveTo>
                    <a:pt x="152037" y="0"/>
                  </a:moveTo>
                  <a:lnTo>
                    <a:pt x="236718" y="0"/>
                  </a:lnTo>
                  <a:cubicBezTo>
                    <a:pt x="264211" y="0"/>
                    <a:pt x="286702" y="22492"/>
                    <a:pt x="286702" y="49984"/>
                  </a:cubicBezTo>
                  <a:lnTo>
                    <a:pt x="286702" y="469005"/>
                  </a:lnTo>
                  <a:cubicBezTo>
                    <a:pt x="286702" y="496521"/>
                    <a:pt x="264211" y="518989"/>
                    <a:pt x="236718" y="518989"/>
                  </a:cubicBezTo>
                  <a:lnTo>
                    <a:pt x="49984" y="518989"/>
                  </a:lnTo>
                  <a:cubicBezTo>
                    <a:pt x="22515" y="518989"/>
                    <a:pt x="0" y="496521"/>
                    <a:pt x="0" y="469005"/>
                  </a:cubicBezTo>
                  <a:lnTo>
                    <a:pt x="0" y="49984"/>
                  </a:lnTo>
                  <a:cubicBezTo>
                    <a:pt x="0" y="22515"/>
                    <a:pt x="22492" y="0"/>
                    <a:pt x="49984" y="0"/>
                  </a:cubicBezTo>
                  <a:lnTo>
                    <a:pt x="83283" y="0"/>
                  </a:lnTo>
                </a:path>
              </a:pathLst>
            </a:custGeom>
            <a:noFill/>
            <a:ln w="6350" cap="sq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11" name="Forma livre: Forma 610">
              <a:extLst>
                <a:ext uri="{FF2B5EF4-FFF2-40B4-BE49-F238E27FC236}">
                  <a16:creationId xmlns:a16="http://schemas.microsoft.com/office/drawing/2014/main" id="{63BA79CB-3453-EE62-E64E-21CEFC62A0AB}"/>
                </a:ext>
              </a:extLst>
            </p:cNvPr>
            <p:cNvSpPr/>
            <p:nvPr/>
          </p:nvSpPr>
          <p:spPr>
            <a:xfrm>
              <a:off x="10951175" y="3297704"/>
              <a:ext cx="67687" cy="246459"/>
            </a:xfrm>
            <a:custGeom>
              <a:avLst/>
              <a:gdLst>
                <a:gd name="connsiteX0" fmla="*/ 62047 w 67687"/>
                <a:gd name="connsiteY0" fmla="*/ 0 h 246459"/>
                <a:gd name="connsiteX1" fmla="*/ 0 w 67687"/>
                <a:gd name="connsiteY1" fmla="*/ 130091 h 246459"/>
                <a:gd name="connsiteX2" fmla="*/ 67688 w 67687"/>
                <a:gd name="connsiteY2" fmla="*/ 113690 h 246459"/>
                <a:gd name="connsiteX3" fmla="*/ 11092 w 67687"/>
                <a:gd name="connsiteY3" fmla="*/ 246459 h 2464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7687" h="246459">
                  <a:moveTo>
                    <a:pt x="62047" y="0"/>
                  </a:moveTo>
                  <a:lnTo>
                    <a:pt x="0" y="130091"/>
                  </a:lnTo>
                  <a:lnTo>
                    <a:pt x="67688" y="113690"/>
                  </a:lnTo>
                  <a:lnTo>
                    <a:pt x="11092" y="246459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12" name="Forma livre: Forma 611">
              <a:extLst>
                <a:ext uri="{FF2B5EF4-FFF2-40B4-BE49-F238E27FC236}">
                  <a16:creationId xmlns:a16="http://schemas.microsoft.com/office/drawing/2014/main" id="{1C0255A8-5CE1-C979-C995-253D6C922A56}"/>
                </a:ext>
              </a:extLst>
            </p:cNvPr>
            <p:cNvSpPr/>
            <p:nvPr/>
          </p:nvSpPr>
          <p:spPr>
            <a:xfrm>
              <a:off x="10884103" y="3604220"/>
              <a:ext cx="201831" cy="2370"/>
            </a:xfrm>
            <a:custGeom>
              <a:avLst/>
              <a:gdLst>
                <a:gd name="connsiteX0" fmla="*/ 0 w 201831"/>
                <a:gd name="connsiteY0" fmla="*/ 0 h 2370"/>
                <a:gd name="connsiteX1" fmla="*/ 201832 w 201831"/>
                <a:gd name="connsiteY1" fmla="*/ 0 h 23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01831" h="2370">
                  <a:moveTo>
                    <a:pt x="0" y="0"/>
                  </a:moveTo>
                  <a:lnTo>
                    <a:pt x="201832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13" name="Forma livre: Forma 612">
              <a:extLst>
                <a:ext uri="{FF2B5EF4-FFF2-40B4-BE49-F238E27FC236}">
                  <a16:creationId xmlns:a16="http://schemas.microsoft.com/office/drawing/2014/main" id="{37F9B491-643E-DC61-5372-6A29E792B96E}"/>
                </a:ext>
              </a:extLst>
            </p:cNvPr>
            <p:cNvSpPr/>
            <p:nvPr/>
          </p:nvSpPr>
          <p:spPr>
            <a:xfrm>
              <a:off x="10884103" y="3234093"/>
              <a:ext cx="201831" cy="2370"/>
            </a:xfrm>
            <a:custGeom>
              <a:avLst/>
              <a:gdLst>
                <a:gd name="connsiteX0" fmla="*/ 0 w 201831"/>
                <a:gd name="connsiteY0" fmla="*/ 0 h 2370"/>
                <a:gd name="connsiteX1" fmla="*/ 201832 w 201831"/>
                <a:gd name="connsiteY1" fmla="*/ 0 h 23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01831" h="2370">
                  <a:moveTo>
                    <a:pt x="0" y="0"/>
                  </a:moveTo>
                  <a:lnTo>
                    <a:pt x="201832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614" name="Gráfico 8">
            <a:extLst>
              <a:ext uri="{FF2B5EF4-FFF2-40B4-BE49-F238E27FC236}">
                <a16:creationId xmlns:a16="http://schemas.microsoft.com/office/drawing/2014/main" id="{A32BB99E-6964-4FAA-D0E6-5F425BD70226}"/>
              </a:ext>
            </a:extLst>
          </p:cNvPr>
          <p:cNvGrpSpPr/>
          <p:nvPr/>
        </p:nvGrpSpPr>
        <p:grpSpPr>
          <a:xfrm>
            <a:off x="9538236" y="4118398"/>
            <a:ext cx="425348" cy="681501"/>
            <a:chOff x="9538236" y="4118398"/>
            <a:chExt cx="425348" cy="681501"/>
          </a:xfrm>
        </p:grpSpPr>
        <p:grpSp>
          <p:nvGrpSpPr>
            <p:cNvPr id="615" name="Gráfico 8">
              <a:extLst>
                <a:ext uri="{FF2B5EF4-FFF2-40B4-BE49-F238E27FC236}">
                  <a16:creationId xmlns:a16="http://schemas.microsoft.com/office/drawing/2014/main" id="{4B9486E0-EF04-C05C-50CA-0FE61B0CB1A9}"/>
                </a:ext>
              </a:extLst>
            </p:cNvPr>
            <p:cNvGrpSpPr/>
            <p:nvPr/>
          </p:nvGrpSpPr>
          <p:grpSpPr>
            <a:xfrm>
              <a:off x="9538236" y="4118398"/>
              <a:ext cx="425348" cy="308814"/>
              <a:chOff x="9538236" y="4118398"/>
              <a:chExt cx="425348" cy="308814"/>
            </a:xfrm>
          </p:grpSpPr>
          <p:grpSp>
            <p:nvGrpSpPr>
              <p:cNvPr id="616" name="Gráfico 8">
                <a:extLst>
                  <a:ext uri="{FF2B5EF4-FFF2-40B4-BE49-F238E27FC236}">
                    <a16:creationId xmlns:a16="http://schemas.microsoft.com/office/drawing/2014/main" id="{6976C5D9-D882-6DDE-816A-0651D8889DF1}"/>
                  </a:ext>
                </a:extLst>
              </p:cNvPr>
              <p:cNvGrpSpPr/>
              <p:nvPr/>
            </p:nvGrpSpPr>
            <p:grpSpPr>
              <a:xfrm>
                <a:off x="9538236" y="4118398"/>
                <a:ext cx="425348" cy="308814"/>
                <a:chOff x="9538236" y="4118398"/>
                <a:chExt cx="425348" cy="308814"/>
              </a:xfrm>
              <a:noFill/>
            </p:grpSpPr>
            <p:sp>
              <p:nvSpPr>
                <p:cNvPr id="617" name="Forma livre: Forma 616">
                  <a:extLst>
                    <a:ext uri="{FF2B5EF4-FFF2-40B4-BE49-F238E27FC236}">
                      <a16:creationId xmlns:a16="http://schemas.microsoft.com/office/drawing/2014/main" id="{E23D4A32-26BB-2649-B4E0-5773D7C8BBB7}"/>
                    </a:ext>
                  </a:extLst>
                </p:cNvPr>
                <p:cNvSpPr/>
                <p:nvPr/>
              </p:nvSpPr>
              <p:spPr>
                <a:xfrm>
                  <a:off x="9656903" y="4193219"/>
                  <a:ext cx="187990" cy="188156"/>
                </a:xfrm>
                <a:custGeom>
                  <a:avLst/>
                  <a:gdLst>
                    <a:gd name="connsiteX0" fmla="*/ 187991 w 187990"/>
                    <a:gd name="connsiteY0" fmla="*/ 93995 h 188156"/>
                    <a:gd name="connsiteX1" fmla="*/ 93995 w 187990"/>
                    <a:gd name="connsiteY1" fmla="*/ 188157 h 188156"/>
                    <a:gd name="connsiteX2" fmla="*/ 0 w 187990"/>
                    <a:gd name="connsiteY2" fmla="*/ 93995 h 188156"/>
                    <a:gd name="connsiteX3" fmla="*/ 93995 w 187990"/>
                    <a:gd name="connsiteY3" fmla="*/ 0 h 188156"/>
                    <a:gd name="connsiteX4" fmla="*/ 187991 w 187990"/>
                    <a:gd name="connsiteY4" fmla="*/ 93995 h 18815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87990" h="188156">
                      <a:moveTo>
                        <a:pt x="187991" y="93995"/>
                      </a:moveTo>
                      <a:cubicBezTo>
                        <a:pt x="187991" y="146065"/>
                        <a:pt x="145899" y="188157"/>
                        <a:pt x="93995" y="188157"/>
                      </a:cubicBezTo>
                      <a:cubicBezTo>
                        <a:pt x="42092" y="188157"/>
                        <a:pt x="0" y="146089"/>
                        <a:pt x="0" y="93995"/>
                      </a:cubicBezTo>
                      <a:cubicBezTo>
                        <a:pt x="0" y="41902"/>
                        <a:pt x="42068" y="0"/>
                        <a:pt x="93995" y="0"/>
                      </a:cubicBezTo>
                      <a:cubicBezTo>
                        <a:pt x="145923" y="0"/>
                        <a:pt x="187991" y="42092"/>
                        <a:pt x="187991" y="93995"/>
                      </a:cubicBezTo>
                      <a:close/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618" name="Forma livre: Forma 617">
                  <a:extLst>
                    <a:ext uri="{FF2B5EF4-FFF2-40B4-BE49-F238E27FC236}">
                      <a16:creationId xmlns:a16="http://schemas.microsoft.com/office/drawing/2014/main" id="{A08DE4CD-EE35-39C2-FE70-82F6E5A3CFB9}"/>
                    </a:ext>
                  </a:extLst>
                </p:cNvPr>
                <p:cNvSpPr/>
                <p:nvPr/>
              </p:nvSpPr>
              <p:spPr>
                <a:xfrm>
                  <a:off x="9711295" y="4247588"/>
                  <a:ext cx="39603" cy="39626"/>
                </a:xfrm>
                <a:custGeom>
                  <a:avLst/>
                  <a:gdLst>
                    <a:gd name="connsiteX0" fmla="*/ 0 w 39603"/>
                    <a:gd name="connsiteY0" fmla="*/ 39627 h 39626"/>
                    <a:gd name="connsiteX1" fmla="*/ 39603 w 39603"/>
                    <a:gd name="connsiteY1" fmla="*/ 0 h 3962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39603" h="39626">
                      <a:moveTo>
                        <a:pt x="0" y="39627"/>
                      </a:moveTo>
                      <a:cubicBezTo>
                        <a:pt x="0" y="17775"/>
                        <a:pt x="17775" y="0"/>
                        <a:pt x="39603" y="0"/>
                      </a:cubicBez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619" name="Forma livre: Forma 618">
                  <a:extLst>
                    <a:ext uri="{FF2B5EF4-FFF2-40B4-BE49-F238E27FC236}">
                      <a16:creationId xmlns:a16="http://schemas.microsoft.com/office/drawing/2014/main" id="{6C0372E7-BD6C-1EAC-97C3-8048E9B5F4F4}"/>
                    </a:ext>
                  </a:extLst>
                </p:cNvPr>
                <p:cNvSpPr/>
                <p:nvPr/>
              </p:nvSpPr>
              <p:spPr>
                <a:xfrm>
                  <a:off x="9538236" y="4118398"/>
                  <a:ext cx="425348" cy="308814"/>
                </a:xfrm>
                <a:custGeom>
                  <a:avLst/>
                  <a:gdLst>
                    <a:gd name="connsiteX0" fmla="*/ 20240 w 425348"/>
                    <a:gd name="connsiteY0" fmla="*/ 308815 h 308814"/>
                    <a:gd name="connsiteX1" fmla="*/ 0 w 425348"/>
                    <a:gd name="connsiteY1" fmla="*/ 288575 h 308814"/>
                    <a:gd name="connsiteX2" fmla="*/ 0 w 425348"/>
                    <a:gd name="connsiteY2" fmla="*/ 80368 h 308814"/>
                    <a:gd name="connsiteX3" fmla="*/ 20240 w 425348"/>
                    <a:gd name="connsiteY3" fmla="*/ 60104 h 308814"/>
                    <a:gd name="connsiteX4" fmla="*/ 102290 w 425348"/>
                    <a:gd name="connsiteY4" fmla="*/ 60104 h 308814"/>
                    <a:gd name="connsiteX5" fmla="*/ 155332 w 425348"/>
                    <a:gd name="connsiteY5" fmla="*/ 0 h 308814"/>
                    <a:gd name="connsiteX6" fmla="*/ 272672 w 425348"/>
                    <a:gd name="connsiteY6" fmla="*/ 0 h 308814"/>
                    <a:gd name="connsiteX7" fmla="*/ 324409 w 425348"/>
                    <a:gd name="connsiteY7" fmla="*/ 60104 h 308814"/>
                    <a:gd name="connsiteX8" fmla="*/ 405109 w 425348"/>
                    <a:gd name="connsiteY8" fmla="*/ 60104 h 308814"/>
                    <a:gd name="connsiteX9" fmla="*/ 425349 w 425348"/>
                    <a:gd name="connsiteY9" fmla="*/ 80368 h 308814"/>
                    <a:gd name="connsiteX10" fmla="*/ 425349 w 425348"/>
                    <a:gd name="connsiteY10" fmla="*/ 288575 h 308814"/>
                    <a:gd name="connsiteX11" fmla="*/ 405109 w 425348"/>
                    <a:gd name="connsiteY11" fmla="*/ 308815 h 308814"/>
                    <a:gd name="connsiteX12" fmla="*/ 20240 w 425348"/>
                    <a:gd name="connsiteY12" fmla="*/ 308815 h 30881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</a:cxnLst>
                  <a:rect l="l" t="t" r="r" b="b"/>
                  <a:pathLst>
                    <a:path w="425348" h="308814">
                      <a:moveTo>
                        <a:pt x="20240" y="308815"/>
                      </a:moveTo>
                      <a:cubicBezTo>
                        <a:pt x="9101" y="308815"/>
                        <a:pt x="0" y="299714"/>
                        <a:pt x="0" y="288575"/>
                      </a:cubicBezTo>
                      <a:lnTo>
                        <a:pt x="0" y="80368"/>
                      </a:lnTo>
                      <a:cubicBezTo>
                        <a:pt x="0" y="69228"/>
                        <a:pt x="9101" y="60104"/>
                        <a:pt x="20240" y="60104"/>
                      </a:cubicBezTo>
                      <a:lnTo>
                        <a:pt x="102290" y="60104"/>
                      </a:lnTo>
                      <a:lnTo>
                        <a:pt x="155332" y="0"/>
                      </a:lnTo>
                      <a:lnTo>
                        <a:pt x="272672" y="0"/>
                      </a:lnTo>
                      <a:lnTo>
                        <a:pt x="324409" y="60104"/>
                      </a:lnTo>
                      <a:lnTo>
                        <a:pt x="405109" y="60104"/>
                      </a:lnTo>
                      <a:cubicBezTo>
                        <a:pt x="416224" y="60104"/>
                        <a:pt x="425349" y="69228"/>
                        <a:pt x="425349" y="80368"/>
                      </a:cubicBezTo>
                      <a:lnTo>
                        <a:pt x="425349" y="288575"/>
                      </a:lnTo>
                      <a:cubicBezTo>
                        <a:pt x="425349" y="299690"/>
                        <a:pt x="416224" y="308815"/>
                        <a:pt x="405109" y="308815"/>
                      </a:cubicBezTo>
                      <a:lnTo>
                        <a:pt x="20240" y="308815"/>
                      </a:lnTo>
                      <a:close/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620" name="Forma livre: Forma 619">
                <a:extLst>
                  <a:ext uri="{FF2B5EF4-FFF2-40B4-BE49-F238E27FC236}">
                    <a16:creationId xmlns:a16="http://schemas.microsoft.com/office/drawing/2014/main" id="{131AE169-B6C9-81D2-6DD2-458B88E0C37A}"/>
                  </a:ext>
                </a:extLst>
              </p:cNvPr>
              <p:cNvSpPr/>
              <p:nvPr/>
            </p:nvSpPr>
            <p:spPr>
              <a:xfrm>
                <a:off x="9587983" y="4227964"/>
                <a:ext cx="14220" cy="14220"/>
              </a:xfrm>
              <a:custGeom>
                <a:avLst/>
                <a:gdLst>
                  <a:gd name="connsiteX0" fmla="*/ 14220 w 14220"/>
                  <a:gd name="connsiteY0" fmla="*/ 7110 h 14220"/>
                  <a:gd name="connsiteX1" fmla="*/ 7134 w 14220"/>
                  <a:gd name="connsiteY1" fmla="*/ 14220 h 14220"/>
                  <a:gd name="connsiteX2" fmla="*/ 0 w 14220"/>
                  <a:gd name="connsiteY2" fmla="*/ 7110 h 14220"/>
                  <a:gd name="connsiteX3" fmla="*/ 7134 w 14220"/>
                  <a:gd name="connsiteY3" fmla="*/ 0 h 14220"/>
                  <a:gd name="connsiteX4" fmla="*/ 14220 w 14220"/>
                  <a:gd name="connsiteY4" fmla="*/ 7110 h 142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4220" h="14220">
                    <a:moveTo>
                      <a:pt x="14220" y="7110"/>
                    </a:moveTo>
                    <a:cubicBezTo>
                      <a:pt x="14220" y="11068"/>
                      <a:pt x="11068" y="14220"/>
                      <a:pt x="7134" y="14220"/>
                    </a:cubicBezTo>
                    <a:cubicBezTo>
                      <a:pt x="3199" y="14220"/>
                      <a:pt x="0" y="11068"/>
                      <a:pt x="0" y="7110"/>
                    </a:cubicBezTo>
                    <a:cubicBezTo>
                      <a:pt x="0" y="3152"/>
                      <a:pt x="3199" y="0"/>
                      <a:pt x="7134" y="0"/>
                    </a:cubicBezTo>
                    <a:cubicBezTo>
                      <a:pt x="11068" y="0"/>
                      <a:pt x="14220" y="3176"/>
                      <a:pt x="14220" y="7110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621" name="Forma livre: Forma 620">
              <a:extLst>
                <a:ext uri="{FF2B5EF4-FFF2-40B4-BE49-F238E27FC236}">
                  <a16:creationId xmlns:a16="http://schemas.microsoft.com/office/drawing/2014/main" id="{41706D41-9629-4306-CB35-05CA8E65A66B}"/>
                </a:ext>
              </a:extLst>
            </p:cNvPr>
            <p:cNvSpPr/>
            <p:nvPr/>
          </p:nvSpPr>
          <p:spPr>
            <a:xfrm>
              <a:off x="9750922" y="4531541"/>
              <a:ext cx="2370" cy="268358"/>
            </a:xfrm>
            <a:custGeom>
              <a:avLst/>
              <a:gdLst>
                <a:gd name="connsiteX0" fmla="*/ 0 w 2370"/>
                <a:gd name="connsiteY0" fmla="*/ 0 h 268358"/>
                <a:gd name="connsiteX1" fmla="*/ 0 w 2370"/>
                <a:gd name="connsiteY1" fmla="*/ 268358 h 2683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370" h="268358">
                  <a:moveTo>
                    <a:pt x="0" y="0"/>
                  </a:moveTo>
                  <a:lnTo>
                    <a:pt x="0" y="268358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22" name="Forma livre: Forma 621">
              <a:extLst>
                <a:ext uri="{FF2B5EF4-FFF2-40B4-BE49-F238E27FC236}">
                  <a16:creationId xmlns:a16="http://schemas.microsoft.com/office/drawing/2014/main" id="{34406B15-4A6B-B0E4-3C2C-FE151CEF1340}"/>
                </a:ext>
              </a:extLst>
            </p:cNvPr>
            <p:cNvSpPr/>
            <p:nvPr/>
          </p:nvSpPr>
          <p:spPr>
            <a:xfrm>
              <a:off x="9600473" y="4647506"/>
              <a:ext cx="300874" cy="152392"/>
            </a:xfrm>
            <a:custGeom>
              <a:avLst/>
              <a:gdLst>
                <a:gd name="connsiteX0" fmla="*/ 300875 w 300874"/>
                <a:gd name="connsiteY0" fmla="*/ 152393 h 152392"/>
                <a:gd name="connsiteX1" fmla="*/ 199628 w 300874"/>
                <a:gd name="connsiteY1" fmla="*/ 0 h 152392"/>
                <a:gd name="connsiteX2" fmla="*/ 101271 w 300874"/>
                <a:gd name="connsiteY2" fmla="*/ 0 h 152392"/>
                <a:gd name="connsiteX3" fmla="*/ 0 w 300874"/>
                <a:gd name="connsiteY3" fmla="*/ 152393 h 1523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00874" h="152392">
                  <a:moveTo>
                    <a:pt x="300875" y="152393"/>
                  </a:moveTo>
                  <a:lnTo>
                    <a:pt x="199628" y="0"/>
                  </a:lnTo>
                  <a:lnTo>
                    <a:pt x="101271" y="0"/>
                  </a:lnTo>
                  <a:lnTo>
                    <a:pt x="0" y="152393"/>
                  </a:lnTo>
                </a:path>
              </a:pathLst>
            </a:custGeom>
            <a:noFill/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23" name="Forma livre: Forma 622">
              <a:extLst>
                <a:ext uri="{FF2B5EF4-FFF2-40B4-BE49-F238E27FC236}">
                  <a16:creationId xmlns:a16="http://schemas.microsoft.com/office/drawing/2014/main" id="{0F0A245B-C7E7-4C04-5921-F1F3DCDA6118}"/>
                </a:ext>
              </a:extLst>
            </p:cNvPr>
            <p:cNvSpPr/>
            <p:nvPr/>
          </p:nvSpPr>
          <p:spPr>
            <a:xfrm>
              <a:off x="9618201" y="4479756"/>
              <a:ext cx="265443" cy="2370"/>
            </a:xfrm>
            <a:custGeom>
              <a:avLst/>
              <a:gdLst>
                <a:gd name="connsiteX0" fmla="*/ 0 w 265443"/>
                <a:gd name="connsiteY0" fmla="*/ 0 h 2370"/>
                <a:gd name="connsiteX1" fmla="*/ 265443 w 265443"/>
                <a:gd name="connsiteY1" fmla="*/ 0 h 23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65443" h="2370">
                  <a:moveTo>
                    <a:pt x="0" y="0"/>
                  </a:moveTo>
                  <a:lnTo>
                    <a:pt x="265443" y="0"/>
                  </a:lnTo>
                </a:path>
              </a:pathLst>
            </a:custGeom>
            <a:ln w="6350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24" name="Forma livre: Forma 623">
              <a:extLst>
                <a:ext uri="{FF2B5EF4-FFF2-40B4-BE49-F238E27FC236}">
                  <a16:creationId xmlns:a16="http://schemas.microsoft.com/office/drawing/2014/main" id="{D6F4F3B8-A3F8-09BD-34F4-74A6E8CB70C9}"/>
                </a:ext>
              </a:extLst>
            </p:cNvPr>
            <p:cNvSpPr/>
            <p:nvPr/>
          </p:nvSpPr>
          <p:spPr>
            <a:xfrm>
              <a:off x="9682191" y="4481913"/>
              <a:ext cx="137461" cy="48585"/>
            </a:xfrm>
            <a:custGeom>
              <a:avLst/>
              <a:gdLst>
                <a:gd name="connsiteX0" fmla="*/ 137462 w 137461"/>
                <a:gd name="connsiteY0" fmla="*/ 0 h 48585"/>
                <a:gd name="connsiteX1" fmla="*/ 137462 w 137461"/>
                <a:gd name="connsiteY1" fmla="*/ 48586 h 48585"/>
                <a:gd name="connsiteX2" fmla="*/ 0 w 137461"/>
                <a:gd name="connsiteY2" fmla="*/ 48586 h 48585"/>
                <a:gd name="connsiteX3" fmla="*/ 0 w 137461"/>
                <a:gd name="connsiteY3" fmla="*/ 0 h 485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7461" h="48585">
                  <a:moveTo>
                    <a:pt x="137462" y="0"/>
                  </a:moveTo>
                  <a:lnTo>
                    <a:pt x="137462" y="48586"/>
                  </a:lnTo>
                  <a:lnTo>
                    <a:pt x="0" y="48586"/>
                  </a:lnTo>
                  <a:lnTo>
                    <a:pt x="0" y="0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625" name="Gráfico 8">
            <a:extLst>
              <a:ext uri="{FF2B5EF4-FFF2-40B4-BE49-F238E27FC236}">
                <a16:creationId xmlns:a16="http://schemas.microsoft.com/office/drawing/2014/main" id="{01A99507-0238-D671-BB11-8E0299A3AC22}"/>
              </a:ext>
            </a:extLst>
          </p:cNvPr>
          <p:cNvGrpSpPr/>
          <p:nvPr/>
        </p:nvGrpSpPr>
        <p:grpSpPr>
          <a:xfrm>
            <a:off x="8158359" y="4209739"/>
            <a:ext cx="716956" cy="498819"/>
            <a:chOff x="8158359" y="4209739"/>
            <a:chExt cx="716956" cy="498819"/>
          </a:xfrm>
        </p:grpSpPr>
        <p:grpSp>
          <p:nvGrpSpPr>
            <p:cNvPr id="626" name="Gráfico 8">
              <a:extLst>
                <a:ext uri="{FF2B5EF4-FFF2-40B4-BE49-F238E27FC236}">
                  <a16:creationId xmlns:a16="http://schemas.microsoft.com/office/drawing/2014/main" id="{C858DACC-EB1D-C845-3FE4-CE02F762C99B}"/>
                </a:ext>
              </a:extLst>
            </p:cNvPr>
            <p:cNvGrpSpPr/>
            <p:nvPr/>
          </p:nvGrpSpPr>
          <p:grpSpPr>
            <a:xfrm>
              <a:off x="8351895" y="4305156"/>
              <a:ext cx="329931" cy="331069"/>
              <a:chOff x="8351895" y="4305156"/>
              <a:chExt cx="329931" cy="331069"/>
            </a:xfrm>
            <a:noFill/>
          </p:grpSpPr>
          <p:grpSp>
            <p:nvGrpSpPr>
              <p:cNvPr id="627" name="Gráfico 8">
                <a:extLst>
                  <a:ext uri="{FF2B5EF4-FFF2-40B4-BE49-F238E27FC236}">
                    <a16:creationId xmlns:a16="http://schemas.microsoft.com/office/drawing/2014/main" id="{9333AA4C-D705-ADF7-28A8-CBAD12B18B91}"/>
                  </a:ext>
                </a:extLst>
              </p:cNvPr>
              <p:cNvGrpSpPr/>
              <p:nvPr/>
            </p:nvGrpSpPr>
            <p:grpSpPr>
              <a:xfrm>
                <a:off x="8351895" y="4305156"/>
                <a:ext cx="83211" cy="331069"/>
                <a:chOff x="8351895" y="4305156"/>
                <a:chExt cx="83211" cy="331069"/>
              </a:xfrm>
              <a:noFill/>
            </p:grpSpPr>
            <p:sp>
              <p:nvSpPr>
                <p:cNvPr id="628" name="Forma livre: Forma 627">
                  <a:extLst>
                    <a:ext uri="{FF2B5EF4-FFF2-40B4-BE49-F238E27FC236}">
                      <a16:creationId xmlns:a16="http://schemas.microsoft.com/office/drawing/2014/main" id="{527DED14-4C16-DA72-3E2D-8AFD46C86A58}"/>
                    </a:ext>
                  </a:extLst>
                </p:cNvPr>
                <p:cNvSpPr/>
                <p:nvPr/>
              </p:nvSpPr>
              <p:spPr>
                <a:xfrm>
                  <a:off x="8368319" y="4305156"/>
                  <a:ext cx="50339" cy="331069"/>
                </a:xfrm>
                <a:custGeom>
                  <a:avLst/>
                  <a:gdLst>
                    <a:gd name="connsiteX0" fmla="*/ 50339 w 50339"/>
                    <a:gd name="connsiteY0" fmla="*/ 0 h 331069"/>
                    <a:gd name="connsiteX1" fmla="*/ 50339 w 50339"/>
                    <a:gd name="connsiteY1" fmla="*/ 331069 h 331069"/>
                    <a:gd name="connsiteX2" fmla="*/ 0 w 50339"/>
                    <a:gd name="connsiteY2" fmla="*/ 331069 h 331069"/>
                    <a:gd name="connsiteX3" fmla="*/ 0 w 50339"/>
                    <a:gd name="connsiteY3" fmla="*/ 0 h 33106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50339" h="331069">
                      <a:moveTo>
                        <a:pt x="50339" y="0"/>
                      </a:moveTo>
                      <a:lnTo>
                        <a:pt x="50339" y="331069"/>
                      </a:lnTo>
                      <a:lnTo>
                        <a:pt x="0" y="331069"/>
                      </a:lnTo>
                      <a:lnTo>
                        <a:pt x="0" y="0"/>
                      </a:ln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629" name="Forma livre: Forma 628">
                  <a:extLst>
                    <a:ext uri="{FF2B5EF4-FFF2-40B4-BE49-F238E27FC236}">
                      <a16:creationId xmlns:a16="http://schemas.microsoft.com/office/drawing/2014/main" id="{BBC424E7-117F-8213-D4BA-6197FA1F7885}"/>
                    </a:ext>
                  </a:extLst>
                </p:cNvPr>
                <p:cNvSpPr/>
                <p:nvPr/>
              </p:nvSpPr>
              <p:spPr>
                <a:xfrm>
                  <a:off x="8351895" y="4546946"/>
                  <a:ext cx="83211" cy="2370"/>
                </a:xfrm>
                <a:custGeom>
                  <a:avLst/>
                  <a:gdLst>
                    <a:gd name="connsiteX0" fmla="*/ 0 w 83211"/>
                    <a:gd name="connsiteY0" fmla="*/ 0 h 2370"/>
                    <a:gd name="connsiteX1" fmla="*/ 83212 w 83211"/>
                    <a:gd name="connsiteY1" fmla="*/ 0 h 237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83211" h="2370">
                      <a:moveTo>
                        <a:pt x="0" y="0"/>
                      </a:moveTo>
                      <a:lnTo>
                        <a:pt x="83212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grpSp>
            <p:nvGrpSpPr>
              <p:cNvPr id="630" name="Gráfico 8">
                <a:extLst>
                  <a:ext uri="{FF2B5EF4-FFF2-40B4-BE49-F238E27FC236}">
                    <a16:creationId xmlns:a16="http://schemas.microsoft.com/office/drawing/2014/main" id="{007F0161-5BB1-B685-7C6B-3C20FA2C868E}"/>
                  </a:ext>
                </a:extLst>
              </p:cNvPr>
              <p:cNvGrpSpPr/>
              <p:nvPr/>
            </p:nvGrpSpPr>
            <p:grpSpPr>
              <a:xfrm>
                <a:off x="8598615" y="4305156"/>
                <a:ext cx="83211" cy="331069"/>
                <a:chOff x="8598615" y="4305156"/>
                <a:chExt cx="83211" cy="331069"/>
              </a:xfrm>
              <a:noFill/>
            </p:grpSpPr>
            <p:sp>
              <p:nvSpPr>
                <p:cNvPr id="631" name="Forma livre: Forma 630">
                  <a:extLst>
                    <a:ext uri="{FF2B5EF4-FFF2-40B4-BE49-F238E27FC236}">
                      <a16:creationId xmlns:a16="http://schemas.microsoft.com/office/drawing/2014/main" id="{23B31358-A757-2889-24DF-D94750251DCF}"/>
                    </a:ext>
                  </a:extLst>
                </p:cNvPr>
                <p:cNvSpPr/>
                <p:nvPr/>
              </p:nvSpPr>
              <p:spPr>
                <a:xfrm>
                  <a:off x="8615039" y="4305156"/>
                  <a:ext cx="50363" cy="331069"/>
                </a:xfrm>
                <a:custGeom>
                  <a:avLst/>
                  <a:gdLst>
                    <a:gd name="connsiteX0" fmla="*/ 50363 w 50363"/>
                    <a:gd name="connsiteY0" fmla="*/ 0 h 331069"/>
                    <a:gd name="connsiteX1" fmla="*/ 50363 w 50363"/>
                    <a:gd name="connsiteY1" fmla="*/ 331069 h 331069"/>
                    <a:gd name="connsiteX2" fmla="*/ 0 w 50363"/>
                    <a:gd name="connsiteY2" fmla="*/ 331069 h 331069"/>
                    <a:gd name="connsiteX3" fmla="*/ 0 w 50363"/>
                    <a:gd name="connsiteY3" fmla="*/ 0 h 33106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50363" h="331069">
                      <a:moveTo>
                        <a:pt x="50363" y="0"/>
                      </a:moveTo>
                      <a:lnTo>
                        <a:pt x="50363" y="331069"/>
                      </a:lnTo>
                      <a:lnTo>
                        <a:pt x="0" y="331069"/>
                      </a:lnTo>
                      <a:lnTo>
                        <a:pt x="0" y="0"/>
                      </a:ln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632" name="Forma livre: Forma 631">
                  <a:extLst>
                    <a:ext uri="{FF2B5EF4-FFF2-40B4-BE49-F238E27FC236}">
                      <a16:creationId xmlns:a16="http://schemas.microsoft.com/office/drawing/2014/main" id="{5A56864E-1EE1-99BC-55D3-084D4A2E2837}"/>
                    </a:ext>
                  </a:extLst>
                </p:cNvPr>
                <p:cNvSpPr/>
                <p:nvPr/>
              </p:nvSpPr>
              <p:spPr>
                <a:xfrm>
                  <a:off x="8598615" y="4546946"/>
                  <a:ext cx="83211" cy="2370"/>
                </a:xfrm>
                <a:custGeom>
                  <a:avLst/>
                  <a:gdLst>
                    <a:gd name="connsiteX0" fmla="*/ 0 w 83211"/>
                    <a:gd name="connsiteY0" fmla="*/ 0 h 2370"/>
                    <a:gd name="connsiteX1" fmla="*/ 83212 w 83211"/>
                    <a:gd name="connsiteY1" fmla="*/ 0 h 237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83211" h="2370">
                      <a:moveTo>
                        <a:pt x="0" y="0"/>
                      </a:moveTo>
                      <a:lnTo>
                        <a:pt x="83212" y="0"/>
                      </a:lnTo>
                    </a:path>
                  </a:pathLst>
                </a:custGeom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sp>
          <p:nvSpPr>
            <p:cNvPr id="633" name="Forma livre: Forma 632">
              <a:extLst>
                <a:ext uri="{FF2B5EF4-FFF2-40B4-BE49-F238E27FC236}">
                  <a16:creationId xmlns:a16="http://schemas.microsoft.com/office/drawing/2014/main" id="{5C14C550-B8D9-C111-27A5-B59C2775A0EB}"/>
                </a:ext>
              </a:extLst>
            </p:cNvPr>
            <p:cNvSpPr/>
            <p:nvPr/>
          </p:nvSpPr>
          <p:spPr>
            <a:xfrm>
              <a:off x="8390266" y="4209739"/>
              <a:ext cx="253142" cy="56548"/>
            </a:xfrm>
            <a:custGeom>
              <a:avLst/>
              <a:gdLst>
                <a:gd name="connsiteX0" fmla="*/ 253143 w 253142"/>
                <a:gd name="connsiteY0" fmla="*/ 56549 h 56548"/>
                <a:gd name="connsiteX1" fmla="*/ 253143 w 253142"/>
                <a:gd name="connsiteY1" fmla="*/ 14481 h 56548"/>
                <a:gd name="connsiteX2" fmla="*/ 121322 w 253142"/>
                <a:gd name="connsiteY2" fmla="*/ 0 h 56548"/>
                <a:gd name="connsiteX3" fmla="*/ 0 w 253142"/>
                <a:gd name="connsiteY3" fmla="*/ 14481 h 56548"/>
                <a:gd name="connsiteX4" fmla="*/ 0 w 253142"/>
                <a:gd name="connsiteY4" fmla="*/ 56549 h 565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3142" h="56548">
                  <a:moveTo>
                    <a:pt x="253143" y="56549"/>
                  </a:moveTo>
                  <a:lnTo>
                    <a:pt x="253143" y="14481"/>
                  </a:lnTo>
                  <a:cubicBezTo>
                    <a:pt x="253143" y="14481"/>
                    <a:pt x="208823" y="0"/>
                    <a:pt x="121322" y="0"/>
                  </a:cubicBezTo>
                  <a:cubicBezTo>
                    <a:pt x="33820" y="0"/>
                    <a:pt x="0" y="14481"/>
                    <a:pt x="0" y="14481"/>
                  </a:cubicBezTo>
                  <a:lnTo>
                    <a:pt x="0" y="56549"/>
                  </a:lnTo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634" name="Gráfico 8">
              <a:extLst>
                <a:ext uri="{FF2B5EF4-FFF2-40B4-BE49-F238E27FC236}">
                  <a16:creationId xmlns:a16="http://schemas.microsoft.com/office/drawing/2014/main" id="{11BDC816-E265-B516-686F-BD3A453844FD}"/>
                </a:ext>
              </a:extLst>
            </p:cNvPr>
            <p:cNvGrpSpPr/>
            <p:nvPr/>
          </p:nvGrpSpPr>
          <p:grpSpPr>
            <a:xfrm>
              <a:off x="8158359" y="4304587"/>
              <a:ext cx="716956" cy="403971"/>
              <a:chOff x="8158359" y="4304587"/>
              <a:chExt cx="716956" cy="403971"/>
            </a:xfrm>
            <a:noFill/>
          </p:grpSpPr>
          <p:grpSp>
            <p:nvGrpSpPr>
              <p:cNvPr id="635" name="Gráfico 8">
                <a:extLst>
                  <a:ext uri="{FF2B5EF4-FFF2-40B4-BE49-F238E27FC236}">
                    <a16:creationId xmlns:a16="http://schemas.microsoft.com/office/drawing/2014/main" id="{8DD5F3BE-C586-4251-5140-C91738F24C6D}"/>
                  </a:ext>
                </a:extLst>
              </p:cNvPr>
              <p:cNvGrpSpPr/>
              <p:nvPr/>
            </p:nvGrpSpPr>
            <p:grpSpPr>
              <a:xfrm>
                <a:off x="8158359" y="4304587"/>
                <a:ext cx="716956" cy="403971"/>
                <a:chOff x="8158359" y="4304587"/>
                <a:chExt cx="716956" cy="403971"/>
              </a:xfrm>
              <a:noFill/>
            </p:grpSpPr>
            <p:sp>
              <p:nvSpPr>
                <p:cNvPr id="636" name="Forma livre: Forma 635">
                  <a:extLst>
                    <a:ext uri="{FF2B5EF4-FFF2-40B4-BE49-F238E27FC236}">
                      <a16:creationId xmlns:a16="http://schemas.microsoft.com/office/drawing/2014/main" id="{CAFCC84B-0280-283D-8F79-F4665D1096A8}"/>
                    </a:ext>
                  </a:extLst>
                </p:cNvPr>
                <p:cNvSpPr/>
                <p:nvPr/>
              </p:nvSpPr>
              <p:spPr>
                <a:xfrm>
                  <a:off x="8248183" y="4304587"/>
                  <a:ext cx="536787" cy="169077"/>
                </a:xfrm>
                <a:custGeom>
                  <a:avLst/>
                  <a:gdLst>
                    <a:gd name="connsiteX0" fmla="*/ 74443 w 536787"/>
                    <a:gd name="connsiteY0" fmla="*/ 163366 h 169077"/>
                    <a:gd name="connsiteX1" fmla="*/ 0 w 536787"/>
                    <a:gd name="connsiteY1" fmla="*/ 98783 h 169077"/>
                    <a:gd name="connsiteX2" fmla="*/ 0 w 536787"/>
                    <a:gd name="connsiteY2" fmla="*/ 0 h 169077"/>
                    <a:gd name="connsiteX3" fmla="*/ 536788 w 536787"/>
                    <a:gd name="connsiteY3" fmla="*/ 0 h 169077"/>
                    <a:gd name="connsiteX4" fmla="*/ 536788 w 536787"/>
                    <a:gd name="connsiteY4" fmla="*/ 98783 h 169077"/>
                    <a:gd name="connsiteX5" fmla="*/ 422528 w 536787"/>
                    <a:gd name="connsiteY5" fmla="*/ 169078 h 16907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536787" h="169077">
                      <a:moveTo>
                        <a:pt x="74443" y="163366"/>
                      </a:moveTo>
                      <a:cubicBezTo>
                        <a:pt x="28630" y="153981"/>
                        <a:pt x="0" y="135399"/>
                        <a:pt x="0" y="98783"/>
                      </a:cubicBezTo>
                      <a:lnTo>
                        <a:pt x="0" y="0"/>
                      </a:lnTo>
                      <a:lnTo>
                        <a:pt x="536788" y="0"/>
                      </a:lnTo>
                      <a:lnTo>
                        <a:pt x="536788" y="98783"/>
                      </a:lnTo>
                      <a:cubicBezTo>
                        <a:pt x="536788" y="145093"/>
                        <a:pt x="490999" y="162513"/>
                        <a:pt x="422528" y="169078"/>
                      </a:cubicBezTo>
                    </a:path>
                  </a:pathLst>
                </a:custGeom>
                <a:noFill/>
                <a:ln w="6350" cap="flat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637" name="Forma livre: Forma 636">
                  <a:extLst>
                    <a:ext uri="{FF2B5EF4-FFF2-40B4-BE49-F238E27FC236}">
                      <a16:creationId xmlns:a16="http://schemas.microsoft.com/office/drawing/2014/main" id="{84CDB3BD-6B5D-A6CB-A30A-676F177C28EC}"/>
                    </a:ext>
                  </a:extLst>
                </p:cNvPr>
                <p:cNvSpPr/>
                <p:nvPr/>
              </p:nvSpPr>
              <p:spPr>
                <a:xfrm>
                  <a:off x="8189191" y="4517250"/>
                  <a:ext cx="50388" cy="130635"/>
                </a:xfrm>
                <a:custGeom>
                  <a:avLst/>
                  <a:gdLst>
                    <a:gd name="connsiteX0" fmla="*/ 4529 w 50388"/>
                    <a:gd name="connsiteY0" fmla="*/ 0 h 130635"/>
                    <a:gd name="connsiteX1" fmla="*/ 1471 w 50388"/>
                    <a:gd name="connsiteY1" fmla="*/ 130636 h 130635"/>
                    <a:gd name="connsiteX2" fmla="*/ 50389 w 50388"/>
                    <a:gd name="connsiteY2" fmla="*/ 130636 h 13063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50388" h="130635">
                      <a:moveTo>
                        <a:pt x="4529" y="0"/>
                      </a:moveTo>
                      <a:cubicBezTo>
                        <a:pt x="-211" y="43419"/>
                        <a:pt x="-1230" y="87122"/>
                        <a:pt x="1471" y="130636"/>
                      </a:cubicBezTo>
                      <a:lnTo>
                        <a:pt x="50389" y="130636"/>
                      </a:ln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638" name="Forma livre: Forma 637">
                  <a:extLst>
                    <a:ext uri="{FF2B5EF4-FFF2-40B4-BE49-F238E27FC236}">
                      <a16:creationId xmlns:a16="http://schemas.microsoft.com/office/drawing/2014/main" id="{840953FB-6FFE-2786-F1AF-EF4C1C9A2D21}"/>
                    </a:ext>
                  </a:extLst>
                </p:cNvPr>
                <p:cNvSpPr/>
                <p:nvPr/>
              </p:nvSpPr>
              <p:spPr>
                <a:xfrm>
                  <a:off x="8158359" y="4492388"/>
                  <a:ext cx="716956" cy="216170"/>
                </a:xfrm>
                <a:custGeom>
                  <a:avLst/>
                  <a:gdLst>
                    <a:gd name="connsiteX0" fmla="*/ 716957 w 716956"/>
                    <a:gd name="connsiteY0" fmla="*/ 66835 h 216170"/>
                    <a:gd name="connsiteX1" fmla="*/ 627157 w 716956"/>
                    <a:gd name="connsiteY1" fmla="*/ 0 h 216170"/>
                    <a:gd name="connsiteX2" fmla="*/ 627157 w 716956"/>
                    <a:gd name="connsiteY2" fmla="*/ 216170 h 216170"/>
                    <a:gd name="connsiteX3" fmla="*/ 89800 w 716956"/>
                    <a:gd name="connsiteY3" fmla="*/ 216170 h 216170"/>
                    <a:gd name="connsiteX4" fmla="*/ 89800 w 716956"/>
                    <a:gd name="connsiteY4" fmla="*/ 0 h 216170"/>
                    <a:gd name="connsiteX5" fmla="*/ 0 w 716956"/>
                    <a:gd name="connsiteY5" fmla="*/ 66835 h 21617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716956" h="216170">
                      <a:moveTo>
                        <a:pt x="716957" y="66835"/>
                      </a:moveTo>
                      <a:cubicBezTo>
                        <a:pt x="693612" y="13177"/>
                        <a:pt x="627157" y="0"/>
                        <a:pt x="627157" y="0"/>
                      </a:cubicBezTo>
                      <a:cubicBezTo>
                        <a:pt x="637348" y="71693"/>
                        <a:pt x="637348" y="144453"/>
                        <a:pt x="627157" y="216170"/>
                      </a:cubicBezTo>
                      <a:lnTo>
                        <a:pt x="89800" y="216170"/>
                      </a:lnTo>
                      <a:cubicBezTo>
                        <a:pt x="79609" y="144477"/>
                        <a:pt x="79609" y="71693"/>
                        <a:pt x="89800" y="0"/>
                      </a:cubicBezTo>
                      <a:cubicBezTo>
                        <a:pt x="89800" y="0"/>
                        <a:pt x="23321" y="13177"/>
                        <a:pt x="0" y="66835"/>
                      </a:cubicBez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639" name="Forma livre: Forma 638">
                  <a:extLst>
                    <a:ext uri="{FF2B5EF4-FFF2-40B4-BE49-F238E27FC236}">
                      <a16:creationId xmlns:a16="http://schemas.microsoft.com/office/drawing/2014/main" id="{8A236CFF-57A2-0639-2695-6F937F3B6323}"/>
                    </a:ext>
                  </a:extLst>
                </p:cNvPr>
                <p:cNvSpPr/>
                <p:nvPr/>
              </p:nvSpPr>
              <p:spPr>
                <a:xfrm>
                  <a:off x="8794118" y="4517250"/>
                  <a:ext cx="50388" cy="130635"/>
                </a:xfrm>
                <a:custGeom>
                  <a:avLst/>
                  <a:gdLst>
                    <a:gd name="connsiteX0" fmla="*/ 45860 w 50388"/>
                    <a:gd name="connsiteY0" fmla="*/ 0 h 130635"/>
                    <a:gd name="connsiteX1" fmla="*/ 48917 w 50388"/>
                    <a:gd name="connsiteY1" fmla="*/ 130636 h 130635"/>
                    <a:gd name="connsiteX2" fmla="*/ 0 w 50388"/>
                    <a:gd name="connsiteY2" fmla="*/ 130636 h 13063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50388" h="130635">
                      <a:moveTo>
                        <a:pt x="45860" y="0"/>
                      </a:moveTo>
                      <a:cubicBezTo>
                        <a:pt x="50600" y="43419"/>
                        <a:pt x="51619" y="87122"/>
                        <a:pt x="48917" y="130636"/>
                      </a:cubicBezTo>
                      <a:lnTo>
                        <a:pt x="0" y="130636"/>
                      </a:ln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  <p:sp>
            <p:nvSpPr>
              <p:cNvPr id="640" name="Forma livre: Forma 639">
                <a:extLst>
                  <a:ext uri="{FF2B5EF4-FFF2-40B4-BE49-F238E27FC236}">
                    <a16:creationId xmlns:a16="http://schemas.microsoft.com/office/drawing/2014/main" id="{1C86BE27-99B3-3695-9ADE-15E665AB4FC7}"/>
                  </a:ext>
                </a:extLst>
              </p:cNvPr>
              <p:cNvSpPr/>
              <p:nvPr/>
            </p:nvSpPr>
            <p:spPr>
              <a:xfrm>
                <a:off x="8420176" y="4477291"/>
                <a:ext cx="193038" cy="2370"/>
              </a:xfrm>
              <a:custGeom>
                <a:avLst/>
                <a:gdLst>
                  <a:gd name="connsiteX0" fmla="*/ 0 w 193038"/>
                  <a:gd name="connsiteY0" fmla="*/ 0 h 2370"/>
                  <a:gd name="connsiteX1" fmla="*/ 193039 w 193038"/>
                  <a:gd name="connsiteY1" fmla="*/ 0 h 23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93038" h="2370">
                    <a:moveTo>
                      <a:pt x="0" y="0"/>
                    </a:moveTo>
                    <a:lnTo>
                      <a:pt x="193039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</p:grpSp>
      <p:grpSp>
        <p:nvGrpSpPr>
          <p:cNvPr id="641" name="Gráfico 8">
            <a:extLst>
              <a:ext uri="{FF2B5EF4-FFF2-40B4-BE49-F238E27FC236}">
                <a16:creationId xmlns:a16="http://schemas.microsoft.com/office/drawing/2014/main" id="{CA9E5123-177D-63AF-BE1E-78697F3D4B44}"/>
              </a:ext>
            </a:extLst>
          </p:cNvPr>
          <p:cNvGrpSpPr/>
          <p:nvPr/>
        </p:nvGrpSpPr>
        <p:grpSpPr>
          <a:xfrm>
            <a:off x="10622832" y="4175041"/>
            <a:ext cx="724398" cy="568237"/>
            <a:chOff x="10622832" y="4175041"/>
            <a:chExt cx="724398" cy="568237"/>
          </a:xfrm>
        </p:grpSpPr>
        <p:grpSp>
          <p:nvGrpSpPr>
            <p:cNvPr id="642" name="Gráfico 8">
              <a:extLst>
                <a:ext uri="{FF2B5EF4-FFF2-40B4-BE49-F238E27FC236}">
                  <a16:creationId xmlns:a16="http://schemas.microsoft.com/office/drawing/2014/main" id="{FA7A3D36-2FC5-D16B-1776-03CE8D53AE18}"/>
                </a:ext>
              </a:extLst>
            </p:cNvPr>
            <p:cNvGrpSpPr/>
            <p:nvPr/>
          </p:nvGrpSpPr>
          <p:grpSpPr>
            <a:xfrm>
              <a:off x="10622832" y="4175041"/>
              <a:ext cx="724398" cy="480925"/>
              <a:chOff x="10622832" y="4175041"/>
              <a:chExt cx="724398" cy="480925"/>
            </a:xfrm>
          </p:grpSpPr>
          <p:sp>
            <p:nvSpPr>
              <p:cNvPr id="643" name="Forma livre: Forma 642">
                <a:extLst>
                  <a:ext uri="{FF2B5EF4-FFF2-40B4-BE49-F238E27FC236}">
                    <a16:creationId xmlns:a16="http://schemas.microsoft.com/office/drawing/2014/main" id="{7791678E-4B01-05B0-46EF-8813F04B9377}"/>
                  </a:ext>
                </a:extLst>
              </p:cNvPr>
              <p:cNvSpPr/>
              <p:nvPr/>
            </p:nvSpPr>
            <p:spPr>
              <a:xfrm>
                <a:off x="10977174" y="4476414"/>
                <a:ext cx="15713" cy="15736"/>
              </a:xfrm>
              <a:custGeom>
                <a:avLst/>
                <a:gdLst>
                  <a:gd name="connsiteX0" fmla="*/ 15713 w 15713"/>
                  <a:gd name="connsiteY0" fmla="*/ 7868 h 15736"/>
                  <a:gd name="connsiteX1" fmla="*/ 7845 w 15713"/>
                  <a:gd name="connsiteY1" fmla="*/ 15737 h 15736"/>
                  <a:gd name="connsiteX2" fmla="*/ 0 w 15713"/>
                  <a:gd name="connsiteY2" fmla="*/ 7868 h 15736"/>
                  <a:gd name="connsiteX3" fmla="*/ 7845 w 15713"/>
                  <a:gd name="connsiteY3" fmla="*/ 0 h 15736"/>
                  <a:gd name="connsiteX4" fmla="*/ 15713 w 15713"/>
                  <a:gd name="connsiteY4" fmla="*/ 7868 h 157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5713" h="15736">
                    <a:moveTo>
                      <a:pt x="15713" y="7868"/>
                    </a:moveTo>
                    <a:cubicBezTo>
                      <a:pt x="15713" y="12205"/>
                      <a:pt x="12206" y="15737"/>
                      <a:pt x="7845" y="15737"/>
                    </a:cubicBezTo>
                    <a:cubicBezTo>
                      <a:pt x="3484" y="15737"/>
                      <a:pt x="0" y="12229"/>
                      <a:pt x="0" y="7868"/>
                    </a:cubicBezTo>
                    <a:cubicBezTo>
                      <a:pt x="0" y="3508"/>
                      <a:pt x="3531" y="0"/>
                      <a:pt x="7845" y="0"/>
                    </a:cubicBezTo>
                    <a:cubicBezTo>
                      <a:pt x="12158" y="0"/>
                      <a:pt x="15713" y="3508"/>
                      <a:pt x="15713" y="7868"/>
                    </a:cubicBezTo>
                    <a:close/>
                  </a:path>
                </a:pathLst>
              </a:custGeom>
              <a:solidFill>
                <a:srgbClr val="394553"/>
              </a:solidFill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644" name="Forma livre: Forma 643">
                <a:extLst>
                  <a:ext uri="{FF2B5EF4-FFF2-40B4-BE49-F238E27FC236}">
                    <a16:creationId xmlns:a16="http://schemas.microsoft.com/office/drawing/2014/main" id="{4516DDC0-7917-8229-E815-A381A606913B}"/>
                  </a:ext>
                </a:extLst>
              </p:cNvPr>
              <p:cNvSpPr/>
              <p:nvPr/>
            </p:nvSpPr>
            <p:spPr>
              <a:xfrm>
                <a:off x="10796815" y="4405574"/>
                <a:ext cx="376455" cy="140352"/>
              </a:xfrm>
              <a:custGeom>
                <a:avLst/>
                <a:gdLst>
                  <a:gd name="connsiteX0" fmla="*/ 0 w 376455"/>
                  <a:gd name="connsiteY0" fmla="*/ 0 h 140352"/>
                  <a:gd name="connsiteX1" fmla="*/ 112956 w 376455"/>
                  <a:gd name="connsiteY1" fmla="*/ 65460 h 140352"/>
                  <a:gd name="connsiteX2" fmla="*/ 112956 w 376455"/>
                  <a:gd name="connsiteY2" fmla="*/ 78732 h 140352"/>
                  <a:gd name="connsiteX3" fmla="*/ 174576 w 376455"/>
                  <a:gd name="connsiteY3" fmla="*/ 140353 h 140352"/>
                  <a:gd name="connsiteX4" fmla="*/ 201879 w 376455"/>
                  <a:gd name="connsiteY4" fmla="*/ 140353 h 140352"/>
                  <a:gd name="connsiteX5" fmla="*/ 263499 w 376455"/>
                  <a:gd name="connsiteY5" fmla="*/ 78732 h 140352"/>
                  <a:gd name="connsiteX6" fmla="*/ 263499 w 376455"/>
                  <a:gd name="connsiteY6" fmla="*/ 65460 h 140352"/>
                  <a:gd name="connsiteX7" fmla="*/ 376455 w 376455"/>
                  <a:gd name="connsiteY7" fmla="*/ 0 h 1403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76455" h="140352">
                    <a:moveTo>
                      <a:pt x="0" y="0"/>
                    </a:moveTo>
                    <a:cubicBezTo>
                      <a:pt x="118075" y="0"/>
                      <a:pt x="112956" y="55221"/>
                      <a:pt x="112956" y="65460"/>
                    </a:cubicBezTo>
                    <a:lnTo>
                      <a:pt x="112956" y="78732"/>
                    </a:lnTo>
                    <a:cubicBezTo>
                      <a:pt x="112956" y="112600"/>
                      <a:pt x="140685" y="140353"/>
                      <a:pt x="174576" y="140353"/>
                    </a:cubicBezTo>
                    <a:lnTo>
                      <a:pt x="201879" y="140353"/>
                    </a:lnTo>
                    <a:cubicBezTo>
                      <a:pt x="235770" y="140353"/>
                      <a:pt x="263499" y="112600"/>
                      <a:pt x="263499" y="78732"/>
                    </a:cubicBezTo>
                    <a:lnTo>
                      <a:pt x="263499" y="65460"/>
                    </a:lnTo>
                    <a:cubicBezTo>
                      <a:pt x="263499" y="55221"/>
                      <a:pt x="258357" y="0"/>
                      <a:pt x="376455" y="0"/>
                    </a:cubicBezTo>
                  </a:path>
                </a:pathLst>
              </a:custGeom>
              <a:noFill/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645" name="Forma livre: Forma 644">
                <a:extLst>
                  <a:ext uri="{FF2B5EF4-FFF2-40B4-BE49-F238E27FC236}">
                    <a16:creationId xmlns:a16="http://schemas.microsoft.com/office/drawing/2014/main" id="{29BC8AAA-22A1-522C-ECEF-AAA478B325CF}"/>
                  </a:ext>
                </a:extLst>
              </p:cNvPr>
              <p:cNvSpPr/>
              <p:nvPr/>
            </p:nvSpPr>
            <p:spPr>
              <a:xfrm>
                <a:off x="10838172" y="4354453"/>
                <a:ext cx="335714" cy="2370"/>
              </a:xfrm>
              <a:custGeom>
                <a:avLst/>
                <a:gdLst>
                  <a:gd name="connsiteX0" fmla="*/ 0 w 335714"/>
                  <a:gd name="connsiteY0" fmla="*/ 0 h 2370"/>
                  <a:gd name="connsiteX1" fmla="*/ 335714 w 335714"/>
                  <a:gd name="connsiteY1" fmla="*/ 0 h 23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35714" h="2370">
                    <a:moveTo>
                      <a:pt x="0" y="0"/>
                    </a:moveTo>
                    <a:lnTo>
                      <a:pt x="335714" y="0"/>
                    </a:lnTo>
                  </a:path>
                </a:pathLst>
              </a:custGeom>
              <a:ln w="63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grpSp>
            <p:nvGrpSpPr>
              <p:cNvPr id="646" name="Gráfico 8">
                <a:extLst>
                  <a:ext uri="{FF2B5EF4-FFF2-40B4-BE49-F238E27FC236}">
                    <a16:creationId xmlns:a16="http://schemas.microsoft.com/office/drawing/2014/main" id="{3B3F09BA-0B72-7C1D-F5D6-6C1DA35AE9C4}"/>
                  </a:ext>
                </a:extLst>
              </p:cNvPr>
              <p:cNvGrpSpPr/>
              <p:nvPr/>
            </p:nvGrpSpPr>
            <p:grpSpPr>
              <a:xfrm>
                <a:off x="10622832" y="4175041"/>
                <a:ext cx="724398" cy="271605"/>
                <a:chOff x="10622832" y="4175041"/>
                <a:chExt cx="724398" cy="271605"/>
              </a:xfrm>
              <a:noFill/>
            </p:grpSpPr>
            <p:grpSp>
              <p:nvGrpSpPr>
                <p:cNvPr id="647" name="Gráfico 8">
                  <a:extLst>
                    <a:ext uri="{FF2B5EF4-FFF2-40B4-BE49-F238E27FC236}">
                      <a16:creationId xmlns:a16="http://schemas.microsoft.com/office/drawing/2014/main" id="{2D9C8E0F-4DF4-D106-D669-1241EBC553DC}"/>
                    </a:ext>
                  </a:extLst>
                </p:cNvPr>
                <p:cNvGrpSpPr/>
                <p:nvPr/>
              </p:nvGrpSpPr>
              <p:grpSpPr>
                <a:xfrm>
                  <a:off x="10622832" y="4175041"/>
                  <a:ext cx="278122" cy="271605"/>
                  <a:chOff x="10622832" y="4175041"/>
                  <a:chExt cx="278122" cy="271605"/>
                </a:xfrm>
                <a:noFill/>
              </p:grpSpPr>
              <p:sp>
                <p:nvSpPr>
                  <p:cNvPr id="648" name="Forma livre: Forma 647">
                    <a:extLst>
                      <a:ext uri="{FF2B5EF4-FFF2-40B4-BE49-F238E27FC236}">
                        <a16:creationId xmlns:a16="http://schemas.microsoft.com/office/drawing/2014/main" id="{10E09825-8A6E-C90D-1824-C2365791E58D}"/>
                      </a:ext>
                    </a:extLst>
                  </p:cNvPr>
                  <p:cNvSpPr/>
                  <p:nvPr/>
                </p:nvSpPr>
                <p:spPr>
                  <a:xfrm>
                    <a:off x="10729791" y="4315726"/>
                    <a:ext cx="64203" cy="130920"/>
                  </a:xfrm>
                  <a:custGeom>
                    <a:avLst/>
                    <a:gdLst>
                      <a:gd name="connsiteX0" fmla="*/ 64204 w 64203"/>
                      <a:gd name="connsiteY0" fmla="*/ 94967 h 130920"/>
                      <a:gd name="connsiteX1" fmla="*/ 32090 w 64203"/>
                      <a:gd name="connsiteY1" fmla="*/ 130920 h 130920"/>
                      <a:gd name="connsiteX2" fmla="*/ 0 w 64203"/>
                      <a:gd name="connsiteY2" fmla="*/ 94967 h 130920"/>
                      <a:gd name="connsiteX3" fmla="*/ 0 w 64203"/>
                      <a:gd name="connsiteY3" fmla="*/ 0 h 130920"/>
                      <a:gd name="connsiteX4" fmla="*/ 64204 w 64203"/>
                      <a:gd name="connsiteY4" fmla="*/ 0 h 130920"/>
                      <a:gd name="connsiteX5" fmla="*/ 64204 w 64203"/>
                      <a:gd name="connsiteY5" fmla="*/ 94967 h 13092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64203" h="130920">
                        <a:moveTo>
                          <a:pt x="64204" y="94967"/>
                        </a:moveTo>
                        <a:cubicBezTo>
                          <a:pt x="64204" y="114757"/>
                          <a:pt x="49747" y="130920"/>
                          <a:pt x="32090" y="130920"/>
                        </a:cubicBezTo>
                        <a:cubicBezTo>
                          <a:pt x="14433" y="130920"/>
                          <a:pt x="0" y="114757"/>
                          <a:pt x="0" y="94967"/>
                        </a:cubicBezTo>
                        <a:lnTo>
                          <a:pt x="0" y="0"/>
                        </a:lnTo>
                        <a:lnTo>
                          <a:pt x="64204" y="0"/>
                        </a:lnTo>
                        <a:lnTo>
                          <a:pt x="64204" y="94967"/>
                        </a:lnTo>
                        <a:close/>
                      </a:path>
                    </a:pathLst>
                  </a:custGeom>
                  <a:noFill/>
                  <a:ln w="6350" cap="rnd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649" name="Forma livre: Forma 648">
                    <a:extLst>
                      <a:ext uri="{FF2B5EF4-FFF2-40B4-BE49-F238E27FC236}">
                        <a16:creationId xmlns:a16="http://schemas.microsoft.com/office/drawing/2014/main" id="{529E6CA9-29AE-6FC7-1D9D-BA4A0C7F966B}"/>
                      </a:ext>
                    </a:extLst>
                  </p:cNvPr>
                  <p:cNvSpPr/>
                  <p:nvPr/>
                </p:nvSpPr>
                <p:spPr>
                  <a:xfrm>
                    <a:off x="10761905" y="4175041"/>
                    <a:ext cx="2370" cy="27302"/>
                  </a:xfrm>
                  <a:custGeom>
                    <a:avLst/>
                    <a:gdLst>
                      <a:gd name="connsiteX0" fmla="*/ 0 w 2370"/>
                      <a:gd name="connsiteY0" fmla="*/ 27303 h 27302"/>
                      <a:gd name="connsiteX1" fmla="*/ 0 w 2370"/>
                      <a:gd name="connsiteY1" fmla="*/ 0 h 2730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2370" h="27302">
                        <a:moveTo>
                          <a:pt x="0" y="27303"/>
                        </a:moveTo>
                        <a:lnTo>
                          <a:pt x="0" y="0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650" name="Forma livre: Forma 649">
                    <a:extLst>
                      <a:ext uri="{FF2B5EF4-FFF2-40B4-BE49-F238E27FC236}">
                        <a16:creationId xmlns:a16="http://schemas.microsoft.com/office/drawing/2014/main" id="{9A94CFE8-90D3-0770-BE36-CFF1B5A21170}"/>
                      </a:ext>
                    </a:extLst>
                  </p:cNvPr>
                  <p:cNvSpPr/>
                  <p:nvPr/>
                </p:nvSpPr>
                <p:spPr>
                  <a:xfrm>
                    <a:off x="10761905" y="4256025"/>
                    <a:ext cx="2370" cy="59250"/>
                  </a:xfrm>
                  <a:custGeom>
                    <a:avLst/>
                    <a:gdLst>
                      <a:gd name="connsiteX0" fmla="*/ 0 w 2370"/>
                      <a:gd name="connsiteY0" fmla="*/ 59251 h 59250"/>
                      <a:gd name="connsiteX1" fmla="*/ 0 w 2370"/>
                      <a:gd name="connsiteY1" fmla="*/ 0 h 5925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2370" h="59250">
                        <a:moveTo>
                          <a:pt x="0" y="59251"/>
                        </a:moveTo>
                        <a:lnTo>
                          <a:pt x="0" y="0"/>
                        </a:lnTo>
                      </a:path>
                    </a:pathLst>
                  </a:custGeom>
                  <a:ln w="6350" cap="flat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651" name="Forma livre: Forma 650">
                    <a:extLst>
                      <a:ext uri="{FF2B5EF4-FFF2-40B4-BE49-F238E27FC236}">
                        <a16:creationId xmlns:a16="http://schemas.microsoft.com/office/drawing/2014/main" id="{0930AAFA-740E-C758-6DB7-B8A376F001CA}"/>
                      </a:ext>
                    </a:extLst>
                  </p:cNvPr>
                  <p:cNvSpPr/>
                  <p:nvPr/>
                </p:nvSpPr>
                <p:spPr>
                  <a:xfrm>
                    <a:off x="10622832" y="4253371"/>
                    <a:ext cx="278122" cy="2370"/>
                  </a:xfrm>
                  <a:custGeom>
                    <a:avLst/>
                    <a:gdLst>
                      <a:gd name="connsiteX0" fmla="*/ 0 w 278122"/>
                      <a:gd name="connsiteY0" fmla="*/ 0 h 2370"/>
                      <a:gd name="connsiteX1" fmla="*/ 278123 w 278122"/>
                      <a:gd name="connsiteY1" fmla="*/ 0 h 237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278122" h="2370">
                        <a:moveTo>
                          <a:pt x="0" y="0"/>
                        </a:moveTo>
                        <a:lnTo>
                          <a:pt x="278123" y="0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  <p:grpSp>
              <p:nvGrpSpPr>
                <p:cNvPr id="652" name="Gráfico 8">
                  <a:extLst>
                    <a:ext uri="{FF2B5EF4-FFF2-40B4-BE49-F238E27FC236}">
                      <a16:creationId xmlns:a16="http://schemas.microsoft.com/office/drawing/2014/main" id="{23B7A678-44C6-165A-BCDF-3D2E30FEC8A5}"/>
                    </a:ext>
                  </a:extLst>
                </p:cNvPr>
                <p:cNvGrpSpPr/>
                <p:nvPr/>
              </p:nvGrpSpPr>
              <p:grpSpPr>
                <a:xfrm>
                  <a:off x="11069108" y="4175041"/>
                  <a:ext cx="278122" cy="271605"/>
                  <a:chOff x="11069108" y="4175041"/>
                  <a:chExt cx="278122" cy="271605"/>
                </a:xfrm>
                <a:noFill/>
              </p:grpSpPr>
              <p:sp>
                <p:nvSpPr>
                  <p:cNvPr id="653" name="Forma livre: Forma 652">
                    <a:extLst>
                      <a:ext uri="{FF2B5EF4-FFF2-40B4-BE49-F238E27FC236}">
                        <a16:creationId xmlns:a16="http://schemas.microsoft.com/office/drawing/2014/main" id="{D77C1E27-3875-F5DA-BAC4-E8FF763DE87A}"/>
                      </a:ext>
                    </a:extLst>
                  </p:cNvPr>
                  <p:cNvSpPr/>
                  <p:nvPr/>
                </p:nvSpPr>
                <p:spPr>
                  <a:xfrm>
                    <a:off x="11176067" y="4315726"/>
                    <a:ext cx="64180" cy="130920"/>
                  </a:xfrm>
                  <a:custGeom>
                    <a:avLst/>
                    <a:gdLst>
                      <a:gd name="connsiteX0" fmla="*/ 64180 w 64180"/>
                      <a:gd name="connsiteY0" fmla="*/ 94967 h 130920"/>
                      <a:gd name="connsiteX1" fmla="*/ 32090 w 64180"/>
                      <a:gd name="connsiteY1" fmla="*/ 130920 h 130920"/>
                      <a:gd name="connsiteX2" fmla="*/ 0 w 64180"/>
                      <a:gd name="connsiteY2" fmla="*/ 94967 h 130920"/>
                      <a:gd name="connsiteX3" fmla="*/ 0 w 64180"/>
                      <a:gd name="connsiteY3" fmla="*/ 0 h 130920"/>
                      <a:gd name="connsiteX4" fmla="*/ 64180 w 64180"/>
                      <a:gd name="connsiteY4" fmla="*/ 0 h 130920"/>
                      <a:gd name="connsiteX5" fmla="*/ 64180 w 64180"/>
                      <a:gd name="connsiteY5" fmla="*/ 94967 h 13092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64180" h="130920">
                        <a:moveTo>
                          <a:pt x="64180" y="94967"/>
                        </a:moveTo>
                        <a:cubicBezTo>
                          <a:pt x="64180" y="114757"/>
                          <a:pt x="49747" y="130920"/>
                          <a:pt x="32090" y="130920"/>
                        </a:cubicBezTo>
                        <a:cubicBezTo>
                          <a:pt x="14433" y="130920"/>
                          <a:pt x="0" y="114757"/>
                          <a:pt x="0" y="94967"/>
                        </a:cubicBezTo>
                        <a:lnTo>
                          <a:pt x="0" y="0"/>
                        </a:lnTo>
                        <a:lnTo>
                          <a:pt x="64180" y="0"/>
                        </a:lnTo>
                        <a:lnTo>
                          <a:pt x="64180" y="94967"/>
                        </a:lnTo>
                        <a:close/>
                      </a:path>
                    </a:pathLst>
                  </a:custGeom>
                  <a:noFill/>
                  <a:ln w="6350" cap="rnd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654" name="Forma livre: Forma 653">
                    <a:extLst>
                      <a:ext uri="{FF2B5EF4-FFF2-40B4-BE49-F238E27FC236}">
                        <a16:creationId xmlns:a16="http://schemas.microsoft.com/office/drawing/2014/main" id="{9063638F-CEEE-1B7E-79A9-6346C3CB08F9}"/>
                      </a:ext>
                    </a:extLst>
                  </p:cNvPr>
                  <p:cNvSpPr/>
                  <p:nvPr/>
                </p:nvSpPr>
                <p:spPr>
                  <a:xfrm>
                    <a:off x="11208181" y="4175041"/>
                    <a:ext cx="2370" cy="27302"/>
                  </a:xfrm>
                  <a:custGeom>
                    <a:avLst/>
                    <a:gdLst>
                      <a:gd name="connsiteX0" fmla="*/ 0 w 2370"/>
                      <a:gd name="connsiteY0" fmla="*/ 27303 h 27302"/>
                      <a:gd name="connsiteX1" fmla="*/ 0 w 2370"/>
                      <a:gd name="connsiteY1" fmla="*/ 0 h 2730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2370" h="27302">
                        <a:moveTo>
                          <a:pt x="0" y="27303"/>
                        </a:moveTo>
                        <a:lnTo>
                          <a:pt x="0" y="0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655" name="Forma livre: Forma 654">
                    <a:extLst>
                      <a:ext uri="{FF2B5EF4-FFF2-40B4-BE49-F238E27FC236}">
                        <a16:creationId xmlns:a16="http://schemas.microsoft.com/office/drawing/2014/main" id="{1DEC24F9-ECC3-D3F7-3C04-98062764B452}"/>
                      </a:ext>
                    </a:extLst>
                  </p:cNvPr>
                  <p:cNvSpPr/>
                  <p:nvPr/>
                </p:nvSpPr>
                <p:spPr>
                  <a:xfrm>
                    <a:off x="11208181" y="4256025"/>
                    <a:ext cx="2370" cy="59250"/>
                  </a:xfrm>
                  <a:custGeom>
                    <a:avLst/>
                    <a:gdLst>
                      <a:gd name="connsiteX0" fmla="*/ 0 w 2370"/>
                      <a:gd name="connsiteY0" fmla="*/ 59251 h 59250"/>
                      <a:gd name="connsiteX1" fmla="*/ 0 w 2370"/>
                      <a:gd name="connsiteY1" fmla="*/ 0 h 5925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2370" h="59250">
                        <a:moveTo>
                          <a:pt x="0" y="59251"/>
                        </a:moveTo>
                        <a:lnTo>
                          <a:pt x="0" y="0"/>
                        </a:lnTo>
                      </a:path>
                    </a:pathLst>
                  </a:custGeom>
                  <a:ln w="6350" cap="flat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  <p:sp>
                <p:nvSpPr>
                  <p:cNvPr id="656" name="Forma livre: Forma 655">
                    <a:extLst>
                      <a:ext uri="{FF2B5EF4-FFF2-40B4-BE49-F238E27FC236}">
                        <a16:creationId xmlns:a16="http://schemas.microsoft.com/office/drawing/2014/main" id="{22A9F8AF-84C3-3107-0727-9D69B491E621}"/>
                      </a:ext>
                    </a:extLst>
                  </p:cNvPr>
                  <p:cNvSpPr/>
                  <p:nvPr/>
                </p:nvSpPr>
                <p:spPr>
                  <a:xfrm>
                    <a:off x="11069108" y="4253371"/>
                    <a:ext cx="278122" cy="2370"/>
                  </a:xfrm>
                  <a:custGeom>
                    <a:avLst/>
                    <a:gdLst>
                      <a:gd name="connsiteX0" fmla="*/ 0 w 278122"/>
                      <a:gd name="connsiteY0" fmla="*/ 0 h 2370"/>
                      <a:gd name="connsiteX1" fmla="*/ 278123 w 278122"/>
                      <a:gd name="connsiteY1" fmla="*/ 0 h 237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278122" h="2370">
                        <a:moveTo>
                          <a:pt x="0" y="0"/>
                        </a:moveTo>
                        <a:lnTo>
                          <a:pt x="278123" y="0"/>
                        </a:lnTo>
                      </a:path>
                    </a:pathLst>
                  </a:custGeom>
                  <a:ln w="6350" cap="rnd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pt-PT"/>
                  </a:p>
                </p:txBody>
              </p:sp>
            </p:grpSp>
          </p:grpSp>
          <p:grpSp>
            <p:nvGrpSpPr>
              <p:cNvPr id="657" name="Gráfico 8">
                <a:extLst>
                  <a:ext uri="{FF2B5EF4-FFF2-40B4-BE49-F238E27FC236}">
                    <a16:creationId xmlns:a16="http://schemas.microsoft.com/office/drawing/2014/main" id="{8EDD419A-BEB6-1FA7-5156-3742D91C0242}"/>
                  </a:ext>
                </a:extLst>
              </p:cNvPr>
              <p:cNvGrpSpPr/>
              <p:nvPr/>
            </p:nvGrpSpPr>
            <p:grpSpPr>
              <a:xfrm>
                <a:off x="10782903" y="4469162"/>
                <a:ext cx="404255" cy="186805"/>
                <a:chOff x="10782903" y="4469162"/>
                <a:chExt cx="404255" cy="186805"/>
              </a:xfrm>
              <a:noFill/>
            </p:grpSpPr>
            <p:sp>
              <p:nvSpPr>
                <p:cNvPr id="658" name="Forma livre: Forma 657">
                  <a:extLst>
                    <a:ext uri="{FF2B5EF4-FFF2-40B4-BE49-F238E27FC236}">
                      <a16:creationId xmlns:a16="http://schemas.microsoft.com/office/drawing/2014/main" id="{9C520B42-657B-802A-0509-0E8844805748}"/>
                    </a:ext>
                  </a:extLst>
                </p:cNvPr>
                <p:cNvSpPr/>
                <p:nvPr/>
              </p:nvSpPr>
              <p:spPr>
                <a:xfrm>
                  <a:off x="11063040" y="4469162"/>
                  <a:ext cx="124118" cy="186805"/>
                </a:xfrm>
                <a:custGeom>
                  <a:avLst/>
                  <a:gdLst>
                    <a:gd name="connsiteX0" fmla="*/ 124118 w 124118"/>
                    <a:gd name="connsiteY0" fmla="*/ 186805 h 186805"/>
                    <a:gd name="connsiteX1" fmla="*/ 124118 w 124118"/>
                    <a:gd name="connsiteY1" fmla="*/ 52615 h 186805"/>
                    <a:gd name="connsiteX2" fmla="*/ 0 w 124118"/>
                    <a:gd name="connsiteY2" fmla="*/ 0 h 18680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24118" h="186805">
                      <a:moveTo>
                        <a:pt x="124118" y="186805"/>
                      </a:moveTo>
                      <a:lnTo>
                        <a:pt x="124118" y="52615"/>
                      </a:lnTo>
                      <a:lnTo>
                        <a:pt x="0" y="0"/>
                      </a:ln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  <p:sp>
              <p:nvSpPr>
                <p:cNvPr id="659" name="Forma livre: Forma 658">
                  <a:extLst>
                    <a:ext uri="{FF2B5EF4-FFF2-40B4-BE49-F238E27FC236}">
                      <a16:creationId xmlns:a16="http://schemas.microsoft.com/office/drawing/2014/main" id="{1C8161C3-9602-9417-30C1-2E8256D6ACF4}"/>
                    </a:ext>
                  </a:extLst>
                </p:cNvPr>
                <p:cNvSpPr/>
                <p:nvPr/>
              </p:nvSpPr>
              <p:spPr>
                <a:xfrm>
                  <a:off x="10782903" y="4469162"/>
                  <a:ext cx="124094" cy="186805"/>
                </a:xfrm>
                <a:custGeom>
                  <a:avLst/>
                  <a:gdLst>
                    <a:gd name="connsiteX0" fmla="*/ 0 w 124094"/>
                    <a:gd name="connsiteY0" fmla="*/ 186805 h 186805"/>
                    <a:gd name="connsiteX1" fmla="*/ 0 w 124094"/>
                    <a:gd name="connsiteY1" fmla="*/ 52615 h 186805"/>
                    <a:gd name="connsiteX2" fmla="*/ 124095 w 124094"/>
                    <a:gd name="connsiteY2" fmla="*/ 0 h 18680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24094" h="186805">
                      <a:moveTo>
                        <a:pt x="0" y="186805"/>
                      </a:moveTo>
                      <a:lnTo>
                        <a:pt x="0" y="52615"/>
                      </a:lnTo>
                      <a:lnTo>
                        <a:pt x="124095" y="0"/>
                      </a:lnTo>
                    </a:path>
                  </a:pathLst>
                </a:custGeom>
                <a:noFill/>
                <a:ln w="6350" cap="rnd">
                  <a:solidFill>
                    <a:schemeClr val="accen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pt-PT"/>
                </a:p>
              </p:txBody>
            </p:sp>
          </p:grpSp>
        </p:grpSp>
        <p:sp>
          <p:nvSpPr>
            <p:cNvPr id="660" name="Forma livre: Forma 659">
              <a:extLst>
                <a:ext uri="{FF2B5EF4-FFF2-40B4-BE49-F238E27FC236}">
                  <a16:creationId xmlns:a16="http://schemas.microsoft.com/office/drawing/2014/main" id="{BD9C7C8B-9CBC-59CA-0970-42D3A87683C4}"/>
                </a:ext>
              </a:extLst>
            </p:cNvPr>
            <p:cNvSpPr/>
            <p:nvPr/>
          </p:nvSpPr>
          <p:spPr>
            <a:xfrm>
              <a:off x="10886023" y="4589322"/>
              <a:ext cx="197992" cy="153957"/>
            </a:xfrm>
            <a:custGeom>
              <a:avLst/>
              <a:gdLst>
                <a:gd name="connsiteX0" fmla="*/ 179032 w 197992"/>
                <a:gd name="connsiteY0" fmla="*/ 0 h 153957"/>
                <a:gd name="connsiteX1" fmla="*/ 197992 w 197992"/>
                <a:gd name="connsiteY1" fmla="*/ 18960 h 153957"/>
                <a:gd name="connsiteX2" fmla="*/ 197992 w 197992"/>
                <a:gd name="connsiteY2" fmla="*/ 134997 h 153957"/>
                <a:gd name="connsiteX3" fmla="*/ 179032 w 197992"/>
                <a:gd name="connsiteY3" fmla="*/ 153957 h 153957"/>
                <a:gd name="connsiteX4" fmla="*/ 18960 w 197992"/>
                <a:gd name="connsiteY4" fmla="*/ 153957 h 153957"/>
                <a:gd name="connsiteX5" fmla="*/ 0 w 197992"/>
                <a:gd name="connsiteY5" fmla="*/ 134997 h 153957"/>
                <a:gd name="connsiteX6" fmla="*/ 0 w 197992"/>
                <a:gd name="connsiteY6" fmla="*/ 18960 h 153957"/>
                <a:gd name="connsiteX7" fmla="*/ 18960 w 197992"/>
                <a:gd name="connsiteY7" fmla="*/ 0 h 1539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97992" h="153957">
                  <a:moveTo>
                    <a:pt x="179032" y="0"/>
                  </a:moveTo>
                  <a:cubicBezTo>
                    <a:pt x="189503" y="0"/>
                    <a:pt x="197992" y="8489"/>
                    <a:pt x="197992" y="18960"/>
                  </a:cubicBezTo>
                  <a:lnTo>
                    <a:pt x="197992" y="134997"/>
                  </a:lnTo>
                  <a:cubicBezTo>
                    <a:pt x="197992" y="145468"/>
                    <a:pt x="189503" y="153957"/>
                    <a:pt x="179032" y="153957"/>
                  </a:cubicBezTo>
                  <a:lnTo>
                    <a:pt x="18960" y="153957"/>
                  </a:lnTo>
                  <a:cubicBezTo>
                    <a:pt x="8488" y="153957"/>
                    <a:pt x="0" y="145468"/>
                    <a:pt x="0" y="134997"/>
                  </a:cubicBezTo>
                  <a:lnTo>
                    <a:pt x="0" y="18960"/>
                  </a:lnTo>
                  <a:cubicBezTo>
                    <a:pt x="0" y="8489"/>
                    <a:pt x="8488" y="0"/>
                    <a:pt x="18960" y="0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61" name="Forma livre: Forma 660">
              <a:extLst>
                <a:ext uri="{FF2B5EF4-FFF2-40B4-BE49-F238E27FC236}">
                  <a16:creationId xmlns:a16="http://schemas.microsoft.com/office/drawing/2014/main" id="{6EB1748F-E58F-048E-F6ED-A6E55CEA1DB4}"/>
                </a:ext>
              </a:extLst>
            </p:cNvPr>
            <p:cNvSpPr/>
            <p:nvPr/>
          </p:nvSpPr>
          <p:spPr>
            <a:xfrm rot="-4603200">
              <a:off x="10949271" y="4630442"/>
              <a:ext cx="71337" cy="71337"/>
            </a:xfrm>
            <a:custGeom>
              <a:avLst/>
              <a:gdLst>
                <a:gd name="connsiteX0" fmla="*/ 71338 w 71337"/>
                <a:gd name="connsiteY0" fmla="*/ 35669 h 71337"/>
                <a:gd name="connsiteX1" fmla="*/ 35669 w 71337"/>
                <a:gd name="connsiteY1" fmla="*/ 71338 h 71337"/>
                <a:gd name="connsiteX2" fmla="*/ 0 w 71337"/>
                <a:gd name="connsiteY2" fmla="*/ 35669 h 71337"/>
                <a:gd name="connsiteX3" fmla="*/ 35669 w 71337"/>
                <a:gd name="connsiteY3" fmla="*/ 0 h 71337"/>
                <a:gd name="connsiteX4" fmla="*/ 71338 w 71337"/>
                <a:gd name="connsiteY4" fmla="*/ 35669 h 713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337" h="71337">
                  <a:moveTo>
                    <a:pt x="71338" y="35669"/>
                  </a:moveTo>
                  <a:cubicBezTo>
                    <a:pt x="71338" y="55368"/>
                    <a:pt x="55368" y="71338"/>
                    <a:pt x="35669" y="71338"/>
                  </a:cubicBezTo>
                  <a:cubicBezTo>
                    <a:pt x="15969" y="71338"/>
                    <a:pt x="0" y="55368"/>
                    <a:pt x="0" y="35669"/>
                  </a:cubicBezTo>
                  <a:cubicBezTo>
                    <a:pt x="0" y="15970"/>
                    <a:pt x="15969" y="0"/>
                    <a:pt x="35669" y="0"/>
                  </a:cubicBezTo>
                  <a:cubicBezTo>
                    <a:pt x="55368" y="0"/>
                    <a:pt x="71338" y="15970"/>
                    <a:pt x="71338" y="35669"/>
                  </a:cubicBezTo>
                  <a:close/>
                </a:path>
              </a:pathLst>
            </a:custGeom>
            <a:noFill/>
            <a:ln w="63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662" name="Forma livre: Forma 661">
              <a:extLst>
                <a:ext uri="{FF2B5EF4-FFF2-40B4-BE49-F238E27FC236}">
                  <a16:creationId xmlns:a16="http://schemas.microsoft.com/office/drawing/2014/main" id="{FBCC61BE-87C5-24C1-97FD-C3DF76F5B1FF}"/>
                </a:ext>
              </a:extLst>
            </p:cNvPr>
            <p:cNvSpPr/>
            <p:nvPr/>
          </p:nvSpPr>
          <p:spPr>
            <a:xfrm>
              <a:off x="10985019" y="4551615"/>
              <a:ext cx="2370" cy="34910"/>
            </a:xfrm>
            <a:custGeom>
              <a:avLst/>
              <a:gdLst>
                <a:gd name="connsiteX0" fmla="*/ 0 w 2370"/>
                <a:gd name="connsiteY0" fmla="*/ 34911 h 34910"/>
                <a:gd name="connsiteX1" fmla="*/ 0 w 2370"/>
                <a:gd name="connsiteY1" fmla="*/ 0 h 349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370" h="34910">
                  <a:moveTo>
                    <a:pt x="0" y="34911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PT"/>
            </a:p>
          </p:txBody>
        </p:sp>
      </p:grpSp>
    </p:spTree>
    <p:extLst>
      <p:ext uri="{BB962C8B-B14F-4D97-AF65-F5344CB8AC3E}">
        <p14:creationId xmlns:p14="http://schemas.microsoft.com/office/powerpoint/2010/main" val="26108507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>
          <a:extLst>
            <a:ext uri="{FF2B5EF4-FFF2-40B4-BE49-F238E27FC236}">
              <a16:creationId xmlns:a16="http://schemas.microsoft.com/office/drawing/2014/main" id="{545D767B-D973-4A55-5BEF-08184183466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áfico 2">
            <a:extLst>
              <a:ext uri="{FF2B5EF4-FFF2-40B4-BE49-F238E27FC236}">
                <a16:creationId xmlns:a16="http://schemas.microsoft.com/office/drawing/2014/main" id="{1F483841-0731-B26B-5D4A-9770924B69C4}"/>
              </a:ext>
            </a:extLst>
          </p:cNvPr>
          <p:cNvGrpSpPr/>
          <p:nvPr/>
        </p:nvGrpSpPr>
        <p:grpSpPr>
          <a:xfrm>
            <a:off x="2695688" y="3065435"/>
            <a:ext cx="6800624" cy="725049"/>
            <a:chOff x="-6096" y="2776728"/>
            <a:chExt cx="12200941" cy="1300805"/>
          </a:xfrm>
        </p:grpSpPr>
        <p:sp>
          <p:nvSpPr>
            <p:cNvPr id="3" name="Forma libre: forma 2">
              <a:extLst>
                <a:ext uri="{FF2B5EF4-FFF2-40B4-BE49-F238E27FC236}">
                  <a16:creationId xmlns:a16="http://schemas.microsoft.com/office/drawing/2014/main" id="{C605E215-EEFE-6535-C228-0863E30F1C63}"/>
                </a:ext>
              </a:extLst>
            </p:cNvPr>
            <p:cNvSpPr/>
            <p:nvPr/>
          </p:nvSpPr>
          <p:spPr>
            <a:xfrm>
              <a:off x="3791306" y="2777053"/>
              <a:ext cx="1300480" cy="1300480"/>
            </a:xfrm>
            <a:custGeom>
              <a:avLst/>
              <a:gdLst>
                <a:gd name="connsiteX0" fmla="*/ 6096 w 1300480"/>
                <a:gd name="connsiteY0" fmla="*/ 653979 h 1300480"/>
                <a:gd name="connsiteX1" fmla="*/ 653979 w 1300480"/>
                <a:gd name="connsiteY1" fmla="*/ 6096 h 1300480"/>
                <a:gd name="connsiteX2" fmla="*/ 1301862 w 1300480"/>
                <a:gd name="connsiteY2" fmla="*/ 653979 h 1300480"/>
                <a:gd name="connsiteX3" fmla="*/ 653979 w 1300480"/>
                <a:gd name="connsiteY3" fmla="*/ 1301862 h 1300480"/>
                <a:gd name="connsiteX4" fmla="*/ 653898 w 1300480"/>
                <a:gd name="connsiteY4" fmla="*/ 1301862 h 1300480"/>
                <a:gd name="connsiteX5" fmla="*/ 6096 w 1300480"/>
                <a:gd name="connsiteY5" fmla="*/ 654060 h 1300480"/>
                <a:gd name="connsiteX6" fmla="*/ 6096 w 1300480"/>
                <a:gd name="connsiteY6" fmla="*/ 654060 h 1300480"/>
                <a:gd name="connsiteX7" fmla="*/ 653898 w 1300480"/>
                <a:gd name="connsiteY7" fmla="*/ 1091184 h 1300480"/>
                <a:gd name="connsiteX8" fmla="*/ 1091265 w 1300480"/>
                <a:gd name="connsiteY8" fmla="*/ 653979 h 1300480"/>
                <a:gd name="connsiteX9" fmla="*/ 654060 w 1300480"/>
                <a:gd name="connsiteY9" fmla="*/ 216611 h 1300480"/>
                <a:gd name="connsiteX10" fmla="*/ 216692 w 1300480"/>
                <a:gd name="connsiteY10" fmla="*/ 653816 h 1300480"/>
                <a:gd name="connsiteX11" fmla="*/ 216692 w 1300480"/>
                <a:gd name="connsiteY11" fmla="*/ 653979 h 1300480"/>
                <a:gd name="connsiteX12" fmla="*/ 653898 w 1300480"/>
                <a:gd name="connsiteY12" fmla="*/ 1091184 h 13004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300480" h="1300480">
                  <a:moveTo>
                    <a:pt x="6096" y="653979"/>
                  </a:moveTo>
                  <a:cubicBezTo>
                    <a:pt x="6096" y="296184"/>
                    <a:pt x="296184" y="6096"/>
                    <a:pt x="653979" y="6096"/>
                  </a:cubicBezTo>
                  <a:cubicBezTo>
                    <a:pt x="1011773" y="6096"/>
                    <a:pt x="1301862" y="296184"/>
                    <a:pt x="1301862" y="653979"/>
                  </a:cubicBezTo>
                  <a:cubicBezTo>
                    <a:pt x="1301862" y="1011773"/>
                    <a:pt x="1011773" y="1301862"/>
                    <a:pt x="653979" y="1301862"/>
                  </a:cubicBezTo>
                  <a:lnTo>
                    <a:pt x="653898" y="1301862"/>
                  </a:lnTo>
                  <a:cubicBezTo>
                    <a:pt x="296103" y="1301862"/>
                    <a:pt x="6096" y="1011855"/>
                    <a:pt x="6096" y="654060"/>
                  </a:cubicBezTo>
                  <a:lnTo>
                    <a:pt x="6096" y="654060"/>
                  </a:lnTo>
                  <a:moveTo>
                    <a:pt x="653898" y="1091184"/>
                  </a:moveTo>
                  <a:cubicBezTo>
                    <a:pt x="895380" y="1091184"/>
                    <a:pt x="1091184" y="895462"/>
                    <a:pt x="1091265" y="653979"/>
                  </a:cubicBezTo>
                  <a:cubicBezTo>
                    <a:pt x="1091265" y="412496"/>
                    <a:pt x="895543" y="216692"/>
                    <a:pt x="654060" y="216611"/>
                  </a:cubicBezTo>
                  <a:cubicBezTo>
                    <a:pt x="412577" y="216611"/>
                    <a:pt x="216774" y="412333"/>
                    <a:pt x="216692" y="653816"/>
                  </a:cubicBezTo>
                  <a:lnTo>
                    <a:pt x="216692" y="653979"/>
                  </a:lnTo>
                  <a:cubicBezTo>
                    <a:pt x="216692" y="895462"/>
                    <a:pt x="412415" y="1091184"/>
                    <a:pt x="653898" y="1091184"/>
                  </a:cubicBezTo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4" name="Forma libre: forma 3">
              <a:extLst>
                <a:ext uri="{FF2B5EF4-FFF2-40B4-BE49-F238E27FC236}">
                  <a16:creationId xmlns:a16="http://schemas.microsoft.com/office/drawing/2014/main" id="{072DD36C-9158-6980-CC72-254A855C2D13}"/>
                </a:ext>
              </a:extLst>
            </p:cNvPr>
            <p:cNvSpPr/>
            <p:nvPr/>
          </p:nvSpPr>
          <p:spPr>
            <a:xfrm>
              <a:off x="1151981" y="2793797"/>
              <a:ext cx="219456" cy="1267968"/>
            </a:xfrm>
            <a:custGeom>
              <a:avLst/>
              <a:gdLst>
                <a:gd name="connsiteX0" fmla="*/ 216367 w 219456"/>
                <a:gd name="connsiteY0" fmla="*/ 6096 h 1267968"/>
                <a:gd name="connsiteX1" fmla="*/ 216367 w 219456"/>
                <a:gd name="connsiteY1" fmla="*/ 6096 h 1267968"/>
                <a:gd name="connsiteX2" fmla="*/ 216367 w 219456"/>
                <a:gd name="connsiteY2" fmla="*/ 1268212 h 1267968"/>
                <a:gd name="connsiteX3" fmla="*/ 6096 w 219456"/>
                <a:gd name="connsiteY3" fmla="*/ 1268212 h 1267968"/>
                <a:gd name="connsiteX4" fmla="*/ 6096 w 219456"/>
                <a:gd name="connsiteY4" fmla="*/ 216449 h 1267968"/>
                <a:gd name="connsiteX5" fmla="*/ 216367 w 219456"/>
                <a:gd name="connsiteY5" fmla="*/ 6096 h 126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19456" h="1267968">
                  <a:moveTo>
                    <a:pt x="216367" y="6096"/>
                  </a:moveTo>
                  <a:lnTo>
                    <a:pt x="216367" y="6096"/>
                  </a:lnTo>
                  <a:lnTo>
                    <a:pt x="216367" y="1268212"/>
                  </a:lnTo>
                  <a:lnTo>
                    <a:pt x="6096" y="1268212"/>
                  </a:lnTo>
                  <a:lnTo>
                    <a:pt x="6096" y="216449"/>
                  </a:lnTo>
                  <a:cubicBezTo>
                    <a:pt x="6096" y="100300"/>
                    <a:pt x="100218" y="6177"/>
                    <a:pt x="216367" y="6096"/>
                  </a:cubicBezTo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5" name="Forma libre: forma 4">
              <a:extLst>
                <a:ext uri="{FF2B5EF4-FFF2-40B4-BE49-F238E27FC236}">
                  <a16:creationId xmlns:a16="http://schemas.microsoft.com/office/drawing/2014/main" id="{EF91651A-6B6C-59C4-9893-38645DD5A365}"/>
                </a:ext>
              </a:extLst>
            </p:cNvPr>
            <p:cNvSpPr/>
            <p:nvPr/>
          </p:nvSpPr>
          <p:spPr>
            <a:xfrm>
              <a:off x="9373128" y="2793797"/>
              <a:ext cx="219456" cy="1267968"/>
            </a:xfrm>
            <a:custGeom>
              <a:avLst/>
              <a:gdLst>
                <a:gd name="connsiteX0" fmla="*/ 216368 w 219456"/>
                <a:gd name="connsiteY0" fmla="*/ 6096 h 1267968"/>
                <a:gd name="connsiteX1" fmla="*/ 216368 w 219456"/>
                <a:gd name="connsiteY1" fmla="*/ 6096 h 1267968"/>
                <a:gd name="connsiteX2" fmla="*/ 216368 w 219456"/>
                <a:gd name="connsiteY2" fmla="*/ 1268212 h 1267968"/>
                <a:gd name="connsiteX3" fmla="*/ 6096 w 219456"/>
                <a:gd name="connsiteY3" fmla="*/ 1268212 h 1267968"/>
                <a:gd name="connsiteX4" fmla="*/ 6096 w 219456"/>
                <a:gd name="connsiteY4" fmla="*/ 216449 h 1267968"/>
                <a:gd name="connsiteX5" fmla="*/ 216287 w 219456"/>
                <a:gd name="connsiteY5" fmla="*/ 6096 h 1267968"/>
                <a:gd name="connsiteX6" fmla="*/ 216368 w 219456"/>
                <a:gd name="connsiteY6" fmla="*/ 6096 h 126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19456" h="1267968">
                  <a:moveTo>
                    <a:pt x="216368" y="6096"/>
                  </a:moveTo>
                  <a:lnTo>
                    <a:pt x="216368" y="6096"/>
                  </a:lnTo>
                  <a:lnTo>
                    <a:pt x="216368" y="1268212"/>
                  </a:lnTo>
                  <a:lnTo>
                    <a:pt x="6096" y="1268212"/>
                  </a:lnTo>
                  <a:lnTo>
                    <a:pt x="6096" y="216449"/>
                  </a:lnTo>
                  <a:cubicBezTo>
                    <a:pt x="6096" y="100300"/>
                    <a:pt x="100138" y="6177"/>
                    <a:pt x="216287" y="6096"/>
                  </a:cubicBezTo>
                  <a:lnTo>
                    <a:pt x="216368" y="6096"/>
                  </a:lnTo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6" name="Forma libre: forma 5">
              <a:extLst>
                <a:ext uri="{FF2B5EF4-FFF2-40B4-BE49-F238E27FC236}">
                  <a16:creationId xmlns:a16="http://schemas.microsoft.com/office/drawing/2014/main" id="{98D97312-E917-21EF-2B0C-AE8EB6958975}"/>
                </a:ext>
              </a:extLst>
            </p:cNvPr>
            <p:cNvSpPr/>
            <p:nvPr/>
          </p:nvSpPr>
          <p:spPr>
            <a:xfrm>
              <a:off x="8111012" y="2793878"/>
              <a:ext cx="1056640" cy="1267968"/>
            </a:xfrm>
            <a:custGeom>
              <a:avLst/>
              <a:gdLst>
                <a:gd name="connsiteX0" fmla="*/ 74046 w 1056640"/>
                <a:gd name="connsiteY0" fmla="*/ 6096 h 1267968"/>
                <a:gd name="connsiteX1" fmla="*/ 6096 w 1056640"/>
                <a:gd name="connsiteY1" fmla="*/ 216367 h 1267968"/>
                <a:gd name="connsiteX2" fmla="*/ 426802 w 1056640"/>
                <a:gd name="connsiteY2" fmla="*/ 216367 h 1267968"/>
                <a:gd name="connsiteX3" fmla="*/ 426802 w 1056640"/>
                <a:gd name="connsiteY3" fmla="*/ 1268131 h 1267968"/>
                <a:gd name="connsiteX4" fmla="*/ 637155 w 1056640"/>
                <a:gd name="connsiteY4" fmla="*/ 1268131 h 1267968"/>
                <a:gd name="connsiteX5" fmla="*/ 637155 w 1056640"/>
                <a:gd name="connsiteY5" fmla="*/ 216367 h 1267968"/>
                <a:gd name="connsiteX6" fmla="*/ 847507 w 1056640"/>
                <a:gd name="connsiteY6" fmla="*/ 216367 h 1267968"/>
                <a:gd name="connsiteX7" fmla="*/ 1057860 w 1056640"/>
                <a:gd name="connsiteY7" fmla="*/ 6096 h 1267968"/>
                <a:gd name="connsiteX8" fmla="*/ 74046 w 1056640"/>
                <a:gd name="connsiteY8" fmla="*/ 6096 h 126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056640" h="1267968">
                  <a:moveTo>
                    <a:pt x="74046" y="6096"/>
                  </a:moveTo>
                  <a:lnTo>
                    <a:pt x="6096" y="216367"/>
                  </a:lnTo>
                  <a:lnTo>
                    <a:pt x="426802" y="216367"/>
                  </a:lnTo>
                  <a:lnTo>
                    <a:pt x="426802" y="1268131"/>
                  </a:lnTo>
                  <a:lnTo>
                    <a:pt x="637155" y="1268131"/>
                  </a:lnTo>
                  <a:lnTo>
                    <a:pt x="637155" y="216367"/>
                  </a:lnTo>
                  <a:lnTo>
                    <a:pt x="847507" y="216367"/>
                  </a:lnTo>
                  <a:cubicBezTo>
                    <a:pt x="963656" y="216367"/>
                    <a:pt x="1057779" y="122245"/>
                    <a:pt x="1057860" y="6096"/>
                  </a:cubicBezTo>
                  <a:lnTo>
                    <a:pt x="74046" y="6096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7" name="Forma libre: forma 6">
              <a:extLst>
                <a:ext uri="{FF2B5EF4-FFF2-40B4-BE49-F238E27FC236}">
                  <a16:creationId xmlns:a16="http://schemas.microsoft.com/office/drawing/2014/main" id="{72BD2A53-F28D-8779-91AD-8DBAE9C60F3F}"/>
                </a:ext>
              </a:extLst>
            </p:cNvPr>
            <p:cNvSpPr/>
            <p:nvPr/>
          </p:nvSpPr>
          <p:spPr>
            <a:xfrm>
              <a:off x="1602108" y="2793797"/>
              <a:ext cx="845312" cy="1267968"/>
            </a:xfrm>
            <a:custGeom>
              <a:avLst/>
              <a:gdLst>
                <a:gd name="connsiteX0" fmla="*/ 216288 w 845312"/>
                <a:gd name="connsiteY0" fmla="*/ 1057859 h 1267968"/>
                <a:gd name="connsiteX1" fmla="*/ 216288 w 845312"/>
                <a:gd name="connsiteY1" fmla="*/ 6096 h 1267968"/>
                <a:gd name="connsiteX2" fmla="*/ 6098 w 845312"/>
                <a:gd name="connsiteY2" fmla="*/ 6096 h 1267968"/>
                <a:gd name="connsiteX3" fmla="*/ 6098 w 845312"/>
                <a:gd name="connsiteY3" fmla="*/ 1057859 h 1267968"/>
                <a:gd name="connsiteX4" fmla="*/ 6098 w 845312"/>
                <a:gd name="connsiteY4" fmla="*/ 1057859 h 1267968"/>
                <a:gd name="connsiteX5" fmla="*/ 14226 w 845312"/>
                <a:gd name="connsiteY5" fmla="*/ 1116706 h 1267968"/>
                <a:gd name="connsiteX6" fmla="*/ 15201 w 845312"/>
                <a:gd name="connsiteY6" fmla="*/ 1120364 h 1267968"/>
                <a:gd name="connsiteX7" fmla="*/ 17071 w 845312"/>
                <a:gd name="connsiteY7" fmla="*/ 1125566 h 1267968"/>
                <a:gd name="connsiteX8" fmla="*/ 22598 w 845312"/>
                <a:gd name="connsiteY8" fmla="*/ 1140358 h 1267968"/>
                <a:gd name="connsiteX9" fmla="*/ 52021 w 845312"/>
                <a:gd name="connsiteY9" fmla="*/ 1189126 h 1267968"/>
                <a:gd name="connsiteX10" fmla="*/ 124685 w 845312"/>
                <a:gd name="connsiteY10" fmla="*/ 1246916 h 1267968"/>
                <a:gd name="connsiteX11" fmla="*/ 216125 w 845312"/>
                <a:gd name="connsiteY11" fmla="*/ 1268049 h 1267968"/>
                <a:gd name="connsiteX12" fmla="*/ 776957 w 845312"/>
                <a:gd name="connsiteY12" fmla="*/ 1268049 h 1267968"/>
                <a:gd name="connsiteX13" fmla="*/ 847021 w 845312"/>
                <a:gd name="connsiteY13" fmla="*/ 1057697 h 1267968"/>
                <a:gd name="connsiteX14" fmla="*/ 216288 w 845312"/>
                <a:gd name="connsiteY14" fmla="*/ 1057859 h 126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845312" h="1267968">
                  <a:moveTo>
                    <a:pt x="216288" y="1057859"/>
                  </a:moveTo>
                  <a:lnTo>
                    <a:pt x="216288" y="6096"/>
                  </a:lnTo>
                  <a:lnTo>
                    <a:pt x="6098" y="6096"/>
                  </a:lnTo>
                  <a:lnTo>
                    <a:pt x="6098" y="1057859"/>
                  </a:lnTo>
                  <a:lnTo>
                    <a:pt x="6098" y="1057859"/>
                  </a:lnTo>
                  <a:cubicBezTo>
                    <a:pt x="6017" y="1077773"/>
                    <a:pt x="8699" y="1097605"/>
                    <a:pt x="14226" y="1116706"/>
                  </a:cubicBezTo>
                  <a:cubicBezTo>
                    <a:pt x="14632" y="1117925"/>
                    <a:pt x="14795" y="1119226"/>
                    <a:pt x="15201" y="1120364"/>
                  </a:cubicBezTo>
                  <a:cubicBezTo>
                    <a:pt x="15608" y="1121502"/>
                    <a:pt x="16502" y="1123859"/>
                    <a:pt x="17071" y="1125566"/>
                  </a:cubicBezTo>
                  <a:cubicBezTo>
                    <a:pt x="18777" y="1130605"/>
                    <a:pt x="20566" y="1135563"/>
                    <a:pt x="22598" y="1140358"/>
                  </a:cubicBezTo>
                  <a:cubicBezTo>
                    <a:pt x="30157" y="1157915"/>
                    <a:pt x="40073" y="1174252"/>
                    <a:pt x="52021" y="1189126"/>
                  </a:cubicBezTo>
                  <a:cubicBezTo>
                    <a:pt x="71691" y="1213510"/>
                    <a:pt x="96481" y="1233262"/>
                    <a:pt x="124685" y="1246916"/>
                  </a:cubicBezTo>
                  <a:cubicBezTo>
                    <a:pt x="153215" y="1260734"/>
                    <a:pt x="184426" y="1267968"/>
                    <a:pt x="216125" y="1268049"/>
                  </a:cubicBezTo>
                  <a:lnTo>
                    <a:pt x="776957" y="1268049"/>
                  </a:lnTo>
                  <a:lnTo>
                    <a:pt x="847021" y="1057697"/>
                  </a:lnTo>
                  <a:lnTo>
                    <a:pt x="216288" y="1057859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8" name="Forma libre: forma 7">
              <a:extLst>
                <a:ext uri="{FF2B5EF4-FFF2-40B4-BE49-F238E27FC236}">
                  <a16:creationId xmlns:a16="http://schemas.microsoft.com/office/drawing/2014/main" id="{6D48125B-87CA-1744-9468-73C96DBEB57D}"/>
                </a:ext>
              </a:extLst>
            </p:cNvPr>
            <p:cNvSpPr/>
            <p:nvPr/>
          </p:nvSpPr>
          <p:spPr>
            <a:xfrm>
              <a:off x="-6096" y="2794284"/>
              <a:ext cx="959104" cy="1267968"/>
            </a:xfrm>
            <a:custGeom>
              <a:avLst/>
              <a:gdLst>
                <a:gd name="connsiteX0" fmla="*/ 818815 w 959104"/>
                <a:gd name="connsiteY0" fmla="*/ 411764 h 1267968"/>
                <a:gd name="connsiteX1" fmla="*/ 818815 w 959104"/>
                <a:gd name="connsiteY1" fmla="*/ 285699 h 1267968"/>
                <a:gd name="connsiteX2" fmla="*/ 539130 w 959104"/>
                <a:gd name="connsiteY2" fmla="*/ 6096 h 1267968"/>
                <a:gd name="connsiteX3" fmla="*/ 6096 w 959104"/>
                <a:gd name="connsiteY3" fmla="*/ 6096 h 1267968"/>
                <a:gd name="connsiteX4" fmla="*/ 6096 w 959104"/>
                <a:gd name="connsiteY4" fmla="*/ 1057047 h 1267968"/>
                <a:gd name="connsiteX5" fmla="*/ 216367 w 959104"/>
                <a:gd name="connsiteY5" fmla="*/ 1267399 h 1267968"/>
                <a:gd name="connsiteX6" fmla="*/ 532140 w 959104"/>
                <a:gd name="connsiteY6" fmla="*/ 1267399 h 1267968"/>
                <a:gd name="connsiteX7" fmla="*/ 953821 w 959104"/>
                <a:gd name="connsiteY7" fmla="*/ 892861 h 1267968"/>
                <a:gd name="connsiteX8" fmla="*/ 603260 w 959104"/>
                <a:gd name="connsiteY8" fmla="*/ 530596 h 1267968"/>
                <a:gd name="connsiteX9" fmla="*/ 218562 w 959104"/>
                <a:gd name="connsiteY9" fmla="*/ 531490 h 1267968"/>
                <a:gd name="connsiteX10" fmla="*/ 424282 w 959104"/>
                <a:gd name="connsiteY10" fmla="*/ 737210 h 1267968"/>
                <a:gd name="connsiteX11" fmla="*/ 424932 w 959104"/>
                <a:gd name="connsiteY11" fmla="*/ 737210 h 1267968"/>
                <a:gd name="connsiteX12" fmla="*/ 585785 w 959104"/>
                <a:gd name="connsiteY12" fmla="*/ 737210 h 1267968"/>
                <a:gd name="connsiteX13" fmla="*/ 758261 w 959104"/>
                <a:gd name="connsiteY13" fmla="*/ 889203 h 1267968"/>
                <a:gd name="connsiteX14" fmla="*/ 606268 w 959104"/>
                <a:gd name="connsiteY14" fmla="*/ 1061679 h 1267968"/>
                <a:gd name="connsiteX15" fmla="*/ 585704 w 959104"/>
                <a:gd name="connsiteY15" fmla="*/ 1061679 h 1267968"/>
                <a:gd name="connsiteX16" fmla="*/ 216530 w 959104"/>
                <a:gd name="connsiteY16" fmla="*/ 1061679 h 1267968"/>
                <a:gd name="connsiteX17" fmla="*/ 216530 w 959104"/>
                <a:gd name="connsiteY17" fmla="*/ 211653 h 1267968"/>
                <a:gd name="connsiteX18" fmla="*/ 467685 w 959104"/>
                <a:gd name="connsiteY18" fmla="*/ 211653 h 1267968"/>
                <a:gd name="connsiteX19" fmla="*/ 612689 w 959104"/>
                <a:gd name="connsiteY19" fmla="*/ 356575 h 1267968"/>
                <a:gd name="connsiteX20" fmla="*/ 612689 w 959104"/>
                <a:gd name="connsiteY20" fmla="*/ 530352 h 1267968"/>
                <a:gd name="connsiteX21" fmla="*/ 818815 w 959104"/>
                <a:gd name="connsiteY21" fmla="*/ 411764 h 126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959104" h="1267968">
                  <a:moveTo>
                    <a:pt x="818815" y="411764"/>
                  </a:moveTo>
                  <a:lnTo>
                    <a:pt x="818815" y="285699"/>
                  </a:lnTo>
                  <a:cubicBezTo>
                    <a:pt x="818815" y="131267"/>
                    <a:pt x="693562" y="6096"/>
                    <a:pt x="539130" y="6096"/>
                  </a:cubicBezTo>
                  <a:lnTo>
                    <a:pt x="6096" y="6096"/>
                  </a:lnTo>
                  <a:lnTo>
                    <a:pt x="6096" y="1057047"/>
                  </a:lnTo>
                  <a:cubicBezTo>
                    <a:pt x="6096" y="1173196"/>
                    <a:pt x="100218" y="1267318"/>
                    <a:pt x="216367" y="1267399"/>
                  </a:cubicBezTo>
                  <a:lnTo>
                    <a:pt x="532140" y="1267399"/>
                  </a:lnTo>
                  <a:cubicBezTo>
                    <a:pt x="807436" y="1267399"/>
                    <a:pt x="953821" y="1096711"/>
                    <a:pt x="953821" y="892861"/>
                  </a:cubicBezTo>
                  <a:cubicBezTo>
                    <a:pt x="953821" y="725587"/>
                    <a:pt x="840029" y="530596"/>
                    <a:pt x="603260" y="530596"/>
                  </a:cubicBezTo>
                  <a:lnTo>
                    <a:pt x="218562" y="531490"/>
                  </a:lnTo>
                  <a:cubicBezTo>
                    <a:pt x="218562" y="645119"/>
                    <a:pt x="310652" y="737210"/>
                    <a:pt x="424282" y="737210"/>
                  </a:cubicBezTo>
                  <a:cubicBezTo>
                    <a:pt x="424525" y="737210"/>
                    <a:pt x="424688" y="737210"/>
                    <a:pt x="424932" y="737210"/>
                  </a:cubicBezTo>
                  <a:lnTo>
                    <a:pt x="585785" y="737210"/>
                  </a:lnTo>
                  <a:cubicBezTo>
                    <a:pt x="675356" y="731520"/>
                    <a:pt x="752653" y="799551"/>
                    <a:pt x="758261" y="889203"/>
                  </a:cubicBezTo>
                  <a:cubicBezTo>
                    <a:pt x="763951" y="978774"/>
                    <a:pt x="695919" y="1056071"/>
                    <a:pt x="606268" y="1061679"/>
                  </a:cubicBezTo>
                  <a:cubicBezTo>
                    <a:pt x="599440" y="1062086"/>
                    <a:pt x="592531" y="1062086"/>
                    <a:pt x="585704" y="1061679"/>
                  </a:cubicBezTo>
                  <a:lnTo>
                    <a:pt x="216530" y="1061679"/>
                  </a:lnTo>
                  <a:lnTo>
                    <a:pt x="216530" y="211653"/>
                  </a:lnTo>
                  <a:lnTo>
                    <a:pt x="467685" y="211653"/>
                  </a:lnTo>
                  <a:cubicBezTo>
                    <a:pt x="547014" y="213441"/>
                    <a:pt x="610901" y="277246"/>
                    <a:pt x="612689" y="356575"/>
                  </a:cubicBezTo>
                  <a:lnTo>
                    <a:pt x="612689" y="530352"/>
                  </a:lnTo>
                  <a:lnTo>
                    <a:pt x="818815" y="411764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9" name="Forma libre: forma 8">
              <a:extLst>
                <a:ext uri="{FF2B5EF4-FFF2-40B4-BE49-F238E27FC236}">
                  <a16:creationId xmlns:a16="http://schemas.microsoft.com/office/drawing/2014/main" id="{4AB81834-FC8A-26BA-ACB5-1B8017FB0506}"/>
                </a:ext>
              </a:extLst>
            </p:cNvPr>
            <p:cNvSpPr/>
            <p:nvPr/>
          </p:nvSpPr>
          <p:spPr>
            <a:xfrm>
              <a:off x="2653792" y="2794284"/>
              <a:ext cx="959104" cy="1267968"/>
            </a:xfrm>
            <a:custGeom>
              <a:avLst/>
              <a:gdLst>
                <a:gd name="connsiteX0" fmla="*/ 818896 w 959104"/>
                <a:gd name="connsiteY0" fmla="*/ 411764 h 1267968"/>
                <a:gd name="connsiteX1" fmla="*/ 818896 w 959104"/>
                <a:gd name="connsiteY1" fmla="*/ 285699 h 1267968"/>
                <a:gd name="connsiteX2" fmla="*/ 539212 w 959104"/>
                <a:gd name="connsiteY2" fmla="*/ 6096 h 1267968"/>
                <a:gd name="connsiteX3" fmla="*/ 6096 w 959104"/>
                <a:gd name="connsiteY3" fmla="*/ 6096 h 1267968"/>
                <a:gd name="connsiteX4" fmla="*/ 6096 w 959104"/>
                <a:gd name="connsiteY4" fmla="*/ 1057047 h 1267968"/>
                <a:gd name="connsiteX5" fmla="*/ 216449 w 959104"/>
                <a:gd name="connsiteY5" fmla="*/ 1267399 h 1267968"/>
                <a:gd name="connsiteX6" fmla="*/ 532222 w 959104"/>
                <a:gd name="connsiteY6" fmla="*/ 1267399 h 1267968"/>
                <a:gd name="connsiteX7" fmla="*/ 953821 w 959104"/>
                <a:gd name="connsiteY7" fmla="*/ 892861 h 1267968"/>
                <a:gd name="connsiteX8" fmla="*/ 603342 w 959104"/>
                <a:gd name="connsiteY8" fmla="*/ 530596 h 1267968"/>
                <a:gd name="connsiteX9" fmla="*/ 218643 w 959104"/>
                <a:gd name="connsiteY9" fmla="*/ 531490 h 1267968"/>
                <a:gd name="connsiteX10" fmla="*/ 424363 w 959104"/>
                <a:gd name="connsiteY10" fmla="*/ 737210 h 1267968"/>
                <a:gd name="connsiteX11" fmla="*/ 424932 w 959104"/>
                <a:gd name="connsiteY11" fmla="*/ 737210 h 1267968"/>
                <a:gd name="connsiteX12" fmla="*/ 585866 w 959104"/>
                <a:gd name="connsiteY12" fmla="*/ 737210 h 1267968"/>
                <a:gd name="connsiteX13" fmla="*/ 737860 w 959104"/>
                <a:gd name="connsiteY13" fmla="*/ 909686 h 1267968"/>
                <a:gd name="connsiteX14" fmla="*/ 585866 w 959104"/>
                <a:gd name="connsiteY14" fmla="*/ 1061679 h 1267968"/>
                <a:gd name="connsiteX15" fmla="*/ 216611 w 959104"/>
                <a:gd name="connsiteY15" fmla="*/ 1061679 h 1267968"/>
                <a:gd name="connsiteX16" fmla="*/ 216611 w 959104"/>
                <a:gd name="connsiteY16" fmla="*/ 211653 h 1267968"/>
                <a:gd name="connsiteX17" fmla="*/ 467766 w 959104"/>
                <a:gd name="connsiteY17" fmla="*/ 211653 h 1267968"/>
                <a:gd name="connsiteX18" fmla="*/ 612770 w 959104"/>
                <a:gd name="connsiteY18" fmla="*/ 356575 h 1267968"/>
                <a:gd name="connsiteX19" fmla="*/ 612770 w 959104"/>
                <a:gd name="connsiteY19" fmla="*/ 530352 h 1267968"/>
                <a:gd name="connsiteX20" fmla="*/ 818896 w 959104"/>
                <a:gd name="connsiteY20" fmla="*/ 411764 h 126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959104" h="1267968">
                  <a:moveTo>
                    <a:pt x="818896" y="411764"/>
                  </a:moveTo>
                  <a:lnTo>
                    <a:pt x="818896" y="285699"/>
                  </a:lnTo>
                  <a:cubicBezTo>
                    <a:pt x="818896" y="131267"/>
                    <a:pt x="693644" y="6096"/>
                    <a:pt x="539212" y="6096"/>
                  </a:cubicBezTo>
                  <a:lnTo>
                    <a:pt x="6096" y="6096"/>
                  </a:lnTo>
                  <a:lnTo>
                    <a:pt x="6096" y="1057047"/>
                  </a:lnTo>
                  <a:cubicBezTo>
                    <a:pt x="6096" y="1173196"/>
                    <a:pt x="100299" y="1267399"/>
                    <a:pt x="216449" y="1267399"/>
                  </a:cubicBezTo>
                  <a:lnTo>
                    <a:pt x="532222" y="1267399"/>
                  </a:lnTo>
                  <a:cubicBezTo>
                    <a:pt x="807517" y="1267399"/>
                    <a:pt x="953821" y="1096711"/>
                    <a:pt x="953821" y="892861"/>
                  </a:cubicBezTo>
                  <a:cubicBezTo>
                    <a:pt x="953821" y="725587"/>
                    <a:pt x="840029" y="530596"/>
                    <a:pt x="603342" y="530596"/>
                  </a:cubicBezTo>
                  <a:lnTo>
                    <a:pt x="218643" y="531490"/>
                  </a:lnTo>
                  <a:cubicBezTo>
                    <a:pt x="218643" y="645119"/>
                    <a:pt x="310734" y="737210"/>
                    <a:pt x="424363" y="737210"/>
                  </a:cubicBezTo>
                  <a:cubicBezTo>
                    <a:pt x="424526" y="737210"/>
                    <a:pt x="424769" y="737210"/>
                    <a:pt x="424932" y="737210"/>
                  </a:cubicBezTo>
                  <a:lnTo>
                    <a:pt x="585866" y="737210"/>
                  </a:lnTo>
                  <a:cubicBezTo>
                    <a:pt x="675437" y="742899"/>
                    <a:pt x="743468" y="820115"/>
                    <a:pt x="737860" y="909686"/>
                  </a:cubicBezTo>
                  <a:cubicBezTo>
                    <a:pt x="732658" y="991372"/>
                    <a:pt x="667553" y="1056477"/>
                    <a:pt x="585866" y="1061679"/>
                  </a:cubicBezTo>
                  <a:lnTo>
                    <a:pt x="216611" y="1061679"/>
                  </a:lnTo>
                  <a:lnTo>
                    <a:pt x="216611" y="211653"/>
                  </a:lnTo>
                  <a:lnTo>
                    <a:pt x="467766" y="211653"/>
                  </a:lnTo>
                  <a:cubicBezTo>
                    <a:pt x="547096" y="213441"/>
                    <a:pt x="610982" y="277246"/>
                    <a:pt x="612770" y="356575"/>
                  </a:cubicBezTo>
                  <a:lnTo>
                    <a:pt x="612770" y="530352"/>
                  </a:lnTo>
                  <a:lnTo>
                    <a:pt x="818896" y="411764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10" name="Forma libre: forma 9">
              <a:extLst>
                <a:ext uri="{FF2B5EF4-FFF2-40B4-BE49-F238E27FC236}">
                  <a16:creationId xmlns:a16="http://schemas.microsoft.com/office/drawing/2014/main" id="{53B5D76C-FDC7-8EE0-CDE5-638A73BA568A}"/>
                </a:ext>
              </a:extLst>
            </p:cNvPr>
            <p:cNvSpPr/>
            <p:nvPr/>
          </p:nvSpPr>
          <p:spPr>
            <a:xfrm>
              <a:off x="5297343" y="2793878"/>
              <a:ext cx="219456" cy="1267968"/>
            </a:xfrm>
            <a:custGeom>
              <a:avLst/>
              <a:gdLst>
                <a:gd name="connsiteX0" fmla="*/ 6096 w 219456"/>
                <a:gd name="connsiteY0" fmla="*/ 6096 h 1267968"/>
                <a:gd name="connsiteX1" fmla="*/ 216449 w 219456"/>
                <a:gd name="connsiteY1" fmla="*/ 6096 h 1267968"/>
                <a:gd name="connsiteX2" fmla="*/ 216449 w 219456"/>
                <a:gd name="connsiteY2" fmla="*/ 1268212 h 1267968"/>
                <a:gd name="connsiteX3" fmla="*/ 6096 w 219456"/>
                <a:gd name="connsiteY3" fmla="*/ 1268212 h 126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19456" h="1267968">
                  <a:moveTo>
                    <a:pt x="6096" y="6096"/>
                  </a:moveTo>
                  <a:lnTo>
                    <a:pt x="216449" y="6096"/>
                  </a:lnTo>
                  <a:lnTo>
                    <a:pt x="216449" y="1268212"/>
                  </a:lnTo>
                  <a:lnTo>
                    <a:pt x="6096" y="1268212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11" name="Forma libre: forma 10">
              <a:extLst>
                <a:ext uri="{FF2B5EF4-FFF2-40B4-BE49-F238E27FC236}">
                  <a16:creationId xmlns:a16="http://schemas.microsoft.com/office/drawing/2014/main" id="{A5DBDE8A-FC9F-98FE-5317-C18DEF720340}"/>
                </a:ext>
              </a:extLst>
            </p:cNvPr>
            <p:cNvSpPr/>
            <p:nvPr/>
          </p:nvSpPr>
          <p:spPr>
            <a:xfrm>
              <a:off x="5507695" y="2793634"/>
              <a:ext cx="487680" cy="1267968"/>
            </a:xfrm>
            <a:custGeom>
              <a:avLst/>
              <a:gdLst>
                <a:gd name="connsiteX0" fmla="*/ 426557 w 487680"/>
                <a:gd name="connsiteY0" fmla="*/ 1268375 h 1267968"/>
                <a:gd name="connsiteX1" fmla="*/ 485323 w 487680"/>
                <a:gd name="connsiteY1" fmla="*/ 1268375 h 1267968"/>
                <a:gd name="connsiteX2" fmla="*/ 248067 w 487680"/>
                <a:gd name="connsiteY2" fmla="*/ 154838 h 1267968"/>
                <a:gd name="connsiteX3" fmla="*/ 64861 w 487680"/>
                <a:gd name="connsiteY3" fmla="*/ 6096 h 1267968"/>
                <a:gd name="connsiteX4" fmla="*/ 6096 w 487680"/>
                <a:gd name="connsiteY4" fmla="*/ 6096 h 1267968"/>
                <a:gd name="connsiteX5" fmla="*/ 243352 w 487680"/>
                <a:gd name="connsiteY5" fmla="*/ 1119632 h 1267968"/>
                <a:gd name="connsiteX6" fmla="*/ 426557 w 487680"/>
                <a:gd name="connsiteY6" fmla="*/ 1267968 h 126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87680" h="1267968">
                  <a:moveTo>
                    <a:pt x="426557" y="1268375"/>
                  </a:moveTo>
                  <a:lnTo>
                    <a:pt x="485323" y="1268375"/>
                  </a:lnTo>
                  <a:lnTo>
                    <a:pt x="248067" y="154838"/>
                  </a:lnTo>
                  <a:cubicBezTo>
                    <a:pt x="229535" y="68356"/>
                    <a:pt x="153294" y="6421"/>
                    <a:pt x="64861" y="6096"/>
                  </a:cubicBezTo>
                  <a:lnTo>
                    <a:pt x="6096" y="6096"/>
                  </a:lnTo>
                  <a:lnTo>
                    <a:pt x="243352" y="1119632"/>
                  </a:lnTo>
                  <a:cubicBezTo>
                    <a:pt x="261803" y="1206114"/>
                    <a:pt x="338125" y="1267887"/>
                    <a:pt x="426557" y="1267968"/>
                  </a:cubicBezTo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12" name="Forma libre: forma 11">
              <a:extLst>
                <a:ext uri="{FF2B5EF4-FFF2-40B4-BE49-F238E27FC236}">
                  <a16:creationId xmlns:a16="http://schemas.microsoft.com/office/drawing/2014/main" id="{BC928FCD-CBBD-A970-6073-781A809E085C}"/>
                </a:ext>
              </a:extLst>
            </p:cNvPr>
            <p:cNvSpPr/>
            <p:nvPr/>
          </p:nvSpPr>
          <p:spPr>
            <a:xfrm>
              <a:off x="5986922" y="2794284"/>
              <a:ext cx="487680" cy="1267968"/>
            </a:xfrm>
            <a:custGeom>
              <a:avLst/>
              <a:gdLst>
                <a:gd name="connsiteX0" fmla="*/ 243271 w 487680"/>
                <a:gd name="connsiteY0" fmla="*/ 154595 h 1267968"/>
                <a:gd name="connsiteX1" fmla="*/ 6096 w 487680"/>
                <a:gd name="connsiteY1" fmla="*/ 1268131 h 1267968"/>
                <a:gd name="connsiteX2" fmla="*/ 216367 w 487680"/>
                <a:gd name="connsiteY2" fmla="*/ 1268131 h 1267968"/>
                <a:gd name="connsiteX3" fmla="*/ 485323 w 487680"/>
                <a:gd name="connsiteY3" fmla="*/ 6096 h 1267968"/>
                <a:gd name="connsiteX4" fmla="*/ 426557 w 487680"/>
                <a:gd name="connsiteY4" fmla="*/ 6096 h 1267968"/>
                <a:gd name="connsiteX5" fmla="*/ 243271 w 487680"/>
                <a:gd name="connsiteY5" fmla="*/ 155001 h 126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87680" h="1267968">
                  <a:moveTo>
                    <a:pt x="243271" y="154595"/>
                  </a:moveTo>
                  <a:lnTo>
                    <a:pt x="6096" y="1268131"/>
                  </a:lnTo>
                  <a:lnTo>
                    <a:pt x="216367" y="1268131"/>
                  </a:lnTo>
                  <a:lnTo>
                    <a:pt x="485323" y="6096"/>
                  </a:lnTo>
                  <a:lnTo>
                    <a:pt x="426557" y="6096"/>
                  </a:lnTo>
                  <a:cubicBezTo>
                    <a:pt x="338043" y="6421"/>
                    <a:pt x="261722" y="68438"/>
                    <a:pt x="243271" y="155001"/>
                  </a:cubicBezTo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13" name="Forma libre: forma 12">
              <a:extLst>
                <a:ext uri="{FF2B5EF4-FFF2-40B4-BE49-F238E27FC236}">
                  <a16:creationId xmlns:a16="http://schemas.microsoft.com/office/drawing/2014/main" id="{7CA25E84-222F-3D83-73A3-3075C75BAD81}"/>
                </a:ext>
              </a:extLst>
            </p:cNvPr>
            <p:cNvSpPr/>
            <p:nvPr/>
          </p:nvSpPr>
          <p:spPr>
            <a:xfrm>
              <a:off x="6466149" y="2793878"/>
              <a:ext cx="219456" cy="1267968"/>
            </a:xfrm>
            <a:custGeom>
              <a:avLst/>
              <a:gdLst>
                <a:gd name="connsiteX0" fmla="*/ 6096 w 219456"/>
                <a:gd name="connsiteY0" fmla="*/ 6096 h 1267968"/>
                <a:gd name="connsiteX1" fmla="*/ 216449 w 219456"/>
                <a:gd name="connsiteY1" fmla="*/ 6096 h 1267968"/>
                <a:gd name="connsiteX2" fmla="*/ 216449 w 219456"/>
                <a:gd name="connsiteY2" fmla="*/ 1268212 h 1267968"/>
                <a:gd name="connsiteX3" fmla="*/ 6096 w 219456"/>
                <a:gd name="connsiteY3" fmla="*/ 1268212 h 126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19456" h="1267968">
                  <a:moveTo>
                    <a:pt x="6096" y="6096"/>
                  </a:moveTo>
                  <a:lnTo>
                    <a:pt x="216449" y="6096"/>
                  </a:lnTo>
                  <a:lnTo>
                    <a:pt x="216449" y="1268212"/>
                  </a:lnTo>
                  <a:lnTo>
                    <a:pt x="6096" y="1268212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14" name="Forma libre: forma 13">
              <a:extLst>
                <a:ext uri="{FF2B5EF4-FFF2-40B4-BE49-F238E27FC236}">
                  <a16:creationId xmlns:a16="http://schemas.microsoft.com/office/drawing/2014/main" id="{D5372ECF-F1D8-8CD7-30FD-40D4CDF3DE4E}"/>
                </a:ext>
              </a:extLst>
            </p:cNvPr>
            <p:cNvSpPr/>
            <p:nvPr/>
          </p:nvSpPr>
          <p:spPr>
            <a:xfrm>
              <a:off x="9815617" y="2776728"/>
              <a:ext cx="950976" cy="1300480"/>
            </a:xfrm>
            <a:custGeom>
              <a:avLst/>
              <a:gdLst>
                <a:gd name="connsiteX0" fmla="*/ 889935 w 950976"/>
                <a:gd name="connsiteY0" fmla="*/ 286350 h 1300480"/>
                <a:gd name="connsiteX1" fmla="*/ 285618 w 950976"/>
                <a:gd name="connsiteY1" fmla="*/ 417779 h 1300480"/>
                <a:gd name="connsiteX2" fmla="*/ 417047 w 950976"/>
                <a:gd name="connsiteY2" fmla="*/ 1022096 h 1300480"/>
                <a:gd name="connsiteX3" fmla="*/ 653410 w 950976"/>
                <a:gd name="connsiteY3" fmla="*/ 1091509 h 1300480"/>
                <a:gd name="connsiteX4" fmla="*/ 927242 w 950976"/>
                <a:gd name="connsiteY4" fmla="*/ 997712 h 1300480"/>
                <a:gd name="connsiteX5" fmla="*/ 927242 w 950976"/>
                <a:gd name="connsiteY5" fmla="*/ 1240170 h 1300480"/>
                <a:gd name="connsiteX6" fmla="*/ 653736 w 950976"/>
                <a:gd name="connsiteY6" fmla="*/ 1301862 h 1300480"/>
                <a:gd name="connsiteX7" fmla="*/ 6096 w 950976"/>
                <a:gd name="connsiteY7" fmla="*/ 653735 h 1300480"/>
                <a:gd name="connsiteX8" fmla="*/ 654304 w 950976"/>
                <a:gd name="connsiteY8" fmla="*/ 6096 h 1300480"/>
                <a:gd name="connsiteX9" fmla="*/ 948050 w 950976"/>
                <a:gd name="connsiteY9" fmla="*/ 76647 h 1300480"/>
                <a:gd name="connsiteX10" fmla="*/ 889935 w 950976"/>
                <a:gd name="connsiteY10" fmla="*/ 286350 h 13004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950976" h="1300480">
                  <a:moveTo>
                    <a:pt x="889935" y="286350"/>
                  </a:moveTo>
                  <a:cubicBezTo>
                    <a:pt x="686735" y="155814"/>
                    <a:pt x="416235" y="214661"/>
                    <a:pt x="285618" y="417779"/>
                  </a:cubicBezTo>
                  <a:cubicBezTo>
                    <a:pt x="155082" y="620979"/>
                    <a:pt x="213929" y="891479"/>
                    <a:pt x="417047" y="1022096"/>
                  </a:cubicBezTo>
                  <a:cubicBezTo>
                    <a:pt x="487599" y="1067369"/>
                    <a:pt x="569610" y="1091509"/>
                    <a:pt x="653410" y="1091509"/>
                  </a:cubicBezTo>
                  <a:cubicBezTo>
                    <a:pt x="752571" y="1091753"/>
                    <a:pt x="849051" y="1058753"/>
                    <a:pt x="927242" y="997712"/>
                  </a:cubicBezTo>
                  <a:lnTo>
                    <a:pt x="927242" y="1240170"/>
                  </a:lnTo>
                  <a:cubicBezTo>
                    <a:pt x="841817" y="1280892"/>
                    <a:pt x="748345" y="1302024"/>
                    <a:pt x="653736" y="1301862"/>
                  </a:cubicBezTo>
                  <a:cubicBezTo>
                    <a:pt x="295941" y="1301699"/>
                    <a:pt x="5933" y="1011530"/>
                    <a:pt x="6096" y="653735"/>
                  </a:cubicBezTo>
                  <a:cubicBezTo>
                    <a:pt x="6259" y="295941"/>
                    <a:pt x="296428" y="5934"/>
                    <a:pt x="654304" y="6096"/>
                  </a:cubicBezTo>
                  <a:cubicBezTo>
                    <a:pt x="756391" y="6096"/>
                    <a:pt x="857097" y="30318"/>
                    <a:pt x="948050" y="76647"/>
                  </a:cubicBezTo>
                  <a:lnTo>
                    <a:pt x="889935" y="286350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15" name="Forma libre: forma 14">
              <a:extLst>
                <a:ext uri="{FF2B5EF4-FFF2-40B4-BE49-F238E27FC236}">
                  <a16:creationId xmlns:a16="http://schemas.microsoft.com/office/drawing/2014/main" id="{0FCBD90E-FF91-45F7-4D53-F6D737354B97}"/>
                </a:ext>
              </a:extLst>
            </p:cNvPr>
            <p:cNvSpPr/>
            <p:nvPr/>
          </p:nvSpPr>
          <p:spPr>
            <a:xfrm>
              <a:off x="6886773" y="2794041"/>
              <a:ext cx="1276096" cy="1267968"/>
            </a:xfrm>
            <a:custGeom>
              <a:avLst/>
              <a:gdLst>
                <a:gd name="connsiteX0" fmla="*/ 1060135 w 1276096"/>
                <a:gd name="connsiteY0" fmla="*/ 1267968 h 1267968"/>
                <a:gd name="connsiteX1" fmla="*/ 1273007 w 1276096"/>
                <a:gd name="connsiteY1" fmla="*/ 1267968 h 1267968"/>
                <a:gd name="connsiteX2" fmla="*/ 900501 w 1276096"/>
                <a:gd name="connsiteY2" fmla="*/ 149962 h 1267968"/>
                <a:gd name="connsiteX3" fmla="*/ 700959 w 1276096"/>
                <a:gd name="connsiteY3" fmla="*/ 6096 h 1267968"/>
                <a:gd name="connsiteX4" fmla="*/ 426801 w 1276096"/>
                <a:gd name="connsiteY4" fmla="*/ 6096 h 1267968"/>
                <a:gd name="connsiteX5" fmla="*/ 6096 w 1276096"/>
                <a:gd name="connsiteY5" fmla="*/ 1268212 h 1267968"/>
                <a:gd name="connsiteX6" fmla="*/ 218968 w 1276096"/>
                <a:gd name="connsiteY6" fmla="*/ 1268212 h 1267968"/>
                <a:gd name="connsiteX7" fmla="*/ 324145 w 1276096"/>
                <a:gd name="connsiteY7" fmla="*/ 952683 h 1267968"/>
                <a:gd name="connsiteX8" fmla="*/ 673649 w 1276096"/>
                <a:gd name="connsiteY8" fmla="*/ 952683 h 1267968"/>
                <a:gd name="connsiteX9" fmla="*/ 884001 w 1276096"/>
                <a:gd name="connsiteY9" fmla="*/ 742330 h 1267968"/>
                <a:gd name="connsiteX10" fmla="*/ 884001 w 1276096"/>
                <a:gd name="connsiteY10" fmla="*/ 742330 h 1267968"/>
                <a:gd name="connsiteX11" fmla="*/ 394127 w 1276096"/>
                <a:gd name="connsiteY11" fmla="*/ 742330 h 1267968"/>
                <a:gd name="connsiteX12" fmla="*/ 639511 w 1276096"/>
                <a:gd name="connsiteY12" fmla="*/ 6096 h 1267968"/>
                <a:gd name="connsiteX13" fmla="*/ 1060135 w 1276096"/>
                <a:gd name="connsiteY13" fmla="*/ 1267968 h 126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276096" h="1267968">
                  <a:moveTo>
                    <a:pt x="1060135" y="1267968"/>
                  </a:moveTo>
                  <a:lnTo>
                    <a:pt x="1273007" y="1267968"/>
                  </a:lnTo>
                  <a:lnTo>
                    <a:pt x="900501" y="149962"/>
                  </a:lnTo>
                  <a:cubicBezTo>
                    <a:pt x="871891" y="64049"/>
                    <a:pt x="791505" y="6096"/>
                    <a:pt x="700959" y="6096"/>
                  </a:cubicBezTo>
                  <a:lnTo>
                    <a:pt x="426801" y="6096"/>
                  </a:lnTo>
                  <a:lnTo>
                    <a:pt x="6096" y="1268212"/>
                  </a:lnTo>
                  <a:lnTo>
                    <a:pt x="218968" y="1268212"/>
                  </a:lnTo>
                  <a:lnTo>
                    <a:pt x="324145" y="952683"/>
                  </a:lnTo>
                  <a:lnTo>
                    <a:pt x="673649" y="952683"/>
                  </a:lnTo>
                  <a:cubicBezTo>
                    <a:pt x="789798" y="952683"/>
                    <a:pt x="884001" y="858479"/>
                    <a:pt x="884001" y="742330"/>
                  </a:cubicBezTo>
                  <a:lnTo>
                    <a:pt x="884001" y="742330"/>
                  </a:lnTo>
                  <a:cubicBezTo>
                    <a:pt x="884001" y="742330"/>
                    <a:pt x="394127" y="742330"/>
                    <a:pt x="394127" y="742330"/>
                  </a:cubicBezTo>
                  <a:lnTo>
                    <a:pt x="639511" y="6096"/>
                  </a:lnTo>
                  <a:lnTo>
                    <a:pt x="1060135" y="1267968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16" name="Forma libre: forma 15">
              <a:extLst>
                <a:ext uri="{FF2B5EF4-FFF2-40B4-BE49-F238E27FC236}">
                  <a16:creationId xmlns:a16="http://schemas.microsoft.com/office/drawing/2014/main" id="{1ADC62B0-2EE6-BFE5-A0B3-0D8C3DAC5911}"/>
                </a:ext>
              </a:extLst>
            </p:cNvPr>
            <p:cNvSpPr/>
            <p:nvPr/>
          </p:nvSpPr>
          <p:spPr>
            <a:xfrm>
              <a:off x="10918749" y="2794041"/>
              <a:ext cx="1276096" cy="1267968"/>
            </a:xfrm>
            <a:custGeom>
              <a:avLst/>
              <a:gdLst>
                <a:gd name="connsiteX0" fmla="*/ 1060380 w 1276096"/>
                <a:gd name="connsiteY0" fmla="*/ 1267968 h 1267968"/>
                <a:gd name="connsiteX1" fmla="*/ 1273251 w 1276096"/>
                <a:gd name="connsiteY1" fmla="*/ 1267968 h 1267968"/>
                <a:gd name="connsiteX2" fmla="*/ 900420 w 1276096"/>
                <a:gd name="connsiteY2" fmla="*/ 149962 h 1267968"/>
                <a:gd name="connsiteX3" fmla="*/ 700877 w 1276096"/>
                <a:gd name="connsiteY3" fmla="*/ 6096 h 1267968"/>
                <a:gd name="connsiteX4" fmla="*/ 426801 w 1276096"/>
                <a:gd name="connsiteY4" fmla="*/ 6096 h 1267968"/>
                <a:gd name="connsiteX5" fmla="*/ 6096 w 1276096"/>
                <a:gd name="connsiteY5" fmla="*/ 1268212 h 1267968"/>
                <a:gd name="connsiteX6" fmla="*/ 218969 w 1276096"/>
                <a:gd name="connsiteY6" fmla="*/ 1268212 h 1267968"/>
                <a:gd name="connsiteX7" fmla="*/ 324145 w 1276096"/>
                <a:gd name="connsiteY7" fmla="*/ 952683 h 1267968"/>
                <a:gd name="connsiteX8" fmla="*/ 673649 w 1276096"/>
                <a:gd name="connsiteY8" fmla="*/ 952683 h 1267968"/>
                <a:gd name="connsiteX9" fmla="*/ 884001 w 1276096"/>
                <a:gd name="connsiteY9" fmla="*/ 742330 h 1267968"/>
                <a:gd name="connsiteX10" fmla="*/ 884001 w 1276096"/>
                <a:gd name="connsiteY10" fmla="*/ 742330 h 1267968"/>
                <a:gd name="connsiteX11" fmla="*/ 394127 w 1276096"/>
                <a:gd name="connsiteY11" fmla="*/ 742330 h 1267968"/>
                <a:gd name="connsiteX12" fmla="*/ 639512 w 1276096"/>
                <a:gd name="connsiteY12" fmla="*/ 6096 h 1267968"/>
                <a:gd name="connsiteX13" fmla="*/ 1060380 w 1276096"/>
                <a:gd name="connsiteY13" fmla="*/ 1267968 h 126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276096" h="1267968">
                  <a:moveTo>
                    <a:pt x="1060380" y="1267968"/>
                  </a:moveTo>
                  <a:lnTo>
                    <a:pt x="1273251" y="1267968"/>
                  </a:lnTo>
                  <a:lnTo>
                    <a:pt x="900420" y="149962"/>
                  </a:lnTo>
                  <a:cubicBezTo>
                    <a:pt x="871809" y="64049"/>
                    <a:pt x="791423" y="6096"/>
                    <a:pt x="700877" y="6096"/>
                  </a:cubicBezTo>
                  <a:lnTo>
                    <a:pt x="426801" y="6096"/>
                  </a:lnTo>
                  <a:lnTo>
                    <a:pt x="6096" y="1268212"/>
                  </a:lnTo>
                  <a:lnTo>
                    <a:pt x="218969" y="1268212"/>
                  </a:lnTo>
                  <a:lnTo>
                    <a:pt x="324145" y="952683"/>
                  </a:lnTo>
                  <a:lnTo>
                    <a:pt x="673649" y="952683"/>
                  </a:lnTo>
                  <a:cubicBezTo>
                    <a:pt x="789798" y="952683"/>
                    <a:pt x="884001" y="858479"/>
                    <a:pt x="884001" y="742330"/>
                  </a:cubicBezTo>
                  <a:lnTo>
                    <a:pt x="884001" y="742330"/>
                  </a:lnTo>
                  <a:cubicBezTo>
                    <a:pt x="884001" y="742330"/>
                    <a:pt x="394127" y="742330"/>
                    <a:pt x="394127" y="742330"/>
                  </a:cubicBezTo>
                  <a:lnTo>
                    <a:pt x="639512" y="6096"/>
                  </a:lnTo>
                  <a:lnTo>
                    <a:pt x="1060380" y="1267968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</p:grpSp>
    </p:spTree>
    <p:extLst>
      <p:ext uri="{BB962C8B-B14F-4D97-AF65-F5344CB8AC3E}">
        <p14:creationId xmlns:p14="http://schemas.microsoft.com/office/powerpoint/2010/main" val="43502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ítulo 4">
            <a:extLst>
              <a:ext uri="{FF2B5EF4-FFF2-40B4-BE49-F238E27FC236}">
                <a16:creationId xmlns:a16="http://schemas.microsoft.com/office/drawing/2014/main" id="{4CB3E37E-9A6B-A165-3B24-D507A8CE636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pt-PT" dirty="0"/>
              <a:t>Ejemplo de título de separador</a:t>
            </a:r>
          </a:p>
        </p:txBody>
      </p:sp>
      <p:sp>
        <p:nvSpPr>
          <p:cNvPr id="6" name="Marcador de Posição do Texto 5">
            <a:extLst>
              <a:ext uri="{FF2B5EF4-FFF2-40B4-BE49-F238E27FC236}">
                <a16:creationId xmlns:a16="http://schemas.microsoft.com/office/drawing/2014/main" id="{4BBD1C2B-34E5-DD24-DE5D-08139BD59B7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pt-PT" dirty="0"/>
              <a:t>Ejemplo de subtítulo</a:t>
            </a:r>
          </a:p>
        </p:txBody>
      </p:sp>
      <p:sp>
        <p:nvSpPr>
          <p:cNvPr id="7" name="Marcador de Posição do Texto 6">
            <a:extLst>
              <a:ext uri="{FF2B5EF4-FFF2-40B4-BE49-F238E27FC236}">
                <a16:creationId xmlns:a16="http://schemas.microsoft.com/office/drawing/2014/main" id="{173609E0-C51A-04E8-6E32-79401D3E58E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pt-PT" dirty="0"/>
              <a:t>01</a:t>
            </a:r>
          </a:p>
        </p:txBody>
      </p:sp>
    </p:spTree>
    <p:extLst>
      <p:ext uri="{BB962C8B-B14F-4D97-AF65-F5344CB8AC3E}">
        <p14:creationId xmlns:p14="http://schemas.microsoft.com/office/powerpoint/2010/main" val="190860048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IGHTSLIDE_SLIDE_COLLAPSED" val="TRU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IGHTSLIDE_SLIDE_COLLAPSED" val="TRU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IGHTSLIDE_SLIDE_COLLAPSED" val="TRU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IGHTSLIDE_SLIDE_COLLAPSED" val="TRU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IGHTSLIDE_SLIDE_COLLAPSED" val="TRU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IGHTSLIDE_SLIDE_COLLAPSED" val="TRU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IGHTSLIDE_SLIDE_COLLAPSED" val="TRU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IGHTSLIDE_SLIDE_COLLAPSED" val="TRU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IGHTSLIDE_SLIDE_COLLAPSED" val="TRU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IGHTSLIDE_SLIDE_COLLAPSED" val="TRUE"/>
</p:tagLst>
</file>

<file path=ppt/theme/theme1.xml><?xml version="1.0" encoding="utf-8"?>
<a:theme xmlns:a="http://schemas.openxmlformats.org/drawingml/2006/main" name="Tema do Office">
  <a:themeElements>
    <a:clrScheme name="Noesis 2025">
      <a:dk1>
        <a:srgbClr val="184BFF"/>
      </a:dk1>
      <a:lt1>
        <a:sysClr val="window" lastClr="FFFFFF"/>
      </a:lt1>
      <a:dk2>
        <a:srgbClr val="132153"/>
      </a:dk2>
      <a:lt2>
        <a:srgbClr val="E5E5E5"/>
      </a:lt2>
      <a:accent1>
        <a:srgbClr val="00FF94"/>
      </a:accent1>
      <a:accent2>
        <a:srgbClr val="1D3EB6"/>
      </a:accent2>
      <a:accent3>
        <a:srgbClr val="81FFC9"/>
      </a:accent3>
      <a:accent4>
        <a:srgbClr val="C0FFE4"/>
      </a:accent4>
      <a:accent5>
        <a:srgbClr val="9BB0FF"/>
      </a:accent5>
      <a:accent6>
        <a:srgbClr val="5974D9"/>
      </a:accent6>
      <a:hlink>
        <a:srgbClr val="467886"/>
      </a:hlink>
      <a:folHlink>
        <a:srgbClr val="96607D"/>
      </a:folHlink>
    </a:clrScheme>
    <a:fontScheme name="Noesis 2025">
      <a:majorFont>
        <a:latin typeface="ALTIA Eddi Medium"/>
        <a:ea typeface=""/>
        <a:cs typeface=""/>
      </a:majorFont>
      <a:minorFont>
        <a:latin typeface="ALTIA Eddi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2.xml><?xml version="1.0" encoding="utf-8"?>
<a:theme xmlns:a="http://schemas.openxmlformats.org/drawingml/2006/main" name="Tema do Offic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3.xml><?xml version="1.0" encoding="utf-8"?>
<a:theme xmlns:a="http://schemas.openxmlformats.org/drawingml/2006/main" name="Tema do Offic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Metadata/LabelInfo.xml><?xml version="1.0" encoding="utf-8"?>
<clbl:labelList xmlns:clbl="http://schemas.microsoft.com/office/2020/mipLabelMetadata">
  <clbl:label id="{5fcc37a4-d54b-4f1f-9137-60487ab3b53f}" enabled="0" method="" siteId="{5fcc37a4-d54b-4f1f-9137-60487ab3b53f}" removed="1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6297</Words>
  <Application>Microsoft Office PowerPoint</Application>
  <PresentationFormat>Panorámica</PresentationFormat>
  <Paragraphs>1036</Paragraphs>
  <Slides>85</Slides>
  <Notes>7</Notes>
  <HiddenSlides>0</HiddenSlides>
  <MMClips>0</MMClips>
  <ScaleCrop>false</ScaleCrop>
  <HeadingPairs>
    <vt:vector size="6" baseType="variant">
      <vt:variant>
        <vt:lpstr>Fuentes usadas</vt:lpstr>
      </vt:variant>
      <vt:variant>
        <vt:i4>13</vt:i4>
      </vt:variant>
      <vt:variant>
        <vt:lpstr>Tema</vt:lpstr>
      </vt:variant>
      <vt:variant>
        <vt:i4>1</vt:i4>
      </vt:variant>
      <vt:variant>
        <vt:lpstr>Títulos de diapositiva</vt:lpstr>
      </vt:variant>
      <vt:variant>
        <vt:i4>85</vt:i4>
      </vt:variant>
    </vt:vector>
  </HeadingPairs>
  <TitlesOfParts>
    <vt:vector size="99" baseType="lpstr">
      <vt:lpstr>Montserrat</vt:lpstr>
      <vt:lpstr>Calibri Light</vt:lpstr>
      <vt:lpstr>Cambria</vt:lpstr>
      <vt:lpstr>ALTIA Eddi Medium</vt:lpstr>
      <vt:lpstr>Verdana</vt:lpstr>
      <vt:lpstr>ALTIA Eddi</vt:lpstr>
      <vt:lpstr>Arial</vt:lpstr>
      <vt:lpstr>Urbanist Light</vt:lpstr>
      <vt:lpstr>Open Sans Light</vt:lpstr>
      <vt:lpstr>Open Sans</vt:lpstr>
      <vt:lpstr>ALTIA Eddi Light</vt:lpstr>
      <vt:lpstr>Montserrat Light</vt:lpstr>
      <vt:lpstr>Calibri</vt:lpstr>
      <vt:lpstr>Tema do Office</vt:lpstr>
      <vt:lpstr>Presentación de PowerPoint</vt:lpstr>
      <vt:lpstr>Presentación de PowerPoint</vt:lpstr>
      <vt:lpstr>Ejemplo de título do slide</vt:lpstr>
      <vt:lpstr>Ejemplo de título de la presentación</vt:lpstr>
      <vt:lpstr>Ejemplo de título de la presentación</vt:lpstr>
      <vt:lpstr>Ejemplo de título de la presentación</vt:lpstr>
      <vt:lpstr>Ejemplo de título de separador</vt:lpstr>
      <vt:lpstr>Ejemplo de título de separador</vt:lpstr>
      <vt:lpstr>Ejemplo de título de separador</vt:lpstr>
      <vt:lpstr>Ejemplo de título de separador</vt:lpstr>
      <vt:lpstr>Ejemplo de título de separador</vt:lpstr>
      <vt:lpstr>Ejemplo de título de slide</vt:lpstr>
      <vt:lpstr>Ejemplo de título de slide</vt:lpstr>
      <vt:lpstr>Ejemplo de título de slide</vt:lpstr>
      <vt:lpstr>Ejemplo de título de slide</vt:lpstr>
      <vt:lpstr>Ejemplo de título de slide</vt:lpstr>
      <vt:lpstr>Ejemplo de título de slide</vt:lpstr>
      <vt:lpstr>Ejemplo de título de slide</vt:lpstr>
      <vt:lpstr>Ejemplo de título de slide</vt:lpstr>
      <vt:lpstr>Ejemplo de título de slide</vt:lpstr>
      <vt:lpstr>Ejemplo de título de slide</vt:lpstr>
      <vt:lpstr>Ejemplo de título de slide</vt:lpstr>
      <vt:lpstr>Ejemplo de slide de título</vt:lpstr>
      <vt:lpstr>Ejemplo de título de slide</vt:lpstr>
      <vt:lpstr>Ejemplo de título de slide</vt:lpstr>
      <vt:lpstr>Ejemplo de título de slide</vt:lpstr>
      <vt:lpstr>Ejemplo de título de slide</vt:lpstr>
      <vt:lpstr>Ejemplo de título de slide</vt:lpstr>
      <vt:lpstr>Ejemplo de título de slide</vt:lpstr>
      <vt:lpstr>Ejemplo de título de slide</vt:lpstr>
      <vt:lpstr>Ejemplo de título de slide</vt:lpstr>
      <vt:lpstr>Ejemplo de título de slide</vt:lpstr>
      <vt:lpstr>Ejemplo de título de slide</vt:lpstr>
      <vt:lpstr>Ejemplo de título de slide</vt:lpstr>
      <vt:lpstr>Ejemplo de título de slide</vt:lpstr>
      <vt:lpstr>Lorem ipsum dolor sit amet, consectetuer adipiscing elit. Maecenas porttitor congue massa</vt:lpstr>
      <vt:lpstr>Lorem ipsum dolor sit amet, consectetuer adipiscing elit. Maecenas porttitor congue massa</vt:lpstr>
      <vt:lpstr>Ejemplo de título de slide</vt:lpstr>
      <vt:lpstr>Título del esquema</vt:lpstr>
      <vt:lpstr>Título del esquema</vt:lpstr>
      <vt:lpstr>Título del esquema</vt:lpstr>
      <vt:lpstr>Ejemplo de título de slide</vt:lpstr>
      <vt:lpstr>Ejemplo de título de slide</vt:lpstr>
      <vt:lpstr>Ejemplo de título de slide</vt:lpstr>
      <vt:lpstr>Ejemplo de titulo do slide</vt:lpstr>
      <vt:lpstr>Ejemplo de título de slide</vt:lpstr>
      <vt:lpstr>Ejemplo de título de slide</vt:lpstr>
      <vt:lpstr>Ejemplo de título de slide</vt:lpstr>
      <vt:lpstr>Ejemplo de título de slide</vt:lpstr>
      <vt:lpstr>Ejemplo de título de slide</vt:lpstr>
      <vt:lpstr>Ejemplo de título de slide</vt:lpstr>
      <vt:lpstr>Ejemplo de título de slide</vt:lpstr>
      <vt:lpstr>Ejemplo de título de slide</vt:lpstr>
      <vt:lpstr>Ejemplo de título de slide</vt:lpstr>
      <vt:lpstr>Ejemplo de título de slide</vt:lpstr>
      <vt:lpstr>Ejemplo de título de slide</vt:lpstr>
      <vt:lpstr>Ejemplo de título de slide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BILBOMATICA</dc:title>
  <dc:creator/>
  <cp:lastModifiedBy/>
  <cp:revision>1</cp:revision>
  <dcterms:created xsi:type="dcterms:W3CDTF">2025-10-03T12:11:27Z</dcterms:created>
  <dcterms:modified xsi:type="dcterms:W3CDTF">2025-10-06T16:08:16Z</dcterms:modified>
</cp:coreProperties>
</file>